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tags/tag28.xml" ContentType="application/vnd.openxmlformats-officedocument.presentationml.tags+xml"/>
  <Override PartName="/ppt/notesSlides/notesSlide21.xml" ContentType="application/vnd.openxmlformats-officedocument.presentationml.notesSlide+xml"/>
  <Override PartName="/ppt/tags/tag29.xml" ContentType="application/vnd.openxmlformats-officedocument.presentationml.tags+xml"/>
  <Override PartName="/ppt/notesSlides/notesSlide22.xml" ContentType="application/vnd.openxmlformats-officedocument.presentationml.notesSlide+xml"/>
  <Override PartName="/ppt/tags/tag30.xml" ContentType="application/vnd.openxmlformats-officedocument.presentationml.tags+xml"/>
  <Override PartName="/ppt/notesSlides/notesSlide23.xml" ContentType="application/vnd.openxmlformats-officedocument.presentationml.notesSlide+xml"/>
  <Override PartName="/ppt/tags/tag31.xml" ContentType="application/vnd.openxmlformats-officedocument.presentationml.tags+xml"/>
  <Override PartName="/ppt/notesSlides/notesSlide24.xml" ContentType="application/vnd.openxmlformats-officedocument.presentationml.notesSlide+xml"/>
  <Override PartName="/ppt/tags/tag32.xml" ContentType="application/vnd.openxmlformats-officedocument.presentationml.tags+xml"/>
  <Override PartName="/ppt/notesSlides/notesSlide25.xml" ContentType="application/vnd.openxmlformats-officedocument.presentationml.notesSlide+xml"/>
  <Override PartName="/ppt/tags/tag33.xml" ContentType="application/vnd.openxmlformats-officedocument.presentationml.tags+xml"/>
  <Override PartName="/ppt/notesSlides/notesSlide26.xml" ContentType="application/vnd.openxmlformats-officedocument.presentationml.notesSlide+xml"/>
  <Override PartName="/ppt/tags/tag34.xml" ContentType="application/vnd.openxmlformats-officedocument.presentationml.tags+xml"/>
  <Override PartName="/ppt/notesSlides/notesSlide27.xml" ContentType="application/vnd.openxmlformats-officedocument.presentationml.notesSlide+xml"/>
  <Override PartName="/ppt/tags/tag35.xml" ContentType="application/vnd.openxmlformats-officedocument.presentationml.tags+xml"/>
  <Override PartName="/ppt/notesSlides/notesSlide28.xml" ContentType="application/vnd.openxmlformats-officedocument.presentationml.notesSlide+xml"/>
  <Override PartName="/ppt/tags/tag36.xml" ContentType="application/vnd.openxmlformats-officedocument.presentationml.tags+xml"/>
  <Override PartName="/ppt/notesSlides/notesSlide29.xml" ContentType="application/vnd.openxmlformats-officedocument.presentationml.notesSlide+xml"/>
  <Override PartName="/ppt/tags/tag37.xml" ContentType="application/vnd.openxmlformats-officedocument.presentationml.tags+xml"/>
  <Override PartName="/ppt/notesSlides/notesSlide30.xml" ContentType="application/vnd.openxmlformats-officedocument.presentationml.notesSlide+xml"/>
  <Override PartName="/ppt/tags/tag38.xml" ContentType="application/vnd.openxmlformats-officedocument.presentationml.tags+xml"/>
  <Override PartName="/ppt/notesSlides/notesSlide31.xml" ContentType="application/vnd.openxmlformats-officedocument.presentationml.notesSlide+xml"/>
  <Override PartName="/ppt/tags/tag39.xml" ContentType="application/vnd.openxmlformats-officedocument.presentationml.tags+xml"/>
  <Override PartName="/ppt/notesSlides/notesSlide32.xml" ContentType="application/vnd.openxmlformats-officedocument.presentationml.notesSlide+xml"/>
  <Override PartName="/ppt/tags/tag40.xml" ContentType="application/vnd.openxmlformats-officedocument.presentationml.tags+xml"/>
  <Override PartName="/ppt/notesSlides/notesSlide33.xml" ContentType="application/vnd.openxmlformats-officedocument.presentationml.notesSlide+xml"/>
  <Override PartName="/ppt/tags/tag41.xml" ContentType="application/vnd.openxmlformats-officedocument.presentationml.tags+xml"/>
  <Override PartName="/ppt/notesSlides/notesSlide34.xml" ContentType="application/vnd.openxmlformats-officedocument.presentationml.notesSlide+xml"/>
  <Override PartName="/ppt/tags/tag42.xml" ContentType="application/vnd.openxmlformats-officedocument.presentationml.tags+xml"/>
  <Override PartName="/ppt/notesSlides/notesSlide35.xml" ContentType="application/vnd.openxmlformats-officedocument.presentationml.notesSlide+xml"/>
  <Override PartName="/ppt/tags/tag43.xml" ContentType="application/vnd.openxmlformats-officedocument.presentationml.tags+xml"/>
  <Override PartName="/ppt/notesSlides/notesSlide36.xml" ContentType="application/vnd.openxmlformats-officedocument.presentationml.notesSlide+xml"/>
  <Override PartName="/ppt/tags/tag44.xml" ContentType="application/vnd.openxmlformats-officedocument.presentationml.tags+xml"/>
  <Override PartName="/ppt/notesSlides/notesSlide37.xml" ContentType="application/vnd.openxmlformats-officedocument.presentationml.notesSlide+xml"/>
  <Override PartName="/ppt/tags/tag45.xml" ContentType="application/vnd.openxmlformats-officedocument.presentationml.tags+xml"/>
  <Override PartName="/ppt/notesSlides/notesSlide38.xml" ContentType="application/vnd.openxmlformats-officedocument.presentationml.notesSlide+xml"/>
  <Override PartName="/ppt/tags/tag46.xml" ContentType="application/vnd.openxmlformats-officedocument.presentationml.tags+xml"/>
  <Override PartName="/ppt/notesSlides/notesSlide39.xml" ContentType="application/vnd.openxmlformats-officedocument.presentationml.notesSlide+xml"/>
  <Override PartName="/ppt/tags/tag47.xml" ContentType="application/vnd.openxmlformats-officedocument.presentationml.tags+xml"/>
  <Override PartName="/ppt/notesSlides/notesSlide40.xml" ContentType="application/vnd.openxmlformats-officedocument.presentationml.notesSlide+xml"/>
  <Override PartName="/ppt/tags/tag48.xml" ContentType="application/vnd.openxmlformats-officedocument.presentationml.tags+xml"/>
  <Override PartName="/ppt/notesSlides/notesSlide41.xml" ContentType="application/vnd.openxmlformats-officedocument.presentationml.notesSlide+xml"/>
  <Override PartName="/ppt/tags/tag49.xml" ContentType="application/vnd.openxmlformats-officedocument.presentationml.tags+xml"/>
  <Override PartName="/ppt/notesSlides/notesSlide42.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4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69" r:id="rId5"/>
  </p:sldMasterIdLst>
  <p:notesMasterIdLst>
    <p:notesMasterId r:id="rId51"/>
  </p:notesMasterIdLst>
  <p:sldIdLst>
    <p:sldId id="666" r:id="rId6"/>
    <p:sldId id="667" r:id="rId7"/>
    <p:sldId id="583" r:id="rId8"/>
    <p:sldId id="584" r:id="rId9"/>
    <p:sldId id="585" r:id="rId10"/>
    <p:sldId id="586" r:id="rId11"/>
    <p:sldId id="587" r:id="rId12"/>
    <p:sldId id="588" r:id="rId13"/>
    <p:sldId id="589" r:id="rId14"/>
    <p:sldId id="590" r:id="rId15"/>
    <p:sldId id="591" r:id="rId16"/>
    <p:sldId id="592" r:id="rId17"/>
    <p:sldId id="663" r:id="rId18"/>
    <p:sldId id="664" r:id="rId19"/>
    <p:sldId id="668" r:id="rId20"/>
    <p:sldId id="665" r:id="rId21"/>
    <p:sldId id="625" r:id="rId22"/>
    <p:sldId id="626" r:id="rId23"/>
    <p:sldId id="627" r:id="rId24"/>
    <p:sldId id="628" r:id="rId25"/>
    <p:sldId id="629" r:id="rId26"/>
    <p:sldId id="653" r:id="rId27"/>
    <p:sldId id="630" r:id="rId28"/>
    <p:sldId id="631" r:id="rId29"/>
    <p:sldId id="636" r:id="rId30"/>
    <p:sldId id="649" r:id="rId31"/>
    <p:sldId id="651" r:id="rId32"/>
    <p:sldId id="637" r:id="rId33"/>
    <p:sldId id="638" r:id="rId34"/>
    <p:sldId id="639" r:id="rId35"/>
    <p:sldId id="640" r:id="rId36"/>
    <p:sldId id="641" r:id="rId37"/>
    <p:sldId id="644" r:id="rId38"/>
    <p:sldId id="645" r:id="rId39"/>
    <p:sldId id="650" r:id="rId40"/>
    <p:sldId id="648" r:id="rId41"/>
    <p:sldId id="632" r:id="rId42"/>
    <p:sldId id="642" r:id="rId43"/>
    <p:sldId id="468" r:id="rId44"/>
    <p:sldId id="466" r:id="rId45"/>
    <p:sldId id="660" r:id="rId46"/>
    <p:sldId id="634" r:id="rId47"/>
    <p:sldId id="652" r:id="rId48"/>
    <p:sldId id="635" r:id="rId49"/>
    <p:sldId id="662" r:id="rId50"/>
  </p:sldIdLst>
  <p:sldSz cx="9144000" cy="5143500" type="screen16x9"/>
  <p:notesSz cx="7099300" cy="10234613"/>
  <p:custDataLst>
    <p:tags r:id="rId52"/>
  </p:custDataLst>
  <p:defaultTextStyle>
    <a:defPPr>
      <a:defRPr lang="x-non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Munich Re Icons" id="{F6ACDACA-8C36-4683-AB6E-A3E5431BF4B2}">
          <p14:sldIdLst>
            <p14:sldId id="666"/>
            <p14:sldId id="667"/>
            <p14:sldId id="583"/>
            <p14:sldId id="584"/>
            <p14:sldId id="585"/>
            <p14:sldId id="586"/>
            <p14:sldId id="587"/>
            <p14:sldId id="588"/>
            <p14:sldId id="589"/>
            <p14:sldId id="590"/>
            <p14:sldId id="591"/>
            <p14:sldId id="592"/>
            <p14:sldId id="663"/>
            <p14:sldId id="664"/>
          </p14:sldIdLst>
        </p14:section>
        <p14:section name="Pictograms" id="{02864808-0C9D-432A-A8A9-9D963A5864BE}">
          <p14:sldIdLst>
            <p14:sldId id="668"/>
          </p14:sldIdLst>
        </p14:section>
        <p14:section name="Digitalization/Technology" id="{F28BF321-20CD-455B-8F4A-F5A21117725A}">
          <p14:sldIdLst>
            <p14:sldId id="665"/>
            <p14:sldId id="625"/>
          </p14:sldIdLst>
        </p14:section>
        <p14:section name="Energy" id="{579A6E39-65D7-4BFF-9C34-76B16ED10E16}">
          <p14:sldIdLst>
            <p14:sldId id="626"/>
            <p14:sldId id="627"/>
          </p14:sldIdLst>
        </p14:section>
        <p14:section name="Finance/Markets" id="{57638834-68A9-4A47-B7BA-0C025F2C458B}">
          <p14:sldIdLst>
            <p14:sldId id="628"/>
            <p14:sldId id="629"/>
          </p14:sldIdLst>
        </p14:section>
        <p14:section name="Insurance" id="{3939D55B-91C1-4BF5-94A2-04B2D7F26883}">
          <p14:sldIdLst>
            <p14:sldId id="653"/>
          </p14:sldIdLst>
        </p14:section>
        <p14:section name="Performance/Rating" id="{720A00E6-689E-42EB-83AE-06FC195BEA57}">
          <p14:sldIdLst>
            <p14:sldId id="630"/>
            <p14:sldId id="631"/>
          </p14:sldIdLst>
        </p14:section>
        <p14:section name="Marketing/Brand" id="{7E598904-9A51-4285-B852-F02CDEC35C47}">
          <p14:sldIdLst>
            <p14:sldId id="636"/>
            <p14:sldId id="649"/>
            <p14:sldId id="651"/>
            <p14:sldId id="637"/>
          </p14:sldIdLst>
        </p14:section>
        <p14:section name="General Business" id="{D48BFCD1-3FC7-4EF6-ABEA-5E74C9C932F9}">
          <p14:sldIdLst>
            <p14:sldId id="638"/>
            <p14:sldId id="639"/>
          </p14:sldIdLst>
        </p14:section>
        <p14:section name="Human Relations/Work" id="{07EB28C2-C4BC-4516-B4BD-AFF3F9474A2B}">
          <p14:sldIdLst>
            <p14:sldId id="640"/>
            <p14:sldId id="641"/>
          </p14:sldIdLst>
        </p14:section>
        <p14:section name="Medical" id="{A425E23C-EE70-4512-B0B3-C74BA74EE308}">
          <p14:sldIdLst>
            <p14:sldId id="644"/>
            <p14:sldId id="645"/>
          </p14:sldIdLst>
        </p14:section>
        <p14:section name="Media" id="{BA15FA1D-2BD1-4D5C-973A-AD8919350009}">
          <p14:sldIdLst>
            <p14:sldId id="650"/>
          </p14:sldIdLst>
        </p14:section>
        <p14:section name="Devices" id="{A1518A3C-46D3-48AD-B571-6EA9B565006A}">
          <p14:sldIdLst>
            <p14:sldId id="648"/>
          </p14:sldIdLst>
        </p14:section>
        <p14:section name="Transport" id="{935F3F12-5AFD-4CC5-8335-9BDD9A348B83}">
          <p14:sldIdLst>
            <p14:sldId id="632"/>
          </p14:sldIdLst>
        </p14:section>
        <p14:section name="Events" id="{347673B6-DEC5-4903-BFDB-604360C3AEBB}">
          <p14:sldIdLst>
            <p14:sldId id="642"/>
          </p14:sldIdLst>
        </p14:section>
        <p14:section name="Sports" id="{994F19EF-10A8-420F-A628-632169FC8A7F}">
          <p14:sldIdLst>
            <p14:sldId id="468"/>
          </p14:sldIdLst>
        </p14:section>
        <p14:section name="Arrows" id="{6EC870B0-1F9B-4FF0-B171-109D5E5EE175}">
          <p14:sldIdLst>
            <p14:sldId id="466"/>
          </p14:sldIdLst>
        </p14:section>
        <p14:section name="Weather conditions and natural disasters" id="{BEEF3C61-7B85-4AA4-9F73-63EB6F3EC846}">
          <p14:sldIdLst>
            <p14:sldId id="660"/>
          </p14:sldIdLst>
        </p14:section>
        <p14:section name="Mixed General" id="{9B5D224B-1741-426D-BB09-265EE42B5CFD}">
          <p14:sldIdLst>
            <p14:sldId id="634"/>
            <p14:sldId id="652"/>
            <p14:sldId id="635"/>
          </p14:sldIdLst>
        </p14:section>
        <p14:section name="Imprint" id="{487799EB-CCF8-4DE4-8B0B-AE01691509D3}">
          <p14:sldIdLst>
            <p14:sldId id="662"/>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use Andreas - Munich-MR" initials="KA-M" lastIdx="20" clrIdx="0">
    <p:extLst>
      <p:ext uri="{19B8F6BF-5375-455C-9EA6-DF929625EA0E}">
        <p15:presenceInfo xmlns:p15="http://schemas.microsoft.com/office/powerpoint/2012/main" userId="S::akruse@munichre.com::d1057696-d2c1-46d5-8f09-3e9e7ddd1c0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D61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FFC58E2-C566-4CD7-BADA-9F15D9E5C050}" v="2" dt="2022-07-28T16:01:31.23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246" autoAdjust="0"/>
    <p:restoredTop sz="93912" autoAdjust="0"/>
  </p:normalViewPr>
  <p:slideViewPr>
    <p:cSldViewPr snapToGrid="0">
      <p:cViewPr>
        <p:scale>
          <a:sx n="113" d="100"/>
          <a:sy n="113" d="100"/>
        </p:scale>
        <p:origin x="144" y="976"/>
      </p:cViewPr>
      <p:guideLst/>
    </p:cSldViewPr>
  </p:slideViewPr>
  <p:outlineViewPr>
    <p:cViewPr>
      <p:scale>
        <a:sx n="33" d="100"/>
        <a:sy n="33" d="100"/>
      </p:scale>
      <p:origin x="0" y="-6666"/>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66" d="100"/>
          <a:sy n="66" d="100"/>
        </p:scale>
        <p:origin x="0" y="0"/>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8" Type="http://schemas.microsoft.com/office/2015/10/relationships/revisionInfo" Target="revisionInfo.xml"/><Relationship Id="rId5" Type="http://schemas.openxmlformats.org/officeDocument/2006/relationships/slideMaster" Target="slideMasters/slideMaster1.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2763"/>
          </a:xfrm>
          <a:prstGeom prst="rect">
            <a:avLst/>
          </a:prstGeom>
        </p:spPr>
        <p:txBody>
          <a:bodyPr vert="horz" lIns="91440" tIns="45720" rIns="91440" bIns="45720" rtlCol="0"/>
          <a:lstStyle>
            <a:lvl1pPr algn="l" rtl="0">
              <a:defRPr sz="1200"/>
            </a:lvl1pPr>
          </a:lstStyle>
          <a:p>
            <a:endParaRPr lang="en-GB" dirty="0"/>
          </a:p>
        </p:txBody>
      </p:sp>
      <p:sp>
        <p:nvSpPr>
          <p:cNvPr id="3" name="Datumsplatzhalter 2"/>
          <p:cNvSpPr>
            <a:spLocks noGrp="1"/>
          </p:cNvSpPr>
          <p:nvPr>
            <p:ph type="dt" idx="1"/>
          </p:nvPr>
        </p:nvSpPr>
        <p:spPr>
          <a:xfrm>
            <a:off x="4021138" y="0"/>
            <a:ext cx="3076575" cy="512763"/>
          </a:xfrm>
          <a:prstGeom prst="rect">
            <a:avLst/>
          </a:prstGeom>
        </p:spPr>
        <p:txBody>
          <a:bodyPr vert="horz" lIns="91440" tIns="45720" rIns="91440" bIns="45720" rtlCol="0"/>
          <a:lstStyle>
            <a:lvl1pPr algn="r" rtl="0">
              <a:defRPr sz="1200"/>
            </a:lvl1pPr>
          </a:lstStyle>
          <a:p>
            <a:fld id="{43488420-B5C8-4F5C-987C-34D084607CE9}" type="datetimeFigureOut">
              <a:rPr lang="en-GB" smtClean="0"/>
              <a:pPr/>
              <a:t>24/08/2022</a:t>
            </a:fld>
            <a:endParaRPr lang="en-GB" dirty="0"/>
          </a:p>
        </p:txBody>
      </p:sp>
      <p:sp>
        <p:nvSpPr>
          <p:cNvPr id="4" name="Folienbildplatzhalt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709613" y="4926013"/>
            <a:ext cx="5680075" cy="4029075"/>
          </a:xfrm>
          <a:prstGeom prst="rect">
            <a:avLst/>
          </a:prstGeom>
        </p:spPr>
        <p:txBody>
          <a:bodyPr vert="horz" lIns="91440" tIns="45720" rIns="91440" bIns="45720" rtlCol="0"/>
          <a:lstStyle/>
          <a:p>
            <a:pPr lvl="0"/>
            <a:r>
              <a:rPr lang="en-GB" dirty="0" err="1"/>
              <a:t>Mastertextformat</a:t>
            </a:r>
            <a:r>
              <a:rPr lang="en-GB" dirty="0"/>
              <a:t> bearbeiten</a:t>
            </a:r>
          </a:p>
          <a:p>
            <a:pPr lvl="1"/>
            <a:r>
              <a:rPr lang="en-GB" dirty="0" err="1"/>
              <a:t>Zweite</a:t>
            </a:r>
            <a:r>
              <a:rPr lang="en-GB" dirty="0"/>
              <a:t> Ebene</a:t>
            </a:r>
          </a:p>
          <a:p>
            <a:pPr lvl="2"/>
            <a:r>
              <a:rPr lang="en-GB" dirty="0" err="1"/>
              <a:t>Dritte</a:t>
            </a:r>
            <a:r>
              <a:rPr lang="en-GB" dirty="0"/>
              <a:t> Ebene</a:t>
            </a:r>
          </a:p>
          <a:p>
            <a:pPr lvl="3"/>
            <a:r>
              <a:rPr lang="en-GB" dirty="0" err="1"/>
              <a:t>Vierte</a:t>
            </a:r>
            <a:r>
              <a:rPr lang="en-GB" dirty="0"/>
              <a:t> Ebene</a:t>
            </a:r>
          </a:p>
          <a:p>
            <a:pPr lvl="4"/>
            <a:r>
              <a:rPr lang="en-GB" dirty="0" err="1"/>
              <a:t>Fünfte</a:t>
            </a:r>
            <a:r>
              <a:rPr lang="en-GB" dirty="0"/>
              <a:t> Ebene</a:t>
            </a:r>
          </a:p>
        </p:txBody>
      </p:sp>
      <p:sp>
        <p:nvSpPr>
          <p:cNvPr id="6" name="Fußzeilenplatzhalter 5"/>
          <p:cNvSpPr>
            <a:spLocks noGrp="1"/>
          </p:cNvSpPr>
          <p:nvPr>
            <p:ph type="ftr" sz="quarter" idx="4"/>
          </p:nvPr>
        </p:nvSpPr>
        <p:spPr>
          <a:xfrm>
            <a:off x="0" y="9721850"/>
            <a:ext cx="3076575" cy="512763"/>
          </a:xfrm>
          <a:prstGeom prst="rect">
            <a:avLst/>
          </a:prstGeom>
        </p:spPr>
        <p:txBody>
          <a:bodyPr vert="horz" lIns="91440" tIns="45720" rIns="91440" bIns="45720" rtlCol="0" anchor="b"/>
          <a:lstStyle>
            <a:lvl1pPr algn="l" rtl="0">
              <a:defRPr sz="1200"/>
            </a:lvl1pPr>
          </a:lstStyle>
          <a:p>
            <a:endParaRPr lang="en-GB" dirty="0"/>
          </a:p>
        </p:txBody>
      </p:sp>
      <p:sp>
        <p:nvSpPr>
          <p:cNvPr id="7" name="Foliennummernplatzhalter 6"/>
          <p:cNvSpPr>
            <a:spLocks noGrp="1"/>
          </p:cNvSpPr>
          <p:nvPr>
            <p:ph type="sldNum" sz="quarter" idx="5"/>
          </p:nvPr>
        </p:nvSpPr>
        <p:spPr>
          <a:xfrm>
            <a:off x="4021138" y="9721850"/>
            <a:ext cx="3076575" cy="512763"/>
          </a:xfrm>
          <a:prstGeom prst="rect">
            <a:avLst/>
          </a:prstGeom>
        </p:spPr>
        <p:txBody>
          <a:bodyPr vert="horz" lIns="91440" tIns="45720" rIns="91440" bIns="45720" rtlCol="0" anchor="b"/>
          <a:lstStyle>
            <a:lvl1pPr algn="r" rtl="0">
              <a:defRPr sz="1200"/>
            </a:lvl1pPr>
          </a:lstStyle>
          <a:p>
            <a:fld id="{C9217C7E-6F02-40EE-B50F-A6B8CDB29693}" type="slidenum">
              <a:rPr lang="en-GB" smtClean="0"/>
              <a:pPr/>
              <a:t>‹Nr.›</a:t>
            </a:fld>
            <a:endParaRPr lang="en-GB" dirty="0"/>
          </a:p>
        </p:txBody>
      </p:sp>
    </p:spTree>
    <p:extLst>
      <p:ext uri="{BB962C8B-B14F-4D97-AF65-F5344CB8AC3E}">
        <p14:creationId xmlns:p14="http://schemas.microsoft.com/office/powerpoint/2010/main" val="3816143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a:t>
            </a:fld>
            <a:endParaRPr lang="en-GB" dirty="0"/>
          </a:p>
        </p:txBody>
      </p:sp>
    </p:spTree>
    <p:extLst>
      <p:ext uri="{BB962C8B-B14F-4D97-AF65-F5344CB8AC3E}">
        <p14:creationId xmlns:p14="http://schemas.microsoft.com/office/powerpoint/2010/main" val="6993817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11</a:t>
            </a:fld>
            <a:endParaRPr lang="en-GB" dirty="0"/>
          </a:p>
        </p:txBody>
      </p:sp>
    </p:spTree>
    <p:extLst>
      <p:ext uri="{BB962C8B-B14F-4D97-AF65-F5344CB8AC3E}">
        <p14:creationId xmlns:p14="http://schemas.microsoft.com/office/powerpoint/2010/main" val="2490168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12</a:t>
            </a:fld>
            <a:endParaRPr lang="en-GB" dirty="0"/>
          </a:p>
        </p:txBody>
      </p:sp>
    </p:spTree>
    <p:extLst>
      <p:ext uri="{BB962C8B-B14F-4D97-AF65-F5344CB8AC3E}">
        <p14:creationId xmlns:p14="http://schemas.microsoft.com/office/powerpoint/2010/main" val="14374847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13</a:t>
            </a:fld>
            <a:endParaRPr lang="en-GB" dirty="0"/>
          </a:p>
        </p:txBody>
      </p:sp>
    </p:spTree>
    <p:extLst>
      <p:ext uri="{BB962C8B-B14F-4D97-AF65-F5344CB8AC3E}">
        <p14:creationId xmlns:p14="http://schemas.microsoft.com/office/powerpoint/2010/main" val="27594682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15</a:t>
            </a:fld>
            <a:endParaRPr lang="en-GB" dirty="0"/>
          </a:p>
        </p:txBody>
      </p:sp>
    </p:spTree>
    <p:extLst>
      <p:ext uri="{BB962C8B-B14F-4D97-AF65-F5344CB8AC3E}">
        <p14:creationId xmlns:p14="http://schemas.microsoft.com/office/powerpoint/2010/main" val="3207434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16</a:t>
            </a:fld>
            <a:endParaRPr lang="en-GB" dirty="0"/>
          </a:p>
        </p:txBody>
      </p:sp>
    </p:spTree>
    <p:extLst>
      <p:ext uri="{BB962C8B-B14F-4D97-AF65-F5344CB8AC3E}">
        <p14:creationId xmlns:p14="http://schemas.microsoft.com/office/powerpoint/2010/main" val="15397574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17</a:t>
            </a:fld>
            <a:endParaRPr lang="en-GB" dirty="0"/>
          </a:p>
        </p:txBody>
      </p:sp>
    </p:spTree>
    <p:extLst>
      <p:ext uri="{BB962C8B-B14F-4D97-AF65-F5344CB8AC3E}">
        <p14:creationId xmlns:p14="http://schemas.microsoft.com/office/powerpoint/2010/main" val="30813505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18</a:t>
            </a:fld>
            <a:endParaRPr lang="en-GB" dirty="0"/>
          </a:p>
        </p:txBody>
      </p:sp>
    </p:spTree>
    <p:extLst>
      <p:ext uri="{BB962C8B-B14F-4D97-AF65-F5344CB8AC3E}">
        <p14:creationId xmlns:p14="http://schemas.microsoft.com/office/powerpoint/2010/main" val="2951991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19</a:t>
            </a:fld>
            <a:endParaRPr lang="en-GB" dirty="0"/>
          </a:p>
        </p:txBody>
      </p:sp>
    </p:spTree>
    <p:extLst>
      <p:ext uri="{BB962C8B-B14F-4D97-AF65-F5344CB8AC3E}">
        <p14:creationId xmlns:p14="http://schemas.microsoft.com/office/powerpoint/2010/main" val="4234884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0</a:t>
            </a:fld>
            <a:endParaRPr lang="en-GB" dirty="0"/>
          </a:p>
        </p:txBody>
      </p:sp>
    </p:spTree>
    <p:extLst>
      <p:ext uri="{BB962C8B-B14F-4D97-AF65-F5344CB8AC3E}">
        <p14:creationId xmlns:p14="http://schemas.microsoft.com/office/powerpoint/2010/main" val="16320985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1</a:t>
            </a:fld>
            <a:endParaRPr lang="en-GB" dirty="0"/>
          </a:p>
        </p:txBody>
      </p:sp>
    </p:spTree>
    <p:extLst>
      <p:ext uri="{BB962C8B-B14F-4D97-AF65-F5344CB8AC3E}">
        <p14:creationId xmlns:p14="http://schemas.microsoft.com/office/powerpoint/2010/main" val="2156481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a:t>
            </a:fld>
            <a:endParaRPr lang="en-GB" dirty="0"/>
          </a:p>
        </p:txBody>
      </p:sp>
    </p:spTree>
    <p:extLst>
      <p:ext uri="{BB962C8B-B14F-4D97-AF65-F5344CB8AC3E}">
        <p14:creationId xmlns:p14="http://schemas.microsoft.com/office/powerpoint/2010/main" val="41365063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2</a:t>
            </a:fld>
            <a:endParaRPr lang="en-GB" dirty="0"/>
          </a:p>
        </p:txBody>
      </p:sp>
    </p:spTree>
    <p:extLst>
      <p:ext uri="{BB962C8B-B14F-4D97-AF65-F5344CB8AC3E}">
        <p14:creationId xmlns:p14="http://schemas.microsoft.com/office/powerpoint/2010/main" val="11430633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3</a:t>
            </a:fld>
            <a:endParaRPr lang="en-GB" dirty="0"/>
          </a:p>
        </p:txBody>
      </p:sp>
    </p:spTree>
    <p:extLst>
      <p:ext uri="{BB962C8B-B14F-4D97-AF65-F5344CB8AC3E}">
        <p14:creationId xmlns:p14="http://schemas.microsoft.com/office/powerpoint/2010/main" val="151665063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4</a:t>
            </a:fld>
            <a:endParaRPr lang="en-GB" dirty="0"/>
          </a:p>
        </p:txBody>
      </p:sp>
    </p:spTree>
    <p:extLst>
      <p:ext uri="{BB962C8B-B14F-4D97-AF65-F5344CB8AC3E}">
        <p14:creationId xmlns:p14="http://schemas.microsoft.com/office/powerpoint/2010/main" val="30073436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5</a:t>
            </a:fld>
            <a:endParaRPr lang="en-GB" dirty="0"/>
          </a:p>
        </p:txBody>
      </p:sp>
    </p:spTree>
    <p:extLst>
      <p:ext uri="{BB962C8B-B14F-4D97-AF65-F5344CB8AC3E}">
        <p14:creationId xmlns:p14="http://schemas.microsoft.com/office/powerpoint/2010/main" val="290684646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6</a:t>
            </a:fld>
            <a:endParaRPr lang="en-GB" dirty="0"/>
          </a:p>
        </p:txBody>
      </p:sp>
    </p:spTree>
    <p:extLst>
      <p:ext uri="{BB962C8B-B14F-4D97-AF65-F5344CB8AC3E}">
        <p14:creationId xmlns:p14="http://schemas.microsoft.com/office/powerpoint/2010/main" val="19433441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7</a:t>
            </a:fld>
            <a:endParaRPr lang="en-GB" dirty="0"/>
          </a:p>
        </p:txBody>
      </p:sp>
    </p:spTree>
    <p:extLst>
      <p:ext uri="{BB962C8B-B14F-4D97-AF65-F5344CB8AC3E}">
        <p14:creationId xmlns:p14="http://schemas.microsoft.com/office/powerpoint/2010/main" val="89476727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8</a:t>
            </a:fld>
            <a:endParaRPr lang="en-GB" dirty="0"/>
          </a:p>
        </p:txBody>
      </p:sp>
    </p:spTree>
    <p:extLst>
      <p:ext uri="{BB962C8B-B14F-4D97-AF65-F5344CB8AC3E}">
        <p14:creationId xmlns:p14="http://schemas.microsoft.com/office/powerpoint/2010/main" val="94631380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29</a:t>
            </a:fld>
            <a:endParaRPr lang="en-GB" dirty="0"/>
          </a:p>
        </p:txBody>
      </p:sp>
    </p:spTree>
    <p:extLst>
      <p:ext uri="{BB962C8B-B14F-4D97-AF65-F5344CB8AC3E}">
        <p14:creationId xmlns:p14="http://schemas.microsoft.com/office/powerpoint/2010/main" val="14351181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0</a:t>
            </a:fld>
            <a:endParaRPr lang="en-GB" dirty="0"/>
          </a:p>
        </p:txBody>
      </p:sp>
    </p:spTree>
    <p:extLst>
      <p:ext uri="{BB962C8B-B14F-4D97-AF65-F5344CB8AC3E}">
        <p14:creationId xmlns:p14="http://schemas.microsoft.com/office/powerpoint/2010/main" val="245252420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1</a:t>
            </a:fld>
            <a:endParaRPr lang="en-GB" dirty="0"/>
          </a:p>
        </p:txBody>
      </p:sp>
    </p:spTree>
    <p:extLst>
      <p:ext uri="{BB962C8B-B14F-4D97-AF65-F5344CB8AC3E}">
        <p14:creationId xmlns:p14="http://schemas.microsoft.com/office/powerpoint/2010/main" val="35073232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4</a:t>
            </a:fld>
            <a:endParaRPr lang="en-GB" dirty="0"/>
          </a:p>
        </p:txBody>
      </p:sp>
    </p:spTree>
    <p:extLst>
      <p:ext uri="{BB962C8B-B14F-4D97-AF65-F5344CB8AC3E}">
        <p14:creationId xmlns:p14="http://schemas.microsoft.com/office/powerpoint/2010/main" val="423727314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2</a:t>
            </a:fld>
            <a:endParaRPr lang="en-GB" dirty="0"/>
          </a:p>
        </p:txBody>
      </p:sp>
    </p:spTree>
    <p:extLst>
      <p:ext uri="{BB962C8B-B14F-4D97-AF65-F5344CB8AC3E}">
        <p14:creationId xmlns:p14="http://schemas.microsoft.com/office/powerpoint/2010/main" val="34483761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3</a:t>
            </a:fld>
            <a:endParaRPr lang="en-GB" dirty="0"/>
          </a:p>
        </p:txBody>
      </p:sp>
    </p:spTree>
    <p:extLst>
      <p:ext uri="{BB962C8B-B14F-4D97-AF65-F5344CB8AC3E}">
        <p14:creationId xmlns:p14="http://schemas.microsoft.com/office/powerpoint/2010/main" val="35655354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4</a:t>
            </a:fld>
            <a:endParaRPr lang="en-GB" dirty="0"/>
          </a:p>
        </p:txBody>
      </p:sp>
    </p:spTree>
    <p:extLst>
      <p:ext uri="{BB962C8B-B14F-4D97-AF65-F5344CB8AC3E}">
        <p14:creationId xmlns:p14="http://schemas.microsoft.com/office/powerpoint/2010/main" val="39289834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5</a:t>
            </a:fld>
            <a:endParaRPr lang="en-GB" dirty="0"/>
          </a:p>
        </p:txBody>
      </p:sp>
    </p:spTree>
    <p:extLst>
      <p:ext uri="{BB962C8B-B14F-4D97-AF65-F5344CB8AC3E}">
        <p14:creationId xmlns:p14="http://schemas.microsoft.com/office/powerpoint/2010/main" val="32424433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6</a:t>
            </a:fld>
            <a:endParaRPr lang="en-GB" dirty="0"/>
          </a:p>
        </p:txBody>
      </p:sp>
    </p:spTree>
    <p:extLst>
      <p:ext uri="{BB962C8B-B14F-4D97-AF65-F5344CB8AC3E}">
        <p14:creationId xmlns:p14="http://schemas.microsoft.com/office/powerpoint/2010/main" val="350426306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7</a:t>
            </a:fld>
            <a:endParaRPr lang="en-GB" dirty="0"/>
          </a:p>
        </p:txBody>
      </p:sp>
    </p:spTree>
    <p:extLst>
      <p:ext uri="{BB962C8B-B14F-4D97-AF65-F5344CB8AC3E}">
        <p14:creationId xmlns:p14="http://schemas.microsoft.com/office/powerpoint/2010/main" val="295667944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8</a:t>
            </a:fld>
            <a:endParaRPr lang="en-GB" dirty="0"/>
          </a:p>
        </p:txBody>
      </p:sp>
    </p:spTree>
    <p:extLst>
      <p:ext uri="{BB962C8B-B14F-4D97-AF65-F5344CB8AC3E}">
        <p14:creationId xmlns:p14="http://schemas.microsoft.com/office/powerpoint/2010/main" val="395756601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39</a:t>
            </a:fld>
            <a:endParaRPr lang="en-GB" dirty="0"/>
          </a:p>
        </p:txBody>
      </p:sp>
    </p:spTree>
    <p:extLst>
      <p:ext uri="{BB962C8B-B14F-4D97-AF65-F5344CB8AC3E}">
        <p14:creationId xmlns:p14="http://schemas.microsoft.com/office/powerpoint/2010/main" val="363329228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40</a:t>
            </a:fld>
            <a:endParaRPr lang="en-GB" dirty="0"/>
          </a:p>
        </p:txBody>
      </p:sp>
    </p:spTree>
    <p:extLst>
      <p:ext uri="{BB962C8B-B14F-4D97-AF65-F5344CB8AC3E}">
        <p14:creationId xmlns:p14="http://schemas.microsoft.com/office/powerpoint/2010/main" val="4948741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41</a:t>
            </a:fld>
            <a:endParaRPr lang="en-GB" dirty="0"/>
          </a:p>
        </p:txBody>
      </p:sp>
    </p:spTree>
    <p:extLst>
      <p:ext uri="{BB962C8B-B14F-4D97-AF65-F5344CB8AC3E}">
        <p14:creationId xmlns:p14="http://schemas.microsoft.com/office/powerpoint/2010/main" val="38318399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5</a:t>
            </a:fld>
            <a:endParaRPr lang="en-GB" dirty="0"/>
          </a:p>
        </p:txBody>
      </p:sp>
    </p:spTree>
    <p:extLst>
      <p:ext uri="{BB962C8B-B14F-4D97-AF65-F5344CB8AC3E}">
        <p14:creationId xmlns:p14="http://schemas.microsoft.com/office/powerpoint/2010/main" val="10638302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42</a:t>
            </a:fld>
            <a:endParaRPr lang="en-GB" dirty="0"/>
          </a:p>
        </p:txBody>
      </p:sp>
    </p:spTree>
    <p:extLst>
      <p:ext uri="{BB962C8B-B14F-4D97-AF65-F5344CB8AC3E}">
        <p14:creationId xmlns:p14="http://schemas.microsoft.com/office/powerpoint/2010/main" val="22770021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43</a:t>
            </a:fld>
            <a:endParaRPr lang="en-GB" dirty="0"/>
          </a:p>
        </p:txBody>
      </p:sp>
    </p:spTree>
    <p:extLst>
      <p:ext uri="{BB962C8B-B14F-4D97-AF65-F5344CB8AC3E}">
        <p14:creationId xmlns:p14="http://schemas.microsoft.com/office/powerpoint/2010/main" val="256144286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44</a:t>
            </a:fld>
            <a:endParaRPr lang="en-GB" dirty="0"/>
          </a:p>
        </p:txBody>
      </p:sp>
    </p:spTree>
    <p:extLst>
      <p:ext uri="{BB962C8B-B14F-4D97-AF65-F5344CB8AC3E}">
        <p14:creationId xmlns:p14="http://schemas.microsoft.com/office/powerpoint/2010/main" val="16829081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45</a:t>
            </a:fld>
            <a:endParaRPr lang="en-GB" dirty="0"/>
          </a:p>
        </p:txBody>
      </p:sp>
    </p:spTree>
    <p:extLst>
      <p:ext uri="{BB962C8B-B14F-4D97-AF65-F5344CB8AC3E}">
        <p14:creationId xmlns:p14="http://schemas.microsoft.com/office/powerpoint/2010/main" val="7845095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6</a:t>
            </a:fld>
            <a:endParaRPr lang="en-GB" dirty="0"/>
          </a:p>
        </p:txBody>
      </p:sp>
    </p:spTree>
    <p:extLst>
      <p:ext uri="{BB962C8B-B14F-4D97-AF65-F5344CB8AC3E}">
        <p14:creationId xmlns:p14="http://schemas.microsoft.com/office/powerpoint/2010/main" val="3742474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7</a:t>
            </a:fld>
            <a:endParaRPr lang="en-GB" dirty="0"/>
          </a:p>
        </p:txBody>
      </p:sp>
    </p:spTree>
    <p:extLst>
      <p:ext uri="{BB962C8B-B14F-4D97-AF65-F5344CB8AC3E}">
        <p14:creationId xmlns:p14="http://schemas.microsoft.com/office/powerpoint/2010/main" val="5366684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8</a:t>
            </a:fld>
            <a:endParaRPr lang="en-GB" dirty="0"/>
          </a:p>
        </p:txBody>
      </p:sp>
    </p:spTree>
    <p:extLst>
      <p:ext uri="{BB962C8B-B14F-4D97-AF65-F5344CB8AC3E}">
        <p14:creationId xmlns:p14="http://schemas.microsoft.com/office/powerpoint/2010/main" val="2407610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9</a:t>
            </a:fld>
            <a:endParaRPr lang="en-GB" dirty="0"/>
          </a:p>
        </p:txBody>
      </p:sp>
    </p:spTree>
    <p:extLst>
      <p:ext uri="{BB962C8B-B14F-4D97-AF65-F5344CB8AC3E}">
        <p14:creationId xmlns:p14="http://schemas.microsoft.com/office/powerpoint/2010/main" val="35940203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C9217C7E-6F02-40EE-B50F-A6B8CDB29693}" type="slidenum">
              <a:rPr lang="en-GB" smtClean="0"/>
              <a:pPr/>
              <a:t>10</a:t>
            </a:fld>
            <a:endParaRPr lang="en-GB" dirty="0"/>
          </a:p>
        </p:txBody>
      </p:sp>
    </p:spTree>
    <p:extLst>
      <p:ext uri="{BB962C8B-B14F-4D97-AF65-F5344CB8AC3E}">
        <p14:creationId xmlns:p14="http://schemas.microsoft.com/office/powerpoint/2010/main" val="20992905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bg>
      <p:bgPr>
        <a:solidFill>
          <a:schemeClr val="bg1"/>
        </a:solidFill>
        <a:effectLst/>
      </p:bgPr>
    </p:bg>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9144000" cy="5143500"/>
          </a:xfrm>
          <a:solidFill>
            <a:schemeClr val="accent1"/>
          </a:solidFill>
        </p:spPr>
        <p:txBody>
          <a:bodyPr lIns="540000" tIns="792000" rIns="540000" anchor="t" anchorCtr="1"/>
          <a:lstStyle>
            <a:lvl1pPr marL="0" marR="0" indent="0" algn="l" defTabSz="270000" rtl="0" eaLnBrk="1" fontAlgn="auto" latinLnBrk="0" hangingPunct="1">
              <a:lnSpc>
                <a:spcPct val="110000"/>
              </a:lnSpc>
              <a:spcBef>
                <a:spcPts val="0"/>
              </a:spcBef>
              <a:spcAft>
                <a:spcPts val="600"/>
              </a:spcAft>
              <a:buClrTx/>
              <a:buSzTx/>
              <a:buFont typeface="Wingdings" pitchFamily="2" charset="2"/>
              <a:buNone/>
              <a:tabLst/>
              <a:defRPr baseline="0">
                <a:solidFill>
                  <a:schemeClr val="bg1"/>
                </a:solidFill>
              </a:defRPr>
            </a:lvl1pPr>
          </a:lstStyle>
          <a:p>
            <a:pPr marL="0" marR="0" lvl="0" indent="0" algn="l" defTabSz="270000" rtl="0" eaLnBrk="1" fontAlgn="auto" latinLnBrk="0" hangingPunct="1">
              <a:lnSpc>
                <a:spcPct val="110000"/>
              </a:lnSpc>
              <a:spcBef>
                <a:spcPts val="0"/>
              </a:spcBef>
              <a:spcAft>
                <a:spcPts val="600"/>
              </a:spcAft>
              <a:buClrTx/>
              <a:buSzTx/>
              <a:buFont typeface="Wingdings" pitchFamily="2" charset="2"/>
              <a:buNone/>
              <a:tabLst/>
              <a:defRPr/>
            </a:pPr>
            <a:r>
              <a:rPr lang="en-GB" dirty="0"/>
              <a:t>To insert a picture, click on the icon in the middle.</a:t>
            </a:r>
            <a:br>
              <a:rPr lang="en-GB" dirty="0"/>
            </a:br>
            <a:r>
              <a:rPr lang="en-GB" dirty="0"/>
              <a:t>Don’t move the Logo! Please use &gt;Home &gt;Reset </a:t>
            </a:r>
          </a:p>
        </p:txBody>
      </p:sp>
      <p:sp>
        <p:nvSpPr>
          <p:cNvPr id="2" name="Title 1"/>
          <p:cNvSpPr>
            <a:spLocks noGrp="1"/>
          </p:cNvSpPr>
          <p:nvPr>
            <p:ph type="ctrTitle" hasCustomPrompt="1"/>
          </p:nvPr>
        </p:nvSpPr>
        <p:spPr>
          <a:xfrm>
            <a:off x="0" y="2556000"/>
            <a:ext cx="9144000" cy="2592000"/>
          </a:xfrm>
          <a:gradFill>
            <a:gsLst>
              <a:gs pos="0">
                <a:schemeClr val="tx1">
                  <a:alpha val="75000"/>
                </a:schemeClr>
              </a:gs>
              <a:gs pos="50000">
                <a:schemeClr val="tx1">
                  <a:alpha val="45000"/>
                </a:schemeClr>
              </a:gs>
              <a:gs pos="25000">
                <a:schemeClr val="tx1">
                  <a:alpha val="58000"/>
                </a:schemeClr>
              </a:gs>
              <a:gs pos="85000">
                <a:schemeClr val="tx1">
                  <a:alpha val="0"/>
                </a:schemeClr>
              </a:gs>
            </a:gsLst>
            <a:lin ang="16200000" scaled="1"/>
          </a:gradFill>
        </p:spPr>
        <p:txBody>
          <a:bodyPr vert="horz" lIns="252000" tIns="1080000" rIns="2412000" bIns="2232000" rtlCol="0" anchor="t" anchorCtr="0">
            <a:noAutofit/>
          </a:bodyPr>
          <a:lstStyle>
            <a:lvl1pPr>
              <a:lnSpc>
                <a:spcPct val="100000"/>
              </a:lnSpc>
              <a:defRPr sz="2400">
                <a:solidFill>
                  <a:schemeClr val="bg1"/>
                </a:solidFill>
              </a:defRPr>
            </a:lvl1pPr>
          </a:lstStyle>
          <a:p>
            <a:r>
              <a:rPr lang="en-GB" dirty="0"/>
              <a:t>Title 24 pt,</a:t>
            </a:r>
            <a:br>
              <a:rPr lang="en-GB" dirty="0"/>
            </a:br>
            <a:r>
              <a:rPr lang="en-GB" dirty="0"/>
              <a:t>two lines max.</a:t>
            </a:r>
          </a:p>
        </p:txBody>
      </p:sp>
      <p:sp>
        <p:nvSpPr>
          <p:cNvPr id="3" name="Subtitle 1"/>
          <p:cNvSpPr>
            <a:spLocks noGrp="1"/>
          </p:cNvSpPr>
          <p:nvPr>
            <p:ph type="subTitle" idx="1" hasCustomPrompt="1"/>
          </p:nvPr>
        </p:nvSpPr>
        <p:spPr>
          <a:xfrm>
            <a:off x="252000" y="4284000"/>
            <a:ext cx="4320000" cy="432000"/>
          </a:xfrm>
        </p:spPr>
        <p:txBody>
          <a:bodyPr anchor="t" anchorCtr="0">
            <a:noAutofit/>
          </a:bodyPr>
          <a:lstStyle>
            <a:lvl1pPr marL="0" marR="0" indent="0" algn="l" defTabSz="685800" rtl="0" eaLnBrk="1" fontAlgn="auto" latinLnBrk="0" hangingPunct="1">
              <a:lnSpc>
                <a:spcPct val="100000"/>
              </a:lnSpc>
              <a:spcBef>
                <a:spcPts val="0"/>
              </a:spcBef>
              <a:spcAft>
                <a:spcPts val="300"/>
              </a:spcAft>
              <a:buClrTx/>
              <a:buSzTx/>
              <a:buFont typeface="Wingdings" pitchFamily="2" charset="2"/>
              <a:buNone/>
              <a:tabLst/>
              <a:defRPr>
                <a:solidFill>
                  <a:schemeClr val="bg1"/>
                </a:solidFill>
              </a:defRPr>
            </a:lvl1pPr>
          </a:lstStyle>
          <a:p>
            <a:r>
              <a:rPr lang="en-GB" dirty="0"/>
              <a:t>Date: DD/MM/YYYY</a:t>
            </a:r>
          </a:p>
          <a:p>
            <a:r>
              <a:rPr lang="en-GB" dirty="0"/>
              <a:t>Name of speaker</a:t>
            </a:r>
          </a:p>
        </p:txBody>
      </p:sp>
      <p:sp>
        <p:nvSpPr>
          <p:cNvPr id="7" name="Source 1"/>
          <p:cNvSpPr>
            <a:spLocks noGrp="1"/>
          </p:cNvSpPr>
          <p:nvPr>
            <p:ph type="body" sz="quarter" idx="12" hasCustomPrompt="1"/>
          </p:nvPr>
        </p:nvSpPr>
        <p:spPr>
          <a:xfrm>
            <a:off x="0" y="0"/>
            <a:ext cx="2376000" cy="216000"/>
          </a:xfrm>
        </p:spPr>
        <p:txBody>
          <a:bodyPr wrap="none" lIns="108000" tIns="72000" rIns="0" bIns="72000" anchor="ctr"/>
          <a:lstStyle>
            <a:lvl1pPr marL="0" indent="0" algn="l">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
        <p:nvSpPr>
          <p:cNvPr id="10" name="Text Placeholder  with Logo 2">
            <a:extLst>
              <a:ext uri="{FF2B5EF4-FFF2-40B4-BE49-F238E27FC236}">
                <a16:creationId xmlns:a16="http://schemas.microsoft.com/office/drawing/2014/main" id="{C3D18020-2119-D248-A7CE-18ACC8307F0F}"/>
              </a:ext>
            </a:extLst>
          </p:cNvPr>
          <p:cNvSpPr>
            <a:spLocks noGrp="1" noRot="1" noChangeAspect="1" noMove="1" noResize="1" noEditPoints="1" noAdjustHandles="1" noChangeArrowheads="1" noChangeShapeType="1"/>
          </p:cNvSpPr>
          <p:nvPr>
            <p:ph type="body" sz="quarter" idx="14" hasCustomPrompt="1"/>
          </p:nvPr>
        </p:nvSpPr>
        <p:spPr>
          <a:xfrm>
            <a:off x="7059600" y="4363200"/>
            <a:ext cx="1512000" cy="349200"/>
          </a:xfrm>
          <a:blipFill>
            <a:blip r:embed="rId2"/>
            <a:stretch>
              <a:fillRect/>
            </a:stretch>
          </a:blipFill>
        </p:spPr>
        <p:txBody>
          <a:bodyPr/>
          <a:lstStyle>
            <a:lvl1pPr marL="0" indent="0">
              <a:buNone/>
              <a:defRPr/>
            </a:lvl1pPr>
          </a:lstStyle>
          <a:p>
            <a:pPr lvl="0"/>
            <a:r>
              <a:rPr lang="en-GB" dirty="0"/>
              <a:t> </a:t>
            </a:r>
          </a:p>
        </p:txBody>
      </p:sp>
    </p:spTree>
    <p:extLst>
      <p:ext uri="{BB962C8B-B14F-4D97-AF65-F5344CB8AC3E}">
        <p14:creationId xmlns:p14="http://schemas.microsoft.com/office/powerpoint/2010/main" val="4215872934"/>
      </p:ext>
    </p:extLst>
  </p:cSld>
  <p:clrMapOvr>
    <a:masterClrMapping/>
  </p:clrMapOvr>
  <p:transition spd="slow">
    <p:fade thruBlk="1"/>
  </p:transition>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obj" preserve="1">
  <p:cSld name="Title and bulleted list 2">
    <p:bg>
      <p:bgPr>
        <a:solidFill>
          <a:schemeClr val="tx2"/>
        </a:solidFill>
        <a:effectLst/>
      </p:bgPr>
    </p:bg>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8"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9"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2" name="Title 1"/>
          <p:cNvSpPr>
            <a:spLocks noGrp="1"/>
          </p:cNvSpPr>
          <p:nvPr>
            <p:ph type="title" hasCustomPrompt="1"/>
          </p:nvPr>
        </p:nvSpPr>
        <p:spPr/>
        <p:txBody>
          <a:bodyPr/>
          <a:lstStyle>
            <a:lvl1pPr>
              <a:defRPr>
                <a:solidFill>
                  <a:schemeClr val="bg1"/>
                </a:solidFill>
              </a:defRPr>
            </a:lvl1pPr>
          </a:lstStyle>
          <a:p>
            <a:r>
              <a:rPr lang="en-GB" dirty="0"/>
              <a:t>Title 20 pt, two lines max. and bulleted list</a:t>
            </a:r>
            <a:endParaRPr lang="en-GB" noProof="0" dirty="0"/>
          </a:p>
        </p:txBody>
      </p:sp>
      <p:sp>
        <p:nvSpPr>
          <p:cNvPr id="3" name="Content Placeholder 1"/>
          <p:cNvSpPr>
            <a:spLocks noGrp="1"/>
          </p:cNvSpPr>
          <p:nvPr>
            <p:ph idx="1" hasCustomPrompt="1"/>
          </p:nvPr>
        </p:nvSpPr>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GB" dirty="0"/>
              <a:t>To customise the hierarchy of points, use Start &gt; Paragraph &gt; Decrease / Increase List Level. Alternatively, insert table, chart, SmartArt graphic, picture or online graphic.</a:t>
            </a:r>
            <a:br>
              <a:rPr lang="en-GB" dirty="0"/>
            </a:br>
            <a:r>
              <a:rPr lang="en-GB" dirty="0"/>
              <a:t>Formatting charts: You can use all Monochromatic colors and Colorful Palette 1 (Ribbon Chart Design &gt; Change Colors). Please use only Style 1, 2, 6 or 11. (Ribbon Chart Design &gt; Char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pic>
        <p:nvPicPr>
          <p:cNvPr id="11" name="MR Logo white 1">
            <a:extLst>
              <a:ext uri="{FF2B5EF4-FFF2-40B4-BE49-F238E27FC236}">
                <a16:creationId xmlns:a16="http://schemas.microsoft.com/office/drawing/2014/main" id="{73239E3D-E608-2590-0877-7720691D5A3D}"/>
              </a:ext>
            </a:extLst>
          </p:cNvPr>
          <p:cNvPicPr>
            <a:picLocks noChangeAspect="1"/>
          </p:cNvPicPr>
          <p:nvPr/>
        </p:nvPicPr>
        <p:blipFill>
          <a:blip r:embed="rId2"/>
          <a:stretch>
            <a:fillRect/>
          </a:stretch>
        </p:blipFill>
        <p:spPr>
          <a:xfrm>
            <a:off x="7585200" y="306000"/>
            <a:ext cx="1306800" cy="302400"/>
          </a:xfrm>
          <a:prstGeom prst="rect">
            <a:avLst/>
          </a:prstGeom>
        </p:spPr>
      </p:pic>
    </p:spTree>
    <p:extLst>
      <p:ext uri="{BB962C8B-B14F-4D97-AF65-F5344CB8AC3E}">
        <p14:creationId xmlns:p14="http://schemas.microsoft.com/office/powerpoint/2010/main" val="200911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numbering">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7"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9"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2" name="Title 1"/>
          <p:cNvSpPr>
            <a:spLocks noGrp="1"/>
          </p:cNvSpPr>
          <p:nvPr>
            <p:ph type="title" hasCustomPrompt="1"/>
          </p:nvPr>
        </p:nvSpPr>
        <p:spPr/>
        <p:txBody>
          <a:bodyPr/>
          <a:lstStyle>
            <a:lvl1pPr>
              <a:defRPr/>
            </a:lvl1pPr>
          </a:lstStyle>
          <a:p>
            <a:r>
              <a:rPr lang="en-GB" dirty="0"/>
              <a:t>Title 20 pt, two lines max. and numbering</a:t>
            </a:r>
            <a:endParaRPr lang="en-GB" noProof="0" dirty="0"/>
          </a:p>
        </p:txBody>
      </p:sp>
      <p:sp>
        <p:nvSpPr>
          <p:cNvPr id="3" name="Content Placeholder 1"/>
          <p:cNvSpPr>
            <a:spLocks noGrp="1"/>
          </p:cNvSpPr>
          <p:nvPr>
            <p:ph idx="1" hasCustomPrompt="1"/>
          </p:nvPr>
        </p:nvSpPr>
        <p:spPr/>
        <p:txBody>
          <a:bodyPr/>
          <a:lstStyle>
            <a:lvl1pPr>
              <a:buAutoNum type="arabicPeriod"/>
              <a:defRPr/>
            </a:lvl1pPr>
          </a:lstStyle>
          <a:p>
            <a:pPr lvl="0"/>
            <a:r>
              <a:rPr lang="en-GB" dirty="0"/>
              <a:t>To customise the hierarchy of points, use Start &gt; Paragraph &gt; Decrease / Increase List Level. Alternatively, insert table, chart, SmartArt graphic, picture or online graphic.</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82623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Text">
    <p:spTree>
      <p:nvGrpSpPr>
        <p:cNvPr id="1" name=""/>
        <p:cNvGrpSpPr/>
        <p:nvPr/>
      </p:nvGrpSpPr>
      <p:grpSpPr>
        <a:xfrm>
          <a:off x="0" y="0"/>
          <a:ext cx="0" cy="0"/>
          <a:chOff x="0" y="0"/>
          <a:chExt cx="0" cy="0"/>
        </a:xfrm>
      </p:grpSpPr>
      <p:sp>
        <p:nvSpPr>
          <p:cNvPr id="3" name="Content Placeholder 1"/>
          <p:cNvSpPr>
            <a:spLocks noGrp="1"/>
          </p:cNvSpPr>
          <p:nvPr>
            <p:ph idx="1" hasCustomPrompt="1"/>
          </p:nvPr>
        </p:nvSpPr>
        <p:spPr/>
        <p:txBody>
          <a:bodyPr/>
          <a:lstStyle>
            <a:lvl1pPr marL="0" indent="0">
              <a:buNone/>
              <a:defRPr/>
            </a:lvl1pPr>
            <a:lvl2pPr marL="270000" indent="0">
              <a:buNone/>
            </a:lvl2pPr>
            <a:lvl3pPr marL="540000" indent="0">
              <a:buNone/>
            </a:lvl3pPr>
            <a:lvl4pPr marL="810000" indent="0">
              <a:buNone/>
            </a:lvl4pPr>
            <a:lvl5pPr marL="1080000" indent="0">
              <a:buNone/>
            </a:lvl5pPr>
            <a:lvl6pPr marL="1350000" indent="0">
              <a:buNone/>
            </a:lvl6pPr>
            <a:lvl7pPr marL="1620000" indent="0">
              <a:buNone/>
            </a:lvl7pPr>
            <a:lvl8pPr marL="1890000" indent="0">
              <a:buNone/>
            </a:lvl8pPr>
            <a:lvl9pPr marL="2160000" indent="0">
              <a:buNone/>
            </a:lvl9pPr>
          </a:lstStyle>
          <a:p>
            <a:pPr lvl="0"/>
            <a:r>
              <a:rPr lang="en-GB" dirty="0"/>
              <a:t>To customise the hierarchy of points, use Start &gt; Paragraph &gt; Decrease / Increase List Level. Alternatively, insert table, chart, SmartArt graphic, picture or online graphic.</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 name="Title 1"/>
          <p:cNvSpPr>
            <a:spLocks noGrp="1"/>
          </p:cNvSpPr>
          <p:nvPr>
            <p:ph type="title" hasCustomPrompt="1"/>
          </p:nvPr>
        </p:nvSpPr>
        <p:spPr/>
        <p:txBody>
          <a:bodyPr/>
          <a:lstStyle/>
          <a:p>
            <a:r>
              <a:rPr lang="en-GB" dirty="0"/>
              <a:t>Title 20 pt, two lines max. and text</a:t>
            </a:r>
            <a:endParaRPr lang="en-GB" noProof="0" dirty="0"/>
          </a:p>
        </p:txBody>
      </p:sp>
      <p:sp>
        <p:nvSpPr>
          <p:cNvPr id="7" name="Datumsplatzhalter 6"/>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8" name="Foliennummernplatzhalter 7"/>
          <p:cNvSpPr>
            <a:spLocks noGrp="1"/>
          </p:cNvSpPr>
          <p:nvPr>
            <p:ph type="sldNum" sz="quarter" idx="11"/>
          </p:nvPr>
        </p:nvSpPr>
        <p:spPr/>
        <p:txBody>
          <a:bodyPr/>
          <a:lstStyle/>
          <a:p>
            <a:fld id="{D56DB8AA-803C-49D2-90AA-1140CE72DCD7}" type="slidenum">
              <a:rPr lang="en-GB" smtClean="0"/>
              <a:pPr/>
              <a:t>‹Nr.›</a:t>
            </a:fld>
            <a:endParaRPr lang="en-GB" dirty="0"/>
          </a:p>
        </p:txBody>
      </p:sp>
      <p:sp>
        <p:nvSpPr>
          <p:cNvPr id="9" name="Fußzeilenplatzhalter 8"/>
          <p:cNvSpPr>
            <a:spLocks noGrp="1"/>
          </p:cNvSpPr>
          <p:nvPr>
            <p:ph type="ftr" sz="quarter" idx="12"/>
          </p:nvPr>
        </p:nvSpPr>
        <p:spPr/>
        <p:txBody>
          <a:bodyPr/>
          <a:lstStyle/>
          <a:p>
            <a:r>
              <a:rPr lang="en-GB"/>
              <a:t>Editing footer: Insert &gt; Header &amp; Footer (title of presentation and name of speaker)</a:t>
            </a:r>
            <a:endParaRPr lang="en-GB" dirty="0"/>
          </a:p>
        </p:txBody>
      </p:sp>
    </p:spTree>
    <p:extLst>
      <p:ext uri="{BB962C8B-B14F-4D97-AF65-F5344CB8AC3E}">
        <p14:creationId xmlns:p14="http://schemas.microsoft.com/office/powerpoint/2010/main" val="2692112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heading and content">
    <p:spTree>
      <p:nvGrpSpPr>
        <p:cNvPr id="1" name=""/>
        <p:cNvGrpSpPr/>
        <p:nvPr/>
      </p:nvGrpSpPr>
      <p:grpSpPr>
        <a:xfrm>
          <a:off x="0" y="0"/>
          <a:ext cx="0" cy="0"/>
          <a:chOff x="0" y="0"/>
          <a:chExt cx="0" cy="0"/>
        </a:xfrm>
      </p:grpSpPr>
      <p:sp>
        <p:nvSpPr>
          <p:cNvPr id="13"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1"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4"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16" name="Titel 1"/>
          <p:cNvSpPr>
            <a:spLocks noGrp="1"/>
          </p:cNvSpPr>
          <p:nvPr>
            <p:ph type="title" hasCustomPrompt="1"/>
          </p:nvPr>
        </p:nvSpPr>
        <p:spPr/>
        <p:txBody>
          <a:bodyPr/>
          <a:lstStyle/>
          <a:p>
            <a:r>
              <a:rPr lang="en-GB" dirty="0"/>
              <a:t>Title 20 pt, two lines max. and chart</a:t>
            </a:r>
          </a:p>
        </p:txBody>
      </p:sp>
      <p:sp>
        <p:nvSpPr>
          <p:cNvPr id="18" name="Content Placeholder 1"/>
          <p:cNvSpPr>
            <a:spLocks noGrp="1"/>
          </p:cNvSpPr>
          <p:nvPr>
            <p:ph sz="quarter" idx="13" hasCustomPrompt="1"/>
          </p:nvPr>
        </p:nvSpPr>
        <p:spPr>
          <a:xfrm>
            <a:off x="252000" y="1548000"/>
            <a:ext cx="8640000" cy="3312000"/>
          </a:xfrm>
        </p:spPr>
        <p:txBody>
          <a:bodyPr/>
          <a:lstStyle/>
          <a:p>
            <a:pPr marL="216000" marR="0" lvl="0" indent="-216000" algn="l" defTabSz="270000" rtl="0" eaLnBrk="1" fontAlgn="auto" latinLnBrk="0" hangingPunct="1">
              <a:lnSpc>
                <a:spcPct val="110000"/>
              </a:lnSpc>
              <a:spcBef>
                <a:spcPts val="0"/>
              </a:spcBef>
              <a:spcAft>
                <a:spcPts val="600"/>
              </a:spcAft>
              <a:buClrTx/>
              <a:buSzTx/>
              <a:buFont typeface="Wingdings" pitchFamily="2" charset="2"/>
              <a:buChar char="§"/>
              <a:tabLst/>
              <a:defRPr/>
            </a:pPr>
            <a:r>
              <a:rPr lang="en-GB" dirty="0"/>
              <a:t>To customise the hierarchy of points, use Start &gt; Paragraph &gt; Decrease / Increase List Level. Alternatively, insert table, chart, SmartArt graphic, picture or online graphic.</a:t>
            </a:r>
            <a:br>
              <a:rPr lang="en-GB" dirty="0"/>
            </a:br>
            <a:r>
              <a:rPr lang="en-GB" dirty="0"/>
              <a:t>Formatting charts: You can use all Monochromatic colors and Colorful Palette 1 (Ribbon Chart Design &gt; Change Colors). Please use only Style 1, 2, 6 or 11. (Ribbon Chart Design &gt; Chart Styles)</a:t>
            </a:r>
          </a:p>
        </p:txBody>
      </p:sp>
      <p:sp>
        <p:nvSpPr>
          <p:cNvPr id="8" name="Heading Placeholder 1"/>
          <p:cNvSpPr>
            <a:spLocks noGrp="1"/>
          </p:cNvSpPr>
          <p:nvPr>
            <p:ph type="body" idx="1" hasCustomPrompt="1"/>
          </p:nvPr>
        </p:nvSpPr>
        <p:spPr>
          <a:xfrm>
            <a:off x="252000" y="1116000"/>
            <a:ext cx="8640000" cy="288000"/>
          </a:xfrm>
        </p:spPr>
        <p:txBody>
          <a:bodyPr wrap="square" lIns="0" tIns="0" rIns="0" bIns="0" anchor="t"/>
          <a:lstStyle>
            <a:lvl1pPr marL="0" indent="0">
              <a:lnSpc>
                <a:spcPct val="100000"/>
              </a:lnSpc>
              <a:spcAft>
                <a:spcPts val="0"/>
              </a:spcAft>
              <a:buFontTx/>
              <a:buNone/>
              <a:defRPr sz="1600">
                <a:solidFill>
                  <a:schemeClr val="accent1"/>
                </a:solidFill>
              </a:defRPr>
            </a:lvl1pPr>
          </a:lstStyle>
          <a:p>
            <a:pPr lvl="0"/>
            <a:r>
              <a:rPr lang="en-GB" dirty="0"/>
              <a:t>Heading 16 pt, single line</a:t>
            </a:r>
          </a:p>
        </p:txBody>
      </p:sp>
    </p:spTree>
    <p:extLst>
      <p:ext uri="{BB962C8B-B14F-4D97-AF65-F5344CB8AC3E}">
        <p14:creationId xmlns:p14="http://schemas.microsoft.com/office/powerpoint/2010/main" val="32770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orient="horz" pos="975">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3"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5"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2" name="Titel 1"/>
          <p:cNvSpPr>
            <a:spLocks noGrp="1"/>
          </p:cNvSpPr>
          <p:nvPr>
            <p:ph type="title" hasCustomPrompt="1"/>
          </p:nvPr>
        </p:nvSpPr>
        <p:spPr/>
        <p:txBody>
          <a:bodyPr/>
          <a:lstStyle>
            <a:lvl1pPr>
              <a:defRPr/>
            </a:lvl1pPr>
          </a:lstStyle>
          <a:p>
            <a:r>
              <a:rPr lang="en-GB" dirty="0"/>
              <a:t>Title 20 pt, two lines max. and two content blocks</a:t>
            </a:r>
          </a:p>
        </p:txBody>
      </p:sp>
      <p:sp>
        <p:nvSpPr>
          <p:cNvPr id="20" name="Content Placeholder 1"/>
          <p:cNvSpPr>
            <a:spLocks noGrp="1"/>
          </p:cNvSpPr>
          <p:nvPr>
            <p:ph sz="quarter" idx="13" hasCustomPrompt="1"/>
          </p:nvPr>
        </p:nvSpPr>
        <p:spPr>
          <a:xfrm>
            <a:off x="252000" y="1548000"/>
            <a:ext cx="4185000" cy="3312000"/>
          </a:xfrm>
        </p:spPr>
        <p:txBody>
          <a:bodyPr lIns="0" tIns="0" rIns="0" bIns="0"/>
          <a:lstStyle>
            <a:lvl1pPr>
              <a:defRPr/>
            </a:lvl1pPr>
          </a:lstStyle>
          <a:p>
            <a:pPr lvl="0"/>
            <a:r>
              <a:rPr lang="en-GB" dirty="0"/>
              <a:t>To customise the hierarchy of points, use Start &gt; Paragraph &gt; Decrease / Increase Li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2" name="Content Placeholder 2"/>
          <p:cNvSpPr>
            <a:spLocks noGrp="1"/>
          </p:cNvSpPr>
          <p:nvPr>
            <p:ph sz="quarter" idx="14" hasCustomPrompt="1"/>
          </p:nvPr>
        </p:nvSpPr>
        <p:spPr>
          <a:xfrm>
            <a:off x="4707000" y="1543050"/>
            <a:ext cx="4185000" cy="3312000"/>
          </a:xfrm>
        </p:spPr>
        <p:txBody>
          <a:bodyPr lIns="0" tIns="0" rIns="0" bIns="0"/>
          <a:lstStyle>
            <a:lvl1pPr>
              <a:defRPr/>
            </a:lvl1pPr>
          </a:lstStyle>
          <a:p>
            <a:pPr lvl="0"/>
            <a:r>
              <a:rPr lang="en-GB" dirty="0"/>
              <a:t>To customise the hierarchy of points, use Start &gt; Paragraph &gt; Decrease / Increase List Level.</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3" name="Heading Placeholder 1"/>
          <p:cNvSpPr>
            <a:spLocks noGrp="1"/>
          </p:cNvSpPr>
          <p:nvPr>
            <p:ph type="body" idx="1" hasCustomPrompt="1"/>
          </p:nvPr>
        </p:nvSpPr>
        <p:spPr>
          <a:xfrm>
            <a:off x="252000" y="1116000"/>
            <a:ext cx="4185000" cy="288000"/>
          </a:xfrm>
        </p:spPr>
        <p:txBody>
          <a:bodyPr wrap="square" lIns="0" tIns="0" rIns="0" bIns="0" anchor="t"/>
          <a:lstStyle>
            <a:lvl1pPr marL="0" indent="0">
              <a:lnSpc>
                <a:spcPct val="100000"/>
              </a:lnSpc>
              <a:spcAft>
                <a:spcPts val="0"/>
              </a:spcAft>
              <a:buFontTx/>
              <a:buNone/>
              <a:defRPr sz="1600">
                <a:solidFill>
                  <a:schemeClr val="accent1"/>
                </a:solidFill>
              </a:defRPr>
            </a:lvl1pPr>
          </a:lstStyle>
          <a:p>
            <a:pPr lvl="0"/>
            <a:r>
              <a:rPr lang="en-GB" dirty="0"/>
              <a:t>Heading 16 pt, single line</a:t>
            </a:r>
          </a:p>
        </p:txBody>
      </p:sp>
      <p:sp>
        <p:nvSpPr>
          <p:cNvPr id="5" name="Heading Placeholder 2"/>
          <p:cNvSpPr>
            <a:spLocks noGrp="1"/>
          </p:cNvSpPr>
          <p:nvPr>
            <p:ph type="body" sz="quarter" idx="3" hasCustomPrompt="1"/>
          </p:nvPr>
        </p:nvSpPr>
        <p:spPr>
          <a:xfrm>
            <a:off x="4707000" y="1116000"/>
            <a:ext cx="4185000" cy="288000"/>
          </a:xfrm>
        </p:spPr>
        <p:txBody>
          <a:bodyPr wrap="square" lIns="0" tIns="0" rIns="0" bIns="0" anchor="t"/>
          <a:lstStyle>
            <a:lvl1pPr marL="0" indent="0">
              <a:lnSpc>
                <a:spcPct val="100000"/>
              </a:lnSpc>
              <a:spcAft>
                <a:spcPts val="0"/>
              </a:spcAft>
              <a:buFontTx/>
              <a:buNone/>
              <a:defRPr sz="1600">
                <a:solidFill>
                  <a:schemeClr val="accent1"/>
                </a:solidFill>
              </a:defRPr>
            </a:lvl1pPr>
          </a:lstStyle>
          <a:p>
            <a:pPr lvl="0"/>
            <a:r>
              <a:rPr lang="en-GB" dirty="0"/>
              <a:t>Heading 16 pt, single line</a:t>
            </a:r>
          </a:p>
        </p:txBody>
      </p:sp>
    </p:spTree>
    <p:extLst>
      <p:ext uri="{BB962C8B-B14F-4D97-AF65-F5344CB8AC3E}">
        <p14:creationId xmlns:p14="http://schemas.microsoft.com/office/powerpoint/2010/main" val="2518515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795">
          <p15:clr>
            <a:srgbClr val="FBAE40"/>
          </p15:clr>
        </p15:guide>
        <p15:guide id="37" pos="2965">
          <p15:clr>
            <a:srgbClr val="FBAE40"/>
          </p15:clr>
        </p15:guide>
        <p15:guide id="38" orient="horz" pos="9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and three pictures">
    <p:spTree>
      <p:nvGrpSpPr>
        <p:cNvPr id="1" name=""/>
        <p:cNvGrpSpPr/>
        <p:nvPr/>
      </p:nvGrpSpPr>
      <p:grpSpPr>
        <a:xfrm>
          <a:off x="0" y="0"/>
          <a:ext cx="0" cy="0"/>
          <a:chOff x="0" y="0"/>
          <a:chExt cx="0" cy="0"/>
        </a:xfrm>
      </p:grpSpPr>
      <p:sp>
        <p:nvSpPr>
          <p:cNvPr id="21" name="Picture Placeholder 3"/>
          <p:cNvSpPr>
            <a:spLocks noGrp="1"/>
          </p:cNvSpPr>
          <p:nvPr>
            <p:ph type="pic" sz="quarter" idx="15" hasCustomPrompt="1"/>
          </p:nvPr>
        </p:nvSpPr>
        <p:spPr>
          <a:xfrm>
            <a:off x="6192000" y="1116000"/>
            <a:ext cx="2700000" cy="2160000"/>
          </a:xfrm>
          <a:solidFill>
            <a:schemeClr val="bg1">
              <a:lumMod val="85000"/>
            </a:schemeClr>
          </a:solidFill>
        </p:spPr>
        <p:txBody>
          <a:bodyPr>
            <a:normAutofit/>
          </a:bodyPr>
          <a:lstStyle>
            <a:lvl1pPr marL="0" indent="0" algn="ctr">
              <a:buFontTx/>
              <a:buNone/>
              <a:defRPr/>
            </a:lvl1pPr>
          </a:lstStyle>
          <a:p>
            <a:r>
              <a:rPr lang="en-GB" noProof="0" dirty="0"/>
              <a:t>To insert a picture, click on the icon in the middle.</a:t>
            </a:r>
          </a:p>
        </p:txBody>
      </p:sp>
      <p:sp>
        <p:nvSpPr>
          <p:cNvPr id="19" name="Picture Placeholder 1"/>
          <p:cNvSpPr>
            <a:spLocks noGrp="1"/>
          </p:cNvSpPr>
          <p:nvPr>
            <p:ph type="pic" sz="quarter" idx="13" hasCustomPrompt="1"/>
          </p:nvPr>
        </p:nvSpPr>
        <p:spPr>
          <a:xfrm>
            <a:off x="252000" y="1116000"/>
            <a:ext cx="2700000" cy="2160000"/>
          </a:xfrm>
          <a:solidFill>
            <a:schemeClr val="bg1">
              <a:lumMod val="85000"/>
            </a:schemeClr>
          </a:solidFill>
        </p:spPr>
        <p:txBody>
          <a:bodyPr>
            <a:noAutofit/>
          </a:bodyPr>
          <a:lstStyle>
            <a:lvl1pPr marL="0" indent="0" algn="ctr">
              <a:buFontTx/>
              <a:buNone/>
              <a:defRPr/>
            </a:lvl1pPr>
          </a:lstStyle>
          <a:p>
            <a:r>
              <a:rPr lang="en-GB" noProof="0" dirty="0"/>
              <a:t>To insert a picture, click on the icon in the middle.</a:t>
            </a:r>
          </a:p>
        </p:txBody>
      </p:sp>
      <p:sp>
        <p:nvSpPr>
          <p:cNvPr id="17"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6"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8"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2" name="Titel 1"/>
          <p:cNvSpPr>
            <a:spLocks noGrp="1"/>
          </p:cNvSpPr>
          <p:nvPr>
            <p:ph type="title" hasCustomPrompt="1"/>
          </p:nvPr>
        </p:nvSpPr>
        <p:spPr/>
        <p:txBody>
          <a:bodyPr/>
          <a:lstStyle/>
          <a:p>
            <a:r>
              <a:rPr lang="en-GB" noProof="0" dirty="0"/>
              <a:t>Title 20 pt, two lines max. and three pictures with text</a:t>
            </a:r>
          </a:p>
        </p:txBody>
      </p:sp>
      <p:sp>
        <p:nvSpPr>
          <p:cNvPr id="20" name="Picture Placeholder 2"/>
          <p:cNvSpPr>
            <a:spLocks noGrp="1"/>
          </p:cNvSpPr>
          <p:nvPr>
            <p:ph type="pic" sz="quarter" idx="14" hasCustomPrompt="1"/>
          </p:nvPr>
        </p:nvSpPr>
        <p:spPr>
          <a:xfrm>
            <a:off x="3222000" y="1116000"/>
            <a:ext cx="2700000" cy="2160000"/>
          </a:xfrm>
          <a:solidFill>
            <a:schemeClr val="bg1">
              <a:lumMod val="85000"/>
            </a:schemeClr>
          </a:solidFill>
        </p:spPr>
        <p:txBody>
          <a:bodyPr>
            <a:noAutofit/>
          </a:bodyPr>
          <a:lstStyle>
            <a:lvl1pPr marL="0" indent="0" algn="ctr">
              <a:buFontTx/>
              <a:buNone/>
              <a:tabLst/>
              <a:defRPr/>
            </a:lvl1pPr>
          </a:lstStyle>
          <a:p>
            <a:r>
              <a:rPr lang="en-GB" noProof="0" dirty="0"/>
              <a:t>To insert a picture, click on the icon in the middle.</a:t>
            </a:r>
          </a:p>
        </p:txBody>
      </p:sp>
      <p:sp>
        <p:nvSpPr>
          <p:cNvPr id="23" name="Text  Placeholder 1"/>
          <p:cNvSpPr>
            <a:spLocks noGrp="1"/>
          </p:cNvSpPr>
          <p:nvPr>
            <p:ph type="body" sz="quarter" idx="16" hasCustomPrompt="1"/>
          </p:nvPr>
        </p:nvSpPr>
        <p:spPr>
          <a:xfrm>
            <a:off x="252000" y="3420000"/>
            <a:ext cx="2700000" cy="1440000"/>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r>
              <a:rPr lang="en-GB" noProof="0" dirty="0"/>
              <a:t>To customise the hierarchy of points, use Start &gt; Paragraph &gt; Decrease / Increase List Level</a:t>
            </a:r>
          </a:p>
          <a:p>
            <a:pPr lvl="1"/>
            <a:r>
              <a:rPr lang="en-GB" noProof="0" dirty="0"/>
              <a:t>Second level</a:t>
            </a:r>
          </a:p>
        </p:txBody>
      </p:sp>
      <p:sp>
        <p:nvSpPr>
          <p:cNvPr id="24" name="Text Placeholder 2"/>
          <p:cNvSpPr>
            <a:spLocks noGrp="1"/>
          </p:cNvSpPr>
          <p:nvPr>
            <p:ph type="body" sz="quarter" idx="17" hasCustomPrompt="1"/>
          </p:nvPr>
        </p:nvSpPr>
        <p:spPr>
          <a:xfrm>
            <a:off x="3222000" y="3420000"/>
            <a:ext cx="2700000" cy="1440000"/>
          </a:xfrm>
        </p:spPr>
        <p:txBody>
          <a:bodyPr vert="horz" lIns="0" tIns="0" rIns="0" bIns="0" rtlCol="0">
            <a:noAutofit/>
          </a:bodyPr>
          <a:lstStyle>
            <a:lvl1pPr>
              <a:defRPr lang="en-GB" noProof="0" dirty="0"/>
            </a:lvl1pPr>
            <a:lvl2pPr>
              <a:defRPr lang="en-GB" noProof="0" dirty="0"/>
            </a:lvl2pPr>
          </a:lstStyle>
          <a:p>
            <a:pPr lvl="0">
              <a:spcAft>
                <a:spcPts val="0"/>
              </a:spcAft>
            </a:pPr>
            <a:r>
              <a:rPr lang="en-GB" noProof="0" dirty="0"/>
              <a:t>To customise the hierarchy of points, use Start &gt; Paragraph &gt; Decrease / Increase List Level.</a:t>
            </a:r>
          </a:p>
          <a:p>
            <a:pPr lvl="1">
              <a:spcAft>
                <a:spcPts val="0"/>
              </a:spcAft>
            </a:pPr>
            <a:r>
              <a:rPr lang="en-GB" noProof="0" dirty="0"/>
              <a:t>Second level</a:t>
            </a:r>
          </a:p>
        </p:txBody>
      </p:sp>
      <p:sp>
        <p:nvSpPr>
          <p:cNvPr id="25" name="Text Placeholder 3"/>
          <p:cNvSpPr>
            <a:spLocks noGrp="1"/>
          </p:cNvSpPr>
          <p:nvPr>
            <p:ph type="body" sz="quarter" idx="18" hasCustomPrompt="1"/>
          </p:nvPr>
        </p:nvSpPr>
        <p:spPr>
          <a:xfrm>
            <a:off x="6192000" y="3420000"/>
            <a:ext cx="2700000" cy="1440000"/>
          </a:xfrm>
        </p:spPr>
        <p:txBody>
          <a:bodyPr vert="horz" lIns="0" tIns="0" rIns="0" bIns="0" rtlCol="0">
            <a:noAutofit/>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vl6pPr>
              <a:spcAft>
                <a:spcPts val="0"/>
              </a:spcAft>
              <a:defRPr/>
            </a:lvl6pPr>
            <a:lvl7pPr>
              <a:spcAft>
                <a:spcPts val="0"/>
              </a:spcAft>
            </a:lvl7pPr>
            <a:lvl8pPr>
              <a:spcAft>
                <a:spcPts val="0"/>
              </a:spcAft>
            </a:lvl8pPr>
            <a:lvl9pPr>
              <a:spcAft>
                <a:spcPts val="0"/>
              </a:spcAft>
            </a:lvl9pPr>
          </a:lstStyle>
          <a:p>
            <a:pPr lvl="0">
              <a:spcAft>
                <a:spcPts val="0"/>
              </a:spcAft>
            </a:pPr>
            <a:r>
              <a:rPr lang="en-GB" noProof="0" dirty="0"/>
              <a:t>To customise the hierarchy of points, use Start &gt; Paragraph &gt; Decrease / Increase List Level.</a:t>
            </a:r>
          </a:p>
          <a:p>
            <a:pPr lvl="1"/>
            <a:r>
              <a:rPr lang="en-GB" noProof="0" dirty="0"/>
              <a:t>Second level</a:t>
            </a:r>
          </a:p>
        </p:txBody>
      </p:sp>
      <p:sp>
        <p:nvSpPr>
          <p:cNvPr id="15" name="Source 1"/>
          <p:cNvSpPr>
            <a:spLocks noGrp="1"/>
          </p:cNvSpPr>
          <p:nvPr>
            <p:ph type="body" sz="quarter" idx="23" hasCustomPrompt="1"/>
          </p:nvPr>
        </p:nvSpPr>
        <p:spPr>
          <a:xfrm>
            <a:off x="576413" y="3114012"/>
            <a:ext cx="2376000" cy="162000"/>
          </a:xfrm>
        </p:spPr>
        <p:txBody>
          <a:bodyPr wrap="none" tIns="72000" rIns="36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
        <p:nvSpPr>
          <p:cNvPr id="14" name="Source 2"/>
          <p:cNvSpPr>
            <a:spLocks noGrp="1"/>
          </p:cNvSpPr>
          <p:nvPr>
            <p:ph type="body" sz="quarter" idx="22" hasCustomPrompt="1"/>
          </p:nvPr>
        </p:nvSpPr>
        <p:spPr>
          <a:xfrm>
            <a:off x="3528000" y="3114013"/>
            <a:ext cx="2376000" cy="162000"/>
          </a:xfrm>
        </p:spPr>
        <p:txBody>
          <a:bodyPr wrap="none" tIns="72000" rIns="36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
        <p:nvSpPr>
          <p:cNvPr id="13" name="Source 3"/>
          <p:cNvSpPr>
            <a:spLocks noGrp="1"/>
          </p:cNvSpPr>
          <p:nvPr>
            <p:ph type="body" sz="quarter" idx="12" hasCustomPrompt="1"/>
          </p:nvPr>
        </p:nvSpPr>
        <p:spPr>
          <a:xfrm>
            <a:off x="6515588" y="3112425"/>
            <a:ext cx="2376000" cy="162000"/>
          </a:xfrm>
        </p:spPr>
        <p:txBody>
          <a:bodyPr wrap="none" tIns="72000" rIns="36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Tree>
    <p:extLst>
      <p:ext uri="{BB962C8B-B14F-4D97-AF65-F5344CB8AC3E}">
        <p14:creationId xmlns:p14="http://schemas.microsoft.com/office/powerpoint/2010/main" val="782736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FBAE40"/>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FBAE40"/>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030">
          <p15:clr>
            <a:srgbClr val="FBAE40"/>
          </p15:clr>
        </p15:guide>
        <p15:guide id="37" pos="3730">
          <p15:clr>
            <a:srgbClr val="FBAE40"/>
          </p15:clr>
        </p15:guide>
        <p15:guide id="39" orient="horz" pos="206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17"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6"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8"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12" name="Titel 1"/>
          <p:cNvSpPr>
            <a:spLocks noGrp="1"/>
          </p:cNvSpPr>
          <p:nvPr>
            <p:ph type="title" hasCustomPrompt="1"/>
          </p:nvPr>
        </p:nvSpPr>
        <p:spPr/>
        <p:txBody>
          <a:bodyPr/>
          <a:lstStyle/>
          <a:p>
            <a:r>
              <a:rPr lang="en-GB" noProof="0" dirty="0"/>
              <a:t>Title 20 pt, two lines max. and three pictures with text</a:t>
            </a:r>
          </a:p>
        </p:txBody>
      </p:sp>
      <p:sp>
        <p:nvSpPr>
          <p:cNvPr id="5" name="Content Placeholder 1"/>
          <p:cNvSpPr>
            <a:spLocks noGrp="1"/>
          </p:cNvSpPr>
          <p:nvPr>
            <p:ph sz="quarter" idx="13" hasCustomPrompt="1"/>
          </p:nvPr>
        </p:nvSpPr>
        <p:spPr>
          <a:xfrm>
            <a:off x="252000" y="1116000"/>
            <a:ext cx="2700000" cy="3744000"/>
          </a:xfrm>
        </p:spPr>
        <p:txBody>
          <a:bodyPr lIns="0" tIns="0" rIns="0" bIns="0"/>
          <a:lstStyle>
            <a:lvl1pPr>
              <a:defRPr/>
            </a:lvl1pPr>
          </a:lstStyle>
          <a:p>
            <a:pPr lvl="0"/>
            <a:r>
              <a:rPr lang="en-GB" dirty="0"/>
              <a:t>To customise the hierarchy of points, use Start &gt; Paragraph &gt; Decrease / Increase Li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3"/>
          <p:cNvSpPr>
            <a:spLocks noGrp="1"/>
          </p:cNvSpPr>
          <p:nvPr>
            <p:ph sz="quarter" idx="15" hasCustomPrompt="1"/>
          </p:nvPr>
        </p:nvSpPr>
        <p:spPr>
          <a:xfrm>
            <a:off x="6192000" y="1116000"/>
            <a:ext cx="2700000" cy="3744000"/>
          </a:xfrm>
        </p:spPr>
        <p:txBody>
          <a:bodyPr lIns="0" tIns="0" rIns="0" bIns="0"/>
          <a:lstStyle>
            <a:lvl1pPr>
              <a:defRPr/>
            </a:lvl1pPr>
          </a:lstStyle>
          <a:p>
            <a:pPr lvl="0"/>
            <a:r>
              <a:rPr lang="en-GB" dirty="0"/>
              <a:t>To customise the hierarchy of points, use Start &gt; Paragraph &gt; Decrease / Increase Li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Content Placeholder 2"/>
          <p:cNvSpPr>
            <a:spLocks noGrp="1"/>
          </p:cNvSpPr>
          <p:nvPr>
            <p:ph sz="quarter" idx="14" hasCustomPrompt="1"/>
          </p:nvPr>
        </p:nvSpPr>
        <p:spPr>
          <a:xfrm>
            <a:off x="3222000" y="1116000"/>
            <a:ext cx="2700000" cy="3744000"/>
          </a:xfrm>
        </p:spPr>
        <p:txBody>
          <a:bodyPr lIns="0" tIns="0" rIns="0" bIns="0"/>
          <a:lstStyle>
            <a:lvl1pPr>
              <a:defRPr/>
            </a:lvl1pPr>
          </a:lstStyle>
          <a:p>
            <a:pPr lvl="0"/>
            <a:r>
              <a:rPr lang="en-GB" dirty="0"/>
              <a:t>To customise the hierarchy of points, use Start &gt; Paragraph &gt; Decrease / Increase Li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23441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FBAE40"/>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030">
          <p15:clr>
            <a:srgbClr val="FBAE40"/>
          </p15:clr>
        </p15:guide>
        <p15:guide id="37" pos="373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Four contents">
    <p:spTree>
      <p:nvGrpSpPr>
        <p:cNvPr id="1" name=""/>
        <p:cNvGrpSpPr/>
        <p:nvPr/>
      </p:nvGrpSpPr>
      <p:grpSpPr>
        <a:xfrm>
          <a:off x="0" y="0"/>
          <a:ext cx="0" cy="0"/>
          <a:chOff x="0" y="0"/>
          <a:chExt cx="0" cy="0"/>
        </a:xfrm>
      </p:grpSpPr>
      <p:sp>
        <p:nvSpPr>
          <p:cNvPr id="14"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3"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5"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2" name="Titel 1"/>
          <p:cNvSpPr>
            <a:spLocks noGrp="1"/>
          </p:cNvSpPr>
          <p:nvPr>
            <p:ph type="title" hasCustomPrompt="1"/>
          </p:nvPr>
        </p:nvSpPr>
        <p:spPr/>
        <p:txBody>
          <a:bodyPr/>
          <a:lstStyle>
            <a:lvl1pPr>
              <a:defRPr/>
            </a:lvl1pPr>
          </a:lstStyle>
          <a:p>
            <a:r>
              <a:rPr lang="en-GB" dirty="0"/>
              <a:t>Title 20 pt, two lines max. and four content blocks</a:t>
            </a:r>
          </a:p>
        </p:txBody>
      </p:sp>
      <p:sp>
        <p:nvSpPr>
          <p:cNvPr id="5" name="Content Placeholder 1"/>
          <p:cNvSpPr>
            <a:spLocks noGrp="1"/>
          </p:cNvSpPr>
          <p:nvPr>
            <p:ph sz="quarter" idx="13" hasCustomPrompt="1"/>
          </p:nvPr>
        </p:nvSpPr>
        <p:spPr>
          <a:xfrm>
            <a:off x="252000" y="1116000"/>
            <a:ext cx="4185000" cy="1728000"/>
          </a:xfrm>
        </p:spPr>
        <p:txBody>
          <a:bodyPr lIns="0" tIns="0" rIns="0" bIns="0"/>
          <a:lstStyle>
            <a:lvl1pPr>
              <a:defRPr/>
            </a:lvl1pPr>
          </a:lstStyle>
          <a:p>
            <a:pPr lvl="0"/>
            <a:r>
              <a:rPr lang="en-GB" dirty="0"/>
              <a:t>To customise the hierarchy of points, use </a:t>
            </a:r>
            <a:br>
              <a:rPr lang="en-GB" dirty="0"/>
            </a:br>
            <a:r>
              <a:rPr lang="en-GB" dirty="0"/>
              <a:t>Start &gt; Paragraph &gt; Decrease/Increase Li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Content Placeholder 2"/>
          <p:cNvSpPr>
            <a:spLocks noGrp="1"/>
          </p:cNvSpPr>
          <p:nvPr>
            <p:ph sz="quarter" idx="14" hasCustomPrompt="1"/>
          </p:nvPr>
        </p:nvSpPr>
        <p:spPr>
          <a:xfrm>
            <a:off x="252000" y="3132000"/>
            <a:ext cx="4185000" cy="1728000"/>
          </a:xfrm>
        </p:spPr>
        <p:txBody>
          <a:bodyPr lIns="0" tIns="0" rIns="0" bIns="0"/>
          <a:lstStyle>
            <a:lvl1pPr>
              <a:defRPr/>
            </a:lvl1pPr>
          </a:lstStyle>
          <a:p>
            <a:pPr lvl="0"/>
            <a:r>
              <a:rPr lang="en-GB" dirty="0"/>
              <a:t>To customise the hierarchy of points, use </a:t>
            </a:r>
            <a:br>
              <a:rPr lang="en-GB" dirty="0"/>
            </a:br>
            <a:r>
              <a:rPr lang="en-GB" dirty="0"/>
              <a:t>Start &gt; Paragraph &gt; Decrease/Increase Li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6" name="Content Placeholder 3"/>
          <p:cNvSpPr>
            <a:spLocks noGrp="1"/>
          </p:cNvSpPr>
          <p:nvPr>
            <p:ph sz="quarter" idx="15" hasCustomPrompt="1"/>
          </p:nvPr>
        </p:nvSpPr>
        <p:spPr>
          <a:xfrm>
            <a:off x="4707000" y="1116000"/>
            <a:ext cx="4185000" cy="1728000"/>
          </a:xfrm>
        </p:spPr>
        <p:txBody>
          <a:bodyPr lIns="0" tIns="0" rIns="0" bIns="0"/>
          <a:lstStyle>
            <a:lvl1pPr>
              <a:defRPr/>
            </a:lvl1pPr>
          </a:lstStyle>
          <a:p>
            <a:pPr lvl="0"/>
            <a:r>
              <a:rPr lang="en-GB" dirty="0"/>
              <a:t>To customise the hierarchy of points, use </a:t>
            </a:r>
            <a:br>
              <a:rPr lang="en-GB" dirty="0"/>
            </a:br>
            <a:r>
              <a:rPr lang="en-GB" dirty="0"/>
              <a:t>Start &gt; Paragraph &gt; Decrease/Increase List Level.</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7" name="Content Placeholder 4">
            <a:extLst>
              <a:ext uri="{FF2B5EF4-FFF2-40B4-BE49-F238E27FC236}">
                <a16:creationId xmlns:a16="http://schemas.microsoft.com/office/drawing/2014/main" id="{4900E005-09BF-4AA0-A122-10A29CE35E41}"/>
              </a:ext>
            </a:extLst>
          </p:cNvPr>
          <p:cNvSpPr>
            <a:spLocks noGrp="1"/>
          </p:cNvSpPr>
          <p:nvPr>
            <p:ph sz="quarter" idx="16" hasCustomPrompt="1"/>
          </p:nvPr>
        </p:nvSpPr>
        <p:spPr>
          <a:xfrm>
            <a:off x="4707000" y="3132000"/>
            <a:ext cx="4185000" cy="1728000"/>
          </a:xfrm>
        </p:spPr>
        <p:txBody>
          <a:bodyPr lIns="0" tIns="0" rIns="0" bIns="0"/>
          <a:lstStyle>
            <a:lvl1pPr>
              <a:defRPr/>
            </a:lvl1pPr>
          </a:lstStyle>
          <a:p>
            <a:pPr lvl="0"/>
            <a:r>
              <a:rPr lang="en-GB" dirty="0"/>
              <a:t>To customise the hierarchy of points, use </a:t>
            </a:r>
            <a:br>
              <a:rPr lang="en-GB" dirty="0"/>
            </a:br>
            <a:r>
              <a:rPr lang="en-GB" dirty="0"/>
              <a:t>Start &gt; Paragraph &gt; Decrease/Increase List Level.</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01797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FBAE40"/>
          </p15:clr>
        </p15:guide>
        <p15:guide id="29" orient="horz" pos="1973">
          <p15:clr>
            <a:srgbClr val="FBAE40"/>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965">
          <p15:clr>
            <a:srgbClr val="FBAE40"/>
          </p15:clr>
        </p15:guide>
        <p15:guide id="37" pos="279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Title and content with text">
    <p:spTree>
      <p:nvGrpSpPr>
        <p:cNvPr id="1" name=""/>
        <p:cNvGrpSpPr/>
        <p:nvPr/>
      </p:nvGrpSpPr>
      <p:grpSpPr>
        <a:xfrm>
          <a:off x="0" y="0"/>
          <a:ext cx="0" cy="0"/>
          <a:chOff x="0" y="0"/>
          <a:chExt cx="0" cy="0"/>
        </a:xfrm>
      </p:grpSpPr>
      <p:sp>
        <p:nvSpPr>
          <p:cNvPr id="15"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2"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6"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8" name="Titel 1"/>
          <p:cNvSpPr>
            <a:spLocks noGrp="1"/>
          </p:cNvSpPr>
          <p:nvPr>
            <p:ph type="title" hasCustomPrompt="1"/>
          </p:nvPr>
        </p:nvSpPr>
        <p:spPr/>
        <p:txBody>
          <a:bodyPr/>
          <a:lstStyle/>
          <a:p>
            <a:r>
              <a:rPr lang="en-GB" noProof="0" dirty="0"/>
              <a:t>Title 20 pt, two lines max. and contents with comments column</a:t>
            </a:r>
          </a:p>
        </p:txBody>
      </p:sp>
      <p:sp>
        <p:nvSpPr>
          <p:cNvPr id="12" name="Heading Placeholder 1"/>
          <p:cNvSpPr>
            <a:spLocks noGrp="1"/>
          </p:cNvSpPr>
          <p:nvPr>
            <p:ph type="body" sz="quarter" idx="1" hasCustomPrompt="1"/>
          </p:nvPr>
        </p:nvSpPr>
        <p:spPr>
          <a:xfrm>
            <a:off x="252000" y="1116000"/>
            <a:ext cx="8640000" cy="288000"/>
          </a:xfrm>
        </p:spPr>
        <p:txBody>
          <a:bodyPr wrap="square" lIns="0" tIns="0" rIns="0" bIns="0" anchor="t">
            <a:noAutofit/>
          </a:bodyPr>
          <a:lstStyle>
            <a:lvl1pPr marL="0" indent="0">
              <a:lnSpc>
                <a:spcPct val="100000"/>
              </a:lnSpc>
              <a:spcAft>
                <a:spcPts val="0"/>
              </a:spcAft>
              <a:buFontTx/>
              <a:buNone/>
              <a:defRPr sz="1600">
                <a:solidFill>
                  <a:schemeClr val="accent1"/>
                </a:solidFill>
              </a:defRPr>
            </a:lvl1pPr>
          </a:lstStyle>
          <a:p>
            <a:pPr lvl="0"/>
            <a:r>
              <a:rPr lang="en-GB" noProof="0" dirty="0"/>
              <a:t>Heading 16 pt, single line</a:t>
            </a:r>
          </a:p>
        </p:txBody>
      </p:sp>
      <p:sp>
        <p:nvSpPr>
          <p:cNvPr id="14" name="Content Placeholder 1"/>
          <p:cNvSpPr>
            <a:spLocks noGrp="1"/>
          </p:cNvSpPr>
          <p:nvPr>
            <p:ph sz="quarter" idx="19" hasCustomPrompt="1"/>
          </p:nvPr>
        </p:nvSpPr>
        <p:spPr>
          <a:xfrm>
            <a:off x="252000" y="1548000"/>
            <a:ext cx="5400000" cy="3312000"/>
          </a:xfrm>
          <a:effectLst/>
        </p:spPr>
        <p:txBody>
          <a:bodyPr lIns="0" tIns="0">
            <a:noAutofit/>
          </a:bodyPr>
          <a:lstStyle>
            <a:lvl1pPr marL="0" indent="0">
              <a:spcAft>
                <a:spcPts val="0"/>
              </a:spcAft>
              <a:buFontTx/>
              <a:buNone/>
              <a:defRPr/>
            </a:lvl1pPr>
          </a:lstStyle>
          <a:p>
            <a:pPr lvl="0"/>
            <a:r>
              <a:rPr lang="en-GB" dirty="0"/>
              <a:t>To insert a table, chart, SmartArt graphic, picture or online graphic, click on the icon in the middle.</a:t>
            </a:r>
            <a:endParaRPr dirty="0"/>
          </a:p>
        </p:txBody>
      </p:sp>
      <p:sp>
        <p:nvSpPr>
          <p:cNvPr id="13" name="Text Placeholder 2"/>
          <p:cNvSpPr>
            <a:spLocks noGrp="1"/>
          </p:cNvSpPr>
          <p:nvPr>
            <p:ph type="body" sz="quarter" idx="14" hasCustomPrompt="1"/>
          </p:nvPr>
        </p:nvSpPr>
        <p:spPr>
          <a:xfrm>
            <a:off x="5922000" y="1548000"/>
            <a:ext cx="2970000" cy="3312000"/>
          </a:xfrm>
          <a:effectLst/>
        </p:spPr>
        <p:txBody>
          <a:bodyPr lIns="0" tIns="0" rIns="108000" bIns="0">
            <a:noAutofit/>
          </a:bodyPr>
          <a:lstStyle>
            <a:lvl1pPr algn="l">
              <a:defRPr/>
            </a:lvl1pPr>
            <a:lvl2pPr algn="l">
              <a:defRPr/>
            </a:lvl2pPr>
            <a:lvl3pPr algn="l">
              <a:defRPr/>
            </a:lvl3pPr>
            <a:lvl4pPr algn="l">
              <a:defRPr/>
            </a:lvl4pPr>
          </a:lstStyle>
          <a:p>
            <a:pPr lvl="0"/>
            <a:r>
              <a:rPr lang="en-GB" noProof="0" dirty="0"/>
              <a:t>To customise the hierarchy of points, use Start &gt; Paragraph &gt; Decrease / Increase List Level.</a:t>
            </a:r>
          </a:p>
          <a:p>
            <a:pPr lvl="1"/>
            <a:r>
              <a:rPr lang="en-GB" noProof="0" dirty="0"/>
              <a:t>Second level</a:t>
            </a:r>
          </a:p>
          <a:p>
            <a:pPr lvl="2"/>
            <a:r>
              <a:rPr lang="en-GB" noProof="0" dirty="0"/>
              <a:t>Third level</a:t>
            </a:r>
          </a:p>
          <a:p>
            <a:pPr lvl="3"/>
            <a:r>
              <a:rPr lang="en-GB" noProof="0" dirty="0"/>
              <a:t>Fourth level</a:t>
            </a:r>
          </a:p>
        </p:txBody>
      </p:sp>
    </p:spTree>
    <p:extLst>
      <p:ext uri="{BB962C8B-B14F-4D97-AF65-F5344CB8AC3E}">
        <p14:creationId xmlns:p14="http://schemas.microsoft.com/office/powerpoint/2010/main" val="68853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FBAE40"/>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orient="horz" pos="975">
          <p15:clr>
            <a:srgbClr val="FBAE40"/>
          </p15:clr>
        </p15:guide>
        <p15:guide id="37" pos="373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paration slide 1">
    <p:spTree>
      <p:nvGrpSpPr>
        <p:cNvPr id="1" name=""/>
        <p:cNvGrpSpPr/>
        <p:nvPr/>
      </p:nvGrpSpPr>
      <p:grpSpPr>
        <a:xfrm>
          <a:off x="0" y="0"/>
          <a:ext cx="0" cy="0"/>
          <a:chOff x="0" y="0"/>
          <a:chExt cx="0" cy="0"/>
        </a:xfrm>
      </p:grpSpPr>
      <p:sp>
        <p:nvSpPr>
          <p:cNvPr id="10" name="Picture Placeholder 1"/>
          <p:cNvSpPr>
            <a:spLocks noGrp="1"/>
          </p:cNvSpPr>
          <p:nvPr>
            <p:ph type="pic" sz="quarter" idx="13" hasCustomPrompt="1"/>
          </p:nvPr>
        </p:nvSpPr>
        <p:spPr>
          <a:xfrm>
            <a:off x="0" y="0"/>
            <a:ext cx="9144000" cy="3995738"/>
          </a:xfrm>
          <a:solidFill>
            <a:schemeClr val="tx2"/>
          </a:solidFill>
        </p:spPr>
        <p:txBody>
          <a:bodyPr tIns="1080000" anchor="t" anchorCtr="1"/>
          <a:lstStyle>
            <a:lvl1pPr>
              <a:buFontTx/>
              <a:buNone/>
              <a:defRPr>
                <a:solidFill>
                  <a:schemeClr val="bg1"/>
                </a:solidFill>
              </a:defRPr>
            </a:lvl1pPr>
          </a:lstStyle>
          <a:p>
            <a:r>
              <a:rPr lang="en-GB" dirty="0"/>
              <a:t>To insert a picture, click on the icon in the middle.</a:t>
            </a:r>
          </a:p>
        </p:txBody>
      </p:sp>
      <p:sp>
        <p:nvSpPr>
          <p:cNvPr id="13" name="Text Placeholder 1"/>
          <p:cNvSpPr>
            <a:spLocks noGrp="1"/>
          </p:cNvSpPr>
          <p:nvPr>
            <p:ph type="subTitle" idx="1" hasCustomPrompt="1"/>
          </p:nvPr>
        </p:nvSpPr>
        <p:spPr>
          <a:xfrm>
            <a:off x="0" y="3996000"/>
            <a:ext cx="9144000" cy="1147680"/>
          </a:xfrm>
          <a:solidFill>
            <a:schemeClr val="bg1"/>
          </a:solidFill>
        </p:spPr>
        <p:txBody>
          <a:bodyPr wrap="none" lIns="252000" tIns="72000" bIns="72000" anchor="b" anchorCtr="0">
            <a:noAutofit/>
          </a:bodyPr>
          <a:lstStyle>
            <a:lvl1pPr marL="0" indent="0" algn="dist">
              <a:lnSpc>
                <a:spcPts val="8000"/>
              </a:lnSpc>
              <a:spcAft>
                <a:spcPts val="0"/>
              </a:spcAft>
              <a:buFontTx/>
              <a:buNone/>
              <a:defRPr sz="7500" baseline="0">
                <a:solidFill>
                  <a:schemeClr val="accent1"/>
                </a:solidFill>
              </a:defRPr>
            </a:lvl1pPr>
          </a:lstStyle>
          <a:p>
            <a:r>
              <a:rPr lang="en-GB" dirty="0"/>
              <a:t>“01”</a:t>
            </a:r>
          </a:p>
        </p:txBody>
      </p:sp>
      <p:sp>
        <p:nvSpPr>
          <p:cNvPr id="4" name="Titel 1"/>
          <p:cNvSpPr>
            <a:spLocks noGrp="1"/>
          </p:cNvSpPr>
          <p:nvPr>
            <p:ph type="title" hasCustomPrompt="1"/>
          </p:nvPr>
        </p:nvSpPr>
        <p:spPr>
          <a:xfrm>
            <a:off x="2412000" y="4284000"/>
            <a:ext cx="6480000" cy="576000"/>
          </a:xfrm>
        </p:spPr>
        <p:txBody>
          <a:bodyPr anchor="ctr" anchorCtr="0"/>
          <a:lstStyle>
            <a:lvl1pPr>
              <a:defRPr>
                <a:solidFill>
                  <a:schemeClr val="tx2"/>
                </a:solidFill>
              </a:defRPr>
            </a:lvl1pPr>
          </a:lstStyle>
          <a:p>
            <a:r>
              <a:rPr lang="en-GB" dirty="0"/>
              <a:t>Separating slide 20 pt, two lines max. with picture</a:t>
            </a:r>
          </a:p>
        </p:txBody>
      </p:sp>
      <p:sp>
        <p:nvSpPr>
          <p:cNvPr id="5" name="Source 1"/>
          <p:cNvSpPr>
            <a:spLocks noGrp="1"/>
          </p:cNvSpPr>
          <p:nvPr>
            <p:ph type="body" sz="quarter" idx="12" hasCustomPrompt="1"/>
          </p:nvPr>
        </p:nvSpPr>
        <p:spPr>
          <a:xfrm>
            <a:off x="6768000" y="3828089"/>
            <a:ext cx="2376000" cy="167649"/>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Tree>
    <p:extLst>
      <p:ext uri="{BB962C8B-B14F-4D97-AF65-F5344CB8AC3E}">
        <p14:creationId xmlns:p14="http://schemas.microsoft.com/office/powerpoint/2010/main" val="3160273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2">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0" y="0"/>
            <a:ext cx="9144000" cy="3132000"/>
          </a:xfrm>
          <a:solidFill>
            <a:schemeClr val="tx2"/>
          </a:solidFill>
        </p:spPr>
        <p:txBody>
          <a:bodyPr lIns="540000" tIns="792000" rIns="540000" anchor="t" anchorCtr="1"/>
          <a:lstStyle>
            <a:lvl1pPr marL="0" marR="0" indent="0" algn="l" defTabSz="270000" rtl="0" eaLnBrk="1" fontAlgn="auto" latinLnBrk="0" hangingPunct="1">
              <a:lnSpc>
                <a:spcPct val="110000"/>
              </a:lnSpc>
              <a:spcBef>
                <a:spcPts val="0"/>
              </a:spcBef>
              <a:spcAft>
                <a:spcPts val="600"/>
              </a:spcAft>
              <a:buClrTx/>
              <a:buSzTx/>
              <a:buFont typeface="Wingdings" pitchFamily="2" charset="2"/>
              <a:buNone/>
              <a:tabLst/>
              <a:defRPr baseline="0">
                <a:solidFill>
                  <a:schemeClr val="bg1"/>
                </a:solidFill>
              </a:defRPr>
            </a:lvl1pPr>
          </a:lstStyle>
          <a:p>
            <a:pPr marL="0" marR="0" lvl="0" indent="0" algn="l" defTabSz="270000" rtl="0" eaLnBrk="1" fontAlgn="auto" latinLnBrk="0" hangingPunct="1">
              <a:lnSpc>
                <a:spcPct val="110000"/>
              </a:lnSpc>
              <a:spcBef>
                <a:spcPts val="0"/>
              </a:spcBef>
              <a:spcAft>
                <a:spcPts val="600"/>
              </a:spcAft>
              <a:buClrTx/>
              <a:buSzTx/>
              <a:buFont typeface="Wingdings" pitchFamily="2" charset="2"/>
              <a:buNone/>
              <a:tabLst/>
              <a:defRPr/>
            </a:pPr>
            <a:r>
              <a:rPr lang="en-GB" dirty="0"/>
              <a:t>To insert a picture, click on the icon in the middle.</a:t>
            </a:r>
          </a:p>
        </p:txBody>
      </p:sp>
      <p:pic>
        <p:nvPicPr>
          <p:cNvPr id="13" name="MR Logo 2"/>
          <p:cNvPicPr>
            <a:picLocks noChangeAspect="1"/>
          </p:cNvPicPr>
          <p:nvPr/>
        </p:nvPicPr>
        <p:blipFill>
          <a:blip r:embed="rId2"/>
          <a:stretch>
            <a:fillRect/>
          </a:stretch>
        </p:blipFill>
        <p:spPr>
          <a:xfrm>
            <a:off x="7059600" y="4363200"/>
            <a:ext cx="1512000" cy="349200"/>
          </a:xfrm>
          <a:prstGeom prst="rect">
            <a:avLst/>
          </a:prstGeom>
        </p:spPr>
      </p:pic>
      <p:sp>
        <p:nvSpPr>
          <p:cNvPr id="2" name="Title 1"/>
          <p:cNvSpPr>
            <a:spLocks noGrp="1"/>
          </p:cNvSpPr>
          <p:nvPr>
            <p:ph type="ctrTitle" hasCustomPrompt="1"/>
          </p:nvPr>
        </p:nvSpPr>
        <p:spPr>
          <a:xfrm>
            <a:off x="252000" y="3276000"/>
            <a:ext cx="6480000" cy="864000"/>
          </a:xfrm>
        </p:spPr>
        <p:txBody>
          <a:bodyPr anchor="t">
            <a:noAutofit/>
          </a:bodyPr>
          <a:lstStyle>
            <a:lvl1pPr>
              <a:lnSpc>
                <a:spcPct val="100000"/>
              </a:lnSpc>
              <a:defRPr sz="2400" baseline="0"/>
            </a:lvl1pPr>
          </a:lstStyle>
          <a:p>
            <a:r>
              <a:rPr lang="en-GB" dirty="0"/>
              <a:t>Title 24 pt,</a:t>
            </a:r>
            <a:br>
              <a:rPr lang="en-GB" dirty="0"/>
            </a:br>
            <a:r>
              <a:rPr lang="en-GB" dirty="0"/>
              <a:t>two lines max.</a:t>
            </a:r>
          </a:p>
        </p:txBody>
      </p:sp>
      <p:sp>
        <p:nvSpPr>
          <p:cNvPr id="3" name="Subtitle 1"/>
          <p:cNvSpPr>
            <a:spLocks noGrp="1"/>
          </p:cNvSpPr>
          <p:nvPr>
            <p:ph type="subTitle" idx="1" hasCustomPrompt="1"/>
          </p:nvPr>
        </p:nvSpPr>
        <p:spPr>
          <a:xfrm>
            <a:off x="252000" y="4284000"/>
            <a:ext cx="4320000" cy="432000"/>
          </a:xfrm>
        </p:spPr>
        <p:txBody>
          <a:bodyPr anchor="t" anchorCtr="0">
            <a:noAutofit/>
          </a:bodyPr>
          <a:lstStyle>
            <a:lvl1pPr marL="0" marR="0" indent="0" algn="l" defTabSz="685800" rtl="0" eaLnBrk="1" fontAlgn="auto" latinLnBrk="0" hangingPunct="1">
              <a:lnSpc>
                <a:spcPct val="100000"/>
              </a:lnSpc>
              <a:spcBef>
                <a:spcPts val="0"/>
              </a:spcBef>
              <a:spcAft>
                <a:spcPts val="300"/>
              </a:spcAft>
              <a:buClrTx/>
              <a:buSzTx/>
              <a:buFont typeface="Wingdings" pitchFamily="2" charset="2"/>
              <a:buNone/>
              <a:tabLst/>
              <a:defRPr/>
            </a:lvl1pPr>
          </a:lstStyle>
          <a:p>
            <a:r>
              <a:rPr lang="en-GB" dirty="0"/>
              <a:t>Date: DD/MM/YYYY</a:t>
            </a:r>
          </a:p>
          <a:p>
            <a:r>
              <a:rPr lang="en-GB" dirty="0"/>
              <a:t>Name of speaker</a:t>
            </a:r>
          </a:p>
        </p:txBody>
      </p:sp>
      <p:sp>
        <p:nvSpPr>
          <p:cNvPr id="7" name="Source 1"/>
          <p:cNvSpPr>
            <a:spLocks noGrp="1"/>
          </p:cNvSpPr>
          <p:nvPr>
            <p:ph type="body" sz="quarter" idx="12" hasCustomPrompt="1"/>
          </p:nvPr>
        </p:nvSpPr>
        <p:spPr>
          <a:xfrm>
            <a:off x="6768000" y="291600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Tree>
    <p:extLst>
      <p:ext uri="{BB962C8B-B14F-4D97-AF65-F5344CB8AC3E}">
        <p14:creationId xmlns:p14="http://schemas.microsoft.com/office/powerpoint/2010/main" val="3307840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7" orient="horz" pos="2064">
          <p15:clr>
            <a:srgbClr val="FBAE40"/>
          </p15:clr>
        </p15:guide>
        <p15:guide id="38" orient="horz" pos="260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Separation slide 2">
    <p:spTree>
      <p:nvGrpSpPr>
        <p:cNvPr id="1" name=""/>
        <p:cNvGrpSpPr/>
        <p:nvPr/>
      </p:nvGrpSpPr>
      <p:grpSpPr>
        <a:xfrm>
          <a:off x="0" y="0"/>
          <a:ext cx="0" cy="0"/>
          <a:chOff x="0" y="0"/>
          <a:chExt cx="0" cy="0"/>
        </a:xfrm>
      </p:grpSpPr>
      <p:sp>
        <p:nvSpPr>
          <p:cNvPr id="10" name="Picture Placeholder 1"/>
          <p:cNvSpPr>
            <a:spLocks noGrp="1"/>
          </p:cNvSpPr>
          <p:nvPr>
            <p:ph type="pic" sz="quarter" idx="13" hasCustomPrompt="1"/>
          </p:nvPr>
        </p:nvSpPr>
        <p:spPr>
          <a:xfrm>
            <a:off x="0" y="3132000"/>
            <a:ext cx="9144000" cy="2011680"/>
          </a:xfrm>
          <a:solidFill>
            <a:schemeClr val="tx2"/>
          </a:solidFill>
        </p:spPr>
        <p:txBody>
          <a:bodyPr tIns="1260000" anchor="t" anchorCtr="1"/>
          <a:lstStyle>
            <a:lvl1pPr>
              <a:buFontTx/>
              <a:buNone/>
              <a:defRPr>
                <a:solidFill>
                  <a:schemeClr val="bg1"/>
                </a:solidFill>
              </a:defRPr>
            </a:lvl1pPr>
          </a:lstStyle>
          <a:p>
            <a:r>
              <a:rPr lang="en-GB" dirty="0"/>
              <a:t>To insert a picture, click on the icon in the middle.</a:t>
            </a:r>
          </a:p>
        </p:txBody>
      </p:sp>
      <p:sp>
        <p:nvSpPr>
          <p:cNvPr id="4" name="Titel 1"/>
          <p:cNvSpPr>
            <a:spLocks noGrp="1"/>
          </p:cNvSpPr>
          <p:nvPr>
            <p:ph type="title" hasCustomPrompt="1"/>
          </p:nvPr>
        </p:nvSpPr>
        <p:spPr>
          <a:xfrm>
            <a:off x="252000" y="1116000"/>
            <a:ext cx="6480000" cy="864000"/>
          </a:xfrm>
        </p:spPr>
        <p:txBody>
          <a:bodyPr anchor="t" anchorCtr="0"/>
          <a:lstStyle>
            <a:lvl1pPr>
              <a:defRPr/>
            </a:lvl1pPr>
          </a:lstStyle>
          <a:p>
            <a:r>
              <a:rPr lang="en-GB" dirty="0"/>
              <a:t>Separating slide 20 pt, three lines max. with background picture</a:t>
            </a:r>
          </a:p>
        </p:txBody>
      </p:sp>
      <p:sp>
        <p:nvSpPr>
          <p:cNvPr id="13" name="Text Placeholder 1"/>
          <p:cNvSpPr>
            <a:spLocks noGrp="1"/>
          </p:cNvSpPr>
          <p:nvPr>
            <p:ph type="subTitle" idx="1" hasCustomPrompt="1"/>
          </p:nvPr>
        </p:nvSpPr>
        <p:spPr>
          <a:xfrm>
            <a:off x="252000" y="3996000"/>
            <a:ext cx="2160000" cy="1147680"/>
          </a:xfrm>
        </p:spPr>
        <p:txBody>
          <a:bodyPr wrap="none" tIns="72000" anchor="t" anchorCtr="0">
            <a:noAutofit/>
          </a:bodyPr>
          <a:lstStyle>
            <a:lvl1pPr marL="0" indent="0" algn="dist">
              <a:lnSpc>
                <a:spcPts val="8000"/>
              </a:lnSpc>
              <a:spcAft>
                <a:spcPts val="0"/>
              </a:spcAft>
              <a:buFontTx/>
              <a:buNone/>
              <a:defRPr sz="8000" baseline="0">
                <a:solidFill>
                  <a:schemeClr val="bg1"/>
                </a:solidFill>
              </a:defRPr>
            </a:lvl1pPr>
          </a:lstStyle>
          <a:p>
            <a:r>
              <a:rPr lang="en-GB" dirty="0"/>
              <a:t>“01”</a:t>
            </a:r>
          </a:p>
        </p:txBody>
      </p:sp>
      <p:sp>
        <p:nvSpPr>
          <p:cNvPr id="5" name="Source 1"/>
          <p:cNvSpPr>
            <a:spLocks noGrp="1"/>
          </p:cNvSpPr>
          <p:nvPr>
            <p:ph type="body" sz="quarter" idx="12" hasCustomPrompt="1"/>
          </p:nvPr>
        </p:nvSpPr>
        <p:spPr>
          <a:xfrm>
            <a:off x="6768000" y="492768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Tree>
    <p:extLst>
      <p:ext uri="{BB962C8B-B14F-4D97-AF65-F5344CB8AC3E}">
        <p14:creationId xmlns:p14="http://schemas.microsoft.com/office/powerpoint/2010/main" val="522633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FBAE40"/>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FBAE40"/>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FBAE40"/>
          </p15:clr>
        </p15:guide>
        <p15:guide id="30" orient="horz" pos="2154">
          <p15:clr>
            <a:srgbClr val="A4A3A4"/>
          </p15:clr>
        </p15:guide>
        <p15:guide id="31" orient="horz" pos="2336">
          <p15:clr>
            <a:srgbClr val="A4A3A4"/>
          </p15:clr>
        </p15:guide>
        <p15:guide id="32" orient="horz" pos="2517">
          <p15:clr>
            <a:srgbClr val="FBAE40"/>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paration slide 3">
    <p:spTree>
      <p:nvGrpSpPr>
        <p:cNvPr id="1" name=""/>
        <p:cNvGrpSpPr/>
        <p:nvPr/>
      </p:nvGrpSpPr>
      <p:grpSpPr>
        <a:xfrm>
          <a:off x="0" y="0"/>
          <a:ext cx="0" cy="0"/>
          <a:chOff x="0" y="0"/>
          <a:chExt cx="0" cy="0"/>
        </a:xfrm>
      </p:grpSpPr>
      <p:sp>
        <p:nvSpPr>
          <p:cNvPr id="10" name="Picture Placeholder 1"/>
          <p:cNvSpPr>
            <a:spLocks noGrp="1"/>
          </p:cNvSpPr>
          <p:nvPr>
            <p:ph type="pic" sz="quarter" idx="13" hasCustomPrompt="1"/>
          </p:nvPr>
        </p:nvSpPr>
        <p:spPr>
          <a:xfrm>
            <a:off x="2952000" y="0"/>
            <a:ext cx="6192000" cy="5143700"/>
          </a:xfrm>
          <a:solidFill>
            <a:schemeClr val="tx2"/>
          </a:solidFill>
        </p:spPr>
        <p:txBody>
          <a:bodyPr tIns="1080000" anchor="t" anchorCtr="1"/>
          <a:lstStyle>
            <a:lvl1pPr>
              <a:buFontTx/>
              <a:buNone/>
              <a:defRPr>
                <a:solidFill>
                  <a:schemeClr val="bg1"/>
                </a:solidFill>
              </a:defRPr>
            </a:lvl1pPr>
          </a:lstStyle>
          <a:p>
            <a:r>
              <a:rPr lang="en-GB" dirty="0"/>
              <a:t>To insert a picture, click on the icon in the middle.</a:t>
            </a:r>
          </a:p>
        </p:txBody>
      </p:sp>
      <p:sp>
        <p:nvSpPr>
          <p:cNvPr id="13" name="Text Placeholder 1"/>
          <p:cNvSpPr>
            <a:spLocks noGrp="1"/>
          </p:cNvSpPr>
          <p:nvPr>
            <p:ph type="subTitle" idx="1" hasCustomPrompt="1"/>
          </p:nvPr>
        </p:nvSpPr>
        <p:spPr>
          <a:xfrm>
            <a:off x="0" y="3996000"/>
            <a:ext cx="2952000" cy="1147680"/>
          </a:xfrm>
          <a:solidFill>
            <a:schemeClr val="bg1"/>
          </a:solidFill>
        </p:spPr>
        <p:txBody>
          <a:bodyPr wrap="none" lIns="252000" tIns="72000" bIns="72000" anchor="b" anchorCtr="0">
            <a:noAutofit/>
          </a:bodyPr>
          <a:lstStyle>
            <a:lvl1pPr marL="0" indent="0" algn="dist">
              <a:lnSpc>
                <a:spcPts val="8000"/>
              </a:lnSpc>
              <a:spcAft>
                <a:spcPts val="0"/>
              </a:spcAft>
              <a:buFontTx/>
              <a:buNone/>
              <a:defRPr sz="7500" baseline="0">
                <a:solidFill>
                  <a:schemeClr val="accent1"/>
                </a:solidFill>
              </a:defRPr>
            </a:lvl1pPr>
          </a:lstStyle>
          <a:p>
            <a:r>
              <a:rPr lang="en-GB" dirty="0"/>
              <a:t>“01”</a:t>
            </a:r>
          </a:p>
        </p:txBody>
      </p:sp>
      <p:sp>
        <p:nvSpPr>
          <p:cNvPr id="4" name="Titel 1"/>
          <p:cNvSpPr>
            <a:spLocks noGrp="1"/>
          </p:cNvSpPr>
          <p:nvPr>
            <p:ph type="title" hasCustomPrompt="1"/>
          </p:nvPr>
        </p:nvSpPr>
        <p:spPr>
          <a:xfrm>
            <a:off x="252000" y="252000"/>
            <a:ext cx="2430000" cy="1728000"/>
          </a:xfrm>
        </p:spPr>
        <p:txBody>
          <a:bodyPr anchor="t" anchorCtr="0"/>
          <a:lstStyle>
            <a:lvl1pPr>
              <a:defRPr>
                <a:solidFill>
                  <a:schemeClr val="tx2"/>
                </a:solidFill>
              </a:defRPr>
            </a:lvl1pPr>
          </a:lstStyle>
          <a:p>
            <a:r>
              <a:rPr lang="en-GB" dirty="0"/>
              <a:t>Separating slide</a:t>
            </a:r>
            <a:br>
              <a:rPr lang="en-GB" dirty="0"/>
            </a:br>
            <a:r>
              <a:rPr lang="en-GB" dirty="0"/>
              <a:t>with picture 20 pt, five lines max. </a:t>
            </a:r>
          </a:p>
        </p:txBody>
      </p:sp>
      <p:sp>
        <p:nvSpPr>
          <p:cNvPr id="5" name="Source 1"/>
          <p:cNvSpPr>
            <a:spLocks noGrp="1"/>
          </p:cNvSpPr>
          <p:nvPr>
            <p:ph type="body" sz="quarter" idx="12" hasCustomPrompt="1"/>
          </p:nvPr>
        </p:nvSpPr>
        <p:spPr>
          <a:xfrm>
            <a:off x="6768000" y="4975851"/>
            <a:ext cx="2376000" cy="167649"/>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Tree>
    <p:extLst>
      <p:ext uri="{BB962C8B-B14F-4D97-AF65-F5344CB8AC3E}">
        <p14:creationId xmlns:p14="http://schemas.microsoft.com/office/powerpoint/2010/main" val="278691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FBAE40"/>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FBAE40"/>
          </p15:clr>
        </p15:guide>
        <p15:guide id="33" orient="horz" pos="2699">
          <p15:clr>
            <a:srgbClr val="A4A3A4"/>
          </p15:clr>
        </p15:guide>
        <p15:guide id="34" orient="horz" pos="2880">
          <p15:clr>
            <a:srgbClr val="A4A3A4"/>
          </p15:clr>
        </p15:guide>
        <p15:guide id="35" orient="horz" pos="3061">
          <p15:clr>
            <a:srgbClr val="F26B43"/>
          </p15:clr>
        </p15:guide>
        <p15:guide id="36" pos="168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paration slide 4">
    <p:bg>
      <p:bgPr>
        <a:solidFill>
          <a:schemeClr val="tx2"/>
        </a:solidFill>
        <a:effectLst/>
      </p:bgPr>
    </p:bg>
    <p:spTree>
      <p:nvGrpSpPr>
        <p:cNvPr id="1" name=""/>
        <p:cNvGrpSpPr/>
        <p:nvPr/>
      </p:nvGrpSpPr>
      <p:grpSpPr>
        <a:xfrm>
          <a:off x="0" y="0"/>
          <a:ext cx="0" cy="0"/>
          <a:chOff x="0" y="0"/>
          <a:chExt cx="0" cy="0"/>
        </a:xfrm>
      </p:grpSpPr>
      <p:sp>
        <p:nvSpPr>
          <p:cNvPr id="10" name="Picture Placeholder 1"/>
          <p:cNvSpPr>
            <a:spLocks noGrp="1"/>
          </p:cNvSpPr>
          <p:nvPr>
            <p:ph type="pic" sz="quarter" idx="10" hasCustomPrompt="1"/>
          </p:nvPr>
        </p:nvSpPr>
        <p:spPr>
          <a:xfrm>
            <a:off x="2952000" y="0"/>
            <a:ext cx="6192000" cy="5143700"/>
          </a:xfrm>
          <a:solidFill>
            <a:schemeClr val="accent1"/>
          </a:solidFill>
        </p:spPr>
        <p:txBody>
          <a:bodyPr tIns="1080000" anchor="t" anchorCtr="1"/>
          <a:lstStyle>
            <a:lvl1pPr>
              <a:buFontTx/>
              <a:buNone/>
              <a:defRPr>
                <a:solidFill>
                  <a:schemeClr val="bg1"/>
                </a:solidFill>
              </a:defRPr>
            </a:lvl1pPr>
          </a:lstStyle>
          <a:p>
            <a:r>
              <a:rPr lang="en-GB" dirty="0"/>
              <a:t>To insert a picture, click on the icon in the middle.</a:t>
            </a:r>
          </a:p>
        </p:txBody>
      </p:sp>
      <p:sp>
        <p:nvSpPr>
          <p:cNvPr id="4" name="Titel 1"/>
          <p:cNvSpPr>
            <a:spLocks noGrp="1"/>
          </p:cNvSpPr>
          <p:nvPr>
            <p:ph type="title" hasCustomPrompt="1"/>
          </p:nvPr>
        </p:nvSpPr>
        <p:spPr>
          <a:xfrm>
            <a:off x="252000" y="252000"/>
            <a:ext cx="2430000" cy="1728000"/>
          </a:xfrm>
        </p:spPr>
        <p:txBody>
          <a:bodyPr anchor="t" anchorCtr="0"/>
          <a:lstStyle>
            <a:lvl1pPr>
              <a:defRPr>
                <a:solidFill>
                  <a:schemeClr val="bg1"/>
                </a:solidFill>
              </a:defRPr>
            </a:lvl1pPr>
          </a:lstStyle>
          <a:p>
            <a:r>
              <a:rPr lang="en-GB" dirty="0"/>
              <a:t>Separating slide with background picture</a:t>
            </a:r>
            <a:br>
              <a:rPr lang="en-GB" dirty="0"/>
            </a:br>
            <a:r>
              <a:rPr lang="en-GB" dirty="0"/>
              <a:t>20 pt, five lines max.</a:t>
            </a:r>
          </a:p>
        </p:txBody>
      </p:sp>
      <p:sp>
        <p:nvSpPr>
          <p:cNvPr id="5" name="Source 1"/>
          <p:cNvSpPr>
            <a:spLocks noGrp="1"/>
          </p:cNvSpPr>
          <p:nvPr>
            <p:ph type="body" sz="quarter" idx="12" hasCustomPrompt="1"/>
          </p:nvPr>
        </p:nvSpPr>
        <p:spPr>
          <a:xfrm>
            <a:off x="6768000" y="4975851"/>
            <a:ext cx="2376000" cy="167649"/>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
        <p:nvSpPr>
          <p:cNvPr id="13" name="Text Placeholder 1"/>
          <p:cNvSpPr>
            <a:spLocks noGrp="1"/>
          </p:cNvSpPr>
          <p:nvPr>
            <p:ph type="subTitle" idx="1" hasCustomPrompt="1"/>
          </p:nvPr>
        </p:nvSpPr>
        <p:spPr>
          <a:xfrm>
            <a:off x="0" y="3996000"/>
            <a:ext cx="2952000" cy="1147680"/>
          </a:xfrm>
          <a:noFill/>
        </p:spPr>
        <p:txBody>
          <a:bodyPr wrap="none" lIns="252000" tIns="72000" bIns="72000" anchor="b" anchorCtr="0">
            <a:noAutofit/>
          </a:bodyPr>
          <a:lstStyle>
            <a:lvl1pPr marL="0" indent="0" algn="dist">
              <a:lnSpc>
                <a:spcPts val="8000"/>
              </a:lnSpc>
              <a:spcAft>
                <a:spcPts val="0"/>
              </a:spcAft>
              <a:buFontTx/>
              <a:buNone/>
              <a:defRPr sz="7500" baseline="0">
                <a:solidFill>
                  <a:schemeClr val="bg1"/>
                </a:solidFill>
              </a:defRPr>
            </a:lvl1pPr>
          </a:lstStyle>
          <a:p>
            <a:r>
              <a:rPr lang="en-GB" dirty="0"/>
              <a:t>“01”</a:t>
            </a:r>
          </a:p>
        </p:txBody>
      </p:sp>
    </p:spTree>
    <p:extLst>
      <p:ext uri="{BB962C8B-B14F-4D97-AF65-F5344CB8AC3E}">
        <p14:creationId xmlns:p14="http://schemas.microsoft.com/office/powerpoint/2010/main" val="172278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FBAE40"/>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FBAE40"/>
          </p15:clr>
        </p15:guide>
        <p15:guide id="33" orient="horz" pos="2699">
          <p15:clr>
            <a:srgbClr val="A4A3A4"/>
          </p15:clr>
        </p15:guide>
        <p15:guide id="34" orient="horz" pos="2880">
          <p15:clr>
            <a:srgbClr val="A4A3A4"/>
          </p15:clr>
        </p15:guide>
        <p15:guide id="35" orient="horz" pos="3061">
          <p15:clr>
            <a:srgbClr val="F26B43"/>
          </p15:clr>
        </p15:guide>
        <p15:guide id="36" pos="168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0"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2"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6" name="Titel 1"/>
          <p:cNvSpPr>
            <a:spLocks noGrp="1"/>
          </p:cNvSpPr>
          <p:nvPr>
            <p:ph type="title" hasCustomPrompt="1"/>
          </p:nvPr>
        </p:nvSpPr>
        <p:spPr/>
        <p:txBody>
          <a:bodyPr/>
          <a:lstStyle/>
          <a:p>
            <a:r>
              <a:rPr lang="en-GB" noProof="0" dirty="0"/>
              <a:t>Title only 20 pt, two lines max. </a:t>
            </a:r>
          </a:p>
        </p:txBody>
      </p:sp>
    </p:spTree>
    <p:extLst>
      <p:ext uri="{BB962C8B-B14F-4D97-AF65-F5344CB8AC3E}">
        <p14:creationId xmlns:p14="http://schemas.microsoft.com/office/powerpoint/2010/main" val="229858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710">
          <p15:clr>
            <a:srgbClr val="FBAE40"/>
          </p15:clr>
        </p15:guide>
        <p15:guide id="37" pos="3050">
          <p15:clr>
            <a:srgbClr val="FBAE40"/>
          </p15:clr>
        </p15:guide>
        <p15:guide id="38" orient="horz" pos="1519">
          <p15:clr>
            <a:srgbClr val="FBAE40"/>
          </p15:clr>
        </p15:guide>
        <p15:guide id="39" orient="horz" pos="170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Empty">
    <p:spTree>
      <p:nvGrpSpPr>
        <p:cNvPr id="1" name=""/>
        <p:cNvGrpSpPr/>
        <p:nvPr/>
      </p:nvGrpSpPr>
      <p:grpSpPr>
        <a:xfrm>
          <a:off x="0" y="0"/>
          <a:ext cx="0" cy="0"/>
          <a:chOff x="0" y="0"/>
          <a:chExt cx="0" cy="0"/>
        </a:xfrm>
      </p:grpSpPr>
      <p:sp>
        <p:nvSpPr>
          <p:cNvPr id="11"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0"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2"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Tree>
    <p:extLst>
      <p:ext uri="{BB962C8B-B14F-4D97-AF65-F5344CB8AC3E}">
        <p14:creationId xmlns:p14="http://schemas.microsoft.com/office/powerpoint/2010/main" val="1885546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710">
          <p15:clr>
            <a:srgbClr val="FBAE40"/>
          </p15:clr>
        </p15:guide>
        <p15:guide id="37" pos="3050">
          <p15:clr>
            <a:srgbClr val="FBAE40"/>
          </p15:clr>
        </p15:guide>
        <p15:guide id="38" orient="horz" pos="1519">
          <p15:clr>
            <a:srgbClr val="FBAE40"/>
          </p15:clr>
        </p15:guide>
        <p15:guide id="39" orient="horz" pos="170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46" name="Rechteck 6">
            <a:extLst>
              <a:ext uri="{FF2B5EF4-FFF2-40B4-BE49-F238E27FC236}">
                <a16:creationId xmlns:a16="http://schemas.microsoft.com/office/drawing/2014/main" id="{FF4072A1-3199-46B9-9486-2E737BB1202F}"/>
              </a:ext>
            </a:extLst>
          </p:cNvPr>
          <p:cNvSpPr/>
          <p:nvPr/>
        </p:nvSpPr>
        <p:spPr>
          <a:xfrm>
            <a:off x="6192000" y="3132000"/>
            <a:ext cx="2700000" cy="172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68" name="Content Placeholder 6">
            <a:extLst>
              <a:ext uri="{FF2B5EF4-FFF2-40B4-BE49-F238E27FC236}">
                <a16:creationId xmlns:a16="http://schemas.microsoft.com/office/drawing/2014/main" id="{E728B84C-A7A3-D4F0-6835-25A02729F4DA}"/>
              </a:ext>
            </a:extLst>
          </p:cNvPr>
          <p:cNvSpPr>
            <a:spLocks noGrp="1"/>
          </p:cNvSpPr>
          <p:nvPr>
            <p:ph sz="quarter" idx="46" hasCustomPrompt="1"/>
          </p:nvPr>
        </p:nvSpPr>
        <p:spPr>
          <a:xfrm>
            <a:off x="6192000" y="4428000"/>
            <a:ext cx="2700000" cy="432000"/>
          </a:xfrm>
        </p:spPr>
        <p:txBody>
          <a:bodyPr lIns="72000" tIns="0" rIns="0" bIns="0"/>
          <a:lstStyle>
            <a:lvl1pPr>
              <a:spcAft>
                <a:spcPts val="0"/>
              </a:spcAft>
              <a:defRPr sz="900"/>
            </a:lvl1pPr>
            <a:lvl2pPr>
              <a:spcAft>
                <a:spcPts val="0"/>
              </a:spcAft>
              <a:defRPr sz="900"/>
            </a:lvl2pPr>
            <a:lvl3pPr>
              <a:spcAft>
                <a:spcPts val="0"/>
              </a:spcAft>
              <a:defRPr sz="900"/>
            </a:lvl3pPr>
            <a:lvl4pPr>
              <a:spcAft>
                <a:spcPts val="0"/>
              </a:spcAft>
              <a:defRPr sz="900"/>
            </a:lvl4pPr>
            <a:lvl5pPr>
              <a:spcAft>
                <a:spcPts val="0"/>
              </a:spcAft>
              <a:defRPr sz="900"/>
            </a:lvl5pPr>
          </a:lstStyle>
          <a:p>
            <a:pPr lvl="0"/>
            <a:r>
              <a:rPr lang="en-GB" dirty="0"/>
              <a:t>Text</a:t>
            </a:r>
          </a:p>
          <a:p>
            <a:pPr lvl="1"/>
            <a:endParaRPr lang="en-GB" dirty="0"/>
          </a:p>
        </p:txBody>
      </p:sp>
      <p:sp>
        <p:nvSpPr>
          <p:cNvPr id="67" name="Contact 6">
            <a:extLst>
              <a:ext uri="{FF2B5EF4-FFF2-40B4-BE49-F238E27FC236}">
                <a16:creationId xmlns:a16="http://schemas.microsoft.com/office/drawing/2014/main" id="{2174ECBA-CA4B-4D40-86A3-09769B3C1AF2}"/>
              </a:ext>
            </a:extLst>
          </p:cNvPr>
          <p:cNvSpPr>
            <a:spLocks noGrp="1"/>
          </p:cNvSpPr>
          <p:nvPr>
            <p:ph type="body" sz="quarter" idx="41" hasCustomPrompt="1"/>
          </p:nvPr>
        </p:nvSpPr>
        <p:spPr>
          <a:xfrm>
            <a:off x="7272000" y="3564000"/>
            <a:ext cx="1512000" cy="306000"/>
          </a:xfrm>
        </p:spPr>
        <p:txBody>
          <a:bodyPr wrap="none" tIns="0" rIns="0" bIns="0" anchor="t"/>
          <a:lstStyle>
            <a:lvl1pPr marL="0" indent="0" algn="l">
              <a:lnSpc>
                <a:spcPct val="100000"/>
              </a:lnSpc>
              <a:spcBef>
                <a:spcPts val="0"/>
              </a:spcBef>
              <a:spcAft>
                <a:spcPts val="0"/>
              </a:spcAft>
              <a:buFontTx/>
              <a:buNone/>
              <a:defRPr sz="900"/>
            </a:lvl1pPr>
          </a:lstStyle>
          <a:p>
            <a:pPr lvl="0"/>
            <a:r>
              <a:rPr lang="en-GB" dirty="0"/>
              <a:t>+00 11 123 456 789</a:t>
            </a:r>
            <a:br>
              <a:rPr lang="en-GB" dirty="0"/>
            </a:br>
            <a:r>
              <a:rPr lang="en-GB" dirty="0"/>
              <a:t>email@munichre.com</a:t>
            </a:r>
          </a:p>
        </p:txBody>
      </p:sp>
      <p:sp>
        <p:nvSpPr>
          <p:cNvPr id="66" name="Name 6">
            <a:extLst>
              <a:ext uri="{FF2B5EF4-FFF2-40B4-BE49-F238E27FC236}">
                <a16:creationId xmlns:a16="http://schemas.microsoft.com/office/drawing/2014/main" id="{EC994742-6BF4-44FA-B523-43D25397F8CC}"/>
              </a:ext>
            </a:extLst>
          </p:cNvPr>
          <p:cNvSpPr>
            <a:spLocks noGrp="1"/>
          </p:cNvSpPr>
          <p:nvPr>
            <p:ph type="body" sz="quarter" idx="40" hasCustomPrompt="1"/>
          </p:nvPr>
        </p:nvSpPr>
        <p:spPr>
          <a:xfrm>
            <a:off x="7272000" y="3258000"/>
            <a:ext cx="1512000" cy="162000"/>
          </a:xfrm>
        </p:spPr>
        <p:txBody>
          <a:bodyPr wrap="none" tIns="72000" rIns="36000" bIns="72000" anchor="ctr"/>
          <a:lstStyle>
            <a:lvl1pPr marL="0" indent="0" algn="l">
              <a:lnSpc>
                <a:spcPct val="100000"/>
              </a:lnSpc>
              <a:spcBef>
                <a:spcPts val="0"/>
              </a:spcBef>
              <a:spcAft>
                <a:spcPts val="0"/>
              </a:spcAft>
              <a:buFontTx/>
              <a:buNone/>
              <a:defRPr sz="1400">
                <a:solidFill>
                  <a:schemeClr val="accent1"/>
                </a:solidFill>
              </a:defRPr>
            </a:lvl1pPr>
          </a:lstStyle>
          <a:p>
            <a:pPr lvl="0"/>
            <a:r>
              <a:rPr lang="en-GB" dirty="0"/>
              <a:t>Name</a:t>
            </a:r>
          </a:p>
        </p:txBody>
      </p:sp>
      <p:sp>
        <p:nvSpPr>
          <p:cNvPr id="65" name="Picture Placeholder 6">
            <a:extLst>
              <a:ext uri="{FF2B5EF4-FFF2-40B4-BE49-F238E27FC236}">
                <a16:creationId xmlns:a16="http://schemas.microsoft.com/office/drawing/2014/main" id="{40E27AE8-7D5C-46F7-8FD4-F006D4F7AF50}"/>
              </a:ext>
            </a:extLst>
          </p:cNvPr>
          <p:cNvSpPr>
            <a:spLocks noGrp="1"/>
          </p:cNvSpPr>
          <p:nvPr>
            <p:ph type="pic" sz="quarter" idx="39" hasCustomPrompt="1"/>
          </p:nvPr>
        </p:nvSpPr>
        <p:spPr>
          <a:xfrm>
            <a:off x="6264000" y="3204000"/>
            <a:ext cx="900000" cy="1152000"/>
          </a:xfrm>
          <a:solidFill>
            <a:schemeClr val="bg1"/>
          </a:solidFill>
        </p:spPr>
        <p:txBody>
          <a:bodyPr vert="horz" lIns="0" tIns="0" rIns="0" bIns="0" rtlCol="0">
            <a:noAutofit/>
          </a:bodyPr>
          <a:lstStyle>
            <a:lvl1pPr>
              <a:defRPr lang="en-GB" sz="900" noProof="0" dirty="0">
                <a:solidFill>
                  <a:schemeClr val="bg1"/>
                </a:solidFill>
              </a:defRPr>
            </a:lvl1pPr>
          </a:lstStyle>
          <a:p>
            <a:pPr marL="0" lvl="0" indent="0" algn="ctr">
              <a:buFontTx/>
              <a:buNone/>
            </a:pPr>
            <a:r>
              <a:rPr lang="en-GB" noProof="0" dirty="0"/>
              <a:t>To insert a picture, click on the icon in the middle.</a:t>
            </a:r>
          </a:p>
        </p:txBody>
      </p:sp>
      <p:sp>
        <p:nvSpPr>
          <p:cNvPr id="45" name="Rechteck 5">
            <a:extLst>
              <a:ext uri="{FF2B5EF4-FFF2-40B4-BE49-F238E27FC236}">
                <a16:creationId xmlns:a16="http://schemas.microsoft.com/office/drawing/2014/main" id="{C37621D2-9A1C-4A58-818C-F86DE079428E}"/>
              </a:ext>
            </a:extLst>
          </p:cNvPr>
          <p:cNvSpPr/>
          <p:nvPr/>
        </p:nvSpPr>
        <p:spPr>
          <a:xfrm>
            <a:off x="3222000" y="3132000"/>
            <a:ext cx="2700000" cy="172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nchorCtr="0"/>
          <a:lstStyle/>
          <a:p>
            <a:pPr algn="ctr"/>
            <a:endParaRPr lang="en-GB" sz="1400" dirty="0">
              <a:solidFill>
                <a:schemeClr val="bg1"/>
              </a:solidFill>
            </a:endParaRPr>
          </a:p>
        </p:txBody>
      </p:sp>
      <p:sp>
        <p:nvSpPr>
          <p:cNvPr id="53" name="Content Placeholder 5">
            <a:extLst>
              <a:ext uri="{FF2B5EF4-FFF2-40B4-BE49-F238E27FC236}">
                <a16:creationId xmlns:a16="http://schemas.microsoft.com/office/drawing/2014/main" id="{50FCB883-E9ED-E5C7-9534-6351555E64D2}"/>
              </a:ext>
            </a:extLst>
          </p:cNvPr>
          <p:cNvSpPr>
            <a:spLocks noGrp="1"/>
          </p:cNvSpPr>
          <p:nvPr>
            <p:ph sz="quarter" idx="45" hasCustomPrompt="1"/>
          </p:nvPr>
        </p:nvSpPr>
        <p:spPr>
          <a:xfrm>
            <a:off x="3222000" y="4428000"/>
            <a:ext cx="2700000" cy="432000"/>
          </a:xfrm>
        </p:spPr>
        <p:txBody>
          <a:bodyPr lIns="72000" tIns="0" rIns="0" bIns="0"/>
          <a:lstStyle>
            <a:lvl1pPr>
              <a:spcAft>
                <a:spcPts val="0"/>
              </a:spcAft>
              <a:defRPr sz="900"/>
            </a:lvl1pPr>
            <a:lvl2pPr>
              <a:spcAft>
                <a:spcPts val="0"/>
              </a:spcAft>
              <a:defRPr sz="900"/>
            </a:lvl2pPr>
            <a:lvl3pPr>
              <a:spcAft>
                <a:spcPts val="0"/>
              </a:spcAft>
              <a:defRPr sz="900"/>
            </a:lvl3pPr>
            <a:lvl4pPr>
              <a:spcAft>
                <a:spcPts val="0"/>
              </a:spcAft>
              <a:defRPr sz="900"/>
            </a:lvl4pPr>
            <a:lvl5pPr>
              <a:spcAft>
                <a:spcPts val="0"/>
              </a:spcAft>
              <a:defRPr sz="900"/>
            </a:lvl5pPr>
          </a:lstStyle>
          <a:p>
            <a:pPr lvl="0"/>
            <a:r>
              <a:rPr lang="en-GB" dirty="0"/>
              <a:t>Text</a:t>
            </a:r>
          </a:p>
          <a:p>
            <a:pPr lvl="1"/>
            <a:endParaRPr lang="en-GB" dirty="0"/>
          </a:p>
        </p:txBody>
      </p:sp>
      <p:sp>
        <p:nvSpPr>
          <p:cNvPr id="64" name="Contact 5">
            <a:extLst>
              <a:ext uri="{FF2B5EF4-FFF2-40B4-BE49-F238E27FC236}">
                <a16:creationId xmlns:a16="http://schemas.microsoft.com/office/drawing/2014/main" id="{AFB62FAF-3C3B-4A32-94CE-9F5FCDD35F3D}"/>
              </a:ext>
            </a:extLst>
          </p:cNvPr>
          <p:cNvSpPr>
            <a:spLocks noGrp="1"/>
          </p:cNvSpPr>
          <p:nvPr>
            <p:ph type="body" sz="quarter" idx="38" hasCustomPrompt="1"/>
          </p:nvPr>
        </p:nvSpPr>
        <p:spPr>
          <a:xfrm>
            <a:off x="4302000" y="3564000"/>
            <a:ext cx="1512000" cy="306000"/>
          </a:xfrm>
        </p:spPr>
        <p:txBody>
          <a:bodyPr wrap="none" tIns="0" rIns="0" bIns="0" anchor="t"/>
          <a:lstStyle>
            <a:lvl1pPr marL="0" indent="0" algn="l">
              <a:lnSpc>
                <a:spcPct val="100000"/>
              </a:lnSpc>
              <a:spcBef>
                <a:spcPts val="0"/>
              </a:spcBef>
              <a:spcAft>
                <a:spcPts val="0"/>
              </a:spcAft>
              <a:buFontTx/>
              <a:buNone/>
              <a:defRPr sz="900"/>
            </a:lvl1pPr>
          </a:lstStyle>
          <a:p>
            <a:pPr lvl="0"/>
            <a:r>
              <a:rPr lang="en-GB" dirty="0"/>
              <a:t>+00 11 123 456 789</a:t>
            </a:r>
            <a:br>
              <a:rPr lang="en-GB" dirty="0"/>
            </a:br>
            <a:r>
              <a:rPr lang="en-GB" dirty="0"/>
              <a:t>email@munichre.com</a:t>
            </a:r>
          </a:p>
        </p:txBody>
      </p:sp>
      <p:sp>
        <p:nvSpPr>
          <p:cNvPr id="63" name="Name 5">
            <a:extLst>
              <a:ext uri="{FF2B5EF4-FFF2-40B4-BE49-F238E27FC236}">
                <a16:creationId xmlns:a16="http://schemas.microsoft.com/office/drawing/2014/main" id="{0F6C497F-F35C-4C47-822A-37AB4D62B3AD}"/>
              </a:ext>
            </a:extLst>
          </p:cNvPr>
          <p:cNvSpPr>
            <a:spLocks noGrp="1"/>
          </p:cNvSpPr>
          <p:nvPr>
            <p:ph type="body" sz="quarter" idx="37" hasCustomPrompt="1"/>
          </p:nvPr>
        </p:nvSpPr>
        <p:spPr>
          <a:xfrm>
            <a:off x="4302000" y="3258000"/>
            <a:ext cx="1512000" cy="162000"/>
          </a:xfrm>
        </p:spPr>
        <p:txBody>
          <a:bodyPr wrap="none" tIns="72000" rIns="36000" bIns="72000" anchor="ctr"/>
          <a:lstStyle>
            <a:lvl1pPr marL="0" indent="0" algn="l">
              <a:lnSpc>
                <a:spcPct val="100000"/>
              </a:lnSpc>
              <a:spcBef>
                <a:spcPts val="0"/>
              </a:spcBef>
              <a:spcAft>
                <a:spcPts val="0"/>
              </a:spcAft>
              <a:buFontTx/>
              <a:buNone/>
              <a:defRPr sz="1400">
                <a:solidFill>
                  <a:schemeClr val="accent1"/>
                </a:solidFill>
              </a:defRPr>
            </a:lvl1pPr>
          </a:lstStyle>
          <a:p>
            <a:pPr lvl="0"/>
            <a:r>
              <a:rPr lang="en-GB" dirty="0"/>
              <a:t>Name</a:t>
            </a:r>
          </a:p>
        </p:txBody>
      </p:sp>
      <p:sp>
        <p:nvSpPr>
          <p:cNvPr id="62" name="Picture Placeholder 5">
            <a:extLst>
              <a:ext uri="{FF2B5EF4-FFF2-40B4-BE49-F238E27FC236}">
                <a16:creationId xmlns:a16="http://schemas.microsoft.com/office/drawing/2014/main" id="{55F88616-9EBF-4C43-A518-74DA8C8F87A1}"/>
              </a:ext>
            </a:extLst>
          </p:cNvPr>
          <p:cNvSpPr>
            <a:spLocks noGrp="1"/>
          </p:cNvSpPr>
          <p:nvPr>
            <p:ph type="pic" sz="quarter" idx="36" hasCustomPrompt="1"/>
          </p:nvPr>
        </p:nvSpPr>
        <p:spPr>
          <a:xfrm>
            <a:off x="3294000" y="3204000"/>
            <a:ext cx="900000" cy="1152000"/>
          </a:xfrm>
          <a:solidFill>
            <a:schemeClr val="bg1"/>
          </a:solidFill>
        </p:spPr>
        <p:txBody>
          <a:bodyPr vert="horz" lIns="0" tIns="0" rIns="0" bIns="0" rtlCol="0">
            <a:noAutofit/>
          </a:bodyPr>
          <a:lstStyle>
            <a:lvl1pPr>
              <a:defRPr lang="en-GB" sz="900" noProof="0" dirty="0">
                <a:solidFill>
                  <a:schemeClr val="bg1"/>
                </a:solidFill>
              </a:defRPr>
            </a:lvl1pPr>
          </a:lstStyle>
          <a:p>
            <a:pPr marL="0" lvl="0" indent="0" algn="ctr">
              <a:buFontTx/>
              <a:buNone/>
            </a:pPr>
            <a:r>
              <a:rPr lang="en-GB" noProof="0" dirty="0"/>
              <a:t>To insert a picture, click on the icon in the middle.</a:t>
            </a:r>
          </a:p>
        </p:txBody>
      </p:sp>
      <p:sp>
        <p:nvSpPr>
          <p:cNvPr id="44" name="Rechteck 4">
            <a:extLst>
              <a:ext uri="{FF2B5EF4-FFF2-40B4-BE49-F238E27FC236}">
                <a16:creationId xmlns:a16="http://schemas.microsoft.com/office/drawing/2014/main" id="{CD04B862-4D08-4CEC-B795-ED86DC1C0ABC}"/>
              </a:ext>
            </a:extLst>
          </p:cNvPr>
          <p:cNvSpPr/>
          <p:nvPr/>
        </p:nvSpPr>
        <p:spPr>
          <a:xfrm>
            <a:off x="252000" y="3132000"/>
            <a:ext cx="2700000" cy="1728000"/>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40" name="Content Placeholder 4">
            <a:extLst>
              <a:ext uri="{FF2B5EF4-FFF2-40B4-BE49-F238E27FC236}">
                <a16:creationId xmlns:a16="http://schemas.microsoft.com/office/drawing/2014/main" id="{5BE75176-28DB-9548-347F-A024C3A44D08}"/>
              </a:ext>
            </a:extLst>
          </p:cNvPr>
          <p:cNvSpPr>
            <a:spLocks noGrp="1"/>
          </p:cNvSpPr>
          <p:nvPr>
            <p:ph sz="quarter" idx="44" hasCustomPrompt="1"/>
          </p:nvPr>
        </p:nvSpPr>
        <p:spPr>
          <a:xfrm>
            <a:off x="252000" y="4428000"/>
            <a:ext cx="2700000" cy="432000"/>
          </a:xfrm>
        </p:spPr>
        <p:txBody>
          <a:bodyPr lIns="72000" tIns="0" rIns="0" bIns="0"/>
          <a:lstStyle>
            <a:lvl1pPr>
              <a:spcAft>
                <a:spcPts val="0"/>
              </a:spcAft>
              <a:defRPr sz="900"/>
            </a:lvl1pPr>
            <a:lvl2pPr>
              <a:spcAft>
                <a:spcPts val="0"/>
              </a:spcAft>
              <a:defRPr sz="900"/>
            </a:lvl2pPr>
            <a:lvl3pPr>
              <a:spcAft>
                <a:spcPts val="0"/>
              </a:spcAft>
              <a:defRPr sz="900"/>
            </a:lvl3pPr>
            <a:lvl4pPr>
              <a:spcAft>
                <a:spcPts val="0"/>
              </a:spcAft>
              <a:defRPr sz="900"/>
            </a:lvl4pPr>
            <a:lvl5pPr>
              <a:spcAft>
                <a:spcPts val="0"/>
              </a:spcAft>
              <a:defRPr sz="900"/>
            </a:lvl5pPr>
          </a:lstStyle>
          <a:p>
            <a:pPr lvl="0"/>
            <a:r>
              <a:rPr lang="en-GB" dirty="0"/>
              <a:t>Text</a:t>
            </a:r>
          </a:p>
          <a:p>
            <a:pPr lvl="1"/>
            <a:endParaRPr lang="en-GB" dirty="0"/>
          </a:p>
        </p:txBody>
      </p:sp>
      <p:sp>
        <p:nvSpPr>
          <p:cNvPr id="56" name="Contact 4">
            <a:extLst>
              <a:ext uri="{FF2B5EF4-FFF2-40B4-BE49-F238E27FC236}">
                <a16:creationId xmlns:a16="http://schemas.microsoft.com/office/drawing/2014/main" id="{6D8773A0-B709-4FE3-BB73-CBF7A65227FB}"/>
              </a:ext>
            </a:extLst>
          </p:cNvPr>
          <p:cNvSpPr>
            <a:spLocks noGrp="1"/>
          </p:cNvSpPr>
          <p:nvPr>
            <p:ph type="body" sz="quarter" idx="30" hasCustomPrompt="1"/>
          </p:nvPr>
        </p:nvSpPr>
        <p:spPr>
          <a:xfrm>
            <a:off x="1332000" y="3564000"/>
            <a:ext cx="1512000" cy="306000"/>
          </a:xfrm>
        </p:spPr>
        <p:txBody>
          <a:bodyPr wrap="none" tIns="0" rIns="0" bIns="0" anchor="t"/>
          <a:lstStyle>
            <a:lvl1pPr marL="0" indent="0" algn="l">
              <a:lnSpc>
                <a:spcPct val="100000"/>
              </a:lnSpc>
              <a:spcBef>
                <a:spcPts val="0"/>
              </a:spcBef>
              <a:spcAft>
                <a:spcPts val="0"/>
              </a:spcAft>
              <a:buFontTx/>
              <a:buNone/>
              <a:defRPr sz="900"/>
            </a:lvl1pPr>
          </a:lstStyle>
          <a:p>
            <a:pPr lvl="0"/>
            <a:r>
              <a:rPr lang="en-GB" dirty="0"/>
              <a:t>+00 11 123 456 789</a:t>
            </a:r>
            <a:br>
              <a:rPr lang="en-GB" dirty="0"/>
            </a:br>
            <a:r>
              <a:rPr lang="en-GB" dirty="0"/>
              <a:t>email@munichre.com</a:t>
            </a:r>
          </a:p>
        </p:txBody>
      </p:sp>
      <p:sp>
        <p:nvSpPr>
          <p:cNvPr id="55" name="Name 4">
            <a:extLst>
              <a:ext uri="{FF2B5EF4-FFF2-40B4-BE49-F238E27FC236}">
                <a16:creationId xmlns:a16="http://schemas.microsoft.com/office/drawing/2014/main" id="{F53E8E51-08B1-41ED-90E6-677825AA3143}"/>
              </a:ext>
            </a:extLst>
          </p:cNvPr>
          <p:cNvSpPr>
            <a:spLocks noGrp="1"/>
          </p:cNvSpPr>
          <p:nvPr>
            <p:ph type="body" sz="quarter" idx="29" hasCustomPrompt="1"/>
          </p:nvPr>
        </p:nvSpPr>
        <p:spPr>
          <a:xfrm>
            <a:off x="1332000" y="3258000"/>
            <a:ext cx="1512000" cy="162000"/>
          </a:xfrm>
        </p:spPr>
        <p:txBody>
          <a:bodyPr wrap="none" tIns="72000" rIns="36000" bIns="72000" anchor="ctr"/>
          <a:lstStyle>
            <a:lvl1pPr marL="0" indent="0" algn="l">
              <a:lnSpc>
                <a:spcPct val="100000"/>
              </a:lnSpc>
              <a:spcBef>
                <a:spcPts val="0"/>
              </a:spcBef>
              <a:spcAft>
                <a:spcPts val="0"/>
              </a:spcAft>
              <a:buFontTx/>
              <a:buNone/>
              <a:defRPr sz="1400">
                <a:solidFill>
                  <a:schemeClr val="accent1"/>
                </a:solidFill>
              </a:defRPr>
            </a:lvl1pPr>
          </a:lstStyle>
          <a:p>
            <a:pPr lvl="0"/>
            <a:r>
              <a:rPr lang="en-GB" dirty="0"/>
              <a:t>Name</a:t>
            </a:r>
          </a:p>
        </p:txBody>
      </p:sp>
      <p:sp>
        <p:nvSpPr>
          <p:cNvPr id="54" name="Picture Placeholder 4">
            <a:extLst>
              <a:ext uri="{FF2B5EF4-FFF2-40B4-BE49-F238E27FC236}">
                <a16:creationId xmlns:a16="http://schemas.microsoft.com/office/drawing/2014/main" id="{5119A483-DC69-4107-93C6-BD28231A0F0E}"/>
              </a:ext>
            </a:extLst>
          </p:cNvPr>
          <p:cNvSpPr>
            <a:spLocks noGrp="1"/>
          </p:cNvSpPr>
          <p:nvPr>
            <p:ph type="pic" sz="quarter" idx="28" hasCustomPrompt="1"/>
          </p:nvPr>
        </p:nvSpPr>
        <p:spPr>
          <a:xfrm>
            <a:off x="324000" y="3204000"/>
            <a:ext cx="900000" cy="1152000"/>
          </a:xfrm>
          <a:solidFill>
            <a:schemeClr val="bg1"/>
          </a:solidFill>
        </p:spPr>
        <p:txBody>
          <a:bodyPr vert="horz" lIns="0" tIns="0" rIns="0" bIns="0" rtlCol="0">
            <a:noAutofit/>
          </a:bodyPr>
          <a:lstStyle>
            <a:lvl1pPr>
              <a:defRPr lang="en-GB" sz="900" noProof="0" dirty="0">
                <a:solidFill>
                  <a:schemeClr val="bg1"/>
                </a:solidFill>
              </a:defRPr>
            </a:lvl1pPr>
          </a:lstStyle>
          <a:p>
            <a:pPr marL="0" lvl="0" indent="0" algn="ctr">
              <a:buFontTx/>
              <a:buNone/>
            </a:pPr>
            <a:r>
              <a:rPr lang="en-GB" noProof="0" dirty="0"/>
              <a:t>To insert a picture, click on the icon in the middle.</a:t>
            </a:r>
          </a:p>
        </p:txBody>
      </p:sp>
      <p:sp>
        <p:nvSpPr>
          <p:cNvPr id="43" name="Rechteck 3">
            <a:extLst>
              <a:ext uri="{FF2B5EF4-FFF2-40B4-BE49-F238E27FC236}">
                <a16:creationId xmlns:a16="http://schemas.microsoft.com/office/drawing/2014/main" id="{48767779-18F7-4B5E-B714-78C66BD0728F}"/>
              </a:ext>
            </a:extLst>
          </p:cNvPr>
          <p:cNvSpPr/>
          <p:nvPr/>
        </p:nvSpPr>
        <p:spPr>
          <a:xfrm>
            <a:off x="6192000" y="1116000"/>
            <a:ext cx="2700000" cy="1728000"/>
          </a:xfrm>
          <a:prstGeom prst="rect">
            <a:avLst/>
          </a:prstGeom>
          <a:solidFill>
            <a:srgbClr val="F4F4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39" name="Content Placeholder 3">
            <a:extLst>
              <a:ext uri="{FF2B5EF4-FFF2-40B4-BE49-F238E27FC236}">
                <a16:creationId xmlns:a16="http://schemas.microsoft.com/office/drawing/2014/main" id="{9CEEF168-E0A8-424E-1092-1805DBD55B41}"/>
              </a:ext>
            </a:extLst>
          </p:cNvPr>
          <p:cNvSpPr>
            <a:spLocks noGrp="1"/>
          </p:cNvSpPr>
          <p:nvPr>
            <p:ph sz="quarter" idx="43" hasCustomPrompt="1"/>
          </p:nvPr>
        </p:nvSpPr>
        <p:spPr>
          <a:xfrm>
            <a:off x="6192000" y="2412000"/>
            <a:ext cx="2700000" cy="432000"/>
          </a:xfrm>
        </p:spPr>
        <p:txBody>
          <a:bodyPr lIns="72000" tIns="0" rIns="0" bIns="0"/>
          <a:lstStyle>
            <a:lvl1pPr>
              <a:spcAft>
                <a:spcPts val="0"/>
              </a:spcAft>
              <a:defRPr sz="900"/>
            </a:lvl1pPr>
            <a:lvl2pPr>
              <a:spcAft>
                <a:spcPts val="0"/>
              </a:spcAft>
              <a:defRPr sz="900"/>
            </a:lvl2pPr>
            <a:lvl3pPr>
              <a:spcAft>
                <a:spcPts val="0"/>
              </a:spcAft>
              <a:defRPr sz="900"/>
            </a:lvl3pPr>
            <a:lvl4pPr>
              <a:spcAft>
                <a:spcPts val="0"/>
              </a:spcAft>
              <a:defRPr sz="900"/>
            </a:lvl4pPr>
            <a:lvl5pPr>
              <a:spcAft>
                <a:spcPts val="0"/>
              </a:spcAft>
              <a:defRPr sz="900"/>
            </a:lvl5pPr>
          </a:lstStyle>
          <a:p>
            <a:pPr lvl="0"/>
            <a:r>
              <a:rPr lang="en-GB" dirty="0"/>
              <a:t>Text</a:t>
            </a:r>
          </a:p>
          <a:p>
            <a:pPr lvl="1"/>
            <a:endParaRPr lang="en-GB" dirty="0"/>
          </a:p>
        </p:txBody>
      </p:sp>
      <p:sp>
        <p:nvSpPr>
          <p:cNvPr id="59" name="Contact 3">
            <a:extLst>
              <a:ext uri="{FF2B5EF4-FFF2-40B4-BE49-F238E27FC236}">
                <a16:creationId xmlns:a16="http://schemas.microsoft.com/office/drawing/2014/main" id="{8CD8A673-7656-4646-867B-4546BF0127DE}"/>
              </a:ext>
            </a:extLst>
          </p:cNvPr>
          <p:cNvSpPr>
            <a:spLocks noGrp="1"/>
          </p:cNvSpPr>
          <p:nvPr>
            <p:ph type="body" sz="quarter" idx="33" hasCustomPrompt="1"/>
          </p:nvPr>
        </p:nvSpPr>
        <p:spPr>
          <a:xfrm>
            <a:off x="7272000" y="1548000"/>
            <a:ext cx="1512000" cy="306000"/>
          </a:xfrm>
        </p:spPr>
        <p:txBody>
          <a:bodyPr wrap="none" tIns="0" rIns="0" bIns="0" anchor="t"/>
          <a:lstStyle>
            <a:lvl1pPr marL="0" indent="0" algn="l">
              <a:lnSpc>
                <a:spcPct val="100000"/>
              </a:lnSpc>
              <a:spcBef>
                <a:spcPts val="0"/>
              </a:spcBef>
              <a:spcAft>
                <a:spcPts val="0"/>
              </a:spcAft>
              <a:buFontTx/>
              <a:buNone/>
              <a:defRPr sz="900"/>
            </a:lvl1pPr>
          </a:lstStyle>
          <a:p>
            <a:pPr lvl="0"/>
            <a:r>
              <a:rPr lang="en-GB" dirty="0"/>
              <a:t>+00 11 123 456 789</a:t>
            </a:r>
            <a:br>
              <a:rPr lang="en-GB" dirty="0"/>
            </a:br>
            <a:r>
              <a:rPr lang="en-GB" dirty="0"/>
              <a:t>email@munichre.com</a:t>
            </a:r>
          </a:p>
        </p:txBody>
      </p:sp>
      <p:sp>
        <p:nvSpPr>
          <p:cNvPr id="58" name="Name 3">
            <a:extLst>
              <a:ext uri="{FF2B5EF4-FFF2-40B4-BE49-F238E27FC236}">
                <a16:creationId xmlns:a16="http://schemas.microsoft.com/office/drawing/2014/main" id="{69AEB903-AA28-4012-8EB0-BBFFAA1485AE}"/>
              </a:ext>
            </a:extLst>
          </p:cNvPr>
          <p:cNvSpPr>
            <a:spLocks noGrp="1"/>
          </p:cNvSpPr>
          <p:nvPr>
            <p:ph type="body" sz="quarter" idx="32" hasCustomPrompt="1"/>
          </p:nvPr>
        </p:nvSpPr>
        <p:spPr>
          <a:xfrm>
            <a:off x="7272000" y="1242000"/>
            <a:ext cx="1512000" cy="162000"/>
          </a:xfrm>
        </p:spPr>
        <p:txBody>
          <a:bodyPr wrap="none" tIns="72000" rIns="36000" bIns="72000" anchor="ctr"/>
          <a:lstStyle>
            <a:lvl1pPr marL="0" indent="0" algn="l">
              <a:lnSpc>
                <a:spcPct val="100000"/>
              </a:lnSpc>
              <a:spcBef>
                <a:spcPts val="0"/>
              </a:spcBef>
              <a:spcAft>
                <a:spcPts val="0"/>
              </a:spcAft>
              <a:buFontTx/>
              <a:buNone/>
              <a:defRPr sz="1400">
                <a:solidFill>
                  <a:schemeClr val="accent1"/>
                </a:solidFill>
              </a:defRPr>
            </a:lvl1pPr>
          </a:lstStyle>
          <a:p>
            <a:pPr lvl="0"/>
            <a:r>
              <a:rPr lang="en-GB" dirty="0"/>
              <a:t>Name</a:t>
            </a:r>
          </a:p>
        </p:txBody>
      </p:sp>
      <p:sp>
        <p:nvSpPr>
          <p:cNvPr id="57" name="Picture Placeholder 3">
            <a:extLst>
              <a:ext uri="{FF2B5EF4-FFF2-40B4-BE49-F238E27FC236}">
                <a16:creationId xmlns:a16="http://schemas.microsoft.com/office/drawing/2014/main" id="{9F817805-7528-4333-AA99-6DDAC9B891D0}"/>
              </a:ext>
            </a:extLst>
          </p:cNvPr>
          <p:cNvSpPr>
            <a:spLocks noGrp="1"/>
          </p:cNvSpPr>
          <p:nvPr>
            <p:ph type="pic" sz="quarter" idx="31" hasCustomPrompt="1"/>
          </p:nvPr>
        </p:nvSpPr>
        <p:spPr>
          <a:xfrm>
            <a:off x="6264000" y="1188000"/>
            <a:ext cx="900000" cy="1152000"/>
          </a:xfrm>
          <a:solidFill>
            <a:schemeClr val="bg1"/>
          </a:solidFill>
        </p:spPr>
        <p:txBody>
          <a:bodyPr vert="horz" lIns="0" tIns="0" rIns="0" bIns="0" rtlCol="0">
            <a:noAutofit/>
          </a:bodyPr>
          <a:lstStyle>
            <a:lvl1pPr>
              <a:defRPr lang="en-GB" sz="900" noProof="0" dirty="0">
                <a:solidFill>
                  <a:schemeClr val="bg1"/>
                </a:solidFill>
              </a:defRPr>
            </a:lvl1pPr>
          </a:lstStyle>
          <a:p>
            <a:pPr marL="0" lvl="0" indent="0" algn="ctr">
              <a:buFontTx/>
              <a:buNone/>
            </a:pPr>
            <a:r>
              <a:rPr lang="en-GB" noProof="0" dirty="0"/>
              <a:t>To insert a picture, click on the icon in the middle.</a:t>
            </a:r>
          </a:p>
        </p:txBody>
      </p:sp>
      <p:sp>
        <p:nvSpPr>
          <p:cNvPr id="42" name="Rechteck 2">
            <a:extLst>
              <a:ext uri="{FF2B5EF4-FFF2-40B4-BE49-F238E27FC236}">
                <a16:creationId xmlns:a16="http://schemas.microsoft.com/office/drawing/2014/main" id="{8039CE65-DD1C-4EC4-B60E-281463168C6D}"/>
              </a:ext>
            </a:extLst>
          </p:cNvPr>
          <p:cNvSpPr/>
          <p:nvPr/>
        </p:nvSpPr>
        <p:spPr>
          <a:xfrm>
            <a:off x="3222000" y="1116000"/>
            <a:ext cx="2700000" cy="1728000"/>
          </a:xfrm>
          <a:prstGeom prst="rect">
            <a:avLst/>
          </a:prstGeom>
          <a:solidFill>
            <a:srgbClr val="F4F4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38" name="Content Placeholder 2">
            <a:extLst>
              <a:ext uri="{FF2B5EF4-FFF2-40B4-BE49-F238E27FC236}">
                <a16:creationId xmlns:a16="http://schemas.microsoft.com/office/drawing/2014/main" id="{71259E42-B858-3EDA-BDFA-3E6EE033E782}"/>
              </a:ext>
            </a:extLst>
          </p:cNvPr>
          <p:cNvSpPr>
            <a:spLocks noGrp="1"/>
          </p:cNvSpPr>
          <p:nvPr>
            <p:ph sz="quarter" idx="42" hasCustomPrompt="1"/>
          </p:nvPr>
        </p:nvSpPr>
        <p:spPr>
          <a:xfrm>
            <a:off x="3222000" y="2412000"/>
            <a:ext cx="2700000" cy="432000"/>
          </a:xfrm>
        </p:spPr>
        <p:txBody>
          <a:bodyPr lIns="72000" tIns="0" rIns="0" bIns="0"/>
          <a:lstStyle>
            <a:lvl1pPr>
              <a:spcAft>
                <a:spcPts val="0"/>
              </a:spcAft>
              <a:defRPr sz="900"/>
            </a:lvl1pPr>
            <a:lvl2pPr>
              <a:spcAft>
                <a:spcPts val="0"/>
              </a:spcAft>
              <a:defRPr sz="900"/>
            </a:lvl2pPr>
            <a:lvl3pPr>
              <a:spcAft>
                <a:spcPts val="0"/>
              </a:spcAft>
              <a:defRPr sz="900"/>
            </a:lvl3pPr>
            <a:lvl4pPr>
              <a:spcAft>
                <a:spcPts val="0"/>
              </a:spcAft>
              <a:defRPr sz="900"/>
            </a:lvl4pPr>
            <a:lvl5pPr>
              <a:spcAft>
                <a:spcPts val="0"/>
              </a:spcAft>
              <a:defRPr sz="900"/>
            </a:lvl5pPr>
          </a:lstStyle>
          <a:p>
            <a:pPr lvl="0"/>
            <a:r>
              <a:rPr lang="en-GB" dirty="0"/>
              <a:t>Text</a:t>
            </a:r>
          </a:p>
          <a:p>
            <a:pPr lvl="1"/>
            <a:endParaRPr lang="en-GB" dirty="0"/>
          </a:p>
        </p:txBody>
      </p:sp>
      <p:sp>
        <p:nvSpPr>
          <p:cNvPr id="52" name="Contact 2">
            <a:extLst>
              <a:ext uri="{FF2B5EF4-FFF2-40B4-BE49-F238E27FC236}">
                <a16:creationId xmlns:a16="http://schemas.microsoft.com/office/drawing/2014/main" id="{CFCA952A-7744-4F85-B307-DBF950B9621D}"/>
              </a:ext>
            </a:extLst>
          </p:cNvPr>
          <p:cNvSpPr>
            <a:spLocks noGrp="1"/>
          </p:cNvSpPr>
          <p:nvPr>
            <p:ph type="body" sz="quarter" idx="27" hasCustomPrompt="1"/>
          </p:nvPr>
        </p:nvSpPr>
        <p:spPr>
          <a:xfrm>
            <a:off x="4302000" y="1548000"/>
            <a:ext cx="1512000" cy="306000"/>
          </a:xfrm>
        </p:spPr>
        <p:txBody>
          <a:bodyPr wrap="none" tIns="0" rIns="0" bIns="0" anchor="t"/>
          <a:lstStyle>
            <a:lvl1pPr marL="0" indent="0" algn="l">
              <a:lnSpc>
                <a:spcPct val="100000"/>
              </a:lnSpc>
              <a:spcBef>
                <a:spcPts val="0"/>
              </a:spcBef>
              <a:spcAft>
                <a:spcPts val="0"/>
              </a:spcAft>
              <a:buFontTx/>
              <a:buNone/>
              <a:defRPr sz="900"/>
            </a:lvl1pPr>
          </a:lstStyle>
          <a:p>
            <a:pPr lvl="0"/>
            <a:r>
              <a:rPr lang="en-GB" dirty="0"/>
              <a:t>+00 11 123 456 789</a:t>
            </a:r>
            <a:br>
              <a:rPr lang="en-GB" dirty="0"/>
            </a:br>
            <a:r>
              <a:rPr lang="en-GB" dirty="0"/>
              <a:t>email@munichre.com</a:t>
            </a:r>
          </a:p>
        </p:txBody>
      </p:sp>
      <p:sp>
        <p:nvSpPr>
          <p:cNvPr id="51" name="Name 2">
            <a:extLst>
              <a:ext uri="{FF2B5EF4-FFF2-40B4-BE49-F238E27FC236}">
                <a16:creationId xmlns:a16="http://schemas.microsoft.com/office/drawing/2014/main" id="{19233580-ED8E-4BA6-9253-BB1D548F80C5}"/>
              </a:ext>
            </a:extLst>
          </p:cNvPr>
          <p:cNvSpPr>
            <a:spLocks noGrp="1"/>
          </p:cNvSpPr>
          <p:nvPr>
            <p:ph type="body" sz="quarter" idx="26" hasCustomPrompt="1"/>
          </p:nvPr>
        </p:nvSpPr>
        <p:spPr>
          <a:xfrm>
            <a:off x="4302000" y="1242000"/>
            <a:ext cx="1512000" cy="162000"/>
          </a:xfrm>
        </p:spPr>
        <p:txBody>
          <a:bodyPr wrap="none" tIns="72000" rIns="36000" bIns="72000" anchor="ctr"/>
          <a:lstStyle>
            <a:lvl1pPr marL="0" indent="0" algn="l">
              <a:lnSpc>
                <a:spcPct val="100000"/>
              </a:lnSpc>
              <a:spcBef>
                <a:spcPts val="0"/>
              </a:spcBef>
              <a:spcAft>
                <a:spcPts val="0"/>
              </a:spcAft>
              <a:buFontTx/>
              <a:buNone/>
              <a:defRPr sz="1400">
                <a:solidFill>
                  <a:schemeClr val="accent1"/>
                </a:solidFill>
              </a:defRPr>
            </a:lvl1pPr>
          </a:lstStyle>
          <a:p>
            <a:pPr lvl="0"/>
            <a:r>
              <a:rPr lang="en-GB" dirty="0"/>
              <a:t>Name</a:t>
            </a:r>
          </a:p>
        </p:txBody>
      </p:sp>
      <p:sp>
        <p:nvSpPr>
          <p:cNvPr id="50" name="Picture Placeholder 2">
            <a:extLst>
              <a:ext uri="{FF2B5EF4-FFF2-40B4-BE49-F238E27FC236}">
                <a16:creationId xmlns:a16="http://schemas.microsoft.com/office/drawing/2014/main" id="{6001510B-4815-4720-B8D1-3A4BD0FD6400}"/>
              </a:ext>
            </a:extLst>
          </p:cNvPr>
          <p:cNvSpPr>
            <a:spLocks noGrp="1"/>
          </p:cNvSpPr>
          <p:nvPr>
            <p:ph type="pic" sz="quarter" idx="25" hasCustomPrompt="1"/>
          </p:nvPr>
        </p:nvSpPr>
        <p:spPr>
          <a:xfrm>
            <a:off x="3294000" y="1188000"/>
            <a:ext cx="900000" cy="1152000"/>
          </a:xfrm>
          <a:solidFill>
            <a:schemeClr val="bg1"/>
          </a:solidFill>
        </p:spPr>
        <p:txBody>
          <a:bodyPr vert="horz" lIns="0" tIns="0" rIns="0" bIns="0" rtlCol="0">
            <a:noAutofit/>
          </a:bodyPr>
          <a:lstStyle>
            <a:lvl1pPr>
              <a:defRPr lang="en-GB" sz="900" noProof="0" dirty="0">
                <a:solidFill>
                  <a:schemeClr val="bg1"/>
                </a:solidFill>
              </a:defRPr>
            </a:lvl1pPr>
          </a:lstStyle>
          <a:p>
            <a:pPr marL="0" lvl="0" indent="0" algn="ctr">
              <a:buFontTx/>
              <a:buNone/>
            </a:pPr>
            <a:r>
              <a:rPr lang="en-GB" noProof="0" dirty="0"/>
              <a:t>To insert a picture, click on the icon in the middle.</a:t>
            </a:r>
          </a:p>
        </p:txBody>
      </p:sp>
      <p:sp>
        <p:nvSpPr>
          <p:cNvPr id="41" name="Rechteck 1">
            <a:extLst>
              <a:ext uri="{FF2B5EF4-FFF2-40B4-BE49-F238E27FC236}">
                <a16:creationId xmlns:a16="http://schemas.microsoft.com/office/drawing/2014/main" id="{F15FF932-8D41-49B6-9245-D90D9BEF474E}"/>
              </a:ext>
            </a:extLst>
          </p:cNvPr>
          <p:cNvSpPr/>
          <p:nvPr/>
        </p:nvSpPr>
        <p:spPr>
          <a:xfrm>
            <a:off x="252000" y="1116000"/>
            <a:ext cx="2700000" cy="1728000"/>
          </a:xfrm>
          <a:prstGeom prst="rect">
            <a:avLst/>
          </a:prstGeom>
          <a:solidFill>
            <a:srgbClr val="F4F4F4"/>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5" name="Content Placeholder 1"/>
          <p:cNvSpPr>
            <a:spLocks noGrp="1"/>
          </p:cNvSpPr>
          <p:nvPr>
            <p:ph sz="quarter" idx="13" hasCustomPrompt="1"/>
          </p:nvPr>
        </p:nvSpPr>
        <p:spPr>
          <a:xfrm>
            <a:off x="252000" y="2412000"/>
            <a:ext cx="2700000" cy="432000"/>
          </a:xfrm>
        </p:spPr>
        <p:txBody>
          <a:bodyPr lIns="72000" tIns="0" rIns="0" bIns="0"/>
          <a:lstStyle>
            <a:lvl1pPr>
              <a:spcAft>
                <a:spcPts val="0"/>
              </a:spcAft>
              <a:defRPr sz="900"/>
            </a:lvl1pPr>
            <a:lvl2pPr>
              <a:spcAft>
                <a:spcPts val="0"/>
              </a:spcAft>
              <a:defRPr sz="900"/>
            </a:lvl2pPr>
            <a:lvl3pPr>
              <a:spcAft>
                <a:spcPts val="0"/>
              </a:spcAft>
              <a:defRPr sz="900"/>
            </a:lvl3pPr>
            <a:lvl4pPr>
              <a:spcAft>
                <a:spcPts val="0"/>
              </a:spcAft>
              <a:defRPr sz="900"/>
            </a:lvl4pPr>
            <a:lvl5pPr>
              <a:spcAft>
                <a:spcPts val="0"/>
              </a:spcAft>
              <a:defRPr sz="900"/>
            </a:lvl5pPr>
          </a:lstStyle>
          <a:p>
            <a:pPr lvl="0"/>
            <a:r>
              <a:rPr lang="en-GB" dirty="0"/>
              <a:t>Text</a:t>
            </a:r>
          </a:p>
          <a:p>
            <a:pPr lvl="1"/>
            <a:endParaRPr lang="en-GB" dirty="0"/>
          </a:p>
        </p:txBody>
      </p:sp>
      <p:sp>
        <p:nvSpPr>
          <p:cNvPr id="49" name="Contact 1">
            <a:extLst>
              <a:ext uri="{FF2B5EF4-FFF2-40B4-BE49-F238E27FC236}">
                <a16:creationId xmlns:a16="http://schemas.microsoft.com/office/drawing/2014/main" id="{D81604A1-1EFD-4349-A1ED-EC7772B36053}"/>
              </a:ext>
            </a:extLst>
          </p:cNvPr>
          <p:cNvSpPr>
            <a:spLocks noGrp="1"/>
          </p:cNvSpPr>
          <p:nvPr>
            <p:ph type="body" sz="quarter" idx="24" hasCustomPrompt="1"/>
          </p:nvPr>
        </p:nvSpPr>
        <p:spPr>
          <a:xfrm>
            <a:off x="1332000" y="1548000"/>
            <a:ext cx="1512000" cy="306000"/>
          </a:xfrm>
        </p:spPr>
        <p:txBody>
          <a:bodyPr wrap="none" tIns="0" rIns="0" bIns="0" anchor="t"/>
          <a:lstStyle>
            <a:lvl1pPr marL="0" indent="0" algn="l">
              <a:lnSpc>
                <a:spcPct val="100000"/>
              </a:lnSpc>
              <a:spcBef>
                <a:spcPts val="0"/>
              </a:spcBef>
              <a:spcAft>
                <a:spcPts val="0"/>
              </a:spcAft>
              <a:buFontTx/>
              <a:buNone/>
              <a:defRPr sz="900"/>
            </a:lvl1pPr>
          </a:lstStyle>
          <a:p>
            <a:pPr lvl="0"/>
            <a:r>
              <a:rPr lang="en-GB" dirty="0"/>
              <a:t>+00 11 123 456 789</a:t>
            </a:r>
            <a:br>
              <a:rPr lang="en-GB" dirty="0"/>
            </a:br>
            <a:r>
              <a:rPr lang="en-GB" dirty="0"/>
              <a:t>email@munichre.com</a:t>
            </a:r>
          </a:p>
        </p:txBody>
      </p:sp>
      <p:sp>
        <p:nvSpPr>
          <p:cNvPr id="48" name="Name 1">
            <a:extLst>
              <a:ext uri="{FF2B5EF4-FFF2-40B4-BE49-F238E27FC236}">
                <a16:creationId xmlns:a16="http://schemas.microsoft.com/office/drawing/2014/main" id="{930FE81A-9B49-4EEE-8A3E-30B5B3AA2B61}"/>
              </a:ext>
            </a:extLst>
          </p:cNvPr>
          <p:cNvSpPr>
            <a:spLocks noGrp="1"/>
          </p:cNvSpPr>
          <p:nvPr>
            <p:ph type="body" sz="quarter" idx="23" hasCustomPrompt="1"/>
          </p:nvPr>
        </p:nvSpPr>
        <p:spPr>
          <a:xfrm>
            <a:off x="1332000" y="1242000"/>
            <a:ext cx="1512000" cy="162000"/>
          </a:xfrm>
        </p:spPr>
        <p:txBody>
          <a:bodyPr wrap="none" tIns="72000" rIns="36000" bIns="72000" anchor="ctr"/>
          <a:lstStyle>
            <a:lvl1pPr marL="0" indent="0" algn="l">
              <a:lnSpc>
                <a:spcPct val="100000"/>
              </a:lnSpc>
              <a:spcBef>
                <a:spcPts val="0"/>
              </a:spcBef>
              <a:spcAft>
                <a:spcPts val="0"/>
              </a:spcAft>
              <a:buFontTx/>
              <a:buNone/>
              <a:defRPr sz="1400">
                <a:solidFill>
                  <a:schemeClr val="accent1"/>
                </a:solidFill>
              </a:defRPr>
            </a:lvl1pPr>
          </a:lstStyle>
          <a:p>
            <a:pPr lvl="0"/>
            <a:r>
              <a:rPr lang="en-GB" dirty="0"/>
              <a:t>Name</a:t>
            </a:r>
          </a:p>
        </p:txBody>
      </p:sp>
      <p:sp>
        <p:nvSpPr>
          <p:cNvPr id="47" name="Picture Placeholder 1">
            <a:extLst>
              <a:ext uri="{FF2B5EF4-FFF2-40B4-BE49-F238E27FC236}">
                <a16:creationId xmlns:a16="http://schemas.microsoft.com/office/drawing/2014/main" id="{A59E4862-C7D2-4C67-ABA7-5DF9B50A36BB}"/>
              </a:ext>
            </a:extLst>
          </p:cNvPr>
          <p:cNvSpPr>
            <a:spLocks noGrp="1" noChangeAspect="1"/>
          </p:cNvSpPr>
          <p:nvPr>
            <p:ph type="pic" sz="quarter" idx="17" hasCustomPrompt="1"/>
          </p:nvPr>
        </p:nvSpPr>
        <p:spPr>
          <a:xfrm>
            <a:off x="324000" y="1188000"/>
            <a:ext cx="900000" cy="1152000"/>
          </a:xfrm>
          <a:solidFill>
            <a:schemeClr val="bg1"/>
          </a:solidFill>
        </p:spPr>
        <p:txBody>
          <a:bodyPr>
            <a:noAutofit/>
          </a:bodyPr>
          <a:lstStyle>
            <a:lvl1pPr marL="0" indent="0" algn="ctr">
              <a:buFontTx/>
              <a:buNone/>
              <a:defRPr sz="900">
                <a:solidFill>
                  <a:schemeClr val="bg1"/>
                </a:solidFill>
              </a:defRPr>
            </a:lvl1pPr>
          </a:lstStyle>
          <a:p>
            <a:r>
              <a:rPr lang="en-GB" noProof="0" dirty="0"/>
              <a:t>To insert a picture, click on the icon in the middle.</a:t>
            </a:r>
          </a:p>
        </p:txBody>
      </p:sp>
      <p:sp>
        <p:nvSpPr>
          <p:cNvPr id="14"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3"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5"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2" name="Titel 1"/>
          <p:cNvSpPr>
            <a:spLocks noGrp="1"/>
          </p:cNvSpPr>
          <p:nvPr>
            <p:ph type="title" hasCustomPrompt="1"/>
          </p:nvPr>
        </p:nvSpPr>
        <p:spPr/>
        <p:txBody>
          <a:bodyPr/>
          <a:lstStyle>
            <a:lvl1pPr>
              <a:defRPr/>
            </a:lvl1pPr>
          </a:lstStyle>
          <a:p>
            <a:r>
              <a:rPr lang="en-GB" dirty="0"/>
              <a:t>Title 20 pt, (Contact)</a:t>
            </a:r>
          </a:p>
        </p:txBody>
      </p:sp>
    </p:spTree>
    <p:extLst>
      <p:ext uri="{BB962C8B-B14F-4D97-AF65-F5344CB8AC3E}">
        <p14:creationId xmlns:p14="http://schemas.microsoft.com/office/powerpoint/2010/main" val="49740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FBAE40"/>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FBAE40"/>
          </p15:clr>
        </p15:guide>
        <p15:guide id="29" orient="horz" pos="1973">
          <p15:clr>
            <a:srgbClr val="FBAE40"/>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6" pos="2030">
          <p15:clr>
            <a:srgbClr val="FBAE40"/>
          </p15:clr>
        </p15:guide>
        <p15:guide id="37" pos="373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Imprint Munich">
    <p:spTree>
      <p:nvGrpSpPr>
        <p:cNvPr id="1" name=""/>
        <p:cNvGrpSpPr/>
        <p:nvPr/>
      </p:nvGrpSpPr>
      <p:grpSpPr>
        <a:xfrm>
          <a:off x="0" y="0"/>
          <a:ext cx="0" cy="0"/>
          <a:chOff x="0" y="0"/>
          <a:chExt cx="0" cy="0"/>
        </a:xfrm>
      </p:grpSpPr>
      <p:sp>
        <p:nvSpPr>
          <p:cNvPr id="10"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1"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2"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13" name="Text Box 1"/>
          <p:cNvSpPr txBox="1">
            <a:spLocks/>
          </p:cNvSpPr>
          <p:nvPr/>
        </p:nvSpPr>
        <p:spPr>
          <a:xfrm>
            <a:off x="252000" y="252000"/>
            <a:ext cx="6750000" cy="576000"/>
          </a:xfrm>
          <a:prstGeom prst="rect">
            <a:avLst/>
          </a:prstGeom>
          <a:noFill/>
          <a:effectLst/>
        </p:spPr>
        <p:txBody>
          <a:bodyPr wrap="none" lIns="0" tIns="0" rIns="0" bIns="0" rtlCol="0">
            <a:noAutofit/>
          </a:bodyPr>
          <a:lstStyle/>
          <a:p>
            <a:pPr algn="l" defTabSz="685800" rtl="0" eaLnBrk="1" latinLnBrk="0" hangingPunct="1">
              <a:spcBef>
                <a:spcPct val="0"/>
              </a:spcBef>
              <a:buNone/>
            </a:pPr>
            <a:r>
              <a:rPr lang="en-GB" sz="2000" kern="1200" noProof="0" dirty="0">
                <a:solidFill>
                  <a:schemeClr val="accent1"/>
                </a:solidFill>
              </a:rPr>
              <a:t>Imprint</a:t>
            </a:r>
          </a:p>
        </p:txBody>
      </p:sp>
      <p:sp>
        <p:nvSpPr>
          <p:cNvPr id="8" name="Text Box 3"/>
          <p:cNvSpPr txBox="1">
            <a:spLocks/>
          </p:cNvSpPr>
          <p:nvPr/>
        </p:nvSpPr>
        <p:spPr>
          <a:xfrm>
            <a:off x="252000" y="1404000"/>
            <a:ext cx="8640000" cy="1296000"/>
          </a:xfrm>
        </p:spPr>
        <p:txBody>
          <a:bodyPr lIns="0" tIns="0" rIns="0" bIns="0"/>
          <a:lstStyle>
            <a:lvl1pPr marL="0" indent="0">
              <a:lnSpc>
                <a:spcPct val="100000"/>
              </a:lnSpc>
              <a:spcBef>
                <a:spcPts val="0"/>
              </a:spcBef>
              <a:spcAft>
                <a:spcPts val="0"/>
              </a:spcAft>
              <a:buClrTx/>
              <a:buSzTx/>
              <a:buNone/>
              <a:tabLst/>
              <a:defRPr/>
            </a:lvl1pPr>
          </a:lstStyle>
          <a:p>
            <a:pPr marL="0" marR="0" lvl="0" indent="0" algn="l" rtl="0">
              <a:lnSpc>
                <a:spcPct val="100000"/>
              </a:lnSpc>
              <a:spcBef>
                <a:spcPts val="0"/>
              </a:spcBef>
              <a:spcAft>
                <a:spcPts val="0"/>
              </a:spcAft>
              <a:buClrTx/>
              <a:buSzTx/>
              <a:buFont typeface="Wingdings" pitchFamily="2" charset="2"/>
              <a:buNone/>
              <a:tabLst/>
              <a:defRPr/>
            </a:pPr>
            <a:r>
              <a:rPr kumimoji="0" lang="en-GB" sz="1400" b="0" i="0" u="none" strike="noStrike" kern="1200" cap="none" spc="0" normalizeH="0" baseline="0" noProof="0" dirty="0">
                <a:solidFill>
                  <a:schemeClr val="tx2"/>
                </a:solidFill>
              </a:rPr>
              <a:t>Münchener Rückversicherungs-Gesellschaft</a:t>
            </a:r>
            <a:br>
              <a:rPr kumimoji="0" lang="en-GB" sz="1400" b="0" i="0" u="none" strike="noStrike" kern="1200" cap="none" spc="0" normalizeH="0" baseline="0" noProof="0" dirty="0">
                <a:solidFill>
                  <a:schemeClr val="tx2"/>
                </a:solidFill>
              </a:rPr>
            </a:br>
            <a:r>
              <a:rPr kumimoji="0" lang="en-GB" sz="1400" b="0" i="0" u="none" strike="noStrike" kern="1200" cap="none" spc="0" normalizeH="0" baseline="0" noProof="0" dirty="0">
                <a:ln>
                  <a:noFill/>
                </a:ln>
                <a:solidFill>
                  <a:schemeClr val="tx2"/>
                </a:solidFill>
                <a:effectLst/>
                <a:uLnTx/>
                <a:uFillTx/>
              </a:rPr>
              <a:t>Aktiengesellschaft in München</a:t>
            </a:r>
            <a:br>
              <a:rPr kumimoji="0" lang="en-GB" sz="1400" b="0" i="0" u="none" strike="noStrike" kern="1200" cap="none" spc="0" normalizeH="0" baseline="0" noProof="0" dirty="0">
                <a:solidFill>
                  <a:schemeClr val="tx2"/>
                </a:solidFill>
              </a:rPr>
            </a:br>
            <a:r>
              <a:rPr kumimoji="0" lang="en-GB" sz="1400" b="0" i="0" u="none" strike="noStrike" kern="1200" cap="none" spc="0" normalizeH="0" baseline="0" noProof="0" dirty="0">
                <a:solidFill>
                  <a:schemeClr val="tx2"/>
                </a:solidFill>
              </a:rPr>
              <a:t>Königinstr. 107</a:t>
            </a:r>
            <a:br>
              <a:rPr kumimoji="0" lang="en-GB" sz="1400" b="0" i="0" u="none" strike="noStrike" kern="1200" cap="none" spc="0" normalizeH="0" baseline="0" noProof="0" dirty="0">
                <a:ln>
                  <a:noFill/>
                </a:ln>
                <a:solidFill>
                  <a:schemeClr val="tx2"/>
                </a:solidFill>
                <a:effectLst/>
                <a:uLnTx/>
                <a:uFillTx/>
              </a:rPr>
            </a:br>
            <a:r>
              <a:rPr kumimoji="0" lang="en-GB" sz="1400" b="0" i="0" u="none" strike="noStrike" kern="1200" cap="none" spc="0" normalizeH="0" baseline="0" noProof="0" dirty="0">
                <a:solidFill>
                  <a:schemeClr val="tx2"/>
                </a:solidFill>
              </a:rPr>
              <a:t>80802 München</a:t>
            </a:r>
            <a:br>
              <a:rPr kumimoji="0" lang="en-GB" sz="1400" b="0" i="0" u="none" strike="noStrike" kern="1200" cap="none" spc="0" normalizeH="0" baseline="0" noProof="0" dirty="0">
                <a:ln>
                  <a:noFill/>
                </a:ln>
                <a:solidFill>
                  <a:schemeClr val="tx2"/>
                </a:solidFill>
                <a:effectLst/>
                <a:uLnTx/>
                <a:uFillTx/>
              </a:rPr>
            </a:br>
            <a:r>
              <a:rPr kumimoji="0" lang="en-GB" sz="1400" b="0" i="0" u="none" strike="noStrike" kern="1200" cap="none" spc="0" normalizeH="0" baseline="0" noProof="0" dirty="0">
                <a:solidFill>
                  <a:schemeClr val="tx2"/>
                </a:solidFill>
              </a:rPr>
              <a:t>Germany</a:t>
            </a:r>
          </a:p>
        </p:txBody>
      </p:sp>
      <p:grpSp>
        <p:nvGrpSpPr>
          <p:cNvPr id="19" name="Group 1"/>
          <p:cNvGrpSpPr/>
          <p:nvPr/>
        </p:nvGrpSpPr>
        <p:grpSpPr>
          <a:xfrm>
            <a:off x="252000" y="2843213"/>
            <a:ext cx="8632273" cy="481984"/>
            <a:chOff x="338038" y="2862001"/>
            <a:chExt cx="8501072" cy="482184"/>
          </a:xfrm>
        </p:grpSpPr>
        <p:sp>
          <p:nvSpPr>
            <p:cNvPr id="20" name="Date"/>
            <p:cNvSpPr txBox="1">
              <a:spLocks/>
            </p:cNvSpPr>
            <p:nvPr/>
          </p:nvSpPr>
          <p:spPr>
            <a:xfrm>
              <a:off x="338038" y="2862001"/>
              <a:ext cx="1491972" cy="482183"/>
            </a:xfrm>
            <a:prstGeom prst="rect">
              <a:avLst/>
            </a:prstGeom>
            <a:noFill/>
          </p:spPr>
          <p:txBody>
            <a:bodyPr vert="horz" lIns="0" tIns="0" rIns="36000" bIns="0" rtlCol="0" anchor="ctr">
              <a:noAutofit/>
            </a:bodyPr>
            <a:lstStyle/>
            <a:p>
              <a:pPr algn="l">
                <a:spcBef>
                  <a:spcPts val="400"/>
                </a:spcBef>
              </a:pPr>
              <a:r>
                <a:rPr lang="en-GB" altLang="zh-CN" sz="1400" i="0" spc="0" baseline="0" dirty="0">
                  <a:solidFill>
                    <a:schemeClr val="tx2"/>
                  </a:solidFill>
                </a:rPr>
                <a:t>© </a:t>
              </a:r>
              <a:fld id="{A3C02936-56EB-4811-9318-C73FF2F154D5}" type="datetimeyyyy">
                <a:rPr lang="en-GB" altLang="en-GB" sz="1400" i="0" spc="0" baseline="0" smtClean="0">
                  <a:solidFill>
                    <a:schemeClr val="tx2"/>
                  </a:solidFill>
                </a:rPr>
                <a:t>2022</a:t>
              </a:fld>
              <a:endParaRPr kumimoji="0" lang="en-GB" sz="1400" b="0" i="0" u="none" strike="noStrike" kern="1200" cap="none" spc="0" normalizeH="0" baseline="0" noProof="0" dirty="0">
                <a:solidFill>
                  <a:schemeClr val="tx2"/>
                </a:solidFill>
              </a:endParaRPr>
            </a:p>
            <a:p>
              <a:pPr algn="l">
                <a:spcBef>
                  <a:spcPts val="400"/>
                </a:spcBef>
              </a:pPr>
              <a:r>
                <a:rPr lang="en-GB" altLang="zh-CN" sz="1400" i="0" spc="0" baseline="0" dirty="0">
                  <a:solidFill>
                    <a:schemeClr val="tx2"/>
                  </a:solidFill>
                </a:rPr>
                <a:t>© </a:t>
              </a:r>
              <a:fld id="{19F4CD60-3F6E-4CD4-AF04-3B713259ED7A}" type="datetimeyyyy">
                <a:rPr lang="en-GB" altLang="zh-CN" sz="1400" i="0" spc="0" baseline="0" smtClean="0">
                  <a:solidFill>
                    <a:schemeClr val="tx2"/>
                  </a:solidFill>
                </a:rPr>
                <a:t>2022</a:t>
              </a:fld>
              <a:endParaRPr lang="en-GB" sz="1400" spc="0" baseline="0" dirty="0">
                <a:solidFill>
                  <a:schemeClr val="tx2"/>
                </a:solidFill>
              </a:endParaRPr>
            </a:p>
          </p:txBody>
        </p:sp>
        <p:sp>
          <p:nvSpPr>
            <p:cNvPr id="21" name="Text Box 4"/>
            <p:cNvSpPr txBox="1"/>
            <p:nvPr/>
          </p:nvSpPr>
          <p:spPr>
            <a:xfrm>
              <a:off x="911017" y="2862002"/>
              <a:ext cx="7928093" cy="482183"/>
            </a:xfrm>
            <a:prstGeom prst="rect">
              <a:avLst/>
            </a:prstGeom>
            <a:effectLst/>
          </p:spPr>
          <p:txBody>
            <a:bodyPr wrap="square" lIns="0" tIns="0" rIns="0" bIns="0" rtlCol="0">
              <a:spAutoFit/>
            </a:bodyPr>
            <a:lstStyle/>
            <a:p>
              <a:pPr algn="l">
                <a:spcBef>
                  <a:spcPts val="400"/>
                </a:spcBef>
              </a:pPr>
              <a:r>
                <a:rPr kumimoji="0" lang="en-GB" sz="1400" b="0" i="0" u="none" strike="noStrike" kern="1200" cap="none" spc="0" normalizeH="0" baseline="0" noProof="0" dirty="0">
                  <a:solidFill>
                    <a:schemeClr val="tx2"/>
                  </a:solidFill>
                </a:rPr>
                <a:t> </a:t>
              </a:r>
              <a:r>
                <a:rPr kumimoji="0" lang="en-GB" sz="1400" b="0" i="0" u="none" strike="noStrike" kern="1200" cap="none" spc="0" normalizeH="0" baseline="0" noProof="0" dirty="0" err="1">
                  <a:solidFill>
                    <a:schemeClr val="tx2"/>
                  </a:solidFill>
                </a:rPr>
                <a:t>Münchener</a:t>
              </a:r>
              <a:r>
                <a:rPr kumimoji="0" lang="en-GB" sz="1400" b="0" i="0" u="none" strike="noStrike" kern="1200" cap="none" spc="0" normalizeH="0" baseline="0" noProof="0" dirty="0">
                  <a:solidFill>
                    <a:schemeClr val="tx2"/>
                  </a:solidFill>
                </a:rPr>
                <a:t> Rückversicherungs-Gesellschaft</a:t>
              </a:r>
            </a:p>
            <a:p>
              <a:pPr marL="0" marR="0" lvl="0" indent="0" algn="l" defTabSz="685800" rtl="0" eaLnBrk="1" fontAlgn="auto" latinLnBrk="0" hangingPunct="1">
                <a:lnSpc>
                  <a:spcPct val="100000"/>
                </a:lnSpc>
                <a:spcBef>
                  <a:spcPts val="400"/>
                </a:spcBef>
                <a:spcAft>
                  <a:spcPts val="0"/>
                </a:spcAft>
                <a:buClrTx/>
                <a:buSzTx/>
                <a:buFontTx/>
                <a:buNone/>
                <a:tabLst/>
                <a:defRPr/>
              </a:pPr>
              <a:r>
                <a:rPr kumimoji="0" lang="en-GB" sz="1400" b="0" i="0" u="none" strike="noStrike" kern="1200" cap="none" spc="0" normalizeH="0" baseline="0" noProof="0" dirty="0">
                  <a:solidFill>
                    <a:schemeClr val="tx2"/>
                  </a:solidFill>
                </a:rPr>
                <a:t> Munich Reinsurance Company</a:t>
              </a:r>
            </a:p>
          </p:txBody>
        </p:sp>
      </p:grpSp>
    </p:spTree>
    <p:extLst>
      <p:ext uri="{BB962C8B-B14F-4D97-AF65-F5344CB8AC3E}">
        <p14:creationId xmlns:p14="http://schemas.microsoft.com/office/powerpoint/2010/main" val="698323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mprint">
    <p:spTree>
      <p:nvGrpSpPr>
        <p:cNvPr id="1" name=""/>
        <p:cNvGrpSpPr/>
        <p:nvPr/>
      </p:nvGrpSpPr>
      <p:grpSpPr>
        <a:xfrm>
          <a:off x="0" y="0"/>
          <a:ext cx="0" cy="0"/>
          <a:chOff x="0" y="0"/>
          <a:chExt cx="0" cy="0"/>
        </a:xfrm>
      </p:grpSpPr>
      <p:sp>
        <p:nvSpPr>
          <p:cNvPr id="10"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1"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2"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13" name="Text Box Title 1"/>
          <p:cNvSpPr txBox="1">
            <a:spLocks/>
          </p:cNvSpPr>
          <p:nvPr/>
        </p:nvSpPr>
        <p:spPr>
          <a:xfrm>
            <a:off x="252000" y="252000"/>
            <a:ext cx="6750000" cy="576675"/>
          </a:xfrm>
          <a:prstGeom prst="rect">
            <a:avLst/>
          </a:prstGeom>
          <a:noFill/>
          <a:effectLst/>
        </p:spPr>
        <p:txBody>
          <a:bodyPr wrap="none" lIns="0" tIns="0" rIns="0" bIns="0" rtlCol="0"/>
          <a:lstStyle/>
          <a:p>
            <a:pPr algn="l" defTabSz="685800" rtl="0" eaLnBrk="1" latinLnBrk="0" hangingPunct="1">
              <a:spcBef>
                <a:spcPct val="0"/>
              </a:spcBef>
              <a:buNone/>
            </a:pPr>
            <a:r>
              <a:rPr lang="en-GB" sz="2000" kern="1200" noProof="0" dirty="0">
                <a:solidFill>
                  <a:schemeClr val="accent1"/>
                </a:solidFill>
              </a:rPr>
              <a:t>Imprint</a:t>
            </a:r>
          </a:p>
        </p:txBody>
      </p:sp>
      <p:sp>
        <p:nvSpPr>
          <p:cNvPr id="8" name="Text Placeholder 2"/>
          <p:cNvSpPr>
            <a:spLocks noGrp="1"/>
          </p:cNvSpPr>
          <p:nvPr>
            <p:ph type="body" sz="quarter" idx="14" hasCustomPrompt="1"/>
          </p:nvPr>
        </p:nvSpPr>
        <p:spPr>
          <a:xfrm>
            <a:off x="252000" y="1404000"/>
            <a:ext cx="8640000" cy="1296000"/>
          </a:xfrm>
        </p:spPr>
        <p:txBody>
          <a:bodyPr/>
          <a:lstStyle>
            <a:lvl1pPr marL="0" indent="0">
              <a:lnSpc>
                <a:spcPct val="100000"/>
              </a:lnSpc>
              <a:spcBef>
                <a:spcPts val="0"/>
              </a:spcBef>
              <a:spcAft>
                <a:spcPts val="0"/>
              </a:spcAft>
              <a:buClrTx/>
              <a:buSzTx/>
              <a:buFontTx/>
              <a:buNone/>
              <a:tabLst/>
              <a:defRPr/>
            </a:lvl1pPr>
          </a:lstStyle>
          <a:p>
            <a:pPr lvl="0"/>
            <a:r>
              <a:rPr lang="en-GB" noProof="0" dirty="0"/>
              <a:t>Please insert your legal entity here</a:t>
            </a:r>
          </a:p>
          <a:p>
            <a:endParaRPr lang="en-GB" dirty="0"/>
          </a:p>
        </p:txBody>
      </p:sp>
      <p:sp>
        <p:nvSpPr>
          <p:cNvPr id="20" name="Date"/>
          <p:cNvSpPr txBox="1">
            <a:spLocks/>
          </p:cNvSpPr>
          <p:nvPr/>
        </p:nvSpPr>
        <p:spPr>
          <a:xfrm>
            <a:off x="252039" y="2844000"/>
            <a:ext cx="1516367" cy="481983"/>
          </a:xfrm>
          <a:prstGeom prst="rect">
            <a:avLst/>
          </a:prstGeom>
          <a:noFill/>
        </p:spPr>
        <p:txBody>
          <a:bodyPr vert="horz" lIns="0" tIns="0" rIns="36000" bIns="0" rtlCol="0" anchor="ctr">
            <a:noAutofit/>
          </a:bodyPr>
          <a:lstStyle/>
          <a:p>
            <a:pPr algn="l">
              <a:spcBef>
                <a:spcPts val="400"/>
              </a:spcBef>
            </a:pPr>
            <a:r>
              <a:rPr lang="en-GB" altLang="zh-CN" sz="1400" i="0" spc="0" baseline="0" dirty="0">
                <a:solidFill>
                  <a:schemeClr val="tx2"/>
                </a:solidFill>
              </a:rPr>
              <a:t>© </a:t>
            </a:r>
            <a:fld id="{14D338FD-C43E-499C-81A9-A4CE75F809AC}" type="datetimeyyyy">
              <a:rPr lang="en-GB" altLang="zh-CN" sz="1400" i="0" spc="0" baseline="0" smtClean="0">
                <a:solidFill>
                  <a:schemeClr val="tx2"/>
                </a:solidFill>
              </a:rPr>
              <a:t>2022</a:t>
            </a:fld>
            <a:endParaRPr lang="en-GB" altLang="zh-CN" sz="1400" i="0" spc="0" baseline="0" dirty="0">
              <a:solidFill>
                <a:schemeClr val="tx2"/>
              </a:solidFill>
            </a:endParaRPr>
          </a:p>
          <a:p>
            <a:pPr algn="l">
              <a:spcBef>
                <a:spcPts val="400"/>
              </a:spcBef>
            </a:pPr>
            <a:r>
              <a:rPr lang="en-GB" altLang="zh-CN" sz="1400" i="0" spc="0" baseline="0" dirty="0">
                <a:solidFill>
                  <a:schemeClr val="tx2"/>
                </a:solidFill>
              </a:rPr>
              <a:t>© </a:t>
            </a:r>
            <a:fld id="{FA804410-6E04-4085-9F82-931EB239A6DF}" type="datetimeyyyy">
              <a:rPr lang="en-GB" altLang="zh-CN" sz="1400" i="0" spc="0" baseline="0" smtClean="0">
                <a:solidFill>
                  <a:schemeClr val="tx2"/>
                </a:solidFill>
              </a:rPr>
              <a:t>2022</a:t>
            </a:fld>
            <a:endParaRPr lang="en-GB" sz="1400" spc="0" baseline="0" dirty="0">
              <a:solidFill>
                <a:schemeClr val="tx2"/>
              </a:solidFill>
            </a:endParaRPr>
          </a:p>
        </p:txBody>
      </p:sp>
      <p:sp>
        <p:nvSpPr>
          <p:cNvPr id="21" name="Text Box 2"/>
          <p:cNvSpPr txBox="1"/>
          <p:nvPr/>
        </p:nvSpPr>
        <p:spPr>
          <a:xfrm>
            <a:off x="834386" y="2844002"/>
            <a:ext cx="8367602" cy="481983"/>
          </a:xfrm>
          <a:prstGeom prst="rect">
            <a:avLst/>
          </a:prstGeom>
          <a:effectLst/>
        </p:spPr>
        <p:txBody>
          <a:bodyPr wrap="square" lIns="0" tIns="0" rIns="0" bIns="0" rtlCol="0">
            <a:spAutoFit/>
          </a:bodyPr>
          <a:lstStyle/>
          <a:p>
            <a:pPr algn="l">
              <a:spcBef>
                <a:spcPts val="400"/>
              </a:spcBef>
            </a:pPr>
            <a:r>
              <a:rPr kumimoji="0" lang="en-GB" sz="1400" b="0" i="0" u="none" strike="noStrike" kern="1200" cap="none" spc="0" normalizeH="0" baseline="0" noProof="0" dirty="0">
                <a:solidFill>
                  <a:schemeClr val="tx2"/>
                </a:solidFill>
              </a:rPr>
              <a:t> </a:t>
            </a:r>
            <a:r>
              <a:rPr kumimoji="0" lang="en-GB" sz="1400" b="0" i="0" u="none" strike="noStrike" kern="1200" cap="none" spc="0" normalizeH="0" baseline="0" noProof="0" dirty="0" err="1">
                <a:solidFill>
                  <a:schemeClr val="tx2"/>
                </a:solidFill>
              </a:rPr>
              <a:t>Münchener Rückversicherungs-Gesellschaft</a:t>
            </a:r>
          </a:p>
          <a:p>
            <a:pPr marL="0" marR="0" lvl="0" indent="0" algn="l" defTabSz="685800" rtl="0" eaLnBrk="1" fontAlgn="auto" latinLnBrk="0" hangingPunct="1">
              <a:lnSpc>
                <a:spcPct val="100000"/>
              </a:lnSpc>
              <a:spcBef>
                <a:spcPts val="400"/>
              </a:spcBef>
              <a:spcAft>
                <a:spcPts val="0"/>
              </a:spcAft>
              <a:buClrTx/>
              <a:buSzTx/>
              <a:buFontTx/>
              <a:buNone/>
              <a:tabLst/>
              <a:defRPr/>
            </a:pPr>
            <a:r>
              <a:rPr kumimoji="0" lang="en-GB" sz="1400" b="0" i="0" u="none" strike="noStrike" kern="1200" cap="none" spc="0" normalizeH="0" baseline="0" noProof="0" dirty="0">
                <a:solidFill>
                  <a:schemeClr val="tx2"/>
                </a:solidFill>
              </a:rPr>
              <a:t> Munich Reinsurance Company</a:t>
            </a:r>
          </a:p>
        </p:txBody>
      </p:sp>
    </p:spTree>
    <p:extLst>
      <p:ext uri="{BB962C8B-B14F-4D97-AF65-F5344CB8AC3E}">
        <p14:creationId xmlns:p14="http://schemas.microsoft.com/office/powerpoint/2010/main" val="2942883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guide id="37" orient="horz" pos="170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3">
    <p:bg>
      <p:bgPr>
        <a:solidFill>
          <a:schemeClr val="tx2"/>
        </a:solidFill>
        <a:effectLst/>
      </p:bgPr>
    </p:bg>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4572000" y="0"/>
            <a:ext cx="4572000" cy="5148000"/>
          </a:xfrm>
          <a:solidFill>
            <a:schemeClr val="accent1"/>
          </a:solidFill>
        </p:spPr>
        <p:txBody>
          <a:bodyPr lIns="540000" tIns="792000" rIns="540000" anchor="t" anchorCtr="1"/>
          <a:lstStyle>
            <a:lvl1pPr marL="0" marR="0" indent="0" algn="l" defTabSz="270000" rtl="0" eaLnBrk="1" fontAlgn="auto" latinLnBrk="0" hangingPunct="1">
              <a:lnSpc>
                <a:spcPct val="110000"/>
              </a:lnSpc>
              <a:spcBef>
                <a:spcPts val="0"/>
              </a:spcBef>
              <a:spcAft>
                <a:spcPts val="600"/>
              </a:spcAft>
              <a:buClrTx/>
              <a:buSzTx/>
              <a:buFont typeface="Wingdings" pitchFamily="2" charset="2"/>
              <a:buNone/>
              <a:tabLst/>
              <a:defRPr baseline="0">
                <a:solidFill>
                  <a:schemeClr val="bg1"/>
                </a:solidFill>
              </a:defRPr>
            </a:lvl1pPr>
          </a:lstStyle>
          <a:p>
            <a:pPr marL="0" marR="0" lvl="0" indent="0" algn="l" defTabSz="270000" rtl="0" eaLnBrk="1" fontAlgn="auto" latinLnBrk="0" hangingPunct="1">
              <a:lnSpc>
                <a:spcPct val="110000"/>
              </a:lnSpc>
              <a:spcBef>
                <a:spcPts val="0"/>
              </a:spcBef>
              <a:spcAft>
                <a:spcPts val="600"/>
              </a:spcAft>
              <a:buClrTx/>
              <a:buSzTx/>
              <a:buFont typeface="Wingdings" pitchFamily="2" charset="2"/>
              <a:buNone/>
              <a:tabLst/>
              <a:defRPr/>
            </a:pPr>
            <a:r>
              <a:rPr lang="en-GB" dirty="0"/>
              <a:t>To insert a cover picture, click on the icon in the middle.</a:t>
            </a:r>
            <a:br>
              <a:rPr lang="en-GB" dirty="0"/>
            </a:br>
            <a:r>
              <a:rPr lang="en-GB" dirty="0"/>
              <a:t>If no picture is wanted you may choose a colour instead.</a:t>
            </a:r>
          </a:p>
        </p:txBody>
      </p:sp>
      <p:sp>
        <p:nvSpPr>
          <p:cNvPr id="2" name="Title 1"/>
          <p:cNvSpPr>
            <a:spLocks noGrp="1"/>
          </p:cNvSpPr>
          <p:nvPr>
            <p:ph type="ctrTitle" hasCustomPrompt="1"/>
          </p:nvPr>
        </p:nvSpPr>
        <p:spPr>
          <a:xfrm>
            <a:off x="252000" y="252000"/>
            <a:ext cx="3978000" cy="1152000"/>
          </a:xfrm>
        </p:spPr>
        <p:txBody>
          <a:bodyPr anchor="t">
            <a:noAutofit/>
          </a:bodyPr>
          <a:lstStyle>
            <a:lvl1pPr>
              <a:lnSpc>
                <a:spcPct val="100000"/>
              </a:lnSpc>
              <a:defRPr sz="2400" baseline="0">
                <a:solidFill>
                  <a:schemeClr val="bg1"/>
                </a:solidFill>
              </a:defRPr>
            </a:lvl1pPr>
          </a:lstStyle>
          <a:p>
            <a:r>
              <a:rPr lang="en-GB" dirty="0"/>
              <a:t>Title 24 pt,</a:t>
            </a:r>
            <a:br>
              <a:rPr lang="en-GB" dirty="0"/>
            </a:br>
            <a:r>
              <a:rPr lang="en-GB" dirty="0"/>
              <a:t>three lines max</a:t>
            </a:r>
          </a:p>
        </p:txBody>
      </p:sp>
      <p:sp>
        <p:nvSpPr>
          <p:cNvPr id="3" name="Subtitle 1"/>
          <p:cNvSpPr>
            <a:spLocks noGrp="1"/>
          </p:cNvSpPr>
          <p:nvPr>
            <p:ph type="subTitle" idx="1" hasCustomPrompt="1"/>
          </p:nvPr>
        </p:nvSpPr>
        <p:spPr>
          <a:xfrm>
            <a:off x="252000" y="1692000"/>
            <a:ext cx="3978000" cy="576000"/>
          </a:xfrm>
        </p:spPr>
        <p:txBody>
          <a:bodyPr anchor="t" anchorCtr="0">
            <a:noAutofit/>
          </a:bodyPr>
          <a:lstStyle>
            <a:lvl1pPr marL="0" marR="0" indent="0" algn="l" defTabSz="685800" rtl="0" eaLnBrk="1" fontAlgn="auto" latinLnBrk="0" hangingPunct="1">
              <a:lnSpc>
                <a:spcPct val="100000"/>
              </a:lnSpc>
              <a:spcBef>
                <a:spcPts val="0"/>
              </a:spcBef>
              <a:spcAft>
                <a:spcPts val="0"/>
              </a:spcAft>
              <a:buClrTx/>
              <a:buSzTx/>
              <a:buFont typeface="Wingdings" pitchFamily="2" charset="2"/>
              <a:buNone/>
              <a:tabLst/>
              <a:defRPr>
                <a:solidFill>
                  <a:schemeClr val="bg1"/>
                </a:solidFill>
              </a:defRPr>
            </a:lvl1pPr>
          </a:lstStyle>
          <a:p>
            <a:r>
              <a:rPr lang="en-GB" dirty="0"/>
              <a:t>Date: DD/MM/YYYY</a:t>
            </a:r>
            <a:br>
              <a:rPr lang="en-GB" dirty="0"/>
            </a:br>
            <a:r>
              <a:rPr lang="en-GB" dirty="0"/>
              <a:t>Name of speaker</a:t>
            </a:r>
          </a:p>
        </p:txBody>
      </p:sp>
      <p:sp>
        <p:nvSpPr>
          <p:cNvPr id="7" name="Source 1"/>
          <p:cNvSpPr>
            <a:spLocks noGrp="1"/>
          </p:cNvSpPr>
          <p:nvPr>
            <p:ph type="body" sz="quarter" idx="12" hasCustomPrompt="1"/>
          </p:nvPr>
        </p:nvSpPr>
        <p:spPr>
          <a:xfrm>
            <a:off x="6768000" y="492750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pic>
        <p:nvPicPr>
          <p:cNvPr id="10" name="MR Logo white 1">
            <a:extLst>
              <a:ext uri="{FF2B5EF4-FFF2-40B4-BE49-F238E27FC236}">
                <a16:creationId xmlns:a16="http://schemas.microsoft.com/office/drawing/2014/main" id="{6BFAB5A4-65D4-21F2-2199-C1D2FFE704A7}"/>
              </a:ext>
            </a:extLst>
          </p:cNvPr>
          <p:cNvPicPr>
            <a:picLocks noGrp="1" noRot="1" noMove="1" noResize="1" noEditPoints="1" noAdjustHandles="1" noChangeArrowheads="1" noChangeShapeType="1" noCrop="1"/>
          </p:cNvPicPr>
          <p:nvPr/>
        </p:nvPicPr>
        <p:blipFill>
          <a:blip r:embed="rId2"/>
          <a:stretch>
            <a:fillRect/>
          </a:stretch>
        </p:blipFill>
        <p:spPr>
          <a:xfrm>
            <a:off x="2718000" y="4446000"/>
            <a:ext cx="1512000" cy="349200"/>
          </a:xfrm>
          <a:prstGeom prst="rect">
            <a:avLst/>
          </a:prstGeom>
        </p:spPr>
      </p:pic>
    </p:spTree>
    <p:extLst>
      <p:ext uri="{BB962C8B-B14F-4D97-AF65-F5344CB8AC3E}">
        <p14:creationId xmlns:p14="http://schemas.microsoft.com/office/powerpoint/2010/main" val="2575564371"/>
      </p:ext>
    </p:extLst>
  </p:cSld>
  <p:clrMapOvr>
    <a:masterClrMapping/>
  </p:clrMapOvr>
  <p:transition spd="slow">
    <p:fade thruBlk="1"/>
  </p:transition>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665">
          <p15:clr>
            <a:srgbClr val="5ACBF0"/>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A4A3A4"/>
          </p15:clr>
        </p15:guide>
        <p15:guide id="23" orient="horz" pos="884">
          <p15:clr>
            <a:srgbClr val="FBAE40"/>
          </p15:clr>
        </p15:guide>
        <p15:guide id="24" orient="horz" pos="1066">
          <p15:clr>
            <a:srgbClr val="FBAE40"/>
          </p15:clr>
        </p15:guide>
        <p15:guide id="25" orient="horz" pos="1247">
          <p15:clr>
            <a:srgbClr val="A4A3A4"/>
          </p15:clr>
        </p15:guide>
        <p15:guide id="26" orient="horz" pos="1429">
          <p15:clr>
            <a:srgbClr val="FBAE40"/>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4">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4572000" y="0"/>
            <a:ext cx="4572000" cy="5148000"/>
          </a:xfrm>
          <a:solidFill>
            <a:schemeClr val="accent1"/>
          </a:solidFill>
        </p:spPr>
        <p:txBody>
          <a:bodyPr lIns="540000" tIns="792000" rIns="540000" anchor="t" anchorCtr="1"/>
          <a:lstStyle>
            <a:lvl1pPr marL="0" marR="0" indent="0" algn="l" defTabSz="270000" rtl="0" eaLnBrk="1" fontAlgn="auto" latinLnBrk="0" hangingPunct="1">
              <a:lnSpc>
                <a:spcPct val="110000"/>
              </a:lnSpc>
              <a:spcBef>
                <a:spcPts val="0"/>
              </a:spcBef>
              <a:spcAft>
                <a:spcPts val="600"/>
              </a:spcAft>
              <a:buClrTx/>
              <a:buSzTx/>
              <a:buFont typeface="Wingdings" pitchFamily="2" charset="2"/>
              <a:buNone/>
              <a:tabLst/>
              <a:defRPr baseline="0">
                <a:solidFill>
                  <a:schemeClr val="bg1"/>
                </a:solidFill>
              </a:defRPr>
            </a:lvl1pPr>
          </a:lstStyle>
          <a:p>
            <a:pPr marL="0" marR="0" lvl="0" indent="0" algn="l" defTabSz="270000" rtl="0" eaLnBrk="1" fontAlgn="auto" latinLnBrk="0" hangingPunct="1">
              <a:lnSpc>
                <a:spcPct val="110000"/>
              </a:lnSpc>
              <a:spcBef>
                <a:spcPts val="0"/>
              </a:spcBef>
              <a:spcAft>
                <a:spcPts val="600"/>
              </a:spcAft>
              <a:buClrTx/>
              <a:buSzTx/>
              <a:buFont typeface="Wingdings" pitchFamily="2" charset="2"/>
              <a:buNone/>
              <a:tabLst/>
              <a:defRPr/>
            </a:pPr>
            <a:r>
              <a:rPr lang="en-GB" dirty="0"/>
              <a:t>To insert a cover picture, click on the icon in the middle.</a:t>
            </a:r>
            <a:br>
              <a:rPr lang="en-GB" dirty="0"/>
            </a:br>
            <a:r>
              <a:rPr lang="en-GB" dirty="0"/>
              <a:t>If no picture is wanted you may choose a colour instead.</a:t>
            </a:r>
          </a:p>
        </p:txBody>
      </p:sp>
      <p:pic>
        <p:nvPicPr>
          <p:cNvPr id="13" name="MR Logo 2"/>
          <p:cNvPicPr>
            <a:picLocks noChangeAspect="1"/>
          </p:cNvPicPr>
          <p:nvPr/>
        </p:nvPicPr>
        <p:blipFill>
          <a:blip r:embed="rId2"/>
          <a:stretch>
            <a:fillRect/>
          </a:stretch>
        </p:blipFill>
        <p:spPr>
          <a:xfrm>
            <a:off x="2718000" y="4446000"/>
            <a:ext cx="1512000" cy="349200"/>
          </a:xfrm>
          <a:prstGeom prst="rect">
            <a:avLst/>
          </a:prstGeom>
        </p:spPr>
      </p:pic>
      <p:sp>
        <p:nvSpPr>
          <p:cNvPr id="2" name="Title 1"/>
          <p:cNvSpPr>
            <a:spLocks noGrp="1"/>
          </p:cNvSpPr>
          <p:nvPr>
            <p:ph type="ctrTitle" hasCustomPrompt="1"/>
          </p:nvPr>
        </p:nvSpPr>
        <p:spPr>
          <a:xfrm>
            <a:off x="252000" y="252000"/>
            <a:ext cx="3978000" cy="1152000"/>
          </a:xfrm>
        </p:spPr>
        <p:txBody>
          <a:bodyPr anchor="t">
            <a:noAutofit/>
          </a:bodyPr>
          <a:lstStyle>
            <a:lvl1pPr>
              <a:lnSpc>
                <a:spcPct val="100000"/>
              </a:lnSpc>
              <a:defRPr sz="2400" baseline="0"/>
            </a:lvl1pPr>
          </a:lstStyle>
          <a:p>
            <a:r>
              <a:rPr lang="en-GB" dirty="0"/>
              <a:t>Title 24 pt,</a:t>
            </a:r>
            <a:br>
              <a:rPr lang="en-GB" dirty="0"/>
            </a:br>
            <a:r>
              <a:rPr lang="en-GB" dirty="0"/>
              <a:t>three lines max</a:t>
            </a:r>
          </a:p>
        </p:txBody>
      </p:sp>
      <p:sp>
        <p:nvSpPr>
          <p:cNvPr id="3" name="Subtitle 1"/>
          <p:cNvSpPr>
            <a:spLocks noGrp="1"/>
          </p:cNvSpPr>
          <p:nvPr>
            <p:ph type="subTitle" idx="1" hasCustomPrompt="1"/>
          </p:nvPr>
        </p:nvSpPr>
        <p:spPr>
          <a:xfrm>
            <a:off x="252000" y="1692000"/>
            <a:ext cx="3978000" cy="576000"/>
          </a:xfrm>
        </p:spPr>
        <p:txBody>
          <a:bodyPr anchor="t" anchorCtr="0">
            <a:noAutofit/>
          </a:bodyPr>
          <a:lstStyle>
            <a:lvl1pPr marL="0" marR="0" indent="0" algn="l" defTabSz="685800" rtl="0" eaLnBrk="1" fontAlgn="auto" latinLnBrk="0" hangingPunct="1">
              <a:lnSpc>
                <a:spcPct val="100000"/>
              </a:lnSpc>
              <a:spcBef>
                <a:spcPts val="0"/>
              </a:spcBef>
              <a:spcAft>
                <a:spcPts val="0"/>
              </a:spcAft>
              <a:buClrTx/>
              <a:buSzTx/>
              <a:buFont typeface="Wingdings" pitchFamily="2" charset="2"/>
              <a:buNone/>
              <a:tabLst/>
              <a:defRPr/>
            </a:lvl1pPr>
          </a:lstStyle>
          <a:p>
            <a:r>
              <a:rPr lang="en-GB" dirty="0"/>
              <a:t>Date: DD/MM/YYYY</a:t>
            </a:r>
            <a:br>
              <a:rPr lang="en-GB" dirty="0"/>
            </a:br>
            <a:r>
              <a:rPr lang="en-GB" dirty="0"/>
              <a:t>Name of speaker</a:t>
            </a:r>
          </a:p>
        </p:txBody>
      </p:sp>
      <p:sp>
        <p:nvSpPr>
          <p:cNvPr id="7" name="Source 1"/>
          <p:cNvSpPr>
            <a:spLocks noGrp="1"/>
          </p:cNvSpPr>
          <p:nvPr>
            <p:ph type="body" sz="quarter" idx="12" hasCustomPrompt="1"/>
          </p:nvPr>
        </p:nvSpPr>
        <p:spPr>
          <a:xfrm>
            <a:off x="6768000" y="492750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Tree>
    <p:extLst>
      <p:ext uri="{BB962C8B-B14F-4D97-AF65-F5344CB8AC3E}">
        <p14:creationId xmlns:p14="http://schemas.microsoft.com/office/powerpoint/2010/main" val="117433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665">
          <p15:clr>
            <a:srgbClr val="5ACBF0"/>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A4A3A4"/>
          </p15:clr>
        </p15:guide>
        <p15:guide id="23" orient="horz" pos="884">
          <p15:clr>
            <a:srgbClr val="FBAE40"/>
          </p15:clr>
        </p15:guide>
        <p15:guide id="24" orient="horz" pos="1066">
          <p15:clr>
            <a:srgbClr val="FBAE40"/>
          </p15:clr>
        </p15:guide>
        <p15:guide id="25" orient="horz" pos="1247">
          <p15:clr>
            <a:srgbClr val="A4A3A4"/>
          </p15:clr>
        </p15:guide>
        <p15:guide id="26" orient="horz" pos="1429">
          <p15:clr>
            <a:srgbClr val="FBAE40"/>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cSld name="Title Multibranding">
    <p:bg>
      <p:bgPr>
        <a:solidFill>
          <a:schemeClr val="tx2"/>
        </a:solidFill>
        <a:effectLst/>
      </p:bgPr>
    </p:bg>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4572000" y="0"/>
            <a:ext cx="4572000" cy="5148000"/>
          </a:xfrm>
          <a:solidFill>
            <a:schemeClr val="accent1"/>
          </a:solidFill>
        </p:spPr>
        <p:txBody>
          <a:bodyPr lIns="540000" tIns="792000" rIns="540000" anchor="t" anchorCtr="1"/>
          <a:lstStyle>
            <a:lvl1pPr marL="0" marR="0" indent="0" algn="l" defTabSz="270000" rtl="0" eaLnBrk="1" fontAlgn="auto" latinLnBrk="0" hangingPunct="1">
              <a:lnSpc>
                <a:spcPct val="110000"/>
              </a:lnSpc>
              <a:spcBef>
                <a:spcPts val="0"/>
              </a:spcBef>
              <a:spcAft>
                <a:spcPts val="600"/>
              </a:spcAft>
              <a:buClrTx/>
              <a:buSzTx/>
              <a:buFont typeface="Wingdings" pitchFamily="2" charset="2"/>
              <a:buNone/>
              <a:tabLst/>
              <a:defRPr baseline="0">
                <a:solidFill>
                  <a:schemeClr val="bg1"/>
                </a:solidFill>
              </a:defRPr>
            </a:lvl1pPr>
          </a:lstStyle>
          <a:p>
            <a:pPr marL="0" marR="0" lvl="0" indent="0" algn="l" defTabSz="270000" rtl="0" eaLnBrk="1" fontAlgn="auto" latinLnBrk="0" hangingPunct="1">
              <a:lnSpc>
                <a:spcPct val="110000"/>
              </a:lnSpc>
              <a:spcBef>
                <a:spcPts val="0"/>
              </a:spcBef>
              <a:spcAft>
                <a:spcPts val="600"/>
              </a:spcAft>
              <a:buClrTx/>
              <a:buSzTx/>
              <a:buFont typeface="Wingdings" pitchFamily="2" charset="2"/>
              <a:buNone/>
              <a:tabLst/>
              <a:defRPr/>
            </a:pPr>
            <a:r>
              <a:rPr lang="en-GB" dirty="0"/>
              <a:t>To insert a cover picture, click on the icon in the middle.</a:t>
            </a:r>
            <a:br>
              <a:rPr lang="en-GB" dirty="0"/>
            </a:br>
            <a:r>
              <a:rPr lang="en-GB" dirty="0"/>
              <a:t>If no picture is wanted you may choose a colour instead.</a:t>
            </a:r>
          </a:p>
        </p:txBody>
      </p:sp>
      <p:sp>
        <p:nvSpPr>
          <p:cNvPr id="2" name="Title 1"/>
          <p:cNvSpPr>
            <a:spLocks noGrp="1"/>
          </p:cNvSpPr>
          <p:nvPr>
            <p:ph type="ctrTitle" hasCustomPrompt="1"/>
          </p:nvPr>
        </p:nvSpPr>
        <p:spPr>
          <a:xfrm>
            <a:off x="252000" y="252000"/>
            <a:ext cx="3978000" cy="1152000"/>
          </a:xfrm>
        </p:spPr>
        <p:txBody>
          <a:bodyPr anchor="t">
            <a:noAutofit/>
          </a:bodyPr>
          <a:lstStyle>
            <a:lvl1pPr>
              <a:lnSpc>
                <a:spcPct val="100000"/>
              </a:lnSpc>
              <a:defRPr sz="2400" baseline="0">
                <a:solidFill>
                  <a:schemeClr val="bg1"/>
                </a:solidFill>
              </a:defRPr>
            </a:lvl1pPr>
          </a:lstStyle>
          <a:p>
            <a:r>
              <a:rPr lang="en-GB" dirty="0"/>
              <a:t>Title 24 pt,</a:t>
            </a:r>
            <a:br>
              <a:rPr lang="en-GB" dirty="0"/>
            </a:br>
            <a:r>
              <a:rPr lang="en-GB" dirty="0"/>
              <a:t>three lines max</a:t>
            </a:r>
          </a:p>
        </p:txBody>
      </p:sp>
      <p:sp>
        <p:nvSpPr>
          <p:cNvPr id="3" name="Subtitle 1"/>
          <p:cNvSpPr>
            <a:spLocks noGrp="1"/>
          </p:cNvSpPr>
          <p:nvPr>
            <p:ph type="subTitle" idx="1" hasCustomPrompt="1"/>
          </p:nvPr>
        </p:nvSpPr>
        <p:spPr>
          <a:xfrm>
            <a:off x="252000" y="1692000"/>
            <a:ext cx="3978000" cy="576000"/>
          </a:xfrm>
        </p:spPr>
        <p:txBody>
          <a:bodyPr anchor="t" anchorCtr="0">
            <a:noAutofit/>
          </a:bodyPr>
          <a:lstStyle>
            <a:lvl1pPr marL="0" marR="0" indent="0" algn="l" defTabSz="685800" rtl="0" eaLnBrk="1" fontAlgn="auto" latinLnBrk="0" hangingPunct="1">
              <a:lnSpc>
                <a:spcPct val="100000"/>
              </a:lnSpc>
              <a:spcBef>
                <a:spcPts val="0"/>
              </a:spcBef>
              <a:spcAft>
                <a:spcPts val="0"/>
              </a:spcAft>
              <a:buClrTx/>
              <a:buSzTx/>
              <a:buFont typeface="Wingdings" pitchFamily="2" charset="2"/>
              <a:buNone/>
              <a:tabLst/>
              <a:defRPr>
                <a:solidFill>
                  <a:schemeClr val="bg1"/>
                </a:solidFill>
              </a:defRPr>
            </a:lvl1pPr>
          </a:lstStyle>
          <a:p>
            <a:r>
              <a:rPr lang="en-GB" dirty="0"/>
              <a:t>Date: DD/MM/YYYY</a:t>
            </a:r>
            <a:br>
              <a:rPr lang="en-GB" dirty="0"/>
            </a:br>
            <a:r>
              <a:rPr lang="en-GB" dirty="0"/>
              <a:t>Name of speaker</a:t>
            </a:r>
          </a:p>
        </p:txBody>
      </p:sp>
      <p:sp>
        <p:nvSpPr>
          <p:cNvPr id="7" name="Source 1"/>
          <p:cNvSpPr>
            <a:spLocks noGrp="1"/>
          </p:cNvSpPr>
          <p:nvPr>
            <p:ph type="body" sz="quarter" idx="12" hasCustomPrompt="1"/>
          </p:nvPr>
        </p:nvSpPr>
        <p:spPr>
          <a:xfrm>
            <a:off x="6768000" y="492750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
        <p:nvSpPr>
          <p:cNvPr id="8" name="Logo Placeholder 2">
            <a:extLst>
              <a:ext uri="{FF2B5EF4-FFF2-40B4-BE49-F238E27FC236}">
                <a16:creationId xmlns:a16="http://schemas.microsoft.com/office/drawing/2014/main" id="{8B8EF8EC-DF54-60DA-4293-16497FC26457}"/>
              </a:ext>
            </a:extLst>
          </p:cNvPr>
          <p:cNvSpPr>
            <a:spLocks noGrp="1" noRot="1" noMove="1" noResize="1" noEditPoints="1" noAdjustHandles="1" noChangeArrowheads="1" noChangeShapeType="1"/>
          </p:cNvSpPr>
          <p:nvPr>
            <p:ph type="body" sz="quarter" idx="14" hasCustomPrompt="1"/>
          </p:nvPr>
        </p:nvSpPr>
        <p:spPr>
          <a:xfrm>
            <a:off x="2718000" y="3747600"/>
            <a:ext cx="1512000" cy="349200"/>
          </a:xfrm>
          <a:noFill/>
        </p:spPr>
        <p:txBody>
          <a:bodyPr/>
          <a:lstStyle>
            <a:lvl1pPr marL="0" indent="0" algn="r">
              <a:buNone/>
              <a:defRPr sz="700">
                <a:solidFill>
                  <a:schemeClr val="bg1"/>
                </a:solidFill>
              </a:defRPr>
            </a:lvl1pPr>
          </a:lstStyle>
          <a:p>
            <a:r>
              <a:rPr lang="en-GB" dirty="0"/>
              <a:t>Maximum size for an additional logo. Please align right and place at visually equal size..</a:t>
            </a:r>
          </a:p>
        </p:txBody>
      </p:sp>
      <p:sp>
        <p:nvSpPr>
          <p:cNvPr id="10" name="Logo Placeholder 3">
            <a:extLst>
              <a:ext uri="{FF2B5EF4-FFF2-40B4-BE49-F238E27FC236}">
                <a16:creationId xmlns:a16="http://schemas.microsoft.com/office/drawing/2014/main" id="{F9D3F64F-D47E-247C-C64F-C338B2C8B165}"/>
              </a:ext>
            </a:extLst>
          </p:cNvPr>
          <p:cNvSpPr>
            <a:spLocks noGrp="1" noRot="1" noMove="1" noResize="1" noEditPoints="1" noAdjustHandles="1" noChangeArrowheads="1" noChangeShapeType="1"/>
          </p:cNvSpPr>
          <p:nvPr>
            <p:ph type="body" sz="quarter" idx="15" hasCustomPrompt="1"/>
          </p:nvPr>
        </p:nvSpPr>
        <p:spPr>
          <a:xfrm>
            <a:off x="2718000" y="3049200"/>
            <a:ext cx="1512000" cy="349200"/>
          </a:xfrm>
        </p:spPr>
        <p:txBody>
          <a:bodyPr/>
          <a:lstStyle>
            <a:lvl1pPr marL="0" indent="0" algn="r">
              <a:buNone/>
              <a:defRPr sz="700">
                <a:solidFill>
                  <a:schemeClr val="bg1"/>
                </a:solidFill>
              </a:defRPr>
            </a:lvl1pPr>
          </a:lstStyle>
          <a:p>
            <a:r>
              <a:rPr lang="en-GB" dirty="0"/>
              <a:t>Maximum size for an additional logo. Please align right and place at visually equal size..</a:t>
            </a:r>
          </a:p>
        </p:txBody>
      </p:sp>
      <p:pic>
        <p:nvPicPr>
          <p:cNvPr id="11" name="MR Logo white 1">
            <a:extLst>
              <a:ext uri="{FF2B5EF4-FFF2-40B4-BE49-F238E27FC236}">
                <a16:creationId xmlns:a16="http://schemas.microsoft.com/office/drawing/2014/main" id="{AE41D08A-7CF0-E426-B102-915DC5A1E030}"/>
              </a:ext>
            </a:extLst>
          </p:cNvPr>
          <p:cNvPicPr>
            <a:picLocks noGrp="1" noRot="1" noMove="1" noResize="1" noEditPoints="1" noAdjustHandles="1" noChangeArrowheads="1" noChangeShapeType="1" noCrop="1"/>
          </p:cNvPicPr>
          <p:nvPr/>
        </p:nvPicPr>
        <p:blipFill>
          <a:blip r:embed="rId2"/>
          <a:stretch>
            <a:fillRect/>
          </a:stretch>
        </p:blipFill>
        <p:spPr>
          <a:xfrm>
            <a:off x="2718000" y="4446000"/>
            <a:ext cx="1512000" cy="349200"/>
          </a:xfrm>
          <a:prstGeom prst="rect">
            <a:avLst/>
          </a:prstGeom>
        </p:spPr>
      </p:pic>
    </p:spTree>
    <p:extLst>
      <p:ext uri="{BB962C8B-B14F-4D97-AF65-F5344CB8AC3E}">
        <p14:creationId xmlns:p14="http://schemas.microsoft.com/office/powerpoint/2010/main" val="1103385564"/>
      </p:ext>
    </p:extLst>
  </p:cSld>
  <p:clrMapOvr>
    <a:masterClrMapping/>
  </p:clrMapOvr>
  <p:transition spd="slow">
    <p:fade thruBlk="1"/>
  </p:transition>
  <p:hf hdr="0" ftr="0" dt="0"/>
  <p:extLst>
    <p:ext uri="{DCECCB84-F9BA-43D5-87BE-67443E8EF086}">
      <p15:sldGuideLst xmlns:p15="http://schemas.microsoft.com/office/powerpoint/2012/main">
        <p15:guide id="1" pos="159">
          <p15:clr>
            <a:srgbClr val="F26B43"/>
          </p15:clr>
        </p15:guide>
        <p15:guide id="10" pos="2880">
          <p15:clr>
            <a:srgbClr val="FBAE40"/>
          </p15:clr>
        </p15:guide>
        <p15:guide id="18" pos="5601">
          <p15:clr>
            <a:srgbClr val="F26B43"/>
          </p15:clr>
        </p15:guide>
        <p15:guide id="19" orient="horz" pos="159">
          <p15:clr>
            <a:srgbClr val="F26B43"/>
          </p15:clr>
        </p15:guide>
        <p15:guide id="23" orient="horz" pos="884">
          <p15:clr>
            <a:srgbClr val="FBAE40"/>
          </p15:clr>
        </p15:guide>
        <p15:guide id="24" orient="horz" pos="1066">
          <p15:clr>
            <a:srgbClr val="FBAE40"/>
          </p15:clr>
        </p15:guide>
        <p15:guide id="26" orient="horz" pos="1429">
          <p15:clr>
            <a:srgbClr val="FBAE40"/>
          </p15:clr>
        </p15:guide>
        <p15:guide id="35" orient="horz" pos="3061">
          <p15:clr>
            <a:srgbClr val="F26B43"/>
          </p15:clr>
        </p15:guide>
        <p15:guide id="38" pos="2665">
          <p15:clr>
            <a:srgbClr val="5ACBF0"/>
          </p15:clr>
        </p15:guide>
        <p15:guide id="39" pos="1712">
          <p15:clr>
            <a:srgbClr val="5ACBF0"/>
          </p15:clr>
        </p15:guide>
        <p15:guide id="40" pos="2005">
          <p15:clr>
            <a:srgbClr val="5ACBF0"/>
          </p15:clr>
        </p15:guide>
        <p15:guide id="41" orient="horz" pos="1921">
          <p15:clr>
            <a:srgbClr val="5ACBF0"/>
          </p15:clr>
        </p15:guide>
        <p15:guide id="42" orient="horz" pos="2141">
          <p15:clr>
            <a:srgbClr val="5ACBF0"/>
          </p15:clr>
        </p15:guide>
        <p15:guide id="43" orient="horz" pos="2361">
          <p15:clr>
            <a:srgbClr val="5ACBF0"/>
          </p15:clr>
        </p15:guide>
        <p15:guide id="44" orient="horz" pos="2581">
          <p15:clr>
            <a:srgbClr val="5ACBF0"/>
          </p15:clr>
        </p15:guide>
        <p15:guide id="45" orient="horz" pos="2801">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cSld name="Title Multibranding 2">
    <p:spTree>
      <p:nvGrpSpPr>
        <p:cNvPr id="1" name=""/>
        <p:cNvGrpSpPr/>
        <p:nvPr/>
      </p:nvGrpSpPr>
      <p:grpSpPr>
        <a:xfrm>
          <a:off x="0" y="0"/>
          <a:ext cx="0" cy="0"/>
          <a:chOff x="0" y="0"/>
          <a:chExt cx="0" cy="0"/>
        </a:xfrm>
      </p:grpSpPr>
      <p:sp>
        <p:nvSpPr>
          <p:cNvPr id="9" name="Picture Placeholder 1"/>
          <p:cNvSpPr>
            <a:spLocks noGrp="1"/>
          </p:cNvSpPr>
          <p:nvPr>
            <p:ph type="pic" sz="quarter" idx="13" hasCustomPrompt="1"/>
          </p:nvPr>
        </p:nvSpPr>
        <p:spPr>
          <a:xfrm>
            <a:off x="4572000" y="0"/>
            <a:ext cx="4572000" cy="5148000"/>
          </a:xfrm>
          <a:solidFill>
            <a:schemeClr val="accent1"/>
          </a:solidFill>
        </p:spPr>
        <p:txBody>
          <a:bodyPr lIns="540000" tIns="792000" rIns="540000" anchor="t" anchorCtr="1"/>
          <a:lstStyle>
            <a:lvl1pPr marL="0" marR="0" indent="0" algn="l" defTabSz="270000" rtl="0" eaLnBrk="1" fontAlgn="auto" latinLnBrk="0" hangingPunct="1">
              <a:lnSpc>
                <a:spcPct val="110000"/>
              </a:lnSpc>
              <a:spcBef>
                <a:spcPts val="0"/>
              </a:spcBef>
              <a:spcAft>
                <a:spcPts val="600"/>
              </a:spcAft>
              <a:buClrTx/>
              <a:buSzTx/>
              <a:buFont typeface="Wingdings" pitchFamily="2" charset="2"/>
              <a:buNone/>
              <a:tabLst/>
              <a:defRPr baseline="0">
                <a:solidFill>
                  <a:schemeClr val="bg1"/>
                </a:solidFill>
              </a:defRPr>
            </a:lvl1pPr>
          </a:lstStyle>
          <a:p>
            <a:pPr marL="0" marR="0" lvl="0" indent="0" algn="l" defTabSz="270000" rtl="0" eaLnBrk="1" fontAlgn="auto" latinLnBrk="0" hangingPunct="1">
              <a:lnSpc>
                <a:spcPct val="110000"/>
              </a:lnSpc>
              <a:spcBef>
                <a:spcPts val="0"/>
              </a:spcBef>
              <a:spcAft>
                <a:spcPts val="600"/>
              </a:spcAft>
              <a:buClrTx/>
              <a:buSzTx/>
              <a:buFont typeface="Wingdings" pitchFamily="2" charset="2"/>
              <a:buNone/>
              <a:tabLst/>
              <a:defRPr/>
            </a:pPr>
            <a:r>
              <a:rPr lang="en-GB" dirty="0"/>
              <a:t>To insert a cover picture, click on the icon in the middle.</a:t>
            </a:r>
            <a:br>
              <a:rPr lang="en-GB" dirty="0"/>
            </a:br>
            <a:r>
              <a:rPr lang="en-GB" dirty="0"/>
              <a:t>If no picture is wanted you may choose a colour instead.</a:t>
            </a:r>
          </a:p>
        </p:txBody>
      </p:sp>
      <p:pic>
        <p:nvPicPr>
          <p:cNvPr id="13" name="MR Logo 2"/>
          <p:cNvPicPr>
            <a:picLocks noGrp="1" noRot="1" noChangeAspect="1" noMove="1" noResize="1" noEditPoints="1" noAdjustHandles="1" noChangeArrowheads="1" noChangeShapeType="1" noCrop="1"/>
          </p:cNvPicPr>
          <p:nvPr/>
        </p:nvPicPr>
        <p:blipFill>
          <a:blip r:embed="rId2"/>
          <a:stretch>
            <a:fillRect/>
          </a:stretch>
        </p:blipFill>
        <p:spPr>
          <a:xfrm>
            <a:off x="2718000" y="4446000"/>
            <a:ext cx="1512000" cy="349200"/>
          </a:xfrm>
          <a:prstGeom prst="rect">
            <a:avLst/>
          </a:prstGeom>
        </p:spPr>
      </p:pic>
      <p:sp>
        <p:nvSpPr>
          <p:cNvPr id="2" name="Title 1"/>
          <p:cNvSpPr>
            <a:spLocks noGrp="1"/>
          </p:cNvSpPr>
          <p:nvPr>
            <p:ph type="ctrTitle" hasCustomPrompt="1"/>
          </p:nvPr>
        </p:nvSpPr>
        <p:spPr>
          <a:xfrm>
            <a:off x="252000" y="252000"/>
            <a:ext cx="3978000" cy="1152000"/>
          </a:xfrm>
        </p:spPr>
        <p:txBody>
          <a:bodyPr anchor="t">
            <a:noAutofit/>
          </a:bodyPr>
          <a:lstStyle>
            <a:lvl1pPr>
              <a:lnSpc>
                <a:spcPct val="100000"/>
              </a:lnSpc>
              <a:defRPr sz="2400" baseline="0"/>
            </a:lvl1pPr>
          </a:lstStyle>
          <a:p>
            <a:r>
              <a:rPr lang="en-GB" dirty="0"/>
              <a:t>Title 24 pt,</a:t>
            </a:r>
            <a:br>
              <a:rPr lang="en-GB" dirty="0"/>
            </a:br>
            <a:r>
              <a:rPr lang="en-GB" dirty="0"/>
              <a:t>three lines max</a:t>
            </a:r>
          </a:p>
        </p:txBody>
      </p:sp>
      <p:sp>
        <p:nvSpPr>
          <p:cNvPr id="3" name="Subtitle 1"/>
          <p:cNvSpPr>
            <a:spLocks noGrp="1"/>
          </p:cNvSpPr>
          <p:nvPr>
            <p:ph type="subTitle" idx="1" hasCustomPrompt="1"/>
          </p:nvPr>
        </p:nvSpPr>
        <p:spPr>
          <a:xfrm>
            <a:off x="252000" y="1692000"/>
            <a:ext cx="3978000" cy="576000"/>
          </a:xfrm>
        </p:spPr>
        <p:txBody>
          <a:bodyPr anchor="t" anchorCtr="0">
            <a:noAutofit/>
          </a:bodyPr>
          <a:lstStyle>
            <a:lvl1pPr marL="0" marR="0" indent="0" algn="l" defTabSz="685800" rtl="0" eaLnBrk="1" fontAlgn="auto" latinLnBrk="0" hangingPunct="1">
              <a:lnSpc>
                <a:spcPct val="100000"/>
              </a:lnSpc>
              <a:spcBef>
                <a:spcPts val="0"/>
              </a:spcBef>
              <a:spcAft>
                <a:spcPts val="0"/>
              </a:spcAft>
              <a:buClrTx/>
              <a:buSzTx/>
              <a:buFont typeface="Wingdings" pitchFamily="2" charset="2"/>
              <a:buNone/>
              <a:tabLst/>
              <a:defRPr/>
            </a:lvl1pPr>
          </a:lstStyle>
          <a:p>
            <a:r>
              <a:rPr lang="en-GB" dirty="0"/>
              <a:t>Date: DD/MM/YYYY</a:t>
            </a:r>
            <a:br>
              <a:rPr lang="en-GB" dirty="0"/>
            </a:br>
            <a:r>
              <a:rPr lang="en-GB" dirty="0"/>
              <a:t>Name of speaker</a:t>
            </a:r>
          </a:p>
        </p:txBody>
      </p:sp>
      <p:sp>
        <p:nvSpPr>
          <p:cNvPr id="7" name="Source 1"/>
          <p:cNvSpPr>
            <a:spLocks noGrp="1"/>
          </p:cNvSpPr>
          <p:nvPr>
            <p:ph type="body" sz="quarter" idx="12" hasCustomPrompt="1"/>
          </p:nvPr>
        </p:nvSpPr>
        <p:spPr>
          <a:xfrm>
            <a:off x="6768000" y="4927500"/>
            <a:ext cx="2376000" cy="216000"/>
          </a:xfrm>
        </p:spPr>
        <p:txBody>
          <a:bodyPr wrap="none" tIns="72000" rIns="108000" bIns="72000" anchor="ctr"/>
          <a:lstStyle>
            <a:lvl1pPr marL="0" indent="0" algn="r">
              <a:lnSpc>
                <a:spcPct val="100000"/>
              </a:lnSpc>
              <a:spcBef>
                <a:spcPts val="0"/>
              </a:spcBef>
              <a:spcAft>
                <a:spcPts val="0"/>
              </a:spcAft>
              <a:buFontTx/>
              <a:buNone/>
              <a:defRPr sz="600">
                <a:solidFill>
                  <a:schemeClr val="bg1"/>
                </a:solidFill>
              </a:defRPr>
            </a:lvl1pPr>
          </a:lstStyle>
          <a:p>
            <a:pPr lvl="0"/>
            <a:r>
              <a:rPr lang="en-GB" dirty="0"/>
              <a:t>Image: Please quote the image / source / name of  photographer</a:t>
            </a:r>
          </a:p>
        </p:txBody>
      </p:sp>
      <p:sp>
        <p:nvSpPr>
          <p:cNvPr id="5" name="Logo Placeholder 2">
            <a:extLst>
              <a:ext uri="{FF2B5EF4-FFF2-40B4-BE49-F238E27FC236}">
                <a16:creationId xmlns:a16="http://schemas.microsoft.com/office/drawing/2014/main" id="{2165B20C-A182-5BDD-926C-2DA793ADFAAD}"/>
              </a:ext>
            </a:extLst>
          </p:cNvPr>
          <p:cNvSpPr>
            <a:spLocks noGrp="1" noRot="1" noMove="1" noResize="1" noEditPoints="1" noAdjustHandles="1" noChangeArrowheads="1" noChangeShapeType="1"/>
          </p:cNvSpPr>
          <p:nvPr>
            <p:ph type="body" sz="quarter" idx="14" hasCustomPrompt="1"/>
          </p:nvPr>
        </p:nvSpPr>
        <p:spPr>
          <a:xfrm>
            <a:off x="2718000" y="3747600"/>
            <a:ext cx="1512000" cy="349200"/>
          </a:xfrm>
          <a:noFill/>
        </p:spPr>
        <p:txBody>
          <a:bodyPr/>
          <a:lstStyle>
            <a:lvl1pPr marL="0" indent="0" algn="r">
              <a:buNone/>
              <a:defRPr sz="700"/>
            </a:lvl1pPr>
          </a:lstStyle>
          <a:p>
            <a:r>
              <a:rPr lang="en-GB" dirty="0"/>
              <a:t>Maximum size for an additional logo. Please align right and place at visually equal size.</a:t>
            </a:r>
          </a:p>
        </p:txBody>
      </p:sp>
      <p:sp>
        <p:nvSpPr>
          <p:cNvPr id="10" name="Logo Placeholder 3">
            <a:extLst>
              <a:ext uri="{FF2B5EF4-FFF2-40B4-BE49-F238E27FC236}">
                <a16:creationId xmlns:a16="http://schemas.microsoft.com/office/drawing/2014/main" id="{3CB1A6B3-BDED-7F3A-4D56-2195B241E7A1}"/>
              </a:ext>
            </a:extLst>
          </p:cNvPr>
          <p:cNvSpPr>
            <a:spLocks noGrp="1" noRot="1" noMove="1" noResize="1" noEditPoints="1" noAdjustHandles="1" noChangeArrowheads="1" noChangeShapeType="1"/>
          </p:cNvSpPr>
          <p:nvPr>
            <p:ph type="body" sz="quarter" idx="15" hasCustomPrompt="1"/>
          </p:nvPr>
        </p:nvSpPr>
        <p:spPr>
          <a:xfrm>
            <a:off x="2718000" y="3049200"/>
            <a:ext cx="1512000" cy="349200"/>
          </a:xfrm>
        </p:spPr>
        <p:txBody>
          <a:bodyPr/>
          <a:lstStyle>
            <a:lvl1pPr marL="0" indent="0" algn="r">
              <a:buNone/>
              <a:defRPr sz="700"/>
            </a:lvl1pPr>
          </a:lstStyle>
          <a:p>
            <a:r>
              <a:rPr lang="en-GB" dirty="0"/>
              <a:t>Maximum size for an additional logo. Please align right and place at visually equal size..</a:t>
            </a:r>
          </a:p>
        </p:txBody>
      </p:sp>
    </p:spTree>
    <p:extLst>
      <p:ext uri="{BB962C8B-B14F-4D97-AF65-F5344CB8AC3E}">
        <p14:creationId xmlns:p14="http://schemas.microsoft.com/office/powerpoint/2010/main" val="3845867264"/>
      </p:ext>
    </p:extLst>
  </p:cSld>
  <p:clrMapOvr>
    <a:masterClrMapping/>
  </p:clrMapOvr>
  <mc:AlternateContent xmlns:mc="http://schemas.openxmlformats.org/markup-compatibility/2006" xmlns:p14="http://schemas.microsoft.com/office/powerpoint/2010/main">
    <mc:Choice Requires="p14">
      <p:transition spd="slow">
        <p:fade thruBlk="1"/>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10" pos="2880">
          <p15:clr>
            <a:srgbClr val="FBAE40"/>
          </p15:clr>
        </p15:guide>
        <p15:guide id="18" pos="5601">
          <p15:clr>
            <a:srgbClr val="F26B43"/>
          </p15:clr>
        </p15:guide>
        <p15:guide id="19" orient="horz" pos="159">
          <p15:clr>
            <a:srgbClr val="F26B43"/>
          </p15:clr>
        </p15:guide>
        <p15:guide id="23" orient="horz" pos="884">
          <p15:clr>
            <a:srgbClr val="FBAE40"/>
          </p15:clr>
        </p15:guide>
        <p15:guide id="24" orient="horz" pos="1066">
          <p15:clr>
            <a:srgbClr val="FBAE40"/>
          </p15:clr>
        </p15:guide>
        <p15:guide id="26" orient="horz" pos="1429">
          <p15:clr>
            <a:srgbClr val="FBAE40"/>
          </p15:clr>
        </p15:guide>
        <p15:guide id="35" orient="horz" pos="3061">
          <p15:clr>
            <a:srgbClr val="F26B43"/>
          </p15:clr>
        </p15:guide>
        <p15:guide id="38" pos="2665">
          <p15:clr>
            <a:srgbClr val="5ACBF0"/>
          </p15:clr>
        </p15:guide>
        <p15:guide id="39" pos="1712">
          <p15:clr>
            <a:srgbClr val="5ACBF0"/>
          </p15:clr>
        </p15:guide>
        <p15:guide id="40" pos="2005">
          <p15:clr>
            <a:srgbClr val="5ACBF0"/>
          </p15:clr>
        </p15:guide>
        <p15:guide id="41" orient="horz" pos="1921">
          <p15:clr>
            <a:srgbClr val="5ACBF0"/>
          </p15:clr>
        </p15:guide>
        <p15:guide id="42" orient="horz" pos="2141">
          <p15:clr>
            <a:srgbClr val="5ACBF0"/>
          </p15:clr>
        </p15:guide>
        <p15:guide id="43" orient="horz" pos="2361">
          <p15:clr>
            <a:srgbClr val="5ACBF0"/>
          </p15:clr>
        </p15:guide>
        <p15:guide id="44" orient="horz" pos="2581">
          <p15:clr>
            <a:srgbClr val="5ACBF0"/>
          </p15:clr>
        </p15:guide>
        <p15:guide id="45" orient="horz" pos="2801">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8"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7"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9"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2" name="Title 1"/>
          <p:cNvSpPr>
            <a:spLocks noGrp="1"/>
          </p:cNvSpPr>
          <p:nvPr>
            <p:ph type="title" hasCustomPrompt="1"/>
          </p:nvPr>
        </p:nvSpPr>
        <p:spPr/>
        <p:txBody>
          <a:bodyPr/>
          <a:lstStyle>
            <a:lvl1pPr>
              <a:defRPr baseline="0"/>
            </a:lvl1pPr>
          </a:lstStyle>
          <a:p>
            <a:r>
              <a:rPr lang="en-GB" dirty="0"/>
              <a:t>Title 20 pt, two lines max. for Agenda</a:t>
            </a:r>
            <a:endParaRPr lang="en-GB" noProof="0" dirty="0"/>
          </a:p>
        </p:txBody>
      </p:sp>
      <p:sp>
        <p:nvSpPr>
          <p:cNvPr id="3" name="Content Placeholder 1"/>
          <p:cNvSpPr>
            <a:spLocks noGrp="1"/>
          </p:cNvSpPr>
          <p:nvPr>
            <p:ph idx="1" hasCustomPrompt="1"/>
          </p:nvPr>
        </p:nvSpPr>
        <p:spPr/>
        <p:txBody>
          <a:bodyPr/>
          <a:lstStyle>
            <a:lvl1pPr marL="450000" indent="-450000">
              <a:spcAft>
                <a:spcPts val="900"/>
              </a:spcAft>
              <a:buClr>
                <a:schemeClr val="accent1"/>
              </a:buClr>
              <a:buSzPct val="145000"/>
              <a:buAutoNum type="arabicPeriod"/>
              <a:defRPr/>
            </a:lvl1pPr>
            <a:lvl2pPr marL="720000">
              <a:defRPr/>
            </a:lvl2pPr>
            <a:lvl3pPr marL="936000">
              <a:defRPr/>
            </a:lvl3pPr>
            <a:lvl4pPr marL="1152000">
              <a:defRPr/>
            </a:lvl4pPr>
            <a:lvl5pPr marL="1368000">
              <a:defRPr/>
            </a:lvl5pPr>
            <a:lvl6pPr marL="1584000">
              <a:defRPr/>
            </a:lvl6pPr>
            <a:lvl7pPr marL="1800000">
              <a:defRPr/>
            </a:lvl7pPr>
            <a:lvl8pPr marL="2016000">
              <a:defRPr baseline="0"/>
            </a:lvl8pPr>
            <a:lvl9pPr marL="2232000">
              <a:defRPr baseline="0"/>
            </a:lvl9pPr>
          </a:lstStyle>
          <a:p>
            <a:pPr lvl="0"/>
            <a:r>
              <a:rPr lang="en-GB" dirty="0"/>
              <a:t>To customise the hierarchy of points, use Start &gt; Paragraph &gt; Decrease / Increase List Level. Alternatively, insert table, chart, SmartArt graphic, picture or online graphic.</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3228684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p:spTree>
      <p:nvGrpSpPr>
        <p:cNvPr id="1" name=""/>
        <p:cNvGrpSpPr/>
        <p:nvPr/>
      </p:nvGrpSpPr>
      <p:grpSpPr>
        <a:xfrm>
          <a:off x="0" y="0"/>
          <a:ext cx="0" cy="0"/>
          <a:chOff x="0" y="0"/>
          <a:chExt cx="0" cy="0"/>
        </a:xfrm>
      </p:grpSpPr>
      <p:sp>
        <p:nvSpPr>
          <p:cNvPr id="15" name="Content Placeholder grey 2">
            <a:extLst>
              <a:ext uri="{FF2B5EF4-FFF2-40B4-BE49-F238E27FC236}">
                <a16:creationId xmlns:a16="http://schemas.microsoft.com/office/drawing/2014/main" id="{D2D16FE2-009A-442E-8EA5-4CA8FC1ABC6B}"/>
              </a:ext>
            </a:extLst>
          </p:cNvPr>
          <p:cNvSpPr>
            <a:spLocks noGrp="1"/>
          </p:cNvSpPr>
          <p:nvPr>
            <p:ph type="body" sz="quarter" idx="17" hasCustomPrompt="1"/>
          </p:nvPr>
        </p:nvSpPr>
        <p:spPr>
          <a:xfrm>
            <a:off x="3222000" y="1404000"/>
            <a:ext cx="2700000" cy="2592000"/>
          </a:xfrm>
          <a:solidFill>
            <a:schemeClr val="bg1">
              <a:lumMod val="85000"/>
            </a:schemeClr>
          </a:solidFill>
        </p:spPr>
        <p:txBody>
          <a:bodyPr lIns="72000" tIns="720000" rIns="72000" bIns="108000" anchor="b" anchorCtr="0"/>
          <a:lstStyle>
            <a:lvl1pPr marL="0" indent="0" algn="l">
              <a:spcAft>
                <a:spcPts val="0"/>
              </a:spcAft>
              <a:buNone/>
              <a:defRPr/>
            </a:lvl1pPr>
          </a:lstStyle>
          <a:p>
            <a:pPr lvl="0"/>
            <a:r>
              <a:rPr lang="en-GB" dirty="0"/>
              <a:t>Company / Topic</a:t>
            </a:r>
            <a:br>
              <a:rPr lang="en-GB" dirty="0"/>
            </a:br>
            <a:r>
              <a:rPr lang="en-GB" dirty="0"/>
              <a:t>Name (bold)</a:t>
            </a:r>
          </a:p>
        </p:txBody>
      </p:sp>
      <p:sp>
        <p:nvSpPr>
          <p:cNvPr id="19" name="Content Placeholder grey 3">
            <a:extLst>
              <a:ext uri="{FF2B5EF4-FFF2-40B4-BE49-F238E27FC236}">
                <a16:creationId xmlns:a16="http://schemas.microsoft.com/office/drawing/2014/main" id="{53975128-4D96-42DE-8F17-40BAD05D784C}"/>
              </a:ext>
            </a:extLst>
          </p:cNvPr>
          <p:cNvSpPr>
            <a:spLocks noGrp="1"/>
          </p:cNvSpPr>
          <p:nvPr>
            <p:ph type="body" sz="quarter" idx="18" hasCustomPrompt="1"/>
          </p:nvPr>
        </p:nvSpPr>
        <p:spPr>
          <a:xfrm>
            <a:off x="6192000" y="1404000"/>
            <a:ext cx="2700000" cy="2592000"/>
          </a:xfrm>
          <a:solidFill>
            <a:schemeClr val="bg1">
              <a:lumMod val="85000"/>
            </a:schemeClr>
          </a:solidFill>
        </p:spPr>
        <p:txBody>
          <a:bodyPr lIns="72000" tIns="720000" rIns="72000" bIns="108000" anchor="b" anchorCtr="0"/>
          <a:lstStyle>
            <a:lvl1pPr marL="0" indent="0" algn="l">
              <a:spcAft>
                <a:spcPts val="0"/>
              </a:spcAft>
              <a:buNone/>
              <a:defRPr/>
            </a:lvl1pPr>
          </a:lstStyle>
          <a:p>
            <a:pPr lvl="0"/>
            <a:r>
              <a:rPr lang="en-GB" dirty="0"/>
              <a:t>Company / Topic</a:t>
            </a:r>
            <a:br>
              <a:rPr lang="en-GB" dirty="0"/>
            </a:br>
            <a:r>
              <a:rPr lang="en-GB" dirty="0"/>
              <a:t>Name (bold)</a:t>
            </a:r>
          </a:p>
        </p:txBody>
      </p:sp>
      <p:sp>
        <p:nvSpPr>
          <p:cNvPr id="17"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16"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18"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12" name="Titel 1"/>
          <p:cNvSpPr>
            <a:spLocks noGrp="1"/>
          </p:cNvSpPr>
          <p:nvPr>
            <p:ph type="title" hasCustomPrompt="1"/>
          </p:nvPr>
        </p:nvSpPr>
        <p:spPr/>
        <p:txBody>
          <a:bodyPr/>
          <a:lstStyle>
            <a:lvl1pPr>
              <a:defRPr/>
            </a:lvl1pPr>
          </a:lstStyle>
          <a:p>
            <a:r>
              <a:rPr lang="en-GB" noProof="0" dirty="0"/>
              <a:t>Title 20 pt, (agenda alternative)</a:t>
            </a:r>
          </a:p>
        </p:txBody>
      </p:sp>
      <p:sp>
        <p:nvSpPr>
          <p:cNvPr id="13" name="Text Placeholder 03"/>
          <p:cNvSpPr>
            <a:spLocks noGrp="1"/>
          </p:cNvSpPr>
          <p:nvPr>
            <p:ph type="body" sz="quarter" idx="24" hasCustomPrompt="1"/>
          </p:nvPr>
        </p:nvSpPr>
        <p:spPr>
          <a:xfrm>
            <a:off x="6192000" y="1404000"/>
            <a:ext cx="2700000" cy="576000"/>
          </a:xfrm>
          <a:noFill/>
        </p:spPr>
        <p:txBody>
          <a:bodyPr lIns="72000" tIns="0" rIns="0" bIns="0"/>
          <a:lstStyle>
            <a:lvl1pPr marL="0" indent="0">
              <a:buNone/>
              <a:defRPr sz="4400">
                <a:solidFill>
                  <a:schemeClr val="bg1"/>
                </a:solidFill>
              </a:defRPr>
            </a:lvl1pPr>
          </a:lstStyle>
          <a:p>
            <a:pPr lvl="0"/>
            <a:r>
              <a:rPr lang="en-GB" dirty="0"/>
              <a:t>“03“</a:t>
            </a:r>
          </a:p>
        </p:txBody>
      </p:sp>
      <p:sp>
        <p:nvSpPr>
          <p:cNvPr id="10" name="Text Placeholder 02"/>
          <p:cNvSpPr>
            <a:spLocks noGrp="1"/>
          </p:cNvSpPr>
          <p:nvPr>
            <p:ph type="body" sz="quarter" idx="23" hasCustomPrompt="1"/>
          </p:nvPr>
        </p:nvSpPr>
        <p:spPr>
          <a:xfrm>
            <a:off x="3222000" y="1404000"/>
            <a:ext cx="2700000" cy="576000"/>
          </a:xfrm>
          <a:noFill/>
        </p:spPr>
        <p:txBody>
          <a:bodyPr lIns="72000" tIns="0" rIns="0" bIns="0"/>
          <a:lstStyle>
            <a:lvl1pPr marL="0" indent="0">
              <a:buNone/>
              <a:defRPr sz="4400">
                <a:solidFill>
                  <a:schemeClr val="bg1"/>
                </a:solidFill>
              </a:defRPr>
            </a:lvl1pPr>
          </a:lstStyle>
          <a:p>
            <a:pPr lvl="0"/>
            <a:r>
              <a:rPr lang="en-GB" dirty="0"/>
              <a:t>“02“</a:t>
            </a:r>
          </a:p>
        </p:txBody>
      </p:sp>
      <p:sp>
        <p:nvSpPr>
          <p:cNvPr id="5" name="Content Placeholder grey 1"/>
          <p:cNvSpPr>
            <a:spLocks noGrp="1"/>
          </p:cNvSpPr>
          <p:nvPr>
            <p:ph type="body" sz="quarter" idx="16" hasCustomPrompt="1"/>
          </p:nvPr>
        </p:nvSpPr>
        <p:spPr>
          <a:xfrm>
            <a:off x="252000" y="1404000"/>
            <a:ext cx="2700000" cy="2592000"/>
          </a:xfrm>
          <a:solidFill>
            <a:schemeClr val="bg1">
              <a:lumMod val="85000"/>
            </a:schemeClr>
          </a:solidFill>
        </p:spPr>
        <p:txBody>
          <a:bodyPr lIns="72000" tIns="720000" rIns="72000" bIns="108000" anchor="b" anchorCtr="0"/>
          <a:lstStyle>
            <a:lvl1pPr marL="0" indent="0" algn="l">
              <a:spcAft>
                <a:spcPts val="0"/>
              </a:spcAft>
              <a:buNone/>
              <a:defRPr/>
            </a:lvl1pPr>
          </a:lstStyle>
          <a:p>
            <a:pPr lvl="0"/>
            <a:r>
              <a:rPr lang="en-GB" dirty="0"/>
              <a:t>Company / Topic</a:t>
            </a:r>
            <a:br>
              <a:rPr lang="en-GB" dirty="0"/>
            </a:br>
            <a:r>
              <a:rPr lang="en-GB" dirty="0"/>
              <a:t>Name (bold)</a:t>
            </a:r>
          </a:p>
        </p:txBody>
      </p:sp>
      <p:sp>
        <p:nvSpPr>
          <p:cNvPr id="9" name="Text Placeholder 01"/>
          <p:cNvSpPr>
            <a:spLocks noGrp="1"/>
          </p:cNvSpPr>
          <p:nvPr>
            <p:ph type="body" sz="quarter" idx="22" hasCustomPrompt="1"/>
          </p:nvPr>
        </p:nvSpPr>
        <p:spPr>
          <a:xfrm>
            <a:off x="252000" y="1404000"/>
            <a:ext cx="2700000" cy="576000"/>
          </a:xfrm>
          <a:noFill/>
        </p:spPr>
        <p:txBody>
          <a:bodyPr lIns="72000" tIns="0" rIns="0" bIns="0"/>
          <a:lstStyle>
            <a:lvl1pPr marL="0" indent="0">
              <a:buNone/>
              <a:defRPr sz="4400">
                <a:solidFill>
                  <a:schemeClr val="bg1"/>
                </a:solidFill>
              </a:defRPr>
            </a:lvl1pPr>
          </a:lstStyle>
          <a:p>
            <a:pPr lvl="0"/>
            <a:r>
              <a:rPr lang="en-GB" dirty="0"/>
              <a:t>“01”</a:t>
            </a:r>
          </a:p>
        </p:txBody>
      </p:sp>
    </p:spTree>
    <p:extLst>
      <p:ext uri="{BB962C8B-B14F-4D97-AF65-F5344CB8AC3E}">
        <p14:creationId xmlns:p14="http://schemas.microsoft.com/office/powerpoint/2010/main" val="39005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FBAE40"/>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FBAE40"/>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A4A3A4"/>
          </p15:clr>
        </p15:guide>
        <p15:guide id="23" orient="horz" pos="884">
          <p15:clr>
            <a:srgbClr val="FBAE40"/>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FBAE40"/>
          </p15:clr>
        </p15:guide>
        <p15:guide id="33" orient="horz" pos="2699">
          <p15:clr>
            <a:srgbClr val="A4A3A4"/>
          </p15:clr>
        </p15:guide>
        <p15:guide id="34" orient="horz" pos="2880">
          <p15:clr>
            <a:srgbClr val="A4A3A4"/>
          </p15:clr>
        </p15:guide>
        <p15:guide id="35" orient="horz" pos="3061">
          <p15:clr>
            <a:srgbClr val="F26B43"/>
          </p15:clr>
        </p15:guide>
        <p15:guide id="36" pos="2030">
          <p15:clr>
            <a:srgbClr val="FBAE40"/>
          </p15:clr>
        </p15:guide>
        <p15:guide id="37" pos="373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bulleted list">
    <p:spTree>
      <p:nvGrpSpPr>
        <p:cNvPr id="1" name=""/>
        <p:cNvGrpSpPr/>
        <p:nvPr/>
      </p:nvGrpSpPr>
      <p:grpSpPr>
        <a:xfrm>
          <a:off x="0" y="0"/>
          <a:ext cx="0" cy="0"/>
          <a:chOff x="0" y="0"/>
          <a:chExt cx="0" cy="0"/>
        </a:xfrm>
      </p:grpSpPr>
      <p:sp>
        <p:nvSpPr>
          <p:cNvPr id="7" name="Date Placeholder 1"/>
          <p:cNvSpPr>
            <a:spLocks noGrp="1"/>
          </p:cNvSpPr>
          <p:nvPr>
            <p:ph type="dt" sz="half" idx="10"/>
          </p:nvPr>
        </p:nvSpPr>
        <p:spPr/>
        <p:txBody>
          <a:bodyPr/>
          <a:lstStyle/>
          <a:p>
            <a:fld id="{4773D508-207B-4C64-8093-D0243C0D2B76}" type="datetime4">
              <a:rPr lang="en-GB" smtClean="0"/>
              <a:pPr/>
              <a:t>24 August 2022</a:t>
            </a:fld>
            <a:endParaRPr lang="en-GB" dirty="0"/>
          </a:p>
        </p:txBody>
      </p:sp>
      <p:sp>
        <p:nvSpPr>
          <p:cNvPr id="8" name="Slide Number Placeholder 1"/>
          <p:cNvSpPr>
            <a:spLocks noGrp="1"/>
          </p:cNvSpPr>
          <p:nvPr>
            <p:ph type="sldNum" sz="quarter" idx="11"/>
          </p:nvPr>
        </p:nvSpPr>
        <p:spPr/>
        <p:txBody>
          <a:bodyPr/>
          <a:lstStyle/>
          <a:p>
            <a:fld id="{D56DB8AA-803C-49D2-90AA-1140CE72DCD7}" type="slidenum">
              <a:rPr lang="en-GB" smtClean="0"/>
              <a:pPr/>
              <a:t>‹Nr.›</a:t>
            </a:fld>
            <a:endParaRPr lang="en-GB" dirty="0"/>
          </a:p>
        </p:txBody>
      </p:sp>
      <p:sp>
        <p:nvSpPr>
          <p:cNvPr id="9" name="Footer Placeholder 1"/>
          <p:cNvSpPr>
            <a:spLocks noGrp="1"/>
          </p:cNvSpPr>
          <p:nvPr>
            <p:ph type="ftr" sz="quarter" idx="12"/>
          </p:nvPr>
        </p:nvSpPr>
        <p:spPr/>
        <p:txBody>
          <a:bodyPr/>
          <a:lstStyle/>
          <a:p>
            <a:r>
              <a:rPr lang="en-GB"/>
              <a:t>Editing footer: Insert &gt; Header &amp; Footer (title of presentation and name of speaker)</a:t>
            </a:r>
            <a:endParaRPr lang="en-GB" dirty="0"/>
          </a:p>
        </p:txBody>
      </p:sp>
      <p:sp>
        <p:nvSpPr>
          <p:cNvPr id="2" name="Title 1"/>
          <p:cNvSpPr>
            <a:spLocks noGrp="1"/>
          </p:cNvSpPr>
          <p:nvPr>
            <p:ph type="title" hasCustomPrompt="1"/>
          </p:nvPr>
        </p:nvSpPr>
        <p:spPr/>
        <p:txBody>
          <a:bodyPr/>
          <a:lstStyle/>
          <a:p>
            <a:r>
              <a:rPr lang="en-GB" dirty="0"/>
              <a:t>Title 20 pt, two lines max. and bulleted list</a:t>
            </a:r>
            <a:endParaRPr lang="en-GB" noProof="0" dirty="0"/>
          </a:p>
        </p:txBody>
      </p:sp>
      <p:sp>
        <p:nvSpPr>
          <p:cNvPr id="3" name="Content Placeholder 1"/>
          <p:cNvSpPr>
            <a:spLocks noGrp="1"/>
          </p:cNvSpPr>
          <p:nvPr>
            <p:ph idx="1" hasCustomPrompt="1"/>
          </p:nvPr>
        </p:nvSpPr>
        <p:spPr/>
        <p:txBody>
          <a:bodyPr/>
          <a:lstStyle>
            <a:lvl1pPr>
              <a:defRPr/>
            </a:lvl1pPr>
          </a:lstStyle>
          <a:p>
            <a:pPr lvl="0"/>
            <a:r>
              <a:rPr lang="en-GB" dirty="0"/>
              <a:t>To customise the hierarchy of points, use Start &gt; Paragraph &gt; Decrease / Increase List Level. Alternatively, insert table, chart, SmartArt graphic, picture or online graphic.</a:t>
            </a:r>
            <a:br>
              <a:rPr lang="en-GB" dirty="0"/>
            </a:br>
            <a:r>
              <a:rPr lang="en-GB" dirty="0"/>
              <a:t>Formatting charts: You can use all Monochromatic colors and Colorful Palette 1 (Ribbon &gt;Chart Design &gt;Change Colors. Please use only Style 1, 2, 6 or 11. (Ribbon &gt;Chart Design &gt;Chart Styles)</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2585388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extLst>
    <p:ext uri="{DCECCB84-F9BA-43D5-87BE-67443E8EF086}">
      <p15:sldGuideLst xmlns:p15="http://schemas.microsoft.com/office/powerpoint/2012/main">
        <p15:guide id="1" pos="159">
          <p15:clr>
            <a:srgbClr val="F26B43"/>
          </p15:clr>
        </p15:guide>
        <p15:guide id="3" pos="499">
          <p15:clr>
            <a:srgbClr val="A4A3A4"/>
          </p15:clr>
        </p15:guide>
        <p15:guide id="4" pos="839">
          <p15:clr>
            <a:srgbClr val="A4A3A4"/>
          </p15:clr>
        </p15:guide>
        <p15:guide id="5" pos="1179">
          <p15:clr>
            <a:srgbClr val="A4A3A4"/>
          </p15:clr>
        </p15:guide>
        <p15:guide id="6" pos="1519">
          <p15:clr>
            <a:srgbClr val="A4A3A4"/>
          </p15:clr>
        </p15:guide>
        <p15:guide id="7" pos="1860">
          <p15:clr>
            <a:srgbClr val="A4A3A4"/>
          </p15:clr>
        </p15:guide>
        <p15:guide id="8" pos="2200">
          <p15:clr>
            <a:srgbClr val="A4A3A4"/>
          </p15:clr>
        </p15:guide>
        <p15:guide id="9" pos="2540">
          <p15:clr>
            <a:srgbClr val="A4A3A4"/>
          </p15:clr>
        </p15:guide>
        <p15:guide id="10" pos="2880">
          <p15:clr>
            <a:srgbClr val="A4A3A4"/>
          </p15:clr>
        </p15:guide>
        <p15:guide id="11" pos="3220">
          <p15:clr>
            <a:srgbClr val="A4A3A4"/>
          </p15:clr>
        </p15:guide>
        <p15:guide id="12" pos="3560">
          <p15:clr>
            <a:srgbClr val="A4A3A4"/>
          </p15:clr>
        </p15:guide>
        <p15:guide id="13" pos="3900">
          <p15:clr>
            <a:srgbClr val="A4A3A4"/>
          </p15:clr>
        </p15:guide>
        <p15:guide id="14" pos="4241">
          <p15:clr>
            <a:srgbClr val="A4A3A4"/>
          </p15:clr>
        </p15:guide>
        <p15:guide id="15" pos="4581">
          <p15:clr>
            <a:srgbClr val="A4A3A4"/>
          </p15:clr>
        </p15:guide>
        <p15:guide id="16" pos="4921">
          <p15:clr>
            <a:srgbClr val="A4A3A4"/>
          </p15:clr>
        </p15:guide>
        <p15:guide id="17" pos="5261">
          <p15:clr>
            <a:srgbClr val="A4A3A4"/>
          </p15:clr>
        </p15:guide>
        <p15:guide id="18" pos="5601">
          <p15:clr>
            <a:srgbClr val="F26B43"/>
          </p15:clr>
        </p15:guide>
        <p15:guide id="19" orient="horz" pos="159">
          <p15:clr>
            <a:srgbClr val="F26B43"/>
          </p15:clr>
        </p15:guide>
        <p15:guide id="20" orient="horz" pos="340">
          <p15:clr>
            <a:srgbClr val="A4A3A4"/>
          </p15:clr>
        </p15:guide>
        <p15:guide id="21" orient="horz" pos="522">
          <p15:clr>
            <a:srgbClr val="A4A3A4"/>
          </p15:clr>
        </p15:guide>
        <p15:guide id="22" orient="horz" pos="703">
          <p15:clr>
            <a:srgbClr val="F26B43"/>
          </p15:clr>
        </p15:guide>
        <p15:guide id="23" orient="horz" pos="884">
          <p15:clr>
            <a:srgbClr val="A4A3A4"/>
          </p15:clr>
        </p15:guide>
        <p15:guide id="24" orient="horz" pos="1066">
          <p15:clr>
            <a:srgbClr val="A4A3A4"/>
          </p15:clr>
        </p15:guide>
        <p15:guide id="25" orient="horz" pos="1247">
          <p15:clr>
            <a:srgbClr val="A4A3A4"/>
          </p15:clr>
        </p15:guide>
        <p15:guide id="26" orient="horz" pos="1429">
          <p15:clr>
            <a:srgbClr val="A4A3A4"/>
          </p15:clr>
        </p15:guide>
        <p15:guide id="27" orient="horz" pos="1610">
          <p15:clr>
            <a:srgbClr val="A4A3A4"/>
          </p15:clr>
        </p15:guide>
        <p15:guide id="28" orient="horz" pos="1791">
          <p15:clr>
            <a:srgbClr val="A4A3A4"/>
          </p15:clr>
        </p15:guide>
        <p15:guide id="29" orient="horz" pos="1973">
          <p15:clr>
            <a:srgbClr val="A4A3A4"/>
          </p15:clr>
        </p15:guide>
        <p15:guide id="30" orient="horz" pos="2154">
          <p15:clr>
            <a:srgbClr val="A4A3A4"/>
          </p15:clr>
        </p15:guide>
        <p15:guide id="31" orient="horz" pos="2336">
          <p15:clr>
            <a:srgbClr val="A4A3A4"/>
          </p15:clr>
        </p15:guide>
        <p15:guide id="32" orient="horz" pos="2517">
          <p15:clr>
            <a:srgbClr val="A4A3A4"/>
          </p15:clr>
        </p15:guide>
        <p15:guide id="33" orient="horz" pos="2699">
          <p15:clr>
            <a:srgbClr val="A4A3A4"/>
          </p15:clr>
        </p15:guide>
        <p15:guide id="34" orient="horz" pos="2880">
          <p15:clr>
            <a:srgbClr val="A4A3A4"/>
          </p15:clr>
        </p15:guide>
        <p15:guide id="35" orient="horz" pos="3061">
          <p15:clr>
            <a:srgbClr val="F26B43"/>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3.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Pr>
        <a:solidFill>
          <a:schemeClr val="bg1"/>
        </a:solidFill>
        <a:effectLst/>
      </p:bgPr>
    </p:bg>
    <p:spTree>
      <p:nvGrpSpPr>
        <p:cNvPr id="1" name=""/>
        <p:cNvGrpSpPr/>
        <p:nvPr/>
      </p:nvGrpSpPr>
      <p:grpSpPr>
        <a:xfrm>
          <a:off x="0" y="0"/>
          <a:ext cx="0" cy="0"/>
          <a:chOff x="0" y="0"/>
          <a:chExt cx="0" cy="0"/>
        </a:xfrm>
      </p:grpSpPr>
      <p:pic>
        <p:nvPicPr>
          <p:cNvPr id="18" name="Logo 1">
            <a:extLst>
              <a:ext uri="{FF2B5EF4-FFF2-40B4-BE49-F238E27FC236}">
                <a16:creationId xmlns:a16="http://schemas.microsoft.com/office/drawing/2014/main" id="{ECB33FF8-6057-4865-A816-0910E6D24BD6}"/>
              </a:ext>
            </a:extLst>
          </p:cNvPr>
          <p:cNvPicPr preferRelativeResize="0">
            <a:picLocks/>
          </p:cNvPicPr>
          <p:nvPr/>
        </p:nvPicPr>
        <p:blipFill>
          <a:blip r:embed="rId31"/>
          <a:stretch>
            <a:fillRect/>
          </a:stretch>
        </p:blipFill>
        <p:spPr>
          <a:xfrm>
            <a:off x="7584788" y="307350"/>
            <a:ext cx="1306800" cy="302400"/>
          </a:xfrm>
          <a:prstGeom prst="rect">
            <a:avLst/>
          </a:prstGeom>
        </p:spPr>
      </p:pic>
      <p:sp>
        <p:nvSpPr>
          <p:cNvPr id="2" name="Slide Number Placeholder 1"/>
          <p:cNvSpPr>
            <a:spLocks noGrp="1"/>
          </p:cNvSpPr>
          <p:nvPr>
            <p:ph type="sldNum" sz="quarter" idx="4"/>
          </p:nvPr>
        </p:nvSpPr>
        <p:spPr>
          <a:xfrm>
            <a:off x="8478000" y="4896000"/>
            <a:ext cx="360000" cy="180000"/>
          </a:xfrm>
          <a:prstGeom prst="rect">
            <a:avLst/>
          </a:prstGeom>
        </p:spPr>
        <p:txBody>
          <a:bodyPr vert="horz" lIns="0" tIns="0" rIns="0" bIns="0" rtlCol="0" anchor="ctr"/>
          <a:lstStyle>
            <a:lvl1pPr algn="r">
              <a:defRPr sz="600" b="1">
                <a:solidFill>
                  <a:schemeClr val="tx2"/>
                </a:solidFill>
              </a:defRPr>
            </a:lvl1pPr>
          </a:lstStyle>
          <a:p>
            <a:fld id="{D56DB8AA-803C-49D2-90AA-1140CE72DCD7}" type="slidenum">
              <a:rPr lang="en-GB" smtClean="0"/>
              <a:pPr/>
              <a:t>‹Nr.›</a:t>
            </a:fld>
            <a:endParaRPr lang="en-GB" dirty="0"/>
          </a:p>
        </p:txBody>
      </p:sp>
      <p:sp>
        <p:nvSpPr>
          <p:cNvPr id="3" name="Date Placeholder 1"/>
          <p:cNvSpPr>
            <a:spLocks noGrp="1"/>
          </p:cNvSpPr>
          <p:nvPr>
            <p:ph type="dt" sz="half" idx="2"/>
          </p:nvPr>
        </p:nvSpPr>
        <p:spPr>
          <a:xfrm>
            <a:off x="7632000" y="4896000"/>
            <a:ext cx="828000" cy="180000"/>
          </a:xfrm>
          <a:prstGeom prst="rect">
            <a:avLst/>
          </a:prstGeom>
        </p:spPr>
        <p:txBody>
          <a:bodyPr vert="horz" wrap="none" lIns="0" tIns="0" rIns="0" bIns="0" rtlCol="0" anchor="ctr"/>
          <a:lstStyle>
            <a:lvl1pPr algn="r">
              <a:defRPr sz="600">
                <a:solidFill>
                  <a:schemeClr val="tx2"/>
                </a:solidFill>
              </a:defRPr>
            </a:lvl1pPr>
          </a:lstStyle>
          <a:p>
            <a:fld id="{4773D508-207B-4C64-8093-D0243C0D2B76}" type="datetime4">
              <a:rPr lang="en-GB" smtClean="0"/>
              <a:pPr/>
              <a:t>24 August 2022</a:t>
            </a:fld>
            <a:endParaRPr lang="en-GB" dirty="0"/>
          </a:p>
        </p:txBody>
      </p:sp>
      <p:sp>
        <p:nvSpPr>
          <p:cNvPr id="4" name="Footer Placeholder 1"/>
          <p:cNvSpPr>
            <a:spLocks noGrp="1"/>
          </p:cNvSpPr>
          <p:nvPr>
            <p:ph type="ftr" sz="quarter" idx="3"/>
          </p:nvPr>
        </p:nvSpPr>
        <p:spPr>
          <a:xfrm>
            <a:off x="3918000" y="4896000"/>
            <a:ext cx="3600000" cy="180000"/>
          </a:xfrm>
          <a:prstGeom prst="rect">
            <a:avLst/>
          </a:prstGeom>
        </p:spPr>
        <p:txBody>
          <a:bodyPr vert="horz" lIns="0" tIns="0" rIns="0" bIns="0" rtlCol="0" anchor="ctr"/>
          <a:lstStyle>
            <a:lvl1pPr algn="r">
              <a:defRPr sz="600">
                <a:solidFill>
                  <a:schemeClr val="tx2"/>
                </a:solidFill>
              </a:defRPr>
            </a:lvl1pPr>
          </a:lstStyle>
          <a:p>
            <a:r>
              <a:rPr lang="en-GB"/>
              <a:t>Editing footer: Insert &gt; Header &amp; Footer (title of presentation and name of speaker)</a:t>
            </a:r>
            <a:endParaRPr lang="en-GB" dirty="0"/>
          </a:p>
        </p:txBody>
      </p:sp>
      <p:sp>
        <p:nvSpPr>
          <p:cNvPr id="5" name="Titel 1"/>
          <p:cNvSpPr>
            <a:spLocks noGrp="1"/>
          </p:cNvSpPr>
          <p:nvPr>
            <p:ph type="title"/>
          </p:nvPr>
        </p:nvSpPr>
        <p:spPr>
          <a:xfrm>
            <a:off x="252000" y="252000"/>
            <a:ext cx="6748875" cy="576000"/>
          </a:xfrm>
          <a:prstGeom prst="rect">
            <a:avLst/>
          </a:prstGeom>
        </p:spPr>
        <p:txBody>
          <a:bodyPr vert="horz" lIns="0" tIns="0" rIns="0" bIns="0" rtlCol="0" anchor="t" anchorCtr="0">
            <a:noAutofit/>
          </a:bodyPr>
          <a:lstStyle/>
          <a:p>
            <a:r>
              <a:rPr lang="en-GB" noProof="0" dirty="0"/>
              <a:t>Title 20 pt,</a:t>
            </a:r>
            <a:br>
              <a:rPr lang="en-GB" noProof="0" dirty="0"/>
            </a:br>
            <a:r>
              <a:rPr lang="en-GB" noProof="0" dirty="0"/>
              <a:t>two lines max.</a:t>
            </a:r>
          </a:p>
        </p:txBody>
      </p:sp>
      <p:sp>
        <p:nvSpPr>
          <p:cNvPr id="6" name="Content Placeholder 1"/>
          <p:cNvSpPr>
            <a:spLocks noGrp="1"/>
          </p:cNvSpPr>
          <p:nvPr>
            <p:ph type="body" idx="1"/>
          </p:nvPr>
        </p:nvSpPr>
        <p:spPr>
          <a:xfrm>
            <a:off x="252000" y="1116000"/>
            <a:ext cx="8640000" cy="3744000"/>
          </a:xfrm>
          <a:prstGeom prst="rect">
            <a:avLst/>
          </a:prstGeom>
        </p:spPr>
        <p:txBody>
          <a:bodyPr vert="horz" lIns="0" tIns="0" rIns="0" bIns="0" rtlCol="0">
            <a:noAutofit/>
          </a:bodyPr>
          <a:lstStyle/>
          <a:p>
            <a:pPr lvl="0"/>
            <a:r>
              <a:rPr lang="en-GB" dirty="0"/>
              <a:t>To customise the hierarchy of points, use Start &gt; Paragraph &gt; Decrease / Increase List Level. Alternatively, insert table, chart, SmartArt graphic, picture or online graphic.</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graphicFrame>
        <p:nvGraphicFramePr>
          <p:cNvPr id="8" name="Objekt 6" hidden="1">
            <a:extLst>
              <a:ext uri="{FF2B5EF4-FFF2-40B4-BE49-F238E27FC236}">
                <a16:creationId xmlns:a16="http://schemas.microsoft.com/office/drawing/2014/main" id="{1175117B-CAA8-50B4-DD0E-D3B8DE4F1C96}"/>
              </a:ext>
            </a:extLst>
          </p:cNvPr>
          <p:cNvGraphicFramePr>
            <a:graphicFrameLocks noChangeAspect="1"/>
          </p:cNvGraphicFramePr>
          <p:nvPr userDrawn="1">
            <p:custDataLst>
              <p:tags r:id="rId29"/>
            </p:custDataLst>
            <p:extLst>
              <p:ext uri="{D42A27DB-BD31-4B8C-83A1-F6EECF244321}">
                <p14:modId xmlns:p14="http://schemas.microsoft.com/office/powerpoint/2010/main" val="298225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2" imgW="353" imgH="353" progId="TCLayout.ActiveDocument.1">
                  <p:embed/>
                </p:oleObj>
              </mc:Choice>
              <mc:Fallback>
                <p:oleObj name="think-cell Folie" r:id="rId32" imgW="353" imgH="353" progId="TCLayout.ActiveDocument.1">
                  <p:embed/>
                  <p:pic>
                    <p:nvPicPr>
                      <p:cNvPr id="8" name="Objekt 6" hidden="1">
                        <a:extLst>
                          <a:ext uri="{FF2B5EF4-FFF2-40B4-BE49-F238E27FC236}">
                            <a16:creationId xmlns:a16="http://schemas.microsoft.com/office/drawing/2014/main" id="{1175117B-CAA8-50B4-DD0E-D3B8DE4F1C96}"/>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9" name="Rechteck 5" hidden="1">
            <a:extLst>
              <a:ext uri="{FF2B5EF4-FFF2-40B4-BE49-F238E27FC236}">
                <a16:creationId xmlns:a16="http://schemas.microsoft.com/office/drawing/2014/main" id="{3B6C29AE-4C98-236E-2563-A58420ED4606}"/>
              </a:ext>
            </a:extLst>
          </p:cNvPr>
          <p:cNvSpPr/>
          <p:nvPr userDrawn="1">
            <p:custDataLst>
              <p:tags r:id="rId30"/>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GB" sz="2000" b="0" i="0" baseline="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97281606"/>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 id="2147483785" r:id="rId16"/>
    <p:sldLayoutId id="2147483786" r:id="rId17"/>
    <p:sldLayoutId id="2147483787" r:id="rId18"/>
    <p:sldLayoutId id="2147483788" r:id="rId19"/>
    <p:sldLayoutId id="2147483789" r:id="rId20"/>
    <p:sldLayoutId id="2147483790" r:id="rId21"/>
    <p:sldLayoutId id="2147483791" r:id="rId22"/>
    <p:sldLayoutId id="2147483792" r:id="rId23"/>
    <p:sldLayoutId id="2147483793" r:id="rId24"/>
    <p:sldLayoutId id="2147483794" r:id="rId25"/>
    <p:sldLayoutId id="2147483795" r:id="rId26"/>
    <p:sldLayoutId id="2147483796"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270000" rtl="0" eaLnBrk="1" latinLnBrk="0" hangingPunct="1">
        <a:spcBef>
          <a:spcPct val="0"/>
        </a:spcBef>
        <a:buNone/>
        <a:defRPr sz="2000" kern="1200">
          <a:solidFill>
            <a:schemeClr val="accent1"/>
          </a:solidFill>
          <a:latin typeface="+mj-lt"/>
          <a:ea typeface="+mj-ea"/>
          <a:cs typeface="+mj-cs"/>
        </a:defRPr>
      </a:lvl1pPr>
    </p:titleStyle>
    <p:bodyStyle>
      <a:lvl1pPr marL="216000" indent="-216000" algn="l" defTabSz="270000" rtl="0" eaLnBrk="1" latinLnBrk="0" hangingPunct="1">
        <a:lnSpc>
          <a:spcPct val="110000"/>
        </a:lnSpc>
        <a:spcBef>
          <a:spcPts val="0"/>
        </a:spcBef>
        <a:spcAft>
          <a:spcPts val="600"/>
        </a:spcAft>
        <a:buClr>
          <a:schemeClr val="accent1"/>
        </a:buClr>
        <a:buFont typeface="Wingdings" pitchFamily="2" charset="2"/>
        <a:buChar char="§"/>
        <a:defRPr sz="1400" kern="1200">
          <a:solidFill>
            <a:schemeClr val="tx2"/>
          </a:solidFill>
          <a:latin typeface="+mn-lt"/>
          <a:ea typeface="+mn-ea"/>
          <a:cs typeface="+mn-cs"/>
        </a:defRPr>
      </a:lvl1pPr>
      <a:lvl2pPr marL="432000" indent="-216000" algn="l" defTabSz="270000" rtl="0" eaLnBrk="1" latinLnBrk="0" hangingPunct="1">
        <a:lnSpc>
          <a:spcPct val="110000"/>
        </a:lnSpc>
        <a:spcBef>
          <a:spcPts val="0"/>
        </a:spcBef>
        <a:spcAft>
          <a:spcPts val="600"/>
        </a:spcAft>
        <a:buClr>
          <a:schemeClr val="accent1"/>
        </a:buClr>
        <a:buFont typeface="Wingdings" pitchFamily="2" charset="2"/>
        <a:buChar char="§"/>
        <a:defRPr sz="1400" kern="1200">
          <a:solidFill>
            <a:schemeClr val="tx2"/>
          </a:solidFill>
          <a:latin typeface="+mn-lt"/>
          <a:ea typeface="+mn-ea"/>
          <a:cs typeface="+mn-cs"/>
        </a:defRPr>
      </a:lvl2pPr>
      <a:lvl3pPr marL="648000" indent="-216000" algn="l" defTabSz="270000" rtl="0" eaLnBrk="1" latinLnBrk="0" hangingPunct="1">
        <a:lnSpc>
          <a:spcPct val="110000"/>
        </a:lnSpc>
        <a:spcBef>
          <a:spcPts val="0"/>
        </a:spcBef>
        <a:spcAft>
          <a:spcPts val="600"/>
        </a:spcAft>
        <a:buClr>
          <a:schemeClr val="accent1"/>
        </a:buClr>
        <a:buFont typeface="Wingdings" pitchFamily="2" charset="2"/>
        <a:buChar char="§"/>
        <a:defRPr sz="1400" kern="1200">
          <a:solidFill>
            <a:schemeClr val="tx2"/>
          </a:solidFill>
          <a:latin typeface="+mn-lt"/>
          <a:ea typeface="+mn-ea"/>
          <a:cs typeface="+mn-cs"/>
        </a:defRPr>
      </a:lvl3pPr>
      <a:lvl4pPr marL="864000" indent="-216000" algn="l" defTabSz="270000" rtl="0" eaLnBrk="1" latinLnBrk="0" hangingPunct="1">
        <a:lnSpc>
          <a:spcPct val="110000"/>
        </a:lnSpc>
        <a:spcBef>
          <a:spcPts val="0"/>
        </a:spcBef>
        <a:spcAft>
          <a:spcPts val="600"/>
        </a:spcAft>
        <a:buClr>
          <a:schemeClr val="accent1"/>
        </a:buClr>
        <a:buFont typeface="Wingdings" pitchFamily="2" charset="2"/>
        <a:buChar char="§"/>
        <a:defRPr sz="1400" kern="1200">
          <a:solidFill>
            <a:schemeClr val="tx2"/>
          </a:solidFill>
          <a:latin typeface="+mn-lt"/>
          <a:ea typeface="+mn-ea"/>
          <a:cs typeface="+mn-cs"/>
        </a:defRPr>
      </a:lvl4pPr>
      <a:lvl5pPr marL="1080000" indent="-216000" algn="l" defTabSz="270000" rtl="0" eaLnBrk="1" latinLnBrk="0" hangingPunct="1">
        <a:lnSpc>
          <a:spcPct val="110000"/>
        </a:lnSpc>
        <a:spcBef>
          <a:spcPts val="0"/>
        </a:spcBef>
        <a:spcAft>
          <a:spcPts val="600"/>
        </a:spcAft>
        <a:buClr>
          <a:schemeClr val="accent1"/>
        </a:buClr>
        <a:buFont typeface="Wingdings" pitchFamily="2" charset="2"/>
        <a:buChar char="§"/>
        <a:defRPr sz="1400" kern="1200">
          <a:solidFill>
            <a:schemeClr val="tx2"/>
          </a:solidFill>
          <a:latin typeface="+mn-lt"/>
          <a:ea typeface="+mn-ea"/>
          <a:cs typeface="+mn-cs"/>
        </a:defRPr>
      </a:lvl5pPr>
      <a:lvl6pPr marL="1296000" indent="-216000" algn="l" defTabSz="270000" rtl="0" eaLnBrk="1" latinLnBrk="0" hangingPunct="1">
        <a:lnSpc>
          <a:spcPct val="110000"/>
        </a:lnSpc>
        <a:spcBef>
          <a:spcPts val="0"/>
        </a:spcBef>
        <a:spcAft>
          <a:spcPts val="600"/>
        </a:spcAft>
        <a:buClr>
          <a:schemeClr val="accent1"/>
        </a:buClr>
        <a:buFont typeface="Wingdings" pitchFamily="2" charset="2"/>
        <a:buChar char="§"/>
        <a:defRPr sz="1400" kern="1200">
          <a:solidFill>
            <a:schemeClr val="tx2"/>
          </a:solidFill>
          <a:latin typeface="+mn-lt"/>
          <a:ea typeface="+mn-ea"/>
          <a:cs typeface="+mn-cs"/>
        </a:defRPr>
      </a:lvl6pPr>
      <a:lvl7pPr marL="1512000" indent="-216000" algn="l" defTabSz="270000" rtl="0" eaLnBrk="1" latinLnBrk="0" hangingPunct="1">
        <a:lnSpc>
          <a:spcPct val="110000"/>
        </a:lnSpc>
        <a:spcBef>
          <a:spcPts val="0"/>
        </a:spcBef>
        <a:spcAft>
          <a:spcPts val="600"/>
        </a:spcAft>
        <a:buClr>
          <a:schemeClr val="accent1"/>
        </a:buClr>
        <a:buFont typeface="Wingdings" pitchFamily="2" charset="2"/>
        <a:buChar char="§"/>
        <a:defRPr sz="1400" kern="1200" baseline="0">
          <a:solidFill>
            <a:schemeClr val="tx2"/>
          </a:solidFill>
          <a:latin typeface="+mn-lt"/>
          <a:ea typeface="+mn-ea"/>
          <a:cs typeface="+mn-cs"/>
        </a:defRPr>
      </a:lvl7pPr>
      <a:lvl8pPr marL="1728000" indent="-216000" algn="l" defTabSz="270000" rtl="0" eaLnBrk="1" latinLnBrk="0" hangingPunct="1">
        <a:lnSpc>
          <a:spcPct val="110000"/>
        </a:lnSpc>
        <a:spcBef>
          <a:spcPts val="0"/>
        </a:spcBef>
        <a:spcAft>
          <a:spcPts val="600"/>
        </a:spcAft>
        <a:buClr>
          <a:schemeClr val="accent1"/>
        </a:buClr>
        <a:buFont typeface="Wingdings" pitchFamily="2" charset="2"/>
        <a:buChar char="§"/>
        <a:defRPr sz="1400" kern="1200" baseline="0">
          <a:solidFill>
            <a:schemeClr val="tx2"/>
          </a:solidFill>
          <a:latin typeface="+mn-lt"/>
          <a:ea typeface="+mn-ea"/>
          <a:cs typeface="+mn-cs"/>
        </a:defRPr>
      </a:lvl8pPr>
      <a:lvl9pPr marL="1944000" indent="-216000" algn="l" defTabSz="270000" rtl="0" eaLnBrk="1" latinLnBrk="0" hangingPunct="1">
        <a:lnSpc>
          <a:spcPct val="110000"/>
        </a:lnSpc>
        <a:spcBef>
          <a:spcPts val="0"/>
        </a:spcBef>
        <a:spcAft>
          <a:spcPts val="600"/>
        </a:spcAft>
        <a:buClr>
          <a:schemeClr val="accent1"/>
        </a:buClr>
        <a:buFont typeface="Wingdings" pitchFamily="2" charset="2"/>
        <a:buChar char="§"/>
        <a:defRPr sz="1400" kern="1200" baseline="0">
          <a:solidFill>
            <a:schemeClr val="tx2"/>
          </a:solidFill>
          <a:latin typeface="+mn-lt"/>
          <a:ea typeface="+mn-ea"/>
          <a:cs typeface="+mn-cs"/>
        </a:defRPr>
      </a:lvl9pPr>
    </p:bodyStyle>
    <p:otherStyle>
      <a:defPPr>
        <a:defRPr lang="en-GB"/>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9.xml"/><Relationship Id="rId7" Type="http://schemas.openxmlformats.org/officeDocument/2006/relationships/image" Target="../media/image33.svg"/><Relationship Id="rId2" Type="http://schemas.openxmlformats.org/officeDocument/2006/relationships/slideLayout" Target="../slideLayouts/slideLayout23.xml"/><Relationship Id="rId1" Type="http://schemas.openxmlformats.org/officeDocument/2006/relationships/tags" Target="../tags/tag14.xml"/><Relationship Id="rId6" Type="http://schemas.openxmlformats.org/officeDocument/2006/relationships/image" Target="../media/image32.png"/><Relationship Id="rId5" Type="http://schemas.openxmlformats.org/officeDocument/2006/relationships/image" Target="../media/image4.emf"/><Relationship Id="rId4" Type="http://schemas.openxmlformats.org/officeDocument/2006/relationships/oleObject" Target="../embeddings/oleObject11.bin"/><Relationship Id="rId9" Type="http://schemas.openxmlformats.org/officeDocument/2006/relationships/image" Target="../media/image35.sv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7.svg"/><Relationship Id="rId2" Type="http://schemas.openxmlformats.org/officeDocument/2006/relationships/slideLayout" Target="../slideLayouts/slideLayout23.xml"/><Relationship Id="rId1" Type="http://schemas.openxmlformats.org/officeDocument/2006/relationships/tags" Target="../tags/tag15.xml"/><Relationship Id="rId6" Type="http://schemas.openxmlformats.org/officeDocument/2006/relationships/image" Target="../media/image36.png"/><Relationship Id="rId5" Type="http://schemas.openxmlformats.org/officeDocument/2006/relationships/image" Target="../media/image4.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1.xml"/><Relationship Id="rId7" Type="http://schemas.openxmlformats.org/officeDocument/2006/relationships/image" Target="../media/image39.svg"/><Relationship Id="rId2" Type="http://schemas.openxmlformats.org/officeDocument/2006/relationships/slideLayout" Target="../slideLayouts/slideLayout23.xml"/><Relationship Id="rId1" Type="http://schemas.openxmlformats.org/officeDocument/2006/relationships/tags" Target="../tags/tag16.xml"/><Relationship Id="rId6" Type="http://schemas.openxmlformats.org/officeDocument/2006/relationships/image" Target="../media/image38.png"/><Relationship Id="rId5" Type="http://schemas.openxmlformats.org/officeDocument/2006/relationships/image" Target="../media/image4.emf"/><Relationship Id="rId4" Type="http://schemas.openxmlformats.org/officeDocument/2006/relationships/oleObject" Target="../embeddings/oleObject13.bin"/><Relationship Id="rId9" Type="http://schemas.openxmlformats.org/officeDocument/2006/relationships/image" Target="../media/image41.svg"/></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12.xml"/><Relationship Id="rId7" Type="http://schemas.openxmlformats.org/officeDocument/2006/relationships/image" Target="../media/image43.svg"/><Relationship Id="rId2" Type="http://schemas.openxmlformats.org/officeDocument/2006/relationships/slideLayout" Target="../slideLayouts/slideLayout23.xml"/><Relationship Id="rId1" Type="http://schemas.openxmlformats.org/officeDocument/2006/relationships/tags" Target="../tags/tag17.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image" Target="../media/image4.emf"/><Relationship Id="rId10" Type="http://schemas.openxmlformats.org/officeDocument/2006/relationships/image" Target="../media/image46.png"/><Relationship Id="rId4" Type="http://schemas.openxmlformats.org/officeDocument/2006/relationships/oleObject" Target="../embeddings/oleObject14.bin"/><Relationship Id="rId9" Type="http://schemas.openxmlformats.org/officeDocument/2006/relationships/image" Target="../media/image45.svg"/></Relationships>
</file>

<file path=ppt/slides/_rels/slide14.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oleObject" Target="../embeddings/oleObject15.bin"/><Relationship Id="rId7" Type="http://schemas.openxmlformats.org/officeDocument/2006/relationships/image" Target="../media/image51.png"/><Relationship Id="rId2" Type="http://schemas.openxmlformats.org/officeDocument/2006/relationships/slideLayout" Target="../slideLayouts/slideLayout23.xml"/><Relationship Id="rId1" Type="http://schemas.openxmlformats.org/officeDocument/2006/relationships/tags" Target="../tags/tag18.xml"/><Relationship Id="rId6" Type="http://schemas.openxmlformats.org/officeDocument/2006/relationships/image" Target="../media/image50.svg"/><Relationship Id="rId5" Type="http://schemas.openxmlformats.org/officeDocument/2006/relationships/image" Target="../media/image49.png"/><Relationship Id="rId10" Type="http://schemas.openxmlformats.org/officeDocument/2006/relationships/image" Target="../media/image54.svg"/><Relationship Id="rId4" Type="http://schemas.openxmlformats.org/officeDocument/2006/relationships/image" Target="../media/image48.emf"/><Relationship Id="rId9" Type="http://schemas.openxmlformats.org/officeDocument/2006/relationships/image" Target="../media/image53.png"/></Relationships>
</file>

<file path=ppt/slides/_rels/slide15.xml.rels><?xml version="1.0" encoding="UTF-8" standalone="yes"?>
<Relationships xmlns="http://schemas.openxmlformats.org/package/2006/relationships"><Relationship Id="rId13" Type="http://schemas.openxmlformats.org/officeDocument/2006/relationships/image" Target="../media/image60.png"/><Relationship Id="rId18" Type="http://schemas.openxmlformats.org/officeDocument/2006/relationships/image" Target="../media/image65.png"/><Relationship Id="rId26" Type="http://schemas.openxmlformats.org/officeDocument/2006/relationships/image" Target="../media/image73.png"/><Relationship Id="rId39" Type="http://schemas.openxmlformats.org/officeDocument/2006/relationships/image" Target="../media/image1.emf"/><Relationship Id="rId21" Type="http://schemas.openxmlformats.org/officeDocument/2006/relationships/image" Target="../media/image68.png"/><Relationship Id="rId34" Type="http://schemas.openxmlformats.org/officeDocument/2006/relationships/image" Target="../media/image81.png"/><Relationship Id="rId7" Type="http://schemas.openxmlformats.org/officeDocument/2006/relationships/image" Target="../media/image5.png"/><Relationship Id="rId12" Type="http://schemas.openxmlformats.org/officeDocument/2006/relationships/image" Target="../media/image59.png"/><Relationship Id="rId17" Type="http://schemas.openxmlformats.org/officeDocument/2006/relationships/image" Target="../media/image64.png"/><Relationship Id="rId25" Type="http://schemas.openxmlformats.org/officeDocument/2006/relationships/image" Target="../media/image72.png"/><Relationship Id="rId33" Type="http://schemas.openxmlformats.org/officeDocument/2006/relationships/image" Target="../media/image80.png"/><Relationship Id="rId38" Type="http://schemas.openxmlformats.org/officeDocument/2006/relationships/image" Target="../media/image85.png"/><Relationship Id="rId2" Type="http://schemas.openxmlformats.org/officeDocument/2006/relationships/tags" Target="../tags/tag20.xml"/><Relationship Id="rId16" Type="http://schemas.openxmlformats.org/officeDocument/2006/relationships/image" Target="../media/image63.png"/><Relationship Id="rId20" Type="http://schemas.openxmlformats.org/officeDocument/2006/relationships/image" Target="../media/image67.png"/><Relationship Id="rId29" Type="http://schemas.openxmlformats.org/officeDocument/2006/relationships/image" Target="../media/image76.png"/><Relationship Id="rId1" Type="http://schemas.openxmlformats.org/officeDocument/2006/relationships/tags" Target="../tags/tag19.xml"/><Relationship Id="rId6" Type="http://schemas.openxmlformats.org/officeDocument/2006/relationships/image" Target="../media/image4.emf"/><Relationship Id="rId11" Type="http://schemas.openxmlformats.org/officeDocument/2006/relationships/image" Target="../media/image58.png"/><Relationship Id="rId24" Type="http://schemas.openxmlformats.org/officeDocument/2006/relationships/image" Target="../media/image71.png"/><Relationship Id="rId32" Type="http://schemas.openxmlformats.org/officeDocument/2006/relationships/image" Target="../media/image79.png"/><Relationship Id="rId37" Type="http://schemas.openxmlformats.org/officeDocument/2006/relationships/image" Target="../media/image84.png"/><Relationship Id="rId5" Type="http://schemas.openxmlformats.org/officeDocument/2006/relationships/oleObject" Target="../embeddings/oleObject16.bin"/><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png"/><Relationship Id="rId36" Type="http://schemas.openxmlformats.org/officeDocument/2006/relationships/image" Target="../media/image83.png"/><Relationship Id="rId10" Type="http://schemas.openxmlformats.org/officeDocument/2006/relationships/image" Target="../media/image57.png"/><Relationship Id="rId19" Type="http://schemas.openxmlformats.org/officeDocument/2006/relationships/image" Target="../media/image66.png"/><Relationship Id="rId31" Type="http://schemas.openxmlformats.org/officeDocument/2006/relationships/image" Target="../media/image78.png"/><Relationship Id="rId4" Type="http://schemas.openxmlformats.org/officeDocument/2006/relationships/notesSlide" Target="../notesSlides/notesSlide13.xml"/><Relationship Id="rId9" Type="http://schemas.openxmlformats.org/officeDocument/2006/relationships/image" Target="../media/image56.png"/><Relationship Id="rId14" Type="http://schemas.openxmlformats.org/officeDocument/2006/relationships/image" Target="../media/image61.png"/><Relationship Id="rId22" Type="http://schemas.openxmlformats.org/officeDocument/2006/relationships/image" Target="../media/image69.png"/><Relationship Id="rId27" Type="http://schemas.openxmlformats.org/officeDocument/2006/relationships/image" Target="../media/image74.png"/><Relationship Id="rId30" Type="http://schemas.openxmlformats.org/officeDocument/2006/relationships/image" Target="../media/image77.png"/><Relationship Id="rId35" Type="http://schemas.openxmlformats.org/officeDocument/2006/relationships/image" Target="../media/image82.png"/><Relationship Id="rId8" Type="http://schemas.openxmlformats.org/officeDocument/2006/relationships/image" Target="../media/image55.png"/><Relationship Id="rId3"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3.xml"/><Relationship Id="rId1" Type="http://schemas.openxmlformats.org/officeDocument/2006/relationships/tags" Target="../tags/tag21.xml"/><Relationship Id="rId5" Type="http://schemas.openxmlformats.org/officeDocument/2006/relationships/image" Target="../media/image4.emf"/><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18.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3.xml"/><Relationship Id="rId1" Type="http://schemas.openxmlformats.org/officeDocument/2006/relationships/tags" Target="../tags/tag23.xml"/><Relationship Id="rId5" Type="http://schemas.openxmlformats.org/officeDocument/2006/relationships/image" Target="../media/image4.emf"/><Relationship Id="rId4" Type="http://schemas.openxmlformats.org/officeDocument/2006/relationships/oleObject" Target="../embeddings/oleObject19.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3.xml"/><Relationship Id="rId1" Type="http://schemas.openxmlformats.org/officeDocument/2006/relationships/tags" Target="../tags/tag24.xml"/><Relationship Id="rId5" Type="http://schemas.openxmlformats.org/officeDocument/2006/relationships/image" Target="../media/image4.emf"/><Relationship Id="rId4" Type="http://schemas.openxmlformats.org/officeDocument/2006/relationships/oleObject" Target="../embeddings/oleObject20.bin"/></Relationships>
</file>

<file path=ppt/slides/_rels/slide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3.xml"/><Relationship Id="rId7" Type="http://schemas.openxmlformats.org/officeDocument/2006/relationships/image" Target="../media/image5.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3.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oleObject" Target="../embeddings/oleObject21.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3.xml"/><Relationship Id="rId1" Type="http://schemas.openxmlformats.org/officeDocument/2006/relationships/tags" Target="../tags/tag26.x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3.xml"/><Relationship Id="rId1" Type="http://schemas.openxmlformats.org/officeDocument/2006/relationships/tags" Target="../tags/tag27.xml"/><Relationship Id="rId5" Type="http://schemas.openxmlformats.org/officeDocument/2006/relationships/image" Target="../media/image4.emf"/><Relationship Id="rId4" Type="http://schemas.openxmlformats.org/officeDocument/2006/relationships/oleObject" Target="../embeddings/oleObject23.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3.xml"/><Relationship Id="rId1" Type="http://schemas.openxmlformats.org/officeDocument/2006/relationships/tags" Target="../tags/tag28.xml"/><Relationship Id="rId5" Type="http://schemas.openxmlformats.org/officeDocument/2006/relationships/image" Target="../media/image4.emf"/><Relationship Id="rId4" Type="http://schemas.openxmlformats.org/officeDocument/2006/relationships/oleObject" Target="../embeddings/oleObject24.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3.xml"/><Relationship Id="rId1" Type="http://schemas.openxmlformats.org/officeDocument/2006/relationships/tags" Target="../tags/tag29.xml"/><Relationship Id="rId5" Type="http://schemas.openxmlformats.org/officeDocument/2006/relationships/image" Target="../media/image4.emf"/><Relationship Id="rId4" Type="http://schemas.openxmlformats.org/officeDocument/2006/relationships/oleObject" Target="../embeddings/oleObject2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3.xml"/><Relationship Id="rId1" Type="http://schemas.openxmlformats.org/officeDocument/2006/relationships/tags" Target="../tags/tag30.xml"/><Relationship Id="rId5" Type="http://schemas.openxmlformats.org/officeDocument/2006/relationships/image" Target="../media/image4.emf"/><Relationship Id="rId4" Type="http://schemas.openxmlformats.org/officeDocument/2006/relationships/oleObject" Target="../embeddings/oleObject26.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23.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oleObject" Target="../embeddings/oleObject27.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3.xml"/><Relationship Id="rId1" Type="http://schemas.openxmlformats.org/officeDocument/2006/relationships/tags" Target="../tags/tag32.xml"/><Relationship Id="rId5" Type="http://schemas.openxmlformats.org/officeDocument/2006/relationships/image" Target="../media/image4.emf"/><Relationship Id="rId4" Type="http://schemas.openxmlformats.org/officeDocument/2006/relationships/oleObject" Target="../embeddings/oleObject28.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3.xml"/><Relationship Id="rId1" Type="http://schemas.openxmlformats.org/officeDocument/2006/relationships/tags" Target="../tags/tag33.xml"/><Relationship Id="rId5" Type="http://schemas.openxmlformats.org/officeDocument/2006/relationships/image" Target="../media/image4.emf"/><Relationship Id="rId4" Type="http://schemas.openxmlformats.org/officeDocument/2006/relationships/oleObject" Target="../embeddings/oleObject29.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3.xml"/><Relationship Id="rId1" Type="http://schemas.openxmlformats.org/officeDocument/2006/relationships/tags" Target="../tags/tag34.xml"/><Relationship Id="rId5" Type="http://schemas.openxmlformats.org/officeDocument/2006/relationships/image" Target="../media/image4.emf"/><Relationship Id="rId4" Type="http://schemas.openxmlformats.org/officeDocument/2006/relationships/oleObject" Target="../embeddings/oleObject30.bin"/></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2.xml"/><Relationship Id="rId7" Type="http://schemas.openxmlformats.org/officeDocument/2006/relationships/image" Target="../media/image7.svg"/><Relationship Id="rId2" Type="http://schemas.openxmlformats.org/officeDocument/2006/relationships/slideLayout" Target="../slideLayouts/slideLayout23.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4.bin"/><Relationship Id="rId9" Type="http://schemas.openxmlformats.org/officeDocument/2006/relationships/image" Target="../media/image9.sv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3.xml"/><Relationship Id="rId1" Type="http://schemas.openxmlformats.org/officeDocument/2006/relationships/tags" Target="../tags/tag35.xml"/><Relationship Id="rId5" Type="http://schemas.openxmlformats.org/officeDocument/2006/relationships/image" Target="../media/image4.emf"/><Relationship Id="rId4" Type="http://schemas.openxmlformats.org/officeDocument/2006/relationships/oleObject" Target="../embeddings/oleObject31.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23.xml"/><Relationship Id="rId1" Type="http://schemas.openxmlformats.org/officeDocument/2006/relationships/tags" Target="../tags/tag36.xml"/><Relationship Id="rId5" Type="http://schemas.openxmlformats.org/officeDocument/2006/relationships/image" Target="../media/image4.emf"/><Relationship Id="rId4" Type="http://schemas.openxmlformats.org/officeDocument/2006/relationships/oleObject" Target="../embeddings/oleObject32.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23.xml"/><Relationship Id="rId1" Type="http://schemas.openxmlformats.org/officeDocument/2006/relationships/tags" Target="../tags/tag37.xml"/><Relationship Id="rId5" Type="http://schemas.openxmlformats.org/officeDocument/2006/relationships/image" Target="../media/image4.emf"/><Relationship Id="rId4" Type="http://schemas.openxmlformats.org/officeDocument/2006/relationships/oleObject" Target="../embeddings/oleObject33.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23.xml"/><Relationship Id="rId1" Type="http://schemas.openxmlformats.org/officeDocument/2006/relationships/tags" Target="../tags/tag38.xml"/><Relationship Id="rId5" Type="http://schemas.openxmlformats.org/officeDocument/2006/relationships/image" Target="../media/image4.emf"/><Relationship Id="rId4" Type="http://schemas.openxmlformats.org/officeDocument/2006/relationships/oleObject" Target="../embeddings/oleObject34.bin"/></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3.xml"/><Relationship Id="rId1" Type="http://schemas.openxmlformats.org/officeDocument/2006/relationships/tags" Target="../tags/tag39.xml"/><Relationship Id="rId5" Type="http://schemas.openxmlformats.org/officeDocument/2006/relationships/image" Target="../media/image4.emf"/><Relationship Id="rId4" Type="http://schemas.openxmlformats.org/officeDocument/2006/relationships/oleObject" Target="../embeddings/oleObject35.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3.xml"/><Relationship Id="rId1" Type="http://schemas.openxmlformats.org/officeDocument/2006/relationships/tags" Target="../tags/tag40.xml"/><Relationship Id="rId5" Type="http://schemas.openxmlformats.org/officeDocument/2006/relationships/image" Target="../media/image4.emf"/><Relationship Id="rId4" Type="http://schemas.openxmlformats.org/officeDocument/2006/relationships/oleObject" Target="../embeddings/oleObject36.bin"/></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23.xml"/><Relationship Id="rId1" Type="http://schemas.openxmlformats.org/officeDocument/2006/relationships/tags" Target="../tags/tag41.xml"/><Relationship Id="rId5" Type="http://schemas.openxmlformats.org/officeDocument/2006/relationships/image" Target="../media/image4.emf"/><Relationship Id="rId4" Type="http://schemas.openxmlformats.org/officeDocument/2006/relationships/oleObject" Target="../embeddings/oleObject37.bin"/></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3.xml"/><Relationship Id="rId1" Type="http://schemas.openxmlformats.org/officeDocument/2006/relationships/tags" Target="../tags/tag42.xml"/><Relationship Id="rId5" Type="http://schemas.openxmlformats.org/officeDocument/2006/relationships/image" Target="../media/image4.emf"/><Relationship Id="rId4" Type="http://schemas.openxmlformats.org/officeDocument/2006/relationships/oleObject" Target="../embeddings/oleObject38.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3.xml"/><Relationship Id="rId1" Type="http://schemas.openxmlformats.org/officeDocument/2006/relationships/tags" Target="../tags/tag43.xml"/><Relationship Id="rId5" Type="http://schemas.openxmlformats.org/officeDocument/2006/relationships/image" Target="../media/image4.emf"/><Relationship Id="rId4" Type="http://schemas.openxmlformats.org/officeDocument/2006/relationships/oleObject" Target="../embeddings/oleObject39.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3.xml"/><Relationship Id="rId1" Type="http://schemas.openxmlformats.org/officeDocument/2006/relationships/tags" Target="../tags/tag44.xml"/><Relationship Id="rId5" Type="http://schemas.openxmlformats.org/officeDocument/2006/relationships/image" Target="../media/image4.emf"/><Relationship Id="rId4" Type="http://schemas.openxmlformats.org/officeDocument/2006/relationships/oleObject" Target="../embeddings/oleObject40.bin"/></Relationships>
</file>

<file path=ppt/slides/_rels/slide4.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svg"/><Relationship Id="rId3" Type="http://schemas.openxmlformats.org/officeDocument/2006/relationships/notesSlide" Target="../notesSlides/notesSlide3.xml"/><Relationship Id="rId7" Type="http://schemas.openxmlformats.org/officeDocument/2006/relationships/image" Target="../media/image11.svg"/><Relationship Id="rId12" Type="http://schemas.openxmlformats.org/officeDocument/2006/relationships/image" Target="../media/image16.png"/><Relationship Id="rId2" Type="http://schemas.openxmlformats.org/officeDocument/2006/relationships/slideLayout" Target="../slideLayouts/slideLayout23.xml"/><Relationship Id="rId1" Type="http://schemas.openxmlformats.org/officeDocument/2006/relationships/tags" Target="../tags/tag8.xml"/><Relationship Id="rId6" Type="http://schemas.openxmlformats.org/officeDocument/2006/relationships/image" Target="../media/image10.png"/><Relationship Id="rId11" Type="http://schemas.openxmlformats.org/officeDocument/2006/relationships/image" Target="../media/image15.svg"/><Relationship Id="rId5" Type="http://schemas.openxmlformats.org/officeDocument/2006/relationships/image" Target="../media/image4.emf"/><Relationship Id="rId15" Type="http://schemas.openxmlformats.org/officeDocument/2006/relationships/image" Target="../media/image19.svg"/><Relationship Id="rId10" Type="http://schemas.openxmlformats.org/officeDocument/2006/relationships/image" Target="../media/image14.png"/><Relationship Id="rId4" Type="http://schemas.openxmlformats.org/officeDocument/2006/relationships/oleObject" Target="../embeddings/oleObject5.bin"/><Relationship Id="rId9" Type="http://schemas.openxmlformats.org/officeDocument/2006/relationships/image" Target="../media/image13.svg"/><Relationship Id="rId14"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3.xml"/><Relationship Id="rId1" Type="http://schemas.openxmlformats.org/officeDocument/2006/relationships/tags" Target="../tags/tag45.xml"/><Relationship Id="rId5" Type="http://schemas.openxmlformats.org/officeDocument/2006/relationships/image" Target="../media/image4.emf"/><Relationship Id="rId4" Type="http://schemas.openxmlformats.org/officeDocument/2006/relationships/oleObject" Target="../embeddings/oleObject41.bin"/></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9.xml"/><Relationship Id="rId1" Type="http://schemas.openxmlformats.org/officeDocument/2006/relationships/tags" Target="../tags/tag46.xml"/><Relationship Id="rId5" Type="http://schemas.openxmlformats.org/officeDocument/2006/relationships/image" Target="../media/image4.emf"/><Relationship Id="rId4" Type="http://schemas.openxmlformats.org/officeDocument/2006/relationships/oleObject" Target="../embeddings/oleObject42.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3.xml"/><Relationship Id="rId1" Type="http://schemas.openxmlformats.org/officeDocument/2006/relationships/tags" Target="../tags/tag47.xml"/><Relationship Id="rId5" Type="http://schemas.openxmlformats.org/officeDocument/2006/relationships/image" Target="../media/image4.emf"/><Relationship Id="rId4" Type="http://schemas.openxmlformats.org/officeDocument/2006/relationships/oleObject" Target="../embeddings/oleObject43.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23.xml"/><Relationship Id="rId1" Type="http://schemas.openxmlformats.org/officeDocument/2006/relationships/tags" Target="../tags/tag48.xml"/><Relationship Id="rId5" Type="http://schemas.openxmlformats.org/officeDocument/2006/relationships/image" Target="../media/image4.emf"/><Relationship Id="rId4" Type="http://schemas.openxmlformats.org/officeDocument/2006/relationships/oleObject" Target="../embeddings/oleObject44.bin"/></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3.xml"/><Relationship Id="rId1" Type="http://schemas.openxmlformats.org/officeDocument/2006/relationships/tags" Target="../tags/tag49.xml"/><Relationship Id="rId5" Type="http://schemas.openxmlformats.org/officeDocument/2006/relationships/image" Target="../media/image4.emf"/><Relationship Id="rId4" Type="http://schemas.openxmlformats.org/officeDocument/2006/relationships/oleObject" Target="../embeddings/oleObject45.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4.emf"/><Relationship Id="rId5" Type="http://schemas.openxmlformats.org/officeDocument/2006/relationships/oleObject" Target="../embeddings/oleObject46.bin"/><Relationship Id="rId4" Type="http://schemas.openxmlformats.org/officeDocument/2006/relationships/notesSlide" Target="../notesSlides/notesSlide4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3.xml"/><Relationship Id="rId1" Type="http://schemas.openxmlformats.org/officeDocument/2006/relationships/tags" Target="../tags/tag9.xml"/><Relationship Id="rId5" Type="http://schemas.openxmlformats.org/officeDocument/2006/relationships/image" Target="../media/image4.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5.xml"/><Relationship Id="rId7" Type="http://schemas.openxmlformats.org/officeDocument/2006/relationships/image" Target="../media/image21.svg"/><Relationship Id="rId2" Type="http://schemas.openxmlformats.org/officeDocument/2006/relationships/slideLayout" Target="../slideLayouts/slideLayout23.xml"/><Relationship Id="rId1" Type="http://schemas.openxmlformats.org/officeDocument/2006/relationships/tags" Target="../tags/tag10.xml"/><Relationship Id="rId6" Type="http://schemas.openxmlformats.org/officeDocument/2006/relationships/image" Target="../media/image20.png"/><Relationship Id="rId5" Type="http://schemas.openxmlformats.org/officeDocument/2006/relationships/image" Target="../media/image4.emf"/><Relationship Id="rId4" Type="http://schemas.openxmlformats.org/officeDocument/2006/relationships/oleObject" Target="../embeddings/oleObject7.bin"/><Relationship Id="rId9" Type="http://schemas.openxmlformats.org/officeDocument/2006/relationships/image" Target="../media/image23.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3.xml"/><Relationship Id="rId1" Type="http://schemas.openxmlformats.org/officeDocument/2006/relationships/tags" Target="../tags/tag11.xml"/><Relationship Id="rId5" Type="http://schemas.openxmlformats.org/officeDocument/2006/relationships/image" Target="../media/image4.emf"/><Relationship Id="rId4" Type="http://schemas.openxmlformats.org/officeDocument/2006/relationships/oleObject" Target="../embeddings/oleObject8.bin"/></Relationships>
</file>

<file path=ppt/slides/_rels/slide8.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notesSlide" Target="../notesSlides/notesSlide7.xml"/><Relationship Id="rId7" Type="http://schemas.openxmlformats.org/officeDocument/2006/relationships/image" Target="../media/image25.svg"/><Relationship Id="rId2" Type="http://schemas.openxmlformats.org/officeDocument/2006/relationships/slideLayout" Target="../slideLayouts/slideLayout23.xml"/><Relationship Id="rId1" Type="http://schemas.openxmlformats.org/officeDocument/2006/relationships/tags" Target="../tags/tag12.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4.emf"/><Relationship Id="rId10" Type="http://schemas.openxmlformats.org/officeDocument/2006/relationships/image" Target="../media/image28.png"/><Relationship Id="rId4" Type="http://schemas.openxmlformats.org/officeDocument/2006/relationships/oleObject" Target="../embeddings/oleObject9.bin"/><Relationship Id="rId9" Type="http://schemas.openxmlformats.org/officeDocument/2006/relationships/image" Target="../media/image27.sv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31.svg"/><Relationship Id="rId2" Type="http://schemas.openxmlformats.org/officeDocument/2006/relationships/slideLayout" Target="../slideLayouts/slideLayout23.xml"/><Relationship Id="rId1" Type="http://schemas.openxmlformats.org/officeDocument/2006/relationships/tags" Target="../tags/tag13.xml"/><Relationship Id="rId6" Type="http://schemas.openxmlformats.org/officeDocument/2006/relationships/image" Target="../media/image30.png"/><Relationship Id="rId5" Type="http://schemas.openxmlformats.org/officeDocument/2006/relationships/image" Target="../media/image4.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96F239B-10B4-B331-AD64-82C7154BA94E}"/>
              </a:ext>
            </a:extLst>
          </p:cNvPr>
          <p:cNvSpPr>
            <a:spLocks noGrp="1"/>
          </p:cNvSpPr>
          <p:nvPr>
            <p:ph type="pic" sz="quarter" idx="13"/>
          </p:nvPr>
        </p:nvSpPr>
        <p:spPr>
          <a:xfrm>
            <a:off x="0" y="-22671"/>
            <a:ext cx="9144000" cy="3132000"/>
          </a:xfrm>
        </p:spPr>
      </p:sp>
      <p:sp>
        <p:nvSpPr>
          <p:cNvPr id="4" name="Title 3">
            <a:extLst>
              <a:ext uri="{FF2B5EF4-FFF2-40B4-BE49-F238E27FC236}">
                <a16:creationId xmlns:a16="http://schemas.microsoft.com/office/drawing/2014/main" id="{E1531B0B-6E9A-6C58-A525-FD3E4314A85F}"/>
              </a:ext>
            </a:extLst>
          </p:cNvPr>
          <p:cNvSpPr>
            <a:spLocks noGrp="1"/>
          </p:cNvSpPr>
          <p:nvPr>
            <p:ph type="ctrTitle"/>
          </p:nvPr>
        </p:nvSpPr>
        <p:spPr/>
        <p:txBody>
          <a:bodyPr vert="horz"/>
          <a:lstStyle/>
          <a:p>
            <a:r>
              <a:rPr lang="en-GB" dirty="0"/>
              <a:t>Munich Re icon and pictogram library</a:t>
            </a:r>
            <a:br>
              <a:rPr lang="en-GB" dirty="0"/>
            </a:br>
            <a:br>
              <a:rPr lang="en-GB" dirty="0"/>
            </a:br>
            <a:endParaRPr lang="en-US" dirty="0"/>
          </a:p>
        </p:txBody>
      </p:sp>
      <p:sp>
        <p:nvSpPr>
          <p:cNvPr id="5" name="Subtitle 4">
            <a:extLst>
              <a:ext uri="{FF2B5EF4-FFF2-40B4-BE49-F238E27FC236}">
                <a16:creationId xmlns:a16="http://schemas.microsoft.com/office/drawing/2014/main" id="{BE191185-6482-1F12-160C-C99B0EB1170A}"/>
              </a:ext>
            </a:extLst>
          </p:cNvPr>
          <p:cNvSpPr>
            <a:spLocks noGrp="1"/>
          </p:cNvSpPr>
          <p:nvPr>
            <p:ph type="subTitle" idx="1"/>
          </p:nvPr>
        </p:nvSpPr>
        <p:spPr/>
        <p:txBody>
          <a:bodyPr/>
          <a:lstStyle/>
          <a:p>
            <a:r>
              <a:rPr lang="en-GB" dirty="0"/>
              <a:t>01/08/2022</a:t>
            </a:r>
          </a:p>
        </p:txBody>
      </p:sp>
      <p:graphicFrame>
        <p:nvGraphicFramePr>
          <p:cNvPr id="3" name="Objekt 2" hidden="1">
            <a:extLst>
              <a:ext uri="{FF2B5EF4-FFF2-40B4-BE49-F238E27FC236}">
                <a16:creationId xmlns:a16="http://schemas.microsoft.com/office/drawing/2014/main" id="{75100256-B820-4CEE-931A-90A74FFEE0BB}"/>
              </a:ext>
            </a:extLst>
          </p:cNvPr>
          <p:cNvGraphicFramePr>
            <a:graphicFrameLocks noChangeAspect="1"/>
          </p:cNvGraphicFramePr>
          <p:nvPr>
            <p:custDataLst>
              <p:tags r:id="rId1"/>
            </p:custDataLst>
            <p:extLst>
              <p:ext uri="{D42A27DB-BD31-4B8C-83A1-F6EECF244321}">
                <p14:modId xmlns:p14="http://schemas.microsoft.com/office/powerpoint/2010/main" val="355212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3" name="Objekt 2" hidden="1">
                        <a:extLst>
                          <a:ext uri="{FF2B5EF4-FFF2-40B4-BE49-F238E27FC236}">
                            <a16:creationId xmlns:a16="http://schemas.microsoft.com/office/drawing/2014/main" id="{75100256-B820-4CEE-931A-90A74FFEE0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feld 1">
            <a:extLst>
              <a:ext uri="{FF2B5EF4-FFF2-40B4-BE49-F238E27FC236}">
                <a16:creationId xmlns:a16="http://schemas.microsoft.com/office/drawing/2014/main" id="{CCBDE88E-37F0-434E-827B-18316E92FC52}"/>
              </a:ext>
            </a:extLst>
          </p:cNvPr>
          <p:cNvSpPr txBox="1"/>
          <p:nvPr/>
        </p:nvSpPr>
        <p:spPr>
          <a:xfrm>
            <a:off x="5468293" y="3069125"/>
            <a:ext cx="272510" cy="218586"/>
          </a:xfrm>
          <a:prstGeom prst="rect">
            <a:avLst/>
          </a:prstGeom>
          <a:noFill/>
          <a:effectLst/>
        </p:spPr>
        <p:txBody>
          <a:bodyPr wrap="none" lIns="0" tIns="0" rIns="0" bIns="0" rtlCol="0">
            <a:spAutoFit/>
          </a:bodyPr>
          <a:lstStyle/>
          <a:p>
            <a:pPr marL="269875" indent="-269875">
              <a:lnSpc>
                <a:spcPct val="110000"/>
              </a:lnSpc>
              <a:buFont typeface="Wingdings" panose="05000000000000000000" pitchFamily="2" charset="2"/>
              <a:buChar char="§"/>
            </a:pPr>
            <a:endParaRPr lang="en-GB" sz="1400" dirty="0">
              <a:solidFill>
                <a:schemeClr val="tx2"/>
              </a:solidFill>
            </a:endParaRPr>
          </a:p>
        </p:txBody>
      </p:sp>
      <p:sp>
        <p:nvSpPr>
          <p:cNvPr id="9" name="Freeform 5">
            <a:extLst>
              <a:ext uri="{FF2B5EF4-FFF2-40B4-BE49-F238E27FC236}">
                <a16:creationId xmlns:a16="http://schemas.microsoft.com/office/drawing/2014/main" id="{E712BB09-4CE1-1287-B111-F1AAD353D775}"/>
              </a:ext>
            </a:extLst>
          </p:cNvPr>
          <p:cNvSpPr>
            <a:spLocks noEditPoints="1"/>
          </p:cNvSpPr>
          <p:nvPr/>
        </p:nvSpPr>
        <p:spPr bwMode="auto">
          <a:xfrm>
            <a:off x="6733309" y="645711"/>
            <a:ext cx="1848414" cy="1848414"/>
          </a:xfrm>
          <a:custGeom>
            <a:avLst/>
            <a:gdLst>
              <a:gd name="T0" fmla="*/ 0 w 1193"/>
              <a:gd name="T1" fmla="*/ 1119 h 1193"/>
              <a:gd name="T2" fmla="*/ 1193 w 1193"/>
              <a:gd name="T3" fmla="*/ 1119 h 1193"/>
              <a:gd name="T4" fmla="*/ 1193 w 1193"/>
              <a:gd name="T5" fmla="*/ 1193 h 1193"/>
              <a:gd name="T6" fmla="*/ 0 w 1193"/>
              <a:gd name="T7" fmla="*/ 1193 h 1193"/>
              <a:gd name="T8" fmla="*/ 0 w 1193"/>
              <a:gd name="T9" fmla="*/ 1119 h 1193"/>
              <a:gd name="T10" fmla="*/ 1044 w 1193"/>
              <a:gd name="T11" fmla="*/ 0 h 1193"/>
              <a:gd name="T12" fmla="*/ 1044 w 1193"/>
              <a:gd name="T13" fmla="*/ 1044 h 1193"/>
              <a:gd name="T14" fmla="*/ 1193 w 1193"/>
              <a:gd name="T15" fmla="*/ 1044 h 1193"/>
              <a:gd name="T16" fmla="*/ 1193 w 1193"/>
              <a:gd name="T17" fmla="*/ 0 h 1193"/>
              <a:gd name="T18" fmla="*/ 1044 w 1193"/>
              <a:gd name="T19" fmla="*/ 0 h 1193"/>
              <a:gd name="T20" fmla="*/ 149 w 1193"/>
              <a:gd name="T21" fmla="*/ 0 h 1193"/>
              <a:gd name="T22" fmla="*/ 0 w 1193"/>
              <a:gd name="T23" fmla="*/ 0 h 1193"/>
              <a:gd name="T24" fmla="*/ 0 w 1193"/>
              <a:gd name="T25" fmla="*/ 1044 h 1193"/>
              <a:gd name="T26" fmla="*/ 149 w 1193"/>
              <a:gd name="T27" fmla="*/ 1044 h 1193"/>
              <a:gd name="T28" fmla="*/ 149 w 1193"/>
              <a:gd name="T29" fmla="*/ 0 h 1193"/>
              <a:gd name="T30" fmla="*/ 373 w 1193"/>
              <a:gd name="T31" fmla="*/ 0 h 1193"/>
              <a:gd name="T32" fmla="*/ 224 w 1193"/>
              <a:gd name="T33" fmla="*/ 0 h 1193"/>
              <a:gd name="T34" fmla="*/ 224 w 1193"/>
              <a:gd name="T35" fmla="*/ 1044 h 1193"/>
              <a:gd name="T36" fmla="*/ 373 w 1193"/>
              <a:gd name="T37" fmla="*/ 1044 h 1193"/>
              <a:gd name="T38" fmla="*/ 373 w 1193"/>
              <a:gd name="T39" fmla="*/ 0 h 1193"/>
              <a:gd name="T40" fmla="*/ 970 w 1193"/>
              <a:gd name="T41" fmla="*/ 998 h 1193"/>
              <a:gd name="T42" fmla="*/ 587 w 1193"/>
              <a:gd name="T43" fmla="*/ 28 h 1193"/>
              <a:gd name="T44" fmla="*/ 448 w 1193"/>
              <a:gd name="T45" fmla="*/ 84 h 1193"/>
              <a:gd name="T46" fmla="*/ 830 w 1193"/>
              <a:gd name="T47" fmla="*/ 1054 h 1193"/>
              <a:gd name="T48" fmla="*/ 970 w 1193"/>
              <a:gd name="T49" fmla="*/ 998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93" h="1193">
                <a:moveTo>
                  <a:pt x="0" y="1119"/>
                </a:moveTo>
                <a:lnTo>
                  <a:pt x="1193" y="1119"/>
                </a:lnTo>
                <a:lnTo>
                  <a:pt x="1193" y="1193"/>
                </a:lnTo>
                <a:lnTo>
                  <a:pt x="0" y="1193"/>
                </a:lnTo>
                <a:lnTo>
                  <a:pt x="0" y="1119"/>
                </a:lnTo>
                <a:close/>
                <a:moveTo>
                  <a:pt x="1044" y="0"/>
                </a:moveTo>
                <a:lnTo>
                  <a:pt x="1044" y="1044"/>
                </a:lnTo>
                <a:lnTo>
                  <a:pt x="1193" y="1044"/>
                </a:lnTo>
                <a:lnTo>
                  <a:pt x="1193" y="0"/>
                </a:lnTo>
                <a:lnTo>
                  <a:pt x="1044" y="0"/>
                </a:lnTo>
                <a:close/>
                <a:moveTo>
                  <a:pt x="149" y="0"/>
                </a:moveTo>
                <a:lnTo>
                  <a:pt x="0" y="0"/>
                </a:lnTo>
                <a:lnTo>
                  <a:pt x="0" y="1044"/>
                </a:lnTo>
                <a:lnTo>
                  <a:pt x="149" y="1044"/>
                </a:lnTo>
                <a:lnTo>
                  <a:pt x="149" y="0"/>
                </a:lnTo>
                <a:close/>
                <a:moveTo>
                  <a:pt x="373" y="0"/>
                </a:moveTo>
                <a:lnTo>
                  <a:pt x="224" y="0"/>
                </a:lnTo>
                <a:lnTo>
                  <a:pt x="224" y="1044"/>
                </a:lnTo>
                <a:lnTo>
                  <a:pt x="373" y="1044"/>
                </a:lnTo>
                <a:lnTo>
                  <a:pt x="373" y="0"/>
                </a:lnTo>
                <a:close/>
                <a:moveTo>
                  <a:pt x="970" y="998"/>
                </a:moveTo>
                <a:lnTo>
                  <a:pt x="587" y="28"/>
                </a:lnTo>
                <a:lnTo>
                  <a:pt x="448" y="84"/>
                </a:lnTo>
                <a:lnTo>
                  <a:pt x="830" y="1054"/>
                </a:lnTo>
                <a:lnTo>
                  <a:pt x="970" y="99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024548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kt 69" hidden="1">
            <a:extLst>
              <a:ext uri="{FF2B5EF4-FFF2-40B4-BE49-F238E27FC236}">
                <a16:creationId xmlns:a16="http://schemas.microsoft.com/office/drawing/2014/main" id="{D2F9D006-2053-4BA3-9EDC-E5FB057BEEC4}"/>
              </a:ext>
            </a:extLst>
          </p:cNvPr>
          <p:cNvGraphicFramePr>
            <a:graphicFrameLocks noChangeAspect="1"/>
          </p:cNvGraphicFramePr>
          <p:nvPr>
            <p:custDataLst>
              <p:tags r:id="rId1"/>
            </p:custDataLst>
            <p:extLst>
              <p:ext uri="{D42A27DB-BD31-4B8C-83A1-F6EECF244321}">
                <p14:modId xmlns:p14="http://schemas.microsoft.com/office/powerpoint/2010/main" val="236158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70" name="Objekt 69" hidden="1">
                        <a:extLst>
                          <a:ext uri="{FF2B5EF4-FFF2-40B4-BE49-F238E27FC236}">
                            <a16:creationId xmlns:a16="http://schemas.microsoft.com/office/drawing/2014/main" id="{D2F9D006-2053-4BA3-9EDC-E5FB057BEE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631A6E5-8E71-41F7-849D-26FFDB1B82DE}"/>
              </a:ext>
            </a:extLst>
          </p:cNvPr>
          <p:cNvSpPr>
            <a:spLocks noGrp="1"/>
          </p:cNvSpPr>
          <p:nvPr>
            <p:ph type="sldNum" sz="quarter" idx="11"/>
          </p:nvPr>
        </p:nvSpPr>
        <p:spPr/>
        <p:txBody>
          <a:bodyPr/>
          <a:lstStyle/>
          <a:p>
            <a:fld id="{D56DB8AA-803C-49D2-90AA-1140CE72DCD7}" type="slidenum">
              <a:rPr lang="en-GB" smtClean="0"/>
              <a:pPr/>
              <a:t>10</a:t>
            </a:fld>
            <a:endParaRPr lang="en-GB" dirty="0"/>
          </a:p>
        </p:txBody>
      </p:sp>
      <p:sp>
        <p:nvSpPr>
          <p:cNvPr id="71" name="Title 38">
            <a:extLst>
              <a:ext uri="{FF2B5EF4-FFF2-40B4-BE49-F238E27FC236}">
                <a16:creationId xmlns:a16="http://schemas.microsoft.com/office/drawing/2014/main" id="{A4325C71-8556-1770-4E40-F340B1A3718C}"/>
              </a:ext>
            </a:extLst>
          </p:cNvPr>
          <p:cNvSpPr>
            <a:spLocks noGrp="1"/>
          </p:cNvSpPr>
          <p:nvPr>
            <p:ph type="title"/>
          </p:nvPr>
        </p:nvSpPr>
        <p:spPr/>
        <p:txBody>
          <a:bodyPr/>
          <a:lstStyle/>
          <a:p>
            <a:r>
              <a:rPr lang="en-US" dirty="0"/>
              <a:t>Munich Re Icons 8/12</a:t>
            </a:r>
            <a:br>
              <a:rPr lang="en-US" dirty="0"/>
            </a:br>
            <a:endParaRPr lang="en-US" dirty="0"/>
          </a:p>
        </p:txBody>
      </p:sp>
      <p:sp>
        <p:nvSpPr>
          <p:cNvPr id="5" name="TextBox 4">
            <a:extLst>
              <a:ext uri="{FF2B5EF4-FFF2-40B4-BE49-F238E27FC236}">
                <a16:creationId xmlns:a16="http://schemas.microsoft.com/office/drawing/2014/main" id="{DA885BF7-206F-44EA-B8AF-73A5627260DC}"/>
              </a:ext>
            </a:extLst>
          </p:cNvPr>
          <p:cNvSpPr txBox="1"/>
          <p:nvPr/>
        </p:nvSpPr>
        <p:spPr>
          <a:xfrm>
            <a:off x="706686" y="2077494"/>
            <a:ext cx="174728" cy="107722"/>
          </a:xfrm>
          <a:prstGeom prst="rect">
            <a:avLst/>
          </a:prstGeom>
          <a:noFill/>
          <a:effectLst/>
        </p:spPr>
        <p:txBody>
          <a:bodyPr wrap="none" lIns="0" tIns="0" rIns="0" bIns="0" rtlCol="0" anchor="t">
            <a:spAutoFit/>
          </a:bodyPr>
          <a:lstStyle/>
          <a:p>
            <a:pPr algn="ctr"/>
            <a:r>
              <a:rPr lang="en-GB" sz="700" dirty="0">
                <a:solidFill>
                  <a:schemeClr val="tx2"/>
                </a:solidFill>
              </a:rPr>
              <a:t>Map</a:t>
            </a:r>
          </a:p>
        </p:txBody>
      </p:sp>
      <p:sp>
        <p:nvSpPr>
          <p:cNvPr id="6" name="TextBox 5">
            <a:extLst>
              <a:ext uri="{FF2B5EF4-FFF2-40B4-BE49-F238E27FC236}">
                <a16:creationId xmlns:a16="http://schemas.microsoft.com/office/drawing/2014/main" id="{C1513E4F-FA14-4CE0-96B3-8C6A81981606}"/>
              </a:ext>
            </a:extLst>
          </p:cNvPr>
          <p:cNvSpPr txBox="1"/>
          <p:nvPr/>
        </p:nvSpPr>
        <p:spPr>
          <a:xfrm>
            <a:off x="640161" y="2899619"/>
            <a:ext cx="307777" cy="107722"/>
          </a:xfrm>
          <a:prstGeom prst="rect">
            <a:avLst/>
          </a:prstGeom>
          <a:noFill/>
          <a:effectLst/>
        </p:spPr>
        <p:txBody>
          <a:bodyPr wrap="none" lIns="0" tIns="0" rIns="0" bIns="0" rtlCol="0" anchor="t">
            <a:spAutoFit/>
          </a:bodyPr>
          <a:lstStyle/>
          <a:p>
            <a:pPr algn="ctr"/>
            <a:r>
              <a:rPr lang="en-GB" sz="700">
                <a:solidFill>
                  <a:schemeClr val="tx2"/>
                </a:solidFill>
              </a:rPr>
              <a:t>Medical</a:t>
            </a:r>
            <a:endParaRPr lang="en-GB" sz="700" dirty="0">
              <a:solidFill>
                <a:schemeClr val="tx2"/>
              </a:solidFill>
            </a:endParaRPr>
          </a:p>
        </p:txBody>
      </p:sp>
      <p:sp>
        <p:nvSpPr>
          <p:cNvPr id="7" name="TextBox 6">
            <a:extLst>
              <a:ext uri="{FF2B5EF4-FFF2-40B4-BE49-F238E27FC236}">
                <a16:creationId xmlns:a16="http://schemas.microsoft.com/office/drawing/2014/main" id="{5C92EBB7-7DEC-4F76-A43E-BD80E48C4A59}"/>
              </a:ext>
            </a:extLst>
          </p:cNvPr>
          <p:cNvSpPr txBox="1"/>
          <p:nvPr/>
        </p:nvSpPr>
        <p:spPr>
          <a:xfrm>
            <a:off x="564821" y="3723675"/>
            <a:ext cx="458459" cy="107722"/>
          </a:xfrm>
          <a:prstGeom prst="rect">
            <a:avLst/>
          </a:prstGeom>
          <a:noFill/>
          <a:effectLst/>
        </p:spPr>
        <p:txBody>
          <a:bodyPr wrap="none" lIns="0" tIns="0" rIns="0" bIns="0" rtlCol="0" anchor="t">
            <a:spAutoFit/>
          </a:bodyPr>
          <a:lstStyle/>
          <a:p>
            <a:pPr algn="ctr"/>
            <a:r>
              <a:rPr lang="en-GB" sz="700" dirty="0">
                <a:solidFill>
                  <a:schemeClr val="tx2"/>
                </a:solidFill>
              </a:rPr>
              <a:t>Menu small</a:t>
            </a:r>
          </a:p>
        </p:txBody>
      </p:sp>
      <p:sp>
        <p:nvSpPr>
          <p:cNvPr id="8" name="TextBox 7">
            <a:extLst>
              <a:ext uri="{FF2B5EF4-FFF2-40B4-BE49-F238E27FC236}">
                <a16:creationId xmlns:a16="http://schemas.microsoft.com/office/drawing/2014/main" id="{1AE52262-D2CA-4474-B9CF-4C6BDDECA750}"/>
              </a:ext>
            </a:extLst>
          </p:cNvPr>
          <p:cNvSpPr txBox="1"/>
          <p:nvPr/>
        </p:nvSpPr>
        <p:spPr>
          <a:xfrm>
            <a:off x="560011" y="4547732"/>
            <a:ext cx="468078" cy="107722"/>
          </a:xfrm>
          <a:prstGeom prst="rect">
            <a:avLst/>
          </a:prstGeom>
          <a:noFill/>
          <a:effectLst/>
        </p:spPr>
        <p:txBody>
          <a:bodyPr wrap="none" lIns="0" tIns="0" rIns="0" bIns="0" rtlCol="0" anchor="t">
            <a:spAutoFit/>
          </a:bodyPr>
          <a:lstStyle/>
          <a:p>
            <a:pPr algn="ctr"/>
            <a:r>
              <a:rPr lang="en-GB" sz="700">
                <a:solidFill>
                  <a:schemeClr val="tx2"/>
                </a:solidFill>
              </a:rPr>
              <a:t>Microphone</a:t>
            </a:r>
            <a:endParaRPr lang="en-GB" sz="700" dirty="0">
              <a:solidFill>
                <a:schemeClr val="tx2"/>
              </a:solidFill>
            </a:endParaRPr>
          </a:p>
        </p:txBody>
      </p:sp>
      <p:sp>
        <p:nvSpPr>
          <p:cNvPr id="9" name="TextBox 8">
            <a:extLst>
              <a:ext uri="{FF2B5EF4-FFF2-40B4-BE49-F238E27FC236}">
                <a16:creationId xmlns:a16="http://schemas.microsoft.com/office/drawing/2014/main" id="{A3177FA0-42E7-4FD1-B201-CC7EE9C4EE72}"/>
              </a:ext>
            </a:extLst>
          </p:cNvPr>
          <p:cNvSpPr txBox="1"/>
          <p:nvPr/>
        </p:nvSpPr>
        <p:spPr>
          <a:xfrm>
            <a:off x="1602239" y="2077494"/>
            <a:ext cx="474490" cy="107722"/>
          </a:xfrm>
          <a:prstGeom prst="rect">
            <a:avLst/>
          </a:prstGeom>
          <a:noFill/>
          <a:effectLst/>
        </p:spPr>
        <p:txBody>
          <a:bodyPr wrap="none" lIns="0" tIns="0" rIns="0" bIns="0" rtlCol="0" anchor="t">
            <a:spAutoFit/>
          </a:bodyPr>
          <a:lstStyle/>
          <a:p>
            <a:pPr algn="ctr"/>
            <a:r>
              <a:rPr lang="en-GB" sz="700">
                <a:solidFill>
                  <a:schemeClr val="tx2"/>
                </a:solidFill>
              </a:rPr>
              <a:t>Map pointer</a:t>
            </a:r>
            <a:endParaRPr lang="en-GB" sz="700" dirty="0">
              <a:solidFill>
                <a:schemeClr val="tx2"/>
              </a:solidFill>
            </a:endParaRPr>
          </a:p>
        </p:txBody>
      </p:sp>
      <p:sp>
        <p:nvSpPr>
          <p:cNvPr id="10" name="TextBox 9">
            <a:extLst>
              <a:ext uri="{FF2B5EF4-FFF2-40B4-BE49-F238E27FC236}">
                <a16:creationId xmlns:a16="http://schemas.microsoft.com/office/drawing/2014/main" id="{B066FEFA-27E7-48C6-8D9F-8E5E01677995}"/>
              </a:ext>
            </a:extLst>
          </p:cNvPr>
          <p:cNvSpPr txBox="1"/>
          <p:nvPr/>
        </p:nvSpPr>
        <p:spPr>
          <a:xfrm>
            <a:off x="1679986" y="2899619"/>
            <a:ext cx="318998" cy="215444"/>
          </a:xfrm>
          <a:prstGeom prst="rect">
            <a:avLst/>
          </a:prstGeom>
          <a:noFill/>
          <a:effectLst/>
        </p:spPr>
        <p:txBody>
          <a:bodyPr wrap="none" lIns="0" tIns="0" rIns="0" bIns="0" rtlCol="0" anchor="t">
            <a:spAutoFit/>
          </a:bodyPr>
          <a:lstStyle/>
          <a:p>
            <a:pPr algn="ctr"/>
            <a:r>
              <a:rPr lang="en-GB" sz="700">
                <a:solidFill>
                  <a:schemeClr val="tx2"/>
                </a:solidFill>
              </a:rPr>
              <a:t>Meeting</a:t>
            </a:r>
            <a:br>
              <a:rPr lang="en-GB" sz="700">
                <a:solidFill>
                  <a:schemeClr val="tx2"/>
                </a:solidFill>
              </a:rPr>
            </a:br>
            <a:r>
              <a:rPr lang="en-GB" sz="700">
                <a:solidFill>
                  <a:schemeClr val="tx2"/>
                </a:solidFill>
              </a:rPr>
              <a:t>point</a:t>
            </a:r>
            <a:endParaRPr lang="en-GB" sz="700" dirty="0">
              <a:solidFill>
                <a:schemeClr val="tx2"/>
              </a:solidFill>
            </a:endParaRPr>
          </a:p>
        </p:txBody>
      </p:sp>
      <p:sp>
        <p:nvSpPr>
          <p:cNvPr id="11" name="TextBox 10">
            <a:extLst>
              <a:ext uri="{FF2B5EF4-FFF2-40B4-BE49-F238E27FC236}">
                <a16:creationId xmlns:a16="http://schemas.microsoft.com/office/drawing/2014/main" id="{6AEE9A34-7FC9-4B08-B340-F38556F1C3B4}"/>
              </a:ext>
            </a:extLst>
          </p:cNvPr>
          <p:cNvSpPr txBox="1"/>
          <p:nvPr/>
        </p:nvSpPr>
        <p:spPr>
          <a:xfrm>
            <a:off x="1657543" y="3723675"/>
            <a:ext cx="363881" cy="107722"/>
          </a:xfrm>
          <a:prstGeom prst="rect">
            <a:avLst/>
          </a:prstGeom>
          <a:noFill/>
          <a:effectLst/>
        </p:spPr>
        <p:txBody>
          <a:bodyPr wrap="none" lIns="0" tIns="0" rIns="0" bIns="0" rtlCol="0" anchor="t">
            <a:spAutoFit/>
          </a:bodyPr>
          <a:lstStyle/>
          <a:p>
            <a:pPr algn="ctr"/>
            <a:r>
              <a:rPr lang="en-GB" sz="700" dirty="0">
                <a:solidFill>
                  <a:schemeClr val="tx2"/>
                </a:solidFill>
              </a:rPr>
              <a:t>Message</a:t>
            </a:r>
          </a:p>
        </p:txBody>
      </p:sp>
      <p:sp>
        <p:nvSpPr>
          <p:cNvPr id="12" name="TextBox 11">
            <a:extLst>
              <a:ext uri="{FF2B5EF4-FFF2-40B4-BE49-F238E27FC236}">
                <a16:creationId xmlns:a16="http://schemas.microsoft.com/office/drawing/2014/main" id="{01FB0292-2322-446A-94DF-6096FD23EA75}"/>
              </a:ext>
            </a:extLst>
          </p:cNvPr>
          <p:cNvSpPr txBox="1"/>
          <p:nvPr/>
        </p:nvSpPr>
        <p:spPr>
          <a:xfrm>
            <a:off x="1663153" y="4547732"/>
            <a:ext cx="352662" cy="107722"/>
          </a:xfrm>
          <a:prstGeom prst="rect">
            <a:avLst/>
          </a:prstGeom>
          <a:noFill/>
          <a:effectLst/>
        </p:spPr>
        <p:txBody>
          <a:bodyPr wrap="none" lIns="0" tIns="0" rIns="0" bIns="0" rtlCol="0" anchor="t">
            <a:spAutoFit/>
          </a:bodyPr>
          <a:lstStyle/>
          <a:p>
            <a:pPr algn="ctr"/>
            <a:r>
              <a:rPr lang="en-GB" sz="700" dirty="0">
                <a:solidFill>
                  <a:schemeClr val="tx2"/>
                </a:solidFill>
              </a:rPr>
              <a:t>Minimize</a:t>
            </a:r>
          </a:p>
        </p:txBody>
      </p:sp>
      <p:sp>
        <p:nvSpPr>
          <p:cNvPr id="13" name="TextBox 12">
            <a:extLst>
              <a:ext uri="{FF2B5EF4-FFF2-40B4-BE49-F238E27FC236}">
                <a16:creationId xmlns:a16="http://schemas.microsoft.com/office/drawing/2014/main" id="{2CD18721-1251-4994-8B69-0513406CAEDB}"/>
              </a:ext>
            </a:extLst>
          </p:cNvPr>
          <p:cNvSpPr txBox="1"/>
          <p:nvPr/>
        </p:nvSpPr>
        <p:spPr>
          <a:xfrm>
            <a:off x="2695762" y="2077494"/>
            <a:ext cx="378310" cy="107722"/>
          </a:xfrm>
          <a:prstGeom prst="rect">
            <a:avLst/>
          </a:prstGeom>
          <a:noFill/>
          <a:effectLst/>
        </p:spPr>
        <p:txBody>
          <a:bodyPr wrap="none" lIns="0" tIns="0" rIns="0" bIns="0" rtlCol="0" anchor="t">
            <a:spAutoFit/>
          </a:bodyPr>
          <a:lstStyle/>
          <a:p>
            <a:pPr algn="ctr"/>
            <a:r>
              <a:rPr lang="en-GB" sz="700">
                <a:solidFill>
                  <a:schemeClr val="tx2"/>
                </a:solidFill>
              </a:rPr>
              <a:t>Maximize</a:t>
            </a:r>
            <a:endParaRPr lang="en-GB" sz="700" dirty="0">
              <a:solidFill>
                <a:schemeClr val="tx2"/>
              </a:solidFill>
            </a:endParaRPr>
          </a:p>
        </p:txBody>
      </p:sp>
      <p:sp>
        <p:nvSpPr>
          <p:cNvPr id="14" name="TextBox 13">
            <a:extLst>
              <a:ext uri="{FF2B5EF4-FFF2-40B4-BE49-F238E27FC236}">
                <a16:creationId xmlns:a16="http://schemas.microsoft.com/office/drawing/2014/main" id="{E388236B-6878-427B-AF32-6FB21C829700}"/>
              </a:ext>
            </a:extLst>
          </p:cNvPr>
          <p:cNvSpPr txBox="1"/>
          <p:nvPr/>
        </p:nvSpPr>
        <p:spPr>
          <a:xfrm>
            <a:off x="2719809" y="2899619"/>
            <a:ext cx="330219" cy="107722"/>
          </a:xfrm>
          <a:prstGeom prst="rect">
            <a:avLst/>
          </a:prstGeom>
          <a:noFill/>
          <a:effectLst/>
        </p:spPr>
        <p:txBody>
          <a:bodyPr wrap="none" lIns="0" tIns="0" rIns="0" bIns="0" rtlCol="0" anchor="t">
            <a:spAutoFit/>
          </a:bodyPr>
          <a:lstStyle/>
          <a:p>
            <a:pPr algn="ctr"/>
            <a:r>
              <a:rPr lang="en-GB" sz="700" dirty="0">
                <a:solidFill>
                  <a:schemeClr val="tx2"/>
                </a:solidFill>
              </a:rPr>
              <a:t>Member</a:t>
            </a:r>
          </a:p>
        </p:txBody>
      </p:sp>
      <p:sp>
        <p:nvSpPr>
          <p:cNvPr id="15" name="TextBox 14">
            <a:extLst>
              <a:ext uri="{FF2B5EF4-FFF2-40B4-BE49-F238E27FC236}">
                <a16:creationId xmlns:a16="http://schemas.microsoft.com/office/drawing/2014/main" id="{CBAEB6C6-7BA9-4A29-934A-6F9CB4CC603A}"/>
              </a:ext>
            </a:extLst>
          </p:cNvPr>
          <p:cNvSpPr txBox="1"/>
          <p:nvPr/>
        </p:nvSpPr>
        <p:spPr>
          <a:xfrm>
            <a:off x="2593972" y="3723675"/>
            <a:ext cx="581891" cy="107722"/>
          </a:xfrm>
          <a:prstGeom prst="rect">
            <a:avLst/>
          </a:prstGeom>
          <a:noFill/>
          <a:effectLst/>
        </p:spPr>
        <p:txBody>
          <a:bodyPr wrap="none" lIns="0" tIns="0" rIns="0" bIns="0" rtlCol="0" anchor="t">
            <a:spAutoFit/>
          </a:bodyPr>
          <a:lstStyle/>
          <a:p>
            <a:pPr algn="ctr"/>
            <a:r>
              <a:rPr lang="en-GB" sz="700" dirty="0">
                <a:solidFill>
                  <a:schemeClr val="tx2"/>
                </a:solidFill>
              </a:rPr>
              <a:t>Meteorological</a:t>
            </a:r>
          </a:p>
        </p:txBody>
      </p:sp>
      <p:sp>
        <p:nvSpPr>
          <p:cNvPr id="16" name="TextBox 15">
            <a:extLst>
              <a:ext uri="{FF2B5EF4-FFF2-40B4-BE49-F238E27FC236}">
                <a16:creationId xmlns:a16="http://schemas.microsoft.com/office/drawing/2014/main" id="{76CA810A-9954-402B-8280-2445D5EE0CC1}"/>
              </a:ext>
            </a:extLst>
          </p:cNvPr>
          <p:cNvSpPr txBox="1"/>
          <p:nvPr/>
        </p:nvSpPr>
        <p:spPr>
          <a:xfrm>
            <a:off x="2753472" y="4547732"/>
            <a:ext cx="262892" cy="107722"/>
          </a:xfrm>
          <a:prstGeom prst="rect">
            <a:avLst/>
          </a:prstGeom>
          <a:noFill/>
          <a:effectLst/>
        </p:spPr>
        <p:txBody>
          <a:bodyPr wrap="none" lIns="0" tIns="0" rIns="0" bIns="0" rtlCol="0" anchor="t">
            <a:spAutoFit/>
          </a:bodyPr>
          <a:lstStyle/>
          <a:p>
            <a:pPr algn="ctr"/>
            <a:r>
              <a:rPr lang="en-GB" sz="700">
                <a:solidFill>
                  <a:schemeClr val="tx2"/>
                </a:solidFill>
              </a:rPr>
              <a:t>Mining</a:t>
            </a:r>
            <a:endParaRPr lang="en-GB" sz="700" dirty="0">
              <a:solidFill>
                <a:schemeClr val="tx2"/>
              </a:solidFill>
            </a:endParaRPr>
          </a:p>
        </p:txBody>
      </p:sp>
      <p:sp>
        <p:nvSpPr>
          <p:cNvPr id="17" name="TextBox 16">
            <a:extLst>
              <a:ext uri="{FF2B5EF4-FFF2-40B4-BE49-F238E27FC236}">
                <a16:creationId xmlns:a16="http://schemas.microsoft.com/office/drawing/2014/main" id="{420129FF-7022-4225-A6A3-8597D981E45E}"/>
              </a:ext>
            </a:extLst>
          </p:cNvPr>
          <p:cNvSpPr txBox="1"/>
          <p:nvPr/>
        </p:nvSpPr>
        <p:spPr>
          <a:xfrm>
            <a:off x="3795697" y="2077494"/>
            <a:ext cx="269304" cy="107722"/>
          </a:xfrm>
          <a:prstGeom prst="rect">
            <a:avLst/>
          </a:prstGeom>
          <a:noFill/>
          <a:effectLst/>
        </p:spPr>
        <p:txBody>
          <a:bodyPr wrap="none" lIns="0" tIns="0" rIns="0" bIns="0" rtlCol="0" anchor="t">
            <a:spAutoFit/>
          </a:bodyPr>
          <a:lstStyle/>
          <a:p>
            <a:pPr algn="ctr"/>
            <a:r>
              <a:rPr lang="en-GB" sz="700" dirty="0">
                <a:solidFill>
                  <a:schemeClr val="tx2"/>
                </a:solidFill>
              </a:rPr>
              <a:t>Maybe</a:t>
            </a:r>
          </a:p>
        </p:txBody>
      </p:sp>
      <p:sp>
        <p:nvSpPr>
          <p:cNvPr id="18" name="TextBox 17">
            <a:extLst>
              <a:ext uri="{FF2B5EF4-FFF2-40B4-BE49-F238E27FC236}">
                <a16:creationId xmlns:a16="http://schemas.microsoft.com/office/drawing/2014/main" id="{6EB20312-AC66-47DB-ACDC-41A0813FF753}"/>
              </a:ext>
            </a:extLst>
          </p:cNvPr>
          <p:cNvSpPr txBox="1"/>
          <p:nvPr/>
        </p:nvSpPr>
        <p:spPr>
          <a:xfrm>
            <a:off x="3818140" y="2899619"/>
            <a:ext cx="224420" cy="107722"/>
          </a:xfrm>
          <a:prstGeom prst="rect">
            <a:avLst/>
          </a:prstGeom>
          <a:noFill/>
          <a:effectLst/>
        </p:spPr>
        <p:txBody>
          <a:bodyPr wrap="none" lIns="0" tIns="0" rIns="0" bIns="0" rtlCol="0" anchor="t">
            <a:spAutoFit/>
          </a:bodyPr>
          <a:lstStyle/>
          <a:p>
            <a:pPr algn="ctr"/>
            <a:r>
              <a:rPr lang="en-GB" sz="700" dirty="0">
                <a:solidFill>
                  <a:schemeClr val="tx2"/>
                </a:solidFill>
              </a:rPr>
              <a:t>Menu</a:t>
            </a:r>
          </a:p>
        </p:txBody>
      </p:sp>
      <p:sp>
        <p:nvSpPr>
          <p:cNvPr id="19" name="TextBox 18">
            <a:extLst>
              <a:ext uri="{FF2B5EF4-FFF2-40B4-BE49-F238E27FC236}">
                <a16:creationId xmlns:a16="http://schemas.microsoft.com/office/drawing/2014/main" id="{DC8F1109-C79C-44A7-815E-D8B4B9AE6DF0}"/>
              </a:ext>
            </a:extLst>
          </p:cNvPr>
          <p:cNvSpPr txBox="1"/>
          <p:nvPr/>
        </p:nvSpPr>
        <p:spPr>
          <a:xfrm>
            <a:off x="3606544" y="3723675"/>
            <a:ext cx="647614" cy="107722"/>
          </a:xfrm>
          <a:prstGeom prst="rect">
            <a:avLst/>
          </a:prstGeom>
          <a:noFill/>
          <a:effectLst/>
        </p:spPr>
        <p:txBody>
          <a:bodyPr wrap="none" lIns="0" tIns="0" rIns="0" bIns="0" rtlCol="0" anchor="t">
            <a:spAutoFit/>
          </a:bodyPr>
          <a:lstStyle/>
          <a:p>
            <a:pPr algn="ctr"/>
            <a:r>
              <a:rPr lang="en-GB" sz="700" dirty="0">
                <a:solidFill>
                  <a:schemeClr val="tx2"/>
                </a:solidFill>
              </a:rPr>
              <a:t>Microeconomics</a:t>
            </a:r>
          </a:p>
        </p:txBody>
      </p:sp>
      <p:sp>
        <p:nvSpPr>
          <p:cNvPr id="20" name="TextBox 19">
            <a:extLst>
              <a:ext uri="{FF2B5EF4-FFF2-40B4-BE49-F238E27FC236}">
                <a16:creationId xmlns:a16="http://schemas.microsoft.com/office/drawing/2014/main" id="{FE0243D5-0158-4771-8D16-6111B249D208}"/>
              </a:ext>
            </a:extLst>
          </p:cNvPr>
          <p:cNvSpPr txBox="1"/>
          <p:nvPr/>
        </p:nvSpPr>
        <p:spPr>
          <a:xfrm>
            <a:off x="3657040" y="4547732"/>
            <a:ext cx="546625" cy="107722"/>
          </a:xfrm>
          <a:prstGeom prst="rect">
            <a:avLst/>
          </a:prstGeom>
          <a:noFill/>
          <a:effectLst/>
        </p:spPr>
        <p:txBody>
          <a:bodyPr wrap="none" lIns="0" tIns="0" rIns="0" bIns="0" rtlCol="0" anchor="t">
            <a:spAutoFit/>
          </a:bodyPr>
          <a:lstStyle/>
          <a:p>
            <a:pPr algn="ctr"/>
            <a:r>
              <a:rPr lang="en-GB" sz="700" dirty="0">
                <a:solidFill>
                  <a:schemeClr val="tx2"/>
                </a:solidFill>
              </a:rPr>
              <a:t>Mobile Phone</a:t>
            </a:r>
          </a:p>
        </p:txBody>
      </p:sp>
      <p:sp>
        <p:nvSpPr>
          <p:cNvPr id="21" name="TextBox 20">
            <a:extLst>
              <a:ext uri="{FF2B5EF4-FFF2-40B4-BE49-F238E27FC236}">
                <a16:creationId xmlns:a16="http://schemas.microsoft.com/office/drawing/2014/main" id="{A0230277-B8E7-4621-BDB5-74129920AF95}"/>
              </a:ext>
            </a:extLst>
          </p:cNvPr>
          <p:cNvSpPr txBox="1"/>
          <p:nvPr/>
        </p:nvSpPr>
        <p:spPr>
          <a:xfrm>
            <a:off x="5061372" y="2077494"/>
            <a:ext cx="302968" cy="107722"/>
          </a:xfrm>
          <a:prstGeom prst="rect">
            <a:avLst/>
          </a:prstGeom>
          <a:noFill/>
          <a:effectLst/>
        </p:spPr>
        <p:txBody>
          <a:bodyPr wrap="none" lIns="0" tIns="0" rIns="0" bIns="0" rtlCol="0" anchor="t">
            <a:spAutoFit/>
          </a:bodyPr>
          <a:lstStyle/>
          <a:p>
            <a:pPr algn="ctr"/>
            <a:r>
              <a:rPr lang="en-GB" sz="700" dirty="0">
                <a:solidFill>
                  <a:schemeClr val="tx2"/>
                </a:solidFill>
              </a:rPr>
              <a:t>Mobility</a:t>
            </a:r>
          </a:p>
        </p:txBody>
      </p:sp>
      <p:sp>
        <p:nvSpPr>
          <p:cNvPr id="22" name="TextBox 21">
            <a:extLst>
              <a:ext uri="{FF2B5EF4-FFF2-40B4-BE49-F238E27FC236}">
                <a16:creationId xmlns:a16="http://schemas.microsoft.com/office/drawing/2014/main" id="{211443C0-3D48-4F50-BBB0-C8D351EDA2C5}"/>
              </a:ext>
            </a:extLst>
          </p:cNvPr>
          <p:cNvSpPr txBox="1"/>
          <p:nvPr/>
        </p:nvSpPr>
        <p:spPr>
          <a:xfrm>
            <a:off x="5040533" y="2899619"/>
            <a:ext cx="344646" cy="107722"/>
          </a:xfrm>
          <a:prstGeom prst="rect">
            <a:avLst/>
          </a:prstGeom>
          <a:noFill/>
          <a:effectLst/>
        </p:spPr>
        <p:txBody>
          <a:bodyPr wrap="none" lIns="0" tIns="0" rIns="0" bIns="0" rtlCol="0" anchor="t">
            <a:spAutoFit/>
          </a:bodyPr>
          <a:lstStyle/>
          <a:p>
            <a:pPr algn="ctr"/>
            <a:r>
              <a:rPr lang="en-GB" sz="700" dirty="0">
                <a:solidFill>
                  <a:schemeClr val="tx2"/>
                </a:solidFill>
              </a:rPr>
              <a:t>Money 1</a:t>
            </a:r>
          </a:p>
        </p:txBody>
      </p:sp>
      <p:sp>
        <p:nvSpPr>
          <p:cNvPr id="23" name="TextBox 22">
            <a:extLst>
              <a:ext uri="{FF2B5EF4-FFF2-40B4-BE49-F238E27FC236}">
                <a16:creationId xmlns:a16="http://schemas.microsoft.com/office/drawing/2014/main" id="{7636EC71-97CD-4B34-808E-D366D7F99A4B}"/>
              </a:ext>
            </a:extLst>
          </p:cNvPr>
          <p:cNvSpPr txBox="1"/>
          <p:nvPr/>
        </p:nvSpPr>
        <p:spPr>
          <a:xfrm>
            <a:off x="4915498" y="3723675"/>
            <a:ext cx="594715" cy="107722"/>
          </a:xfrm>
          <a:prstGeom prst="rect">
            <a:avLst/>
          </a:prstGeom>
          <a:noFill/>
          <a:effectLst/>
        </p:spPr>
        <p:txBody>
          <a:bodyPr wrap="none" lIns="0" tIns="0" rIns="0" bIns="0" rtlCol="0" anchor="t">
            <a:spAutoFit/>
          </a:bodyPr>
          <a:lstStyle/>
          <a:p>
            <a:pPr algn="ctr"/>
            <a:r>
              <a:rPr lang="en-GB" sz="700" dirty="0">
                <a:solidFill>
                  <a:schemeClr val="tx2"/>
                </a:solidFill>
              </a:rPr>
              <a:t>More options 2</a:t>
            </a:r>
          </a:p>
        </p:txBody>
      </p:sp>
      <p:sp>
        <p:nvSpPr>
          <p:cNvPr id="24" name="TextBox 23">
            <a:extLst>
              <a:ext uri="{FF2B5EF4-FFF2-40B4-BE49-F238E27FC236}">
                <a16:creationId xmlns:a16="http://schemas.microsoft.com/office/drawing/2014/main" id="{BBB6C869-6368-4F75-AE8D-5508D87C8354}"/>
              </a:ext>
            </a:extLst>
          </p:cNvPr>
          <p:cNvSpPr txBox="1"/>
          <p:nvPr/>
        </p:nvSpPr>
        <p:spPr>
          <a:xfrm>
            <a:off x="4891454" y="4547732"/>
            <a:ext cx="642805" cy="107722"/>
          </a:xfrm>
          <a:prstGeom prst="rect">
            <a:avLst/>
          </a:prstGeom>
          <a:noFill/>
          <a:effectLst/>
        </p:spPr>
        <p:txBody>
          <a:bodyPr wrap="none" lIns="0" tIns="0" rIns="0" bIns="0" rtlCol="0" anchor="t">
            <a:spAutoFit/>
          </a:bodyPr>
          <a:lstStyle/>
          <a:p>
            <a:pPr algn="ctr"/>
            <a:r>
              <a:rPr lang="en-GB" sz="700" dirty="0">
                <a:solidFill>
                  <a:schemeClr val="tx2"/>
                </a:solidFill>
              </a:rPr>
              <a:t>Office building 1</a:t>
            </a:r>
          </a:p>
        </p:txBody>
      </p:sp>
      <p:sp>
        <p:nvSpPr>
          <p:cNvPr id="25" name="TextBox 24">
            <a:extLst>
              <a:ext uri="{FF2B5EF4-FFF2-40B4-BE49-F238E27FC236}">
                <a16:creationId xmlns:a16="http://schemas.microsoft.com/office/drawing/2014/main" id="{DCB105B3-B2CD-4D2C-8D53-F5AEC114EBBE}"/>
              </a:ext>
            </a:extLst>
          </p:cNvPr>
          <p:cNvSpPr txBox="1"/>
          <p:nvPr/>
        </p:nvSpPr>
        <p:spPr>
          <a:xfrm>
            <a:off x="6033869" y="2077494"/>
            <a:ext cx="448842" cy="215444"/>
          </a:xfrm>
          <a:prstGeom prst="rect">
            <a:avLst/>
          </a:prstGeom>
          <a:noFill/>
          <a:effectLst/>
        </p:spPr>
        <p:txBody>
          <a:bodyPr wrap="none" lIns="0" tIns="0" rIns="0" bIns="0" rtlCol="0" anchor="t">
            <a:spAutoFit/>
          </a:bodyPr>
          <a:lstStyle/>
          <a:p>
            <a:pPr algn="ctr"/>
            <a:r>
              <a:rPr lang="en-GB" sz="700">
                <a:solidFill>
                  <a:schemeClr val="tx2"/>
                </a:solidFill>
              </a:rPr>
              <a:t>Moderation</a:t>
            </a:r>
            <a:br>
              <a:rPr lang="en-GB" sz="700">
                <a:solidFill>
                  <a:schemeClr val="tx2"/>
                </a:solidFill>
              </a:rPr>
            </a:br>
            <a:r>
              <a:rPr lang="en-GB" sz="700">
                <a:solidFill>
                  <a:schemeClr val="tx2"/>
                </a:solidFill>
              </a:rPr>
              <a:t>material</a:t>
            </a:r>
            <a:endParaRPr lang="en-GB" sz="700" dirty="0" err="1">
              <a:solidFill>
                <a:schemeClr val="tx2"/>
              </a:solidFill>
            </a:endParaRPr>
          </a:p>
        </p:txBody>
      </p:sp>
      <p:sp>
        <p:nvSpPr>
          <p:cNvPr id="26" name="TextBox 25">
            <a:extLst>
              <a:ext uri="{FF2B5EF4-FFF2-40B4-BE49-F238E27FC236}">
                <a16:creationId xmlns:a16="http://schemas.microsoft.com/office/drawing/2014/main" id="{B3DFE768-DD77-4428-9CFF-572B740F365C}"/>
              </a:ext>
            </a:extLst>
          </p:cNvPr>
          <p:cNvSpPr txBox="1"/>
          <p:nvPr/>
        </p:nvSpPr>
        <p:spPr>
          <a:xfrm>
            <a:off x="6085968" y="2899619"/>
            <a:ext cx="344646" cy="107722"/>
          </a:xfrm>
          <a:prstGeom prst="rect">
            <a:avLst/>
          </a:prstGeom>
          <a:noFill/>
          <a:effectLst/>
        </p:spPr>
        <p:txBody>
          <a:bodyPr wrap="none" lIns="0" tIns="0" rIns="0" bIns="0" rtlCol="0" anchor="t">
            <a:spAutoFit/>
          </a:bodyPr>
          <a:lstStyle/>
          <a:p>
            <a:pPr algn="ctr"/>
            <a:r>
              <a:rPr lang="en-GB" sz="700" dirty="0">
                <a:solidFill>
                  <a:schemeClr val="tx2"/>
                </a:solidFill>
              </a:rPr>
              <a:t>Money 2</a:t>
            </a:r>
          </a:p>
        </p:txBody>
      </p:sp>
      <p:sp>
        <p:nvSpPr>
          <p:cNvPr id="27" name="TextBox 26">
            <a:extLst>
              <a:ext uri="{FF2B5EF4-FFF2-40B4-BE49-F238E27FC236}">
                <a16:creationId xmlns:a16="http://schemas.microsoft.com/office/drawing/2014/main" id="{2D5A3290-4CD7-4B74-B53B-DAB2309E5014}"/>
              </a:ext>
            </a:extLst>
          </p:cNvPr>
          <p:cNvSpPr txBox="1"/>
          <p:nvPr/>
        </p:nvSpPr>
        <p:spPr>
          <a:xfrm>
            <a:off x="6019442" y="3723675"/>
            <a:ext cx="477696" cy="107722"/>
          </a:xfrm>
          <a:prstGeom prst="rect">
            <a:avLst/>
          </a:prstGeom>
          <a:noFill/>
          <a:effectLst/>
        </p:spPr>
        <p:txBody>
          <a:bodyPr wrap="none" lIns="0" tIns="0" rIns="0" bIns="0" rtlCol="0" anchor="t">
            <a:spAutoFit/>
          </a:bodyPr>
          <a:lstStyle/>
          <a:p>
            <a:pPr algn="ctr"/>
            <a:r>
              <a:rPr lang="en-GB" sz="700" dirty="0">
                <a:solidFill>
                  <a:schemeClr val="tx2"/>
                </a:solidFill>
              </a:rPr>
              <a:t>Movie video</a:t>
            </a:r>
          </a:p>
        </p:txBody>
      </p:sp>
      <p:sp>
        <p:nvSpPr>
          <p:cNvPr id="28" name="TextBox 27">
            <a:extLst>
              <a:ext uri="{FF2B5EF4-FFF2-40B4-BE49-F238E27FC236}">
                <a16:creationId xmlns:a16="http://schemas.microsoft.com/office/drawing/2014/main" id="{E95AB355-4617-4F53-9922-83DE204562AD}"/>
              </a:ext>
            </a:extLst>
          </p:cNvPr>
          <p:cNvSpPr txBox="1"/>
          <p:nvPr/>
        </p:nvSpPr>
        <p:spPr>
          <a:xfrm>
            <a:off x="5936887" y="4547732"/>
            <a:ext cx="642805" cy="107722"/>
          </a:xfrm>
          <a:prstGeom prst="rect">
            <a:avLst/>
          </a:prstGeom>
          <a:noFill/>
          <a:effectLst/>
        </p:spPr>
        <p:txBody>
          <a:bodyPr wrap="none" lIns="0" tIns="0" rIns="0" bIns="0" rtlCol="0" anchor="t">
            <a:spAutoFit/>
          </a:bodyPr>
          <a:lstStyle/>
          <a:p>
            <a:pPr algn="ctr"/>
            <a:r>
              <a:rPr lang="en-GB" sz="700">
                <a:solidFill>
                  <a:schemeClr val="tx2"/>
                </a:solidFill>
              </a:rPr>
              <a:t>Office building 2</a:t>
            </a:r>
            <a:endParaRPr lang="en-GB" sz="700" dirty="0">
              <a:solidFill>
                <a:schemeClr val="tx2"/>
              </a:solidFill>
            </a:endParaRPr>
          </a:p>
        </p:txBody>
      </p:sp>
      <p:sp>
        <p:nvSpPr>
          <p:cNvPr id="29" name="TextBox 28">
            <a:extLst>
              <a:ext uri="{FF2B5EF4-FFF2-40B4-BE49-F238E27FC236}">
                <a16:creationId xmlns:a16="http://schemas.microsoft.com/office/drawing/2014/main" id="{FD369C38-208F-4D58-9639-690C54E05CD7}"/>
              </a:ext>
            </a:extLst>
          </p:cNvPr>
          <p:cNvSpPr txBox="1"/>
          <p:nvPr/>
        </p:nvSpPr>
        <p:spPr>
          <a:xfrm>
            <a:off x="7206743" y="2077494"/>
            <a:ext cx="193963" cy="107722"/>
          </a:xfrm>
          <a:prstGeom prst="rect">
            <a:avLst/>
          </a:prstGeom>
          <a:noFill/>
          <a:effectLst/>
        </p:spPr>
        <p:txBody>
          <a:bodyPr wrap="none" lIns="0" tIns="0" rIns="0" bIns="0" rtlCol="0" anchor="t">
            <a:spAutoFit/>
          </a:bodyPr>
          <a:lstStyle/>
          <a:p>
            <a:pPr algn="ctr"/>
            <a:r>
              <a:rPr lang="en-GB" sz="700" dirty="0" err="1">
                <a:solidFill>
                  <a:schemeClr val="tx2"/>
                </a:solidFill>
              </a:rPr>
              <a:t>Mold</a:t>
            </a:r>
            <a:endParaRPr lang="en-GB" sz="700" dirty="0">
              <a:solidFill>
                <a:schemeClr val="tx2"/>
              </a:solidFill>
            </a:endParaRPr>
          </a:p>
        </p:txBody>
      </p:sp>
      <p:sp>
        <p:nvSpPr>
          <p:cNvPr id="30" name="TextBox 29">
            <a:extLst>
              <a:ext uri="{FF2B5EF4-FFF2-40B4-BE49-F238E27FC236}">
                <a16:creationId xmlns:a16="http://schemas.microsoft.com/office/drawing/2014/main" id="{CDEFDE2D-7192-4925-8430-FDD466438096}"/>
              </a:ext>
            </a:extLst>
          </p:cNvPr>
          <p:cNvSpPr txBox="1"/>
          <p:nvPr/>
        </p:nvSpPr>
        <p:spPr>
          <a:xfrm>
            <a:off x="7153844" y="2899619"/>
            <a:ext cx="299761" cy="107722"/>
          </a:xfrm>
          <a:prstGeom prst="rect">
            <a:avLst/>
          </a:prstGeom>
          <a:noFill/>
          <a:effectLst/>
        </p:spPr>
        <p:txBody>
          <a:bodyPr wrap="none" lIns="0" tIns="0" rIns="0" bIns="0" rtlCol="0" anchor="t">
            <a:spAutoFit/>
          </a:bodyPr>
          <a:lstStyle/>
          <a:p>
            <a:pPr algn="ctr"/>
            <a:r>
              <a:rPr lang="en-GB" sz="700">
                <a:solidFill>
                  <a:schemeClr val="tx2"/>
                </a:solidFill>
              </a:rPr>
              <a:t>Monitor</a:t>
            </a:r>
            <a:endParaRPr lang="en-GB" sz="700" dirty="0">
              <a:solidFill>
                <a:schemeClr val="tx2"/>
              </a:solidFill>
            </a:endParaRPr>
          </a:p>
        </p:txBody>
      </p:sp>
      <p:sp>
        <p:nvSpPr>
          <p:cNvPr id="31" name="TextBox 30">
            <a:extLst>
              <a:ext uri="{FF2B5EF4-FFF2-40B4-BE49-F238E27FC236}">
                <a16:creationId xmlns:a16="http://schemas.microsoft.com/office/drawing/2014/main" id="{D71F0E3A-1518-403D-87A7-64C22495F7AF}"/>
              </a:ext>
            </a:extLst>
          </p:cNvPr>
          <p:cNvSpPr txBox="1"/>
          <p:nvPr/>
        </p:nvSpPr>
        <p:spPr>
          <a:xfrm>
            <a:off x="7192315" y="3723675"/>
            <a:ext cx="222818" cy="107722"/>
          </a:xfrm>
          <a:prstGeom prst="rect">
            <a:avLst/>
          </a:prstGeom>
          <a:noFill/>
          <a:effectLst/>
        </p:spPr>
        <p:txBody>
          <a:bodyPr wrap="none" lIns="0" tIns="0" rIns="0" bIns="0" rtlCol="0" anchor="t">
            <a:spAutoFit/>
          </a:bodyPr>
          <a:lstStyle/>
          <a:p>
            <a:pPr algn="ctr"/>
            <a:r>
              <a:rPr lang="en-GB" sz="700">
                <a:solidFill>
                  <a:schemeClr val="tx2"/>
                </a:solidFill>
              </a:rPr>
              <a:t>News</a:t>
            </a:r>
            <a:endParaRPr lang="en-GB" sz="700" dirty="0">
              <a:solidFill>
                <a:schemeClr val="tx2"/>
              </a:solidFill>
            </a:endParaRPr>
          </a:p>
        </p:txBody>
      </p:sp>
      <p:sp>
        <p:nvSpPr>
          <p:cNvPr id="32" name="TextBox 31">
            <a:extLst>
              <a:ext uri="{FF2B5EF4-FFF2-40B4-BE49-F238E27FC236}">
                <a16:creationId xmlns:a16="http://schemas.microsoft.com/office/drawing/2014/main" id="{EAB7B0F4-FAAE-4FB7-A369-306EEC3CCA1F}"/>
              </a:ext>
            </a:extLst>
          </p:cNvPr>
          <p:cNvSpPr txBox="1"/>
          <p:nvPr/>
        </p:nvSpPr>
        <p:spPr>
          <a:xfrm>
            <a:off x="7173881" y="4547732"/>
            <a:ext cx="259686" cy="107722"/>
          </a:xfrm>
          <a:prstGeom prst="rect">
            <a:avLst/>
          </a:prstGeom>
          <a:noFill/>
          <a:effectLst/>
        </p:spPr>
        <p:txBody>
          <a:bodyPr wrap="none" lIns="0" tIns="0" rIns="0" bIns="0" rtlCol="0" anchor="t">
            <a:spAutoFit/>
          </a:bodyPr>
          <a:lstStyle/>
          <a:p>
            <a:pPr algn="ctr"/>
            <a:r>
              <a:rPr lang="en-GB" sz="700">
                <a:solidFill>
                  <a:schemeClr val="tx2"/>
                </a:solidFill>
              </a:rPr>
              <a:t>Offline</a:t>
            </a:r>
            <a:endParaRPr lang="en-GB" sz="700" dirty="0">
              <a:solidFill>
                <a:schemeClr val="tx2"/>
              </a:solidFill>
            </a:endParaRPr>
          </a:p>
        </p:txBody>
      </p:sp>
      <p:sp>
        <p:nvSpPr>
          <p:cNvPr id="33" name="TextBox 32">
            <a:extLst>
              <a:ext uri="{FF2B5EF4-FFF2-40B4-BE49-F238E27FC236}">
                <a16:creationId xmlns:a16="http://schemas.microsoft.com/office/drawing/2014/main" id="{C2B3A05E-2228-4A95-A45F-D7B2D4B62A71}"/>
              </a:ext>
            </a:extLst>
          </p:cNvPr>
          <p:cNvSpPr txBox="1"/>
          <p:nvPr/>
        </p:nvSpPr>
        <p:spPr>
          <a:xfrm>
            <a:off x="8139964" y="2077494"/>
            <a:ext cx="418384" cy="107722"/>
          </a:xfrm>
          <a:prstGeom prst="rect">
            <a:avLst/>
          </a:prstGeom>
          <a:noFill/>
          <a:effectLst/>
        </p:spPr>
        <p:txBody>
          <a:bodyPr wrap="none" lIns="0" tIns="0" rIns="0" bIns="0" rtlCol="0" anchor="t">
            <a:spAutoFit/>
          </a:bodyPr>
          <a:lstStyle/>
          <a:p>
            <a:pPr algn="ctr"/>
            <a:r>
              <a:rPr lang="en-GB" sz="700" dirty="0">
                <a:solidFill>
                  <a:schemeClr val="tx2"/>
                </a:solidFill>
              </a:rPr>
              <a:t>Moneybag</a:t>
            </a:r>
          </a:p>
        </p:txBody>
      </p:sp>
      <p:sp>
        <p:nvSpPr>
          <p:cNvPr id="34" name="TextBox 33">
            <a:extLst>
              <a:ext uri="{FF2B5EF4-FFF2-40B4-BE49-F238E27FC236}">
                <a16:creationId xmlns:a16="http://schemas.microsoft.com/office/drawing/2014/main" id="{10567E8F-22C9-42B6-9539-E2CE7D76E2F9}"/>
              </a:ext>
            </a:extLst>
          </p:cNvPr>
          <p:cNvSpPr txBox="1"/>
          <p:nvPr/>
        </p:nvSpPr>
        <p:spPr>
          <a:xfrm>
            <a:off x="8051799" y="2899619"/>
            <a:ext cx="594715" cy="107722"/>
          </a:xfrm>
          <a:prstGeom prst="rect">
            <a:avLst/>
          </a:prstGeom>
          <a:noFill/>
          <a:effectLst/>
        </p:spPr>
        <p:txBody>
          <a:bodyPr wrap="none" lIns="0" tIns="0" rIns="0" bIns="0" rtlCol="0" anchor="t">
            <a:spAutoFit/>
          </a:bodyPr>
          <a:lstStyle/>
          <a:p>
            <a:pPr algn="ctr"/>
            <a:r>
              <a:rPr lang="en-GB" sz="700">
                <a:solidFill>
                  <a:schemeClr val="tx2"/>
                </a:solidFill>
              </a:rPr>
              <a:t>More options 1</a:t>
            </a:r>
            <a:endParaRPr lang="en-GB" sz="700" dirty="0">
              <a:solidFill>
                <a:schemeClr val="tx2"/>
              </a:solidFill>
            </a:endParaRPr>
          </a:p>
        </p:txBody>
      </p:sp>
      <p:sp>
        <p:nvSpPr>
          <p:cNvPr id="35" name="TextBox 34">
            <a:extLst>
              <a:ext uri="{FF2B5EF4-FFF2-40B4-BE49-F238E27FC236}">
                <a16:creationId xmlns:a16="http://schemas.microsoft.com/office/drawing/2014/main" id="{65C6E3C0-F254-4E07-9BE9-B729F2F19A69}"/>
              </a:ext>
            </a:extLst>
          </p:cNvPr>
          <p:cNvSpPr txBox="1"/>
          <p:nvPr/>
        </p:nvSpPr>
        <p:spPr>
          <a:xfrm>
            <a:off x="8232138" y="3723675"/>
            <a:ext cx="234038" cy="107722"/>
          </a:xfrm>
          <a:prstGeom prst="rect">
            <a:avLst/>
          </a:prstGeom>
          <a:noFill/>
          <a:effectLst/>
        </p:spPr>
        <p:txBody>
          <a:bodyPr wrap="none" lIns="0" tIns="0" rIns="0" bIns="0" rtlCol="0" anchor="t">
            <a:spAutoFit/>
          </a:bodyPr>
          <a:lstStyle/>
          <a:p>
            <a:pPr algn="ctr"/>
            <a:r>
              <a:rPr lang="en-GB" sz="700" dirty="0">
                <a:solidFill>
                  <a:schemeClr val="tx2"/>
                </a:solidFill>
              </a:rPr>
              <a:t>Notes</a:t>
            </a:r>
          </a:p>
        </p:txBody>
      </p:sp>
      <p:sp>
        <p:nvSpPr>
          <p:cNvPr id="36" name="TextBox 35">
            <a:extLst>
              <a:ext uri="{FF2B5EF4-FFF2-40B4-BE49-F238E27FC236}">
                <a16:creationId xmlns:a16="http://schemas.microsoft.com/office/drawing/2014/main" id="{E17D5D64-1D2C-42E5-BF5B-E63FAACA82B4}"/>
              </a:ext>
            </a:extLst>
          </p:cNvPr>
          <p:cNvSpPr txBox="1"/>
          <p:nvPr/>
        </p:nvSpPr>
        <p:spPr>
          <a:xfrm>
            <a:off x="7998900" y="4547732"/>
            <a:ext cx="700513" cy="107722"/>
          </a:xfrm>
          <a:prstGeom prst="rect">
            <a:avLst/>
          </a:prstGeom>
          <a:noFill/>
          <a:effectLst/>
        </p:spPr>
        <p:txBody>
          <a:bodyPr wrap="none" lIns="0" tIns="0" rIns="0" bIns="0" rtlCol="0" anchor="t">
            <a:spAutoFit/>
          </a:bodyPr>
          <a:lstStyle/>
          <a:p>
            <a:pPr algn="ctr"/>
            <a:r>
              <a:rPr lang="en-GB" sz="700" dirty="0">
                <a:solidFill>
                  <a:schemeClr val="tx2"/>
                </a:solidFill>
              </a:rPr>
              <a:t>One quarter point</a:t>
            </a:r>
          </a:p>
        </p:txBody>
      </p:sp>
      <p:pic>
        <p:nvPicPr>
          <p:cNvPr id="385" name="Graphic 384">
            <a:extLst>
              <a:ext uri="{FF2B5EF4-FFF2-40B4-BE49-F238E27FC236}">
                <a16:creationId xmlns:a16="http://schemas.microsoft.com/office/drawing/2014/main" id="{F520C77C-58FF-45E8-A862-331FA51DC02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099831" y="4058361"/>
            <a:ext cx="406198" cy="406198"/>
          </a:xfrm>
          <a:prstGeom prst="rect">
            <a:avLst/>
          </a:prstGeom>
        </p:spPr>
      </p:pic>
      <p:pic>
        <p:nvPicPr>
          <p:cNvPr id="389" name="Graphic 388">
            <a:extLst>
              <a:ext uri="{FF2B5EF4-FFF2-40B4-BE49-F238E27FC236}">
                <a16:creationId xmlns:a16="http://schemas.microsoft.com/office/drawing/2014/main" id="{5C04A728-ABF1-4C5C-A7F5-F0276CAF802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46058" y="1598886"/>
            <a:ext cx="406198" cy="406198"/>
          </a:xfrm>
          <a:prstGeom prst="rect">
            <a:avLst/>
          </a:prstGeom>
        </p:spPr>
      </p:pic>
      <p:sp>
        <p:nvSpPr>
          <p:cNvPr id="400" name="Freeform 97">
            <a:extLst>
              <a:ext uri="{FF2B5EF4-FFF2-40B4-BE49-F238E27FC236}">
                <a16:creationId xmlns:a16="http://schemas.microsoft.com/office/drawing/2014/main" id="{CD6FE970-6C2F-4B13-9909-E0C308EB3185}"/>
              </a:ext>
            </a:extLst>
          </p:cNvPr>
          <p:cNvSpPr>
            <a:spLocks noEditPoints="1"/>
          </p:cNvSpPr>
          <p:nvPr/>
        </p:nvSpPr>
        <p:spPr bwMode="auto">
          <a:xfrm>
            <a:off x="2677748" y="2480796"/>
            <a:ext cx="414338" cy="338138"/>
          </a:xfrm>
          <a:custGeom>
            <a:avLst/>
            <a:gdLst>
              <a:gd name="T0" fmla="*/ 59 w 128"/>
              <a:gd name="T1" fmla="*/ 42 h 104"/>
              <a:gd name="T2" fmla="*/ 44 w 128"/>
              <a:gd name="T3" fmla="*/ 57 h 104"/>
              <a:gd name="T4" fmla="*/ 29 w 128"/>
              <a:gd name="T5" fmla="*/ 42 h 104"/>
              <a:gd name="T6" fmla="*/ 44 w 128"/>
              <a:gd name="T7" fmla="*/ 27 h 104"/>
              <a:gd name="T8" fmla="*/ 59 w 128"/>
              <a:gd name="T9" fmla="*/ 42 h 104"/>
              <a:gd name="T10" fmla="*/ 72 w 128"/>
              <a:gd name="T11" fmla="*/ 28 h 104"/>
              <a:gd name="T12" fmla="*/ 72 w 128"/>
              <a:gd name="T13" fmla="*/ 36 h 104"/>
              <a:gd name="T14" fmla="*/ 112 w 128"/>
              <a:gd name="T15" fmla="*/ 36 h 104"/>
              <a:gd name="T16" fmla="*/ 112 w 128"/>
              <a:gd name="T17" fmla="*/ 28 h 104"/>
              <a:gd name="T18" fmla="*/ 72 w 128"/>
              <a:gd name="T19" fmla="*/ 28 h 104"/>
              <a:gd name="T20" fmla="*/ 72 w 128"/>
              <a:gd name="T21" fmla="*/ 44 h 104"/>
              <a:gd name="T22" fmla="*/ 72 w 128"/>
              <a:gd name="T23" fmla="*/ 52 h 104"/>
              <a:gd name="T24" fmla="*/ 112 w 128"/>
              <a:gd name="T25" fmla="*/ 52 h 104"/>
              <a:gd name="T26" fmla="*/ 112 w 128"/>
              <a:gd name="T27" fmla="*/ 44 h 104"/>
              <a:gd name="T28" fmla="*/ 72 w 128"/>
              <a:gd name="T29" fmla="*/ 44 h 104"/>
              <a:gd name="T30" fmla="*/ 128 w 128"/>
              <a:gd name="T31" fmla="*/ 8 h 104"/>
              <a:gd name="T32" fmla="*/ 128 w 128"/>
              <a:gd name="T33" fmla="*/ 104 h 104"/>
              <a:gd name="T34" fmla="*/ 0 w 128"/>
              <a:gd name="T35" fmla="*/ 104 h 104"/>
              <a:gd name="T36" fmla="*/ 0 w 128"/>
              <a:gd name="T37" fmla="*/ 8 h 104"/>
              <a:gd name="T38" fmla="*/ 48 w 128"/>
              <a:gd name="T39" fmla="*/ 8 h 104"/>
              <a:gd name="T40" fmla="*/ 48 w 128"/>
              <a:gd name="T41" fmla="*/ 0 h 104"/>
              <a:gd name="T42" fmla="*/ 80 w 128"/>
              <a:gd name="T43" fmla="*/ 0 h 104"/>
              <a:gd name="T44" fmla="*/ 80 w 128"/>
              <a:gd name="T45" fmla="*/ 8 h 104"/>
              <a:gd name="T46" fmla="*/ 128 w 128"/>
              <a:gd name="T47" fmla="*/ 8 h 104"/>
              <a:gd name="T48" fmla="*/ 120 w 128"/>
              <a:gd name="T49" fmla="*/ 16 h 104"/>
              <a:gd name="T50" fmla="*/ 8 w 128"/>
              <a:gd name="T51" fmla="*/ 16 h 104"/>
              <a:gd name="T52" fmla="*/ 8 w 128"/>
              <a:gd name="T53" fmla="*/ 85 h 104"/>
              <a:gd name="T54" fmla="*/ 35 w 128"/>
              <a:gd name="T55" fmla="*/ 64 h 104"/>
              <a:gd name="T56" fmla="*/ 44 w 128"/>
              <a:gd name="T57" fmla="*/ 79 h 104"/>
              <a:gd name="T58" fmla="*/ 53 w 128"/>
              <a:gd name="T59" fmla="*/ 64 h 104"/>
              <a:gd name="T60" fmla="*/ 65 w 128"/>
              <a:gd name="T61" fmla="*/ 69 h 104"/>
              <a:gd name="T62" fmla="*/ 79 w 128"/>
              <a:gd name="T63" fmla="*/ 83 h 104"/>
              <a:gd name="T64" fmla="*/ 83 w 128"/>
              <a:gd name="T65" fmla="*/ 96 h 104"/>
              <a:gd name="T66" fmla="*/ 120 w 128"/>
              <a:gd name="T67" fmla="*/ 96 h 104"/>
              <a:gd name="T68" fmla="*/ 120 w 128"/>
              <a:gd name="T69" fmla="*/ 1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04">
                <a:moveTo>
                  <a:pt x="59" y="42"/>
                </a:moveTo>
                <a:cubicBezTo>
                  <a:pt x="59" y="50"/>
                  <a:pt x="52" y="57"/>
                  <a:pt x="44" y="57"/>
                </a:cubicBezTo>
                <a:cubicBezTo>
                  <a:pt x="36" y="57"/>
                  <a:pt x="29" y="50"/>
                  <a:pt x="29" y="42"/>
                </a:cubicBezTo>
                <a:cubicBezTo>
                  <a:pt x="29" y="34"/>
                  <a:pt x="36" y="27"/>
                  <a:pt x="44" y="27"/>
                </a:cubicBezTo>
                <a:cubicBezTo>
                  <a:pt x="52" y="27"/>
                  <a:pt x="59" y="34"/>
                  <a:pt x="59" y="42"/>
                </a:cubicBezTo>
                <a:close/>
                <a:moveTo>
                  <a:pt x="72" y="28"/>
                </a:moveTo>
                <a:cubicBezTo>
                  <a:pt x="72" y="36"/>
                  <a:pt x="72" y="36"/>
                  <a:pt x="72" y="36"/>
                </a:cubicBezTo>
                <a:cubicBezTo>
                  <a:pt x="112" y="36"/>
                  <a:pt x="112" y="36"/>
                  <a:pt x="112" y="36"/>
                </a:cubicBezTo>
                <a:cubicBezTo>
                  <a:pt x="112" y="28"/>
                  <a:pt x="112" y="28"/>
                  <a:pt x="112" y="28"/>
                </a:cubicBezTo>
                <a:lnTo>
                  <a:pt x="72" y="28"/>
                </a:lnTo>
                <a:close/>
                <a:moveTo>
                  <a:pt x="72" y="44"/>
                </a:moveTo>
                <a:cubicBezTo>
                  <a:pt x="72" y="52"/>
                  <a:pt x="72" y="52"/>
                  <a:pt x="72" y="52"/>
                </a:cubicBezTo>
                <a:cubicBezTo>
                  <a:pt x="112" y="52"/>
                  <a:pt x="112" y="52"/>
                  <a:pt x="112" y="52"/>
                </a:cubicBezTo>
                <a:cubicBezTo>
                  <a:pt x="112" y="44"/>
                  <a:pt x="112" y="44"/>
                  <a:pt x="112" y="44"/>
                </a:cubicBezTo>
                <a:lnTo>
                  <a:pt x="72" y="44"/>
                </a:lnTo>
                <a:close/>
                <a:moveTo>
                  <a:pt x="128" y="8"/>
                </a:moveTo>
                <a:cubicBezTo>
                  <a:pt x="128" y="104"/>
                  <a:pt x="128" y="104"/>
                  <a:pt x="128" y="104"/>
                </a:cubicBezTo>
                <a:cubicBezTo>
                  <a:pt x="0" y="104"/>
                  <a:pt x="0" y="104"/>
                  <a:pt x="0" y="104"/>
                </a:cubicBezTo>
                <a:cubicBezTo>
                  <a:pt x="0" y="8"/>
                  <a:pt x="0" y="8"/>
                  <a:pt x="0" y="8"/>
                </a:cubicBezTo>
                <a:cubicBezTo>
                  <a:pt x="48" y="8"/>
                  <a:pt x="48" y="8"/>
                  <a:pt x="48" y="8"/>
                </a:cubicBezTo>
                <a:cubicBezTo>
                  <a:pt x="48" y="0"/>
                  <a:pt x="48" y="0"/>
                  <a:pt x="48" y="0"/>
                </a:cubicBezTo>
                <a:cubicBezTo>
                  <a:pt x="80" y="0"/>
                  <a:pt x="80" y="0"/>
                  <a:pt x="80" y="0"/>
                </a:cubicBezTo>
                <a:cubicBezTo>
                  <a:pt x="80" y="8"/>
                  <a:pt x="80" y="8"/>
                  <a:pt x="80" y="8"/>
                </a:cubicBezTo>
                <a:lnTo>
                  <a:pt x="128" y="8"/>
                </a:lnTo>
                <a:close/>
                <a:moveTo>
                  <a:pt x="120" y="16"/>
                </a:moveTo>
                <a:cubicBezTo>
                  <a:pt x="8" y="16"/>
                  <a:pt x="8" y="16"/>
                  <a:pt x="8" y="16"/>
                </a:cubicBezTo>
                <a:cubicBezTo>
                  <a:pt x="8" y="85"/>
                  <a:pt x="8" y="85"/>
                  <a:pt x="8" y="85"/>
                </a:cubicBezTo>
                <a:cubicBezTo>
                  <a:pt x="13" y="75"/>
                  <a:pt x="23" y="66"/>
                  <a:pt x="35" y="64"/>
                </a:cubicBezTo>
                <a:cubicBezTo>
                  <a:pt x="44" y="79"/>
                  <a:pt x="44" y="79"/>
                  <a:pt x="44" y="79"/>
                </a:cubicBezTo>
                <a:cubicBezTo>
                  <a:pt x="53" y="64"/>
                  <a:pt x="53" y="64"/>
                  <a:pt x="53" y="64"/>
                </a:cubicBezTo>
                <a:cubicBezTo>
                  <a:pt x="57" y="65"/>
                  <a:pt x="62" y="67"/>
                  <a:pt x="65" y="69"/>
                </a:cubicBezTo>
                <a:cubicBezTo>
                  <a:pt x="71" y="72"/>
                  <a:pt x="76" y="77"/>
                  <a:pt x="79" y="83"/>
                </a:cubicBezTo>
                <a:cubicBezTo>
                  <a:pt x="81" y="87"/>
                  <a:pt x="83" y="91"/>
                  <a:pt x="83" y="96"/>
                </a:cubicBezTo>
                <a:cubicBezTo>
                  <a:pt x="120" y="96"/>
                  <a:pt x="120" y="96"/>
                  <a:pt x="120" y="96"/>
                </a:cubicBezTo>
                <a:lnTo>
                  <a:pt x="120" y="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1" name="Freeform 101">
            <a:extLst>
              <a:ext uri="{FF2B5EF4-FFF2-40B4-BE49-F238E27FC236}">
                <a16:creationId xmlns:a16="http://schemas.microsoft.com/office/drawing/2014/main" id="{8B98631D-1491-4831-A36A-AD5965C3B9E0}"/>
              </a:ext>
            </a:extLst>
          </p:cNvPr>
          <p:cNvSpPr>
            <a:spLocks noEditPoints="1"/>
          </p:cNvSpPr>
          <p:nvPr/>
        </p:nvSpPr>
        <p:spPr bwMode="auto">
          <a:xfrm>
            <a:off x="3723184" y="2556997"/>
            <a:ext cx="414337" cy="261937"/>
          </a:xfrm>
          <a:custGeom>
            <a:avLst/>
            <a:gdLst>
              <a:gd name="T0" fmla="*/ 0 w 261"/>
              <a:gd name="T1" fmla="*/ 66 h 165"/>
              <a:gd name="T2" fmla="*/ 261 w 261"/>
              <a:gd name="T3" fmla="*/ 66 h 165"/>
              <a:gd name="T4" fmla="*/ 261 w 261"/>
              <a:gd name="T5" fmla="*/ 99 h 165"/>
              <a:gd name="T6" fmla="*/ 0 w 261"/>
              <a:gd name="T7" fmla="*/ 99 h 165"/>
              <a:gd name="T8" fmla="*/ 0 w 261"/>
              <a:gd name="T9" fmla="*/ 66 h 165"/>
              <a:gd name="T10" fmla="*/ 0 w 261"/>
              <a:gd name="T11" fmla="*/ 33 h 165"/>
              <a:gd name="T12" fmla="*/ 261 w 261"/>
              <a:gd name="T13" fmla="*/ 33 h 165"/>
              <a:gd name="T14" fmla="*/ 261 w 261"/>
              <a:gd name="T15" fmla="*/ 0 h 165"/>
              <a:gd name="T16" fmla="*/ 0 w 261"/>
              <a:gd name="T17" fmla="*/ 0 h 165"/>
              <a:gd name="T18" fmla="*/ 0 w 261"/>
              <a:gd name="T19" fmla="*/ 33 h 165"/>
              <a:gd name="T20" fmla="*/ 0 w 261"/>
              <a:gd name="T21" fmla="*/ 165 h 165"/>
              <a:gd name="T22" fmla="*/ 261 w 261"/>
              <a:gd name="T23" fmla="*/ 165 h 165"/>
              <a:gd name="T24" fmla="*/ 261 w 261"/>
              <a:gd name="T25" fmla="*/ 132 h 165"/>
              <a:gd name="T26" fmla="*/ 0 w 261"/>
              <a:gd name="T27" fmla="*/ 132 h 165"/>
              <a:gd name="T28" fmla="*/ 0 w 261"/>
              <a:gd name="T29" fmla="*/ 16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1" h="165">
                <a:moveTo>
                  <a:pt x="0" y="66"/>
                </a:moveTo>
                <a:lnTo>
                  <a:pt x="261" y="66"/>
                </a:lnTo>
                <a:lnTo>
                  <a:pt x="261" y="99"/>
                </a:lnTo>
                <a:lnTo>
                  <a:pt x="0" y="99"/>
                </a:lnTo>
                <a:lnTo>
                  <a:pt x="0" y="66"/>
                </a:lnTo>
                <a:close/>
                <a:moveTo>
                  <a:pt x="0" y="33"/>
                </a:moveTo>
                <a:lnTo>
                  <a:pt x="261" y="33"/>
                </a:lnTo>
                <a:lnTo>
                  <a:pt x="261" y="0"/>
                </a:lnTo>
                <a:lnTo>
                  <a:pt x="0" y="0"/>
                </a:lnTo>
                <a:lnTo>
                  <a:pt x="0" y="33"/>
                </a:lnTo>
                <a:close/>
                <a:moveTo>
                  <a:pt x="0" y="165"/>
                </a:moveTo>
                <a:lnTo>
                  <a:pt x="261" y="165"/>
                </a:lnTo>
                <a:lnTo>
                  <a:pt x="261" y="132"/>
                </a:lnTo>
                <a:lnTo>
                  <a:pt x="0" y="132"/>
                </a:lnTo>
                <a:lnTo>
                  <a:pt x="0" y="16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2" name="Freeform 105">
            <a:extLst>
              <a:ext uri="{FF2B5EF4-FFF2-40B4-BE49-F238E27FC236}">
                <a16:creationId xmlns:a16="http://schemas.microsoft.com/office/drawing/2014/main" id="{C287F46B-F8B7-44B0-AE86-0E8C1B50CAC8}"/>
              </a:ext>
            </a:extLst>
          </p:cNvPr>
          <p:cNvSpPr>
            <a:spLocks noEditPoints="1"/>
          </p:cNvSpPr>
          <p:nvPr/>
        </p:nvSpPr>
        <p:spPr bwMode="auto">
          <a:xfrm>
            <a:off x="688482" y="3471285"/>
            <a:ext cx="211137" cy="136525"/>
          </a:xfrm>
          <a:custGeom>
            <a:avLst/>
            <a:gdLst>
              <a:gd name="T0" fmla="*/ 0 w 133"/>
              <a:gd name="T1" fmla="*/ 34 h 86"/>
              <a:gd name="T2" fmla="*/ 133 w 133"/>
              <a:gd name="T3" fmla="*/ 34 h 86"/>
              <a:gd name="T4" fmla="*/ 133 w 133"/>
              <a:gd name="T5" fmla="*/ 51 h 86"/>
              <a:gd name="T6" fmla="*/ 0 w 133"/>
              <a:gd name="T7" fmla="*/ 51 h 86"/>
              <a:gd name="T8" fmla="*/ 0 w 133"/>
              <a:gd name="T9" fmla="*/ 34 h 86"/>
              <a:gd name="T10" fmla="*/ 0 w 133"/>
              <a:gd name="T11" fmla="*/ 17 h 86"/>
              <a:gd name="T12" fmla="*/ 133 w 133"/>
              <a:gd name="T13" fmla="*/ 17 h 86"/>
              <a:gd name="T14" fmla="*/ 133 w 133"/>
              <a:gd name="T15" fmla="*/ 0 h 86"/>
              <a:gd name="T16" fmla="*/ 0 w 133"/>
              <a:gd name="T17" fmla="*/ 0 h 86"/>
              <a:gd name="T18" fmla="*/ 0 w 133"/>
              <a:gd name="T19" fmla="*/ 17 h 86"/>
              <a:gd name="T20" fmla="*/ 0 w 133"/>
              <a:gd name="T21" fmla="*/ 86 h 86"/>
              <a:gd name="T22" fmla="*/ 133 w 133"/>
              <a:gd name="T23" fmla="*/ 86 h 86"/>
              <a:gd name="T24" fmla="*/ 133 w 133"/>
              <a:gd name="T25" fmla="*/ 69 h 86"/>
              <a:gd name="T26" fmla="*/ 0 w 133"/>
              <a:gd name="T27" fmla="*/ 69 h 86"/>
              <a:gd name="T28" fmla="*/ 0 w 133"/>
              <a:gd name="T2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3" h="86">
                <a:moveTo>
                  <a:pt x="0" y="34"/>
                </a:moveTo>
                <a:lnTo>
                  <a:pt x="133" y="34"/>
                </a:lnTo>
                <a:lnTo>
                  <a:pt x="133" y="51"/>
                </a:lnTo>
                <a:lnTo>
                  <a:pt x="0" y="51"/>
                </a:lnTo>
                <a:lnTo>
                  <a:pt x="0" y="34"/>
                </a:lnTo>
                <a:close/>
                <a:moveTo>
                  <a:pt x="0" y="17"/>
                </a:moveTo>
                <a:lnTo>
                  <a:pt x="133" y="17"/>
                </a:lnTo>
                <a:lnTo>
                  <a:pt x="133" y="0"/>
                </a:lnTo>
                <a:lnTo>
                  <a:pt x="0" y="0"/>
                </a:lnTo>
                <a:lnTo>
                  <a:pt x="0" y="17"/>
                </a:lnTo>
                <a:close/>
                <a:moveTo>
                  <a:pt x="0" y="86"/>
                </a:moveTo>
                <a:lnTo>
                  <a:pt x="133" y="86"/>
                </a:lnTo>
                <a:lnTo>
                  <a:pt x="133" y="69"/>
                </a:lnTo>
                <a:lnTo>
                  <a:pt x="0" y="69"/>
                </a:lnTo>
                <a:lnTo>
                  <a:pt x="0" y="8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3" name="Freeform 109">
            <a:extLst>
              <a:ext uri="{FF2B5EF4-FFF2-40B4-BE49-F238E27FC236}">
                <a16:creationId xmlns:a16="http://schemas.microsoft.com/office/drawing/2014/main" id="{78C6BCE2-AFD4-4CF2-A331-87AF75BD46C8}"/>
              </a:ext>
            </a:extLst>
          </p:cNvPr>
          <p:cNvSpPr>
            <a:spLocks noEditPoints="1"/>
          </p:cNvSpPr>
          <p:nvPr/>
        </p:nvSpPr>
        <p:spPr bwMode="auto">
          <a:xfrm>
            <a:off x="1714302" y="3290034"/>
            <a:ext cx="318998" cy="317776"/>
          </a:xfrm>
          <a:custGeom>
            <a:avLst/>
            <a:gdLst>
              <a:gd name="T0" fmla="*/ 82 w 128"/>
              <a:gd name="T1" fmla="*/ 64 h 128"/>
              <a:gd name="T2" fmla="*/ 64 w 128"/>
              <a:gd name="T3" fmla="*/ 80 h 128"/>
              <a:gd name="T4" fmla="*/ 46 w 128"/>
              <a:gd name="T5" fmla="*/ 64 h 128"/>
              <a:gd name="T6" fmla="*/ 0 w 128"/>
              <a:gd name="T7" fmla="*/ 64 h 128"/>
              <a:gd name="T8" fmla="*/ 0 w 128"/>
              <a:gd name="T9" fmla="*/ 128 h 128"/>
              <a:gd name="T10" fmla="*/ 128 w 128"/>
              <a:gd name="T11" fmla="*/ 128 h 128"/>
              <a:gd name="T12" fmla="*/ 128 w 128"/>
              <a:gd name="T13" fmla="*/ 64 h 128"/>
              <a:gd name="T14" fmla="*/ 82 w 128"/>
              <a:gd name="T15" fmla="*/ 64 h 128"/>
              <a:gd name="T16" fmla="*/ 120 w 128"/>
              <a:gd name="T17" fmla="*/ 120 h 128"/>
              <a:gd name="T18" fmla="*/ 8 w 128"/>
              <a:gd name="T19" fmla="*/ 120 h 128"/>
              <a:gd name="T20" fmla="*/ 8 w 128"/>
              <a:gd name="T21" fmla="*/ 72 h 128"/>
              <a:gd name="T22" fmla="*/ 38 w 128"/>
              <a:gd name="T23" fmla="*/ 72 h 128"/>
              <a:gd name="T24" fmla="*/ 64 w 128"/>
              <a:gd name="T25" fmla="*/ 88 h 128"/>
              <a:gd name="T26" fmla="*/ 90 w 128"/>
              <a:gd name="T27" fmla="*/ 72 h 128"/>
              <a:gd name="T28" fmla="*/ 120 w 128"/>
              <a:gd name="T29" fmla="*/ 72 h 128"/>
              <a:gd name="T30" fmla="*/ 120 w 128"/>
              <a:gd name="T31" fmla="*/ 120 h 128"/>
              <a:gd name="T32" fmla="*/ 16 w 128"/>
              <a:gd name="T33" fmla="*/ 60 h 128"/>
              <a:gd name="T34" fmla="*/ 16 w 128"/>
              <a:gd name="T35" fmla="*/ 0 h 128"/>
              <a:gd name="T36" fmla="*/ 72 w 128"/>
              <a:gd name="T37" fmla="*/ 0 h 128"/>
              <a:gd name="T38" fmla="*/ 112 w 128"/>
              <a:gd name="T39" fmla="*/ 40 h 128"/>
              <a:gd name="T40" fmla="*/ 112 w 128"/>
              <a:gd name="T41" fmla="*/ 60 h 128"/>
              <a:gd name="T42" fmla="*/ 104 w 128"/>
              <a:gd name="T43" fmla="*/ 60 h 128"/>
              <a:gd name="T44" fmla="*/ 104 w 128"/>
              <a:gd name="T45" fmla="*/ 40 h 128"/>
              <a:gd name="T46" fmla="*/ 72 w 128"/>
              <a:gd name="T47" fmla="*/ 40 h 128"/>
              <a:gd name="T48" fmla="*/ 72 w 128"/>
              <a:gd name="T49" fmla="*/ 8 h 128"/>
              <a:gd name="T50" fmla="*/ 24 w 128"/>
              <a:gd name="T51" fmla="*/ 8 h 128"/>
              <a:gd name="T52" fmla="*/ 24 w 128"/>
              <a:gd name="T53" fmla="*/ 60 h 128"/>
              <a:gd name="T54" fmla="*/ 16 w 128"/>
              <a:gd name="T55" fmla="*/ 6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8" h="128">
                <a:moveTo>
                  <a:pt x="82" y="64"/>
                </a:moveTo>
                <a:cubicBezTo>
                  <a:pt x="82" y="71"/>
                  <a:pt x="76" y="80"/>
                  <a:pt x="64" y="80"/>
                </a:cubicBezTo>
                <a:cubicBezTo>
                  <a:pt x="52" y="80"/>
                  <a:pt x="46" y="71"/>
                  <a:pt x="46" y="64"/>
                </a:cubicBezTo>
                <a:cubicBezTo>
                  <a:pt x="0" y="64"/>
                  <a:pt x="0" y="64"/>
                  <a:pt x="0" y="64"/>
                </a:cubicBezTo>
                <a:cubicBezTo>
                  <a:pt x="0" y="128"/>
                  <a:pt x="0" y="128"/>
                  <a:pt x="0" y="128"/>
                </a:cubicBezTo>
                <a:cubicBezTo>
                  <a:pt x="128" y="128"/>
                  <a:pt x="128" y="128"/>
                  <a:pt x="128" y="128"/>
                </a:cubicBezTo>
                <a:cubicBezTo>
                  <a:pt x="128" y="64"/>
                  <a:pt x="128" y="64"/>
                  <a:pt x="128" y="64"/>
                </a:cubicBezTo>
                <a:lnTo>
                  <a:pt x="82" y="64"/>
                </a:lnTo>
                <a:close/>
                <a:moveTo>
                  <a:pt x="120" y="120"/>
                </a:moveTo>
                <a:cubicBezTo>
                  <a:pt x="8" y="120"/>
                  <a:pt x="8" y="120"/>
                  <a:pt x="8" y="120"/>
                </a:cubicBezTo>
                <a:cubicBezTo>
                  <a:pt x="8" y="72"/>
                  <a:pt x="8" y="72"/>
                  <a:pt x="8" y="72"/>
                </a:cubicBezTo>
                <a:cubicBezTo>
                  <a:pt x="38" y="72"/>
                  <a:pt x="38" y="72"/>
                  <a:pt x="38" y="72"/>
                </a:cubicBezTo>
                <a:cubicBezTo>
                  <a:pt x="42" y="81"/>
                  <a:pt x="52" y="88"/>
                  <a:pt x="64" y="88"/>
                </a:cubicBezTo>
                <a:cubicBezTo>
                  <a:pt x="76" y="88"/>
                  <a:pt x="86" y="81"/>
                  <a:pt x="90" y="72"/>
                </a:cubicBezTo>
                <a:cubicBezTo>
                  <a:pt x="120" y="72"/>
                  <a:pt x="120" y="72"/>
                  <a:pt x="120" y="72"/>
                </a:cubicBezTo>
                <a:lnTo>
                  <a:pt x="120" y="120"/>
                </a:lnTo>
                <a:close/>
                <a:moveTo>
                  <a:pt x="16" y="60"/>
                </a:moveTo>
                <a:cubicBezTo>
                  <a:pt x="16" y="0"/>
                  <a:pt x="16" y="0"/>
                  <a:pt x="16" y="0"/>
                </a:cubicBezTo>
                <a:cubicBezTo>
                  <a:pt x="72" y="0"/>
                  <a:pt x="72" y="0"/>
                  <a:pt x="72" y="0"/>
                </a:cubicBezTo>
                <a:cubicBezTo>
                  <a:pt x="112" y="40"/>
                  <a:pt x="112" y="40"/>
                  <a:pt x="112" y="40"/>
                </a:cubicBezTo>
                <a:cubicBezTo>
                  <a:pt x="112" y="60"/>
                  <a:pt x="112" y="60"/>
                  <a:pt x="112" y="60"/>
                </a:cubicBezTo>
                <a:cubicBezTo>
                  <a:pt x="104" y="60"/>
                  <a:pt x="104" y="60"/>
                  <a:pt x="104" y="60"/>
                </a:cubicBezTo>
                <a:cubicBezTo>
                  <a:pt x="104" y="40"/>
                  <a:pt x="104" y="40"/>
                  <a:pt x="104" y="40"/>
                </a:cubicBezTo>
                <a:cubicBezTo>
                  <a:pt x="72" y="40"/>
                  <a:pt x="72" y="40"/>
                  <a:pt x="72" y="40"/>
                </a:cubicBezTo>
                <a:cubicBezTo>
                  <a:pt x="72" y="8"/>
                  <a:pt x="72" y="8"/>
                  <a:pt x="72" y="8"/>
                </a:cubicBezTo>
                <a:cubicBezTo>
                  <a:pt x="24" y="8"/>
                  <a:pt x="24" y="8"/>
                  <a:pt x="24" y="8"/>
                </a:cubicBezTo>
                <a:cubicBezTo>
                  <a:pt x="24" y="60"/>
                  <a:pt x="24" y="60"/>
                  <a:pt x="24" y="60"/>
                </a:cubicBezTo>
                <a:lnTo>
                  <a:pt x="16" y="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4" name="Freeform 113">
            <a:extLst>
              <a:ext uri="{FF2B5EF4-FFF2-40B4-BE49-F238E27FC236}">
                <a16:creationId xmlns:a16="http://schemas.microsoft.com/office/drawing/2014/main" id="{7574E88D-0803-487C-8734-724A243233E6}"/>
              </a:ext>
            </a:extLst>
          </p:cNvPr>
          <p:cNvSpPr>
            <a:spLocks noEditPoints="1"/>
          </p:cNvSpPr>
          <p:nvPr/>
        </p:nvSpPr>
        <p:spPr bwMode="auto">
          <a:xfrm>
            <a:off x="2678542" y="3195060"/>
            <a:ext cx="412750" cy="412750"/>
          </a:xfrm>
          <a:custGeom>
            <a:avLst/>
            <a:gdLst>
              <a:gd name="T0" fmla="*/ 128 w 128"/>
              <a:gd name="T1" fmla="*/ 60 h 128"/>
              <a:gd name="T2" fmla="*/ 64 w 128"/>
              <a:gd name="T3" fmla="*/ 0 h 128"/>
              <a:gd name="T4" fmla="*/ 0 w 128"/>
              <a:gd name="T5" fmla="*/ 64 h 128"/>
              <a:gd name="T6" fmla="*/ 0 w 128"/>
              <a:gd name="T7" fmla="*/ 68 h 128"/>
              <a:gd name="T8" fmla="*/ 64 w 128"/>
              <a:gd name="T9" fmla="*/ 128 h 128"/>
              <a:gd name="T10" fmla="*/ 128 w 128"/>
              <a:gd name="T11" fmla="*/ 64 h 128"/>
              <a:gd name="T12" fmla="*/ 128 w 128"/>
              <a:gd name="T13" fmla="*/ 60 h 128"/>
              <a:gd name="T14" fmla="*/ 64 w 128"/>
              <a:gd name="T15" fmla="*/ 120 h 128"/>
              <a:gd name="T16" fmla="*/ 24 w 128"/>
              <a:gd name="T17" fmla="*/ 103 h 128"/>
              <a:gd name="T18" fmla="*/ 44 w 128"/>
              <a:gd name="T19" fmla="*/ 108 h 128"/>
              <a:gd name="T20" fmla="*/ 88 w 128"/>
              <a:gd name="T21" fmla="*/ 64 h 128"/>
              <a:gd name="T22" fmla="*/ 83 w 128"/>
              <a:gd name="T23" fmla="*/ 45 h 128"/>
              <a:gd name="T24" fmla="*/ 77 w 128"/>
              <a:gd name="T25" fmla="*/ 51 h 128"/>
              <a:gd name="T26" fmla="*/ 80 w 128"/>
              <a:gd name="T27" fmla="*/ 64 h 128"/>
              <a:gd name="T28" fmla="*/ 44 w 128"/>
              <a:gd name="T29" fmla="*/ 100 h 128"/>
              <a:gd name="T30" fmla="*/ 8 w 128"/>
              <a:gd name="T31" fmla="*/ 64 h 128"/>
              <a:gd name="T32" fmla="*/ 64 w 128"/>
              <a:gd name="T33" fmla="*/ 8 h 128"/>
              <a:gd name="T34" fmla="*/ 104 w 128"/>
              <a:gd name="T35" fmla="*/ 25 h 128"/>
              <a:gd name="T36" fmla="*/ 84 w 128"/>
              <a:gd name="T37" fmla="*/ 20 h 128"/>
              <a:gd name="T38" fmla="*/ 40 w 128"/>
              <a:gd name="T39" fmla="*/ 64 h 128"/>
              <a:gd name="T40" fmla="*/ 45 w 128"/>
              <a:gd name="T41" fmla="*/ 83 h 128"/>
              <a:gd name="T42" fmla="*/ 51 w 128"/>
              <a:gd name="T43" fmla="*/ 77 h 128"/>
              <a:gd name="T44" fmla="*/ 48 w 128"/>
              <a:gd name="T45" fmla="*/ 64 h 128"/>
              <a:gd name="T46" fmla="*/ 84 w 128"/>
              <a:gd name="T47" fmla="*/ 28 h 128"/>
              <a:gd name="T48" fmla="*/ 120 w 128"/>
              <a:gd name="T49" fmla="*/ 64 h 128"/>
              <a:gd name="T50" fmla="*/ 64 w 128"/>
              <a:gd name="T51"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28">
                <a:moveTo>
                  <a:pt x="128" y="60"/>
                </a:moveTo>
                <a:cubicBezTo>
                  <a:pt x="125" y="26"/>
                  <a:pt x="98" y="0"/>
                  <a:pt x="64" y="0"/>
                </a:cubicBezTo>
                <a:cubicBezTo>
                  <a:pt x="29" y="0"/>
                  <a:pt x="0" y="29"/>
                  <a:pt x="0" y="64"/>
                </a:cubicBezTo>
                <a:cubicBezTo>
                  <a:pt x="0" y="66"/>
                  <a:pt x="0" y="67"/>
                  <a:pt x="0" y="68"/>
                </a:cubicBezTo>
                <a:cubicBezTo>
                  <a:pt x="3" y="102"/>
                  <a:pt x="30" y="128"/>
                  <a:pt x="64" y="128"/>
                </a:cubicBezTo>
                <a:cubicBezTo>
                  <a:pt x="99" y="128"/>
                  <a:pt x="128" y="99"/>
                  <a:pt x="128" y="64"/>
                </a:cubicBezTo>
                <a:cubicBezTo>
                  <a:pt x="128" y="62"/>
                  <a:pt x="128" y="61"/>
                  <a:pt x="128" y="60"/>
                </a:cubicBezTo>
                <a:close/>
                <a:moveTo>
                  <a:pt x="64" y="120"/>
                </a:moveTo>
                <a:cubicBezTo>
                  <a:pt x="48" y="120"/>
                  <a:pt x="34" y="114"/>
                  <a:pt x="24" y="103"/>
                </a:cubicBezTo>
                <a:cubicBezTo>
                  <a:pt x="30" y="106"/>
                  <a:pt x="37" y="108"/>
                  <a:pt x="44" y="108"/>
                </a:cubicBezTo>
                <a:cubicBezTo>
                  <a:pt x="68" y="108"/>
                  <a:pt x="88" y="88"/>
                  <a:pt x="88" y="64"/>
                </a:cubicBezTo>
                <a:cubicBezTo>
                  <a:pt x="88" y="57"/>
                  <a:pt x="86" y="50"/>
                  <a:pt x="83" y="45"/>
                </a:cubicBezTo>
                <a:cubicBezTo>
                  <a:pt x="77" y="51"/>
                  <a:pt x="77" y="51"/>
                  <a:pt x="77" y="51"/>
                </a:cubicBezTo>
                <a:cubicBezTo>
                  <a:pt x="79" y="55"/>
                  <a:pt x="80" y="59"/>
                  <a:pt x="80" y="64"/>
                </a:cubicBezTo>
                <a:cubicBezTo>
                  <a:pt x="80" y="84"/>
                  <a:pt x="64" y="100"/>
                  <a:pt x="44" y="100"/>
                </a:cubicBezTo>
                <a:cubicBezTo>
                  <a:pt x="24" y="100"/>
                  <a:pt x="8" y="84"/>
                  <a:pt x="8" y="64"/>
                </a:cubicBezTo>
                <a:cubicBezTo>
                  <a:pt x="8" y="33"/>
                  <a:pt x="33" y="8"/>
                  <a:pt x="64" y="8"/>
                </a:cubicBezTo>
                <a:cubicBezTo>
                  <a:pt x="80" y="8"/>
                  <a:pt x="94" y="14"/>
                  <a:pt x="104" y="25"/>
                </a:cubicBezTo>
                <a:cubicBezTo>
                  <a:pt x="98" y="22"/>
                  <a:pt x="91" y="20"/>
                  <a:pt x="84" y="20"/>
                </a:cubicBezTo>
                <a:cubicBezTo>
                  <a:pt x="60" y="20"/>
                  <a:pt x="40" y="40"/>
                  <a:pt x="40" y="64"/>
                </a:cubicBezTo>
                <a:cubicBezTo>
                  <a:pt x="40" y="71"/>
                  <a:pt x="42" y="78"/>
                  <a:pt x="45" y="83"/>
                </a:cubicBezTo>
                <a:cubicBezTo>
                  <a:pt x="51" y="77"/>
                  <a:pt x="51" y="77"/>
                  <a:pt x="51" y="77"/>
                </a:cubicBezTo>
                <a:cubicBezTo>
                  <a:pt x="49" y="73"/>
                  <a:pt x="48" y="69"/>
                  <a:pt x="48" y="64"/>
                </a:cubicBezTo>
                <a:cubicBezTo>
                  <a:pt x="48" y="44"/>
                  <a:pt x="64" y="28"/>
                  <a:pt x="84" y="28"/>
                </a:cubicBezTo>
                <a:cubicBezTo>
                  <a:pt x="104" y="28"/>
                  <a:pt x="120" y="44"/>
                  <a:pt x="120" y="64"/>
                </a:cubicBezTo>
                <a:cubicBezTo>
                  <a:pt x="120" y="95"/>
                  <a:pt x="95" y="120"/>
                  <a:pt x="64" y="1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5" name="Freeform 117">
            <a:extLst>
              <a:ext uri="{FF2B5EF4-FFF2-40B4-BE49-F238E27FC236}">
                <a16:creationId xmlns:a16="http://schemas.microsoft.com/office/drawing/2014/main" id="{46ECFD33-B5E5-4566-8087-AF1A92FA976E}"/>
              </a:ext>
            </a:extLst>
          </p:cNvPr>
          <p:cNvSpPr>
            <a:spLocks noEditPoints="1"/>
          </p:cNvSpPr>
          <p:nvPr/>
        </p:nvSpPr>
        <p:spPr bwMode="auto">
          <a:xfrm>
            <a:off x="3723977" y="3193472"/>
            <a:ext cx="412750" cy="41433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64 w 128"/>
              <a:gd name="T11" fmla="*/ 120 h 128"/>
              <a:gd name="T12" fmla="*/ 8 w 128"/>
              <a:gd name="T13" fmla="*/ 64 h 128"/>
              <a:gd name="T14" fmla="*/ 64 w 128"/>
              <a:gd name="T15" fmla="*/ 8 h 128"/>
              <a:gd name="T16" fmla="*/ 120 w 128"/>
              <a:gd name="T17" fmla="*/ 64 h 128"/>
              <a:gd name="T18" fmla="*/ 64 w 128"/>
              <a:gd name="T19" fmla="*/ 120 h 128"/>
              <a:gd name="T20" fmla="*/ 68 w 128"/>
              <a:gd name="T21" fmla="*/ 59 h 128"/>
              <a:gd name="T22" fmla="*/ 68 w 128"/>
              <a:gd name="T23" fmla="*/ 38 h 128"/>
              <a:gd name="T24" fmla="*/ 83 w 128"/>
              <a:gd name="T25" fmla="*/ 48 h 128"/>
              <a:gd name="T26" fmla="*/ 93 w 128"/>
              <a:gd name="T27" fmla="*/ 48 h 128"/>
              <a:gd name="T28" fmla="*/ 68 w 128"/>
              <a:gd name="T29" fmla="*/ 27 h 128"/>
              <a:gd name="T30" fmla="*/ 68 w 128"/>
              <a:gd name="T31" fmla="*/ 20 h 128"/>
              <a:gd name="T32" fmla="*/ 60 w 128"/>
              <a:gd name="T33" fmla="*/ 20 h 128"/>
              <a:gd name="T34" fmla="*/ 60 w 128"/>
              <a:gd name="T35" fmla="*/ 27 h 128"/>
              <a:gd name="T36" fmla="*/ 35 w 128"/>
              <a:gd name="T37" fmla="*/ 48 h 128"/>
              <a:gd name="T38" fmla="*/ 60 w 128"/>
              <a:gd name="T39" fmla="*/ 69 h 128"/>
              <a:gd name="T40" fmla="*/ 60 w 128"/>
              <a:gd name="T41" fmla="*/ 90 h 128"/>
              <a:gd name="T42" fmla="*/ 45 w 128"/>
              <a:gd name="T43" fmla="*/ 80 h 128"/>
              <a:gd name="T44" fmla="*/ 35 w 128"/>
              <a:gd name="T45" fmla="*/ 80 h 128"/>
              <a:gd name="T46" fmla="*/ 60 w 128"/>
              <a:gd name="T47" fmla="*/ 101 h 128"/>
              <a:gd name="T48" fmla="*/ 60 w 128"/>
              <a:gd name="T49" fmla="*/ 108 h 128"/>
              <a:gd name="T50" fmla="*/ 68 w 128"/>
              <a:gd name="T51" fmla="*/ 108 h 128"/>
              <a:gd name="T52" fmla="*/ 68 w 128"/>
              <a:gd name="T53" fmla="*/ 101 h 128"/>
              <a:gd name="T54" fmla="*/ 93 w 128"/>
              <a:gd name="T55" fmla="*/ 80 h 128"/>
              <a:gd name="T56" fmla="*/ 68 w 128"/>
              <a:gd name="T57" fmla="*/ 59 h 128"/>
              <a:gd name="T58" fmla="*/ 45 w 128"/>
              <a:gd name="T59" fmla="*/ 48 h 128"/>
              <a:gd name="T60" fmla="*/ 60 w 128"/>
              <a:gd name="T61" fmla="*/ 37 h 128"/>
              <a:gd name="T62" fmla="*/ 60 w 128"/>
              <a:gd name="T63" fmla="*/ 58 h 128"/>
              <a:gd name="T64" fmla="*/ 45 w 128"/>
              <a:gd name="T65" fmla="*/ 48 h 128"/>
              <a:gd name="T66" fmla="*/ 68 w 128"/>
              <a:gd name="T67" fmla="*/ 91 h 128"/>
              <a:gd name="T68" fmla="*/ 68 w 128"/>
              <a:gd name="T69" fmla="*/ 70 h 128"/>
              <a:gd name="T70" fmla="*/ 83 w 128"/>
              <a:gd name="T71" fmla="*/ 80 h 128"/>
              <a:gd name="T72" fmla="*/ 68 w 128"/>
              <a:gd name="T73" fmla="*/ 9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moveTo>
                  <a:pt x="68" y="59"/>
                </a:moveTo>
                <a:cubicBezTo>
                  <a:pt x="68" y="38"/>
                  <a:pt x="68" y="38"/>
                  <a:pt x="68" y="38"/>
                </a:cubicBezTo>
                <a:cubicBezTo>
                  <a:pt x="77" y="39"/>
                  <a:pt x="83" y="44"/>
                  <a:pt x="83" y="48"/>
                </a:cubicBezTo>
                <a:cubicBezTo>
                  <a:pt x="93" y="48"/>
                  <a:pt x="93" y="48"/>
                  <a:pt x="93" y="48"/>
                </a:cubicBezTo>
                <a:cubicBezTo>
                  <a:pt x="93" y="37"/>
                  <a:pt x="82" y="28"/>
                  <a:pt x="68" y="27"/>
                </a:cubicBezTo>
                <a:cubicBezTo>
                  <a:pt x="68" y="20"/>
                  <a:pt x="68" y="20"/>
                  <a:pt x="68" y="20"/>
                </a:cubicBezTo>
                <a:cubicBezTo>
                  <a:pt x="60" y="20"/>
                  <a:pt x="60" y="20"/>
                  <a:pt x="60" y="20"/>
                </a:cubicBezTo>
                <a:cubicBezTo>
                  <a:pt x="60" y="27"/>
                  <a:pt x="60" y="27"/>
                  <a:pt x="60" y="27"/>
                </a:cubicBezTo>
                <a:cubicBezTo>
                  <a:pt x="37" y="28"/>
                  <a:pt x="35" y="42"/>
                  <a:pt x="35" y="48"/>
                </a:cubicBezTo>
                <a:cubicBezTo>
                  <a:pt x="35" y="63"/>
                  <a:pt x="50" y="68"/>
                  <a:pt x="60" y="69"/>
                </a:cubicBezTo>
                <a:cubicBezTo>
                  <a:pt x="60" y="90"/>
                  <a:pt x="60" y="90"/>
                  <a:pt x="60" y="90"/>
                </a:cubicBezTo>
                <a:cubicBezTo>
                  <a:pt x="51" y="89"/>
                  <a:pt x="45" y="84"/>
                  <a:pt x="45" y="80"/>
                </a:cubicBezTo>
                <a:cubicBezTo>
                  <a:pt x="35" y="80"/>
                  <a:pt x="35" y="80"/>
                  <a:pt x="35" y="80"/>
                </a:cubicBezTo>
                <a:cubicBezTo>
                  <a:pt x="35" y="91"/>
                  <a:pt x="46" y="100"/>
                  <a:pt x="60" y="101"/>
                </a:cubicBezTo>
                <a:cubicBezTo>
                  <a:pt x="60" y="108"/>
                  <a:pt x="60" y="108"/>
                  <a:pt x="60" y="108"/>
                </a:cubicBezTo>
                <a:cubicBezTo>
                  <a:pt x="68" y="108"/>
                  <a:pt x="68" y="108"/>
                  <a:pt x="68" y="108"/>
                </a:cubicBezTo>
                <a:cubicBezTo>
                  <a:pt x="68" y="101"/>
                  <a:pt x="68" y="101"/>
                  <a:pt x="68" y="101"/>
                </a:cubicBezTo>
                <a:cubicBezTo>
                  <a:pt x="91" y="100"/>
                  <a:pt x="93" y="86"/>
                  <a:pt x="93" y="80"/>
                </a:cubicBezTo>
                <a:cubicBezTo>
                  <a:pt x="93" y="65"/>
                  <a:pt x="78" y="60"/>
                  <a:pt x="68" y="59"/>
                </a:cubicBezTo>
                <a:close/>
                <a:moveTo>
                  <a:pt x="45" y="48"/>
                </a:moveTo>
                <a:cubicBezTo>
                  <a:pt x="45" y="46"/>
                  <a:pt x="45" y="39"/>
                  <a:pt x="60" y="37"/>
                </a:cubicBezTo>
                <a:cubicBezTo>
                  <a:pt x="60" y="58"/>
                  <a:pt x="60" y="58"/>
                  <a:pt x="60" y="58"/>
                </a:cubicBezTo>
                <a:cubicBezTo>
                  <a:pt x="55" y="58"/>
                  <a:pt x="45" y="55"/>
                  <a:pt x="45" y="48"/>
                </a:cubicBezTo>
                <a:close/>
                <a:moveTo>
                  <a:pt x="68" y="91"/>
                </a:moveTo>
                <a:cubicBezTo>
                  <a:pt x="68" y="70"/>
                  <a:pt x="68" y="70"/>
                  <a:pt x="68" y="70"/>
                </a:cubicBezTo>
                <a:cubicBezTo>
                  <a:pt x="73" y="70"/>
                  <a:pt x="83" y="73"/>
                  <a:pt x="83" y="80"/>
                </a:cubicBezTo>
                <a:cubicBezTo>
                  <a:pt x="83" y="82"/>
                  <a:pt x="83" y="89"/>
                  <a:pt x="68" y="9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6" name="Freeform 121">
            <a:extLst>
              <a:ext uri="{FF2B5EF4-FFF2-40B4-BE49-F238E27FC236}">
                <a16:creationId xmlns:a16="http://schemas.microsoft.com/office/drawing/2014/main" id="{971A8709-84EC-4916-9F1E-463A383386E6}"/>
              </a:ext>
            </a:extLst>
          </p:cNvPr>
          <p:cNvSpPr>
            <a:spLocks noEditPoints="1"/>
          </p:cNvSpPr>
          <p:nvPr/>
        </p:nvSpPr>
        <p:spPr bwMode="auto">
          <a:xfrm>
            <a:off x="688481" y="4050221"/>
            <a:ext cx="211138" cy="414338"/>
          </a:xfrm>
          <a:custGeom>
            <a:avLst/>
            <a:gdLst>
              <a:gd name="T0" fmla="*/ 40 w 64"/>
              <a:gd name="T1" fmla="*/ 95 h 128"/>
              <a:gd name="T2" fmla="*/ 40 w 64"/>
              <a:gd name="T3" fmla="*/ 120 h 128"/>
              <a:gd name="T4" fmla="*/ 64 w 64"/>
              <a:gd name="T5" fmla="*/ 120 h 128"/>
              <a:gd name="T6" fmla="*/ 64 w 64"/>
              <a:gd name="T7" fmla="*/ 128 h 128"/>
              <a:gd name="T8" fmla="*/ 0 w 64"/>
              <a:gd name="T9" fmla="*/ 128 h 128"/>
              <a:gd name="T10" fmla="*/ 0 w 64"/>
              <a:gd name="T11" fmla="*/ 120 h 128"/>
              <a:gd name="T12" fmla="*/ 24 w 64"/>
              <a:gd name="T13" fmla="*/ 120 h 128"/>
              <a:gd name="T14" fmla="*/ 24 w 64"/>
              <a:gd name="T15" fmla="*/ 95 h 128"/>
              <a:gd name="T16" fmla="*/ 0 w 64"/>
              <a:gd name="T17" fmla="*/ 64 h 128"/>
              <a:gd name="T18" fmla="*/ 0 w 64"/>
              <a:gd name="T19" fmla="*/ 32 h 128"/>
              <a:gd name="T20" fmla="*/ 8 w 64"/>
              <a:gd name="T21" fmla="*/ 32 h 128"/>
              <a:gd name="T22" fmla="*/ 8 w 64"/>
              <a:gd name="T23" fmla="*/ 64 h 128"/>
              <a:gd name="T24" fmla="*/ 32 w 64"/>
              <a:gd name="T25" fmla="*/ 88 h 128"/>
              <a:gd name="T26" fmla="*/ 56 w 64"/>
              <a:gd name="T27" fmla="*/ 64 h 128"/>
              <a:gd name="T28" fmla="*/ 56 w 64"/>
              <a:gd name="T29" fmla="*/ 32 h 128"/>
              <a:gd name="T30" fmla="*/ 64 w 64"/>
              <a:gd name="T31" fmla="*/ 32 h 128"/>
              <a:gd name="T32" fmla="*/ 64 w 64"/>
              <a:gd name="T33" fmla="*/ 64 h 128"/>
              <a:gd name="T34" fmla="*/ 40 w 64"/>
              <a:gd name="T35" fmla="*/ 95 h 128"/>
              <a:gd name="T36" fmla="*/ 48 w 64"/>
              <a:gd name="T37" fmla="*/ 16 h 128"/>
              <a:gd name="T38" fmla="*/ 48 w 64"/>
              <a:gd name="T39" fmla="*/ 64 h 128"/>
              <a:gd name="T40" fmla="*/ 32 w 64"/>
              <a:gd name="T41" fmla="*/ 80 h 128"/>
              <a:gd name="T42" fmla="*/ 16 w 64"/>
              <a:gd name="T43" fmla="*/ 64 h 128"/>
              <a:gd name="T44" fmla="*/ 16 w 64"/>
              <a:gd name="T45" fmla="*/ 16 h 128"/>
              <a:gd name="T46" fmla="*/ 32 w 64"/>
              <a:gd name="T47" fmla="*/ 0 h 128"/>
              <a:gd name="T48" fmla="*/ 48 w 64"/>
              <a:gd name="T49" fmla="*/ 16 h 128"/>
              <a:gd name="T50" fmla="*/ 40 w 64"/>
              <a:gd name="T51" fmla="*/ 16 h 128"/>
              <a:gd name="T52" fmla="*/ 32 w 64"/>
              <a:gd name="T53" fmla="*/ 8 h 128"/>
              <a:gd name="T54" fmla="*/ 24 w 64"/>
              <a:gd name="T55" fmla="*/ 16 h 128"/>
              <a:gd name="T56" fmla="*/ 24 w 64"/>
              <a:gd name="T57" fmla="*/ 64 h 128"/>
              <a:gd name="T58" fmla="*/ 32 w 64"/>
              <a:gd name="T59" fmla="*/ 72 h 128"/>
              <a:gd name="T60" fmla="*/ 40 w 64"/>
              <a:gd name="T61" fmla="*/ 64 h 128"/>
              <a:gd name="T62" fmla="*/ 40 w 64"/>
              <a:gd name="T63"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128">
                <a:moveTo>
                  <a:pt x="40" y="95"/>
                </a:moveTo>
                <a:cubicBezTo>
                  <a:pt x="40" y="120"/>
                  <a:pt x="40" y="120"/>
                  <a:pt x="40" y="120"/>
                </a:cubicBezTo>
                <a:cubicBezTo>
                  <a:pt x="64" y="120"/>
                  <a:pt x="64" y="120"/>
                  <a:pt x="64" y="120"/>
                </a:cubicBezTo>
                <a:cubicBezTo>
                  <a:pt x="64" y="128"/>
                  <a:pt x="64" y="128"/>
                  <a:pt x="64" y="128"/>
                </a:cubicBezTo>
                <a:cubicBezTo>
                  <a:pt x="0" y="128"/>
                  <a:pt x="0" y="128"/>
                  <a:pt x="0" y="128"/>
                </a:cubicBezTo>
                <a:cubicBezTo>
                  <a:pt x="0" y="120"/>
                  <a:pt x="0" y="120"/>
                  <a:pt x="0" y="120"/>
                </a:cubicBezTo>
                <a:cubicBezTo>
                  <a:pt x="24" y="120"/>
                  <a:pt x="24" y="120"/>
                  <a:pt x="24" y="120"/>
                </a:cubicBezTo>
                <a:cubicBezTo>
                  <a:pt x="24" y="95"/>
                  <a:pt x="24" y="95"/>
                  <a:pt x="24" y="95"/>
                </a:cubicBezTo>
                <a:cubicBezTo>
                  <a:pt x="10" y="91"/>
                  <a:pt x="0" y="79"/>
                  <a:pt x="0" y="64"/>
                </a:cubicBezTo>
                <a:cubicBezTo>
                  <a:pt x="0" y="32"/>
                  <a:pt x="0" y="32"/>
                  <a:pt x="0" y="32"/>
                </a:cubicBezTo>
                <a:cubicBezTo>
                  <a:pt x="8" y="32"/>
                  <a:pt x="8" y="32"/>
                  <a:pt x="8" y="32"/>
                </a:cubicBezTo>
                <a:cubicBezTo>
                  <a:pt x="8" y="64"/>
                  <a:pt x="8" y="64"/>
                  <a:pt x="8" y="64"/>
                </a:cubicBezTo>
                <a:cubicBezTo>
                  <a:pt x="8" y="77"/>
                  <a:pt x="19" y="88"/>
                  <a:pt x="32" y="88"/>
                </a:cubicBezTo>
                <a:cubicBezTo>
                  <a:pt x="45" y="88"/>
                  <a:pt x="56" y="77"/>
                  <a:pt x="56" y="64"/>
                </a:cubicBezTo>
                <a:cubicBezTo>
                  <a:pt x="56" y="32"/>
                  <a:pt x="56" y="32"/>
                  <a:pt x="56" y="32"/>
                </a:cubicBezTo>
                <a:cubicBezTo>
                  <a:pt x="64" y="32"/>
                  <a:pt x="64" y="32"/>
                  <a:pt x="64" y="32"/>
                </a:cubicBezTo>
                <a:cubicBezTo>
                  <a:pt x="64" y="64"/>
                  <a:pt x="64" y="64"/>
                  <a:pt x="64" y="64"/>
                </a:cubicBezTo>
                <a:cubicBezTo>
                  <a:pt x="64" y="79"/>
                  <a:pt x="54" y="91"/>
                  <a:pt x="40" y="95"/>
                </a:cubicBezTo>
                <a:close/>
                <a:moveTo>
                  <a:pt x="48" y="16"/>
                </a:moveTo>
                <a:cubicBezTo>
                  <a:pt x="48" y="64"/>
                  <a:pt x="48" y="64"/>
                  <a:pt x="48" y="64"/>
                </a:cubicBezTo>
                <a:cubicBezTo>
                  <a:pt x="48" y="73"/>
                  <a:pt x="41" y="80"/>
                  <a:pt x="32" y="80"/>
                </a:cubicBezTo>
                <a:cubicBezTo>
                  <a:pt x="23" y="80"/>
                  <a:pt x="16" y="73"/>
                  <a:pt x="16" y="64"/>
                </a:cubicBezTo>
                <a:cubicBezTo>
                  <a:pt x="16" y="16"/>
                  <a:pt x="16" y="16"/>
                  <a:pt x="16" y="16"/>
                </a:cubicBezTo>
                <a:cubicBezTo>
                  <a:pt x="16" y="7"/>
                  <a:pt x="23" y="0"/>
                  <a:pt x="32" y="0"/>
                </a:cubicBezTo>
                <a:cubicBezTo>
                  <a:pt x="41" y="0"/>
                  <a:pt x="48" y="7"/>
                  <a:pt x="48" y="16"/>
                </a:cubicBezTo>
                <a:close/>
                <a:moveTo>
                  <a:pt x="40" y="16"/>
                </a:moveTo>
                <a:cubicBezTo>
                  <a:pt x="40" y="12"/>
                  <a:pt x="36" y="8"/>
                  <a:pt x="32" y="8"/>
                </a:cubicBezTo>
                <a:cubicBezTo>
                  <a:pt x="28" y="8"/>
                  <a:pt x="24" y="12"/>
                  <a:pt x="24" y="16"/>
                </a:cubicBezTo>
                <a:cubicBezTo>
                  <a:pt x="24" y="64"/>
                  <a:pt x="24" y="64"/>
                  <a:pt x="24" y="64"/>
                </a:cubicBezTo>
                <a:cubicBezTo>
                  <a:pt x="24" y="68"/>
                  <a:pt x="28" y="72"/>
                  <a:pt x="32" y="72"/>
                </a:cubicBezTo>
                <a:cubicBezTo>
                  <a:pt x="36" y="72"/>
                  <a:pt x="40" y="68"/>
                  <a:pt x="40" y="64"/>
                </a:cubicBezTo>
                <a:lnTo>
                  <a:pt x="40" y="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7" name="Freeform 125">
            <a:extLst>
              <a:ext uri="{FF2B5EF4-FFF2-40B4-BE49-F238E27FC236}">
                <a16:creationId xmlns:a16="http://schemas.microsoft.com/office/drawing/2014/main" id="{146857FD-848B-4B6C-AF3E-BF646FBE875D}"/>
              </a:ext>
            </a:extLst>
          </p:cNvPr>
          <p:cNvSpPr>
            <a:spLocks noEditPoints="1"/>
          </p:cNvSpPr>
          <p:nvPr/>
        </p:nvSpPr>
        <p:spPr bwMode="auto">
          <a:xfrm>
            <a:off x="1667426" y="4050221"/>
            <a:ext cx="412750" cy="414338"/>
          </a:xfrm>
          <a:custGeom>
            <a:avLst/>
            <a:gdLst>
              <a:gd name="T0" fmla="*/ 175 w 260"/>
              <a:gd name="T1" fmla="*/ 98 h 261"/>
              <a:gd name="T2" fmla="*/ 236 w 260"/>
              <a:gd name="T3" fmla="*/ 98 h 261"/>
              <a:gd name="T4" fmla="*/ 236 w 260"/>
              <a:gd name="T5" fmla="*/ 114 h 261"/>
              <a:gd name="T6" fmla="*/ 146 w 260"/>
              <a:gd name="T7" fmla="*/ 114 h 261"/>
              <a:gd name="T8" fmla="*/ 146 w 260"/>
              <a:gd name="T9" fmla="*/ 24 h 261"/>
              <a:gd name="T10" fmla="*/ 162 w 260"/>
              <a:gd name="T11" fmla="*/ 24 h 261"/>
              <a:gd name="T12" fmla="*/ 162 w 260"/>
              <a:gd name="T13" fmla="*/ 86 h 261"/>
              <a:gd name="T14" fmla="*/ 248 w 260"/>
              <a:gd name="T15" fmla="*/ 0 h 261"/>
              <a:gd name="T16" fmla="*/ 260 w 260"/>
              <a:gd name="T17" fmla="*/ 12 h 261"/>
              <a:gd name="T18" fmla="*/ 175 w 260"/>
              <a:gd name="T19" fmla="*/ 98 h 261"/>
              <a:gd name="T20" fmla="*/ 24 w 260"/>
              <a:gd name="T21" fmla="*/ 147 h 261"/>
              <a:gd name="T22" fmla="*/ 24 w 260"/>
              <a:gd name="T23" fmla="*/ 163 h 261"/>
              <a:gd name="T24" fmla="*/ 87 w 260"/>
              <a:gd name="T25" fmla="*/ 163 h 261"/>
              <a:gd name="T26" fmla="*/ 0 w 260"/>
              <a:gd name="T27" fmla="*/ 249 h 261"/>
              <a:gd name="T28" fmla="*/ 12 w 260"/>
              <a:gd name="T29" fmla="*/ 261 h 261"/>
              <a:gd name="T30" fmla="*/ 97 w 260"/>
              <a:gd name="T31" fmla="*/ 173 h 261"/>
              <a:gd name="T32" fmla="*/ 97 w 260"/>
              <a:gd name="T33" fmla="*/ 236 h 261"/>
              <a:gd name="T34" fmla="*/ 114 w 260"/>
              <a:gd name="T35" fmla="*/ 236 h 261"/>
              <a:gd name="T36" fmla="*/ 114 w 260"/>
              <a:gd name="T37" fmla="*/ 147 h 261"/>
              <a:gd name="T38" fmla="*/ 24 w 260"/>
              <a:gd name="T39" fmla="*/ 14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0" h="261">
                <a:moveTo>
                  <a:pt x="175" y="98"/>
                </a:moveTo>
                <a:lnTo>
                  <a:pt x="236" y="98"/>
                </a:lnTo>
                <a:lnTo>
                  <a:pt x="236" y="114"/>
                </a:lnTo>
                <a:lnTo>
                  <a:pt x="146" y="114"/>
                </a:lnTo>
                <a:lnTo>
                  <a:pt x="146" y="24"/>
                </a:lnTo>
                <a:lnTo>
                  <a:pt x="162" y="24"/>
                </a:lnTo>
                <a:lnTo>
                  <a:pt x="162" y="86"/>
                </a:lnTo>
                <a:lnTo>
                  <a:pt x="248" y="0"/>
                </a:lnTo>
                <a:lnTo>
                  <a:pt x="260" y="12"/>
                </a:lnTo>
                <a:lnTo>
                  <a:pt x="175" y="98"/>
                </a:lnTo>
                <a:close/>
                <a:moveTo>
                  <a:pt x="24" y="147"/>
                </a:moveTo>
                <a:lnTo>
                  <a:pt x="24" y="163"/>
                </a:lnTo>
                <a:lnTo>
                  <a:pt x="87" y="163"/>
                </a:lnTo>
                <a:lnTo>
                  <a:pt x="0" y="249"/>
                </a:lnTo>
                <a:lnTo>
                  <a:pt x="12" y="261"/>
                </a:lnTo>
                <a:lnTo>
                  <a:pt x="97" y="173"/>
                </a:lnTo>
                <a:lnTo>
                  <a:pt x="97" y="236"/>
                </a:lnTo>
                <a:lnTo>
                  <a:pt x="114" y="236"/>
                </a:lnTo>
                <a:lnTo>
                  <a:pt x="114" y="147"/>
                </a:lnTo>
                <a:lnTo>
                  <a:pt x="24" y="14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8" name="Freeform 129">
            <a:extLst>
              <a:ext uri="{FF2B5EF4-FFF2-40B4-BE49-F238E27FC236}">
                <a16:creationId xmlns:a16="http://schemas.microsoft.com/office/drawing/2014/main" id="{439DA69E-A62D-4577-B62C-3F4445FCFE78}"/>
              </a:ext>
            </a:extLst>
          </p:cNvPr>
          <p:cNvSpPr>
            <a:spLocks noEditPoints="1"/>
          </p:cNvSpPr>
          <p:nvPr/>
        </p:nvSpPr>
        <p:spPr bwMode="auto">
          <a:xfrm>
            <a:off x="2702734" y="4101591"/>
            <a:ext cx="364366" cy="362968"/>
          </a:xfrm>
          <a:custGeom>
            <a:avLst/>
            <a:gdLst>
              <a:gd name="T0" fmla="*/ 118 w 261"/>
              <a:gd name="T1" fmla="*/ 164 h 260"/>
              <a:gd name="T2" fmla="*/ 96 w 261"/>
              <a:gd name="T3" fmla="*/ 142 h 260"/>
              <a:gd name="T4" fmla="*/ 0 w 261"/>
              <a:gd name="T5" fmla="*/ 238 h 260"/>
              <a:gd name="T6" fmla="*/ 22 w 261"/>
              <a:gd name="T7" fmla="*/ 260 h 260"/>
              <a:gd name="T8" fmla="*/ 118 w 261"/>
              <a:gd name="T9" fmla="*/ 164 h 260"/>
              <a:gd name="T10" fmla="*/ 175 w 261"/>
              <a:gd name="T11" fmla="*/ 61 h 260"/>
              <a:gd name="T12" fmla="*/ 149 w 261"/>
              <a:gd name="T13" fmla="*/ 35 h 260"/>
              <a:gd name="T14" fmla="*/ 183 w 261"/>
              <a:gd name="T15" fmla="*/ 0 h 260"/>
              <a:gd name="T16" fmla="*/ 210 w 261"/>
              <a:gd name="T17" fmla="*/ 26 h 260"/>
              <a:gd name="T18" fmla="*/ 220 w 261"/>
              <a:gd name="T19" fmla="*/ 16 h 260"/>
              <a:gd name="T20" fmla="*/ 245 w 261"/>
              <a:gd name="T21" fmla="*/ 39 h 260"/>
              <a:gd name="T22" fmla="*/ 234 w 261"/>
              <a:gd name="T23" fmla="*/ 49 h 260"/>
              <a:gd name="T24" fmla="*/ 253 w 261"/>
              <a:gd name="T25" fmla="*/ 69 h 260"/>
              <a:gd name="T26" fmla="*/ 253 w 261"/>
              <a:gd name="T27" fmla="*/ 138 h 260"/>
              <a:gd name="T28" fmla="*/ 200 w 261"/>
              <a:gd name="T29" fmla="*/ 83 h 260"/>
              <a:gd name="T30" fmla="*/ 165 w 261"/>
              <a:gd name="T31" fmla="*/ 118 h 260"/>
              <a:gd name="T32" fmla="*/ 143 w 261"/>
              <a:gd name="T33" fmla="*/ 95 h 260"/>
              <a:gd name="T34" fmla="*/ 175 w 261"/>
              <a:gd name="T35" fmla="*/ 61 h 260"/>
              <a:gd name="T36" fmla="*/ 130 w 261"/>
              <a:gd name="T37" fmla="*/ 106 h 260"/>
              <a:gd name="T38" fmla="*/ 130 w 261"/>
              <a:gd name="T39" fmla="*/ 106 h 260"/>
              <a:gd name="T40" fmla="*/ 261 w 261"/>
              <a:gd name="T41" fmla="*/ 238 h 260"/>
              <a:gd name="T42" fmla="*/ 238 w 261"/>
              <a:gd name="T43" fmla="*/ 260 h 260"/>
              <a:gd name="T44" fmla="*/ 67 w 261"/>
              <a:gd name="T45" fmla="*/ 89 h 260"/>
              <a:gd name="T46" fmla="*/ 35 w 261"/>
              <a:gd name="T47" fmla="*/ 122 h 260"/>
              <a:gd name="T48" fmla="*/ 0 w 261"/>
              <a:gd name="T49" fmla="*/ 85 h 260"/>
              <a:gd name="T50" fmla="*/ 86 w 261"/>
              <a:gd name="T51" fmla="*/ 0 h 260"/>
              <a:gd name="T52" fmla="*/ 122 w 261"/>
              <a:gd name="T53" fmla="*/ 35 h 260"/>
              <a:gd name="T54" fmla="*/ 90 w 261"/>
              <a:gd name="T55" fmla="*/ 67 h 260"/>
              <a:gd name="T56" fmla="*/ 261 w 261"/>
              <a:gd name="T57" fmla="*/ 23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1" h="260">
                <a:moveTo>
                  <a:pt x="118" y="164"/>
                </a:moveTo>
                <a:lnTo>
                  <a:pt x="96" y="142"/>
                </a:lnTo>
                <a:lnTo>
                  <a:pt x="0" y="238"/>
                </a:lnTo>
                <a:lnTo>
                  <a:pt x="22" y="260"/>
                </a:lnTo>
                <a:lnTo>
                  <a:pt x="118" y="164"/>
                </a:lnTo>
                <a:close/>
                <a:moveTo>
                  <a:pt x="175" y="61"/>
                </a:moveTo>
                <a:lnTo>
                  <a:pt x="149" y="35"/>
                </a:lnTo>
                <a:lnTo>
                  <a:pt x="183" y="0"/>
                </a:lnTo>
                <a:lnTo>
                  <a:pt x="210" y="26"/>
                </a:lnTo>
                <a:lnTo>
                  <a:pt x="220" y="16"/>
                </a:lnTo>
                <a:lnTo>
                  <a:pt x="245" y="39"/>
                </a:lnTo>
                <a:lnTo>
                  <a:pt x="234" y="49"/>
                </a:lnTo>
                <a:lnTo>
                  <a:pt x="253" y="69"/>
                </a:lnTo>
                <a:lnTo>
                  <a:pt x="253" y="138"/>
                </a:lnTo>
                <a:lnTo>
                  <a:pt x="200" y="83"/>
                </a:lnTo>
                <a:lnTo>
                  <a:pt x="165" y="118"/>
                </a:lnTo>
                <a:lnTo>
                  <a:pt x="143" y="95"/>
                </a:lnTo>
                <a:lnTo>
                  <a:pt x="175" y="61"/>
                </a:lnTo>
                <a:close/>
                <a:moveTo>
                  <a:pt x="130" y="106"/>
                </a:moveTo>
                <a:lnTo>
                  <a:pt x="130" y="106"/>
                </a:lnTo>
                <a:close/>
                <a:moveTo>
                  <a:pt x="261" y="238"/>
                </a:moveTo>
                <a:lnTo>
                  <a:pt x="238" y="260"/>
                </a:lnTo>
                <a:lnTo>
                  <a:pt x="67" y="89"/>
                </a:lnTo>
                <a:lnTo>
                  <a:pt x="35" y="122"/>
                </a:lnTo>
                <a:lnTo>
                  <a:pt x="0" y="85"/>
                </a:lnTo>
                <a:lnTo>
                  <a:pt x="86" y="0"/>
                </a:lnTo>
                <a:lnTo>
                  <a:pt x="122" y="35"/>
                </a:lnTo>
                <a:lnTo>
                  <a:pt x="90" y="67"/>
                </a:lnTo>
                <a:lnTo>
                  <a:pt x="261" y="23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9" name="Freeform 134">
            <a:extLst>
              <a:ext uri="{FF2B5EF4-FFF2-40B4-BE49-F238E27FC236}">
                <a16:creationId xmlns:a16="http://schemas.microsoft.com/office/drawing/2014/main" id="{766A7C22-D78B-4137-B661-43A060F3A78D}"/>
              </a:ext>
            </a:extLst>
          </p:cNvPr>
          <p:cNvSpPr>
            <a:spLocks noEditPoints="1"/>
          </p:cNvSpPr>
          <p:nvPr/>
        </p:nvSpPr>
        <p:spPr bwMode="auto">
          <a:xfrm>
            <a:off x="3824783" y="4050034"/>
            <a:ext cx="211138" cy="412750"/>
          </a:xfrm>
          <a:custGeom>
            <a:avLst/>
            <a:gdLst>
              <a:gd name="T0" fmla="*/ 56 w 64"/>
              <a:gd name="T1" fmla="*/ 0 h 128"/>
              <a:gd name="T2" fmla="*/ 8 w 64"/>
              <a:gd name="T3" fmla="*/ 0 h 128"/>
              <a:gd name="T4" fmla="*/ 0 w 64"/>
              <a:gd name="T5" fmla="*/ 8 h 128"/>
              <a:gd name="T6" fmla="*/ 0 w 64"/>
              <a:gd name="T7" fmla="*/ 120 h 128"/>
              <a:gd name="T8" fmla="*/ 8 w 64"/>
              <a:gd name="T9" fmla="*/ 128 h 128"/>
              <a:gd name="T10" fmla="*/ 56 w 64"/>
              <a:gd name="T11" fmla="*/ 128 h 128"/>
              <a:gd name="T12" fmla="*/ 64 w 64"/>
              <a:gd name="T13" fmla="*/ 120 h 128"/>
              <a:gd name="T14" fmla="*/ 64 w 64"/>
              <a:gd name="T15" fmla="*/ 8 h 128"/>
              <a:gd name="T16" fmla="*/ 56 w 64"/>
              <a:gd name="T17" fmla="*/ 0 h 128"/>
              <a:gd name="T18" fmla="*/ 24 w 64"/>
              <a:gd name="T19" fmla="*/ 8 h 128"/>
              <a:gd name="T20" fmla="*/ 40 w 64"/>
              <a:gd name="T21" fmla="*/ 8 h 128"/>
              <a:gd name="T22" fmla="*/ 40 w 64"/>
              <a:gd name="T23" fmla="*/ 12 h 128"/>
              <a:gd name="T24" fmla="*/ 24 w 64"/>
              <a:gd name="T25" fmla="*/ 12 h 128"/>
              <a:gd name="T26" fmla="*/ 24 w 64"/>
              <a:gd name="T27" fmla="*/ 8 h 128"/>
              <a:gd name="T28" fmla="*/ 28 w 64"/>
              <a:gd name="T29" fmla="*/ 112 h 128"/>
              <a:gd name="T30" fmla="*/ 36 w 64"/>
              <a:gd name="T31" fmla="*/ 112 h 128"/>
              <a:gd name="T32" fmla="*/ 36 w 64"/>
              <a:gd name="T33" fmla="*/ 120 h 128"/>
              <a:gd name="T34" fmla="*/ 28 w 64"/>
              <a:gd name="T35" fmla="*/ 120 h 128"/>
              <a:gd name="T36" fmla="*/ 28 w 64"/>
              <a:gd name="T37" fmla="*/ 112 h 128"/>
              <a:gd name="T38" fmla="*/ 4 w 64"/>
              <a:gd name="T39" fmla="*/ 108 h 128"/>
              <a:gd name="T40" fmla="*/ 4 w 64"/>
              <a:gd name="T41" fmla="*/ 16 h 128"/>
              <a:gd name="T42" fmla="*/ 60 w 64"/>
              <a:gd name="T43" fmla="*/ 16 h 128"/>
              <a:gd name="T44" fmla="*/ 60 w 64"/>
              <a:gd name="T45" fmla="*/ 108 h 128"/>
              <a:gd name="T46" fmla="*/ 4 w 64"/>
              <a:gd name="T47" fmla="*/ 10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4" h="128">
                <a:moveTo>
                  <a:pt x="56" y="0"/>
                </a:moveTo>
                <a:cubicBezTo>
                  <a:pt x="8" y="0"/>
                  <a:pt x="8" y="0"/>
                  <a:pt x="8" y="0"/>
                </a:cubicBezTo>
                <a:cubicBezTo>
                  <a:pt x="3" y="0"/>
                  <a:pt x="0" y="4"/>
                  <a:pt x="0" y="8"/>
                </a:cubicBezTo>
                <a:cubicBezTo>
                  <a:pt x="0" y="120"/>
                  <a:pt x="0" y="120"/>
                  <a:pt x="0" y="120"/>
                </a:cubicBezTo>
                <a:cubicBezTo>
                  <a:pt x="0" y="124"/>
                  <a:pt x="4" y="128"/>
                  <a:pt x="8" y="128"/>
                </a:cubicBezTo>
                <a:cubicBezTo>
                  <a:pt x="56" y="128"/>
                  <a:pt x="56" y="128"/>
                  <a:pt x="56" y="128"/>
                </a:cubicBezTo>
                <a:cubicBezTo>
                  <a:pt x="60" y="128"/>
                  <a:pt x="64" y="124"/>
                  <a:pt x="64" y="120"/>
                </a:cubicBezTo>
                <a:cubicBezTo>
                  <a:pt x="64" y="8"/>
                  <a:pt x="64" y="8"/>
                  <a:pt x="64" y="8"/>
                </a:cubicBezTo>
                <a:cubicBezTo>
                  <a:pt x="64" y="4"/>
                  <a:pt x="61" y="0"/>
                  <a:pt x="56" y="0"/>
                </a:cubicBezTo>
                <a:close/>
                <a:moveTo>
                  <a:pt x="24" y="8"/>
                </a:moveTo>
                <a:cubicBezTo>
                  <a:pt x="40" y="8"/>
                  <a:pt x="40" y="8"/>
                  <a:pt x="40" y="8"/>
                </a:cubicBezTo>
                <a:cubicBezTo>
                  <a:pt x="40" y="12"/>
                  <a:pt x="40" y="12"/>
                  <a:pt x="40" y="12"/>
                </a:cubicBezTo>
                <a:cubicBezTo>
                  <a:pt x="24" y="12"/>
                  <a:pt x="24" y="12"/>
                  <a:pt x="24" y="12"/>
                </a:cubicBezTo>
                <a:lnTo>
                  <a:pt x="24" y="8"/>
                </a:lnTo>
                <a:close/>
                <a:moveTo>
                  <a:pt x="28" y="112"/>
                </a:moveTo>
                <a:cubicBezTo>
                  <a:pt x="36" y="112"/>
                  <a:pt x="36" y="112"/>
                  <a:pt x="36" y="112"/>
                </a:cubicBezTo>
                <a:cubicBezTo>
                  <a:pt x="36" y="120"/>
                  <a:pt x="36" y="120"/>
                  <a:pt x="36" y="120"/>
                </a:cubicBezTo>
                <a:cubicBezTo>
                  <a:pt x="28" y="120"/>
                  <a:pt x="28" y="120"/>
                  <a:pt x="28" y="120"/>
                </a:cubicBezTo>
                <a:lnTo>
                  <a:pt x="28" y="112"/>
                </a:lnTo>
                <a:close/>
                <a:moveTo>
                  <a:pt x="4" y="108"/>
                </a:moveTo>
                <a:cubicBezTo>
                  <a:pt x="4" y="16"/>
                  <a:pt x="4" y="16"/>
                  <a:pt x="4" y="16"/>
                </a:cubicBezTo>
                <a:cubicBezTo>
                  <a:pt x="60" y="16"/>
                  <a:pt x="60" y="16"/>
                  <a:pt x="60" y="16"/>
                </a:cubicBezTo>
                <a:cubicBezTo>
                  <a:pt x="60" y="108"/>
                  <a:pt x="60" y="108"/>
                  <a:pt x="60" y="108"/>
                </a:cubicBezTo>
                <a:lnTo>
                  <a:pt x="4" y="10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6" name="Freeform 138">
            <a:extLst>
              <a:ext uri="{FF2B5EF4-FFF2-40B4-BE49-F238E27FC236}">
                <a16:creationId xmlns:a16="http://schemas.microsoft.com/office/drawing/2014/main" id="{0B529F2C-F346-4A91-855C-58A1A74BB9AC}"/>
              </a:ext>
            </a:extLst>
          </p:cNvPr>
          <p:cNvSpPr>
            <a:spLocks noEditPoints="1"/>
          </p:cNvSpPr>
          <p:nvPr/>
        </p:nvSpPr>
        <p:spPr bwMode="auto">
          <a:xfrm>
            <a:off x="5031880" y="1590746"/>
            <a:ext cx="361950" cy="414338"/>
          </a:xfrm>
          <a:custGeom>
            <a:avLst/>
            <a:gdLst>
              <a:gd name="T0" fmla="*/ 228 w 228"/>
              <a:gd name="T1" fmla="*/ 98 h 261"/>
              <a:gd name="T2" fmla="*/ 228 w 228"/>
              <a:gd name="T3" fmla="*/ 106 h 261"/>
              <a:gd name="T4" fmla="*/ 0 w 228"/>
              <a:gd name="T5" fmla="*/ 106 h 261"/>
              <a:gd name="T6" fmla="*/ 0 w 228"/>
              <a:gd name="T7" fmla="*/ 98 h 261"/>
              <a:gd name="T8" fmla="*/ 61 w 228"/>
              <a:gd name="T9" fmla="*/ 98 h 261"/>
              <a:gd name="T10" fmla="*/ 75 w 228"/>
              <a:gd name="T11" fmla="*/ 0 h 261"/>
              <a:gd name="T12" fmla="*/ 92 w 228"/>
              <a:gd name="T13" fmla="*/ 0 h 261"/>
              <a:gd name="T14" fmla="*/ 77 w 228"/>
              <a:gd name="T15" fmla="*/ 98 h 261"/>
              <a:gd name="T16" fmla="*/ 110 w 228"/>
              <a:gd name="T17" fmla="*/ 98 h 261"/>
              <a:gd name="T18" fmla="*/ 110 w 228"/>
              <a:gd name="T19" fmla="*/ 0 h 261"/>
              <a:gd name="T20" fmla="*/ 118 w 228"/>
              <a:gd name="T21" fmla="*/ 0 h 261"/>
              <a:gd name="T22" fmla="*/ 118 w 228"/>
              <a:gd name="T23" fmla="*/ 98 h 261"/>
              <a:gd name="T24" fmla="*/ 151 w 228"/>
              <a:gd name="T25" fmla="*/ 98 h 261"/>
              <a:gd name="T26" fmla="*/ 136 w 228"/>
              <a:gd name="T27" fmla="*/ 0 h 261"/>
              <a:gd name="T28" fmla="*/ 153 w 228"/>
              <a:gd name="T29" fmla="*/ 0 h 261"/>
              <a:gd name="T30" fmla="*/ 167 w 228"/>
              <a:gd name="T31" fmla="*/ 98 h 261"/>
              <a:gd name="T32" fmla="*/ 228 w 228"/>
              <a:gd name="T33" fmla="*/ 98 h 261"/>
              <a:gd name="T34" fmla="*/ 0 w 228"/>
              <a:gd name="T35" fmla="*/ 126 h 261"/>
              <a:gd name="T36" fmla="*/ 228 w 228"/>
              <a:gd name="T37" fmla="*/ 126 h 261"/>
              <a:gd name="T38" fmla="*/ 228 w 228"/>
              <a:gd name="T39" fmla="*/ 135 h 261"/>
              <a:gd name="T40" fmla="*/ 204 w 228"/>
              <a:gd name="T41" fmla="*/ 135 h 261"/>
              <a:gd name="T42" fmla="*/ 204 w 228"/>
              <a:gd name="T43" fmla="*/ 147 h 261"/>
              <a:gd name="T44" fmla="*/ 195 w 228"/>
              <a:gd name="T45" fmla="*/ 147 h 261"/>
              <a:gd name="T46" fmla="*/ 195 w 228"/>
              <a:gd name="T47" fmla="*/ 135 h 261"/>
              <a:gd name="T48" fmla="*/ 171 w 228"/>
              <a:gd name="T49" fmla="*/ 135 h 261"/>
              <a:gd name="T50" fmla="*/ 189 w 228"/>
              <a:gd name="T51" fmla="*/ 261 h 261"/>
              <a:gd name="T52" fmla="*/ 173 w 228"/>
              <a:gd name="T53" fmla="*/ 261 h 261"/>
              <a:gd name="T54" fmla="*/ 155 w 228"/>
              <a:gd name="T55" fmla="*/ 135 h 261"/>
              <a:gd name="T56" fmla="*/ 118 w 228"/>
              <a:gd name="T57" fmla="*/ 135 h 261"/>
              <a:gd name="T58" fmla="*/ 118 w 228"/>
              <a:gd name="T59" fmla="*/ 261 h 261"/>
              <a:gd name="T60" fmla="*/ 110 w 228"/>
              <a:gd name="T61" fmla="*/ 261 h 261"/>
              <a:gd name="T62" fmla="*/ 110 w 228"/>
              <a:gd name="T63" fmla="*/ 135 h 261"/>
              <a:gd name="T64" fmla="*/ 73 w 228"/>
              <a:gd name="T65" fmla="*/ 135 h 261"/>
              <a:gd name="T66" fmla="*/ 55 w 228"/>
              <a:gd name="T67" fmla="*/ 261 h 261"/>
              <a:gd name="T68" fmla="*/ 39 w 228"/>
              <a:gd name="T69" fmla="*/ 261 h 261"/>
              <a:gd name="T70" fmla="*/ 57 w 228"/>
              <a:gd name="T71" fmla="*/ 135 h 261"/>
              <a:gd name="T72" fmla="*/ 33 w 228"/>
              <a:gd name="T73" fmla="*/ 135 h 261"/>
              <a:gd name="T74" fmla="*/ 33 w 228"/>
              <a:gd name="T75" fmla="*/ 147 h 261"/>
              <a:gd name="T76" fmla="*/ 24 w 228"/>
              <a:gd name="T77" fmla="*/ 147 h 261"/>
              <a:gd name="T78" fmla="*/ 24 w 228"/>
              <a:gd name="T79" fmla="*/ 135 h 261"/>
              <a:gd name="T80" fmla="*/ 0 w 228"/>
              <a:gd name="T81" fmla="*/ 135 h 261"/>
              <a:gd name="T82" fmla="*/ 0 w 228"/>
              <a:gd name="T83" fmla="*/ 12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261">
                <a:moveTo>
                  <a:pt x="228" y="98"/>
                </a:moveTo>
                <a:lnTo>
                  <a:pt x="228" y="106"/>
                </a:lnTo>
                <a:lnTo>
                  <a:pt x="0" y="106"/>
                </a:lnTo>
                <a:lnTo>
                  <a:pt x="0" y="98"/>
                </a:lnTo>
                <a:lnTo>
                  <a:pt x="61" y="98"/>
                </a:lnTo>
                <a:lnTo>
                  <a:pt x="75" y="0"/>
                </a:lnTo>
                <a:lnTo>
                  <a:pt x="92" y="0"/>
                </a:lnTo>
                <a:lnTo>
                  <a:pt x="77" y="98"/>
                </a:lnTo>
                <a:lnTo>
                  <a:pt x="110" y="98"/>
                </a:lnTo>
                <a:lnTo>
                  <a:pt x="110" y="0"/>
                </a:lnTo>
                <a:lnTo>
                  <a:pt x="118" y="0"/>
                </a:lnTo>
                <a:lnTo>
                  <a:pt x="118" y="98"/>
                </a:lnTo>
                <a:lnTo>
                  <a:pt x="151" y="98"/>
                </a:lnTo>
                <a:lnTo>
                  <a:pt x="136" y="0"/>
                </a:lnTo>
                <a:lnTo>
                  <a:pt x="153" y="0"/>
                </a:lnTo>
                <a:lnTo>
                  <a:pt x="167" y="98"/>
                </a:lnTo>
                <a:lnTo>
                  <a:pt x="228" y="98"/>
                </a:lnTo>
                <a:close/>
                <a:moveTo>
                  <a:pt x="0" y="126"/>
                </a:moveTo>
                <a:lnTo>
                  <a:pt x="228" y="126"/>
                </a:lnTo>
                <a:lnTo>
                  <a:pt x="228" y="135"/>
                </a:lnTo>
                <a:lnTo>
                  <a:pt x="204" y="135"/>
                </a:lnTo>
                <a:lnTo>
                  <a:pt x="204" y="147"/>
                </a:lnTo>
                <a:lnTo>
                  <a:pt x="195" y="147"/>
                </a:lnTo>
                <a:lnTo>
                  <a:pt x="195" y="135"/>
                </a:lnTo>
                <a:lnTo>
                  <a:pt x="171" y="135"/>
                </a:lnTo>
                <a:lnTo>
                  <a:pt x="189" y="261"/>
                </a:lnTo>
                <a:lnTo>
                  <a:pt x="173" y="261"/>
                </a:lnTo>
                <a:lnTo>
                  <a:pt x="155" y="135"/>
                </a:lnTo>
                <a:lnTo>
                  <a:pt x="118" y="135"/>
                </a:lnTo>
                <a:lnTo>
                  <a:pt x="118" y="261"/>
                </a:lnTo>
                <a:lnTo>
                  <a:pt x="110" y="261"/>
                </a:lnTo>
                <a:lnTo>
                  <a:pt x="110" y="135"/>
                </a:lnTo>
                <a:lnTo>
                  <a:pt x="73" y="135"/>
                </a:lnTo>
                <a:lnTo>
                  <a:pt x="55" y="261"/>
                </a:lnTo>
                <a:lnTo>
                  <a:pt x="39" y="261"/>
                </a:lnTo>
                <a:lnTo>
                  <a:pt x="57" y="135"/>
                </a:lnTo>
                <a:lnTo>
                  <a:pt x="33" y="135"/>
                </a:lnTo>
                <a:lnTo>
                  <a:pt x="33" y="147"/>
                </a:lnTo>
                <a:lnTo>
                  <a:pt x="24" y="147"/>
                </a:lnTo>
                <a:lnTo>
                  <a:pt x="24" y="135"/>
                </a:lnTo>
                <a:lnTo>
                  <a:pt x="0" y="135"/>
                </a:lnTo>
                <a:lnTo>
                  <a:pt x="0" y="12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7" name="Freeform 142">
            <a:extLst>
              <a:ext uri="{FF2B5EF4-FFF2-40B4-BE49-F238E27FC236}">
                <a16:creationId xmlns:a16="http://schemas.microsoft.com/office/drawing/2014/main" id="{2D680A51-C184-4F56-880B-52A689877283}"/>
              </a:ext>
            </a:extLst>
          </p:cNvPr>
          <p:cNvSpPr>
            <a:spLocks noEditPoints="1"/>
          </p:cNvSpPr>
          <p:nvPr/>
        </p:nvSpPr>
        <p:spPr bwMode="auto">
          <a:xfrm>
            <a:off x="5006480" y="2404596"/>
            <a:ext cx="412750" cy="414338"/>
          </a:xfrm>
          <a:custGeom>
            <a:avLst/>
            <a:gdLst>
              <a:gd name="T0" fmla="*/ 75 w 128"/>
              <a:gd name="T1" fmla="*/ 56 h 128"/>
              <a:gd name="T2" fmla="*/ 0 w 128"/>
              <a:gd name="T3" fmla="*/ 48 h 128"/>
              <a:gd name="T4" fmla="*/ 0 w 128"/>
              <a:gd name="T5" fmla="*/ 64 h 128"/>
              <a:gd name="T6" fmla="*/ 0 w 128"/>
              <a:gd name="T7" fmla="*/ 80 h 128"/>
              <a:gd name="T8" fmla="*/ 0 w 128"/>
              <a:gd name="T9" fmla="*/ 96 h 128"/>
              <a:gd name="T10" fmla="*/ 0 w 128"/>
              <a:gd name="T11" fmla="*/ 112 h 128"/>
              <a:gd name="T12" fmla="*/ 75 w 128"/>
              <a:gd name="T13" fmla="*/ 104 h 128"/>
              <a:gd name="T14" fmla="*/ 75 w 128"/>
              <a:gd name="T15" fmla="*/ 88 h 128"/>
              <a:gd name="T16" fmla="*/ 75 w 128"/>
              <a:gd name="T17" fmla="*/ 72 h 128"/>
              <a:gd name="T18" fmla="*/ 40 w 128"/>
              <a:gd name="T19" fmla="*/ 120 h 128"/>
              <a:gd name="T20" fmla="*/ 13 w 128"/>
              <a:gd name="T21" fmla="*/ 108 h 128"/>
              <a:gd name="T22" fmla="*/ 67 w 128"/>
              <a:gd name="T23" fmla="*/ 108 h 128"/>
              <a:gd name="T24" fmla="*/ 40 w 128"/>
              <a:gd name="T25" fmla="*/ 104 h 128"/>
              <a:gd name="T26" fmla="*/ 13 w 128"/>
              <a:gd name="T27" fmla="*/ 92 h 128"/>
              <a:gd name="T28" fmla="*/ 67 w 128"/>
              <a:gd name="T29" fmla="*/ 92 h 128"/>
              <a:gd name="T30" fmla="*/ 40 w 128"/>
              <a:gd name="T31" fmla="*/ 88 h 128"/>
              <a:gd name="T32" fmla="*/ 13 w 128"/>
              <a:gd name="T33" fmla="*/ 76 h 128"/>
              <a:gd name="T34" fmla="*/ 67 w 128"/>
              <a:gd name="T35" fmla="*/ 76 h 128"/>
              <a:gd name="T36" fmla="*/ 40 w 128"/>
              <a:gd name="T37" fmla="*/ 72 h 128"/>
              <a:gd name="T38" fmla="*/ 40 w 128"/>
              <a:gd name="T39" fmla="*/ 64 h 128"/>
              <a:gd name="T40" fmla="*/ 40 w 128"/>
              <a:gd name="T41" fmla="*/ 72 h 128"/>
              <a:gd name="T42" fmla="*/ 40 w 128"/>
              <a:gd name="T43" fmla="*/ 40 h 128"/>
              <a:gd name="T44" fmla="*/ 128 w 128"/>
              <a:gd name="T45" fmla="*/ 32 h 128"/>
              <a:gd name="T46" fmla="*/ 128 w 128"/>
              <a:gd name="T47" fmla="*/ 16 h 128"/>
              <a:gd name="T48" fmla="*/ 53 w 128"/>
              <a:gd name="T49" fmla="*/ 24 h 128"/>
              <a:gd name="T50" fmla="*/ 48 w 128"/>
              <a:gd name="T51" fmla="*/ 32 h 128"/>
              <a:gd name="T52" fmla="*/ 61 w 128"/>
              <a:gd name="T53" fmla="*/ 28 h 128"/>
              <a:gd name="T54" fmla="*/ 115 w 128"/>
              <a:gd name="T55" fmla="*/ 28 h 128"/>
              <a:gd name="T56" fmla="*/ 88 w 128"/>
              <a:gd name="T57" fmla="*/ 40 h 128"/>
              <a:gd name="T58" fmla="*/ 88 w 128"/>
              <a:gd name="T59" fmla="*/ 48 h 128"/>
              <a:gd name="T60" fmla="*/ 120 w 128"/>
              <a:gd name="T61" fmla="*/ 48 h 128"/>
              <a:gd name="T62" fmla="*/ 75 w 128"/>
              <a:gd name="T63" fmla="*/ 56 h 128"/>
              <a:gd name="T64" fmla="*/ 88 w 128"/>
              <a:gd name="T65" fmla="*/ 64 h 128"/>
              <a:gd name="T66" fmla="*/ 120 w 128"/>
              <a:gd name="T67" fmla="*/ 64 h 128"/>
              <a:gd name="T68" fmla="*/ 75 w 128"/>
              <a:gd name="T69" fmla="*/ 72 h 128"/>
              <a:gd name="T70" fmla="*/ 88 w 128"/>
              <a:gd name="T71" fmla="*/ 80 h 128"/>
              <a:gd name="T72" fmla="*/ 120 w 128"/>
              <a:gd name="T73" fmla="*/ 80 h 128"/>
              <a:gd name="T74" fmla="*/ 75 w 128"/>
              <a:gd name="T75" fmla="*/ 88 h 128"/>
              <a:gd name="T76" fmla="*/ 88 w 128"/>
              <a:gd name="T77" fmla="*/ 96 h 128"/>
              <a:gd name="T78" fmla="*/ 120 w 128"/>
              <a:gd name="T79" fmla="*/ 96 h 128"/>
              <a:gd name="T80" fmla="*/ 75 w 128"/>
              <a:gd name="T81" fmla="*/ 104 h 128"/>
              <a:gd name="T82" fmla="*/ 88 w 128"/>
              <a:gd name="T83" fmla="*/ 112 h 128"/>
              <a:gd name="T84" fmla="*/ 123 w 128"/>
              <a:gd name="T85" fmla="*/ 88 h 128"/>
              <a:gd name="T86" fmla="*/ 123 w 128"/>
              <a:gd name="T87" fmla="*/ 72 h 128"/>
              <a:gd name="T88" fmla="*/ 123 w 128"/>
              <a:gd name="T89" fmla="*/ 56 h 128"/>
              <a:gd name="T90" fmla="*/ 123 w 128"/>
              <a:gd name="T91" fmla="*/ 40 h 128"/>
              <a:gd name="T92" fmla="*/ 56 w 128"/>
              <a:gd name="T93" fmla="*/ 16 h 128"/>
              <a:gd name="T94" fmla="*/ 88 w 128"/>
              <a:gd name="T95"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 h="128">
                <a:moveTo>
                  <a:pt x="80" y="64"/>
                </a:moveTo>
                <a:cubicBezTo>
                  <a:pt x="80" y="61"/>
                  <a:pt x="78" y="58"/>
                  <a:pt x="75" y="56"/>
                </a:cubicBezTo>
                <a:cubicBezTo>
                  <a:pt x="75" y="56"/>
                  <a:pt x="75" y="56"/>
                  <a:pt x="75" y="56"/>
                </a:cubicBezTo>
                <a:cubicBezTo>
                  <a:pt x="78" y="54"/>
                  <a:pt x="80" y="51"/>
                  <a:pt x="80" y="48"/>
                </a:cubicBezTo>
                <a:cubicBezTo>
                  <a:pt x="80" y="37"/>
                  <a:pt x="59" y="32"/>
                  <a:pt x="40" y="32"/>
                </a:cubicBezTo>
                <a:cubicBezTo>
                  <a:pt x="21" y="32"/>
                  <a:pt x="0" y="37"/>
                  <a:pt x="0" y="48"/>
                </a:cubicBezTo>
                <a:cubicBezTo>
                  <a:pt x="0" y="51"/>
                  <a:pt x="2" y="54"/>
                  <a:pt x="5" y="56"/>
                </a:cubicBezTo>
                <a:cubicBezTo>
                  <a:pt x="5" y="56"/>
                  <a:pt x="5" y="56"/>
                  <a:pt x="5" y="56"/>
                </a:cubicBezTo>
                <a:cubicBezTo>
                  <a:pt x="2" y="58"/>
                  <a:pt x="0" y="61"/>
                  <a:pt x="0" y="64"/>
                </a:cubicBezTo>
                <a:cubicBezTo>
                  <a:pt x="0" y="67"/>
                  <a:pt x="2" y="70"/>
                  <a:pt x="5" y="72"/>
                </a:cubicBezTo>
                <a:cubicBezTo>
                  <a:pt x="5" y="72"/>
                  <a:pt x="5" y="72"/>
                  <a:pt x="5" y="72"/>
                </a:cubicBezTo>
                <a:cubicBezTo>
                  <a:pt x="2" y="74"/>
                  <a:pt x="0" y="77"/>
                  <a:pt x="0" y="80"/>
                </a:cubicBezTo>
                <a:cubicBezTo>
                  <a:pt x="0" y="83"/>
                  <a:pt x="2" y="86"/>
                  <a:pt x="5" y="88"/>
                </a:cubicBezTo>
                <a:cubicBezTo>
                  <a:pt x="5" y="88"/>
                  <a:pt x="5" y="88"/>
                  <a:pt x="5" y="88"/>
                </a:cubicBezTo>
                <a:cubicBezTo>
                  <a:pt x="2" y="90"/>
                  <a:pt x="0" y="93"/>
                  <a:pt x="0" y="96"/>
                </a:cubicBezTo>
                <a:cubicBezTo>
                  <a:pt x="0" y="99"/>
                  <a:pt x="2" y="102"/>
                  <a:pt x="5" y="104"/>
                </a:cubicBezTo>
                <a:cubicBezTo>
                  <a:pt x="5" y="104"/>
                  <a:pt x="5" y="104"/>
                  <a:pt x="5" y="104"/>
                </a:cubicBezTo>
                <a:cubicBezTo>
                  <a:pt x="2" y="106"/>
                  <a:pt x="0" y="109"/>
                  <a:pt x="0" y="112"/>
                </a:cubicBezTo>
                <a:cubicBezTo>
                  <a:pt x="0" y="123"/>
                  <a:pt x="21" y="128"/>
                  <a:pt x="40" y="128"/>
                </a:cubicBezTo>
                <a:cubicBezTo>
                  <a:pt x="59" y="128"/>
                  <a:pt x="80" y="123"/>
                  <a:pt x="80" y="112"/>
                </a:cubicBezTo>
                <a:cubicBezTo>
                  <a:pt x="80" y="109"/>
                  <a:pt x="78" y="106"/>
                  <a:pt x="75" y="104"/>
                </a:cubicBezTo>
                <a:cubicBezTo>
                  <a:pt x="75" y="104"/>
                  <a:pt x="75" y="104"/>
                  <a:pt x="75" y="104"/>
                </a:cubicBezTo>
                <a:cubicBezTo>
                  <a:pt x="78" y="102"/>
                  <a:pt x="80" y="99"/>
                  <a:pt x="80" y="96"/>
                </a:cubicBezTo>
                <a:cubicBezTo>
                  <a:pt x="80" y="93"/>
                  <a:pt x="78" y="90"/>
                  <a:pt x="75" y="88"/>
                </a:cubicBezTo>
                <a:cubicBezTo>
                  <a:pt x="75" y="88"/>
                  <a:pt x="75" y="88"/>
                  <a:pt x="75" y="88"/>
                </a:cubicBezTo>
                <a:cubicBezTo>
                  <a:pt x="78" y="86"/>
                  <a:pt x="80" y="83"/>
                  <a:pt x="80" y="80"/>
                </a:cubicBezTo>
                <a:cubicBezTo>
                  <a:pt x="80" y="77"/>
                  <a:pt x="78" y="74"/>
                  <a:pt x="75" y="72"/>
                </a:cubicBezTo>
                <a:cubicBezTo>
                  <a:pt x="75" y="72"/>
                  <a:pt x="75" y="72"/>
                  <a:pt x="75" y="72"/>
                </a:cubicBezTo>
                <a:cubicBezTo>
                  <a:pt x="78" y="70"/>
                  <a:pt x="80" y="67"/>
                  <a:pt x="80" y="64"/>
                </a:cubicBezTo>
                <a:close/>
                <a:moveTo>
                  <a:pt x="40" y="120"/>
                </a:moveTo>
                <a:cubicBezTo>
                  <a:pt x="19" y="120"/>
                  <a:pt x="8" y="114"/>
                  <a:pt x="8" y="112"/>
                </a:cubicBezTo>
                <a:cubicBezTo>
                  <a:pt x="8" y="111"/>
                  <a:pt x="10" y="110"/>
                  <a:pt x="13" y="108"/>
                </a:cubicBezTo>
                <a:cubicBezTo>
                  <a:pt x="13" y="108"/>
                  <a:pt x="13" y="108"/>
                  <a:pt x="13" y="108"/>
                </a:cubicBezTo>
                <a:cubicBezTo>
                  <a:pt x="21" y="111"/>
                  <a:pt x="31" y="112"/>
                  <a:pt x="40" y="112"/>
                </a:cubicBezTo>
                <a:cubicBezTo>
                  <a:pt x="49" y="112"/>
                  <a:pt x="59" y="111"/>
                  <a:pt x="67" y="108"/>
                </a:cubicBezTo>
                <a:cubicBezTo>
                  <a:pt x="67" y="108"/>
                  <a:pt x="67" y="108"/>
                  <a:pt x="67" y="108"/>
                </a:cubicBezTo>
                <a:cubicBezTo>
                  <a:pt x="70" y="110"/>
                  <a:pt x="72" y="111"/>
                  <a:pt x="72" y="112"/>
                </a:cubicBezTo>
                <a:cubicBezTo>
                  <a:pt x="72" y="114"/>
                  <a:pt x="61" y="120"/>
                  <a:pt x="40" y="120"/>
                </a:cubicBezTo>
                <a:close/>
                <a:moveTo>
                  <a:pt x="40" y="104"/>
                </a:moveTo>
                <a:cubicBezTo>
                  <a:pt x="19" y="104"/>
                  <a:pt x="8" y="98"/>
                  <a:pt x="8" y="96"/>
                </a:cubicBezTo>
                <a:cubicBezTo>
                  <a:pt x="8" y="95"/>
                  <a:pt x="10" y="94"/>
                  <a:pt x="13" y="92"/>
                </a:cubicBezTo>
                <a:cubicBezTo>
                  <a:pt x="13" y="92"/>
                  <a:pt x="13" y="92"/>
                  <a:pt x="13" y="92"/>
                </a:cubicBezTo>
                <a:cubicBezTo>
                  <a:pt x="21" y="95"/>
                  <a:pt x="31" y="96"/>
                  <a:pt x="40" y="96"/>
                </a:cubicBezTo>
                <a:cubicBezTo>
                  <a:pt x="49" y="96"/>
                  <a:pt x="59" y="95"/>
                  <a:pt x="67" y="92"/>
                </a:cubicBezTo>
                <a:cubicBezTo>
                  <a:pt x="67" y="92"/>
                  <a:pt x="67" y="92"/>
                  <a:pt x="67" y="92"/>
                </a:cubicBezTo>
                <a:cubicBezTo>
                  <a:pt x="70" y="94"/>
                  <a:pt x="72" y="95"/>
                  <a:pt x="72" y="96"/>
                </a:cubicBezTo>
                <a:cubicBezTo>
                  <a:pt x="72" y="98"/>
                  <a:pt x="61" y="104"/>
                  <a:pt x="40" y="104"/>
                </a:cubicBezTo>
                <a:close/>
                <a:moveTo>
                  <a:pt x="40" y="88"/>
                </a:moveTo>
                <a:cubicBezTo>
                  <a:pt x="19" y="88"/>
                  <a:pt x="8" y="82"/>
                  <a:pt x="8" y="80"/>
                </a:cubicBezTo>
                <a:cubicBezTo>
                  <a:pt x="8" y="79"/>
                  <a:pt x="10" y="78"/>
                  <a:pt x="13" y="76"/>
                </a:cubicBezTo>
                <a:cubicBezTo>
                  <a:pt x="13" y="76"/>
                  <a:pt x="13" y="76"/>
                  <a:pt x="13" y="76"/>
                </a:cubicBezTo>
                <a:cubicBezTo>
                  <a:pt x="21" y="79"/>
                  <a:pt x="31" y="80"/>
                  <a:pt x="40" y="80"/>
                </a:cubicBezTo>
                <a:cubicBezTo>
                  <a:pt x="49" y="80"/>
                  <a:pt x="59" y="79"/>
                  <a:pt x="67" y="76"/>
                </a:cubicBezTo>
                <a:cubicBezTo>
                  <a:pt x="67" y="76"/>
                  <a:pt x="67" y="76"/>
                  <a:pt x="67" y="76"/>
                </a:cubicBezTo>
                <a:cubicBezTo>
                  <a:pt x="70" y="78"/>
                  <a:pt x="72" y="79"/>
                  <a:pt x="72" y="80"/>
                </a:cubicBezTo>
                <a:cubicBezTo>
                  <a:pt x="72" y="82"/>
                  <a:pt x="61" y="88"/>
                  <a:pt x="40" y="88"/>
                </a:cubicBezTo>
                <a:close/>
                <a:moveTo>
                  <a:pt x="40" y="72"/>
                </a:moveTo>
                <a:cubicBezTo>
                  <a:pt x="19" y="72"/>
                  <a:pt x="8" y="66"/>
                  <a:pt x="8" y="64"/>
                </a:cubicBezTo>
                <a:cubicBezTo>
                  <a:pt x="8" y="63"/>
                  <a:pt x="10" y="62"/>
                  <a:pt x="13" y="60"/>
                </a:cubicBezTo>
                <a:cubicBezTo>
                  <a:pt x="21" y="63"/>
                  <a:pt x="31" y="64"/>
                  <a:pt x="40" y="64"/>
                </a:cubicBezTo>
                <a:cubicBezTo>
                  <a:pt x="49" y="64"/>
                  <a:pt x="59" y="63"/>
                  <a:pt x="67" y="60"/>
                </a:cubicBezTo>
                <a:cubicBezTo>
                  <a:pt x="70" y="62"/>
                  <a:pt x="72" y="63"/>
                  <a:pt x="72" y="64"/>
                </a:cubicBezTo>
                <a:cubicBezTo>
                  <a:pt x="72" y="66"/>
                  <a:pt x="61" y="72"/>
                  <a:pt x="40" y="72"/>
                </a:cubicBezTo>
                <a:close/>
                <a:moveTo>
                  <a:pt x="40" y="56"/>
                </a:moveTo>
                <a:cubicBezTo>
                  <a:pt x="19" y="56"/>
                  <a:pt x="8" y="50"/>
                  <a:pt x="8" y="48"/>
                </a:cubicBezTo>
                <a:cubicBezTo>
                  <a:pt x="8" y="46"/>
                  <a:pt x="19" y="40"/>
                  <a:pt x="40" y="40"/>
                </a:cubicBezTo>
                <a:cubicBezTo>
                  <a:pt x="61" y="40"/>
                  <a:pt x="72" y="46"/>
                  <a:pt x="72" y="48"/>
                </a:cubicBezTo>
                <a:cubicBezTo>
                  <a:pt x="72" y="50"/>
                  <a:pt x="61" y="56"/>
                  <a:pt x="40" y="56"/>
                </a:cubicBezTo>
                <a:close/>
                <a:moveTo>
                  <a:pt x="128" y="32"/>
                </a:moveTo>
                <a:cubicBezTo>
                  <a:pt x="128" y="29"/>
                  <a:pt x="126" y="26"/>
                  <a:pt x="123" y="24"/>
                </a:cubicBezTo>
                <a:cubicBezTo>
                  <a:pt x="123" y="24"/>
                  <a:pt x="123" y="24"/>
                  <a:pt x="123" y="24"/>
                </a:cubicBezTo>
                <a:cubicBezTo>
                  <a:pt x="126" y="22"/>
                  <a:pt x="128" y="19"/>
                  <a:pt x="128" y="16"/>
                </a:cubicBezTo>
                <a:cubicBezTo>
                  <a:pt x="128" y="5"/>
                  <a:pt x="107" y="0"/>
                  <a:pt x="88" y="0"/>
                </a:cubicBezTo>
                <a:cubicBezTo>
                  <a:pt x="69" y="0"/>
                  <a:pt x="48" y="5"/>
                  <a:pt x="48" y="16"/>
                </a:cubicBezTo>
                <a:cubicBezTo>
                  <a:pt x="48" y="19"/>
                  <a:pt x="50" y="22"/>
                  <a:pt x="53" y="24"/>
                </a:cubicBezTo>
                <a:cubicBezTo>
                  <a:pt x="53" y="24"/>
                  <a:pt x="53" y="24"/>
                  <a:pt x="53" y="24"/>
                </a:cubicBezTo>
                <a:cubicBezTo>
                  <a:pt x="50" y="26"/>
                  <a:pt x="48" y="29"/>
                  <a:pt x="48" y="32"/>
                </a:cubicBezTo>
                <a:cubicBezTo>
                  <a:pt x="48" y="32"/>
                  <a:pt x="48" y="32"/>
                  <a:pt x="48" y="32"/>
                </a:cubicBezTo>
                <a:cubicBezTo>
                  <a:pt x="51" y="33"/>
                  <a:pt x="54" y="33"/>
                  <a:pt x="57" y="33"/>
                </a:cubicBezTo>
                <a:cubicBezTo>
                  <a:pt x="56" y="33"/>
                  <a:pt x="56" y="32"/>
                  <a:pt x="56" y="32"/>
                </a:cubicBezTo>
                <a:cubicBezTo>
                  <a:pt x="56" y="31"/>
                  <a:pt x="58" y="30"/>
                  <a:pt x="61" y="28"/>
                </a:cubicBezTo>
                <a:cubicBezTo>
                  <a:pt x="61" y="28"/>
                  <a:pt x="61" y="28"/>
                  <a:pt x="61" y="28"/>
                </a:cubicBezTo>
                <a:cubicBezTo>
                  <a:pt x="69" y="31"/>
                  <a:pt x="79" y="32"/>
                  <a:pt x="88" y="32"/>
                </a:cubicBezTo>
                <a:cubicBezTo>
                  <a:pt x="97" y="32"/>
                  <a:pt x="107" y="31"/>
                  <a:pt x="115" y="28"/>
                </a:cubicBezTo>
                <a:cubicBezTo>
                  <a:pt x="115" y="28"/>
                  <a:pt x="115" y="28"/>
                  <a:pt x="115" y="28"/>
                </a:cubicBezTo>
                <a:cubicBezTo>
                  <a:pt x="118" y="30"/>
                  <a:pt x="120" y="31"/>
                  <a:pt x="120" y="32"/>
                </a:cubicBezTo>
                <a:cubicBezTo>
                  <a:pt x="120" y="34"/>
                  <a:pt x="109" y="40"/>
                  <a:pt x="88" y="40"/>
                </a:cubicBezTo>
                <a:cubicBezTo>
                  <a:pt x="83" y="40"/>
                  <a:pt x="78" y="40"/>
                  <a:pt x="74" y="39"/>
                </a:cubicBezTo>
                <a:cubicBezTo>
                  <a:pt x="78" y="41"/>
                  <a:pt x="80" y="44"/>
                  <a:pt x="80" y="48"/>
                </a:cubicBezTo>
                <a:cubicBezTo>
                  <a:pt x="83" y="48"/>
                  <a:pt x="85" y="48"/>
                  <a:pt x="88" y="48"/>
                </a:cubicBezTo>
                <a:cubicBezTo>
                  <a:pt x="97" y="48"/>
                  <a:pt x="107" y="47"/>
                  <a:pt x="115" y="44"/>
                </a:cubicBezTo>
                <a:cubicBezTo>
                  <a:pt x="115" y="44"/>
                  <a:pt x="115" y="44"/>
                  <a:pt x="115" y="44"/>
                </a:cubicBezTo>
                <a:cubicBezTo>
                  <a:pt x="118" y="46"/>
                  <a:pt x="120" y="47"/>
                  <a:pt x="120" y="48"/>
                </a:cubicBezTo>
                <a:cubicBezTo>
                  <a:pt x="120" y="50"/>
                  <a:pt x="109" y="56"/>
                  <a:pt x="88" y="56"/>
                </a:cubicBezTo>
                <a:cubicBezTo>
                  <a:pt x="84" y="56"/>
                  <a:pt x="80" y="56"/>
                  <a:pt x="76" y="55"/>
                </a:cubicBezTo>
                <a:cubicBezTo>
                  <a:pt x="76" y="56"/>
                  <a:pt x="76" y="56"/>
                  <a:pt x="75" y="56"/>
                </a:cubicBezTo>
                <a:cubicBezTo>
                  <a:pt x="75" y="56"/>
                  <a:pt x="75" y="56"/>
                  <a:pt x="75" y="56"/>
                </a:cubicBezTo>
                <a:cubicBezTo>
                  <a:pt x="78" y="58"/>
                  <a:pt x="80" y="61"/>
                  <a:pt x="80" y="64"/>
                </a:cubicBezTo>
                <a:cubicBezTo>
                  <a:pt x="83" y="64"/>
                  <a:pt x="85" y="64"/>
                  <a:pt x="88" y="64"/>
                </a:cubicBezTo>
                <a:cubicBezTo>
                  <a:pt x="97" y="64"/>
                  <a:pt x="107" y="63"/>
                  <a:pt x="115" y="60"/>
                </a:cubicBezTo>
                <a:cubicBezTo>
                  <a:pt x="115" y="60"/>
                  <a:pt x="115" y="60"/>
                  <a:pt x="115" y="60"/>
                </a:cubicBezTo>
                <a:cubicBezTo>
                  <a:pt x="118" y="62"/>
                  <a:pt x="120" y="63"/>
                  <a:pt x="120" y="64"/>
                </a:cubicBezTo>
                <a:cubicBezTo>
                  <a:pt x="120" y="66"/>
                  <a:pt x="109" y="72"/>
                  <a:pt x="88" y="72"/>
                </a:cubicBezTo>
                <a:cubicBezTo>
                  <a:pt x="84" y="72"/>
                  <a:pt x="80" y="72"/>
                  <a:pt x="76" y="71"/>
                </a:cubicBezTo>
                <a:cubicBezTo>
                  <a:pt x="76" y="72"/>
                  <a:pt x="76" y="72"/>
                  <a:pt x="75" y="72"/>
                </a:cubicBezTo>
                <a:cubicBezTo>
                  <a:pt x="75" y="72"/>
                  <a:pt x="75" y="72"/>
                  <a:pt x="75" y="72"/>
                </a:cubicBezTo>
                <a:cubicBezTo>
                  <a:pt x="78" y="74"/>
                  <a:pt x="80" y="77"/>
                  <a:pt x="80" y="80"/>
                </a:cubicBezTo>
                <a:cubicBezTo>
                  <a:pt x="83" y="80"/>
                  <a:pt x="85" y="80"/>
                  <a:pt x="88" y="80"/>
                </a:cubicBezTo>
                <a:cubicBezTo>
                  <a:pt x="97" y="80"/>
                  <a:pt x="107" y="79"/>
                  <a:pt x="115" y="76"/>
                </a:cubicBezTo>
                <a:cubicBezTo>
                  <a:pt x="115" y="76"/>
                  <a:pt x="115" y="76"/>
                  <a:pt x="115" y="76"/>
                </a:cubicBezTo>
                <a:cubicBezTo>
                  <a:pt x="118" y="78"/>
                  <a:pt x="120" y="79"/>
                  <a:pt x="120" y="80"/>
                </a:cubicBezTo>
                <a:cubicBezTo>
                  <a:pt x="120" y="82"/>
                  <a:pt x="109" y="88"/>
                  <a:pt x="88" y="88"/>
                </a:cubicBezTo>
                <a:cubicBezTo>
                  <a:pt x="84" y="88"/>
                  <a:pt x="80" y="88"/>
                  <a:pt x="76" y="87"/>
                </a:cubicBezTo>
                <a:cubicBezTo>
                  <a:pt x="76" y="88"/>
                  <a:pt x="76" y="88"/>
                  <a:pt x="75" y="88"/>
                </a:cubicBezTo>
                <a:cubicBezTo>
                  <a:pt x="75" y="88"/>
                  <a:pt x="75" y="88"/>
                  <a:pt x="75" y="88"/>
                </a:cubicBezTo>
                <a:cubicBezTo>
                  <a:pt x="78" y="90"/>
                  <a:pt x="80" y="93"/>
                  <a:pt x="80" y="96"/>
                </a:cubicBezTo>
                <a:cubicBezTo>
                  <a:pt x="83" y="96"/>
                  <a:pt x="85" y="96"/>
                  <a:pt x="88" y="96"/>
                </a:cubicBezTo>
                <a:cubicBezTo>
                  <a:pt x="97" y="96"/>
                  <a:pt x="107" y="95"/>
                  <a:pt x="115" y="92"/>
                </a:cubicBezTo>
                <a:cubicBezTo>
                  <a:pt x="115" y="92"/>
                  <a:pt x="115" y="92"/>
                  <a:pt x="115" y="92"/>
                </a:cubicBezTo>
                <a:cubicBezTo>
                  <a:pt x="118" y="94"/>
                  <a:pt x="120" y="95"/>
                  <a:pt x="120" y="96"/>
                </a:cubicBezTo>
                <a:cubicBezTo>
                  <a:pt x="120" y="98"/>
                  <a:pt x="109" y="104"/>
                  <a:pt x="88" y="104"/>
                </a:cubicBezTo>
                <a:cubicBezTo>
                  <a:pt x="84" y="104"/>
                  <a:pt x="80" y="104"/>
                  <a:pt x="76" y="103"/>
                </a:cubicBezTo>
                <a:cubicBezTo>
                  <a:pt x="76" y="104"/>
                  <a:pt x="76" y="104"/>
                  <a:pt x="75" y="104"/>
                </a:cubicBezTo>
                <a:cubicBezTo>
                  <a:pt x="75" y="104"/>
                  <a:pt x="75" y="104"/>
                  <a:pt x="75" y="104"/>
                </a:cubicBezTo>
                <a:cubicBezTo>
                  <a:pt x="78" y="106"/>
                  <a:pt x="80" y="109"/>
                  <a:pt x="80" y="112"/>
                </a:cubicBezTo>
                <a:cubicBezTo>
                  <a:pt x="83" y="112"/>
                  <a:pt x="85" y="112"/>
                  <a:pt x="88" y="112"/>
                </a:cubicBezTo>
                <a:cubicBezTo>
                  <a:pt x="107" y="112"/>
                  <a:pt x="128" y="107"/>
                  <a:pt x="128" y="96"/>
                </a:cubicBezTo>
                <a:cubicBezTo>
                  <a:pt x="128" y="93"/>
                  <a:pt x="126" y="90"/>
                  <a:pt x="123" y="88"/>
                </a:cubicBezTo>
                <a:cubicBezTo>
                  <a:pt x="123" y="88"/>
                  <a:pt x="123" y="88"/>
                  <a:pt x="123" y="88"/>
                </a:cubicBezTo>
                <a:cubicBezTo>
                  <a:pt x="126" y="86"/>
                  <a:pt x="128" y="83"/>
                  <a:pt x="128" y="80"/>
                </a:cubicBezTo>
                <a:cubicBezTo>
                  <a:pt x="128" y="77"/>
                  <a:pt x="126" y="74"/>
                  <a:pt x="123" y="72"/>
                </a:cubicBezTo>
                <a:cubicBezTo>
                  <a:pt x="123" y="72"/>
                  <a:pt x="123" y="72"/>
                  <a:pt x="123" y="72"/>
                </a:cubicBezTo>
                <a:cubicBezTo>
                  <a:pt x="126" y="70"/>
                  <a:pt x="128" y="67"/>
                  <a:pt x="128" y="64"/>
                </a:cubicBezTo>
                <a:cubicBezTo>
                  <a:pt x="128" y="61"/>
                  <a:pt x="126" y="58"/>
                  <a:pt x="123" y="56"/>
                </a:cubicBezTo>
                <a:cubicBezTo>
                  <a:pt x="123" y="56"/>
                  <a:pt x="123" y="56"/>
                  <a:pt x="123" y="56"/>
                </a:cubicBezTo>
                <a:cubicBezTo>
                  <a:pt x="126" y="54"/>
                  <a:pt x="128" y="51"/>
                  <a:pt x="128" y="48"/>
                </a:cubicBezTo>
                <a:cubicBezTo>
                  <a:pt x="128" y="45"/>
                  <a:pt x="126" y="42"/>
                  <a:pt x="123" y="40"/>
                </a:cubicBezTo>
                <a:cubicBezTo>
                  <a:pt x="123" y="40"/>
                  <a:pt x="123" y="40"/>
                  <a:pt x="123" y="40"/>
                </a:cubicBezTo>
                <a:cubicBezTo>
                  <a:pt x="126" y="38"/>
                  <a:pt x="128" y="35"/>
                  <a:pt x="128" y="32"/>
                </a:cubicBezTo>
                <a:close/>
                <a:moveTo>
                  <a:pt x="88" y="24"/>
                </a:moveTo>
                <a:cubicBezTo>
                  <a:pt x="67" y="24"/>
                  <a:pt x="56" y="18"/>
                  <a:pt x="56" y="16"/>
                </a:cubicBezTo>
                <a:cubicBezTo>
                  <a:pt x="56" y="14"/>
                  <a:pt x="67" y="8"/>
                  <a:pt x="88" y="8"/>
                </a:cubicBezTo>
                <a:cubicBezTo>
                  <a:pt x="109" y="8"/>
                  <a:pt x="120" y="14"/>
                  <a:pt x="120" y="16"/>
                </a:cubicBezTo>
                <a:cubicBezTo>
                  <a:pt x="120" y="18"/>
                  <a:pt x="109" y="24"/>
                  <a:pt x="88" y="2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8" name="Freeform 146">
            <a:extLst>
              <a:ext uri="{FF2B5EF4-FFF2-40B4-BE49-F238E27FC236}">
                <a16:creationId xmlns:a16="http://schemas.microsoft.com/office/drawing/2014/main" id="{3A0D367C-8253-4FB4-9C7B-033553C1EC06}"/>
              </a:ext>
            </a:extLst>
          </p:cNvPr>
          <p:cNvSpPr>
            <a:spLocks noEditPoints="1"/>
          </p:cNvSpPr>
          <p:nvPr/>
        </p:nvSpPr>
        <p:spPr bwMode="auto">
          <a:xfrm>
            <a:off x="6051123" y="2404596"/>
            <a:ext cx="414337" cy="414338"/>
          </a:xfrm>
          <a:custGeom>
            <a:avLst/>
            <a:gdLst>
              <a:gd name="T0" fmla="*/ 79 w 128"/>
              <a:gd name="T1" fmla="*/ 95 h 128"/>
              <a:gd name="T2" fmla="*/ 80 w 128"/>
              <a:gd name="T3" fmla="*/ 103 h 128"/>
              <a:gd name="T4" fmla="*/ 128 w 128"/>
              <a:gd name="T5" fmla="*/ 92 h 128"/>
              <a:gd name="T6" fmla="*/ 92 w 128"/>
              <a:gd name="T7" fmla="*/ 96 h 128"/>
              <a:gd name="T8" fmla="*/ 128 w 128"/>
              <a:gd name="T9" fmla="*/ 12 h 128"/>
              <a:gd name="T10" fmla="*/ 56 w 128"/>
              <a:gd name="T11" fmla="*/ 12 h 128"/>
              <a:gd name="T12" fmla="*/ 92 w 128"/>
              <a:gd name="T13" fmla="*/ 80 h 128"/>
              <a:gd name="T14" fmla="*/ 80 w 128"/>
              <a:gd name="T15" fmla="*/ 84 h 128"/>
              <a:gd name="T16" fmla="*/ 92 w 128"/>
              <a:gd name="T17" fmla="*/ 88 h 128"/>
              <a:gd name="T18" fmla="*/ 127 w 128"/>
              <a:gd name="T19" fmla="*/ 73 h 128"/>
              <a:gd name="T20" fmla="*/ 92 w 128"/>
              <a:gd name="T21" fmla="*/ 48 h 128"/>
              <a:gd name="T22" fmla="*/ 80 w 128"/>
              <a:gd name="T23" fmla="*/ 52 h 128"/>
              <a:gd name="T24" fmla="*/ 92 w 128"/>
              <a:gd name="T25" fmla="*/ 56 h 128"/>
              <a:gd name="T26" fmla="*/ 127 w 128"/>
              <a:gd name="T27" fmla="*/ 41 h 128"/>
              <a:gd name="T28" fmla="*/ 92 w 128"/>
              <a:gd name="T29" fmla="*/ 64 h 128"/>
              <a:gd name="T30" fmla="*/ 80 w 128"/>
              <a:gd name="T31" fmla="*/ 68 h 128"/>
              <a:gd name="T32" fmla="*/ 92 w 128"/>
              <a:gd name="T33" fmla="*/ 72 h 128"/>
              <a:gd name="T34" fmla="*/ 127 w 128"/>
              <a:gd name="T35" fmla="*/ 57 h 128"/>
              <a:gd name="T36" fmla="*/ 92 w 128"/>
              <a:gd name="T37" fmla="*/ 32 h 128"/>
              <a:gd name="T38" fmla="*/ 56 w 128"/>
              <a:gd name="T39" fmla="*/ 28 h 128"/>
              <a:gd name="T40" fmla="*/ 128 w 128"/>
              <a:gd name="T41" fmla="*/ 28 h 128"/>
              <a:gd name="T42" fmla="*/ 92 w 128"/>
              <a:gd name="T43" fmla="*/ 32 h 128"/>
              <a:gd name="T44" fmla="*/ 72 w 128"/>
              <a:gd name="T45" fmla="*/ 52 h 128"/>
              <a:gd name="T46" fmla="*/ 0 w 128"/>
              <a:gd name="T47" fmla="*/ 52 h 128"/>
              <a:gd name="T48" fmla="*/ 71 w 128"/>
              <a:gd name="T49" fmla="*/ 65 h 128"/>
              <a:gd name="T50" fmla="*/ 36 w 128"/>
              <a:gd name="T51" fmla="*/ 80 h 128"/>
              <a:gd name="T52" fmla="*/ 1 w 128"/>
              <a:gd name="T53" fmla="*/ 65 h 128"/>
              <a:gd name="T54" fmla="*/ 71 w 128"/>
              <a:gd name="T55" fmla="*/ 65 h 128"/>
              <a:gd name="T56" fmla="*/ 72 w 128"/>
              <a:gd name="T57" fmla="*/ 84 h 128"/>
              <a:gd name="T58" fmla="*/ 0 w 128"/>
              <a:gd name="T59" fmla="*/ 84 h 128"/>
              <a:gd name="T60" fmla="*/ 36 w 128"/>
              <a:gd name="T61" fmla="*/ 88 h 128"/>
              <a:gd name="T62" fmla="*/ 71 w 128"/>
              <a:gd name="T63" fmla="*/ 97 h 128"/>
              <a:gd name="T64" fmla="*/ 36 w 128"/>
              <a:gd name="T65" fmla="*/ 112 h 128"/>
              <a:gd name="T66" fmla="*/ 1 w 128"/>
              <a:gd name="T67" fmla="*/ 97 h 128"/>
              <a:gd name="T68" fmla="*/ 71 w 128"/>
              <a:gd name="T69" fmla="*/ 97 h 128"/>
              <a:gd name="T70" fmla="*/ 72 w 128"/>
              <a:gd name="T71" fmla="*/ 116 h 128"/>
              <a:gd name="T72" fmla="*/ 0 w 128"/>
              <a:gd name="T73" fmla="*/ 116 h 128"/>
              <a:gd name="T74" fmla="*/ 36 w 128"/>
              <a:gd name="T75"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28">
                <a:moveTo>
                  <a:pt x="92" y="96"/>
                </a:moveTo>
                <a:cubicBezTo>
                  <a:pt x="88" y="96"/>
                  <a:pt x="83" y="96"/>
                  <a:pt x="79" y="95"/>
                </a:cubicBezTo>
                <a:cubicBezTo>
                  <a:pt x="80" y="97"/>
                  <a:pt x="80" y="98"/>
                  <a:pt x="80" y="100"/>
                </a:cubicBezTo>
                <a:cubicBezTo>
                  <a:pt x="80" y="101"/>
                  <a:pt x="80" y="102"/>
                  <a:pt x="80" y="103"/>
                </a:cubicBezTo>
                <a:cubicBezTo>
                  <a:pt x="83" y="104"/>
                  <a:pt x="88" y="104"/>
                  <a:pt x="92" y="104"/>
                </a:cubicBezTo>
                <a:cubicBezTo>
                  <a:pt x="112" y="104"/>
                  <a:pt x="128" y="99"/>
                  <a:pt x="128" y="92"/>
                </a:cubicBezTo>
                <a:cubicBezTo>
                  <a:pt x="128" y="91"/>
                  <a:pt x="128" y="90"/>
                  <a:pt x="127" y="89"/>
                </a:cubicBezTo>
                <a:cubicBezTo>
                  <a:pt x="118" y="94"/>
                  <a:pt x="104" y="96"/>
                  <a:pt x="92" y="96"/>
                </a:cubicBezTo>
                <a:close/>
                <a:moveTo>
                  <a:pt x="92" y="24"/>
                </a:moveTo>
                <a:cubicBezTo>
                  <a:pt x="112" y="24"/>
                  <a:pt x="128" y="19"/>
                  <a:pt x="128" y="12"/>
                </a:cubicBezTo>
                <a:cubicBezTo>
                  <a:pt x="128" y="5"/>
                  <a:pt x="112" y="0"/>
                  <a:pt x="92" y="0"/>
                </a:cubicBezTo>
                <a:cubicBezTo>
                  <a:pt x="72" y="0"/>
                  <a:pt x="56" y="5"/>
                  <a:pt x="56" y="12"/>
                </a:cubicBezTo>
                <a:cubicBezTo>
                  <a:pt x="56" y="19"/>
                  <a:pt x="72" y="24"/>
                  <a:pt x="92" y="24"/>
                </a:cubicBezTo>
                <a:close/>
                <a:moveTo>
                  <a:pt x="92" y="80"/>
                </a:moveTo>
                <a:cubicBezTo>
                  <a:pt x="88" y="80"/>
                  <a:pt x="83" y="80"/>
                  <a:pt x="79" y="79"/>
                </a:cubicBezTo>
                <a:cubicBezTo>
                  <a:pt x="80" y="81"/>
                  <a:pt x="80" y="82"/>
                  <a:pt x="80" y="84"/>
                </a:cubicBezTo>
                <a:cubicBezTo>
                  <a:pt x="80" y="85"/>
                  <a:pt x="80" y="86"/>
                  <a:pt x="80" y="87"/>
                </a:cubicBezTo>
                <a:cubicBezTo>
                  <a:pt x="83" y="88"/>
                  <a:pt x="88" y="88"/>
                  <a:pt x="92" y="88"/>
                </a:cubicBezTo>
                <a:cubicBezTo>
                  <a:pt x="112" y="88"/>
                  <a:pt x="128" y="83"/>
                  <a:pt x="128" y="76"/>
                </a:cubicBezTo>
                <a:cubicBezTo>
                  <a:pt x="128" y="75"/>
                  <a:pt x="128" y="74"/>
                  <a:pt x="127" y="73"/>
                </a:cubicBezTo>
                <a:cubicBezTo>
                  <a:pt x="118" y="78"/>
                  <a:pt x="104" y="80"/>
                  <a:pt x="92" y="80"/>
                </a:cubicBezTo>
                <a:close/>
                <a:moveTo>
                  <a:pt x="92" y="48"/>
                </a:moveTo>
                <a:cubicBezTo>
                  <a:pt x="88" y="48"/>
                  <a:pt x="83" y="48"/>
                  <a:pt x="79" y="47"/>
                </a:cubicBezTo>
                <a:cubicBezTo>
                  <a:pt x="80" y="49"/>
                  <a:pt x="80" y="50"/>
                  <a:pt x="80" y="52"/>
                </a:cubicBezTo>
                <a:cubicBezTo>
                  <a:pt x="80" y="53"/>
                  <a:pt x="80" y="54"/>
                  <a:pt x="80" y="55"/>
                </a:cubicBezTo>
                <a:cubicBezTo>
                  <a:pt x="83" y="56"/>
                  <a:pt x="88" y="56"/>
                  <a:pt x="92" y="56"/>
                </a:cubicBezTo>
                <a:cubicBezTo>
                  <a:pt x="112" y="56"/>
                  <a:pt x="128" y="51"/>
                  <a:pt x="128" y="44"/>
                </a:cubicBezTo>
                <a:cubicBezTo>
                  <a:pt x="128" y="43"/>
                  <a:pt x="128" y="42"/>
                  <a:pt x="127" y="41"/>
                </a:cubicBezTo>
                <a:cubicBezTo>
                  <a:pt x="118" y="46"/>
                  <a:pt x="104" y="48"/>
                  <a:pt x="92" y="48"/>
                </a:cubicBezTo>
                <a:close/>
                <a:moveTo>
                  <a:pt x="92" y="64"/>
                </a:moveTo>
                <a:cubicBezTo>
                  <a:pt x="88" y="64"/>
                  <a:pt x="83" y="64"/>
                  <a:pt x="79" y="63"/>
                </a:cubicBezTo>
                <a:cubicBezTo>
                  <a:pt x="80" y="65"/>
                  <a:pt x="80" y="66"/>
                  <a:pt x="80" y="68"/>
                </a:cubicBezTo>
                <a:cubicBezTo>
                  <a:pt x="80" y="69"/>
                  <a:pt x="80" y="70"/>
                  <a:pt x="80" y="71"/>
                </a:cubicBezTo>
                <a:cubicBezTo>
                  <a:pt x="83" y="72"/>
                  <a:pt x="88" y="72"/>
                  <a:pt x="92" y="72"/>
                </a:cubicBezTo>
                <a:cubicBezTo>
                  <a:pt x="112" y="72"/>
                  <a:pt x="128" y="67"/>
                  <a:pt x="128" y="60"/>
                </a:cubicBezTo>
                <a:cubicBezTo>
                  <a:pt x="128" y="59"/>
                  <a:pt x="128" y="58"/>
                  <a:pt x="127" y="57"/>
                </a:cubicBezTo>
                <a:cubicBezTo>
                  <a:pt x="118" y="62"/>
                  <a:pt x="104" y="64"/>
                  <a:pt x="92" y="64"/>
                </a:cubicBezTo>
                <a:close/>
                <a:moveTo>
                  <a:pt x="92" y="32"/>
                </a:moveTo>
                <a:cubicBezTo>
                  <a:pt x="80" y="32"/>
                  <a:pt x="66" y="30"/>
                  <a:pt x="57" y="25"/>
                </a:cubicBezTo>
                <a:cubicBezTo>
                  <a:pt x="56" y="26"/>
                  <a:pt x="56" y="27"/>
                  <a:pt x="56" y="28"/>
                </a:cubicBezTo>
                <a:cubicBezTo>
                  <a:pt x="56" y="35"/>
                  <a:pt x="72" y="40"/>
                  <a:pt x="92" y="40"/>
                </a:cubicBezTo>
                <a:cubicBezTo>
                  <a:pt x="112" y="40"/>
                  <a:pt x="128" y="35"/>
                  <a:pt x="128" y="28"/>
                </a:cubicBezTo>
                <a:cubicBezTo>
                  <a:pt x="128" y="27"/>
                  <a:pt x="128" y="26"/>
                  <a:pt x="127" y="25"/>
                </a:cubicBezTo>
                <a:cubicBezTo>
                  <a:pt x="118" y="30"/>
                  <a:pt x="104" y="32"/>
                  <a:pt x="92" y="32"/>
                </a:cubicBezTo>
                <a:close/>
                <a:moveTo>
                  <a:pt x="36" y="40"/>
                </a:moveTo>
                <a:cubicBezTo>
                  <a:pt x="56" y="40"/>
                  <a:pt x="72" y="45"/>
                  <a:pt x="72" y="52"/>
                </a:cubicBezTo>
                <a:cubicBezTo>
                  <a:pt x="72" y="59"/>
                  <a:pt x="56" y="64"/>
                  <a:pt x="36" y="64"/>
                </a:cubicBezTo>
                <a:cubicBezTo>
                  <a:pt x="16" y="64"/>
                  <a:pt x="0" y="59"/>
                  <a:pt x="0" y="52"/>
                </a:cubicBezTo>
                <a:cubicBezTo>
                  <a:pt x="0" y="45"/>
                  <a:pt x="16" y="40"/>
                  <a:pt x="36" y="40"/>
                </a:cubicBezTo>
                <a:moveTo>
                  <a:pt x="71" y="65"/>
                </a:moveTo>
                <a:cubicBezTo>
                  <a:pt x="72" y="66"/>
                  <a:pt x="72" y="67"/>
                  <a:pt x="72" y="68"/>
                </a:cubicBezTo>
                <a:cubicBezTo>
                  <a:pt x="72" y="75"/>
                  <a:pt x="56" y="80"/>
                  <a:pt x="36" y="80"/>
                </a:cubicBezTo>
                <a:cubicBezTo>
                  <a:pt x="16" y="80"/>
                  <a:pt x="0" y="75"/>
                  <a:pt x="0" y="68"/>
                </a:cubicBezTo>
                <a:cubicBezTo>
                  <a:pt x="0" y="67"/>
                  <a:pt x="0" y="66"/>
                  <a:pt x="1" y="65"/>
                </a:cubicBezTo>
                <a:cubicBezTo>
                  <a:pt x="10" y="70"/>
                  <a:pt x="24" y="72"/>
                  <a:pt x="36" y="72"/>
                </a:cubicBezTo>
                <a:cubicBezTo>
                  <a:pt x="48" y="72"/>
                  <a:pt x="62" y="70"/>
                  <a:pt x="71" y="65"/>
                </a:cubicBezTo>
                <a:close/>
                <a:moveTo>
                  <a:pt x="71" y="81"/>
                </a:moveTo>
                <a:cubicBezTo>
                  <a:pt x="72" y="82"/>
                  <a:pt x="72" y="83"/>
                  <a:pt x="72" y="84"/>
                </a:cubicBezTo>
                <a:cubicBezTo>
                  <a:pt x="72" y="91"/>
                  <a:pt x="56" y="96"/>
                  <a:pt x="36" y="96"/>
                </a:cubicBezTo>
                <a:cubicBezTo>
                  <a:pt x="16" y="96"/>
                  <a:pt x="0" y="91"/>
                  <a:pt x="0" y="84"/>
                </a:cubicBezTo>
                <a:cubicBezTo>
                  <a:pt x="0" y="83"/>
                  <a:pt x="0" y="82"/>
                  <a:pt x="1" y="81"/>
                </a:cubicBezTo>
                <a:cubicBezTo>
                  <a:pt x="10" y="86"/>
                  <a:pt x="24" y="88"/>
                  <a:pt x="36" y="88"/>
                </a:cubicBezTo>
                <a:cubicBezTo>
                  <a:pt x="48" y="88"/>
                  <a:pt x="62" y="86"/>
                  <a:pt x="71" y="81"/>
                </a:cubicBezTo>
                <a:close/>
                <a:moveTo>
                  <a:pt x="71" y="97"/>
                </a:moveTo>
                <a:cubicBezTo>
                  <a:pt x="72" y="98"/>
                  <a:pt x="72" y="99"/>
                  <a:pt x="72" y="100"/>
                </a:cubicBezTo>
                <a:cubicBezTo>
                  <a:pt x="72" y="107"/>
                  <a:pt x="56" y="112"/>
                  <a:pt x="36" y="112"/>
                </a:cubicBezTo>
                <a:cubicBezTo>
                  <a:pt x="16" y="112"/>
                  <a:pt x="0" y="107"/>
                  <a:pt x="0" y="100"/>
                </a:cubicBezTo>
                <a:cubicBezTo>
                  <a:pt x="0" y="99"/>
                  <a:pt x="0" y="98"/>
                  <a:pt x="1" y="97"/>
                </a:cubicBezTo>
                <a:cubicBezTo>
                  <a:pt x="10" y="102"/>
                  <a:pt x="24" y="104"/>
                  <a:pt x="36" y="104"/>
                </a:cubicBezTo>
                <a:cubicBezTo>
                  <a:pt x="48" y="104"/>
                  <a:pt x="62" y="102"/>
                  <a:pt x="71" y="97"/>
                </a:cubicBezTo>
                <a:close/>
                <a:moveTo>
                  <a:pt x="71" y="113"/>
                </a:moveTo>
                <a:cubicBezTo>
                  <a:pt x="72" y="114"/>
                  <a:pt x="72" y="115"/>
                  <a:pt x="72" y="116"/>
                </a:cubicBezTo>
                <a:cubicBezTo>
                  <a:pt x="72" y="123"/>
                  <a:pt x="56" y="128"/>
                  <a:pt x="36" y="128"/>
                </a:cubicBezTo>
                <a:cubicBezTo>
                  <a:pt x="16" y="128"/>
                  <a:pt x="0" y="123"/>
                  <a:pt x="0" y="116"/>
                </a:cubicBezTo>
                <a:cubicBezTo>
                  <a:pt x="0" y="115"/>
                  <a:pt x="0" y="114"/>
                  <a:pt x="1" y="113"/>
                </a:cubicBezTo>
                <a:cubicBezTo>
                  <a:pt x="10" y="118"/>
                  <a:pt x="24" y="120"/>
                  <a:pt x="36" y="120"/>
                </a:cubicBezTo>
                <a:cubicBezTo>
                  <a:pt x="48" y="120"/>
                  <a:pt x="62" y="118"/>
                  <a:pt x="71" y="11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9" name="Freeform 150">
            <a:extLst>
              <a:ext uri="{FF2B5EF4-FFF2-40B4-BE49-F238E27FC236}">
                <a16:creationId xmlns:a16="http://schemas.microsoft.com/office/drawing/2014/main" id="{0A3B31A5-4477-4FF5-8071-C2B112AE220A}"/>
              </a:ext>
            </a:extLst>
          </p:cNvPr>
          <p:cNvSpPr>
            <a:spLocks noEditPoints="1"/>
          </p:cNvSpPr>
          <p:nvPr/>
        </p:nvSpPr>
        <p:spPr bwMode="auto">
          <a:xfrm>
            <a:off x="7096555" y="2482384"/>
            <a:ext cx="412750" cy="336550"/>
          </a:xfrm>
          <a:custGeom>
            <a:avLst/>
            <a:gdLst>
              <a:gd name="T0" fmla="*/ 260 w 260"/>
              <a:gd name="T1" fmla="*/ 171 h 212"/>
              <a:gd name="T2" fmla="*/ 260 w 260"/>
              <a:gd name="T3" fmla="*/ 0 h 212"/>
              <a:gd name="T4" fmla="*/ 0 w 260"/>
              <a:gd name="T5" fmla="*/ 0 h 212"/>
              <a:gd name="T6" fmla="*/ 0 w 260"/>
              <a:gd name="T7" fmla="*/ 171 h 212"/>
              <a:gd name="T8" fmla="*/ 122 w 260"/>
              <a:gd name="T9" fmla="*/ 171 h 212"/>
              <a:gd name="T10" fmla="*/ 122 w 260"/>
              <a:gd name="T11" fmla="*/ 196 h 212"/>
              <a:gd name="T12" fmla="*/ 57 w 260"/>
              <a:gd name="T13" fmla="*/ 196 h 212"/>
              <a:gd name="T14" fmla="*/ 57 w 260"/>
              <a:gd name="T15" fmla="*/ 212 h 212"/>
              <a:gd name="T16" fmla="*/ 203 w 260"/>
              <a:gd name="T17" fmla="*/ 212 h 212"/>
              <a:gd name="T18" fmla="*/ 203 w 260"/>
              <a:gd name="T19" fmla="*/ 196 h 212"/>
              <a:gd name="T20" fmla="*/ 138 w 260"/>
              <a:gd name="T21" fmla="*/ 196 h 212"/>
              <a:gd name="T22" fmla="*/ 138 w 260"/>
              <a:gd name="T23" fmla="*/ 171 h 212"/>
              <a:gd name="T24" fmla="*/ 260 w 260"/>
              <a:gd name="T25" fmla="*/ 171 h 212"/>
              <a:gd name="T26" fmla="*/ 16 w 260"/>
              <a:gd name="T27" fmla="*/ 16 h 212"/>
              <a:gd name="T28" fmla="*/ 244 w 260"/>
              <a:gd name="T29" fmla="*/ 16 h 212"/>
              <a:gd name="T30" fmla="*/ 244 w 260"/>
              <a:gd name="T31" fmla="*/ 155 h 212"/>
              <a:gd name="T32" fmla="*/ 16 w 260"/>
              <a:gd name="T33" fmla="*/ 155 h 212"/>
              <a:gd name="T34" fmla="*/ 16 w 260"/>
              <a:gd name="T35" fmla="*/ 16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0" h="212">
                <a:moveTo>
                  <a:pt x="260" y="171"/>
                </a:moveTo>
                <a:lnTo>
                  <a:pt x="260" y="0"/>
                </a:lnTo>
                <a:lnTo>
                  <a:pt x="0" y="0"/>
                </a:lnTo>
                <a:lnTo>
                  <a:pt x="0" y="171"/>
                </a:lnTo>
                <a:lnTo>
                  <a:pt x="122" y="171"/>
                </a:lnTo>
                <a:lnTo>
                  <a:pt x="122" y="196"/>
                </a:lnTo>
                <a:lnTo>
                  <a:pt x="57" y="196"/>
                </a:lnTo>
                <a:lnTo>
                  <a:pt x="57" y="212"/>
                </a:lnTo>
                <a:lnTo>
                  <a:pt x="203" y="212"/>
                </a:lnTo>
                <a:lnTo>
                  <a:pt x="203" y="196"/>
                </a:lnTo>
                <a:lnTo>
                  <a:pt x="138" y="196"/>
                </a:lnTo>
                <a:lnTo>
                  <a:pt x="138" y="171"/>
                </a:lnTo>
                <a:lnTo>
                  <a:pt x="260" y="171"/>
                </a:lnTo>
                <a:close/>
                <a:moveTo>
                  <a:pt x="16" y="16"/>
                </a:moveTo>
                <a:lnTo>
                  <a:pt x="244" y="16"/>
                </a:lnTo>
                <a:lnTo>
                  <a:pt x="244" y="155"/>
                </a:lnTo>
                <a:lnTo>
                  <a:pt x="16" y="155"/>
                </a:lnTo>
                <a:lnTo>
                  <a:pt x="16" y="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0" name="Freeform 154">
            <a:extLst>
              <a:ext uri="{FF2B5EF4-FFF2-40B4-BE49-F238E27FC236}">
                <a16:creationId xmlns:a16="http://schemas.microsoft.com/office/drawing/2014/main" id="{FFD9260E-D488-4288-BCCA-8500A67F6500}"/>
              </a:ext>
            </a:extLst>
          </p:cNvPr>
          <p:cNvSpPr>
            <a:spLocks noEditPoints="1"/>
          </p:cNvSpPr>
          <p:nvPr/>
        </p:nvSpPr>
        <p:spPr bwMode="auto">
          <a:xfrm>
            <a:off x="8142782" y="2709396"/>
            <a:ext cx="412750" cy="109538"/>
          </a:xfrm>
          <a:custGeom>
            <a:avLst/>
            <a:gdLst>
              <a:gd name="T0" fmla="*/ 16 w 128"/>
              <a:gd name="T1" fmla="*/ 0 h 32"/>
              <a:gd name="T2" fmla="*/ 0 w 128"/>
              <a:gd name="T3" fmla="*/ 16 h 32"/>
              <a:gd name="T4" fmla="*/ 16 w 128"/>
              <a:gd name="T5" fmla="*/ 32 h 32"/>
              <a:gd name="T6" fmla="*/ 32 w 128"/>
              <a:gd name="T7" fmla="*/ 16 h 32"/>
              <a:gd name="T8" fmla="*/ 16 w 128"/>
              <a:gd name="T9" fmla="*/ 0 h 32"/>
              <a:gd name="T10" fmla="*/ 112 w 128"/>
              <a:gd name="T11" fmla="*/ 0 h 32"/>
              <a:gd name="T12" fmla="*/ 96 w 128"/>
              <a:gd name="T13" fmla="*/ 16 h 32"/>
              <a:gd name="T14" fmla="*/ 112 w 128"/>
              <a:gd name="T15" fmla="*/ 32 h 32"/>
              <a:gd name="T16" fmla="*/ 128 w 128"/>
              <a:gd name="T17" fmla="*/ 16 h 32"/>
              <a:gd name="T18" fmla="*/ 112 w 128"/>
              <a:gd name="T19" fmla="*/ 0 h 32"/>
              <a:gd name="T20" fmla="*/ 64 w 128"/>
              <a:gd name="T21" fmla="*/ 0 h 32"/>
              <a:gd name="T22" fmla="*/ 48 w 128"/>
              <a:gd name="T23" fmla="*/ 16 h 32"/>
              <a:gd name="T24" fmla="*/ 64 w 128"/>
              <a:gd name="T25" fmla="*/ 32 h 32"/>
              <a:gd name="T26" fmla="*/ 80 w 128"/>
              <a:gd name="T27" fmla="*/ 16 h 32"/>
              <a:gd name="T28" fmla="*/ 64 w 128"/>
              <a:gd name="T2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32">
                <a:moveTo>
                  <a:pt x="16" y="0"/>
                </a:moveTo>
                <a:cubicBezTo>
                  <a:pt x="7" y="0"/>
                  <a:pt x="0" y="7"/>
                  <a:pt x="0" y="16"/>
                </a:cubicBezTo>
                <a:cubicBezTo>
                  <a:pt x="0" y="25"/>
                  <a:pt x="7" y="32"/>
                  <a:pt x="16" y="32"/>
                </a:cubicBezTo>
                <a:cubicBezTo>
                  <a:pt x="25" y="32"/>
                  <a:pt x="32" y="25"/>
                  <a:pt x="32" y="16"/>
                </a:cubicBezTo>
                <a:cubicBezTo>
                  <a:pt x="32" y="7"/>
                  <a:pt x="25" y="0"/>
                  <a:pt x="16" y="0"/>
                </a:cubicBezTo>
                <a:close/>
                <a:moveTo>
                  <a:pt x="112" y="0"/>
                </a:moveTo>
                <a:cubicBezTo>
                  <a:pt x="103" y="0"/>
                  <a:pt x="96" y="7"/>
                  <a:pt x="96" y="16"/>
                </a:cubicBezTo>
                <a:cubicBezTo>
                  <a:pt x="96" y="25"/>
                  <a:pt x="103" y="32"/>
                  <a:pt x="112" y="32"/>
                </a:cubicBezTo>
                <a:cubicBezTo>
                  <a:pt x="121" y="32"/>
                  <a:pt x="128" y="25"/>
                  <a:pt x="128" y="16"/>
                </a:cubicBezTo>
                <a:cubicBezTo>
                  <a:pt x="128" y="7"/>
                  <a:pt x="121" y="0"/>
                  <a:pt x="112" y="0"/>
                </a:cubicBezTo>
                <a:close/>
                <a:moveTo>
                  <a:pt x="64" y="0"/>
                </a:moveTo>
                <a:cubicBezTo>
                  <a:pt x="55" y="0"/>
                  <a:pt x="48" y="7"/>
                  <a:pt x="48" y="16"/>
                </a:cubicBezTo>
                <a:cubicBezTo>
                  <a:pt x="48" y="25"/>
                  <a:pt x="55" y="32"/>
                  <a:pt x="64" y="32"/>
                </a:cubicBezTo>
                <a:cubicBezTo>
                  <a:pt x="73" y="32"/>
                  <a:pt x="80" y="25"/>
                  <a:pt x="80" y="16"/>
                </a:cubicBezTo>
                <a:cubicBezTo>
                  <a:pt x="80" y="7"/>
                  <a:pt x="73" y="0"/>
                  <a:pt x="64"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1" name="Freeform 158">
            <a:extLst>
              <a:ext uri="{FF2B5EF4-FFF2-40B4-BE49-F238E27FC236}">
                <a16:creationId xmlns:a16="http://schemas.microsoft.com/office/drawing/2014/main" id="{D294F24C-DC8F-4575-8310-DCE5EBD80EF0}"/>
              </a:ext>
            </a:extLst>
          </p:cNvPr>
          <p:cNvSpPr>
            <a:spLocks noEditPoints="1"/>
          </p:cNvSpPr>
          <p:nvPr/>
        </p:nvSpPr>
        <p:spPr bwMode="auto">
          <a:xfrm>
            <a:off x="5157293" y="3195060"/>
            <a:ext cx="111125" cy="412750"/>
          </a:xfrm>
          <a:custGeom>
            <a:avLst/>
            <a:gdLst>
              <a:gd name="T0" fmla="*/ 32 w 32"/>
              <a:gd name="T1" fmla="*/ 16 h 128"/>
              <a:gd name="T2" fmla="*/ 16 w 32"/>
              <a:gd name="T3" fmla="*/ 0 h 128"/>
              <a:gd name="T4" fmla="*/ 0 w 32"/>
              <a:gd name="T5" fmla="*/ 16 h 128"/>
              <a:gd name="T6" fmla="*/ 16 w 32"/>
              <a:gd name="T7" fmla="*/ 32 h 128"/>
              <a:gd name="T8" fmla="*/ 32 w 32"/>
              <a:gd name="T9" fmla="*/ 16 h 128"/>
              <a:gd name="T10" fmla="*/ 32 w 32"/>
              <a:gd name="T11" fmla="*/ 112 h 128"/>
              <a:gd name="T12" fmla="*/ 16 w 32"/>
              <a:gd name="T13" fmla="*/ 96 h 128"/>
              <a:gd name="T14" fmla="*/ 0 w 32"/>
              <a:gd name="T15" fmla="*/ 112 h 128"/>
              <a:gd name="T16" fmla="*/ 16 w 32"/>
              <a:gd name="T17" fmla="*/ 128 h 128"/>
              <a:gd name="T18" fmla="*/ 32 w 32"/>
              <a:gd name="T19" fmla="*/ 112 h 128"/>
              <a:gd name="T20" fmla="*/ 32 w 32"/>
              <a:gd name="T21" fmla="*/ 64 h 128"/>
              <a:gd name="T22" fmla="*/ 16 w 32"/>
              <a:gd name="T23" fmla="*/ 48 h 128"/>
              <a:gd name="T24" fmla="*/ 0 w 32"/>
              <a:gd name="T25" fmla="*/ 64 h 128"/>
              <a:gd name="T26" fmla="*/ 16 w 32"/>
              <a:gd name="T27" fmla="*/ 80 h 128"/>
              <a:gd name="T28" fmla="*/ 32 w 32"/>
              <a:gd name="T2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128">
                <a:moveTo>
                  <a:pt x="32" y="16"/>
                </a:moveTo>
                <a:cubicBezTo>
                  <a:pt x="32" y="7"/>
                  <a:pt x="25" y="0"/>
                  <a:pt x="16" y="0"/>
                </a:cubicBezTo>
                <a:cubicBezTo>
                  <a:pt x="7" y="0"/>
                  <a:pt x="0" y="7"/>
                  <a:pt x="0" y="16"/>
                </a:cubicBezTo>
                <a:cubicBezTo>
                  <a:pt x="0" y="25"/>
                  <a:pt x="7" y="32"/>
                  <a:pt x="16" y="32"/>
                </a:cubicBezTo>
                <a:cubicBezTo>
                  <a:pt x="25" y="32"/>
                  <a:pt x="32" y="25"/>
                  <a:pt x="32" y="16"/>
                </a:cubicBezTo>
                <a:close/>
                <a:moveTo>
                  <a:pt x="32" y="112"/>
                </a:moveTo>
                <a:cubicBezTo>
                  <a:pt x="32" y="103"/>
                  <a:pt x="25" y="96"/>
                  <a:pt x="16" y="96"/>
                </a:cubicBezTo>
                <a:cubicBezTo>
                  <a:pt x="7" y="96"/>
                  <a:pt x="0" y="103"/>
                  <a:pt x="0" y="112"/>
                </a:cubicBezTo>
                <a:cubicBezTo>
                  <a:pt x="0" y="121"/>
                  <a:pt x="7" y="128"/>
                  <a:pt x="16" y="128"/>
                </a:cubicBezTo>
                <a:cubicBezTo>
                  <a:pt x="25" y="128"/>
                  <a:pt x="32" y="121"/>
                  <a:pt x="32" y="112"/>
                </a:cubicBezTo>
                <a:close/>
                <a:moveTo>
                  <a:pt x="32" y="64"/>
                </a:moveTo>
                <a:cubicBezTo>
                  <a:pt x="32" y="55"/>
                  <a:pt x="25" y="48"/>
                  <a:pt x="16" y="48"/>
                </a:cubicBezTo>
                <a:cubicBezTo>
                  <a:pt x="7" y="48"/>
                  <a:pt x="0" y="55"/>
                  <a:pt x="0" y="64"/>
                </a:cubicBezTo>
                <a:cubicBezTo>
                  <a:pt x="0" y="73"/>
                  <a:pt x="7" y="80"/>
                  <a:pt x="16" y="80"/>
                </a:cubicBezTo>
                <a:cubicBezTo>
                  <a:pt x="25" y="80"/>
                  <a:pt x="32" y="73"/>
                  <a:pt x="32" y="6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2" name="Freeform 5">
            <a:extLst>
              <a:ext uri="{FF2B5EF4-FFF2-40B4-BE49-F238E27FC236}">
                <a16:creationId xmlns:a16="http://schemas.microsoft.com/office/drawing/2014/main" id="{55C60FE3-BC60-47E0-B1DC-26BC1C7162D1}"/>
              </a:ext>
            </a:extLst>
          </p:cNvPr>
          <p:cNvSpPr>
            <a:spLocks noEditPoints="1"/>
          </p:cNvSpPr>
          <p:nvPr/>
        </p:nvSpPr>
        <p:spPr bwMode="auto">
          <a:xfrm>
            <a:off x="6051122" y="3320472"/>
            <a:ext cx="414338" cy="287338"/>
          </a:xfrm>
          <a:custGeom>
            <a:avLst/>
            <a:gdLst>
              <a:gd name="T0" fmla="*/ 128 w 128"/>
              <a:gd name="T1" fmla="*/ 88 h 88"/>
              <a:gd name="T2" fmla="*/ 0 w 128"/>
              <a:gd name="T3" fmla="*/ 88 h 88"/>
              <a:gd name="T4" fmla="*/ 0 w 128"/>
              <a:gd name="T5" fmla="*/ 0 h 88"/>
              <a:gd name="T6" fmla="*/ 128 w 128"/>
              <a:gd name="T7" fmla="*/ 0 h 88"/>
              <a:gd name="T8" fmla="*/ 128 w 128"/>
              <a:gd name="T9" fmla="*/ 88 h 88"/>
              <a:gd name="T10" fmla="*/ 8 w 128"/>
              <a:gd name="T11" fmla="*/ 80 h 88"/>
              <a:gd name="T12" fmla="*/ 120 w 128"/>
              <a:gd name="T13" fmla="*/ 80 h 88"/>
              <a:gd name="T14" fmla="*/ 120 w 128"/>
              <a:gd name="T15" fmla="*/ 8 h 88"/>
              <a:gd name="T16" fmla="*/ 8 w 128"/>
              <a:gd name="T17" fmla="*/ 8 h 88"/>
              <a:gd name="T18" fmla="*/ 8 w 128"/>
              <a:gd name="T19" fmla="*/ 80 h 88"/>
              <a:gd name="T20" fmla="*/ 64 w 128"/>
              <a:gd name="T21" fmla="*/ 16 h 88"/>
              <a:gd name="T22" fmla="*/ 36 w 128"/>
              <a:gd name="T23" fmla="*/ 44 h 88"/>
              <a:gd name="T24" fmla="*/ 64 w 128"/>
              <a:gd name="T25" fmla="*/ 72 h 88"/>
              <a:gd name="T26" fmla="*/ 92 w 128"/>
              <a:gd name="T27" fmla="*/ 44 h 88"/>
              <a:gd name="T28" fmla="*/ 64 w 128"/>
              <a:gd name="T29" fmla="*/ 16 h 88"/>
              <a:gd name="T30" fmla="*/ 56 w 128"/>
              <a:gd name="T31" fmla="*/ 62 h 88"/>
              <a:gd name="T32" fmla="*/ 56 w 128"/>
              <a:gd name="T33" fmla="*/ 26 h 88"/>
              <a:gd name="T34" fmla="*/ 80 w 128"/>
              <a:gd name="T35" fmla="*/ 44 h 88"/>
              <a:gd name="T36" fmla="*/ 56 w 128"/>
              <a:gd name="T37"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88">
                <a:moveTo>
                  <a:pt x="128" y="88"/>
                </a:moveTo>
                <a:cubicBezTo>
                  <a:pt x="0" y="88"/>
                  <a:pt x="0" y="88"/>
                  <a:pt x="0" y="88"/>
                </a:cubicBezTo>
                <a:cubicBezTo>
                  <a:pt x="0" y="0"/>
                  <a:pt x="0" y="0"/>
                  <a:pt x="0" y="0"/>
                </a:cubicBezTo>
                <a:cubicBezTo>
                  <a:pt x="128" y="0"/>
                  <a:pt x="128" y="0"/>
                  <a:pt x="128" y="0"/>
                </a:cubicBezTo>
                <a:lnTo>
                  <a:pt x="128" y="88"/>
                </a:lnTo>
                <a:close/>
                <a:moveTo>
                  <a:pt x="8" y="80"/>
                </a:moveTo>
                <a:cubicBezTo>
                  <a:pt x="120" y="80"/>
                  <a:pt x="120" y="80"/>
                  <a:pt x="120" y="80"/>
                </a:cubicBezTo>
                <a:cubicBezTo>
                  <a:pt x="120" y="8"/>
                  <a:pt x="120" y="8"/>
                  <a:pt x="120" y="8"/>
                </a:cubicBezTo>
                <a:cubicBezTo>
                  <a:pt x="8" y="8"/>
                  <a:pt x="8" y="8"/>
                  <a:pt x="8" y="8"/>
                </a:cubicBezTo>
                <a:lnTo>
                  <a:pt x="8" y="80"/>
                </a:lnTo>
                <a:close/>
                <a:moveTo>
                  <a:pt x="64" y="16"/>
                </a:moveTo>
                <a:cubicBezTo>
                  <a:pt x="49" y="16"/>
                  <a:pt x="36" y="29"/>
                  <a:pt x="36" y="44"/>
                </a:cubicBezTo>
                <a:cubicBezTo>
                  <a:pt x="36" y="59"/>
                  <a:pt x="49" y="72"/>
                  <a:pt x="64" y="72"/>
                </a:cubicBezTo>
                <a:cubicBezTo>
                  <a:pt x="79" y="72"/>
                  <a:pt x="92" y="59"/>
                  <a:pt x="92" y="44"/>
                </a:cubicBezTo>
                <a:cubicBezTo>
                  <a:pt x="92" y="29"/>
                  <a:pt x="79" y="16"/>
                  <a:pt x="64" y="16"/>
                </a:cubicBezTo>
                <a:close/>
                <a:moveTo>
                  <a:pt x="56" y="62"/>
                </a:moveTo>
                <a:cubicBezTo>
                  <a:pt x="56" y="26"/>
                  <a:pt x="56" y="26"/>
                  <a:pt x="56" y="26"/>
                </a:cubicBezTo>
                <a:cubicBezTo>
                  <a:pt x="80" y="44"/>
                  <a:pt x="80" y="44"/>
                  <a:pt x="80" y="44"/>
                </a:cubicBezTo>
                <a:lnTo>
                  <a:pt x="56" y="6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3" name="Freeform 9">
            <a:extLst>
              <a:ext uri="{FF2B5EF4-FFF2-40B4-BE49-F238E27FC236}">
                <a16:creationId xmlns:a16="http://schemas.microsoft.com/office/drawing/2014/main" id="{1DB80AA1-BF64-4C16-9F74-771C169C2E55}"/>
              </a:ext>
            </a:extLst>
          </p:cNvPr>
          <p:cNvSpPr>
            <a:spLocks noEditPoints="1"/>
          </p:cNvSpPr>
          <p:nvPr/>
        </p:nvSpPr>
        <p:spPr bwMode="auto">
          <a:xfrm>
            <a:off x="7095761" y="3204585"/>
            <a:ext cx="414338" cy="403225"/>
          </a:xfrm>
          <a:custGeom>
            <a:avLst/>
            <a:gdLst>
              <a:gd name="T0" fmla="*/ 145 w 261"/>
              <a:gd name="T1" fmla="*/ 67 h 254"/>
              <a:gd name="T2" fmla="*/ 0 w 261"/>
              <a:gd name="T3" fmla="*/ 67 h 254"/>
              <a:gd name="T4" fmla="*/ 0 w 261"/>
              <a:gd name="T5" fmla="*/ 181 h 254"/>
              <a:gd name="T6" fmla="*/ 49 w 261"/>
              <a:gd name="T7" fmla="*/ 181 h 254"/>
              <a:gd name="T8" fmla="*/ 49 w 261"/>
              <a:gd name="T9" fmla="*/ 254 h 254"/>
              <a:gd name="T10" fmla="*/ 98 w 261"/>
              <a:gd name="T11" fmla="*/ 254 h 254"/>
              <a:gd name="T12" fmla="*/ 98 w 261"/>
              <a:gd name="T13" fmla="*/ 181 h 254"/>
              <a:gd name="T14" fmla="*/ 145 w 261"/>
              <a:gd name="T15" fmla="*/ 181 h 254"/>
              <a:gd name="T16" fmla="*/ 261 w 261"/>
              <a:gd name="T17" fmla="*/ 248 h 254"/>
              <a:gd name="T18" fmla="*/ 261 w 261"/>
              <a:gd name="T19" fmla="*/ 0 h 254"/>
              <a:gd name="T20" fmla="*/ 145 w 261"/>
              <a:gd name="T21" fmla="*/ 67 h 254"/>
              <a:gd name="T22" fmla="*/ 245 w 261"/>
              <a:gd name="T23" fmla="*/ 219 h 254"/>
              <a:gd name="T24" fmla="*/ 149 w 261"/>
              <a:gd name="T25" fmla="*/ 165 h 254"/>
              <a:gd name="T26" fmla="*/ 16 w 261"/>
              <a:gd name="T27" fmla="*/ 165 h 254"/>
              <a:gd name="T28" fmla="*/ 16 w 261"/>
              <a:gd name="T29" fmla="*/ 83 h 254"/>
              <a:gd name="T30" fmla="*/ 149 w 261"/>
              <a:gd name="T31" fmla="*/ 83 h 254"/>
              <a:gd name="T32" fmla="*/ 245 w 261"/>
              <a:gd name="T33" fmla="*/ 28 h 254"/>
              <a:gd name="T34" fmla="*/ 245 w 261"/>
              <a:gd name="T35" fmla="*/ 21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1" h="254">
                <a:moveTo>
                  <a:pt x="145" y="67"/>
                </a:moveTo>
                <a:lnTo>
                  <a:pt x="0" y="67"/>
                </a:lnTo>
                <a:lnTo>
                  <a:pt x="0" y="181"/>
                </a:lnTo>
                <a:lnTo>
                  <a:pt x="49" y="181"/>
                </a:lnTo>
                <a:lnTo>
                  <a:pt x="49" y="254"/>
                </a:lnTo>
                <a:lnTo>
                  <a:pt x="98" y="254"/>
                </a:lnTo>
                <a:lnTo>
                  <a:pt x="98" y="181"/>
                </a:lnTo>
                <a:lnTo>
                  <a:pt x="145" y="181"/>
                </a:lnTo>
                <a:lnTo>
                  <a:pt x="261" y="248"/>
                </a:lnTo>
                <a:lnTo>
                  <a:pt x="261" y="0"/>
                </a:lnTo>
                <a:lnTo>
                  <a:pt x="145" y="67"/>
                </a:lnTo>
                <a:close/>
                <a:moveTo>
                  <a:pt x="245" y="219"/>
                </a:moveTo>
                <a:lnTo>
                  <a:pt x="149" y="165"/>
                </a:lnTo>
                <a:lnTo>
                  <a:pt x="16" y="165"/>
                </a:lnTo>
                <a:lnTo>
                  <a:pt x="16" y="83"/>
                </a:lnTo>
                <a:lnTo>
                  <a:pt x="149" y="83"/>
                </a:lnTo>
                <a:lnTo>
                  <a:pt x="245" y="28"/>
                </a:lnTo>
                <a:lnTo>
                  <a:pt x="245" y="21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4" name="Freeform 13">
            <a:extLst>
              <a:ext uri="{FF2B5EF4-FFF2-40B4-BE49-F238E27FC236}">
                <a16:creationId xmlns:a16="http://schemas.microsoft.com/office/drawing/2014/main" id="{636BEBFF-F0BB-403C-87AB-05E772387E44}"/>
              </a:ext>
            </a:extLst>
          </p:cNvPr>
          <p:cNvSpPr>
            <a:spLocks noEditPoints="1"/>
          </p:cNvSpPr>
          <p:nvPr/>
        </p:nvSpPr>
        <p:spPr bwMode="auto">
          <a:xfrm>
            <a:off x="8193582" y="3195060"/>
            <a:ext cx="311150" cy="412750"/>
          </a:xfrm>
          <a:custGeom>
            <a:avLst/>
            <a:gdLst>
              <a:gd name="T0" fmla="*/ 180 w 196"/>
              <a:gd name="T1" fmla="*/ 16 h 260"/>
              <a:gd name="T2" fmla="*/ 180 w 196"/>
              <a:gd name="T3" fmla="*/ 244 h 260"/>
              <a:gd name="T4" fmla="*/ 16 w 196"/>
              <a:gd name="T5" fmla="*/ 244 h 260"/>
              <a:gd name="T6" fmla="*/ 16 w 196"/>
              <a:gd name="T7" fmla="*/ 16 h 260"/>
              <a:gd name="T8" fmla="*/ 180 w 196"/>
              <a:gd name="T9" fmla="*/ 16 h 260"/>
              <a:gd name="T10" fmla="*/ 196 w 196"/>
              <a:gd name="T11" fmla="*/ 0 h 260"/>
              <a:gd name="T12" fmla="*/ 0 w 196"/>
              <a:gd name="T13" fmla="*/ 0 h 260"/>
              <a:gd name="T14" fmla="*/ 0 w 196"/>
              <a:gd name="T15" fmla="*/ 260 h 260"/>
              <a:gd name="T16" fmla="*/ 196 w 196"/>
              <a:gd name="T17" fmla="*/ 260 h 260"/>
              <a:gd name="T18" fmla="*/ 196 w 196"/>
              <a:gd name="T19" fmla="*/ 0 h 260"/>
              <a:gd name="T20" fmla="*/ 196 w 196"/>
              <a:gd name="T21" fmla="*/ 0 h 260"/>
              <a:gd name="T22" fmla="*/ 163 w 196"/>
              <a:gd name="T23" fmla="*/ 114 h 260"/>
              <a:gd name="T24" fmla="*/ 33 w 196"/>
              <a:gd name="T25" fmla="*/ 114 h 260"/>
              <a:gd name="T26" fmla="*/ 33 w 196"/>
              <a:gd name="T27" fmla="*/ 130 h 260"/>
              <a:gd name="T28" fmla="*/ 163 w 196"/>
              <a:gd name="T29" fmla="*/ 130 h 260"/>
              <a:gd name="T30" fmla="*/ 163 w 196"/>
              <a:gd name="T31" fmla="*/ 114 h 260"/>
              <a:gd name="T32" fmla="*/ 163 w 196"/>
              <a:gd name="T33" fmla="*/ 81 h 260"/>
              <a:gd name="T34" fmla="*/ 33 w 196"/>
              <a:gd name="T35" fmla="*/ 81 h 260"/>
              <a:gd name="T36" fmla="*/ 33 w 196"/>
              <a:gd name="T37" fmla="*/ 97 h 260"/>
              <a:gd name="T38" fmla="*/ 163 w 196"/>
              <a:gd name="T39" fmla="*/ 97 h 260"/>
              <a:gd name="T40" fmla="*/ 163 w 196"/>
              <a:gd name="T41" fmla="*/ 81 h 260"/>
              <a:gd name="T42" fmla="*/ 163 w 196"/>
              <a:gd name="T43" fmla="*/ 49 h 260"/>
              <a:gd name="T44" fmla="*/ 33 w 196"/>
              <a:gd name="T45" fmla="*/ 49 h 260"/>
              <a:gd name="T46" fmla="*/ 33 w 196"/>
              <a:gd name="T47" fmla="*/ 65 h 260"/>
              <a:gd name="T48" fmla="*/ 163 w 196"/>
              <a:gd name="T49" fmla="*/ 65 h 260"/>
              <a:gd name="T50" fmla="*/ 163 w 196"/>
              <a:gd name="T51" fmla="*/ 4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6" h="260">
                <a:moveTo>
                  <a:pt x="180" y="16"/>
                </a:moveTo>
                <a:lnTo>
                  <a:pt x="180" y="244"/>
                </a:lnTo>
                <a:lnTo>
                  <a:pt x="16" y="244"/>
                </a:lnTo>
                <a:lnTo>
                  <a:pt x="16" y="16"/>
                </a:lnTo>
                <a:lnTo>
                  <a:pt x="180" y="16"/>
                </a:lnTo>
                <a:close/>
                <a:moveTo>
                  <a:pt x="196" y="0"/>
                </a:moveTo>
                <a:lnTo>
                  <a:pt x="0" y="0"/>
                </a:lnTo>
                <a:lnTo>
                  <a:pt x="0" y="260"/>
                </a:lnTo>
                <a:lnTo>
                  <a:pt x="196" y="260"/>
                </a:lnTo>
                <a:lnTo>
                  <a:pt x="196" y="0"/>
                </a:lnTo>
                <a:lnTo>
                  <a:pt x="196" y="0"/>
                </a:lnTo>
                <a:close/>
                <a:moveTo>
                  <a:pt x="163" y="114"/>
                </a:moveTo>
                <a:lnTo>
                  <a:pt x="33" y="114"/>
                </a:lnTo>
                <a:lnTo>
                  <a:pt x="33" y="130"/>
                </a:lnTo>
                <a:lnTo>
                  <a:pt x="163" y="130"/>
                </a:lnTo>
                <a:lnTo>
                  <a:pt x="163" y="114"/>
                </a:lnTo>
                <a:close/>
                <a:moveTo>
                  <a:pt x="163" y="81"/>
                </a:moveTo>
                <a:lnTo>
                  <a:pt x="33" y="81"/>
                </a:lnTo>
                <a:lnTo>
                  <a:pt x="33" y="97"/>
                </a:lnTo>
                <a:lnTo>
                  <a:pt x="163" y="97"/>
                </a:lnTo>
                <a:lnTo>
                  <a:pt x="163" y="81"/>
                </a:lnTo>
                <a:close/>
                <a:moveTo>
                  <a:pt x="163" y="49"/>
                </a:moveTo>
                <a:lnTo>
                  <a:pt x="33" y="49"/>
                </a:lnTo>
                <a:lnTo>
                  <a:pt x="33" y="65"/>
                </a:lnTo>
                <a:lnTo>
                  <a:pt x="163" y="65"/>
                </a:lnTo>
                <a:lnTo>
                  <a:pt x="163" y="4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5" name="Freeform 18">
            <a:extLst>
              <a:ext uri="{FF2B5EF4-FFF2-40B4-BE49-F238E27FC236}">
                <a16:creationId xmlns:a16="http://schemas.microsoft.com/office/drawing/2014/main" id="{0B5C7E94-B607-40A8-9566-874EC3B3E05A}"/>
              </a:ext>
            </a:extLst>
          </p:cNvPr>
          <p:cNvSpPr>
            <a:spLocks noEditPoints="1"/>
          </p:cNvSpPr>
          <p:nvPr/>
        </p:nvSpPr>
        <p:spPr bwMode="auto">
          <a:xfrm>
            <a:off x="8142782" y="4050221"/>
            <a:ext cx="412750" cy="414338"/>
          </a:xfrm>
          <a:custGeom>
            <a:avLst/>
            <a:gdLst>
              <a:gd name="T0" fmla="*/ 128 w 128"/>
              <a:gd name="T1" fmla="*/ 64 h 128"/>
              <a:gd name="T2" fmla="*/ 64 w 128"/>
              <a:gd name="T3" fmla="*/ 128 h 128"/>
              <a:gd name="T4" fmla="*/ 0 w 128"/>
              <a:gd name="T5" fmla="*/ 64 h 128"/>
              <a:gd name="T6" fmla="*/ 64 w 128"/>
              <a:gd name="T7" fmla="*/ 0 h 128"/>
              <a:gd name="T8" fmla="*/ 128 w 128"/>
              <a:gd name="T9" fmla="*/ 64 h 128"/>
              <a:gd name="T10" fmla="*/ 120 w 128"/>
              <a:gd name="T11" fmla="*/ 64 h 128"/>
              <a:gd name="T12" fmla="*/ 64 w 128"/>
              <a:gd name="T13" fmla="*/ 64 h 128"/>
              <a:gd name="T14" fmla="*/ 64 w 128"/>
              <a:gd name="T15" fmla="*/ 8 h 128"/>
              <a:gd name="T16" fmla="*/ 8 w 128"/>
              <a:gd name="T17" fmla="*/ 64 h 128"/>
              <a:gd name="T18" fmla="*/ 64 w 128"/>
              <a:gd name="T19" fmla="*/ 120 h 128"/>
              <a:gd name="T20" fmla="*/ 120 w 128"/>
              <a:gd name="T21"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8" h="128">
                <a:moveTo>
                  <a:pt x="128" y="64"/>
                </a:moveTo>
                <a:cubicBezTo>
                  <a:pt x="128" y="99"/>
                  <a:pt x="99" y="128"/>
                  <a:pt x="64" y="128"/>
                </a:cubicBezTo>
                <a:cubicBezTo>
                  <a:pt x="29" y="128"/>
                  <a:pt x="0" y="99"/>
                  <a:pt x="0" y="64"/>
                </a:cubicBezTo>
                <a:cubicBezTo>
                  <a:pt x="0" y="29"/>
                  <a:pt x="29" y="0"/>
                  <a:pt x="64" y="0"/>
                </a:cubicBezTo>
                <a:cubicBezTo>
                  <a:pt x="99" y="0"/>
                  <a:pt x="128" y="29"/>
                  <a:pt x="128" y="64"/>
                </a:cubicBezTo>
                <a:close/>
                <a:moveTo>
                  <a:pt x="120" y="64"/>
                </a:moveTo>
                <a:cubicBezTo>
                  <a:pt x="64" y="64"/>
                  <a:pt x="64" y="64"/>
                  <a:pt x="64" y="64"/>
                </a:cubicBezTo>
                <a:cubicBezTo>
                  <a:pt x="64" y="8"/>
                  <a:pt x="64" y="8"/>
                  <a:pt x="64" y="8"/>
                </a:cubicBezTo>
                <a:cubicBezTo>
                  <a:pt x="33" y="8"/>
                  <a:pt x="8" y="33"/>
                  <a:pt x="8" y="64"/>
                </a:cubicBezTo>
                <a:cubicBezTo>
                  <a:pt x="8" y="95"/>
                  <a:pt x="33" y="120"/>
                  <a:pt x="64" y="120"/>
                </a:cubicBezTo>
                <a:cubicBezTo>
                  <a:pt x="95" y="120"/>
                  <a:pt x="120" y="95"/>
                  <a:pt x="120" y="6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37" name="Freeform: Shape 436">
            <a:extLst>
              <a:ext uri="{FF2B5EF4-FFF2-40B4-BE49-F238E27FC236}">
                <a16:creationId xmlns:a16="http://schemas.microsoft.com/office/drawing/2014/main" id="{DF2B9B12-2CC4-4ED0-9AD7-1D93E8BA3237}"/>
              </a:ext>
            </a:extLst>
          </p:cNvPr>
          <p:cNvSpPr/>
          <p:nvPr/>
        </p:nvSpPr>
        <p:spPr>
          <a:xfrm>
            <a:off x="6105891" y="1699332"/>
            <a:ext cx="304800" cy="305752"/>
          </a:xfrm>
          <a:custGeom>
            <a:avLst/>
            <a:gdLst>
              <a:gd name="connsiteX0" fmla="*/ 171450 w 304800"/>
              <a:gd name="connsiteY0" fmla="*/ 9525 h 305752"/>
              <a:gd name="connsiteX1" fmla="*/ 247650 w 304800"/>
              <a:gd name="connsiteY1" fmla="*/ 9525 h 305752"/>
              <a:gd name="connsiteX2" fmla="*/ 247650 w 304800"/>
              <a:gd name="connsiteY2" fmla="*/ 57150 h 305752"/>
              <a:gd name="connsiteX3" fmla="*/ 295275 w 304800"/>
              <a:gd name="connsiteY3" fmla="*/ 57150 h 305752"/>
              <a:gd name="connsiteX4" fmla="*/ 295275 w 304800"/>
              <a:gd name="connsiteY4" fmla="*/ 180975 h 305752"/>
              <a:gd name="connsiteX5" fmla="*/ 171450 w 304800"/>
              <a:gd name="connsiteY5" fmla="*/ 180975 h 305752"/>
              <a:gd name="connsiteX6" fmla="*/ 171450 w 304800"/>
              <a:gd name="connsiteY6" fmla="*/ 9525 h 305752"/>
              <a:gd name="connsiteX7" fmla="*/ 161925 w 304800"/>
              <a:gd name="connsiteY7" fmla="*/ 0 h 305752"/>
              <a:gd name="connsiteX8" fmla="*/ 161925 w 304800"/>
              <a:gd name="connsiteY8" fmla="*/ 190500 h 305752"/>
              <a:gd name="connsiteX9" fmla="*/ 304800 w 304800"/>
              <a:gd name="connsiteY9" fmla="*/ 190500 h 305752"/>
              <a:gd name="connsiteX10" fmla="*/ 304800 w 304800"/>
              <a:gd name="connsiteY10" fmla="*/ 57150 h 305752"/>
              <a:gd name="connsiteX11" fmla="*/ 247650 w 304800"/>
              <a:gd name="connsiteY11" fmla="*/ 0 h 305752"/>
              <a:gd name="connsiteX12" fmla="*/ 161925 w 304800"/>
              <a:gd name="connsiteY12" fmla="*/ 0 h 305752"/>
              <a:gd name="connsiteX13" fmla="*/ 19050 w 304800"/>
              <a:gd name="connsiteY13" fmla="*/ 164783 h 305752"/>
              <a:gd name="connsiteX14" fmla="*/ 183833 w 304800"/>
              <a:gd name="connsiteY14" fmla="*/ 260033 h 305752"/>
              <a:gd name="connsiteX15" fmla="*/ 164783 w 304800"/>
              <a:gd name="connsiteY15" fmla="*/ 293370 h 305752"/>
              <a:gd name="connsiteX16" fmla="*/ 0 w 304800"/>
              <a:gd name="connsiteY16" fmla="*/ 197168 h 305752"/>
              <a:gd name="connsiteX17" fmla="*/ 19050 w 304800"/>
              <a:gd name="connsiteY17" fmla="*/ 164783 h 305752"/>
              <a:gd name="connsiteX18" fmla="*/ 200978 w 304800"/>
              <a:gd name="connsiteY18" fmla="*/ 269558 h 305752"/>
              <a:gd name="connsiteX19" fmla="*/ 181928 w 304800"/>
              <a:gd name="connsiteY19" fmla="*/ 302895 h 305752"/>
              <a:gd name="connsiteX20" fmla="*/ 224790 w 304800"/>
              <a:gd name="connsiteY20" fmla="*/ 305753 h 305752"/>
              <a:gd name="connsiteX21" fmla="*/ 200978 w 304800"/>
              <a:gd name="connsiteY21" fmla="*/ 269558 h 305752"/>
              <a:gd name="connsiteX22" fmla="*/ 75248 w 304800"/>
              <a:gd name="connsiteY22" fmla="*/ 90488 h 305752"/>
              <a:gd name="connsiteX23" fmla="*/ 52388 w 304800"/>
              <a:gd name="connsiteY23" fmla="*/ 77153 h 305752"/>
              <a:gd name="connsiteX24" fmla="*/ 39053 w 304800"/>
              <a:gd name="connsiteY24" fmla="*/ 100013 h 305752"/>
              <a:gd name="connsiteX25" fmla="*/ 57150 w 304800"/>
              <a:gd name="connsiteY25" fmla="*/ 114300 h 305752"/>
              <a:gd name="connsiteX26" fmla="*/ 67628 w 304800"/>
              <a:gd name="connsiteY26" fmla="*/ 151448 h 305752"/>
              <a:gd name="connsiteX27" fmla="*/ 77153 w 304800"/>
              <a:gd name="connsiteY27" fmla="*/ 168593 h 305752"/>
              <a:gd name="connsiteX28" fmla="*/ 77153 w 304800"/>
              <a:gd name="connsiteY28" fmla="*/ 148590 h 305752"/>
              <a:gd name="connsiteX29" fmla="*/ 66675 w 304800"/>
              <a:gd name="connsiteY29" fmla="*/ 111443 h 305752"/>
              <a:gd name="connsiteX30" fmla="*/ 75248 w 304800"/>
              <a:gd name="connsiteY30" fmla="*/ 90488 h 305752"/>
              <a:gd name="connsiteX31" fmla="*/ 140018 w 304800"/>
              <a:gd name="connsiteY31" fmla="*/ 47625 h 305752"/>
              <a:gd name="connsiteX32" fmla="*/ 133350 w 304800"/>
              <a:gd name="connsiteY32" fmla="*/ 21908 h 305752"/>
              <a:gd name="connsiteX33" fmla="*/ 107633 w 304800"/>
              <a:gd name="connsiteY33" fmla="*/ 28575 h 305752"/>
              <a:gd name="connsiteX34" fmla="*/ 110490 w 304800"/>
              <a:gd name="connsiteY34" fmla="*/ 51435 h 305752"/>
              <a:gd name="connsiteX35" fmla="*/ 91440 w 304800"/>
              <a:gd name="connsiteY35" fmla="*/ 84773 h 305752"/>
              <a:gd name="connsiteX36" fmla="*/ 85725 w 304800"/>
              <a:gd name="connsiteY36" fmla="*/ 103823 h 305752"/>
              <a:gd name="connsiteX37" fmla="*/ 99060 w 304800"/>
              <a:gd name="connsiteY37" fmla="*/ 89535 h 305752"/>
              <a:gd name="connsiteX38" fmla="*/ 118110 w 304800"/>
              <a:gd name="connsiteY38" fmla="*/ 56198 h 305752"/>
              <a:gd name="connsiteX39" fmla="*/ 140018 w 304800"/>
              <a:gd name="connsiteY39" fmla="*/ 47625 h 30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04800" h="305752">
                <a:moveTo>
                  <a:pt x="171450" y="9525"/>
                </a:moveTo>
                <a:lnTo>
                  <a:pt x="247650" y="9525"/>
                </a:lnTo>
                <a:lnTo>
                  <a:pt x="247650" y="57150"/>
                </a:lnTo>
                <a:lnTo>
                  <a:pt x="295275" y="57150"/>
                </a:lnTo>
                <a:lnTo>
                  <a:pt x="295275" y="180975"/>
                </a:lnTo>
                <a:lnTo>
                  <a:pt x="171450" y="180975"/>
                </a:lnTo>
                <a:lnTo>
                  <a:pt x="171450" y="9525"/>
                </a:lnTo>
                <a:close/>
                <a:moveTo>
                  <a:pt x="161925" y="0"/>
                </a:moveTo>
                <a:lnTo>
                  <a:pt x="161925" y="190500"/>
                </a:lnTo>
                <a:lnTo>
                  <a:pt x="304800" y="190500"/>
                </a:lnTo>
                <a:lnTo>
                  <a:pt x="304800" y="57150"/>
                </a:lnTo>
                <a:lnTo>
                  <a:pt x="247650" y="0"/>
                </a:lnTo>
                <a:lnTo>
                  <a:pt x="161925" y="0"/>
                </a:lnTo>
                <a:close/>
                <a:moveTo>
                  <a:pt x="19050" y="164783"/>
                </a:moveTo>
                <a:lnTo>
                  <a:pt x="183833" y="260033"/>
                </a:lnTo>
                <a:lnTo>
                  <a:pt x="164783" y="293370"/>
                </a:lnTo>
                <a:lnTo>
                  <a:pt x="0" y="197168"/>
                </a:lnTo>
                <a:lnTo>
                  <a:pt x="19050" y="164783"/>
                </a:lnTo>
                <a:close/>
                <a:moveTo>
                  <a:pt x="200978" y="269558"/>
                </a:moveTo>
                <a:lnTo>
                  <a:pt x="181928" y="302895"/>
                </a:lnTo>
                <a:lnTo>
                  <a:pt x="224790" y="305753"/>
                </a:lnTo>
                <a:lnTo>
                  <a:pt x="200978" y="269558"/>
                </a:lnTo>
                <a:close/>
                <a:moveTo>
                  <a:pt x="75248" y="90488"/>
                </a:moveTo>
                <a:cubicBezTo>
                  <a:pt x="72390" y="80010"/>
                  <a:pt x="61913" y="74295"/>
                  <a:pt x="52388" y="77153"/>
                </a:cubicBezTo>
                <a:cubicBezTo>
                  <a:pt x="41910" y="80010"/>
                  <a:pt x="36195" y="90488"/>
                  <a:pt x="39053" y="100013"/>
                </a:cubicBezTo>
                <a:cubicBezTo>
                  <a:pt x="40958" y="108585"/>
                  <a:pt x="48578" y="114300"/>
                  <a:pt x="57150" y="114300"/>
                </a:cubicBezTo>
                <a:lnTo>
                  <a:pt x="67628" y="151448"/>
                </a:lnTo>
                <a:lnTo>
                  <a:pt x="77153" y="168593"/>
                </a:lnTo>
                <a:lnTo>
                  <a:pt x="77153" y="148590"/>
                </a:lnTo>
                <a:lnTo>
                  <a:pt x="66675" y="111443"/>
                </a:lnTo>
                <a:cubicBezTo>
                  <a:pt x="74295" y="107633"/>
                  <a:pt x="78105" y="99060"/>
                  <a:pt x="75248" y="90488"/>
                </a:cubicBezTo>
                <a:close/>
                <a:moveTo>
                  <a:pt x="140018" y="47625"/>
                </a:moveTo>
                <a:cubicBezTo>
                  <a:pt x="145733" y="38100"/>
                  <a:pt x="142875" y="26670"/>
                  <a:pt x="133350" y="21908"/>
                </a:cubicBezTo>
                <a:cubicBezTo>
                  <a:pt x="123825" y="17145"/>
                  <a:pt x="112395" y="19050"/>
                  <a:pt x="107633" y="28575"/>
                </a:cubicBezTo>
                <a:cubicBezTo>
                  <a:pt x="102870" y="36195"/>
                  <a:pt x="104775" y="45720"/>
                  <a:pt x="110490" y="51435"/>
                </a:cubicBezTo>
                <a:lnTo>
                  <a:pt x="91440" y="84773"/>
                </a:lnTo>
                <a:lnTo>
                  <a:pt x="85725" y="103823"/>
                </a:lnTo>
                <a:lnTo>
                  <a:pt x="99060" y="89535"/>
                </a:lnTo>
                <a:lnTo>
                  <a:pt x="118110" y="56198"/>
                </a:lnTo>
                <a:cubicBezTo>
                  <a:pt x="126683" y="59055"/>
                  <a:pt x="136208" y="55245"/>
                  <a:pt x="140018" y="47625"/>
                </a:cubicBezTo>
                <a:close/>
              </a:path>
            </a:pathLst>
          </a:custGeom>
          <a:solidFill>
            <a:schemeClr val="tx2"/>
          </a:solidFill>
          <a:ln w="9525" cap="flat">
            <a:noFill/>
            <a:prstDash val="solid"/>
            <a:miter/>
          </a:ln>
        </p:spPr>
        <p:txBody>
          <a:bodyPr rtlCol="0" anchor="ctr"/>
          <a:lstStyle/>
          <a:p>
            <a:endParaRPr lang="en-GB"/>
          </a:p>
        </p:txBody>
      </p:sp>
      <p:sp>
        <p:nvSpPr>
          <p:cNvPr id="438" name="Freeform: Shape 437">
            <a:extLst>
              <a:ext uri="{FF2B5EF4-FFF2-40B4-BE49-F238E27FC236}">
                <a16:creationId xmlns:a16="http://schemas.microsoft.com/office/drawing/2014/main" id="{95E12195-4215-4527-A5BE-BB4B6B8F1F6D}"/>
              </a:ext>
            </a:extLst>
          </p:cNvPr>
          <p:cNvSpPr/>
          <p:nvPr/>
        </p:nvSpPr>
        <p:spPr>
          <a:xfrm>
            <a:off x="7150530" y="1700284"/>
            <a:ext cx="304800" cy="304800"/>
          </a:xfrm>
          <a:custGeom>
            <a:avLst/>
            <a:gdLst>
              <a:gd name="connsiteX0" fmla="*/ 152400 w 304800"/>
              <a:gd name="connsiteY0" fmla="*/ 304800 h 304800"/>
              <a:gd name="connsiteX1" fmla="*/ 0 w 304800"/>
              <a:gd name="connsiteY1" fmla="*/ 152400 h 304800"/>
              <a:gd name="connsiteX2" fmla="*/ 152400 w 304800"/>
              <a:gd name="connsiteY2" fmla="*/ 0 h 304800"/>
              <a:gd name="connsiteX3" fmla="*/ 304800 w 304800"/>
              <a:gd name="connsiteY3" fmla="*/ 152400 h 304800"/>
              <a:gd name="connsiteX4" fmla="*/ 152400 w 304800"/>
              <a:gd name="connsiteY4" fmla="*/ 304800 h 304800"/>
              <a:gd name="connsiteX5" fmla="*/ 152400 w 304800"/>
              <a:gd name="connsiteY5" fmla="*/ 19050 h 304800"/>
              <a:gd name="connsiteX6" fmla="*/ 19050 w 304800"/>
              <a:gd name="connsiteY6" fmla="*/ 152400 h 304800"/>
              <a:gd name="connsiteX7" fmla="*/ 152400 w 304800"/>
              <a:gd name="connsiteY7" fmla="*/ 285750 h 304800"/>
              <a:gd name="connsiteX8" fmla="*/ 285750 w 304800"/>
              <a:gd name="connsiteY8" fmla="*/ 152400 h 304800"/>
              <a:gd name="connsiteX9" fmla="*/ 152400 w 304800"/>
              <a:gd name="connsiteY9" fmla="*/ 19050 h 304800"/>
              <a:gd name="connsiteX10" fmla="*/ 200025 w 304800"/>
              <a:gd name="connsiteY10" fmla="*/ 95250 h 304800"/>
              <a:gd name="connsiteX11" fmla="*/ 257175 w 304800"/>
              <a:gd name="connsiteY11" fmla="*/ 152400 h 304800"/>
              <a:gd name="connsiteX12" fmla="*/ 200025 w 304800"/>
              <a:gd name="connsiteY12" fmla="*/ 209550 h 304800"/>
              <a:gd name="connsiteX13" fmla="*/ 142875 w 304800"/>
              <a:gd name="connsiteY13" fmla="*/ 152400 h 304800"/>
              <a:gd name="connsiteX14" fmla="*/ 200025 w 304800"/>
              <a:gd name="connsiteY14" fmla="*/ 95250 h 304800"/>
              <a:gd name="connsiteX15" fmla="*/ 114300 w 304800"/>
              <a:gd name="connsiteY15" fmla="*/ 180975 h 304800"/>
              <a:gd name="connsiteX16" fmla="*/ 142875 w 304800"/>
              <a:gd name="connsiteY16" fmla="*/ 209550 h 304800"/>
              <a:gd name="connsiteX17" fmla="*/ 114300 w 304800"/>
              <a:gd name="connsiteY17" fmla="*/ 238125 h 304800"/>
              <a:gd name="connsiteX18" fmla="*/ 85725 w 304800"/>
              <a:gd name="connsiteY18" fmla="*/ 209550 h 304800"/>
              <a:gd name="connsiteX19" fmla="*/ 114300 w 304800"/>
              <a:gd name="connsiteY19" fmla="*/ 180975 h 304800"/>
              <a:gd name="connsiteX20" fmla="*/ 142875 w 304800"/>
              <a:gd name="connsiteY20" fmla="*/ 57150 h 304800"/>
              <a:gd name="connsiteX21" fmla="*/ 180975 w 304800"/>
              <a:gd name="connsiteY21" fmla="*/ 95250 h 304800"/>
              <a:gd name="connsiteX22" fmla="*/ 142875 w 304800"/>
              <a:gd name="connsiteY22" fmla="*/ 133350 h 304800"/>
              <a:gd name="connsiteX23" fmla="*/ 104775 w 304800"/>
              <a:gd name="connsiteY23" fmla="*/ 95250 h 304800"/>
              <a:gd name="connsiteX24" fmla="*/ 142875 w 304800"/>
              <a:gd name="connsiteY24" fmla="*/ 571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4800" h="304800">
                <a:moveTo>
                  <a:pt x="152400" y="304800"/>
                </a:moveTo>
                <a:cubicBezTo>
                  <a:pt x="68580" y="304800"/>
                  <a:pt x="0" y="236220"/>
                  <a:pt x="0" y="152400"/>
                </a:cubicBezTo>
                <a:cubicBezTo>
                  <a:pt x="0" y="68580"/>
                  <a:pt x="68580" y="0"/>
                  <a:pt x="152400" y="0"/>
                </a:cubicBezTo>
                <a:cubicBezTo>
                  <a:pt x="236220" y="0"/>
                  <a:pt x="304800" y="68580"/>
                  <a:pt x="304800" y="152400"/>
                </a:cubicBezTo>
                <a:cubicBezTo>
                  <a:pt x="304800" y="236220"/>
                  <a:pt x="236220" y="304800"/>
                  <a:pt x="152400" y="304800"/>
                </a:cubicBezTo>
                <a:close/>
                <a:moveTo>
                  <a:pt x="152400" y="19050"/>
                </a:moveTo>
                <a:cubicBezTo>
                  <a:pt x="79058" y="19050"/>
                  <a:pt x="19050" y="79058"/>
                  <a:pt x="19050" y="152400"/>
                </a:cubicBezTo>
                <a:cubicBezTo>
                  <a:pt x="19050" y="225743"/>
                  <a:pt x="79058" y="285750"/>
                  <a:pt x="152400" y="285750"/>
                </a:cubicBezTo>
                <a:cubicBezTo>
                  <a:pt x="225743" y="285750"/>
                  <a:pt x="285750" y="225743"/>
                  <a:pt x="285750" y="152400"/>
                </a:cubicBezTo>
                <a:cubicBezTo>
                  <a:pt x="285750" y="79058"/>
                  <a:pt x="225743" y="19050"/>
                  <a:pt x="152400" y="19050"/>
                </a:cubicBezTo>
                <a:close/>
                <a:moveTo>
                  <a:pt x="200025" y="95250"/>
                </a:moveTo>
                <a:cubicBezTo>
                  <a:pt x="231458" y="95250"/>
                  <a:pt x="257175" y="120968"/>
                  <a:pt x="257175" y="152400"/>
                </a:cubicBezTo>
                <a:cubicBezTo>
                  <a:pt x="257175" y="183833"/>
                  <a:pt x="231458" y="209550"/>
                  <a:pt x="200025" y="209550"/>
                </a:cubicBezTo>
                <a:cubicBezTo>
                  <a:pt x="168593" y="209550"/>
                  <a:pt x="142875" y="183833"/>
                  <a:pt x="142875" y="152400"/>
                </a:cubicBezTo>
                <a:cubicBezTo>
                  <a:pt x="142875" y="120968"/>
                  <a:pt x="168593" y="95250"/>
                  <a:pt x="200025" y="95250"/>
                </a:cubicBezTo>
                <a:close/>
                <a:moveTo>
                  <a:pt x="114300" y="180975"/>
                </a:moveTo>
                <a:cubicBezTo>
                  <a:pt x="130493" y="180975"/>
                  <a:pt x="142875" y="193358"/>
                  <a:pt x="142875" y="209550"/>
                </a:cubicBezTo>
                <a:cubicBezTo>
                  <a:pt x="142875" y="225743"/>
                  <a:pt x="130493" y="238125"/>
                  <a:pt x="114300" y="238125"/>
                </a:cubicBezTo>
                <a:cubicBezTo>
                  <a:pt x="98108" y="238125"/>
                  <a:pt x="85725" y="225743"/>
                  <a:pt x="85725" y="209550"/>
                </a:cubicBezTo>
                <a:cubicBezTo>
                  <a:pt x="85725" y="193358"/>
                  <a:pt x="98108" y="180975"/>
                  <a:pt x="114300" y="180975"/>
                </a:cubicBezTo>
                <a:close/>
                <a:moveTo>
                  <a:pt x="142875" y="57150"/>
                </a:moveTo>
                <a:cubicBezTo>
                  <a:pt x="163830" y="57150"/>
                  <a:pt x="180975" y="74295"/>
                  <a:pt x="180975" y="95250"/>
                </a:cubicBezTo>
                <a:cubicBezTo>
                  <a:pt x="180975" y="116205"/>
                  <a:pt x="163830" y="133350"/>
                  <a:pt x="142875" y="133350"/>
                </a:cubicBezTo>
                <a:cubicBezTo>
                  <a:pt x="121920" y="133350"/>
                  <a:pt x="104775" y="116205"/>
                  <a:pt x="104775" y="95250"/>
                </a:cubicBezTo>
                <a:cubicBezTo>
                  <a:pt x="104775" y="74295"/>
                  <a:pt x="121920" y="57150"/>
                  <a:pt x="142875" y="57150"/>
                </a:cubicBezTo>
                <a:close/>
              </a:path>
            </a:pathLst>
          </a:custGeom>
          <a:solidFill>
            <a:schemeClr val="tx2"/>
          </a:solidFill>
          <a:ln w="9525" cap="flat">
            <a:noFill/>
            <a:prstDash val="solid"/>
            <a:miter/>
          </a:ln>
        </p:spPr>
        <p:txBody>
          <a:bodyPr rtlCol="0" anchor="ctr"/>
          <a:lstStyle/>
          <a:p>
            <a:endParaRPr lang="en-GB"/>
          </a:p>
        </p:txBody>
      </p:sp>
      <p:sp>
        <p:nvSpPr>
          <p:cNvPr id="439" name="Freeform: Shape 438">
            <a:extLst>
              <a:ext uri="{FF2B5EF4-FFF2-40B4-BE49-F238E27FC236}">
                <a16:creationId xmlns:a16="http://schemas.microsoft.com/office/drawing/2014/main" id="{06BB609C-A682-4C04-87B2-32C6A1DC428A}"/>
              </a:ext>
            </a:extLst>
          </p:cNvPr>
          <p:cNvSpPr/>
          <p:nvPr/>
        </p:nvSpPr>
        <p:spPr>
          <a:xfrm>
            <a:off x="5032963" y="4104774"/>
            <a:ext cx="359785" cy="359785"/>
          </a:xfrm>
          <a:custGeom>
            <a:avLst/>
            <a:gdLst>
              <a:gd name="connsiteX0" fmla="*/ 359785 w 359785"/>
              <a:gd name="connsiteY0" fmla="*/ 112433 h 359785"/>
              <a:gd name="connsiteX1" fmla="*/ 359785 w 359785"/>
              <a:gd name="connsiteY1" fmla="*/ 359785 h 359785"/>
              <a:gd name="connsiteX2" fmla="*/ 236109 w 359785"/>
              <a:gd name="connsiteY2" fmla="*/ 359785 h 359785"/>
              <a:gd name="connsiteX3" fmla="*/ 224866 w 359785"/>
              <a:gd name="connsiteY3" fmla="*/ 359785 h 359785"/>
              <a:gd name="connsiteX4" fmla="*/ 0 w 359785"/>
              <a:gd name="connsiteY4" fmla="*/ 359785 h 359785"/>
              <a:gd name="connsiteX5" fmla="*/ 0 w 359785"/>
              <a:gd name="connsiteY5" fmla="*/ 0 h 359785"/>
              <a:gd name="connsiteX6" fmla="*/ 236109 w 359785"/>
              <a:gd name="connsiteY6" fmla="*/ 0 h 359785"/>
              <a:gd name="connsiteX7" fmla="*/ 236109 w 359785"/>
              <a:gd name="connsiteY7" fmla="*/ 112433 h 359785"/>
              <a:gd name="connsiteX8" fmla="*/ 359785 w 359785"/>
              <a:gd name="connsiteY8" fmla="*/ 112433 h 359785"/>
              <a:gd name="connsiteX9" fmla="*/ 213622 w 359785"/>
              <a:gd name="connsiteY9" fmla="*/ 22487 h 359785"/>
              <a:gd name="connsiteX10" fmla="*/ 22487 w 359785"/>
              <a:gd name="connsiteY10" fmla="*/ 22487 h 359785"/>
              <a:gd name="connsiteX11" fmla="*/ 22487 w 359785"/>
              <a:gd name="connsiteY11" fmla="*/ 337298 h 359785"/>
              <a:gd name="connsiteX12" fmla="*/ 213622 w 359785"/>
              <a:gd name="connsiteY12" fmla="*/ 337298 h 359785"/>
              <a:gd name="connsiteX13" fmla="*/ 213622 w 359785"/>
              <a:gd name="connsiteY13" fmla="*/ 22487 h 359785"/>
              <a:gd name="connsiteX14" fmla="*/ 337298 w 359785"/>
              <a:gd name="connsiteY14" fmla="*/ 134919 h 359785"/>
              <a:gd name="connsiteX15" fmla="*/ 236109 w 359785"/>
              <a:gd name="connsiteY15" fmla="*/ 134919 h 359785"/>
              <a:gd name="connsiteX16" fmla="*/ 236109 w 359785"/>
              <a:gd name="connsiteY16" fmla="*/ 337298 h 359785"/>
              <a:gd name="connsiteX17" fmla="*/ 269839 w 359785"/>
              <a:gd name="connsiteY17" fmla="*/ 337298 h 359785"/>
              <a:gd name="connsiteX18" fmla="*/ 269839 w 359785"/>
              <a:gd name="connsiteY18" fmla="*/ 247352 h 359785"/>
              <a:gd name="connsiteX19" fmla="*/ 314812 w 359785"/>
              <a:gd name="connsiteY19" fmla="*/ 247352 h 359785"/>
              <a:gd name="connsiteX20" fmla="*/ 314812 w 359785"/>
              <a:gd name="connsiteY20" fmla="*/ 337298 h 359785"/>
              <a:gd name="connsiteX21" fmla="*/ 337298 w 359785"/>
              <a:gd name="connsiteY21" fmla="*/ 337298 h 359785"/>
              <a:gd name="connsiteX22" fmla="*/ 337298 w 359785"/>
              <a:gd name="connsiteY22" fmla="*/ 134919 h 359785"/>
              <a:gd name="connsiteX23" fmla="*/ 78703 w 359785"/>
              <a:gd name="connsiteY23" fmla="*/ 112433 h 359785"/>
              <a:gd name="connsiteX24" fmla="*/ 44973 w 359785"/>
              <a:gd name="connsiteY24" fmla="*/ 112433 h 359785"/>
              <a:gd name="connsiteX25" fmla="*/ 44973 w 359785"/>
              <a:gd name="connsiteY25" fmla="*/ 56216 h 359785"/>
              <a:gd name="connsiteX26" fmla="*/ 78703 w 359785"/>
              <a:gd name="connsiteY26" fmla="*/ 56216 h 359785"/>
              <a:gd name="connsiteX27" fmla="*/ 78703 w 359785"/>
              <a:gd name="connsiteY27" fmla="*/ 112433 h 359785"/>
              <a:gd name="connsiteX28" fmla="*/ 134919 w 359785"/>
              <a:gd name="connsiteY28" fmla="*/ 56216 h 359785"/>
              <a:gd name="connsiteX29" fmla="*/ 101190 w 359785"/>
              <a:gd name="connsiteY29" fmla="*/ 56216 h 359785"/>
              <a:gd name="connsiteX30" fmla="*/ 101190 w 359785"/>
              <a:gd name="connsiteY30" fmla="*/ 112433 h 359785"/>
              <a:gd name="connsiteX31" fmla="*/ 134919 w 359785"/>
              <a:gd name="connsiteY31" fmla="*/ 112433 h 359785"/>
              <a:gd name="connsiteX32" fmla="*/ 134919 w 359785"/>
              <a:gd name="connsiteY32" fmla="*/ 56216 h 359785"/>
              <a:gd name="connsiteX33" fmla="*/ 191136 w 359785"/>
              <a:gd name="connsiteY33" fmla="*/ 56216 h 359785"/>
              <a:gd name="connsiteX34" fmla="*/ 157406 w 359785"/>
              <a:gd name="connsiteY34" fmla="*/ 56216 h 359785"/>
              <a:gd name="connsiteX35" fmla="*/ 157406 w 359785"/>
              <a:gd name="connsiteY35" fmla="*/ 112433 h 359785"/>
              <a:gd name="connsiteX36" fmla="*/ 191136 w 359785"/>
              <a:gd name="connsiteY36" fmla="*/ 112433 h 359785"/>
              <a:gd name="connsiteX37" fmla="*/ 191136 w 359785"/>
              <a:gd name="connsiteY37" fmla="*/ 56216 h 359785"/>
              <a:gd name="connsiteX38" fmla="*/ 78703 w 359785"/>
              <a:gd name="connsiteY38" fmla="*/ 146163 h 359785"/>
              <a:gd name="connsiteX39" fmla="*/ 44973 w 359785"/>
              <a:gd name="connsiteY39" fmla="*/ 146163 h 359785"/>
              <a:gd name="connsiteX40" fmla="*/ 44973 w 359785"/>
              <a:gd name="connsiteY40" fmla="*/ 202379 h 359785"/>
              <a:gd name="connsiteX41" fmla="*/ 78703 w 359785"/>
              <a:gd name="connsiteY41" fmla="*/ 202379 h 359785"/>
              <a:gd name="connsiteX42" fmla="*/ 78703 w 359785"/>
              <a:gd name="connsiteY42" fmla="*/ 146163 h 359785"/>
              <a:gd name="connsiteX43" fmla="*/ 134919 w 359785"/>
              <a:gd name="connsiteY43" fmla="*/ 146163 h 359785"/>
              <a:gd name="connsiteX44" fmla="*/ 101190 w 359785"/>
              <a:gd name="connsiteY44" fmla="*/ 146163 h 359785"/>
              <a:gd name="connsiteX45" fmla="*/ 101190 w 359785"/>
              <a:gd name="connsiteY45" fmla="*/ 202379 h 359785"/>
              <a:gd name="connsiteX46" fmla="*/ 134919 w 359785"/>
              <a:gd name="connsiteY46" fmla="*/ 202379 h 359785"/>
              <a:gd name="connsiteX47" fmla="*/ 134919 w 359785"/>
              <a:gd name="connsiteY47" fmla="*/ 146163 h 359785"/>
              <a:gd name="connsiteX48" fmla="*/ 191136 w 359785"/>
              <a:gd name="connsiteY48" fmla="*/ 146163 h 359785"/>
              <a:gd name="connsiteX49" fmla="*/ 157406 w 359785"/>
              <a:gd name="connsiteY49" fmla="*/ 146163 h 359785"/>
              <a:gd name="connsiteX50" fmla="*/ 157406 w 359785"/>
              <a:gd name="connsiteY50" fmla="*/ 202379 h 359785"/>
              <a:gd name="connsiteX51" fmla="*/ 191136 w 359785"/>
              <a:gd name="connsiteY51" fmla="*/ 202379 h 359785"/>
              <a:gd name="connsiteX52" fmla="*/ 191136 w 359785"/>
              <a:gd name="connsiteY52" fmla="*/ 146163 h 359785"/>
              <a:gd name="connsiteX53" fmla="*/ 78703 w 359785"/>
              <a:gd name="connsiteY53" fmla="*/ 236109 h 359785"/>
              <a:gd name="connsiteX54" fmla="*/ 44973 w 359785"/>
              <a:gd name="connsiteY54" fmla="*/ 236109 h 359785"/>
              <a:gd name="connsiteX55" fmla="*/ 44973 w 359785"/>
              <a:gd name="connsiteY55" fmla="*/ 292325 h 359785"/>
              <a:gd name="connsiteX56" fmla="*/ 78703 w 359785"/>
              <a:gd name="connsiteY56" fmla="*/ 292325 h 359785"/>
              <a:gd name="connsiteX57" fmla="*/ 78703 w 359785"/>
              <a:gd name="connsiteY57" fmla="*/ 236109 h 359785"/>
              <a:gd name="connsiteX58" fmla="*/ 134919 w 359785"/>
              <a:gd name="connsiteY58" fmla="*/ 236109 h 359785"/>
              <a:gd name="connsiteX59" fmla="*/ 101190 w 359785"/>
              <a:gd name="connsiteY59" fmla="*/ 236109 h 359785"/>
              <a:gd name="connsiteX60" fmla="*/ 101190 w 359785"/>
              <a:gd name="connsiteY60" fmla="*/ 292325 h 359785"/>
              <a:gd name="connsiteX61" fmla="*/ 134919 w 359785"/>
              <a:gd name="connsiteY61" fmla="*/ 292325 h 359785"/>
              <a:gd name="connsiteX62" fmla="*/ 134919 w 359785"/>
              <a:gd name="connsiteY62" fmla="*/ 236109 h 359785"/>
              <a:gd name="connsiteX63" fmla="*/ 191136 w 359785"/>
              <a:gd name="connsiteY63" fmla="*/ 236109 h 359785"/>
              <a:gd name="connsiteX64" fmla="*/ 157406 w 359785"/>
              <a:gd name="connsiteY64" fmla="*/ 236109 h 359785"/>
              <a:gd name="connsiteX65" fmla="*/ 157406 w 359785"/>
              <a:gd name="connsiteY65" fmla="*/ 292325 h 359785"/>
              <a:gd name="connsiteX66" fmla="*/ 191136 w 359785"/>
              <a:gd name="connsiteY66" fmla="*/ 292325 h 359785"/>
              <a:gd name="connsiteX67" fmla="*/ 191136 w 359785"/>
              <a:gd name="connsiteY67" fmla="*/ 236109 h 359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9785" h="359785">
                <a:moveTo>
                  <a:pt x="359785" y="112433"/>
                </a:moveTo>
                <a:lnTo>
                  <a:pt x="359785" y="359785"/>
                </a:lnTo>
                <a:lnTo>
                  <a:pt x="236109" y="359785"/>
                </a:lnTo>
                <a:lnTo>
                  <a:pt x="224866" y="359785"/>
                </a:lnTo>
                <a:lnTo>
                  <a:pt x="0" y="359785"/>
                </a:lnTo>
                <a:lnTo>
                  <a:pt x="0" y="0"/>
                </a:lnTo>
                <a:lnTo>
                  <a:pt x="236109" y="0"/>
                </a:lnTo>
                <a:lnTo>
                  <a:pt x="236109" y="112433"/>
                </a:lnTo>
                <a:lnTo>
                  <a:pt x="359785" y="112433"/>
                </a:lnTo>
                <a:close/>
                <a:moveTo>
                  <a:pt x="213622" y="22487"/>
                </a:moveTo>
                <a:lnTo>
                  <a:pt x="22487" y="22487"/>
                </a:lnTo>
                <a:lnTo>
                  <a:pt x="22487" y="337298"/>
                </a:lnTo>
                <a:lnTo>
                  <a:pt x="213622" y="337298"/>
                </a:lnTo>
                <a:lnTo>
                  <a:pt x="213622" y="22487"/>
                </a:lnTo>
                <a:close/>
                <a:moveTo>
                  <a:pt x="337298" y="134919"/>
                </a:moveTo>
                <a:lnTo>
                  <a:pt x="236109" y="134919"/>
                </a:lnTo>
                <a:lnTo>
                  <a:pt x="236109" y="337298"/>
                </a:lnTo>
                <a:lnTo>
                  <a:pt x="269839" y="337298"/>
                </a:lnTo>
                <a:lnTo>
                  <a:pt x="269839" y="247352"/>
                </a:lnTo>
                <a:lnTo>
                  <a:pt x="314812" y="247352"/>
                </a:lnTo>
                <a:lnTo>
                  <a:pt x="314812" y="337298"/>
                </a:lnTo>
                <a:lnTo>
                  <a:pt x="337298" y="337298"/>
                </a:lnTo>
                <a:lnTo>
                  <a:pt x="337298" y="134919"/>
                </a:lnTo>
                <a:close/>
                <a:moveTo>
                  <a:pt x="78703" y="112433"/>
                </a:moveTo>
                <a:lnTo>
                  <a:pt x="44973" y="112433"/>
                </a:lnTo>
                <a:lnTo>
                  <a:pt x="44973" y="56216"/>
                </a:lnTo>
                <a:lnTo>
                  <a:pt x="78703" y="56216"/>
                </a:lnTo>
                <a:lnTo>
                  <a:pt x="78703" y="112433"/>
                </a:lnTo>
                <a:close/>
                <a:moveTo>
                  <a:pt x="134919" y="56216"/>
                </a:moveTo>
                <a:lnTo>
                  <a:pt x="101190" y="56216"/>
                </a:lnTo>
                <a:lnTo>
                  <a:pt x="101190" y="112433"/>
                </a:lnTo>
                <a:lnTo>
                  <a:pt x="134919" y="112433"/>
                </a:lnTo>
                <a:lnTo>
                  <a:pt x="134919" y="56216"/>
                </a:lnTo>
                <a:close/>
                <a:moveTo>
                  <a:pt x="191136" y="56216"/>
                </a:moveTo>
                <a:lnTo>
                  <a:pt x="157406" y="56216"/>
                </a:lnTo>
                <a:lnTo>
                  <a:pt x="157406" y="112433"/>
                </a:lnTo>
                <a:lnTo>
                  <a:pt x="191136" y="112433"/>
                </a:lnTo>
                <a:lnTo>
                  <a:pt x="191136" y="56216"/>
                </a:lnTo>
                <a:close/>
                <a:moveTo>
                  <a:pt x="78703" y="146163"/>
                </a:moveTo>
                <a:lnTo>
                  <a:pt x="44973" y="146163"/>
                </a:lnTo>
                <a:lnTo>
                  <a:pt x="44973" y="202379"/>
                </a:lnTo>
                <a:lnTo>
                  <a:pt x="78703" y="202379"/>
                </a:lnTo>
                <a:lnTo>
                  <a:pt x="78703" y="146163"/>
                </a:lnTo>
                <a:close/>
                <a:moveTo>
                  <a:pt x="134919" y="146163"/>
                </a:moveTo>
                <a:lnTo>
                  <a:pt x="101190" y="146163"/>
                </a:lnTo>
                <a:lnTo>
                  <a:pt x="101190" y="202379"/>
                </a:lnTo>
                <a:lnTo>
                  <a:pt x="134919" y="202379"/>
                </a:lnTo>
                <a:lnTo>
                  <a:pt x="134919" y="146163"/>
                </a:lnTo>
                <a:close/>
                <a:moveTo>
                  <a:pt x="191136" y="146163"/>
                </a:moveTo>
                <a:lnTo>
                  <a:pt x="157406" y="146163"/>
                </a:lnTo>
                <a:lnTo>
                  <a:pt x="157406" y="202379"/>
                </a:lnTo>
                <a:lnTo>
                  <a:pt x="191136" y="202379"/>
                </a:lnTo>
                <a:lnTo>
                  <a:pt x="191136" y="146163"/>
                </a:lnTo>
                <a:close/>
                <a:moveTo>
                  <a:pt x="78703" y="236109"/>
                </a:moveTo>
                <a:lnTo>
                  <a:pt x="44973" y="236109"/>
                </a:lnTo>
                <a:lnTo>
                  <a:pt x="44973" y="292325"/>
                </a:lnTo>
                <a:lnTo>
                  <a:pt x="78703" y="292325"/>
                </a:lnTo>
                <a:lnTo>
                  <a:pt x="78703" y="236109"/>
                </a:lnTo>
                <a:close/>
                <a:moveTo>
                  <a:pt x="134919" y="236109"/>
                </a:moveTo>
                <a:lnTo>
                  <a:pt x="101190" y="236109"/>
                </a:lnTo>
                <a:lnTo>
                  <a:pt x="101190" y="292325"/>
                </a:lnTo>
                <a:lnTo>
                  <a:pt x="134919" y="292325"/>
                </a:lnTo>
                <a:lnTo>
                  <a:pt x="134919" y="236109"/>
                </a:lnTo>
                <a:close/>
                <a:moveTo>
                  <a:pt x="191136" y="236109"/>
                </a:moveTo>
                <a:lnTo>
                  <a:pt x="157406" y="236109"/>
                </a:lnTo>
                <a:lnTo>
                  <a:pt x="157406" y="292325"/>
                </a:lnTo>
                <a:lnTo>
                  <a:pt x="191136" y="292325"/>
                </a:lnTo>
                <a:lnTo>
                  <a:pt x="191136" y="236109"/>
                </a:lnTo>
                <a:close/>
              </a:path>
            </a:pathLst>
          </a:custGeom>
          <a:solidFill>
            <a:schemeClr val="tx2"/>
          </a:solidFill>
          <a:ln w="11013" cap="flat">
            <a:noFill/>
            <a:prstDash val="solid"/>
            <a:miter/>
          </a:ln>
        </p:spPr>
        <p:txBody>
          <a:bodyPr rtlCol="0" anchor="ctr"/>
          <a:lstStyle/>
          <a:p>
            <a:endParaRPr lang="en-GB"/>
          </a:p>
        </p:txBody>
      </p:sp>
      <p:sp>
        <p:nvSpPr>
          <p:cNvPr id="440" name="Freeform: Shape 439">
            <a:extLst>
              <a:ext uri="{FF2B5EF4-FFF2-40B4-BE49-F238E27FC236}">
                <a16:creationId xmlns:a16="http://schemas.microsoft.com/office/drawing/2014/main" id="{7496CF8C-8EA3-4C96-806D-2084D84BFD77}"/>
              </a:ext>
            </a:extLst>
          </p:cNvPr>
          <p:cNvSpPr/>
          <p:nvPr/>
        </p:nvSpPr>
        <p:spPr>
          <a:xfrm>
            <a:off x="6080685" y="4109347"/>
            <a:ext cx="355212" cy="355212"/>
          </a:xfrm>
          <a:custGeom>
            <a:avLst/>
            <a:gdLst>
              <a:gd name="connsiteX0" fmla="*/ 304800 w 304800"/>
              <a:gd name="connsiteY0" fmla="*/ 0 h 304800"/>
              <a:gd name="connsiteX1" fmla="*/ 85725 w 304800"/>
              <a:gd name="connsiteY1" fmla="*/ 0 h 304800"/>
              <a:gd name="connsiteX2" fmla="*/ 85725 w 304800"/>
              <a:gd name="connsiteY2" fmla="*/ 57150 h 304800"/>
              <a:gd name="connsiteX3" fmla="*/ 0 w 304800"/>
              <a:gd name="connsiteY3" fmla="*/ 57150 h 304800"/>
              <a:gd name="connsiteX4" fmla="*/ 0 w 304800"/>
              <a:gd name="connsiteY4" fmla="*/ 304800 h 304800"/>
              <a:gd name="connsiteX5" fmla="*/ 304800 w 304800"/>
              <a:gd name="connsiteY5" fmla="*/ 304800 h 304800"/>
              <a:gd name="connsiteX6" fmla="*/ 304800 w 304800"/>
              <a:gd name="connsiteY6" fmla="*/ 0 h 304800"/>
              <a:gd name="connsiteX7" fmla="*/ 19050 w 304800"/>
              <a:gd name="connsiteY7" fmla="*/ 76200 h 304800"/>
              <a:gd name="connsiteX8" fmla="*/ 85725 w 304800"/>
              <a:gd name="connsiteY8" fmla="*/ 76200 h 304800"/>
              <a:gd name="connsiteX9" fmla="*/ 85725 w 304800"/>
              <a:gd name="connsiteY9" fmla="*/ 285750 h 304800"/>
              <a:gd name="connsiteX10" fmla="*/ 19050 w 304800"/>
              <a:gd name="connsiteY10" fmla="*/ 285750 h 304800"/>
              <a:gd name="connsiteX11" fmla="*/ 19050 w 304800"/>
              <a:gd name="connsiteY11" fmla="*/ 76200 h 304800"/>
              <a:gd name="connsiteX12" fmla="*/ 285750 w 304800"/>
              <a:gd name="connsiteY12" fmla="*/ 285750 h 304800"/>
              <a:gd name="connsiteX13" fmla="*/ 247650 w 304800"/>
              <a:gd name="connsiteY13" fmla="*/ 285750 h 304800"/>
              <a:gd name="connsiteX14" fmla="*/ 247650 w 304800"/>
              <a:gd name="connsiteY14" fmla="*/ 219075 h 304800"/>
              <a:gd name="connsiteX15" fmla="*/ 142875 w 304800"/>
              <a:gd name="connsiteY15" fmla="*/ 219075 h 304800"/>
              <a:gd name="connsiteX16" fmla="*/ 142875 w 304800"/>
              <a:gd name="connsiteY16" fmla="*/ 285750 h 304800"/>
              <a:gd name="connsiteX17" fmla="*/ 104775 w 304800"/>
              <a:gd name="connsiteY17" fmla="*/ 285750 h 304800"/>
              <a:gd name="connsiteX18" fmla="*/ 104775 w 304800"/>
              <a:gd name="connsiteY18" fmla="*/ 19050 h 304800"/>
              <a:gd name="connsiteX19" fmla="*/ 285750 w 304800"/>
              <a:gd name="connsiteY19" fmla="*/ 19050 h 304800"/>
              <a:gd name="connsiteX20" fmla="*/ 285750 w 304800"/>
              <a:gd name="connsiteY20" fmla="*/ 285750 h 304800"/>
              <a:gd name="connsiteX21" fmla="*/ 161925 w 304800"/>
              <a:gd name="connsiteY21" fmla="*/ 76200 h 304800"/>
              <a:gd name="connsiteX22" fmla="*/ 133350 w 304800"/>
              <a:gd name="connsiteY22" fmla="*/ 76200 h 304800"/>
              <a:gd name="connsiteX23" fmla="*/ 133350 w 304800"/>
              <a:gd name="connsiteY23" fmla="*/ 47625 h 304800"/>
              <a:gd name="connsiteX24" fmla="*/ 161925 w 304800"/>
              <a:gd name="connsiteY24" fmla="*/ 47625 h 304800"/>
              <a:gd name="connsiteX25" fmla="*/ 161925 w 304800"/>
              <a:gd name="connsiteY25" fmla="*/ 76200 h 304800"/>
              <a:gd name="connsiteX26" fmla="*/ 209550 w 304800"/>
              <a:gd name="connsiteY26" fmla="*/ 76200 h 304800"/>
              <a:gd name="connsiteX27" fmla="*/ 180975 w 304800"/>
              <a:gd name="connsiteY27" fmla="*/ 76200 h 304800"/>
              <a:gd name="connsiteX28" fmla="*/ 180975 w 304800"/>
              <a:gd name="connsiteY28" fmla="*/ 47625 h 304800"/>
              <a:gd name="connsiteX29" fmla="*/ 209550 w 304800"/>
              <a:gd name="connsiteY29" fmla="*/ 47625 h 304800"/>
              <a:gd name="connsiteX30" fmla="*/ 209550 w 304800"/>
              <a:gd name="connsiteY30" fmla="*/ 76200 h 304800"/>
              <a:gd name="connsiteX31" fmla="*/ 257175 w 304800"/>
              <a:gd name="connsiteY31" fmla="*/ 76200 h 304800"/>
              <a:gd name="connsiteX32" fmla="*/ 228600 w 304800"/>
              <a:gd name="connsiteY32" fmla="*/ 76200 h 304800"/>
              <a:gd name="connsiteX33" fmla="*/ 228600 w 304800"/>
              <a:gd name="connsiteY33" fmla="*/ 47625 h 304800"/>
              <a:gd name="connsiteX34" fmla="*/ 257175 w 304800"/>
              <a:gd name="connsiteY34" fmla="*/ 47625 h 304800"/>
              <a:gd name="connsiteX35" fmla="*/ 257175 w 304800"/>
              <a:gd name="connsiteY35" fmla="*/ 76200 h 304800"/>
              <a:gd name="connsiteX36" fmla="*/ 161925 w 304800"/>
              <a:gd name="connsiteY36" fmla="*/ 123825 h 304800"/>
              <a:gd name="connsiteX37" fmla="*/ 133350 w 304800"/>
              <a:gd name="connsiteY37" fmla="*/ 123825 h 304800"/>
              <a:gd name="connsiteX38" fmla="*/ 133350 w 304800"/>
              <a:gd name="connsiteY38" fmla="*/ 95250 h 304800"/>
              <a:gd name="connsiteX39" fmla="*/ 161925 w 304800"/>
              <a:gd name="connsiteY39" fmla="*/ 95250 h 304800"/>
              <a:gd name="connsiteX40" fmla="*/ 161925 w 304800"/>
              <a:gd name="connsiteY40" fmla="*/ 123825 h 304800"/>
              <a:gd name="connsiteX41" fmla="*/ 209550 w 304800"/>
              <a:gd name="connsiteY41" fmla="*/ 123825 h 304800"/>
              <a:gd name="connsiteX42" fmla="*/ 180975 w 304800"/>
              <a:gd name="connsiteY42" fmla="*/ 123825 h 304800"/>
              <a:gd name="connsiteX43" fmla="*/ 180975 w 304800"/>
              <a:gd name="connsiteY43" fmla="*/ 95250 h 304800"/>
              <a:gd name="connsiteX44" fmla="*/ 209550 w 304800"/>
              <a:gd name="connsiteY44" fmla="*/ 95250 h 304800"/>
              <a:gd name="connsiteX45" fmla="*/ 209550 w 304800"/>
              <a:gd name="connsiteY45" fmla="*/ 123825 h 304800"/>
              <a:gd name="connsiteX46" fmla="*/ 257175 w 304800"/>
              <a:gd name="connsiteY46" fmla="*/ 123825 h 304800"/>
              <a:gd name="connsiteX47" fmla="*/ 228600 w 304800"/>
              <a:gd name="connsiteY47" fmla="*/ 123825 h 304800"/>
              <a:gd name="connsiteX48" fmla="*/ 228600 w 304800"/>
              <a:gd name="connsiteY48" fmla="*/ 95250 h 304800"/>
              <a:gd name="connsiteX49" fmla="*/ 257175 w 304800"/>
              <a:gd name="connsiteY49" fmla="*/ 95250 h 304800"/>
              <a:gd name="connsiteX50" fmla="*/ 257175 w 304800"/>
              <a:gd name="connsiteY50" fmla="*/ 123825 h 304800"/>
              <a:gd name="connsiteX51" fmla="*/ 161925 w 304800"/>
              <a:gd name="connsiteY51" fmla="*/ 171450 h 304800"/>
              <a:gd name="connsiteX52" fmla="*/ 133350 w 304800"/>
              <a:gd name="connsiteY52" fmla="*/ 171450 h 304800"/>
              <a:gd name="connsiteX53" fmla="*/ 133350 w 304800"/>
              <a:gd name="connsiteY53" fmla="*/ 142875 h 304800"/>
              <a:gd name="connsiteX54" fmla="*/ 161925 w 304800"/>
              <a:gd name="connsiteY54" fmla="*/ 142875 h 304800"/>
              <a:gd name="connsiteX55" fmla="*/ 161925 w 304800"/>
              <a:gd name="connsiteY55" fmla="*/ 171450 h 304800"/>
              <a:gd name="connsiteX56" fmla="*/ 38100 w 304800"/>
              <a:gd name="connsiteY56" fmla="*/ 142875 h 304800"/>
              <a:gd name="connsiteX57" fmla="*/ 66675 w 304800"/>
              <a:gd name="connsiteY57" fmla="*/ 142875 h 304800"/>
              <a:gd name="connsiteX58" fmla="*/ 66675 w 304800"/>
              <a:gd name="connsiteY58" fmla="*/ 171450 h 304800"/>
              <a:gd name="connsiteX59" fmla="*/ 38100 w 304800"/>
              <a:gd name="connsiteY59" fmla="*/ 171450 h 304800"/>
              <a:gd name="connsiteX60" fmla="*/ 38100 w 304800"/>
              <a:gd name="connsiteY60" fmla="*/ 142875 h 304800"/>
              <a:gd name="connsiteX61" fmla="*/ 38100 w 304800"/>
              <a:gd name="connsiteY61" fmla="*/ 190500 h 304800"/>
              <a:gd name="connsiteX62" fmla="*/ 66675 w 304800"/>
              <a:gd name="connsiteY62" fmla="*/ 190500 h 304800"/>
              <a:gd name="connsiteX63" fmla="*/ 66675 w 304800"/>
              <a:gd name="connsiteY63" fmla="*/ 219075 h 304800"/>
              <a:gd name="connsiteX64" fmla="*/ 38100 w 304800"/>
              <a:gd name="connsiteY64" fmla="*/ 219075 h 304800"/>
              <a:gd name="connsiteX65" fmla="*/ 38100 w 304800"/>
              <a:gd name="connsiteY65" fmla="*/ 190500 h 304800"/>
              <a:gd name="connsiteX66" fmla="*/ 66675 w 304800"/>
              <a:gd name="connsiteY66" fmla="*/ 95250 h 304800"/>
              <a:gd name="connsiteX67" fmla="*/ 66675 w 304800"/>
              <a:gd name="connsiteY67" fmla="*/ 123825 h 304800"/>
              <a:gd name="connsiteX68" fmla="*/ 38100 w 304800"/>
              <a:gd name="connsiteY68" fmla="*/ 123825 h 304800"/>
              <a:gd name="connsiteX69" fmla="*/ 38100 w 304800"/>
              <a:gd name="connsiteY69" fmla="*/ 95250 h 304800"/>
              <a:gd name="connsiteX70" fmla="*/ 66675 w 304800"/>
              <a:gd name="connsiteY70" fmla="*/ 95250 h 304800"/>
              <a:gd name="connsiteX71" fmla="*/ 209550 w 304800"/>
              <a:gd name="connsiteY71" fmla="*/ 171450 h 304800"/>
              <a:gd name="connsiteX72" fmla="*/ 180975 w 304800"/>
              <a:gd name="connsiteY72" fmla="*/ 171450 h 304800"/>
              <a:gd name="connsiteX73" fmla="*/ 180975 w 304800"/>
              <a:gd name="connsiteY73" fmla="*/ 142875 h 304800"/>
              <a:gd name="connsiteX74" fmla="*/ 209550 w 304800"/>
              <a:gd name="connsiteY74" fmla="*/ 142875 h 304800"/>
              <a:gd name="connsiteX75" fmla="*/ 209550 w 304800"/>
              <a:gd name="connsiteY75" fmla="*/ 171450 h 304800"/>
              <a:gd name="connsiteX76" fmla="*/ 257175 w 304800"/>
              <a:gd name="connsiteY76" fmla="*/ 171450 h 304800"/>
              <a:gd name="connsiteX77" fmla="*/ 228600 w 304800"/>
              <a:gd name="connsiteY77" fmla="*/ 171450 h 304800"/>
              <a:gd name="connsiteX78" fmla="*/ 228600 w 304800"/>
              <a:gd name="connsiteY78" fmla="*/ 142875 h 304800"/>
              <a:gd name="connsiteX79" fmla="*/ 257175 w 304800"/>
              <a:gd name="connsiteY79" fmla="*/ 142875 h 304800"/>
              <a:gd name="connsiteX80" fmla="*/ 257175 w 304800"/>
              <a:gd name="connsiteY80" fmla="*/ 1714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304800" h="304800">
                <a:moveTo>
                  <a:pt x="304800" y="0"/>
                </a:moveTo>
                <a:lnTo>
                  <a:pt x="85725" y="0"/>
                </a:lnTo>
                <a:lnTo>
                  <a:pt x="85725" y="57150"/>
                </a:lnTo>
                <a:lnTo>
                  <a:pt x="0" y="57150"/>
                </a:lnTo>
                <a:lnTo>
                  <a:pt x="0" y="304800"/>
                </a:lnTo>
                <a:lnTo>
                  <a:pt x="304800" y="304800"/>
                </a:lnTo>
                <a:lnTo>
                  <a:pt x="304800" y="0"/>
                </a:lnTo>
                <a:close/>
                <a:moveTo>
                  <a:pt x="19050" y="76200"/>
                </a:moveTo>
                <a:lnTo>
                  <a:pt x="85725" y="76200"/>
                </a:lnTo>
                <a:lnTo>
                  <a:pt x="85725" y="285750"/>
                </a:lnTo>
                <a:lnTo>
                  <a:pt x="19050" y="285750"/>
                </a:lnTo>
                <a:lnTo>
                  <a:pt x="19050" y="76200"/>
                </a:lnTo>
                <a:close/>
                <a:moveTo>
                  <a:pt x="285750" y="285750"/>
                </a:moveTo>
                <a:lnTo>
                  <a:pt x="247650" y="285750"/>
                </a:lnTo>
                <a:lnTo>
                  <a:pt x="247650" y="219075"/>
                </a:lnTo>
                <a:lnTo>
                  <a:pt x="142875" y="219075"/>
                </a:lnTo>
                <a:lnTo>
                  <a:pt x="142875" y="285750"/>
                </a:lnTo>
                <a:lnTo>
                  <a:pt x="104775" y="285750"/>
                </a:lnTo>
                <a:lnTo>
                  <a:pt x="104775" y="19050"/>
                </a:lnTo>
                <a:lnTo>
                  <a:pt x="285750" y="19050"/>
                </a:lnTo>
                <a:lnTo>
                  <a:pt x="285750" y="285750"/>
                </a:lnTo>
                <a:close/>
                <a:moveTo>
                  <a:pt x="161925" y="76200"/>
                </a:moveTo>
                <a:lnTo>
                  <a:pt x="133350" y="76200"/>
                </a:lnTo>
                <a:lnTo>
                  <a:pt x="133350" y="47625"/>
                </a:lnTo>
                <a:lnTo>
                  <a:pt x="161925" y="47625"/>
                </a:lnTo>
                <a:lnTo>
                  <a:pt x="161925" y="76200"/>
                </a:lnTo>
                <a:close/>
                <a:moveTo>
                  <a:pt x="209550" y="76200"/>
                </a:moveTo>
                <a:lnTo>
                  <a:pt x="180975" y="76200"/>
                </a:lnTo>
                <a:lnTo>
                  <a:pt x="180975" y="47625"/>
                </a:lnTo>
                <a:lnTo>
                  <a:pt x="209550" y="47625"/>
                </a:lnTo>
                <a:lnTo>
                  <a:pt x="209550" y="76200"/>
                </a:lnTo>
                <a:close/>
                <a:moveTo>
                  <a:pt x="257175" y="76200"/>
                </a:moveTo>
                <a:lnTo>
                  <a:pt x="228600" y="76200"/>
                </a:lnTo>
                <a:lnTo>
                  <a:pt x="228600" y="47625"/>
                </a:lnTo>
                <a:lnTo>
                  <a:pt x="257175" y="47625"/>
                </a:lnTo>
                <a:lnTo>
                  <a:pt x="257175" y="76200"/>
                </a:lnTo>
                <a:close/>
                <a:moveTo>
                  <a:pt x="161925" y="123825"/>
                </a:moveTo>
                <a:lnTo>
                  <a:pt x="133350" y="123825"/>
                </a:lnTo>
                <a:lnTo>
                  <a:pt x="133350" y="95250"/>
                </a:lnTo>
                <a:lnTo>
                  <a:pt x="161925" y="95250"/>
                </a:lnTo>
                <a:lnTo>
                  <a:pt x="161925" y="123825"/>
                </a:lnTo>
                <a:close/>
                <a:moveTo>
                  <a:pt x="209550" y="123825"/>
                </a:moveTo>
                <a:lnTo>
                  <a:pt x="180975" y="123825"/>
                </a:lnTo>
                <a:lnTo>
                  <a:pt x="180975" y="95250"/>
                </a:lnTo>
                <a:lnTo>
                  <a:pt x="209550" y="95250"/>
                </a:lnTo>
                <a:lnTo>
                  <a:pt x="209550" y="123825"/>
                </a:lnTo>
                <a:close/>
                <a:moveTo>
                  <a:pt x="257175" y="123825"/>
                </a:moveTo>
                <a:lnTo>
                  <a:pt x="228600" y="123825"/>
                </a:lnTo>
                <a:lnTo>
                  <a:pt x="228600" y="95250"/>
                </a:lnTo>
                <a:lnTo>
                  <a:pt x="257175" y="95250"/>
                </a:lnTo>
                <a:lnTo>
                  <a:pt x="257175" y="123825"/>
                </a:lnTo>
                <a:close/>
                <a:moveTo>
                  <a:pt x="161925" y="171450"/>
                </a:moveTo>
                <a:lnTo>
                  <a:pt x="133350" y="171450"/>
                </a:lnTo>
                <a:lnTo>
                  <a:pt x="133350" y="142875"/>
                </a:lnTo>
                <a:lnTo>
                  <a:pt x="161925" y="142875"/>
                </a:lnTo>
                <a:lnTo>
                  <a:pt x="161925" y="171450"/>
                </a:lnTo>
                <a:close/>
                <a:moveTo>
                  <a:pt x="38100" y="142875"/>
                </a:moveTo>
                <a:lnTo>
                  <a:pt x="66675" y="142875"/>
                </a:lnTo>
                <a:lnTo>
                  <a:pt x="66675" y="171450"/>
                </a:lnTo>
                <a:lnTo>
                  <a:pt x="38100" y="171450"/>
                </a:lnTo>
                <a:lnTo>
                  <a:pt x="38100" y="142875"/>
                </a:lnTo>
                <a:close/>
                <a:moveTo>
                  <a:pt x="38100" y="190500"/>
                </a:moveTo>
                <a:lnTo>
                  <a:pt x="66675" y="190500"/>
                </a:lnTo>
                <a:lnTo>
                  <a:pt x="66675" y="219075"/>
                </a:lnTo>
                <a:lnTo>
                  <a:pt x="38100" y="219075"/>
                </a:lnTo>
                <a:lnTo>
                  <a:pt x="38100" y="190500"/>
                </a:lnTo>
                <a:close/>
                <a:moveTo>
                  <a:pt x="66675" y="95250"/>
                </a:moveTo>
                <a:lnTo>
                  <a:pt x="66675" y="123825"/>
                </a:lnTo>
                <a:lnTo>
                  <a:pt x="38100" y="123825"/>
                </a:lnTo>
                <a:lnTo>
                  <a:pt x="38100" y="95250"/>
                </a:lnTo>
                <a:lnTo>
                  <a:pt x="66675" y="95250"/>
                </a:lnTo>
                <a:close/>
                <a:moveTo>
                  <a:pt x="209550" y="171450"/>
                </a:moveTo>
                <a:lnTo>
                  <a:pt x="180975" y="171450"/>
                </a:lnTo>
                <a:lnTo>
                  <a:pt x="180975" y="142875"/>
                </a:lnTo>
                <a:lnTo>
                  <a:pt x="209550" y="142875"/>
                </a:lnTo>
                <a:lnTo>
                  <a:pt x="209550" y="171450"/>
                </a:lnTo>
                <a:close/>
                <a:moveTo>
                  <a:pt x="257175" y="171450"/>
                </a:moveTo>
                <a:lnTo>
                  <a:pt x="228600" y="171450"/>
                </a:lnTo>
                <a:lnTo>
                  <a:pt x="228600" y="142875"/>
                </a:lnTo>
                <a:lnTo>
                  <a:pt x="257175" y="142875"/>
                </a:lnTo>
                <a:lnTo>
                  <a:pt x="257175" y="171450"/>
                </a:lnTo>
                <a:close/>
              </a:path>
            </a:pathLst>
          </a:custGeom>
          <a:solidFill>
            <a:schemeClr val="tx2"/>
          </a:solidFill>
          <a:ln w="9525" cap="flat">
            <a:noFill/>
            <a:prstDash val="solid"/>
            <a:miter/>
          </a:ln>
        </p:spPr>
        <p:txBody>
          <a:bodyPr rtlCol="0" anchor="ctr"/>
          <a:lstStyle/>
          <a:p>
            <a:endParaRPr lang="en-GB"/>
          </a:p>
        </p:txBody>
      </p:sp>
      <p:sp>
        <p:nvSpPr>
          <p:cNvPr id="482" name="Freeform 81">
            <a:extLst>
              <a:ext uri="{FF2B5EF4-FFF2-40B4-BE49-F238E27FC236}">
                <a16:creationId xmlns:a16="http://schemas.microsoft.com/office/drawing/2014/main" id="{EF733717-7400-4978-9E8A-4B72E7213CC7}"/>
              </a:ext>
            </a:extLst>
          </p:cNvPr>
          <p:cNvSpPr>
            <a:spLocks noEditPoints="1"/>
          </p:cNvSpPr>
          <p:nvPr/>
        </p:nvSpPr>
        <p:spPr bwMode="auto">
          <a:xfrm>
            <a:off x="2725278" y="1685805"/>
            <a:ext cx="319279" cy="319279"/>
          </a:xfrm>
          <a:custGeom>
            <a:avLst/>
            <a:gdLst>
              <a:gd name="T0" fmla="*/ 260 w 260"/>
              <a:gd name="T1" fmla="*/ 0 h 260"/>
              <a:gd name="T2" fmla="*/ 260 w 260"/>
              <a:gd name="T3" fmla="*/ 89 h 260"/>
              <a:gd name="T4" fmla="*/ 244 w 260"/>
              <a:gd name="T5" fmla="*/ 89 h 260"/>
              <a:gd name="T6" fmla="*/ 244 w 260"/>
              <a:gd name="T7" fmla="*/ 28 h 260"/>
              <a:gd name="T8" fmla="*/ 160 w 260"/>
              <a:gd name="T9" fmla="*/ 112 h 260"/>
              <a:gd name="T10" fmla="*/ 148 w 260"/>
              <a:gd name="T11" fmla="*/ 100 h 260"/>
              <a:gd name="T12" fmla="*/ 231 w 260"/>
              <a:gd name="T13" fmla="*/ 16 h 260"/>
              <a:gd name="T14" fmla="*/ 171 w 260"/>
              <a:gd name="T15" fmla="*/ 16 h 260"/>
              <a:gd name="T16" fmla="*/ 171 w 260"/>
              <a:gd name="T17" fmla="*/ 0 h 260"/>
              <a:gd name="T18" fmla="*/ 260 w 260"/>
              <a:gd name="T19" fmla="*/ 0 h 260"/>
              <a:gd name="T20" fmla="*/ 100 w 260"/>
              <a:gd name="T21" fmla="*/ 148 h 260"/>
              <a:gd name="T22" fmla="*/ 16 w 260"/>
              <a:gd name="T23" fmla="*/ 231 h 260"/>
              <a:gd name="T24" fmla="*/ 16 w 260"/>
              <a:gd name="T25" fmla="*/ 171 h 260"/>
              <a:gd name="T26" fmla="*/ 0 w 260"/>
              <a:gd name="T27" fmla="*/ 171 h 260"/>
              <a:gd name="T28" fmla="*/ 0 w 260"/>
              <a:gd name="T29" fmla="*/ 260 h 260"/>
              <a:gd name="T30" fmla="*/ 89 w 260"/>
              <a:gd name="T31" fmla="*/ 260 h 260"/>
              <a:gd name="T32" fmla="*/ 89 w 260"/>
              <a:gd name="T33" fmla="*/ 244 h 260"/>
              <a:gd name="T34" fmla="*/ 28 w 260"/>
              <a:gd name="T35" fmla="*/ 244 h 260"/>
              <a:gd name="T36" fmla="*/ 112 w 260"/>
              <a:gd name="T37" fmla="*/ 160 h 260"/>
              <a:gd name="T38" fmla="*/ 100 w 260"/>
              <a:gd name="T39" fmla="*/ 14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0" h="260">
                <a:moveTo>
                  <a:pt x="260" y="0"/>
                </a:moveTo>
                <a:lnTo>
                  <a:pt x="260" y="89"/>
                </a:lnTo>
                <a:lnTo>
                  <a:pt x="244" y="89"/>
                </a:lnTo>
                <a:lnTo>
                  <a:pt x="244" y="28"/>
                </a:lnTo>
                <a:lnTo>
                  <a:pt x="160" y="112"/>
                </a:lnTo>
                <a:lnTo>
                  <a:pt x="148" y="100"/>
                </a:lnTo>
                <a:lnTo>
                  <a:pt x="231" y="16"/>
                </a:lnTo>
                <a:lnTo>
                  <a:pt x="171" y="16"/>
                </a:lnTo>
                <a:lnTo>
                  <a:pt x="171" y="0"/>
                </a:lnTo>
                <a:lnTo>
                  <a:pt x="260" y="0"/>
                </a:lnTo>
                <a:close/>
                <a:moveTo>
                  <a:pt x="100" y="148"/>
                </a:moveTo>
                <a:lnTo>
                  <a:pt x="16" y="231"/>
                </a:lnTo>
                <a:lnTo>
                  <a:pt x="16" y="171"/>
                </a:lnTo>
                <a:lnTo>
                  <a:pt x="0" y="171"/>
                </a:lnTo>
                <a:lnTo>
                  <a:pt x="0" y="260"/>
                </a:lnTo>
                <a:lnTo>
                  <a:pt x="89" y="260"/>
                </a:lnTo>
                <a:lnTo>
                  <a:pt x="89" y="244"/>
                </a:lnTo>
                <a:lnTo>
                  <a:pt x="28" y="244"/>
                </a:lnTo>
                <a:lnTo>
                  <a:pt x="112" y="160"/>
                </a:lnTo>
                <a:lnTo>
                  <a:pt x="100" y="14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3" name="Freeform 85">
            <a:extLst>
              <a:ext uri="{FF2B5EF4-FFF2-40B4-BE49-F238E27FC236}">
                <a16:creationId xmlns:a16="http://schemas.microsoft.com/office/drawing/2014/main" id="{F123D201-B2C1-48CB-90F4-880D88E28B02}"/>
              </a:ext>
            </a:extLst>
          </p:cNvPr>
          <p:cNvSpPr>
            <a:spLocks/>
          </p:cNvSpPr>
          <p:nvPr/>
        </p:nvSpPr>
        <p:spPr bwMode="auto">
          <a:xfrm>
            <a:off x="3723977" y="1843159"/>
            <a:ext cx="412750" cy="161925"/>
          </a:xfrm>
          <a:custGeom>
            <a:avLst/>
            <a:gdLst>
              <a:gd name="T0" fmla="*/ 91 w 128"/>
              <a:gd name="T1" fmla="*/ 48 h 48"/>
              <a:gd name="T2" fmla="*/ 59 w 128"/>
              <a:gd name="T3" fmla="*/ 31 h 48"/>
              <a:gd name="T4" fmla="*/ 57 w 128"/>
              <a:gd name="T5" fmla="*/ 29 h 48"/>
              <a:gd name="T6" fmla="*/ 55 w 128"/>
              <a:gd name="T7" fmla="*/ 27 h 48"/>
              <a:gd name="T8" fmla="*/ 37 w 128"/>
              <a:gd name="T9" fmla="*/ 16 h 48"/>
              <a:gd name="T10" fmla="*/ 16 w 128"/>
              <a:gd name="T11" fmla="*/ 40 h 48"/>
              <a:gd name="T12" fmla="*/ 0 w 128"/>
              <a:gd name="T13" fmla="*/ 40 h 48"/>
              <a:gd name="T14" fmla="*/ 37 w 128"/>
              <a:gd name="T15" fmla="*/ 0 h 48"/>
              <a:gd name="T16" fmla="*/ 68 w 128"/>
              <a:gd name="T17" fmla="*/ 17 h 48"/>
              <a:gd name="T18" fmla="*/ 69 w 128"/>
              <a:gd name="T19" fmla="*/ 19 h 48"/>
              <a:gd name="T20" fmla="*/ 71 w 128"/>
              <a:gd name="T21" fmla="*/ 21 h 48"/>
              <a:gd name="T22" fmla="*/ 91 w 128"/>
              <a:gd name="T23" fmla="*/ 32 h 48"/>
              <a:gd name="T24" fmla="*/ 112 w 128"/>
              <a:gd name="T25" fmla="*/ 8 h 48"/>
              <a:gd name="T26" fmla="*/ 128 w 128"/>
              <a:gd name="T27" fmla="*/ 8 h 48"/>
              <a:gd name="T28" fmla="*/ 91 w 128"/>
              <a:gd name="T2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48">
                <a:moveTo>
                  <a:pt x="91" y="48"/>
                </a:moveTo>
                <a:cubicBezTo>
                  <a:pt x="73" y="48"/>
                  <a:pt x="65" y="39"/>
                  <a:pt x="59" y="31"/>
                </a:cubicBezTo>
                <a:cubicBezTo>
                  <a:pt x="57" y="29"/>
                  <a:pt x="57" y="29"/>
                  <a:pt x="57" y="29"/>
                </a:cubicBezTo>
                <a:cubicBezTo>
                  <a:pt x="57" y="28"/>
                  <a:pt x="56" y="28"/>
                  <a:pt x="55" y="27"/>
                </a:cubicBezTo>
                <a:cubicBezTo>
                  <a:pt x="52" y="22"/>
                  <a:pt x="47" y="16"/>
                  <a:pt x="37" y="16"/>
                </a:cubicBezTo>
                <a:cubicBezTo>
                  <a:pt x="21" y="16"/>
                  <a:pt x="16" y="36"/>
                  <a:pt x="16" y="40"/>
                </a:cubicBezTo>
                <a:cubicBezTo>
                  <a:pt x="0" y="40"/>
                  <a:pt x="0" y="40"/>
                  <a:pt x="0" y="40"/>
                </a:cubicBezTo>
                <a:cubicBezTo>
                  <a:pt x="0" y="28"/>
                  <a:pt x="11" y="0"/>
                  <a:pt x="37" y="0"/>
                </a:cubicBezTo>
                <a:cubicBezTo>
                  <a:pt x="55" y="0"/>
                  <a:pt x="64" y="12"/>
                  <a:pt x="68" y="17"/>
                </a:cubicBezTo>
                <a:cubicBezTo>
                  <a:pt x="69" y="18"/>
                  <a:pt x="69" y="18"/>
                  <a:pt x="69" y="19"/>
                </a:cubicBezTo>
                <a:cubicBezTo>
                  <a:pt x="71" y="21"/>
                  <a:pt x="71" y="21"/>
                  <a:pt x="71" y="21"/>
                </a:cubicBezTo>
                <a:cubicBezTo>
                  <a:pt x="77" y="27"/>
                  <a:pt x="81" y="32"/>
                  <a:pt x="91" y="32"/>
                </a:cubicBezTo>
                <a:cubicBezTo>
                  <a:pt x="108" y="32"/>
                  <a:pt x="112" y="13"/>
                  <a:pt x="112" y="8"/>
                </a:cubicBezTo>
                <a:cubicBezTo>
                  <a:pt x="128" y="8"/>
                  <a:pt x="128" y="8"/>
                  <a:pt x="128" y="8"/>
                </a:cubicBezTo>
                <a:cubicBezTo>
                  <a:pt x="128" y="24"/>
                  <a:pt x="116" y="48"/>
                  <a:pt x="91"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4" name="Freeform 89">
            <a:extLst>
              <a:ext uri="{FF2B5EF4-FFF2-40B4-BE49-F238E27FC236}">
                <a16:creationId xmlns:a16="http://schemas.microsoft.com/office/drawing/2014/main" id="{16897E37-D529-4CAE-8700-9FFE0A2AAFE3}"/>
              </a:ext>
            </a:extLst>
          </p:cNvPr>
          <p:cNvSpPr>
            <a:spLocks noEditPoints="1"/>
          </p:cNvSpPr>
          <p:nvPr/>
        </p:nvSpPr>
        <p:spPr bwMode="auto">
          <a:xfrm>
            <a:off x="663082" y="2406184"/>
            <a:ext cx="261937" cy="412750"/>
          </a:xfrm>
          <a:custGeom>
            <a:avLst/>
            <a:gdLst>
              <a:gd name="T0" fmla="*/ 40 w 80"/>
              <a:gd name="T1" fmla="*/ 16 h 128"/>
              <a:gd name="T2" fmla="*/ 32 w 80"/>
              <a:gd name="T3" fmla="*/ 16 h 128"/>
              <a:gd name="T4" fmla="*/ 32 w 80"/>
              <a:gd name="T5" fmla="*/ 0 h 128"/>
              <a:gd name="T6" fmla="*/ 40 w 80"/>
              <a:gd name="T7" fmla="*/ 0 h 128"/>
              <a:gd name="T8" fmla="*/ 40 w 80"/>
              <a:gd name="T9" fmla="*/ 16 h 128"/>
              <a:gd name="T10" fmla="*/ 60 w 80"/>
              <a:gd name="T11" fmla="*/ 16 h 128"/>
              <a:gd name="T12" fmla="*/ 52 w 80"/>
              <a:gd name="T13" fmla="*/ 24 h 128"/>
              <a:gd name="T14" fmla="*/ 24 w 80"/>
              <a:gd name="T15" fmla="*/ 24 h 128"/>
              <a:gd name="T16" fmla="*/ 0 w 80"/>
              <a:gd name="T17" fmla="*/ 48 h 128"/>
              <a:gd name="T18" fmla="*/ 24 w 80"/>
              <a:gd name="T19" fmla="*/ 72 h 128"/>
              <a:gd name="T20" fmla="*/ 24 w 80"/>
              <a:gd name="T21" fmla="*/ 64 h 128"/>
              <a:gd name="T22" fmla="*/ 8 w 80"/>
              <a:gd name="T23" fmla="*/ 48 h 128"/>
              <a:gd name="T24" fmla="*/ 24 w 80"/>
              <a:gd name="T25" fmla="*/ 32 h 128"/>
              <a:gd name="T26" fmla="*/ 76 w 80"/>
              <a:gd name="T27" fmla="*/ 32 h 128"/>
              <a:gd name="T28" fmla="*/ 80 w 80"/>
              <a:gd name="T29" fmla="*/ 24 h 128"/>
              <a:gd name="T30" fmla="*/ 60 w 80"/>
              <a:gd name="T31" fmla="*/ 16 h 128"/>
              <a:gd name="T32" fmla="*/ 40 w 80"/>
              <a:gd name="T33" fmla="*/ 40 h 128"/>
              <a:gd name="T34" fmla="*/ 32 w 80"/>
              <a:gd name="T35" fmla="*/ 40 h 128"/>
              <a:gd name="T36" fmla="*/ 32 w 80"/>
              <a:gd name="T37" fmla="*/ 88 h 128"/>
              <a:gd name="T38" fmla="*/ 40 w 80"/>
              <a:gd name="T39" fmla="*/ 88 h 128"/>
              <a:gd name="T40" fmla="*/ 40 w 80"/>
              <a:gd name="T41" fmla="*/ 40 h 128"/>
              <a:gd name="T42" fmla="*/ 40 w 80"/>
              <a:gd name="T43" fmla="*/ 112 h 128"/>
              <a:gd name="T44" fmla="*/ 32 w 80"/>
              <a:gd name="T45" fmla="*/ 112 h 128"/>
              <a:gd name="T46" fmla="*/ 32 w 80"/>
              <a:gd name="T47" fmla="*/ 128 h 128"/>
              <a:gd name="T48" fmla="*/ 40 w 80"/>
              <a:gd name="T49" fmla="*/ 128 h 128"/>
              <a:gd name="T50" fmla="*/ 40 w 80"/>
              <a:gd name="T51" fmla="*/ 112 h 128"/>
              <a:gd name="T52" fmla="*/ 48 w 80"/>
              <a:gd name="T53" fmla="*/ 64 h 128"/>
              <a:gd name="T54" fmla="*/ 48 w 80"/>
              <a:gd name="T55" fmla="*/ 72 h 128"/>
              <a:gd name="T56" fmla="*/ 60 w 80"/>
              <a:gd name="T57" fmla="*/ 84 h 128"/>
              <a:gd name="T58" fmla="*/ 48 w 80"/>
              <a:gd name="T59" fmla="*/ 96 h 128"/>
              <a:gd name="T60" fmla="*/ 32 w 80"/>
              <a:gd name="T61" fmla="*/ 96 h 128"/>
              <a:gd name="T62" fmla="*/ 16 w 80"/>
              <a:gd name="T63" fmla="*/ 112 h 128"/>
              <a:gd name="T64" fmla="*/ 24 w 80"/>
              <a:gd name="T65" fmla="*/ 126 h 128"/>
              <a:gd name="T66" fmla="*/ 24 w 80"/>
              <a:gd name="T67" fmla="*/ 112 h 128"/>
              <a:gd name="T68" fmla="*/ 32 w 80"/>
              <a:gd name="T69" fmla="*/ 104 h 128"/>
              <a:gd name="T70" fmla="*/ 48 w 80"/>
              <a:gd name="T71" fmla="*/ 104 h 128"/>
              <a:gd name="T72" fmla="*/ 68 w 80"/>
              <a:gd name="T73" fmla="*/ 84 h 128"/>
              <a:gd name="T74" fmla="*/ 48 w 80"/>
              <a:gd name="T7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128">
                <a:moveTo>
                  <a:pt x="40" y="16"/>
                </a:moveTo>
                <a:cubicBezTo>
                  <a:pt x="32" y="16"/>
                  <a:pt x="32" y="16"/>
                  <a:pt x="32" y="16"/>
                </a:cubicBezTo>
                <a:cubicBezTo>
                  <a:pt x="32" y="0"/>
                  <a:pt x="32" y="0"/>
                  <a:pt x="32" y="0"/>
                </a:cubicBezTo>
                <a:cubicBezTo>
                  <a:pt x="40" y="0"/>
                  <a:pt x="40" y="0"/>
                  <a:pt x="40" y="0"/>
                </a:cubicBezTo>
                <a:lnTo>
                  <a:pt x="40" y="16"/>
                </a:lnTo>
                <a:close/>
                <a:moveTo>
                  <a:pt x="60" y="16"/>
                </a:moveTo>
                <a:cubicBezTo>
                  <a:pt x="52" y="24"/>
                  <a:pt x="52" y="24"/>
                  <a:pt x="52" y="24"/>
                </a:cubicBezTo>
                <a:cubicBezTo>
                  <a:pt x="24" y="24"/>
                  <a:pt x="24" y="24"/>
                  <a:pt x="24" y="24"/>
                </a:cubicBezTo>
                <a:cubicBezTo>
                  <a:pt x="11" y="24"/>
                  <a:pt x="0" y="35"/>
                  <a:pt x="0" y="48"/>
                </a:cubicBezTo>
                <a:cubicBezTo>
                  <a:pt x="0" y="61"/>
                  <a:pt x="11" y="72"/>
                  <a:pt x="24" y="72"/>
                </a:cubicBezTo>
                <a:cubicBezTo>
                  <a:pt x="24" y="64"/>
                  <a:pt x="24" y="64"/>
                  <a:pt x="24" y="64"/>
                </a:cubicBezTo>
                <a:cubicBezTo>
                  <a:pt x="15" y="64"/>
                  <a:pt x="8" y="57"/>
                  <a:pt x="8" y="48"/>
                </a:cubicBezTo>
                <a:cubicBezTo>
                  <a:pt x="8" y="39"/>
                  <a:pt x="15" y="32"/>
                  <a:pt x="24" y="32"/>
                </a:cubicBezTo>
                <a:cubicBezTo>
                  <a:pt x="76" y="32"/>
                  <a:pt x="76" y="32"/>
                  <a:pt x="76" y="32"/>
                </a:cubicBezTo>
                <a:cubicBezTo>
                  <a:pt x="80" y="24"/>
                  <a:pt x="80" y="24"/>
                  <a:pt x="80" y="24"/>
                </a:cubicBezTo>
                <a:lnTo>
                  <a:pt x="60" y="16"/>
                </a:lnTo>
                <a:close/>
                <a:moveTo>
                  <a:pt x="40" y="40"/>
                </a:moveTo>
                <a:cubicBezTo>
                  <a:pt x="32" y="40"/>
                  <a:pt x="32" y="40"/>
                  <a:pt x="32" y="40"/>
                </a:cubicBezTo>
                <a:cubicBezTo>
                  <a:pt x="32" y="88"/>
                  <a:pt x="32" y="88"/>
                  <a:pt x="32" y="88"/>
                </a:cubicBezTo>
                <a:cubicBezTo>
                  <a:pt x="40" y="88"/>
                  <a:pt x="40" y="88"/>
                  <a:pt x="40" y="88"/>
                </a:cubicBezTo>
                <a:lnTo>
                  <a:pt x="40" y="40"/>
                </a:lnTo>
                <a:close/>
                <a:moveTo>
                  <a:pt x="40" y="112"/>
                </a:moveTo>
                <a:cubicBezTo>
                  <a:pt x="32" y="112"/>
                  <a:pt x="32" y="112"/>
                  <a:pt x="32" y="112"/>
                </a:cubicBezTo>
                <a:cubicBezTo>
                  <a:pt x="32" y="128"/>
                  <a:pt x="32" y="128"/>
                  <a:pt x="32" y="128"/>
                </a:cubicBezTo>
                <a:cubicBezTo>
                  <a:pt x="40" y="128"/>
                  <a:pt x="40" y="128"/>
                  <a:pt x="40" y="128"/>
                </a:cubicBezTo>
                <a:lnTo>
                  <a:pt x="40" y="112"/>
                </a:lnTo>
                <a:close/>
                <a:moveTo>
                  <a:pt x="48" y="64"/>
                </a:moveTo>
                <a:cubicBezTo>
                  <a:pt x="48" y="72"/>
                  <a:pt x="48" y="72"/>
                  <a:pt x="48" y="72"/>
                </a:cubicBezTo>
                <a:cubicBezTo>
                  <a:pt x="55" y="72"/>
                  <a:pt x="60" y="77"/>
                  <a:pt x="60" y="84"/>
                </a:cubicBezTo>
                <a:cubicBezTo>
                  <a:pt x="60" y="91"/>
                  <a:pt x="55" y="96"/>
                  <a:pt x="48" y="96"/>
                </a:cubicBezTo>
                <a:cubicBezTo>
                  <a:pt x="32" y="96"/>
                  <a:pt x="32" y="96"/>
                  <a:pt x="32" y="96"/>
                </a:cubicBezTo>
                <a:cubicBezTo>
                  <a:pt x="23" y="96"/>
                  <a:pt x="16" y="103"/>
                  <a:pt x="16" y="112"/>
                </a:cubicBezTo>
                <a:cubicBezTo>
                  <a:pt x="16" y="118"/>
                  <a:pt x="19" y="123"/>
                  <a:pt x="24" y="126"/>
                </a:cubicBezTo>
                <a:cubicBezTo>
                  <a:pt x="24" y="112"/>
                  <a:pt x="24" y="112"/>
                  <a:pt x="24" y="112"/>
                </a:cubicBezTo>
                <a:cubicBezTo>
                  <a:pt x="24" y="108"/>
                  <a:pt x="28" y="104"/>
                  <a:pt x="32" y="104"/>
                </a:cubicBezTo>
                <a:cubicBezTo>
                  <a:pt x="48" y="104"/>
                  <a:pt x="48" y="104"/>
                  <a:pt x="48" y="104"/>
                </a:cubicBezTo>
                <a:cubicBezTo>
                  <a:pt x="59" y="104"/>
                  <a:pt x="68" y="95"/>
                  <a:pt x="68" y="84"/>
                </a:cubicBezTo>
                <a:cubicBezTo>
                  <a:pt x="68" y="73"/>
                  <a:pt x="59" y="64"/>
                  <a:pt x="48" y="6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5" name="Freeform 93">
            <a:extLst>
              <a:ext uri="{FF2B5EF4-FFF2-40B4-BE49-F238E27FC236}">
                <a16:creationId xmlns:a16="http://schemas.microsoft.com/office/drawing/2014/main" id="{065A4863-EC5D-4D0F-8302-39BD69851145}"/>
              </a:ext>
            </a:extLst>
          </p:cNvPr>
          <p:cNvSpPr>
            <a:spLocks noEditPoints="1"/>
          </p:cNvSpPr>
          <p:nvPr/>
        </p:nvSpPr>
        <p:spPr bwMode="auto">
          <a:xfrm>
            <a:off x="1666632" y="2406184"/>
            <a:ext cx="414338" cy="412750"/>
          </a:xfrm>
          <a:custGeom>
            <a:avLst/>
            <a:gdLst>
              <a:gd name="T0" fmla="*/ 76 w 128"/>
              <a:gd name="T1" fmla="*/ 64 h 128"/>
              <a:gd name="T2" fmla="*/ 64 w 128"/>
              <a:gd name="T3" fmla="*/ 76 h 128"/>
              <a:gd name="T4" fmla="*/ 52 w 128"/>
              <a:gd name="T5" fmla="*/ 64 h 128"/>
              <a:gd name="T6" fmla="*/ 64 w 128"/>
              <a:gd name="T7" fmla="*/ 52 h 128"/>
              <a:gd name="T8" fmla="*/ 76 w 128"/>
              <a:gd name="T9" fmla="*/ 64 h 128"/>
              <a:gd name="T10" fmla="*/ 81 w 128"/>
              <a:gd name="T11" fmla="*/ 16 h 128"/>
              <a:gd name="T12" fmla="*/ 68 w 128"/>
              <a:gd name="T13" fmla="*/ 29 h 128"/>
              <a:gd name="T14" fmla="*/ 68 w 128"/>
              <a:gd name="T15" fmla="*/ 0 h 128"/>
              <a:gd name="T16" fmla="*/ 60 w 128"/>
              <a:gd name="T17" fmla="*/ 0 h 128"/>
              <a:gd name="T18" fmla="*/ 60 w 128"/>
              <a:gd name="T19" fmla="*/ 29 h 128"/>
              <a:gd name="T20" fmla="*/ 47 w 128"/>
              <a:gd name="T21" fmla="*/ 16 h 128"/>
              <a:gd name="T22" fmla="*/ 41 w 128"/>
              <a:gd name="T23" fmla="*/ 21 h 128"/>
              <a:gd name="T24" fmla="*/ 64 w 128"/>
              <a:gd name="T25" fmla="*/ 44 h 128"/>
              <a:gd name="T26" fmla="*/ 87 w 128"/>
              <a:gd name="T27" fmla="*/ 21 h 128"/>
              <a:gd name="T28" fmla="*/ 81 w 128"/>
              <a:gd name="T29" fmla="*/ 16 h 128"/>
              <a:gd name="T30" fmla="*/ 87 w 128"/>
              <a:gd name="T31" fmla="*/ 107 h 128"/>
              <a:gd name="T32" fmla="*/ 64 w 128"/>
              <a:gd name="T33" fmla="*/ 84 h 128"/>
              <a:gd name="T34" fmla="*/ 41 w 128"/>
              <a:gd name="T35" fmla="*/ 107 h 128"/>
              <a:gd name="T36" fmla="*/ 47 w 128"/>
              <a:gd name="T37" fmla="*/ 112 h 128"/>
              <a:gd name="T38" fmla="*/ 60 w 128"/>
              <a:gd name="T39" fmla="*/ 99 h 128"/>
              <a:gd name="T40" fmla="*/ 60 w 128"/>
              <a:gd name="T41" fmla="*/ 128 h 128"/>
              <a:gd name="T42" fmla="*/ 68 w 128"/>
              <a:gd name="T43" fmla="*/ 128 h 128"/>
              <a:gd name="T44" fmla="*/ 68 w 128"/>
              <a:gd name="T45" fmla="*/ 99 h 128"/>
              <a:gd name="T46" fmla="*/ 81 w 128"/>
              <a:gd name="T47" fmla="*/ 112 h 128"/>
              <a:gd name="T48" fmla="*/ 87 w 128"/>
              <a:gd name="T49" fmla="*/ 107 h 128"/>
              <a:gd name="T50" fmla="*/ 112 w 128"/>
              <a:gd name="T51" fmla="*/ 81 h 128"/>
              <a:gd name="T52" fmla="*/ 99 w 128"/>
              <a:gd name="T53" fmla="*/ 68 h 128"/>
              <a:gd name="T54" fmla="*/ 128 w 128"/>
              <a:gd name="T55" fmla="*/ 68 h 128"/>
              <a:gd name="T56" fmla="*/ 128 w 128"/>
              <a:gd name="T57" fmla="*/ 60 h 128"/>
              <a:gd name="T58" fmla="*/ 99 w 128"/>
              <a:gd name="T59" fmla="*/ 60 h 128"/>
              <a:gd name="T60" fmla="*/ 112 w 128"/>
              <a:gd name="T61" fmla="*/ 47 h 128"/>
              <a:gd name="T62" fmla="*/ 107 w 128"/>
              <a:gd name="T63" fmla="*/ 41 h 128"/>
              <a:gd name="T64" fmla="*/ 84 w 128"/>
              <a:gd name="T65" fmla="*/ 64 h 128"/>
              <a:gd name="T66" fmla="*/ 107 w 128"/>
              <a:gd name="T67" fmla="*/ 87 h 128"/>
              <a:gd name="T68" fmla="*/ 112 w 128"/>
              <a:gd name="T69" fmla="*/ 81 h 128"/>
              <a:gd name="T70" fmla="*/ 21 w 128"/>
              <a:gd name="T71" fmla="*/ 87 h 128"/>
              <a:gd name="T72" fmla="*/ 44 w 128"/>
              <a:gd name="T73" fmla="*/ 64 h 128"/>
              <a:gd name="T74" fmla="*/ 21 w 128"/>
              <a:gd name="T75" fmla="*/ 41 h 128"/>
              <a:gd name="T76" fmla="*/ 16 w 128"/>
              <a:gd name="T77" fmla="*/ 47 h 128"/>
              <a:gd name="T78" fmla="*/ 29 w 128"/>
              <a:gd name="T79" fmla="*/ 60 h 128"/>
              <a:gd name="T80" fmla="*/ 0 w 128"/>
              <a:gd name="T81" fmla="*/ 60 h 128"/>
              <a:gd name="T82" fmla="*/ 0 w 128"/>
              <a:gd name="T83" fmla="*/ 68 h 128"/>
              <a:gd name="T84" fmla="*/ 29 w 128"/>
              <a:gd name="T85" fmla="*/ 68 h 128"/>
              <a:gd name="T86" fmla="*/ 16 w 128"/>
              <a:gd name="T87" fmla="*/ 81 h 128"/>
              <a:gd name="T88" fmla="*/ 21 w 128"/>
              <a:gd name="T89" fmla="*/ 8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8" h="128">
                <a:moveTo>
                  <a:pt x="76" y="64"/>
                </a:moveTo>
                <a:cubicBezTo>
                  <a:pt x="76" y="71"/>
                  <a:pt x="71" y="76"/>
                  <a:pt x="64" y="76"/>
                </a:cubicBezTo>
                <a:cubicBezTo>
                  <a:pt x="57" y="76"/>
                  <a:pt x="52" y="71"/>
                  <a:pt x="52" y="64"/>
                </a:cubicBezTo>
                <a:cubicBezTo>
                  <a:pt x="52" y="57"/>
                  <a:pt x="57" y="52"/>
                  <a:pt x="64" y="52"/>
                </a:cubicBezTo>
                <a:cubicBezTo>
                  <a:pt x="71" y="52"/>
                  <a:pt x="76" y="57"/>
                  <a:pt x="76" y="64"/>
                </a:cubicBezTo>
                <a:close/>
                <a:moveTo>
                  <a:pt x="81" y="16"/>
                </a:moveTo>
                <a:cubicBezTo>
                  <a:pt x="68" y="29"/>
                  <a:pt x="68" y="29"/>
                  <a:pt x="68" y="29"/>
                </a:cubicBezTo>
                <a:cubicBezTo>
                  <a:pt x="68" y="0"/>
                  <a:pt x="68" y="0"/>
                  <a:pt x="68" y="0"/>
                </a:cubicBezTo>
                <a:cubicBezTo>
                  <a:pt x="60" y="0"/>
                  <a:pt x="60" y="0"/>
                  <a:pt x="60" y="0"/>
                </a:cubicBezTo>
                <a:cubicBezTo>
                  <a:pt x="60" y="29"/>
                  <a:pt x="60" y="29"/>
                  <a:pt x="60" y="29"/>
                </a:cubicBezTo>
                <a:cubicBezTo>
                  <a:pt x="47" y="16"/>
                  <a:pt x="47" y="16"/>
                  <a:pt x="47" y="16"/>
                </a:cubicBezTo>
                <a:cubicBezTo>
                  <a:pt x="41" y="21"/>
                  <a:pt x="41" y="21"/>
                  <a:pt x="41" y="21"/>
                </a:cubicBezTo>
                <a:cubicBezTo>
                  <a:pt x="64" y="44"/>
                  <a:pt x="64" y="44"/>
                  <a:pt x="64" y="44"/>
                </a:cubicBezTo>
                <a:cubicBezTo>
                  <a:pt x="87" y="21"/>
                  <a:pt x="87" y="21"/>
                  <a:pt x="87" y="21"/>
                </a:cubicBezTo>
                <a:lnTo>
                  <a:pt x="81" y="16"/>
                </a:lnTo>
                <a:close/>
                <a:moveTo>
                  <a:pt x="87" y="107"/>
                </a:moveTo>
                <a:cubicBezTo>
                  <a:pt x="64" y="84"/>
                  <a:pt x="64" y="84"/>
                  <a:pt x="64" y="84"/>
                </a:cubicBezTo>
                <a:cubicBezTo>
                  <a:pt x="41" y="107"/>
                  <a:pt x="41" y="107"/>
                  <a:pt x="41" y="107"/>
                </a:cubicBezTo>
                <a:cubicBezTo>
                  <a:pt x="47" y="112"/>
                  <a:pt x="47" y="112"/>
                  <a:pt x="47" y="112"/>
                </a:cubicBezTo>
                <a:cubicBezTo>
                  <a:pt x="60" y="99"/>
                  <a:pt x="60" y="99"/>
                  <a:pt x="60" y="99"/>
                </a:cubicBezTo>
                <a:cubicBezTo>
                  <a:pt x="60" y="128"/>
                  <a:pt x="60" y="128"/>
                  <a:pt x="60" y="128"/>
                </a:cubicBezTo>
                <a:cubicBezTo>
                  <a:pt x="68" y="128"/>
                  <a:pt x="68" y="128"/>
                  <a:pt x="68" y="128"/>
                </a:cubicBezTo>
                <a:cubicBezTo>
                  <a:pt x="68" y="99"/>
                  <a:pt x="68" y="99"/>
                  <a:pt x="68" y="99"/>
                </a:cubicBezTo>
                <a:cubicBezTo>
                  <a:pt x="81" y="112"/>
                  <a:pt x="81" y="112"/>
                  <a:pt x="81" y="112"/>
                </a:cubicBezTo>
                <a:lnTo>
                  <a:pt x="87" y="107"/>
                </a:lnTo>
                <a:close/>
                <a:moveTo>
                  <a:pt x="112" y="81"/>
                </a:moveTo>
                <a:cubicBezTo>
                  <a:pt x="99" y="68"/>
                  <a:pt x="99" y="68"/>
                  <a:pt x="99" y="68"/>
                </a:cubicBezTo>
                <a:cubicBezTo>
                  <a:pt x="128" y="68"/>
                  <a:pt x="128" y="68"/>
                  <a:pt x="128" y="68"/>
                </a:cubicBezTo>
                <a:cubicBezTo>
                  <a:pt x="128" y="60"/>
                  <a:pt x="128" y="60"/>
                  <a:pt x="128" y="60"/>
                </a:cubicBezTo>
                <a:cubicBezTo>
                  <a:pt x="99" y="60"/>
                  <a:pt x="99" y="60"/>
                  <a:pt x="99" y="60"/>
                </a:cubicBezTo>
                <a:cubicBezTo>
                  <a:pt x="112" y="47"/>
                  <a:pt x="112" y="47"/>
                  <a:pt x="112" y="47"/>
                </a:cubicBezTo>
                <a:cubicBezTo>
                  <a:pt x="107" y="41"/>
                  <a:pt x="107" y="41"/>
                  <a:pt x="107" y="41"/>
                </a:cubicBezTo>
                <a:cubicBezTo>
                  <a:pt x="84" y="64"/>
                  <a:pt x="84" y="64"/>
                  <a:pt x="84" y="64"/>
                </a:cubicBezTo>
                <a:cubicBezTo>
                  <a:pt x="107" y="87"/>
                  <a:pt x="107" y="87"/>
                  <a:pt x="107" y="87"/>
                </a:cubicBezTo>
                <a:lnTo>
                  <a:pt x="112" y="81"/>
                </a:lnTo>
                <a:close/>
                <a:moveTo>
                  <a:pt x="21" y="87"/>
                </a:moveTo>
                <a:cubicBezTo>
                  <a:pt x="44" y="64"/>
                  <a:pt x="44" y="64"/>
                  <a:pt x="44" y="64"/>
                </a:cubicBezTo>
                <a:cubicBezTo>
                  <a:pt x="21" y="41"/>
                  <a:pt x="21" y="41"/>
                  <a:pt x="21" y="41"/>
                </a:cubicBezTo>
                <a:cubicBezTo>
                  <a:pt x="16" y="47"/>
                  <a:pt x="16" y="47"/>
                  <a:pt x="16" y="47"/>
                </a:cubicBezTo>
                <a:cubicBezTo>
                  <a:pt x="29" y="60"/>
                  <a:pt x="29" y="60"/>
                  <a:pt x="29" y="60"/>
                </a:cubicBezTo>
                <a:cubicBezTo>
                  <a:pt x="0" y="60"/>
                  <a:pt x="0" y="60"/>
                  <a:pt x="0" y="60"/>
                </a:cubicBezTo>
                <a:cubicBezTo>
                  <a:pt x="0" y="68"/>
                  <a:pt x="0" y="68"/>
                  <a:pt x="0" y="68"/>
                </a:cubicBezTo>
                <a:cubicBezTo>
                  <a:pt x="29" y="68"/>
                  <a:pt x="29" y="68"/>
                  <a:pt x="29" y="68"/>
                </a:cubicBezTo>
                <a:cubicBezTo>
                  <a:pt x="16" y="81"/>
                  <a:pt x="16" y="81"/>
                  <a:pt x="16" y="81"/>
                </a:cubicBezTo>
                <a:lnTo>
                  <a:pt x="21" y="8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0" name="Freeform 77">
            <a:extLst>
              <a:ext uri="{FF2B5EF4-FFF2-40B4-BE49-F238E27FC236}">
                <a16:creationId xmlns:a16="http://schemas.microsoft.com/office/drawing/2014/main" id="{B9B4ABD0-B582-4B51-BDCA-BFBCB8450930}"/>
              </a:ext>
            </a:extLst>
          </p:cNvPr>
          <p:cNvSpPr>
            <a:spLocks noEditPoints="1"/>
          </p:cNvSpPr>
          <p:nvPr/>
        </p:nvSpPr>
        <p:spPr bwMode="auto">
          <a:xfrm>
            <a:off x="1730132" y="1590746"/>
            <a:ext cx="287338" cy="414338"/>
          </a:xfrm>
          <a:custGeom>
            <a:avLst/>
            <a:gdLst>
              <a:gd name="T0" fmla="*/ 56 w 88"/>
              <a:gd name="T1" fmla="*/ 44 h 128"/>
              <a:gd name="T2" fmla="*/ 44 w 88"/>
              <a:gd name="T3" fmla="*/ 56 h 128"/>
              <a:gd name="T4" fmla="*/ 32 w 88"/>
              <a:gd name="T5" fmla="*/ 44 h 128"/>
              <a:gd name="T6" fmla="*/ 44 w 88"/>
              <a:gd name="T7" fmla="*/ 32 h 128"/>
              <a:gd name="T8" fmla="*/ 56 w 88"/>
              <a:gd name="T9" fmla="*/ 44 h 128"/>
              <a:gd name="T10" fmla="*/ 82 w 88"/>
              <a:gd name="T11" fmla="*/ 66 h 128"/>
              <a:gd name="T12" fmla="*/ 82 w 88"/>
              <a:gd name="T13" fmla="*/ 66 h 128"/>
              <a:gd name="T14" fmla="*/ 44 w 88"/>
              <a:gd name="T15" fmla="*/ 128 h 128"/>
              <a:gd name="T16" fmla="*/ 6 w 88"/>
              <a:gd name="T17" fmla="*/ 66 h 128"/>
              <a:gd name="T18" fmla="*/ 6 w 88"/>
              <a:gd name="T19" fmla="*/ 66 h 128"/>
              <a:gd name="T20" fmla="*/ 0 w 88"/>
              <a:gd name="T21" fmla="*/ 44 h 128"/>
              <a:gd name="T22" fmla="*/ 44 w 88"/>
              <a:gd name="T23" fmla="*/ 0 h 128"/>
              <a:gd name="T24" fmla="*/ 88 w 88"/>
              <a:gd name="T25" fmla="*/ 44 h 128"/>
              <a:gd name="T26" fmla="*/ 82 w 88"/>
              <a:gd name="T27" fmla="*/ 66 h 128"/>
              <a:gd name="T28" fmla="*/ 16 w 88"/>
              <a:gd name="T29" fmla="*/ 44 h 128"/>
              <a:gd name="T30" fmla="*/ 44 w 88"/>
              <a:gd name="T31" fmla="*/ 72 h 128"/>
              <a:gd name="T32" fmla="*/ 72 w 88"/>
              <a:gd name="T33" fmla="*/ 44 h 128"/>
              <a:gd name="T34" fmla="*/ 44 w 88"/>
              <a:gd name="T35" fmla="*/ 16 h 128"/>
              <a:gd name="T36" fmla="*/ 16 w 88"/>
              <a:gd name="T3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128">
                <a:moveTo>
                  <a:pt x="56" y="44"/>
                </a:moveTo>
                <a:cubicBezTo>
                  <a:pt x="56" y="51"/>
                  <a:pt x="51" y="56"/>
                  <a:pt x="44" y="56"/>
                </a:cubicBezTo>
                <a:cubicBezTo>
                  <a:pt x="37" y="56"/>
                  <a:pt x="32" y="51"/>
                  <a:pt x="32" y="44"/>
                </a:cubicBezTo>
                <a:cubicBezTo>
                  <a:pt x="32" y="37"/>
                  <a:pt x="37" y="32"/>
                  <a:pt x="44" y="32"/>
                </a:cubicBezTo>
                <a:cubicBezTo>
                  <a:pt x="51" y="32"/>
                  <a:pt x="56" y="37"/>
                  <a:pt x="56" y="44"/>
                </a:cubicBezTo>
                <a:close/>
                <a:moveTo>
                  <a:pt x="82" y="66"/>
                </a:moveTo>
                <a:cubicBezTo>
                  <a:pt x="82" y="66"/>
                  <a:pt x="82" y="66"/>
                  <a:pt x="82" y="66"/>
                </a:cubicBezTo>
                <a:cubicBezTo>
                  <a:pt x="44" y="128"/>
                  <a:pt x="44" y="128"/>
                  <a:pt x="44" y="128"/>
                </a:cubicBezTo>
                <a:cubicBezTo>
                  <a:pt x="6" y="66"/>
                  <a:pt x="6" y="66"/>
                  <a:pt x="6" y="66"/>
                </a:cubicBezTo>
                <a:cubicBezTo>
                  <a:pt x="6" y="66"/>
                  <a:pt x="6" y="66"/>
                  <a:pt x="6" y="66"/>
                </a:cubicBezTo>
                <a:cubicBezTo>
                  <a:pt x="2" y="59"/>
                  <a:pt x="0" y="52"/>
                  <a:pt x="0" y="44"/>
                </a:cubicBezTo>
                <a:cubicBezTo>
                  <a:pt x="0" y="20"/>
                  <a:pt x="20" y="0"/>
                  <a:pt x="44" y="0"/>
                </a:cubicBezTo>
                <a:cubicBezTo>
                  <a:pt x="68" y="0"/>
                  <a:pt x="88" y="20"/>
                  <a:pt x="88" y="44"/>
                </a:cubicBezTo>
                <a:cubicBezTo>
                  <a:pt x="88" y="52"/>
                  <a:pt x="86" y="60"/>
                  <a:pt x="82" y="66"/>
                </a:cubicBezTo>
                <a:close/>
                <a:moveTo>
                  <a:pt x="16" y="44"/>
                </a:moveTo>
                <a:cubicBezTo>
                  <a:pt x="16" y="59"/>
                  <a:pt x="29" y="72"/>
                  <a:pt x="44" y="72"/>
                </a:cubicBezTo>
                <a:cubicBezTo>
                  <a:pt x="59" y="72"/>
                  <a:pt x="72" y="59"/>
                  <a:pt x="72" y="44"/>
                </a:cubicBezTo>
                <a:cubicBezTo>
                  <a:pt x="72" y="29"/>
                  <a:pt x="59" y="16"/>
                  <a:pt x="44" y="16"/>
                </a:cubicBezTo>
                <a:cubicBezTo>
                  <a:pt x="29" y="16"/>
                  <a:pt x="16" y="29"/>
                  <a:pt x="16" y="4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9" name="Freeform 73">
            <a:extLst>
              <a:ext uri="{FF2B5EF4-FFF2-40B4-BE49-F238E27FC236}">
                <a16:creationId xmlns:a16="http://schemas.microsoft.com/office/drawing/2014/main" id="{82131125-76D8-406A-BBB9-D184E81BBB95}"/>
              </a:ext>
            </a:extLst>
          </p:cNvPr>
          <p:cNvSpPr>
            <a:spLocks noEditPoints="1"/>
          </p:cNvSpPr>
          <p:nvPr/>
        </p:nvSpPr>
        <p:spPr bwMode="auto">
          <a:xfrm>
            <a:off x="586881" y="1616146"/>
            <a:ext cx="414338" cy="388938"/>
          </a:xfrm>
          <a:custGeom>
            <a:avLst/>
            <a:gdLst>
              <a:gd name="T0" fmla="*/ 261 w 261"/>
              <a:gd name="T1" fmla="*/ 0 h 245"/>
              <a:gd name="T2" fmla="*/ 171 w 261"/>
              <a:gd name="T3" fmla="*/ 47 h 245"/>
              <a:gd name="T4" fmla="*/ 90 w 261"/>
              <a:gd name="T5" fmla="*/ 0 h 245"/>
              <a:gd name="T6" fmla="*/ 0 w 261"/>
              <a:gd name="T7" fmla="*/ 49 h 245"/>
              <a:gd name="T8" fmla="*/ 0 w 261"/>
              <a:gd name="T9" fmla="*/ 245 h 245"/>
              <a:gd name="T10" fmla="*/ 90 w 261"/>
              <a:gd name="T11" fmla="*/ 196 h 245"/>
              <a:gd name="T12" fmla="*/ 171 w 261"/>
              <a:gd name="T13" fmla="*/ 245 h 245"/>
              <a:gd name="T14" fmla="*/ 261 w 261"/>
              <a:gd name="T15" fmla="*/ 196 h 245"/>
              <a:gd name="T16" fmla="*/ 261 w 261"/>
              <a:gd name="T17" fmla="*/ 0 h 245"/>
              <a:gd name="T18" fmla="*/ 245 w 261"/>
              <a:gd name="T19" fmla="*/ 188 h 245"/>
              <a:gd name="T20" fmla="*/ 179 w 261"/>
              <a:gd name="T21" fmla="*/ 221 h 245"/>
              <a:gd name="T22" fmla="*/ 179 w 261"/>
              <a:gd name="T23" fmla="*/ 61 h 245"/>
              <a:gd name="T24" fmla="*/ 245 w 261"/>
              <a:gd name="T25" fmla="*/ 27 h 245"/>
              <a:gd name="T26" fmla="*/ 245 w 261"/>
              <a:gd name="T27" fmla="*/ 188 h 245"/>
              <a:gd name="T28" fmla="*/ 98 w 261"/>
              <a:gd name="T29" fmla="*/ 25 h 245"/>
              <a:gd name="T30" fmla="*/ 163 w 261"/>
              <a:gd name="T31" fmla="*/ 61 h 245"/>
              <a:gd name="T32" fmla="*/ 163 w 261"/>
              <a:gd name="T33" fmla="*/ 221 h 245"/>
              <a:gd name="T34" fmla="*/ 98 w 261"/>
              <a:gd name="T35" fmla="*/ 184 h 245"/>
              <a:gd name="T36" fmla="*/ 98 w 261"/>
              <a:gd name="T37" fmla="*/ 25 h 245"/>
              <a:gd name="T38" fmla="*/ 16 w 261"/>
              <a:gd name="T39" fmla="*/ 59 h 245"/>
              <a:gd name="T40" fmla="*/ 82 w 261"/>
              <a:gd name="T41" fmla="*/ 25 h 245"/>
              <a:gd name="T42" fmla="*/ 82 w 261"/>
              <a:gd name="T43" fmla="*/ 184 h 245"/>
              <a:gd name="T44" fmla="*/ 16 w 261"/>
              <a:gd name="T45" fmla="*/ 219 h 245"/>
              <a:gd name="T46" fmla="*/ 16 w 261"/>
              <a:gd name="T47" fmla="*/ 5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1" h="245">
                <a:moveTo>
                  <a:pt x="261" y="0"/>
                </a:moveTo>
                <a:lnTo>
                  <a:pt x="171" y="47"/>
                </a:lnTo>
                <a:lnTo>
                  <a:pt x="90" y="0"/>
                </a:lnTo>
                <a:lnTo>
                  <a:pt x="0" y="49"/>
                </a:lnTo>
                <a:lnTo>
                  <a:pt x="0" y="245"/>
                </a:lnTo>
                <a:lnTo>
                  <a:pt x="90" y="196"/>
                </a:lnTo>
                <a:lnTo>
                  <a:pt x="171" y="245"/>
                </a:lnTo>
                <a:lnTo>
                  <a:pt x="261" y="196"/>
                </a:lnTo>
                <a:lnTo>
                  <a:pt x="261" y="0"/>
                </a:lnTo>
                <a:close/>
                <a:moveTo>
                  <a:pt x="245" y="188"/>
                </a:moveTo>
                <a:lnTo>
                  <a:pt x="179" y="221"/>
                </a:lnTo>
                <a:lnTo>
                  <a:pt x="179" y="61"/>
                </a:lnTo>
                <a:lnTo>
                  <a:pt x="245" y="27"/>
                </a:lnTo>
                <a:lnTo>
                  <a:pt x="245" y="188"/>
                </a:lnTo>
                <a:close/>
                <a:moveTo>
                  <a:pt x="98" y="25"/>
                </a:moveTo>
                <a:lnTo>
                  <a:pt x="163" y="61"/>
                </a:lnTo>
                <a:lnTo>
                  <a:pt x="163" y="221"/>
                </a:lnTo>
                <a:lnTo>
                  <a:pt x="98" y="184"/>
                </a:lnTo>
                <a:lnTo>
                  <a:pt x="98" y="25"/>
                </a:lnTo>
                <a:close/>
                <a:moveTo>
                  <a:pt x="16" y="59"/>
                </a:moveTo>
                <a:lnTo>
                  <a:pt x="82" y="25"/>
                </a:lnTo>
                <a:lnTo>
                  <a:pt x="82" y="184"/>
                </a:lnTo>
                <a:lnTo>
                  <a:pt x="16" y="219"/>
                </a:lnTo>
                <a:lnTo>
                  <a:pt x="16" y="5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334205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Objekt 70" hidden="1">
            <a:extLst>
              <a:ext uri="{FF2B5EF4-FFF2-40B4-BE49-F238E27FC236}">
                <a16:creationId xmlns:a16="http://schemas.microsoft.com/office/drawing/2014/main" id="{7D064AD6-05DC-4FEF-8178-0F34DC819BAE}"/>
              </a:ext>
            </a:extLst>
          </p:cNvPr>
          <p:cNvGraphicFramePr>
            <a:graphicFrameLocks noChangeAspect="1"/>
          </p:cNvGraphicFramePr>
          <p:nvPr>
            <p:custDataLst>
              <p:tags r:id="rId1"/>
            </p:custDataLst>
            <p:extLst>
              <p:ext uri="{D42A27DB-BD31-4B8C-83A1-F6EECF244321}">
                <p14:modId xmlns:p14="http://schemas.microsoft.com/office/powerpoint/2010/main" val="2894566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71" name="Objekt 70" hidden="1">
                        <a:extLst>
                          <a:ext uri="{FF2B5EF4-FFF2-40B4-BE49-F238E27FC236}">
                            <a16:creationId xmlns:a16="http://schemas.microsoft.com/office/drawing/2014/main" id="{7D064AD6-05DC-4FEF-8178-0F34DC819BA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631A6E5-8E71-41F7-849D-26FFDB1B82DE}"/>
              </a:ext>
            </a:extLst>
          </p:cNvPr>
          <p:cNvSpPr>
            <a:spLocks noGrp="1"/>
          </p:cNvSpPr>
          <p:nvPr>
            <p:ph type="sldNum" sz="quarter" idx="11"/>
          </p:nvPr>
        </p:nvSpPr>
        <p:spPr/>
        <p:txBody>
          <a:bodyPr/>
          <a:lstStyle/>
          <a:p>
            <a:fld id="{D56DB8AA-803C-49D2-90AA-1140CE72DCD7}" type="slidenum">
              <a:rPr lang="en-GB" smtClean="0"/>
              <a:pPr/>
              <a:t>11</a:t>
            </a:fld>
            <a:endParaRPr lang="en-GB" dirty="0"/>
          </a:p>
        </p:txBody>
      </p:sp>
      <p:sp>
        <p:nvSpPr>
          <p:cNvPr id="73" name="Title 38">
            <a:extLst>
              <a:ext uri="{FF2B5EF4-FFF2-40B4-BE49-F238E27FC236}">
                <a16:creationId xmlns:a16="http://schemas.microsoft.com/office/drawing/2014/main" id="{F77FB0A1-F109-A083-6BB4-6F6A9265D259}"/>
              </a:ext>
            </a:extLst>
          </p:cNvPr>
          <p:cNvSpPr>
            <a:spLocks noGrp="1"/>
          </p:cNvSpPr>
          <p:nvPr>
            <p:ph type="title"/>
          </p:nvPr>
        </p:nvSpPr>
        <p:spPr/>
        <p:txBody>
          <a:bodyPr/>
          <a:lstStyle/>
          <a:p>
            <a:r>
              <a:rPr lang="en-US" dirty="0"/>
              <a:t>Munich Re Icons 9/12</a:t>
            </a:r>
            <a:br>
              <a:rPr lang="en-US" dirty="0"/>
            </a:br>
            <a:endParaRPr lang="en-US" dirty="0"/>
          </a:p>
        </p:txBody>
      </p:sp>
      <p:sp>
        <p:nvSpPr>
          <p:cNvPr id="5" name="TextBox 4">
            <a:extLst>
              <a:ext uri="{FF2B5EF4-FFF2-40B4-BE49-F238E27FC236}">
                <a16:creationId xmlns:a16="http://schemas.microsoft.com/office/drawing/2014/main" id="{DA885BF7-206F-44EA-B8AF-73A5627260DC}"/>
              </a:ext>
            </a:extLst>
          </p:cNvPr>
          <p:cNvSpPr txBox="1"/>
          <p:nvPr/>
        </p:nvSpPr>
        <p:spPr>
          <a:xfrm>
            <a:off x="519937" y="2077494"/>
            <a:ext cx="548227" cy="107722"/>
          </a:xfrm>
          <a:prstGeom prst="rect">
            <a:avLst/>
          </a:prstGeom>
          <a:noFill/>
          <a:effectLst/>
        </p:spPr>
        <p:txBody>
          <a:bodyPr wrap="none" lIns="0" tIns="0" rIns="0" bIns="0" rtlCol="0" anchor="t">
            <a:spAutoFit/>
          </a:bodyPr>
          <a:lstStyle/>
          <a:p>
            <a:pPr algn="ctr"/>
            <a:r>
              <a:rPr lang="en-GB" sz="700" dirty="0">
                <a:solidFill>
                  <a:schemeClr val="tx2"/>
                </a:solidFill>
              </a:rPr>
              <a:t>Online survey</a:t>
            </a:r>
          </a:p>
        </p:txBody>
      </p:sp>
      <p:sp>
        <p:nvSpPr>
          <p:cNvPr id="6" name="TextBox 5">
            <a:extLst>
              <a:ext uri="{FF2B5EF4-FFF2-40B4-BE49-F238E27FC236}">
                <a16:creationId xmlns:a16="http://schemas.microsoft.com/office/drawing/2014/main" id="{C1513E4F-FA14-4CE0-96B3-8C6A81981606}"/>
              </a:ext>
            </a:extLst>
          </p:cNvPr>
          <p:cNvSpPr txBox="1"/>
          <p:nvPr/>
        </p:nvSpPr>
        <p:spPr>
          <a:xfrm>
            <a:off x="536768" y="2899619"/>
            <a:ext cx="514564" cy="107722"/>
          </a:xfrm>
          <a:prstGeom prst="rect">
            <a:avLst/>
          </a:prstGeom>
          <a:noFill/>
          <a:effectLst/>
        </p:spPr>
        <p:txBody>
          <a:bodyPr wrap="none" lIns="0" tIns="0" rIns="0" bIns="0" rtlCol="0" anchor="t">
            <a:spAutoFit/>
          </a:bodyPr>
          <a:lstStyle/>
          <a:p>
            <a:pPr algn="ctr"/>
            <a:r>
              <a:rPr lang="en-GB" sz="700" dirty="0">
                <a:solidFill>
                  <a:schemeClr val="tx2"/>
                </a:solidFill>
              </a:rPr>
              <a:t>Outside area</a:t>
            </a:r>
          </a:p>
        </p:txBody>
      </p:sp>
      <p:sp>
        <p:nvSpPr>
          <p:cNvPr id="7" name="TextBox 6">
            <a:extLst>
              <a:ext uri="{FF2B5EF4-FFF2-40B4-BE49-F238E27FC236}">
                <a16:creationId xmlns:a16="http://schemas.microsoft.com/office/drawing/2014/main" id="{5C92EBB7-7DEC-4F76-A43E-BD80E48C4A59}"/>
              </a:ext>
            </a:extLst>
          </p:cNvPr>
          <p:cNvSpPr txBox="1"/>
          <p:nvPr/>
        </p:nvSpPr>
        <p:spPr>
          <a:xfrm>
            <a:off x="617719" y="3723675"/>
            <a:ext cx="352662" cy="107722"/>
          </a:xfrm>
          <a:prstGeom prst="rect">
            <a:avLst/>
          </a:prstGeom>
          <a:noFill/>
          <a:effectLst/>
        </p:spPr>
        <p:txBody>
          <a:bodyPr wrap="none" lIns="0" tIns="0" rIns="0" bIns="0" rtlCol="0" anchor="t">
            <a:spAutoFit/>
          </a:bodyPr>
          <a:lstStyle/>
          <a:p>
            <a:pPr algn="ctr"/>
            <a:r>
              <a:rPr lang="en-GB" sz="700">
                <a:solidFill>
                  <a:schemeClr val="tx2"/>
                </a:solidFill>
              </a:rPr>
              <a:t>People 2</a:t>
            </a:r>
            <a:endParaRPr lang="en-GB" sz="700" dirty="0">
              <a:solidFill>
                <a:schemeClr val="tx2"/>
              </a:solidFill>
            </a:endParaRPr>
          </a:p>
        </p:txBody>
      </p:sp>
      <p:sp>
        <p:nvSpPr>
          <p:cNvPr id="8" name="TextBox 7">
            <a:extLst>
              <a:ext uri="{FF2B5EF4-FFF2-40B4-BE49-F238E27FC236}">
                <a16:creationId xmlns:a16="http://schemas.microsoft.com/office/drawing/2014/main" id="{1AE52262-D2CA-4474-B9CF-4C6BDDECA750}"/>
              </a:ext>
            </a:extLst>
          </p:cNvPr>
          <p:cNvSpPr txBox="1"/>
          <p:nvPr/>
        </p:nvSpPr>
        <p:spPr>
          <a:xfrm>
            <a:off x="665007" y="4547732"/>
            <a:ext cx="258084" cy="107722"/>
          </a:xfrm>
          <a:prstGeom prst="rect">
            <a:avLst/>
          </a:prstGeom>
          <a:noFill/>
          <a:effectLst/>
        </p:spPr>
        <p:txBody>
          <a:bodyPr wrap="none" lIns="0" tIns="0" rIns="0" bIns="0" rtlCol="0" anchor="t">
            <a:spAutoFit/>
          </a:bodyPr>
          <a:lstStyle/>
          <a:p>
            <a:pPr algn="ctr"/>
            <a:r>
              <a:rPr lang="en-GB" sz="700" dirty="0">
                <a:solidFill>
                  <a:schemeClr val="tx2"/>
                </a:solidFill>
              </a:rPr>
              <a:t>Phone</a:t>
            </a:r>
          </a:p>
        </p:txBody>
      </p:sp>
      <p:sp>
        <p:nvSpPr>
          <p:cNvPr id="9" name="TextBox 8">
            <a:extLst>
              <a:ext uri="{FF2B5EF4-FFF2-40B4-BE49-F238E27FC236}">
                <a16:creationId xmlns:a16="http://schemas.microsoft.com/office/drawing/2014/main" id="{A3177FA0-42E7-4FD1-B201-CC7EE9C4EE72}"/>
              </a:ext>
            </a:extLst>
          </p:cNvPr>
          <p:cNvSpPr txBox="1"/>
          <p:nvPr/>
        </p:nvSpPr>
        <p:spPr>
          <a:xfrm>
            <a:off x="1552547" y="2077494"/>
            <a:ext cx="573875" cy="107722"/>
          </a:xfrm>
          <a:prstGeom prst="rect">
            <a:avLst/>
          </a:prstGeom>
          <a:noFill/>
          <a:effectLst/>
        </p:spPr>
        <p:txBody>
          <a:bodyPr wrap="none" lIns="0" tIns="0" rIns="0" bIns="0" rtlCol="0" anchor="t">
            <a:spAutoFit/>
          </a:bodyPr>
          <a:lstStyle/>
          <a:p>
            <a:pPr algn="ctr"/>
            <a:r>
              <a:rPr lang="en-GB" sz="700" dirty="0">
                <a:solidFill>
                  <a:schemeClr val="tx2"/>
                </a:solidFill>
              </a:rPr>
              <a:t>Organic waste</a:t>
            </a:r>
          </a:p>
        </p:txBody>
      </p:sp>
      <p:sp>
        <p:nvSpPr>
          <p:cNvPr id="10" name="TextBox 9">
            <a:extLst>
              <a:ext uri="{FF2B5EF4-FFF2-40B4-BE49-F238E27FC236}">
                <a16:creationId xmlns:a16="http://schemas.microsoft.com/office/drawing/2014/main" id="{B066FEFA-27E7-48C6-8D9F-8E5E01677995}"/>
              </a:ext>
            </a:extLst>
          </p:cNvPr>
          <p:cNvSpPr txBox="1"/>
          <p:nvPr/>
        </p:nvSpPr>
        <p:spPr>
          <a:xfrm>
            <a:off x="1590217" y="2899619"/>
            <a:ext cx="498534" cy="107722"/>
          </a:xfrm>
          <a:prstGeom prst="rect">
            <a:avLst/>
          </a:prstGeom>
          <a:noFill/>
          <a:effectLst/>
        </p:spPr>
        <p:txBody>
          <a:bodyPr wrap="none" lIns="0" tIns="0" rIns="0" bIns="0" rtlCol="0" anchor="t">
            <a:spAutoFit/>
          </a:bodyPr>
          <a:lstStyle/>
          <a:p>
            <a:pPr algn="ctr"/>
            <a:r>
              <a:rPr lang="en-GB" sz="700" dirty="0">
                <a:solidFill>
                  <a:schemeClr val="tx2"/>
                </a:solidFill>
              </a:rPr>
              <a:t>Paper waste</a:t>
            </a:r>
          </a:p>
        </p:txBody>
      </p:sp>
      <p:sp>
        <p:nvSpPr>
          <p:cNvPr id="11" name="TextBox 10">
            <a:extLst>
              <a:ext uri="{FF2B5EF4-FFF2-40B4-BE49-F238E27FC236}">
                <a16:creationId xmlns:a16="http://schemas.microsoft.com/office/drawing/2014/main" id="{6AEE9A34-7FC9-4B08-B340-F38556F1C3B4}"/>
              </a:ext>
            </a:extLst>
          </p:cNvPr>
          <p:cNvSpPr txBox="1"/>
          <p:nvPr/>
        </p:nvSpPr>
        <p:spPr>
          <a:xfrm>
            <a:off x="1663153" y="3723675"/>
            <a:ext cx="352662" cy="107722"/>
          </a:xfrm>
          <a:prstGeom prst="rect">
            <a:avLst/>
          </a:prstGeom>
          <a:noFill/>
          <a:effectLst/>
        </p:spPr>
        <p:txBody>
          <a:bodyPr wrap="none" lIns="0" tIns="0" rIns="0" bIns="0" rtlCol="0" anchor="t">
            <a:spAutoFit/>
          </a:bodyPr>
          <a:lstStyle/>
          <a:p>
            <a:pPr algn="ctr"/>
            <a:r>
              <a:rPr lang="en-GB" sz="700" dirty="0">
                <a:solidFill>
                  <a:schemeClr val="tx2"/>
                </a:solidFill>
              </a:rPr>
              <a:t>People 3</a:t>
            </a:r>
          </a:p>
        </p:txBody>
      </p:sp>
      <p:sp>
        <p:nvSpPr>
          <p:cNvPr id="12" name="TextBox 11">
            <a:extLst>
              <a:ext uri="{FF2B5EF4-FFF2-40B4-BE49-F238E27FC236}">
                <a16:creationId xmlns:a16="http://schemas.microsoft.com/office/drawing/2014/main" id="{01FB0292-2322-446A-94DF-6096FD23EA75}"/>
              </a:ext>
            </a:extLst>
          </p:cNvPr>
          <p:cNvSpPr txBox="1"/>
          <p:nvPr/>
        </p:nvSpPr>
        <p:spPr>
          <a:xfrm>
            <a:off x="1578195" y="4547732"/>
            <a:ext cx="522580" cy="107722"/>
          </a:xfrm>
          <a:prstGeom prst="rect">
            <a:avLst/>
          </a:prstGeom>
          <a:noFill/>
          <a:effectLst/>
        </p:spPr>
        <p:txBody>
          <a:bodyPr wrap="none" lIns="0" tIns="0" rIns="0" bIns="0" rtlCol="0" anchor="t">
            <a:spAutoFit/>
          </a:bodyPr>
          <a:lstStyle/>
          <a:p>
            <a:pPr algn="ctr"/>
            <a:r>
              <a:rPr lang="en-GB" sz="700" dirty="0">
                <a:solidFill>
                  <a:schemeClr val="tx2"/>
                </a:solidFill>
              </a:rPr>
              <a:t>Photo gallery</a:t>
            </a:r>
          </a:p>
        </p:txBody>
      </p:sp>
      <p:sp>
        <p:nvSpPr>
          <p:cNvPr id="13" name="TextBox 12">
            <a:extLst>
              <a:ext uri="{FF2B5EF4-FFF2-40B4-BE49-F238E27FC236}">
                <a16:creationId xmlns:a16="http://schemas.microsoft.com/office/drawing/2014/main" id="{2CD18721-1251-4994-8B69-0513406CAEDB}"/>
              </a:ext>
            </a:extLst>
          </p:cNvPr>
          <p:cNvSpPr txBox="1"/>
          <p:nvPr/>
        </p:nvSpPr>
        <p:spPr>
          <a:xfrm>
            <a:off x="2610003" y="2077494"/>
            <a:ext cx="549831" cy="107722"/>
          </a:xfrm>
          <a:prstGeom prst="rect">
            <a:avLst/>
          </a:prstGeom>
          <a:noFill/>
          <a:effectLst/>
        </p:spPr>
        <p:txBody>
          <a:bodyPr wrap="none" lIns="0" tIns="0" rIns="0" bIns="0" rtlCol="0" anchor="t">
            <a:spAutoFit/>
          </a:bodyPr>
          <a:lstStyle/>
          <a:p>
            <a:pPr algn="ctr"/>
            <a:r>
              <a:rPr lang="en-GB" sz="700" dirty="0">
                <a:solidFill>
                  <a:schemeClr val="tx2"/>
                </a:solidFill>
              </a:rPr>
              <a:t>Organigram 1</a:t>
            </a:r>
          </a:p>
        </p:txBody>
      </p:sp>
      <p:sp>
        <p:nvSpPr>
          <p:cNvPr id="14" name="TextBox 13">
            <a:extLst>
              <a:ext uri="{FF2B5EF4-FFF2-40B4-BE49-F238E27FC236}">
                <a16:creationId xmlns:a16="http://schemas.microsoft.com/office/drawing/2014/main" id="{E388236B-6878-427B-AF32-6FB21C829700}"/>
              </a:ext>
            </a:extLst>
          </p:cNvPr>
          <p:cNvSpPr txBox="1"/>
          <p:nvPr/>
        </p:nvSpPr>
        <p:spPr>
          <a:xfrm>
            <a:off x="2503405" y="2899619"/>
            <a:ext cx="763029" cy="107722"/>
          </a:xfrm>
          <a:prstGeom prst="rect">
            <a:avLst/>
          </a:prstGeom>
          <a:noFill/>
          <a:effectLst/>
        </p:spPr>
        <p:txBody>
          <a:bodyPr wrap="none" lIns="0" tIns="0" rIns="0" bIns="0" rtlCol="0" anchor="t">
            <a:spAutoFit/>
          </a:bodyPr>
          <a:lstStyle/>
          <a:p>
            <a:pPr algn="ctr"/>
            <a:r>
              <a:rPr lang="en-GB" sz="700">
                <a:solidFill>
                  <a:schemeClr val="tx2"/>
                </a:solidFill>
              </a:rPr>
              <a:t>Paragraph medium</a:t>
            </a:r>
            <a:endParaRPr lang="en-GB" sz="700" dirty="0">
              <a:solidFill>
                <a:schemeClr val="tx2"/>
              </a:solidFill>
            </a:endParaRPr>
          </a:p>
        </p:txBody>
      </p:sp>
      <p:sp>
        <p:nvSpPr>
          <p:cNvPr id="15" name="TextBox 14">
            <a:extLst>
              <a:ext uri="{FF2B5EF4-FFF2-40B4-BE49-F238E27FC236}">
                <a16:creationId xmlns:a16="http://schemas.microsoft.com/office/drawing/2014/main" id="{CBAEB6C6-7BA9-4A29-934A-6F9CB4CC603A}"/>
              </a:ext>
            </a:extLst>
          </p:cNvPr>
          <p:cNvSpPr txBox="1"/>
          <p:nvPr/>
        </p:nvSpPr>
        <p:spPr>
          <a:xfrm>
            <a:off x="2743053" y="3723675"/>
            <a:ext cx="283731" cy="107722"/>
          </a:xfrm>
          <a:prstGeom prst="rect">
            <a:avLst/>
          </a:prstGeom>
          <a:noFill/>
          <a:effectLst/>
        </p:spPr>
        <p:txBody>
          <a:bodyPr wrap="none" lIns="0" tIns="0" rIns="0" bIns="0" rtlCol="0" anchor="t">
            <a:spAutoFit/>
          </a:bodyPr>
          <a:lstStyle/>
          <a:p>
            <a:pPr algn="ctr"/>
            <a:r>
              <a:rPr lang="en-GB" sz="700" dirty="0">
                <a:solidFill>
                  <a:schemeClr val="tx2"/>
                </a:solidFill>
              </a:rPr>
              <a:t>Person</a:t>
            </a:r>
          </a:p>
        </p:txBody>
      </p:sp>
      <p:sp>
        <p:nvSpPr>
          <p:cNvPr id="16" name="TextBox 15">
            <a:extLst>
              <a:ext uri="{FF2B5EF4-FFF2-40B4-BE49-F238E27FC236}">
                <a16:creationId xmlns:a16="http://schemas.microsoft.com/office/drawing/2014/main" id="{76CA810A-9954-402B-8280-2445D5EE0CC1}"/>
              </a:ext>
            </a:extLst>
          </p:cNvPr>
          <p:cNvSpPr txBox="1"/>
          <p:nvPr/>
        </p:nvSpPr>
        <p:spPr>
          <a:xfrm>
            <a:off x="2795951" y="4547732"/>
            <a:ext cx="177933" cy="107722"/>
          </a:xfrm>
          <a:prstGeom prst="rect">
            <a:avLst/>
          </a:prstGeom>
          <a:noFill/>
          <a:effectLst/>
        </p:spPr>
        <p:txBody>
          <a:bodyPr wrap="none" lIns="0" tIns="0" rIns="0" bIns="0" rtlCol="0" anchor="t">
            <a:spAutoFit/>
          </a:bodyPr>
          <a:lstStyle/>
          <a:p>
            <a:pPr algn="ctr"/>
            <a:r>
              <a:rPr lang="en-GB" sz="700">
                <a:solidFill>
                  <a:schemeClr val="tx2"/>
                </a:solidFill>
              </a:rPr>
              <a:t>Pipe</a:t>
            </a:r>
            <a:endParaRPr lang="en-GB" sz="700" dirty="0">
              <a:solidFill>
                <a:schemeClr val="tx2"/>
              </a:solidFill>
            </a:endParaRPr>
          </a:p>
        </p:txBody>
      </p:sp>
      <p:sp>
        <p:nvSpPr>
          <p:cNvPr id="17" name="TextBox 16">
            <a:extLst>
              <a:ext uri="{FF2B5EF4-FFF2-40B4-BE49-F238E27FC236}">
                <a16:creationId xmlns:a16="http://schemas.microsoft.com/office/drawing/2014/main" id="{420129FF-7022-4225-A6A3-8597D981E45E}"/>
              </a:ext>
            </a:extLst>
          </p:cNvPr>
          <p:cNvSpPr txBox="1"/>
          <p:nvPr/>
        </p:nvSpPr>
        <p:spPr>
          <a:xfrm>
            <a:off x="3655437" y="2077494"/>
            <a:ext cx="549831" cy="107722"/>
          </a:xfrm>
          <a:prstGeom prst="rect">
            <a:avLst/>
          </a:prstGeom>
          <a:noFill/>
          <a:effectLst/>
        </p:spPr>
        <p:txBody>
          <a:bodyPr wrap="none" lIns="0" tIns="0" rIns="0" bIns="0" rtlCol="0" anchor="t">
            <a:spAutoFit/>
          </a:bodyPr>
          <a:lstStyle/>
          <a:p>
            <a:pPr algn="ctr"/>
            <a:r>
              <a:rPr lang="en-GB" sz="700" dirty="0">
                <a:solidFill>
                  <a:schemeClr val="tx2"/>
                </a:solidFill>
              </a:rPr>
              <a:t>Organigram 2</a:t>
            </a:r>
          </a:p>
        </p:txBody>
      </p:sp>
      <p:sp>
        <p:nvSpPr>
          <p:cNvPr id="18" name="TextBox 17">
            <a:extLst>
              <a:ext uri="{FF2B5EF4-FFF2-40B4-BE49-F238E27FC236}">
                <a16:creationId xmlns:a16="http://schemas.microsoft.com/office/drawing/2014/main" id="{6EB20312-AC66-47DB-ACDC-41A0813FF753}"/>
              </a:ext>
            </a:extLst>
          </p:cNvPr>
          <p:cNvSpPr txBox="1"/>
          <p:nvPr/>
        </p:nvSpPr>
        <p:spPr>
          <a:xfrm>
            <a:off x="3568874" y="2899619"/>
            <a:ext cx="722955" cy="107722"/>
          </a:xfrm>
          <a:prstGeom prst="rect">
            <a:avLst/>
          </a:prstGeom>
          <a:noFill/>
          <a:effectLst/>
        </p:spPr>
        <p:txBody>
          <a:bodyPr wrap="none" lIns="0" tIns="0" rIns="0" bIns="0" rtlCol="0" anchor="t">
            <a:spAutoFit/>
          </a:bodyPr>
          <a:lstStyle/>
          <a:p>
            <a:pPr algn="ctr"/>
            <a:r>
              <a:rPr lang="en-GB" sz="700" dirty="0">
                <a:solidFill>
                  <a:schemeClr val="tx2"/>
                </a:solidFill>
              </a:rPr>
              <a:t>Paragraph regular</a:t>
            </a:r>
          </a:p>
        </p:txBody>
      </p:sp>
      <p:sp>
        <p:nvSpPr>
          <p:cNvPr id="19" name="TextBox 18">
            <a:extLst>
              <a:ext uri="{FF2B5EF4-FFF2-40B4-BE49-F238E27FC236}">
                <a16:creationId xmlns:a16="http://schemas.microsoft.com/office/drawing/2014/main" id="{DC8F1109-C79C-44A7-815E-D8B4B9AE6DF0}"/>
              </a:ext>
            </a:extLst>
          </p:cNvPr>
          <p:cNvSpPr txBox="1"/>
          <p:nvPr/>
        </p:nvSpPr>
        <p:spPr>
          <a:xfrm>
            <a:off x="3621773" y="3723675"/>
            <a:ext cx="617157" cy="107722"/>
          </a:xfrm>
          <a:prstGeom prst="rect">
            <a:avLst/>
          </a:prstGeom>
          <a:noFill/>
          <a:effectLst/>
        </p:spPr>
        <p:txBody>
          <a:bodyPr wrap="none" lIns="0" tIns="0" rIns="0" bIns="0" rtlCol="0" anchor="t">
            <a:spAutoFit/>
          </a:bodyPr>
          <a:lstStyle/>
          <a:p>
            <a:pPr algn="ctr"/>
            <a:r>
              <a:rPr lang="en-GB" sz="700">
                <a:solidFill>
                  <a:schemeClr val="tx2"/>
                </a:solidFill>
              </a:rPr>
              <a:t>Pharmaceutical</a:t>
            </a:r>
            <a:endParaRPr lang="en-GB" sz="700" dirty="0">
              <a:solidFill>
                <a:schemeClr val="tx2"/>
              </a:solidFill>
            </a:endParaRPr>
          </a:p>
        </p:txBody>
      </p:sp>
      <p:sp>
        <p:nvSpPr>
          <p:cNvPr id="20" name="TextBox 19">
            <a:extLst>
              <a:ext uri="{FF2B5EF4-FFF2-40B4-BE49-F238E27FC236}">
                <a16:creationId xmlns:a16="http://schemas.microsoft.com/office/drawing/2014/main" id="{FE0243D5-0158-4771-8D16-6111B249D208}"/>
              </a:ext>
            </a:extLst>
          </p:cNvPr>
          <p:cNvSpPr txBox="1"/>
          <p:nvPr/>
        </p:nvSpPr>
        <p:spPr>
          <a:xfrm>
            <a:off x="3728371" y="4547732"/>
            <a:ext cx="403957" cy="107722"/>
          </a:xfrm>
          <a:prstGeom prst="rect">
            <a:avLst/>
          </a:prstGeom>
          <a:noFill/>
          <a:effectLst/>
        </p:spPr>
        <p:txBody>
          <a:bodyPr wrap="none" lIns="0" tIns="0" rIns="0" bIns="0" rtlCol="0" anchor="t">
            <a:spAutoFit/>
          </a:bodyPr>
          <a:lstStyle/>
          <a:p>
            <a:pPr algn="ctr"/>
            <a:r>
              <a:rPr lang="en-GB" sz="700" dirty="0">
                <a:solidFill>
                  <a:schemeClr val="tx2"/>
                </a:solidFill>
              </a:rPr>
              <a:t>Pipe burst</a:t>
            </a:r>
          </a:p>
        </p:txBody>
      </p:sp>
      <p:sp>
        <p:nvSpPr>
          <p:cNvPr id="21" name="TextBox 20">
            <a:extLst>
              <a:ext uri="{FF2B5EF4-FFF2-40B4-BE49-F238E27FC236}">
                <a16:creationId xmlns:a16="http://schemas.microsoft.com/office/drawing/2014/main" id="{A0230277-B8E7-4621-BDB5-74129920AF95}"/>
              </a:ext>
            </a:extLst>
          </p:cNvPr>
          <p:cNvSpPr txBox="1"/>
          <p:nvPr/>
        </p:nvSpPr>
        <p:spPr>
          <a:xfrm>
            <a:off x="4986030" y="2077494"/>
            <a:ext cx="453650" cy="107722"/>
          </a:xfrm>
          <a:prstGeom prst="rect">
            <a:avLst/>
          </a:prstGeom>
          <a:noFill/>
          <a:effectLst/>
        </p:spPr>
        <p:txBody>
          <a:bodyPr wrap="none" lIns="0" tIns="0" rIns="0" bIns="0" rtlCol="0" anchor="t">
            <a:spAutoFit/>
          </a:bodyPr>
          <a:lstStyle/>
          <a:p>
            <a:pPr algn="ctr"/>
            <a:r>
              <a:rPr lang="en-GB" sz="700" dirty="0">
                <a:solidFill>
                  <a:schemeClr val="tx2"/>
                </a:solidFill>
              </a:rPr>
              <a:t>Pipe freeze</a:t>
            </a:r>
          </a:p>
        </p:txBody>
      </p:sp>
      <p:sp>
        <p:nvSpPr>
          <p:cNvPr id="22" name="TextBox 21">
            <a:extLst>
              <a:ext uri="{FF2B5EF4-FFF2-40B4-BE49-F238E27FC236}">
                <a16:creationId xmlns:a16="http://schemas.microsoft.com/office/drawing/2014/main" id="{211443C0-3D48-4F50-BBB0-C8D351EDA2C5}"/>
              </a:ext>
            </a:extLst>
          </p:cNvPr>
          <p:cNvSpPr txBox="1"/>
          <p:nvPr/>
        </p:nvSpPr>
        <p:spPr>
          <a:xfrm>
            <a:off x="5054159" y="2899619"/>
            <a:ext cx="317395" cy="107722"/>
          </a:xfrm>
          <a:prstGeom prst="rect">
            <a:avLst/>
          </a:prstGeom>
          <a:noFill/>
          <a:effectLst/>
        </p:spPr>
        <p:txBody>
          <a:bodyPr wrap="none" lIns="0" tIns="0" rIns="0" bIns="0" rtlCol="0" anchor="t">
            <a:spAutoFit/>
          </a:bodyPr>
          <a:lstStyle/>
          <a:p>
            <a:pPr algn="ctr"/>
            <a:r>
              <a:rPr lang="en-GB" sz="700" dirty="0">
                <a:solidFill>
                  <a:schemeClr val="tx2"/>
                </a:solidFill>
              </a:rPr>
              <a:t>Position</a:t>
            </a:r>
          </a:p>
        </p:txBody>
      </p:sp>
      <p:sp>
        <p:nvSpPr>
          <p:cNvPr id="23" name="TextBox 22">
            <a:extLst>
              <a:ext uri="{FF2B5EF4-FFF2-40B4-BE49-F238E27FC236}">
                <a16:creationId xmlns:a16="http://schemas.microsoft.com/office/drawing/2014/main" id="{7636EC71-97CD-4B34-808E-D366D7F99A4B}"/>
              </a:ext>
            </a:extLst>
          </p:cNvPr>
          <p:cNvSpPr txBox="1"/>
          <p:nvPr/>
        </p:nvSpPr>
        <p:spPr>
          <a:xfrm>
            <a:off x="5010878" y="3723675"/>
            <a:ext cx="403957" cy="107722"/>
          </a:xfrm>
          <a:prstGeom prst="rect">
            <a:avLst/>
          </a:prstGeom>
          <a:noFill/>
          <a:effectLst/>
        </p:spPr>
        <p:txBody>
          <a:bodyPr wrap="none" lIns="0" tIns="0" rIns="0" bIns="0" rtlCol="0" anchor="t">
            <a:spAutoFit/>
          </a:bodyPr>
          <a:lstStyle/>
          <a:p>
            <a:pPr algn="ctr"/>
            <a:r>
              <a:rPr lang="en-GB" sz="700" dirty="0">
                <a:solidFill>
                  <a:schemeClr val="tx2"/>
                </a:solidFill>
              </a:rPr>
              <a:t>Protection</a:t>
            </a:r>
          </a:p>
        </p:txBody>
      </p:sp>
      <p:sp>
        <p:nvSpPr>
          <p:cNvPr id="25" name="TextBox 24">
            <a:extLst>
              <a:ext uri="{FF2B5EF4-FFF2-40B4-BE49-F238E27FC236}">
                <a16:creationId xmlns:a16="http://schemas.microsoft.com/office/drawing/2014/main" id="{DCB105B3-B2CD-4D2C-8D53-F5AEC114EBBE}"/>
              </a:ext>
            </a:extLst>
          </p:cNvPr>
          <p:cNvSpPr txBox="1"/>
          <p:nvPr/>
        </p:nvSpPr>
        <p:spPr>
          <a:xfrm>
            <a:off x="6171728" y="2077494"/>
            <a:ext cx="173124" cy="107722"/>
          </a:xfrm>
          <a:prstGeom prst="rect">
            <a:avLst/>
          </a:prstGeom>
          <a:noFill/>
          <a:effectLst/>
        </p:spPr>
        <p:txBody>
          <a:bodyPr wrap="none" lIns="0" tIns="0" rIns="0" bIns="0" rtlCol="0" anchor="t">
            <a:spAutoFit/>
          </a:bodyPr>
          <a:lstStyle/>
          <a:p>
            <a:pPr algn="ctr"/>
            <a:r>
              <a:rPr lang="en-GB" sz="700" dirty="0">
                <a:solidFill>
                  <a:schemeClr val="tx2"/>
                </a:solidFill>
              </a:rPr>
              <a:t>Play</a:t>
            </a:r>
          </a:p>
        </p:txBody>
      </p:sp>
      <p:sp>
        <p:nvSpPr>
          <p:cNvPr id="26" name="TextBox 25">
            <a:extLst>
              <a:ext uri="{FF2B5EF4-FFF2-40B4-BE49-F238E27FC236}">
                <a16:creationId xmlns:a16="http://schemas.microsoft.com/office/drawing/2014/main" id="{B3DFE768-DD77-4428-9CFF-572B740F365C}"/>
              </a:ext>
            </a:extLst>
          </p:cNvPr>
          <p:cNvSpPr txBox="1"/>
          <p:nvPr/>
        </p:nvSpPr>
        <p:spPr>
          <a:xfrm>
            <a:off x="5981774" y="2899619"/>
            <a:ext cx="553037" cy="107722"/>
          </a:xfrm>
          <a:prstGeom prst="rect">
            <a:avLst/>
          </a:prstGeom>
          <a:noFill/>
          <a:effectLst/>
        </p:spPr>
        <p:txBody>
          <a:bodyPr wrap="none" lIns="0" tIns="0" rIns="0" bIns="0" rtlCol="0" anchor="t">
            <a:spAutoFit/>
          </a:bodyPr>
          <a:lstStyle/>
          <a:p>
            <a:pPr algn="ctr"/>
            <a:r>
              <a:rPr lang="en-GB" sz="700" dirty="0">
                <a:solidFill>
                  <a:schemeClr val="tx2"/>
                </a:solidFill>
              </a:rPr>
              <a:t>Power outage</a:t>
            </a:r>
          </a:p>
        </p:txBody>
      </p:sp>
      <p:sp>
        <p:nvSpPr>
          <p:cNvPr id="27" name="TextBox 26">
            <a:extLst>
              <a:ext uri="{FF2B5EF4-FFF2-40B4-BE49-F238E27FC236}">
                <a16:creationId xmlns:a16="http://schemas.microsoft.com/office/drawing/2014/main" id="{2D5A3290-4CD7-4B74-B53B-DAB2309E5014}"/>
              </a:ext>
            </a:extLst>
          </p:cNvPr>
          <p:cNvSpPr txBox="1"/>
          <p:nvPr/>
        </p:nvSpPr>
        <p:spPr>
          <a:xfrm>
            <a:off x="6065129" y="3723675"/>
            <a:ext cx="386324" cy="107722"/>
          </a:xfrm>
          <a:prstGeom prst="rect">
            <a:avLst/>
          </a:prstGeom>
          <a:noFill/>
          <a:effectLst/>
        </p:spPr>
        <p:txBody>
          <a:bodyPr wrap="none" lIns="0" tIns="0" rIns="0" bIns="0" rtlCol="0" anchor="t">
            <a:spAutoFit/>
          </a:bodyPr>
          <a:lstStyle/>
          <a:p>
            <a:pPr algn="ctr"/>
            <a:r>
              <a:rPr lang="en-GB" sz="700" dirty="0">
                <a:solidFill>
                  <a:schemeClr val="tx2"/>
                </a:solidFill>
              </a:rPr>
              <a:t>Pull down</a:t>
            </a:r>
          </a:p>
        </p:txBody>
      </p:sp>
      <p:sp>
        <p:nvSpPr>
          <p:cNvPr id="29" name="TextBox 28">
            <a:extLst>
              <a:ext uri="{FF2B5EF4-FFF2-40B4-BE49-F238E27FC236}">
                <a16:creationId xmlns:a16="http://schemas.microsoft.com/office/drawing/2014/main" id="{FD369C38-208F-4D58-9639-690C54E05CD7}"/>
              </a:ext>
            </a:extLst>
          </p:cNvPr>
          <p:cNvSpPr txBox="1"/>
          <p:nvPr/>
        </p:nvSpPr>
        <p:spPr>
          <a:xfrm>
            <a:off x="7139416" y="2077494"/>
            <a:ext cx="328616" cy="107722"/>
          </a:xfrm>
          <a:prstGeom prst="rect">
            <a:avLst/>
          </a:prstGeom>
          <a:noFill/>
          <a:effectLst/>
        </p:spPr>
        <p:txBody>
          <a:bodyPr wrap="none" lIns="0" tIns="0" rIns="0" bIns="0" rtlCol="0" anchor="t">
            <a:spAutoFit/>
          </a:bodyPr>
          <a:lstStyle/>
          <a:p>
            <a:pPr algn="ctr"/>
            <a:r>
              <a:rPr lang="en-GB" sz="700" dirty="0">
                <a:solidFill>
                  <a:schemeClr val="tx2"/>
                </a:solidFill>
              </a:rPr>
              <a:t>Podcast</a:t>
            </a:r>
          </a:p>
        </p:txBody>
      </p:sp>
      <p:sp>
        <p:nvSpPr>
          <p:cNvPr id="30" name="TextBox 29">
            <a:extLst>
              <a:ext uri="{FF2B5EF4-FFF2-40B4-BE49-F238E27FC236}">
                <a16:creationId xmlns:a16="http://schemas.microsoft.com/office/drawing/2014/main" id="{CDEFDE2D-7192-4925-8430-FDD466438096}"/>
              </a:ext>
            </a:extLst>
          </p:cNvPr>
          <p:cNvSpPr txBox="1"/>
          <p:nvPr/>
        </p:nvSpPr>
        <p:spPr>
          <a:xfrm>
            <a:off x="7052053" y="2899619"/>
            <a:ext cx="503344" cy="107722"/>
          </a:xfrm>
          <a:prstGeom prst="rect">
            <a:avLst/>
          </a:prstGeom>
          <a:noFill/>
          <a:effectLst/>
        </p:spPr>
        <p:txBody>
          <a:bodyPr wrap="none" lIns="0" tIns="0" rIns="0" bIns="0" rtlCol="0" anchor="t">
            <a:spAutoFit/>
          </a:bodyPr>
          <a:lstStyle/>
          <a:p>
            <a:pPr algn="ctr"/>
            <a:r>
              <a:rPr lang="en-GB" sz="700" dirty="0">
                <a:solidFill>
                  <a:schemeClr val="tx2"/>
                </a:solidFill>
              </a:rPr>
              <a:t>Presentation</a:t>
            </a:r>
          </a:p>
        </p:txBody>
      </p:sp>
      <p:sp>
        <p:nvSpPr>
          <p:cNvPr id="31" name="TextBox 30">
            <a:extLst>
              <a:ext uri="{FF2B5EF4-FFF2-40B4-BE49-F238E27FC236}">
                <a16:creationId xmlns:a16="http://schemas.microsoft.com/office/drawing/2014/main" id="{D71F0E3A-1518-403D-87A7-64C22495F7AF}"/>
              </a:ext>
            </a:extLst>
          </p:cNvPr>
          <p:cNvSpPr txBox="1"/>
          <p:nvPr/>
        </p:nvSpPr>
        <p:spPr>
          <a:xfrm>
            <a:off x="7096555" y="3723675"/>
            <a:ext cx="414338" cy="107722"/>
          </a:xfrm>
          <a:prstGeom prst="rect">
            <a:avLst/>
          </a:prstGeom>
          <a:noFill/>
          <a:effectLst/>
        </p:spPr>
        <p:txBody>
          <a:bodyPr wrap="square" lIns="0" tIns="0" rIns="0" bIns="0" rtlCol="0" anchor="t">
            <a:spAutoFit/>
          </a:bodyPr>
          <a:lstStyle/>
          <a:p>
            <a:pPr algn="ctr"/>
            <a:r>
              <a:rPr lang="en-GB" sz="700" dirty="0">
                <a:solidFill>
                  <a:schemeClr val="tx2"/>
                </a:solidFill>
              </a:rPr>
              <a:t>QR code</a:t>
            </a:r>
          </a:p>
        </p:txBody>
      </p:sp>
      <p:sp>
        <p:nvSpPr>
          <p:cNvPr id="33" name="TextBox 32">
            <a:extLst>
              <a:ext uri="{FF2B5EF4-FFF2-40B4-BE49-F238E27FC236}">
                <a16:creationId xmlns:a16="http://schemas.microsoft.com/office/drawing/2014/main" id="{C2B3A05E-2228-4A95-A45F-D7B2D4B62A71}"/>
              </a:ext>
            </a:extLst>
          </p:cNvPr>
          <p:cNvSpPr txBox="1"/>
          <p:nvPr/>
        </p:nvSpPr>
        <p:spPr>
          <a:xfrm>
            <a:off x="8184851" y="2077494"/>
            <a:ext cx="328616" cy="107722"/>
          </a:xfrm>
          <a:prstGeom prst="rect">
            <a:avLst/>
          </a:prstGeom>
          <a:noFill/>
          <a:effectLst/>
        </p:spPr>
        <p:txBody>
          <a:bodyPr wrap="none" lIns="0" tIns="0" rIns="0" bIns="0" rtlCol="0" anchor="t">
            <a:spAutoFit/>
          </a:bodyPr>
          <a:lstStyle/>
          <a:p>
            <a:pPr algn="ctr"/>
            <a:r>
              <a:rPr lang="en-GB" sz="700" dirty="0">
                <a:solidFill>
                  <a:schemeClr val="tx2"/>
                </a:solidFill>
              </a:rPr>
              <a:t>Portfolio</a:t>
            </a:r>
          </a:p>
        </p:txBody>
      </p:sp>
      <p:sp>
        <p:nvSpPr>
          <p:cNvPr id="34" name="TextBox 33">
            <a:extLst>
              <a:ext uri="{FF2B5EF4-FFF2-40B4-BE49-F238E27FC236}">
                <a16:creationId xmlns:a16="http://schemas.microsoft.com/office/drawing/2014/main" id="{10567E8F-22C9-42B6-9539-E2CE7D76E2F9}"/>
              </a:ext>
            </a:extLst>
          </p:cNvPr>
          <p:cNvSpPr txBox="1"/>
          <p:nvPr/>
        </p:nvSpPr>
        <p:spPr>
          <a:xfrm>
            <a:off x="8256987" y="2899619"/>
            <a:ext cx="184345" cy="107722"/>
          </a:xfrm>
          <a:prstGeom prst="rect">
            <a:avLst/>
          </a:prstGeom>
          <a:noFill/>
          <a:effectLst/>
        </p:spPr>
        <p:txBody>
          <a:bodyPr wrap="none" lIns="0" tIns="0" rIns="0" bIns="0" rtlCol="0" anchor="t">
            <a:spAutoFit/>
          </a:bodyPr>
          <a:lstStyle/>
          <a:p>
            <a:pPr algn="ctr"/>
            <a:r>
              <a:rPr lang="en-GB" sz="700" dirty="0">
                <a:solidFill>
                  <a:schemeClr val="tx2"/>
                </a:solidFill>
              </a:rPr>
              <a:t>Print</a:t>
            </a:r>
          </a:p>
        </p:txBody>
      </p:sp>
      <p:sp>
        <p:nvSpPr>
          <p:cNvPr id="96" name="Freeform 147">
            <a:extLst>
              <a:ext uri="{FF2B5EF4-FFF2-40B4-BE49-F238E27FC236}">
                <a16:creationId xmlns:a16="http://schemas.microsoft.com/office/drawing/2014/main" id="{B841CB62-E54A-47B0-A7CC-83FA72D6A327}"/>
              </a:ext>
            </a:extLst>
          </p:cNvPr>
          <p:cNvSpPr>
            <a:spLocks noEditPoints="1"/>
          </p:cNvSpPr>
          <p:nvPr/>
        </p:nvSpPr>
        <p:spPr bwMode="auto">
          <a:xfrm>
            <a:off x="7123042" y="3246650"/>
            <a:ext cx="359776" cy="361160"/>
          </a:xfrm>
          <a:custGeom>
            <a:avLst/>
            <a:gdLst>
              <a:gd name="T0" fmla="*/ 32 w 260"/>
              <a:gd name="T1" fmla="*/ 65 h 261"/>
              <a:gd name="T2" fmla="*/ 65 w 260"/>
              <a:gd name="T3" fmla="*/ 33 h 261"/>
              <a:gd name="T4" fmla="*/ 97 w 260"/>
              <a:gd name="T5" fmla="*/ 114 h 261"/>
              <a:gd name="T6" fmla="*/ 0 w 260"/>
              <a:gd name="T7" fmla="*/ 147 h 261"/>
              <a:gd name="T8" fmla="*/ 97 w 260"/>
              <a:gd name="T9" fmla="*/ 114 h 261"/>
              <a:gd name="T10" fmla="*/ 114 w 260"/>
              <a:gd name="T11" fmla="*/ 0 h 261"/>
              <a:gd name="T12" fmla="*/ 146 w 260"/>
              <a:gd name="T13" fmla="*/ 49 h 261"/>
              <a:gd name="T14" fmla="*/ 146 w 260"/>
              <a:gd name="T15" fmla="*/ 65 h 261"/>
              <a:gd name="T16" fmla="*/ 114 w 260"/>
              <a:gd name="T17" fmla="*/ 98 h 261"/>
              <a:gd name="T18" fmla="*/ 146 w 260"/>
              <a:gd name="T19" fmla="*/ 65 h 261"/>
              <a:gd name="T20" fmla="*/ 162 w 260"/>
              <a:gd name="T21" fmla="*/ 114 h 261"/>
              <a:gd name="T22" fmla="*/ 227 w 260"/>
              <a:gd name="T23" fmla="*/ 147 h 261"/>
              <a:gd name="T24" fmla="*/ 146 w 260"/>
              <a:gd name="T25" fmla="*/ 114 h 261"/>
              <a:gd name="T26" fmla="*/ 114 w 260"/>
              <a:gd name="T27" fmla="*/ 147 h 261"/>
              <a:gd name="T28" fmla="*/ 146 w 260"/>
              <a:gd name="T29" fmla="*/ 114 h 261"/>
              <a:gd name="T30" fmla="*/ 114 w 260"/>
              <a:gd name="T31" fmla="*/ 196 h 261"/>
              <a:gd name="T32" fmla="*/ 146 w 260"/>
              <a:gd name="T33" fmla="*/ 228 h 261"/>
              <a:gd name="T34" fmla="*/ 260 w 260"/>
              <a:gd name="T35" fmla="*/ 147 h 261"/>
              <a:gd name="T36" fmla="*/ 227 w 260"/>
              <a:gd name="T37" fmla="*/ 196 h 261"/>
              <a:gd name="T38" fmla="*/ 260 w 260"/>
              <a:gd name="T39" fmla="*/ 147 h 261"/>
              <a:gd name="T40" fmla="*/ 227 w 260"/>
              <a:gd name="T41" fmla="*/ 228 h 261"/>
              <a:gd name="T42" fmla="*/ 260 w 260"/>
              <a:gd name="T43" fmla="*/ 261 h 261"/>
              <a:gd name="T44" fmla="*/ 227 w 260"/>
              <a:gd name="T45" fmla="*/ 196 h 261"/>
              <a:gd name="T46" fmla="*/ 195 w 260"/>
              <a:gd name="T47" fmla="*/ 228 h 261"/>
              <a:gd name="T48" fmla="*/ 227 w 260"/>
              <a:gd name="T49" fmla="*/ 196 h 261"/>
              <a:gd name="T50" fmla="*/ 162 w 260"/>
              <a:gd name="T51" fmla="*/ 163 h 261"/>
              <a:gd name="T52" fmla="*/ 195 w 260"/>
              <a:gd name="T53" fmla="*/ 196 h 261"/>
              <a:gd name="T54" fmla="*/ 195 w 260"/>
              <a:gd name="T55" fmla="*/ 228 h 261"/>
              <a:gd name="T56" fmla="*/ 114 w 260"/>
              <a:gd name="T57" fmla="*/ 261 h 261"/>
              <a:gd name="T58" fmla="*/ 195 w 260"/>
              <a:gd name="T59" fmla="*/ 228 h 261"/>
              <a:gd name="T60" fmla="*/ 0 w 260"/>
              <a:gd name="T61" fmla="*/ 0 h 261"/>
              <a:gd name="T62" fmla="*/ 97 w 260"/>
              <a:gd name="T63" fmla="*/ 98 h 261"/>
              <a:gd name="T64" fmla="*/ 81 w 260"/>
              <a:gd name="T65" fmla="*/ 82 h 261"/>
              <a:gd name="T66" fmla="*/ 16 w 260"/>
              <a:gd name="T67" fmla="*/ 16 h 261"/>
              <a:gd name="T68" fmla="*/ 81 w 260"/>
              <a:gd name="T69" fmla="*/ 82 h 261"/>
              <a:gd name="T70" fmla="*/ 195 w 260"/>
              <a:gd name="T71" fmla="*/ 33 h 261"/>
              <a:gd name="T72" fmla="*/ 227 w 260"/>
              <a:gd name="T73" fmla="*/ 65 h 261"/>
              <a:gd name="T74" fmla="*/ 260 w 260"/>
              <a:gd name="T75" fmla="*/ 0 h 261"/>
              <a:gd name="T76" fmla="*/ 162 w 260"/>
              <a:gd name="T77" fmla="*/ 98 h 261"/>
              <a:gd name="T78" fmla="*/ 260 w 260"/>
              <a:gd name="T79" fmla="*/ 0 h 261"/>
              <a:gd name="T80" fmla="*/ 179 w 260"/>
              <a:gd name="T81" fmla="*/ 82 h 261"/>
              <a:gd name="T82" fmla="*/ 244 w 260"/>
              <a:gd name="T83" fmla="*/ 16 h 261"/>
              <a:gd name="T84" fmla="*/ 65 w 260"/>
              <a:gd name="T85" fmla="*/ 196 h 261"/>
              <a:gd name="T86" fmla="*/ 32 w 260"/>
              <a:gd name="T87" fmla="*/ 228 h 261"/>
              <a:gd name="T88" fmla="*/ 65 w 260"/>
              <a:gd name="T89" fmla="*/ 196 h 261"/>
              <a:gd name="T90" fmla="*/ 0 w 260"/>
              <a:gd name="T91" fmla="*/ 163 h 261"/>
              <a:gd name="T92" fmla="*/ 97 w 260"/>
              <a:gd name="T93" fmla="*/ 261 h 261"/>
              <a:gd name="T94" fmla="*/ 81 w 260"/>
              <a:gd name="T95" fmla="*/ 245 h 261"/>
              <a:gd name="T96" fmla="*/ 16 w 260"/>
              <a:gd name="T97" fmla="*/ 179 h 261"/>
              <a:gd name="T98" fmla="*/ 81 w 260"/>
              <a:gd name="T99" fmla="*/ 24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61">
                <a:moveTo>
                  <a:pt x="65" y="65"/>
                </a:moveTo>
                <a:lnTo>
                  <a:pt x="32" y="65"/>
                </a:lnTo>
                <a:lnTo>
                  <a:pt x="32" y="33"/>
                </a:lnTo>
                <a:lnTo>
                  <a:pt x="65" y="33"/>
                </a:lnTo>
                <a:lnTo>
                  <a:pt x="65" y="65"/>
                </a:lnTo>
                <a:close/>
                <a:moveTo>
                  <a:pt x="97" y="114"/>
                </a:moveTo>
                <a:lnTo>
                  <a:pt x="0" y="114"/>
                </a:lnTo>
                <a:lnTo>
                  <a:pt x="0" y="147"/>
                </a:lnTo>
                <a:lnTo>
                  <a:pt x="97" y="147"/>
                </a:lnTo>
                <a:lnTo>
                  <a:pt x="97" y="114"/>
                </a:lnTo>
                <a:close/>
                <a:moveTo>
                  <a:pt x="146" y="0"/>
                </a:moveTo>
                <a:lnTo>
                  <a:pt x="114" y="0"/>
                </a:lnTo>
                <a:lnTo>
                  <a:pt x="114" y="49"/>
                </a:lnTo>
                <a:lnTo>
                  <a:pt x="146" y="49"/>
                </a:lnTo>
                <a:lnTo>
                  <a:pt x="146" y="0"/>
                </a:lnTo>
                <a:close/>
                <a:moveTo>
                  <a:pt x="146" y="65"/>
                </a:moveTo>
                <a:lnTo>
                  <a:pt x="114" y="65"/>
                </a:lnTo>
                <a:lnTo>
                  <a:pt x="114" y="98"/>
                </a:lnTo>
                <a:lnTo>
                  <a:pt x="146" y="98"/>
                </a:lnTo>
                <a:lnTo>
                  <a:pt x="146" y="65"/>
                </a:lnTo>
                <a:close/>
                <a:moveTo>
                  <a:pt x="227" y="114"/>
                </a:moveTo>
                <a:lnTo>
                  <a:pt x="162" y="114"/>
                </a:lnTo>
                <a:lnTo>
                  <a:pt x="162" y="147"/>
                </a:lnTo>
                <a:lnTo>
                  <a:pt x="227" y="147"/>
                </a:lnTo>
                <a:lnTo>
                  <a:pt x="227" y="114"/>
                </a:lnTo>
                <a:close/>
                <a:moveTo>
                  <a:pt x="146" y="114"/>
                </a:moveTo>
                <a:lnTo>
                  <a:pt x="114" y="114"/>
                </a:lnTo>
                <a:lnTo>
                  <a:pt x="114" y="147"/>
                </a:lnTo>
                <a:lnTo>
                  <a:pt x="146" y="147"/>
                </a:lnTo>
                <a:lnTo>
                  <a:pt x="146" y="114"/>
                </a:lnTo>
                <a:close/>
                <a:moveTo>
                  <a:pt x="146" y="196"/>
                </a:moveTo>
                <a:lnTo>
                  <a:pt x="114" y="196"/>
                </a:lnTo>
                <a:lnTo>
                  <a:pt x="114" y="228"/>
                </a:lnTo>
                <a:lnTo>
                  <a:pt x="146" y="228"/>
                </a:lnTo>
                <a:lnTo>
                  <a:pt x="146" y="196"/>
                </a:lnTo>
                <a:close/>
                <a:moveTo>
                  <a:pt x="260" y="147"/>
                </a:moveTo>
                <a:lnTo>
                  <a:pt x="227" y="147"/>
                </a:lnTo>
                <a:lnTo>
                  <a:pt x="227" y="196"/>
                </a:lnTo>
                <a:lnTo>
                  <a:pt x="260" y="196"/>
                </a:lnTo>
                <a:lnTo>
                  <a:pt x="260" y="147"/>
                </a:lnTo>
                <a:close/>
                <a:moveTo>
                  <a:pt x="260" y="228"/>
                </a:moveTo>
                <a:lnTo>
                  <a:pt x="227" y="228"/>
                </a:lnTo>
                <a:lnTo>
                  <a:pt x="227" y="261"/>
                </a:lnTo>
                <a:lnTo>
                  <a:pt x="260" y="261"/>
                </a:lnTo>
                <a:lnTo>
                  <a:pt x="260" y="228"/>
                </a:lnTo>
                <a:close/>
                <a:moveTo>
                  <a:pt x="227" y="196"/>
                </a:moveTo>
                <a:lnTo>
                  <a:pt x="195" y="196"/>
                </a:lnTo>
                <a:lnTo>
                  <a:pt x="195" y="228"/>
                </a:lnTo>
                <a:lnTo>
                  <a:pt x="227" y="228"/>
                </a:lnTo>
                <a:lnTo>
                  <a:pt x="227" y="196"/>
                </a:lnTo>
                <a:close/>
                <a:moveTo>
                  <a:pt x="195" y="163"/>
                </a:moveTo>
                <a:lnTo>
                  <a:pt x="162" y="163"/>
                </a:lnTo>
                <a:lnTo>
                  <a:pt x="162" y="196"/>
                </a:lnTo>
                <a:lnTo>
                  <a:pt x="195" y="196"/>
                </a:lnTo>
                <a:lnTo>
                  <a:pt x="195" y="163"/>
                </a:lnTo>
                <a:close/>
                <a:moveTo>
                  <a:pt x="195" y="228"/>
                </a:moveTo>
                <a:lnTo>
                  <a:pt x="114" y="228"/>
                </a:lnTo>
                <a:lnTo>
                  <a:pt x="114" y="261"/>
                </a:lnTo>
                <a:lnTo>
                  <a:pt x="195" y="261"/>
                </a:lnTo>
                <a:lnTo>
                  <a:pt x="195" y="228"/>
                </a:lnTo>
                <a:close/>
                <a:moveTo>
                  <a:pt x="97" y="0"/>
                </a:moveTo>
                <a:lnTo>
                  <a:pt x="0" y="0"/>
                </a:lnTo>
                <a:lnTo>
                  <a:pt x="0" y="98"/>
                </a:lnTo>
                <a:lnTo>
                  <a:pt x="97" y="98"/>
                </a:lnTo>
                <a:lnTo>
                  <a:pt x="97" y="0"/>
                </a:lnTo>
                <a:close/>
                <a:moveTo>
                  <a:pt x="81" y="82"/>
                </a:moveTo>
                <a:lnTo>
                  <a:pt x="16" y="82"/>
                </a:lnTo>
                <a:lnTo>
                  <a:pt x="16" y="16"/>
                </a:lnTo>
                <a:lnTo>
                  <a:pt x="81" y="16"/>
                </a:lnTo>
                <a:lnTo>
                  <a:pt x="81" y="82"/>
                </a:lnTo>
                <a:close/>
                <a:moveTo>
                  <a:pt x="227" y="33"/>
                </a:moveTo>
                <a:lnTo>
                  <a:pt x="195" y="33"/>
                </a:lnTo>
                <a:lnTo>
                  <a:pt x="195" y="65"/>
                </a:lnTo>
                <a:lnTo>
                  <a:pt x="227" y="65"/>
                </a:lnTo>
                <a:lnTo>
                  <a:pt x="227" y="33"/>
                </a:lnTo>
                <a:close/>
                <a:moveTo>
                  <a:pt x="260" y="0"/>
                </a:moveTo>
                <a:lnTo>
                  <a:pt x="162" y="0"/>
                </a:lnTo>
                <a:lnTo>
                  <a:pt x="162" y="98"/>
                </a:lnTo>
                <a:lnTo>
                  <a:pt x="260" y="98"/>
                </a:lnTo>
                <a:lnTo>
                  <a:pt x="260" y="0"/>
                </a:lnTo>
                <a:close/>
                <a:moveTo>
                  <a:pt x="244" y="82"/>
                </a:moveTo>
                <a:lnTo>
                  <a:pt x="179" y="82"/>
                </a:lnTo>
                <a:lnTo>
                  <a:pt x="179" y="16"/>
                </a:lnTo>
                <a:lnTo>
                  <a:pt x="244" y="16"/>
                </a:lnTo>
                <a:lnTo>
                  <a:pt x="244" y="82"/>
                </a:lnTo>
                <a:close/>
                <a:moveTo>
                  <a:pt x="65" y="196"/>
                </a:moveTo>
                <a:lnTo>
                  <a:pt x="32" y="196"/>
                </a:lnTo>
                <a:lnTo>
                  <a:pt x="32" y="228"/>
                </a:lnTo>
                <a:lnTo>
                  <a:pt x="65" y="228"/>
                </a:lnTo>
                <a:lnTo>
                  <a:pt x="65" y="196"/>
                </a:lnTo>
                <a:close/>
                <a:moveTo>
                  <a:pt x="97" y="163"/>
                </a:moveTo>
                <a:lnTo>
                  <a:pt x="0" y="163"/>
                </a:lnTo>
                <a:lnTo>
                  <a:pt x="0" y="261"/>
                </a:lnTo>
                <a:lnTo>
                  <a:pt x="97" y="261"/>
                </a:lnTo>
                <a:lnTo>
                  <a:pt x="97" y="163"/>
                </a:lnTo>
                <a:close/>
                <a:moveTo>
                  <a:pt x="81" y="245"/>
                </a:moveTo>
                <a:lnTo>
                  <a:pt x="16" y="245"/>
                </a:lnTo>
                <a:lnTo>
                  <a:pt x="16" y="179"/>
                </a:lnTo>
                <a:lnTo>
                  <a:pt x="81" y="179"/>
                </a:lnTo>
                <a:lnTo>
                  <a:pt x="81" y="24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2" name="TextBox 191">
            <a:extLst>
              <a:ext uri="{FF2B5EF4-FFF2-40B4-BE49-F238E27FC236}">
                <a16:creationId xmlns:a16="http://schemas.microsoft.com/office/drawing/2014/main" id="{92D115D0-1F5C-49FD-9464-6A7AC5E060BB}"/>
              </a:ext>
            </a:extLst>
          </p:cNvPr>
          <p:cNvSpPr txBox="1"/>
          <p:nvPr/>
        </p:nvSpPr>
        <p:spPr>
          <a:xfrm>
            <a:off x="8169620" y="3723675"/>
            <a:ext cx="359073" cy="107722"/>
          </a:xfrm>
          <a:prstGeom prst="rect">
            <a:avLst/>
          </a:prstGeom>
          <a:noFill/>
          <a:effectLst/>
        </p:spPr>
        <p:txBody>
          <a:bodyPr wrap="none" lIns="0" tIns="0" rIns="0" bIns="0" rtlCol="0" anchor="t">
            <a:spAutoFit/>
          </a:bodyPr>
          <a:lstStyle/>
          <a:p>
            <a:pPr algn="ctr"/>
            <a:r>
              <a:rPr lang="en-GB" sz="700" dirty="0">
                <a:solidFill>
                  <a:schemeClr val="tx2"/>
                </a:solidFill>
              </a:rPr>
              <a:t>Question</a:t>
            </a:r>
          </a:p>
        </p:txBody>
      </p:sp>
      <p:sp>
        <p:nvSpPr>
          <p:cNvPr id="210" name="TextBox 209">
            <a:extLst>
              <a:ext uri="{FF2B5EF4-FFF2-40B4-BE49-F238E27FC236}">
                <a16:creationId xmlns:a16="http://schemas.microsoft.com/office/drawing/2014/main" id="{218BEA75-6575-464C-BCA1-0C15C957160F}"/>
              </a:ext>
            </a:extLst>
          </p:cNvPr>
          <p:cNvSpPr txBox="1"/>
          <p:nvPr/>
        </p:nvSpPr>
        <p:spPr>
          <a:xfrm>
            <a:off x="5033320" y="4547732"/>
            <a:ext cx="359073" cy="215444"/>
          </a:xfrm>
          <a:prstGeom prst="rect">
            <a:avLst/>
          </a:prstGeom>
          <a:noFill/>
          <a:effectLst/>
        </p:spPr>
        <p:txBody>
          <a:bodyPr wrap="none" lIns="0" tIns="0" rIns="0" bIns="0" rtlCol="0" anchor="t">
            <a:spAutoFit/>
          </a:bodyPr>
          <a:lstStyle/>
          <a:p>
            <a:pPr algn="ctr"/>
            <a:r>
              <a:rPr lang="en-GB" sz="700">
                <a:solidFill>
                  <a:schemeClr val="tx2"/>
                </a:solidFill>
              </a:rPr>
              <a:t>Question</a:t>
            </a:r>
            <a:br>
              <a:rPr lang="en-GB" sz="700">
                <a:solidFill>
                  <a:schemeClr val="tx2"/>
                </a:solidFill>
              </a:rPr>
            </a:br>
            <a:r>
              <a:rPr lang="en-GB" sz="700">
                <a:solidFill>
                  <a:schemeClr val="tx2"/>
                </a:solidFill>
              </a:rPr>
              <a:t>answer</a:t>
            </a:r>
            <a:endParaRPr lang="en-GB" sz="700" dirty="0">
              <a:solidFill>
                <a:schemeClr val="tx2"/>
              </a:solidFill>
            </a:endParaRPr>
          </a:p>
        </p:txBody>
      </p:sp>
      <p:sp>
        <p:nvSpPr>
          <p:cNvPr id="211" name="TextBox 210">
            <a:extLst>
              <a:ext uri="{FF2B5EF4-FFF2-40B4-BE49-F238E27FC236}">
                <a16:creationId xmlns:a16="http://schemas.microsoft.com/office/drawing/2014/main" id="{0E788486-E6E7-4AAE-A70B-A101A8FFCC54}"/>
              </a:ext>
            </a:extLst>
          </p:cNvPr>
          <p:cNvSpPr txBox="1"/>
          <p:nvPr/>
        </p:nvSpPr>
        <p:spPr>
          <a:xfrm>
            <a:off x="6150889" y="4547732"/>
            <a:ext cx="214802" cy="107722"/>
          </a:xfrm>
          <a:prstGeom prst="rect">
            <a:avLst/>
          </a:prstGeom>
          <a:noFill/>
          <a:effectLst/>
        </p:spPr>
        <p:txBody>
          <a:bodyPr wrap="none" lIns="0" tIns="0" rIns="0" bIns="0" rtlCol="0" anchor="t">
            <a:spAutoFit/>
          </a:bodyPr>
          <a:lstStyle/>
          <a:p>
            <a:pPr algn="ctr"/>
            <a:r>
              <a:rPr lang="en-GB" sz="700" dirty="0">
                <a:solidFill>
                  <a:schemeClr val="tx2"/>
                </a:solidFill>
              </a:rPr>
              <a:t>Quiet</a:t>
            </a:r>
          </a:p>
        </p:txBody>
      </p:sp>
      <p:sp>
        <p:nvSpPr>
          <p:cNvPr id="212" name="TextBox 211">
            <a:extLst>
              <a:ext uri="{FF2B5EF4-FFF2-40B4-BE49-F238E27FC236}">
                <a16:creationId xmlns:a16="http://schemas.microsoft.com/office/drawing/2014/main" id="{7CC3EC00-8C9E-4D79-8398-1BA1BB284BC2}"/>
              </a:ext>
            </a:extLst>
          </p:cNvPr>
          <p:cNvSpPr txBox="1"/>
          <p:nvPr/>
        </p:nvSpPr>
        <p:spPr>
          <a:xfrm>
            <a:off x="7181896" y="4547732"/>
            <a:ext cx="243656" cy="107722"/>
          </a:xfrm>
          <a:prstGeom prst="rect">
            <a:avLst/>
          </a:prstGeom>
          <a:noFill/>
          <a:effectLst/>
        </p:spPr>
        <p:txBody>
          <a:bodyPr wrap="none" lIns="0" tIns="0" rIns="0" bIns="0" rtlCol="0" anchor="t">
            <a:spAutoFit/>
          </a:bodyPr>
          <a:lstStyle/>
          <a:p>
            <a:pPr algn="ctr"/>
            <a:r>
              <a:rPr lang="en-GB" sz="700" dirty="0">
                <a:solidFill>
                  <a:schemeClr val="tx2"/>
                </a:solidFill>
              </a:rPr>
              <a:t>Radar</a:t>
            </a:r>
          </a:p>
        </p:txBody>
      </p:sp>
      <p:sp>
        <p:nvSpPr>
          <p:cNvPr id="213" name="TextBox 212">
            <a:extLst>
              <a:ext uri="{FF2B5EF4-FFF2-40B4-BE49-F238E27FC236}">
                <a16:creationId xmlns:a16="http://schemas.microsoft.com/office/drawing/2014/main" id="{3E9C4E4B-1D31-438C-BB14-0E44C4A166F9}"/>
              </a:ext>
            </a:extLst>
          </p:cNvPr>
          <p:cNvSpPr txBox="1"/>
          <p:nvPr/>
        </p:nvSpPr>
        <p:spPr>
          <a:xfrm>
            <a:off x="7963634" y="4547732"/>
            <a:ext cx="771045" cy="107722"/>
          </a:xfrm>
          <a:prstGeom prst="rect">
            <a:avLst/>
          </a:prstGeom>
          <a:noFill/>
          <a:effectLst/>
        </p:spPr>
        <p:txBody>
          <a:bodyPr wrap="square" lIns="0" tIns="0" rIns="0" bIns="0" rtlCol="0" anchor="t">
            <a:spAutoFit/>
          </a:bodyPr>
          <a:lstStyle/>
          <a:p>
            <a:pPr algn="ctr"/>
            <a:r>
              <a:rPr lang="en-GB" sz="700" dirty="0">
                <a:solidFill>
                  <a:schemeClr val="tx2"/>
                </a:solidFill>
              </a:rPr>
              <a:t>Railway</a:t>
            </a:r>
          </a:p>
        </p:txBody>
      </p:sp>
      <p:sp>
        <p:nvSpPr>
          <p:cNvPr id="232" name="Freeform 107">
            <a:extLst>
              <a:ext uri="{FF2B5EF4-FFF2-40B4-BE49-F238E27FC236}">
                <a16:creationId xmlns:a16="http://schemas.microsoft.com/office/drawing/2014/main" id="{DE6FBA14-848E-4253-8CC4-25436CB790AC}"/>
              </a:ext>
            </a:extLst>
          </p:cNvPr>
          <p:cNvSpPr>
            <a:spLocks noEditPoints="1"/>
          </p:cNvSpPr>
          <p:nvPr/>
        </p:nvSpPr>
        <p:spPr bwMode="auto">
          <a:xfrm>
            <a:off x="8180088" y="4050221"/>
            <a:ext cx="338138" cy="414338"/>
          </a:xfrm>
          <a:custGeom>
            <a:avLst/>
            <a:gdLst>
              <a:gd name="T0" fmla="*/ 0 w 104"/>
              <a:gd name="T1" fmla="*/ 112 h 128"/>
              <a:gd name="T2" fmla="*/ 0 w 104"/>
              <a:gd name="T3" fmla="*/ 0 h 128"/>
              <a:gd name="T4" fmla="*/ 104 w 104"/>
              <a:gd name="T5" fmla="*/ 0 h 128"/>
              <a:gd name="T6" fmla="*/ 104 w 104"/>
              <a:gd name="T7" fmla="*/ 112 h 128"/>
              <a:gd name="T8" fmla="*/ 0 w 104"/>
              <a:gd name="T9" fmla="*/ 112 h 128"/>
              <a:gd name="T10" fmla="*/ 8 w 104"/>
              <a:gd name="T11" fmla="*/ 8 h 128"/>
              <a:gd name="T12" fmla="*/ 8 w 104"/>
              <a:gd name="T13" fmla="*/ 104 h 128"/>
              <a:gd name="T14" fmla="*/ 96 w 104"/>
              <a:gd name="T15" fmla="*/ 104 h 128"/>
              <a:gd name="T16" fmla="*/ 96 w 104"/>
              <a:gd name="T17" fmla="*/ 8 h 128"/>
              <a:gd name="T18" fmla="*/ 8 w 104"/>
              <a:gd name="T19" fmla="*/ 8 h 128"/>
              <a:gd name="T20" fmla="*/ 48 w 104"/>
              <a:gd name="T21" fmla="*/ 20 h 128"/>
              <a:gd name="T22" fmla="*/ 16 w 104"/>
              <a:gd name="T23" fmla="*/ 20 h 128"/>
              <a:gd name="T24" fmla="*/ 16 w 104"/>
              <a:gd name="T25" fmla="*/ 52 h 128"/>
              <a:gd name="T26" fmla="*/ 48 w 104"/>
              <a:gd name="T27" fmla="*/ 52 h 128"/>
              <a:gd name="T28" fmla="*/ 48 w 104"/>
              <a:gd name="T29" fmla="*/ 20 h 128"/>
              <a:gd name="T30" fmla="*/ 88 w 104"/>
              <a:gd name="T31" fmla="*/ 20 h 128"/>
              <a:gd name="T32" fmla="*/ 56 w 104"/>
              <a:gd name="T33" fmla="*/ 20 h 128"/>
              <a:gd name="T34" fmla="*/ 56 w 104"/>
              <a:gd name="T35" fmla="*/ 52 h 128"/>
              <a:gd name="T36" fmla="*/ 88 w 104"/>
              <a:gd name="T37" fmla="*/ 52 h 128"/>
              <a:gd name="T38" fmla="*/ 88 w 104"/>
              <a:gd name="T39" fmla="*/ 20 h 128"/>
              <a:gd name="T40" fmla="*/ 26 w 104"/>
              <a:gd name="T41" fmla="*/ 76 h 128"/>
              <a:gd name="T42" fmla="*/ 16 w 104"/>
              <a:gd name="T43" fmla="*/ 86 h 128"/>
              <a:gd name="T44" fmla="*/ 26 w 104"/>
              <a:gd name="T45" fmla="*/ 96 h 128"/>
              <a:gd name="T46" fmla="*/ 36 w 104"/>
              <a:gd name="T47" fmla="*/ 86 h 128"/>
              <a:gd name="T48" fmla="*/ 26 w 104"/>
              <a:gd name="T49" fmla="*/ 76 h 128"/>
              <a:gd name="T50" fmla="*/ 78 w 104"/>
              <a:gd name="T51" fmla="*/ 76 h 128"/>
              <a:gd name="T52" fmla="*/ 68 w 104"/>
              <a:gd name="T53" fmla="*/ 86 h 128"/>
              <a:gd name="T54" fmla="*/ 78 w 104"/>
              <a:gd name="T55" fmla="*/ 96 h 128"/>
              <a:gd name="T56" fmla="*/ 88 w 104"/>
              <a:gd name="T57" fmla="*/ 86 h 128"/>
              <a:gd name="T58" fmla="*/ 78 w 104"/>
              <a:gd name="T59" fmla="*/ 76 h 128"/>
              <a:gd name="T60" fmla="*/ 92 w 104"/>
              <a:gd name="T61" fmla="*/ 120 h 128"/>
              <a:gd name="T62" fmla="*/ 12 w 104"/>
              <a:gd name="T63" fmla="*/ 120 h 128"/>
              <a:gd name="T64" fmla="*/ 12 w 104"/>
              <a:gd name="T65" fmla="*/ 128 h 128"/>
              <a:gd name="T66" fmla="*/ 92 w 104"/>
              <a:gd name="T67" fmla="*/ 128 h 128"/>
              <a:gd name="T68" fmla="*/ 92 w 104"/>
              <a:gd name="T6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4" h="128">
                <a:moveTo>
                  <a:pt x="0" y="112"/>
                </a:moveTo>
                <a:cubicBezTo>
                  <a:pt x="0" y="0"/>
                  <a:pt x="0" y="0"/>
                  <a:pt x="0" y="0"/>
                </a:cubicBezTo>
                <a:cubicBezTo>
                  <a:pt x="104" y="0"/>
                  <a:pt x="104" y="0"/>
                  <a:pt x="104" y="0"/>
                </a:cubicBezTo>
                <a:cubicBezTo>
                  <a:pt x="104" y="112"/>
                  <a:pt x="104" y="112"/>
                  <a:pt x="104" y="112"/>
                </a:cubicBezTo>
                <a:lnTo>
                  <a:pt x="0" y="112"/>
                </a:lnTo>
                <a:close/>
                <a:moveTo>
                  <a:pt x="8" y="8"/>
                </a:moveTo>
                <a:cubicBezTo>
                  <a:pt x="8" y="104"/>
                  <a:pt x="8" y="104"/>
                  <a:pt x="8" y="104"/>
                </a:cubicBezTo>
                <a:cubicBezTo>
                  <a:pt x="96" y="104"/>
                  <a:pt x="96" y="104"/>
                  <a:pt x="96" y="104"/>
                </a:cubicBezTo>
                <a:cubicBezTo>
                  <a:pt x="96" y="8"/>
                  <a:pt x="96" y="8"/>
                  <a:pt x="96" y="8"/>
                </a:cubicBezTo>
                <a:lnTo>
                  <a:pt x="8" y="8"/>
                </a:lnTo>
                <a:close/>
                <a:moveTo>
                  <a:pt x="48" y="20"/>
                </a:moveTo>
                <a:cubicBezTo>
                  <a:pt x="16" y="20"/>
                  <a:pt x="16" y="20"/>
                  <a:pt x="16" y="20"/>
                </a:cubicBezTo>
                <a:cubicBezTo>
                  <a:pt x="16" y="52"/>
                  <a:pt x="16" y="52"/>
                  <a:pt x="16" y="52"/>
                </a:cubicBezTo>
                <a:cubicBezTo>
                  <a:pt x="48" y="52"/>
                  <a:pt x="48" y="52"/>
                  <a:pt x="48" y="52"/>
                </a:cubicBezTo>
                <a:lnTo>
                  <a:pt x="48" y="20"/>
                </a:lnTo>
                <a:close/>
                <a:moveTo>
                  <a:pt x="88" y="20"/>
                </a:moveTo>
                <a:cubicBezTo>
                  <a:pt x="56" y="20"/>
                  <a:pt x="56" y="20"/>
                  <a:pt x="56" y="20"/>
                </a:cubicBezTo>
                <a:cubicBezTo>
                  <a:pt x="56" y="52"/>
                  <a:pt x="56" y="52"/>
                  <a:pt x="56" y="52"/>
                </a:cubicBezTo>
                <a:cubicBezTo>
                  <a:pt x="88" y="52"/>
                  <a:pt x="88" y="52"/>
                  <a:pt x="88" y="52"/>
                </a:cubicBezTo>
                <a:lnTo>
                  <a:pt x="88" y="20"/>
                </a:lnTo>
                <a:close/>
                <a:moveTo>
                  <a:pt x="26" y="76"/>
                </a:moveTo>
                <a:cubicBezTo>
                  <a:pt x="20" y="76"/>
                  <a:pt x="16" y="80"/>
                  <a:pt x="16" y="86"/>
                </a:cubicBezTo>
                <a:cubicBezTo>
                  <a:pt x="16" y="92"/>
                  <a:pt x="20" y="96"/>
                  <a:pt x="26" y="96"/>
                </a:cubicBezTo>
                <a:cubicBezTo>
                  <a:pt x="31" y="96"/>
                  <a:pt x="36" y="92"/>
                  <a:pt x="36" y="86"/>
                </a:cubicBezTo>
                <a:cubicBezTo>
                  <a:pt x="36" y="80"/>
                  <a:pt x="31" y="76"/>
                  <a:pt x="26" y="76"/>
                </a:cubicBezTo>
                <a:close/>
                <a:moveTo>
                  <a:pt x="78" y="76"/>
                </a:moveTo>
                <a:cubicBezTo>
                  <a:pt x="72" y="76"/>
                  <a:pt x="68" y="80"/>
                  <a:pt x="68" y="86"/>
                </a:cubicBezTo>
                <a:cubicBezTo>
                  <a:pt x="68" y="92"/>
                  <a:pt x="72" y="96"/>
                  <a:pt x="78" y="96"/>
                </a:cubicBezTo>
                <a:cubicBezTo>
                  <a:pt x="83" y="96"/>
                  <a:pt x="88" y="92"/>
                  <a:pt x="88" y="86"/>
                </a:cubicBezTo>
                <a:cubicBezTo>
                  <a:pt x="88" y="80"/>
                  <a:pt x="83" y="76"/>
                  <a:pt x="78" y="76"/>
                </a:cubicBezTo>
                <a:close/>
                <a:moveTo>
                  <a:pt x="92" y="120"/>
                </a:moveTo>
                <a:cubicBezTo>
                  <a:pt x="12" y="120"/>
                  <a:pt x="12" y="120"/>
                  <a:pt x="12" y="120"/>
                </a:cubicBezTo>
                <a:cubicBezTo>
                  <a:pt x="12" y="128"/>
                  <a:pt x="12" y="128"/>
                  <a:pt x="12" y="128"/>
                </a:cubicBezTo>
                <a:cubicBezTo>
                  <a:pt x="92" y="128"/>
                  <a:pt x="92" y="128"/>
                  <a:pt x="92" y="128"/>
                </a:cubicBezTo>
                <a:lnTo>
                  <a:pt x="92" y="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07" name="Freihandform: Form 78">
            <a:extLst>
              <a:ext uri="{FF2B5EF4-FFF2-40B4-BE49-F238E27FC236}">
                <a16:creationId xmlns:a16="http://schemas.microsoft.com/office/drawing/2014/main" id="{85AA858F-2B14-461F-90AC-FD677B5C35D5}"/>
              </a:ext>
            </a:extLst>
          </p:cNvPr>
          <p:cNvSpPr>
            <a:spLocks noChangeAspect="1"/>
          </p:cNvSpPr>
          <p:nvPr/>
        </p:nvSpPr>
        <p:spPr>
          <a:xfrm>
            <a:off x="636643" y="2471554"/>
            <a:ext cx="314814" cy="347380"/>
          </a:xfrm>
          <a:custGeom>
            <a:avLst/>
            <a:gdLst>
              <a:gd name="connsiteX0" fmla="*/ 152400 w 276225"/>
              <a:gd name="connsiteY0" fmla="*/ 142875 h 304800"/>
              <a:gd name="connsiteX1" fmla="*/ 239792 w 276225"/>
              <a:gd name="connsiteY1" fmla="*/ 142875 h 304800"/>
              <a:gd name="connsiteX2" fmla="*/ 208474 w 276225"/>
              <a:gd name="connsiteY2" fmla="*/ 111509 h 304800"/>
              <a:gd name="connsiteX3" fmla="*/ 221961 w 276225"/>
              <a:gd name="connsiteY3" fmla="*/ 98041 h 304800"/>
              <a:gd name="connsiteX4" fmla="*/ 276225 w 276225"/>
              <a:gd name="connsiteY4" fmla="*/ 152400 h 304800"/>
              <a:gd name="connsiteX5" fmla="*/ 221961 w 276225"/>
              <a:gd name="connsiteY5" fmla="*/ 206759 h 304800"/>
              <a:gd name="connsiteX6" fmla="*/ 208474 w 276225"/>
              <a:gd name="connsiteY6" fmla="*/ 193291 h 304800"/>
              <a:gd name="connsiteX7" fmla="*/ 239792 w 276225"/>
              <a:gd name="connsiteY7" fmla="*/ 161925 h 304800"/>
              <a:gd name="connsiteX8" fmla="*/ 152400 w 276225"/>
              <a:gd name="connsiteY8" fmla="*/ 161925 h 304800"/>
              <a:gd name="connsiteX9" fmla="*/ 133379 w 276225"/>
              <a:gd name="connsiteY9" fmla="*/ 142875 h 304800"/>
              <a:gd name="connsiteX10" fmla="*/ 133379 w 276225"/>
              <a:gd name="connsiteY10" fmla="*/ 0 h 304800"/>
              <a:gd name="connsiteX11" fmla="*/ 0 w 276225"/>
              <a:gd name="connsiteY11" fmla="*/ 0 h 304800"/>
              <a:gd name="connsiteX12" fmla="*/ 0 w 276225"/>
              <a:gd name="connsiteY12" fmla="*/ 304800 h 304800"/>
              <a:gd name="connsiteX13" fmla="*/ 133379 w 276225"/>
              <a:gd name="connsiteY13" fmla="*/ 304800 h 304800"/>
              <a:gd name="connsiteX14" fmla="*/ 133379 w 276225"/>
              <a:gd name="connsiteY14" fmla="*/ 161925 h 304800"/>
              <a:gd name="connsiteX15" fmla="*/ 76200 w 276225"/>
              <a:gd name="connsiteY15" fmla="*/ 161925 h 304800"/>
              <a:gd name="connsiteX16" fmla="*/ 76200 w 276225"/>
              <a:gd name="connsiteY16" fmla="*/ 142875 h 304800"/>
              <a:gd name="connsiteX17" fmla="*/ 133379 w 276225"/>
              <a:gd name="connsiteY17" fmla="*/ 14287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6225" h="304800">
                <a:moveTo>
                  <a:pt x="152400" y="142875"/>
                </a:moveTo>
                <a:lnTo>
                  <a:pt x="239792" y="142875"/>
                </a:lnTo>
                <a:lnTo>
                  <a:pt x="208474" y="111509"/>
                </a:lnTo>
                <a:lnTo>
                  <a:pt x="221961" y="98041"/>
                </a:lnTo>
                <a:lnTo>
                  <a:pt x="276225" y="152400"/>
                </a:lnTo>
                <a:lnTo>
                  <a:pt x="221961" y="206759"/>
                </a:lnTo>
                <a:lnTo>
                  <a:pt x="208474" y="193291"/>
                </a:lnTo>
                <a:lnTo>
                  <a:pt x="239792" y="161925"/>
                </a:lnTo>
                <a:lnTo>
                  <a:pt x="152400" y="161925"/>
                </a:lnTo>
                <a:moveTo>
                  <a:pt x="133379" y="142875"/>
                </a:moveTo>
                <a:lnTo>
                  <a:pt x="133379" y="0"/>
                </a:lnTo>
                <a:lnTo>
                  <a:pt x="0" y="0"/>
                </a:lnTo>
                <a:lnTo>
                  <a:pt x="0" y="304800"/>
                </a:lnTo>
                <a:lnTo>
                  <a:pt x="133379" y="304800"/>
                </a:lnTo>
                <a:lnTo>
                  <a:pt x="133379" y="161925"/>
                </a:lnTo>
                <a:lnTo>
                  <a:pt x="76200" y="161925"/>
                </a:lnTo>
                <a:lnTo>
                  <a:pt x="76200" y="142875"/>
                </a:lnTo>
                <a:lnTo>
                  <a:pt x="133379" y="142875"/>
                </a:lnTo>
                <a:close/>
              </a:path>
            </a:pathLst>
          </a:custGeom>
          <a:solidFill>
            <a:schemeClr val="tx2"/>
          </a:solidFill>
          <a:ln w="9525" cap="flat">
            <a:noFill/>
            <a:prstDash val="solid"/>
            <a:miter/>
          </a:ln>
        </p:spPr>
        <p:txBody>
          <a:bodyPr rtlCol="0" anchor="ctr"/>
          <a:lstStyle/>
          <a:p>
            <a:endParaRPr lang="en-GB" dirty="0"/>
          </a:p>
        </p:txBody>
      </p:sp>
      <p:sp>
        <p:nvSpPr>
          <p:cNvPr id="324" name="Freeform 51">
            <a:extLst>
              <a:ext uri="{FF2B5EF4-FFF2-40B4-BE49-F238E27FC236}">
                <a16:creationId xmlns:a16="http://schemas.microsoft.com/office/drawing/2014/main" id="{E153A42C-53F7-4D5C-A3A6-6CD9529BABA7}"/>
              </a:ext>
            </a:extLst>
          </p:cNvPr>
          <p:cNvSpPr>
            <a:spLocks noEditPoints="1"/>
          </p:cNvSpPr>
          <p:nvPr/>
        </p:nvSpPr>
        <p:spPr bwMode="auto">
          <a:xfrm>
            <a:off x="2678542" y="3220460"/>
            <a:ext cx="412750" cy="387350"/>
          </a:xfrm>
          <a:custGeom>
            <a:avLst/>
            <a:gdLst>
              <a:gd name="T0" fmla="*/ 88 w 128"/>
              <a:gd name="T1" fmla="*/ 24 h 120"/>
              <a:gd name="T2" fmla="*/ 64 w 128"/>
              <a:gd name="T3" fmla="*/ 48 h 120"/>
              <a:gd name="T4" fmla="*/ 40 w 128"/>
              <a:gd name="T5" fmla="*/ 24 h 120"/>
              <a:gd name="T6" fmla="*/ 64 w 128"/>
              <a:gd name="T7" fmla="*/ 0 h 120"/>
              <a:gd name="T8" fmla="*/ 88 w 128"/>
              <a:gd name="T9" fmla="*/ 24 h 120"/>
              <a:gd name="T10" fmla="*/ 128 w 128"/>
              <a:gd name="T11" fmla="*/ 120 h 120"/>
              <a:gd name="T12" fmla="*/ 78 w 128"/>
              <a:gd name="T13" fmla="*/ 58 h 120"/>
              <a:gd name="T14" fmla="*/ 64 w 128"/>
              <a:gd name="T15" fmla="*/ 82 h 120"/>
              <a:gd name="T16" fmla="*/ 50 w 128"/>
              <a:gd name="T17" fmla="*/ 58 h 120"/>
              <a:gd name="T18" fmla="*/ 0 w 128"/>
              <a:gd name="T19" fmla="*/ 116 h 120"/>
              <a:gd name="T20" fmla="*/ 0 w 128"/>
              <a:gd name="T21" fmla="*/ 117 h 120"/>
              <a:gd name="T22" fmla="*/ 0 w 128"/>
              <a:gd name="T23" fmla="*/ 117 h 120"/>
              <a:gd name="T24" fmla="*/ 0 w 128"/>
              <a:gd name="T25" fmla="*/ 120 h 120"/>
              <a:gd name="T26" fmla="*/ 128 w 128"/>
              <a:gd name="T27"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0">
                <a:moveTo>
                  <a:pt x="88" y="24"/>
                </a:moveTo>
                <a:cubicBezTo>
                  <a:pt x="88" y="37"/>
                  <a:pt x="77" y="48"/>
                  <a:pt x="64" y="48"/>
                </a:cubicBezTo>
                <a:cubicBezTo>
                  <a:pt x="51" y="48"/>
                  <a:pt x="40" y="37"/>
                  <a:pt x="40" y="24"/>
                </a:cubicBezTo>
                <a:cubicBezTo>
                  <a:pt x="40" y="11"/>
                  <a:pt x="51" y="0"/>
                  <a:pt x="64" y="0"/>
                </a:cubicBezTo>
                <a:cubicBezTo>
                  <a:pt x="77" y="0"/>
                  <a:pt x="88" y="11"/>
                  <a:pt x="88" y="24"/>
                </a:cubicBezTo>
                <a:close/>
                <a:moveTo>
                  <a:pt x="128" y="120"/>
                </a:moveTo>
                <a:cubicBezTo>
                  <a:pt x="128" y="90"/>
                  <a:pt x="107" y="64"/>
                  <a:pt x="78" y="58"/>
                </a:cubicBezTo>
                <a:cubicBezTo>
                  <a:pt x="64" y="82"/>
                  <a:pt x="64" y="82"/>
                  <a:pt x="64" y="82"/>
                </a:cubicBezTo>
                <a:cubicBezTo>
                  <a:pt x="50" y="58"/>
                  <a:pt x="50" y="58"/>
                  <a:pt x="50" y="58"/>
                </a:cubicBezTo>
                <a:cubicBezTo>
                  <a:pt x="23" y="64"/>
                  <a:pt x="2" y="88"/>
                  <a:pt x="0" y="116"/>
                </a:cubicBezTo>
                <a:cubicBezTo>
                  <a:pt x="0" y="117"/>
                  <a:pt x="0" y="117"/>
                  <a:pt x="0" y="117"/>
                </a:cubicBezTo>
                <a:cubicBezTo>
                  <a:pt x="0" y="117"/>
                  <a:pt x="0" y="117"/>
                  <a:pt x="0" y="117"/>
                </a:cubicBezTo>
                <a:cubicBezTo>
                  <a:pt x="0" y="118"/>
                  <a:pt x="0" y="119"/>
                  <a:pt x="0" y="120"/>
                </a:cubicBezTo>
                <a:lnTo>
                  <a:pt x="128" y="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5" name="Freeform 55">
            <a:extLst>
              <a:ext uri="{FF2B5EF4-FFF2-40B4-BE49-F238E27FC236}">
                <a16:creationId xmlns:a16="http://schemas.microsoft.com/office/drawing/2014/main" id="{BE9E2989-7F1B-43A6-8DBB-4DFC2944EAE4}"/>
              </a:ext>
            </a:extLst>
          </p:cNvPr>
          <p:cNvSpPr>
            <a:spLocks noEditPoints="1"/>
          </p:cNvSpPr>
          <p:nvPr/>
        </p:nvSpPr>
        <p:spPr bwMode="auto">
          <a:xfrm>
            <a:off x="3748584" y="3195060"/>
            <a:ext cx="363537" cy="412750"/>
          </a:xfrm>
          <a:custGeom>
            <a:avLst/>
            <a:gdLst>
              <a:gd name="T0" fmla="*/ 24 w 112"/>
              <a:gd name="T1" fmla="*/ 0 h 128"/>
              <a:gd name="T2" fmla="*/ 0 w 112"/>
              <a:gd name="T3" fmla="*/ 24 h 128"/>
              <a:gd name="T4" fmla="*/ 0 w 112"/>
              <a:gd name="T5" fmla="*/ 104 h 128"/>
              <a:gd name="T6" fmla="*/ 24 w 112"/>
              <a:gd name="T7" fmla="*/ 128 h 128"/>
              <a:gd name="T8" fmla="*/ 48 w 112"/>
              <a:gd name="T9" fmla="*/ 104 h 128"/>
              <a:gd name="T10" fmla="*/ 48 w 112"/>
              <a:gd name="T11" fmla="*/ 24 h 128"/>
              <a:gd name="T12" fmla="*/ 24 w 112"/>
              <a:gd name="T13" fmla="*/ 0 h 128"/>
              <a:gd name="T14" fmla="*/ 40 w 112"/>
              <a:gd name="T15" fmla="*/ 64 h 128"/>
              <a:gd name="T16" fmla="*/ 8 w 112"/>
              <a:gd name="T17" fmla="*/ 64 h 128"/>
              <a:gd name="T18" fmla="*/ 8 w 112"/>
              <a:gd name="T19" fmla="*/ 24 h 128"/>
              <a:gd name="T20" fmla="*/ 24 w 112"/>
              <a:gd name="T21" fmla="*/ 8 h 128"/>
              <a:gd name="T22" fmla="*/ 40 w 112"/>
              <a:gd name="T23" fmla="*/ 24 h 128"/>
              <a:gd name="T24" fmla="*/ 40 w 112"/>
              <a:gd name="T25" fmla="*/ 64 h 128"/>
              <a:gd name="T26" fmla="*/ 88 w 112"/>
              <a:gd name="T27" fmla="*/ 0 h 128"/>
              <a:gd name="T28" fmla="*/ 64 w 112"/>
              <a:gd name="T29" fmla="*/ 24 h 128"/>
              <a:gd name="T30" fmla="*/ 64 w 112"/>
              <a:gd name="T31" fmla="*/ 104 h 128"/>
              <a:gd name="T32" fmla="*/ 88 w 112"/>
              <a:gd name="T33" fmla="*/ 128 h 128"/>
              <a:gd name="T34" fmla="*/ 112 w 112"/>
              <a:gd name="T35" fmla="*/ 104 h 128"/>
              <a:gd name="T36" fmla="*/ 112 w 112"/>
              <a:gd name="T37" fmla="*/ 24 h 128"/>
              <a:gd name="T38" fmla="*/ 88 w 112"/>
              <a:gd name="T39" fmla="*/ 0 h 128"/>
              <a:gd name="T40" fmla="*/ 104 w 112"/>
              <a:gd name="T41" fmla="*/ 104 h 128"/>
              <a:gd name="T42" fmla="*/ 88 w 112"/>
              <a:gd name="T43" fmla="*/ 120 h 128"/>
              <a:gd name="T44" fmla="*/ 72 w 112"/>
              <a:gd name="T45" fmla="*/ 104 h 128"/>
              <a:gd name="T46" fmla="*/ 72 w 112"/>
              <a:gd name="T47" fmla="*/ 64 h 128"/>
              <a:gd name="T48" fmla="*/ 104 w 112"/>
              <a:gd name="T49" fmla="*/ 64 h 128"/>
              <a:gd name="T50" fmla="*/ 104 w 112"/>
              <a:gd name="T5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2" h="128">
                <a:moveTo>
                  <a:pt x="24" y="0"/>
                </a:moveTo>
                <a:cubicBezTo>
                  <a:pt x="11" y="0"/>
                  <a:pt x="0" y="11"/>
                  <a:pt x="0" y="24"/>
                </a:cubicBezTo>
                <a:cubicBezTo>
                  <a:pt x="0" y="104"/>
                  <a:pt x="0" y="104"/>
                  <a:pt x="0" y="104"/>
                </a:cubicBezTo>
                <a:cubicBezTo>
                  <a:pt x="0" y="117"/>
                  <a:pt x="11" y="128"/>
                  <a:pt x="24" y="128"/>
                </a:cubicBezTo>
                <a:cubicBezTo>
                  <a:pt x="37" y="128"/>
                  <a:pt x="48" y="117"/>
                  <a:pt x="48" y="104"/>
                </a:cubicBezTo>
                <a:cubicBezTo>
                  <a:pt x="48" y="24"/>
                  <a:pt x="48" y="24"/>
                  <a:pt x="48" y="24"/>
                </a:cubicBezTo>
                <a:cubicBezTo>
                  <a:pt x="48" y="11"/>
                  <a:pt x="37" y="0"/>
                  <a:pt x="24" y="0"/>
                </a:cubicBezTo>
                <a:close/>
                <a:moveTo>
                  <a:pt x="40" y="64"/>
                </a:moveTo>
                <a:cubicBezTo>
                  <a:pt x="8" y="64"/>
                  <a:pt x="8" y="64"/>
                  <a:pt x="8" y="64"/>
                </a:cubicBezTo>
                <a:cubicBezTo>
                  <a:pt x="8" y="24"/>
                  <a:pt x="8" y="24"/>
                  <a:pt x="8" y="24"/>
                </a:cubicBezTo>
                <a:cubicBezTo>
                  <a:pt x="8" y="15"/>
                  <a:pt x="15" y="8"/>
                  <a:pt x="24" y="8"/>
                </a:cubicBezTo>
                <a:cubicBezTo>
                  <a:pt x="33" y="8"/>
                  <a:pt x="40" y="15"/>
                  <a:pt x="40" y="24"/>
                </a:cubicBezTo>
                <a:lnTo>
                  <a:pt x="40" y="64"/>
                </a:lnTo>
                <a:close/>
                <a:moveTo>
                  <a:pt x="88" y="0"/>
                </a:moveTo>
                <a:cubicBezTo>
                  <a:pt x="75" y="0"/>
                  <a:pt x="64" y="11"/>
                  <a:pt x="64" y="24"/>
                </a:cubicBezTo>
                <a:cubicBezTo>
                  <a:pt x="64" y="104"/>
                  <a:pt x="64" y="104"/>
                  <a:pt x="64" y="104"/>
                </a:cubicBezTo>
                <a:cubicBezTo>
                  <a:pt x="64" y="117"/>
                  <a:pt x="75" y="128"/>
                  <a:pt x="88" y="128"/>
                </a:cubicBezTo>
                <a:cubicBezTo>
                  <a:pt x="101" y="128"/>
                  <a:pt x="112" y="117"/>
                  <a:pt x="112" y="104"/>
                </a:cubicBezTo>
                <a:cubicBezTo>
                  <a:pt x="112" y="24"/>
                  <a:pt x="112" y="24"/>
                  <a:pt x="112" y="24"/>
                </a:cubicBezTo>
                <a:cubicBezTo>
                  <a:pt x="112" y="11"/>
                  <a:pt x="101" y="0"/>
                  <a:pt x="88" y="0"/>
                </a:cubicBezTo>
                <a:close/>
                <a:moveTo>
                  <a:pt x="104" y="104"/>
                </a:moveTo>
                <a:cubicBezTo>
                  <a:pt x="104" y="113"/>
                  <a:pt x="97" y="120"/>
                  <a:pt x="88" y="120"/>
                </a:cubicBezTo>
                <a:cubicBezTo>
                  <a:pt x="79" y="120"/>
                  <a:pt x="72" y="113"/>
                  <a:pt x="72" y="104"/>
                </a:cubicBezTo>
                <a:cubicBezTo>
                  <a:pt x="72" y="64"/>
                  <a:pt x="72" y="64"/>
                  <a:pt x="72" y="64"/>
                </a:cubicBezTo>
                <a:cubicBezTo>
                  <a:pt x="104" y="64"/>
                  <a:pt x="104" y="64"/>
                  <a:pt x="104" y="64"/>
                </a:cubicBezTo>
                <a:lnTo>
                  <a:pt x="104" y="1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6" name="Freeform 59">
            <a:extLst>
              <a:ext uri="{FF2B5EF4-FFF2-40B4-BE49-F238E27FC236}">
                <a16:creationId xmlns:a16="http://schemas.microsoft.com/office/drawing/2014/main" id="{B28D5056-DD65-4A07-8BFF-62B718DD2A5A}"/>
              </a:ext>
            </a:extLst>
          </p:cNvPr>
          <p:cNvSpPr>
            <a:spLocks/>
          </p:cNvSpPr>
          <p:nvPr/>
        </p:nvSpPr>
        <p:spPr bwMode="auto">
          <a:xfrm>
            <a:off x="586881" y="4051809"/>
            <a:ext cx="414338" cy="412750"/>
          </a:xfrm>
          <a:custGeom>
            <a:avLst/>
            <a:gdLst>
              <a:gd name="T0" fmla="*/ 116 w 128"/>
              <a:gd name="T1" fmla="*/ 128 h 128"/>
              <a:gd name="T2" fmla="*/ 116 w 128"/>
              <a:gd name="T3" fmla="*/ 128 h 128"/>
              <a:gd name="T4" fmla="*/ 116 w 128"/>
              <a:gd name="T5" fmla="*/ 128 h 128"/>
              <a:gd name="T6" fmla="*/ 116 w 128"/>
              <a:gd name="T7" fmla="*/ 128 h 128"/>
              <a:gd name="T8" fmla="*/ 37 w 128"/>
              <a:gd name="T9" fmla="*/ 91 h 128"/>
              <a:gd name="T10" fmla="*/ 0 w 128"/>
              <a:gd name="T11" fmla="*/ 10 h 128"/>
              <a:gd name="T12" fmla="*/ 26 w 128"/>
              <a:gd name="T13" fmla="*/ 0 h 128"/>
              <a:gd name="T14" fmla="*/ 42 w 128"/>
              <a:gd name="T15" fmla="*/ 41 h 128"/>
              <a:gd name="T16" fmla="*/ 26 w 128"/>
              <a:gd name="T17" fmla="*/ 47 h 128"/>
              <a:gd name="T18" fmla="*/ 49 w 128"/>
              <a:gd name="T19" fmla="*/ 80 h 128"/>
              <a:gd name="T20" fmla="*/ 81 w 128"/>
              <a:gd name="T21" fmla="*/ 102 h 128"/>
              <a:gd name="T22" fmla="*/ 89 w 128"/>
              <a:gd name="T23" fmla="*/ 86 h 128"/>
              <a:gd name="T24" fmla="*/ 128 w 128"/>
              <a:gd name="T25" fmla="*/ 107 h 128"/>
              <a:gd name="T26" fmla="*/ 116 w 128"/>
              <a:gd name="T2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16" y="128"/>
                </a:moveTo>
                <a:cubicBezTo>
                  <a:pt x="116" y="128"/>
                  <a:pt x="116" y="128"/>
                  <a:pt x="116" y="128"/>
                </a:cubicBezTo>
                <a:cubicBezTo>
                  <a:pt x="116" y="128"/>
                  <a:pt x="116" y="128"/>
                  <a:pt x="116" y="128"/>
                </a:cubicBezTo>
                <a:cubicBezTo>
                  <a:pt x="116" y="128"/>
                  <a:pt x="116" y="128"/>
                  <a:pt x="116" y="128"/>
                </a:cubicBezTo>
                <a:cubicBezTo>
                  <a:pt x="85" y="125"/>
                  <a:pt x="58" y="111"/>
                  <a:pt x="37" y="91"/>
                </a:cubicBezTo>
                <a:cubicBezTo>
                  <a:pt x="16" y="70"/>
                  <a:pt x="3" y="41"/>
                  <a:pt x="0" y="10"/>
                </a:cubicBezTo>
                <a:cubicBezTo>
                  <a:pt x="26" y="0"/>
                  <a:pt x="26" y="0"/>
                  <a:pt x="26" y="0"/>
                </a:cubicBezTo>
                <a:cubicBezTo>
                  <a:pt x="42" y="41"/>
                  <a:pt x="42" y="41"/>
                  <a:pt x="42" y="41"/>
                </a:cubicBezTo>
                <a:cubicBezTo>
                  <a:pt x="26" y="47"/>
                  <a:pt x="26" y="47"/>
                  <a:pt x="26" y="47"/>
                </a:cubicBezTo>
                <a:cubicBezTo>
                  <a:pt x="32" y="59"/>
                  <a:pt x="39" y="70"/>
                  <a:pt x="49" y="80"/>
                </a:cubicBezTo>
                <a:cubicBezTo>
                  <a:pt x="58" y="89"/>
                  <a:pt x="69" y="96"/>
                  <a:pt x="81" y="102"/>
                </a:cubicBezTo>
                <a:cubicBezTo>
                  <a:pt x="89" y="86"/>
                  <a:pt x="89" y="86"/>
                  <a:pt x="89" y="86"/>
                </a:cubicBezTo>
                <a:cubicBezTo>
                  <a:pt x="128" y="107"/>
                  <a:pt x="128" y="107"/>
                  <a:pt x="128" y="107"/>
                </a:cubicBezTo>
                <a:lnTo>
                  <a:pt x="116" y="12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7" name="Freeform 63">
            <a:extLst>
              <a:ext uri="{FF2B5EF4-FFF2-40B4-BE49-F238E27FC236}">
                <a16:creationId xmlns:a16="http://schemas.microsoft.com/office/drawing/2014/main" id="{92E60E0E-9D42-4586-984E-97E7CE62833F}"/>
              </a:ext>
            </a:extLst>
          </p:cNvPr>
          <p:cNvSpPr>
            <a:spLocks noEditPoints="1"/>
          </p:cNvSpPr>
          <p:nvPr/>
        </p:nvSpPr>
        <p:spPr bwMode="auto">
          <a:xfrm>
            <a:off x="1666632" y="4101022"/>
            <a:ext cx="414338" cy="363537"/>
          </a:xfrm>
          <a:custGeom>
            <a:avLst/>
            <a:gdLst>
              <a:gd name="T0" fmla="*/ 120 w 128"/>
              <a:gd name="T1" fmla="*/ 24 h 112"/>
              <a:gd name="T2" fmla="*/ 120 w 128"/>
              <a:gd name="T3" fmla="*/ 104 h 112"/>
              <a:gd name="T4" fmla="*/ 8 w 128"/>
              <a:gd name="T5" fmla="*/ 104 h 112"/>
              <a:gd name="T6" fmla="*/ 8 w 128"/>
              <a:gd name="T7" fmla="*/ 24 h 112"/>
              <a:gd name="T8" fmla="*/ 120 w 128"/>
              <a:gd name="T9" fmla="*/ 24 h 112"/>
              <a:gd name="T10" fmla="*/ 128 w 128"/>
              <a:gd name="T11" fmla="*/ 16 h 112"/>
              <a:gd name="T12" fmla="*/ 0 w 128"/>
              <a:gd name="T13" fmla="*/ 16 h 112"/>
              <a:gd name="T14" fmla="*/ 0 w 128"/>
              <a:gd name="T15" fmla="*/ 112 h 112"/>
              <a:gd name="T16" fmla="*/ 128 w 128"/>
              <a:gd name="T17" fmla="*/ 112 h 112"/>
              <a:gd name="T18" fmla="*/ 128 w 128"/>
              <a:gd name="T19" fmla="*/ 16 h 112"/>
              <a:gd name="T20" fmla="*/ 24 w 128"/>
              <a:gd name="T21" fmla="*/ 32 h 112"/>
              <a:gd name="T22" fmla="*/ 16 w 128"/>
              <a:gd name="T23" fmla="*/ 40 h 112"/>
              <a:gd name="T24" fmla="*/ 24 w 128"/>
              <a:gd name="T25" fmla="*/ 48 h 112"/>
              <a:gd name="T26" fmla="*/ 32 w 128"/>
              <a:gd name="T27" fmla="*/ 40 h 112"/>
              <a:gd name="T28" fmla="*/ 24 w 128"/>
              <a:gd name="T29" fmla="*/ 32 h 112"/>
              <a:gd name="T30" fmla="*/ 128 w 128"/>
              <a:gd name="T31" fmla="*/ 0 h 112"/>
              <a:gd name="T32" fmla="*/ 8 w 128"/>
              <a:gd name="T33" fmla="*/ 0 h 112"/>
              <a:gd name="T34" fmla="*/ 8 w 128"/>
              <a:gd name="T35" fmla="*/ 8 h 112"/>
              <a:gd name="T36" fmla="*/ 128 w 128"/>
              <a:gd name="T37" fmla="*/ 8 h 112"/>
              <a:gd name="T38" fmla="*/ 128 w 128"/>
              <a:gd name="T39" fmla="*/ 0 h 112"/>
              <a:gd name="T40" fmla="*/ 112 w 128"/>
              <a:gd name="T41" fmla="*/ 96 h 112"/>
              <a:gd name="T42" fmla="*/ 76 w 128"/>
              <a:gd name="T43" fmla="*/ 32 h 112"/>
              <a:gd name="T44" fmla="*/ 55 w 128"/>
              <a:gd name="T45" fmla="*/ 68 h 112"/>
              <a:gd name="T46" fmla="*/ 48 w 128"/>
              <a:gd name="T47" fmla="*/ 56 h 112"/>
              <a:gd name="T48" fmla="*/ 24 w 128"/>
              <a:gd name="T49" fmla="*/ 96 h 112"/>
              <a:gd name="T50" fmla="*/ 112 w 128"/>
              <a:gd name="T51"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112">
                <a:moveTo>
                  <a:pt x="120" y="24"/>
                </a:moveTo>
                <a:cubicBezTo>
                  <a:pt x="120" y="104"/>
                  <a:pt x="120" y="104"/>
                  <a:pt x="120" y="104"/>
                </a:cubicBezTo>
                <a:cubicBezTo>
                  <a:pt x="8" y="104"/>
                  <a:pt x="8" y="104"/>
                  <a:pt x="8" y="104"/>
                </a:cubicBezTo>
                <a:cubicBezTo>
                  <a:pt x="8" y="24"/>
                  <a:pt x="8" y="24"/>
                  <a:pt x="8" y="24"/>
                </a:cubicBezTo>
                <a:cubicBezTo>
                  <a:pt x="120" y="24"/>
                  <a:pt x="120" y="24"/>
                  <a:pt x="120" y="24"/>
                </a:cubicBezTo>
                <a:moveTo>
                  <a:pt x="128" y="16"/>
                </a:moveTo>
                <a:cubicBezTo>
                  <a:pt x="0" y="16"/>
                  <a:pt x="0" y="16"/>
                  <a:pt x="0" y="16"/>
                </a:cubicBezTo>
                <a:cubicBezTo>
                  <a:pt x="0" y="112"/>
                  <a:pt x="0" y="112"/>
                  <a:pt x="0" y="112"/>
                </a:cubicBezTo>
                <a:cubicBezTo>
                  <a:pt x="128" y="112"/>
                  <a:pt x="128" y="112"/>
                  <a:pt x="128" y="112"/>
                </a:cubicBezTo>
                <a:cubicBezTo>
                  <a:pt x="128" y="16"/>
                  <a:pt x="128" y="16"/>
                  <a:pt x="128" y="16"/>
                </a:cubicBezTo>
                <a:close/>
                <a:moveTo>
                  <a:pt x="24" y="32"/>
                </a:moveTo>
                <a:cubicBezTo>
                  <a:pt x="20" y="32"/>
                  <a:pt x="16" y="36"/>
                  <a:pt x="16" y="40"/>
                </a:cubicBezTo>
                <a:cubicBezTo>
                  <a:pt x="16" y="44"/>
                  <a:pt x="20" y="48"/>
                  <a:pt x="24" y="48"/>
                </a:cubicBezTo>
                <a:cubicBezTo>
                  <a:pt x="28" y="48"/>
                  <a:pt x="32" y="44"/>
                  <a:pt x="32" y="40"/>
                </a:cubicBezTo>
                <a:cubicBezTo>
                  <a:pt x="32" y="36"/>
                  <a:pt x="28" y="32"/>
                  <a:pt x="24" y="32"/>
                </a:cubicBezTo>
                <a:close/>
                <a:moveTo>
                  <a:pt x="128" y="0"/>
                </a:moveTo>
                <a:cubicBezTo>
                  <a:pt x="8" y="0"/>
                  <a:pt x="8" y="0"/>
                  <a:pt x="8" y="0"/>
                </a:cubicBezTo>
                <a:cubicBezTo>
                  <a:pt x="8" y="8"/>
                  <a:pt x="8" y="8"/>
                  <a:pt x="8" y="8"/>
                </a:cubicBezTo>
                <a:cubicBezTo>
                  <a:pt x="128" y="8"/>
                  <a:pt x="128" y="8"/>
                  <a:pt x="128" y="8"/>
                </a:cubicBezTo>
                <a:lnTo>
                  <a:pt x="128" y="0"/>
                </a:lnTo>
                <a:close/>
                <a:moveTo>
                  <a:pt x="112" y="96"/>
                </a:moveTo>
                <a:cubicBezTo>
                  <a:pt x="76" y="32"/>
                  <a:pt x="76" y="32"/>
                  <a:pt x="76" y="32"/>
                </a:cubicBezTo>
                <a:cubicBezTo>
                  <a:pt x="55" y="68"/>
                  <a:pt x="55" y="68"/>
                  <a:pt x="55" y="68"/>
                </a:cubicBezTo>
                <a:cubicBezTo>
                  <a:pt x="48" y="56"/>
                  <a:pt x="48" y="56"/>
                  <a:pt x="48" y="56"/>
                </a:cubicBezTo>
                <a:cubicBezTo>
                  <a:pt x="24" y="96"/>
                  <a:pt x="24" y="96"/>
                  <a:pt x="24" y="96"/>
                </a:cubicBezTo>
                <a:lnTo>
                  <a:pt x="112" y="9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8" name="Freeform 67">
            <a:extLst>
              <a:ext uri="{FF2B5EF4-FFF2-40B4-BE49-F238E27FC236}">
                <a16:creationId xmlns:a16="http://schemas.microsoft.com/office/drawing/2014/main" id="{C401BEC7-D489-465C-8AAF-9D1806BBDAD8}"/>
              </a:ext>
            </a:extLst>
          </p:cNvPr>
          <p:cNvSpPr>
            <a:spLocks noEditPoints="1"/>
          </p:cNvSpPr>
          <p:nvPr/>
        </p:nvSpPr>
        <p:spPr bwMode="auto">
          <a:xfrm>
            <a:off x="6051916" y="1592334"/>
            <a:ext cx="412750" cy="412750"/>
          </a:xfrm>
          <a:custGeom>
            <a:avLst/>
            <a:gdLst>
              <a:gd name="T0" fmla="*/ 64 w 128"/>
              <a:gd name="T1" fmla="*/ 8 h 128"/>
              <a:gd name="T2" fmla="*/ 120 w 128"/>
              <a:gd name="T3" fmla="*/ 64 h 128"/>
              <a:gd name="T4" fmla="*/ 64 w 128"/>
              <a:gd name="T5" fmla="*/ 120 h 128"/>
              <a:gd name="T6" fmla="*/ 8 w 128"/>
              <a:gd name="T7" fmla="*/ 64 h 128"/>
              <a:gd name="T8" fmla="*/ 64 w 128"/>
              <a:gd name="T9" fmla="*/ 8 h 128"/>
              <a:gd name="T10" fmla="*/ 64 w 128"/>
              <a:gd name="T11" fmla="*/ 0 h 128"/>
              <a:gd name="T12" fmla="*/ 0 w 128"/>
              <a:gd name="T13" fmla="*/ 64 h 128"/>
              <a:gd name="T14" fmla="*/ 64 w 128"/>
              <a:gd name="T15" fmla="*/ 128 h 128"/>
              <a:gd name="T16" fmla="*/ 128 w 128"/>
              <a:gd name="T17" fmla="*/ 64 h 128"/>
              <a:gd name="T18" fmla="*/ 64 w 128"/>
              <a:gd name="T19" fmla="*/ 0 h 128"/>
              <a:gd name="T20" fmla="*/ 48 w 128"/>
              <a:gd name="T21" fmla="*/ 104 h 128"/>
              <a:gd name="T22" fmla="*/ 88 w 128"/>
              <a:gd name="T23" fmla="*/ 64 h 128"/>
              <a:gd name="T24" fmla="*/ 48 w 128"/>
              <a:gd name="T25" fmla="*/ 24 h 128"/>
              <a:gd name="T26" fmla="*/ 48 w 128"/>
              <a:gd name="T27"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64" y="8"/>
                </a:moveTo>
                <a:cubicBezTo>
                  <a:pt x="95" y="8"/>
                  <a:pt x="120" y="33"/>
                  <a:pt x="120" y="64"/>
                </a:cubicBezTo>
                <a:cubicBezTo>
                  <a:pt x="120" y="95"/>
                  <a:pt x="95" y="120"/>
                  <a:pt x="64" y="120"/>
                </a:cubicBezTo>
                <a:cubicBezTo>
                  <a:pt x="33" y="120"/>
                  <a:pt x="8" y="95"/>
                  <a:pt x="8" y="64"/>
                </a:cubicBezTo>
                <a:cubicBezTo>
                  <a:pt x="8" y="33"/>
                  <a:pt x="33" y="8"/>
                  <a:pt x="64" y="8"/>
                </a:cubicBezTo>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48" y="104"/>
                </a:moveTo>
                <a:cubicBezTo>
                  <a:pt x="88" y="64"/>
                  <a:pt x="88" y="64"/>
                  <a:pt x="88" y="64"/>
                </a:cubicBezTo>
                <a:cubicBezTo>
                  <a:pt x="48" y="24"/>
                  <a:pt x="48" y="24"/>
                  <a:pt x="48" y="24"/>
                </a:cubicBezTo>
                <a:lnTo>
                  <a:pt x="48" y="1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29" name="Freeform 71">
            <a:extLst>
              <a:ext uri="{FF2B5EF4-FFF2-40B4-BE49-F238E27FC236}">
                <a16:creationId xmlns:a16="http://schemas.microsoft.com/office/drawing/2014/main" id="{F5BF621A-B55C-43D2-8FAB-2E2204ECD754}"/>
              </a:ext>
            </a:extLst>
          </p:cNvPr>
          <p:cNvSpPr>
            <a:spLocks noEditPoints="1"/>
          </p:cNvSpPr>
          <p:nvPr/>
        </p:nvSpPr>
        <p:spPr bwMode="auto">
          <a:xfrm>
            <a:off x="7109255" y="1592334"/>
            <a:ext cx="387350" cy="412750"/>
          </a:xfrm>
          <a:custGeom>
            <a:avLst/>
            <a:gdLst>
              <a:gd name="T0" fmla="*/ 12 w 120"/>
              <a:gd name="T1" fmla="*/ 128 h 128"/>
              <a:gd name="T2" fmla="*/ 12 w 120"/>
              <a:gd name="T3" fmla="*/ 125 h 128"/>
              <a:gd name="T4" fmla="*/ 12 w 120"/>
              <a:gd name="T5" fmla="*/ 125 h 128"/>
              <a:gd name="T6" fmla="*/ 12 w 120"/>
              <a:gd name="T7" fmla="*/ 125 h 128"/>
              <a:gd name="T8" fmla="*/ 50 w 120"/>
              <a:gd name="T9" fmla="*/ 81 h 128"/>
              <a:gd name="T10" fmla="*/ 60 w 120"/>
              <a:gd name="T11" fmla="*/ 100 h 128"/>
              <a:gd name="T12" fmla="*/ 71 w 120"/>
              <a:gd name="T13" fmla="*/ 81 h 128"/>
              <a:gd name="T14" fmla="*/ 108 w 120"/>
              <a:gd name="T15" fmla="*/ 128 h 128"/>
              <a:gd name="T16" fmla="*/ 12 w 120"/>
              <a:gd name="T17" fmla="*/ 128 h 128"/>
              <a:gd name="T18" fmla="*/ 60 w 120"/>
              <a:gd name="T19" fmla="*/ 42 h 128"/>
              <a:gd name="T20" fmla="*/ 42 w 120"/>
              <a:gd name="T21" fmla="*/ 60 h 128"/>
              <a:gd name="T22" fmla="*/ 60 w 120"/>
              <a:gd name="T23" fmla="*/ 78 h 128"/>
              <a:gd name="T24" fmla="*/ 78 w 120"/>
              <a:gd name="T25" fmla="*/ 60 h 128"/>
              <a:gd name="T26" fmla="*/ 60 w 120"/>
              <a:gd name="T27" fmla="*/ 42 h 128"/>
              <a:gd name="T28" fmla="*/ 8 w 120"/>
              <a:gd name="T29" fmla="*/ 60 h 128"/>
              <a:gd name="T30" fmla="*/ 60 w 120"/>
              <a:gd name="T31" fmla="*/ 8 h 128"/>
              <a:gd name="T32" fmla="*/ 112 w 120"/>
              <a:gd name="T33" fmla="*/ 60 h 128"/>
              <a:gd name="T34" fmla="*/ 102 w 120"/>
              <a:gd name="T35" fmla="*/ 91 h 128"/>
              <a:gd name="T36" fmla="*/ 107 w 120"/>
              <a:gd name="T37" fmla="*/ 97 h 128"/>
              <a:gd name="T38" fmla="*/ 120 w 120"/>
              <a:gd name="T39" fmla="*/ 60 h 128"/>
              <a:gd name="T40" fmla="*/ 60 w 120"/>
              <a:gd name="T41" fmla="*/ 0 h 128"/>
              <a:gd name="T42" fmla="*/ 0 w 120"/>
              <a:gd name="T43" fmla="*/ 60 h 128"/>
              <a:gd name="T44" fmla="*/ 13 w 120"/>
              <a:gd name="T45" fmla="*/ 97 h 128"/>
              <a:gd name="T46" fmla="*/ 18 w 120"/>
              <a:gd name="T47" fmla="*/ 91 h 128"/>
              <a:gd name="T48" fmla="*/ 8 w 120"/>
              <a:gd name="T49" fmla="*/ 60 h 128"/>
              <a:gd name="T50" fmla="*/ 60 w 120"/>
              <a:gd name="T51" fmla="*/ 20 h 128"/>
              <a:gd name="T52" fmla="*/ 20 w 120"/>
              <a:gd name="T53" fmla="*/ 60 h 128"/>
              <a:gd name="T54" fmla="*/ 27 w 120"/>
              <a:gd name="T55" fmla="*/ 83 h 128"/>
              <a:gd name="T56" fmla="*/ 34 w 120"/>
              <a:gd name="T57" fmla="*/ 79 h 128"/>
              <a:gd name="T58" fmla="*/ 28 w 120"/>
              <a:gd name="T59" fmla="*/ 60 h 128"/>
              <a:gd name="T60" fmla="*/ 60 w 120"/>
              <a:gd name="T61" fmla="*/ 28 h 128"/>
              <a:gd name="T62" fmla="*/ 92 w 120"/>
              <a:gd name="T63" fmla="*/ 60 h 128"/>
              <a:gd name="T64" fmla="*/ 86 w 120"/>
              <a:gd name="T65" fmla="*/ 78 h 128"/>
              <a:gd name="T66" fmla="*/ 93 w 120"/>
              <a:gd name="T67" fmla="*/ 83 h 128"/>
              <a:gd name="T68" fmla="*/ 100 w 120"/>
              <a:gd name="T69" fmla="*/ 60 h 128"/>
              <a:gd name="T70" fmla="*/ 60 w 120"/>
              <a:gd name="T71" fmla="*/ 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0" h="128">
                <a:moveTo>
                  <a:pt x="12" y="128"/>
                </a:moveTo>
                <a:cubicBezTo>
                  <a:pt x="12" y="127"/>
                  <a:pt x="12" y="126"/>
                  <a:pt x="12" y="125"/>
                </a:cubicBezTo>
                <a:cubicBezTo>
                  <a:pt x="12" y="125"/>
                  <a:pt x="12" y="125"/>
                  <a:pt x="12" y="125"/>
                </a:cubicBezTo>
                <a:cubicBezTo>
                  <a:pt x="12" y="125"/>
                  <a:pt x="12" y="125"/>
                  <a:pt x="12" y="125"/>
                </a:cubicBezTo>
                <a:cubicBezTo>
                  <a:pt x="13" y="104"/>
                  <a:pt x="29" y="86"/>
                  <a:pt x="50" y="81"/>
                </a:cubicBezTo>
                <a:cubicBezTo>
                  <a:pt x="60" y="100"/>
                  <a:pt x="60" y="100"/>
                  <a:pt x="60" y="100"/>
                </a:cubicBezTo>
                <a:cubicBezTo>
                  <a:pt x="71" y="81"/>
                  <a:pt x="71" y="81"/>
                  <a:pt x="71" y="81"/>
                </a:cubicBezTo>
                <a:cubicBezTo>
                  <a:pt x="92" y="86"/>
                  <a:pt x="108" y="105"/>
                  <a:pt x="108" y="128"/>
                </a:cubicBezTo>
                <a:lnTo>
                  <a:pt x="12" y="128"/>
                </a:lnTo>
                <a:close/>
                <a:moveTo>
                  <a:pt x="60" y="42"/>
                </a:moveTo>
                <a:cubicBezTo>
                  <a:pt x="50" y="42"/>
                  <a:pt x="42" y="50"/>
                  <a:pt x="42" y="60"/>
                </a:cubicBezTo>
                <a:cubicBezTo>
                  <a:pt x="42" y="70"/>
                  <a:pt x="50" y="78"/>
                  <a:pt x="60" y="78"/>
                </a:cubicBezTo>
                <a:cubicBezTo>
                  <a:pt x="70" y="78"/>
                  <a:pt x="78" y="70"/>
                  <a:pt x="78" y="60"/>
                </a:cubicBezTo>
                <a:cubicBezTo>
                  <a:pt x="78" y="50"/>
                  <a:pt x="70" y="42"/>
                  <a:pt x="60" y="42"/>
                </a:cubicBezTo>
                <a:close/>
                <a:moveTo>
                  <a:pt x="8" y="60"/>
                </a:moveTo>
                <a:cubicBezTo>
                  <a:pt x="8" y="31"/>
                  <a:pt x="31" y="8"/>
                  <a:pt x="60" y="8"/>
                </a:cubicBezTo>
                <a:cubicBezTo>
                  <a:pt x="89" y="8"/>
                  <a:pt x="112" y="31"/>
                  <a:pt x="112" y="60"/>
                </a:cubicBezTo>
                <a:cubicBezTo>
                  <a:pt x="112" y="72"/>
                  <a:pt x="108" y="82"/>
                  <a:pt x="102" y="91"/>
                </a:cubicBezTo>
                <a:cubicBezTo>
                  <a:pt x="104" y="93"/>
                  <a:pt x="105" y="95"/>
                  <a:pt x="107" y="97"/>
                </a:cubicBezTo>
                <a:cubicBezTo>
                  <a:pt x="115" y="87"/>
                  <a:pt x="120" y="74"/>
                  <a:pt x="120" y="60"/>
                </a:cubicBezTo>
                <a:cubicBezTo>
                  <a:pt x="120" y="27"/>
                  <a:pt x="93" y="0"/>
                  <a:pt x="60" y="0"/>
                </a:cubicBezTo>
                <a:cubicBezTo>
                  <a:pt x="27" y="0"/>
                  <a:pt x="0" y="27"/>
                  <a:pt x="0" y="60"/>
                </a:cubicBezTo>
                <a:cubicBezTo>
                  <a:pt x="0" y="74"/>
                  <a:pt x="5" y="87"/>
                  <a:pt x="13" y="97"/>
                </a:cubicBezTo>
                <a:cubicBezTo>
                  <a:pt x="15" y="95"/>
                  <a:pt x="16" y="93"/>
                  <a:pt x="18" y="91"/>
                </a:cubicBezTo>
                <a:cubicBezTo>
                  <a:pt x="12" y="82"/>
                  <a:pt x="8" y="72"/>
                  <a:pt x="8" y="60"/>
                </a:cubicBezTo>
                <a:close/>
                <a:moveTo>
                  <a:pt x="60" y="20"/>
                </a:moveTo>
                <a:cubicBezTo>
                  <a:pt x="38" y="20"/>
                  <a:pt x="20" y="38"/>
                  <a:pt x="20" y="60"/>
                </a:cubicBezTo>
                <a:cubicBezTo>
                  <a:pt x="20" y="68"/>
                  <a:pt x="23" y="76"/>
                  <a:pt x="27" y="83"/>
                </a:cubicBezTo>
                <a:cubicBezTo>
                  <a:pt x="29" y="81"/>
                  <a:pt x="32" y="80"/>
                  <a:pt x="34" y="79"/>
                </a:cubicBezTo>
                <a:cubicBezTo>
                  <a:pt x="30" y="73"/>
                  <a:pt x="28" y="67"/>
                  <a:pt x="28" y="60"/>
                </a:cubicBezTo>
                <a:cubicBezTo>
                  <a:pt x="28" y="42"/>
                  <a:pt x="42" y="28"/>
                  <a:pt x="60" y="28"/>
                </a:cubicBezTo>
                <a:cubicBezTo>
                  <a:pt x="78" y="28"/>
                  <a:pt x="92" y="42"/>
                  <a:pt x="92" y="60"/>
                </a:cubicBezTo>
                <a:cubicBezTo>
                  <a:pt x="92" y="67"/>
                  <a:pt x="90" y="73"/>
                  <a:pt x="86" y="78"/>
                </a:cubicBezTo>
                <a:cubicBezTo>
                  <a:pt x="89" y="80"/>
                  <a:pt x="91" y="81"/>
                  <a:pt x="93" y="83"/>
                </a:cubicBezTo>
                <a:cubicBezTo>
                  <a:pt x="97" y="76"/>
                  <a:pt x="100" y="68"/>
                  <a:pt x="100" y="60"/>
                </a:cubicBezTo>
                <a:cubicBezTo>
                  <a:pt x="100" y="38"/>
                  <a:pt x="82" y="20"/>
                  <a:pt x="60" y="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0" name="Freeform 26">
            <a:extLst>
              <a:ext uri="{FF2B5EF4-FFF2-40B4-BE49-F238E27FC236}">
                <a16:creationId xmlns:a16="http://schemas.microsoft.com/office/drawing/2014/main" id="{FA24B1C2-0995-4060-8576-A49B1F31E4BF}"/>
              </a:ext>
            </a:extLst>
          </p:cNvPr>
          <p:cNvSpPr>
            <a:spLocks noEditPoints="1"/>
          </p:cNvSpPr>
          <p:nvPr/>
        </p:nvSpPr>
        <p:spPr bwMode="auto">
          <a:xfrm>
            <a:off x="2690449" y="1592334"/>
            <a:ext cx="388937" cy="412750"/>
          </a:xfrm>
          <a:custGeom>
            <a:avLst/>
            <a:gdLst>
              <a:gd name="T0" fmla="*/ 147 w 245"/>
              <a:gd name="T1" fmla="*/ 49 h 260"/>
              <a:gd name="T2" fmla="*/ 98 w 245"/>
              <a:gd name="T3" fmla="*/ 49 h 260"/>
              <a:gd name="T4" fmla="*/ 98 w 245"/>
              <a:gd name="T5" fmla="*/ 0 h 260"/>
              <a:gd name="T6" fmla="*/ 147 w 245"/>
              <a:gd name="T7" fmla="*/ 0 h 260"/>
              <a:gd name="T8" fmla="*/ 147 w 245"/>
              <a:gd name="T9" fmla="*/ 49 h 260"/>
              <a:gd name="T10" fmla="*/ 41 w 245"/>
              <a:gd name="T11" fmla="*/ 219 h 260"/>
              <a:gd name="T12" fmla="*/ 41 w 245"/>
              <a:gd name="T13" fmla="*/ 252 h 260"/>
              <a:gd name="T14" fmla="*/ 8 w 245"/>
              <a:gd name="T15" fmla="*/ 252 h 260"/>
              <a:gd name="T16" fmla="*/ 8 w 245"/>
              <a:gd name="T17" fmla="*/ 219 h 260"/>
              <a:gd name="T18" fmla="*/ 41 w 245"/>
              <a:gd name="T19" fmla="*/ 219 h 260"/>
              <a:gd name="T20" fmla="*/ 49 w 245"/>
              <a:gd name="T21" fmla="*/ 211 h 260"/>
              <a:gd name="T22" fmla="*/ 0 w 245"/>
              <a:gd name="T23" fmla="*/ 211 h 260"/>
              <a:gd name="T24" fmla="*/ 0 w 245"/>
              <a:gd name="T25" fmla="*/ 260 h 260"/>
              <a:gd name="T26" fmla="*/ 49 w 245"/>
              <a:gd name="T27" fmla="*/ 260 h 260"/>
              <a:gd name="T28" fmla="*/ 49 w 245"/>
              <a:gd name="T29" fmla="*/ 211 h 260"/>
              <a:gd name="T30" fmla="*/ 49 w 245"/>
              <a:gd name="T31" fmla="*/ 211 h 260"/>
              <a:gd name="T32" fmla="*/ 237 w 245"/>
              <a:gd name="T33" fmla="*/ 219 h 260"/>
              <a:gd name="T34" fmla="*/ 237 w 245"/>
              <a:gd name="T35" fmla="*/ 252 h 260"/>
              <a:gd name="T36" fmla="*/ 204 w 245"/>
              <a:gd name="T37" fmla="*/ 252 h 260"/>
              <a:gd name="T38" fmla="*/ 204 w 245"/>
              <a:gd name="T39" fmla="*/ 219 h 260"/>
              <a:gd name="T40" fmla="*/ 237 w 245"/>
              <a:gd name="T41" fmla="*/ 219 h 260"/>
              <a:gd name="T42" fmla="*/ 245 w 245"/>
              <a:gd name="T43" fmla="*/ 211 h 260"/>
              <a:gd name="T44" fmla="*/ 196 w 245"/>
              <a:gd name="T45" fmla="*/ 211 h 260"/>
              <a:gd name="T46" fmla="*/ 196 w 245"/>
              <a:gd name="T47" fmla="*/ 260 h 260"/>
              <a:gd name="T48" fmla="*/ 245 w 245"/>
              <a:gd name="T49" fmla="*/ 260 h 260"/>
              <a:gd name="T50" fmla="*/ 245 w 245"/>
              <a:gd name="T51" fmla="*/ 211 h 260"/>
              <a:gd name="T52" fmla="*/ 245 w 245"/>
              <a:gd name="T53" fmla="*/ 211 h 260"/>
              <a:gd name="T54" fmla="*/ 131 w 245"/>
              <a:gd name="T55" fmla="*/ 122 h 260"/>
              <a:gd name="T56" fmla="*/ 131 w 245"/>
              <a:gd name="T57" fmla="*/ 65 h 260"/>
              <a:gd name="T58" fmla="*/ 114 w 245"/>
              <a:gd name="T59" fmla="*/ 65 h 260"/>
              <a:gd name="T60" fmla="*/ 114 w 245"/>
              <a:gd name="T61" fmla="*/ 122 h 260"/>
              <a:gd name="T62" fmla="*/ 16 w 245"/>
              <a:gd name="T63" fmla="*/ 122 h 260"/>
              <a:gd name="T64" fmla="*/ 16 w 245"/>
              <a:gd name="T65" fmla="*/ 195 h 260"/>
              <a:gd name="T66" fmla="*/ 33 w 245"/>
              <a:gd name="T67" fmla="*/ 195 h 260"/>
              <a:gd name="T68" fmla="*/ 33 w 245"/>
              <a:gd name="T69" fmla="*/ 138 h 260"/>
              <a:gd name="T70" fmla="*/ 212 w 245"/>
              <a:gd name="T71" fmla="*/ 138 h 260"/>
              <a:gd name="T72" fmla="*/ 212 w 245"/>
              <a:gd name="T73" fmla="*/ 195 h 260"/>
              <a:gd name="T74" fmla="*/ 229 w 245"/>
              <a:gd name="T75" fmla="*/ 195 h 260"/>
              <a:gd name="T76" fmla="*/ 229 w 245"/>
              <a:gd name="T77" fmla="*/ 122 h 260"/>
              <a:gd name="T78" fmla="*/ 131 w 245"/>
              <a:gd name="T79" fmla="*/ 12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5" h="260">
                <a:moveTo>
                  <a:pt x="147" y="49"/>
                </a:moveTo>
                <a:lnTo>
                  <a:pt x="98" y="49"/>
                </a:lnTo>
                <a:lnTo>
                  <a:pt x="98" y="0"/>
                </a:lnTo>
                <a:lnTo>
                  <a:pt x="147" y="0"/>
                </a:lnTo>
                <a:lnTo>
                  <a:pt x="147" y="49"/>
                </a:lnTo>
                <a:close/>
                <a:moveTo>
                  <a:pt x="41" y="219"/>
                </a:moveTo>
                <a:lnTo>
                  <a:pt x="41" y="252"/>
                </a:lnTo>
                <a:lnTo>
                  <a:pt x="8" y="252"/>
                </a:lnTo>
                <a:lnTo>
                  <a:pt x="8" y="219"/>
                </a:lnTo>
                <a:lnTo>
                  <a:pt x="41" y="219"/>
                </a:lnTo>
                <a:close/>
                <a:moveTo>
                  <a:pt x="49" y="211"/>
                </a:moveTo>
                <a:lnTo>
                  <a:pt x="0" y="211"/>
                </a:lnTo>
                <a:lnTo>
                  <a:pt x="0" y="260"/>
                </a:lnTo>
                <a:lnTo>
                  <a:pt x="49" y="260"/>
                </a:lnTo>
                <a:lnTo>
                  <a:pt x="49" y="211"/>
                </a:lnTo>
                <a:lnTo>
                  <a:pt x="49" y="211"/>
                </a:lnTo>
                <a:close/>
                <a:moveTo>
                  <a:pt x="237" y="219"/>
                </a:moveTo>
                <a:lnTo>
                  <a:pt x="237" y="252"/>
                </a:lnTo>
                <a:lnTo>
                  <a:pt x="204" y="252"/>
                </a:lnTo>
                <a:lnTo>
                  <a:pt x="204" y="219"/>
                </a:lnTo>
                <a:lnTo>
                  <a:pt x="237" y="219"/>
                </a:lnTo>
                <a:close/>
                <a:moveTo>
                  <a:pt x="245" y="211"/>
                </a:moveTo>
                <a:lnTo>
                  <a:pt x="196" y="211"/>
                </a:lnTo>
                <a:lnTo>
                  <a:pt x="196" y="260"/>
                </a:lnTo>
                <a:lnTo>
                  <a:pt x="245" y="260"/>
                </a:lnTo>
                <a:lnTo>
                  <a:pt x="245" y="211"/>
                </a:lnTo>
                <a:lnTo>
                  <a:pt x="245" y="211"/>
                </a:lnTo>
                <a:close/>
                <a:moveTo>
                  <a:pt x="131" y="122"/>
                </a:moveTo>
                <a:lnTo>
                  <a:pt x="131" y="65"/>
                </a:lnTo>
                <a:lnTo>
                  <a:pt x="114" y="65"/>
                </a:lnTo>
                <a:lnTo>
                  <a:pt x="114" y="122"/>
                </a:lnTo>
                <a:lnTo>
                  <a:pt x="16" y="122"/>
                </a:lnTo>
                <a:lnTo>
                  <a:pt x="16" y="195"/>
                </a:lnTo>
                <a:lnTo>
                  <a:pt x="33" y="195"/>
                </a:lnTo>
                <a:lnTo>
                  <a:pt x="33" y="138"/>
                </a:lnTo>
                <a:lnTo>
                  <a:pt x="212" y="138"/>
                </a:lnTo>
                <a:lnTo>
                  <a:pt x="212" y="195"/>
                </a:lnTo>
                <a:lnTo>
                  <a:pt x="229" y="195"/>
                </a:lnTo>
                <a:lnTo>
                  <a:pt x="229" y="122"/>
                </a:lnTo>
                <a:lnTo>
                  <a:pt x="131" y="12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1" name="Freeform 31">
            <a:extLst>
              <a:ext uri="{FF2B5EF4-FFF2-40B4-BE49-F238E27FC236}">
                <a16:creationId xmlns:a16="http://schemas.microsoft.com/office/drawing/2014/main" id="{34F9ECB3-B60A-40DE-A8CE-C46D45E107E0}"/>
              </a:ext>
            </a:extLst>
          </p:cNvPr>
          <p:cNvSpPr>
            <a:spLocks noEditPoints="1"/>
          </p:cNvSpPr>
          <p:nvPr/>
        </p:nvSpPr>
        <p:spPr bwMode="auto">
          <a:xfrm>
            <a:off x="3736677" y="1592334"/>
            <a:ext cx="387350" cy="412750"/>
          </a:xfrm>
          <a:custGeom>
            <a:avLst/>
            <a:gdLst>
              <a:gd name="T0" fmla="*/ 146 w 244"/>
              <a:gd name="T1" fmla="*/ 49 h 260"/>
              <a:gd name="T2" fmla="*/ 98 w 244"/>
              <a:gd name="T3" fmla="*/ 49 h 260"/>
              <a:gd name="T4" fmla="*/ 98 w 244"/>
              <a:gd name="T5" fmla="*/ 0 h 260"/>
              <a:gd name="T6" fmla="*/ 146 w 244"/>
              <a:gd name="T7" fmla="*/ 0 h 260"/>
              <a:gd name="T8" fmla="*/ 146 w 244"/>
              <a:gd name="T9" fmla="*/ 49 h 260"/>
              <a:gd name="T10" fmla="*/ 49 w 244"/>
              <a:gd name="T11" fmla="*/ 211 h 260"/>
              <a:gd name="T12" fmla="*/ 0 w 244"/>
              <a:gd name="T13" fmla="*/ 211 h 260"/>
              <a:gd name="T14" fmla="*/ 0 w 244"/>
              <a:gd name="T15" fmla="*/ 260 h 260"/>
              <a:gd name="T16" fmla="*/ 49 w 244"/>
              <a:gd name="T17" fmla="*/ 260 h 260"/>
              <a:gd name="T18" fmla="*/ 49 w 244"/>
              <a:gd name="T19" fmla="*/ 211 h 260"/>
              <a:gd name="T20" fmla="*/ 244 w 244"/>
              <a:gd name="T21" fmla="*/ 211 h 260"/>
              <a:gd name="T22" fmla="*/ 195 w 244"/>
              <a:gd name="T23" fmla="*/ 211 h 260"/>
              <a:gd name="T24" fmla="*/ 195 w 244"/>
              <a:gd name="T25" fmla="*/ 260 h 260"/>
              <a:gd name="T26" fmla="*/ 244 w 244"/>
              <a:gd name="T27" fmla="*/ 260 h 260"/>
              <a:gd name="T28" fmla="*/ 244 w 244"/>
              <a:gd name="T29" fmla="*/ 211 h 260"/>
              <a:gd name="T30" fmla="*/ 130 w 244"/>
              <a:gd name="T31" fmla="*/ 122 h 260"/>
              <a:gd name="T32" fmla="*/ 130 w 244"/>
              <a:gd name="T33" fmla="*/ 65 h 260"/>
              <a:gd name="T34" fmla="*/ 114 w 244"/>
              <a:gd name="T35" fmla="*/ 65 h 260"/>
              <a:gd name="T36" fmla="*/ 114 w 244"/>
              <a:gd name="T37" fmla="*/ 122 h 260"/>
              <a:gd name="T38" fmla="*/ 16 w 244"/>
              <a:gd name="T39" fmla="*/ 122 h 260"/>
              <a:gd name="T40" fmla="*/ 16 w 244"/>
              <a:gd name="T41" fmla="*/ 195 h 260"/>
              <a:gd name="T42" fmla="*/ 33 w 244"/>
              <a:gd name="T43" fmla="*/ 195 h 260"/>
              <a:gd name="T44" fmla="*/ 33 w 244"/>
              <a:gd name="T45" fmla="*/ 138 h 260"/>
              <a:gd name="T46" fmla="*/ 212 w 244"/>
              <a:gd name="T47" fmla="*/ 138 h 260"/>
              <a:gd name="T48" fmla="*/ 212 w 244"/>
              <a:gd name="T49" fmla="*/ 195 h 260"/>
              <a:gd name="T50" fmla="*/ 228 w 244"/>
              <a:gd name="T51" fmla="*/ 195 h 260"/>
              <a:gd name="T52" fmla="*/ 228 w 244"/>
              <a:gd name="T53" fmla="*/ 122 h 260"/>
              <a:gd name="T54" fmla="*/ 130 w 244"/>
              <a:gd name="T55" fmla="*/ 12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4" h="260">
                <a:moveTo>
                  <a:pt x="146" y="49"/>
                </a:moveTo>
                <a:lnTo>
                  <a:pt x="98" y="49"/>
                </a:lnTo>
                <a:lnTo>
                  <a:pt x="98" y="0"/>
                </a:lnTo>
                <a:lnTo>
                  <a:pt x="146" y="0"/>
                </a:lnTo>
                <a:lnTo>
                  <a:pt x="146" y="49"/>
                </a:lnTo>
                <a:close/>
                <a:moveTo>
                  <a:pt x="49" y="211"/>
                </a:moveTo>
                <a:lnTo>
                  <a:pt x="0" y="211"/>
                </a:lnTo>
                <a:lnTo>
                  <a:pt x="0" y="260"/>
                </a:lnTo>
                <a:lnTo>
                  <a:pt x="49" y="260"/>
                </a:lnTo>
                <a:lnTo>
                  <a:pt x="49" y="211"/>
                </a:lnTo>
                <a:close/>
                <a:moveTo>
                  <a:pt x="244" y="211"/>
                </a:moveTo>
                <a:lnTo>
                  <a:pt x="195" y="211"/>
                </a:lnTo>
                <a:lnTo>
                  <a:pt x="195" y="260"/>
                </a:lnTo>
                <a:lnTo>
                  <a:pt x="244" y="260"/>
                </a:lnTo>
                <a:lnTo>
                  <a:pt x="244" y="211"/>
                </a:lnTo>
                <a:close/>
                <a:moveTo>
                  <a:pt x="130" y="122"/>
                </a:moveTo>
                <a:lnTo>
                  <a:pt x="130" y="65"/>
                </a:lnTo>
                <a:lnTo>
                  <a:pt x="114" y="65"/>
                </a:lnTo>
                <a:lnTo>
                  <a:pt x="114" y="122"/>
                </a:lnTo>
                <a:lnTo>
                  <a:pt x="16" y="122"/>
                </a:lnTo>
                <a:lnTo>
                  <a:pt x="16" y="195"/>
                </a:lnTo>
                <a:lnTo>
                  <a:pt x="33" y="195"/>
                </a:lnTo>
                <a:lnTo>
                  <a:pt x="33" y="138"/>
                </a:lnTo>
                <a:lnTo>
                  <a:pt x="212" y="138"/>
                </a:lnTo>
                <a:lnTo>
                  <a:pt x="212" y="195"/>
                </a:lnTo>
                <a:lnTo>
                  <a:pt x="228" y="195"/>
                </a:lnTo>
                <a:lnTo>
                  <a:pt x="228" y="122"/>
                </a:lnTo>
                <a:lnTo>
                  <a:pt x="130" y="12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2" name="Freeform 35">
            <a:extLst>
              <a:ext uri="{FF2B5EF4-FFF2-40B4-BE49-F238E27FC236}">
                <a16:creationId xmlns:a16="http://schemas.microsoft.com/office/drawing/2014/main" id="{212129A1-DBE7-4458-839B-9C7A6CCE7280}"/>
              </a:ext>
            </a:extLst>
          </p:cNvPr>
          <p:cNvSpPr>
            <a:spLocks noEditPoints="1"/>
          </p:cNvSpPr>
          <p:nvPr/>
        </p:nvSpPr>
        <p:spPr bwMode="auto">
          <a:xfrm>
            <a:off x="2760298" y="2406184"/>
            <a:ext cx="249238" cy="412750"/>
          </a:xfrm>
          <a:custGeom>
            <a:avLst/>
            <a:gdLst>
              <a:gd name="T0" fmla="*/ 15 w 76"/>
              <a:gd name="T1" fmla="*/ 41 h 128"/>
              <a:gd name="T2" fmla="*/ 15 w 76"/>
              <a:gd name="T3" fmla="*/ 40 h 128"/>
              <a:gd name="T4" fmla="*/ 9 w 76"/>
              <a:gd name="T5" fmla="*/ 24 h 128"/>
              <a:gd name="T6" fmla="*/ 39 w 76"/>
              <a:gd name="T7" fmla="*/ 0 h 128"/>
              <a:gd name="T8" fmla="*/ 69 w 76"/>
              <a:gd name="T9" fmla="*/ 25 h 128"/>
              <a:gd name="T10" fmla="*/ 51 w 76"/>
              <a:gd name="T11" fmla="*/ 25 h 128"/>
              <a:gd name="T12" fmla="*/ 39 w 76"/>
              <a:gd name="T13" fmla="*/ 13 h 128"/>
              <a:gd name="T14" fmla="*/ 27 w 76"/>
              <a:gd name="T15" fmla="*/ 23 h 128"/>
              <a:gd name="T16" fmla="*/ 37 w 76"/>
              <a:gd name="T17" fmla="*/ 35 h 128"/>
              <a:gd name="T18" fmla="*/ 56 w 76"/>
              <a:gd name="T19" fmla="*/ 43 h 128"/>
              <a:gd name="T20" fmla="*/ 76 w 76"/>
              <a:gd name="T21" fmla="*/ 68 h 128"/>
              <a:gd name="T22" fmla="*/ 62 w 76"/>
              <a:gd name="T23" fmla="*/ 88 h 128"/>
              <a:gd name="T24" fmla="*/ 62 w 76"/>
              <a:gd name="T25" fmla="*/ 88 h 128"/>
              <a:gd name="T26" fmla="*/ 68 w 76"/>
              <a:gd name="T27" fmla="*/ 103 h 128"/>
              <a:gd name="T28" fmla="*/ 36 w 76"/>
              <a:gd name="T29" fmla="*/ 128 h 128"/>
              <a:gd name="T30" fmla="*/ 4 w 76"/>
              <a:gd name="T31" fmla="*/ 102 h 128"/>
              <a:gd name="T32" fmla="*/ 22 w 76"/>
              <a:gd name="T33" fmla="*/ 102 h 128"/>
              <a:gd name="T34" fmla="*/ 37 w 76"/>
              <a:gd name="T35" fmla="*/ 115 h 128"/>
              <a:gd name="T36" fmla="*/ 50 w 76"/>
              <a:gd name="T37" fmla="*/ 105 h 128"/>
              <a:gd name="T38" fmla="*/ 40 w 76"/>
              <a:gd name="T39" fmla="*/ 94 h 128"/>
              <a:gd name="T40" fmla="*/ 20 w 76"/>
              <a:gd name="T41" fmla="*/ 85 h 128"/>
              <a:gd name="T42" fmla="*/ 0 w 76"/>
              <a:gd name="T43" fmla="*/ 61 h 128"/>
              <a:gd name="T44" fmla="*/ 15 w 76"/>
              <a:gd name="T45" fmla="*/ 41 h 128"/>
              <a:gd name="T46" fmla="*/ 28 w 76"/>
              <a:gd name="T47" fmla="*/ 70 h 128"/>
              <a:gd name="T48" fmla="*/ 44 w 76"/>
              <a:gd name="T49" fmla="*/ 78 h 128"/>
              <a:gd name="T50" fmla="*/ 50 w 76"/>
              <a:gd name="T51" fmla="*/ 81 h 128"/>
              <a:gd name="T52" fmla="*/ 58 w 76"/>
              <a:gd name="T53" fmla="*/ 70 h 128"/>
              <a:gd name="T54" fmla="*/ 48 w 76"/>
              <a:gd name="T55" fmla="*/ 58 h 128"/>
              <a:gd name="T56" fmla="*/ 32 w 76"/>
              <a:gd name="T57" fmla="*/ 51 h 128"/>
              <a:gd name="T58" fmla="*/ 27 w 76"/>
              <a:gd name="T59" fmla="*/ 48 h 128"/>
              <a:gd name="T60" fmla="*/ 18 w 76"/>
              <a:gd name="T61" fmla="*/ 58 h 128"/>
              <a:gd name="T62" fmla="*/ 28 w 76"/>
              <a:gd name="T63" fmla="*/ 7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6" h="128">
                <a:moveTo>
                  <a:pt x="15" y="41"/>
                </a:moveTo>
                <a:cubicBezTo>
                  <a:pt x="15" y="40"/>
                  <a:pt x="15" y="40"/>
                  <a:pt x="15" y="40"/>
                </a:cubicBezTo>
                <a:cubicBezTo>
                  <a:pt x="11" y="36"/>
                  <a:pt x="9" y="31"/>
                  <a:pt x="9" y="24"/>
                </a:cubicBezTo>
                <a:cubicBezTo>
                  <a:pt x="9" y="10"/>
                  <a:pt x="21" y="0"/>
                  <a:pt x="39" y="0"/>
                </a:cubicBezTo>
                <a:cubicBezTo>
                  <a:pt x="60" y="0"/>
                  <a:pt x="68" y="10"/>
                  <a:pt x="69" y="25"/>
                </a:cubicBezTo>
                <a:cubicBezTo>
                  <a:pt x="51" y="25"/>
                  <a:pt x="51" y="25"/>
                  <a:pt x="51" y="25"/>
                </a:cubicBezTo>
                <a:cubicBezTo>
                  <a:pt x="51" y="18"/>
                  <a:pt x="48" y="13"/>
                  <a:pt x="39" y="13"/>
                </a:cubicBezTo>
                <a:cubicBezTo>
                  <a:pt x="31" y="13"/>
                  <a:pt x="27" y="17"/>
                  <a:pt x="27" y="23"/>
                </a:cubicBezTo>
                <a:cubicBezTo>
                  <a:pt x="27" y="29"/>
                  <a:pt x="30" y="32"/>
                  <a:pt x="37" y="35"/>
                </a:cubicBezTo>
                <a:cubicBezTo>
                  <a:pt x="56" y="43"/>
                  <a:pt x="56" y="43"/>
                  <a:pt x="56" y="43"/>
                </a:cubicBezTo>
                <a:cubicBezTo>
                  <a:pt x="71" y="50"/>
                  <a:pt x="76" y="57"/>
                  <a:pt x="76" y="68"/>
                </a:cubicBezTo>
                <a:cubicBezTo>
                  <a:pt x="76" y="78"/>
                  <a:pt x="70" y="84"/>
                  <a:pt x="62" y="88"/>
                </a:cubicBezTo>
                <a:cubicBezTo>
                  <a:pt x="62" y="88"/>
                  <a:pt x="62" y="88"/>
                  <a:pt x="62" y="88"/>
                </a:cubicBezTo>
                <a:cubicBezTo>
                  <a:pt x="66" y="92"/>
                  <a:pt x="68" y="96"/>
                  <a:pt x="68" y="103"/>
                </a:cubicBezTo>
                <a:cubicBezTo>
                  <a:pt x="68" y="119"/>
                  <a:pt x="56" y="128"/>
                  <a:pt x="36" y="128"/>
                </a:cubicBezTo>
                <a:cubicBezTo>
                  <a:pt x="15" y="128"/>
                  <a:pt x="5" y="118"/>
                  <a:pt x="4" y="102"/>
                </a:cubicBezTo>
                <a:cubicBezTo>
                  <a:pt x="22" y="102"/>
                  <a:pt x="22" y="102"/>
                  <a:pt x="22" y="102"/>
                </a:cubicBezTo>
                <a:cubicBezTo>
                  <a:pt x="23" y="110"/>
                  <a:pt x="27" y="115"/>
                  <a:pt x="37" y="115"/>
                </a:cubicBezTo>
                <a:cubicBezTo>
                  <a:pt x="46" y="115"/>
                  <a:pt x="50" y="111"/>
                  <a:pt x="50" y="105"/>
                </a:cubicBezTo>
                <a:cubicBezTo>
                  <a:pt x="50" y="99"/>
                  <a:pt x="47" y="97"/>
                  <a:pt x="40" y="94"/>
                </a:cubicBezTo>
                <a:cubicBezTo>
                  <a:pt x="20" y="85"/>
                  <a:pt x="20" y="85"/>
                  <a:pt x="20" y="85"/>
                </a:cubicBezTo>
                <a:cubicBezTo>
                  <a:pt x="8" y="79"/>
                  <a:pt x="0" y="74"/>
                  <a:pt x="0" y="61"/>
                </a:cubicBezTo>
                <a:cubicBezTo>
                  <a:pt x="0" y="51"/>
                  <a:pt x="6" y="44"/>
                  <a:pt x="15" y="41"/>
                </a:cubicBezTo>
                <a:close/>
                <a:moveTo>
                  <a:pt x="28" y="70"/>
                </a:moveTo>
                <a:cubicBezTo>
                  <a:pt x="44" y="78"/>
                  <a:pt x="44" y="78"/>
                  <a:pt x="44" y="78"/>
                </a:cubicBezTo>
                <a:cubicBezTo>
                  <a:pt x="47" y="79"/>
                  <a:pt x="49" y="80"/>
                  <a:pt x="50" y="81"/>
                </a:cubicBezTo>
                <a:cubicBezTo>
                  <a:pt x="55" y="79"/>
                  <a:pt x="58" y="76"/>
                  <a:pt x="58" y="70"/>
                </a:cubicBezTo>
                <a:cubicBezTo>
                  <a:pt x="58" y="65"/>
                  <a:pt x="56" y="62"/>
                  <a:pt x="48" y="58"/>
                </a:cubicBezTo>
                <a:cubicBezTo>
                  <a:pt x="32" y="51"/>
                  <a:pt x="32" y="51"/>
                  <a:pt x="32" y="51"/>
                </a:cubicBezTo>
                <a:cubicBezTo>
                  <a:pt x="30" y="50"/>
                  <a:pt x="28" y="49"/>
                  <a:pt x="27" y="48"/>
                </a:cubicBezTo>
                <a:cubicBezTo>
                  <a:pt x="21" y="49"/>
                  <a:pt x="18" y="53"/>
                  <a:pt x="18" y="58"/>
                </a:cubicBezTo>
                <a:cubicBezTo>
                  <a:pt x="18" y="64"/>
                  <a:pt x="22" y="67"/>
                  <a:pt x="28" y="7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3" name="Freeform 39">
            <a:extLst>
              <a:ext uri="{FF2B5EF4-FFF2-40B4-BE49-F238E27FC236}">
                <a16:creationId xmlns:a16="http://schemas.microsoft.com/office/drawing/2014/main" id="{F2460086-D860-4473-BE7E-00F6B0BF1372}"/>
              </a:ext>
            </a:extLst>
          </p:cNvPr>
          <p:cNvSpPr>
            <a:spLocks noEditPoints="1"/>
          </p:cNvSpPr>
          <p:nvPr/>
        </p:nvSpPr>
        <p:spPr bwMode="auto">
          <a:xfrm>
            <a:off x="3815258" y="2406184"/>
            <a:ext cx="230188" cy="412750"/>
          </a:xfrm>
          <a:custGeom>
            <a:avLst/>
            <a:gdLst>
              <a:gd name="T0" fmla="*/ 15 w 70"/>
              <a:gd name="T1" fmla="*/ 39 h 128"/>
              <a:gd name="T2" fmla="*/ 15 w 70"/>
              <a:gd name="T3" fmla="*/ 38 h 128"/>
              <a:gd name="T4" fmla="*/ 9 w 70"/>
              <a:gd name="T5" fmla="*/ 23 h 128"/>
              <a:gd name="T6" fmla="*/ 37 w 70"/>
              <a:gd name="T7" fmla="*/ 0 h 128"/>
              <a:gd name="T8" fmla="*/ 64 w 70"/>
              <a:gd name="T9" fmla="*/ 24 h 128"/>
              <a:gd name="T10" fmla="*/ 51 w 70"/>
              <a:gd name="T11" fmla="*/ 24 h 128"/>
              <a:gd name="T12" fmla="*/ 37 w 70"/>
              <a:gd name="T13" fmla="*/ 10 h 128"/>
              <a:gd name="T14" fmla="*/ 23 w 70"/>
              <a:gd name="T15" fmla="*/ 22 h 128"/>
              <a:gd name="T16" fmla="*/ 32 w 70"/>
              <a:gd name="T17" fmla="*/ 36 h 128"/>
              <a:gd name="T18" fmla="*/ 50 w 70"/>
              <a:gd name="T19" fmla="*/ 45 h 128"/>
              <a:gd name="T20" fmla="*/ 70 w 70"/>
              <a:gd name="T21" fmla="*/ 70 h 128"/>
              <a:gd name="T22" fmla="*/ 56 w 70"/>
              <a:gd name="T23" fmla="*/ 90 h 128"/>
              <a:gd name="T24" fmla="*/ 56 w 70"/>
              <a:gd name="T25" fmla="*/ 90 h 128"/>
              <a:gd name="T26" fmla="*/ 61 w 70"/>
              <a:gd name="T27" fmla="*/ 105 h 128"/>
              <a:gd name="T28" fmla="*/ 32 w 70"/>
              <a:gd name="T29" fmla="*/ 128 h 128"/>
              <a:gd name="T30" fmla="*/ 3 w 70"/>
              <a:gd name="T31" fmla="*/ 102 h 128"/>
              <a:gd name="T32" fmla="*/ 17 w 70"/>
              <a:gd name="T33" fmla="*/ 102 h 128"/>
              <a:gd name="T34" fmla="*/ 33 w 70"/>
              <a:gd name="T35" fmla="*/ 118 h 128"/>
              <a:gd name="T36" fmla="*/ 48 w 70"/>
              <a:gd name="T37" fmla="*/ 106 h 128"/>
              <a:gd name="T38" fmla="*/ 38 w 70"/>
              <a:gd name="T39" fmla="*/ 92 h 128"/>
              <a:gd name="T40" fmla="*/ 20 w 70"/>
              <a:gd name="T41" fmla="*/ 84 h 128"/>
              <a:gd name="T42" fmla="*/ 0 w 70"/>
              <a:gd name="T43" fmla="*/ 59 h 128"/>
              <a:gd name="T44" fmla="*/ 15 w 70"/>
              <a:gd name="T45" fmla="*/ 39 h 128"/>
              <a:gd name="T46" fmla="*/ 22 w 70"/>
              <a:gd name="T47" fmla="*/ 71 h 128"/>
              <a:gd name="T48" fmla="*/ 41 w 70"/>
              <a:gd name="T49" fmla="*/ 80 h 128"/>
              <a:gd name="T50" fmla="*/ 48 w 70"/>
              <a:gd name="T51" fmla="*/ 84 h 128"/>
              <a:gd name="T52" fmla="*/ 57 w 70"/>
              <a:gd name="T53" fmla="*/ 71 h 128"/>
              <a:gd name="T54" fmla="*/ 47 w 70"/>
              <a:gd name="T55" fmla="*/ 57 h 128"/>
              <a:gd name="T56" fmla="*/ 30 w 70"/>
              <a:gd name="T57" fmla="*/ 49 h 128"/>
              <a:gd name="T58" fmla="*/ 23 w 70"/>
              <a:gd name="T59" fmla="*/ 45 h 128"/>
              <a:gd name="T60" fmla="*/ 13 w 70"/>
              <a:gd name="T61" fmla="*/ 57 h 128"/>
              <a:gd name="T62" fmla="*/ 22 w 70"/>
              <a:gd name="T63" fmla="*/ 7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0" h="128">
                <a:moveTo>
                  <a:pt x="15" y="39"/>
                </a:moveTo>
                <a:cubicBezTo>
                  <a:pt x="15" y="38"/>
                  <a:pt x="15" y="38"/>
                  <a:pt x="15" y="38"/>
                </a:cubicBezTo>
                <a:cubicBezTo>
                  <a:pt x="11" y="34"/>
                  <a:pt x="9" y="30"/>
                  <a:pt x="9" y="23"/>
                </a:cubicBezTo>
                <a:cubicBezTo>
                  <a:pt x="9" y="10"/>
                  <a:pt x="21" y="0"/>
                  <a:pt x="37" y="0"/>
                </a:cubicBezTo>
                <a:cubicBezTo>
                  <a:pt x="54" y="0"/>
                  <a:pt x="63" y="10"/>
                  <a:pt x="64" y="24"/>
                </a:cubicBezTo>
                <a:cubicBezTo>
                  <a:pt x="51" y="24"/>
                  <a:pt x="51" y="24"/>
                  <a:pt x="51" y="24"/>
                </a:cubicBezTo>
                <a:cubicBezTo>
                  <a:pt x="50" y="16"/>
                  <a:pt x="47" y="10"/>
                  <a:pt x="37" y="10"/>
                </a:cubicBezTo>
                <a:cubicBezTo>
                  <a:pt x="27" y="10"/>
                  <a:pt x="23" y="16"/>
                  <a:pt x="23" y="22"/>
                </a:cubicBezTo>
                <a:cubicBezTo>
                  <a:pt x="23" y="30"/>
                  <a:pt x="27" y="33"/>
                  <a:pt x="32" y="36"/>
                </a:cubicBezTo>
                <a:cubicBezTo>
                  <a:pt x="50" y="45"/>
                  <a:pt x="50" y="45"/>
                  <a:pt x="50" y="45"/>
                </a:cubicBezTo>
                <a:cubicBezTo>
                  <a:pt x="66" y="52"/>
                  <a:pt x="70" y="59"/>
                  <a:pt x="70" y="70"/>
                </a:cubicBezTo>
                <a:cubicBezTo>
                  <a:pt x="70" y="81"/>
                  <a:pt x="64" y="87"/>
                  <a:pt x="56" y="90"/>
                </a:cubicBezTo>
                <a:cubicBezTo>
                  <a:pt x="56" y="90"/>
                  <a:pt x="56" y="90"/>
                  <a:pt x="56" y="90"/>
                </a:cubicBezTo>
                <a:cubicBezTo>
                  <a:pt x="60" y="94"/>
                  <a:pt x="61" y="99"/>
                  <a:pt x="61" y="105"/>
                </a:cubicBezTo>
                <a:cubicBezTo>
                  <a:pt x="61" y="119"/>
                  <a:pt x="51" y="128"/>
                  <a:pt x="32" y="128"/>
                </a:cubicBezTo>
                <a:cubicBezTo>
                  <a:pt x="14" y="128"/>
                  <a:pt x="4" y="118"/>
                  <a:pt x="3" y="102"/>
                </a:cubicBezTo>
                <a:cubicBezTo>
                  <a:pt x="17" y="102"/>
                  <a:pt x="17" y="102"/>
                  <a:pt x="17" y="102"/>
                </a:cubicBezTo>
                <a:cubicBezTo>
                  <a:pt x="18" y="112"/>
                  <a:pt x="22" y="118"/>
                  <a:pt x="33" y="118"/>
                </a:cubicBezTo>
                <a:cubicBezTo>
                  <a:pt x="44" y="118"/>
                  <a:pt x="48" y="112"/>
                  <a:pt x="48" y="106"/>
                </a:cubicBezTo>
                <a:cubicBezTo>
                  <a:pt x="48" y="98"/>
                  <a:pt x="45" y="96"/>
                  <a:pt x="38" y="92"/>
                </a:cubicBezTo>
                <a:cubicBezTo>
                  <a:pt x="20" y="84"/>
                  <a:pt x="20" y="84"/>
                  <a:pt x="20" y="84"/>
                </a:cubicBezTo>
                <a:cubicBezTo>
                  <a:pt x="7" y="77"/>
                  <a:pt x="0" y="71"/>
                  <a:pt x="0" y="59"/>
                </a:cubicBezTo>
                <a:cubicBezTo>
                  <a:pt x="0" y="49"/>
                  <a:pt x="7" y="42"/>
                  <a:pt x="15" y="39"/>
                </a:cubicBezTo>
                <a:close/>
                <a:moveTo>
                  <a:pt x="22" y="71"/>
                </a:moveTo>
                <a:cubicBezTo>
                  <a:pt x="41" y="80"/>
                  <a:pt x="41" y="80"/>
                  <a:pt x="41" y="80"/>
                </a:cubicBezTo>
                <a:cubicBezTo>
                  <a:pt x="44" y="81"/>
                  <a:pt x="46" y="82"/>
                  <a:pt x="48" y="84"/>
                </a:cubicBezTo>
                <a:cubicBezTo>
                  <a:pt x="53" y="82"/>
                  <a:pt x="57" y="78"/>
                  <a:pt x="57" y="71"/>
                </a:cubicBezTo>
                <a:cubicBezTo>
                  <a:pt x="57" y="65"/>
                  <a:pt x="54" y="61"/>
                  <a:pt x="47" y="57"/>
                </a:cubicBezTo>
                <a:cubicBezTo>
                  <a:pt x="30" y="49"/>
                  <a:pt x="30" y="49"/>
                  <a:pt x="30" y="49"/>
                </a:cubicBezTo>
                <a:cubicBezTo>
                  <a:pt x="27" y="48"/>
                  <a:pt x="25" y="46"/>
                  <a:pt x="23" y="45"/>
                </a:cubicBezTo>
                <a:cubicBezTo>
                  <a:pt x="16" y="47"/>
                  <a:pt x="13" y="51"/>
                  <a:pt x="13" y="57"/>
                </a:cubicBezTo>
                <a:cubicBezTo>
                  <a:pt x="13" y="64"/>
                  <a:pt x="17" y="68"/>
                  <a:pt x="22" y="7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4" name="Freeform 43">
            <a:extLst>
              <a:ext uri="{FF2B5EF4-FFF2-40B4-BE49-F238E27FC236}">
                <a16:creationId xmlns:a16="http://schemas.microsoft.com/office/drawing/2014/main" id="{12150D72-D0DF-4AF6-90CA-ED91791E6F70}"/>
              </a:ext>
            </a:extLst>
          </p:cNvPr>
          <p:cNvSpPr>
            <a:spLocks noEditPoints="1"/>
          </p:cNvSpPr>
          <p:nvPr/>
        </p:nvSpPr>
        <p:spPr bwMode="auto">
          <a:xfrm>
            <a:off x="586882" y="3244272"/>
            <a:ext cx="414337" cy="363538"/>
          </a:xfrm>
          <a:custGeom>
            <a:avLst/>
            <a:gdLst>
              <a:gd name="T0" fmla="*/ 113 w 128"/>
              <a:gd name="T1" fmla="*/ 18 h 112"/>
              <a:gd name="T2" fmla="*/ 95 w 128"/>
              <a:gd name="T3" fmla="*/ 36 h 112"/>
              <a:gd name="T4" fmla="*/ 77 w 128"/>
              <a:gd name="T5" fmla="*/ 18 h 112"/>
              <a:gd name="T6" fmla="*/ 95 w 128"/>
              <a:gd name="T7" fmla="*/ 0 h 112"/>
              <a:gd name="T8" fmla="*/ 113 w 128"/>
              <a:gd name="T9" fmla="*/ 18 h 112"/>
              <a:gd name="T10" fmla="*/ 34 w 128"/>
              <a:gd name="T11" fmla="*/ 20 h 112"/>
              <a:gd name="T12" fmla="*/ 16 w 128"/>
              <a:gd name="T13" fmla="*/ 38 h 112"/>
              <a:gd name="T14" fmla="*/ 34 w 128"/>
              <a:gd name="T15" fmla="*/ 56 h 112"/>
              <a:gd name="T16" fmla="*/ 52 w 128"/>
              <a:gd name="T17" fmla="*/ 38 h 112"/>
              <a:gd name="T18" fmla="*/ 34 w 128"/>
              <a:gd name="T19" fmla="*/ 20 h 112"/>
              <a:gd name="T20" fmla="*/ 82 w 128"/>
              <a:gd name="T21" fmla="*/ 111 h 112"/>
              <a:gd name="T22" fmla="*/ 76 w 128"/>
              <a:gd name="T23" fmla="*/ 87 h 112"/>
              <a:gd name="T24" fmla="*/ 59 w 128"/>
              <a:gd name="T25" fmla="*/ 70 h 112"/>
              <a:gd name="T26" fmla="*/ 54 w 128"/>
              <a:gd name="T27" fmla="*/ 67 h 112"/>
              <a:gd name="T28" fmla="*/ 45 w 128"/>
              <a:gd name="T29" fmla="*/ 64 h 112"/>
              <a:gd name="T30" fmla="*/ 34 w 128"/>
              <a:gd name="T31" fmla="*/ 82 h 112"/>
              <a:gd name="T32" fmla="*/ 23 w 128"/>
              <a:gd name="T33" fmla="*/ 64 h 112"/>
              <a:gd name="T34" fmla="*/ 0 w 128"/>
              <a:gd name="T35" fmla="*/ 77 h 112"/>
              <a:gd name="T36" fmla="*/ 0 w 128"/>
              <a:gd name="T37" fmla="*/ 112 h 112"/>
              <a:gd name="T38" fmla="*/ 47 w 128"/>
              <a:gd name="T39" fmla="*/ 112 h 112"/>
              <a:gd name="T40" fmla="*/ 82 w 128"/>
              <a:gd name="T41" fmla="*/ 112 h 112"/>
              <a:gd name="T42" fmla="*/ 82 w 128"/>
              <a:gd name="T43" fmla="*/ 111 h 112"/>
              <a:gd name="T44" fmla="*/ 128 w 128"/>
              <a:gd name="T45" fmla="*/ 56 h 112"/>
              <a:gd name="T46" fmla="*/ 121 w 128"/>
              <a:gd name="T47" fmla="*/ 50 h 112"/>
              <a:gd name="T48" fmla="*/ 106 w 128"/>
              <a:gd name="T49" fmla="*/ 44 h 112"/>
              <a:gd name="T50" fmla="*/ 95 w 128"/>
              <a:gd name="T51" fmla="*/ 62 h 112"/>
              <a:gd name="T52" fmla="*/ 85 w 128"/>
              <a:gd name="T53" fmla="*/ 44 h 112"/>
              <a:gd name="T54" fmla="*/ 58 w 128"/>
              <a:gd name="T55" fmla="*/ 60 h 112"/>
              <a:gd name="T56" fmla="*/ 64 w 128"/>
              <a:gd name="T57" fmla="*/ 63 h 112"/>
              <a:gd name="T58" fmla="*/ 83 w 128"/>
              <a:gd name="T59" fmla="*/ 83 h 112"/>
              <a:gd name="T60" fmla="*/ 90 w 128"/>
              <a:gd name="T61" fmla="*/ 111 h 112"/>
              <a:gd name="T62" fmla="*/ 90 w 128"/>
              <a:gd name="T63" fmla="*/ 112 h 112"/>
              <a:gd name="T64" fmla="*/ 90 w 128"/>
              <a:gd name="T65" fmla="*/ 112 h 112"/>
              <a:gd name="T66" fmla="*/ 128 w 128"/>
              <a:gd name="T67" fmla="*/ 112 h 112"/>
              <a:gd name="T68" fmla="*/ 128 w 128"/>
              <a:gd name="T69" fmla="*/ 5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12">
                <a:moveTo>
                  <a:pt x="113" y="18"/>
                </a:moveTo>
                <a:cubicBezTo>
                  <a:pt x="113" y="28"/>
                  <a:pt x="105" y="36"/>
                  <a:pt x="95" y="36"/>
                </a:cubicBezTo>
                <a:cubicBezTo>
                  <a:pt x="85" y="36"/>
                  <a:pt x="77" y="28"/>
                  <a:pt x="77" y="18"/>
                </a:cubicBezTo>
                <a:cubicBezTo>
                  <a:pt x="77" y="8"/>
                  <a:pt x="85" y="0"/>
                  <a:pt x="95" y="0"/>
                </a:cubicBezTo>
                <a:cubicBezTo>
                  <a:pt x="105" y="0"/>
                  <a:pt x="113" y="8"/>
                  <a:pt x="113" y="18"/>
                </a:cubicBezTo>
                <a:close/>
                <a:moveTo>
                  <a:pt x="34" y="20"/>
                </a:moveTo>
                <a:cubicBezTo>
                  <a:pt x="24" y="20"/>
                  <a:pt x="16" y="28"/>
                  <a:pt x="16" y="38"/>
                </a:cubicBezTo>
                <a:cubicBezTo>
                  <a:pt x="16" y="48"/>
                  <a:pt x="24" y="56"/>
                  <a:pt x="34" y="56"/>
                </a:cubicBezTo>
                <a:cubicBezTo>
                  <a:pt x="44" y="56"/>
                  <a:pt x="52" y="48"/>
                  <a:pt x="52" y="38"/>
                </a:cubicBezTo>
                <a:cubicBezTo>
                  <a:pt x="52" y="28"/>
                  <a:pt x="44" y="20"/>
                  <a:pt x="34" y="20"/>
                </a:cubicBezTo>
                <a:close/>
                <a:moveTo>
                  <a:pt x="82" y="111"/>
                </a:moveTo>
                <a:cubicBezTo>
                  <a:pt x="82" y="102"/>
                  <a:pt x="80" y="94"/>
                  <a:pt x="76" y="87"/>
                </a:cubicBezTo>
                <a:cubicBezTo>
                  <a:pt x="72" y="80"/>
                  <a:pt x="66" y="74"/>
                  <a:pt x="59" y="70"/>
                </a:cubicBezTo>
                <a:cubicBezTo>
                  <a:pt x="58" y="69"/>
                  <a:pt x="56" y="68"/>
                  <a:pt x="54" y="67"/>
                </a:cubicBezTo>
                <a:cubicBezTo>
                  <a:pt x="51" y="66"/>
                  <a:pt x="48" y="65"/>
                  <a:pt x="45" y="64"/>
                </a:cubicBezTo>
                <a:cubicBezTo>
                  <a:pt x="34" y="82"/>
                  <a:pt x="34" y="82"/>
                  <a:pt x="34" y="82"/>
                </a:cubicBezTo>
                <a:cubicBezTo>
                  <a:pt x="23" y="64"/>
                  <a:pt x="23" y="64"/>
                  <a:pt x="23" y="64"/>
                </a:cubicBezTo>
                <a:cubicBezTo>
                  <a:pt x="14" y="66"/>
                  <a:pt x="6" y="71"/>
                  <a:pt x="0" y="77"/>
                </a:cubicBezTo>
                <a:cubicBezTo>
                  <a:pt x="0" y="112"/>
                  <a:pt x="0" y="112"/>
                  <a:pt x="0" y="112"/>
                </a:cubicBezTo>
                <a:cubicBezTo>
                  <a:pt x="47" y="112"/>
                  <a:pt x="47" y="112"/>
                  <a:pt x="47" y="112"/>
                </a:cubicBezTo>
                <a:cubicBezTo>
                  <a:pt x="82" y="112"/>
                  <a:pt x="82" y="112"/>
                  <a:pt x="82" y="112"/>
                </a:cubicBezTo>
                <a:cubicBezTo>
                  <a:pt x="82" y="112"/>
                  <a:pt x="82" y="111"/>
                  <a:pt x="82" y="111"/>
                </a:cubicBezTo>
                <a:close/>
                <a:moveTo>
                  <a:pt x="128" y="56"/>
                </a:moveTo>
                <a:cubicBezTo>
                  <a:pt x="126" y="54"/>
                  <a:pt x="123" y="52"/>
                  <a:pt x="121" y="50"/>
                </a:cubicBezTo>
                <a:cubicBezTo>
                  <a:pt x="116" y="47"/>
                  <a:pt x="111" y="45"/>
                  <a:pt x="106" y="44"/>
                </a:cubicBezTo>
                <a:cubicBezTo>
                  <a:pt x="95" y="62"/>
                  <a:pt x="95" y="62"/>
                  <a:pt x="95" y="62"/>
                </a:cubicBezTo>
                <a:cubicBezTo>
                  <a:pt x="85" y="44"/>
                  <a:pt x="85" y="44"/>
                  <a:pt x="85" y="44"/>
                </a:cubicBezTo>
                <a:cubicBezTo>
                  <a:pt x="74" y="46"/>
                  <a:pt x="65" y="52"/>
                  <a:pt x="58" y="60"/>
                </a:cubicBezTo>
                <a:cubicBezTo>
                  <a:pt x="60" y="61"/>
                  <a:pt x="62" y="62"/>
                  <a:pt x="64" y="63"/>
                </a:cubicBezTo>
                <a:cubicBezTo>
                  <a:pt x="72" y="68"/>
                  <a:pt x="78" y="75"/>
                  <a:pt x="83" y="83"/>
                </a:cubicBezTo>
                <a:cubicBezTo>
                  <a:pt x="87" y="92"/>
                  <a:pt x="90" y="101"/>
                  <a:pt x="90" y="111"/>
                </a:cubicBezTo>
                <a:cubicBezTo>
                  <a:pt x="90" y="112"/>
                  <a:pt x="90" y="112"/>
                  <a:pt x="90" y="112"/>
                </a:cubicBezTo>
                <a:cubicBezTo>
                  <a:pt x="90" y="112"/>
                  <a:pt x="90" y="112"/>
                  <a:pt x="90" y="112"/>
                </a:cubicBezTo>
                <a:cubicBezTo>
                  <a:pt x="128" y="112"/>
                  <a:pt x="128" y="112"/>
                  <a:pt x="128" y="112"/>
                </a:cubicBezTo>
                <a:lnTo>
                  <a:pt x="128" y="5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5" name="Freeform 47">
            <a:extLst>
              <a:ext uri="{FF2B5EF4-FFF2-40B4-BE49-F238E27FC236}">
                <a16:creationId xmlns:a16="http://schemas.microsoft.com/office/drawing/2014/main" id="{A783F0C2-2C62-406D-8EA5-E0516E7B2A84}"/>
              </a:ext>
            </a:extLst>
          </p:cNvPr>
          <p:cNvSpPr>
            <a:spLocks noEditPoints="1"/>
          </p:cNvSpPr>
          <p:nvPr/>
        </p:nvSpPr>
        <p:spPr bwMode="auto">
          <a:xfrm>
            <a:off x="1666632" y="3193472"/>
            <a:ext cx="414338" cy="414338"/>
          </a:xfrm>
          <a:custGeom>
            <a:avLst/>
            <a:gdLst>
              <a:gd name="T0" fmla="*/ 48 w 128"/>
              <a:gd name="T1" fmla="*/ 46 h 128"/>
              <a:gd name="T2" fmla="*/ 30 w 128"/>
              <a:gd name="T3" fmla="*/ 64 h 128"/>
              <a:gd name="T4" fmla="*/ 12 w 128"/>
              <a:gd name="T5" fmla="*/ 46 h 128"/>
              <a:gd name="T6" fmla="*/ 30 w 128"/>
              <a:gd name="T7" fmla="*/ 28 h 128"/>
              <a:gd name="T8" fmla="*/ 48 w 128"/>
              <a:gd name="T9" fmla="*/ 46 h 128"/>
              <a:gd name="T10" fmla="*/ 72 w 128"/>
              <a:gd name="T11" fmla="*/ 0 h 128"/>
              <a:gd name="T12" fmla="*/ 54 w 128"/>
              <a:gd name="T13" fmla="*/ 18 h 128"/>
              <a:gd name="T14" fmla="*/ 72 w 128"/>
              <a:gd name="T15" fmla="*/ 36 h 128"/>
              <a:gd name="T16" fmla="*/ 90 w 128"/>
              <a:gd name="T17" fmla="*/ 18 h 128"/>
              <a:gd name="T18" fmla="*/ 72 w 128"/>
              <a:gd name="T19" fmla="*/ 0 h 128"/>
              <a:gd name="T20" fmla="*/ 98 w 128"/>
              <a:gd name="T21" fmla="*/ 40 h 128"/>
              <a:gd name="T22" fmla="*/ 80 w 128"/>
              <a:gd name="T23" fmla="*/ 58 h 128"/>
              <a:gd name="T24" fmla="*/ 98 w 128"/>
              <a:gd name="T25" fmla="*/ 76 h 128"/>
              <a:gd name="T26" fmla="*/ 116 w 128"/>
              <a:gd name="T27" fmla="*/ 58 h 128"/>
              <a:gd name="T28" fmla="*/ 98 w 128"/>
              <a:gd name="T29" fmla="*/ 40 h 128"/>
              <a:gd name="T30" fmla="*/ 65 w 128"/>
              <a:gd name="T31" fmla="*/ 86 h 128"/>
              <a:gd name="T32" fmla="*/ 56 w 128"/>
              <a:gd name="T33" fmla="*/ 78 h 128"/>
              <a:gd name="T34" fmla="*/ 41 w 128"/>
              <a:gd name="T35" fmla="*/ 72 h 128"/>
              <a:gd name="T36" fmla="*/ 30 w 128"/>
              <a:gd name="T37" fmla="*/ 90 h 128"/>
              <a:gd name="T38" fmla="*/ 20 w 128"/>
              <a:gd name="T39" fmla="*/ 72 h 128"/>
              <a:gd name="T40" fmla="*/ 0 w 128"/>
              <a:gd name="T41" fmla="*/ 81 h 128"/>
              <a:gd name="T42" fmla="*/ 0 w 128"/>
              <a:gd name="T43" fmla="*/ 128 h 128"/>
              <a:gd name="T44" fmla="*/ 42 w 128"/>
              <a:gd name="T45" fmla="*/ 128 h 128"/>
              <a:gd name="T46" fmla="*/ 65 w 128"/>
              <a:gd name="T47" fmla="*/ 86 h 128"/>
              <a:gd name="T48" fmla="*/ 128 w 128"/>
              <a:gd name="T49" fmla="*/ 93 h 128"/>
              <a:gd name="T50" fmla="*/ 123 w 128"/>
              <a:gd name="T51" fmla="*/ 90 h 128"/>
              <a:gd name="T52" fmla="*/ 108 w 128"/>
              <a:gd name="T53" fmla="*/ 84 h 128"/>
              <a:gd name="T54" fmla="*/ 98 w 128"/>
              <a:gd name="T55" fmla="*/ 102 h 128"/>
              <a:gd name="T56" fmla="*/ 87 w 128"/>
              <a:gd name="T57" fmla="*/ 84 h 128"/>
              <a:gd name="T58" fmla="*/ 70 w 128"/>
              <a:gd name="T59" fmla="*/ 92 h 128"/>
              <a:gd name="T60" fmla="*/ 50 w 128"/>
              <a:gd name="T61" fmla="*/ 128 h 128"/>
              <a:gd name="T62" fmla="*/ 128 w 128"/>
              <a:gd name="T63" fmla="*/ 128 h 128"/>
              <a:gd name="T64" fmla="*/ 128 w 128"/>
              <a:gd name="T65" fmla="*/ 9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28">
                <a:moveTo>
                  <a:pt x="48" y="46"/>
                </a:moveTo>
                <a:cubicBezTo>
                  <a:pt x="48" y="56"/>
                  <a:pt x="40" y="64"/>
                  <a:pt x="30" y="64"/>
                </a:cubicBezTo>
                <a:cubicBezTo>
                  <a:pt x="20" y="64"/>
                  <a:pt x="12" y="56"/>
                  <a:pt x="12" y="46"/>
                </a:cubicBezTo>
                <a:cubicBezTo>
                  <a:pt x="12" y="36"/>
                  <a:pt x="20" y="28"/>
                  <a:pt x="30" y="28"/>
                </a:cubicBezTo>
                <a:cubicBezTo>
                  <a:pt x="40" y="28"/>
                  <a:pt x="48" y="36"/>
                  <a:pt x="48" y="46"/>
                </a:cubicBezTo>
                <a:close/>
                <a:moveTo>
                  <a:pt x="72" y="0"/>
                </a:moveTo>
                <a:cubicBezTo>
                  <a:pt x="62" y="0"/>
                  <a:pt x="54" y="8"/>
                  <a:pt x="54" y="18"/>
                </a:cubicBezTo>
                <a:cubicBezTo>
                  <a:pt x="54" y="28"/>
                  <a:pt x="62" y="36"/>
                  <a:pt x="72" y="36"/>
                </a:cubicBezTo>
                <a:cubicBezTo>
                  <a:pt x="82" y="36"/>
                  <a:pt x="90" y="28"/>
                  <a:pt x="90" y="18"/>
                </a:cubicBezTo>
                <a:cubicBezTo>
                  <a:pt x="90" y="8"/>
                  <a:pt x="82" y="0"/>
                  <a:pt x="72" y="0"/>
                </a:cubicBezTo>
                <a:close/>
                <a:moveTo>
                  <a:pt x="98" y="40"/>
                </a:moveTo>
                <a:cubicBezTo>
                  <a:pt x="88" y="40"/>
                  <a:pt x="80" y="48"/>
                  <a:pt x="80" y="58"/>
                </a:cubicBezTo>
                <a:cubicBezTo>
                  <a:pt x="80" y="68"/>
                  <a:pt x="88" y="76"/>
                  <a:pt x="98" y="76"/>
                </a:cubicBezTo>
                <a:cubicBezTo>
                  <a:pt x="108" y="76"/>
                  <a:pt x="116" y="68"/>
                  <a:pt x="116" y="58"/>
                </a:cubicBezTo>
                <a:cubicBezTo>
                  <a:pt x="116" y="48"/>
                  <a:pt x="108" y="40"/>
                  <a:pt x="98" y="40"/>
                </a:cubicBezTo>
                <a:close/>
                <a:moveTo>
                  <a:pt x="65" y="86"/>
                </a:moveTo>
                <a:cubicBezTo>
                  <a:pt x="62" y="83"/>
                  <a:pt x="59" y="80"/>
                  <a:pt x="56" y="78"/>
                </a:cubicBezTo>
                <a:cubicBezTo>
                  <a:pt x="51" y="75"/>
                  <a:pt x="46" y="73"/>
                  <a:pt x="41" y="72"/>
                </a:cubicBezTo>
                <a:cubicBezTo>
                  <a:pt x="30" y="90"/>
                  <a:pt x="30" y="90"/>
                  <a:pt x="30" y="90"/>
                </a:cubicBezTo>
                <a:cubicBezTo>
                  <a:pt x="20" y="72"/>
                  <a:pt x="20" y="72"/>
                  <a:pt x="20" y="72"/>
                </a:cubicBezTo>
                <a:cubicBezTo>
                  <a:pt x="12" y="74"/>
                  <a:pt x="6" y="77"/>
                  <a:pt x="0" y="81"/>
                </a:cubicBezTo>
                <a:cubicBezTo>
                  <a:pt x="0" y="128"/>
                  <a:pt x="0" y="128"/>
                  <a:pt x="0" y="128"/>
                </a:cubicBezTo>
                <a:cubicBezTo>
                  <a:pt x="42" y="128"/>
                  <a:pt x="42" y="128"/>
                  <a:pt x="42" y="128"/>
                </a:cubicBezTo>
                <a:cubicBezTo>
                  <a:pt x="43" y="111"/>
                  <a:pt x="51" y="95"/>
                  <a:pt x="65" y="86"/>
                </a:cubicBezTo>
                <a:close/>
                <a:moveTo>
                  <a:pt x="128" y="93"/>
                </a:moveTo>
                <a:cubicBezTo>
                  <a:pt x="127" y="92"/>
                  <a:pt x="125" y="91"/>
                  <a:pt x="123" y="90"/>
                </a:cubicBezTo>
                <a:cubicBezTo>
                  <a:pt x="119" y="87"/>
                  <a:pt x="114" y="85"/>
                  <a:pt x="108" y="84"/>
                </a:cubicBezTo>
                <a:cubicBezTo>
                  <a:pt x="98" y="102"/>
                  <a:pt x="98" y="102"/>
                  <a:pt x="98" y="102"/>
                </a:cubicBezTo>
                <a:cubicBezTo>
                  <a:pt x="87" y="84"/>
                  <a:pt x="87" y="84"/>
                  <a:pt x="87" y="84"/>
                </a:cubicBezTo>
                <a:cubicBezTo>
                  <a:pt x="81" y="85"/>
                  <a:pt x="75" y="88"/>
                  <a:pt x="70" y="92"/>
                </a:cubicBezTo>
                <a:cubicBezTo>
                  <a:pt x="58" y="100"/>
                  <a:pt x="51" y="113"/>
                  <a:pt x="50" y="128"/>
                </a:cubicBezTo>
                <a:cubicBezTo>
                  <a:pt x="128" y="128"/>
                  <a:pt x="128" y="128"/>
                  <a:pt x="128" y="128"/>
                </a:cubicBezTo>
                <a:lnTo>
                  <a:pt x="128" y="9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36" name="Freeform: Shape 335">
            <a:extLst>
              <a:ext uri="{FF2B5EF4-FFF2-40B4-BE49-F238E27FC236}">
                <a16:creationId xmlns:a16="http://schemas.microsoft.com/office/drawing/2014/main" id="{D074A1AC-C7BF-4F3D-B565-DE14F05BF6ED}"/>
              </a:ext>
            </a:extLst>
          </p:cNvPr>
          <p:cNvSpPr/>
          <p:nvPr/>
        </p:nvSpPr>
        <p:spPr>
          <a:xfrm>
            <a:off x="1666632" y="2404596"/>
            <a:ext cx="414338" cy="414338"/>
          </a:xfrm>
          <a:custGeom>
            <a:avLst/>
            <a:gdLst>
              <a:gd name="connsiteX0" fmla="*/ 171450 w 304800"/>
              <a:gd name="connsiteY0" fmla="*/ 9525 h 304800"/>
              <a:gd name="connsiteX1" fmla="*/ 247650 w 304800"/>
              <a:gd name="connsiteY1" fmla="*/ 9525 h 304800"/>
              <a:gd name="connsiteX2" fmla="*/ 247650 w 304800"/>
              <a:gd name="connsiteY2" fmla="*/ 57150 h 304800"/>
              <a:gd name="connsiteX3" fmla="*/ 295275 w 304800"/>
              <a:gd name="connsiteY3" fmla="*/ 57150 h 304800"/>
              <a:gd name="connsiteX4" fmla="*/ 295275 w 304800"/>
              <a:gd name="connsiteY4" fmla="*/ 180975 h 304800"/>
              <a:gd name="connsiteX5" fmla="*/ 171450 w 304800"/>
              <a:gd name="connsiteY5" fmla="*/ 180975 h 304800"/>
              <a:gd name="connsiteX6" fmla="*/ 171450 w 304800"/>
              <a:gd name="connsiteY6" fmla="*/ 9525 h 304800"/>
              <a:gd name="connsiteX7" fmla="*/ 161925 w 304800"/>
              <a:gd name="connsiteY7" fmla="*/ 0 h 304800"/>
              <a:gd name="connsiteX8" fmla="*/ 161925 w 304800"/>
              <a:gd name="connsiteY8" fmla="*/ 190500 h 304800"/>
              <a:gd name="connsiteX9" fmla="*/ 304800 w 304800"/>
              <a:gd name="connsiteY9" fmla="*/ 190500 h 304800"/>
              <a:gd name="connsiteX10" fmla="*/ 304800 w 304800"/>
              <a:gd name="connsiteY10" fmla="*/ 57150 h 304800"/>
              <a:gd name="connsiteX11" fmla="*/ 247650 w 304800"/>
              <a:gd name="connsiteY11" fmla="*/ 0 h 304800"/>
              <a:gd name="connsiteX12" fmla="*/ 161925 w 304800"/>
              <a:gd name="connsiteY12" fmla="*/ 0 h 304800"/>
              <a:gd name="connsiteX13" fmla="*/ 131445 w 304800"/>
              <a:gd name="connsiteY13" fmla="*/ 270510 h 304800"/>
              <a:gd name="connsiteX14" fmla="*/ 151448 w 304800"/>
              <a:gd name="connsiteY14" fmla="*/ 290513 h 304800"/>
              <a:gd name="connsiteX15" fmla="*/ 138113 w 304800"/>
              <a:gd name="connsiteY15" fmla="*/ 304800 h 304800"/>
              <a:gd name="connsiteX16" fmla="*/ 95250 w 304800"/>
              <a:gd name="connsiteY16" fmla="*/ 261938 h 304800"/>
              <a:gd name="connsiteX17" fmla="*/ 138113 w 304800"/>
              <a:gd name="connsiteY17" fmla="*/ 219075 h 304800"/>
              <a:gd name="connsiteX18" fmla="*/ 151448 w 304800"/>
              <a:gd name="connsiteY18" fmla="*/ 232410 h 304800"/>
              <a:gd name="connsiteX19" fmla="*/ 132398 w 304800"/>
              <a:gd name="connsiteY19" fmla="*/ 251460 h 304800"/>
              <a:gd name="connsiteX20" fmla="*/ 200978 w 304800"/>
              <a:gd name="connsiteY20" fmla="*/ 209550 h 304800"/>
              <a:gd name="connsiteX21" fmla="*/ 223838 w 304800"/>
              <a:gd name="connsiteY21" fmla="*/ 209550 h 304800"/>
              <a:gd name="connsiteX22" fmla="*/ 131445 w 304800"/>
              <a:gd name="connsiteY22" fmla="*/ 270510 h 304800"/>
              <a:gd name="connsiteX23" fmla="*/ 86678 w 304800"/>
              <a:gd name="connsiteY23" fmla="*/ 13335 h 304800"/>
              <a:gd name="connsiteX24" fmla="*/ 106680 w 304800"/>
              <a:gd name="connsiteY24" fmla="*/ 34290 h 304800"/>
              <a:gd name="connsiteX25" fmla="*/ 0 w 304800"/>
              <a:gd name="connsiteY25" fmla="*/ 152400 h 304800"/>
              <a:gd name="connsiteX26" fmla="*/ 76200 w 304800"/>
              <a:gd name="connsiteY26" fmla="*/ 262890 h 304800"/>
              <a:gd name="connsiteX27" fmla="*/ 76200 w 304800"/>
              <a:gd name="connsiteY27" fmla="*/ 241935 h 304800"/>
              <a:gd name="connsiteX28" fmla="*/ 19050 w 304800"/>
              <a:gd name="connsiteY28" fmla="*/ 151448 h 304800"/>
              <a:gd name="connsiteX29" fmla="*/ 105728 w 304800"/>
              <a:gd name="connsiteY29" fmla="*/ 52388 h 304800"/>
              <a:gd name="connsiteX30" fmla="*/ 86678 w 304800"/>
              <a:gd name="connsiteY30" fmla="*/ 71438 h 304800"/>
              <a:gd name="connsiteX31" fmla="*/ 100013 w 304800"/>
              <a:gd name="connsiteY31" fmla="*/ 85725 h 304800"/>
              <a:gd name="connsiteX32" fmla="*/ 142875 w 304800"/>
              <a:gd name="connsiteY32" fmla="*/ 42863 h 304800"/>
              <a:gd name="connsiteX33" fmla="*/ 100013 w 304800"/>
              <a:gd name="connsiteY33" fmla="*/ 0 h 304800"/>
              <a:gd name="connsiteX34" fmla="*/ 86678 w 304800"/>
              <a:gd name="connsiteY34" fmla="*/ 1333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04800" h="304800">
                <a:moveTo>
                  <a:pt x="171450" y="9525"/>
                </a:moveTo>
                <a:lnTo>
                  <a:pt x="247650" y="9525"/>
                </a:lnTo>
                <a:lnTo>
                  <a:pt x="247650" y="57150"/>
                </a:lnTo>
                <a:lnTo>
                  <a:pt x="295275" y="57150"/>
                </a:lnTo>
                <a:lnTo>
                  <a:pt x="295275" y="180975"/>
                </a:lnTo>
                <a:lnTo>
                  <a:pt x="171450" y="180975"/>
                </a:lnTo>
                <a:lnTo>
                  <a:pt x="171450" y="9525"/>
                </a:lnTo>
                <a:close/>
                <a:moveTo>
                  <a:pt x="161925" y="0"/>
                </a:moveTo>
                <a:lnTo>
                  <a:pt x="161925" y="190500"/>
                </a:lnTo>
                <a:lnTo>
                  <a:pt x="304800" y="190500"/>
                </a:lnTo>
                <a:lnTo>
                  <a:pt x="304800" y="57150"/>
                </a:lnTo>
                <a:lnTo>
                  <a:pt x="247650" y="0"/>
                </a:lnTo>
                <a:lnTo>
                  <a:pt x="161925" y="0"/>
                </a:lnTo>
                <a:close/>
                <a:moveTo>
                  <a:pt x="131445" y="270510"/>
                </a:moveTo>
                <a:lnTo>
                  <a:pt x="151448" y="290513"/>
                </a:lnTo>
                <a:lnTo>
                  <a:pt x="138113" y="304800"/>
                </a:lnTo>
                <a:lnTo>
                  <a:pt x="95250" y="261938"/>
                </a:lnTo>
                <a:lnTo>
                  <a:pt x="138113" y="219075"/>
                </a:lnTo>
                <a:lnTo>
                  <a:pt x="151448" y="232410"/>
                </a:lnTo>
                <a:lnTo>
                  <a:pt x="132398" y="251460"/>
                </a:lnTo>
                <a:cubicBezTo>
                  <a:pt x="160973" y="247650"/>
                  <a:pt x="184785" y="231458"/>
                  <a:pt x="200978" y="209550"/>
                </a:cubicBezTo>
                <a:lnTo>
                  <a:pt x="223838" y="209550"/>
                </a:lnTo>
                <a:cubicBezTo>
                  <a:pt x="204788" y="242888"/>
                  <a:pt x="170498" y="266700"/>
                  <a:pt x="131445" y="270510"/>
                </a:cubicBezTo>
                <a:close/>
                <a:moveTo>
                  <a:pt x="86678" y="13335"/>
                </a:moveTo>
                <a:lnTo>
                  <a:pt x="106680" y="34290"/>
                </a:lnTo>
                <a:cubicBezTo>
                  <a:pt x="46673" y="40005"/>
                  <a:pt x="0" y="90488"/>
                  <a:pt x="0" y="152400"/>
                </a:cubicBezTo>
                <a:cubicBezTo>
                  <a:pt x="0" y="202883"/>
                  <a:pt x="31433" y="245745"/>
                  <a:pt x="76200" y="262890"/>
                </a:cubicBezTo>
                <a:lnTo>
                  <a:pt x="76200" y="241935"/>
                </a:lnTo>
                <a:cubicBezTo>
                  <a:pt x="42863" y="225743"/>
                  <a:pt x="19050" y="191453"/>
                  <a:pt x="19050" y="151448"/>
                </a:cubicBezTo>
                <a:cubicBezTo>
                  <a:pt x="19050" y="100965"/>
                  <a:pt x="57150" y="59055"/>
                  <a:pt x="105728" y="52388"/>
                </a:cubicBezTo>
                <a:lnTo>
                  <a:pt x="86678" y="71438"/>
                </a:lnTo>
                <a:lnTo>
                  <a:pt x="100013" y="85725"/>
                </a:lnTo>
                <a:lnTo>
                  <a:pt x="142875" y="42863"/>
                </a:lnTo>
                <a:lnTo>
                  <a:pt x="100013" y="0"/>
                </a:lnTo>
                <a:lnTo>
                  <a:pt x="86678" y="13335"/>
                </a:lnTo>
                <a:close/>
              </a:path>
            </a:pathLst>
          </a:custGeom>
          <a:solidFill>
            <a:schemeClr val="tx2"/>
          </a:solidFill>
          <a:ln w="9525" cap="flat">
            <a:noFill/>
            <a:prstDash val="solid"/>
            <a:miter/>
          </a:ln>
        </p:spPr>
        <p:txBody>
          <a:bodyPr rtlCol="0" anchor="ctr"/>
          <a:lstStyle/>
          <a:p>
            <a:endParaRPr lang="en-GB"/>
          </a:p>
        </p:txBody>
      </p:sp>
      <p:sp>
        <p:nvSpPr>
          <p:cNvPr id="337" name="Freeform: Shape 336">
            <a:extLst>
              <a:ext uri="{FF2B5EF4-FFF2-40B4-BE49-F238E27FC236}">
                <a16:creationId xmlns:a16="http://schemas.microsoft.com/office/drawing/2014/main" id="{E23687E7-0C84-44AD-9FF8-F4B09E561332}"/>
              </a:ext>
            </a:extLst>
          </p:cNvPr>
          <p:cNvSpPr/>
          <p:nvPr/>
        </p:nvSpPr>
        <p:spPr>
          <a:xfrm>
            <a:off x="2684466" y="4063656"/>
            <a:ext cx="400903" cy="400903"/>
          </a:xfrm>
          <a:custGeom>
            <a:avLst/>
            <a:gdLst>
              <a:gd name="connsiteX0" fmla="*/ 295275 w 304800"/>
              <a:gd name="connsiteY0" fmla="*/ 161925 h 304800"/>
              <a:gd name="connsiteX1" fmla="*/ 247650 w 304800"/>
              <a:gd name="connsiteY1" fmla="*/ 161925 h 304800"/>
              <a:gd name="connsiteX2" fmla="*/ 238125 w 304800"/>
              <a:gd name="connsiteY2" fmla="*/ 171450 h 304800"/>
              <a:gd name="connsiteX3" fmla="*/ 238125 w 304800"/>
              <a:gd name="connsiteY3" fmla="*/ 180975 h 304800"/>
              <a:gd name="connsiteX4" fmla="*/ 123825 w 304800"/>
              <a:gd name="connsiteY4" fmla="*/ 180975 h 304800"/>
              <a:gd name="connsiteX5" fmla="*/ 123825 w 304800"/>
              <a:gd name="connsiteY5" fmla="*/ 66675 h 304800"/>
              <a:gd name="connsiteX6" fmla="*/ 133350 w 304800"/>
              <a:gd name="connsiteY6" fmla="*/ 66675 h 304800"/>
              <a:gd name="connsiteX7" fmla="*/ 142875 w 304800"/>
              <a:gd name="connsiteY7" fmla="*/ 57150 h 304800"/>
              <a:gd name="connsiteX8" fmla="*/ 142875 w 304800"/>
              <a:gd name="connsiteY8" fmla="*/ 9525 h 304800"/>
              <a:gd name="connsiteX9" fmla="*/ 133350 w 304800"/>
              <a:gd name="connsiteY9" fmla="*/ 0 h 304800"/>
              <a:gd name="connsiteX10" fmla="*/ 9525 w 304800"/>
              <a:gd name="connsiteY10" fmla="*/ 0 h 304800"/>
              <a:gd name="connsiteX11" fmla="*/ 0 w 304800"/>
              <a:gd name="connsiteY11" fmla="*/ 9525 h 304800"/>
              <a:gd name="connsiteX12" fmla="*/ 0 w 304800"/>
              <a:gd name="connsiteY12" fmla="*/ 57150 h 304800"/>
              <a:gd name="connsiteX13" fmla="*/ 9525 w 304800"/>
              <a:gd name="connsiteY13" fmla="*/ 66675 h 304800"/>
              <a:gd name="connsiteX14" fmla="*/ 19050 w 304800"/>
              <a:gd name="connsiteY14" fmla="*/ 66675 h 304800"/>
              <a:gd name="connsiteX15" fmla="*/ 19050 w 304800"/>
              <a:gd name="connsiteY15" fmla="*/ 209550 h 304800"/>
              <a:gd name="connsiteX16" fmla="*/ 95250 w 304800"/>
              <a:gd name="connsiteY16" fmla="*/ 285750 h 304800"/>
              <a:gd name="connsiteX17" fmla="*/ 238125 w 304800"/>
              <a:gd name="connsiteY17" fmla="*/ 285750 h 304800"/>
              <a:gd name="connsiteX18" fmla="*/ 238125 w 304800"/>
              <a:gd name="connsiteY18" fmla="*/ 295275 h 304800"/>
              <a:gd name="connsiteX19" fmla="*/ 247650 w 304800"/>
              <a:gd name="connsiteY19" fmla="*/ 304800 h 304800"/>
              <a:gd name="connsiteX20" fmla="*/ 295275 w 304800"/>
              <a:gd name="connsiteY20" fmla="*/ 304800 h 304800"/>
              <a:gd name="connsiteX21" fmla="*/ 304800 w 304800"/>
              <a:gd name="connsiteY21" fmla="*/ 295275 h 304800"/>
              <a:gd name="connsiteX22" fmla="*/ 304800 w 304800"/>
              <a:gd name="connsiteY22" fmla="*/ 171450 h 304800"/>
              <a:gd name="connsiteX23" fmla="*/ 295275 w 304800"/>
              <a:gd name="connsiteY23" fmla="*/ 161925 h 304800"/>
              <a:gd name="connsiteX24" fmla="*/ 19050 w 304800"/>
              <a:gd name="connsiteY24" fmla="*/ 19050 h 304800"/>
              <a:gd name="connsiteX25" fmla="*/ 123825 w 304800"/>
              <a:gd name="connsiteY25" fmla="*/ 19050 h 304800"/>
              <a:gd name="connsiteX26" fmla="*/ 123825 w 304800"/>
              <a:gd name="connsiteY26" fmla="*/ 47625 h 304800"/>
              <a:gd name="connsiteX27" fmla="*/ 19050 w 304800"/>
              <a:gd name="connsiteY27" fmla="*/ 47625 h 304800"/>
              <a:gd name="connsiteX28" fmla="*/ 19050 w 304800"/>
              <a:gd name="connsiteY28" fmla="*/ 19050 h 304800"/>
              <a:gd name="connsiteX29" fmla="*/ 95250 w 304800"/>
              <a:gd name="connsiteY29" fmla="*/ 266700 h 304800"/>
              <a:gd name="connsiteX30" fmla="*/ 38100 w 304800"/>
              <a:gd name="connsiteY30" fmla="*/ 209550 h 304800"/>
              <a:gd name="connsiteX31" fmla="*/ 38100 w 304800"/>
              <a:gd name="connsiteY31" fmla="*/ 66675 h 304800"/>
              <a:gd name="connsiteX32" fmla="*/ 104775 w 304800"/>
              <a:gd name="connsiteY32" fmla="*/ 66675 h 304800"/>
              <a:gd name="connsiteX33" fmla="*/ 104775 w 304800"/>
              <a:gd name="connsiteY33" fmla="*/ 190500 h 304800"/>
              <a:gd name="connsiteX34" fmla="*/ 114300 w 304800"/>
              <a:gd name="connsiteY34" fmla="*/ 200025 h 304800"/>
              <a:gd name="connsiteX35" fmla="*/ 238125 w 304800"/>
              <a:gd name="connsiteY35" fmla="*/ 200025 h 304800"/>
              <a:gd name="connsiteX36" fmla="*/ 238125 w 304800"/>
              <a:gd name="connsiteY36" fmla="*/ 266700 h 304800"/>
              <a:gd name="connsiteX37" fmla="*/ 95250 w 304800"/>
              <a:gd name="connsiteY37" fmla="*/ 266700 h 304800"/>
              <a:gd name="connsiteX38" fmla="*/ 285750 w 304800"/>
              <a:gd name="connsiteY38" fmla="*/ 285750 h 304800"/>
              <a:gd name="connsiteX39" fmla="*/ 257175 w 304800"/>
              <a:gd name="connsiteY39" fmla="*/ 285750 h 304800"/>
              <a:gd name="connsiteX40" fmla="*/ 257175 w 304800"/>
              <a:gd name="connsiteY40" fmla="*/ 180975 h 304800"/>
              <a:gd name="connsiteX41" fmla="*/ 285750 w 304800"/>
              <a:gd name="connsiteY41" fmla="*/ 180975 h 304800"/>
              <a:gd name="connsiteX42" fmla="*/ 285750 w 304800"/>
              <a:gd name="connsiteY42" fmla="*/ 2857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04800" h="304800">
                <a:moveTo>
                  <a:pt x="295275" y="161925"/>
                </a:moveTo>
                <a:lnTo>
                  <a:pt x="247650" y="161925"/>
                </a:lnTo>
                <a:cubicBezTo>
                  <a:pt x="241935" y="161925"/>
                  <a:pt x="238125" y="165735"/>
                  <a:pt x="238125" y="171450"/>
                </a:cubicBezTo>
                <a:lnTo>
                  <a:pt x="238125" y="180975"/>
                </a:lnTo>
                <a:lnTo>
                  <a:pt x="123825" y="180975"/>
                </a:lnTo>
                <a:lnTo>
                  <a:pt x="123825" y="66675"/>
                </a:lnTo>
                <a:lnTo>
                  <a:pt x="133350" y="66675"/>
                </a:lnTo>
                <a:cubicBezTo>
                  <a:pt x="139065" y="66675"/>
                  <a:pt x="142875" y="62865"/>
                  <a:pt x="142875" y="57150"/>
                </a:cubicBezTo>
                <a:lnTo>
                  <a:pt x="142875" y="9525"/>
                </a:lnTo>
                <a:cubicBezTo>
                  <a:pt x="142875" y="3810"/>
                  <a:pt x="139065" y="0"/>
                  <a:pt x="133350" y="0"/>
                </a:cubicBezTo>
                <a:lnTo>
                  <a:pt x="9525" y="0"/>
                </a:lnTo>
                <a:cubicBezTo>
                  <a:pt x="3810" y="0"/>
                  <a:pt x="0" y="3810"/>
                  <a:pt x="0" y="9525"/>
                </a:cubicBezTo>
                <a:lnTo>
                  <a:pt x="0" y="57150"/>
                </a:lnTo>
                <a:cubicBezTo>
                  <a:pt x="0" y="62865"/>
                  <a:pt x="3810" y="66675"/>
                  <a:pt x="9525" y="66675"/>
                </a:cubicBezTo>
                <a:lnTo>
                  <a:pt x="19050" y="66675"/>
                </a:lnTo>
                <a:lnTo>
                  <a:pt x="19050" y="209550"/>
                </a:lnTo>
                <a:cubicBezTo>
                  <a:pt x="19050" y="251460"/>
                  <a:pt x="53340" y="285750"/>
                  <a:pt x="95250" y="285750"/>
                </a:cubicBezTo>
                <a:lnTo>
                  <a:pt x="238125" y="285750"/>
                </a:lnTo>
                <a:lnTo>
                  <a:pt x="238125" y="295275"/>
                </a:lnTo>
                <a:cubicBezTo>
                  <a:pt x="238125" y="300990"/>
                  <a:pt x="241935" y="304800"/>
                  <a:pt x="247650" y="304800"/>
                </a:cubicBezTo>
                <a:lnTo>
                  <a:pt x="295275" y="304800"/>
                </a:lnTo>
                <a:cubicBezTo>
                  <a:pt x="300990" y="304800"/>
                  <a:pt x="304800" y="300990"/>
                  <a:pt x="304800" y="295275"/>
                </a:cubicBezTo>
                <a:lnTo>
                  <a:pt x="304800" y="171450"/>
                </a:lnTo>
                <a:cubicBezTo>
                  <a:pt x="304800" y="165735"/>
                  <a:pt x="300990" y="161925"/>
                  <a:pt x="295275" y="161925"/>
                </a:cubicBezTo>
                <a:close/>
                <a:moveTo>
                  <a:pt x="19050" y="19050"/>
                </a:moveTo>
                <a:lnTo>
                  <a:pt x="123825" y="19050"/>
                </a:lnTo>
                <a:lnTo>
                  <a:pt x="123825" y="47625"/>
                </a:lnTo>
                <a:lnTo>
                  <a:pt x="19050" y="47625"/>
                </a:lnTo>
                <a:lnTo>
                  <a:pt x="19050" y="19050"/>
                </a:lnTo>
                <a:close/>
                <a:moveTo>
                  <a:pt x="95250" y="266700"/>
                </a:moveTo>
                <a:cubicBezTo>
                  <a:pt x="63818" y="266700"/>
                  <a:pt x="38100" y="240983"/>
                  <a:pt x="38100" y="209550"/>
                </a:cubicBezTo>
                <a:lnTo>
                  <a:pt x="38100" y="66675"/>
                </a:lnTo>
                <a:lnTo>
                  <a:pt x="104775" y="66675"/>
                </a:lnTo>
                <a:lnTo>
                  <a:pt x="104775" y="190500"/>
                </a:lnTo>
                <a:cubicBezTo>
                  <a:pt x="104775" y="195263"/>
                  <a:pt x="108585" y="200025"/>
                  <a:pt x="114300" y="200025"/>
                </a:cubicBezTo>
                <a:lnTo>
                  <a:pt x="238125" y="200025"/>
                </a:lnTo>
                <a:lnTo>
                  <a:pt x="238125" y="266700"/>
                </a:lnTo>
                <a:lnTo>
                  <a:pt x="95250" y="266700"/>
                </a:lnTo>
                <a:close/>
                <a:moveTo>
                  <a:pt x="285750" y="285750"/>
                </a:moveTo>
                <a:lnTo>
                  <a:pt x="257175" y="285750"/>
                </a:lnTo>
                <a:lnTo>
                  <a:pt x="257175" y="180975"/>
                </a:lnTo>
                <a:lnTo>
                  <a:pt x="285750" y="180975"/>
                </a:lnTo>
                <a:lnTo>
                  <a:pt x="285750" y="285750"/>
                </a:lnTo>
                <a:close/>
              </a:path>
            </a:pathLst>
          </a:custGeom>
          <a:solidFill>
            <a:schemeClr val="tx2"/>
          </a:solidFill>
          <a:ln w="9525" cap="flat">
            <a:noFill/>
            <a:prstDash val="solid"/>
            <a:miter/>
          </a:ln>
        </p:spPr>
        <p:txBody>
          <a:bodyPr rtlCol="0" anchor="ctr"/>
          <a:lstStyle/>
          <a:p>
            <a:endParaRPr lang="en-GB"/>
          </a:p>
        </p:txBody>
      </p:sp>
      <p:sp>
        <p:nvSpPr>
          <p:cNvPr id="338" name="Freeform: Shape 337">
            <a:extLst>
              <a:ext uri="{FF2B5EF4-FFF2-40B4-BE49-F238E27FC236}">
                <a16:creationId xmlns:a16="http://schemas.microsoft.com/office/drawing/2014/main" id="{99B709E8-C4AA-447F-A15F-5E08AB69D850}"/>
              </a:ext>
            </a:extLst>
          </p:cNvPr>
          <p:cNvSpPr/>
          <p:nvPr/>
        </p:nvSpPr>
        <p:spPr>
          <a:xfrm>
            <a:off x="3729901" y="4063656"/>
            <a:ext cx="400903" cy="400903"/>
          </a:xfrm>
          <a:custGeom>
            <a:avLst/>
            <a:gdLst>
              <a:gd name="connsiteX0" fmla="*/ 66675 w 304800"/>
              <a:gd name="connsiteY0" fmla="*/ 104775 h 304800"/>
              <a:gd name="connsiteX1" fmla="*/ 66675 w 304800"/>
              <a:gd name="connsiteY1" fmla="*/ 95250 h 304800"/>
              <a:gd name="connsiteX2" fmla="*/ 114300 w 304800"/>
              <a:gd name="connsiteY2" fmla="*/ 95250 h 304800"/>
              <a:gd name="connsiteX3" fmla="*/ 114300 w 304800"/>
              <a:gd name="connsiteY3" fmla="*/ 139065 h 304800"/>
              <a:gd name="connsiteX4" fmla="*/ 142875 w 304800"/>
              <a:gd name="connsiteY4" fmla="*/ 124778 h 304800"/>
              <a:gd name="connsiteX5" fmla="*/ 190500 w 304800"/>
              <a:gd name="connsiteY5" fmla="*/ 148590 h 304800"/>
              <a:gd name="connsiteX6" fmla="*/ 190500 w 304800"/>
              <a:gd name="connsiteY6" fmla="*/ 66675 h 304800"/>
              <a:gd name="connsiteX7" fmla="*/ 142875 w 304800"/>
              <a:gd name="connsiteY7" fmla="*/ 19050 h 304800"/>
              <a:gd name="connsiteX8" fmla="*/ 66675 w 304800"/>
              <a:gd name="connsiteY8" fmla="*/ 19050 h 304800"/>
              <a:gd name="connsiteX9" fmla="*/ 66675 w 304800"/>
              <a:gd name="connsiteY9" fmla="*/ 9525 h 304800"/>
              <a:gd name="connsiteX10" fmla="*/ 57150 w 304800"/>
              <a:gd name="connsiteY10" fmla="*/ 0 h 304800"/>
              <a:gd name="connsiteX11" fmla="*/ 9525 w 304800"/>
              <a:gd name="connsiteY11" fmla="*/ 0 h 304800"/>
              <a:gd name="connsiteX12" fmla="*/ 0 w 304800"/>
              <a:gd name="connsiteY12" fmla="*/ 9525 h 304800"/>
              <a:gd name="connsiteX13" fmla="*/ 0 w 304800"/>
              <a:gd name="connsiteY13" fmla="*/ 104775 h 304800"/>
              <a:gd name="connsiteX14" fmla="*/ 9525 w 304800"/>
              <a:gd name="connsiteY14" fmla="*/ 114300 h 304800"/>
              <a:gd name="connsiteX15" fmla="*/ 57150 w 304800"/>
              <a:gd name="connsiteY15" fmla="*/ 114300 h 304800"/>
              <a:gd name="connsiteX16" fmla="*/ 66675 w 304800"/>
              <a:gd name="connsiteY16" fmla="*/ 104775 h 304800"/>
              <a:gd name="connsiteX17" fmla="*/ 142875 w 304800"/>
              <a:gd name="connsiteY17" fmla="*/ 38100 h 304800"/>
              <a:gd name="connsiteX18" fmla="*/ 171450 w 304800"/>
              <a:gd name="connsiteY18" fmla="*/ 66675 h 304800"/>
              <a:gd name="connsiteX19" fmla="*/ 171450 w 304800"/>
              <a:gd name="connsiteY19" fmla="*/ 118110 h 304800"/>
              <a:gd name="connsiteX20" fmla="*/ 142875 w 304800"/>
              <a:gd name="connsiteY20" fmla="*/ 103823 h 304800"/>
              <a:gd name="connsiteX21" fmla="*/ 133350 w 304800"/>
              <a:gd name="connsiteY21" fmla="*/ 108585 h 304800"/>
              <a:gd name="connsiteX22" fmla="*/ 133350 w 304800"/>
              <a:gd name="connsiteY22" fmla="*/ 76200 h 304800"/>
              <a:gd name="connsiteX23" fmla="*/ 66675 w 304800"/>
              <a:gd name="connsiteY23" fmla="*/ 76200 h 304800"/>
              <a:gd name="connsiteX24" fmla="*/ 66675 w 304800"/>
              <a:gd name="connsiteY24" fmla="*/ 38100 h 304800"/>
              <a:gd name="connsiteX25" fmla="*/ 142875 w 304800"/>
              <a:gd name="connsiteY25" fmla="*/ 38100 h 304800"/>
              <a:gd name="connsiteX26" fmla="*/ 47625 w 304800"/>
              <a:gd name="connsiteY26" fmla="*/ 95250 h 304800"/>
              <a:gd name="connsiteX27" fmla="*/ 19050 w 304800"/>
              <a:gd name="connsiteY27" fmla="*/ 95250 h 304800"/>
              <a:gd name="connsiteX28" fmla="*/ 19050 w 304800"/>
              <a:gd name="connsiteY28" fmla="*/ 19050 h 304800"/>
              <a:gd name="connsiteX29" fmla="*/ 47625 w 304800"/>
              <a:gd name="connsiteY29" fmla="*/ 19050 h 304800"/>
              <a:gd name="connsiteX30" fmla="*/ 47625 w 304800"/>
              <a:gd name="connsiteY30" fmla="*/ 95250 h 304800"/>
              <a:gd name="connsiteX31" fmla="*/ 295275 w 304800"/>
              <a:gd name="connsiteY31" fmla="*/ 190500 h 304800"/>
              <a:gd name="connsiteX32" fmla="*/ 247650 w 304800"/>
              <a:gd name="connsiteY32" fmla="*/ 190500 h 304800"/>
              <a:gd name="connsiteX33" fmla="*/ 238125 w 304800"/>
              <a:gd name="connsiteY33" fmla="*/ 200025 h 304800"/>
              <a:gd name="connsiteX34" fmla="*/ 238125 w 304800"/>
              <a:gd name="connsiteY34" fmla="*/ 209550 h 304800"/>
              <a:gd name="connsiteX35" fmla="*/ 190500 w 304800"/>
              <a:gd name="connsiteY35" fmla="*/ 209550 h 304800"/>
              <a:gd name="connsiteX36" fmla="*/ 190500 w 304800"/>
              <a:gd name="connsiteY36" fmla="*/ 165735 h 304800"/>
              <a:gd name="connsiteX37" fmla="*/ 142875 w 304800"/>
              <a:gd name="connsiteY37" fmla="*/ 141923 h 304800"/>
              <a:gd name="connsiteX38" fmla="*/ 114300 w 304800"/>
              <a:gd name="connsiteY38" fmla="*/ 156210 h 304800"/>
              <a:gd name="connsiteX39" fmla="*/ 114300 w 304800"/>
              <a:gd name="connsiteY39" fmla="*/ 238125 h 304800"/>
              <a:gd name="connsiteX40" fmla="*/ 161925 w 304800"/>
              <a:gd name="connsiteY40" fmla="*/ 285750 h 304800"/>
              <a:gd name="connsiteX41" fmla="*/ 238125 w 304800"/>
              <a:gd name="connsiteY41" fmla="*/ 285750 h 304800"/>
              <a:gd name="connsiteX42" fmla="*/ 238125 w 304800"/>
              <a:gd name="connsiteY42" fmla="*/ 295275 h 304800"/>
              <a:gd name="connsiteX43" fmla="*/ 247650 w 304800"/>
              <a:gd name="connsiteY43" fmla="*/ 304800 h 304800"/>
              <a:gd name="connsiteX44" fmla="*/ 295275 w 304800"/>
              <a:gd name="connsiteY44" fmla="*/ 304800 h 304800"/>
              <a:gd name="connsiteX45" fmla="*/ 304800 w 304800"/>
              <a:gd name="connsiteY45" fmla="*/ 295275 h 304800"/>
              <a:gd name="connsiteX46" fmla="*/ 304800 w 304800"/>
              <a:gd name="connsiteY46" fmla="*/ 200025 h 304800"/>
              <a:gd name="connsiteX47" fmla="*/ 295275 w 304800"/>
              <a:gd name="connsiteY47" fmla="*/ 190500 h 304800"/>
              <a:gd name="connsiteX48" fmla="*/ 161925 w 304800"/>
              <a:gd name="connsiteY48" fmla="*/ 266700 h 304800"/>
              <a:gd name="connsiteX49" fmla="*/ 133350 w 304800"/>
              <a:gd name="connsiteY49" fmla="*/ 238125 h 304800"/>
              <a:gd name="connsiteX50" fmla="*/ 133350 w 304800"/>
              <a:gd name="connsiteY50" fmla="*/ 167640 h 304800"/>
              <a:gd name="connsiteX51" fmla="*/ 142875 w 304800"/>
              <a:gd name="connsiteY51" fmla="*/ 162878 h 304800"/>
              <a:gd name="connsiteX52" fmla="*/ 171450 w 304800"/>
              <a:gd name="connsiteY52" fmla="*/ 177165 h 304800"/>
              <a:gd name="connsiteX53" fmla="*/ 171450 w 304800"/>
              <a:gd name="connsiteY53" fmla="*/ 228600 h 304800"/>
              <a:gd name="connsiteX54" fmla="*/ 238125 w 304800"/>
              <a:gd name="connsiteY54" fmla="*/ 228600 h 304800"/>
              <a:gd name="connsiteX55" fmla="*/ 238125 w 304800"/>
              <a:gd name="connsiteY55" fmla="*/ 266700 h 304800"/>
              <a:gd name="connsiteX56" fmla="*/ 161925 w 304800"/>
              <a:gd name="connsiteY56" fmla="*/ 266700 h 304800"/>
              <a:gd name="connsiteX57" fmla="*/ 285750 w 304800"/>
              <a:gd name="connsiteY57" fmla="*/ 285750 h 304800"/>
              <a:gd name="connsiteX58" fmla="*/ 257175 w 304800"/>
              <a:gd name="connsiteY58" fmla="*/ 285750 h 304800"/>
              <a:gd name="connsiteX59" fmla="*/ 257175 w 304800"/>
              <a:gd name="connsiteY59" fmla="*/ 209550 h 304800"/>
              <a:gd name="connsiteX60" fmla="*/ 285750 w 304800"/>
              <a:gd name="connsiteY60" fmla="*/ 209550 h 304800"/>
              <a:gd name="connsiteX61" fmla="*/ 285750 w 304800"/>
              <a:gd name="connsiteY61" fmla="*/ 285750 h 304800"/>
              <a:gd name="connsiteX62" fmla="*/ 244793 w 304800"/>
              <a:gd name="connsiteY62" fmla="*/ 136208 h 304800"/>
              <a:gd name="connsiteX63" fmla="*/ 209550 w 304800"/>
              <a:gd name="connsiteY63" fmla="*/ 133350 h 304800"/>
              <a:gd name="connsiteX64" fmla="*/ 224790 w 304800"/>
              <a:gd name="connsiteY64" fmla="*/ 101918 h 304800"/>
              <a:gd name="connsiteX65" fmla="*/ 234315 w 304800"/>
              <a:gd name="connsiteY65" fmla="*/ 91440 h 304800"/>
              <a:gd name="connsiteX66" fmla="*/ 267653 w 304800"/>
              <a:gd name="connsiteY66" fmla="*/ 100013 h 304800"/>
              <a:gd name="connsiteX67" fmla="*/ 258128 w 304800"/>
              <a:gd name="connsiteY67" fmla="*/ 132398 h 304800"/>
              <a:gd name="connsiteX68" fmla="*/ 244793 w 304800"/>
              <a:gd name="connsiteY68" fmla="*/ 136208 h 304800"/>
              <a:gd name="connsiteX69" fmla="*/ 218123 w 304800"/>
              <a:gd name="connsiteY69" fmla="*/ 171450 h 304800"/>
              <a:gd name="connsiteX70" fmla="*/ 209550 w 304800"/>
              <a:gd name="connsiteY70" fmla="*/ 152400 h 304800"/>
              <a:gd name="connsiteX71" fmla="*/ 229553 w 304800"/>
              <a:gd name="connsiteY71" fmla="*/ 150495 h 304800"/>
              <a:gd name="connsiteX72" fmla="*/ 237173 w 304800"/>
              <a:gd name="connsiteY72" fmla="*/ 152400 h 304800"/>
              <a:gd name="connsiteX73" fmla="*/ 241935 w 304800"/>
              <a:gd name="connsiteY73" fmla="*/ 171450 h 304800"/>
              <a:gd name="connsiteX74" fmla="*/ 222885 w 304800"/>
              <a:gd name="connsiteY74" fmla="*/ 177165 h 304800"/>
              <a:gd name="connsiteX75" fmla="*/ 218123 w 304800"/>
              <a:gd name="connsiteY75" fmla="*/ 171450 h 304800"/>
              <a:gd name="connsiteX76" fmla="*/ 60008 w 304800"/>
              <a:gd name="connsiteY76" fmla="*/ 168593 h 304800"/>
              <a:gd name="connsiteX77" fmla="*/ 95250 w 304800"/>
              <a:gd name="connsiteY77" fmla="*/ 171450 h 304800"/>
              <a:gd name="connsiteX78" fmla="*/ 80010 w 304800"/>
              <a:gd name="connsiteY78" fmla="*/ 202883 h 304800"/>
              <a:gd name="connsiteX79" fmla="*/ 70485 w 304800"/>
              <a:gd name="connsiteY79" fmla="*/ 213360 h 304800"/>
              <a:gd name="connsiteX80" fmla="*/ 37148 w 304800"/>
              <a:gd name="connsiteY80" fmla="*/ 204788 h 304800"/>
              <a:gd name="connsiteX81" fmla="*/ 46673 w 304800"/>
              <a:gd name="connsiteY81" fmla="*/ 172403 h 304800"/>
              <a:gd name="connsiteX82" fmla="*/ 60008 w 304800"/>
              <a:gd name="connsiteY82" fmla="*/ 168593 h 304800"/>
              <a:gd name="connsiteX83" fmla="*/ 86678 w 304800"/>
              <a:gd name="connsiteY83" fmla="*/ 133350 h 304800"/>
              <a:gd name="connsiteX84" fmla="*/ 95250 w 304800"/>
              <a:gd name="connsiteY84" fmla="*/ 152400 h 304800"/>
              <a:gd name="connsiteX85" fmla="*/ 75248 w 304800"/>
              <a:gd name="connsiteY85" fmla="*/ 154305 h 304800"/>
              <a:gd name="connsiteX86" fmla="*/ 67628 w 304800"/>
              <a:gd name="connsiteY86" fmla="*/ 152400 h 304800"/>
              <a:gd name="connsiteX87" fmla="*/ 62865 w 304800"/>
              <a:gd name="connsiteY87" fmla="*/ 133350 h 304800"/>
              <a:gd name="connsiteX88" fmla="*/ 81915 w 304800"/>
              <a:gd name="connsiteY88" fmla="*/ 127635 h 304800"/>
              <a:gd name="connsiteX89" fmla="*/ 86678 w 304800"/>
              <a:gd name="connsiteY89" fmla="*/ 1333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304800" h="304800">
                <a:moveTo>
                  <a:pt x="66675" y="104775"/>
                </a:moveTo>
                <a:lnTo>
                  <a:pt x="66675" y="95250"/>
                </a:lnTo>
                <a:lnTo>
                  <a:pt x="114300" y="95250"/>
                </a:lnTo>
                <a:lnTo>
                  <a:pt x="114300" y="139065"/>
                </a:lnTo>
                <a:lnTo>
                  <a:pt x="142875" y="124778"/>
                </a:lnTo>
                <a:lnTo>
                  <a:pt x="190500" y="148590"/>
                </a:lnTo>
                <a:lnTo>
                  <a:pt x="190500" y="66675"/>
                </a:lnTo>
                <a:cubicBezTo>
                  <a:pt x="190500" y="40005"/>
                  <a:pt x="169545" y="19050"/>
                  <a:pt x="142875" y="19050"/>
                </a:cubicBezTo>
                <a:lnTo>
                  <a:pt x="66675" y="19050"/>
                </a:lnTo>
                <a:lnTo>
                  <a:pt x="66675" y="9525"/>
                </a:lnTo>
                <a:cubicBezTo>
                  <a:pt x="66675" y="3810"/>
                  <a:pt x="62865" y="0"/>
                  <a:pt x="57150" y="0"/>
                </a:cubicBezTo>
                <a:lnTo>
                  <a:pt x="9525" y="0"/>
                </a:lnTo>
                <a:cubicBezTo>
                  <a:pt x="3810" y="0"/>
                  <a:pt x="0" y="3810"/>
                  <a:pt x="0" y="9525"/>
                </a:cubicBezTo>
                <a:lnTo>
                  <a:pt x="0" y="104775"/>
                </a:lnTo>
                <a:cubicBezTo>
                  <a:pt x="0" y="110490"/>
                  <a:pt x="3810" y="114300"/>
                  <a:pt x="9525" y="114300"/>
                </a:cubicBezTo>
                <a:lnTo>
                  <a:pt x="57150" y="114300"/>
                </a:lnTo>
                <a:cubicBezTo>
                  <a:pt x="62865" y="114300"/>
                  <a:pt x="66675" y="110490"/>
                  <a:pt x="66675" y="104775"/>
                </a:cubicBezTo>
                <a:close/>
                <a:moveTo>
                  <a:pt x="142875" y="38100"/>
                </a:moveTo>
                <a:cubicBezTo>
                  <a:pt x="159068" y="38100"/>
                  <a:pt x="171450" y="50483"/>
                  <a:pt x="171450" y="66675"/>
                </a:cubicBezTo>
                <a:lnTo>
                  <a:pt x="171450" y="118110"/>
                </a:lnTo>
                <a:lnTo>
                  <a:pt x="142875" y="103823"/>
                </a:lnTo>
                <a:lnTo>
                  <a:pt x="133350" y="108585"/>
                </a:lnTo>
                <a:lnTo>
                  <a:pt x="133350" y="76200"/>
                </a:lnTo>
                <a:lnTo>
                  <a:pt x="66675" y="76200"/>
                </a:lnTo>
                <a:lnTo>
                  <a:pt x="66675" y="38100"/>
                </a:lnTo>
                <a:lnTo>
                  <a:pt x="142875" y="38100"/>
                </a:lnTo>
                <a:close/>
                <a:moveTo>
                  <a:pt x="47625" y="95250"/>
                </a:moveTo>
                <a:lnTo>
                  <a:pt x="19050" y="95250"/>
                </a:lnTo>
                <a:lnTo>
                  <a:pt x="19050" y="19050"/>
                </a:lnTo>
                <a:lnTo>
                  <a:pt x="47625" y="19050"/>
                </a:lnTo>
                <a:lnTo>
                  <a:pt x="47625" y="95250"/>
                </a:lnTo>
                <a:close/>
                <a:moveTo>
                  <a:pt x="295275" y="190500"/>
                </a:moveTo>
                <a:lnTo>
                  <a:pt x="247650" y="190500"/>
                </a:lnTo>
                <a:cubicBezTo>
                  <a:pt x="241935" y="190500"/>
                  <a:pt x="238125" y="194310"/>
                  <a:pt x="238125" y="200025"/>
                </a:cubicBezTo>
                <a:lnTo>
                  <a:pt x="238125" y="209550"/>
                </a:lnTo>
                <a:lnTo>
                  <a:pt x="190500" y="209550"/>
                </a:lnTo>
                <a:lnTo>
                  <a:pt x="190500" y="165735"/>
                </a:lnTo>
                <a:lnTo>
                  <a:pt x="142875" y="141923"/>
                </a:lnTo>
                <a:lnTo>
                  <a:pt x="114300" y="156210"/>
                </a:lnTo>
                <a:lnTo>
                  <a:pt x="114300" y="238125"/>
                </a:lnTo>
                <a:cubicBezTo>
                  <a:pt x="114300" y="264795"/>
                  <a:pt x="135255" y="285750"/>
                  <a:pt x="161925" y="285750"/>
                </a:cubicBezTo>
                <a:lnTo>
                  <a:pt x="238125" y="285750"/>
                </a:lnTo>
                <a:lnTo>
                  <a:pt x="238125" y="295275"/>
                </a:lnTo>
                <a:cubicBezTo>
                  <a:pt x="238125" y="300990"/>
                  <a:pt x="241935" y="304800"/>
                  <a:pt x="247650" y="304800"/>
                </a:cubicBezTo>
                <a:lnTo>
                  <a:pt x="295275" y="304800"/>
                </a:lnTo>
                <a:cubicBezTo>
                  <a:pt x="300990" y="304800"/>
                  <a:pt x="304800" y="300990"/>
                  <a:pt x="304800" y="295275"/>
                </a:cubicBezTo>
                <a:lnTo>
                  <a:pt x="304800" y="200025"/>
                </a:lnTo>
                <a:cubicBezTo>
                  <a:pt x="304800" y="194310"/>
                  <a:pt x="300990" y="190500"/>
                  <a:pt x="295275" y="190500"/>
                </a:cubicBezTo>
                <a:close/>
                <a:moveTo>
                  <a:pt x="161925" y="266700"/>
                </a:moveTo>
                <a:cubicBezTo>
                  <a:pt x="145733" y="266700"/>
                  <a:pt x="133350" y="254318"/>
                  <a:pt x="133350" y="238125"/>
                </a:cubicBezTo>
                <a:lnTo>
                  <a:pt x="133350" y="167640"/>
                </a:lnTo>
                <a:lnTo>
                  <a:pt x="142875" y="162878"/>
                </a:lnTo>
                <a:lnTo>
                  <a:pt x="171450" y="177165"/>
                </a:lnTo>
                <a:lnTo>
                  <a:pt x="171450" y="228600"/>
                </a:lnTo>
                <a:lnTo>
                  <a:pt x="238125" y="228600"/>
                </a:lnTo>
                <a:lnTo>
                  <a:pt x="238125" y="266700"/>
                </a:lnTo>
                <a:lnTo>
                  <a:pt x="161925" y="266700"/>
                </a:lnTo>
                <a:close/>
                <a:moveTo>
                  <a:pt x="285750" y="285750"/>
                </a:moveTo>
                <a:lnTo>
                  <a:pt x="257175" y="285750"/>
                </a:lnTo>
                <a:lnTo>
                  <a:pt x="257175" y="209550"/>
                </a:lnTo>
                <a:lnTo>
                  <a:pt x="285750" y="209550"/>
                </a:lnTo>
                <a:lnTo>
                  <a:pt x="285750" y="285750"/>
                </a:lnTo>
                <a:close/>
                <a:moveTo>
                  <a:pt x="244793" y="136208"/>
                </a:moveTo>
                <a:cubicBezTo>
                  <a:pt x="236220" y="135255"/>
                  <a:pt x="209550" y="133350"/>
                  <a:pt x="209550" y="133350"/>
                </a:cubicBezTo>
                <a:cubicBezTo>
                  <a:pt x="209550" y="133350"/>
                  <a:pt x="220980" y="109538"/>
                  <a:pt x="224790" y="101918"/>
                </a:cubicBezTo>
                <a:cubicBezTo>
                  <a:pt x="226695" y="98108"/>
                  <a:pt x="230505" y="94298"/>
                  <a:pt x="234315" y="91440"/>
                </a:cubicBezTo>
                <a:cubicBezTo>
                  <a:pt x="245745" y="84773"/>
                  <a:pt x="260985" y="88583"/>
                  <a:pt x="267653" y="100013"/>
                </a:cubicBezTo>
                <a:cubicBezTo>
                  <a:pt x="274320" y="111443"/>
                  <a:pt x="270510" y="125730"/>
                  <a:pt x="258128" y="132398"/>
                </a:cubicBezTo>
                <a:cubicBezTo>
                  <a:pt x="254318" y="135255"/>
                  <a:pt x="249555" y="136208"/>
                  <a:pt x="244793" y="136208"/>
                </a:cubicBezTo>
                <a:close/>
                <a:moveTo>
                  <a:pt x="218123" y="171450"/>
                </a:moveTo>
                <a:cubicBezTo>
                  <a:pt x="216218" y="166688"/>
                  <a:pt x="209550" y="152400"/>
                  <a:pt x="209550" y="152400"/>
                </a:cubicBezTo>
                <a:cubicBezTo>
                  <a:pt x="209550" y="152400"/>
                  <a:pt x="224790" y="150495"/>
                  <a:pt x="229553" y="150495"/>
                </a:cubicBezTo>
                <a:cubicBezTo>
                  <a:pt x="232410" y="150495"/>
                  <a:pt x="235268" y="151448"/>
                  <a:pt x="237173" y="152400"/>
                </a:cubicBezTo>
                <a:cubicBezTo>
                  <a:pt x="243840" y="156210"/>
                  <a:pt x="245745" y="164783"/>
                  <a:pt x="241935" y="171450"/>
                </a:cubicBezTo>
                <a:cubicBezTo>
                  <a:pt x="238125" y="178118"/>
                  <a:pt x="229553" y="180975"/>
                  <a:pt x="222885" y="177165"/>
                </a:cubicBezTo>
                <a:cubicBezTo>
                  <a:pt x="220980" y="175260"/>
                  <a:pt x="219075" y="173355"/>
                  <a:pt x="218123" y="171450"/>
                </a:cubicBezTo>
                <a:close/>
                <a:moveTo>
                  <a:pt x="60008" y="168593"/>
                </a:moveTo>
                <a:cubicBezTo>
                  <a:pt x="68580" y="169545"/>
                  <a:pt x="95250" y="171450"/>
                  <a:pt x="95250" y="171450"/>
                </a:cubicBezTo>
                <a:cubicBezTo>
                  <a:pt x="95250" y="171450"/>
                  <a:pt x="83820" y="195263"/>
                  <a:pt x="80010" y="202883"/>
                </a:cubicBezTo>
                <a:cubicBezTo>
                  <a:pt x="78105" y="206693"/>
                  <a:pt x="74295" y="210503"/>
                  <a:pt x="70485" y="213360"/>
                </a:cubicBezTo>
                <a:cubicBezTo>
                  <a:pt x="59055" y="220028"/>
                  <a:pt x="43815" y="216218"/>
                  <a:pt x="37148" y="204788"/>
                </a:cubicBezTo>
                <a:cubicBezTo>
                  <a:pt x="30480" y="193358"/>
                  <a:pt x="34290" y="179070"/>
                  <a:pt x="46673" y="172403"/>
                </a:cubicBezTo>
                <a:cubicBezTo>
                  <a:pt x="50483" y="169545"/>
                  <a:pt x="55245" y="168593"/>
                  <a:pt x="60008" y="168593"/>
                </a:cubicBezTo>
                <a:close/>
                <a:moveTo>
                  <a:pt x="86678" y="133350"/>
                </a:moveTo>
                <a:cubicBezTo>
                  <a:pt x="88583" y="138113"/>
                  <a:pt x="95250" y="152400"/>
                  <a:pt x="95250" y="152400"/>
                </a:cubicBezTo>
                <a:cubicBezTo>
                  <a:pt x="95250" y="152400"/>
                  <a:pt x="80010" y="154305"/>
                  <a:pt x="75248" y="154305"/>
                </a:cubicBezTo>
                <a:cubicBezTo>
                  <a:pt x="72390" y="154305"/>
                  <a:pt x="69533" y="153353"/>
                  <a:pt x="67628" y="152400"/>
                </a:cubicBezTo>
                <a:cubicBezTo>
                  <a:pt x="60960" y="148590"/>
                  <a:pt x="59055" y="140018"/>
                  <a:pt x="62865" y="133350"/>
                </a:cubicBezTo>
                <a:cubicBezTo>
                  <a:pt x="66675" y="126683"/>
                  <a:pt x="75248" y="123825"/>
                  <a:pt x="81915" y="127635"/>
                </a:cubicBezTo>
                <a:cubicBezTo>
                  <a:pt x="83820" y="129540"/>
                  <a:pt x="85725" y="131445"/>
                  <a:pt x="86678" y="133350"/>
                </a:cubicBezTo>
                <a:close/>
              </a:path>
            </a:pathLst>
          </a:custGeom>
          <a:solidFill>
            <a:schemeClr val="tx2"/>
          </a:solidFill>
          <a:ln w="9525" cap="flat">
            <a:noFill/>
            <a:prstDash val="solid"/>
            <a:miter/>
          </a:ln>
        </p:spPr>
        <p:txBody>
          <a:bodyPr rtlCol="0" anchor="ctr"/>
          <a:lstStyle/>
          <a:p>
            <a:endParaRPr lang="en-GB"/>
          </a:p>
        </p:txBody>
      </p:sp>
      <p:sp>
        <p:nvSpPr>
          <p:cNvPr id="339" name="Freeform: Shape 338">
            <a:extLst>
              <a:ext uri="{FF2B5EF4-FFF2-40B4-BE49-F238E27FC236}">
                <a16:creationId xmlns:a16="http://schemas.microsoft.com/office/drawing/2014/main" id="{2FF37AC0-18E9-4EF0-A6C9-FED11A6B880A}"/>
              </a:ext>
            </a:extLst>
          </p:cNvPr>
          <p:cNvSpPr/>
          <p:nvPr/>
        </p:nvSpPr>
        <p:spPr>
          <a:xfrm>
            <a:off x="5012404" y="1604181"/>
            <a:ext cx="400903" cy="400903"/>
          </a:xfrm>
          <a:custGeom>
            <a:avLst/>
            <a:gdLst>
              <a:gd name="connsiteX0" fmla="*/ 295275 w 304800"/>
              <a:gd name="connsiteY0" fmla="*/ 161925 h 304800"/>
              <a:gd name="connsiteX1" fmla="*/ 247650 w 304800"/>
              <a:gd name="connsiteY1" fmla="*/ 161925 h 304800"/>
              <a:gd name="connsiteX2" fmla="*/ 238125 w 304800"/>
              <a:gd name="connsiteY2" fmla="*/ 171450 h 304800"/>
              <a:gd name="connsiteX3" fmla="*/ 238125 w 304800"/>
              <a:gd name="connsiteY3" fmla="*/ 180975 h 304800"/>
              <a:gd name="connsiteX4" fmla="*/ 123825 w 304800"/>
              <a:gd name="connsiteY4" fmla="*/ 180975 h 304800"/>
              <a:gd name="connsiteX5" fmla="*/ 123825 w 304800"/>
              <a:gd name="connsiteY5" fmla="*/ 66675 h 304800"/>
              <a:gd name="connsiteX6" fmla="*/ 133350 w 304800"/>
              <a:gd name="connsiteY6" fmla="*/ 66675 h 304800"/>
              <a:gd name="connsiteX7" fmla="*/ 142875 w 304800"/>
              <a:gd name="connsiteY7" fmla="*/ 57150 h 304800"/>
              <a:gd name="connsiteX8" fmla="*/ 142875 w 304800"/>
              <a:gd name="connsiteY8" fmla="*/ 9525 h 304800"/>
              <a:gd name="connsiteX9" fmla="*/ 133350 w 304800"/>
              <a:gd name="connsiteY9" fmla="*/ 0 h 304800"/>
              <a:gd name="connsiteX10" fmla="*/ 9525 w 304800"/>
              <a:gd name="connsiteY10" fmla="*/ 0 h 304800"/>
              <a:gd name="connsiteX11" fmla="*/ 0 w 304800"/>
              <a:gd name="connsiteY11" fmla="*/ 9525 h 304800"/>
              <a:gd name="connsiteX12" fmla="*/ 0 w 304800"/>
              <a:gd name="connsiteY12" fmla="*/ 57150 h 304800"/>
              <a:gd name="connsiteX13" fmla="*/ 9525 w 304800"/>
              <a:gd name="connsiteY13" fmla="*/ 66675 h 304800"/>
              <a:gd name="connsiteX14" fmla="*/ 19050 w 304800"/>
              <a:gd name="connsiteY14" fmla="*/ 66675 h 304800"/>
              <a:gd name="connsiteX15" fmla="*/ 19050 w 304800"/>
              <a:gd name="connsiteY15" fmla="*/ 209550 h 304800"/>
              <a:gd name="connsiteX16" fmla="*/ 95250 w 304800"/>
              <a:gd name="connsiteY16" fmla="*/ 285750 h 304800"/>
              <a:gd name="connsiteX17" fmla="*/ 238125 w 304800"/>
              <a:gd name="connsiteY17" fmla="*/ 285750 h 304800"/>
              <a:gd name="connsiteX18" fmla="*/ 238125 w 304800"/>
              <a:gd name="connsiteY18" fmla="*/ 295275 h 304800"/>
              <a:gd name="connsiteX19" fmla="*/ 247650 w 304800"/>
              <a:gd name="connsiteY19" fmla="*/ 304800 h 304800"/>
              <a:gd name="connsiteX20" fmla="*/ 295275 w 304800"/>
              <a:gd name="connsiteY20" fmla="*/ 304800 h 304800"/>
              <a:gd name="connsiteX21" fmla="*/ 304800 w 304800"/>
              <a:gd name="connsiteY21" fmla="*/ 295275 h 304800"/>
              <a:gd name="connsiteX22" fmla="*/ 304800 w 304800"/>
              <a:gd name="connsiteY22" fmla="*/ 171450 h 304800"/>
              <a:gd name="connsiteX23" fmla="*/ 295275 w 304800"/>
              <a:gd name="connsiteY23" fmla="*/ 161925 h 304800"/>
              <a:gd name="connsiteX24" fmla="*/ 19050 w 304800"/>
              <a:gd name="connsiteY24" fmla="*/ 19050 h 304800"/>
              <a:gd name="connsiteX25" fmla="*/ 123825 w 304800"/>
              <a:gd name="connsiteY25" fmla="*/ 19050 h 304800"/>
              <a:gd name="connsiteX26" fmla="*/ 123825 w 304800"/>
              <a:gd name="connsiteY26" fmla="*/ 47625 h 304800"/>
              <a:gd name="connsiteX27" fmla="*/ 19050 w 304800"/>
              <a:gd name="connsiteY27" fmla="*/ 47625 h 304800"/>
              <a:gd name="connsiteX28" fmla="*/ 19050 w 304800"/>
              <a:gd name="connsiteY28" fmla="*/ 19050 h 304800"/>
              <a:gd name="connsiteX29" fmla="*/ 95250 w 304800"/>
              <a:gd name="connsiteY29" fmla="*/ 266700 h 304800"/>
              <a:gd name="connsiteX30" fmla="*/ 38100 w 304800"/>
              <a:gd name="connsiteY30" fmla="*/ 209550 h 304800"/>
              <a:gd name="connsiteX31" fmla="*/ 38100 w 304800"/>
              <a:gd name="connsiteY31" fmla="*/ 66675 h 304800"/>
              <a:gd name="connsiteX32" fmla="*/ 104775 w 304800"/>
              <a:gd name="connsiteY32" fmla="*/ 66675 h 304800"/>
              <a:gd name="connsiteX33" fmla="*/ 104775 w 304800"/>
              <a:gd name="connsiteY33" fmla="*/ 190500 h 304800"/>
              <a:gd name="connsiteX34" fmla="*/ 114300 w 304800"/>
              <a:gd name="connsiteY34" fmla="*/ 200025 h 304800"/>
              <a:gd name="connsiteX35" fmla="*/ 238125 w 304800"/>
              <a:gd name="connsiteY35" fmla="*/ 200025 h 304800"/>
              <a:gd name="connsiteX36" fmla="*/ 238125 w 304800"/>
              <a:gd name="connsiteY36" fmla="*/ 266700 h 304800"/>
              <a:gd name="connsiteX37" fmla="*/ 95250 w 304800"/>
              <a:gd name="connsiteY37" fmla="*/ 266700 h 304800"/>
              <a:gd name="connsiteX38" fmla="*/ 285750 w 304800"/>
              <a:gd name="connsiteY38" fmla="*/ 285750 h 304800"/>
              <a:gd name="connsiteX39" fmla="*/ 257175 w 304800"/>
              <a:gd name="connsiteY39" fmla="*/ 285750 h 304800"/>
              <a:gd name="connsiteX40" fmla="*/ 257175 w 304800"/>
              <a:gd name="connsiteY40" fmla="*/ 180975 h 304800"/>
              <a:gd name="connsiteX41" fmla="*/ 285750 w 304800"/>
              <a:gd name="connsiteY41" fmla="*/ 180975 h 304800"/>
              <a:gd name="connsiteX42" fmla="*/ 285750 w 304800"/>
              <a:gd name="connsiteY42" fmla="*/ 285750 h 304800"/>
              <a:gd name="connsiteX43" fmla="*/ 304800 w 304800"/>
              <a:gd name="connsiteY43" fmla="*/ 52388 h 304800"/>
              <a:gd name="connsiteX44" fmla="*/ 287655 w 304800"/>
              <a:gd name="connsiteY44" fmla="*/ 52388 h 304800"/>
              <a:gd name="connsiteX45" fmla="*/ 298133 w 304800"/>
              <a:gd name="connsiteY45" fmla="*/ 62865 h 304800"/>
              <a:gd name="connsiteX46" fmla="*/ 291465 w 304800"/>
              <a:gd name="connsiteY46" fmla="*/ 69533 h 304800"/>
              <a:gd name="connsiteX47" fmla="*/ 273368 w 304800"/>
              <a:gd name="connsiteY47" fmla="*/ 51435 h 304800"/>
              <a:gd name="connsiteX48" fmla="*/ 260985 w 304800"/>
              <a:gd name="connsiteY48" fmla="*/ 51435 h 304800"/>
              <a:gd name="connsiteX49" fmla="*/ 260985 w 304800"/>
              <a:gd name="connsiteY49" fmla="*/ 63818 h 304800"/>
              <a:gd name="connsiteX50" fmla="*/ 279083 w 304800"/>
              <a:gd name="connsiteY50" fmla="*/ 81915 h 304800"/>
              <a:gd name="connsiteX51" fmla="*/ 272415 w 304800"/>
              <a:gd name="connsiteY51" fmla="*/ 88583 h 304800"/>
              <a:gd name="connsiteX52" fmla="*/ 261938 w 304800"/>
              <a:gd name="connsiteY52" fmla="*/ 78105 h 304800"/>
              <a:gd name="connsiteX53" fmla="*/ 261938 w 304800"/>
              <a:gd name="connsiteY53" fmla="*/ 95250 h 304800"/>
              <a:gd name="connsiteX54" fmla="*/ 252413 w 304800"/>
              <a:gd name="connsiteY54" fmla="*/ 95250 h 304800"/>
              <a:gd name="connsiteX55" fmla="*/ 252413 w 304800"/>
              <a:gd name="connsiteY55" fmla="*/ 78105 h 304800"/>
              <a:gd name="connsiteX56" fmla="*/ 241935 w 304800"/>
              <a:gd name="connsiteY56" fmla="*/ 88583 h 304800"/>
              <a:gd name="connsiteX57" fmla="*/ 235268 w 304800"/>
              <a:gd name="connsiteY57" fmla="*/ 81915 h 304800"/>
              <a:gd name="connsiteX58" fmla="*/ 253365 w 304800"/>
              <a:gd name="connsiteY58" fmla="*/ 63818 h 304800"/>
              <a:gd name="connsiteX59" fmla="*/ 253365 w 304800"/>
              <a:gd name="connsiteY59" fmla="*/ 52388 h 304800"/>
              <a:gd name="connsiteX60" fmla="*/ 240983 w 304800"/>
              <a:gd name="connsiteY60" fmla="*/ 52388 h 304800"/>
              <a:gd name="connsiteX61" fmla="*/ 222885 w 304800"/>
              <a:gd name="connsiteY61" fmla="*/ 70485 h 304800"/>
              <a:gd name="connsiteX62" fmla="*/ 216218 w 304800"/>
              <a:gd name="connsiteY62" fmla="*/ 63818 h 304800"/>
              <a:gd name="connsiteX63" fmla="*/ 226695 w 304800"/>
              <a:gd name="connsiteY63" fmla="*/ 53340 h 304800"/>
              <a:gd name="connsiteX64" fmla="*/ 209550 w 304800"/>
              <a:gd name="connsiteY64" fmla="*/ 53340 h 304800"/>
              <a:gd name="connsiteX65" fmla="*/ 209550 w 304800"/>
              <a:gd name="connsiteY65" fmla="*/ 43815 h 304800"/>
              <a:gd name="connsiteX66" fmla="*/ 226695 w 304800"/>
              <a:gd name="connsiteY66" fmla="*/ 43815 h 304800"/>
              <a:gd name="connsiteX67" fmla="*/ 216218 w 304800"/>
              <a:gd name="connsiteY67" fmla="*/ 33338 h 304800"/>
              <a:gd name="connsiteX68" fmla="*/ 222885 w 304800"/>
              <a:gd name="connsiteY68" fmla="*/ 26670 h 304800"/>
              <a:gd name="connsiteX69" fmla="*/ 240983 w 304800"/>
              <a:gd name="connsiteY69" fmla="*/ 44768 h 304800"/>
              <a:gd name="connsiteX70" fmla="*/ 253365 w 304800"/>
              <a:gd name="connsiteY70" fmla="*/ 44768 h 304800"/>
              <a:gd name="connsiteX71" fmla="*/ 253365 w 304800"/>
              <a:gd name="connsiteY71" fmla="*/ 30480 h 304800"/>
              <a:gd name="connsiteX72" fmla="*/ 235268 w 304800"/>
              <a:gd name="connsiteY72" fmla="*/ 12383 h 304800"/>
              <a:gd name="connsiteX73" fmla="*/ 241935 w 304800"/>
              <a:gd name="connsiteY73" fmla="*/ 5715 h 304800"/>
              <a:gd name="connsiteX74" fmla="*/ 252413 w 304800"/>
              <a:gd name="connsiteY74" fmla="*/ 16193 h 304800"/>
              <a:gd name="connsiteX75" fmla="*/ 252413 w 304800"/>
              <a:gd name="connsiteY75" fmla="*/ 0 h 304800"/>
              <a:gd name="connsiteX76" fmla="*/ 261938 w 304800"/>
              <a:gd name="connsiteY76" fmla="*/ 0 h 304800"/>
              <a:gd name="connsiteX77" fmla="*/ 261938 w 304800"/>
              <a:gd name="connsiteY77" fmla="*/ 17145 h 304800"/>
              <a:gd name="connsiteX78" fmla="*/ 272415 w 304800"/>
              <a:gd name="connsiteY78" fmla="*/ 6668 h 304800"/>
              <a:gd name="connsiteX79" fmla="*/ 279083 w 304800"/>
              <a:gd name="connsiteY79" fmla="*/ 13335 h 304800"/>
              <a:gd name="connsiteX80" fmla="*/ 260985 w 304800"/>
              <a:gd name="connsiteY80" fmla="*/ 31433 h 304800"/>
              <a:gd name="connsiteX81" fmla="*/ 260985 w 304800"/>
              <a:gd name="connsiteY81" fmla="*/ 43815 h 304800"/>
              <a:gd name="connsiteX82" fmla="*/ 273368 w 304800"/>
              <a:gd name="connsiteY82" fmla="*/ 43815 h 304800"/>
              <a:gd name="connsiteX83" fmla="*/ 291465 w 304800"/>
              <a:gd name="connsiteY83" fmla="*/ 25718 h 304800"/>
              <a:gd name="connsiteX84" fmla="*/ 298133 w 304800"/>
              <a:gd name="connsiteY84" fmla="*/ 32385 h 304800"/>
              <a:gd name="connsiteX85" fmla="*/ 287655 w 304800"/>
              <a:gd name="connsiteY85" fmla="*/ 42863 h 304800"/>
              <a:gd name="connsiteX86" fmla="*/ 304800 w 304800"/>
              <a:gd name="connsiteY86" fmla="*/ 42863 h 304800"/>
              <a:gd name="connsiteX87" fmla="*/ 304800 w 304800"/>
              <a:gd name="connsiteY87" fmla="*/ 5238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04800" h="304800">
                <a:moveTo>
                  <a:pt x="295275" y="161925"/>
                </a:moveTo>
                <a:lnTo>
                  <a:pt x="247650" y="161925"/>
                </a:lnTo>
                <a:cubicBezTo>
                  <a:pt x="241935" y="161925"/>
                  <a:pt x="238125" y="165735"/>
                  <a:pt x="238125" y="171450"/>
                </a:cubicBezTo>
                <a:lnTo>
                  <a:pt x="238125" y="180975"/>
                </a:lnTo>
                <a:lnTo>
                  <a:pt x="123825" y="180975"/>
                </a:lnTo>
                <a:lnTo>
                  <a:pt x="123825" y="66675"/>
                </a:lnTo>
                <a:lnTo>
                  <a:pt x="133350" y="66675"/>
                </a:lnTo>
                <a:cubicBezTo>
                  <a:pt x="139065" y="66675"/>
                  <a:pt x="142875" y="62865"/>
                  <a:pt x="142875" y="57150"/>
                </a:cubicBezTo>
                <a:lnTo>
                  <a:pt x="142875" y="9525"/>
                </a:lnTo>
                <a:cubicBezTo>
                  <a:pt x="142875" y="3810"/>
                  <a:pt x="139065" y="0"/>
                  <a:pt x="133350" y="0"/>
                </a:cubicBezTo>
                <a:lnTo>
                  <a:pt x="9525" y="0"/>
                </a:lnTo>
                <a:cubicBezTo>
                  <a:pt x="3810" y="0"/>
                  <a:pt x="0" y="3810"/>
                  <a:pt x="0" y="9525"/>
                </a:cubicBezTo>
                <a:lnTo>
                  <a:pt x="0" y="57150"/>
                </a:lnTo>
                <a:cubicBezTo>
                  <a:pt x="0" y="62865"/>
                  <a:pt x="3810" y="66675"/>
                  <a:pt x="9525" y="66675"/>
                </a:cubicBezTo>
                <a:lnTo>
                  <a:pt x="19050" y="66675"/>
                </a:lnTo>
                <a:lnTo>
                  <a:pt x="19050" y="209550"/>
                </a:lnTo>
                <a:cubicBezTo>
                  <a:pt x="19050" y="251460"/>
                  <a:pt x="53340" y="285750"/>
                  <a:pt x="95250" y="285750"/>
                </a:cubicBezTo>
                <a:lnTo>
                  <a:pt x="238125" y="285750"/>
                </a:lnTo>
                <a:lnTo>
                  <a:pt x="238125" y="295275"/>
                </a:lnTo>
                <a:cubicBezTo>
                  <a:pt x="238125" y="300990"/>
                  <a:pt x="241935" y="304800"/>
                  <a:pt x="247650" y="304800"/>
                </a:cubicBezTo>
                <a:lnTo>
                  <a:pt x="295275" y="304800"/>
                </a:lnTo>
                <a:cubicBezTo>
                  <a:pt x="300990" y="304800"/>
                  <a:pt x="304800" y="300990"/>
                  <a:pt x="304800" y="295275"/>
                </a:cubicBezTo>
                <a:lnTo>
                  <a:pt x="304800" y="171450"/>
                </a:lnTo>
                <a:cubicBezTo>
                  <a:pt x="304800" y="165735"/>
                  <a:pt x="300990" y="161925"/>
                  <a:pt x="295275" y="161925"/>
                </a:cubicBezTo>
                <a:close/>
                <a:moveTo>
                  <a:pt x="19050" y="19050"/>
                </a:moveTo>
                <a:lnTo>
                  <a:pt x="123825" y="19050"/>
                </a:lnTo>
                <a:lnTo>
                  <a:pt x="123825" y="47625"/>
                </a:lnTo>
                <a:lnTo>
                  <a:pt x="19050" y="47625"/>
                </a:lnTo>
                <a:lnTo>
                  <a:pt x="19050" y="19050"/>
                </a:lnTo>
                <a:close/>
                <a:moveTo>
                  <a:pt x="95250" y="266700"/>
                </a:moveTo>
                <a:cubicBezTo>
                  <a:pt x="63818" y="266700"/>
                  <a:pt x="38100" y="240983"/>
                  <a:pt x="38100" y="209550"/>
                </a:cubicBezTo>
                <a:lnTo>
                  <a:pt x="38100" y="66675"/>
                </a:lnTo>
                <a:lnTo>
                  <a:pt x="104775" y="66675"/>
                </a:lnTo>
                <a:lnTo>
                  <a:pt x="104775" y="190500"/>
                </a:lnTo>
                <a:cubicBezTo>
                  <a:pt x="104775" y="195263"/>
                  <a:pt x="108585" y="200025"/>
                  <a:pt x="114300" y="200025"/>
                </a:cubicBezTo>
                <a:lnTo>
                  <a:pt x="238125" y="200025"/>
                </a:lnTo>
                <a:lnTo>
                  <a:pt x="238125" y="266700"/>
                </a:lnTo>
                <a:lnTo>
                  <a:pt x="95250" y="266700"/>
                </a:lnTo>
                <a:close/>
                <a:moveTo>
                  <a:pt x="285750" y="285750"/>
                </a:moveTo>
                <a:lnTo>
                  <a:pt x="257175" y="285750"/>
                </a:lnTo>
                <a:lnTo>
                  <a:pt x="257175" y="180975"/>
                </a:lnTo>
                <a:lnTo>
                  <a:pt x="285750" y="180975"/>
                </a:lnTo>
                <a:lnTo>
                  <a:pt x="285750" y="285750"/>
                </a:lnTo>
                <a:close/>
                <a:moveTo>
                  <a:pt x="304800" y="52388"/>
                </a:moveTo>
                <a:lnTo>
                  <a:pt x="287655" y="52388"/>
                </a:lnTo>
                <a:lnTo>
                  <a:pt x="298133" y="62865"/>
                </a:lnTo>
                <a:lnTo>
                  <a:pt x="291465" y="69533"/>
                </a:lnTo>
                <a:lnTo>
                  <a:pt x="273368" y="51435"/>
                </a:lnTo>
                <a:lnTo>
                  <a:pt x="260985" y="51435"/>
                </a:lnTo>
                <a:lnTo>
                  <a:pt x="260985" y="63818"/>
                </a:lnTo>
                <a:lnTo>
                  <a:pt x="279083" y="81915"/>
                </a:lnTo>
                <a:lnTo>
                  <a:pt x="272415" y="88583"/>
                </a:lnTo>
                <a:lnTo>
                  <a:pt x="261938" y="78105"/>
                </a:lnTo>
                <a:lnTo>
                  <a:pt x="261938" y="95250"/>
                </a:lnTo>
                <a:lnTo>
                  <a:pt x="252413" y="95250"/>
                </a:lnTo>
                <a:lnTo>
                  <a:pt x="252413" y="78105"/>
                </a:lnTo>
                <a:lnTo>
                  <a:pt x="241935" y="88583"/>
                </a:lnTo>
                <a:lnTo>
                  <a:pt x="235268" y="81915"/>
                </a:lnTo>
                <a:lnTo>
                  <a:pt x="253365" y="63818"/>
                </a:lnTo>
                <a:lnTo>
                  <a:pt x="253365" y="52388"/>
                </a:lnTo>
                <a:lnTo>
                  <a:pt x="240983" y="52388"/>
                </a:lnTo>
                <a:lnTo>
                  <a:pt x="222885" y="70485"/>
                </a:lnTo>
                <a:lnTo>
                  <a:pt x="216218" y="63818"/>
                </a:lnTo>
                <a:lnTo>
                  <a:pt x="226695" y="53340"/>
                </a:lnTo>
                <a:lnTo>
                  <a:pt x="209550" y="53340"/>
                </a:lnTo>
                <a:lnTo>
                  <a:pt x="209550" y="43815"/>
                </a:lnTo>
                <a:lnTo>
                  <a:pt x="226695" y="43815"/>
                </a:lnTo>
                <a:lnTo>
                  <a:pt x="216218" y="33338"/>
                </a:lnTo>
                <a:lnTo>
                  <a:pt x="222885" y="26670"/>
                </a:lnTo>
                <a:lnTo>
                  <a:pt x="240983" y="44768"/>
                </a:lnTo>
                <a:lnTo>
                  <a:pt x="253365" y="44768"/>
                </a:lnTo>
                <a:lnTo>
                  <a:pt x="253365" y="30480"/>
                </a:lnTo>
                <a:lnTo>
                  <a:pt x="235268" y="12383"/>
                </a:lnTo>
                <a:lnTo>
                  <a:pt x="241935" y="5715"/>
                </a:lnTo>
                <a:lnTo>
                  <a:pt x="252413" y="16193"/>
                </a:lnTo>
                <a:lnTo>
                  <a:pt x="252413" y="0"/>
                </a:lnTo>
                <a:lnTo>
                  <a:pt x="261938" y="0"/>
                </a:lnTo>
                <a:lnTo>
                  <a:pt x="261938" y="17145"/>
                </a:lnTo>
                <a:lnTo>
                  <a:pt x="272415" y="6668"/>
                </a:lnTo>
                <a:lnTo>
                  <a:pt x="279083" y="13335"/>
                </a:lnTo>
                <a:lnTo>
                  <a:pt x="260985" y="31433"/>
                </a:lnTo>
                <a:lnTo>
                  <a:pt x="260985" y="43815"/>
                </a:lnTo>
                <a:lnTo>
                  <a:pt x="273368" y="43815"/>
                </a:lnTo>
                <a:lnTo>
                  <a:pt x="291465" y="25718"/>
                </a:lnTo>
                <a:lnTo>
                  <a:pt x="298133" y="32385"/>
                </a:lnTo>
                <a:lnTo>
                  <a:pt x="287655" y="42863"/>
                </a:lnTo>
                <a:lnTo>
                  <a:pt x="304800" y="42863"/>
                </a:lnTo>
                <a:lnTo>
                  <a:pt x="304800" y="52388"/>
                </a:lnTo>
                <a:close/>
              </a:path>
            </a:pathLst>
          </a:custGeom>
          <a:solidFill>
            <a:schemeClr val="tx2"/>
          </a:solidFill>
          <a:ln w="9525" cap="flat">
            <a:noFill/>
            <a:prstDash val="solid"/>
            <a:miter/>
          </a:ln>
        </p:spPr>
        <p:txBody>
          <a:bodyPr rtlCol="0" anchor="ctr"/>
          <a:lstStyle/>
          <a:p>
            <a:endParaRPr lang="en-GB"/>
          </a:p>
        </p:txBody>
      </p:sp>
      <p:sp>
        <p:nvSpPr>
          <p:cNvPr id="349" name="Freeform 75">
            <a:extLst>
              <a:ext uri="{FF2B5EF4-FFF2-40B4-BE49-F238E27FC236}">
                <a16:creationId xmlns:a16="http://schemas.microsoft.com/office/drawing/2014/main" id="{77FE3922-C2AA-4CB7-97B5-7A3C35779434}"/>
              </a:ext>
            </a:extLst>
          </p:cNvPr>
          <p:cNvSpPr>
            <a:spLocks noEditPoints="1"/>
          </p:cNvSpPr>
          <p:nvPr/>
        </p:nvSpPr>
        <p:spPr bwMode="auto">
          <a:xfrm>
            <a:off x="8154689" y="1592334"/>
            <a:ext cx="388937" cy="412750"/>
          </a:xfrm>
          <a:custGeom>
            <a:avLst/>
            <a:gdLst>
              <a:gd name="T0" fmla="*/ 33 w 245"/>
              <a:gd name="T1" fmla="*/ 0 h 260"/>
              <a:gd name="T2" fmla="*/ 33 w 245"/>
              <a:gd name="T3" fmla="*/ 57 h 260"/>
              <a:gd name="T4" fmla="*/ 0 w 245"/>
              <a:gd name="T5" fmla="*/ 57 h 260"/>
              <a:gd name="T6" fmla="*/ 0 w 245"/>
              <a:gd name="T7" fmla="*/ 73 h 260"/>
              <a:gd name="T8" fmla="*/ 33 w 245"/>
              <a:gd name="T9" fmla="*/ 73 h 260"/>
              <a:gd name="T10" fmla="*/ 33 w 245"/>
              <a:gd name="T11" fmla="*/ 97 h 260"/>
              <a:gd name="T12" fmla="*/ 0 w 245"/>
              <a:gd name="T13" fmla="*/ 97 h 260"/>
              <a:gd name="T14" fmla="*/ 0 w 245"/>
              <a:gd name="T15" fmla="*/ 114 h 260"/>
              <a:gd name="T16" fmla="*/ 33 w 245"/>
              <a:gd name="T17" fmla="*/ 114 h 260"/>
              <a:gd name="T18" fmla="*/ 33 w 245"/>
              <a:gd name="T19" fmla="*/ 138 h 260"/>
              <a:gd name="T20" fmla="*/ 0 w 245"/>
              <a:gd name="T21" fmla="*/ 138 h 260"/>
              <a:gd name="T22" fmla="*/ 0 w 245"/>
              <a:gd name="T23" fmla="*/ 154 h 260"/>
              <a:gd name="T24" fmla="*/ 33 w 245"/>
              <a:gd name="T25" fmla="*/ 154 h 260"/>
              <a:gd name="T26" fmla="*/ 33 w 245"/>
              <a:gd name="T27" fmla="*/ 179 h 260"/>
              <a:gd name="T28" fmla="*/ 0 w 245"/>
              <a:gd name="T29" fmla="*/ 179 h 260"/>
              <a:gd name="T30" fmla="*/ 0 w 245"/>
              <a:gd name="T31" fmla="*/ 195 h 260"/>
              <a:gd name="T32" fmla="*/ 33 w 245"/>
              <a:gd name="T33" fmla="*/ 195 h 260"/>
              <a:gd name="T34" fmla="*/ 33 w 245"/>
              <a:gd name="T35" fmla="*/ 260 h 260"/>
              <a:gd name="T36" fmla="*/ 245 w 245"/>
              <a:gd name="T37" fmla="*/ 260 h 260"/>
              <a:gd name="T38" fmla="*/ 245 w 245"/>
              <a:gd name="T39" fmla="*/ 0 h 260"/>
              <a:gd name="T40" fmla="*/ 33 w 245"/>
              <a:gd name="T41" fmla="*/ 0 h 260"/>
              <a:gd name="T42" fmla="*/ 229 w 245"/>
              <a:gd name="T43" fmla="*/ 244 h 260"/>
              <a:gd name="T44" fmla="*/ 49 w 245"/>
              <a:gd name="T45" fmla="*/ 244 h 260"/>
              <a:gd name="T46" fmla="*/ 49 w 245"/>
              <a:gd name="T47" fmla="*/ 195 h 260"/>
              <a:gd name="T48" fmla="*/ 82 w 245"/>
              <a:gd name="T49" fmla="*/ 195 h 260"/>
              <a:gd name="T50" fmla="*/ 82 w 245"/>
              <a:gd name="T51" fmla="*/ 179 h 260"/>
              <a:gd name="T52" fmla="*/ 49 w 245"/>
              <a:gd name="T53" fmla="*/ 179 h 260"/>
              <a:gd name="T54" fmla="*/ 49 w 245"/>
              <a:gd name="T55" fmla="*/ 154 h 260"/>
              <a:gd name="T56" fmla="*/ 82 w 245"/>
              <a:gd name="T57" fmla="*/ 154 h 260"/>
              <a:gd name="T58" fmla="*/ 82 w 245"/>
              <a:gd name="T59" fmla="*/ 138 h 260"/>
              <a:gd name="T60" fmla="*/ 49 w 245"/>
              <a:gd name="T61" fmla="*/ 138 h 260"/>
              <a:gd name="T62" fmla="*/ 49 w 245"/>
              <a:gd name="T63" fmla="*/ 114 h 260"/>
              <a:gd name="T64" fmla="*/ 82 w 245"/>
              <a:gd name="T65" fmla="*/ 114 h 260"/>
              <a:gd name="T66" fmla="*/ 82 w 245"/>
              <a:gd name="T67" fmla="*/ 97 h 260"/>
              <a:gd name="T68" fmla="*/ 49 w 245"/>
              <a:gd name="T69" fmla="*/ 97 h 260"/>
              <a:gd name="T70" fmla="*/ 49 w 245"/>
              <a:gd name="T71" fmla="*/ 73 h 260"/>
              <a:gd name="T72" fmla="*/ 82 w 245"/>
              <a:gd name="T73" fmla="*/ 73 h 260"/>
              <a:gd name="T74" fmla="*/ 82 w 245"/>
              <a:gd name="T75" fmla="*/ 57 h 260"/>
              <a:gd name="T76" fmla="*/ 49 w 245"/>
              <a:gd name="T77" fmla="*/ 57 h 260"/>
              <a:gd name="T78" fmla="*/ 49 w 245"/>
              <a:gd name="T79" fmla="*/ 16 h 260"/>
              <a:gd name="T80" fmla="*/ 229 w 245"/>
              <a:gd name="T81" fmla="*/ 16 h 260"/>
              <a:gd name="T82" fmla="*/ 229 w 245"/>
              <a:gd name="T83" fmla="*/ 24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5" h="260">
                <a:moveTo>
                  <a:pt x="33" y="0"/>
                </a:moveTo>
                <a:lnTo>
                  <a:pt x="33" y="57"/>
                </a:lnTo>
                <a:lnTo>
                  <a:pt x="0" y="57"/>
                </a:lnTo>
                <a:lnTo>
                  <a:pt x="0" y="73"/>
                </a:lnTo>
                <a:lnTo>
                  <a:pt x="33" y="73"/>
                </a:lnTo>
                <a:lnTo>
                  <a:pt x="33" y="97"/>
                </a:lnTo>
                <a:lnTo>
                  <a:pt x="0" y="97"/>
                </a:lnTo>
                <a:lnTo>
                  <a:pt x="0" y="114"/>
                </a:lnTo>
                <a:lnTo>
                  <a:pt x="33" y="114"/>
                </a:lnTo>
                <a:lnTo>
                  <a:pt x="33" y="138"/>
                </a:lnTo>
                <a:lnTo>
                  <a:pt x="0" y="138"/>
                </a:lnTo>
                <a:lnTo>
                  <a:pt x="0" y="154"/>
                </a:lnTo>
                <a:lnTo>
                  <a:pt x="33" y="154"/>
                </a:lnTo>
                <a:lnTo>
                  <a:pt x="33" y="179"/>
                </a:lnTo>
                <a:lnTo>
                  <a:pt x="0" y="179"/>
                </a:lnTo>
                <a:lnTo>
                  <a:pt x="0" y="195"/>
                </a:lnTo>
                <a:lnTo>
                  <a:pt x="33" y="195"/>
                </a:lnTo>
                <a:lnTo>
                  <a:pt x="33" y="260"/>
                </a:lnTo>
                <a:lnTo>
                  <a:pt x="245" y="260"/>
                </a:lnTo>
                <a:lnTo>
                  <a:pt x="245" y="0"/>
                </a:lnTo>
                <a:lnTo>
                  <a:pt x="33" y="0"/>
                </a:lnTo>
                <a:close/>
                <a:moveTo>
                  <a:pt x="229" y="244"/>
                </a:moveTo>
                <a:lnTo>
                  <a:pt x="49" y="244"/>
                </a:lnTo>
                <a:lnTo>
                  <a:pt x="49" y="195"/>
                </a:lnTo>
                <a:lnTo>
                  <a:pt x="82" y="195"/>
                </a:lnTo>
                <a:lnTo>
                  <a:pt x="82" y="179"/>
                </a:lnTo>
                <a:lnTo>
                  <a:pt x="49" y="179"/>
                </a:lnTo>
                <a:lnTo>
                  <a:pt x="49" y="154"/>
                </a:lnTo>
                <a:lnTo>
                  <a:pt x="82" y="154"/>
                </a:lnTo>
                <a:lnTo>
                  <a:pt x="82" y="138"/>
                </a:lnTo>
                <a:lnTo>
                  <a:pt x="49" y="138"/>
                </a:lnTo>
                <a:lnTo>
                  <a:pt x="49" y="114"/>
                </a:lnTo>
                <a:lnTo>
                  <a:pt x="82" y="114"/>
                </a:lnTo>
                <a:lnTo>
                  <a:pt x="82" y="97"/>
                </a:lnTo>
                <a:lnTo>
                  <a:pt x="49" y="97"/>
                </a:lnTo>
                <a:lnTo>
                  <a:pt x="49" y="73"/>
                </a:lnTo>
                <a:lnTo>
                  <a:pt x="82" y="73"/>
                </a:lnTo>
                <a:lnTo>
                  <a:pt x="82" y="57"/>
                </a:lnTo>
                <a:lnTo>
                  <a:pt x="49" y="57"/>
                </a:lnTo>
                <a:lnTo>
                  <a:pt x="49" y="16"/>
                </a:lnTo>
                <a:lnTo>
                  <a:pt x="229" y="16"/>
                </a:lnTo>
                <a:lnTo>
                  <a:pt x="229" y="24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0" name="Freeform 79">
            <a:extLst>
              <a:ext uri="{FF2B5EF4-FFF2-40B4-BE49-F238E27FC236}">
                <a16:creationId xmlns:a16="http://schemas.microsoft.com/office/drawing/2014/main" id="{5C3C323F-6CC6-44E7-8B13-FD56BBF67625}"/>
              </a:ext>
            </a:extLst>
          </p:cNvPr>
          <p:cNvSpPr>
            <a:spLocks noEditPoints="1"/>
          </p:cNvSpPr>
          <p:nvPr/>
        </p:nvSpPr>
        <p:spPr bwMode="auto">
          <a:xfrm>
            <a:off x="5005687" y="2406184"/>
            <a:ext cx="414337" cy="412750"/>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72 w 128"/>
              <a:gd name="T11" fmla="*/ 119 h 128"/>
              <a:gd name="T12" fmla="*/ 72 w 128"/>
              <a:gd name="T13" fmla="*/ 88 h 128"/>
              <a:gd name="T14" fmla="*/ 56 w 128"/>
              <a:gd name="T15" fmla="*/ 88 h 128"/>
              <a:gd name="T16" fmla="*/ 56 w 128"/>
              <a:gd name="T17" fmla="*/ 119 h 128"/>
              <a:gd name="T18" fmla="*/ 9 w 128"/>
              <a:gd name="T19" fmla="*/ 72 h 128"/>
              <a:gd name="T20" fmla="*/ 40 w 128"/>
              <a:gd name="T21" fmla="*/ 72 h 128"/>
              <a:gd name="T22" fmla="*/ 40 w 128"/>
              <a:gd name="T23" fmla="*/ 56 h 128"/>
              <a:gd name="T24" fmla="*/ 9 w 128"/>
              <a:gd name="T25" fmla="*/ 56 h 128"/>
              <a:gd name="T26" fmla="*/ 56 w 128"/>
              <a:gd name="T27" fmla="*/ 9 h 128"/>
              <a:gd name="T28" fmla="*/ 56 w 128"/>
              <a:gd name="T29" fmla="*/ 40 h 128"/>
              <a:gd name="T30" fmla="*/ 72 w 128"/>
              <a:gd name="T31" fmla="*/ 40 h 128"/>
              <a:gd name="T32" fmla="*/ 72 w 128"/>
              <a:gd name="T33" fmla="*/ 9 h 128"/>
              <a:gd name="T34" fmla="*/ 119 w 128"/>
              <a:gd name="T35" fmla="*/ 56 h 128"/>
              <a:gd name="T36" fmla="*/ 88 w 128"/>
              <a:gd name="T37" fmla="*/ 56 h 128"/>
              <a:gd name="T38" fmla="*/ 88 w 128"/>
              <a:gd name="T39" fmla="*/ 72 h 128"/>
              <a:gd name="T40" fmla="*/ 119 w 128"/>
              <a:gd name="T41" fmla="*/ 72 h 128"/>
              <a:gd name="T42" fmla="*/ 72 w 128"/>
              <a:gd name="T43" fmla="*/ 11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72" y="119"/>
                </a:moveTo>
                <a:cubicBezTo>
                  <a:pt x="72" y="88"/>
                  <a:pt x="72" y="88"/>
                  <a:pt x="72" y="88"/>
                </a:cubicBezTo>
                <a:cubicBezTo>
                  <a:pt x="56" y="88"/>
                  <a:pt x="56" y="88"/>
                  <a:pt x="56" y="88"/>
                </a:cubicBezTo>
                <a:cubicBezTo>
                  <a:pt x="56" y="119"/>
                  <a:pt x="56" y="119"/>
                  <a:pt x="56" y="119"/>
                </a:cubicBezTo>
                <a:cubicBezTo>
                  <a:pt x="32" y="116"/>
                  <a:pt x="12" y="97"/>
                  <a:pt x="9" y="72"/>
                </a:cubicBezTo>
                <a:cubicBezTo>
                  <a:pt x="40" y="72"/>
                  <a:pt x="40" y="72"/>
                  <a:pt x="40" y="72"/>
                </a:cubicBezTo>
                <a:cubicBezTo>
                  <a:pt x="40" y="56"/>
                  <a:pt x="40" y="56"/>
                  <a:pt x="40" y="56"/>
                </a:cubicBezTo>
                <a:cubicBezTo>
                  <a:pt x="9" y="56"/>
                  <a:pt x="9" y="56"/>
                  <a:pt x="9" y="56"/>
                </a:cubicBezTo>
                <a:cubicBezTo>
                  <a:pt x="12" y="32"/>
                  <a:pt x="32" y="12"/>
                  <a:pt x="56" y="9"/>
                </a:cubicBezTo>
                <a:cubicBezTo>
                  <a:pt x="56" y="40"/>
                  <a:pt x="56" y="40"/>
                  <a:pt x="56" y="40"/>
                </a:cubicBezTo>
                <a:cubicBezTo>
                  <a:pt x="72" y="40"/>
                  <a:pt x="72" y="40"/>
                  <a:pt x="72" y="40"/>
                </a:cubicBezTo>
                <a:cubicBezTo>
                  <a:pt x="72" y="9"/>
                  <a:pt x="72" y="9"/>
                  <a:pt x="72" y="9"/>
                </a:cubicBezTo>
                <a:cubicBezTo>
                  <a:pt x="97" y="12"/>
                  <a:pt x="116" y="32"/>
                  <a:pt x="119" y="56"/>
                </a:cubicBezTo>
                <a:cubicBezTo>
                  <a:pt x="88" y="56"/>
                  <a:pt x="88" y="56"/>
                  <a:pt x="88" y="56"/>
                </a:cubicBezTo>
                <a:cubicBezTo>
                  <a:pt x="88" y="72"/>
                  <a:pt x="88" y="72"/>
                  <a:pt x="88" y="72"/>
                </a:cubicBezTo>
                <a:cubicBezTo>
                  <a:pt x="119" y="72"/>
                  <a:pt x="119" y="72"/>
                  <a:pt x="119" y="72"/>
                </a:cubicBezTo>
                <a:cubicBezTo>
                  <a:pt x="116" y="97"/>
                  <a:pt x="97" y="116"/>
                  <a:pt x="72" y="11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1" name="Freeform 83">
            <a:extLst>
              <a:ext uri="{FF2B5EF4-FFF2-40B4-BE49-F238E27FC236}">
                <a16:creationId xmlns:a16="http://schemas.microsoft.com/office/drawing/2014/main" id="{12CCFDD9-A45A-4E5D-8B62-D0A4CBBA5AFC}"/>
              </a:ext>
            </a:extLst>
          </p:cNvPr>
          <p:cNvSpPr>
            <a:spLocks noEditPoints="1"/>
          </p:cNvSpPr>
          <p:nvPr/>
        </p:nvSpPr>
        <p:spPr bwMode="auto">
          <a:xfrm>
            <a:off x="7109255" y="2406184"/>
            <a:ext cx="387350" cy="412750"/>
          </a:xfrm>
          <a:custGeom>
            <a:avLst/>
            <a:gdLst>
              <a:gd name="T0" fmla="*/ 128 w 244"/>
              <a:gd name="T1" fmla="*/ 124 h 260"/>
              <a:gd name="T2" fmla="*/ 77 w 244"/>
              <a:gd name="T3" fmla="*/ 77 h 260"/>
              <a:gd name="T4" fmla="*/ 47 w 244"/>
              <a:gd name="T5" fmla="*/ 116 h 260"/>
              <a:gd name="T6" fmla="*/ 35 w 244"/>
              <a:gd name="T7" fmla="*/ 106 h 260"/>
              <a:gd name="T8" fmla="*/ 77 w 244"/>
              <a:gd name="T9" fmla="*/ 53 h 260"/>
              <a:gd name="T10" fmla="*/ 126 w 244"/>
              <a:gd name="T11" fmla="*/ 102 h 260"/>
              <a:gd name="T12" fmla="*/ 197 w 244"/>
              <a:gd name="T13" fmla="*/ 26 h 260"/>
              <a:gd name="T14" fmla="*/ 210 w 244"/>
              <a:gd name="T15" fmla="*/ 39 h 260"/>
              <a:gd name="T16" fmla="*/ 128 w 244"/>
              <a:gd name="T17" fmla="*/ 124 h 260"/>
              <a:gd name="T18" fmla="*/ 244 w 244"/>
              <a:gd name="T19" fmla="*/ 0 h 260"/>
              <a:gd name="T20" fmla="*/ 244 w 244"/>
              <a:gd name="T21" fmla="*/ 162 h 260"/>
              <a:gd name="T22" fmla="*/ 159 w 244"/>
              <a:gd name="T23" fmla="*/ 162 h 260"/>
              <a:gd name="T24" fmla="*/ 214 w 244"/>
              <a:gd name="T25" fmla="*/ 260 h 260"/>
              <a:gd name="T26" fmla="*/ 195 w 244"/>
              <a:gd name="T27" fmla="*/ 260 h 260"/>
              <a:gd name="T28" fmla="*/ 140 w 244"/>
              <a:gd name="T29" fmla="*/ 162 h 260"/>
              <a:gd name="T30" fmla="*/ 104 w 244"/>
              <a:gd name="T31" fmla="*/ 162 h 260"/>
              <a:gd name="T32" fmla="*/ 49 w 244"/>
              <a:gd name="T33" fmla="*/ 260 h 260"/>
              <a:gd name="T34" fmla="*/ 31 w 244"/>
              <a:gd name="T35" fmla="*/ 260 h 260"/>
              <a:gd name="T36" fmla="*/ 85 w 244"/>
              <a:gd name="T37" fmla="*/ 162 h 260"/>
              <a:gd name="T38" fmla="*/ 0 w 244"/>
              <a:gd name="T39" fmla="*/ 162 h 260"/>
              <a:gd name="T40" fmla="*/ 0 w 244"/>
              <a:gd name="T41" fmla="*/ 0 h 260"/>
              <a:gd name="T42" fmla="*/ 244 w 244"/>
              <a:gd name="T43" fmla="*/ 0 h 260"/>
              <a:gd name="T44" fmla="*/ 228 w 244"/>
              <a:gd name="T45" fmla="*/ 16 h 260"/>
              <a:gd name="T46" fmla="*/ 16 w 244"/>
              <a:gd name="T47" fmla="*/ 16 h 260"/>
              <a:gd name="T48" fmla="*/ 16 w 244"/>
              <a:gd name="T49" fmla="*/ 146 h 260"/>
              <a:gd name="T50" fmla="*/ 228 w 244"/>
              <a:gd name="T51" fmla="*/ 146 h 260"/>
              <a:gd name="T52" fmla="*/ 228 w 244"/>
              <a:gd name="T53" fmla="*/ 1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4" h="260">
                <a:moveTo>
                  <a:pt x="128" y="124"/>
                </a:moveTo>
                <a:lnTo>
                  <a:pt x="77" y="77"/>
                </a:lnTo>
                <a:lnTo>
                  <a:pt x="47" y="116"/>
                </a:lnTo>
                <a:lnTo>
                  <a:pt x="35" y="106"/>
                </a:lnTo>
                <a:lnTo>
                  <a:pt x="77" y="53"/>
                </a:lnTo>
                <a:lnTo>
                  <a:pt x="126" y="102"/>
                </a:lnTo>
                <a:lnTo>
                  <a:pt x="197" y="26"/>
                </a:lnTo>
                <a:lnTo>
                  <a:pt x="210" y="39"/>
                </a:lnTo>
                <a:lnTo>
                  <a:pt x="128" y="124"/>
                </a:lnTo>
                <a:close/>
                <a:moveTo>
                  <a:pt x="244" y="0"/>
                </a:moveTo>
                <a:lnTo>
                  <a:pt x="244" y="162"/>
                </a:lnTo>
                <a:lnTo>
                  <a:pt x="159" y="162"/>
                </a:lnTo>
                <a:lnTo>
                  <a:pt x="214" y="260"/>
                </a:lnTo>
                <a:lnTo>
                  <a:pt x="195" y="260"/>
                </a:lnTo>
                <a:lnTo>
                  <a:pt x="140" y="162"/>
                </a:lnTo>
                <a:lnTo>
                  <a:pt x="104" y="162"/>
                </a:lnTo>
                <a:lnTo>
                  <a:pt x="49" y="260"/>
                </a:lnTo>
                <a:lnTo>
                  <a:pt x="31" y="260"/>
                </a:lnTo>
                <a:lnTo>
                  <a:pt x="85" y="162"/>
                </a:lnTo>
                <a:lnTo>
                  <a:pt x="0" y="162"/>
                </a:lnTo>
                <a:lnTo>
                  <a:pt x="0" y="0"/>
                </a:lnTo>
                <a:lnTo>
                  <a:pt x="244" y="0"/>
                </a:lnTo>
                <a:close/>
                <a:moveTo>
                  <a:pt x="228" y="16"/>
                </a:moveTo>
                <a:lnTo>
                  <a:pt x="16" y="16"/>
                </a:lnTo>
                <a:lnTo>
                  <a:pt x="16" y="146"/>
                </a:lnTo>
                <a:lnTo>
                  <a:pt x="228" y="146"/>
                </a:lnTo>
                <a:lnTo>
                  <a:pt x="228" y="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2" name="Freeform 87">
            <a:extLst>
              <a:ext uri="{FF2B5EF4-FFF2-40B4-BE49-F238E27FC236}">
                <a16:creationId xmlns:a16="http://schemas.microsoft.com/office/drawing/2014/main" id="{C000A569-DA86-459F-9904-13D0C6DE9EA9}"/>
              </a:ext>
            </a:extLst>
          </p:cNvPr>
          <p:cNvSpPr>
            <a:spLocks noEditPoints="1"/>
          </p:cNvSpPr>
          <p:nvPr/>
        </p:nvSpPr>
        <p:spPr bwMode="auto">
          <a:xfrm>
            <a:off x="8141988" y="2404596"/>
            <a:ext cx="414338" cy="414338"/>
          </a:xfrm>
          <a:custGeom>
            <a:avLst/>
            <a:gdLst>
              <a:gd name="T0" fmla="*/ 112 w 128"/>
              <a:gd name="T1" fmla="*/ 54 h 128"/>
              <a:gd name="T2" fmla="*/ 106 w 128"/>
              <a:gd name="T3" fmla="*/ 60 h 128"/>
              <a:gd name="T4" fmla="*/ 100 w 128"/>
              <a:gd name="T5" fmla="*/ 54 h 128"/>
              <a:gd name="T6" fmla="*/ 106 w 128"/>
              <a:gd name="T7" fmla="*/ 48 h 128"/>
              <a:gd name="T8" fmla="*/ 112 w 128"/>
              <a:gd name="T9" fmla="*/ 54 h 128"/>
              <a:gd name="T10" fmla="*/ 128 w 128"/>
              <a:gd name="T11" fmla="*/ 32 h 128"/>
              <a:gd name="T12" fmla="*/ 128 w 128"/>
              <a:gd name="T13" fmla="*/ 100 h 128"/>
              <a:gd name="T14" fmla="*/ 104 w 128"/>
              <a:gd name="T15" fmla="*/ 100 h 128"/>
              <a:gd name="T16" fmla="*/ 104 w 128"/>
              <a:gd name="T17" fmla="*/ 128 h 128"/>
              <a:gd name="T18" fmla="*/ 24 w 128"/>
              <a:gd name="T19" fmla="*/ 128 h 128"/>
              <a:gd name="T20" fmla="*/ 24 w 128"/>
              <a:gd name="T21" fmla="*/ 100 h 128"/>
              <a:gd name="T22" fmla="*/ 0 w 128"/>
              <a:gd name="T23" fmla="*/ 100 h 128"/>
              <a:gd name="T24" fmla="*/ 0 w 128"/>
              <a:gd name="T25" fmla="*/ 32 h 128"/>
              <a:gd name="T26" fmla="*/ 24 w 128"/>
              <a:gd name="T27" fmla="*/ 32 h 128"/>
              <a:gd name="T28" fmla="*/ 24 w 128"/>
              <a:gd name="T29" fmla="*/ 0 h 128"/>
              <a:gd name="T30" fmla="*/ 104 w 128"/>
              <a:gd name="T31" fmla="*/ 0 h 128"/>
              <a:gd name="T32" fmla="*/ 104 w 128"/>
              <a:gd name="T33" fmla="*/ 32 h 128"/>
              <a:gd name="T34" fmla="*/ 128 w 128"/>
              <a:gd name="T35" fmla="*/ 32 h 128"/>
              <a:gd name="T36" fmla="*/ 32 w 128"/>
              <a:gd name="T37" fmla="*/ 32 h 128"/>
              <a:gd name="T38" fmla="*/ 96 w 128"/>
              <a:gd name="T39" fmla="*/ 32 h 128"/>
              <a:gd name="T40" fmla="*/ 96 w 128"/>
              <a:gd name="T41" fmla="*/ 8 h 128"/>
              <a:gd name="T42" fmla="*/ 32 w 128"/>
              <a:gd name="T43" fmla="*/ 8 h 128"/>
              <a:gd name="T44" fmla="*/ 32 w 128"/>
              <a:gd name="T45" fmla="*/ 32 h 128"/>
              <a:gd name="T46" fmla="*/ 96 w 128"/>
              <a:gd name="T47" fmla="*/ 80 h 128"/>
              <a:gd name="T48" fmla="*/ 32 w 128"/>
              <a:gd name="T49" fmla="*/ 80 h 128"/>
              <a:gd name="T50" fmla="*/ 32 w 128"/>
              <a:gd name="T51" fmla="*/ 120 h 128"/>
              <a:gd name="T52" fmla="*/ 96 w 128"/>
              <a:gd name="T53" fmla="*/ 120 h 128"/>
              <a:gd name="T54" fmla="*/ 96 w 128"/>
              <a:gd name="T55" fmla="*/ 80 h 128"/>
              <a:gd name="T56" fmla="*/ 8 w 128"/>
              <a:gd name="T57" fmla="*/ 92 h 128"/>
              <a:gd name="T58" fmla="*/ 24 w 128"/>
              <a:gd name="T59" fmla="*/ 92 h 128"/>
              <a:gd name="T60" fmla="*/ 24 w 128"/>
              <a:gd name="T61" fmla="*/ 72 h 128"/>
              <a:gd name="T62" fmla="*/ 104 w 128"/>
              <a:gd name="T63" fmla="*/ 72 h 128"/>
              <a:gd name="T64" fmla="*/ 104 w 128"/>
              <a:gd name="T65" fmla="*/ 92 h 128"/>
              <a:gd name="T66" fmla="*/ 120 w 128"/>
              <a:gd name="T67" fmla="*/ 92 h 128"/>
              <a:gd name="T68" fmla="*/ 120 w 128"/>
              <a:gd name="T69" fmla="*/ 40 h 128"/>
              <a:gd name="T70" fmla="*/ 8 w 128"/>
              <a:gd name="T71" fmla="*/ 40 h 128"/>
              <a:gd name="T72" fmla="*/ 8 w 128"/>
              <a:gd name="T73" fmla="*/ 9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8">
                <a:moveTo>
                  <a:pt x="112" y="54"/>
                </a:moveTo>
                <a:cubicBezTo>
                  <a:pt x="112" y="57"/>
                  <a:pt x="109" y="60"/>
                  <a:pt x="106" y="60"/>
                </a:cubicBezTo>
                <a:cubicBezTo>
                  <a:pt x="103" y="60"/>
                  <a:pt x="100" y="57"/>
                  <a:pt x="100" y="54"/>
                </a:cubicBezTo>
                <a:cubicBezTo>
                  <a:pt x="100" y="51"/>
                  <a:pt x="103" y="48"/>
                  <a:pt x="106" y="48"/>
                </a:cubicBezTo>
                <a:cubicBezTo>
                  <a:pt x="109" y="48"/>
                  <a:pt x="112" y="51"/>
                  <a:pt x="112" y="54"/>
                </a:cubicBezTo>
                <a:close/>
                <a:moveTo>
                  <a:pt x="128" y="32"/>
                </a:moveTo>
                <a:cubicBezTo>
                  <a:pt x="128" y="100"/>
                  <a:pt x="128" y="100"/>
                  <a:pt x="128" y="100"/>
                </a:cubicBezTo>
                <a:cubicBezTo>
                  <a:pt x="104" y="100"/>
                  <a:pt x="104" y="100"/>
                  <a:pt x="104" y="100"/>
                </a:cubicBezTo>
                <a:cubicBezTo>
                  <a:pt x="104" y="128"/>
                  <a:pt x="104" y="128"/>
                  <a:pt x="104" y="128"/>
                </a:cubicBezTo>
                <a:cubicBezTo>
                  <a:pt x="24" y="128"/>
                  <a:pt x="24" y="128"/>
                  <a:pt x="24" y="128"/>
                </a:cubicBezTo>
                <a:cubicBezTo>
                  <a:pt x="24" y="100"/>
                  <a:pt x="24" y="100"/>
                  <a:pt x="24" y="100"/>
                </a:cubicBezTo>
                <a:cubicBezTo>
                  <a:pt x="0" y="100"/>
                  <a:pt x="0" y="100"/>
                  <a:pt x="0" y="100"/>
                </a:cubicBezTo>
                <a:cubicBezTo>
                  <a:pt x="0" y="32"/>
                  <a:pt x="0" y="32"/>
                  <a:pt x="0" y="32"/>
                </a:cubicBezTo>
                <a:cubicBezTo>
                  <a:pt x="24" y="32"/>
                  <a:pt x="24" y="32"/>
                  <a:pt x="24" y="32"/>
                </a:cubicBezTo>
                <a:cubicBezTo>
                  <a:pt x="24" y="0"/>
                  <a:pt x="24" y="0"/>
                  <a:pt x="24" y="0"/>
                </a:cubicBezTo>
                <a:cubicBezTo>
                  <a:pt x="104" y="0"/>
                  <a:pt x="104" y="0"/>
                  <a:pt x="104" y="0"/>
                </a:cubicBezTo>
                <a:cubicBezTo>
                  <a:pt x="104" y="32"/>
                  <a:pt x="104" y="32"/>
                  <a:pt x="104" y="32"/>
                </a:cubicBezTo>
                <a:lnTo>
                  <a:pt x="128" y="32"/>
                </a:lnTo>
                <a:close/>
                <a:moveTo>
                  <a:pt x="32" y="32"/>
                </a:moveTo>
                <a:cubicBezTo>
                  <a:pt x="96" y="32"/>
                  <a:pt x="96" y="32"/>
                  <a:pt x="96" y="32"/>
                </a:cubicBezTo>
                <a:cubicBezTo>
                  <a:pt x="96" y="8"/>
                  <a:pt x="96" y="8"/>
                  <a:pt x="96" y="8"/>
                </a:cubicBezTo>
                <a:cubicBezTo>
                  <a:pt x="32" y="8"/>
                  <a:pt x="32" y="8"/>
                  <a:pt x="32" y="8"/>
                </a:cubicBezTo>
                <a:lnTo>
                  <a:pt x="32" y="32"/>
                </a:lnTo>
                <a:close/>
                <a:moveTo>
                  <a:pt x="96" y="80"/>
                </a:moveTo>
                <a:cubicBezTo>
                  <a:pt x="32" y="80"/>
                  <a:pt x="32" y="80"/>
                  <a:pt x="32" y="80"/>
                </a:cubicBezTo>
                <a:cubicBezTo>
                  <a:pt x="32" y="120"/>
                  <a:pt x="32" y="120"/>
                  <a:pt x="32" y="120"/>
                </a:cubicBezTo>
                <a:cubicBezTo>
                  <a:pt x="96" y="120"/>
                  <a:pt x="96" y="120"/>
                  <a:pt x="96" y="120"/>
                </a:cubicBezTo>
                <a:lnTo>
                  <a:pt x="96" y="80"/>
                </a:lnTo>
                <a:close/>
                <a:moveTo>
                  <a:pt x="8" y="92"/>
                </a:moveTo>
                <a:cubicBezTo>
                  <a:pt x="24" y="92"/>
                  <a:pt x="24" y="92"/>
                  <a:pt x="24" y="92"/>
                </a:cubicBezTo>
                <a:cubicBezTo>
                  <a:pt x="24" y="72"/>
                  <a:pt x="24" y="72"/>
                  <a:pt x="24" y="72"/>
                </a:cubicBezTo>
                <a:cubicBezTo>
                  <a:pt x="104" y="72"/>
                  <a:pt x="104" y="72"/>
                  <a:pt x="104" y="72"/>
                </a:cubicBezTo>
                <a:cubicBezTo>
                  <a:pt x="104" y="92"/>
                  <a:pt x="104" y="92"/>
                  <a:pt x="104" y="92"/>
                </a:cubicBezTo>
                <a:cubicBezTo>
                  <a:pt x="120" y="92"/>
                  <a:pt x="120" y="92"/>
                  <a:pt x="120" y="92"/>
                </a:cubicBezTo>
                <a:cubicBezTo>
                  <a:pt x="120" y="40"/>
                  <a:pt x="120" y="40"/>
                  <a:pt x="120" y="40"/>
                </a:cubicBezTo>
                <a:cubicBezTo>
                  <a:pt x="8" y="40"/>
                  <a:pt x="8" y="40"/>
                  <a:pt x="8" y="40"/>
                </a:cubicBezTo>
                <a:lnTo>
                  <a:pt x="8" y="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3" name="Freeform 91">
            <a:extLst>
              <a:ext uri="{FF2B5EF4-FFF2-40B4-BE49-F238E27FC236}">
                <a16:creationId xmlns:a16="http://schemas.microsoft.com/office/drawing/2014/main" id="{8FDD3857-413A-4211-BE55-5C523D08EF3E}"/>
              </a:ext>
            </a:extLst>
          </p:cNvPr>
          <p:cNvSpPr>
            <a:spLocks noEditPoints="1"/>
          </p:cNvSpPr>
          <p:nvPr/>
        </p:nvSpPr>
        <p:spPr bwMode="auto">
          <a:xfrm>
            <a:off x="5006480" y="3193473"/>
            <a:ext cx="412750" cy="414337"/>
          </a:xfrm>
          <a:custGeom>
            <a:avLst/>
            <a:gdLst>
              <a:gd name="T0" fmla="*/ 128 w 128"/>
              <a:gd name="T1" fmla="*/ 64 h 128"/>
              <a:gd name="T2" fmla="*/ 68 w 128"/>
              <a:gd name="T3" fmla="*/ 8 h 128"/>
              <a:gd name="T4" fmla="*/ 68 w 128"/>
              <a:gd name="T5" fmla="*/ 0 h 128"/>
              <a:gd name="T6" fmla="*/ 60 w 128"/>
              <a:gd name="T7" fmla="*/ 0 h 128"/>
              <a:gd name="T8" fmla="*/ 60 w 128"/>
              <a:gd name="T9" fmla="*/ 8 h 128"/>
              <a:gd name="T10" fmla="*/ 0 w 128"/>
              <a:gd name="T11" fmla="*/ 64 h 128"/>
              <a:gd name="T12" fmla="*/ 60 w 128"/>
              <a:gd name="T13" fmla="*/ 64 h 128"/>
              <a:gd name="T14" fmla="*/ 60 w 128"/>
              <a:gd name="T15" fmla="*/ 112 h 128"/>
              <a:gd name="T16" fmla="*/ 52 w 128"/>
              <a:gd name="T17" fmla="*/ 120 h 128"/>
              <a:gd name="T18" fmla="*/ 44 w 128"/>
              <a:gd name="T19" fmla="*/ 112 h 128"/>
              <a:gd name="T20" fmla="*/ 36 w 128"/>
              <a:gd name="T21" fmla="*/ 112 h 128"/>
              <a:gd name="T22" fmla="*/ 52 w 128"/>
              <a:gd name="T23" fmla="*/ 128 h 128"/>
              <a:gd name="T24" fmla="*/ 68 w 128"/>
              <a:gd name="T25" fmla="*/ 112 h 128"/>
              <a:gd name="T26" fmla="*/ 68 w 128"/>
              <a:gd name="T27" fmla="*/ 64 h 128"/>
              <a:gd name="T28" fmla="*/ 128 w 128"/>
              <a:gd name="T29" fmla="*/ 64 h 128"/>
              <a:gd name="T30" fmla="*/ 64 w 128"/>
              <a:gd name="T31" fmla="*/ 16 h 128"/>
              <a:gd name="T32" fmla="*/ 118 w 128"/>
              <a:gd name="T33" fmla="*/ 56 h 128"/>
              <a:gd name="T34" fmla="*/ 10 w 128"/>
              <a:gd name="T35" fmla="*/ 56 h 128"/>
              <a:gd name="T36" fmla="*/ 64 w 128"/>
              <a:gd name="T37"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128">
                <a:moveTo>
                  <a:pt x="128" y="64"/>
                </a:moveTo>
                <a:cubicBezTo>
                  <a:pt x="124" y="34"/>
                  <a:pt x="99" y="10"/>
                  <a:pt x="68" y="8"/>
                </a:cubicBezTo>
                <a:cubicBezTo>
                  <a:pt x="68" y="0"/>
                  <a:pt x="68" y="0"/>
                  <a:pt x="68" y="0"/>
                </a:cubicBezTo>
                <a:cubicBezTo>
                  <a:pt x="60" y="0"/>
                  <a:pt x="60" y="0"/>
                  <a:pt x="60" y="0"/>
                </a:cubicBezTo>
                <a:cubicBezTo>
                  <a:pt x="60" y="8"/>
                  <a:pt x="60" y="8"/>
                  <a:pt x="60" y="8"/>
                </a:cubicBezTo>
                <a:cubicBezTo>
                  <a:pt x="29" y="10"/>
                  <a:pt x="4" y="34"/>
                  <a:pt x="0" y="64"/>
                </a:cubicBezTo>
                <a:cubicBezTo>
                  <a:pt x="60" y="64"/>
                  <a:pt x="60" y="64"/>
                  <a:pt x="60" y="64"/>
                </a:cubicBezTo>
                <a:cubicBezTo>
                  <a:pt x="60" y="112"/>
                  <a:pt x="60" y="112"/>
                  <a:pt x="60" y="112"/>
                </a:cubicBezTo>
                <a:cubicBezTo>
                  <a:pt x="60" y="116"/>
                  <a:pt x="56" y="120"/>
                  <a:pt x="52" y="120"/>
                </a:cubicBezTo>
                <a:cubicBezTo>
                  <a:pt x="48" y="120"/>
                  <a:pt x="44" y="116"/>
                  <a:pt x="44" y="112"/>
                </a:cubicBezTo>
                <a:cubicBezTo>
                  <a:pt x="36" y="112"/>
                  <a:pt x="36" y="112"/>
                  <a:pt x="36" y="112"/>
                </a:cubicBezTo>
                <a:cubicBezTo>
                  <a:pt x="36" y="121"/>
                  <a:pt x="43" y="128"/>
                  <a:pt x="52" y="128"/>
                </a:cubicBezTo>
                <a:cubicBezTo>
                  <a:pt x="61" y="128"/>
                  <a:pt x="68" y="121"/>
                  <a:pt x="68" y="112"/>
                </a:cubicBezTo>
                <a:cubicBezTo>
                  <a:pt x="68" y="64"/>
                  <a:pt x="68" y="64"/>
                  <a:pt x="68" y="64"/>
                </a:cubicBezTo>
                <a:lnTo>
                  <a:pt x="128" y="64"/>
                </a:lnTo>
                <a:close/>
                <a:moveTo>
                  <a:pt x="64" y="16"/>
                </a:moveTo>
                <a:cubicBezTo>
                  <a:pt x="89" y="16"/>
                  <a:pt x="111" y="33"/>
                  <a:pt x="118" y="56"/>
                </a:cubicBezTo>
                <a:cubicBezTo>
                  <a:pt x="10" y="56"/>
                  <a:pt x="10" y="56"/>
                  <a:pt x="10" y="56"/>
                </a:cubicBezTo>
                <a:cubicBezTo>
                  <a:pt x="17" y="33"/>
                  <a:pt x="39" y="16"/>
                  <a:pt x="64"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4" name="Freeform 95">
            <a:extLst>
              <a:ext uri="{FF2B5EF4-FFF2-40B4-BE49-F238E27FC236}">
                <a16:creationId xmlns:a16="http://schemas.microsoft.com/office/drawing/2014/main" id="{0E5AB934-B107-4768-A047-2A0FE2970F05}"/>
              </a:ext>
            </a:extLst>
          </p:cNvPr>
          <p:cNvSpPr>
            <a:spLocks/>
          </p:cNvSpPr>
          <p:nvPr/>
        </p:nvSpPr>
        <p:spPr bwMode="auto">
          <a:xfrm>
            <a:off x="6051122" y="3396673"/>
            <a:ext cx="414338" cy="211137"/>
          </a:xfrm>
          <a:custGeom>
            <a:avLst/>
            <a:gdLst>
              <a:gd name="T0" fmla="*/ 261 w 261"/>
              <a:gd name="T1" fmla="*/ 0 h 133"/>
              <a:gd name="T2" fmla="*/ 130 w 261"/>
              <a:gd name="T3" fmla="*/ 133 h 133"/>
              <a:gd name="T4" fmla="*/ 0 w 261"/>
              <a:gd name="T5" fmla="*/ 0 h 133"/>
              <a:gd name="T6" fmla="*/ 261 w 261"/>
              <a:gd name="T7" fmla="*/ 0 h 133"/>
            </a:gdLst>
            <a:ahLst/>
            <a:cxnLst>
              <a:cxn ang="0">
                <a:pos x="T0" y="T1"/>
              </a:cxn>
              <a:cxn ang="0">
                <a:pos x="T2" y="T3"/>
              </a:cxn>
              <a:cxn ang="0">
                <a:pos x="T4" y="T5"/>
              </a:cxn>
              <a:cxn ang="0">
                <a:pos x="T6" y="T7"/>
              </a:cxn>
            </a:cxnLst>
            <a:rect l="0" t="0" r="r" b="b"/>
            <a:pathLst>
              <a:path w="261" h="133">
                <a:moveTo>
                  <a:pt x="261" y="0"/>
                </a:moveTo>
                <a:lnTo>
                  <a:pt x="130" y="133"/>
                </a:lnTo>
                <a:lnTo>
                  <a:pt x="0" y="0"/>
                </a:lnTo>
                <a:lnTo>
                  <a:pt x="261"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5" name="Freeform 99">
            <a:extLst>
              <a:ext uri="{FF2B5EF4-FFF2-40B4-BE49-F238E27FC236}">
                <a16:creationId xmlns:a16="http://schemas.microsoft.com/office/drawing/2014/main" id="{C0C95EE7-0C7A-43DE-82DC-A45692B892CE}"/>
              </a:ext>
            </a:extLst>
          </p:cNvPr>
          <p:cNvSpPr>
            <a:spLocks noEditPoints="1"/>
          </p:cNvSpPr>
          <p:nvPr/>
        </p:nvSpPr>
        <p:spPr bwMode="auto">
          <a:xfrm>
            <a:off x="8230889" y="3195060"/>
            <a:ext cx="236537" cy="412750"/>
          </a:xfrm>
          <a:custGeom>
            <a:avLst/>
            <a:gdLst>
              <a:gd name="T0" fmla="*/ 44 w 72"/>
              <a:gd name="T1" fmla="*/ 96 h 128"/>
              <a:gd name="T2" fmla="*/ 28 w 72"/>
              <a:gd name="T3" fmla="*/ 96 h 128"/>
              <a:gd name="T4" fmla="*/ 28 w 72"/>
              <a:gd name="T5" fmla="*/ 90 h 128"/>
              <a:gd name="T6" fmla="*/ 33 w 72"/>
              <a:gd name="T7" fmla="*/ 62 h 128"/>
              <a:gd name="T8" fmla="*/ 46 w 72"/>
              <a:gd name="T9" fmla="*/ 49 h 128"/>
              <a:gd name="T10" fmla="*/ 49 w 72"/>
              <a:gd name="T11" fmla="*/ 46 h 128"/>
              <a:gd name="T12" fmla="*/ 56 w 72"/>
              <a:gd name="T13" fmla="*/ 34 h 128"/>
              <a:gd name="T14" fmla="*/ 38 w 72"/>
              <a:gd name="T15" fmla="*/ 16 h 128"/>
              <a:gd name="T16" fmla="*/ 16 w 72"/>
              <a:gd name="T17" fmla="*/ 34 h 128"/>
              <a:gd name="T18" fmla="*/ 16 w 72"/>
              <a:gd name="T19" fmla="*/ 36 h 128"/>
              <a:gd name="T20" fmla="*/ 0 w 72"/>
              <a:gd name="T21" fmla="*/ 36 h 128"/>
              <a:gd name="T22" fmla="*/ 0 w 72"/>
              <a:gd name="T23" fmla="*/ 34 h 128"/>
              <a:gd name="T24" fmla="*/ 38 w 72"/>
              <a:gd name="T25" fmla="*/ 0 h 128"/>
              <a:gd name="T26" fmla="*/ 72 w 72"/>
              <a:gd name="T27" fmla="*/ 33 h 128"/>
              <a:gd name="T28" fmla="*/ 60 w 72"/>
              <a:gd name="T29" fmla="*/ 58 h 128"/>
              <a:gd name="T30" fmla="*/ 56 w 72"/>
              <a:gd name="T31" fmla="*/ 62 h 128"/>
              <a:gd name="T32" fmla="*/ 47 w 72"/>
              <a:gd name="T33" fmla="*/ 71 h 128"/>
              <a:gd name="T34" fmla="*/ 44 w 72"/>
              <a:gd name="T35" fmla="*/ 90 h 128"/>
              <a:gd name="T36" fmla="*/ 44 w 72"/>
              <a:gd name="T37" fmla="*/ 96 h 128"/>
              <a:gd name="T38" fmla="*/ 36 w 72"/>
              <a:gd name="T39" fmla="*/ 104 h 128"/>
              <a:gd name="T40" fmla="*/ 24 w 72"/>
              <a:gd name="T41" fmla="*/ 116 h 128"/>
              <a:gd name="T42" fmla="*/ 36 w 72"/>
              <a:gd name="T43" fmla="*/ 128 h 128"/>
              <a:gd name="T44" fmla="*/ 48 w 72"/>
              <a:gd name="T45" fmla="*/ 116 h 128"/>
              <a:gd name="T46" fmla="*/ 36 w 72"/>
              <a:gd name="T47"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128">
                <a:moveTo>
                  <a:pt x="44" y="96"/>
                </a:moveTo>
                <a:cubicBezTo>
                  <a:pt x="28" y="96"/>
                  <a:pt x="28" y="96"/>
                  <a:pt x="28" y="96"/>
                </a:cubicBezTo>
                <a:cubicBezTo>
                  <a:pt x="28" y="92"/>
                  <a:pt x="28" y="92"/>
                  <a:pt x="28" y="90"/>
                </a:cubicBezTo>
                <a:cubicBezTo>
                  <a:pt x="28" y="80"/>
                  <a:pt x="27" y="70"/>
                  <a:pt x="33" y="62"/>
                </a:cubicBezTo>
                <a:cubicBezTo>
                  <a:pt x="36" y="57"/>
                  <a:pt x="41" y="53"/>
                  <a:pt x="46" y="49"/>
                </a:cubicBezTo>
                <a:cubicBezTo>
                  <a:pt x="47" y="48"/>
                  <a:pt x="48" y="47"/>
                  <a:pt x="49" y="46"/>
                </a:cubicBezTo>
                <a:cubicBezTo>
                  <a:pt x="54" y="42"/>
                  <a:pt x="56" y="39"/>
                  <a:pt x="56" y="34"/>
                </a:cubicBezTo>
                <a:cubicBezTo>
                  <a:pt x="56" y="24"/>
                  <a:pt x="49" y="16"/>
                  <a:pt x="38" y="16"/>
                </a:cubicBezTo>
                <a:cubicBezTo>
                  <a:pt x="26" y="16"/>
                  <a:pt x="16" y="24"/>
                  <a:pt x="16" y="34"/>
                </a:cubicBezTo>
                <a:cubicBezTo>
                  <a:pt x="16" y="36"/>
                  <a:pt x="16" y="36"/>
                  <a:pt x="16" y="36"/>
                </a:cubicBezTo>
                <a:cubicBezTo>
                  <a:pt x="0" y="36"/>
                  <a:pt x="0" y="36"/>
                  <a:pt x="0" y="36"/>
                </a:cubicBezTo>
                <a:cubicBezTo>
                  <a:pt x="0" y="34"/>
                  <a:pt x="0" y="34"/>
                  <a:pt x="0" y="34"/>
                </a:cubicBezTo>
                <a:cubicBezTo>
                  <a:pt x="0" y="15"/>
                  <a:pt x="17" y="0"/>
                  <a:pt x="38" y="0"/>
                </a:cubicBezTo>
                <a:cubicBezTo>
                  <a:pt x="58" y="0"/>
                  <a:pt x="72" y="13"/>
                  <a:pt x="72" y="33"/>
                </a:cubicBezTo>
                <a:cubicBezTo>
                  <a:pt x="72" y="48"/>
                  <a:pt x="66" y="53"/>
                  <a:pt x="60" y="58"/>
                </a:cubicBezTo>
                <a:cubicBezTo>
                  <a:pt x="59" y="59"/>
                  <a:pt x="57" y="61"/>
                  <a:pt x="56" y="62"/>
                </a:cubicBezTo>
                <a:cubicBezTo>
                  <a:pt x="52" y="65"/>
                  <a:pt x="49" y="68"/>
                  <a:pt x="47" y="71"/>
                </a:cubicBezTo>
                <a:cubicBezTo>
                  <a:pt x="44" y="76"/>
                  <a:pt x="44" y="80"/>
                  <a:pt x="44" y="90"/>
                </a:cubicBezTo>
                <a:cubicBezTo>
                  <a:pt x="44" y="92"/>
                  <a:pt x="44" y="92"/>
                  <a:pt x="44" y="96"/>
                </a:cubicBezTo>
                <a:close/>
                <a:moveTo>
                  <a:pt x="36" y="104"/>
                </a:moveTo>
                <a:cubicBezTo>
                  <a:pt x="29" y="104"/>
                  <a:pt x="24" y="109"/>
                  <a:pt x="24" y="116"/>
                </a:cubicBezTo>
                <a:cubicBezTo>
                  <a:pt x="24" y="123"/>
                  <a:pt x="29" y="128"/>
                  <a:pt x="36" y="128"/>
                </a:cubicBezTo>
                <a:cubicBezTo>
                  <a:pt x="43" y="128"/>
                  <a:pt x="48" y="123"/>
                  <a:pt x="48" y="116"/>
                </a:cubicBezTo>
                <a:cubicBezTo>
                  <a:pt x="48" y="109"/>
                  <a:pt x="43" y="104"/>
                  <a:pt x="36" y="10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6" name="Freeform 103">
            <a:extLst>
              <a:ext uri="{FF2B5EF4-FFF2-40B4-BE49-F238E27FC236}">
                <a16:creationId xmlns:a16="http://schemas.microsoft.com/office/drawing/2014/main" id="{B1B896AC-7913-4C28-BEFE-090116268ECA}"/>
              </a:ext>
            </a:extLst>
          </p:cNvPr>
          <p:cNvSpPr>
            <a:spLocks noEditPoints="1"/>
          </p:cNvSpPr>
          <p:nvPr/>
        </p:nvSpPr>
        <p:spPr bwMode="auto">
          <a:xfrm>
            <a:off x="5006480" y="4051809"/>
            <a:ext cx="412750" cy="412750"/>
          </a:xfrm>
          <a:custGeom>
            <a:avLst/>
            <a:gdLst>
              <a:gd name="T0" fmla="*/ 97 w 260"/>
              <a:gd name="T1" fmla="*/ 154 h 260"/>
              <a:gd name="T2" fmla="*/ 97 w 260"/>
              <a:gd name="T3" fmla="*/ 195 h 260"/>
              <a:gd name="T4" fmla="*/ 65 w 260"/>
              <a:gd name="T5" fmla="*/ 195 h 260"/>
              <a:gd name="T6" fmla="*/ 97 w 260"/>
              <a:gd name="T7" fmla="*/ 227 h 260"/>
              <a:gd name="T8" fmla="*/ 97 w 260"/>
              <a:gd name="T9" fmla="*/ 260 h 260"/>
              <a:gd name="T10" fmla="*/ 260 w 260"/>
              <a:gd name="T11" fmla="*/ 260 h 260"/>
              <a:gd name="T12" fmla="*/ 260 w 260"/>
              <a:gd name="T13" fmla="*/ 154 h 260"/>
              <a:gd name="T14" fmla="*/ 97 w 260"/>
              <a:gd name="T15" fmla="*/ 154 h 260"/>
              <a:gd name="T16" fmla="*/ 106 w 260"/>
              <a:gd name="T17" fmla="*/ 162 h 260"/>
              <a:gd name="T18" fmla="*/ 252 w 260"/>
              <a:gd name="T19" fmla="*/ 162 h 260"/>
              <a:gd name="T20" fmla="*/ 252 w 260"/>
              <a:gd name="T21" fmla="*/ 252 h 260"/>
              <a:gd name="T22" fmla="*/ 106 w 260"/>
              <a:gd name="T23" fmla="*/ 252 h 260"/>
              <a:gd name="T24" fmla="*/ 106 w 260"/>
              <a:gd name="T25" fmla="*/ 162 h 260"/>
              <a:gd name="T26" fmla="*/ 32 w 260"/>
              <a:gd name="T27" fmla="*/ 122 h 260"/>
              <a:gd name="T28" fmla="*/ 65 w 260"/>
              <a:gd name="T29" fmla="*/ 154 h 260"/>
              <a:gd name="T30" fmla="*/ 65 w 260"/>
              <a:gd name="T31" fmla="*/ 122 h 260"/>
              <a:gd name="T32" fmla="*/ 162 w 260"/>
              <a:gd name="T33" fmla="*/ 122 h 260"/>
              <a:gd name="T34" fmla="*/ 162 w 260"/>
              <a:gd name="T35" fmla="*/ 0 h 260"/>
              <a:gd name="T36" fmla="*/ 0 w 260"/>
              <a:gd name="T37" fmla="*/ 0 h 260"/>
              <a:gd name="T38" fmla="*/ 0 w 260"/>
              <a:gd name="T39" fmla="*/ 122 h 260"/>
              <a:gd name="T40" fmla="*/ 32 w 260"/>
              <a:gd name="T41" fmla="*/ 122 h 260"/>
              <a:gd name="T42" fmla="*/ 154 w 260"/>
              <a:gd name="T43" fmla="*/ 114 h 260"/>
              <a:gd name="T44" fmla="*/ 8 w 260"/>
              <a:gd name="T45" fmla="*/ 114 h 260"/>
              <a:gd name="T46" fmla="*/ 8 w 260"/>
              <a:gd name="T47" fmla="*/ 8 h 260"/>
              <a:gd name="T48" fmla="*/ 154 w 260"/>
              <a:gd name="T49" fmla="*/ 8 h 260"/>
              <a:gd name="T50" fmla="*/ 154 w 260"/>
              <a:gd name="T51" fmla="*/ 114 h 260"/>
              <a:gd name="T52" fmla="*/ 154 w 260"/>
              <a:gd name="T53" fmla="*/ 227 h 260"/>
              <a:gd name="T54" fmla="*/ 138 w 260"/>
              <a:gd name="T55" fmla="*/ 227 h 260"/>
              <a:gd name="T56" fmla="*/ 138 w 260"/>
              <a:gd name="T57" fmla="*/ 211 h 260"/>
              <a:gd name="T58" fmla="*/ 154 w 260"/>
              <a:gd name="T59" fmla="*/ 211 h 260"/>
              <a:gd name="T60" fmla="*/ 154 w 260"/>
              <a:gd name="T61" fmla="*/ 227 h 260"/>
              <a:gd name="T62" fmla="*/ 187 w 260"/>
              <a:gd name="T63" fmla="*/ 227 h 260"/>
              <a:gd name="T64" fmla="*/ 171 w 260"/>
              <a:gd name="T65" fmla="*/ 227 h 260"/>
              <a:gd name="T66" fmla="*/ 171 w 260"/>
              <a:gd name="T67" fmla="*/ 211 h 260"/>
              <a:gd name="T68" fmla="*/ 187 w 260"/>
              <a:gd name="T69" fmla="*/ 211 h 260"/>
              <a:gd name="T70" fmla="*/ 187 w 260"/>
              <a:gd name="T71" fmla="*/ 227 h 260"/>
              <a:gd name="T72" fmla="*/ 219 w 260"/>
              <a:gd name="T73" fmla="*/ 227 h 260"/>
              <a:gd name="T74" fmla="*/ 203 w 260"/>
              <a:gd name="T75" fmla="*/ 227 h 260"/>
              <a:gd name="T76" fmla="*/ 203 w 260"/>
              <a:gd name="T77" fmla="*/ 211 h 260"/>
              <a:gd name="T78" fmla="*/ 219 w 260"/>
              <a:gd name="T79" fmla="*/ 211 h 260"/>
              <a:gd name="T80" fmla="*/ 219 w 260"/>
              <a:gd name="T81" fmla="*/ 227 h 260"/>
              <a:gd name="T82" fmla="*/ 89 w 260"/>
              <a:gd name="T83" fmla="*/ 97 h 260"/>
              <a:gd name="T84" fmla="*/ 73 w 260"/>
              <a:gd name="T85" fmla="*/ 97 h 260"/>
              <a:gd name="T86" fmla="*/ 73 w 260"/>
              <a:gd name="T87" fmla="*/ 81 h 260"/>
              <a:gd name="T88" fmla="*/ 89 w 260"/>
              <a:gd name="T89" fmla="*/ 81 h 260"/>
              <a:gd name="T90" fmla="*/ 89 w 260"/>
              <a:gd name="T91" fmla="*/ 97 h 260"/>
              <a:gd name="T92" fmla="*/ 89 w 260"/>
              <a:gd name="T93" fmla="*/ 73 h 260"/>
              <a:gd name="T94" fmla="*/ 73 w 260"/>
              <a:gd name="T95" fmla="*/ 73 h 260"/>
              <a:gd name="T96" fmla="*/ 73 w 260"/>
              <a:gd name="T97" fmla="*/ 61 h 260"/>
              <a:gd name="T98" fmla="*/ 89 w 260"/>
              <a:gd name="T99" fmla="*/ 45 h 260"/>
              <a:gd name="T100" fmla="*/ 89 w 260"/>
              <a:gd name="T101" fmla="*/ 41 h 260"/>
              <a:gd name="T102" fmla="*/ 73 w 260"/>
              <a:gd name="T103" fmla="*/ 41 h 260"/>
              <a:gd name="T104" fmla="*/ 73 w 260"/>
              <a:gd name="T105" fmla="*/ 49 h 260"/>
              <a:gd name="T106" fmla="*/ 57 w 260"/>
              <a:gd name="T107" fmla="*/ 49 h 260"/>
              <a:gd name="T108" fmla="*/ 57 w 260"/>
              <a:gd name="T109" fmla="*/ 24 h 260"/>
              <a:gd name="T110" fmla="*/ 106 w 260"/>
              <a:gd name="T111" fmla="*/ 24 h 260"/>
              <a:gd name="T112" fmla="*/ 106 w 260"/>
              <a:gd name="T113" fmla="*/ 53 h 260"/>
              <a:gd name="T114" fmla="*/ 89 w 260"/>
              <a:gd name="T115" fmla="*/ 69 h 260"/>
              <a:gd name="T116" fmla="*/ 89 w 260"/>
              <a:gd name="T117" fmla="*/ 7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0" h="260">
                <a:moveTo>
                  <a:pt x="97" y="154"/>
                </a:moveTo>
                <a:lnTo>
                  <a:pt x="97" y="195"/>
                </a:lnTo>
                <a:lnTo>
                  <a:pt x="65" y="195"/>
                </a:lnTo>
                <a:lnTo>
                  <a:pt x="97" y="227"/>
                </a:lnTo>
                <a:lnTo>
                  <a:pt x="97" y="260"/>
                </a:lnTo>
                <a:lnTo>
                  <a:pt x="260" y="260"/>
                </a:lnTo>
                <a:lnTo>
                  <a:pt x="260" y="154"/>
                </a:lnTo>
                <a:lnTo>
                  <a:pt x="97" y="154"/>
                </a:lnTo>
                <a:close/>
                <a:moveTo>
                  <a:pt x="106" y="162"/>
                </a:moveTo>
                <a:lnTo>
                  <a:pt x="252" y="162"/>
                </a:lnTo>
                <a:lnTo>
                  <a:pt x="252" y="252"/>
                </a:lnTo>
                <a:lnTo>
                  <a:pt x="106" y="252"/>
                </a:lnTo>
                <a:lnTo>
                  <a:pt x="106" y="162"/>
                </a:lnTo>
                <a:close/>
                <a:moveTo>
                  <a:pt x="32" y="122"/>
                </a:moveTo>
                <a:lnTo>
                  <a:pt x="65" y="154"/>
                </a:lnTo>
                <a:lnTo>
                  <a:pt x="65" y="122"/>
                </a:lnTo>
                <a:lnTo>
                  <a:pt x="162" y="122"/>
                </a:lnTo>
                <a:lnTo>
                  <a:pt x="162" y="0"/>
                </a:lnTo>
                <a:lnTo>
                  <a:pt x="0" y="0"/>
                </a:lnTo>
                <a:lnTo>
                  <a:pt x="0" y="122"/>
                </a:lnTo>
                <a:lnTo>
                  <a:pt x="32" y="122"/>
                </a:lnTo>
                <a:close/>
                <a:moveTo>
                  <a:pt x="154" y="114"/>
                </a:moveTo>
                <a:lnTo>
                  <a:pt x="8" y="114"/>
                </a:lnTo>
                <a:lnTo>
                  <a:pt x="8" y="8"/>
                </a:lnTo>
                <a:lnTo>
                  <a:pt x="154" y="8"/>
                </a:lnTo>
                <a:lnTo>
                  <a:pt x="154" y="114"/>
                </a:lnTo>
                <a:close/>
                <a:moveTo>
                  <a:pt x="154" y="227"/>
                </a:moveTo>
                <a:lnTo>
                  <a:pt x="138" y="227"/>
                </a:lnTo>
                <a:lnTo>
                  <a:pt x="138" y="211"/>
                </a:lnTo>
                <a:lnTo>
                  <a:pt x="154" y="211"/>
                </a:lnTo>
                <a:lnTo>
                  <a:pt x="154" y="227"/>
                </a:lnTo>
                <a:close/>
                <a:moveTo>
                  <a:pt x="187" y="227"/>
                </a:moveTo>
                <a:lnTo>
                  <a:pt x="171" y="227"/>
                </a:lnTo>
                <a:lnTo>
                  <a:pt x="171" y="211"/>
                </a:lnTo>
                <a:lnTo>
                  <a:pt x="187" y="211"/>
                </a:lnTo>
                <a:lnTo>
                  <a:pt x="187" y="227"/>
                </a:lnTo>
                <a:close/>
                <a:moveTo>
                  <a:pt x="219" y="227"/>
                </a:moveTo>
                <a:lnTo>
                  <a:pt x="203" y="227"/>
                </a:lnTo>
                <a:lnTo>
                  <a:pt x="203" y="211"/>
                </a:lnTo>
                <a:lnTo>
                  <a:pt x="219" y="211"/>
                </a:lnTo>
                <a:lnTo>
                  <a:pt x="219" y="227"/>
                </a:lnTo>
                <a:close/>
                <a:moveTo>
                  <a:pt x="89" y="97"/>
                </a:moveTo>
                <a:lnTo>
                  <a:pt x="73" y="97"/>
                </a:lnTo>
                <a:lnTo>
                  <a:pt x="73" y="81"/>
                </a:lnTo>
                <a:lnTo>
                  <a:pt x="89" y="81"/>
                </a:lnTo>
                <a:lnTo>
                  <a:pt x="89" y="97"/>
                </a:lnTo>
                <a:close/>
                <a:moveTo>
                  <a:pt x="89" y="73"/>
                </a:moveTo>
                <a:lnTo>
                  <a:pt x="73" y="73"/>
                </a:lnTo>
                <a:lnTo>
                  <a:pt x="73" y="61"/>
                </a:lnTo>
                <a:lnTo>
                  <a:pt x="89" y="45"/>
                </a:lnTo>
                <a:lnTo>
                  <a:pt x="89" y="41"/>
                </a:lnTo>
                <a:lnTo>
                  <a:pt x="73" y="41"/>
                </a:lnTo>
                <a:lnTo>
                  <a:pt x="73" y="49"/>
                </a:lnTo>
                <a:lnTo>
                  <a:pt x="57" y="49"/>
                </a:lnTo>
                <a:lnTo>
                  <a:pt x="57" y="24"/>
                </a:lnTo>
                <a:lnTo>
                  <a:pt x="106" y="24"/>
                </a:lnTo>
                <a:lnTo>
                  <a:pt x="106" y="53"/>
                </a:lnTo>
                <a:lnTo>
                  <a:pt x="89" y="69"/>
                </a:lnTo>
                <a:lnTo>
                  <a:pt x="89" y="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7" name="Freeform: Shape 356">
            <a:extLst>
              <a:ext uri="{FF2B5EF4-FFF2-40B4-BE49-F238E27FC236}">
                <a16:creationId xmlns:a16="http://schemas.microsoft.com/office/drawing/2014/main" id="{BD395879-A8E9-4381-B578-084F29DC7CF7}"/>
              </a:ext>
            </a:extLst>
          </p:cNvPr>
          <p:cNvSpPr/>
          <p:nvPr/>
        </p:nvSpPr>
        <p:spPr>
          <a:xfrm>
            <a:off x="6105891" y="4159759"/>
            <a:ext cx="304800" cy="304800"/>
          </a:xfrm>
          <a:custGeom>
            <a:avLst/>
            <a:gdLst>
              <a:gd name="connsiteX0" fmla="*/ 285750 w 304800"/>
              <a:gd name="connsiteY0" fmla="*/ 304800 h 304800"/>
              <a:gd name="connsiteX1" fmla="*/ 285750 w 304800"/>
              <a:gd name="connsiteY1" fmla="*/ 269558 h 304800"/>
              <a:gd name="connsiteX2" fmla="*/ 266700 w 304800"/>
              <a:gd name="connsiteY2" fmla="*/ 261938 h 304800"/>
              <a:gd name="connsiteX3" fmla="*/ 266700 w 304800"/>
              <a:gd name="connsiteY3" fmla="*/ 304800 h 304800"/>
              <a:gd name="connsiteX4" fmla="*/ 247650 w 304800"/>
              <a:gd name="connsiteY4" fmla="*/ 304800 h 304800"/>
              <a:gd name="connsiteX5" fmla="*/ 247650 w 304800"/>
              <a:gd name="connsiteY5" fmla="*/ 254318 h 304800"/>
              <a:gd name="connsiteX6" fmla="*/ 228600 w 304800"/>
              <a:gd name="connsiteY6" fmla="*/ 246698 h 304800"/>
              <a:gd name="connsiteX7" fmla="*/ 228600 w 304800"/>
              <a:gd name="connsiteY7" fmla="*/ 285750 h 304800"/>
              <a:gd name="connsiteX8" fmla="*/ 209550 w 304800"/>
              <a:gd name="connsiteY8" fmla="*/ 285750 h 304800"/>
              <a:gd name="connsiteX9" fmla="*/ 209550 w 304800"/>
              <a:gd name="connsiteY9" fmla="*/ 238125 h 304800"/>
              <a:gd name="connsiteX10" fmla="*/ 190500 w 304800"/>
              <a:gd name="connsiteY10" fmla="*/ 230505 h 304800"/>
              <a:gd name="connsiteX11" fmla="*/ 190500 w 304800"/>
              <a:gd name="connsiteY11" fmla="*/ 266700 h 304800"/>
              <a:gd name="connsiteX12" fmla="*/ 171450 w 304800"/>
              <a:gd name="connsiteY12" fmla="*/ 266700 h 304800"/>
              <a:gd name="connsiteX13" fmla="*/ 171450 w 304800"/>
              <a:gd name="connsiteY13" fmla="*/ 147638 h 304800"/>
              <a:gd name="connsiteX14" fmla="*/ 157163 w 304800"/>
              <a:gd name="connsiteY14" fmla="*/ 133350 h 304800"/>
              <a:gd name="connsiteX15" fmla="*/ 142875 w 304800"/>
              <a:gd name="connsiteY15" fmla="*/ 147638 h 304800"/>
              <a:gd name="connsiteX16" fmla="*/ 142875 w 304800"/>
              <a:gd name="connsiteY16" fmla="*/ 304800 h 304800"/>
              <a:gd name="connsiteX17" fmla="*/ 123825 w 304800"/>
              <a:gd name="connsiteY17" fmla="*/ 304800 h 304800"/>
              <a:gd name="connsiteX18" fmla="*/ 123825 w 304800"/>
              <a:gd name="connsiteY18" fmla="*/ 147638 h 304800"/>
              <a:gd name="connsiteX19" fmla="*/ 157163 w 304800"/>
              <a:gd name="connsiteY19" fmla="*/ 114300 h 304800"/>
              <a:gd name="connsiteX20" fmla="*/ 190500 w 304800"/>
              <a:gd name="connsiteY20" fmla="*/ 147638 h 304800"/>
              <a:gd name="connsiteX21" fmla="*/ 190500 w 304800"/>
              <a:gd name="connsiteY21" fmla="*/ 209550 h 304800"/>
              <a:gd name="connsiteX22" fmla="*/ 304800 w 304800"/>
              <a:gd name="connsiteY22" fmla="*/ 257175 h 304800"/>
              <a:gd name="connsiteX23" fmla="*/ 304800 w 304800"/>
              <a:gd name="connsiteY23" fmla="*/ 304800 h 304800"/>
              <a:gd name="connsiteX24" fmla="*/ 285750 w 304800"/>
              <a:gd name="connsiteY24" fmla="*/ 304800 h 304800"/>
              <a:gd name="connsiteX25" fmla="*/ 138113 w 304800"/>
              <a:gd name="connsiteY25" fmla="*/ 44768 h 304800"/>
              <a:gd name="connsiteX26" fmla="*/ 112395 w 304800"/>
              <a:gd name="connsiteY26" fmla="*/ 0 h 304800"/>
              <a:gd name="connsiteX27" fmla="*/ 90488 w 304800"/>
              <a:gd name="connsiteY27" fmla="*/ 0 h 304800"/>
              <a:gd name="connsiteX28" fmla="*/ 121920 w 304800"/>
              <a:gd name="connsiteY28" fmla="*/ 54293 h 304800"/>
              <a:gd name="connsiteX29" fmla="*/ 117158 w 304800"/>
              <a:gd name="connsiteY29" fmla="*/ 73343 h 304800"/>
              <a:gd name="connsiteX30" fmla="*/ 76200 w 304800"/>
              <a:gd name="connsiteY30" fmla="*/ 97155 h 304800"/>
              <a:gd name="connsiteX31" fmla="*/ 76200 w 304800"/>
              <a:gd name="connsiteY31" fmla="*/ 171450 h 304800"/>
              <a:gd name="connsiteX32" fmla="*/ 57150 w 304800"/>
              <a:gd name="connsiteY32" fmla="*/ 190500 h 304800"/>
              <a:gd name="connsiteX33" fmla="*/ 0 w 304800"/>
              <a:gd name="connsiteY33" fmla="*/ 190500 h 304800"/>
              <a:gd name="connsiteX34" fmla="*/ 0 w 304800"/>
              <a:gd name="connsiteY34" fmla="*/ 209550 h 304800"/>
              <a:gd name="connsiteX35" fmla="*/ 57150 w 304800"/>
              <a:gd name="connsiteY35" fmla="*/ 209550 h 304800"/>
              <a:gd name="connsiteX36" fmla="*/ 95250 w 304800"/>
              <a:gd name="connsiteY36" fmla="*/ 171450 h 304800"/>
              <a:gd name="connsiteX37" fmla="*/ 95250 w 304800"/>
              <a:gd name="connsiteY37" fmla="*/ 108585 h 304800"/>
              <a:gd name="connsiteX38" fmla="*/ 126683 w 304800"/>
              <a:gd name="connsiteY38" fmla="*/ 90488 h 304800"/>
              <a:gd name="connsiteX39" fmla="*/ 138113 w 304800"/>
              <a:gd name="connsiteY39" fmla="*/ 4476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04800" h="304800">
                <a:moveTo>
                  <a:pt x="285750" y="304800"/>
                </a:moveTo>
                <a:lnTo>
                  <a:pt x="285750" y="269558"/>
                </a:lnTo>
                <a:lnTo>
                  <a:pt x="266700" y="261938"/>
                </a:lnTo>
                <a:lnTo>
                  <a:pt x="266700" y="304800"/>
                </a:lnTo>
                <a:lnTo>
                  <a:pt x="247650" y="304800"/>
                </a:lnTo>
                <a:lnTo>
                  <a:pt x="247650" y="254318"/>
                </a:lnTo>
                <a:lnTo>
                  <a:pt x="228600" y="246698"/>
                </a:lnTo>
                <a:lnTo>
                  <a:pt x="228600" y="285750"/>
                </a:lnTo>
                <a:lnTo>
                  <a:pt x="209550" y="285750"/>
                </a:lnTo>
                <a:lnTo>
                  <a:pt x="209550" y="238125"/>
                </a:lnTo>
                <a:lnTo>
                  <a:pt x="190500" y="230505"/>
                </a:lnTo>
                <a:lnTo>
                  <a:pt x="190500" y="266700"/>
                </a:lnTo>
                <a:lnTo>
                  <a:pt x="171450" y="266700"/>
                </a:lnTo>
                <a:lnTo>
                  <a:pt x="171450" y="147638"/>
                </a:lnTo>
                <a:cubicBezTo>
                  <a:pt x="171450" y="140018"/>
                  <a:pt x="164783" y="133350"/>
                  <a:pt x="157163" y="133350"/>
                </a:cubicBezTo>
                <a:cubicBezTo>
                  <a:pt x="149543" y="133350"/>
                  <a:pt x="142875" y="140018"/>
                  <a:pt x="142875" y="147638"/>
                </a:cubicBezTo>
                <a:lnTo>
                  <a:pt x="142875" y="304800"/>
                </a:lnTo>
                <a:lnTo>
                  <a:pt x="123825" y="304800"/>
                </a:lnTo>
                <a:lnTo>
                  <a:pt x="123825" y="147638"/>
                </a:lnTo>
                <a:cubicBezTo>
                  <a:pt x="123825" y="129540"/>
                  <a:pt x="139065" y="114300"/>
                  <a:pt x="157163" y="114300"/>
                </a:cubicBezTo>
                <a:cubicBezTo>
                  <a:pt x="175260" y="114300"/>
                  <a:pt x="190500" y="129540"/>
                  <a:pt x="190500" y="147638"/>
                </a:cubicBezTo>
                <a:lnTo>
                  <a:pt x="190500" y="209550"/>
                </a:lnTo>
                <a:lnTo>
                  <a:pt x="304800" y="257175"/>
                </a:lnTo>
                <a:lnTo>
                  <a:pt x="304800" y="304800"/>
                </a:lnTo>
                <a:lnTo>
                  <a:pt x="285750" y="304800"/>
                </a:lnTo>
                <a:close/>
                <a:moveTo>
                  <a:pt x="138113" y="44768"/>
                </a:moveTo>
                <a:lnTo>
                  <a:pt x="112395" y="0"/>
                </a:lnTo>
                <a:lnTo>
                  <a:pt x="90488" y="0"/>
                </a:lnTo>
                <a:lnTo>
                  <a:pt x="121920" y="54293"/>
                </a:lnTo>
                <a:cubicBezTo>
                  <a:pt x="125730" y="60960"/>
                  <a:pt x="123825" y="69533"/>
                  <a:pt x="117158" y="73343"/>
                </a:cubicBezTo>
                <a:lnTo>
                  <a:pt x="76200" y="97155"/>
                </a:lnTo>
                <a:lnTo>
                  <a:pt x="76200" y="171450"/>
                </a:lnTo>
                <a:cubicBezTo>
                  <a:pt x="76200" y="181928"/>
                  <a:pt x="67628" y="190500"/>
                  <a:pt x="57150" y="190500"/>
                </a:cubicBezTo>
                <a:lnTo>
                  <a:pt x="0" y="190500"/>
                </a:lnTo>
                <a:lnTo>
                  <a:pt x="0" y="209550"/>
                </a:lnTo>
                <a:lnTo>
                  <a:pt x="57150" y="209550"/>
                </a:lnTo>
                <a:cubicBezTo>
                  <a:pt x="78105" y="209550"/>
                  <a:pt x="95250" y="192405"/>
                  <a:pt x="95250" y="171450"/>
                </a:cubicBezTo>
                <a:lnTo>
                  <a:pt x="95250" y="108585"/>
                </a:lnTo>
                <a:lnTo>
                  <a:pt x="126683" y="90488"/>
                </a:lnTo>
                <a:cubicBezTo>
                  <a:pt x="141923" y="80963"/>
                  <a:pt x="147638" y="60960"/>
                  <a:pt x="138113" y="44768"/>
                </a:cubicBezTo>
                <a:close/>
              </a:path>
            </a:pathLst>
          </a:custGeom>
          <a:solidFill>
            <a:schemeClr val="tx2"/>
          </a:solidFill>
          <a:ln w="9525" cap="flat">
            <a:noFill/>
            <a:prstDash val="solid"/>
            <a:miter/>
          </a:ln>
        </p:spPr>
        <p:txBody>
          <a:bodyPr rtlCol="0" anchor="ctr"/>
          <a:lstStyle/>
          <a:p>
            <a:endParaRPr lang="en-GB"/>
          </a:p>
        </p:txBody>
      </p:sp>
      <p:sp>
        <p:nvSpPr>
          <p:cNvPr id="388" name="Freihandform: Form 57">
            <a:extLst>
              <a:ext uri="{FF2B5EF4-FFF2-40B4-BE49-F238E27FC236}">
                <a16:creationId xmlns:a16="http://schemas.microsoft.com/office/drawing/2014/main" id="{4F25FF23-CF30-49BB-8FFD-B317B51BF083}"/>
              </a:ext>
            </a:extLst>
          </p:cNvPr>
          <p:cNvSpPr>
            <a:spLocks noChangeAspect="1"/>
          </p:cNvSpPr>
          <p:nvPr/>
        </p:nvSpPr>
        <p:spPr>
          <a:xfrm>
            <a:off x="7107699" y="4074097"/>
            <a:ext cx="390462" cy="390462"/>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217170 w 304800"/>
              <a:gd name="connsiteY4" fmla="*/ 14516 h 304800"/>
              <a:gd name="connsiteX5" fmla="*/ 229934 w 304800"/>
              <a:gd name="connsiteY5" fmla="*/ 9525 h 304800"/>
              <a:gd name="connsiteX6" fmla="*/ 248984 w 304800"/>
              <a:gd name="connsiteY6" fmla="*/ 28575 h 304800"/>
              <a:gd name="connsiteX7" fmla="*/ 248107 w 304800"/>
              <a:gd name="connsiteY7" fmla="*/ 33995 h 304800"/>
              <a:gd name="connsiteX8" fmla="*/ 276587 w 304800"/>
              <a:gd name="connsiteY8" fmla="*/ 64256 h 304800"/>
              <a:gd name="connsiteX9" fmla="*/ 268224 w 304800"/>
              <a:gd name="connsiteY9" fmla="*/ 69075 h 304800"/>
              <a:gd name="connsiteX10" fmla="*/ 243088 w 304800"/>
              <a:gd name="connsiteY10" fmla="*/ 42301 h 304800"/>
              <a:gd name="connsiteX11" fmla="*/ 229934 w 304800"/>
              <a:gd name="connsiteY11" fmla="*/ 47625 h 304800"/>
              <a:gd name="connsiteX12" fmla="*/ 210884 w 304800"/>
              <a:gd name="connsiteY12" fmla="*/ 28575 h 304800"/>
              <a:gd name="connsiteX13" fmla="*/ 211931 w 304800"/>
              <a:gd name="connsiteY13" fmla="*/ 22612 h 304800"/>
              <a:gd name="connsiteX14" fmla="*/ 152400 w 304800"/>
              <a:gd name="connsiteY14" fmla="*/ 9525 h 304800"/>
              <a:gd name="connsiteX15" fmla="*/ 9525 w 304800"/>
              <a:gd name="connsiteY15" fmla="*/ 152400 h 304800"/>
              <a:gd name="connsiteX16" fmla="*/ 152400 w 304800"/>
              <a:gd name="connsiteY16" fmla="*/ 295275 h 304800"/>
              <a:gd name="connsiteX17" fmla="*/ 295275 w 304800"/>
              <a:gd name="connsiteY17" fmla="*/ 152400 h 304800"/>
              <a:gd name="connsiteX18" fmla="*/ 278330 w 304800"/>
              <a:gd name="connsiteY18" fmla="*/ 85277 h 304800"/>
              <a:gd name="connsiteX19" fmla="*/ 253613 w 304800"/>
              <a:gd name="connsiteY19" fmla="*/ 99546 h 304800"/>
              <a:gd name="connsiteX20" fmla="*/ 266700 w 304800"/>
              <a:gd name="connsiteY20" fmla="*/ 152400 h 304800"/>
              <a:gd name="connsiteX21" fmla="*/ 152400 w 304800"/>
              <a:gd name="connsiteY21" fmla="*/ 266700 h 304800"/>
              <a:gd name="connsiteX22" fmla="*/ 44701 w 304800"/>
              <a:gd name="connsiteY22" fmla="*/ 190376 h 304800"/>
              <a:gd name="connsiteX23" fmla="*/ 32233 w 304800"/>
              <a:gd name="connsiteY23" fmla="*/ 176270 h 304800"/>
              <a:gd name="connsiteX24" fmla="*/ 38729 w 304800"/>
              <a:gd name="connsiteY24" fmla="*/ 164316 h 304800"/>
              <a:gd name="connsiteX25" fmla="*/ 38100 w 304800"/>
              <a:gd name="connsiteY25" fmla="*/ 152400 h 304800"/>
              <a:gd name="connsiteX26" fmla="*/ 152400 w 304800"/>
              <a:gd name="connsiteY26" fmla="*/ 38100 h 304800"/>
              <a:gd name="connsiteX27" fmla="*/ 243383 w 304800"/>
              <a:gd name="connsiteY27" fmla="*/ 83420 h 304800"/>
              <a:gd name="connsiteX28" fmla="*/ 235048 w 304800"/>
              <a:gd name="connsiteY28" fmla="*/ 88230 h 304800"/>
              <a:gd name="connsiteX29" fmla="*/ 152400 w 304800"/>
              <a:gd name="connsiteY29" fmla="*/ 47625 h 304800"/>
              <a:gd name="connsiteX30" fmla="*/ 47625 w 304800"/>
              <a:gd name="connsiteY30" fmla="*/ 152400 h 304800"/>
              <a:gd name="connsiteX31" fmla="*/ 48120 w 304800"/>
              <a:gd name="connsiteY31" fmla="*/ 162144 h 304800"/>
              <a:gd name="connsiteX32" fmla="*/ 60808 w 304800"/>
              <a:gd name="connsiteY32" fmla="*/ 176270 h 304800"/>
              <a:gd name="connsiteX33" fmla="*/ 54112 w 304800"/>
              <a:gd name="connsiteY33" fmla="*/ 188338 h 304800"/>
              <a:gd name="connsiteX34" fmla="*/ 152400 w 304800"/>
              <a:gd name="connsiteY34" fmla="*/ 257175 h 304800"/>
              <a:gd name="connsiteX35" fmla="*/ 257175 w 304800"/>
              <a:gd name="connsiteY35" fmla="*/ 152400 h 304800"/>
              <a:gd name="connsiteX36" fmla="*/ 245326 w 304800"/>
              <a:gd name="connsiteY36" fmla="*/ 104327 h 304800"/>
              <a:gd name="connsiteX37" fmla="*/ 220599 w 304800"/>
              <a:gd name="connsiteY37" fmla="*/ 118605 h 304800"/>
              <a:gd name="connsiteX38" fmla="*/ 228600 w 304800"/>
              <a:gd name="connsiteY38" fmla="*/ 152400 h 304800"/>
              <a:gd name="connsiteX39" fmla="*/ 220618 w 304800"/>
              <a:gd name="connsiteY39" fmla="*/ 186195 h 304800"/>
              <a:gd name="connsiteX40" fmla="*/ 221513 w 304800"/>
              <a:gd name="connsiteY40" fmla="*/ 190129 h 304800"/>
              <a:gd name="connsiteX41" fmla="*/ 212131 w 304800"/>
              <a:gd name="connsiteY41" fmla="*/ 199625 h 304800"/>
              <a:gd name="connsiteX42" fmla="*/ 152400 w 304800"/>
              <a:gd name="connsiteY42" fmla="*/ 228600 h 304800"/>
              <a:gd name="connsiteX43" fmla="*/ 76200 w 304800"/>
              <a:gd name="connsiteY43" fmla="*/ 152400 h 304800"/>
              <a:gd name="connsiteX44" fmla="*/ 152400 w 304800"/>
              <a:gd name="connsiteY44" fmla="*/ 76200 h 304800"/>
              <a:gd name="connsiteX45" fmla="*/ 210055 w 304800"/>
              <a:gd name="connsiteY45" fmla="*/ 102670 h 304800"/>
              <a:gd name="connsiteX46" fmla="*/ 201597 w 304800"/>
              <a:gd name="connsiteY46" fmla="*/ 107556 h 304800"/>
              <a:gd name="connsiteX47" fmla="*/ 152400 w 304800"/>
              <a:gd name="connsiteY47" fmla="*/ 85725 h 304800"/>
              <a:gd name="connsiteX48" fmla="*/ 85725 w 304800"/>
              <a:gd name="connsiteY48" fmla="*/ 152400 h 304800"/>
              <a:gd name="connsiteX49" fmla="*/ 152400 w 304800"/>
              <a:gd name="connsiteY49" fmla="*/ 219075 h 304800"/>
              <a:gd name="connsiteX50" fmla="*/ 203845 w 304800"/>
              <a:gd name="connsiteY50" fmla="*/ 194767 h 304800"/>
              <a:gd name="connsiteX51" fmla="*/ 202463 w 304800"/>
              <a:gd name="connsiteY51" fmla="*/ 190129 h 304800"/>
              <a:gd name="connsiteX52" fmla="*/ 211988 w 304800"/>
              <a:gd name="connsiteY52" fmla="*/ 180604 h 304800"/>
              <a:gd name="connsiteX53" fmla="*/ 212665 w 304800"/>
              <a:gd name="connsiteY53" fmla="*/ 180737 h 304800"/>
              <a:gd name="connsiteX54" fmla="*/ 219075 w 304800"/>
              <a:gd name="connsiteY54" fmla="*/ 152400 h 304800"/>
              <a:gd name="connsiteX55" fmla="*/ 212388 w 304800"/>
              <a:gd name="connsiteY55" fmla="*/ 123349 h 304800"/>
              <a:gd name="connsiteX56" fmla="*/ 161906 w 304800"/>
              <a:gd name="connsiteY56" fmla="*/ 152495 h 304800"/>
              <a:gd name="connsiteX57" fmla="*/ 152400 w 304800"/>
              <a:gd name="connsiteY57" fmla="*/ 161925 h 304800"/>
              <a:gd name="connsiteX58" fmla="*/ 142875 w 304800"/>
              <a:gd name="connsiteY58" fmla="*/ 152400 h 304800"/>
              <a:gd name="connsiteX59" fmla="*/ 152400 w 304800"/>
              <a:gd name="connsiteY59" fmla="*/ 142875 h 304800"/>
              <a:gd name="connsiteX60" fmla="*/ 157086 w 304800"/>
              <a:gd name="connsiteY60" fmla="*/ 144285 h 304800"/>
              <a:gd name="connsiteX61" fmla="*/ 281826 w 304800"/>
              <a:gd name="connsiteY61" fmla="*/ 72228 h 304800"/>
              <a:gd name="connsiteX62" fmla="*/ 304800 w 304800"/>
              <a:gd name="connsiteY62" fmla="*/ 1524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304800" h="304800">
                <a:moveTo>
                  <a:pt x="304800" y="152400"/>
                </a:moveTo>
                <a:cubicBezTo>
                  <a:pt x="304800" y="236572"/>
                  <a:pt x="236572" y="304800"/>
                  <a:pt x="152400" y="304800"/>
                </a:cubicBezTo>
                <a:cubicBezTo>
                  <a:pt x="68228" y="304800"/>
                  <a:pt x="0" y="236572"/>
                  <a:pt x="0" y="152400"/>
                </a:cubicBezTo>
                <a:cubicBezTo>
                  <a:pt x="0" y="68228"/>
                  <a:pt x="68228" y="0"/>
                  <a:pt x="152400" y="0"/>
                </a:cubicBezTo>
                <a:cubicBezTo>
                  <a:pt x="175584" y="0"/>
                  <a:pt x="197520" y="5239"/>
                  <a:pt x="217170" y="14516"/>
                </a:cubicBezTo>
                <a:cubicBezTo>
                  <a:pt x="220551" y="11449"/>
                  <a:pt x="225000" y="9525"/>
                  <a:pt x="229934" y="9525"/>
                </a:cubicBezTo>
                <a:cubicBezTo>
                  <a:pt x="240459" y="9525"/>
                  <a:pt x="248984" y="18050"/>
                  <a:pt x="248984" y="28575"/>
                </a:cubicBezTo>
                <a:cubicBezTo>
                  <a:pt x="248984" y="30470"/>
                  <a:pt x="248622" y="32261"/>
                  <a:pt x="248107" y="33995"/>
                </a:cubicBezTo>
                <a:cubicBezTo>
                  <a:pt x="258899" y="42748"/>
                  <a:pt x="268510" y="52911"/>
                  <a:pt x="276587" y="64256"/>
                </a:cubicBezTo>
                <a:lnTo>
                  <a:pt x="268224" y="69075"/>
                </a:lnTo>
                <a:cubicBezTo>
                  <a:pt x="261023" y="59103"/>
                  <a:pt x="252546" y="50130"/>
                  <a:pt x="243088" y="42301"/>
                </a:cubicBezTo>
                <a:cubicBezTo>
                  <a:pt x="239668" y="45587"/>
                  <a:pt x="235048" y="47625"/>
                  <a:pt x="229934" y="47625"/>
                </a:cubicBezTo>
                <a:cubicBezTo>
                  <a:pt x="219408" y="47625"/>
                  <a:pt x="210884" y="39100"/>
                  <a:pt x="210884" y="28575"/>
                </a:cubicBezTo>
                <a:cubicBezTo>
                  <a:pt x="210884" y="26480"/>
                  <a:pt x="211303" y="24498"/>
                  <a:pt x="211931" y="22612"/>
                </a:cubicBezTo>
                <a:cubicBezTo>
                  <a:pt x="193805" y="14230"/>
                  <a:pt x="173650" y="9525"/>
                  <a:pt x="152400" y="9525"/>
                </a:cubicBezTo>
                <a:cubicBezTo>
                  <a:pt x="73619" y="9525"/>
                  <a:pt x="9525" y="73619"/>
                  <a:pt x="9525" y="152400"/>
                </a:cubicBezTo>
                <a:cubicBezTo>
                  <a:pt x="9525" y="231181"/>
                  <a:pt x="73619" y="295275"/>
                  <a:pt x="152400" y="295275"/>
                </a:cubicBezTo>
                <a:cubicBezTo>
                  <a:pt x="231181" y="295275"/>
                  <a:pt x="295275" y="231181"/>
                  <a:pt x="295275" y="152400"/>
                </a:cubicBezTo>
                <a:cubicBezTo>
                  <a:pt x="295275" y="128121"/>
                  <a:pt x="289084" y="105308"/>
                  <a:pt x="278330" y="85277"/>
                </a:cubicBezTo>
                <a:lnTo>
                  <a:pt x="253613" y="99546"/>
                </a:lnTo>
                <a:cubicBezTo>
                  <a:pt x="261909" y="115367"/>
                  <a:pt x="266700" y="133302"/>
                  <a:pt x="266700" y="152400"/>
                </a:cubicBezTo>
                <a:cubicBezTo>
                  <a:pt x="266700" y="215522"/>
                  <a:pt x="215522" y="266700"/>
                  <a:pt x="152400" y="266700"/>
                </a:cubicBezTo>
                <a:cubicBezTo>
                  <a:pt x="102603" y="266700"/>
                  <a:pt x="60369" y="234801"/>
                  <a:pt x="44701" y="190376"/>
                </a:cubicBezTo>
                <a:cubicBezTo>
                  <a:pt x="37681" y="189471"/>
                  <a:pt x="32233" y="183537"/>
                  <a:pt x="32233" y="176270"/>
                </a:cubicBezTo>
                <a:cubicBezTo>
                  <a:pt x="32233" y="171260"/>
                  <a:pt x="34823" y="166868"/>
                  <a:pt x="38729" y="164316"/>
                </a:cubicBezTo>
                <a:cubicBezTo>
                  <a:pt x="38319" y="160401"/>
                  <a:pt x="38100" y="156429"/>
                  <a:pt x="38100" y="152400"/>
                </a:cubicBezTo>
                <a:cubicBezTo>
                  <a:pt x="38100" y="89278"/>
                  <a:pt x="89278" y="38100"/>
                  <a:pt x="152400" y="38100"/>
                </a:cubicBezTo>
                <a:cubicBezTo>
                  <a:pt x="189576" y="38100"/>
                  <a:pt x="222514" y="55931"/>
                  <a:pt x="243383" y="83420"/>
                </a:cubicBezTo>
                <a:lnTo>
                  <a:pt x="235048" y="88230"/>
                </a:lnTo>
                <a:cubicBezTo>
                  <a:pt x="215856" y="63579"/>
                  <a:pt x="185995" y="47625"/>
                  <a:pt x="152400" y="47625"/>
                </a:cubicBezTo>
                <a:cubicBezTo>
                  <a:pt x="94631" y="47625"/>
                  <a:pt x="47625" y="94631"/>
                  <a:pt x="47625" y="152400"/>
                </a:cubicBezTo>
                <a:cubicBezTo>
                  <a:pt x="47625" y="155686"/>
                  <a:pt x="47825" y="158934"/>
                  <a:pt x="48120" y="162144"/>
                </a:cubicBezTo>
                <a:cubicBezTo>
                  <a:pt x="55245" y="162954"/>
                  <a:pt x="60808" y="168926"/>
                  <a:pt x="60808" y="176270"/>
                </a:cubicBezTo>
                <a:cubicBezTo>
                  <a:pt x="60808" y="181366"/>
                  <a:pt x="58122" y="185804"/>
                  <a:pt x="54112" y="188338"/>
                </a:cubicBezTo>
                <a:cubicBezTo>
                  <a:pt x="68818" y="228429"/>
                  <a:pt x="107261" y="257175"/>
                  <a:pt x="152400" y="257175"/>
                </a:cubicBezTo>
                <a:cubicBezTo>
                  <a:pt x="210169" y="257175"/>
                  <a:pt x="257175" y="210169"/>
                  <a:pt x="257175" y="152400"/>
                </a:cubicBezTo>
                <a:cubicBezTo>
                  <a:pt x="257175" y="135055"/>
                  <a:pt x="252841" y="118739"/>
                  <a:pt x="245326" y="104327"/>
                </a:cubicBezTo>
                <a:lnTo>
                  <a:pt x="220599" y="118605"/>
                </a:lnTo>
                <a:cubicBezTo>
                  <a:pt x="225666" y="128807"/>
                  <a:pt x="228600" y="140246"/>
                  <a:pt x="228600" y="152400"/>
                </a:cubicBezTo>
                <a:cubicBezTo>
                  <a:pt x="228600" y="164554"/>
                  <a:pt x="225685" y="175993"/>
                  <a:pt x="220618" y="186195"/>
                </a:cubicBezTo>
                <a:cubicBezTo>
                  <a:pt x="221171" y="187404"/>
                  <a:pt x="221513" y="188709"/>
                  <a:pt x="221513" y="190129"/>
                </a:cubicBezTo>
                <a:cubicBezTo>
                  <a:pt x="221513" y="195339"/>
                  <a:pt x="217322" y="199549"/>
                  <a:pt x="212131" y="199625"/>
                </a:cubicBezTo>
                <a:cubicBezTo>
                  <a:pt x="198177" y="217246"/>
                  <a:pt x="176632" y="228600"/>
                  <a:pt x="152400" y="228600"/>
                </a:cubicBezTo>
                <a:cubicBezTo>
                  <a:pt x="110319" y="228600"/>
                  <a:pt x="76200" y="194481"/>
                  <a:pt x="76200" y="152400"/>
                </a:cubicBezTo>
                <a:cubicBezTo>
                  <a:pt x="76200" y="110319"/>
                  <a:pt x="110319" y="76200"/>
                  <a:pt x="152400" y="76200"/>
                </a:cubicBezTo>
                <a:cubicBezTo>
                  <a:pt x="175460" y="76200"/>
                  <a:pt x="196082" y="86487"/>
                  <a:pt x="210055" y="102670"/>
                </a:cubicBezTo>
                <a:lnTo>
                  <a:pt x="201597" y="107556"/>
                </a:lnTo>
                <a:cubicBezTo>
                  <a:pt x="189386" y="94183"/>
                  <a:pt x="171888" y="85725"/>
                  <a:pt x="152400" y="85725"/>
                </a:cubicBezTo>
                <a:cubicBezTo>
                  <a:pt x="115634" y="85725"/>
                  <a:pt x="85725" y="115634"/>
                  <a:pt x="85725" y="152400"/>
                </a:cubicBezTo>
                <a:cubicBezTo>
                  <a:pt x="85725" y="189167"/>
                  <a:pt x="115634" y="219075"/>
                  <a:pt x="152400" y="219075"/>
                </a:cubicBezTo>
                <a:cubicBezTo>
                  <a:pt x="173088" y="219075"/>
                  <a:pt x="191614" y="209598"/>
                  <a:pt x="203845" y="194767"/>
                </a:cubicBezTo>
                <a:cubicBezTo>
                  <a:pt x="203044" y="193377"/>
                  <a:pt x="202463" y="191843"/>
                  <a:pt x="202463" y="190129"/>
                </a:cubicBezTo>
                <a:cubicBezTo>
                  <a:pt x="202463" y="184871"/>
                  <a:pt x="206731" y="180604"/>
                  <a:pt x="211988" y="180604"/>
                </a:cubicBezTo>
                <a:cubicBezTo>
                  <a:pt x="212227" y="180604"/>
                  <a:pt x="212427" y="180718"/>
                  <a:pt x="212665" y="180737"/>
                </a:cubicBezTo>
                <a:cubicBezTo>
                  <a:pt x="216732" y="172117"/>
                  <a:pt x="219075" y="162535"/>
                  <a:pt x="219075" y="152400"/>
                </a:cubicBezTo>
                <a:cubicBezTo>
                  <a:pt x="219075" y="141989"/>
                  <a:pt x="216665" y="132131"/>
                  <a:pt x="212388" y="123349"/>
                </a:cubicBezTo>
                <a:lnTo>
                  <a:pt x="161906" y="152495"/>
                </a:lnTo>
                <a:cubicBezTo>
                  <a:pt x="161849" y="157705"/>
                  <a:pt x="157629" y="161925"/>
                  <a:pt x="152400" y="161925"/>
                </a:cubicBezTo>
                <a:cubicBezTo>
                  <a:pt x="147142" y="161925"/>
                  <a:pt x="142875" y="157658"/>
                  <a:pt x="142875" y="152400"/>
                </a:cubicBezTo>
                <a:cubicBezTo>
                  <a:pt x="142875" y="147142"/>
                  <a:pt x="147142" y="142875"/>
                  <a:pt x="152400" y="142875"/>
                </a:cubicBezTo>
                <a:cubicBezTo>
                  <a:pt x="154143" y="142875"/>
                  <a:pt x="155677" y="143466"/>
                  <a:pt x="157086" y="144285"/>
                </a:cubicBezTo>
                <a:lnTo>
                  <a:pt x="281826" y="72228"/>
                </a:lnTo>
                <a:cubicBezTo>
                  <a:pt x="296304" y="95536"/>
                  <a:pt x="304800" y="122939"/>
                  <a:pt x="304800" y="152400"/>
                </a:cubicBezTo>
                <a:close/>
              </a:path>
            </a:pathLst>
          </a:custGeom>
          <a:solidFill>
            <a:schemeClr val="tx2"/>
          </a:solidFill>
          <a:ln w="9525" cap="flat">
            <a:noFill/>
            <a:prstDash val="solid"/>
            <a:miter/>
          </a:ln>
        </p:spPr>
        <p:txBody>
          <a:bodyPr rtlCol="0" anchor="ctr"/>
          <a:lstStyle/>
          <a:p>
            <a:endParaRPr lang="en-GB" dirty="0"/>
          </a:p>
        </p:txBody>
      </p:sp>
      <p:pic>
        <p:nvPicPr>
          <p:cNvPr id="72" name="Graphic 71">
            <a:extLst>
              <a:ext uri="{FF2B5EF4-FFF2-40B4-BE49-F238E27FC236}">
                <a16:creationId xmlns:a16="http://schemas.microsoft.com/office/drawing/2014/main" id="{CDEF119F-7C13-4E7C-B3D4-F9CE8671E61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55192" y="2412736"/>
            <a:ext cx="406198" cy="406198"/>
          </a:xfrm>
          <a:prstGeom prst="rect">
            <a:avLst/>
          </a:prstGeom>
        </p:spPr>
      </p:pic>
      <p:sp>
        <p:nvSpPr>
          <p:cNvPr id="87" name="Freeform: Shape 86">
            <a:extLst>
              <a:ext uri="{FF2B5EF4-FFF2-40B4-BE49-F238E27FC236}">
                <a16:creationId xmlns:a16="http://schemas.microsoft.com/office/drawing/2014/main" id="{83370E28-4381-4D05-ABF0-620429236027}"/>
              </a:ext>
            </a:extLst>
          </p:cNvPr>
          <p:cNvSpPr/>
          <p:nvPr/>
        </p:nvSpPr>
        <p:spPr>
          <a:xfrm>
            <a:off x="1666632" y="1590746"/>
            <a:ext cx="414338" cy="414338"/>
          </a:xfrm>
          <a:custGeom>
            <a:avLst/>
            <a:gdLst>
              <a:gd name="connsiteX0" fmla="*/ 131445 w 304800"/>
              <a:gd name="connsiteY0" fmla="*/ 270510 h 304800"/>
              <a:gd name="connsiteX1" fmla="*/ 151448 w 304800"/>
              <a:gd name="connsiteY1" fmla="*/ 290513 h 304800"/>
              <a:gd name="connsiteX2" fmla="*/ 138113 w 304800"/>
              <a:gd name="connsiteY2" fmla="*/ 304800 h 304800"/>
              <a:gd name="connsiteX3" fmla="*/ 95250 w 304800"/>
              <a:gd name="connsiteY3" fmla="*/ 261938 h 304800"/>
              <a:gd name="connsiteX4" fmla="*/ 138113 w 304800"/>
              <a:gd name="connsiteY4" fmla="*/ 219075 h 304800"/>
              <a:gd name="connsiteX5" fmla="*/ 151448 w 304800"/>
              <a:gd name="connsiteY5" fmla="*/ 232410 h 304800"/>
              <a:gd name="connsiteX6" fmla="*/ 132398 w 304800"/>
              <a:gd name="connsiteY6" fmla="*/ 251460 h 304800"/>
              <a:gd name="connsiteX7" fmla="*/ 200978 w 304800"/>
              <a:gd name="connsiteY7" fmla="*/ 209550 h 304800"/>
              <a:gd name="connsiteX8" fmla="*/ 223838 w 304800"/>
              <a:gd name="connsiteY8" fmla="*/ 209550 h 304800"/>
              <a:gd name="connsiteX9" fmla="*/ 131445 w 304800"/>
              <a:gd name="connsiteY9" fmla="*/ 270510 h 304800"/>
              <a:gd name="connsiteX10" fmla="*/ 86678 w 304800"/>
              <a:gd name="connsiteY10" fmla="*/ 13335 h 304800"/>
              <a:gd name="connsiteX11" fmla="*/ 106680 w 304800"/>
              <a:gd name="connsiteY11" fmla="*/ 34290 h 304800"/>
              <a:gd name="connsiteX12" fmla="*/ 0 w 304800"/>
              <a:gd name="connsiteY12" fmla="*/ 152400 h 304800"/>
              <a:gd name="connsiteX13" fmla="*/ 76200 w 304800"/>
              <a:gd name="connsiteY13" fmla="*/ 262890 h 304800"/>
              <a:gd name="connsiteX14" fmla="*/ 76200 w 304800"/>
              <a:gd name="connsiteY14" fmla="*/ 241935 h 304800"/>
              <a:gd name="connsiteX15" fmla="*/ 19050 w 304800"/>
              <a:gd name="connsiteY15" fmla="*/ 151448 h 304800"/>
              <a:gd name="connsiteX16" fmla="*/ 105728 w 304800"/>
              <a:gd name="connsiteY16" fmla="*/ 52388 h 304800"/>
              <a:gd name="connsiteX17" fmla="*/ 86678 w 304800"/>
              <a:gd name="connsiteY17" fmla="*/ 71438 h 304800"/>
              <a:gd name="connsiteX18" fmla="*/ 100013 w 304800"/>
              <a:gd name="connsiteY18" fmla="*/ 85725 h 304800"/>
              <a:gd name="connsiteX19" fmla="*/ 142875 w 304800"/>
              <a:gd name="connsiteY19" fmla="*/ 42863 h 304800"/>
              <a:gd name="connsiteX20" fmla="*/ 100013 w 304800"/>
              <a:gd name="connsiteY20" fmla="*/ 0 h 304800"/>
              <a:gd name="connsiteX21" fmla="*/ 86678 w 304800"/>
              <a:gd name="connsiteY21" fmla="*/ 13335 h 304800"/>
              <a:gd name="connsiteX22" fmla="*/ 257175 w 304800"/>
              <a:gd name="connsiteY22" fmla="*/ 109538 h 304800"/>
              <a:gd name="connsiteX23" fmla="*/ 287655 w 304800"/>
              <a:gd name="connsiteY23" fmla="*/ 47625 h 304800"/>
              <a:gd name="connsiteX24" fmla="*/ 235268 w 304800"/>
              <a:gd name="connsiteY24" fmla="*/ 26670 h 304800"/>
              <a:gd name="connsiteX25" fmla="*/ 214313 w 304800"/>
              <a:gd name="connsiteY25" fmla="*/ 39053 h 304800"/>
              <a:gd name="connsiteX26" fmla="*/ 219075 w 304800"/>
              <a:gd name="connsiteY26" fmla="*/ 9525 h 304800"/>
              <a:gd name="connsiteX27" fmla="*/ 210503 w 304800"/>
              <a:gd name="connsiteY27" fmla="*/ 4763 h 304800"/>
              <a:gd name="connsiteX28" fmla="*/ 204788 w 304800"/>
              <a:gd name="connsiteY28" fmla="*/ 41910 h 304800"/>
              <a:gd name="connsiteX29" fmla="*/ 180023 w 304800"/>
              <a:gd name="connsiteY29" fmla="*/ 41910 h 304800"/>
              <a:gd name="connsiteX30" fmla="*/ 144780 w 304800"/>
              <a:gd name="connsiteY30" fmla="*/ 85725 h 304800"/>
              <a:gd name="connsiteX31" fmla="*/ 201930 w 304800"/>
              <a:gd name="connsiteY31" fmla="*/ 123825 h 304800"/>
              <a:gd name="connsiteX32" fmla="*/ 180023 w 304800"/>
              <a:gd name="connsiteY32" fmla="*/ 180975 h 304800"/>
              <a:gd name="connsiteX33" fmla="*/ 219075 w 304800"/>
              <a:gd name="connsiteY33" fmla="*/ 187643 h 304800"/>
              <a:gd name="connsiteX34" fmla="*/ 243840 w 304800"/>
              <a:gd name="connsiteY34" fmla="*/ 170498 h 304800"/>
              <a:gd name="connsiteX35" fmla="*/ 274320 w 304800"/>
              <a:gd name="connsiteY35" fmla="*/ 172403 h 304800"/>
              <a:gd name="connsiteX36" fmla="*/ 304800 w 304800"/>
              <a:gd name="connsiteY36" fmla="*/ 146685 h 304800"/>
              <a:gd name="connsiteX37" fmla="*/ 257175 w 304800"/>
              <a:gd name="connsiteY37" fmla="*/ 10953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304800" h="304800">
                <a:moveTo>
                  <a:pt x="131445" y="270510"/>
                </a:moveTo>
                <a:lnTo>
                  <a:pt x="151448" y="290513"/>
                </a:lnTo>
                <a:lnTo>
                  <a:pt x="138113" y="304800"/>
                </a:lnTo>
                <a:lnTo>
                  <a:pt x="95250" y="261938"/>
                </a:lnTo>
                <a:lnTo>
                  <a:pt x="138113" y="219075"/>
                </a:lnTo>
                <a:lnTo>
                  <a:pt x="151448" y="232410"/>
                </a:lnTo>
                <a:lnTo>
                  <a:pt x="132398" y="251460"/>
                </a:lnTo>
                <a:cubicBezTo>
                  <a:pt x="160973" y="247650"/>
                  <a:pt x="184785" y="231458"/>
                  <a:pt x="200978" y="209550"/>
                </a:cubicBezTo>
                <a:lnTo>
                  <a:pt x="223838" y="209550"/>
                </a:lnTo>
                <a:cubicBezTo>
                  <a:pt x="204788" y="242888"/>
                  <a:pt x="170498" y="266700"/>
                  <a:pt x="131445" y="270510"/>
                </a:cubicBezTo>
                <a:close/>
                <a:moveTo>
                  <a:pt x="86678" y="13335"/>
                </a:moveTo>
                <a:lnTo>
                  <a:pt x="106680" y="34290"/>
                </a:lnTo>
                <a:cubicBezTo>
                  <a:pt x="46673" y="40005"/>
                  <a:pt x="0" y="90488"/>
                  <a:pt x="0" y="152400"/>
                </a:cubicBezTo>
                <a:cubicBezTo>
                  <a:pt x="0" y="202883"/>
                  <a:pt x="31433" y="245745"/>
                  <a:pt x="76200" y="262890"/>
                </a:cubicBezTo>
                <a:lnTo>
                  <a:pt x="76200" y="241935"/>
                </a:lnTo>
                <a:cubicBezTo>
                  <a:pt x="42863" y="225743"/>
                  <a:pt x="19050" y="191453"/>
                  <a:pt x="19050" y="151448"/>
                </a:cubicBezTo>
                <a:cubicBezTo>
                  <a:pt x="19050" y="100965"/>
                  <a:pt x="57150" y="59055"/>
                  <a:pt x="105728" y="52388"/>
                </a:cubicBezTo>
                <a:lnTo>
                  <a:pt x="86678" y="71438"/>
                </a:lnTo>
                <a:lnTo>
                  <a:pt x="100013" y="85725"/>
                </a:lnTo>
                <a:lnTo>
                  <a:pt x="142875" y="42863"/>
                </a:lnTo>
                <a:lnTo>
                  <a:pt x="100013" y="0"/>
                </a:lnTo>
                <a:lnTo>
                  <a:pt x="86678" y="13335"/>
                </a:lnTo>
                <a:close/>
                <a:moveTo>
                  <a:pt x="257175" y="109538"/>
                </a:moveTo>
                <a:cubicBezTo>
                  <a:pt x="250508" y="83820"/>
                  <a:pt x="263843" y="58103"/>
                  <a:pt x="287655" y="47625"/>
                </a:cubicBezTo>
                <a:cubicBezTo>
                  <a:pt x="277178" y="30480"/>
                  <a:pt x="256223" y="20955"/>
                  <a:pt x="235268" y="26670"/>
                </a:cubicBezTo>
                <a:cubicBezTo>
                  <a:pt x="226695" y="28575"/>
                  <a:pt x="220028" y="33338"/>
                  <a:pt x="214313" y="39053"/>
                </a:cubicBezTo>
                <a:cubicBezTo>
                  <a:pt x="212408" y="28575"/>
                  <a:pt x="214313" y="18098"/>
                  <a:pt x="219075" y="9525"/>
                </a:cubicBezTo>
                <a:lnTo>
                  <a:pt x="210503" y="4763"/>
                </a:lnTo>
                <a:cubicBezTo>
                  <a:pt x="203835" y="16193"/>
                  <a:pt x="201930" y="29528"/>
                  <a:pt x="204788" y="41910"/>
                </a:cubicBezTo>
                <a:cubicBezTo>
                  <a:pt x="197168" y="40005"/>
                  <a:pt x="188595" y="39053"/>
                  <a:pt x="180023" y="41910"/>
                </a:cubicBezTo>
                <a:cubicBezTo>
                  <a:pt x="159068" y="47625"/>
                  <a:pt x="145733" y="65723"/>
                  <a:pt x="144780" y="85725"/>
                </a:cubicBezTo>
                <a:cubicBezTo>
                  <a:pt x="170498" y="82868"/>
                  <a:pt x="195263" y="98108"/>
                  <a:pt x="201930" y="123825"/>
                </a:cubicBezTo>
                <a:cubicBezTo>
                  <a:pt x="207645" y="146685"/>
                  <a:pt x="198120" y="169545"/>
                  <a:pt x="180023" y="180975"/>
                </a:cubicBezTo>
                <a:cubicBezTo>
                  <a:pt x="191453" y="188595"/>
                  <a:pt x="204788" y="191453"/>
                  <a:pt x="219075" y="187643"/>
                </a:cubicBezTo>
                <a:cubicBezTo>
                  <a:pt x="229553" y="184785"/>
                  <a:pt x="238125" y="179070"/>
                  <a:pt x="243840" y="170498"/>
                </a:cubicBezTo>
                <a:cubicBezTo>
                  <a:pt x="253365" y="174308"/>
                  <a:pt x="263843" y="175260"/>
                  <a:pt x="274320" y="172403"/>
                </a:cubicBezTo>
                <a:cubicBezTo>
                  <a:pt x="288608" y="168593"/>
                  <a:pt x="299085" y="159068"/>
                  <a:pt x="304800" y="146685"/>
                </a:cubicBezTo>
                <a:cubicBezTo>
                  <a:pt x="282893" y="147638"/>
                  <a:pt x="262890" y="132398"/>
                  <a:pt x="257175" y="109538"/>
                </a:cubicBezTo>
                <a:close/>
              </a:path>
            </a:pathLst>
          </a:custGeom>
          <a:solidFill>
            <a:schemeClr val="tx2"/>
          </a:solidFill>
          <a:ln w="9525" cap="flat">
            <a:noFill/>
            <a:prstDash val="solid"/>
            <a:miter/>
          </a:ln>
        </p:spPr>
        <p:txBody>
          <a:bodyPr rtlCol="0" anchor="ctr"/>
          <a:lstStyle/>
          <a:p>
            <a:endParaRPr lang="en-GB"/>
          </a:p>
        </p:txBody>
      </p:sp>
      <p:sp>
        <p:nvSpPr>
          <p:cNvPr id="82" name="Freeform 22">
            <a:extLst>
              <a:ext uri="{FF2B5EF4-FFF2-40B4-BE49-F238E27FC236}">
                <a16:creationId xmlns:a16="http://schemas.microsoft.com/office/drawing/2014/main" id="{A2DB188E-DB79-41A4-8738-4C7F9991EB5D}"/>
              </a:ext>
            </a:extLst>
          </p:cNvPr>
          <p:cNvSpPr>
            <a:spLocks noEditPoints="1"/>
          </p:cNvSpPr>
          <p:nvPr/>
        </p:nvSpPr>
        <p:spPr bwMode="auto">
          <a:xfrm>
            <a:off x="566819" y="1649872"/>
            <a:ext cx="454462" cy="355212"/>
          </a:xfrm>
          <a:custGeom>
            <a:avLst/>
            <a:gdLst>
              <a:gd name="T0" fmla="*/ 20 w 128"/>
              <a:gd name="T1" fmla="*/ 84 h 100"/>
              <a:gd name="T2" fmla="*/ 108 w 128"/>
              <a:gd name="T3" fmla="*/ 84 h 100"/>
              <a:gd name="T4" fmla="*/ 120 w 128"/>
              <a:gd name="T5" fmla="*/ 72 h 100"/>
              <a:gd name="T6" fmla="*/ 120 w 128"/>
              <a:gd name="T7" fmla="*/ 12 h 100"/>
              <a:gd name="T8" fmla="*/ 117 w 128"/>
              <a:gd name="T9" fmla="*/ 3 h 100"/>
              <a:gd name="T10" fmla="*/ 108 w 128"/>
              <a:gd name="T11" fmla="*/ 0 h 100"/>
              <a:gd name="T12" fmla="*/ 20 w 128"/>
              <a:gd name="T13" fmla="*/ 0 h 100"/>
              <a:gd name="T14" fmla="*/ 8 w 128"/>
              <a:gd name="T15" fmla="*/ 12 h 100"/>
              <a:gd name="T16" fmla="*/ 8 w 128"/>
              <a:gd name="T17" fmla="*/ 72 h 100"/>
              <a:gd name="T18" fmla="*/ 20 w 128"/>
              <a:gd name="T19" fmla="*/ 84 h 100"/>
              <a:gd name="T20" fmla="*/ 20 w 128"/>
              <a:gd name="T21" fmla="*/ 8 h 100"/>
              <a:gd name="T22" fmla="*/ 108 w 128"/>
              <a:gd name="T23" fmla="*/ 8 h 100"/>
              <a:gd name="T24" fmla="*/ 111 w 128"/>
              <a:gd name="T25" fmla="*/ 9 h 100"/>
              <a:gd name="T26" fmla="*/ 112 w 128"/>
              <a:gd name="T27" fmla="*/ 12 h 100"/>
              <a:gd name="T28" fmla="*/ 112 w 128"/>
              <a:gd name="T29" fmla="*/ 72 h 100"/>
              <a:gd name="T30" fmla="*/ 108 w 128"/>
              <a:gd name="T31" fmla="*/ 76 h 100"/>
              <a:gd name="T32" fmla="*/ 20 w 128"/>
              <a:gd name="T33" fmla="*/ 76 h 100"/>
              <a:gd name="T34" fmla="*/ 16 w 128"/>
              <a:gd name="T35" fmla="*/ 72 h 100"/>
              <a:gd name="T36" fmla="*/ 16 w 128"/>
              <a:gd name="T37" fmla="*/ 12 h 100"/>
              <a:gd name="T38" fmla="*/ 20 w 128"/>
              <a:gd name="T39" fmla="*/ 8 h 100"/>
              <a:gd name="T40" fmla="*/ 0 w 128"/>
              <a:gd name="T41" fmla="*/ 92 h 100"/>
              <a:gd name="T42" fmla="*/ 0 w 128"/>
              <a:gd name="T43" fmla="*/ 100 h 100"/>
              <a:gd name="T44" fmla="*/ 128 w 128"/>
              <a:gd name="T45" fmla="*/ 100 h 100"/>
              <a:gd name="T46" fmla="*/ 128 w 128"/>
              <a:gd name="T47" fmla="*/ 92 h 100"/>
              <a:gd name="T48" fmla="*/ 0 w 128"/>
              <a:gd name="T49" fmla="*/ 92 h 100"/>
              <a:gd name="T50" fmla="*/ 36 w 128"/>
              <a:gd name="T51" fmla="*/ 16 h 100"/>
              <a:gd name="T52" fmla="*/ 24 w 128"/>
              <a:gd name="T53" fmla="*/ 16 h 100"/>
              <a:gd name="T54" fmla="*/ 24 w 128"/>
              <a:gd name="T55" fmla="*/ 28 h 100"/>
              <a:gd name="T56" fmla="*/ 36 w 128"/>
              <a:gd name="T57" fmla="*/ 28 h 100"/>
              <a:gd name="T58" fmla="*/ 36 w 128"/>
              <a:gd name="T59" fmla="*/ 16 h 100"/>
              <a:gd name="T60" fmla="*/ 36 w 128"/>
              <a:gd name="T61" fmla="*/ 32 h 100"/>
              <a:gd name="T62" fmla="*/ 24 w 128"/>
              <a:gd name="T63" fmla="*/ 32 h 100"/>
              <a:gd name="T64" fmla="*/ 24 w 128"/>
              <a:gd name="T65" fmla="*/ 44 h 100"/>
              <a:gd name="T66" fmla="*/ 36 w 128"/>
              <a:gd name="T67" fmla="*/ 44 h 100"/>
              <a:gd name="T68" fmla="*/ 36 w 128"/>
              <a:gd name="T69" fmla="*/ 32 h 100"/>
              <a:gd name="T70" fmla="*/ 36 w 128"/>
              <a:gd name="T71" fmla="*/ 48 h 100"/>
              <a:gd name="T72" fmla="*/ 24 w 128"/>
              <a:gd name="T73" fmla="*/ 48 h 100"/>
              <a:gd name="T74" fmla="*/ 24 w 128"/>
              <a:gd name="T75" fmla="*/ 60 h 100"/>
              <a:gd name="T76" fmla="*/ 36 w 128"/>
              <a:gd name="T77" fmla="*/ 60 h 100"/>
              <a:gd name="T78" fmla="*/ 36 w 128"/>
              <a:gd name="T79" fmla="*/ 48 h 100"/>
              <a:gd name="T80" fmla="*/ 80 w 128"/>
              <a:gd name="T81" fmla="*/ 16 h 100"/>
              <a:gd name="T82" fmla="*/ 44 w 128"/>
              <a:gd name="T83" fmla="*/ 16 h 100"/>
              <a:gd name="T84" fmla="*/ 44 w 128"/>
              <a:gd name="T85" fmla="*/ 24 h 100"/>
              <a:gd name="T86" fmla="*/ 80 w 128"/>
              <a:gd name="T87" fmla="*/ 24 h 100"/>
              <a:gd name="T88" fmla="*/ 80 w 128"/>
              <a:gd name="T89" fmla="*/ 16 h 100"/>
              <a:gd name="T90" fmla="*/ 80 w 128"/>
              <a:gd name="T91" fmla="*/ 32 h 100"/>
              <a:gd name="T92" fmla="*/ 44 w 128"/>
              <a:gd name="T93" fmla="*/ 32 h 100"/>
              <a:gd name="T94" fmla="*/ 44 w 128"/>
              <a:gd name="T95" fmla="*/ 40 h 100"/>
              <a:gd name="T96" fmla="*/ 80 w 128"/>
              <a:gd name="T97" fmla="*/ 40 h 100"/>
              <a:gd name="T98" fmla="*/ 80 w 128"/>
              <a:gd name="T99" fmla="*/ 32 h 100"/>
              <a:gd name="T100" fmla="*/ 64 w 128"/>
              <a:gd name="T101" fmla="*/ 57 h 100"/>
              <a:gd name="T102" fmla="*/ 78 w 128"/>
              <a:gd name="T103" fmla="*/ 71 h 100"/>
              <a:gd name="T104" fmla="*/ 78 w 128"/>
              <a:gd name="T105" fmla="*/ 71 h 100"/>
              <a:gd name="T106" fmla="*/ 78 w 128"/>
              <a:gd name="T107" fmla="*/ 71 h 100"/>
              <a:gd name="T108" fmla="*/ 104 w 128"/>
              <a:gd name="T109" fmla="*/ 46 h 100"/>
              <a:gd name="T110" fmla="*/ 98 w 128"/>
              <a:gd name="T111" fmla="*/ 40 h 100"/>
              <a:gd name="T112" fmla="*/ 78 w 128"/>
              <a:gd name="T113" fmla="*/ 60 h 100"/>
              <a:gd name="T114" fmla="*/ 70 w 128"/>
              <a:gd name="T115" fmla="*/ 51 h 100"/>
              <a:gd name="T116" fmla="*/ 64 w 128"/>
              <a:gd name="T117" fmla="*/ 5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8" h="100">
                <a:moveTo>
                  <a:pt x="20" y="84"/>
                </a:moveTo>
                <a:cubicBezTo>
                  <a:pt x="108" y="84"/>
                  <a:pt x="108" y="84"/>
                  <a:pt x="108" y="84"/>
                </a:cubicBezTo>
                <a:cubicBezTo>
                  <a:pt x="115" y="84"/>
                  <a:pt x="120" y="79"/>
                  <a:pt x="120" y="72"/>
                </a:cubicBezTo>
                <a:cubicBezTo>
                  <a:pt x="120" y="12"/>
                  <a:pt x="120" y="12"/>
                  <a:pt x="120" y="12"/>
                </a:cubicBezTo>
                <a:cubicBezTo>
                  <a:pt x="120" y="9"/>
                  <a:pt x="119" y="6"/>
                  <a:pt x="117" y="3"/>
                </a:cubicBezTo>
                <a:cubicBezTo>
                  <a:pt x="114" y="1"/>
                  <a:pt x="111" y="0"/>
                  <a:pt x="108" y="0"/>
                </a:cubicBezTo>
                <a:cubicBezTo>
                  <a:pt x="20" y="0"/>
                  <a:pt x="20" y="0"/>
                  <a:pt x="20" y="0"/>
                </a:cubicBezTo>
                <a:cubicBezTo>
                  <a:pt x="13" y="0"/>
                  <a:pt x="8" y="5"/>
                  <a:pt x="8" y="12"/>
                </a:cubicBezTo>
                <a:cubicBezTo>
                  <a:pt x="8" y="72"/>
                  <a:pt x="8" y="72"/>
                  <a:pt x="8" y="72"/>
                </a:cubicBezTo>
                <a:cubicBezTo>
                  <a:pt x="8" y="79"/>
                  <a:pt x="13" y="84"/>
                  <a:pt x="20" y="84"/>
                </a:cubicBezTo>
                <a:close/>
                <a:moveTo>
                  <a:pt x="20" y="8"/>
                </a:moveTo>
                <a:cubicBezTo>
                  <a:pt x="108" y="8"/>
                  <a:pt x="108" y="8"/>
                  <a:pt x="108" y="8"/>
                </a:cubicBezTo>
                <a:cubicBezTo>
                  <a:pt x="109" y="8"/>
                  <a:pt x="110" y="8"/>
                  <a:pt x="111" y="9"/>
                </a:cubicBezTo>
                <a:cubicBezTo>
                  <a:pt x="112" y="10"/>
                  <a:pt x="112" y="11"/>
                  <a:pt x="112" y="12"/>
                </a:cubicBezTo>
                <a:cubicBezTo>
                  <a:pt x="112" y="72"/>
                  <a:pt x="112" y="72"/>
                  <a:pt x="112" y="72"/>
                </a:cubicBezTo>
                <a:cubicBezTo>
                  <a:pt x="112" y="74"/>
                  <a:pt x="110" y="76"/>
                  <a:pt x="108" y="76"/>
                </a:cubicBezTo>
                <a:cubicBezTo>
                  <a:pt x="20" y="76"/>
                  <a:pt x="20" y="76"/>
                  <a:pt x="20" y="76"/>
                </a:cubicBezTo>
                <a:cubicBezTo>
                  <a:pt x="18" y="76"/>
                  <a:pt x="16" y="74"/>
                  <a:pt x="16" y="72"/>
                </a:cubicBezTo>
                <a:cubicBezTo>
                  <a:pt x="16" y="12"/>
                  <a:pt x="16" y="12"/>
                  <a:pt x="16" y="12"/>
                </a:cubicBezTo>
                <a:cubicBezTo>
                  <a:pt x="16" y="10"/>
                  <a:pt x="18" y="8"/>
                  <a:pt x="20" y="8"/>
                </a:cubicBezTo>
                <a:close/>
                <a:moveTo>
                  <a:pt x="0" y="92"/>
                </a:moveTo>
                <a:cubicBezTo>
                  <a:pt x="0" y="100"/>
                  <a:pt x="0" y="100"/>
                  <a:pt x="0" y="100"/>
                </a:cubicBezTo>
                <a:cubicBezTo>
                  <a:pt x="128" y="100"/>
                  <a:pt x="128" y="100"/>
                  <a:pt x="128" y="100"/>
                </a:cubicBezTo>
                <a:cubicBezTo>
                  <a:pt x="128" y="92"/>
                  <a:pt x="128" y="92"/>
                  <a:pt x="128" y="92"/>
                </a:cubicBezTo>
                <a:lnTo>
                  <a:pt x="0" y="92"/>
                </a:lnTo>
                <a:close/>
                <a:moveTo>
                  <a:pt x="36" y="16"/>
                </a:moveTo>
                <a:cubicBezTo>
                  <a:pt x="24" y="16"/>
                  <a:pt x="24" y="16"/>
                  <a:pt x="24" y="16"/>
                </a:cubicBezTo>
                <a:cubicBezTo>
                  <a:pt x="24" y="28"/>
                  <a:pt x="24" y="28"/>
                  <a:pt x="24" y="28"/>
                </a:cubicBezTo>
                <a:cubicBezTo>
                  <a:pt x="36" y="28"/>
                  <a:pt x="36" y="28"/>
                  <a:pt x="36" y="28"/>
                </a:cubicBezTo>
                <a:lnTo>
                  <a:pt x="36" y="16"/>
                </a:lnTo>
                <a:close/>
                <a:moveTo>
                  <a:pt x="36" y="32"/>
                </a:moveTo>
                <a:cubicBezTo>
                  <a:pt x="24" y="32"/>
                  <a:pt x="24" y="32"/>
                  <a:pt x="24" y="32"/>
                </a:cubicBezTo>
                <a:cubicBezTo>
                  <a:pt x="24" y="44"/>
                  <a:pt x="24" y="44"/>
                  <a:pt x="24" y="44"/>
                </a:cubicBezTo>
                <a:cubicBezTo>
                  <a:pt x="36" y="44"/>
                  <a:pt x="36" y="44"/>
                  <a:pt x="36" y="44"/>
                </a:cubicBezTo>
                <a:lnTo>
                  <a:pt x="36" y="32"/>
                </a:lnTo>
                <a:close/>
                <a:moveTo>
                  <a:pt x="36" y="48"/>
                </a:moveTo>
                <a:cubicBezTo>
                  <a:pt x="24" y="48"/>
                  <a:pt x="24" y="48"/>
                  <a:pt x="24" y="48"/>
                </a:cubicBezTo>
                <a:cubicBezTo>
                  <a:pt x="24" y="60"/>
                  <a:pt x="24" y="60"/>
                  <a:pt x="24" y="60"/>
                </a:cubicBezTo>
                <a:cubicBezTo>
                  <a:pt x="36" y="60"/>
                  <a:pt x="36" y="60"/>
                  <a:pt x="36" y="60"/>
                </a:cubicBezTo>
                <a:lnTo>
                  <a:pt x="36" y="48"/>
                </a:lnTo>
                <a:close/>
                <a:moveTo>
                  <a:pt x="80" y="16"/>
                </a:moveTo>
                <a:cubicBezTo>
                  <a:pt x="44" y="16"/>
                  <a:pt x="44" y="16"/>
                  <a:pt x="44" y="16"/>
                </a:cubicBezTo>
                <a:cubicBezTo>
                  <a:pt x="44" y="24"/>
                  <a:pt x="44" y="24"/>
                  <a:pt x="44" y="24"/>
                </a:cubicBezTo>
                <a:cubicBezTo>
                  <a:pt x="80" y="24"/>
                  <a:pt x="80" y="24"/>
                  <a:pt x="80" y="24"/>
                </a:cubicBezTo>
                <a:lnTo>
                  <a:pt x="80" y="16"/>
                </a:lnTo>
                <a:close/>
                <a:moveTo>
                  <a:pt x="80" y="32"/>
                </a:moveTo>
                <a:cubicBezTo>
                  <a:pt x="44" y="32"/>
                  <a:pt x="44" y="32"/>
                  <a:pt x="44" y="32"/>
                </a:cubicBezTo>
                <a:cubicBezTo>
                  <a:pt x="44" y="40"/>
                  <a:pt x="44" y="40"/>
                  <a:pt x="44" y="40"/>
                </a:cubicBezTo>
                <a:cubicBezTo>
                  <a:pt x="80" y="40"/>
                  <a:pt x="80" y="40"/>
                  <a:pt x="80" y="40"/>
                </a:cubicBezTo>
                <a:lnTo>
                  <a:pt x="80" y="32"/>
                </a:lnTo>
                <a:close/>
                <a:moveTo>
                  <a:pt x="64" y="57"/>
                </a:moveTo>
                <a:cubicBezTo>
                  <a:pt x="78" y="71"/>
                  <a:pt x="78" y="71"/>
                  <a:pt x="78" y="71"/>
                </a:cubicBezTo>
                <a:cubicBezTo>
                  <a:pt x="78" y="71"/>
                  <a:pt x="78" y="71"/>
                  <a:pt x="78" y="71"/>
                </a:cubicBezTo>
                <a:cubicBezTo>
                  <a:pt x="78" y="71"/>
                  <a:pt x="78" y="71"/>
                  <a:pt x="78" y="71"/>
                </a:cubicBezTo>
                <a:cubicBezTo>
                  <a:pt x="104" y="46"/>
                  <a:pt x="104" y="46"/>
                  <a:pt x="104" y="46"/>
                </a:cubicBezTo>
                <a:cubicBezTo>
                  <a:pt x="98" y="40"/>
                  <a:pt x="98" y="40"/>
                  <a:pt x="98" y="40"/>
                </a:cubicBezTo>
                <a:cubicBezTo>
                  <a:pt x="78" y="60"/>
                  <a:pt x="78" y="60"/>
                  <a:pt x="78" y="60"/>
                </a:cubicBezTo>
                <a:cubicBezTo>
                  <a:pt x="70" y="51"/>
                  <a:pt x="70" y="51"/>
                  <a:pt x="70" y="51"/>
                </a:cubicBezTo>
                <a:lnTo>
                  <a:pt x="64" y="5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4125371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kt 51" hidden="1">
            <a:extLst>
              <a:ext uri="{FF2B5EF4-FFF2-40B4-BE49-F238E27FC236}">
                <a16:creationId xmlns:a16="http://schemas.microsoft.com/office/drawing/2014/main" id="{002BF553-7A04-45BD-929C-12728FDA67BF}"/>
              </a:ext>
            </a:extLst>
          </p:cNvPr>
          <p:cNvGraphicFramePr>
            <a:graphicFrameLocks noChangeAspect="1"/>
          </p:cNvGraphicFramePr>
          <p:nvPr>
            <p:custDataLst>
              <p:tags r:id="rId1"/>
            </p:custDataLst>
            <p:extLst>
              <p:ext uri="{D42A27DB-BD31-4B8C-83A1-F6EECF244321}">
                <p14:modId xmlns:p14="http://schemas.microsoft.com/office/powerpoint/2010/main" val="3347627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2" name="Objekt 51" hidden="1">
                        <a:extLst>
                          <a:ext uri="{FF2B5EF4-FFF2-40B4-BE49-F238E27FC236}">
                            <a16:creationId xmlns:a16="http://schemas.microsoft.com/office/drawing/2014/main" id="{002BF553-7A04-45BD-929C-12728FDA67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631A6E5-8E71-41F7-849D-26FFDB1B82DE}"/>
              </a:ext>
            </a:extLst>
          </p:cNvPr>
          <p:cNvSpPr>
            <a:spLocks noGrp="1"/>
          </p:cNvSpPr>
          <p:nvPr>
            <p:ph type="sldNum" sz="quarter" idx="11"/>
          </p:nvPr>
        </p:nvSpPr>
        <p:spPr/>
        <p:txBody>
          <a:bodyPr/>
          <a:lstStyle/>
          <a:p>
            <a:fld id="{D56DB8AA-803C-49D2-90AA-1140CE72DCD7}" type="slidenum">
              <a:rPr lang="en-GB" smtClean="0"/>
              <a:pPr/>
              <a:t>12</a:t>
            </a:fld>
            <a:endParaRPr lang="en-GB" dirty="0"/>
          </a:p>
        </p:txBody>
      </p:sp>
      <p:sp>
        <p:nvSpPr>
          <p:cNvPr id="73" name="Title 38">
            <a:extLst>
              <a:ext uri="{FF2B5EF4-FFF2-40B4-BE49-F238E27FC236}">
                <a16:creationId xmlns:a16="http://schemas.microsoft.com/office/drawing/2014/main" id="{0BC2533D-04BA-C019-8518-F0C52D74B5C2}"/>
              </a:ext>
            </a:extLst>
          </p:cNvPr>
          <p:cNvSpPr>
            <a:spLocks noGrp="1"/>
          </p:cNvSpPr>
          <p:nvPr>
            <p:ph type="title"/>
          </p:nvPr>
        </p:nvSpPr>
        <p:spPr/>
        <p:txBody>
          <a:bodyPr/>
          <a:lstStyle/>
          <a:p>
            <a:r>
              <a:rPr lang="en-US" dirty="0"/>
              <a:t>Munich Re Icons 10/12</a:t>
            </a:r>
            <a:br>
              <a:rPr lang="en-US" dirty="0"/>
            </a:br>
            <a:endParaRPr lang="en-US" dirty="0"/>
          </a:p>
        </p:txBody>
      </p:sp>
      <p:sp>
        <p:nvSpPr>
          <p:cNvPr id="171" name="Freeform 115">
            <a:extLst>
              <a:ext uri="{FF2B5EF4-FFF2-40B4-BE49-F238E27FC236}">
                <a16:creationId xmlns:a16="http://schemas.microsoft.com/office/drawing/2014/main" id="{D4F03E9F-BC8F-4315-9A6A-66F694C53E41}"/>
              </a:ext>
            </a:extLst>
          </p:cNvPr>
          <p:cNvSpPr>
            <a:spLocks noEditPoints="1"/>
          </p:cNvSpPr>
          <p:nvPr/>
        </p:nvSpPr>
        <p:spPr bwMode="auto">
          <a:xfrm>
            <a:off x="2718205" y="2440373"/>
            <a:ext cx="333425" cy="378561"/>
          </a:xfrm>
          <a:custGeom>
            <a:avLst/>
            <a:gdLst>
              <a:gd name="T0" fmla="*/ 112 w 112"/>
              <a:gd name="T1" fmla="*/ 64 h 128"/>
              <a:gd name="T2" fmla="*/ 68 w 112"/>
              <a:gd name="T3" fmla="*/ 9 h 128"/>
              <a:gd name="T4" fmla="*/ 68 w 112"/>
              <a:gd name="T5" fmla="*/ 0 h 128"/>
              <a:gd name="T6" fmla="*/ 44 w 112"/>
              <a:gd name="T7" fmla="*/ 0 h 128"/>
              <a:gd name="T8" fmla="*/ 44 w 112"/>
              <a:gd name="T9" fmla="*/ 9 h 128"/>
              <a:gd name="T10" fmla="*/ 0 w 112"/>
              <a:gd name="T11" fmla="*/ 64 h 128"/>
              <a:gd name="T12" fmla="*/ 17 w 112"/>
              <a:gd name="T13" fmla="*/ 104 h 128"/>
              <a:gd name="T14" fmla="*/ 5 w 112"/>
              <a:gd name="T15" fmla="*/ 117 h 128"/>
              <a:gd name="T16" fmla="*/ 16 w 112"/>
              <a:gd name="T17" fmla="*/ 128 h 128"/>
              <a:gd name="T18" fmla="*/ 31 w 112"/>
              <a:gd name="T19" fmla="*/ 114 h 128"/>
              <a:gd name="T20" fmla="*/ 56 w 112"/>
              <a:gd name="T21" fmla="*/ 120 h 128"/>
              <a:gd name="T22" fmla="*/ 82 w 112"/>
              <a:gd name="T23" fmla="*/ 114 h 128"/>
              <a:gd name="T24" fmla="*/ 96 w 112"/>
              <a:gd name="T25" fmla="*/ 128 h 128"/>
              <a:gd name="T26" fmla="*/ 107 w 112"/>
              <a:gd name="T27" fmla="*/ 117 h 128"/>
              <a:gd name="T28" fmla="*/ 95 w 112"/>
              <a:gd name="T29" fmla="*/ 104 h 128"/>
              <a:gd name="T30" fmla="*/ 112 w 112"/>
              <a:gd name="T31" fmla="*/ 64 h 128"/>
              <a:gd name="T32" fmla="*/ 8 w 112"/>
              <a:gd name="T33" fmla="*/ 64 h 128"/>
              <a:gd name="T34" fmla="*/ 56 w 112"/>
              <a:gd name="T35" fmla="*/ 16 h 128"/>
              <a:gd name="T36" fmla="*/ 104 w 112"/>
              <a:gd name="T37" fmla="*/ 64 h 128"/>
              <a:gd name="T38" fmla="*/ 56 w 112"/>
              <a:gd name="T39" fmla="*/ 112 h 128"/>
              <a:gd name="T40" fmla="*/ 8 w 112"/>
              <a:gd name="T41" fmla="*/ 64 h 128"/>
              <a:gd name="T42" fmla="*/ 52 w 112"/>
              <a:gd name="T43" fmla="*/ 24 h 128"/>
              <a:gd name="T44" fmla="*/ 60 w 112"/>
              <a:gd name="T45" fmla="*/ 24 h 128"/>
              <a:gd name="T46" fmla="*/ 60 w 112"/>
              <a:gd name="T47" fmla="*/ 68 h 128"/>
              <a:gd name="T48" fmla="*/ 24 w 112"/>
              <a:gd name="T49" fmla="*/ 68 h 128"/>
              <a:gd name="T50" fmla="*/ 24 w 112"/>
              <a:gd name="T51" fmla="*/ 60 h 128"/>
              <a:gd name="T52" fmla="*/ 52 w 112"/>
              <a:gd name="T53" fmla="*/ 60 h 128"/>
              <a:gd name="T54" fmla="*/ 52 w 112"/>
              <a:gd name="T55" fmla="*/ 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28">
                <a:moveTo>
                  <a:pt x="112" y="64"/>
                </a:moveTo>
                <a:cubicBezTo>
                  <a:pt x="112" y="37"/>
                  <a:pt x="93" y="15"/>
                  <a:pt x="68" y="9"/>
                </a:cubicBezTo>
                <a:cubicBezTo>
                  <a:pt x="68" y="0"/>
                  <a:pt x="68" y="0"/>
                  <a:pt x="68" y="0"/>
                </a:cubicBezTo>
                <a:cubicBezTo>
                  <a:pt x="44" y="0"/>
                  <a:pt x="44" y="0"/>
                  <a:pt x="44" y="0"/>
                </a:cubicBezTo>
                <a:cubicBezTo>
                  <a:pt x="44" y="9"/>
                  <a:pt x="44" y="9"/>
                  <a:pt x="44" y="9"/>
                </a:cubicBezTo>
                <a:cubicBezTo>
                  <a:pt x="19" y="15"/>
                  <a:pt x="0" y="37"/>
                  <a:pt x="0" y="64"/>
                </a:cubicBezTo>
                <a:cubicBezTo>
                  <a:pt x="0" y="80"/>
                  <a:pt x="7" y="94"/>
                  <a:pt x="17" y="104"/>
                </a:cubicBezTo>
                <a:cubicBezTo>
                  <a:pt x="5" y="117"/>
                  <a:pt x="5" y="117"/>
                  <a:pt x="5" y="117"/>
                </a:cubicBezTo>
                <a:cubicBezTo>
                  <a:pt x="16" y="128"/>
                  <a:pt x="16" y="128"/>
                  <a:pt x="16" y="128"/>
                </a:cubicBezTo>
                <a:cubicBezTo>
                  <a:pt x="31" y="114"/>
                  <a:pt x="31" y="114"/>
                  <a:pt x="31" y="114"/>
                </a:cubicBezTo>
                <a:cubicBezTo>
                  <a:pt x="38" y="118"/>
                  <a:pt x="47" y="120"/>
                  <a:pt x="56" y="120"/>
                </a:cubicBezTo>
                <a:cubicBezTo>
                  <a:pt x="65" y="120"/>
                  <a:pt x="74" y="118"/>
                  <a:pt x="82" y="114"/>
                </a:cubicBezTo>
                <a:cubicBezTo>
                  <a:pt x="96" y="128"/>
                  <a:pt x="96" y="128"/>
                  <a:pt x="96" y="128"/>
                </a:cubicBezTo>
                <a:cubicBezTo>
                  <a:pt x="107" y="117"/>
                  <a:pt x="107" y="117"/>
                  <a:pt x="107" y="117"/>
                </a:cubicBezTo>
                <a:cubicBezTo>
                  <a:pt x="95" y="104"/>
                  <a:pt x="95" y="104"/>
                  <a:pt x="95" y="104"/>
                </a:cubicBezTo>
                <a:cubicBezTo>
                  <a:pt x="105" y="94"/>
                  <a:pt x="112" y="80"/>
                  <a:pt x="112" y="64"/>
                </a:cubicBezTo>
                <a:close/>
                <a:moveTo>
                  <a:pt x="8" y="64"/>
                </a:moveTo>
                <a:cubicBezTo>
                  <a:pt x="8" y="38"/>
                  <a:pt x="30" y="16"/>
                  <a:pt x="56" y="16"/>
                </a:cubicBezTo>
                <a:cubicBezTo>
                  <a:pt x="82" y="16"/>
                  <a:pt x="104" y="38"/>
                  <a:pt x="104" y="64"/>
                </a:cubicBezTo>
                <a:cubicBezTo>
                  <a:pt x="104" y="90"/>
                  <a:pt x="82" y="112"/>
                  <a:pt x="56" y="112"/>
                </a:cubicBezTo>
                <a:cubicBezTo>
                  <a:pt x="30" y="112"/>
                  <a:pt x="8" y="90"/>
                  <a:pt x="8" y="64"/>
                </a:cubicBezTo>
                <a:close/>
                <a:moveTo>
                  <a:pt x="52" y="24"/>
                </a:moveTo>
                <a:cubicBezTo>
                  <a:pt x="60" y="24"/>
                  <a:pt x="60" y="24"/>
                  <a:pt x="60" y="24"/>
                </a:cubicBezTo>
                <a:cubicBezTo>
                  <a:pt x="60" y="68"/>
                  <a:pt x="60" y="68"/>
                  <a:pt x="60" y="68"/>
                </a:cubicBezTo>
                <a:cubicBezTo>
                  <a:pt x="24" y="68"/>
                  <a:pt x="24" y="68"/>
                  <a:pt x="24" y="68"/>
                </a:cubicBezTo>
                <a:cubicBezTo>
                  <a:pt x="24" y="60"/>
                  <a:pt x="24" y="60"/>
                  <a:pt x="24" y="60"/>
                </a:cubicBezTo>
                <a:cubicBezTo>
                  <a:pt x="52" y="60"/>
                  <a:pt x="52" y="60"/>
                  <a:pt x="52" y="60"/>
                </a:cubicBezTo>
                <a:lnTo>
                  <a:pt x="52" y="2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2" name="Freeform 119">
            <a:extLst>
              <a:ext uri="{FF2B5EF4-FFF2-40B4-BE49-F238E27FC236}">
                <a16:creationId xmlns:a16="http://schemas.microsoft.com/office/drawing/2014/main" id="{35E96C0E-B4A9-49D7-B330-7AE10BD37EAD}"/>
              </a:ext>
            </a:extLst>
          </p:cNvPr>
          <p:cNvSpPr>
            <a:spLocks noEditPoints="1"/>
          </p:cNvSpPr>
          <p:nvPr/>
        </p:nvSpPr>
        <p:spPr bwMode="auto">
          <a:xfrm>
            <a:off x="3723977" y="2404596"/>
            <a:ext cx="412750" cy="414338"/>
          </a:xfrm>
          <a:custGeom>
            <a:avLst/>
            <a:gdLst>
              <a:gd name="T0" fmla="*/ 65 w 128"/>
              <a:gd name="T1" fmla="*/ 0 h 128"/>
              <a:gd name="T2" fmla="*/ 64 w 128"/>
              <a:gd name="T3" fmla="*/ 0 h 128"/>
              <a:gd name="T4" fmla="*/ 64 w 128"/>
              <a:gd name="T5" fmla="*/ 0 h 128"/>
              <a:gd name="T6" fmla="*/ 60 w 128"/>
              <a:gd name="T7" fmla="*/ 0 h 128"/>
              <a:gd name="T8" fmla="*/ 0 w 128"/>
              <a:gd name="T9" fmla="*/ 60 h 128"/>
              <a:gd name="T10" fmla="*/ 0 w 128"/>
              <a:gd name="T11" fmla="*/ 64 h 128"/>
              <a:gd name="T12" fmla="*/ 0 w 128"/>
              <a:gd name="T13" fmla="*/ 68 h 128"/>
              <a:gd name="T14" fmla="*/ 60 w 128"/>
              <a:gd name="T15" fmla="*/ 128 h 128"/>
              <a:gd name="T16" fmla="*/ 64 w 128"/>
              <a:gd name="T17" fmla="*/ 128 h 128"/>
              <a:gd name="T18" fmla="*/ 64 w 128"/>
              <a:gd name="T19" fmla="*/ 128 h 128"/>
              <a:gd name="T20" fmla="*/ 68 w 128"/>
              <a:gd name="T21" fmla="*/ 0 h 128"/>
              <a:gd name="T22" fmla="*/ 47 w 128"/>
              <a:gd name="T23" fmla="*/ 11 h 128"/>
              <a:gd name="T24" fmla="*/ 18 w 128"/>
              <a:gd name="T25" fmla="*/ 32 h 128"/>
              <a:gd name="T26" fmla="*/ 13 w 128"/>
              <a:gd name="T27" fmla="*/ 40 h 128"/>
              <a:gd name="T28" fmla="*/ 32 w 128"/>
              <a:gd name="T29" fmla="*/ 60 h 128"/>
              <a:gd name="T30" fmla="*/ 13 w 128"/>
              <a:gd name="T31" fmla="*/ 40 h 128"/>
              <a:gd name="T32" fmla="*/ 32 w 128"/>
              <a:gd name="T33" fmla="*/ 68 h 128"/>
              <a:gd name="T34" fmla="*/ 13 w 128"/>
              <a:gd name="T35" fmla="*/ 88 h 128"/>
              <a:gd name="T36" fmla="*/ 18 w 128"/>
              <a:gd name="T37" fmla="*/ 96 h 128"/>
              <a:gd name="T38" fmla="*/ 47 w 128"/>
              <a:gd name="T39" fmla="*/ 117 h 128"/>
              <a:gd name="T40" fmla="*/ 60 w 128"/>
              <a:gd name="T41" fmla="*/ 120 h 128"/>
              <a:gd name="T42" fmla="*/ 60 w 128"/>
              <a:gd name="T43" fmla="*/ 96 h 128"/>
              <a:gd name="T44" fmla="*/ 60 w 128"/>
              <a:gd name="T45" fmla="*/ 88 h 128"/>
              <a:gd name="T46" fmla="*/ 39 w 128"/>
              <a:gd name="T47" fmla="*/ 68 h 128"/>
              <a:gd name="T48" fmla="*/ 60 w 128"/>
              <a:gd name="T49" fmla="*/ 88 h 128"/>
              <a:gd name="T50" fmla="*/ 39 w 128"/>
              <a:gd name="T51" fmla="*/ 60 h 128"/>
              <a:gd name="T52" fmla="*/ 60 w 128"/>
              <a:gd name="T53" fmla="*/ 40 h 128"/>
              <a:gd name="T54" fmla="*/ 60 w 128"/>
              <a:gd name="T55" fmla="*/ 32 h 128"/>
              <a:gd name="T56" fmla="*/ 60 w 128"/>
              <a:gd name="T57" fmla="*/ 8 h 128"/>
              <a:gd name="T58" fmla="*/ 84 w 128"/>
              <a:gd name="T59" fmla="*/ 128 h 128"/>
              <a:gd name="T60" fmla="*/ 76 w 128"/>
              <a:gd name="T61" fmla="*/ 1 h 128"/>
              <a:gd name="T62" fmla="*/ 128 w 128"/>
              <a:gd name="T63" fmla="*/ 67 h 128"/>
              <a:gd name="T64" fmla="*/ 84 w 128"/>
              <a:gd name="T65" fmla="*/ 128 h 128"/>
              <a:gd name="T66" fmla="*/ 84 w 128"/>
              <a:gd name="T67" fmla="*/ 99 h 128"/>
              <a:gd name="T68" fmla="*/ 84 w 128"/>
              <a:gd name="T69"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28">
                <a:moveTo>
                  <a:pt x="65" y="0"/>
                </a:moveTo>
                <a:cubicBezTo>
                  <a:pt x="65" y="0"/>
                  <a:pt x="65" y="0"/>
                  <a:pt x="65" y="0"/>
                </a:cubicBezTo>
                <a:cubicBezTo>
                  <a:pt x="65" y="0"/>
                  <a:pt x="65" y="0"/>
                  <a:pt x="65" y="0"/>
                </a:cubicBezTo>
                <a:cubicBezTo>
                  <a:pt x="64" y="0"/>
                  <a:pt x="64" y="0"/>
                  <a:pt x="64" y="0"/>
                </a:cubicBezTo>
                <a:cubicBezTo>
                  <a:pt x="64" y="0"/>
                  <a:pt x="64" y="0"/>
                  <a:pt x="64" y="0"/>
                </a:cubicBezTo>
                <a:cubicBezTo>
                  <a:pt x="64" y="0"/>
                  <a:pt x="64" y="0"/>
                  <a:pt x="64" y="0"/>
                </a:cubicBezTo>
                <a:cubicBezTo>
                  <a:pt x="60" y="0"/>
                  <a:pt x="60" y="0"/>
                  <a:pt x="60" y="0"/>
                </a:cubicBezTo>
                <a:cubicBezTo>
                  <a:pt x="60" y="0"/>
                  <a:pt x="60" y="0"/>
                  <a:pt x="60" y="0"/>
                </a:cubicBezTo>
                <a:cubicBezTo>
                  <a:pt x="28" y="2"/>
                  <a:pt x="2" y="28"/>
                  <a:pt x="0" y="60"/>
                </a:cubicBezTo>
                <a:cubicBezTo>
                  <a:pt x="0" y="60"/>
                  <a:pt x="0" y="60"/>
                  <a:pt x="0" y="60"/>
                </a:cubicBezTo>
                <a:cubicBezTo>
                  <a:pt x="0" y="64"/>
                  <a:pt x="0" y="64"/>
                  <a:pt x="0" y="64"/>
                </a:cubicBezTo>
                <a:cubicBezTo>
                  <a:pt x="0" y="64"/>
                  <a:pt x="0" y="64"/>
                  <a:pt x="0" y="64"/>
                </a:cubicBezTo>
                <a:cubicBezTo>
                  <a:pt x="0" y="64"/>
                  <a:pt x="0" y="64"/>
                  <a:pt x="0" y="64"/>
                </a:cubicBezTo>
                <a:cubicBezTo>
                  <a:pt x="0" y="68"/>
                  <a:pt x="0" y="68"/>
                  <a:pt x="0" y="68"/>
                </a:cubicBezTo>
                <a:cubicBezTo>
                  <a:pt x="0" y="68"/>
                  <a:pt x="0" y="68"/>
                  <a:pt x="0" y="68"/>
                </a:cubicBezTo>
                <a:cubicBezTo>
                  <a:pt x="2" y="100"/>
                  <a:pt x="28" y="126"/>
                  <a:pt x="60" y="128"/>
                </a:cubicBezTo>
                <a:cubicBezTo>
                  <a:pt x="60" y="128"/>
                  <a:pt x="60" y="128"/>
                  <a:pt x="60" y="128"/>
                </a:cubicBezTo>
                <a:cubicBezTo>
                  <a:pt x="64" y="128"/>
                  <a:pt x="64" y="128"/>
                  <a:pt x="64" y="128"/>
                </a:cubicBezTo>
                <a:cubicBezTo>
                  <a:pt x="64" y="128"/>
                  <a:pt x="64" y="128"/>
                  <a:pt x="64" y="128"/>
                </a:cubicBezTo>
                <a:cubicBezTo>
                  <a:pt x="64" y="128"/>
                  <a:pt x="64" y="128"/>
                  <a:pt x="64" y="128"/>
                </a:cubicBezTo>
                <a:cubicBezTo>
                  <a:pt x="68" y="128"/>
                  <a:pt x="68" y="128"/>
                  <a:pt x="68" y="128"/>
                </a:cubicBezTo>
                <a:cubicBezTo>
                  <a:pt x="68" y="0"/>
                  <a:pt x="68" y="0"/>
                  <a:pt x="68" y="0"/>
                </a:cubicBezTo>
                <a:lnTo>
                  <a:pt x="65" y="0"/>
                </a:lnTo>
                <a:close/>
                <a:moveTo>
                  <a:pt x="47" y="11"/>
                </a:moveTo>
                <a:cubicBezTo>
                  <a:pt x="42" y="16"/>
                  <a:pt x="39" y="24"/>
                  <a:pt x="36" y="32"/>
                </a:cubicBezTo>
                <a:cubicBezTo>
                  <a:pt x="18" y="32"/>
                  <a:pt x="18" y="32"/>
                  <a:pt x="18" y="32"/>
                </a:cubicBezTo>
                <a:cubicBezTo>
                  <a:pt x="25" y="22"/>
                  <a:pt x="35" y="15"/>
                  <a:pt x="47" y="11"/>
                </a:cubicBezTo>
                <a:close/>
                <a:moveTo>
                  <a:pt x="13" y="40"/>
                </a:moveTo>
                <a:cubicBezTo>
                  <a:pt x="34" y="40"/>
                  <a:pt x="34" y="40"/>
                  <a:pt x="34" y="40"/>
                </a:cubicBezTo>
                <a:cubicBezTo>
                  <a:pt x="33" y="46"/>
                  <a:pt x="32" y="53"/>
                  <a:pt x="32" y="60"/>
                </a:cubicBezTo>
                <a:cubicBezTo>
                  <a:pt x="8" y="60"/>
                  <a:pt x="8" y="60"/>
                  <a:pt x="8" y="60"/>
                </a:cubicBezTo>
                <a:cubicBezTo>
                  <a:pt x="9" y="53"/>
                  <a:pt x="11" y="46"/>
                  <a:pt x="13" y="40"/>
                </a:cubicBezTo>
                <a:close/>
                <a:moveTo>
                  <a:pt x="8" y="68"/>
                </a:moveTo>
                <a:cubicBezTo>
                  <a:pt x="32" y="68"/>
                  <a:pt x="32" y="68"/>
                  <a:pt x="32" y="68"/>
                </a:cubicBezTo>
                <a:cubicBezTo>
                  <a:pt x="32" y="75"/>
                  <a:pt x="33" y="82"/>
                  <a:pt x="34" y="88"/>
                </a:cubicBezTo>
                <a:cubicBezTo>
                  <a:pt x="13" y="88"/>
                  <a:pt x="13" y="88"/>
                  <a:pt x="13" y="88"/>
                </a:cubicBezTo>
                <a:cubicBezTo>
                  <a:pt x="11" y="82"/>
                  <a:pt x="9" y="75"/>
                  <a:pt x="8" y="68"/>
                </a:cubicBezTo>
                <a:close/>
                <a:moveTo>
                  <a:pt x="18" y="96"/>
                </a:moveTo>
                <a:cubicBezTo>
                  <a:pt x="36" y="96"/>
                  <a:pt x="36" y="96"/>
                  <a:pt x="36" y="96"/>
                </a:cubicBezTo>
                <a:cubicBezTo>
                  <a:pt x="39" y="105"/>
                  <a:pt x="42" y="112"/>
                  <a:pt x="47" y="117"/>
                </a:cubicBezTo>
                <a:cubicBezTo>
                  <a:pt x="35" y="113"/>
                  <a:pt x="25" y="106"/>
                  <a:pt x="18" y="96"/>
                </a:cubicBezTo>
                <a:close/>
                <a:moveTo>
                  <a:pt x="60" y="120"/>
                </a:moveTo>
                <a:cubicBezTo>
                  <a:pt x="54" y="117"/>
                  <a:pt x="48" y="108"/>
                  <a:pt x="44" y="96"/>
                </a:cubicBezTo>
                <a:cubicBezTo>
                  <a:pt x="60" y="96"/>
                  <a:pt x="60" y="96"/>
                  <a:pt x="60" y="96"/>
                </a:cubicBezTo>
                <a:lnTo>
                  <a:pt x="60" y="120"/>
                </a:lnTo>
                <a:close/>
                <a:moveTo>
                  <a:pt x="60" y="88"/>
                </a:moveTo>
                <a:cubicBezTo>
                  <a:pt x="42" y="88"/>
                  <a:pt x="42" y="88"/>
                  <a:pt x="42" y="88"/>
                </a:cubicBezTo>
                <a:cubicBezTo>
                  <a:pt x="40" y="82"/>
                  <a:pt x="39" y="75"/>
                  <a:pt x="39" y="68"/>
                </a:cubicBezTo>
                <a:cubicBezTo>
                  <a:pt x="60" y="68"/>
                  <a:pt x="60" y="68"/>
                  <a:pt x="60" y="68"/>
                </a:cubicBezTo>
                <a:lnTo>
                  <a:pt x="60" y="88"/>
                </a:lnTo>
                <a:close/>
                <a:moveTo>
                  <a:pt x="60" y="60"/>
                </a:moveTo>
                <a:cubicBezTo>
                  <a:pt x="39" y="60"/>
                  <a:pt x="39" y="60"/>
                  <a:pt x="39" y="60"/>
                </a:cubicBezTo>
                <a:cubicBezTo>
                  <a:pt x="39" y="53"/>
                  <a:pt x="40" y="46"/>
                  <a:pt x="42" y="40"/>
                </a:cubicBezTo>
                <a:cubicBezTo>
                  <a:pt x="60" y="40"/>
                  <a:pt x="60" y="40"/>
                  <a:pt x="60" y="40"/>
                </a:cubicBezTo>
                <a:lnTo>
                  <a:pt x="60" y="60"/>
                </a:lnTo>
                <a:close/>
                <a:moveTo>
                  <a:pt x="60" y="32"/>
                </a:moveTo>
                <a:cubicBezTo>
                  <a:pt x="44" y="32"/>
                  <a:pt x="44" y="32"/>
                  <a:pt x="44" y="32"/>
                </a:cubicBezTo>
                <a:cubicBezTo>
                  <a:pt x="48" y="20"/>
                  <a:pt x="54" y="11"/>
                  <a:pt x="60" y="8"/>
                </a:cubicBezTo>
                <a:lnTo>
                  <a:pt x="60" y="32"/>
                </a:lnTo>
                <a:close/>
                <a:moveTo>
                  <a:pt x="84" y="128"/>
                </a:moveTo>
                <a:cubicBezTo>
                  <a:pt x="76" y="128"/>
                  <a:pt x="76" y="128"/>
                  <a:pt x="76" y="128"/>
                </a:cubicBezTo>
                <a:cubicBezTo>
                  <a:pt x="76" y="1"/>
                  <a:pt x="76" y="1"/>
                  <a:pt x="76" y="1"/>
                </a:cubicBezTo>
                <a:cubicBezTo>
                  <a:pt x="82" y="5"/>
                  <a:pt x="82" y="5"/>
                  <a:pt x="82" y="5"/>
                </a:cubicBezTo>
                <a:cubicBezTo>
                  <a:pt x="84" y="6"/>
                  <a:pt x="128" y="33"/>
                  <a:pt x="128" y="67"/>
                </a:cubicBezTo>
                <a:cubicBezTo>
                  <a:pt x="128" y="95"/>
                  <a:pt x="101" y="105"/>
                  <a:pt x="84" y="107"/>
                </a:cubicBezTo>
                <a:lnTo>
                  <a:pt x="84" y="128"/>
                </a:lnTo>
                <a:close/>
                <a:moveTo>
                  <a:pt x="84" y="16"/>
                </a:moveTo>
                <a:cubicBezTo>
                  <a:pt x="84" y="99"/>
                  <a:pt x="84" y="99"/>
                  <a:pt x="84" y="99"/>
                </a:cubicBezTo>
                <a:cubicBezTo>
                  <a:pt x="97" y="97"/>
                  <a:pt x="120" y="90"/>
                  <a:pt x="120" y="67"/>
                </a:cubicBezTo>
                <a:cubicBezTo>
                  <a:pt x="120" y="45"/>
                  <a:pt x="96" y="24"/>
                  <a:pt x="84"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3" name="Freeform 123">
            <a:extLst>
              <a:ext uri="{FF2B5EF4-FFF2-40B4-BE49-F238E27FC236}">
                <a16:creationId xmlns:a16="http://schemas.microsoft.com/office/drawing/2014/main" id="{A39F2CC1-6836-4AA2-8433-2BFF59983F61}"/>
              </a:ext>
            </a:extLst>
          </p:cNvPr>
          <p:cNvSpPr>
            <a:spLocks noEditPoints="1"/>
          </p:cNvSpPr>
          <p:nvPr/>
        </p:nvSpPr>
        <p:spPr bwMode="auto">
          <a:xfrm>
            <a:off x="686649" y="3187893"/>
            <a:ext cx="214803" cy="419917"/>
          </a:xfrm>
          <a:custGeom>
            <a:avLst/>
            <a:gdLst>
              <a:gd name="T0" fmla="*/ 56 w 64"/>
              <a:gd name="T1" fmla="*/ 72 h 128"/>
              <a:gd name="T2" fmla="*/ 48 w 64"/>
              <a:gd name="T3" fmla="*/ 72 h 128"/>
              <a:gd name="T4" fmla="*/ 48 w 64"/>
              <a:gd name="T5" fmla="*/ 15 h 128"/>
              <a:gd name="T6" fmla="*/ 64 w 64"/>
              <a:gd name="T7" fmla="*/ 0 h 128"/>
              <a:gd name="T8" fmla="*/ 64 w 64"/>
              <a:gd name="T9" fmla="*/ 0 h 128"/>
              <a:gd name="T10" fmla="*/ 64 w 64"/>
              <a:gd name="T11" fmla="*/ 128 h 128"/>
              <a:gd name="T12" fmla="*/ 56 w 64"/>
              <a:gd name="T13" fmla="*/ 128 h 128"/>
              <a:gd name="T14" fmla="*/ 56 w 64"/>
              <a:gd name="T15" fmla="*/ 72 h 128"/>
              <a:gd name="T16" fmla="*/ 32 w 64"/>
              <a:gd name="T17" fmla="*/ 0 h 128"/>
              <a:gd name="T18" fmla="*/ 24 w 64"/>
              <a:gd name="T19" fmla="*/ 0 h 128"/>
              <a:gd name="T20" fmla="*/ 24 w 64"/>
              <a:gd name="T21" fmla="*/ 36 h 128"/>
              <a:gd name="T22" fmla="*/ 20 w 64"/>
              <a:gd name="T23" fmla="*/ 36 h 128"/>
              <a:gd name="T24" fmla="*/ 20 w 64"/>
              <a:gd name="T25" fmla="*/ 0 h 128"/>
              <a:gd name="T26" fmla="*/ 12 w 64"/>
              <a:gd name="T27" fmla="*/ 0 h 128"/>
              <a:gd name="T28" fmla="*/ 12 w 64"/>
              <a:gd name="T29" fmla="*/ 36 h 128"/>
              <a:gd name="T30" fmla="*/ 8 w 64"/>
              <a:gd name="T31" fmla="*/ 36 h 128"/>
              <a:gd name="T32" fmla="*/ 8 w 64"/>
              <a:gd name="T33" fmla="*/ 0 h 128"/>
              <a:gd name="T34" fmla="*/ 0 w 64"/>
              <a:gd name="T35" fmla="*/ 0 h 128"/>
              <a:gd name="T36" fmla="*/ 0 w 64"/>
              <a:gd name="T37" fmla="*/ 45 h 128"/>
              <a:gd name="T38" fmla="*/ 12 w 64"/>
              <a:gd name="T39" fmla="*/ 60 h 128"/>
              <a:gd name="T40" fmla="*/ 12 w 64"/>
              <a:gd name="T41" fmla="*/ 128 h 128"/>
              <a:gd name="T42" fmla="*/ 20 w 64"/>
              <a:gd name="T43" fmla="*/ 128 h 128"/>
              <a:gd name="T44" fmla="*/ 20 w 64"/>
              <a:gd name="T45" fmla="*/ 60 h 128"/>
              <a:gd name="T46" fmla="*/ 32 w 64"/>
              <a:gd name="T47" fmla="*/ 45 h 128"/>
              <a:gd name="T48" fmla="*/ 32 w 64"/>
              <a:gd name="T4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 h="128">
                <a:moveTo>
                  <a:pt x="56" y="72"/>
                </a:moveTo>
                <a:cubicBezTo>
                  <a:pt x="48" y="72"/>
                  <a:pt x="48" y="72"/>
                  <a:pt x="48" y="72"/>
                </a:cubicBezTo>
                <a:cubicBezTo>
                  <a:pt x="48" y="15"/>
                  <a:pt x="48" y="15"/>
                  <a:pt x="48" y="15"/>
                </a:cubicBezTo>
                <a:cubicBezTo>
                  <a:pt x="49" y="7"/>
                  <a:pt x="55" y="0"/>
                  <a:pt x="64" y="0"/>
                </a:cubicBezTo>
                <a:cubicBezTo>
                  <a:pt x="64" y="0"/>
                  <a:pt x="64" y="0"/>
                  <a:pt x="64" y="0"/>
                </a:cubicBezTo>
                <a:cubicBezTo>
                  <a:pt x="64" y="128"/>
                  <a:pt x="64" y="128"/>
                  <a:pt x="64" y="128"/>
                </a:cubicBezTo>
                <a:cubicBezTo>
                  <a:pt x="56" y="128"/>
                  <a:pt x="56" y="128"/>
                  <a:pt x="56" y="128"/>
                </a:cubicBezTo>
                <a:lnTo>
                  <a:pt x="56" y="72"/>
                </a:lnTo>
                <a:close/>
                <a:moveTo>
                  <a:pt x="32" y="0"/>
                </a:moveTo>
                <a:cubicBezTo>
                  <a:pt x="24" y="0"/>
                  <a:pt x="24" y="0"/>
                  <a:pt x="24" y="0"/>
                </a:cubicBezTo>
                <a:cubicBezTo>
                  <a:pt x="24" y="36"/>
                  <a:pt x="24" y="36"/>
                  <a:pt x="24" y="36"/>
                </a:cubicBezTo>
                <a:cubicBezTo>
                  <a:pt x="20" y="36"/>
                  <a:pt x="20" y="36"/>
                  <a:pt x="20" y="36"/>
                </a:cubicBezTo>
                <a:cubicBezTo>
                  <a:pt x="20" y="0"/>
                  <a:pt x="20" y="0"/>
                  <a:pt x="20" y="0"/>
                </a:cubicBezTo>
                <a:cubicBezTo>
                  <a:pt x="12" y="0"/>
                  <a:pt x="12" y="0"/>
                  <a:pt x="12" y="0"/>
                </a:cubicBezTo>
                <a:cubicBezTo>
                  <a:pt x="12" y="36"/>
                  <a:pt x="12" y="36"/>
                  <a:pt x="12" y="36"/>
                </a:cubicBezTo>
                <a:cubicBezTo>
                  <a:pt x="8" y="36"/>
                  <a:pt x="8" y="36"/>
                  <a:pt x="8" y="36"/>
                </a:cubicBezTo>
                <a:cubicBezTo>
                  <a:pt x="8" y="0"/>
                  <a:pt x="8" y="0"/>
                  <a:pt x="8" y="0"/>
                </a:cubicBezTo>
                <a:cubicBezTo>
                  <a:pt x="0" y="0"/>
                  <a:pt x="0" y="0"/>
                  <a:pt x="0" y="0"/>
                </a:cubicBezTo>
                <a:cubicBezTo>
                  <a:pt x="0" y="45"/>
                  <a:pt x="0" y="45"/>
                  <a:pt x="0" y="45"/>
                </a:cubicBezTo>
                <a:cubicBezTo>
                  <a:pt x="7" y="46"/>
                  <a:pt x="12" y="53"/>
                  <a:pt x="12" y="60"/>
                </a:cubicBezTo>
                <a:cubicBezTo>
                  <a:pt x="12" y="128"/>
                  <a:pt x="12" y="128"/>
                  <a:pt x="12" y="128"/>
                </a:cubicBezTo>
                <a:cubicBezTo>
                  <a:pt x="20" y="128"/>
                  <a:pt x="20" y="128"/>
                  <a:pt x="20" y="128"/>
                </a:cubicBezTo>
                <a:cubicBezTo>
                  <a:pt x="20" y="60"/>
                  <a:pt x="20" y="60"/>
                  <a:pt x="20" y="60"/>
                </a:cubicBezTo>
                <a:cubicBezTo>
                  <a:pt x="20" y="53"/>
                  <a:pt x="25" y="46"/>
                  <a:pt x="32" y="45"/>
                </a:cubicBezTo>
                <a:lnTo>
                  <a:pt x="32"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4" name="Freeform 127">
            <a:extLst>
              <a:ext uri="{FF2B5EF4-FFF2-40B4-BE49-F238E27FC236}">
                <a16:creationId xmlns:a16="http://schemas.microsoft.com/office/drawing/2014/main" id="{C2BA695B-E0DC-47E6-B822-81C3BC6FDEC9}"/>
              </a:ext>
            </a:extLst>
          </p:cNvPr>
          <p:cNvSpPr>
            <a:spLocks noEditPoints="1"/>
          </p:cNvSpPr>
          <p:nvPr/>
        </p:nvSpPr>
        <p:spPr bwMode="auto">
          <a:xfrm>
            <a:off x="1682507" y="3193472"/>
            <a:ext cx="382588" cy="414338"/>
          </a:xfrm>
          <a:custGeom>
            <a:avLst/>
            <a:gdLst>
              <a:gd name="T0" fmla="*/ 41 w 118"/>
              <a:gd name="T1" fmla="*/ 12 h 128"/>
              <a:gd name="T2" fmla="*/ 29 w 118"/>
              <a:gd name="T3" fmla="*/ 24 h 128"/>
              <a:gd name="T4" fmla="*/ 17 w 118"/>
              <a:gd name="T5" fmla="*/ 12 h 128"/>
              <a:gd name="T6" fmla="*/ 29 w 118"/>
              <a:gd name="T7" fmla="*/ 0 h 128"/>
              <a:gd name="T8" fmla="*/ 41 w 118"/>
              <a:gd name="T9" fmla="*/ 12 h 128"/>
              <a:gd name="T10" fmla="*/ 41 w 118"/>
              <a:gd name="T11" fmla="*/ 88 h 128"/>
              <a:gd name="T12" fmla="*/ 59 w 118"/>
              <a:gd name="T13" fmla="*/ 88 h 128"/>
              <a:gd name="T14" fmla="*/ 39 w 118"/>
              <a:gd name="T15" fmla="*/ 32 h 128"/>
              <a:gd name="T16" fmla="*/ 20 w 118"/>
              <a:gd name="T17" fmla="*/ 32 h 128"/>
              <a:gd name="T18" fmla="*/ 0 w 118"/>
              <a:gd name="T19" fmla="*/ 88 h 128"/>
              <a:gd name="T20" fmla="*/ 17 w 118"/>
              <a:gd name="T21" fmla="*/ 88 h 128"/>
              <a:gd name="T22" fmla="*/ 17 w 118"/>
              <a:gd name="T23" fmla="*/ 128 h 128"/>
              <a:gd name="T24" fmla="*/ 41 w 118"/>
              <a:gd name="T25" fmla="*/ 128 h 128"/>
              <a:gd name="T26" fmla="*/ 41 w 118"/>
              <a:gd name="T27" fmla="*/ 88 h 128"/>
              <a:gd name="T28" fmla="*/ 25 w 118"/>
              <a:gd name="T29" fmla="*/ 80 h 128"/>
              <a:gd name="T30" fmla="*/ 11 w 118"/>
              <a:gd name="T31" fmla="*/ 80 h 128"/>
              <a:gd name="T32" fmla="*/ 26 w 118"/>
              <a:gd name="T33" fmla="*/ 40 h 128"/>
              <a:gd name="T34" fmla="*/ 33 w 118"/>
              <a:gd name="T35" fmla="*/ 40 h 128"/>
              <a:gd name="T36" fmla="*/ 48 w 118"/>
              <a:gd name="T37" fmla="*/ 80 h 128"/>
              <a:gd name="T38" fmla="*/ 33 w 118"/>
              <a:gd name="T39" fmla="*/ 80 h 128"/>
              <a:gd name="T40" fmla="*/ 33 w 118"/>
              <a:gd name="T41" fmla="*/ 120 h 128"/>
              <a:gd name="T42" fmla="*/ 25 w 118"/>
              <a:gd name="T43" fmla="*/ 120 h 128"/>
              <a:gd name="T44" fmla="*/ 25 w 118"/>
              <a:gd name="T45" fmla="*/ 80 h 128"/>
              <a:gd name="T46" fmla="*/ 93 w 118"/>
              <a:gd name="T47" fmla="*/ 0 h 128"/>
              <a:gd name="T48" fmla="*/ 81 w 118"/>
              <a:gd name="T49" fmla="*/ 12 h 128"/>
              <a:gd name="T50" fmla="*/ 93 w 118"/>
              <a:gd name="T51" fmla="*/ 24 h 128"/>
              <a:gd name="T52" fmla="*/ 105 w 118"/>
              <a:gd name="T53" fmla="*/ 12 h 128"/>
              <a:gd name="T54" fmla="*/ 93 w 118"/>
              <a:gd name="T55" fmla="*/ 0 h 128"/>
              <a:gd name="T56" fmla="*/ 105 w 118"/>
              <a:gd name="T57" fmla="*/ 88 h 128"/>
              <a:gd name="T58" fmla="*/ 118 w 118"/>
              <a:gd name="T59" fmla="*/ 32 h 128"/>
              <a:gd name="T60" fmla="*/ 69 w 118"/>
              <a:gd name="T61" fmla="*/ 32 h 128"/>
              <a:gd name="T62" fmla="*/ 81 w 118"/>
              <a:gd name="T63" fmla="*/ 88 h 128"/>
              <a:gd name="T64" fmla="*/ 81 w 118"/>
              <a:gd name="T65" fmla="*/ 128 h 128"/>
              <a:gd name="T66" fmla="*/ 105 w 118"/>
              <a:gd name="T67" fmla="*/ 128 h 128"/>
              <a:gd name="T68" fmla="*/ 105 w 118"/>
              <a:gd name="T69" fmla="*/ 88 h 128"/>
              <a:gd name="T70" fmla="*/ 89 w 118"/>
              <a:gd name="T71" fmla="*/ 88 h 128"/>
              <a:gd name="T72" fmla="*/ 79 w 118"/>
              <a:gd name="T73" fmla="*/ 40 h 128"/>
              <a:gd name="T74" fmla="*/ 108 w 118"/>
              <a:gd name="T75" fmla="*/ 40 h 128"/>
              <a:gd name="T76" fmla="*/ 97 w 118"/>
              <a:gd name="T77" fmla="*/ 88 h 128"/>
              <a:gd name="T78" fmla="*/ 97 w 118"/>
              <a:gd name="T79" fmla="*/ 120 h 128"/>
              <a:gd name="T80" fmla="*/ 89 w 118"/>
              <a:gd name="T81" fmla="*/ 120 h 128"/>
              <a:gd name="T82" fmla="*/ 89 w 118"/>
              <a:gd name="T83" fmla="*/ 8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 h="128">
                <a:moveTo>
                  <a:pt x="41" y="12"/>
                </a:moveTo>
                <a:cubicBezTo>
                  <a:pt x="41" y="19"/>
                  <a:pt x="36" y="24"/>
                  <a:pt x="29" y="24"/>
                </a:cubicBezTo>
                <a:cubicBezTo>
                  <a:pt x="23" y="24"/>
                  <a:pt x="17" y="19"/>
                  <a:pt x="17" y="12"/>
                </a:cubicBezTo>
                <a:cubicBezTo>
                  <a:pt x="17" y="5"/>
                  <a:pt x="23" y="0"/>
                  <a:pt x="29" y="0"/>
                </a:cubicBezTo>
                <a:cubicBezTo>
                  <a:pt x="36" y="0"/>
                  <a:pt x="41" y="5"/>
                  <a:pt x="41" y="12"/>
                </a:cubicBezTo>
                <a:close/>
                <a:moveTo>
                  <a:pt x="41" y="88"/>
                </a:moveTo>
                <a:cubicBezTo>
                  <a:pt x="59" y="88"/>
                  <a:pt x="59" y="88"/>
                  <a:pt x="59" y="88"/>
                </a:cubicBezTo>
                <a:cubicBezTo>
                  <a:pt x="39" y="32"/>
                  <a:pt x="39" y="32"/>
                  <a:pt x="39" y="32"/>
                </a:cubicBezTo>
                <a:cubicBezTo>
                  <a:pt x="20" y="32"/>
                  <a:pt x="20" y="32"/>
                  <a:pt x="20" y="32"/>
                </a:cubicBezTo>
                <a:cubicBezTo>
                  <a:pt x="0" y="88"/>
                  <a:pt x="0" y="88"/>
                  <a:pt x="0" y="88"/>
                </a:cubicBezTo>
                <a:cubicBezTo>
                  <a:pt x="17" y="88"/>
                  <a:pt x="17" y="88"/>
                  <a:pt x="17" y="88"/>
                </a:cubicBezTo>
                <a:cubicBezTo>
                  <a:pt x="17" y="128"/>
                  <a:pt x="17" y="128"/>
                  <a:pt x="17" y="128"/>
                </a:cubicBezTo>
                <a:cubicBezTo>
                  <a:pt x="41" y="128"/>
                  <a:pt x="41" y="128"/>
                  <a:pt x="41" y="128"/>
                </a:cubicBezTo>
                <a:lnTo>
                  <a:pt x="41" y="88"/>
                </a:lnTo>
                <a:close/>
                <a:moveTo>
                  <a:pt x="25" y="80"/>
                </a:moveTo>
                <a:cubicBezTo>
                  <a:pt x="11" y="80"/>
                  <a:pt x="11" y="80"/>
                  <a:pt x="11" y="80"/>
                </a:cubicBezTo>
                <a:cubicBezTo>
                  <a:pt x="26" y="40"/>
                  <a:pt x="26" y="40"/>
                  <a:pt x="26" y="40"/>
                </a:cubicBezTo>
                <a:cubicBezTo>
                  <a:pt x="33" y="40"/>
                  <a:pt x="33" y="40"/>
                  <a:pt x="33" y="40"/>
                </a:cubicBezTo>
                <a:cubicBezTo>
                  <a:pt x="48" y="80"/>
                  <a:pt x="48" y="80"/>
                  <a:pt x="48" y="80"/>
                </a:cubicBezTo>
                <a:cubicBezTo>
                  <a:pt x="33" y="80"/>
                  <a:pt x="33" y="80"/>
                  <a:pt x="33" y="80"/>
                </a:cubicBezTo>
                <a:cubicBezTo>
                  <a:pt x="33" y="120"/>
                  <a:pt x="33" y="120"/>
                  <a:pt x="33" y="120"/>
                </a:cubicBezTo>
                <a:cubicBezTo>
                  <a:pt x="25" y="120"/>
                  <a:pt x="25" y="120"/>
                  <a:pt x="25" y="120"/>
                </a:cubicBezTo>
                <a:lnTo>
                  <a:pt x="25" y="80"/>
                </a:lnTo>
                <a:close/>
                <a:moveTo>
                  <a:pt x="93" y="0"/>
                </a:moveTo>
                <a:cubicBezTo>
                  <a:pt x="87" y="0"/>
                  <a:pt x="81" y="5"/>
                  <a:pt x="81" y="12"/>
                </a:cubicBezTo>
                <a:cubicBezTo>
                  <a:pt x="81" y="19"/>
                  <a:pt x="87" y="24"/>
                  <a:pt x="93" y="24"/>
                </a:cubicBezTo>
                <a:cubicBezTo>
                  <a:pt x="100" y="24"/>
                  <a:pt x="105" y="19"/>
                  <a:pt x="105" y="12"/>
                </a:cubicBezTo>
                <a:cubicBezTo>
                  <a:pt x="105" y="5"/>
                  <a:pt x="100" y="0"/>
                  <a:pt x="93" y="0"/>
                </a:cubicBezTo>
                <a:close/>
                <a:moveTo>
                  <a:pt x="105" y="88"/>
                </a:moveTo>
                <a:cubicBezTo>
                  <a:pt x="118" y="32"/>
                  <a:pt x="118" y="32"/>
                  <a:pt x="118" y="32"/>
                </a:cubicBezTo>
                <a:cubicBezTo>
                  <a:pt x="69" y="32"/>
                  <a:pt x="69" y="32"/>
                  <a:pt x="69" y="32"/>
                </a:cubicBezTo>
                <a:cubicBezTo>
                  <a:pt x="81" y="88"/>
                  <a:pt x="81" y="88"/>
                  <a:pt x="81" y="88"/>
                </a:cubicBezTo>
                <a:cubicBezTo>
                  <a:pt x="81" y="128"/>
                  <a:pt x="81" y="128"/>
                  <a:pt x="81" y="128"/>
                </a:cubicBezTo>
                <a:cubicBezTo>
                  <a:pt x="105" y="128"/>
                  <a:pt x="105" y="128"/>
                  <a:pt x="105" y="128"/>
                </a:cubicBezTo>
                <a:lnTo>
                  <a:pt x="105" y="88"/>
                </a:lnTo>
                <a:close/>
                <a:moveTo>
                  <a:pt x="89" y="88"/>
                </a:moveTo>
                <a:cubicBezTo>
                  <a:pt x="79" y="40"/>
                  <a:pt x="79" y="40"/>
                  <a:pt x="79" y="40"/>
                </a:cubicBezTo>
                <a:cubicBezTo>
                  <a:pt x="108" y="40"/>
                  <a:pt x="108" y="40"/>
                  <a:pt x="108" y="40"/>
                </a:cubicBezTo>
                <a:cubicBezTo>
                  <a:pt x="97" y="88"/>
                  <a:pt x="97" y="88"/>
                  <a:pt x="97" y="88"/>
                </a:cubicBezTo>
                <a:cubicBezTo>
                  <a:pt x="97" y="120"/>
                  <a:pt x="97" y="120"/>
                  <a:pt x="97" y="120"/>
                </a:cubicBezTo>
                <a:cubicBezTo>
                  <a:pt x="89" y="120"/>
                  <a:pt x="89" y="120"/>
                  <a:pt x="89" y="120"/>
                </a:cubicBezTo>
                <a:lnTo>
                  <a:pt x="89" y="8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5" name="Freeform 131">
            <a:extLst>
              <a:ext uri="{FF2B5EF4-FFF2-40B4-BE49-F238E27FC236}">
                <a16:creationId xmlns:a16="http://schemas.microsoft.com/office/drawing/2014/main" id="{342E3276-E0F6-42BC-8C9A-35FC14ED611C}"/>
              </a:ext>
            </a:extLst>
          </p:cNvPr>
          <p:cNvSpPr>
            <a:spLocks noEditPoints="1"/>
          </p:cNvSpPr>
          <p:nvPr/>
        </p:nvSpPr>
        <p:spPr bwMode="auto">
          <a:xfrm>
            <a:off x="2678542" y="3193472"/>
            <a:ext cx="412750" cy="414338"/>
          </a:xfrm>
          <a:custGeom>
            <a:avLst/>
            <a:gdLst>
              <a:gd name="T0" fmla="*/ 48 w 128"/>
              <a:gd name="T1" fmla="*/ 104 h 128"/>
              <a:gd name="T2" fmla="*/ 24 w 128"/>
              <a:gd name="T3" fmla="*/ 128 h 128"/>
              <a:gd name="T4" fmla="*/ 0 w 128"/>
              <a:gd name="T5" fmla="*/ 104 h 128"/>
              <a:gd name="T6" fmla="*/ 24 w 128"/>
              <a:gd name="T7" fmla="*/ 80 h 128"/>
              <a:gd name="T8" fmla="*/ 48 w 128"/>
              <a:gd name="T9" fmla="*/ 104 h 128"/>
              <a:gd name="T10" fmla="*/ 128 w 128"/>
              <a:gd name="T11" fmla="*/ 128 h 128"/>
              <a:gd name="T12" fmla="*/ 0 w 128"/>
              <a:gd name="T13" fmla="*/ 0 h 128"/>
              <a:gd name="T14" fmla="*/ 0 w 128"/>
              <a:gd name="T15" fmla="*/ 16 h 128"/>
              <a:gd name="T16" fmla="*/ 112 w 128"/>
              <a:gd name="T17" fmla="*/ 128 h 128"/>
              <a:gd name="T18" fmla="*/ 96 w 128"/>
              <a:gd name="T19" fmla="*/ 128 h 128"/>
              <a:gd name="T20" fmla="*/ 0 w 128"/>
              <a:gd name="T21" fmla="*/ 32 h 128"/>
              <a:gd name="T22" fmla="*/ 0 w 128"/>
              <a:gd name="T23" fmla="*/ 48 h 128"/>
              <a:gd name="T24" fmla="*/ 80 w 128"/>
              <a:gd name="T2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128">
                <a:moveTo>
                  <a:pt x="48" y="104"/>
                </a:moveTo>
                <a:cubicBezTo>
                  <a:pt x="48" y="117"/>
                  <a:pt x="37" y="128"/>
                  <a:pt x="24" y="128"/>
                </a:cubicBezTo>
                <a:cubicBezTo>
                  <a:pt x="11" y="128"/>
                  <a:pt x="0" y="117"/>
                  <a:pt x="0" y="104"/>
                </a:cubicBezTo>
                <a:cubicBezTo>
                  <a:pt x="0" y="91"/>
                  <a:pt x="11" y="80"/>
                  <a:pt x="24" y="80"/>
                </a:cubicBezTo>
                <a:cubicBezTo>
                  <a:pt x="37" y="80"/>
                  <a:pt x="48" y="91"/>
                  <a:pt x="48" y="104"/>
                </a:cubicBezTo>
                <a:close/>
                <a:moveTo>
                  <a:pt x="128" y="128"/>
                </a:moveTo>
                <a:cubicBezTo>
                  <a:pt x="128" y="57"/>
                  <a:pt x="71" y="0"/>
                  <a:pt x="0" y="0"/>
                </a:cubicBezTo>
                <a:cubicBezTo>
                  <a:pt x="0" y="16"/>
                  <a:pt x="0" y="16"/>
                  <a:pt x="0" y="16"/>
                </a:cubicBezTo>
                <a:cubicBezTo>
                  <a:pt x="62" y="16"/>
                  <a:pt x="112" y="66"/>
                  <a:pt x="112" y="128"/>
                </a:cubicBezTo>
                <a:moveTo>
                  <a:pt x="96" y="128"/>
                </a:moveTo>
                <a:cubicBezTo>
                  <a:pt x="96" y="75"/>
                  <a:pt x="53" y="32"/>
                  <a:pt x="0" y="32"/>
                </a:cubicBezTo>
                <a:cubicBezTo>
                  <a:pt x="0" y="48"/>
                  <a:pt x="0" y="48"/>
                  <a:pt x="0" y="48"/>
                </a:cubicBezTo>
                <a:cubicBezTo>
                  <a:pt x="44" y="48"/>
                  <a:pt x="80" y="84"/>
                  <a:pt x="80" y="12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6" name="Freeform 135">
            <a:extLst>
              <a:ext uri="{FF2B5EF4-FFF2-40B4-BE49-F238E27FC236}">
                <a16:creationId xmlns:a16="http://schemas.microsoft.com/office/drawing/2014/main" id="{E1A00B2A-AD4D-4FEA-9786-7A5B28DE5BA1}"/>
              </a:ext>
            </a:extLst>
          </p:cNvPr>
          <p:cNvSpPr>
            <a:spLocks noEditPoints="1"/>
          </p:cNvSpPr>
          <p:nvPr/>
        </p:nvSpPr>
        <p:spPr bwMode="auto">
          <a:xfrm>
            <a:off x="587675" y="4050221"/>
            <a:ext cx="412750" cy="414338"/>
          </a:xfrm>
          <a:custGeom>
            <a:avLst/>
            <a:gdLst>
              <a:gd name="T0" fmla="*/ 57 w 128"/>
              <a:gd name="T1" fmla="*/ 91 h 128"/>
              <a:gd name="T2" fmla="*/ 71 w 128"/>
              <a:gd name="T3" fmla="*/ 37 h 128"/>
              <a:gd name="T4" fmla="*/ 128 w 128"/>
              <a:gd name="T5" fmla="*/ 105 h 128"/>
              <a:gd name="T6" fmla="*/ 69 w 128"/>
              <a:gd name="T7" fmla="*/ 91 h 128"/>
              <a:gd name="T8" fmla="*/ 128 w 128"/>
              <a:gd name="T9" fmla="*/ 105 h 128"/>
              <a:gd name="T10" fmla="*/ 95 w 128"/>
              <a:gd name="T11" fmla="*/ 93 h 128"/>
              <a:gd name="T12" fmla="*/ 111 w 128"/>
              <a:gd name="T13" fmla="*/ 94 h 128"/>
              <a:gd name="T14" fmla="*/ 103 w 128"/>
              <a:gd name="T15" fmla="*/ 86 h 128"/>
              <a:gd name="T16" fmla="*/ 93 w 128"/>
              <a:gd name="T17" fmla="*/ 90 h 128"/>
              <a:gd name="T18" fmla="*/ 91 w 128"/>
              <a:gd name="T19" fmla="*/ 74 h 128"/>
              <a:gd name="T20" fmla="*/ 83 w 128"/>
              <a:gd name="T21" fmla="*/ 100 h 128"/>
              <a:gd name="T22" fmla="*/ 81 w 128"/>
              <a:gd name="T23" fmla="*/ 84 h 128"/>
              <a:gd name="T24" fmla="*/ 83 w 128"/>
              <a:gd name="T25" fmla="*/ 100 h 128"/>
              <a:gd name="T26" fmla="*/ 101 w 128"/>
              <a:gd name="T27" fmla="*/ 104 h 128"/>
              <a:gd name="T28" fmla="*/ 86 w 128"/>
              <a:gd name="T29" fmla="*/ 103 h 128"/>
              <a:gd name="T30" fmla="*/ 112 w 128"/>
              <a:gd name="T31" fmla="*/ 115 h 128"/>
              <a:gd name="T32" fmla="*/ 97 w 128"/>
              <a:gd name="T33" fmla="*/ 114 h 128"/>
              <a:gd name="T34" fmla="*/ 112 w 128"/>
              <a:gd name="T35" fmla="*/ 115 h 128"/>
              <a:gd name="T36" fmla="*/ 122 w 128"/>
              <a:gd name="T37" fmla="*/ 105 h 128"/>
              <a:gd name="T38" fmla="*/ 114 w 128"/>
              <a:gd name="T39" fmla="*/ 97 h 128"/>
              <a:gd name="T40" fmla="*/ 115 w 128"/>
              <a:gd name="T41" fmla="*/ 112 h 128"/>
              <a:gd name="T42" fmla="*/ 37 w 128"/>
              <a:gd name="T43" fmla="*/ 59 h 128"/>
              <a:gd name="T44" fmla="*/ 23 w 128"/>
              <a:gd name="T45" fmla="*/ 0 h 128"/>
              <a:gd name="T46" fmla="*/ 38 w 128"/>
              <a:gd name="T47" fmla="*/ 35 h 128"/>
              <a:gd name="T48" fmla="*/ 54 w 128"/>
              <a:gd name="T49" fmla="*/ 37 h 128"/>
              <a:gd name="T50" fmla="*/ 38 w 128"/>
              <a:gd name="T51" fmla="*/ 35 h 128"/>
              <a:gd name="T52" fmla="*/ 34 w 128"/>
              <a:gd name="T53" fmla="*/ 17 h 128"/>
              <a:gd name="T54" fmla="*/ 35 w 128"/>
              <a:gd name="T55" fmla="*/ 33 h 128"/>
              <a:gd name="T56" fmla="*/ 23 w 128"/>
              <a:gd name="T57" fmla="*/ 6 h 128"/>
              <a:gd name="T58" fmla="*/ 24 w 128"/>
              <a:gd name="T59" fmla="*/ 21 h 128"/>
              <a:gd name="T60" fmla="*/ 23 w 128"/>
              <a:gd name="T61" fmla="*/ 6 h 128"/>
              <a:gd name="T62" fmla="*/ 14 w 128"/>
              <a:gd name="T63" fmla="*/ 31 h 128"/>
              <a:gd name="T64" fmla="*/ 13 w 128"/>
              <a:gd name="T65" fmla="*/ 16 h 128"/>
              <a:gd name="T66" fmla="*/ 25 w 128"/>
              <a:gd name="T67" fmla="*/ 42 h 128"/>
              <a:gd name="T68" fmla="*/ 24 w 128"/>
              <a:gd name="T69" fmla="*/ 27 h 128"/>
              <a:gd name="T70" fmla="*/ 25 w 128"/>
              <a:gd name="T71" fmla="*/ 42 h 128"/>
              <a:gd name="T72" fmla="*/ 44 w 128"/>
              <a:gd name="T73" fmla="*/ 47 h 128"/>
              <a:gd name="T74" fmla="*/ 28 w 128"/>
              <a:gd name="T75" fmla="*/ 45 h 128"/>
              <a:gd name="T76" fmla="*/ 112 w 128"/>
              <a:gd name="T77" fmla="*/ 44 h 128"/>
              <a:gd name="T78" fmla="*/ 102 w 128"/>
              <a:gd name="T79" fmla="*/ 49 h 128"/>
              <a:gd name="T80" fmla="*/ 82 w 128"/>
              <a:gd name="T81" fmla="*/ 17 h 128"/>
              <a:gd name="T82" fmla="*/ 97 w 128"/>
              <a:gd name="T83" fmla="*/ 29 h 128"/>
              <a:gd name="T84" fmla="*/ 107 w 128"/>
              <a:gd name="T85" fmla="*/ 19 h 128"/>
              <a:gd name="T86" fmla="*/ 99 w 128"/>
              <a:gd name="T87" fmla="*/ 31 h 128"/>
              <a:gd name="T88" fmla="*/ 112 w 128"/>
              <a:gd name="T89" fmla="*/ 44 h 128"/>
              <a:gd name="T90" fmla="*/ 84 w 128"/>
              <a:gd name="T91" fmla="*/ 22 h 128"/>
              <a:gd name="T92" fmla="*/ 102 w 128"/>
              <a:gd name="T93" fmla="*/ 4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128">
                <a:moveTo>
                  <a:pt x="91" y="57"/>
                </a:moveTo>
                <a:cubicBezTo>
                  <a:pt x="57" y="91"/>
                  <a:pt x="57" y="91"/>
                  <a:pt x="57" y="91"/>
                </a:cubicBezTo>
                <a:cubicBezTo>
                  <a:pt x="37" y="71"/>
                  <a:pt x="37" y="71"/>
                  <a:pt x="37" y="71"/>
                </a:cubicBezTo>
                <a:cubicBezTo>
                  <a:pt x="71" y="37"/>
                  <a:pt x="71" y="37"/>
                  <a:pt x="71" y="37"/>
                </a:cubicBezTo>
                <a:lnTo>
                  <a:pt x="91" y="57"/>
                </a:lnTo>
                <a:close/>
                <a:moveTo>
                  <a:pt x="128" y="105"/>
                </a:moveTo>
                <a:cubicBezTo>
                  <a:pt x="105" y="128"/>
                  <a:pt x="105" y="128"/>
                  <a:pt x="105" y="128"/>
                </a:cubicBezTo>
                <a:cubicBezTo>
                  <a:pt x="69" y="91"/>
                  <a:pt x="69" y="91"/>
                  <a:pt x="69" y="91"/>
                </a:cubicBezTo>
                <a:cubicBezTo>
                  <a:pt x="91" y="69"/>
                  <a:pt x="91" y="69"/>
                  <a:pt x="91" y="69"/>
                </a:cubicBezTo>
                <a:lnTo>
                  <a:pt x="128" y="105"/>
                </a:lnTo>
                <a:close/>
                <a:moveTo>
                  <a:pt x="103" y="86"/>
                </a:moveTo>
                <a:cubicBezTo>
                  <a:pt x="95" y="93"/>
                  <a:pt x="95" y="93"/>
                  <a:pt x="95" y="93"/>
                </a:cubicBezTo>
                <a:cubicBezTo>
                  <a:pt x="104" y="101"/>
                  <a:pt x="104" y="101"/>
                  <a:pt x="104" y="101"/>
                </a:cubicBezTo>
                <a:cubicBezTo>
                  <a:pt x="111" y="94"/>
                  <a:pt x="111" y="94"/>
                  <a:pt x="111" y="94"/>
                </a:cubicBezTo>
                <a:cubicBezTo>
                  <a:pt x="111" y="94"/>
                  <a:pt x="111" y="94"/>
                  <a:pt x="111" y="94"/>
                </a:cubicBezTo>
                <a:lnTo>
                  <a:pt x="103" y="86"/>
                </a:lnTo>
                <a:close/>
                <a:moveTo>
                  <a:pt x="84" y="81"/>
                </a:moveTo>
                <a:cubicBezTo>
                  <a:pt x="93" y="90"/>
                  <a:pt x="93" y="90"/>
                  <a:pt x="93" y="90"/>
                </a:cubicBezTo>
                <a:cubicBezTo>
                  <a:pt x="100" y="83"/>
                  <a:pt x="100" y="83"/>
                  <a:pt x="100" y="83"/>
                </a:cubicBezTo>
                <a:cubicBezTo>
                  <a:pt x="91" y="74"/>
                  <a:pt x="91" y="74"/>
                  <a:pt x="91" y="74"/>
                </a:cubicBezTo>
                <a:lnTo>
                  <a:pt x="84" y="81"/>
                </a:lnTo>
                <a:close/>
                <a:moveTo>
                  <a:pt x="83" y="100"/>
                </a:moveTo>
                <a:cubicBezTo>
                  <a:pt x="90" y="93"/>
                  <a:pt x="90" y="93"/>
                  <a:pt x="90" y="93"/>
                </a:cubicBezTo>
                <a:cubicBezTo>
                  <a:pt x="81" y="84"/>
                  <a:pt x="81" y="84"/>
                  <a:pt x="81" y="84"/>
                </a:cubicBezTo>
                <a:cubicBezTo>
                  <a:pt x="74" y="91"/>
                  <a:pt x="74" y="91"/>
                  <a:pt x="74" y="91"/>
                </a:cubicBezTo>
                <a:lnTo>
                  <a:pt x="83" y="100"/>
                </a:lnTo>
                <a:close/>
                <a:moveTo>
                  <a:pt x="94" y="111"/>
                </a:moveTo>
                <a:cubicBezTo>
                  <a:pt x="101" y="104"/>
                  <a:pt x="101" y="104"/>
                  <a:pt x="101" y="104"/>
                </a:cubicBezTo>
                <a:cubicBezTo>
                  <a:pt x="93" y="95"/>
                  <a:pt x="93" y="95"/>
                  <a:pt x="93" y="95"/>
                </a:cubicBezTo>
                <a:cubicBezTo>
                  <a:pt x="86" y="103"/>
                  <a:pt x="86" y="103"/>
                  <a:pt x="86" y="103"/>
                </a:cubicBezTo>
                <a:lnTo>
                  <a:pt x="94" y="111"/>
                </a:lnTo>
                <a:close/>
                <a:moveTo>
                  <a:pt x="112" y="115"/>
                </a:moveTo>
                <a:cubicBezTo>
                  <a:pt x="104" y="107"/>
                  <a:pt x="104" y="107"/>
                  <a:pt x="104" y="107"/>
                </a:cubicBezTo>
                <a:cubicBezTo>
                  <a:pt x="97" y="114"/>
                  <a:pt x="97" y="114"/>
                  <a:pt x="97" y="114"/>
                </a:cubicBezTo>
                <a:cubicBezTo>
                  <a:pt x="105" y="122"/>
                  <a:pt x="105" y="122"/>
                  <a:pt x="105" y="122"/>
                </a:cubicBezTo>
                <a:lnTo>
                  <a:pt x="112" y="115"/>
                </a:lnTo>
                <a:close/>
                <a:moveTo>
                  <a:pt x="115" y="112"/>
                </a:moveTo>
                <a:cubicBezTo>
                  <a:pt x="122" y="105"/>
                  <a:pt x="122" y="105"/>
                  <a:pt x="122" y="105"/>
                </a:cubicBezTo>
                <a:cubicBezTo>
                  <a:pt x="114" y="97"/>
                  <a:pt x="114" y="97"/>
                  <a:pt x="114" y="97"/>
                </a:cubicBezTo>
                <a:cubicBezTo>
                  <a:pt x="114" y="97"/>
                  <a:pt x="114" y="97"/>
                  <a:pt x="114" y="97"/>
                </a:cubicBezTo>
                <a:cubicBezTo>
                  <a:pt x="107" y="104"/>
                  <a:pt x="107" y="104"/>
                  <a:pt x="107" y="104"/>
                </a:cubicBezTo>
                <a:lnTo>
                  <a:pt x="115" y="112"/>
                </a:lnTo>
                <a:close/>
                <a:moveTo>
                  <a:pt x="59" y="37"/>
                </a:moveTo>
                <a:cubicBezTo>
                  <a:pt x="37" y="59"/>
                  <a:pt x="37" y="59"/>
                  <a:pt x="37" y="59"/>
                </a:cubicBezTo>
                <a:cubicBezTo>
                  <a:pt x="0" y="23"/>
                  <a:pt x="0" y="23"/>
                  <a:pt x="0" y="23"/>
                </a:cubicBezTo>
                <a:cubicBezTo>
                  <a:pt x="23" y="0"/>
                  <a:pt x="23" y="0"/>
                  <a:pt x="23" y="0"/>
                </a:cubicBezTo>
                <a:lnTo>
                  <a:pt x="59" y="37"/>
                </a:lnTo>
                <a:close/>
                <a:moveTo>
                  <a:pt x="38" y="35"/>
                </a:moveTo>
                <a:cubicBezTo>
                  <a:pt x="47" y="44"/>
                  <a:pt x="47" y="44"/>
                  <a:pt x="47" y="44"/>
                </a:cubicBezTo>
                <a:cubicBezTo>
                  <a:pt x="54" y="37"/>
                  <a:pt x="54" y="37"/>
                  <a:pt x="54" y="37"/>
                </a:cubicBezTo>
                <a:cubicBezTo>
                  <a:pt x="45" y="28"/>
                  <a:pt x="45" y="28"/>
                  <a:pt x="45" y="28"/>
                </a:cubicBezTo>
                <a:lnTo>
                  <a:pt x="38" y="35"/>
                </a:lnTo>
                <a:close/>
                <a:moveTo>
                  <a:pt x="42" y="25"/>
                </a:moveTo>
                <a:cubicBezTo>
                  <a:pt x="34" y="17"/>
                  <a:pt x="34" y="17"/>
                  <a:pt x="34" y="17"/>
                </a:cubicBezTo>
                <a:cubicBezTo>
                  <a:pt x="27" y="24"/>
                  <a:pt x="27" y="24"/>
                  <a:pt x="27" y="24"/>
                </a:cubicBezTo>
                <a:cubicBezTo>
                  <a:pt x="35" y="33"/>
                  <a:pt x="35" y="33"/>
                  <a:pt x="35" y="33"/>
                </a:cubicBezTo>
                <a:lnTo>
                  <a:pt x="42" y="25"/>
                </a:lnTo>
                <a:close/>
                <a:moveTo>
                  <a:pt x="23" y="6"/>
                </a:moveTo>
                <a:cubicBezTo>
                  <a:pt x="16" y="13"/>
                  <a:pt x="16" y="13"/>
                  <a:pt x="16" y="13"/>
                </a:cubicBezTo>
                <a:cubicBezTo>
                  <a:pt x="24" y="21"/>
                  <a:pt x="24" y="21"/>
                  <a:pt x="24" y="21"/>
                </a:cubicBezTo>
                <a:cubicBezTo>
                  <a:pt x="31" y="14"/>
                  <a:pt x="31" y="14"/>
                  <a:pt x="31" y="14"/>
                </a:cubicBezTo>
                <a:lnTo>
                  <a:pt x="23" y="6"/>
                </a:lnTo>
                <a:close/>
                <a:moveTo>
                  <a:pt x="6" y="23"/>
                </a:moveTo>
                <a:cubicBezTo>
                  <a:pt x="14" y="31"/>
                  <a:pt x="14" y="31"/>
                  <a:pt x="14" y="31"/>
                </a:cubicBezTo>
                <a:cubicBezTo>
                  <a:pt x="21" y="24"/>
                  <a:pt x="21" y="24"/>
                  <a:pt x="21" y="24"/>
                </a:cubicBezTo>
                <a:cubicBezTo>
                  <a:pt x="13" y="16"/>
                  <a:pt x="13" y="16"/>
                  <a:pt x="13" y="16"/>
                </a:cubicBezTo>
                <a:lnTo>
                  <a:pt x="6" y="23"/>
                </a:lnTo>
                <a:close/>
                <a:moveTo>
                  <a:pt x="25" y="42"/>
                </a:moveTo>
                <a:cubicBezTo>
                  <a:pt x="33" y="35"/>
                  <a:pt x="33" y="35"/>
                  <a:pt x="33" y="35"/>
                </a:cubicBezTo>
                <a:cubicBezTo>
                  <a:pt x="24" y="27"/>
                  <a:pt x="24" y="27"/>
                  <a:pt x="24" y="27"/>
                </a:cubicBezTo>
                <a:cubicBezTo>
                  <a:pt x="17" y="34"/>
                  <a:pt x="17" y="34"/>
                  <a:pt x="17" y="34"/>
                </a:cubicBezTo>
                <a:lnTo>
                  <a:pt x="25" y="42"/>
                </a:lnTo>
                <a:close/>
                <a:moveTo>
                  <a:pt x="37" y="54"/>
                </a:moveTo>
                <a:cubicBezTo>
                  <a:pt x="44" y="47"/>
                  <a:pt x="44" y="47"/>
                  <a:pt x="44" y="47"/>
                </a:cubicBezTo>
                <a:cubicBezTo>
                  <a:pt x="35" y="38"/>
                  <a:pt x="35" y="38"/>
                  <a:pt x="35" y="38"/>
                </a:cubicBezTo>
                <a:cubicBezTo>
                  <a:pt x="28" y="45"/>
                  <a:pt x="28" y="45"/>
                  <a:pt x="28" y="45"/>
                </a:cubicBezTo>
                <a:lnTo>
                  <a:pt x="37" y="54"/>
                </a:lnTo>
                <a:close/>
                <a:moveTo>
                  <a:pt x="112" y="44"/>
                </a:moveTo>
                <a:cubicBezTo>
                  <a:pt x="111" y="46"/>
                  <a:pt x="111" y="46"/>
                  <a:pt x="111" y="46"/>
                </a:cubicBezTo>
                <a:cubicBezTo>
                  <a:pt x="109" y="48"/>
                  <a:pt x="106" y="49"/>
                  <a:pt x="102" y="49"/>
                </a:cubicBezTo>
                <a:cubicBezTo>
                  <a:pt x="97" y="49"/>
                  <a:pt x="91" y="46"/>
                  <a:pt x="87" y="41"/>
                </a:cubicBezTo>
                <a:cubicBezTo>
                  <a:pt x="79" y="33"/>
                  <a:pt x="77" y="23"/>
                  <a:pt x="82" y="17"/>
                </a:cubicBezTo>
                <a:cubicBezTo>
                  <a:pt x="84" y="16"/>
                  <a:pt x="84" y="16"/>
                  <a:pt x="84" y="16"/>
                </a:cubicBezTo>
                <a:cubicBezTo>
                  <a:pt x="97" y="29"/>
                  <a:pt x="97" y="29"/>
                  <a:pt x="97" y="29"/>
                </a:cubicBezTo>
                <a:cubicBezTo>
                  <a:pt x="97" y="29"/>
                  <a:pt x="97" y="29"/>
                  <a:pt x="97" y="29"/>
                </a:cubicBezTo>
                <a:cubicBezTo>
                  <a:pt x="107" y="19"/>
                  <a:pt x="107" y="19"/>
                  <a:pt x="107" y="19"/>
                </a:cubicBezTo>
                <a:cubicBezTo>
                  <a:pt x="109" y="21"/>
                  <a:pt x="109" y="21"/>
                  <a:pt x="109" y="21"/>
                </a:cubicBezTo>
                <a:cubicBezTo>
                  <a:pt x="99" y="31"/>
                  <a:pt x="99" y="31"/>
                  <a:pt x="99" y="31"/>
                </a:cubicBezTo>
                <a:cubicBezTo>
                  <a:pt x="99" y="31"/>
                  <a:pt x="99" y="31"/>
                  <a:pt x="99" y="31"/>
                </a:cubicBezTo>
                <a:lnTo>
                  <a:pt x="112" y="44"/>
                </a:lnTo>
                <a:close/>
                <a:moveTo>
                  <a:pt x="106" y="44"/>
                </a:moveTo>
                <a:cubicBezTo>
                  <a:pt x="84" y="22"/>
                  <a:pt x="84" y="22"/>
                  <a:pt x="84" y="22"/>
                </a:cubicBezTo>
                <a:cubicBezTo>
                  <a:pt x="82" y="26"/>
                  <a:pt x="84" y="33"/>
                  <a:pt x="89" y="39"/>
                </a:cubicBezTo>
                <a:cubicBezTo>
                  <a:pt x="93" y="42"/>
                  <a:pt x="98" y="45"/>
                  <a:pt x="102" y="45"/>
                </a:cubicBezTo>
                <a:cubicBezTo>
                  <a:pt x="104" y="45"/>
                  <a:pt x="105" y="45"/>
                  <a:pt x="106" y="4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7" name="Freeform 139">
            <a:extLst>
              <a:ext uri="{FF2B5EF4-FFF2-40B4-BE49-F238E27FC236}">
                <a16:creationId xmlns:a16="http://schemas.microsoft.com/office/drawing/2014/main" id="{C9649404-38CC-4816-9CDC-D37F7265506F}"/>
              </a:ext>
            </a:extLst>
          </p:cNvPr>
          <p:cNvSpPr>
            <a:spLocks noEditPoints="1"/>
          </p:cNvSpPr>
          <p:nvPr/>
        </p:nvSpPr>
        <p:spPr bwMode="auto">
          <a:xfrm>
            <a:off x="1711901" y="4104783"/>
            <a:ext cx="323800" cy="359776"/>
          </a:xfrm>
          <a:custGeom>
            <a:avLst/>
            <a:gdLst>
              <a:gd name="T0" fmla="*/ 71 w 115"/>
              <a:gd name="T1" fmla="*/ 47 h 128"/>
              <a:gd name="T2" fmla="*/ 80 w 115"/>
              <a:gd name="T3" fmla="*/ 38 h 128"/>
              <a:gd name="T4" fmla="*/ 84 w 115"/>
              <a:gd name="T5" fmla="*/ 39 h 128"/>
              <a:gd name="T6" fmla="*/ 90 w 115"/>
              <a:gd name="T7" fmla="*/ 37 h 128"/>
              <a:gd name="T8" fmla="*/ 92 w 115"/>
              <a:gd name="T9" fmla="*/ 31 h 128"/>
              <a:gd name="T10" fmla="*/ 90 w 115"/>
              <a:gd name="T11" fmla="*/ 25 h 128"/>
              <a:gd name="T12" fmla="*/ 78 w 115"/>
              <a:gd name="T13" fmla="*/ 25 h 128"/>
              <a:gd name="T14" fmla="*/ 77 w 115"/>
              <a:gd name="T15" fmla="*/ 35 h 128"/>
              <a:gd name="T16" fmla="*/ 68 w 115"/>
              <a:gd name="T17" fmla="*/ 44 h 128"/>
              <a:gd name="T18" fmla="*/ 24 w 115"/>
              <a:gd name="T19" fmla="*/ 0 h 128"/>
              <a:gd name="T20" fmla="*/ 23 w 115"/>
              <a:gd name="T21" fmla="*/ 1 h 128"/>
              <a:gd name="T22" fmla="*/ 36 w 115"/>
              <a:gd name="T23" fmla="*/ 79 h 128"/>
              <a:gd name="T24" fmla="*/ 86 w 115"/>
              <a:gd name="T25" fmla="*/ 102 h 128"/>
              <a:gd name="T26" fmla="*/ 114 w 115"/>
              <a:gd name="T27" fmla="*/ 92 h 128"/>
              <a:gd name="T28" fmla="*/ 115 w 115"/>
              <a:gd name="T29" fmla="*/ 91 h 128"/>
              <a:gd name="T30" fmla="*/ 71 w 115"/>
              <a:gd name="T31" fmla="*/ 47 h 128"/>
              <a:gd name="T32" fmla="*/ 86 w 115"/>
              <a:gd name="T33" fmla="*/ 98 h 128"/>
              <a:gd name="T34" fmla="*/ 39 w 115"/>
              <a:gd name="T35" fmla="*/ 76 h 128"/>
              <a:gd name="T36" fmla="*/ 25 w 115"/>
              <a:gd name="T37" fmla="*/ 6 h 128"/>
              <a:gd name="T38" fmla="*/ 109 w 115"/>
              <a:gd name="T39" fmla="*/ 90 h 128"/>
              <a:gd name="T40" fmla="*/ 86 w 115"/>
              <a:gd name="T41" fmla="*/ 98 h 128"/>
              <a:gd name="T42" fmla="*/ 54 w 115"/>
              <a:gd name="T43" fmla="*/ 97 h 128"/>
              <a:gd name="T44" fmla="*/ 33 w 115"/>
              <a:gd name="T45" fmla="*/ 82 h 128"/>
              <a:gd name="T46" fmla="*/ 29 w 115"/>
              <a:gd name="T47" fmla="*/ 78 h 128"/>
              <a:gd name="T48" fmla="*/ 27 w 115"/>
              <a:gd name="T49" fmla="*/ 76 h 128"/>
              <a:gd name="T50" fmla="*/ 0 w 115"/>
              <a:gd name="T51" fmla="*/ 128 h 128"/>
              <a:gd name="T52" fmla="*/ 70 w 115"/>
              <a:gd name="T53" fmla="*/ 128 h 128"/>
              <a:gd name="T54" fmla="*/ 54 w 115"/>
              <a:gd name="T55" fmla="*/ 98 h 128"/>
              <a:gd name="T56" fmla="*/ 54 w 115"/>
              <a:gd name="T57" fmla="*/ 97 h 128"/>
              <a:gd name="T58" fmla="*/ 6 w 115"/>
              <a:gd name="T59" fmla="*/ 124 h 128"/>
              <a:gd name="T60" fmla="*/ 28 w 115"/>
              <a:gd name="T61" fmla="*/ 83 h 128"/>
              <a:gd name="T62" fmla="*/ 30 w 115"/>
              <a:gd name="T63" fmla="*/ 85 h 128"/>
              <a:gd name="T64" fmla="*/ 51 w 115"/>
              <a:gd name="T65" fmla="*/ 101 h 128"/>
              <a:gd name="T66" fmla="*/ 64 w 115"/>
              <a:gd name="T67" fmla="*/ 124 h 128"/>
              <a:gd name="T68" fmla="*/ 6 w 115"/>
              <a:gd name="T69" fmla="*/ 12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5" h="128">
                <a:moveTo>
                  <a:pt x="71" y="47"/>
                </a:moveTo>
                <a:cubicBezTo>
                  <a:pt x="80" y="38"/>
                  <a:pt x="80" y="38"/>
                  <a:pt x="80" y="38"/>
                </a:cubicBezTo>
                <a:cubicBezTo>
                  <a:pt x="81" y="39"/>
                  <a:pt x="82" y="39"/>
                  <a:pt x="84" y="39"/>
                </a:cubicBezTo>
                <a:cubicBezTo>
                  <a:pt x="86" y="39"/>
                  <a:pt x="88" y="38"/>
                  <a:pt x="90" y="37"/>
                </a:cubicBezTo>
                <a:cubicBezTo>
                  <a:pt x="91" y="35"/>
                  <a:pt x="92" y="33"/>
                  <a:pt x="92" y="31"/>
                </a:cubicBezTo>
                <a:cubicBezTo>
                  <a:pt x="92" y="29"/>
                  <a:pt x="91" y="27"/>
                  <a:pt x="90" y="25"/>
                </a:cubicBezTo>
                <a:cubicBezTo>
                  <a:pt x="87" y="22"/>
                  <a:pt x="81" y="22"/>
                  <a:pt x="78" y="25"/>
                </a:cubicBezTo>
                <a:cubicBezTo>
                  <a:pt x="76" y="28"/>
                  <a:pt x="75" y="32"/>
                  <a:pt x="77" y="35"/>
                </a:cubicBezTo>
                <a:cubicBezTo>
                  <a:pt x="68" y="44"/>
                  <a:pt x="68" y="44"/>
                  <a:pt x="68" y="44"/>
                </a:cubicBezTo>
                <a:cubicBezTo>
                  <a:pt x="24" y="0"/>
                  <a:pt x="24" y="0"/>
                  <a:pt x="24" y="0"/>
                </a:cubicBezTo>
                <a:cubicBezTo>
                  <a:pt x="23" y="1"/>
                  <a:pt x="23" y="1"/>
                  <a:pt x="23" y="1"/>
                </a:cubicBezTo>
                <a:cubicBezTo>
                  <a:pt x="5" y="19"/>
                  <a:pt x="11" y="54"/>
                  <a:pt x="36" y="79"/>
                </a:cubicBezTo>
                <a:cubicBezTo>
                  <a:pt x="50" y="94"/>
                  <a:pt x="69" y="102"/>
                  <a:pt x="86" y="102"/>
                </a:cubicBezTo>
                <a:cubicBezTo>
                  <a:pt x="97" y="102"/>
                  <a:pt x="107" y="99"/>
                  <a:pt x="114" y="92"/>
                </a:cubicBezTo>
                <a:cubicBezTo>
                  <a:pt x="115" y="91"/>
                  <a:pt x="115" y="91"/>
                  <a:pt x="115" y="91"/>
                </a:cubicBezTo>
                <a:lnTo>
                  <a:pt x="71" y="47"/>
                </a:lnTo>
                <a:close/>
                <a:moveTo>
                  <a:pt x="86" y="98"/>
                </a:moveTo>
                <a:cubicBezTo>
                  <a:pt x="70" y="98"/>
                  <a:pt x="52" y="90"/>
                  <a:pt x="39" y="76"/>
                </a:cubicBezTo>
                <a:cubicBezTo>
                  <a:pt x="16" y="54"/>
                  <a:pt x="10" y="22"/>
                  <a:pt x="25" y="6"/>
                </a:cubicBezTo>
                <a:cubicBezTo>
                  <a:pt x="109" y="90"/>
                  <a:pt x="109" y="90"/>
                  <a:pt x="109" y="90"/>
                </a:cubicBezTo>
                <a:cubicBezTo>
                  <a:pt x="103" y="96"/>
                  <a:pt x="95" y="98"/>
                  <a:pt x="86" y="98"/>
                </a:cubicBezTo>
                <a:close/>
                <a:moveTo>
                  <a:pt x="54" y="97"/>
                </a:moveTo>
                <a:cubicBezTo>
                  <a:pt x="46" y="93"/>
                  <a:pt x="39" y="88"/>
                  <a:pt x="33" y="82"/>
                </a:cubicBezTo>
                <a:cubicBezTo>
                  <a:pt x="32" y="81"/>
                  <a:pt x="31" y="79"/>
                  <a:pt x="29" y="78"/>
                </a:cubicBezTo>
                <a:cubicBezTo>
                  <a:pt x="27" y="76"/>
                  <a:pt x="27" y="76"/>
                  <a:pt x="27" y="76"/>
                </a:cubicBezTo>
                <a:cubicBezTo>
                  <a:pt x="0" y="128"/>
                  <a:pt x="0" y="128"/>
                  <a:pt x="0" y="128"/>
                </a:cubicBezTo>
                <a:cubicBezTo>
                  <a:pt x="70" y="128"/>
                  <a:pt x="70" y="128"/>
                  <a:pt x="70" y="128"/>
                </a:cubicBezTo>
                <a:cubicBezTo>
                  <a:pt x="54" y="98"/>
                  <a:pt x="54" y="98"/>
                  <a:pt x="54" y="98"/>
                </a:cubicBezTo>
                <a:lnTo>
                  <a:pt x="54" y="97"/>
                </a:lnTo>
                <a:close/>
                <a:moveTo>
                  <a:pt x="6" y="124"/>
                </a:moveTo>
                <a:cubicBezTo>
                  <a:pt x="28" y="83"/>
                  <a:pt x="28" y="83"/>
                  <a:pt x="28" y="83"/>
                </a:cubicBezTo>
                <a:cubicBezTo>
                  <a:pt x="29" y="84"/>
                  <a:pt x="30" y="84"/>
                  <a:pt x="30" y="85"/>
                </a:cubicBezTo>
                <a:cubicBezTo>
                  <a:pt x="36" y="91"/>
                  <a:pt x="43" y="96"/>
                  <a:pt x="51" y="101"/>
                </a:cubicBezTo>
                <a:cubicBezTo>
                  <a:pt x="64" y="124"/>
                  <a:pt x="64" y="124"/>
                  <a:pt x="64" y="124"/>
                </a:cubicBezTo>
                <a:lnTo>
                  <a:pt x="6" y="12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143">
            <a:extLst>
              <a:ext uri="{FF2B5EF4-FFF2-40B4-BE49-F238E27FC236}">
                <a16:creationId xmlns:a16="http://schemas.microsoft.com/office/drawing/2014/main" id="{2CBCC0C3-CCB2-4148-859C-CB2F1B5FF429}"/>
              </a:ext>
            </a:extLst>
          </p:cNvPr>
          <p:cNvSpPr>
            <a:spLocks noEditPoints="1"/>
          </p:cNvSpPr>
          <p:nvPr/>
        </p:nvSpPr>
        <p:spPr bwMode="auto">
          <a:xfrm>
            <a:off x="2717482" y="4103399"/>
            <a:ext cx="334870" cy="361160"/>
          </a:xfrm>
          <a:custGeom>
            <a:avLst/>
            <a:gdLst>
              <a:gd name="T0" fmla="*/ 68 w 119"/>
              <a:gd name="T1" fmla="*/ 112 h 128"/>
              <a:gd name="T2" fmla="*/ 30 w 119"/>
              <a:gd name="T3" fmla="*/ 89 h 128"/>
              <a:gd name="T4" fmla="*/ 29 w 119"/>
              <a:gd name="T5" fmla="*/ 88 h 128"/>
              <a:gd name="T6" fmla="*/ 24 w 119"/>
              <a:gd name="T7" fmla="*/ 83 h 128"/>
              <a:gd name="T8" fmla="*/ 0 w 119"/>
              <a:gd name="T9" fmla="*/ 128 h 128"/>
              <a:gd name="T10" fmla="*/ 78 w 119"/>
              <a:gd name="T11" fmla="*/ 128 h 128"/>
              <a:gd name="T12" fmla="*/ 70 w 119"/>
              <a:gd name="T13" fmla="*/ 113 h 128"/>
              <a:gd name="T14" fmla="*/ 68 w 119"/>
              <a:gd name="T15" fmla="*/ 112 h 128"/>
              <a:gd name="T16" fmla="*/ 14 w 119"/>
              <a:gd name="T17" fmla="*/ 120 h 128"/>
              <a:gd name="T18" fmla="*/ 26 w 119"/>
              <a:gd name="T19" fmla="*/ 97 h 128"/>
              <a:gd name="T20" fmla="*/ 64 w 119"/>
              <a:gd name="T21" fmla="*/ 120 h 128"/>
              <a:gd name="T22" fmla="*/ 64 w 119"/>
              <a:gd name="T23" fmla="*/ 120 h 128"/>
              <a:gd name="T24" fmla="*/ 14 w 119"/>
              <a:gd name="T25" fmla="*/ 120 h 128"/>
              <a:gd name="T26" fmla="*/ 75 w 119"/>
              <a:gd name="T27" fmla="*/ 49 h 128"/>
              <a:gd name="T28" fmla="*/ 81 w 119"/>
              <a:gd name="T29" fmla="*/ 43 h 128"/>
              <a:gd name="T30" fmla="*/ 85 w 119"/>
              <a:gd name="T31" fmla="*/ 44 h 128"/>
              <a:gd name="T32" fmla="*/ 92 w 119"/>
              <a:gd name="T33" fmla="*/ 41 h 128"/>
              <a:gd name="T34" fmla="*/ 95 w 119"/>
              <a:gd name="T35" fmla="*/ 34 h 128"/>
              <a:gd name="T36" fmla="*/ 92 w 119"/>
              <a:gd name="T37" fmla="*/ 27 h 128"/>
              <a:gd name="T38" fmla="*/ 78 w 119"/>
              <a:gd name="T39" fmla="*/ 27 h 128"/>
              <a:gd name="T40" fmla="*/ 76 w 119"/>
              <a:gd name="T41" fmla="*/ 38 h 128"/>
              <a:gd name="T42" fmla="*/ 70 w 119"/>
              <a:gd name="T43" fmla="*/ 44 h 128"/>
              <a:gd name="T44" fmla="*/ 26 w 119"/>
              <a:gd name="T45" fmla="*/ 0 h 128"/>
              <a:gd name="T46" fmla="*/ 23 w 119"/>
              <a:gd name="T47" fmla="*/ 3 h 128"/>
              <a:gd name="T48" fmla="*/ 36 w 119"/>
              <a:gd name="T49" fmla="*/ 83 h 128"/>
              <a:gd name="T50" fmla="*/ 87 w 119"/>
              <a:gd name="T51" fmla="*/ 107 h 128"/>
              <a:gd name="T52" fmla="*/ 116 w 119"/>
              <a:gd name="T53" fmla="*/ 96 h 128"/>
              <a:gd name="T54" fmla="*/ 119 w 119"/>
              <a:gd name="T55" fmla="*/ 93 h 128"/>
              <a:gd name="T56" fmla="*/ 75 w 119"/>
              <a:gd name="T57" fmla="*/ 49 h 128"/>
              <a:gd name="T58" fmla="*/ 87 w 119"/>
              <a:gd name="T59" fmla="*/ 99 h 128"/>
              <a:gd name="T60" fmla="*/ 41 w 119"/>
              <a:gd name="T61" fmla="*/ 78 h 128"/>
              <a:gd name="T62" fmla="*/ 26 w 119"/>
              <a:gd name="T63" fmla="*/ 12 h 128"/>
              <a:gd name="T64" fmla="*/ 107 w 119"/>
              <a:gd name="T65" fmla="*/ 93 h 128"/>
              <a:gd name="T66" fmla="*/ 87 w 119"/>
              <a:gd name="T67" fmla="*/ 9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 h="128">
                <a:moveTo>
                  <a:pt x="68" y="112"/>
                </a:moveTo>
                <a:cubicBezTo>
                  <a:pt x="54" y="108"/>
                  <a:pt x="41" y="100"/>
                  <a:pt x="30" y="89"/>
                </a:cubicBezTo>
                <a:cubicBezTo>
                  <a:pt x="30" y="89"/>
                  <a:pt x="29" y="88"/>
                  <a:pt x="29" y="88"/>
                </a:cubicBezTo>
                <a:cubicBezTo>
                  <a:pt x="24" y="83"/>
                  <a:pt x="24" y="83"/>
                  <a:pt x="24" y="83"/>
                </a:cubicBezTo>
                <a:cubicBezTo>
                  <a:pt x="0" y="128"/>
                  <a:pt x="0" y="128"/>
                  <a:pt x="0" y="128"/>
                </a:cubicBezTo>
                <a:cubicBezTo>
                  <a:pt x="78" y="128"/>
                  <a:pt x="78" y="128"/>
                  <a:pt x="78" y="128"/>
                </a:cubicBezTo>
                <a:cubicBezTo>
                  <a:pt x="70" y="113"/>
                  <a:pt x="70" y="113"/>
                  <a:pt x="70" y="113"/>
                </a:cubicBezTo>
                <a:lnTo>
                  <a:pt x="68" y="112"/>
                </a:lnTo>
                <a:close/>
                <a:moveTo>
                  <a:pt x="14" y="120"/>
                </a:moveTo>
                <a:cubicBezTo>
                  <a:pt x="26" y="97"/>
                  <a:pt x="26" y="97"/>
                  <a:pt x="26" y="97"/>
                </a:cubicBezTo>
                <a:cubicBezTo>
                  <a:pt x="37" y="107"/>
                  <a:pt x="50" y="115"/>
                  <a:pt x="64" y="120"/>
                </a:cubicBezTo>
                <a:cubicBezTo>
                  <a:pt x="64" y="120"/>
                  <a:pt x="64" y="120"/>
                  <a:pt x="64" y="120"/>
                </a:cubicBezTo>
                <a:lnTo>
                  <a:pt x="14" y="120"/>
                </a:lnTo>
                <a:close/>
                <a:moveTo>
                  <a:pt x="75" y="49"/>
                </a:moveTo>
                <a:cubicBezTo>
                  <a:pt x="81" y="43"/>
                  <a:pt x="81" y="43"/>
                  <a:pt x="81" y="43"/>
                </a:cubicBezTo>
                <a:cubicBezTo>
                  <a:pt x="83" y="44"/>
                  <a:pt x="84" y="44"/>
                  <a:pt x="85" y="44"/>
                </a:cubicBezTo>
                <a:cubicBezTo>
                  <a:pt x="88" y="44"/>
                  <a:pt x="90" y="43"/>
                  <a:pt x="92" y="41"/>
                </a:cubicBezTo>
                <a:cubicBezTo>
                  <a:pt x="94" y="39"/>
                  <a:pt x="95" y="37"/>
                  <a:pt x="95" y="34"/>
                </a:cubicBezTo>
                <a:cubicBezTo>
                  <a:pt x="95" y="31"/>
                  <a:pt x="94" y="29"/>
                  <a:pt x="92" y="27"/>
                </a:cubicBezTo>
                <a:cubicBezTo>
                  <a:pt x="88" y="23"/>
                  <a:pt x="82" y="23"/>
                  <a:pt x="78" y="27"/>
                </a:cubicBezTo>
                <a:cubicBezTo>
                  <a:pt x="75" y="30"/>
                  <a:pt x="74" y="34"/>
                  <a:pt x="76" y="38"/>
                </a:cubicBezTo>
                <a:cubicBezTo>
                  <a:pt x="70" y="44"/>
                  <a:pt x="70" y="44"/>
                  <a:pt x="70" y="44"/>
                </a:cubicBezTo>
                <a:cubicBezTo>
                  <a:pt x="26" y="0"/>
                  <a:pt x="26" y="0"/>
                  <a:pt x="26" y="0"/>
                </a:cubicBezTo>
                <a:cubicBezTo>
                  <a:pt x="23" y="3"/>
                  <a:pt x="23" y="3"/>
                  <a:pt x="23" y="3"/>
                </a:cubicBezTo>
                <a:cubicBezTo>
                  <a:pt x="4" y="22"/>
                  <a:pt x="10" y="58"/>
                  <a:pt x="36" y="83"/>
                </a:cubicBezTo>
                <a:cubicBezTo>
                  <a:pt x="50" y="98"/>
                  <a:pt x="70" y="107"/>
                  <a:pt x="87" y="107"/>
                </a:cubicBezTo>
                <a:cubicBezTo>
                  <a:pt x="99" y="107"/>
                  <a:pt x="109" y="103"/>
                  <a:pt x="116" y="96"/>
                </a:cubicBezTo>
                <a:cubicBezTo>
                  <a:pt x="119" y="93"/>
                  <a:pt x="119" y="93"/>
                  <a:pt x="119" y="93"/>
                </a:cubicBezTo>
                <a:lnTo>
                  <a:pt x="75" y="49"/>
                </a:lnTo>
                <a:close/>
                <a:moveTo>
                  <a:pt x="87" y="99"/>
                </a:moveTo>
                <a:cubicBezTo>
                  <a:pt x="72" y="99"/>
                  <a:pt x="55" y="91"/>
                  <a:pt x="41" y="78"/>
                </a:cubicBezTo>
                <a:cubicBezTo>
                  <a:pt x="20" y="57"/>
                  <a:pt x="14" y="28"/>
                  <a:pt x="26" y="12"/>
                </a:cubicBezTo>
                <a:cubicBezTo>
                  <a:pt x="107" y="93"/>
                  <a:pt x="107" y="93"/>
                  <a:pt x="107" y="93"/>
                </a:cubicBezTo>
                <a:cubicBezTo>
                  <a:pt x="102" y="97"/>
                  <a:pt x="95" y="99"/>
                  <a:pt x="87" y="9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151">
            <a:extLst>
              <a:ext uri="{FF2B5EF4-FFF2-40B4-BE49-F238E27FC236}">
                <a16:creationId xmlns:a16="http://schemas.microsoft.com/office/drawing/2014/main" id="{E8829B2A-81AD-4B44-B08A-9F84299EA3FE}"/>
              </a:ext>
            </a:extLst>
          </p:cNvPr>
          <p:cNvSpPr>
            <a:spLocks noEditPoints="1"/>
          </p:cNvSpPr>
          <p:nvPr/>
        </p:nvSpPr>
        <p:spPr bwMode="auto">
          <a:xfrm>
            <a:off x="3749772" y="4104783"/>
            <a:ext cx="361160" cy="359776"/>
          </a:xfrm>
          <a:custGeom>
            <a:avLst/>
            <a:gdLst>
              <a:gd name="T0" fmla="*/ 128 w 128"/>
              <a:gd name="T1" fmla="*/ 117 h 128"/>
              <a:gd name="T2" fmla="*/ 94 w 128"/>
              <a:gd name="T3" fmla="*/ 83 h 128"/>
              <a:gd name="T4" fmla="*/ 104 w 128"/>
              <a:gd name="T5" fmla="*/ 52 h 128"/>
              <a:gd name="T6" fmla="*/ 52 w 128"/>
              <a:gd name="T7" fmla="*/ 0 h 128"/>
              <a:gd name="T8" fmla="*/ 0 w 128"/>
              <a:gd name="T9" fmla="*/ 52 h 128"/>
              <a:gd name="T10" fmla="*/ 52 w 128"/>
              <a:gd name="T11" fmla="*/ 104 h 128"/>
              <a:gd name="T12" fmla="*/ 83 w 128"/>
              <a:gd name="T13" fmla="*/ 94 h 128"/>
              <a:gd name="T14" fmla="*/ 117 w 128"/>
              <a:gd name="T15" fmla="*/ 128 h 128"/>
              <a:gd name="T16" fmla="*/ 128 w 128"/>
              <a:gd name="T17" fmla="*/ 117 h 128"/>
              <a:gd name="T18" fmla="*/ 8 w 128"/>
              <a:gd name="T19" fmla="*/ 52 h 128"/>
              <a:gd name="T20" fmla="*/ 52 w 128"/>
              <a:gd name="T21" fmla="*/ 8 h 128"/>
              <a:gd name="T22" fmla="*/ 96 w 128"/>
              <a:gd name="T23" fmla="*/ 52 h 128"/>
              <a:gd name="T24" fmla="*/ 52 w 128"/>
              <a:gd name="T25" fmla="*/ 96 h 128"/>
              <a:gd name="T26" fmla="*/ 8 w 128"/>
              <a:gd name="T27" fmla="*/ 5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128">
                <a:moveTo>
                  <a:pt x="128" y="117"/>
                </a:moveTo>
                <a:cubicBezTo>
                  <a:pt x="94" y="83"/>
                  <a:pt x="94" y="83"/>
                  <a:pt x="94" y="83"/>
                </a:cubicBezTo>
                <a:cubicBezTo>
                  <a:pt x="100" y="74"/>
                  <a:pt x="104" y="63"/>
                  <a:pt x="104" y="52"/>
                </a:cubicBezTo>
                <a:cubicBezTo>
                  <a:pt x="104" y="23"/>
                  <a:pt x="81" y="0"/>
                  <a:pt x="52" y="0"/>
                </a:cubicBezTo>
                <a:cubicBezTo>
                  <a:pt x="23" y="0"/>
                  <a:pt x="0" y="23"/>
                  <a:pt x="0" y="52"/>
                </a:cubicBezTo>
                <a:cubicBezTo>
                  <a:pt x="0" y="81"/>
                  <a:pt x="23" y="104"/>
                  <a:pt x="52" y="104"/>
                </a:cubicBezTo>
                <a:cubicBezTo>
                  <a:pt x="63" y="104"/>
                  <a:pt x="74" y="100"/>
                  <a:pt x="83" y="94"/>
                </a:cubicBezTo>
                <a:cubicBezTo>
                  <a:pt x="117" y="128"/>
                  <a:pt x="117" y="128"/>
                  <a:pt x="117" y="128"/>
                </a:cubicBezTo>
                <a:lnTo>
                  <a:pt x="128" y="117"/>
                </a:lnTo>
                <a:close/>
                <a:moveTo>
                  <a:pt x="8" y="52"/>
                </a:moveTo>
                <a:cubicBezTo>
                  <a:pt x="8" y="28"/>
                  <a:pt x="28" y="8"/>
                  <a:pt x="52" y="8"/>
                </a:cubicBezTo>
                <a:cubicBezTo>
                  <a:pt x="76" y="8"/>
                  <a:pt x="96" y="28"/>
                  <a:pt x="96" y="52"/>
                </a:cubicBezTo>
                <a:cubicBezTo>
                  <a:pt x="96" y="76"/>
                  <a:pt x="76" y="96"/>
                  <a:pt x="52" y="96"/>
                </a:cubicBezTo>
                <a:cubicBezTo>
                  <a:pt x="28" y="96"/>
                  <a:pt x="8" y="76"/>
                  <a:pt x="8" y="5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0" name="Freeform 155">
            <a:extLst>
              <a:ext uri="{FF2B5EF4-FFF2-40B4-BE49-F238E27FC236}">
                <a16:creationId xmlns:a16="http://schemas.microsoft.com/office/drawing/2014/main" id="{5FBEDF6C-3113-4122-9768-09C0B6970D5C}"/>
              </a:ext>
            </a:extLst>
          </p:cNvPr>
          <p:cNvSpPr>
            <a:spLocks noEditPoints="1"/>
          </p:cNvSpPr>
          <p:nvPr/>
        </p:nvSpPr>
        <p:spPr bwMode="auto">
          <a:xfrm>
            <a:off x="5028452" y="1636277"/>
            <a:ext cx="368806" cy="368806"/>
          </a:xfrm>
          <a:custGeom>
            <a:avLst/>
            <a:gdLst>
              <a:gd name="T0" fmla="*/ 199 w 260"/>
              <a:gd name="T1" fmla="*/ 61 h 260"/>
              <a:gd name="T2" fmla="*/ 162 w 260"/>
              <a:gd name="T3" fmla="*/ 67 h 260"/>
              <a:gd name="T4" fmla="*/ 221 w 260"/>
              <a:gd name="T5" fmla="*/ 79 h 260"/>
              <a:gd name="T6" fmla="*/ 225 w 260"/>
              <a:gd name="T7" fmla="*/ 126 h 260"/>
              <a:gd name="T8" fmla="*/ 221 w 260"/>
              <a:gd name="T9" fmla="*/ 79 h 260"/>
              <a:gd name="T10" fmla="*/ 150 w 260"/>
              <a:gd name="T11" fmla="*/ 240 h 260"/>
              <a:gd name="T12" fmla="*/ 110 w 260"/>
              <a:gd name="T13" fmla="*/ 231 h 260"/>
              <a:gd name="T14" fmla="*/ 203 w 260"/>
              <a:gd name="T15" fmla="*/ 39 h 260"/>
              <a:gd name="T16" fmla="*/ 231 w 260"/>
              <a:gd name="T17" fmla="*/ 39 h 260"/>
              <a:gd name="T18" fmla="*/ 242 w 260"/>
              <a:gd name="T19" fmla="*/ 67 h 260"/>
              <a:gd name="T20" fmla="*/ 203 w 260"/>
              <a:gd name="T21" fmla="*/ 39 h 260"/>
              <a:gd name="T22" fmla="*/ 132 w 260"/>
              <a:gd name="T23" fmla="*/ 110 h 260"/>
              <a:gd name="T24" fmla="*/ 150 w 260"/>
              <a:gd name="T25" fmla="*/ 77 h 260"/>
              <a:gd name="T26" fmla="*/ 219 w 260"/>
              <a:gd name="T27" fmla="*/ 140 h 260"/>
              <a:gd name="T28" fmla="*/ 193 w 260"/>
              <a:gd name="T29" fmla="*/ 179 h 260"/>
              <a:gd name="T30" fmla="*/ 219 w 260"/>
              <a:gd name="T31" fmla="*/ 140 h 260"/>
              <a:gd name="T32" fmla="*/ 183 w 260"/>
              <a:gd name="T33" fmla="*/ 215 h 260"/>
              <a:gd name="T34" fmla="*/ 167 w 260"/>
              <a:gd name="T35" fmla="*/ 236 h 260"/>
              <a:gd name="T36" fmla="*/ 203 w 260"/>
              <a:gd name="T37" fmla="*/ 199 h 260"/>
              <a:gd name="T38" fmla="*/ 93 w 260"/>
              <a:gd name="T39" fmla="*/ 236 h 260"/>
              <a:gd name="T40" fmla="*/ 65 w 260"/>
              <a:gd name="T41" fmla="*/ 213 h 260"/>
              <a:gd name="T42" fmla="*/ 65 w 260"/>
              <a:gd name="T43" fmla="*/ 260 h 260"/>
              <a:gd name="T44" fmla="*/ 93 w 260"/>
              <a:gd name="T45" fmla="*/ 236 h 260"/>
              <a:gd name="T46" fmla="*/ 91 w 260"/>
              <a:gd name="T47" fmla="*/ 128 h 260"/>
              <a:gd name="T48" fmla="*/ 106 w 260"/>
              <a:gd name="T49" fmla="*/ 126 h 260"/>
              <a:gd name="T50" fmla="*/ 110 w 260"/>
              <a:gd name="T51" fmla="*/ 106 h 260"/>
              <a:gd name="T52" fmla="*/ 75 w 260"/>
              <a:gd name="T53" fmla="*/ 106 h 260"/>
              <a:gd name="T54" fmla="*/ 45 w 260"/>
              <a:gd name="T55" fmla="*/ 203 h 260"/>
              <a:gd name="T56" fmla="*/ 43 w 260"/>
              <a:gd name="T57" fmla="*/ 152 h 260"/>
              <a:gd name="T58" fmla="*/ 45 w 260"/>
              <a:gd name="T59" fmla="*/ 203 h 260"/>
              <a:gd name="T60" fmla="*/ 26 w 260"/>
              <a:gd name="T61" fmla="*/ 108 h 260"/>
              <a:gd name="T62" fmla="*/ 61 w 260"/>
              <a:gd name="T63" fmla="*/ 102 h 260"/>
              <a:gd name="T64" fmla="*/ 22 w 260"/>
              <a:gd name="T65" fmla="*/ 14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0" h="260">
                <a:moveTo>
                  <a:pt x="191" y="49"/>
                </a:moveTo>
                <a:lnTo>
                  <a:pt x="199" y="61"/>
                </a:lnTo>
                <a:lnTo>
                  <a:pt x="173" y="81"/>
                </a:lnTo>
                <a:lnTo>
                  <a:pt x="162" y="67"/>
                </a:lnTo>
                <a:lnTo>
                  <a:pt x="191" y="49"/>
                </a:lnTo>
                <a:close/>
                <a:moveTo>
                  <a:pt x="221" y="79"/>
                </a:moveTo>
                <a:lnTo>
                  <a:pt x="209" y="120"/>
                </a:lnTo>
                <a:lnTo>
                  <a:pt x="225" y="126"/>
                </a:lnTo>
                <a:lnTo>
                  <a:pt x="236" y="83"/>
                </a:lnTo>
                <a:lnTo>
                  <a:pt x="221" y="79"/>
                </a:lnTo>
                <a:close/>
                <a:moveTo>
                  <a:pt x="114" y="248"/>
                </a:moveTo>
                <a:lnTo>
                  <a:pt x="150" y="240"/>
                </a:lnTo>
                <a:lnTo>
                  <a:pt x="146" y="223"/>
                </a:lnTo>
                <a:lnTo>
                  <a:pt x="110" y="231"/>
                </a:lnTo>
                <a:lnTo>
                  <a:pt x="114" y="248"/>
                </a:lnTo>
                <a:close/>
                <a:moveTo>
                  <a:pt x="203" y="39"/>
                </a:moveTo>
                <a:lnTo>
                  <a:pt x="213" y="53"/>
                </a:lnTo>
                <a:lnTo>
                  <a:pt x="231" y="39"/>
                </a:lnTo>
                <a:lnTo>
                  <a:pt x="225" y="63"/>
                </a:lnTo>
                <a:lnTo>
                  <a:pt x="242" y="67"/>
                </a:lnTo>
                <a:lnTo>
                  <a:pt x="260" y="0"/>
                </a:lnTo>
                <a:lnTo>
                  <a:pt x="203" y="39"/>
                </a:lnTo>
                <a:close/>
                <a:moveTo>
                  <a:pt x="122" y="95"/>
                </a:moveTo>
                <a:lnTo>
                  <a:pt x="132" y="110"/>
                </a:lnTo>
                <a:lnTo>
                  <a:pt x="158" y="89"/>
                </a:lnTo>
                <a:lnTo>
                  <a:pt x="150" y="77"/>
                </a:lnTo>
                <a:lnTo>
                  <a:pt x="122" y="95"/>
                </a:lnTo>
                <a:close/>
                <a:moveTo>
                  <a:pt x="219" y="140"/>
                </a:moveTo>
                <a:lnTo>
                  <a:pt x="205" y="136"/>
                </a:lnTo>
                <a:lnTo>
                  <a:pt x="193" y="179"/>
                </a:lnTo>
                <a:lnTo>
                  <a:pt x="207" y="183"/>
                </a:lnTo>
                <a:lnTo>
                  <a:pt x="219" y="140"/>
                </a:lnTo>
                <a:close/>
                <a:moveTo>
                  <a:pt x="189" y="195"/>
                </a:moveTo>
                <a:lnTo>
                  <a:pt x="183" y="215"/>
                </a:lnTo>
                <a:lnTo>
                  <a:pt x="162" y="219"/>
                </a:lnTo>
                <a:lnTo>
                  <a:pt x="167" y="236"/>
                </a:lnTo>
                <a:lnTo>
                  <a:pt x="195" y="227"/>
                </a:lnTo>
                <a:lnTo>
                  <a:pt x="203" y="199"/>
                </a:lnTo>
                <a:lnTo>
                  <a:pt x="189" y="195"/>
                </a:lnTo>
                <a:close/>
                <a:moveTo>
                  <a:pt x="93" y="236"/>
                </a:moveTo>
                <a:lnTo>
                  <a:pt x="75" y="242"/>
                </a:lnTo>
                <a:lnTo>
                  <a:pt x="65" y="213"/>
                </a:lnTo>
                <a:lnTo>
                  <a:pt x="51" y="217"/>
                </a:lnTo>
                <a:lnTo>
                  <a:pt x="65" y="260"/>
                </a:lnTo>
                <a:lnTo>
                  <a:pt x="97" y="252"/>
                </a:lnTo>
                <a:lnTo>
                  <a:pt x="93" y="236"/>
                </a:lnTo>
                <a:close/>
                <a:moveTo>
                  <a:pt x="71" y="122"/>
                </a:moveTo>
                <a:lnTo>
                  <a:pt x="91" y="128"/>
                </a:lnTo>
                <a:lnTo>
                  <a:pt x="100" y="130"/>
                </a:lnTo>
                <a:lnTo>
                  <a:pt x="106" y="126"/>
                </a:lnTo>
                <a:lnTo>
                  <a:pt x="118" y="118"/>
                </a:lnTo>
                <a:lnTo>
                  <a:pt x="110" y="106"/>
                </a:lnTo>
                <a:lnTo>
                  <a:pt x="97" y="114"/>
                </a:lnTo>
                <a:lnTo>
                  <a:pt x="75" y="106"/>
                </a:lnTo>
                <a:lnTo>
                  <a:pt x="71" y="122"/>
                </a:lnTo>
                <a:close/>
                <a:moveTo>
                  <a:pt x="45" y="203"/>
                </a:moveTo>
                <a:lnTo>
                  <a:pt x="59" y="197"/>
                </a:lnTo>
                <a:lnTo>
                  <a:pt x="43" y="152"/>
                </a:lnTo>
                <a:lnTo>
                  <a:pt x="28" y="158"/>
                </a:lnTo>
                <a:lnTo>
                  <a:pt x="45" y="203"/>
                </a:lnTo>
                <a:close/>
                <a:moveTo>
                  <a:pt x="39" y="138"/>
                </a:moveTo>
                <a:lnTo>
                  <a:pt x="26" y="108"/>
                </a:lnTo>
                <a:lnTo>
                  <a:pt x="55" y="116"/>
                </a:lnTo>
                <a:lnTo>
                  <a:pt x="61" y="102"/>
                </a:lnTo>
                <a:lnTo>
                  <a:pt x="0" y="81"/>
                </a:lnTo>
                <a:lnTo>
                  <a:pt x="22" y="142"/>
                </a:lnTo>
                <a:lnTo>
                  <a:pt x="39" y="13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1" name="Freeform 159">
            <a:extLst>
              <a:ext uri="{FF2B5EF4-FFF2-40B4-BE49-F238E27FC236}">
                <a16:creationId xmlns:a16="http://schemas.microsoft.com/office/drawing/2014/main" id="{200D39C8-109A-4424-A811-9F2538EA9161}"/>
              </a:ext>
            </a:extLst>
          </p:cNvPr>
          <p:cNvSpPr>
            <a:spLocks noEditPoints="1"/>
          </p:cNvSpPr>
          <p:nvPr/>
        </p:nvSpPr>
        <p:spPr bwMode="auto">
          <a:xfrm>
            <a:off x="7117817" y="2494102"/>
            <a:ext cx="370226" cy="324832"/>
          </a:xfrm>
          <a:custGeom>
            <a:avLst/>
            <a:gdLst>
              <a:gd name="T0" fmla="*/ 33 w 261"/>
              <a:gd name="T1" fmla="*/ 131 h 229"/>
              <a:gd name="T2" fmla="*/ 90 w 261"/>
              <a:gd name="T3" fmla="*/ 147 h 229"/>
              <a:gd name="T4" fmla="*/ 90 w 261"/>
              <a:gd name="T5" fmla="*/ 164 h 229"/>
              <a:gd name="T6" fmla="*/ 33 w 261"/>
              <a:gd name="T7" fmla="*/ 180 h 229"/>
              <a:gd name="T8" fmla="*/ 90 w 261"/>
              <a:gd name="T9" fmla="*/ 164 h 229"/>
              <a:gd name="T10" fmla="*/ 33 w 261"/>
              <a:gd name="T11" fmla="*/ 65 h 229"/>
              <a:gd name="T12" fmla="*/ 90 w 261"/>
              <a:gd name="T13" fmla="*/ 82 h 229"/>
              <a:gd name="T14" fmla="*/ 90 w 261"/>
              <a:gd name="T15" fmla="*/ 98 h 229"/>
              <a:gd name="T16" fmla="*/ 33 w 261"/>
              <a:gd name="T17" fmla="*/ 114 h 229"/>
              <a:gd name="T18" fmla="*/ 90 w 261"/>
              <a:gd name="T19" fmla="*/ 98 h 229"/>
              <a:gd name="T20" fmla="*/ 33 w 261"/>
              <a:gd name="T21" fmla="*/ 33 h 229"/>
              <a:gd name="T22" fmla="*/ 90 w 261"/>
              <a:gd name="T23" fmla="*/ 49 h 229"/>
              <a:gd name="T24" fmla="*/ 228 w 261"/>
              <a:gd name="T25" fmla="*/ 98 h 229"/>
              <a:gd name="T26" fmla="*/ 171 w 261"/>
              <a:gd name="T27" fmla="*/ 114 h 229"/>
              <a:gd name="T28" fmla="*/ 228 w 261"/>
              <a:gd name="T29" fmla="*/ 98 h 229"/>
              <a:gd name="T30" fmla="*/ 171 w 261"/>
              <a:gd name="T31" fmla="*/ 33 h 229"/>
              <a:gd name="T32" fmla="*/ 228 w 261"/>
              <a:gd name="T33" fmla="*/ 49 h 229"/>
              <a:gd name="T34" fmla="*/ 261 w 261"/>
              <a:gd name="T35" fmla="*/ 0 h 229"/>
              <a:gd name="T36" fmla="*/ 139 w 261"/>
              <a:gd name="T37" fmla="*/ 229 h 229"/>
              <a:gd name="T38" fmla="*/ 122 w 261"/>
              <a:gd name="T39" fmla="*/ 213 h 229"/>
              <a:gd name="T40" fmla="*/ 0 w 261"/>
              <a:gd name="T41" fmla="*/ 229 h 229"/>
              <a:gd name="T42" fmla="*/ 122 w 261"/>
              <a:gd name="T43" fmla="*/ 0 h 229"/>
              <a:gd name="T44" fmla="*/ 139 w 261"/>
              <a:gd name="T45" fmla="*/ 196 h 229"/>
              <a:gd name="T46" fmla="*/ 261 w 261"/>
              <a:gd name="T47" fmla="*/ 0 h 229"/>
              <a:gd name="T48" fmla="*/ 18 w 261"/>
              <a:gd name="T49" fmla="*/ 18 h 229"/>
              <a:gd name="T50" fmla="*/ 104 w 261"/>
              <a:gd name="T51" fmla="*/ 211 h 229"/>
              <a:gd name="T52" fmla="*/ 243 w 261"/>
              <a:gd name="T53" fmla="*/ 16 h 229"/>
              <a:gd name="T54" fmla="*/ 157 w 261"/>
              <a:gd name="T55" fmla="*/ 213 h 229"/>
              <a:gd name="T56" fmla="*/ 243 w 261"/>
              <a:gd name="T57" fmla="*/ 16 h 229"/>
              <a:gd name="T58" fmla="*/ 171 w 261"/>
              <a:gd name="T59" fmla="*/ 164 h 229"/>
              <a:gd name="T60" fmla="*/ 228 w 261"/>
              <a:gd name="T61" fmla="*/ 180 h 229"/>
              <a:gd name="T62" fmla="*/ 228 w 261"/>
              <a:gd name="T63" fmla="*/ 65 h 229"/>
              <a:gd name="T64" fmla="*/ 171 w 261"/>
              <a:gd name="T65" fmla="*/ 82 h 229"/>
              <a:gd name="T66" fmla="*/ 228 w 261"/>
              <a:gd name="T67" fmla="*/ 65 h 229"/>
              <a:gd name="T68" fmla="*/ 171 w 261"/>
              <a:gd name="T69" fmla="*/ 131 h 229"/>
              <a:gd name="T70" fmla="*/ 228 w 261"/>
              <a:gd name="T71" fmla="*/ 14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 h="229">
                <a:moveTo>
                  <a:pt x="33" y="147"/>
                </a:moveTo>
                <a:lnTo>
                  <a:pt x="33" y="131"/>
                </a:lnTo>
                <a:lnTo>
                  <a:pt x="90" y="131"/>
                </a:lnTo>
                <a:lnTo>
                  <a:pt x="90" y="147"/>
                </a:lnTo>
                <a:lnTo>
                  <a:pt x="33" y="147"/>
                </a:lnTo>
                <a:close/>
                <a:moveTo>
                  <a:pt x="90" y="164"/>
                </a:moveTo>
                <a:lnTo>
                  <a:pt x="33" y="164"/>
                </a:lnTo>
                <a:lnTo>
                  <a:pt x="33" y="180"/>
                </a:lnTo>
                <a:lnTo>
                  <a:pt x="90" y="180"/>
                </a:lnTo>
                <a:lnTo>
                  <a:pt x="90" y="164"/>
                </a:lnTo>
                <a:close/>
                <a:moveTo>
                  <a:pt x="90" y="65"/>
                </a:moveTo>
                <a:lnTo>
                  <a:pt x="33" y="65"/>
                </a:lnTo>
                <a:lnTo>
                  <a:pt x="33" y="82"/>
                </a:lnTo>
                <a:lnTo>
                  <a:pt x="90" y="82"/>
                </a:lnTo>
                <a:lnTo>
                  <a:pt x="90" y="65"/>
                </a:lnTo>
                <a:close/>
                <a:moveTo>
                  <a:pt x="90" y="98"/>
                </a:moveTo>
                <a:lnTo>
                  <a:pt x="33" y="98"/>
                </a:lnTo>
                <a:lnTo>
                  <a:pt x="33" y="114"/>
                </a:lnTo>
                <a:lnTo>
                  <a:pt x="90" y="114"/>
                </a:lnTo>
                <a:lnTo>
                  <a:pt x="90" y="98"/>
                </a:lnTo>
                <a:close/>
                <a:moveTo>
                  <a:pt x="90" y="33"/>
                </a:moveTo>
                <a:lnTo>
                  <a:pt x="33" y="33"/>
                </a:lnTo>
                <a:lnTo>
                  <a:pt x="33" y="49"/>
                </a:lnTo>
                <a:lnTo>
                  <a:pt x="90" y="49"/>
                </a:lnTo>
                <a:lnTo>
                  <a:pt x="90" y="33"/>
                </a:lnTo>
                <a:close/>
                <a:moveTo>
                  <a:pt x="228" y="98"/>
                </a:moveTo>
                <a:lnTo>
                  <a:pt x="171" y="98"/>
                </a:lnTo>
                <a:lnTo>
                  <a:pt x="171" y="114"/>
                </a:lnTo>
                <a:lnTo>
                  <a:pt x="228" y="114"/>
                </a:lnTo>
                <a:lnTo>
                  <a:pt x="228" y="98"/>
                </a:lnTo>
                <a:close/>
                <a:moveTo>
                  <a:pt x="228" y="33"/>
                </a:moveTo>
                <a:lnTo>
                  <a:pt x="171" y="33"/>
                </a:lnTo>
                <a:lnTo>
                  <a:pt x="171" y="49"/>
                </a:lnTo>
                <a:lnTo>
                  <a:pt x="228" y="49"/>
                </a:lnTo>
                <a:lnTo>
                  <a:pt x="228" y="33"/>
                </a:lnTo>
                <a:close/>
                <a:moveTo>
                  <a:pt x="261" y="0"/>
                </a:moveTo>
                <a:lnTo>
                  <a:pt x="261" y="229"/>
                </a:lnTo>
                <a:lnTo>
                  <a:pt x="139" y="229"/>
                </a:lnTo>
                <a:lnTo>
                  <a:pt x="139" y="213"/>
                </a:lnTo>
                <a:lnTo>
                  <a:pt x="122" y="213"/>
                </a:lnTo>
                <a:lnTo>
                  <a:pt x="122" y="229"/>
                </a:lnTo>
                <a:lnTo>
                  <a:pt x="0" y="229"/>
                </a:lnTo>
                <a:lnTo>
                  <a:pt x="0" y="0"/>
                </a:lnTo>
                <a:lnTo>
                  <a:pt x="122" y="0"/>
                </a:lnTo>
                <a:lnTo>
                  <a:pt x="122" y="196"/>
                </a:lnTo>
                <a:lnTo>
                  <a:pt x="139" y="196"/>
                </a:lnTo>
                <a:lnTo>
                  <a:pt x="139" y="0"/>
                </a:lnTo>
                <a:lnTo>
                  <a:pt x="261" y="0"/>
                </a:lnTo>
                <a:close/>
                <a:moveTo>
                  <a:pt x="104" y="18"/>
                </a:moveTo>
                <a:lnTo>
                  <a:pt x="18" y="18"/>
                </a:lnTo>
                <a:lnTo>
                  <a:pt x="18" y="211"/>
                </a:lnTo>
                <a:lnTo>
                  <a:pt x="104" y="211"/>
                </a:lnTo>
                <a:lnTo>
                  <a:pt x="104" y="18"/>
                </a:lnTo>
                <a:close/>
                <a:moveTo>
                  <a:pt x="243" y="16"/>
                </a:moveTo>
                <a:lnTo>
                  <a:pt x="157" y="16"/>
                </a:lnTo>
                <a:lnTo>
                  <a:pt x="157" y="213"/>
                </a:lnTo>
                <a:lnTo>
                  <a:pt x="243" y="213"/>
                </a:lnTo>
                <a:lnTo>
                  <a:pt x="243" y="16"/>
                </a:lnTo>
                <a:close/>
                <a:moveTo>
                  <a:pt x="228" y="164"/>
                </a:moveTo>
                <a:lnTo>
                  <a:pt x="171" y="164"/>
                </a:lnTo>
                <a:lnTo>
                  <a:pt x="171" y="180"/>
                </a:lnTo>
                <a:lnTo>
                  <a:pt x="228" y="180"/>
                </a:lnTo>
                <a:lnTo>
                  <a:pt x="228" y="164"/>
                </a:lnTo>
                <a:close/>
                <a:moveTo>
                  <a:pt x="228" y="65"/>
                </a:moveTo>
                <a:lnTo>
                  <a:pt x="171" y="65"/>
                </a:lnTo>
                <a:lnTo>
                  <a:pt x="171" y="82"/>
                </a:lnTo>
                <a:lnTo>
                  <a:pt x="228" y="82"/>
                </a:lnTo>
                <a:lnTo>
                  <a:pt x="228" y="65"/>
                </a:lnTo>
                <a:close/>
                <a:moveTo>
                  <a:pt x="228" y="131"/>
                </a:moveTo>
                <a:lnTo>
                  <a:pt x="171" y="131"/>
                </a:lnTo>
                <a:lnTo>
                  <a:pt x="171" y="147"/>
                </a:lnTo>
                <a:lnTo>
                  <a:pt x="228" y="147"/>
                </a:lnTo>
                <a:lnTo>
                  <a:pt x="228" y="13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2" name="Freeform 5">
            <a:extLst>
              <a:ext uri="{FF2B5EF4-FFF2-40B4-BE49-F238E27FC236}">
                <a16:creationId xmlns:a16="http://schemas.microsoft.com/office/drawing/2014/main" id="{482DA726-82E3-4EB4-92FE-968D4302A0D0}"/>
              </a:ext>
            </a:extLst>
          </p:cNvPr>
          <p:cNvSpPr>
            <a:spLocks noEditPoints="1"/>
          </p:cNvSpPr>
          <p:nvPr/>
        </p:nvSpPr>
        <p:spPr bwMode="auto">
          <a:xfrm>
            <a:off x="8132050" y="2516654"/>
            <a:ext cx="434214" cy="302280"/>
          </a:xfrm>
          <a:custGeom>
            <a:avLst/>
            <a:gdLst>
              <a:gd name="T0" fmla="*/ 128 w 128"/>
              <a:gd name="T1" fmla="*/ 88 h 88"/>
              <a:gd name="T2" fmla="*/ 0 w 128"/>
              <a:gd name="T3" fmla="*/ 88 h 88"/>
              <a:gd name="T4" fmla="*/ 0 w 128"/>
              <a:gd name="T5" fmla="*/ 84 h 88"/>
              <a:gd name="T6" fmla="*/ 128 w 128"/>
              <a:gd name="T7" fmla="*/ 84 h 88"/>
              <a:gd name="T8" fmla="*/ 128 w 128"/>
              <a:gd name="T9" fmla="*/ 88 h 88"/>
              <a:gd name="T10" fmla="*/ 96 w 128"/>
              <a:gd name="T11" fmla="*/ 16 h 88"/>
              <a:gd name="T12" fmla="*/ 80 w 128"/>
              <a:gd name="T13" fmla="*/ 0 h 88"/>
              <a:gd name="T14" fmla="*/ 64 w 128"/>
              <a:gd name="T15" fmla="*/ 16 h 88"/>
              <a:gd name="T16" fmla="*/ 80 w 128"/>
              <a:gd name="T17" fmla="*/ 32 h 88"/>
              <a:gd name="T18" fmla="*/ 96 w 128"/>
              <a:gd name="T19" fmla="*/ 16 h 88"/>
              <a:gd name="T20" fmla="*/ 92 w 128"/>
              <a:gd name="T21" fmla="*/ 16 h 88"/>
              <a:gd name="T22" fmla="*/ 80 w 128"/>
              <a:gd name="T23" fmla="*/ 28 h 88"/>
              <a:gd name="T24" fmla="*/ 68 w 128"/>
              <a:gd name="T25" fmla="*/ 16 h 88"/>
              <a:gd name="T26" fmla="*/ 80 w 128"/>
              <a:gd name="T27" fmla="*/ 4 h 88"/>
              <a:gd name="T28" fmla="*/ 92 w 128"/>
              <a:gd name="T29" fmla="*/ 16 h 88"/>
              <a:gd name="T30" fmla="*/ 120 w 128"/>
              <a:gd name="T31" fmla="*/ 74 h 88"/>
              <a:gd name="T32" fmla="*/ 92 w 128"/>
              <a:gd name="T33" fmla="*/ 36 h 88"/>
              <a:gd name="T34" fmla="*/ 90 w 128"/>
              <a:gd name="T35" fmla="*/ 35 h 88"/>
              <a:gd name="T36" fmla="*/ 80 w 128"/>
              <a:gd name="T37" fmla="*/ 54 h 88"/>
              <a:gd name="T38" fmla="*/ 70 w 128"/>
              <a:gd name="T39" fmla="*/ 35 h 88"/>
              <a:gd name="T40" fmla="*/ 68 w 128"/>
              <a:gd name="T41" fmla="*/ 36 h 88"/>
              <a:gd name="T42" fmla="*/ 40 w 128"/>
              <a:gd name="T43" fmla="*/ 74 h 88"/>
              <a:gd name="T44" fmla="*/ 40 w 128"/>
              <a:gd name="T45" fmla="*/ 76 h 88"/>
              <a:gd name="T46" fmla="*/ 120 w 128"/>
              <a:gd name="T47" fmla="*/ 76 h 88"/>
              <a:gd name="T48" fmla="*/ 120 w 128"/>
              <a:gd name="T49" fmla="*/ 74 h 88"/>
              <a:gd name="T50" fmla="*/ 68 w 128"/>
              <a:gd name="T51" fmla="*/ 40 h 88"/>
              <a:gd name="T52" fmla="*/ 80 w 128"/>
              <a:gd name="T53" fmla="*/ 62 h 88"/>
              <a:gd name="T54" fmla="*/ 92 w 128"/>
              <a:gd name="T55" fmla="*/ 40 h 88"/>
              <a:gd name="T56" fmla="*/ 116 w 128"/>
              <a:gd name="T57" fmla="*/ 72 h 88"/>
              <a:gd name="T58" fmla="*/ 44 w 128"/>
              <a:gd name="T59" fmla="*/ 72 h 88"/>
              <a:gd name="T60" fmla="*/ 68 w 128"/>
              <a:gd name="T61"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8" h="88">
                <a:moveTo>
                  <a:pt x="128" y="88"/>
                </a:moveTo>
                <a:cubicBezTo>
                  <a:pt x="0" y="88"/>
                  <a:pt x="0" y="88"/>
                  <a:pt x="0" y="88"/>
                </a:cubicBezTo>
                <a:cubicBezTo>
                  <a:pt x="0" y="84"/>
                  <a:pt x="0" y="84"/>
                  <a:pt x="0" y="84"/>
                </a:cubicBezTo>
                <a:cubicBezTo>
                  <a:pt x="128" y="84"/>
                  <a:pt x="128" y="84"/>
                  <a:pt x="128" y="84"/>
                </a:cubicBezTo>
                <a:lnTo>
                  <a:pt x="128" y="88"/>
                </a:lnTo>
                <a:close/>
                <a:moveTo>
                  <a:pt x="96" y="16"/>
                </a:moveTo>
                <a:cubicBezTo>
                  <a:pt x="96" y="7"/>
                  <a:pt x="89" y="0"/>
                  <a:pt x="80" y="0"/>
                </a:cubicBezTo>
                <a:cubicBezTo>
                  <a:pt x="71" y="0"/>
                  <a:pt x="64" y="7"/>
                  <a:pt x="64" y="16"/>
                </a:cubicBezTo>
                <a:cubicBezTo>
                  <a:pt x="64" y="25"/>
                  <a:pt x="71" y="32"/>
                  <a:pt x="80" y="32"/>
                </a:cubicBezTo>
                <a:cubicBezTo>
                  <a:pt x="89" y="32"/>
                  <a:pt x="96" y="25"/>
                  <a:pt x="96" y="16"/>
                </a:cubicBezTo>
                <a:close/>
                <a:moveTo>
                  <a:pt x="92" y="16"/>
                </a:moveTo>
                <a:cubicBezTo>
                  <a:pt x="92" y="23"/>
                  <a:pt x="87" y="28"/>
                  <a:pt x="80" y="28"/>
                </a:cubicBezTo>
                <a:cubicBezTo>
                  <a:pt x="73" y="28"/>
                  <a:pt x="68" y="23"/>
                  <a:pt x="68" y="16"/>
                </a:cubicBezTo>
                <a:cubicBezTo>
                  <a:pt x="68" y="9"/>
                  <a:pt x="73" y="4"/>
                  <a:pt x="80" y="4"/>
                </a:cubicBezTo>
                <a:cubicBezTo>
                  <a:pt x="87" y="4"/>
                  <a:pt x="92" y="9"/>
                  <a:pt x="92" y="16"/>
                </a:cubicBezTo>
                <a:close/>
                <a:moveTo>
                  <a:pt x="120" y="74"/>
                </a:moveTo>
                <a:cubicBezTo>
                  <a:pt x="120" y="56"/>
                  <a:pt x="109" y="41"/>
                  <a:pt x="92" y="36"/>
                </a:cubicBezTo>
                <a:cubicBezTo>
                  <a:pt x="90" y="35"/>
                  <a:pt x="90" y="35"/>
                  <a:pt x="90" y="35"/>
                </a:cubicBezTo>
                <a:cubicBezTo>
                  <a:pt x="80" y="54"/>
                  <a:pt x="80" y="54"/>
                  <a:pt x="80" y="54"/>
                </a:cubicBezTo>
                <a:cubicBezTo>
                  <a:pt x="70" y="35"/>
                  <a:pt x="70" y="35"/>
                  <a:pt x="70" y="35"/>
                </a:cubicBezTo>
                <a:cubicBezTo>
                  <a:pt x="68" y="36"/>
                  <a:pt x="68" y="36"/>
                  <a:pt x="68" y="36"/>
                </a:cubicBezTo>
                <a:cubicBezTo>
                  <a:pt x="51" y="41"/>
                  <a:pt x="40" y="56"/>
                  <a:pt x="40" y="74"/>
                </a:cubicBezTo>
                <a:cubicBezTo>
                  <a:pt x="40" y="76"/>
                  <a:pt x="40" y="76"/>
                  <a:pt x="40" y="76"/>
                </a:cubicBezTo>
                <a:cubicBezTo>
                  <a:pt x="120" y="76"/>
                  <a:pt x="120" y="76"/>
                  <a:pt x="120" y="76"/>
                </a:cubicBezTo>
                <a:lnTo>
                  <a:pt x="120" y="74"/>
                </a:lnTo>
                <a:close/>
                <a:moveTo>
                  <a:pt x="68" y="40"/>
                </a:moveTo>
                <a:cubicBezTo>
                  <a:pt x="80" y="62"/>
                  <a:pt x="80" y="62"/>
                  <a:pt x="80" y="62"/>
                </a:cubicBezTo>
                <a:cubicBezTo>
                  <a:pt x="92" y="40"/>
                  <a:pt x="92" y="40"/>
                  <a:pt x="92" y="40"/>
                </a:cubicBezTo>
                <a:cubicBezTo>
                  <a:pt x="106" y="45"/>
                  <a:pt x="115" y="58"/>
                  <a:pt x="116" y="72"/>
                </a:cubicBezTo>
                <a:cubicBezTo>
                  <a:pt x="44" y="72"/>
                  <a:pt x="44" y="72"/>
                  <a:pt x="44" y="72"/>
                </a:cubicBezTo>
                <a:cubicBezTo>
                  <a:pt x="45" y="57"/>
                  <a:pt x="54" y="45"/>
                  <a:pt x="68" y="4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3" name="Freeform 9">
            <a:extLst>
              <a:ext uri="{FF2B5EF4-FFF2-40B4-BE49-F238E27FC236}">
                <a16:creationId xmlns:a16="http://schemas.microsoft.com/office/drawing/2014/main" id="{51D223A7-E10F-418A-AA77-519AF99FB185}"/>
              </a:ext>
            </a:extLst>
          </p:cNvPr>
          <p:cNvSpPr>
            <a:spLocks noEditPoints="1"/>
          </p:cNvSpPr>
          <p:nvPr/>
        </p:nvSpPr>
        <p:spPr bwMode="auto">
          <a:xfrm>
            <a:off x="4994913" y="3305530"/>
            <a:ext cx="435884" cy="302280"/>
          </a:xfrm>
          <a:custGeom>
            <a:avLst/>
            <a:gdLst>
              <a:gd name="T0" fmla="*/ 128 w 128"/>
              <a:gd name="T1" fmla="*/ 100 h 100"/>
              <a:gd name="T2" fmla="*/ 0 w 128"/>
              <a:gd name="T3" fmla="*/ 100 h 100"/>
              <a:gd name="T4" fmla="*/ 0 w 128"/>
              <a:gd name="T5" fmla="*/ 92 h 100"/>
              <a:gd name="T6" fmla="*/ 128 w 128"/>
              <a:gd name="T7" fmla="*/ 92 h 100"/>
              <a:gd name="T8" fmla="*/ 128 w 128"/>
              <a:gd name="T9" fmla="*/ 100 h 100"/>
              <a:gd name="T10" fmla="*/ 96 w 128"/>
              <a:gd name="T11" fmla="*/ 18 h 100"/>
              <a:gd name="T12" fmla="*/ 78 w 128"/>
              <a:gd name="T13" fmla="*/ 0 h 100"/>
              <a:gd name="T14" fmla="*/ 60 w 128"/>
              <a:gd name="T15" fmla="*/ 18 h 100"/>
              <a:gd name="T16" fmla="*/ 78 w 128"/>
              <a:gd name="T17" fmla="*/ 36 h 100"/>
              <a:gd name="T18" fmla="*/ 96 w 128"/>
              <a:gd name="T19" fmla="*/ 18 h 100"/>
              <a:gd name="T20" fmla="*/ 88 w 128"/>
              <a:gd name="T21" fmla="*/ 18 h 100"/>
              <a:gd name="T22" fmla="*/ 78 w 128"/>
              <a:gd name="T23" fmla="*/ 28 h 100"/>
              <a:gd name="T24" fmla="*/ 68 w 128"/>
              <a:gd name="T25" fmla="*/ 18 h 100"/>
              <a:gd name="T26" fmla="*/ 78 w 128"/>
              <a:gd name="T27" fmla="*/ 8 h 100"/>
              <a:gd name="T28" fmla="*/ 88 w 128"/>
              <a:gd name="T29" fmla="*/ 18 h 100"/>
              <a:gd name="T30" fmla="*/ 120 w 128"/>
              <a:gd name="T31" fmla="*/ 80 h 100"/>
              <a:gd name="T32" fmla="*/ 90 w 128"/>
              <a:gd name="T33" fmla="*/ 40 h 100"/>
              <a:gd name="T34" fmla="*/ 87 w 128"/>
              <a:gd name="T35" fmla="*/ 39 h 100"/>
              <a:gd name="T36" fmla="*/ 78 w 128"/>
              <a:gd name="T37" fmla="*/ 54 h 100"/>
              <a:gd name="T38" fmla="*/ 69 w 128"/>
              <a:gd name="T39" fmla="*/ 39 h 100"/>
              <a:gd name="T40" fmla="*/ 66 w 128"/>
              <a:gd name="T41" fmla="*/ 40 h 100"/>
              <a:gd name="T42" fmla="*/ 36 w 128"/>
              <a:gd name="T43" fmla="*/ 80 h 100"/>
              <a:gd name="T44" fmla="*/ 36 w 128"/>
              <a:gd name="T45" fmla="*/ 84 h 100"/>
              <a:gd name="T46" fmla="*/ 120 w 128"/>
              <a:gd name="T47" fmla="*/ 84 h 100"/>
              <a:gd name="T48" fmla="*/ 120 w 128"/>
              <a:gd name="T49" fmla="*/ 80 h 100"/>
              <a:gd name="T50" fmla="*/ 65 w 128"/>
              <a:gd name="T51" fmla="*/ 48 h 100"/>
              <a:gd name="T52" fmla="*/ 78 w 128"/>
              <a:gd name="T53" fmla="*/ 70 h 100"/>
              <a:gd name="T54" fmla="*/ 91 w 128"/>
              <a:gd name="T55" fmla="*/ 48 h 100"/>
              <a:gd name="T56" fmla="*/ 112 w 128"/>
              <a:gd name="T57" fmla="*/ 76 h 100"/>
              <a:gd name="T58" fmla="*/ 44 w 128"/>
              <a:gd name="T59" fmla="*/ 76 h 100"/>
              <a:gd name="T60" fmla="*/ 65 w 128"/>
              <a:gd name="T61" fmla="*/ 4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8" h="100">
                <a:moveTo>
                  <a:pt x="128" y="100"/>
                </a:moveTo>
                <a:cubicBezTo>
                  <a:pt x="0" y="100"/>
                  <a:pt x="0" y="100"/>
                  <a:pt x="0" y="100"/>
                </a:cubicBezTo>
                <a:cubicBezTo>
                  <a:pt x="0" y="92"/>
                  <a:pt x="0" y="92"/>
                  <a:pt x="0" y="92"/>
                </a:cubicBezTo>
                <a:cubicBezTo>
                  <a:pt x="128" y="92"/>
                  <a:pt x="128" y="92"/>
                  <a:pt x="128" y="92"/>
                </a:cubicBezTo>
                <a:lnTo>
                  <a:pt x="128" y="100"/>
                </a:lnTo>
                <a:close/>
                <a:moveTo>
                  <a:pt x="96" y="18"/>
                </a:moveTo>
                <a:cubicBezTo>
                  <a:pt x="96" y="8"/>
                  <a:pt x="88" y="0"/>
                  <a:pt x="78" y="0"/>
                </a:cubicBezTo>
                <a:cubicBezTo>
                  <a:pt x="68" y="0"/>
                  <a:pt x="60" y="8"/>
                  <a:pt x="60" y="18"/>
                </a:cubicBezTo>
                <a:cubicBezTo>
                  <a:pt x="60" y="28"/>
                  <a:pt x="68" y="36"/>
                  <a:pt x="78" y="36"/>
                </a:cubicBezTo>
                <a:cubicBezTo>
                  <a:pt x="88" y="36"/>
                  <a:pt x="96" y="28"/>
                  <a:pt x="96" y="18"/>
                </a:cubicBezTo>
                <a:close/>
                <a:moveTo>
                  <a:pt x="88" y="18"/>
                </a:moveTo>
                <a:cubicBezTo>
                  <a:pt x="88" y="24"/>
                  <a:pt x="84" y="28"/>
                  <a:pt x="78" y="28"/>
                </a:cubicBezTo>
                <a:cubicBezTo>
                  <a:pt x="72" y="28"/>
                  <a:pt x="68" y="24"/>
                  <a:pt x="68" y="18"/>
                </a:cubicBezTo>
                <a:cubicBezTo>
                  <a:pt x="68" y="12"/>
                  <a:pt x="72" y="8"/>
                  <a:pt x="78" y="8"/>
                </a:cubicBezTo>
                <a:cubicBezTo>
                  <a:pt x="84" y="8"/>
                  <a:pt x="88" y="12"/>
                  <a:pt x="88" y="18"/>
                </a:cubicBezTo>
                <a:close/>
                <a:moveTo>
                  <a:pt x="120" y="80"/>
                </a:moveTo>
                <a:cubicBezTo>
                  <a:pt x="120" y="62"/>
                  <a:pt x="108" y="45"/>
                  <a:pt x="90" y="40"/>
                </a:cubicBezTo>
                <a:cubicBezTo>
                  <a:pt x="87" y="39"/>
                  <a:pt x="87" y="39"/>
                  <a:pt x="87" y="39"/>
                </a:cubicBezTo>
                <a:cubicBezTo>
                  <a:pt x="78" y="54"/>
                  <a:pt x="78" y="54"/>
                  <a:pt x="78" y="54"/>
                </a:cubicBezTo>
                <a:cubicBezTo>
                  <a:pt x="69" y="39"/>
                  <a:pt x="69" y="39"/>
                  <a:pt x="69" y="39"/>
                </a:cubicBezTo>
                <a:cubicBezTo>
                  <a:pt x="66" y="40"/>
                  <a:pt x="66" y="40"/>
                  <a:pt x="66" y="40"/>
                </a:cubicBezTo>
                <a:cubicBezTo>
                  <a:pt x="48" y="45"/>
                  <a:pt x="36" y="62"/>
                  <a:pt x="36" y="80"/>
                </a:cubicBezTo>
                <a:cubicBezTo>
                  <a:pt x="36" y="84"/>
                  <a:pt x="36" y="84"/>
                  <a:pt x="36" y="84"/>
                </a:cubicBezTo>
                <a:cubicBezTo>
                  <a:pt x="120" y="84"/>
                  <a:pt x="120" y="84"/>
                  <a:pt x="120" y="84"/>
                </a:cubicBezTo>
                <a:lnTo>
                  <a:pt x="120" y="80"/>
                </a:lnTo>
                <a:close/>
                <a:moveTo>
                  <a:pt x="65" y="48"/>
                </a:moveTo>
                <a:cubicBezTo>
                  <a:pt x="78" y="70"/>
                  <a:pt x="78" y="70"/>
                  <a:pt x="78" y="70"/>
                </a:cubicBezTo>
                <a:cubicBezTo>
                  <a:pt x="91" y="48"/>
                  <a:pt x="91" y="48"/>
                  <a:pt x="91" y="48"/>
                </a:cubicBezTo>
                <a:cubicBezTo>
                  <a:pt x="102" y="53"/>
                  <a:pt x="110" y="64"/>
                  <a:pt x="112" y="76"/>
                </a:cubicBezTo>
                <a:cubicBezTo>
                  <a:pt x="44" y="76"/>
                  <a:pt x="44" y="76"/>
                  <a:pt x="44" y="76"/>
                </a:cubicBezTo>
                <a:cubicBezTo>
                  <a:pt x="46" y="64"/>
                  <a:pt x="54" y="53"/>
                  <a:pt x="65"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4" name="Freeform 13">
            <a:extLst>
              <a:ext uri="{FF2B5EF4-FFF2-40B4-BE49-F238E27FC236}">
                <a16:creationId xmlns:a16="http://schemas.microsoft.com/office/drawing/2014/main" id="{328DF17A-5058-418E-8F32-20C0C4FDBD6C}"/>
              </a:ext>
            </a:extLst>
          </p:cNvPr>
          <p:cNvSpPr>
            <a:spLocks noEditPoints="1"/>
          </p:cNvSpPr>
          <p:nvPr/>
        </p:nvSpPr>
        <p:spPr bwMode="auto">
          <a:xfrm>
            <a:off x="6051916" y="3195060"/>
            <a:ext cx="412750" cy="412750"/>
          </a:xfrm>
          <a:custGeom>
            <a:avLst/>
            <a:gdLst>
              <a:gd name="T0" fmla="*/ 64 w 128"/>
              <a:gd name="T1" fmla="*/ 96 h 128"/>
              <a:gd name="T2" fmla="*/ 32 w 128"/>
              <a:gd name="T3" fmla="*/ 64 h 128"/>
              <a:gd name="T4" fmla="*/ 64 w 128"/>
              <a:gd name="T5" fmla="*/ 32 h 128"/>
              <a:gd name="T6" fmla="*/ 96 w 128"/>
              <a:gd name="T7" fmla="*/ 64 h 128"/>
              <a:gd name="T8" fmla="*/ 64 w 128"/>
              <a:gd name="T9" fmla="*/ 96 h 128"/>
              <a:gd name="T10" fmla="*/ 112 w 128"/>
              <a:gd name="T11" fmla="*/ 64 h 128"/>
              <a:gd name="T12" fmla="*/ 111 w 128"/>
              <a:gd name="T13" fmla="*/ 55 h 128"/>
              <a:gd name="T14" fmla="*/ 128 w 128"/>
              <a:gd name="T15" fmla="*/ 46 h 128"/>
              <a:gd name="T16" fmla="*/ 112 w 128"/>
              <a:gd name="T17" fmla="*/ 18 h 128"/>
              <a:gd name="T18" fmla="*/ 95 w 128"/>
              <a:gd name="T19" fmla="*/ 27 h 128"/>
              <a:gd name="T20" fmla="*/ 80 w 128"/>
              <a:gd name="T21" fmla="*/ 19 h 128"/>
              <a:gd name="T22" fmla="*/ 80 w 128"/>
              <a:gd name="T23" fmla="*/ 0 h 128"/>
              <a:gd name="T24" fmla="*/ 48 w 128"/>
              <a:gd name="T25" fmla="*/ 0 h 128"/>
              <a:gd name="T26" fmla="*/ 48 w 128"/>
              <a:gd name="T27" fmla="*/ 19 h 128"/>
              <a:gd name="T28" fmla="*/ 33 w 128"/>
              <a:gd name="T29" fmla="*/ 27 h 128"/>
              <a:gd name="T30" fmla="*/ 17 w 128"/>
              <a:gd name="T31" fmla="*/ 18 h 128"/>
              <a:gd name="T32" fmla="*/ 0 w 128"/>
              <a:gd name="T33" fmla="*/ 46 h 128"/>
              <a:gd name="T34" fmla="*/ 17 w 128"/>
              <a:gd name="T35" fmla="*/ 55 h 128"/>
              <a:gd name="T36" fmla="*/ 16 w 128"/>
              <a:gd name="T37" fmla="*/ 64 h 128"/>
              <a:gd name="T38" fmla="*/ 17 w 128"/>
              <a:gd name="T39" fmla="*/ 73 h 128"/>
              <a:gd name="T40" fmla="*/ 0 w 128"/>
              <a:gd name="T41" fmla="*/ 82 h 128"/>
              <a:gd name="T42" fmla="*/ 16 w 128"/>
              <a:gd name="T43" fmla="*/ 110 h 128"/>
              <a:gd name="T44" fmla="*/ 33 w 128"/>
              <a:gd name="T45" fmla="*/ 100 h 128"/>
              <a:gd name="T46" fmla="*/ 48 w 128"/>
              <a:gd name="T47" fmla="*/ 109 h 128"/>
              <a:gd name="T48" fmla="*/ 48 w 128"/>
              <a:gd name="T49" fmla="*/ 128 h 128"/>
              <a:gd name="T50" fmla="*/ 80 w 128"/>
              <a:gd name="T51" fmla="*/ 128 h 128"/>
              <a:gd name="T52" fmla="*/ 80 w 128"/>
              <a:gd name="T53" fmla="*/ 109 h 128"/>
              <a:gd name="T54" fmla="*/ 95 w 128"/>
              <a:gd name="T55" fmla="*/ 101 h 128"/>
              <a:gd name="T56" fmla="*/ 111 w 128"/>
              <a:gd name="T57" fmla="*/ 110 h 128"/>
              <a:gd name="T58" fmla="*/ 128 w 128"/>
              <a:gd name="T59" fmla="*/ 82 h 128"/>
              <a:gd name="T60" fmla="*/ 111 w 128"/>
              <a:gd name="T61" fmla="*/ 73 h 128"/>
              <a:gd name="T62" fmla="*/ 112 w 128"/>
              <a:gd name="T63"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128">
                <a:moveTo>
                  <a:pt x="64" y="96"/>
                </a:moveTo>
                <a:cubicBezTo>
                  <a:pt x="46" y="96"/>
                  <a:pt x="32" y="82"/>
                  <a:pt x="32" y="64"/>
                </a:cubicBezTo>
                <a:cubicBezTo>
                  <a:pt x="32" y="46"/>
                  <a:pt x="46" y="32"/>
                  <a:pt x="64" y="32"/>
                </a:cubicBezTo>
                <a:cubicBezTo>
                  <a:pt x="82" y="32"/>
                  <a:pt x="96" y="46"/>
                  <a:pt x="96" y="64"/>
                </a:cubicBezTo>
                <a:cubicBezTo>
                  <a:pt x="96" y="82"/>
                  <a:pt x="82" y="96"/>
                  <a:pt x="64" y="96"/>
                </a:cubicBezTo>
                <a:moveTo>
                  <a:pt x="112" y="64"/>
                </a:moveTo>
                <a:cubicBezTo>
                  <a:pt x="112" y="61"/>
                  <a:pt x="112" y="58"/>
                  <a:pt x="111" y="55"/>
                </a:cubicBezTo>
                <a:cubicBezTo>
                  <a:pt x="128" y="46"/>
                  <a:pt x="128" y="46"/>
                  <a:pt x="128" y="46"/>
                </a:cubicBezTo>
                <a:cubicBezTo>
                  <a:pt x="112" y="18"/>
                  <a:pt x="112" y="18"/>
                  <a:pt x="112" y="18"/>
                </a:cubicBezTo>
                <a:cubicBezTo>
                  <a:pt x="95" y="27"/>
                  <a:pt x="95" y="27"/>
                  <a:pt x="95" y="27"/>
                </a:cubicBezTo>
                <a:cubicBezTo>
                  <a:pt x="91" y="24"/>
                  <a:pt x="86" y="21"/>
                  <a:pt x="80" y="19"/>
                </a:cubicBezTo>
                <a:cubicBezTo>
                  <a:pt x="80" y="0"/>
                  <a:pt x="80" y="0"/>
                  <a:pt x="80" y="0"/>
                </a:cubicBezTo>
                <a:cubicBezTo>
                  <a:pt x="48" y="0"/>
                  <a:pt x="48" y="0"/>
                  <a:pt x="48" y="0"/>
                </a:cubicBezTo>
                <a:cubicBezTo>
                  <a:pt x="48" y="19"/>
                  <a:pt x="48" y="19"/>
                  <a:pt x="48" y="19"/>
                </a:cubicBezTo>
                <a:cubicBezTo>
                  <a:pt x="42" y="21"/>
                  <a:pt x="37" y="24"/>
                  <a:pt x="33" y="27"/>
                </a:cubicBezTo>
                <a:cubicBezTo>
                  <a:pt x="17" y="18"/>
                  <a:pt x="17" y="18"/>
                  <a:pt x="17" y="18"/>
                </a:cubicBezTo>
                <a:cubicBezTo>
                  <a:pt x="0" y="46"/>
                  <a:pt x="0" y="46"/>
                  <a:pt x="0" y="46"/>
                </a:cubicBezTo>
                <a:cubicBezTo>
                  <a:pt x="17" y="55"/>
                  <a:pt x="17" y="55"/>
                  <a:pt x="17" y="55"/>
                </a:cubicBezTo>
                <a:cubicBezTo>
                  <a:pt x="16" y="58"/>
                  <a:pt x="16" y="61"/>
                  <a:pt x="16" y="64"/>
                </a:cubicBezTo>
                <a:cubicBezTo>
                  <a:pt x="16" y="67"/>
                  <a:pt x="16" y="70"/>
                  <a:pt x="17" y="73"/>
                </a:cubicBezTo>
                <a:cubicBezTo>
                  <a:pt x="0" y="82"/>
                  <a:pt x="0" y="82"/>
                  <a:pt x="0" y="82"/>
                </a:cubicBezTo>
                <a:cubicBezTo>
                  <a:pt x="16" y="110"/>
                  <a:pt x="16" y="110"/>
                  <a:pt x="16" y="110"/>
                </a:cubicBezTo>
                <a:cubicBezTo>
                  <a:pt x="33" y="100"/>
                  <a:pt x="33" y="100"/>
                  <a:pt x="33" y="100"/>
                </a:cubicBezTo>
                <a:cubicBezTo>
                  <a:pt x="37" y="104"/>
                  <a:pt x="42" y="107"/>
                  <a:pt x="48" y="109"/>
                </a:cubicBezTo>
                <a:cubicBezTo>
                  <a:pt x="48" y="128"/>
                  <a:pt x="48" y="128"/>
                  <a:pt x="48" y="128"/>
                </a:cubicBezTo>
                <a:cubicBezTo>
                  <a:pt x="80" y="128"/>
                  <a:pt x="80" y="128"/>
                  <a:pt x="80" y="128"/>
                </a:cubicBezTo>
                <a:cubicBezTo>
                  <a:pt x="80" y="109"/>
                  <a:pt x="80" y="109"/>
                  <a:pt x="80" y="109"/>
                </a:cubicBezTo>
                <a:cubicBezTo>
                  <a:pt x="86" y="107"/>
                  <a:pt x="91" y="104"/>
                  <a:pt x="95" y="101"/>
                </a:cubicBezTo>
                <a:cubicBezTo>
                  <a:pt x="111" y="110"/>
                  <a:pt x="111" y="110"/>
                  <a:pt x="111" y="110"/>
                </a:cubicBezTo>
                <a:cubicBezTo>
                  <a:pt x="128" y="82"/>
                  <a:pt x="128" y="82"/>
                  <a:pt x="128" y="82"/>
                </a:cubicBezTo>
                <a:cubicBezTo>
                  <a:pt x="111" y="73"/>
                  <a:pt x="111" y="73"/>
                  <a:pt x="111" y="73"/>
                </a:cubicBezTo>
                <a:cubicBezTo>
                  <a:pt x="112" y="70"/>
                  <a:pt x="112" y="67"/>
                  <a:pt x="112" y="64"/>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5" name="Freeform 18">
            <a:extLst>
              <a:ext uri="{FF2B5EF4-FFF2-40B4-BE49-F238E27FC236}">
                <a16:creationId xmlns:a16="http://schemas.microsoft.com/office/drawing/2014/main" id="{F2F83AC6-1EA7-4ABF-83D4-05DEA0629620}"/>
              </a:ext>
            </a:extLst>
          </p:cNvPr>
          <p:cNvSpPr>
            <a:spLocks noEditPoints="1"/>
          </p:cNvSpPr>
          <p:nvPr/>
        </p:nvSpPr>
        <p:spPr bwMode="auto">
          <a:xfrm>
            <a:off x="7095761" y="3244272"/>
            <a:ext cx="414338" cy="363538"/>
          </a:xfrm>
          <a:custGeom>
            <a:avLst/>
            <a:gdLst>
              <a:gd name="T0" fmla="*/ 16 w 128"/>
              <a:gd name="T1" fmla="*/ 95 h 112"/>
              <a:gd name="T2" fmla="*/ 96 w 128"/>
              <a:gd name="T3" fmla="*/ 49 h 112"/>
              <a:gd name="T4" fmla="*/ 96 w 128"/>
              <a:gd name="T5" fmla="*/ 64 h 112"/>
              <a:gd name="T6" fmla="*/ 128 w 128"/>
              <a:gd name="T7" fmla="*/ 32 h 112"/>
              <a:gd name="T8" fmla="*/ 96 w 128"/>
              <a:gd name="T9" fmla="*/ 0 h 112"/>
              <a:gd name="T10" fmla="*/ 96 w 128"/>
              <a:gd name="T11" fmla="*/ 15 h 112"/>
              <a:gd name="T12" fmla="*/ 16 w 128"/>
              <a:gd name="T13" fmla="*/ 95 h 112"/>
              <a:gd name="T14" fmla="*/ 108 w 128"/>
              <a:gd name="T15" fmla="*/ 104 h 112"/>
              <a:gd name="T16" fmla="*/ 8 w 128"/>
              <a:gd name="T17" fmla="*/ 104 h 112"/>
              <a:gd name="T18" fmla="*/ 8 w 128"/>
              <a:gd name="T19" fmla="*/ 24 h 112"/>
              <a:gd name="T20" fmla="*/ 52 w 128"/>
              <a:gd name="T21" fmla="*/ 24 h 112"/>
              <a:gd name="T22" fmla="*/ 60 w 128"/>
              <a:gd name="T23" fmla="*/ 16 h 112"/>
              <a:gd name="T24" fmla="*/ 0 w 128"/>
              <a:gd name="T25" fmla="*/ 16 h 112"/>
              <a:gd name="T26" fmla="*/ 0 w 128"/>
              <a:gd name="T27" fmla="*/ 112 h 112"/>
              <a:gd name="T28" fmla="*/ 116 w 128"/>
              <a:gd name="T29" fmla="*/ 112 h 112"/>
              <a:gd name="T30" fmla="*/ 116 w 128"/>
              <a:gd name="T31" fmla="*/ 60 h 112"/>
              <a:gd name="T32" fmla="*/ 108 w 128"/>
              <a:gd name="T33" fmla="*/ 68 h 112"/>
              <a:gd name="T34" fmla="*/ 108 w 128"/>
              <a:gd name="T35" fmla="*/ 10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112">
                <a:moveTo>
                  <a:pt x="16" y="95"/>
                </a:moveTo>
                <a:cubicBezTo>
                  <a:pt x="16" y="95"/>
                  <a:pt x="42" y="49"/>
                  <a:pt x="96" y="49"/>
                </a:cubicBezTo>
                <a:cubicBezTo>
                  <a:pt x="96" y="64"/>
                  <a:pt x="96" y="64"/>
                  <a:pt x="96" y="64"/>
                </a:cubicBezTo>
                <a:cubicBezTo>
                  <a:pt x="128" y="32"/>
                  <a:pt x="128" y="32"/>
                  <a:pt x="128" y="32"/>
                </a:cubicBezTo>
                <a:cubicBezTo>
                  <a:pt x="96" y="0"/>
                  <a:pt x="96" y="0"/>
                  <a:pt x="96" y="0"/>
                </a:cubicBezTo>
                <a:cubicBezTo>
                  <a:pt x="96" y="15"/>
                  <a:pt x="96" y="15"/>
                  <a:pt x="96" y="15"/>
                </a:cubicBezTo>
                <a:cubicBezTo>
                  <a:pt x="78" y="15"/>
                  <a:pt x="32" y="34"/>
                  <a:pt x="16" y="95"/>
                </a:cubicBezTo>
                <a:close/>
                <a:moveTo>
                  <a:pt x="108" y="104"/>
                </a:moveTo>
                <a:cubicBezTo>
                  <a:pt x="8" y="104"/>
                  <a:pt x="8" y="104"/>
                  <a:pt x="8" y="104"/>
                </a:cubicBezTo>
                <a:cubicBezTo>
                  <a:pt x="8" y="24"/>
                  <a:pt x="8" y="24"/>
                  <a:pt x="8" y="24"/>
                </a:cubicBezTo>
                <a:cubicBezTo>
                  <a:pt x="52" y="24"/>
                  <a:pt x="52" y="24"/>
                  <a:pt x="52" y="24"/>
                </a:cubicBezTo>
                <a:cubicBezTo>
                  <a:pt x="60" y="16"/>
                  <a:pt x="60" y="16"/>
                  <a:pt x="60" y="16"/>
                </a:cubicBezTo>
                <a:cubicBezTo>
                  <a:pt x="0" y="16"/>
                  <a:pt x="0" y="16"/>
                  <a:pt x="0" y="16"/>
                </a:cubicBezTo>
                <a:cubicBezTo>
                  <a:pt x="0" y="112"/>
                  <a:pt x="0" y="112"/>
                  <a:pt x="0" y="112"/>
                </a:cubicBezTo>
                <a:cubicBezTo>
                  <a:pt x="116" y="112"/>
                  <a:pt x="116" y="112"/>
                  <a:pt x="116" y="112"/>
                </a:cubicBezTo>
                <a:cubicBezTo>
                  <a:pt x="116" y="60"/>
                  <a:pt x="116" y="60"/>
                  <a:pt x="116" y="60"/>
                </a:cubicBezTo>
                <a:cubicBezTo>
                  <a:pt x="108" y="68"/>
                  <a:pt x="108" y="68"/>
                  <a:pt x="108" y="68"/>
                </a:cubicBezTo>
                <a:lnTo>
                  <a:pt x="108" y="1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6" name="Freeform 22">
            <a:extLst>
              <a:ext uri="{FF2B5EF4-FFF2-40B4-BE49-F238E27FC236}">
                <a16:creationId xmlns:a16="http://schemas.microsoft.com/office/drawing/2014/main" id="{FA171496-C9AA-43DB-B76E-607AAE54B478}"/>
              </a:ext>
            </a:extLst>
          </p:cNvPr>
          <p:cNvSpPr>
            <a:spLocks/>
          </p:cNvSpPr>
          <p:nvPr/>
        </p:nvSpPr>
        <p:spPr bwMode="auto">
          <a:xfrm>
            <a:off x="8170835" y="3227780"/>
            <a:ext cx="356644" cy="380030"/>
          </a:xfrm>
          <a:custGeom>
            <a:avLst/>
            <a:gdLst>
              <a:gd name="T0" fmla="*/ 120 w 120"/>
              <a:gd name="T1" fmla="*/ 112 h 128"/>
              <a:gd name="T2" fmla="*/ 104 w 120"/>
              <a:gd name="T3" fmla="*/ 128 h 128"/>
              <a:gd name="T4" fmla="*/ 88 w 120"/>
              <a:gd name="T5" fmla="*/ 112 h 128"/>
              <a:gd name="T6" fmla="*/ 89 w 120"/>
              <a:gd name="T7" fmla="*/ 108 h 128"/>
              <a:gd name="T8" fmla="*/ 35 w 120"/>
              <a:gd name="T9" fmla="*/ 77 h 128"/>
              <a:gd name="T10" fmla="*/ 20 w 120"/>
              <a:gd name="T11" fmla="*/ 84 h 128"/>
              <a:gd name="T12" fmla="*/ 0 w 120"/>
              <a:gd name="T13" fmla="*/ 64 h 128"/>
              <a:gd name="T14" fmla="*/ 20 w 120"/>
              <a:gd name="T15" fmla="*/ 44 h 128"/>
              <a:gd name="T16" fmla="*/ 35 w 120"/>
              <a:gd name="T17" fmla="*/ 51 h 128"/>
              <a:gd name="T18" fmla="*/ 89 w 120"/>
              <a:gd name="T19" fmla="*/ 20 h 128"/>
              <a:gd name="T20" fmla="*/ 88 w 120"/>
              <a:gd name="T21" fmla="*/ 16 h 128"/>
              <a:gd name="T22" fmla="*/ 104 w 120"/>
              <a:gd name="T23" fmla="*/ 0 h 128"/>
              <a:gd name="T24" fmla="*/ 120 w 120"/>
              <a:gd name="T25" fmla="*/ 16 h 128"/>
              <a:gd name="T26" fmla="*/ 104 w 120"/>
              <a:gd name="T27" fmla="*/ 32 h 128"/>
              <a:gd name="T28" fmla="*/ 93 w 120"/>
              <a:gd name="T29" fmla="*/ 27 h 128"/>
              <a:gd name="T30" fmla="*/ 39 w 120"/>
              <a:gd name="T31" fmla="*/ 58 h 128"/>
              <a:gd name="T32" fmla="*/ 40 w 120"/>
              <a:gd name="T33" fmla="*/ 64 h 128"/>
              <a:gd name="T34" fmla="*/ 39 w 120"/>
              <a:gd name="T35" fmla="*/ 70 h 128"/>
              <a:gd name="T36" fmla="*/ 93 w 120"/>
              <a:gd name="T37" fmla="*/ 101 h 128"/>
              <a:gd name="T38" fmla="*/ 104 w 120"/>
              <a:gd name="T39" fmla="*/ 96 h 128"/>
              <a:gd name="T40" fmla="*/ 120 w 120"/>
              <a:gd name="T41"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 h="128">
                <a:moveTo>
                  <a:pt x="120" y="112"/>
                </a:moveTo>
                <a:cubicBezTo>
                  <a:pt x="120" y="121"/>
                  <a:pt x="113" y="128"/>
                  <a:pt x="104" y="128"/>
                </a:cubicBezTo>
                <a:cubicBezTo>
                  <a:pt x="95" y="128"/>
                  <a:pt x="88" y="121"/>
                  <a:pt x="88" y="112"/>
                </a:cubicBezTo>
                <a:cubicBezTo>
                  <a:pt x="88" y="111"/>
                  <a:pt x="88" y="109"/>
                  <a:pt x="89" y="108"/>
                </a:cubicBezTo>
                <a:cubicBezTo>
                  <a:pt x="35" y="77"/>
                  <a:pt x="35" y="77"/>
                  <a:pt x="35" y="77"/>
                </a:cubicBezTo>
                <a:cubicBezTo>
                  <a:pt x="31" y="81"/>
                  <a:pt x="26" y="84"/>
                  <a:pt x="20" y="84"/>
                </a:cubicBezTo>
                <a:cubicBezTo>
                  <a:pt x="9" y="84"/>
                  <a:pt x="0" y="75"/>
                  <a:pt x="0" y="64"/>
                </a:cubicBezTo>
                <a:cubicBezTo>
                  <a:pt x="0" y="53"/>
                  <a:pt x="9" y="44"/>
                  <a:pt x="20" y="44"/>
                </a:cubicBezTo>
                <a:cubicBezTo>
                  <a:pt x="26" y="44"/>
                  <a:pt x="31" y="47"/>
                  <a:pt x="35" y="51"/>
                </a:cubicBezTo>
                <a:cubicBezTo>
                  <a:pt x="89" y="20"/>
                  <a:pt x="89" y="20"/>
                  <a:pt x="89" y="20"/>
                </a:cubicBezTo>
                <a:cubicBezTo>
                  <a:pt x="88" y="19"/>
                  <a:pt x="88" y="17"/>
                  <a:pt x="88" y="16"/>
                </a:cubicBezTo>
                <a:cubicBezTo>
                  <a:pt x="88" y="7"/>
                  <a:pt x="95" y="0"/>
                  <a:pt x="104" y="0"/>
                </a:cubicBezTo>
                <a:cubicBezTo>
                  <a:pt x="113" y="0"/>
                  <a:pt x="120" y="7"/>
                  <a:pt x="120" y="16"/>
                </a:cubicBezTo>
                <a:cubicBezTo>
                  <a:pt x="120" y="25"/>
                  <a:pt x="113" y="32"/>
                  <a:pt x="104" y="32"/>
                </a:cubicBezTo>
                <a:cubicBezTo>
                  <a:pt x="100" y="32"/>
                  <a:pt x="95" y="30"/>
                  <a:pt x="93" y="27"/>
                </a:cubicBezTo>
                <a:cubicBezTo>
                  <a:pt x="39" y="58"/>
                  <a:pt x="39" y="58"/>
                  <a:pt x="39" y="58"/>
                </a:cubicBezTo>
                <a:cubicBezTo>
                  <a:pt x="40" y="60"/>
                  <a:pt x="40" y="62"/>
                  <a:pt x="40" y="64"/>
                </a:cubicBezTo>
                <a:cubicBezTo>
                  <a:pt x="40" y="66"/>
                  <a:pt x="40" y="68"/>
                  <a:pt x="39" y="70"/>
                </a:cubicBezTo>
                <a:cubicBezTo>
                  <a:pt x="93" y="101"/>
                  <a:pt x="93" y="101"/>
                  <a:pt x="93" y="101"/>
                </a:cubicBezTo>
                <a:cubicBezTo>
                  <a:pt x="95" y="98"/>
                  <a:pt x="99" y="96"/>
                  <a:pt x="104" y="96"/>
                </a:cubicBezTo>
                <a:cubicBezTo>
                  <a:pt x="113" y="96"/>
                  <a:pt x="120" y="103"/>
                  <a:pt x="120" y="11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8" name="Freeform 26">
            <a:extLst>
              <a:ext uri="{FF2B5EF4-FFF2-40B4-BE49-F238E27FC236}">
                <a16:creationId xmlns:a16="http://schemas.microsoft.com/office/drawing/2014/main" id="{209BCF52-7DBF-486A-85C5-2CCF0F6E1547}"/>
              </a:ext>
            </a:extLst>
          </p:cNvPr>
          <p:cNvSpPr>
            <a:spLocks noEditPoints="1"/>
          </p:cNvSpPr>
          <p:nvPr/>
        </p:nvSpPr>
        <p:spPr bwMode="auto">
          <a:xfrm>
            <a:off x="5051266" y="4097633"/>
            <a:ext cx="323178" cy="366926"/>
          </a:xfrm>
          <a:custGeom>
            <a:avLst/>
            <a:gdLst>
              <a:gd name="T0" fmla="*/ 112 w 112"/>
              <a:gd name="T1" fmla="*/ 48 h 128"/>
              <a:gd name="T2" fmla="*/ 91 w 112"/>
              <a:gd name="T3" fmla="*/ 24 h 128"/>
              <a:gd name="T4" fmla="*/ 56 w 112"/>
              <a:gd name="T5" fmla="*/ 0 h 128"/>
              <a:gd name="T6" fmla="*/ 21 w 112"/>
              <a:gd name="T7" fmla="*/ 24 h 128"/>
              <a:gd name="T8" fmla="*/ 0 w 112"/>
              <a:gd name="T9" fmla="*/ 48 h 128"/>
              <a:gd name="T10" fmla="*/ 15 w 112"/>
              <a:gd name="T11" fmla="*/ 70 h 128"/>
              <a:gd name="T12" fmla="*/ 33 w 112"/>
              <a:gd name="T13" fmla="*/ 128 h 128"/>
              <a:gd name="T14" fmla="*/ 79 w 112"/>
              <a:gd name="T15" fmla="*/ 128 h 128"/>
              <a:gd name="T16" fmla="*/ 97 w 112"/>
              <a:gd name="T17" fmla="*/ 70 h 128"/>
              <a:gd name="T18" fmla="*/ 112 w 112"/>
              <a:gd name="T19" fmla="*/ 48 h 128"/>
              <a:gd name="T20" fmla="*/ 73 w 112"/>
              <a:gd name="T21" fmla="*/ 120 h 128"/>
              <a:gd name="T22" fmla="*/ 39 w 112"/>
              <a:gd name="T23" fmla="*/ 120 h 128"/>
              <a:gd name="T24" fmla="*/ 22 w 112"/>
              <a:gd name="T25" fmla="*/ 64 h 128"/>
              <a:gd name="T26" fmla="*/ 91 w 112"/>
              <a:gd name="T27" fmla="*/ 64 h 128"/>
              <a:gd name="T28" fmla="*/ 88 w 112"/>
              <a:gd name="T29" fmla="*/ 72 h 128"/>
              <a:gd name="T30" fmla="*/ 73 w 112"/>
              <a:gd name="T31"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128">
                <a:moveTo>
                  <a:pt x="112" y="48"/>
                </a:moveTo>
                <a:cubicBezTo>
                  <a:pt x="112" y="36"/>
                  <a:pt x="103" y="26"/>
                  <a:pt x="91" y="24"/>
                </a:cubicBezTo>
                <a:cubicBezTo>
                  <a:pt x="86" y="10"/>
                  <a:pt x="72" y="0"/>
                  <a:pt x="56" y="0"/>
                </a:cubicBezTo>
                <a:cubicBezTo>
                  <a:pt x="40" y="0"/>
                  <a:pt x="26" y="10"/>
                  <a:pt x="21" y="24"/>
                </a:cubicBezTo>
                <a:cubicBezTo>
                  <a:pt x="9" y="26"/>
                  <a:pt x="0" y="36"/>
                  <a:pt x="0" y="48"/>
                </a:cubicBezTo>
                <a:cubicBezTo>
                  <a:pt x="0" y="58"/>
                  <a:pt x="6" y="67"/>
                  <a:pt x="15" y="70"/>
                </a:cubicBezTo>
                <a:cubicBezTo>
                  <a:pt x="33" y="128"/>
                  <a:pt x="33" y="128"/>
                  <a:pt x="33" y="128"/>
                </a:cubicBezTo>
                <a:cubicBezTo>
                  <a:pt x="79" y="128"/>
                  <a:pt x="79" y="128"/>
                  <a:pt x="79" y="128"/>
                </a:cubicBezTo>
                <a:cubicBezTo>
                  <a:pt x="97" y="70"/>
                  <a:pt x="97" y="70"/>
                  <a:pt x="97" y="70"/>
                </a:cubicBezTo>
                <a:cubicBezTo>
                  <a:pt x="106" y="67"/>
                  <a:pt x="112" y="58"/>
                  <a:pt x="112" y="48"/>
                </a:cubicBezTo>
                <a:close/>
                <a:moveTo>
                  <a:pt x="73" y="120"/>
                </a:moveTo>
                <a:cubicBezTo>
                  <a:pt x="39" y="120"/>
                  <a:pt x="39" y="120"/>
                  <a:pt x="39" y="120"/>
                </a:cubicBezTo>
                <a:cubicBezTo>
                  <a:pt x="22" y="64"/>
                  <a:pt x="22" y="64"/>
                  <a:pt x="22" y="64"/>
                </a:cubicBezTo>
                <a:cubicBezTo>
                  <a:pt x="91" y="64"/>
                  <a:pt x="91" y="64"/>
                  <a:pt x="91" y="64"/>
                </a:cubicBezTo>
                <a:cubicBezTo>
                  <a:pt x="88" y="72"/>
                  <a:pt x="88" y="72"/>
                  <a:pt x="88" y="72"/>
                </a:cubicBezTo>
                <a:cubicBezTo>
                  <a:pt x="88" y="72"/>
                  <a:pt x="73" y="120"/>
                  <a:pt x="73" y="1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7" name="TextBox 216">
            <a:extLst>
              <a:ext uri="{FF2B5EF4-FFF2-40B4-BE49-F238E27FC236}">
                <a16:creationId xmlns:a16="http://schemas.microsoft.com/office/drawing/2014/main" id="{54CAC423-3FFA-466B-B2F4-26BE44F8D1C2}"/>
              </a:ext>
            </a:extLst>
          </p:cNvPr>
          <p:cNvSpPr txBox="1"/>
          <p:nvPr/>
        </p:nvSpPr>
        <p:spPr>
          <a:xfrm>
            <a:off x="702679" y="2077494"/>
            <a:ext cx="182742" cy="107722"/>
          </a:xfrm>
          <a:prstGeom prst="rect">
            <a:avLst/>
          </a:prstGeom>
          <a:noFill/>
          <a:effectLst/>
        </p:spPr>
        <p:txBody>
          <a:bodyPr wrap="none" lIns="0" tIns="0" rIns="0" bIns="0" rtlCol="0" anchor="t">
            <a:spAutoFit/>
          </a:bodyPr>
          <a:lstStyle/>
          <a:p>
            <a:pPr algn="ctr"/>
            <a:r>
              <a:rPr lang="en-GB" sz="700" dirty="0">
                <a:solidFill>
                  <a:schemeClr val="tx2"/>
                </a:solidFill>
              </a:rPr>
              <a:t>Rain</a:t>
            </a:r>
          </a:p>
        </p:txBody>
      </p:sp>
      <p:sp>
        <p:nvSpPr>
          <p:cNvPr id="218" name="TextBox 217">
            <a:extLst>
              <a:ext uri="{FF2B5EF4-FFF2-40B4-BE49-F238E27FC236}">
                <a16:creationId xmlns:a16="http://schemas.microsoft.com/office/drawing/2014/main" id="{91B6AFEF-7873-4454-B188-B01D8ECD7015}"/>
              </a:ext>
            </a:extLst>
          </p:cNvPr>
          <p:cNvSpPr txBox="1"/>
          <p:nvPr/>
        </p:nvSpPr>
        <p:spPr>
          <a:xfrm>
            <a:off x="545585" y="2899619"/>
            <a:ext cx="496931" cy="215444"/>
          </a:xfrm>
          <a:prstGeom prst="rect">
            <a:avLst/>
          </a:prstGeom>
          <a:noFill/>
          <a:effectLst/>
        </p:spPr>
        <p:txBody>
          <a:bodyPr wrap="none" lIns="0" tIns="0" rIns="0" bIns="0" rtlCol="0" anchor="t">
            <a:spAutoFit/>
          </a:bodyPr>
          <a:lstStyle/>
          <a:p>
            <a:pPr algn="ctr"/>
            <a:r>
              <a:rPr lang="en-GB" sz="700" dirty="0">
                <a:solidFill>
                  <a:schemeClr val="tx2"/>
                </a:solidFill>
              </a:rPr>
              <a:t>Reduce side</a:t>
            </a:r>
            <a:br>
              <a:rPr lang="en-GB" sz="700" dirty="0">
                <a:solidFill>
                  <a:schemeClr val="tx2"/>
                </a:solidFill>
              </a:rPr>
            </a:br>
            <a:r>
              <a:rPr lang="en-GB" sz="700" dirty="0">
                <a:solidFill>
                  <a:schemeClr val="tx2"/>
                </a:solidFill>
              </a:rPr>
              <a:t>navigation</a:t>
            </a:r>
          </a:p>
        </p:txBody>
      </p:sp>
      <p:sp>
        <p:nvSpPr>
          <p:cNvPr id="219" name="TextBox 218">
            <a:extLst>
              <a:ext uri="{FF2B5EF4-FFF2-40B4-BE49-F238E27FC236}">
                <a16:creationId xmlns:a16="http://schemas.microsoft.com/office/drawing/2014/main" id="{C644FBA2-5FF6-4FCB-B7EA-6A51C755EA0B}"/>
              </a:ext>
            </a:extLst>
          </p:cNvPr>
          <p:cNvSpPr txBox="1"/>
          <p:nvPr/>
        </p:nvSpPr>
        <p:spPr>
          <a:xfrm>
            <a:off x="574440" y="3723675"/>
            <a:ext cx="439223" cy="107722"/>
          </a:xfrm>
          <a:prstGeom prst="rect">
            <a:avLst/>
          </a:prstGeom>
          <a:noFill/>
          <a:effectLst/>
        </p:spPr>
        <p:txBody>
          <a:bodyPr wrap="none" lIns="0" tIns="0" rIns="0" bIns="0" rtlCol="0" anchor="t">
            <a:spAutoFit/>
          </a:bodyPr>
          <a:lstStyle/>
          <a:p>
            <a:pPr algn="ctr"/>
            <a:r>
              <a:rPr lang="en-GB" sz="700" dirty="0">
                <a:solidFill>
                  <a:schemeClr val="tx2"/>
                </a:solidFill>
              </a:rPr>
              <a:t>Restaurant</a:t>
            </a:r>
          </a:p>
        </p:txBody>
      </p:sp>
      <p:sp>
        <p:nvSpPr>
          <p:cNvPr id="220" name="TextBox 219">
            <a:extLst>
              <a:ext uri="{FF2B5EF4-FFF2-40B4-BE49-F238E27FC236}">
                <a16:creationId xmlns:a16="http://schemas.microsoft.com/office/drawing/2014/main" id="{5DB38C09-E814-4315-8673-3FD41FD28212}"/>
              </a:ext>
            </a:extLst>
          </p:cNvPr>
          <p:cNvSpPr txBox="1"/>
          <p:nvPr/>
        </p:nvSpPr>
        <p:spPr>
          <a:xfrm>
            <a:off x="635351" y="4547732"/>
            <a:ext cx="317395" cy="107722"/>
          </a:xfrm>
          <a:prstGeom prst="rect">
            <a:avLst/>
          </a:prstGeom>
          <a:noFill/>
          <a:effectLst/>
        </p:spPr>
        <p:txBody>
          <a:bodyPr wrap="none" lIns="0" tIns="0" rIns="0" bIns="0" rtlCol="0" anchor="t">
            <a:spAutoFit/>
          </a:bodyPr>
          <a:lstStyle/>
          <a:p>
            <a:pPr algn="ctr"/>
            <a:r>
              <a:rPr lang="en-GB" sz="700" dirty="0">
                <a:solidFill>
                  <a:schemeClr val="tx2"/>
                </a:solidFill>
              </a:rPr>
              <a:t>Satellite</a:t>
            </a:r>
          </a:p>
        </p:txBody>
      </p:sp>
      <p:sp>
        <p:nvSpPr>
          <p:cNvPr id="221" name="TextBox 220">
            <a:extLst>
              <a:ext uri="{FF2B5EF4-FFF2-40B4-BE49-F238E27FC236}">
                <a16:creationId xmlns:a16="http://schemas.microsoft.com/office/drawing/2014/main" id="{A11DD1B7-0B99-4128-A95E-F5B37653F1BE}"/>
              </a:ext>
            </a:extLst>
          </p:cNvPr>
          <p:cNvSpPr txBox="1"/>
          <p:nvPr/>
        </p:nvSpPr>
        <p:spPr>
          <a:xfrm>
            <a:off x="1650329" y="2077494"/>
            <a:ext cx="378309" cy="107722"/>
          </a:xfrm>
          <a:prstGeom prst="rect">
            <a:avLst/>
          </a:prstGeom>
          <a:noFill/>
          <a:effectLst/>
        </p:spPr>
        <p:txBody>
          <a:bodyPr wrap="none" lIns="0" tIns="0" rIns="0" bIns="0" rtlCol="0" anchor="t">
            <a:spAutoFit/>
          </a:bodyPr>
          <a:lstStyle/>
          <a:p>
            <a:pPr algn="ctr"/>
            <a:r>
              <a:rPr lang="en-GB" sz="700" dirty="0">
                <a:solidFill>
                  <a:schemeClr val="tx2"/>
                </a:solidFill>
              </a:rPr>
              <a:t>Rate also</a:t>
            </a:r>
          </a:p>
        </p:txBody>
      </p:sp>
      <p:sp>
        <p:nvSpPr>
          <p:cNvPr id="222" name="TextBox 221">
            <a:extLst>
              <a:ext uri="{FF2B5EF4-FFF2-40B4-BE49-F238E27FC236}">
                <a16:creationId xmlns:a16="http://schemas.microsoft.com/office/drawing/2014/main" id="{2234E094-64F7-43F0-BD3E-D9C2B9183483}"/>
              </a:ext>
            </a:extLst>
          </p:cNvPr>
          <p:cNvSpPr txBox="1"/>
          <p:nvPr/>
        </p:nvSpPr>
        <p:spPr>
          <a:xfrm>
            <a:off x="1583004" y="2899619"/>
            <a:ext cx="512961" cy="107722"/>
          </a:xfrm>
          <a:prstGeom prst="rect">
            <a:avLst/>
          </a:prstGeom>
          <a:noFill/>
          <a:effectLst/>
        </p:spPr>
        <p:txBody>
          <a:bodyPr wrap="none" lIns="0" tIns="0" rIns="0" bIns="0" rtlCol="0" anchor="t">
            <a:spAutoFit/>
          </a:bodyPr>
          <a:lstStyle/>
          <a:p>
            <a:pPr algn="ctr"/>
            <a:r>
              <a:rPr lang="en-GB" sz="700" dirty="0">
                <a:solidFill>
                  <a:schemeClr val="tx2"/>
                </a:solidFill>
              </a:rPr>
              <a:t>Refrigeration</a:t>
            </a:r>
          </a:p>
        </p:txBody>
      </p:sp>
      <p:sp>
        <p:nvSpPr>
          <p:cNvPr id="223" name="TextBox 222">
            <a:extLst>
              <a:ext uri="{FF2B5EF4-FFF2-40B4-BE49-F238E27FC236}">
                <a16:creationId xmlns:a16="http://schemas.microsoft.com/office/drawing/2014/main" id="{14D50A2C-BACB-46F0-AC4C-51CDD5D24AEF}"/>
              </a:ext>
            </a:extLst>
          </p:cNvPr>
          <p:cNvSpPr txBox="1"/>
          <p:nvPr/>
        </p:nvSpPr>
        <p:spPr>
          <a:xfrm>
            <a:off x="1644719" y="3723675"/>
            <a:ext cx="389530" cy="107722"/>
          </a:xfrm>
          <a:prstGeom prst="rect">
            <a:avLst/>
          </a:prstGeom>
          <a:noFill/>
          <a:effectLst/>
        </p:spPr>
        <p:txBody>
          <a:bodyPr wrap="none" lIns="0" tIns="0" rIns="0" bIns="0" rtlCol="0" anchor="t">
            <a:spAutoFit/>
          </a:bodyPr>
          <a:lstStyle/>
          <a:p>
            <a:pPr algn="ctr"/>
            <a:r>
              <a:rPr lang="en-GB" sz="700" dirty="0">
                <a:solidFill>
                  <a:schemeClr val="tx2"/>
                </a:solidFill>
              </a:rPr>
              <a:t>Restroom</a:t>
            </a:r>
          </a:p>
        </p:txBody>
      </p:sp>
      <p:sp>
        <p:nvSpPr>
          <p:cNvPr id="224" name="TextBox 223">
            <a:extLst>
              <a:ext uri="{FF2B5EF4-FFF2-40B4-BE49-F238E27FC236}">
                <a16:creationId xmlns:a16="http://schemas.microsoft.com/office/drawing/2014/main" id="{D3F16152-A028-4F6C-B896-A3CE73E208C9}"/>
              </a:ext>
            </a:extLst>
          </p:cNvPr>
          <p:cNvSpPr txBox="1"/>
          <p:nvPr/>
        </p:nvSpPr>
        <p:spPr>
          <a:xfrm>
            <a:off x="1659947" y="4547732"/>
            <a:ext cx="359074" cy="215444"/>
          </a:xfrm>
          <a:prstGeom prst="rect">
            <a:avLst/>
          </a:prstGeom>
          <a:noFill/>
          <a:effectLst/>
        </p:spPr>
        <p:txBody>
          <a:bodyPr wrap="none" lIns="0" tIns="0" rIns="0" bIns="0" rtlCol="0" anchor="t">
            <a:spAutoFit/>
          </a:bodyPr>
          <a:lstStyle/>
          <a:p>
            <a:pPr algn="ctr"/>
            <a:r>
              <a:rPr lang="en-GB" sz="700" dirty="0">
                <a:solidFill>
                  <a:schemeClr val="tx2"/>
                </a:solidFill>
              </a:rPr>
              <a:t>Satellite</a:t>
            </a:r>
            <a:br>
              <a:rPr lang="en-GB" sz="700" dirty="0">
                <a:solidFill>
                  <a:schemeClr val="tx2"/>
                </a:solidFill>
              </a:rPr>
            </a:br>
            <a:r>
              <a:rPr lang="en-GB" sz="700" dirty="0">
                <a:solidFill>
                  <a:schemeClr val="tx2"/>
                </a:solidFill>
              </a:rPr>
              <a:t>dish 1 px</a:t>
            </a:r>
          </a:p>
        </p:txBody>
      </p:sp>
      <p:sp>
        <p:nvSpPr>
          <p:cNvPr id="225" name="TextBox 224">
            <a:extLst>
              <a:ext uri="{FF2B5EF4-FFF2-40B4-BE49-F238E27FC236}">
                <a16:creationId xmlns:a16="http://schemas.microsoft.com/office/drawing/2014/main" id="{9D1FFEF0-56D4-4442-A2B8-249667CADE9B}"/>
              </a:ext>
            </a:extLst>
          </p:cNvPr>
          <p:cNvSpPr txBox="1"/>
          <p:nvPr/>
        </p:nvSpPr>
        <p:spPr>
          <a:xfrm>
            <a:off x="2695764" y="2077494"/>
            <a:ext cx="378309" cy="107722"/>
          </a:xfrm>
          <a:prstGeom prst="rect">
            <a:avLst/>
          </a:prstGeom>
          <a:noFill/>
          <a:effectLst/>
        </p:spPr>
        <p:txBody>
          <a:bodyPr wrap="none" lIns="0" tIns="0" rIns="0" bIns="0" rtlCol="0" anchor="t">
            <a:spAutoFit/>
          </a:bodyPr>
          <a:lstStyle/>
          <a:p>
            <a:pPr algn="ctr"/>
            <a:r>
              <a:rPr lang="en-GB" sz="700" dirty="0">
                <a:solidFill>
                  <a:schemeClr val="tx2"/>
                </a:solidFill>
              </a:rPr>
              <a:t>Rate only</a:t>
            </a:r>
          </a:p>
        </p:txBody>
      </p:sp>
      <p:sp>
        <p:nvSpPr>
          <p:cNvPr id="226" name="TextBox 225">
            <a:extLst>
              <a:ext uri="{FF2B5EF4-FFF2-40B4-BE49-F238E27FC236}">
                <a16:creationId xmlns:a16="http://schemas.microsoft.com/office/drawing/2014/main" id="{FB6B15CD-4871-4FD4-8E4B-2B5FF927833E}"/>
              </a:ext>
            </a:extLst>
          </p:cNvPr>
          <p:cNvSpPr txBox="1"/>
          <p:nvPr/>
        </p:nvSpPr>
        <p:spPr>
          <a:xfrm>
            <a:off x="2690956" y="2899619"/>
            <a:ext cx="387927" cy="107722"/>
          </a:xfrm>
          <a:prstGeom prst="rect">
            <a:avLst/>
          </a:prstGeom>
          <a:noFill/>
          <a:effectLst/>
        </p:spPr>
        <p:txBody>
          <a:bodyPr wrap="none" lIns="0" tIns="0" rIns="0" bIns="0" rtlCol="0" anchor="t">
            <a:spAutoFit/>
          </a:bodyPr>
          <a:lstStyle/>
          <a:p>
            <a:pPr algn="ctr"/>
            <a:r>
              <a:rPr lang="en-GB" sz="700" dirty="0">
                <a:solidFill>
                  <a:schemeClr val="tx2"/>
                </a:solidFill>
              </a:rPr>
              <a:t>Reminder</a:t>
            </a:r>
          </a:p>
        </p:txBody>
      </p:sp>
      <p:sp>
        <p:nvSpPr>
          <p:cNvPr id="227" name="TextBox 226">
            <a:extLst>
              <a:ext uri="{FF2B5EF4-FFF2-40B4-BE49-F238E27FC236}">
                <a16:creationId xmlns:a16="http://schemas.microsoft.com/office/drawing/2014/main" id="{975FCA5F-A71A-466D-8D89-F5C246A9A303}"/>
              </a:ext>
            </a:extLst>
          </p:cNvPr>
          <p:cNvSpPr txBox="1"/>
          <p:nvPr/>
        </p:nvSpPr>
        <p:spPr>
          <a:xfrm>
            <a:off x="2693361" y="3723675"/>
            <a:ext cx="383118" cy="107722"/>
          </a:xfrm>
          <a:prstGeom prst="rect">
            <a:avLst/>
          </a:prstGeom>
          <a:noFill/>
          <a:effectLst/>
        </p:spPr>
        <p:txBody>
          <a:bodyPr wrap="none" lIns="0" tIns="0" rIns="0" bIns="0" rtlCol="0" anchor="t">
            <a:spAutoFit/>
          </a:bodyPr>
          <a:lstStyle/>
          <a:p>
            <a:pPr algn="ctr"/>
            <a:r>
              <a:rPr lang="en-GB" sz="700" dirty="0">
                <a:solidFill>
                  <a:schemeClr val="tx2"/>
                </a:solidFill>
              </a:rPr>
              <a:t>RSS feed</a:t>
            </a:r>
          </a:p>
        </p:txBody>
      </p:sp>
      <p:sp>
        <p:nvSpPr>
          <p:cNvPr id="228" name="TextBox 227">
            <a:extLst>
              <a:ext uri="{FF2B5EF4-FFF2-40B4-BE49-F238E27FC236}">
                <a16:creationId xmlns:a16="http://schemas.microsoft.com/office/drawing/2014/main" id="{ED05CC0A-30BA-4CD7-9A5A-6DD77063786B}"/>
              </a:ext>
            </a:extLst>
          </p:cNvPr>
          <p:cNvSpPr txBox="1"/>
          <p:nvPr/>
        </p:nvSpPr>
        <p:spPr>
          <a:xfrm>
            <a:off x="2705381" y="4547732"/>
            <a:ext cx="359074" cy="215444"/>
          </a:xfrm>
          <a:prstGeom prst="rect">
            <a:avLst/>
          </a:prstGeom>
          <a:noFill/>
          <a:effectLst/>
        </p:spPr>
        <p:txBody>
          <a:bodyPr wrap="none" lIns="0" tIns="0" rIns="0" bIns="0" rtlCol="0" anchor="t">
            <a:spAutoFit/>
          </a:bodyPr>
          <a:lstStyle/>
          <a:p>
            <a:pPr algn="ctr"/>
            <a:r>
              <a:rPr lang="en-GB" sz="700" dirty="0">
                <a:solidFill>
                  <a:schemeClr val="tx2"/>
                </a:solidFill>
              </a:rPr>
              <a:t>Satellite</a:t>
            </a:r>
            <a:br>
              <a:rPr lang="en-GB" sz="700" dirty="0">
                <a:solidFill>
                  <a:schemeClr val="tx2"/>
                </a:solidFill>
              </a:rPr>
            </a:br>
            <a:r>
              <a:rPr lang="en-GB" sz="700" dirty="0">
                <a:solidFill>
                  <a:schemeClr val="tx2"/>
                </a:solidFill>
              </a:rPr>
              <a:t>dish 2 px</a:t>
            </a:r>
          </a:p>
        </p:txBody>
      </p:sp>
      <p:sp>
        <p:nvSpPr>
          <p:cNvPr id="229" name="TextBox 228">
            <a:extLst>
              <a:ext uri="{FF2B5EF4-FFF2-40B4-BE49-F238E27FC236}">
                <a16:creationId xmlns:a16="http://schemas.microsoft.com/office/drawing/2014/main" id="{C6CB3B63-5331-4295-AD37-E8E0861CB61A}"/>
              </a:ext>
            </a:extLst>
          </p:cNvPr>
          <p:cNvSpPr txBox="1"/>
          <p:nvPr/>
        </p:nvSpPr>
        <p:spPr>
          <a:xfrm>
            <a:off x="3712344" y="2077494"/>
            <a:ext cx="436017" cy="215444"/>
          </a:xfrm>
          <a:prstGeom prst="rect">
            <a:avLst/>
          </a:prstGeom>
          <a:noFill/>
          <a:effectLst/>
        </p:spPr>
        <p:txBody>
          <a:bodyPr wrap="none" lIns="0" tIns="0" rIns="0" bIns="0" rtlCol="0" anchor="t">
            <a:spAutoFit/>
          </a:bodyPr>
          <a:lstStyle/>
          <a:p>
            <a:pPr algn="ctr"/>
            <a:r>
              <a:rPr lang="en-GB" sz="700" dirty="0">
                <a:solidFill>
                  <a:schemeClr val="tx2"/>
                </a:solidFill>
              </a:rPr>
              <a:t>Recyclable</a:t>
            </a:r>
            <a:br>
              <a:rPr lang="en-GB" sz="700" dirty="0">
                <a:solidFill>
                  <a:schemeClr val="tx2"/>
                </a:solidFill>
              </a:rPr>
            </a:br>
            <a:r>
              <a:rPr lang="en-GB" sz="700" dirty="0">
                <a:solidFill>
                  <a:schemeClr val="tx2"/>
                </a:solidFill>
              </a:rPr>
              <a:t>material</a:t>
            </a:r>
          </a:p>
        </p:txBody>
      </p:sp>
      <p:sp>
        <p:nvSpPr>
          <p:cNvPr id="230" name="TextBox 229">
            <a:extLst>
              <a:ext uri="{FF2B5EF4-FFF2-40B4-BE49-F238E27FC236}">
                <a16:creationId xmlns:a16="http://schemas.microsoft.com/office/drawing/2014/main" id="{F1D463F5-BD82-4B63-A3F5-93B4512E786A}"/>
              </a:ext>
            </a:extLst>
          </p:cNvPr>
          <p:cNvSpPr txBox="1"/>
          <p:nvPr/>
        </p:nvSpPr>
        <p:spPr>
          <a:xfrm>
            <a:off x="3655436" y="2899619"/>
            <a:ext cx="549831" cy="107722"/>
          </a:xfrm>
          <a:prstGeom prst="rect">
            <a:avLst/>
          </a:prstGeom>
          <a:noFill/>
          <a:effectLst/>
        </p:spPr>
        <p:txBody>
          <a:bodyPr wrap="none" lIns="0" tIns="0" rIns="0" bIns="0" rtlCol="0" anchor="t">
            <a:spAutoFit/>
          </a:bodyPr>
          <a:lstStyle/>
          <a:p>
            <a:pPr algn="ctr"/>
            <a:r>
              <a:rPr lang="en-GB" sz="700">
                <a:solidFill>
                  <a:schemeClr val="tx2"/>
                </a:solidFill>
              </a:rPr>
              <a:t>Responsibility</a:t>
            </a:r>
            <a:endParaRPr lang="en-GB" sz="700" dirty="0">
              <a:solidFill>
                <a:schemeClr val="tx2"/>
              </a:solidFill>
            </a:endParaRPr>
          </a:p>
        </p:txBody>
      </p:sp>
      <p:sp>
        <p:nvSpPr>
          <p:cNvPr id="231" name="TextBox 230">
            <a:extLst>
              <a:ext uri="{FF2B5EF4-FFF2-40B4-BE49-F238E27FC236}">
                <a16:creationId xmlns:a16="http://schemas.microsoft.com/office/drawing/2014/main" id="{EB7E90A6-AB3D-4E96-A855-4B3F5E279F0A}"/>
              </a:ext>
            </a:extLst>
          </p:cNvPr>
          <p:cNvSpPr txBox="1"/>
          <p:nvPr/>
        </p:nvSpPr>
        <p:spPr>
          <a:xfrm>
            <a:off x="3754020" y="3723675"/>
            <a:ext cx="352661" cy="107722"/>
          </a:xfrm>
          <a:prstGeom prst="rect">
            <a:avLst/>
          </a:prstGeom>
          <a:noFill/>
          <a:effectLst/>
        </p:spPr>
        <p:txBody>
          <a:bodyPr wrap="none" lIns="0" tIns="0" rIns="0" bIns="0" rtlCol="0" anchor="t">
            <a:spAutoFit/>
          </a:bodyPr>
          <a:lstStyle/>
          <a:p>
            <a:pPr algn="ctr"/>
            <a:r>
              <a:rPr lang="en-GB" sz="700" dirty="0">
                <a:solidFill>
                  <a:schemeClr val="tx2"/>
                </a:solidFill>
              </a:rPr>
              <a:t>Sandbox</a:t>
            </a:r>
          </a:p>
        </p:txBody>
      </p:sp>
      <p:sp>
        <p:nvSpPr>
          <p:cNvPr id="232" name="TextBox 231">
            <a:extLst>
              <a:ext uri="{FF2B5EF4-FFF2-40B4-BE49-F238E27FC236}">
                <a16:creationId xmlns:a16="http://schemas.microsoft.com/office/drawing/2014/main" id="{39025A08-E131-4DE0-8B3E-29DB6DAF4FA3}"/>
              </a:ext>
            </a:extLst>
          </p:cNvPr>
          <p:cNvSpPr txBox="1"/>
          <p:nvPr/>
        </p:nvSpPr>
        <p:spPr>
          <a:xfrm>
            <a:off x="3788484" y="4547732"/>
            <a:ext cx="283731" cy="107722"/>
          </a:xfrm>
          <a:prstGeom prst="rect">
            <a:avLst/>
          </a:prstGeom>
          <a:noFill/>
          <a:effectLst/>
        </p:spPr>
        <p:txBody>
          <a:bodyPr wrap="none" lIns="0" tIns="0" rIns="0" bIns="0" rtlCol="0" anchor="t">
            <a:spAutoFit/>
          </a:bodyPr>
          <a:lstStyle/>
          <a:p>
            <a:pPr algn="ctr"/>
            <a:r>
              <a:rPr lang="en-GB" sz="700" dirty="0">
                <a:solidFill>
                  <a:schemeClr val="tx2"/>
                </a:solidFill>
              </a:rPr>
              <a:t>Search</a:t>
            </a:r>
          </a:p>
        </p:txBody>
      </p:sp>
      <p:sp>
        <p:nvSpPr>
          <p:cNvPr id="233" name="TextBox 232">
            <a:extLst>
              <a:ext uri="{FF2B5EF4-FFF2-40B4-BE49-F238E27FC236}">
                <a16:creationId xmlns:a16="http://schemas.microsoft.com/office/drawing/2014/main" id="{854C2806-CA05-4A31-B47B-A1503E96FFD6}"/>
              </a:ext>
            </a:extLst>
          </p:cNvPr>
          <p:cNvSpPr txBox="1"/>
          <p:nvPr/>
        </p:nvSpPr>
        <p:spPr>
          <a:xfrm>
            <a:off x="5029311" y="2077494"/>
            <a:ext cx="367088" cy="107722"/>
          </a:xfrm>
          <a:prstGeom prst="rect">
            <a:avLst/>
          </a:prstGeom>
          <a:noFill/>
          <a:effectLst/>
        </p:spPr>
        <p:txBody>
          <a:bodyPr wrap="none" lIns="0" tIns="0" rIns="0" bIns="0" rtlCol="0" anchor="t">
            <a:spAutoFit/>
          </a:bodyPr>
          <a:lstStyle/>
          <a:p>
            <a:pPr algn="ctr"/>
            <a:r>
              <a:rPr lang="en-GB" sz="700" dirty="0">
                <a:solidFill>
                  <a:schemeClr val="tx2"/>
                </a:solidFill>
              </a:rPr>
              <a:t>Selection</a:t>
            </a:r>
          </a:p>
        </p:txBody>
      </p:sp>
      <p:sp>
        <p:nvSpPr>
          <p:cNvPr id="234" name="TextBox 233">
            <a:extLst>
              <a:ext uri="{FF2B5EF4-FFF2-40B4-BE49-F238E27FC236}">
                <a16:creationId xmlns:a16="http://schemas.microsoft.com/office/drawing/2014/main" id="{AA14C932-AE39-49A3-99FA-7D6B106799C0}"/>
              </a:ext>
            </a:extLst>
          </p:cNvPr>
          <p:cNvSpPr txBox="1"/>
          <p:nvPr/>
        </p:nvSpPr>
        <p:spPr>
          <a:xfrm>
            <a:off x="5033319" y="2899619"/>
            <a:ext cx="359074" cy="107722"/>
          </a:xfrm>
          <a:prstGeom prst="rect">
            <a:avLst/>
          </a:prstGeom>
          <a:noFill/>
          <a:effectLst/>
        </p:spPr>
        <p:txBody>
          <a:bodyPr wrap="none" lIns="0" tIns="0" rIns="0" bIns="0" rtlCol="0" anchor="t">
            <a:spAutoFit/>
          </a:bodyPr>
          <a:lstStyle/>
          <a:p>
            <a:pPr algn="ctr"/>
            <a:r>
              <a:rPr lang="en-GB" sz="700" dirty="0">
                <a:solidFill>
                  <a:schemeClr val="tx2"/>
                </a:solidFill>
              </a:rPr>
              <a:t>Sensor 4</a:t>
            </a:r>
          </a:p>
        </p:txBody>
      </p:sp>
      <p:sp>
        <p:nvSpPr>
          <p:cNvPr id="235" name="TextBox 234">
            <a:extLst>
              <a:ext uri="{FF2B5EF4-FFF2-40B4-BE49-F238E27FC236}">
                <a16:creationId xmlns:a16="http://schemas.microsoft.com/office/drawing/2014/main" id="{472D326E-7F4C-40DE-AA1F-40594A120247}"/>
              </a:ext>
            </a:extLst>
          </p:cNvPr>
          <p:cNvSpPr txBox="1"/>
          <p:nvPr/>
        </p:nvSpPr>
        <p:spPr>
          <a:xfrm>
            <a:off x="4965993" y="3723675"/>
            <a:ext cx="493725" cy="107722"/>
          </a:xfrm>
          <a:prstGeom prst="rect">
            <a:avLst/>
          </a:prstGeom>
          <a:noFill/>
          <a:effectLst/>
        </p:spPr>
        <p:txBody>
          <a:bodyPr wrap="none" lIns="0" tIns="0" rIns="0" bIns="0" rtlCol="0" anchor="t">
            <a:spAutoFit/>
          </a:bodyPr>
          <a:lstStyle/>
          <a:p>
            <a:pPr algn="ctr"/>
            <a:r>
              <a:rPr lang="en-GB" sz="700" dirty="0">
                <a:solidFill>
                  <a:schemeClr val="tx2"/>
                </a:solidFill>
              </a:rPr>
              <a:t>Service 2 px</a:t>
            </a:r>
          </a:p>
        </p:txBody>
      </p:sp>
      <p:sp>
        <p:nvSpPr>
          <p:cNvPr id="236" name="TextBox 235">
            <a:extLst>
              <a:ext uri="{FF2B5EF4-FFF2-40B4-BE49-F238E27FC236}">
                <a16:creationId xmlns:a16="http://schemas.microsoft.com/office/drawing/2014/main" id="{91F5C24B-5E3D-4289-820B-C0282E8A8968}"/>
              </a:ext>
            </a:extLst>
          </p:cNvPr>
          <p:cNvSpPr txBox="1"/>
          <p:nvPr/>
        </p:nvSpPr>
        <p:spPr>
          <a:xfrm>
            <a:off x="6078754" y="2077494"/>
            <a:ext cx="359073" cy="107722"/>
          </a:xfrm>
          <a:prstGeom prst="rect">
            <a:avLst/>
          </a:prstGeom>
          <a:noFill/>
          <a:effectLst/>
        </p:spPr>
        <p:txBody>
          <a:bodyPr wrap="none" lIns="0" tIns="0" rIns="0" bIns="0" rtlCol="0" anchor="t">
            <a:spAutoFit/>
          </a:bodyPr>
          <a:lstStyle/>
          <a:p>
            <a:pPr algn="ctr"/>
            <a:r>
              <a:rPr lang="en-GB" sz="700" dirty="0">
                <a:solidFill>
                  <a:schemeClr val="tx2"/>
                </a:solidFill>
              </a:rPr>
              <a:t>Sensor 1</a:t>
            </a:r>
          </a:p>
        </p:txBody>
      </p:sp>
      <p:sp>
        <p:nvSpPr>
          <p:cNvPr id="237" name="TextBox 236">
            <a:extLst>
              <a:ext uri="{FF2B5EF4-FFF2-40B4-BE49-F238E27FC236}">
                <a16:creationId xmlns:a16="http://schemas.microsoft.com/office/drawing/2014/main" id="{380643D4-8A7F-4A1E-8AB4-81E80463A267}"/>
              </a:ext>
            </a:extLst>
          </p:cNvPr>
          <p:cNvSpPr txBox="1"/>
          <p:nvPr/>
        </p:nvSpPr>
        <p:spPr>
          <a:xfrm>
            <a:off x="6016238" y="2899619"/>
            <a:ext cx="484107" cy="107722"/>
          </a:xfrm>
          <a:prstGeom prst="rect">
            <a:avLst/>
          </a:prstGeom>
          <a:noFill/>
          <a:effectLst/>
        </p:spPr>
        <p:txBody>
          <a:bodyPr wrap="none" lIns="0" tIns="0" rIns="0" bIns="0" rtlCol="0" anchor="t">
            <a:spAutoFit/>
          </a:bodyPr>
          <a:lstStyle/>
          <a:p>
            <a:pPr algn="ctr"/>
            <a:r>
              <a:rPr lang="en-GB" sz="700" dirty="0">
                <a:solidFill>
                  <a:schemeClr val="tx2"/>
                </a:solidFill>
              </a:rPr>
              <a:t>Sensor data</a:t>
            </a:r>
          </a:p>
        </p:txBody>
      </p:sp>
      <p:sp>
        <p:nvSpPr>
          <p:cNvPr id="238" name="TextBox 237">
            <a:extLst>
              <a:ext uri="{FF2B5EF4-FFF2-40B4-BE49-F238E27FC236}">
                <a16:creationId xmlns:a16="http://schemas.microsoft.com/office/drawing/2014/main" id="{77DF635B-8E08-4F89-B765-1B8FBDA3C561}"/>
              </a:ext>
            </a:extLst>
          </p:cNvPr>
          <p:cNvSpPr txBox="1"/>
          <p:nvPr/>
        </p:nvSpPr>
        <p:spPr>
          <a:xfrm>
            <a:off x="6096387" y="3723675"/>
            <a:ext cx="323807" cy="107722"/>
          </a:xfrm>
          <a:prstGeom prst="rect">
            <a:avLst/>
          </a:prstGeom>
          <a:noFill/>
          <a:effectLst/>
        </p:spPr>
        <p:txBody>
          <a:bodyPr wrap="none" lIns="0" tIns="0" rIns="0" bIns="0" rtlCol="0" anchor="t">
            <a:spAutoFit/>
          </a:bodyPr>
          <a:lstStyle/>
          <a:p>
            <a:pPr algn="ctr"/>
            <a:r>
              <a:rPr lang="en-GB" sz="700" dirty="0">
                <a:solidFill>
                  <a:schemeClr val="tx2"/>
                </a:solidFill>
              </a:rPr>
              <a:t>Settings</a:t>
            </a:r>
          </a:p>
        </p:txBody>
      </p:sp>
      <p:sp>
        <p:nvSpPr>
          <p:cNvPr id="239" name="TextBox 238">
            <a:extLst>
              <a:ext uri="{FF2B5EF4-FFF2-40B4-BE49-F238E27FC236}">
                <a16:creationId xmlns:a16="http://schemas.microsoft.com/office/drawing/2014/main" id="{6D302BF2-94F6-4949-A120-F9BFACEAC808}"/>
              </a:ext>
            </a:extLst>
          </p:cNvPr>
          <p:cNvSpPr txBox="1"/>
          <p:nvPr/>
        </p:nvSpPr>
        <p:spPr>
          <a:xfrm>
            <a:off x="7124188" y="2077494"/>
            <a:ext cx="359073" cy="107722"/>
          </a:xfrm>
          <a:prstGeom prst="rect">
            <a:avLst/>
          </a:prstGeom>
          <a:noFill/>
          <a:effectLst/>
        </p:spPr>
        <p:txBody>
          <a:bodyPr wrap="none" lIns="0" tIns="0" rIns="0" bIns="0" rtlCol="0" anchor="t">
            <a:spAutoFit/>
          </a:bodyPr>
          <a:lstStyle/>
          <a:p>
            <a:pPr algn="ctr"/>
            <a:r>
              <a:rPr lang="en-GB" sz="700" dirty="0">
                <a:solidFill>
                  <a:schemeClr val="tx2"/>
                </a:solidFill>
              </a:rPr>
              <a:t>Sensor 2</a:t>
            </a:r>
          </a:p>
        </p:txBody>
      </p:sp>
      <p:sp>
        <p:nvSpPr>
          <p:cNvPr id="240" name="TextBox 239">
            <a:extLst>
              <a:ext uri="{FF2B5EF4-FFF2-40B4-BE49-F238E27FC236}">
                <a16:creationId xmlns:a16="http://schemas.microsoft.com/office/drawing/2014/main" id="{FA280B3B-2B86-42A8-A8DF-F7213D5D3118}"/>
              </a:ext>
            </a:extLst>
          </p:cNvPr>
          <p:cNvSpPr txBox="1"/>
          <p:nvPr/>
        </p:nvSpPr>
        <p:spPr>
          <a:xfrm>
            <a:off x="7171477" y="2899619"/>
            <a:ext cx="264495" cy="107722"/>
          </a:xfrm>
          <a:prstGeom prst="rect">
            <a:avLst/>
          </a:prstGeom>
          <a:noFill/>
          <a:effectLst/>
        </p:spPr>
        <p:txBody>
          <a:bodyPr wrap="none" lIns="0" tIns="0" rIns="0" bIns="0" rtlCol="0" anchor="t">
            <a:spAutoFit/>
          </a:bodyPr>
          <a:lstStyle/>
          <a:p>
            <a:pPr algn="ctr"/>
            <a:r>
              <a:rPr lang="en-GB" sz="700" dirty="0">
                <a:solidFill>
                  <a:schemeClr val="tx2"/>
                </a:solidFill>
              </a:rPr>
              <a:t>Server</a:t>
            </a:r>
          </a:p>
        </p:txBody>
      </p:sp>
      <p:sp>
        <p:nvSpPr>
          <p:cNvPr id="241" name="TextBox 240">
            <a:extLst>
              <a:ext uri="{FF2B5EF4-FFF2-40B4-BE49-F238E27FC236}">
                <a16:creationId xmlns:a16="http://schemas.microsoft.com/office/drawing/2014/main" id="{B12437A4-8597-44DA-91E9-3521930DB676}"/>
              </a:ext>
            </a:extLst>
          </p:cNvPr>
          <p:cNvSpPr txBox="1"/>
          <p:nvPr/>
        </p:nvSpPr>
        <p:spPr>
          <a:xfrm>
            <a:off x="7184300" y="3723675"/>
            <a:ext cx="238848" cy="107722"/>
          </a:xfrm>
          <a:prstGeom prst="rect">
            <a:avLst/>
          </a:prstGeom>
          <a:noFill/>
          <a:effectLst/>
        </p:spPr>
        <p:txBody>
          <a:bodyPr wrap="none" lIns="0" tIns="0" rIns="0" bIns="0" rtlCol="0" anchor="t">
            <a:spAutoFit/>
          </a:bodyPr>
          <a:lstStyle/>
          <a:p>
            <a:pPr algn="ctr"/>
            <a:r>
              <a:rPr lang="en-GB" sz="700" dirty="0">
                <a:solidFill>
                  <a:schemeClr val="tx2"/>
                </a:solidFill>
              </a:rPr>
              <a:t>Share</a:t>
            </a:r>
          </a:p>
        </p:txBody>
      </p:sp>
      <p:sp>
        <p:nvSpPr>
          <p:cNvPr id="242" name="TextBox 241">
            <a:extLst>
              <a:ext uri="{FF2B5EF4-FFF2-40B4-BE49-F238E27FC236}">
                <a16:creationId xmlns:a16="http://schemas.microsoft.com/office/drawing/2014/main" id="{34795F1A-2513-479D-8EF5-597B10D959D7}"/>
              </a:ext>
            </a:extLst>
          </p:cNvPr>
          <p:cNvSpPr txBox="1"/>
          <p:nvPr/>
        </p:nvSpPr>
        <p:spPr>
          <a:xfrm>
            <a:off x="8169622" y="2077494"/>
            <a:ext cx="359073" cy="107722"/>
          </a:xfrm>
          <a:prstGeom prst="rect">
            <a:avLst/>
          </a:prstGeom>
          <a:noFill/>
          <a:effectLst/>
        </p:spPr>
        <p:txBody>
          <a:bodyPr wrap="none" lIns="0" tIns="0" rIns="0" bIns="0" rtlCol="0" anchor="t">
            <a:spAutoFit/>
          </a:bodyPr>
          <a:lstStyle/>
          <a:p>
            <a:pPr algn="ctr"/>
            <a:r>
              <a:rPr lang="en-GB" sz="700" dirty="0">
                <a:solidFill>
                  <a:schemeClr val="tx2"/>
                </a:solidFill>
              </a:rPr>
              <a:t>Sensor 3</a:t>
            </a:r>
          </a:p>
        </p:txBody>
      </p:sp>
      <p:sp>
        <p:nvSpPr>
          <p:cNvPr id="243" name="TextBox 242">
            <a:extLst>
              <a:ext uri="{FF2B5EF4-FFF2-40B4-BE49-F238E27FC236}">
                <a16:creationId xmlns:a16="http://schemas.microsoft.com/office/drawing/2014/main" id="{5B4E18B6-D777-411E-A172-4944FA1EC729}"/>
              </a:ext>
            </a:extLst>
          </p:cNvPr>
          <p:cNvSpPr txBox="1"/>
          <p:nvPr/>
        </p:nvSpPr>
        <p:spPr>
          <a:xfrm>
            <a:off x="8102296" y="2899619"/>
            <a:ext cx="493725" cy="107722"/>
          </a:xfrm>
          <a:prstGeom prst="rect">
            <a:avLst/>
          </a:prstGeom>
          <a:noFill/>
          <a:effectLst/>
        </p:spPr>
        <p:txBody>
          <a:bodyPr wrap="none" lIns="0" tIns="0" rIns="0" bIns="0" rtlCol="0" anchor="t">
            <a:spAutoFit/>
          </a:bodyPr>
          <a:lstStyle/>
          <a:p>
            <a:pPr algn="ctr"/>
            <a:r>
              <a:rPr lang="en-GB" sz="700" dirty="0">
                <a:solidFill>
                  <a:schemeClr val="tx2"/>
                </a:solidFill>
              </a:rPr>
              <a:t>Service 1 px</a:t>
            </a:r>
          </a:p>
        </p:txBody>
      </p:sp>
      <p:sp>
        <p:nvSpPr>
          <p:cNvPr id="244" name="TextBox 243">
            <a:extLst>
              <a:ext uri="{FF2B5EF4-FFF2-40B4-BE49-F238E27FC236}">
                <a16:creationId xmlns:a16="http://schemas.microsoft.com/office/drawing/2014/main" id="{BD4C3C09-9913-4F32-AFDC-97333EFB14E5}"/>
              </a:ext>
            </a:extLst>
          </p:cNvPr>
          <p:cNvSpPr txBox="1"/>
          <p:nvPr/>
        </p:nvSpPr>
        <p:spPr>
          <a:xfrm>
            <a:off x="8103097" y="3723675"/>
            <a:ext cx="492122" cy="107722"/>
          </a:xfrm>
          <a:prstGeom prst="rect">
            <a:avLst/>
          </a:prstGeom>
          <a:noFill/>
          <a:effectLst/>
        </p:spPr>
        <p:txBody>
          <a:bodyPr wrap="none" lIns="0" tIns="0" rIns="0" bIns="0" rtlCol="0" anchor="t">
            <a:spAutoFit/>
          </a:bodyPr>
          <a:lstStyle/>
          <a:p>
            <a:pPr algn="ctr"/>
            <a:r>
              <a:rPr lang="en-GB" sz="700">
                <a:solidFill>
                  <a:schemeClr val="tx2"/>
                </a:solidFill>
              </a:rPr>
              <a:t>Share social</a:t>
            </a:r>
            <a:endParaRPr lang="en-GB" sz="700" dirty="0">
              <a:solidFill>
                <a:schemeClr val="tx2"/>
              </a:solidFill>
            </a:endParaRPr>
          </a:p>
        </p:txBody>
      </p:sp>
      <p:sp>
        <p:nvSpPr>
          <p:cNvPr id="245" name="TextBox 244">
            <a:extLst>
              <a:ext uri="{FF2B5EF4-FFF2-40B4-BE49-F238E27FC236}">
                <a16:creationId xmlns:a16="http://schemas.microsoft.com/office/drawing/2014/main" id="{B3898E2B-6BAE-4799-A998-E6CDC30B7CD6}"/>
              </a:ext>
            </a:extLst>
          </p:cNvPr>
          <p:cNvSpPr txBox="1"/>
          <p:nvPr/>
        </p:nvSpPr>
        <p:spPr>
          <a:xfrm>
            <a:off x="5029311" y="4547732"/>
            <a:ext cx="367088" cy="107722"/>
          </a:xfrm>
          <a:prstGeom prst="rect">
            <a:avLst/>
          </a:prstGeom>
          <a:noFill/>
          <a:effectLst/>
        </p:spPr>
        <p:txBody>
          <a:bodyPr wrap="none" lIns="0" tIns="0" rIns="0" bIns="0" rtlCol="0" anchor="t">
            <a:spAutoFit/>
          </a:bodyPr>
          <a:lstStyle/>
          <a:p>
            <a:pPr algn="ctr"/>
            <a:r>
              <a:rPr lang="en-GB" sz="700" dirty="0">
                <a:solidFill>
                  <a:schemeClr val="tx2"/>
                </a:solidFill>
              </a:rPr>
              <a:t>Side dish</a:t>
            </a:r>
          </a:p>
        </p:txBody>
      </p:sp>
      <p:sp>
        <p:nvSpPr>
          <p:cNvPr id="246" name="TextBox 245">
            <a:extLst>
              <a:ext uri="{FF2B5EF4-FFF2-40B4-BE49-F238E27FC236}">
                <a16:creationId xmlns:a16="http://schemas.microsoft.com/office/drawing/2014/main" id="{1EF58050-6CE8-4F67-9395-0D2C39867BA6}"/>
              </a:ext>
            </a:extLst>
          </p:cNvPr>
          <p:cNvSpPr txBox="1"/>
          <p:nvPr/>
        </p:nvSpPr>
        <p:spPr>
          <a:xfrm>
            <a:off x="6027458" y="4547732"/>
            <a:ext cx="461665" cy="107722"/>
          </a:xfrm>
          <a:prstGeom prst="rect">
            <a:avLst/>
          </a:prstGeom>
          <a:noFill/>
          <a:effectLst/>
        </p:spPr>
        <p:txBody>
          <a:bodyPr wrap="none" lIns="0" tIns="0" rIns="0" bIns="0" rtlCol="0" anchor="t">
            <a:spAutoFit/>
          </a:bodyPr>
          <a:lstStyle/>
          <a:p>
            <a:pPr algn="ctr"/>
            <a:r>
              <a:rPr lang="en-GB" sz="700" dirty="0">
                <a:solidFill>
                  <a:schemeClr val="tx2"/>
                </a:solidFill>
              </a:rPr>
              <a:t>Slip and fall</a:t>
            </a:r>
          </a:p>
        </p:txBody>
      </p:sp>
      <p:sp>
        <p:nvSpPr>
          <p:cNvPr id="247" name="TextBox 246">
            <a:extLst>
              <a:ext uri="{FF2B5EF4-FFF2-40B4-BE49-F238E27FC236}">
                <a16:creationId xmlns:a16="http://schemas.microsoft.com/office/drawing/2014/main" id="{7283BD05-8916-4F36-A83D-8EEB94C96C1A}"/>
              </a:ext>
            </a:extLst>
          </p:cNvPr>
          <p:cNvSpPr txBox="1"/>
          <p:nvPr/>
        </p:nvSpPr>
        <p:spPr>
          <a:xfrm>
            <a:off x="7132202" y="4547732"/>
            <a:ext cx="343044" cy="107722"/>
          </a:xfrm>
          <a:prstGeom prst="rect">
            <a:avLst/>
          </a:prstGeom>
          <a:noFill/>
          <a:effectLst/>
        </p:spPr>
        <p:txBody>
          <a:bodyPr wrap="none" lIns="0" tIns="0" rIns="0" bIns="0" rtlCol="0" anchor="t">
            <a:spAutoFit/>
          </a:bodyPr>
          <a:lstStyle/>
          <a:p>
            <a:pPr algn="ctr"/>
            <a:r>
              <a:rPr lang="en-GB" sz="700">
                <a:solidFill>
                  <a:schemeClr val="tx2"/>
                </a:solidFill>
              </a:rPr>
              <a:t>Smiley 1</a:t>
            </a:r>
            <a:endParaRPr lang="en-GB" sz="700" dirty="0">
              <a:solidFill>
                <a:schemeClr val="tx2"/>
              </a:solidFill>
            </a:endParaRPr>
          </a:p>
        </p:txBody>
      </p:sp>
      <p:sp>
        <p:nvSpPr>
          <p:cNvPr id="248" name="TextBox 247">
            <a:extLst>
              <a:ext uri="{FF2B5EF4-FFF2-40B4-BE49-F238E27FC236}">
                <a16:creationId xmlns:a16="http://schemas.microsoft.com/office/drawing/2014/main" id="{5D49B734-9DC9-4E9D-B204-A22D0B402999}"/>
              </a:ext>
            </a:extLst>
          </p:cNvPr>
          <p:cNvSpPr txBox="1"/>
          <p:nvPr/>
        </p:nvSpPr>
        <p:spPr>
          <a:xfrm>
            <a:off x="7963636" y="4547732"/>
            <a:ext cx="771045" cy="107722"/>
          </a:xfrm>
          <a:prstGeom prst="rect">
            <a:avLst/>
          </a:prstGeom>
          <a:noFill/>
          <a:effectLst/>
        </p:spPr>
        <p:txBody>
          <a:bodyPr wrap="square" lIns="0" tIns="0" rIns="0" bIns="0" rtlCol="0" anchor="t">
            <a:spAutoFit/>
          </a:bodyPr>
          <a:lstStyle/>
          <a:p>
            <a:pPr algn="ctr"/>
            <a:r>
              <a:rPr lang="en-GB" sz="700" dirty="0">
                <a:solidFill>
                  <a:schemeClr val="tx2"/>
                </a:solidFill>
              </a:rPr>
              <a:t>Smiley 2</a:t>
            </a:r>
          </a:p>
        </p:txBody>
      </p:sp>
      <p:grpSp>
        <p:nvGrpSpPr>
          <p:cNvPr id="35" name="Group 34">
            <a:extLst>
              <a:ext uri="{FF2B5EF4-FFF2-40B4-BE49-F238E27FC236}">
                <a16:creationId xmlns:a16="http://schemas.microsoft.com/office/drawing/2014/main" id="{10FC96D6-A459-4DA0-A968-0DFFD3854E98}"/>
              </a:ext>
            </a:extLst>
          </p:cNvPr>
          <p:cNvGrpSpPr/>
          <p:nvPr/>
        </p:nvGrpSpPr>
        <p:grpSpPr>
          <a:xfrm>
            <a:off x="613470" y="2457774"/>
            <a:ext cx="361160" cy="361160"/>
            <a:chOff x="794049" y="1700284"/>
            <a:chExt cx="304800" cy="304800"/>
          </a:xfrm>
          <a:solidFill>
            <a:schemeClr val="tx2"/>
          </a:solidFill>
        </p:grpSpPr>
        <p:sp>
          <p:nvSpPr>
            <p:cNvPr id="9" name="Freeform: Shape 8">
              <a:extLst>
                <a:ext uri="{FF2B5EF4-FFF2-40B4-BE49-F238E27FC236}">
                  <a16:creationId xmlns:a16="http://schemas.microsoft.com/office/drawing/2014/main" id="{B3ABC2FF-EFB6-4216-81E2-53DA94CC1BB9}"/>
                </a:ext>
              </a:extLst>
            </p:cNvPr>
            <p:cNvSpPr/>
            <p:nvPr/>
          </p:nvSpPr>
          <p:spPr>
            <a:xfrm>
              <a:off x="794049" y="1700284"/>
              <a:ext cx="19050" cy="304800"/>
            </a:xfrm>
            <a:custGeom>
              <a:avLst/>
              <a:gdLst>
                <a:gd name="connsiteX0" fmla="*/ 0 w 19050"/>
                <a:gd name="connsiteY0" fmla="*/ 0 h 304800"/>
                <a:gd name="connsiteX1" fmla="*/ 0 w 19050"/>
                <a:gd name="connsiteY1" fmla="*/ 304800 h 304800"/>
                <a:gd name="connsiteX2" fmla="*/ 19050 w 19050"/>
                <a:gd name="connsiteY2" fmla="*/ 304800 h 304800"/>
                <a:gd name="connsiteX3" fmla="*/ 19050 w 19050"/>
                <a:gd name="connsiteY3" fmla="*/ 0 h 304800"/>
                <a:gd name="connsiteX4" fmla="*/ 0 w 19050"/>
                <a:gd name="connsiteY4" fmla="*/ 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304800">
                  <a:moveTo>
                    <a:pt x="0" y="0"/>
                  </a:moveTo>
                  <a:lnTo>
                    <a:pt x="0" y="304800"/>
                  </a:lnTo>
                  <a:lnTo>
                    <a:pt x="19050" y="304800"/>
                  </a:lnTo>
                  <a:lnTo>
                    <a:pt x="19050" y="0"/>
                  </a:lnTo>
                  <a:lnTo>
                    <a:pt x="0" y="0"/>
                  </a:lnTo>
                  <a:close/>
                </a:path>
              </a:pathLst>
            </a:custGeom>
            <a:grp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4F27C66C-8BFC-4908-AD92-05451E86BB03}"/>
                </a:ext>
              </a:extLst>
            </p:cNvPr>
            <p:cNvSpPr/>
            <p:nvPr/>
          </p:nvSpPr>
          <p:spPr>
            <a:xfrm>
              <a:off x="870249" y="1731716"/>
              <a:ext cx="228600" cy="241935"/>
            </a:xfrm>
            <a:custGeom>
              <a:avLst/>
              <a:gdLst>
                <a:gd name="connsiteX0" fmla="*/ 228600 w 228600"/>
                <a:gd name="connsiteY0" fmla="*/ 130493 h 241935"/>
                <a:gd name="connsiteX1" fmla="*/ 36195 w 228600"/>
                <a:gd name="connsiteY1" fmla="*/ 130493 h 241935"/>
                <a:gd name="connsiteX2" fmla="*/ 134303 w 228600"/>
                <a:gd name="connsiteY2" fmla="*/ 228600 h 241935"/>
                <a:gd name="connsiteX3" fmla="*/ 120968 w 228600"/>
                <a:gd name="connsiteY3" fmla="*/ 241935 h 241935"/>
                <a:gd name="connsiteX4" fmla="*/ 0 w 228600"/>
                <a:gd name="connsiteY4" fmla="*/ 120968 h 241935"/>
                <a:gd name="connsiteX5" fmla="*/ 0 w 228600"/>
                <a:gd name="connsiteY5" fmla="*/ 120968 h 241935"/>
                <a:gd name="connsiteX6" fmla="*/ 0 w 228600"/>
                <a:gd name="connsiteY6" fmla="*/ 120968 h 241935"/>
                <a:gd name="connsiteX7" fmla="*/ 120968 w 228600"/>
                <a:gd name="connsiteY7" fmla="*/ 0 h 241935"/>
                <a:gd name="connsiteX8" fmla="*/ 134303 w 228600"/>
                <a:gd name="connsiteY8" fmla="*/ 13335 h 241935"/>
                <a:gd name="connsiteX9" fmla="*/ 36195 w 228600"/>
                <a:gd name="connsiteY9" fmla="*/ 111443 h 241935"/>
                <a:gd name="connsiteX10" fmla="*/ 228600 w 228600"/>
                <a:gd name="connsiteY10" fmla="*/ 111443 h 241935"/>
                <a:gd name="connsiteX11" fmla="*/ 228600 w 228600"/>
                <a:gd name="connsiteY11" fmla="*/ 130493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 h="241935">
                  <a:moveTo>
                    <a:pt x="228600" y="130493"/>
                  </a:moveTo>
                  <a:lnTo>
                    <a:pt x="36195" y="130493"/>
                  </a:lnTo>
                  <a:lnTo>
                    <a:pt x="134303" y="228600"/>
                  </a:lnTo>
                  <a:lnTo>
                    <a:pt x="120968" y="241935"/>
                  </a:lnTo>
                  <a:lnTo>
                    <a:pt x="0" y="120968"/>
                  </a:lnTo>
                  <a:lnTo>
                    <a:pt x="0" y="120968"/>
                  </a:lnTo>
                  <a:lnTo>
                    <a:pt x="0" y="120968"/>
                  </a:lnTo>
                  <a:lnTo>
                    <a:pt x="120968" y="0"/>
                  </a:lnTo>
                  <a:lnTo>
                    <a:pt x="134303" y="13335"/>
                  </a:lnTo>
                  <a:lnTo>
                    <a:pt x="36195" y="111443"/>
                  </a:lnTo>
                  <a:lnTo>
                    <a:pt x="228600" y="111443"/>
                  </a:lnTo>
                  <a:lnTo>
                    <a:pt x="228600" y="130493"/>
                  </a:lnTo>
                  <a:close/>
                </a:path>
              </a:pathLst>
            </a:custGeom>
            <a:grpFill/>
            <a:ln w="9525" cap="flat">
              <a:noFill/>
              <a:prstDash val="solid"/>
              <a:miter/>
            </a:ln>
          </p:spPr>
          <p:txBody>
            <a:bodyPr rtlCol="0" anchor="ctr"/>
            <a:lstStyle/>
            <a:p>
              <a:endParaRPr lang="en-GB"/>
            </a:p>
          </p:txBody>
        </p:sp>
      </p:grpSp>
      <p:sp>
        <p:nvSpPr>
          <p:cNvPr id="39" name="Freeform: Shape 38">
            <a:extLst>
              <a:ext uri="{FF2B5EF4-FFF2-40B4-BE49-F238E27FC236}">
                <a16:creationId xmlns:a16="http://schemas.microsoft.com/office/drawing/2014/main" id="{5054D6D2-B4C2-41A9-A005-01ADE682C3C1}"/>
              </a:ext>
            </a:extLst>
          </p:cNvPr>
          <p:cNvSpPr/>
          <p:nvPr/>
        </p:nvSpPr>
        <p:spPr>
          <a:xfrm>
            <a:off x="1743746" y="2440591"/>
            <a:ext cx="260111" cy="378343"/>
          </a:xfrm>
          <a:custGeom>
            <a:avLst/>
            <a:gdLst>
              <a:gd name="connsiteX0" fmla="*/ 209550 w 209550"/>
              <a:gd name="connsiteY0" fmla="*/ 304800 h 304800"/>
              <a:gd name="connsiteX1" fmla="*/ 0 w 209550"/>
              <a:gd name="connsiteY1" fmla="*/ 304800 h 304800"/>
              <a:gd name="connsiteX2" fmla="*/ 0 w 209550"/>
              <a:gd name="connsiteY2" fmla="*/ 0 h 304800"/>
              <a:gd name="connsiteX3" fmla="*/ 209550 w 209550"/>
              <a:gd name="connsiteY3" fmla="*/ 0 h 304800"/>
              <a:gd name="connsiteX4" fmla="*/ 209550 w 209550"/>
              <a:gd name="connsiteY4" fmla="*/ 304800 h 304800"/>
              <a:gd name="connsiteX5" fmla="*/ 19050 w 209550"/>
              <a:gd name="connsiteY5" fmla="*/ 285750 h 304800"/>
              <a:gd name="connsiteX6" fmla="*/ 190500 w 209550"/>
              <a:gd name="connsiteY6" fmla="*/ 285750 h 304800"/>
              <a:gd name="connsiteX7" fmla="*/ 190500 w 209550"/>
              <a:gd name="connsiteY7" fmla="*/ 19050 h 304800"/>
              <a:gd name="connsiteX8" fmla="*/ 19050 w 209550"/>
              <a:gd name="connsiteY8" fmla="*/ 19050 h 304800"/>
              <a:gd name="connsiteX9" fmla="*/ 19050 w 209550"/>
              <a:gd name="connsiteY9" fmla="*/ 285750 h 304800"/>
              <a:gd name="connsiteX10" fmla="*/ 57150 w 209550"/>
              <a:gd name="connsiteY10" fmla="*/ 71438 h 304800"/>
              <a:gd name="connsiteX11" fmla="*/ 38100 w 209550"/>
              <a:gd name="connsiteY11" fmla="*/ 71438 h 304800"/>
              <a:gd name="connsiteX12" fmla="*/ 38100 w 209550"/>
              <a:gd name="connsiteY12" fmla="*/ 133350 h 304800"/>
              <a:gd name="connsiteX13" fmla="*/ 57150 w 209550"/>
              <a:gd name="connsiteY13" fmla="*/ 133350 h 304800"/>
              <a:gd name="connsiteX14" fmla="*/ 57150 w 209550"/>
              <a:gd name="connsiteY14" fmla="*/ 71438 h 304800"/>
              <a:gd name="connsiteX15" fmla="*/ 180975 w 209550"/>
              <a:gd name="connsiteY15" fmla="*/ 80963 h 304800"/>
              <a:gd name="connsiteX16" fmla="*/ 163830 w 209550"/>
              <a:gd name="connsiteY16" fmla="*/ 80963 h 304800"/>
              <a:gd name="connsiteX17" fmla="*/ 174308 w 209550"/>
              <a:gd name="connsiteY17" fmla="*/ 91440 h 304800"/>
              <a:gd name="connsiteX18" fmla="*/ 167640 w 209550"/>
              <a:gd name="connsiteY18" fmla="*/ 98108 h 304800"/>
              <a:gd name="connsiteX19" fmla="*/ 149543 w 209550"/>
              <a:gd name="connsiteY19" fmla="*/ 80010 h 304800"/>
              <a:gd name="connsiteX20" fmla="*/ 137160 w 209550"/>
              <a:gd name="connsiteY20" fmla="*/ 80010 h 304800"/>
              <a:gd name="connsiteX21" fmla="*/ 137160 w 209550"/>
              <a:gd name="connsiteY21" fmla="*/ 92393 h 304800"/>
              <a:gd name="connsiteX22" fmla="*/ 155258 w 209550"/>
              <a:gd name="connsiteY22" fmla="*/ 110490 h 304800"/>
              <a:gd name="connsiteX23" fmla="*/ 148590 w 209550"/>
              <a:gd name="connsiteY23" fmla="*/ 117158 h 304800"/>
              <a:gd name="connsiteX24" fmla="*/ 138113 w 209550"/>
              <a:gd name="connsiteY24" fmla="*/ 106680 h 304800"/>
              <a:gd name="connsiteX25" fmla="*/ 138113 w 209550"/>
              <a:gd name="connsiteY25" fmla="*/ 123825 h 304800"/>
              <a:gd name="connsiteX26" fmla="*/ 128588 w 209550"/>
              <a:gd name="connsiteY26" fmla="*/ 123825 h 304800"/>
              <a:gd name="connsiteX27" fmla="*/ 128588 w 209550"/>
              <a:gd name="connsiteY27" fmla="*/ 106680 h 304800"/>
              <a:gd name="connsiteX28" fmla="*/ 118110 w 209550"/>
              <a:gd name="connsiteY28" fmla="*/ 117158 h 304800"/>
              <a:gd name="connsiteX29" fmla="*/ 111443 w 209550"/>
              <a:gd name="connsiteY29" fmla="*/ 110490 h 304800"/>
              <a:gd name="connsiteX30" fmla="*/ 129540 w 209550"/>
              <a:gd name="connsiteY30" fmla="*/ 92393 h 304800"/>
              <a:gd name="connsiteX31" fmla="*/ 129540 w 209550"/>
              <a:gd name="connsiteY31" fmla="*/ 80963 h 304800"/>
              <a:gd name="connsiteX32" fmla="*/ 117158 w 209550"/>
              <a:gd name="connsiteY32" fmla="*/ 80963 h 304800"/>
              <a:gd name="connsiteX33" fmla="*/ 99060 w 209550"/>
              <a:gd name="connsiteY33" fmla="*/ 99060 h 304800"/>
              <a:gd name="connsiteX34" fmla="*/ 91440 w 209550"/>
              <a:gd name="connsiteY34" fmla="*/ 91440 h 304800"/>
              <a:gd name="connsiteX35" fmla="*/ 101918 w 209550"/>
              <a:gd name="connsiteY35" fmla="*/ 80963 h 304800"/>
              <a:gd name="connsiteX36" fmla="*/ 85725 w 209550"/>
              <a:gd name="connsiteY36" fmla="*/ 80963 h 304800"/>
              <a:gd name="connsiteX37" fmla="*/ 85725 w 209550"/>
              <a:gd name="connsiteY37" fmla="*/ 71438 h 304800"/>
              <a:gd name="connsiteX38" fmla="*/ 102870 w 209550"/>
              <a:gd name="connsiteY38" fmla="*/ 71438 h 304800"/>
              <a:gd name="connsiteX39" fmla="*/ 91440 w 209550"/>
              <a:gd name="connsiteY39" fmla="*/ 60960 h 304800"/>
              <a:gd name="connsiteX40" fmla="*/ 98108 w 209550"/>
              <a:gd name="connsiteY40" fmla="*/ 54293 h 304800"/>
              <a:gd name="connsiteX41" fmla="*/ 116205 w 209550"/>
              <a:gd name="connsiteY41" fmla="*/ 72390 h 304800"/>
              <a:gd name="connsiteX42" fmla="*/ 128588 w 209550"/>
              <a:gd name="connsiteY42" fmla="*/ 72390 h 304800"/>
              <a:gd name="connsiteX43" fmla="*/ 128588 w 209550"/>
              <a:gd name="connsiteY43" fmla="*/ 59055 h 304800"/>
              <a:gd name="connsiteX44" fmla="*/ 110490 w 209550"/>
              <a:gd name="connsiteY44" fmla="*/ 40958 h 304800"/>
              <a:gd name="connsiteX45" fmla="*/ 117158 w 209550"/>
              <a:gd name="connsiteY45" fmla="*/ 34290 h 304800"/>
              <a:gd name="connsiteX46" fmla="*/ 127635 w 209550"/>
              <a:gd name="connsiteY46" fmla="*/ 44768 h 304800"/>
              <a:gd name="connsiteX47" fmla="*/ 127635 w 209550"/>
              <a:gd name="connsiteY47" fmla="*/ 28575 h 304800"/>
              <a:gd name="connsiteX48" fmla="*/ 137160 w 209550"/>
              <a:gd name="connsiteY48" fmla="*/ 28575 h 304800"/>
              <a:gd name="connsiteX49" fmla="*/ 137160 w 209550"/>
              <a:gd name="connsiteY49" fmla="*/ 45720 h 304800"/>
              <a:gd name="connsiteX50" fmla="*/ 147638 w 209550"/>
              <a:gd name="connsiteY50" fmla="*/ 35243 h 304800"/>
              <a:gd name="connsiteX51" fmla="*/ 154305 w 209550"/>
              <a:gd name="connsiteY51" fmla="*/ 41910 h 304800"/>
              <a:gd name="connsiteX52" fmla="*/ 136208 w 209550"/>
              <a:gd name="connsiteY52" fmla="*/ 60008 h 304800"/>
              <a:gd name="connsiteX53" fmla="*/ 136208 w 209550"/>
              <a:gd name="connsiteY53" fmla="*/ 72390 h 304800"/>
              <a:gd name="connsiteX54" fmla="*/ 148590 w 209550"/>
              <a:gd name="connsiteY54" fmla="*/ 72390 h 304800"/>
              <a:gd name="connsiteX55" fmla="*/ 166688 w 209550"/>
              <a:gd name="connsiteY55" fmla="*/ 54293 h 304800"/>
              <a:gd name="connsiteX56" fmla="*/ 173355 w 209550"/>
              <a:gd name="connsiteY56" fmla="*/ 60960 h 304800"/>
              <a:gd name="connsiteX57" fmla="*/ 162878 w 209550"/>
              <a:gd name="connsiteY57" fmla="*/ 71438 h 304800"/>
              <a:gd name="connsiteX58" fmla="*/ 180975 w 209550"/>
              <a:gd name="connsiteY58" fmla="*/ 71438 h 304800"/>
              <a:gd name="connsiteX59" fmla="*/ 180975 w 209550"/>
              <a:gd name="connsiteY59" fmla="*/ 8096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09550" h="304800">
                <a:moveTo>
                  <a:pt x="209550" y="304800"/>
                </a:moveTo>
                <a:lnTo>
                  <a:pt x="0" y="304800"/>
                </a:lnTo>
                <a:lnTo>
                  <a:pt x="0" y="0"/>
                </a:lnTo>
                <a:lnTo>
                  <a:pt x="209550" y="0"/>
                </a:lnTo>
                <a:lnTo>
                  <a:pt x="209550" y="304800"/>
                </a:lnTo>
                <a:close/>
                <a:moveTo>
                  <a:pt x="19050" y="285750"/>
                </a:moveTo>
                <a:lnTo>
                  <a:pt x="190500" y="285750"/>
                </a:lnTo>
                <a:lnTo>
                  <a:pt x="190500" y="19050"/>
                </a:lnTo>
                <a:lnTo>
                  <a:pt x="19050" y="19050"/>
                </a:lnTo>
                <a:lnTo>
                  <a:pt x="19050" y="285750"/>
                </a:lnTo>
                <a:close/>
                <a:moveTo>
                  <a:pt x="57150" y="71438"/>
                </a:moveTo>
                <a:lnTo>
                  <a:pt x="38100" y="71438"/>
                </a:lnTo>
                <a:lnTo>
                  <a:pt x="38100" y="133350"/>
                </a:lnTo>
                <a:lnTo>
                  <a:pt x="57150" y="133350"/>
                </a:lnTo>
                <a:lnTo>
                  <a:pt x="57150" y="71438"/>
                </a:lnTo>
                <a:close/>
                <a:moveTo>
                  <a:pt x="180975" y="80963"/>
                </a:moveTo>
                <a:lnTo>
                  <a:pt x="163830" y="80963"/>
                </a:lnTo>
                <a:lnTo>
                  <a:pt x="174308" y="91440"/>
                </a:lnTo>
                <a:lnTo>
                  <a:pt x="167640" y="98108"/>
                </a:lnTo>
                <a:lnTo>
                  <a:pt x="149543" y="80010"/>
                </a:lnTo>
                <a:lnTo>
                  <a:pt x="137160" y="80010"/>
                </a:lnTo>
                <a:lnTo>
                  <a:pt x="137160" y="92393"/>
                </a:lnTo>
                <a:lnTo>
                  <a:pt x="155258" y="110490"/>
                </a:lnTo>
                <a:lnTo>
                  <a:pt x="148590" y="117158"/>
                </a:lnTo>
                <a:lnTo>
                  <a:pt x="138113" y="106680"/>
                </a:lnTo>
                <a:lnTo>
                  <a:pt x="138113" y="123825"/>
                </a:lnTo>
                <a:lnTo>
                  <a:pt x="128588" y="123825"/>
                </a:lnTo>
                <a:lnTo>
                  <a:pt x="128588" y="106680"/>
                </a:lnTo>
                <a:lnTo>
                  <a:pt x="118110" y="117158"/>
                </a:lnTo>
                <a:lnTo>
                  <a:pt x="111443" y="110490"/>
                </a:lnTo>
                <a:lnTo>
                  <a:pt x="129540" y="92393"/>
                </a:lnTo>
                <a:lnTo>
                  <a:pt x="129540" y="80963"/>
                </a:lnTo>
                <a:lnTo>
                  <a:pt x="117158" y="80963"/>
                </a:lnTo>
                <a:lnTo>
                  <a:pt x="99060" y="99060"/>
                </a:lnTo>
                <a:lnTo>
                  <a:pt x="91440" y="91440"/>
                </a:lnTo>
                <a:lnTo>
                  <a:pt x="101918" y="80963"/>
                </a:lnTo>
                <a:lnTo>
                  <a:pt x="85725" y="80963"/>
                </a:lnTo>
                <a:lnTo>
                  <a:pt x="85725" y="71438"/>
                </a:lnTo>
                <a:lnTo>
                  <a:pt x="102870" y="71438"/>
                </a:lnTo>
                <a:lnTo>
                  <a:pt x="91440" y="60960"/>
                </a:lnTo>
                <a:lnTo>
                  <a:pt x="98108" y="54293"/>
                </a:lnTo>
                <a:lnTo>
                  <a:pt x="116205" y="72390"/>
                </a:lnTo>
                <a:lnTo>
                  <a:pt x="128588" y="72390"/>
                </a:lnTo>
                <a:lnTo>
                  <a:pt x="128588" y="59055"/>
                </a:lnTo>
                <a:lnTo>
                  <a:pt x="110490" y="40958"/>
                </a:lnTo>
                <a:lnTo>
                  <a:pt x="117158" y="34290"/>
                </a:lnTo>
                <a:lnTo>
                  <a:pt x="127635" y="44768"/>
                </a:lnTo>
                <a:lnTo>
                  <a:pt x="127635" y="28575"/>
                </a:lnTo>
                <a:lnTo>
                  <a:pt x="137160" y="28575"/>
                </a:lnTo>
                <a:lnTo>
                  <a:pt x="137160" y="45720"/>
                </a:lnTo>
                <a:lnTo>
                  <a:pt x="147638" y="35243"/>
                </a:lnTo>
                <a:lnTo>
                  <a:pt x="154305" y="41910"/>
                </a:lnTo>
                <a:lnTo>
                  <a:pt x="136208" y="60008"/>
                </a:lnTo>
                <a:lnTo>
                  <a:pt x="136208" y="72390"/>
                </a:lnTo>
                <a:lnTo>
                  <a:pt x="148590" y="72390"/>
                </a:lnTo>
                <a:lnTo>
                  <a:pt x="166688" y="54293"/>
                </a:lnTo>
                <a:lnTo>
                  <a:pt x="173355" y="60960"/>
                </a:lnTo>
                <a:lnTo>
                  <a:pt x="162878" y="71438"/>
                </a:lnTo>
                <a:lnTo>
                  <a:pt x="180975" y="71438"/>
                </a:lnTo>
                <a:lnTo>
                  <a:pt x="180975" y="80963"/>
                </a:lnTo>
                <a:close/>
              </a:path>
            </a:pathLst>
          </a:custGeom>
          <a:solidFill>
            <a:schemeClr val="tx2"/>
          </a:solidFill>
          <a:ln w="9525" cap="flat">
            <a:noFill/>
            <a:prstDash val="solid"/>
            <a:miter/>
          </a:ln>
        </p:spPr>
        <p:txBody>
          <a:bodyPr rtlCol="0" anchor="ctr"/>
          <a:lstStyle/>
          <a:p>
            <a:endParaRPr lang="en-GB"/>
          </a:p>
        </p:txBody>
      </p:sp>
      <p:sp>
        <p:nvSpPr>
          <p:cNvPr id="255" name="Freeform: Shape 254">
            <a:extLst>
              <a:ext uri="{FF2B5EF4-FFF2-40B4-BE49-F238E27FC236}">
                <a16:creationId xmlns:a16="http://schemas.microsoft.com/office/drawing/2014/main" id="{7396F747-6CF8-4084-85D6-A8591847A2D1}"/>
              </a:ext>
            </a:extLst>
          </p:cNvPr>
          <p:cNvSpPr/>
          <p:nvPr/>
        </p:nvSpPr>
        <p:spPr>
          <a:xfrm>
            <a:off x="3730336" y="1625054"/>
            <a:ext cx="400033" cy="380030"/>
          </a:xfrm>
          <a:custGeom>
            <a:avLst/>
            <a:gdLst>
              <a:gd name="connsiteX0" fmla="*/ 260985 w 304800"/>
              <a:gd name="connsiteY0" fmla="*/ 125730 h 289559"/>
              <a:gd name="connsiteX1" fmla="*/ 202883 w 304800"/>
              <a:gd name="connsiteY1" fmla="*/ 159068 h 289559"/>
              <a:gd name="connsiteX2" fmla="*/ 224790 w 304800"/>
              <a:gd name="connsiteY2" fmla="*/ 197168 h 289559"/>
              <a:gd name="connsiteX3" fmla="*/ 195263 w 304800"/>
              <a:gd name="connsiteY3" fmla="*/ 197168 h 289559"/>
              <a:gd name="connsiteX4" fmla="*/ 195263 w 304800"/>
              <a:gd name="connsiteY4" fmla="*/ 171450 h 289559"/>
              <a:gd name="connsiteX5" fmla="*/ 136208 w 304800"/>
              <a:gd name="connsiteY5" fmla="*/ 230505 h 289559"/>
              <a:gd name="connsiteX6" fmla="*/ 195263 w 304800"/>
              <a:gd name="connsiteY6" fmla="*/ 289560 h 289559"/>
              <a:gd name="connsiteX7" fmla="*/ 195263 w 304800"/>
              <a:gd name="connsiteY7" fmla="*/ 263843 h 289559"/>
              <a:gd name="connsiteX8" fmla="*/ 268605 w 304800"/>
              <a:gd name="connsiteY8" fmla="*/ 263843 h 289559"/>
              <a:gd name="connsiteX9" fmla="*/ 304800 w 304800"/>
              <a:gd name="connsiteY9" fmla="*/ 201930 h 289559"/>
              <a:gd name="connsiteX10" fmla="*/ 260985 w 304800"/>
              <a:gd name="connsiteY10" fmla="*/ 125730 h 289559"/>
              <a:gd name="connsiteX11" fmla="*/ 216218 w 304800"/>
              <a:gd name="connsiteY11" fmla="*/ 162878 h 289559"/>
              <a:gd name="connsiteX12" fmla="*/ 257175 w 304800"/>
              <a:gd name="connsiteY12" fmla="*/ 139065 h 289559"/>
              <a:gd name="connsiteX13" fmla="*/ 290513 w 304800"/>
              <a:gd name="connsiteY13" fmla="*/ 197168 h 289559"/>
              <a:gd name="connsiteX14" fmla="*/ 235268 w 304800"/>
              <a:gd name="connsiteY14" fmla="*/ 197168 h 289559"/>
              <a:gd name="connsiteX15" fmla="*/ 216218 w 304800"/>
              <a:gd name="connsiteY15" fmla="*/ 162878 h 289559"/>
              <a:gd name="connsiteX16" fmla="*/ 263843 w 304800"/>
              <a:gd name="connsiteY16" fmla="*/ 254318 h 289559"/>
              <a:gd name="connsiteX17" fmla="*/ 185738 w 304800"/>
              <a:gd name="connsiteY17" fmla="*/ 254318 h 289559"/>
              <a:gd name="connsiteX18" fmla="*/ 185738 w 304800"/>
              <a:gd name="connsiteY18" fmla="*/ 266700 h 289559"/>
              <a:gd name="connsiteX19" fmla="*/ 149543 w 304800"/>
              <a:gd name="connsiteY19" fmla="*/ 230505 h 289559"/>
              <a:gd name="connsiteX20" fmla="*/ 185738 w 304800"/>
              <a:gd name="connsiteY20" fmla="*/ 194310 h 289559"/>
              <a:gd name="connsiteX21" fmla="*/ 185738 w 304800"/>
              <a:gd name="connsiteY21" fmla="*/ 206693 h 289559"/>
              <a:gd name="connsiteX22" fmla="*/ 291465 w 304800"/>
              <a:gd name="connsiteY22" fmla="*/ 206693 h 289559"/>
              <a:gd name="connsiteX23" fmla="*/ 263843 w 304800"/>
              <a:gd name="connsiteY23" fmla="*/ 254318 h 289559"/>
              <a:gd name="connsiteX24" fmla="*/ 94298 w 304800"/>
              <a:gd name="connsiteY24" fmla="*/ 171450 h 289559"/>
              <a:gd name="connsiteX25" fmla="*/ 116205 w 304800"/>
              <a:gd name="connsiteY25" fmla="*/ 184785 h 289559"/>
              <a:gd name="connsiteX26" fmla="*/ 95250 w 304800"/>
              <a:gd name="connsiteY26" fmla="*/ 103823 h 289559"/>
              <a:gd name="connsiteX27" fmla="*/ 14288 w 304800"/>
              <a:gd name="connsiteY27" fmla="*/ 125730 h 289559"/>
              <a:gd name="connsiteX28" fmla="*/ 36195 w 304800"/>
              <a:gd name="connsiteY28" fmla="*/ 139065 h 289559"/>
              <a:gd name="connsiteX29" fmla="*/ 0 w 304800"/>
              <a:gd name="connsiteY29" fmla="*/ 201930 h 289559"/>
              <a:gd name="connsiteX30" fmla="*/ 36195 w 304800"/>
              <a:gd name="connsiteY30" fmla="*/ 263843 h 289559"/>
              <a:gd name="connsiteX31" fmla="*/ 123825 w 304800"/>
              <a:gd name="connsiteY31" fmla="*/ 263843 h 289559"/>
              <a:gd name="connsiteX32" fmla="*/ 123825 w 304800"/>
              <a:gd name="connsiteY32" fmla="*/ 197168 h 289559"/>
              <a:gd name="connsiteX33" fmla="*/ 80010 w 304800"/>
              <a:gd name="connsiteY33" fmla="*/ 197168 h 289559"/>
              <a:gd name="connsiteX34" fmla="*/ 94298 w 304800"/>
              <a:gd name="connsiteY34" fmla="*/ 171450 h 289559"/>
              <a:gd name="connsiteX35" fmla="*/ 49530 w 304800"/>
              <a:gd name="connsiteY35" fmla="*/ 134303 h 289559"/>
              <a:gd name="connsiteX36" fmla="*/ 39053 w 304800"/>
              <a:gd name="connsiteY36" fmla="*/ 128588 h 289559"/>
              <a:gd name="connsiteX37" fmla="*/ 88583 w 304800"/>
              <a:gd name="connsiteY37" fmla="*/ 115253 h 289559"/>
              <a:gd name="connsiteX38" fmla="*/ 101918 w 304800"/>
              <a:gd name="connsiteY38" fmla="*/ 164783 h 289559"/>
              <a:gd name="connsiteX39" fmla="*/ 91440 w 304800"/>
              <a:gd name="connsiteY39" fmla="*/ 159068 h 289559"/>
              <a:gd name="connsiteX40" fmla="*/ 38100 w 304800"/>
              <a:gd name="connsiteY40" fmla="*/ 249555 h 289559"/>
              <a:gd name="connsiteX41" fmla="*/ 10478 w 304800"/>
              <a:gd name="connsiteY41" fmla="*/ 201930 h 289559"/>
              <a:gd name="connsiteX42" fmla="*/ 49530 w 304800"/>
              <a:gd name="connsiteY42" fmla="*/ 134303 h 289559"/>
              <a:gd name="connsiteX43" fmla="*/ 114300 w 304800"/>
              <a:gd name="connsiteY43" fmla="*/ 206693 h 289559"/>
              <a:gd name="connsiteX44" fmla="*/ 114300 w 304800"/>
              <a:gd name="connsiteY44" fmla="*/ 254318 h 289559"/>
              <a:gd name="connsiteX45" fmla="*/ 46673 w 304800"/>
              <a:gd name="connsiteY45" fmla="*/ 254318 h 289559"/>
              <a:gd name="connsiteX46" fmla="*/ 74295 w 304800"/>
              <a:gd name="connsiteY46" fmla="*/ 206693 h 289559"/>
              <a:gd name="connsiteX47" fmla="*/ 114300 w 304800"/>
              <a:gd name="connsiteY47" fmla="*/ 206693 h 289559"/>
              <a:gd name="connsiteX48" fmla="*/ 167640 w 304800"/>
              <a:gd name="connsiteY48" fmla="*/ 97155 h 289559"/>
              <a:gd name="connsiteX49" fmla="*/ 145733 w 304800"/>
              <a:gd name="connsiteY49" fmla="*/ 110490 h 289559"/>
              <a:gd name="connsiteX50" fmla="*/ 226695 w 304800"/>
              <a:gd name="connsiteY50" fmla="*/ 132398 h 289559"/>
              <a:gd name="connsiteX51" fmla="*/ 247650 w 304800"/>
              <a:gd name="connsiteY51" fmla="*/ 51435 h 289559"/>
              <a:gd name="connsiteX52" fmla="*/ 225743 w 304800"/>
              <a:gd name="connsiteY52" fmla="*/ 64770 h 289559"/>
              <a:gd name="connsiteX53" fmla="*/ 188595 w 304800"/>
              <a:gd name="connsiteY53" fmla="*/ 0 h 289559"/>
              <a:gd name="connsiteX54" fmla="*/ 117158 w 304800"/>
              <a:gd name="connsiteY54" fmla="*/ 0 h 289559"/>
              <a:gd name="connsiteX55" fmla="*/ 72390 w 304800"/>
              <a:gd name="connsiteY55" fmla="*/ 76200 h 289559"/>
              <a:gd name="connsiteX56" fmla="*/ 130493 w 304800"/>
              <a:gd name="connsiteY56" fmla="*/ 109538 h 289559"/>
              <a:gd name="connsiteX57" fmla="*/ 152400 w 304800"/>
              <a:gd name="connsiteY57" fmla="*/ 71438 h 289559"/>
              <a:gd name="connsiteX58" fmla="*/ 167640 w 304800"/>
              <a:gd name="connsiteY58" fmla="*/ 97155 h 289559"/>
              <a:gd name="connsiteX59" fmla="*/ 221933 w 304800"/>
              <a:gd name="connsiteY59" fmla="*/ 77153 h 289559"/>
              <a:gd name="connsiteX60" fmla="*/ 232410 w 304800"/>
              <a:gd name="connsiteY60" fmla="*/ 71438 h 289559"/>
              <a:gd name="connsiteX61" fmla="*/ 219075 w 304800"/>
              <a:gd name="connsiteY61" fmla="*/ 120015 h 289559"/>
              <a:gd name="connsiteX62" fmla="*/ 169545 w 304800"/>
              <a:gd name="connsiteY62" fmla="*/ 106680 h 289559"/>
              <a:gd name="connsiteX63" fmla="*/ 180023 w 304800"/>
              <a:gd name="connsiteY63" fmla="*/ 100965 h 289559"/>
              <a:gd name="connsiteX64" fmla="*/ 127635 w 304800"/>
              <a:gd name="connsiteY64" fmla="*/ 9525 h 289559"/>
              <a:gd name="connsiteX65" fmla="*/ 182880 w 304800"/>
              <a:gd name="connsiteY65" fmla="*/ 9525 h 289559"/>
              <a:gd name="connsiteX66" fmla="*/ 221933 w 304800"/>
              <a:gd name="connsiteY66" fmla="*/ 77153 h 289559"/>
              <a:gd name="connsiteX67" fmla="*/ 126683 w 304800"/>
              <a:gd name="connsiteY67" fmla="*/ 96203 h 289559"/>
              <a:gd name="connsiteX68" fmla="*/ 85725 w 304800"/>
              <a:gd name="connsiteY68" fmla="*/ 72390 h 289559"/>
              <a:gd name="connsiteX69" fmla="*/ 119063 w 304800"/>
              <a:gd name="connsiteY69" fmla="*/ 14288 h 289559"/>
              <a:gd name="connsiteX70" fmla="*/ 146685 w 304800"/>
              <a:gd name="connsiteY70" fmla="*/ 61913 h 289559"/>
              <a:gd name="connsiteX71" fmla="*/ 126683 w 304800"/>
              <a:gd name="connsiteY71" fmla="*/ 96203 h 28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04800" h="289559">
                <a:moveTo>
                  <a:pt x="260985" y="125730"/>
                </a:moveTo>
                <a:lnTo>
                  <a:pt x="202883" y="159068"/>
                </a:lnTo>
                <a:lnTo>
                  <a:pt x="224790" y="197168"/>
                </a:lnTo>
                <a:lnTo>
                  <a:pt x="195263" y="197168"/>
                </a:lnTo>
                <a:lnTo>
                  <a:pt x="195263" y="171450"/>
                </a:lnTo>
                <a:lnTo>
                  <a:pt x="136208" y="230505"/>
                </a:lnTo>
                <a:lnTo>
                  <a:pt x="195263" y="289560"/>
                </a:lnTo>
                <a:lnTo>
                  <a:pt x="195263" y="263843"/>
                </a:lnTo>
                <a:lnTo>
                  <a:pt x="268605" y="263843"/>
                </a:lnTo>
                <a:lnTo>
                  <a:pt x="304800" y="201930"/>
                </a:lnTo>
                <a:lnTo>
                  <a:pt x="260985" y="125730"/>
                </a:lnTo>
                <a:close/>
                <a:moveTo>
                  <a:pt x="216218" y="162878"/>
                </a:moveTo>
                <a:lnTo>
                  <a:pt x="257175" y="139065"/>
                </a:lnTo>
                <a:lnTo>
                  <a:pt x="290513" y="197168"/>
                </a:lnTo>
                <a:lnTo>
                  <a:pt x="235268" y="197168"/>
                </a:lnTo>
                <a:lnTo>
                  <a:pt x="216218" y="162878"/>
                </a:lnTo>
                <a:close/>
                <a:moveTo>
                  <a:pt x="263843" y="254318"/>
                </a:moveTo>
                <a:lnTo>
                  <a:pt x="185738" y="254318"/>
                </a:lnTo>
                <a:lnTo>
                  <a:pt x="185738" y="266700"/>
                </a:lnTo>
                <a:lnTo>
                  <a:pt x="149543" y="230505"/>
                </a:lnTo>
                <a:lnTo>
                  <a:pt x="185738" y="194310"/>
                </a:lnTo>
                <a:lnTo>
                  <a:pt x="185738" y="206693"/>
                </a:lnTo>
                <a:lnTo>
                  <a:pt x="291465" y="206693"/>
                </a:lnTo>
                <a:lnTo>
                  <a:pt x="263843" y="254318"/>
                </a:lnTo>
                <a:close/>
                <a:moveTo>
                  <a:pt x="94298" y="171450"/>
                </a:moveTo>
                <a:lnTo>
                  <a:pt x="116205" y="184785"/>
                </a:lnTo>
                <a:lnTo>
                  <a:pt x="95250" y="103823"/>
                </a:lnTo>
                <a:lnTo>
                  <a:pt x="14288" y="125730"/>
                </a:lnTo>
                <a:lnTo>
                  <a:pt x="36195" y="139065"/>
                </a:lnTo>
                <a:lnTo>
                  <a:pt x="0" y="201930"/>
                </a:lnTo>
                <a:lnTo>
                  <a:pt x="36195" y="263843"/>
                </a:lnTo>
                <a:lnTo>
                  <a:pt x="123825" y="263843"/>
                </a:lnTo>
                <a:lnTo>
                  <a:pt x="123825" y="197168"/>
                </a:lnTo>
                <a:lnTo>
                  <a:pt x="80010" y="197168"/>
                </a:lnTo>
                <a:lnTo>
                  <a:pt x="94298" y="171450"/>
                </a:lnTo>
                <a:close/>
                <a:moveTo>
                  <a:pt x="49530" y="134303"/>
                </a:moveTo>
                <a:lnTo>
                  <a:pt x="39053" y="128588"/>
                </a:lnTo>
                <a:lnTo>
                  <a:pt x="88583" y="115253"/>
                </a:lnTo>
                <a:lnTo>
                  <a:pt x="101918" y="164783"/>
                </a:lnTo>
                <a:lnTo>
                  <a:pt x="91440" y="159068"/>
                </a:lnTo>
                <a:lnTo>
                  <a:pt x="38100" y="249555"/>
                </a:lnTo>
                <a:lnTo>
                  <a:pt x="10478" y="201930"/>
                </a:lnTo>
                <a:lnTo>
                  <a:pt x="49530" y="134303"/>
                </a:lnTo>
                <a:close/>
                <a:moveTo>
                  <a:pt x="114300" y="206693"/>
                </a:moveTo>
                <a:lnTo>
                  <a:pt x="114300" y="254318"/>
                </a:lnTo>
                <a:lnTo>
                  <a:pt x="46673" y="254318"/>
                </a:lnTo>
                <a:lnTo>
                  <a:pt x="74295" y="206693"/>
                </a:lnTo>
                <a:lnTo>
                  <a:pt x="114300" y="206693"/>
                </a:lnTo>
                <a:close/>
                <a:moveTo>
                  <a:pt x="167640" y="97155"/>
                </a:moveTo>
                <a:lnTo>
                  <a:pt x="145733" y="110490"/>
                </a:lnTo>
                <a:lnTo>
                  <a:pt x="226695" y="132398"/>
                </a:lnTo>
                <a:lnTo>
                  <a:pt x="247650" y="51435"/>
                </a:lnTo>
                <a:lnTo>
                  <a:pt x="225743" y="64770"/>
                </a:lnTo>
                <a:lnTo>
                  <a:pt x="188595" y="0"/>
                </a:lnTo>
                <a:lnTo>
                  <a:pt x="117158" y="0"/>
                </a:lnTo>
                <a:lnTo>
                  <a:pt x="72390" y="76200"/>
                </a:lnTo>
                <a:lnTo>
                  <a:pt x="130493" y="109538"/>
                </a:lnTo>
                <a:lnTo>
                  <a:pt x="152400" y="71438"/>
                </a:lnTo>
                <a:lnTo>
                  <a:pt x="167640" y="97155"/>
                </a:lnTo>
                <a:close/>
                <a:moveTo>
                  <a:pt x="221933" y="77153"/>
                </a:moveTo>
                <a:lnTo>
                  <a:pt x="232410" y="71438"/>
                </a:lnTo>
                <a:lnTo>
                  <a:pt x="219075" y="120015"/>
                </a:lnTo>
                <a:lnTo>
                  <a:pt x="169545" y="106680"/>
                </a:lnTo>
                <a:lnTo>
                  <a:pt x="180023" y="100965"/>
                </a:lnTo>
                <a:lnTo>
                  <a:pt x="127635" y="9525"/>
                </a:lnTo>
                <a:lnTo>
                  <a:pt x="182880" y="9525"/>
                </a:lnTo>
                <a:lnTo>
                  <a:pt x="221933" y="77153"/>
                </a:lnTo>
                <a:close/>
                <a:moveTo>
                  <a:pt x="126683" y="96203"/>
                </a:moveTo>
                <a:lnTo>
                  <a:pt x="85725" y="72390"/>
                </a:lnTo>
                <a:lnTo>
                  <a:pt x="119063" y="14288"/>
                </a:lnTo>
                <a:lnTo>
                  <a:pt x="146685" y="61913"/>
                </a:lnTo>
                <a:lnTo>
                  <a:pt x="126683" y="96203"/>
                </a:lnTo>
                <a:close/>
              </a:path>
            </a:pathLst>
          </a:custGeom>
          <a:solidFill>
            <a:schemeClr val="tx2"/>
          </a:solidFill>
          <a:ln w="9525" cap="flat">
            <a:noFill/>
            <a:prstDash val="solid"/>
            <a:miter/>
          </a:ln>
        </p:spPr>
        <p:txBody>
          <a:bodyPr rtlCol="0" anchor="ctr"/>
          <a:lstStyle/>
          <a:p>
            <a:endParaRPr lang="en-GB"/>
          </a:p>
        </p:txBody>
      </p:sp>
      <p:sp>
        <p:nvSpPr>
          <p:cNvPr id="53" name="Freeform: Shape 52">
            <a:extLst>
              <a:ext uri="{FF2B5EF4-FFF2-40B4-BE49-F238E27FC236}">
                <a16:creationId xmlns:a16="http://schemas.microsoft.com/office/drawing/2014/main" id="{4B320F4C-B418-4551-A208-BE86883A933D}"/>
              </a:ext>
            </a:extLst>
          </p:cNvPr>
          <p:cNvSpPr/>
          <p:nvPr/>
        </p:nvSpPr>
        <p:spPr>
          <a:xfrm>
            <a:off x="3734429" y="3215964"/>
            <a:ext cx="391846" cy="391846"/>
          </a:xfrm>
          <a:custGeom>
            <a:avLst/>
            <a:gdLst>
              <a:gd name="connsiteX0" fmla="*/ 391846 w 391846"/>
              <a:gd name="connsiteY0" fmla="*/ 257149 h 391846"/>
              <a:gd name="connsiteX1" fmla="*/ 347825 w 391846"/>
              <a:gd name="connsiteY1" fmla="*/ 257149 h 391846"/>
              <a:gd name="connsiteX2" fmla="*/ 220413 w 391846"/>
              <a:gd name="connsiteY2" fmla="*/ 146942 h 391846"/>
              <a:gd name="connsiteX3" fmla="*/ 189739 w 391846"/>
              <a:gd name="connsiteY3" fmla="*/ 157204 h 391846"/>
              <a:gd name="connsiteX4" fmla="*/ 155085 w 391846"/>
              <a:gd name="connsiteY4" fmla="*/ 97178 h 391846"/>
              <a:gd name="connsiteX5" fmla="*/ 112668 w 391846"/>
              <a:gd name="connsiteY5" fmla="*/ 121668 h 391846"/>
              <a:gd name="connsiteX6" fmla="*/ 83133 w 391846"/>
              <a:gd name="connsiteY6" fmla="*/ 70520 h 391846"/>
              <a:gd name="connsiteX7" fmla="*/ 96933 w 391846"/>
              <a:gd name="connsiteY7" fmla="*/ 56009 h 391846"/>
              <a:gd name="connsiteX8" fmla="*/ 100153 w 391846"/>
              <a:gd name="connsiteY8" fmla="*/ 26511 h 391846"/>
              <a:gd name="connsiteX9" fmla="*/ 84847 w 391846"/>
              <a:gd name="connsiteY9" fmla="*/ 0 h 391846"/>
              <a:gd name="connsiteX10" fmla="*/ 0 w 391846"/>
              <a:gd name="connsiteY10" fmla="*/ 48981 h 391846"/>
              <a:gd name="connsiteX11" fmla="*/ 15306 w 391846"/>
              <a:gd name="connsiteY11" fmla="*/ 75492 h 391846"/>
              <a:gd name="connsiteX12" fmla="*/ 39748 w 391846"/>
              <a:gd name="connsiteY12" fmla="*/ 87541 h 391846"/>
              <a:gd name="connsiteX13" fmla="*/ 42454 w 391846"/>
              <a:gd name="connsiteY13" fmla="*/ 87455 h 391846"/>
              <a:gd name="connsiteX14" fmla="*/ 61924 w 391846"/>
              <a:gd name="connsiteY14" fmla="*/ 82765 h 391846"/>
              <a:gd name="connsiteX15" fmla="*/ 91459 w 391846"/>
              <a:gd name="connsiteY15" fmla="*/ 133913 h 391846"/>
              <a:gd name="connsiteX16" fmla="*/ 49042 w 391846"/>
              <a:gd name="connsiteY16" fmla="*/ 158404 h 391846"/>
              <a:gd name="connsiteX17" fmla="*/ 89194 w 391846"/>
              <a:gd name="connsiteY17" fmla="*/ 227956 h 391846"/>
              <a:gd name="connsiteX18" fmla="*/ 101598 w 391846"/>
              <a:gd name="connsiteY18" fmla="*/ 243447 h 391846"/>
              <a:gd name="connsiteX19" fmla="*/ 93002 w 391846"/>
              <a:gd name="connsiteY19" fmla="*/ 257149 h 391846"/>
              <a:gd name="connsiteX20" fmla="*/ 0 w 391846"/>
              <a:gd name="connsiteY20" fmla="*/ 257149 h 391846"/>
              <a:gd name="connsiteX21" fmla="*/ 0 w 391846"/>
              <a:gd name="connsiteY21" fmla="*/ 330620 h 391846"/>
              <a:gd name="connsiteX22" fmla="*/ 24490 w 391846"/>
              <a:gd name="connsiteY22" fmla="*/ 330620 h 391846"/>
              <a:gd name="connsiteX23" fmla="*/ 24490 w 391846"/>
              <a:gd name="connsiteY23" fmla="*/ 391846 h 391846"/>
              <a:gd name="connsiteX24" fmla="*/ 367356 w 391846"/>
              <a:gd name="connsiteY24" fmla="*/ 391846 h 391846"/>
              <a:gd name="connsiteX25" fmla="*/ 367356 w 391846"/>
              <a:gd name="connsiteY25" fmla="*/ 330620 h 391846"/>
              <a:gd name="connsiteX26" fmla="*/ 391846 w 391846"/>
              <a:gd name="connsiteY26" fmla="*/ 330620 h 391846"/>
              <a:gd name="connsiteX27" fmla="*/ 391846 w 391846"/>
              <a:gd name="connsiteY27" fmla="*/ 257149 h 391846"/>
              <a:gd name="connsiteX28" fmla="*/ 60785 w 391846"/>
              <a:gd name="connsiteY28" fmla="*/ 56303 h 391846"/>
              <a:gd name="connsiteX29" fmla="*/ 36160 w 391846"/>
              <a:gd name="connsiteY29" fmla="*/ 62622 h 391846"/>
              <a:gd name="connsiteX30" fmla="*/ 33454 w 391846"/>
              <a:gd name="connsiteY30" fmla="*/ 57944 h 391846"/>
              <a:gd name="connsiteX31" fmla="*/ 76006 w 391846"/>
              <a:gd name="connsiteY31" fmla="*/ 33380 h 391846"/>
              <a:gd name="connsiteX32" fmla="*/ 78602 w 391846"/>
              <a:gd name="connsiteY32" fmla="*/ 37764 h 391846"/>
              <a:gd name="connsiteX33" fmla="*/ 60785 w 391846"/>
              <a:gd name="connsiteY33" fmla="*/ 56303 h 391846"/>
              <a:gd name="connsiteX34" fmla="*/ 110415 w 391846"/>
              <a:gd name="connsiteY34" fmla="*/ 215711 h 391846"/>
              <a:gd name="connsiteX35" fmla="*/ 82508 w 391846"/>
              <a:gd name="connsiteY35" fmla="*/ 167379 h 391846"/>
              <a:gd name="connsiteX36" fmla="*/ 146122 w 391846"/>
              <a:gd name="connsiteY36" fmla="*/ 130644 h 391846"/>
              <a:gd name="connsiteX37" fmla="*/ 169363 w 391846"/>
              <a:gd name="connsiteY37" fmla="*/ 170894 h 391846"/>
              <a:gd name="connsiteX38" fmla="*/ 116342 w 391846"/>
              <a:gd name="connsiteY38" fmla="*/ 223585 h 391846"/>
              <a:gd name="connsiteX39" fmla="*/ 110415 w 391846"/>
              <a:gd name="connsiteY39" fmla="*/ 215711 h 391846"/>
              <a:gd name="connsiteX40" fmla="*/ 220413 w 391846"/>
              <a:gd name="connsiteY40" fmla="*/ 171433 h 391846"/>
              <a:gd name="connsiteX41" fmla="*/ 318926 w 391846"/>
              <a:gd name="connsiteY41" fmla="*/ 257149 h 391846"/>
              <a:gd name="connsiteX42" fmla="*/ 121901 w 391846"/>
              <a:gd name="connsiteY42" fmla="*/ 257149 h 391846"/>
              <a:gd name="connsiteX43" fmla="*/ 220413 w 391846"/>
              <a:gd name="connsiteY43" fmla="*/ 171433 h 391846"/>
              <a:gd name="connsiteX44" fmla="*/ 342865 w 391846"/>
              <a:gd name="connsiteY44" fmla="*/ 367356 h 391846"/>
              <a:gd name="connsiteX45" fmla="*/ 48981 w 391846"/>
              <a:gd name="connsiteY45" fmla="*/ 367356 h 391846"/>
              <a:gd name="connsiteX46" fmla="*/ 48981 w 391846"/>
              <a:gd name="connsiteY46" fmla="*/ 330620 h 391846"/>
              <a:gd name="connsiteX47" fmla="*/ 342865 w 391846"/>
              <a:gd name="connsiteY47" fmla="*/ 330620 h 391846"/>
              <a:gd name="connsiteX48" fmla="*/ 342865 w 391846"/>
              <a:gd name="connsiteY48" fmla="*/ 367356 h 391846"/>
              <a:gd name="connsiteX49" fmla="*/ 367356 w 391846"/>
              <a:gd name="connsiteY49" fmla="*/ 306130 h 391846"/>
              <a:gd name="connsiteX50" fmla="*/ 24490 w 391846"/>
              <a:gd name="connsiteY50" fmla="*/ 306130 h 391846"/>
              <a:gd name="connsiteX51" fmla="*/ 24490 w 391846"/>
              <a:gd name="connsiteY51" fmla="*/ 281639 h 391846"/>
              <a:gd name="connsiteX52" fmla="*/ 367356 w 391846"/>
              <a:gd name="connsiteY52" fmla="*/ 281639 h 391846"/>
              <a:gd name="connsiteX53" fmla="*/ 367356 w 391846"/>
              <a:gd name="connsiteY53" fmla="*/ 306130 h 391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91846" h="391846">
                <a:moveTo>
                  <a:pt x="391846" y="257149"/>
                </a:moveTo>
                <a:lnTo>
                  <a:pt x="347825" y="257149"/>
                </a:lnTo>
                <a:cubicBezTo>
                  <a:pt x="320383" y="209442"/>
                  <a:pt x="256598" y="146942"/>
                  <a:pt x="220413" y="146942"/>
                </a:cubicBezTo>
                <a:cubicBezTo>
                  <a:pt x="211548" y="146942"/>
                  <a:pt x="200980" y="150836"/>
                  <a:pt x="189739" y="157204"/>
                </a:cubicBezTo>
                <a:lnTo>
                  <a:pt x="155085" y="97178"/>
                </a:lnTo>
                <a:lnTo>
                  <a:pt x="112668" y="121668"/>
                </a:lnTo>
                <a:lnTo>
                  <a:pt x="83133" y="70520"/>
                </a:lnTo>
                <a:cubicBezTo>
                  <a:pt x="88729" y="66075"/>
                  <a:pt x="93529" y="61152"/>
                  <a:pt x="96933" y="56009"/>
                </a:cubicBezTo>
                <a:cubicBezTo>
                  <a:pt x="103802" y="45613"/>
                  <a:pt x="104966" y="34862"/>
                  <a:pt x="100153" y="26511"/>
                </a:cubicBezTo>
                <a:lnTo>
                  <a:pt x="84847" y="0"/>
                </a:lnTo>
                <a:lnTo>
                  <a:pt x="0" y="48981"/>
                </a:lnTo>
                <a:lnTo>
                  <a:pt x="15306" y="75492"/>
                </a:lnTo>
                <a:cubicBezTo>
                  <a:pt x="19764" y="83231"/>
                  <a:pt x="28593" y="87541"/>
                  <a:pt x="39748" y="87541"/>
                </a:cubicBezTo>
                <a:cubicBezTo>
                  <a:pt x="40642" y="87541"/>
                  <a:pt x="41536" y="87516"/>
                  <a:pt x="42454" y="87455"/>
                </a:cubicBezTo>
                <a:cubicBezTo>
                  <a:pt x="48613" y="87088"/>
                  <a:pt x="55275" y="85386"/>
                  <a:pt x="61924" y="82765"/>
                </a:cubicBezTo>
                <a:lnTo>
                  <a:pt x="91459" y="133913"/>
                </a:lnTo>
                <a:lnTo>
                  <a:pt x="49042" y="158404"/>
                </a:lnTo>
                <a:lnTo>
                  <a:pt x="89194" y="227956"/>
                </a:lnTo>
                <a:cubicBezTo>
                  <a:pt x="92586" y="233834"/>
                  <a:pt x="96847" y="238953"/>
                  <a:pt x="101598" y="243447"/>
                </a:cubicBezTo>
                <a:cubicBezTo>
                  <a:pt x="98451" y="248112"/>
                  <a:pt x="95574" y="252692"/>
                  <a:pt x="93002" y="257149"/>
                </a:cubicBezTo>
                <a:lnTo>
                  <a:pt x="0" y="257149"/>
                </a:lnTo>
                <a:lnTo>
                  <a:pt x="0" y="330620"/>
                </a:lnTo>
                <a:lnTo>
                  <a:pt x="24490" y="330620"/>
                </a:lnTo>
                <a:lnTo>
                  <a:pt x="24490" y="391846"/>
                </a:lnTo>
                <a:lnTo>
                  <a:pt x="367356" y="391846"/>
                </a:lnTo>
                <a:lnTo>
                  <a:pt x="367356" y="330620"/>
                </a:lnTo>
                <a:lnTo>
                  <a:pt x="391846" y="330620"/>
                </a:lnTo>
                <a:lnTo>
                  <a:pt x="391846" y="257149"/>
                </a:lnTo>
                <a:close/>
                <a:moveTo>
                  <a:pt x="60785" y="56303"/>
                </a:moveTo>
                <a:cubicBezTo>
                  <a:pt x="48564" y="63357"/>
                  <a:pt x="38805" y="63675"/>
                  <a:pt x="36160" y="62622"/>
                </a:cubicBezTo>
                <a:lnTo>
                  <a:pt x="33454" y="57944"/>
                </a:lnTo>
                <a:lnTo>
                  <a:pt x="76006" y="33380"/>
                </a:lnTo>
                <a:lnTo>
                  <a:pt x="78602" y="37764"/>
                </a:lnTo>
                <a:cubicBezTo>
                  <a:pt x="78639" y="40176"/>
                  <a:pt x="73557" y="48932"/>
                  <a:pt x="60785" y="56303"/>
                </a:cubicBezTo>
                <a:close/>
                <a:moveTo>
                  <a:pt x="110415" y="215711"/>
                </a:moveTo>
                <a:lnTo>
                  <a:pt x="82508" y="167379"/>
                </a:lnTo>
                <a:lnTo>
                  <a:pt x="146122" y="130644"/>
                </a:lnTo>
                <a:lnTo>
                  <a:pt x="169363" y="170894"/>
                </a:lnTo>
                <a:cubicBezTo>
                  <a:pt x="150848" y="185147"/>
                  <a:pt x="132003" y="204127"/>
                  <a:pt x="116342" y="223585"/>
                </a:cubicBezTo>
                <a:cubicBezTo>
                  <a:pt x="114150" y="221185"/>
                  <a:pt x="112092" y="218626"/>
                  <a:pt x="110415" y="215711"/>
                </a:cubicBezTo>
                <a:close/>
                <a:moveTo>
                  <a:pt x="220413" y="171433"/>
                </a:moveTo>
                <a:cubicBezTo>
                  <a:pt x="243496" y="171433"/>
                  <a:pt x="292538" y="219495"/>
                  <a:pt x="318926" y="257149"/>
                </a:cubicBezTo>
                <a:lnTo>
                  <a:pt x="121901" y="257149"/>
                </a:lnTo>
                <a:cubicBezTo>
                  <a:pt x="148289" y="219495"/>
                  <a:pt x="197331" y="171433"/>
                  <a:pt x="220413" y="171433"/>
                </a:cubicBezTo>
                <a:close/>
                <a:moveTo>
                  <a:pt x="342865" y="367356"/>
                </a:moveTo>
                <a:lnTo>
                  <a:pt x="48981" y="367356"/>
                </a:lnTo>
                <a:lnTo>
                  <a:pt x="48981" y="330620"/>
                </a:lnTo>
                <a:lnTo>
                  <a:pt x="342865" y="330620"/>
                </a:lnTo>
                <a:lnTo>
                  <a:pt x="342865" y="367356"/>
                </a:lnTo>
                <a:close/>
                <a:moveTo>
                  <a:pt x="367356" y="306130"/>
                </a:moveTo>
                <a:lnTo>
                  <a:pt x="24490" y="306130"/>
                </a:lnTo>
                <a:lnTo>
                  <a:pt x="24490" y="281639"/>
                </a:lnTo>
                <a:lnTo>
                  <a:pt x="367356" y="281639"/>
                </a:lnTo>
                <a:lnTo>
                  <a:pt x="367356" y="306130"/>
                </a:lnTo>
                <a:close/>
              </a:path>
            </a:pathLst>
          </a:custGeom>
          <a:solidFill>
            <a:schemeClr val="tx2"/>
          </a:solidFill>
          <a:ln w="12204" cap="flat">
            <a:noFill/>
            <a:prstDash val="solid"/>
            <a:miter/>
          </a:ln>
        </p:spPr>
        <p:txBody>
          <a:bodyPr rtlCol="0" anchor="ctr"/>
          <a:lstStyle/>
          <a:p>
            <a:endParaRPr lang="en-GB"/>
          </a:p>
        </p:txBody>
      </p:sp>
      <p:sp>
        <p:nvSpPr>
          <p:cNvPr id="270" name="Freeform: Shape 269">
            <a:extLst>
              <a:ext uri="{FF2B5EF4-FFF2-40B4-BE49-F238E27FC236}">
                <a16:creationId xmlns:a16="http://schemas.microsoft.com/office/drawing/2014/main" id="{D52E857A-149A-4EE0-8E36-98C95A7B35F4}"/>
              </a:ext>
            </a:extLst>
          </p:cNvPr>
          <p:cNvSpPr/>
          <p:nvPr/>
        </p:nvSpPr>
        <p:spPr>
          <a:xfrm>
            <a:off x="6134466" y="1700283"/>
            <a:ext cx="247650" cy="304800"/>
          </a:xfrm>
          <a:custGeom>
            <a:avLst/>
            <a:gdLst>
              <a:gd name="connsiteX0" fmla="*/ 57150 w 247650"/>
              <a:gd name="connsiteY0" fmla="*/ 190500 h 304800"/>
              <a:gd name="connsiteX1" fmla="*/ 19050 w 247650"/>
              <a:gd name="connsiteY1" fmla="*/ 152400 h 304800"/>
              <a:gd name="connsiteX2" fmla="*/ 57150 w 247650"/>
              <a:gd name="connsiteY2" fmla="*/ 114300 h 304800"/>
              <a:gd name="connsiteX3" fmla="*/ 95250 w 247650"/>
              <a:gd name="connsiteY3" fmla="*/ 152400 h 304800"/>
              <a:gd name="connsiteX4" fmla="*/ 57150 w 247650"/>
              <a:gd name="connsiteY4" fmla="*/ 190500 h 304800"/>
              <a:gd name="connsiteX5" fmla="*/ 38100 w 247650"/>
              <a:gd name="connsiteY5" fmla="*/ 98108 h 304800"/>
              <a:gd name="connsiteX6" fmla="*/ 38100 w 247650"/>
              <a:gd name="connsiteY6" fmla="*/ 0 h 304800"/>
              <a:gd name="connsiteX7" fmla="*/ 0 w 247650"/>
              <a:gd name="connsiteY7" fmla="*/ 0 h 304800"/>
              <a:gd name="connsiteX8" fmla="*/ 0 w 247650"/>
              <a:gd name="connsiteY8" fmla="*/ 152400 h 304800"/>
              <a:gd name="connsiteX9" fmla="*/ 38100 w 247650"/>
              <a:gd name="connsiteY9" fmla="*/ 98108 h 304800"/>
              <a:gd name="connsiteX10" fmla="*/ 0 w 247650"/>
              <a:gd name="connsiteY10" fmla="*/ 152400 h 304800"/>
              <a:gd name="connsiteX11" fmla="*/ 0 w 247650"/>
              <a:gd name="connsiteY11" fmla="*/ 304800 h 304800"/>
              <a:gd name="connsiteX12" fmla="*/ 38100 w 247650"/>
              <a:gd name="connsiteY12" fmla="*/ 304800 h 304800"/>
              <a:gd name="connsiteX13" fmla="*/ 38100 w 247650"/>
              <a:gd name="connsiteY13" fmla="*/ 205740 h 304800"/>
              <a:gd name="connsiteX14" fmla="*/ 0 w 247650"/>
              <a:gd name="connsiteY14" fmla="*/ 152400 h 304800"/>
              <a:gd name="connsiteX15" fmla="*/ 209550 w 247650"/>
              <a:gd name="connsiteY15" fmla="*/ 152400 h 304800"/>
              <a:gd name="connsiteX16" fmla="*/ 143828 w 247650"/>
              <a:gd name="connsiteY16" fmla="*/ 277178 h 304800"/>
              <a:gd name="connsiteX17" fmla="*/ 171450 w 247650"/>
              <a:gd name="connsiteY17" fmla="*/ 304800 h 304800"/>
              <a:gd name="connsiteX18" fmla="*/ 247650 w 247650"/>
              <a:gd name="connsiteY18" fmla="*/ 152400 h 304800"/>
              <a:gd name="connsiteX19" fmla="*/ 171450 w 247650"/>
              <a:gd name="connsiteY19" fmla="*/ 0 h 304800"/>
              <a:gd name="connsiteX20" fmla="*/ 143828 w 247650"/>
              <a:gd name="connsiteY20" fmla="*/ 27623 h 304800"/>
              <a:gd name="connsiteX21" fmla="*/ 209550 w 247650"/>
              <a:gd name="connsiteY21" fmla="*/ 152400 h 304800"/>
              <a:gd name="connsiteX22" fmla="*/ 133350 w 247650"/>
              <a:gd name="connsiteY22" fmla="*/ 152400 h 304800"/>
              <a:gd name="connsiteX23" fmla="*/ 88583 w 247650"/>
              <a:gd name="connsiteY23" fmla="*/ 221933 h 304800"/>
              <a:gd name="connsiteX24" fmla="*/ 117158 w 247650"/>
              <a:gd name="connsiteY24" fmla="*/ 250508 h 304800"/>
              <a:gd name="connsiteX25" fmla="*/ 171450 w 247650"/>
              <a:gd name="connsiteY25" fmla="*/ 152400 h 304800"/>
              <a:gd name="connsiteX26" fmla="*/ 116205 w 247650"/>
              <a:gd name="connsiteY26" fmla="*/ 54293 h 304800"/>
              <a:gd name="connsiteX27" fmla="*/ 87630 w 247650"/>
              <a:gd name="connsiteY27" fmla="*/ 82868 h 304800"/>
              <a:gd name="connsiteX28" fmla="*/ 133350 w 247650"/>
              <a:gd name="connsiteY28" fmla="*/ 1524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7650" h="304800">
                <a:moveTo>
                  <a:pt x="57150" y="190500"/>
                </a:moveTo>
                <a:cubicBezTo>
                  <a:pt x="36195" y="190500"/>
                  <a:pt x="19050" y="173355"/>
                  <a:pt x="19050" y="152400"/>
                </a:cubicBezTo>
                <a:cubicBezTo>
                  <a:pt x="19050" y="131445"/>
                  <a:pt x="36195" y="114300"/>
                  <a:pt x="57150" y="114300"/>
                </a:cubicBezTo>
                <a:cubicBezTo>
                  <a:pt x="78105" y="114300"/>
                  <a:pt x="95250" y="131445"/>
                  <a:pt x="95250" y="152400"/>
                </a:cubicBezTo>
                <a:cubicBezTo>
                  <a:pt x="95250" y="173355"/>
                  <a:pt x="78105" y="190500"/>
                  <a:pt x="57150" y="190500"/>
                </a:cubicBezTo>
                <a:close/>
                <a:moveTo>
                  <a:pt x="38100" y="98108"/>
                </a:moveTo>
                <a:lnTo>
                  <a:pt x="38100" y="0"/>
                </a:lnTo>
                <a:lnTo>
                  <a:pt x="0" y="0"/>
                </a:lnTo>
                <a:lnTo>
                  <a:pt x="0" y="152400"/>
                </a:lnTo>
                <a:cubicBezTo>
                  <a:pt x="0" y="127635"/>
                  <a:pt x="16193" y="106680"/>
                  <a:pt x="38100" y="98108"/>
                </a:cubicBezTo>
                <a:close/>
                <a:moveTo>
                  <a:pt x="0" y="152400"/>
                </a:moveTo>
                <a:lnTo>
                  <a:pt x="0" y="304800"/>
                </a:lnTo>
                <a:lnTo>
                  <a:pt x="38100" y="304800"/>
                </a:lnTo>
                <a:lnTo>
                  <a:pt x="38100" y="205740"/>
                </a:lnTo>
                <a:cubicBezTo>
                  <a:pt x="16193" y="198120"/>
                  <a:pt x="0" y="177165"/>
                  <a:pt x="0" y="152400"/>
                </a:cubicBezTo>
                <a:close/>
                <a:moveTo>
                  <a:pt x="209550" y="152400"/>
                </a:moveTo>
                <a:cubicBezTo>
                  <a:pt x="209550" y="203835"/>
                  <a:pt x="183833" y="249555"/>
                  <a:pt x="143828" y="277178"/>
                </a:cubicBezTo>
                <a:lnTo>
                  <a:pt x="171450" y="304800"/>
                </a:lnTo>
                <a:cubicBezTo>
                  <a:pt x="218123" y="270510"/>
                  <a:pt x="247650" y="215265"/>
                  <a:pt x="247650" y="152400"/>
                </a:cubicBezTo>
                <a:cubicBezTo>
                  <a:pt x="247650" y="90488"/>
                  <a:pt x="218123" y="35243"/>
                  <a:pt x="171450" y="0"/>
                </a:cubicBezTo>
                <a:lnTo>
                  <a:pt x="143828" y="27623"/>
                </a:lnTo>
                <a:cubicBezTo>
                  <a:pt x="183833" y="55245"/>
                  <a:pt x="209550" y="100965"/>
                  <a:pt x="209550" y="152400"/>
                </a:cubicBezTo>
                <a:close/>
                <a:moveTo>
                  <a:pt x="133350" y="152400"/>
                </a:moveTo>
                <a:cubicBezTo>
                  <a:pt x="133350" y="182880"/>
                  <a:pt x="115253" y="209550"/>
                  <a:pt x="88583" y="221933"/>
                </a:cubicBezTo>
                <a:lnTo>
                  <a:pt x="117158" y="250508"/>
                </a:lnTo>
                <a:cubicBezTo>
                  <a:pt x="149543" y="229553"/>
                  <a:pt x="171450" y="193358"/>
                  <a:pt x="171450" y="152400"/>
                </a:cubicBezTo>
                <a:cubicBezTo>
                  <a:pt x="171450" y="110490"/>
                  <a:pt x="149543" y="74295"/>
                  <a:pt x="116205" y="54293"/>
                </a:cubicBezTo>
                <a:lnTo>
                  <a:pt x="87630" y="82868"/>
                </a:lnTo>
                <a:cubicBezTo>
                  <a:pt x="114300" y="94298"/>
                  <a:pt x="133350" y="120968"/>
                  <a:pt x="133350" y="152400"/>
                </a:cubicBezTo>
                <a:close/>
              </a:path>
            </a:pathLst>
          </a:custGeom>
          <a:solidFill>
            <a:schemeClr val="tx2"/>
          </a:solidFill>
          <a:ln w="9525" cap="flat">
            <a:noFill/>
            <a:prstDash val="solid"/>
            <a:miter/>
          </a:ln>
        </p:spPr>
        <p:txBody>
          <a:bodyPr rtlCol="0" anchor="ctr"/>
          <a:lstStyle/>
          <a:p>
            <a:endParaRPr lang="en-GB"/>
          </a:p>
        </p:txBody>
      </p:sp>
      <p:sp>
        <p:nvSpPr>
          <p:cNvPr id="271" name="Freeform: Shape 270">
            <a:extLst>
              <a:ext uri="{FF2B5EF4-FFF2-40B4-BE49-F238E27FC236}">
                <a16:creationId xmlns:a16="http://schemas.microsoft.com/office/drawing/2014/main" id="{EE3925AE-2027-400C-8168-3C22221CFED8}"/>
              </a:ext>
            </a:extLst>
          </p:cNvPr>
          <p:cNvSpPr/>
          <p:nvPr/>
        </p:nvSpPr>
        <p:spPr>
          <a:xfrm>
            <a:off x="7150530" y="1763149"/>
            <a:ext cx="304800" cy="241934"/>
          </a:xfrm>
          <a:custGeom>
            <a:avLst/>
            <a:gdLst>
              <a:gd name="connsiteX0" fmla="*/ 152400 w 304800"/>
              <a:gd name="connsiteY0" fmla="*/ 149543 h 241934"/>
              <a:gd name="connsiteX1" fmla="*/ 123825 w 304800"/>
              <a:gd name="connsiteY1" fmla="*/ 120968 h 241934"/>
              <a:gd name="connsiteX2" fmla="*/ 152400 w 304800"/>
              <a:gd name="connsiteY2" fmla="*/ 92393 h 241934"/>
              <a:gd name="connsiteX3" fmla="*/ 180975 w 304800"/>
              <a:gd name="connsiteY3" fmla="*/ 120968 h 241934"/>
              <a:gd name="connsiteX4" fmla="*/ 152400 w 304800"/>
              <a:gd name="connsiteY4" fmla="*/ 149543 h 241934"/>
              <a:gd name="connsiteX5" fmla="*/ 244793 w 304800"/>
              <a:gd name="connsiteY5" fmla="*/ 0 h 241934"/>
              <a:gd name="connsiteX6" fmla="*/ 224790 w 304800"/>
              <a:gd name="connsiteY6" fmla="*/ 20003 h 241934"/>
              <a:gd name="connsiteX7" fmla="*/ 276225 w 304800"/>
              <a:gd name="connsiteY7" fmla="*/ 120968 h 241934"/>
              <a:gd name="connsiteX8" fmla="*/ 224790 w 304800"/>
              <a:gd name="connsiteY8" fmla="*/ 221933 h 241934"/>
              <a:gd name="connsiteX9" fmla="*/ 244793 w 304800"/>
              <a:gd name="connsiteY9" fmla="*/ 241935 h 241934"/>
              <a:gd name="connsiteX10" fmla="*/ 304800 w 304800"/>
              <a:gd name="connsiteY10" fmla="*/ 120968 h 241934"/>
              <a:gd name="connsiteX11" fmla="*/ 244793 w 304800"/>
              <a:gd name="connsiteY11" fmla="*/ 0 h 241934"/>
              <a:gd name="connsiteX12" fmla="*/ 200025 w 304800"/>
              <a:gd name="connsiteY12" fmla="*/ 44768 h 241934"/>
              <a:gd name="connsiteX13" fmla="*/ 179070 w 304800"/>
              <a:gd name="connsiteY13" fmla="*/ 65723 h 241934"/>
              <a:gd name="connsiteX14" fmla="*/ 214313 w 304800"/>
              <a:gd name="connsiteY14" fmla="*/ 120968 h 241934"/>
              <a:gd name="connsiteX15" fmla="*/ 179070 w 304800"/>
              <a:gd name="connsiteY15" fmla="*/ 176213 h 241934"/>
              <a:gd name="connsiteX16" fmla="*/ 200025 w 304800"/>
              <a:gd name="connsiteY16" fmla="*/ 197168 h 241934"/>
              <a:gd name="connsiteX17" fmla="*/ 242888 w 304800"/>
              <a:gd name="connsiteY17" fmla="*/ 120968 h 241934"/>
              <a:gd name="connsiteX18" fmla="*/ 200025 w 304800"/>
              <a:gd name="connsiteY18" fmla="*/ 44768 h 241934"/>
              <a:gd name="connsiteX19" fmla="*/ 28575 w 304800"/>
              <a:gd name="connsiteY19" fmla="*/ 120968 h 241934"/>
              <a:gd name="connsiteX20" fmla="*/ 80010 w 304800"/>
              <a:gd name="connsiteY20" fmla="*/ 20003 h 241934"/>
              <a:gd name="connsiteX21" fmla="*/ 60008 w 304800"/>
              <a:gd name="connsiteY21" fmla="*/ 0 h 241934"/>
              <a:gd name="connsiteX22" fmla="*/ 0 w 304800"/>
              <a:gd name="connsiteY22" fmla="*/ 120968 h 241934"/>
              <a:gd name="connsiteX23" fmla="*/ 60008 w 304800"/>
              <a:gd name="connsiteY23" fmla="*/ 241935 h 241934"/>
              <a:gd name="connsiteX24" fmla="*/ 80010 w 304800"/>
              <a:gd name="connsiteY24" fmla="*/ 221933 h 241934"/>
              <a:gd name="connsiteX25" fmla="*/ 28575 w 304800"/>
              <a:gd name="connsiteY25" fmla="*/ 120968 h 241934"/>
              <a:gd name="connsiteX26" fmla="*/ 90488 w 304800"/>
              <a:gd name="connsiteY26" fmla="*/ 120968 h 241934"/>
              <a:gd name="connsiteX27" fmla="*/ 125730 w 304800"/>
              <a:gd name="connsiteY27" fmla="*/ 65723 h 241934"/>
              <a:gd name="connsiteX28" fmla="*/ 104775 w 304800"/>
              <a:gd name="connsiteY28" fmla="*/ 44768 h 241934"/>
              <a:gd name="connsiteX29" fmla="*/ 61913 w 304800"/>
              <a:gd name="connsiteY29" fmla="*/ 120968 h 241934"/>
              <a:gd name="connsiteX30" fmla="*/ 104775 w 304800"/>
              <a:gd name="connsiteY30" fmla="*/ 197168 h 241934"/>
              <a:gd name="connsiteX31" fmla="*/ 125730 w 304800"/>
              <a:gd name="connsiteY31" fmla="*/ 176213 h 241934"/>
              <a:gd name="connsiteX32" fmla="*/ 90488 w 304800"/>
              <a:gd name="connsiteY32" fmla="*/ 120968 h 241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04800" h="241934">
                <a:moveTo>
                  <a:pt x="152400" y="149543"/>
                </a:moveTo>
                <a:cubicBezTo>
                  <a:pt x="136208" y="149543"/>
                  <a:pt x="123825" y="137160"/>
                  <a:pt x="123825" y="120968"/>
                </a:cubicBezTo>
                <a:cubicBezTo>
                  <a:pt x="123825" y="104775"/>
                  <a:pt x="136208" y="92393"/>
                  <a:pt x="152400" y="92393"/>
                </a:cubicBezTo>
                <a:cubicBezTo>
                  <a:pt x="168593" y="92393"/>
                  <a:pt x="180975" y="104775"/>
                  <a:pt x="180975" y="120968"/>
                </a:cubicBezTo>
                <a:cubicBezTo>
                  <a:pt x="180975" y="137160"/>
                  <a:pt x="168593" y="149543"/>
                  <a:pt x="152400" y="149543"/>
                </a:cubicBezTo>
                <a:close/>
                <a:moveTo>
                  <a:pt x="244793" y="0"/>
                </a:moveTo>
                <a:lnTo>
                  <a:pt x="224790" y="20003"/>
                </a:lnTo>
                <a:cubicBezTo>
                  <a:pt x="255270" y="42863"/>
                  <a:pt x="276225" y="79058"/>
                  <a:pt x="276225" y="120968"/>
                </a:cubicBezTo>
                <a:cubicBezTo>
                  <a:pt x="276225" y="162878"/>
                  <a:pt x="255270" y="199073"/>
                  <a:pt x="224790" y="221933"/>
                </a:cubicBezTo>
                <a:lnTo>
                  <a:pt x="244793" y="241935"/>
                </a:lnTo>
                <a:cubicBezTo>
                  <a:pt x="280988" y="214313"/>
                  <a:pt x="304800" y="170498"/>
                  <a:pt x="304800" y="120968"/>
                </a:cubicBezTo>
                <a:cubicBezTo>
                  <a:pt x="304800" y="71438"/>
                  <a:pt x="280988" y="27623"/>
                  <a:pt x="244793" y="0"/>
                </a:cubicBezTo>
                <a:close/>
                <a:moveTo>
                  <a:pt x="200025" y="44768"/>
                </a:moveTo>
                <a:lnTo>
                  <a:pt x="179070" y="65723"/>
                </a:lnTo>
                <a:cubicBezTo>
                  <a:pt x="200025" y="76200"/>
                  <a:pt x="214313" y="97155"/>
                  <a:pt x="214313" y="120968"/>
                </a:cubicBezTo>
                <a:cubicBezTo>
                  <a:pt x="214313" y="144780"/>
                  <a:pt x="200025" y="166688"/>
                  <a:pt x="179070" y="176213"/>
                </a:cubicBezTo>
                <a:lnTo>
                  <a:pt x="200025" y="197168"/>
                </a:lnTo>
                <a:cubicBezTo>
                  <a:pt x="225743" y="180975"/>
                  <a:pt x="242888" y="152400"/>
                  <a:pt x="242888" y="120968"/>
                </a:cubicBezTo>
                <a:cubicBezTo>
                  <a:pt x="242888" y="89535"/>
                  <a:pt x="225743" y="60008"/>
                  <a:pt x="200025" y="44768"/>
                </a:cubicBezTo>
                <a:close/>
                <a:moveTo>
                  <a:pt x="28575" y="120968"/>
                </a:moveTo>
                <a:cubicBezTo>
                  <a:pt x="28575" y="79058"/>
                  <a:pt x="49530" y="42863"/>
                  <a:pt x="80010" y="20003"/>
                </a:cubicBezTo>
                <a:lnTo>
                  <a:pt x="60008" y="0"/>
                </a:lnTo>
                <a:cubicBezTo>
                  <a:pt x="23813" y="27623"/>
                  <a:pt x="0" y="71438"/>
                  <a:pt x="0" y="120968"/>
                </a:cubicBezTo>
                <a:cubicBezTo>
                  <a:pt x="0" y="170498"/>
                  <a:pt x="23813" y="214313"/>
                  <a:pt x="60008" y="241935"/>
                </a:cubicBezTo>
                <a:lnTo>
                  <a:pt x="80010" y="221933"/>
                </a:lnTo>
                <a:cubicBezTo>
                  <a:pt x="49530" y="199073"/>
                  <a:pt x="28575" y="161925"/>
                  <a:pt x="28575" y="120968"/>
                </a:cubicBezTo>
                <a:close/>
                <a:moveTo>
                  <a:pt x="90488" y="120968"/>
                </a:moveTo>
                <a:cubicBezTo>
                  <a:pt x="90488" y="96203"/>
                  <a:pt x="104775" y="75248"/>
                  <a:pt x="125730" y="65723"/>
                </a:cubicBezTo>
                <a:lnTo>
                  <a:pt x="104775" y="44768"/>
                </a:lnTo>
                <a:cubicBezTo>
                  <a:pt x="79058" y="60960"/>
                  <a:pt x="61913" y="89535"/>
                  <a:pt x="61913" y="120968"/>
                </a:cubicBezTo>
                <a:cubicBezTo>
                  <a:pt x="61913" y="152400"/>
                  <a:pt x="79058" y="181928"/>
                  <a:pt x="104775" y="197168"/>
                </a:cubicBezTo>
                <a:lnTo>
                  <a:pt x="125730" y="176213"/>
                </a:lnTo>
                <a:cubicBezTo>
                  <a:pt x="104775" y="166688"/>
                  <a:pt x="90488" y="145733"/>
                  <a:pt x="90488" y="120968"/>
                </a:cubicBezTo>
                <a:close/>
              </a:path>
            </a:pathLst>
          </a:custGeom>
          <a:solidFill>
            <a:schemeClr val="tx2"/>
          </a:solidFill>
          <a:ln w="9525" cap="flat">
            <a:noFill/>
            <a:prstDash val="solid"/>
            <a:miter/>
          </a:ln>
        </p:spPr>
        <p:txBody>
          <a:bodyPr rtlCol="0" anchor="ctr"/>
          <a:lstStyle/>
          <a:p>
            <a:endParaRPr lang="en-GB"/>
          </a:p>
        </p:txBody>
      </p:sp>
      <p:sp>
        <p:nvSpPr>
          <p:cNvPr id="274" name="Freeform: Shape 273">
            <a:extLst>
              <a:ext uri="{FF2B5EF4-FFF2-40B4-BE49-F238E27FC236}">
                <a16:creationId xmlns:a16="http://schemas.microsoft.com/office/drawing/2014/main" id="{EE2D3DCA-7E24-4406-AA31-439ECB428D7F}"/>
              </a:ext>
            </a:extLst>
          </p:cNvPr>
          <p:cNvSpPr/>
          <p:nvPr/>
        </p:nvSpPr>
        <p:spPr>
          <a:xfrm>
            <a:off x="8139486" y="1625054"/>
            <a:ext cx="419342" cy="380029"/>
          </a:xfrm>
          <a:custGeom>
            <a:avLst/>
            <a:gdLst>
              <a:gd name="connsiteX0" fmla="*/ 171450 w 304800"/>
              <a:gd name="connsiteY0" fmla="*/ 257175 h 276225"/>
              <a:gd name="connsiteX1" fmla="*/ 152400 w 304800"/>
              <a:gd name="connsiteY1" fmla="*/ 276225 h 276225"/>
              <a:gd name="connsiteX2" fmla="*/ 133350 w 304800"/>
              <a:gd name="connsiteY2" fmla="*/ 257175 h 276225"/>
              <a:gd name="connsiteX3" fmla="*/ 152400 w 304800"/>
              <a:gd name="connsiteY3" fmla="*/ 238125 h 276225"/>
              <a:gd name="connsiteX4" fmla="*/ 171450 w 304800"/>
              <a:gd name="connsiteY4" fmla="*/ 257175 h 276225"/>
              <a:gd name="connsiteX5" fmla="*/ 108585 w 304800"/>
              <a:gd name="connsiteY5" fmla="*/ 276225 h 276225"/>
              <a:gd name="connsiteX6" fmla="*/ 104775 w 304800"/>
              <a:gd name="connsiteY6" fmla="*/ 257175 h 276225"/>
              <a:gd name="connsiteX7" fmla="*/ 152400 w 304800"/>
              <a:gd name="connsiteY7" fmla="*/ 209550 h 276225"/>
              <a:gd name="connsiteX8" fmla="*/ 200025 w 304800"/>
              <a:gd name="connsiteY8" fmla="*/ 257175 h 276225"/>
              <a:gd name="connsiteX9" fmla="*/ 196215 w 304800"/>
              <a:gd name="connsiteY9" fmla="*/ 276225 h 276225"/>
              <a:gd name="connsiteX10" fmla="*/ 216218 w 304800"/>
              <a:gd name="connsiteY10" fmla="*/ 276225 h 276225"/>
              <a:gd name="connsiteX11" fmla="*/ 219075 w 304800"/>
              <a:gd name="connsiteY11" fmla="*/ 257175 h 276225"/>
              <a:gd name="connsiteX12" fmla="*/ 152400 w 304800"/>
              <a:gd name="connsiteY12" fmla="*/ 190500 h 276225"/>
              <a:gd name="connsiteX13" fmla="*/ 85725 w 304800"/>
              <a:gd name="connsiteY13" fmla="*/ 257175 h 276225"/>
              <a:gd name="connsiteX14" fmla="*/ 88583 w 304800"/>
              <a:gd name="connsiteY14" fmla="*/ 276225 h 276225"/>
              <a:gd name="connsiteX15" fmla="*/ 108585 w 304800"/>
              <a:gd name="connsiteY15" fmla="*/ 276225 h 276225"/>
              <a:gd name="connsiteX16" fmla="*/ 40958 w 304800"/>
              <a:gd name="connsiteY16" fmla="*/ 106680 h 276225"/>
              <a:gd name="connsiteX17" fmla="*/ 54293 w 304800"/>
              <a:gd name="connsiteY17" fmla="*/ 120015 h 276225"/>
              <a:gd name="connsiteX18" fmla="*/ 152400 w 304800"/>
              <a:gd name="connsiteY18" fmla="*/ 76200 h 276225"/>
              <a:gd name="connsiteX19" fmla="*/ 250508 w 304800"/>
              <a:gd name="connsiteY19" fmla="*/ 120015 h 276225"/>
              <a:gd name="connsiteX20" fmla="*/ 263843 w 304800"/>
              <a:gd name="connsiteY20" fmla="*/ 106680 h 276225"/>
              <a:gd name="connsiteX21" fmla="*/ 152400 w 304800"/>
              <a:gd name="connsiteY21" fmla="*/ 57150 h 276225"/>
              <a:gd name="connsiteX22" fmla="*/ 40958 w 304800"/>
              <a:gd name="connsiteY22" fmla="*/ 106680 h 276225"/>
              <a:gd name="connsiteX23" fmla="*/ 152400 w 304800"/>
              <a:gd name="connsiteY23" fmla="*/ 114300 h 276225"/>
              <a:gd name="connsiteX24" fmla="*/ 80963 w 304800"/>
              <a:gd name="connsiteY24" fmla="*/ 146685 h 276225"/>
              <a:gd name="connsiteX25" fmla="*/ 94298 w 304800"/>
              <a:gd name="connsiteY25" fmla="*/ 160020 h 276225"/>
              <a:gd name="connsiteX26" fmla="*/ 152400 w 304800"/>
              <a:gd name="connsiteY26" fmla="*/ 133350 h 276225"/>
              <a:gd name="connsiteX27" fmla="*/ 210503 w 304800"/>
              <a:gd name="connsiteY27" fmla="*/ 160020 h 276225"/>
              <a:gd name="connsiteX28" fmla="*/ 223838 w 304800"/>
              <a:gd name="connsiteY28" fmla="*/ 146685 h 276225"/>
              <a:gd name="connsiteX29" fmla="*/ 152400 w 304800"/>
              <a:gd name="connsiteY29" fmla="*/ 114300 h 276225"/>
              <a:gd name="connsiteX30" fmla="*/ 152400 w 304800"/>
              <a:gd name="connsiteY30" fmla="*/ 0 h 276225"/>
              <a:gd name="connsiteX31" fmla="*/ 0 w 304800"/>
              <a:gd name="connsiteY31" fmla="*/ 65723 h 276225"/>
              <a:gd name="connsiteX32" fmla="*/ 13335 w 304800"/>
              <a:gd name="connsiteY32" fmla="*/ 79058 h 276225"/>
              <a:gd name="connsiteX33" fmla="*/ 152400 w 304800"/>
              <a:gd name="connsiteY33" fmla="*/ 19050 h 276225"/>
              <a:gd name="connsiteX34" fmla="*/ 291465 w 304800"/>
              <a:gd name="connsiteY34" fmla="*/ 79058 h 276225"/>
              <a:gd name="connsiteX35" fmla="*/ 304800 w 304800"/>
              <a:gd name="connsiteY35" fmla="*/ 65723 h 276225"/>
              <a:gd name="connsiteX36" fmla="*/ 152400 w 304800"/>
              <a:gd name="connsiteY36" fmla="*/ 0 h 27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4800" h="276225">
                <a:moveTo>
                  <a:pt x="171450" y="257175"/>
                </a:moveTo>
                <a:cubicBezTo>
                  <a:pt x="171450" y="267653"/>
                  <a:pt x="162878" y="276225"/>
                  <a:pt x="152400" y="276225"/>
                </a:cubicBezTo>
                <a:cubicBezTo>
                  <a:pt x="141923" y="276225"/>
                  <a:pt x="133350" y="267653"/>
                  <a:pt x="133350" y="257175"/>
                </a:cubicBezTo>
                <a:cubicBezTo>
                  <a:pt x="133350" y="246698"/>
                  <a:pt x="141923" y="238125"/>
                  <a:pt x="152400" y="238125"/>
                </a:cubicBezTo>
                <a:cubicBezTo>
                  <a:pt x="162878" y="238125"/>
                  <a:pt x="171450" y="246698"/>
                  <a:pt x="171450" y="257175"/>
                </a:cubicBezTo>
                <a:close/>
                <a:moveTo>
                  <a:pt x="108585" y="276225"/>
                </a:moveTo>
                <a:cubicBezTo>
                  <a:pt x="105728" y="270510"/>
                  <a:pt x="104775" y="263843"/>
                  <a:pt x="104775" y="257175"/>
                </a:cubicBezTo>
                <a:cubicBezTo>
                  <a:pt x="104775" y="230505"/>
                  <a:pt x="125730" y="209550"/>
                  <a:pt x="152400" y="209550"/>
                </a:cubicBezTo>
                <a:cubicBezTo>
                  <a:pt x="179070" y="209550"/>
                  <a:pt x="200025" y="230505"/>
                  <a:pt x="200025" y="257175"/>
                </a:cubicBezTo>
                <a:cubicBezTo>
                  <a:pt x="200025" y="263843"/>
                  <a:pt x="198120" y="270510"/>
                  <a:pt x="196215" y="276225"/>
                </a:cubicBezTo>
                <a:lnTo>
                  <a:pt x="216218" y="276225"/>
                </a:lnTo>
                <a:cubicBezTo>
                  <a:pt x="218123" y="270510"/>
                  <a:pt x="219075" y="263843"/>
                  <a:pt x="219075" y="257175"/>
                </a:cubicBezTo>
                <a:cubicBezTo>
                  <a:pt x="219075" y="220028"/>
                  <a:pt x="189548" y="190500"/>
                  <a:pt x="152400" y="190500"/>
                </a:cubicBezTo>
                <a:cubicBezTo>
                  <a:pt x="115253" y="190500"/>
                  <a:pt x="85725" y="220028"/>
                  <a:pt x="85725" y="257175"/>
                </a:cubicBezTo>
                <a:cubicBezTo>
                  <a:pt x="85725" y="263843"/>
                  <a:pt x="86678" y="270510"/>
                  <a:pt x="88583" y="276225"/>
                </a:cubicBezTo>
                <a:lnTo>
                  <a:pt x="108585" y="276225"/>
                </a:lnTo>
                <a:close/>
                <a:moveTo>
                  <a:pt x="40958" y="106680"/>
                </a:moveTo>
                <a:lnTo>
                  <a:pt x="54293" y="120015"/>
                </a:lnTo>
                <a:cubicBezTo>
                  <a:pt x="78105" y="93345"/>
                  <a:pt x="113348" y="76200"/>
                  <a:pt x="152400" y="76200"/>
                </a:cubicBezTo>
                <a:cubicBezTo>
                  <a:pt x="191453" y="76200"/>
                  <a:pt x="226695" y="93345"/>
                  <a:pt x="250508" y="120015"/>
                </a:cubicBezTo>
                <a:lnTo>
                  <a:pt x="263843" y="106680"/>
                </a:lnTo>
                <a:cubicBezTo>
                  <a:pt x="236220" y="76200"/>
                  <a:pt x="196215" y="57150"/>
                  <a:pt x="152400" y="57150"/>
                </a:cubicBezTo>
                <a:cubicBezTo>
                  <a:pt x="108585" y="57150"/>
                  <a:pt x="68580" y="76200"/>
                  <a:pt x="40958" y="106680"/>
                </a:cubicBezTo>
                <a:close/>
                <a:moveTo>
                  <a:pt x="152400" y="114300"/>
                </a:moveTo>
                <a:cubicBezTo>
                  <a:pt x="123825" y="114300"/>
                  <a:pt x="98108" y="126683"/>
                  <a:pt x="80963" y="146685"/>
                </a:cubicBezTo>
                <a:lnTo>
                  <a:pt x="94298" y="160020"/>
                </a:lnTo>
                <a:cubicBezTo>
                  <a:pt x="108585" y="143828"/>
                  <a:pt x="129540" y="133350"/>
                  <a:pt x="152400" y="133350"/>
                </a:cubicBezTo>
                <a:cubicBezTo>
                  <a:pt x="175260" y="133350"/>
                  <a:pt x="196215" y="143828"/>
                  <a:pt x="210503" y="160020"/>
                </a:cubicBezTo>
                <a:lnTo>
                  <a:pt x="223838" y="146685"/>
                </a:lnTo>
                <a:cubicBezTo>
                  <a:pt x="206693" y="126683"/>
                  <a:pt x="180975" y="114300"/>
                  <a:pt x="152400" y="114300"/>
                </a:cubicBezTo>
                <a:close/>
                <a:moveTo>
                  <a:pt x="152400" y="0"/>
                </a:moveTo>
                <a:cubicBezTo>
                  <a:pt x="92393" y="0"/>
                  <a:pt x="38100" y="25718"/>
                  <a:pt x="0" y="65723"/>
                </a:cubicBezTo>
                <a:lnTo>
                  <a:pt x="13335" y="79058"/>
                </a:lnTo>
                <a:cubicBezTo>
                  <a:pt x="48578" y="42863"/>
                  <a:pt x="97155" y="19050"/>
                  <a:pt x="152400" y="19050"/>
                </a:cubicBezTo>
                <a:cubicBezTo>
                  <a:pt x="207645" y="19050"/>
                  <a:pt x="256223" y="42863"/>
                  <a:pt x="291465" y="79058"/>
                </a:cubicBezTo>
                <a:lnTo>
                  <a:pt x="304800" y="65723"/>
                </a:lnTo>
                <a:cubicBezTo>
                  <a:pt x="266700" y="25718"/>
                  <a:pt x="212408" y="0"/>
                  <a:pt x="152400" y="0"/>
                </a:cubicBezTo>
                <a:close/>
              </a:path>
            </a:pathLst>
          </a:custGeom>
          <a:solidFill>
            <a:schemeClr val="tx2"/>
          </a:solidFill>
          <a:ln w="9525" cap="flat">
            <a:noFill/>
            <a:prstDash val="solid"/>
            <a:miter/>
          </a:ln>
        </p:spPr>
        <p:txBody>
          <a:bodyPr rtlCol="0" anchor="ctr"/>
          <a:lstStyle/>
          <a:p>
            <a:endParaRPr lang="en-GB"/>
          </a:p>
        </p:txBody>
      </p:sp>
      <p:sp>
        <p:nvSpPr>
          <p:cNvPr id="278" name="Freeform: Shape 277">
            <a:extLst>
              <a:ext uri="{FF2B5EF4-FFF2-40B4-BE49-F238E27FC236}">
                <a16:creationId xmlns:a16="http://schemas.microsoft.com/office/drawing/2014/main" id="{3E97E828-C937-45DB-947D-5CF34355F7FE}"/>
              </a:ext>
            </a:extLst>
          </p:cNvPr>
          <p:cNvSpPr/>
          <p:nvPr/>
        </p:nvSpPr>
        <p:spPr>
          <a:xfrm>
            <a:off x="5022841" y="2438905"/>
            <a:ext cx="380029" cy="380029"/>
          </a:xfrm>
          <a:custGeom>
            <a:avLst/>
            <a:gdLst>
              <a:gd name="connsiteX0" fmla="*/ 304800 w 304800"/>
              <a:gd name="connsiteY0" fmla="*/ 200025 h 304800"/>
              <a:gd name="connsiteX1" fmla="*/ 304800 w 304800"/>
              <a:gd name="connsiteY1" fmla="*/ 304800 h 304800"/>
              <a:gd name="connsiteX2" fmla="*/ 0 w 304800"/>
              <a:gd name="connsiteY2" fmla="*/ 304800 h 304800"/>
              <a:gd name="connsiteX3" fmla="*/ 0 w 304800"/>
              <a:gd name="connsiteY3" fmla="*/ 200025 h 304800"/>
              <a:gd name="connsiteX4" fmla="*/ 104775 w 304800"/>
              <a:gd name="connsiteY4" fmla="*/ 200025 h 304800"/>
              <a:gd name="connsiteX5" fmla="*/ 152400 w 304800"/>
              <a:gd name="connsiteY5" fmla="*/ 247650 h 304800"/>
              <a:gd name="connsiteX6" fmla="*/ 200025 w 304800"/>
              <a:gd name="connsiteY6" fmla="*/ 200025 h 304800"/>
              <a:gd name="connsiteX7" fmla="*/ 304800 w 304800"/>
              <a:gd name="connsiteY7" fmla="*/ 200025 h 304800"/>
              <a:gd name="connsiteX8" fmla="*/ 152400 w 304800"/>
              <a:gd name="connsiteY8" fmla="*/ 171450 h 304800"/>
              <a:gd name="connsiteX9" fmla="*/ 123825 w 304800"/>
              <a:gd name="connsiteY9" fmla="*/ 200025 h 304800"/>
              <a:gd name="connsiteX10" fmla="*/ 152400 w 304800"/>
              <a:gd name="connsiteY10" fmla="*/ 228600 h 304800"/>
              <a:gd name="connsiteX11" fmla="*/ 180975 w 304800"/>
              <a:gd name="connsiteY11" fmla="*/ 200025 h 304800"/>
              <a:gd name="connsiteX12" fmla="*/ 152400 w 304800"/>
              <a:gd name="connsiteY12" fmla="*/ 171450 h 304800"/>
              <a:gd name="connsiteX13" fmla="*/ 152400 w 304800"/>
              <a:gd name="connsiteY13" fmla="*/ 114300 h 304800"/>
              <a:gd name="connsiteX14" fmla="*/ 80963 w 304800"/>
              <a:gd name="connsiteY14" fmla="*/ 146685 h 304800"/>
              <a:gd name="connsiteX15" fmla="*/ 94298 w 304800"/>
              <a:gd name="connsiteY15" fmla="*/ 160020 h 304800"/>
              <a:gd name="connsiteX16" fmla="*/ 152400 w 304800"/>
              <a:gd name="connsiteY16" fmla="*/ 133350 h 304800"/>
              <a:gd name="connsiteX17" fmla="*/ 210503 w 304800"/>
              <a:gd name="connsiteY17" fmla="*/ 160020 h 304800"/>
              <a:gd name="connsiteX18" fmla="*/ 223838 w 304800"/>
              <a:gd name="connsiteY18" fmla="*/ 146685 h 304800"/>
              <a:gd name="connsiteX19" fmla="*/ 152400 w 304800"/>
              <a:gd name="connsiteY19" fmla="*/ 114300 h 304800"/>
              <a:gd name="connsiteX20" fmla="*/ 152400 w 304800"/>
              <a:gd name="connsiteY20" fmla="*/ 0 h 304800"/>
              <a:gd name="connsiteX21" fmla="*/ 0 w 304800"/>
              <a:gd name="connsiteY21" fmla="*/ 65723 h 304800"/>
              <a:gd name="connsiteX22" fmla="*/ 13335 w 304800"/>
              <a:gd name="connsiteY22" fmla="*/ 79058 h 304800"/>
              <a:gd name="connsiteX23" fmla="*/ 152400 w 304800"/>
              <a:gd name="connsiteY23" fmla="*/ 19050 h 304800"/>
              <a:gd name="connsiteX24" fmla="*/ 291465 w 304800"/>
              <a:gd name="connsiteY24" fmla="*/ 79058 h 304800"/>
              <a:gd name="connsiteX25" fmla="*/ 304800 w 304800"/>
              <a:gd name="connsiteY25" fmla="*/ 65723 h 304800"/>
              <a:gd name="connsiteX26" fmla="*/ 152400 w 304800"/>
              <a:gd name="connsiteY26" fmla="*/ 0 h 304800"/>
              <a:gd name="connsiteX27" fmla="*/ 40958 w 304800"/>
              <a:gd name="connsiteY27" fmla="*/ 106680 h 304800"/>
              <a:gd name="connsiteX28" fmla="*/ 54293 w 304800"/>
              <a:gd name="connsiteY28" fmla="*/ 120015 h 304800"/>
              <a:gd name="connsiteX29" fmla="*/ 152400 w 304800"/>
              <a:gd name="connsiteY29" fmla="*/ 76200 h 304800"/>
              <a:gd name="connsiteX30" fmla="*/ 250508 w 304800"/>
              <a:gd name="connsiteY30" fmla="*/ 120015 h 304800"/>
              <a:gd name="connsiteX31" fmla="*/ 263843 w 304800"/>
              <a:gd name="connsiteY31" fmla="*/ 106680 h 304800"/>
              <a:gd name="connsiteX32" fmla="*/ 152400 w 304800"/>
              <a:gd name="connsiteY32" fmla="*/ 57150 h 304800"/>
              <a:gd name="connsiteX33" fmla="*/ 40958 w 304800"/>
              <a:gd name="connsiteY33" fmla="*/ 10668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04800" h="304800">
                <a:moveTo>
                  <a:pt x="304800" y="200025"/>
                </a:moveTo>
                <a:lnTo>
                  <a:pt x="304800" y="304800"/>
                </a:lnTo>
                <a:lnTo>
                  <a:pt x="0" y="304800"/>
                </a:lnTo>
                <a:lnTo>
                  <a:pt x="0" y="200025"/>
                </a:lnTo>
                <a:lnTo>
                  <a:pt x="104775" y="200025"/>
                </a:lnTo>
                <a:cubicBezTo>
                  <a:pt x="104775" y="226695"/>
                  <a:pt x="125730" y="247650"/>
                  <a:pt x="152400" y="247650"/>
                </a:cubicBezTo>
                <a:cubicBezTo>
                  <a:pt x="179070" y="247650"/>
                  <a:pt x="200025" y="226695"/>
                  <a:pt x="200025" y="200025"/>
                </a:cubicBezTo>
                <a:lnTo>
                  <a:pt x="304800" y="200025"/>
                </a:lnTo>
                <a:close/>
                <a:moveTo>
                  <a:pt x="152400" y="171450"/>
                </a:moveTo>
                <a:cubicBezTo>
                  <a:pt x="136208" y="171450"/>
                  <a:pt x="123825" y="183833"/>
                  <a:pt x="123825" y="200025"/>
                </a:cubicBezTo>
                <a:cubicBezTo>
                  <a:pt x="123825" y="216218"/>
                  <a:pt x="136208" y="228600"/>
                  <a:pt x="152400" y="228600"/>
                </a:cubicBezTo>
                <a:cubicBezTo>
                  <a:pt x="168593" y="228600"/>
                  <a:pt x="180975" y="216218"/>
                  <a:pt x="180975" y="200025"/>
                </a:cubicBezTo>
                <a:cubicBezTo>
                  <a:pt x="180975" y="183833"/>
                  <a:pt x="168593" y="171450"/>
                  <a:pt x="152400" y="171450"/>
                </a:cubicBezTo>
                <a:close/>
                <a:moveTo>
                  <a:pt x="152400" y="114300"/>
                </a:moveTo>
                <a:cubicBezTo>
                  <a:pt x="123825" y="114300"/>
                  <a:pt x="98108" y="126683"/>
                  <a:pt x="80963" y="146685"/>
                </a:cubicBezTo>
                <a:lnTo>
                  <a:pt x="94298" y="160020"/>
                </a:lnTo>
                <a:cubicBezTo>
                  <a:pt x="108585" y="143828"/>
                  <a:pt x="129540" y="133350"/>
                  <a:pt x="152400" y="133350"/>
                </a:cubicBezTo>
                <a:cubicBezTo>
                  <a:pt x="175260" y="133350"/>
                  <a:pt x="196215" y="143828"/>
                  <a:pt x="210503" y="160020"/>
                </a:cubicBezTo>
                <a:lnTo>
                  <a:pt x="223838" y="146685"/>
                </a:lnTo>
                <a:cubicBezTo>
                  <a:pt x="206693" y="126683"/>
                  <a:pt x="180975" y="114300"/>
                  <a:pt x="152400" y="114300"/>
                </a:cubicBezTo>
                <a:close/>
                <a:moveTo>
                  <a:pt x="152400" y="0"/>
                </a:moveTo>
                <a:cubicBezTo>
                  <a:pt x="92393" y="0"/>
                  <a:pt x="38100" y="25718"/>
                  <a:pt x="0" y="65723"/>
                </a:cubicBezTo>
                <a:lnTo>
                  <a:pt x="13335" y="79058"/>
                </a:lnTo>
                <a:cubicBezTo>
                  <a:pt x="48578" y="42863"/>
                  <a:pt x="98108" y="19050"/>
                  <a:pt x="152400" y="19050"/>
                </a:cubicBezTo>
                <a:cubicBezTo>
                  <a:pt x="206693" y="19050"/>
                  <a:pt x="256223" y="42863"/>
                  <a:pt x="291465" y="79058"/>
                </a:cubicBezTo>
                <a:lnTo>
                  <a:pt x="304800" y="65723"/>
                </a:lnTo>
                <a:cubicBezTo>
                  <a:pt x="266700" y="25718"/>
                  <a:pt x="212408" y="0"/>
                  <a:pt x="152400" y="0"/>
                </a:cubicBezTo>
                <a:close/>
                <a:moveTo>
                  <a:pt x="40958" y="106680"/>
                </a:moveTo>
                <a:lnTo>
                  <a:pt x="54293" y="120015"/>
                </a:lnTo>
                <a:cubicBezTo>
                  <a:pt x="78105" y="93345"/>
                  <a:pt x="113348" y="76200"/>
                  <a:pt x="152400" y="76200"/>
                </a:cubicBezTo>
                <a:cubicBezTo>
                  <a:pt x="191453" y="76200"/>
                  <a:pt x="226695" y="93345"/>
                  <a:pt x="250508" y="120015"/>
                </a:cubicBezTo>
                <a:lnTo>
                  <a:pt x="263843" y="106680"/>
                </a:lnTo>
                <a:cubicBezTo>
                  <a:pt x="236220" y="76200"/>
                  <a:pt x="196215" y="57150"/>
                  <a:pt x="152400" y="57150"/>
                </a:cubicBezTo>
                <a:cubicBezTo>
                  <a:pt x="108585" y="57150"/>
                  <a:pt x="68580" y="76200"/>
                  <a:pt x="40958" y="106680"/>
                </a:cubicBezTo>
                <a:close/>
              </a:path>
            </a:pathLst>
          </a:custGeom>
          <a:solidFill>
            <a:schemeClr val="tx2"/>
          </a:solidFill>
          <a:ln w="9525" cap="flat">
            <a:noFill/>
            <a:prstDash val="solid"/>
            <a:miter/>
          </a:ln>
        </p:spPr>
        <p:txBody>
          <a:bodyPr rtlCol="0" anchor="ctr"/>
          <a:lstStyle/>
          <a:p>
            <a:endParaRPr lang="en-GB"/>
          </a:p>
        </p:txBody>
      </p:sp>
      <p:sp>
        <p:nvSpPr>
          <p:cNvPr id="282" name="Freeform: Shape 281">
            <a:extLst>
              <a:ext uri="{FF2B5EF4-FFF2-40B4-BE49-F238E27FC236}">
                <a16:creationId xmlns:a16="http://schemas.microsoft.com/office/drawing/2014/main" id="{548F4063-6CCC-4363-838B-6A7347AF2217}"/>
              </a:ext>
            </a:extLst>
          </p:cNvPr>
          <p:cNvSpPr/>
          <p:nvPr/>
        </p:nvSpPr>
        <p:spPr>
          <a:xfrm>
            <a:off x="6068277" y="2438905"/>
            <a:ext cx="380029" cy="380029"/>
          </a:xfrm>
          <a:custGeom>
            <a:avLst/>
            <a:gdLst>
              <a:gd name="connsiteX0" fmla="*/ 380029 w 380029"/>
              <a:gd name="connsiteY0" fmla="*/ 178139 h 380029"/>
              <a:gd name="connsiteX1" fmla="*/ 223267 w 380029"/>
              <a:gd name="connsiteY1" fmla="*/ 178139 h 380029"/>
              <a:gd name="connsiteX2" fmla="*/ 270771 w 380029"/>
              <a:gd name="connsiteY2" fmla="*/ 130635 h 380029"/>
              <a:gd name="connsiteX3" fmla="*/ 254144 w 380029"/>
              <a:gd name="connsiteY3" fmla="*/ 114009 h 380029"/>
              <a:gd name="connsiteX4" fmla="*/ 178139 w 380029"/>
              <a:gd name="connsiteY4" fmla="*/ 190015 h 380029"/>
              <a:gd name="connsiteX5" fmla="*/ 255332 w 380029"/>
              <a:gd name="connsiteY5" fmla="*/ 267208 h 380029"/>
              <a:gd name="connsiteX6" fmla="*/ 271958 w 380029"/>
              <a:gd name="connsiteY6" fmla="*/ 250582 h 380029"/>
              <a:gd name="connsiteX7" fmla="*/ 223267 w 380029"/>
              <a:gd name="connsiteY7" fmla="*/ 201890 h 380029"/>
              <a:gd name="connsiteX8" fmla="*/ 380029 w 380029"/>
              <a:gd name="connsiteY8" fmla="*/ 201890 h 380029"/>
              <a:gd name="connsiteX9" fmla="*/ 380029 w 380029"/>
              <a:gd name="connsiteY9" fmla="*/ 178139 h 380029"/>
              <a:gd name="connsiteX10" fmla="*/ 224455 w 380029"/>
              <a:gd name="connsiteY10" fmla="*/ 307586 h 380029"/>
              <a:gd name="connsiteX11" fmla="*/ 241081 w 380029"/>
              <a:gd name="connsiteY11" fmla="*/ 324212 h 380029"/>
              <a:gd name="connsiteX12" fmla="*/ 106883 w 380029"/>
              <a:gd name="connsiteY12" fmla="*/ 380029 h 380029"/>
              <a:gd name="connsiteX13" fmla="*/ 95007 w 380029"/>
              <a:gd name="connsiteY13" fmla="*/ 380029 h 380029"/>
              <a:gd name="connsiteX14" fmla="*/ 95007 w 380029"/>
              <a:gd name="connsiteY14" fmla="*/ 380029 h 380029"/>
              <a:gd name="connsiteX15" fmla="*/ 0 w 380029"/>
              <a:gd name="connsiteY15" fmla="*/ 380029 h 380029"/>
              <a:gd name="connsiteX16" fmla="*/ 0 w 380029"/>
              <a:gd name="connsiteY16" fmla="*/ 0 h 380029"/>
              <a:gd name="connsiteX17" fmla="*/ 95007 w 380029"/>
              <a:gd name="connsiteY17" fmla="*/ 0 h 380029"/>
              <a:gd name="connsiteX18" fmla="*/ 95007 w 380029"/>
              <a:gd name="connsiteY18" fmla="*/ 0 h 380029"/>
              <a:gd name="connsiteX19" fmla="*/ 106883 w 380029"/>
              <a:gd name="connsiteY19" fmla="*/ 0 h 380029"/>
              <a:gd name="connsiteX20" fmla="*/ 241081 w 380029"/>
              <a:gd name="connsiteY20" fmla="*/ 55817 h 380029"/>
              <a:gd name="connsiteX21" fmla="*/ 224455 w 380029"/>
              <a:gd name="connsiteY21" fmla="*/ 72443 h 380029"/>
              <a:gd name="connsiteX22" fmla="*/ 106883 w 380029"/>
              <a:gd name="connsiteY22" fmla="*/ 23752 h 380029"/>
              <a:gd name="connsiteX23" fmla="*/ 95007 w 380029"/>
              <a:gd name="connsiteY23" fmla="*/ 23752 h 380029"/>
              <a:gd name="connsiteX24" fmla="*/ 95007 w 380029"/>
              <a:gd name="connsiteY24" fmla="*/ 47504 h 380029"/>
              <a:gd name="connsiteX25" fmla="*/ 207828 w 380029"/>
              <a:gd name="connsiteY25" fmla="*/ 89069 h 380029"/>
              <a:gd name="connsiteX26" fmla="*/ 191202 w 380029"/>
              <a:gd name="connsiteY26" fmla="*/ 105696 h 380029"/>
              <a:gd name="connsiteX27" fmla="*/ 95007 w 380029"/>
              <a:gd name="connsiteY27" fmla="*/ 72443 h 380029"/>
              <a:gd name="connsiteX28" fmla="*/ 95007 w 380029"/>
              <a:gd name="connsiteY28" fmla="*/ 96195 h 380029"/>
              <a:gd name="connsiteX29" fmla="*/ 174576 w 380029"/>
              <a:gd name="connsiteY29" fmla="*/ 123509 h 380029"/>
              <a:gd name="connsiteX30" fmla="*/ 157950 w 380029"/>
              <a:gd name="connsiteY30" fmla="*/ 140136 h 380029"/>
              <a:gd name="connsiteX31" fmla="*/ 96195 w 380029"/>
              <a:gd name="connsiteY31" fmla="*/ 119947 h 380029"/>
              <a:gd name="connsiteX32" fmla="*/ 96195 w 380029"/>
              <a:gd name="connsiteY32" fmla="*/ 156762 h 380029"/>
              <a:gd name="connsiteX33" fmla="*/ 106883 w 380029"/>
              <a:gd name="connsiteY33" fmla="*/ 154387 h 380029"/>
              <a:gd name="connsiteX34" fmla="*/ 142511 w 380029"/>
              <a:gd name="connsiteY34" fmla="*/ 190015 h 380029"/>
              <a:gd name="connsiteX35" fmla="*/ 106883 w 380029"/>
              <a:gd name="connsiteY35" fmla="*/ 225642 h 380029"/>
              <a:gd name="connsiteX36" fmla="*/ 95007 w 380029"/>
              <a:gd name="connsiteY36" fmla="*/ 223267 h 380029"/>
              <a:gd name="connsiteX37" fmla="*/ 95007 w 380029"/>
              <a:gd name="connsiteY37" fmla="*/ 260082 h 380029"/>
              <a:gd name="connsiteX38" fmla="*/ 156762 w 380029"/>
              <a:gd name="connsiteY38" fmla="*/ 239893 h 380029"/>
              <a:gd name="connsiteX39" fmla="*/ 173388 w 380029"/>
              <a:gd name="connsiteY39" fmla="*/ 256520 h 380029"/>
              <a:gd name="connsiteX40" fmla="*/ 106883 w 380029"/>
              <a:gd name="connsiteY40" fmla="*/ 285022 h 380029"/>
              <a:gd name="connsiteX41" fmla="*/ 95007 w 380029"/>
              <a:gd name="connsiteY41" fmla="*/ 283834 h 380029"/>
              <a:gd name="connsiteX42" fmla="*/ 95007 w 380029"/>
              <a:gd name="connsiteY42" fmla="*/ 307586 h 380029"/>
              <a:gd name="connsiteX43" fmla="*/ 191202 w 380029"/>
              <a:gd name="connsiteY43" fmla="*/ 273146 h 380029"/>
              <a:gd name="connsiteX44" fmla="*/ 207828 w 380029"/>
              <a:gd name="connsiteY44" fmla="*/ 289772 h 380029"/>
              <a:gd name="connsiteX45" fmla="*/ 106883 w 380029"/>
              <a:gd name="connsiteY45" fmla="*/ 332525 h 380029"/>
              <a:gd name="connsiteX46" fmla="*/ 95007 w 380029"/>
              <a:gd name="connsiteY46" fmla="*/ 332525 h 380029"/>
              <a:gd name="connsiteX47" fmla="*/ 95007 w 380029"/>
              <a:gd name="connsiteY47" fmla="*/ 356277 h 380029"/>
              <a:gd name="connsiteX48" fmla="*/ 106883 w 380029"/>
              <a:gd name="connsiteY48" fmla="*/ 356277 h 380029"/>
              <a:gd name="connsiteX49" fmla="*/ 224455 w 380029"/>
              <a:gd name="connsiteY49" fmla="*/ 307586 h 38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380029" h="380029">
                <a:moveTo>
                  <a:pt x="380029" y="178139"/>
                </a:moveTo>
                <a:lnTo>
                  <a:pt x="223267" y="178139"/>
                </a:lnTo>
                <a:lnTo>
                  <a:pt x="270771" y="130635"/>
                </a:lnTo>
                <a:lnTo>
                  <a:pt x="254144" y="114009"/>
                </a:lnTo>
                <a:lnTo>
                  <a:pt x="178139" y="190015"/>
                </a:lnTo>
                <a:lnTo>
                  <a:pt x="255332" y="267208"/>
                </a:lnTo>
                <a:lnTo>
                  <a:pt x="271958" y="250582"/>
                </a:lnTo>
                <a:lnTo>
                  <a:pt x="223267" y="201890"/>
                </a:lnTo>
                <a:lnTo>
                  <a:pt x="380029" y="201890"/>
                </a:lnTo>
                <a:lnTo>
                  <a:pt x="380029" y="178139"/>
                </a:lnTo>
                <a:close/>
                <a:moveTo>
                  <a:pt x="224455" y="307586"/>
                </a:moveTo>
                <a:lnTo>
                  <a:pt x="241081" y="324212"/>
                </a:lnTo>
                <a:cubicBezTo>
                  <a:pt x="205453" y="359840"/>
                  <a:pt x="157950" y="380029"/>
                  <a:pt x="106883" y="380029"/>
                </a:cubicBezTo>
                <a:cubicBezTo>
                  <a:pt x="103320" y="380029"/>
                  <a:pt x="98570" y="380029"/>
                  <a:pt x="95007" y="380029"/>
                </a:cubicBezTo>
                <a:lnTo>
                  <a:pt x="95007" y="380029"/>
                </a:lnTo>
                <a:lnTo>
                  <a:pt x="0" y="380029"/>
                </a:lnTo>
                <a:lnTo>
                  <a:pt x="0" y="0"/>
                </a:lnTo>
                <a:lnTo>
                  <a:pt x="95007" y="0"/>
                </a:lnTo>
                <a:lnTo>
                  <a:pt x="95007" y="0"/>
                </a:lnTo>
                <a:cubicBezTo>
                  <a:pt x="98570" y="0"/>
                  <a:pt x="103320" y="0"/>
                  <a:pt x="106883" y="0"/>
                </a:cubicBezTo>
                <a:cubicBezTo>
                  <a:pt x="157950" y="0"/>
                  <a:pt x="205453" y="20189"/>
                  <a:pt x="241081" y="55817"/>
                </a:cubicBezTo>
                <a:lnTo>
                  <a:pt x="224455" y="72443"/>
                </a:lnTo>
                <a:cubicBezTo>
                  <a:pt x="193577" y="41566"/>
                  <a:pt x="150824" y="23752"/>
                  <a:pt x="106883" y="23752"/>
                </a:cubicBezTo>
                <a:cubicBezTo>
                  <a:pt x="103320" y="23752"/>
                  <a:pt x="98570" y="23752"/>
                  <a:pt x="95007" y="23752"/>
                </a:cubicBezTo>
                <a:lnTo>
                  <a:pt x="95007" y="47504"/>
                </a:lnTo>
                <a:cubicBezTo>
                  <a:pt x="135385" y="43941"/>
                  <a:pt x="176951" y="58192"/>
                  <a:pt x="207828" y="89069"/>
                </a:cubicBezTo>
                <a:lnTo>
                  <a:pt x="191202" y="105696"/>
                </a:lnTo>
                <a:cubicBezTo>
                  <a:pt x="165075" y="79569"/>
                  <a:pt x="129447" y="68880"/>
                  <a:pt x="95007" y="72443"/>
                </a:cubicBezTo>
                <a:lnTo>
                  <a:pt x="95007" y="96195"/>
                </a:lnTo>
                <a:cubicBezTo>
                  <a:pt x="123509" y="92632"/>
                  <a:pt x="152012" y="102133"/>
                  <a:pt x="174576" y="123509"/>
                </a:cubicBezTo>
                <a:lnTo>
                  <a:pt x="157950" y="140136"/>
                </a:lnTo>
                <a:cubicBezTo>
                  <a:pt x="141323" y="123509"/>
                  <a:pt x="117571" y="116384"/>
                  <a:pt x="96195" y="119947"/>
                </a:cubicBezTo>
                <a:lnTo>
                  <a:pt x="96195" y="156762"/>
                </a:lnTo>
                <a:cubicBezTo>
                  <a:pt x="98570" y="155574"/>
                  <a:pt x="102133" y="154387"/>
                  <a:pt x="106883" y="154387"/>
                </a:cubicBezTo>
                <a:cubicBezTo>
                  <a:pt x="127072" y="154387"/>
                  <a:pt x="142511" y="169825"/>
                  <a:pt x="142511" y="190015"/>
                </a:cubicBezTo>
                <a:cubicBezTo>
                  <a:pt x="142511" y="210204"/>
                  <a:pt x="127072" y="225642"/>
                  <a:pt x="106883" y="225642"/>
                </a:cubicBezTo>
                <a:cubicBezTo>
                  <a:pt x="102133" y="225642"/>
                  <a:pt x="98570" y="224455"/>
                  <a:pt x="95007" y="223267"/>
                </a:cubicBezTo>
                <a:lnTo>
                  <a:pt x="95007" y="260082"/>
                </a:lnTo>
                <a:cubicBezTo>
                  <a:pt x="117571" y="263645"/>
                  <a:pt x="140136" y="257707"/>
                  <a:pt x="156762" y="239893"/>
                </a:cubicBezTo>
                <a:lnTo>
                  <a:pt x="173388" y="256520"/>
                </a:lnTo>
                <a:cubicBezTo>
                  <a:pt x="155574" y="275521"/>
                  <a:pt x="130635" y="285022"/>
                  <a:pt x="106883" y="285022"/>
                </a:cubicBezTo>
                <a:cubicBezTo>
                  <a:pt x="103320" y="285022"/>
                  <a:pt x="98570" y="285022"/>
                  <a:pt x="95007" y="283834"/>
                </a:cubicBezTo>
                <a:lnTo>
                  <a:pt x="95007" y="307586"/>
                </a:lnTo>
                <a:cubicBezTo>
                  <a:pt x="129447" y="311149"/>
                  <a:pt x="165075" y="299273"/>
                  <a:pt x="191202" y="273146"/>
                </a:cubicBezTo>
                <a:lnTo>
                  <a:pt x="207828" y="289772"/>
                </a:lnTo>
                <a:cubicBezTo>
                  <a:pt x="179326" y="318274"/>
                  <a:pt x="143698" y="332525"/>
                  <a:pt x="106883" y="332525"/>
                </a:cubicBezTo>
                <a:cubicBezTo>
                  <a:pt x="103320" y="332525"/>
                  <a:pt x="98570" y="332525"/>
                  <a:pt x="95007" y="332525"/>
                </a:cubicBezTo>
                <a:lnTo>
                  <a:pt x="95007" y="356277"/>
                </a:lnTo>
                <a:cubicBezTo>
                  <a:pt x="98570" y="356277"/>
                  <a:pt x="103320" y="356277"/>
                  <a:pt x="106883" y="356277"/>
                </a:cubicBezTo>
                <a:cubicBezTo>
                  <a:pt x="150824" y="356277"/>
                  <a:pt x="193577" y="338463"/>
                  <a:pt x="224455" y="307586"/>
                </a:cubicBezTo>
                <a:close/>
              </a:path>
            </a:pathLst>
          </a:custGeom>
          <a:solidFill>
            <a:schemeClr val="tx2"/>
          </a:solidFill>
          <a:ln w="11609" cap="flat">
            <a:noFill/>
            <a:prstDash val="solid"/>
            <a:miter/>
          </a:ln>
        </p:spPr>
        <p:txBody>
          <a:bodyPr rtlCol="0" anchor="ctr"/>
          <a:lstStyle/>
          <a:p>
            <a:endParaRPr lang="en-GB"/>
          </a:p>
        </p:txBody>
      </p:sp>
      <p:sp>
        <p:nvSpPr>
          <p:cNvPr id="108" name="Freihandform: Form 82">
            <a:extLst>
              <a:ext uri="{FF2B5EF4-FFF2-40B4-BE49-F238E27FC236}">
                <a16:creationId xmlns:a16="http://schemas.microsoft.com/office/drawing/2014/main" id="{D3C1B5FF-B266-49D0-98CC-EBE9396DAC61}"/>
              </a:ext>
            </a:extLst>
          </p:cNvPr>
          <p:cNvSpPr>
            <a:spLocks noChangeAspect="1"/>
          </p:cNvSpPr>
          <p:nvPr/>
        </p:nvSpPr>
        <p:spPr>
          <a:xfrm>
            <a:off x="7107699" y="4074097"/>
            <a:ext cx="390462" cy="390462"/>
          </a:xfrm>
          <a:custGeom>
            <a:avLst/>
            <a:gdLst>
              <a:gd name="connsiteX0" fmla="*/ 152887 w 304800"/>
              <a:gd name="connsiteY0" fmla="*/ 1 h 304800"/>
              <a:gd name="connsiteX1" fmla="*/ 1 w 304800"/>
              <a:gd name="connsiteY1" fmla="*/ 151925 h 304800"/>
              <a:gd name="connsiteX2" fmla="*/ 151925 w 304800"/>
              <a:gd name="connsiteY2" fmla="*/ 304801 h 304800"/>
              <a:gd name="connsiteX3" fmla="*/ 304801 w 304800"/>
              <a:gd name="connsiteY3" fmla="*/ 152887 h 304800"/>
              <a:gd name="connsiteX4" fmla="*/ 152887 w 304800"/>
              <a:gd name="connsiteY4" fmla="*/ 1 h 304800"/>
              <a:gd name="connsiteX5" fmla="*/ 151982 w 304800"/>
              <a:gd name="connsiteY5" fmla="*/ 285751 h 304800"/>
              <a:gd name="connsiteX6" fmla="*/ 19051 w 304800"/>
              <a:gd name="connsiteY6" fmla="*/ 151982 h 304800"/>
              <a:gd name="connsiteX7" fmla="*/ 152820 w 304800"/>
              <a:gd name="connsiteY7" fmla="*/ 19051 h 304800"/>
              <a:gd name="connsiteX8" fmla="*/ 285751 w 304800"/>
              <a:gd name="connsiteY8" fmla="*/ 152820 h 304800"/>
              <a:gd name="connsiteX9" fmla="*/ 151982 w 304800"/>
              <a:gd name="connsiteY9" fmla="*/ 285751 h 304800"/>
              <a:gd name="connsiteX10" fmla="*/ 180976 w 304800"/>
              <a:gd name="connsiteY10" fmla="*/ 114244 h 304800"/>
              <a:gd name="connsiteX11" fmla="*/ 200083 w 304800"/>
              <a:gd name="connsiteY11" fmla="*/ 95251 h 304800"/>
              <a:gd name="connsiteX12" fmla="*/ 219076 w 304800"/>
              <a:gd name="connsiteY12" fmla="*/ 114358 h 304800"/>
              <a:gd name="connsiteX13" fmla="*/ 199969 w 304800"/>
              <a:gd name="connsiteY13" fmla="*/ 133351 h 304800"/>
              <a:gd name="connsiteX14" fmla="*/ 180976 w 304800"/>
              <a:gd name="connsiteY14" fmla="*/ 114244 h 304800"/>
              <a:gd name="connsiteX15" fmla="*/ 85726 w 304800"/>
              <a:gd name="connsiteY15" fmla="*/ 114244 h 304800"/>
              <a:gd name="connsiteX16" fmla="*/ 104833 w 304800"/>
              <a:gd name="connsiteY16" fmla="*/ 95251 h 304800"/>
              <a:gd name="connsiteX17" fmla="*/ 123826 w 304800"/>
              <a:gd name="connsiteY17" fmla="*/ 114358 h 304800"/>
              <a:gd name="connsiteX18" fmla="*/ 104709 w 304800"/>
              <a:gd name="connsiteY18" fmla="*/ 133351 h 304800"/>
              <a:gd name="connsiteX19" fmla="*/ 85726 w 304800"/>
              <a:gd name="connsiteY19" fmla="*/ 114244 h 304800"/>
              <a:gd name="connsiteX20" fmla="*/ 152401 w 304800"/>
              <a:gd name="connsiteY20" fmla="*/ 238126 h 304800"/>
              <a:gd name="connsiteX21" fmla="*/ 72962 w 304800"/>
              <a:gd name="connsiteY21" fmla="*/ 184557 h 304800"/>
              <a:gd name="connsiteX22" fmla="*/ 90622 w 304800"/>
              <a:gd name="connsiteY22" fmla="*/ 177394 h 304800"/>
              <a:gd name="connsiteX23" fmla="*/ 152401 w 304800"/>
              <a:gd name="connsiteY23" fmla="*/ 219076 h 304800"/>
              <a:gd name="connsiteX24" fmla="*/ 214180 w 304800"/>
              <a:gd name="connsiteY24" fmla="*/ 177394 h 304800"/>
              <a:gd name="connsiteX25" fmla="*/ 231839 w 304800"/>
              <a:gd name="connsiteY25" fmla="*/ 184557 h 304800"/>
              <a:gd name="connsiteX26" fmla="*/ 152401 w 304800"/>
              <a:gd name="connsiteY26" fmla="*/ 23812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4800" h="304800">
                <a:moveTo>
                  <a:pt x="152887" y="1"/>
                </a:moveTo>
                <a:cubicBezTo>
                  <a:pt x="68847" y="-266"/>
                  <a:pt x="267" y="67885"/>
                  <a:pt x="1" y="151925"/>
                </a:cubicBezTo>
                <a:cubicBezTo>
                  <a:pt x="-266" y="235954"/>
                  <a:pt x="67885" y="304534"/>
                  <a:pt x="151925" y="304801"/>
                </a:cubicBezTo>
                <a:cubicBezTo>
                  <a:pt x="235954" y="305067"/>
                  <a:pt x="304544" y="236916"/>
                  <a:pt x="304801" y="152887"/>
                </a:cubicBezTo>
                <a:cubicBezTo>
                  <a:pt x="305067" y="68847"/>
                  <a:pt x="236916" y="267"/>
                  <a:pt x="152887" y="1"/>
                </a:cubicBezTo>
                <a:close/>
                <a:moveTo>
                  <a:pt x="151982" y="285751"/>
                </a:moveTo>
                <a:cubicBezTo>
                  <a:pt x="78334" y="285513"/>
                  <a:pt x="18822" y="225629"/>
                  <a:pt x="19051" y="151982"/>
                </a:cubicBezTo>
                <a:cubicBezTo>
                  <a:pt x="19279" y="78325"/>
                  <a:pt x="79173" y="18822"/>
                  <a:pt x="152820" y="19051"/>
                </a:cubicBezTo>
                <a:cubicBezTo>
                  <a:pt x="226477" y="19289"/>
                  <a:pt x="285979" y="79173"/>
                  <a:pt x="285751" y="152820"/>
                </a:cubicBezTo>
                <a:cubicBezTo>
                  <a:pt x="285522" y="226477"/>
                  <a:pt x="225629" y="285979"/>
                  <a:pt x="151982" y="285751"/>
                </a:cubicBezTo>
                <a:close/>
                <a:moveTo>
                  <a:pt x="180976" y="114244"/>
                </a:moveTo>
                <a:cubicBezTo>
                  <a:pt x="181004" y="103719"/>
                  <a:pt x="189567" y="95222"/>
                  <a:pt x="200083" y="95251"/>
                </a:cubicBezTo>
                <a:cubicBezTo>
                  <a:pt x="210599" y="95279"/>
                  <a:pt x="219104" y="103842"/>
                  <a:pt x="219076" y="114358"/>
                </a:cubicBezTo>
                <a:cubicBezTo>
                  <a:pt x="219047" y="124883"/>
                  <a:pt x="210484" y="133379"/>
                  <a:pt x="199969" y="133351"/>
                </a:cubicBezTo>
                <a:cubicBezTo>
                  <a:pt x="189444" y="133322"/>
                  <a:pt x="180947" y="124759"/>
                  <a:pt x="180976" y="114244"/>
                </a:cubicBezTo>
                <a:close/>
                <a:moveTo>
                  <a:pt x="85726" y="114244"/>
                </a:moveTo>
                <a:cubicBezTo>
                  <a:pt x="85754" y="103719"/>
                  <a:pt x="94317" y="95213"/>
                  <a:pt x="104833" y="95251"/>
                </a:cubicBezTo>
                <a:cubicBezTo>
                  <a:pt x="115358" y="95279"/>
                  <a:pt x="123854" y="103842"/>
                  <a:pt x="123826" y="114358"/>
                </a:cubicBezTo>
                <a:cubicBezTo>
                  <a:pt x="123797" y="124883"/>
                  <a:pt x="115234" y="133379"/>
                  <a:pt x="104709" y="133351"/>
                </a:cubicBezTo>
                <a:cubicBezTo>
                  <a:pt x="94194" y="133322"/>
                  <a:pt x="85688" y="124759"/>
                  <a:pt x="85726" y="114244"/>
                </a:cubicBezTo>
                <a:close/>
                <a:moveTo>
                  <a:pt x="152401" y="238126"/>
                </a:moveTo>
                <a:cubicBezTo>
                  <a:pt x="117330" y="238126"/>
                  <a:pt x="86154" y="217095"/>
                  <a:pt x="72962" y="184557"/>
                </a:cubicBezTo>
                <a:lnTo>
                  <a:pt x="90622" y="177394"/>
                </a:lnTo>
                <a:cubicBezTo>
                  <a:pt x="100880" y="202712"/>
                  <a:pt x="125131" y="219076"/>
                  <a:pt x="152401" y="219076"/>
                </a:cubicBezTo>
                <a:cubicBezTo>
                  <a:pt x="179671" y="219076"/>
                  <a:pt x="203922" y="202712"/>
                  <a:pt x="214180" y="177394"/>
                </a:cubicBezTo>
                <a:lnTo>
                  <a:pt x="231839" y="184557"/>
                </a:lnTo>
                <a:cubicBezTo>
                  <a:pt x="218647" y="217095"/>
                  <a:pt x="187472" y="238126"/>
                  <a:pt x="152401" y="238126"/>
                </a:cubicBezTo>
                <a:close/>
              </a:path>
            </a:pathLst>
          </a:custGeom>
          <a:solidFill>
            <a:schemeClr val="tx2"/>
          </a:solidFill>
          <a:ln w="9525" cap="flat">
            <a:noFill/>
            <a:prstDash val="solid"/>
            <a:miter/>
          </a:ln>
        </p:spPr>
        <p:txBody>
          <a:bodyPr rtlCol="0" anchor="ctr"/>
          <a:lstStyle/>
          <a:p>
            <a:endParaRPr lang="en-GB" dirty="0"/>
          </a:p>
        </p:txBody>
      </p:sp>
      <p:sp>
        <p:nvSpPr>
          <p:cNvPr id="109" name="Freihandform: Form 86">
            <a:extLst>
              <a:ext uri="{FF2B5EF4-FFF2-40B4-BE49-F238E27FC236}">
                <a16:creationId xmlns:a16="http://schemas.microsoft.com/office/drawing/2014/main" id="{598371D1-6492-48CA-ABFD-86A44C15BED9}"/>
              </a:ext>
            </a:extLst>
          </p:cNvPr>
          <p:cNvSpPr>
            <a:spLocks noChangeAspect="1"/>
          </p:cNvSpPr>
          <p:nvPr/>
        </p:nvSpPr>
        <p:spPr>
          <a:xfrm>
            <a:off x="8153926" y="4074097"/>
            <a:ext cx="390462" cy="390462"/>
          </a:xfrm>
          <a:custGeom>
            <a:avLst/>
            <a:gdLst>
              <a:gd name="connsiteX0" fmla="*/ 152887 w 304800"/>
              <a:gd name="connsiteY0" fmla="*/ 1 h 304800"/>
              <a:gd name="connsiteX1" fmla="*/ 1 w 304800"/>
              <a:gd name="connsiteY1" fmla="*/ 151925 h 304800"/>
              <a:gd name="connsiteX2" fmla="*/ 151925 w 304800"/>
              <a:gd name="connsiteY2" fmla="*/ 304801 h 304800"/>
              <a:gd name="connsiteX3" fmla="*/ 304801 w 304800"/>
              <a:gd name="connsiteY3" fmla="*/ 152887 h 304800"/>
              <a:gd name="connsiteX4" fmla="*/ 152887 w 304800"/>
              <a:gd name="connsiteY4" fmla="*/ 1 h 304800"/>
              <a:gd name="connsiteX5" fmla="*/ 151982 w 304800"/>
              <a:gd name="connsiteY5" fmla="*/ 285751 h 304800"/>
              <a:gd name="connsiteX6" fmla="*/ 19051 w 304800"/>
              <a:gd name="connsiteY6" fmla="*/ 151982 h 304800"/>
              <a:gd name="connsiteX7" fmla="*/ 152820 w 304800"/>
              <a:gd name="connsiteY7" fmla="*/ 19051 h 304800"/>
              <a:gd name="connsiteX8" fmla="*/ 285751 w 304800"/>
              <a:gd name="connsiteY8" fmla="*/ 152820 h 304800"/>
              <a:gd name="connsiteX9" fmla="*/ 151982 w 304800"/>
              <a:gd name="connsiteY9" fmla="*/ 285751 h 304800"/>
              <a:gd name="connsiteX10" fmla="*/ 180976 w 304800"/>
              <a:gd name="connsiteY10" fmla="*/ 114244 h 304800"/>
              <a:gd name="connsiteX11" fmla="*/ 200083 w 304800"/>
              <a:gd name="connsiteY11" fmla="*/ 95251 h 304800"/>
              <a:gd name="connsiteX12" fmla="*/ 219076 w 304800"/>
              <a:gd name="connsiteY12" fmla="*/ 114358 h 304800"/>
              <a:gd name="connsiteX13" fmla="*/ 199969 w 304800"/>
              <a:gd name="connsiteY13" fmla="*/ 133351 h 304800"/>
              <a:gd name="connsiteX14" fmla="*/ 180976 w 304800"/>
              <a:gd name="connsiteY14" fmla="*/ 114244 h 304800"/>
              <a:gd name="connsiteX15" fmla="*/ 85726 w 304800"/>
              <a:gd name="connsiteY15" fmla="*/ 114244 h 304800"/>
              <a:gd name="connsiteX16" fmla="*/ 104833 w 304800"/>
              <a:gd name="connsiteY16" fmla="*/ 95251 h 304800"/>
              <a:gd name="connsiteX17" fmla="*/ 123826 w 304800"/>
              <a:gd name="connsiteY17" fmla="*/ 114358 h 304800"/>
              <a:gd name="connsiteX18" fmla="*/ 104709 w 304800"/>
              <a:gd name="connsiteY18" fmla="*/ 133351 h 304800"/>
              <a:gd name="connsiteX19" fmla="*/ 85726 w 304800"/>
              <a:gd name="connsiteY19" fmla="*/ 114244 h 304800"/>
              <a:gd name="connsiteX20" fmla="*/ 214180 w 304800"/>
              <a:gd name="connsiteY20" fmla="*/ 232182 h 304800"/>
              <a:gd name="connsiteX21" fmla="*/ 152401 w 304800"/>
              <a:gd name="connsiteY21" fmla="*/ 190501 h 304800"/>
              <a:gd name="connsiteX22" fmla="*/ 90622 w 304800"/>
              <a:gd name="connsiteY22" fmla="*/ 232182 h 304800"/>
              <a:gd name="connsiteX23" fmla="*/ 72962 w 304800"/>
              <a:gd name="connsiteY23" fmla="*/ 225019 h 304800"/>
              <a:gd name="connsiteX24" fmla="*/ 152401 w 304800"/>
              <a:gd name="connsiteY24" fmla="*/ 171451 h 304800"/>
              <a:gd name="connsiteX25" fmla="*/ 231839 w 304800"/>
              <a:gd name="connsiteY25" fmla="*/ 225019 h 304800"/>
              <a:gd name="connsiteX26" fmla="*/ 214180 w 304800"/>
              <a:gd name="connsiteY26" fmla="*/ 232182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4800" h="304800">
                <a:moveTo>
                  <a:pt x="152887" y="1"/>
                </a:moveTo>
                <a:cubicBezTo>
                  <a:pt x="68847" y="-266"/>
                  <a:pt x="267" y="67885"/>
                  <a:pt x="1" y="151925"/>
                </a:cubicBezTo>
                <a:cubicBezTo>
                  <a:pt x="-266" y="235954"/>
                  <a:pt x="67885" y="304534"/>
                  <a:pt x="151925" y="304801"/>
                </a:cubicBezTo>
                <a:cubicBezTo>
                  <a:pt x="235954" y="305067"/>
                  <a:pt x="304544" y="236916"/>
                  <a:pt x="304801" y="152887"/>
                </a:cubicBezTo>
                <a:cubicBezTo>
                  <a:pt x="305067" y="68847"/>
                  <a:pt x="236916" y="267"/>
                  <a:pt x="152887" y="1"/>
                </a:cubicBezTo>
                <a:close/>
                <a:moveTo>
                  <a:pt x="151982" y="285751"/>
                </a:moveTo>
                <a:cubicBezTo>
                  <a:pt x="78334" y="285513"/>
                  <a:pt x="18822" y="225629"/>
                  <a:pt x="19051" y="151982"/>
                </a:cubicBezTo>
                <a:cubicBezTo>
                  <a:pt x="19279" y="78325"/>
                  <a:pt x="79173" y="18822"/>
                  <a:pt x="152820" y="19051"/>
                </a:cubicBezTo>
                <a:cubicBezTo>
                  <a:pt x="226477" y="19289"/>
                  <a:pt x="285979" y="79173"/>
                  <a:pt x="285751" y="152820"/>
                </a:cubicBezTo>
                <a:cubicBezTo>
                  <a:pt x="285522" y="226477"/>
                  <a:pt x="225629" y="285979"/>
                  <a:pt x="151982" y="285751"/>
                </a:cubicBezTo>
                <a:close/>
                <a:moveTo>
                  <a:pt x="180976" y="114244"/>
                </a:moveTo>
                <a:cubicBezTo>
                  <a:pt x="181004" y="103719"/>
                  <a:pt x="189567" y="95222"/>
                  <a:pt x="200083" y="95251"/>
                </a:cubicBezTo>
                <a:cubicBezTo>
                  <a:pt x="210599" y="95279"/>
                  <a:pt x="219104" y="103842"/>
                  <a:pt x="219076" y="114358"/>
                </a:cubicBezTo>
                <a:cubicBezTo>
                  <a:pt x="219047" y="124883"/>
                  <a:pt x="210484" y="133379"/>
                  <a:pt x="199969" y="133351"/>
                </a:cubicBezTo>
                <a:cubicBezTo>
                  <a:pt x="189444" y="133322"/>
                  <a:pt x="180947" y="124759"/>
                  <a:pt x="180976" y="114244"/>
                </a:cubicBezTo>
                <a:close/>
                <a:moveTo>
                  <a:pt x="85726" y="114244"/>
                </a:moveTo>
                <a:cubicBezTo>
                  <a:pt x="85754" y="103719"/>
                  <a:pt x="94317" y="95213"/>
                  <a:pt x="104833" y="95251"/>
                </a:cubicBezTo>
                <a:cubicBezTo>
                  <a:pt x="115358" y="95279"/>
                  <a:pt x="123854" y="103842"/>
                  <a:pt x="123826" y="114358"/>
                </a:cubicBezTo>
                <a:cubicBezTo>
                  <a:pt x="123797" y="124883"/>
                  <a:pt x="115234" y="133379"/>
                  <a:pt x="104709" y="133351"/>
                </a:cubicBezTo>
                <a:cubicBezTo>
                  <a:pt x="94194" y="133322"/>
                  <a:pt x="85688" y="124759"/>
                  <a:pt x="85726" y="114244"/>
                </a:cubicBezTo>
                <a:close/>
                <a:moveTo>
                  <a:pt x="214180" y="232182"/>
                </a:moveTo>
                <a:cubicBezTo>
                  <a:pt x="203922" y="206865"/>
                  <a:pt x="179671" y="190501"/>
                  <a:pt x="152401" y="190501"/>
                </a:cubicBezTo>
                <a:cubicBezTo>
                  <a:pt x="125131" y="190501"/>
                  <a:pt x="100880" y="206865"/>
                  <a:pt x="90622" y="232182"/>
                </a:cubicBezTo>
                <a:lnTo>
                  <a:pt x="72962" y="225019"/>
                </a:lnTo>
                <a:cubicBezTo>
                  <a:pt x="86154" y="192482"/>
                  <a:pt x="117330" y="171451"/>
                  <a:pt x="152401" y="171451"/>
                </a:cubicBezTo>
                <a:cubicBezTo>
                  <a:pt x="187472" y="171451"/>
                  <a:pt x="218647" y="192482"/>
                  <a:pt x="231839" y="225019"/>
                </a:cubicBezTo>
                <a:lnTo>
                  <a:pt x="214180" y="232182"/>
                </a:lnTo>
                <a:close/>
              </a:path>
            </a:pathLst>
          </a:custGeom>
          <a:solidFill>
            <a:schemeClr val="tx2"/>
          </a:solidFill>
          <a:ln w="9525" cap="flat">
            <a:noFill/>
            <a:prstDash val="solid"/>
            <a:miter/>
          </a:ln>
        </p:spPr>
        <p:txBody>
          <a:bodyPr rtlCol="0" anchor="ctr"/>
          <a:lstStyle/>
          <a:p>
            <a:endParaRPr lang="en-GB" dirty="0"/>
          </a:p>
        </p:txBody>
      </p:sp>
      <p:sp>
        <p:nvSpPr>
          <p:cNvPr id="5" name="Freeform: Shape 4">
            <a:extLst>
              <a:ext uri="{FF2B5EF4-FFF2-40B4-BE49-F238E27FC236}">
                <a16:creationId xmlns:a16="http://schemas.microsoft.com/office/drawing/2014/main" id="{024FE8F6-9ED0-4C39-A52B-244A07653938}"/>
              </a:ext>
            </a:extLst>
          </p:cNvPr>
          <p:cNvSpPr/>
          <p:nvPr/>
        </p:nvSpPr>
        <p:spPr>
          <a:xfrm>
            <a:off x="6105891" y="4159759"/>
            <a:ext cx="304800" cy="304800"/>
          </a:xfrm>
          <a:custGeom>
            <a:avLst/>
            <a:gdLst>
              <a:gd name="connsiteX0" fmla="*/ 0 w 304800"/>
              <a:gd name="connsiteY0" fmla="*/ 285750 h 304800"/>
              <a:gd name="connsiteX1" fmla="*/ 304800 w 304800"/>
              <a:gd name="connsiteY1" fmla="*/ 285750 h 304800"/>
              <a:gd name="connsiteX2" fmla="*/ 304800 w 304800"/>
              <a:gd name="connsiteY2" fmla="*/ 304800 h 304800"/>
              <a:gd name="connsiteX3" fmla="*/ 0 w 304800"/>
              <a:gd name="connsiteY3" fmla="*/ 304800 h 304800"/>
              <a:gd name="connsiteX4" fmla="*/ 0 w 304800"/>
              <a:gd name="connsiteY4" fmla="*/ 285750 h 304800"/>
              <a:gd name="connsiteX5" fmla="*/ 249555 w 304800"/>
              <a:gd name="connsiteY5" fmla="*/ 62865 h 304800"/>
              <a:gd name="connsiteX6" fmla="*/ 230505 w 304800"/>
              <a:gd name="connsiteY6" fmla="*/ 58103 h 304800"/>
              <a:gd name="connsiteX7" fmla="*/ 196215 w 304800"/>
              <a:gd name="connsiteY7" fmla="*/ 78105 h 304800"/>
              <a:gd name="connsiteX8" fmla="*/ 154305 w 304800"/>
              <a:gd name="connsiteY8" fmla="*/ 55245 h 304800"/>
              <a:gd name="connsiteX9" fmla="*/ 141923 w 304800"/>
              <a:gd name="connsiteY9" fmla="*/ 54293 h 304800"/>
              <a:gd name="connsiteX10" fmla="*/ 87630 w 304800"/>
              <a:gd name="connsiteY10" fmla="*/ 73343 h 304800"/>
              <a:gd name="connsiteX11" fmla="*/ 78105 w 304800"/>
              <a:gd name="connsiteY11" fmla="*/ 84773 h 304800"/>
              <a:gd name="connsiteX12" fmla="*/ 72390 w 304800"/>
              <a:gd name="connsiteY12" fmla="*/ 119063 h 304800"/>
              <a:gd name="connsiteX13" fmla="*/ 38100 w 304800"/>
              <a:gd name="connsiteY13" fmla="*/ 119063 h 304800"/>
              <a:gd name="connsiteX14" fmla="*/ 23813 w 304800"/>
              <a:gd name="connsiteY14" fmla="*/ 133350 h 304800"/>
              <a:gd name="connsiteX15" fmla="*/ 38100 w 304800"/>
              <a:gd name="connsiteY15" fmla="*/ 147638 h 304800"/>
              <a:gd name="connsiteX16" fmla="*/ 85725 w 304800"/>
              <a:gd name="connsiteY16" fmla="*/ 147638 h 304800"/>
              <a:gd name="connsiteX17" fmla="*/ 100013 w 304800"/>
              <a:gd name="connsiteY17" fmla="*/ 135255 h 304800"/>
              <a:gd name="connsiteX18" fmla="*/ 105728 w 304800"/>
              <a:gd name="connsiteY18" fmla="*/ 99060 h 304800"/>
              <a:gd name="connsiteX19" fmla="*/ 166688 w 304800"/>
              <a:gd name="connsiteY19" fmla="*/ 204788 h 304800"/>
              <a:gd name="connsiteX20" fmla="*/ 166688 w 304800"/>
              <a:gd name="connsiteY20" fmla="*/ 266700 h 304800"/>
              <a:gd name="connsiteX21" fmla="*/ 180975 w 304800"/>
              <a:gd name="connsiteY21" fmla="*/ 280988 h 304800"/>
              <a:gd name="connsiteX22" fmla="*/ 195263 w 304800"/>
              <a:gd name="connsiteY22" fmla="*/ 266700 h 304800"/>
              <a:gd name="connsiteX23" fmla="*/ 195263 w 304800"/>
              <a:gd name="connsiteY23" fmla="*/ 200978 h 304800"/>
              <a:gd name="connsiteX24" fmla="*/ 193358 w 304800"/>
              <a:gd name="connsiteY24" fmla="*/ 193358 h 304800"/>
              <a:gd name="connsiteX25" fmla="*/ 164783 w 304800"/>
              <a:gd name="connsiteY25" fmla="*/ 143828 h 304800"/>
              <a:gd name="connsiteX26" fmla="*/ 169545 w 304800"/>
              <a:gd name="connsiteY26" fmla="*/ 148590 h 304800"/>
              <a:gd name="connsiteX27" fmla="*/ 214313 w 304800"/>
              <a:gd name="connsiteY27" fmla="*/ 178118 h 304800"/>
              <a:gd name="connsiteX28" fmla="*/ 214313 w 304800"/>
              <a:gd name="connsiteY28" fmla="*/ 238125 h 304800"/>
              <a:gd name="connsiteX29" fmla="*/ 228600 w 304800"/>
              <a:gd name="connsiteY29" fmla="*/ 252413 h 304800"/>
              <a:gd name="connsiteX30" fmla="*/ 242888 w 304800"/>
              <a:gd name="connsiteY30" fmla="*/ 238125 h 304800"/>
              <a:gd name="connsiteX31" fmla="*/ 242888 w 304800"/>
              <a:gd name="connsiteY31" fmla="*/ 171450 h 304800"/>
              <a:gd name="connsiteX32" fmla="*/ 236220 w 304800"/>
              <a:gd name="connsiteY32" fmla="*/ 159068 h 304800"/>
              <a:gd name="connsiteX33" fmla="*/ 187643 w 304800"/>
              <a:gd name="connsiteY33" fmla="*/ 126683 h 304800"/>
              <a:gd name="connsiteX34" fmla="*/ 169545 w 304800"/>
              <a:gd name="connsiteY34" fmla="*/ 95250 h 304800"/>
              <a:gd name="connsiteX35" fmla="*/ 189548 w 304800"/>
              <a:gd name="connsiteY35" fmla="*/ 105728 h 304800"/>
              <a:gd name="connsiteX36" fmla="*/ 203835 w 304800"/>
              <a:gd name="connsiteY36" fmla="*/ 105728 h 304800"/>
              <a:gd name="connsiteX37" fmla="*/ 244793 w 304800"/>
              <a:gd name="connsiteY37" fmla="*/ 81915 h 304800"/>
              <a:gd name="connsiteX38" fmla="*/ 249555 w 304800"/>
              <a:gd name="connsiteY38" fmla="*/ 62865 h 304800"/>
              <a:gd name="connsiteX39" fmla="*/ 104775 w 304800"/>
              <a:gd name="connsiteY39" fmla="*/ 0 h 304800"/>
              <a:gd name="connsiteX40" fmla="*/ 76200 w 304800"/>
              <a:gd name="connsiteY40" fmla="*/ 28575 h 304800"/>
              <a:gd name="connsiteX41" fmla="*/ 104775 w 304800"/>
              <a:gd name="connsiteY41" fmla="*/ 57150 h 304800"/>
              <a:gd name="connsiteX42" fmla="*/ 133350 w 304800"/>
              <a:gd name="connsiteY42" fmla="*/ 28575 h 304800"/>
              <a:gd name="connsiteX43" fmla="*/ 104775 w 304800"/>
              <a:gd name="connsiteY43"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04800" h="304800">
                <a:moveTo>
                  <a:pt x="0" y="285750"/>
                </a:moveTo>
                <a:lnTo>
                  <a:pt x="304800" y="285750"/>
                </a:lnTo>
                <a:lnTo>
                  <a:pt x="304800" y="304800"/>
                </a:lnTo>
                <a:lnTo>
                  <a:pt x="0" y="304800"/>
                </a:lnTo>
                <a:lnTo>
                  <a:pt x="0" y="285750"/>
                </a:lnTo>
                <a:close/>
                <a:moveTo>
                  <a:pt x="249555" y="62865"/>
                </a:moveTo>
                <a:cubicBezTo>
                  <a:pt x="245745" y="56198"/>
                  <a:pt x="237173" y="53340"/>
                  <a:pt x="230505" y="58103"/>
                </a:cubicBezTo>
                <a:lnTo>
                  <a:pt x="196215" y="78105"/>
                </a:lnTo>
                <a:lnTo>
                  <a:pt x="154305" y="55245"/>
                </a:lnTo>
                <a:cubicBezTo>
                  <a:pt x="150495" y="53340"/>
                  <a:pt x="146685" y="53340"/>
                  <a:pt x="141923" y="54293"/>
                </a:cubicBezTo>
                <a:lnTo>
                  <a:pt x="87630" y="73343"/>
                </a:lnTo>
                <a:cubicBezTo>
                  <a:pt x="82868" y="75248"/>
                  <a:pt x="79058" y="79058"/>
                  <a:pt x="78105" y="84773"/>
                </a:cubicBezTo>
                <a:lnTo>
                  <a:pt x="72390" y="119063"/>
                </a:lnTo>
                <a:lnTo>
                  <a:pt x="38100" y="119063"/>
                </a:lnTo>
                <a:cubicBezTo>
                  <a:pt x="30480" y="119063"/>
                  <a:pt x="23813" y="125730"/>
                  <a:pt x="23813" y="133350"/>
                </a:cubicBezTo>
                <a:cubicBezTo>
                  <a:pt x="23813" y="140970"/>
                  <a:pt x="30480" y="147638"/>
                  <a:pt x="38100" y="147638"/>
                </a:cubicBezTo>
                <a:lnTo>
                  <a:pt x="85725" y="147638"/>
                </a:lnTo>
                <a:cubicBezTo>
                  <a:pt x="92393" y="147638"/>
                  <a:pt x="99060" y="142875"/>
                  <a:pt x="100013" y="135255"/>
                </a:cubicBezTo>
                <a:lnTo>
                  <a:pt x="105728" y="99060"/>
                </a:lnTo>
                <a:lnTo>
                  <a:pt x="166688" y="204788"/>
                </a:lnTo>
                <a:lnTo>
                  <a:pt x="166688" y="266700"/>
                </a:lnTo>
                <a:cubicBezTo>
                  <a:pt x="166688" y="274320"/>
                  <a:pt x="173355" y="280988"/>
                  <a:pt x="180975" y="280988"/>
                </a:cubicBezTo>
                <a:cubicBezTo>
                  <a:pt x="188595" y="280988"/>
                  <a:pt x="195263" y="274320"/>
                  <a:pt x="195263" y="266700"/>
                </a:cubicBezTo>
                <a:lnTo>
                  <a:pt x="195263" y="200978"/>
                </a:lnTo>
                <a:cubicBezTo>
                  <a:pt x="195263" y="198120"/>
                  <a:pt x="194310" y="196215"/>
                  <a:pt x="193358" y="193358"/>
                </a:cubicBezTo>
                <a:lnTo>
                  <a:pt x="164783" y="143828"/>
                </a:lnTo>
                <a:cubicBezTo>
                  <a:pt x="165735" y="145733"/>
                  <a:pt x="167640" y="147638"/>
                  <a:pt x="169545" y="148590"/>
                </a:cubicBezTo>
                <a:lnTo>
                  <a:pt x="214313" y="178118"/>
                </a:lnTo>
                <a:lnTo>
                  <a:pt x="214313" y="238125"/>
                </a:lnTo>
                <a:cubicBezTo>
                  <a:pt x="214313" y="245745"/>
                  <a:pt x="220980" y="252413"/>
                  <a:pt x="228600" y="252413"/>
                </a:cubicBezTo>
                <a:cubicBezTo>
                  <a:pt x="236220" y="252413"/>
                  <a:pt x="242888" y="245745"/>
                  <a:pt x="242888" y="238125"/>
                </a:cubicBezTo>
                <a:lnTo>
                  <a:pt x="242888" y="171450"/>
                </a:lnTo>
                <a:cubicBezTo>
                  <a:pt x="242888" y="166688"/>
                  <a:pt x="240030" y="161925"/>
                  <a:pt x="236220" y="159068"/>
                </a:cubicBezTo>
                <a:lnTo>
                  <a:pt x="187643" y="126683"/>
                </a:lnTo>
                <a:lnTo>
                  <a:pt x="169545" y="95250"/>
                </a:lnTo>
                <a:lnTo>
                  <a:pt x="189548" y="105728"/>
                </a:lnTo>
                <a:cubicBezTo>
                  <a:pt x="194310" y="108585"/>
                  <a:pt x="199073" y="107633"/>
                  <a:pt x="203835" y="105728"/>
                </a:cubicBezTo>
                <a:lnTo>
                  <a:pt x="244793" y="81915"/>
                </a:lnTo>
                <a:cubicBezTo>
                  <a:pt x="251460" y="78105"/>
                  <a:pt x="253365" y="69533"/>
                  <a:pt x="249555" y="62865"/>
                </a:cubicBezTo>
                <a:close/>
                <a:moveTo>
                  <a:pt x="104775" y="0"/>
                </a:moveTo>
                <a:cubicBezTo>
                  <a:pt x="88583" y="0"/>
                  <a:pt x="76200" y="12383"/>
                  <a:pt x="76200" y="28575"/>
                </a:cubicBezTo>
                <a:cubicBezTo>
                  <a:pt x="76200" y="44768"/>
                  <a:pt x="88583" y="57150"/>
                  <a:pt x="104775" y="57150"/>
                </a:cubicBezTo>
                <a:cubicBezTo>
                  <a:pt x="120968" y="57150"/>
                  <a:pt x="133350" y="44768"/>
                  <a:pt x="133350" y="28575"/>
                </a:cubicBezTo>
                <a:cubicBezTo>
                  <a:pt x="133350" y="12383"/>
                  <a:pt x="120968" y="0"/>
                  <a:pt x="104775" y="0"/>
                </a:cubicBezTo>
                <a:close/>
              </a:path>
            </a:pathLst>
          </a:custGeom>
          <a:solidFill>
            <a:schemeClr val="tx2"/>
          </a:solidFill>
          <a:ln w="9525" cap="flat">
            <a:noFill/>
            <a:prstDash val="solid"/>
            <a:miter/>
          </a:ln>
        </p:spPr>
        <p:txBody>
          <a:bodyPr rtlCol="0" anchor="ctr"/>
          <a:lstStyle/>
          <a:p>
            <a:endParaRPr lang="en-GB"/>
          </a:p>
        </p:txBody>
      </p:sp>
      <p:pic>
        <p:nvPicPr>
          <p:cNvPr id="72" name="Graphic 71">
            <a:extLst>
              <a:ext uri="{FF2B5EF4-FFF2-40B4-BE49-F238E27FC236}">
                <a16:creationId xmlns:a16="http://schemas.microsoft.com/office/drawing/2014/main" id="{55EAD86A-5D22-4284-8351-E55B97BD190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688994" y="1613238"/>
            <a:ext cx="391846" cy="391846"/>
          </a:xfrm>
          <a:prstGeom prst="rect">
            <a:avLst/>
          </a:prstGeom>
        </p:spPr>
      </p:pic>
      <p:pic>
        <p:nvPicPr>
          <p:cNvPr id="106" name="Graphic 105">
            <a:extLst>
              <a:ext uri="{FF2B5EF4-FFF2-40B4-BE49-F238E27FC236}">
                <a16:creationId xmlns:a16="http://schemas.microsoft.com/office/drawing/2014/main" id="{78B5EA7D-F305-40D4-B977-B011A2583C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77878" y="1613238"/>
            <a:ext cx="391846" cy="391846"/>
          </a:xfrm>
          <a:prstGeom prst="rect">
            <a:avLst/>
          </a:prstGeom>
        </p:spPr>
      </p:pic>
      <p:sp>
        <p:nvSpPr>
          <p:cNvPr id="83" name="Freeform 111">
            <a:extLst>
              <a:ext uri="{FF2B5EF4-FFF2-40B4-BE49-F238E27FC236}">
                <a16:creationId xmlns:a16="http://schemas.microsoft.com/office/drawing/2014/main" id="{B41D33CE-1FF0-4157-BD76-EA934BAA4971}"/>
              </a:ext>
            </a:extLst>
          </p:cNvPr>
          <p:cNvSpPr>
            <a:spLocks noEditPoints="1"/>
          </p:cNvSpPr>
          <p:nvPr/>
        </p:nvSpPr>
        <p:spPr bwMode="auto">
          <a:xfrm>
            <a:off x="586881" y="1592334"/>
            <a:ext cx="414338" cy="412750"/>
          </a:xfrm>
          <a:custGeom>
            <a:avLst/>
            <a:gdLst>
              <a:gd name="T0" fmla="*/ 101 w 128"/>
              <a:gd name="T1" fmla="*/ 65 h 128"/>
              <a:gd name="T2" fmla="*/ 94 w 128"/>
              <a:gd name="T3" fmla="*/ 61 h 128"/>
              <a:gd name="T4" fmla="*/ 66 w 128"/>
              <a:gd name="T5" fmla="*/ 109 h 128"/>
              <a:gd name="T6" fmla="*/ 73 w 128"/>
              <a:gd name="T7" fmla="*/ 113 h 128"/>
              <a:gd name="T8" fmla="*/ 101 w 128"/>
              <a:gd name="T9" fmla="*/ 65 h 128"/>
              <a:gd name="T10" fmla="*/ 82 w 128"/>
              <a:gd name="T11" fmla="*/ 66 h 128"/>
              <a:gd name="T12" fmla="*/ 75 w 128"/>
              <a:gd name="T13" fmla="*/ 62 h 128"/>
              <a:gd name="T14" fmla="*/ 39 w 128"/>
              <a:gd name="T15" fmla="*/ 124 h 128"/>
              <a:gd name="T16" fmla="*/ 46 w 128"/>
              <a:gd name="T17" fmla="*/ 128 h 128"/>
              <a:gd name="T18" fmla="*/ 82 w 128"/>
              <a:gd name="T19" fmla="*/ 66 h 128"/>
              <a:gd name="T20" fmla="*/ 35 w 128"/>
              <a:gd name="T21" fmla="*/ 115 h 128"/>
              <a:gd name="T22" fmla="*/ 28 w 128"/>
              <a:gd name="T23" fmla="*/ 111 h 128"/>
              <a:gd name="T24" fmla="*/ 56 w 128"/>
              <a:gd name="T25" fmla="*/ 62 h 128"/>
              <a:gd name="T26" fmla="*/ 63 w 128"/>
              <a:gd name="T27" fmla="*/ 66 h 128"/>
              <a:gd name="T28" fmla="*/ 35 w 128"/>
              <a:gd name="T29" fmla="*/ 115 h 128"/>
              <a:gd name="T30" fmla="*/ 128 w 128"/>
              <a:gd name="T31" fmla="*/ 68 h 128"/>
              <a:gd name="T32" fmla="*/ 100 w 128"/>
              <a:gd name="T33" fmla="*/ 96 h 128"/>
              <a:gd name="T34" fmla="*/ 92 w 128"/>
              <a:gd name="T35" fmla="*/ 96 h 128"/>
              <a:gd name="T36" fmla="*/ 97 w 128"/>
              <a:gd name="T37" fmla="*/ 88 h 128"/>
              <a:gd name="T38" fmla="*/ 100 w 128"/>
              <a:gd name="T39" fmla="*/ 88 h 128"/>
              <a:gd name="T40" fmla="*/ 120 w 128"/>
              <a:gd name="T41" fmla="*/ 68 h 128"/>
              <a:gd name="T42" fmla="*/ 106 w 128"/>
              <a:gd name="T43" fmla="*/ 49 h 128"/>
              <a:gd name="T44" fmla="*/ 102 w 128"/>
              <a:gd name="T45" fmla="*/ 48 h 128"/>
              <a:gd name="T46" fmla="*/ 103 w 128"/>
              <a:gd name="T47" fmla="*/ 44 h 128"/>
              <a:gd name="T48" fmla="*/ 104 w 128"/>
              <a:gd name="T49" fmla="*/ 36 h 128"/>
              <a:gd name="T50" fmla="*/ 76 w 128"/>
              <a:gd name="T51" fmla="*/ 8 h 128"/>
              <a:gd name="T52" fmla="*/ 48 w 128"/>
              <a:gd name="T53" fmla="*/ 36 h 128"/>
              <a:gd name="T54" fmla="*/ 48 w 128"/>
              <a:gd name="T55" fmla="*/ 38 h 128"/>
              <a:gd name="T56" fmla="*/ 49 w 128"/>
              <a:gd name="T57" fmla="*/ 45 h 128"/>
              <a:gd name="T58" fmla="*/ 42 w 128"/>
              <a:gd name="T59" fmla="*/ 42 h 128"/>
              <a:gd name="T60" fmla="*/ 32 w 128"/>
              <a:gd name="T61" fmla="*/ 40 h 128"/>
              <a:gd name="T62" fmla="*/ 8 w 128"/>
              <a:gd name="T63" fmla="*/ 64 h 128"/>
              <a:gd name="T64" fmla="*/ 32 w 128"/>
              <a:gd name="T65" fmla="*/ 88 h 128"/>
              <a:gd name="T66" fmla="*/ 32 w 128"/>
              <a:gd name="T67" fmla="*/ 88 h 128"/>
              <a:gd name="T68" fmla="*/ 28 w 128"/>
              <a:gd name="T69" fmla="*/ 96 h 128"/>
              <a:gd name="T70" fmla="*/ 0 w 128"/>
              <a:gd name="T71" fmla="*/ 64 h 128"/>
              <a:gd name="T72" fmla="*/ 32 w 128"/>
              <a:gd name="T73" fmla="*/ 32 h 128"/>
              <a:gd name="T74" fmla="*/ 40 w 128"/>
              <a:gd name="T75" fmla="*/ 33 h 128"/>
              <a:gd name="T76" fmla="*/ 76 w 128"/>
              <a:gd name="T77" fmla="*/ 0 h 128"/>
              <a:gd name="T78" fmla="*/ 112 w 128"/>
              <a:gd name="T79" fmla="*/ 36 h 128"/>
              <a:gd name="T80" fmla="*/ 111 w 128"/>
              <a:gd name="T81" fmla="*/ 42 h 128"/>
              <a:gd name="T82" fmla="*/ 128 w 128"/>
              <a:gd name="T83"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8" h="128">
                <a:moveTo>
                  <a:pt x="101" y="65"/>
                </a:moveTo>
                <a:cubicBezTo>
                  <a:pt x="94" y="61"/>
                  <a:pt x="94" y="61"/>
                  <a:pt x="94" y="61"/>
                </a:cubicBezTo>
                <a:cubicBezTo>
                  <a:pt x="66" y="109"/>
                  <a:pt x="66" y="109"/>
                  <a:pt x="66" y="109"/>
                </a:cubicBezTo>
                <a:cubicBezTo>
                  <a:pt x="73" y="113"/>
                  <a:pt x="73" y="113"/>
                  <a:pt x="73" y="113"/>
                </a:cubicBezTo>
                <a:lnTo>
                  <a:pt x="101" y="65"/>
                </a:lnTo>
                <a:close/>
                <a:moveTo>
                  <a:pt x="82" y="66"/>
                </a:moveTo>
                <a:cubicBezTo>
                  <a:pt x="75" y="62"/>
                  <a:pt x="75" y="62"/>
                  <a:pt x="75" y="62"/>
                </a:cubicBezTo>
                <a:cubicBezTo>
                  <a:pt x="39" y="124"/>
                  <a:pt x="39" y="124"/>
                  <a:pt x="39" y="124"/>
                </a:cubicBezTo>
                <a:cubicBezTo>
                  <a:pt x="46" y="128"/>
                  <a:pt x="46" y="128"/>
                  <a:pt x="46" y="128"/>
                </a:cubicBezTo>
                <a:lnTo>
                  <a:pt x="82" y="66"/>
                </a:lnTo>
                <a:close/>
                <a:moveTo>
                  <a:pt x="35" y="115"/>
                </a:moveTo>
                <a:cubicBezTo>
                  <a:pt x="28" y="111"/>
                  <a:pt x="28" y="111"/>
                  <a:pt x="28" y="111"/>
                </a:cubicBezTo>
                <a:cubicBezTo>
                  <a:pt x="56" y="62"/>
                  <a:pt x="56" y="62"/>
                  <a:pt x="56" y="62"/>
                </a:cubicBezTo>
                <a:cubicBezTo>
                  <a:pt x="63" y="66"/>
                  <a:pt x="63" y="66"/>
                  <a:pt x="63" y="66"/>
                </a:cubicBezTo>
                <a:lnTo>
                  <a:pt x="35" y="115"/>
                </a:lnTo>
                <a:close/>
                <a:moveTo>
                  <a:pt x="128" y="68"/>
                </a:moveTo>
                <a:cubicBezTo>
                  <a:pt x="128" y="83"/>
                  <a:pt x="115" y="96"/>
                  <a:pt x="100" y="96"/>
                </a:cubicBezTo>
                <a:cubicBezTo>
                  <a:pt x="92" y="96"/>
                  <a:pt x="92" y="96"/>
                  <a:pt x="92" y="96"/>
                </a:cubicBezTo>
                <a:cubicBezTo>
                  <a:pt x="97" y="88"/>
                  <a:pt x="97" y="88"/>
                  <a:pt x="97" y="88"/>
                </a:cubicBezTo>
                <a:cubicBezTo>
                  <a:pt x="100" y="88"/>
                  <a:pt x="100" y="88"/>
                  <a:pt x="100" y="88"/>
                </a:cubicBezTo>
                <a:cubicBezTo>
                  <a:pt x="111" y="88"/>
                  <a:pt x="120" y="79"/>
                  <a:pt x="120" y="68"/>
                </a:cubicBezTo>
                <a:cubicBezTo>
                  <a:pt x="120" y="59"/>
                  <a:pt x="114" y="51"/>
                  <a:pt x="106" y="49"/>
                </a:cubicBezTo>
                <a:cubicBezTo>
                  <a:pt x="102" y="48"/>
                  <a:pt x="102" y="48"/>
                  <a:pt x="102" y="48"/>
                </a:cubicBezTo>
                <a:cubicBezTo>
                  <a:pt x="103" y="44"/>
                  <a:pt x="103" y="44"/>
                  <a:pt x="103" y="44"/>
                </a:cubicBezTo>
                <a:cubicBezTo>
                  <a:pt x="104" y="41"/>
                  <a:pt x="104" y="39"/>
                  <a:pt x="104" y="36"/>
                </a:cubicBezTo>
                <a:cubicBezTo>
                  <a:pt x="104" y="21"/>
                  <a:pt x="91" y="8"/>
                  <a:pt x="76" y="8"/>
                </a:cubicBezTo>
                <a:cubicBezTo>
                  <a:pt x="61" y="8"/>
                  <a:pt x="48" y="21"/>
                  <a:pt x="48" y="36"/>
                </a:cubicBezTo>
                <a:cubicBezTo>
                  <a:pt x="48" y="37"/>
                  <a:pt x="48" y="38"/>
                  <a:pt x="48" y="38"/>
                </a:cubicBezTo>
                <a:cubicBezTo>
                  <a:pt x="49" y="45"/>
                  <a:pt x="49" y="45"/>
                  <a:pt x="49" y="45"/>
                </a:cubicBezTo>
                <a:cubicBezTo>
                  <a:pt x="42" y="42"/>
                  <a:pt x="42" y="42"/>
                  <a:pt x="42" y="42"/>
                </a:cubicBezTo>
                <a:cubicBezTo>
                  <a:pt x="39" y="41"/>
                  <a:pt x="36" y="40"/>
                  <a:pt x="32" y="40"/>
                </a:cubicBezTo>
                <a:cubicBezTo>
                  <a:pt x="19" y="40"/>
                  <a:pt x="8" y="51"/>
                  <a:pt x="8" y="64"/>
                </a:cubicBezTo>
                <a:cubicBezTo>
                  <a:pt x="8" y="77"/>
                  <a:pt x="19" y="88"/>
                  <a:pt x="32" y="88"/>
                </a:cubicBezTo>
                <a:cubicBezTo>
                  <a:pt x="32" y="88"/>
                  <a:pt x="32" y="88"/>
                  <a:pt x="32" y="88"/>
                </a:cubicBezTo>
                <a:cubicBezTo>
                  <a:pt x="28" y="96"/>
                  <a:pt x="28" y="96"/>
                  <a:pt x="28" y="96"/>
                </a:cubicBezTo>
                <a:cubicBezTo>
                  <a:pt x="12" y="93"/>
                  <a:pt x="0" y="80"/>
                  <a:pt x="0" y="64"/>
                </a:cubicBezTo>
                <a:cubicBezTo>
                  <a:pt x="0" y="46"/>
                  <a:pt x="14" y="32"/>
                  <a:pt x="32" y="32"/>
                </a:cubicBezTo>
                <a:cubicBezTo>
                  <a:pt x="35" y="32"/>
                  <a:pt x="37" y="32"/>
                  <a:pt x="40" y="33"/>
                </a:cubicBezTo>
                <a:cubicBezTo>
                  <a:pt x="42" y="15"/>
                  <a:pt x="57" y="0"/>
                  <a:pt x="76" y="0"/>
                </a:cubicBezTo>
                <a:cubicBezTo>
                  <a:pt x="96" y="0"/>
                  <a:pt x="112" y="16"/>
                  <a:pt x="112" y="36"/>
                </a:cubicBezTo>
                <a:cubicBezTo>
                  <a:pt x="112" y="38"/>
                  <a:pt x="112" y="40"/>
                  <a:pt x="111" y="42"/>
                </a:cubicBezTo>
                <a:cubicBezTo>
                  <a:pt x="121" y="47"/>
                  <a:pt x="128" y="57"/>
                  <a:pt x="128" y="6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230315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kt 51" hidden="1">
            <a:extLst>
              <a:ext uri="{FF2B5EF4-FFF2-40B4-BE49-F238E27FC236}">
                <a16:creationId xmlns:a16="http://schemas.microsoft.com/office/drawing/2014/main" id="{002BF553-7A04-45BD-929C-12728FDA67BF}"/>
              </a:ext>
            </a:extLst>
          </p:cNvPr>
          <p:cNvGraphicFramePr>
            <a:graphicFrameLocks noChangeAspect="1"/>
          </p:cNvGraphicFramePr>
          <p:nvPr>
            <p:custDataLst>
              <p:tags r:id="rId1"/>
            </p:custDataLst>
            <p:extLst>
              <p:ext uri="{D42A27DB-BD31-4B8C-83A1-F6EECF244321}">
                <p14:modId xmlns:p14="http://schemas.microsoft.com/office/powerpoint/2010/main" val="1219844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2" name="Objekt 51" hidden="1">
                        <a:extLst>
                          <a:ext uri="{FF2B5EF4-FFF2-40B4-BE49-F238E27FC236}">
                            <a16:creationId xmlns:a16="http://schemas.microsoft.com/office/drawing/2014/main" id="{002BF553-7A04-45BD-929C-12728FDA67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631A6E5-8E71-41F7-849D-26FFDB1B82DE}"/>
              </a:ext>
            </a:extLst>
          </p:cNvPr>
          <p:cNvSpPr>
            <a:spLocks noGrp="1"/>
          </p:cNvSpPr>
          <p:nvPr>
            <p:ph type="sldNum" sz="quarter" idx="11"/>
          </p:nvPr>
        </p:nvSpPr>
        <p:spPr/>
        <p:txBody>
          <a:bodyPr/>
          <a:lstStyle/>
          <a:p>
            <a:fld id="{D56DB8AA-803C-49D2-90AA-1140CE72DCD7}" type="slidenum">
              <a:rPr lang="en-GB" smtClean="0"/>
              <a:pPr/>
              <a:t>13</a:t>
            </a:fld>
            <a:endParaRPr lang="en-GB" dirty="0"/>
          </a:p>
        </p:txBody>
      </p:sp>
      <p:sp>
        <p:nvSpPr>
          <p:cNvPr id="77" name="Title 38">
            <a:extLst>
              <a:ext uri="{FF2B5EF4-FFF2-40B4-BE49-F238E27FC236}">
                <a16:creationId xmlns:a16="http://schemas.microsoft.com/office/drawing/2014/main" id="{E707B865-DDA4-A153-90C6-35E8F39A33BC}"/>
              </a:ext>
            </a:extLst>
          </p:cNvPr>
          <p:cNvSpPr>
            <a:spLocks noGrp="1"/>
          </p:cNvSpPr>
          <p:nvPr>
            <p:ph type="title"/>
          </p:nvPr>
        </p:nvSpPr>
        <p:spPr/>
        <p:txBody>
          <a:bodyPr/>
          <a:lstStyle/>
          <a:p>
            <a:r>
              <a:rPr lang="en-US" dirty="0"/>
              <a:t>Munich Re Icons 11/12</a:t>
            </a:r>
            <a:br>
              <a:rPr lang="en-US" dirty="0"/>
            </a:br>
            <a:endParaRPr lang="en-US" dirty="0"/>
          </a:p>
        </p:txBody>
      </p:sp>
      <p:sp>
        <p:nvSpPr>
          <p:cNvPr id="57" name="Freeform 95">
            <a:extLst>
              <a:ext uri="{FF2B5EF4-FFF2-40B4-BE49-F238E27FC236}">
                <a16:creationId xmlns:a16="http://schemas.microsoft.com/office/drawing/2014/main" id="{4206E2BD-45DD-49CF-B1CD-36BD0464DDBE}"/>
              </a:ext>
            </a:extLst>
          </p:cNvPr>
          <p:cNvSpPr>
            <a:spLocks/>
          </p:cNvSpPr>
          <p:nvPr/>
        </p:nvSpPr>
        <p:spPr bwMode="auto">
          <a:xfrm>
            <a:off x="8141988" y="2406184"/>
            <a:ext cx="414338" cy="412750"/>
          </a:xfrm>
          <a:custGeom>
            <a:avLst/>
            <a:gdLst>
              <a:gd name="T0" fmla="*/ 64 w 128"/>
              <a:gd name="T1" fmla="*/ 64 h 128"/>
              <a:gd name="T2" fmla="*/ 128 w 128"/>
              <a:gd name="T3" fmla="*/ 64 h 128"/>
              <a:gd name="T4" fmla="*/ 64 w 128"/>
              <a:gd name="T5" fmla="*/ 128 h 128"/>
              <a:gd name="T6" fmla="*/ 0 w 128"/>
              <a:gd name="T7" fmla="*/ 64 h 128"/>
              <a:gd name="T8" fmla="*/ 64 w 128"/>
              <a:gd name="T9" fmla="*/ 0 h 128"/>
              <a:gd name="T10" fmla="*/ 64 w 128"/>
              <a:gd name="T11" fmla="*/ 64 h 128"/>
            </a:gdLst>
            <a:ahLst/>
            <a:cxnLst>
              <a:cxn ang="0">
                <a:pos x="T0" y="T1"/>
              </a:cxn>
              <a:cxn ang="0">
                <a:pos x="T2" y="T3"/>
              </a:cxn>
              <a:cxn ang="0">
                <a:pos x="T4" y="T5"/>
              </a:cxn>
              <a:cxn ang="0">
                <a:pos x="T6" y="T7"/>
              </a:cxn>
              <a:cxn ang="0">
                <a:pos x="T8" y="T9"/>
              </a:cxn>
              <a:cxn ang="0">
                <a:pos x="T10" y="T11"/>
              </a:cxn>
            </a:cxnLst>
            <a:rect l="0" t="0" r="r" b="b"/>
            <a:pathLst>
              <a:path w="128" h="128">
                <a:moveTo>
                  <a:pt x="64" y="64"/>
                </a:moveTo>
                <a:cubicBezTo>
                  <a:pt x="128" y="64"/>
                  <a:pt x="128" y="64"/>
                  <a:pt x="128" y="64"/>
                </a:cubicBezTo>
                <a:cubicBezTo>
                  <a:pt x="128" y="99"/>
                  <a:pt x="99" y="128"/>
                  <a:pt x="64" y="128"/>
                </a:cubicBezTo>
                <a:cubicBezTo>
                  <a:pt x="29" y="128"/>
                  <a:pt x="0" y="99"/>
                  <a:pt x="0" y="64"/>
                </a:cubicBezTo>
                <a:cubicBezTo>
                  <a:pt x="0" y="29"/>
                  <a:pt x="29" y="0"/>
                  <a:pt x="64" y="0"/>
                </a:cubicBezTo>
                <a:lnTo>
                  <a:pt x="64" y="6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 name="Freeform 99">
            <a:extLst>
              <a:ext uri="{FF2B5EF4-FFF2-40B4-BE49-F238E27FC236}">
                <a16:creationId xmlns:a16="http://schemas.microsoft.com/office/drawing/2014/main" id="{903C5FCD-B60E-4E17-AE82-BC627C241AA3}"/>
              </a:ext>
            </a:extLst>
          </p:cNvPr>
          <p:cNvSpPr>
            <a:spLocks noEditPoints="1"/>
          </p:cNvSpPr>
          <p:nvPr/>
        </p:nvSpPr>
        <p:spPr bwMode="auto">
          <a:xfrm>
            <a:off x="5005686" y="3195060"/>
            <a:ext cx="414338" cy="412750"/>
          </a:xfrm>
          <a:custGeom>
            <a:avLst/>
            <a:gdLst>
              <a:gd name="T0" fmla="*/ 64 w 128"/>
              <a:gd name="T1" fmla="*/ 0 h 128"/>
              <a:gd name="T2" fmla="*/ 3 w 128"/>
              <a:gd name="T3" fmla="*/ 45 h 128"/>
              <a:gd name="T4" fmla="*/ 1 w 128"/>
              <a:gd name="T5" fmla="*/ 51 h 128"/>
              <a:gd name="T6" fmla="*/ 0 w 128"/>
              <a:gd name="T7" fmla="*/ 64 h 128"/>
              <a:gd name="T8" fmla="*/ 1 w 128"/>
              <a:gd name="T9" fmla="*/ 77 h 128"/>
              <a:gd name="T10" fmla="*/ 3 w 128"/>
              <a:gd name="T11" fmla="*/ 83 h 128"/>
              <a:gd name="T12" fmla="*/ 64 w 128"/>
              <a:gd name="T13" fmla="*/ 128 h 128"/>
              <a:gd name="T14" fmla="*/ 128 w 128"/>
              <a:gd name="T15" fmla="*/ 64 h 128"/>
              <a:gd name="T16" fmla="*/ 64 w 128"/>
              <a:gd name="T17" fmla="*/ 0 h 128"/>
              <a:gd name="T18" fmla="*/ 64 w 128"/>
              <a:gd name="T19" fmla="*/ 64 h 128"/>
              <a:gd name="T20" fmla="*/ 64 w 128"/>
              <a:gd name="T21" fmla="*/ 8 h 128"/>
              <a:gd name="T22" fmla="*/ 120 w 128"/>
              <a:gd name="T23" fmla="*/ 64 h 128"/>
              <a:gd name="T24" fmla="*/ 64 w 128"/>
              <a:gd name="T2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8" h="128">
                <a:moveTo>
                  <a:pt x="64" y="0"/>
                </a:moveTo>
                <a:cubicBezTo>
                  <a:pt x="35" y="0"/>
                  <a:pt x="11" y="19"/>
                  <a:pt x="3" y="45"/>
                </a:cubicBezTo>
                <a:cubicBezTo>
                  <a:pt x="2" y="47"/>
                  <a:pt x="2" y="49"/>
                  <a:pt x="1" y="51"/>
                </a:cubicBezTo>
                <a:cubicBezTo>
                  <a:pt x="0" y="55"/>
                  <a:pt x="0" y="60"/>
                  <a:pt x="0" y="64"/>
                </a:cubicBezTo>
                <a:cubicBezTo>
                  <a:pt x="0" y="68"/>
                  <a:pt x="0" y="73"/>
                  <a:pt x="1" y="77"/>
                </a:cubicBezTo>
                <a:cubicBezTo>
                  <a:pt x="2" y="79"/>
                  <a:pt x="2" y="81"/>
                  <a:pt x="3" y="83"/>
                </a:cubicBezTo>
                <a:cubicBezTo>
                  <a:pt x="11" y="109"/>
                  <a:pt x="35" y="128"/>
                  <a:pt x="64" y="128"/>
                </a:cubicBezTo>
                <a:cubicBezTo>
                  <a:pt x="99" y="128"/>
                  <a:pt x="128" y="99"/>
                  <a:pt x="128" y="64"/>
                </a:cubicBezTo>
                <a:cubicBezTo>
                  <a:pt x="128" y="29"/>
                  <a:pt x="99" y="0"/>
                  <a:pt x="64" y="0"/>
                </a:cubicBezTo>
                <a:close/>
                <a:moveTo>
                  <a:pt x="64" y="64"/>
                </a:moveTo>
                <a:cubicBezTo>
                  <a:pt x="64" y="8"/>
                  <a:pt x="64" y="8"/>
                  <a:pt x="64" y="8"/>
                </a:cubicBezTo>
                <a:cubicBezTo>
                  <a:pt x="95" y="8"/>
                  <a:pt x="120" y="33"/>
                  <a:pt x="120" y="64"/>
                </a:cubicBezTo>
                <a:lnTo>
                  <a:pt x="64" y="6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 name="Freeform 103">
            <a:extLst>
              <a:ext uri="{FF2B5EF4-FFF2-40B4-BE49-F238E27FC236}">
                <a16:creationId xmlns:a16="http://schemas.microsoft.com/office/drawing/2014/main" id="{DEF36C0C-E176-4B8F-AB3F-E14DB9AC6868}"/>
              </a:ext>
            </a:extLst>
          </p:cNvPr>
          <p:cNvSpPr>
            <a:spLocks noEditPoints="1"/>
          </p:cNvSpPr>
          <p:nvPr/>
        </p:nvSpPr>
        <p:spPr bwMode="auto">
          <a:xfrm>
            <a:off x="6051916" y="3195060"/>
            <a:ext cx="412750" cy="412750"/>
          </a:xfrm>
          <a:custGeom>
            <a:avLst/>
            <a:gdLst>
              <a:gd name="T0" fmla="*/ 128 w 128"/>
              <a:gd name="T1" fmla="*/ 57 h 128"/>
              <a:gd name="T2" fmla="*/ 96 w 128"/>
              <a:gd name="T3" fmla="*/ 88 h 128"/>
              <a:gd name="T4" fmla="*/ 87 w 128"/>
              <a:gd name="T5" fmla="*/ 88 h 128"/>
              <a:gd name="T6" fmla="*/ 90 w 128"/>
              <a:gd name="T7" fmla="*/ 81 h 128"/>
              <a:gd name="T8" fmla="*/ 94 w 128"/>
              <a:gd name="T9" fmla="*/ 81 h 128"/>
              <a:gd name="T10" fmla="*/ 120 w 128"/>
              <a:gd name="T11" fmla="*/ 57 h 128"/>
              <a:gd name="T12" fmla="*/ 84 w 128"/>
              <a:gd name="T13" fmla="*/ 35 h 128"/>
              <a:gd name="T14" fmla="*/ 54 w 128"/>
              <a:gd name="T15" fmla="*/ 7 h 128"/>
              <a:gd name="T16" fmla="*/ 26 w 128"/>
              <a:gd name="T17" fmla="*/ 44 h 128"/>
              <a:gd name="T18" fmla="*/ 8 w 128"/>
              <a:gd name="T19" fmla="*/ 62 h 128"/>
              <a:gd name="T20" fmla="*/ 28 w 128"/>
              <a:gd name="T21" fmla="*/ 81 h 128"/>
              <a:gd name="T22" fmla="*/ 30 w 128"/>
              <a:gd name="T23" fmla="*/ 81 h 128"/>
              <a:gd name="T24" fmla="*/ 27 w 128"/>
              <a:gd name="T25" fmla="*/ 88 h 128"/>
              <a:gd name="T26" fmla="*/ 0 w 128"/>
              <a:gd name="T27" fmla="*/ 62 h 128"/>
              <a:gd name="T28" fmla="*/ 16 w 128"/>
              <a:gd name="T29" fmla="*/ 39 h 128"/>
              <a:gd name="T30" fmla="*/ 16 w 128"/>
              <a:gd name="T31" fmla="*/ 35 h 128"/>
              <a:gd name="T32" fmla="*/ 54 w 128"/>
              <a:gd name="T33" fmla="*/ 0 h 128"/>
              <a:gd name="T34" fmla="*/ 69 w 128"/>
              <a:gd name="T35" fmla="*/ 3 h 128"/>
              <a:gd name="T36" fmla="*/ 74 w 128"/>
              <a:gd name="T37" fmla="*/ 5 h 128"/>
              <a:gd name="T38" fmla="*/ 91 w 128"/>
              <a:gd name="T39" fmla="*/ 26 h 128"/>
              <a:gd name="T40" fmla="*/ 108 w 128"/>
              <a:gd name="T41" fmla="*/ 29 h 128"/>
              <a:gd name="T42" fmla="*/ 115 w 128"/>
              <a:gd name="T43" fmla="*/ 32 h 128"/>
              <a:gd name="T44" fmla="*/ 121 w 128"/>
              <a:gd name="T45" fmla="*/ 37 h 128"/>
              <a:gd name="T46" fmla="*/ 128 w 128"/>
              <a:gd name="T47" fmla="*/ 57 h 128"/>
              <a:gd name="T48" fmla="*/ 57 w 128"/>
              <a:gd name="T49" fmla="*/ 69 h 128"/>
              <a:gd name="T50" fmla="*/ 62 w 128"/>
              <a:gd name="T51" fmla="*/ 36 h 128"/>
              <a:gd name="T52" fmla="*/ 34 w 128"/>
              <a:gd name="T53" fmla="*/ 96 h 128"/>
              <a:gd name="T54" fmla="*/ 59 w 128"/>
              <a:gd name="T55" fmla="*/ 82 h 128"/>
              <a:gd name="T56" fmla="*/ 57 w 128"/>
              <a:gd name="T57" fmla="*/ 128 h 128"/>
              <a:gd name="T58" fmla="*/ 94 w 128"/>
              <a:gd name="T59" fmla="*/ 48 h 128"/>
              <a:gd name="T60" fmla="*/ 57 w 128"/>
              <a:gd name="T61" fmla="*/ 6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8" h="128">
                <a:moveTo>
                  <a:pt x="128" y="57"/>
                </a:moveTo>
                <a:cubicBezTo>
                  <a:pt x="128" y="73"/>
                  <a:pt x="114" y="87"/>
                  <a:pt x="96" y="88"/>
                </a:cubicBezTo>
                <a:cubicBezTo>
                  <a:pt x="87" y="88"/>
                  <a:pt x="87" y="88"/>
                  <a:pt x="87" y="88"/>
                </a:cubicBezTo>
                <a:cubicBezTo>
                  <a:pt x="90" y="81"/>
                  <a:pt x="90" y="81"/>
                  <a:pt x="90" y="81"/>
                </a:cubicBezTo>
                <a:cubicBezTo>
                  <a:pt x="94" y="81"/>
                  <a:pt x="94" y="81"/>
                  <a:pt x="94" y="81"/>
                </a:cubicBezTo>
                <a:cubicBezTo>
                  <a:pt x="108" y="81"/>
                  <a:pt x="120" y="69"/>
                  <a:pt x="120" y="57"/>
                </a:cubicBezTo>
                <a:cubicBezTo>
                  <a:pt x="120" y="40"/>
                  <a:pt x="101" y="28"/>
                  <a:pt x="84" y="35"/>
                </a:cubicBezTo>
                <a:cubicBezTo>
                  <a:pt x="84" y="20"/>
                  <a:pt x="70" y="7"/>
                  <a:pt x="54" y="7"/>
                </a:cubicBezTo>
                <a:cubicBezTo>
                  <a:pt x="38" y="7"/>
                  <a:pt x="18" y="22"/>
                  <a:pt x="26" y="44"/>
                </a:cubicBezTo>
                <a:cubicBezTo>
                  <a:pt x="16" y="45"/>
                  <a:pt x="8" y="52"/>
                  <a:pt x="8" y="62"/>
                </a:cubicBezTo>
                <a:cubicBezTo>
                  <a:pt x="8" y="72"/>
                  <a:pt x="17" y="81"/>
                  <a:pt x="28" y="81"/>
                </a:cubicBezTo>
                <a:cubicBezTo>
                  <a:pt x="30" y="81"/>
                  <a:pt x="30" y="81"/>
                  <a:pt x="30" y="81"/>
                </a:cubicBezTo>
                <a:cubicBezTo>
                  <a:pt x="27" y="88"/>
                  <a:pt x="27" y="88"/>
                  <a:pt x="27" y="88"/>
                </a:cubicBezTo>
                <a:cubicBezTo>
                  <a:pt x="12" y="88"/>
                  <a:pt x="0" y="76"/>
                  <a:pt x="0" y="62"/>
                </a:cubicBezTo>
                <a:cubicBezTo>
                  <a:pt x="0" y="52"/>
                  <a:pt x="7" y="43"/>
                  <a:pt x="16" y="39"/>
                </a:cubicBezTo>
                <a:cubicBezTo>
                  <a:pt x="16" y="38"/>
                  <a:pt x="16" y="36"/>
                  <a:pt x="16" y="35"/>
                </a:cubicBezTo>
                <a:cubicBezTo>
                  <a:pt x="16" y="16"/>
                  <a:pt x="33" y="0"/>
                  <a:pt x="54" y="0"/>
                </a:cubicBezTo>
                <a:cubicBezTo>
                  <a:pt x="62" y="0"/>
                  <a:pt x="69" y="3"/>
                  <a:pt x="69" y="3"/>
                </a:cubicBezTo>
                <a:cubicBezTo>
                  <a:pt x="71" y="4"/>
                  <a:pt x="72" y="4"/>
                  <a:pt x="74" y="5"/>
                </a:cubicBezTo>
                <a:cubicBezTo>
                  <a:pt x="82" y="10"/>
                  <a:pt x="88" y="16"/>
                  <a:pt x="91" y="26"/>
                </a:cubicBezTo>
                <a:cubicBezTo>
                  <a:pt x="96" y="25"/>
                  <a:pt x="103" y="26"/>
                  <a:pt x="108" y="29"/>
                </a:cubicBezTo>
                <a:cubicBezTo>
                  <a:pt x="108" y="29"/>
                  <a:pt x="112" y="30"/>
                  <a:pt x="115" y="32"/>
                </a:cubicBezTo>
                <a:cubicBezTo>
                  <a:pt x="117" y="34"/>
                  <a:pt x="119" y="35"/>
                  <a:pt x="121" y="37"/>
                </a:cubicBezTo>
                <a:cubicBezTo>
                  <a:pt x="125" y="43"/>
                  <a:pt x="128" y="49"/>
                  <a:pt x="128" y="57"/>
                </a:cubicBezTo>
                <a:close/>
                <a:moveTo>
                  <a:pt x="57" y="69"/>
                </a:moveTo>
                <a:cubicBezTo>
                  <a:pt x="62" y="36"/>
                  <a:pt x="62" y="36"/>
                  <a:pt x="62" y="36"/>
                </a:cubicBezTo>
                <a:cubicBezTo>
                  <a:pt x="34" y="96"/>
                  <a:pt x="34" y="96"/>
                  <a:pt x="34" y="96"/>
                </a:cubicBezTo>
                <a:cubicBezTo>
                  <a:pt x="59" y="82"/>
                  <a:pt x="59" y="82"/>
                  <a:pt x="59" y="82"/>
                </a:cubicBezTo>
                <a:cubicBezTo>
                  <a:pt x="57" y="128"/>
                  <a:pt x="57" y="128"/>
                  <a:pt x="57" y="128"/>
                </a:cubicBezTo>
                <a:cubicBezTo>
                  <a:pt x="94" y="48"/>
                  <a:pt x="94" y="48"/>
                  <a:pt x="94" y="48"/>
                </a:cubicBezTo>
                <a:lnTo>
                  <a:pt x="57" y="6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0" name="Freeform 107">
            <a:extLst>
              <a:ext uri="{FF2B5EF4-FFF2-40B4-BE49-F238E27FC236}">
                <a16:creationId xmlns:a16="http://schemas.microsoft.com/office/drawing/2014/main" id="{EDD295C0-630F-4E5F-B354-106189566230}"/>
              </a:ext>
            </a:extLst>
          </p:cNvPr>
          <p:cNvSpPr>
            <a:spLocks noEditPoints="1"/>
          </p:cNvSpPr>
          <p:nvPr/>
        </p:nvSpPr>
        <p:spPr bwMode="auto">
          <a:xfrm>
            <a:off x="8141195" y="3193472"/>
            <a:ext cx="415925" cy="414338"/>
          </a:xfrm>
          <a:custGeom>
            <a:avLst/>
            <a:gdLst>
              <a:gd name="T0" fmla="*/ 35 w 129"/>
              <a:gd name="T1" fmla="*/ 119 h 128"/>
              <a:gd name="T2" fmla="*/ 9 w 129"/>
              <a:gd name="T3" fmla="*/ 93 h 128"/>
              <a:gd name="T4" fmla="*/ 0 w 129"/>
              <a:gd name="T5" fmla="*/ 23 h 128"/>
              <a:gd name="T6" fmla="*/ 55 w 129"/>
              <a:gd name="T7" fmla="*/ 32 h 128"/>
              <a:gd name="T8" fmla="*/ 41 w 129"/>
              <a:gd name="T9" fmla="*/ 47 h 128"/>
              <a:gd name="T10" fmla="*/ 24 w 129"/>
              <a:gd name="T11" fmla="*/ 47 h 128"/>
              <a:gd name="T12" fmla="*/ 30 w 129"/>
              <a:gd name="T13" fmla="*/ 36 h 128"/>
              <a:gd name="T14" fmla="*/ 23 w 129"/>
              <a:gd name="T15" fmla="*/ 24 h 128"/>
              <a:gd name="T16" fmla="*/ 23 w 129"/>
              <a:gd name="T17" fmla="*/ 14 h 128"/>
              <a:gd name="T18" fmla="*/ 23 w 129"/>
              <a:gd name="T19" fmla="*/ 24 h 128"/>
              <a:gd name="T20" fmla="*/ 50 w 129"/>
              <a:gd name="T21" fmla="*/ 104 h 128"/>
              <a:gd name="T22" fmla="*/ 40 w 129"/>
              <a:gd name="T23" fmla="*/ 114 h 128"/>
              <a:gd name="T24" fmla="*/ 21 w 129"/>
              <a:gd name="T25" fmla="*/ 80 h 128"/>
              <a:gd name="T26" fmla="*/ 35 w 129"/>
              <a:gd name="T27" fmla="*/ 67 h 128"/>
              <a:gd name="T28" fmla="*/ 62 w 129"/>
              <a:gd name="T29" fmla="*/ 40 h 128"/>
              <a:gd name="T30" fmla="*/ 105 w 129"/>
              <a:gd name="T31" fmla="*/ 0 h 128"/>
              <a:gd name="T32" fmla="*/ 126 w 129"/>
              <a:gd name="T33" fmla="*/ 17 h 128"/>
              <a:gd name="T34" fmla="*/ 88 w 129"/>
              <a:gd name="T35" fmla="*/ 66 h 128"/>
              <a:gd name="T36" fmla="*/ 61 w 129"/>
              <a:gd name="T37" fmla="*/ 93 h 128"/>
              <a:gd name="T38" fmla="*/ 120 w 129"/>
              <a:gd name="T39" fmla="*/ 24 h 128"/>
              <a:gd name="T40" fmla="*/ 105 w 129"/>
              <a:gd name="T41" fmla="*/ 8 h 128"/>
              <a:gd name="T42" fmla="*/ 104 w 129"/>
              <a:gd name="T43" fmla="*/ 8 h 128"/>
              <a:gd name="T44" fmla="*/ 57 w 129"/>
              <a:gd name="T45" fmla="*/ 55 h 128"/>
              <a:gd name="T46" fmla="*/ 26 w 129"/>
              <a:gd name="T47" fmla="*/ 85 h 128"/>
              <a:gd name="T48" fmla="*/ 31 w 129"/>
              <a:gd name="T49" fmla="*/ 92 h 128"/>
              <a:gd name="T50" fmla="*/ 42 w 129"/>
              <a:gd name="T51" fmla="*/ 102 h 128"/>
              <a:gd name="T52" fmla="*/ 120 w 129"/>
              <a:gd name="T53" fmla="*/ 24 h 128"/>
              <a:gd name="T54" fmla="*/ 80 w 129"/>
              <a:gd name="T55" fmla="*/ 103 h 128"/>
              <a:gd name="T56" fmla="*/ 91 w 129"/>
              <a:gd name="T57" fmla="*/ 97 h 128"/>
              <a:gd name="T58" fmla="*/ 90 w 129"/>
              <a:gd name="T59" fmla="*/ 113 h 128"/>
              <a:gd name="T60" fmla="*/ 101 w 129"/>
              <a:gd name="T61" fmla="*/ 107 h 128"/>
              <a:gd name="T62" fmla="*/ 105 w 129"/>
              <a:gd name="T63" fmla="*/ 128 h 128"/>
              <a:gd name="T64" fmla="*/ 94 w 129"/>
              <a:gd name="T65" fmla="*/ 71 h 128"/>
              <a:gd name="T66" fmla="*/ 75 w 129"/>
              <a:gd name="T67" fmla="*/ 9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9" h="128">
                <a:moveTo>
                  <a:pt x="9" y="93"/>
                </a:moveTo>
                <a:cubicBezTo>
                  <a:pt x="35" y="119"/>
                  <a:pt x="35" y="119"/>
                  <a:pt x="35" y="119"/>
                </a:cubicBezTo>
                <a:cubicBezTo>
                  <a:pt x="0" y="128"/>
                  <a:pt x="0" y="128"/>
                  <a:pt x="0" y="128"/>
                </a:cubicBezTo>
                <a:lnTo>
                  <a:pt x="9" y="93"/>
                </a:lnTo>
                <a:close/>
                <a:moveTo>
                  <a:pt x="22" y="45"/>
                </a:moveTo>
                <a:cubicBezTo>
                  <a:pt x="0" y="23"/>
                  <a:pt x="0" y="23"/>
                  <a:pt x="0" y="23"/>
                </a:cubicBezTo>
                <a:cubicBezTo>
                  <a:pt x="23" y="0"/>
                  <a:pt x="23" y="0"/>
                  <a:pt x="23" y="0"/>
                </a:cubicBezTo>
                <a:cubicBezTo>
                  <a:pt x="55" y="32"/>
                  <a:pt x="55" y="32"/>
                  <a:pt x="55" y="32"/>
                </a:cubicBezTo>
                <a:cubicBezTo>
                  <a:pt x="41" y="47"/>
                  <a:pt x="41" y="47"/>
                  <a:pt x="41" y="47"/>
                </a:cubicBezTo>
                <a:cubicBezTo>
                  <a:pt x="41" y="47"/>
                  <a:pt x="41" y="47"/>
                  <a:pt x="41" y="47"/>
                </a:cubicBezTo>
                <a:cubicBezTo>
                  <a:pt x="32" y="55"/>
                  <a:pt x="32" y="55"/>
                  <a:pt x="32" y="55"/>
                </a:cubicBezTo>
                <a:cubicBezTo>
                  <a:pt x="24" y="47"/>
                  <a:pt x="24" y="47"/>
                  <a:pt x="24" y="47"/>
                </a:cubicBezTo>
                <a:cubicBezTo>
                  <a:pt x="33" y="39"/>
                  <a:pt x="33" y="39"/>
                  <a:pt x="33" y="39"/>
                </a:cubicBezTo>
                <a:cubicBezTo>
                  <a:pt x="30" y="36"/>
                  <a:pt x="30" y="36"/>
                  <a:pt x="30" y="36"/>
                </a:cubicBezTo>
                <a:lnTo>
                  <a:pt x="22" y="45"/>
                </a:lnTo>
                <a:close/>
                <a:moveTo>
                  <a:pt x="23" y="24"/>
                </a:moveTo>
                <a:cubicBezTo>
                  <a:pt x="26" y="24"/>
                  <a:pt x="28" y="21"/>
                  <a:pt x="28" y="19"/>
                </a:cubicBezTo>
                <a:cubicBezTo>
                  <a:pt x="28" y="16"/>
                  <a:pt x="26" y="14"/>
                  <a:pt x="23" y="14"/>
                </a:cubicBezTo>
                <a:cubicBezTo>
                  <a:pt x="20" y="14"/>
                  <a:pt x="18" y="16"/>
                  <a:pt x="18" y="19"/>
                </a:cubicBezTo>
                <a:cubicBezTo>
                  <a:pt x="18" y="21"/>
                  <a:pt x="20" y="24"/>
                  <a:pt x="23" y="24"/>
                </a:cubicBezTo>
                <a:close/>
                <a:moveTo>
                  <a:pt x="61" y="93"/>
                </a:moveTo>
                <a:cubicBezTo>
                  <a:pt x="50" y="104"/>
                  <a:pt x="50" y="104"/>
                  <a:pt x="50" y="104"/>
                </a:cubicBezTo>
                <a:cubicBezTo>
                  <a:pt x="48" y="107"/>
                  <a:pt x="48" y="107"/>
                  <a:pt x="48" y="107"/>
                </a:cubicBezTo>
                <a:cubicBezTo>
                  <a:pt x="40" y="114"/>
                  <a:pt x="40" y="114"/>
                  <a:pt x="40" y="114"/>
                </a:cubicBezTo>
                <a:cubicBezTo>
                  <a:pt x="14" y="88"/>
                  <a:pt x="14" y="88"/>
                  <a:pt x="14" y="88"/>
                </a:cubicBezTo>
                <a:cubicBezTo>
                  <a:pt x="21" y="80"/>
                  <a:pt x="21" y="80"/>
                  <a:pt x="21" y="80"/>
                </a:cubicBezTo>
                <a:cubicBezTo>
                  <a:pt x="35" y="67"/>
                  <a:pt x="35" y="67"/>
                  <a:pt x="35" y="67"/>
                </a:cubicBezTo>
                <a:cubicBezTo>
                  <a:pt x="35" y="67"/>
                  <a:pt x="35" y="67"/>
                  <a:pt x="35" y="67"/>
                </a:cubicBezTo>
                <a:cubicBezTo>
                  <a:pt x="62" y="40"/>
                  <a:pt x="62" y="40"/>
                  <a:pt x="62" y="40"/>
                </a:cubicBezTo>
                <a:cubicBezTo>
                  <a:pt x="62" y="40"/>
                  <a:pt x="62" y="40"/>
                  <a:pt x="62" y="40"/>
                </a:cubicBezTo>
                <a:cubicBezTo>
                  <a:pt x="98" y="3"/>
                  <a:pt x="98" y="3"/>
                  <a:pt x="98" y="3"/>
                </a:cubicBezTo>
                <a:cubicBezTo>
                  <a:pt x="100" y="1"/>
                  <a:pt x="103" y="0"/>
                  <a:pt x="105" y="0"/>
                </a:cubicBezTo>
                <a:cubicBezTo>
                  <a:pt x="108" y="0"/>
                  <a:pt x="110" y="0"/>
                  <a:pt x="111" y="2"/>
                </a:cubicBezTo>
                <a:cubicBezTo>
                  <a:pt x="126" y="17"/>
                  <a:pt x="126" y="17"/>
                  <a:pt x="126" y="17"/>
                </a:cubicBezTo>
                <a:cubicBezTo>
                  <a:pt x="129" y="20"/>
                  <a:pt x="128" y="26"/>
                  <a:pt x="125" y="29"/>
                </a:cubicBezTo>
                <a:cubicBezTo>
                  <a:pt x="88" y="66"/>
                  <a:pt x="88" y="66"/>
                  <a:pt x="88" y="66"/>
                </a:cubicBezTo>
                <a:cubicBezTo>
                  <a:pt x="88" y="66"/>
                  <a:pt x="88" y="66"/>
                  <a:pt x="88" y="66"/>
                </a:cubicBezTo>
                <a:cubicBezTo>
                  <a:pt x="61" y="93"/>
                  <a:pt x="61" y="93"/>
                  <a:pt x="61" y="93"/>
                </a:cubicBezTo>
                <a:close/>
                <a:moveTo>
                  <a:pt x="120" y="24"/>
                </a:moveTo>
                <a:cubicBezTo>
                  <a:pt x="120" y="24"/>
                  <a:pt x="120" y="24"/>
                  <a:pt x="120" y="24"/>
                </a:cubicBezTo>
                <a:cubicBezTo>
                  <a:pt x="120" y="23"/>
                  <a:pt x="120" y="23"/>
                  <a:pt x="120" y="23"/>
                </a:cubicBezTo>
                <a:cubicBezTo>
                  <a:pt x="105" y="8"/>
                  <a:pt x="105" y="8"/>
                  <a:pt x="105" y="8"/>
                </a:cubicBezTo>
                <a:cubicBezTo>
                  <a:pt x="105" y="8"/>
                  <a:pt x="105" y="8"/>
                  <a:pt x="104" y="8"/>
                </a:cubicBezTo>
                <a:cubicBezTo>
                  <a:pt x="104" y="8"/>
                  <a:pt x="104" y="8"/>
                  <a:pt x="104" y="8"/>
                </a:cubicBezTo>
                <a:cubicBezTo>
                  <a:pt x="67" y="45"/>
                  <a:pt x="67" y="45"/>
                  <a:pt x="67" y="45"/>
                </a:cubicBezTo>
                <a:cubicBezTo>
                  <a:pt x="57" y="55"/>
                  <a:pt x="57" y="55"/>
                  <a:pt x="57" y="55"/>
                </a:cubicBezTo>
                <a:cubicBezTo>
                  <a:pt x="45" y="67"/>
                  <a:pt x="45" y="67"/>
                  <a:pt x="45" y="67"/>
                </a:cubicBezTo>
                <a:cubicBezTo>
                  <a:pt x="26" y="85"/>
                  <a:pt x="26" y="85"/>
                  <a:pt x="26" y="85"/>
                </a:cubicBezTo>
                <a:cubicBezTo>
                  <a:pt x="26" y="86"/>
                  <a:pt x="26" y="87"/>
                  <a:pt x="26" y="87"/>
                </a:cubicBezTo>
                <a:cubicBezTo>
                  <a:pt x="31" y="92"/>
                  <a:pt x="31" y="92"/>
                  <a:pt x="31" y="92"/>
                </a:cubicBezTo>
                <a:cubicBezTo>
                  <a:pt x="41" y="102"/>
                  <a:pt x="41" y="102"/>
                  <a:pt x="41" y="102"/>
                </a:cubicBezTo>
                <a:cubicBezTo>
                  <a:pt x="41" y="102"/>
                  <a:pt x="42" y="102"/>
                  <a:pt x="42" y="102"/>
                </a:cubicBezTo>
                <a:cubicBezTo>
                  <a:pt x="42" y="102"/>
                  <a:pt x="42" y="102"/>
                  <a:pt x="43" y="102"/>
                </a:cubicBezTo>
                <a:lnTo>
                  <a:pt x="120" y="24"/>
                </a:lnTo>
                <a:close/>
                <a:moveTo>
                  <a:pt x="77" y="100"/>
                </a:moveTo>
                <a:cubicBezTo>
                  <a:pt x="80" y="103"/>
                  <a:pt x="80" y="103"/>
                  <a:pt x="80" y="103"/>
                </a:cubicBezTo>
                <a:cubicBezTo>
                  <a:pt x="88" y="95"/>
                  <a:pt x="88" y="95"/>
                  <a:pt x="88" y="95"/>
                </a:cubicBezTo>
                <a:cubicBezTo>
                  <a:pt x="91" y="97"/>
                  <a:pt x="91" y="97"/>
                  <a:pt x="91" y="97"/>
                </a:cubicBezTo>
                <a:cubicBezTo>
                  <a:pt x="83" y="105"/>
                  <a:pt x="83" y="105"/>
                  <a:pt x="83" y="105"/>
                </a:cubicBezTo>
                <a:cubicBezTo>
                  <a:pt x="90" y="113"/>
                  <a:pt x="90" y="113"/>
                  <a:pt x="90" y="113"/>
                </a:cubicBezTo>
                <a:cubicBezTo>
                  <a:pt x="98" y="105"/>
                  <a:pt x="98" y="105"/>
                  <a:pt x="98" y="105"/>
                </a:cubicBezTo>
                <a:cubicBezTo>
                  <a:pt x="101" y="107"/>
                  <a:pt x="101" y="107"/>
                  <a:pt x="101" y="107"/>
                </a:cubicBezTo>
                <a:cubicBezTo>
                  <a:pt x="93" y="116"/>
                  <a:pt x="93" y="116"/>
                  <a:pt x="93" y="116"/>
                </a:cubicBezTo>
                <a:cubicBezTo>
                  <a:pt x="105" y="128"/>
                  <a:pt x="105" y="128"/>
                  <a:pt x="105" y="128"/>
                </a:cubicBezTo>
                <a:cubicBezTo>
                  <a:pt x="128" y="105"/>
                  <a:pt x="128" y="105"/>
                  <a:pt x="128" y="105"/>
                </a:cubicBezTo>
                <a:cubicBezTo>
                  <a:pt x="94" y="71"/>
                  <a:pt x="94" y="71"/>
                  <a:pt x="94" y="71"/>
                </a:cubicBezTo>
                <a:cubicBezTo>
                  <a:pt x="71" y="94"/>
                  <a:pt x="71" y="94"/>
                  <a:pt x="71" y="94"/>
                </a:cubicBezTo>
                <a:cubicBezTo>
                  <a:pt x="75" y="98"/>
                  <a:pt x="75" y="98"/>
                  <a:pt x="75" y="9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111">
            <a:extLst>
              <a:ext uri="{FF2B5EF4-FFF2-40B4-BE49-F238E27FC236}">
                <a16:creationId xmlns:a16="http://schemas.microsoft.com/office/drawing/2014/main" id="{E645DB56-A652-412D-A54F-D3D8A020EE15}"/>
              </a:ext>
            </a:extLst>
          </p:cNvPr>
          <p:cNvSpPr>
            <a:spLocks noEditPoints="1"/>
          </p:cNvSpPr>
          <p:nvPr/>
        </p:nvSpPr>
        <p:spPr bwMode="auto">
          <a:xfrm>
            <a:off x="5031545" y="4103329"/>
            <a:ext cx="362620" cy="361230"/>
          </a:xfrm>
          <a:custGeom>
            <a:avLst/>
            <a:gdLst>
              <a:gd name="T0" fmla="*/ 41 w 261"/>
              <a:gd name="T1" fmla="*/ 16 h 260"/>
              <a:gd name="T2" fmla="*/ 41 w 261"/>
              <a:gd name="T3" fmla="*/ 77 h 260"/>
              <a:gd name="T4" fmla="*/ 90 w 261"/>
              <a:gd name="T5" fmla="*/ 106 h 260"/>
              <a:gd name="T6" fmla="*/ 139 w 261"/>
              <a:gd name="T7" fmla="*/ 77 h 260"/>
              <a:gd name="T8" fmla="*/ 139 w 261"/>
              <a:gd name="T9" fmla="*/ 16 h 260"/>
              <a:gd name="T10" fmla="*/ 143 w 261"/>
              <a:gd name="T11" fmla="*/ 16 h 260"/>
              <a:gd name="T12" fmla="*/ 163 w 261"/>
              <a:gd name="T13" fmla="*/ 53 h 260"/>
              <a:gd name="T14" fmla="*/ 163 w 261"/>
              <a:gd name="T15" fmla="*/ 116 h 260"/>
              <a:gd name="T16" fmla="*/ 106 w 261"/>
              <a:gd name="T17" fmla="*/ 148 h 260"/>
              <a:gd name="T18" fmla="*/ 106 w 261"/>
              <a:gd name="T19" fmla="*/ 244 h 260"/>
              <a:gd name="T20" fmla="*/ 73 w 261"/>
              <a:gd name="T21" fmla="*/ 244 h 260"/>
              <a:gd name="T22" fmla="*/ 73 w 261"/>
              <a:gd name="T23" fmla="*/ 148 h 260"/>
              <a:gd name="T24" fmla="*/ 16 w 261"/>
              <a:gd name="T25" fmla="*/ 116 h 260"/>
              <a:gd name="T26" fmla="*/ 16 w 261"/>
              <a:gd name="T27" fmla="*/ 53 h 260"/>
              <a:gd name="T28" fmla="*/ 37 w 261"/>
              <a:gd name="T29" fmla="*/ 16 h 260"/>
              <a:gd name="T30" fmla="*/ 41 w 261"/>
              <a:gd name="T31" fmla="*/ 16 h 260"/>
              <a:gd name="T32" fmla="*/ 151 w 261"/>
              <a:gd name="T33" fmla="*/ 0 h 260"/>
              <a:gd name="T34" fmla="*/ 122 w 261"/>
              <a:gd name="T35" fmla="*/ 0 h 260"/>
              <a:gd name="T36" fmla="*/ 122 w 261"/>
              <a:gd name="T37" fmla="*/ 67 h 260"/>
              <a:gd name="T38" fmla="*/ 90 w 261"/>
              <a:gd name="T39" fmla="*/ 87 h 260"/>
              <a:gd name="T40" fmla="*/ 57 w 261"/>
              <a:gd name="T41" fmla="*/ 67 h 260"/>
              <a:gd name="T42" fmla="*/ 57 w 261"/>
              <a:gd name="T43" fmla="*/ 0 h 260"/>
              <a:gd name="T44" fmla="*/ 29 w 261"/>
              <a:gd name="T45" fmla="*/ 0 h 260"/>
              <a:gd name="T46" fmla="*/ 0 w 261"/>
              <a:gd name="T47" fmla="*/ 49 h 260"/>
              <a:gd name="T48" fmla="*/ 0 w 261"/>
              <a:gd name="T49" fmla="*/ 126 h 260"/>
              <a:gd name="T50" fmla="*/ 57 w 261"/>
              <a:gd name="T51" fmla="*/ 158 h 260"/>
              <a:gd name="T52" fmla="*/ 57 w 261"/>
              <a:gd name="T53" fmla="*/ 260 h 260"/>
              <a:gd name="T54" fmla="*/ 122 w 261"/>
              <a:gd name="T55" fmla="*/ 260 h 260"/>
              <a:gd name="T56" fmla="*/ 122 w 261"/>
              <a:gd name="T57" fmla="*/ 158 h 260"/>
              <a:gd name="T58" fmla="*/ 179 w 261"/>
              <a:gd name="T59" fmla="*/ 126 h 260"/>
              <a:gd name="T60" fmla="*/ 179 w 261"/>
              <a:gd name="T61" fmla="*/ 49 h 260"/>
              <a:gd name="T62" fmla="*/ 151 w 261"/>
              <a:gd name="T63" fmla="*/ 0 h 260"/>
              <a:gd name="T64" fmla="*/ 151 w 261"/>
              <a:gd name="T65" fmla="*/ 0 h 260"/>
              <a:gd name="T66" fmla="*/ 212 w 261"/>
              <a:gd name="T67" fmla="*/ 167 h 260"/>
              <a:gd name="T68" fmla="*/ 245 w 261"/>
              <a:gd name="T69" fmla="*/ 185 h 260"/>
              <a:gd name="T70" fmla="*/ 245 w 261"/>
              <a:gd name="T71" fmla="*/ 221 h 260"/>
              <a:gd name="T72" fmla="*/ 212 w 261"/>
              <a:gd name="T73" fmla="*/ 240 h 260"/>
              <a:gd name="T74" fmla="*/ 179 w 261"/>
              <a:gd name="T75" fmla="*/ 221 h 260"/>
              <a:gd name="T76" fmla="*/ 179 w 261"/>
              <a:gd name="T77" fmla="*/ 185 h 260"/>
              <a:gd name="T78" fmla="*/ 212 w 261"/>
              <a:gd name="T79" fmla="*/ 167 h 260"/>
              <a:gd name="T80" fmla="*/ 212 w 261"/>
              <a:gd name="T81" fmla="*/ 146 h 260"/>
              <a:gd name="T82" fmla="*/ 163 w 261"/>
              <a:gd name="T83" fmla="*/ 175 h 260"/>
              <a:gd name="T84" fmla="*/ 163 w 261"/>
              <a:gd name="T85" fmla="*/ 231 h 260"/>
              <a:gd name="T86" fmla="*/ 212 w 261"/>
              <a:gd name="T87" fmla="*/ 260 h 260"/>
              <a:gd name="T88" fmla="*/ 261 w 261"/>
              <a:gd name="T89" fmla="*/ 231 h 260"/>
              <a:gd name="T90" fmla="*/ 261 w 261"/>
              <a:gd name="T91" fmla="*/ 175 h 260"/>
              <a:gd name="T92" fmla="*/ 212 w 261"/>
              <a:gd name="T93" fmla="*/ 146 h 260"/>
              <a:gd name="T94" fmla="*/ 212 w 261"/>
              <a:gd name="T95" fmla="*/ 146 h 260"/>
              <a:gd name="T96" fmla="*/ 212 w 261"/>
              <a:gd name="T97" fmla="*/ 185 h 260"/>
              <a:gd name="T98" fmla="*/ 196 w 261"/>
              <a:gd name="T99" fmla="*/ 193 h 260"/>
              <a:gd name="T100" fmla="*/ 196 w 261"/>
              <a:gd name="T101" fmla="*/ 213 h 260"/>
              <a:gd name="T102" fmla="*/ 212 w 261"/>
              <a:gd name="T103" fmla="*/ 221 h 260"/>
              <a:gd name="T104" fmla="*/ 228 w 261"/>
              <a:gd name="T105" fmla="*/ 213 h 260"/>
              <a:gd name="T106" fmla="*/ 228 w 261"/>
              <a:gd name="T107" fmla="*/ 193 h 260"/>
              <a:gd name="T108" fmla="*/ 212 w 261"/>
              <a:gd name="T109" fmla="*/ 185 h 260"/>
              <a:gd name="T110" fmla="*/ 212 w 261"/>
              <a:gd name="T111" fmla="*/ 18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1" h="260">
                <a:moveTo>
                  <a:pt x="41" y="16"/>
                </a:moveTo>
                <a:lnTo>
                  <a:pt x="41" y="77"/>
                </a:lnTo>
                <a:lnTo>
                  <a:pt x="90" y="106"/>
                </a:lnTo>
                <a:lnTo>
                  <a:pt x="139" y="77"/>
                </a:lnTo>
                <a:lnTo>
                  <a:pt x="139" y="16"/>
                </a:lnTo>
                <a:lnTo>
                  <a:pt x="143" y="16"/>
                </a:lnTo>
                <a:lnTo>
                  <a:pt x="163" y="53"/>
                </a:lnTo>
                <a:lnTo>
                  <a:pt x="163" y="116"/>
                </a:lnTo>
                <a:lnTo>
                  <a:pt x="106" y="148"/>
                </a:lnTo>
                <a:lnTo>
                  <a:pt x="106" y="244"/>
                </a:lnTo>
                <a:lnTo>
                  <a:pt x="73" y="244"/>
                </a:lnTo>
                <a:lnTo>
                  <a:pt x="73" y="148"/>
                </a:lnTo>
                <a:lnTo>
                  <a:pt x="16" y="116"/>
                </a:lnTo>
                <a:lnTo>
                  <a:pt x="16" y="53"/>
                </a:lnTo>
                <a:lnTo>
                  <a:pt x="37" y="16"/>
                </a:lnTo>
                <a:lnTo>
                  <a:pt x="41" y="16"/>
                </a:lnTo>
                <a:close/>
                <a:moveTo>
                  <a:pt x="151" y="0"/>
                </a:moveTo>
                <a:lnTo>
                  <a:pt x="122" y="0"/>
                </a:lnTo>
                <a:lnTo>
                  <a:pt x="122" y="67"/>
                </a:lnTo>
                <a:lnTo>
                  <a:pt x="90" y="87"/>
                </a:lnTo>
                <a:lnTo>
                  <a:pt x="57" y="67"/>
                </a:lnTo>
                <a:lnTo>
                  <a:pt x="57" y="0"/>
                </a:lnTo>
                <a:lnTo>
                  <a:pt x="29" y="0"/>
                </a:lnTo>
                <a:lnTo>
                  <a:pt x="0" y="49"/>
                </a:lnTo>
                <a:lnTo>
                  <a:pt x="0" y="126"/>
                </a:lnTo>
                <a:lnTo>
                  <a:pt x="57" y="158"/>
                </a:lnTo>
                <a:lnTo>
                  <a:pt x="57" y="260"/>
                </a:lnTo>
                <a:lnTo>
                  <a:pt x="122" y="260"/>
                </a:lnTo>
                <a:lnTo>
                  <a:pt x="122" y="158"/>
                </a:lnTo>
                <a:lnTo>
                  <a:pt x="179" y="126"/>
                </a:lnTo>
                <a:lnTo>
                  <a:pt x="179" y="49"/>
                </a:lnTo>
                <a:lnTo>
                  <a:pt x="151" y="0"/>
                </a:lnTo>
                <a:lnTo>
                  <a:pt x="151" y="0"/>
                </a:lnTo>
                <a:close/>
                <a:moveTo>
                  <a:pt x="212" y="167"/>
                </a:moveTo>
                <a:lnTo>
                  <a:pt x="245" y="185"/>
                </a:lnTo>
                <a:lnTo>
                  <a:pt x="245" y="221"/>
                </a:lnTo>
                <a:lnTo>
                  <a:pt x="212" y="240"/>
                </a:lnTo>
                <a:lnTo>
                  <a:pt x="179" y="221"/>
                </a:lnTo>
                <a:lnTo>
                  <a:pt x="179" y="185"/>
                </a:lnTo>
                <a:lnTo>
                  <a:pt x="212" y="167"/>
                </a:lnTo>
                <a:close/>
                <a:moveTo>
                  <a:pt x="212" y="146"/>
                </a:moveTo>
                <a:lnTo>
                  <a:pt x="163" y="175"/>
                </a:lnTo>
                <a:lnTo>
                  <a:pt x="163" y="231"/>
                </a:lnTo>
                <a:lnTo>
                  <a:pt x="212" y="260"/>
                </a:lnTo>
                <a:lnTo>
                  <a:pt x="261" y="231"/>
                </a:lnTo>
                <a:lnTo>
                  <a:pt x="261" y="175"/>
                </a:lnTo>
                <a:lnTo>
                  <a:pt x="212" y="146"/>
                </a:lnTo>
                <a:lnTo>
                  <a:pt x="212" y="146"/>
                </a:lnTo>
                <a:close/>
                <a:moveTo>
                  <a:pt x="212" y="185"/>
                </a:moveTo>
                <a:lnTo>
                  <a:pt x="196" y="193"/>
                </a:lnTo>
                <a:lnTo>
                  <a:pt x="196" y="213"/>
                </a:lnTo>
                <a:lnTo>
                  <a:pt x="212" y="221"/>
                </a:lnTo>
                <a:lnTo>
                  <a:pt x="228" y="213"/>
                </a:lnTo>
                <a:lnTo>
                  <a:pt x="228" y="193"/>
                </a:lnTo>
                <a:lnTo>
                  <a:pt x="212" y="185"/>
                </a:lnTo>
                <a:lnTo>
                  <a:pt x="212" y="18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Freeform 116">
            <a:extLst>
              <a:ext uri="{FF2B5EF4-FFF2-40B4-BE49-F238E27FC236}">
                <a16:creationId xmlns:a16="http://schemas.microsoft.com/office/drawing/2014/main" id="{BCA38C21-E926-4BC7-BAFB-D7D26E548C35}"/>
              </a:ext>
            </a:extLst>
          </p:cNvPr>
          <p:cNvSpPr>
            <a:spLocks noEditPoints="1"/>
          </p:cNvSpPr>
          <p:nvPr/>
        </p:nvSpPr>
        <p:spPr bwMode="auto">
          <a:xfrm>
            <a:off x="6132555" y="4101939"/>
            <a:ext cx="251472" cy="362620"/>
          </a:xfrm>
          <a:custGeom>
            <a:avLst/>
            <a:gdLst>
              <a:gd name="T0" fmla="*/ 72 w 88"/>
              <a:gd name="T1" fmla="*/ 64 h 128"/>
              <a:gd name="T2" fmla="*/ 16 w 88"/>
              <a:gd name="T3" fmla="*/ 64 h 128"/>
              <a:gd name="T4" fmla="*/ 16 w 88"/>
              <a:gd name="T5" fmla="*/ 32 h 128"/>
              <a:gd name="T6" fmla="*/ 72 w 88"/>
              <a:gd name="T7" fmla="*/ 32 h 128"/>
              <a:gd name="T8" fmla="*/ 72 w 88"/>
              <a:gd name="T9" fmla="*/ 64 h 128"/>
              <a:gd name="T10" fmla="*/ 44 w 88"/>
              <a:gd name="T11" fmla="*/ 80 h 128"/>
              <a:gd name="T12" fmla="*/ 36 w 88"/>
              <a:gd name="T13" fmla="*/ 88 h 128"/>
              <a:gd name="T14" fmla="*/ 44 w 88"/>
              <a:gd name="T15" fmla="*/ 96 h 128"/>
              <a:gd name="T16" fmla="*/ 52 w 88"/>
              <a:gd name="T17" fmla="*/ 88 h 128"/>
              <a:gd name="T18" fmla="*/ 44 w 88"/>
              <a:gd name="T19" fmla="*/ 80 h 128"/>
              <a:gd name="T20" fmla="*/ 76 w 88"/>
              <a:gd name="T21" fmla="*/ 0 h 128"/>
              <a:gd name="T22" fmla="*/ 12 w 88"/>
              <a:gd name="T23" fmla="*/ 0 h 128"/>
              <a:gd name="T24" fmla="*/ 12 w 88"/>
              <a:gd name="T25" fmla="*/ 8 h 128"/>
              <a:gd name="T26" fmla="*/ 76 w 88"/>
              <a:gd name="T27" fmla="*/ 8 h 128"/>
              <a:gd name="T28" fmla="*/ 76 w 88"/>
              <a:gd name="T29" fmla="*/ 0 h 128"/>
              <a:gd name="T30" fmla="*/ 80 w 88"/>
              <a:gd name="T31" fmla="*/ 120 h 128"/>
              <a:gd name="T32" fmla="*/ 8 w 88"/>
              <a:gd name="T33" fmla="*/ 120 h 128"/>
              <a:gd name="T34" fmla="*/ 8 w 88"/>
              <a:gd name="T35" fmla="*/ 128 h 128"/>
              <a:gd name="T36" fmla="*/ 80 w 88"/>
              <a:gd name="T37" fmla="*/ 128 h 128"/>
              <a:gd name="T38" fmla="*/ 80 w 88"/>
              <a:gd name="T39" fmla="*/ 120 h 128"/>
              <a:gd name="T40" fmla="*/ 80 w 88"/>
              <a:gd name="T41" fmla="*/ 24 h 128"/>
              <a:gd name="T42" fmla="*/ 8 w 88"/>
              <a:gd name="T43" fmla="*/ 24 h 128"/>
              <a:gd name="T44" fmla="*/ 8 w 88"/>
              <a:gd name="T45" fmla="*/ 108 h 128"/>
              <a:gd name="T46" fmla="*/ 80 w 88"/>
              <a:gd name="T47" fmla="*/ 108 h 128"/>
              <a:gd name="T48" fmla="*/ 80 w 88"/>
              <a:gd name="T49" fmla="*/ 24 h 128"/>
              <a:gd name="T50" fmla="*/ 88 w 88"/>
              <a:gd name="T51" fmla="*/ 16 h 128"/>
              <a:gd name="T52" fmla="*/ 88 w 88"/>
              <a:gd name="T53" fmla="*/ 116 h 128"/>
              <a:gd name="T54" fmla="*/ 0 w 88"/>
              <a:gd name="T55" fmla="*/ 116 h 128"/>
              <a:gd name="T56" fmla="*/ 0 w 88"/>
              <a:gd name="T57" fmla="*/ 16 h 128"/>
              <a:gd name="T58" fmla="*/ 88 w 88"/>
              <a:gd name="T59"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8" h="128">
                <a:moveTo>
                  <a:pt x="72" y="64"/>
                </a:moveTo>
                <a:cubicBezTo>
                  <a:pt x="16" y="64"/>
                  <a:pt x="16" y="64"/>
                  <a:pt x="16" y="64"/>
                </a:cubicBezTo>
                <a:cubicBezTo>
                  <a:pt x="16" y="32"/>
                  <a:pt x="16" y="32"/>
                  <a:pt x="16" y="32"/>
                </a:cubicBezTo>
                <a:cubicBezTo>
                  <a:pt x="72" y="32"/>
                  <a:pt x="72" y="32"/>
                  <a:pt x="72" y="32"/>
                </a:cubicBezTo>
                <a:lnTo>
                  <a:pt x="72" y="64"/>
                </a:lnTo>
                <a:close/>
                <a:moveTo>
                  <a:pt x="44" y="80"/>
                </a:moveTo>
                <a:cubicBezTo>
                  <a:pt x="40" y="80"/>
                  <a:pt x="36" y="84"/>
                  <a:pt x="36" y="88"/>
                </a:cubicBezTo>
                <a:cubicBezTo>
                  <a:pt x="36" y="92"/>
                  <a:pt x="40" y="96"/>
                  <a:pt x="44" y="96"/>
                </a:cubicBezTo>
                <a:cubicBezTo>
                  <a:pt x="48" y="96"/>
                  <a:pt x="52" y="92"/>
                  <a:pt x="52" y="88"/>
                </a:cubicBezTo>
                <a:cubicBezTo>
                  <a:pt x="52" y="84"/>
                  <a:pt x="48" y="80"/>
                  <a:pt x="44" y="80"/>
                </a:cubicBezTo>
                <a:close/>
                <a:moveTo>
                  <a:pt x="76" y="0"/>
                </a:moveTo>
                <a:cubicBezTo>
                  <a:pt x="12" y="0"/>
                  <a:pt x="12" y="0"/>
                  <a:pt x="12" y="0"/>
                </a:cubicBezTo>
                <a:cubicBezTo>
                  <a:pt x="12" y="8"/>
                  <a:pt x="12" y="8"/>
                  <a:pt x="12" y="8"/>
                </a:cubicBezTo>
                <a:cubicBezTo>
                  <a:pt x="76" y="8"/>
                  <a:pt x="76" y="8"/>
                  <a:pt x="76" y="8"/>
                </a:cubicBezTo>
                <a:lnTo>
                  <a:pt x="76" y="0"/>
                </a:lnTo>
                <a:close/>
                <a:moveTo>
                  <a:pt x="80" y="120"/>
                </a:moveTo>
                <a:cubicBezTo>
                  <a:pt x="8" y="120"/>
                  <a:pt x="8" y="120"/>
                  <a:pt x="8" y="120"/>
                </a:cubicBezTo>
                <a:cubicBezTo>
                  <a:pt x="8" y="128"/>
                  <a:pt x="8" y="128"/>
                  <a:pt x="8" y="128"/>
                </a:cubicBezTo>
                <a:cubicBezTo>
                  <a:pt x="80" y="128"/>
                  <a:pt x="80" y="128"/>
                  <a:pt x="80" y="128"/>
                </a:cubicBezTo>
                <a:lnTo>
                  <a:pt x="80" y="120"/>
                </a:lnTo>
                <a:close/>
                <a:moveTo>
                  <a:pt x="80" y="24"/>
                </a:moveTo>
                <a:cubicBezTo>
                  <a:pt x="8" y="24"/>
                  <a:pt x="8" y="24"/>
                  <a:pt x="8" y="24"/>
                </a:cubicBezTo>
                <a:cubicBezTo>
                  <a:pt x="8" y="108"/>
                  <a:pt x="8" y="108"/>
                  <a:pt x="8" y="108"/>
                </a:cubicBezTo>
                <a:cubicBezTo>
                  <a:pt x="80" y="108"/>
                  <a:pt x="80" y="108"/>
                  <a:pt x="80" y="108"/>
                </a:cubicBezTo>
                <a:cubicBezTo>
                  <a:pt x="80" y="24"/>
                  <a:pt x="80" y="24"/>
                  <a:pt x="80" y="24"/>
                </a:cubicBezTo>
                <a:moveTo>
                  <a:pt x="88" y="16"/>
                </a:moveTo>
                <a:cubicBezTo>
                  <a:pt x="88" y="116"/>
                  <a:pt x="88" y="116"/>
                  <a:pt x="88" y="116"/>
                </a:cubicBezTo>
                <a:cubicBezTo>
                  <a:pt x="0" y="116"/>
                  <a:pt x="0" y="116"/>
                  <a:pt x="0" y="116"/>
                </a:cubicBezTo>
                <a:cubicBezTo>
                  <a:pt x="0" y="16"/>
                  <a:pt x="0" y="16"/>
                  <a:pt x="0" y="16"/>
                </a:cubicBezTo>
                <a:cubicBezTo>
                  <a:pt x="88" y="16"/>
                  <a:pt x="88" y="16"/>
                  <a:pt x="88"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3" name="Freeform 120">
            <a:extLst>
              <a:ext uri="{FF2B5EF4-FFF2-40B4-BE49-F238E27FC236}">
                <a16:creationId xmlns:a16="http://schemas.microsoft.com/office/drawing/2014/main" id="{2D3BB8A6-492A-4561-A7B3-75FEE59B8943}"/>
              </a:ext>
            </a:extLst>
          </p:cNvPr>
          <p:cNvSpPr>
            <a:spLocks noEditPoints="1"/>
          </p:cNvSpPr>
          <p:nvPr/>
        </p:nvSpPr>
        <p:spPr bwMode="auto">
          <a:xfrm>
            <a:off x="7150102" y="4103329"/>
            <a:ext cx="305656" cy="361230"/>
          </a:xfrm>
          <a:custGeom>
            <a:avLst/>
            <a:gdLst>
              <a:gd name="T0" fmla="*/ 108 w 108"/>
              <a:gd name="T1" fmla="*/ 63 h 128"/>
              <a:gd name="T2" fmla="*/ 104 w 108"/>
              <a:gd name="T3" fmla="*/ 44 h 128"/>
              <a:gd name="T4" fmla="*/ 104 w 108"/>
              <a:gd name="T5" fmla="*/ 12 h 128"/>
              <a:gd name="T6" fmla="*/ 64 w 108"/>
              <a:gd name="T7" fmla="*/ 12 h 128"/>
              <a:gd name="T8" fmla="*/ 64 w 108"/>
              <a:gd name="T9" fmla="*/ 52 h 128"/>
              <a:gd name="T10" fmla="*/ 97 w 108"/>
              <a:gd name="T11" fmla="*/ 52 h 128"/>
              <a:gd name="T12" fmla="*/ 99 w 108"/>
              <a:gd name="T13" fmla="*/ 63 h 128"/>
              <a:gd name="T14" fmla="*/ 67 w 108"/>
              <a:gd name="T15" fmla="*/ 105 h 128"/>
              <a:gd name="T16" fmla="*/ 67 w 108"/>
              <a:gd name="T17" fmla="*/ 105 h 128"/>
              <a:gd name="T18" fmla="*/ 73 w 108"/>
              <a:gd name="T19" fmla="*/ 92 h 128"/>
              <a:gd name="T20" fmla="*/ 65 w 108"/>
              <a:gd name="T21" fmla="*/ 88 h 128"/>
              <a:gd name="T22" fmla="*/ 53 w 108"/>
              <a:gd name="T23" fmla="*/ 116 h 128"/>
              <a:gd name="T24" fmla="*/ 81 w 108"/>
              <a:gd name="T25" fmla="*/ 128 h 128"/>
              <a:gd name="T26" fmla="*/ 84 w 108"/>
              <a:gd name="T27" fmla="*/ 120 h 128"/>
              <a:gd name="T28" fmla="*/ 69 w 108"/>
              <a:gd name="T29" fmla="*/ 114 h 128"/>
              <a:gd name="T30" fmla="*/ 108 w 108"/>
              <a:gd name="T31" fmla="*/ 63 h 128"/>
              <a:gd name="T32" fmla="*/ 72 w 108"/>
              <a:gd name="T33" fmla="*/ 44 h 128"/>
              <a:gd name="T34" fmla="*/ 72 w 108"/>
              <a:gd name="T35" fmla="*/ 20 h 128"/>
              <a:gd name="T36" fmla="*/ 96 w 108"/>
              <a:gd name="T37" fmla="*/ 20 h 128"/>
              <a:gd name="T38" fmla="*/ 96 w 108"/>
              <a:gd name="T39" fmla="*/ 44 h 128"/>
              <a:gd name="T40" fmla="*/ 72 w 108"/>
              <a:gd name="T41" fmla="*/ 44 h 128"/>
              <a:gd name="T42" fmla="*/ 47 w 108"/>
              <a:gd name="T43" fmla="*/ 108 h 128"/>
              <a:gd name="T44" fmla="*/ 47 w 108"/>
              <a:gd name="T45" fmla="*/ 107 h 128"/>
              <a:gd name="T46" fmla="*/ 47 w 108"/>
              <a:gd name="T47" fmla="*/ 107 h 128"/>
              <a:gd name="T48" fmla="*/ 47 w 108"/>
              <a:gd name="T49" fmla="*/ 107 h 128"/>
              <a:gd name="T50" fmla="*/ 47 w 108"/>
              <a:gd name="T51" fmla="*/ 108 h 128"/>
              <a:gd name="T52" fmla="*/ 45 w 108"/>
              <a:gd name="T53" fmla="*/ 112 h 128"/>
              <a:gd name="T54" fmla="*/ 47 w 108"/>
              <a:gd name="T55" fmla="*/ 108 h 128"/>
              <a:gd name="T56" fmla="*/ 45 w 108"/>
              <a:gd name="T57" fmla="*/ 112 h 128"/>
              <a:gd name="T58" fmla="*/ 24 w 108"/>
              <a:gd name="T59" fmla="*/ 76 h 128"/>
              <a:gd name="T60" fmla="*/ 15 w 108"/>
              <a:gd name="T61" fmla="*/ 78 h 128"/>
              <a:gd name="T62" fmla="*/ 12 w 108"/>
              <a:gd name="T63" fmla="*/ 65 h 128"/>
              <a:gd name="T64" fmla="*/ 44 w 108"/>
              <a:gd name="T65" fmla="*/ 23 h 128"/>
              <a:gd name="T66" fmla="*/ 44 w 108"/>
              <a:gd name="T67" fmla="*/ 23 h 128"/>
              <a:gd name="T68" fmla="*/ 38 w 108"/>
              <a:gd name="T69" fmla="*/ 36 h 128"/>
              <a:gd name="T70" fmla="*/ 46 w 108"/>
              <a:gd name="T71" fmla="*/ 40 h 128"/>
              <a:gd name="T72" fmla="*/ 58 w 108"/>
              <a:gd name="T73" fmla="*/ 12 h 128"/>
              <a:gd name="T74" fmla="*/ 31 w 108"/>
              <a:gd name="T75" fmla="*/ 0 h 128"/>
              <a:gd name="T76" fmla="*/ 27 w 108"/>
              <a:gd name="T77" fmla="*/ 8 h 128"/>
              <a:gd name="T78" fmla="*/ 42 w 108"/>
              <a:gd name="T79" fmla="*/ 14 h 128"/>
              <a:gd name="T80" fmla="*/ 4 w 108"/>
              <a:gd name="T81" fmla="*/ 65 h 128"/>
              <a:gd name="T82" fmla="*/ 7 w 108"/>
              <a:gd name="T83" fmla="*/ 83 h 128"/>
              <a:gd name="T84" fmla="*/ 0 w 108"/>
              <a:gd name="T85" fmla="*/ 100 h 128"/>
              <a:gd name="T86" fmla="*/ 24 w 108"/>
              <a:gd name="T87" fmla="*/ 124 h 128"/>
              <a:gd name="T88" fmla="*/ 48 w 108"/>
              <a:gd name="T89" fmla="*/ 100 h 128"/>
              <a:gd name="T90" fmla="*/ 24 w 108"/>
              <a:gd name="T91" fmla="*/ 76 h 128"/>
              <a:gd name="T92" fmla="*/ 24 w 108"/>
              <a:gd name="T93" fmla="*/ 116 h 128"/>
              <a:gd name="T94" fmla="*/ 8 w 108"/>
              <a:gd name="T95" fmla="*/ 100 h 128"/>
              <a:gd name="T96" fmla="*/ 24 w 108"/>
              <a:gd name="T97" fmla="*/ 84 h 128"/>
              <a:gd name="T98" fmla="*/ 40 w 108"/>
              <a:gd name="T99" fmla="*/ 100 h 128"/>
              <a:gd name="T100" fmla="*/ 24 w 108"/>
              <a:gd name="T101"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 h="128">
                <a:moveTo>
                  <a:pt x="108" y="63"/>
                </a:moveTo>
                <a:cubicBezTo>
                  <a:pt x="108" y="56"/>
                  <a:pt x="106" y="50"/>
                  <a:pt x="104" y="44"/>
                </a:cubicBezTo>
                <a:cubicBezTo>
                  <a:pt x="104" y="12"/>
                  <a:pt x="104" y="12"/>
                  <a:pt x="104" y="12"/>
                </a:cubicBezTo>
                <a:cubicBezTo>
                  <a:pt x="64" y="12"/>
                  <a:pt x="64" y="12"/>
                  <a:pt x="64" y="12"/>
                </a:cubicBezTo>
                <a:cubicBezTo>
                  <a:pt x="64" y="52"/>
                  <a:pt x="64" y="52"/>
                  <a:pt x="64" y="52"/>
                </a:cubicBezTo>
                <a:cubicBezTo>
                  <a:pt x="97" y="52"/>
                  <a:pt x="97" y="52"/>
                  <a:pt x="97" y="52"/>
                </a:cubicBezTo>
                <a:cubicBezTo>
                  <a:pt x="98" y="56"/>
                  <a:pt x="99" y="60"/>
                  <a:pt x="99" y="63"/>
                </a:cubicBezTo>
                <a:cubicBezTo>
                  <a:pt x="99" y="83"/>
                  <a:pt x="86" y="100"/>
                  <a:pt x="67" y="105"/>
                </a:cubicBezTo>
                <a:cubicBezTo>
                  <a:pt x="67" y="105"/>
                  <a:pt x="67" y="105"/>
                  <a:pt x="67" y="105"/>
                </a:cubicBezTo>
                <a:cubicBezTo>
                  <a:pt x="73" y="92"/>
                  <a:pt x="73" y="92"/>
                  <a:pt x="73" y="92"/>
                </a:cubicBezTo>
                <a:cubicBezTo>
                  <a:pt x="65" y="88"/>
                  <a:pt x="65" y="88"/>
                  <a:pt x="65" y="88"/>
                </a:cubicBezTo>
                <a:cubicBezTo>
                  <a:pt x="53" y="116"/>
                  <a:pt x="53" y="116"/>
                  <a:pt x="53" y="116"/>
                </a:cubicBezTo>
                <a:cubicBezTo>
                  <a:pt x="81" y="128"/>
                  <a:pt x="81" y="128"/>
                  <a:pt x="81" y="128"/>
                </a:cubicBezTo>
                <a:cubicBezTo>
                  <a:pt x="84" y="120"/>
                  <a:pt x="84" y="120"/>
                  <a:pt x="84" y="120"/>
                </a:cubicBezTo>
                <a:cubicBezTo>
                  <a:pt x="69" y="114"/>
                  <a:pt x="69" y="114"/>
                  <a:pt x="69" y="114"/>
                </a:cubicBezTo>
                <a:cubicBezTo>
                  <a:pt x="91" y="107"/>
                  <a:pt x="108" y="87"/>
                  <a:pt x="108" y="63"/>
                </a:cubicBezTo>
                <a:close/>
                <a:moveTo>
                  <a:pt x="72" y="44"/>
                </a:moveTo>
                <a:cubicBezTo>
                  <a:pt x="72" y="20"/>
                  <a:pt x="72" y="20"/>
                  <a:pt x="72" y="20"/>
                </a:cubicBezTo>
                <a:cubicBezTo>
                  <a:pt x="96" y="20"/>
                  <a:pt x="96" y="20"/>
                  <a:pt x="96" y="20"/>
                </a:cubicBezTo>
                <a:cubicBezTo>
                  <a:pt x="96" y="44"/>
                  <a:pt x="96" y="44"/>
                  <a:pt x="96" y="44"/>
                </a:cubicBezTo>
                <a:lnTo>
                  <a:pt x="72" y="44"/>
                </a:lnTo>
                <a:close/>
                <a:moveTo>
                  <a:pt x="47" y="108"/>
                </a:moveTo>
                <a:cubicBezTo>
                  <a:pt x="47" y="108"/>
                  <a:pt x="47" y="107"/>
                  <a:pt x="47" y="107"/>
                </a:cubicBezTo>
                <a:cubicBezTo>
                  <a:pt x="47" y="107"/>
                  <a:pt x="47" y="107"/>
                  <a:pt x="47" y="107"/>
                </a:cubicBezTo>
                <a:cubicBezTo>
                  <a:pt x="47" y="107"/>
                  <a:pt x="47" y="107"/>
                  <a:pt x="47" y="107"/>
                </a:cubicBezTo>
                <a:lnTo>
                  <a:pt x="47" y="108"/>
                </a:lnTo>
                <a:close/>
                <a:moveTo>
                  <a:pt x="45" y="112"/>
                </a:moveTo>
                <a:cubicBezTo>
                  <a:pt x="47" y="108"/>
                  <a:pt x="47" y="108"/>
                  <a:pt x="47" y="108"/>
                </a:cubicBezTo>
                <a:cubicBezTo>
                  <a:pt x="47" y="109"/>
                  <a:pt x="46" y="111"/>
                  <a:pt x="45" y="112"/>
                </a:cubicBezTo>
                <a:close/>
                <a:moveTo>
                  <a:pt x="24" y="76"/>
                </a:moveTo>
                <a:cubicBezTo>
                  <a:pt x="21" y="76"/>
                  <a:pt x="18" y="77"/>
                  <a:pt x="15" y="78"/>
                </a:cubicBezTo>
                <a:cubicBezTo>
                  <a:pt x="13" y="74"/>
                  <a:pt x="12" y="69"/>
                  <a:pt x="12" y="65"/>
                </a:cubicBezTo>
                <a:cubicBezTo>
                  <a:pt x="12" y="45"/>
                  <a:pt x="26" y="28"/>
                  <a:pt x="44" y="23"/>
                </a:cubicBezTo>
                <a:cubicBezTo>
                  <a:pt x="44" y="23"/>
                  <a:pt x="44" y="23"/>
                  <a:pt x="44" y="23"/>
                </a:cubicBezTo>
                <a:cubicBezTo>
                  <a:pt x="38" y="36"/>
                  <a:pt x="38" y="36"/>
                  <a:pt x="38" y="36"/>
                </a:cubicBezTo>
                <a:cubicBezTo>
                  <a:pt x="46" y="40"/>
                  <a:pt x="46" y="40"/>
                  <a:pt x="46" y="40"/>
                </a:cubicBezTo>
                <a:cubicBezTo>
                  <a:pt x="58" y="12"/>
                  <a:pt x="58" y="12"/>
                  <a:pt x="58" y="12"/>
                </a:cubicBezTo>
                <a:cubicBezTo>
                  <a:pt x="31" y="0"/>
                  <a:pt x="31" y="0"/>
                  <a:pt x="31" y="0"/>
                </a:cubicBezTo>
                <a:cubicBezTo>
                  <a:pt x="27" y="8"/>
                  <a:pt x="27" y="8"/>
                  <a:pt x="27" y="8"/>
                </a:cubicBezTo>
                <a:cubicBezTo>
                  <a:pt x="42" y="14"/>
                  <a:pt x="42" y="14"/>
                  <a:pt x="42" y="14"/>
                </a:cubicBezTo>
                <a:cubicBezTo>
                  <a:pt x="20" y="21"/>
                  <a:pt x="4" y="41"/>
                  <a:pt x="4" y="65"/>
                </a:cubicBezTo>
                <a:cubicBezTo>
                  <a:pt x="4" y="71"/>
                  <a:pt x="5" y="77"/>
                  <a:pt x="7" y="83"/>
                </a:cubicBezTo>
                <a:cubicBezTo>
                  <a:pt x="3" y="88"/>
                  <a:pt x="0" y="93"/>
                  <a:pt x="0" y="100"/>
                </a:cubicBezTo>
                <a:cubicBezTo>
                  <a:pt x="0" y="113"/>
                  <a:pt x="11" y="124"/>
                  <a:pt x="24" y="124"/>
                </a:cubicBezTo>
                <a:cubicBezTo>
                  <a:pt x="38" y="124"/>
                  <a:pt x="48" y="113"/>
                  <a:pt x="48" y="100"/>
                </a:cubicBezTo>
                <a:cubicBezTo>
                  <a:pt x="48" y="87"/>
                  <a:pt x="38" y="76"/>
                  <a:pt x="24" y="76"/>
                </a:cubicBezTo>
                <a:close/>
                <a:moveTo>
                  <a:pt x="24" y="116"/>
                </a:moveTo>
                <a:cubicBezTo>
                  <a:pt x="16" y="116"/>
                  <a:pt x="8" y="109"/>
                  <a:pt x="8" y="100"/>
                </a:cubicBezTo>
                <a:cubicBezTo>
                  <a:pt x="8" y="91"/>
                  <a:pt x="16" y="84"/>
                  <a:pt x="24" y="84"/>
                </a:cubicBezTo>
                <a:cubicBezTo>
                  <a:pt x="33" y="84"/>
                  <a:pt x="40" y="91"/>
                  <a:pt x="40" y="100"/>
                </a:cubicBezTo>
                <a:cubicBezTo>
                  <a:pt x="40" y="109"/>
                  <a:pt x="33" y="116"/>
                  <a:pt x="24" y="1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Freeform 124">
            <a:extLst>
              <a:ext uri="{FF2B5EF4-FFF2-40B4-BE49-F238E27FC236}">
                <a16:creationId xmlns:a16="http://schemas.microsoft.com/office/drawing/2014/main" id="{996793C1-C99A-4751-995E-B907BFAC1EBC}"/>
              </a:ext>
            </a:extLst>
          </p:cNvPr>
          <p:cNvSpPr>
            <a:spLocks noEditPoints="1"/>
          </p:cNvSpPr>
          <p:nvPr/>
        </p:nvSpPr>
        <p:spPr bwMode="auto">
          <a:xfrm>
            <a:off x="8168542" y="4103329"/>
            <a:ext cx="361230" cy="361230"/>
          </a:xfrm>
          <a:custGeom>
            <a:avLst/>
            <a:gdLst>
              <a:gd name="T0" fmla="*/ 107 w 128"/>
              <a:gd name="T1" fmla="*/ 36 h 128"/>
              <a:gd name="T2" fmla="*/ 64 w 128"/>
              <a:gd name="T3" fmla="*/ 0 h 128"/>
              <a:gd name="T4" fmla="*/ 21 w 128"/>
              <a:gd name="T5" fmla="*/ 36 h 128"/>
              <a:gd name="T6" fmla="*/ 0 w 128"/>
              <a:gd name="T7" fmla="*/ 68 h 128"/>
              <a:gd name="T8" fmla="*/ 38 w 128"/>
              <a:gd name="T9" fmla="*/ 104 h 128"/>
              <a:gd name="T10" fmla="*/ 56 w 128"/>
              <a:gd name="T11" fmla="*/ 104 h 128"/>
              <a:gd name="T12" fmla="*/ 56 w 128"/>
              <a:gd name="T13" fmla="*/ 128 h 128"/>
              <a:gd name="T14" fmla="*/ 72 w 128"/>
              <a:gd name="T15" fmla="*/ 128 h 128"/>
              <a:gd name="T16" fmla="*/ 72 w 128"/>
              <a:gd name="T17" fmla="*/ 104 h 128"/>
              <a:gd name="T18" fmla="*/ 91 w 128"/>
              <a:gd name="T19" fmla="*/ 104 h 128"/>
              <a:gd name="T20" fmla="*/ 91 w 128"/>
              <a:gd name="T21" fmla="*/ 104 h 128"/>
              <a:gd name="T22" fmla="*/ 128 w 128"/>
              <a:gd name="T23" fmla="*/ 68 h 128"/>
              <a:gd name="T24" fmla="*/ 107 w 128"/>
              <a:gd name="T25" fmla="*/ 36 h 128"/>
              <a:gd name="T26" fmla="*/ 90 w 128"/>
              <a:gd name="T27" fmla="*/ 96 h 128"/>
              <a:gd name="T28" fmla="*/ 38 w 128"/>
              <a:gd name="T29" fmla="*/ 96 h 128"/>
              <a:gd name="T30" fmla="*/ 8 w 128"/>
              <a:gd name="T31" fmla="*/ 68 h 128"/>
              <a:gd name="T32" fmla="*/ 20 w 128"/>
              <a:gd name="T33" fmla="*/ 46 h 128"/>
              <a:gd name="T34" fmla="*/ 28 w 128"/>
              <a:gd name="T35" fmla="*/ 42 h 128"/>
              <a:gd name="T36" fmla="*/ 30 w 128"/>
              <a:gd name="T37" fmla="*/ 33 h 128"/>
              <a:gd name="T38" fmla="*/ 64 w 128"/>
              <a:gd name="T39" fmla="*/ 8 h 128"/>
              <a:gd name="T40" fmla="*/ 98 w 128"/>
              <a:gd name="T41" fmla="*/ 33 h 128"/>
              <a:gd name="T42" fmla="*/ 100 w 128"/>
              <a:gd name="T43" fmla="*/ 42 h 128"/>
              <a:gd name="T44" fmla="*/ 108 w 128"/>
              <a:gd name="T45" fmla="*/ 46 h 128"/>
              <a:gd name="T46" fmla="*/ 120 w 128"/>
              <a:gd name="T47" fmla="*/ 68 h 128"/>
              <a:gd name="T48" fmla="*/ 90 w 128"/>
              <a:gd name="T49" fmla="*/ 9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28">
                <a:moveTo>
                  <a:pt x="107" y="36"/>
                </a:moveTo>
                <a:cubicBezTo>
                  <a:pt x="103" y="15"/>
                  <a:pt x="86" y="0"/>
                  <a:pt x="64" y="0"/>
                </a:cubicBezTo>
                <a:cubicBezTo>
                  <a:pt x="42" y="0"/>
                  <a:pt x="25" y="15"/>
                  <a:pt x="21" y="36"/>
                </a:cubicBezTo>
                <a:cubicBezTo>
                  <a:pt x="8" y="42"/>
                  <a:pt x="0" y="54"/>
                  <a:pt x="0" y="68"/>
                </a:cubicBezTo>
                <a:cubicBezTo>
                  <a:pt x="0" y="88"/>
                  <a:pt x="17" y="104"/>
                  <a:pt x="38" y="104"/>
                </a:cubicBezTo>
                <a:cubicBezTo>
                  <a:pt x="56" y="104"/>
                  <a:pt x="56" y="104"/>
                  <a:pt x="56" y="104"/>
                </a:cubicBezTo>
                <a:cubicBezTo>
                  <a:pt x="56" y="128"/>
                  <a:pt x="56" y="128"/>
                  <a:pt x="56" y="128"/>
                </a:cubicBezTo>
                <a:cubicBezTo>
                  <a:pt x="72" y="128"/>
                  <a:pt x="72" y="128"/>
                  <a:pt x="72" y="128"/>
                </a:cubicBezTo>
                <a:cubicBezTo>
                  <a:pt x="72" y="104"/>
                  <a:pt x="72" y="104"/>
                  <a:pt x="72" y="104"/>
                </a:cubicBezTo>
                <a:cubicBezTo>
                  <a:pt x="91" y="104"/>
                  <a:pt x="91" y="104"/>
                  <a:pt x="91" y="104"/>
                </a:cubicBezTo>
                <a:cubicBezTo>
                  <a:pt x="91" y="104"/>
                  <a:pt x="91" y="104"/>
                  <a:pt x="91" y="104"/>
                </a:cubicBezTo>
                <a:cubicBezTo>
                  <a:pt x="111" y="104"/>
                  <a:pt x="128" y="87"/>
                  <a:pt x="128" y="68"/>
                </a:cubicBezTo>
                <a:cubicBezTo>
                  <a:pt x="128" y="54"/>
                  <a:pt x="120" y="42"/>
                  <a:pt x="107" y="36"/>
                </a:cubicBezTo>
                <a:close/>
                <a:moveTo>
                  <a:pt x="90" y="96"/>
                </a:moveTo>
                <a:cubicBezTo>
                  <a:pt x="38" y="96"/>
                  <a:pt x="38" y="96"/>
                  <a:pt x="38" y="96"/>
                </a:cubicBezTo>
                <a:cubicBezTo>
                  <a:pt x="21" y="96"/>
                  <a:pt x="8" y="83"/>
                  <a:pt x="8" y="68"/>
                </a:cubicBezTo>
                <a:cubicBezTo>
                  <a:pt x="8" y="59"/>
                  <a:pt x="13" y="51"/>
                  <a:pt x="20" y="46"/>
                </a:cubicBezTo>
                <a:cubicBezTo>
                  <a:pt x="23" y="44"/>
                  <a:pt x="25" y="43"/>
                  <a:pt x="28" y="42"/>
                </a:cubicBezTo>
                <a:cubicBezTo>
                  <a:pt x="28" y="39"/>
                  <a:pt x="29" y="36"/>
                  <a:pt x="30" y="33"/>
                </a:cubicBezTo>
                <a:cubicBezTo>
                  <a:pt x="34" y="18"/>
                  <a:pt x="48" y="8"/>
                  <a:pt x="64" y="8"/>
                </a:cubicBezTo>
                <a:cubicBezTo>
                  <a:pt x="80" y="8"/>
                  <a:pt x="94" y="18"/>
                  <a:pt x="98" y="33"/>
                </a:cubicBezTo>
                <a:cubicBezTo>
                  <a:pt x="99" y="36"/>
                  <a:pt x="100" y="39"/>
                  <a:pt x="100" y="42"/>
                </a:cubicBezTo>
                <a:cubicBezTo>
                  <a:pt x="103" y="43"/>
                  <a:pt x="105" y="44"/>
                  <a:pt x="108" y="46"/>
                </a:cubicBezTo>
                <a:cubicBezTo>
                  <a:pt x="115" y="51"/>
                  <a:pt x="120" y="59"/>
                  <a:pt x="120" y="68"/>
                </a:cubicBezTo>
                <a:cubicBezTo>
                  <a:pt x="120" y="83"/>
                  <a:pt x="107" y="96"/>
                  <a:pt x="90" y="9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7" name="Freihandform: Form 104">
            <a:extLst>
              <a:ext uri="{FF2B5EF4-FFF2-40B4-BE49-F238E27FC236}">
                <a16:creationId xmlns:a16="http://schemas.microsoft.com/office/drawing/2014/main" id="{717E4F4D-4766-44E8-935B-979267A902BB}"/>
              </a:ext>
            </a:extLst>
          </p:cNvPr>
          <p:cNvSpPr>
            <a:spLocks noChangeAspect="1"/>
          </p:cNvSpPr>
          <p:nvPr/>
        </p:nvSpPr>
        <p:spPr>
          <a:xfrm>
            <a:off x="7058707" y="2452600"/>
            <a:ext cx="488446" cy="366334"/>
          </a:xfrm>
          <a:custGeom>
            <a:avLst/>
            <a:gdLst>
              <a:gd name="connsiteX0" fmla="*/ 0 w 304800"/>
              <a:gd name="connsiteY0" fmla="*/ 228600 h 228600"/>
              <a:gd name="connsiteX1" fmla="*/ 29737 w 304800"/>
              <a:gd name="connsiteY1" fmla="*/ 228600 h 228600"/>
              <a:gd name="connsiteX2" fmla="*/ 44377 w 304800"/>
              <a:gd name="connsiteY2" fmla="*/ 184661 h 228600"/>
              <a:gd name="connsiteX3" fmla="*/ 109461 w 304800"/>
              <a:gd name="connsiteY3" fmla="*/ 184661 h 228600"/>
              <a:gd name="connsiteX4" fmla="*/ 124558 w 304800"/>
              <a:gd name="connsiteY4" fmla="*/ 228600 h 228600"/>
              <a:gd name="connsiteX5" fmla="*/ 157001 w 304800"/>
              <a:gd name="connsiteY5" fmla="*/ 228600 h 228600"/>
              <a:gd name="connsiteX6" fmla="*/ 95507 w 304800"/>
              <a:gd name="connsiteY6" fmla="*/ 57150 h 228600"/>
              <a:gd name="connsiteX7" fmla="*/ 60589 w 304800"/>
              <a:gd name="connsiteY7" fmla="*/ 57150 h 228600"/>
              <a:gd name="connsiteX8" fmla="*/ 0 w 304800"/>
              <a:gd name="connsiteY8" fmla="*/ 228600 h 228600"/>
              <a:gd name="connsiteX9" fmla="*/ 70047 w 304800"/>
              <a:gd name="connsiteY9" fmla="*/ 107366 h 228600"/>
              <a:gd name="connsiteX10" fmla="*/ 77029 w 304800"/>
              <a:gd name="connsiteY10" fmla="*/ 84049 h 228600"/>
              <a:gd name="connsiteX11" fmla="*/ 77486 w 304800"/>
              <a:gd name="connsiteY11" fmla="*/ 84049 h 228600"/>
              <a:gd name="connsiteX12" fmla="*/ 84020 w 304800"/>
              <a:gd name="connsiteY12" fmla="*/ 107366 h 228600"/>
              <a:gd name="connsiteX13" fmla="*/ 102041 w 304800"/>
              <a:gd name="connsiteY13" fmla="*/ 162249 h 228600"/>
              <a:gd name="connsiteX14" fmla="*/ 52035 w 304800"/>
              <a:gd name="connsiteY14" fmla="*/ 162249 h 228600"/>
              <a:gd name="connsiteX15" fmla="*/ 70047 w 304800"/>
              <a:gd name="connsiteY15" fmla="*/ 107366 h 228600"/>
              <a:gd name="connsiteX16" fmla="*/ 229638 w 304800"/>
              <a:gd name="connsiteY16" fmla="*/ 0 h 228600"/>
              <a:gd name="connsiteX17" fmla="*/ 186966 w 304800"/>
              <a:gd name="connsiteY17" fmla="*/ 0 h 228600"/>
              <a:gd name="connsiteX18" fmla="*/ 140856 w 304800"/>
              <a:gd name="connsiteY18" fmla="*/ 130483 h 228600"/>
              <a:gd name="connsiteX19" fmla="*/ 158867 w 304800"/>
              <a:gd name="connsiteY19" fmla="*/ 180708 h 228600"/>
              <a:gd name="connsiteX20" fmla="*/ 167154 w 304800"/>
              <a:gd name="connsiteY20" fmla="*/ 155848 h 228600"/>
              <a:gd name="connsiteX21" fmla="*/ 246707 w 304800"/>
              <a:gd name="connsiteY21" fmla="*/ 155848 h 228600"/>
              <a:gd name="connsiteX22" fmla="*/ 265147 w 304800"/>
              <a:gd name="connsiteY22" fmla="*/ 209550 h 228600"/>
              <a:gd name="connsiteX23" fmla="*/ 304800 w 304800"/>
              <a:gd name="connsiteY23" fmla="*/ 209550 h 228600"/>
              <a:gd name="connsiteX24" fmla="*/ 229638 w 304800"/>
              <a:gd name="connsiteY24" fmla="*/ 0 h 228600"/>
              <a:gd name="connsiteX25" fmla="*/ 176508 w 304800"/>
              <a:gd name="connsiteY25" fmla="*/ 128464 h 228600"/>
              <a:gd name="connsiteX26" fmla="*/ 198530 w 304800"/>
              <a:gd name="connsiteY26" fmla="*/ 61379 h 228600"/>
              <a:gd name="connsiteX27" fmla="*/ 207064 w 304800"/>
              <a:gd name="connsiteY27" fmla="*/ 32880 h 228600"/>
              <a:gd name="connsiteX28" fmla="*/ 207626 w 304800"/>
              <a:gd name="connsiteY28" fmla="*/ 32880 h 228600"/>
              <a:gd name="connsiteX29" fmla="*/ 215608 w 304800"/>
              <a:gd name="connsiteY29" fmla="*/ 61379 h 228600"/>
              <a:gd name="connsiteX30" fmla="*/ 237630 w 304800"/>
              <a:gd name="connsiteY30" fmla="*/ 128464 h 228600"/>
              <a:gd name="connsiteX31" fmla="*/ 176508 w 304800"/>
              <a:gd name="connsiteY31" fmla="*/ 128464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04800" h="228600">
                <a:moveTo>
                  <a:pt x="0" y="228600"/>
                </a:moveTo>
                <a:lnTo>
                  <a:pt x="29737" y="228600"/>
                </a:lnTo>
                <a:lnTo>
                  <a:pt x="44377" y="184661"/>
                </a:lnTo>
                <a:lnTo>
                  <a:pt x="109461" y="184661"/>
                </a:lnTo>
                <a:lnTo>
                  <a:pt x="124558" y="228600"/>
                </a:lnTo>
                <a:lnTo>
                  <a:pt x="157001" y="228600"/>
                </a:lnTo>
                <a:lnTo>
                  <a:pt x="95507" y="57150"/>
                </a:lnTo>
                <a:lnTo>
                  <a:pt x="60589" y="57150"/>
                </a:lnTo>
                <a:lnTo>
                  <a:pt x="0" y="228600"/>
                </a:lnTo>
                <a:close/>
                <a:moveTo>
                  <a:pt x="70047" y="107366"/>
                </a:moveTo>
                <a:cubicBezTo>
                  <a:pt x="74324" y="94593"/>
                  <a:pt x="77029" y="84049"/>
                  <a:pt x="77029" y="84049"/>
                </a:cubicBezTo>
                <a:lnTo>
                  <a:pt x="77486" y="84049"/>
                </a:lnTo>
                <a:cubicBezTo>
                  <a:pt x="77486" y="84049"/>
                  <a:pt x="79743" y="94374"/>
                  <a:pt x="84020" y="107366"/>
                </a:cubicBezTo>
                <a:lnTo>
                  <a:pt x="102041" y="162249"/>
                </a:lnTo>
                <a:lnTo>
                  <a:pt x="52035" y="162249"/>
                </a:lnTo>
                <a:lnTo>
                  <a:pt x="70047" y="107366"/>
                </a:lnTo>
                <a:close/>
                <a:moveTo>
                  <a:pt x="229638" y="0"/>
                </a:moveTo>
                <a:lnTo>
                  <a:pt x="186966" y="0"/>
                </a:lnTo>
                <a:lnTo>
                  <a:pt x="140856" y="130483"/>
                </a:lnTo>
                <a:lnTo>
                  <a:pt x="158867" y="180708"/>
                </a:lnTo>
                <a:lnTo>
                  <a:pt x="167154" y="155848"/>
                </a:lnTo>
                <a:lnTo>
                  <a:pt x="246707" y="155848"/>
                </a:lnTo>
                <a:lnTo>
                  <a:pt x="265147" y="209550"/>
                </a:lnTo>
                <a:lnTo>
                  <a:pt x="304800" y="209550"/>
                </a:lnTo>
                <a:lnTo>
                  <a:pt x="229638" y="0"/>
                </a:lnTo>
                <a:close/>
                <a:moveTo>
                  <a:pt x="176508" y="128464"/>
                </a:moveTo>
                <a:lnTo>
                  <a:pt x="198530" y="61379"/>
                </a:lnTo>
                <a:cubicBezTo>
                  <a:pt x="203759" y="45768"/>
                  <a:pt x="207064" y="32880"/>
                  <a:pt x="207064" y="32880"/>
                </a:cubicBezTo>
                <a:lnTo>
                  <a:pt x="207626" y="32880"/>
                </a:lnTo>
                <a:cubicBezTo>
                  <a:pt x="207626" y="32880"/>
                  <a:pt x="210379" y="45501"/>
                  <a:pt x="215608" y="61379"/>
                </a:cubicBezTo>
                <a:lnTo>
                  <a:pt x="237630" y="128464"/>
                </a:lnTo>
                <a:lnTo>
                  <a:pt x="176508" y="128464"/>
                </a:lnTo>
                <a:close/>
              </a:path>
            </a:pathLst>
          </a:custGeom>
          <a:solidFill>
            <a:schemeClr val="tx2"/>
          </a:solidFill>
          <a:ln w="9525" cap="flat">
            <a:noFill/>
            <a:prstDash val="solid"/>
            <a:miter/>
          </a:ln>
        </p:spPr>
        <p:txBody>
          <a:bodyPr rtlCol="0" anchor="ctr"/>
          <a:lstStyle/>
          <a:p>
            <a:endParaRPr lang="en-GB" dirty="0"/>
          </a:p>
        </p:txBody>
      </p:sp>
      <p:sp>
        <p:nvSpPr>
          <p:cNvPr id="108" name="Freihandform: Form 108">
            <a:extLst>
              <a:ext uri="{FF2B5EF4-FFF2-40B4-BE49-F238E27FC236}">
                <a16:creationId xmlns:a16="http://schemas.microsoft.com/office/drawing/2014/main" id="{F8E6DCD2-EDC1-4AE4-96F0-02450ED6DE9E}"/>
              </a:ext>
            </a:extLst>
          </p:cNvPr>
          <p:cNvSpPr/>
          <p:nvPr/>
        </p:nvSpPr>
        <p:spPr>
          <a:xfrm>
            <a:off x="7119763" y="3241476"/>
            <a:ext cx="366334" cy="366334"/>
          </a:xfrm>
          <a:custGeom>
            <a:avLst/>
            <a:gdLst>
              <a:gd name="connsiteX0" fmla="*/ 207000 w 414000"/>
              <a:gd name="connsiteY0" fmla="*/ 388125 h 414000"/>
              <a:gd name="connsiteX1" fmla="*/ 0 w 414000"/>
              <a:gd name="connsiteY1" fmla="*/ 388125 h 414000"/>
              <a:gd name="connsiteX2" fmla="*/ 0 w 414000"/>
              <a:gd name="connsiteY2" fmla="*/ 253394 h 414000"/>
              <a:gd name="connsiteX3" fmla="*/ 51750 w 414000"/>
              <a:gd name="connsiteY3" fmla="*/ 201644 h 414000"/>
              <a:gd name="connsiteX4" fmla="*/ 51750 w 414000"/>
              <a:gd name="connsiteY4" fmla="*/ 186481 h 414000"/>
              <a:gd name="connsiteX5" fmla="*/ 0 w 414000"/>
              <a:gd name="connsiteY5" fmla="*/ 134731 h 414000"/>
              <a:gd name="connsiteX6" fmla="*/ 0 w 414000"/>
              <a:gd name="connsiteY6" fmla="*/ 0 h 414000"/>
              <a:gd name="connsiteX7" fmla="*/ 207000 w 414000"/>
              <a:gd name="connsiteY7" fmla="*/ 0 h 414000"/>
              <a:gd name="connsiteX8" fmla="*/ 207000 w 414000"/>
              <a:gd name="connsiteY8" fmla="*/ 134731 h 414000"/>
              <a:gd name="connsiteX9" fmla="*/ 155250 w 414000"/>
              <a:gd name="connsiteY9" fmla="*/ 186481 h 414000"/>
              <a:gd name="connsiteX10" fmla="*/ 155250 w 414000"/>
              <a:gd name="connsiteY10" fmla="*/ 201644 h 414000"/>
              <a:gd name="connsiteX11" fmla="*/ 207000 w 414000"/>
              <a:gd name="connsiteY11" fmla="*/ 253394 h 414000"/>
              <a:gd name="connsiteX12" fmla="*/ 207000 w 414000"/>
              <a:gd name="connsiteY12" fmla="*/ 388125 h 414000"/>
              <a:gd name="connsiteX13" fmla="*/ 25875 w 414000"/>
              <a:gd name="connsiteY13" fmla="*/ 362250 h 414000"/>
              <a:gd name="connsiteX14" fmla="*/ 181125 w 414000"/>
              <a:gd name="connsiteY14" fmla="*/ 362250 h 414000"/>
              <a:gd name="connsiteX15" fmla="*/ 181125 w 414000"/>
              <a:gd name="connsiteY15" fmla="*/ 264106 h 414000"/>
              <a:gd name="connsiteX16" fmla="*/ 129375 w 414000"/>
              <a:gd name="connsiteY16" fmla="*/ 212356 h 414000"/>
              <a:gd name="connsiteX17" fmla="*/ 129375 w 414000"/>
              <a:gd name="connsiteY17" fmla="*/ 175769 h 414000"/>
              <a:gd name="connsiteX18" fmla="*/ 181125 w 414000"/>
              <a:gd name="connsiteY18" fmla="*/ 124019 h 414000"/>
              <a:gd name="connsiteX19" fmla="*/ 181125 w 414000"/>
              <a:gd name="connsiteY19" fmla="*/ 25875 h 414000"/>
              <a:gd name="connsiteX20" fmla="*/ 25875 w 414000"/>
              <a:gd name="connsiteY20" fmla="*/ 25875 h 414000"/>
              <a:gd name="connsiteX21" fmla="*/ 25875 w 414000"/>
              <a:gd name="connsiteY21" fmla="*/ 124019 h 414000"/>
              <a:gd name="connsiteX22" fmla="*/ 77625 w 414000"/>
              <a:gd name="connsiteY22" fmla="*/ 175769 h 414000"/>
              <a:gd name="connsiteX23" fmla="*/ 77625 w 414000"/>
              <a:gd name="connsiteY23" fmla="*/ 212356 h 414000"/>
              <a:gd name="connsiteX24" fmla="*/ 25875 w 414000"/>
              <a:gd name="connsiteY24" fmla="*/ 264106 h 414000"/>
              <a:gd name="connsiteX25" fmla="*/ 25875 w 414000"/>
              <a:gd name="connsiteY25" fmla="*/ 362250 h 414000"/>
              <a:gd name="connsiteX26" fmla="*/ 51750 w 414000"/>
              <a:gd name="connsiteY26" fmla="*/ 51750 h 414000"/>
              <a:gd name="connsiteX27" fmla="*/ 51750 w 414000"/>
              <a:gd name="connsiteY27" fmla="*/ 103500 h 414000"/>
              <a:gd name="connsiteX28" fmla="*/ 90563 w 414000"/>
              <a:gd name="connsiteY28" fmla="*/ 142313 h 414000"/>
              <a:gd name="connsiteX29" fmla="*/ 116438 w 414000"/>
              <a:gd name="connsiteY29" fmla="*/ 142313 h 414000"/>
              <a:gd name="connsiteX30" fmla="*/ 155250 w 414000"/>
              <a:gd name="connsiteY30" fmla="*/ 103500 h 414000"/>
              <a:gd name="connsiteX31" fmla="*/ 155250 w 414000"/>
              <a:gd name="connsiteY31" fmla="*/ 51750 h 414000"/>
              <a:gd name="connsiteX32" fmla="*/ 51750 w 414000"/>
              <a:gd name="connsiteY32" fmla="*/ 51750 h 414000"/>
              <a:gd name="connsiteX33" fmla="*/ 403611 w 414000"/>
              <a:gd name="connsiteY33" fmla="*/ 297614 h 414000"/>
              <a:gd name="connsiteX34" fmla="*/ 336375 w 414000"/>
              <a:gd name="connsiteY34" fmla="*/ 310500 h 414000"/>
              <a:gd name="connsiteX35" fmla="*/ 269139 w 414000"/>
              <a:gd name="connsiteY35" fmla="*/ 297614 h 414000"/>
              <a:gd name="connsiteX36" fmla="*/ 258750 w 414000"/>
              <a:gd name="connsiteY36" fmla="*/ 310500 h 414000"/>
              <a:gd name="connsiteX37" fmla="*/ 336375 w 414000"/>
              <a:gd name="connsiteY37" fmla="*/ 336375 h 414000"/>
              <a:gd name="connsiteX38" fmla="*/ 414000 w 414000"/>
              <a:gd name="connsiteY38" fmla="*/ 310500 h 414000"/>
              <a:gd name="connsiteX39" fmla="*/ 403611 w 414000"/>
              <a:gd name="connsiteY39" fmla="*/ 297614 h 414000"/>
              <a:gd name="connsiteX40" fmla="*/ 403611 w 414000"/>
              <a:gd name="connsiteY40" fmla="*/ 336427 h 414000"/>
              <a:gd name="connsiteX41" fmla="*/ 336375 w 414000"/>
              <a:gd name="connsiteY41" fmla="*/ 349313 h 414000"/>
              <a:gd name="connsiteX42" fmla="*/ 269139 w 414000"/>
              <a:gd name="connsiteY42" fmla="*/ 336427 h 414000"/>
              <a:gd name="connsiteX43" fmla="*/ 258750 w 414000"/>
              <a:gd name="connsiteY43" fmla="*/ 349313 h 414000"/>
              <a:gd name="connsiteX44" fmla="*/ 336375 w 414000"/>
              <a:gd name="connsiteY44" fmla="*/ 375188 h 414000"/>
              <a:gd name="connsiteX45" fmla="*/ 414000 w 414000"/>
              <a:gd name="connsiteY45" fmla="*/ 349313 h 414000"/>
              <a:gd name="connsiteX46" fmla="*/ 403611 w 414000"/>
              <a:gd name="connsiteY46" fmla="*/ 336427 h 414000"/>
              <a:gd name="connsiteX47" fmla="*/ 403611 w 414000"/>
              <a:gd name="connsiteY47" fmla="*/ 375239 h 414000"/>
              <a:gd name="connsiteX48" fmla="*/ 336375 w 414000"/>
              <a:gd name="connsiteY48" fmla="*/ 388125 h 414000"/>
              <a:gd name="connsiteX49" fmla="*/ 269139 w 414000"/>
              <a:gd name="connsiteY49" fmla="*/ 375239 h 414000"/>
              <a:gd name="connsiteX50" fmla="*/ 258750 w 414000"/>
              <a:gd name="connsiteY50" fmla="*/ 388125 h 414000"/>
              <a:gd name="connsiteX51" fmla="*/ 336375 w 414000"/>
              <a:gd name="connsiteY51" fmla="*/ 414000 h 414000"/>
              <a:gd name="connsiteX52" fmla="*/ 414000 w 414000"/>
              <a:gd name="connsiteY52" fmla="*/ 388125 h 414000"/>
              <a:gd name="connsiteX53" fmla="*/ 403611 w 414000"/>
              <a:gd name="connsiteY53" fmla="*/ 375239 h 414000"/>
              <a:gd name="connsiteX54" fmla="*/ 336375 w 414000"/>
              <a:gd name="connsiteY54" fmla="*/ 245580 h 414000"/>
              <a:gd name="connsiteX55" fmla="*/ 258750 w 414000"/>
              <a:gd name="connsiteY55" fmla="*/ 271455 h 414000"/>
              <a:gd name="connsiteX56" fmla="*/ 336375 w 414000"/>
              <a:gd name="connsiteY56" fmla="*/ 297330 h 414000"/>
              <a:gd name="connsiteX57" fmla="*/ 414000 w 414000"/>
              <a:gd name="connsiteY57" fmla="*/ 271455 h 414000"/>
              <a:gd name="connsiteX58" fmla="*/ 336375 w 414000"/>
              <a:gd name="connsiteY58" fmla="*/ 245580 h 41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14000" h="414000">
                <a:moveTo>
                  <a:pt x="207000" y="388125"/>
                </a:moveTo>
                <a:lnTo>
                  <a:pt x="0" y="388125"/>
                </a:lnTo>
                <a:lnTo>
                  <a:pt x="0" y="253394"/>
                </a:lnTo>
                <a:lnTo>
                  <a:pt x="51750" y="201644"/>
                </a:lnTo>
                <a:lnTo>
                  <a:pt x="51750" y="186481"/>
                </a:lnTo>
                <a:lnTo>
                  <a:pt x="0" y="134731"/>
                </a:lnTo>
                <a:lnTo>
                  <a:pt x="0" y="0"/>
                </a:lnTo>
                <a:lnTo>
                  <a:pt x="207000" y="0"/>
                </a:lnTo>
                <a:lnTo>
                  <a:pt x="207000" y="134731"/>
                </a:lnTo>
                <a:lnTo>
                  <a:pt x="155250" y="186481"/>
                </a:lnTo>
                <a:lnTo>
                  <a:pt x="155250" y="201644"/>
                </a:lnTo>
                <a:lnTo>
                  <a:pt x="207000" y="253394"/>
                </a:lnTo>
                <a:lnTo>
                  <a:pt x="207000" y="388125"/>
                </a:lnTo>
                <a:close/>
                <a:moveTo>
                  <a:pt x="25875" y="362250"/>
                </a:moveTo>
                <a:lnTo>
                  <a:pt x="181125" y="362250"/>
                </a:lnTo>
                <a:lnTo>
                  <a:pt x="181125" y="264106"/>
                </a:lnTo>
                <a:lnTo>
                  <a:pt x="129375" y="212356"/>
                </a:lnTo>
                <a:lnTo>
                  <a:pt x="129375" y="175769"/>
                </a:lnTo>
                <a:lnTo>
                  <a:pt x="181125" y="124019"/>
                </a:lnTo>
                <a:lnTo>
                  <a:pt x="181125" y="25875"/>
                </a:lnTo>
                <a:lnTo>
                  <a:pt x="25875" y="25875"/>
                </a:lnTo>
                <a:lnTo>
                  <a:pt x="25875" y="124019"/>
                </a:lnTo>
                <a:lnTo>
                  <a:pt x="77625" y="175769"/>
                </a:lnTo>
                <a:lnTo>
                  <a:pt x="77625" y="212356"/>
                </a:lnTo>
                <a:lnTo>
                  <a:pt x="25875" y="264106"/>
                </a:lnTo>
                <a:lnTo>
                  <a:pt x="25875" y="362250"/>
                </a:lnTo>
                <a:close/>
                <a:moveTo>
                  <a:pt x="51750" y="51750"/>
                </a:moveTo>
                <a:lnTo>
                  <a:pt x="51750" y="103500"/>
                </a:lnTo>
                <a:lnTo>
                  <a:pt x="90563" y="142313"/>
                </a:lnTo>
                <a:lnTo>
                  <a:pt x="116438" y="142313"/>
                </a:lnTo>
                <a:lnTo>
                  <a:pt x="155250" y="103500"/>
                </a:lnTo>
                <a:lnTo>
                  <a:pt x="155250" y="51750"/>
                </a:lnTo>
                <a:lnTo>
                  <a:pt x="51750" y="51750"/>
                </a:lnTo>
                <a:close/>
                <a:moveTo>
                  <a:pt x="403611" y="297614"/>
                </a:moveTo>
                <a:cubicBezTo>
                  <a:pt x="387038" y="305506"/>
                  <a:pt x="363091" y="310500"/>
                  <a:pt x="336375" y="310500"/>
                </a:cubicBezTo>
                <a:cubicBezTo>
                  <a:pt x="309659" y="310500"/>
                  <a:pt x="285712" y="305506"/>
                  <a:pt x="269139" y="297614"/>
                </a:cubicBezTo>
                <a:cubicBezTo>
                  <a:pt x="262567" y="301418"/>
                  <a:pt x="258750" y="305817"/>
                  <a:pt x="258750" y="310500"/>
                </a:cubicBezTo>
                <a:cubicBezTo>
                  <a:pt x="258750" y="324783"/>
                  <a:pt x="293487" y="336375"/>
                  <a:pt x="336375" y="336375"/>
                </a:cubicBezTo>
                <a:cubicBezTo>
                  <a:pt x="379263" y="336375"/>
                  <a:pt x="414000" y="324783"/>
                  <a:pt x="414000" y="310500"/>
                </a:cubicBezTo>
                <a:cubicBezTo>
                  <a:pt x="414000" y="305817"/>
                  <a:pt x="410183" y="301418"/>
                  <a:pt x="403611" y="297614"/>
                </a:cubicBezTo>
                <a:close/>
                <a:moveTo>
                  <a:pt x="403611" y="336427"/>
                </a:moveTo>
                <a:cubicBezTo>
                  <a:pt x="387038" y="344319"/>
                  <a:pt x="363091" y="349313"/>
                  <a:pt x="336375" y="349313"/>
                </a:cubicBezTo>
                <a:cubicBezTo>
                  <a:pt x="309659" y="349313"/>
                  <a:pt x="285712" y="344319"/>
                  <a:pt x="269139" y="336427"/>
                </a:cubicBezTo>
                <a:cubicBezTo>
                  <a:pt x="262567" y="340230"/>
                  <a:pt x="258750" y="344629"/>
                  <a:pt x="258750" y="349313"/>
                </a:cubicBezTo>
                <a:cubicBezTo>
                  <a:pt x="258750" y="363596"/>
                  <a:pt x="293487" y="375188"/>
                  <a:pt x="336375" y="375188"/>
                </a:cubicBezTo>
                <a:cubicBezTo>
                  <a:pt x="379263" y="375188"/>
                  <a:pt x="414000" y="363596"/>
                  <a:pt x="414000" y="349313"/>
                </a:cubicBezTo>
                <a:cubicBezTo>
                  <a:pt x="414000" y="344629"/>
                  <a:pt x="410183" y="340230"/>
                  <a:pt x="403611" y="336427"/>
                </a:cubicBezTo>
                <a:close/>
                <a:moveTo>
                  <a:pt x="403611" y="375239"/>
                </a:moveTo>
                <a:cubicBezTo>
                  <a:pt x="387038" y="383131"/>
                  <a:pt x="363091" y="388125"/>
                  <a:pt x="336375" y="388125"/>
                </a:cubicBezTo>
                <a:cubicBezTo>
                  <a:pt x="309659" y="388125"/>
                  <a:pt x="285712" y="383131"/>
                  <a:pt x="269139" y="375239"/>
                </a:cubicBezTo>
                <a:cubicBezTo>
                  <a:pt x="262567" y="379043"/>
                  <a:pt x="258750" y="383442"/>
                  <a:pt x="258750" y="388125"/>
                </a:cubicBezTo>
                <a:cubicBezTo>
                  <a:pt x="258750" y="402408"/>
                  <a:pt x="293487" y="414000"/>
                  <a:pt x="336375" y="414000"/>
                </a:cubicBezTo>
                <a:cubicBezTo>
                  <a:pt x="379263" y="414000"/>
                  <a:pt x="414000" y="402408"/>
                  <a:pt x="414000" y="388125"/>
                </a:cubicBezTo>
                <a:cubicBezTo>
                  <a:pt x="414000" y="383442"/>
                  <a:pt x="410183" y="379043"/>
                  <a:pt x="403611" y="375239"/>
                </a:cubicBezTo>
                <a:close/>
                <a:moveTo>
                  <a:pt x="336375" y="245580"/>
                </a:moveTo>
                <a:cubicBezTo>
                  <a:pt x="293487" y="245580"/>
                  <a:pt x="258750" y="257185"/>
                  <a:pt x="258750" y="271455"/>
                </a:cubicBezTo>
                <a:cubicBezTo>
                  <a:pt x="258750" y="285725"/>
                  <a:pt x="293487" y="297330"/>
                  <a:pt x="336375" y="297330"/>
                </a:cubicBezTo>
                <a:cubicBezTo>
                  <a:pt x="379263" y="297330"/>
                  <a:pt x="414000" y="285725"/>
                  <a:pt x="414000" y="271455"/>
                </a:cubicBezTo>
                <a:cubicBezTo>
                  <a:pt x="414000" y="257197"/>
                  <a:pt x="379263" y="245580"/>
                  <a:pt x="336375" y="245580"/>
                </a:cubicBezTo>
              </a:path>
            </a:pathLst>
          </a:custGeom>
          <a:solidFill>
            <a:schemeClr val="tx2"/>
          </a:solidFill>
          <a:ln w="12799" cap="flat">
            <a:noFill/>
            <a:prstDash val="solid"/>
            <a:miter/>
          </a:ln>
        </p:spPr>
        <p:txBody>
          <a:bodyPr rtlCol="0" anchor="ctr"/>
          <a:lstStyle/>
          <a:p>
            <a:endParaRPr lang="en-GB" dirty="0"/>
          </a:p>
        </p:txBody>
      </p:sp>
      <p:grpSp>
        <p:nvGrpSpPr>
          <p:cNvPr id="141" name="Grafik 96">
            <a:extLst>
              <a:ext uri="{FF2B5EF4-FFF2-40B4-BE49-F238E27FC236}">
                <a16:creationId xmlns:a16="http://schemas.microsoft.com/office/drawing/2014/main" id="{8B3F1A2F-3C59-4168-9CC6-0846226B1A36}"/>
              </a:ext>
            </a:extLst>
          </p:cNvPr>
          <p:cNvGrpSpPr>
            <a:grpSpLocks noChangeAspect="1"/>
          </p:cNvGrpSpPr>
          <p:nvPr/>
        </p:nvGrpSpPr>
        <p:grpSpPr>
          <a:xfrm>
            <a:off x="620360" y="3260430"/>
            <a:ext cx="347380" cy="347380"/>
            <a:chOff x="3322270" y="3954754"/>
            <a:chExt cx="304800" cy="304800"/>
          </a:xfrm>
          <a:solidFill>
            <a:schemeClr val="tx2"/>
          </a:solidFill>
        </p:grpSpPr>
        <p:sp>
          <p:nvSpPr>
            <p:cNvPr id="143" name="Freihandform: Form 98">
              <a:extLst>
                <a:ext uri="{FF2B5EF4-FFF2-40B4-BE49-F238E27FC236}">
                  <a16:creationId xmlns:a16="http://schemas.microsoft.com/office/drawing/2014/main" id="{7AF8FB19-7353-4ACC-A830-B628226A7ECB}"/>
                </a:ext>
              </a:extLst>
            </p:cNvPr>
            <p:cNvSpPr/>
            <p:nvPr/>
          </p:nvSpPr>
          <p:spPr>
            <a:xfrm>
              <a:off x="3322270" y="3954754"/>
              <a:ext cx="266700" cy="142875"/>
            </a:xfrm>
            <a:custGeom>
              <a:avLst/>
              <a:gdLst>
                <a:gd name="connsiteX0" fmla="*/ 238125 w 266700"/>
                <a:gd name="connsiteY0" fmla="*/ 142875 h 142875"/>
                <a:gd name="connsiteX1" fmla="*/ 217922 w 266700"/>
                <a:gd name="connsiteY1" fmla="*/ 134503 h 142875"/>
                <a:gd name="connsiteX2" fmla="*/ 169393 w 266700"/>
                <a:gd name="connsiteY2" fmla="*/ 85725 h 142875"/>
                <a:gd name="connsiteX3" fmla="*/ 126378 w 266700"/>
                <a:gd name="connsiteY3" fmla="*/ 85725 h 142875"/>
                <a:gd name="connsiteX4" fmla="*/ 129216 w 266700"/>
                <a:gd name="connsiteY4" fmla="*/ 88821 h 142875"/>
                <a:gd name="connsiteX5" fmla="*/ 137293 w 266700"/>
                <a:gd name="connsiteY5" fmla="*/ 108718 h 142875"/>
                <a:gd name="connsiteX6" fmla="*/ 128921 w 266700"/>
                <a:gd name="connsiteY6" fmla="*/ 128930 h 142875"/>
                <a:gd name="connsiteX7" fmla="*/ 88516 w 266700"/>
                <a:gd name="connsiteY7" fmla="*/ 128921 h 142875"/>
                <a:gd name="connsiteX8" fmla="*/ 0 w 266700"/>
                <a:gd name="connsiteY8" fmla="*/ 40405 h 142875"/>
                <a:gd name="connsiteX9" fmla="*/ 0 w 266700"/>
                <a:gd name="connsiteY9" fmla="*/ 13468 h 142875"/>
                <a:gd name="connsiteX10" fmla="*/ 101984 w 266700"/>
                <a:gd name="connsiteY10" fmla="*/ 115453 h 142875"/>
                <a:gd name="connsiteX11" fmla="*/ 115443 w 266700"/>
                <a:gd name="connsiteY11" fmla="*/ 115453 h 142875"/>
                <a:gd name="connsiteX12" fmla="*/ 118243 w 266700"/>
                <a:gd name="connsiteY12" fmla="*/ 108718 h 142875"/>
                <a:gd name="connsiteX13" fmla="*/ 115453 w 266700"/>
                <a:gd name="connsiteY13" fmla="*/ 101984 h 142875"/>
                <a:gd name="connsiteX14" fmla="*/ 83163 w 266700"/>
                <a:gd name="connsiteY14" fmla="*/ 66675 h 142875"/>
                <a:gd name="connsiteX15" fmla="*/ 177317 w 266700"/>
                <a:gd name="connsiteY15" fmla="*/ 66675 h 142875"/>
                <a:gd name="connsiteX16" fmla="*/ 231410 w 266700"/>
                <a:gd name="connsiteY16" fmla="*/ 121053 h 142875"/>
                <a:gd name="connsiteX17" fmla="*/ 244859 w 266700"/>
                <a:gd name="connsiteY17" fmla="*/ 121034 h 142875"/>
                <a:gd name="connsiteX18" fmla="*/ 244859 w 266700"/>
                <a:gd name="connsiteY18" fmla="*/ 107566 h 142875"/>
                <a:gd name="connsiteX19" fmla="*/ 176965 w 266700"/>
                <a:gd name="connsiteY19" fmla="*/ 38100 h 142875"/>
                <a:gd name="connsiteX20" fmla="*/ 76067 w 266700"/>
                <a:gd name="connsiteY20" fmla="*/ 38100 h 142875"/>
                <a:gd name="connsiteX21" fmla="*/ 37900 w 266700"/>
                <a:gd name="connsiteY21" fmla="*/ 0 h 142875"/>
                <a:gd name="connsiteX22" fmla="*/ 64846 w 266700"/>
                <a:gd name="connsiteY22" fmla="*/ 0 h 142875"/>
                <a:gd name="connsiteX23" fmla="*/ 83953 w 266700"/>
                <a:gd name="connsiteY23" fmla="*/ 19050 h 142875"/>
                <a:gd name="connsiteX24" fmla="*/ 184985 w 266700"/>
                <a:gd name="connsiteY24" fmla="*/ 19050 h 142875"/>
                <a:gd name="connsiteX25" fmla="*/ 258404 w 266700"/>
                <a:gd name="connsiteY25" fmla="*/ 94174 h 142875"/>
                <a:gd name="connsiteX26" fmla="*/ 266700 w 266700"/>
                <a:gd name="connsiteY26" fmla="*/ 114300 h 142875"/>
                <a:gd name="connsiteX27" fmla="*/ 258328 w 266700"/>
                <a:gd name="connsiteY27" fmla="*/ 134503 h 142875"/>
                <a:gd name="connsiteX28" fmla="*/ 238125 w 266700"/>
                <a:gd name="connsiteY28" fmla="*/ 142875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66700" h="142875">
                  <a:moveTo>
                    <a:pt x="238125" y="142875"/>
                  </a:moveTo>
                  <a:cubicBezTo>
                    <a:pt x="230495" y="142875"/>
                    <a:pt x="223314" y="139903"/>
                    <a:pt x="217922" y="134503"/>
                  </a:cubicBezTo>
                  <a:lnTo>
                    <a:pt x="169393" y="85725"/>
                  </a:lnTo>
                  <a:lnTo>
                    <a:pt x="126378" y="85725"/>
                  </a:lnTo>
                  <a:lnTo>
                    <a:pt x="129216" y="88821"/>
                  </a:lnTo>
                  <a:cubicBezTo>
                    <a:pt x="134312" y="93907"/>
                    <a:pt x="137293" y="101089"/>
                    <a:pt x="137293" y="108718"/>
                  </a:cubicBezTo>
                  <a:cubicBezTo>
                    <a:pt x="137293" y="116357"/>
                    <a:pt x="134322" y="123539"/>
                    <a:pt x="128921" y="128930"/>
                  </a:cubicBezTo>
                  <a:cubicBezTo>
                    <a:pt x="118158" y="139694"/>
                    <a:pt x="99317" y="139722"/>
                    <a:pt x="88516" y="128921"/>
                  </a:cubicBezTo>
                  <a:lnTo>
                    <a:pt x="0" y="40405"/>
                  </a:lnTo>
                  <a:lnTo>
                    <a:pt x="0" y="13468"/>
                  </a:lnTo>
                  <a:lnTo>
                    <a:pt x="101984" y="115453"/>
                  </a:lnTo>
                  <a:cubicBezTo>
                    <a:pt x="105604" y="119053"/>
                    <a:pt x="111862" y="119053"/>
                    <a:pt x="115443" y="115453"/>
                  </a:cubicBezTo>
                  <a:cubicBezTo>
                    <a:pt x="117253" y="113652"/>
                    <a:pt x="118243" y="111271"/>
                    <a:pt x="118243" y="108718"/>
                  </a:cubicBezTo>
                  <a:cubicBezTo>
                    <a:pt x="118243" y="106175"/>
                    <a:pt x="117253" y="103784"/>
                    <a:pt x="115453" y="101984"/>
                  </a:cubicBezTo>
                  <a:lnTo>
                    <a:pt x="83163" y="66675"/>
                  </a:lnTo>
                  <a:lnTo>
                    <a:pt x="177317" y="66675"/>
                  </a:lnTo>
                  <a:lnTo>
                    <a:pt x="231410" y="121053"/>
                  </a:lnTo>
                  <a:cubicBezTo>
                    <a:pt x="235106" y="124758"/>
                    <a:pt x="241144" y="124739"/>
                    <a:pt x="244859" y="121034"/>
                  </a:cubicBezTo>
                  <a:cubicBezTo>
                    <a:pt x="248574" y="117319"/>
                    <a:pt x="248574" y="111281"/>
                    <a:pt x="244859" y="107566"/>
                  </a:cubicBezTo>
                  <a:lnTo>
                    <a:pt x="176965" y="38100"/>
                  </a:lnTo>
                  <a:lnTo>
                    <a:pt x="76067" y="38100"/>
                  </a:lnTo>
                  <a:lnTo>
                    <a:pt x="37900" y="0"/>
                  </a:lnTo>
                  <a:lnTo>
                    <a:pt x="64846" y="0"/>
                  </a:lnTo>
                  <a:lnTo>
                    <a:pt x="83953" y="19050"/>
                  </a:lnTo>
                  <a:lnTo>
                    <a:pt x="184985" y="19050"/>
                  </a:lnTo>
                  <a:lnTo>
                    <a:pt x="258404" y="94174"/>
                  </a:lnTo>
                  <a:cubicBezTo>
                    <a:pt x="263728" y="99489"/>
                    <a:pt x="266700" y="106670"/>
                    <a:pt x="266700" y="114300"/>
                  </a:cubicBezTo>
                  <a:cubicBezTo>
                    <a:pt x="266700" y="121930"/>
                    <a:pt x="263728" y="129111"/>
                    <a:pt x="258328" y="134503"/>
                  </a:cubicBezTo>
                  <a:cubicBezTo>
                    <a:pt x="252927" y="139894"/>
                    <a:pt x="245755" y="142875"/>
                    <a:pt x="238125" y="142875"/>
                  </a:cubicBezTo>
                  <a:close/>
                </a:path>
              </a:pathLst>
            </a:custGeom>
            <a:grpFill/>
            <a:ln w="9525" cap="flat">
              <a:noFill/>
              <a:prstDash val="solid"/>
              <a:miter/>
            </a:ln>
          </p:spPr>
          <p:txBody>
            <a:bodyPr rtlCol="0" anchor="ctr"/>
            <a:lstStyle/>
            <a:p>
              <a:endParaRPr lang="en-GB" dirty="0"/>
            </a:p>
          </p:txBody>
        </p:sp>
        <p:sp>
          <p:nvSpPr>
            <p:cNvPr id="145" name="Freihandform: Form 99">
              <a:extLst>
                <a:ext uri="{FF2B5EF4-FFF2-40B4-BE49-F238E27FC236}">
                  <a16:creationId xmlns:a16="http://schemas.microsoft.com/office/drawing/2014/main" id="{92C935A7-1D3E-42DC-9572-4DF017022E5E}"/>
                </a:ext>
              </a:extLst>
            </p:cNvPr>
            <p:cNvSpPr/>
            <p:nvPr/>
          </p:nvSpPr>
          <p:spPr>
            <a:xfrm>
              <a:off x="3465145" y="4069054"/>
              <a:ext cx="57150" cy="57150"/>
            </a:xfrm>
            <a:custGeom>
              <a:avLst/>
              <a:gdLst>
                <a:gd name="connsiteX0" fmla="*/ 28575 w 57150"/>
                <a:gd name="connsiteY0" fmla="*/ 57150 h 57150"/>
                <a:gd name="connsiteX1" fmla="*/ 0 w 57150"/>
                <a:gd name="connsiteY1" fmla="*/ 28575 h 57150"/>
                <a:gd name="connsiteX2" fmla="*/ 28575 w 57150"/>
                <a:gd name="connsiteY2" fmla="*/ 0 h 57150"/>
                <a:gd name="connsiteX3" fmla="*/ 57150 w 57150"/>
                <a:gd name="connsiteY3" fmla="*/ 28575 h 57150"/>
                <a:gd name="connsiteX4" fmla="*/ 28575 w 57150"/>
                <a:gd name="connsiteY4" fmla="*/ 57150 h 57150"/>
                <a:gd name="connsiteX5" fmla="*/ 28575 w 57150"/>
                <a:gd name="connsiteY5" fmla="*/ 28556 h 57150"/>
                <a:gd name="connsiteX6" fmla="*/ 28575 w 57150"/>
                <a:gd name="connsiteY6" fmla="*/ 28575 h 57150"/>
                <a:gd name="connsiteX7" fmla="*/ 28575 w 57150"/>
                <a:gd name="connsiteY7" fmla="*/ 28556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50" h="57150">
                  <a:moveTo>
                    <a:pt x="28575" y="57150"/>
                  </a:moveTo>
                  <a:cubicBezTo>
                    <a:pt x="12821" y="57150"/>
                    <a:pt x="0" y="44329"/>
                    <a:pt x="0" y="28575"/>
                  </a:cubicBezTo>
                  <a:cubicBezTo>
                    <a:pt x="0" y="12821"/>
                    <a:pt x="12821" y="0"/>
                    <a:pt x="28575" y="0"/>
                  </a:cubicBezTo>
                  <a:cubicBezTo>
                    <a:pt x="44329" y="0"/>
                    <a:pt x="57150" y="12821"/>
                    <a:pt x="57150" y="28575"/>
                  </a:cubicBezTo>
                  <a:cubicBezTo>
                    <a:pt x="57150" y="44329"/>
                    <a:pt x="44329" y="57150"/>
                    <a:pt x="28575" y="57150"/>
                  </a:cubicBezTo>
                  <a:close/>
                  <a:moveTo>
                    <a:pt x="28575" y="28556"/>
                  </a:moveTo>
                  <a:lnTo>
                    <a:pt x="28575" y="28575"/>
                  </a:lnTo>
                  <a:lnTo>
                    <a:pt x="28575" y="28556"/>
                  </a:lnTo>
                  <a:close/>
                </a:path>
              </a:pathLst>
            </a:custGeom>
            <a:grpFill/>
            <a:ln w="9525" cap="flat">
              <a:noFill/>
              <a:prstDash val="solid"/>
              <a:miter/>
            </a:ln>
          </p:spPr>
          <p:txBody>
            <a:bodyPr rtlCol="0" anchor="ctr"/>
            <a:lstStyle/>
            <a:p>
              <a:endParaRPr lang="en-GB" dirty="0"/>
            </a:p>
          </p:txBody>
        </p:sp>
        <p:sp>
          <p:nvSpPr>
            <p:cNvPr id="146" name="Freihandform: Form 100">
              <a:extLst>
                <a:ext uri="{FF2B5EF4-FFF2-40B4-BE49-F238E27FC236}">
                  <a16:creationId xmlns:a16="http://schemas.microsoft.com/office/drawing/2014/main" id="{94F95775-EDE2-47F4-AF83-058824463C6C}"/>
                </a:ext>
              </a:extLst>
            </p:cNvPr>
            <p:cNvSpPr/>
            <p:nvPr/>
          </p:nvSpPr>
          <p:spPr>
            <a:xfrm>
              <a:off x="3360370" y="4116958"/>
              <a:ext cx="266700" cy="133350"/>
            </a:xfrm>
            <a:custGeom>
              <a:avLst/>
              <a:gdLst>
                <a:gd name="connsiteX0" fmla="*/ 190633 w 266700"/>
                <a:gd name="connsiteY0" fmla="*/ 18771 h 133350"/>
                <a:gd name="connsiteX1" fmla="*/ 114300 w 266700"/>
                <a:gd name="connsiteY1" fmla="*/ 18771 h 133350"/>
                <a:gd name="connsiteX2" fmla="*/ 85801 w 266700"/>
                <a:gd name="connsiteY2" fmla="*/ 45308 h 133350"/>
                <a:gd name="connsiteX3" fmla="*/ 48778 w 266700"/>
                <a:gd name="connsiteY3" fmla="*/ 8094 h 133350"/>
                <a:gd name="connsiteX4" fmla="*/ 8372 w 266700"/>
                <a:gd name="connsiteY4" fmla="*/ 8094 h 133350"/>
                <a:gd name="connsiteX5" fmla="*/ 0 w 266700"/>
                <a:gd name="connsiteY5" fmla="*/ 28296 h 133350"/>
                <a:gd name="connsiteX6" fmla="*/ 8296 w 266700"/>
                <a:gd name="connsiteY6" fmla="*/ 48423 h 133350"/>
                <a:gd name="connsiteX7" fmla="*/ 81715 w 266700"/>
                <a:gd name="connsiteY7" fmla="*/ 123546 h 133350"/>
                <a:gd name="connsiteX8" fmla="*/ 167516 w 266700"/>
                <a:gd name="connsiteY8" fmla="*/ 123546 h 133350"/>
                <a:gd name="connsiteX9" fmla="*/ 186595 w 266700"/>
                <a:gd name="connsiteY9" fmla="*/ 142558 h 133350"/>
                <a:gd name="connsiteX10" fmla="*/ 213531 w 266700"/>
                <a:gd name="connsiteY10" fmla="*/ 142558 h 133350"/>
                <a:gd name="connsiteX11" fmla="*/ 175384 w 266700"/>
                <a:gd name="connsiteY11" fmla="*/ 104496 h 133350"/>
                <a:gd name="connsiteX12" fmla="*/ 89735 w 266700"/>
                <a:gd name="connsiteY12" fmla="*/ 104496 h 133350"/>
                <a:gd name="connsiteX13" fmla="*/ 21841 w 266700"/>
                <a:gd name="connsiteY13" fmla="*/ 35031 h 133350"/>
                <a:gd name="connsiteX14" fmla="*/ 21841 w 266700"/>
                <a:gd name="connsiteY14" fmla="*/ 21562 h 133350"/>
                <a:gd name="connsiteX15" fmla="*/ 35290 w 266700"/>
                <a:gd name="connsiteY15" fmla="*/ 21543 h 133350"/>
                <a:gd name="connsiteX16" fmla="*/ 89383 w 266700"/>
                <a:gd name="connsiteY16" fmla="*/ 75921 h 133350"/>
                <a:gd name="connsiteX17" fmla="*/ 171450 w 266700"/>
                <a:gd name="connsiteY17" fmla="*/ 75921 h 133350"/>
                <a:gd name="connsiteX18" fmla="*/ 171450 w 266700"/>
                <a:gd name="connsiteY18" fmla="*/ 56871 h 133350"/>
                <a:gd name="connsiteX19" fmla="*/ 114300 w 266700"/>
                <a:gd name="connsiteY19" fmla="*/ 56871 h 133350"/>
                <a:gd name="connsiteX20" fmla="*/ 104775 w 266700"/>
                <a:gd name="connsiteY20" fmla="*/ 47346 h 133350"/>
                <a:gd name="connsiteX21" fmla="*/ 114300 w 266700"/>
                <a:gd name="connsiteY21" fmla="*/ 37821 h 133350"/>
                <a:gd name="connsiteX22" fmla="*/ 182747 w 266700"/>
                <a:gd name="connsiteY22" fmla="*/ 37821 h 133350"/>
                <a:gd name="connsiteX23" fmla="*/ 266700 w 266700"/>
                <a:gd name="connsiteY23" fmla="*/ 121841 h 133350"/>
                <a:gd name="connsiteX24" fmla="*/ 266700 w 266700"/>
                <a:gd name="connsiteY24" fmla="*/ 94905 h 133350"/>
                <a:gd name="connsiteX25" fmla="*/ 190633 w 266700"/>
                <a:gd name="connsiteY25" fmla="*/ 18771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6700" h="133350">
                  <a:moveTo>
                    <a:pt x="190633" y="18771"/>
                  </a:moveTo>
                  <a:lnTo>
                    <a:pt x="114300" y="18771"/>
                  </a:lnTo>
                  <a:cubicBezTo>
                    <a:pt x="99231" y="18771"/>
                    <a:pt x="86849" y="30497"/>
                    <a:pt x="85801" y="45308"/>
                  </a:cubicBezTo>
                  <a:lnTo>
                    <a:pt x="48778" y="8094"/>
                  </a:lnTo>
                  <a:cubicBezTo>
                    <a:pt x="37986" y="-2698"/>
                    <a:pt x="19164" y="-2698"/>
                    <a:pt x="8372" y="8094"/>
                  </a:cubicBezTo>
                  <a:cubicBezTo>
                    <a:pt x="2972" y="13485"/>
                    <a:pt x="0" y="20667"/>
                    <a:pt x="0" y="28296"/>
                  </a:cubicBezTo>
                  <a:cubicBezTo>
                    <a:pt x="0" y="35926"/>
                    <a:pt x="2972" y="43108"/>
                    <a:pt x="8296" y="48423"/>
                  </a:cubicBezTo>
                  <a:lnTo>
                    <a:pt x="81715" y="123546"/>
                  </a:lnTo>
                  <a:lnTo>
                    <a:pt x="167516" y="123546"/>
                  </a:lnTo>
                  <a:lnTo>
                    <a:pt x="186595" y="142558"/>
                  </a:lnTo>
                  <a:lnTo>
                    <a:pt x="213531" y="142558"/>
                  </a:lnTo>
                  <a:lnTo>
                    <a:pt x="175384" y="104496"/>
                  </a:lnTo>
                  <a:lnTo>
                    <a:pt x="89735" y="104496"/>
                  </a:lnTo>
                  <a:lnTo>
                    <a:pt x="21841" y="35031"/>
                  </a:lnTo>
                  <a:cubicBezTo>
                    <a:pt x="18126" y="31316"/>
                    <a:pt x="18126" y="25277"/>
                    <a:pt x="21841" y="21562"/>
                  </a:cubicBezTo>
                  <a:cubicBezTo>
                    <a:pt x="25432" y="17952"/>
                    <a:pt x="31728" y="17971"/>
                    <a:pt x="35290" y="21543"/>
                  </a:cubicBezTo>
                  <a:lnTo>
                    <a:pt x="89383" y="75921"/>
                  </a:lnTo>
                  <a:lnTo>
                    <a:pt x="171450" y="75921"/>
                  </a:lnTo>
                  <a:lnTo>
                    <a:pt x="171450" y="56871"/>
                  </a:lnTo>
                  <a:lnTo>
                    <a:pt x="114300" y="56871"/>
                  </a:lnTo>
                  <a:cubicBezTo>
                    <a:pt x="109042" y="56871"/>
                    <a:pt x="104775" y="52604"/>
                    <a:pt x="104775" y="47346"/>
                  </a:cubicBezTo>
                  <a:cubicBezTo>
                    <a:pt x="104775" y="42089"/>
                    <a:pt x="109042" y="37821"/>
                    <a:pt x="114300" y="37821"/>
                  </a:cubicBezTo>
                  <a:lnTo>
                    <a:pt x="182747" y="37821"/>
                  </a:lnTo>
                  <a:lnTo>
                    <a:pt x="266700" y="121841"/>
                  </a:lnTo>
                  <a:lnTo>
                    <a:pt x="266700" y="94905"/>
                  </a:lnTo>
                  <a:lnTo>
                    <a:pt x="190633" y="18771"/>
                  </a:lnTo>
                  <a:close/>
                </a:path>
              </a:pathLst>
            </a:custGeom>
            <a:grpFill/>
            <a:ln w="9525" cap="flat">
              <a:noFill/>
              <a:prstDash val="solid"/>
              <a:miter/>
            </a:ln>
          </p:spPr>
          <p:txBody>
            <a:bodyPr rtlCol="0" anchor="ctr"/>
            <a:lstStyle/>
            <a:p>
              <a:endParaRPr lang="en-GB" dirty="0"/>
            </a:p>
          </p:txBody>
        </p:sp>
      </p:grpSp>
      <p:sp>
        <p:nvSpPr>
          <p:cNvPr id="122" name="Freeform 83">
            <a:extLst>
              <a:ext uri="{FF2B5EF4-FFF2-40B4-BE49-F238E27FC236}">
                <a16:creationId xmlns:a16="http://schemas.microsoft.com/office/drawing/2014/main" id="{852C4141-0C01-43E9-8FCF-3CE668F0E912}"/>
              </a:ext>
            </a:extLst>
          </p:cNvPr>
          <p:cNvSpPr>
            <a:spLocks noEditPoints="1"/>
          </p:cNvSpPr>
          <p:nvPr/>
        </p:nvSpPr>
        <p:spPr bwMode="auto">
          <a:xfrm>
            <a:off x="7173359" y="1661754"/>
            <a:ext cx="259142" cy="343330"/>
          </a:xfrm>
          <a:custGeom>
            <a:avLst/>
            <a:gdLst>
              <a:gd name="T0" fmla="*/ 88 w 96"/>
              <a:gd name="T1" fmla="*/ 0 h 128"/>
              <a:gd name="T2" fmla="*/ 8 w 96"/>
              <a:gd name="T3" fmla="*/ 0 h 128"/>
              <a:gd name="T4" fmla="*/ 0 w 96"/>
              <a:gd name="T5" fmla="*/ 8 h 128"/>
              <a:gd name="T6" fmla="*/ 0 w 96"/>
              <a:gd name="T7" fmla="*/ 120 h 128"/>
              <a:gd name="T8" fmla="*/ 8 w 96"/>
              <a:gd name="T9" fmla="*/ 128 h 128"/>
              <a:gd name="T10" fmla="*/ 88 w 96"/>
              <a:gd name="T11" fmla="*/ 128 h 128"/>
              <a:gd name="T12" fmla="*/ 96 w 96"/>
              <a:gd name="T13" fmla="*/ 120 h 128"/>
              <a:gd name="T14" fmla="*/ 96 w 96"/>
              <a:gd name="T15" fmla="*/ 8 h 128"/>
              <a:gd name="T16" fmla="*/ 88 w 96"/>
              <a:gd name="T17" fmla="*/ 0 h 128"/>
              <a:gd name="T18" fmla="*/ 48 w 96"/>
              <a:gd name="T19" fmla="*/ 125 h 128"/>
              <a:gd name="T20" fmla="*/ 45 w 96"/>
              <a:gd name="T21" fmla="*/ 122 h 128"/>
              <a:gd name="T22" fmla="*/ 48 w 96"/>
              <a:gd name="T23" fmla="*/ 119 h 128"/>
              <a:gd name="T24" fmla="*/ 51 w 96"/>
              <a:gd name="T25" fmla="*/ 122 h 128"/>
              <a:gd name="T26" fmla="*/ 48 w 96"/>
              <a:gd name="T27" fmla="*/ 125 h 128"/>
              <a:gd name="T28" fmla="*/ 88 w 96"/>
              <a:gd name="T29" fmla="*/ 116 h 128"/>
              <a:gd name="T30" fmla="*/ 8 w 96"/>
              <a:gd name="T31" fmla="*/ 116 h 128"/>
              <a:gd name="T32" fmla="*/ 8 w 96"/>
              <a:gd name="T33" fmla="*/ 8 h 128"/>
              <a:gd name="T34" fmla="*/ 88 w 96"/>
              <a:gd name="T35" fmla="*/ 8 h 128"/>
              <a:gd name="T36" fmla="*/ 88 w 96"/>
              <a:gd name="T37" fmla="*/ 1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 h="128">
                <a:moveTo>
                  <a:pt x="88" y="0"/>
                </a:moveTo>
                <a:cubicBezTo>
                  <a:pt x="8" y="0"/>
                  <a:pt x="8" y="0"/>
                  <a:pt x="8" y="0"/>
                </a:cubicBezTo>
                <a:cubicBezTo>
                  <a:pt x="4" y="0"/>
                  <a:pt x="0" y="4"/>
                  <a:pt x="0" y="8"/>
                </a:cubicBezTo>
                <a:cubicBezTo>
                  <a:pt x="0" y="120"/>
                  <a:pt x="0" y="120"/>
                  <a:pt x="0" y="120"/>
                </a:cubicBezTo>
                <a:cubicBezTo>
                  <a:pt x="0" y="124"/>
                  <a:pt x="4" y="128"/>
                  <a:pt x="8" y="128"/>
                </a:cubicBezTo>
                <a:cubicBezTo>
                  <a:pt x="88" y="128"/>
                  <a:pt x="88" y="128"/>
                  <a:pt x="88" y="128"/>
                </a:cubicBezTo>
                <a:cubicBezTo>
                  <a:pt x="92" y="128"/>
                  <a:pt x="96" y="124"/>
                  <a:pt x="96" y="120"/>
                </a:cubicBezTo>
                <a:cubicBezTo>
                  <a:pt x="96" y="8"/>
                  <a:pt x="96" y="8"/>
                  <a:pt x="96" y="8"/>
                </a:cubicBezTo>
                <a:cubicBezTo>
                  <a:pt x="96" y="4"/>
                  <a:pt x="92" y="0"/>
                  <a:pt x="88" y="0"/>
                </a:cubicBezTo>
                <a:close/>
                <a:moveTo>
                  <a:pt x="48" y="125"/>
                </a:moveTo>
                <a:cubicBezTo>
                  <a:pt x="46" y="125"/>
                  <a:pt x="45" y="124"/>
                  <a:pt x="45" y="122"/>
                </a:cubicBezTo>
                <a:cubicBezTo>
                  <a:pt x="45" y="120"/>
                  <a:pt x="46" y="119"/>
                  <a:pt x="48" y="119"/>
                </a:cubicBezTo>
                <a:cubicBezTo>
                  <a:pt x="50" y="119"/>
                  <a:pt x="51" y="120"/>
                  <a:pt x="51" y="122"/>
                </a:cubicBezTo>
                <a:cubicBezTo>
                  <a:pt x="51" y="124"/>
                  <a:pt x="50" y="125"/>
                  <a:pt x="48" y="125"/>
                </a:cubicBezTo>
                <a:close/>
                <a:moveTo>
                  <a:pt x="88" y="116"/>
                </a:moveTo>
                <a:cubicBezTo>
                  <a:pt x="8" y="116"/>
                  <a:pt x="8" y="116"/>
                  <a:pt x="8" y="116"/>
                </a:cubicBezTo>
                <a:cubicBezTo>
                  <a:pt x="8" y="8"/>
                  <a:pt x="8" y="8"/>
                  <a:pt x="8" y="8"/>
                </a:cubicBezTo>
                <a:cubicBezTo>
                  <a:pt x="88" y="8"/>
                  <a:pt x="88" y="8"/>
                  <a:pt x="88" y="8"/>
                </a:cubicBezTo>
                <a:lnTo>
                  <a:pt x="88" y="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4" name="Freeform 87">
            <a:extLst>
              <a:ext uri="{FF2B5EF4-FFF2-40B4-BE49-F238E27FC236}">
                <a16:creationId xmlns:a16="http://schemas.microsoft.com/office/drawing/2014/main" id="{5DEF9254-E4AB-472A-9BB3-D91B42A418C9}"/>
              </a:ext>
            </a:extLst>
          </p:cNvPr>
          <p:cNvSpPr>
            <a:spLocks noEditPoints="1"/>
          </p:cNvSpPr>
          <p:nvPr/>
        </p:nvSpPr>
        <p:spPr bwMode="auto">
          <a:xfrm>
            <a:off x="8173059" y="1652888"/>
            <a:ext cx="352196" cy="352196"/>
          </a:xfrm>
          <a:custGeom>
            <a:avLst/>
            <a:gdLst>
              <a:gd name="T0" fmla="*/ 120 w 128"/>
              <a:gd name="T1" fmla="*/ 8 h 128"/>
              <a:gd name="T2" fmla="*/ 120 w 128"/>
              <a:gd name="T3" fmla="*/ 48 h 128"/>
              <a:gd name="T4" fmla="*/ 52 w 128"/>
              <a:gd name="T5" fmla="*/ 117 h 128"/>
              <a:gd name="T6" fmla="*/ 11 w 128"/>
              <a:gd name="T7" fmla="*/ 76 h 128"/>
              <a:gd name="T8" fmla="*/ 80 w 128"/>
              <a:gd name="T9" fmla="*/ 8 h 128"/>
              <a:gd name="T10" fmla="*/ 120 w 128"/>
              <a:gd name="T11" fmla="*/ 8 h 128"/>
              <a:gd name="T12" fmla="*/ 95 w 128"/>
              <a:gd name="T13" fmla="*/ 51 h 128"/>
              <a:gd name="T14" fmla="*/ 113 w 128"/>
              <a:gd name="T15" fmla="*/ 33 h 128"/>
              <a:gd name="T16" fmla="*/ 95 w 128"/>
              <a:gd name="T17" fmla="*/ 15 h 128"/>
              <a:gd name="T18" fmla="*/ 77 w 128"/>
              <a:gd name="T19" fmla="*/ 33 h 128"/>
              <a:gd name="T20" fmla="*/ 95 w 128"/>
              <a:gd name="T21" fmla="*/ 51 h 128"/>
              <a:gd name="T22" fmla="*/ 128 w 128"/>
              <a:gd name="T23" fmla="*/ 0 h 128"/>
              <a:gd name="T24" fmla="*/ 76 w 128"/>
              <a:gd name="T25" fmla="*/ 0 h 128"/>
              <a:gd name="T26" fmla="*/ 0 w 128"/>
              <a:gd name="T27" fmla="*/ 76 h 128"/>
              <a:gd name="T28" fmla="*/ 52 w 128"/>
              <a:gd name="T29" fmla="*/ 128 h 128"/>
              <a:gd name="T30" fmla="*/ 128 w 128"/>
              <a:gd name="T31" fmla="*/ 52 h 128"/>
              <a:gd name="T32" fmla="*/ 128 w 128"/>
              <a:gd name="T33" fmla="*/ 0 h 128"/>
              <a:gd name="T34" fmla="*/ 95 w 128"/>
              <a:gd name="T35" fmla="*/ 43 h 128"/>
              <a:gd name="T36" fmla="*/ 85 w 128"/>
              <a:gd name="T37" fmla="*/ 33 h 128"/>
              <a:gd name="T38" fmla="*/ 95 w 128"/>
              <a:gd name="T39" fmla="*/ 23 h 128"/>
              <a:gd name="T40" fmla="*/ 105 w 128"/>
              <a:gd name="T41" fmla="*/ 33 h 128"/>
              <a:gd name="T42" fmla="*/ 95 w 128"/>
              <a:gd name="T43" fmla="*/ 4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128">
                <a:moveTo>
                  <a:pt x="120" y="8"/>
                </a:moveTo>
                <a:cubicBezTo>
                  <a:pt x="120" y="48"/>
                  <a:pt x="120" y="48"/>
                  <a:pt x="120" y="48"/>
                </a:cubicBezTo>
                <a:cubicBezTo>
                  <a:pt x="52" y="117"/>
                  <a:pt x="52" y="117"/>
                  <a:pt x="52" y="117"/>
                </a:cubicBezTo>
                <a:cubicBezTo>
                  <a:pt x="11" y="76"/>
                  <a:pt x="11" y="76"/>
                  <a:pt x="11" y="76"/>
                </a:cubicBezTo>
                <a:cubicBezTo>
                  <a:pt x="80" y="8"/>
                  <a:pt x="80" y="8"/>
                  <a:pt x="80" y="8"/>
                </a:cubicBezTo>
                <a:cubicBezTo>
                  <a:pt x="120" y="8"/>
                  <a:pt x="120" y="8"/>
                  <a:pt x="120" y="8"/>
                </a:cubicBezTo>
                <a:moveTo>
                  <a:pt x="95" y="51"/>
                </a:moveTo>
                <a:cubicBezTo>
                  <a:pt x="105" y="51"/>
                  <a:pt x="113" y="43"/>
                  <a:pt x="113" y="33"/>
                </a:cubicBezTo>
                <a:cubicBezTo>
                  <a:pt x="113" y="23"/>
                  <a:pt x="105" y="15"/>
                  <a:pt x="95" y="15"/>
                </a:cubicBezTo>
                <a:cubicBezTo>
                  <a:pt x="85" y="15"/>
                  <a:pt x="77" y="23"/>
                  <a:pt x="77" y="33"/>
                </a:cubicBezTo>
                <a:cubicBezTo>
                  <a:pt x="77" y="43"/>
                  <a:pt x="85" y="51"/>
                  <a:pt x="95" y="51"/>
                </a:cubicBezTo>
                <a:moveTo>
                  <a:pt x="128" y="0"/>
                </a:moveTo>
                <a:cubicBezTo>
                  <a:pt x="76" y="0"/>
                  <a:pt x="76" y="0"/>
                  <a:pt x="76" y="0"/>
                </a:cubicBezTo>
                <a:cubicBezTo>
                  <a:pt x="0" y="76"/>
                  <a:pt x="0" y="76"/>
                  <a:pt x="0" y="76"/>
                </a:cubicBezTo>
                <a:cubicBezTo>
                  <a:pt x="52" y="128"/>
                  <a:pt x="52" y="128"/>
                  <a:pt x="52" y="128"/>
                </a:cubicBezTo>
                <a:cubicBezTo>
                  <a:pt x="128" y="52"/>
                  <a:pt x="128" y="52"/>
                  <a:pt x="128" y="52"/>
                </a:cubicBezTo>
                <a:cubicBezTo>
                  <a:pt x="128" y="0"/>
                  <a:pt x="128" y="0"/>
                  <a:pt x="128" y="0"/>
                </a:cubicBezTo>
                <a:close/>
                <a:moveTo>
                  <a:pt x="95" y="43"/>
                </a:moveTo>
                <a:cubicBezTo>
                  <a:pt x="89" y="43"/>
                  <a:pt x="85" y="39"/>
                  <a:pt x="85" y="33"/>
                </a:cubicBezTo>
                <a:cubicBezTo>
                  <a:pt x="85" y="28"/>
                  <a:pt x="89" y="23"/>
                  <a:pt x="95" y="23"/>
                </a:cubicBezTo>
                <a:cubicBezTo>
                  <a:pt x="100" y="23"/>
                  <a:pt x="105" y="28"/>
                  <a:pt x="105" y="33"/>
                </a:cubicBezTo>
                <a:cubicBezTo>
                  <a:pt x="105" y="39"/>
                  <a:pt x="100" y="43"/>
                  <a:pt x="95" y="4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6" name="Freeform 91">
            <a:extLst>
              <a:ext uri="{FF2B5EF4-FFF2-40B4-BE49-F238E27FC236}">
                <a16:creationId xmlns:a16="http://schemas.microsoft.com/office/drawing/2014/main" id="{CBC4730B-15CF-4B64-BA6A-EFE7DB33566A}"/>
              </a:ext>
            </a:extLst>
          </p:cNvPr>
          <p:cNvSpPr>
            <a:spLocks noEditPoints="1"/>
          </p:cNvSpPr>
          <p:nvPr/>
        </p:nvSpPr>
        <p:spPr bwMode="auto">
          <a:xfrm>
            <a:off x="5006480" y="2406184"/>
            <a:ext cx="412750" cy="412750"/>
          </a:xfrm>
          <a:custGeom>
            <a:avLst/>
            <a:gdLst>
              <a:gd name="T0" fmla="*/ 76 w 128"/>
              <a:gd name="T1" fmla="*/ 76 h 128"/>
              <a:gd name="T2" fmla="*/ 52 w 128"/>
              <a:gd name="T3" fmla="*/ 100 h 128"/>
              <a:gd name="T4" fmla="*/ 28 w 128"/>
              <a:gd name="T5" fmla="*/ 76 h 128"/>
              <a:gd name="T6" fmla="*/ 52 w 128"/>
              <a:gd name="T7" fmla="*/ 52 h 128"/>
              <a:gd name="T8" fmla="*/ 59 w 128"/>
              <a:gd name="T9" fmla="*/ 53 h 128"/>
              <a:gd name="T10" fmla="*/ 65 w 128"/>
              <a:gd name="T11" fmla="*/ 47 h 128"/>
              <a:gd name="T12" fmla="*/ 52 w 128"/>
              <a:gd name="T13" fmla="*/ 44 h 128"/>
              <a:gd name="T14" fmla="*/ 20 w 128"/>
              <a:gd name="T15" fmla="*/ 76 h 128"/>
              <a:gd name="T16" fmla="*/ 52 w 128"/>
              <a:gd name="T17" fmla="*/ 108 h 128"/>
              <a:gd name="T18" fmla="*/ 84 w 128"/>
              <a:gd name="T19" fmla="*/ 76 h 128"/>
              <a:gd name="T20" fmla="*/ 81 w 128"/>
              <a:gd name="T21" fmla="*/ 63 h 128"/>
              <a:gd name="T22" fmla="*/ 75 w 128"/>
              <a:gd name="T23" fmla="*/ 69 h 128"/>
              <a:gd name="T24" fmla="*/ 76 w 128"/>
              <a:gd name="T25" fmla="*/ 76 h 128"/>
              <a:gd name="T26" fmla="*/ 40 w 128"/>
              <a:gd name="T27" fmla="*/ 76 h 128"/>
              <a:gd name="T28" fmla="*/ 52 w 128"/>
              <a:gd name="T29" fmla="*/ 88 h 128"/>
              <a:gd name="T30" fmla="*/ 63 w 128"/>
              <a:gd name="T31" fmla="*/ 80 h 128"/>
              <a:gd name="T32" fmla="*/ 48 w 128"/>
              <a:gd name="T33" fmla="*/ 80 h 128"/>
              <a:gd name="T34" fmla="*/ 48 w 128"/>
              <a:gd name="T35" fmla="*/ 65 h 128"/>
              <a:gd name="T36" fmla="*/ 40 w 128"/>
              <a:gd name="T37" fmla="*/ 76 h 128"/>
              <a:gd name="T38" fmla="*/ 96 w 128"/>
              <a:gd name="T39" fmla="*/ 48 h 128"/>
              <a:gd name="T40" fmla="*/ 90 w 128"/>
              <a:gd name="T41" fmla="*/ 54 h 128"/>
              <a:gd name="T42" fmla="*/ 96 w 128"/>
              <a:gd name="T43" fmla="*/ 76 h 128"/>
              <a:gd name="T44" fmla="*/ 52 w 128"/>
              <a:gd name="T45" fmla="*/ 120 h 128"/>
              <a:gd name="T46" fmla="*/ 8 w 128"/>
              <a:gd name="T47" fmla="*/ 76 h 128"/>
              <a:gd name="T48" fmla="*/ 52 w 128"/>
              <a:gd name="T49" fmla="*/ 32 h 128"/>
              <a:gd name="T50" fmla="*/ 74 w 128"/>
              <a:gd name="T51" fmla="*/ 38 h 128"/>
              <a:gd name="T52" fmla="*/ 80 w 128"/>
              <a:gd name="T53" fmla="*/ 32 h 128"/>
              <a:gd name="T54" fmla="*/ 52 w 128"/>
              <a:gd name="T55" fmla="*/ 24 h 128"/>
              <a:gd name="T56" fmla="*/ 0 w 128"/>
              <a:gd name="T57" fmla="*/ 76 h 128"/>
              <a:gd name="T58" fmla="*/ 52 w 128"/>
              <a:gd name="T59" fmla="*/ 128 h 128"/>
              <a:gd name="T60" fmla="*/ 104 w 128"/>
              <a:gd name="T61" fmla="*/ 76 h 128"/>
              <a:gd name="T62" fmla="*/ 96 w 128"/>
              <a:gd name="T63" fmla="*/ 48 h 128"/>
              <a:gd name="T64" fmla="*/ 62 w 128"/>
              <a:gd name="T65" fmla="*/ 72 h 128"/>
              <a:gd name="T66" fmla="*/ 56 w 128"/>
              <a:gd name="T67" fmla="*/ 72 h 128"/>
              <a:gd name="T68" fmla="*/ 56 w 128"/>
              <a:gd name="T69" fmla="*/ 66 h 128"/>
              <a:gd name="T70" fmla="*/ 122 w 128"/>
              <a:gd name="T71" fmla="*/ 0 h 128"/>
              <a:gd name="T72" fmla="*/ 128 w 128"/>
              <a:gd name="T73" fmla="*/ 6 h 128"/>
              <a:gd name="T74" fmla="*/ 62 w 128"/>
              <a:gd name="T75" fmla="*/ 7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28">
                <a:moveTo>
                  <a:pt x="76" y="76"/>
                </a:moveTo>
                <a:cubicBezTo>
                  <a:pt x="76" y="89"/>
                  <a:pt x="65" y="100"/>
                  <a:pt x="52" y="100"/>
                </a:cubicBezTo>
                <a:cubicBezTo>
                  <a:pt x="39" y="100"/>
                  <a:pt x="28" y="89"/>
                  <a:pt x="28" y="76"/>
                </a:cubicBezTo>
                <a:cubicBezTo>
                  <a:pt x="28" y="63"/>
                  <a:pt x="39" y="52"/>
                  <a:pt x="52" y="52"/>
                </a:cubicBezTo>
                <a:cubicBezTo>
                  <a:pt x="54" y="52"/>
                  <a:pt x="57" y="52"/>
                  <a:pt x="59" y="53"/>
                </a:cubicBezTo>
                <a:cubicBezTo>
                  <a:pt x="65" y="47"/>
                  <a:pt x="65" y="47"/>
                  <a:pt x="65" y="47"/>
                </a:cubicBezTo>
                <a:cubicBezTo>
                  <a:pt x="61" y="45"/>
                  <a:pt x="57" y="44"/>
                  <a:pt x="52" y="44"/>
                </a:cubicBezTo>
                <a:cubicBezTo>
                  <a:pt x="34" y="44"/>
                  <a:pt x="20" y="58"/>
                  <a:pt x="20" y="76"/>
                </a:cubicBezTo>
                <a:cubicBezTo>
                  <a:pt x="20" y="94"/>
                  <a:pt x="34" y="108"/>
                  <a:pt x="52" y="108"/>
                </a:cubicBezTo>
                <a:cubicBezTo>
                  <a:pt x="70" y="108"/>
                  <a:pt x="84" y="94"/>
                  <a:pt x="84" y="76"/>
                </a:cubicBezTo>
                <a:cubicBezTo>
                  <a:pt x="84" y="71"/>
                  <a:pt x="83" y="67"/>
                  <a:pt x="81" y="63"/>
                </a:cubicBezTo>
                <a:cubicBezTo>
                  <a:pt x="75" y="69"/>
                  <a:pt x="75" y="69"/>
                  <a:pt x="75" y="69"/>
                </a:cubicBezTo>
                <a:cubicBezTo>
                  <a:pt x="76" y="71"/>
                  <a:pt x="76" y="74"/>
                  <a:pt x="76" y="76"/>
                </a:cubicBezTo>
                <a:close/>
                <a:moveTo>
                  <a:pt x="40" y="76"/>
                </a:moveTo>
                <a:cubicBezTo>
                  <a:pt x="40" y="83"/>
                  <a:pt x="45" y="88"/>
                  <a:pt x="52" y="88"/>
                </a:cubicBezTo>
                <a:cubicBezTo>
                  <a:pt x="57" y="88"/>
                  <a:pt x="62" y="85"/>
                  <a:pt x="63" y="80"/>
                </a:cubicBezTo>
                <a:cubicBezTo>
                  <a:pt x="48" y="80"/>
                  <a:pt x="48" y="80"/>
                  <a:pt x="48" y="80"/>
                </a:cubicBezTo>
                <a:cubicBezTo>
                  <a:pt x="48" y="65"/>
                  <a:pt x="48" y="65"/>
                  <a:pt x="48" y="65"/>
                </a:cubicBezTo>
                <a:cubicBezTo>
                  <a:pt x="43" y="66"/>
                  <a:pt x="40" y="71"/>
                  <a:pt x="40" y="76"/>
                </a:cubicBezTo>
                <a:close/>
                <a:moveTo>
                  <a:pt x="96" y="48"/>
                </a:moveTo>
                <a:cubicBezTo>
                  <a:pt x="90" y="54"/>
                  <a:pt x="90" y="54"/>
                  <a:pt x="90" y="54"/>
                </a:cubicBezTo>
                <a:cubicBezTo>
                  <a:pt x="94" y="60"/>
                  <a:pt x="96" y="68"/>
                  <a:pt x="96" y="76"/>
                </a:cubicBezTo>
                <a:cubicBezTo>
                  <a:pt x="96" y="100"/>
                  <a:pt x="76" y="120"/>
                  <a:pt x="52" y="120"/>
                </a:cubicBezTo>
                <a:cubicBezTo>
                  <a:pt x="28" y="120"/>
                  <a:pt x="8" y="100"/>
                  <a:pt x="8" y="76"/>
                </a:cubicBezTo>
                <a:cubicBezTo>
                  <a:pt x="8" y="52"/>
                  <a:pt x="28" y="32"/>
                  <a:pt x="52" y="32"/>
                </a:cubicBezTo>
                <a:cubicBezTo>
                  <a:pt x="60" y="32"/>
                  <a:pt x="68" y="34"/>
                  <a:pt x="74" y="38"/>
                </a:cubicBezTo>
                <a:cubicBezTo>
                  <a:pt x="80" y="32"/>
                  <a:pt x="80" y="32"/>
                  <a:pt x="80" y="32"/>
                </a:cubicBezTo>
                <a:cubicBezTo>
                  <a:pt x="72" y="27"/>
                  <a:pt x="62" y="24"/>
                  <a:pt x="52" y="24"/>
                </a:cubicBezTo>
                <a:cubicBezTo>
                  <a:pt x="23" y="24"/>
                  <a:pt x="0" y="47"/>
                  <a:pt x="0" y="76"/>
                </a:cubicBezTo>
                <a:cubicBezTo>
                  <a:pt x="0" y="105"/>
                  <a:pt x="23" y="128"/>
                  <a:pt x="52" y="128"/>
                </a:cubicBezTo>
                <a:cubicBezTo>
                  <a:pt x="81" y="128"/>
                  <a:pt x="104" y="105"/>
                  <a:pt x="104" y="76"/>
                </a:cubicBezTo>
                <a:cubicBezTo>
                  <a:pt x="104" y="66"/>
                  <a:pt x="101" y="56"/>
                  <a:pt x="96" y="48"/>
                </a:cubicBezTo>
                <a:close/>
                <a:moveTo>
                  <a:pt x="62" y="72"/>
                </a:moveTo>
                <a:cubicBezTo>
                  <a:pt x="56" y="72"/>
                  <a:pt x="56" y="72"/>
                  <a:pt x="56" y="72"/>
                </a:cubicBezTo>
                <a:cubicBezTo>
                  <a:pt x="56" y="66"/>
                  <a:pt x="56" y="66"/>
                  <a:pt x="56" y="66"/>
                </a:cubicBezTo>
                <a:cubicBezTo>
                  <a:pt x="122" y="0"/>
                  <a:pt x="122" y="0"/>
                  <a:pt x="122" y="0"/>
                </a:cubicBezTo>
                <a:cubicBezTo>
                  <a:pt x="128" y="6"/>
                  <a:pt x="128" y="6"/>
                  <a:pt x="128" y="6"/>
                </a:cubicBezTo>
                <a:lnTo>
                  <a:pt x="62" y="7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8" name="Freeform 46">
            <a:extLst>
              <a:ext uri="{FF2B5EF4-FFF2-40B4-BE49-F238E27FC236}">
                <a16:creationId xmlns:a16="http://schemas.microsoft.com/office/drawing/2014/main" id="{8B904B15-00FA-40EC-A2DA-A3CF8C5FF8DA}"/>
              </a:ext>
            </a:extLst>
          </p:cNvPr>
          <p:cNvSpPr>
            <a:spLocks noEditPoints="1"/>
          </p:cNvSpPr>
          <p:nvPr/>
        </p:nvSpPr>
        <p:spPr bwMode="auto">
          <a:xfrm>
            <a:off x="1693913" y="3313070"/>
            <a:ext cx="359776" cy="294740"/>
          </a:xfrm>
          <a:custGeom>
            <a:avLst/>
            <a:gdLst>
              <a:gd name="T0" fmla="*/ 53 w 128"/>
              <a:gd name="T1" fmla="*/ 31 h 104"/>
              <a:gd name="T2" fmla="*/ 64 w 128"/>
              <a:gd name="T3" fmla="*/ 20 h 104"/>
              <a:gd name="T4" fmla="*/ 75 w 128"/>
              <a:gd name="T5" fmla="*/ 31 h 104"/>
              <a:gd name="T6" fmla="*/ 64 w 128"/>
              <a:gd name="T7" fmla="*/ 42 h 104"/>
              <a:gd name="T8" fmla="*/ 53 w 128"/>
              <a:gd name="T9" fmla="*/ 31 h 104"/>
              <a:gd name="T10" fmla="*/ 36 w 128"/>
              <a:gd name="T11" fmla="*/ 72 h 104"/>
              <a:gd name="T12" fmla="*/ 36 w 128"/>
              <a:gd name="T13" fmla="*/ 71 h 104"/>
              <a:gd name="T14" fmla="*/ 56 w 128"/>
              <a:gd name="T15" fmla="*/ 45 h 104"/>
              <a:gd name="T16" fmla="*/ 57 w 128"/>
              <a:gd name="T17" fmla="*/ 44 h 104"/>
              <a:gd name="T18" fmla="*/ 64 w 128"/>
              <a:gd name="T19" fmla="*/ 57 h 104"/>
              <a:gd name="T20" fmla="*/ 71 w 128"/>
              <a:gd name="T21" fmla="*/ 44 h 104"/>
              <a:gd name="T22" fmla="*/ 72 w 128"/>
              <a:gd name="T23" fmla="*/ 45 h 104"/>
              <a:gd name="T24" fmla="*/ 92 w 128"/>
              <a:gd name="T25" fmla="*/ 71 h 104"/>
              <a:gd name="T26" fmla="*/ 92 w 128"/>
              <a:gd name="T27" fmla="*/ 72 h 104"/>
              <a:gd name="T28" fmla="*/ 36 w 128"/>
              <a:gd name="T29" fmla="*/ 72 h 104"/>
              <a:gd name="T30" fmla="*/ 122 w 128"/>
              <a:gd name="T31" fmla="*/ 42 h 104"/>
              <a:gd name="T32" fmla="*/ 116 w 128"/>
              <a:gd name="T33" fmla="*/ 49 h 104"/>
              <a:gd name="T34" fmla="*/ 64 w 128"/>
              <a:gd name="T35" fmla="*/ 0 h 104"/>
              <a:gd name="T36" fmla="*/ 16 w 128"/>
              <a:gd name="T37" fmla="*/ 32 h 104"/>
              <a:gd name="T38" fmla="*/ 25 w 128"/>
              <a:gd name="T39" fmla="*/ 32 h 104"/>
              <a:gd name="T40" fmla="*/ 64 w 128"/>
              <a:gd name="T41" fmla="*/ 8 h 104"/>
              <a:gd name="T42" fmla="*/ 108 w 128"/>
              <a:gd name="T43" fmla="*/ 49 h 104"/>
              <a:gd name="T44" fmla="*/ 102 w 128"/>
              <a:gd name="T45" fmla="*/ 42 h 104"/>
              <a:gd name="T46" fmla="*/ 96 w 128"/>
              <a:gd name="T47" fmla="*/ 48 h 104"/>
              <a:gd name="T48" fmla="*/ 112 w 128"/>
              <a:gd name="T49" fmla="*/ 64 h 104"/>
              <a:gd name="T50" fmla="*/ 128 w 128"/>
              <a:gd name="T51" fmla="*/ 48 h 104"/>
              <a:gd name="T52" fmla="*/ 122 w 128"/>
              <a:gd name="T53" fmla="*/ 42 h 104"/>
              <a:gd name="T54" fmla="*/ 64 w 128"/>
              <a:gd name="T55" fmla="*/ 96 h 104"/>
              <a:gd name="T56" fmla="*/ 20 w 128"/>
              <a:gd name="T57" fmla="*/ 55 h 104"/>
              <a:gd name="T58" fmla="*/ 26 w 128"/>
              <a:gd name="T59" fmla="*/ 62 h 104"/>
              <a:gd name="T60" fmla="*/ 32 w 128"/>
              <a:gd name="T61" fmla="*/ 56 h 104"/>
              <a:gd name="T62" fmla="*/ 16 w 128"/>
              <a:gd name="T63" fmla="*/ 40 h 104"/>
              <a:gd name="T64" fmla="*/ 0 w 128"/>
              <a:gd name="T65" fmla="*/ 56 h 104"/>
              <a:gd name="T66" fmla="*/ 6 w 128"/>
              <a:gd name="T67" fmla="*/ 62 h 104"/>
              <a:gd name="T68" fmla="*/ 12 w 128"/>
              <a:gd name="T69" fmla="*/ 55 h 104"/>
              <a:gd name="T70" fmla="*/ 64 w 128"/>
              <a:gd name="T71" fmla="*/ 104 h 104"/>
              <a:gd name="T72" fmla="*/ 112 w 128"/>
              <a:gd name="T73" fmla="*/ 72 h 104"/>
              <a:gd name="T74" fmla="*/ 103 w 128"/>
              <a:gd name="T75" fmla="*/ 72 h 104"/>
              <a:gd name="T76" fmla="*/ 64 w 128"/>
              <a:gd name="T77" fmla="*/ 9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8" h="104">
                <a:moveTo>
                  <a:pt x="53" y="31"/>
                </a:moveTo>
                <a:cubicBezTo>
                  <a:pt x="53" y="25"/>
                  <a:pt x="58" y="20"/>
                  <a:pt x="64" y="20"/>
                </a:cubicBezTo>
                <a:cubicBezTo>
                  <a:pt x="70" y="20"/>
                  <a:pt x="75" y="25"/>
                  <a:pt x="75" y="31"/>
                </a:cubicBezTo>
                <a:cubicBezTo>
                  <a:pt x="75" y="37"/>
                  <a:pt x="70" y="42"/>
                  <a:pt x="64" y="42"/>
                </a:cubicBezTo>
                <a:cubicBezTo>
                  <a:pt x="58" y="42"/>
                  <a:pt x="53" y="37"/>
                  <a:pt x="53" y="31"/>
                </a:cubicBezTo>
                <a:close/>
                <a:moveTo>
                  <a:pt x="36" y="72"/>
                </a:moveTo>
                <a:cubicBezTo>
                  <a:pt x="36" y="71"/>
                  <a:pt x="36" y="71"/>
                  <a:pt x="36" y="71"/>
                </a:cubicBezTo>
                <a:cubicBezTo>
                  <a:pt x="36" y="59"/>
                  <a:pt x="44" y="48"/>
                  <a:pt x="56" y="45"/>
                </a:cubicBezTo>
                <a:cubicBezTo>
                  <a:pt x="57" y="44"/>
                  <a:pt x="57" y="44"/>
                  <a:pt x="57" y="44"/>
                </a:cubicBezTo>
                <a:cubicBezTo>
                  <a:pt x="64" y="57"/>
                  <a:pt x="64" y="57"/>
                  <a:pt x="64" y="57"/>
                </a:cubicBezTo>
                <a:cubicBezTo>
                  <a:pt x="71" y="44"/>
                  <a:pt x="71" y="44"/>
                  <a:pt x="71" y="44"/>
                </a:cubicBezTo>
                <a:cubicBezTo>
                  <a:pt x="72" y="45"/>
                  <a:pt x="72" y="45"/>
                  <a:pt x="72" y="45"/>
                </a:cubicBezTo>
                <a:cubicBezTo>
                  <a:pt x="84" y="48"/>
                  <a:pt x="92" y="59"/>
                  <a:pt x="92" y="71"/>
                </a:cubicBezTo>
                <a:cubicBezTo>
                  <a:pt x="92" y="72"/>
                  <a:pt x="92" y="72"/>
                  <a:pt x="92" y="72"/>
                </a:cubicBezTo>
                <a:lnTo>
                  <a:pt x="36" y="72"/>
                </a:lnTo>
                <a:close/>
                <a:moveTo>
                  <a:pt x="122" y="42"/>
                </a:moveTo>
                <a:cubicBezTo>
                  <a:pt x="116" y="49"/>
                  <a:pt x="116" y="49"/>
                  <a:pt x="116" y="49"/>
                </a:cubicBezTo>
                <a:cubicBezTo>
                  <a:pt x="114" y="22"/>
                  <a:pt x="92" y="0"/>
                  <a:pt x="64" y="0"/>
                </a:cubicBezTo>
                <a:cubicBezTo>
                  <a:pt x="42" y="0"/>
                  <a:pt x="24" y="13"/>
                  <a:pt x="16" y="32"/>
                </a:cubicBezTo>
                <a:cubicBezTo>
                  <a:pt x="25" y="32"/>
                  <a:pt x="25" y="32"/>
                  <a:pt x="25" y="32"/>
                </a:cubicBezTo>
                <a:cubicBezTo>
                  <a:pt x="32" y="18"/>
                  <a:pt x="47" y="8"/>
                  <a:pt x="64" y="8"/>
                </a:cubicBezTo>
                <a:cubicBezTo>
                  <a:pt x="87" y="8"/>
                  <a:pt x="106" y="26"/>
                  <a:pt x="108" y="49"/>
                </a:cubicBezTo>
                <a:cubicBezTo>
                  <a:pt x="102" y="42"/>
                  <a:pt x="102" y="42"/>
                  <a:pt x="102" y="42"/>
                </a:cubicBezTo>
                <a:cubicBezTo>
                  <a:pt x="96" y="48"/>
                  <a:pt x="96" y="48"/>
                  <a:pt x="96" y="48"/>
                </a:cubicBezTo>
                <a:cubicBezTo>
                  <a:pt x="112" y="64"/>
                  <a:pt x="112" y="64"/>
                  <a:pt x="112" y="64"/>
                </a:cubicBezTo>
                <a:cubicBezTo>
                  <a:pt x="128" y="48"/>
                  <a:pt x="128" y="48"/>
                  <a:pt x="128" y="48"/>
                </a:cubicBezTo>
                <a:lnTo>
                  <a:pt x="122" y="42"/>
                </a:lnTo>
                <a:close/>
                <a:moveTo>
                  <a:pt x="64" y="96"/>
                </a:moveTo>
                <a:cubicBezTo>
                  <a:pt x="41" y="96"/>
                  <a:pt x="22" y="78"/>
                  <a:pt x="20" y="55"/>
                </a:cubicBezTo>
                <a:cubicBezTo>
                  <a:pt x="26" y="62"/>
                  <a:pt x="26" y="62"/>
                  <a:pt x="26" y="62"/>
                </a:cubicBezTo>
                <a:cubicBezTo>
                  <a:pt x="32" y="56"/>
                  <a:pt x="32" y="56"/>
                  <a:pt x="32" y="56"/>
                </a:cubicBezTo>
                <a:cubicBezTo>
                  <a:pt x="16" y="40"/>
                  <a:pt x="16" y="40"/>
                  <a:pt x="16" y="40"/>
                </a:cubicBezTo>
                <a:cubicBezTo>
                  <a:pt x="0" y="56"/>
                  <a:pt x="0" y="56"/>
                  <a:pt x="0" y="56"/>
                </a:cubicBezTo>
                <a:cubicBezTo>
                  <a:pt x="6" y="62"/>
                  <a:pt x="6" y="62"/>
                  <a:pt x="6" y="62"/>
                </a:cubicBezTo>
                <a:cubicBezTo>
                  <a:pt x="12" y="55"/>
                  <a:pt x="12" y="55"/>
                  <a:pt x="12" y="55"/>
                </a:cubicBezTo>
                <a:cubicBezTo>
                  <a:pt x="14" y="82"/>
                  <a:pt x="36" y="104"/>
                  <a:pt x="64" y="104"/>
                </a:cubicBezTo>
                <a:cubicBezTo>
                  <a:pt x="86" y="104"/>
                  <a:pt x="104" y="91"/>
                  <a:pt x="112" y="72"/>
                </a:cubicBezTo>
                <a:cubicBezTo>
                  <a:pt x="103" y="72"/>
                  <a:pt x="103" y="72"/>
                  <a:pt x="103" y="72"/>
                </a:cubicBezTo>
                <a:cubicBezTo>
                  <a:pt x="96" y="86"/>
                  <a:pt x="81" y="96"/>
                  <a:pt x="64" y="9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9" name="Freeform 50">
            <a:extLst>
              <a:ext uri="{FF2B5EF4-FFF2-40B4-BE49-F238E27FC236}">
                <a16:creationId xmlns:a16="http://schemas.microsoft.com/office/drawing/2014/main" id="{E36F5D05-7F52-49D6-8D59-4090B8DD592B}"/>
              </a:ext>
            </a:extLst>
          </p:cNvPr>
          <p:cNvSpPr>
            <a:spLocks noEditPoints="1"/>
          </p:cNvSpPr>
          <p:nvPr/>
        </p:nvSpPr>
        <p:spPr bwMode="auto">
          <a:xfrm>
            <a:off x="2704337" y="3246650"/>
            <a:ext cx="361160" cy="361160"/>
          </a:xfrm>
          <a:custGeom>
            <a:avLst/>
            <a:gdLst>
              <a:gd name="T0" fmla="*/ 130 w 261"/>
              <a:gd name="T1" fmla="*/ 45 h 261"/>
              <a:gd name="T2" fmla="*/ 155 w 261"/>
              <a:gd name="T3" fmla="*/ 106 h 261"/>
              <a:gd name="T4" fmla="*/ 222 w 261"/>
              <a:gd name="T5" fmla="*/ 112 h 261"/>
              <a:gd name="T6" fmla="*/ 171 w 261"/>
              <a:gd name="T7" fmla="*/ 159 h 261"/>
              <a:gd name="T8" fmla="*/ 185 w 261"/>
              <a:gd name="T9" fmla="*/ 226 h 261"/>
              <a:gd name="T10" fmla="*/ 130 w 261"/>
              <a:gd name="T11" fmla="*/ 190 h 261"/>
              <a:gd name="T12" fmla="*/ 75 w 261"/>
              <a:gd name="T13" fmla="*/ 226 h 261"/>
              <a:gd name="T14" fmla="*/ 90 w 261"/>
              <a:gd name="T15" fmla="*/ 159 h 261"/>
              <a:gd name="T16" fmla="*/ 39 w 261"/>
              <a:gd name="T17" fmla="*/ 112 h 261"/>
              <a:gd name="T18" fmla="*/ 106 w 261"/>
              <a:gd name="T19" fmla="*/ 106 h 261"/>
              <a:gd name="T20" fmla="*/ 130 w 261"/>
              <a:gd name="T21" fmla="*/ 45 h 261"/>
              <a:gd name="T22" fmla="*/ 130 w 261"/>
              <a:gd name="T23" fmla="*/ 0 h 261"/>
              <a:gd name="T24" fmla="*/ 94 w 261"/>
              <a:gd name="T25" fmla="*/ 92 h 261"/>
              <a:gd name="T26" fmla="*/ 0 w 261"/>
              <a:gd name="T27" fmla="*/ 100 h 261"/>
              <a:gd name="T28" fmla="*/ 71 w 261"/>
              <a:gd name="T29" fmla="*/ 165 h 261"/>
              <a:gd name="T30" fmla="*/ 49 w 261"/>
              <a:gd name="T31" fmla="*/ 261 h 261"/>
              <a:gd name="T32" fmla="*/ 130 w 261"/>
              <a:gd name="T33" fmla="*/ 210 h 261"/>
              <a:gd name="T34" fmla="*/ 212 w 261"/>
              <a:gd name="T35" fmla="*/ 261 h 261"/>
              <a:gd name="T36" fmla="*/ 190 w 261"/>
              <a:gd name="T37" fmla="*/ 165 h 261"/>
              <a:gd name="T38" fmla="*/ 261 w 261"/>
              <a:gd name="T39" fmla="*/ 100 h 261"/>
              <a:gd name="T40" fmla="*/ 167 w 261"/>
              <a:gd name="T41" fmla="*/ 92 h 261"/>
              <a:gd name="T42" fmla="*/ 130 w 261"/>
              <a:gd name="T43" fmla="*/ 0 h 261"/>
              <a:gd name="T44" fmla="*/ 130 w 261"/>
              <a:gd name="T4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261">
                <a:moveTo>
                  <a:pt x="130" y="45"/>
                </a:moveTo>
                <a:lnTo>
                  <a:pt x="155" y="106"/>
                </a:lnTo>
                <a:lnTo>
                  <a:pt x="222" y="112"/>
                </a:lnTo>
                <a:lnTo>
                  <a:pt x="171" y="159"/>
                </a:lnTo>
                <a:lnTo>
                  <a:pt x="185" y="226"/>
                </a:lnTo>
                <a:lnTo>
                  <a:pt x="130" y="190"/>
                </a:lnTo>
                <a:lnTo>
                  <a:pt x="75" y="226"/>
                </a:lnTo>
                <a:lnTo>
                  <a:pt x="90" y="159"/>
                </a:lnTo>
                <a:lnTo>
                  <a:pt x="39" y="112"/>
                </a:lnTo>
                <a:lnTo>
                  <a:pt x="106" y="106"/>
                </a:lnTo>
                <a:lnTo>
                  <a:pt x="130" y="45"/>
                </a:lnTo>
                <a:close/>
                <a:moveTo>
                  <a:pt x="130" y="0"/>
                </a:moveTo>
                <a:lnTo>
                  <a:pt x="94" y="92"/>
                </a:lnTo>
                <a:lnTo>
                  <a:pt x="0" y="100"/>
                </a:lnTo>
                <a:lnTo>
                  <a:pt x="71" y="165"/>
                </a:lnTo>
                <a:lnTo>
                  <a:pt x="49" y="261"/>
                </a:lnTo>
                <a:lnTo>
                  <a:pt x="130" y="210"/>
                </a:lnTo>
                <a:lnTo>
                  <a:pt x="212" y="261"/>
                </a:lnTo>
                <a:lnTo>
                  <a:pt x="190" y="165"/>
                </a:lnTo>
                <a:lnTo>
                  <a:pt x="261" y="100"/>
                </a:lnTo>
                <a:lnTo>
                  <a:pt x="167" y="92"/>
                </a:lnTo>
                <a:lnTo>
                  <a:pt x="130" y="0"/>
                </a:lnTo>
                <a:lnTo>
                  <a:pt x="13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0" name="Freeform 55">
            <a:extLst>
              <a:ext uri="{FF2B5EF4-FFF2-40B4-BE49-F238E27FC236}">
                <a16:creationId xmlns:a16="http://schemas.microsoft.com/office/drawing/2014/main" id="{F07E5AB5-3EFC-4C32-8672-E78627F381CE}"/>
              </a:ext>
            </a:extLst>
          </p:cNvPr>
          <p:cNvSpPr>
            <a:spLocks noEditPoints="1"/>
          </p:cNvSpPr>
          <p:nvPr/>
        </p:nvSpPr>
        <p:spPr bwMode="auto">
          <a:xfrm>
            <a:off x="3750464" y="3248034"/>
            <a:ext cx="359776" cy="359776"/>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 name="T20" fmla="*/ 104 w 128"/>
              <a:gd name="T21" fmla="*/ 56 h 128"/>
              <a:gd name="T22" fmla="*/ 24 w 128"/>
              <a:gd name="T23" fmla="*/ 56 h 128"/>
              <a:gd name="T24" fmla="*/ 24 w 128"/>
              <a:gd name="T25" fmla="*/ 72 h 128"/>
              <a:gd name="T26" fmla="*/ 104 w 128"/>
              <a:gd name="T27" fmla="*/ 72 h 128"/>
              <a:gd name="T28" fmla="*/ 104 w 128"/>
              <a:gd name="T29"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28">
                <a:moveTo>
                  <a:pt x="64" y="128"/>
                </a:moveTo>
                <a:cubicBezTo>
                  <a:pt x="29" y="128"/>
                  <a:pt x="0" y="99"/>
                  <a:pt x="0" y="64"/>
                </a:cubicBezTo>
                <a:cubicBezTo>
                  <a:pt x="0" y="29"/>
                  <a:pt x="29" y="0"/>
                  <a:pt x="64" y="0"/>
                </a:cubicBezTo>
                <a:cubicBezTo>
                  <a:pt x="99" y="0"/>
                  <a:pt x="128" y="29"/>
                  <a:pt x="128" y="64"/>
                </a:cubicBezTo>
                <a:cubicBezTo>
                  <a:pt x="128" y="99"/>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moveTo>
                  <a:pt x="104" y="56"/>
                </a:moveTo>
                <a:cubicBezTo>
                  <a:pt x="24" y="56"/>
                  <a:pt x="24" y="56"/>
                  <a:pt x="24" y="56"/>
                </a:cubicBezTo>
                <a:cubicBezTo>
                  <a:pt x="24" y="72"/>
                  <a:pt x="24" y="72"/>
                  <a:pt x="24" y="72"/>
                </a:cubicBezTo>
                <a:cubicBezTo>
                  <a:pt x="104" y="72"/>
                  <a:pt x="104" y="72"/>
                  <a:pt x="104" y="72"/>
                </a:cubicBezTo>
                <a:lnTo>
                  <a:pt x="104" y="5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1" name="Freeform 59">
            <a:extLst>
              <a:ext uri="{FF2B5EF4-FFF2-40B4-BE49-F238E27FC236}">
                <a16:creationId xmlns:a16="http://schemas.microsoft.com/office/drawing/2014/main" id="{019883B5-A9D9-4C83-81F8-602521C553AD}"/>
              </a:ext>
            </a:extLst>
          </p:cNvPr>
          <p:cNvSpPr>
            <a:spLocks noEditPoints="1"/>
          </p:cNvSpPr>
          <p:nvPr/>
        </p:nvSpPr>
        <p:spPr bwMode="auto">
          <a:xfrm>
            <a:off x="614854" y="4155983"/>
            <a:ext cx="358392" cy="308576"/>
          </a:xfrm>
          <a:custGeom>
            <a:avLst/>
            <a:gdLst>
              <a:gd name="T0" fmla="*/ 65 w 127"/>
              <a:gd name="T1" fmla="*/ 98 h 109"/>
              <a:gd name="T2" fmla="*/ 54 w 127"/>
              <a:gd name="T3" fmla="*/ 109 h 109"/>
              <a:gd name="T4" fmla="*/ 44 w 127"/>
              <a:gd name="T5" fmla="*/ 98 h 109"/>
              <a:gd name="T6" fmla="*/ 54 w 127"/>
              <a:gd name="T7" fmla="*/ 88 h 109"/>
              <a:gd name="T8" fmla="*/ 65 w 127"/>
              <a:gd name="T9" fmla="*/ 98 h 109"/>
              <a:gd name="T10" fmla="*/ 98 w 127"/>
              <a:gd name="T11" fmla="*/ 88 h 109"/>
              <a:gd name="T12" fmla="*/ 87 w 127"/>
              <a:gd name="T13" fmla="*/ 98 h 109"/>
              <a:gd name="T14" fmla="*/ 98 w 127"/>
              <a:gd name="T15" fmla="*/ 109 h 109"/>
              <a:gd name="T16" fmla="*/ 108 w 127"/>
              <a:gd name="T17" fmla="*/ 98 h 109"/>
              <a:gd name="T18" fmla="*/ 98 w 127"/>
              <a:gd name="T19" fmla="*/ 88 h 109"/>
              <a:gd name="T20" fmla="*/ 111 w 127"/>
              <a:gd name="T21" fmla="*/ 80 h 109"/>
              <a:gd name="T22" fmla="*/ 41 w 127"/>
              <a:gd name="T23" fmla="*/ 80 h 109"/>
              <a:gd name="T24" fmla="*/ 20 w 127"/>
              <a:gd name="T25" fmla="*/ 8 h 109"/>
              <a:gd name="T26" fmla="*/ 0 w 127"/>
              <a:gd name="T27" fmla="*/ 8 h 109"/>
              <a:gd name="T28" fmla="*/ 0 w 127"/>
              <a:gd name="T29" fmla="*/ 0 h 109"/>
              <a:gd name="T30" fmla="*/ 26 w 127"/>
              <a:gd name="T31" fmla="*/ 0 h 109"/>
              <a:gd name="T32" fmla="*/ 34 w 127"/>
              <a:gd name="T33" fmla="*/ 28 h 109"/>
              <a:gd name="T34" fmla="*/ 127 w 127"/>
              <a:gd name="T35" fmla="*/ 28 h 109"/>
              <a:gd name="T36" fmla="*/ 111 w 127"/>
              <a:gd name="T37" fmla="*/ 80 h 109"/>
              <a:gd name="T38" fmla="*/ 116 w 127"/>
              <a:gd name="T39" fmla="*/ 36 h 109"/>
              <a:gd name="T40" fmla="*/ 36 w 127"/>
              <a:gd name="T41" fmla="*/ 36 h 109"/>
              <a:gd name="T42" fmla="*/ 47 w 127"/>
              <a:gd name="T43" fmla="*/ 72 h 109"/>
              <a:gd name="T44" fmla="*/ 105 w 127"/>
              <a:gd name="T45" fmla="*/ 72 h 109"/>
              <a:gd name="T46" fmla="*/ 116 w 127"/>
              <a:gd name="T47" fmla="*/ 3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09">
                <a:moveTo>
                  <a:pt x="65" y="98"/>
                </a:moveTo>
                <a:cubicBezTo>
                  <a:pt x="65" y="104"/>
                  <a:pt x="60" y="109"/>
                  <a:pt x="54" y="109"/>
                </a:cubicBezTo>
                <a:cubicBezTo>
                  <a:pt x="49" y="109"/>
                  <a:pt x="44" y="104"/>
                  <a:pt x="44" y="98"/>
                </a:cubicBezTo>
                <a:cubicBezTo>
                  <a:pt x="44" y="93"/>
                  <a:pt x="49" y="88"/>
                  <a:pt x="54" y="88"/>
                </a:cubicBezTo>
                <a:cubicBezTo>
                  <a:pt x="60" y="88"/>
                  <a:pt x="65" y="93"/>
                  <a:pt x="65" y="98"/>
                </a:cubicBezTo>
                <a:close/>
                <a:moveTo>
                  <a:pt x="98" y="88"/>
                </a:moveTo>
                <a:cubicBezTo>
                  <a:pt x="92" y="88"/>
                  <a:pt x="87" y="93"/>
                  <a:pt x="87" y="98"/>
                </a:cubicBezTo>
                <a:cubicBezTo>
                  <a:pt x="87" y="104"/>
                  <a:pt x="92" y="109"/>
                  <a:pt x="98" y="109"/>
                </a:cubicBezTo>
                <a:cubicBezTo>
                  <a:pt x="103" y="109"/>
                  <a:pt x="108" y="104"/>
                  <a:pt x="108" y="98"/>
                </a:cubicBezTo>
                <a:cubicBezTo>
                  <a:pt x="108" y="93"/>
                  <a:pt x="103" y="88"/>
                  <a:pt x="98" y="88"/>
                </a:cubicBezTo>
                <a:close/>
                <a:moveTo>
                  <a:pt x="111" y="80"/>
                </a:moveTo>
                <a:cubicBezTo>
                  <a:pt x="41" y="80"/>
                  <a:pt x="41" y="80"/>
                  <a:pt x="41" y="80"/>
                </a:cubicBezTo>
                <a:cubicBezTo>
                  <a:pt x="20" y="8"/>
                  <a:pt x="20" y="8"/>
                  <a:pt x="20" y="8"/>
                </a:cubicBezTo>
                <a:cubicBezTo>
                  <a:pt x="0" y="8"/>
                  <a:pt x="0" y="8"/>
                  <a:pt x="0" y="8"/>
                </a:cubicBezTo>
                <a:cubicBezTo>
                  <a:pt x="0" y="0"/>
                  <a:pt x="0" y="0"/>
                  <a:pt x="0" y="0"/>
                </a:cubicBezTo>
                <a:cubicBezTo>
                  <a:pt x="26" y="0"/>
                  <a:pt x="26" y="0"/>
                  <a:pt x="26" y="0"/>
                </a:cubicBezTo>
                <a:cubicBezTo>
                  <a:pt x="34" y="28"/>
                  <a:pt x="34" y="28"/>
                  <a:pt x="34" y="28"/>
                </a:cubicBezTo>
                <a:cubicBezTo>
                  <a:pt x="127" y="28"/>
                  <a:pt x="127" y="28"/>
                  <a:pt x="127" y="28"/>
                </a:cubicBezTo>
                <a:lnTo>
                  <a:pt x="111" y="80"/>
                </a:lnTo>
                <a:close/>
                <a:moveTo>
                  <a:pt x="116" y="36"/>
                </a:moveTo>
                <a:cubicBezTo>
                  <a:pt x="36" y="36"/>
                  <a:pt x="36" y="36"/>
                  <a:pt x="36" y="36"/>
                </a:cubicBezTo>
                <a:cubicBezTo>
                  <a:pt x="47" y="72"/>
                  <a:pt x="47" y="72"/>
                  <a:pt x="47" y="72"/>
                </a:cubicBezTo>
                <a:cubicBezTo>
                  <a:pt x="105" y="72"/>
                  <a:pt x="105" y="72"/>
                  <a:pt x="105" y="72"/>
                </a:cubicBezTo>
                <a:lnTo>
                  <a:pt x="116" y="3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2" name="Freeform 63">
            <a:extLst>
              <a:ext uri="{FF2B5EF4-FFF2-40B4-BE49-F238E27FC236}">
                <a16:creationId xmlns:a16="http://schemas.microsoft.com/office/drawing/2014/main" id="{929593D3-8118-4B8E-B4CE-2A3BC9A859B8}"/>
              </a:ext>
            </a:extLst>
          </p:cNvPr>
          <p:cNvSpPr>
            <a:spLocks noEditPoints="1"/>
          </p:cNvSpPr>
          <p:nvPr/>
        </p:nvSpPr>
        <p:spPr bwMode="auto">
          <a:xfrm>
            <a:off x="1666632" y="4202621"/>
            <a:ext cx="414338" cy="261938"/>
          </a:xfrm>
          <a:custGeom>
            <a:avLst/>
            <a:gdLst>
              <a:gd name="T0" fmla="*/ 49 w 261"/>
              <a:gd name="T1" fmla="*/ 140 h 165"/>
              <a:gd name="T2" fmla="*/ 24 w 261"/>
              <a:gd name="T3" fmla="*/ 165 h 165"/>
              <a:gd name="T4" fmla="*/ 0 w 261"/>
              <a:gd name="T5" fmla="*/ 140 h 165"/>
              <a:gd name="T6" fmla="*/ 24 w 261"/>
              <a:gd name="T7" fmla="*/ 115 h 165"/>
              <a:gd name="T8" fmla="*/ 49 w 261"/>
              <a:gd name="T9" fmla="*/ 140 h 165"/>
              <a:gd name="T10" fmla="*/ 188 w 261"/>
              <a:gd name="T11" fmla="*/ 0 h 165"/>
              <a:gd name="T12" fmla="*/ 188 w 261"/>
              <a:gd name="T13" fmla="*/ 17 h 165"/>
              <a:gd name="T14" fmla="*/ 232 w 261"/>
              <a:gd name="T15" fmla="*/ 17 h 165"/>
              <a:gd name="T16" fmla="*/ 167 w 261"/>
              <a:gd name="T17" fmla="*/ 85 h 165"/>
              <a:gd name="T18" fmla="*/ 104 w 261"/>
              <a:gd name="T19" fmla="*/ 49 h 165"/>
              <a:gd name="T20" fmla="*/ 49 w 261"/>
              <a:gd name="T21" fmla="*/ 105 h 165"/>
              <a:gd name="T22" fmla="*/ 59 w 261"/>
              <a:gd name="T23" fmla="*/ 118 h 165"/>
              <a:gd name="T24" fmla="*/ 106 w 261"/>
              <a:gd name="T25" fmla="*/ 70 h 165"/>
              <a:gd name="T26" fmla="*/ 169 w 261"/>
              <a:gd name="T27" fmla="*/ 105 h 165"/>
              <a:gd name="T28" fmla="*/ 245 w 261"/>
              <a:gd name="T29" fmla="*/ 29 h 165"/>
              <a:gd name="T30" fmla="*/ 245 w 261"/>
              <a:gd name="T31" fmla="*/ 74 h 165"/>
              <a:gd name="T32" fmla="*/ 261 w 261"/>
              <a:gd name="T33" fmla="*/ 74 h 165"/>
              <a:gd name="T34" fmla="*/ 261 w 261"/>
              <a:gd name="T35" fmla="*/ 0 h 165"/>
              <a:gd name="T36" fmla="*/ 188 w 261"/>
              <a:gd name="T37"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1" h="165">
                <a:moveTo>
                  <a:pt x="49" y="140"/>
                </a:moveTo>
                <a:lnTo>
                  <a:pt x="24" y="165"/>
                </a:lnTo>
                <a:lnTo>
                  <a:pt x="0" y="140"/>
                </a:lnTo>
                <a:lnTo>
                  <a:pt x="24" y="115"/>
                </a:lnTo>
                <a:lnTo>
                  <a:pt x="49" y="140"/>
                </a:lnTo>
                <a:close/>
                <a:moveTo>
                  <a:pt x="188" y="0"/>
                </a:moveTo>
                <a:lnTo>
                  <a:pt x="188" y="17"/>
                </a:lnTo>
                <a:lnTo>
                  <a:pt x="232" y="17"/>
                </a:lnTo>
                <a:lnTo>
                  <a:pt x="167" y="85"/>
                </a:lnTo>
                <a:lnTo>
                  <a:pt x="104" y="49"/>
                </a:lnTo>
                <a:lnTo>
                  <a:pt x="49" y="105"/>
                </a:lnTo>
                <a:lnTo>
                  <a:pt x="59" y="118"/>
                </a:lnTo>
                <a:lnTo>
                  <a:pt x="106" y="70"/>
                </a:lnTo>
                <a:lnTo>
                  <a:pt x="169" y="105"/>
                </a:lnTo>
                <a:lnTo>
                  <a:pt x="245" y="29"/>
                </a:lnTo>
                <a:lnTo>
                  <a:pt x="245" y="74"/>
                </a:lnTo>
                <a:lnTo>
                  <a:pt x="261" y="74"/>
                </a:lnTo>
                <a:lnTo>
                  <a:pt x="261" y="0"/>
                </a:lnTo>
                <a:lnTo>
                  <a:pt x="188"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3" name="Freeform 67">
            <a:extLst>
              <a:ext uri="{FF2B5EF4-FFF2-40B4-BE49-F238E27FC236}">
                <a16:creationId xmlns:a16="http://schemas.microsoft.com/office/drawing/2014/main" id="{BE7638B8-1843-4D69-A610-13B7D858C583}"/>
              </a:ext>
            </a:extLst>
          </p:cNvPr>
          <p:cNvSpPr>
            <a:spLocks noEditPoints="1"/>
          </p:cNvSpPr>
          <p:nvPr/>
        </p:nvSpPr>
        <p:spPr bwMode="auto">
          <a:xfrm>
            <a:off x="2700514" y="4095753"/>
            <a:ext cx="368806" cy="368806"/>
          </a:xfrm>
          <a:custGeom>
            <a:avLst/>
            <a:gdLst>
              <a:gd name="T0" fmla="*/ 120 w 128"/>
              <a:gd name="T1" fmla="*/ 8 h 128"/>
              <a:gd name="T2" fmla="*/ 120 w 128"/>
              <a:gd name="T3" fmla="*/ 120 h 128"/>
              <a:gd name="T4" fmla="*/ 8 w 128"/>
              <a:gd name="T5" fmla="*/ 120 h 128"/>
              <a:gd name="T6" fmla="*/ 8 w 128"/>
              <a:gd name="T7" fmla="*/ 8 h 128"/>
              <a:gd name="T8" fmla="*/ 120 w 128"/>
              <a:gd name="T9" fmla="*/ 8 h 128"/>
              <a:gd name="T10" fmla="*/ 128 w 128"/>
              <a:gd name="T11" fmla="*/ 0 h 128"/>
              <a:gd name="T12" fmla="*/ 0 w 128"/>
              <a:gd name="T13" fmla="*/ 0 h 128"/>
              <a:gd name="T14" fmla="*/ 0 w 128"/>
              <a:gd name="T15" fmla="*/ 128 h 128"/>
              <a:gd name="T16" fmla="*/ 128 w 128"/>
              <a:gd name="T17" fmla="*/ 128 h 128"/>
              <a:gd name="T18" fmla="*/ 128 w 128"/>
              <a:gd name="T19" fmla="*/ 0 h 128"/>
              <a:gd name="T20" fmla="*/ 108 w 128"/>
              <a:gd name="T21" fmla="*/ 116 h 128"/>
              <a:gd name="T22" fmla="*/ 20 w 128"/>
              <a:gd name="T23" fmla="*/ 116 h 128"/>
              <a:gd name="T24" fmla="*/ 20 w 128"/>
              <a:gd name="T25" fmla="*/ 24 h 128"/>
              <a:gd name="T26" fmla="*/ 108 w 128"/>
              <a:gd name="T27" fmla="*/ 24 h 128"/>
              <a:gd name="T28" fmla="*/ 108 w 128"/>
              <a:gd name="T29" fmla="*/ 116 h 128"/>
              <a:gd name="T30" fmla="*/ 28 w 128"/>
              <a:gd name="T31" fmla="*/ 108 h 128"/>
              <a:gd name="T32" fmla="*/ 100 w 128"/>
              <a:gd name="T33" fmla="*/ 108 h 128"/>
              <a:gd name="T34" fmla="*/ 100 w 128"/>
              <a:gd name="T35" fmla="*/ 32 h 128"/>
              <a:gd name="T36" fmla="*/ 28 w 128"/>
              <a:gd name="T37" fmla="*/ 32 h 128"/>
              <a:gd name="T38" fmla="*/ 28 w 128"/>
              <a:gd name="T39" fmla="*/ 108 h 128"/>
              <a:gd name="T40" fmla="*/ 92 w 128"/>
              <a:gd name="T41" fmla="*/ 40 h 128"/>
              <a:gd name="T42" fmla="*/ 36 w 128"/>
              <a:gd name="T43" fmla="*/ 40 h 128"/>
              <a:gd name="T44" fmla="*/ 36 w 128"/>
              <a:gd name="T45" fmla="*/ 72 h 128"/>
              <a:gd name="T46" fmla="*/ 92 w 128"/>
              <a:gd name="T47" fmla="*/ 72 h 128"/>
              <a:gd name="T48" fmla="*/ 92 w 128"/>
              <a:gd name="T49" fmla="*/ 40 h 128"/>
              <a:gd name="T50" fmla="*/ 40 w 128"/>
              <a:gd name="T51" fmla="*/ 84 h 128"/>
              <a:gd name="T52" fmla="*/ 32 w 128"/>
              <a:gd name="T53" fmla="*/ 92 h 128"/>
              <a:gd name="T54" fmla="*/ 40 w 128"/>
              <a:gd name="T55" fmla="*/ 100 h 128"/>
              <a:gd name="T56" fmla="*/ 48 w 128"/>
              <a:gd name="T57" fmla="*/ 92 h 128"/>
              <a:gd name="T58" fmla="*/ 40 w 128"/>
              <a:gd name="T59" fmla="*/ 84 h 128"/>
              <a:gd name="T60" fmla="*/ 88 w 128"/>
              <a:gd name="T61" fmla="*/ 84 h 128"/>
              <a:gd name="T62" fmla="*/ 80 w 128"/>
              <a:gd name="T63" fmla="*/ 92 h 128"/>
              <a:gd name="T64" fmla="*/ 88 w 128"/>
              <a:gd name="T65" fmla="*/ 100 h 128"/>
              <a:gd name="T66" fmla="*/ 96 w 128"/>
              <a:gd name="T67" fmla="*/ 92 h 128"/>
              <a:gd name="T68" fmla="*/ 88 w 128"/>
              <a:gd name="T69" fmla="*/ 8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8" h="128">
                <a:moveTo>
                  <a:pt x="120" y="8"/>
                </a:moveTo>
                <a:cubicBezTo>
                  <a:pt x="120" y="120"/>
                  <a:pt x="120" y="120"/>
                  <a:pt x="120" y="120"/>
                </a:cubicBezTo>
                <a:cubicBezTo>
                  <a:pt x="8" y="120"/>
                  <a:pt x="8" y="120"/>
                  <a:pt x="8" y="120"/>
                </a:cubicBezTo>
                <a:cubicBezTo>
                  <a:pt x="8" y="8"/>
                  <a:pt x="8" y="8"/>
                  <a:pt x="8" y="8"/>
                </a:cubicBezTo>
                <a:cubicBezTo>
                  <a:pt x="120" y="8"/>
                  <a:pt x="120" y="8"/>
                  <a:pt x="120" y="8"/>
                </a:cubicBezTo>
                <a:moveTo>
                  <a:pt x="128" y="0"/>
                </a:moveTo>
                <a:cubicBezTo>
                  <a:pt x="0" y="0"/>
                  <a:pt x="0" y="0"/>
                  <a:pt x="0" y="0"/>
                </a:cubicBezTo>
                <a:cubicBezTo>
                  <a:pt x="0" y="128"/>
                  <a:pt x="0" y="128"/>
                  <a:pt x="0" y="128"/>
                </a:cubicBezTo>
                <a:cubicBezTo>
                  <a:pt x="128" y="128"/>
                  <a:pt x="128" y="128"/>
                  <a:pt x="128" y="128"/>
                </a:cubicBezTo>
                <a:cubicBezTo>
                  <a:pt x="128" y="0"/>
                  <a:pt x="128" y="0"/>
                  <a:pt x="128" y="0"/>
                </a:cubicBezTo>
                <a:close/>
                <a:moveTo>
                  <a:pt x="108" y="116"/>
                </a:moveTo>
                <a:cubicBezTo>
                  <a:pt x="20" y="116"/>
                  <a:pt x="20" y="116"/>
                  <a:pt x="20" y="116"/>
                </a:cubicBezTo>
                <a:cubicBezTo>
                  <a:pt x="20" y="24"/>
                  <a:pt x="20" y="24"/>
                  <a:pt x="20" y="24"/>
                </a:cubicBezTo>
                <a:cubicBezTo>
                  <a:pt x="108" y="24"/>
                  <a:pt x="108" y="24"/>
                  <a:pt x="108" y="24"/>
                </a:cubicBezTo>
                <a:lnTo>
                  <a:pt x="108" y="116"/>
                </a:lnTo>
                <a:close/>
                <a:moveTo>
                  <a:pt x="28" y="108"/>
                </a:moveTo>
                <a:cubicBezTo>
                  <a:pt x="100" y="108"/>
                  <a:pt x="100" y="108"/>
                  <a:pt x="100" y="108"/>
                </a:cubicBezTo>
                <a:cubicBezTo>
                  <a:pt x="100" y="32"/>
                  <a:pt x="100" y="32"/>
                  <a:pt x="100" y="32"/>
                </a:cubicBezTo>
                <a:cubicBezTo>
                  <a:pt x="28" y="32"/>
                  <a:pt x="28" y="32"/>
                  <a:pt x="28" y="32"/>
                </a:cubicBezTo>
                <a:lnTo>
                  <a:pt x="28" y="108"/>
                </a:lnTo>
                <a:close/>
                <a:moveTo>
                  <a:pt x="92" y="40"/>
                </a:moveTo>
                <a:cubicBezTo>
                  <a:pt x="36" y="40"/>
                  <a:pt x="36" y="40"/>
                  <a:pt x="36" y="40"/>
                </a:cubicBezTo>
                <a:cubicBezTo>
                  <a:pt x="36" y="72"/>
                  <a:pt x="36" y="72"/>
                  <a:pt x="36" y="72"/>
                </a:cubicBezTo>
                <a:cubicBezTo>
                  <a:pt x="92" y="72"/>
                  <a:pt x="92" y="72"/>
                  <a:pt x="92" y="72"/>
                </a:cubicBezTo>
                <a:lnTo>
                  <a:pt x="92" y="40"/>
                </a:lnTo>
                <a:close/>
                <a:moveTo>
                  <a:pt x="40" y="84"/>
                </a:moveTo>
                <a:cubicBezTo>
                  <a:pt x="36" y="84"/>
                  <a:pt x="32" y="87"/>
                  <a:pt x="32" y="92"/>
                </a:cubicBezTo>
                <a:cubicBezTo>
                  <a:pt x="32" y="96"/>
                  <a:pt x="36" y="100"/>
                  <a:pt x="40" y="100"/>
                </a:cubicBezTo>
                <a:cubicBezTo>
                  <a:pt x="44" y="100"/>
                  <a:pt x="48" y="96"/>
                  <a:pt x="48" y="92"/>
                </a:cubicBezTo>
                <a:cubicBezTo>
                  <a:pt x="48" y="87"/>
                  <a:pt x="44" y="84"/>
                  <a:pt x="40" y="84"/>
                </a:cubicBezTo>
                <a:close/>
                <a:moveTo>
                  <a:pt x="88" y="84"/>
                </a:moveTo>
                <a:cubicBezTo>
                  <a:pt x="84" y="84"/>
                  <a:pt x="80" y="88"/>
                  <a:pt x="80" y="92"/>
                </a:cubicBezTo>
                <a:cubicBezTo>
                  <a:pt x="80" y="96"/>
                  <a:pt x="84" y="100"/>
                  <a:pt x="88" y="100"/>
                </a:cubicBezTo>
                <a:cubicBezTo>
                  <a:pt x="92" y="100"/>
                  <a:pt x="96" y="96"/>
                  <a:pt x="96" y="92"/>
                </a:cubicBezTo>
                <a:cubicBezTo>
                  <a:pt x="96" y="88"/>
                  <a:pt x="92" y="84"/>
                  <a:pt x="88" y="8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4" name="Freeform 71">
            <a:extLst>
              <a:ext uri="{FF2B5EF4-FFF2-40B4-BE49-F238E27FC236}">
                <a16:creationId xmlns:a16="http://schemas.microsoft.com/office/drawing/2014/main" id="{BEEA77C1-942B-4ABC-81A8-1EDF12D799E6}"/>
              </a:ext>
            </a:extLst>
          </p:cNvPr>
          <p:cNvSpPr>
            <a:spLocks noEditPoints="1"/>
          </p:cNvSpPr>
          <p:nvPr/>
        </p:nvSpPr>
        <p:spPr bwMode="auto">
          <a:xfrm>
            <a:off x="3758715" y="4095753"/>
            <a:ext cx="343274" cy="368806"/>
          </a:xfrm>
          <a:custGeom>
            <a:avLst/>
            <a:gdLst>
              <a:gd name="T0" fmla="*/ 138 w 242"/>
              <a:gd name="T1" fmla="*/ 231 h 260"/>
              <a:gd name="T2" fmla="*/ 83 w 242"/>
              <a:gd name="T3" fmla="*/ 177 h 260"/>
              <a:gd name="T4" fmla="*/ 96 w 242"/>
              <a:gd name="T5" fmla="*/ 164 h 260"/>
              <a:gd name="T6" fmla="*/ 138 w 242"/>
              <a:gd name="T7" fmla="*/ 207 h 260"/>
              <a:gd name="T8" fmla="*/ 230 w 242"/>
              <a:gd name="T9" fmla="*/ 116 h 260"/>
              <a:gd name="T10" fmla="*/ 242 w 242"/>
              <a:gd name="T11" fmla="*/ 128 h 260"/>
              <a:gd name="T12" fmla="*/ 138 w 242"/>
              <a:gd name="T13" fmla="*/ 231 h 260"/>
              <a:gd name="T14" fmla="*/ 65 w 242"/>
              <a:gd name="T15" fmla="*/ 32 h 260"/>
              <a:gd name="T16" fmla="*/ 33 w 242"/>
              <a:gd name="T17" fmla="*/ 32 h 260"/>
              <a:gd name="T18" fmla="*/ 33 w 242"/>
              <a:gd name="T19" fmla="*/ 65 h 260"/>
              <a:gd name="T20" fmla="*/ 65 w 242"/>
              <a:gd name="T21" fmla="*/ 65 h 260"/>
              <a:gd name="T22" fmla="*/ 65 w 242"/>
              <a:gd name="T23" fmla="*/ 32 h 260"/>
              <a:gd name="T24" fmla="*/ 65 w 242"/>
              <a:gd name="T25" fmla="*/ 81 h 260"/>
              <a:gd name="T26" fmla="*/ 33 w 242"/>
              <a:gd name="T27" fmla="*/ 81 h 260"/>
              <a:gd name="T28" fmla="*/ 33 w 242"/>
              <a:gd name="T29" fmla="*/ 114 h 260"/>
              <a:gd name="T30" fmla="*/ 65 w 242"/>
              <a:gd name="T31" fmla="*/ 114 h 260"/>
              <a:gd name="T32" fmla="*/ 65 w 242"/>
              <a:gd name="T33" fmla="*/ 81 h 260"/>
              <a:gd name="T34" fmla="*/ 65 w 242"/>
              <a:gd name="T35" fmla="*/ 130 h 260"/>
              <a:gd name="T36" fmla="*/ 33 w 242"/>
              <a:gd name="T37" fmla="*/ 130 h 260"/>
              <a:gd name="T38" fmla="*/ 33 w 242"/>
              <a:gd name="T39" fmla="*/ 162 h 260"/>
              <a:gd name="T40" fmla="*/ 65 w 242"/>
              <a:gd name="T41" fmla="*/ 162 h 260"/>
              <a:gd name="T42" fmla="*/ 65 w 242"/>
              <a:gd name="T43" fmla="*/ 130 h 260"/>
              <a:gd name="T44" fmla="*/ 195 w 242"/>
              <a:gd name="T45" fmla="*/ 0 h 260"/>
              <a:gd name="T46" fmla="*/ 0 w 242"/>
              <a:gd name="T47" fmla="*/ 0 h 260"/>
              <a:gd name="T48" fmla="*/ 0 w 242"/>
              <a:gd name="T49" fmla="*/ 260 h 260"/>
              <a:gd name="T50" fmla="*/ 81 w 242"/>
              <a:gd name="T51" fmla="*/ 260 h 260"/>
              <a:gd name="T52" fmla="*/ 81 w 242"/>
              <a:gd name="T53" fmla="*/ 260 h 260"/>
              <a:gd name="T54" fmla="*/ 81 w 242"/>
              <a:gd name="T55" fmla="*/ 244 h 260"/>
              <a:gd name="T56" fmla="*/ 81 w 242"/>
              <a:gd name="T57" fmla="*/ 244 h 260"/>
              <a:gd name="T58" fmla="*/ 16 w 242"/>
              <a:gd name="T59" fmla="*/ 244 h 260"/>
              <a:gd name="T60" fmla="*/ 16 w 242"/>
              <a:gd name="T61" fmla="*/ 16 h 260"/>
              <a:gd name="T62" fmla="*/ 179 w 242"/>
              <a:gd name="T63" fmla="*/ 16 h 260"/>
              <a:gd name="T64" fmla="*/ 179 w 242"/>
              <a:gd name="T65" fmla="*/ 114 h 260"/>
              <a:gd name="T66" fmla="*/ 195 w 242"/>
              <a:gd name="T67" fmla="*/ 114 h 260"/>
              <a:gd name="T68" fmla="*/ 195 w 242"/>
              <a:gd name="T69"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2" h="260">
                <a:moveTo>
                  <a:pt x="138" y="231"/>
                </a:moveTo>
                <a:lnTo>
                  <a:pt x="83" y="177"/>
                </a:lnTo>
                <a:lnTo>
                  <a:pt x="96" y="164"/>
                </a:lnTo>
                <a:lnTo>
                  <a:pt x="138" y="207"/>
                </a:lnTo>
                <a:lnTo>
                  <a:pt x="230" y="116"/>
                </a:lnTo>
                <a:lnTo>
                  <a:pt x="242" y="128"/>
                </a:lnTo>
                <a:lnTo>
                  <a:pt x="138" y="231"/>
                </a:lnTo>
                <a:close/>
                <a:moveTo>
                  <a:pt x="65" y="32"/>
                </a:moveTo>
                <a:lnTo>
                  <a:pt x="33" y="32"/>
                </a:lnTo>
                <a:lnTo>
                  <a:pt x="33" y="65"/>
                </a:lnTo>
                <a:lnTo>
                  <a:pt x="65" y="65"/>
                </a:lnTo>
                <a:lnTo>
                  <a:pt x="65" y="32"/>
                </a:lnTo>
                <a:close/>
                <a:moveTo>
                  <a:pt x="65" y="81"/>
                </a:moveTo>
                <a:lnTo>
                  <a:pt x="33" y="81"/>
                </a:lnTo>
                <a:lnTo>
                  <a:pt x="33" y="114"/>
                </a:lnTo>
                <a:lnTo>
                  <a:pt x="65" y="114"/>
                </a:lnTo>
                <a:lnTo>
                  <a:pt x="65" y="81"/>
                </a:lnTo>
                <a:close/>
                <a:moveTo>
                  <a:pt x="65" y="130"/>
                </a:moveTo>
                <a:lnTo>
                  <a:pt x="33" y="130"/>
                </a:lnTo>
                <a:lnTo>
                  <a:pt x="33" y="162"/>
                </a:lnTo>
                <a:lnTo>
                  <a:pt x="65" y="162"/>
                </a:lnTo>
                <a:lnTo>
                  <a:pt x="65" y="130"/>
                </a:lnTo>
                <a:close/>
                <a:moveTo>
                  <a:pt x="195" y="0"/>
                </a:moveTo>
                <a:lnTo>
                  <a:pt x="0" y="0"/>
                </a:lnTo>
                <a:lnTo>
                  <a:pt x="0" y="260"/>
                </a:lnTo>
                <a:lnTo>
                  <a:pt x="81" y="260"/>
                </a:lnTo>
                <a:lnTo>
                  <a:pt x="81" y="260"/>
                </a:lnTo>
                <a:lnTo>
                  <a:pt x="81" y="244"/>
                </a:lnTo>
                <a:lnTo>
                  <a:pt x="81" y="244"/>
                </a:lnTo>
                <a:lnTo>
                  <a:pt x="16" y="244"/>
                </a:lnTo>
                <a:lnTo>
                  <a:pt x="16" y="16"/>
                </a:lnTo>
                <a:lnTo>
                  <a:pt x="179" y="16"/>
                </a:lnTo>
                <a:lnTo>
                  <a:pt x="179" y="114"/>
                </a:lnTo>
                <a:lnTo>
                  <a:pt x="195" y="114"/>
                </a:lnTo>
                <a:lnTo>
                  <a:pt x="195"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5" name="Freeform 75">
            <a:extLst>
              <a:ext uri="{FF2B5EF4-FFF2-40B4-BE49-F238E27FC236}">
                <a16:creationId xmlns:a16="http://schemas.microsoft.com/office/drawing/2014/main" id="{DA8E0BBD-94AC-43AA-AD87-4FD585678C5D}"/>
              </a:ext>
            </a:extLst>
          </p:cNvPr>
          <p:cNvSpPr>
            <a:spLocks noEditPoints="1"/>
          </p:cNvSpPr>
          <p:nvPr/>
        </p:nvSpPr>
        <p:spPr bwMode="auto">
          <a:xfrm>
            <a:off x="5061786" y="1636278"/>
            <a:ext cx="302138" cy="368806"/>
          </a:xfrm>
          <a:custGeom>
            <a:avLst/>
            <a:gdLst>
              <a:gd name="T0" fmla="*/ 66 w 104"/>
              <a:gd name="T1" fmla="*/ 114 h 128"/>
              <a:gd name="T2" fmla="*/ 80 w 104"/>
              <a:gd name="T3" fmla="*/ 120 h 128"/>
              <a:gd name="T4" fmla="*/ 77 w 104"/>
              <a:gd name="T5" fmla="*/ 128 h 128"/>
              <a:gd name="T6" fmla="*/ 49 w 104"/>
              <a:gd name="T7" fmla="*/ 116 h 128"/>
              <a:gd name="T8" fmla="*/ 62 w 104"/>
              <a:gd name="T9" fmla="*/ 88 h 128"/>
              <a:gd name="T10" fmla="*/ 70 w 104"/>
              <a:gd name="T11" fmla="*/ 92 h 128"/>
              <a:gd name="T12" fmla="*/ 63 w 104"/>
              <a:gd name="T13" fmla="*/ 105 h 128"/>
              <a:gd name="T14" fmla="*/ 64 w 104"/>
              <a:gd name="T15" fmla="*/ 105 h 128"/>
              <a:gd name="T16" fmla="*/ 95 w 104"/>
              <a:gd name="T17" fmla="*/ 63 h 128"/>
              <a:gd name="T18" fmla="*/ 60 w 104"/>
              <a:gd name="T19" fmla="*/ 21 h 128"/>
              <a:gd name="T20" fmla="*/ 60 w 104"/>
              <a:gd name="T21" fmla="*/ 21 h 128"/>
              <a:gd name="T22" fmla="*/ 64 w 104"/>
              <a:gd name="T23" fmla="*/ 13 h 128"/>
              <a:gd name="T24" fmla="*/ 104 w 104"/>
              <a:gd name="T25" fmla="*/ 63 h 128"/>
              <a:gd name="T26" fmla="*/ 66 w 104"/>
              <a:gd name="T27" fmla="*/ 114 h 128"/>
              <a:gd name="T28" fmla="*/ 44 w 104"/>
              <a:gd name="T29" fmla="*/ 107 h 128"/>
              <a:gd name="T30" fmla="*/ 44 w 104"/>
              <a:gd name="T31" fmla="*/ 107 h 128"/>
              <a:gd name="T32" fmla="*/ 9 w 104"/>
              <a:gd name="T33" fmla="*/ 65 h 128"/>
              <a:gd name="T34" fmla="*/ 40 w 104"/>
              <a:gd name="T35" fmla="*/ 23 h 128"/>
              <a:gd name="T36" fmla="*/ 41 w 104"/>
              <a:gd name="T37" fmla="*/ 23 h 128"/>
              <a:gd name="T38" fmla="*/ 34 w 104"/>
              <a:gd name="T39" fmla="*/ 36 h 128"/>
              <a:gd name="T40" fmla="*/ 42 w 104"/>
              <a:gd name="T41" fmla="*/ 40 h 128"/>
              <a:gd name="T42" fmla="*/ 55 w 104"/>
              <a:gd name="T43" fmla="*/ 12 h 128"/>
              <a:gd name="T44" fmla="*/ 27 w 104"/>
              <a:gd name="T45" fmla="*/ 0 h 128"/>
              <a:gd name="T46" fmla="*/ 24 w 104"/>
              <a:gd name="T47" fmla="*/ 8 h 128"/>
              <a:gd name="T48" fmla="*/ 38 w 104"/>
              <a:gd name="T49" fmla="*/ 14 h 128"/>
              <a:gd name="T50" fmla="*/ 0 w 104"/>
              <a:gd name="T51" fmla="*/ 65 h 128"/>
              <a:gd name="T52" fmla="*/ 40 w 104"/>
              <a:gd name="T53" fmla="*/ 115 h 128"/>
              <a:gd name="T54" fmla="*/ 44 w 104"/>
              <a:gd name="T55" fmla="*/ 10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128">
                <a:moveTo>
                  <a:pt x="66" y="114"/>
                </a:moveTo>
                <a:cubicBezTo>
                  <a:pt x="80" y="120"/>
                  <a:pt x="80" y="120"/>
                  <a:pt x="80" y="120"/>
                </a:cubicBezTo>
                <a:cubicBezTo>
                  <a:pt x="77" y="128"/>
                  <a:pt x="77" y="128"/>
                  <a:pt x="77" y="128"/>
                </a:cubicBezTo>
                <a:cubicBezTo>
                  <a:pt x="49" y="116"/>
                  <a:pt x="49" y="116"/>
                  <a:pt x="49" y="116"/>
                </a:cubicBezTo>
                <a:cubicBezTo>
                  <a:pt x="62" y="88"/>
                  <a:pt x="62" y="88"/>
                  <a:pt x="62" y="88"/>
                </a:cubicBezTo>
                <a:cubicBezTo>
                  <a:pt x="70" y="92"/>
                  <a:pt x="70" y="92"/>
                  <a:pt x="70" y="92"/>
                </a:cubicBezTo>
                <a:cubicBezTo>
                  <a:pt x="63" y="105"/>
                  <a:pt x="63" y="105"/>
                  <a:pt x="63" y="105"/>
                </a:cubicBezTo>
                <a:cubicBezTo>
                  <a:pt x="64" y="105"/>
                  <a:pt x="64" y="105"/>
                  <a:pt x="64" y="105"/>
                </a:cubicBezTo>
                <a:cubicBezTo>
                  <a:pt x="82" y="100"/>
                  <a:pt x="95" y="83"/>
                  <a:pt x="95" y="63"/>
                </a:cubicBezTo>
                <a:cubicBezTo>
                  <a:pt x="95" y="43"/>
                  <a:pt x="80" y="25"/>
                  <a:pt x="60" y="21"/>
                </a:cubicBezTo>
                <a:cubicBezTo>
                  <a:pt x="60" y="21"/>
                  <a:pt x="60" y="21"/>
                  <a:pt x="60" y="21"/>
                </a:cubicBezTo>
                <a:cubicBezTo>
                  <a:pt x="64" y="13"/>
                  <a:pt x="64" y="13"/>
                  <a:pt x="64" y="13"/>
                </a:cubicBezTo>
                <a:cubicBezTo>
                  <a:pt x="87" y="19"/>
                  <a:pt x="104" y="39"/>
                  <a:pt x="104" y="63"/>
                </a:cubicBezTo>
                <a:cubicBezTo>
                  <a:pt x="104" y="87"/>
                  <a:pt x="88" y="107"/>
                  <a:pt x="66" y="114"/>
                </a:cubicBezTo>
                <a:close/>
                <a:moveTo>
                  <a:pt x="44" y="107"/>
                </a:moveTo>
                <a:cubicBezTo>
                  <a:pt x="44" y="107"/>
                  <a:pt x="44" y="107"/>
                  <a:pt x="44" y="107"/>
                </a:cubicBezTo>
                <a:cubicBezTo>
                  <a:pt x="24" y="103"/>
                  <a:pt x="9" y="85"/>
                  <a:pt x="9" y="65"/>
                </a:cubicBezTo>
                <a:cubicBezTo>
                  <a:pt x="9" y="45"/>
                  <a:pt x="22" y="28"/>
                  <a:pt x="40" y="23"/>
                </a:cubicBezTo>
                <a:cubicBezTo>
                  <a:pt x="41" y="23"/>
                  <a:pt x="41" y="23"/>
                  <a:pt x="41" y="23"/>
                </a:cubicBezTo>
                <a:cubicBezTo>
                  <a:pt x="34" y="36"/>
                  <a:pt x="34" y="36"/>
                  <a:pt x="34" y="36"/>
                </a:cubicBezTo>
                <a:cubicBezTo>
                  <a:pt x="42" y="40"/>
                  <a:pt x="42" y="40"/>
                  <a:pt x="42" y="40"/>
                </a:cubicBezTo>
                <a:cubicBezTo>
                  <a:pt x="55" y="12"/>
                  <a:pt x="55" y="12"/>
                  <a:pt x="55" y="12"/>
                </a:cubicBezTo>
                <a:cubicBezTo>
                  <a:pt x="27" y="0"/>
                  <a:pt x="27" y="0"/>
                  <a:pt x="27" y="0"/>
                </a:cubicBezTo>
                <a:cubicBezTo>
                  <a:pt x="24" y="8"/>
                  <a:pt x="24" y="8"/>
                  <a:pt x="24" y="8"/>
                </a:cubicBezTo>
                <a:cubicBezTo>
                  <a:pt x="38" y="14"/>
                  <a:pt x="38" y="14"/>
                  <a:pt x="38" y="14"/>
                </a:cubicBezTo>
                <a:cubicBezTo>
                  <a:pt x="16" y="21"/>
                  <a:pt x="0" y="41"/>
                  <a:pt x="0" y="65"/>
                </a:cubicBezTo>
                <a:cubicBezTo>
                  <a:pt x="0" y="89"/>
                  <a:pt x="17" y="109"/>
                  <a:pt x="40" y="115"/>
                </a:cubicBezTo>
                <a:lnTo>
                  <a:pt x="44" y="10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6" name="Freeform 79">
            <a:extLst>
              <a:ext uri="{FF2B5EF4-FFF2-40B4-BE49-F238E27FC236}">
                <a16:creationId xmlns:a16="http://schemas.microsoft.com/office/drawing/2014/main" id="{7345FA7B-8DB8-4178-96F1-288BA41D95BB}"/>
              </a:ext>
            </a:extLst>
          </p:cNvPr>
          <p:cNvSpPr>
            <a:spLocks noEditPoints="1"/>
          </p:cNvSpPr>
          <p:nvPr/>
        </p:nvSpPr>
        <p:spPr bwMode="auto">
          <a:xfrm>
            <a:off x="6051123" y="1641547"/>
            <a:ext cx="414337" cy="363537"/>
          </a:xfrm>
          <a:custGeom>
            <a:avLst/>
            <a:gdLst>
              <a:gd name="T0" fmla="*/ 0 w 261"/>
              <a:gd name="T1" fmla="*/ 0 h 229"/>
              <a:gd name="T2" fmla="*/ 0 w 261"/>
              <a:gd name="T3" fmla="*/ 229 h 229"/>
              <a:gd name="T4" fmla="*/ 261 w 261"/>
              <a:gd name="T5" fmla="*/ 229 h 229"/>
              <a:gd name="T6" fmla="*/ 261 w 261"/>
              <a:gd name="T7" fmla="*/ 0 h 229"/>
              <a:gd name="T8" fmla="*/ 0 w 261"/>
              <a:gd name="T9" fmla="*/ 0 h 229"/>
              <a:gd name="T10" fmla="*/ 82 w 261"/>
              <a:gd name="T11" fmla="*/ 16 h 229"/>
              <a:gd name="T12" fmla="*/ 245 w 261"/>
              <a:gd name="T13" fmla="*/ 16 h 229"/>
              <a:gd name="T14" fmla="*/ 245 w 261"/>
              <a:gd name="T15" fmla="*/ 65 h 229"/>
              <a:gd name="T16" fmla="*/ 82 w 261"/>
              <a:gd name="T17" fmla="*/ 65 h 229"/>
              <a:gd name="T18" fmla="*/ 82 w 261"/>
              <a:gd name="T19" fmla="*/ 16 h 229"/>
              <a:gd name="T20" fmla="*/ 65 w 261"/>
              <a:gd name="T21" fmla="*/ 213 h 229"/>
              <a:gd name="T22" fmla="*/ 16 w 261"/>
              <a:gd name="T23" fmla="*/ 213 h 229"/>
              <a:gd name="T24" fmla="*/ 16 w 261"/>
              <a:gd name="T25" fmla="*/ 16 h 229"/>
              <a:gd name="T26" fmla="*/ 65 w 261"/>
              <a:gd name="T27" fmla="*/ 16 h 229"/>
              <a:gd name="T28" fmla="*/ 65 w 261"/>
              <a:gd name="T29" fmla="*/ 213 h 229"/>
              <a:gd name="T30" fmla="*/ 245 w 261"/>
              <a:gd name="T31" fmla="*/ 213 h 229"/>
              <a:gd name="T32" fmla="*/ 82 w 261"/>
              <a:gd name="T33" fmla="*/ 213 h 229"/>
              <a:gd name="T34" fmla="*/ 82 w 261"/>
              <a:gd name="T35" fmla="*/ 180 h 229"/>
              <a:gd name="T36" fmla="*/ 245 w 261"/>
              <a:gd name="T37" fmla="*/ 180 h 229"/>
              <a:gd name="T38" fmla="*/ 245 w 261"/>
              <a:gd name="T39" fmla="*/ 213 h 229"/>
              <a:gd name="T40" fmla="*/ 245 w 261"/>
              <a:gd name="T41" fmla="*/ 164 h 229"/>
              <a:gd name="T42" fmla="*/ 82 w 261"/>
              <a:gd name="T43" fmla="*/ 164 h 229"/>
              <a:gd name="T44" fmla="*/ 82 w 261"/>
              <a:gd name="T45" fmla="*/ 131 h 229"/>
              <a:gd name="T46" fmla="*/ 245 w 261"/>
              <a:gd name="T47" fmla="*/ 131 h 229"/>
              <a:gd name="T48" fmla="*/ 245 w 261"/>
              <a:gd name="T49" fmla="*/ 164 h 229"/>
              <a:gd name="T50" fmla="*/ 82 w 261"/>
              <a:gd name="T51" fmla="*/ 114 h 229"/>
              <a:gd name="T52" fmla="*/ 82 w 261"/>
              <a:gd name="T53" fmla="*/ 82 h 229"/>
              <a:gd name="T54" fmla="*/ 245 w 261"/>
              <a:gd name="T55" fmla="*/ 82 h 229"/>
              <a:gd name="T56" fmla="*/ 245 w 261"/>
              <a:gd name="T57" fmla="*/ 114 h 229"/>
              <a:gd name="T58" fmla="*/ 82 w 261"/>
              <a:gd name="T59" fmla="*/ 114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1" h="229">
                <a:moveTo>
                  <a:pt x="0" y="0"/>
                </a:moveTo>
                <a:lnTo>
                  <a:pt x="0" y="229"/>
                </a:lnTo>
                <a:lnTo>
                  <a:pt x="261" y="229"/>
                </a:lnTo>
                <a:lnTo>
                  <a:pt x="261" y="0"/>
                </a:lnTo>
                <a:lnTo>
                  <a:pt x="0" y="0"/>
                </a:lnTo>
                <a:close/>
                <a:moveTo>
                  <a:pt x="82" y="16"/>
                </a:moveTo>
                <a:lnTo>
                  <a:pt x="245" y="16"/>
                </a:lnTo>
                <a:lnTo>
                  <a:pt x="245" y="65"/>
                </a:lnTo>
                <a:lnTo>
                  <a:pt x="82" y="65"/>
                </a:lnTo>
                <a:lnTo>
                  <a:pt x="82" y="16"/>
                </a:lnTo>
                <a:close/>
                <a:moveTo>
                  <a:pt x="65" y="213"/>
                </a:moveTo>
                <a:lnTo>
                  <a:pt x="16" y="213"/>
                </a:lnTo>
                <a:lnTo>
                  <a:pt x="16" y="16"/>
                </a:lnTo>
                <a:lnTo>
                  <a:pt x="65" y="16"/>
                </a:lnTo>
                <a:lnTo>
                  <a:pt x="65" y="213"/>
                </a:lnTo>
                <a:close/>
                <a:moveTo>
                  <a:pt x="245" y="213"/>
                </a:moveTo>
                <a:lnTo>
                  <a:pt x="82" y="213"/>
                </a:lnTo>
                <a:lnTo>
                  <a:pt x="82" y="180"/>
                </a:lnTo>
                <a:lnTo>
                  <a:pt x="245" y="180"/>
                </a:lnTo>
                <a:lnTo>
                  <a:pt x="245" y="213"/>
                </a:lnTo>
                <a:close/>
                <a:moveTo>
                  <a:pt x="245" y="164"/>
                </a:moveTo>
                <a:lnTo>
                  <a:pt x="82" y="164"/>
                </a:lnTo>
                <a:lnTo>
                  <a:pt x="82" y="131"/>
                </a:lnTo>
                <a:lnTo>
                  <a:pt x="245" y="131"/>
                </a:lnTo>
                <a:lnTo>
                  <a:pt x="245" y="164"/>
                </a:lnTo>
                <a:close/>
                <a:moveTo>
                  <a:pt x="82" y="114"/>
                </a:moveTo>
                <a:lnTo>
                  <a:pt x="82" y="82"/>
                </a:lnTo>
                <a:lnTo>
                  <a:pt x="245" y="82"/>
                </a:lnTo>
                <a:lnTo>
                  <a:pt x="245" y="114"/>
                </a:lnTo>
                <a:lnTo>
                  <a:pt x="82" y="11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2" name="TextBox 161">
            <a:extLst>
              <a:ext uri="{FF2B5EF4-FFF2-40B4-BE49-F238E27FC236}">
                <a16:creationId xmlns:a16="http://schemas.microsoft.com/office/drawing/2014/main" id="{0D4C32C5-9F54-4696-9A7C-6B2FB51AB412}"/>
              </a:ext>
            </a:extLst>
          </p:cNvPr>
          <p:cNvSpPr txBox="1"/>
          <p:nvPr/>
        </p:nvSpPr>
        <p:spPr>
          <a:xfrm>
            <a:off x="622529" y="2077494"/>
            <a:ext cx="343044" cy="107722"/>
          </a:xfrm>
          <a:prstGeom prst="rect">
            <a:avLst/>
          </a:prstGeom>
          <a:noFill/>
          <a:effectLst/>
        </p:spPr>
        <p:txBody>
          <a:bodyPr wrap="none" lIns="0" tIns="0" rIns="0" bIns="0" rtlCol="0" anchor="t">
            <a:spAutoFit/>
          </a:bodyPr>
          <a:lstStyle/>
          <a:p>
            <a:pPr algn="ctr"/>
            <a:r>
              <a:rPr lang="en-GB" sz="700" dirty="0">
                <a:solidFill>
                  <a:schemeClr val="tx2"/>
                </a:solidFill>
              </a:rPr>
              <a:t>Smiley 3</a:t>
            </a:r>
          </a:p>
        </p:txBody>
      </p:sp>
      <p:sp>
        <p:nvSpPr>
          <p:cNvPr id="163" name="TextBox 162">
            <a:extLst>
              <a:ext uri="{FF2B5EF4-FFF2-40B4-BE49-F238E27FC236}">
                <a16:creationId xmlns:a16="http://schemas.microsoft.com/office/drawing/2014/main" id="{C43F3655-1490-40AA-91D5-8B0591EB712B}"/>
              </a:ext>
            </a:extLst>
          </p:cNvPr>
          <p:cNvSpPr txBox="1"/>
          <p:nvPr/>
        </p:nvSpPr>
        <p:spPr>
          <a:xfrm>
            <a:off x="470243" y="2899619"/>
            <a:ext cx="647614" cy="107722"/>
          </a:xfrm>
          <a:prstGeom prst="rect">
            <a:avLst/>
          </a:prstGeom>
          <a:noFill/>
          <a:effectLst/>
        </p:spPr>
        <p:txBody>
          <a:bodyPr wrap="none" lIns="0" tIns="0" rIns="0" bIns="0" rtlCol="0" anchor="t">
            <a:spAutoFit/>
          </a:bodyPr>
          <a:lstStyle/>
          <a:p>
            <a:pPr algn="ctr"/>
            <a:r>
              <a:rPr lang="en-GB" sz="700" dirty="0">
                <a:solidFill>
                  <a:schemeClr val="tx2"/>
                </a:solidFill>
              </a:rPr>
              <a:t>Sort descending</a:t>
            </a:r>
          </a:p>
        </p:txBody>
      </p:sp>
      <p:sp>
        <p:nvSpPr>
          <p:cNvPr id="164" name="TextBox 163">
            <a:extLst>
              <a:ext uri="{FF2B5EF4-FFF2-40B4-BE49-F238E27FC236}">
                <a16:creationId xmlns:a16="http://schemas.microsoft.com/office/drawing/2014/main" id="{D36267F6-7958-4D00-AC10-320A2EC8A016}"/>
              </a:ext>
            </a:extLst>
          </p:cNvPr>
          <p:cNvSpPr txBox="1"/>
          <p:nvPr/>
        </p:nvSpPr>
        <p:spPr>
          <a:xfrm>
            <a:off x="589667" y="3723675"/>
            <a:ext cx="408766" cy="107722"/>
          </a:xfrm>
          <a:prstGeom prst="rect">
            <a:avLst/>
          </a:prstGeom>
          <a:noFill/>
          <a:effectLst/>
        </p:spPr>
        <p:txBody>
          <a:bodyPr wrap="none" lIns="0" tIns="0" rIns="0" bIns="0" rtlCol="0" anchor="t">
            <a:spAutoFit/>
          </a:bodyPr>
          <a:lstStyle/>
          <a:p>
            <a:pPr algn="ctr"/>
            <a:r>
              <a:rPr lang="en-GB" sz="700" dirty="0">
                <a:solidFill>
                  <a:schemeClr val="tx2"/>
                </a:solidFill>
              </a:rPr>
              <a:t>Sponsor 2</a:t>
            </a:r>
          </a:p>
        </p:txBody>
      </p:sp>
      <p:sp>
        <p:nvSpPr>
          <p:cNvPr id="165" name="TextBox 164">
            <a:extLst>
              <a:ext uri="{FF2B5EF4-FFF2-40B4-BE49-F238E27FC236}">
                <a16:creationId xmlns:a16="http://schemas.microsoft.com/office/drawing/2014/main" id="{CC1FCCE8-986A-464D-B1FE-9351D484BE6F}"/>
              </a:ext>
            </a:extLst>
          </p:cNvPr>
          <p:cNvSpPr txBox="1"/>
          <p:nvPr/>
        </p:nvSpPr>
        <p:spPr>
          <a:xfrm>
            <a:off x="686648" y="4547732"/>
            <a:ext cx="214802" cy="107722"/>
          </a:xfrm>
          <a:prstGeom prst="rect">
            <a:avLst/>
          </a:prstGeom>
          <a:noFill/>
          <a:effectLst/>
        </p:spPr>
        <p:txBody>
          <a:bodyPr wrap="none" lIns="0" tIns="0" rIns="0" bIns="0" rtlCol="0" anchor="t">
            <a:spAutoFit/>
          </a:bodyPr>
          <a:lstStyle/>
          <a:p>
            <a:pPr algn="ctr"/>
            <a:r>
              <a:rPr lang="en-GB" sz="700" dirty="0">
                <a:solidFill>
                  <a:schemeClr val="tx2"/>
                </a:solidFill>
              </a:rPr>
              <a:t>Store</a:t>
            </a:r>
          </a:p>
        </p:txBody>
      </p:sp>
      <p:sp>
        <p:nvSpPr>
          <p:cNvPr id="166" name="TextBox 165">
            <a:extLst>
              <a:ext uri="{FF2B5EF4-FFF2-40B4-BE49-F238E27FC236}">
                <a16:creationId xmlns:a16="http://schemas.microsoft.com/office/drawing/2014/main" id="{7213ED7F-520A-46BE-8E66-D7C757263891}"/>
              </a:ext>
            </a:extLst>
          </p:cNvPr>
          <p:cNvSpPr txBox="1"/>
          <p:nvPr/>
        </p:nvSpPr>
        <p:spPr>
          <a:xfrm>
            <a:off x="1667962" y="2077494"/>
            <a:ext cx="343044" cy="107722"/>
          </a:xfrm>
          <a:prstGeom prst="rect">
            <a:avLst/>
          </a:prstGeom>
          <a:noFill/>
          <a:effectLst/>
        </p:spPr>
        <p:txBody>
          <a:bodyPr wrap="none" lIns="0" tIns="0" rIns="0" bIns="0" rtlCol="0" anchor="t">
            <a:spAutoFit/>
          </a:bodyPr>
          <a:lstStyle/>
          <a:p>
            <a:pPr algn="ctr"/>
            <a:r>
              <a:rPr lang="en-GB" sz="700">
                <a:solidFill>
                  <a:schemeClr val="tx2"/>
                </a:solidFill>
              </a:rPr>
              <a:t>Smiley 4</a:t>
            </a:r>
            <a:endParaRPr lang="en-GB" sz="700" dirty="0">
              <a:solidFill>
                <a:schemeClr val="tx2"/>
              </a:solidFill>
            </a:endParaRPr>
          </a:p>
        </p:txBody>
      </p:sp>
      <p:sp>
        <p:nvSpPr>
          <p:cNvPr id="167" name="TextBox 166">
            <a:extLst>
              <a:ext uri="{FF2B5EF4-FFF2-40B4-BE49-F238E27FC236}">
                <a16:creationId xmlns:a16="http://schemas.microsoft.com/office/drawing/2014/main" id="{C1650C1C-FBD3-4489-82A7-2AB00312AA56}"/>
              </a:ext>
            </a:extLst>
          </p:cNvPr>
          <p:cNvSpPr txBox="1"/>
          <p:nvPr/>
        </p:nvSpPr>
        <p:spPr>
          <a:xfrm>
            <a:off x="1710441" y="2899619"/>
            <a:ext cx="258084" cy="107722"/>
          </a:xfrm>
          <a:prstGeom prst="rect">
            <a:avLst/>
          </a:prstGeom>
          <a:noFill/>
          <a:effectLst/>
        </p:spPr>
        <p:txBody>
          <a:bodyPr wrap="none" lIns="0" tIns="0" rIns="0" bIns="0" rtlCol="0" anchor="t">
            <a:spAutoFit/>
          </a:bodyPr>
          <a:lstStyle/>
          <a:p>
            <a:pPr algn="ctr"/>
            <a:r>
              <a:rPr lang="en-GB" sz="700" dirty="0">
                <a:solidFill>
                  <a:schemeClr val="tx2"/>
                </a:solidFill>
              </a:rPr>
              <a:t>Sound</a:t>
            </a:r>
          </a:p>
        </p:txBody>
      </p:sp>
      <p:sp>
        <p:nvSpPr>
          <p:cNvPr id="168" name="TextBox 167">
            <a:extLst>
              <a:ext uri="{FF2B5EF4-FFF2-40B4-BE49-F238E27FC236}">
                <a16:creationId xmlns:a16="http://schemas.microsoft.com/office/drawing/2014/main" id="{15A8A1F3-B34C-4C31-8A2E-00EC681AB605}"/>
              </a:ext>
            </a:extLst>
          </p:cNvPr>
          <p:cNvSpPr txBox="1"/>
          <p:nvPr/>
        </p:nvSpPr>
        <p:spPr>
          <a:xfrm>
            <a:off x="1617467" y="3723675"/>
            <a:ext cx="444032" cy="215444"/>
          </a:xfrm>
          <a:prstGeom prst="rect">
            <a:avLst/>
          </a:prstGeom>
          <a:noFill/>
          <a:effectLst/>
        </p:spPr>
        <p:txBody>
          <a:bodyPr wrap="none" lIns="0" tIns="0" rIns="0" bIns="0" rtlCol="0" anchor="t">
            <a:spAutoFit/>
          </a:bodyPr>
          <a:lstStyle/>
          <a:p>
            <a:pPr algn="ctr"/>
            <a:r>
              <a:rPr lang="en-GB" sz="700" dirty="0">
                <a:solidFill>
                  <a:schemeClr val="tx2"/>
                </a:solidFill>
              </a:rPr>
              <a:t>Spring</a:t>
            </a:r>
            <a:br>
              <a:rPr lang="en-GB" sz="700" dirty="0">
                <a:solidFill>
                  <a:schemeClr val="tx2"/>
                </a:solidFill>
              </a:rPr>
            </a:br>
            <a:r>
              <a:rPr lang="en-GB" sz="700" dirty="0">
                <a:solidFill>
                  <a:schemeClr val="tx2"/>
                </a:solidFill>
              </a:rPr>
              <a:t>conference</a:t>
            </a:r>
          </a:p>
        </p:txBody>
      </p:sp>
      <p:sp>
        <p:nvSpPr>
          <p:cNvPr id="169" name="TextBox 168">
            <a:extLst>
              <a:ext uri="{FF2B5EF4-FFF2-40B4-BE49-F238E27FC236}">
                <a16:creationId xmlns:a16="http://schemas.microsoft.com/office/drawing/2014/main" id="{E56737E7-BAA9-4692-95BE-CABDC1EACE30}"/>
              </a:ext>
            </a:extLst>
          </p:cNvPr>
          <p:cNvSpPr txBox="1"/>
          <p:nvPr/>
        </p:nvSpPr>
        <p:spPr>
          <a:xfrm>
            <a:off x="1671971" y="4547732"/>
            <a:ext cx="335028" cy="107722"/>
          </a:xfrm>
          <a:prstGeom prst="rect">
            <a:avLst/>
          </a:prstGeom>
          <a:noFill/>
          <a:effectLst/>
        </p:spPr>
        <p:txBody>
          <a:bodyPr wrap="none" lIns="0" tIns="0" rIns="0" bIns="0" rtlCol="0" anchor="t">
            <a:spAutoFit/>
          </a:bodyPr>
          <a:lstStyle/>
          <a:p>
            <a:pPr algn="ctr"/>
            <a:r>
              <a:rPr lang="en-GB" sz="700" dirty="0">
                <a:solidFill>
                  <a:schemeClr val="tx2"/>
                </a:solidFill>
              </a:rPr>
              <a:t>Strategy</a:t>
            </a:r>
          </a:p>
        </p:txBody>
      </p:sp>
      <p:sp>
        <p:nvSpPr>
          <p:cNvPr id="170" name="TextBox 169">
            <a:extLst>
              <a:ext uri="{FF2B5EF4-FFF2-40B4-BE49-F238E27FC236}">
                <a16:creationId xmlns:a16="http://schemas.microsoft.com/office/drawing/2014/main" id="{E815C52C-BFF6-49F7-9F44-CA53361932E2}"/>
              </a:ext>
            </a:extLst>
          </p:cNvPr>
          <p:cNvSpPr txBox="1"/>
          <p:nvPr/>
        </p:nvSpPr>
        <p:spPr>
          <a:xfrm>
            <a:off x="2745457" y="2077494"/>
            <a:ext cx="278923" cy="107722"/>
          </a:xfrm>
          <a:prstGeom prst="rect">
            <a:avLst/>
          </a:prstGeom>
          <a:noFill/>
          <a:effectLst/>
        </p:spPr>
        <p:txBody>
          <a:bodyPr wrap="none" lIns="0" tIns="0" rIns="0" bIns="0" rtlCol="0" anchor="t">
            <a:spAutoFit/>
          </a:bodyPr>
          <a:lstStyle/>
          <a:p>
            <a:pPr algn="ctr"/>
            <a:r>
              <a:rPr lang="en-GB" sz="700" dirty="0">
                <a:solidFill>
                  <a:schemeClr val="tx2"/>
                </a:solidFill>
              </a:rPr>
              <a:t>Soccer</a:t>
            </a:r>
          </a:p>
        </p:txBody>
      </p:sp>
      <p:sp>
        <p:nvSpPr>
          <p:cNvPr id="171" name="TextBox 170">
            <a:extLst>
              <a:ext uri="{FF2B5EF4-FFF2-40B4-BE49-F238E27FC236}">
                <a16:creationId xmlns:a16="http://schemas.microsoft.com/office/drawing/2014/main" id="{219501E0-3AC0-47E9-95CA-02C4D6911DCC}"/>
              </a:ext>
            </a:extLst>
          </p:cNvPr>
          <p:cNvSpPr txBox="1"/>
          <p:nvPr/>
        </p:nvSpPr>
        <p:spPr>
          <a:xfrm>
            <a:off x="2718206" y="2899619"/>
            <a:ext cx="333425" cy="107722"/>
          </a:xfrm>
          <a:prstGeom prst="rect">
            <a:avLst/>
          </a:prstGeom>
          <a:noFill/>
          <a:effectLst/>
        </p:spPr>
        <p:txBody>
          <a:bodyPr wrap="none" lIns="0" tIns="0" rIns="0" bIns="0" rtlCol="0" anchor="t">
            <a:spAutoFit/>
          </a:bodyPr>
          <a:lstStyle/>
          <a:p>
            <a:pPr algn="ctr"/>
            <a:r>
              <a:rPr lang="en-GB" sz="700" dirty="0">
                <a:solidFill>
                  <a:schemeClr val="tx2"/>
                </a:solidFill>
              </a:rPr>
              <a:t>Speaker</a:t>
            </a:r>
          </a:p>
        </p:txBody>
      </p:sp>
      <p:sp>
        <p:nvSpPr>
          <p:cNvPr id="172" name="TextBox 171">
            <a:extLst>
              <a:ext uri="{FF2B5EF4-FFF2-40B4-BE49-F238E27FC236}">
                <a16:creationId xmlns:a16="http://schemas.microsoft.com/office/drawing/2014/main" id="{0AA70C49-9DC0-45CB-8B64-1B60ABFB6533}"/>
              </a:ext>
            </a:extLst>
          </p:cNvPr>
          <p:cNvSpPr txBox="1"/>
          <p:nvPr/>
        </p:nvSpPr>
        <p:spPr>
          <a:xfrm>
            <a:off x="2802362" y="3723675"/>
            <a:ext cx="165110" cy="107722"/>
          </a:xfrm>
          <a:prstGeom prst="rect">
            <a:avLst/>
          </a:prstGeom>
          <a:noFill/>
          <a:effectLst/>
        </p:spPr>
        <p:txBody>
          <a:bodyPr wrap="none" lIns="0" tIns="0" rIns="0" bIns="0" rtlCol="0" anchor="t">
            <a:spAutoFit/>
          </a:bodyPr>
          <a:lstStyle/>
          <a:p>
            <a:pPr algn="ctr"/>
            <a:r>
              <a:rPr lang="en-GB" sz="700" dirty="0">
                <a:solidFill>
                  <a:schemeClr val="tx2"/>
                </a:solidFill>
              </a:rPr>
              <a:t>Star</a:t>
            </a:r>
          </a:p>
        </p:txBody>
      </p:sp>
      <p:sp>
        <p:nvSpPr>
          <p:cNvPr id="173" name="TextBox 172">
            <a:extLst>
              <a:ext uri="{FF2B5EF4-FFF2-40B4-BE49-F238E27FC236}">
                <a16:creationId xmlns:a16="http://schemas.microsoft.com/office/drawing/2014/main" id="{5E78C611-2ECF-463D-96DE-E57199661EBD}"/>
              </a:ext>
            </a:extLst>
          </p:cNvPr>
          <p:cNvSpPr txBox="1"/>
          <p:nvPr/>
        </p:nvSpPr>
        <p:spPr>
          <a:xfrm>
            <a:off x="2726221" y="4547732"/>
            <a:ext cx="317396" cy="107722"/>
          </a:xfrm>
          <a:prstGeom prst="rect">
            <a:avLst/>
          </a:prstGeom>
          <a:noFill/>
          <a:effectLst/>
        </p:spPr>
        <p:txBody>
          <a:bodyPr wrap="none" lIns="0" tIns="0" rIns="0" bIns="0" rtlCol="0" anchor="t">
            <a:spAutoFit/>
          </a:bodyPr>
          <a:lstStyle/>
          <a:p>
            <a:pPr algn="ctr"/>
            <a:r>
              <a:rPr lang="en-GB" sz="700" dirty="0">
                <a:solidFill>
                  <a:schemeClr val="tx2"/>
                </a:solidFill>
              </a:rPr>
              <a:t>Subway</a:t>
            </a:r>
          </a:p>
        </p:txBody>
      </p:sp>
      <p:sp>
        <p:nvSpPr>
          <p:cNvPr id="174" name="TextBox 173">
            <a:extLst>
              <a:ext uri="{FF2B5EF4-FFF2-40B4-BE49-F238E27FC236}">
                <a16:creationId xmlns:a16="http://schemas.microsoft.com/office/drawing/2014/main" id="{F486008D-7DCB-4495-B7C7-7A8B39522A12}"/>
              </a:ext>
            </a:extLst>
          </p:cNvPr>
          <p:cNvSpPr txBox="1"/>
          <p:nvPr/>
        </p:nvSpPr>
        <p:spPr>
          <a:xfrm>
            <a:off x="3631392" y="2077494"/>
            <a:ext cx="597920" cy="107722"/>
          </a:xfrm>
          <a:prstGeom prst="rect">
            <a:avLst/>
          </a:prstGeom>
          <a:noFill/>
          <a:effectLst/>
        </p:spPr>
        <p:txBody>
          <a:bodyPr wrap="none" lIns="0" tIns="0" rIns="0" bIns="0" rtlCol="0" anchor="t">
            <a:spAutoFit/>
          </a:bodyPr>
          <a:lstStyle/>
          <a:p>
            <a:pPr algn="ctr"/>
            <a:r>
              <a:rPr lang="en-GB" sz="700" dirty="0">
                <a:solidFill>
                  <a:schemeClr val="tx2"/>
                </a:solidFill>
              </a:rPr>
              <a:t>Sort ascending</a:t>
            </a:r>
          </a:p>
        </p:txBody>
      </p:sp>
      <p:sp>
        <p:nvSpPr>
          <p:cNvPr id="175" name="TextBox 174">
            <a:extLst>
              <a:ext uri="{FF2B5EF4-FFF2-40B4-BE49-F238E27FC236}">
                <a16:creationId xmlns:a16="http://schemas.microsoft.com/office/drawing/2014/main" id="{3C53C454-D511-4B77-B794-29495DE7EF4A}"/>
              </a:ext>
            </a:extLst>
          </p:cNvPr>
          <p:cNvSpPr txBox="1"/>
          <p:nvPr/>
        </p:nvSpPr>
        <p:spPr>
          <a:xfrm>
            <a:off x="3763638" y="2899619"/>
            <a:ext cx="333425" cy="107722"/>
          </a:xfrm>
          <a:prstGeom prst="rect">
            <a:avLst/>
          </a:prstGeom>
          <a:noFill/>
          <a:effectLst/>
        </p:spPr>
        <p:txBody>
          <a:bodyPr wrap="none" lIns="0" tIns="0" rIns="0" bIns="0" rtlCol="0" anchor="t">
            <a:spAutoFit/>
          </a:bodyPr>
          <a:lstStyle/>
          <a:p>
            <a:pPr algn="ctr"/>
            <a:r>
              <a:rPr lang="en-GB" sz="700" dirty="0">
                <a:solidFill>
                  <a:schemeClr val="tx2"/>
                </a:solidFill>
              </a:rPr>
              <a:t>Sponsor</a:t>
            </a:r>
          </a:p>
        </p:txBody>
      </p:sp>
      <p:sp>
        <p:nvSpPr>
          <p:cNvPr id="176" name="TextBox 175">
            <a:extLst>
              <a:ext uri="{FF2B5EF4-FFF2-40B4-BE49-F238E27FC236}">
                <a16:creationId xmlns:a16="http://schemas.microsoft.com/office/drawing/2014/main" id="{CABE7426-9416-4CE9-8089-EBC8C69C6DDB}"/>
              </a:ext>
            </a:extLst>
          </p:cNvPr>
          <p:cNvSpPr txBox="1"/>
          <p:nvPr/>
        </p:nvSpPr>
        <p:spPr>
          <a:xfrm>
            <a:off x="3838177" y="3723675"/>
            <a:ext cx="184346" cy="107722"/>
          </a:xfrm>
          <a:prstGeom prst="rect">
            <a:avLst/>
          </a:prstGeom>
          <a:noFill/>
          <a:effectLst/>
        </p:spPr>
        <p:txBody>
          <a:bodyPr wrap="none" lIns="0" tIns="0" rIns="0" bIns="0" rtlCol="0" anchor="t">
            <a:spAutoFit/>
          </a:bodyPr>
          <a:lstStyle/>
          <a:p>
            <a:pPr algn="ctr"/>
            <a:r>
              <a:rPr lang="en-GB" sz="700" dirty="0">
                <a:solidFill>
                  <a:schemeClr val="tx2"/>
                </a:solidFill>
              </a:rPr>
              <a:t>Stop</a:t>
            </a:r>
          </a:p>
        </p:txBody>
      </p:sp>
      <p:sp>
        <p:nvSpPr>
          <p:cNvPr id="177" name="TextBox 176">
            <a:extLst>
              <a:ext uri="{FF2B5EF4-FFF2-40B4-BE49-F238E27FC236}">
                <a16:creationId xmlns:a16="http://schemas.microsoft.com/office/drawing/2014/main" id="{9D93ED08-0797-4232-A4E7-7584F6674C8F}"/>
              </a:ext>
            </a:extLst>
          </p:cNvPr>
          <p:cNvSpPr txBox="1"/>
          <p:nvPr/>
        </p:nvSpPr>
        <p:spPr>
          <a:xfrm>
            <a:off x="3790889" y="4547732"/>
            <a:ext cx="278923" cy="107722"/>
          </a:xfrm>
          <a:prstGeom prst="rect">
            <a:avLst/>
          </a:prstGeom>
          <a:noFill/>
          <a:effectLst/>
        </p:spPr>
        <p:txBody>
          <a:bodyPr wrap="none" lIns="0" tIns="0" rIns="0" bIns="0" rtlCol="0" anchor="t">
            <a:spAutoFit/>
          </a:bodyPr>
          <a:lstStyle/>
          <a:p>
            <a:pPr algn="ctr"/>
            <a:r>
              <a:rPr lang="en-GB" sz="700" dirty="0">
                <a:solidFill>
                  <a:schemeClr val="tx2"/>
                </a:solidFill>
              </a:rPr>
              <a:t>Survey</a:t>
            </a:r>
          </a:p>
        </p:txBody>
      </p:sp>
      <p:sp>
        <p:nvSpPr>
          <p:cNvPr id="178" name="TextBox 177">
            <a:extLst>
              <a:ext uri="{FF2B5EF4-FFF2-40B4-BE49-F238E27FC236}">
                <a16:creationId xmlns:a16="http://schemas.microsoft.com/office/drawing/2014/main" id="{F52C0EE5-F7CE-461D-AEC0-76A98E331E47}"/>
              </a:ext>
            </a:extLst>
          </p:cNvPr>
          <p:cNvSpPr txBox="1"/>
          <p:nvPr/>
        </p:nvSpPr>
        <p:spPr>
          <a:xfrm>
            <a:off x="4894659" y="2077494"/>
            <a:ext cx="636393" cy="107722"/>
          </a:xfrm>
          <a:prstGeom prst="rect">
            <a:avLst/>
          </a:prstGeom>
          <a:noFill/>
          <a:effectLst/>
        </p:spPr>
        <p:txBody>
          <a:bodyPr wrap="none" lIns="0" tIns="0" rIns="0" bIns="0" rtlCol="0" anchor="t">
            <a:spAutoFit/>
          </a:bodyPr>
          <a:lstStyle/>
          <a:p>
            <a:pPr algn="ctr"/>
            <a:r>
              <a:rPr lang="en-GB" sz="700" dirty="0">
                <a:solidFill>
                  <a:schemeClr val="tx2"/>
                </a:solidFill>
              </a:rPr>
              <a:t>Synchronization</a:t>
            </a:r>
          </a:p>
        </p:txBody>
      </p:sp>
      <p:sp>
        <p:nvSpPr>
          <p:cNvPr id="179" name="TextBox 178">
            <a:extLst>
              <a:ext uri="{FF2B5EF4-FFF2-40B4-BE49-F238E27FC236}">
                <a16:creationId xmlns:a16="http://schemas.microsoft.com/office/drawing/2014/main" id="{1C4CADA0-D1DA-41E3-BEC5-A23E42893139}"/>
              </a:ext>
            </a:extLst>
          </p:cNvPr>
          <p:cNvSpPr txBox="1"/>
          <p:nvPr/>
        </p:nvSpPr>
        <p:spPr>
          <a:xfrm>
            <a:off x="4888249" y="2899619"/>
            <a:ext cx="649217" cy="107722"/>
          </a:xfrm>
          <a:prstGeom prst="rect">
            <a:avLst/>
          </a:prstGeom>
          <a:noFill/>
          <a:effectLst/>
        </p:spPr>
        <p:txBody>
          <a:bodyPr wrap="none" lIns="0" tIns="0" rIns="0" bIns="0" rtlCol="0" anchor="t">
            <a:spAutoFit/>
          </a:bodyPr>
          <a:lstStyle/>
          <a:p>
            <a:pPr algn="ctr"/>
            <a:r>
              <a:rPr lang="en-GB" sz="700" dirty="0">
                <a:solidFill>
                  <a:schemeClr val="tx2"/>
                </a:solidFill>
              </a:rPr>
              <a:t>Target expertise</a:t>
            </a:r>
          </a:p>
        </p:txBody>
      </p:sp>
      <p:sp>
        <p:nvSpPr>
          <p:cNvPr id="180" name="TextBox 179">
            <a:extLst>
              <a:ext uri="{FF2B5EF4-FFF2-40B4-BE49-F238E27FC236}">
                <a16:creationId xmlns:a16="http://schemas.microsoft.com/office/drawing/2014/main" id="{2F190E5C-EA57-46BA-AB0D-E1471C4AE24D}"/>
              </a:ext>
            </a:extLst>
          </p:cNvPr>
          <p:cNvSpPr txBox="1"/>
          <p:nvPr/>
        </p:nvSpPr>
        <p:spPr>
          <a:xfrm>
            <a:off x="4940345" y="3723675"/>
            <a:ext cx="545021" cy="215444"/>
          </a:xfrm>
          <a:prstGeom prst="rect">
            <a:avLst/>
          </a:prstGeom>
          <a:noFill/>
          <a:effectLst/>
        </p:spPr>
        <p:txBody>
          <a:bodyPr wrap="none" lIns="0" tIns="0" rIns="0" bIns="0" rtlCol="0" anchor="t">
            <a:spAutoFit/>
          </a:bodyPr>
          <a:lstStyle/>
          <a:p>
            <a:pPr algn="ctr"/>
            <a:r>
              <a:rPr lang="en-GB" sz="700">
                <a:solidFill>
                  <a:schemeClr val="tx2"/>
                </a:solidFill>
              </a:rPr>
              <a:t>Three quarter</a:t>
            </a:r>
            <a:br>
              <a:rPr lang="en-GB" sz="700">
                <a:solidFill>
                  <a:schemeClr val="tx2"/>
                </a:solidFill>
              </a:rPr>
            </a:br>
            <a:r>
              <a:rPr lang="en-GB" sz="700">
                <a:solidFill>
                  <a:schemeClr val="tx2"/>
                </a:solidFill>
              </a:rPr>
              <a:t>point outline</a:t>
            </a:r>
            <a:endParaRPr lang="en-GB" sz="700" dirty="0">
              <a:solidFill>
                <a:schemeClr val="tx2"/>
              </a:solidFill>
            </a:endParaRPr>
          </a:p>
        </p:txBody>
      </p:sp>
      <p:sp>
        <p:nvSpPr>
          <p:cNvPr id="181" name="TextBox 180">
            <a:extLst>
              <a:ext uri="{FF2B5EF4-FFF2-40B4-BE49-F238E27FC236}">
                <a16:creationId xmlns:a16="http://schemas.microsoft.com/office/drawing/2014/main" id="{9D558330-8C67-4971-B19E-3BBE6B336DB8}"/>
              </a:ext>
            </a:extLst>
          </p:cNvPr>
          <p:cNvSpPr txBox="1"/>
          <p:nvPr/>
        </p:nvSpPr>
        <p:spPr>
          <a:xfrm>
            <a:off x="6146881" y="2077494"/>
            <a:ext cx="222818" cy="107722"/>
          </a:xfrm>
          <a:prstGeom prst="rect">
            <a:avLst/>
          </a:prstGeom>
          <a:noFill/>
          <a:effectLst/>
        </p:spPr>
        <p:txBody>
          <a:bodyPr wrap="none" lIns="0" tIns="0" rIns="0" bIns="0" rtlCol="0" anchor="t">
            <a:spAutoFit/>
          </a:bodyPr>
          <a:lstStyle/>
          <a:p>
            <a:pPr algn="ctr"/>
            <a:r>
              <a:rPr lang="en-GB" sz="700" dirty="0">
                <a:solidFill>
                  <a:schemeClr val="tx2"/>
                </a:solidFill>
              </a:rPr>
              <a:t>Table</a:t>
            </a:r>
          </a:p>
        </p:txBody>
      </p:sp>
      <p:sp>
        <p:nvSpPr>
          <p:cNvPr id="182" name="TextBox 181">
            <a:extLst>
              <a:ext uri="{FF2B5EF4-FFF2-40B4-BE49-F238E27FC236}">
                <a16:creationId xmlns:a16="http://schemas.microsoft.com/office/drawing/2014/main" id="{3EE5D170-DF0A-4D58-8EA1-BA9A319B1131}"/>
              </a:ext>
            </a:extLst>
          </p:cNvPr>
          <p:cNvSpPr txBox="1"/>
          <p:nvPr/>
        </p:nvSpPr>
        <p:spPr>
          <a:xfrm>
            <a:off x="5983376" y="2899619"/>
            <a:ext cx="549831" cy="215444"/>
          </a:xfrm>
          <a:prstGeom prst="rect">
            <a:avLst/>
          </a:prstGeom>
          <a:noFill/>
          <a:effectLst/>
        </p:spPr>
        <p:txBody>
          <a:bodyPr wrap="none" lIns="0" tIns="0" rIns="0" bIns="0" rtlCol="0" anchor="t">
            <a:spAutoFit/>
          </a:bodyPr>
          <a:lstStyle/>
          <a:p>
            <a:pPr algn="ctr"/>
            <a:r>
              <a:rPr lang="en-GB" sz="700" dirty="0">
                <a:solidFill>
                  <a:schemeClr val="tx2"/>
                </a:solidFill>
              </a:rPr>
              <a:t>Temperature</a:t>
            </a:r>
            <a:br>
              <a:rPr lang="en-GB" sz="700" dirty="0">
                <a:solidFill>
                  <a:schemeClr val="tx2"/>
                </a:solidFill>
              </a:rPr>
            </a:br>
            <a:r>
              <a:rPr lang="en-GB" sz="700" dirty="0">
                <a:solidFill>
                  <a:schemeClr val="tx2"/>
                </a:solidFill>
              </a:rPr>
              <a:t>measurement</a:t>
            </a:r>
          </a:p>
        </p:txBody>
      </p:sp>
      <p:sp>
        <p:nvSpPr>
          <p:cNvPr id="183" name="TextBox 182">
            <a:extLst>
              <a:ext uri="{FF2B5EF4-FFF2-40B4-BE49-F238E27FC236}">
                <a16:creationId xmlns:a16="http://schemas.microsoft.com/office/drawing/2014/main" id="{C24BF439-A776-4BB8-AA55-53656835F6E8}"/>
              </a:ext>
            </a:extLst>
          </p:cNvPr>
          <p:cNvSpPr txBox="1"/>
          <p:nvPr/>
        </p:nvSpPr>
        <p:spPr>
          <a:xfrm>
            <a:off x="5978566" y="3723675"/>
            <a:ext cx="559449" cy="107722"/>
          </a:xfrm>
          <a:prstGeom prst="rect">
            <a:avLst/>
          </a:prstGeom>
          <a:noFill/>
          <a:effectLst/>
        </p:spPr>
        <p:txBody>
          <a:bodyPr wrap="none" lIns="0" tIns="0" rIns="0" bIns="0" rtlCol="0" anchor="t">
            <a:spAutoFit/>
          </a:bodyPr>
          <a:lstStyle/>
          <a:p>
            <a:pPr algn="ctr"/>
            <a:r>
              <a:rPr lang="en-GB" sz="700" dirty="0">
                <a:solidFill>
                  <a:schemeClr val="tx2"/>
                </a:solidFill>
              </a:rPr>
              <a:t>Thunderstorm</a:t>
            </a:r>
          </a:p>
        </p:txBody>
      </p:sp>
      <p:sp>
        <p:nvSpPr>
          <p:cNvPr id="184" name="TextBox 183">
            <a:extLst>
              <a:ext uri="{FF2B5EF4-FFF2-40B4-BE49-F238E27FC236}">
                <a16:creationId xmlns:a16="http://schemas.microsoft.com/office/drawing/2014/main" id="{23F8A60B-F3C9-4990-93D4-CD9AEB710D08}"/>
              </a:ext>
            </a:extLst>
          </p:cNvPr>
          <p:cNvSpPr txBox="1"/>
          <p:nvPr/>
        </p:nvSpPr>
        <p:spPr>
          <a:xfrm>
            <a:off x="7179492" y="2077494"/>
            <a:ext cx="248466" cy="107722"/>
          </a:xfrm>
          <a:prstGeom prst="rect">
            <a:avLst/>
          </a:prstGeom>
          <a:noFill/>
          <a:effectLst/>
        </p:spPr>
        <p:txBody>
          <a:bodyPr wrap="none" lIns="0" tIns="0" rIns="0" bIns="0" rtlCol="0" anchor="t">
            <a:spAutoFit/>
          </a:bodyPr>
          <a:lstStyle/>
          <a:p>
            <a:pPr algn="ctr"/>
            <a:r>
              <a:rPr lang="en-GB" sz="700" dirty="0">
                <a:solidFill>
                  <a:schemeClr val="tx2"/>
                </a:solidFill>
              </a:rPr>
              <a:t>Tablet</a:t>
            </a:r>
          </a:p>
        </p:txBody>
      </p:sp>
      <p:sp>
        <p:nvSpPr>
          <p:cNvPr id="185" name="TextBox 184">
            <a:extLst>
              <a:ext uri="{FF2B5EF4-FFF2-40B4-BE49-F238E27FC236}">
                <a16:creationId xmlns:a16="http://schemas.microsoft.com/office/drawing/2014/main" id="{D2054BE0-47A2-448F-9418-B0D37E43B043}"/>
              </a:ext>
            </a:extLst>
          </p:cNvPr>
          <p:cNvSpPr txBox="1"/>
          <p:nvPr/>
        </p:nvSpPr>
        <p:spPr>
          <a:xfrm>
            <a:off x="7093731" y="2899619"/>
            <a:ext cx="419987" cy="107722"/>
          </a:xfrm>
          <a:prstGeom prst="rect">
            <a:avLst/>
          </a:prstGeom>
          <a:noFill/>
          <a:effectLst/>
        </p:spPr>
        <p:txBody>
          <a:bodyPr wrap="none" lIns="0" tIns="0" rIns="0" bIns="0" rtlCol="0" anchor="t">
            <a:spAutoFit/>
          </a:bodyPr>
          <a:lstStyle/>
          <a:p>
            <a:pPr algn="ctr"/>
            <a:r>
              <a:rPr lang="en-GB" sz="700">
                <a:solidFill>
                  <a:schemeClr val="tx2"/>
                </a:solidFill>
              </a:rPr>
              <a:t>Text zoom</a:t>
            </a:r>
            <a:endParaRPr lang="en-GB" sz="700" dirty="0">
              <a:solidFill>
                <a:schemeClr val="tx2"/>
              </a:solidFill>
            </a:endParaRPr>
          </a:p>
        </p:txBody>
      </p:sp>
      <p:sp>
        <p:nvSpPr>
          <p:cNvPr id="186" name="TextBox 185">
            <a:extLst>
              <a:ext uri="{FF2B5EF4-FFF2-40B4-BE49-F238E27FC236}">
                <a16:creationId xmlns:a16="http://schemas.microsoft.com/office/drawing/2014/main" id="{F9B5E538-B2D8-446D-84B6-CF18896BBD7C}"/>
              </a:ext>
            </a:extLst>
          </p:cNvPr>
          <p:cNvSpPr txBox="1"/>
          <p:nvPr/>
        </p:nvSpPr>
        <p:spPr>
          <a:xfrm>
            <a:off x="7145026" y="3723675"/>
            <a:ext cx="317396" cy="215444"/>
          </a:xfrm>
          <a:prstGeom prst="rect">
            <a:avLst/>
          </a:prstGeom>
          <a:noFill/>
          <a:effectLst/>
        </p:spPr>
        <p:txBody>
          <a:bodyPr wrap="square" lIns="0" tIns="0" rIns="0" bIns="0" rtlCol="0" anchor="t">
            <a:spAutoFit/>
          </a:bodyPr>
          <a:lstStyle/>
          <a:p>
            <a:pPr algn="ctr"/>
            <a:r>
              <a:rPr lang="en-GB" sz="700" dirty="0">
                <a:solidFill>
                  <a:schemeClr val="tx2"/>
                </a:solidFill>
              </a:rPr>
              <a:t>Timer</a:t>
            </a:r>
            <a:br>
              <a:rPr lang="en-GB" sz="700" dirty="0">
                <a:solidFill>
                  <a:schemeClr val="tx2"/>
                </a:solidFill>
              </a:rPr>
            </a:br>
            <a:r>
              <a:rPr lang="en-GB" sz="700" dirty="0">
                <a:solidFill>
                  <a:schemeClr val="tx2"/>
                </a:solidFill>
              </a:rPr>
              <a:t>money</a:t>
            </a:r>
          </a:p>
        </p:txBody>
      </p:sp>
      <p:sp>
        <p:nvSpPr>
          <p:cNvPr id="187" name="TextBox 186">
            <a:extLst>
              <a:ext uri="{FF2B5EF4-FFF2-40B4-BE49-F238E27FC236}">
                <a16:creationId xmlns:a16="http://schemas.microsoft.com/office/drawing/2014/main" id="{9CC3C878-6775-4DFE-ADC1-D2CCE483AFD3}"/>
              </a:ext>
            </a:extLst>
          </p:cNvPr>
          <p:cNvSpPr txBox="1"/>
          <p:nvPr/>
        </p:nvSpPr>
        <p:spPr>
          <a:xfrm>
            <a:off x="8272213" y="2077494"/>
            <a:ext cx="153888" cy="107722"/>
          </a:xfrm>
          <a:prstGeom prst="rect">
            <a:avLst/>
          </a:prstGeom>
          <a:noFill/>
          <a:effectLst/>
        </p:spPr>
        <p:txBody>
          <a:bodyPr wrap="none" lIns="0" tIns="0" rIns="0" bIns="0" rtlCol="0" anchor="t">
            <a:spAutoFit/>
          </a:bodyPr>
          <a:lstStyle/>
          <a:p>
            <a:pPr algn="ctr"/>
            <a:r>
              <a:rPr lang="en-GB" sz="700" dirty="0">
                <a:solidFill>
                  <a:schemeClr val="tx2"/>
                </a:solidFill>
              </a:rPr>
              <a:t>Tag</a:t>
            </a:r>
          </a:p>
        </p:txBody>
      </p:sp>
      <p:sp>
        <p:nvSpPr>
          <p:cNvPr id="188" name="TextBox 187">
            <a:extLst>
              <a:ext uri="{FF2B5EF4-FFF2-40B4-BE49-F238E27FC236}">
                <a16:creationId xmlns:a16="http://schemas.microsoft.com/office/drawing/2014/main" id="{6ACB8552-C73B-4A4E-B8FC-7D52EC8F80C1}"/>
              </a:ext>
            </a:extLst>
          </p:cNvPr>
          <p:cNvSpPr txBox="1"/>
          <p:nvPr/>
        </p:nvSpPr>
        <p:spPr>
          <a:xfrm>
            <a:off x="7966843" y="2899619"/>
            <a:ext cx="764633" cy="107722"/>
          </a:xfrm>
          <a:prstGeom prst="rect">
            <a:avLst/>
          </a:prstGeom>
          <a:noFill/>
          <a:effectLst/>
        </p:spPr>
        <p:txBody>
          <a:bodyPr wrap="none" lIns="0" tIns="0" rIns="0" bIns="0" rtlCol="0" anchor="t">
            <a:spAutoFit/>
          </a:bodyPr>
          <a:lstStyle/>
          <a:p>
            <a:pPr algn="ctr"/>
            <a:r>
              <a:rPr lang="en-GB" sz="700" dirty="0">
                <a:solidFill>
                  <a:schemeClr val="tx2"/>
                </a:solidFill>
              </a:rPr>
              <a:t>Three quarter point</a:t>
            </a:r>
          </a:p>
        </p:txBody>
      </p:sp>
      <p:sp>
        <p:nvSpPr>
          <p:cNvPr id="189" name="TextBox 188">
            <a:extLst>
              <a:ext uri="{FF2B5EF4-FFF2-40B4-BE49-F238E27FC236}">
                <a16:creationId xmlns:a16="http://schemas.microsoft.com/office/drawing/2014/main" id="{572EE372-4DC3-4854-AE7E-F13250F2C450}"/>
              </a:ext>
            </a:extLst>
          </p:cNvPr>
          <p:cNvSpPr txBox="1"/>
          <p:nvPr/>
        </p:nvSpPr>
        <p:spPr>
          <a:xfrm>
            <a:off x="8240152" y="3723675"/>
            <a:ext cx="218008" cy="107722"/>
          </a:xfrm>
          <a:prstGeom prst="rect">
            <a:avLst/>
          </a:prstGeom>
          <a:noFill/>
          <a:effectLst/>
        </p:spPr>
        <p:txBody>
          <a:bodyPr wrap="none" lIns="0" tIns="0" rIns="0" bIns="0" rtlCol="0" anchor="t">
            <a:spAutoFit/>
          </a:bodyPr>
          <a:lstStyle/>
          <a:p>
            <a:pPr algn="ctr"/>
            <a:r>
              <a:rPr lang="en-GB" sz="700" dirty="0">
                <a:solidFill>
                  <a:schemeClr val="tx2"/>
                </a:solidFill>
              </a:rPr>
              <a:t>Tools</a:t>
            </a:r>
          </a:p>
        </p:txBody>
      </p:sp>
      <p:sp>
        <p:nvSpPr>
          <p:cNvPr id="190" name="TextBox 189">
            <a:extLst>
              <a:ext uri="{FF2B5EF4-FFF2-40B4-BE49-F238E27FC236}">
                <a16:creationId xmlns:a16="http://schemas.microsoft.com/office/drawing/2014/main" id="{E1780337-7B60-4E81-A184-7861ED9D73F0}"/>
              </a:ext>
            </a:extLst>
          </p:cNvPr>
          <p:cNvSpPr txBox="1"/>
          <p:nvPr/>
        </p:nvSpPr>
        <p:spPr>
          <a:xfrm>
            <a:off x="5016487" y="4547732"/>
            <a:ext cx="392736" cy="215444"/>
          </a:xfrm>
          <a:prstGeom prst="rect">
            <a:avLst/>
          </a:prstGeom>
          <a:noFill/>
          <a:effectLst/>
        </p:spPr>
        <p:txBody>
          <a:bodyPr wrap="none" lIns="0" tIns="0" rIns="0" bIns="0" rtlCol="0" anchor="t">
            <a:spAutoFit/>
          </a:bodyPr>
          <a:lstStyle/>
          <a:p>
            <a:pPr algn="ctr"/>
            <a:r>
              <a:rPr lang="en-GB" sz="700" dirty="0">
                <a:solidFill>
                  <a:schemeClr val="tx2"/>
                </a:solidFill>
              </a:rPr>
              <a:t>Tools and</a:t>
            </a:r>
            <a:br>
              <a:rPr lang="en-GB" sz="700" dirty="0">
                <a:solidFill>
                  <a:schemeClr val="tx2"/>
                </a:solidFill>
              </a:rPr>
            </a:br>
            <a:r>
              <a:rPr lang="en-GB" sz="700" dirty="0">
                <a:solidFill>
                  <a:schemeClr val="tx2"/>
                </a:solidFill>
              </a:rPr>
              <a:t>solutions</a:t>
            </a:r>
          </a:p>
        </p:txBody>
      </p:sp>
      <p:sp>
        <p:nvSpPr>
          <p:cNvPr id="191" name="TextBox 190">
            <a:extLst>
              <a:ext uri="{FF2B5EF4-FFF2-40B4-BE49-F238E27FC236}">
                <a16:creationId xmlns:a16="http://schemas.microsoft.com/office/drawing/2014/main" id="{34A8E7E9-76FE-43E3-AE2C-4560735FC057}"/>
              </a:ext>
            </a:extLst>
          </p:cNvPr>
          <p:cNvSpPr txBox="1"/>
          <p:nvPr/>
        </p:nvSpPr>
        <p:spPr>
          <a:xfrm>
            <a:off x="6153294" y="4547732"/>
            <a:ext cx="209993" cy="107722"/>
          </a:xfrm>
          <a:prstGeom prst="rect">
            <a:avLst/>
          </a:prstGeom>
          <a:noFill/>
          <a:effectLst/>
        </p:spPr>
        <p:txBody>
          <a:bodyPr wrap="none" lIns="0" tIns="0" rIns="0" bIns="0" rtlCol="0" anchor="t">
            <a:spAutoFit/>
          </a:bodyPr>
          <a:lstStyle/>
          <a:p>
            <a:pPr algn="ctr"/>
            <a:r>
              <a:rPr lang="en-GB" sz="700" dirty="0">
                <a:solidFill>
                  <a:schemeClr val="tx2"/>
                </a:solidFill>
              </a:rPr>
              <a:t>Tram</a:t>
            </a:r>
          </a:p>
        </p:txBody>
      </p:sp>
      <p:sp>
        <p:nvSpPr>
          <p:cNvPr id="192" name="TextBox 191">
            <a:extLst>
              <a:ext uri="{FF2B5EF4-FFF2-40B4-BE49-F238E27FC236}">
                <a16:creationId xmlns:a16="http://schemas.microsoft.com/office/drawing/2014/main" id="{C7864B2B-F966-4519-8B40-288CD7BFCB04}"/>
              </a:ext>
            </a:extLst>
          </p:cNvPr>
          <p:cNvSpPr txBox="1"/>
          <p:nvPr/>
        </p:nvSpPr>
        <p:spPr>
          <a:xfrm>
            <a:off x="7098540" y="4547732"/>
            <a:ext cx="410369" cy="107722"/>
          </a:xfrm>
          <a:prstGeom prst="rect">
            <a:avLst/>
          </a:prstGeom>
          <a:noFill/>
          <a:effectLst/>
        </p:spPr>
        <p:txBody>
          <a:bodyPr wrap="none" lIns="0" tIns="0" rIns="0" bIns="0" rtlCol="0" anchor="t">
            <a:spAutoFit/>
          </a:bodyPr>
          <a:lstStyle/>
          <a:p>
            <a:pPr algn="ctr"/>
            <a:r>
              <a:rPr lang="en-GB" sz="700" dirty="0">
                <a:solidFill>
                  <a:schemeClr val="tx2"/>
                </a:solidFill>
              </a:rPr>
              <a:t>Transform</a:t>
            </a:r>
          </a:p>
        </p:txBody>
      </p:sp>
      <p:sp>
        <p:nvSpPr>
          <p:cNvPr id="193" name="TextBox 192">
            <a:extLst>
              <a:ext uri="{FF2B5EF4-FFF2-40B4-BE49-F238E27FC236}">
                <a16:creationId xmlns:a16="http://schemas.microsoft.com/office/drawing/2014/main" id="{2DCC2CAD-A6A2-4413-AECC-61D020B12DBD}"/>
              </a:ext>
            </a:extLst>
          </p:cNvPr>
          <p:cNvSpPr txBox="1"/>
          <p:nvPr/>
        </p:nvSpPr>
        <p:spPr>
          <a:xfrm>
            <a:off x="7931690" y="4547732"/>
            <a:ext cx="834932" cy="107722"/>
          </a:xfrm>
          <a:prstGeom prst="rect">
            <a:avLst/>
          </a:prstGeom>
          <a:noFill/>
          <a:effectLst/>
        </p:spPr>
        <p:txBody>
          <a:bodyPr wrap="square" lIns="0" tIns="0" rIns="0" bIns="0" rtlCol="0" anchor="t">
            <a:spAutoFit/>
          </a:bodyPr>
          <a:lstStyle/>
          <a:p>
            <a:pPr algn="ctr"/>
            <a:r>
              <a:rPr lang="en-GB" sz="700" dirty="0">
                <a:solidFill>
                  <a:schemeClr val="tx2"/>
                </a:solidFill>
              </a:rPr>
              <a:t>Tree</a:t>
            </a:r>
          </a:p>
        </p:txBody>
      </p:sp>
      <p:sp>
        <p:nvSpPr>
          <p:cNvPr id="194" name="Freeform 34">
            <a:extLst>
              <a:ext uri="{FF2B5EF4-FFF2-40B4-BE49-F238E27FC236}">
                <a16:creationId xmlns:a16="http://schemas.microsoft.com/office/drawing/2014/main" id="{65482B60-0959-43AF-A4CE-92024F5CF173}"/>
              </a:ext>
            </a:extLst>
          </p:cNvPr>
          <p:cNvSpPr>
            <a:spLocks noEditPoints="1"/>
          </p:cNvSpPr>
          <p:nvPr/>
        </p:nvSpPr>
        <p:spPr bwMode="auto">
          <a:xfrm>
            <a:off x="587675" y="2406184"/>
            <a:ext cx="412750" cy="412750"/>
          </a:xfrm>
          <a:custGeom>
            <a:avLst/>
            <a:gdLst>
              <a:gd name="T0" fmla="*/ 81 w 260"/>
              <a:gd name="T1" fmla="*/ 0 h 260"/>
              <a:gd name="T2" fmla="*/ 260 w 260"/>
              <a:gd name="T3" fmla="*/ 0 h 260"/>
              <a:gd name="T4" fmla="*/ 260 w 260"/>
              <a:gd name="T5" fmla="*/ 16 h 260"/>
              <a:gd name="T6" fmla="*/ 81 w 260"/>
              <a:gd name="T7" fmla="*/ 16 h 260"/>
              <a:gd name="T8" fmla="*/ 81 w 260"/>
              <a:gd name="T9" fmla="*/ 0 h 260"/>
              <a:gd name="T10" fmla="*/ 81 w 260"/>
              <a:gd name="T11" fmla="*/ 49 h 260"/>
              <a:gd name="T12" fmla="*/ 227 w 260"/>
              <a:gd name="T13" fmla="*/ 49 h 260"/>
              <a:gd name="T14" fmla="*/ 227 w 260"/>
              <a:gd name="T15" fmla="*/ 65 h 260"/>
              <a:gd name="T16" fmla="*/ 81 w 260"/>
              <a:gd name="T17" fmla="*/ 65 h 260"/>
              <a:gd name="T18" fmla="*/ 81 w 260"/>
              <a:gd name="T19" fmla="*/ 49 h 260"/>
              <a:gd name="T20" fmla="*/ 81 w 260"/>
              <a:gd name="T21" fmla="*/ 97 h 260"/>
              <a:gd name="T22" fmla="*/ 195 w 260"/>
              <a:gd name="T23" fmla="*/ 97 h 260"/>
              <a:gd name="T24" fmla="*/ 195 w 260"/>
              <a:gd name="T25" fmla="*/ 114 h 260"/>
              <a:gd name="T26" fmla="*/ 81 w 260"/>
              <a:gd name="T27" fmla="*/ 114 h 260"/>
              <a:gd name="T28" fmla="*/ 81 w 260"/>
              <a:gd name="T29" fmla="*/ 97 h 260"/>
              <a:gd name="T30" fmla="*/ 102 w 260"/>
              <a:gd name="T31" fmla="*/ 191 h 260"/>
              <a:gd name="T32" fmla="*/ 65 w 260"/>
              <a:gd name="T33" fmla="*/ 229 h 260"/>
              <a:gd name="T34" fmla="*/ 65 w 260"/>
              <a:gd name="T35" fmla="*/ 0 h 260"/>
              <a:gd name="T36" fmla="*/ 49 w 260"/>
              <a:gd name="T37" fmla="*/ 0 h 260"/>
              <a:gd name="T38" fmla="*/ 49 w 260"/>
              <a:gd name="T39" fmla="*/ 227 h 260"/>
              <a:gd name="T40" fmla="*/ 12 w 260"/>
              <a:gd name="T41" fmla="*/ 191 h 260"/>
              <a:gd name="T42" fmla="*/ 0 w 260"/>
              <a:gd name="T43" fmla="*/ 203 h 260"/>
              <a:gd name="T44" fmla="*/ 57 w 260"/>
              <a:gd name="T45" fmla="*/ 260 h 260"/>
              <a:gd name="T46" fmla="*/ 114 w 260"/>
              <a:gd name="T47" fmla="*/ 203 h 260"/>
              <a:gd name="T48" fmla="*/ 102 w 260"/>
              <a:gd name="T49" fmla="*/ 19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260">
                <a:moveTo>
                  <a:pt x="81" y="0"/>
                </a:moveTo>
                <a:lnTo>
                  <a:pt x="260" y="0"/>
                </a:lnTo>
                <a:lnTo>
                  <a:pt x="260" y="16"/>
                </a:lnTo>
                <a:lnTo>
                  <a:pt x="81" y="16"/>
                </a:lnTo>
                <a:lnTo>
                  <a:pt x="81" y="0"/>
                </a:lnTo>
                <a:close/>
                <a:moveTo>
                  <a:pt x="81" y="49"/>
                </a:moveTo>
                <a:lnTo>
                  <a:pt x="227" y="49"/>
                </a:lnTo>
                <a:lnTo>
                  <a:pt x="227" y="65"/>
                </a:lnTo>
                <a:lnTo>
                  <a:pt x="81" y="65"/>
                </a:lnTo>
                <a:lnTo>
                  <a:pt x="81" y="49"/>
                </a:lnTo>
                <a:close/>
                <a:moveTo>
                  <a:pt x="81" y="97"/>
                </a:moveTo>
                <a:lnTo>
                  <a:pt x="195" y="97"/>
                </a:lnTo>
                <a:lnTo>
                  <a:pt x="195" y="114"/>
                </a:lnTo>
                <a:lnTo>
                  <a:pt x="81" y="114"/>
                </a:lnTo>
                <a:lnTo>
                  <a:pt x="81" y="97"/>
                </a:lnTo>
                <a:close/>
                <a:moveTo>
                  <a:pt x="102" y="191"/>
                </a:moveTo>
                <a:lnTo>
                  <a:pt x="65" y="229"/>
                </a:lnTo>
                <a:lnTo>
                  <a:pt x="65" y="0"/>
                </a:lnTo>
                <a:lnTo>
                  <a:pt x="49" y="0"/>
                </a:lnTo>
                <a:lnTo>
                  <a:pt x="49" y="227"/>
                </a:lnTo>
                <a:lnTo>
                  <a:pt x="12" y="191"/>
                </a:lnTo>
                <a:lnTo>
                  <a:pt x="0" y="203"/>
                </a:lnTo>
                <a:lnTo>
                  <a:pt x="57" y="260"/>
                </a:lnTo>
                <a:lnTo>
                  <a:pt x="114" y="203"/>
                </a:lnTo>
                <a:lnTo>
                  <a:pt x="102" y="19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5" name="Freeform 38">
            <a:extLst>
              <a:ext uri="{FF2B5EF4-FFF2-40B4-BE49-F238E27FC236}">
                <a16:creationId xmlns:a16="http://schemas.microsoft.com/office/drawing/2014/main" id="{4E321B52-6691-4995-B647-9D1A4628E6B7}"/>
              </a:ext>
            </a:extLst>
          </p:cNvPr>
          <p:cNvSpPr>
            <a:spLocks noEditPoints="1"/>
          </p:cNvSpPr>
          <p:nvPr/>
        </p:nvSpPr>
        <p:spPr bwMode="auto">
          <a:xfrm>
            <a:off x="2678542" y="2406184"/>
            <a:ext cx="412750" cy="412750"/>
          </a:xfrm>
          <a:custGeom>
            <a:avLst/>
            <a:gdLst>
              <a:gd name="T0" fmla="*/ 98 w 128"/>
              <a:gd name="T1" fmla="*/ 54 h 128"/>
              <a:gd name="T2" fmla="*/ 80 w 128"/>
              <a:gd name="T3" fmla="*/ 72 h 128"/>
              <a:gd name="T4" fmla="*/ 62 w 128"/>
              <a:gd name="T5" fmla="*/ 54 h 128"/>
              <a:gd name="T6" fmla="*/ 80 w 128"/>
              <a:gd name="T7" fmla="*/ 36 h 128"/>
              <a:gd name="T8" fmla="*/ 98 w 128"/>
              <a:gd name="T9" fmla="*/ 54 h 128"/>
              <a:gd name="T10" fmla="*/ 128 w 128"/>
              <a:gd name="T11" fmla="*/ 127 h 128"/>
              <a:gd name="T12" fmla="*/ 122 w 128"/>
              <a:gd name="T13" fmla="*/ 103 h 128"/>
              <a:gd name="T14" fmla="*/ 105 w 128"/>
              <a:gd name="T15" fmla="*/ 86 h 128"/>
              <a:gd name="T16" fmla="*/ 91 w 128"/>
              <a:gd name="T17" fmla="*/ 80 h 128"/>
              <a:gd name="T18" fmla="*/ 80 w 128"/>
              <a:gd name="T19" fmla="*/ 98 h 128"/>
              <a:gd name="T20" fmla="*/ 69 w 128"/>
              <a:gd name="T21" fmla="*/ 80 h 128"/>
              <a:gd name="T22" fmla="*/ 32 w 128"/>
              <a:gd name="T23" fmla="*/ 127 h 128"/>
              <a:gd name="T24" fmla="*/ 32 w 128"/>
              <a:gd name="T25" fmla="*/ 127 h 128"/>
              <a:gd name="T26" fmla="*/ 32 w 128"/>
              <a:gd name="T27" fmla="*/ 128 h 128"/>
              <a:gd name="T28" fmla="*/ 128 w 128"/>
              <a:gd name="T29" fmla="*/ 128 h 128"/>
              <a:gd name="T30" fmla="*/ 128 w 128"/>
              <a:gd name="T31" fmla="*/ 127 h 128"/>
              <a:gd name="T32" fmla="*/ 16 w 128"/>
              <a:gd name="T33" fmla="*/ 16 h 128"/>
              <a:gd name="T34" fmla="*/ 16 w 128"/>
              <a:gd name="T35" fmla="*/ 24 h 128"/>
              <a:gd name="T36" fmla="*/ 72 w 128"/>
              <a:gd name="T37" fmla="*/ 24 h 128"/>
              <a:gd name="T38" fmla="*/ 72 w 128"/>
              <a:gd name="T39" fmla="*/ 16 h 128"/>
              <a:gd name="T40" fmla="*/ 16 w 128"/>
              <a:gd name="T41" fmla="*/ 16 h 128"/>
              <a:gd name="T42" fmla="*/ 16 w 128"/>
              <a:gd name="T43" fmla="*/ 32 h 128"/>
              <a:gd name="T44" fmla="*/ 16 w 128"/>
              <a:gd name="T45" fmla="*/ 40 h 128"/>
              <a:gd name="T46" fmla="*/ 48 w 128"/>
              <a:gd name="T47" fmla="*/ 40 h 128"/>
              <a:gd name="T48" fmla="*/ 48 w 128"/>
              <a:gd name="T49" fmla="*/ 32 h 128"/>
              <a:gd name="T50" fmla="*/ 16 w 128"/>
              <a:gd name="T51" fmla="*/ 32 h 128"/>
              <a:gd name="T52" fmla="*/ 40 w 128"/>
              <a:gd name="T53" fmla="*/ 88 h 128"/>
              <a:gd name="T54" fmla="*/ 8 w 128"/>
              <a:gd name="T55" fmla="*/ 88 h 128"/>
              <a:gd name="T56" fmla="*/ 8 w 128"/>
              <a:gd name="T57" fmla="*/ 8 h 128"/>
              <a:gd name="T58" fmla="*/ 120 w 128"/>
              <a:gd name="T59" fmla="*/ 8 h 128"/>
              <a:gd name="T60" fmla="*/ 120 w 128"/>
              <a:gd name="T61" fmla="*/ 88 h 128"/>
              <a:gd name="T62" fmla="*/ 127 w 128"/>
              <a:gd name="T63" fmla="*/ 96 h 128"/>
              <a:gd name="T64" fmla="*/ 128 w 128"/>
              <a:gd name="T65" fmla="*/ 96 h 128"/>
              <a:gd name="T66" fmla="*/ 128 w 128"/>
              <a:gd name="T67" fmla="*/ 0 h 128"/>
              <a:gd name="T68" fmla="*/ 0 w 128"/>
              <a:gd name="T69" fmla="*/ 0 h 128"/>
              <a:gd name="T70" fmla="*/ 0 w 128"/>
              <a:gd name="T71" fmla="*/ 96 h 128"/>
              <a:gd name="T72" fmla="*/ 33 w 128"/>
              <a:gd name="T73" fmla="*/ 96 h 128"/>
              <a:gd name="T74" fmla="*/ 40 w 128"/>
              <a:gd name="T75" fmla="*/ 8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28">
                <a:moveTo>
                  <a:pt x="98" y="54"/>
                </a:moveTo>
                <a:cubicBezTo>
                  <a:pt x="98" y="64"/>
                  <a:pt x="90" y="72"/>
                  <a:pt x="80" y="72"/>
                </a:cubicBezTo>
                <a:cubicBezTo>
                  <a:pt x="70" y="72"/>
                  <a:pt x="62" y="64"/>
                  <a:pt x="62" y="54"/>
                </a:cubicBezTo>
                <a:cubicBezTo>
                  <a:pt x="62" y="44"/>
                  <a:pt x="70" y="36"/>
                  <a:pt x="80" y="36"/>
                </a:cubicBezTo>
                <a:cubicBezTo>
                  <a:pt x="90" y="36"/>
                  <a:pt x="98" y="44"/>
                  <a:pt x="98" y="54"/>
                </a:cubicBezTo>
                <a:close/>
                <a:moveTo>
                  <a:pt x="128" y="127"/>
                </a:moveTo>
                <a:cubicBezTo>
                  <a:pt x="128" y="118"/>
                  <a:pt x="126" y="110"/>
                  <a:pt x="122" y="103"/>
                </a:cubicBezTo>
                <a:cubicBezTo>
                  <a:pt x="118" y="96"/>
                  <a:pt x="112" y="90"/>
                  <a:pt x="105" y="86"/>
                </a:cubicBezTo>
                <a:cubicBezTo>
                  <a:pt x="101" y="83"/>
                  <a:pt x="96" y="81"/>
                  <a:pt x="91" y="80"/>
                </a:cubicBezTo>
                <a:cubicBezTo>
                  <a:pt x="80" y="98"/>
                  <a:pt x="80" y="98"/>
                  <a:pt x="80" y="98"/>
                </a:cubicBezTo>
                <a:cubicBezTo>
                  <a:pt x="69" y="80"/>
                  <a:pt x="69" y="80"/>
                  <a:pt x="69" y="80"/>
                </a:cubicBezTo>
                <a:cubicBezTo>
                  <a:pt x="48" y="85"/>
                  <a:pt x="32" y="104"/>
                  <a:pt x="32" y="127"/>
                </a:cubicBezTo>
                <a:cubicBezTo>
                  <a:pt x="32" y="127"/>
                  <a:pt x="32" y="127"/>
                  <a:pt x="32" y="127"/>
                </a:cubicBezTo>
                <a:cubicBezTo>
                  <a:pt x="32" y="127"/>
                  <a:pt x="32" y="128"/>
                  <a:pt x="32" y="128"/>
                </a:cubicBezTo>
                <a:cubicBezTo>
                  <a:pt x="128" y="128"/>
                  <a:pt x="128" y="128"/>
                  <a:pt x="128" y="128"/>
                </a:cubicBezTo>
                <a:cubicBezTo>
                  <a:pt x="128" y="128"/>
                  <a:pt x="128" y="127"/>
                  <a:pt x="128" y="127"/>
                </a:cubicBezTo>
                <a:close/>
                <a:moveTo>
                  <a:pt x="16" y="16"/>
                </a:moveTo>
                <a:cubicBezTo>
                  <a:pt x="16" y="24"/>
                  <a:pt x="16" y="24"/>
                  <a:pt x="16" y="24"/>
                </a:cubicBezTo>
                <a:cubicBezTo>
                  <a:pt x="72" y="24"/>
                  <a:pt x="72" y="24"/>
                  <a:pt x="72" y="24"/>
                </a:cubicBezTo>
                <a:cubicBezTo>
                  <a:pt x="72" y="16"/>
                  <a:pt x="72" y="16"/>
                  <a:pt x="72" y="16"/>
                </a:cubicBezTo>
                <a:lnTo>
                  <a:pt x="16" y="16"/>
                </a:lnTo>
                <a:close/>
                <a:moveTo>
                  <a:pt x="16" y="32"/>
                </a:moveTo>
                <a:cubicBezTo>
                  <a:pt x="16" y="40"/>
                  <a:pt x="16" y="40"/>
                  <a:pt x="16" y="40"/>
                </a:cubicBezTo>
                <a:cubicBezTo>
                  <a:pt x="48" y="40"/>
                  <a:pt x="48" y="40"/>
                  <a:pt x="48" y="40"/>
                </a:cubicBezTo>
                <a:cubicBezTo>
                  <a:pt x="48" y="32"/>
                  <a:pt x="48" y="32"/>
                  <a:pt x="48" y="32"/>
                </a:cubicBezTo>
                <a:lnTo>
                  <a:pt x="16" y="32"/>
                </a:lnTo>
                <a:close/>
                <a:moveTo>
                  <a:pt x="40" y="88"/>
                </a:moveTo>
                <a:cubicBezTo>
                  <a:pt x="8" y="88"/>
                  <a:pt x="8" y="88"/>
                  <a:pt x="8" y="88"/>
                </a:cubicBezTo>
                <a:cubicBezTo>
                  <a:pt x="8" y="8"/>
                  <a:pt x="8" y="8"/>
                  <a:pt x="8" y="8"/>
                </a:cubicBezTo>
                <a:cubicBezTo>
                  <a:pt x="120" y="8"/>
                  <a:pt x="120" y="8"/>
                  <a:pt x="120" y="8"/>
                </a:cubicBezTo>
                <a:cubicBezTo>
                  <a:pt x="120" y="88"/>
                  <a:pt x="120" y="88"/>
                  <a:pt x="120" y="88"/>
                </a:cubicBezTo>
                <a:cubicBezTo>
                  <a:pt x="122" y="90"/>
                  <a:pt x="125" y="93"/>
                  <a:pt x="127" y="96"/>
                </a:cubicBezTo>
                <a:cubicBezTo>
                  <a:pt x="128" y="96"/>
                  <a:pt x="128" y="96"/>
                  <a:pt x="128" y="96"/>
                </a:cubicBezTo>
                <a:cubicBezTo>
                  <a:pt x="128" y="0"/>
                  <a:pt x="128" y="0"/>
                  <a:pt x="128" y="0"/>
                </a:cubicBezTo>
                <a:cubicBezTo>
                  <a:pt x="0" y="0"/>
                  <a:pt x="0" y="0"/>
                  <a:pt x="0" y="0"/>
                </a:cubicBezTo>
                <a:cubicBezTo>
                  <a:pt x="0" y="96"/>
                  <a:pt x="0" y="96"/>
                  <a:pt x="0" y="96"/>
                </a:cubicBezTo>
                <a:cubicBezTo>
                  <a:pt x="33" y="96"/>
                  <a:pt x="33" y="96"/>
                  <a:pt x="33" y="96"/>
                </a:cubicBezTo>
                <a:cubicBezTo>
                  <a:pt x="35" y="93"/>
                  <a:pt x="37" y="90"/>
                  <a:pt x="40" y="8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6" name="Freeform 42">
            <a:extLst>
              <a:ext uri="{FF2B5EF4-FFF2-40B4-BE49-F238E27FC236}">
                <a16:creationId xmlns:a16="http://schemas.microsoft.com/office/drawing/2014/main" id="{AB357D8C-FC2C-4299-A583-441BFE6B79FC}"/>
              </a:ext>
            </a:extLst>
          </p:cNvPr>
          <p:cNvSpPr>
            <a:spLocks noEditPoints="1"/>
          </p:cNvSpPr>
          <p:nvPr/>
        </p:nvSpPr>
        <p:spPr bwMode="auto">
          <a:xfrm>
            <a:off x="3767633" y="2406184"/>
            <a:ext cx="325438" cy="412750"/>
          </a:xfrm>
          <a:custGeom>
            <a:avLst/>
            <a:gdLst>
              <a:gd name="T0" fmla="*/ 90 w 100"/>
              <a:gd name="T1" fmla="*/ 41 h 128"/>
              <a:gd name="T2" fmla="*/ 50 w 100"/>
              <a:gd name="T3" fmla="*/ 0 h 128"/>
              <a:gd name="T4" fmla="*/ 9 w 100"/>
              <a:gd name="T5" fmla="*/ 41 h 128"/>
              <a:gd name="T6" fmla="*/ 50 w 100"/>
              <a:gd name="T7" fmla="*/ 81 h 128"/>
              <a:gd name="T8" fmla="*/ 90 w 100"/>
              <a:gd name="T9" fmla="*/ 41 h 128"/>
              <a:gd name="T10" fmla="*/ 17 w 100"/>
              <a:gd name="T11" fmla="*/ 41 h 128"/>
              <a:gd name="T12" fmla="*/ 50 w 100"/>
              <a:gd name="T13" fmla="*/ 8 h 128"/>
              <a:gd name="T14" fmla="*/ 82 w 100"/>
              <a:gd name="T15" fmla="*/ 41 h 128"/>
              <a:gd name="T16" fmla="*/ 50 w 100"/>
              <a:gd name="T17" fmla="*/ 73 h 128"/>
              <a:gd name="T18" fmla="*/ 17 w 100"/>
              <a:gd name="T19" fmla="*/ 41 h 128"/>
              <a:gd name="T20" fmla="*/ 38 w 100"/>
              <a:gd name="T21" fmla="*/ 46 h 128"/>
              <a:gd name="T22" fmla="*/ 26 w 100"/>
              <a:gd name="T23" fmla="*/ 34 h 128"/>
              <a:gd name="T24" fmla="*/ 42 w 100"/>
              <a:gd name="T25" fmla="*/ 32 h 128"/>
              <a:gd name="T26" fmla="*/ 50 w 100"/>
              <a:gd name="T27" fmla="*/ 17 h 128"/>
              <a:gd name="T28" fmla="*/ 57 w 100"/>
              <a:gd name="T29" fmla="*/ 32 h 128"/>
              <a:gd name="T30" fmla="*/ 73 w 100"/>
              <a:gd name="T31" fmla="*/ 34 h 128"/>
              <a:gd name="T32" fmla="*/ 61 w 100"/>
              <a:gd name="T33" fmla="*/ 46 h 128"/>
              <a:gd name="T34" fmla="*/ 64 w 100"/>
              <a:gd name="T35" fmla="*/ 62 h 128"/>
              <a:gd name="T36" fmla="*/ 50 w 100"/>
              <a:gd name="T37" fmla="*/ 54 h 128"/>
              <a:gd name="T38" fmla="*/ 35 w 100"/>
              <a:gd name="T39" fmla="*/ 62 h 128"/>
              <a:gd name="T40" fmla="*/ 38 w 100"/>
              <a:gd name="T41" fmla="*/ 46 h 128"/>
              <a:gd name="T42" fmla="*/ 100 w 100"/>
              <a:gd name="T43" fmla="*/ 115 h 128"/>
              <a:gd name="T44" fmla="*/ 82 w 100"/>
              <a:gd name="T45" fmla="*/ 110 h 128"/>
              <a:gd name="T46" fmla="*/ 76 w 100"/>
              <a:gd name="T47" fmla="*/ 128 h 128"/>
              <a:gd name="T48" fmla="*/ 53 w 100"/>
              <a:gd name="T49" fmla="*/ 87 h 128"/>
              <a:gd name="T50" fmla="*/ 79 w 100"/>
              <a:gd name="T51" fmla="*/ 77 h 128"/>
              <a:gd name="T52" fmla="*/ 100 w 100"/>
              <a:gd name="T53" fmla="*/ 115 h 128"/>
              <a:gd name="T54" fmla="*/ 21 w 100"/>
              <a:gd name="T55" fmla="*/ 78 h 128"/>
              <a:gd name="T56" fmla="*/ 47 w 100"/>
              <a:gd name="T57" fmla="*/ 87 h 128"/>
              <a:gd name="T58" fmla="*/ 24 w 100"/>
              <a:gd name="T59" fmla="*/ 128 h 128"/>
              <a:gd name="T60" fmla="*/ 18 w 100"/>
              <a:gd name="T61" fmla="*/ 110 h 128"/>
              <a:gd name="T62" fmla="*/ 0 w 100"/>
              <a:gd name="T63" fmla="*/ 115 h 128"/>
              <a:gd name="T64" fmla="*/ 21 w 100"/>
              <a:gd name="T65" fmla="*/ 7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0" h="128">
                <a:moveTo>
                  <a:pt x="90" y="41"/>
                </a:moveTo>
                <a:cubicBezTo>
                  <a:pt x="90" y="18"/>
                  <a:pt x="72" y="0"/>
                  <a:pt x="50" y="0"/>
                </a:cubicBezTo>
                <a:cubicBezTo>
                  <a:pt x="27" y="0"/>
                  <a:pt x="9" y="18"/>
                  <a:pt x="9" y="41"/>
                </a:cubicBezTo>
                <a:cubicBezTo>
                  <a:pt x="9" y="63"/>
                  <a:pt x="27" y="81"/>
                  <a:pt x="50" y="81"/>
                </a:cubicBezTo>
                <a:cubicBezTo>
                  <a:pt x="72" y="81"/>
                  <a:pt x="90" y="63"/>
                  <a:pt x="90" y="41"/>
                </a:cubicBezTo>
                <a:close/>
                <a:moveTo>
                  <a:pt x="17" y="41"/>
                </a:moveTo>
                <a:cubicBezTo>
                  <a:pt x="17" y="23"/>
                  <a:pt x="32" y="8"/>
                  <a:pt x="50" y="8"/>
                </a:cubicBezTo>
                <a:cubicBezTo>
                  <a:pt x="68" y="8"/>
                  <a:pt x="82" y="23"/>
                  <a:pt x="82" y="41"/>
                </a:cubicBezTo>
                <a:cubicBezTo>
                  <a:pt x="82" y="59"/>
                  <a:pt x="68" y="73"/>
                  <a:pt x="50" y="73"/>
                </a:cubicBezTo>
                <a:cubicBezTo>
                  <a:pt x="32" y="73"/>
                  <a:pt x="17" y="59"/>
                  <a:pt x="17" y="41"/>
                </a:cubicBezTo>
                <a:close/>
                <a:moveTo>
                  <a:pt x="38" y="46"/>
                </a:moveTo>
                <a:cubicBezTo>
                  <a:pt x="26" y="34"/>
                  <a:pt x="26" y="34"/>
                  <a:pt x="26" y="34"/>
                </a:cubicBezTo>
                <a:cubicBezTo>
                  <a:pt x="42" y="32"/>
                  <a:pt x="42" y="32"/>
                  <a:pt x="42" y="32"/>
                </a:cubicBezTo>
                <a:cubicBezTo>
                  <a:pt x="50" y="17"/>
                  <a:pt x="50" y="17"/>
                  <a:pt x="50" y="17"/>
                </a:cubicBezTo>
                <a:cubicBezTo>
                  <a:pt x="57" y="32"/>
                  <a:pt x="57" y="32"/>
                  <a:pt x="57" y="32"/>
                </a:cubicBezTo>
                <a:cubicBezTo>
                  <a:pt x="73" y="34"/>
                  <a:pt x="73" y="34"/>
                  <a:pt x="73" y="34"/>
                </a:cubicBezTo>
                <a:cubicBezTo>
                  <a:pt x="61" y="46"/>
                  <a:pt x="61" y="46"/>
                  <a:pt x="61" y="46"/>
                </a:cubicBezTo>
                <a:cubicBezTo>
                  <a:pt x="64" y="62"/>
                  <a:pt x="64" y="62"/>
                  <a:pt x="64" y="62"/>
                </a:cubicBezTo>
                <a:cubicBezTo>
                  <a:pt x="50" y="54"/>
                  <a:pt x="50" y="54"/>
                  <a:pt x="50" y="54"/>
                </a:cubicBezTo>
                <a:cubicBezTo>
                  <a:pt x="35" y="62"/>
                  <a:pt x="35" y="62"/>
                  <a:pt x="35" y="62"/>
                </a:cubicBezTo>
                <a:lnTo>
                  <a:pt x="38" y="46"/>
                </a:lnTo>
                <a:close/>
                <a:moveTo>
                  <a:pt x="100" y="115"/>
                </a:moveTo>
                <a:cubicBezTo>
                  <a:pt x="82" y="110"/>
                  <a:pt x="82" y="110"/>
                  <a:pt x="82" y="110"/>
                </a:cubicBezTo>
                <a:cubicBezTo>
                  <a:pt x="76" y="128"/>
                  <a:pt x="76" y="128"/>
                  <a:pt x="76" y="128"/>
                </a:cubicBezTo>
                <a:cubicBezTo>
                  <a:pt x="53" y="87"/>
                  <a:pt x="53" y="87"/>
                  <a:pt x="53" y="87"/>
                </a:cubicBezTo>
                <a:cubicBezTo>
                  <a:pt x="63" y="87"/>
                  <a:pt x="72" y="83"/>
                  <a:pt x="79" y="77"/>
                </a:cubicBezTo>
                <a:lnTo>
                  <a:pt x="100" y="115"/>
                </a:lnTo>
                <a:close/>
                <a:moveTo>
                  <a:pt x="21" y="78"/>
                </a:moveTo>
                <a:cubicBezTo>
                  <a:pt x="28" y="83"/>
                  <a:pt x="37" y="87"/>
                  <a:pt x="47" y="87"/>
                </a:cubicBezTo>
                <a:cubicBezTo>
                  <a:pt x="24" y="128"/>
                  <a:pt x="24" y="128"/>
                  <a:pt x="24" y="128"/>
                </a:cubicBezTo>
                <a:cubicBezTo>
                  <a:pt x="18" y="110"/>
                  <a:pt x="18" y="110"/>
                  <a:pt x="18" y="110"/>
                </a:cubicBezTo>
                <a:cubicBezTo>
                  <a:pt x="0" y="115"/>
                  <a:pt x="0" y="115"/>
                  <a:pt x="0" y="115"/>
                </a:cubicBezTo>
                <a:lnTo>
                  <a:pt x="21" y="7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201" name="Graphic 200">
            <a:extLst>
              <a:ext uri="{FF2B5EF4-FFF2-40B4-BE49-F238E27FC236}">
                <a16:creationId xmlns:a16="http://schemas.microsoft.com/office/drawing/2014/main" id="{B7F064BB-E5C9-40BD-B2CB-297C72DA618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85942" y="2443216"/>
            <a:ext cx="375718" cy="375718"/>
          </a:xfrm>
          <a:prstGeom prst="rect">
            <a:avLst/>
          </a:prstGeom>
        </p:spPr>
      </p:pic>
      <p:sp>
        <p:nvSpPr>
          <p:cNvPr id="203" name="Freeform 30">
            <a:extLst>
              <a:ext uri="{FF2B5EF4-FFF2-40B4-BE49-F238E27FC236}">
                <a16:creationId xmlns:a16="http://schemas.microsoft.com/office/drawing/2014/main" id="{4099A70A-8ACD-4E17-AAAB-21F07D9FC309}"/>
              </a:ext>
            </a:extLst>
          </p:cNvPr>
          <p:cNvSpPr>
            <a:spLocks noEditPoints="1"/>
          </p:cNvSpPr>
          <p:nvPr/>
        </p:nvSpPr>
        <p:spPr bwMode="auto">
          <a:xfrm>
            <a:off x="3723977" y="1592334"/>
            <a:ext cx="412750" cy="412750"/>
          </a:xfrm>
          <a:custGeom>
            <a:avLst/>
            <a:gdLst>
              <a:gd name="T0" fmla="*/ 179 w 260"/>
              <a:gd name="T1" fmla="*/ 260 h 260"/>
              <a:gd name="T2" fmla="*/ 0 w 260"/>
              <a:gd name="T3" fmla="*/ 260 h 260"/>
              <a:gd name="T4" fmla="*/ 0 w 260"/>
              <a:gd name="T5" fmla="*/ 244 h 260"/>
              <a:gd name="T6" fmla="*/ 179 w 260"/>
              <a:gd name="T7" fmla="*/ 244 h 260"/>
              <a:gd name="T8" fmla="*/ 179 w 260"/>
              <a:gd name="T9" fmla="*/ 260 h 260"/>
              <a:gd name="T10" fmla="*/ 179 w 260"/>
              <a:gd name="T11" fmla="*/ 211 h 260"/>
              <a:gd name="T12" fmla="*/ 32 w 260"/>
              <a:gd name="T13" fmla="*/ 211 h 260"/>
              <a:gd name="T14" fmla="*/ 32 w 260"/>
              <a:gd name="T15" fmla="*/ 195 h 260"/>
              <a:gd name="T16" fmla="*/ 179 w 260"/>
              <a:gd name="T17" fmla="*/ 195 h 260"/>
              <a:gd name="T18" fmla="*/ 179 w 260"/>
              <a:gd name="T19" fmla="*/ 211 h 260"/>
              <a:gd name="T20" fmla="*/ 179 w 260"/>
              <a:gd name="T21" fmla="*/ 162 h 260"/>
              <a:gd name="T22" fmla="*/ 65 w 260"/>
              <a:gd name="T23" fmla="*/ 162 h 260"/>
              <a:gd name="T24" fmla="*/ 65 w 260"/>
              <a:gd name="T25" fmla="*/ 146 h 260"/>
              <a:gd name="T26" fmla="*/ 179 w 260"/>
              <a:gd name="T27" fmla="*/ 146 h 260"/>
              <a:gd name="T28" fmla="*/ 179 w 260"/>
              <a:gd name="T29" fmla="*/ 162 h 260"/>
              <a:gd name="T30" fmla="*/ 158 w 260"/>
              <a:gd name="T31" fmla="*/ 69 h 260"/>
              <a:gd name="T32" fmla="*/ 195 w 260"/>
              <a:gd name="T33" fmla="*/ 30 h 260"/>
              <a:gd name="T34" fmla="*/ 195 w 260"/>
              <a:gd name="T35" fmla="*/ 260 h 260"/>
              <a:gd name="T36" fmla="*/ 211 w 260"/>
              <a:gd name="T37" fmla="*/ 260 h 260"/>
              <a:gd name="T38" fmla="*/ 211 w 260"/>
              <a:gd name="T39" fmla="*/ 32 h 260"/>
              <a:gd name="T40" fmla="*/ 248 w 260"/>
              <a:gd name="T41" fmla="*/ 69 h 260"/>
              <a:gd name="T42" fmla="*/ 260 w 260"/>
              <a:gd name="T43" fmla="*/ 57 h 260"/>
              <a:gd name="T44" fmla="*/ 203 w 260"/>
              <a:gd name="T45" fmla="*/ 0 h 260"/>
              <a:gd name="T46" fmla="*/ 146 w 260"/>
              <a:gd name="T47" fmla="*/ 57 h 260"/>
              <a:gd name="T48" fmla="*/ 158 w 260"/>
              <a:gd name="T49" fmla="*/ 6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260">
                <a:moveTo>
                  <a:pt x="179" y="260"/>
                </a:moveTo>
                <a:lnTo>
                  <a:pt x="0" y="260"/>
                </a:lnTo>
                <a:lnTo>
                  <a:pt x="0" y="244"/>
                </a:lnTo>
                <a:lnTo>
                  <a:pt x="179" y="244"/>
                </a:lnTo>
                <a:lnTo>
                  <a:pt x="179" y="260"/>
                </a:lnTo>
                <a:close/>
                <a:moveTo>
                  <a:pt x="179" y="211"/>
                </a:moveTo>
                <a:lnTo>
                  <a:pt x="32" y="211"/>
                </a:lnTo>
                <a:lnTo>
                  <a:pt x="32" y="195"/>
                </a:lnTo>
                <a:lnTo>
                  <a:pt x="179" y="195"/>
                </a:lnTo>
                <a:lnTo>
                  <a:pt x="179" y="211"/>
                </a:lnTo>
                <a:close/>
                <a:moveTo>
                  <a:pt x="179" y="162"/>
                </a:moveTo>
                <a:lnTo>
                  <a:pt x="65" y="162"/>
                </a:lnTo>
                <a:lnTo>
                  <a:pt x="65" y="146"/>
                </a:lnTo>
                <a:lnTo>
                  <a:pt x="179" y="146"/>
                </a:lnTo>
                <a:lnTo>
                  <a:pt x="179" y="162"/>
                </a:lnTo>
                <a:close/>
                <a:moveTo>
                  <a:pt x="158" y="69"/>
                </a:moveTo>
                <a:lnTo>
                  <a:pt x="195" y="30"/>
                </a:lnTo>
                <a:lnTo>
                  <a:pt x="195" y="260"/>
                </a:lnTo>
                <a:lnTo>
                  <a:pt x="211" y="260"/>
                </a:lnTo>
                <a:lnTo>
                  <a:pt x="211" y="32"/>
                </a:lnTo>
                <a:lnTo>
                  <a:pt x="248" y="69"/>
                </a:lnTo>
                <a:lnTo>
                  <a:pt x="260" y="57"/>
                </a:lnTo>
                <a:lnTo>
                  <a:pt x="203" y="0"/>
                </a:lnTo>
                <a:lnTo>
                  <a:pt x="146" y="57"/>
                </a:lnTo>
                <a:lnTo>
                  <a:pt x="158" y="6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pic>
        <p:nvPicPr>
          <p:cNvPr id="157" name="Graphic 156">
            <a:extLst>
              <a:ext uri="{FF2B5EF4-FFF2-40B4-BE49-F238E27FC236}">
                <a16:creationId xmlns:a16="http://schemas.microsoft.com/office/drawing/2014/main" id="{AB32821F-A633-477D-9024-A10AA703CC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88994" y="1613238"/>
            <a:ext cx="391846" cy="391846"/>
          </a:xfrm>
          <a:prstGeom prst="rect">
            <a:avLst/>
          </a:prstGeom>
        </p:spPr>
      </p:pic>
      <p:pic>
        <p:nvPicPr>
          <p:cNvPr id="4" name="Graphic 3">
            <a:extLst>
              <a:ext uri="{FF2B5EF4-FFF2-40B4-BE49-F238E27FC236}">
                <a16:creationId xmlns:a16="http://schemas.microsoft.com/office/drawing/2014/main" id="{D73B8E8F-AA01-47E8-B629-FC3C1BCF3F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153516" y="2514134"/>
            <a:ext cx="209550" cy="304800"/>
          </a:xfrm>
          <a:prstGeom prst="rect">
            <a:avLst/>
          </a:prstGeom>
        </p:spPr>
      </p:pic>
      <p:sp>
        <p:nvSpPr>
          <p:cNvPr id="221" name="Freihandform: Form 94">
            <a:extLst>
              <a:ext uri="{FF2B5EF4-FFF2-40B4-BE49-F238E27FC236}">
                <a16:creationId xmlns:a16="http://schemas.microsoft.com/office/drawing/2014/main" id="{C95A454A-4170-4F67-9051-499B6DF723A5}"/>
              </a:ext>
            </a:extLst>
          </p:cNvPr>
          <p:cNvSpPr>
            <a:spLocks noChangeAspect="1"/>
          </p:cNvSpPr>
          <p:nvPr/>
        </p:nvSpPr>
        <p:spPr>
          <a:xfrm>
            <a:off x="1678570" y="1614622"/>
            <a:ext cx="390462" cy="390462"/>
          </a:xfrm>
          <a:custGeom>
            <a:avLst/>
            <a:gdLst>
              <a:gd name="connsiteX0" fmla="*/ 152887 w 304800"/>
              <a:gd name="connsiteY0" fmla="*/ 1 h 304800"/>
              <a:gd name="connsiteX1" fmla="*/ 1 w 304800"/>
              <a:gd name="connsiteY1" fmla="*/ 151925 h 304800"/>
              <a:gd name="connsiteX2" fmla="*/ 151925 w 304800"/>
              <a:gd name="connsiteY2" fmla="*/ 304801 h 304800"/>
              <a:gd name="connsiteX3" fmla="*/ 304801 w 304800"/>
              <a:gd name="connsiteY3" fmla="*/ 152887 h 304800"/>
              <a:gd name="connsiteX4" fmla="*/ 152887 w 304800"/>
              <a:gd name="connsiteY4" fmla="*/ 1 h 304800"/>
              <a:gd name="connsiteX5" fmla="*/ 151982 w 304800"/>
              <a:gd name="connsiteY5" fmla="*/ 285751 h 304800"/>
              <a:gd name="connsiteX6" fmla="*/ 19051 w 304800"/>
              <a:gd name="connsiteY6" fmla="*/ 151982 h 304800"/>
              <a:gd name="connsiteX7" fmla="*/ 152820 w 304800"/>
              <a:gd name="connsiteY7" fmla="*/ 19051 h 304800"/>
              <a:gd name="connsiteX8" fmla="*/ 285751 w 304800"/>
              <a:gd name="connsiteY8" fmla="*/ 152820 h 304800"/>
              <a:gd name="connsiteX9" fmla="*/ 151982 w 304800"/>
              <a:gd name="connsiteY9" fmla="*/ 285751 h 304800"/>
              <a:gd name="connsiteX10" fmla="*/ 85726 w 304800"/>
              <a:gd name="connsiteY10" fmla="*/ 114244 h 304800"/>
              <a:gd name="connsiteX11" fmla="*/ 104833 w 304800"/>
              <a:gd name="connsiteY11" fmla="*/ 95251 h 304800"/>
              <a:gd name="connsiteX12" fmla="*/ 123826 w 304800"/>
              <a:gd name="connsiteY12" fmla="*/ 114358 h 304800"/>
              <a:gd name="connsiteX13" fmla="*/ 104709 w 304800"/>
              <a:gd name="connsiteY13" fmla="*/ 133351 h 304800"/>
              <a:gd name="connsiteX14" fmla="*/ 85726 w 304800"/>
              <a:gd name="connsiteY14" fmla="*/ 114244 h 304800"/>
              <a:gd name="connsiteX15" fmla="*/ 152401 w 304800"/>
              <a:gd name="connsiteY15" fmla="*/ 238126 h 304800"/>
              <a:gd name="connsiteX16" fmla="*/ 72962 w 304800"/>
              <a:gd name="connsiteY16" fmla="*/ 184557 h 304800"/>
              <a:gd name="connsiteX17" fmla="*/ 90622 w 304800"/>
              <a:gd name="connsiteY17" fmla="*/ 177394 h 304800"/>
              <a:gd name="connsiteX18" fmla="*/ 152401 w 304800"/>
              <a:gd name="connsiteY18" fmla="*/ 219076 h 304800"/>
              <a:gd name="connsiteX19" fmla="*/ 214180 w 304800"/>
              <a:gd name="connsiteY19" fmla="*/ 177394 h 304800"/>
              <a:gd name="connsiteX20" fmla="*/ 231839 w 304800"/>
              <a:gd name="connsiteY20" fmla="*/ 184557 h 304800"/>
              <a:gd name="connsiteX21" fmla="*/ 152401 w 304800"/>
              <a:gd name="connsiteY21" fmla="*/ 238126 h 304800"/>
              <a:gd name="connsiteX22" fmla="*/ 228601 w 304800"/>
              <a:gd name="connsiteY22" fmla="*/ 123826 h 304800"/>
              <a:gd name="connsiteX23" fmla="*/ 171451 w 304800"/>
              <a:gd name="connsiteY23" fmla="*/ 123826 h 304800"/>
              <a:gd name="connsiteX24" fmla="*/ 171451 w 304800"/>
              <a:gd name="connsiteY24" fmla="*/ 104776 h 304800"/>
              <a:gd name="connsiteX25" fmla="*/ 228601 w 304800"/>
              <a:gd name="connsiteY25" fmla="*/ 104776 h 304800"/>
              <a:gd name="connsiteX26" fmla="*/ 228601 w 304800"/>
              <a:gd name="connsiteY26" fmla="*/ 123826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4800" h="304800">
                <a:moveTo>
                  <a:pt x="152887" y="1"/>
                </a:moveTo>
                <a:cubicBezTo>
                  <a:pt x="68847" y="-266"/>
                  <a:pt x="267" y="67885"/>
                  <a:pt x="1" y="151925"/>
                </a:cubicBezTo>
                <a:cubicBezTo>
                  <a:pt x="-266" y="235954"/>
                  <a:pt x="67885" y="304534"/>
                  <a:pt x="151925" y="304801"/>
                </a:cubicBezTo>
                <a:cubicBezTo>
                  <a:pt x="235954" y="305067"/>
                  <a:pt x="304544" y="236916"/>
                  <a:pt x="304801" y="152887"/>
                </a:cubicBezTo>
                <a:cubicBezTo>
                  <a:pt x="305067" y="68847"/>
                  <a:pt x="236916" y="267"/>
                  <a:pt x="152887" y="1"/>
                </a:cubicBezTo>
                <a:close/>
                <a:moveTo>
                  <a:pt x="151982" y="285751"/>
                </a:moveTo>
                <a:cubicBezTo>
                  <a:pt x="78334" y="285513"/>
                  <a:pt x="18822" y="225629"/>
                  <a:pt x="19051" y="151982"/>
                </a:cubicBezTo>
                <a:cubicBezTo>
                  <a:pt x="19279" y="78325"/>
                  <a:pt x="79173" y="18822"/>
                  <a:pt x="152820" y="19051"/>
                </a:cubicBezTo>
                <a:cubicBezTo>
                  <a:pt x="226477" y="19289"/>
                  <a:pt x="285979" y="79173"/>
                  <a:pt x="285751" y="152820"/>
                </a:cubicBezTo>
                <a:cubicBezTo>
                  <a:pt x="285522" y="226477"/>
                  <a:pt x="225629" y="285979"/>
                  <a:pt x="151982" y="285751"/>
                </a:cubicBezTo>
                <a:close/>
                <a:moveTo>
                  <a:pt x="85726" y="114244"/>
                </a:moveTo>
                <a:cubicBezTo>
                  <a:pt x="85754" y="103719"/>
                  <a:pt x="94317" y="95213"/>
                  <a:pt x="104833" y="95251"/>
                </a:cubicBezTo>
                <a:cubicBezTo>
                  <a:pt x="115358" y="95279"/>
                  <a:pt x="123854" y="103842"/>
                  <a:pt x="123826" y="114358"/>
                </a:cubicBezTo>
                <a:cubicBezTo>
                  <a:pt x="123797" y="124883"/>
                  <a:pt x="115234" y="133379"/>
                  <a:pt x="104709" y="133351"/>
                </a:cubicBezTo>
                <a:cubicBezTo>
                  <a:pt x="94194" y="133322"/>
                  <a:pt x="85688" y="124759"/>
                  <a:pt x="85726" y="114244"/>
                </a:cubicBezTo>
                <a:close/>
                <a:moveTo>
                  <a:pt x="152401" y="238126"/>
                </a:moveTo>
                <a:cubicBezTo>
                  <a:pt x="117330" y="238126"/>
                  <a:pt x="86154" y="217095"/>
                  <a:pt x="72962" y="184557"/>
                </a:cubicBezTo>
                <a:lnTo>
                  <a:pt x="90622" y="177394"/>
                </a:lnTo>
                <a:cubicBezTo>
                  <a:pt x="100880" y="202712"/>
                  <a:pt x="125131" y="219076"/>
                  <a:pt x="152401" y="219076"/>
                </a:cubicBezTo>
                <a:cubicBezTo>
                  <a:pt x="179671" y="219076"/>
                  <a:pt x="203922" y="202712"/>
                  <a:pt x="214180" y="177394"/>
                </a:cubicBezTo>
                <a:lnTo>
                  <a:pt x="231839" y="184557"/>
                </a:lnTo>
                <a:cubicBezTo>
                  <a:pt x="218647" y="217095"/>
                  <a:pt x="187472" y="238126"/>
                  <a:pt x="152401" y="238126"/>
                </a:cubicBezTo>
                <a:close/>
                <a:moveTo>
                  <a:pt x="228601" y="123826"/>
                </a:moveTo>
                <a:lnTo>
                  <a:pt x="171451" y="123826"/>
                </a:lnTo>
                <a:lnTo>
                  <a:pt x="171451" y="104776"/>
                </a:lnTo>
                <a:lnTo>
                  <a:pt x="228601" y="104776"/>
                </a:lnTo>
                <a:lnTo>
                  <a:pt x="228601" y="123826"/>
                </a:lnTo>
                <a:close/>
              </a:path>
            </a:pathLst>
          </a:custGeom>
          <a:solidFill>
            <a:schemeClr val="tx2"/>
          </a:solidFill>
          <a:ln w="9525" cap="flat">
            <a:noFill/>
            <a:prstDash val="solid"/>
            <a:miter/>
          </a:ln>
        </p:spPr>
        <p:txBody>
          <a:bodyPr rtlCol="0" anchor="ctr"/>
          <a:lstStyle/>
          <a:p>
            <a:endParaRPr lang="en-GB" dirty="0"/>
          </a:p>
        </p:txBody>
      </p:sp>
      <p:sp>
        <p:nvSpPr>
          <p:cNvPr id="83" name="Freihandform: Form 90">
            <a:extLst>
              <a:ext uri="{FF2B5EF4-FFF2-40B4-BE49-F238E27FC236}">
                <a16:creationId xmlns:a16="http://schemas.microsoft.com/office/drawing/2014/main" id="{D5AD7101-55F3-4822-AFDC-3492893B489F}"/>
              </a:ext>
            </a:extLst>
          </p:cNvPr>
          <p:cNvSpPr>
            <a:spLocks noChangeAspect="1"/>
          </p:cNvSpPr>
          <p:nvPr/>
        </p:nvSpPr>
        <p:spPr>
          <a:xfrm>
            <a:off x="598819" y="1614622"/>
            <a:ext cx="390462" cy="390462"/>
          </a:xfrm>
          <a:custGeom>
            <a:avLst/>
            <a:gdLst>
              <a:gd name="connsiteX0" fmla="*/ 152887 w 304800"/>
              <a:gd name="connsiteY0" fmla="*/ 1 h 304800"/>
              <a:gd name="connsiteX1" fmla="*/ 1 w 304800"/>
              <a:gd name="connsiteY1" fmla="*/ 151925 h 304800"/>
              <a:gd name="connsiteX2" fmla="*/ 151925 w 304800"/>
              <a:gd name="connsiteY2" fmla="*/ 304801 h 304800"/>
              <a:gd name="connsiteX3" fmla="*/ 304801 w 304800"/>
              <a:gd name="connsiteY3" fmla="*/ 152887 h 304800"/>
              <a:gd name="connsiteX4" fmla="*/ 152887 w 304800"/>
              <a:gd name="connsiteY4" fmla="*/ 1 h 304800"/>
              <a:gd name="connsiteX5" fmla="*/ 151982 w 304800"/>
              <a:gd name="connsiteY5" fmla="*/ 285751 h 304800"/>
              <a:gd name="connsiteX6" fmla="*/ 19051 w 304800"/>
              <a:gd name="connsiteY6" fmla="*/ 151982 h 304800"/>
              <a:gd name="connsiteX7" fmla="*/ 152820 w 304800"/>
              <a:gd name="connsiteY7" fmla="*/ 19051 h 304800"/>
              <a:gd name="connsiteX8" fmla="*/ 285751 w 304800"/>
              <a:gd name="connsiteY8" fmla="*/ 152820 h 304800"/>
              <a:gd name="connsiteX9" fmla="*/ 151982 w 304800"/>
              <a:gd name="connsiteY9" fmla="*/ 285751 h 304800"/>
              <a:gd name="connsiteX10" fmla="*/ 180976 w 304800"/>
              <a:gd name="connsiteY10" fmla="*/ 114244 h 304800"/>
              <a:gd name="connsiteX11" fmla="*/ 200083 w 304800"/>
              <a:gd name="connsiteY11" fmla="*/ 95251 h 304800"/>
              <a:gd name="connsiteX12" fmla="*/ 219076 w 304800"/>
              <a:gd name="connsiteY12" fmla="*/ 114358 h 304800"/>
              <a:gd name="connsiteX13" fmla="*/ 199969 w 304800"/>
              <a:gd name="connsiteY13" fmla="*/ 133351 h 304800"/>
              <a:gd name="connsiteX14" fmla="*/ 180976 w 304800"/>
              <a:gd name="connsiteY14" fmla="*/ 114244 h 304800"/>
              <a:gd name="connsiteX15" fmla="*/ 85726 w 304800"/>
              <a:gd name="connsiteY15" fmla="*/ 114244 h 304800"/>
              <a:gd name="connsiteX16" fmla="*/ 104833 w 304800"/>
              <a:gd name="connsiteY16" fmla="*/ 95251 h 304800"/>
              <a:gd name="connsiteX17" fmla="*/ 123826 w 304800"/>
              <a:gd name="connsiteY17" fmla="*/ 114358 h 304800"/>
              <a:gd name="connsiteX18" fmla="*/ 104709 w 304800"/>
              <a:gd name="connsiteY18" fmla="*/ 133351 h 304800"/>
              <a:gd name="connsiteX19" fmla="*/ 85726 w 304800"/>
              <a:gd name="connsiteY19" fmla="*/ 114244 h 304800"/>
              <a:gd name="connsiteX20" fmla="*/ 152401 w 304800"/>
              <a:gd name="connsiteY20" fmla="*/ 238126 h 304800"/>
              <a:gd name="connsiteX21" fmla="*/ 72962 w 304800"/>
              <a:gd name="connsiteY21" fmla="*/ 184557 h 304800"/>
              <a:gd name="connsiteX22" fmla="*/ 67657 w 304800"/>
              <a:gd name="connsiteY22" fmla="*/ 171451 h 304800"/>
              <a:gd name="connsiteX23" fmla="*/ 237154 w 304800"/>
              <a:gd name="connsiteY23" fmla="*/ 171451 h 304800"/>
              <a:gd name="connsiteX24" fmla="*/ 231839 w 304800"/>
              <a:gd name="connsiteY24" fmla="*/ 184557 h 304800"/>
              <a:gd name="connsiteX25" fmla="*/ 152401 w 304800"/>
              <a:gd name="connsiteY25" fmla="*/ 238126 h 304800"/>
              <a:gd name="connsiteX26" fmla="*/ 97689 w 304800"/>
              <a:gd name="connsiteY26" fmla="*/ 190501 h 304800"/>
              <a:gd name="connsiteX27" fmla="*/ 152401 w 304800"/>
              <a:gd name="connsiteY27" fmla="*/ 219076 h 304800"/>
              <a:gd name="connsiteX28" fmla="*/ 207112 w 304800"/>
              <a:gd name="connsiteY28" fmla="*/ 190501 h 304800"/>
              <a:gd name="connsiteX29" fmla="*/ 97689 w 304800"/>
              <a:gd name="connsiteY29" fmla="*/ 190501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4800" h="304800">
                <a:moveTo>
                  <a:pt x="152887" y="1"/>
                </a:moveTo>
                <a:cubicBezTo>
                  <a:pt x="68847" y="-266"/>
                  <a:pt x="267" y="67885"/>
                  <a:pt x="1" y="151925"/>
                </a:cubicBezTo>
                <a:cubicBezTo>
                  <a:pt x="-266" y="235954"/>
                  <a:pt x="67885" y="304534"/>
                  <a:pt x="151925" y="304801"/>
                </a:cubicBezTo>
                <a:cubicBezTo>
                  <a:pt x="235954" y="305067"/>
                  <a:pt x="304544" y="236916"/>
                  <a:pt x="304801" y="152887"/>
                </a:cubicBezTo>
                <a:cubicBezTo>
                  <a:pt x="305067" y="68847"/>
                  <a:pt x="236916" y="267"/>
                  <a:pt x="152887" y="1"/>
                </a:cubicBezTo>
                <a:close/>
                <a:moveTo>
                  <a:pt x="151982" y="285751"/>
                </a:moveTo>
                <a:cubicBezTo>
                  <a:pt x="78334" y="285513"/>
                  <a:pt x="18822" y="225629"/>
                  <a:pt x="19051" y="151982"/>
                </a:cubicBezTo>
                <a:cubicBezTo>
                  <a:pt x="19279" y="78325"/>
                  <a:pt x="79173" y="18822"/>
                  <a:pt x="152820" y="19051"/>
                </a:cubicBezTo>
                <a:cubicBezTo>
                  <a:pt x="226477" y="19289"/>
                  <a:pt x="285979" y="79173"/>
                  <a:pt x="285751" y="152820"/>
                </a:cubicBezTo>
                <a:cubicBezTo>
                  <a:pt x="285522" y="226477"/>
                  <a:pt x="225629" y="285979"/>
                  <a:pt x="151982" y="285751"/>
                </a:cubicBezTo>
                <a:close/>
                <a:moveTo>
                  <a:pt x="180976" y="114244"/>
                </a:moveTo>
                <a:cubicBezTo>
                  <a:pt x="181004" y="103719"/>
                  <a:pt x="189567" y="95222"/>
                  <a:pt x="200083" y="95251"/>
                </a:cubicBezTo>
                <a:cubicBezTo>
                  <a:pt x="210599" y="95279"/>
                  <a:pt x="219104" y="103842"/>
                  <a:pt x="219076" y="114358"/>
                </a:cubicBezTo>
                <a:cubicBezTo>
                  <a:pt x="219047" y="124883"/>
                  <a:pt x="210484" y="133379"/>
                  <a:pt x="199969" y="133351"/>
                </a:cubicBezTo>
                <a:cubicBezTo>
                  <a:pt x="189444" y="133322"/>
                  <a:pt x="180947" y="124759"/>
                  <a:pt x="180976" y="114244"/>
                </a:cubicBezTo>
                <a:close/>
                <a:moveTo>
                  <a:pt x="85726" y="114244"/>
                </a:moveTo>
                <a:cubicBezTo>
                  <a:pt x="85754" y="103719"/>
                  <a:pt x="94317" y="95213"/>
                  <a:pt x="104833" y="95251"/>
                </a:cubicBezTo>
                <a:cubicBezTo>
                  <a:pt x="115358" y="95279"/>
                  <a:pt x="123854" y="103842"/>
                  <a:pt x="123826" y="114358"/>
                </a:cubicBezTo>
                <a:cubicBezTo>
                  <a:pt x="123797" y="124883"/>
                  <a:pt x="115234" y="133379"/>
                  <a:pt x="104709" y="133351"/>
                </a:cubicBezTo>
                <a:cubicBezTo>
                  <a:pt x="94194" y="133322"/>
                  <a:pt x="85688" y="124759"/>
                  <a:pt x="85726" y="114244"/>
                </a:cubicBezTo>
                <a:close/>
                <a:moveTo>
                  <a:pt x="152401" y="238126"/>
                </a:moveTo>
                <a:cubicBezTo>
                  <a:pt x="117330" y="238126"/>
                  <a:pt x="86154" y="217095"/>
                  <a:pt x="72962" y="184557"/>
                </a:cubicBezTo>
                <a:lnTo>
                  <a:pt x="67657" y="171451"/>
                </a:lnTo>
                <a:lnTo>
                  <a:pt x="237154" y="171451"/>
                </a:lnTo>
                <a:lnTo>
                  <a:pt x="231839" y="184557"/>
                </a:lnTo>
                <a:cubicBezTo>
                  <a:pt x="218647" y="217095"/>
                  <a:pt x="187472" y="238126"/>
                  <a:pt x="152401" y="238126"/>
                </a:cubicBezTo>
                <a:close/>
                <a:moveTo>
                  <a:pt x="97689" y="190501"/>
                </a:moveTo>
                <a:cubicBezTo>
                  <a:pt x="109967" y="208217"/>
                  <a:pt x="130179" y="219076"/>
                  <a:pt x="152401" y="219076"/>
                </a:cubicBezTo>
                <a:cubicBezTo>
                  <a:pt x="174623" y="219076"/>
                  <a:pt x="194835" y="208217"/>
                  <a:pt x="207112" y="190501"/>
                </a:cubicBezTo>
                <a:lnTo>
                  <a:pt x="97689" y="190501"/>
                </a:lnTo>
                <a:close/>
              </a:path>
            </a:pathLst>
          </a:custGeom>
          <a:solidFill>
            <a:schemeClr val="tx2"/>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3712409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82DFDE04-E36F-467D-A83D-5A39614B4A0F}"/>
              </a:ext>
            </a:extLst>
          </p:cNvPr>
          <p:cNvGraphicFramePr>
            <a:graphicFrameLocks noChangeAspect="1"/>
          </p:cNvGraphicFramePr>
          <p:nvPr>
            <p:custDataLst>
              <p:tags r:id="rId1"/>
            </p:custDataLst>
            <p:extLst>
              <p:ext uri="{D42A27DB-BD31-4B8C-83A1-F6EECF244321}">
                <p14:modId xmlns:p14="http://schemas.microsoft.com/office/powerpoint/2010/main" val="1205961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18" name="Object 17" hidden="1">
                        <a:extLst>
                          <a:ext uri="{FF2B5EF4-FFF2-40B4-BE49-F238E27FC236}">
                            <a16:creationId xmlns:a16="http://schemas.microsoft.com/office/drawing/2014/main" id="{82DFDE04-E36F-467D-A83D-5A39614B4A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5364EA15-4930-4C75-85F9-5FBE590A524A}"/>
              </a:ext>
            </a:extLst>
          </p:cNvPr>
          <p:cNvSpPr>
            <a:spLocks noGrp="1"/>
          </p:cNvSpPr>
          <p:nvPr>
            <p:ph type="sldNum" sz="quarter" idx="11"/>
          </p:nvPr>
        </p:nvSpPr>
        <p:spPr/>
        <p:txBody>
          <a:bodyPr/>
          <a:lstStyle/>
          <a:p>
            <a:fld id="{D94909C6-CC71-4962-A18E-AF0515723D95}" type="slidenum">
              <a:rPr lang="en-GB" smtClean="0"/>
              <a:pPr/>
              <a:t>14</a:t>
            </a:fld>
            <a:endParaRPr lang="en-GB" dirty="0"/>
          </a:p>
        </p:txBody>
      </p:sp>
      <p:sp>
        <p:nvSpPr>
          <p:cNvPr id="3" name="Title 2">
            <a:extLst>
              <a:ext uri="{FF2B5EF4-FFF2-40B4-BE49-F238E27FC236}">
                <a16:creationId xmlns:a16="http://schemas.microsoft.com/office/drawing/2014/main" id="{078E84DD-AA19-4F4B-AD8C-CFD303DA000A}"/>
              </a:ext>
            </a:extLst>
          </p:cNvPr>
          <p:cNvSpPr>
            <a:spLocks noGrp="1"/>
          </p:cNvSpPr>
          <p:nvPr>
            <p:ph type="title"/>
          </p:nvPr>
        </p:nvSpPr>
        <p:spPr/>
        <p:txBody>
          <a:bodyPr/>
          <a:lstStyle/>
          <a:p>
            <a:r>
              <a:rPr lang="en-GB" dirty="0"/>
              <a:t>Munich Re Icons 12/12</a:t>
            </a:r>
          </a:p>
        </p:txBody>
      </p:sp>
      <p:pic>
        <p:nvPicPr>
          <p:cNvPr id="23" name="Graphic 22">
            <a:extLst>
              <a:ext uri="{FF2B5EF4-FFF2-40B4-BE49-F238E27FC236}">
                <a16:creationId xmlns:a16="http://schemas.microsoft.com/office/drawing/2014/main" id="{07B4CEDB-78E5-43F5-A730-EB7229D19A5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85942" y="1629366"/>
            <a:ext cx="375718" cy="375718"/>
          </a:xfrm>
          <a:prstGeom prst="rect">
            <a:avLst/>
          </a:prstGeom>
        </p:spPr>
      </p:pic>
      <p:pic>
        <p:nvPicPr>
          <p:cNvPr id="24" name="Graphic 23">
            <a:extLst>
              <a:ext uri="{FF2B5EF4-FFF2-40B4-BE49-F238E27FC236}">
                <a16:creationId xmlns:a16="http://schemas.microsoft.com/office/drawing/2014/main" id="{1DFE369D-D811-4042-90D6-7317E37F2E6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42493" y="4088841"/>
            <a:ext cx="375718" cy="375718"/>
          </a:xfrm>
          <a:prstGeom prst="rect">
            <a:avLst/>
          </a:prstGeom>
        </p:spPr>
      </p:pic>
      <p:sp>
        <p:nvSpPr>
          <p:cNvPr id="33" name="Freeform 128">
            <a:extLst>
              <a:ext uri="{FF2B5EF4-FFF2-40B4-BE49-F238E27FC236}">
                <a16:creationId xmlns:a16="http://schemas.microsoft.com/office/drawing/2014/main" id="{8F390332-ED00-4981-844C-97AE78960960}"/>
              </a:ext>
            </a:extLst>
          </p:cNvPr>
          <p:cNvSpPr>
            <a:spLocks noEditPoints="1"/>
          </p:cNvSpPr>
          <p:nvPr/>
        </p:nvSpPr>
        <p:spPr bwMode="auto">
          <a:xfrm>
            <a:off x="2691859" y="1618968"/>
            <a:ext cx="386116" cy="386116"/>
          </a:xfrm>
          <a:custGeom>
            <a:avLst/>
            <a:gdLst>
              <a:gd name="T0" fmla="*/ 204 w 261"/>
              <a:gd name="T1" fmla="*/ 130 h 261"/>
              <a:gd name="T2" fmla="*/ 57 w 261"/>
              <a:gd name="T3" fmla="*/ 130 h 261"/>
              <a:gd name="T4" fmla="*/ 57 w 261"/>
              <a:gd name="T5" fmla="*/ 73 h 261"/>
              <a:gd name="T6" fmla="*/ 204 w 261"/>
              <a:gd name="T7" fmla="*/ 73 h 261"/>
              <a:gd name="T8" fmla="*/ 204 w 261"/>
              <a:gd name="T9" fmla="*/ 130 h 261"/>
              <a:gd name="T10" fmla="*/ 98 w 261"/>
              <a:gd name="T11" fmla="*/ 171 h 261"/>
              <a:gd name="T12" fmla="*/ 49 w 261"/>
              <a:gd name="T13" fmla="*/ 171 h 261"/>
              <a:gd name="T14" fmla="*/ 49 w 261"/>
              <a:gd name="T15" fmla="*/ 196 h 261"/>
              <a:gd name="T16" fmla="*/ 98 w 261"/>
              <a:gd name="T17" fmla="*/ 196 h 261"/>
              <a:gd name="T18" fmla="*/ 98 w 261"/>
              <a:gd name="T19" fmla="*/ 171 h 261"/>
              <a:gd name="T20" fmla="*/ 212 w 261"/>
              <a:gd name="T21" fmla="*/ 171 h 261"/>
              <a:gd name="T22" fmla="*/ 163 w 261"/>
              <a:gd name="T23" fmla="*/ 171 h 261"/>
              <a:gd name="T24" fmla="*/ 163 w 261"/>
              <a:gd name="T25" fmla="*/ 196 h 261"/>
              <a:gd name="T26" fmla="*/ 212 w 261"/>
              <a:gd name="T27" fmla="*/ 196 h 261"/>
              <a:gd name="T28" fmla="*/ 212 w 261"/>
              <a:gd name="T29" fmla="*/ 171 h 261"/>
              <a:gd name="T30" fmla="*/ 245 w 261"/>
              <a:gd name="T31" fmla="*/ 73 h 261"/>
              <a:gd name="T32" fmla="*/ 261 w 261"/>
              <a:gd name="T33" fmla="*/ 73 h 261"/>
              <a:gd name="T34" fmla="*/ 261 w 261"/>
              <a:gd name="T35" fmla="*/ 106 h 261"/>
              <a:gd name="T36" fmla="*/ 236 w 261"/>
              <a:gd name="T37" fmla="*/ 122 h 261"/>
              <a:gd name="T38" fmla="*/ 236 w 261"/>
              <a:gd name="T39" fmla="*/ 228 h 261"/>
              <a:gd name="T40" fmla="*/ 220 w 261"/>
              <a:gd name="T41" fmla="*/ 228 h 261"/>
              <a:gd name="T42" fmla="*/ 220 w 261"/>
              <a:gd name="T43" fmla="*/ 261 h 261"/>
              <a:gd name="T44" fmla="*/ 179 w 261"/>
              <a:gd name="T45" fmla="*/ 261 h 261"/>
              <a:gd name="T46" fmla="*/ 179 w 261"/>
              <a:gd name="T47" fmla="*/ 228 h 261"/>
              <a:gd name="T48" fmla="*/ 82 w 261"/>
              <a:gd name="T49" fmla="*/ 228 h 261"/>
              <a:gd name="T50" fmla="*/ 82 w 261"/>
              <a:gd name="T51" fmla="*/ 261 h 261"/>
              <a:gd name="T52" fmla="*/ 41 w 261"/>
              <a:gd name="T53" fmla="*/ 261 h 261"/>
              <a:gd name="T54" fmla="*/ 41 w 261"/>
              <a:gd name="T55" fmla="*/ 228 h 261"/>
              <a:gd name="T56" fmla="*/ 24 w 261"/>
              <a:gd name="T57" fmla="*/ 228 h 261"/>
              <a:gd name="T58" fmla="*/ 24 w 261"/>
              <a:gd name="T59" fmla="*/ 141 h 261"/>
              <a:gd name="T60" fmla="*/ 24 w 261"/>
              <a:gd name="T61" fmla="*/ 122 h 261"/>
              <a:gd name="T62" fmla="*/ 0 w 261"/>
              <a:gd name="T63" fmla="*/ 106 h 261"/>
              <a:gd name="T64" fmla="*/ 0 w 261"/>
              <a:gd name="T65" fmla="*/ 73 h 261"/>
              <a:gd name="T66" fmla="*/ 16 w 261"/>
              <a:gd name="T67" fmla="*/ 73 h 261"/>
              <a:gd name="T68" fmla="*/ 16 w 261"/>
              <a:gd name="T69" fmla="*/ 0 h 261"/>
              <a:gd name="T70" fmla="*/ 245 w 261"/>
              <a:gd name="T71" fmla="*/ 0 h 261"/>
              <a:gd name="T72" fmla="*/ 245 w 261"/>
              <a:gd name="T73" fmla="*/ 73 h 261"/>
              <a:gd name="T74" fmla="*/ 220 w 261"/>
              <a:gd name="T75" fmla="*/ 57 h 261"/>
              <a:gd name="T76" fmla="*/ 41 w 261"/>
              <a:gd name="T77" fmla="*/ 57 h 261"/>
              <a:gd name="T78" fmla="*/ 41 w 261"/>
              <a:gd name="T79" fmla="*/ 212 h 261"/>
              <a:gd name="T80" fmla="*/ 220 w 261"/>
              <a:gd name="T81" fmla="*/ 212 h 261"/>
              <a:gd name="T82" fmla="*/ 220 w 261"/>
              <a:gd name="T83" fmla="*/ 5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1" h="261">
                <a:moveTo>
                  <a:pt x="204" y="130"/>
                </a:moveTo>
                <a:lnTo>
                  <a:pt x="57" y="130"/>
                </a:lnTo>
                <a:lnTo>
                  <a:pt x="57" y="73"/>
                </a:lnTo>
                <a:lnTo>
                  <a:pt x="204" y="73"/>
                </a:lnTo>
                <a:lnTo>
                  <a:pt x="204" y="130"/>
                </a:lnTo>
                <a:close/>
                <a:moveTo>
                  <a:pt x="98" y="171"/>
                </a:moveTo>
                <a:lnTo>
                  <a:pt x="49" y="171"/>
                </a:lnTo>
                <a:lnTo>
                  <a:pt x="49" y="196"/>
                </a:lnTo>
                <a:lnTo>
                  <a:pt x="98" y="196"/>
                </a:lnTo>
                <a:lnTo>
                  <a:pt x="98" y="171"/>
                </a:lnTo>
                <a:close/>
                <a:moveTo>
                  <a:pt x="212" y="171"/>
                </a:moveTo>
                <a:lnTo>
                  <a:pt x="163" y="171"/>
                </a:lnTo>
                <a:lnTo>
                  <a:pt x="163" y="196"/>
                </a:lnTo>
                <a:lnTo>
                  <a:pt x="212" y="196"/>
                </a:lnTo>
                <a:lnTo>
                  <a:pt x="212" y="171"/>
                </a:lnTo>
                <a:close/>
                <a:moveTo>
                  <a:pt x="245" y="73"/>
                </a:moveTo>
                <a:lnTo>
                  <a:pt x="261" y="73"/>
                </a:lnTo>
                <a:lnTo>
                  <a:pt x="261" y="106"/>
                </a:lnTo>
                <a:lnTo>
                  <a:pt x="236" y="122"/>
                </a:lnTo>
                <a:lnTo>
                  <a:pt x="236" y="228"/>
                </a:lnTo>
                <a:lnTo>
                  <a:pt x="220" y="228"/>
                </a:lnTo>
                <a:lnTo>
                  <a:pt x="220" y="261"/>
                </a:lnTo>
                <a:lnTo>
                  <a:pt x="179" y="261"/>
                </a:lnTo>
                <a:lnTo>
                  <a:pt x="179" y="228"/>
                </a:lnTo>
                <a:lnTo>
                  <a:pt x="82" y="228"/>
                </a:lnTo>
                <a:lnTo>
                  <a:pt x="82" y="261"/>
                </a:lnTo>
                <a:lnTo>
                  <a:pt x="41" y="261"/>
                </a:lnTo>
                <a:lnTo>
                  <a:pt x="41" y="228"/>
                </a:lnTo>
                <a:lnTo>
                  <a:pt x="24" y="228"/>
                </a:lnTo>
                <a:lnTo>
                  <a:pt x="24" y="141"/>
                </a:lnTo>
                <a:lnTo>
                  <a:pt x="24" y="122"/>
                </a:lnTo>
                <a:lnTo>
                  <a:pt x="0" y="106"/>
                </a:lnTo>
                <a:lnTo>
                  <a:pt x="0" y="73"/>
                </a:lnTo>
                <a:lnTo>
                  <a:pt x="16" y="73"/>
                </a:lnTo>
                <a:lnTo>
                  <a:pt x="16" y="0"/>
                </a:lnTo>
                <a:lnTo>
                  <a:pt x="245" y="0"/>
                </a:lnTo>
                <a:lnTo>
                  <a:pt x="245" y="73"/>
                </a:lnTo>
                <a:close/>
                <a:moveTo>
                  <a:pt x="220" y="57"/>
                </a:moveTo>
                <a:lnTo>
                  <a:pt x="41" y="57"/>
                </a:lnTo>
                <a:lnTo>
                  <a:pt x="41" y="212"/>
                </a:lnTo>
                <a:lnTo>
                  <a:pt x="220" y="212"/>
                </a:lnTo>
                <a:lnTo>
                  <a:pt x="220" y="5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4" name="Freeform 132">
            <a:extLst>
              <a:ext uri="{FF2B5EF4-FFF2-40B4-BE49-F238E27FC236}">
                <a16:creationId xmlns:a16="http://schemas.microsoft.com/office/drawing/2014/main" id="{55A523A0-DD12-4C7A-AF84-0152D3ABB5A7}"/>
              </a:ext>
            </a:extLst>
          </p:cNvPr>
          <p:cNvSpPr>
            <a:spLocks/>
          </p:cNvSpPr>
          <p:nvPr/>
        </p:nvSpPr>
        <p:spPr bwMode="auto">
          <a:xfrm>
            <a:off x="3737294" y="1684060"/>
            <a:ext cx="386116" cy="321024"/>
          </a:xfrm>
          <a:custGeom>
            <a:avLst/>
            <a:gdLst>
              <a:gd name="T0" fmla="*/ 14 w 128"/>
              <a:gd name="T1" fmla="*/ 0 h 106"/>
              <a:gd name="T2" fmla="*/ 61 w 128"/>
              <a:gd name="T3" fmla="*/ 30 h 106"/>
              <a:gd name="T4" fmla="*/ 91 w 128"/>
              <a:gd name="T5" fmla="*/ 1 h 106"/>
              <a:gd name="T6" fmla="*/ 114 w 128"/>
              <a:gd name="T7" fmla="*/ 11 h 106"/>
              <a:gd name="T8" fmla="*/ 121 w 128"/>
              <a:gd name="T9" fmla="*/ 5 h 106"/>
              <a:gd name="T10" fmla="*/ 120 w 128"/>
              <a:gd name="T11" fmla="*/ 12 h 106"/>
              <a:gd name="T12" fmla="*/ 128 w 128"/>
              <a:gd name="T13" fmla="*/ 13 h 106"/>
              <a:gd name="T14" fmla="*/ 119 w 128"/>
              <a:gd name="T15" fmla="*/ 20 h 106"/>
              <a:gd name="T16" fmla="*/ 121 w 128"/>
              <a:gd name="T17" fmla="*/ 23 h 106"/>
              <a:gd name="T18" fmla="*/ 121 w 128"/>
              <a:gd name="T19" fmla="*/ 24 h 106"/>
              <a:gd name="T20" fmla="*/ 122 w 128"/>
              <a:gd name="T21" fmla="*/ 34 h 106"/>
              <a:gd name="T22" fmla="*/ 50 w 128"/>
              <a:gd name="T23" fmla="*/ 106 h 106"/>
              <a:gd name="T24" fmla="*/ 0 w 128"/>
              <a:gd name="T25" fmla="*/ 86 h 106"/>
              <a:gd name="T26" fmla="*/ 12 w 128"/>
              <a:gd name="T27" fmla="*/ 87 h 106"/>
              <a:gd name="T28" fmla="*/ 34 w 128"/>
              <a:gd name="T29" fmla="*/ 83 h 106"/>
              <a:gd name="T30" fmla="*/ 22 w 128"/>
              <a:gd name="T31" fmla="*/ 70 h 106"/>
              <a:gd name="T32" fmla="*/ 27 w 128"/>
              <a:gd name="T33" fmla="*/ 66 h 106"/>
              <a:gd name="T34" fmla="*/ 18 w 128"/>
              <a:gd name="T35" fmla="*/ 65 h 106"/>
              <a:gd name="T36" fmla="*/ 9 w 128"/>
              <a:gd name="T37" fmla="*/ 42 h 106"/>
              <a:gd name="T38" fmla="*/ 16 w 128"/>
              <a:gd name="T39" fmla="*/ 41 h 106"/>
              <a:gd name="T40" fmla="*/ 8 w 128"/>
              <a:gd name="T41" fmla="*/ 36 h 106"/>
              <a:gd name="T42" fmla="*/ 8 w 128"/>
              <a:gd name="T43" fmla="*/ 28 h 106"/>
              <a:gd name="T44" fmla="*/ 14 w 128"/>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06">
                <a:moveTo>
                  <a:pt x="14" y="0"/>
                </a:moveTo>
                <a:cubicBezTo>
                  <a:pt x="24" y="15"/>
                  <a:pt x="41" y="26"/>
                  <a:pt x="61" y="30"/>
                </a:cubicBezTo>
                <a:cubicBezTo>
                  <a:pt x="62" y="14"/>
                  <a:pt x="75" y="1"/>
                  <a:pt x="91" y="1"/>
                </a:cubicBezTo>
                <a:cubicBezTo>
                  <a:pt x="100" y="1"/>
                  <a:pt x="108" y="5"/>
                  <a:pt x="114" y="11"/>
                </a:cubicBezTo>
                <a:cubicBezTo>
                  <a:pt x="121" y="5"/>
                  <a:pt x="121" y="5"/>
                  <a:pt x="121" y="5"/>
                </a:cubicBezTo>
                <a:cubicBezTo>
                  <a:pt x="120" y="12"/>
                  <a:pt x="120" y="12"/>
                  <a:pt x="120" y="12"/>
                </a:cubicBezTo>
                <a:cubicBezTo>
                  <a:pt x="128" y="13"/>
                  <a:pt x="128" y="13"/>
                  <a:pt x="128" y="13"/>
                </a:cubicBezTo>
                <a:cubicBezTo>
                  <a:pt x="119" y="20"/>
                  <a:pt x="119" y="20"/>
                  <a:pt x="119" y="20"/>
                </a:cubicBezTo>
                <a:cubicBezTo>
                  <a:pt x="120" y="21"/>
                  <a:pt x="120" y="22"/>
                  <a:pt x="121" y="23"/>
                </a:cubicBezTo>
                <a:cubicBezTo>
                  <a:pt x="121" y="24"/>
                  <a:pt x="121" y="24"/>
                  <a:pt x="121" y="24"/>
                </a:cubicBezTo>
                <a:cubicBezTo>
                  <a:pt x="122" y="27"/>
                  <a:pt x="122" y="31"/>
                  <a:pt x="122" y="34"/>
                </a:cubicBezTo>
                <a:cubicBezTo>
                  <a:pt x="122" y="74"/>
                  <a:pt x="90" y="106"/>
                  <a:pt x="50" y="106"/>
                </a:cubicBezTo>
                <a:cubicBezTo>
                  <a:pt x="31" y="106"/>
                  <a:pt x="13" y="98"/>
                  <a:pt x="0" y="86"/>
                </a:cubicBezTo>
                <a:cubicBezTo>
                  <a:pt x="4" y="87"/>
                  <a:pt x="8" y="87"/>
                  <a:pt x="12" y="87"/>
                </a:cubicBezTo>
                <a:cubicBezTo>
                  <a:pt x="20" y="87"/>
                  <a:pt x="27" y="86"/>
                  <a:pt x="34" y="83"/>
                </a:cubicBezTo>
                <a:cubicBezTo>
                  <a:pt x="29" y="80"/>
                  <a:pt x="25" y="75"/>
                  <a:pt x="22" y="70"/>
                </a:cubicBezTo>
                <a:cubicBezTo>
                  <a:pt x="27" y="66"/>
                  <a:pt x="27" y="66"/>
                  <a:pt x="27" y="66"/>
                </a:cubicBezTo>
                <a:cubicBezTo>
                  <a:pt x="18" y="65"/>
                  <a:pt x="18" y="65"/>
                  <a:pt x="18" y="65"/>
                </a:cubicBezTo>
                <a:cubicBezTo>
                  <a:pt x="14" y="58"/>
                  <a:pt x="11" y="51"/>
                  <a:pt x="9" y="42"/>
                </a:cubicBezTo>
                <a:cubicBezTo>
                  <a:pt x="16" y="41"/>
                  <a:pt x="16" y="41"/>
                  <a:pt x="16" y="41"/>
                </a:cubicBezTo>
                <a:cubicBezTo>
                  <a:pt x="8" y="36"/>
                  <a:pt x="8" y="36"/>
                  <a:pt x="8" y="36"/>
                </a:cubicBezTo>
                <a:cubicBezTo>
                  <a:pt x="8" y="33"/>
                  <a:pt x="8" y="31"/>
                  <a:pt x="8" y="28"/>
                </a:cubicBezTo>
                <a:cubicBezTo>
                  <a:pt x="8" y="18"/>
                  <a:pt x="10" y="9"/>
                  <a:pt x="14"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5" name="Freeform 136">
            <a:extLst>
              <a:ext uri="{FF2B5EF4-FFF2-40B4-BE49-F238E27FC236}">
                <a16:creationId xmlns:a16="http://schemas.microsoft.com/office/drawing/2014/main" id="{D0F7B5D9-9D49-45DA-983E-2C3BA46F21B7}"/>
              </a:ext>
            </a:extLst>
          </p:cNvPr>
          <p:cNvSpPr>
            <a:spLocks noEditPoints="1"/>
          </p:cNvSpPr>
          <p:nvPr/>
        </p:nvSpPr>
        <p:spPr bwMode="auto">
          <a:xfrm>
            <a:off x="2692599" y="3223174"/>
            <a:ext cx="384636" cy="384636"/>
          </a:xfrm>
          <a:custGeom>
            <a:avLst/>
            <a:gdLst>
              <a:gd name="T0" fmla="*/ 111 w 128"/>
              <a:gd name="T1" fmla="*/ 43 h 128"/>
              <a:gd name="T2" fmla="*/ 94 w 128"/>
              <a:gd name="T3" fmla="*/ 36 h 128"/>
              <a:gd name="T4" fmla="*/ 84 w 128"/>
              <a:gd name="T5" fmla="*/ 38 h 128"/>
              <a:gd name="T6" fmla="*/ 83 w 128"/>
              <a:gd name="T7" fmla="*/ 30 h 128"/>
              <a:gd name="T8" fmla="*/ 54 w 128"/>
              <a:gd name="T9" fmla="*/ 8 h 128"/>
              <a:gd name="T10" fmla="*/ 24 w 128"/>
              <a:gd name="T11" fmla="*/ 38 h 128"/>
              <a:gd name="T12" fmla="*/ 26 w 128"/>
              <a:gd name="T13" fmla="*/ 48 h 128"/>
              <a:gd name="T14" fmla="*/ 18 w 128"/>
              <a:gd name="T15" fmla="*/ 51 h 128"/>
              <a:gd name="T16" fmla="*/ 8 w 128"/>
              <a:gd name="T17" fmla="*/ 68 h 128"/>
              <a:gd name="T18" fmla="*/ 28 w 128"/>
              <a:gd name="T19" fmla="*/ 88 h 128"/>
              <a:gd name="T20" fmla="*/ 44 w 128"/>
              <a:gd name="T21" fmla="*/ 88 h 128"/>
              <a:gd name="T22" fmla="*/ 44 w 128"/>
              <a:gd name="T23" fmla="*/ 96 h 128"/>
              <a:gd name="T24" fmla="*/ 28 w 128"/>
              <a:gd name="T25" fmla="*/ 96 h 128"/>
              <a:gd name="T26" fmla="*/ 0 w 128"/>
              <a:gd name="T27" fmla="*/ 68 h 128"/>
              <a:gd name="T28" fmla="*/ 16 w 128"/>
              <a:gd name="T29" fmla="*/ 43 h 128"/>
              <a:gd name="T30" fmla="*/ 16 w 128"/>
              <a:gd name="T31" fmla="*/ 38 h 128"/>
              <a:gd name="T32" fmla="*/ 54 w 128"/>
              <a:gd name="T33" fmla="*/ 0 h 128"/>
              <a:gd name="T34" fmla="*/ 91 w 128"/>
              <a:gd name="T35" fmla="*/ 28 h 128"/>
              <a:gd name="T36" fmla="*/ 118 w 128"/>
              <a:gd name="T37" fmla="*/ 38 h 128"/>
              <a:gd name="T38" fmla="*/ 128 w 128"/>
              <a:gd name="T39" fmla="*/ 62 h 128"/>
              <a:gd name="T40" fmla="*/ 94 w 128"/>
              <a:gd name="T41" fmla="*/ 96 h 128"/>
              <a:gd name="T42" fmla="*/ 84 w 128"/>
              <a:gd name="T43" fmla="*/ 96 h 128"/>
              <a:gd name="T44" fmla="*/ 84 w 128"/>
              <a:gd name="T45" fmla="*/ 88 h 128"/>
              <a:gd name="T46" fmla="*/ 94 w 128"/>
              <a:gd name="T47" fmla="*/ 88 h 128"/>
              <a:gd name="T48" fmla="*/ 120 w 128"/>
              <a:gd name="T49" fmla="*/ 62 h 128"/>
              <a:gd name="T50" fmla="*/ 111 w 128"/>
              <a:gd name="T51" fmla="*/ 43 h 128"/>
              <a:gd name="T52" fmla="*/ 91 w 128"/>
              <a:gd name="T53" fmla="*/ 69 h 128"/>
              <a:gd name="T54" fmla="*/ 64 w 128"/>
              <a:gd name="T55" fmla="*/ 38 h 128"/>
              <a:gd name="T56" fmla="*/ 37 w 128"/>
              <a:gd name="T57" fmla="*/ 69 h 128"/>
              <a:gd name="T58" fmla="*/ 43 w 128"/>
              <a:gd name="T59" fmla="*/ 75 h 128"/>
              <a:gd name="T60" fmla="*/ 60 w 128"/>
              <a:gd name="T61" fmla="*/ 55 h 128"/>
              <a:gd name="T62" fmla="*/ 60 w 128"/>
              <a:gd name="T63" fmla="*/ 128 h 128"/>
              <a:gd name="T64" fmla="*/ 68 w 128"/>
              <a:gd name="T65" fmla="*/ 128 h 128"/>
              <a:gd name="T66" fmla="*/ 68 w 128"/>
              <a:gd name="T67" fmla="*/ 55 h 128"/>
              <a:gd name="T68" fmla="*/ 85 w 128"/>
              <a:gd name="T69" fmla="*/ 75 h 128"/>
              <a:gd name="T70" fmla="*/ 91 w 128"/>
              <a:gd name="T71" fmla="*/ 6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28">
                <a:moveTo>
                  <a:pt x="111" y="43"/>
                </a:moveTo>
                <a:cubicBezTo>
                  <a:pt x="106" y="38"/>
                  <a:pt x="99" y="36"/>
                  <a:pt x="94" y="36"/>
                </a:cubicBezTo>
                <a:cubicBezTo>
                  <a:pt x="91" y="36"/>
                  <a:pt x="87" y="37"/>
                  <a:pt x="84" y="38"/>
                </a:cubicBezTo>
                <a:cubicBezTo>
                  <a:pt x="84" y="35"/>
                  <a:pt x="84" y="33"/>
                  <a:pt x="83" y="30"/>
                </a:cubicBezTo>
                <a:cubicBezTo>
                  <a:pt x="79" y="17"/>
                  <a:pt x="67" y="8"/>
                  <a:pt x="54" y="8"/>
                </a:cubicBezTo>
                <a:cubicBezTo>
                  <a:pt x="38" y="8"/>
                  <a:pt x="24" y="22"/>
                  <a:pt x="24" y="38"/>
                </a:cubicBezTo>
                <a:cubicBezTo>
                  <a:pt x="24" y="44"/>
                  <a:pt x="26" y="48"/>
                  <a:pt x="26" y="48"/>
                </a:cubicBezTo>
                <a:cubicBezTo>
                  <a:pt x="23" y="49"/>
                  <a:pt x="21" y="49"/>
                  <a:pt x="18" y="51"/>
                </a:cubicBezTo>
                <a:cubicBezTo>
                  <a:pt x="12" y="54"/>
                  <a:pt x="8" y="61"/>
                  <a:pt x="8" y="68"/>
                </a:cubicBezTo>
                <a:cubicBezTo>
                  <a:pt x="8" y="79"/>
                  <a:pt x="17" y="88"/>
                  <a:pt x="28" y="88"/>
                </a:cubicBezTo>
                <a:cubicBezTo>
                  <a:pt x="44" y="88"/>
                  <a:pt x="44" y="88"/>
                  <a:pt x="44" y="88"/>
                </a:cubicBezTo>
                <a:cubicBezTo>
                  <a:pt x="44" y="96"/>
                  <a:pt x="44" y="96"/>
                  <a:pt x="44" y="96"/>
                </a:cubicBezTo>
                <a:cubicBezTo>
                  <a:pt x="28" y="96"/>
                  <a:pt x="28" y="96"/>
                  <a:pt x="28" y="96"/>
                </a:cubicBezTo>
                <a:cubicBezTo>
                  <a:pt x="13" y="96"/>
                  <a:pt x="0" y="83"/>
                  <a:pt x="0" y="68"/>
                </a:cubicBezTo>
                <a:cubicBezTo>
                  <a:pt x="0" y="57"/>
                  <a:pt x="7" y="47"/>
                  <a:pt x="16" y="43"/>
                </a:cubicBezTo>
                <a:cubicBezTo>
                  <a:pt x="16" y="41"/>
                  <a:pt x="16" y="40"/>
                  <a:pt x="16" y="38"/>
                </a:cubicBezTo>
                <a:cubicBezTo>
                  <a:pt x="16" y="17"/>
                  <a:pt x="33" y="0"/>
                  <a:pt x="54" y="0"/>
                </a:cubicBezTo>
                <a:cubicBezTo>
                  <a:pt x="77" y="0"/>
                  <a:pt x="89" y="16"/>
                  <a:pt x="91" y="28"/>
                </a:cubicBezTo>
                <a:cubicBezTo>
                  <a:pt x="105" y="27"/>
                  <a:pt x="114" y="33"/>
                  <a:pt x="118" y="38"/>
                </a:cubicBezTo>
                <a:cubicBezTo>
                  <a:pt x="122" y="42"/>
                  <a:pt x="128" y="49"/>
                  <a:pt x="128" y="62"/>
                </a:cubicBezTo>
                <a:cubicBezTo>
                  <a:pt x="128" y="81"/>
                  <a:pt x="114" y="96"/>
                  <a:pt x="94" y="96"/>
                </a:cubicBezTo>
                <a:cubicBezTo>
                  <a:pt x="84" y="96"/>
                  <a:pt x="84" y="96"/>
                  <a:pt x="84" y="96"/>
                </a:cubicBezTo>
                <a:cubicBezTo>
                  <a:pt x="84" y="88"/>
                  <a:pt x="84" y="88"/>
                  <a:pt x="84" y="88"/>
                </a:cubicBezTo>
                <a:cubicBezTo>
                  <a:pt x="84" y="88"/>
                  <a:pt x="81" y="88"/>
                  <a:pt x="94" y="88"/>
                </a:cubicBezTo>
                <a:cubicBezTo>
                  <a:pt x="106" y="88"/>
                  <a:pt x="120" y="78"/>
                  <a:pt x="120" y="62"/>
                </a:cubicBezTo>
                <a:cubicBezTo>
                  <a:pt x="120" y="54"/>
                  <a:pt x="117" y="48"/>
                  <a:pt x="111" y="43"/>
                </a:cubicBezTo>
                <a:close/>
                <a:moveTo>
                  <a:pt x="91" y="69"/>
                </a:moveTo>
                <a:cubicBezTo>
                  <a:pt x="64" y="38"/>
                  <a:pt x="64" y="38"/>
                  <a:pt x="64" y="38"/>
                </a:cubicBezTo>
                <a:cubicBezTo>
                  <a:pt x="37" y="69"/>
                  <a:pt x="37" y="69"/>
                  <a:pt x="37" y="69"/>
                </a:cubicBezTo>
                <a:cubicBezTo>
                  <a:pt x="43" y="75"/>
                  <a:pt x="43" y="75"/>
                  <a:pt x="43" y="75"/>
                </a:cubicBezTo>
                <a:cubicBezTo>
                  <a:pt x="60" y="55"/>
                  <a:pt x="60" y="55"/>
                  <a:pt x="60" y="55"/>
                </a:cubicBezTo>
                <a:cubicBezTo>
                  <a:pt x="60" y="128"/>
                  <a:pt x="60" y="128"/>
                  <a:pt x="60" y="128"/>
                </a:cubicBezTo>
                <a:cubicBezTo>
                  <a:pt x="68" y="128"/>
                  <a:pt x="68" y="128"/>
                  <a:pt x="68" y="128"/>
                </a:cubicBezTo>
                <a:cubicBezTo>
                  <a:pt x="68" y="55"/>
                  <a:pt x="68" y="55"/>
                  <a:pt x="68" y="55"/>
                </a:cubicBezTo>
                <a:cubicBezTo>
                  <a:pt x="85" y="75"/>
                  <a:pt x="85" y="75"/>
                  <a:pt x="85" y="75"/>
                </a:cubicBezTo>
                <a:lnTo>
                  <a:pt x="91" y="6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140">
            <a:extLst>
              <a:ext uri="{FF2B5EF4-FFF2-40B4-BE49-F238E27FC236}">
                <a16:creationId xmlns:a16="http://schemas.microsoft.com/office/drawing/2014/main" id="{09A85F96-C0FB-4C0E-8E89-9BF21A8F7320}"/>
              </a:ext>
            </a:extLst>
          </p:cNvPr>
          <p:cNvSpPr>
            <a:spLocks noEditPoints="1"/>
          </p:cNvSpPr>
          <p:nvPr/>
        </p:nvSpPr>
        <p:spPr bwMode="auto">
          <a:xfrm>
            <a:off x="3784633" y="3223172"/>
            <a:ext cx="291438" cy="384638"/>
          </a:xfrm>
          <a:custGeom>
            <a:avLst/>
            <a:gdLst>
              <a:gd name="T0" fmla="*/ 197 w 197"/>
              <a:gd name="T1" fmla="*/ 81 h 260"/>
              <a:gd name="T2" fmla="*/ 197 w 197"/>
              <a:gd name="T3" fmla="*/ 260 h 260"/>
              <a:gd name="T4" fmla="*/ 131 w 197"/>
              <a:gd name="T5" fmla="*/ 260 h 260"/>
              <a:gd name="T6" fmla="*/ 131 w 197"/>
              <a:gd name="T7" fmla="*/ 244 h 260"/>
              <a:gd name="T8" fmla="*/ 181 w 197"/>
              <a:gd name="T9" fmla="*/ 244 h 260"/>
              <a:gd name="T10" fmla="*/ 181 w 197"/>
              <a:gd name="T11" fmla="*/ 81 h 260"/>
              <a:gd name="T12" fmla="*/ 115 w 197"/>
              <a:gd name="T13" fmla="*/ 81 h 260"/>
              <a:gd name="T14" fmla="*/ 115 w 197"/>
              <a:gd name="T15" fmla="*/ 16 h 260"/>
              <a:gd name="T16" fmla="*/ 17 w 197"/>
              <a:gd name="T17" fmla="*/ 16 h 260"/>
              <a:gd name="T18" fmla="*/ 17 w 197"/>
              <a:gd name="T19" fmla="*/ 65 h 260"/>
              <a:gd name="T20" fmla="*/ 0 w 197"/>
              <a:gd name="T21" fmla="*/ 65 h 260"/>
              <a:gd name="T22" fmla="*/ 0 w 197"/>
              <a:gd name="T23" fmla="*/ 0 h 260"/>
              <a:gd name="T24" fmla="*/ 115 w 197"/>
              <a:gd name="T25" fmla="*/ 0 h 260"/>
              <a:gd name="T26" fmla="*/ 197 w 197"/>
              <a:gd name="T27" fmla="*/ 81 h 260"/>
              <a:gd name="T28" fmla="*/ 74 w 197"/>
              <a:gd name="T29" fmla="*/ 106 h 260"/>
              <a:gd name="T30" fmla="*/ 6 w 197"/>
              <a:gd name="T31" fmla="*/ 177 h 260"/>
              <a:gd name="T32" fmla="*/ 19 w 197"/>
              <a:gd name="T33" fmla="*/ 189 h 260"/>
              <a:gd name="T34" fmla="*/ 66 w 197"/>
              <a:gd name="T35" fmla="*/ 138 h 260"/>
              <a:gd name="T36" fmla="*/ 66 w 197"/>
              <a:gd name="T37" fmla="*/ 260 h 260"/>
              <a:gd name="T38" fmla="*/ 82 w 197"/>
              <a:gd name="T39" fmla="*/ 260 h 260"/>
              <a:gd name="T40" fmla="*/ 82 w 197"/>
              <a:gd name="T41" fmla="*/ 138 h 260"/>
              <a:gd name="T42" fmla="*/ 129 w 197"/>
              <a:gd name="T43" fmla="*/ 189 h 260"/>
              <a:gd name="T44" fmla="*/ 142 w 197"/>
              <a:gd name="T45" fmla="*/ 177 h 260"/>
              <a:gd name="T46" fmla="*/ 74 w 197"/>
              <a:gd name="T47" fmla="*/ 106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7" h="260">
                <a:moveTo>
                  <a:pt x="197" y="81"/>
                </a:moveTo>
                <a:lnTo>
                  <a:pt x="197" y="260"/>
                </a:lnTo>
                <a:lnTo>
                  <a:pt x="131" y="260"/>
                </a:lnTo>
                <a:lnTo>
                  <a:pt x="131" y="244"/>
                </a:lnTo>
                <a:lnTo>
                  <a:pt x="181" y="244"/>
                </a:lnTo>
                <a:lnTo>
                  <a:pt x="181" y="81"/>
                </a:lnTo>
                <a:lnTo>
                  <a:pt x="115" y="81"/>
                </a:lnTo>
                <a:lnTo>
                  <a:pt x="115" y="16"/>
                </a:lnTo>
                <a:lnTo>
                  <a:pt x="17" y="16"/>
                </a:lnTo>
                <a:lnTo>
                  <a:pt x="17" y="65"/>
                </a:lnTo>
                <a:lnTo>
                  <a:pt x="0" y="65"/>
                </a:lnTo>
                <a:lnTo>
                  <a:pt x="0" y="0"/>
                </a:lnTo>
                <a:lnTo>
                  <a:pt x="115" y="0"/>
                </a:lnTo>
                <a:lnTo>
                  <a:pt x="197" y="81"/>
                </a:lnTo>
                <a:close/>
                <a:moveTo>
                  <a:pt x="74" y="106"/>
                </a:moveTo>
                <a:lnTo>
                  <a:pt x="6" y="177"/>
                </a:lnTo>
                <a:lnTo>
                  <a:pt x="19" y="189"/>
                </a:lnTo>
                <a:lnTo>
                  <a:pt x="66" y="138"/>
                </a:lnTo>
                <a:lnTo>
                  <a:pt x="66" y="260"/>
                </a:lnTo>
                <a:lnTo>
                  <a:pt x="82" y="260"/>
                </a:lnTo>
                <a:lnTo>
                  <a:pt x="82" y="138"/>
                </a:lnTo>
                <a:lnTo>
                  <a:pt x="129" y="189"/>
                </a:lnTo>
                <a:lnTo>
                  <a:pt x="142" y="177"/>
                </a:lnTo>
                <a:lnTo>
                  <a:pt x="74" y="10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 name="Freeform 144">
            <a:extLst>
              <a:ext uri="{FF2B5EF4-FFF2-40B4-BE49-F238E27FC236}">
                <a16:creationId xmlns:a16="http://schemas.microsoft.com/office/drawing/2014/main" id="{9F807F8F-9F5C-4EA9-BCD5-21949B1F64CB}"/>
              </a:ext>
            </a:extLst>
          </p:cNvPr>
          <p:cNvSpPr>
            <a:spLocks noEditPoints="1"/>
          </p:cNvSpPr>
          <p:nvPr/>
        </p:nvSpPr>
        <p:spPr bwMode="auto">
          <a:xfrm>
            <a:off x="688482" y="4050221"/>
            <a:ext cx="211137" cy="414338"/>
          </a:xfrm>
          <a:custGeom>
            <a:avLst/>
            <a:gdLst>
              <a:gd name="T0" fmla="*/ 40 w 64"/>
              <a:gd name="T1" fmla="*/ 104 h 128"/>
              <a:gd name="T2" fmla="*/ 32 w 64"/>
              <a:gd name="T3" fmla="*/ 112 h 128"/>
              <a:gd name="T4" fmla="*/ 24 w 64"/>
              <a:gd name="T5" fmla="*/ 104 h 128"/>
              <a:gd name="T6" fmla="*/ 32 w 64"/>
              <a:gd name="T7" fmla="*/ 96 h 128"/>
              <a:gd name="T8" fmla="*/ 40 w 64"/>
              <a:gd name="T9" fmla="*/ 104 h 128"/>
              <a:gd name="T10" fmla="*/ 64 w 64"/>
              <a:gd name="T11" fmla="*/ 24 h 128"/>
              <a:gd name="T12" fmla="*/ 64 w 64"/>
              <a:gd name="T13" fmla="*/ 116 h 128"/>
              <a:gd name="T14" fmla="*/ 52 w 64"/>
              <a:gd name="T15" fmla="*/ 128 h 128"/>
              <a:gd name="T16" fmla="*/ 12 w 64"/>
              <a:gd name="T17" fmla="*/ 128 h 128"/>
              <a:gd name="T18" fmla="*/ 0 w 64"/>
              <a:gd name="T19" fmla="*/ 116 h 128"/>
              <a:gd name="T20" fmla="*/ 0 w 64"/>
              <a:gd name="T21" fmla="*/ 24 h 128"/>
              <a:gd name="T22" fmla="*/ 8 w 64"/>
              <a:gd name="T23" fmla="*/ 24 h 128"/>
              <a:gd name="T24" fmla="*/ 8 w 64"/>
              <a:gd name="T25" fmla="*/ 0 h 128"/>
              <a:gd name="T26" fmla="*/ 56 w 64"/>
              <a:gd name="T27" fmla="*/ 0 h 128"/>
              <a:gd name="T28" fmla="*/ 56 w 64"/>
              <a:gd name="T29" fmla="*/ 24 h 128"/>
              <a:gd name="T30" fmla="*/ 64 w 64"/>
              <a:gd name="T31" fmla="*/ 24 h 128"/>
              <a:gd name="T32" fmla="*/ 16 w 64"/>
              <a:gd name="T33" fmla="*/ 24 h 128"/>
              <a:gd name="T34" fmla="*/ 48 w 64"/>
              <a:gd name="T35" fmla="*/ 24 h 128"/>
              <a:gd name="T36" fmla="*/ 48 w 64"/>
              <a:gd name="T37" fmla="*/ 8 h 128"/>
              <a:gd name="T38" fmla="*/ 16 w 64"/>
              <a:gd name="T39" fmla="*/ 8 h 128"/>
              <a:gd name="T40" fmla="*/ 16 w 64"/>
              <a:gd name="T41" fmla="*/ 24 h 128"/>
              <a:gd name="T42" fmla="*/ 56 w 64"/>
              <a:gd name="T43" fmla="*/ 32 h 128"/>
              <a:gd name="T44" fmla="*/ 8 w 64"/>
              <a:gd name="T45" fmla="*/ 32 h 128"/>
              <a:gd name="T46" fmla="*/ 8 w 64"/>
              <a:gd name="T47" fmla="*/ 116 h 128"/>
              <a:gd name="T48" fmla="*/ 12 w 64"/>
              <a:gd name="T49" fmla="*/ 120 h 128"/>
              <a:gd name="T50" fmla="*/ 52 w 64"/>
              <a:gd name="T51" fmla="*/ 120 h 128"/>
              <a:gd name="T52" fmla="*/ 56 w 64"/>
              <a:gd name="T53" fmla="*/ 116 h 128"/>
              <a:gd name="T54" fmla="*/ 56 w 64"/>
              <a:gd name="T55" fmla="*/ 3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4" h="128">
                <a:moveTo>
                  <a:pt x="40" y="104"/>
                </a:moveTo>
                <a:cubicBezTo>
                  <a:pt x="40" y="108"/>
                  <a:pt x="36" y="112"/>
                  <a:pt x="32" y="112"/>
                </a:cubicBezTo>
                <a:cubicBezTo>
                  <a:pt x="28" y="112"/>
                  <a:pt x="24" y="108"/>
                  <a:pt x="24" y="104"/>
                </a:cubicBezTo>
                <a:cubicBezTo>
                  <a:pt x="24" y="100"/>
                  <a:pt x="28" y="96"/>
                  <a:pt x="32" y="96"/>
                </a:cubicBezTo>
                <a:cubicBezTo>
                  <a:pt x="36" y="96"/>
                  <a:pt x="40" y="100"/>
                  <a:pt x="40" y="104"/>
                </a:cubicBezTo>
                <a:close/>
                <a:moveTo>
                  <a:pt x="64" y="24"/>
                </a:moveTo>
                <a:cubicBezTo>
                  <a:pt x="64" y="116"/>
                  <a:pt x="64" y="116"/>
                  <a:pt x="64" y="116"/>
                </a:cubicBezTo>
                <a:cubicBezTo>
                  <a:pt x="64" y="123"/>
                  <a:pt x="59" y="128"/>
                  <a:pt x="52" y="128"/>
                </a:cubicBezTo>
                <a:cubicBezTo>
                  <a:pt x="12" y="128"/>
                  <a:pt x="12" y="128"/>
                  <a:pt x="12" y="128"/>
                </a:cubicBezTo>
                <a:cubicBezTo>
                  <a:pt x="5" y="128"/>
                  <a:pt x="0" y="123"/>
                  <a:pt x="0" y="116"/>
                </a:cubicBezTo>
                <a:cubicBezTo>
                  <a:pt x="0" y="24"/>
                  <a:pt x="0" y="24"/>
                  <a:pt x="0" y="24"/>
                </a:cubicBezTo>
                <a:cubicBezTo>
                  <a:pt x="8" y="24"/>
                  <a:pt x="8" y="24"/>
                  <a:pt x="8" y="24"/>
                </a:cubicBezTo>
                <a:cubicBezTo>
                  <a:pt x="8" y="0"/>
                  <a:pt x="8" y="0"/>
                  <a:pt x="8" y="0"/>
                </a:cubicBezTo>
                <a:cubicBezTo>
                  <a:pt x="56" y="0"/>
                  <a:pt x="56" y="0"/>
                  <a:pt x="56" y="0"/>
                </a:cubicBezTo>
                <a:cubicBezTo>
                  <a:pt x="56" y="24"/>
                  <a:pt x="56" y="24"/>
                  <a:pt x="56" y="24"/>
                </a:cubicBezTo>
                <a:lnTo>
                  <a:pt x="64" y="24"/>
                </a:lnTo>
                <a:close/>
                <a:moveTo>
                  <a:pt x="16" y="24"/>
                </a:moveTo>
                <a:cubicBezTo>
                  <a:pt x="48" y="24"/>
                  <a:pt x="48" y="24"/>
                  <a:pt x="48" y="24"/>
                </a:cubicBezTo>
                <a:cubicBezTo>
                  <a:pt x="48" y="8"/>
                  <a:pt x="48" y="8"/>
                  <a:pt x="48" y="8"/>
                </a:cubicBezTo>
                <a:cubicBezTo>
                  <a:pt x="16" y="8"/>
                  <a:pt x="16" y="8"/>
                  <a:pt x="16" y="8"/>
                </a:cubicBezTo>
                <a:lnTo>
                  <a:pt x="16" y="24"/>
                </a:lnTo>
                <a:close/>
                <a:moveTo>
                  <a:pt x="56" y="32"/>
                </a:moveTo>
                <a:cubicBezTo>
                  <a:pt x="8" y="32"/>
                  <a:pt x="8" y="32"/>
                  <a:pt x="8" y="32"/>
                </a:cubicBezTo>
                <a:cubicBezTo>
                  <a:pt x="8" y="116"/>
                  <a:pt x="8" y="116"/>
                  <a:pt x="8" y="116"/>
                </a:cubicBezTo>
                <a:cubicBezTo>
                  <a:pt x="8" y="118"/>
                  <a:pt x="10" y="120"/>
                  <a:pt x="12" y="120"/>
                </a:cubicBezTo>
                <a:cubicBezTo>
                  <a:pt x="52" y="120"/>
                  <a:pt x="52" y="120"/>
                  <a:pt x="52" y="120"/>
                </a:cubicBezTo>
                <a:cubicBezTo>
                  <a:pt x="54" y="120"/>
                  <a:pt x="56" y="118"/>
                  <a:pt x="56" y="116"/>
                </a:cubicBezTo>
                <a:lnTo>
                  <a:pt x="56" y="3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8" name="Freeform 148">
            <a:extLst>
              <a:ext uri="{FF2B5EF4-FFF2-40B4-BE49-F238E27FC236}">
                <a16:creationId xmlns:a16="http://schemas.microsoft.com/office/drawing/2014/main" id="{00BB5697-C78B-43FD-8A80-B2595C52C5F0}"/>
              </a:ext>
            </a:extLst>
          </p:cNvPr>
          <p:cNvSpPr>
            <a:spLocks noEditPoints="1"/>
          </p:cNvSpPr>
          <p:nvPr/>
        </p:nvSpPr>
        <p:spPr bwMode="auto">
          <a:xfrm>
            <a:off x="2677749" y="4101021"/>
            <a:ext cx="414337" cy="363538"/>
          </a:xfrm>
          <a:custGeom>
            <a:avLst/>
            <a:gdLst>
              <a:gd name="T0" fmla="*/ 0 w 261"/>
              <a:gd name="T1" fmla="*/ 0 h 229"/>
              <a:gd name="T2" fmla="*/ 16 w 261"/>
              <a:gd name="T3" fmla="*/ 0 h 229"/>
              <a:gd name="T4" fmla="*/ 16 w 261"/>
              <a:gd name="T5" fmla="*/ 213 h 229"/>
              <a:gd name="T6" fmla="*/ 261 w 261"/>
              <a:gd name="T7" fmla="*/ 213 h 229"/>
              <a:gd name="T8" fmla="*/ 261 w 261"/>
              <a:gd name="T9" fmla="*/ 229 h 229"/>
              <a:gd name="T10" fmla="*/ 0 w 261"/>
              <a:gd name="T11" fmla="*/ 229 h 229"/>
              <a:gd name="T12" fmla="*/ 0 w 261"/>
              <a:gd name="T13" fmla="*/ 0 h 229"/>
              <a:gd name="T14" fmla="*/ 196 w 261"/>
              <a:gd name="T15" fmla="*/ 147 h 229"/>
              <a:gd name="T16" fmla="*/ 33 w 261"/>
              <a:gd name="T17" fmla="*/ 147 h 229"/>
              <a:gd name="T18" fmla="*/ 33 w 261"/>
              <a:gd name="T19" fmla="*/ 180 h 229"/>
              <a:gd name="T20" fmla="*/ 196 w 261"/>
              <a:gd name="T21" fmla="*/ 180 h 229"/>
              <a:gd name="T22" fmla="*/ 196 w 261"/>
              <a:gd name="T23" fmla="*/ 147 h 229"/>
              <a:gd name="T24" fmla="*/ 147 w 261"/>
              <a:gd name="T25" fmla="*/ 90 h 229"/>
              <a:gd name="T26" fmla="*/ 33 w 261"/>
              <a:gd name="T27" fmla="*/ 90 h 229"/>
              <a:gd name="T28" fmla="*/ 33 w 261"/>
              <a:gd name="T29" fmla="*/ 123 h 229"/>
              <a:gd name="T30" fmla="*/ 147 w 261"/>
              <a:gd name="T31" fmla="*/ 123 h 229"/>
              <a:gd name="T32" fmla="*/ 147 w 261"/>
              <a:gd name="T33" fmla="*/ 90 h 229"/>
              <a:gd name="T34" fmla="*/ 228 w 261"/>
              <a:gd name="T35" fmla="*/ 33 h 229"/>
              <a:gd name="T36" fmla="*/ 33 w 261"/>
              <a:gd name="T37" fmla="*/ 33 h 229"/>
              <a:gd name="T38" fmla="*/ 33 w 261"/>
              <a:gd name="T39" fmla="*/ 65 h 229"/>
              <a:gd name="T40" fmla="*/ 228 w 261"/>
              <a:gd name="T41" fmla="*/ 65 h 229"/>
              <a:gd name="T42" fmla="*/ 228 w 261"/>
              <a:gd name="T43" fmla="*/ 33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1" h="229">
                <a:moveTo>
                  <a:pt x="0" y="0"/>
                </a:moveTo>
                <a:lnTo>
                  <a:pt x="16" y="0"/>
                </a:lnTo>
                <a:lnTo>
                  <a:pt x="16" y="213"/>
                </a:lnTo>
                <a:lnTo>
                  <a:pt x="261" y="213"/>
                </a:lnTo>
                <a:lnTo>
                  <a:pt x="261" y="229"/>
                </a:lnTo>
                <a:lnTo>
                  <a:pt x="0" y="229"/>
                </a:lnTo>
                <a:lnTo>
                  <a:pt x="0" y="0"/>
                </a:lnTo>
                <a:close/>
                <a:moveTo>
                  <a:pt x="196" y="147"/>
                </a:moveTo>
                <a:lnTo>
                  <a:pt x="33" y="147"/>
                </a:lnTo>
                <a:lnTo>
                  <a:pt x="33" y="180"/>
                </a:lnTo>
                <a:lnTo>
                  <a:pt x="196" y="180"/>
                </a:lnTo>
                <a:lnTo>
                  <a:pt x="196" y="147"/>
                </a:lnTo>
                <a:close/>
                <a:moveTo>
                  <a:pt x="147" y="90"/>
                </a:moveTo>
                <a:lnTo>
                  <a:pt x="33" y="90"/>
                </a:lnTo>
                <a:lnTo>
                  <a:pt x="33" y="123"/>
                </a:lnTo>
                <a:lnTo>
                  <a:pt x="147" y="123"/>
                </a:lnTo>
                <a:lnTo>
                  <a:pt x="147" y="90"/>
                </a:lnTo>
                <a:close/>
                <a:moveTo>
                  <a:pt x="228" y="33"/>
                </a:moveTo>
                <a:lnTo>
                  <a:pt x="33" y="33"/>
                </a:lnTo>
                <a:lnTo>
                  <a:pt x="33" y="65"/>
                </a:lnTo>
                <a:lnTo>
                  <a:pt x="228" y="65"/>
                </a:lnTo>
                <a:lnTo>
                  <a:pt x="228" y="3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152">
            <a:extLst>
              <a:ext uri="{FF2B5EF4-FFF2-40B4-BE49-F238E27FC236}">
                <a16:creationId xmlns:a16="http://schemas.microsoft.com/office/drawing/2014/main" id="{C336C69A-4472-4007-A99F-D0D614054D0E}"/>
              </a:ext>
            </a:extLst>
          </p:cNvPr>
          <p:cNvSpPr>
            <a:spLocks noEditPoints="1"/>
          </p:cNvSpPr>
          <p:nvPr/>
        </p:nvSpPr>
        <p:spPr bwMode="auto">
          <a:xfrm>
            <a:off x="6114623" y="1590746"/>
            <a:ext cx="287337" cy="414338"/>
          </a:xfrm>
          <a:custGeom>
            <a:avLst/>
            <a:gdLst>
              <a:gd name="T0" fmla="*/ 53 w 88"/>
              <a:gd name="T1" fmla="*/ 45 h 128"/>
              <a:gd name="T2" fmla="*/ 44 w 88"/>
              <a:gd name="T3" fmla="*/ 54 h 128"/>
              <a:gd name="T4" fmla="*/ 35 w 88"/>
              <a:gd name="T5" fmla="*/ 45 h 128"/>
              <a:gd name="T6" fmla="*/ 44 w 88"/>
              <a:gd name="T7" fmla="*/ 36 h 128"/>
              <a:gd name="T8" fmla="*/ 53 w 88"/>
              <a:gd name="T9" fmla="*/ 45 h 128"/>
              <a:gd name="T10" fmla="*/ 44 w 88"/>
              <a:gd name="T11" fmla="*/ 9 h 128"/>
              <a:gd name="T12" fmla="*/ 74 w 88"/>
              <a:gd name="T13" fmla="*/ 25 h 128"/>
              <a:gd name="T14" fmla="*/ 80 w 88"/>
              <a:gd name="T15" fmla="*/ 18 h 128"/>
              <a:gd name="T16" fmla="*/ 44 w 88"/>
              <a:gd name="T17" fmla="*/ 0 h 128"/>
              <a:gd name="T18" fmla="*/ 8 w 88"/>
              <a:gd name="T19" fmla="*/ 18 h 128"/>
              <a:gd name="T20" fmla="*/ 14 w 88"/>
              <a:gd name="T21" fmla="*/ 24 h 128"/>
              <a:gd name="T22" fmla="*/ 44 w 88"/>
              <a:gd name="T23" fmla="*/ 9 h 128"/>
              <a:gd name="T24" fmla="*/ 44 w 88"/>
              <a:gd name="T25" fmla="*/ 27 h 128"/>
              <a:gd name="T26" fmla="*/ 60 w 88"/>
              <a:gd name="T27" fmla="*/ 38 h 128"/>
              <a:gd name="T28" fmla="*/ 67 w 88"/>
              <a:gd name="T29" fmla="*/ 31 h 128"/>
              <a:gd name="T30" fmla="*/ 44 w 88"/>
              <a:gd name="T31" fmla="*/ 18 h 128"/>
              <a:gd name="T32" fmla="*/ 21 w 88"/>
              <a:gd name="T33" fmla="*/ 31 h 128"/>
              <a:gd name="T34" fmla="*/ 27 w 88"/>
              <a:gd name="T35" fmla="*/ 38 h 128"/>
              <a:gd name="T36" fmla="*/ 44 w 88"/>
              <a:gd name="T37" fmla="*/ 27 h 128"/>
              <a:gd name="T38" fmla="*/ 70 w 88"/>
              <a:gd name="T39" fmla="*/ 49 h 128"/>
              <a:gd name="T40" fmla="*/ 61 w 88"/>
              <a:gd name="T41" fmla="*/ 57 h 128"/>
              <a:gd name="T42" fmla="*/ 76 w 88"/>
              <a:gd name="T43" fmla="*/ 84 h 128"/>
              <a:gd name="T44" fmla="*/ 44 w 88"/>
              <a:gd name="T45" fmla="*/ 116 h 128"/>
              <a:gd name="T46" fmla="*/ 12 w 88"/>
              <a:gd name="T47" fmla="*/ 84 h 128"/>
              <a:gd name="T48" fmla="*/ 27 w 88"/>
              <a:gd name="T49" fmla="*/ 57 h 128"/>
              <a:gd name="T50" fmla="*/ 18 w 88"/>
              <a:gd name="T51" fmla="*/ 48 h 128"/>
              <a:gd name="T52" fmla="*/ 0 w 88"/>
              <a:gd name="T53" fmla="*/ 84 h 128"/>
              <a:gd name="T54" fmla="*/ 44 w 88"/>
              <a:gd name="T55" fmla="*/ 128 h 128"/>
              <a:gd name="T56" fmla="*/ 88 w 88"/>
              <a:gd name="T57" fmla="*/ 84 h 128"/>
              <a:gd name="T58" fmla="*/ 70 w 88"/>
              <a:gd name="T59" fmla="*/ 4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8" h="128">
                <a:moveTo>
                  <a:pt x="53" y="45"/>
                </a:moveTo>
                <a:cubicBezTo>
                  <a:pt x="53" y="50"/>
                  <a:pt x="49" y="54"/>
                  <a:pt x="44" y="54"/>
                </a:cubicBezTo>
                <a:cubicBezTo>
                  <a:pt x="39" y="54"/>
                  <a:pt x="35" y="50"/>
                  <a:pt x="35" y="45"/>
                </a:cubicBezTo>
                <a:cubicBezTo>
                  <a:pt x="35" y="40"/>
                  <a:pt x="39" y="36"/>
                  <a:pt x="44" y="36"/>
                </a:cubicBezTo>
                <a:cubicBezTo>
                  <a:pt x="49" y="36"/>
                  <a:pt x="53" y="40"/>
                  <a:pt x="53" y="45"/>
                </a:cubicBezTo>
                <a:close/>
                <a:moveTo>
                  <a:pt x="44" y="9"/>
                </a:moveTo>
                <a:cubicBezTo>
                  <a:pt x="56" y="9"/>
                  <a:pt x="67" y="15"/>
                  <a:pt x="74" y="25"/>
                </a:cubicBezTo>
                <a:cubicBezTo>
                  <a:pt x="80" y="18"/>
                  <a:pt x="80" y="18"/>
                  <a:pt x="80" y="18"/>
                </a:cubicBezTo>
                <a:cubicBezTo>
                  <a:pt x="72" y="7"/>
                  <a:pt x="59" y="0"/>
                  <a:pt x="44" y="0"/>
                </a:cubicBezTo>
                <a:cubicBezTo>
                  <a:pt x="29" y="0"/>
                  <a:pt x="16" y="7"/>
                  <a:pt x="8" y="18"/>
                </a:cubicBezTo>
                <a:cubicBezTo>
                  <a:pt x="14" y="24"/>
                  <a:pt x="14" y="24"/>
                  <a:pt x="14" y="24"/>
                </a:cubicBezTo>
                <a:cubicBezTo>
                  <a:pt x="21" y="15"/>
                  <a:pt x="32" y="9"/>
                  <a:pt x="44" y="9"/>
                </a:cubicBezTo>
                <a:close/>
                <a:moveTo>
                  <a:pt x="44" y="27"/>
                </a:moveTo>
                <a:cubicBezTo>
                  <a:pt x="51" y="27"/>
                  <a:pt x="58" y="31"/>
                  <a:pt x="60" y="38"/>
                </a:cubicBezTo>
                <a:cubicBezTo>
                  <a:pt x="67" y="31"/>
                  <a:pt x="67" y="31"/>
                  <a:pt x="67" y="31"/>
                </a:cubicBezTo>
                <a:cubicBezTo>
                  <a:pt x="62" y="23"/>
                  <a:pt x="54" y="18"/>
                  <a:pt x="44" y="18"/>
                </a:cubicBezTo>
                <a:cubicBezTo>
                  <a:pt x="34" y="18"/>
                  <a:pt x="26" y="23"/>
                  <a:pt x="21" y="31"/>
                </a:cubicBezTo>
                <a:cubicBezTo>
                  <a:pt x="27" y="38"/>
                  <a:pt x="27" y="38"/>
                  <a:pt x="27" y="38"/>
                </a:cubicBezTo>
                <a:cubicBezTo>
                  <a:pt x="30" y="31"/>
                  <a:pt x="37" y="27"/>
                  <a:pt x="44" y="27"/>
                </a:cubicBezTo>
                <a:close/>
                <a:moveTo>
                  <a:pt x="70" y="49"/>
                </a:moveTo>
                <a:cubicBezTo>
                  <a:pt x="61" y="57"/>
                  <a:pt x="61" y="57"/>
                  <a:pt x="61" y="57"/>
                </a:cubicBezTo>
                <a:cubicBezTo>
                  <a:pt x="70" y="63"/>
                  <a:pt x="76" y="73"/>
                  <a:pt x="76" y="84"/>
                </a:cubicBezTo>
                <a:cubicBezTo>
                  <a:pt x="76" y="102"/>
                  <a:pt x="62" y="116"/>
                  <a:pt x="44" y="116"/>
                </a:cubicBezTo>
                <a:cubicBezTo>
                  <a:pt x="26" y="116"/>
                  <a:pt x="12" y="102"/>
                  <a:pt x="12" y="84"/>
                </a:cubicBezTo>
                <a:cubicBezTo>
                  <a:pt x="12" y="73"/>
                  <a:pt x="18" y="63"/>
                  <a:pt x="27" y="57"/>
                </a:cubicBezTo>
                <a:cubicBezTo>
                  <a:pt x="18" y="48"/>
                  <a:pt x="18" y="48"/>
                  <a:pt x="18" y="48"/>
                </a:cubicBezTo>
                <a:cubicBezTo>
                  <a:pt x="7" y="56"/>
                  <a:pt x="0" y="69"/>
                  <a:pt x="0" y="84"/>
                </a:cubicBezTo>
                <a:cubicBezTo>
                  <a:pt x="0" y="108"/>
                  <a:pt x="20" y="128"/>
                  <a:pt x="44" y="128"/>
                </a:cubicBezTo>
                <a:cubicBezTo>
                  <a:pt x="68" y="128"/>
                  <a:pt x="88" y="108"/>
                  <a:pt x="88" y="84"/>
                </a:cubicBezTo>
                <a:cubicBezTo>
                  <a:pt x="88" y="69"/>
                  <a:pt x="81" y="57"/>
                  <a:pt x="70" y="49"/>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 name="Freeform 156">
            <a:extLst>
              <a:ext uri="{FF2B5EF4-FFF2-40B4-BE49-F238E27FC236}">
                <a16:creationId xmlns:a16="http://schemas.microsoft.com/office/drawing/2014/main" id="{41D57DC4-A4C0-4957-8538-F7670BFB8BAE}"/>
              </a:ext>
            </a:extLst>
          </p:cNvPr>
          <p:cNvSpPr>
            <a:spLocks noEditPoints="1"/>
          </p:cNvSpPr>
          <p:nvPr/>
        </p:nvSpPr>
        <p:spPr bwMode="auto">
          <a:xfrm>
            <a:off x="8142782" y="1592334"/>
            <a:ext cx="412750" cy="412750"/>
          </a:xfrm>
          <a:custGeom>
            <a:avLst/>
            <a:gdLst>
              <a:gd name="T0" fmla="*/ 128 w 128"/>
              <a:gd name="T1" fmla="*/ 109 h 128"/>
              <a:gd name="T2" fmla="*/ 109 w 128"/>
              <a:gd name="T3" fmla="*/ 128 h 128"/>
              <a:gd name="T4" fmla="*/ 19 w 128"/>
              <a:gd name="T5" fmla="*/ 128 h 128"/>
              <a:gd name="T6" fmla="*/ 0 w 128"/>
              <a:gd name="T7" fmla="*/ 109 h 128"/>
              <a:gd name="T8" fmla="*/ 0 w 128"/>
              <a:gd name="T9" fmla="*/ 19 h 128"/>
              <a:gd name="T10" fmla="*/ 19 w 128"/>
              <a:gd name="T11" fmla="*/ 0 h 128"/>
              <a:gd name="T12" fmla="*/ 109 w 128"/>
              <a:gd name="T13" fmla="*/ 0 h 128"/>
              <a:gd name="T14" fmla="*/ 128 w 128"/>
              <a:gd name="T15" fmla="*/ 19 h 128"/>
              <a:gd name="T16" fmla="*/ 128 w 128"/>
              <a:gd name="T17" fmla="*/ 109 h 128"/>
              <a:gd name="T18" fmla="*/ 79 w 128"/>
              <a:gd name="T19" fmla="*/ 31 h 128"/>
              <a:gd name="T20" fmla="*/ 34 w 128"/>
              <a:gd name="T21" fmla="*/ 18 h 128"/>
              <a:gd name="T22" fmla="*/ 10 w 128"/>
              <a:gd name="T23" fmla="*/ 42 h 128"/>
              <a:gd name="T24" fmla="*/ 23 w 128"/>
              <a:gd name="T25" fmla="*/ 78 h 128"/>
              <a:gd name="T26" fmla="*/ 25 w 128"/>
              <a:gd name="T27" fmla="*/ 82 h 128"/>
              <a:gd name="T28" fmla="*/ 23 w 128"/>
              <a:gd name="T29" fmla="*/ 91 h 128"/>
              <a:gd name="T30" fmla="*/ 34 w 128"/>
              <a:gd name="T31" fmla="*/ 85 h 128"/>
              <a:gd name="T32" fmla="*/ 38 w 128"/>
              <a:gd name="T33" fmla="*/ 84 h 128"/>
              <a:gd name="T34" fmla="*/ 49 w 128"/>
              <a:gd name="T35" fmla="*/ 85 h 128"/>
              <a:gd name="T36" fmla="*/ 59 w 128"/>
              <a:gd name="T37" fmla="*/ 58 h 128"/>
              <a:gd name="T38" fmla="*/ 86 w 128"/>
              <a:gd name="T39" fmla="*/ 48 h 128"/>
              <a:gd name="T40" fmla="*/ 79 w 128"/>
              <a:gd name="T41" fmla="*/ 31 h 128"/>
              <a:gd name="T42" fmla="*/ 33 w 128"/>
              <a:gd name="T43" fmla="*/ 48 h 128"/>
              <a:gd name="T44" fmla="*/ 29 w 128"/>
              <a:gd name="T45" fmla="*/ 43 h 128"/>
              <a:gd name="T46" fmla="*/ 34 w 128"/>
              <a:gd name="T47" fmla="*/ 39 h 128"/>
              <a:gd name="T48" fmla="*/ 38 w 128"/>
              <a:gd name="T49" fmla="*/ 44 h 128"/>
              <a:gd name="T50" fmla="*/ 33 w 128"/>
              <a:gd name="T51" fmla="*/ 48 h 128"/>
              <a:gd name="T52" fmla="*/ 68 w 128"/>
              <a:gd name="T53" fmla="*/ 43 h 128"/>
              <a:gd name="T54" fmla="*/ 63 w 128"/>
              <a:gd name="T55" fmla="*/ 48 h 128"/>
              <a:gd name="T56" fmla="*/ 58 w 128"/>
              <a:gd name="T57" fmla="*/ 43 h 128"/>
              <a:gd name="T58" fmla="*/ 63 w 128"/>
              <a:gd name="T59" fmla="*/ 39 h 128"/>
              <a:gd name="T60" fmla="*/ 68 w 128"/>
              <a:gd name="T61" fmla="*/ 43 h 128"/>
              <a:gd name="T62" fmla="*/ 108 w 128"/>
              <a:gd name="T63" fmla="*/ 110 h 128"/>
              <a:gd name="T64" fmla="*/ 111 w 128"/>
              <a:gd name="T65" fmla="*/ 101 h 128"/>
              <a:gd name="T66" fmla="*/ 114 w 128"/>
              <a:gd name="T67" fmla="*/ 64 h 128"/>
              <a:gd name="T68" fmla="*/ 67 w 128"/>
              <a:gd name="T69" fmla="*/ 57 h 128"/>
              <a:gd name="T70" fmla="*/ 63 w 128"/>
              <a:gd name="T71" fmla="*/ 101 h 128"/>
              <a:gd name="T72" fmla="*/ 90 w 128"/>
              <a:gd name="T73" fmla="*/ 110 h 128"/>
              <a:gd name="T74" fmla="*/ 99 w 128"/>
              <a:gd name="T75" fmla="*/ 108 h 128"/>
              <a:gd name="T76" fmla="*/ 109 w 128"/>
              <a:gd name="T77" fmla="*/ 112 h 128"/>
              <a:gd name="T78" fmla="*/ 108 w 128"/>
              <a:gd name="T79" fmla="*/ 110 h 128"/>
              <a:gd name="T80" fmla="*/ 68 w 128"/>
              <a:gd name="T81" fmla="*/ 72 h 128"/>
              <a:gd name="T82" fmla="*/ 72 w 128"/>
              <a:gd name="T83" fmla="*/ 68 h 128"/>
              <a:gd name="T84" fmla="*/ 76 w 128"/>
              <a:gd name="T85" fmla="*/ 72 h 128"/>
              <a:gd name="T86" fmla="*/ 72 w 128"/>
              <a:gd name="T87" fmla="*/ 76 h 128"/>
              <a:gd name="T88" fmla="*/ 68 w 128"/>
              <a:gd name="T89" fmla="*/ 72 h 128"/>
              <a:gd name="T90" fmla="*/ 99 w 128"/>
              <a:gd name="T91" fmla="*/ 72 h 128"/>
              <a:gd name="T92" fmla="*/ 96 w 128"/>
              <a:gd name="T93" fmla="*/ 76 h 128"/>
              <a:gd name="T94" fmla="*/ 92 w 128"/>
              <a:gd name="T95" fmla="*/ 72 h 128"/>
              <a:gd name="T96" fmla="*/ 96 w 128"/>
              <a:gd name="T97" fmla="*/ 68 h 128"/>
              <a:gd name="T98" fmla="*/ 99 w 128"/>
              <a:gd name="T99" fmla="*/ 7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128" y="109"/>
                </a:moveTo>
                <a:cubicBezTo>
                  <a:pt x="128" y="119"/>
                  <a:pt x="119" y="128"/>
                  <a:pt x="109" y="128"/>
                </a:cubicBezTo>
                <a:cubicBezTo>
                  <a:pt x="19" y="128"/>
                  <a:pt x="19" y="128"/>
                  <a:pt x="19" y="128"/>
                </a:cubicBezTo>
                <a:cubicBezTo>
                  <a:pt x="9" y="128"/>
                  <a:pt x="0" y="119"/>
                  <a:pt x="0" y="109"/>
                </a:cubicBezTo>
                <a:cubicBezTo>
                  <a:pt x="0" y="19"/>
                  <a:pt x="0" y="19"/>
                  <a:pt x="0" y="19"/>
                </a:cubicBezTo>
                <a:cubicBezTo>
                  <a:pt x="0" y="9"/>
                  <a:pt x="9" y="0"/>
                  <a:pt x="19" y="0"/>
                </a:cubicBezTo>
                <a:cubicBezTo>
                  <a:pt x="109" y="0"/>
                  <a:pt x="109" y="0"/>
                  <a:pt x="109" y="0"/>
                </a:cubicBezTo>
                <a:cubicBezTo>
                  <a:pt x="119" y="0"/>
                  <a:pt x="128" y="9"/>
                  <a:pt x="128" y="19"/>
                </a:cubicBezTo>
                <a:lnTo>
                  <a:pt x="128" y="109"/>
                </a:lnTo>
                <a:close/>
                <a:moveTo>
                  <a:pt x="79" y="31"/>
                </a:moveTo>
                <a:cubicBezTo>
                  <a:pt x="69" y="18"/>
                  <a:pt x="51" y="13"/>
                  <a:pt x="34" y="18"/>
                </a:cubicBezTo>
                <a:cubicBezTo>
                  <a:pt x="22" y="22"/>
                  <a:pt x="13" y="30"/>
                  <a:pt x="10" y="42"/>
                </a:cubicBezTo>
                <a:cubicBezTo>
                  <a:pt x="6" y="56"/>
                  <a:pt x="11" y="69"/>
                  <a:pt x="23" y="78"/>
                </a:cubicBezTo>
                <a:cubicBezTo>
                  <a:pt x="25" y="79"/>
                  <a:pt x="26" y="80"/>
                  <a:pt x="25" y="82"/>
                </a:cubicBezTo>
                <a:cubicBezTo>
                  <a:pt x="24" y="85"/>
                  <a:pt x="24" y="88"/>
                  <a:pt x="23" y="91"/>
                </a:cubicBezTo>
                <a:cubicBezTo>
                  <a:pt x="27" y="89"/>
                  <a:pt x="30" y="87"/>
                  <a:pt x="34" y="85"/>
                </a:cubicBezTo>
                <a:cubicBezTo>
                  <a:pt x="35" y="84"/>
                  <a:pt x="37" y="84"/>
                  <a:pt x="38" y="84"/>
                </a:cubicBezTo>
                <a:cubicBezTo>
                  <a:pt x="42" y="84"/>
                  <a:pt x="45" y="85"/>
                  <a:pt x="49" y="85"/>
                </a:cubicBezTo>
                <a:cubicBezTo>
                  <a:pt x="48" y="74"/>
                  <a:pt x="52" y="66"/>
                  <a:pt x="59" y="58"/>
                </a:cubicBezTo>
                <a:cubicBezTo>
                  <a:pt x="66" y="51"/>
                  <a:pt x="75" y="48"/>
                  <a:pt x="86" y="48"/>
                </a:cubicBezTo>
                <a:cubicBezTo>
                  <a:pt x="85" y="41"/>
                  <a:pt x="83" y="36"/>
                  <a:pt x="79" y="31"/>
                </a:cubicBezTo>
                <a:close/>
                <a:moveTo>
                  <a:pt x="33" y="48"/>
                </a:moveTo>
                <a:cubicBezTo>
                  <a:pt x="31" y="48"/>
                  <a:pt x="29" y="46"/>
                  <a:pt x="29" y="43"/>
                </a:cubicBezTo>
                <a:cubicBezTo>
                  <a:pt x="29" y="41"/>
                  <a:pt x="31" y="39"/>
                  <a:pt x="34" y="39"/>
                </a:cubicBezTo>
                <a:cubicBezTo>
                  <a:pt x="36" y="39"/>
                  <a:pt x="38" y="41"/>
                  <a:pt x="38" y="44"/>
                </a:cubicBezTo>
                <a:cubicBezTo>
                  <a:pt x="38" y="46"/>
                  <a:pt x="36" y="48"/>
                  <a:pt x="33" y="48"/>
                </a:cubicBezTo>
                <a:close/>
                <a:moveTo>
                  <a:pt x="68" y="43"/>
                </a:moveTo>
                <a:cubicBezTo>
                  <a:pt x="68" y="46"/>
                  <a:pt x="66" y="48"/>
                  <a:pt x="63" y="48"/>
                </a:cubicBezTo>
                <a:cubicBezTo>
                  <a:pt x="60" y="48"/>
                  <a:pt x="58" y="46"/>
                  <a:pt x="58" y="43"/>
                </a:cubicBezTo>
                <a:cubicBezTo>
                  <a:pt x="58" y="41"/>
                  <a:pt x="60" y="39"/>
                  <a:pt x="63" y="39"/>
                </a:cubicBezTo>
                <a:cubicBezTo>
                  <a:pt x="66" y="39"/>
                  <a:pt x="68" y="41"/>
                  <a:pt x="68" y="43"/>
                </a:cubicBezTo>
                <a:close/>
                <a:moveTo>
                  <a:pt x="108" y="110"/>
                </a:moveTo>
                <a:cubicBezTo>
                  <a:pt x="106" y="106"/>
                  <a:pt x="107" y="104"/>
                  <a:pt x="111" y="101"/>
                </a:cubicBezTo>
                <a:cubicBezTo>
                  <a:pt x="122" y="91"/>
                  <a:pt x="123" y="76"/>
                  <a:pt x="114" y="64"/>
                </a:cubicBezTo>
                <a:cubicBezTo>
                  <a:pt x="103" y="51"/>
                  <a:pt x="82" y="48"/>
                  <a:pt x="67" y="57"/>
                </a:cubicBezTo>
                <a:cubicBezTo>
                  <a:pt x="51" y="68"/>
                  <a:pt x="49" y="88"/>
                  <a:pt x="63" y="101"/>
                </a:cubicBezTo>
                <a:cubicBezTo>
                  <a:pt x="70" y="108"/>
                  <a:pt x="79" y="111"/>
                  <a:pt x="90" y="110"/>
                </a:cubicBezTo>
                <a:cubicBezTo>
                  <a:pt x="93" y="110"/>
                  <a:pt x="96" y="108"/>
                  <a:pt x="99" y="108"/>
                </a:cubicBezTo>
                <a:cubicBezTo>
                  <a:pt x="103" y="108"/>
                  <a:pt x="106" y="111"/>
                  <a:pt x="109" y="112"/>
                </a:cubicBezTo>
                <a:cubicBezTo>
                  <a:pt x="109" y="111"/>
                  <a:pt x="109" y="110"/>
                  <a:pt x="108" y="110"/>
                </a:cubicBezTo>
                <a:close/>
                <a:moveTo>
                  <a:pt x="68" y="72"/>
                </a:moveTo>
                <a:cubicBezTo>
                  <a:pt x="68" y="70"/>
                  <a:pt x="70" y="68"/>
                  <a:pt x="72" y="68"/>
                </a:cubicBezTo>
                <a:cubicBezTo>
                  <a:pt x="74" y="68"/>
                  <a:pt x="76" y="70"/>
                  <a:pt x="76" y="72"/>
                </a:cubicBezTo>
                <a:cubicBezTo>
                  <a:pt x="75" y="74"/>
                  <a:pt x="74" y="76"/>
                  <a:pt x="72" y="76"/>
                </a:cubicBezTo>
                <a:cubicBezTo>
                  <a:pt x="70" y="76"/>
                  <a:pt x="68" y="74"/>
                  <a:pt x="68" y="72"/>
                </a:cubicBezTo>
                <a:close/>
                <a:moveTo>
                  <a:pt x="99" y="72"/>
                </a:moveTo>
                <a:cubicBezTo>
                  <a:pt x="99" y="74"/>
                  <a:pt x="98" y="76"/>
                  <a:pt x="96" y="76"/>
                </a:cubicBezTo>
                <a:cubicBezTo>
                  <a:pt x="93" y="76"/>
                  <a:pt x="92" y="74"/>
                  <a:pt x="92" y="72"/>
                </a:cubicBezTo>
                <a:cubicBezTo>
                  <a:pt x="92" y="70"/>
                  <a:pt x="94" y="68"/>
                  <a:pt x="96" y="68"/>
                </a:cubicBezTo>
                <a:cubicBezTo>
                  <a:pt x="98" y="68"/>
                  <a:pt x="100" y="70"/>
                  <a:pt x="99" y="7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2" name="Freeform 160">
            <a:extLst>
              <a:ext uri="{FF2B5EF4-FFF2-40B4-BE49-F238E27FC236}">
                <a16:creationId xmlns:a16="http://schemas.microsoft.com/office/drawing/2014/main" id="{FBABBC89-DC46-4A76-BF7F-357266A84C60}"/>
              </a:ext>
            </a:extLst>
          </p:cNvPr>
          <p:cNvSpPr>
            <a:spLocks noEditPoints="1"/>
          </p:cNvSpPr>
          <p:nvPr/>
        </p:nvSpPr>
        <p:spPr bwMode="auto">
          <a:xfrm>
            <a:off x="7096555" y="1641546"/>
            <a:ext cx="412750" cy="363538"/>
          </a:xfrm>
          <a:custGeom>
            <a:avLst/>
            <a:gdLst>
              <a:gd name="T0" fmla="*/ 78 w 128"/>
              <a:gd name="T1" fmla="*/ 8 h 112"/>
              <a:gd name="T2" fmla="*/ 76 w 128"/>
              <a:gd name="T3" fmla="*/ 0 h 112"/>
              <a:gd name="T4" fmla="*/ 68 w 128"/>
              <a:gd name="T5" fmla="*/ 2 h 112"/>
              <a:gd name="T6" fmla="*/ 70 w 128"/>
              <a:gd name="T7" fmla="*/ 10 h 112"/>
              <a:gd name="T8" fmla="*/ 60 w 128"/>
              <a:gd name="T9" fmla="*/ 16 h 112"/>
              <a:gd name="T10" fmla="*/ 54 w 128"/>
              <a:gd name="T11" fmla="*/ 16 h 112"/>
              <a:gd name="T12" fmla="*/ 16 w 128"/>
              <a:gd name="T13" fmla="*/ 54 h 112"/>
              <a:gd name="T14" fmla="*/ 16 w 128"/>
              <a:gd name="T15" fmla="*/ 59 h 112"/>
              <a:gd name="T16" fmla="*/ 0 w 128"/>
              <a:gd name="T17" fmla="*/ 84 h 112"/>
              <a:gd name="T18" fmla="*/ 28 w 128"/>
              <a:gd name="T19" fmla="*/ 112 h 112"/>
              <a:gd name="T20" fmla="*/ 96 w 128"/>
              <a:gd name="T21" fmla="*/ 112 h 112"/>
              <a:gd name="T22" fmla="*/ 128 w 128"/>
              <a:gd name="T23" fmla="*/ 78 h 112"/>
              <a:gd name="T24" fmla="*/ 121 w 128"/>
              <a:gd name="T25" fmla="*/ 57 h 112"/>
              <a:gd name="T26" fmla="*/ 115 w 128"/>
              <a:gd name="T27" fmla="*/ 51 h 112"/>
              <a:gd name="T28" fmla="*/ 116 w 128"/>
              <a:gd name="T29" fmla="*/ 39 h 112"/>
              <a:gd name="T30" fmla="*/ 124 w 128"/>
              <a:gd name="T31" fmla="*/ 37 h 112"/>
              <a:gd name="T32" fmla="*/ 122 w 128"/>
              <a:gd name="T33" fmla="*/ 29 h 112"/>
              <a:gd name="T34" fmla="*/ 114 w 128"/>
              <a:gd name="T35" fmla="*/ 31 h 112"/>
              <a:gd name="T36" fmla="*/ 103 w 128"/>
              <a:gd name="T37" fmla="*/ 16 h 112"/>
              <a:gd name="T38" fmla="*/ 108 w 128"/>
              <a:gd name="T39" fmla="*/ 9 h 112"/>
              <a:gd name="T40" fmla="*/ 101 w 128"/>
              <a:gd name="T41" fmla="*/ 5 h 112"/>
              <a:gd name="T42" fmla="*/ 97 w 128"/>
              <a:gd name="T43" fmla="*/ 11 h 112"/>
              <a:gd name="T44" fmla="*/ 78 w 128"/>
              <a:gd name="T45" fmla="*/ 8 h 112"/>
              <a:gd name="T46" fmla="*/ 91 w 128"/>
              <a:gd name="T47" fmla="*/ 44 h 112"/>
              <a:gd name="T48" fmla="*/ 74 w 128"/>
              <a:gd name="T49" fmla="*/ 22 h 112"/>
              <a:gd name="T50" fmla="*/ 69 w 128"/>
              <a:gd name="T51" fmla="*/ 19 h 112"/>
              <a:gd name="T52" fmla="*/ 82 w 128"/>
              <a:gd name="T53" fmla="*/ 16 h 112"/>
              <a:gd name="T54" fmla="*/ 108 w 128"/>
              <a:gd name="T55" fmla="*/ 42 h 112"/>
              <a:gd name="T56" fmla="*/ 108 w 128"/>
              <a:gd name="T57" fmla="*/ 47 h 112"/>
              <a:gd name="T58" fmla="*/ 91 w 128"/>
              <a:gd name="T59" fmla="*/ 44 h 112"/>
              <a:gd name="T60" fmla="*/ 26 w 128"/>
              <a:gd name="T61" fmla="*/ 64 h 112"/>
              <a:gd name="T62" fmla="*/ 54 w 128"/>
              <a:gd name="T63" fmla="*/ 24 h 112"/>
              <a:gd name="T64" fmla="*/ 84 w 128"/>
              <a:gd name="T65" fmla="*/ 54 h 112"/>
              <a:gd name="T66" fmla="*/ 120 w 128"/>
              <a:gd name="T67" fmla="*/ 78 h 112"/>
              <a:gd name="T68" fmla="*/ 94 w 128"/>
              <a:gd name="T69" fmla="*/ 104 h 112"/>
              <a:gd name="T70" fmla="*/ 28 w 128"/>
              <a:gd name="T71" fmla="*/ 104 h 112"/>
              <a:gd name="T72" fmla="*/ 8 w 128"/>
              <a:gd name="T73" fmla="*/ 84 h 112"/>
              <a:gd name="T74" fmla="*/ 26 w 128"/>
              <a:gd name="T75" fmla="*/ 6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12">
                <a:moveTo>
                  <a:pt x="78" y="8"/>
                </a:moveTo>
                <a:cubicBezTo>
                  <a:pt x="77" y="3"/>
                  <a:pt x="76" y="0"/>
                  <a:pt x="76" y="0"/>
                </a:cubicBezTo>
                <a:cubicBezTo>
                  <a:pt x="68" y="2"/>
                  <a:pt x="68" y="2"/>
                  <a:pt x="68" y="2"/>
                </a:cubicBezTo>
                <a:cubicBezTo>
                  <a:pt x="70" y="10"/>
                  <a:pt x="70" y="10"/>
                  <a:pt x="70" y="10"/>
                </a:cubicBezTo>
                <a:cubicBezTo>
                  <a:pt x="66" y="12"/>
                  <a:pt x="63" y="14"/>
                  <a:pt x="60" y="16"/>
                </a:cubicBezTo>
                <a:cubicBezTo>
                  <a:pt x="58" y="16"/>
                  <a:pt x="56" y="16"/>
                  <a:pt x="54" y="16"/>
                </a:cubicBezTo>
                <a:cubicBezTo>
                  <a:pt x="33" y="16"/>
                  <a:pt x="16" y="33"/>
                  <a:pt x="16" y="54"/>
                </a:cubicBezTo>
                <a:cubicBezTo>
                  <a:pt x="16" y="56"/>
                  <a:pt x="16" y="57"/>
                  <a:pt x="16" y="59"/>
                </a:cubicBezTo>
                <a:cubicBezTo>
                  <a:pt x="7" y="63"/>
                  <a:pt x="0" y="73"/>
                  <a:pt x="0" y="84"/>
                </a:cubicBezTo>
                <a:cubicBezTo>
                  <a:pt x="0" y="99"/>
                  <a:pt x="13" y="112"/>
                  <a:pt x="28" y="112"/>
                </a:cubicBezTo>
                <a:cubicBezTo>
                  <a:pt x="96" y="112"/>
                  <a:pt x="96" y="112"/>
                  <a:pt x="96" y="112"/>
                </a:cubicBezTo>
                <a:cubicBezTo>
                  <a:pt x="114" y="111"/>
                  <a:pt x="128" y="96"/>
                  <a:pt x="128" y="78"/>
                </a:cubicBezTo>
                <a:cubicBezTo>
                  <a:pt x="128" y="70"/>
                  <a:pt x="125" y="63"/>
                  <a:pt x="121" y="57"/>
                </a:cubicBezTo>
                <a:cubicBezTo>
                  <a:pt x="119" y="55"/>
                  <a:pt x="117" y="53"/>
                  <a:pt x="115" y="51"/>
                </a:cubicBezTo>
                <a:cubicBezTo>
                  <a:pt x="115" y="51"/>
                  <a:pt x="117" y="44"/>
                  <a:pt x="116" y="39"/>
                </a:cubicBezTo>
                <a:cubicBezTo>
                  <a:pt x="117" y="39"/>
                  <a:pt x="124" y="37"/>
                  <a:pt x="124" y="37"/>
                </a:cubicBezTo>
                <a:cubicBezTo>
                  <a:pt x="122" y="29"/>
                  <a:pt x="122" y="29"/>
                  <a:pt x="122" y="29"/>
                </a:cubicBezTo>
                <a:cubicBezTo>
                  <a:pt x="114" y="31"/>
                  <a:pt x="114" y="31"/>
                  <a:pt x="114" y="31"/>
                </a:cubicBezTo>
                <a:cubicBezTo>
                  <a:pt x="112" y="25"/>
                  <a:pt x="108" y="20"/>
                  <a:pt x="103" y="16"/>
                </a:cubicBezTo>
                <a:cubicBezTo>
                  <a:pt x="108" y="9"/>
                  <a:pt x="108" y="9"/>
                  <a:pt x="108" y="9"/>
                </a:cubicBezTo>
                <a:cubicBezTo>
                  <a:pt x="101" y="5"/>
                  <a:pt x="101" y="5"/>
                  <a:pt x="101" y="5"/>
                </a:cubicBezTo>
                <a:cubicBezTo>
                  <a:pt x="101" y="5"/>
                  <a:pt x="99" y="8"/>
                  <a:pt x="97" y="11"/>
                </a:cubicBezTo>
                <a:cubicBezTo>
                  <a:pt x="92" y="9"/>
                  <a:pt x="84" y="7"/>
                  <a:pt x="78" y="8"/>
                </a:cubicBezTo>
                <a:close/>
                <a:moveTo>
                  <a:pt x="91" y="44"/>
                </a:moveTo>
                <a:cubicBezTo>
                  <a:pt x="88" y="34"/>
                  <a:pt x="82" y="27"/>
                  <a:pt x="74" y="22"/>
                </a:cubicBezTo>
                <a:cubicBezTo>
                  <a:pt x="72" y="21"/>
                  <a:pt x="71" y="20"/>
                  <a:pt x="69" y="19"/>
                </a:cubicBezTo>
                <a:cubicBezTo>
                  <a:pt x="73" y="17"/>
                  <a:pt x="77" y="16"/>
                  <a:pt x="82" y="16"/>
                </a:cubicBezTo>
                <a:cubicBezTo>
                  <a:pt x="96" y="16"/>
                  <a:pt x="108" y="28"/>
                  <a:pt x="108" y="42"/>
                </a:cubicBezTo>
                <a:cubicBezTo>
                  <a:pt x="108" y="44"/>
                  <a:pt x="108" y="45"/>
                  <a:pt x="108" y="47"/>
                </a:cubicBezTo>
                <a:cubicBezTo>
                  <a:pt x="102" y="44"/>
                  <a:pt x="96" y="44"/>
                  <a:pt x="91" y="44"/>
                </a:cubicBezTo>
                <a:close/>
                <a:moveTo>
                  <a:pt x="26" y="64"/>
                </a:moveTo>
                <a:cubicBezTo>
                  <a:pt x="18" y="40"/>
                  <a:pt x="38" y="24"/>
                  <a:pt x="54" y="24"/>
                </a:cubicBezTo>
                <a:cubicBezTo>
                  <a:pt x="70" y="24"/>
                  <a:pt x="84" y="37"/>
                  <a:pt x="84" y="54"/>
                </a:cubicBezTo>
                <a:cubicBezTo>
                  <a:pt x="101" y="47"/>
                  <a:pt x="120" y="60"/>
                  <a:pt x="120" y="78"/>
                </a:cubicBezTo>
                <a:cubicBezTo>
                  <a:pt x="120" y="92"/>
                  <a:pt x="108" y="104"/>
                  <a:pt x="94" y="104"/>
                </a:cubicBezTo>
                <a:cubicBezTo>
                  <a:pt x="28" y="104"/>
                  <a:pt x="28" y="104"/>
                  <a:pt x="28" y="104"/>
                </a:cubicBezTo>
                <a:cubicBezTo>
                  <a:pt x="17" y="104"/>
                  <a:pt x="8" y="95"/>
                  <a:pt x="8" y="84"/>
                </a:cubicBezTo>
                <a:cubicBezTo>
                  <a:pt x="8" y="73"/>
                  <a:pt x="16" y="66"/>
                  <a:pt x="26" y="6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3" name="Freeform 5">
            <a:extLst>
              <a:ext uri="{FF2B5EF4-FFF2-40B4-BE49-F238E27FC236}">
                <a16:creationId xmlns:a16="http://schemas.microsoft.com/office/drawing/2014/main" id="{2FEEA85A-9F03-4FF3-8286-BBDB9CAE784B}"/>
              </a:ext>
            </a:extLst>
          </p:cNvPr>
          <p:cNvSpPr>
            <a:spLocks noEditPoints="1"/>
          </p:cNvSpPr>
          <p:nvPr/>
        </p:nvSpPr>
        <p:spPr bwMode="auto">
          <a:xfrm>
            <a:off x="5005686" y="2518896"/>
            <a:ext cx="414338" cy="300038"/>
          </a:xfrm>
          <a:custGeom>
            <a:avLst/>
            <a:gdLst>
              <a:gd name="T0" fmla="*/ 62 w 128"/>
              <a:gd name="T1" fmla="*/ 36 h 92"/>
              <a:gd name="T2" fmla="*/ 59 w 128"/>
              <a:gd name="T3" fmla="*/ 25 h 92"/>
              <a:gd name="T4" fmla="*/ 59 w 128"/>
              <a:gd name="T5" fmla="*/ 25 h 92"/>
              <a:gd name="T6" fmla="*/ 119 w 128"/>
              <a:gd name="T7" fmla="*/ 60 h 92"/>
              <a:gd name="T8" fmla="*/ 112 w 128"/>
              <a:gd name="T9" fmla="*/ 72 h 92"/>
              <a:gd name="T10" fmla="*/ 104 w 128"/>
              <a:gd name="T11" fmla="*/ 76 h 92"/>
              <a:gd name="T12" fmla="*/ 64 w 128"/>
              <a:gd name="T13" fmla="*/ 84 h 92"/>
              <a:gd name="T14" fmla="*/ 28 w 128"/>
              <a:gd name="T15" fmla="*/ 78 h 92"/>
              <a:gd name="T16" fmla="*/ 28 w 128"/>
              <a:gd name="T17" fmla="*/ 88 h 92"/>
              <a:gd name="T18" fmla="*/ 12 w 128"/>
              <a:gd name="T19" fmla="*/ 88 h 92"/>
              <a:gd name="T20" fmla="*/ 12 w 128"/>
              <a:gd name="T21" fmla="*/ 92 h 92"/>
              <a:gd name="T22" fmla="*/ 0 w 128"/>
              <a:gd name="T23" fmla="*/ 28 h 92"/>
              <a:gd name="T24" fmla="*/ 57 w 128"/>
              <a:gd name="T25" fmla="*/ 6 h 92"/>
              <a:gd name="T26" fmla="*/ 70 w 128"/>
              <a:gd name="T27" fmla="*/ 1 h 92"/>
              <a:gd name="T28" fmla="*/ 70 w 128"/>
              <a:gd name="T29" fmla="*/ 13 h 92"/>
              <a:gd name="T30" fmla="*/ 59 w 128"/>
              <a:gd name="T31" fmla="*/ 25 h 92"/>
              <a:gd name="T32" fmla="*/ 58 w 128"/>
              <a:gd name="T33" fmla="*/ 28 h 92"/>
              <a:gd name="T34" fmla="*/ 69 w 128"/>
              <a:gd name="T35" fmla="*/ 32 h 92"/>
              <a:gd name="T36" fmla="*/ 120 w 128"/>
              <a:gd name="T37" fmla="*/ 40 h 92"/>
              <a:gd name="T38" fmla="*/ 120 w 128"/>
              <a:gd name="T39" fmla="*/ 44 h 92"/>
              <a:gd name="T40" fmla="*/ 120 w 128"/>
              <a:gd name="T41" fmla="*/ 60 h 92"/>
              <a:gd name="T42" fmla="*/ 24 w 128"/>
              <a:gd name="T43" fmla="*/ 32 h 92"/>
              <a:gd name="T44" fmla="*/ 12 w 128"/>
              <a:gd name="T45" fmla="*/ 84 h 92"/>
              <a:gd name="T46" fmla="*/ 120 w 128"/>
              <a:gd name="T47" fmla="*/ 56 h 92"/>
              <a:gd name="T48" fmla="*/ 120 w 128"/>
              <a:gd name="T49" fmla="*/ 48 h 92"/>
              <a:gd name="T50" fmla="*/ 109 w 128"/>
              <a:gd name="T51" fmla="*/ 48 h 92"/>
              <a:gd name="T52" fmla="*/ 76 w 128"/>
              <a:gd name="T53" fmla="*/ 44 h 92"/>
              <a:gd name="T54" fmla="*/ 116 w 128"/>
              <a:gd name="T55" fmla="*/ 40 h 92"/>
              <a:gd name="T56" fmla="*/ 62 w 128"/>
              <a:gd name="T57" fmla="*/ 36 h 92"/>
              <a:gd name="T58" fmla="*/ 54 w 128"/>
              <a:gd name="T59" fmla="*/ 28 h 92"/>
              <a:gd name="T60" fmla="*/ 63 w 128"/>
              <a:gd name="T61" fmla="*/ 15 h 92"/>
              <a:gd name="T62" fmla="*/ 67 w 128"/>
              <a:gd name="T63" fmla="*/ 10 h 92"/>
              <a:gd name="T64" fmla="*/ 67 w 128"/>
              <a:gd name="T65" fmla="*/ 10 h 92"/>
              <a:gd name="T66" fmla="*/ 69 w 128"/>
              <a:gd name="T67" fmla="*/ 7 h 92"/>
              <a:gd name="T68" fmla="*/ 28 w 128"/>
              <a:gd name="T69" fmla="*/ 31 h 92"/>
              <a:gd name="T70" fmla="*/ 64 w 128"/>
              <a:gd name="T71" fmla="*/ 80 h 92"/>
              <a:gd name="T72" fmla="*/ 100 w 128"/>
              <a:gd name="T73" fmla="*/ 76 h 92"/>
              <a:gd name="T74" fmla="*/ 72 w 128"/>
              <a:gd name="T75" fmla="*/ 72 h 92"/>
              <a:gd name="T76" fmla="*/ 112 w 128"/>
              <a:gd name="T77" fmla="*/ 68 h 92"/>
              <a:gd name="T78" fmla="*/ 112 w 128"/>
              <a:gd name="T79" fmla="*/ 60 h 92"/>
              <a:gd name="T80" fmla="*/ 74 w 128"/>
              <a:gd name="T81" fmla="*/ 56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92">
                <a:moveTo>
                  <a:pt x="62" y="36"/>
                </a:moveTo>
                <a:cubicBezTo>
                  <a:pt x="62" y="36"/>
                  <a:pt x="62" y="36"/>
                  <a:pt x="62" y="36"/>
                </a:cubicBezTo>
                <a:cubicBezTo>
                  <a:pt x="62" y="36"/>
                  <a:pt x="62" y="36"/>
                  <a:pt x="62" y="36"/>
                </a:cubicBezTo>
                <a:close/>
                <a:moveTo>
                  <a:pt x="59" y="25"/>
                </a:moveTo>
                <a:cubicBezTo>
                  <a:pt x="59" y="25"/>
                  <a:pt x="59" y="25"/>
                  <a:pt x="59" y="25"/>
                </a:cubicBezTo>
                <a:cubicBezTo>
                  <a:pt x="59" y="25"/>
                  <a:pt x="59" y="25"/>
                  <a:pt x="59" y="25"/>
                </a:cubicBezTo>
                <a:close/>
                <a:moveTo>
                  <a:pt x="120" y="60"/>
                </a:moveTo>
                <a:cubicBezTo>
                  <a:pt x="119" y="60"/>
                  <a:pt x="119" y="60"/>
                  <a:pt x="119" y="60"/>
                </a:cubicBezTo>
                <a:cubicBezTo>
                  <a:pt x="120" y="61"/>
                  <a:pt x="120" y="63"/>
                  <a:pt x="120" y="64"/>
                </a:cubicBezTo>
                <a:cubicBezTo>
                  <a:pt x="120" y="68"/>
                  <a:pt x="116" y="72"/>
                  <a:pt x="112" y="72"/>
                </a:cubicBezTo>
                <a:cubicBezTo>
                  <a:pt x="103" y="72"/>
                  <a:pt x="103" y="72"/>
                  <a:pt x="103" y="72"/>
                </a:cubicBezTo>
                <a:cubicBezTo>
                  <a:pt x="104" y="73"/>
                  <a:pt x="104" y="75"/>
                  <a:pt x="104" y="76"/>
                </a:cubicBezTo>
                <a:cubicBezTo>
                  <a:pt x="104" y="80"/>
                  <a:pt x="100" y="84"/>
                  <a:pt x="96" y="84"/>
                </a:cubicBezTo>
                <a:cubicBezTo>
                  <a:pt x="64" y="84"/>
                  <a:pt x="64" y="84"/>
                  <a:pt x="64" y="84"/>
                </a:cubicBezTo>
                <a:cubicBezTo>
                  <a:pt x="64" y="84"/>
                  <a:pt x="64" y="84"/>
                  <a:pt x="64" y="84"/>
                </a:cubicBezTo>
                <a:cubicBezTo>
                  <a:pt x="28" y="78"/>
                  <a:pt x="28" y="78"/>
                  <a:pt x="28" y="78"/>
                </a:cubicBezTo>
                <a:cubicBezTo>
                  <a:pt x="28" y="84"/>
                  <a:pt x="28" y="84"/>
                  <a:pt x="28" y="84"/>
                </a:cubicBezTo>
                <a:cubicBezTo>
                  <a:pt x="28" y="88"/>
                  <a:pt x="28" y="88"/>
                  <a:pt x="28" y="88"/>
                </a:cubicBezTo>
                <a:cubicBezTo>
                  <a:pt x="24" y="88"/>
                  <a:pt x="24" y="88"/>
                  <a:pt x="24" y="88"/>
                </a:cubicBezTo>
                <a:cubicBezTo>
                  <a:pt x="12" y="88"/>
                  <a:pt x="12" y="88"/>
                  <a:pt x="12" y="88"/>
                </a:cubicBezTo>
                <a:cubicBezTo>
                  <a:pt x="12" y="92"/>
                  <a:pt x="12" y="92"/>
                  <a:pt x="12" y="92"/>
                </a:cubicBezTo>
                <a:cubicBezTo>
                  <a:pt x="12" y="92"/>
                  <a:pt x="12" y="92"/>
                  <a:pt x="12" y="92"/>
                </a:cubicBezTo>
                <a:cubicBezTo>
                  <a:pt x="0" y="92"/>
                  <a:pt x="0" y="92"/>
                  <a:pt x="0" y="92"/>
                </a:cubicBezTo>
                <a:cubicBezTo>
                  <a:pt x="0" y="28"/>
                  <a:pt x="0" y="28"/>
                  <a:pt x="0" y="28"/>
                </a:cubicBezTo>
                <a:cubicBezTo>
                  <a:pt x="26" y="28"/>
                  <a:pt x="26" y="28"/>
                  <a:pt x="26" y="28"/>
                </a:cubicBezTo>
                <a:cubicBezTo>
                  <a:pt x="57" y="6"/>
                  <a:pt x="57" y="6"/>
                  <a:pt x="57" y="6"/>
                </a:cubicBezTo>
                <a:cubicBezTo>
                  <a:pt x="65" y="0"/>
                  <a:pt x="65" y="0"/>
                  <a:pt x="65" y="0"/>
                </a:cubicBezTo>
                <a:cubicBezTo>
                  <a:pt x="67" y="0"/>
                  <a:pt x="68" y="0"/>
                  <a:pt x="70" y="1"/>
                </a:cubicBezTo>
                <a:cubicBezTo>
                  <a:pt x="71" y="3"/>
                  <a:pt x="73" y="5"/>
                  <a:pt x="73" y="7"/>
                </a:cubicBezTo>
                <a:cubicBezTo>
                  <a:pt x="73" y="10"/>
                  <a:pt x="72" y="12"/>
                  <a:pt x="70" y="13"/>
                </a:cubicBezTo>
                <a:cubicBezTo>
                  <a:pt x="64" y="20"/>
                  <a:pt x="64" y="20"/>
                  <a:pt x="64" y="20"/>
                </a:cubicBezTo>
                <a:cubicBezTo>
                  <a:pt x="59" y="25"/>
                  <a:pt x="59" y="25"/>
                  <a:pt x="59" y="25"/>
                </a:cubicBezTo>
                <a:cubicBezTo>
                  <a:pt x="59" y="25"/>
                  <a:pt x="59" y="25"/>
                  <a:pt x="59" y="25"/>
                </a:cubicBezTo>
                <a:cubicBezTo>
                  <a:pt x="58" y="26"/>
                  <a:pt x="58" y="27"/>
                  <a:pt x="58" y="28"/>
                </a:cubicBezTo>
                <a:cubicBezTo>
                  <a:pt x="58" y="30"/>
                  <a:pt x="60" y="32"/>
                  <a:pt x="62" y="32"/>
                </a:cubicBezTo>
                <a:cubicBezTo>
                  <a:pt x="69" y="32"/>
                  <a:pt x="69" y="32"/>
                  <a:pt x="69" y="32"/>
                </a:cubicBezTo>
                <a:cubicBezTo>
                  <a:pt x="112" y="32"/>
                  <a:pt x="112" y="32"/>
                  <a:pt x="112" y="32"/>
                </a:cubicBezTo>
                <a:cubicBezTo>
                  <a:pt x="116" y="32"/>
                  <a:pt x="120" y="36"/>
                  <a:pt x="120" y="40"/>
                </a:cubicBezTo>
                <a:cubicBezTo>
                  <a:pt x="120" y="41"/>
                  <a:pt x="120" y="43"/>
                  <a:pt x="119" y="44"/>
                </a:cubicBezTo>
                <a:cubicBezTo>
                  <a:pt x="120" y="44"/>
                  <a:pt x="120" y="44"/>
                  <a:pt x="120" y="44"/>
                </a:cubicBezTo>
                <a:cubicBezTo>
                  <a:pt x="124" y="44"/>
                  <a:pt x="128" y="48"/>
                  <a:pt x="128" y="52"/>
                </a:cubicBezTo>
                <a:cubicBezTo>
                  <a:pt x="128" y="56"/>
                  <a:pt x="124" y="60"/>
                  <a:pt x="120" y="60"/>
                </a:cubicBezTo>
                <a:close/>
                <a:moveTo>
                  <a:pt x="24" y="84"/>
                </a:moveTo>
                <a:cubicBezTo>
                  <a:pt x="24" y="32"/>
                  <a:pt x="24" y="32"/>
                  <a:pt x="24" y="32"/>
                </a:cubicBezTo>
                <a:cubicBezTo>
                  <a:pt x="12" y="32"/>
                  <a:pt x="12" y="32"/>
                  <a:pt x="12" y="32"/>
                </a:cubicBezTo>
                <a:cubicBezTo>
                  <a:pt x="12" y="84"/>
                  <a:pt x="12" y="84"/>
                  <a:pt x="12" y="84"/>
                </a:cubicBezTo>
                <a:lnTo>
                  <a:pt x="24" y="84"/>
                </a:lnTo>
                <a:close/>
                <a:moveTo>
                  <a:pt x="120" y="56"/>
                </a:moveTo>
                <a:cubicBezTo>
                  <a:pt x="122" y="56"/>
                  <a:pt x="124" y="54"/>
                  <a:pt x="124" y="52"/>
                </a:cubicBezTo>
                <a:cubicBezTo>
                  <a:pt x="124" y="50"/>
                  <a:pt x="122" y="48"/>
                  <a:pt x="120" y="48"/>
                </a:cubicBezTo>
                <a:cubicBezTo>
                  <a:pt x="112" y="48"/>
                  <a:pt x="112" y="48"/>
                  <a:pt x="112" y="48"/>
                </a:cubicBezTo>
                <a:cubicBezTo>
                  <a:pt x="109" y="48"/>
                  <a:pt x="109" y="48"/>
                  <a:pt x="109" y="48"/>
                </a:cubicBezTo>
                <a:cubicBezTo>
                  <a:pt x="76" y="48"/>
                  <a:pt x="76" y="48"/>
                  <a:pt x="76" y="48"/>
                </a:cubicBezTo>
                <a:cubicBezTo>
                  <a:pt x="76" y="44"/>
                  <a:pt x="76" y="44"/>
                  <a:pt x="76" y="44"/>
                </a:cubicBezTo>
                <a:cubicBezTo>
                  <a:pt x="112" y="44"/>
                  <a:pt x="112" y="44"/>
                  <a:pt x="112" y="44"/>
                </a:cubicBezTo>
                <a:cubicBezTo>
                  <a:pt x="114" y="44"/>
                  <a:pt x="116" y="42"/>
                  <a:pt x="116" y="40"/>
                </a:cubicBezTo>
                <a:cubicBezTo>
                  <a:pt x="116" y="38"/>
                  <a:pt x="114" y="36"/>
                  <a:pt x="112" y="36"/>
                </a:cubicBezTo>
                <a:cubicBezTo>
                  <a:pt x="62" y="36"/>
                  <a:pt x="62" y="36"/>
                  <a:pt x="62" y="36"/>
                </a:cubicBezTo>
                <a:cubicBezTo>
                  <a:pt x="62" y="36"/>
                  <a:pt x="62" y="36"/>
                  <a:pt x="62" y="36"/>
                </a:cubicBezTo>
                <a:cubicBezTo>
                  <a:pt x="58" y="36"/>
                  <a:pt x="54" y="32"/>
                  <a:pt x="54" y="28"/>
                </a:cubicBezTo>
                <a:cubicBezTo>
                  <a:pt x="54" y="26"/>
                  <a:pt x="55" y="24"/>
                  <a:pt x="57" y="22"/>
                </a:cubicBezTo>
                <a:cubicBezTo>
                  <a:pt x="63" y="15"/>
                  <a:pt x="63" y="15"/>
                  <a:pt x="63" y="15"/>
                </a:cubicBezTo>
                <a:cubicBezTo>
                  <a:pt x="63" y="15"/>
                  <a:pt x="63" y="15"/>
                  <a:pt x="63" y="15"/>
                </a:cubicBezTo>
                <a:cubicBezTo>
                  <a:pt x="67" y="10"/>
                  <a:pt x="67" y="10"/>
                  <a:pt x="67" y="10"/>
                </a:cubicBezTo>
                <a:cubicBezTo>
                  <a:pt x="67" y="10"/>
                  <a:pt x="67" y="10"/>
                  <a:pt x="67" y="10"/>
                </a:cubicBezTo>
                <a:cubicBezTo>
                  <a:pt x="67" y="10"/>
                  <a:pt x="67" y="10"/>
                  <a:pt x="67" y="10"/>
                </a:cubicBezTo>
                <a:cubicBezTo>
                  <a:pt x="67" y="10"/>
                  <a:pt x="67" y="10"/>
                  <a:pt x="67" y="10"/>
                </a:cubicBezTo>
                <a:cubicBezTo>
                  <a:pt x="68" y="10"/>
                  <a:pt x="69" y="9"/>
                  <a:pt x="69" y="7"/>
                </a:cubicBezTo>
                <a:cubicBezTo>
                  <a:pt x="69" y="6"/>
                  <a:pt x="68" y="4"/>
                  <a:pt x="66" y="4"/>
                </a:cubicBezTo>
                <a:cubicBezTo>
                  <a:pt x="28" y="31"/>
                  <a:pt x="28" y="31"/>
                  <a:pt x="28" y="31"/>
                </a:cubicBezTo>
                <a:cubicBezTo>
                  <a:pt x="28" y="74"/>
                  <a:pt x="28" y="74"/>
                  <a:pt x="28" y="74"/>
                </a:cubicBezTo>
                <a:cubicBezTo>
                  <a:pt x="64" y="80"/>
                  <a:pt x="64" y="80"/>
                  <a:pt x="64" y="80"/>
                </a:cubicBezTo>
                <a:cubicBezTo>
                  <a:pt x="96" y="80"/>
                  <a:pt x="96" y="80"/>
                  <a:pt x="96" y="80"/>
                </a:cubicBezTo>
                <a:cubicBezTo>
                  <a:pt x="98" y="80"/>
                  <a:pt x="100" y="78"/>
                  <a:pt x="100" y="76"/>
                </a:cubicBezTo>
                <a:cubicBezTo>
                  <a:pt x="100" y="74"/>
                  <a:pt x="98" y="72"/>
                  <a:pt x="96" y="72"/>
                </a:cubicBezTo>
                <a:cubicBezTo>
                  <a:pt x="72" y="72"/>
                  <a:pt x="72" y="72"/>
                  <a:pt x="72" y="72"/>
                </a:cubicBezTo>
                <a:cubicBezTo>
                  <a:pt x="72" y="68"/>
                  <a:pt x="72" y="68"/>
                  <a:pt x="72" y="68"/>
                </a:cubicBezTo>
                <a:cubicBezTo>
                  <a:pt x="112" y="68"/>
                  <a:pt x="112" y="68"/>
                  <a:pt x="112" y="68"/>
                </a:cubicBezTo>
                <a:cubicBezTo>
                  <a:pt x="114" y="68"/>
                  <a:pt x="116" y="66"/>
                  <a:pt x="116" y="64"/>
                </a:cubicBezTo>
                <a:cubicBezTo>
                  <a:pt x="116" y="62"/>
                  <a:pt x="114" y="60"/>
                  <a:pt x="112" y="60"/>
                </a:cubicBezTo>
                <a:cubicBezTo>
                  <a:pt x="74" y="60"/>
                  <a:pt x="74" y="60"/>
                  <a:pt x="74" y="60"/>
                </a:cubicBezTo>
                <a:cubicBezTo>
                  <a:pt x="74" y="56"/>
                  <a:pt x="74" y="56"/>
                  <a:pt x="74" y="56"/>
                </a:cubicBezTo>
                <a:lnTo>
                  <a:pt x="120" y="5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5" name="Freeform 9">
            <a:extLst>
              <a:ext uri="{FF2B5EF4-FFF2-40B4-BE49-F238E27FC236}">
                <a16:creationId xmlns:a16="http://schemas.microsoft.com/office/drawing/2014/main" id="{99E61BB2-713B-4427-80CB-F720D4C9B52D}"/>
              </a:ext>
            </a:extLst>
          </p:cNvPr>
          <p:cNvSpPr>
            <a:spLocks noEditPoints="1"/>
          </p:cNvSpPr>
          <p:nvPr/>
        </p:nvSpPr>
        <p:spPr bwMode="auto">
          <a:xfrm>
            <a:off x="7096555" y="2507784"/>
            <a:ext cx="412750" cy="311150"/>
          </a:xfrm>
          <a:custGeom>
            <a:avLst/>
            <a:gdLst>
              <a:gd name="T0" fmla="*/ 80 w 128"/>
              <a:gd name="T1" fmla="*/ 80 h 96"/>
              <a:gd name="T2" fmla="*/ 64 w 128"/>
              <a:gd name="T3" fmla="*/ 96 h 96"/>
              <a:gd name="T4" fmla="*/ 48 w 128"/>
              <a:gd name="T5" fmla="*/ 80 h 96"/>
              <a:gd name="T6" fmla="*/ 64 w 128"/>
              <a:gd name="T7" fmla="*/ 64 h 96"/>
              <a:gd name="T8" fmla="*/ 80 w 128"/>
              <a:gd name="T9" fmla="*/ 80 h 96"/>
              <a:gd name="T10" fmla="*/ 64 w 128"/>
              <a:gd name="T11" fmla="*/ 16 h 96"/>
              <a:gd name="T12" fmla="*/ 116 w 128"/>
              <a:gd name="T13" fmla="*/ 44 h 96"/>
              <a:gd name="T14" fmla="*/ 128 w 128"/>
              <a:gd name="T15" fmla="*/ 32 h 96"/>
              <a:gd name="T16" fmla="*/ 64 w 128"/>
              <a:gd name="T17" fmla="*/ 0 h 96"/>
              <a:gd name="T18" fmla="*/ 0 w 128"/>
              <a:gd name="T19" fmla="*/ 32 h 96"/>
              <a:gd name="T20" fmla="*/ 12 w 128"/>
              <a:gd name="T21" fmla="*/ 43 h 96"/>
              <a:gd name="T22" fmla="*/ 64 w 128"/>
              <a:gd name="T23" fmla="*/ 16 h 96"/>
              <a:gd name="T24" fmla="*/ 64 w 128"/>
              <a:gd name="T25" fmla="*/ 48 h 96"/>
              <a:gd name="T26" fmla="*/ 93 w 128"/>
              <a:gd name="T27" fmla="*/ 67 h 96"/>
              <a:gd name="T28" fmla="*/ 105 w 128"/>
              <a:gd name="T29" fmla="*/ 55 h 96"/>
              <a:gd name="T30" fmla="*/ 64 w 128"/>
              <a:gd name="T31" fmla="*/ 32 h 96"/>
              <a:gd name="T32" fmla="*/ 23 w 128"/>
              <a:gd name="T33" fmla="*/ 55 h 96"/>
              <a:gd name="T34" fmla="*/ 35 w 128"/>
              <a:gd name="T35" fmla="*/ 67 h 96"/>
              <a:gd name="T36" fmla="*/ 64 w 128"/>
              <a:gd name="T37"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96">
                <a:moveTo>
                  <a:pt x="80" y="80"/>
                </a:moveTo>
                <a:cubicBezTo>
                  <a:pt x="80" y="89"/>
                  <a:pt x="73" y="96"/>
                  <a:pt x="64" y="96"/>
                </a:cubicBezTo>
                <a:cubicBezTo>
                  <a:pt x="55" y="96"/>
                  <a:pt x="48" y="89"/>
                  <a:pt x="48" y="80"/>
                </a:cubicBezTo>
                <a:cubicBezTo>
                  <a:pt x="48" y="71"/>
                  <a:pt x="55" y="64"/>
                  <a:pt x="64" y="64"/>
                </a:cubicBezTo>
                <a:cubicBezTo>
                  <a:pt x="73" y="64"/>
                  <a:pt x="80" y="71"/>
                  <a:pt x="80" y="80"/>
                </a:cubicBezTo>
                <a:close/>
                <a:moveTo>
                  <a:pt x="64" y="16"/>
                </a:moveTo>
                <a:cubicBezTo>
                  <a:pt x="86" y="16"/>
                  <a:pt x="105" y="27"/>
                  <a:pt x="116" y="44"/>
                </a:cubicBezTo>
                <a:cubicBezTo>
                  <a:pt x="128" y="32"/>
                  <a:pt x="128" y="32"/>
                  <a:pt x="128" y="32"/>
                </a:cubicBezTo>
                <a:cubicBezTo>
                  <a:pt x="113" y="13"/>
                  <a:pt x="90" y="0"/>
                  <a:pt x="64" y="0"/>
                </a:cubicBezTo>
                <a:cubicBezTo>
                  <a:pt x="38" y="0"/>
                  <a:pt x="15" y="13"/>
                  <a:pt x="0" y="32"/>
                </a:cubicBezTo>
                <a:cubicBezTo>
                  <a:pt x="12" y="43"/>
                  <a:pt x="12" y="43"/>
                  <a:pt x="12" y="43"/>
                </a:cubicBezTo>
                <a:cubicBezTo>
                  <a:pt x="23" y="27"/>
                  <a:pt x="42" y="16"/>
                  <a:pt x="64" y="16"/>
                </a:cubicBezTo>
                <a:close/>
                <a:moveTo>
                  <a:pt x="64" y="48"/>
                </a:moveTo>
                <a:cubicBezTo>
                  <a:pt x="77" y="48"/>
                  <a:pt x="88" y="56"/>
                  <a:pt x="93" y="67"/>
                </a:cubicBezTo>
                <a:cubicBezTo>
                  <a:pt x="105" y="55"/>
                  <a:pt x="105" y="55"/>
                  <a:pt x="105" y="55"/>
                </a:cubicBezTo>
                <a:cubicBezTo>
                  <a:pt x="97" y="41"/>
                  <a:pt x="81" y="32"/>
                  <a:pt x="64" y="32"/>
                </a:cubicBezTo>
                <a:cubicBezTo>
                  <a:pt x="47" y="32"/>
                  <a:pt x="31" y="41"/>
                  <a:pt x="23" y="55"/>
                </a:cubicBezTo>
                <a:cubicBezTo>
                  <a:pt x="35" y="67"/>
                  <a:pt x="35" y="67"/>
                  <a:pt x="35" y="67"/>
                </a:cubicBezTo>
                <a:cubicBezTo>
                  <a:pt x="40" y="56"/>
                  <a:pt x="51" y="48"/>
                  <a:pt x="64"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6" name="Freeform 13">
            <a:extLst>
              <a:ext uri="{FF2B5EF4-FFF2-40B4-BE49-F238E27FC236}">
                <a16:creationId xmlns:a16="http://schemas.microsoft.com/office/drawing/2014/main" id="{46B7DCEE-B48C-4860-9393-6ECB3D9B8B7C}"/>
              </a:ext>
            </a:extLst>
          </p:cNvPr>
          <p:cNvSpPr>
            <a:spLocks noEditPoints="1"/>
          </p:cNvSpPr>
          <p:nvPr/>
        </p:nvSpPr>
        <p:spPr bwMode="auto">
          <a:xfrm>
            <a:off x="6171457" y="3245192"/>
            <a:ext cx="173668" cy="362618"/>
          </a:xfrm>
          <a:custGeom>
            <a:avLst/>
            <a:gdLst>
              <a:gd name="T0" fmla="*/ 42 w 60"/>
              <a:gd name="T1" fmla="*/ 12 h 128"/>
              <a:gd name="T2" fmla="*/ 30 w 60"/>
              <a:gd name="T3" fmla="*/ 24 h 128"/>
              <a:gd name="T4" fmla="*/ 18 w 60"/>
              <a:gd name="T5" fmla="*/ 12 h 128"/>
              <a:gd name="T6" fmla="*/ 30 w 60"/>
              <a:gd name="T7" fmla="*/ 0 h 128"/>
              <a:gd name="T8" fmla="*/ 42 w 60"/>
              <a:gd name="T9" fmla="*/ 12 h 128"/>
              <a:gd name="T10" fmla="*/ 42 w 60"/>
              <a:gd name="T11" fmla="*/ 88 h 128"/>
              <a:gd name="T12" fmla="*/ 60 w 60"/>
              <a:gd name="T13" fmla="*/ 88 h 128"/>
              <a:gd name="T14" fmla="*/ 39 w 60"/>
              <a:gd name="T15" fmla="*/ 32 h 128"/>
              <a:gd name="T16" fmla="*/ 20 w 60"/>
              <a:gd name="T17" fmla="*/ 32 h 128"/>
              <a:gd name="T18" fmla="*/ 0 w 60"/>
              <a:gd name="T19" fmla="*/ 88 h 128"/>
              <a:gd name="T20" fmla="*/ 18 w 60"/>
              <a:gd name="T21" fmla="*/ 88 h 128"/>
              <a:gd name="T22" fmla="*/ 18 w 60"/>
              <a:gd name="T23" fmla="*/ 128 h 128"/>
              <a:gd name="T24" fmla="*/ 42 w 60"/>
              <a:gd name="T25" fmla="*/ 128 h 128"/>
              <a:gd name="T26" fmla="*/ 42 w 60"/>
              <a:gd name="T27" fmla="*/ 88 h 128"/>
              <a:gd name="T28" fmla="*/ 26 w 60"/>
              <a:gd name="T29" fmla="*/ 80 h 128"/>
              <a:gd name="T30" fmla="*/ 12 w 60"/>
              <a:gd name="T31" fmla="*/ 80 h 128"/>
              <a:gd name="T32" fmla="*/ 26 w 60"/>
              <a:gd name="T33" fmla="*/ 40 h 128"/>
              <a:gd name="T34" fmla="*/ 34 w 60"/>
              <a:gd name="T35" fmla="*/ 40 h 128"/>
              <a:gd name="T36" fmla="*/ 48 w 60"/>
              <a:gd name="T37" fmla="*/ 80 h 128"/>
              <a:gd name="T38" fmla="*/ 34 w 60"/>
              <a:gd name="T39" fmla="*/ 80 h 128"/>
              <a:gd name="T40" fmla="*/ 34 w 60"/>
              <a:gd name="T41" fmla="*/ 120 h 128"/>
              <a:gd name="T42" fmla="*/ 26 w 60"/>
              <a:gd name="T43" fmla="*/ 120 h 128"/>
              <a:gd name="T44" fmla="*/ 26 w 60"/>
              <a:gd name="T45" fmla="*/ 8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28">
                <a:moveTo>
                  <a:pt x="42" y="12"/>
                </a:moveTo>
                <a:cubicBezTo>
                  <a:pt x="42" y="19"/>
                  <a:pt x="37" y="24"/>
                  <a:pt x="30" y="24"/>
                </a:cubicBezTo>
                <a:cubicBezTo>
                  <a:pt x="23" y="24"/>
                  <a:pt x="18" y="19"/>
                  <a:pt x="18" y="12"/>
                </a:cubicBezTo>
                <a:cubicBezTo>
                  <a:pt x="18" y="5"/>
                  <a:pt x="23" y="0"/>
                  <a:pt x="30" y="0"/>
                </a:cubicBezTo>
                <a:cubicBezTo>
                  <a:pt x="37" y="0"/>
                  <a:pt x="42" y="5"/>
                  <a:pt x="42" y="12"/>
                </a:cubicBezTo>
                <a:close/>
                <a:moveTo>
                  <a:pt x="42" y="88"/>
                </a:moveTo>
                <a:cubicBezTo>
                  <a:pt x="60" y="88"/>
                  <a:pt x="60" y="88"/>
                  <a:pt x="60" y="88"/>
                </a:cubicBezTo>
                <a:cubicBezTo>
                  <a:pt x="39" y="32"/>
                  <a:pt x="39" y="32"/>
                  <a:pt x="39" y="32"/>
                </a:cubicBezTo>
                <a:cubicBezTo>
                  <a:pt x="20" y="32"/>
                  <a:pt x="20" y="32"/>
                  <a:pt x="20" y="32"/>
                </a:cubicBezTo>
                <a:cubicBezTo>
                  <a:pt x="0" y="88"/>
                  <a:pt x="0" y="88"/>
                  <a:pt x="0" y="88"/>
                </a:cubicBezTo>
                <a:cubicBezTo>
                  <a:pt x="18" y="88"/>
                  <a:pt x="18" y="88"/>
                  <a:pt x="18" y="88"/>
                </a:cubicBezTo>
                <a:cubicBezTo>
                  <a:pt x="18" y="128"/>
                  <a:pt x="18" y="128"/>
                  <a:pt x="18" y="128"/>
                </a:cubicBezTo>
                <a:cubicBezTo>
                  <a:pt x="42" y="128"/>
                  <a:pt x="42" y="128"/>
                  <a:pt x="42" y="128"/>
                </a:cubicBezTo>
                <a:lnTo>
                  <a:pt x="42" y="88"/>
                </a:lnTo>
                <a:close/>
                <a:moveTo>
                  <a:pt x="26" y="80"/>
                </a:moveTo>
                <a:cubicBezTo>
                  <a:pt x="12" y="80"/>
                  <a:pt x="12" y="80"/>
                  <a:pt x="12" y="80"/>
                </a:cubicBezTo>
                <a:cubicBezTo>
                  <a:pt x="26" y="40"/>
                  <a:pt x="26" y="40"/>
                  <a:pt x="26" y="40"/>
                </a:cubicBezTo>
                <a:cubicBezTo>
                  <a:pt x="34" y="40"/>
                  <a:pt x="34" y="40"/>
                  <a:pt x="34" y="40"/>
                </a:cubicBezTo>
                <a:cubicBezTo>
                  <a:pt x="48" y="80"/>
                  <a:pt x="48" y="80"/>
                  <a:pt x="48" y="80"/>
                </a:cubicBezTo>
                <a:cubicBezTo>
                  <a:pt x="34" y="80"/>
                  <a:pt x="34" y="80"/>
                  <a:pt x="34" y="80"/>
                </a:cubicBezTo>
                <a:cubicBezTo>
                  <a:pt x="34" y="120"/>
                  <a:pt x="34" y="120"/>
                  <a:pt x="34" y="120"/>
                </a:cubicBezTo>
                <a:cubicBezTo>
                  <a:pt x="26" y="120"/>
                  <a:pt x="26" y="120"/>
                  <a:pt x="26" y="120"/>
                </a:cubicBezTo>
                <a:lnTo>
                  <a:pt x="26" y="8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7" name="Freeform 17">
            <a:extLst>
              <a:ext uri="{FF2B5EF4-FFF2-40B4-BE49-F238E27FC236}">
                <a16:creationId xmlns:a16="http://schemas.microsoft.com/office/drawing/2014/main" id="{DE2AB6EB-5841-42EA-8E62-EAE5DE12D94C}"/>
              </a:ext>
            </a:extLst>
          </p:cNvPr>
          <p:cNvSpPr>
            <a:spLocks noEditPoints="1"/>
          </p:cNvSpPr>
          <p:nvPr/>
        </p:nvSpPr>
        <p:spPr bwMode="auto">
          <a:xfrm>
            <a:off x="7122315" y="3246580"/>
            <a:ext cx="361230" cy="361230"/>
          </a:xfrm>
          <a:custGeom>
            <a:avLst/>
            <a:gdLst>
              <a:gd name="T0" fmla="*/ 90 w 128"/>
              <a:gd name="T1" fmla="*/ 42 h 128"/>
              <a:gd name="T2" fmla="*/ 93 w 128"/>
              <a:gd name="T3" fmla="*/ 33 h 128"/>
              <a:gd name="T4" fmla="*/ 83 w 128"/>
              <a:gd name="T5" fmla="*/ 22 h 128"/>
              <a:gd name="T6" fmla="*/ 83 w 128"/>
              <a:gd name="T7" fmla="*/ 22 h 128"/>
              <a:gd name="T8" fmla="*/ 91 w 128"/>
              <a:gd name="T9" fmla="*/ 12 h 128"/>
              <a:gd name="T10" fmla="*/ 76 w 128"/>
              <a:gd name="T11" fmla="*/ 0 h 128"/>
              <a:gd name="T12" fmla="*/ 56 w 128"/>
              <a:gd name="T13" fmla="*/ 0 h 128"/>
              <a:gd name="T14" fmla="*/ 56 w 128"/>
              <a:gd name="T15" fmla="*/ 47 h 128"/>
              <a:gd name="T16" fmla="*/ 75 w 128"/>
              <a:gd name="T17" fmla="*/ 47 h 128"/>
              <a:gd name="T18" fmla="*/ 90 w 128"/>
              <a:gd name="T19" fmla="*/ 42 h 128"/>
              <a:gd name="T20" fmla="*/ 65 w 128"/>
              <a:gd name="T21" fmla="*/ 6 h 128"/>
              <a:gd name="T22" fmla="*/ 75 w 128"/>
              <a:gd name="T23" fmla="*/ 6 h 128"/>
              <a:gd name="T24" fmla="*/ 83 w 128"/>
              <a:gd name="T25" fmla="*/ 13 h 128"/>
              <a:gd name="T26" fmla="*/ 74 w 128"/>
              <a:gd name="T27" fmla="*/ 19 h 128"/>
              <a:gd name="T28" fmla="*/ 65 w 128"/>
              <a:gd name="T29" fmla="*/ 19 h 128"/>
              <a:gd name="T30" fmla="*/ 65 w 128"/>
              <a:gd name="T31" fmla="*/ 6 h 128"/>
              <a:gd name="T32" fmla="*/ 65 w 128"/>
              <a:gd name="T33" fmla="*/ 25 h 128"/>
              <a:gd name="T34" fmla="*/ 74 w 128"/>
              <a:gd name="T35" fmla="*/ 25 h 128"/>
              <a:gd name="T36" fmla="*/ 84 w 128"/>
              <a:gd name="T37" fmla="*/ 33 h 128"/>
              <a:gd name="T38" fmla="*/ 75 w 128"/>
              <a:gd name="T39" fmla="*/ 41 h 128"/>
              <a:gd name="T40" fmla="*/ 65 w 128"/>
              <a:gd name="T41" fmla="*/ 41 h 128"/>
              <a:gd name="T42" fmla="*/ 65 w 128"/>
              <a:gd name="T43" fmla="*/ 25 h 128"/>
              <a:gd name="T44" fmla="*/ 96 w 128"/>
              <a:gd name="T45" fmla="*/ 118 h 128"/>
              <a:gd name="T46" fmla="*/ 75 w 128"/>
              <a:gd name="T47" fmla="*/ 87 h 128"/>
              <a:gd name="T48" fmla="*/ 96 w 128"/>
              <a:gd name="T49" fmla="*/ 57 h 128"/>
              <a:gd name="T50" fmla="*/ 113 w 128"/>
              <a:gd name="T51" fmla="*/ 73 h 128"/>
              <a:gd name="T52" fmla="*/ 128 w 128"/>
              <a:gd name="T53" fmla="*/ 73 h 128"/>
              <a:gd name="T54" fmla="*/ 96 w 128"/>
              <a:gd name="T55" fmla="*/ 46 h 128"/>
              <a:gd name="T56" fmla="*/ 59 w 128"/>
              <a:gd name="T57" fmla="*/ 88 h 128"/>
              <a:gd name="T58" fmla="*/ 96 w 128"/>
              <a:gd name="T59" fmla="*/ 128 h 128"/>
              <a:gd name="T60" fmla="*/ 128 w 128"/>
              <a:gd name="T61" fmla="*/ 101 h 128"/>
              <a:gd name="T62" fmla="*/ 113 w 128"/>
              <a:gd name="T63" fmla="*/ 101 h 128"/>
              <a:gd name="T64" fmla="*/ 96 w 128"/>
              <a:gd name="T65" fmla="*/ 118 h 128"/>
              <a:gd name="T66" fmla="*/ 39 w 128"/>
              <a:gd name="T67" fmla="*/ 24 h 128"/>
              <a:gd name="T68" fmla="*/ 25 w 128"/>
              <a:gd name="T69" fmla="*/ 24 h 128"/>
              <a:gd name="T70" fmla="*/ 0 w 128"/>
              <a:gd name="T71" fmla="*/ 94 h 128"/>
              <a:gd name="T72" fmla="*/ 12 w 128"/>
              <a:gd name="T73" fmla="*/ 94 h 128"/>
              <a:gd name="T74" fmla="*/ 18 w 128"/>
              <a:gd name="T75" fmla="*/ 76 h 128"/>
              <a:gd name="T76" fmla="*/ 45 w 128"/>
              <a:gd name="T77" fmla="*/ 76 h 128"/>
              <a:gd name="T78" fmla="*/ 51 w 128"/>
              <a:gd name="T79" fmla="*/ 94 h 128"/>
              <a:gd name="T80" fmla="*/ 55 w 128"/>
              <a:gd name="T81" fmla="*/ 94 h 128"/>
              <a:gd name="T82" fmla="*/ 55 w 128"/>
              <a:gd name="T83" fmla="*/ 88 h 128"/>
              <a:gd name="T84" fmla="*/ 56 w 128"/>
              <a:gd name="T85" fmla="*/ 72 h 128"/>
              <a:gd name="T86" fmla="*/ 39 w 128"/>
              <a:gd name="T87" fmla="*/ 24 h 128"/>
              <a:gd name="T88" fmla="*/ 21 w 128"/>
              <a:gd name="T89" fmla="*/ 67 h 128"/>
              <a:gd name="T90" fmla="*/ 29 w 128"/>
              <a:gd name="T91" fmla="*/ 45 h 128"/>
              <a:gd name="T92" fmla="*/ 32 w 128"/>
              <a:gd name="T93" fmla="*/ 35 h 128"/>
              <a:gd name="T94" fmla="*/ 32 w 128"/>
              <a:gd name="T95" fmla="*/ 35 h 128"/>
              <a:gd name="T96" fmla="*/ 35 w 128"/>
              <a:gd name="T97" fmla="*/ 45 h 128"/>
              <a:gd name="T98" fmla="*/ 42 w 128"/>
              <a:gd name="T99" fmla="*/ 67 h 128"/>
              <a:gd name="T100" fmla="*/ 21 w 128"/>
              <a:gd name="T101" fmla="*/ 6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 h="128">
                <a:moveTo>
                  <a:pt x="90" y="42"/>
                </a:moveTo>
                <a:cubicBezTo>
                  <a:pt x="92" y="40"/>
                  <a:pt x="93" y="37"/>
                  <a:pt x="93" y="33"/>
                </a:cubicBezTo>
                <a:cubicBezTo>
                  <a:pt x="93" y="27"/>
                  <a:pt x="89" y="23"/>
                  <a:pt x="83" y="22"/>
                </a:cubicBezTo>
                <a:cubicBezTo>
                  <a:pt x="83" y="22"/>
                  <a:pt x="83" y="22"/>
                  <a:pt x="83" y="22"/>
                </a:cubicBezTo>
                <a:cubicBezTo>
                  <a:pt x="87" y="21"/>
                  <a:pt x="91" y="17"/>
                  <a:pt x="91" y="12"/>
                </a:cubicBezTo>
                <a:cubicBezTo>
                  <a:pt x="91" y="4"/>
                  <a:pt x="85" y="0"/>
                  <a:pt x="76" y="0"/>
                </a:cubicBezTo>
                <a:cubicBezTo>
                  <a:pt x="56" y="0"/>
                  <a:pt x="56" y="0"/>
                  <a:pt x="56" y="0"/>
                </a:cubicBezTo>
                <a:cubicBezTo>
                  <a:pt x="56" y="47"/>
                  <a:pt x="56" y="47"/>
                  <a:pt x="56" y="47"/>
                </a:cubicBezTo>
                <a:cubicBezTo>
                  <a:pt x="75" y="47"/>
                  <a:pt x="75" y="47"/>
                  <a:pt x="75" y="47"/>
                </a:cubicBezTo>
                <a:cubicBezTo>
                  <a:pt x="79" y="44"/>
                  <a:pt x="84" y="42"/>
                  <a:pt x="90" y="42"/>
                </a:cubicBezTo>
                <a:close/>
                <a:moveTo>
                  <a:pt x="65" y="6"/>
                </a:moveTo>
                <a:cubicBezTo>
                  <a:pt x="75" y="6"/>
                  <a:pt x="75" y="6"/>
                  <a:pt x="75" y="6"/>
                </a:cubicBezTo>
                <a:cubicBezTo>
                  <a:pt x="80" y="6"/>
                  <a:pt x="83" y="8"/>
                  <a:pt x="83" y="13"/>
                </a:cubicBezTo>
                <a:cubicBezTo>
                  <a:pt x="83" y="18"/>
                  <a:pt x="79" y="19"/>
                  <a:pt x="74" y="19"/>
                </a:cubicBezTo>
                <a:cubicBezTo>
                  <a:pt x="65" y="19"/>
                  <a:pt x="65" y="19"/>
                  <a:pt x="65" y="19"/>
                </a:cubicBezTo>
                <a:cubicBezTo>
                  <a:pt x="65" y="6"/>
                  <a:pt x="65" y="6"/>
                  <a:pt x="65" y="6"/>
                </a:cubicBezTo>
                <a:close/>
                <a:moveTo>
                  <a:pt x="65" y="25"/>
                </a:moveTo>
                <a:cubicBezTo>
                  <a:pt x="74" y="25"/>
                  <a:pt x="74" y="25"/>
                  <a:pt x="74" y="25"/>
                </a:cubicBezTo>
                <a:cubicBezTo>
                  <a:pt x="81" y="25"/>
                  <a:pt x="84" y="27"/>
                  <a:pt x="84" y="33"/>
                </a:cubicBezTo>
                <a:cubicBezTo>
                  <a:pt x="84" y="39"/>
                  <a:pt x="81" y="41"/>
                  <a:pt x="75" y="41"/>
                </a:cubicBezTo>
                <a:cubicBezTo>
                  <a:pt x="65" y="41"/>
                  <a:pt x="65" y="41"/>
                  <a:pt x="65" y="41"/>
                </a:cubicBezTo>
                <a:lnTo>
                  <a:pt x="65" y="25"/>
                </a:lnTo>
                <a:close/>
                <a:moveTo>
                  <a:pt x="96" y="118"/>
                </a:moveTo>
                <a:cubicBezTo>
                  <a:pt x="83" y="118"/>
                  <a:pt x="75" y="106"/>
                  <a:pt x="75" y="87"/>
                </a:cubicBezTo>
                <a:cubicBezTo>
                  <a:pt x="75" y="68"/>
                  <a:pt x="83" y="57"/>
                  <a:pt x="96" y="57"/>
                </a:cubicBezTo>
                <a:cubicBezTo>
                  <a:pt x="106" y="57"/>
                  <a:pt x="112" y="64"/>
                  <a:pt x="113" y="73"/>
                </a:cubicBezTo>
                <a:cubicBezTo>
                  <a:pt x="128" y="73"/>
                  <a:pt x="128" y="73"/>
                  <a:pt x="128" y="73"/>
                </a:cubicBezTo>
                <a:cubicBezTo>
                  <a:pt x="127" y="55"/>
                  <a:pt x="113" y="46"/>
                  <a:pt x="96" y="46"/>
                </a:cubicBezTo>
                <a:cubicBezTo>
                  <a:pt x="74" y="46"/>
                  <a:pt x="59" y="62"/>
                  <a:pt x="59" y="88"/>
                </a:cubicBezTo>
                <a:cubicBezTo>
                  <a:pt x="59" y="114"/>
                  <a:pt x="73" y="128"/>
                  <a:pt x="96" y="128"/>
                </a:cubicBezTo>
                <a:cubicBezTo>
                  <a:pt x="115" y="128"/>
                  <a:pt x="127" y="117"/>
                  <a:pt x="128" y="101"/>
                </a:cubicBezTo>
                <a:cubicBezTo>
                  <a:pt x="113" y="101"/>
                  <a:pt x="113" y="101"/>
                  <a:pt x="113" y="101"/>
                </a:cubicBezTo>
                <a:cubicBezTo>
                  <a:pt x="112" y="110"/>
                  <a:pt x="107" y="118"/>
                  <a:pt x="96" y="118"/>
                </a:cubicBezTo>
                <a:close/>
                <a:moveTo>
                  <a:pt x="39" y="24"/>
                </a:moveTo>
                <a:cubicBezTo>
                  <a:pt x="25" y="24"/>
                  <a:pt x="25" y="24"/>
                  <a:pt x="25" y="24"/>
                </a:cubicBezTo>
                <a:cubicBezTo>
                  <a:pt x="0" y="94"/>
                  <a:pt x="0" y="94"/>
                  <a:pt x="0" y="94"/>
                </a:cubicBezTo>
                <a:cubicBezTo>
                  <a:pt x="12" y="94"/>
                  <a:pt x="12" y="94"/>
                  <a:pt x="12" y="94"/>
                </a:cubicBezTo>
                <a:cubicBezTo>
                  <a:pt x="18" y="76"/>
                  <a:pt x="18" y="76"/>
                  <a:pt x="18" y="76"/>
                </a:cubicBezTo>
                <a:cubicBezTo>
                  <a:pt x="45" y="76"/>
                  <a:pt x="45" y="76"/>
                  <a:pt x="45" y="76"/>
                </a:cubicBezTo>
                <a:cubicBezTo>
                  <a:pt x="51" y="94"/>
                  <a:pt x="51" y="94"/>
                  <a:pt x="51" y="94"/>
                </a:cubicBezTo>
                <a:cubicBezTo>
                  <a:pt x="55" y="94"/>
                  <a:pt x="55" y="94"/>
                  <a:pt x="55" y="94"/>
                </a:cubicBezTo>
                <a:cubicBezTo>
                  <a:pt x="55" y="92"/>
                  <a:pt x="55" y="90"/>
                  <a:pt x="55" y="88"/>
                </a:cubicBezTo>
                <a:cubicBezTo>
                  <a:pt x="55" y="82"/>
                  <a:pt x="55" y="77"/>
                  <a:pt x="56" y="72"/>
                </a:cubicBezTo>
                <a:lnTo>
                  <a:pt x="39" y="24"/>
                </a:lnTo>
                <a:close/>
                <a:moveTo>
                  <a:pt x="21" y="67"/>
                </a:moveTo>
                <a:cubicBezTo>
                  <a:pt x="29" y="45"/>
                  <a:pt x="29" y="45"/>
                  <a:pt x="29" y="45"/>
                </a:cubicBezTo>
                <a:cubicBezTo>
                  <a:pt x="31" y="39"/>
                  <a:pt x="32" y="35"/>
                  <a:pt x="32" y="35"/>
                </a:cubicBezTo>
                <a:cubicBezTo>
                  <a:pt x="32" y="35"/>
                  <a:pt x="32" y="35"/>
                  <a:pt x="32" y="35"/>
                </a:cubicBezTo>
                <a:cubicBezTo>
                  <a:pt x="32" y="35"/>
                  <a:pt x="33" y="39"/>
                  <a:pt x="35" y="45"/>
                </a:cubicBezTo>
                <a:cubicBezTo>
                  <a:pt x="42" y="67"/>
                  <a:pt x="42" y="67"/>
                  <a:pt x="42" y="67"/>
                </a:cubicBezTo>
                <a:cubicBezTo>
                  <a:pt x="21" y="67"/>
                  <a:pt x="21" y="67"/>
                  <a:pt x="21" y="6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 name="Freeform 21">
            <a:extLst>
              <a:ext uri="{FF2B5EF4-FFF2-40B4-BE49-F238E27FC236}">
                <a16:creationId xmlns:a16="http://schemas.microsoft.com/office/drawing/2014/main" id="{C6B46345-500D-45CF-B534-4CFE1878401A}"/>
              </a:ext>
            </a:extLst>
          </p:cNvPr>
          <p:cNvSpPr>
            <a:spLocks noEditPoints="1"/>
          </p:cNvSpPr>
          <p:nvPr/>
        </p:nvSpPr>
        <p:spPr bwMode="auto">
          <a:xfrm>
            <a:off x="8167847" y="3246580"/>
            <a:ext cx="362620" cy="361230"/>
          </a:xfrm>
          <a:custGeom>
            <a:avLst/>
            <a:gdLst>
              <a:gd name="T0" fmla="*/ 0 w 128"/>
              <a:gd name="T1" fmla="*/ 64 h 128"/>
              <a:gd name="T2" fmla="*/ 128 w 128"/>
              <a:gd name="T3" fmla="*/ 64 h 128"/>
              <a:gd name="T4" fmla="*/ 90 w 128"/>
              <a:gd name="T5" fmla="*/ 60 h 128"/>
              <a:gd name="T6" fmla="*/ 68 w 128"/>
              <a:gd name="T7" fmla="*/ 40 h 128"/>
              <a:gd name="T8" fmla="*/ 90 w 128"/>
              <a:gd name="T9" fmla="*/ 60 h 128"/>
              <a:gd name="T10" fmla="*/ 90 w 128"/>
              <a:gd name="T11" fmla="*/ 68 h 128"/>
              <a:gd name="T12" fmla="*/ 68 w 128"/>
              <a:gd name="T13" fmla="*/ 88 h 128"/>
              <a:gd name="T14" fmla="*/ 120 w 128"/>
              <a:gd name="T15" fmla="*/ 60 h 128"/>
              <a:gd name="T16" fmla="*/ 95 w 128"/>
              <a:gd name="T17" fmla="*/ 40 h 128"/>
              <a:gd name="T18" fmla="*/ 120 w 128"/>
              <a:gd name="T19" fmla="*/ 60 h 128"/>
              <a:gd name="T20" fmla="*/ 93 w 128"/>
              <a:gd name="T21" fmla="*/ 32 h 128"/>
              <a:gd name="T22" fmla="*/ 110 w 128"/>
              <a:gd name="T23" fmla="*/ 32 h 128"/>
              <a:gd name="T24" fmla="*/ 68 w 128"/>
              <a:gd name="T25" fmla="*/ 32 h 128"/>
              <a:gd name="T26" fmla="*/ 86 w 128"/>
              <a:gd name="T27" fmla="*/ 32 h 128"/>
              <a:gd name="T28" fmla="*/ 60 w 128"/>
              <a:gd name="T29" fmla="*/ 32 h 128"/>
              <a:gd name="T30" fmla="*/ 60 w 128"/>
              <a:gd name="T31" fmla="*/ 8 h 128"/>
              <a:gd name="T32" fmla="*/ 35 w 128"/>
              <a:gd name="T33" fmla="*/ 32 h 128"/>
              <a:gd name="T34" fmla="*/ 45 w 128"/>
              <a:gd name="T35" fmla="*/ 12 h 128"/>
              <a:gd name="T36" fmla="*/ 33 w 128"/>
              <a:gd name="T37" fmla="*/ 40 h 128"/>
              <a:gd name="T38" fmla="*/ 8 w 128"/>
              <a:gd name="T39" fmla="*/ 60 h 128"/>
              <a:gd name="T40" fmla="*/ 8 w 128"/>
              <a:gd name="T41" fmla="*/ 68 h 128"/>
              <a:gd name="T42" fmla="*/ 33 w 128"/>
              <a:gd name="T43" fmla="*/ 88 h 128"/>
              <a:gd name="T44" fmla="*/ 8 w 128"/>
              <a:gd name="T45" fmla="*/ 68 h 128"/>
              <a:gd name="T46" fmla="*/ 35 w 128"/>
              <a:gd name="T47" fmla="*/ 96 h 128"/>
              <a:gd name="T48" fmla="*/ 18 w 128"/>
              <a:gd name="T49" fmla="*/ 96 h 128"/>
              <a:gd name="T50" fmla="*/ 42 w 128"/>
              <a:gd name="T51" fmla="*/ 96 h 128"/>
              <a:gd name="T52" fmla="*/ 60 w 128"/>
              <a:gd name="T53" fmla="*/ 120 h 128"/>
              <a:gd name="T54" fmla="*/ 40 w 128"/>
              <a:gd name="T55" fmla="*/ 88 h 128"/>
              <a:gd name="T56" fmla="*/ 60 w 128"/>
              <a:gd name="T57" fmla="*/ 68 h 128"/>
              <a:gd name="T58" fmla="*/ 38 w 128"/>
              <a:gd name="T59" fmla="*/ 60 h 128"/>
              <a:gd name="T60" fmla="*/ 60 w 128"/>
              <a:gd name="T61" fmla="*/ 40 h 128"/>
              <a:gd name="T62" fmla="*/ 38 w 128"/>
              <a:gd name="T63" fmla="*/ 60 h 128"/>
              <a:gd name="T64" fmla="*/ 68 w 128"/>
              <a:gd name="T65" fmla="*/ 96 h 128"/>
              <a:gd name="T66" fmla="*/ 68 w 128"/>
              <a:gd name="T67" fmla="*/ 120 h 128"/>
              <a:gd name="T68" fmla="*/ 93 w 128"/>
              <a:gd name="T69" fmla="*/ 96 h 128"/>
              <a:gd name="T70" fmla="*/ 83 w 128"/>
              <a:gd name="T71" fmla="*/ 116 h 128"/>
              <a:gd name="T72" fmla="*/ 95 w 128"/>
              <a:gd name="T73" fmla="*/ 88 h 128"/>
              <a:gd name="T74" fmla="*/ 120 w 128"/>
              <a:gd name="T75"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90" y="60"/>
                </a:moveTo>
                <a:cubicBezTo>
                  <a:pt x="68" y="60"/>
                  <a:pt x="68" y="60"/>
                  <a:pt x="68" y="60"/>
                </a:cubicBezTo>
                <a:cubicBezTo>
                  <a:pt x="68" y="40"/>
                  <a:pt x="68" y="40"/>
                  <a:pt x="68" y="40"/>
                </a:cubicBezTo>
                <a:cubicBezTo>
                  <a:pt x="88" y="40"/>
                  <a:pt x="88" y="40"/>
                  <a:pt x="88" y="40"/>
                </a:cubicBezTo>
                <a:cubicBezTo>
                  <a:pt x="89" y="46"/>
                  <a:pt x="90" y="53"/>
                  <a:pt x="90" y="60"/>
                </a:cubicBezTo>
                <a:close/>
                <a:moveTo>
                  <a:pt x="68" y="68"/>
                </a:moveTo>
                <a:cubicBezTo>
                  <a:pt x="90" y="68"/>
                  <a:pt x="90" y="68"/>
                  <a:pt x="90" y="68"/>
                </a:cubicBezTo>
                <a:cubicBezTo>
                  <a:pt x="90" y="75"/>
                  <a:pt x="89" y="82"/>
                  <a:pt x="88" y="88"/>
                </a:cubicBezTo>
                <a:cubicBezTo>
                  <a:pt x="68" y="88"/>
                  <a:pt x="68" y="88"/>
                  <a:pt x="68" y="88"/>
                </a:cubicBezTo>
                <a:lnTo>
                  <a:pt x="68" y="68"/>
                </a:lnTo>
                <a:close/>
                <a:moveTo>
                  <a:pt x="120" y="60"/>
                </a:moveTo>
                <a:cubicBezTo>
                  <a:pt x="98" y="60"/>
                  <a:pt x="98" y="60"/>
                  <a:pt x="98" y="60"/>
                </a:cubicBezTo>
                <a:cubicBezTo>
                  <a:pt x="98" y="53"/>
                  <a:pt x="97" y="46"/>
                  <a:pt x="95" y="40"/>
                </a:cubicBezTo>
                <a:cubicBezTo>
                  <a:pt x="115" y="40"/>
                  <a:pt x="115" y="40"/>
                  <a:pt x="115" y="40"/>
                </a:cubicBezTo>
                <a:cubicBezTo>
                  <a:pt x="117" y="46"/>
                  <a:pt x="119" y="53"/>
                  <a:pt x="120" y="60"/>
                </a:cubicBezTo>
                <a:close/>
                <a:moveTo>
                  <a:pt x="110" y="32"/>
                </a:moveTo>
                <a:cubicBezTo>
                  <a:pt x="93" y="32"/>
                  <a:pt x="93" y="32"/>
                  <a:pt x="93" y="32"/>
                </a:cubicBezTo>
                <a:cubicBezTo>
                  <a:pt x="91" y="24"/>
                  <a:pt x="88" y="17"/>
                  <a:pt x="83" y="12"/>
                </a:cubicBezTo>
                <a:cubicBezTo>
                  <a:pt x="94" y="16"/>
                  <a:pt x="103" y="23"/>
                  <a:pt x="110" y="32"/>
                </a:cubicBezTo>
                <a:close/>
                <a:moveTo>
                  <a:pt x="86" y="32"/>
                </a:moveTo>
                <a:cubicBezTo>
                  <a:pt x="68" y="32"/>
                  <a:pt x="68" y="32"/>
                  <a:pt x="68" y="32"/>
                </a:cubicBezTo>
                <a:cubicBezTo>
                  <a:pt x="68" y="8"/>
                  <a:pt x="68" y="8"/>
                  <a:pt x="68" y="8"/>
                </a:cubicBezTo>
                <a:cubicBezTo>
                  <a:pt x="75" y="11"/>
                  <a:pt x="81" y="19"/>
                  <a:pt x="86" y="32"/>
                </a:cubicBezTo>
                <a:close/>
                <a:moveTo>
                  <a:pt x="60" y="8"/>
                </a:moveTo>
                <a:cubicBezTo>
                  <a:pt x="60" y="32"/>
                  <a:pt x="60" y="32"/>
                  <a:pt x="60" y="32"/>
                </a:cubicBezTo>
                <a:cubicBezTo>
                  <a:pt x="42" y="32"/>
                  <a:pt x="42" y="32"/>
                  <a:pt x="42" y="32"/>
                </a:cubicBezTo>
                <a:cubicBezTo>
                  <a:pt x="47" y="19"/>
                  <a:pt x="53" y="11"/>
                  <a:pt x="60" y="8"/>
                </a:cubicBezTo>
                <a:close/>
                <a:moveTo>
                  <a:pt x="45" y="12"/>
                </a:moveTo>
                <a:cubicBezTo>
                  <a:pt x="40" y="17"/>
                  <a:pt x="37" y="24"/>
                  <a:pt x="35" y="32"/>
                </a:cubicBezTo>
                <a:cubicBezTo>
                  <a:pt x="18" y="32"/>
                  <a:pt x="18" y="32"/>
                  <a:pt x="18" y="32"/>
                </a:cubicBezTo>
                <a:cubicBezTo>
                  <a:pt x="25" y="23"/>
                  <a:pt x="34" y="16"/>
                  <a:pt x="45" y="12"/>
                </a:cubicBezTo>
                <a:close/>
                <a:moveTo>
                  <a:pt x="13" y="40"/>
                </a:moveTo>
                <a:cubicBezTo>
                  <a:pt x="33" y="40"/>
                  <a:pt x="33" y="40"/>
                  <a:pt x="33" y="40"/>
                </a:cubicBezTo>
                <a:cubicBezTo>
                  <a:pt x="31" y="46"/>
                  <a:pt x="30" y="53"/>
                  <a:pt x="30" y="60"/>
                </a:cubicBezTo>
                <a:cubicBezTo>
                  <a:pt x="8" y="60"/>
                  <a:pt x="8" y="60"/>
                  <a:pt x="8" y="60"/>
                </a:cubicBezTo>
                <a:cubicBezTo>
                  <a:pt x="9" y="53"/>
                  <a:pt x="11" y="46"/>
                  <a:pt x="13" y="40"/>
                </a:cubicBezTo>
                <a:close/>
                <a:moveTo>
                  <a:pt x="8" y="68"/>
                </a:moveTo>
                <a:cubicBezTo>
                  <a:pt x="30" y="68"/>
                  <a:pt x="30" y="68"/>
                  <a:pt x="30" y="68"/>
                </a:cubicBezTo>
                <a:cubicBezTo>
                  <a:pt x="30" y="75"/>
                  <a:pt x="31" y="82"/>
                  <a:pt x="33" y="88"/>
                </a:cubicBezTo>
                <a:cubicBezTo>
                  <a:pt x="13" y="88"/>
                  <a:pt x="13" y="88"/>
                  <a:pt x="13" y="88"/>
                </a:cubicBezTo>
                <a:cubicBezTo>
                  <a:pt x="11" y="82"/>
                  <a:pt x="9" y="75"/>
                  <a:pt x="8" y="68"/>
                </a:cubicBezTo>
                <a:close/>
                <a:moveTo>
                  <a:pt x="18" y="96"/>
                </a:moveTo>
                <a:cubicBezTo>
                  <a:pt x="35" y="96"/>
                  <a:pt x="35" y="96"/>
                  <a:pt x="35" y="96"/>
                </a:cubicBezTo>
                <a:cubicBezTo>
                  <a:pt x="37" y="104"/>
                  <a:pt x="40" y="111"/>
                  <a:pt x="45" y="116"/>
                </a:cubicBezTo>
                <a:cubicBezTo>
                  <a:pt x="34" y="112"/>
                  <a:pt x="25" y="105"/>
                  <a:pt x="18" y="96"/>
                </a:cubicBezTo>
                <a:close/>
                <a:moveTo>
                  <a:pt x="60" y="120"/>
                </a:moveTo>
                <a:cubicBezTo>
                  <a:pt x="53" y="117"/>
                  <a:pt x="47" y="109"/>
                  <a:pt x="42" y="96"/>
                </a:cubicBezTo>
                <a:cubicBezTo>
                  <a:pt x="60" y="96"/>
                  <a:pt x="60" y="96"/>
                  <a:pt x="60" y="96"/>
                </a:cubicBezTo>
                <a:lnTo>
                  <a:pt x="60" y="120"/>
                </a:lnTo>
                <a:close/>
                <a:moveTo>
                  <a:pt x="60" y="88"/>
                </a:moveTo>
                <a:cubicBezTo>
                  <a:pt x="40" y="88"/>
                  <a:pt x="40" y="88"/>
                  <a:pt x="40" y="88"/>
                </a:cubicBezTo>
                <a:cubicBezTo>
                  <a:pt x="39" y="82"/>
                  <a:pt x="38" y="75"/>
                  <a:pt x="38" y="68"/>
                </a:cubicBezTo>
                <a:cubicBezTo>
                  <a:pt x="60" y="68"/>
                  <a:pt x="60" y="68"/>
                  <a:pt x="60" y="68"/>
                </a:cubicBezTo>
                <a:lnTo>
                  <a:pt x="60" y="88"/>
                </a:lnTo>
                <a:close/>
                <a:moveTo>
                  <a:pt x="38" y="60"/>
                </a:moveTo>
                <a:cubicBezTo>
                  <a:pt x="38" y="53"/>
                  <a:pt x="39" y="46"/>
                  <a:pt x="40" y="40"/>
                </a:cubicBezTo>
                <a:cubicBezTo>
                  <a:pt x="60" y="40"/>
                  <a:pt x="60" y="40"/>
                  <a:pt x="60" y="40"/>
                </a:cubicBezTo>
                <a:cubicBezTo>
                  <a:pt x="60" y="60"/>
                  <a:pt x="60" y="60"/>
                  <a:pt x="60" y="60"/>
                </a:cubicBezTo>
                <a:lnTo>
                  <a:pt x="38" y="60"/>
                </a:lnTo>
                <a:close/>
                <a:moveTo>
                  <a:pt x="68" y="120"/>
                </a:moveTo>
                <a:cubicBezTo>
                  <a:pt x="68" y="96"/>
                  <a:pt x="68" y="96"/>
                  <a:pt x="68" y="96"/>
                </a:cubicBezTo>
                <a:cubicBezTo>
                  <a:pt x="86" y="96"/>
                  <a:pt x="86" y="96"/>
                  <a:pt x="86" y="96"/>
                </a:cubicBezTo>
                <a:cubicBezTo>
                  <a:pt x="81" y="109"/>
                  <a:pt x="75" y="117"/>
                  <a:pt x="68" y="120"/>
                </a:cubicBezTo>
                <a:close/>
                <a:moveTo>
                  <a:pt x="83" y="116"/>
                </a:moveTo>
                <a:cubicBezTo>
                  <a:pt x="88" y="111"/>
                  <a:pt x="91" y="104"/>
                  <a:pt x="93" y="96"/>
                </a:cubicBezTo>
                <a:cubicBezTo>
                  <a:pt x="110" y="96"/>
                  <a:pt x="110" y="96"/>
                  <a:pt x="110" y="96"/>
                </a:cubicBezTo>
                <a:cubicBezTo>
                  <a:pt x="103" y="105"/>
                  <a:pt x="94" y="112"/>
                  <a:pt x="83" y="116"/>
                </a:cubicBezTo>
                <a:close/>
                <a:moveTo>
                  <a:pt x="115" y="88"/>
                </a:moveTo>
                <a:cubicBezTo>
                  <a:pt x="95" y="88"/>
                  <a:pt x="95" y="88"/>
                  <a:pt x="95" y="88"/>
                </a:cubicBezTo>
                <a:cubicBezTo>
                  <a:pt x="97" y="82"/>
                  <a:pt x="98" y="75"/>
                  <a:pt x="98" y="68"/>
                </a:cubicBezTo>
                <a:cubicBezTo>
                  <a:pt x="120" y="68"/>
                  <a:pt x="120" y="68"/>
                  <a:pt x="120" y="68"/>
                </a:cubicBezTo>
                <a:cubicBezTo>
                  <a:pt x="119" y="75"/>
                  <a:pt x="117" y="82"/>
                  <a:pt x="115" y="8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9" name="Freeform 25">
            <a:extLst>
              <a:ext uri="{FF2B5EF4-FFF2-40B4-BE49-F238E27FC236}">
                <a16:creationId xmlns:a16="http://schemas.microsoft.com/office/drawing/2014/main" id="{D8E5EADD-AEB1-40B1-BFB1-B79401B1EA76}"/>
              </a:ext>
            </a:extLst>
          </p:cNvPr>
          <p:cNvSpPr>
            <a:spLocks noEditPoints="1"/>
          </p:cNvSpPr>
          <p:nvPr/>
        </p:nvSpPr>
        <p:spPr bwMode="auto">
          <a:xfrm>
            <a:off x="5057248" y="4103329"/>
            <a:ext cx="311214" cy="361230"/>
          </a:xfrm>
          <a:custGeom>
            <a:avLst/>
            <a:gdLst>
              <a:gd name="T0" fmla="*/ 34 w 110"/>
              <a:gd name="T1" fmla="*/ 29 h 128"/>
              <a:gd name="T2" fmla="*/ 41 w 110"/>
              <a:gd name="T3" fmla="*/ 40 h 128"/>
              <a:gd name="T4" fmla="*/ 45 w 110"/>
              <a:gd name="T5" fmla="*/ 48 h 128"/>
              <a:gd name="T6" fmla="*/ 46 w 110"/>
              <a:gd name="T7" fmla="*/ 52 h 128"/>
              <a:gd name="T8" fmla="*/ 43 w 110"/>
              <a:gd name="T9" fmla="*/ 57 h 128"/>
              <a:gd name="T10" fmla="*/ 36 w 110"/>
              <a:gd name="T11" fmla="*/ 70 h 128"/>
              <a:gd name="T12" fmla="*/ 27 w 110"/>
              <a:gd name="T13" fmla="*/ 87 h 128"/>
              <a:gd name="T14" fmla="*/ 25 w 110"/>
              <a:gd name="T15" fmla="*/ 89 h 128"/>
              <a:gd name="T16" fmla="*/ 22 w 110"/>
              <a:gd name="T17" fmla="*/ 90 h 128"/>
              <a:gd name="T18" fmla="*/ 3 w 110"/>
              <a:gd name="T19" fmla="*/ 90 h 128"/>
              <a:gd name="T20" fmla="*/ 2 w 110"/>
              <a:gd name="T21" fmla="*/ 90 h 128"/>
              <a:gd name="T22" fmla="*/ 1 w 110"/>
              <a:gd name="T23" fmla="*/ 89 h 128"/>
              <a:gd name="T24" fmla="*/ 0 w 110"/>
              <a:gd name="T25" fmla="*/ 87 h 128"/>
              <a:gd name="T26" fmla="*/ 1 w 110"/>
              <a:gd name="T27" fmla="*/ 86 h 128"/>
              <a:gd name="T28" fmla="*/ 21 w 110"/>
              <a:gd name="T29" fmla="*/ 51 h 128"/>
              <a:gd name="T30" fmla="*/ 8 w 110"/>
              <a:gd name="T31" fmla="*/ 29 h 128"/>
              <a:gd name="T32" fmla="*/ 8 w 110"/>
              <a:gd name="T33" fmla="*/ 28 h 128"/>
              <a:gd name="T34" fmla="*/ 8 w 110"/>
              <a:gd name="T35" fmla="*/ 26 h 128"/>
              <a:gd name="T36" fmla="*/ 9 w 110"/>
              <a:gd name="T37" fmla="*/ 26 h 128"/>
              <a:gd name="T38" fmla="*/ 11 w 110"/>
              <a:gd name="T39" fmla="*/ 25 h 128"/>
              <a:gd name="T40" fmla="*/ 30 w 110"/>
              <a:gd name="T41" fmla="*/ 25 h 128"/>
              <a:gd name="T42" fmla="*/ 33 w 110"/>
              <a:gd name="T43" fmla="*/ 26 h 128"/>
              <a:gd name="T44" fmla="*/ 34 w 110"/>
              <a:gd name="T45" fmla="*/ 29 h 128"/>
              <a:gd name="T46" fmla="*/ 108 w 110"/>
              <a:gd name="T47" fmla="*/ 0 h 128"/>
              <a:gd name="T48" fmla="*/ 109 w 110"/>
              <a:gd name="T49" fmla="*/ 1 h 128"/>
              <a:gd name="T50" fmla="*/ 110 w 110"/>
              <a:gd name="T51" fmla="*/ 2 h 128"/>
              <a:gd name="T52" fmla="*/ 109 w 110"/>
              <a:gd name="T53" fmla="*/ 4 h 128"/>
              <a:gd name="T54" fmla="*/ 68 w 110"/>
              <a:gd name="T55" fmla="*/ 76 h 128"/>
              <a:gd name="T56" fmla="*/ 94 w 110"/>
              <a:gd name="T57" fmla="*/ 124 h 128"/>
              <a:gd name="T58" fmla="*/ 94 w 110"/>
              <a:gd name="T59" fmla="*/ 125 h 128"/>
              <a:gd name="T60" fmla="*/ 94 w 110"/>
              <a:gd name="T61" fmla="*/ 127 h 128"/>
              <a:gd name="T62" fmla="*/ 93 w 110"/>
              <a:gd name="T63" fmla="*/ 128 h 128"/>
              <a:gd name="T64" fmla="*/ 91 w 110"/>
              <a:gd name="T65" fmla="*/ 128 h 128"/>
              <a:gd name="T66" fmla="*/ 73 w 110"/>
              <a:gd name="T67" fmla="*/ 128 h 128"/>
              <a:gd name="T68" fmla="*/ 70 w 110"/>
              <a:gd name="T69" fmla="*/ 127 h 128"/>
              <a:gd name="T70" fmla="*/ 68 w 110"/>
              <a:gd name="T71" fmla="*/ 124 h 128"/>
              <a:gd name="T72" fmla="*/ 55 w 110"/>
              <a:gd name="T73" fmla="*/ 100 h 128"/>
              <a:gd name="T74" fmla="*/ 42 w 110"/>
              <a:gd name="T75" fmla="*/ 76 h 128"/>
              <a:gd name="T76" fmla="*/ 49 w 110"/>
              <a:gd name="T77" fmla="*/ 64 h 128"/>
              <a:gd name="T78" fmla="*/ 63 w 110"/>
              <a:gd name="T79" fmla="*/ 39 h 128"/>
              <a:gd name="T80" fmla="*/ 83 w 110"/>
              <a:gd name="T81" fmla="*/ 3 h 128"/>
              <a:gd name="T82" fmla="*/ 85 w 110"/>
              <a:gd name="T83" fmla="*/ 1 h 128"/>
              <a:gd name="T84" fmla="*/ 88 w 110"/>
              <a:gd name="T85" fmla="*/ 0 h 128"/>
              <a:gd name="T86" fmla="*/ 107 w 110"/>
              <a:gd name="T87" fmla="*/ 0 h 128"/>
              <a:gd name="T88" fmla="*/ 108 w 110"/>
              <a:gd name="T8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 h="128">
                <a:moveTo>
                  <a:pt x="34" y="29"/>
                </a:moveTo>
                <a:cubicBezTo>
                  <a:pt x="37" y="33"/>
                  <a:pt x="39" y="37"/>
                  <a:pt x="41" y="40"/>
                </a:cubicBezTo>
                <a:cubicBezTo>
                  <a:pt x="42" y="43"/>
                  <a:pt x="43" y="45"/>
                  <a:pt x="45" y="48"/>
                </a:cubicBezTo>
                <a:cubicBezTo>
                  <a:pt x="46" y="50"/>
                  <a:pt x="47" y="52"/>
                  <a:pt x="46" y="52"/>
                </a:cubicBezTo>
                <a:cubicBezTo>
                  <a:pt x="46" y="52"/>
                  <a:pt x="45" y="54"/>
                  <a:pt x="43" y="57"/>
                </a:cubicBezTo>
                <a:cubicBezTo>
                  <a:pt x="41" y="61"/>
                  <a:pt x="39" y="65"/>
                  <a:pt x="36" y="70"/>
                </a:cubicBezTo>
                <a:cubicBezTo>
                  <a:pt x="34" y="74"/>
                  <a:pt x="31" y="80"/>
                  <a:pt x="27" y="87"/>
                </a:cubicBezTo>
                <a:cubicBezTo>
                  <a:pt x="26" y="88"/>
                  <a:pt x="25" y="88"/>
                  <a:pt x="25" y="89"/>
                </a:cubicBezTo>
                <a:cubicBezTo>
                  <a:pt x="24" y="90"/>
                  <a:pt x="23" y="90"/>
                  <a:pt x="22" y="90"/>
                </a:cubicBezTo>
                <a:cubicBezTo>
                  <a:pt x="3" y="90"/>
                  <a:pt x="3" y="90"/>
                  <a:pt x="3" y="90"/>
                </a:cubicBezTo>
                <a:cubicBezTo>
                  <a:pt x="3" y="90"/>
                  <a:pt x="2" y="90"/>
                  <a:pt x="2" y="90"/>
                </a:cubicBezTo>
                <a:cubicBezTo>
                  <a:pt x="1" y="90"/>
                  <a:pt x="1" y="89"/>
                  <a:pt x="1" y="89"/>
                </a:cubicBezTo>
                <a:cubicBezTo>
                  <a:pt x="0" y="88"/>
                  <a:pt x="0" y="88"/>
                  <a:pt x="0" y="87"/>
                </a:cubicBezTo>
                <a:cubicBezTo>
                  <a:pt x="0" y="87"/>
                  <a:pt x="0" y="86"/>
                  <a:pt x="1" y="86"/>
                </a:cubicBezTo>
                <a:cubicBezTo>
                  <a:pt x="21" y="51"/>
                  <a:pt x="21" y="51"/>
                  <a:pt x="21" y="51"/>
                </a:cubicBezTo>
                <a:cubicBezTo>
                  <a:pt x="8" y="29"/>
                  <a:pt x="8" y="29"/>
                  <a:pt x="8" y="29"/>
                </a:cubicBezTo>
                <a:cubicBezTo>
                  <a:pt x="8" y="29"/>
                  <a:pt x="8" y="28"/>
                  <a:pt x="8" y="28"/>
                </a:cubicBezTo>
                <a:cubicBezTo>
                  <a:pt x="8" y="27"/>
                  <a:pt x="8" y="27"/>
                  <a:pt x="8" y="26"/>
                </a:cubicBezTo>
                <a:cubicBezTo>
                  <a:pt x="8" y="26"/>
                  <a:pt x="9" y="26"/>
                  <a:pt x="9" y="26"/>
                </a:cubicBezTo>
                <a:cubicBezTo>
                  <a:pt x="10" y="25"/>
                  <a:pt x="10" y="25"/>
                  <a:pt x="11" y="25"/>
                </a:cubicBezTo>
                <a:cubicBezTo>
                  <a:pt x="30" y="25"/>
                  <a:pt x="30" y="25"/>
                  <a:pt x="30" y="25"/>
                </a:cubicBezTo>
                <a:cubicBezTo>
                  <a:pt x="31" y="25"/>
                  <a:pt x="32" y="26"/>
                  <a:pt x="33" y="26"/>
                </a:cubicBezTo>
                <a:cubicBezTo>
                  <a:pt x="33" y="27"/>
                  <a:pt x="34" y="28"/>
                  <a:pt x="34" y="29"/>
                </a:cubicBezTo>
                <a:close/>
                <a:moveTo>
                  <a:pt x="108" y="0"/>
                </a:moveTo>
                <a:cubicBezTo>
                  <a:pt x="109" y="1"/>
                  <a:pt x="109" y="1"/>
                  <a:pt x="109" y="1"/>
                </a:cubicBezTo>
                <a:cubicBezTo>
                  <a:pt x="110" y="1"/>
                  <a:pt x="110" y="2"/>
                  <a:pt x="110" y="2"/>
                </a:cubicBezTo>
                <a:cubicBezTo>
                  <a:pt x="110" y="3"/>
                  <a:pt x="110" y="4"/>
                  <a:pt x="109" y="4"/>
                </a:cubicBezTo>
                <a:cubicBezTo>
                  <a:pt x="68" y="76"/>
                  <a:pt x="68" y="76"/>
                  <a:pt x="68" y="76"/>
                </a:cubicBezTo>
                <a:cubicBezTo>
                  <a:pt x="94" y="124"/>
                  <a:pt x="94" y="124"/>
                  <a:pt x="94" y="124"/>
                </a:cubicBezTo>
                <a:cubicBezTo>
                  <a:pt x="94" y="124"/>
                  <a:pt x="94" y="125"/>
                  <a:pt x="94" y="125"/>
                </a:cubicBezTo>
                <a:cubicBezTo>
                  <a:pt x="94" y="126"/>
                  <a:pt x="94" y="126"/>
                  <a:pt x="94" y="127"/>
                </a:cubicBezTo>
                <a:cubicBezTo>
                  <a:pt x="94" y="127"/>
                  <a:pt x="93" y="127"/>
                  <a:pt x="93" y="128"/>
                </a:cubicBezTo>
                <a:cubicBezTo>
                  <a:pt x="92" y="128"/>
                  <a:pt x="92" y="128"/>
                  <a:pt x="91" y="128"/>
                </a:cubicBezTo>
                <a:cubicBezTo>
                  <a:pt x="73" y="128"/>
                  <a:pt x="73" y="128"/>
                  <a:pt x="73" y="128"/>
                </a:cubicBezTo>
                <a:cubicBezTo>
                  <a:pt x="72" y="128"/>
                  <a:pt x="71" y="128"/>
                  <a:pt x="70" y="127"/>
                </a:cubicBezTo>
                <a:cubicBezTo>
                  <a:pt x="69" y="126"/>
                  <a:pt x="69" y="125"/>
                  <a:pt x="68" y="124"/>
                </a:cubicBezTo>
                <a:cubicBezTo>
                  <a:pt x="63" y="114"/>
                  <a:pt x="58" y="106"/>
                  <a:pt x="55" y="100"/>
                </a:cubicBezTo>
                <a:cubicBezTo>
                  <a:pt x="52" y="94"/>
                  <a:pt x="47" y="86"/>
                  <a:pt x="42" y="76"/>
                </a:cubicBezTo>
                <a:cubicBezTo>
                  <a:pt x="42" y="76"/>
                  <a:pt x="45" y="72"/>
                  <a:pt x="49" y="64"/>
                </a:cubicBezTo>
                <a:cubicBezTo>
                  <a:pt x="53" y="56"/>
                  <a:pt x="58" y="48"/>
                  <a:pt x="63" y="39"/>
                </a:cubicBezTo>
                <a:cubicBezTo>
                  <a:pt x="68" y="30"/>
                  <a:pt x="75" y="18"/>
                  <a:pt x="83" y="3"/>
                </a:cubicBezTo>
                <a:cubicBezTo>
                  <a:pt x="83" y="3"/>
                  <a:pt x="84" y="2"/>
                  <a:pt x="85" y="1"/>
                </a:cubicBezTo>
                <a:cubicBezTo>
                  <a:pt x="85" y="0"/>
                  <a:pt x="86" y="0"/>
                  <a:pt x="88" y="0"/>
                </a:cubicBezTo>
                <a:cubicBezTo>
                  <a:pt x="107" y="0"/>
                  <a:pt x="107" y="0"/>
                  <a:pt x="107" y="0"/>
                </a:cubicBezTo>
                <a:cubicBezTo>
                  <a:pt x="107" y="0"/>
                  <a:pt x="108" y="0"/>
                  <a:pt x="108"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0" name="Freeform 29">
            <a:extLst>
              <a:ext uri="{FF2B5EF4-FFF2-40B4-BE49-F238E27FC236}">
                <a16:creationId xmlns:a16="http://schemas.microsoft.com/office/drawing/2014/main" id="{029F8709-11ED-4A42-845C-1F188E8A20B4}"/>
              </a:ext>
            </a:extLst>
          </p:cNvPr>
          <p:cNvSpPr>
            <a:spLocks noEditPoints="1"/>
          </p:cNvSpPr>
          <p:nvPr/>
        </p:nvSpPr>
        <p:spPr bwMode="auto">
          <a:xfrm>
            <a:off x="6065973" y="4208629"/>
            <a:ext cx="384636" cy="255930"/>
          </a:xfrm>
          <a:custGeom>
            <a:avLst/>
            <a:gdLst>
              <a:gd name="T0" fmla="*/ 112 w 128"/>
              <a:gd name="T1" fmla="*/ 0 h 84"/>
              <a:gd name="T2" fmla="*/ 111 w 128"/>
              <a:gd name="T3" fmla="*/ 0 h 84"/>
              <a:gd name="T4" fmla="*/ 111 w 128"/>
              <a:gd name="T5" fmla="*/ 0 h 84"/>
              <a:gd name="T6" fmla="*/ 16 w 128"/>
              <a:gd name="T7" fmla="*/ 0 h 84"/>
              <a:gd name="T8" fmla="*/ 16 w 128"/>
              <a:gd name="T9" fmla="*/ 0 h 84"/>
              <a:gd name="T10" fmla="*/ 0 w 128"/>
              <a:gd name="T11" fmla="*/ 42 h 84"/>
              <a:gd name="T12" fmla="*/ 16 w 128"/>
              <a:gd name="T13" fmla="*/ 84 h 84"/>
              <a:gd name="T14" fmla="*/ 16 w 128"/>
              <a:gd name="T15" fmla="*/ 84 h 84"/>
              <a:gd name="T16" fmla="*/ 111 w 128"/>
              <a:gd name="T17" fmla="*/ 84 h 84"/>
              <a:gd name="T18" fmla="*/ 111 w 128"/>
              <a:gd name="T19" fmla="*/ 84 h 84"/>
              <a:gd name="T20" fmla="*/ 112 w 128"/>
              <a:gd name="T21" fmla="*/ 84 h 84"/>
              <a:gd name="T22" fmla="*/ 128 w 128"/>
              <a:gd name="T23" fmla="*/ 42 h 84"/>
              <a:gd name="T24" fmla="*/ 112 w 128"/>
              <a:gd name="T25" fmla="*/ 0 h 84"/>
              <a:gd name="T26" fmla="*/ 57 w 128"/>
              <a:gd name="T27" fmla="*/ 63 h 84"/>
              <a:gd name="T28" fmla="*/ 57 w 128"/>
              <a:gd name="T29" fmla="*/ 21 h 84"/>
              <a:gd name="T30" fmla="*/ 78 w 128"/>
              <a:gd name="T31" fmla="*/ 42 h 84"/>
              <a:gd name="T32" fmla="*/ 57 w 128"/>
              <a:gd name="T33" fmla="*/ 6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84">
                <a:moveTo>
                  <a:pt x="112" y="0"/>
                </a:moveTo>
                <a:cubicBezTo>
                  <a:pt x="112" y="0"/>
                  <a:pt x="111" y="0"/>
                  <a:pt x="111" y="0"/>
                </a:cubicBezTo>
                <a:cubicBezTo>
                  <a:pt x="111" y="0"/>
                  <a:pt x="111" y="0"/>
                  <a:pt x="111" y="0"/>
                </a:cubicBezTo>
                <a:cubicBezTo>
                  <a:pt x="16" y="0"/>
                  <a:pt x="16" y="0"/>
                  <a:pt x="16" y="0"/>
                </a:cubicBezTo>
                <a:cubicBezTo>
                  <a:pt x="16" y="0"/>
                  <a:pt x="16" y="0"/>
                  <a:pt x="16" y="0"/>
                </a:cubicBezTo>
                <a:cubicBezTo>
                  <a:pt x="7" y="0"/>
                  <a:pt x="0" y="19"/>
                  <a:pt x="0" y="42"/>
                </a:cubicBezTo>
                <a:cubicBezTo>
                  <a:pt x="0" y="65"/>
                  <a:pt x="7" y="84"/>
                  <a:pt x="16" y="84"/>
                </a:cubicBezTo>
                <a:cubicBezTo>
                  <a:pt x="16" y="84"/>
                  <a:pt x="16" y="84"/>
                  <a:pt x="16" y="84"/>
                </a:cubicBezTo>
                <a:cubicBezTo>
                  <a:pt x="111" y="84"/>
                  <a:pt x="111" y="84"/>
                  <a:pt x="111" y="84"/>
                </a:cubicBezTo>
                <a:cubicBezTo>
                  <a:pt x="111" y="84"/>
                  <a:pt x="111" y="84"/>
                  <a:pt x="111" y="84"/>
                </a:cubicBezTo>
                <a:cubicBezTo>
                  <a:pt x="111" y="84"/>
                  <a:pt x="112" y="84"/>
                  <a:pt x="112" y="84"/>
                </a:cubicBezTo>
                <a:cubicBezTo>
                  <a:pt x="121" y="84"/>
                  <a:pt x="128" y="65"/>
                  <a:pt x="128" y="42"/>
                </a:cubicBezTo>
                <a:cubicBezTo>
                  <a:pt x="128" y="19"/>
                  <a:pt x="121" y="0"/>
                  <a:pt x="112" y="0"/>
                </a:cubicBezTo>
                <a:close/>
                <a:moveTo>
                  <a:pt x="57" y="63"/>
                </a:moveTo>
                <a:cubicBezTo>
                  <a:pt x="57" y="21"/>
                  <a:pt x="57" y="21"/>
                  <a:pt x="57" y="21"/>
                </a:cubicBezTo>
                <a:cubicBezTo>
                  <a:pt x="78" y="42"/>
                  <a:pt x="78" y="42"/>
                  <a:pt x="78" y="42"/>
                </a:cubicBezTo>
                <a:lnTo>
                  <a:pt x="57" y="6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1" name="Freeform 33">
            <a:extLst>
              <a:ext uri="{FF2B5EF4-FFF2-40B4-BE49-F238E27FC236}">
                <a16:creationId xmlns:a16="http://schemas.microsoft.com/office/drawing/2014/main" id="{BD90B36C-1227-4A77-8201-63C7CD19717C}"/>
              </a:ext>
            </a:extLst>
          </p:cNvPr>
          <p:cNvSpPr>
            <a:spLocks/>
          </p:cNvSpPr>
          <p:nvPr/>
        </p:nvSpPr>
        <p:spPr bwMode="auto">
          <a:xfrm>
            <a:off x="7110612" y="4078443"/>
            <a:ext cx="384636" cy="386116"/>
          </a:xfrm>
          <a:custGeom>
            <a:avLst/>
            <a:gdLst>
              <a:gd name="T0" fmla="*/ 260 w 260"/>
              <a:gd name="T1" fmla="*/ 147 h 261"/>
              <a:gd name="T2" fmla="*/ 146 w 260"/>
              <a:gd name="T3" fmla="*/ 147 h 261"/>
              <a:gd name="T4" fmla="*/ 146 w 260"/>
              <a:gd name="T5" fmla="*/ 261 h 261"/>
              <a:gd name="T6" fmla="*/ 114 w 260"/>
              <a:gd name="T7" fmla="*/ 261 h 261"/>
              <a:gd name="T8" fmla="*/ 114 w 260"/>
              <a:gd name="T9" fmla="*/ 147 h 261"/>
              <a:gd name="T10" fmla="*/ 0 w 260"/>
              <a:gd name="T11" fmla="*/ 147 h 261"/>
              <a:gd name="T12" fmla="*/ 0 w 260"/>
              <a:gd name="T13" fmla="*/ 114 h 261"/>
              <a:gd name="T14" fmla="*/ 114 w 260"/>
              <a:gd name="T15" fmla="*/ 114 h 261"/>
              <a:gd name="T16" fmla="*/ 114 w 260"/>
              <a:gd name="T17" fmla="*/ 0 h 261"/>
              <a:gd name="T18" fmla="*/ 146 w 260"/>
              <a:gd name="T19" fmla="*/ 0 h 261"/>
              <a:gd name="T20" fmla="*/ 146 w 260"/>
              <a:gd name="T21" fmla="*/ 114 h 261"/>
              <a:gd name="T22" fmla="*/ 260 w 260"/>
              <a:gd name="T23" fmla="*/ 114 h 261"/>
              <a:gd name="T24" fmla="*/ 260 w 260"/>
              <a:gd name="T25" fmla="*/ 14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261">
                <a:moveTo>
                  <a:pt x="260" y="147"/>
                </a:moveTo>
                <a:lnTo>
                  <a:pt x="146" y="147"/>
                </a:lnTo>
                <a:lnTo>
                  <a:pt x="146" y="261"/>
                </a:lnTo>
                <a:lnTo>
                  <a:pt x="114" y="261"/>
                </a:lnTo>
                <a:lnTo>
                  <a:pt x="114" y="147"/>
                </a:lnTo>
                <a:lnTo>
                  <a:pt x="0" y="147"/>
                </a:lnTo>
                <a:lnTo>
                  <a:pt x="0" y="114"/>
                </a:lnTo>
                <a:lnTo>
                  <a:pt x="114" y="114"/>
                </a:lnTo>
                <a:lnTo>
                  <a:pt x="114" y="0"/>
                </a:lnTo>
                <a:lnTo>
                  <a:pt x="146" y="0"/>
                </a:lnTo>
                <a:lnTo>
                  <a:pt x="146" y="114"/>
                </a:lnTo>
                <a:lnTo>
                  <a:pt x="260" y="114"/>
                </a:lnTo>
                <a:lnTo>
                  <a:pt x="260" y="14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2" name="Rectangle 37">
            <a:extLst>
              <a:ext uri="{FF2B5EF4-FFF2-40B4-BE49-F238E27FC236}">
                <a16:creationId xmlns:a16="http://schemas.microsoft.com/office/drawing/2014/main" id="{C465DBDE-2693-4831-83B5-F561B37FF89C}"/>
              </a:ext>
            </a:extLst>
          </p:cNvPr>
          <p:cNvSpPr>
            <a:spLocks noChangeArrowheads="1"/>
          </p:cNvSpPr>
          <p:nvPr/>
        </p:nvSpPr>
        <p:spPr bwMode="auto">
          <a:xfrm>
            <a:off x="8156102" y="4244134"/>
            <a:ext cx="386110" cy="54734"/>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0" name="Freihandform: Form 112">
            <a:extLst>
              <a:ext uri="{FF2B5EF4-FFF2-40B4-BE49-F238E27FC236}">
                <a16:creationId xmlns:a16="http://schemas.microsoft.com/office/drawing/2014/main" id="{3970F9BB-2EDC-4795-8B51-C85DC77943F8}"/>
              </a:ext>
            </a:extLst>
          </p:cNvPr>
          <p:cNvSpPr>
            <a:spLocks noChangeAspect="1"/>
          </p:cNvSpPr>
          <p:nvPr/>
        </p:nvSpPr>
        <p:spPr>
          <a:xfrm>
            <a:off x="587050" y="2549834"/>
            <a:ext cx="414000" cy="269100"/>
          </a:xfrm>
          <a:custGeom>
            <a:avLst/>
            <a:gdLst>
              <a:gd name="connsiteX0" fmla="*/ 190500 w 190500"/>
              <a:gd name="connsiteY0" fmla="*/ 38090 h 123825"/>
              <a:gd name="connsiteX1" fmla="*/ 190500 w 190500"/>
              <a:gd name="connsiteY1" fmla="*/ 133340 h 123825"/>
              <a:gd name="connsiteX2" fmla="*/ 171450 w 190500"/>
              <a:gd name="connsiteY2" fmla="*/ 133340 h 123825"/>
              <a:gd name="connsiteX3" fmla="*/ 171450 w 190500"/>
              <a:gd name="connsiteY3" fmla="*/ 57140 h 123825"/>
              <a:gd name="connsiteX4" fmla="*/ 36452 w 190500"/>
              <a:gd name="connsiteY4" fmla="*/ 57140 h 123825"/>
              <a:gd name="connsiteX5" fmla="*/ 61084 w 190500"/>
              <a:gd name="connsiteY5" fmla="*/ 81772 h 123825"/>
              <a:gd name="connsiteX6" fmla="*/ 47615 w 190500"/>
              <a:gd name="connsiteY6" fmla="*/ 95240 h 123825"/>
              <a:gd name="connsiteX7" fmla="*/ 0 w 190500"/>
              <a:gd name="connsiteY7" fmla="*/ 47635 h 123825"/>
              <a:gd name="connsiteX8" fmla="*/ 10 w 190500"/>
              <a:gd name="connsiteY8" fmla="*/ 47625 h 123825"/>
              <a:gd name="connsiteX9" fmla="*/ 47635 w 190500"/>
              <a:gd name="connsiteY9" fmla="*/ 0 h 123825"/>
              <a:gd name="connsiteX10" fmla="*/ 61084 w 190500"/>
              <a:gd name="connsiteY10" fmla="*/ 13449 h 123825"/>
              <a:gd name="connsiteX11" fmla="*/ 36433 w 190500"/>
              <a:gd name="connsiteY11" fmla="*/ 38090 h 123825"/>
              <a:gd name="connsiteX12" fmla="*/ 190500 w 190500"/>
              <a:gd name="connsiteY12" fmla="*/ 3809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23825">
                <a:moveTo>
                  <a:pt x="190500" y="38090"/>
                </a:moveTo>
                <a:lnTo>
                  <a:pt x="190500" y="133340"/>
                </a:lnTo>
                <a:lnTo>
                  <a:pt x="171450" y="133340"/>
                </a:lnTo>
                <a:lnTo>
                  <a:pt x="171450" y="57140"/>
                </a:lnTo>
                <a:lnTo>
                  <a:pt x="36452" y="57140"/>
                </a:lnTo>
                <a:lnTo>
                  <a:pt x="61084" y="81772"/>
                </a:lnTo>
                <a:lnTo>
                  <a:pt x="47615" y="95240"/>
                </a:lnTo>
                <a:lnTo>
                  <a:pt x="0" y="47635"/>
                </a:lnTo>
                <a:lnTo>
                  <a:pt x="10" y="47625"/>
                </a:lnTo>
                <a:lnTo>
                  <a:pt x="47635" y="0"/>
                </a:lnTo>
                <a:lnTo>
                  <a:pt x="61084" y="13449"/>
                </a:lnTo>
                <a:lnTo>
                  <a:pt x="36433" y="38090"/>
                </a:lnTo>
                <a:lnTo>
                  <a:pt x="190500" y="38090"/>
                </a:lnTo>
                <a:close/>
              </a:path>
            </a:pathLst>
          </a:custGeom>
          <a:solidFill>
            <a:schemeClr val="tx2"/>
          </a:solidFill>
          <a:ln w="9525" cap="flat">
            <a:noFill/>
            <a:prstDash val="solid"/>
            <a:miter/>
          </a:ln>
        </p:spPr>
        <p:txBody>
          <a:bodyPr rtlCol="0" anchor="ctr"/>
          <a:lstStyle/>
          <a:p>
            <a:endParaRPr lang="en-GB" dirty="0"/>
          </a:p>
        </p:txBody>
      </p:sp>
      <p:sp>
        <p:nvSpPr>
          <p:cNvPr id="71" name="Freihandform: Form 116">
            <a:extLst>
              <a:ext uri="{FF2B5EF4-FFF2-40B4-BE49-F238E27FC236}">
                <a16:creationId xmlns:a16="http://schemas.microsoft.com/office/drawing/2014/main" id="{36CE8A0A-277A-4394-910C-EDA060BB9683}"/>
              </a:ext>
            </a:extLst>
          </p:cNvPr>
          <p:cNvSpPr>
            <a:spLocks noChangeAspect="1"/>
          </p:cNvSpPr>
          <p:nvPr/>
        </p:nvSpPr>
        <p:spPr>
          <a:xfrm>
            <a:off x="1666801" y="2529134"/>
            <a:ext cx="414000" cy="289800"/>
          </a:xfrm>
          <a:custGeom>
            <a:avLst/>
            <a:gdLst>
              <a:gd name="connsiteX0" fmla="*/ 47625 w 190500"/>
              <a:gd name="connsiteY0" fmla="*/ 0 h 133350"/>
              <a:gd name="connsiteX1" fmla="*/ 47625 w 190500"/>
              <a:gd name="connsiteY1" fmla="*/ 38100 h 133350"/>
              <a:gd name="connsiteX2" fmla="*/ 190500 w 190500"/>
              <a:gd name="connsiteY2" fmla="*/ 38100 h 133350"/>
              <a:gd name="connsiteX3" fmla="*/ 190500 w 190500"/>
              <a:gd name="connsiteY3" fmla="*/ 133350 h 133350"/>
              <a:gd name="connsiteX4" fmla="*/ 171307 w 190500"/>
              <a:gd name="connsiteY4" fmla="*/ 133350 h 133350"/>
              <a:gd name="connsiteX5" fmla="*/ 171450 w 190500"/>
              <a:gd name="connsiteY5" fmla="*/ 57150 h 133350"/>
              <a:gd name="connsiteX6" fmla="*/ 47625 w 190500"/>
              <a:gd name="connsiteY6" fmla="*/ 57150 h 133350"/>
              <a:gd name="connsiteX7" fmla="*/ 47625 w 190500"/>
              <a:gd name="connsiteY7" fmla="*/ 95250 h 133350"/>
              <a:gd name="connsiteX8" fmla="*/ 0 w 190500"/>
              <a:gd name="connsiteY8" fmla="*/ 47625 h 133350"/>
              <a:gd name="connsiteX9" fmla="*/ 47625 w 190500"/>
              <a:gd name="connsiteY9"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133350">
                <a:moveTo>
                  <a:pt x="47625" y="0"/>
                </a:moveTo>
                <a:lnTo>
                  <a:pt x="47625" y="38100"/>
                </a:lnTo>
                <a:lnTo>
                  <a:pt x="190500" y="38100"/>
                </a:lnTo>
                <a:lnTo>
                  <a:pt x="190500" y="133350"/>
                </a:lnTo>
                <a:lnTo>
                  <a:pt x="171307" y="133350"/>
                </a:lnTo>
                <a:lnTo>
                  <a:pt x="171450" y="57150"/>
                </a:lnTo>
                <a:lnTo>
                  <a:pt x="47625" y="57150"/>
                </a:lnTo>
                <a:lnTo>
                  <a:pt x="47625" y="95250"/>
                </a:lnTo>
                <a:lnTo>
                  <a:pt x="0" y="47625"/>
                </a:lnTo>
                <a:lnTo>
                  <a:pt x="47625" y="0"/>
                </a:lnTo>
                <a:close/>
              </a:path>
            </a:pathLst>
          </a:custGeom>
          <a:solidFill>
            <a:schemeClr val="tx2"/>
          </a:solidFill>
          <a:ln w="9525" cap="flat">
            <a:noFill/>
            <a:prstDash val="solid"/>
            <a:miter/>
          </a:ln>
        </p:spPr>
        <p:txBody>
          <a:bodyPr rtlCol="0" anchor="ctr"/>
          <a:lstStyle/>
          <a:p>
            <a:endParaRPr lang="en-GB" dirty="0"/>
          </a:p>
        </p:txBody>
      </p:sp>
      <p:sp>
        <p:nvSpPr>
          <p:cNvPr id="72" name="Freihandform: Form 120">
            <a:extLst>
              <a:ext uri="{FF2B5EF4-FFF2-40B4-BE49-F238E27FC236}">
                <a16:creationId xmlns:a16="http://schemas.microsoft.com/office/drawing/2014/main" id="{0666D123-E1AB-4830-98BA-2BBB10D714D3}"/>
              </a:ext>
            </a:extLst>
          </p:cNvPr>
          <p:cNvSpPr>
            <a:spLocks noChangeAspect="1"/>
          </p:cNvSpPr>
          <p:nvPr/>
        </p:nvSpPr>
        <p:spPr>
          <a:xfrm>
            <a:off x="2677917" y="2529134"/>
            <a:ext cx="414000" cy="289800"/>
          </a:xfrm>
          <a:custGeom>
            <a:avLst/>
            <a:gdLst>
              <a:gd name="connsiteX0" fmla="*/ 57150 w 190500"/>
              <a:gd name="connsiteY0" fmla="*/ 0 h 133350"/>
              <a:gd name="connsiteX1" fmla="*/ 57150 w 190500"/>
              <a:gd name="connsiteY1" fmla="*/ 38100 h 133350"/>
              <a:gd name="connsiteX2" fmla="*/ 190500 w 190500"/>
              <a:gd name="connsiteY2" fmla="*/ 38100 h 133350"/>
              <a:gd name="connsiteX3" fmla="*/ 190500 w 190500"/>
              <a:gd name="connsiteY3" fmla="*/ 133350 h 133350"/>
              <a:gd name="connsiteX4" fmla="*/ 152400 w 190500"/>
              <a:gd name="connsiteY4" fmla="*/ 133350 h 133350"/>
              <a:gd name="connsiteX5" fmla="*/ 152543 w 190500"/>
              <a:gd name="connsiteY5" fmla="*/ 76200 h 133350"/>
              <a:gd name="connsiteX6" fmla="*/ 57150 w 190500"/>
              <a:gd name="connsiteY6" fmla="*/ 76200 h 133350"/>
              <a:gd name="connsiteX7" fmla="*/ 57150 w 190500"/>
              <a:gd name="connsiteY7" fmla="*/ 114300 h 133350"/>
              <a:gd name="connsiteX8" fmla="*/ 0 w 190500"/>
              <a:gd name="connsiteY8" fmla="*/ 57150 h 133350"/>
              <a:gd name="connsiteX9" fmla="*/ 57150 w 190500"/>
              <a:gd name="connsiteY9" fmla="*/ 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133350">
                <a:moveTo>
                  <a:pt x="57150" y="0"/>
                </a:moveTo>
                <a:lnTo>
                  <a:pt x="57150" y="38100"/>
                </a:lnTo>
                <a:lnTo>
                  <a:pt x="190500" y="38100"/>
                </a:lnTo>
                <a:lnTo>
                  <a:pt x="190500" y="133350"/>
                </a:lnTo>
                <a:lnTo>
                  <a:pt x="152400" y="133350"/>
                </a:lnTo>
                <a:lnTo>
                  <a:pt x="152543" y="76200"/>
                </a:lnTo>
                <a:lnTo>
                  <a:pt x="57150" y="76200"/>
                </a:lnTo>
                <a:lnTo>
                  <a:pt x="57150" y="114300"/>
                </a:lnTo>
                <a:lnTo>
                  <a:pt x="0" y="57150"/>
                </a:lnTo>
                <a:lnTo>
                  <a:pt x="57150" y="0"/>
                </a:lnTo>
                <a:close/>
              </a:path>
            </a:pathLst>
          </a:custGeom>
          <a:solidFill>
            <a:schemeClr val="tx2"/>
          </a:solidFill>
          <a:ln w="9525" cap="flat">
            <a:noFill/>
            <a:prstDash val="solid"/>
            <a:miter/>
          </a:ln>
        </p:spPr>
        <p:txBody>
          <a:bodyPr rtlCol="0" anchor="ctr"/>
          <a:lstStyle/>
          <a:p>
            <a:endParaRPr lang="en-GB" dirty="0"/>
          </a:p>
        </p:txBody>
      </p:sp>
      <p:sp>
        <p:nvSpPr>
          <p:cNvPr id="73" name="Freihandform: Form 124">
            <a:extLst>
              <a:ext uri="{FF2B5EF4-FFF2-40B4-BE49-F238E27FC236}">
                <a16:creationId xmlns:a16="http://schemas.microsoft.com/office/drawing/2014/main" id="{B11120BC-69AC-4EE0-AB4C-08A03BBE4197}"/>
              </a:ext>
            </a:extLst>
          </p:cNvPr>
          <p:cNvSpPr>
            <a:spLocks noChangeAspect="1"/>
          </p:cNvSpPr>
          <p:nvPr/>
        </p:nvSpPr>
        <p:spPr>
          <a:xfrm>
            <a:off x="3723352" y="2637809"/>
            <a:ext cx="414000" cy="181125"/>
          </a:xfrm>
          <a:custGeom>
            <a:avLst/>
            <a:gdLst>
              <a:gd name="connsiteX0" fmla="*/ 304800 w 304800"/>
              <a:gd name="connsiteY0" fmla="*/ 85735 h 133350"/>
              <a:gd name="connsiteX1" fmla="*/ 257194 w 304800"/>
              <a:gd name="connsiteY1" fmla="*/ 133350 h 133350"/>
              <a:gd name="connsiteX2" fmla="*/ 257185 w 304800"/>
              <a:gd name="connsiteY2" fmla="*/ 133340 h 133350"/>
              <a:gd name="connsiteX3" fmla="*/ 209560 w 304800"/>
              <a:gd name="connsiteY3" fmla="*/ 85715 h 133350"/>
              <a:gd name="connsiteX4" fmla="*/ 223009 w 304800"/>
              <a:gd name="connsiteY4" fmla="*/ 72266 h 133350"/>
              <a:gd name="connsiteX5" fmla="*/ 247650 w 304800"/>
              <a:gd name="connsiteY5" fmla="*/ 96917 h 133350"/>
              <a:gd name="connsiteX6" fmla="*/ 247650 w 304800"/>
              <a:gd name="connsiteY6" fmla="*/ 19050 h 133350"/>
              <a:gd name="connsiteX7" fmla="*/ 123825 w 304800"/>
              <a:gd name="connsiteY7" fmla="*/ 19050 h 133350"/>
              <a:gd name="connsiteX8" fmla="*/ 104775 w 304800"/>
              <a:gd name="connsiteY8" fmla="*/ 0 h 133350"/>
              <a:gd name="connsiteX9" fmla="*/ 266700 w 304800"/>
              <a:gd name="connsiteY9" fmla="*/ 0 h 133350"/>
              <a:gd name="connsiteX10" fmla="*/ 266700 w 304800"/>
              <a:gd name="connsiteY10" fmla="*/ 96898 h 133350"/>
              <a:gd name="connsiteX11" fmla="*/ 291332 w 304800"/>
              <a:gd name="connsiteY11" fmla="*/ 72266 h 133350"/>
              <a:gd name="connsiteX12" fmla="*/ 304800 w 304800"/>
              <a:gd name="connsiteY12" fmla="*/ 85735 h 133350"/>
              <a:gd name="connsiteX13" fmla="*/ 13468 w 304800"/>
              <a:gd name="connsiteY13" fmla="*/ 61084 h 133350"/>
              <a:gd name="connsiteX14" fmla="*/ 38100 w 304800"/>
              <a:gd name="connsiteY14" fmla="*/ 36452 h 133350"/>
              <a:gd name="connsiteX15" fmla="*/ 38100 w 304800"/>
              <a:gd name="connsiteY15" fmla="*/ 133350 h 133350"/>
              <a:gd name="connsiteX16" fmla="*/ 200025 w 304800"/>
              <a:gd name="connsiteY16" fmla="*/ 133350 h 133350"/>
              <a:gd name="connsiteX17" fmla="*/ 180975 w 304800"/>
              <a:gd name="connsiteY17" fmla="*/ 114300 h 133350"/>
              <a:gd name="connsiteX18" fmla="*/ 57150 w 304800"/>
              <a:gd name="connsiteY18" fmla="*/ 114300 h 133350"/>
              <a:gd name="connsiteX19" fmla="*/ 57150 w 304800"/>
              <a:gd name="connsiteY19" fmla="*/ 36433 h 133350"/>
              <a:gd name="connsiteX20" fmla="*/ 81801 w 304800"/>
              <a:gd name="connsiteY20" fmla="*/ 61084 h 133350"/>
              <a:gd name="connsiteX21" fmla="*/ 95250 w 304800"/>
              <a:gd name="connsiteY21" fmla="*/ 47635 h 133350"/>
              <a:gd name="connsiteX22" fmla="*/ 47625 w 304800"/>
              <a:gd name="connsiteY22" fmla="*/ 10 h 133350"/>
              <a:gd name="connsiteX23" fmla="*/ 47606 w 304800"/>
              <a:gd name="connsiteY23" fmla="*/ 0 h 133350"/>
              <a:gd name="connsiteX24" fmla="*/ 0 w 304800"/>
              <a:gd name="connsiteY24" fmla="*/ 47615 h 133350"/>
              <a:gd name="connsiteX25" fmla="*/ 13468 w 304800"/>
              <a:gd name="connsiteY25" fmla="*/ 61084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4800" h="133350">
                <a:moveTo>
                  <a:pt x="304800" y="85735"/>
                </a:moveTo>
                <a:lnTo>
                  <a:pt x="257194" y="133350"/>
                </a:lnTo>
                <a:lnTo>
                  <a:pt x="257185" y="133340"/>
                </a:lnTo>
                <a:lnTo>
                  <a:pt x="209560" y="85715"/>
                </a:lnTo>
                <a:lnTo>
                  <a:pt x="223009" y="72266"/>
                </a:lnTo>
                <a:lnTo>
                  <a:pt x="247650" y="96917"/>
                </a:lnTo>
                <a:lnTo>
                  <a:pt x="247650" y="19050"/>
                </a:lnTo>
                <a:lnTo>
                  <a:pt x="123825" y="19050"/>
                </a:lnTo>
                <a:lnTo>
                  <a:pt x="104775" y="0"/>
                </a:lnTo>
                <a:lnTo>
                  <a:pt x="266700" y="0"/>
                </a:lnTo>
                <a:lnTo>
                  <a:pt x="266700" y="96898"/>
                </a:lnTo>
                <a:lnTo>
                  <a:pt x="291332" y="72266"/>
                </a:lnTo>
                <a:lnTo>
                  <a:pt x="304800" y="85735"/>
                </a:lnTo>
                <a:close/>
                <a:moveTo>
                  <a:pt x="13468" y="61084"/>
                </a:moveTo>
                <a:lnTo>
                  <a:pt x="38100" y="36452"/>
                </a:lnTo>
                <a:lnTo>
                  <a:pt x="38100" y="133350"/>
                </a:lnTo>
                <a:lnTo>
                  <a:pt x="200025" y="133350"/>
                </a:lnTo>
                <a:lnTo>
                  <a:pt x="180975" y="114300"/>
                </a:lnTo>
                <a:lnTo>
                  <a:pt x="57150" y="114300"/>
                </a:lnTo>
                <a:lnTo>
                  <a:pt x="57150" y="36433"/>
                </a:lnTo>
                <a:lnTo>
                  <a:pt x="81801" y="61084"/>
                </a:lnTo>
                <a:lnTo>
                  <a:pt x="95250" y="47635"/>
                </a:lnTo>
                <a:lnTo>
                  <a:pt x="47625" y="10"/>
                </a:lnTo>
                <a:lnTo>
                  <a:pt x="47606" y="0"/>
                </a:lnTo>
                <a:lnTo>
                  <a:pt x="0" y="47615"/>
                </a:lnTo>
                <a:lnTo>
                  <a:pt x="13468" y="61084"/>
                </a:lnTo>
                <a:close/>
              </a:path>
            </a:pathLst>
          </a:custGeom>
          <a:solidFill>
            <a:schemeClr val="tx2"/>
          </a:solidFill>
          <a:ln w="9525" cap="flat">
            <a:noFill/>
            <a:prstDash val="solid"/>
            <a:miter/>
          </a:ln>
        </p:spPr>
        <p:txBody>
          <a:bodyPr rtlCol="0" anchor="ctr"/>
          <a:lstStyle/>
          <a:p>
            <a:endParaRPr lang="en-GB" dirty="0"/>
          </a:p>
        </p:txBody>
      </p:sp>
      <p:sp>
        <p:nvSpPr>
          <p:cNvPr id="74" name="Freihandform: Form 128">
            <a:extLst>
              <a:ext uri="{FF2B5EF4-FFF2-40B4-BE49-F238E27FC236}">
                <a16:creationId xmlns:a16="http://schemas.microsoft.com/office/drawing/2014/main" id="{0D167745-B63B-4ADD-A2F3-EFB2DE7BA588}"/>
              </a:ext>
            </a:extLst>
          </p:cNvPr>
          <p:cNvSpPr>
            <a:spLocks noChangeAspect="1"/>
          </p:cNvSpPr>
          <p:nvPr/>
        </p:nvSpPr>
        <p:spPr>
          <a:xfrm>
            <a:off x="587050" y="3426685"/>
            <a:ext cx="414000" cy="181125"/>
          </a:xfrm>
          <a:custGeom>
            <a:avLst/>
            <a:gdLst>
              <a:gd name="connsiteX0" fmla="*/ 0 w 304800"/>
              <a:gd name="connsiteY0" fmla="*/ 57293 h 133350"/>
              <a:gd name="connsiteX1" fmla="*/ 38100 w 304800"/>
              <a:gd name="connsiteY1" fmla="*/ 57293 h 133350"/>
              <a:gd name="connsiteX2" fmla="*/ 38100 w 304800"/>
              <a:gd name="connsiteY2" fmla="*/ 133350 h 133350"/>
              <a:gd name="connsiteX3" fmla="*/ 190500 w 304800"/>
              <a:gd name="connsiteY3" fmla="*/ 133350 h 133350"/>
              <a:gd name="connsiteX4" fmla="*/ 152400 w 304800"/>
              <a:gd name="connsiteY4" fmla="*/ 95393 h 133350"/>
              <a:gd name="connsiteX5" fmla="*/ 76200 w 304800"/>
              <a:gd name="connsiteY5" fmla="*/ 95393 h 133350"/>
              <a:gd name="connsiteX6" fmla="*/ 76200 w 304800"/>
              <a:gd name="connsiteY6" fmla="*/ 57150 h 133350"/>
              <a:gd name="connsiteX7" fmla="*/ 114300 w 304800"/>
              <a:gd name="connsiteY7" fmla="*/ 57150 h 133350"/>
              <a:gd name="connsiteX8" fmla="*/ 57150 w 304800"/>
              <a:gd name="connsiteY8" fmla="*/ 0 h 133350"/>
              <a:gd name="connsiteX9" fmla="*/ 0 w 304800"/>
              <a:gd name="connsiteY9" fmla="*/ 57293 h 133350"/>
              <a:gd name="connsiteX10" fmla="*/ 304800 w 304800"/>
              <a:gd name="connsiteY10" fmla="*/ 76200 h 133350"/>
              <a:gd name="connsiteX11" fmla="*/ 266700 w 304800"/>
              <a:gd name="connsiteY11" fmla="*/ 76200 h 133350"/>
              <a:gd name="connsiteX12" fmla="*/ 266700 w 304800"/>
              <a:gd name="connsiteY12" fmla="*/ 0 h 133350"/>
              <a:gd name="connsiteX13" fmla="*/ 114300 w 304800"/>
              <a:gd name="connsiteY13" fmla="*/ 0 h 133350"/>
              <a:gd name="connsiteX14" fmla="*/ 152400 w 304800"/>
              <a:gd name="connsiteY14" fmla="*/ 38100 h 133350"/>
              <a:gd name="connsiteX15" fmla="*/ 228600 w 304800"/>
              <a:gd name="connsiteY15" fmla="*/ 37957 h 133350"/>
              <a:gd name="connsiteX16" fmla="*/ 228600 w 304800"/>
              <a:gd name="connsiteY16" fmla="*/ 76200 h 133350"/>
              <a:gd name="connsiteX17" fmla="*/ 190500 w 304800"/>
              <a:gd name="connsiteY17" fmla="*/ 76200 h 133350"/>
              <a:gd name="connsiteX18" fmla="*/ 247650 w 304800"/>
              <a:gd name="connsiteY18" fmla="*/ 133350 h 133350"/>
              <a:gd name="connsiteX19" fmla="*/ 304800 w 304800"/>
              <a:gd name="connsiteY19" fmla="*/ 7620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4800" h="133350">
                <a:moveTo>
                  <a:pt x="0" y="57293"/>
                </a:moveTo>
                <a:lnTo>
                  <a:pt x="38100" y="57293"/>
                </a:lnTo>
                <a:lnTo>
                  <a:pt x="38100" y="133350"/>
                </a:lnTo>
                <a:lnTo>
                  <a:pt x="190500" y="133350"/>
                </a:lnTo>
                <a:lnTo>
                  <a:pt x="152400" y="95393"/>
                </a:lnTo>
                <a:lnTo>
                  <a:pt x="76200" y="95393"/>
                </a:lnTo>
                <a:lnTo>
                  <a:pt x="76200" y="57150"/>
                </a:lnTo>
                <a:lnTo>
                  <a:pt x="114300" y="57150"/>
                </a:lnTo>
                <a:lnTo>
                  <a:pt x="57150" y="0"/>
                </a:lnTo>
                <a:lnTo>
                  <a:pt x="0" y="57293"/>
                </a:lnTo>
                <a:close/>
                <a:moveTo>
                  <a:pt x="304800" y="76200"/>
                </a:moveTo>
                <a:lnTo>
                  <a:pt x="266700" y="76200"/>
                </a:lnTo>
                <a:lnTo>
                  <a:pt x="266700" y="0"/>
                </a:lnTo>
                <a:lnTo>
                  <a:pt x="114300" y="0"/>
                </a:lnTo>
                <a:lnTo>
                  <a:pt x="152400" y="38100"/>
                </a:lnTo>
                <a:lnTo>
                  <a:pt x="228600" y="37957"/>
                </a:lnTo>
                <a:lnTo>
                  <a:pt x="228600" y="76200"/>
                </a:lnTo>
                <a:lnTo>
                  <a:pt x="190500" y="76200"/>
                </a:lnTo>
                <a:lnTo>
                  <a:pt x="247650" y="133350"/>
                </a:lnTo>
                <a:lnTo>
                  <a:pt x="304800" y="76200"/>
                </a:lnTo>
                <a:close/>
              </a:path>
            </a:pathLst>
          </a:custGeom>
          <a:solidFill>
            <a:schemeClr val="tx2"/>
          </a:solidFill>
          <a:ln w="9525" cap="flat">
            <a:noFill/>
            <a:prstDash val="solid"/>
            <a:miter/>
          </a:ln>
        </p:spPr>
        <p:txBody>
          <a:bodyPr rtlCol="0" anchor="ctr"/>
          <a:lstStyle/>
          <a:p>
            <a:endParaRPr lang="en-GB" dirty="0"/>
          </a:p>
        </p:txBody>
      </p:sp>
      <p:sp>
        <p:nvSpPr>
          <p:cNvPr id="75" name="Freihandform: Form 132">
            <a:extLst>
              <a:ext uri="{FF2B5EF4-FFF2-40B4-BE49-F238E27FC236}">
                <a16:creationId xmlns:a16="http://schemas.microsoft.com/office/drawing/2014/main" id="{C9E1DB16-DCCD-4FF3-867E-0CC0B542DE2E}"/>
              </a:ext>
            </a:extLst>
          </p:cNvPr>
          <p:cNvSpPr>
            <a:spLocks noChangeAspect="1"/>
          </p:cNvSpPr>
          <p:nvPr/>
        </p:nvSpPr>
        <p:spPr>
          <a:xfrm>
            <a:off x="1666801" y="3426685"/>
            <a:ext cx="414000" cy="181125"/>
          </a:xfrm>
          <a:custGeom>
            <a:avLst/>
            <a:gdLst>
              <a:gd name="connsiteX0" fmla="*/ 0 w 304800"/>
              <a:gd name="connsiteY0" fmla="*/ 47625 h 133350"/>
              <a:gd name="connsiteX1" fmla="*/ 38100 w 304800"/>
              <a:gd name="connsiteY1" fmla="*/ 47625 h 133350"/>
              <a:gd name="connsiteX2" fmla="*/ 38100 w 304800"/>
              <a:gd name="connsiteY2" fmla="*/ 133350 h 133350"/>
              <a:gd name="connsiteX3" fmla="*/ 200025 w 304800"/>
              <a:gd name="connsiteY3" fmla="*/ 133350 h 133350"/>
              <a:gd name="connsiteX4" fmla="*/ 180975 w 304800"/>
              <a:gd name="connsiteY4" fmla="*/ 114300 h 133350"/>
              <a:gd name="connsiteX5" fmla="*/ 57150 w 304800"/>
              <a:gd name="connsiteY5" fmla="*/ 114300 h 133350"/>
              <a:gd name="connsiteX6" fmla="*/ 57150 w 304800"/>
              <a:gd name="connsiteY6" fmla="*/ 47482 h 133350"/>
              <a:gd name="connsiteX7" fmla="*/ 95250 w 304800"/>
              <a:gd name="connsiteY7" fmla="*/ 47482 h 133350"/>
              <a:gd name="connsiteX8" fmla="*/ 47625 w 304800"/>
              <a:gd name="connsiteY8" fmla="*/ 0 h 133350"/>
              <a:gd name="connsiteX9" fmla="*/ 0 w 304800"/>
              <a:gd name="connsiteY9" fmla="*/ 47625 h 133350"/>
              <a:gd name="connsiteX10" fmla="*/ 304800 w 304800"/>
              <a:gd name="connsiteY10" fmla="*/ 85725 h 133350"/>
              <a:gd name="connsiteX11" fmla="*/ 266700 w 304800"/>
              <a:gd name="connsiteY11" fmla="*/ 85725 h 133350"/>
              <a:gd name="connsiteX12" fmla="*/ 266700 w 304800"/>
              <a:gd name="connsiteY12" fmla="*/ 0 h 133350"/>
              <a:gd name="connsiteX13" fmla="*/ 104775 w 304800"/>
              <a:gd name="connsiteY13" fmla="*/ 0 h 133350"/>
              <a:gd name="connsiteX14" fmla="*/ 123825 w 304800"/>
              <a:gd name="connsiteY14" fmla="*/ 19050 h 133350"/>
              <a:gd name="connsiteX15" fmla="*/ 247650 w 304800"/>
              <a:gd name="connsiteY15" fmla="*/ 19050 h 133350"/>
              <a:gd name="connsiteX16" fmla="*/ 247650 w 304800"/>
              <a:gd name="connsiteY16" fmla="*/ 85868 h 133350"/>
              <a:gd name="connsiteX17" fmla="*/ 209550 w 304800"/>
              <a:gd name="connsiteY17" fmla="*/ 85868 h 133350"/>
              <a:gd name="connsiteX18" fmla="*/ 257175 w 304800"/>
              <a:gd name="connsiteY18" fmla="*/ 133350 h 133350"/>
              <a:gd name="connsiteX19" fmla="*/ 304800 w 304800"/>
              <a:gd name="connsiteY19" fmla="*/ 85725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4800" h="133350">
                <a:moveTo>
                  <a:pt x="0" y="47625"/>
                </a:moveTo>
                <a:lnTo>
                  <a:pt x="38100" y="47625"/>
                </a:lnTo>
                <a:lnTo>
                  <a:pt x="38100" y="133350"/>
                </a:lnTo>
                <a:lnTo>
                  <a:pt x="200025" y="133350"/>
                </a:lnTo>
                <a:lnTo>
                  <a:pt x="180975" y="114300"/>
                </a:lnTo>
                <a:lnTo>
                  <a:pt x="57150" y="114300"/>
                </a:lnTo>
                <a:lnTo>
                  <a:pt x="57150" y="47482"/>
                </a:lnTo>
                <a:lnTo>
                  <a:pt x="95250" y="47482"/>
                </a:lnTo>
                <a:lnTo>
                  <a:pt x="47625" y="0"/>
                </a:lnTo>
                <a:lnTo>
                  <a:pt x="0" y="47625"/>
                </a:lnTo>
                <a:close/>
                <a:moveTo>
                  <a:pt x="304800" y="85725"/>
                </a:moveTo>
                <a:lnTo>
                  <a:pt x="266700" y="85725"/>
                </a:lnTo>
                <a:lnTo>
                  <a:pt x="266700" y="0"/>
                </a:lnTo>
                <a:lnTo>
                  <a:pt x="104775" y="0"/>
                </a:lnTo>
                <a:lnTo>
                  <a:pt x="123825" y="19050"/>
                </a:lnTo>
                <a:lnTo>
                  <a:pt x="247650" y="19050"/>
                </a:lnTo>
                <a:lnTo>
                  <a:pt x="247650" y="85868"/>
                </a:lnTo>
                <a:lnTo>
                  <a:pt x="209550" y="85868"/>
                </a:lnTo>
                <a:lnTo>
                  <a:pt x="257175" y="133350"/>
                </a:lnTo>
                <a:lnTo>
                  <a:pt x="304800" y="85725"/>
                </a:lnTo>
                <a:close/>
              </a:path>
            </a:pathLst>
          </a:custGeom>
          <a:solidFill>
            <a:schemeClr val="tx2"/>
          </a:solidFill>
          <a:ln w="9525" cap="flat">
            <a:noFill/>
            <a:prstDash val="solid"/>
            <a:miter/>
          </a:ln>
        </p:spPr>
        <p:txBody>
          <a:bodyPr rtlCol="0" anchor="ctr"/>
          <a:lstStyle/>
          <a:p>
            <a:endParaRPr lang="en-GB" dirty="0"/>
          </a:p>
        </p:txBody>
      </p:sp>
      <p:sp>
        <p:nvSpPr>
          <p:cNvPr id="76" name="Freihandform: Form 47">
            <a:extLst>
              <a:ext uri="{FF2B5EF4-FFF2-40B4-BE49-F238E27FC236}">
                <a16:creationId xmlns:a16="http://schemas.microsoft.com/office/drawing/2014/main" id="{226681E3-2253-4D6C-BC8F-A334E074108B}"/>
              </a:ext>
            </a:extLst>
          </p:cNvPr>
          <p:cNvSpPr>
            <a:spLocks noChangeAspect="1"/>
          </p:cNvSpPr>
          <p:nvPr/>
        </p:nvSpPr>
        <p:spPr>
          <a:xfrm>
            <a:off x="8153926" y="2466260"/>
            <a:ext cx="390462" cy="352674"/>
          </a:xfrm>
          <a:custGeom>
            <a:avLst/>
            <a:gdLst>
              <a:gd name="connsiteX0" fmla="*/ 40834 w 295275"/>
              <a:gd name="connsiteY0" fmla="*/ 123596 h 266700"/>
              <a:gd name="connsiteX1" fmla="*/ 85534 w 295275"/>
              <a:gd name="connsiteY1" fmla="*/ 59703 h 266700"/>
              <a:gd name="connsiteX2" fmla="*/ 86687 w 295275"/>
              <a:gd name="connsiteY2" fmla="*/ 110357 h 266700"/>
              <a:gd name="connsiteX3" fmla="*/ 126816 w 295275"/>
              <a:gd name="connsiteY3" fmla="*/ 148981 h 266700"/>
              <a:gd name="connsiteX4" fmla="*/ 148571 w 295275"/>
              <a:gd name="connsiteY4" fmla="*/ 201511 h 266700"/>
              <a:gd name="connsiteX5" fmla="*/ 116738 w 295275"/>
              <a:gd name="connsiteY5" fmla="*/ 262480 h 266700"/>
              <a:gd name="connsiteX6" fmla="*/ 102175 w 295275"/>
              <a:gd name="connsiteY6" fmla="*/ 182147 h 266700"/>
              <a:gd name="connsiteX7" fmla="*/ 74285 w 295275"/>
              <a:gd name="connsiteY7" fmla="*/ 275796 h 266700"/>
              <a:gd name="connsiteX8" fmla="*/ 0 w 295275"/>
              <a:gd name="connsiteY8" fmla="*/ 201511 h 266700"/>
              <a:gd name="connsiteX9" fmla="*/ 4820 w 295275"/>
              <a:gd name="connsiteY9" fmla="*/ 175393 h 266700"/>
              <a:gd name="connsiteX10" fmla="*/ 31737 w 295275"/>
              <a:gd name="connsiteY10" fmla="*/ 201511 h 266700"/>
              <a:gd name="connsiteX11" fmla="*/ 57664 w 295275"/>
              <a:gd name="connsiteY11" fmla="*/ 174936 h 266700"/>
              <a:gd name="connsiteX12" fmla="*/ 48235 w 295275"/>
              <a:gd name="connsiteY12" fmla="*/ 154800 h 266700"/>
              <a:gd name="connsiteX13" fmla="*/ 40834 w 295275"/>
              <a:gd name="connsiteY13" fmla="*/ 123596 h 266700"/>
              <a:gd name="connsiteX14" fmla="*/ 250774 w 295275"/>
              <a:gd name="connsiteY14" fmla="*/ 167154 h 266700"/>
              <a:gd name="connsiteX15" fmla="*/ 283464 w 295275"/>
              <a:gd name="connsiteY15" fmla="*/ 167154 h 266700"/>
              <a:gd name="connsiteX16" fmla="*/ 229143 w 295275"/>
              <a:gd name="connsiteY16" fmla="*/ 101965 h 266700"/>
              <a:gd name="connsiteX17" fmla="*/ 249050 w 295275"/>
              <a:gd name="connsiteY17" fmla="*/ 101965 h 266700"/>
              <a:gd name="connsiteX18" fmla="*/ 176213 w 295275"/>
              <a:gd name="connsiteY18" fmla="*/ 0 h 266700"/>
              <a:gd name="connsiteX19" fmla="*/ 103384 w 295275"/>
              <a:gd name="connsiteY19" fmla="*/ 101965 h 266700"/>
              <a:gd name="connsiteX20" fmla="*/ 123292 w 295275"/>
              <a:gd name="connsiteY20" fmla="*/ 101965 h 266700"/>
              <a:gd name="connsiteX21" fmla="*/ 113595 w 295275"/>
              <a:gd name="connsiteY21" fmla="*/ 113605 h 266700"/>
              <a:gd name="connsiteX22" fmla="*/ 126673 w 295275"/>
              <a:gd name="connsiteY22" fmla="*/ 124244 h 266700"/>
              <a:gd name="connsiteX23" fmla="*/ 128407 w 295275"/>
              <a:gd name="connsiteY23" fmla="*/ 125587 h 266700"/>
              <a:gd name="connsiteX24" fmla="*/ 163963 w 295275"/>
              <a:gd name="connsiteY24" fmla="*/ 82915 h 266700"/>
              <a:gd name="connsiteX25" fmla="*/ 140399 w 295275"/>
              <a:gd name="connsiteY25" fmla="*/ 82915 h 266700"/>
              <a:gd name="connsiteX26" fmla="*/ 176213 w 295275"/>
              <a:gd name="connsiteY26" fmla="*/ 32776 h 266700"/>
              <a:gd name="connsiteX27" fmla="*/ 212027 w 295275"/>
              <a:gd name="connsiteY27" fmla="*/ 82915 h 266700"/>
              <a:gd name="connsiteX28" fmla="*/ 188471 w 295275"/>
              <a:gd name="connsiteY28" fmla="*/ 82915 h 266700"/>
              <a:gd name="connsiteX29" fmla="*/ 242792 w 295275"/>
              <a:gd name="connsiteY29" fmla="*/ 148104 h 266700"/>
              <a:gd name="connsiteX30" fmla="*/ 210293 w 295275"/>
              <a:gd name="connsiteY30" fmla="*/ 148104 h 266700"/>
              <a:gd name="connsiteX31" fmla="*/ 264224 w 295275"/>
              <a:gd name="connsiteY31" fmla="*/ 213293 h 266700"/>
              <a:gd name="connsiteX32" fmla="*/ 190500 w 295275"/>
              <a:gd name="connsiteY32" fmla="*/ 213293 h 266700"/>
              <a:gd name="connsiteX33" fmla="*/ 190500 w 295275"/>
              <a:gd name="connsiteY33" fmla="*/ 256746 h 266700"/>
              <a:gd name="connsiteX34" fmla="*/ 161925 w 295275"/>
              <a:gd name="connsiteY34" fmla="*/ 256746 h 266700"/>
              <a:gd name="connsiteX35" fmla="*/ 161925 w 295275"/>
              <a:gd name="connsiteY35" fmla="*/ 233410 h 266700"/>
              <a:gd name="connsiteX36" fmla="*/ 142875 w 295275"/>
              <a:gd name="connsiteY36" fmla="*/ 264652 h 266700"/>
              <a:gd name="connsiteX37" fmla="*/ 142875 w 295275"/>
              <a:gd name="connsiteY37" fmla="*/ 275796 h 266700"/>
              <a:gd name="connsiteX38" fmla="*/ 209550 w 295275"/>
              <a:gd name="connsiteY38" fmla="*/ 275796 h 266700"/>
              <a:gd name="connsiteX39" fmla="*/ 209550 w 295275"/>
              <a:gd name="connsiteY39" fmla="*/ 232343 h 266700"/>
              <a:gd name="connsiteX40" fmla="*/ 304705 w 295275"/>
              <a:gd name="connsiteY40" fmla="*/ 232343 h 266700"/>
              <a:gd name="connsiteX41" fmla="*/ 250774 w 295275"/>
              <a:gd name="connsiteY41" fmla="*/ 167154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95275" h="266700">
                <a:moveTo>
                  <a:pt x="40834" y="123596"/>
                </a:moveTo>
                <a:cubicBezTo>
                  <a:pt x="40834" y="81324"/>
                  <a:pt x="85534" y="59703"/>
                  <a:pt x="85534" y="59703"/>
                </a:cubicBezTo>
                <a:cubicBezTo>
                  <a:pt x="85534" y="59703"/>
                  <a:pt x="72609" y="80486"/>
                  <a:pt x="86687" y="110357"/>
                </a:cubicBezTo>
                <a:cubicBezTo>
                  <a:pt x="94583" y="127121"/>
                  <a:pt x="117634" y="139808"/>
                  <a:pt x="126816" y="148981"/>
                </a:cubicBezTo>
                <a:cubicBezTo>
                  <a:pt x="140551" y="162687"/>
                  <a:pt x="148571" y="180994"/>
                  <a:pt x="148571" y="201511"/>
                </a:cubicBezTo>
                <a:cubicBezTo>
                  <a:pt x="148571" y="226752"/>
                  <a:pt x="135988" y="249060"/>
                  <a:pt x="116738" y="262480"/>
                </a:cubicBezTo>
                <a:cubicBezTo>
                  <a:pt x="134598" y="217408"/>
                  <a:pt x="110823" y="191195"/>
                  <a:pt x="102175" y="182147"/>
                </a:cubicBezTo>
                <a:cubicBezTo>
                  <a:pt x="112043" y="238077"/>
                  <a:pt x="74285" y="238211"/>
                  <a:pt x="74285" y="275796"/>
                </a:cubicBezTo>
                <a:cubicBezTo>
                  <a:pt x="33252" y="275796"/>
                  <a:pt x="0" y="242545"/>
                  <a:pt x="0" y="201511"/>
                </a:cubicBezTo>
                <a:cubicBezTo>
                  <a:pt x="0" y="192310"/>
                  <a:pt x="1753" y="183528"/>
                  <a:pt x="4820" y="175393"/>
                </a:cubicBezTo>
                <a:cubicBezTo>
                  <a:pt x="5296" y="189890"/>
                  <a:pt x="17116" y="201511"/>
                  <a:pt x="31737" y="201511"/>
                </a:cubicBezTo>
                <a:cubicBezTo>
                  <a:pt x="46663" y="201511"/>
                  <a:pt x="57664" y="189862"/>
                  <a:pt x="57664" y="174936"/>
                </a:cubicBezTo>
                <a:cubicBezTo>
                  <a:pt x="57664" y="165611"/>
                  <a:pt x="52007" y="160592"/>
                  <a:pt x="48235" y="154800"/>
                </a:cubicBezTo>
                <a:cubicBezTo>
                  <a:pt x="43148" y="146999"/>
                  <a:pt x="40834" y="138922"/>
                  <a:pt x="40834" y="123596"/>
                </a:cubicBezTo>
                <a:moveTo>
                  <a:pt x="250774" y="167154"/>
                </a:moveTo>
                <a:lnTo>
                  <a:pt x="283464" y="167154"/>
                </a:lnTo>
                <a:lnTo>
                  <a:pt x="229143" y="101965"/>
                </a:lnTo>
                <a:lnTo>
                  <a:pt x="249050" y="101965"/>
                </a:lnTo>
                <a:lnTo>
                  <a:pt x="176213" y="0"/>
                </a:lnTo>
                <a:lnTo>
                  <a:pt x="103384" y="101965"/>
                </a:lnTo>
                <a:lnTo>
                  <a:pt x="123292" y="101965"/>
                </a:lnTo>
                <a:lnTo>
                  <a:pt x="113595" y="113605"/>
                </a:lnTo>
                <a:cubicBezTo>
                  <a:pt x="117824" y="117434"/>
                  <a:pt x="122587" y="121129"/>
                  <a:pt x="126673" y="124244"/>
                </a:cubicBezTo>
                <a:cubicBezTo>
                  <a:pt x="127273" y="124701"/>
                  <a:pt x="127816" y="125139"/>
                  <a:pt x="128407" y="125587"/>
                </a:cubicBezTo>
                <a:lnTo>
                  <a:pt x="163963" y="82915"/>
                </a:lnTo>
                <a:lnTo>
                  <a:pt x="140399" y="82915"/>
                </a:lnTo>
                <a:lnTo>
                  <a:pt x="176213" y="32776"/>
                </a:lnTo>
                <a:lnTo>
                  <a:pt x="212027" y="82915"/>
                </a:lnTo>
                <a:lnTo>
                  <a:pt x="188471" y="82915"/>
                </a:lnTo>
                <a:lnTo>
                  <a:pt x="242792" y="148104"/>
                </a:lnTo>
                <a:lnTo>
                  <a:pt x="210293" y="148104"/>
                </a:lnTo>
                <a:lnTo>
                  <a:pt x="264224" y="213293"/>
                </a:lnTo>
                <a:lnTo>
                  <a:pt x="190500" y="213293"/>
                </a:lnTo>
                <a:lnTo>
                  <a:pt x="190500" y="256746"/>
                </a:lnTo>
                <a:lnTo>
                  <a:pt x="161925" y="256746"/>
                </a:lnTo>
                <a:lnTo>
                  <a:pt x="161925" y="233410"/>
                </a:lnTo>
                <a:cubicBezTo>
                  <a:pt x="157724" y="244954"/>
                  <a:pt x="151238" y="255556"/>
                  <a:pt x="142875" y="264652"/>
                </a:cubicBezTo>
                <a:lnTo>
                  <a:pt x="142875" y="275796"/>
                </a:lnTo>
                <a:lnTo>
                  <a:pt x="209550" y="275796"/>
                </a:lnTo>
                <a:lnTo>
                  <a:pt x="209550" y="232343"/>
                </a:lnTo>
                <a:lnTo>
                  <a:pt x="304705" y="232343"/>
                </a:lnTo>
                <a:lnTo>
                  <a:pt x="250774" y="167154"/>
                </a:lnTo>
                <a:close/>
              </a:path>
            </a:pathLst>
          </a:custGeom>
          <a:solidFill>
            <a:schemeClr val="tx2"/>
          </a:solidFill>
          <a:ln w="9525" cap="flat">
            <a:noFill/>
            <a:prstDash val="solid"/>
            <a:miter/>
          </a:ln>
        </p:spPr>
        <p:txBody>
          <a:bodyPr rtlCol="0" anchor="ctr"/>
          <a:lstStyle/>
          <a:p>
            <a:endParaRPr lang="en-GB" dirty="0"/>
          </a:p>
        </p:txBody>
      </p:sp>
      <p:sp>
        <p:nvSpPr>
          <p:cNvPr id="77" name="Freihandform: Form 52">
            <a:extLst>
              <a:ext uri="{FF2B5EF4-FFF2-40B4-BE49-F238E27FC236}">
                <a16:creationId xmlns:a16="http://schemas.microsoft.com/office/drawing/2014/main" id="{E541864B-DDB0-4263-8733-BC5941A8631B}"/>
              </a:ext>
            </a:extLst>
          </p:cNvPr>
          <p:cNvSpPr>
            <a:spLocks noChangeAspect="1"/>
          </p:cNvSpPr>
          <p:nvPr/>
        </p:nvSpPr>
        <p:spPr>
          <a:xfrm>
            <a:off x="5017624" y="3278358"/>
            <a:ext cx="390462" cy="329452"/>
          </a:xfrm>
          <a:custGeom>
            <a:avLst/>
            <a:gdLst>
              <a:gd name="connsiteX0" fmla="*/ 304800 w 304800"/>
              <a:gd name="connsiteY0" fmla="*/ 85725 h 257175"/>
              <a:gd name="connsiteX1" fmla="*/ 257175 w 304800"/>
              <a:gd name="connsiteY1" fmla="*/ 133350 h 257175"/>
              <a:gd name="connsiteX2" fmla="*/ 0 w 304800"/>
              <a:gd name="connsiteY2" fmla="*/ 133350 h 257175"/>
              <a:gd name="connsiteX3" fmla="*/ 0 w 304800"/>
              <a:gd name="connsiteY3" fmla="*/ 114300 h 257175"/>
              <a:gd name="connsiteX4" fmla="*/ 219323 w 304800"/>
              <a:gd name="connsiteY4" fmla="*/ 114300 h 257175"/>
              <a:gd name="connsiteX5" fmla="*/ 257175 w 304800"/>
              <a:gd name="connsiteY5" fmla="*/ 114300 h 257175"/>
              <a:gd name="connsiteX6" fmla="*/ 285750 w 304800"/>
              <a:gd name="connsiteY6" fmla="*/ 85725 h 257175"/>
              <a:gd name="connsiteX7" fmla="*/ 257175 w 304800"/>
              <a:gd name="connsiteY7" fmla="*/ 57150 h 257175"/>
              <a:gd name="connsiteX8" fmla="*/ 228600 w 304800"/>
              <a:gd name="connsiteY8" fmla="*/ 85725 h 257175"/>
              <a:gd name="connsiteX9" fmla="*/ 230353 w 304800"/>
              <a:gd name="connsiteY9" fmla="*/ 95250 h 257175"/>
              <a:gd name="connsiteX10" fmla="*/ 210512 w 304800"/>
              <a:gd name="connsiteY10" fmla="*/ 95250 h 257175"/>
              <a:gd name="connsiteX11" fmla="*/ 209550 w 304800"/>
              <a:gd name="connsiteY11" fmla="*/ 85725 h 257175"/>
              <a:gd name="connsiteX12" fmla="*/ 257175 w 304800"/>
              <a:gd name="connsiteY12" fmla="*/ 38100 h 257175"/>
              <a:gd name="connsiteX13" fmla="*/ 304800 w 304800"/>
              <a:gd name="connsiteY13" fmla="*/ 85725 h 257175"/>
              <a:gd name="connsiteX14" fmla="*/ 152400 w 304800"/>
              <a:gd name="connsiteY14" fmla="*/ 0 h 257175"/>
              <a:gd name="connsiteX15" fmla="*/ 104775 w 304800"/>
              <a:gd name="connsiteY15" fmla="*/ 47625 h 257175"/>
              <a:gd name="connsiteX16" fmla="*/ 105737 w 304800"/>
              <a:gd name="connsiteY16" fmla="*/ 57150 h 257175"/>
              <a:gd name="connsiteX17" fmla="*/ 125578 w 304800"/>
              <a:gd name="connsiteY17" fmla="*/ 57150 h 257175"/>
              <a:gd name="connsiteX18" fmla="*/ 123825 w 304800"/>
              <a:gd name="connsiteY18" fmla="*/ 47625 h 257175"/>
              <a:gd name="connsiteX19" fmla="*/ 152400 w 304800"/>
              <a:gd name="connsiteY19" fmla="*/ 19050 h 257175"/>
              <a:gd name="connsiteX20" fmla="*/ 180975 w 304800"/>
              <a:gd name="connsiteY20" fmla="*/ 47625 h 257175"/>
              <a:gd name="connsiteX21" fmla="*/ 152400 w 304800"/>
              <a:gd name="connsiteY21" fmla="*/ 76200 h 257175"/>
              <a:gd name="connsiteX22" fmla="*/ 114548 w 304800"/>
              <a:gd name="connsiteY22" fmla="*/ 76200 h 257175"/>
              <a:gd name="connsiteX23" fmla="*/ 28575 w 304800"/>
              <a:gd name="connsiteY23" fmla="*/ 76200 h 257175"/>
              <a:gd name="connsiteX24" fmla="*/ 28575 w 304800"/>
              <a:gd name="connsiteY24" fmla="*/ 95250 h 257175"/>
              <a:gd name="connsiteX25" fmla="*/ 152400 w 304800"/>
              <a:gd name="connsiteY25" fmla="*/ 95250 h 257175"/>
              <a:gd name="connsiteX26" fmla="*/ 200025 w 304800"/>
              <a:gd name="connsiteY26" fmla="*/ 47625 h 257175"/>
              <a:gd name="connsiteX27" fmla="*/ 152400 w 304800"/>
              <a:gd name="connsiteY27" fmla="*/ 0 h 257175"/>
              <a:gd name="connsiteX28" fmla="*/ 266700 w 304800"/>
              <a:gd name="connsiteY28" fmla="*/ 209550 h 257175"/>
              <a:gd name="connsiteX29" fmla="*/ 219075 w 304800"/>
              <a:gd name="connsiteY29" fmla="*/ 161925 h 257175"/>
              <a:gd name="connsiteX30" fmla="*/ 66675 w 304800"/>
              <a:gd name="connsiteY30" fmla="*/ 161925 h 257175"/>
              <a:gd name="connsiteX31" fmla="*/ 66675 w 304800"/>
              <a:gd name="connsiteY31" fmla="*/ 180975 h 257175"/>
              <a:gd name="connsiteX32" fmla="*/ 181223 w 304800"/>
              <a:gd name="connsiteY32" fmla="*/ 180975 h 257175"/>
              <a:gd name="connsiteX33" fmla="*/ 219075 w 304800"/>
              <a:gd name="connsiteY33" fmla="*/ 180975 h 257175"/>
              <a:gd name="connsiteX34" fmla="*/ 247650 w 304800"/>
              <a:gd name="connsiteY34" fmla="*/ 209550 h 257175"/>
              <a:gd name="connsiteX35" fmla="*/ 219075 w 304800"/>
              <a:gd name="connsiteY35" fmla="*/ 238125 h 257175"/>
              <a:gd name="connsiteX36" fmla="*/ 190500 w 304800"/>
              <a:gd name="connsiteY36" fmla="*/ 209550 h 257175"/>
              <a:gd name="connsiteX37" fmla="*/ 192253 w 304800"/>
              <a:gd name="connsiteY37" fmla="*/ 200025 h 257175"/>
              <a:gd name="connsiteX38" fmla="*/ 172412 w 304800"/>
              <a:gd name="connsiteY38" fmla="*/ 200025 h 257175"/>
              <a:gd name="connsiteX39" fmla="*/ 171450 w 304800"/>
              <a:gd name="connsiteY39" fmla="*/ 209550 h 257175"/>
              <a:gd name="connsiteX40" fmla="*/ 219075 w 304800"/>
              <a:gd name="connsiteY40" fmla="*/ 257175 h 257175"/>
              <a:gd name="connsiteX41" fmla="*/ 266700 w 304800"/>
              <a:gd name="connsiteY41" fmla="*/ 209550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04800" h="257175">
                <a:moveTo>
                  <a:pt x="304800" y="85725"/>
                </a:moveTo>
                <a:cubicBezTo>
                  <a:pt x="304800" y="111985"/>
                  <a:pt x="283435" y="133350"/>
                  <a:pt x="257175" y="133350"/>
                </a:cubicBezTo>
                <a:lnTo>
                  <a:pt x="0" y="133350"/>
                </a:lnTo>
                <a:lnTo>
                  <a:pt x="0" y="114300"/>
                </a:lnTo>
                <a:lnTo>
                  <a:pt x="219323" y="114300"/>
                </a:lnTo>
                <a:lnTo>
                  <a:pt x="257175" y="114300"/>
                </a:lnTo>
                <a:cubicBezTo>
                  <a:pt x="272929" y="114300"/>
                  <a:pt x="285750" y="101479"/>
                  <a:pt x="285750" y="85725"/>
                </a:cubicBezTo>
                <a:cubicBezTo>
                  <a:pt x="285750" y="69971"/>
                  <a:pt x="272929" y="57150"/>
                  <a:pt x="257175" y="57150"/>
                </a:cubicBezTo>
                <a:cubicBezTo>
                  <a:pt x="241421" y="57150"/>
                  <a:pt x="228600" y="69971"/>
                  <a:pt x="228600" y="85725"/>
                </a:cubicBezTo>
                <a:cubicBezTo>
                  <a:pt x="228600" y="89078"/>
                  <a:pt x="229286" y="92259"/>
                  <a:pt x="230353" y="95250"/>
                </a:cubicBezTo>
                <a:lnTo>
                  <a:pt x="210512" y="95250"/>
                </a:lnTo>
                <a:cubicBezTo>
                  <a:pt x="209883" y="92173"/>
                  <a:pt x="209550" y="88983"/>
                  <a:pt x="209550" y="85725"/>
                </a:cubicBezTo>
                <a:cubicBezTo>
                  <a:pt x="209550" y="59465"/>
                  <a:pt x="230915" y="38100"/>
                  <a:pt x="257175" y="38100"/>
                </a:cubicBezTo>
                <a:cubicBezTo>
                  <a:pt x="283435" y="38100"/>
                  <a:pt x="304800" y="59465"/>
                  <a:pt x="304800" y="85725"/>
                </a:cubicBezTo>
                <a:close/>
                <a:moveTo>
                  <a:pt x="152400" y="0"/>
                </a:moveTo>
                <a:cubicBezTo>
                  <a:pt x="126140" y="0"/>
                  <a:pt x="104775" y="21365"/>
                  <a:pt x="104775" y="47625"/>
                </a:cubicBezTo>
                <a:cubicBezTo>
                  <a:pt x="104775" y="50883"/>
                  <a:pt x="105108" y="54073"/>
                  <a:pt x="105737" y="57150"/>
                </a:cubicBezTo>
                <a:lnTo>
                  <a:pt x="125578" y="57150"/>
                </a:lnTo>
                <a:cubicBezTo>
                  <a:pt x="124511" y="54159"/>
                  <a:pt x="123825" y="50978"/>
                  <a:pt x="123825" y="47625"/>
                </a:cubicBezTo>
                <a:cubicBezTo>
                  <a:pt x="123825" y="31871"/>
                  <a:pt x="136646" y="19050"/>
                  <a:pt x="152400" y="19050"/>
                </a:cubicBezTo>
                <a:cubicBezTo>
                  <a:pt x="168154" y="19050"/>
                  <a:pt x="180975" y="31871"/>
                  <a:pt x="180975" y="47625"/>
                </a:cubicBezTo>
                <a:cubicBezTo>
                  <a:pt x="180975" y="63379"/>
                  <a:pt x="168154" y="76200"/>
                  <a:pt x="152400" y="76200"/>
                </a:cubicBezTo>
                <a:lnTo>
                  <a:pt x="114548" y="76200"/>
                </a:lnTo>
                <a:lnTo>
                  <a:pt x="28575" y="76200"/>
                </a:lnTo>
                <a:lnTo>
                  <a:pt x="28575" y="95250"/>
                </a:lnTo>
                <a:lnTo>
                  <a:pt x="152400" y="95250"/>
                </a:lnTo>
                <a:cubicBezTo>
                  <a:pt x="178660" y="95250"/>
                  <a:pt x="200025" y="73885"/>
                  <a:pt x="200025" y="47625"/>
                </a:cubicBezTo>
                <a:cubicBezTo>
                  <a:pt x="200025" y="21365"/>
                  <a:pt x="178660" y="0"/>
                  <a:pt x="152400" y="0"/>
                </a:cubicBezTo>
                <a:close/>
                <a:moveTo>
                  <a:pt x="266700" y="209550"/>
                </a:moveTo>
                <a:cubicBezTo>
                  <a:pt x="266700" y="183290"/>
                  <a:pt x="245335" y="161925"/>
                  <a:pt x="219075" y="161925"/>
                </a:cubicBezTo>
                <a:lnTo>
                  <a:pt x="66675" y="161925"/>
                </a:lnTo>
                <a:lnTo>
                  <a:pt x="66675" y="180975"/>
                </a:lnTo>
                <a:lnTo>
                  <a:pt x="181223" y="180975"/>
                </a:lnTo>
                <a:lnTo>
                  <a:pt x="219075" y="180975"/>
                </a:lnTo>
                <a:cubicBezTo>
                  <a:pt x="234829" y="180975"/>
                  <a:pt x="247650" y="193796"/>
                  <a:pt x="247650" y="209550"/>
                </a:cubicBezTo>
                <a:cubicBezTo>
                  <a:pt x="247650" y="225304"/>
                  <a:pt x="234829" y="238125"/>
                  <a:pt x="219075" y="238125"/>
                </a:cubicBezTo>
                <a:cubicBezTo>
                  <a:pt x="203321" y="238125"/>
                  <a:pt x="190500" y="225304"/>
                  <a:pt x="190500" y="209550"/>
                </a:cubicBezTo>
                <a:cubicBezTo>
                  <a:pt x="190500" y="206197"/>
                  <a:pt x="191186" y="203016"/>
                  <a:pt x="192253" y="200025"/>
                </a:cubicBezTo>
                <a:lnTo>
                  <a:pt x="172412" y="200025"/>
                </a:lnTo>
                <a:cubicBezTo>
                  <a:pt x="171783" y="203102"/>
                  <a:pt x="171450" y="206292"/>
                  <a:pt x="171450" y="209550"/>
                </a:cubicBezTo>
                <a:cubicBezTo>
                  <a:pt x="171450" y="235810"/>
                  <a:pt x="192815" y="257175"/>
                  <a:pt x="219075" y="257175"/>
                </a:cubicBezTo>
                <a:cubicBezTo>
                  <a:pt x="245335" y="257175"/>
                  <a:pt x="266700" y="235810"/>
                  <a:pt x="266700" y="209550"/>
                </a:cubicBezTo>
                <a:close/>
              </a:path>
            </a:pathLst>
          </a:custGeom>
          <a:solidFill>
            <a:schemeClr val="tx2"/>
          </a:solidFill>
          <a:ln w="9525" cap="flat">
            <a:noFill/>
            <a:prstDash val="solid"/>
            <a:miter/>
          </a:ln>
        </p:spPr>
        <p:txBody>
          <a:bodyPr rtlCol="0" anchor="ctr"/>
          <a:lstStyle/>
          <a:p>
            <a:endParaRPr lang="en-GB" dirty="0"/>
          </a:p>
        </p:txBody>
      </p:sp>
      <p:sp>
        <p:nvSpPr>
          <p:cNvPr id="79" name="TextBox 78">
            <a:extLst>
              <a:ext uri="{FF2B5EF4-FFF2-40B4-BE49-F238E27FC236}">
                <a16:creationId xmlns:a16="http://schemas.microsoft.com/office/drawing/2014/main" id="{95DC8D0F-3810-4104-8F33-3255932823B1}"/>
              </a:ext>
            </a:extLst>
          </p:cNvPr>
          <p:cNvSpPr txBox="1"/>
          <p:nvPr/>
        </p:nvSpPr>
        <p:spPr>
          <a:xfrm>
            <a:off x="372461" y="2077494"/>
            <a:ext cx="843181" cy="215444"/>
          </a:xfrm>
          <a:prstGeom prst="rect">
            <a:avLst/>
          </a:prstGeom>
          <a:noFill/>
          <a:effectLst/>
        </p:spPr>
        <p:txBody>
          <a:bodyPr wrap="none" lIns="0" tIns="0" rIns="0" bIns="0" rtlCol="0" anchor="t">
            <a:spAutoFit/>
          </a:bodyPr>
          <a:lstStyle/>
          <a:p>
            <a:pPr algn="ctr"/>
            <a:r>
              <a:rPr lang="en-GB" sz="700" dirty="0">
                <a:solidFill>
                  <a:schemeClr val="tx2"/>
                </a:solidFill>
              </a:rPr>
              <a:t>Tropical cyclone</a:t>
            </a:r>
            <a:br>
              <a:rPr lang="en-GB" sz="700" dirty="0">
                <a:solidFill>
                  <a:schemeClr val="tx2"/>
                </a:solidFill>
              </a:rPr>
            </a:br>
            <a:r>
              <a:rPr lang="en-GB" sz="700" dirty="0">
                <a:solidFill>
                  <a:schemeClr val="tx2"/>
                </a:solidFill>
              </a:rPr>
              <a:t>northern hemisphere</a:t>
            </a:r>
          </a:p>
        </p:txBody>
      </p:sp>
      <p:sp>
        <p:nvSpPr>
          <p:cNvPr id="80" name="TextBox 79">
            <a:extLst>
              <a:ext uri="{FF2B5EF4-FFF2-40B4-BE49-F238E27FC236}">
                <a16:creationId xmlns:a16="http://schemas.microsoft.com/office/drawing/2014/main" id="{E98CB1CD-2C7D-4F06-B208-F4B3FF75C874}"/>
              </a:ext>
            </a:extLst>
          </p:cNvPr>
          <p:cNvSpPr txBox="1"/>
          <p:nvPr/>
        </p:nvSpPr>
        <p:spPr>
          <a:xfrm>
            <a:off x="522341" y="2899619"/>
            <a:ext cx="543418" cy="215444"/>
          </a:xfrm>
          <a:prstGeom prst="rect">
            <a:avLst/>
          </a:prstGeom>
          <a:noFill/>
          <a:effectLst/>
        </p:spPr>
        <p:txBody>
          <a:bodyPr wrap="none" lIns="0" tIns="0" rIns="0" bIns="0" rtlCol="0" anchor="t">
            <a:spAutoFit/>
          </a:bodyPr>
          <a:lstStyle/>
          <a:p>
            <a:pPr algn="ctr"/>
            <a:r>
              <a:rPr lang="en-GB" sz="700" dirty="0">
                <a:solidFill>
                  <a:schemeClr val="tx2"/>
                </a:solidFill>
              </a:rPr>
              <a:t>Twitter</a:t>
            </a:r>
            <a:br>
              <a:rPr lang="en-GB" sz="700" dirty="0">
                <a:solidFill>
                  <a:schemeClr val="tx2"/>
                </a:solidFill>
              </a:rPr>
            </a:br>
            <a:r>
              <a:rPr lang="en-GB" sz="700" dirty="0">
                <a:solidFill>
                  <a:schemeClr val="tx2"/>
                </a:solidFill>
              </a:rPr>
              <a:t>answer-2-2px</a:t>
            </a:r>
          </a:p>
        </p:txBody>
      </p:sp>
      <p:sp>
        <p:nvSpPr>
          <p:cNvPr id="81" name="TextBox 80">
            <a:extLst>
              <a:ext uri="{FF2B5EF4-FFF2-40B4-BE49-F238E27FC236}">
                <a16:creationId xmlns:a16="http://schemas.microsoft.com/office/drawing/2014/main" id="{9FAE28FA-19DB-4B87-B6A0-251335C37CB6}"/>
              </a:ext>
            </a:extLst>
          </p:cNvPr>
          <p:cNvSpPr txBox="1"/>
          <p:nvPr/>
        </p:nvSpPr>
        <p:spPr>
          <a:xfrm>
            <a:off x="559210" y="3723675"/>
            <a:ext cx="469680" cy="215444"/>
          </a:xfrm>
          <a:prstGeom prst="rect">
            <a:avLst/>
          </a:prstGeom>
          <a:noFill/>
          <a:effectLst/>
        </p:spPr>
        <p:txBody>
          <a:bodyPr wrap="none" lIns="0" tIns="0" rIns="0" bIns="0" rtlCol="0" anchor="t">
            <a:spAutoFit/>
          </a:bodyPr>
          <a:lstStyle/>
          <a:p>
            <a:pPr algn="ctr"/>
            <a:r>
              <a:rPr lang="en-GB" sz="700" dirty="0">
                <a:solidFill>
                  <a:schemeClr val="tx2"/>
                </a:solidFill>
              </a:rPr>
              <a:t>Twitter</a:t>
            </a:r>
            <a:br>
              <a:rPr lang="en-GB" sz="700" dirty="0">
                <a:solidFill>
                  <a:schemeClr val="tx2"/>
                </a:solidFill>
              </a:rPr>
            </a:br>
            <a:r>
              <a:rPr lang="en-GB" sz="700" dirty="0">
                <a:solidFill>
                  <a:schemeClr val="tx2"/>
                </a:solidFill>
              </a:rPr>
              <a:t>retweet-4px</a:t>
            </a:r>
          </a:p>
        </p:txBody>
      </p:sp>
      <p:sp>
        <p:nvSpPr>
          <p:cNvPr id="82" name="TextBox 81">
            <a:extLst>
              <a:ext uri="{FF2B5EF4-FFF2-40B4-BE49-F238E27FC236}">
                <a16:creationId xmlns:a16="http://schemas.microsoft.com/office/drawing/2014/main" id="{19E91C56-E994-4796-94D8-9DBC6A4469E3}"/>
              </a:ext>
            </a:extLst>
          </p:cNvPr>
          <p:cNvSpPr txBox="1"/>
          <p:nvPr/>
        </p:nvSpPr>
        <p:spPr>
          <a:xfrm>
            <a:off x="600086" y="4547732"/>
            <a:ext cx="387927" cy="107722"/>
          </a:xfrm>
          <a:prstGeom prst="rect">
            <a:avLst/>
          </a:prstGeom>
          <a:noFill/>
          <a:effectLst/>
        </p:spPr>
        <p:txBody>
          <a:bodyPr wrap="none" lIns="0" tIns="0" rIns="0" bIns="0" rtlCol="0" anchor="t">
            <a:spAutoFit/>
          </a:bodyPr>
          <a:lstStyle/>
          <a:p>
            <a:pPr algn="ctr"/>
            <a:r>
              <a:rPr lang="en-GB" sz="700" dirty="0">
                <a:solidFill>
                  <a:schemeClr val="tx2"/>
                </a:solidFill>
              </a:rPr>
              <a:t>USB stick</a:t>
            </a:r>
          </a:p>
        </p:txBody>
      </p:sp>
      <p:sp>
        <p:nvSpPr>
          <p:cNvPr id="83" name="TextBox 82">
            <a:extLst>
              <a:ext uri="{FF2B5EF4-FFF2-40B4-BE49-F238E27FC236}">
                <a16:creationId xmlns:a16="http://schemas.microsoft.com/office/drawing/2014/main" id="{8EA68814-D658-4053-8D21-43F72BE23296}"/>
              </a:ext>
            </a:extLst>
          </p:cNvPr>
          <p:cNvSpPr txBox="1"/>
          <p:nvPr/>
        </p:nvSpPr>
        <p:spPr>
          <a:xfrm>
            <a:off x="1417893" y="2077494"/>
            <a:ext cx="843181" cy="215444"/>
          </a:xfrm>
          <a:prstGeom prst="rect">
            <a:avLst/>
          </a:prstGeom>
          <a:noFill/>
          <a:effectLst/>
        </p:spPr>
        <p:txBody>
          <a:bodyPr wrap="none" lIns="0" tIns="0" rIns="0" bIns="0" rtlCol="0" anchor="t">
            <a:spAutoFit/>
          </a:bodyPr>
          <a:lstStyle/>
          <a:p>
            <a:pPr algn="ctr"/>
            <a:r>
              <a:rPr lang="en-GB" sz="700">
                <a:solidFill>
                  <a:schemeClr val="tx2"/>
                </a:solidFill>
              </a:rPr>
              <a:t>Tropical cyclone</a:t>
            </a:r>
            <a:br>
              <a:rPr lang="en-GB" sz="700">
                <a:solidFill>
                  <a:schemeClr val="tx2"/>
                </a:solidFill>
              </a:rPr>
            </a:br>
            <a:r>
              <a:rPr lang="en-GB" sz="700">
                <a:solidFill>
                  <a:schemeClr val="tx2"/>
                </a:solidFill>
              </a:rPr>
              <a:t>southern hemisphere</a:t>
            </a:r>
            <a:endParaRPr lang="en-GB" sz="700" dirty="0">
              <a:solidFill>
                <a:schemeClr val="tx2"/>
              </a:solidFill>
            </a:endParaRPr>
          </a:p>
        </p:txBody>
      </p:sp>
      <p:sp>
        <p:nvSpPr>
          <p:cNvPr id="84" name="TextBox 83">
            <a:extLst>
              <a:ext uri="{FF2B5EF4-FFF2-40B4-BE49-F238E27FC236}">
                <a16:creationId xmlns:a16="http://schemas.microsoft.com/office/drawing/2014/main" id="{119448CC-E8D3-43D8-89A3-E8588FF72752}"/>
              </a:ext>
            </a:extLst>
          </p:cNvPr>
          <p:cNvSpPr txBox="1"/>
          <p:nvPr/>
        </p:nvSpPr>
        <p:spPr>
          <a:xfrm>
            <a:off x="1607849" y="2899619"/>
            <a:ext cx="463268" cy="215444"/>
          </a:xfrm>
          <a:prstGeom prst="rect">
            <a:avLst/>
          </a:prstGeom>
          <a:noFill/>
          <a:effectLst/>
        </p:spPr>
        <p:txBody>
          <a:bodyPr wrap="none" lIns="0" tIns="0" rIns="0" bIns="0" rtlCol="0" anchor="t">
            <a:spAutoFit/>
          </a:bodyPr>
          <a:lstStyle/>
          <a:p>
            <a:pPr algn="ctr"/>
            <a:r>
              <a:rPr lang="en-GB" sz="700" dirty="0">
                <a:solidFill>
                  <a:schemeClr val="tx2"/>
                </a:solidFill>
              </a:rPr>
              <a:t>Twitter</a:t>
            </a:r>
            <a:br>
              <a:rPr lang="en-GB" sz="700" dirty="0">
                <a:solidFill>
                  <a:schemeClr val="tx2"/>
                </a:solidFill>
              </a:rPr>
            </a:br>
            <a:r>
              <a:rPr lang="en-GB" sz="700" dirty="0">
                <a:solidFill>
                  <a:schemeClr val="tx2"/>
                </a:solidFill>
              </a:rPr>
              <a:t>answer-2xp</a:t>
            </a:r>
          </a:p>
        </p:txBody>
      </p:sp>
      <p:sp>
        <p:nvSpPr>
          <p:cNvPr id="85" name="TextBox 84">
            <a:extLst>
              <a:ext uri="{FF2B5EF4-FFF2-40B4-BE49-F238E27FC236}">
                <a16:creationId xmlns:a16="http://schemas.microsoft.com/office/drawing/2014/main" id="{B26BEE6E-9F0D-4D5A-8F2E-578C79B941D3}"/>
              </a:ext>
            </a:extLst>
          </p:cNvPr>
          <p:cNvSpPr txBox="1"/>
          <p:nvPr/>
        </p:nvSpPr>
        <p:spPr>
          <a:xfrm>
            <a:off x="1564568" y="3723675"/>
            <a:ext cx="549831" cy="215444"/>
          </a:xfrm>
          <a:prstGeom prst="rect">
            <a:avLst/>
          </a:prstGeom>
          <a:noFill/>
          <a:effectLst/>
        </p:spPr>
        <p:txBody>
          <a:bodyPr wrap="none" lIns="0" tIns="0" rIns="0" bIns="0" rtlCol="0" anchor="t">
            <a:spAutoFit/>
          </a:bodyPr>
          <a:lstStyle/>
          <a:p>
            <a:pPr algn="ctr"/>
            <a:r>
              <a:rPr lang="en-GB" sz="700" dirty="0">
                <a:solidFill>
                  <a:schemeClr val="tx2"/>
                </a:solidFill>
              </a:rPr>
              <a:t>Twitter</a:t>
            </a:r>
            <a:br>
              <a:rPr lang="en-GB" sz="700" dirty="0">
                <a:solidFill>
                  <a:schemeClr val="tx2"/>
                </a:solidFill>
              </a:rPr>
            </a:br>
            <a:r>
              <a:rPr lang="en-GB" sz="700" dirty="0">
                <a:solidFill>
                  <a:schemeClr val="tx2"/>
                </a:solidFill>
              </a:rPr>
              <a:t>retweet-2-2px</a:t>
            </a:r>
          </a:p>
        </p:txBody>
      </p:sp>
      <p:sp>
        <p:nvSpPr>
          <p:cNvPr id="86" name="TextBox 85">
            <a:extLst>
              <a:ext uri="{FF2B5EF4-FFF2-40B4-BE49-F238E27FC236}">
                <a16:creationId xmlns:a16="http://schemas.microsoft.com/office/drawing/2014/main" id="{8B02120E-EF5E-46DA-9ADE-24B6112EF3DB}"/>
              </a:ext>
            </a:extLst>
          </p:cNvPr>
          <p:cNvSpPr txBox="1"/>
          <p:nvPr/>
        </p:nvSpPr>
        <p:spPr>
          <a:xfrm>
            <a:off x="1725672" y="4547732"/>
            <a:ext cx="227626" cy="107722"/>
          </a:xfrm>
          <a:prstGeom prst="rect">
            <a:avLst/>
          </a:prstGeom>
          <a:noFill/>
          <a:effectLst/>
        </p:spPr>
        <p:txBody>
          <a:bodyPr wrap="none" lIns="0" tIns="0" rIns="0" bIns="0" rtlCol="0" anchor="t">
            <a:spAutoFit/>
          </a:bodyPr>
          <a:lstStyle/>
          <a:p>
            <a:pPr algn="ctr"/>
            <a:r>
              <a:rPr lang="en-GB" sz="700" dirty="0">
                <a:solidFill>
                  <a:schemeClr val="tx2"/>
                </a:solidFill>
              </a:rPr>
              <a:t>Video</a:t>
            </a:r>
          </a:p>
        </p:txBody>
      </p:sp>
      <p:sp>
        <p:nvSpPr>
          <p:cNvPr id="87" name="TextBox 86">
            <a:extLst>
              <a:ext uri="{FF2B5EF4-FFF2-40B4-BE49-F238E27FC236}">
                <a16:creationId xmlns:a16="http://schemas.microsoft.com/office/drawing/2014/main" id="{86C90105-421F-4908-8195-FDBE101F3939}"/>
              </a:ext>
            </a:extLst>
          </p:cNvPr>
          <p:cNvSpPr txBox="1"/>
          <p:nvPr/>
        </p:nvSpPr>
        <p:spPr>
          <a:xfrm>
            <a:off x="2672520" y="2077494"/>
            <a:ext cx="424796" cy="107722"/>
          </a:xfrm>
          <a:prstGeom prst="rect">
            <a:avLst/>
          </a:prstGeom>
          <a:noFill/>
          <a:effectLst/>
        </p:spPr>
        <p:txBody>
          <a:bodyPr wrap="none" lIns="0" tIns="0" rIns="0" bIns="0" rtlCol="0" anchor="t">
            <a:spAutoFit/>
          </a:bodyPr>
          <a:lstStyle/>
          <a:p>
            <a:pPr algn="ctr"/>
            <a:r>
              <a:rPr lang="en-GB" sz="700">
                <a:solidFill>
                  <a:schemeClr val="tx2"/>
                </a:solidFill>
              </a:rPr>
              <a:t>Truck/lorry</a:t>
            </a:r>
            <a:endParaRPr lang="en-GB" sz="700" dirty="0">
              <a:solidFill>
                <a:schemeClr val="tx2"/>
              </a:solidFill>
            </a:endParaRPr>
          </a:p>
        </p:txBody>
      </p:sp>
      <p:sp>
        <p:nvSpPr>
          <p:cNvPr id="88" name="TextBox 87">
            <a:extLst>
              <a:ext uri="{FF2B5EF4-FFF2-40B4-BE49-F238E27FC236}">
                <a16:creationId xmlns:a16="http://schemas.microsoft.com/office/drawing/2014/main" id="{FFE645C6-AB8C-444C-9FFB-1FA91556FB85}"/>
              </a:ext>
            </a:extLst>
          </p:cNvPr>
          <p:cNvSpPr txBox="1"/>
          <p:nvPr/>
        </p:nvSpPr>
        <p:spPr>
          <a:xfrm>
            <a:off x="2653284" y="2899619"/>
            <a:ext cx="463268" cy="215444"/>
          </a:xfrm>
          <a:prstGeom prst="rect">
            <a:avLst/>
          </a:prstGeom>
          <a:noFill/>
          <a:effectLst/>
        </p:spPr>
        <p:txBody>
          <a:bodyPr wrap="none" lIns="0" tIns="0" rIns="0" bIns="0" rtlCol="0" anchor="t">
            <a:spAutoFit/>
          </a:bodyPr>
          <a:lstStyle/>
          <a:p>
            <a:pPr algn="ctr"/>
            <a:r>
              <a:rPr lang="en-GB" sz="700" dirty="0">
                <a:solidFill>
                  <a:schemeClr val="tx2"/>
                </a:solidFill>
              </a:rPr>
              <a:t>Twitter</a:t>
            </a:r>
            <a:br>
              <a:rPr lang="en-GB" sz="700" dirty="0">
                <a:solidFill>
                  <a:schemeClr val="tx2"/>
                </a:solidFill>
              </a:rPr>
            </a:br>
            <a:r>
              <a:rPr lang="en-GB" sz="700" dirty="0">
                <a:solidFill>
                  <a:schemeClr val="tx2"/>
                </a:solidFill>
              </a:rPr>
              <a:t>answer-4px</a:t>
            </a:r>
          </a:p>
        </p:txBody>
      </p:sp>
      <p:sp>
        <p:nvSpPr>
          <p:cNvPr id="89" name="TextBox 88">
            <a:extLst>
              <a:ext uri="{FF2B5EF4-FFF2-40B4-BE49-F238E27FC236}">
                <a16:creationId xmlns:a16="http://schemas.microsoft.com/office/drawing/2014/main" id="{74B4A36A-63E8-4CE0-852A-067226AAAE9A}"/>
              </a:ext>
            </a:extLst>
          </p:cNvPr>
          <p:cNvSpPr txBox="1"/>
          <p:nvPr/>
        </p:nvSpPr>
        <p:spPr>
          <a:xfrm>
            <a:off x="2624429" y="3723675"/>
            <a:ext cx="520976" cy="107722"/>
          </a:xfrm>
          <a:prstGeom prst="rect">
            <a:avLst/>
          </a:prstGeom>
          <a:noFill/>
          <a:effectLst/>
        </p:spPr>
        <p:txBody>
          <a:bodyPr wrap="none" lIns="0" tIns="0" rIns="0" bIns="0" rtlCol="0" anchor="t">
            <a:spAutoFit/>
          </a:bodyPr>
          <a:lstStyle/>
          <a:p>
            <a:pPr algn="ctr"/>
            <a:r>
              <a:rPr lang="en-GB" sz="700">
                <a:solidFill>
                  <a:schemeClr val="tx2"/>
                </a:solidFill>
              </a:rPr>
              <a:t>Upload cloud</a:t>
            </a:r>
            <a:endParaRPr lang="en-GB" sz="700" dirty="0">
              <a:solidFill>
                <a:schemeClr val="tx2"/>
              </a:solidFill>
            </a:endParaRPr>
          </a:p>
        </p:txBody>
      </p:sp>
      <p:sp>
        <p:nvSpPr>
          <p:cNvPr id="90" name="TextBox 89">
            <a:extLst>
              <a:ext uri="{FF2B5EF4-FFF2-40B4-BE49-F238E27FC236}">
                <a16:creationId xmlns:a16="http://schemas.microsoft.com/office/drawing/2014/main" id="{4AC7FA88-77C7-48C5-8E6F-279518D5F04E}"/>
              </a:ext>
            </a:extLst>
          </p:cNvPr>
          <p:cNvSpPr txBox="1"/>
          <p:nvPr/>
        </p:nvSpPr>
        <p:spPr>
          <a:xfrm>
            <a:off x="2758281" y="4547732"/>
            <a:ext cx="253274" cy="107722"/>
          </a:xfrm>
          <a:prstGeom prst="rect">
            <a:avLst/>
          </a:prstGeom>
          <a:noFill/>
          <a:effectLst/>
        </p:spPr>
        <p:txBody>
          <a:bodyPr wrap="none" lIns="0" tIns="0" rIns="0" bIns="0" rtlCol="0" anchor="t">
            <a:spAutoFit/>
          </a:bodyPr>
          <a:lstStyle/>
          <a:p>
            <a:pPr algn="ctr"/>
            <a:r>
              <a:rPr lang="en-GB" sz="700" dirty="0">
                <a:solidFill>
                  <a:schemeClr val="tx2"/>
                </a:solidFill>
              </a:rPr>
              <a:t>Voting</a:t>
            </a:r>
          </a:p>
        </p:txBody>
      </p:sp>
      <p:sp>
        <p:nvSpPr>
          <p:cNvPr id="91" name="TextBox 90">
            <a:extLst>
              <a:ext uri="{FF2B5EF4-FFF2-40B4-BE49-F238E27FC236}">
                <a16:creationId xmlns:a16="http://schemas.microsoft.com/office/drawing/2014/main" id="{D4FB88CF-2068-40B3-9995-B7287CDDAA1D}"/>
              </a:ext>
            </a:extLst>
          </p:cNvPr>
          <p:cNvSpPr txBox="1"/>
          <p:nvPr/>
        </p:nvSpPr>
        <p:spPr>
          <a:xfrm>
            <a:off x="3795700" y="2077494"/>
            <a:ext cx="269304" cy="107722"/>
          </a:xfrm>
          <a:prstGeom prst="rect">
            <a:avLst/>
          </a:prstGeom>
          <a:noFill/>
          <a:effectLst/>
        </p:spPr>
        <p:txBody>
          <a:bodyPr wrap="none" lIns="0" tIns="0" rIns="0" bIns="0" rtlCol="0" anchor="t">
            <a:spAutoFit/>
          </a:bodyPr>
          <a:lstStyle/>
          <a:p>
            <a:pPr algn="ctr"/>
            <a:r>
              <a:rPr lang="en-GB" sz="700" dirty="0">
                <a:solidFill>
                  <a:schemeClr val="tx2"/>
                </a:solidFill>
              </a:rPr>
              <a:t>Twitter</a:t>
            </a:r>
          </a:p>
        </p:txBody>
      </p:sp>
      <p:sp>
        <p:nvSpPr>
          <p:cNvPr id="92" name="TextBox 91">
            <a:extLst>
              <a:ext uri="{FF2B5EF4-FFF2-40B4-BE49-F238E27FC236}">
                <a16:creationId xmlns:a16="http://schemas.microsoft.com/office/drawing/2014/main" id="{CFA8D930-9EC4-481A-A225-CB64CFC7B611}"/>
              </a:ext>
            </a:extLst>
          </p:cNvPr>
          <p:cNvSpPr txBox="1"/>
          <p:nvPr/>
        </p:nvSpPr>
        <p:spPr>
          <a:xfrm>
            <a:off x="3655436" y="2899619"/>
            <a:ext cx="549831" cy="215444"/>
          </a:xfrm>
          <a:prstGeom prst="rect">
            <a:avLst/>
          </a:prstGeom>
          <a:noFill/>
          <a:effectLst/>
        </p:spPr>
        <p:txBody>
          <a:bodyPr wrap="none" lIns="0" tIns="0" rIns="0" bIns="0" rtlCol="0" anchor="t">
            <a:spAutoFit/>
          </a:bodyPr>
          <a:lstStyle/>
          <a:p>
            <a:pPr algn="ctr"/>
            <a:r>
              <a:rPr lang="en-GB" sz="700" dirty="0">
                <a:solidFill>
                  <a:schemeClr val="tx2"/>
                </a:solidFill>
              </a:rPr>
              <a:t>Twitter</a:t>
            </a:r>
            <a:br>
              <a:rPr lang="en-GB" sz="700" dirty="0">
                <a:solidFill>
                  <a:schemeClr val="tx2"/>
                </a:solidFill>
              </a:rPr>
            </a:br>
            <a:r>
              <a:rPr lang="en-GB" sz="700" dirty="0">
                <a:solidFill>
                  <a:schemeClr val="tx2"/>
                </a:solidFill>
              </a:rPr>
              <a:t>retweet-2-2px</a:t>
            </a:r>
          </a:p>
        </p:txBody>
      </p:sp>
      <p:sp>
        <p:nvSpPr>
          <p:cNvPr id="93" name="TextBox 92">
            <a:extLst>
              <a:ext uri="{FF2B5EF4-FFF2-40B4-BE49-F238E27FC236}">
                <a16:creationId xmlns:a16="http://schemas.microsoft.com/office/drawing/2014/main" id="{02A16E59-7BD2-4732-8AB8-0C0D798748F1}"/>
              </a:ext>
            </a:extLst>
          </p:cNvPr>
          <p:cNvSpPr txBox="1"/>
          <p:nvPr/>
        </p:nvSpPr>
        <p:spPr>
          <a:xfrm>
            <a:off x="3719555" y="3723675"/>
            <a:ext cx="421590" cy="107722"/>
          </a:xfrm>
          <a:prstGeom prst="rect">
            <a:avLst/>
          </a:prstGeom>
          <a:noFill/>
          <a:effectLst/>
        </p:spPr>
        <p:txBody>
          <a:bodyPr wrap="none" lIns="0" tIns="0" rIns="0" bIns="0" rtlCol="0" anchor="t">
            <a:spAutoFit/>
          </a:bodyPr>
          <a:lstStyle/>
          <a:p>
            <a:pPr algn="ctr"/>
            <a:r>
              <a:rPr lang="en-GB" sz="700" dirty="0">
                <a:solidFill>
                  <a:schemeClr val="tx2"/>
                </a:solidFill>
              </a:rPr>
              <a:t>Upload file</a:t>
            </a:r>
          </a:p>
        </p:txBody>
      </p:sp>
      <p:sp>
        <p:nvSpPr>
          <p:cNvPr id="94" name="TextBox 93">
            <a:extLst>
              <a:ext uri="{FF2B5EF4-FFF2-40B4-BE49-F238E27FC236}">
                <a16:creationId xmlns:a16="http://schemas.microsoft.com/office/drawing/2014/main" id="{08F5AC9D-DB06-4073-9427-2F2A7AA87D66}"/>
              </a:ext>
            </a:extLst>
          </p:cNvPr>
          <p:cNvSpPr txBox="1"/>
          <p:nvPr/>
        </p:nvSpPr>
        <p:spPr>
          <a:xfrm>
            <a:off x="3660244" y="4547732"/>
            <a:ext cx="540212" cy="107722"/>
          </a:xfrm>
          <a:prstGeom prst="rect">
            <a:avLst/>
          </a:prstGeom>
          <a:noFill/>
          <a:effectLst/>
        </p:spPr>
        <p:txBody>
          <a:bodyPr wrap="none" lIns="0" tIns="0" rIns="0" bIns="0" rtlCol="0" anchor="t">
            <a:spAutoFit/>
          </a:bodyPr>
          <a:lstStyle/>
          <a:p>
            <a:pPr algn="ctr"/>
            <a:r>
              <a:rPr lang="en-GB" sz="700" dirty="0">
                <a:solidFill>
                  <a:schemeClr val="tx2"/>
                </a:solidFill>
              </a:rPr>
              <a:t>Water droplet</a:t>
            </a:r>
          </a:p>
        </p:txBody>
      </p:sp>
      <p:sp>
        <p:nvSpPr>
          <p:cNvPr id="95" name="TextBox 94">
            <a:extLst>
              <a:ext uri="{FF2B5EF4-FFF2-40B4-BE49-F238E27FC236}">
                <a16:creationId xmlns:a16="http://schemas.microsoft.com/office/drawing/2014/main" id="{5F942A0B-735D-4E0B-86C6-959EE5B06831}"/>
              </a:ext>
            </a:extLst>
          </p:cNvPr>
          <p:cNvSpPr txBox="1"/>
          <p:nvPr/>
        </p:nvSpPr>
        <p:spPr>
          <a:xfrm>
            <a:off x="4931529" y="2077494"/>
            <a:ext cx="562655" cy="107722"/>
          </a:xfrm>
          <a:prstGeom prst="rect">
            <a:avLst/>
          </a:prstGeom>
          <a:noFill/>
          <a:effectLst/>
        </p:spPr>
        <p:txBody>
          <a:bodyPr wrap="none" lIns="0" tIns="0" rIns="0" bIns="0" rtlCol="0" anchor="t">
            <a:spAutoFit/>
          </a:bodyPr>
          <a:lstStyle/>
          <a:p>
            <a:pPr algn="ctr"/>
            <a:r>
              <a:rPr lang="en-GB" sz="700" dirty="0">
                <a:solidFill>
                  <a:schemeClr val="tx2"/>
                </a:solidFill>
              </a:rPr>
              <a:t>Water shut off</a:t>
            </a:r>
          </a:p>
        </p:txBody>
      </p:sp>
      <p:sp>
        <p:nvSpPr>
          <p:cNvPr id="96" name="TextBox 95">
            <a:extLst>
              <a:ext uri="{FF2B5EF4-FFF2-40B4-BE49-F238E27FC236}">
                <a16:creationId xmlns:a16="http://schemas.microsoft.com/office/drawing/2014/main" id="{7F4E1862-6ED3-4F8E-8632-84F84A2474B0}"/>
              </a:ext>
            </a:extLst>
          </p:cNvPr>
          <p:cNvSpPr txBox="1"/>
          <p:nvPr/>
        </p:nvSpPr>
        <p:spPr>
          <a:xfrm>
            <a:off x="5026107" y="2899619"/>
            <a:ext cx="373499" cy="107722"/>
          </a:xfrm>
          <a:prstGeom prst="rect">
            <a:avLst/>
          </a:prstGeom>
          <a:noFill/>
          <a:effectLst/>
        </p:spPr>
        <p:txBody>
          <a:bodyPr wrap="none" lIns="0" tIns="0" rIns="0" bIns="0" rtlCol="0" anchor="t">
            <a:spAutoFit/>
          </a:bodyPr>
          <a:lstStyle/>
          <a:p>
            <a:pPr algn="ctr"/>
            <a:r>
              <a:rPr lang="en-GB" sz="700" dirty="0">
                <a:solidFill>
                  <a:schemeClr val="tx2"/>
                </a:solidFill>
              </a:rPr>
              <a:t>Welcome</a:t>
            </a:r>
          </a:p>
        </p:txBody>
      </p:sp>
      <p:sp>
        <p:nvSpPr>
          <p:cNvPr id="97" name="TextBox 96">
            <a:extLst>
              <a:ext uri="{FF2B5EF4-FFF2-40B4-BE49-F238E27FC236}">
                <a16:creationId xmlns:a16="http://schemas.microsoft.com/office/drawing/2014/main" id="{8A2A0CF7-BA46-497F-B8D7-AA87A20A9FFC}"/>
              </a:ext>
            </a:extLst>
          </p:cNvPr>
          <p:cNvSpPr txBox="1"/>
          <p:nvPr/>
        </p:nvSpPr>
        <p:spPr>
          <a:xfrm>
            <a:off x="4998052" y="3723675"/>
            <a:ext cx="429606" cy="107722"/>
          </a:xfrm>
          <a:prstGeom prst="rect">
            <a:avLst/>
          </a:prstGeom>
          <a:noFill/>
          <a:effectLst/>
        </p:spPr>
        <p:txBody>
          <a:bodyPr wrap="none" lIns="0" tIns="0" rIns="0" bIns="0" rtlCol="0" anchor="t">
            <a:spAutoFit/>
          </a:bodyPr>
          <a:lstStyle/>
          <a:p>
            <a:pPr algn="ctr"/>
            <a:r>
              <a:rPr lang="en-GB" sz="700" dirty="0">
                <a:solidFill>
                  <a:schemeClr val="tx2"/>
                </a:solidFill>
              </a:rPr>
              <a:t>Windstorm</a:t>
            </a:r>
          </a:p>
        </p:txBody>
      </p:sp>
      <p:sp>
        <p:nvSpPr>
          <p:cNvPr id="98" name="TextBox 97">
            <a:extLst>
              <a:ext uri="{FF2B5EF4-FFF2-40B4-BE49-F238E27FC236}">
                <a16:creationId xmlns:a16="http://schemas.microsoft.com/office/drawing/2014/main" id="{13302FFC-26A9-4756-9B2A-69D3C855849F}"/>
              </a:ext>
            </a:extLst>
          </p:cNvPr>
          <p:cNvSpPr txBox="1"/>
          <p:nvPr/>
        </p:nvSpPr>
        <p:spPr>
          <a:xfrm>
            <a:off x="6066731" y="2077494"/>
            <a:ext cx="383118" cy="107722"/>
          </a:xfrm>
          <a:prstGeom prst="rect">
            <a:avLst/>
          </a:prstGeom>
          <a:noFill/>
          <a:effectLst/>
        </p:spPr>
        <p:txBody>
          <a:bodyPr wrap="none" lIns="0" tIns="0" rIns="0" bIns="0" rtlCol="0" anchor="t">
            <a:spAutoFit/>
          </a:bodyPr>
          <a:lstStyle/>
          <a:p>
            <a:pPr algn="ctr"/>
            <a:r>
              <a:rPr lang="en-GB" sz="700" dirty="0">
                <a:solidFill>
                  <a:schemeClr val="tx2"/>
                </a:solidFill>
              </a:rPr>
              <a:t>Wearable</a:t>
            </a:r>
          </a:p>
        </p:txBody>
      </p:sp>
      <p:sp>
        <p:nvSpPr>
          <p:cNvPr id="99" name="TextBox 98">
            <a:extLst>
              <a:ext uri="{FF2B5EF4-FFF2-40B4-BE49-F238E27FC236}">
                <a16:creationId xmlns:a16="http://schemas.microsoft.com/office/drawing/2014/main" id="{E2D580CC-7077-452A-984F-3FF4880B379C}"/>
              </a:ext>
            </a:extLst>
          </p:cNvPr>
          <p:cNvSpPr txBox="1"/>
          <p:nvPr/>
        </p:nvSpPr>
        <p:spPr>
          <a:xfrm>
            <a:off x="6051503" y="2899619"/>
            <a:ext cx="413576" cy="107722"/>
          </a:xfrm>
          <a:prstGeom prst="rect">
            <a:avLst/>
          </a:prstGeom>
          <a:noFill/>
          <a:effectLst/>
        </p:spPr>
        <p:txBody>
          <a:bodyPr wrap="none" lIns="0" tIns="0" rIns="0" bIns="0" rtlCol="0" anchor="t">
            <a:spAutoFit/>
          </a:bodyPr>
          <a:lstStyle/>
          <a:p>
            <a:pPr algn="ctr"/>
            <a:r>
              <a:rPr lang="en-GB" sz="700" dirty="0">
                <a:solidFill>
                  <a:schemeClr val="tx2"/>
                </a:solidFill>
              </a:rPr>
              <a:t>WhatsApp</a:t>
            </a:r>
          </a:p>
        </p:txBody>
      </p:sp>
      <p:sp>
        <p:nvSpPr>
          <p:cNvPr id="100" name="TextBox 99">
            <a:extLst>
              <a:ext uri="{FF2B5EF4-FFF2-40B4-BE49-F238E27FC236}">
                <a16:creationId xmlns:a16="http://schemas.microsoft.com/office/drawing/2014/main" id="{7D150ABB-995A-416F-8D58-99B00F628357}"/>
              </a:ext>
            </a:extLst>
          </p:cNvPr>
          <p:cNvSpPr txBox="1"/>
          <p:nvPr/>
        </p:nvSpPr>
        <p:spPr>
          <a:xfrm>
            <a:off x="6103600" y="3723675"/>
            <a:ext cx="309380" cy="107722"/>
          </a:xfrm>
          <a:prstGeom prst="rect">
            <a:avLst/>
          </a:prstGeom>
          <a:noFill/>
          <a:effectLst/>
        </p:spPr>
        <p:txBody>
          <a:bodyPr wrap="none" lIns="0" tIns="0" rIns="0" bIns="0" rtlCol="0" anchor="t">
            <a:spAutoFit/>
          </a:bodyPr>
          <a:lstStyle/>
          <a:p>
            <a:pPr algn="ctr"/>
            <a:r>
              <a:rPr lang="en-GB" sz="700" dirty="0">
                <a:solidFill>
                  <a:schemeClr val="tx2"/>
                </a:solidFill>
              </a:rPr>
              <a:t>Woman</a:t>
            </a:r>
          </a:p>
        </p:txBody>
      </p:sp>
      <p:sp>
        <p:nvSpPr>
          <p:cNvPr id="101" name="TextBox 100">
            <a:extLst>
              <a:ext uri="{FF2B5EF4-FFF2-40B4-BE49-F238E27FC236}">
                <a16:creationId xmlns:a16="http://schemas.microsoft.com/office/drawing/2014/main" id="{2D16A3B9-D9D0-45AB-83AB-BCF8C5360D55}"/>
              </a:ext>
            </a:extLst>
          </p:cNvPr>
          <p:cNvSpPr txBox="1"/>
          <p:nvPr/>
        </p:nvSpPr>
        <p:spPr>
          <a:xfrm>
            <a:off x="7133806" y="2077494"/>
            <a:ext cx="339837" cy="107722"/>
          </a:xfrm>
          <a:prstGeom prst="rect">
            <a:avLst/>
          </a:prstGeom>
          <a:noFill/>
          <a:effectLst/>
        </p:spPr>
        <p:txBody>
          <a:bodyPr wrap="none" lIns="0" tIns="0" rIns="0" bIns="0" rtlCol="0" anchor="t">
            <a:spAutoFit/>
          </a:bodyPr>
          <a:lstStyle/>
          <a:p>
            <a:pPr algn="ctr"/>
            <a:r>
              <a:rPr lang="en-GB" sz="700" dirty="0">
                <a:solidFill>
                  <a:schemeClr val="tx2"/>
                </a:solidFill>
              </a:rPr>
              <a:t>Weather</a:t>
            </a:r>
          </a:p>
        </p:txBody>
      </p:sp>
      <p:sp>
        <p:nvSpPr>
          <p:cNvPr id="102" name="TextBox 101">
            <a:extLst>
              <a:ext uri="{FF2B5EF4-FFF2-40B4-BE49-F238E27FC236}">
                <a16:creationId xmlns:a16="http://schemas.microsoft.com/office/drawing/2014/main" id="{95A12F06-5BAA-47BD-AF8E-93C599BA5DB5}"/>
              </a:ext>
            </a:extLst>
          </p:cNvPr>
          <p:cNvSpPr txBox="1"/>
          <p:nvPr/>
        </p:nvSpPr>
        <p:spPr>
          <a:xfrm>
            <a:off x="7208345" y="2899619"/>
            <a:ext cx="190758" cy="107722"/>
          </a:xfrm>
          <a:prstGeom prst="rect">
            <a:avLst/>
          </a:prstGeom>
          <a:noFill/>
          <a:effectLst/>
        </p:spPr>
        <p:txBody>
          <a:bodyPr wrap="none" lIns="0" tIns="0" rIns="0" bIns="0" rtlCol="0" anchor="t">
            <a:spAutoFit/>
          </a:bodyPr>
          <a:lstStyle/>
          <a:p>
            <a:pPr algn="ctr"/>
            <a:r>
              <a:rPr lang="en-GB" sz="700" dirty="0">
                <a:solidFill>
                  <a:schemeClr val="tx2"/>
                </a:solidFill>
              </a:rPr>
              <a:t>WIFI</a:t>
            </a:r>
          </a:p>
        </p:txBody>
      </p:sp>
      <p:sp>
        <p:nvSpPr>
          <p:cNvPr id="103" name="TextBox 102">
            <a:extLst>
              <a:ext uri="{FF2B5EF4-FFF2-40B4-BE49-F238E27FC236}">
                <a16:creationId xmlns:a16="http://schemas.microsoft.com/office/drawing/2014/main" id="{3B795E7C-456A-48D5-85E7-CC0A098113FE}"/>
              </a:ext>
            </a:extLst>
          </p:cNvPr>
          <p:cNvSpPr txBox="1"/>
          <p:nvPr/>
        </p:nvSpPr>
        <p:spPr>
          <a:xfrm>
            <a:off x="7076900" y="3723675"/>
            <a:ext cx="453649" cy="107722"/>
          </a:xfrm>
          <a:prstGeom prst="rect">
            <a:avLst/>
          </a:prstGeom>
          <a:noFill/>
          <a:effectLst/>
        </p:spPr>
        <p:txBody>
          <a:bodyPr wrap="none" lIns="0" tIns="0" rIns="0" bIns="0" rtlCol="0" anchor="t">
            <a:spAutoFit/>
          </a:bodyPr>
          <a:lstStyle/>
          <a:p>
            <a:pPr algn="ctr"/>
            <a:r>
              <a:rPr lang="en-GB" sz="700" dirty="0">
                <a:solidFill>
                  <a:schemeClr val="tx2"/>
                </a:solidFill>
              </a:rPr>
              <a:t>Word cloud</a:t>
            </a:r>
          </a:p>
        </p:txBody>
      </p:sp>
      <p:sp>
        <p:nvSpPr>
          <p:cNvPr id="104" name="TextBox 103">
            <a:extLst>
              <a:ext uri="{FF2B5EF4-FFF2-40B4-BE49-F238E27FC236}">
                <a16:creationId xmlns:a16="http://schemas.microsoft.com/office/drawing/2014/main" id="{9A050E26-E319-4A52-A3B9-1FC86966149B}"/>
              </a:ext>
            </a:extLst>
          </p:cNvPr>
          <p:cNvSpPr txBox="1"/>
          <p:nvPr/>
        </p:nvSpPr>
        <p:spPr>
          <a:xfrm>
            <a:off x="8187253" y="2077494"/>
            <a:ext cx="323807" cy="107722"/>
          </a:xfrm>
          <a:prstGeom prst="rect">
            <a:avLst/>
          </a:prstGeom>
          <a:noFill/>
          <a:effectLst/>
        </p:spPr>
        <p:txBody>
          <a:bodyPr wrap="none" lIns="0" tIns="0" rIns="0" bIns="0" rtlCol="0" anchor="t">
            <a:spAutoFit/>
          </a:bodyPr>
          <a:lstStyle/>
          <a:p>
            <a:pPr algn="ctr"/>
            <a:r>
              <a:rPr lang="en-GB" sz="700" dirty="0">
                <a:solidFill>
                  <a:schemeClr val="tx2"/>
                </a:solidFill>
              </a:rPr>
              <a:t>WeChat</a:t>
            </a:r>
          </a:p>
        </p:txBody>
      </p:sp>
      <p:sp>
        <p:nvSpPr>
          <p:cNvPr id="105" name="TextBox 104">
            <a:extLst>
              <a:ext uri="{FF2B5EF4-FFF2-40B4-BE49-F238E27FC236}">
                <a16:creationId xmlns:a16="http://schemas.microsoft.com/office/drawing/2014/main" id="{61D5F147-3633-4160-9F10-7B1A4A09702D}"/>
              </a:ext>
            </a:extLst>
          </p:cNvPr>
          <p:cNvSpPr txBox="1"/>
          <p:nvPr/>
        </p:nvSpPr>
        <p:spPr>
          <a:xfrm>
            <a:off x="8200080" y="2899619"/>
            <a:ext cx="298159" cy="107722"/>
          </a:xfrm>
          <a:prstGeom prst="rect">
            <a:avLst/>
          </a:prstGeom>
          <a:noFill/>
          <a:effectLst/>
        </p:spPr>
        <p:txBody>
          <a:bodyPr wrap="none" lIns="0" tIns="0" rIns="0" bIns="0" rtlCol="0" anchor="t">
            <a:spAutoFit/>
          </a:bodyPr>
          <a:lstStyle/>
          <a:p>
            <a:pPr algn="ctr"/>
            <a:r>
              <a:rPr lang="en-GB" sz="700" dirty="0">
                <a:solidFill>
                  <a:schemeClr val="tx2"/>
                </a:solidFill>
              </a:rPr>
              <a:t>Wildfire</a:t>
            </a:r>
          </a:p>
        </p:txBody>
      </p:sp>
      <p:sp>
        <p:nvSpPr>
          <p:cNvPr id="106" name="TextBox 105">
            <a:extLst>
              <a:ext uri="{FF2B5EF4-FFF2-40B4-BE49-F238E27FC236}">
                <a16:creationId xmlns:a16="http://schemas.microsoft.com/office/drawing/2014/main" id="{06B6B2CE-EB7C-4E65-825F-E824A8E4D49A}"/>
              </a:ext>
            </a:extLst>
          </p:cNvPr>
          <p:cNvSpPr txBox="1"/>
          <p:nvPr/>
        </p:nvSpPr>
        <p:spPr>
          <a:xfrm>
            <a:off x="8232137" y="3723675"/>
            <a:ext cx="234039" cy="107722"/>
          </a:xfrm>
          <a:prstGeom prst="rect">
            <a:avLst/>
          </a:prstGeom>
          <a:noFill/>
          <a:effectLst/>
        </p:spPr>
        <p:txBody>
          <a:bodyPr wrap="none" lIns="0" tIns="0" rIns="0" bIns="0" rtlCol="0" anchor="t">
            <a:spAutoFit/>
          </a:bodyPr>
          <a:lstStyle/>
          <a:p>
            <a:pPr algn="ctr"/>
            <a:r>
              <a:rPr lang="en-GB" sz="700" dirty="0">
                <a:solidFill>
                  <a:schemeClr val="tx2"/>
                </a:solidFill>
              </a:rPr>
              <a:t>World</a:t>
            </a:r>
          </a:p>
        </p:txBody>
      </p:sp>
      <p:sp>
        <p:nvSpPr>
          <p:cNvPr id="107" name="TextBox 106">
            <a:extLst>
              <a:ext uri="{FF2B5EF4-FFF2-40B4-BE49-F238E27FC236}">
                <a16:creationId xmlns:a16="http://schemas.microsoft.com/office/drawing/2014/main" id="{30CF5FFA-F5A6-4BD5-BBAA-982DFB77EB67}"/>
              </a:ext>
            </a:extLst>
          </p:cNvPr>
          <p:cNvSpPr txBox="1"/>
          <p:nvPr/>
        </p:nvSpPr>
        <p:spPr>
          <a:xfrm>
            <a:off x="5123888" y="4547732"/>
            <a:ext cx="177934" cy="107722"/>
          </a:xfrm>
          <a:prstGeom prst="rect">
            <a:avLst/>
          </a:prstGeom>
          <a:noFill/>
          <a:effectLst/>
        </p:spPr>
        <p:txBody>
          <a:bodyPr wrap="none" lIns="0" tIns="0" rIns="0" bIns="0" rtlCol="0" anchor="t">
            <a:spAutoFit/>
          </a:bodyPr>
          <a:lstStyle/>
          <a:p>
            <a:pPr algn="ctr"/>
            <a:r>
              <a:rPr lang="en-GB" sz="700" dirty="0">
                <a:solidFill>
                  <a:schemeClr val="tx2"/>
                </a:solidFill>
              </a:rPr>
              <a:t>Xing</a:t>
            </a:r>
          </a:p>
        </p:txBody>
      </p:sp>
      <p:sp>
        <p:nvSpPr>
          <p:cNvPr id="108" name="TextBox 107">
            <a:extLst>
              <a:ext uri="{FF2B5EF4-FFF2-40B4-BE49-F238E27FC236}">
                <a16:creationId xmlns:a16="http://schemas.microsoft.com/office/drawing/2014/main" id="{A23553A8-7358-4386-85E8-F76FDF7DDC0D}"/>
              </a:ext>
            </a:extLst>
          </p:cNvPr>
          <p:cNvSpPr txBox="1"/>
          <p:nvPr/>
        </p:nvSpPr>
        <p:spPr>
          <a:xfrm>
            <a:off x="6077150" y="4547732"/>
            <a:ext cx="362280" cy="107722"/>
          </a:xfrm>
          <a:prstGeom prst="rect">
            <a:avLst/>
          </a:prstGeom>
          <a:noFill/>
          <a:effectLst/>
        </p:spPr>
        <p:txBody>
          <a:bodyPr wrap="none" lIns="0" tIns="0" rIns="0" bIns="0" rtlCol="0" anchor="t">
            <a:spAutoFit/>
          </a:bodyPr>
          <a:lstStyle/>
          <a:p>
            <a:pPr algn="ctr"/>
            <a:r>
              <a:rPr lang="en-GB" sz="700" dirty="0">
                <a:solidFill>
                  <a:schemeClr val="tx2"/>
                </a:solidFill>
              </a:rPr>
              <a:t>YouTube</a:t>
            </a:r>
          </a:p>
        </p:txBody>
      </p:sp>
      <p:sp>
        <p:nvSpPr>
          <p:cNvPr id="109" name="TextBox 108">
            <a:extLst>
              <a:ext uri="{FF2B5EF4-FFF2-40B4-BE49-F238E27FC236}">
                <a16:creationId xmlns:a16="http://schemas.microsoft.com/office/drawing/2014/main" id="{EA3F6AFC-B8ED-4F14-8879-9D7C8F8F274E}"/>
              </a:ext>
            </a:extLst>
          </p:cNvPr>
          <p:cNvSpPr txBox="1"/>
          <p:nvPr/>
        </p:nvSpPr>
        <p:spPr>
          <a:xfrm>
            <a:off x="7141820" y="4547732"/>
            <a:ext cx="323807" cy="107722"/>
          </a:xfrm>
          <a:prstGeom prst="rect">
            <a:avLst/>
          </a:prstGeom>
          <a:noFill/>
          <a:effectLst/>
        </p:spPr>
        <p:txBody>
          <a:bodyPr wrap="none" lIns="0" tIns="0" rIns="0" bIns="0" rtlCol="0" anchor="t">
            <a:spAutoFit/>
          </a:bodyPr>
          <a:lstStyle/>
          <a:p>
            <a:pPr algn="ctr"/>
            <a:r>
              <a:rPr lang="en-GB" sz="700">
                <a:solidFill>
                  <a:schemeClr val="tx2"/>
                </a:solidFill>
              </a:rPr>
              <a:t>Zoom in</a:t>
            </a:r>
            <a:endParaRPr lang="en-GB" sz="700" dirty="0">
              <a:solidFill>
                <a:schemeClr val="tx2"/>
              </a:solidFill>
            </a:endParaRPr>
          </a:p>
        </p:txBody>
      </p:sp>
      <p:sp>
        <p:nvSpPr>
          <p:cNvPr id="115" name="Freeform: Shape 114">
            <a:extLst>
              <a:ext uri="{FF2B5EF4-FFF2-40B4-BE49-F238E27FC236}">
                <a16:creationId xmlns:a16="http://schemas.microsoft.com/office/drawing/2014/main" id="{F7BB3967-EFD2-4862-9A54-89E81AA8BB67}"/>
              </a:ext>
            </a:extLst>
          </p:cNvPr>
          <p:cNvSpPr/>
          <p:nvPr/>
        </p:nvSpPr>
        <p:spPr>
          <a:xfrm>
            <a:off x="1639104" y="4200525"/>
            <a:ext cx="469394" cy="264034"/>
          </a:xfrm>
          <a:custGeom>
            <a:avLst/>
            <a:gdLst>
              <a:gd name="connsiteX0" fmla="*/ 304800 w 304800"/>
              <a:gd name="connsiteY0" fmla="*/ 15240 h 171450"/>
              <a:gd name="connsiteX1" fmla="*/ 228600 w 304800"/>
              <a:gd name="connsiteY1" fmla="*/ 43815 h 171450"/>
              <a:gd name="connsiteX2" fmla="*/ 228600 w 304800"/>
              <a:gd name="connsiteY2" fmla="*/ 0 h 171450"/>
              <a:gd name="connsiteX3" fmla="*/ 0 w 304800"/>
              <a:gd name="connsiteY3" fmla="*/ 0 h 171450"/>
              <a:gd name="connsiteX4" fmla="*/ 0 w 304800"/>
              <a:gd name="connsiteY4" fmla="*/ 171450 h 171450"/>
              <a:gd name="connsiteX5" fmla="*/ 228600 w 304800"/>
              <a:gd name="connsiteY5" fmla="*/ 171450 h 171450"/>
              <a:gd name="connsiteX6" fmla="*/ 228600 w 304800"/>
              <a:gd name="connsiteY6" fmla="*/ 127635 h 171450"/>
              <a:gd name="connsiteX7" fmla="*/ 304800 w 304800"/>
              <a:gd name="connsiteY7" fmla="*/ 156210 h 171450"/>
              <a:gd name="connsiteX8" fmla="*/ 304800 w 304800"/>
              <a:gd name="connsiteY8" fmla="*/ 15240 h 171450"/>
              <a:gd name="connsiteX9" fmla="*/ 209550 w 304800"/>
              <a:gd name="connsiteY9" fmla="*/ 152400 h 171450"/>
              <a:gd name="connsiteX10" fmla="*/ 19050 w 304800"/>
              <a:gd name="connsiteY10" fmla="*/ 152400 h 171450"/>
              <a:gd name="connsiteX11" fmla="*/ 19050 w 304800"/>
              <a:gd name="connsiteY11" fmla="*/ 19050 h 171450"/>
              <a:gd name="connsiteX12" fmla="*/ 209550 w 304800"/>
              <a:gd name="connsiteY12" fmla="*/ 19050 h 171450"/>
              <a:gd name="connsiteX13" fmla="*/ 209550 w 304800"/>
              <a:gd name="connsiteY13" fmla="*/ 152400 h 171450"/>
              <a:gd name="connsiteX14" fmla="*/ 285750 w 304800"/>
              <a:gd name="connsiteY14" fmla="*/ 129540 h 171450"/>
              <a:gd name="connsiteX15" fmla="*/ 228600 w 304800"/>
              <a:gd name="connsiteY15" fmla="*/ 107633 h 171450"/>
              <a:gd name="connsiteX16" fmla="*/ 228600 w 304800"/>
              <a:gd name="connsiteY16" fmla="*/ 63818 h 171450"/>
              <a:gd name="connsiteX17" fmla="*/ 285750 w 304800"/>
              <a:gd name="connsiteY17" fmla="*/ 42863 h 171450"/>
              <a:gd name="connsiteX18" fmla="*/ 285750 w 304800"/>
              <a:gd name="connsiteY18" fmla="*/ 12954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00" h="171450">
                <a:moveTo>
                  <a:pt x="304800" y="15240"/>
                </a:moveTo>
                <a:lnTo>
                  <a:pt x="228600" y="43815"/>
                </a:lnTo>
                <a:lnTo>
                  <a:pt x="228600" y="0"/>
                </a:lnTo>
                <a:lnTo>
                  <a:pt x="0" y="0"/>
                </a:lnTo>
                <a:lnTo>
                  <a:pt x="0" y="171450"/>
                </a:lnTo>
                <a:lnTo>
                  <a:pt x="228600" y="171450"/>
                </a:lnTo>
                <a:lnTo>
                  <a:pt x="228600" y="127635"/>
                </a:lnTo>
                <a:lnTo>
                  <a:pt x="304800" y="156210"/>
                </a:lnTo>
                <a:lnTo>
                  <a:pt x="304800" y="15240"/>
                </a:lnTo>
                <a:close/>
                <a:moveTo>
                  <a:pt x="209550" y="152400"/>
                </a:moveTo>
                <a:lnTo>
                  <a:pt x="19050" y="152400"/>
                </a:lnTo>
                <a:lnTo>
                  <a:pt x="19050" y="19050"/>
                </a:lnTo>
                <a:lnTo>
                  <a:pt x="209550" y="19050"/>
                </a:lnTo>
                <a:lnTo>
                  <a:pt x="209550" y="152400"/>
                </a:lnTo>
                <a:close/>
                <a:moveTo>
                  <a:pt x="285750" y="129540"/>
                </a:moveTo>
                <a:lnTo>
                  <a:pt x="228600" y="107633"/>
                </a:lnTo>
                <a:lnTo>
                  <a:pt x="228600" y="63818"/>
                </a:lnTo>
                <a:lnTo>
                  <a:pt x="285750" y="42863"/>
                </a:lnTo>
                <a:lnTo>
                  <a:pt x="285750" y="129540"/>
                </a:lnTo>
                <a:close/>
              </a:path>
            </a:pathLst>
          </a:custGeom>
          <a:solidFill>
            <a:schemeClr val="tx2"/>
          </a:solidFill>
          <a:ln w="9525" cap="flat">
            <a:noFill/>
            <a:prstDash val="solid"/>
            <a:miter/>
          </a:ln>
        </p:spPr>
        <p:txBody>
          <a:bodyPr rtlCol="0" anchor="ctr"/>
          <a:lstStyle/>
          <a:p>
            <a:endParaRPr lang="en-GB"/>
          </a:p>
        </p:txBody>
      </p:sp>
      <p:sp>
        <p:nvSpPr>
          <p:cNvPr id="118" name="Freeform: Shape 117">
            <a:extLst>
              <a:ext uri="{FF2B5EF4-FFF2-40B4-BE49-F238E27FC236}">
                <a16:creationId xmlns:a16="http://schemas.microsoft.com/office/drawing/2014/main" id="{9CA8E2F9-47AC-4EC9-9E4C-83EB7693F42C}"/>
              </a:ext>
            </a:extLst>
          </p:cNvPr>
          <p:cNvSpPr/>
          <p:nvPr/>
        </p:nvSpPr>
        <p:spPr>
          <a:xfrm>
            <a:off x="5031568" y="1641546"/>
            <a:ext cx="362575" cy="363538"/>
          </a:xfrm>
          <a:custGeom>
            <a:avLst/>
            <a:gdLst>
              <a:gd name="connsiteX0" fmla="*/ 212408 w 303993"/>
              <a:gd name="connsiteY0" fmla="*/ 107633 h 304800"/>
              <a:gd name="connsiteX1" fmla="*/ 139065 w 303993"/>
              <a:gd name="connsiteY1" fmla="*/ 180975 h 304800"/>
              <a:gd name="connsiteX2" fmla="*/ 123825 w 303993"/>
              <a:gd name="connsiteY2" fmla="*/ 180975 h 304800"/>
              <a:gd name="connsiteX3" fmla="*/ 123825 w 303993"/>
              <a:gd name="connsiteY3" fmla="*/ 66675 h 304800"/>
              <a:gd name="connsiteX4" fmla="*/ 133350 w 303993"/>
              <a:gd name="connsiteY4" fmla="*/ 66675 h 304800"/>
              <a:gd name="connsiteX5" fmla="*/ 142875 w 303993"/>
              <a:gd name="connsiteY5" fmla="*/ 57150 h 304800"/>
              <a:gd name="connsiteX6" fmla="*/ 142875 w 303993"/>
              <a:gd name="connsiteY6" fmla="*/ 9525 h 304800"/>
              <a:gd name="connsiteX7" fmla="*/ 133350 w 303993"/>
              <a:gd name="connsiteY7" fmla="*/ 0 h 304800"/>
              <a:gd name="connsiteX8" fmla="*/ 9525 w 303993"/>
              <a:gd name="connsiteY8" fmla="*/ 0 h 304800"/>
              <a:gd name="connsiteX9" fmla="*/ 0 w 303993"/>
              <a:gd name="connsiteY9" fmla="*/ 9525 h 304800"/>
              <a:gd name="connsiteX10" fmla="*/ 0 w 303993"/>
              <a:gd name="connsiteY10" fmla="*/ 57150 h 304800"/>
              <a:gd name="connsiteX11" fmla="*/ 9525 w 303993"/>
              <a:gd name="connsiteY11" fmla="*/ 66675 h 304800"/>
              <a:gd name="connsiteX12" fmla="*/ 19050 w 303993"/>
              <a:gd name="connsiteY12" fmla="*/ 66675 h 304800"/>
              <a:gd name="connsiteX13" fmla="*/ 19050 w 303993"/>
              <a:gd name="connsiteY13" fmla="*/ 209550 h 304800"/>
              <a:gd name="connsiteX14" fmla="*/ 49530 w 303993"/>
              <a:gd name="connsiteY14" fmla="*/ 270510 h 304800"/>
              <a:gd name="connsiteX15" fmla="*/ 31433 w 303993"/>
              <a:gd name="connsiteY15" fmla="*/ 288608 h 304800"/>
              <a:gd name="connsiteX16" fmla="*/ 44768 w 303993"/>
              <a:gd name="connsiteY16" fmla="*/ 301943 h 304800"/>
              <a:gd name="connsiteX17" fmla="*/ 225743 w 303993"/>
              <a:gd name="connsiteY17" fmla="*/ 120968 h 304800"/>
              <a:gd name="connsiteX18" fmla="*/ 212408 w 303993"/>
              <a:gd name="connsiteY18" fmla="*/ 107633 h 304800"/>
              <a:gd name="connsiteX19" fmla="*/ 19050 w 303993"/>
              <a:gd name="connsiteY19" fmla="*/ 19050 h 304800"/>
              <a:gd name="connsiteX20" fmla="*/ 123825 w 303993"/>
              <a:gd name="connsiteY20" fmla="*/ 19050 h 304800"/>
              <a:gd name="connsiteX21" fmla="*/ 123825 w 303993"/>
              <a:gd name="connsiteY21" fmla="*/ 47625 h 304800"/>
              <a:gd name="connsiteX22" fmla="*/ 19050 w 303993"/>
              <a:gd name="connsiteY22" fmla="*/ 47625 h 304800"/>
              <a:gd name="connsiteX23" fmla="*/ 19050 w 303993"/>
              <a:gd name="connsiteY23" fmla="*/ 19050 h 304800"/>
              <a:gd name="connsiteX24" fmla="*/ 38100 w 303993"/>
              <a:gd name="connsiteY24" fmla="*/ 209550 h 304800"/>
              <a:gd name="connsiteX25" fmla="*/ 38100 w 303993"/>
              <a:gd name="connsiteY25" fmla="*/ 66675 h 304800"/>
              <a:gd name="connsiteX26" fmla="*/ 104775 w 303993"/>
              <a:gd name="connsiteY26" fmla="*/ 66675 h 304800"/>
              <a:gd name="connsiteX27" fmla="*/ 104775 w 303993"/>
              <a:gd name="connsiteY27" fmla="*/ 190500 h 304800"/>
              <a:gd name="connsiteX28" fmla="*/ 114300 w 303993"/>
              <a:gd name="connsiteY28" fmla="*/ 200025 h 304800"/>
              <a:gd name="connsiteX29" fmla="*/ 120015 w 303993"/>
              <a:gd name="connsiteY29" fmla="*/ 200025 h 304800"/>
              <a:gd name="connsiteX30" fmla="*/ 110490 w 303993"/>
              <a:gd name="connsiteY30" fmla="*/ 209550 h 304800"/>
              <a:gd name="connsiteX31" fmla="*/ 95250 w 303993"/>
              <a:gd name="connsiteY31" fmla="*/ 190500 h 304800"/>
              <a:gd name="connsiteX32" fmla="*/ 95250 w 303993"/>
              <a:gd name="connsiteY32" fmla="*/ 76200 h 304800"/>
              <a:gd name="connsiteX33" fmla="*/ 47625 w 303993"/>
              <a:gd name="connsiteY33" fmla="*/ 76200 h 304800"/>
              <a:gd name="connsiteX34" fmla="*/ 47625 w 303993"/>
              <a:gd name="connsiteY34" fmla="*/ 209550 h 304800"/>
              <a:gd name="connsiteX35" fmla="*/ 70485 w 303993"/>
              <a:gd name="connsiteY35" fmla="*/ 249555 h 304800"/>
              <a:gd name="connsiteX36" fmla="*/ 63818 w 303993"/>
              <a:gd name="connsiteY36" fmla="*/ 256223 h 304800"/>
              <a:gd name="connsiteX37" fmla="*/ 38100 w 303993"/>
              <a:gd name="connsiteY37" fmla="*/ 209550 h 304800"/>
              <a:gd name="connsiteX38" fmla="*/ 295275 w 303993"/>
              <a:gd name="connsiteY38" fmla="*/ 161925 h 304800"/>
              <a:gd name="connsiteX39" fmla="*/ 247650 w 303993"/>
              <a:gd name="connsiteY39" fmla="*/ 161925 h 304800"/>
              <a:gd name="connsiteX40" fmla="*/ 238125 w 303993"/>
              <a:gd name="connsiteY40" fmla="*/ 171450 h 304800"/>
              <a:gd name="connsiteX41" fmla="*/ 238125 w 303993"/>
              <a:gd name="connsiteY41" fmla="*/ 180975 h 304800"/>
              <a:gd name="connsiteX42" fmla="*/ 192405 w 303993"/>
              <a:gd name="connsiteY42" fmla="*/ 180975 h 304800"/>
              <a:gd name="connsiteX43" fmla="*/ 173355 w 303993"/>
              <a:gd name="connsiteY43" fmla="*/ 200025 h 304800"/>
              <a:gd name="connsiteX44" fmla="*/ 238125 w 303993"/>
              <a:gd name="connsiteY44" fmla="*/ 200025 h 304800"/>
              <a:gd name="connsiteX45" fmla="*/ 238125 w 303993"/>
              <a:gd name="connsiteY45" fmla="*/ 266700 h 304800"/>
              <a:gd name="connsiteX46" fmla="*/ 106680 w 303993"/>
              <a:gd name="connsiteY46" fmla="*/ 266700 h 304800"/>
              <a:gd name="connsiteX47" fmla="*/ 87630 w 303993"/>
              <a:gd name="connsiteY47" fmla="*/ 285750 h 304800"/>
              <a:gd name="connsiteX48" fmla="*/ 94298 w 303993"/>
              <a:gd name="connsiteY48" fmla="*/ 285750 h 304800"/>
              <a:gd name="connsiteX49" fmla="*/ 237173 w 303993"/>
              <a:gd name="connsiteY49" fmla="*/ 285750 h 304800"/>
              <a:gd name="connsiteX50" fmla="*/ 237173 w 303993"/>
              <a:gd name="connsiteY50" fmla="*/ 295275 h 304800"/>
              <a:gd name="connsiteX51" fmla="*/ 246698 w 303993"/>
              <a:gd name="connsiteY51" fmla="*/ 304800 h 304800"/>
              <a:gd name="connsiteX52" fmla="*/ 294323 w 303993"/>
              <a:gd name="connsiteY52" fmla="*/ 304800 h 304800"/>
              <a:gd name="connsiteX53" fmla="*/ 303848 w 303993"/>
              <a:gd name="connsiteY53" fmla="*/ 295275 h 304800"/>
              <a:gd name="connsiteX54" fmla="*/ 303848 w 303993"/>
              <a:gd name="connsiteY54" fmla="*/ 171450 h 304800"/>
              <a:gd name="connsiteX55" fmla="*/ 295275 w 303993"/>
              <a:gd name="connsiteY55" fmla="*/ 161925 h 304800"/>
              <a:gd name="connsiteX56" fmla="*/ 285750 w 303993"/>
              <a:gd name="connsiteY56" fmla="*/ 285750 h 304800"/>
              <a:gd name="connsiteX57" fmla="*/ 257175 w 303993"/>
              <a:gd name="connsiteY57" fmla="*/ 285750 h 304800"/>
              <a:gd name="connsiteX58" fmla="*/ 257175 w 303993"/>
              <a:gd name="connsiteY58" fmla="*/ 180975 h 304800"/>
              <a:gd name="connsiteX59" fmla="*/ 285750 w 303993"/>
              <a:gd name="connsiteY59" fmla="*/ 180975 h 304800"/>
              <a:gd name="connsiteX60" fmla="*/ 285750 w 303993"/>
              <a:gd name="connsiteY60" fmla="*/ 2857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03993" h="304800">
                <a:moveTo>
                  <a:pt x="212408" y="107633"/>
                </a:moveTo>
                <a:lnTo>
                  <a:pt x="139065" y="180975"/>
                </a:lnTo>
                <a:lnTo>
                  <a:pt x="123825" y="180975"/>
                </a:lnTo>
                <a:lnTo>
                  <a:pt x="123825" y="66675"/>
                </a:lnTo>
                <a:lnTo>
                  <a:pt x="133350" y="66675"/>
                </a:lnTo>
                <a:cubicBezTo>
                  <a:pt x="139065" y="66675"/>
                  <a:pt x="142875" y="62865"/>
                  <a:pt x="142875" y="57150"/>
                </a:cubicBezTo>
                <a:lnTo>
                  <a:pt x="142875" y="9525"/>
                </a:lnTo>
                <a:cubicBezTo>
                  <a:pt x="142875" y="3810"/>
                  <a:pt x="139065" y="0"/>
                  <a:pt x="133350" y="0"/>
                </a:cubicBezTo>
                <a:lnTo>
                  <a:pt x="9525" y="0"/>
                </a:lnTo>
                <a:cubicBezTo>
                  <a:pt x="3810" y="0"/>
                  <a:pt x="0" y="3810"/>
                  <a:pt x="0" y="9525"/>
                </a:cubicBezTo>
                <a:lnTo>
                  <a:pt x="0" y="57150"/>
                </a:lnTo>
                <a:cubicBezTo>
                  <a:pt x="0" y="62865"/>
                  <a:pt x="3810" y="66675"/>
                  <a:pt x="9525" y="66675"/>
                </a:cubicBezTo>
                <a:lnTo>
                  <a:pt x="19050" y="66675"/>
                </a:lnTo>
                <a:lnTo>
                  <a:pt x="19050" y="209550"/>
                </a:lnTo>
                <a:cubicBezTo>
                  <a:pt x="19050" y="234315"/>
                  <a:pt x="31433" y="256223"/>
                  <a:pt x="49530" y="270510"/>
                </a:cubicBezTo>
                <a:lnTo>
                  <a:pt x="31433" y="288608"/>
                </a:lnTo>
                <a:lnTo>
                  <a:pt x="44768" y="301943"/>
                </a:lnTo>
                <a:lnTo>
                  <a:pt x="225743" y="120968"/>
                </a:lnTo>
                <a:lnTo>
                  <a:pt x="212408" y="107633"/>
                </a:lnTo>
                <a:close/>
                <a:moveTo>
                  <a:pt x="19050" y="19050"/>
                </a:moveTo>
                <a:lnTo>
                  <a:pt x="123825" y="19050"/>
                </a:lnTo>
                <a:lnTo>
                  <a:pt x="123825" y="47625"/>
                </a:lnTo>
                <a:lnTo>
                  <a:pt x="19050" y="47625"/>
                </a:lnTo>
                <a:lnTo>
                  <a:pt x="19050" y="19050"/>
                </a:lnTo>
                <a:close/>
                <a:moveTo>
                  <a:pt x="38100" y="209550"/>
                </a:moveTo>
                <a:lnTo>
                  <a:pt x="38100" y="66675"/>
                </a:lnTo>
                <a:lnTo>
                  <a:pt x="104775" y="66675"/>
                </a:lnTo>
                <a:lnTo>
                  <a:pt x="104775" y="190500"/>
                </a:lnTo>
                <a:cubicBezTo>
                  <a:pt x="104775" y="195263"/>
                  <a:pt x="108585" y="200025"/>
                  <a:pt x="114300" y="200025"/>
                </a:cubicBezTo>
                <a:lnTo>
                  <a:pt x="120015" y="200025"/>
                </a:lnTo>
                <a:lnTo>
                  <a:pt x="110490" y="209550"/>
                </a:lnTo>
                <a:cubicBezTo>
                  <a:pt x="101918" y="207645"/>
                  <a:pt x="95250" y="200025"/>
                  <a:pt x="95250" y="190500"/>
                </a:cubicBezTo>
                <a:lnTo>
                  <a:pt x="95250" y="76200"/>
                </a:lnTo>
                <a:lnTo>
                  <a:pt x="47625" y="76200"/>
                </a:lnTo>
                <a:lnTo>
                  <a:pt x="47625" y="209550"/>
                </a:lnTo>
                <a:cubicBezTo>
                  <a:pt x="47625" y="226695"/>
                  <a:pt x="57150" y="240983"/>
                  <a:pt x="70485" y="249555"/>
                </a:cubicBezTo>
                <a:lnTo>
                  <a:pt x="63818" y="256223"/>
                </a:lnTo>
                <a:cubicBezTo>
                  <a:pt x="48578" y="246698"/>
                  <a:pt x="38100" y="229553"/>
                  <a:pt x="38100" y="209550"/>
                </a:cubicBezTo>
                <a:close/>
                <a:moveTo>
                  <a:pt x="295275" y="161925"/>
                </a:moveTo>
                <a:lnTo>
                  <a:pt x="247650" y="161925"/>
                </a:lnTo>
                <a:cubicBezTo>
                  <a:pt x="241935" y="161925"/>
                  <a:pt x="238125" y="165735"/>
                  <a:pt x="238125" y="171450"/>
                </a:cubicBezTo>
                <a:lnTo>
                  <a:pt x="238125" y="180975"/>
                </a:lnTo>
                <a:lnTo>
                  <a:pt x="192405" y="180975"/>
                </a:lnTo>
                <a:lnTo>
                  <a:pt x="173355" y="200025"/>
                </a:lnTo>
                <a:lnTo>
                  <a:pt x="238125" y="200025"/>
                </a:lnTo>
                <a:lnTo>
                  <a:pt x="238125" y="266700"/>
                </a:lnTo>
                <a:lnTo>
                  <a:pt x="106680" y="266700"/>
                </a:lnTo>
                <a:lnTo>
                  <a:pt x="87630" y="285750"/>
                </a:lnTo>
                <a:cubicBezTo>
                  <a:pt x="89535" y="285750"/>
                  <a:pt x="92393" y="285750"/>
                  <a:pt x="94298" y="285750"/>
                </a:cubicBezTo>
                <a:lnTo>
                  <a:pt x="237173" y="285750"/>
                </a:lnTo>
                <a:lnTo>
                  <a:pt x="237173" y="295275"/>
                </a:lnTo>
                <a:cubicBezTo>
                  <a:pt x="237173" y="300990"/>
                  <a:pt x="240983" y="304800"/>
                  <a:pt x="246698" y="304800"/>
                </a:cubicBezTo>
                <a:lnTo>
                  <a:pt x="294323" y="304800"/>
                </a:lnTo>
                <a:cubicBezTo>
                  <a:pt x="300038" y="304800"/>
                  <a:pt x="303848" y="300990"/>
                  <a:pt x="303848" y="295275"/>
                </a:cubicBezTo>
                <a:lnTo>
                  <a:pt x="303848" y="171450"/>
                </a:lnTo>
                <a:cubicBezTo>
                  <a:pt x="304800" y="165735"/>
                  <a:pt x="300990" y="161925"/>
                  <a:pt x="295275" y="161925"/>
                </a:cubicBezTo>
                <a:close/>
                <a:moveTo>
                  <a:pt x="285750" y="285750"/>
                </a:moveTo>
                <a:lnTo>
                  <a:pt x="257175" y="285750"/>
                </a:lnTo>
                <a:lnTo>
                  <a:pt x="257175" y="180975"/>
                </a:lnTo>
                <a:lnTo>
                  <a:pt x="285750" y="180975"/>
                </a:lnTo>
                <a:lnTo>
                  <a:pt x="285750" y="285750"/>
                </a:lnTo>
                <a:close/>
              </a:path>
            </a:pathLst>
          </a:custGeom>
          <a:solidFill>
            <a:schemeClr val="tx2"/>
          </a:solidFill>
          <a:ln w="9525" cap="flat">
            <a:noFill/>
            <a:prstDash val="solid"/>
            <a:miter/>
          </a:ln>
        </p:spPr>
        <p:txBody>
          <a:bodyPr rtlCol="0" anchor="ctr"/>
          <a:lstStyle/>
          <a:p>
            <a:endParaRPr lang="en-GB"/>
          </a:p>
        </p:txBody>
      </p:sp>
      <p:sp>
        <p:nvSpPr>
          <p:cNvPr id="67" name="TextBox 66">
            <a:extLst>
              <a:ext uri="{FF2B5EF4-FFF2-40B4-BE49-F238E27FC236}">
                <a16:creationId xmlns:a16="http://schemas.microsoft.com/office/drawing/2014/main" id="{CDCBA55D-E4A0-46F1-99D0-6BF03DC7242C}"/>
              </a:ext>
            </a:extLst>
          </p:cNvPr>
          <p:cNvSpPr txBox="1"/>
          <p:nvPr/>
        </p:nvSpPr>
        <p:spPr>
          <a:xfrm>
            <a:off x="8159200" y="4547732"/>
            <a:ext cx="379912" cy="107722"/>
          </a:xfrm>
          <a:prstGeom prst="rect">
            <a:avLst/>
          </a:prstGeom>
          <a:noFill/>
          <a:effectLst/>
        </p:spPr>
        <p:txBody>
          <a:bodyPr wrap="none" lIns="0" tIns="0" rIns="0" bIns="0" rtlCol="0" anchor="t">
            <a:spAutoFit/>
          </a:bodyPr>
          <a:lstStyle/>
          <a:p>
            <a:pPr algn="ctr"/>
            <a:r>
              <a:rPr lang="en-GB" sz="700" dirty="0">
                <a:solidFill>
                  <a:schemeClr val="tx2"/>
                </a:solidFill>
              </a:rPr>
              <a:t>Zoom out</a:t>
            </a:r>
          </a:p>
        </p:txBody>
      </p:sp>
      <p:pic>
        <p:nvPicPr>
          <p:cNvPr id="117" name="Graphic 116">
            <a:extLst>
              <a:ext uri="{FF2B5EF4-FFF2-40B4-BE49-F238E27FC236}">
                <a16:creationId xmlns:a16="http://schemas.microsoft.com/office/drawing/2014/main" id="{5BCEF623-14C9-4B30-B09E-654F25FC89F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06192" y="1629366"/>
            <a:ext cx="375718" cy="375718"/>
          </a:xfrm>
          <a:prstGeom prst="rect">
            <a:avLst/>
          </a:prstGeom>
        </p:spPr>
      </p:pic>
      <p:sp>
        <p:nvSpPr>
          <p:cNvPr id="5" name="AutoShape 3">
            <a:extLst>
              <a:ext uri="{FF2B5EF4-FFF2-40B4-BE49-F238E27FC236}">
                <a16:creationId xmlns:a16="http://schemas.microsoft.com/office/drawing/2014/main" id="{4454CB83-9C37-5BC5-74C9-6BCC10733BAE}"/>
              </a:ext>
            </a:extLst>
          </p:cNvPr>
          <p:cNvSpPr>
            <a:spLocks noChangeAspect="1" noChangeArrowheads="1" noTextEdit="1"/>
          </p:cNvSpPr>
          <p:nvPr/>
        </p:nvSpPr>
        <p:spPr bwMode="auto">
          <a:xfrm>
            <a:off x="6049963" y="2401888"/>
            <a:ext cx="41592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 name="Freeform 5">
            <a:extLst>
              <a:ext uri="{FF2B5EF4-FFF2-40B4-BE49-F238E27FC236}">
                <a16:creationId xmlns:a16="http://schemas.microsoft.com/office/drawing/2014/main" id="{1FD848CD-251C-FEC0-BEDE-733AA5980B35}"/>
              </a:ext>
            </a:extLst>
          </p:cNvPr>
          <p:cNvSpPr>
            <a:spLocks noEditPoints="1"/>
          </p:cNvSpPr>
          <p:nvPr/>
        </p:nvSpPr>
        <p:spPr bwMode="auto">
          <a:xfrm>
            <a:off x="6049963" y="2401888"/>
            <a:ext cx="412750" cy="414337"/>
          </a:xfrm>
          <a:custGeom>
            <a:avLst/>
            <a:gdLst>
              <a:gd name="T0" fmla="*/ 110 w 128"/>
              <a:gd name="T1" fmla="*/ 107 h 128"/>
              <a:gd name="T2" fmla="*/ 65 w 128"/>
              <a:gd name="T3" fmla="*/ 125 h 128"/>
              <a:gd name="T4" fmla="*/ 35 w 128"/>
              <a:gd name="T5" fmla="*/ 117 h 128"/>
              <a:gd name="T6" fmla="*/ 11 w 128"/>
              <a:gd name="T7" fmla="*/ 94 h 128"/>
              <a:gd name="T8" fmla="*/ 2 w 128"/>
              <a:gd name="T9" fmla="*/ 62 h 128"/>
              <a:gd name="T10" fmla="*/ 21 w 128"/>
              <a:gd name="T11" fmla="*/ 18 h 128"/>
              <a:gd name="T12" fmla="*/ 65 w 128"/>
              <a:gd name="T13" fmla="*/ 0 h 128"/>
              <a:gd name="T14" fmla="*/ 110 w 128"/>
              <a:gd name="T15" fmla="*/ 18 h 128"/>
              <a:gd name="T16" fmla="*/ 128 w 128"/>
              <a:gd name="T17" fmla="*/ 62 h 128"/>
              <a:gd name="T18" fmla="*/ 44 w 128"/>
              <a:gd name="T19" fmla="*/ 14 h 128"/>
              <a:gd name="T20" fmla="*/ 16 w 128"/>
              <a:gd name="T21" fmla="*/ 42 h 128"/>
              <a:gd name="T22" fmla="*/ 15 w 128"/>
              <a:gd name="T23" fmla="*/ 79 h 128"/>
              <a:gd name="T24" fmla="*/ 16 w 128"/>
              <a:gd name="T25" fmla="*/ 113 h 128"/>
              <a:gd name="T26" fmla="*/ 50 w 128"/>
              <a:gd name="T27" fmla="*/ 112 h 128"/>
              <a:gd name="T28" fmla="*/ 86 w 128"/>
              <a:gd name="T29" fmla="*/ 111 h 128"/>
              <a:gd name="T30" fmla="*/ 114 w 128"/>
              <a:gd name="T31" fmla="*/ 83 h 128"/>
              <a:gd name="T32" fmla="*/ 114 w 128"/>
              <a:gd name="T33" fmla="*/ 42 h 128"/>
              <a:gd name="T34" fmla="*/ 86 w 128"/>
              <a:gd name="T35" fmla="*/ 14 h 128"/>
              <a:gd name="T36" fmla="*/ 44 w 128"/>
              <a:gd name="T37" fmla="*/ 14 h 128"/>
              <a:gd name="T38" fmla="*/ 94 w 128"/>
              <a:gd name="T39" fmla="*/ 75 h 128"/>
              <a:gd name="T40" fmla="*/ 83 w 128"/>
              <a:gd name="T41" fmla="*/ 70 h 128"/>
              <a:gd name="T42" fmla="*/ 80 w 128"/>
              <a:gd name="T43" fmla="*/ 71 h 128"/>
              <a:gd name="T44" fmla="*/ 75 w 128"/>
              <a:gd name="T45" fmla="*/ 77 h 128"/>
              <a:gd name="T46" fmla="*/ 72 w 128"/>
              <a:gd name="T47" fmla="*/ 77 h 128"/>
              <a:gd name="T48" fmla="*/ 60 w 128"/>
              <a:gd name="T49" fmla="*/ 70 h 128"/>
              <a:gd name="T50" fmla="*/ 51 w 128"/>
              <a:gd name="T51" fmla="*/ 59 h 128"/>
              <a:gd name="T52" fmla="*/ 52 w 128"/>
              <a:gd name="T53" fmla="*/ 56 h 128"/>
              <a:gd name="T54" fmla="*/ 54 w 128"/>
              <a:gd name="T55" fmla="*/ 53 h 128"/>
              <a:gd name="T56" fmla="*/ 56 w 128"/>
              <a:gd name="T57" fmla="*/ 51 h 128"/>
              <a:gd name="T58" fmla="*/ 56 w 128"/>
              <a:gd name="T59" fmla="*/ 48 h 128"/>
              <a:gd name="T60" fmla="*/ 51 w 128"/>
              <a:gd name="T61" fmla="*/ 37 h 128"/>
              <a:gd name="T62" fmla="*/ 48 w 128"/>
              <a:gd name="T63" fmla="*/ 34 h 128"/>
              <a:gd name="T64" fmla="*/ 44 w 128"/>
              <a:gd name="T65" fmla="*/ 34 h 128"/>
              <a:gd name="T66" fmla="*/ 40 w 128"/>
              <a:gd name="T67" fmla="*/ 36 h 128"/>
              <a:gd name="T68" fmla="*/ 35 w 128"/>
              <a:gd name="T69" fmla="*/ 49 h 128"/>
              <a:gd name="T70" fmla="*/ 41 w 128"/>
              <a:gd name="T71" fmla="*/ 65 h 128"/>
              <a:gd name="T72" fmla="*/ 67 w 128"/>
              <a:gd name="T73" fmla="*/ 88 h 128"/>
              <a:gd name="T74" fmla="*/ 86 w 128"/>
              <a:gd name="T75" fmla="*/ 92 h 128"/>
              <a:gd name="T76" fmla="*/ 96 w 128"/>
              <a:gd name="T77" fmla="*/ 84 h 128"/>
              <a:gd name="T78" fmla="*/ 97 w 128"/>
              <a:gd name="T79" fmla="*/ 7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8" h="128">
                <a:moveTo>
                  <a:pt x="123" y="87"/>
                </a:moveTo>
                <a:cubicBezTo>
                  <a:pt x="120" y="94"/>
                  <a:pt x="115" y="101"/>
                  <a:pt x="110" y="107"/>
                </a:cubicBezTo>
                <a:cubicBezTo>
                  <a:pt x="104" y="112"/>
                  <a:pt x="97" y="117"/>
                  <a:pt x="90" y="120"/>
                </a:cubicBezTo>
                <a:cubicBezTo>
                  <a:pt x="82" y="123"/>
                  <a:pt x="74" y="125"/>
                  <a:pt x="65" y="125"/>
                </a:cubicBezTo>
                <a:cubicBezTo>
                  <a:pt x="59" y="125"/>
                  <a:pt x="54" y="124"/>
                  <a:pt x="49" y="123"/>
                </a:cubicBezTo>
                <a:cubicBezTo>
                  <a:pt x="44" y="122"/>
                  <a:pt x="39" y="120"/>
                  <a:pt x="35" y="117"/>
                </a:cubicBezTo>
                <a:cubicBezTo>
                  <a:pt x="0" y="128"/>
                  <a:pt x="0" y="128"/>
                  <a:pt x="0" y="128"/>
                </a:cubicBezTo>
                <a:cubicBezTo>
                  <a:pt x="11" y="94"/>
                  <a:pt x="11" y="94"/>
                  <a:pt x="11" y="94"/>
                </a:cubicBezTo>
                <a:cubicBezTo>
                  <a:pt x="8" y="90"/>
                  <a:pt x="6" y="85"/>
                  <a:pt x="5" y="79"/>
                </a:cubicBezTo>
                <a:cubicBezTo>
                  <a:pt x="3" y="74"/>
                  <a:pt x="2" y="68"/>
                  <a:pt x="2" y="62"/>
                </a:cubicBezTo>
                <a:cubicBezTo>
                  <a:pt x="2" y="54"/>
                  <a:pt x="4" y="46"/>
                  <a:pt x="7" y="38"/>
                </a:cubicBezTo>
                <a:cubicBezTo>
                  <a:pt x="10" y="30"/>
                  <a:pt x="15" y="24"/>
                  <a:pt x="21" y="18"/>
                </a:cubicBezTo>
                <a:cubicBezTo>
                  <a:pt x="26" y="13"/>
                  <a:pt x="33" y="8"/>
                  <a:pt x="41" y="5"/>
                </a:cubicBezTo>
                <a:cubicBezTo>
                  <a:pt x="48" y="2"/>
                  <a:pt x="56" y="0"/>
                  <a:pt x="65" y="0"/>
                </a:cubicBezTo>
                <a:cubicBezTo>
                  <a:pt x="74" y="0"/>
                  <a:pt x="82" y="2"/>
                  <a:pt x="90" y="5"/>
                </a:cubicBezTo>
                <a:cubicBezTo>
                  <a:pt x="97" y="8"/>
                  <a:pt x="104" y="13"/>
                  <a:pt x="110" y="18"/>
                </a:cubicBezTo>
                <a:cubicBezTo>
                  <a:pt x="115" y="24"/>
                  <a:pt x="120" y="30"/>
                  <a:pt x="123" y="38"/>
                </a:cubicBezTo>
                <a:cubicBezTo>
                  <a:pt x="126" y="46"/>
                  <a:pt x="128" y="54"/>
                  <a:pt x="128" y="62"/>
                </a:cubicBezTo>
                <a:cubicBezTo>
                  <a:pt x="128" y="71"/>
                  <a:pt x="126" y="79"/>
                  <a:pt x="123" y="87"/>
                </a:cubicBezTo>
                <a:close/>
                <a:moveTo>
                  <a:pt x="44" y="14"/>
                </a:moveTo>
                <a:cubicBezTo>
                  <a:pt x="38" y="17"/>
                  <a:pt x="32" y="21"/>
                  <a:pt x="28" y="25"/>
                </a:cubicBezTo>
                <a:cubicBezTo>
                  <a:pt x="23" y="30"/>
                  <a:pt x="19" y="36"/>
                  <a:pt x="16" y="42"/>
                </a:cubicBezTo>
                <a:cubicBezTo>
                  <a:pt x="14" y="48"/>
                  <a:pt x="12" y="55"/>
                  <a:pt x="12" y="62"/>
                </a:cubicBezTo>
                <a:cubicBezTo>
                  <a:pt x="12" y="68"/>
                  <a:pt x="13" y="73"/>
                  <a:pt x="15" y="79"/>
                </a:cubicBezTo>
                <a:cubicBezTo>
                  <a:pt x="17" y="84"/>
                  <a:pt x="19" y="89"/>
                  <a:pt x="22" y="93"/>
                </a:cubicBezTo>
                <a:cubicBezTo>
                  <a:pt x="16" y="113"/>
                  <a:pt x="16" y="113"/>
                  <a:pt x="16" y="113"/>
                </a:cubicBezTo>
                <a:cubicBezTo>
                  <a:pt x="36" y="106"/>
                  <a:pt x="36" y="106"/>
                  <a:pt x="36" y="106"/>
                </a:cubicBezTo>
                <a:cubicBezTo>
                  <a:pt x="41" y="109"/>
                  <a:pt x="45" y="111"/>
                  <a:pt x="50" y="112"/>
                </a:cubicBezTo>
                <a:cubicBezTo>
                  <a:pt x="55" y="114"/>
                  <a:pt x="60" y="115"/>
                  <a:pt x="66" y="115"/>
                </a:cubicBezTo>
                <a:cubicBezTo>
                  <a:pt x="73" y="115"/>
                  <a:pt x="80" y="113"/>
                  <a:pt x="86" y="111"/>
                </a:cubicBezTo>
                <a:cubicBezTo>
                  <a:pt x="93" y="108"/>
                  <a:pt x="98" y="104"/>
                  <a:pt x="103" y="99"/>
                </a:cubicBezTo>
                <a:cubicBezTo>
                  <a:pt x="108" y="95"/>
                  <a:pt x="112" y="89"/>
                  <a:pt x="114" y="83"/>
                </a:cubicBezTo>
                <a:cubicBezTo>
                  <a:pt x="117" y="76"/>
                  <a:pt x="118" y="70"/>
                  <a:pt x="118" y="62"/>
                </a:cubicBezTo>
                <a:cubicBezTo>
                  <a:pt x="118" y="55"/>
                  <a:pt x="117" y="48"/>
                  <a:pt x="114" y="42"/>
                </a:cubicBezTo>
                <a:cubicBezTo>
                  <a:pt x="111" y="36"/>
                  <a:pt x="107" y="30"/>
                  <a:pt x="103" y="25"/>
                </a:cubicBezTo>
                <a:cubicBezTo>
                  <a:pt x="98" y="21"/>
                  <a:pt x="92" y="17"/>
                  <a:pt x="86" y="14"/>
                </a:cubicBezTo>
                <a:cubicBezTo>
                  <a:pt x="79" y="12"/>
                  <a:pt x="72" y="10"/>
                  <a:pt x="65" y="10"/>
                </a:cubicBezTo>
                <a:cubicBezTo>
                  <a:pt x="58" y="10"/>
                  <a:pt x="51" y="12"/>
                  <a:pt x="44" y="14"/>
                </a:cubicBezTo>
                <a:close/>
                <a:moveTo>
                  <a:pt x="96" y="76"/>
                </a:moveTo>
                <a:cubicBezTo>
                  <a:pt x="95" y="76"/>
                  <a:pt x="95" y="76"/>
                  <a:pt x="94" y="75"/>
                </a:cubicBezTo>
                <a:cubicBezTo>
                  <a:pt x="93" y="75"/>
                  <a:pt x="91" y="74"/>
                  <a:pt x="89" y="73"/>
                </a:cubicBezTo>
                <a:cubicBezTo>
                  <a:pt x="86" y="72"/>
                  <a:pt x="84" y="71"/>
                  <a:pt x="83" y="70"/>
                </a:cubicBezTo>
                <a:cubicBezTo>
                  <a:pt x="83" y="70"/>
                  <a:pt x="82" y="70"/>
                  <a:pt x="82" y="70"/>
                </a:cubicBezTo>
                <a:cubicBezTo>
                  <a:pt x="81" y="70"/>
                  <a:pt x="81" y="70"/>
                  <a:pt x="80" y="71"/>
                </a:cubicBezTo>
                <a:cubicBezTo>
                  <a:pt x="79" y="72"/>
                  <a:pt x="79" y="73"/>
                  <a:pt x="78" y="74"/>
                </a:cubicBezTo>
                <a:cubicBezTo>
                  <a:pt x="77" y="75"/>
                  <a:pt x="76" y="76"/>
                  <a:pt x="75" y="77"/>
                </a:cubicBezTo>
                <a:cubicBezTo>
                  <a:pt x="75" y="77"/>
                  <a:pt x="74" y="78"/>
                  <a:pt x="74" y="78"/>
                </a:cubicBezTo>
                <a:cubicBezTo>
                  <a:pt x="73" y="78"/>
                  <a:pt x="73" y="78"/>
                  <a:pt x="72" y="77"/>
                </a:cubicBezTo>
                <a:cubicBezTo>
                  <a:pt x="71" y="77"/>
                  <a:pt x="70" y="76"/>
                  <a:pt x="68" y="75"/>
                </a:cubicBezTo>
                <a:cubicBezTo>
                  <a:pt x="65" y="74"/>
                  <a:pt x="63" y="73"/>
                  <a:pt x="60" y="70"/>
                </a:cubicBezTo>
                <a:cubicBezTo>
                  <a:pt x="57" y="68"/>
                  <a:pt x="55" y="66"/>
                  <a:pt x="54" y="64"/>
                </a:cubicBezTo>
                <a:cubicBezTo>
                  <a:pt x="53" y="61"/>
                  <a:pt x="52" y="60"/>
                  <a:pt x="51" y="59"/>
                </a:cubicBezTo>
                <a:cubicBezTo>
                  <a:pt x="51" y="58"/>
                  <a:pt x="51" y="58"/>
                  <a:pt x="51" y="57"/>
                </a:cubicBezTo>
                <a:cubicBezTo>
                  <a:pt x="51" y="57"/>
                  <a:pt x="51" y="57"/>
                  <a:pt x="52" y="56"/>
                </a:cubicBezTo>
                <a:cubicBezTo>
                  <a:pt x="52" y="56"/>
                  <a:pt x="52" y="55"/>
                  <a:pt x="53" y="55"/>
                </a:cubicBezTo>
                <a:cubicBezTo>
                  <a:pt x="53" y="54"/>
                  <a:pt x="54" y="54"/>
                  <a:pt x="54" y="53"/>
                </a:cubicBezTo>
                <a:cubicBezTo>
                  <a:pt x="54" y="53"/>
                  <a:pt x="54" y="52"/>
                  <a:pt x="55" y="52"/>
                </a:cubicBezTo>
                <a:cubicBezTo>
                  <a:pt x="55" y="52"/>
                  <a:pt x="55" y="51"/>
                  <a:pt x="56" y="51"/>
                </a:cubicBezTo>
                <a:cubicBezTo>
                  <a:pt x="56" y="50"/>
                  <a:pt x="56" y="50"/>
                  <a:pt x="56" y="49"/>
                </a:cubicBezTo>
                <a:cubicBezTo>
                  <a:pt x="56" y="49"/>
                  <a:pt x="56" y="48"/>
                  <a:pt x="56" y="48"/>
                </a:cubicBezTo>
                <a:cubicBezTo>
                  <a:pt x="55" y="48"/>
                  <a:pt x="54" y="46"/>
                  <a:pt x="53" y="43"/>
                </a:cubicBezTo>
                <a:cubicBezTo>
                  <a:pt x="52" y="40"/>
                  <a:pt x="51" y="38"/>
                  <a:pt x="51" y="37"/>
                </a:cubicBezTo>
                <a:cubicBezTo>
                  <a:pt x="50" y="35"/>
                  <a:pt x="50" y="34"/>
                  <a:pt x="49" y="34"/>
                </a:cubicBezTo>
                <a:cubicBezTo>
                  <a:pt x="48" y="34"/>
                  <a:pt x="48" y="34"/>
                  <a:pt x="48" y="34"/>
                </a:cubicBezTo>
                <a:cubicBezTo>
                  <a:pt x="47" y="34"/>
                  <a:pt x="46" y="34"/>
                  <a:pt x="46" y="34"/>
                </a:cubicBezTo>
                <a:cubicBezTo>
                  <a:pt x="45" y="34"/>
                  <a:pt x="45" y="34"/>
                  <a:pt x="44" y="34"/>
                </a:cubicBezTo>
                <a:cubicBezTo>
                  <a:pt x="44" y="34"/>
                  <a:pt x="43" y="34"/>
                  <a:pt x="42" y="35"/>
                </a:cubicBezTo>
                <a:cubicBezTo>
                  <a:pt x="42" y="35"/>
                  <a:pt x="41" y="35"/>
                  <a:pt x="40" y="36"/>
                </a:cubicBezTo>
                <a:cubicBezTo>
                  <a:pt x="39" y="37"/>
                  <a:pt x="38" y="39"/>
                  <a:pt x="37" y="41"/>
                </a:cubicBezTo>
                <a:cubicBezTo>
                  <a:pt x="35" y="43"/>
                  <a:pt x="35" y="45"/>
                  <a:pt x="35" y="49"/>
                </a:cubicBezTo>
                <a:cubicBezTo>
                  <a:pt x="35" y="53"/>
                  <a:pt x="36" y="56"/>
                  <a:pt x="38" y="60"/>
                </a:cubicBezTo>
                <a:cubicBezTo>
                  <a:pt x="39" y="63"/>
                  <a:pt x="41" y="65"/>
                  <a:pt x="41" y="65"/>
                </a:cubicBezTo>
                <a:cubicBezTo>
                  <a:pt x="41" y="66"/>
                  <a:pt x="44" y="69"/>
                  <a:pt x="49" y="75"/>
                </a:cubicBezTo>
                <a:cubicBezTo>
                  <a:pt x="53" y="81"/>
                  <a:pt x="60" y="85"/>
                  <a:pt x="67" y="88"/>
                </a:cubicBezTo>
                <a:cubicBezTo>
                  <a:pt x="75" y="91"/>
                  <a:pt x="80" y="92"/>
                  <a:pt x="81" y="92"/>
                </a:cubicBezTo>
                <a:cubicBezTo>
                  <a:pt x="83" y="92"/>
                  <a:pt x="84" y="92"/>
                  <a:pt x="86" y="92"/>
                </a:cubicBezTo>
                <a:cubicBezTo>
                  <a:pt x="87" y="92"/>
                  <a:pt x="89" y="91"/>
                  <a:pt x="92" y="89"/>
                </a:cubicBezTo>
                <a:cubicBezTo>
                  <a:pt x="94" y="88"/>
                  <a:pt x="95" y="86"/>
                  <a:pt x="96" y="84"/>
                </a:cubicBezTo>
                <a:cubicBezTo>
                  <a:pt x="97" y="82"/>
                  <a:pt x="97" y="81"/>
                  <a:pt x="97" y="79"/>
                </a:cubicBezTo>
                <a:cubicBezTo>
                  <a:pt x="97" y="78"/>
                  <a:pt x="97" y="77"/>
                  <a:pt x="97" y="77"/>
                </a:cubicBezTo>
                <a:cubicBezTo>
                  <a:pt x="97" y="77"/>
                  <a:pt x="96" y="76"/>
                  <a:pt x="96" y="7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877767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0121B33-C7DB-4722-8B91-EC9CB78D57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10" name="Objekt 9" hidden="1">
                        <a:extLst>
                          <a:ext uri="{FF2B5EF4-FFF2-40B4-BE49-F238E27FC236}">
                            <a16:creationId xmlns:a16="http://schemas.microsoft.com/office/drawing/2014/main" id="{60121B33-C7DB-4722-8B91-EC9CB78D57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9A071D4-B4E2-4394-BC74-35C26C57AF43}"/>
              </a:ext>
            </a:extLst>
          </p:cNvPr>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B1823002-8224-4148-A9C5-9A9FE1DEB593}"/>
              </a:ext>
            </a:extLst>
          </p:cNvPr>
          <p:cNvSpPr>
            <a:spLocks noGrp="1"/>
          </p:cNvSpPr>
          <p:nvPr>
            <p:ph type="title"/>
          </p:nvPr>
        </p:nvSpPr>
        <p:spPr/>
        <p:txBody>
          <a:bodyPr vert="horz"/>
          <a:lstStyle/>
          <a:p>
            <a:r>
              <a:rPr lang="en-GB" dirty="0"/>
              <a:t>Use of icons at Munich Re</a:t>
            </a:r>
            <a:br>
              <a:rPr lang="en-GB" dirty="0"/>
            </a:br>
            <a:endParaRPr lang="en-GB" sz="1600" dirty="0"/>
          </a:p>
        </p:txBody>
      </p:sp>
      <p:sp>
        <p:nvSpPr>
          <p:cNvPr id="4" name="Rectangle 3">
            <a:extLst>
              <a:ext uri="{FF2B5EF4-FFF2-40B4-BE49-F238E27FC236}">
                <a16:creationId xmlns:a16="http://schemas.microsoft.com/office/drawing/2014/main" id="{29E0665B-A01A-AE27-CF31-5D76EABE6F44}"/>
              </a:ext>
            </a:extLst>
          </p:cNvPr>
          <p:cNvSpPr/>
          <p:nvPr/>
        </p:nvSpPr>
        <p:spPr>
          <a:xfrm>
            <a:off x="0" y="0"/>
            <a:ext cx="9144000" cy="51435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sp>
        <p:nvSpPr>
          <p:cNvPr id="200" name="object 136">
            <a:extLst>
              <a:ext uri="{FF2B5EF4-FFF2-40B4-BE49-F238E27FC236}">
                <a16:creationId xmlns:a16="http://schemas.microsoft.com/office/drawing/2014/main" id="{42B132B1-58D6-BC08-62DB-16AA9C6DA6B1}"/>
              </a:ext>
            </a:extLst>
          </p:cNvPr>
          <p:cNvSpPr txBox="1"/>
          <p:nvPr/>
        </p:nvSpPr>
        <p:spPr>
          <a:xfrm>
            <a:off x="960713" y="2967808"/>
            <a:ext cx="201338" cy="105157"/>
          </a:xfrm>
          <a:prstGeom prst="rect">
            <a:avLst/>
          </a:prstGeom>
        </p:spPr>
        <p:txBody>
          <a:bodyPr vert="horz" wrap="none" lIns="0" tIns="12700" rIns="0" bIns="0" rtlCol="0">
            <a:spAutoFit/>
          </a:bodyPr>
          <a:lstStyle/>
          <a:p>
            <a:pPr marL="12700" algn="ctr">
              <a:lnSpc>
                <a:spcPct val="100000"/>
              </a:lnSpc>
              <a:spcBef>
                <a:spcPts val="100"/>
              </a:spcBef>
            </a:pPr>
            <a:r>
              <a:rPr sz="600" dirty="0">
                <a:solidFill>
                  <a:srgbClr val="FFFFFF"/>
                </a:solidFill>
                <a:latin typeface="Arial"/>
                <a:cs typeface="Arial"/>
              </a:rPr>
              <a:t>32</a:t>
            </a:r>
            <a:r>
              <a:rPr sz="600" spc="45" dirty="0">
                <a:solidFill>
                  <a:srgbClr val="FFFFFF"/>
                </a:solidFill>
                <a:latin typeface="Arial"/>
                <a:cs typeface="Arial"/>
              </a:rPr>
              <a:t> </a:t>
            </a:r>
            <a:r>
              <a:rPr sz="600" spc="-25" dirty="0">
                <a:solidFill>
                  <a:srgbClr val="FFFFFF"/>
                </a:solidFill>
                <a:latin typeface="Arial"/>
                <a:cs typeface="Arial"/>
              </a:rPr>
              <a:t>px</a:t>
            </a:r>
            <a:endParaRPr sz="600">
              <a:latin typeface="Arial"/>
              <a:cs typeface="Arial"/>
            </a:endParaRPr>
          </a:p>
        </p:txBody>
      </p:sp>
      <p:sp>
        <p:nvSpPr>
          <p:cNvPr id="201" name="object 137">
            <a:extLst>
              <a:ext uri="{FF2B5EF4-FFF2-40B4-BE49-F238E27FC236}">
                <a16:creationId xmlns:a16="http://schemas.microsoft.com/office/drawing/2014/main" id="{CEB0510A-5227-D044-65B0-FCF116D4F91E}"/>
              </a:ext>
            </a:extLst>
          </p:cNvPr>
          <p:cNvSpPr txBox="1"/>
          <p:nvPr/>
        </p:nvSpPr>
        <p:spPr>
          <a:xfrm>
            <a:off x="1904723" y="2000654"/>
            <a:ext cx="92333" cy="228268"/>
          </a:xfrm>
          <a:prstGeom prst="rect">
            <a:avLst/>
          </a:prstGeom>
        </p:spPr>
        <p:txBody>
          <a:bodyPr vert="vert270" wrap="none" lIns="0" tIns="26670" rIns="0" bIns="0" rtlCol="0">
            <a:spAutoFit/>
          </a:bodyPr>
          <a:lstStyle/>
          <a:p>
            <a:pPr marL="12700" algn="ctr">
              <a:lnSpc>
                <a:spcPct val="100000"/>
              </a:lnSpc>
              <a:spcBef>
                <a:spcPts val="210"/>
              </a:spcBef>
            </a:pPr>
            <a:r>
              <a:rPr sz="600" dirty="0">
                <a:solidFill>
                  <a:srgbClr val="FFFFFF"/>
                </a:solidFill>
                <a:latin typeface="Arial"/>
                <a:cs typeface="Arial"/>
              </a:rPr>
              <a:t>32</a:t>
            </a:r>
            <a:r>
              <a:rPr sz="600" spc="45" dirty="0">
                <a:solidFill>
                  <a:srgbClr val="FFFFFF"/>
                </a:solidFill>
                <a:latin typeface="Arial"/>
                <a:cs typeface="Arial"/>
              </a:rPr>
              <a:t> </a:t>
            </a:r>
            <a:r>
              <a:rPr sz="600" spc="-25" dirty="0">
                <a:solidFill>
                  <a:srgbClr val="FFFFFF"/>
                </a:solidFill>
                <a:latin typeface="Arial"/>
                <a:cs typeface="Arial"/>
              </a:rPr>
              <a:t>px</a:t>
            </a:r>
            <a:endParaRPr sz="600">
              <a:latin typeface="Arial"/>
              <a:cs typeface="Arial"/>
            </a:endParaRPr>
          </a:p>
        </p:txBody>
      </p:sp>
      <p:sp>
        <p:nvSpPr>
          <p:cNvPr id="202" name="object 138">
            <a:extLst>
              <a:ext uri="{FF2B5EF4-FFF2-40B4-BE49-F238E27FC236}">
                <a16:creationId xmlns:a16="http://schemas.microsoft.com/office/drawing/2014/main" id="{46B578C5-BA54-EF16-F525-1DFA9969B262}"/>
              </a:ext>
            </a:extLst>
          </p:cNvPr>
          <p:cNvSpPr txBox="1">
            <a:spLocks/>
          </p:cNvSpPr>
          <p:nvPr/>
        </p:nvSpPr>
        <p:spPr>
          <a:xfrm>
            <a:off x="275300" y="190732"/>
            <a:ext cx="4166441" cy="948786"/>
          </a:xfrm>
          <a:prstGeom prst="rect">
            <a:avLst/>
          </a:prstGeom>
        </p:spPr>
        <p:txBody>
          <a:bodyPr vert="horz" wrap="square" lIns="0" tIns="12700" rIns="0" bIns="0" rtlCol="0" anchor="t" anchorCtr="0">
            <a:spAutoFit/>
          </a:bodyPr>
          <a:lstStyle>
            <a:lvl1pPr algn="l" defTabSz="270000" rtl="0" eaLnBrk="1" latinLnBrk="0" hangingPunct="1">
              <a:spcBef>
                <a:spcPct val="0"/>
              </a:spcBef>
              <a:buNone/>
              <a:defRPr sz="2000" kern="1200">
                <a:solidFill>
                  <a:schemeClr val="accent1"/>
                </a:solidFill>
                <a:latin typeface="+mj-lt"/>
                <a:ea typeface="+mj-ea"/>
                <a:cs typeface="+mj-cs"/>
              </a:defRPr>
            </a:lvl1pPr>
          </a:lstStyle>
          <a:p>
            <a:pPr marL="12700">
              <a:spcBef>
                <a:spcPts val="100"/>
              </a:spcBef>
            </a:pPr>
            <a:r>
              <a:rPr lang="en-US" sz="1000" b="1" spc="-10" dirty="0">
                <a:solidFill>
                  <a:schemeClr val="bg1"/>
                </a:solidFill>
              </a:rPr>
              <a:t>Pictograms</a:t>
            </a:r>
          </a:p>
          <a:p>
            <a:pPr marL="12700" marR="5080"/>
            <a:r>
              <a:rPr lang="en-US" sz="1000" spc="55" dirty="0">
                <a:solidFill>
                  <a:schemeClr val="bg1"/>
                </a:solidFill>
                <a:latin typeface="Arial"/>
                <a:cs typeface="Arial"/>
              </a:rPr>
              <a:t>Pictograms are visual symbols used to represent ideas, objects, or topics. They can communicate messages at a glance, and simplify complex ideas or abstract narratives. Pictograms are more detailed than icons and may be used at medium to </a:t>
            </a:r>
            <a:br>
              <a:rPr lang="en-US" sz="1000" spc="55" dirty="0">
                <a:solidFill>
                  <a:schemeClr val="bg1"/>
                </a:solidFill>
                <a:latin typeface="Arial"/>
                <a:cs typeface="Arial"/>
              </a:rPr>
            </a:br>
            <a:r>
              <a:rPr lang="en-US" sz="1000" spc="55" dirty="0">
                <a:solidFill>
                  <a:schemeClr val="bg1"/>
                </a:solidFill>
                <a:latin typeface="Arial"/>
                <a:cs typeface="Arial"/>
              </a:rPr>
              <a:t>large sizes.</a:t>
            </a:r>
            <a:endParaRPr lang="en-US" sz="1000" spc="-10" dirty="0">
              <a:solidFill>
                <a:schemeClr val="bg1"/>
              </a:solidFill>
              <a:latin typeface="Arial"/>
              <a:cs typeface="Arial"/>
            </a:endParaRPr>
          </a:p>
        </p:txBody>
      </p:sp>
      <p:sp>
        <p:nvSpPr>
          <p:cNvPr id="206" name="object 142">
            <a:extLst>
              <a:ext uri="{FF2B5EF4-FFF2-40B4-BE49-F238E27FC236}">
                <a16:creationId xmlns:a16="http://schemas.microsoft.com/office/drawing/2014/main" id="{6FD2DFAC-8F30-1F6A-C5F5-8148EDC4AA1E}"/>
              </a:ext>
            </a:extLst>
          </p:cNvPr>
          <p:cNvSpPr txBox="1"/>
          <p:nvPr/>
        </p:nvSpPr>
        <p:spPr>
          <a:xfrm>
            <a:off x="276400" y="4071442"/>
            <a:ext cx="2012711" cy="725326"/>
          </a:xfrm>
          <a:prstGeom prst="rect">
            <a:avLst/>
          </a:prstGeom>
        </p:spPr>
        <p:txBody>
          <a:bodyPr vert="horz" wrap="square" lIns="0" tIns="26034" rIns="0" bIns="0" rtlCol="0">
            <a:spAutoFit/>
          </a:bodyPr>
          <a:lstStyle/>
          <a:p>
            <a:pPr marL="12700">
              <a:lnSpc>
                <a:spcPct val="100000"/>
              </a:lnSpc>
              <a:spcBef>
                <a:spcPts val="204"/>
              </a:spcBef>
            </a:pPr>
            <a:r>
              <a:rPr sz="600" b="1" dirty="0">
                <a:solidFill>
                  <a:srgbClr val="FFFFFF"/>
                </a:solidFill>
                <a:latin typeface="Arial"/>
                <a:cs typeface="Arial"/>
              </a:rPr>
              <a:t>Grid, line weight, and style</a:t>
            </a:r>
            <a:endParaRPr sz="600" dirty="0">
              <a:latin typeface="Arial"/>
              <a:cs typeface="Arial"/>
            </a:endParaRPr>
          </a:p>
          <a:p>
            <a:pPr marL="12700" marR="5080">
              <a:lnSpc>
                <a:spcPct val="111200"/>
              </a:lnSpc>
            </a:pPr>
            <a:r>
              <a:rPr lang="en-US" sz="600" dirty="0">
                <a:solidFill>
                  <a:srgbClr val="FFFFFF"/>
                </a:solidFill>
                <a:latin typeface="Arial"/>
                <a:cs typeface="Arial"/>
              </a:rPr>
              <a:t>Pictograms also use the 32 × 32 pixel grid. The pictogram must not touch or intersect the outer line. New pictograms are drawn with a 0,7 </a:t>
            </a:r>
            <a:r>
              <a:rPr lang="en-US" sz="600" dirty="0" err="1">
                <a:solidFill>
                  <a:srgbClr val="FFFFFF"/>
                </a:solidFill>
                <a:latin typeface="Arial"/>
                <a:cs typeface="Arial"/>
              </a:rPr>
              <a:t>pt</a:t>
            </a:r>
            <a:r>
              <a:rPr lang="en-US" sz="600" dirty="0">
                <a:solidFill>
                  <a:srgbClr val="FFFFFF"/>
                </a:solidFill>
                <a:latin typeface="Arial"/>
                <a:cs typeface="Arial"/>
              </a:rPr>
              <a:t> wide line that snaps to the grid.</a:t>
            </a:r>
          </a:p>
          <a:p>
            <a:pPr marL="12700" marR="5080">
              <a:lnSpc>
                <a:spcPct val="111200"/>
              </a:lnSpc>
            </a:pPr>
            <a:r>
              <a:rPr lang="en-US" sz="600" dirty="0">
                <a:solidFill>
                  <a:srgbClr val="FFFFFF"/>
                </a:solidFill>
                <a:latin typeface="Arial"/>
                <a:cs typeface="Arial"/>
              </a:rPr>
              <a:t>Line ends and corners should be round. Avoid clichés, perspective, too many details, and varying or inconsistent line weights.</a:t>
            </a:r>
          </a:p>
        </p:txBody>
      </p:sp>
      <p:sp>
        <p:nvSpPr>
          <p:cNvPr id="207" name="object 143">
            <a:extLst>
              <a:ext uri="{FF2B5EF4-FFF2-40B4-BE49-F238E27FC236}">
                <a16:creationId xmlns:a16="http://schemas.microsoft.com/office/drawing/2014/main" id="{E40BC53A-78BD-633B-1CDF-F58E4B87CE6A}"/>
              </a:ext>
            </a:extLst>
          </p:cNvPr>
          <p:cNvSpPr txBox="1"/>
          <p:nvPr/>
        </p:nvSpPr>
        <p:spPr>
          <a:xfrm>
            <a:off x="4636056" y="4071442"/>
            <a:ext cx="2002883" cy="725326"/>
          </a:xfrm>
          <a:prstGeom prst="rect">
            <a:avLst/>
          </a:prstGeom>
        </p:spPr>
        <p:txBody>
          <a:bodyPr vert="horz" wrap="square" lIns="0" tIns="26034" rIns="0" bIns="0" rtlCol="0">
            <a:spAutoFit/>
          </a:bodyPr>
          <a:lstStyle/>
          <a:p>
            <a:pPr marL="12700">
              <a:lnSpc>
                <a:spcPct val="100000"/>
              </a:lnSpc>
              <a:spcBef>
                <a:spcPts val="204"/>
              </a:spcBef>
            </a:pPr>
            <a:r>
              <a:rPr sz="600" b="1" dirty="0">
                <a:solidFill>
                  <a:srgbClr val="FFFFFF"/>
                </a:solidFill>
                <a:latin typeface="Arial"/>
                <a:cs typeface="Arial"/>
              </a:rPr>
              <a:t>Usage</a:t>
            </a:r>
            <a:endParaRPr sz="600" dirty="0">
              <a:latin typeface="Arial"/>
              <a:cs typeface="Arial"/>
            </a:endParaRPr>
          </a:p>
          <a:p>
            <a:pPr marL="12700" marR="5080">
              <a:lnSpc>
                <a:spcPct val="111200"/>
              </a:lnSpc>
            </a:pPr>
            <a:r>
              <a:rPr lang="en-US" sz="600" dirty="0">
                <a:solidFill>
                  <a:srgbClr val="FFFFFF"/>
                </a:solidFill>
                <a:latin typeface="Arial"/>
                <a:cs typeface="Arial"/>
              </a:rPr>
              <a:t>Do not mix icon and pictogram styles in the same piece of work. Allow for an 8-pixel-wide exclusion zone around pictograms when applying them. Pictograms should primarily be used at a medium size in digital, print, and</a:t>
            </a:r>
          </a:p>
          <a:p>
            <a:pPr marL="12700" marR="5080">
              <a:lnSpc>
                <a:spcPct val="111200"/>
              </a:lnSpc>
            </a:pPr>
            <a:r>
              <a:rPr lang="en-US" sz="600" dirty="0">
                <a:solidFill>
                  <a:srgbClr val="FFFFFF"/>
                </a:solidFill>
                <a:latin typeface="Arial"/>
                <a:cs typeface="Arial"/>
              </a:rPr>
              <a:t>office media. For event applications, they may be blown up to larger sizes.</a:t>
            </a:r>
          </a:p>
        </p:txBody>
      </p:sp>
      <p:sp>
        <p:nvSpPr>
          <p:cNvPr id="208" name="object 144">
            <a:extLst>
              <a:ext uri="{FF2B5EF4-FFF2-40B4-BE49-F238E27FC236}">
                <a16:creationId xmlns:a16="http://schemas.microsoft.com/office/drawing/2014/main" id="{4228DA6D-8883-6A7B-5322-915F5772BE40}"/>
              </a:ext>
            </a:extLst>
          </p:cNvPr>
          <p:cNvSpPr txBox="1"/>
          <p:nvPr/>
        </p:nvSpPr>
        <p:spPr>
          <a:xfrm>
            <a:off x="6816435" y="4071442"/>
            <a:ext cx="2049034" cy="622862"/>
          </a:xfrm>
          <a:prstGeom prst="rect">
            <a:avLst/>
          </a:prstGeom>
        </p:spPr>
        <p:txBody>
          <a:bodyPr vert="horz" wrap="square" lIns="0" tIns="26034" rIns="0" bIns="0" rtlCol="0">
            <a:spAutoFit/>
          </a:bodyPr>
          <a:lstStyle/>
          <a:p>
            <a:pPr marL="12700">
              <a:lnSpc>
                <a:spcPct val="100000"/>
              </a:lnSpc>
              <a:spcBef>
                <a:spcPts val="204"/>
              </a:spcBef>
            </a:pPr>
            <a:r>
              <a:rPr sz="600" b="1" dirty="0">
                <a:solidFill>
                  <a:srgbClr val="FFFFFF"/>
                </a:solidFill>
                <a:latin typeface="Arial"/>
                <a:cs typeface="Arial"/>
              </a:rPr>
              <a:t>Artwork</a:t>
            </a:r>
            <a:endParaRPr sz="600" dirty="0">
              <a:latin typeface="Arial"/>
              <a:cs typeface="Arial"/>
            </a:endParaRPr>
          </a:p>
          <a:p>
            <a:pPr marL="12700" marR="5080">
              <a:lnSpc>
                <a:spcPct val="111200"/>
              </a:lnSpc>
            </a:pPr>
            <a:r>
              <a:rPr lang="en-US" sz="600" dirty="0">
                <a:solidFill>
                  <a:srgbClr val="FFFFFF"/>
                </a:solidFill>
                <a:latin typeface="Arial"/>
                <a:cs typeface="Arial"/>
              </a:rPr>
              <a:t>A set of pictograms is available for employee </a:t>
            </a:r>
            <a:r>
              <a:rPr lang="en-US" sz="600" dirty="0" err="1">
                <a:solidFill>
                  <a:srgbClr val="FFFFFF"/>
                </a:solidFill>
                <a:latin typeface="Arial"/>
                <a:cs typeface="Arial"/>
              </a:rPr>
              <a:t>presen</a:t>
            </a:r>
            <a:r>
              <a:rPr lang="en-US" sz="600" dirty="0">
                <a:solidFill>
                  <a:srgbClr val="FFFFFF"/>
                </a:solidFill>
                <a:latin typeface="Arial"/>
                <a:cs typeface="Arial"/>
              </a:rPr>
              <a:t>- </a:t>
            </a:r>
            <a:r>
              <a:rPr lang="en-US" sz="600" dirty="0" err="1">
                <a:solidFill>
                  <a:srgbClr val="FFFFFF"/>
                </a:solidFill>
                <a:latin typeface="Arial"/>
                <a:cs typeface="Arial"/>
              </a:rPr>
              <a:t>tations</a:t>
            </a:r>
            <a:r>
              <a:rPr lang="en-US" sz="600" dirty="0">
                <a:solidFill>
                  <a:srgbClr val="FFFFFF"/>
                </a:solidFill>
                <a:latin typeface="Arial"/>
                <a:cs typeface="Arial"/>
              </a:rPr>
              <a:t> and marketing communications. Please use the existing set whenever possible. Note: Only a selection</a:t>
            </a:r>
          </a:p>
          <a:p>
            <a:pPr marL="12700" marR="5080">
              <a:lnSpc>
                <a:spcPct val="111200"/>
              </a:lnSpc>
            </a:pPr>
            <a:r>
              <a:rPr lang="en-US" sz="600" dirty="0">
                <a:solidFill>
                  <a:srgbClr val="FFFFFF"/>
                </a:solidFill>
                <a:latin typeface="Arial"/>
                <a:cs typeface="Arial"/>
              </a:rPr>
              <a:t>is shown here. Contact Brand Management to obtain the full set.</a:t>
            </a:r>
          </a:p>
        </p:txBody>
      </p:sp>
      <p:sp>
        <p:nvSpPr>
          <p:cNvPr id="209" name="object 145">
            <a:extLst>
              <a:ext uri="{FF2B5EF4-FFF2-40B4-BE49-F238E27FC236}">
                <a16:creationId xmlns:a16="http://schemas.microsoft.com/office/drawing/2014/main" id="{C963C2B0-B22A-2888-DD55-FE52C5DA165D}"/>
              </a:ext>
            </a:extLst>
          </p:cNvPr>
          <p:cNvSpPr txBox="1"/>
          <p:nvPr/>
        </p:nvSpPr>
        <p:spPr>
          <a:xfrm>
            <a:off x="2456778" y="4071442"/>
            <a:ext cx="2045188" cy="725326"/>
          </a:xfrm>
          <a:prstGeom prst="rect">
            <a:avLst/>
          </a:prstGeom>
        </p:spPr>
        <p:txBody>
          <a:bodyPr vert="horz" wrap="square" lIns="0" tIns="26034" rIns="0" bIns="0" rtlCol="0">
            <a:spAutoFit/>
          </a:bodyPr>
          <a:lstStyle/>
          <a:p>
            <a:pPr marL="12700">
              <a:lnSpc>
                <a:spcPct val="100000"/>
              </a:lnSpc>
              <a:spcBef>
                <a:spcPts val="204"/>
              </a:spcBef>
            </a:pPr>
            <a:r>
              <a:rPr sz="600" b="1" dirty="0">
                <a:solidFill>
                  <a:srgbClr val="FFFFFF"/>
                </a:solidFill>
                <a:latin typeface="Arial"/>
                <a:cs typeface="Arial"/>
              </a:rPr>
              <a:t>Colour</a:t>
            </a:r>
            <a:endParaRPr sz="600" dirty="0">
              <a:latin typeface="Arial"/>
              <a:cs typeface="Arial"/>
            </a:endParaRPr>
          </a:p>
          <a:p>
            <a:pPr marL="12700" marR="5080">
              <a:lnSpc>
                <a:spcPct val="111200"/>
              </a:lnSpc>
            </a:pPr>
            <a:r>
              <a:rPr lang="en-US" sz="600" dirty="0">
                <a:solidFill>
                  <a:srgbClr val="FFFFFF"/>
                </a:solidFill>
                <a:latin typeface="Arial"/>
                <a:cs typeface="Arial"/>
              </a:rPr>
              <a:t>By default, pictograms are in Munich Re Midnight Blue. A combination of Munich Re Midnight Blue and another </a:t>
            </a:r>
            <a:r>
              <a:rPr lang="en-US" sz="600" dirty="0" err="1">
                <a:solidFill>
                  <a:srgbClr val="FFFFFF"/>
                </a:solidFill>
                <a:latin typeface="Arial"/>
                <a:cs typeface="Arial"/>
              </a:rPr>
              <a:t>colour</a:t>
            </a:r>
            <a:r>
              <a:rPr lang="en-US" sz="600" dirty="0">
                <a:solidFill>
                  <a:srgbClr val="FFFFFF"/>
                </a:solidFill>
                <a:latin typeface="Arial"/>
                <a:cs typeface="Arial"/>
              </a:rPr>
              <a:t> from the palette can be used if specific parts of the pictogram are to be </a:t>
            </a:r>
            <a:r>
              <a:rPr lang="en-US" sz="600" dirty="0" err="1">
                <a:solidFill>
                  <a:srgbClr val="FFFFFF"/>
                </a:solidFill>
                <a:latin typeface="Arial"/>
                <a:cs typeface="Arial"/>
              </a:rPr>
              <a:t>emphasised</a:t>
            </a:r>
            <a:r>
              <a:rPr lang="en-US" sz="600" dirty="0">
                <a:solidFill>
                  <a:srgbClr val="FFFFFF"/>
                </a:solidFill>
                <a:latin typeface="Arial"/>
                <a:cs typeface="Arial"/>
              </a:rPr>
              <a:t>. Pictograms might also be monochromatic in one of Munich Re’s primary or accent </a:t>
            </a:r>
            <a:r>
              <a:rPr lang="en-US" sz="600" dirty="0" err="1">
                <a:solidFill>
                  <a:srgbClr val="FFFFFF"/>
                </a:solidFill>
                <a:latin typeface="Arial"/>
                <a:cs typeface="Arial"/>
              </a:rPr>
              <a:t>colours</a:t>
            </a:r>
            <a:r>
              <a:rPr lang="en-US" sz="600" dirty="0">
                <a:solidFill>
                  <a:srgbClr val="FFFFFF"/>
                </a:solidFill>
                <a:latin typeface="Arial"/>
                <a:cs typeface="Arial"/>
              </a:rPr>
              <a:t>.</a:t>
            </a:r>
          </a:p>
        </p:txBody>
      </p:sp>
      <p:sp>
        <p:nvSpPr>
          <p:cNvPr id="228" name="object 164">
            <a:extLst>
              <a:ext uri="{FF2B5EF4-FFF2-40B4-BE49-F238E27FC236}">
                <a16:creationId xmlns:a16="http://schemas.microsoft.com/office/drawing/2014/main" id="{A4D597C1-3A6A-F78F-8B7F-389052B7EF23}"/>
              </a:ext>
            </a:extLst>
          </p:cNvPr>
          <p:cNvSpPr txBox="1"/>
          <p:nvPr/>
        </p:nvSpPr>
        <p:spPr>
          <a:xfrm>
            <a:off x="3260319" y="1807350"/>
            <a:ext cx="298159" cy="89768"/>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Evaluation</a:t>
            </a:r>
          </a:p>
        </p:txBody>
      </p:sp>
      <p:sp>
        <p:nvSpPr>
          <p:cNvPr id="229" name="object 165">
            <a:extLst>
              <a:ext uri="{FF2B5EF4-FFF2-40B4-BE49-F238E27FC236}">
                <a16:creationId xmlns:a16="http://schemas.microsoft.com/office/drawing/2014/main" id="{0B651044-893C-1087-3444-18C7E9E79FC1}"/>
              </a:ext>
            </a:extLst>
          </p:cNvPr>
          <p:cNvSpPr txBox="1"/>
          <p:nvPr/>
        </p:nvSpPr>
        <p:spPr>
          <a:xfrm>
            <a:off x="3179100" y="2534143"/>
            <a:ext cx="460382" cy="89768"/>
          </a:xfrm>
          <a:prstGeom prst="rect">
            <a:avLst/>
          </a:prstGeom>
        </p:spPr>
        <p:txBody>
          <a:bodyPr vert="horz" wrap="none" lIns="0" tIns="12700" rIns="0" bIns="0" rtlCol="0">
            <a:spAutoFit/>
          </a:bodyPr>
          <a:lstStyle/>
          <a:p>
            <a:pPr marL="12700" algn="ctr">
              <a:lnSpc>
                <a:spcPct val="100000"/>
              </a:lnSpc>
              <a:spcBef>
                <a:spcPts val="100"/>
              </a:spcBef>
            </a:pPr>
            <a:r>
              <a:rPr lang="en-ZA" sz="500" spc="-20" dirty="0">
                <a:solidFill>
                  <a:srgbClr val="FFFFFF"/>
                </a:solidFill>
                <a:latin typeface="Arial"/>
                <a:cs typeface="Arial"/>
              </a:rPr>
              <a:t>Internet of Things</a:t>
            </a:r>
          </a:p>
        </p:txBody>
      </p:sp>
      <p:sp>
        <p:nvSpPr>
          <p:cNvPr id="230" name="object 166">
            <a:extLst>
              <a:ext uri="{FF2B5EF4-FFF2-40B4-BE49-F238E27FC236}">
                <a16:creationId xmlns:a16="http://schemas.microsoft.com/office/drawing/2014/main" id="{B46E44FE-CA06-ADC2-4090-60D307FCF1F2}"/>
              </a:ext>
            </a:extLst>
          </p:cNvPr>
          <p:cNvSpPr txBox="1"/>
          <p:nvPr/>
        </p:nvSpPr>
        <p:spPr>
          <a:xfrm>
            <a:off x="3272043" y="3260935"/>
            <a:ext cx="274114" cy="89768"/>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Efficiency</a:t>
            </a:r>
          </a:p>
        </p:txBody>
      </p:sp>
      <p:sp>
        <p:nvSpPr>
          <p:cNvPr id="231" name="object 167">
            <a:extLst>
              <a:ext uri="{FF2B5EF4-FFF2-40B4-BE49-F238E27FC236}">
                <a16:creationId xmlns:a16="http://schemas.microsoft.com/office/drawing/2014/main" id="{F988A2DA-26F9-8174-F316-16DC54BE2FAA}"/>
              </a:ext>
            </a:extLst>
          </p:cNvPr>
          <p:cNvSpPr txBox="1"/>
          <p:nvPr/>
        </p:nvSpPr>
        <p:spPr>
          <a:xfrm>
            <a:off x="4034299" y="1807350"/>
            <a:ext cx="203582" cy="89768"/>
          </a:xfrm>
          <a:prstGeom prst="rect">
            <a:avLst/>
          </a:prstGeom>
        </p:spPr>
        <p:txBody>
          <a:bodyPr vert="horz" wrap="none" lIns="0" tIns="12700" rIns="0" bIns="0" rtlCol="0">
            <a:spAutoFit/>
          </a:bodyPr>
          <a:lstStyle/>
          <a:p>
            <a:pPr marL="12700" algn="ctr">
              <a:lnSpc>
                <a:spcPct val="100000"/>
              </a:lnSpc>
              <a:spcBef>
                <a:spcPts val="100"/>
              </a:spcBef>
            </a:pPr>
            <a:r>
              <a:rPr lang="en-ZA" sz="500" dirty="0">
                <a:solidFill>
                  <a:srgbClr val="FFFFFF"/>
                </a:solidFill>
                <a:latin typeface="Arial"/>
                <a:cs typeface="Arial"/>
              </a:rPr>
              <a:t>Report</a:t>
            </a:r>
          </a:p>
        </p:txBody>
      </p:sp>
      <p:sp>
        <p:nvSpPr>
          <p:cNvPr id="232" name="object 168">
            <a:extLst>
              <a:ext uri="{FF2B5EF4-FFF2-40B4-BE49-F238E27FC236}">
                <a16:creationId xmlns:a16="http://schemas.microsoft.com/office/drawing/2014/main" id="{C1C25698-9ED9-ADF3-3BD9-32A7FEB4E6B3}"/>
              </a:ext>
            </a:extLst>
          </p:cNvPr>
          <p:cNvSpPr txBox="1"/>
          <p:nvPr/>
        </p:nvSpPr>
        <p:spPr>
          <a:xfrm>
            <a:off x="3974920" y="2534143"/>
            <a:ext cx="322204" cy="89768"/>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Automation</a:t>
            </a:r>
          </a:p>
        </p:txBody>
      </p:sp>
      <p:sp>
        <p:nvSpPr>
          <p:cNvPr id="233" name="object 169">
            <a:extLst>
              <a:ext uri="{FF2B5EF4-FFF2-40B4-BE49-F238E27FC236}">
                <a16:creationId xmlns:a16="http://schemas.microsoft.com/office/drawing/2014/main" id="{B75A60F3-7E22-55B8-D373-E78780BB6FFA}"/>
              </a:ext>
            </a:extLst>
          </p:cNvPr>
          <p:cNvSpPr txBox="1"/>
          <p:nvPr/>
        </p:nvSpPr>
        <p:spPr>
          <a:xfrm>
            <a:off x="3955160" y="3260935"/>
            <a:ext cx="361637" cy="89768"/>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Compatibility</a:t>
            </a:r>
          </a:p>
        </p:txBody>
      </p:sp>
      <p:sp>
        <p:nvSpPr>
          <p:cNvPr id="234" name="object 170">
            <a:extLst>
              <a:ext uri="{FF2B5EF4-FFF2-40B4-BE49-F238E27FC236}">
                <a16:creationId xmlns:a16="http://schemas.microsoft.com/office/drawing/2014/main" id="{0FB094BA-ED4A-8A98-14E5-0A9D9204B882}"/>
              </a:ext>
            </a:extLst>
          </p:cNvPr>
          <p:cNvSpPr txBox="1"/>
          <p:nvPr/>
        </p:nvSpPr>
        <p:spPr>
          <a:xfrm>
            <a:off x="4598658" y="1807350"/>
            <a:ext cx="528350" cy="243656"/>
          </a:xfrm>
          <a:prstGeom prst="rect">
            <a:avLst/>
          </a:prstGeom>
        </p:spPr>
        <p:txBody>
          <a:bodyPr vert="horz" wrap="none" lIns="0" tIns="12700" rIns="0" bIns="0" rtlCol="0">
            <a:spAutoFit/>
          </a:bodyPr>
          <a:lstStyle/>
          <a:p>
            <a:pPr marL="12700" algn="ctr">
              <a:lnSpc>
                <a:spcPct val="100000"/>
              </a:lnSpc>
              <a:spcBef>
                <a:spcPts val="100"/>
              </a:spcBef>
            </a:pPr>
            <a:r>
              <a:rPr lang="en-US" sz="500" spc="-10" dirty="0">
                <a:solidFill>
                  <a:srgbClr val="FFFFFF"/>
                </a:solidFill>
                <a:latin typeface="Arial"/>
                <a:cs typeface="Arial"/>
              </a:rPr>
              <a:t>Scope of business,</a:t>
            </a:r>
            <a:br>
              <a:rPr lang="en-US" sz="500" spc="-10" dirty="0">
                <a:solidFill>
                  <a:srgbClr val="FFFFFF"/>
                </a:solidFill>
                <a:latin typeface="Arial"/>
                <a:cs typeface="Arial"/>
              </a:rPr>
            </a:br>
            <a:r>
              <a:rPr lang="en-US" sz="500" spc="-10" dirty="0">
                <a:solidFill>
                  <a:srgbClr val="FFFFFF"/>
                </a:solidFill>
                <a:latin typeface="Arial"/>
                <a:cs typeface="Arial"/>
              </a:rPr>
              <a:t>global monopoly</a:t>
            </a:r>
            <a:br>
              <a:rPr lang="en-US" sz="500" spc="-10" dirty="0">
                <a:solidFill>
                  <a:srgbClr val="FFFFFF"/>
                </a:solidFill>
                <a:latin typeface="Arial"/>
                <a:cs typeface="Arial"/>
              </a:rPr>
            </a:br>
            <a:r>
              <a:rPr lang="en-US" sz="500" spc="-10" dirty="0">
                <a:solidFill>
                  <a:srgbClr val="FFFFFF"/>
                </a:solidFill>
                <a:latin typeface="Arial"/>
                <a:cs typeface="Arial"/>
              </a:rPr>
              <a:t> international trade</a:t>
            </a:r>
          </a:p>
        </p:txBody>
      </p:sp>
      <p:sp>
        <p:nvSpPr>
          <p:cNvPr id="235" name="object 171">
            <a:extLst>
              <a:ext uri="{FF2B5EF4-FFF2-40B4-BE49-F238E27FC236}">
                <a16:creationId xmlns:a16="http://schemas.microsoft.com/office/drawing/2014/main" id="{00CA906B-4B10-A71C-290F-2BD947BFF3C5}"/>
              </a:ext>
            </a:extLst>
          </p:cNvPr>
          <p:cNvSpPr txBox="1"/>
          <p:nvPr/>
        </p:nvSpPr>
        <p:spPr>
          <a:xfrm>
            <a:off x="4602806" y="2534143"/>
            <a:ext cx="520655" cy="89768"/>
          </a:xfrm>
          <a:prstGeom prst="rect">
            <a:avLst/>
          </a:prstGeom>
        </p:spPr>
        <p:txBody>
          <a:bodyPr vert="horz" wrap="none" lIns="0" tIns="12700" rIns="0" bIns="0" rtlCol="0">
            <a:spAutoFit/>
          </a:bodyPr>
          <a:lstStyle/>
          <a:p>
            <a:pPr marL="12700" algn="ctr">
              <a:lnSpc>
                <a:spcPct val="100000"/>
              </a:lnSpc>
              <a:spcBef>
                <a:spcPts val="100"/>
              </a:spcBef>
            </a:pPr>
            <a:r>
              <a:rPr lang="en-ZA" sz="500" spc="-20" dirty="0">
                <a:solidFill>
                  <a:srgbClr val="FFFFFF"/>
                </a:solidFill>
                <a:latin typeface="Arial"/>
                <a:cs typeface="Arial"/>
              </a:rPr>
              <a:t>Autonomous robots</a:t>
            </a:r>
          </a:p>
        </p:txBody>
      </p:sp>
      <p:sp>
        <p:nvSpPr>
          <p:cNvPr id="236" name="object 172">
            <a:extLst>
              <a:ext uri="{FF2B5EF4-FFF2-40B4-BE49-F238E27FC236}">
                <a16:creationId xmlns:a16="http://schemas.microsoft.com/office/drawing/2014/main" id="{6C9CC054-75FE-B875-1245-C80DB69BD53B}"/>
              </a:ext>
            </a:extLst>
          </p:cNvPr>
          <p:cNvSpPr txBox="1"/>
          <p:nvPr/>
        </p:nvSpPr>
        <p:spPr>
          <a:xfrm>
            <a:off x="4594031" y="3260935"/>
            <a:ext cx="537648" cy="89768"/>
          </a:xfrm>
          <a:prstGeom prst="rect">
            <a:avLst/>
          </a:prstGeom>
        </p:spPr>
        <p:txBody>
          <a:bodyPr vert="horz" wrap="none" lIns="0" tIns="12700" rIns="0" bIns="0" rtlCol="0">
            <a:spAutoFit/>
          </a:bodyPr>
          <a:lstStyle/>
          <a:p>
            <a:pPr marL="12700" algn="ctr">
              <a:lnSpc>
                <a:spcPct val="100000"/>
              </a:lnSpc>
              <a:spcBef>
                <a:spcPts val="100"/>
              </a:spcBef>
            </a:pPr>
            <a:r>
              <a:rPr lang="en-ZA" sz="500" spc="-20" dirty="0">
                <a:solidFill>
                  <a:srgbClr val="FFFFFF"/>
                </a:solidFill>
                <a:latin typeface="Arial"/>
                <a:cs typeface="Arial"/>
              </a:rPr>
              <a:t>High-class specialist</a:t>
            </a:r>
          </a:p>
        </p:txBody>
      </p:sp>
      <p:sp>
        <p:nvSpPr>
          <p:cNvPr id="237" name="object 173">
            <a:extLst>
              <a:ext uri="{FF2B5EF4-FFF2-40B4-BE49-F238E27FC236}">
                <a16:creationId xmlns:a16="http://schemas.microsoft.com/office/drawing/2014/main" id="{1F7212CE-9D68-2A82-CFC2-289EDBD0EE8F}"/>
              </a:ext>
            </a:extLst>
          </p:cNvPr>
          <p:cNvSpPr txBox="1"/>
          <p:nvPr/>
        </p:nvSpPr>
        <p:spPr>
          <a:xfrm>
            <a:off x="5328551" y="1807350"/>
            <a:ext cx="522579" cy="166712"/>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Distinctive, unique,</a:t>
            </a:r>
            <a:br>
              <a:rPr lang="en-ZA" sz="500" spc="-10" dirty="0">
                <a:solidFill>
                  <a:srgbClr val="FFFFFF"/>
                </a:solidFill>
                <a:latin typeface="Arial"/>
                <a:cs typeface="Arial"/>
              </a:rPr>
            </a:br>
            <a:r>
              <a:rPr lang="en-ZA" sz="500" spc="-10" dirty="0">
                <a:solidFill>
                  <a:srgbClr val="FFFFFF"/>
                </a:solidFill>
                <a:latin typeface="Arial"/>
                <a:cs typeface="Arial"/>
              </a:rPr>
              <a:t>precious</a:t>
            </a:r>
          </a:p>
        </p:txBody>
      </p:sp>
      <p:sp>
        <p:nvSpPr>
          <p:cNvPr id="238" name="object 174">
            <a:extLst>
              <a:ext uri="{FF2B5EF4-FFF2-40B4-BE49-F238E27FC236}">
                <a16:creationId xmlns:a16="http://schemas.microsoft.com/office/drawing/2014/main" id="{4E01D94F-3EDE-C93C-E737-4EC2401300D1}"/>
              </a:ext>
            </a:extLst>
          </p:cNvPr>
          <p:cNvSpPr txBox="1"/>
          <p:nvPr/>
        </p:nvSpPr>
        <p:spPr>
          <a:xfrm>
            <a:off x="6095312" y="1807350"/>
            <a:ext cx="442429" cy="243656"/>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Consolidation,</a:t>
            </a:r>
            <a:br>
              <a:rPr lang="en-ZA" sz="500" spc="-10" dirty="0">
                <a:solidFill>
                  <a:srgbClr val="FFFFFF"/>
                </a:solidFill>
                <a:latin typeface="Arial"/>
                <a:cs typeface="Arial"/>
              </a:rPr>
            </a:br>
            <a:r>
              <a:rPr lang="en-ZA" sz="500" spc="-10" dirty="0">
                <a:solidFill>
                  <a:srgbClr val="FFFFFF"/>
                </a:solidFill>
                <a:latin typeface="Arial"/>
                <a:cs typeface="Arial"/>
              </a:rPr>
              <a:t>puzzle, problem</a:t>
            </a:r>
            <a:br>
              <a:rPr lang="en-ZA" sz="500" spc="-10" dirty="0">
                <a:solidFill>
                  <a:srgbClr val="FFFFFF"/>
                </a:solidFill>
                <a:latin typeface="Arial"/>
                <a:cs typeface="Arial"/>
              </a:rPr>
            </a:br>
            <a:r>
              <a:rPr lang="en-ZA" sz="500" spc="-10" dirty="0">
                <a:solidFill>
                  <a:srgbClr val="FFFFFF"/>
                </a:solidFill>
                <a:latin typeface="Arial"/>
                <a:cs typeface="Arial"/>
              </a:rPr>
              <a:t>solving</a:t>
            </a:r>
          </a:p>
        </p:txBody>
      </p:sp>
      <p:sp>
        <p:nvSpPr>
          <p:cNvPr id="239" name="object 175">
            <a:extLst>
              <a:ext uri="{FF2B5EF4-FFF2-40B4-BE49-F238E27FC236}">
                <a16:creationId xmlns:a16="http://schemas.microsoft.com/office/drawing/2014/main" id="{B14F5AD7-86E8-7D86-3625-978BFA420F13}"/>
              </a:ext>
            </a:extLst>
          </p:cNvPr>
          <p:cNvSpPr txBox="1"/>
          <p:nvPr/>
        </p:nvSpPr>
        <p:spPr>
          <a:xfrm>
            <a:off x="6121237" y="2534143"/>
            <a:ext cx="390492" cy="89768"/>
          </a:xfrm>
          <a:prstGeom prst="rect">
            <a:avLst/>
          </a:prstGeom>
        </p:spPr>
        <p:txBody>
          <a:bodyPr vert="horz" wrap="none" lIns="0" tIns="12700" rIns="0" bIns="0" rtlCol="0">
            <a:spAutoFit/>
          </a:bodyPr>
          <a:lstStyle/>
          <a:p>
            <a:pPr marL="12700" algn="ctr">
              <a:lnSpc>
                <a:spcPct val="100000"/>
              </a:lnSpc>
              <a:spcBef>
                <a:spcPts val="100"/>
              </a:spcBef>
            </a:pPr>
            <a:r>
              <a:rPr lang="en-ZA" sz="500" spc="-20" dirty="0">
                <a:solidFill>
                  <a:srgbClr val="FFFFFF"/>
                </a:solidFill>
                <a:latin typeface="Arial"/>
                <a:cs typeface="Arial"/>
              </a:rPr>
              <a:t>Medical doctor</a:t>
            </a:r>
          </a:p>
        </p:txBody>
      </p:sp>
      <p:sp>
        <p:nvSpPr>
          <p:cNvPr id="240" name="object 176">
            <a:extLst>
              <a:ext uri="{FF2B5EF4-FFF2-40B4-BE49-F238E27FC236}">
                <a16:creationId xmlns:a16="http://schemas.microsoft.com/office/drawing/2014/main" id="{0F029848-E7AD-279A-C71B-33AE746EE9B0}"/>
              </a:ext>
            </a:extLst>
          </p:cNvPr>
          <p:cNvSpPr txBox="1"/>
          <p:nvPr/>
        </p:nvSpPr>
        <p:spPr>
          <a:xfrm>
            <a:off x="6163171" y="3260935"/>
            <a:ext cx="306494" cy="166712"/>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Elder care,</a:t>
            </a:r>
            <a:br>
              <a:rPr lang="en-ZA" sz="500" spc="-10" dirty="0">
                <a:solidFill>
                  <a:srgbClr val="FFFFFF"/>
                </a:solidFill>
                <a:latin typeface="Arial"/>
                <a:cs typeface="Arial"/>
              </a:rPr>
            </a:br>
            <a:r>
              <a:rPr lang="en-ZA" sz="500" spc="-10" dirty="0">
                <a:solidFill>
                  <a:srgbClr val="FFFFFF"/>
                </a:solidFill>
                <a:latin typeface="Arial"/>
                <a:cs typeface="Arial"/>
              </a:rPr>
              <a:t>paraplegic</a:t>
            </a:r>
          </a:p>
        </p:txBody>
      </p:sp>
      <p:sp>
        <p:nvSpPr>
          <p:cNvPr id="241" name="object 177">
            <a:extLst>
              <a:ext uri="{FF2B5EF4-FFF2-40B4-BE49-F238E27FC236}">
                <a16:creationId xmlns:a16="http://schemas.microsoft.com/office/drawing/2014/main" id="{DD652EC5-C196-558F-C654-6B950B0A5AFF}"/>
              </a:ext>
            </a:extLst>
          </p:cNvPr>
          <p:cNvSpPr txBox="1"/>
          <p:nvPr/>
        </p:nvSpPr>
        <p:spPr>
          <a:xfrm>
            <a:off x="6924762" y="1807350"/>
            <a:ext cx="236604" cy="89768"/>
          </a:xfrm>
          <a:prstGeom prst="rect">
            <a:avLst/>
          </a:prstGeom>
        </p:spPr>
        <p:txBody>
          <a:bodyPr vert="horz" wrap="none" lIns="0" tIns="12700" rIns="0" bIns="0" rtlCol="0">
            <a:spAutoFit/>
          </a:bodyPr>
          <a:lstStyle/>
          <a:p>
            <a:pPr marL="12700" algn="ctr">
              <a:lnSpc>
                <a:spcPct val="100000"/>
              </a:lnSpc>
              <a:spcBef>
                <a:spcPts val="100"/>
              </a:spcBef>
            </a:pPr>
            <a:r>
              <a:rPr lang="en-US" sz="500" spc="-10" dirty="0">
                <a:solidFill>
                  <a:srgbClr val="FFFFFF"/>
                </a:solidFill>
                <a:latin typeface="Arial"/>
                <a:cs typeface="Arial"/>
              </a:rPr>
              <a:t>Big data</a:t>
            </a:r>
            <a:endParaRPr sz="500" dirty="0">
              <a:latin typeface="Arial"/>
              <a:cs typeface="Arial"/>
            </a:endParaRPr>
          </a:p>
        </p:txBody>
      </p:sp>
      <p:sp>
        <p:nvSpPr>
          <p:cNvPr id="242" name="object 178">
            <a:extLst>
              <a:ext uri="{FF2B5EF4-FFF2-40B4-BE49-F238E27FC236}">
                <a16:creationId xmlns:a16="http://schemas.microsoft.com/office/drawing/2014/main" id="{3CA8D1B6-589B-DA31-B430-0BA7915FE356}"/>
              </a:ext>
            </a:extLst>
          </p:cNvPr>
          <p:cNvSpPr txBox="1"/>
          <p:nvPr/>
        </p:nvSpPr>
        <p:spPr>
          <a:xfrm>
            <a:off x="6817754" y="2534143"/>
            <a:ext cx="451086" cy="166712"/>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Conference,</a:t>
            </a:r>
            <a:br>
              <a:rPr lang="en-ZA" sz="500" spc="-10" dirty="0">
                <a:solidFill>
                  <a:srgbClr val="FFFFFF"/>
                </a:solidFill>
                <a:latin typeface="Arial"/>
                <a:cs typeface="Arial"/>
              </a:rPr>
            </a:br>
            <a:r>
              <a:rPr lang="en-ZA" sz="500" spc="-10" dirty="0">
                <a:solidFill>
                  <a:srgbClr val="FFFFFF"/>
                </a:solidFill>
                <a:latin typeface="Arial"/>
                <a:cs typeface="Arial"/>
              </a:rPr>
              <a:t>audience, sitting</a:t>
            </a:r>
          </a:p>
        </p:txBody>
      </p:sp>
      <p:sp>
        <p:nvSpPr>
          <p:cNvPr id="243" name="object 179">
            <a:extLst>
              <a:ext uri="{FF2B5EF4-FFF2-40B4-BE49-F238E27FC236}">
                <a16:creationId xmlns:a16="http://schemas.microsoft.com/office/drawing/2014/main" id="{A06DFB9B-51B3-C431-7D89-8C85A610C8C1}"/>
              </a:ext>
            </a:extLst>
          </p:cNvPr>
          <p:cNvSpPr txBox="1"/>
          <p:nvPr/>
        </p:nvSpPr>
        <p:spPr>
          <a:xfrm>
            <a:off x="6789606" y="3260935"/>
            <a:ext cx="507511" cy="89768"/>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Pollutant emission</a:t>
            </a:r>
          </a:p>
        </p:txBody>
      </p:sp>
      <p:sp>
        <p:nvSpPr>
          <p:cNvPr id="244" name="object 180">
            <a:extLst>
              <a:ext uri="{FF2B5EF4-FFF2-40B4-BE49-F238E27FC236}">
                <a16:creationId xmlns:a16="http://schemas.microsoft.com/office/drawing/2014/main" id="{256D3DC0-6AFD-095C-CEF8-2770308120E4}"/>
              </a:ext>
            </a:extLst>
          </p:cNvPr>
          <p:cNvSpPr txBox="1"/>
          <p:nvPr/>
        </p:nvSpPr>
        <p:spPr>
          <a:xfrm>
            <a:off x="7486242" y="1807350"/>
            <a:ext cx="567783" cy="166712"/>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Block chain, building</a:t>
            </a:r>
            <a:br>
              <a:rPr lang="en-ZA" sz="500" spc="-10" dirty="0">
                <a:solidFill>
                  <a:srgbClr val="FFFFFF"/>
                </a:solidFill>
                <a:latin typeface="Arial"/>
                <a:cs typeface="Arial"/>
              </a:rPr>
            </a:br>
            <a:r>
              <a:rPr lang="en-ZA" sz="500" spc="-10" dirty="0">
                <a:solidFill>
                  <a:srgbClr val="FFFFFF"/>
                </a:solidFill>
                <a:latin typeface="Arial"/>
                <a:cs typeface="Arial"/>
              </a:rPr>
              <a:t>blocks</a:t>
            </a:r>
          </a:p>
        </p:txBody>
      </p:sp>
      <p:sp>
        <p:nvSpPr>
          <p:cNvPr id="245" name="object 181">
            <a:extLst>
              <a:ext uri="{FF2B5EF4-FFF2-40B4-BE49-F238E27FC236}">
                <a16:creationId xmlns:a16="http://schemas.microsoft.com/office/drawing/2014/main" id="{4CD0BAC9-BC66-D50D-02C0-A1D97F86089E}"/>
              </a:ext>
            </a:extLst>
          </p:cNvPr>
          <p:cNvSpPr txBox="1"/>
          <p:nvPr/>
        </p:nvSpPr>
        <p:spPr>
          <a:xfrm>
            <a:off x="7508256" y="2534143"/>
            <a:ext cx="523541" cy="166712"/>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Wind energy,</a:t>
            </a:r>
            <a:br>
              <a:rPr lang="en-ZA" sz="500" spc="-10" dirty="0">
                <a:solidFill>
                  <a:srgbClr val="FFFFFF"/>
                </a:solidFill>
                <a:latin typeface="Arial"/>
                <a:cs typeface="Arial"/>
              </a:rPr>
            </a:br>
            <a:r>
              <a:rPr lang="en-ZA" sz="500" spc="-10" dirty="0">
                <a:solidFill>
                  <a:srgbClr val="FFFFFF"/>
                </a:solidFill>
                <a:latin typeface="Arial"/>
                <a:cs typeface="Arial"/>
              </a:rPr>
              <a:t>sustainable energy</a:t>
            </a:r>
          </a:p>
        </p:txBody>
      </p:sp>
      <p:sp>
        <p:nvSpPr>
          <p:cNvPr id="246" name="object 182">
            <a:extLst>
              <a:ext uri="{FF2B5EF4-FFF2-40B4-BE49-F238E27FC236}">
                <a16:creationId xmlns:a16="http://schemas.microsoft.com/office/drawing/2014/main" id="{E7B5E9DC-2747-F0EA-994F-CA5397A95E19}"/>
              </a:ext>
            </a:extLst>
          </p:cNvPr>
          <p:cNvSpPr txBox="1"/>
          <p:nvPr/>
        </p:nvSpPr>
        <p:spPr>
          <a:xfrm>
            <a:off x="7671448" y="3260935"/>
            <a:ext cx="197170" cy="89768"/>
          </a:xfrm>
          <a:prstGeom prst="rect">
            <a:avLst/>
          </a:prstGeom>
        </p:spPr>
        <p:txBody>
          <a:bodyPr vert="horz" wrap="none" lIns="0" tIns="12700" rIns="0" bIns="0" rtlCol="0">
            <a:spAutoFit/>
          </a:bodyPr>
          <a:lstStyle/>
          <a:p>
            <a:pPr marL="12700" algn="ctr">
              <a:lnSpc>
                <a:spcPct val="100000"/>
              </a:lnSpc>
              <a:spcBef>
                <a:spcPts val="100"/>
              </a:spcBef>
            </a:pPr>
            <a:r>
              <a:rPr lang="en-ZA" sz="500" dirty="0">
                <a:solidFill>
                  <a:srgbClr val="FFFFFF"/>
                </a:solidFill>
                <a:latin typeface="Arial"/>
                <a:cs typeface="Arial"/>
              </a:rPr>
              <a:t>Bridge</a:t>
            </a:r>
          </a:p>
        </p:txBody>
      </p:sp>
      <p:sp>
        <p:nvSpPr>
          <p:cNvPr id="247" name="object 183">
            <a:extLst>
              <a:ext uri="{FF2B5EF4-FFF2-40B4-BE49-F238E27FC236}">
                <a16:creationId xmlns:a16="http://schemas.microsoft.com/office/drawing/2014/main" id="{66A2BF0A-09E8-D41A-7035-21C63F35FD72}"/>
              </a:ext>
            </a:extLst>
          </p:cNvPr>
          <p:cNvSpPr txBox="1"/>
          <p:nvPr/>
        </p:nvSpPr>
        <p:spPr>
          <a:xfrm>
            <a:off x="8338885" y="1807350"/>
            <a:ext cx="315792" cy="89768"/>
          </a:xfrm>
          <a:prstGeom prst="rect">
            <a:avLst/>
          </a:prstGeom>
        </p:spPr>
        <p:txBody>
          <a:bodyPr vert="horz" wrap="none" lIns="0" tIns="12700" rIns="0" bIns="0" rtlCol="0">
            <a:spAutoFit/>
          </a:bodyPr>
          <a:lstStyle/>
          <a:p>
            <a:pPr marL="12700" algn="ctr">
              <a:lnSpc>
                <a:spcPct val="100000"/>
              </a:lnSpc>
              <a:spcBef>
                <a:spcPts val="100"/>
              </a:spcBef>
            </a:pPr>
            <a:r>
              <a:rPr lang="en-ZA" sz="500" dirty="0">
                <a:solidFill>
                  <a:srgbClr val="FFFFFF"/>
                </a:solidFill>
                <a:latin typeface="Arial"/>
                <a:cs typeface="Arial"/>
              </a:rPr>
              <a:t>USB cable</a:t>
            </a:r>
          </a:p>
        </p:txBody>
      </p:sp>
      <p:sp>
        <p:nvSpPr>
          <p:cNvPr id="248" name="object 184">
            <a:extLst>
              <a:ext uri="{FF2B5EF4-FFF2-40B4-BE49-F238E27FC236}">
                <a16:creationId xmlns:a16="http://schemas.microsoft.com/office/drawing/2014/main" id="{883103A1-1BAD-C810-6EC8-33115CFA91E5}"/>
              </a:ext>
            </a:extLst>
          </p:cNvPr>
          <p:cNvSpPr txBox="1"/>
          <p:nvPr/>
        </p:nvSpPr>
        <p:spPr>
          <a:xfrm>
            <a:off x="8377193" y="2534143"/>
            <a:ext cx="239168" cy="89768"/>
          </a:xfrm>
          <a:prstGeom prst="rect">
            <a:avLst/>
          </a:prstGeom>
        </p:spPr>
        <p:txBody>
          <a:bodyPr vert="horz" wrap="none" lIns="0" tIns="12700" rIns="0" bIns="0" rtlCol="0">
            <a:spAutoFit/>
          </a:bodyPr>
          <a:lstStyle/>
          <a:p>
            <a:pPr marL="12700" algn="ctr">
              <a:lnSpc>
                <a:spcPct val="100000"/>
              </a:lnSpc>
              <a:spcBef>
                <a:spcPts val="100"/>
              </a:spcBef>
            </a:pPr>
            <a:r>
              <a:rPr lang="en-US" sz="500" spc="-10" dirty="0">
                <a:solidFill>
                  <a:srgbClr val="FFFFFF"/>
                </a:solidFill>
                <a:latin typeface="Arial"/>
                <a:cs typeface="Arial"/>
              </a:rPr>
              <a:t>Scheme</a:t>
            </a:r>
            <a:endParaRPr sz="500" dirty="0">
              <a:latin typeface="Arial"/>
              <a:cs typeface="Arial"/>
            </a:endParaRPr>
          </a:p>
        </p:txBody>
      </p:sp>
      <p:sp>
        <p:nvSpPr>
          <p:cNvPr id="249" name="object 185">
            <a:extLst>
              <a:ext uri="{FF2B5EF4-FFF2-40B4-BE49-F238E27FC236}">
                <a16:creationId xmlns:a16="http://schemas.microsoft.com/office/drawing/2014/main" id="{12D89D41-BF04-2A15-872B-B2D2449C501A}"/>
              </a:ext>
            </a:extLst>
          </p:cNvPr>
          <p:cNvSpPr txBox="1"/>
          <p:nvPr/>
        </p:nvSpPr>
        <p:spPr>
          <a:xfrm>
            <a:off x="8407178" y="3260935"/>
            <a:ext cx="179536" cy="89768"/>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Drone</a:t>
            </a:r>
          </a:p>
        </p:txBody>
      </p:sp>
      <p:sp>
        <p:nvSpPr>
          <p:cNvPr id="250" name="object 186">
            <a:extLst>
              <a:ext uri="{FF2B5EF4-FFF2-40B4-BE49-F238E27FC236}">
                <a16:creationId xmlns:a16="http://schemas.microsoft.com/office/drawing/2014/main" id="{9D41FDA2-4BAE-7886-4BE9-156B8ACAF5E3}"/>
              </a:ext>
            </a:extLst>
          </p:cNvPr>
          <p:cNvSpPr txBox="1"/>
          <p:nvPr/>
        </p:nvSpPr>
        <p:spPr>
          <a:xfrm>
            <a:off x="5338168" y="2534143"/>
            <a:ext cx="503343" cy="243656"/>
          </a:xfrm>
          <a:prstGeom prst="rect">
            <a:avLst/>
          </a:prstGeom>
        </p:spPr>
        <p:txBody>
          <a:bodyPr vert="horz" wrap="none" lIns="0" tIns="12700" rIns="0" bIns="0" rtlCol="0">
            <a:spAutoFit/>
          </a:bodyPr>
          <a:lstStyle/>
          <a:p>
            <a:pPr marL="12700" algn="ctr">
              <a:lnSpc>
                <a:spcPct val="100000"/>
              </a:lnSpc>
              <a:spcBef>
                <a:spcPts val="100"/>
              </a:spcBef>
            </a:pPr>
            <a:r>
              <a:rPr lang="it-IT" sz="500" spc="-25" dirty="0">
                <a:solidFill>
                  <a:srgbClr val="FFFFFF"/>
                </a:solidFill>
                <a:latin typeface="Arial"/>
                <a:cs typeface="Arial"/>
              </a:rPr>
              <a:t>Automatic identifi- </a:t>
            </a:r>
            <a:br>
              <a:rPr lang="it-IT" sz="500" spc="-25" dirty="0">
                <a:solidFill>
                  <a:srgbClr val="FFFFFF"/>
                </a:solidFill>
                <a:latin typeface="Arial"/>
                <a:cs typeface="Arial"/>
              </a:rPr>
            </a:br>
            <a:r>
              <a:rPr lang="it-IT" sz="500" spc="-25" dirty="0">
                <a:solidFill>
                  <a:srgbClr val="FFFFFF"/>
                </a:solidFill>
                <a:latin typeface="Arial"/>
                <a:cs typeface="Arial"/>
              </a:rPr>
              <a:t>cation, sensor data,</a:t>
            </a:r>
            <a:br>
              <a:rPr lang="it-IT" sz="500" spc="-25" dirty="0">
                <a:solidFill>
                  <a:srgbClr val="FFFFFF"/>
                </a:solidFill>
                <a:latin typeface="Arial"/>
                <a:cs typeface="Arial"/>
              </a:rPr>
            </a:br>
            <a:r>
              <a:rPr lang="it-IT" sz="500" spc="-25" dirty="0">
                <a:solidFill>
                  <a:srgbClr val="FFFFFF"/>
                </a:solidFill>
                <a:latin typeface="Arial"/>
                <a:cs typeface="Arial"/>
              </a:rPr>
              <a:t>biometrics</a:t>
            </a:r>
          </a:p>
        </p:txBody>
      </p:sp>
      <p:sp>
        <p:nvSpPr>
          <p:cNvPr id="251" name="object 187">
            <a:extLst>
              <a:ext uri="{FF2B5EF4-FFF2-40B4-BE49-F238E27FC236}">
                <a16:creationId xmlns:a16="http://schemas.microsoft.com/office/drawing/2014/main" id="{9EB39CDF-3383-BFD9-71A4-D731AB79BCD5}"/>
              </a:ext>
            </a:extLst>
          </p:cNvPr>
          <p:cNvSpPr txBox="1"/>
          <p:nvPr/>
        </p:nvSpPr>
        <p:spPr>
          <a:xfrm>
            <a:off x="5490775" y="3260935"/>
            <a:ext cx="197491" cy="89768"/>
          </a:xfrm>
          <a:prstGeom prst="rect">
            <a:avLst/>
          </a:prstGeom>
        </p:spPr>
        <p:txBody>
          <a:bodyPr vert="horz" wrap="none" lIns="0" tIns="12700" rIns="0" bIns="0" rtlCol="0">
            <a:spAutoFit/>
          </a:bodyPr>
          <a:lstStyle/>
          <a:p>
            <a:pPr marL="12700" algn="ctr">
              <a:lnSpc>
                <a:spcPct val="100000"/>
              </a:lnSpc>
              <a:spcBef>
                <a:spcPts val="100"/>
              </a:spcBef>
            </a:pPr>
            <a:r>
              <a:rPr lang="en-US" sz="500" spc="-10" dirty="0">
                <a:solidFill>
                  <a:srgbClr val="FFFFFF"/>
                </a:solidFill>
                <a:latin typeface="Arial"/>
                <a:cs typeface="Arial"/>
              </a:rPr>
              <a:t>Stocks</a:t>
            </a:r>
            <a:endParaRPr sz="500" dirty="0">
              <a:latin typeface="Arial"/>
              <a:cs typeface="Arial"/>
            </a:endParaRPr>
          </a:p>
        </p:txBody>
      </p:sp>
      <p:sp>
        <p:nvSpPr>
          <p:cNvPr id="252" name="object 188">
            <a:extLst>
              <a:ext uri="{FF2B5EF4-FFF2-40B4-BE49-F238E27FC236}">
                <a16:creationId xmlns:a16="http://schemas.microsoft.com/office/drawing/2014/main" id="{D8CFB723-34F6-6E05-1793-53365EC485DF}"/>
              </a:ext>
            </a:extLst>
          </p:cNvPr>
          <p:cNvSpPr txBox="1"/>
          <p:nvPr/>
        </p:nvSpPr>
        <p:spPr>
          <a:xfrm>
            <a:off x="2452071" y="1807350"/>
            <a:ext cx="461024" cy="89768"/>
          </a:xfrm>
          <a:prstGeom prst="rect">
            <a:avLst/>
          </a:prstGeom>
        </p:spPr>
        <p:txBody>
          <a:bodyPr vert="horz" wrap="square" lIns="0" tIns="12700" rIns="0" bIns="0" rtlCol="0">
            <a:spAutoFit/>
          </a:bodyPr>
          <a:lstStyle/>
          <a:p>
            <a:pPr marL="12700" algn="ctr">
              <a:spcBef>
                <a:spcPts val="100"/>
              </a:spcBef>
            </a:pPr>
            <a:r>
              <a:rPr lang="en-ZA" sz="500" dirty="0">
                <a:solidFill>
                  <a:srgbClr val="FFFFFF"/>
                </a:solidFill>
                <a:latin typeface="Arial"/>
                <a:cs typeface="Arial"/>
              </a:rPr>
              <a:t>Neural</a:t>
            </a:r>
            <a:r>
              <a:rPr lang="en-ZA" sz="500" spc="85" dirty="0">
                <a:solidFill>
                  <a:srgbClr val="FFFFFF"/>
                </a:solidFill>
                <a:latin typeface="Arial"/>
                <a:cs typeface="Arial"/>
              </a:rPr>
              <a:t> </a:t>
            </a:r>
            <a:r>
              <a:rPr lang="en-ZA" sz="500" spc="-10" dirty="0">
                <a:solidFill>
                  <a:srgbClr val="FFFFFF"/>
                </a:solidFill>
                <a:latin typeface="Arial"/>
                <a:cs typeface="Arial"/>
              </a:rPr>
              <a:t>interface</a:t>
            </a:r>
            <a:endParaRPr lang="en-ZA" sz="500" dirty="0">
              <a:latin typeface="Arial"/>
              <a:cs typeface="Arial"/>
            </a:endParaRPr>
          </a:p>
        </p:txBody>
      </p:sp>
      <p:sp>
        <p:nvSpPr>
          <p:cNvPr id="253" name="object 189">
            <a:extLst>
              <a:ext uri="{FF2B5EF4-FFF2-40B4-BE49-F238E27FC236}">
                <a16:creationId xmlns:a16="http://schemas.microsoft.com/office/drawing/2014/main" id="{9465BEB7-A732-AE48-12A9-8938759B280D}"/>
              </a:ext>
            </a:extLst>
          </p:cNvPr>
          <p:cNvSpPr txBox="1"/>
          <p:nvPr/>
        </p:nvSpPr>
        <p:spPr>
          <a:xfrm>
            <a:off x="2414679" y="2534143"/>
            <a:ext cx="535724" cy="89768"/>
          </a:xfrm>
          <a:prstGeom prst="rect">
            <a:avLst/>
          </a:prstGeom>
        </p:spPr>
        <p:txBody>
          <a:bodyPr vert="horz" wrap="none" lIns="0" tIns="12700" rIns="0" bIns="0" rtlCol="0">
            <a:spAutoFit/>
          </a:bodyPr>
          <a:lstStyle/>
          <a:p>
            <a:pPr marL="12700" algn="ctr">
              <a:lnSpc>
                <a:spcPct val="100000"/>
              </a:lnSpc>
              <a:spcBef>
                <a:spcPts val="100"/>
              </a:spcBef>
            </a:pPr>
            <a:r>
              <a:rPr lang="en-ZA" sz="500" spc="-10" dirty="0">
                <a:solidFill>
                  <a:srgbClr val="FFFFFF"/>
                </a:solidFill>
                <a:latin typeface="Arial"/>
                <a:cs typeface="Arial"/>
              </a:rPr>
              <a:t>Quantum computer</a:t>
            </a:r>
          </a:p>
        </p:txBody>
      </p:sp>
      <p:sp>
        <p:nvSpPr>
          <p:cNvPr id="254" name="object 190">
            <a:extLst>
              <a:ext uri="{FF2B5EF4-FFF2-40B4-BE49-F238E27FC236}">
                <a16:creationId xmlns:a16="http://schemas.microsoft.com/office/drawing/2014/main" id="{78F71BCE-AE4E-98D0-23EC-45F2E21A7E97}"/>
              </a:ext>
            </a:extLst>
          </p:cNvPr>
          <p:cNvSpPr txBox="1"/>
          <p:nvPr/>
        </p:nvSpPr>
        <p:spPr>
          <a:xfrm>
            <a:off x="2495839" y="3260935"/>
            <a:ext cx="373500" cy="89768"/>
          </a:xfrm>
          <a:prstGeom prst="rect">
            <a:avLst/>
          </a:prstGeom>
        </p:spPr>
        <p:txBody>
          <a:bodyPr vert="horz" wrap="none" lIns="0" tIns="12700" rIns="0" bIns="0" rtlCol="0">
            <a:spAutoFit/>
          </a:bodyPr>
          <a:lstStyle/>
          <a:p>
            <a:pPr marL="12700" algn="ctr">
              <a:lnSpc>
                <a:spcPct val="100000"/>
              </a:lnSpc>
              <a:spcBef>
                <a:spcPts val="100"/>
              </a:spcBef>
            </a:pPr>
            <a:r>
              <a:rPr lang="en-ZA" sz="500" dirty="0">
                <a:solidFill>
                  <a:srgbClr val="FFFFFF"/>
                </a:solidFill>
                <a:latin typeface="Arial"/>
                <a:cs typeface="Arial"/>
              </a:rPr>
              <a:t>Smart house</a:t>
            </a:r>
          </a:p>
        </p:txBody>
      </p:sp>
      <p:pic>
        <p:nvPicPr>
          <p:cNvPr id="276" name="object 212">
            <a:extLst>
              <a:ext uri="{FF2B5EF4-FFF2-40B4-BE49-F238E27FC236}">
                <a16:creationId xmlns:a16="http://schemas.microsoft.com/office/drawing/2014/main" id="{904F9997-08BD-215E-087B-52A324486308}"/>
              </a:ext>
            </a:extLst>
          </p:cNvPr>
          <p:cNvPicPr/>
          <p:nvPr/>
        </p:nvPicPr>
        <p:blipFill>
          <a:blip r:embed="rId7" cstate="print"/>
          <a:stretch>
            <a:fillRect/>
          </a:stretch>
        </p:blipFill>
        <p:spPr>
          <a:xfrm>
            <a:off x="6824980" y="3877120"/>
            <a:ext cx="145359" cy="127189"/>
          </a:xfrm>
          <a:prstGeom prst="rect">
            <a:avLst/>
          </a:prstGeom>
        </p:spPr>
      </p:pic>
      <p:grpSp>
        <p:nvGrpSpPr>
          <p:cNvPr id="12" name="Group 11">
            <a:extLst>
              <a:ext uri="{FF2B5EF4-FFF2-40B4-BE49-F238E27FC236}">
                <a16:creationId xmlns:a16="http://schemas.microsoft.com/office/drawing/2014/main" id="{7855668D-5150-637D-8271-9ADB91B5581F}"/>
              </a:ext>
            </a:extLst>
          </p:cNvPr>
          <p:cNvGrpSpPr>
            <a:grpSpLocks noChangeAspect="1"/>
          </p:cNvGrpSpPr>
          <p:nvPr/>
        </p:nvGrpSpPr>
        <p:grpSpPr>
          <a:xfrm>
            <a:off x="2464222" y="1339398"/>
            <a:ext cx="6240361" cy="1890000"/>
            <a:chOff x="3527996" y="1944014"/>
            <a:chExt cx="9272467" cy="2808325"/>
          </a:xfrm>
        </p:grpSpPr>
        <p:sp>
          <p:nvSpPr>
            <p:cNvPr id="13" name="object 7">
              <a:extLst>
                <a:ext uri="{FF2B5EF4-FFF2-40B4-BE49-F238E27FC236}">
                  <a16:creationId xmlns:a16="http://schemas.microsoft.com/office/drawing/2014/main" id="{19A53EBA-2DF9-8683-66E9-3492A18CD8E9}"/>
                </a:ext>
              </a:extLst>
            </p:cNvPr>
            <p:cNvSpPr/>
            <p:nvPr/>
          </p:nvSpPr>
          <p:spPr>
            <a:xfrm>
              <a:off x="3527996" y="4104004"/>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FFFFFF"/>
            </a:solidFill>
          </p:spPr>
          <p:txBody>
            <a:bodyPr wrap="square" lIns="0" tIns="0" rIns="0" bIns="0" rtlCol="0"/>
            <a:lstStyle/>
            <a:p>
              <a:endParaRPr/>
            </a:p>
          </p:txBody>
        </p:sp>
        <p:sp>
          <p:nvSpPr>
            <p:cNvPr id="14" name="object 8">
              <a:extLst>
                <a:ext uri="{FF2B5EF4-FFF2-40B4-BE49-F238E27FC236}">
                  <a16:creationId xmlns:a16="http://schemas.microsoft.com/office/drawing/2014/main" id="{7B0A8B17-7FB9-6366-F9BF-808168B1DDDA}"/>
                </a:ext>
              </a:extLst>
            </p:cNvPr>
            <p:cNvSpPr/>
            <p:nvPr/>
          </p:nvSpPr>
          <p:spPr>
            <a:xfrm>
              <a:off x="4608004" y="3024009"/>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FFFFFF"/>
            </a:solidFill>
          </p:spPr>
          <p:txBody>
            <a:bodyPr wrap="square" lIns="0" tIns="0" rIns="0" bIns="0" rtlCol="0"/>
            <a:lstStyle/>
            <a:p>
              <a:endParaRPr/>
            </a:p>
          </p:txBody>
        </p:sp>
        <p:sp>
          <p:nvSpPr>
            <p:cNvPr id="15" name="object 9">
              <a:extLst>
                <a:ext uri="{FF2B5EF4-FFF2-40B4-BE49-F238E27FC236}">
                  <a16:creationId xmlns:a16="http://schemas.microsoft.com/office/drawing/2014/main" id="{D03029F5-47AE-918B-0B37-BD1A8F4D8A75}"/>
                </a:ext>
              </a:extLst>
            </p:cNvPr>
            <p:cNvSpPr/>
            <p:nvPr/>
          </p:nvSpPr>
          <p:spPr>
            <a:xfrm>
              <a:off x="4608004" y="4104004"/>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9FA4A8"/>
            </a:solidFill>
          </p:spPr>
          <p:txBody>
            <a:bodyPr wrap="square" lIns="0" tIns="0" rIns="0" bIns="0" rtlCol="0"/>
            <a:lstStyle/>
            <a:p>
              <a:endParaRPr/>
            </a:p>
          </p:txBody>
        </p:sp>
        <p:sp>
          <p:nvSpPr>
            <p:cNvPr id="16" name="object 10">
              <a:extLst>
                <a:ext uri="{FF2B5EF4-FFF2-40B4-BE49-F238E27FC236}">
                  <a16:creationId xmlns:a16="http://schemas.microsoft.com/office/drawing/2014/main" id="{25E8710C-F920-0EF6-A2E4-D0C4C589B544}"/>
                </a:ext>
              </a:extLst>
            </p:cNvPr>
            <p:cNvSpPr/>
            <p:nvPr/>
          </p:nvSpPr>
          <p:spPr>
            <a:xfrm>
              <a:off x="5687999" y="1944014"/>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D9DADC"/>
            </a:solidFill>
          </p:spPr>
          <p:txBody>
            <a:bodyPr wrap="square" lIns="0" tIns="0" rIns="0" bIns="0" rtlCol="0"/>
            <a:lstStyle/>
            <a:p>
              <a:endParaRPr/>
            </a:p>
          </p:txBody>
        </p:sp>
        <p:grpSp>
          <p:nvGrpSpPr>
            <p:cNvPr id="28" name="object 11">
              <a:extLst>
                <a:ext uri="{FF2B5EF4-FFF2-40B4-BE49-F238E27FC236}">
                  <a16:creationId xmlns:a16="http://schemas.microsoft.com/office/drawing/2014/main" id="{EF84E6A8-F7E7-EE23-E8B3-59D485489551}"/>
                </a:ext>
              </a:extLst>
            </p:cNvPr>
            <p:cNvGrpSpPr/>
            <p:nvPr/>
          </p:nvGrpSpPr>
          <p:grpSpPr>
            <a:xfrm>
              <a:off x="5687999" y="3024009"/>
              <a:ext cx="648335" cy="648335"/>
              <a:chOff x="5687999" y="3024009"/>
              <a:chExt cx="648335" cy="648335"/>
            </a:xfrm>
          </p:grpSpPr>
          <p:sp>
            <p:nvSpPr>
              <p:cNvPr id="296" name="object 12">
                <a:extLst>
                  <a:ext uri="{FF2B5EF4-FFF2-40B4-BE49-F238E27FC236}">
                    <a16:creationId xmlns:a16="http://schemas.microsoft.com/office/drawing/2014/main" id="{8743EF11-670E-0D64-D22B-2FA877A4B573}"/>
                  </a:ext>
                </a:extLst>
              </p:cNvPr>
              <p:cNvSpPr/>
              <p:nvPr/>
            </p:nvSpPr>
            <p:spPr>
              <a:xfrm>
                <a:off x="5687999" y="3024009"/>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3350B8"/>
              </a:solidFill>
            </p:spPr>
            <p:txBody>
              <a:bodyPr wrap="square" lIns="0" tIns="0" rIns="0" bIns="0" rtlCol="0"/>
              <a:lstStyle/>
              <a:p>
                <a:endParaRPr/>
              </a:p>
            </p:txBody>
          </p:sp>
          <p:sp>
            <p:nvSpPr>
              <p:cNvPr id="297" name="object 13">
                <a:extLst>
                  <a:ext uri="{FF2B5EF4-FFF2-40B4-BE49-F238E27FC236}">
                    <a16:creationId xmlns:a16="http://schemas.microsoft.com/office/drawing/2014/main" id="{C9CA7821-1CC6-2AFF-718C-6F37EDABD6B8}"/>
                  </a:ext>
                </a:extLst>
              </p:cNvPr>
              <p:cNvSpPr/>
              <p:nvPr/>
            </p:nvSpPr>
            <p:spPr>
              <a:xfrm>
                <a:off x="5768517" y="3513175"/>
                <a:ext cx="419734" cy="51435"/>
              </a:xfrm>
              <a:custGeom>
                <a:avLst/>
                <a:gdLst/>
                <a:ahLst/>
                <a:cxnLst/>
                <a:rect l="l" t="t" r="r" b="b"/>
                <a:pathLst>
                  <a:path w="419735" h="51435">
                    <a:moveTo>
                      <a:pt x="400227" y="2857"/>
                    </a:moveTo>
                    <a:lnTo>
                      <a:pt x="397383" y="0"/>
                    </a:lnTo>
                    <a:lnTo>
                      <a:pt x="21907" y="0"/>
                    </a:lnTo>
                    <a:lnTo>
                      <a:pt x="19075" y="2857"/>
                    </a:lnTo>
                    <a:lnTo>
                      <a:pt x="19075" y="9855"/>
                    </a:lnTo>
                    <a:lnTo>
                      <a:pt x="21920" y="12712"/>
                    </a:lnTo>
                    <a:lnTo>
                      <a:pt x="393877" y="12712"/>
                    </a:lnTo>
                    <a:lnTo>
                      <a:pt x="397383" y="12712"/>
                    </a:lnTo>
                    <a:lnTo>
                      <a:pt x="400227" y="9855"/>
                    </a:lnTo>
                    <a:lnTo>
                      <a:pt x="400227" y="2857"/>
                    </a:lnTo>
                    <a:close/>
                  </a:path>
                  <a:path w="419735" h="51435">
                    <a:moveTo>
                      <a:pt x="419290" y="40970"/>
                    </a:moveTo>
                    <a:lnTo>
                      <a:pt x="416433" y="38125"/>
                    </a:lnTo>
                    <a:lnTo>
                      <a:pt x="2832" y="38125"/>
                    </a:lnTo>
                    <a:lnTo>
                      <a:pt x="0" y="40970"/>
                    </a:lnTo>
                    <a:lnTo>
                      <a:pt x="0" y="47980"/>
                    </a:lnTo>
                    <a:lnTo>
                      <a:pt x="2857" y="50838"/>
                    </a:lnTo>
                    <a:lnTo>
                      <a:pt x="412927" y="50838"/>
                    </a:lnTo>
                    <a:lnTo>
                      <a:pt x="416458" y="50838"/>
                    </a:lnTo>
                    <a:lnTo>
                      <a:pt x="419290" y="47980"/>
                    </a:lnTo>
                    <a:lnTo>
                      <a:pt x="419290" y="40970"/>
                    </a:lnTo>
                    <a:close/>
                  </a:path>
                </a:pathLst>
              </a:custGeom>
              <a:solidFill>
                <a:srgbClr val="FFFFFF"/>
              </a:solidFill>
            </p:spPr>
            <p:txBody>
              <a:bodyPr wrap="square" lIns="0" tIns="0" rIns="0" bIns="0" rtlCol="0"/>
              <a:lstStyle/>
              <a:p>
                <a:endParaRPr/>
              </a:p>
            </p:txBody>
          </p:sp>
          <p:pic>
            <p:nvPicPr>
              <p:cNvPr id="298" name="object 14">
                <a:extLst>
                  <a:ext uri="{FF2B5EF4-FFF2-40B4-BE49-F238E27FC236}">
                    <a16:creationId xmlns:a16="http://schemas.microsoft.com/office/drawing/2014/main" id="{7914609D-3348-9695-44BA-24AF73138576}"/>
                  </a:ext>
                </a:extLst>
              </p:cNvPr>
              <p:cNvPicPr/>
              <p:nvPr/>
            </p:nvPicPr>
            <p:blipFill>
              <a:blip r:embed="rId8" cstate="print"/>
              <a:stretch>
                <a:fillRect/>
              </a:stretch>
            </p:blipFill>
            <p:spPr>
              <a:xfrm>
                <a:off x="5824103" y="3215097"/>
                <a:ext cx="293846" cy="310780"/>
              </a:xfrm>
              <a:prstGeom prst="rect">
                <a:avLst/>
              </a:prstGeom>
            </p:spPr>
          </p:pic>
          <p:sp>
            <p:nvSpPr>
              <p:cNvPr id="299" name="object 15">
                <a:extLst>
                  <a:ext uri="{FF2B5EF4-FFF2-40B4-BE49-F238E27FC236}">
                    <a16:creationId xmlns:a16="http://schemas.microsoft.com/office/drawing/2014/main" id="{258B0461-F775-3741-2130-E7EB0DA6C7F0}"/>
                  </a:ext>
                </a:extLst>
              </p:cNvPr>
              <p:cNvSpPr/>
              <p:nvPr/>
            </p:nvSpPr>
            <p:spPr>
              <a:xfrm>
                <a:off x="5793956" y="3157435"/>
                <a:ext cx="343535" cy="102235"/>
              </a:xfrm>
              <a:custGeom>
                <a:avLst/>
                <a:gdLst/>
                <a:ahLst/>
                <a:cxnLst/>
                <a:rect l="l" t="t" r="r" b="b"/>
                <a:pathLst>
                  <a:path w="343535" h="102235">
                    <a:moveTo>
                      <a:pt x="63525" y="47307"/>
                    </a:moveTo>
                    <a:lnTo>
                      <a:pt x="60667" y="44462"/>
                    </a:lnTo>
                    <a:lnTo>
                      <a:pt x="40919" y="44462"/>
                    </a:lnTo>
                    <a:lnTo>
                      <a:pt x="38087" y="47307"/>
                    </a:lnTo>
                    <a:lnTo>
                      <a:pt x="38087" y="54317"/>
                    </a:lnTo>
                    <a:lnTo>
                      <a:pt x="40944" y="57175"/>
                    </a:lnTo>
                    <a:lnTo>
                      <a:pt x="57162" y="57175"/>
                    </a:lnTo>
                    <a:lnTo>
                      <a:pt x="60667" y="57175"/>
                    </a:lnTo>
                    <a:lnTo>
                      <a:pt x="63500" y="54317"/>
                    </a:lnTo>
                    <a:lnTo>
                      <a:pt x="63525" y="47307"/>
                    </a:lnTo>
                    <a:close/>
                  </a:path>
                  <a:path w="343535" h="102235">
                    <a:moveTo>
                      <a:pt x="343027" y="28244"/>
                    </a:moveTo>
                    <a:lnTo>
                      <a:pt x="340169" y="25387"/>
                    </a:lnTo>
                    <a:lnTo>
                      <a:pt x="93776" y="25387"/>
                    </a:lnTo>
                    <a:lnTo>
                      <a:pt x="88938" y="18199"/>
                    </a:lnTo>
                    <a:lnTo>
                      <a:pt x="88938" y="50825"/>
                    </a:lnTo>
                    <a:lnTo>
                      <a:pt x="85928" y="65646"/>
                    </a:lnTo>
                    <a:lnTo>
                      <a:pt x="77749" y="77774"/>
                    </a:lnTo>
                    <a:lnTo>
                      <a:pt x="65633" y="85953"/>
                    </a:lnTo>
                    <a:lnTo>
                      <a:pt x="50812" y="88950"/>
                    </a:lnTo>
                    <a:lnTo>
                      <a:pt x="35979" y="85953"/>
                    </a:lnTo>
                    <a:lnTo>
                      <a:pt x="23863" y="77774"/>
                    </a:lnTo>
                    <a:lnTo>
                      <a:pt x="15684" y="65646"/>
                    </a:lnTo>
                    <a:lnTo>
                      <a:pt x="12687" y="50825"/>
                    </a:lnTo>
                    <a:lnTo>
                      <a:pt x="15684" y="35991"/>
                    </a:lnTo>
                    <a:lnTo>
                      <a:pt x="23863" y="23876"/>
                    </a:lnTo>
                    <a:lnTo>
                      <a:pt x="35979" y="15697"/>
                    </a:lnTo>
                    <a:lnTo>
                      <a:pt x="50812" y="12700"/>
                    </a:lnTo>
                    <a:lnTo>
                      <a:pt x="65633" y="15697"/>
                    </a:lnTo>
                    <a:lnTo>
                      <a:pt x="77749" y="23876"/>
                    </a:lnTo>
                    <a:lnTo>
                      <a:pt x="85928" y="35991"/>
                    </a:lnTo>
                    <a:lnTo>
                      <a:pt x="88938" y="50825"/>
                    </a:lnTo>
                    <a:lnTo>
                      <a:pt x="88938" y="18199"/>
                    </a:lnTo>
                    <a:lnTo>
                      <a:pt x="86715" y="14897"/>
                    </a:lnTo>
                    <a:lnTo>
                      <a:pt x="83451" y="12700"/>
                    </a:lnTo>
                    <a:lnTo>
                      <a:pt x="70561" y="4000"/>
                    </a:lnTo>
                    <a:lnTo>
                      <a:pt x="50812" y="0"/>
                    </a:lnTo>
                    <a:lnTo>
                      <a:pt x="31038" y="4000"/>
                    </a:lnTo>
                    <a:lnTo>
                      <a:pt x="14884" y="14909"/>
                    </a:lnTo>
                    <a:lnTo>
                      <a:pt x="3987" y="31064"/>
                    </a:lnTo>
                    <a:lnTo>
                      <a:pt x="0" y="50825"/>
                    </a:lnTo>
                    <a:lnTo>
                      <a:pt x="3987" y="70573"/>
                    </a:lnTo>
                    <a:lnTo>
                      <a:pt x="14884" y="86728"/>
                    </a:lnTo>
                    <a:lnTo>
                      <a:pt x="31038" y="97637"/>
                    </a:lnTo>
                    <a:lnTo>
                      <a:pt x="50812" y="101638"/>
                    </a:lnTo>
                    <a:lnTo>
                      <a:pt x="70561" y="97637"/>
                    </a:lnTo>
                    <a:lnTo>
                      <a:pt x="83439" y="88950"/>
                    </a:lnTo>
                    <a:lnTo>
                      <a:pt x="86715" y="86728"/>
                    </a:lnTo>
                    <a:lnTo>
                      <a:pt x="97624" y="70573"/>
                    </a:lnTo>
                    <a:lnTo>
                      <a:pt x="101625" y="50825"/>
                    </a:lnTo>
                    <a:lnTo>
                      <a:pt x="99034" y="38100"/>
                    </a:lnTo>
                    <a:lnTo>
                      <a:pt x="330327" y="38100"/>
                    </a:lnTo>
                    <a:lnTo>
                      <a:pt x="330327" y="63512"/>
                    </a:lnTo>
                    <a:lnTo>
                      <a:pt x="129870" y="63512"/>
                    </a:lnTo>
                    <a:lnTo>
                      <a:pt x="127038" y="66370"/>
                    </a:lnTo>
                    <a:lnTo>
                      <a:pt x="127038" y="73367"/>
                    </a:lnTo>
                    <a:lnTo>
                      <a:pt x="129882" y="76225"/>
                    </a:lnTo>
                    <a:lnTo>
                      <a:pt x="336664" y="76225"/>
                    </a:lnTo>
                    <a:lnTo>
                      <a:pt x="340169" y="76225"/>
                    </a:lnTo>
                    <a:lnTo>
                      <a:pt x="343027" y="73367"/>
                    </a:lnTo>
                    <a:lnTo>
                      <a:pt x="343027" y="28244"/>
                    </a:lnTo>
                    <a:close/>
                  </a:path>
                </a:pathLst>
              </a:custGeom>
              <a:solidFill>
                <a:srgbClr val="FFFFFF"/>
              </a:solidFill>
            </p:spPr>
            <p:txBody>
              <a:bodyPr wrap="square" lIns="0" tIns="0" rIns="0" bIns="0" rtlCol="0"/>
              <a:lstStyle/>
              <a:p>
                <a:endParaRPr/>
              </a:p>
            </p:txBody>
          </p:sp>
          <p:pic>
            <p:nvPicPr>
              <p:cNvPr id="300" name="object 16">
                <a:extLst>
                  <a:ext uri="{FF2B5EF4-FFF2-40B4-BE49-F238E27FC236}">
                    <a16:creationId xmlns:a16="http://schemas.microsoft.com/office/drawing/2014/main" id="{E58318CF-5BEC-AC35-1CEE-4F2230F1FBEE}"/>
                  </a:ext>
                </a:extLst>
              </p:cNvPr>
              <p:cNvPicPr/>
              <p:nvPr/>
            </p:nvPicPr>
            <p:blipFill>
              <a:blip r:embed="rId9" cstate="print"/>
              <a:stretch>
                <a:fillRect/>
              </a:stretch>
            </p:blipFill>
            <p:spPr>
              <a:xfrm>
                <a:off x="6081126" y="3132009"/>
                <a:ext cx="175075" cy="248240"/>
              </a:xfrm>
              <a:prstGeom prst="rect">
                <a:avLst/>
              </a:prstGeom>
            </p:spPr>
          </p:pic>
        </p:grpSp>
        <p:grpSp>
          <p:nvGrpSpPr>
            <p:cNvPr id="29" name="object 159">
              <a:extLst>
                <a:ext uri="{FF2B5EF4-FFF2-40B4-BE49-F238E27FC236}">
                  <a16:creationId xmlns:a16="http://schemas.microsoft.com/office/drawing/2014/main" id="{65738679-42AD-2BA4-C7C6-6D7822614EE7}"/>
                </a:ext>
              </a:extLst>
            </p:cNvPr>
            <p:cNvGrpSpPr/>
            <p:nvPr/>
          </p:nvGrpSpPr>
          <p:grpSpPr>
            <a:xfrm>
              <a:off x="3527996" y="1944014"/>
              <a:ext cx="648335" cy="648335"/>
              <a:chOff x="3527996" y="1944014"/>
              <a:chExt cx="648335" cy="648335"/>
            </a:xfrm>
          </p:grpSpPr>
          <p:sp>
            <p:nvSpPr>
              <p:cNvPr id="292" name="object 160">
                <a:extLst>
                  <a:ext uri="{FF2B5EF4-FFF2-40B4-BE49-F238E27FC236}">
                    <a16:creationId xmlns:a16="http://schemas.microsoft.com/office/drawing/2014/main" id="{817B702D-F301-DEB9-5BEA-EC93513ED16D}"/>
                  </a:ext>
                </a:extLst>
              </p:cNvPr>
              <p:cNvSpPr/>
              <p:nvPr/>
            </p:nvSpPr>
            <p:spPr>
              <a:xfrm>
                <a:off x="3527996" y="1944014"/>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FFFFFF"/>
              </a:solidFill>
            </p:spPr>
            <p:txBody>
              <a:bodyPr wrap="square" lIns="0" tIns="0" rIns="0" bIns="0" rtlCol="0"/>
              <a:lstStyle/>
              <a:p>
                <a:endParaRPr/>
              </a:p>
            </p:txBody>
          </p:sp>
          <p:sp>
            <p:nvSpPr>
              <p:cNvPr id="293" name="object 161">
                <a:extLst>
                  <a:ext uri="{FF2B5EF4-FFF2-40B4-BE49-F238E27FC236}">
                    <a16:creationId xmlns:a16="http://schemas.microsoft.com/office/drawing/2014/main" id="{91FDD0E6-D106-83E2-C4A1-26A6FD79FF15}"/>
                  </a:ext>
                </a:extLst>
              </p:cNvPr>
              <p:cNvSpPr/>
              <p:nvPr/>
            </p:nvSpPr>
            <p:spPr>
              <a:xfrm>
                <a:off x="3689996" y="2054656"/>
                <a:ext cx="325120" cy="429895"/>
              </a:xfrm>
              <a:custGeom>
                <a:avLst/>
                <a:gdLst/>
                <a:ahLst/>
                <a:cxnLst/>
                <a:rect l="l" t="t" r="r" b="b"/>
                <a:pathLst>
                  <a:path w="325120" h="429894">
                    <a:moveTo>
                      <a:pt x="155651" y="0"/>
                    </a:moveTo>
                    <a:lnTo>
                      <a:pt x="97667" y="6372"/>
                    </a:lnTo>
                    <a:lnTo>
                      <a:pt x="47218" y="36004"/>
                    </a:lnTo>
                    <a:lnTo>
                      <a:pt x="12360" y="84253"/>
                    </a:lnTo>
                    <a:lnTo>
                      <a:pt x="0" y="142417"/>
                    </a:lnTo>
                    <a:lnTo>
                      <a:pt x="0" y="429323"/>
                    </a:lnTo>
                    <a:lnTo>
                      <a:pt x="11772" y="429323"/>
                    </a:lnTo>
                    <a:lnTo>
                      <a:pt x="11772" y="142392"/>
                    </a:lnTo>
                    <a:lnTo>
                      <a:pt x="14675" y="114989"/>
                    </a:lnTo>
                    <a:lnTo>
                      <a:pt x="36745" y="65279"/>
                    </a:lnTo>
                    <a:lnTo>
                      <a:pt x="77077" y="28548"/>
                    </a:lnTo>
                    <a:lnTo>
                      <a:pt x="127373" y="11851"/>
                    </a:lnTo>
                    <a:lnTo>
                      <a:pt x="154508" y="11696"/>
                    </a:lnTo>
                    <a:lnTo>
                      <a:pt x="198289" y="24301"/>
                    </a:lnTo>
                    <a:lnTo>
                      <a:pt x="234227" y="50961"/>
                    </a:lnTo>
                    <a:lnTo>
                      <a:pt x="259462" y="88667"/>
                    </a:lnTo>
                    <a:lnTo>
                      <a:pt x="271132" y="134404"/>
                    </a:lnTo>
                    <a:lnTo>
                      <a:pt x="312216" y="255028"/>
                    </a:lnTo>
                    <a:lnTo>
                      <a:pt x="271678" y="255028"/>
                    </a:lnTo>
                    <a:lnTo>
                      <a:pt x="271678" y="323303"/>
                    </a:lnTo>
                    <a:lnTo>
                      <a:pt x="269711" y="333139"/>
                    </a:lnTo>
                    <a:lnTo>
                      <a:pt x="264350" y="341182"/>
                    </a:lnTo>
                    <a:lnTo>
                      <a:pt x="256408" y="346610"/>
                    </a:lnTo>
                    <a:lnTo>
                      <a:pt x="246697" y="348602"/>
                    </a:lnTo>
                    <a:lnTo>
                      <a:pt x="172897" y="348602"/>
                    </a:lnTo>
                    <a:lnTo>
                      <a:pt x="172897" y="429348"/>
                    </a:lnTo>
                    <a:lnTo>
                      <a:pt x="184645" y="429348"/>
                    </a:lnTo>
                    <a:lnTo>
                      <a:pt x="184645" y="360375"/>
                    </a:lnTo>
                    <a:lnTo>
                      <a:pt x="246672" y="360375"/>
                    </a:lnTo>
                    <a:lnTo>
                      <a:pt x="260960" y="357456"/>
                    </a:lnTo>
                    <a:lnTo>
                      <a:pt x="272645" y="349502"/>
                    </a:lnTo>
                    <a:lnTo>
                      <a:pt x="280531" y="337717"/>
                    </a:lnTo>
                    <a:lnTo>
                      <a:pt x="283425" y="323303"/>
                    </a:lnTo>
                    <a:lnTo>
                      <a:pt x="283425" y="266814"/>
                    </a:lnTo>
                    <a:lnTo>
                      <a:pt x="316064" y="266814"/>
                    </a:lnTo>
                    <a:lnTo>
                      <a:pt x="319684" y="264922"/>
                    </a:lnTo>
                    <a:lnTo>
                      <a:pt x="324103" y="258533"/>
                    </a:lnTo>
                    <a:lnTo>
                      <a:pt x="324599" y="254431"/>
                    </a:lnTo>
                    <a:lnTo>
                      <a:pt x="282816" y="132727"/>
                    </a:lnTo>
                    <a:lnTo>
                      <a:pt x="269938" y="83249"/>
                    </a:lnTo>
                    <a:lnTo>
                      <a:pt x="242393" y="42475"/>
                    </a:lnTo>
                    <a:lnTo>
                      <a:pt x="203268" y="13644"/>
                    </a:lnTo>
                    <a:lnTo>
                      <a:pt x="155651" y="0"/>
                    </a:lnTo>
                    <a:close/>
                  </a:path>
                </a:pathLst>
              </a:custGeom>
              <a:solidFill>
                <a:srgbClr val="899AD4"/>
              </a:solidFill>
            </p:spPr>
            <p:txBody>
              <a:bodyPr wrap="square" lIns="0" tIns="0" rIns="0" bIns="0" rtlCol="0"/>
              <a:lstStyle/>
              <a:p>
                <a:endParaRPr/>
              </a:p>
            </p:txBody>
          </p:sp>
          <p:pic>
            <p:nvPicPr>
              <p:cNvPr id="294" name="object 162">
                <a:extLst>
                  <a:ext uri="{FF2B5EF4-FFF2-40B4-BE49-F238E27FC236}">
                    <a16:creationId xmlns:a16="http://schemas.microsoft.com/office/drawing/2014/main" id="{BEBB751E-D45F-36D1-02A1-06E2CD4048A6}"/>
                  </a:ext>
                </a:extLst>
              </p:cNvPr>
              <p:cNvPicPr/>
              <p:nvPr/>
            </p:nvPicPr>
            <p:blipFill>
              <a:blip r:embed="rId10" cstate="print"/>
              <a:stretch>
                <a:fillRect/>
              </a:stretch>
            </p:blipFill>
            <p:spPr>
              <a:xfrm>
                <a:off x="3739616" y="2128164"/>
                <a:ext cx="188531" cy="190474"/>
              </a:xfrm>
              <a:prstGeom prst="rect">
                <a:avLst/>
              </a:prstGeom>
            </p:spPr>
          </p:pic>
          <p:sp>
            <p:nvSpPr>
              <p:cNvPr id="295" name="object 163">
                <a:extLst>
                  <a:ext uri="{FF2B5EF4-FFF2-40B4-BE49-F238E27FC236}">
                    <a16:creationId xmlns:a16="http://schemas.microsoft.com/office/drawing/2014/main" id="{C9545C5C-0266-B224-0008-073DCAF53C56}"/>
                  </a:ext>
                </a:extLst>
              </p:cNvPr>
              <p:cNvSpPr/>
              <p:nvPr/>
            </p:nvSpPr>
            <p:spPr>
              <a:xfrm>
                <a:off x="3690004" y="2052685"/>
                <a:ext cx="325120" cy="429895"/>
              </a:xfrm>
              <a:custGeom>
                <a:avLst/>
                <a:gdLst/>
                <a:ahLst/>
                <a:cxnLst/>
                <a:rect l="l" t="t" r="r" b="b"/>
                <a:pathLst>
                  <a:path w="325120" h="429894">
                    <a:moveTo>
                      <a:pt x="155638" y="0"/>
                    </a:moveTo>
                    <a:lnTo>
                      <a:pt x="97661" y="6376"/>
                    </a:lnTo>
                    <a:lnTo>
                      <a:pt x="47218" y="36004"/>
                    </a:lnTo>
                    <a:lnTo>
                      <a:pt x="12355" y="84254"/>
                    </a:lnTo>
                    <a:lnTo>
                      <a:pt x="0" y="142430"/>
                    </a:lnTo>
                    <a:lnTo>
                      <a:pt x="0" y="423760"/>
                    </a:lnTo>
                    <a:lnTo>
                      <a:pt x="228" y="426859"/>
                    </a:lnTo>
                    <a:lnTo>
                      <a:pt x="2743" y="429336"/>
                    </a:lnTo>
                    <a:lnTo>
                      <a:pt x="9029" y="429336"/>
                    </a:lnTo>
                    <a:lnTo>
                      <a:pt x="11544" y="426859"/>
                    </a:lnTo>
                    <a:lnTo>
                      <a:pt x="11772" y="423506"/>
                    </a:lnTo>
                    <a:lnTo>
                      <a:pt x="11772" y="142405"/>
                    </a:lnTo>
                    <a:lnTo>
                      <a:pt x="14673" y="114994"/>
                    </a:lnTo>
                    <a:lnTo>
                      <a:pt x="36734" y="65279"/>
                    </a:lnTo>
                    <a:lnTo>
                      <a:pt x="77064" y="28549"/>
                    </a:lnTo>
                    <a:lnTo>
                      <a:pt x="127361" y="11856"/>
                    </a:lnTo>
                    <a:lnTo>
                      <a:pt x="154495" y="11709"/>
                    </a:lnTo>
                    <a:lnTo>
                      <a:pt x="198282" y="24313"/>
                    </a:lnTo>
                    <a:lnTo>
                      <a:pt x="234221" y="50974"/>
                    </a:lnTo>
                    <a:lnTo>
                      <a:pt x="259456" y="88679"/>
                    </a:lnTo>
                    <a:lnTo>
                      <a:pt x="271132" y="134416"/>
                    </a:lnTo>
                    <a:lnTo>
                      <a:pt x="312204" y="255041"/>
                    </a:lnTo>
                    <a:lnTo>
                      <a:pt x="271665" y="255041"/>
                    </a:lnTo>
                    <a:lnTo>
                      <a:pt x="271665" y="323303"/>
                    </a:lnTo>
                    <a:lnTo>
                      <a:pt x="269698" y="333139"/>
                    </a:lnTo>
                    <a:lnTo>
                      <a:pt x="264339" y="341182"/>
                    </a:lnTo>
                    <a:lnTo>
                      <a:pt x="256401" y="346610"/>
                    </a:lnTo>
                    <a:lnTo>
                      <a:pt x="246697" y="348602"/>
                    </a:lnTo>
                    <a:lnTo>
                      <a:pt x="172885" y="348602"/>
                    </a:lnTo>
                    <a:lnTo>
                      <a:pt x="172885" y="423671"/>
                    </a:lnTo>
                    <a:lnTo>
                      <a:pt x="173050" y="426821"/>
                    </a:lnTo>
                    <a:lnTo>
                      <a:pt x="175602" y="429336"/>
                    </a:lnTo>
                    <a:lnTo>
                      <a:pt x="181965" y="429336"/>
                    </a:lnTo>
                    <a:lnTo>
                      <a:pt x="184530" y="426796"/>
                    </a:lnTo>
                    <a:lnTo>
                      <a:pt x="184632" y="360387"/>
                    </a:lnTo>
                    <a:lnTo>
                      <a:pt x="246672" y="360387"/>
                    </a:lnTo>
                    <a:lnTo>
                      <a:pt x="260960" y="357468"/>
                    </a:lnTo>
                    <a:lnTo>
                      <a:pt x="272645" y="349513"/>
                    </a:lnTo>
                    <a:lnTo>
                      <a:pt x="280531" y="337724"/>
                    </a:lnTo>
                    <a:lnTo>
                      <a:pt x="283425" y="323303"/>
                    </a:lnTo>
                    <a:lnTo>
                      <a:pt x="283425" y="266814"/>
                    </a:lnTo>
                    <a:lnTo>
                      <a:pt x="316064" y="266814"/>
                    </a:lnTo>
                    <a:lnTo>
                      <a:pt x="319684" y="264921"/>
                    </a:lnTo>
                    <a:lnTo>
                      <a:pt x="324091" y="258546"/>
                    </a:lnTo>
                    <a:lnTo>
                      <a:pt x="324586" y="254431"/>
                    </a:lnTo>
                    <a:lnTo>
                      <a:pt x="323278" y="250951"/>
                    </a:lnTo>
                    <a:lnTo>
                      <a:pt x="282816" y="132727"/>
                    </a:lnTo>
                    <a:lnTo>
                      <a:pt x="269931" y="83256"/>
                    </a:lnTo>
                    <a:lnTo>
                      <a:pt x="242382" y="42484"/>
                    </a:lnTo>
                    <a:lnTo>
                      <a:pt x="203256" y="13652"/>
                    </a:lnTo>
                    <a:lnTo>
                      <a:pt x="155638" y="0"/>
                    </a:lnTo>
                    <a:close/>
                  </a:path>
                </a:pathLst>
              </a:custGeom>
              <a:solidFill>
                <a:srgbClr val="0F1E32"/>
              </a:solidFill>
            </p:spPr>
            <p:txBody>
              <a:bodyPr wrap="square" lIns="0" tIns="0" rIns="0" bIns="0" rtlCol="0"/>
              <a:lstStyle/>
              <a:p>
                <a:endParaRPr/>
              </a:p>
            </p:txBody>
          </p:sp>
        </p:grpSp>
        <p:grpSp>
          <p:nvGrpSpPr>
            <p:cNvPr id="31" name="object 193">
              <a:extLst>
                <a:ext uri="{FF2B5EF4-FFF2-40B4-BE49-F238E27FC236}">
                  <a16:creationId xmlns:a16="http://schemas.microsoft.com/office/drawing/2014/main" id="{F4FDCA29-87A5-A115-B0DB-27BDF09AD6BA}"/>
                </a:ext>
              </a:extLst>
            </p:cNvPr>
            <p:cNvGrpSpPr/>
            <p:nvPr/>
          </p:nvGrpSpPr>
          <p:grpSpPr>
            <a:xfrm>
              <a:off x="6898513" y="2092152"/>
              <a:ext cx="387985" cy="351790"/>
              <a:chOff x="6898513" y="2092152"/>
              <a:chExt cx="387985" cy="351790"/>
            </a:xfrm>
          </p:grpSpPr>
          <p:sp>
            <p:nvSpPr>
              <p:cNvPr id="290" name="object 194">
                <a:extLst>
                  <a:ext uri="{FF2B5EF4-FFF2-40B4-BE49-F238E27FC236}">
                    <a16:creationId xmlns:a16="http://schemas.microsoft.com/office/drawing/2014/main" id="{564471F2-AAE1-0008-0805-82DD77300440}"/>
                  </a:ext>
                </a:extLst>
              </p:cNvPr>
              <p:cNvSpPr/>
              <p:nvPr/>
            </p:nvSpPr>
            <p:spPr>
              <a:xfrm>
                <a:off x="6964249" y="2365244"/>
                <a:ext cx="322580" cy="76835"/>
              </a:xfrm>
              <a:custGeom>
                <a:avLst/>
                <a:gdLst/>
                <a:ahLst/>
                <a:cxnLst/>
                <a:rect l="l" t="t" r="r" b="b"/>
                <a:pathLst>
                  <a:path w="322579" h="76835">
                    <a:moveTo>
                      <a:pt x="82291" y="56699"/>
                    </a:moveTo>
                    <a:lnTo>
                      <a:pt x="24441" y="56699"/>
                    </a:lnTo>
                    <a:lnTo>
                      <a:pt x="47938" y="58049"/>
                    </a:lnTo>
                    <a:lnTo>
                      <a:pt x="82169" y="65462"/>
                    </a:lnTo>
                    <a:lnTo>
                      <a:pt x="97728" y="69489"/>
                    </a:lnTo>
                    <a:lnTo>
                      <a:pt x="117501" y="72999"/>
                    </a:lnTo>
                    <a:lnTo>
                      <a:pt x="140563" y="75481"/>
                    </a:lnTo>
                    <a:lnTo>
                      <a:pt x="165989" y="76422"/>
                    </a:lnTo>
                    <a:lnTo>
                      <a:pt x="206194" y="73743"/>
                    </a:lnTo>
                    <a:lnTo>
                      <a:pt x="232787" y="67658"/>
                    </a:lnTo>
                    <a:lnTo>
                      <a:pt x="165207" y="67658"/>
                    </a:lnTo>
                    <a:lnTo>
                      <a:pt x="118761" y="64200"/>
                    </a:lnTo>
                    <a:lnTo>
                      <a:pt x="82291" y="56699"/>
                    </a:lnTo>
                    <a:close/>
                  </a:path>
                  <a:path w="322579" h="76835">
                    <a:moveTo>
                      <a:pt x="320201" y="7878"/>
                    </a:moveTo>
                    <a:lnTo>
                      <a:pt x="301024" y="7878"/>
                    </a:lnTo>
                    <a:lnTo>
                      <a:pt x="307343" y="8469"/>
                    </a:lnTo>
                    <a:lnTo>
                      <a:pt x="311708" y="10140"/>
                    </a:lnTo>
                    <a:lnTo>
                      <a:pt x="313347" y="10687"/>
                    </a:lnTo>
                    <a:lnTo>
                      <a:pt x="313905" y="11779"/>
                    </a:lnTo>
                    <a:lnTo>
                      <a:pt x="313347" y="12325"/>
                    </a:lnTo>
                    <a:lnTo>
                      <a:pt x="312801" y="12325"/>
                    </a:lnTo>
                    <a:lnTo>
                      <a:pt x="312801" y="12871"/>
                    </a:lnTo>
                    <a:lnTo>
                      <a:pt x="268960" y="46411"/>
                    </a:lnTo>
                    <a:lnTo>
                      <a:pt x="217518" y="63201"/>
                    </a:lnTo>
                    <a:lnTo>
                      <a:pt x="165207" y="67658"/>
                    </a:lnTo>
                    <a:lnTo>
                      <a:pt x="232787" y="67658"/>
                    </a:lnTo>
                    <a:lnTo>
                      <a:pt x="285168" y="46606"/>
                    </a:lnTo>
                    <a:lnTo>
                      <a:pt x="318287" y="18345"/>
                    </a:lnTo>
                    <a:lnTo>
                      <a:pt x="322122" y="11233"/>
                    </a:lnTo>
                    <a:lnTo>
                      <a:pt x="320201" y="7878"/>
                    </a:lnTo>
                    <a:close/>
                  </a:path>
                  <a:path w="322579" h="76835">
                    <a:moveTo>
                      <a:pt x="23145" y="48345"/>
                    </a:moveTo>
                    <a:lnTo>
                      <a:pt x="8491" y="50162"/>
                    </a:lnTo>
                    <a:lnTo>
                      <a:pt x="3289" y="51771"/>
                    </a:lnTo>
                    <a:lnTo>
                      <a:pt x="1092" y="52863"/>
                    </a:lnTo>
                    <a:lnTo>
                      <a:pt x="0" y="55060"/>
                    </a:lnTo>
                    <a:lnTo>
                      <a:pt x="2184" y="59442"/>
                    </a:lnTo>
                    <a:lnTo>
                      <a:pt x="4381" y="60534"/>
                    </a:lnTo>
                    <a:lnTo>
                      <a:pt x="6565" y="59442"/>
                    </a:lnTo>
                    <a:lnTo>
                      <a:pt x="10906" y="58225"/>
                    </a:lnTo>
                    <a:lnTo>
                      <a:pt x="24441" y="56699"/>
                    </a:lnTo>
                    <a:lnTo>
                      <a:pt x="82291" y="56699"/>
                    </a:lnTo>
                    <a:lnTo>
                      <a:pt x="48277" y="49610"/>
                    </a:lnTo>
                    <a:lnTo>
                      <a:pt x="23145" y="48345"/>
                    </a:lnTo>
                    <a:close/>
                  </a:path>
                  <a:path w="322579" h="76835">
                    <a:moveTo>
                      <a:pt x="305750" y="0"/>
                    </a:moveTo>
                    <a:lnTo>
                      <a:pt x="294117" y="307"/>
                    </a:lnTo>
                    <a:lnTo>
                      <a:pt x="280479" y="4108"/>
                    </a:lnTo>
                    <a:lnTo>
                      <a:pt x="275005" y="6305"/>
                    </a:lnTo>
                    <a:lnTo>
                      <a:pt x="264045" y="11779"/>
                    </a:lnTo>
                    <a:lnTo>
                      <a:pt x="253922" y="16662"/>
                    </a:lnTo>
                    <a:lnTo>
                      <a:pt x="242616" y="20881"/>
                    </a:lnTo>
                    <a:lnTo>
                      <a:pt x="229150" y="23562"/>
                    </a:lnTo>
                    <a:lnTo>
                      <a:pt x="212547" y="23831"/>
                    </a:lnTo>
                    <a:lnTo>
                      <a:pt x="210362" y="23831"/>
                    </a:lnTo>
                    <a:lnTo>
                      <a:pt x="208165" y="25469"/>
                    </a:lnTo>
                    <a:lnTo>
                      <a:pt x="208165" y="29851"/>
                    </a:lnTo>
                    <a:lnTo>
                      <a:pt x="209816" y="32048"/>
                    </a:lnTo>
                    <a:lnTo>
                      <a:pt x="212001" y="32048"/>
                    </a:lnTo>
                    <a:lnTo>
                      <a:pt x="230133" y="31685"/>
                    </a:lnTo>
                    <a:lnTo>
                      <a:pt x="244875" y="28757"/>
                    </a:lnTo>
                    <a:lnTo>
                      <a:pt x="257149" y="24188"/>
                    </a:lnTo>
                    <a:lnTo>
                      <a:pt x="273367" y="16160"/>
                    </a:lnTo>
                    <a:lnTo>
                      <a:pt x="278295" y="13417"/>
                    </a:lnTo>
                    <a:lnTo>
                      <a:pt x="283768" y="11779"/>
                    </a:lnTo>
                    <a:lnTo>
                      <a:pt x="293063" y="8828"/>
                    </a:lnTo>
                    <a:lnTo>
                      <a:pt x="301024" y="7878"/>
                    </a:lnTo>
                    <a:lnTo>
                      <a:pt x="320201" y="7878"/>
                    </a:lnTo>
                    <a:lnTo>
                      <a:pt x="319925" y="7397"/>
                    </a:lnTo>
                    <a:lnTo>
                      <a:pt x="314610" y="2568"/>
                    </a:lnTo>
                    <a:lnTo>
                      <a:pt x="305750" y="0"/>
                    </a:lnTo>
                    <a:close/>
                  </a:path>
                </a:pathLst>
              </a:custGeom>
              <a:solidFill>
                <a:srgbClr val="FFFFFF"/>
              </a:solidFill>
            </p:spPr>
            <p:txBody>
              <a:bodyPr wrap="square" lIns="0" tIns="0" rIns="0" bIns="0" rtlCol="0"/>
              <a:lstStyle/>
              <a:p>
                <a:endParaRPr/>
              </a:p>
            </p:txBody>
          </p:sp>
          <p:pic>
            <p:nvPicPr>
              <p:cNvPr id="291" name="object 195">
                <a:extLst>
                  <a:ext uri="{FF2B5EF4-FFF2-40B4-BE49-F238E27FC236}">
                    <a16:creationId xmlns:a16="http://schemas.microsoft.com/office/drawing/2014/main" id="{8EF47907-8BFB-2B8B-EEA3-3A4365ED0986}"/>
                  </a:ext>
                </a:extLst>
              </p:cNvPr>
              <p:cNvPicPr/>
              <p:nvPr/>
            </p:nvPicPr>
            <p:blipFill>
              <a:blip r:embed="rId11" cstate="print"/>
              <a:stretch>
                <a:fillRect/>
              </a:stretch>
            </p:blipFill>
            <p:spPr>
              <a:xfrm>
                <a:off x="6898513" y="2092152"/>
                <a:ext cx="362106" cy="351704"/>
              </a:xfrm>
              <a:prstGeom prst="rect">
                <a:avLst/>
              </a:prstGeom>
            </p:spPr>
          </p:pic>
        </p:grpSp>
        <p:sp>
          <p:nvSpPr>
            <p:cNvPr id="43" name="object 196">
              <a:extLst>
                <a:ext uri="{FF2B5EF4-FFF2-40B4-BE49-F238E27FC236}">
                  <a16:creationId xmlns:a16="http://schemas.microsoft.com/office/drawing/2014/main" id="{64A962AE-EF12-8D1D-2D10-7AC2D04FC60C}"/>
                </a:ext>
              </a:extLst>
            </p:cNvPr>
            <p:cNvSpPr/>
            <p:nvPr/>
          </p:nvSpPr>
          <p:spPr>
            <a:xfrm>
              <a:off x="7972005" y="2115953"/>
              <a:ext cx="400050" cy="304165"/>
            </a:xfrm>
            <a:custGeom>
              <a:avLst/>
              <a:gdLst/>
              <a:ahLst/>
              <a:cxnLst/>
              <a:rect l="l" t="t" r="r" b="b"/>
              <a:pathLst>
                <a:path w="400050" h="304164">
                  <a:moveTo>
                    <a:pt x="307276" y="0"/>
                  </a:moveTo>
                  <a:lnTo>
                    <a:pt x="92710" y="0"/>
                  </a:lnTo>
                  <a:lnTo>
                    <a:pt x="91643" y="1054"/>
                  </a:lnTo>
                  <a:lnTo>
                    <a:pt x="1587" y="96418"/>
                  </a:lnTo>
                  <a:lnTo>
                    <a:pt x="0" y="98005"/>
                  </a:lnTo>
                  <a:lnTo>
                    <a:pt x="0" y="100126"/>
                  </a:lnTo>
                  <a:lnTo>
                    <a:pt x="1587" y="101714"/>
                  </a:lnTo>
                  <a:lnTo>
                    <a:pt x="196545" y="303580"/>
                  </a:lnTo>
                  <a:lnTo>
                    <a:pt x="197612" y="304114"/>
                  </a:lnTo>
                  <a:lnTo>
                    <a:pt x="200787" y="304114"/>
                  </a:lnTo>
                  <a:lnTo>
                    <a:pt x="201320" y="303580"/>
                  </a:lnTo>
                  <a:lnTo>
                    <a:pt x="201853" y="303580"/>
                  </a:lnTo>
                  <a:lnTo>
                    <a:pt x="215777" y="289280"/>
                  </a:lnTo>
                  <a:lnTo>
                    <a:pt x="199732" y="289280"/>
                  </a:lnTo>
                  <a:lnTo>
                    <a:pt x="198210" y="285038"/>
                  </a:lnTo>
                  <a:lnTo>
                    <a:pt x="189661" y="285038"/>
                  </a:lnTo>
                  <a:lnTo>
                    <a:pt x="12712" y="103301"/>
                  </a:lnTo>
                  <a:lnTo>
                    <a:pt x="396853" y="103301"/>
                  </a:lnTo>
                  <a:lnTo>
                    <a:pt x="398399" y="101714"/>
                  </a:lnTo>
                  <a:lnTo>
                    <a:pt x="399986" y="100126"/>
                  </a:lnTo>
                  <a:lnTo>
                    <a:pt x="399986" y="98005"/>
                  </a:lnTo>
                  <a:lnTo>
                    <a:pt x="398399" y="96418"/>
                  </a:lnTo>
                  <a:lnTo>
                    <a:pt x="397403" y="95364"/>
                  </a:lnTo>
                  <a:lnTo>
                    <a:pt x="12179" y="95364"/>
                  </a:lnTo>
                  <a:lnTo>
                    <a:pt x="91643" y="11125"/>
                  </a:lnTo>
                  <a:lnTo>
                    <a:pt x="100384" y="11125"/>
                  </a:lnTo>
                  <a:lnTo>
                    <a:pt x="99060" y="7416"/>
                  </a:lnTo>
                  <a:lnTo>
                    <a:pt x="314351" y="7416"/>
                  </a:lnTo>
                  <a:lnTo>
                    <a:pt x="308343" y="1054"/>
                  </a:lnTo>
                  <a:lnTo>
                    <a:pt x="307276" y="0"/>
                  </a:lnTo>
                  <a:close/>
                </a:path>
                <a:path w="400050" h="304164">
                  <a:moveTo>
                    <a:pt x="274434" y="103301"/>
                  </a:moveTo>
                  <a:lnTo>
                    <a:pt x="265950" y="103301"/>
                  </a:lnTo>
                  <a:lnTo>
                    <a:pt x="199732" y="289280"/>
                  </a:lnTo>
                  <a:lnTo>
                    <a:pt x="215777" y="289280"/>
                  </a:lnTo>
                  <a:lnTo>
                    <a:pt x="219907" y="285038"/>
                  </a:lnTo>
                  <a:lnTo>
                    <a:pt x="209791" y="285038"/>
                  </a:lnTo>
                  <a:lnTo>
                    <a:pt x="274434" y="103301"/>
                  </a:lnTo>
                  <a:close/>
                </a:path>
                <a:path w="400050" h="304164">
                  <a:moveTo>
                    <a:pt x="132969" y="103301"/>
                  </a:moveTo>
                  <a:lnTo>
                    <a:pt x="124498" y="103301"/>
                  </a:lnTo>
                  <a:lnTo>
                    <a:pt x="189661" y="285038"/>
                  </a:lnTo>
                  <a:lnTo>
                    <a:pt x="198210" y="285038"/>
                  </a:lnTo>
                  <a:lnTo>
                    <a:pt x="132969" y="103301"/>
                  </a:lnTo>
                  <a:close/>
                </a:path>
                <a:path w="400050" h="304164">
                  <a:moveTo>
                    <a:pt x="396853" y="103301"/>
                  </a:moveTo>
                  <a:lnTo>
                    <a:pt x="386740" y="103301"/>
                  </a:lnTo>
                  <a:lnTo>
                    <a:pt x="209791" y="285038"/>
                  </a:lnTo>
                  <a:lnTo>
                    <a:pt x="219907" y="285038"/>
                  </a:lnTo>
                  <a:lnTo>
                    <a:pt x="396853" y="103301"/>
                  </a:lnTo>
                  <a:close/>
                </a:path>
                <a:path w="400050" h="304164">
                  <a:moveTo>
                    <a:pt x="100384" y="11125"/>
                  </a:moveTo>
                  <a:lnTo>
                    <a:pt x="91643" y="11125"/>
                  </a:lnTo>
                  <a:lnTo>
                    <a:pt x="121843" y="95364"/>
                  </a:lnTo>
                  <a:lnTo>
                    <a:pt x="133502" y="95364"/>
                  </a:lnTo>
                  <a:lnTo>
                    <a:pt x="138443" y="89001"/>
                  </a:lnTo>
                  <a:lnTo>
                    <a:pt x="128206" y="89001"/>
                  </a:lnTo>
                  <a:lnTo>
                    <a:pt x="100384" y="11125"/>
                  </a:lnTo>
                  <a:close/>
                </a:path>
                <a:path w="400050" h="304164">
                  <a:moveTo>
                    <a:pt x="209734" y="10071"/>
                  </a:moveTo>
                  <a:lnTo>
                    <a:pt x="199732" y="10071"/>
                  </a:lnTo>
                  <a:lnTo>
                    <a:pt x="265430" y="95364"/>
                  </a:lnTo>
                  <a:lnTo>
                    <a:pt x="277088" y="95364"/>
                  </a:lnTo>
                  <a:lnTo>
                    <a:pt x="279368" y="89001"/>
                  </a:lnTo>
                  <a:lnTo>
                    <a:pt x="270725" y="89001"/>
                  </a:lnTo>
                  <a:lnTo>
                    <a:pt x="209734" y="10071"/>
                  </a:lnTo>
                  <a:close/>
                </a:path>
                <a:path w="400050" h="304164">
                  <a:moveTo>
                    <a:pt x="317853" y="11125"/>
                  </a:moveTo>
                  <a:lnTo>
                    <a:pt x="307276" y="11125"/>
                  </a:lnTo>
                  <a:lnTo>
                    <a:pt x="386740" y="95364"/>
                  </a:lnTo>
                  <a:lnTo>
                    <a:pt x="397403" y="95364"/>
                  </a:lnTo>
                  <a:lnTo>
                    <a:pt x="317853" y="11125"/>
                  </a:lnTo>
                  <a:close/>
                </a:path>
                <a:path w="400050" h="304164">
                  <a:moveTo>
                    <a:pt x="207683" y="7416"/>
                  </a:moveTo>
                  <a:lnTo>
                    <a:pt x="191249" y="7416"/>
                  </a:lnTo>
                  <a:lnTo>
                    <a:pt x="128206" y="89001"/>
                  </a:lnTo>
                  <a:lnTo>
                    <a:pt x="138443" y="89001"/>
                  </a:lnTo>
                  <a:lnTo>
                    <a:pt x="199732" y="10071"/>
                  </a:lnTo>
                  <a:lnTo>
                    <a:pt x="209734" y="10071"/>
                  </a:lnTo>
                  <a:lnTo>
                    <a:pt x="207683" y="7416"/>
                  </a:lnTo>
                  <a:close/>
                </a:path>
                <a:path w="400050" h="304164">
                  <a:moveTo>
                    <a:pt x="314351" y="7416"/>
                  </a:moveTo>
                  <a:lnTo>
                    <a:pt x="299859" y="7416"/>
                  </a:lnTo>
                  <a:lnTo>
                    <a:pt x="270725" y="89001"/>
                  </a:lnTo>
                  <a:lnTo>
                    <a:pt x="279368" y="89001"/>
                  </a:lnTo>
                  <a:lnTo>
                    <a:pt x="307276" y="11125"/>
                  </a:lnTo>
                  <a:lnTo>
                    <a:pt x="317853" y="11125"/>
                  </a:lnTo>
                  <a:lnTo>
                    <a:pt x="314351" y="7416"/>
                  </a:lnTo>
                  <a:close/>
                </a:path>
              </a:pathLst>
            </a:custGeom>
            <a:solidFill>
              <a:srgbClr val="FFFFFF"/>
            </a:solidFill>
          </p:spPr>
          <p:txBody>
            <a:bodyPr wrap="square" lIns="0" tIns="0" rIns="0" bIns="0" rtlCol="0"/>
            <a:lstStyle/>
            <a:p>
              <a:endParaRPr/>
            </a:p>
          </p:txBody>
        </p:sp>
        <p:sp>
          <p:nvSpPr>
            <p:cNvPr id="46" name="object 197">
              <a:extLst>
                <a:ext uri="{FF2B5EF4-FFF2-40B4-BE49-F238E27FC236}">
                  <a16:creationId xmlns:a16="http://schemas.microsoft.com/office/drawing/2014/main" id="{A1EA3183-4C7E-380A-37F9-7FDFE1B0A572}"/>
                </a:ext>
              </a:extLst>
            </p:cNvPr>
            <p:cNvSpPr/>
            <p:nvPr/>
          </p:nvSpPr>
          <p:spPr>
            <a:xfrm>
              <a:off x="9041917" y="2057755"/>
              <a:ext cx="420370" cy="421005"/>
            </a:xfrm>
            <a:custGeom>
              <a:avLst/>
              <a:gdLst/>
              <a:ahLst/>
              <a:cxnLst/>
              <a:rect l="l" t="t" r="r" b="b"/>
              <a:pathLst>
                <a:path w="420370" h="421005">
                  <a:moveTo>
                    <a:pt x="197294" y="207797"/>
                  </a:moveTo>
                  <a:lnTo>
                    <a:pt x="195478" y="205994"/>
                  </a:lnTo>
                  <a:lnTo>
                    <a:pt x="129717" y="205994"/>
                  </a:lnTo>
                  <a:lnTo>
                    <a:pt x="128651" y="206413"/>
                  </a:lnTo>
                  <a:lnTo>
                    <a:pt x="127152" y="208013"/>
                  </a:lnTo>
                  <a:lnTo>
                    <a:pt x="126733" y="209080"/>
                  </a:lnTo>
                  <a:lnTo>
                    <a:pt x="126936" y="215328"/>
                  </a:lnTo>
                  <a:lnTo>
                    <a:pt x="127317" y="216230"/>
                  </a:lnTo>
                  <a:lnTo>
                    <a:pt x="135051" y="225844"/>
                  </a:lnTo>
                  <a:lnTo>
                    <a:pt x="140144" y="234746"/>
                  </a:lnTo>
                  <a:lnTo>
                    <a:pt x="143217" y="243586"/>
                  </a:lnTo>
                  <a:lnTo>
                    <a:pt x="144272" y="252336"/>
                  </a:lnTo>
                  <a:lnTo>
                    <a:pt x="141376" y="265468"/>
                  </a:lnTo>
                  <a:lnTo>
                    <a:pt x="133286" y="276352"/>
                  </a:lnTo>
                  <a:lnTo>
                    <a:pt x="121119" y="283933"/>
                  </a:lnTo>
                  <a:lnTo>
                    <a:pt x="106032" y="287172"/>
                  </a:lnTo>
                  <a:lnTo>
                    <a:pt x="89433" y="284149"/>
                  </a:lnTo>
                  <a:lnTo>
                    <a:pt x="77177" y="276733"/>
                  </a:lnTo>
                  <a:lnTo>
                    <a:pt x="68935" y="265963"/>
                  </a:lnTo>
                  <a:lnTo>
                    <a:pt x="65874" y="252869"/>
                  </a:lnTo>
                  <a:lnTo>
                    <a:pt x="66814" y="244094"/>
                  </a:lnTo>
                  <a:lnTo>
                    <a:pt x="69773" y="235216"/>
                  </a:lnTo>
                  <a:lnTo>
                    <a:pt x="74752" y="226263"/>
                  </a:lnTo>
                  <a:lnTo>
                    <a:pt x="82346" y="216547"/>
                  </a:lnTo>
                  <a:lnTo>
                    <a:pt x="82727" y="215646"/>
                  </a:lnTo>
                  <a:lnTo>
                    <a:pt x="82880" y="209029"/>
                  </a:lnTo>
                  <a:lnTo>
                    <a:pt x="82461" y="207962"/>
                  </a:lnTo>
                  <a:lnTo>
                    <a:pt x="80962" y="206413"/>
                  </a:lnTo>
                  <a:lnTo>
                    <a:pt x="79895" y="205994"/>
                  </a:lnTo>
                  <a:lnTo>
                    <a:pt x="8051" y="205994"/>
                  </a:lnTo>
                  <a:lnTo>
                    <a:pt x="15163" y="156057"/>
                  </a:lnTo>
                  <a:lnTo>
                    <a:pt x="33591" y="110871"/>
                  </a:lnTo>
                  <a:lnTo>
                    <a:pt x="61899" y="71996"/>
                  </a:lnTo>
                  <a:lnTo>
                    <a:pt x="98666" y="40982"/>
                  </a:lnTo>
                  <a:lnTo>
                    <a:pt x="142481" y="19392"/>
                  </a:lnTo>
                  <a:lnTo>
                    <a:pt x="191909" y="8801"/>
                  </a:lnTo>
                  <a:lnTo>
                    <a:pt x="194094" y="8636"/>
                  </a:lnTo>
                  <a:lnTo>
                    <a:pt x="195745" y="6667"/>
                  </a:lnTo>
                  <a:lnTo>
                    <a:pt x="195376" y="2298"/>
                  </a:lnTo>
                  <a:lnTo>
                    <a:pt x="193408" y="635"/>
                  </a:lnTo>
                  <a:lnTo>
                    <a:pt x="191211" y="850"/>
                  </a:lnTo>
                  <a:lnTo>
                    <a:pt x="146304" y="9728"/>
                  </a:lnTo>
                  <a:lnTo>
                    <a:pt x="105638" y="27368"/>
                  </a:lnTo>
                  <a:lnTo>
                    <a:pt x="70192" y="52717"/>
                  </a:lnTo>
                  <a:lnTo>
                    <a:pt x="40932" y="84721"/>
                  </a:lnTo>
                  <a:lnTo>
                    <a:pt x="18846" y="122301"/>
                  </a:lnTo>
                  <a:lnTo>
                    <a:pt x="4876" y="164414"/>
                  </a:lnTo>
                  <a:lnTo>
                    <a:pt x="0" y="209994"/>
                  </a:lnTo>
                  <a:lnTo>
                    <a:pt x="0" y="212178"/>
                  </a:lnTo>
                  <a:lnTo>
                    <a:pt x="1816" y="213995"/>
                  </a:lnTo>
                  <a:lnTo>
                    <a:pt x="73926" y="213995"/>
                  </a:lnTo>
                  <a:lnTo>
                    <a:pt x="66852" y="223672"/>
                  </a:lnTo>
                  <a:lnTo>
                    <a:pt x="61810" y="233387"/>
                  </a:lnTo>
                  <a:lnTo>
                    <a:pt x="58801" y="243141"/>
                  </a:lnTo>
                  <a:lnTo>
                    <a:pt x="57810" y="252869"/>
                  </a:lnTo>
                  <a:lnTo>
                    <a:pt x="61468" y="268909"/>
                  </a:lnTo>
                  <a:lnTo>
                    <a:pt x="71247" y="282130"/>
                  </a:lnTo>
                  <a:lnTo>
                    <a:pt x="85813" y="291287"/>
                  </a:lnTo>
                  <a:lnTo>
                    <a:pt x="104648" y="295224"/>
                  </a:lnTo>
                  <a:lnTo>
                    <a:pt x="106197" y="295224"/>
                  </a:lnTo>
                  <a:lnTo>
                    <a:pt x="124955" y="290982"/>
                  </a:lnTo>
                  <a:lnTo>
                    <a:pt x="139319" y="281635"/>
                  </a:lnTo>
                  <a:lnTo>
                    <a:pt x="148856" y="268325"/>
                  </a:lnTo>
                  <a:lnTo>
                    <a:pt x="152273" y="252285"/>
                  </a:lnTo>
                  <a:lnTo>
                    <a:pt x="151218" y="242671"/>
                  </a:lnTo>
                  <a:lnTo>
                    <a:pt x="148158" y="233070"/>
                  </a:lnTo>
                  <a:lnTo>
                    <a:pt x="143103" y="223507"/>
                  </a:lnTo>
                  <a:lnTo>
                    <a:pt x="136067" y="213995"/>
                  </a:lnTo>
                  <a:lnTo>
                    <a:pt x="195478" y="213995"/>
                  </a:lnTo>
                  <a:lnTo>
                    <a:pt x="197294" y="212178"/>
                  </a:lnTo>
                  <a:lnTo>
                    <a:pt x="197294" y="207797"/>
                  </a:lnTo>
                  <a:close/>
                </a:path>
                <a:path w="420370" h="421005">
                  <a:moveTo>
                    <a:pt x="419557" y="193408"/>
                  </a:moveTo>
                  <a:lnTo>
                    <a:pt x="410476" y="146291"/>
                  </a:lnTo>
                  <a:lnTo>
                    <a:pt x="392836" y="105625"/>
                  </a:lnTo>
                  <a:lnTo>
                    <a:pt x="367487" y="70180"/>
                  </a:lnTo>
                  <a:lnTo>
                    <a:pt x="335483" y="40932"/>
                  </a:lnTo>
                  <a:lnTo>
                    <a:pt x="297891" y="18834"/>
                  </a:lnTo>
                  <a:lnTo>
                    <a:pt x="255790" y="4864"/>
                  </a:lnTo>
                  <a:lnTo>
                    <a:pt x="210210" y="0"/>
                  </a:lnTo>
                  <a:lnTo>
                    <a:pt x="208026" y="0"/>
                  </a:lnTo>
                  <a:lnTo>
                    <a:pt x="206209" y="1816"/>
                  </a:lnTo>
                  <a:lnTo>
                    <a:pt x="206209" y="73926"/>
                  </a:lnTo>
                  <a:lnTo>
                    <a:pt x="196570" y="66878"/>
                  </a:lnTo>
                  <a:lnTo>
                    <a:pt x="186893" y="61849"/>
                  </a:lnTo>
                  <a:lnTo>
                    <a:pt x="177203" y="58826"/>
                  </a:lnTo>
                  <a:lnTo>
                    <a:pt x="167538" y="57823"/>
                  </a:lnTo>
                  <a:lnTo>
                    <a:pt x="151206" y="61468"/>
                  </a:lnTo>
                  <a:lnTo>
                    <a:pt x="137985" y="71272"/>
                  </a:lnTo>
                  <a:lnTo>
                    <a:pt x="128854" y="85852"/>
                  </a:lnTo>
                  <a:lnTo>
                    <a:pt x="125031" y="103847"/>
                  </a:lnTo>
                  <a:lnTo>
                    <a:pt x="124980" y="106248"/>
                  </a:lnTo>
                  <a:lnTo>
                    <a:pt x="129197" y="124942"/>
                  </a:lnTo>
                  <a:lnTo>
                    <a:pt x="138493" y="139280"/>
                  </a:lnTo>
                  <a:lnTo>
                    <a:pt x="151726" y="148844"/>
                  </a:lnTo>
                  <a:lnTo>
                    <a:pt x="167703" y="152336"/>
                  </a:lnTo>
                  <a:lnTo>
                    <a:pt x="177520" y="151244"/>
                  </a:lnTo>
                  <a:lnTo>
                    <a:pt x="187121" y="148158"/>
                  </a:lnTo>
                  <a:lnTo>
                    <a:pt x="196697" y="143090"/>
                  </a:lnTo>
                  <a:lnTo>
                    <a:pt x="206209" y="136067"/>
                  </a:lnTo>
                  <a:lnTo>
                    <a:pt x="206209" y="208064"/>
                  </a:lnTo>
                  <a:lnTo>
                    <a:pt x="205943" y="208330"/>
                  </a:lnTo>
                  <a:lnTo>
                    <a:pt x="205943" y="290791"/>
                  </a:lnTo>
                  <a:lnTo>
                    <a:pt x="206375" y="291858"/>
                  </a:lnTo>
                  <a:lnTo>
                    <a:pt x="207975" y="293357"/>
                  </a:lnTo>
                  <a:lnTo>
                    <a:pt x="209042" y="293776"/>
                  </a:lnTo>
                  <a:lnTo>
                    <a:pt x="215328" y="293509"/>
                  </a:lnTo>
                  <a:lnTo>
                    <a:pt x="216179" y="293192"/>
                  </a:lnTo>
                  <a:lnTo>
                    <a:pt x="225806" y="285470"/>
                  </a:lnTo>
                  <a:lnTo>
                    <a:pt x="234708" y="280390"/>
                  </a:lnTo>
                  <a:lnTo>
                    <a:pt x="243547" y="277317"/>
                  </a:lnTo>
                  <a:lnTo>
                    <a:pt x="252298" y="276225"/>
                  </a:lnTo>
                  <a:lnTo>
                    <a:pt x="265544" y="279184"/>
                  </a:lnTo>
                  <a:lnTo>
                    <a:pt x="276364" y="287286"/>
                  </a:lnTo>
                  <a:lnTo>
                    <a:pt x="283908" y="299427"/>
                  </a:lnTo>
                  <a:lnTo>
                    <a:pt x="287121" y="314477"/>
                  </a:lnTo>
                  <a:lnTo>
                    <a:pt x="284099" y="331089"/>
                  </a:lnTo>
                  <a:lnTo>
                    <a:pt x="276694" y="343344"/>
                  </a:lnTo>
                  <a:lnTo>
                    <a:pt x="265925" y="351586"/>
                  </a:lnTo>
                  <a:lnTo>
                    <a:pt x="252831" y="354634"/>
                  </a:lnTo>
                  <a:lnTo>
                    <a:pt x="244068" y="353707"/>
                  </a:lnTo>
                  <a:lnTo>
                    <a:pt x="235191" y="350748"/>
                  </a:lnTo>
                  <a:lnTo>
                    <a:pt x="226212" y="345770"/>
                  </a:lnTo>
                  <a:lnTo>
                    <a:pt x="216446" y="338162"/>
                  </a:lnTo>
                  <a:lnTo>
                    <a:pt x="215595" y="337781"/>
                  </a:lnTo>
                  <a:lnTo>
                    <a:pt x="208978" y="337616"/>
                  </a:lnTo>
                  <a:lnTo>
                    <a:pt x="207911" y="338048"/>
                  </a:lnTo>
                  <a:lnTo>
                    <a:pt x="206375" y="339547"/>
                  </a:lnTo>
                  <a:lnTo>
                    <a:pt x="205943" y="340614"/>
                  </a:lnTo>
                  <a:lnTo>
                    <a:pt x="205943" y="412457"/>
                  </a:lnTo>
                  <a:lnTo>
                    <a:pt x="156006" y="405345"/>
                  </a:lnTo>
                  <a:lnTo>
                    <a:pt x="110820" y="386918"/>
                  </a:lnTo>
                  <a:lnTo>
                    <a:pt x="71945" y="358609"/>
                  </a:lnTo>
                  <a:lnTo>
                    <a:pt x="40932" y="321843"/>
                  </a:lnTo>
                  <a:lnTo>
                    <a:pt x="19342" y="278028"/>
                  </a:lnTo>
                  <a:lnTo>
                    <a:pt x="8750" y="228600"/>
                  </a:lnTo>
                  <a:lnTo>
                    <a:pt x="8597" y="226415"/>
                  </a:lnTo>
                  <a:lnTo>
                    <a:pt x="6565" y="224764"/>
                  </a:lnTo>
                  <a:lnTo>
                    <a:pt x="2247" y="225132"/>
                  </a:lnTo>
                  <a:lnTo>
                    <a:pt x="596" y="227101"/>
                  </a:lnTo>
                  <a:lnTo>
                    <a:pt x="800" y="229298"/>
                  </a:lnTo>
                  <a:lnTo>
                    <a:pt x="9677" y="274218"/>
                  </a:lnTo>
                  <a:lnTo>
                    <a:pt x="27317" y="314883"/>
                  </a:lnTo>
                  <a:lnTo>
                    <a:pt x="52679" y="350329"/>
                  </a:lnTo>
                  <a:lnTo>
                    <a:pt x="84670" y="379577"/>
                  </a:lnTo>
                  <a:lnTo>
                    <a:pt x="122262" y="401675"/>
                  </a:lnTo>
                  <a:lnTo>
                    <a:pt x="164363" y="415645"/>
                  </a:lnTo>
                  <a:lnTo>
                    <a:pt x="209943" y="420509"/>
                  </a:lnTo>
                  <a:lnTo>
                    <a:pt x="212178" y="420509"/>
                  </a:lnTo>
                  <a:lnTo>
                    <a:pt x="213944" y="418693"/>
                  </a:lnTo>
                  <a:lnTo>
                    <a:pt x="213944" y="346633"/>
                  </a:lnTo>
                  <a:lnTo>
                    <a:pt x="223583" y="353682"/>
                  </a:lnTo>
                  <a:lnTo>
                    <a:pt x="233260" y="358711"/>
                  </a:lnTo>
                  <a:lnTo>
                    <a:pt x="242951" y="361746"/>
                  </a:lnTo>
                  <a:lnTo>
                    <a:pt x="252615" y="362750"/>
                  </a:lnTo>
                  <a:lnTo>
                    <a:pt x="268947" y="359092"/>
                  </a:lnTo>
                  <a:lnTo>
                    <a:pt x="282155" y="349288"/>
                  </a:lnTo>
                  <a:lnTo>
                    <a:pt x="291299" y="334708"/>
                  </a:lnTo>
                  <a:lnTo>
                    <a:pt x="295122" y="316712"/>
                  </a:lnTo>
                  <a:lnTo>
                    <a:pt x="295173" y="314312"/>
                  </a:lnTo>
                  <a:lnTo>
                    <a:pt x="290957" y="295617"/>
                  </a:lnTo>
                  <a:lnTo>
                    <a:pt x="281660" y="281279"/>
                  </a:lnTo>
                  <a:lnTo>
                    <a:pt x="268414" y="271716"/>
                  </a:lnTo>
                  <a:lnTo>
                    <a:pt x="252450" y="268236"/>
                  </a:lnTo>
                  <a:lnTo>
                    <a:pt x="242633" y="269290"/>
                  </a:lnTo>
                  <a:lnTo>
                    <a:pt x="233032" y="272364"/>
                  </a:lnTo>
                  <a:lnTo>
                    <a:pt x="223456" y="277418"/>
                  </a:lnTo>
                  <a:lnTo>
                    <a:pt x="213944" y="284441"/>
                  </a:lnTo>
                  <a:lnTo>
                    <a:pt x="213944" y="212509"/>
                  </a:lnTo>
                  <a:lnTo>
                    <a:pt x="214210" y="212242"/>
                  </a:lnTo>
                  <a:lnTo>
                    <a:pt x="214210" y="129667"/>
                  </a:lnTo>
                  <a:lnTo>
                    <a:pt x="213779" y="128600"/>
                  </a:lnTo>
                  <a:lnTo>
                    <a:pt x="212178" y="127114"/>
                  </a:lnTo>
                  <a:lnTo>
                    <a:pt x="211112" y="126682"/>
                  </a:lnTo>
                  <a:lnTo>
                    <a:pt x="204825" y="126898"/>
                  </a:lnTo>
                  <a:lnTo>
                    <a:pt x="203974" y="127266"/>
                  </a:lnTo>
                  <a:lnTo>
                    <a:pt x="194348" y="134988"/>
                  </a:lnTo>
                  <a:lnTo>
                    <a:pt x="185445" y="140068"/>
                  </a:lnTo>
                  <a:lnTo>
                    <a:pt x="176606" y="143141"/>
                  </a:lnTo>
                  <a:lnTo>
                    <a:pt x="167855" y="144233"/>
                  </a:lnTo>
                  <a:lnTo>
                    <a:pt x="154609" y="141274"/>
                  </a:lnTo>
                  <a:lnTo>
                    <a:pt x="143776" y="133159"/>
                  </a:lnTo>
                  <a:lnTo>
                    <a:pt x="136245" y="121018"/>
                  </a:lnTo>
                  <a:lnTo>
                    <a:pt x="133032" y="105981"/>
                  </a:lnTo>
                  <a:lnTo>
                    <a:pt x="136042" y="89369"/>
                  </a:lnTo>
                  <a:lnTo>
                    <a:pt x="143459" y="77114"/>
                  </a:lnTo>
                  <a:lnTo>
                    <a:pt x="154228" y="68872"/>
                  </a:lnTo>
                  <a:lnTo>
                    <a:pt x="167322" y="65824"/>
                  </a:lnTo>
                  <a:lnTo>
                    <a:pt x="176098" y="66878"/>
                  </a:lnTo>
                  <a:lnTo>
                    <a:pt x="184975" y="69850"/>
                  </a:lnTo>
                  <a:lnTo>
                    <a:pt x="193941" y="74777"/>
                  </a:lnTo>
                  <a:lnTo>
                    <a:pt x="203644" y="82359"/>
                  </a:lnTo>
                  <a:lnTo>
                    <a:pt x="204558" y="82727"/>
                  </a:lnTo>
                  <a:lnTo>
                    <a:pt x="211175" y="82842"/>
                  </a:lnTo>
                  <a:lnTo>
                    <a:pt x="212242" y="82461"/>
                  </a:lnTo>
                  <a:lnTo>
                    <a:pt x="213779" y="80975"/>
                  </a:lnTo>
                  <a:lnTo>
                    <a:pt x="214210" y="79908"/>
                  </a:lnTo>
                  <a:lnTo>
                    <a:pt x="214210" y="8064"/>
                  </a:lnTo>
                  <a:lnTo>
                    <a:pt x="264147" y="15176"/>
                  </a:lnTo>
                  <a:lnTo>
                    <a:pt x="309333" y="33591"/>
                  </a:lnTo>
                  <a:lnTo>
                    <a:pt x="348208" y="61899"/>
                  </a:lnTo>
                  <a:lnTo>
                    <a:pt x="379222" y="98666"/>
                  </a:lnTo>
                  <a:lnTo>
                    <a:pt x="400799" y="142481"/>
                  </a:lnTo>
                  <a:lnTo>
                    <a:pt x="411403" y="191909"/>
                  </a:lnTo>
                  <a:lnTo>
                    <a:pt x="411556" y="194106"/>
                  </a:lnTo>
                  <a:lnTo>
                    <a:pt x="413537" y="195707"/>
                  </a:lnTo>
                  <a:lnTo>
                    <a:pt x="417906" y="195376"/>
                  </a:lnTo>
                  <a:lnTo>
                    <a:pt x="419557" y="193408"/>
                  </a:lnTo>
                  <a:close/>
                </a:path>
                <a:path w="420370" h="421005">
                  <a:moveTo>
                    <a:pt x="420154" y="208330"/>
                  </a:moveTo>
                  <a:lnTo>
                    <a:pt x="418338" y="206514"/>
                  </a:lnTo>
                  <a:lnTo>
                    <a:pt x="346227" y="206514"/>
                  </a:lnTo>
                  <a:lnTo>
                    <a:pt x="353288" y="196850"/>
                  </a:lnTo>
                  <a:lnTo>
                    <a:pt x="358330" y="187121"/>
                  </a:lnTo>
                  <a:lnTo>
                    <a:pt x="361353" y="177380"/>
                  </a:lnTo>
                  <a:lnTo>
                    <a:pt x="362331" y="167640"/>
                  </a:lnTo>
                  <a:lnTo>
                    <a:pt x="358673" y="151574"/>
                  </a:lnTo>
                  <a:lnTo>
                    <a:pt x="348869" y="138353"/>
                  </a:lnTo>
                  <a:lnTo>
                    <a:pt x="334289" y="129222"/>
                  </a:lnTo>
                  <a:lnTo>
                    <a:pt x="316306" y="125387"/>
                  </a:lnTo>
                  <a:lnTo>
                    <a:pt x="313905" y="125336"/>
                  </a:lnTo>
                  <a:lnTo>
                    <a:pt x="295135" y="129590"/>
                  </a:lnTo>
                  <a:lnTo>
                    <a:pt x="280784" y="138938"/>
                  </a:lnTo>
                  <a:lnTo>
                    <a:pt x="271233" y="152260"/>
                  </a:lnTo>
                  <a:lnTo>
                    <a:pt x="267817" y="168275"/>
                  </a:lnTo>
                  <a:lnTo>
                    <a:pt x="268897" y="177888"/>
                  </a:lnTo>
                  <a:lnTo>
                    <a:pt x="271983" y="187490"/>
                  </a:lnTo>
                  <a:lnTo>
                    <a:pt x="277050" y="197065"/>
                  </a:lnTo>
                  <a:lnTo>
                    <a:pt x="284086" y="206578"/>
                  </a:lnTo>
                  <a:lnTo>
                    <a:pt x="224663" y="206578"/>
                  </a:lnTo>
                  <a:lnTo>
                    <a:pt x="222846" y="208381"/>
                  </a:lnTo>
                  <a:lnTo>
                    <a:pt x="222846" y="212763"/>
                  </a:lnTo>
                  <a:lnTo>
                    <a:pt x="224663" y="214579"/>
                  </a:lnTo>
                  <a:lnTo>
                    <a:pt x="290436" y="214579"/>
                  </a:lnTo>
                  <a:lnTo>
                    <a:pt x="291503" y="214147"/>
                  </a:lnTo>
                  <a:lnTo>
                    <a:pt x="292989" y="212547"/>
                  </a:lnTo>
                  <a:lnTo>
                    <a:pt x="293420" y="211480"/>
                  </a:lnTo>
                  <a:lnTo>
                    <a:pt x="293204" y="205232"/>
                  </a:lnTo>
                  <a:lnTo>
                    <a:pt x="292836" y="204330"/>
                  </a:lnTo>
                  <a:lnTo>
                    <a:pt x="285102" y="194716"/>
                  </a:lnTo>
                  <a:lnTo>
                    <a:pt x="280022" y="185826"/>
                  </a:lnTo>
                  <a:lnTo>
                    <a:pt x="276948" y="176987"/>
                  </a:lnTo>
                  <a:lnTo>
                    <a:pt x="275869" y="168224"/>
                  </a:lnTo>
                  <a:lnTo>
                    <a:pt x="278765" y="155092"/>
                  </a:lnTo>
                  <a:lnTo>
                    <a:pt x="286867" y="144208"/>
                  </a:lnTo>
                  <a:lnTo>
                    <a:pt x="299034" y="136626"/>
                  </a:lnTo>
                  <a:lnTo>
                    <a:pt x="314109" y="133388"/>
                  </a:lnTo>
                  <a:lnTo>
                    <a:pt x="330720" y="136410"/>
                  </a:lnTo>
                  <a:lnTo>
                    <a:pt x="342976" y="143827"/>
                  </a:lnTo>
                  <a:lnTo>
                    <a:pt x="351218" y="154597"/>
                  </a:lnTo>
                  <a:lnTo>
                    <a:pt x="354279" y="167690"/>
                  </a:lnTo>
                  <a:lnTo>
                    <a:pt x="353339" y="176466"/>
                  </a:lnTo>
                  <a:lnTo>
                    <a:pt x="350367" y="185343"/>
                  </a:lnTo>
                  <a:lnTo>
                    <a:pt x="345401" y="194297"/>
                  </a:lnTo>
                  <a:lnTo>
                    <a:pt x="337794" y="204012"/>
                  </a:lnTo>
                  <a:lnTo>
                    <a:pt x="337426" y="204914"/>
                  </a:lnTo>
                  <a:lnTo>
                    <a:pt x="337261" y="211531"/>
                  </a:lnTo>
                  <a:lnTo>
                    <a:pt x="337693" y="212598"/>
                  </a:lnTo>
                  <a:lnTo>
                    <a:pt x="339178" y="214147"/>
                  </a:lnTo>
                  <a:lnTo>
                    <a:pt x="340245" y="214579"/>
                  </a:lnTo>
                  <a:lnTo>
                    <a:pt x="412102" y="214579"/>
                  </a:lnTo>
                  <a:lnTo>
                    <a:pt x="404977" y="264515"/>
                  </a:lnTo>
                  <a:lnTo>
                    <a:pt x="386562" y="309702"/>
                  </a:lnTo>
                  <a:lnTo>
                    <a:pt x="358241" y="348576"/>
                  </a:lnTo>
                  <a:lnTo>
                    <a:pt x="321475" y="379577"/>
                  </a:lnTo>
                  <a:lnTo>
                    <a:pt x="277672" y="401167"/>
                  </a:lnTo>
                  <a:lnTo>
                    <a:pt x="228244" y="411759"/>
                  </a:lnTo>
                  <a:lnTo>
                    <a:pt x="226047" y="411924"/>
                  </a:lnTo>
                  <a:lnTo>
                    <a:pt x="224396" y="413893"/>
                  </a:lnTo>
                  <a:lnTo>
                    <a:pt x="224828" y="418160"/>
                  </a:lnTo>
                  <a:lnTo>
                    <a:pt x="226580" y="419709"/>
                  </a:lnTo>
                  <a:lnTo>
                    <a:pt x="228612" y="419709"/>
                  </a:lnTo>
                  <a:lnTo>
                    <a:pt x="273850" y="410794"/>
                  </a:lnTo>
                  <a:lnTo>
                    <a:pt x="314515" y="393141"/>
                  </a:lnTo>
                  <a:lnTo>
                    <a:pt x="349961" y="367792"/>
                  </a:lnTo>
                  <a:lnTo>
                    <a:pt x="379222" y="335788"/>
                  </a:lnTo>
                  <a:lnTo>
                    <a:pt x="401307" y="298208"/>
                  </a:lnTo>
                  <a:lnTo>
                    <a:pt x="415277" y="256095"/>
                  </a:lnTo>
                  <a:lnTo>
                    <a:pt x="420154" y="210515"/>
                  </a:lnTo>
                  <a:lnTo>
                    <a:pt x="420154" y="208330"/>
                  </a:lnTo>
                  <a:close/>
                </a:path>
              </a:pathLst>
            </a:custGeom>
            <a:solidFill>
              <a:srgbClr val="FFFFFF"/>
            </a:solidFill>
          </p:spPr>
          <p:txBody>
            <a:bodyPr wrap="square" lIns="0" tIns="0" rIns="0" bIns="0" rtlCol="0"/>
            <a:lstStyle/>
            <a:p>
              <a:endParaRPr/>
            </a:p>
          </p:txBody>
        </p:sp>
        <p:pic>
          <p:nvPicPr>
            <p:cNvPr id="47" name="object 198">
              <a:extLst>
                <a:ext uri="{FF2B5EF4-FFF2-40B4-BE49-F238E27FC236}">
                  <a16:creationId xmlns:a16="http://schemas.microsoft.com/office/drawing/2014/main" id="{997F3252-1410-EE2B-645F-3C44DDB2929B}"/>
                </a:ext>
              </a:extLst>
            </p:cNvPr>
            <p:cNvPicPr/>
            <p:nvPr/>
          </p:nvPicPr>
          <p:blipFill>
            <a:blip r:embed="rId12" cstate="print"/>
            <a:stretch>
              <a:fillRect/>
            </a:stretch>
          </p:blipFill>
          <p:spPr>
            <a:xfrm>
              <a:off x="10104664" y="2102815"/>
              <a:ext cx="454675" cy="330380"/>
            </a:xfrm>
            <a:prstGeom prst="rect">
              <a:avLst/>
            </a:prstGeom>
          </p:spPr>
        </p:pic>
        <p:pic>
          <p:nvPicPr>
            <p:cNvPr id="48" name="object 199">
              <a:extLst>
                <a:ext uri="{FF2B5EF4-FFF2-40B4-BE49-F238E27FC236}">
                  <a16:creationId xmlns:a16="http://schemas.microsoft.com/office/drawing/2014/main" id="{2A16C5E9-0384-3DE6-1264-E319617B57ED}"/>
                </a:ext>
              </a:extLst>
            </p:cNvPr>
            <p:cNvPicPr/>
            <p:nvPr/>
          </p:nvPicPr>
          <p:blipFill>
            <a:blip r:embed="rId13" cstate="print"/>
            <a:stretch>
              <a:fillRect/>
            </a:stretch>
          </p:blipFill>
          <p:spPr>
            <a:xfrm>
              <a:off x="11207207" y="2074810"/>
              <a:ext cx="409510" cy="386152"/>
            </a:xfrm>
            <a:prstGeom prst="rect">
              <a:avLst/>
            </a:prstGeom>
          </p:spPr>
        </p:pic>
        <p:pic>
          <p:nvPicPr>
            <p:cNvPr id="49" name="object 200">
              <a:extLst>
                <a:ext uri="{FF2B5EF4-FFF2-40B4-BE49-F238E27FC236}">
                  <a16:creationId xmlns:a16="http://schemas.microsoft.com/office/drawing/2014/main" id="{13E0D5B4-9E0E-ECA4-36DE-AAF0BDDD9B40}"/>
                </a:ext>
              </a:extLst>
            </p:cNvPr>
            <p:cNvPicPr/>
            <p:nvPr/>
          </p:nvPicPr>
          <p:blipFill>
            <a:blip r:embed="rId14" cstate="print"/>
            <a:stretch>
              <a:fillRect/>
            </a:stretch>
          </p:blipFill>
          <p:spPr>
            <a:xfrm>
              <a:off x="6872505" y="3163069"/>
              <a:ext cx="438205" cy="369879"/>
            </a:xfrm>
            <a:prstGeom prst="rect">
              <a:avLst/>
            </a:prstGeom>
          </p:spPr>
        </p:pic>
        <p:pic>
          <p:nvPicPr>
            <p:cNvPr id="50" name="object 201">
              <a:extLst>
                <a:ext uri="{FF2B5EF4-FFF2-40B4-BE49-F238E27FC236}">
                  <a16:creationId xmlns:a16="http://schemas.microsoft.com/office/drawing/2014/main" id="{6E405D1B-202C-D1F4-9838-E4A70633FC63}"/>
                </a:ext>
              </a:extLst>
            </p:cNvPr>
            <p:cNvPicPr/>
            <p:nvPr/>
          </p:nvPicPr>
          <p:blipFill>
            <a:blip r:embed="rId15" cstate="print"/>
            <a:stretch>
              <a:fillRect/>
            </a:stretch>
          </p:blipFill>
          <p:spPr>
            <a:xfrm>
              <a:off x="7990070" y="3168142"/>
              <a:ext cx="363858" cy="359721"/>
            </a:xfrm>
            <a:prstGeom prst="rect">
              <a:avLst/>
            </a:prstGeom>
          </p:spPr>
        </p:pic>
        <p:pic>
          <p:nvPicPr>
            <p:cNvPr id="51" name="object 202">
              <a:extLst>
                <a:ext uri="{FF2B5EF4-FFF2-40B4-BE49-F238E27FC236}">
                  <a16:creationId xmlns:a16="http://schemas.microsoft.com/office/drawing/2014/main" id="{B7CF2DEB-83DB-E431-442C-2C97511DBF2F}"/>
                </a:ext>
              </a:extLst>
            </p:cNvPr>
            <p:cNvPicPr/>
            <p:nvPr/>
          </p:nvPicPr>
          <p:blipFill>
            <a:blip r:embed="rId16" cstate="print"/>
            <a:stretch>
              <a:fillRect/>
            </a:stretch>
          </p:blipFill>
          <p:spPr>
            <a:xfrm>
              <a:off x="10152733" y="3140967"/>
              <a:ext cx="358514" cy="414079"/>
            </a:xfrm>
            <a:prstGeom prst="rect">
              <a:avLst/>
            </a:prstGeom>
          </p:spPr>
        </p:pic>
        <p:pic>
          <p:nvPicPr>
            <p:cNvPr id="52" name="object 203">
              <a:extLst>
                <a:ext uri="{FF2B5EF4-FFF2-40B4-BE49-F238E27FC236}">
                  <a16:creationId xmlns:a16="http://schemas.microsoft.com/office/drawing/2014/main" id="{3CFC178C-2027-6CD9-9DDB-6F928DEF4060}"/>
                </a:ext>
              </a:extLst>
            </p:cNvPr>
            <p:cNvPicPr/>
            <p:nvPr/>
          </p:nvPicPr>
          <p:blipFill>
            <a:blip r:embed="rId17" cstate="print"/>
            <a:stretch>
              <a:fillRect/>
            </a:stretch>
          </p:blipFill>
          <p:spPr>
            <a:xfrm>
              <a:off x="11266177" y="3150549"/>
              <a:ext cx="291918" cy="394907"/>
            </a:xfrm>
            <a:prstGeom prst="rect">
              <a:avLst/>
            </a:prstGeom>
          </p:spPr>
        </p:pic>
        <p:pic>
          <p:nvPicPr>
            <p:cNvPr id="53" name="object 204">
              <a:extLst>
                <a:ext uri="{FF2B5EF4-FFF2-40B4-BE49-F238E27FC236}">
                  <a16:creationId xmlns:a16="http://schemas.microsoft.com/office/drawing/2014/main" id="{AE7E2091-D0F1-73DB-64A6-556B7A6A44F3}"/>
                </a:ext>
              </a:extLst>
            </p:cNvPr>
            <p:cNvPicPr/>
            <p:nvPr/>
          </p:nvPicPr>
          <p:blipFill>
            <a:blip r:embed="rId18" cstate="print"/>
            <a:stretch>
              <a:fillRect/>
            </a:stretch>
          </p:blipFill>
          <p:spPr>
            <a:xfrm>
              <a:off x="6884034" y="4225808"/>
              <a:ext cx="415940" cy="404390"/>
            </a:xfrm>
            <a:prstGeom prst="rect">
              <a:avLst/>
            </a:prstGeom>
          </p:spPr>
        </p:pic>
        <p:grpSp>
          <p:nvGrpSpPr>
            <p:cNvPr id="54" name="object 205">
              <a:extLst>
                <a:ext uri="{FF2B5EF4-FFF2-40B4-BE49-F238E27FC236}">
                  <a16:creationId xmlns:a16="http://schemas.microsoft.com/office/drawing/2014/main" id="{C8DEEEDA-D82E-334B-9BEF-BDDA62B268CE}"/>
                </a:ext>
              </a:extLst>
            </p:cNvPr>
            <p:cNvGrpSpPr/>
            <p:nvPr/>
          </p:nvGrpSpPr>
          <p:grpSpPr>
            <a:xfrm>
              <a:off x="7997851" y="4293649"/>
              <a:ext cx="348615" cy="269240"/>
              <a:chOff x="7997851" y="4293649"/>
              <a:chExt cx="348615" cy="269240"/>
            </a:xfrm>
          </p:grpSpPr>
          <p:pic>
            <p:nvPicPr>
              <p:cNvPr id="288" name="object 206">
                <a:extLst>
                  <a:ext uri="{FF2B5EF4-FFF2-40B4-BE49-F238E27FC236}">
                    <a16:creationId xmlns:a16="http://schemas.microsoft.com/office/drawing/2014/main" id="{A2EA307B-CE4C-F412-D4C1-CABAB47A57F5}"/>
                  </a:ext>
                </a:extLst>
              </p:cNvPr>
              <p:cNvPicPr/>
              <p:nvPr/>
            </p:nvPicPr>
            <p:blipFill>
              <a:blip r:embed="rId19" cstate="print"/>
              <a:stretch>
                <a:fillRect/>
              </a:stretch>
            </p:blipFill>
            <p:spPr>
              <a:xfrm>
                <a:off x="7997851" y="4332835"/>
                <a:ext cx="348128" cy="229520"/>
              </a:xfrm>
              <a:prstGeom prst="rect">
                <a:avLst/>
              </a:prstGeom>
            </p:spPr>
          </p:pic>
          <p:sp>
            <p:nvSpPr>
              <p:cNvPr id="289" name="object 207">
                <a:extLst>
                  <a:ext uri="{FF2B5EF4-FFF2-40B4-BE49-F238E27FC236}">
                    <a16:creationId xmlns:a16="http://schemas.microsoft.com/office/drawing/2014/main" id="{0216D887-7CAC-DFE5-0577-2954126D0260}"/>
                  </a:ext>
                </a:extLst>
              </p:cNvPr>
              <p:cNvSpPr/>
              <p:nvPr/>
            </p:nvSpPr>
            <p:spPr>
              <a:xfrm>
                <a:off x="7998459" y="4293649"/>
                <a:ext cx="347345" cy="269240"/>
              </a:xfrm>
              <a:custGeom>
                <a:avLst/>
                <a:gdLst/>
                <a:ahLst/>
                <a:cxnLst/>
                <a:rect l="l" t="t" r="r" b="b"/>
                <a:pathLst>
                  <a:path w="347345" h="269239">
                    <a:moveTo>
                      <a:pt x="8674" y="0"/>
                    </a:moveTo>
                    <a:lnTo>
                      <a:pt x="2527" y="0"/>
                    </a:lnTo>
                    <a:lnTo>
                      <a:pt x="0" y="2527"/>
                    </a:lnTo>
                    <a:lnTo>
                      <a:pt x="0" y="268706"/>
                    </a:lnTo>
                    <a:lnTo>
                      <a:pt x="341477" y="268706"/>
                    </a:lnTo>
                    <a:lnTo>
                      <a:pt x="344551" y="268706"/>
                    </a:lnTo>
                    <a:lnTo>
                      <a:pt x="347078" y="266191"/>
                    </a:lnTo>
                    <a:lnTo>
                      <a:pt x="347078" y="260032"/>
                    </a:lnTo>
                    <a:lnTo>
                      <a:pt x="344551" y="257505"/>
                    </a:lnTo>
                    <a:lnTo>
                      <a:pt x="11201" y="257505"/>
                    </a:lnTo>
                    <a:lnTo>
                      <a:pt x="11201" y="2527"/>
                    </a:lnTo>
                    <a:lnTo>
                      <a:pt x="8674" y="0"/>
                    </a:lnTo>
                    <a:close/>
                  </a:path>
                </a:pathLst>
              </a:custGeom>
              <a:solidFill>
                <a:srgbClr val="FFFFFF"/>
              </a:solidFill>
            </p:spPr>
            <p:txBody>
              <a:bodyPr wrap="square" lIns="0" tIns="0" rIns="0" bIns="0" rtlCol="0"/>
              <a:lstStyle/>
              <a:p>
                <a:endParaRPr/>
              </a:p>
            </p:txBody>
          </p:sp>
        </p:grpSp>
        <p:pic>
          <p:nvPicPr>
            <p:cNvPr id="55" name="object 208">
              <a:extLst>
                <a:ext uri="{FF2B5EF4-FFF2-40B4-BE49-F238E27FC236}">
                  <a16:creationId xmlns:a16="http://schemas.microsoft.com/office/drawing/2014/main" id="{F1D2C855-5299-9991-6B95-799FD3AFF2EA}"/>
                </a:ext>
              </a:extLst>
            </p:cNvPr>
            <p:cNvPicPr/>
            <p:nvPr/>
          </p:nvPicPr>
          <p:blipFill>
            <a:blip r:embed="rId20" cstate="print"/>
            <a:stretch>
              <a:fillRect/>
            </a:stretch>
          </p:blipFill>
          <p:spPr>
            <a:xfrm>
              <a:off x="9054327" y="4224609"/>
              <a:ext cx="395334" cy="420702"/>
            </a:xfrm>
            <a:prstGeom prst="rect">
              <a:avLst/>
            </a:prstGeom>
          </p:spPr>
        </p:pic>
        <p:pic>
          <p:nvPicPr>
            <p:cNvPr id="56" name="object 209">
              <a:extLst>
                <a:ext uri="{FF2B5EF4-FFF2-40B4-BE49-F238E27FC236}">
                  <a16:creationId xmlns:a16="http://schemas.microsoft.com/office/drawing/2014/main" id="{75CAA84C-1CF7-485D-325D-FEC1F9129283}"/>
                </a:ext>
              </a:extLst>
            </p:cNvPr>
            <p:cNvPicPr/>
            <p:nvPr/>
          </p:nvPicPr>
          <p:blipFill>
            <a:blip r:embed="rId21" cstate="print"/>
            <a:stretch>
              <a:fillRect/>
            </a:stretch>
          </p:blipFill>
          <p:spPr>
            <a:xfrm>
              <a:off x="9055764" y="3146446"/>
              <a:ext cx="392470" cy="403114"/>
            </a:xfrm>
            <a:prstGeom prst="rect">
              <a:avLst/>
            </a:prstGeom>
          </p:spPr>
        </p:pic>
        <p:grpSp>
          <p:nvGrpSpPr>
            <p:cNvPr id="57" name="object 210">
              <a:extLst>
                <a:ext uri="{FF2B5EF4-FFF2-40B4-BE49-F238E27FC236}">
                  <a16:creationId xmlns:a16="http://schemas.microsoft.com/office/drawing/2014/main" id="{62CB235A-4CBB-6474-7E21-4F0D7D22E8ED}"/>
                </a:ext>
              </a:extLst>
            </p:cNvPr>
            <p:cNvGrpSpPr/>
            <p:nvPr/>
          </p:nvGrpSpPr>
          <p:grpSpPr>
            <a:xfrm>
              <a:off x="10099699" y="4226275"/>
              <a:ext cx="464820" cy="403860"/>
              <a:chOff x="10099699" y="4226275"/>
              <a:chExt cx="464820" cy="403860"/>
            </a:xfrm>
          </p:grpSpPr>
          <p:pic>
            <p:nvPicPr>
              <p:cNvPr id="284" name="object 211">
                <a:extLst>
                  <a:ext uri="{FF2B5EF4-FFF2-40B4-BE49-F238E27FC236}">
                    <a16:creationId xmlns:a16="http://schemas.microsoft.com/office/drawing/2014/main" id="{7A96F1E2-F8B8-5FD0-55E0-EC9759192ABA}"/>
                  </a:ext>
                </a:extLst>
              </p:cNvPr>
              <p:cNvPicPr/>
              <p:nvPr/>
            </p:nvPicPr>
            <p:blipFill>
              <a:blip r:embed="rId22" cstate="print"/>
              <a:stretch>
                <a:fillRect/>
              </a:stretch>
            </p:blipFill>
            <p:spPr>
              <a:xfrm>
                <a:off x="10368848" y="4226275"/>
                <a:ext cx="172034" cy="106381"/>
              </a:xfrm>
              <a:prstGeom prst="rect">
                <a:avLst/>
              </a:prstGeom>
            </p:spPr>
          </p:pic>
          <p:sp>
            <p:nvSpPr>
              <p:cNvPr id="285" name="object 212">
                <a:extLst>
                  <a:ext uri="{FF2B5EF4-FFF2-40B4-BE49-F238E27FC236}">
                    <a16:creationId xmlns:a16="http://schemas.microsoft.com/office/drawing/2014/main" id="{05556919-ADA9-4119-BF35-E82C970A61AB}"/>
                  </a:ext>
                </a:extLst>
              </p:cNvPr>
              <p:cNvSpPr/>
              <p:nvPr/>
            </p:nvSpPr>
            <p:spPr>
              <a:xfrm>
                <a:off x="10099699" y="4617449"/>
                <a:ext cx="464820" cy="12065"/>
              </a:xfrm>
              <a:custGeom>
                <a:avLst/>
                <a:gdLst/>
                <a:ahLst/>
                <a:cxnLst/>
                <a:rect l="l" t="t" r="r" b="b"/>
                <a:pathLst>
                  <a:path w="464820" h="12064">
                    <a:moveTo>
                      <a:pt x="461771" y="0"/>
                    </a:moveTo>
                    <a:lnTo>
                      <a:pt x="2832" y="0"/>
                    </a:lnTo>
                    <a:lnTo>
                      <a:pt x="0" y="2578"/>
                    </a:lnTo>
                    <a:lnTo>
                      <a:pt x="0" y="8902"/>
                    </a:lnTo>
                    <a:lnTo>
                      <a:pt x="2832" y="11480"/>
                    </a:lnTo>
                    <a:lnTo>
                      <a:pt x="458317" y="11480"/>
                    </a:lnTo>
                    <a:lnTo>
                      <a:pt x="461771" y="11480"/>
                    </a:lnTo>
                    <a:lnTo>
                      <a:pt x="464591" y="8902"/>
                    </a:lnTo>
                    <a:lnTo>
                      <a:pt x="464591" y="2578"/>
                    </a:lnTo>
                    <a:lnTo>
                      <a:pt x="461771" y="0"/>
                    </a:lnTo>
                    <a:close/>
                  </a:path>
                </a:pathLst>
              </a:custGeom>
              <a:solidFill>
                <a:srgbClr val="FFFFFF"/>
              </a:solidFill>
            </p:spPr>
            <p:txBody>
              <a:bodyPr wrap="square" lIns="0" tIns="0" rIns="0" bIns="0" rtlCol="0"/>
              <a:lstStyle/>
              <a:p>
                <a:endParaRPr/>
              </a:p>
            </p:txBody>
          </p:sp>
          <p:pic>
            <p:nvPicPr>
              <p:cNvPr id="286" name="object 213">
                <a:extLst>
                  <a:ext uri="{FF2B5EF4-FFF2-40B4-BE49-F238E27FC236}">
                    <a16:creationId xmlns:a16="http://schemas.microsoft.com/office/drawing/2014/main" id="{8A1775B7-A7C6-8A08-60F8-27ADFB393C20}"/>
                  </a:ext>
                </a:extLst>
              </p:cNvPr>
              <p:cNvPicPr/>
              <p:nvPr/>
            </p:nvPicPr>
            <p:blipFill>
              <a:blip r:embed="rId23" cstate="print"/>
              <a:stretch>
                <a:fillRect/>
              </a:stretch>
            </p:blipFill>
            <p:spPr>
              <a:xfrm>
                <a:off x="10112258" y="4433464"/>
                <a:ext cx="244855" cy="195465"/>
              </a:xfrm>
              <a:prstGeom prst="rect">
                <a:avLst/>
              </a:prstGeom>
            </p:spPr>
          </p:pic>
          <p:sp>
            <p:nvSpPr>
              <p:cNvPr id="287" name="object 214">
                <a:extLst>
                  <a:ext uri="{FF2B5EF4-FFF2-40B4-BE49-F238E27FC236}">
                    <a16:creationId xmlns:a16="http://schemas.microsoft.com/office/drawing/2014/main" id="{6DFEBBA9-3464-2BD6-5C86-165BF8847124}"/>
                  </a:ext>
                </a:extLst>
              </p:cNvPr>
              <p:cNvSpPr/>
              <p:nvPr/>
            </p:nvSpPr>
            <p:spPr>
              <a:xfrm>
                <a:off x="10312286" y="4347704"/>
                <a:ext cx="240665" cy="282575"/>
              </a:xfrm>
              <a:custGeom>
                <a:avLst/>
                <a:gdLst/>
                <a:ahLst/>
                <a:cxnLst/>
                <a:rect l="l" t="t" r="r" b="b"/>
                <a:pathLst>
                  <a:path w="240665" h="282575">
                    <a:moveTo>
                      <a:pt x="240271" y="275945"/>
                    </a:moveTo>
                    <a:lnTo>
                      <a:pt x="217055" y="219265"/>
                    </a:lnTo>
                    <a:lnTo>
                      <a:pt x="201803" y="160439"/>
                    </a:lnTo>
                    <a:lnTo>
                      <a:pt x="191871" y="103111"/>
                    </a:lnTo>
                    <a:lnTo>
                      <a:pt x="186143" y="53835"/>
                    </a:lnTo>
                    <a:lnTo>
                      <a:pt x="182816" y="2463"/>
                    </a:lnTo>
                    <a:lnTo>
                      <a:pt x="179997" y="0"/>
                    </a:lnTo>
                    <a:lnTo>
                      <a:pt x="60198" y="0"/>
                    </a:lnTo>
                    <a:lnTo>
                      <a:pt x="57378" y="2463"/>
                    </a:lnTo>
                    <a:lnTo>
                      <a:pt x="56692" y="19138"/>
                    </a:lnTo>
                    <a:lnTo>
                      <a:pt x="54076" y="53848"/>
                    </a:lnTo>
                    <a:lnTo>
                      <a:pt x="48348" y="103136"/>
                    </a:lnTo>
                    <a:lnTo>
                      <a:pt x="38417" y="160464"/>
                    </a:lnTo>
                    <a:lnTo>
                      <a:pt x="23139" y="219290"/>
                    </a:lnTo>
                    <a:lnTo>
                      <a:pt x="1435" y="273075"/>
                    </a:lnTo>
                    <a:lnTo>
                      <a:pt x="0" y="275945"/>
                    </a:lnTo>
                    <a:lnTo>
                      <a:pt x="1320" y="279336"/>
                    </a:lnTo>
                    <a:lnTo>
                      <a:pt x="7594" y="282028"/>
                    </a:lnTo>
                    <a:lnTo>
                      <a:pt x="11353" y="280822"/>
                    </a:lnTo>
                    <a:lnTo>
                      <a:pt x="12801" y="277952"/>
                    </a:lnTo>
                    <a:lnTo>
                      <a:pt x="36677" y="218109"/>
                    </a:lnTo>
                    <a:lnTo>
                      <a:pt x="52781" y="153504"/>
                    </a:lnTo>
                    <a:lnTo>
                      <a:pt x="62649" y="92176"/>
                    </a:lnTo>
                    <a:lnTo>
                      <a:pt x="67779" y="42138"/>
                    </a:lnTo>
                    <a:lnTo>
                      <a:pt x="69684" y="11417"/>
                    </a:lnTo>
                    <a:lnTo>
                      <a:pt x="170573" y="11417"/>
                    </a:lnTo>
                    <a:lnTo>
                      <a:pt x="171970" y="34378"/>
                    </a:lnTo>
                    <a:lnTo>
                      <a:pt x="85318" y="34378"/>
                    </a:lnTo>
                    <a:lnTo>
                      <a:pt x="82499" y="36957"/>
                    </a:lnTo>
                    <a:lnTo>
                      <a:pt x="82499" y="43281"/>
                    </a:lnTo>
                    <a:lnTo>
                      <a:pt x="85318" y="45859"/>
                    </a:lnTo>
                    <a:lnTo>
                      <a:pt x="172834" y="45859"/>
                    </a:lnTo>
                    <a:lnTo>
                      <a:pt x="177584" y="92176"/>
                    </a:lnTo>
                    <a:lnTo>
                      <a:pt x="187452" y="153504"/>
                    </a:lnTo>
                    <a:lnTo>
                      <a:pt x="203581" y="218109"/>
                    </a:lnTo>
                    <a:lnTo>
                      <a:pt x="227457" y="277952"/>
                    </a:lnTo>
                    <a:lnTo>
                      <a:pt x="230784" y="281228"/>
                    </a:lnTo>
                    <a:lnTo>
                      <a:pt x="233172" y="281228"/>
                    </a:lnTo>
                    <a:lnTo>
                      <a:pt x="234988" y="281063"/>
                    </a:lnTo>
                    <a:lnTo>
                      <a:pt x="238887" y="279387"/>
                    </a:lnTo>
                    <a:lnTo>
                      <a:pt x="240271" y="275945"/>
                    </a:lnTo>
                    <a:close/>
                  </a:path>
                </a:pathLst>
              </a:custGeom>
              <a:solidFill>
                <a:srgbClr val="FFFFFF"/>
              </a:solidFill>
            </p:spPr>
            <p:txBody>
              <a:bodyPr wrap="square" lIns="0" tIns="0" rIns="0" bIns="0" rtlCol="0"/>
              <a:lstStyle/>
              <a:p>
                <a:endParaRPr/>
              </a:p>
            </p:txBody>
          </p:sp>
        </p:grpSp>
        <p:grpSp>
          <p:nvGrpSpPr>
            <p:cNvPr id="58" name="object 215">
              <a:extLst>
                <a:ext uri="{FF2B5EF4-FFF2-40B4-BE49-F238E27FC236}">
                  <a16:creationId xmlns:a16="http://schemas.microsoft.com/office/drawing/2014/main" id="{6634C29E-89A2-B8DE-F3B1-5D56483E1283}"/>
                </a:ext>
              </a:extLst>
            </p:cNvPr>
            <p:cNvGrpSpPr/>
            <p:nvPr/>
          </p:nvGrpSpPr>
          <p:grpSpPr>
            <a:xfrm>
              <a:off x="11198240" y="4278349"/>
              <a:ext cx="427990" cy="299720"/>
              <a:chOff x="11198240" y="4278349"/>
              <a:chExt cx="427990" cy="299720"/>
            </a:xfrm>
          </p:grpSpPr>
          <p:pic>
            <p:nvPicPr>
              <p:cNvPr id="282" name="object 216">
                <a:extLst>
                  <a:ext uri="{FF2B5EF4-FFF2-40B4-BE49-F238E27FC236}">
                    <a16:creationId xmlns:a16="http://schemas.microsoft.com/office/drawing/2014/main" id="{16620798-5EF5-0CE4-7557-C18D788B3592}"/>
                  </a:ext>
                </a:extLst>
              </p:cNvPr>
              <p:cNvPicPr/>
              <p:nvPr/>
            </p:nvPicPr>
            <p:blipFill>
              <a:blip r:embed="rId24" cstate="print"/>
              <a:stretch>
                <a:fillRect/>
              </a:stretch>
            </p:blipFill>
            <p:spPr>
              <a:xfrm>
                <a:off x="11198530" y="4492561"/>
                <a:ext cx="427407" cy="85096"/>
              </a:xfrm>
              <a:prstGeom prst="rect">
                <a:avLst/>
              </a:prstGeom>
            </p:spPr>
          </p:pic>
          <p:sp>
            <p:nvSpPr>
              <p:cNvPr id="283" name="object 217">
                <a:extLst>
                  <a:ext uri="{FF2B5EF4-FFF2-40B4-BE49-F238E27FC236}">
                    <a16:creationId xmlns:a16="http://schemas.microsoft.com/office/drawing/2014/main" id="{8AAA0117-5CD5-3FE5-2C31-CE9C05F2F0D2}"/>
                  </a:ext>
                </a:extLst>
              </p:cNvPr>
              <p:cNvSpPr/>
              <p:nvPr/>
            </p:nvSpPr>
            <p:spPr>
              <a:xfrm>
                <a:off x="11198238" y="4278350"/>
                <a:ext cx="427990" cy="241935"/>
              </a:xfrm>
              <a:custGeom>
                <a:avLst/>
                <a:gdLst/>
                <a:ahLst/>
                <a:cxnLst/>
                <a:rect l="l" t="t" r="r" b="b"/>
                <a:pathLst>
                  <a:path w="427990" h="241935">
                    <a:moveTo>
                      <a:pt x="427520" y="125247"/>
                    </a:moveTo>
                    <a:lnTo>
                      <a:pt x="426885" y="124510"/>
                    </a:lnTo>
                    <a:lnTo>
                      <a:pt x="426885" y="123571"/>
                    </a:lnTo>
                    <a:lnTo>
                      <a:pt x="424294" y="120980"/>
                    </a:lnTo>
                    <a:lnTo>
                      <a:pt x="423862" y="120980"/>
                    </a:lnTo>
                    <a:lnTo>
                      <a:pt x="418134" y="114261"/>
                    </a:lnTo>
                    <a:lnTo>
                      <a:pt x="408762" y="101638"/>
                    </a:lnTo>
                    <a:lnTo>
                      <a:pt x="408762" y="120980"/>
                    </a:lnTo>
                    <a:lnTo>
                      <a:pt x="380809" y="120980"/>
                    </a:lnTo>
                    <a:lnTo>
                      <a:pt x="380809" y="77876"/>
                    </a:lnTo>
                    <a:lnTo>
                      <a:pt x="392061" y="98234"/>
                    </a:lnTo>
                    <a:lnTo>
                      <a:pt x="408495" y="120662"/>
                    </a:lnTo>
                    <a:lnTo>
                      <a:pt x="408762" y="120980"/>
                    </a:lnTo>
                    <a:lnTo>
                      <a:pt x="408762" y="101638"/>
                    </a:lnTo>
                    <a:lnTo>
                      <a:pt x="402666" y="93408"/>
                    </a:lnTo>
                    <a:lnTo>
                      <a:pt x="387413" y="66687"/>
                    </a:lnTo>
                    <a:lnTo>
                      <a:pt x="380809" y="40449"/>
                    </a:lnTo>
                    <a:lnTo>
                      <a:pt x="380860" y="37287"/>
                    </a:lnTo>
                    <a:lnTo>
                      <a:pt x="380809" y="7785"/>
                    </a:lnTo>
                    <a:lnTo>
                      <a:pt x="373037" y="0"/>
                    </a:lnTo>
                    <a:lnTo>
                      <a:pt x="354025" y="0"/>
                    </a:lnTo>
                    <a:lnTo>
                      <a:pt x="346252" y="7785"/>
                    </a:lnTo>
                    <a:lnTo>
                      <a:pt x="346252" y="37579"/>
                    </a:lnTo>
                    <a:lnTo>
                      <a:pt x="346252" y="52476"/>
                    </a:lnTo>
                    <a:lnTo>
                      <a:pt x="346252" y="120980"/>
                    </a:lnTo>
                    <a:lnTo>
                      <a:pt x="346252" y="132499"/>
                    </a:lnTo>
                    <a:lnTo>
                      <a:pt x="346252" y="149771"/>
                    </a:lnTo>
                    <a:lnTo>
                      <a:pt x="81267" y="149771"/>
                    </a:lnTo>
                    <a:lnTo>
                      <a:pt x="81267" y="132499"/>
                    </a:lnTo>
                    <a:lnTo>
                      <a:pt x="118414" y="132499"/>
                    </a:lnTo>
                    <a:lnTo>
                      <a:pt x="121589" y="132499"/>
                    </a:lnTo>
                    <a:lnTo>
                      <a:pt x="346252" y="132499"/>
                    </a:lnTo>
                    <a:lnTo>
                      <a:pt x="346252" y="120980"/>
                    </a:lnTo>
                    <a:lnTo>
                      <a:pt x="311683" y="120980"/>
                    </a:lnTo>
                    <a:lnTo>
                      <a:pt x="311683" y="73710"/>
                    </a:lnTo>
                    <a:lnTo>
                      <a:pt x="315760" y="72059"/>
                    </a:lnTo>
                    <a:lnTo>
                      <a:pt x="344652" y="53797"/>
                    </a:lnTo>
                    <a:lnTo>
                      <a:pt x="346252" y="52476"/>
                    </a:lnTo>
                    <a:lnTo>
                      <a:pt x="346252" y="37579"/>
                    </a:lnTo>
                    <a:lnTo>
                      <a:pt x="338010" y="44259"/>
                    </a:lnTo>
                    <a:lnTo>
                      <a:pt x="310616" y="61518"/>
                    </a:lnTo>
                    <a:lnTo>
                      <a:pt x="300151" y="65773"/>
                    </a:lnTo>
                    <a:lnTo>
                      <a:pt x="300151" y="78346"/>
                    </a:lnTo>
                    <a:lnTo>
                      <a:pt x="300151" y="120980"/>
                    </a:lnTo>
                    <a:lnTo>
                      <a:pt x="265607" y="120980"/>
                    </a:lnTo>
                    <a:lnTo>
                      <a:pt x="265607" y="90716"/>
                    </a:lnTo>
                    <a:lnTo>
                      <a:pt x="271399" y="89903"/>
                    </a:lnTo>
                    <a:lnTo>
                      <a:pt x="300151" y="78346"/>
                    </a:lnTo>
                    <a:lnTo>
                      <a:pt x="300151" y="65773"/>
                    </a:lnTo>
                    <a:lnTo>
                      <a:pt x="268325" y="78689"/>
                    </a:lnTo>
                    <a:lnTo>
                      <a:pt x="254076" y="80721"/>
                    </a:lnTo>
                    <a:lnTo>
                      <a:pt x="254076" y="92316"/>
                    </a:lnTo>
                    <a:lnTo>
                      <a:pt x="254076" y="120980"/>
                    </a:lnTo>
                    <a:lnTo>
                      <a:pt x="219519" y="120980"/>
                    </a:lnTo>
                    <a:lnTo>
                      <a:pt x="219519" y="97129"/>
                    </a:lnTo>
                    <a:lnTo>
                      <a:pt x="254076" y="92316"/>
                    </a:lnTo>
                    <a:lnTo>
                      <a:pt x="254076" y="80721"/>
                    </a:lnTo>
                    <a:lnTo>
                      <a:pt x="213956" y="86423"/>
                    </a:lnTo>
                    <a:lnTo>
                      <a:pt x="213410" y="86423"/>
                    </a:lnTo>
                    <a:lnTo>
                      <a:pt x="207987" y="85661"/>
                    </a:lnTo>
                    <a:lnTo>
                      <a:pt x="207987" y="97129"/>
                    </a:lnTo>
                    <a:lnTo>
                      <a:pt x="207987" y="120980"/>
                    </a:lnTo>
                    <a:lnTo>
                      <a:pt x="173443" y="120980"/>
                    </a:lnTo>
                    <a:lnTo>
                      <a:pt x="173443" y="92316"/>
                    </a:lnTo>
                    <a:lnTo>
                      <a:pt x="207987" y="97129"/>
                    </a:lnTo>
                    <a:lnTo>
                      <a:pt x="207987" y="85661"/>
                    </a:lnTo>
                    <a:lnTo>
                      <a:pt x="161912" y="79108"/>
                    </a:lnTo>
                    <a:lnTo>
                      <a:pt x="161912" y="90716"/>
                    </a:lnTo>
                    <a:lnTo>
                      <a:pt x="161912" y="120980"/>
                    </a:lnTo>
                    <a:lnTo>
                      <a:pt x="127355" y="120980"/>
                    </a:lnTo>
                    <a:lnTo>
                      <a:pt x="127355" y="78333"/>
                    </a:lnTo>
                    <a:lnTo>
                      <a:pt x="156133" y="89903"/>
                    </a:lnTo>
                    <a:lnTo>
                      <a:pt x="161912" y="90716"/>
                    </a:lnTo>
                    <a:lnTo>
                      <a:pt x="161912" y="79108"/>
                    </a:lnTo>
                    <a:lnTo>
                      <a:pt x="159054" y="78689"/>
                    </a:lnTo>
                    <a:lnTo>
                      <a:pt x="116776" y="61518"/>
                    </a:lnTo>
                    <a:lnTo>
                      <a:pt x="115824" y="60921"/>
                    </a:lnTo>
                    <a:lnTo>
                      <a:pt x="115824" y="73698"/>
                    </a:lnTo>
                    <a:lnTo>
                      <a:pt x="115824" y="120980"/>
                    </a:lnTo>
                    <a:lnTo>
                      <a:pt x="81267" y="120980"/>
                    </a:lnTo>
                    <a:lnTo>
                      <a:pt x="81267" y="52514"/>
                    </a:lnTo>
                    <a:lnTo>
                      <a:pt x="82829" y="53797"/>
                    </a:lnTo>
                    <a:lnTo>
                      <a:pt x="111760" y="72059"/>
                    </a:lnTo>
                    <a:lnTo>
                      <a:pt x="115824" y="73698"/>
                    </a:lnTo>
                    <a:lnTo>
                      <a:pt x="115824" y="60921"/>
                    </a:lnTo>
                    <a:lnTo>
                      <a:pt x="89382" y="44259"/>
                    </a:lnTo>
                    <a:lnTo>
                      <a:pt x="81267" y="37680"/>
                    </a:lnTo>
                    <a:lnTo>
                      <a:pt x="81267" y="7785"/>
                    </a:lnTo>
                    <a:lnTo>
                      <a:pt x="73494" y="0"/>
                    </a:lnTo>
                    <a:lnTo>
                      <a:pt x="54483" y="0"/>
                    </a:lnTo>
                    <a:lnTo>
                      <a:pt x="46710" y="7785"/>
                    </a:lnTo>
                    <a:lnTo>
                      <a:pt x="46710" y="37223"/>
                    </a:lnTo>
                    <a:lnTo>
                      <a:pt x="46710" y="40449"/>
                    </a:lnTo>
                    <a:lnTo>
                      <a:pt x="46710" y="77863"/>
                    </a:lnTo>
                    <a:lnTo>
                      <a:pt x="46710" y="120980"/>
                    </a:lnTo>
                    <a:lnTo>
                      <a:pt x="18757" y="120980"/>
                    </a:lnTo>
                    <a:lnTo>
                      <a:pt x="19037" y="120662"/>
                    </a:lnTo>
                    <a:lnTo>
                      <a:pt x="35471" y="98234"/>
                    </a:lnTo>
                    <a:lnTo>
                      <a:pt x="46710" y="77863"/>
                    </a:lnTo>
                    <a:lnTo>
                      <a:pt x="46710" y="40449"/>
                    </a:lnTo>
                    <a:lnTo>
                      <a:pt x="40093" y="66687"/>
                    </a:lnTo>
                    <a:lnTo>
                      <a:pt x="24841" y="93408"/>
                    </a:lnTo>
                    <a:lnTo>
                      <a:pt x="9372" y="114261"/>
                    </a:lnTo>
                    <a:lnTo>
                      <a:pt x="3632" y="120980"/>
                    </a:lnTo>
                    <a:lnTo>
                      <a:pt x="3213" y="120980"/>
                    </a:lnTo>
                    <a:lnTo>
                      <a:pt x="622" y="123571"/>
                    </a:lnTo>
                    <a:lnTo>
                      <a:pt x="622" y="124523"/>
                    </a:lnTo>
                    <a:lnTo>
                      <a:pt x="0" y="125247"/>
                    </a:lnTo>
                    <a:lnTo>
                      <a:pt x="165" y="128866"/>
                    </a:lnTo>
                    <a:lnTo>
                      <a:pt x="622" y="129286"/>
                    </a:lnTo>
                    <a:lnTo>
                      <a:pt x="622" y="129908"/>
                    </a:lnTo>
                    <a:lnTo>
                      <a:pt x="3213" y="132499"/>
                    </a:lnTo>
                    <a:lnTo>
                      <a:pt x="5003" y="132499"/>
                    </a:lnTo>
                    <a:lnTo>
                      <a:pt x="6388" y="132499"/>
                    </a:lnTo>
                    <a:lnTo>
                      <a:pt x="8001" y="132499"/>
                    </a:lnTo>
                    <a:lnTo>
                      <a:pt x="46697" y="132499"/>
                    </a:lnTo>
                    <a:lnTo>
                      <a:pt x="46697" y="149783"/>
                    </a:lnTo>
                    <a:lnTo>
                      <a:pt x="3213" y="149783"/>
                    </a:lnTo>
                    <a:lnTo>
                      <a:pt x="622" y="152374"/>
                    </a:lnTo>
                    <a:lnTo>
                      <a:pt x="622" y="158711"/>
                    </a:lnTo>
                    <a:lnTo>
                      <a:pt x="3213" y="161302"/>
                    </a:lnTo>
                    <a:lnTo>
                      <a:pt x="46710" y="161302"/>
                    </a:lnTo>
                    <a:lnTo>
                      <a:pt x="46710" y="230416"/>
                    </a:lnTo>
                    <a:lnTo>
                      <a:pt x="58229" y="230416"/>
                    </a:lnTo>
                    <a:lnTo>
                      <a:pt x="58229" y="158711"/>
                    </a:lnTo>
                    <a:lnTo>
                      <a:pt x="58229" y="123571"/>
                    </a:lnTo>
                    <a:lnTo>
                      <a:pt x="58229" y="40220"/>
                    </a:lnTo>
                    <a:lnTo>
                      <a:pt x="58229" y="14122"/>
                    </a:lnTo>
                    <a:lnTo>
                      <a:pt x="60820" y="11518"/>
                    </a:lnTo>
                    <a:lnTo>
                      <a:pt x="67157" y="11518"/>
                    </a:lnTo>
                    <a:lnTo>
                      <a:pt x="69748" y="14122"/>
                    </a:lnTo>
                    <a:lnTo>
                      <a:pt x="69748" y="38049"/>
                    </a:lnTo>
                    <a:lnTo>
                      <a:pt x="69113" y="38709"/>
                    </a:lnTo>
                    <a:lnTo>
                      <a:pt x="69227" y="42341"/>
                    </a:lnTo>
                    <a:lnTo>
                      <a:pt x="69748" y="42837"/>
                    </a:lnTo>
                    <a:lnTo>
                      <a:pt x="69748" y="120980"/>
                    </a:lnTo>
                    <a:lnTo>
                      <a:pt x="69748" y="132499"/>
                    </a:lnTo>
                    <a:lnTo>
                      <a:pt x="69748" y="149771"/>
                    </a:lnTo>
                    <a:lnTo>
                      <a:pt x="69748" y="161290"/>
                    </a:lnTo>
                    <a:lnTo>
                      <a:pt x="69748" y="218897"/>
                    </a:lnTo>
                    <a:lnTo>
                      <a:pt x="81267" y="218897"/>
                    </a:lnTo>
                    <a:lnTo>
                      <a:pt x="81267" y="161290"/>
                    </a:lnTo>
                    <a:lnTo>
                      <a:pt x="346252" y="161290"/>
                    </a:lnTo>
                    <a:lnTo>
                      <a:pt x="346252" y="230416"/>
                    </a:lnTo>
                    <a:lnTo>
                      <a:pt x="357771" y="230416"/>
                    </a:lnTo>
                    <a:lnTo>
                      <a:pt x="357771" y="42722"/>
                    </a:lnTo>
                    <a:lnTo>
                      <a:pt x="358165" y="42341"/>
                    </a:lnTo>
                    <a:lnTo>
                      <a:pt x="358279" y="38709"/>
                    </a:lnTo>
                    <a:lnTo>
                      <a:pt x="357771" y="38176"/>
                    </a:lnTo>
                    <a:lnTo>
                      <a:pt x="357771" y="14109"/>
                    </a:lnTo>
                    <a:lnTo>
                      <a:pt x="360362" y="11518"/>
                    </a:lnTo>
                    <a:lnTo>
                      <a:pt x="366699" y="11518"/>
                    </a:lnTo>
                    <a:lnTo>
                      <a:pt x="369290" y="14109"/>
                    </a:lnTo>
                    <a:lnTo>
                      <a:pt x="369290" y="40220"/>
                    </a:lnTo>
                    <a:lnTo>
                      <a:pt x="369290" y="123571"/>
                    </a:lnTo>
                    <a:lnTo>
                      <a:pt x="369290" y="158711"/>
                    </a:lnTo>
                    <a:lnTo>
                      <a:pt x="369290" y="241935"/>
                    </a:lnTo>
                    <a:lnTo>
                      <a:pt x="380809" y="241935"/>
                    </a:lnTo>
                    <a:lnTo>
                      <a:pt x="380809" y="161302"/>
                    </a:lnTo>
                    <a:lnTo>
                      <a:pt x="421132" y="161302"/>
                    </a:lnTo>
                    <a:lnTo>
                      <a:pt x="424294" y="161302"/>
                    </a:lnTo>
                    <a:lnTo>
                      <a:pt x="426885" y="158711"/>
                    </a:lnTo>
                    <a:lnTo>
                      <a:pt x="426885" y="152374"/>
                    </a:lnTo>
                    <a:lnTo>
                      <a:pt x="424294" y="149783"/>
                    </a:lnTo>
                    <a:lnTo>
                      <a:pt x="380809" y="149783"/>
                    </a:lnTo>
                    <a:lnTo>
                      <a:pt x="380809" y="132499"/>
                    </a:lnTo>
                    <a:lnTo>
                      <a:pt x="419582" y="132499"/>
                    </a:lnTo>
                    <a:lnTo>
                      <a:pt x="421132" y="132499"/>
                    </a:lnTo>
                    <a:lnTo>
                      <a:pt x="422516" y="132499"/>
                    </a:lnTo>
                    <a:lnTo>
                      <a:pt x="424294" y="132499"/>
                    </a:lnTo>
                    <a:lnTo>
                      <a:pt x="426885" y="129908"/>
                    </a:lnTo>
                    <a:lnTo>
                      <a:pt x="426885" y="129298"/>
                    </a:lnTo>
                    <a:lnTo>
                      <a:pt x="427355" y="128866"/>
                    </a:lnTo>
                    <a:lnTo>
                      <a:pt x="427520" y="125247"/>
                    </a:lnTo>
                    <a:close/>
                  </a:path>
                </a:pathLst>
              </a:custGeom>
              <a:solidFill>
                <a:srgbClr val="FFFFFF"/>
              </a:solidFill>
            </p:spPr>
            <p:txBody>
              <a:bodyPr wrap="square" lIns="0" tIns="0" rIns="0" bIns="0" rtlCol="0"/>
              <a:lstStyle/>
              <a:p>
                <a:endParaRPr/>
              </a:p>
            </p:txBody>
          </p:sp>
        </p:grpSp>
        <p:pic>
          <p:nvPicPr>
            <p:cNvPr id="59" name="object 218">
              <a:extLst>
                <a:ext uri="{FF2B5EF4-FFF2-40B4-BE49-F238E27FC236}">
                  <a16:creationId xmlns:a16="http://schemas.microsoft.com/office/drawing/2014/main" id="{2EC82323-E261-EF84-432D-3DEA563C27E5}"/>
                </a:ext>
              </a:extLst>
            </p:cNvPr>
            <p:cNvPicPr/>
            <p:nvPr/>
          </p:nvPicPr>
          <p:blipFill>
            <a:blip r:embed="rId25" cstate="print"/>
            <a:stretch>
              <a:fillRect/>
            </a:stretch>
          </p:blipFill>
          <p:spPr>
            <a:xfrm>
              <a:off x="12355207" y="2055608"/>
              <a:ext cx="270344" cy="432001"/>
            </a:xfrm>
            <a:prstGeom prst="rect">
              <a:avLst/>
            </a:prstGeom>
          </p:spPr>
        </p:pic>
        <p:grpSp>
          <p:nvGrpSpPr>
            <p:cNvPr id="62" name="object 219">
              <a:extLst>
                <a:ext uri="{FF2B5EF4-FFF2-40B4-BE49-F238E27FC236}">
                  <a16:creationId xmlns:a16="http://schemas.microsoft.com/office/drawing/2014/main" id="{10A533D2-096B-938F-2580-76BE06A6986A}"/>
                </a:ext>
              </a:extLst>
            </p:cNvPr>
            <p:cNvGrpSpPr/>
            <p:nvPr/>
          </p:nvGrpSpPr>
          <p:grpSpPr>
            <a:xfrm>
              <a:off x="12284331" y="3131515"/>
              <a:ext cx="415925" cy="433070"/>
              <a:chOff x="12284331" y="3131515"/>
              <a:chExt cx="415925" cy="433070"/>
            </a:xfrm>
          </p:grpSpPr>
          <p:sp>
            <p:nvSpPr>
              <p:cNvPr id="105" name="object 220">
                <a:extLst>
                  <a:ext uri="{FF2B5EF4-FFF2-40B4-BE49-F238E27FC236}">
                    <a16:creationId xmlns:a16="http://schemas.microsoft.com/office/drawing/2014/main" id="{23ED65A5-93FA-8AF2-7153-D194620912D6}"/>
                  </a:ext>
                </a:extLst>
              </p:cNvPr>
              <p:cNvSpPr/>
              <p:nvPr/>
            </p:nvSpPr>
            <p:spPr>
              <a:xfrm>
                <a:off x="12431128" y="3131515"/>
                <a:ext cx="128905" cy="433070"/>
              </a:xfrm>
              <a:custGeom>
                <a:avLst/>
                <a:gdLst/>
                <a:ahLst/>
                <a:cxnLst/>
                <a:rect l="l" t="t" r="r" b="b"/>
                <a:pathLst>
                  <a:path w="128904" h="433070">
                    <a:moveTo>
                      <a:pt x="126212" y="432498"/>
                    </a:moveTo>
                    <a:lnTo>
                      <a:pt x="120383" y="420827"/>
                    </a:lnTo>
                    <a:lnTo>
                      <a:pt x="107302" y="394677"/>
                    </a:lnTo>
                    <a:lnTo>
                      <a:pt x="107302" y="420827"/>
                    </a:lnTo>
                    <a:lnTo>
                      <a:pt x="21120" y="420827"/>
                    </a:lnTo>
                    <a:lnTo>
                      <a:pt x="64211" y="334645"/>
                    </a:lnTo>
                    <a:lnTo>
                      <a:pt x="107302" y="420827"/>
                    </a:lnTo>
                    <a:lnTo>
                      <a:pt x="107302" y="394677"/>
                    </a:lnTo>
                    <a:lnTo>
                      <a:pt x="77279" y="334645"/>
                    </a:lnTo>
                    <a:lnTo>
                      <a:pt x="64211" y="308521"/>
                    </a:lnTo>
                    <a:lnTo>
                      <a:pt x="2235" y="432498"/>
                    </a:lnTo>
                    <a:lnTo>
                      <a:pt x="126212" y="432498"/>
                    </a:lnTo>
                    <a:close/>
                  </a:path>
                  <a:path w="128904" h="433070">
                    <a:moveTo>
                      <a:pt x="128447" y="0"/>
                    </a:moveTo>
                    <a:lnTo>
                      <a:pt x="116776" y="0"/>
                    </a:lnTo>
                    <a:lnTo>
                      <a:pt x="116776" y="12700"/>
                    </a:lnTo>
                    <a:lnTo>
                      <a:pt x="116776" y="116840"/>
                    </a:lnTo>
                    <a:lnTo>
                      <a:pt x="11684" y="116840"/>
                    </a:lnTo>
                    <a:lnTo>
                      <a:pt x="11684" y="12700"/>
                    </a:lnTo>
                    <a:lnTo>
                      <a:pt x="116776" y="12700"/>
                    </a:lnTo>
                    <a:lnTo>
                      <a:pt x="116776" y="0"/>
                    </a:lnTo>
                    <a:lnTo>
                      <a:pt x="0" y="0"/>
                    </a:lnTo>
                    <a:lnTo>
                      <a:pt x="0" y="12700"/>
                    </a:lnTo>
                    <a:lnTo>
                      <a:pt x="0" y="116840"/>
                    </a:lnTo>
                    <a:lnTo>
                      <a:pt x="0" y="129540"/>
                    </a:lnTo>
                    <a:lnTo>
                      <a:pt x="128447" y="129540"/>
                    </a:lnTo>
                    <a:lnTo>
                      <a:pt x="128447" y="117259"/>
                    </a:lnTo>
                    <a:lnTo>
                      <a:pt x="128447" y="116840"/>
                    </a:lnTo>
                    <a:lnTo>
                      <a:pt x="128447" y="12700"/>
                    </a:lnTo>
                    <a:lnTo>
                      <a:pt x="128447" y="12179"/>
                    </a:lnTo>
                    <a:lnTo>
                      <a:pt x="128447" y="0"/>
                    </a:lnTo>
                    <a:close/>
                  </a:path>
                </a:pathLst>
              </a:custGeom>
              <a:solidFill>
                <a:srgbClr val="FFFFFF"/>
              </a:solidFill>
            </p:spPr>
            <p:txBody>
              <a:bodyPr wrap="square" lIns="0" tIns="0" rIns="0" bIns="0" rtlCol="0"/>
              <a:lstStyle/>
              <a:p>
                <a:endParaRPr/>
              </a:p>
            </p:txBody>
          </p:sp>
          <p:pic>
            <p:nvPicPr>
              <p:cNvPr id="277" name="object 221">
                <a:extLst>
                  <a:ext uri="{FF2B5EF4-FFF2-40B4-BE49-F238E27FC236}">
                    <a16:creationId xmlns:a16="http://schemas.microsoft.com/office/drawing/2014/main" id="{46906067-C813-BBE1-1F1C-B13D690F27DB}"/>
                  </a:ext>
                </a:extLst>
              </p:cNvPr>
              <p:cNvPicPr/>
              <p:nvPr/>
            </p:nvPicPr>
            <p:blipFill>
              <a:blip r:embed="rId26" cstate="print"/>
              <a:stretch>
                <a:fillRect/>
              </a:stretch>
            </p:blipFill>
            <p:spPr>
              <a:xfrm>
                <a:off x="12582933" y="3447263"/>
                <a:ext cx="116738" cy="116738"/>
              </a:xfrm>
              <a:prstGeom prst="rect">
                <a:avLst/>
              </a:prstGeom>
            </p:spPr>
          </p:pic>
          <p:sp>
            <p:nvSpPr>
              <p:cNvPr id="278" name="object 222">
                <a:extLst>
                  <a:ext uri="{FF2B5EF4-FFF2-40B4-BE49-F238E27FC236}">
                    <a16:creationId xmlns:a16="http://schemas.microsoft.com/office/drawing/2014/main" id="{B6E24035-720E-73BA-A440-83A2548B7EB1}"/>
                  </a:ext>
                </a:extLst>
              </p:cNvPr>
              <p:cNvSpPr/>
              <p:nvPr/>
            </p:nvSpPr>
            <p:spPr>
              <a:xfrm>
                <a:off x="12284329" y="3202063"/>
                <a:ext cx="363220" cy="361950"/>
              </a:xfrm>
              <a:custGeom>
                <a:avLst/>
                <a:gdLst/>
                <a:ahLst/>
                <a:cxnLst/>
                <a:rect l="l" t="t" r="r" b="b"/>
                <a:pathLst>
                  <a:path w="363220" h="361950">
                    <a:moveTo>
                      <a:pt x="130136" y="303580"/>
                    </a:moveTo>
                    <a:lnTo>
                      <a:pt x="116789" y="279577"/>
                    </a:lnTo>
                    <a:lnTo>
                      <a:pt x="116789" y="303580"/>
                    </a:lnTo>
                    <a:lnTo>
                      <a:pt x="90830" y="350278"/>
                    </a:lnTo>
                    <a:lnTo>
                      <a:pt x="39319" y="350278"/>
                    </a:lnTo>
                    <a:lnTo>
                      <a:pt x="13360" y="303580"/>
                    </a:lnTo>
                    <a:lnTo>
                      <a:pt x="39319" y="256882"/>
                    </a:lnTo>
                    <a:lnTo>
                      <a:pt x="90830" y="256882"/>
                    </a:lnTo>
                    <a:lnTo>
                      <a:pt x="116789" y="303580"/>
                    </a:lnTo>
                    <a:lnTo>
                      <a:pt x="116789" y="279577"/>
                    </a:lnTo>
                    <a:lnTo>
                      <a:pt x="104178" y="256882"/>
                    </a:lnTo>
                    <a:lnTo>
                      <a:pt x="97688" y="245186"/>
                    </a:lnTo>
                    <a:lnTo>
                      <a:pt x="32435" y="245186"/>
                    </a:lnTo>
                    <a:lnTo>
                      <a:pt x="0" y="303580"/>
                    </a:lnTo>
                    <a:lnTo>
                      <a:pt x="32435" y="361950"/>
                    </a:lnTo>
                    <a:lnTo>
                      <a:pt x="97688" y="361950"/>
                    </a:lnTo>
                    <a:lnTo>
                      <a:pt x="104178" y="350278"/>
                    </a:lnTo>
                    <a:lnTo>
                      <a:pt x="130136" y="303580"/>
                    </a:lnTo>
                    <a:close/>
                  </a:path>
                  <a:path w="363220" h="361950">
                    <a:moveTo>
                      <a:pt x="199351" y="0"/>
                    </a:moveTo>
                    <a:lnTo>
                      <a:pt x="187680" y="0"/>
                    </a:lnTo>
                    <a:lnTo>
                      <a:pt x="187680" y="11658"/>
                    </a:lnTo>
                    <a:lnTo>
                      <a:pt x="199351" y="11658"/>
                    </a:lnTo>
                    <a:lnTo>
                      <a:pt x="199351" y="0"/>
                    </a:lnTo>
                    <a:close/>
                  </a:path>
                  <a:path w="363220" h="361950">
                    <a:moveTo>
                      <a:pt x="234353" y="0"/>
                    </a:moveTo>
                    <a:lnTo>
                      <a:pt x="222694" y="0"/>
                    </a:lnTo>
                    <a:lnTo>
                      <a:pt x="222694" y="11658"/>
                    </a:lnTo>
                    <a:lnTo>
                      <a:pt x="234353" y="11658"/>
                    </a:lnTo>
                    <a:lnTo>
                      <a:pt x="234353" y="0"/>
                    </a:lnTo>
                    <a:close/>
                  </a:path>
                  <a:path w="363220" h="361950">
                    <a:moveTo>
                      <a:pt x="362800" y="148551"/>
                    </a:moveTo>
                    <a:lnTo>
                      <a:pt x="360197" y="145948"/>
                    </a:lnTo>
                    <a:lnTo>
                      <a:pt x="216852" y="145948"/>
                    </a:lnTo>
                    <a:lnTo>
                      <a:pt x="216852" y="75895"/>
                    </a:lnTo>
                    <a:lnTo>
                      <a:pt x="205181" y="75895"/>
                    </a:lnTo>
                    <a:lnTo>
                      <a:pt x="205181" y="145948"/>
                    </a:lnTo>
                    <a:lnTo>
                      <a:pt x="61849" y="145948"/>
                    </a:lnTo>
                    <a:lnTo>
                      <a:pt x="59245" y="148551"/>
                    </a:lnTo>
                    <a:lnTo>
                      <a:pt x="59245" y="233502"/>
                    </a:lnTo>
                    <a:lnTo>
                      <a:pt x="70916" y="233502"/>
                    </a:lnTo>
                    <a:lnTo>
                      <a:pt x="70916" y="157619"/>
                    </a:lnTo>
                    <a:lnTo>
                      <a:pt x="205181" y="157619"/>
                    </a:lnTo>
                    <a:lnTo>
                      <a:pt x="205181" y="210172"/>
                    </a:lnTo>
                    <a:lnTo>
                      <a:pt x="216852" y="210172"/>
                    </a:lnTo>
                    <a:lnTo>
                      <a:pt x="216852" y="157619"/>
                    </a:lnTo>
                    <a:lnTo>
                      <a:pt x="351129" y="157619"/>
                    </a:lnTo>
                    <a:lnTo>
                      <a:pt x="351129" y="227660"/>
                    </a:lnTo>
                    <a:lnTo>
                      <a:pt x="362800" y="227660"/>
                    </a:lnTo>
                    <a:lnTo>
                      <a:pt x="362800" y="148551"/>
                    </a:lnTo>
                    <a:close/>
                  </a:path>
                </a:pathLst>
              </a:custGeom>
              <a:solidFill>
                <a:srgbClr val="FFFFFF"/>
              </a:solidFill>
            </p:spPr>
            <p:txBody>
              <a:bodyPr wrap="square" lIns="0" tIns="0" rIns="0" bIns="0" rtlCol="0"/>
              <a:lstStyle/>
              <a:p>
                <a:endParaRPr/>
              </a:p>
            </p:txBody>
          </p:sp>
        </p:grpSp>
        <p:grpSp>
          <p:nvGrpSpPr>
            <p:cNvPr id="63" name="object 223">
              <a:extLst>
                <a:ext uri="{FF2B5EF4-FFF2-40B4-BE49-F238E27FC236}">
                  <a16:creationId xmlns:a16="http://schemas.microsoft.com/office/drawing/2014/main" id="{F3394C80-4846-61B3-4F8E-54EF4F97B0AF}"/>
                </a:ext>
              </a:extLst>
            </p:cNvPr>
            <p:cNvGrpSpPr/>
            <p:nvPr/>
          </p:nvGrpSpPr>
          <p:grpSpPr>
            <a:xfrm>
              <a:off x="12183878" y="4320027"/>
              <a:ext cx="616585" cy="281305"/>
              <a:chOff x="12183878" y="4320027"/>
              <a:chExt cx="616585" cy="281305"/>
            </a:xfrm>
          </p:grpSpPr>
          <p:sp>
            <p:nvSpPr>
              <p:cNvPr id="101" name="object 224">
                <a:extLst>
                  <a:ext uri="{FF2B5EF4-FFF2-40B4-BE49-F238E27FC236}">
                    <a16:creationId xmlns:a16="http://schemas.microsoft.com/office/drawing/2014/main" id="{8474D90F-2A94-9F0D-8413-4BDE4E28BF41}"/>
                  </a:ext>
                </a:extLst>
              </p:cNvPr>
              <p:cNvSpPr/>
              <p:nvPr/>
            </p:nvSpPr>
            <p:spPr>
              <a:xfrm>
                <a:off x="12183872" y="4320031"/>
                <a:ext cx="616585" cy="233045"/>
              </a:xfrm>
              <a:custGeom>
                <a:avLst/>
                <a:gdLst/>
                <a:ahLst/>
                <a:cxnLst/>
                <a:rect l="l" t="t" r="r" b="b"/>
                <a:pathLst>
                  <a:path w="616584" h="233045">
                    <a:moveTo>
                      <a:pt x="178028" y="23634"/>
                    </a:moveTo>
                    <a:lnTo>
                      <a:pt x="174942" y="20561"/>
                    </a:lnTo>
                    <a:lnTo>
                      <a:pt x="105740" y="20561"/>
                    </a:lnTo>
                    <a:lnTo>
                      <a:pt x="102692" y="23634"/>
                    </a:lnTo>
                    <a:lnTo>
                      <a:pt x="102692" y="31191"/>
                    </a:lnTo>
                    <a:lnTo>
                      <a:pt x="105765" y="34264"/>
                    </a:lnTo>
                    <a:lnTo>
                      <a:pt x="171170" y="34264"/>
                    </a:lnTo>
                    <a:lnTo>
                      <a:pt x="174942" y="34264"/>
                    </a:lnTo>
                    <a:lnTo>
                      <a:pt x="178028" y="31191"/>
                    </a:lnTo>
                    <a:lnTo>
                      <a:pt x="178028" y="23634"/>
                    </a:lnTo>
                    <a:close/>
                  </a:path>
                  <a:path w="616584" h="233045">
                    <a:moveTo>
                      <a:pt x="335495" y="171196"/>
                    </a:moveTo>
                    <a:lnTo>
                      <a:pt x="333336" y="160553"/>
                    </a:lnTo>
                    <a:lnTo>
                      <a:pt x="331279" y="157492"/>
                    </a:lnTo>
                    <a:lnTo>
                      <a:pt x="327469" y="151841"/>
                    </a:lnTo>
                    <a:lnTo>
                      <a:pt x="321818" y="148031"/>
                    </a:lnTo>
                    <a:lnTo>
                      <a:pt x="321818" y="163639"/>
                    </a:lnTo>
                    <a:lnTo>
                      <a:pt x="321818" y="178752"/>
                    </a:lnTo>
                    <a:lnTo>
                      <a:pt x="315671" y="184899"/>
                    </a:lnTo>
                    <a:lnTo>
                      <a:pt x="300558" y="184899"/>
                    </a:lnTo>
                    <a:lnTo>
                      <a:pt x="294411" y="178752"/>
                    </a:lnTo>
                    <a:lnTo>
                      <a:pt x="294411" y="163639"/>
                    </a:lnTo>
                    <a:lnTo>
                      <a:pt x="300558" y="157492"/>
                    </a:lnTo>
                    <a:lnTo>
                      <a:pt x="315671" y="157492"/>
                    </a:lnTo>
                    <a:lnTo>
                      <a:pt x="321818" y="163639"/>
                    </a:lnTo>
                    <a:lnTo>
                      <a:pt x="321818" y="148031"/>
                    </a:lnTo>
                    <a:lnTo>
                      <a:pt x="318770" y="145973"/>
                    </a:lnTo>
                    <a:lnTo>
                      <a:pt x="308114" y="143814"/>
                    </a:lnTo>
                    <a:lnTo>
                      <a:pt x="297459" y="145973"/>
                    </a:lnTo>
                    <a:lnTo>
                      <a:pt x="288759" y="151841"/>
                    </a:lnTo>
                    <a:lnTo>
                      <a:pt x="282879" y="160553"/>
                    </a:lnTo>
                    <a:lnTo>
                      <a:pt x="280733" y="171196"/>
                    </a:lnTo>
                    <a:lnTo>
                      <a:pt x="282879" y="181851"/>
                    </a:lnTo>
                    <a:lnTo>
                      <a:pt x="288759" y="190563"/>
                    </a:lnTo>
                    <a:lnTo>
                      <a:pt x="297459" y="196430"/>
                    </a:lnTo>
                    <a:lnTo>
                      <a:pt x="308114" y="198589"/>
                    </a:lnTo>
                    <a:lnTo>
                      <a:pt x="318770" y="196430"/>
                    </a:lnTo>
                    <a:lnTo>
                      <a:pt x="327469" y="190563"/>
                    </a:lnTo>
                    <a:lnTo>
                      <a:pt x="331279" y="184899"/>
                    </a:lnTo>
                    <a:lnTo>
                      <a:pt x="333336" y="181851"/>
                    </a:lnTo>
                    <a:lnTo>
                      <a:pt x="335495" y="171196"/>
                    </a:lnTo>
                    <a:close/>
                  </a:path>
                  <a:path w="616584" h="233045">
                    <a:moveTo>
                      <a:pt x="356057" y="57848"/>
                    </a:moveTo>
                    <a:lnTo>
                      <a:pt x="352971" y="54775"/>
                    </a:lnTo>
                    <a:lnTo>
                      <a:pt x="263232" y="54775"/>
                    </a:lnTo>
                    <a:lnTo>
                      <a:pt x="260184" y="57848"/>
                    </a:lnTo>
                    <a:lnTo>
                      <a:pt x="260184" y="65405"/>
                    </a:lnTo>
                    <a:lnTo>
                      <a:pt x="263258" y="68478"/>
                    </a:lnTo>
                    <a:lnTo>
                      <a:pt x="349199" y="68478"/>
                    </a:lnTo>
                    <a:lnTo>
                      <a:pt x="352971" y="68478"/>
                    </a:lnTo>
                    <a:lnTo>
                      <a:pt x="356057" y="65430"/>
                    </a:lnTo>
                    <a:lnTo>
                      <a:pt x="356057" y="57848"/>
                    </a:lnTo>
                    <a:close/>
                  </a:path>
                  <a:path w="616584" h="233045">
                    <a:moveTo>
                      <a:pt x="513524" y="23634"/>
                    </a:moveTo>
                    <a:lnTo>
                      <a:pt x="510451" y="20561"/>
                    </a:lnTo>
                    <a:lnTo>
                      <a:pt x="441248" y="20561"/>
                    </a:lnTo>
                    <a:lnTo>
                      <a:pt x="438200" y="23634"/>
                    </a:lnTo>
                    <a:lnTo>
                      <a:pt x="438200" y="31191"/>
                    </a:lnTo>
                    <a:lnTo>
                      <a:pt x="441274" y="34264"/>
                    </a:lnTo>
                    <a:lnTo>
                      <a:pt x="506679" y="34264"/>
                    </a:lnTo>
                    <a:lnTo>
                      <a:pt x="510476" y="34264"/>
                    </a:lnTo>
                    <a:lnTo>
                      <a:pt x="513524" y="31191"/>
                    </a:lnTo>
                    <a:lnTo>
                      <a:pt x="513524" y="23634"/>
                    </a:lnTo>
                    <a:close/>
                  </a:path>
                  <a:path w="616584" h="233045">
                    <a:moveTo>
                      <a:pt x="616242" y="23634"/>
                    </a:moveTo>
                    <a:lnTo>
                      <a:pt x="613156" y="20561"/>
                    </a:lnTo>
                    <a:lnTo>
                      <a:pt x="534073" y="20561"/>
                    </a:lnTo>
                    <a:lnTo>
                      <a:pt x="534085" y="3073"/>
                    </a:lnTo>
                    <a:lnTo>
                      <a:pt x="530999" y="0"/>
                    </a:lnTo>
                    <a:lnTo>
                      <a:pt x="523430" y="0"/>
                    </a:lnTo>
                    <a:lnTo>
                      <a:pt x="520369" y="3073"/>
                    </a:lnTo>
                    <a:lnTo>
                      <a:pt x="520369" y="23634"/>
                    </a:lnTo>
                    <a:lnTo>
                      <a:pt x="520369" y="31191"/>
                    </a:lnTo>
                    <a:lnTo>
                      <a:pt x="520369" y="89014"/>
                    </a:lnTo>
                    <a:lnTo>
                      <a:pt x="503072" y="89014"/>
                    </a:lnTo>
                    <a:lnTo>
                      <a:pt x="490994" y="73939"/>
                    </a:lnTo>
                    <a:lnTo>
                      <a:pt x="490994" y="95859"/>
                    </a:lnTo>
                    <a:lnTo>
                      <a:pt x="471779" y="119900"/>
                    </a:lnTo>
                    <a:lnTo>
                      <a:pt x="464807" y="123253"/>
                    </a:lnTo>
                    <a:lnTo>
                      <a:pt x="373646" y="123253"/>
                    </a:lnTo>
                    <a:lnTo>
                      <a:pt x="371068" y="125056"/>
                    </a:lnTo>
                    <a:lnTo>
                      <a:pt x="338772" y="215455"/>
                    </a:lnTo>
                    <a:lnTo>
                      <a:pt x="333590" y="219113"/>
                    </a:lnTo>
                    <a:lnTo>
                      <a:pt x="282549" y="219113"/>
                    </a:lnTo>
                    <a:lnTo>
                      <a:pt x="277368" y="215455"/>
                    </a:lnTo>
                    <a:lnTo>
                      <a:pt x="245071" y="125056"/>
                    </a:lnTo>
                    <a:lnTo>
                      <a:pt x="242506" y="123253"/>
                    </a:lnTo>
                    <a:lnTo>
                      <a:pt x="151333" y="123253"/>
                    </a:lnTo>
                    <a:lnTo>
                      <a:pt x="144373" y="119900"/>
                    </a:lnTo>
                    <a:lnTo>
                      <a:pt x="125145" y="95859"/>
                    </a:lnTo>
                    <a:lnTo>
                      <a:pt x="144373" y="71818"/>
                    </a:lnTo>
                    <a:lnTo>
                      <a:pt x="151333" y="68478"/>
                    </a:lnTo>
                    <a:lnTo>
                      <a:pt x="228384" y="68478"/>
                    </a:lnTo>
                    <a:lnTo>
                      <a:pt x="230644" y="67144"/>
                    </a:lnTo>
                    <a:lnTo>
                      <a:pt x="255778" y="23177"/>
                    </a:lnTo>
                    <a:lnTo>
                      <a:pt x="260324" y="20535"/>
                    </a:lnTo>
                    <a:lnTo>
                      <a:pt x="355841" y="20535"/>
                    </a:lnTo>
                    <a:lnTo>
                      <a:pt x="360413" y="23177"/>
                    </a:lnTo>
                    <a:lnTo>
                      <a:pt x="385546" y="67157"/>
                    </a:lnTo>
                    <a:lnTo>
                      <a:pt x="387807" y="68478"/>
                    </a:lnTo>
                    <a:lnTo>
                      <a:pt x="464807" y="68478"/>
                    </a:lnTo>
                    <a:lnTo>
                      <a:pt x="471779" y="71818"/>
                    </a:lnTo>
                    <a:lnTo>
                      <a:pt x="490994" y="95859"/>
                    </a:lnTo>
                    <a:lnTo>
                      <a:pt x="490994" y="73939"/>
                    </a:lnTo>
                    <a:lnTo>
                      <a:pt x="457390" y="54838"/>
                    </a:lnTo>
                    <a:lnTo>
                      <a:pt x="394246" y="54838"/>
                    </a:lnTo>
                    <a:lnTo>
                      <a:pt x="374738" y="20688"/>
                    </a:lnTo>
                    <a:lnTo>
                      <a:pt x="350964" y="6896"/>
                    </a:lnTo>
                    <a:lnTo>
                      <a:pt x="265252" y="6896"/>
                    </a:lnTo>
                    <a:lnTo>
                      <a:pt x="221996" y="54813"/>
                    </a:lnTo>
                    <a:lnTo>
                      <a:pt x="158851" y="54813"/>
                    </a:lnTo>
                    <a:lnTo>
                      <a:pt x="113131" y="89014"/>
                    </a:lnTo>
                    <a:lnTo>
                      <a:pt x="95872" y="89014"/>
                    </a:lnTo>
                    <a:lnTo>
                      <a:pt x="95872" y="31191"/>
                    </a:lnTo>
                    <a:lnTo>
                      <a:pt x="95872" y="23634"/>
                    </a:lnTo>
                    <a:lnTo>
                      <a:pt x="95872" y="3073"/>
                    </a:lnTo>
                    <a:lnTo>
                      <a:pt x="92786" y="0"/>
                    </a:lnTo>
                    <a:lnTo>
                      <a:pt x="85217" y="0"/>
                    </a:lnTo>
                    <a:lnTo>
                      <a:pt x="82156" y="3073"/>
                    </a:lnTo>
                    <a:lnTo>
                      <a:pt x="82156" y="20561"/>
                    </a:lnTo>
                    <a:lnTo>
                      <a:pt x="3048" y="20561"/>
                    </a:lnTo>
                    <a:lnTo>
                      <a:pt x="0" y="23634"/>
                    </a:lnTo>
                    <a:lnTo>
                      <a:pt x="0" y="31191"/>
                    </a:lnTo>
                    <a:lnTo>
                      <a:pt x="3073" y="34264"/>
                    </a:lnTo>
                    <a:lnTo>
                      <a:pt x="82156" y="34264"/>
                    </a:lnTo>
                    <a:lnTo>
                      <a:pt x="82156" y="89014"/>
                    </a:lnTo>
                    <a:lnTo>
                      <a:pt x="57823" y="89014"/>
                    </a:lnTo>
                    <a:lnTo>
                      <a:pt x="54775" y="92087"/>
                    </a:lnTo>
                    <a:lnTo>
                      <a:pt x="54775" y="99644"/>
                    </a:lnTo>
                    <a:lnTo>
                      <a:pt x="57848" y="102717"/>
                    </a:lnTo>
                    <a:lnTo>
                      <a:pt x="85242" y="102717"/>
                    </a:lnTo>
                    <a:lnTo>
                      <a:pt x="89014" y="102717"/>
                    </a:lnTo>
                    <a:lnTo>
                      <a:pt x="92786" y="102717"/>
                    </a:lnTo>
                    <a:lnTo>
                      <a:pt x="113118" y="102717"/>
                    </a:lnTo>
                    <a:lnTo>
                      <a:pt x="129082" y="122656"/>
                    </a:lnTo>
                    <a:lnTo>
                      <a:pt x="234848" y="136969"/>
                    </a:lnTo>
                    <a:lnTo>
                      <a:pt x="262597" y="214655"/>
                    </a:lnTo>
                    <a:lnTo>
                      <a:pt x="266623" y="222084"/>
                    </a:lnTo>
                    <a:lnTo>
                      <a:pt x="272605" y="227812"/>
                    </a:lnTo>
                    <a:lnTo>
                      <a:pt x="280022" y="231508"/>
                    </a:lnTo>
                    <a:lnTo>
                      <a:pt x="288366" y="232816"/>
                    </a:lnTo>
                    <a:lnTo>
                      <a:pt x="327875" y="232816"/>
                    </a:lnTo>
                    <a:lnTo>
                      <a:pt x="336232" y="231508"/>
                    </a:lnTo>
                    <a:lnTo>
                      <a:pt x="343649" y="227812"/>
                    </a:lnTo>
                    <a:lnTo>
                      <a:pt x="349631" y="222072"/>
                    </a:lnTo>
                    <a:lnTo>
                      <a:pt x="351243" y="219113"/>
                    </a:lnTo>
                    <a:lnTo>
                      <a:pt x="353695" y="214642"/>
                    </a:lnTo>
                    <a:lnTo>
                      <a:pt x="381431" y="136969"/>
                    </a:lnTo>
                    <a:lnTo>
                      <a:pt x="457530" y="136956"/>
                    </a:lnTo>
                    <a:lnTo>
                      <a:pt x="466001" y="136004"/>
                    </a:lnTo>
                    <a:lnTo>
                      <a:pt x="473976" y="133210"/>
                    </a:lnTo>
                    <a:lnTo>
                      <a:pt x="481139" y="128714"/>
                    </a:lnTo>
                    <a:lnTo>
                      <a:pt x="487222" y="122631"/>
                    </a:lnTo>
                    <a:lnTo>
                      <a:pt x="503135" y="102717"/>
                    </a:lnTo>
                    <a:lnTo>
                      <a:pt x="523455" y="102717"/>
                    </a:lnTo>
                    <a:lnTo>
                      <a:pt x="527227" y="102717"/>
                    </a:lnTo>
                    <a:lnTo>
                      <a:pt x="530999" y="102717"/>
                    </a:lnTo>
                    <a:lnTo>
                      <a:pt x="554621" y="102717"/>
                    </a:lnTo>
                    <a:lnTo>
                      <a:pt x="558393" y="102717"/>
                    </a:lnTo>
                    <a:lnTo>
                      <a:pt x="561479" y="99669"/>
                    </a:lnTo>
                    <a:lnTo>
                      <a:pt x="561479" y="92087"/>
                    </a:lnTo>
                    <a:lnTo>
                      <a:pt x="558393" y="89014"/>
                    </a:lnTo>
                    <a:lnTo>
                      <a:pt x="534060" y="89014"/>
                    </a:lnTo>
                    <a:lnTo>
                      <a:pt x="534073" y="34264"/>
                    </a:lnTo>
                    <a:lnTo>
                      <a:pt x="609384" y="34264"/>
                    </a:lnTo>
                    <a:lnTo>
                      <a:pt x="613156" y="34264"/>
                    </a:lnTo>
                    <a:lnTo>
                      <a:pt x="616242" y="31191"/>
                    </a:lnTo>
                    <a:lnTo>
                      <a:pt x="616242" y="23634"/>
                    </a:lnTo>
                    <a:close/>
                  </a:path>
                </a:pathLst>
              </a:custGeom>
              <a:solidFill>
                <a:srgbClr val="FFFFFF"/>
              </a:solidFill>
            </p:spPr>
            <p:txBody>
              <a:bodyPr wrap="square" lIns="0" tIns="0" rIns="0" bIns="0" rtlCol="0"/>
              <a:lstStyle/>
              <a:p>
                <a:endParaRPr/>
              </a:p>
            </p:txBody>
          </p:sp>
          <p:pic>
            <p:nvPicPr>
              <p:cNvPr id="102" name="object 225">
                <a:extLst>
                  <a:ext uri="{FF2B5EF4-FFF2-40B4-BE49-F238E27FC236}">
                    <a16:creationId xmlns:a16="http://schemas.microsoft.com/office/drawing/2014/main" id="{6F7BB2B0-82C0-0CB4-1204-F07F82F212E6}"/>
                  </a:ext>
                </a:extLst>
              </p:cNvPr>
              <p:cNvPicPr/>
              <p:nvPr/>
            </p:nvPicPr>
            <p:blipFill>
              <a:blip r:embed="rId27" cstate="print"/>
              <a:stretch>
                <a:fillRect/>
              </a:stretch>
            </p:blipFill>
            <p:spPr>
              <a:xfrm>
                <a:off x="12594481" y="4443303"/>
                <a:ext cx="76453" cy="157467"/>
              </a:xfrm>
              <a:prstGeom prst="rect">
                <a:avLst/>
              </a:prstGeom>
            </p:spPr>
          </p:pic>
          <p:pic>
            <p:nvPicPr>
              <p:cNvPr id="104" name="object 226">
                <a:extLst>
                  <a:ext uri="{FF2B5EF4-FFF2-40B4-BE49-F238E27FC236}">
                    <a16:creationId xmlns:a16="http://schemas.microsoft.com/office/drawing/2014/main" id="{3DDC71BE-8776-54F2-490A-AAB10D6C1B1F}"/>
                  </a:ext>
                </a:extLst>
              </p:cNvPr>
              <p:cNvPicPr/>
              <p:nvPr/>
            </p:nvPicPr>
            <p:blipFill>
              <a:blip r:embed="rId28" cstate="print"/>
              <a:stretch>
                <a:fillRect/>
              </a:stretch>
            </p:blipFill>
            <p:spPr>
              <a:xfrm>
                <a:off x="12312850" y="4443303"/>
                <a:ext cx="76441" cy="157467"/>
              </a:xfrm>
              <a:prstGeom prst="rect">
                <a:avLst/>
              </a:prstGeom>
            </p:spPr>
          </p:pic>
        </p:grpSp>
        <p:grpSp>
          <p:nvGrpSpPr>
            <p:cNvPr id="64" name="object 227">
              <a:extLst>
                <a:ext uri="{FF2B5EF4-FFF2-40B4-BE49-F238E27FC236}">
                  <a16:creationId xmlns:a16="http://schemas.microsoft.com/office/drawing/2014/main" id="{981C2D8B-CA09-0904-F0E4-9298213A1351}"/>
                </a:ext>
              </a:extLst>
            </p:cNvPr>
            <p:cNvGrpSpPr/>
            <p:nvPr/>
          </p:nvGrpSpPr>
          <p:grpSpPr>
            <a:xfrm>
              <a:off x="3613802" y="4211471"/>
              <a:ext cx="476884" cy="433070"/>
              <a:chOff x="3613802" y="4211471"/>
              <a:chExt cx="476884" cy="433070"/>
            </a:xfrm>
          </p:grpSpPr>
          <p:sp>
            <p:nvSpPr>
              <p:cNvPr id="98" name="object 228">
                <a:extLst>
                  <a:ext uri="{FF2B5EF4-FFF2-40B4-BE49-F238E27FC236}">
                    <a16:creationId xmlns:a16="http://schemas.microsoft.com/office/drawing/2014/main" id="{1340765D-3923-9B25-723E-F00E1BEA0045}"/>
                  </a:ext>
                </a:extLst>
              </p:cNvPr>
              <p:cNvSpPr/>
              <p:nvPr/>
            </p:nvSpPr>
            <p:spPr>
              <a:xfrm>
                <a:off x="3613802" y="4211471"/>
                <a:ext cx="476884" cy="433070"/>
              </a:xfrm>
              <a:custGeom>
                <a:avLst/>
                <a:gdLst/>
                <a:ahLst/>
                <a:cxnLst/>
                <a:rect l="l" t="t" r="r" b="b"/>
                <a:pathLst>
                  <a:path w="476885" h="433070">
                    <a:moveTo>
                      <a:pt x="240106" y="0"/>
                    </a:moveTo>
                    <a:lnTo>
                      <a:pt x="236296" y="0"/>
                    </a:lnTo>
                    <a:lnTo>
                      <a:pt x="901" y="191274"/>
                    </a:lnTo>
                    <a:lnTo>
                      <a:pt x="0" y="194462"/>
                    </a:lnTo>
                    <a:lnTo>
                      <a:pt x="2044" y="200190"/>
                    </a:lnTo>
                    <a:lnTo>
                      <a:pt x="4762" y="202120"/>
                    </a:lnTo>
                    <a:lnTo>
                      <a:pt x="72605" y="202120"/>
                    </a:lnTo>
                    <a:lnTo>
                      <a:pt x="72605" y="429323"/>
                    </a:lnTo>
                    <a:lnTo>
                      <a:pt x="75844" y="432536"/>
                    </a:lnTo>
                    <a:lnTo>
                      <a:pt x="191769" y="432536"/>
                    </a:lnTo>
                    <a:lnTo>
                      <a:pt x="194983" y="429323"/>
                    </a:lnTo>
                    <a:lnTo>
                      <a:pt x="195008" y="418147"/>
                    </a:lnTo>
                    <a:lnTo>
                      <a:pt x="86994" y="418147"/>
                    </a:lnTo>
                    <a:lnTo>
                      <a:pt x="86994" y="190944"/>
                    </a:lnTo>
                    <a:lnTo>
                      <a:pt x="83756" y="187731"/>
                    </a:lnTo>
                    <a:lnTo>
                      <a:pt x="28066" y="187731"/>
                    </a:lnTo>
                    <a:lnTo>
                      <a:pt x="238201" y="17005"/>
                    </a:lnTo>
                    <a:lnTo>
                      <a:pt x="261035" y="17005"/>
                    </a:lnTo>
                    <a:lnTo>
                      <a:pt x="240106" y="0"/>
                    </a:lnTo>
                    <a:close/>
                  </a:path>
                  <a:path w="476885" h="433070">
                    <a:moveTo>
                      <a:pt x="295821" y="331724"/>
                    </a:moveTo>
                    <a:lnTo>
                      <a:pt x="281406" y="331724"/>
                    </a:lnTo>
                    <a:lnTo>
                      <a:pt x="281406" y="429323"/>
                    </a:lnTo>
                    <a:lnTo>
                      <a:pt x="284645" y="432536"/>
                    </a:lnTo>
                    <a:lnTo>
                      <a:pt x="400570" y="432536"/>
                    </a:lnTo>
                    <a:lnTo>
                      <a:pt x="403783" y="429323"/>
                    </a:lnTo>
                    <a:lnTo>
                      <a:pt x="403783" y="418147"/>
                    </a:lnTo>
                    <a:lnTo>
                      <a:pt x="295821" y="418147"/>
                    </a:lnTo>
                    <a:lnTo>
                      <a:pt x="295821" y="331724"/>
                    </a:lnTo>
                    <a:close/>
                  </a:path>
                  <a:path w="476885" h="433070">
                    <a:moveTo>
                      <a:pt x="292582" y="317334"/>
                    </a:moveTo>
                    <a:lnTo>
                      <a:pt x="183832" y="317334"/>
                    </a:lnTo>
                    <a:lnTo>
                      <a:pt x="180619" y="320548"/>
                    </a:lnTo>
                    <a:lnTo>
                      <a:pt x="180593" y="418147"/>
                    </a:lnTo>
                    <a:lnTo>
                      <a:pt x="195008" y="418147"/>
                    </a:lnTo>
                    <a:lnTo>
                      <a:pt x="195008" y="331724"/>
                    </a:lnTo>
                    <a:lnTo>
                      <a:pt x="295821" y="331724"/>
                    </a:lnTo>
                    <a:lnTo>
                      <a:pt x="295821" y="320548"/>
                    </a:lnTo>
                    <a:lnTo>
                      <a:pt x="292582" y="317334"/>
                    </a:lnTo>
                    <a:close/>
                  </a:path>
                  <a:path w="476885" h="433070">
                    <a:moveTo>
                      <a:pt x="261035" y="17005"/>
                    </a:moveTo>
                    <a:lnTo>
                      <a:pt x="238201" y="17005"/>
                    </a:lnTo>
                    <a:lnTo>
                      <a:pt x="448322" y="187731"/>
                    </a:lnTo>
                    <a:lnTo>
                      <a:pt x="392633" y="187731"/>
                    </a:lnTo>
                    <a:lnTo>
                      <a:pt x="389420" y="190944"/>
                    </a:lnTo>
                    <a:lnTo>
                      <a:pt x="389394" y="418147"/>
                    </a:lnTo>
                    <a:lnTo>
                      <a:pt x="403783" y="418147"/>
                    </a:lnTo>
                    <a:lnTo>
                      <a:pt x="403783" y="202120"/>
                    </a:lnTo>
                    <a:lnTo>
                      <a:pt x="471639" y="202120"/>
                    </a:lnTo>
                    <a:lnTo>
                      <a:pt x="474344" y="200215"/>
                    </a:lnTo>
                    <a:lnTo>
                      <a:pt x="476389" y="194487"/>
                    </a:lnTo>
                    <a:lnTo>
                      <a:pt x="475488" y="191274"/>
                    </a:lnTo>
                    <a:lnTo>
                      <a:pt x="261035" y="17005"/>
                    </a:lnTo>
                    <a:close/>
                  </a:path>
                </a:pathLst>
              </a:custGeom>
              <a:solidFill>
                <a:srgbClr val="0F1E32"/>
              </a:solidFill>
            </p:spPr>
            <p:txBody>
              <a:bodyPr wrap="square" lIns="0" tIns="0" rIns="0" bIns="0" rtlCol="0"/>
              <a:lstStyle/>
              <a:p>
                <a:endParaRPr/>
              </a:p>
            </p:txBody>
          </p:sp>
          <p:pic>
            <p:nvPicPr>
              <p:cNvPr id="99" name="object 229">
                <a:extLst>
                  <a:ext uri="{FF2B5EF4-FFF2-40B4-BE49-F238E27FC236}">
                    <a16:creationId xmlns:a16="http://schemas.microsoft.com/office/drawing/2014/main" id="{CDF1E215-CDC7-6B3D-072F-E2F28BDA0D0D}"/>
                  </a:ext>
                </a:extLst>
              </p:cNvPr>
              <p:cNvPicPr/>
              <p:nvPr/>
            </p:nvPicPr>
            <p:blipFill>
              <a:blip r:embed="rId29" cstate="print"/>
              <a:stretch>
                <a:fillRect/>
              </a:stretch>
            </p:blipFill>
            <p:spPr>
              <a:xfrm>
                <a:off x="3735066" y="4355819"/>
                <a:ext cx="234099" cy="130274"/>
              </a:xfrm>
              <a:prstGeom prst="rect">
                <a:avLst/>
              </a:prstGeom>
            </p:spPr>
          </p:pic>
        </p:grpSp>
        <p:grpSp>
          <p:nvGrpSpPr>
            <p:cNvPr id="68" name="object 230">
              <a:extLst>
                <a:ext uri="{FF2B5EF4-FFF2-40B4-BE49-F238E27FC236}">
                  <a16:creationId xmlns:a16="http://schemas.microsoft.com/office/drawing/2014/main" id="{C4EB8DB4-8138-ECF4-DA8D-B8DCAA09AB70}"/>
                </a:ext>
              </a:extLst>
            </p:cNvPr>
            <p:cNvGrpSpPr/>
            <p:nvPr/>
          </p:nvGrpSpPr>
          <p:grpSpPr>
            <a:xfrm>
              <a:off x="4683390" y="4212005"/>
              <a:ext cx="497840" cy="432434"/>
              <a:chOff x="4683390" y="4212005"/>
              <a:chExt cx="497840" cy="432434"/>
            </a:xfrm>
          </p:grpSpPr>
          <p:pic>
            <p:nvPicPr>
              <p:cNvPr id="92" name="object 231">
                <a:extLst>
                  <a:ext uri="{FF2B5EF4-FFF2-40B4-BE49-F238E27FC236}">
                    <a16:creationId xmlns:a16="http://schemas.microsoft.com/office/drawing/2014/main" id="{812EC09D-E93F-32A3-46CE-E2C0DB7FA984}"/>
                  </a:ext>
                </a:extLst>
              </p:cNvPr>
              <p:cNvPicPr/>
              <p:nvPr/>
            </p:nvPicPr>
            <p:blipFill>
              <a:blip r:embed="rId30" cstate="print"/>
              <a:stretch>
                <a:fillRect/>
              </a:stretch>
            </p:blipFill>
            <p:spPr>
              <a:xfrm>
                <a:off x="4785527" y="4472825"/>
                <a:ext cx="112345" cy="124867"/>
              </a:xfrm>
              <a:prstGeom prst="rect">
                <a:avLst/>
              </a:prstGeom>
            </p:spPr>
          </p:pic>
          <p:sp>
            <p:nvSpPr>
              <p:cNvPr id="93" name="object 232">
                <a:extLst>
                  <a:ext uri="{FF2B5EF4-FFF2-40B4-BE49-F238E27FC236}">
                    <a16:creationId xmlns:a16="http://schemas.microsoft.com/office/drawing/2014/main" id="{CC5E2438-2092-0701-20DE-7277046EA196}"/>
                  </a:ext>
                </a:extLst>
              </p:cNvPr>
              <p:cNvSpPr/>
              <p:nvPr/>
            </p:nvSpPr>
            <p:spPr>
              <a:xfrm>
                <a:off x="4820936" y="4241825"/>
                <a:ext cx="330200" cy="372745"/>
              </a:xfrm>
              <a:custGeom>
                <a:avLst/>
                <a:gdLst/>
                <a:ahLst/>
                <a:cxnLst/>
                <a:rect l="l" t="t" r="r" b="b"/>
                <a:pathLst>
                  <a:path w="330200" h="372745">
                    <a:moveTo>
                      <a:pt x="143687" y="0"/>
                    </a:moveTo>
                    <a:lnTo>
                      <a:pt x="103779" y="4318"/>
                    </a:lnTo>
                    <a:lnTo>
                      <a:pt x="66147" y="16897"/>
                    </a:lnTo>
                    <a:lnTo>
                      <a:pt x="32030" y="37172"/>
                    </a:lnTo>
                    <a:lnTo>
                      <a:pt x="2667" y="64579"/>
                    </a:lnTo>
                    <a:lnTo>
                      <a:pt x="0" y="67703"/>
                    </a:lnTo>
                    <a:lnTo>
                      <a:pt x="330" y="72428"/>
                    </a:lnTo>
                    <a:lnTo>
                      <a:pt x="6565" y="77774"/>
                    </a:lnTo>
                    <a:lnTo>
                      <a:pt x="11264" y="77431"/>
                    </a:lnTo>
                    <a:lnTo>
                      <a:pt x="13957" y="74320"/>
                    </a:lnTo>
                    <a:lnTo>
                      <a:pt x="40971" y="49097"/>
                    </a:lnTo>
                    <a:lnTo>
                      <a:pt x="72355" y="30432"/>
                    </a:lnTo>
                    <a:lnTo>
                      <a:pt x="106972" y="18849"/>
                    </a:lnTo>
                    <a:lnTo>
                      <a:pt x="143687" y="14871"/>
                    </a:lnTo>
                    <a:lnTo>
                      <a:pt x="189177" y="21002"/>
                    </a:lnTo>
                    <a:lnTo>
                      <a:pt x="230088" y="38297"/>
                    </a:lnTo>
                    <a:lnTo>
                      <a:pt x="264772" y="65109"/>
                    </a:lnTo>
                    <a:lnTo>
                      <a:pt x="291585" y="99794"/>
                    </a:lnTo>
                    <a:lnTo>
                      <a:pt x="308880" y="140704"/>
                    </a:lnTo>
                    <a:lnTo>
                      <a:pt x="315010" y="186194"/>
                    </a:lnTo>
                    <a:lnTo>
                      <a:pt x="308880" y="231683"/>
                    </a:lnTo>
                    <a:lnTo>
                      <a:pt x="291585" y="272591"/>
                    </a:lnTo>
                    <a:lnTo>
                      <a:pt x="264772" y="307273"/>
                    </a:lnTo>
                    <a:lnTo>
                      <a:pt x="230088" y="334082"/>
                    </a:lnTo>
                    <a:lnTo>
                      <a:pt x="189177" y="351375"/>
                    </a:lnTo>
                    <a:lnTo>
                      <a:pt x="143687" y="357505"/>
                    </a:lnTo>
                    <a:lnTo>
                      <a:pt x="134477" y="357260"/>
                    </a:lnTo>
                    <a:lnTo>
                      <a:pt x="125306" y="356528"/>
                    </a:lnTo>
                    <a:lnTo>
                      <a:pt x="116204" y="355313"/>
                    </a:lnTo>
                    <a:lnTo>
                      <a:pt x="103187" y="352755"/>
                    </a:lnTo>
                    <a:lnTo>
                      <a:pt x="99187" y="355307"/>
                    </a:lnTo>
                    <a:lnTo>
                      <a:pt x="133661" y="372123"/>
                    </a:lnTo>
                    <a:lnTo>
                      <a:pt x="143662" y="372389"/>
                    </a:lnTo>
                    <a:lnTo>
                      <a:pt x="193102" y="365726"/>
                    </a:lnTo>
                    <a:lnTo>
                      <a:pt x="237565" y="346931"/>
                    </a:lnTo>
                    <a:lnTo>
                      <a:pt x="275262" y="317792"/>
                    </a:lnTo>
                    <a:lnTo>
                      <a:pt x="304406" y="280097"/>
                    </a:lnTo>
                    <a:lnTo>
                      <a:pt x="323209" y="235635"/>
                    </a:lnTo>
                    <a:lnTo>
                      <a:pt x="329882" y="186194"/>
                    </a:lnTo>
                    <a:lnTo>
                      <a:pt x="323219" y="136754"/>
                    </a:lnTo>
                    <a:lnTo>
                      <a:pt x="304424" y="92292"/>
                    </a:lnTo>
                    <a:lnTo>
                      <a:pt x="275285" y="54597"/>
                    </a:lnTo>
                    <a:lnTo>
                      <a:pt x="237590" y="25457"/>
                    </a:lnTo>
                    <a:lnTo>
                      <a:pt x="193128" y="6662"/>
                    </a:lnTo>
                    <a:lnTo>
                      <a:pt x="143687" y="0"/>
                    </a:lnTo>
                    <a:close/>
                  </a:path>
                </a:pathLst>
              </a:custGeom>
              <a:solidFill>
                <a:srgbClr val="502D8F"/>
              </a:solidFill>
            </p:spPr>
            <p:txBody>
              <a:bodyPr wrap="square" lIns="0" tIns="0" rIns="0" bIns="0" rtlCol="0"/>
              <a:lstStyle/>
              <a:p>
                <a:endParaRPr/>
              </a:p>
            </p:txBody>
          </p:sp>
          <p:pic>
            <p:nvPicPr>
              <p:cNvPr id="94" name="object 233">
                <a:extLst>
                  <a:ext uri="{FF2B5EF4-FFF2-40B4-BE49-F238E27FC236}">
                    <a16:creationId xmlns:a16="http://schemas.microsoft.com/office/drawing/2014/main" id="{C3B41605-4CFE-BD3F-990B-BC427042D1A0}"/>
                  </a:ext>
                </a:extLst>
              </p:cNvPr>
              <p:cNvPicPr/>
              <p:nvPr/>
            </p:nvPicPr>
            <p:blipFill>
              <a:blip r:embed="rId31" cstate="print"/>
              <a:stretch>
                <a:fillRect/>
              </a:stretch>
            </p:blipFill>
            <p:spPr>
              <a:xfrm>
                <a:off x="4748606" y="4212005"/>
                <a:ext cx="432015" cy="432003"/>
              </a:xfrm>
              <a:prstGeom prst="rect">
                <a:avLst/>
              </a:prstGeom>
            </p:spPr>
          </p:pic>
          <p:sp>
            <p:nvSpPr>
              <p:cNvPr id="95" name="object 234">
                <a:extLst>
                  <a:ext uri="{FF2B5EF4-FFF2-40B4-BE49-F238E27FC236}">
                    <a16:creationId xmlns:a16="http://schemas.microsoft.com/office/drawing/2014/main" id="{49B7D46A-F514-29C4-54BA-C7ECCEAF9A37}"/>
                  </a:ext>
                </a:extLst>
              </p:cNvPr>
              <p:cNvSpPr/>
              <p:nvPr/>
            </p:nvSpPr>
            <p:spPr>
              <a:xfrm>
                <a:off x="4693873" y="4268085"/>
                <a:ext cx="279400" cy="167640"/>
              </a:xfrm>
              <a:custGeom>
                <a:avLst/>
                <a:gdLst/>
                <a:ahLst/>
                <a:cxnLst/>
                <a:rect l="l" t="t" r="r" b="b"/>
                <a:pathLst>
                  <a:path w="279400" h="167639">
                    <a:moveTo>
                      <a:pt x="8674" y="0"/>
                    </a:moveTo>
                    <a:lnTo>
                      <a:pt x="4114" y="1219"/>
                    </a:lnTo>
                    <a:lnTo>
                      <a:pt x="0" y="8343"/>
                    </a:lnTo>
                    <a:lnTo>
                      <a:pt x="1219" y="12903"/>
                    </a:lnTo>
                    <a:lnTo>
                      <a:pt x="268173" y="167030"/>
                    </a:lnTo>
                    <a:lnTo>
                      <a:pt x="269481" y="167360"/>
                    </a:lnTo>
                    <a:lnTo>
                      <a:pt x="270725" y="167360"/>
                    </a:lnTo>
                    <a:lnTo>
                      <a:pt x="273291" y="167360"/>
                    </a:lnTo>
                    <a:lnTo>
                      <a:pt x="275793" y="166027"/>
                    </a:lnTo>
                    <a:lnTo>
                      <a:pt x="279234" y="160070"/>
                    </a:lnTo>
                    <a:lnTo>
                      <a:pt x="278015" y="155511"/>
                    </a:lnTo>
                    <a:lnTo>
                      <a:pt x="8674" y="0"/>
                    </a:lnTo>
                    <a:close/>
                  </a:path>
                </a:pathLst>
              </a:custGeom>
              <a:solidFill>
                <a:srgbClr val="502D8F"/>
              </a:solidFill>
            </p:spPr>
            <p:txBody>
              <a:bodyPr wrap="square" lIns="0" tIns="0" rIns="0" bIns="0" rtlCol="0"/>
              <a:lstStyle/>
              <a:p>
                <a:endParaRPr/>
              </a:p>
            </p:txBody>
          </p:sp>
          <p:pic>
            <p:nvPicPr>
              <p:cNvPr id="96" name="object 235">
                <a:extLst>
                  <a:ext uri="{FF2B5EF4-FFF2-40B4-BE49-F238E27FC236}">
                    <a16:creationId xmlns:a16="http://schemas.microsoft.com/office/drawing/2014/main" id="{E255E963-196E-5B3C-B55D-ACAFFC5F3EC6}"/>
                  </a:ext>
                </a:extLst>
              </p:cNvPr>
              <p:cNvPicPr/>
              <p:nvPr/>
            </p:nvPicPr>
            <p:blipFill>
              <a:blip r:embed="rId32" cstate="print"/>
              <a:stretch>
                <a:fillRect/>
              </a:stretch>
            </p:blipFill>
            <p:spPr>
              <a:xfrm>
                <a:off x="4683390" y="4240764"/>
                <a:ext cx="120459" cy="110617"/>
              </a:xfrm>
              <a:prstGeom prst="rect">
                <a:avLst/>
              </a:prstGeom>
            </p:spPr>
          </p:pic>
        </p:grpSp>
        <p:grpSp>
          <p:nvGrpSpPr>
            <p:cNvPr id="69" name="object 236">
              <a:extLst>
                <a:ext uri="{FF2B5EF4-FFF2-40B4-BE49-F238E27FC236}">
                  <a16:creationId xmlns:a16="http://schemas.microsoft.com/office/drawing/2014/main" id="{582E3952-184C-9031-7A3B-1107CF4A083D}"/>
                </a:ext>
              </a:extLst>
            </p:cNvPr>
            <p:cNvGrpSpPr/>
            <p:nvPr/>
          </p:nvGrpSpPr>
          <p:grpSpPr>
            <a:xfrm>
              <a:off x="5718986" y="4259611"/>
              <a:ext cx="586105" cy="337185"/>
              <a:chOff x="5718986" y="4259611"/>
              <a:chExt cx="586105" cy="337185"/>
            </a:xfrm>
          </p:grpSpPr>
          <p:sp>
            <p:nvSpPr>
              <p:cNvPr id="90" name="object 237">
                <a:extLst>
                  <a:ext uri="{FF2B5EF4-FFF2-40B4-BE49-F238E27FC236}">
                    <a16:creationId xmlns:a16="http://schemas.microsoft.com/office/drawing/2014/main" id="{C87EA823-5837-7D81-C73E-9DB8954A36D4}"/>
                  </a:ext>
                </a:extLst>
              </p:cNvPr>
              <p:cNvSpPr/>
              <p:nvPr/>
            </p:nvSpPr>
            <p:spPr>
              <a:xfrm>
                <a:off x="5718986" y="4314221"/>
                <a:ext cx="337185" cy="227965"/>
              </a:xfrm>
              <a:custGeom>
                <a:avLst/>
                <a:gdLst/>
                <a:ahLst/>
                <a:cxnLst/>
                <a:rect l="l" t="t" r="r" b="b"/>
                <a:pathLst>
                  <a:path w="337185" h="227964">
                    <a:moveTo>
                      <a:pt x="65620" y="140106"/>
                    </a:moveTo>
                    <a:lnTo>
                      <a:pt x="54749" y="140106"/>
                    </a:lnTo>
                    <a:lnTo>
                      <a:pt x="54749" y="225158"/>
                    </a:lnTo>
                    <a:lnTo>
                      <a:pt x="57150" y="227583"/>
                    </a:lnTo>
                    <a:lnTo>
                      <a:pt x="152374" y="227583"/>
                    </a:lnTo>
                    <a:lnTo>
                      <a:pt x="153784" y="226999"/>
                    </a:lnTo>
                    <a:lnTo>
                      <a:pt x="155816" y="224878"/>
                    </a:lnTo>
                    <a:lnTo>
                      <a:pt x="156340" y="223494"/>
                    </a:lnTo>
                    <a:lnTo>
                      <a:pt x="156159" y="218490"/>
                    </a:lnTo>
                    <a:lnTo>
                      <a:pt x="155676" y="217284"/>
                    </a:lnTo>
                    <a:lnTo>
                      <a:pt x="155266" y="216827"/>
                    </a:lnTo>
                    <a:lnTo>
                      <a:pt x="65620" y="216827"/>
                    </a:lnTo>
                    <a:lnTo>
                      <a:pt x="65620" y="140106"/>
                    </a:lnTo>
                    <a:close/>
                  </a:path>
                  <a:path w="337185" h="227964">
                    <a:moveTo>
                      <a:pt x="194160" y="173621"/>
                    </a:moveTo>
                    <a:lnTo>
                      <a:pt x="168516" y="173621"/>
                    </a:lnTo>
                    <a:lnTo>
                      <a:pt x="168668" y="173659"/>
                    </a:lnTo>
                    <a:lnTo>
                      <a:pt x="168808" y="173659"/>
                    </a:lnTo>
                    <a:lnTo>
                      <a:pt x="177974" y="175537"/>
                    </a:lnTo>
                    <a:lnTo>
                      <a:pt x="185363" y="180000"/>
                    </a:lnTo>
                    <a:lnTo>
                      <a:pt x="190295" y="186409"/>
                    </a:lnTo>
                    <a:lnTo>
                      <a:pt x="192100" y="194208"/>
                    </a:lnTo>
                    <a:lnTo>
                      <a:pt x="192100" y="201333"/>
                    </a:lnTo>
                    <a:lnTo>
                      <a:pt x="188683" y="208787"/>
                    </a:lnTo>
                    <a:lnTo>
                      <a:pt x="181114" y="217284"/>
                    </a:lnTo>
                    <a:lnTo>
                      <a:pt x="180632" y="218490"/>
                    </a:lnTo>
                    <a:lnTo>
                      <a:pt x="180555" y="222059"/>
                    </a:lnTo>
                    <a:lnTo>
                      <a:pt x="180492" y="223494"/>
                    </a:lnTo>
                    <a:lnTo>
                      <a:pt x="181063" y="224904"/>
                    </a:lnTo>
                    <a:lnTo>
                      <a:pt x="183095" y="226999"/>
                    </a:lnTo>
                    <a:lnTo>
                      <a:pt x="184480" y="227583"/>
                    </a:lnTo>
                    <a:lnTo>
                      <a:pt x="279946" y="227583"/>
                    </a:lnTo>
                    <a:lnTo>
                      <a:pt x="282371" y="225158"/>
                    </a:lnTo>
                    <a:lnTo>
                      <a:pt x="282397" y="216801"/>
                    </a:lnTo>
                    <a:lnTo>
                      <a:pt x="195262" y="216801"/>
                    </a:lnTo>
                    <a:lnTo>
                      <a:pt x="200342" y="209346"/>
                    </a:lnTo>
                    <a:lnTo>
                      <a:pt x="202882" y="201752"/>
                    </a:lnTo>
                    <a:lnTo>
                      <a:pt x="202996" y="194208"/>
                    </a:lnTo>
                    <a:lnTo>
                      <a:pt x="200471" y="182467"/>
                    </a:lnTo>
                    <a:lnTo>
                      <a:pt x="194160" y="173621"/>
                    </a:lnTo>
                    <a:close/>
                  </a:path>
                  <a:path w="337185" h="227964">
                    <a:moveTo>
                      <a:pt x="169481" y="162788"/>
                    </a:moveTo>
                    <a:lnTo>
                      <a:pt x="167474" y="162788"/>
                    </a:lnTo>
                    <a:lnTo>
                      <a:pt x="166776" y="162902"/>
                    </a:lnTo>
                    <a:lnTo>
                      <a:pt x="153842" y="165941"/>
                    </a:lnTo>
                    <a:lnTo>
                      <a:pt x="143432" y="172769"/>
                    </a:lnTo>
                    <a:lnTo>
                      <a:pt x="136495" y="182499"/>
                    </a:lnTo>
                    <a:lnTo>
                      <a:pt x="133993" y="194208"/>
                    </a:lnTo>
                    <a:lnTo>
                      <a:pt x="133993" y="201752"/>
                    </a:lnTo>
                    <a:lnTo>
                      <a:pt x="136613" y="209397"/>
                    </a:lnTo>
                    <a:lnTo>
                      <a:pt x="141617" y="216827"/>
                    </a:lnTo>
                    <a:lnTo>
                      <a:pt x="155266" y="216827"/>
                    </a:lnTo>
                    <a:lnTo>
                      <a:pt x="148196" y="208953"/>
                    </a:lnTo>
                    <a:lnTo>
                      <a:pt x="144708" y="201333"/>
                    </a:lnTo>
                    <a:lnTo>
                      <a:pt x="167957" y="173659"/>
                    </a:lnTo>
                    <a:lnTo>
                      <a:pt x="168097" y="173659"/>
                    </a:lnTo>
                    <a:lnTo>
                      <a:pt x="168236" y="173621"/>
                    </a:lnTo>
                    <a:lnTo>
                      <a:pt x="194160" y="173621"/>
                    </a:lnTo>
                    <a:lnTo>
                      <a:pt x="193532" y="172740"/>
                    </a:lnTo>
                    <a:lnTo>
                      <a:pt x="183130" y="165920"/>
                    </a:lnTo>
                    <a:lnTo>
                      <a:pt x="169849" y="162813"/>
                    </a:lnTo>
                    <a:lnTo>
                      <a:pt x="169481" y="162788"/>
                    </a:lnTo>
                    <a:close/>
                  </a:path>
                  <a:path w="337185" h="227964">
                    <a:moveTo>
                      <a:pt x="275793" y="125310"/>
                    </a:moveTo>
                    <a:lnTo>
                      <a:pt x="274358" y="125818"/>
                    </a:lnTo>
                    <a:lnTo>
                      <a:pt x="272173" y="127850"/>
                    </a:lnTo>
                    <a:lnTo>
                      <a:pt x="271613" y="129158"/>
                    </a:lnTo>
                    <a:lnTo>
                      <a:pt x="271564" y="216801"/>
                    </a:lnTo>
                    <a:lnTo>
                      <a:pt x="282397" y="216801"/>
                    </a:lnTo>
                    <a:lnTo>
                      <a:pt x="282397" y="140677"/>
                    </a:lnTo>
                    <a:lnTo>
                      <a:pt x="324650" y="140677"/>
                    </a:lnTo>
                    <a:lnTo>
                      <a:pt x="326210" y="139619"/>
                    </a:lnTo>
                    <a:lnTo>
                      <a:pt x="327430" y="137845"/>
                    </a:lnTo>
                    <a:lnTo>
                      <a:pt x="304571" y="137845"/>
                    </a:lnTo>
                    <a:lnTo>
                      <a:pt x="297421" y="137629"/>
                    </a:lnTo>
                    <a:lnTo>
                      <a:pt x="290106" y="133984"/>
                    </a:lnTo>
                    <a:lnTo>
                      <a:pt x="281889" y="126136"/>
                    </a:lnTo>
                    <a:lnTo>
                      <a:pt x="280682" y="125628"/>
                    </a:lnTo>
                    <a:lnTo>
                      <a:pt x="275793" y="125310"/>
                    </a:lnTo>
                    <a:close/>
                  </a:path>
                  <a:path w="337185" h="227964">
                    <a:moveTo>
                      <a:pt x="324650" y="140677"/>
                    </a:moveTo>
                    <a:lnTo>
                      <a:pt x="282397" y="140677"/>
                    </a:lnTo>
                    <a:lnTo>
                      <a:pt x="289588" y="145772"/>
                    </a:lnTo>
                    <a:lnTo>
                      <a:pt x="296862" y="148437"/>
                    </a:lnTo>
                    <a:lnTo>
                      <a:pt x="304279" y="148666"/>
                    </a:lnTo>
                    <a:lnTo>
                      <a:pt x="316155" y="146443"/>
                    </a:lnTo>
                    <a:lnTo>
                      <a:pt x="324650" y="140677"/>
                    </a:lnTo>
                    <a:close/>
                  </a:path>
                  <a:path w="337185" h="227964">
                    <a:moveTo>
                      <a:pt x="10909" y="113626"/>
                    </a:moveTo>
                    <a:lnTo>
                      <a:pt x="5372" y="113626"/>
                    </a:lnTo>
                    <a:lnTo>
                      <a:pt x="0" y="114553"/>
                    </a:lnTo>
                    <a:lnTo>
                      <a:pt x="31521" y="148297"/>
                    </a:lnTo>
                    <a:lnTo>
                      <a:pt x="39395" y="148247"/>
                    </a:lnTo>
                    <a:lnTo>
                      <a:pt x="47129" y="145478"/>
                    </a:lnTo>
                    <a:lnTo>
                      <a:pt x="54749" y="140106"/>
                    </a:lnTo>
                    <a:lnTo>
                      <a:pt x="65620" y="140106"/>
                    </a:lnTo>
                    <a:lnTo>
                      <a:pt x="65620" y="137540"/>
                    </a:lnTo>
                    <a:lnTo>
                      <a:pt x="31572" y="137540"/>
                    </a:lnTo>
                    <a:lnTo>
                      <a:pt x="23780" y="135748"/>
                    </a:lnTo>
                    <a:lnTo>
                      <a:pt x="17330" y="130829"/>
                    </a:lnTo>
                    <a:lnTo>
                      <a:pt x="12835" y="123471"/>
                    </a:lnTo>
                    <a:lnTo>
                      <a:pt x="11032" y="114947"/>
                    </a:lnTo>
                    <a:lnTo>
                      <a:pt x="10909" y="114249"/>
                    </a:lnTo>
                    <a:lnTo>
                      <a:pt x="10909" y="113626"/>
                    </a:lnTo>
                    <a:close/>
                  </a:path>
                  <a:path w="337185" h="227964">
                    <a:moveTo>
                      <a:pt x="327818" y="90182"/>
                    </a:moveTo>
                    <a:lnTo>
                      <a:pt x="298691" y="90182"/>
                    </a:lnTo>
                    <a:lnTo>
                      <a:pt x="306095" y="90474"/>
                    </a:lnTo>
                    <a:lnTo>
                      <a:pt x="313825" y="92527"/>
                    </a:lnTo>
                    <a:lnTo>
                      <a:pt x="320103" y="97677"/>
                    </a:lnTo>
                    <a:lnTo>
                      <a:pt x="324333" y="105210"/>
                    </a:lnTo>
                    <a:lnTo>
                      <a:pt x="325696" y="113118"/>
                    </a:lnTo>
                    <a:lnTo>
                      <a:pt x="325813" y="115519"/>
                    </a:lnTo>
                    <a:lnTo>
                      <a:pt x="323730" y="124336"/>
                    </a:lnTo>
                    <a:lnTo>
                      <a:pt x="319046" y="131613"/>
                    </a:lnTo>
                    <a:lnTo>
                      <a:pt x="312451" y="136351"/>
                    </a:lnTo>
                    <a:lnTo>
                      <a:pt x="304571" y="137845"/>
                    </a:lnTo>
                    <a:lnTo>
                      <a:pt x="327430" y="137845"/>
                    </a:lnTo>
                    <a:lnTo>
                      <a:pt x="333406" y="129158"/>
                    </a:lnTo>
                    <a:lnTo>
                      <a:pt x="336702" y="116027"/>
                    </a:lnTo>
                    <a:lnTo>
                      <a:pt x="336743" y="115519"/>
                    </a:lnTo>
                    <a:lnTo>
                      <a:pt x="336622" y="113118"/>
                    </a:lnTo>
                    <a:lnTo>
                      <a:pt x="334147" y="100600"/>
                    </a:lnTo>
                    <a:lnTo>
                      <a:pt x="327818" y="90182"/>
                    </a:lnTo>
                    <a:close/>
                  </a:path>
                  <a:path w="337185" h="227964">
                    <a:moveTo>
                      <a:pt x="61506" y="125704"/>
                    </a:moveTo>
                    <a:lnTo>
                      <a:pt x="57099" y="125844"/>
                    </a:lnTo>
                    <a:lnTo>
                      <a:pt x="55829" y="125907"/>
                    </a:lnTo>
                    <a:lnTo>
                      <a:pt x="54635" y="126390"/>
                    </a:lnTo>
                    <a:lnTo>
                      <a:pt x="46164" y="134010"/>
                    </a:lnTo>
                    <a:lnTo>
                      <a:pt x="38747" y="137490"/>
                    </a:lnTo>
                    <a:lnTo>
                      <a:pt x="31572" y="137540"/>
                    </a:lnTo>
                    <a:lnTo>
                      <a:pt x="65620" y="137540"/>
                    </a:lnTo>
                    <a:lnTo>
                      <a:pt x="65620" y="129666"/>
                    </a:lnTo>
                    <a:lnTo>
                      <a:pt x="65036" y="128257"/>
                    </a:lnTo>
                    <a:lnTo>
                      <a:pt x="62915" y="126212"/>
                    </a:lnTo>
                    <a:lnTo>
                      <a:pt x="61506" y="125704"/>
                    </a:lnTo>
                    <a:close/>
                  </a:path>
                  <a:path w="337185" h="227964">
                    <a:moveTo>
                      <a:pt x="39052" y="79260"/>
                    </a:moveTo>
                    <a:lnTo>
                      <a:pt x="2891" y="99694"/>
                    </a:lnTo>
                    <a:lnTo>
                      <a:pt x="0" y="113118"/>
                    </a:lnTo>
                    <a:lnTo>
                      <a:pt x="0" y="113791"/>
                    </a:lnTo>
                    <a:lnTo>
                      <a:pt x="5372" y="113626"/>
                    </a:lnTo>
                    <a:lnTo>
                      <a:pt x="10909" y="113626"/>
                    </a:lnTo>
                    <a:lnTo>
                      <a:pt x="31318" y="90106"/>
                    </a:lnTo>
                    <a:lnTo>
                      <a:pt x="65570" y="90106"/>
                    </a:lnTo>
                    <a:lnTo>
                      <a:pt x="65570" y="87388"/>
                    </a:lnTo>
                    <a:lnTo>
                      <a:pt x="54749" y="87388"/>
                    </a:lnTo>
                    <a:lnTo>
                      <a:pt x="46989" y="81965"/>
                    </a:lnTo>
                    <a:lnTo>
                      <a:pt x="39052" y="79260"/>
                    </a:lnTo>
                    <a:close/>
                  </a:path>
                  <a:path w="337185" h="227964">
                    <a:moveTo>
                      <a:pt x="65570" y="90106"/>
                    </a:moveTo>
                    <a:lnTo>
                      <a:pt x="31318" y="90106"/>
                    </a:lnTo>
                    <a:lnTo>
                      <a:pt x="38633" y="90182"/>
                    </a:lnTo>
                    <a:lnTo>
                      <a:pt x="45948" y="93433"/>
                    </a:lnTo>
                    <a:lnTo>
                      <a:pt x="54470" y="100977"/>
                    </a:lnTo>
                    <a:lnTo>
                      <a:pt x="55689" y="101447"/>
                    </a:lnTo>
                    <a:lnTo>
                      <a:pt x="60058" y="101536"/>
                    </a:lnTo>
                    <a:lnTo>
                      <a:pt x="61785" y="101536"/>
                    </a:lnTo>
                    <a:lnTo>
                      <a:pt x="62941" y="100977"/>
                    </a:lnTo>
                    <a:lnTo>
                      <a:pt x="64973" y="98996"/>
                    </a:lnTo>
                    <a:lnTo>
                      <a:pt x="65531" y="97677"/>
                    </a:lnTo>
                    <a:lnTo>
                      <a:pt x="65570" y="90106"/>
                    </a:lnTo>
                    <a:close/>
                  </a:path>
                  <a:path w="337185" h="227964">
                    <a:moveTo>
                      <a:pt x="282371" y="10807"/>
                    </a:moveTo>
                    <a:lnTo>
                      <a:pt x="271589" y="10807"/>
                    </a:lnTo>
                    <a:lnTo>
                      <a:pt x="271589" y="98742"/>
                    </a:lnTo>
                    <a:lnTo>
                      <a:pt x="274015" y="101168"/>
                    </a:lnTo>
                    <a:lnTo>
                      <a:pt x="281470" y="101168"/>
                    </a:lnTo>
                    <a:lnTo>
                      <a:pt x="282714" y="100749"/>
                    </a:lnTo>
                    <a:lnTo>
                      <a:pt x="283667" y="99923"/>
                    </a:lnTo>
                    <a:lnTo>
                      <a:pt x="291439" y="93433"/>
                    </a:lnTo>
                    <a:lnTo>
                      <a:pt x="298691" y="90182"/>
                    </a:lnTo>
                    <a:lnTo>
                      <a:pt x="327818" y="90182"/>
                    </a:lnTo>
                    <a:lnTo>
                      <a:pt x="327667" y="89935"/>
                    </a:lnTo>
                    <a:lnTo>
                      <a:pt x="324428" y="87452"/>
                    </a:lnTo>
                    <a:lnTo>
                      <a:pt x="282371" y="87452"/>
                    </a:lnTo>
                    <a:lnTo>
                      <a:pt x="282371" y="10807"/>
                    </a:lnTo>
                    <a:close/>
                  </a:path>
                  <a:path w="337185" h="227964">
                    <a:moveTo>
                      <a:pt x="306463" y="79705"/>
                    </a:moveTo>
                    <a:lnTo>
                      <a:pt x="300515" y="80079"/>
                    </a:lnTo>
                    <a:lnTo>
                      <a:pt x="294479" y="81492"/>
                    </a:lnTo>
                    <a:lnTo>
                      <a:pt x="288413" y="83948"/>
                    </a:lnTo>
                    <a:lnTo>
                      <a:pt x="282371" y="87452"/>
                    </a:lnTo>
                    <a:lnTo>
                      <a:pt x="324428" y="87452"/>
                    </a:lnTo>
                    <a:lnTo>
                      <a:pt x="318152" y="82641"/>
                    </a:lnTo>
                    <a:lnTo>
                      <a:pt x="306463" y="79705"/>
                    </a:lnTo>
                    <a:close/>
                  </a:path>
                  <a:path w="337185" h="227964">
                    <a:moveTo>
                      <a:pt x="152311" y="0"/>
                    </a:moveTo>
                    <a:lnTo>
                      <a:pt x="57188" y="0"/>
                    </a:lnTo>
                    <a:lnTo>
                      <a:pt x="54749" y="2400"/>
                    </a:lnTo>
                    <a:lnTo>
                      <a:pt x="54749" y="87388"/>
                    </a:lnTo>
                    <a:lnTo>
                      <a:pt x="65570" y="87388"/>
                    </a:lnTo>
                    <a:lnTo>
                      <a:pt x="65570" y="10807"/>
                    </a:lnTo>
                    <a:lnTo>
                      <a:pt x="156030" y="10807"/>
                    </a:lnTo>
                    <a:lnTo>
                      <a:pt x="156130" y="9372"/>
                    </a:lnTo>
                    <a:lnTo>
                      <a:pt x="156235" y="5537"/>
                    </a:lnTo>
                    <a:lnTo>
                      <a:pt x="156298" y="4089"/>
                    </a:lnTo>
                    <a:lnTo>
                      <a:pt x="155727" y="2679"/>
                    </a:lnTo>
                    <a:lnTo>
                      <a:pt x="153695" y="596"/>
                    </a:lnTo>
                    <a:lnTo>
                      <a:pt x="152311" y="0"/>
                    </a:lnTo>
                    <a:close/>
                  </a:path>
                  <a:path w="337185" h="227964">
                    <a:moveTo>
                      <a:pt x="156030" y="10807"/>
                    </a:moveTo>
                    <a:lnTo>
                      <a:pt x="142570" y="10807"/>
                    </a:lnTo>
                    <a:lnTo>
                      <a:pt x="138805" y="16809"/>
                    </a:lnTo>
                    <a:lnTo>
                      <a:pt x="136086" y="22877"/>
                    </a:lnTo>
                    <a:lnTo>
                      <a:pt x="134444" y="28961"/>
                    </a:lnTo>
                    <a:lnTo>
                      <a:pt x="133908" y="35013"/>
                    </a:lnTo>
                    <a:lnTo>
                      <a:pt x="136510" y="46860"/>
                    </a:lnTo>
                    <a:lnTo>
                      <a:pt x="168554" y="66382"/>
                    </a:lnTo>
                    <a:lnTo>
                      <a:pt x="169087" y="66332"/>
                    </a:lnTo>
                    <a:lnTo>
                      <a:pt x="169456" y="66332"/>
                    </a:lnTo>
                    <a:lnTo>
                      <a:pt x="169824" y="66293"/>
                    </a:lnTo>
                    <a:lnTo>
                      <a:pt x="183053" y="63173"/>
                    </a:lnTo>
                    <a:lnTo>
                      <a:pt x="193447" y="56329"/>
                    </a:lnTo>
                    <a:lnTo>
                      <a:pt x="194029" y="55511"/>
                    </a:lnTo>
                    <a:lnTo>
                      <a:pt x="168325" y="55511"/>
                    </a:lnTo>
                    <a:lnTo>
                      <a:pt x="168046" y="55486"/>
                    </a:lnTo>
                    <a:lnTo>
                      <a:pt x="158882" y="53642"/>
                    </a:lnTo>
                    <a:lnTo>
                      <a:pt x="151472" y="49204"/>
                    </a:lnTo>
                    <a:lnTo>
                      <a:pt x="146511" y="42782"/>
                    </a:lnTo>
                    <a:lnTo>
                      <a:pt x="144697" y="35013"/>
                    </a:lnTo>
                    <a:lnTo>
                      <a:pt x="144742" y="27812"/>
                    </a:lnTo>
                    <a:lnTo>
                      <a:pt x="148158" y="20243"/>
                    </a:lnTo>
                    <a:lnTo>
                      <a:pt x="155613" y="11861"/>
                    </a:lnTo>
                    <a:lnTo>
                      <a:pt x="156030" y="10807"/>
                    </a:lnTo>
                    <a:close/>
                  </a:path>
                  <a:path w="337185" h="227964">
                    <a:moveTo>
                      <a:pt x="279971" y="50"/>
                    </a:moveTo>
                    <a:lnTo>
                      <a:pt x="184365" y="50"/>
                    </a:lnTo>
                    <a:lnTo>
                      <a:pt x="182956" y="647"/>
                    </a:lnTo>
                    <a:lnTo>
                      <a:pt x="180924" y="2730"/>
                    </a:lnTo>
                    <a:lnTo>
                      <a:pt x="180378" y="4089"/>
                    </a:lnTo>
                    <a:lnTo>
                      <a:pt x="180396" y="5537"/>
                    </a:lnTo>
                    <a:lnTo>
                      <a:pt x="180517" y="9372"/>
                    </a:lnTo>
                    <a:lnTo>
                      <a:pt x="180581" y="10617"/>
                    </a:lnTo>
                    <a:lnTo>
                      <a:pt x="181063" y="11861"/>
                    </a:lnTo>
                    <a:lnTo>
                      <a:pt x="188569" y="20154"/>
                    </a:lnTo>
                    <a:lnTo>
                      <a:pt x="192100" y="27812"/>
                    </a:lnTo>
                    <a:lnTo>
                      <a:pt x="168325" y="55511"/>
                    </a:lnTo>
                    <a:lnTo>
                      <a:pt x="194029" y="55511"/>
                    </a:lnTo>
                    <a:lnTo>
                      <a:pt x="200378" y="46577"/>
                    </a:lnTo>
                    <a:lnTo>
                      <a:pt x="202882" y="34810"/>
                    </a:lnTo>
                    <a:lnTo>
                      <a:pt x="202316" y="28804"/>
                    </a:lnTo>
                    <a:lnTo>
                      <a:pt x="200667" y="22766"/>
                    </a:lnTo>
                    <a:lnTo>
                      <a:pt x="197955" y="16749"/>
                    </a:lnTo>
                    <a:lnTo>
                      <a:pt x="194195" y="10807"/>
                    </a:lnTo>
                    <a:lnTo>
                      <a:pt x="282371" y="10807"/>
                    </a:lnTo>
                    <a:lnTo>
                      <a:pt x="282296" y="2400"/>
                    </a:lnTo>
                    <a:lnTo>
                      <a:pt x="279971" y="50"/>
                    </a:lnTo>
                    <a:close/>
                  </a:path>
                </a:pathLst>
              </a:custGeom>
              <a:solidFill>
                <a:srgbClr val="A573FC"/>
              </a:solidFill>
            </p:spPr>
            <p:txBody>
              <a:bodyPr wrap="square" lIns="0" tIns="0" rIns="0" bIns="0" rtlCol="0"/>
              <a:lstStyle/>
              <a:p>
                <a:endParaRPr/>
              </a:p>
            </p:txBody>
          </p:sp>
          <p:sp>
            <p:nvSpPr>
              <p:cNvPr id="91" name="object 238">
                <a:extLst>
                  <a:ext uri="{FF2B5EF4-FFF2-40B4-BE49-F238E27FC236}">
                    <a16:creationId xmlns:a16="http://schemas.microsoft.com/office/drawing/2014/main" id="{83B1D91B-0D75-5C9A-C10F-3989FE848429}"/>
                  </a:ext>
                </a:extLst>
              </p:cNvPr>
              <p:cNvSpPr/>
              <p:nvPr/>
            </p:nvSpPr>
            <p:spPr>
              <a:xfrm>
                <a:off x="6077313" y="4259611"/>
                <a:ext cx="227965" cy="337185"/>
              </a:xfrm>
              <a:custGeom>
                <a:avLst/>
                <a:gdLst/>
                <a:ahLst/>
                <a:cxnLst/>
                <a:rect l="l" t="t" r="r" b="b"/>
                <a:pathLst>
                  <a:path w="227964" h="337185">
                    <a:moveTo>
                      <a:pt x="4064" y="180403"/>
                    </a:moveTo>
                    <a:lnTo>
                      <a:pt x="2679" y="181076"/>
                    </a:lnTo>
                    <a:lnTo>
                      <a:pt x="596" y="183121"/>
                    </a:lnTo>
                    <a:lnTo>
                      <a:pt x="33" y="184416"/>
                    </a:lnTo>
                    <a:lnTo>
                      <a:pt x="0" y="279628"/>
                    </a:lnTo>
                    <a:lnTo>
                      <a:pt x="2400" y="282054"/>
                    </a:lnTo>
                    <a:lnTo>
                      <a:pt x="87401" y="282054"/>
                    </a:lnTo>
                    <a:lnTo>
                      <a:pt x="81978" y="289826"/>
                    </a:lnTo>
                    <a:lnTo>
                      <a:pt x="79365" y="297395"/>
                    </a:lnTo>
                    <a:lnTo>
                      <a:pt x="79286" y="305612"/>
                    </a:lnTo>
                    <a:lnTo>
                      <a:pt x="81960" y="317428"/>
                    </a:lnTo>
                    <a:lnTo>
                      <a:pt x="89096" y="327161"/>
                    </a:lnTo>
                    <a:lnTo>
                      <a:pt x="99710" y="333898"/>
                    </a:lnTo>
                    <a:lnTo>
                      <a:pt x="112814" y="336727"/>
                    </a:lnTo>
                    <a:lnTo>
                      <a:pt x="113652" y="336778"/>
                    </a:lnTo>
                    <a:lnTo>
                      <a:pt x="113880" y="336778"/>
                    </a:lnTo>
                    <a:lnTo>
                      <a:pt x="113715" y="331419"/>
                    </a:lnTo>
                    <a:lnTo>
                      <a:pt x="131884" y="331419"/>
                    </a:lnTo>
                    <a:lnTo>
                      <a:pt x="138974" y="326737"/>
                    </a:lnTo>
                    <a:lnTo>
                      <a:pt x="139562" y="325907"/>
                    </a:lnTo>
                    <a:lnTo>
                      <a:pt x="113995" y="325907"/>
                    </a:lnTo>
                    <a:lnTo>
                      <a:pt x="113855" y="325881"/>
                    </a:lnTo>
                    <a:lnTo>
                      <a:pt x="113538" y="325881"/>
                    </a:lnTo>
                    <a:lnTo>
                      <a:pt x="104386" y="324078"/>
                    </a:lnTo>
                    <a:lnTo>
                      <a:pt x="96964" y="319666"/>
                    </a:lnTo>
                    <a:lnTo>
                      <a:pt x="91971" y="313257"/>
                    </a:lnTo>
                    <a:lnTo>
                      <a:pt x="90142" y="305612"/>
                    </a:lnTo>
                    <a:lnTo>
                      <a:pt x="90206" y="298043"/>
                    </a:lnTo>
                    <a:lnTo>
                      <a:pt x="93433" y="290868"/>
                    </a:lnTo>
                    <a:lnTo>
                      <a:pt x="100126" y="283273"/>
                    </a:lnTo>
                    <a:lnTo>
                      <a:pt x="100977" y="282333"/>
                    </a:lnTo>
                    <a:lnTo>
                      <a:pt x="101460" y="281101"/>
                    </a:lnTo>
                    <a:lnTo>
                      <a:pt x="101574" y="275247"/>
                    </a:lnTo>
                    <a:lnTo>
                      <a:pt x="101003" y="273862"/>
                    </a:lnTo>
                    <a:lnTo>
                      <a:pt x="98971" y="271805"/>
                    </a:lnTo>
                    <a:lnTo>
                      <a:pt x="97561" y="271208"/>
                    </a:lnTo>
                    <a:lnTo>
                      <a:pt x="10795" y="271208"/>
                    </a:lnTo>
                    <a:lnTo>
                      <a:pt x="10795" y="194208"/>
                    </a:lnTo>
                    <a:lnTo>
                      <a:pt x="55186" y="194208"/>
                    </a:lnTo>
                    <a:lnTo>
                      <a:pt x="56541" y="193227"/>
                    </a:lnTo>
                    <a:lnTo>
                      <a:pt x="57250" y="192125"/>
                    </a:lnTo>
                    <a:lnTo>
                      <a:pt x="27901" y="192125"/>
                    </a:lnTo>
                    <a:lnTo>
                      <a:pt x="20281" y="188620"/>
                    </a:lnTo>
                    <a:lnTo>
                      <a:pt x="11887" y="181190"/>
                    </a:lnTo>
                    <a:lnTo>
                      <a:pt x="10680" y="180708"/>
                    </a:lnTo>
                    <a:lnTo>
                      <a:pt x="5562" y="180568"/>
                    </a:lnTo>
                    <a:lnTo>
                      <a:pt x="4064" y="180403"/>
                    </a:lnTo>
                    <a:close/>
                  </a:path>
                  <a:path w="227964" h="337185">
                    <a:moveTo>
                      <a:pt x="131884" y="331419"/>
                    </a:moveTo>
                    <a:lnTo>
                      <a:pt x="113715" y="331419"/>
                    </a:lnTo>
                    <a:lnTo>
                      <a:pt x="114642" y="336778"/>
                    </a:lnTo>
                    <a:lnTo>
                      <a:pt x="114985" y="336778"/>
                    </a:lnTo>
                    <a:lnTo>
                      <a:pt x="115398" y="336727"/>
                    </a:lnTo>
                    <a:lnTo>
                      <a:pt x="128553" y="333618"/>
                    </a:lnTo>
                    <a:lnTo>
                      <a:pt x="131884" y="331419"/>
                    </a:lnTo>
                    <a:close/>
                  </a:path>
                  <a:path w="227964" h="337185">
                    <a:moveTo>
                      <a:pt x="227711" y="195224"/>
                    </a:moveTo>
                    <a:lnTo>
                      <a:pt x="216865" y="195224"/>
                    </a:lnTo>
                    <a:lnTo>
                      <a:pt x="216865" y="271183"/>
                    </a:lnTo>
                    <a:lnTo>
                      <a:pt x="129667" y="271183"/>
                    </a:lnTo>
                    <a:lnTo>
                      <a:pt x="128257" y="271779"/>
                    </a:lnTo>
                    <a:lnTo>
                      <a:pt x="126225" y="273900"/>
                    </a:lnTo>
                    <a:lnTo>
                      <a:pt x="125691" y="275335"/>
                    </a:lnTo>
                    <a:lnTo>
                      <a:pt x="125855" y="279628"/>
                    </a:lnTo>
                    <a:lnTo>
                      <a:pt x="125954" y="281101"/>
                    </a:lnTo>
                    <a:lnTo>
                      <a:pt x="126390" y="282168"/>
                    </a:lnTo>
                    <a:lnTo>
                      <a:pt x="134048" y="290614"/>
                    </a:lnTo>
                    <a:lnTo>
                      <a:pt x="137331" y="297700"/>
                    </a:lnTo>
                    <a:lnTo>
                      <a:pt x="114363" y="325881"/>
                    </a:lnTo>
                    <a:lnTo>
                      <a:pt x="114109" y="325881"/>
                    </a:lnTo>
                    <a:lnTo>
                      <a:pt x="139562" y="325907"/>
                    </a:lnTo>
                    <a:lnTo>
                      <a:pt x="145906" y="316949"/>
                    </a:lnTo>
                    <a:lnTo>
                      <a:pt x="148290" y="305612"/>
                    </a:lnTo>
                    <a:lnTo>
                      <a:pt x="148336" y="297395"/>
                    </a:lnTo>
                    <a:lnTo>
                      <a:pt x="145592" y="289648"/>
                    </a:lnTo>
                    <a:lnTo>
                      <a:pt x="140233" y="282028"/>
                    </a:lnTo>
                    <a:lnTo>
                      <a:pt x="225272" y="282028"/>
                    </a:lnTo>
                    <a:lnTo>
                      <a:pt x="227711" y="279628"/>
                    </a:lnTo>
                    <a:lnTo>
                      <a:pt x="227711" y="195224"/>
                    </a:lnTo>
                    <a:close/>
                  </a:path>
                  <a:path w="227964" h="337185">
                    <a:moveTo>
                      <a:pt x="55186" y="194208"/>
                    </a:moveTo>
                    <a:lnTo>
                      <a:pt x="10795" y="194208"/>
                    </a:lnTo>
                    <a:lnTo>
                      <a:pt x="16774" y="197969"/>
                    </a:lnTo>
                    <a:lnTo>
                      <a:pt x="22828" y="200683"/>
                    </a:lnTo>
                    <a:lnTo>
                      <a:pt x="28900" y="202329"/>
                    </a:lnTo>
                    <a:lnTo>
                      <a:pt x="34988" y="202882"/>
                    </a:lnTo>
                    <a:lnTo>
                      <a:pt x="46800" y="200278"/>
                    </a:lnTo>
                    <a:lnTo>
                      <a:pt x="55186" y="194208"/>
                    </a:lnTo>
                    <a:close/>
                  </a:path>
                  <a:path w="227964" h="337185">
                    <a:moveTo>
                      <a:pt x="201841" y="133845"/>
                    </a:moveTo>
                    <a:lnTo>
                      <a:pt x="194271" y="133845"/>
                    </a:lnTo>
                    <a:lnTo>
                      <a:pt x="182534" y="136370"/>
                    </a:lnTo>
                    <a:lnTo>
                      <a:pt x="172797" y="143332"/>
                    </a:lnTo>
                    <a:lnTo>
                      <a:pt x="166000" y="153695"/>
                    </a:lnTo>
                    <a:lnTo>
                      <a:pt x="162963" y="166623"/>
                    </a:lnTo>
                    <a:lnTo>
                      <a:pt x="162877" y="169735"/>
                    </a:lnTo>
                    <a:lnTo>
                      <a:pt x="165978" y="182962"/>
                    </a:lnTo>
                    <a:lnTo>
                      <a:pt x="172799" y="193357"/>
                    </a:lnTo>
                    <a:lnTo>
                      <a:pt x="182520" y="200294"/>
                    </a:lnTo>
                    <a:lnTo>
                      <a:pt x="194246" y="202818"/>
                    </a:lnTo>
                    <a:lnTo>
                      <a:pt x="201866" y="202818"/>
                    </a:lnTo>
                    <a:lnTo>
                      <a:pt x="209435" y="200278"/>
                    </a:lnTo>
                    <a:lnTo>
                      <a:pt x="216865" y="195224"/>
                    </a:lnTo>
                    <a:lnTo>
                      <a:pt x="227711" y="195224"/>
                    </a:lnTo>
                    <a:lnTo>
                      <a:pt x="227711" y="192087"/>
                    </a:lnTo>
                    <a:lnTo>
                      <a:pt x="194271" y="192087"/>
                    </a:lnTo>
                    <a:lnTo>
                      <a:pt x="186487" y="190288"/>
                    </a:lnTo>
                    <a:lnTo>
                      <a:pt x="180049" y="185334"/>
                    </a:lnTo>
                    <a:lnTo>
                      <a:pt x="175592" y="177927"/>
                    </a:lnTo>
                    <a:lnTo>
                      <a:pt x="173835" y="169367"/>
                    </a:lnTo>
                    <a:lnTo>
                      <a:pt x="173709" y="168490"/>
                    </a:lnTo>
                    <a:lnTo>
                      <a:pt x="173788" y="167665"/>
                    </a:lnTo>
                    <a:lnTo>
                      <a:pt x="175612" y="158802"/>
                    </a:lnTo>
                    <a:lnTo>
                      <a:pt x="180062" y="151425"/>
                    </a:lnTo>
                    <a:lnTo>
                      <a:pt x="186498" y="146480"/>
                    </a:lnTo>
                    <a:lnTo>
                      <a:pt x="194297" y="144678"/>
                    </a:lnTo>
                    <a:lnTo>
                      <a:pt x="227711" y="144678"/>
                    </a:lnTo>
                    <a:lnTo>
                      <a:pt x="227711" y="141465"/>
                    </a:lnTo>
                    <a:lnTo>
                      <a:pt x="216890" y="141465"/>
                    </a:lnTo>
                    <a:lnTo>
                      <a:pt x="209435" y="136410"/>
                    </a:lnTo>
                    <a:lnTo>
                      <a:pt x="201841" y="133845"/>
                    </a:lnTo>
                    <a:close/>
                  </a:path>
                  <a:path w="227964" h="337185">
                    <a:moveTo>
                      <a:pt x="57263" y="144716"/>
                    </a:moveTo>
                    <a:lnTo>
                      <a:pt x="34899" y="144716"/>
                    </a:lnTo>
                    <a:lnTo>
                      <a:pt x="42710" y="146511"/>
                    </a:lnTo>
                    <a:lnTo>
                      <a:pt x="49158" y="151436"/>
                    </a:lnTo>
                    <a:lnTo>
                      <a:pt x="53634" y="158823"/>
                    </a:lnTo>
                    <a:lnTo>
                      <a:pt x="55396" y="167360"/>
                    </a:lnTo>
                    <a:lnTo>
                      <a:pt x="55511" y="168630"/>
                    </a:lnTo>
                    <a:lnTo>
                      <a:pt x="55318" y="169735"/>
                    </a:lnTo>
                    <a:lnTo>
                      <a:pt x="53675" y="177927"/>
                    </a:lnTo>
                    <a:lnTo>
                      <a:pt x="49218" y="185350"/>
                    </a:lnTo>
                    <a:lnTo>
                      <a:pt x="42815" y="190297"/>
                    </a:lnTo>
                    <a:lnTo>
                      <a:pt x="35013" y="192125"/>
                    </a:lnTo>
                    <a:lnTo>
                      <a:pt x="57250" y="192125"/>
                    </a:lnTo>
                    <a:lnTo>
                      <a:pt x="63318" y="182690"/>
                    </a:lnTo>
                    <a:lnTo>
                      <a:pt x="66270" y="169367"/>
                    </a:lnTo>
                    <a:lnTo>
                      <a:pt x="66217" y="166623"/>
                    </a:lnTo>
                    <a:lnTo>
                      <a:pt x="63219" y="153860"/>
                    </a:lnTo>
                    <a:lnTo>
                      <a:pt x="63167" y="153695"/>
                    </a:lnTo>
                    <a:lnTo>
                      <a:pt x="57263" y="144716"/>
                    </a:lnTo>
                    <a:close/>
                  </a:path>
                  <a:path w="227964" h="337185">
                    <a:moveTo>
                      <a:pt x="223532" y="180378"/>
                    </a:moveTo>
                    <a:lnTo>
                      <a:pt x="222110" y="180492"/>
                    </a:lnTo>
                    <a:lnTo>
                      <a:pt x="219824" y="180568"/>
                    </a:lnTo>
                    <a:lnTo>
                      <a:pt x="218554" y="180632"/>
                    </a:lnTo>
                    <a:lnTo>
                      <a:pt x="217347" y="181114"/>
                    </a:lnTo>
                    <a:lnTo>
                      <a:pt x="208902" y="188671"/>
                    </a:lnTo>
                    <a:lnTo>
                      <a:pt x="201472" y="192087"/>
                    </a:lnTo>
                    <a:lnTo>
                      <a:pt x="227711" y="192087"/>
                    </a:lnTo>
                    <a:lnTo>
                      <a:pt x="227711" y="184416"/>
                    </a:lnTo>
                    <a:lnTo>
                      <a:pt x="227162" y="183121"/>
                    </a:lnTo>
                    <a:lnTo>
                      <a:pt x="227068" y="182962"/>
                    </a:lnTo>
                    <a:lnTo>
                      <a:pt x="225018" y="180962"/>
                    </a:lnTo>
                    <a:lnTo>
                      <a:pt x="223532" y="180378"/>
                    </a:lnTo>
                    <a:close/>
                  </a:path>
                  <a:path w="227964" h="337185">
                    <a:moveTo>
                      <a:pt x="114706" y="0"/>
                    </a:moveTo>
                    <a:lnTo>
                      <a:pt x="114020" y="0"/>
                    </a:lnTo>
                    <a:lnTo>
                      <a:pt x="113690" y="50"/>
                    </a:lnTo>
                    <a:lnTo>
                      <a:pt x="100638" y="2631"/>
                    </a:lnTo>
                    <a:lnTo>
                      <a:pt x="89973" y="9112"/>
                    </a:lnTo>
                    <a:lnTo>
                      <a:pt x="82679" y="18631"/>
                    </a:lnTo>
                    <a:lnTo>
                      <a:pt x="79743" y="30327"/>
                    </a:lnTo>
                    <a:lnTo>
                      <a:pt x="80101" y="36333"/>
                    </a:lnTo>
                    <a:lnTo>
                      <a:pt x="81514" y="42357"/>
                    </a:lnTo>
                    <a:lnTo>
                      <a:pt x="83975" y="48386"/>
                    </a:lnTo>
                    <a:lnTo>
                      <a:pt x="87477" y="54406"/>
                    </a:lnTo>
                    <a:lnTo>
                      <a:pt x="2514" y="54406"/>
                    </a:lnTo>
                    <a:lnTo>
                      <a:pt x="88" y="56807"/>
                    </a:lnTo>
                    <a:lnTo>
                      <a:pt x="88" y="152450"/>
                    </a:lnTo>
                    <a:lnTo>
                      <a:pt x="685" y="153860"/>
                    </a:lnTo>
                    <a:lnTo>
                      <a:pt x="2768" y="155917"/>
                    </a:lnTo>
                    <a:lnTo>
                      <a:pt x="4178" y="156489"/>
                    </a:lnTo>
                    <a:lnTo>
                      <a:pt x="5651" y="156400"/>
                    </a:lnTo>
                    <a:lnTo>
                      <a:pt x="10680" y="156260"/>
                    </a:lnTo>
                    <a:lnTo>
                      <a:pt x="11887" y="155752"/>
                    </a:lnTo>
                    <a:lnTo>
                      <a:pt x="20193" y="148247"/>
                    </a:lnTo>
                    <a:lnTo>
                      <a:pt x="27813" y="144741"/>
                    </a:lnTo>
                    <a:lnTo>
                      <a:pt x="57263" y="144716"/>
                    </a:lnTo>
                    <a:lnTo>
                      <a:pt x="56353" y="143332"/>
                    </a:lnTo>
                    <a:lnTo>
                      <a:pt x="55282" y="142570"/>
                    </a:lnTo>
                    <a:lnTo>
                      <a:pt x="10820" y="142570"/>
                    </a:lnTo>
                    <a:lnTo>
                      <a:pt x="10820" y="65163"/>
                    </a:lnTo>
                    <a:lnTo>
                      <a:pt x="98742" y="65163"/>
                    </a:lnTo>
                    <a:lnTo>
                      <a:pt x="101180" y="62763"/>
                    </a:lnTo>
                    <a:lnTo>
                      <a:pt x="101180" y="55283"/>
                    </a:lnTo>
                    <a:lnTo>
                      <a:pt x="100749" y="54038"/>
                    </a:lnTo>
                    <a:lnTo>
                      <a:pt x="99936" y="53085"/>
                    </a:lnTo>
                    <a:lnTo>
                      <a:pt x="93472" y="45313"/>
                    </a:lnTo>
                    <a:lnTo>
                      <a:pt x="90271" y="37782"/>
                    </a:lnTo>
                    <a:lnTo>
                      <a:pt x="90500" y="30670"/>
                    </a:lnTo>
                    <a:lnTo>
                      <a:pt x="92558" y="22918"/>
                    </a:lnTo>
                    <a:lnTo>
                      <a:pt x="97709" y="16629"/>
                    </a:lnTo>
                    <a:lnTo>
                      <a:pt x="105243" y="12395"/>
                    </a:lnTo>
                    <a:lnTo>
                      <a:pt x="114452" y="10807"/>
                    </a:lnTo>
                    <a:lnTo>
                      <a:pt x="114846" y="10782"/>
                    </a:lnTo>
                    <a:lnTo>
                      <a:pt x="139887" y="10782"/>
                    </a:lnTo>
                    <a:lnTo>
                      <a:pt x="139692" y="10494"/>
                    </a:lnTo>
                    <a:lnTo>
                      <a:pt x="129225" y="3365"/>
                    </a:lnTo>
                    <a:lnTo>
                      <a:pt x="116295" y="165"/>
                    </a:lnTo>
                    <a:lnTo>
                      <a:pt x="116090" y="165"/>
                    </a:lnTo>
                    <a:lnTo>
                      <a:pt x="115722" y="76"/>
                    </a:lnTo>
                    <a:lnTo>
                      <a:pt x="114706" y="0"/>
                    </a:lnTo>
                    <a:close/>
                  </a:path>
                  <a:path w="227964" h="337185">
                    <a:moveTo>
                      <a:pt x="227711" y="144678"/>
                    </a:moveTo>
                    <a:lnTo>
                      <a:pt x="201422" y="144678"/>
                    </a:lnTo>
                    <a:lnTo>
                      <a:pt x="208876" y="148094"/>
                    </a:lnTo>
                    <a:lnTo>
                      <a:pt x="216408" y="154825"/>
                    </a:lnTo>
                    <a:lnTo>
                      <a:pt x="217373" y="155663"/>
                    </a:lnTo>
                    <a:lnTo>
                      <a:pt x="218579" y="156146"/>
                    </a:lnTo>
                    <a:lnTo>
                      <a:pt x="223558" y="156260"/>
                    </a:lnTo>
                    <a:lnTo>
                      <a:pt x="225018" y="155727"/>
                    </a:lnTo>
                    <a:lnTo>
                      <a:pt x="227114" y="153695"/>
                    </a:lnTo>
                    <a:lnTo>
                      <a:pt x="227650" y="152450"/>
                    </a:lnTo>
                    <a:lnTo>
                      <a:pt x="227711" y="144678"/>
                    </a:lnTo>
                    <a:close/>
                  </a:path>
                  <a:path w="227964" h="337185">
                    <a:moveTo>
                      <a:pt x="34823" y="133870"/>
                    </a:moveTo>
                    <a:lnTo>
                      <a:pt x="28817" y="134438"/>
                    </a:lnTo>
                    <a:lnTo>
                      <a:pt x="22779" y="136091"/>
                    </a:lnTo>
                    <a:lnTo>
                      <a:pt x="16762" y="138808"/>
                    </a:lnTo>
                    <a:lnTo>
                      <a:pt x="10820" y="142570"/>
                    </a:lnTo>
                    <a:lnTo>
                      <a:pt x="55282" y="142570"/>
                    </a:lnTo>
                    <a:lnTo>
                      <a:pt x="46608" y="136395"/>
                    </a:lnTo>
                    <a:lnTo>
                      <a:pt x="34823" y="133870"/>
                    </a:lnTo>
                    <a:close/>
                  </a:path>
                  <a:path w="227964" h="337185">
                    <a:moveTo>
                      <a:pt x="139887" y="10782"/>
                    </a:moveTo>
                    <a:lnTo>
                      <a:pt x="114846" y="10782"/>
                    </a:lnTo>
                    <a:lnTo>
                      <a:pt x="115125" y="10845"/>
                    </a:lnTo>
                    <a:lnTo>
                      <a:pt x="115265" y="10845"/>
                    </a:lnTo>
                    <a:lnTo>
                      <a:pt x="124353" y="13014"/>
                    </a:lnTo>
                    <a:lnTo>
                      <a:pt x="131603" y="17710"/>
                    </a:lnTo>
                    <a:lnTo>
                      <a:pt x="136339" y="24301"/>
                    </a:lnTo>
                    <a:lnTo>
                      <a:pt x="137883" y="32156"/>
                    </a:lnTo>
                    <a:lnTo>
                      <a:pt x="137680" y="39306"/>
                    </a:lnTo>
                    <a:lnTo>
                      <a:pt x="134048" y="46621"/>
                    </a:lnTo>
                    <a:lnTo>
                      <a:pt x="126161" y="54863"/>
                    </a:lnTo>
                    <a:lnTo>
                      <a:pt x="125653" y="56070"/>
                    </a:lnTo>
                    <a:lnTo>
                      <a:pt x="125374" y="60934"/>
                    </a:lnTo>
                    <a:lnTo>
                      <a:pt x="125907" y="62407"/>
                    </a:lnTo>
                    <a:lnTo>
                      <a:pt x="127939" y="64541"/>
                    </a:lnTo>
                    <a:lnTo>
                      <a:pt x="129362" y="65163"/>
                    </a:lnTo>
                    <a:lnTo>
                      <a:pt x="216890" y="65163"/>
                    </a:lnTo>
                    <a:lnTo>
                      <a:pt x="216890" y="141465"/>
                    </a:lnTo>
                    <a:lnTo>
                      <a:pt x="227711" y="141465"/>
                    </a:lnTo>
                    <a:lnTo>
                      <a:pt x="227672" y="56807"/>
                    </a:lnTo>
                    <a:lnTo>
                      <a:pt x="225272" y="54406"/>
                    </a:lnTo>
                    <a:lnTo>
                      <a:pt x="140741" y="54406"/>
                    </a:lnTo>
                    <a:lnTo>
                      <a:pt x="145821" y="47269"/>
                    </a:lnTo>
                    <a:lnTo>
                      <a:pt x="148501" y="39954"/>
                    </a:lnTo>
                    <a:lnTo>
                      <a:pt x="148612" y="36333"/>
                    </a:lnTo>
                    <a:lnTo>
                      <a:pt x="148661" y="32156"/>
                    </a:lnTo>
                    <a:lnTo>
                      <a:pt x="146517" y="20536"/>
                    </a:lnTo>
                    <a:lnTo>
                      <a:pt x="139887" y="10782"/>
                    </a:lnTo>
                    <a:close/>
                  </a:path>
                  <a:path w="227964" h="337185">
                    <a:moveTo>
                      <a:pt x="116090" y="114"/>
                    </a:moveTo>
                    <a:lnTo>
                      <a:pt x="116295" y="165"/>
                    </a:lnTo>
                    <a:lnTo>
                      <a:pt x="116090" y="114"/>
                    </a:lnTo>
                    <a:close/>
                  </a:path>
                </a:pathLst>
              </a:custGeom>
              <a:solidFill>
                <a:srgbClr val="D9DADC"/>
              </a:solidFill>
            </p:spPr>
            <p:txBody>
              <a:bodyPr wrap="square" lIns="0" tIns="0" rIns="0" bIns="0" rtlCol="0"/>
              <a:lstStyle/>
              <a:p>
                <a:endParaRPr/>
              </a:p>
            </p:txBody>
          </p:sp>
        </p:grpSp>
        <p:grpSp>
          <p:nvGrpSpPr>
            <p:cNvPr id="71" name="object 239">
              <a:extLst>
                <a:ext uri="{FF2B5EF4-FFF2-40B4-BE49-F238E27FC236}">
                  <a16:creationId xmlns:a16="http://schemas.microsoft.com/office/drawing/2014/main" id="{3208D354-C696-4173-57B3-E46497DAA496}"/>
                </a:ext>
              </a:extLst>
            </p:cNvPr>
            <p:cNvGrpSpPr/>
            <p:nvPr/>
          </p:nvGrpSpPr>
          <p:grpSpPr>
            <a:xfrm>
              <a:off x="4703668" y="3132008"/>
              <a:ext cx="457200" cy="432434"/>
              <a:chOff x="4703668" y="3132008"/>
              <a:chExt cx="457200" cy="432434"/>
            </a:xfrm>
          </p:grpSpPr>
          <p:sp>
            <p:nvSpPr>
              <p:cNvPr id="81" name="object 240">
                <a:extLst>
                  <a:ext uri="{FF2B5EF4-FFF2-40B4-BE49-F238E27FC236}">
                    <a16:creationId xmlns:a16="http://schemas.microsoft.com/office/drawing/2014/main" id="{27D27481-10AA-1045-7927-CD60FF496A34}"/>
                  </a:ext>
                </a:extLst>
              </p:cNvPr>
              <p:cNvSpPr/>
              <p:nvPr/>
            </p:nvSpPr>
            <p:spPr>
              <a:xfrm>
                <a:off x="4820882" y="3366528"/>
                <a:ext cx="222250" cy="148590"/>
              </a:xfrm>
              <a:custGeom>
                <a:avLst/>
                <a:gdLst/>
                <a:ahLst/>
                <a:cxnLst/>
                <a:rect l="l" t="t" r="r" b="b"/>
                <a:pathLst>
                  <a:path w="222250" h="148589">
                    <a:moveTo>
                      <a:pt x="117259" y="2768"/>
                    </a:moveTo>
                    <a:lnTo>
                      <a:pt x="114490" y="0"/>
                    </a:lnTo>
                    <a:lnTo>
                      <a:pt x="107683" y="0"/>
                    </a:lnTo>
                    <a:lnTo>
                      <a:pt x="104914" y="2768"/>
                    </a:lnTo>
                    <a:lnTo>
                      <a:pt x="104914" y="58940"/>
                    </a:lnTo>
                    <a:lnTo>
                      <a:pt x="107683" y="61709"/>
                    </a:lnTo>
                    <a:lnTo>
                      <a:pt x="111086" y="61709"/>
                    </a:lnTo>
                    <a:lnTo>
                      <a:pt x="114490" y="61709"/>
                    </a:lnTo>
                    <a:lnTo>
                      <a:pt x="117259" y="58966"/>
                    </a:lnTo>
                    <a:lnTo>
                      <a:pt x="117259" y="2768"/>
                    </a:lnTo>
                    <a:close/>
                  </a:path>
                  <a:path w="222250" h="148589">
                    <a:moveTo>
                      <a:pt x="160451" y="49377"/>
                    </a:moveTo>
                    <a:lnTo>
                      <a:pt x="139306" y="8864"/>
                    </a:lnTo>
                    <a:lnTo>
                      <a:pt x="136486" y="6883"/>
                    </a:lnTo>
                    <a:lnTo>
                      <a:pt x="132664" y="7594"/>
                    </a:lnTo>
                    <a:lnTo>
                      <a:pt x="128765" y="13182"/>
                    </a:lnTo>
                    <a:lnTo>
                      <a:pt x="129438" y="17030"/>
                    </a:lnTo>
                    <a:lnTo>
                      <a:pt x="132232" y="18973"/>
                    </a:lnTo>
                    <a:lnTo>
                      <a:pt x="138899" y="24955"/>
                    </a:lnTo>
                    <a:lnTo>
                      <a:pt x="143891" y="32258"/>
                    </a:lnTo>
                    <a:lnTo>
                      <a:pt x="147027" y="40513"/>
                    </a:lnTo>
                    <a:lnTo>
                      <a:pt x="148107" y="49377"/>
                    </a:lnTo>
                    <a:lnTo>
                      <a:pt x="145186" y="63766"/>
                    </a:lnTo>
                    <a:lnTo>
                      <a:pt x="137248" y="75539"/>
                    </a:lnTo>
                    <a:lnTo>
                      <a:pt x="125476" y="83489"/>
                    </a:lnTo>
                    <a:lnTo>
                      <a:pt x="111086" y="86398"/>
                    </a:lnTo>
                    <a:lnTo>
                      <a:pt x="96697" y="83489"/>
                    </a:lnTo>
                    <a:lnTo>
                      <a:pt x="84924" y="75552"/>
                    </a:lnTo>
                    <a:lnTo>
                      <a:pt x="76987" y="63779"/>
                    </a:lnTo>
                    <a:lnTo>
                      <a:pt x="74066" y="49377"/>
                    </a:lnTo>
                    <a:lnTo>
                      <a:pt x="75145" y="40500"/>
                    </a:lnTo>
                    <a:lnTo>
                      <a:pt x="78282" y="32245"/>
                    </a:lnTo>
                    <a:lnTo>
                      <a:pt x="83273" y="24955"/>
                    </a:lnTo>
                    <a:lnTo>
                      <a:pt x="89941" y="18973"/>
                    </a:lnTo>
                    <a:lnTo>
                      <a:pt x="92735" y="17030"/>
                    </a:lnTo>
                    <a:lnTo>
                      <a:pt x="93408" y="13182"/>
                    </a:lnTo>
                    <a:lnTo>
                      <a:pt x="89509" y="7594"/>
                    </a:lnTo>
                    <a:lnTo>
                      <a:pt x="85661" y="6908"/>
                    </a:lnTo>
                    <a:lnTo>
                      <a:pt x="82867" y="8864"/>
                    </a:lnTo>
                    <a:lnTo>
                      <a:pt x="73977" y="16827"/>
                    </a:lnTo>
                    <a:lnTo>
                      <a:pt x="67335" y="26543"/>
                    </a:lnTo>
                    <a:lnTo>
                      <a:pt x="63169" y="37553"/>
                    </a:lnTo>
                    <a:lnTo>
                      <a:pt x="61722" y="49377"/>
                    </a:lnTo>
                    <a:lnTo>
                      <a:pt x="65608" y="68567"/>
                    </a:lnTo>
                    <a:lnTo>
                      <a:pt x="76200" y="84264"/>
                    </a:lnTo>
                    <a:lnTo>
                      <a:pt x="91884" y="94856"/>
                    </a:lnTo>
                    <a:lnTo>
                      <a:pt x="111086" y="98742"/>
                    </a:lnTo>
                    <a:lnTo>
                      <a:pt x="130289" y="94856"/>
                    </a:lnTo>
                    <a:lnTo>
                      <a:pt x="145986" y="84264"/>
                    </a:lnTo>
                    <a:lnTo>
                      <a:pt x="156565" y="68567"/>
                    </a:lnTo>
                    <a:lnTo>
                      <a:pt x="160451" y="49377"/>
                    </a:lnTo>
                    <a:close/>
                  </a:path>
                  <a:path w="222250" h="148589">
                    <a:moveTo>
                      <a:pt x="222161" y="138544"/>
                    </a:moveTo>
                    <a:lnTo>
                      <a:pt x="219392" y="135775"/>
                    </a:lnTo>
                    <a:lnTo>
                      <a:pt x="2768" y="135775"/>
                    </a:lnTo>
                    <a:lnTo>
                      <a:pt x="0" y="138544"/>
                    </a:lnTo>
                    <a:lnTo>
                      <a:pt x="0" y="145351"/>
                    </a:lnTo>
                    <a:lnTo>
                      <a:pt x="2768" y="148120"/>
                    </a:lnTo>
                    <a:lnTo>
                      <a:pt x="215988" y="148120"/>
                    </a:lnTo>
                    <a:lnTo>
                      <a:pt x="219417" y="148120"/>
                    </a:lnTo>
                    <a:lnTo>
                      <a:pt x="222161" y="145351"/>
                    </a:lnTo>
                    <a:lnTo>
                      <a:pt x="222161" y="138544"/>
                    </a:lnTo>
                    <a:close/>
                  </a:path>
                </a:pathLst>
              </a:custGeom>
              <a:solidFill>
                <a:srgbClr val="3350B8"/>
              </a:solidFill>
            </p:spPr>
            <p:txBody>
              <a:bodyPr wrap="square" lIns="0" tIns="0" rIns="0" bIns="0" rtlCol="0"/>
              <a:lstStyle/>
              <a:p>
                <a:endParaRPr/>
              </a:p>
            </p:txBody>
          </p:sp>
          <p:pic>
            <p:nvPicPr>
              <p:cNvPr id="83" name="object 241">
                <a:extLst>
                  <a:ext uri="{FF2B5EF4-FFF2-40B4-BE49-F238E27FC236}">
                    <a16:creationId xmlns:a16="http://schemas.microsoft.com/office/drawing/2014/main" id="{29092BF4-520A-3736-31F6-F495C9A561D4}"/>
                  </a:ext>
                </a:extLst>
              </p:cNvPr>
              <p:cNvPicPr/>
              <p:nvPr/>
            </p:nvPicPr>
            <p:blipFill>
              <a:blip r:embed="rId33" cstate="print"/>
              <a:stretch>
                <a:fillRect/>
              </a:stretch>
            </p:blipFill>
            <p:spPr>
              <a:xfrm>
                <a:off x="4833752" y="3132008"/>
                <a:ext cx="196227" cy="109339"/>
              </a:xfrm>
              <a:prstGeom prst="rect">
                <a:avLst/>
              </a:prstGeom>
            </p:spPr>
          </p:pic>
          <p:sp>
            <p:nvSpPr>
              <p:cNvPr id="84" name="object 242">
                <a:extLst>
                  <a:ext uri="{FF2B5EF4-FFF2-40B4-BE49-F238E27FC236}">
                    <a16:creationId xmlns:a16="http://schemas.microsoft.com/office/drawing/2014/main" id="{F3CAF1B6-7587-B619-1299-91E7C7FBE130}"/>
                  </a:ext>
                </a:extLst>
              </p:cNvPr>
              <p:cNvSpPr/>
              <p:nvPr/>
            </p:nvSpPr>
            <p:spPr>
              <a:xfrm>
                <a:off x="4820882" y="3255467"/>
                <a:ext cx="222250" cy="308610"/>
              </a:xfrm>
              <a:custGeom>
                <a:avLst/>
                <a:gdLst/>
                <a:ahLst/>
                <a:cxnLst/>
                <a:rect l="l" t="t" r="r" b="b"/>
                <a:pathLst>
                  <a:path w="222250" h="308610">
                    <a:moveTo>
                      <a:pt x="222161" y="37020"/>
                    </a:moveTo>
                    <a:lnTo>
                      <a:pt x="219240" y="22618"/>
                    </a:lnTo>
                    <a:lnTo>
                      <a:pt x="212305" y="12319"/>
                    </a:lnTo>
                    <a:lnTo>
                      <a:pt x="211302" y="10845"/>
                    </a:lnTo>
                    <a:lnTo>
                      <a:pt x="209816" y="9855"/>
                    </a:lnTo>
                    <a:lnTo>
                      <a:pt x="209816" y="37020"/>
                    </a:lnTo>
                    <a:lnTo>
                      <a:pt x="209816" y="49339"/>
                    </a:lnTo>
                    <a:lnTo>
                      <a:pt x="209816" y="61683"/>
                    </a:lnTo>
                    <a:lnTo>
                      <a:pt x="209816" y="271526"/>
                    </a:lnTo>
                    <a:lnTo>
                      <a:pt x="207873" y="281127"/>
                    </a:lnTo>
                    <a:lnTo>
                      <a:pt x="202577" y="288975"/>
                    </a:lnTo>
                    <a:lnTo>
                      <a:pt x="194729" y="294271"/>
                    </a:lnTo>
                    <a:lnTo>
                      <a:pt x="185115" y="296214"/>
                    </a:lnTo>
                    <a:lnTo>
                      <a:pt x="37020" y="296214"/>
                    </a:lnTo>
                    <a:lnTo>
                      <a:pt x="27419" y="294271"/>
                    </a:lnTo>
                    <a:lnTo>
                      <a:pt x="19570" y="288975"/>
                    </a:lnTo>
                    <a:lnTo>
                      <a:pt x="14274" y="281127"/>
                    </a:lnTo>
                    <a:lnTo>
                      <a:pt x="12331" y="271526"/>
                    </a:lnTo>
                    <a:lnTo>
                      <a:pt x="12331" y="61683"/>
                    </a:lnTo>
                    <a:lnTo>
                      <a:pt x="209816" y="61683"/>
                    </a:lnTo>
                    <a:lnTo>
                      <a:pt x="209816" y="49339"/>
                    </a:lnTo>
                    <a:lnTo>
                      <a:pt x="12331" y="49339"/>
                    </a:lnTo>
                    <a:lnTo>
                      <a:pt x="12331" y="37020"/>
                    </a:lnTo>
                    <a:lnTo>
                      <a:pt x="14274" y="27419"/>
                    </a:lnTo>
                    <a:lnTo>
                      <a:pt x="19570" y="19558"/>
                    </a:lnTo>
                    <a:lnTo>
                      <a:pt x="27419" y="14262"/>
                    </a:lnTo>
                    <a:lnTo>
                      <a:pt x="37020" y="12319"/>
                    </a:lnTo>
                    <a:lnTo>
                      <a:pt x="185115" y="12319"/>
                    </a:lnTo>
                    <a:lnTo>
                      <a:pt x="194729" y="14262"/>
                    </a:lnTo>
                    <a:lnTo>
                      <a:pt x="202577" y="19558"/>
                    </a:lnTo>
                    <a:lnTo>
                      <a:pt x="207873" y="27419"/>
                    </a:lnTo>
                    <a:lnTo>
                      <a:pt x="209816" y="37020"/>
                    </a:lnTo>
                    <a:lnTo>
                      <a:pt x="209816" y="9855"/>
                    </a:lnTo>
                    <a:lnTo>
                      <a:pt x="199529" y="2908"/>
                    </a:lnTo>
                    <a:lnTo>
                      <a:pt x="185140" y="0"/>
                    </a:lnTo>
                    <a:lnTo>
                      <a:pt x="37045" y="0"/>
                    </a:lnTo>
                    <a:lnTo>
                      <a:pt x="22656" y="2921"/>
                    </a:lnTo>
                    <a:lnTo>
                      <a:pt x="10883" y="10858"/>
                    </a:lnTo>
                    <a:lnTo>
                      <a:pt x="2946" y="22631"/>
                    </a:lnTo>
                    <a:lnTo>
                      <a:pt x="25" y="37020"/>
                    </a:lnTo>
                    <a:lnTo>
                      <a:pt x="25" y="52082"/>
                    </a:lnTo>
                    <a:lnTo>
                      <a:pt x="0" y="58915"/>
                    </a:lnTo>
                    <a:lnTo>
                      <a:pt x="25" y="271526"/>
                    </a:lnTo>
                    <a:lnTo>
                      <a:pt x="2946" y="285915"/>
                    </a:lnTo>
                    <a:lnTo>
                      <a:pt x="10883" y="297688"/>
                    </a:lnTo>
                    <a:lnTo>
                      <a:pt x="22656" y="305625"/>
                    </a:lnTo>
                    <a:lnTo>
                      <a:pt x="37045" y="308546"/>
                    </a:lnTo>
                    <a:lnTo>
                      <a:pt x="185140" y="308546"/>
                    </a:lnTo>
                    <a:lnTo>
                      <a:pt x="199542" y="305625"/>
                    </a:lnTo>
                    <a:lnTo>
                      <a:pt x="211315" y="297688"/>
                    </a:lnTo>
                    <a:lnTo>
                      <a:pt x="212305" y="296214"/>
                    </a:lnTo>
                    <a:lnTo>
                      <a:pt x="219252" y="285915"/>
                    </a:lnTo>
                    <a:lnTo>
                      <a:pt x="222161" y="271526"/>
                    </a:lnTo>
                    <a:lnTo>
                      <a:pt x="222161" y="58915"/>
                    </a:lnTo>
                    <a:lnTo>
                      <a:pt x="222161" y="52108"/>
                    </a:lnTo>
                    <a:lnTo>
                      <a:pt x="222161" y="37020"/>
                    </a:lnTo>
                    <a:close/>
                  </a:path>
                </a:pathLst>
              </a:custGeom>
              <a:solidFill>
                <a:srgbClr val="3350B8"/>
              </a:solidFill>
            </p:spPr>
            <p:txBody>
              <a:bodyPr wrap="square" lIns="0" tIns="0" rIns="0" bIns="0" rtlCol="0"/>
              <a:lstStyle/>
              <a:p>
                <a:endParaRPr/>
              </a:p>
            </p:txBody>
          </p:sp>
          <p:pic>
            <p:nvPicPr>
              <p:cNvPr id="86" name="object 243">
                <a:extLst>
                  <a:ext uri="{FF2B5EF4-FFF2-40B4-BE49-F238E27FC236}">
                    <a16:creationId xmlns:a16="http://schemas.microsoft.com/office/drawing/2014/main" id="{34389002-5AD4-BCD4-9681-4FF5B1945159}"/>
                  </a:ext>
                </a:extLst>
              </p:cNvPr>
              <p:cNvPicPr/>
              <p:nvPr/>
            </p:nvPicPr>
            <p:blipFill>
              <a:blip r:embed="rId34" cstate="print"/>
              <a:stretch>
                <a:fillRect/>
              </a:stretch>
            </p:blipFill>
            <p:spPr>
              <a:xfrm>
                <a:off x="5055400" y="3329495"/>
                <a:ext cx="104940" cy="148099"/>
              </a:xfrm>
              <a:prstGeom prst="rect">
                <a:avLst/>
              </a:prstGeom>
            </p:spPr>
          </p:pic>
          <p:sp>
            <p:nvSpPr>
              <p:cNvPr id="87" name="object 244">
                <a:extLst>
                  <a:ext uri="{FF2B5EF4-FFF2-40B4-BE49-F238E27FC236}">
                    <a16:creationId xmlns:a16="http://schemas.microsoft.com/office/drawing/2014/main" id="{C667CD4F-BB1A-8695-E12F-CF527CDAFD20}"/>
                  </a:ext>
                </a:extLst>
              </p:cNvPr>
              <p:cNvSpPr/>
              <p:nvPr/>
            </p:nvSpPr>
            <p:spPr>
              <a:xfrm>
                <a:off x="4753013" y="3483772"/>
                <a:ext cx="49530" cy="49530"/>
              </a:xfrm>
              <a:custGeom>
                <a:avLst/>
                <a:gdLst/>
                <a:ahLst/>
                <a:cxnLst/>
                <a:rect l="l" t="t" r="r" b="b"/>
                <a:pathLst>
                  <a:path w="49529" h="49529">
                    <a:moveTo>
                      <a:pt x="24688" y="0"/>
                    </a:moveTo>
                    <a:lnTo>
                      <a:pt x="15087" y="1943"/>
                    </a:lnTo>
                    <a:lnTo>
                      <a:pt x="7239" y="7238"/>
                    </a:lnTo>
                    <a:lnTo>
                      <a:pt x="1943" y="15087"/>
                    </a:lnTo>
                    <a:lnTo>
                      <a:pt x="0" y="24688"/>
                    </a:lnTo>
                    <a:lnTo>
                      <a:pt x="1943" y="34291"/>
                    </a:lnTo>
                    <a:lnTo>
                      <a:pt x="7239" y="42144"/>
                    </a:lnTo>
                    <a:lnTo>
                      <a:pt x="15087" y="47445"/>
                    </a:lnTo>
                    <a:lnTo>
                      <a:pt x="24688" y="49390"/>
                    </a:lnTo>
                    <a:lnTo>
                      <a:pt x="34290" y="47445"/>
                    </a:lnTo>
                    <a:lnTo>
                      <a:pt x="42138" y="42144"/>
                    </a:lnTo>
                    <a:lnTo>
                      <a:pt x="45577" y="37045"/>
                    </a:lnTo>
                    <a:lnTo>
                      <a:pt x="17881" y="37045"/>
                    </a:lnTo>
                    <a:lnTo>
                      <a:pt x="12344" y="31495"/>
                    </a:lnTo>
                    <a:lnTo>
                      <a:pt x="12344" y="17881"/>
                    </a:lnTo>
                    <a:lnTo>
                      <a:pt x="17881" y="12344"/>
                    </a:lnTo>
                    <a:lnTo>
                      <a:pt x="45583" y="12344"/>
                    </a:lnTo>
                    <a:lnTo>
                      <a:pt x="42138" y="7238"/>
                    </a:lnTo>
                    <a:lnTo>
                      <a:pt x="34290" y="1943"/>
                    </a:lnTo>
                    <a:lnTo>
                      <a:pt x="24688" y="0"/>
                    </a:lnTo>
                    <a:close/>
                  </a:path>
                  <a:path w="49529" h="49529">
                    <a:moveTo>
                      <a:pt x="45583" y="12344"/>
                    </a:moveTo>
                    <a:lnTo>
                      <a:pt x="31496" y="12344"/>
                    </a:lnTo>
                    <a:lnTo>
                      <a:pt x="37033" y="17881"/>
                    </a:lnTo>
                    <a:lnTo>
                      <a:pt x="37033" y="31495"/>
                    </a:lnTo>
                    <a:lnTo>
                      <a:pt x="31496" y="37045"/>
                    </a:lnTo>
                    <a:lnTo>
                      <a:pt x="45577" y="37045"/>
                    </a:lnTo>
                    <a:lnTo>
                      <a:pt x="47434" y="34291"/>
                    </a:lnTo>
                    <a:lnTo>
                      <a:pt x="49377" y="24688"/>
                    </a:lnTo>
                    <a:lnTo>
                      <a:pt x="47434" y="15087"/>
                    </a:lnTo>
                    <a:lnTo>
                      <a:pt x="45583" y="12344"/>
                    </a:lnTo>
                    <a:close/>
                  </a:path>
                </a:pathLst>
              </a:custGeom>
              <a:solidFill>
                <a:srgbClr val="3350B8"/>
              </a:solidFill>
            </p:spPr>
            <p:txBody>
              <a:bodyPr wrap="square" lIns="0" tIns="0" rIns="0" bIns="0" rtlCol="0"/>
              <a:lstStyle/>
              <a:p>
                <a:endParaRPr/>
              </a:p>
            </p:txBody>
          </p:sp>
          <p:pic>
            <p:nvPicPr>
              <p:cNvPr id="88" name="object 245">
                <a:extLst>
                  <a:ext uri="{FF2B5EF4-FFF2-40B4-BE49-F238E27FC236}">
                    <a16:creationId xmlns:a16="http://schemas.microsoft.com/office/drawing/2014/main" id="{DAAD3064-7F2F-AD84-DA99-314DB3900763}"/>
                  </a:ext>
                </a:extLst>
              </p:cNvPr>
              <p:cNvPicPr/>
              <p:nvPr/>
            </p:nvPicPr>
            <p:blipFill>
              <a:blip r:embed="rId35" cstate="print"/>
              <a:stretch>
                <a:fillRect/>
              </a:stretch>
            </p:blipFill>
            <p:spPr>
              <a:xfrm>
                <a:off x="4703668" y="3255433"/>
                <a:ext cx="129597" cy="154298"/>
              </a:xfrm>
              <a:prstGeom prst="rect">
                <a:avLst/>
              </a:prstGeom>
            </p:spPr>
          </p:pic>
          <p:sp>
            <p:nvSpPr>
              <p:cNvPr id="89" name="object 246">
                <a:extLst>
                  <a:ext uri="{FF2B5EF4-FFF2-40B4-BE49-F238E27FC236}">
                    <a16:creationId xmlns:a16="http://schemas.microsoft.com/office/drawing/2014/main" id="{8D680EEA-DA53-4751-79C0-FC8AE86E981B}"/>
                  </a:ext>
                </a:extLst>
              </p:cNvPr>
              <p:cNvSpPr/>
              <p:nvPr/>
            </p:nvSpPr>
            <p:spPr>
              <a:xfrm>
                <a:off x="4790046" y="3502293"/>
                <a:ext cx="43815" cy="12700"/>
              </a:xfrm>
              <a:custGeom>
                <a:avLst/>
                <a:gdLst/>
                <a:ahLst/>
                <a:cxnLst/>
                <a:rect l="l" t="t" r="r" b="b"/>
                <a:pathLst>
                  <a:path w="43814" h="12700">
                    <a:moveTo>
                      <a:pt x="40424" y="0"/>
                    </a:moveTo>
                    <a:lnTo>
                      <a:pt x="2768" y="0"/>
                    </a:lnTo>
                    <a:lnTo>
                      <a:pt x="0" y="2768"/>
                    </a:lnTo>
                    <a:lnTo>
                      <a:pt x="0" y="9575"/>
                    </a:lnTo>
                    <a:lnTo>
                      <a:pt x="2768" y="12344"/>
                    </a:lnTo>
                    <a:lnTo>
                      <a:pt x="37020" y="12344"/>
                    </a:lnTo>
                    <a:lnTo>
                      <a:pt x="40424" y="12344"/>
                    </a:lnTo>
                    <a:lnTo>
                      <a:pt x="43192" y="9575"/>
                    </a:lnTo>
                    <a:lnTo>
                      <a:pt x="43192" y="2768"/>
                    </a:lnTo>
                    <a:lnTo>
                      <a:pt x="40424" y="0"/>
                    </a:lnTo>
                    <a:close/>
                  </a:path>
                </a:pathLst>
              </a:custGeom>
              <a:solidFill>
                <a:srgbClr val="3350B8"/>
              </a:solidFill>
            </p:spPr>
            <p:txBody>
              <a:bodyPr wrap="square" lIns="0" tIns="0" rIns="0" bIns="0" rtlCol="0"/>
              <a:lstStyle/>
              <a:p>
                <a:endParaRPr/>
              </a:p>
            </p:txBody>
          </p:sp>
        </p:grpSp>
        <p:grpSp>
          <p:nvGrpSpPr>
            <p:cNvPr id="72" name="object 247">
              <a:extLst>
                <a:ext uri="{FF2B5EF4-FFF2-40B4-BE49-F238E27FC236}">
                  <a16:creationId xmlns:a16="http://schemas.microsoft.com/office/drawing/2014/main" id="{FE7155EA-B87B-5B4F-48B5-1ABF24EA8C44}"/>
                </a:ext>
              </a:extLst>
            </p:cNvPr>
            <p:cNvGrpSpPr/>
            <p:nvPr/>
          </p:nvGrpSpPr>
          <p:grpSpPr>
            <a:xfrm>
              <a:off x="5848375" y="2052002"/>
              <a:ext cx="327660" cy="432434"/>
              <a:chOff x="5848375" y="2052002"/>
              <a:chExt cx="327660" cy="432434"/>
            </a:xfrm>
          </p:grpSpPr>
          <p:sp>
            <p:nvSpPr>
              <p:cNvPr id="78" name="object 248">
                <a:extLst>
                  <a:ext uri="{FF2B5EF4-FFF2-40B4-BE49-F238E27FC236}">
                    <a16:creationId xmlns:a16="http://schemas.microsoft.com/office/drawing/2014/main" id="{EFF3DCEB-0A1C-B209-2A8D-D1FAF9566D09}"/>
                  </a:ext>
                </a:extLst>
              </p:cNvPr>
              <p:cNvSpPr/>
              <p:nvPr/>
            </p:nvSpPr>
            <p:spPr>
              <a:xfrm>
                <a:off x="5848375" y="2052002"/>
                <a:ext cx="327660" cy="432434"/>
              </a:xfrm>
              <a:custGeom>
                <a:avLst/>
                <a:gdLst/>
                <a:ahLst/>
                <a:cxnLst/>
                <a:rect l="l" t="t" r="r" b="b"/>
                <a:pathLst>
                  <a:path w="327660" h="432435">
                    <a:moveTo>
                      <a:pt x="111252" y="281114"/>
                    </a:moveTo>
                    <a:lnTo>
                      <a:pt x="105041" y="274916"/>
                    </a:lnTo>
                    <a:lnTo>
                      <a:pt x="98158" y="274916"/>
                    </a:lnTo>
                    <a:lnTo>
                      <a:pt x="98158" y="288340"/>
                    </a:lnTo>
                    <a:lnTo>
                      <a:pt x="98158" y="386168"/>
                    </a:lnTo>
                    <a:lnTo>
                      <a:pt x="58889" y="386168"/>
                    </a:lnTo>
                    <a:lnTo>
                      <a:pt x="58889" y="288340"/>
                    </a:lnTo>
                    <a:lnTo>
                      <a:pt x="59232" y="287997"/>
                    </a:lnTo>
                    <a:lnTo>
                      <a:pt x="97815" y="287997"/>
                    </a:lnTo>
                    <a:lnTo>
                      <a:pt x="98158" y="288340"/>
                    </a:lnTo>
                    <a:lnTo>
                      <a:pt x="98158" y="274916"/>
                    </a:lnTo>
                    <a:lnTo>
                      <a:pt x="52006" y="274916"/>
                    </a:lnTo>
                    <a:lnTo>
                      <a:pt x="45796" y="281114"/>
                    </a:lnTo>
                    <a:lnTo>
                      <a:pt x="45796" y="396341"/>
                    </a:lnTo>
                    <a:lnTo>
                      <a:pt x="48717" y="399262"/>
                    </a:lnTo>
                    <a:lnTo>
                      <a:pt x="108331" y="399262"/>
                    </a:lnTo>
                    <a:lnTo>
                      <a:pt x="111252" y="396341"/>
                    </a:lnTo>
                    <a:lnTo>
                      <a:pt x="111252" y="386168"/>
                    </a:lnTo>
                    <a:lnTo>
                      <a:pt x="111252" y="287997"/>
                    </a:lnTo>
                    <a:lnTo>
                      <a:pt x="111252" y="281114"/>
                    </a:lnTo>
                    <a:close/>
                  </a:path>
                  <a:path w="327660" h="432435">
                    <a:moveTo>
                      <a:pt x="274891" y="137439"/>
                    </a:moveTo>
                    <a:lnTo>
                      <a:pt x="52349" y="137439"/>
                    </a:lnTo>
                    <a:lnTo>
                      <a:pt x="52349" y="150533"/>
                    </a:lnTo>
                    <a:lnTo>
                      <a:pt x="274891" y="150533"/>
                    </a:lnTo>
                    <a:lnTo>
                      <a:pt x="274891" y="137439"/>
                    </a:lnTo>
                    <a:close/>
                  </a:path>
                  <a:path w="327660" h="432435">
                    <a:moveTo>
                      <a:pt x="274891" y="91630"/>
                    </a:moveTo>
                    <a:lnTo>
                      <a:pt x="52349" y="91630"/>
                    </a:lnTo>
                    <a:lnTo>
                      <a:pt x="52349" y="104724"/>
                    </a:lnTo>
                    <a:lnTo>
                      <a:pt x="274891" y="104724"/>
                    </a:lnTo>
                    <a:lnTo>
                      <a:pt x="274891" y="91630"/>
                    </a:lnTo>
                    <a:close/>
                  </a:path>
                  <a:path w="327660" h="432435">
                    <a:moveTo>
                      <a:pt x="274891" y="45821"/>
                    </a:moveTo>
                    <a:lnTo>
                      <a:pt x="52349" y="45821"/>
                    </a:lnTo>
                    <a:lnTo>
                      <a:pt x="52349" y="58915"/>
                    </a:lnTo>
                    <a:lnTo>
                      <a:pt x="274891" y="58915"/>
                    </a:lnTo>
                    <a:lnTo>
                      <a:pt x="274891" y="45821"/>
                    </a:lnTo>
                    <a:close/>
                  </a:path>
                  <a:path w="327660" h="432435">
                    <a:moveTo>
                      <a:pt x="281444" y="254939"/>
                    </a:moveTo>
                    <a:lnTo>
                      <a:pt x="275234" y="248729"/>
                    </a:lnTo>
                    <a:lnTo>
                      <a:pt x="268351" y="248729"/>
                    </a:lnTo>
                    <a:lnTo>
                      <a:pt x="268351" y="262166"/>
                    </a:lnTo>
                    <a:lnTo>
                      <a:pt x="268351" y="386168"/>
                    </a:lnTo>
                    <a:lnTo>
                      <a:pt x="229082" y="386168"/>
                    </a:lnTo>
                    <a:lnTo>
                      <a:pt x="229082" y="262166"/>
                    </a:lnTo>
                    <a:lnTo>
                      <a:pt x="229425" y="261823"/>
                    </a:lnTo>
                    <a:lnTo>
                      <a:pt x="268008" y="261823"/>
                    </a:lnTo>
                    <a:lnTo>
                      <a:pt x="268351" y="262166"/>
                    </a:lnTo>
                    <a:lnTo>
                      <a:pt x="268351" y="248729"/>
                    </a:lnTo>
                    <a:lnTo>
                      <a:pt x="222199" y="248729"/>
                    </a:lnTo>
                    <a:lnTo>
                      <a:pt x="215988" y="254939"/>
                    </a:lnTo>
                    <a:lnTo>
                      <a:pt x="215988" y="396341"/>
                    </a:lnTo>
                    <a:lnTo>
                      <a:pt x="218909" y="399262"/>
                    </a:lnTo>
                    <a:lnTo>
                      <a:pt x="278523" y="399262"/>
                    </a:lnTo>
                    <a:lnTo>
                      <a:pt x="281444" y="396341"/>
                    </a:lnTo>
                    <a:lnTo>
                      <a:pt x="281444" y="386168"/>
                    </a:lnTo>
                    <a:lnTo>
                      <a:pt x="281444" y="261823"/>
                    </a:lnTo>
                    <a:lnTo>
                      <a:pt x="281444" y="254939"/>
                    </a:lnTo>
                    <a:close/>
                  </a:path>
                  <a:path w="327660" h="432435">
                    <a:moveTo>
                      <a:pt x="327253" y="2921"/>
                    </a:moveTo>
                    <a:lnTo>
                      <a:pt x="324332" y="0"/>
                    </a:lnTo>
                    <a:lnTo>
                      <a:pt x="314159" y="0"/>
                    </a:lnTo>
                    <a:lnTo>
                      <a:pt x="314159" y="13081"/>
                    </a:lnTo>
                    <a:lnTo>
                      <a:pt x="314159" y="418909"/>
                    </a:lnTo>
                    <a:lnTo>
                      <a:pt x="13081" y="418909"/>
                    </a:lnTo>
                    <a:lnTo>
                      <a:pt x="13081" y="13081"/>
                    </a:lnTo>
                    <a:lnTo>
                      <a:pt x="314159" y="13081"/>
                    </a:lnTo>
                    <a:lnTo>
                      <a:pt x="314159" y="0"/>
                    </a:lnTo>
                    <a:lnTo>
                      <a:pt x="2908" y="0"/>
                    </a:lnTo>
                    <a:lnTo>
                      <a:pt x="0" y="2921"/>
                    </a:lnTo>
                    <a:lnTo>
                      <a:pt x="0" y="429082"/>
                    </a:lnTo>
                    <a:lnTo>
                      <a:pt x="2908" y="432003"/>
                    </a:lnTo>
                    <a:lnTo>
                      <a:pt x="324332" y="432003"/>
                    </a:lnTo>
                    <a:lnTo>
                      <a:pt x="327228" y="429082"/>
                    </a:lnTo>
                    <a:lnTo>
                      <a:pt x="327253" y="418909"/>
                    </a:lnTo>
                    <a:lnTo>
                      <a:pt x="327253" y="13081"/>
                    </a:lnTo>
                    <a:lnTo>
                      <a:pt x="327253" y="2921"/>
                    </a:lnTo>
                    <a:close/>
                  </a:path>
                </a:pathLst>
              </a:custGeom>
              <a:solidFill>
                <a:srgbClr val="3350B8"/>
              </a:solidFill>
            </p:spPr>
            <p:txBody>
              <a:bodyPr wrap="square" lIns="0" tIns="0" rIns="0" bIns="0" rtlCol="0"/>
              <a:lstStyle/>
              <a:p>
                <a:endParaRPr/>
              </a:p>
            </p:txBody>
          </p:sp>
          <p:pic>
            <p:nvPicPr>
              <p:cNvPr id="79" name="object 249">
                <a:extLst>
                  <a:ext uri="{FF2B5EF4-FFF2-40B4-BE49-F238E27FC236}">
                    <a16:creationId xmlns:a16="http://schemas.microsoft.com/office/drawing/2014/main" id="{4B7DA120-E3A9-D566-D13F-29FA9048EF86}"/>
                  </a:ext>
                </a:extLst>
              </p:cNvPr>
              <p:cNvPicPr/>
              <p:nvPr/>
            </p:nvPicPr>
            <p:blipFill>
              <a:blip r:embed="rId36" cstate="print"/>
              <a:stretch>
                <a:fillRect/>
              </a:stretch>
            </p:blipFill>
            <p:spPr>
              <a:xfrm>
                <a:off x="5979285" y="2366167"/>
                <a:ext cx="65455" cy="85089"/>
              </a:xfrm>
              <a:prstGeom prst="rect">
                <a:avLst/>
              </a:prstGeom>
            </p:spPr>
          </p:pic>
          <p:sp>
            <p:nvSpPr>
              <p:cNvPr id="80" name="object 250">
                <a:extLst>
                  <a:ext uri="{FF2B5EF4-FFF2-40B4-BE49-F238E27FC236}">
                    <a16:creationId xmlns:a16="http://schemas.microsoft.com/office/drawing/2014/main" id="{55D1C221-5C9E-FA9B-2A1E-DBF763F2CAD6}"/>
                  </a:ext>
                </a:extLst>
              </p:cNvPr>
              <p:cNvSpPr/>
              <p:nvPr/>
            </p:nvSpPr>
            <p:spPr>
              <a:xfrm>
                <a:off x="5901928" y="2234443"/>
                <a:ext cx="209550" cy="79375"/>
              </a:xfrm>
              <a:custGeom>
                <a:avLst/>
                <a:gdLst/>
                <a:ahLst/>
                <a:cxnLst/>
                <a:rect l="l" t="t" r="r" b="b"/>
                <a:pathLst>
                  <a:path w="209550" h="79375">
                    <a:moveTo>
                      <a:pt x="200875" y="0"/>
                    </a:moveTo>
                    <a:lnTo>
                      <a:pt x="110477" y="64566"/>
                    </a:lnTo>
                    <a:lnTo>
                      <a:pt x="66776" y="27089"/>
                    </a:lnTo>
                    <a:lnTo>
                      <a:pt x="64274" y="26657"/>
                    </a:lnTo>
                    <a:lnTo>
                      <a:pt x="1765" y="49098"/>
                    </a:lnTo>
                    <a:lnTo>
                      <a:pt x="0" y="52857"/>
                    </a:lnTo>
                    <a:lnTo>
                      <a:pt x="2451" y="59639"/>
                    </a:lnTo>
                    <a:lnTo>
                      <a:pt x="6197" y="61404"/>
                    </a:lnTo>
                    <a:lnTo>
                      <a:pt x="62915" y="41021"/>
                    </a:lnTo>
                    <a:lnTo>
                      <a:pt x="107035" y="78854"/>
                    </a:lnTo>
                    <a:lnTo>
                      <a:pt x="108572" y="79375"/>
                    </a:lnTo>
                    <a:lnTo>
                      <a:pt x="110083" y="79375"/>
                    </a:lnTo>
                    <a:lnTo>
                      <a:pt x="111417" y="79375"/>
                    </a:lnTo>
                    <a:lnTo>
                      <a:pt x="112737" y="78955"/>
                    </a:lnTo>
                    <a:lnTo>
                      <a:pt x="208457" y="10642"/>
                    </a:lnTo>
                    <a:lnTo>
                      <a:pt x="209169" y="6553"/>
                    </a:lnTo>
                    <a:lnTo>
                      <a:pt x="204965" y="660"/>
                    </a:lnTo>
                    <a:lnTo>
                      <a:pt x="200875" y="0"/>
                    </a:lnTo>
                    <a:close/>
                  </a:path>
                </a:pathLst>
              </a:custGeom>
              <a:solidFill>
                <a:srgbClr val="3350B8"/>
              </a:solidFill>
            </p:spPr>
            <p:txBody>
              <a:bodyPr wrap="square" lIns="0" tIns="0" rIns="0" bIns="0" rtlCol="0"/>
              <a:lstStyle/>
              <a:p>
                <a:endParaRPr/>
              </a:p>
            </p:txBody>
          </p:sp>
        </p:grpSp>
        <p:grpSp>
          <p:nvGrpSpPr>
            <p:cNvPr id="74" name="object 251">
              <a:extLst>
                <a:ext uri="{FF2B5EF4-FFF2-40B4-BE49-F238E27FC236}">
                  <a16:creationId xmlns:a16="http://schemas.microsoft.com/office/drawing/2014/main" id="{2556CFDE-5DBF-F7ED-1103-DE244431EE75}"/>
                </a:ext>
              </a:extLst>
            </p:cNvPr>
            <p:cNvGrpSpPr/>
            <p:nvPr/>
          </p:nvGrpSpPr>
          <p:grpSpPr>
            <a:xfrm>
              <a:off x="3632725" y="3168591"/>
              <a:ext cx="438784" cy="359410"/>
              <a:chOff x="3632725" y="3168591"/>
              <a:chExt cx="438784" cy="359410"/>
            </a:xfrm>
          </p:grpSpPr>
          <p:pic>
            <p:nvPicPr>
              <p:cNvPr id="76" name="object 252">
                <a:extLst>
                  <a:ext uri="{FF2B5EF4-FFF2-40B4-BE49-F238E27FC236}">
                    <a16:creationId xmlns:a16="http://schemas.microsoft.com/office/drawing/2014/main" id="{ECFB29DF-5EF4-D658-5554-C81A16FB8106}"/>
                  </a:ext>
                </a:extLst>
              </p:cNvPr>
              <p:cNvPicPr/>
              <p:nvPr/>
            </p:nvPicPr>
            <p:blipFill>
              <a:blip r:embed="rId37" cstate="print"/>
              <a:stretch>
                <a:fillRect/>
              </a:stretch>
            </p:blipFill>
            <p:spPr>
              <a:xfrm>
                <a:off x="3719118" y="3215105"/>
                <a:ext cx="265760" cy="265799"/>
              </a:xfrm>
              <a:prstGeom prst="rect">
                <a:avLst/>
              </a:prstGeom>
            </p:spPr>
          </p:pic>
          <p:sp>
            <p:nvSpPr>
              <p:cNvPr id="77" name="object 253">
                <a:extLst>
                  <a:ext uri="{FF2B5EF4-FFF2-40B4-BE49-F238E27FC236}">
                    <a16:creationId xmlns:a16="http://schemas.microsoft.com/office/drawing/2014/main" id="{98413F56-7A1A-BABA-8FAC-65DAB3680509}"/>
                  </a:ext>
                </a:extLst>
              </p:cNvPr>
              <p:cNvSpPr/>
              <p:nvPr/>
            </p:nvSpPr>
            <p:spPr>
              <a:xfrm>
                <a:off x="3632721" y="3168599"/>
                <a:ext cx="438784" cy="359410"/>
              </a:xfrm>
              <a:custGeom>
                <a:avLst/>
                <a:gdLst/>
                <a:ahLst/>
                <a:cxnLst/>
                <a:rect l="l" t="t" r="r" b="b"/>
                <a:pathLst>
                  <a:path w="438785" h="359410">
                    <a:moveTo>
                      <a:pt x="358800" y="79400"/>
                    </a:moveTo>
                    <a:lnTo>
                      <a:pt x="355688" y="64033"/>
                    </a:lnTo>
                    <a:lnTo>
                      <a:pt x="348361" y="53174"/>
                    </a:lnTo>
                    <a:lnTo>
                      <a:pt x="347205" y="51460"/>
                    </a:lnTo>
                    <a:lnTo>
                      <a:pt x="345541" y="50342"/>
                    </a:lnTo>
                    <a:lnTo>
                      <a:pt x="345541" y="279450"/>
                    </a:lnTo>
                    <a:lnTo>
                      <a:pt x="343471" y="289661"/>
                    </a:lnTo>
                    <a:lnTo>
                      <a:pt x="337845" y="297992"/>
                    </a:lnTo>
                    <a:lnTo>
                      <a:pt x="329501" y="303631"/>
                    </a:lnTo>
                    <a:lnTo>
                      <a:pt x="319303" y="305689"/>
                    </a:lnTo>
                    <a:lnTo>
                      <a:pt x="119278" y="305689"/>
                    </a:lnTo>
                    <a:lnTo>
                      <a:pt x="109067" y="303631"/>
                    </a:lnTo>
                    <a:lnTo>
                      <a:pt x="100723" y="297992"/>
                    </a:lnTo>
                    <a:lnTo>
                      <a:pt x="95097" y="289661"/>
                    </a:lnTo>
                    <a:lnTo>
                      <a:pt x="93027" y="279450"/>
                    </a:lnTo>
                    <a:lnTo>
                      <a:pt x="93027" y="79400"/>
                    </a:lnTo>
                    <a:lnTo>
                      <a:pt x="95097" y="69227"/>
                    </a:lnTo>
                    <a:lnTo>
                      <a:pt x="100723" y="60883"/>
                    </a:lnTo>
                    <a:lnTo>
                      <a:pt x="109067" y="55245"/>
                    </a:lnTo>
                    <a:lnTo>
                      <a:pt x="119278" y="53174"/>
                    </a:lnTo>
                    <a:lnTo>
                      <a:pt x="319303" y="53174"/>
                    </a:lnTo>
                    <a:lnTo>
                      <a:pt x="345541" y="279450"/>
                    </a:lnTo>
                    <a:lnTo>
                      <a:pt x="345541" y="50342"/>
                    </a:lnTo>
                    <a:lnTo>
                      <a:pt x="334645" y="42976"/>
                    </a:lnTo>
                    <a:lnTo>
                      <a:pt x="319278" y="39865"/>
                    </a:lnTo>
                    <a:lnTo>
                      <a:pt x="119253" y="39865"/>
                    </a:lnTo>
                    <a:lnTo>
                      <a:pt x="103886" y="42976"/>
                    </a:lnTo>
                    <a:lnTo>
                      <a:pt x="91313" y="51460"/>
                    </a:lnTo>
                    <a:lnTo>
                      <a:pt x="82829" y="64033"/>
                    </a:lnTo>
                    <a:lnTo>
                      <a:pt x="79717" y="79400"/>
                    </a:lnTo>
                    <a:lnTo>
                      <a:pt x="79730" y="279450"/>
                    </a:lnTo>
                    <a:lnTo>
                      <a:pt x="82829" y="294792"/>
                    </a:lnTo>
                    <a:lnTo>
                      <a:pt x="91313" y="307365"/>
                    </a:lnTo>
                    <a:lnTo>
                      <a:pt x="103886" y="315836"/>
                    </a:lnTo>
                    <a:lnTo>
                      <a:pt x="119253" y="318947"/>
                    </a:lnTo>
                    <a:lnTo>
                      <a:pt x="319278" y="318947"/>
                    </a:lnTo>
                    <a:lnTo>
                      <a:pt x="355688" y="294792"/>
                    </a:lnTo>
                    <a:lnTo>
                      <a:pt x="358787" y="279450"/>
                    </a:lnTo>
                    <a:lnTo>
                      <a:pt x="358800" y="79400"/>
                    </a:lnTo>
                    <a:close/>
                  </a:path>
                  <a:path w="438785" h="359410">
                    <a:moveTo>
                      <a:pt x="438543" y="84543"/>
                    </a:moveTo>
                    <a:lnTo>
                      <a:pt x="437781" y="82778"/>
                    </a:lnTo>
                    <a:lnTo>
                      <a:pt x="425234" y="71196"/>
                    </a:lnTo>
                    <a:lnTo>
                      <a:pt x="425234" y="89306"/>
                    </a:lnTo>
                    <a:lnTo>
                      <a:pt x="425234" y="119608"/>
                    </a:lnTo>
                    <a:lnTo>
                      <a:pt x="425234" y="132892"/>
                    </a:lnTo>
                    <a:lnTo>
                      <a:pt x="425234" y="225920"/>
                    </a:lnTo>
                    <a:lnTo>
                      <a:pt x="408762" y="225920"/>
                    </a:lnTo>
                    <a:lnTo>
                      <a:pt x="405307" y="222465"/>
                    </a:lnTo>
                    <a:lnTo>
                      <a:pt x="405307" y="136347"/>
                    </a:lnTo>
                    <a:lnTo>
                      <a:pt x="408762" y="132892"/>
                    </a:lnTo>
                    <a:lnTo>
                      <a:pt x="425234" y="132892"/>
                    </a:lnTo>
                    <a:lnTo>
                      <a:pt x="425234" y="119608"/>
                    </a:lnTo>
                    <a:lnTo>
                      <a:pt x="412978" y="119608"/>
                    </a:lnTo>
                    <a:lnTo>
                      <a:pt x="404837" y="121259"/>
                    </a:lnTo>
                    <a:lnTo>
                      <a:pt x="398183" y="125768"/>
                    </a:lnTo>
                    <a:lnTo>
                      <a:pt x="393674" y="132422"/>
                    </a:lnTo>
                    <a:lnTo>
                      <a:pt x="392023" y="140563"/>
                    </a:lnTo>
                    <a:lnTo>
                      <a:pt x="392023" y="218249"/>
                    </a:lnTo>
                    <a:lnTo>
                      <a:pt x="393674" y="226402"/>
                    </a:lnTo>
                    <a:lnTo>
                      <a:pt x="398183" y="233057"/>
                    </a:lnTo>
                    <a:lnTo>
                      <a:pt x="404837" y="237566"/>
                    </a:lnTo>
                    <a:lnTo>
                      <a:pt x="412978" y="239204"/>
                    </a:lnTo>
                    <a:lnTo>
                      <a:pt x="425234" y="239204"/>
                    </a:lnTo>
                    <a:lnTo>
                      <a:pt x="425234" y="269544"/>
                    </a:lnTo>
                    <a:lnTo>
                      <a:pt x="342912" y="345541"/>
                    </a:lnTo>
                    <a:lnTo>
                      <a:pt x="95605" y="345541"/>
                    </a:lnTo>
                    <a:lnTo>
                      <a:pt x="13284" y="269544"/>
                    </a:lnTo>
                    <a:lnTo>
                      <a:pt x="13284" y="239204"/>
                    </a:lnTo>
                    <a:lnTo>
                      <a:pt x="25565" y="239204"/>
                    </a:lnTo>
                    <a:lnTo>
                      <a:pt x="33705" y="237566"/>
                    </a:lnTo>
                    <a:lnTo>
                      <a:pt x="40373" y="233070"/>
                    </a:lnTo>
                    <a:lnTo>
                      <a:pt x="44869" y="226415"/>
                    </a:lnTo>
                    <a:lnTo>
                      <a:pt x="44970" y="225920"/>
                    </a:lnTo>
                    <a:lnTo>
                      <a:pt x="46520" y="218249"/>
                    </a:lnTo>
                    <a:lnTo>
                      <a:pt x="46520" y="140563"/>
                    </a:lnTo>
                    <a:lnTo>
                      <a:pt x="44958" y="132892"/>
                    </a:lnTo>
                    <a:lnTo>
                      <a:pt x="44869" y="132422"/>
                    </a:lnTo>
                    <a:lnTo>
                      <a:pt x="40373" y="125768"/>
                    </a:lnTo>
                    <a:lnTo>
                      <a:pt x="33705" y="121259"/>
                    </a:lnTo>
                    <a:lnTo>
                      <a:pt x="33235" y="121170"/>
                    </a:lnTo>
                    <a:lnTo>
                      <a:pt x="33235" y="136347"/>
                    </a:lnTo>
                    <a:lnTo>
                      <a:pt x="33235" y="222465"/>
                    </a:lnTo>
                    <a:lnTo>
                      <a:pt x="29781" y="225920"/>
                    </a:lnTo>
                    <a:lnTo>
                      <a:pt x="13284" y="225920"/>
                    </a:lnTo>
                    <a:lnTo>
                      <a:pt x="13284" y="132892"/>
                    </a:lnTo>
                    <a:lnTo>
                      <a:pt x="29781" y="132892"/>
                    </a:lnTo>
                    <a:lnTo>
                      <a:pt x="33235" y="136347"/>
                    </a:lnTo>
                    <a:lnTo>
                      <a:pt x="33235" y="121170"/>
                    </a:lnTo>
                    <a:lnTo>
                      <a:pt x="25565" y="119608"/>
                    </a:lnTo>
                    <a:lnTo>
                      <a:pt x="13284" y="119608"/>
                    </a:lnTo>
                    <a:lnTo>
                      <a:pt x="13284" y="89306"/>
                    </a:lnTo>
                    <a:lnTo>
                      <a:pt x="95605" y="13309"/>
                    </a:lnTo>
                    <a:lnTo>
                      <a:pt x="342912" y="13309"/>
                    </a:lnTo>
                    <a:lnTo>
                      <a:pt x="425234" y="89306"/>
                    </a:lnTo>
                    <a:lnTo>
                      <a:pt x="425234" y="71196"/>
                    </a:lnTo>
                    <a:lnTo>
                      <a:pt x="362534" y="13309"/>
                    </a:lnTo>
                    <a:lnTo>
                      <a:pt x="348780" y="635"/>
                    </a:lnTo>
                    <a:lnTo>
                      <a:pt x="347179" y="0"/>
                    </a:lnTo>
                    <a:lnTo>
                      <a:pt x="91363" y="0"/>
                    </a:lnTo>
                    <a:lnTo>
                      <a:pt x="89763" y="635"/>
                    </a:lnTo>
                    <a:lnTo>
                      <a:pt x="88519" y="1765"/>
                    </a:lnTo>
                    <a:lnTo>
                      <a:pt x="749" y="82778"/>
                    </a:lnTo>
                    <a:lnTo>
                      <a:pt x="0" y="84543"/>
                    </a:lnTo>
                    <a:lnTo>
                      <a:pt x="0" y="122593"/>
                    </a:lnTo>
                    <a:lnTo>
                      <a:pt x="0" y="236220"/>
                    </a:lnTo>
                    <a:lnTo>
                      <a:pt x="0" y="274281"/>
                    </a:lnTo>
                    <a:lnTo>
                      <a:pt x="762" y="276047"/>
                    </a:lnTo>
                    <a:lnTo>
                      <a:pt x="88519" y="357060"/>
                    </a:lnTo>
                    <a:lnTo>
                      <a:pt x="89763" y="358190"/>
                    </a:lnTo>
                    <a:lnTo>
                      <a:pt x="91363" y="358825"/>
                    </a:lnTo>
                    <a:lnTo>
                      <a:pt x="347179" y="358825"/>
                    </a:lnTo>
                    <a:lnTo>
                      <a:pt x="348805" y="358190"/>
                    </a:lnTo>
                    <a:lnTo>
                      <a:pt x="362508" y="345541"/>
                    </a:lnTo>
                    <a:lnTo>
                      <a:pt x="437794" y="276047"/>
                    </a:lnTo>
                    <a:lnTo>
                      <a:pt x="438543" y="274281"/>
                    </a:lnTo>
                    <a:lnTo>
                      <a:pt x="438543" y="236245"/>
                    </a:lnTo>
                    <a:lnTo>
                      <a:pt x="438543" y="225920"/>
                    </a:lnTo>
                    <a:lnTo>
                      <a:pt x="438543" y="132892"/>
                    </a:lnTo>
                    <a:lnTo>
                      <a:pt x="438543" y="122593"/>
                    </a:lnTo>
                    <a:lnTo>
                      <a:pt x="438543" y="84543"/>
                    </a:lnTo>
                    <a:close/>
                  </a:path>
                </a:pathLst>
              </a:custGeom>
              <a:solidFill>
                <a:srgbClr val="914BFF"/>
              </a:solidFill>
            </p:spPr>
            <p:txBody>
              <a:bodyPr wrap="square" lIns="0" tIns="0" rIns="0" bIns="0" rtlCol="0"/>
              <a:lstStyle/>
              <a:p>
                <a:endParaRPr/>
              </a:p>
            </p:txBody>
          </p:sp>
        </p:grpSp>
        <p:pic>
          <p:nvPicPr>
            <p:cNvPr id="75" name="object 254">
              <a:extLst>
                <a:ext uri="{FF2B5EF4-FFF2-40B4-BE49-F238E27FC236}">
                  <a16:creationId xmlns:a16="http://schemas.microsoft.com/office/drawing/2014/main" id="{2A7B5F9A-D318-47AC-F571-16F981A7707B}"/>
                </a:ext>
              </a:extLst>
            </p:cNvPr>
            <p:cNvPicPr/>
            <p:nvPr/>
          </p:nvPicPr>
          <p:blipFill>
            <a:blip r:embed="rId38" cstate="print"/>
            <a:stretch>
              <a:fillRect/>
            </a:stretch>
          </p:blipFill>
          <p:spPr>
            <a:xfrm>
              <a:off x="4826919" y="2052002"/>
              <a:ext cx="210159" cy="432007"/>
            </a:xfrm>
            <a:prstGeom prst="rect">
              <a:avLst/>
            </a:prstGeom>
          </p:spPr>
        </p:pic>
      </p:grpSp>
      <p:grpSp>
        <p:nvGrpSpPr>
          <p:cNvPr id="301" name="Group 300">
            <a:extLst>
              <a:ext uri="{FF2B5EF4-FFF2-40B4-BE49-F238E27FC236}">
                <a16:creationId xmlns:a16="http://schemas.microsoft.com/office/drawing/2014/main" id="{0204D04D-6BDE-417A-1964-FFAB721873E7}"/>
              </a:ext>
            </a:extLst>
          </p:cNvPr>
          <p:cNvGrpSpPr>
            <a:grpSpLocks noChangeAspect="1"/>
          </p:cNvGrpSpPr>
          <p:nvPr/>
        </p:nvGrpSpPr>
        <p:grpSpPr>
          <a:xfrm>
            <a:off x="283847" y="1339398"/>
            <a:ext cx="1697736" cy="1695600"/>
            <a:chOff x="284825" y="1944000"/>
            <a:chExt cx="2523490" cy="2520315"/>
          </a:xfrm>
        </p:grpSpPr>
        <p:sp>
          <p:nvSpPr>
            <p:cNvPr id="302" name="object 2">
              <a:extLst>
                <a:ext uri="{FF2B5EF4-FFF2-40B4-BE49-F238E27FC236}">
                  <a16:creationId xmlns:a16="http://schemas.microsoft.com/office/drawing/2014/main" id="{B27B726B-3470-C5C5-DA10-3820BFB9FF75}"/>
                </a:ext>
              </a:extLst>
            </p:cNvPr>
            <p:cNvSpPr/>
            <p:nvPr/>
          </p:nvSpPr>
          <p:spPr>
            <a:xfrm>
              <a:off x="359968" y="2013115"/>
              <a:ext cx="432434" cy="432434"/>
            </a:xfrm>
            <a:custGeom>
              <a:avLst/>
              <a:gdLst/>
              <a:ahLst/>
              <a:cxnLst/>
              <a:rect l="l" t="t" r="r" b="b"/>
              <a:pathLst>
                <a:path w="432434" h="432435">
                  <a:moveTo>
                    <a:pt x="432015" y="432015"/>
                  </a:moveTo>
                  <a:lnTo>
                    <a:pt x="0" y="432015"/>
                  </a:lnTo>
                  <a:lnTo>
                    <a:pt x="0" y="0"/>
                  </a:lnTo>
                  <a:lnTo>
                    <a:pt x="432015" y="0"/>
                  </a:lnTo>
                  <a:lnTo>
                    <a:pt x="432015" y="432015"/>
                  </a:lnTo>
                  <a:close/>
                </a:path>
              </a:pathLst>
            </a:custGeom>
            <a:ln w="51841">
              <a:solidFill>
                <a:srgbClr val="3350B8"/>
              </a:solidFill>
            </a:ln>
          </p:spPr>
          <p:txBody>
            <a:bodyPr wrap="square" lIns="0" tIns="0" rIns="0" bIns="0" rtlCol="0"/>
            <a:lstStyle/>
            <a:p>
              <a:endParaRPr/>
            </a:p>
          </p:txBody>
        </p:sp>
        <p:sp>
          <p:nvSpPr>
            <p:cNvPr id="303" name="object 3">
              <a:extLst>
                <a:ext uri="{FF2B5EF4-FFF2-40B4-BE49-F238E27FC236}">
                  <a16:creationId xmlns:a16="http://schemas.microsoft.com/office/drawing/2014/main" id="{21CD5750-BD3A-F3EF-C99B-F5275DA2457D}"/>
                </a:ext>
              </a:extLst>
            </p:cNvPr>
            <p:cNvSpPr/>
            <p:nvPr/>
          </p:nvSpPr>
          <p:spPr>
            <a:xfrm>
              <a:off x="2088007" y="2877146"/>
              <a:ext cx="432434" cy="432434"/>
            </a:xfrm>
            <a:custGeom>
              <a:avLst/>
              <a:gdLst/>
              <a:ahLst/>
              <a:cxnLst/>
              <a:rect l="l" t="t" r="r" b="b"/>
              <a:pathLst>
                <a:path w="432435" h="432435">
                  <a:moveTo>
                    <a:pt x="432015" y="0"/>
                  </a:moveTo>
                  <a:lnTo>
                    <a:pt x="0" y="0"/>
                  </a:lnTo>
                  <a:lnTo>
                    <a:pt x="0" y="432015"/>
                  </a:lnTo>
                  <a:lnTo>
                    <a:pt x="432015" y="432015"/>
                  </a:lnTo>
                  <a:lnTo>
                    <a:pt x="432015" y="0"/>
                  </a:lnTo>
                  <a:close/>
                </a:path>
              </a:pathLst>
            </a:custGeom>
            <a:ln w="51841">
              <a:solidFill>
                <a:srgbClr val="3350B8"/>
              </a:solidFill>
            </a:ln>
          </p:spPr>
          <p:txBody>
            <a:bodyPr wrap="square" lIns="0" tIns="0" rIns="0" bIns="0" rtlCol="0"/>
            <a:lstStyle/>
            <a:p>
              <a:endParaRPr/>
            </a:p>
          </p:txBody>
        </p:sp>
        <p:sp>
          <p:nvSpPr>
            <p:cNvPr id="304" name="object 4">
              <a:extLst>
                <a:ext uri="{FF2B5EF4-FFF2-40B4-BE49-F238E27FC236}">
                  <a16:creationId xmlns:a16="http://schemas.microsoft.com/office/drawing/2014/main" id="{7AAD3D4D-A122-FB27-0963-06442A5B17E5}"/>
                </a:ext>
              </a:extLst>
            </p:cNvPr>
            <p:cNvSpPr/>
            <p:nvPr/>
          </p:nvSpPr>
          <p:spPr>
            <a:xfrm>
              <a:off x="1223987" y="3741165"/>
              <a:ext cx="432434" cy="432434"/>
            </a:xfrm>
            <a:custGeom>
              <a:avLst/>
              <a:gdLst/>
              <a:ahLst/>
              <a:cxnLst/>
              <a:rect l="l" t="t" r="r" b="b"/>
              <a:pathLst>
                <a:path w="432435" h="432435">
                  <a:moveTo>
                    <a:pt x="432015" y="0"/>
                  </a:moveTo>
                  <a:lnTo>
                    <a:pt x="0" y="0"/>
                  </a:lnTo>
                  <a:lnTo>
                    <a:pt x="0" y="432015"/>
                  </a:lnTo>
                  <a:lnTo>
                    <a:pt x="432015" y="432015"/>
                  </a:lnTo>
                  <a:lnTo>
                    <a:pt x="432015" y="0"/>
                  </a:lnTo>
                  <a:close/>
                </a:path>
              </a:pathLst>
            </a:custGeom>
            <a:ln w="51841">
              <a:solidFill>
                <a:srgbClr val="3350B8"/>
              </a:solidFill>
            </a:ln>
          </p:spPr>
          <p:txBody>
            <a:bodyPr wrap="square" lIns="0" tIns="0" rIns="0" bIns="0" rtlCol="0"/>
            <a:lstStyle/>
            <a:p>
              <a:endParaRPr/>
            </a:p>
          </p:txBody>
        </p:sp>
        <p:sp>
          <p:nvSpPr>
            <p:cNvPr id="305" name="object 5">
              <a:extLst>
                <a:ext uri="{FF2B5EF4-FFF2-40B4-BE49-F238E27FC236}">
                  <a16:creationId xmlns:a16="http://schemas.microsoft.com/office/drawing/2014/main" id="{AA20E147-689E-B5CD-4E8F-CA194524E8C1}"/>
                </a:ext>
              </a:extLst>
            </p:cNvPr>
            <p:cNvSpPr/>
            <p:nvPr/>
          </p:nvSpPr>
          <p:spPr>
            <a:xfrm>
              <a:off x="2088019" y="2013127"/>
              <a:ext cx="432434" cy="432434"/>
            </a:xfrm>
            <a:custGeom>
              <a:avLst/>
              <a:gdLst/>
              <a:ahLst/>
              <a:cxnLst/>
              <a:rect l="l" t="t" r="r" b="b"/>
              <a:pathLst>
                <a:path w="432435" h="432435">
                  <a:moveTo>
                    <a:pt x="216001" y="0"/>
                  </a:moveTo>
                  <a:lnTo>
                    <a:pt x="166471" y="5704"/>
                  </a:lnTo>
                  <a:lnTo>
                    <a:pt x="121005" y="21955"/>
                  </a:lnTo>
                  <a:lnTo>
                    <a:pt x="80899" y="47454"/>
                  </a:lnTo>
                  <a:lnTo>
                    <a:pt x="47450" y="80904"/>
                  </a:lnTo>
                  <a:lnTo>
                    <a:pt x="21953" y="121011"/>
                  </a:lnTo>
                  <a:lnTo>
                    <a:pt x="5704" y="166475"/>
                  </a:lnTo>
                  <a:lnTo>
                    <a:pt x="0" y="216001"/>
                  </a:lnTo>
                  <a:lnTo>
                    <a:pt x="5704" y="265531"/>
                  </a:lnTo>
                  <a:lnTo>
                    <a:pt x="21953" y="310997"/>
                  </a:lnTo>
                  <a:lnTo>
                    <a:pt x="47450" y="351103"/>
                  </a:lnTo>
                  <a:lnTo>
                    <a:pt x="80899" y="384553"/>
                  </a:lnTo>
                  <a:lnTo>
                    <a:pt x="121005" y="410050"/>
                  </a:lnTo>
                  <a:lnTo>
                    <a:pt x="166471" y="426298"/>
                  </a:lnTo>
                  <a:lnTo>
                    <a:pt x="216001" y="432003"/>
                  </a:lnTo>
                  <a:lnTo>
                    <a:pt x="265531" y="426298"/>
                  </a:lnTo>
                  <a:lnTo>
                    <a:pt x="310997" y="410050"/>
                  </a:lnTo>
                  <a:lnTo>
                    <a:pt x="351103" y="384553"/>
                  </a:lnTo>
                  <a:lnTo>
                    <a:pt x="384553" y="351103"/>
                  </a:lnTo>
                  <a:lnTo>
                    <a:pt x="410050" y="310997"/>
                  </a:lnTo>
                  <a:lnTo>
                    <a:pt x="426298" y="265531"/>
                  </a:lnTo>
                  <a:lnTo>
                    <a:pt x="432003" y="216001"/>
                  </a:lnTo>
                  <a:lnTo>
                    <a:pt x="426298" y="166475"/>
                  </a:lnTo>
                  <a:lnTo>
                    <a:pt x="410050" y="121011"/>
                  </a:lnTo>
                  <a:lnTo>
                    <a:pt x="384553" y="80904"/>
                  </a:lnTo>
                  <a:lnTo>
                    <a:pt x="351103" y="47454"/>
                  </a:lnTo>
                  <a:lnTo>
                    <a:pt x="310997" y="21955"/>
                  </a:lnTo>
                  <a:lnTo>
                    <a:pt x="265531" y="5704"/>
                  </a:lnTo>
                  <a:lnTo>
                    <a:pt x="216001" y="0"/>
                  </a:lnTo>
                  <a:close/>
                </a:path>
              </a:pathLst>
            </a:custGeom>
            <a:ln w="51841">
              <a:solidFill>
                <a:srgbClr val="3350B8"/>
              </a:solidFill>
            </a:ln>
          </p:spPr>
          <p:txBody>
            <a:bodyPr wrap="square" lIns="0" tIns="0" rIns="0" bIns="0" rtlCol="0"/>
            <a:lstStyle/>
            <a:p>
              <a:endParaRPr/>
            </a:p>
          </p:txBody>
        </p:sp>
        <p:sp>
          <p:nvSpPr>
            <p:cNvPr id="306" name="object 6">
              <a:extLst>
                <a:ext uri="{FF2B5EF4-FFF2-40B4-BE49-F238E27FC236}">
                  <a16:creationId xmlns:a16="http://schemas.microsoft.com/office/drawing/2014/main" id="{317EFF64-589E-311B-7EFA-BF9E33E632CE}"/>
                </a:ext>
              </a:extLst>
            </p:cNvPr>
            <p:cNvSpPr/>
            <p:nvPr/>
          </p:nvSpPr>
          <p:spPr>
            <a:xfrm>
              <a:off x="359968" y="2013127"/>
              <a:ext cx="1944370" cy="2160270"/>
            </a:xfrm>
            <a:custGeom>
              <a:avLst/>
              <a:gdLst/>
              <a:ahLst/>
              <a:cxnLst/>
              <a:rect l="l" t="t" r="r" b="b"/>
              <a:pathLst>
                <a:path w="1944370" h="2160270">
                  <a:moveTo>
                    <a:pt x="1080033" y="864019"/>
                  </a:moveTo>
                  <a:lnTo>
                    <a:pt x="1030503" y="869724"/>
                  </a:lnTo>
                  <a:lnTo>
                    <a:pt x="985037" y="885974"/>
                  </a:lnTo>
                  <a:lnTo>
                    <a:pt x="944931" y="911473"/>
                  </a:lnTo>
                  <a:lnTo>
                    <a:pt x="911481" y="944924"/>
                  </a:lnTo>
                  <a:lnTo>
                    <a:pt x="885984" y="985030"/>
                  </a:lnTo>
                  <a:lnTo>
                    <a:pt x="869736" y="1030494"/>
                  </a:lnTo>
                  <a:lnTo>
                    <a:pt x="864031" y="1080020"/>
                  </a:lnTo>
                  <a:lnTo>
                    <a:pt x="869736" y="1129551"/>
                  </a:lnTo>
                  <a:lnTo>
                    <a:pt x="885984" y="1175019"/>
                  </a:lnTo>
                  <a:lnTo>
                    <a:pt x="911481" y="1215127"/>
                  </a:lnTo>
                  <a:lnTo>
                    <a:pt x="944931" y="1248579"/>
                  </a:lnTo>
                  <a:lnTo>
                    <a:pt x="985037" y="1274079"/>
                  </a:lnTo>
                  <a:lnTo>
                    <a:pt x="1030503" y="1290330"/>
                  </a:lnTo>
                  <a:lnTo>
                    <a:pt x="1080033" y="1296035"/>
                  </a:lnTo>
                  <a:lnTo>
                    <a:pt x="1129559" y="1290330"/>
                  </a:lnTo>
                  <a:lnTo>
                    <a:pt x="1175023" y="1274079"/>
                  </a:lnTo>
                  <a:lnTo>
                    <a:pt x="1215130" y="1248579"/>
                  </a:lnTo>
                  <a:lnTo>
                    <a:pt x="1248580" y="1215127"/>
                  </a:lnTo>
                  <a:lnTo>
                    <a:pt x="1274079" y="1175019"/>
                  </a:lnTo>
                  <a:lnTo>
                    <a:pt x="1290330" y="1129551"/>
                  </a:lnTo>
                  <a:lnTo>
                    <a:pt x="1296035" y="1080020"/>
                  </a:lnTo>
                  <a:lnTo>
                    <a:pt x="1290330" y="1030494"/>
                  </a:lnTo>
                  <a:lnTo>
                    <a:pt x="1274079" y="985030"/>
                  </a:lnTo>
                  <a:lnTo>
                    <a:pt x="1248580" y="944924"/>
                  </a:lnTo>
                  <a:lnTo>
                    <a:pt x="1215130" y="911473"/>
                  </a:lnTo>
                  <a:lnTo>
                    <a:pt x="1175023" y="885974"/>
                  </a:lnTo>
                  <a:lnTo>
                    <a:pt x="1129559" y="869724"/>
                  </a:lnTo>
                  <a:lnTo>
                    <a:pt x="1080033" y="864019"/>
                  </a:lnTo>
                  <a:close/>
                </a:path>
                <a:path w="1944370" h="2160270">
                  <a:moveTo>
                    <a:pt x="216014" y="432003"/>
                  </a:moveTo>
                  <a:lnTo>
                    <a:pt x="216014" y="792022"/>
                  </a:lnTo>
                  <a:lnTo>
                    <a:pt x="219783" y="838737"/>
                  </a:lnTo>
                  <a:lnTo>
                    <a:pt x="230696" y="883051"/>
                  </a:lnTo>
                  <a:lnTo>
                    <a:pt x="248160" y="924373"/>
                  </a:lnTo>
                  <a:lnTo>
                    <a:pt x="271581" y="962109"/>
                  </a:lnTo>
                  <a:lnTo>
                    <a:pt x="300367" y="995667"/>
                  </a:lnTo>
                  <a:lnTo>
                    <a:pt x="333925" y="1024453"/>
                  </a:lnTo>
                  <a:lnTo>
                    <a:pt x="371661" y="1047874"/>
                  </a:lnTo>
                  <a:lnTo>
                    <a:pt x="412983" y="1065338"/>
                  </a:lnTo>
                  <a:lnTo>
                    <a:pt x="457297" y="1076251"/>
                  </a:lnTo>
                  <a:lnTo>
                    <a:pt x="504012" y="1080020"/>
                  </a:lnTo>
                  <a:lnTo>
                    <a:pt x="864031" y="1080020"/>
                  </a:lnTo>
                </a:path>
                <a:path w="1944370" h="2160270">
                  <a:moveTo>
                    <a:pt x="1296035" y="1944052"/>
                  </a:moveTo>
                  <a:lnTo>
                    <a:pt x="1656041" y="1944052"/>
                  </a:lnTo>
                  <a:lnTo>
                    <a:pt x="1702759" y="1940282"/>
                  </a:lnTo>
                  <a:lnTo>
                    <a:pt x="1747076" y="1929368"/>
                  </a:lnTo>
                  <a:lnTo>
                    <a:pt x="1788400" y="1911903"/>
                  </a:lnTo>
                  <a:lnTo>
                    <a:pt x="1826138" y="1888480"/>
                  </a:lnTo>
                  <a:lnTo>
                    <a:pt x="1859697" y="1859692"/>
                  </a:lnTo>
                  <a:lnTo>
                    <a:pt x="1888484" y="1826133"/>
                  </a:lnTo>
                  <a:lnTo>
                    <a:pt x="1911905" y="1788395"/>
                  </a:lnTo>
                  <a:lnTo>
                    <a:pt x="1929369" y="1747072"/>
                  </a:lnTo>
                  <a:lnTo>
                    <a:pt x="1940283" y="1702756"/>
                  </a:lnTo>
                  <a:lnTo>
                    <a:pt x="1944052" y="1656041"/>
                  </a:lnTo>
                  <a:lnTo>
                    <a:pt x="1944052" y="1296035"/>
                  </a:lnTo>
                </a:path>
                <a:path w="1944370" h="2160270">
                  <a:moveTo>
                    <a:pt x="216014" y="1728038"/>
                  </a:moveTo>
                  <a:lnTo>
                    <a:pt x="166483" y="1733743"/>
                  </a:lnTo>
                  <a:lnTo>
                    <a:pt x="121015" y="1749993"/>
                  </a:lnTo>
                  <a:lnTo>
                    <a:pt x="80907" y="1775493"/>
                  </a:lnTo>
                  <a:lnTo>
                    <a:pt x="47455" y="1808945"/>
                  </a:lnTo>
                  <a:lnTo>
                    <a:pt x="21955" y="1849053"/>
                  </a:lnTo>
                  <a:lnTo>
                    <a:pt x="5704" y="1894521"/>
                  </a:lnTo>
                  <a:lnTo>
                    <a:pt x="0" y="1944052"/>
                  </a:lnTo>
                  <a:lnTo>
                    <a:pt x="5704" y="1993578"/>
                  </a:lnTo>
                  <a:lnTo>
                    <a:pt x="21955" y="2039043"/>
                  </a:lnTo>
                  <a:lnTo>
                    <a:pt x="47455" y="2079149"/>
                  </a:lnTo>
                  <a:lnTo>
                    <a:pt x="80907" y="2112599"/>
                  </a:lnTo>
                  <a:lnTo>
                    <a:pt x="121015" y="2138098"/>
                  </a:lnTo>
                  <a:lnTo>
                    <a:pt x="166483" y="2154349"/>
                  </a:lnTo>
                  <a:lnTo>
                    <a:pt x="216014" y="2160054"/>
                  </a:lnTo>
                  <a:lnTo>
                    <a:pt x="265540" y="2154349"/>
                  </a:lnTo>
                  <a:lnTo>
                    <a:pt x="311004" y="2138098"/>
                  </a:lnTo>
                  <a:lnTo>
                    <a:pt x="351110" y="2112599"/>
                  </a:lnTo>
                  <a:lnTo>
                    <a:pt x="384561" y="2079149"/>
                  </a:lnTo>
                  <a:lnTo>
                    <a:pt x="410060" y="2039043"/>
                  </a:lnTo>
                  <a:lnTo>
                    <a:pt x="426310" y="1993578"/>
                  </a:lnTo>
                  <a:lnTo>
                    <a:pt x="432015" y="1944052"/>
                  </a:lnTo>
                  <a:lnTo>
                    <a:pt x="426310" y="1894521"/>
                  </a:lnTo>
                  <a:lnTo>
                    <a:pt x="410060" y="1849053"/>
                  </a:lnTo>
                  <a:lnTo>
                    <a:pt x="384561" y="1808945"/>
                  </a:lnTo>
                  <a:lnTo>
                    <a:pt x="351110" y="1775493"/>
                  </a:lnTo>
                  <a:lnTo>
                    <a:pt x="311004" y="1749993"/>
                  </a:lnTo>
                  <a:lnTo>
                    <a:pt x="265540" y="1733743"/>
                  </a:lnTo>
                  <a:lnTo>
                    <a:pt x="216014" y="1728038"/>
                  </a:lnTo>
                  <a:close/>
                </a:path>
                <a:path w="1944370" h="2160270">
                  <a:moveTo>
                    <a:pt x="935101" y="0"/>
                  </a:moveTo>
                  <a:lnTo>
                    <a:pt x="936028" y="432003"/>
                  </a:lnTo>
                  <a:lnTo>
                    <a:pt x="1368044" y="216001"/>
                  </a:lnTo>
                  <a:lnTo>
                    <a:pt x="935101" y="0"/>
                  </a:lnTo>
                  <a:close/>
                </a:path>
                <a:path w="1944370" h="2160270">
                  <a:moveTo>
                    <a:pt x="432015" y="216001"/>
                  </a:moveTo>
                  <a:lnTo>
                    <a:pt x="936028" y="216001"/>
                  </a:lnTo>
                </a:path>
                <a:path w="1944370" h="2160270">
                  <a:moveTo>
                    <a:pt x="1307846" y="1079804"/>
                  </a:moveTo>
                  <a:lnTo>
                    <a:pt x="1727123" y="1080020"/>
                  </a:lnTo>
                </a:path>
                <a:path w="1944370" h="2160270">
                  <a:moveTo>
                    <a:pt x="1080033" y="1296035"/>
                  </a:moveTo>
                  <a:lnTo>
                    <a:pt x="1080033" y="1727123"/>
                  </a:lnTo>
                </a:path>
                <a:path w="1944370" h="2160270">
                  <a:moveTo>
                    <a:pt x="936028" y="1224026"/>
                  </a:moveTo>
                  <a:lnTo>
                    <a:pt x="360006" y="1800047"/>
                  </a:lnTo>
                </a:path>
                <a:path w="1944370" h="2160270">
                  <a:moveTo>
                    <a:pt x="1944052" y="432003"/>
                  </a:moveTo>
                  <a:lnTo>
                    <a:pt x="1941144" y="866406"/>
                  </a:lnTo>
                </a:path>
              </a:pathLst>
            </a:custGeom>
            <a:ln w="51841">
              <a:solidFill>
                <a:srgbClr val="3350B8"/>
              </a:solidFill>
            </a:ln>
          </p:spPr>
          <p:txBody>
            <a:bodyPr wrap="square" lIns="0" tIns="0" rIns="0" bIns="0" rtlCol="0"/>
            <a:lstStyle/>
            <a:p>
              <a:endParaRPr/>
            </a:p>
          </p:txBody>
        </p:sp>
        <p:grpSp>
          <p:nvGrpSpPr>
            <p:cNvPr id="307" name="object 26">
              <a:extLst>
                <a:ext uri="{FF2B5EF4-FFF2-40B4-BE49-F238E27FC236}">
                  <a16:creationId xmlns:a16="http://schemas.microsoft.com/office/drawing/2014/main" id="{DC1598C1-C3DA-BBFF-F35F-265B63F8A716}"/>
                </a:ext>
              </a:extLst>
            </p:cNvPr>
            <p:cNvGrpSpPr/>
            <p:nvPr/>
          </p:nvGrpSpPr>
          <p:grpSpPr>
            <a:xfrm>
              <a:off x="284825" y="1944000"/>
              <a:ext cx="2523490" cy="2520315"/>
              <a:chOff x="284825" y="1944000"/>
              <a:chExt cx="2523490" cy="2520315"/>
            </a:xfrm>
          </p:grpSpPr>
          <p:sp>
            <p:nvSpPr>
              <p:cNvPr id="308" name="object 27">
                <a:extLst>
                  <a:ext uri="{FF2B5EF4-FFF2-40B4-BE49-F238E27FC236}">
                    <a16:creationId xmlns:a16="http://schemas.microsoft.com/office/drawing/2014/main" id="{B63BF389-B70C-AD44-E295-6C8E749446D6}"/>
                  </a:ext>
                </a:extLst>
              </p:cNvPr>
              <p:cNvSpPr/>
              <p:nvPr/>
            </p:nvSpPr>
            <p:spPr>
              <a:xfrm>
                <a:off x="288000" y="1959869"/>
                <a:ext cx="0" cy="2494915"/>
              </a:xfrm>
              <a:custGeom>
                <a:avLst/>
                <a:gdLst/>
                <a:ahLst/>
                <a:cxnLst/>
                <a:rect l="l" t="t" r="r" b="b"/>
                <a:pathLst>
                  <a:path h="2494915">
                    <a:moveTo>
                      <a:pt x="0" y="0"/>
                    </a:moveTo>
                    <a:lnTo>
                      <a:pt x="0" y="2494610"/>
                    </a:lnTo>
                  </a:path>
                </a:pathLst>
              </a:custGeom>
              <a:ln w="6350">
                <a:solidFill>
                  <a:srgbClr val="899AD4"/>
                </a:solidFill>
                <a:prstDash val="dot"/>
              </a:ln>
            </p:spPr>
            <p:txBody>
              <a:bodyPr wrap="square" lIns="0" tIns="0" rIns="0" bIns="0" rtlCol="0"/>
              <a:lstStyle/>
              <a:p>
                <a:endParaRPr/>
              </a:p>
            </p:txBody>
          </p:sp>
          <p:sp>
            <p:nvSpPr>
              <p:cNvPr id="309" name="object 28">
                <a:extLst>
                  <a:ext uri="{FF2B5EF4-FFF2-40B4-BE49-F238E27FC236}">
                    <a16:creationId xmlns:a16="http://schemas.microsoft.com/office/drawing/2014/main" id="{13A0765A-AC11-79A6-9FD7-FA86DC42B4F2}"/>
                  </a:ext>
                </a:extLst>
              </p:cNvPr>
              <p:cNvSpPr/>
              <p:nvPr/>
            </p:nvSpPr>
            <p:spPr>
              <a:xfrm>
                <a:off x="284822" y="1944001"/>
                <a:ext cx="6350" cy="2520315"/>
              </a:xfrm>
              <a:custGeom>
                <a:avLst/>
                <a:gdLst/>
                <a:ahLst/>
                <a:cxnLst/>
                <a:rect l="l" t="t" r="r" b="b"/>
                <a:pathLst>
                  <a:path w="6350" h="2520315">
                    <a:moveTo>
                      <a:pt x="6350" y="2516822"/>
                    </a:moveTo>
                    <a:lnTo>
                      <a:pt x="5410" y="2514587"/>
                    </a:lnTo>
                    <a:lnTo>
                      <a:pt x="3175" y="2513647"/>
                    </a:lnTo>
                    <a:lnTo>
                      <a:pt x="927" y="2514587"/>
                    </a:lnTo>
                    <a:lnTo>
                      <a:pt x="0" y="2516822"/>
                    </a:lnTo>
                    <a:lnTo>
                      <a:pt x="927" y="2519070"/>
                    </a:lnTo>
                    <a:lnTo>
                      <a:pt x="3175" y="2519997"/>
                    </a:lnTo>
                    <a:lnTo>
                      <a:pt x="5410" y="2519070"/>
                    </a:lnTo>
                    <a:lnTo>
                      <a:pt x="6350" y="2516822"/>
                    </a:lnTo>
                    <a:close/>
                  </a:path>
                  <a:path w="6350" h="2520315">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10" name="object 29">
                <a:extLst>
                  <a:ext uri="{FF2B5EF4-FFF2-40B4-BE49-F238E27FC236}">
                    <a16:creationId xmlns:a16="http://schemas.microsoft.com/office/drawing/2014/main" id="{A981078F-F4A3-7DEA-19CD-315393F69314}"/>
                  </a:ext>
                </a:extLst>
              </p:cNvPr>
              <p:cNvSpPr/>
              <p:nvPr/>
            </p:nvSpPr>
            <p:spPr>
              <a:xfrm>
                <a:off x="297522" y="1947180"/>
                <a:ext cx="2494915" cy="0"/>
              </a:xfrm>
              <a:custGeom>
                <a:avLst/>
                <a:gdLst/>
                <a:ahLst/>
                <a:cxnLst/>
                <a:rect l="l" t="t" r="r" b="b"/>
                <a:pathLst>
                  <a:path w="2494915">
                    <a:moveTo>
                      <a:pt x="2494610" y="0"/>
                    </a:moveTo>
                    <a:lnTo>
                      <a:pt x="0" y="0"/>
                    </a:lnTo>
                  </a:path>
                </a:pathLst>
              </a:custGeom>
              <a:ln w="6350">
                <a:solidFill>
                  <a:srgbClr val="899AD4"/>
                </a:solidFill>
                <a:prstDash val="dot"/>
              </a:ln>
            </p:spPr>
            <p:txBody>
              <a:bodyPr wrap="square" lIns="0" tIns="0" rIns="0" bIns="0" rtlCol="0"/>
              <a:lstStyle/>
              <a:p>
                <a:endParaRPr/>
              </a:p>
            </p:txBody>
          </p:sp>
          <p:sp>
            <p:nvSpPr>
              <p:cNvPr id="311" name="object 30">
                <a:extLst>
                  <a:ext uri="{FF2B5EF4-FFF2-40B4-BE49-F238E27FC236}">
                    <a16:creationId xmlns:a16="http://schemas.microsoft.com/office/drawing/2014/main" id="{4FA32DA4-BAC9-F324-9C61-500B0EDE0C6C}"/>
                  </a:ext>
                </a:extLst>
              </p:cNvPr>
              <p:cNvSpPr/>
              <p:nvPr/>
            </p:nvSpPr>
            <p:spPr>
              <a:xfrm>
                <a:off x="288010" y="1944014"/>
                <a:ext cx="2520315" cy="6350"/>
              </a:xfrm>
              <a:custGeom>
                <a:avLst/>
                <a:gdLst/>
                <a:ahLst/>
                <a:cxnLst/>
                <a:rect l="l" t="t" r="r" b="b"/>
                <a:pathLst>
                  <a:path w="2520315" h="6350">
                    <a:moveTo>
                      <a:pt x="6350" y="3175"/>
                    </a:moveTo>
                    <a:lnTo>
                      <a:pt x="5410" y="927"/>
                    </a:lnTo>
                    <a:lnTo>
                      <a:pt x="3175" y="0"/>
                    </a:lnTo>
                    <a:lnTo>
                      <a:pt x="927" y="927"/>
                    </a:lnTo>
                    <a:lnTo>
                      <a:pt x="0" y="3175"/>
                    </a:lnTo>
                    <a:lnTo>
                      <a:pt x="927" y="5422"/>
                    </a:lnTo>
                    <a:lnTo>
                      <a:pt x="3175" y="6350"/>
                    </a:lnTo>
                    <a:lnTo>
                      <a:pt x="5410" y="5422"/>
                    </a:lnTo>
                    <a:lnTo>
                      <a:pt x="6350" y="3175"/>
                    </a:lnTo>
                    <a:close/>
                  </a:path>
                  <a:path w="2520315" h="6350">
                    <a:moveTo>
                      <a:pt x="2519997" y="3175"/>
                    </a:moveTo>
                    <a:lnTo>
                      <a:pt x="2519057" y="927"/>
                    </a:lnTo>
                    <a:lnTo>
                      <a:pt x="2516822" y="0"/>
                    </a:lnTo>
                    <a:lnTo>
                      <a:pt x="2514574" y="927"/>
                    </a:lnTo>
                    <a:lnTo>
                      <a:pt x="2513647" y="3175"/>
                    </a:lnTo>
                    <a:lnTo>
                      <a:pt x="2514574" y="5422"/>
                    </a:lnTo>
                    <a:lnTo>
                      <a:pt x="2516822" y="6350"/>
                    </a:lnTo>
                    <a:lnTo>
                      <a:pt x="2519057" y="5422"/>
                    </a:lnTo>
                    <a:lnTo>
                      <a:pt x="2519997" y="3175"/>
                    </a:lnTo>
                    <a:close/>
                  </a:path>
                </a:pathLst>
              </a:custGeom>
              <a:solidFill>
                <a:srgbClr val="899AD4"/>
              </a:solidFill>
            </p:spPr>
            <p:txBody>
              <a:bodyPr wrap="square" lIns="0" tIns="0" rIns="0" bIns="0" rtlCol="0"/>
              <a:lstStyle/>
              <a:p>
                <a:endParaRPr/>
              </a:p>
            </p:txBody>
          </p:sp>
          <p:sp>
            <p:nvSpPr>
              <p:cNvPr id="312" name="object 31">
                <a:extLst>
                  <a:ext uri="{FF2B5EF4-FFF2-40B4-BE49-F238E27FC236}">
                    <a16:creationId xmlns:a16="http://schemas.microsoft.com/office/drawing/2014/main" id="{3E57F300-7209-0D9D-1FDA-D9438D444FE1}"/>
                  </a:ext>
                </a:extLst>
              </p:cNvPr>
              <p:cNvSpPr/>
              <p:nvPr/>
            </p:nvSpPr>
            <p:spPr>
              <a:xfrm>
                <a:off x="297522" y="4248005"/>
                <a:ext cx="2494915" cy="0"/>
              </a:xfrm>
              <a:custGeom>
                <a:avLst/>
                <a:gdLst/>
                <a:ahLst/>
                <a:cxnLst/>
                <a:rect l="l" t="t" r="r" b="b"/>
                <a:pathLst>
                  <a:path w="2494915">
                    <a:moveTo>
                      <a:pt x="2494610" y="0"/>
                    </a:moveTo>
                    <a:lnTo>
                      <a:pt x="0" y="0"/>
                    </a:lnTo>
                  </a:path>
                </a:pathLst>
              </a:custGeom>
              <a:ln w="6350">
                <a:solidFill>
                  <a:srgbClr val="899AD4"/>
                </a:solidFill>
                <a:prstDash val="dot"/>
              </a:ln>
            </p:spPr>
            <p:txBody>
              <a:bodyPr wrap="square" lIns="0" tIns="0" rIns="0" bIns="0" rtlCol="0"/>
              <a:lstStyle/>
              <a:p>
                <a:endParaRPr/>
              </a:p>
            </p:txBody>
          </p:sp>
          <p:sp>
            <p:nvSpPr>
              <p:cNvPr id="313" name="object 32">
                <a:extLst>
                  <a:ext uri="{FF2B5EF4-FFF2-40B4-BE49-F238E27FC236}">
                    <a16:creationId xmlns:a16="http://schemas.microsoft.com/office/drawing/2014/main" id="{250C4EB1-8DE5-755C-03F4-95CC1BA38BBF}"/>
                  </a:ext>
                </a:extLst>
              </p:cNvPr>
              <p:cNvSpPr/>
              <p:nvPr/>
            </p:nvSpPr>
            <p:spPr>
              <a:xfrm>
                <a:off x="288010" y="4244835"/>
                <a:ext cx="2520315" cy="6350"/>
              </a:xfrm>
              <a:custGeom>
                <a:avLst/>
                <a:gdLst/>
                <a:ahLst/>
                <a:cxnLst/>
                <a:rect l="l" t="t" r="r" b="b"/>
                <a:pathLst>
                  <a:path w="2520315" h="6350">
                    <a:moveTo>
                      <a:pt x="6350" y="3175"/>
                    </a:moveTo>
                    <a:lnTo>
                      <a:pt x="5410" y="927"/>
                    </a:lnTo>
                    <a:lnTo>
                      <a:pt x="3175" y="0"/>
                    </a:lnTo>
                    <a:lnTo>
                      <a:pt x="927" y="927"/>
                    </a:lnTo>
                    <a:lnTo>
                      <a:pt x="0" y="3175"/>
                    </a:lnTo>
                    <a:lnTo>
                      <a:pt x="927" y="5422"/>
                    </a:lnTo>
                    <a:lnTo>
                      <a:pt x="3175" y="6350"/>
                    </a:lnTo>
                    <a:lnTo>
                      <a:pt x="5410" y="5422"/>
                    </a:lnTo>
                    <a:lnTo>
                      <a:pt x="6350" y="3175"/>
                    </a:lnTo>
                    <a:close/>
                  </a:path>
                  <a:path w="2520315" h="6350">
                    <a:moveTo>
                      <a:pt x="2519997" y="3175"/>
                    </a:moveTo>
                    <a:lnTo>
                      <a:pt x="2519057" y="927"/>
                    </a:lnTo>
                    <a:lnTo>
                      <a:pt x="2516822" y="0"/>
                    </a:lnTo>
                    <a:lnTo>
                      <a:pt x="2514574" y="927"/>
                    </a:lnTo>
                    <a:lnTo>
                      <a:pt x="2513647" y="3175"/>
                    </a:lnTo>
                    <a:lnTo>
                      <a:pt x="2514574" y="5422"/>
                    </a:lnTo>
                    <a:lnTo>
                      <a:pt x="2516822" y="6350"/>
                    </a:lnTo>
                    <a:lnTo>
                      <a:pt x="2519057" y="5422"/>
                    </a:lnTo>
                    <a:lnTo>
                      <a:pt x="2519997" y="3175"/>
                    </a:lnTo>
                    <a:close/>
                  </a:path>
                </a:pathLst>
              </a:custGeom>
              <a:solidFill>
                <a:srgbClr val="899AD4"/>
              </a:solidFill>
            </p:spPr>
            <p:txBody>
              <a:bodyPr wrap="square" lIns="0" tIns="0" rIns="0" bIns="0" rtlCol="0"/>
              <a:lstStyle/>
              <a:p>
                <a:endParaRPr/>
              </a:p>
            </p:txBody>
          </p:sp>
          <p:sp>
            <p:nvSpPr>
              <p:cNvPr id="314" name="object 33">
                <a:extLst>
                  <a:ext uri="{FF2B5EF4-FFF2-40B4-BE49-F238E27FC236}">
                    <a16:creationId xmlns:a16="http://schemas.microsoft.com/office/drawing/2014/main" id="{878AFCA1-C902-D9E2-FD99-0ACF124A5F1D}"/>
                  </a:ext>
                </a:extLst>
              </p:cNvPr>
              <p:cNvSpPr/>
              <p:nvPr/>
            </p:nvSpPr>
            <p:spPr>
              <a:xfrm>
                <a:off x="359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15" name="object 34">
                <a:extLst>
                  <a:ext uri="{FF2B5EF4-FFF2-40B4-BE49-F238E27FC236}">
                    <a16:creationId xmlns:a16="http://schemas.microsoft.com/office/drawing/2014/main" id="{0BC1256B-7694-07BE-C42D-B2DF2FAA4B07}"/>
                  </a:ext>
                </a:extLst>
              </p:cNvPr>
              <p:cNvSpPr/>
              <p:nvPr/>
            </p:nvSpPr>
            <p:spPr>
              <a:xfrm>
                <a:off x="356819"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16" name="object 35">
                <a:extLst>
                  <a:ext uri="{FF2B5EF4-FFF2-40B4-BE49-F238E27FC236}">
                    <a16:creationId xmlns:a16="http://schemas.microsoft.com/office/drawing/2014/main" id="{2DAF8DA5-31B2-7211-6506-57424EC34059}"/>
                  </a:ext>
                </a:extLst>
              </p:cNvPr>
              <p:cNvSpPr/>
              <p:nvPr/>
            </p:nvSpPr>
            <p:spPr>
              <a:xfrm>
                <a:off x="431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17" name="object 36">
                <a:extLst>
                  <a:ext uri="{FF2B5EF4-FFF2-40B4-BE49-F238E27FC236}">
                    <a16:creationId xmlns:a16="http://schemas.microsoft.com/office/drawing/2014/main" id="{4851ADD7-C276-98C8-FC25-5B29AEDE87AA}"/>
                  </a:ext>
                </a:extLst>
              </p:cNvPr>
              <p:cNvSpPr/>
              <p:nvPr/>
            </p:nvSpPr>
            <p:spPr>
              <a:xfrm>
                <a:off x="428815"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18" name="object 37">
                <a:extLst>
                  <a:ext uri="{FF2B5EF4-FFF2-40B4-BE49-F238E27FC236}">
                    <a16:creationId xmlns:a16="http://schemas.microsoft.com/office/drawing/2014/main" id="{BD2CD3D0-DB7A-429F-96A0-52492F5A7471}"/>
                  </a:ext>
                </a:extLst>
              </p:cNvPr>
              <p:cNvSpPr/>
              <p:nvPr/>
            </p:nvSpPr>
            <p:spPr>
              <a:xfrm>
                <a:off x="503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19" name="object 38">
                <a:extLst>
                  <a:ext uri="{FF2B5EF4-FFF2-40B4-BE49-F238E27FC236}">
                    <a16:creationId xmlns:a16="http://schemas.microsoft.com/office/drawing/2014/main" id="{DD076D11-7103-A1FB-C90F-DDF8B344215C}"/>
                  </a:ext>
                </a:extLst>
              </p:cNvPr>
              <p:cNvSpPr/>
              <p:nvPr/>
            </p:nvSpPr>
            <p:spPr>
              <a:xfrm>
                <a:off x="500824"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20" name="object 39">
                <a:extLst>
                  <a:ext uri="{FF2B5EF4-FFF2-40B4-BE49-F238E27FC236}">
                    <a16:creationId xmlns:a16="http://schemas.microsoft.com/office/drawing/2014/main" id="{05BE6BFF-09AA-C5C6-647A-88353924EC3A}"/>
                  </a:ext>
                </a:extLst>
              </p:cNvPr>
              <p:cNvSpPr/>
              <p:nvPr/>
            </p:nvSpPr>
            <p:spPr>
              <a:xfrm>
                <a:off x="575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21" name="object 40">
                <a:extLst>
                  <a:ext uri="{FF2B5EF4-FFF2-40B4-BE49-F238E27FC236}">
                    <a16:creationId xmlns:a16="http://schemas.microsoft.com/office/drawing/2014/main" id="{76E3E878-85D0-CA3C-B31D-20F59A2E6F5A}"/>
                  </a:ext>
                </a:extLst>
              </p:cNvPr>
              <p:cNvSpPr/>
              <p:nvPr/>
            </p:nvSpPr>
            <p:spPr>
              <a:xfrm>
                <a:off x="572820"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22" name="object 41">
                <a:extLst>
                  <a:ext uri="{FF2B5EF4-FFF2-40B4-BE49-F238E27FC236}">
                    <a16:creationId xmlns:a16="http://schemas.microsoft.com/office/drawing/2014/main" id="{5002DAD9-003A-94C4-5746-D04A00108D97}"/>
                  </a:ext>
                </a:extLst>
              </p:cNvPr>
              <p:cNvSpPr/>
              <p:nvPr/>
            </p:nvSpPr>
            <p:spPr>
              <a:xfrm>
                <a:off x="647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23" name="object 42">
                <a:extLst>
                  <a:ext uri="{FF2B5EF4-FFF2-40B4-BE49-F238E27FC236}">
                    <a16:creationId xmlns:a16="http://schemas.microsoft.com/office/drawing/2014/main" id="{C1F5C093-FFFC-DB2E-45D9-D228D2D4FDE8}"/>
                  </a:ext>
                </a:extLst>
              </p:cNvPr>
              <p:cNvSpPr/>
              <p:nvPr/>
            </p:nvSpPr>
            <p:spPr>
              <a:xfrm>
                <a:off x="644817"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24" name="object 43">
                <a:extLst>
                  <a:ext uri="{FF2B5EF4-FFF2-40B4-BE49-F238E27FC236}">
                    <a16:creationId xmlns:a16="http://schemas.microsoft.com/office/drawing/2014/main" id="{88291A93-E7FA-27B8-943B-253972DD75A7}"/>
                  </a:ext>
                </a:extLst>
              </p:cNvPr>
              <p:cNvSpPr/>
              <p:nvPr/>
            </p:nvSpPr>
            <p:spPr>
              <a:xfrm>
                <a:off x="719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25" name="object 44">
                <a:extLst>
                  <a:ext uri="{FF2B5EF4-FFF2-40B4-BE49-F238E27FC236}">
                    <a16:creationId xmlns:a16="http://schemas.microsoft.com/office/drawing/2014/main" id="{84A1BBEE-BACF-4641-5020-1B452B2F11A3}"/>
                  </a:ext>
                </a:extLst>
              </p:cNvPr>
              <p:cNvSpPr/>
              <p:nvPr/>
            </p:nvSpPr>
            <p:spPr>
              <a:xfrm>
                <a:off x="716813" y="1954796"/>
                <a:ext cx="6350" cy="2293620"/>
              </a:xfrm>
              <a:custGeom>
                <a:avLst/>
                <a:gdLst/>
                <a:ahLst/>
                <a:cxnLst/>
                <a:rect l="l" t="t" r="r" b="b"/>
                <a:pathLst>
                  <a:path w="6350" h="2293620">
                    <a:moveTo>
                      <a:pt x="6350" y="2290026"/>
                    </a:moveTo>
                    <a:lnTo>
                      <a:pt x="5422" y="2287790"/>
                    </a:lnTo>
                    <a:lnTo>
                      <a:pt x="3175" y="2286851"/>
                    </a:lnTo>
                    <a:lnTo>
                      <a:pt x="939" y="2287790"/>
                    </a:lnTo>
                    <a:lnTo>
                      <a:pt x="0" y="2290026"/>
                    </a:lnTo>
                    <a:lnTo>
                      <a:pt x="939" y="2292273"/>
                    </a:lnTo>
                    <a:lnTo>
                      <a:pt x="3175" y="2293201"/>
                    </a:lnTo>
                    <a:lnTo>
                      <a:pt x="5422" y="2292273"/>
                    </a:lnTo>
                    <a:lnTo>
                      <a:pt x="6350" y="2290026"/>
                    </a:lnTo>
                    <a:close/>
                  </a:path>
                  <a:path w="6350" h="2293620">
                    <a:moveTo>
                      <a:pt x="6350" y="3175"/>
                    </a:moveTo>
                    <a:lnTo>
                      <a:pt x="5422" y="939"/>
                    </a:lnTo>
                    <a:lnTo>
                      <a:pt x="3175" y="0"/>
                    </a:lnTo>
                    <a:lnTo>
                      <a:pt x="939" y="939"/>
                    </a:lnTo>
                    <a:lnTo>
                      <a:pt x="0" y="3175"/>
                    </a:lnTo>
                    <a:lnTo>
                      <a:pt x="939"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26" name="object 45">
                <a:extLst>
                  <a:ext uri="{FF2B5EF4-FFF2-40B4-BE49-F238E27FC236}">
                    <a16:creationId xmlns:a16="http://schemas.microsoft.com/office/drawing/2014/main" id="{6525441E-800E-B823-7D2E-599292319630}"/>
                  </a:ext>
                </a:extLst>
              </p:cNvPr>
              <p:cNvSpPr/>
              <p:nvPr/>
            </p:nvSpPr>
            <p:spPr>
              <a:xfrm>
                <a:off x="791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27" name="object 46">
                <a:extLst>
                  <a:ext uri="{FF2B5EF4-FFF2-40B4-BE49-F238E27FC236}">
                    <a16:creationId xmlns:a16="http://schemas.microsoft.com/office/drawing/2014/main" id="{FDDE0772-D3CC-AE73-3A8E-38C5E0238D67}"/>
                  </a:ext>
                </a:extLst>
              </p:cNvPr>
              <p:cNvSpPr/>
              <p:nvPr/>
            </p:nvSpPr>
            <p:spPr>
              <a:xfrm>
                <a:off x="788822"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28" name="object 47">
                <a:extLst>
                  <a:ext uri="{FF2B5EF4-FFF2-40B4-BE49-F238E27FC236}">
                    <a16:creationId xmlns:a16="http://schemas.microsoft.com/office/drawing/2014/main" id="{B7721903-26A5-1B7B-CB14-9A836714497A}"/>
                  </a:ext>
                </a:extLst>
              </p:cNvPr>
              <p:cNvSpPr/>
              <p:nvPr/>
            </p:nvSpPr>
            <p:spPr>
              <a:xfrm>
                <a:off x="864000"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29" name="object 48">
                <a:extLst>
                  <a:ext uri="{FF2B5EF4-FFF2-40B4-BE49-F238E27FC236}">
                    <a16:creationId xmlns:a16="http://schemas.microsoft.com/office/drawing/2014/main" id="{1590DBD8-5317-F041-4F02-41547145C8BC}"/>
                  </a:ext>
                </a:extLst>
              </p:cNvPr>
              <p:cNvSpPr/>
              <p:nvPr/>
            </p:nvSpPr>
            <p:spPr>
              <a:xfrm>
                <a:off x="860818"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30" name="object 49">
                <a:extLst>
                  <a:ext uri="{FF2B5EF4-FFF2-40B4-BE49-F238E27FC236}">
                    <a16:creationId xmlns:a16="http://schemas.microsoft.com/office/drawing/2014/main" id="{D275AA86-1F23-8B8E-5D22-E6C6544DD490}"/>
                  </a:ext>
                </a:extLst>
              </p:cNvPr>
              <p:cNvSpPr/>
              <p:nvPr/>
            </p:nvSpPr>
            <p:spPr>
              <a:xfrm>
                <a:off x="935998"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31" name="object 50">
                <a:extLst>
                  <a:ext uri="{FF2B5EF4-FFF2-40B4-BE49-F238E27FC236}">
                    <a16:creationId xmlns:a16="http://schemas.microsoft.com/office/drawing/2014/main" id="{682FEE51-2F88-E070-A49E-CD0BB1A685FF}"/>
                  </a:ext>
                </a:extLst>
              </p:cNvPr>
              <p:cNvSpPr/>
              <p:nvPr/>
            </p:nvSpPr>
            <p:spPr>
              <a:xfrm>
                <a:off x="932815"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32" name="object 51">
                <a:extLst>
                  <a:ext uri="{FF2B5EF4-FFF2-40B4-BE49-F238E27FC236}">
                    <a16:creationId xmlns:a16="http://schemas.microsoft.com/office/drawing/2014/main" id="{AE0263BD-1CEE-5156-31EB-5994B2A35B16}"/>
                  </a:ext>
                </a:extLst>
              </p:cNvPr>
              <p:cNvSpPr/>
              <p:nvPr/>
            </p:nvSpPr>
            <p:spPr>
              <a:xfrm>
                <a:off x="1008000"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33" name="object 52">
                <a:extLst>
                  <a:ext uri="{FF2B5EF4-FFF2-40B4-BE49-F238E27FC236}">
                    <a16:creationId xmlns:a16="http://schemas.microsoft.com/office/drawing/2014/main" id="{59A8A12D-F25C-7165-D867-D1EB31D985E8}"/>
                  </a:ext>
                </a:extLst>
              </p:cNvPr>
              <p:cNvSpPr/>
              <p:nvPr/>
            </p:nvSpPr>
            <p:spPr>
              <a:xfrm>
                <a:off x="1004824"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34" name="object 53">
                <a:extLst>
                  <a:ext uri="{FF2B5EF4-FFF2-40B4-BE49-F238E27FC236}">
                    <a16:creationId xmlns:a16="http://schemas.microsoft.com/office/drawing/2014/main" id="{5CC1266F-4C56-4428-4575-CB31CF918578}"/>
                  </a:ext>
                </a:extLst>
              </p:cNvPr>
              <p:cNvSpPr/>
              <p:nvPr/>
            </p:nvSpPr>
            <p:spPr>
              <a:xfrm>
                <a:off x="1079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35" name="object 54">
                <a:extLst>
                  <a:ext uri="{FF2B5EF4-FFF2-40B4-BE49-F238E27FC236}">
                    <a16:creationId xmlns:a16="http://schemas.microsoft.com/office/drawing/2014/main" id="{F194F806-8A0D-87E3-9BE6-0E361933595F}"/>
                  </a:ext>
                </a:extLst>
              </p:cNvPr>
              <p:cNvSpPr/>
              <p:nvPr/>
            </p:nvSpPr>
            <p:spPr>
              <a:xfrm>
                <a:off x="1076820"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36" name="object 55">
                <a:extLst>
                  <a:ext uri="{FF2B5EF4-FFF2-40B4-BE49-F238E27FC236}">
                    <a16:creationId xmlns:a16="http://schemas.microsoft.com/office/drawing/2014/main" id="{DED2C9E8-02BF-B0AE-A515-2E96C3A08ED8}"/>
                  </a:ext>
                </a:extLst>
              </p:cNvPr>
              <p:cNvSpPr/>
              <p:nvPr/>
            </p:nvSpPr>
            <p:spPr>
              <a:xfrm>
                <a:off x="1151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37" name="object 56">
                <a:extLst>
                  <a:ext uri="{FF2B5EF4-FFF2-40B4-BE49-F238E27FC236}">
                    <a16:creationId xmlns:a16="http://schemas.microsoft.com/office/drawing/2014/main" id="{03505112-06BD-9D0E-EFD0-D3A8000A04C5}"/>
                  </a:ext>
                </a:extLst>
              </p:cNvPr>
              <p:cNvSpPr/>
              <p:nvPr/>
            </p:nvSpPr>
            <p:spPr>
              <a:xfrm>
                <a:off x="1148816"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38" name="object 57">
                <a:extLst>
                  <a:ext uri="{FF2B5EF4-FFF2-40B4-BE49-F238E27FC236}">
                    <a16:creationId xmlns:a16="http://schemas.microsoft.com/office/drawing/2014/main" id="{5F957E9E-C84A-13D8-6D7D-74D66279E258}"/>
                  </a:ext>
                </a:extLst>
              </p:cNvPr>
              <p:cNvSpPr/>
              <p:nvPr/>
            </p:nvSpPr>
            <p:spPr>
              <a:xfrm>
                <a:off x="1223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39" name="object 58">
                <a:extLst>
                  <a:ext uri="{FF2B5EF4-FFF2-40B4-BE49-F238E27FC236}">
                    <a16:creationId xmlns:a16="http://schemas.microsoft.com/office/drawing/2014/main" id="{F81965C8-901F-AD9F-D887-C6464ADB0FA0}"/>
                  </a:ext>
                </a:extLst>
              </p:cNvPr>
              <p:cNvSpPr/>
              <p:nvPr/>
            </p:nvSpPr>
            <p:spPr>
              <a:xfrm>
                <a:off x="1220812" y="1954796"/>
                <a:ext cx="6350" cy="2293620"/>
              </a:xfrm>
              <a:custGeom>
                <a:avLst/>
                <a:gdLst/>
                <a:ahLst/>
                <a:cxnLst/>
                <a:rect l="l" t="t" r="r" b="b"/>
                <a:pathLst>
                  <a:path w="6350" h="2293620">
                    <a:moveTo>
                      <a:pt x="6350" y="2290026"/>
                    </a:moveTo>
                    <a:lnTo>
                      <a:pt x="5422" y="2287790"/>
                    </a:lnTo>
                    <a:lnTo>
                      <a:pt x="3175" y="2286851"/>
                    </a:lnTo>
                    <a:lnTo>
                      <a:pt x="939" y="2287790"/>
                    </a:lnTo>
                    <a:lnTo>
                      <a:pt x="0" y="2290026"/>
                    </a:lnTo>
                    <a:lnTo>
                      <a:pt x="939" y="2292273"/>
                    </a:lnTo>
                    <a:lnTo>
                      <a:pt x="3175" y="2293201"/>
                    </a:lnTo>
                    <a:lnTo>
                      <a:pt x="5422" y="2292273"/>
                    </a:lnTo>
                    <a:lnTo>
                      <a:pt x="6350" y="2290026"/>
                    </a:lnTo>
                    <a:close/>
                  </a:path>
                  <a:path w="6350" h="2293620">
                    <a:moveTo>
                      <a:pt x="6350" y="3175"/>
                    </a:moveTo>
                    <a:lnTo>
                      <a:pt x="5422" y="939"/>
                    </a:lnTo>
                    <a:lnTo>
                      <a:pt x="3175" y="0"/>
                    </a:lnTo>
                    <a:lnTo>
                      <a:pt x="939" y="939"/>
                    </a:lnTo>
                    <a:lnTo>
                      <a:pt x="0" y="3175"/>
                    </a:lnTo>
                    <a:lnTo>
                      <a:pt x="939"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40" name="object 59">
                <a:extLst>
                  <a:ext uri="{FF2B5EF4-FFF2-40B4-BE49-F238E27FC236}">
                    <a16:creationId xmlns:a16="http://schemas.microsoft.com/office/drawing/2014/main" id="{27A7A5C2-123A-5E4E-125D-194250EAB57B}"/>
                  </a:ext>
                </a:extLst>
              </p:cNvPr>
              <p:cNvSpPr/>
              <p:nvPr/>
            </p:nvSpPr>
            <p:spPr>
              <a:xfrm>
                <a:off x="1295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41" name="object 60">
                <a:extLst>
                  <a:ext uri="{FF2B5EF4-FFF2-40B4-BE49-F238E27FC236}">
                    <a16:creationId xmlns:a16="http://schemas.microsoft.com/office/drawing/2014/main" id="{7E0EA5BF-542B-E217-2B76-E336761A0CEA}"/>
                  </a:ext>
                </a:extLst>
              </p:cNvPr>
              <p:cNvSpPr/>
              <p:nvPr/>
            </p:nvSpPr>
            <p:spPr>
              <a:xfrm>
                <a:off x="1292821"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42" name="object 61">
                <a:extLst>
                  <a:ext uri="{FF2B5EF4-FFF2-40B4-BE49-F238E27FC236}">
                    <a16:creationId xmlns:a16="http://schemas.microsoft.com/office/drawing/2014/main" id="{58FBA0B2-448E-3444-AAEF-76DB71933DF8}"/>
                  </a:ext>
                </a:extLst>
              </p:cNvPr>
              <p:cNvSpPr/>
              <p:nvPr/>
            </p:nvSpPr>
            <p:spPr>
              <a:xfrm>
                <a:off x="1367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43" name="object 62">
                <a:extLst>
                  <a:ext uri="{FF2B5EF4-FFF2-40B4-BE49-F238E27FC236}">
                    <a16:creationId xmlns:a16="http://schemas.microsoft.com/office/drawing/2014/main" id="{2DC218B5-F73A-96A9-7E5A-CD7A5C88FA79}"/>
                  </a:ext>
                </a:extLst>
              </p:cNvPr>
              <p:cNvSpPr/>
              <p:nvPr/>
            </p:nvSpPr>
            <p:spPr>
              <a:xfrm>
                <a:off x="1364818"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44" name="object 63">
                <a:extLst>
                  <a:ext uri="{FF2B5EF4-FFF2-40B4-BE49-F238E27FC236}">
                    <a16:creationId xmlns:a16="http://schemas.microsoft.com/office/drawing/2014/main" id="{13238C6E-70DB-6C67-ABEB-C6AC928A71A8}"/>
                  </a:ext>
                </a:extLst>
              </p:cNvPr>
              <p:cNvSpPr/>
              <p:nvPr/>
            </p:nvSpPr>
            <p:spPr>
              <a:xfrm>
                <a:off x="1439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45" name="object 64">
                <a:extLst>
                  <a:ext uri="{FF2B5EF4-FFF2-40B4-BE49-F238E27FC236}">
                    <a16:creationId xmlns:a16="http://schemas.microsoft.com/office/drawing/2014/main" id="{A25D2F70-E25E-F726-C1DC-38C5122D0A55}"/>
                  </a:ext>
                </a:extLst>
              </p:cNvPr>
              <p:cNvSpPr/>
              <p:nvPr/>
            </p:nvSpPr>
            <p:spPr>
              <a:xfrm>
                <a:off x="1436814" y="1954796"/>
                <a:ext cx="6350" cy="2293620"/>
              </a:xfrm>
              <a:custGeom>
                <a:avLst/>
                <a:gdLst/>
                <a:ahLst/>
                <a:cxnLst/>
                <a:rect l="l" t="t" r="r" b="b"/>
                <a:pathLst>
                  <a:path w="6350" h="2293620">
                    <a:moveTo>
                      <a:pt x="6350" y="2290026"/>
                    </a:moveTo>
                    <a:lnTo>
                      <a:pt x="5422" y="2287790"/>
                    </a:lnTo>
                    <a:lnTo>
                      <a:pt x="3175" y="2286851"/>
                    </a:lnTo>
                    <a:lnTo>
                      <a:pt x="939" y="2287790"/>
                    </a:lnTo>
                    <a:lnTo>
                      <a:pt x="0" y="2290026"/>
                    </a:lnTo>
                    <a:lnTo>
                      <a:pt x="939" y="2292273"/>
                    </a:lnTo>
                    <a:lnTo>
                      <a:pt x="3175" y="2293201"/>
                    </a:lnTo>
                    <a:lnTo>
                      <a:pt x="5422" y="2292273"/>
                    </a:lnTo>
                    <a:lnTo>
                      <a:pt x="6350" y="2290026"/>
                    </a:lnTo>
                    <a:close/>
                  </a:path>
                  <a:path w="6350" h="2293620">
                    <a:moveTo>
                      <a:pt x="6350" y="3175"/>
                    </a:moveTo>
                    <a:lnTo>
                      <a:pt x="5422" y="939"/>
                    </a:lnTo>
                    <a:lnTo>
                      <a:pt x="3175" y="0"/>
                    </a:lnTo>
                    <a:lnTo>
                      <a:pt x="939" y="939"/>
                    </a:lnTo>
                    <a:lnTo>
                      <a:pt x="0" y="3175"/>
                    </a:lnTo>
                    <a:lnTo>
                      <a:pt x="939"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46" name="object 65">
                <a:extLst>
                  <a:ext uri="{FF2B5EF4-FFF2-40B4-BE49-F238E27FC236}">
                    <a16:creationId xmlns:a16="http://schemas.microsoft.com/office/drawing/2014/main" id="{5EEA25BB-12FB-56AE-0A11-264BE751F2C5}"/>
                  </a:ext>
                </a:extLst>
              </p:cNvPr>
              <p:cNvSpPr/>
              <p:nvPr/>
            </p:nvSpPr>
            <p:spPr>
              <a:xfrm>
                <a:off x="1511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47" name="object 66">
                <a:extLst>
                  <a:ext uri="{FF2B5EF4-FFF2-40B4-BE49-F238E27FC236}">
                    <a16:creationId xmlns:a16="http://schemas.microsoft.com/office/drawing/2014/main" id="{A6559228-F7A4-623F-97D5-D54F5B9C7D89}"/>
                  </a:ext>
                </a:extLst>
              </p:cNvPr>
              <p:cNvSpPr/>
              <p:nvPr/>
            </p:nvSpPr>
            <p:spPr>
              <a:xfrm>
                <a:off x="1508823"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48" name="object 67">
                <a:extLst>
                  <a:ext uri="{FF2B5EF4-FFF2-40B4-BE49-F238E27FC236}">
                    <a16:creationId xmlns:a16="http://schemas.microsoft.com/office/drawing/2014/main" id="{A7C2F01C-BF8F-21F4-4A01-55EAA9D2300A}"/>
                  </a:ext>
                </a:extLst>
              </p:cNvPr>
              <p:cNvSpPr/>
              <p:nvPr/>
            </p:nvSpPr>
            <p:spPr>
              <a:xfrm>
                <a:off x="1583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49" name="object 68">
                <a:extLst>
                  <a:ext uri="{FF2B5EF4-FFF2-40B4-BE49-F238E27FC236}">
                    <a16:creationId xmlns:a16="http://schemas.microsoft.com/office/drawing/2014/main" id="{21136326-866F-D160-914F-AB1A1259D343}"/>
                  </a:ext>
                </a:extLst>
              </p:cNvPr>
              <p:cNvSpPr/>
              <p:nvPr/>
            </p:nvSpPr>
            <p:spPr>
              <a:xfrm>
                <a:off x="1580819"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50" name="object 69">
                <a:extLst>
                  <a:ext uri="{FF2B5EF4-FFF2-40B4-BE49-F238E27FC236}">
                    <a16:creationId xmlns:a16="http://schemas.microsoft.com/office/drawing/2014/main" id="{95E36975-59A5-D91D-D177-B33A6B525234}"/>
                  </a:ext>
                </a:extLst>
              </p:cNvPr>
              <p:cNvSpPr/>
              <p:nvPr/>
            </p:nvSpPr>
            <p:spPr>
              <a:xfrm>
                <a:off x="1655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51" name="object 70">
                <a:extLst>
                  <a:ext uri="{FF2B5EF4-FFF2-40B4-BE49-F238E27FC236}">
                    <a16:creationId xmlns:a16="http://schemas.microsoft.com/office/drawing/2014/main" id="{DB2CE1BE-C538-CC46-2370-580FA498C209}"/>
                  </a:ext>
                </a:extLst>
              </p:cNvPr>
              <p:cNvSpPr/>
              <p:nvPr/>
            </p:nvSpPr>
            <p:spPr>
              <a:xfrm>
                <a:off x="1652816"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52" name="object 71">
                <a:extLst>
                  <a:ext uri="{FF2B5EF4-FFF2-40B4-BE49-F238E27FC236}">
                    <a16:creationId xmlns:a16="http://schemas.microsoft.com/office/drawing/2014/main" id="{33A1880F-3C9D-252E-2622-EBCA7A8197B2}"/>
                  </a:ext>
                </a:extLst>
              </p:cNvPr>
              <p:cNvSpPr/>
              <p:nvPr/>
            </p:nvSpPr>
            <p:spPr>
              <a:xfrm>
                <a:off x="1728000"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53" name="object 72">
                <a:extLst>
                  <a:ext uri="{FF2B5EF4-FFF2-40B4-BE49-F238E27FC236}">
                    <a16:creationId xmlns:a16="http://schemas.microsoft.com/office/drawing/2014/main" id="{BC08D1E8-B1D6-CA18-8E2B-4541E73633C5}"/>
                  </a:ext>
                </a:extLst>
              </p:cNvPr>
              <p:cNvSpPr/>
              <p:nvPr/>
            </p:nvSpPr>
            <p:spPr>
              <a:xfrm>
                <a:off x="1724825"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54" name="object 73">
                <a:extLst>
                  <a:ext uri="{FF2B5EF4-FFF2-40B4-BE49-F238E27FC236}">
                    <a16:creationId xmlns:a16="http://schemas.microsoft.com/office/drawing/2014/main" id="{1EA8011E-052E-69E3-DD8F-185DC0A2AC8D}"/>
                  </a:ext>
                </a:extLst>
              </p:cNvPr>
              <p:cNvSpPr/>
              <p:nvPr/>
            </p:nvSpPr>
            <p:spPr>
              <a:xfrm>
                <a:off x="1799998"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55" name="object 74">
                <a:extLst>
                  <a:ext uri="{FF2B5EF4-FFF2-40B4-BE49-F238E27FC236}">
                    <a16:creationId xmlns:a16="http://schemas.microsoft.com/office/drawing/2014/main" id="{3C51C4D1-EF02-2DD1-76E4-A2DB780E4012}"/>
                  </a:ext>
                </a:extLst>
              </p:cNvPr>
              <p:cNvSpPr/>
              <p:nvPr/>
            </p:nvSpPr>
            <p:spPr>
              <a:xfrm>
                <a:off x="1796821"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56" name="object 75">
                <a:extLst>
                  <a:ext uri="{FF2B5EF4-FFF2-40B4-BE49-F238E27FC236}">
                    <a16:creationId xmlns:a16="http://schemas.microsoft.com/office/drawing/2014/main" id="{534BD7EE-AF68-EA09-6660-14A5044C83BD}"/>
                  </a:ext>
                </a:extLst>
              </p:cNvPr>
              <p:cNvSpPr/>
              <p:nvPr/>
            </p:nvSpPr>
            <p:spPr>
              <a:xfrm>
                <a:off x="1872000"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57" name="object 76">
                <a:extLst>
                  <a:ext uri="{FF2B5EF4-FFF2-40B4-BE49-F238E27FC236}">
                    <a16:creationId xmlns:a16="http://schemas.microsoft.com/office/drawing/2014/main" id="{FF3E94B6-2A74-ADC6-B37C-729BCD925702}"/>
                  </a:ext>
                </a:extLst>
              </p:cNvPr>
              <p:cNvSpPr/>
              <p:nvPr/>
            </p:nvSpPr>
            <p:spPr>
              <a:xfrm>
                <a:off x="1868817"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58" name="object 77">
                <a:extLst>
                  <a:ext uri="{FF2B5EF4-FFF2-40B4-BE49-F238E27FC236}">
                    <a16:creationId xmlns:a16="http://schemas.microsoft.com/office/drawing/2014/main" id="{B6E73D32-89D4-064D-D988-3526E92000DA}"/>
                  </a:ext>
                </a:extLst>
              </p:cNvPr>
              <p:cNvSpPr/>
              <p:nvPr/>
            </p:nvSpPr>
            <p:spPr>
              <a:xfrm>
                <a:off x="1943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59" name="object 78">
                <a:extLst>
                  <a:ext uri="{FF2B5EF4-FFF2-40B4-BE49-F238E27FC236}">
                    <a16:creationId xmlns:a16="http://schemas.microsoft.com/office/drawing/2014/main" id="{48BFB090-9554-4960-2D5C-9374358A5AD9}"/>
                  </a:ext>
                </a:extLst>
              </p:cNvPr>
              <p:cNvSpPr/>
              <p:nvPr/>
            </p:nvSpPr>
            <p:spPr>
              <a:xfrm>
                <a:off x="1940814" y="1954796"/>
                <a:ext cx="6350" cy="2293620"/>
              </a:xfrm>
              <a:custGeom>
                <a:avLst/>
                <a:gdLst/>
                <a:ahLst/>
                <a:cxnLst/>
                <a:rect l="l" t="t" r="r" b="b"/>
                <a:pathLst>
                  <a:path w="6350" h="2293620">
                    <a:moveTo>
                      <a:pt x="6350" y="2290026"/>
                    </a:moveTo>
                    <a:lnTo>
                      <a:pt x="5422" y="2287790"/>
                    </a:lnTo>
                    <a:lnTo>
                      <a:pt x="3175" y="2286851"/>
                    </a:lnTo>
                    <a:lnTo>
                      <a:pt x="939" y="2287790"/>
                    </a:lnTo>
                    <a:lnTo>
                      <a:pt x="0" y="2290026"/>
                    </a:lnTo>
                    <a:lnTo>
                      <a:pt x="939" y="2292273"/>
                    </a:lnTo>
                    <a:lnTo>
                      <a:pt x="3175" y="2293201"/>
                    </a:lnTo>
                    <a:lnTo>
                      <a:pt x="5422" y="2292273"/>
                    </a:lnTo>
                    <a:lnTo>
                      <a:pt x="6350" y="2290026"/>
                    </a:lnTo>
                    <a:close/>
                  </a:path>
                  <a:path w="6350" h="2293620">
                    <a:moveTo>
                      <a:pt x="6350" y="3175"/>
                    </a:moveTo>
                    <a:lnTo>
                      <a:pt x="5422" y="939"/>
                    </a:lnTo>
                    <a:lnTo>
                      <a:pt x="3175" y="0"/>
                    </a:lnTo>
                    <a:lnTo>
                      <a:pt x="939" y="939"/>
                    </a:lnTo>
                    <a:lnTo>
                      <a:pt x="0" y="3175"/>
                    </a:lnTo>
                    <a:lnTo>
                      <a:pt x="939"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60" name="object 79">
                <a:extLst>
                  <a:ext uri="{FF2B5EF4-FFF2-40B4-BE49-F238E27FC236}">
                    <a16:creationId xmlns:a16="http://schemas.microsoft.com/office/drawing/2014/main" id="{2235D8C4-2A82-3577-A58E-B1F3BD7704B4}"/>
                  </a:ext>
                </a:extLst>
              </p:cNvPr>
              <p:cNvSpPr/>
              <p:nvPr/>
            </p:nvSpPr>
            <p:spPr>
              <a:xfrm>
                <a:off x="2015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61" name="object 80">
                <a:extLst>
                  <a:ext uri="{FF2B5EF4-FFF2-40B4-BE49-F238E27FC236}">
                    <a16:creationId xmlns:a16="http://schemas.microsoft.com/office/drawing/2014/main" id="{0B819A59-4B03-5608-E084-4127F4C6F747}"/>
                  </a:ext>
                </a:extLst>
              </p:cNvPr>
              <p:cNvSpPr/>
              <p:nvPr/>
            </p:nvSpPr>
            <p:spPr>
              <a:xfrm>
                <a:off x="2012823"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62" name="object 81">
                <a:extLst>
                  <a:ext uri="{FF2B5EF4-FFF2-40B4-BE49-F238E27FC236}">
                    <a16:creationId xmlns:a16="http://schemas.microsoft.com/office/drawing/2014/main" id="{52742072-709B-10EE-64DD-A75D0B1D790C}"/>
                  </a:ext>
                </a:extLst>
              </p:cNvPr>
              <p:cNvSpPr/>
              <p:nvPr/>
            </p:nvSpPr>
            <p:spPr>
              <a:xfrm>
                <a:off x="2087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63" name="object 82">
                <a:extLst>
                  <a:ext uri="{FF2B5EF4-FFF2-40B4-BE49-F238E27FC236}">
                    <a16:creationId xmlns:a16="http://schemas.microsoft.com/office/drawing/2014/main" id="{3956852B-38AC-B5A6-2B41-8C3077610DFC}"/>
                  </a:ext>
                </a:extLst>
              </p:cNvPr>
              <p:cNvSpPr/>
              <p:nvPr/>
            </p:nvSpPr>
            <p:spPr>
              <a:xfrm>
                <a:off x="2084819"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64" name="object 83">
                <a:extLst>
                  <a:ext uri="{FF2B5EF4-FFF2-40B4-BE49-F238E27FC236}">
                    <a16:creationId xmlns:a16="http://schemas.microsoft.com/office/drawing/2014/main" id="{2B637ADB-6E18-2D52-58B0-86FAAA3B40A4}"/>
                  </a:ext>
                </a:extLst>
              </p:cNvPr>
              <p:cNvSpPr/>
              <p:nvPr/>
            </p:nvSpPr>
            <p:spPr>
              <a:xfrm>
                <a:off x="2159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65" name="object 84">
                <a:extLst>
                  <a:ext uri="{FF2B5EF4-FFF2-40B4-BE49-F238E27FC236}">
                    <a16:creationId xmlns:a16="http://schemas.microsoft.com/office/drawing/2014/main" id="{2AC911B4-3CEE-9CE1-0A21-46D7AE076E0E}"/>
                  </a:ext>
                </a:extLst>
              </p:cNvPr>
              <p:cNvSpPr/>
              <p:nvPr/>
            </p:nvSpPr>
            <p:spPr>
              <a:xfrm>
                <a:off x="2156815"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66" name="object 85">
                <a:extLst>
                  <a:ext uri="{FF2B5EF4-FFF2-40B4-BE49-F238E27FC236}">
                    <a16:creationId xmlns:a16="http://schemas.microsoft.com/office/drawing/2014/main" id="{8D4AA68D-49F8-785E-71E5-FFEC045258AC}"/>
                  </a:ext>
                </a:extLst>
              </p:cNvPr>
              <p:cNvSpPr/>
              <p:nvPr/>
            </p:nvSpPr>
            <p:spPr>
              <a:xfrm>
                <a:off x="2231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67" name="object 86">
                <a:extLst>
                  <a:ext uri="{FF2B5EF4-FFF2-40B4-BE49-F238E27FC236}">
                    <a16:creationId xmlns:a16="http://schemas.microsoft.com/office/drawing/2014/main" id="{390A0871-FADC-BFAE-8234-C0E82A6ED132}"/>
                  </a:ext>
                </a:extLst>
              </p:cNvPr>
              <p:cNvSpPr/>
              <p:nvPr/>
            </p:nvSpPr>
            <p:spPr>
              <a:xfrm>
                <a:off x="2228824"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68" name="object 87">
                <a:extLst>
                  <a:ext uri="{FF2B5EF4-FFF2-40B4-BE49-F238E27FC236}">
                    <a16:creationId xmlns:a16="http://schemas.microsoft.com/office/drawing/2014/main" id="{05B73139-01E1-C380-7A90-E698FE844613}"/>
                  </a:ext>
                </a:extLst>
              </p:cNvPr>
              <p:cNvSpPr/>
              <p:nvPr/>
            </p:nvSpPr>
            <p:spPr>
              <a:xfrm>
                <a:off x="2303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69" name="object 88">
                <a:extLst>
                  <a:ext uri="{FF2B5EF4-FFF2-40B4-BE49-F238E27FC236}">
                    <a16:creationId xmlns:a16="http://schemas.microsoft.com/office/drawing/2014/main" id="{EB62F4DC-B308-A3AB-74D9-6522C3C49AB0}"/>
                  </a:ext>
                </a:extLst>
              </p:cNvPr>
              <p:cNvSpPr/>
              <p:nvPr/>
            </p:nvSpPr>
            <p:spPr>
              <a:xfrm>
                <a:off x="2300820"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70" name="object 89">
                <a:extLst>
                  <a:ext uri="{FF2B5EF4-FFF2-40B4-BE49-F238E27FC236}">
                    <a16:creationId xmlns:a16="http://schemas.microsoft.com/office/drawing/2014/main" id="{B834EE14-E663-20BE-C168-9C5F45BA7A70}"/>
                  </a:ext>
                </a:extLst>
              </p:cNvPr>
              <p:cNvSpPr/>
              <p:nvPr/>
            </p:nvSpPr>
            <p:spPr>
              <a:xfrm>
                <a:off x="2375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71" name="object 90">
                <a:extLst>
                  <a:ext uri="{FF2B5EF4-FFF2-40B4-BE49-F238E27FC236}">
                    <a16:creationId xmlns:a16="http://schemas.microsoft.com/office/drawing/2014/main" id="{21F1E16A-850A-9C24-53A3-1113F0043A32}"/>
                  </a:ext>
                </a:extLst>
              </p:cNvPr>
              <p:cNvSpPr/>
              <p:nvPr/>
            </p:nvSpPr>
            <p:spPr>
              <a:xfrm>
                <a:off x="2372817"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72" name="object 91">
                <a:extLst>
                  <a:ext uri="{FF2B5EF4-FFF2-40B4-BE49-F238E27FC236}">
                    <a16:creationId xmlns:a16="http://schemas.microsoft.com/office/drawing/2014/main" id="{750E4E1A-CFC6-8EAC-6E97-B5D88652C747}"/>
                  </a:ext>
                </a:extLst>
              </p:cNvPr>
              <p:cNvSpPr/>
              <p:nvPr/>
            </p:nvSpPr>
            <p:spPr>
              <a:xfrm>
                <a:off x="2447999"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73" name="object 92">
                <a:extLst>
                  <a:ext uri="{FF2B5EF4-FFF2-40B4-BE49-F238E27FC236}">
                    <a16:creationId xmlns:a16="http://schemas.microsoft.com/office/drawing/2014/main" id="{BA4CAFA9-4FF3-546C-8FF1-9EC78EB957F2}"/>
                  </a:ext>
                </a:extLst>
              </p:cNvPr>
              <p:cNvSpPr/>
              <p:nvPr/>
            </p:nvSpPr>
            <p:spPr>
              <a:xfrm>
                <a:off x="2444813" y="1954796"/>
                <a:ext cx="6350" cy="2293620"/>
              </a:xfrm>
              <a:custGeom>
                <a:avLst/>
                <a:gdLst/>
                <a:ahLst/>
                <a:cxnLst/>
                <a:rect l="l" t="t" r="r" b="b"/>
                <a:pathLst>
                  <a:path w="6350" h="2293620">
                    <a:moveTo>
                      <a:pt x="6350" y="2290026"/>
                    </a:moveTo>
                    <a:lnTo>
                      <a:pt x="5422" y="2287790"/>
                    </a:lnTo>
                    <a:lnTo>
                      <a:pt x="3175" y="2286851"/>
                    </a:lnTo>
                    <a:lnTo>
                      <a:pt x="939" y="2287790"/>
                    </a:lnTo>
                    <a:lnTo>
                      <a:pt x="0" y="2290026"/>
                    </a:lnTo>
                    <a:lnTo>
                      <a:pt x="939" y="2292273"/>
                    </a:lnTo>
                    <a:lnTo>
                      <a:pt x="3175" y="2293201"/>
                    </a:lnTo>
                    <a:lnTo>
                      <a:pt x="5422" y="2292273"/>
                    </a:lnTo>
                    <a:lnTo>
                      <a:pt x="6350" y="2290026"/>
                    </a:lnTo>
                    <a:close/>
                  </a:path>
                  <a:path w="6350" h="2293620">
                    <a:moveTo>
                      <a:pt x="6350" y="3175"/>
                    </a:moveTo>
                    <a:lnTo>
                      <a:pt x="5422" y="939"/>
                    </a:lnTo>
                    <a:lnTo>
                      <a:pt x="3175" y="0"/>
                    </a:lnTo>
                    <a:lnTo>
                      <a:pt x="939" y="939"/>
                    </a:lnTo>
                    <a:lnTo>
                      <a:pt x="0" y="3175"/>
                    </a:lnTo>
                    <a:lnTo>
                      <a:pt x="939"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74" name="object 93">
                <a:extLst>
                  <a:ext uri="{FF2B5EF4-FFF2-40B4-BE49-F238E27FC236}">
                    <a16:creationId xmlns:a16="http://schemas.microsoft.com/office/drawing/2014/main" id="{8952DF70-C78D-6E07-CB81-90CB7E5588FF}"/>
                  </a:ext>
                </a:extLst>
              </p:cNvPr>
              <p:cNvSpPr/>
              <p:nvPr/>
            </p:nvSpPr>
            <p:spPr>
              <a:xfrm>
                <a:off x="2519998"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75" name="object 94">
                <a:extLst>
                  <a:ext uri="{FF2B5EF4-FFF2-40B4-BE49-F238E27FC236}">
                    <a16:creationId xmlns:a16="http://schemas.microsoft.com/office/drawing/2014/main" id="{480A1CAB-D717-97E4-51C8-E4117A6C2347}"/>
                  </a:ext>
                </a:extLst>
              </p:cNvPr>
              <p:cNvSpPr/>
              <p:nvPr/>
            </p:nvSpPr>
            <p:spPr>
              <a:xfrm>
                <a:off x="2516822"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76" name="object 95">
                <a:extLst>
                  <a:ext uri="{FF2B5EF4-FFF2-40B4-BE49-F238E27FC236}">
                    <a16:creationId xmlns:a16="http://schemas.microsoft.com/office/drawing/2014/main" id="{05AC3B34-AF1F-1EF0-FDE8-5DB748443A96}"/>
                  </a:ext>
                </a:extLst>
              </p:cNvPr>
              <p:cNvSpPr/>
              <p:nvPr/>
            </p:nvSpPr>
            <p:spPr>
              <a:xfrm>
                <a:off x="2592000" y="1959869"/>
                <a:ext cx="0" cy="2494915"/>
              </a:xfrm>
              <a:custGeom>
                <a:avLst/>
                <a:gdLst/>
                <a:ahLst/>
                <a:cxnLst/>
                <a:rect l="l" t="t" r="r" b="b"/>
                <a:pathLst>
                  <a:path h="2494915">
                    <a:moveTo>
                      <a:pt x="0" y="0"/>
                    </a:moveTo>
                    <a:lnTo>
                      <a:pt x="0" y="2494610"/>
                    </a:lnTo>
                  </a:path>
                </a:pathLst>
              </a:custGeom>
              <a:ln w="6350">
                <a:solidFill>
                  <a:srgbClr val="899AD4"/>
                </a:solidFill>
                <a:prstDash val="dot"/>
              </a:ln>
            </p:spPr>
            <p:txBody>
              <a:bodyPr wrap="square" lIns="0" tIns="0" rIns="0" bIns="0" rtlCol="0"/>
              <a:lstStyle/>
              <a:p>
                <a:endParaRPr/>
              </a:p>
            </p:txBody>
          </p:sp>
          <p:sp>
            <p:nvSpPr>
              <p:cNvPr id="377" name="object 96">
                <a:extLst>
                  <a:ext uri="{FF2B5EF4-FFF2-40B4-BE49-F238E27FC236}">
                    <a16:creationId xmlns:a16="http://schemas.microsoft.com/office/drawing/2014/main" id="{8E7D973D-3341-BFB9-3136-945908B4498E}"/>
                  </a:ext>
                </a:extLst>
              </p:cNvPr>
              <p:cNvSpPr/>
              <p:nvPr/>
            </p:nvSpPr>
            <p:spPr>
              <a:xfrm>
                <a:off x="2588818" y="1944001"/>
                <a:ext cx="6350" cy="2520315"/>
              </a:xfrm>
              <a:custGeom>
                <a:avLst/>
                <a:gdLst/>
                <a:ahLst/>
                <a:cxnLst/>
                <a:rect l="l" t="t" r="r" b="b"/>
                <a:pathLst>
                  <a:path w="6350" h="2520315">
                    <a:moveTo>
                      <a:pt x="6350" y="2516822"/>
                    </a:moveTo>
                    <a:lnTo>
                      <a:pt x="5422" y="2514587"/>
                    </a:lnTo>
                    <a:lnTo>
                      <a:pt x="3175" y="2513647"/>
                    </a:lnTo>
                    <a:lnTo>
                      <a:pt x="927" y="2514587"/>
                    </a:lnTo>
                    <a:lnTo>
                      <a:pt x="0" y="2516822"/>
                    </a:lnTo>
                    <a:lnTo>
                      <a:pt x="927" y="2519070"/>
                    </a:lnTo>
                    <a:lnTo>
                      <a:pt x="3175" y="2519997"/>
                    </a:lnTo>
                    <a:lnTo>
                      <a:pt x="5422" y="2519070"/>
                    </a:lnTo>
                    <a:lnTo>
                      <a:pt x="6350" y="2516822"/>
                    </a:lnTo>
                    <a:close/>
                  </a:path>
                  <a:path w="6350" h="2520315">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78" name="object 97">
                <a:extLst>
                  <a:ext uri="{FF2B5EF4-FFF2-40B4-BE49-F238E27FC236}">
                    <a16:creationId xmlns:a16="http://schemas.microsoft.com/office/drawing/2014/main" id="{15E09331-82FE-F919-AD4D-4A4A670B388E}"/>
                  </a:ext>
                </a:extLst>
              </p:cNvPr>
              <p:cNvSpPr/>
              <p:nvPr/>
            </p:nvSpPr>
            <p:spPr>
              <a:xfrm>
                <a:off x="305440" y="201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79" name="object 98">
                <a:extLst>
                  <a:ext uri="{FF2B5EF4-FFF2-40B4-BE49-F238E27FC236}">
                    <a16:creationId xmlns:a16="http://schemas.microsoft.com/office/drawing/2014/main" id="{B780BE84-D8CE-C04C-123D-8E8CF0257B56}"/>
                  </a:ext>
                </a:extLst>
              </p:cNvPr>
              <p:cNvSpPr/>
              <p:nvPr/>
            </p:nvSpPr>
            <p:spPr>
              <a:xfrm>
                <a:off x="295922" y="2012835"/>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380" name="object 99">
                <a:extLst>
                  <a:ext uri="{FF2B5EF4-FFF2-40B4-BE49-F238E27FC236}">
                    <a16:creationId xmlns:a16="http://schemas.microsoft.com/office/drawing/2014/main" id="{D0287897-CAE0-DD94-60D8-4EA08580A7A0}"/>
                  </a:ext>
                </a:extLst>
              </p:cNvPr>
              <p:cNvSpPr/>
              <p:nvPr/>
            </p:nvSpPr>
            <p:spPr>
              <a:xfrm>
                <a:off x="305440" y="2088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81" name="object 100">
                <a:extLst>
                  <a:ext uri="{FF2B5EF4-FFF2-40B4-BE49-F238E27FC236}">
                    <a16:creationId xmlns:a16="http://schemas.microsoft.com/office/drawing/2014/main" id="{402B6CDB-F621-1857-2930-76A67677F268}"/>
                  </a:ext>
                </a:extLst>
              </p:cNvPr>
              <p:cNvSpPr/>
              <p:nvPr/>
            </p:nvSpPr>
            <p:spPr>
              <a:xfrm>
                <a:off x="295922" y="2084831"/>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382" name="object 101">
                <a:extLst>
                  <a:ext uri="{FF2B5EF4-FFF2-40B4-BE49-F238E27FC236}">
                    <a16:creationId xmlns:a16="http://schemas.microsoft.com/office/drawing/2014/main" id="{2651EF21-DDFB-553C-C251-6EF8B5C092A3}"/>
                  </a:ext>
                </a:extLst>
              </p:cNvPr>
              <p:cNvSpPr/>
              <p:nvPr/>
            </p:nvSpPr>
            <p:spPr>
              <a:xfrm>
                <a:off x="305440" y="2160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83" name="object 102">
                <a:extLst>
                  <a:ext uri="{FF2B5EF4-FFF2-40B4-BE49-F238E27FC236}">
                    <a16:creationId xmlns:a16="http://schemas.microsoft.com/office/drawing/2014/main" id="{0C52F405-3D0B-EB11-78DB-BCF7FE1F1C35}"/>
                  </a:ext>
                </a:extLst>
              </p:cNvPr>
              <p:cNvSpPr/>
              <p:nvPr/>
            </p:nvSpPr>
            <p:spPr>
              <a:xfrm>
                <a:off x="295922" y="2156840"/>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384" name="object 103">
                <a:extLst>
                  <a:ext uri="{FF2B5EF4-FFF2-40B4-BE49-F238E27FC236}">
                    <a16:creationId xmlns:a16="http://schemas.microsoft.com/office/drawing/2014/main" id="{DE04BA0F-D2E2-C248-6EB9-971BA865B97E}"/>
                  </a:ext>
                </a:extLst>
              </p:cNvPr>
              <p:cNvSpPr/>
              <p:nvPr/>
            </p:nvSpPr>
            <p:spPr>
              <a:xfrm>
                <a:off x="305440" y="2232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85" name="object 104">
                <a:extLst>
                  <a:ext uri="{FF2B5EF4-FFF2-40B4-BE49-F238E27FC236}">
                    <a16:creationId xmlns:a16="http://schemas.microsoft.com/office/drawing/2014/main" id="{63439D4C-8DCD-8136-37B2-8B3FBC3A3F91}"/>
                  </a:ext>
                </a:extLst>
              </p:cNvPr>
              <p:cNvSpPr/>
              <p:nvPr/>
            </p:nvSpPr>
            <p:spPr>
              <a:xfrm>
                <a:off x="295922" y="2228837"/>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386" name="object 105">
                <a:extLst>
                  <a:ext uri="{FF2B5EF4-FFF2-40B4-BE49-F238E27FC236}">
                    <a16:creationId xmlns:a16="http://schemas.microsoft.com/office/drawing/2014/main" id="{9B512F92-686C-927D-182C-C6CFB8208E85}"/>
                  </a:ext>
                </a:extLst>
              </p:cNvPr>
              <p:cNvSpPr/>
              <p:nvPr/>
            </p:nvSpPr>
            <p:spPr>
              <a:xfrm>
                <a:off x="305440" y="2304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87" name="object 106">
                <a:extLst>
                  <a:ext uri="{FF2B5EF4-FFF2-40B4-BE49-F238E27FC236}">
                    <a16:creationId xmlns:a16="http://schemas.microsoft.com/office/drawing/2014/main" id="{B20AF50C-32CE-9B38-A3DD-FE4EBAA51059}"/>
                  </a:ext>
                </a:extLst>
              </p:cNvPr>
              <p:cNvSpPr/>
              <p:nvPr/>
            </p:nvSpPr>
            <p:spPr>
              <a:xfrm>
                <a:off x="295922" y="2300833"/>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388" name="object 107">
                <a:extLst>
                  <a:ext uri="{FF2B5EF4-FFF2-40B4-BE49-F238E27FC236}">
                    <a16:creationId xmlns:a16="http://schemas.microsoft.com/office/drawing/2014/main" id="{E50FFDE4-BDAA-6828-D95F-4DBE9BFA1B5B}"/>
                  </a:ext>
                </a:extLst>
              </p:cNvPr>
              <p:cNvSpPr/>
              <p:nvPr/>
            </p:nvSpPr>
            <p:spPr>
              <a:xfrm>
                <a:off x="305440" y="237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89" name="object 108">
                <a:extLst>
                  <a:ext uri="{FF2B5EF4-FFF2-40B4-BE49-F238E27FC236}">
                    <a16:creationId xmlns:a16="http://schemas.microsoft.com/office/drawing/2014/main" id="{FECFC3A9-851B-0651-7A3D-630182CB854C}"/>
                  </a:ext>
                </a:extLst>
              </p:cNvPr>
              <p:cNvSpPr/>
              <p:nvPr/>
            </p:nvSpPr>
            <p:spPr>
              <a:xfrm>
                <a:off x="295922" y="2372829"/>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390" name="object 109">
                <a:extLst>
                  <a:ext uri="{FF2B5EF4-FFF2-40B4-BE49-F238E27FC236}">
                    <a16:creationId xmlns:a16="http://schemas.microsoft.com/office/drawing/2014/main" id="{A2C42A3F-86BE-1226-F08C-E0068D3A75D8}"/>
                  </a:ext>
                </a:extLst>
              </p:cNvPr>
              <p:cNvSpPr/>
              <p:nvPr/>
            </p:nvSpPr>
            <p:spPr>
              <a:xfrm>
                <a:off x="305440" y="2448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91" name="object 110">
                <a:extLst>
                  <a:ext uri="{FF2B5EF4-FFF2-40B4-BE49-F238E27FC236}">
                    <a16:creationId xmlns:a16="http://schemas.microsoft.com/office/drawing/2014/main" id="{3F95EF92-617D-C44C-DC7A-33953F5F3BC7}"/>
                  </a:ext>
                </a:extLst>
              </p:cNvPr>
              <p:cNvSpPr/>
              <p:nvPr/>
            </p:nvSpPr>
            <p:spPr>
              <a:xfrm>
                <a:off x="295922" y="2444838"/>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392" name="object 111">
                <a:extLst>
                  <a:ext uri="{FF2B5EF4-FFF2-40B4-BE49-F238E27FC236}">
                    <a16:creationId xmlns:a16="http://schemas.microsoft.com/office/drawing/2014/main" id="{8A37E5F0-8CF8-21C0-0479-84FF4230764D}"/>
                  </a:ext>
                </a:extLst>
              </p:cNvPr>
              <p:cNvSpPr/>
              <p:nvPr/>
            </p:nvSpPr>
            <p:spPr>
              <a:xfrm>
                <a:off x="305440" y="2520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93" name="object 112">
                <a:extLst>
                  <a:ext uri="{FF2B5EF4-FFF2-40B4-BE49-F238E27FC236}">
                    <a16:creationId xmlns:a16="http://schemas.microsoft.com/office/drawing/2014/main" id="{8A006FBC-C7B2-8B35-1926-6F994969DA2B}"/>
                  </a:ext>
                </a:extLst>
              </p:cNvPr>
              <p:cNvSpPr/>
              <p:nvPr/>
            </p:nvSpPr>
            <p:spPr>
              <a:xfrm>
                <a:off x="295922" y="2516835"/>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394" name="object 113">
                <a:extLst>
                  <a:ext uri="{FF2B5EF4-FFF2-40B4-BE49-F238E27FC236}">
                    <a16:creationId xmlns:a16="http://schemas.microsoft.com/office/drawing/2014/main" id="{36399499-2217-8672-A5C6-E0EF1FCF1C75}"/>
                  </a:ext>
                </a:extLst>
              </p:cNvPr>
              <p:cNvSpPr/>
              <p:nvPr/>
            </p:nvSpPr>
            <p:spPr>
              <a:xfrm>
                <a:off x="305440" y="2592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95" name="object 114">
                <a:extLst>
                  <a:ext uri="{FF2B5EF4-FFF2-40B4-BE49-F238E27FC236}">
                    <a16:creationId xmlns:a16="http://schemas.microsoft.com/office/drawing/2014/main" id="{7F4D7742-E3D8-C755-A232-51A23D6F2988}"/>
                  </a:ext>
                </a:extLst>
              </p:cNvPr>
              <p:cNvSpPr/>
              <p:nvPr/>
            </p:nvSpPr>
            <p:spPr>
              <a:xfrm>
                <a:off x="295922" y="2588831"/>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396" name="object 115">
                <a:extLst>
                  <a:ext uri="{FF2B5EF4-FFF2-40B4-BE49-F238E27FC236}">
                    <a16:creationId xmlns:a16="http://schemas.microsoft.com/office/drawing/2014/main" id="{31343023-8AF8-66A5-C66D-BA652BDE03EC}"/>
                  </a:ext>
                </a:extLst>
              </p:cNvPr>
              <p:cNvSpPr/>
              <p:nvPr/>
            </p:nvSpPr>
            <p:spPr>
              <a:xfrm>
                <a:off x="305440" y="2664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97" name="object 116">
                <a:extLst>
                  <a:ext uri="{FF2B5EF4-FFF2-40B4-BE49-F238E27FC236}">
                    <a16:creationId xmlns:a16="http://schemas.microsoft.com/office/drawing/2014/main" id="{18A344B4-B9F7-285E-9D91-0BD45A2B356B}"/>
                  </a:ext>
                </a:extLst>
              </p:cNvPr>
              <p:cNvSpPr/>
              <p:nvPr/>
            </p:nvSpPr>
            <p:spPr>
              <a:xfrm>
                <a:off x="295922" y="2660840"/>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398" name="object 117">
                <a:extLst>
                  <a:ext uri="{FF2B5EF4-FFF2-40B4-BE49-F238E27FC236}">
                    <a16:creationId xmlns:a16="http://schemas.microsoft.com/office/drawing/2014/main" id="{6D6F8ED1-9CFF-FD48-0AB3-98D9099387B4}"/>
                  </a:ext>
                </a:extLst>
              </p:cNvPr>
              <p:cNvSpPr/>
              <p:nvPr/>
            </p:nvSpPr>
            <p:spPr>
              <a:xfrm>
                <a:off x="305440" y="273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399" name="object 118">
                <a:extLst>
                  <a:ext uri="{FF2B5EF4-FFF2-40B4-BE49-F238E27FC236}">
                    <a16:creationId xmlns:a16="http://schemas.microsoft.com/office/drawing/2014/main" id="{59043FDA-DB8B-F0D5-C779-192C0CC022E3}"/>
                  </a:ext>
                </a:extLst>
              </p:cNvPr>
              <p:cNvSpPr/>
              <p:nvPr/>
            </p:nvSpPr>
            <p:spPr>
              <a:xfrm>
                <a:off x="295922" y="2732836"/>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00" name="object 119">
                <a:extLst>
                  <a:ext uri="{FF2B5EF4-FFF2-40B4-BE49-F238E27FC236}">
                    <a16:creationId xmlns:a16="http://schemas.microsoft.com/office/drawing/2014/main" id="{7034D5F5-1AE5-B1A6-51A0-C8B94E51A3B1}"/>
                  </a:ext>
                </a:extLst>
              </p:cNvPr>
              <p:cNvSpPr/>
              <p:nvPr/>
            </p:nvSpPr>
            <p:spPr>
              <a:xfrm>
                <a:off x="305440" y="2808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01" name="object 120">
                <a:extLst>
                  <a:ext uri="{FF2B5EF4-FFF2-40B4-BE49-F238E27FC236}">
                    <a16:creationId xmlns:a16="http://schemas.microsoft.com/office/drawing/2014/main" id="{92BB1D6C-D291-F8C9-CA88-30BC91F741CC}"/>
                  </a:ext>
                </a:extLst>
              </p:cNvPr>
              <p:cNvSpPr/>
              <p:nvPr/>
            </p:nvSpPr>
            <p:spPr>
              <a:xfrm>
                <a:off x="295922" y="2804832"/>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02" name="object 121">
                <a:extLst>
                  <a:ext uri="{FF2B5EF4-FFF2-40B4-BE49-F238E27FC236}">
                    <a16:creationId xmlns:a16="http://schemas.microsoft.com/office/drawing/2014/main" id="{6CF2C0E0-4F14-8752-0B70-4F344F7B35EE}"/>
                  </a:ext>
                </a:extLst>
              </p:cNvPr>
              <p:cNvSpPr/>
              <p:nvPr/>
            </p:nvSpPr>
            <p:spPr>
              <a:xfrm>
                <a:off x="305440" y="2880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03" name="object 122">
                <a:extLst>
                  <a:ext uri="{FF2B5EF4-FFF2-40B4-BE49-F238E27FC236}">
                    <a16:creationId xmlns:a16="http://schemas.microsoft.com/office/drawing/2014/main" id="{1BA5C65F-2AE5-71BF-EE50-A1FD75F41C43}"/>
                  </a:ext>
                </a:extLst>
              </p:cNvPr>
              <p:cNvSpPr/>
              <p:nvPr/>
            </p:nvSpPr>
            <p:spPr>
              <a:xfrm>
                <a:off x="295922" y="2876841"/>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404" name="object 123">
                <a:extLst>
                  <a:ext uri="{FF2B5EF4-FFF2-40B4-BE49-F238E27FC236}">
                    <a16:creationId xmlns:a16="http://schemas.microsoft.com/office/drawing/2014/main" id="{B15C7B67-003F-D90E-6753-3EAB6A8D7436}"/>
                  </a:ext>
                </a:extLst>
              </p:cNvPr>
              <p:cNvSpPr/>
              <p:nvPr/>
            </p:nvSpPr>
            <p:spPr>
              <a:xfrm>
                <a:off x="305440" y="2952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05" name="object 124">
                <a:extLst>
                  <a:ext uri="{FF2B5EF4-FFF2-40B4-BE49-F238E27FC236}">
                    <a16:creationId xmlns:a16="http://schemas.microsoft.com/office/drawing/2014/main" id="{06B36C7C-D932-9A99-0391-2885D3885F7D}"/>
                  </a:ext>
                </a:extLst>
              </p:cNvPr>
              <p:cNvSpPr/>
              <p:nvPr/>
            </p:nvSpPr>
            <p:spPr>
              <a:xfrm>
                <a:off x="295922" y="2948838"/>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06" name="object 125">
                <a:extLst>
                  <a:ext uri="{FF2B5EF4-FFF2-40B4-BE49-F238E27FC236}">
                    <a16:creationId xmlns:a16="http://schemas.microsoft.com/office/drawing/2014/main" id="{CD0A438E-E565-AD0D-BD7F-28B443FAAD8C}"/>
                  </a:ext>
                </a:extLst>
              </p:cNvPr>
              <p:cNvSpPr/>
              <p:nvPr/>
            </p:nvSpPr>
            <p:spPr>
              <a:xfrm>
                <a:off x="305440" y="3024006"/>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07" name="object 126">
                <a:extLst>
                  <a:ext uri="{FF2B5EF4-FFF2-40B4-BE49-F238E27FC236}">
                    <a16:creationId xmlns:a16="http://schemas.microsoft.com/office/drawing/2014/main" id="{A149A2CE-E3AE-614D-E103-53C4D98AC3E0}"/>
                  </a:ext>
                </a:extLst>
              </p:cNvPr>
              <p:cNvSpPr/>
              <p:nvPr/>
            </p:nvSpPr>
            <p:spPr>
              <a:xfrm>
                <a:off x="295922" y="3020834"/>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08" name="object 127">
                <a:extLst>
                  <a:ext uri="{FF2B5EF4-FFF2-40B4-BE49-F238E27FC236}">
                    <a16:creationId xmlns:a16="http://schemas.microsoft.com/office/drawing/2014/main" id="{CA37A520-AD6D-9FEF-E6BD-422A0E641B6C}"/>
                  </a:ext>
                </a:extLst>
              </p:cNvPr>
              <p:cNvSpPr/>
              <p:nvPr/>
            </p:nvSpPr>
            <p:spPr>
              <a:xfrm>
                <a:off x="305440" y="3096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09" name="object 128">
                <a:extLst>
                  <a:ext uri="{FF2B5EF4-FFF2-40B4-BE49-F238E27FC236}">
                    <a16:creationId xmlns:a16="http://schemas.microsoft.com/office/drawing/2014/main" id="{80CF1263-4185-BBD7-9625-FEB283E50E94}"/>
                  </a:ext>
                </a:extLst>
              </p:cNvPr>
              <p:cNvSpPr/>
              <p:nvPr/>
            </p:nvSpPr>
            <p:spPr>
              <a:xfrm>
                <a:off x="295922" y="3092830"/>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10" name="object 129">
                <a:extLst>
                  <a:ext uri="{FF2B5EF4-FFF2-40B4-BE49-F238E27FC236}">
                    <a16:creationId xmlns:a16="http://schemas.microsoft.com/office/drawing/2014/main" id="{59ADD68B-55EC-8697-496D-35D795B1F058}"/>
                  </a:ext>
                </a:extLst>
              </p:cNvPr>
              <p:cNvSpPr/>
              <p:nvPr/>
            </p:nvSpPr>
            <p:spPr>
              <a:xfrm>
                <a:off x="305440" y="3168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11" name="object 130">
                <a:extLst>
                  <a:ext uri="{FF2B5EF4-FFF2-40B4-BE49-F238E27FC236}">
                    <a16:creationId xmlns:a16="http://schemas.microsoft.com/office/drawing/2014/main" id="{335ED346-6C50-8893-DF83-986AA803B041}"/>
                  </a:ext>
                </a:extLst>
              </p:cNvPr>
              <p:cNvSpPr/>
              <p:nvPr/>
            </p:nvSpPr>
            <p:spPr>
              <a:xfrm>
                <a:off x="295922" y="3164839"/>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412" name="object 131">
                <a:extLst>
                  <a:ext uri="{FF2B5EF4-FFF2-40B4-BE49-F238E27FC236}">
                    <a16:creationId xmlns:a16="http://schemas.microsoft.com/office/drawing/2014/main" id="{B3AAA47B-47EF-8D1F-2F1A-EBD371D49E11}"/>
                  </a:ext>
                </a:extLst>
              </p:cNvPr>
              <p:cNvSpPr/>
              <p:nvPr/>
            </p:nvSpPr>
            <p:spPr>
              <a:xfrm>
                <a:off x="305440" y="3240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13" name="object 132">
                <a:extLst>
                  <a:ext uri="{FF2B5EF4-FFF2-40B4-BE49-F238E27FC236}">
                    <a16:creationId xmlns:a16="http://schemas.microsoft.com/office/drawing/2014/main" id="{5531DA94-BE62-E6A6-B7B1-0FE1FF281181}"/>
                  </a:ext>
                </a:extLst>
              </p:cNvPr>
              <p:cNvSpPr/>
              <p:nvPr/>
            </p:nvSpPr>
            <p:spPr>
              <a:xfrm>
                <a:off x="295922" y="3236836"/>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14" name="object 133">
                <a:extLst>
                  <a:ext uri="{FF2B5EF4-FFF2-40B4-BE49-F238E27FC236}">
                    <a16:creationId xmlns:a16="http://schemas.microsoft.com/office/drawing/2014/main" id="{6B032817-319F-EB7A-E7C4-16D9635FABF1}"/>
                  </a:ext>
                </a:extLst>
              </p:cNvPr>
              <p:cNvSpPr/>
              <p:nvPr/>
            </p:nvSpPr>
            <p:spPr>
              <a:xfrm>
                <a:off x="305440" y="3312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15" name="object 134">
                <a:extLst>
                  <a:ext uri="{FF2B5EF4-FFF2-40B4-BE49-F238E27FC236}">
                    <a16:creationId xmlns:a16="http://schemas.microsoft.com/office/drawing/2014/main" id="{2DD0B759-4F58-3D67-D061-0AD960F11128}"/>
                  </a:ext>
                </a:extLst>
              </p:cNvPr>
              <p:cNvSpPr/>
              <p:nvPr/>
            </p:nvSpPr>
            <p:spPr>
              <a:xfrm>
                <a:off x="295922" y="3308832"/>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16" name="object 135">
                <a:extLst>
                  <a:ext uri="{FF2B5EF4-FFF2-40B4-BE49-F238E27FC236}">
                    <a16:creationId xmlns:a16="http://schemas.microsoft.com/office/drawing/2014/main" id="{54321BBA-46DF-4652-0652-734BB5DCA16F}"/>
                  </a:ext>
                </a:extLst>
              </p:cNvPr>
              <p:cNvSpPr/>
              <p:nvPr/>
            </p:nvSpPr>
            <p:spPr>
              <a:xfrm>
                <a:off x="305440" y="3384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17" name="object 136">
                <a:extLst>
                  <a:ext uri="{FF2B5EF4-FFF2-40B4-BE49-F238E27FC236}">
                    <a16:creationId xmlns:a16="http://schemas.microsoft.com/office/drawing/2014/main" id="{65BE7836-9FE2-19BD-19F9-5AFF460D3980}"/>
                  </a:ext>
                </a:extLst>
              </p:cNvPr>
              <p:cNvSpPr/>
              <p:nvPr/>
            </p:nvSpPr>
            <p:spPr>
              <a:xfrm>
                <a:off x="295922" y="3380841"/>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418" name="object 137">
                <a:extLst>
                  <a:ext uri="{FF2B5EF4-FFF2-40B4-BE49-F238E27FC236}">
                    <a16:creationId xmlns:a16="http://schemas.microsoft.com/office/drawing/2014/main" id="{5D0D283F-D71E-4E3A-6FE8-D2218E87E0CF}"/>
                  </a:ext>
                </a:extLst>
              </p:cNvPr>
              <p:cNvSpPr/>
              <p:nvPr/>
            </p:nvSpPr>
            <p:spPr>
              <a:xfrm>
                <a:off x="305440" y="345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19" name="object 138">
                <a:extLst>
                  <a:ext uri="{FF2B5EF4-FFF2-40B4-BE49-F238E27FC236}">
                    <a16:creationId xmlns:a16="http://schemas.microsoft.com/office/drawing/2014/main" id="{B70779A8-F063-1948-C40E-12082797F655}"/>
                  </a:ext>
                </a:extLst>
              </p:cNvPr>
              <p:cNvSpPr/>
              <p:nvPr/>
            </p:nvSpPr>
            <p:spPr>
              <a:xfrm>
                <a:off x="295922" y="3452837"/>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20" name="object 139">
                <a:extLst>
                  <a:ext uri="{FF2B5EF4-FFF2-40B4-BE49-F238E27FC236}">
                    <a16:creationId xmlns:a16="http://schemas.microsoft.com/office/drawing/2014/main" id="{EB56358F-31DD-5773-2BBD-5A145528511D}"/>
                  </a:ext>
                </a:extLst>
              </p:cNvPr>
              <p:cNvSpPr/>
              <p:nvPr/>
            </p:nvSpPr>
            <p:spPr>
              <a:xfrm>
                <a:off x="305440" y="3528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21" name="object 140">
                <a:extLst>
                  <a:ext uri="{FF2B5EF4-FFF2-40B4-BE49-F238E27FC236}">
                    <a16:creationId xmlns:a16="http://schemas.microsoft.com/office/drawing/2014/main" id="{082242A3-F4FD-196F-551D-213A829ADC29}"/>
                  </a:ext>
                </a:extLst>
              </p:cNvPr>
              <p:cNvSpPr/>
              <p:nvPr/>
            </p:nvSpPr>
            <p:spPr>
              <a:xfrm>
                <a:off x="295922" y="3524834"/>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22" name="object 141">
                <a:extLst>
                  <a:ext uri="{FF2B5EF4-FFF2-40B4-BE49-F238E27FC236}">
                    <a16:creationId xmlns:a16="http://schemas.microsoft.com/office/drawing/2014/main" id="{A32A113D-D39C-8FB4-C214-E018BFBA033A}"/>
                  </a:ext>
                </a:extLst>
              </p:cNvPr>
              <p:cNvSpPr/>
              <p:nvPr/>
            </p:nvSpPr>
            <p:spPr>
              <a:xfrm>
                <a:off x="305440" y="3600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23" name="object 142">
                <a:extLst>
                  <a:ext uri="{FF2B5EF4-FFF2-40B4-BE49-F238E27FC236}">
                    <a16:creationId xmlns:a16="http://schemas.microsoft.com/office/drawing/2014/main" id="{A62241D3-DF84-6338-06B5-9F8353B3AB2F}"/>
                  </a:ext>
                </a:extLst>
              </p:cNvPr>
              <p:cNvSpPr/>
              <p:nvPr/>
            </p:nvSpPr>
            <p:spPr>
              <a:xfrm>
                <a:off x="295922" y="3596830"/>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24" name="object 143">
                <a:extLst>
                  <a:ext uri="{FF2B5EF4-FFF2-40B4-BE49-F238E27FC236}">
                    <a16:creationId xmlns:a16="http://schemas.microsoft.com/office/drawing/2014/main" id="{3FDA3DA4-6B39-1AAD-1B52-72F82E37C7FD}"/>
                  </a:ext>
                </a:extLst>
              </p:cNvPr>
              <p:cNvSpPr/>
              <p:nvPr/>
            </p:nvSpPr>
            <p:spPr>
              <a:xfrm>
                <a:off x="305440" y="3672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25" name="object 144">
                <a:extLst>
                  <a:ext uri="{FF2B5EF4-FFF2-40B4-BE49-F238E27FC236}">
                    <a16:creationId xmlns:a16="http://schemas.microsoft.com/office/drawing/2014/main" id="{34C59878-5A96-D9D3-7538-25650379618E}"/>
                  </a:ext>
                </a:extLst>
              </p:cNvPr>
              <p:cNvSpPr/>
              <p:nvPr/>
            </p:nvSpPr>
            <p:spPr>
              <a:xfrm>
                <a:off x="295922" y="3668839"/>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26" name="object 145">
                <a:extLst>
                  <a:ext uri="{FF2B5EF4-FFF2-40B4-BE49-F238E27FC236}">
                    <a16:creationId xmlns:a16="http://schemas.microsoft.com/office/drawing/2014/main" id="{CF8289BC-DCE6-0CEE-5755-CDFB956B9662}"/>
                  </a:ext>
                </a:extLst>
              </p:cNvPr>
              <p:cNvSpPr/>
              <p:nvPr/>
            </p:nvSpPr>
            <p:spPr>
              <a:xfrm>
                <a:off x="305440" y="3744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27" name="object 146">
                <a:extLst>
                  <a:ext uri="{FF2B5EF4-FFF2-40B4-BE49-F238E27FC236}">
                    <a16:creationId xmlns:a16="http://schemas.microsoft.com/office/drawing/2014/main" id="{E67A6DE6-F99E-02EB-AA10-8054EC9E4E6A}"/>
                  </a:ext>
                </a:extLst>
              </p:cNvPr>
              <p:cNvSpPr/>
              <p:nvPr/>
            </p:nvSpPr>
            <p:spPr>
              <a:xfrm>
                <a:off x="295922" y="3740835"/>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28" name="object 147">
                <a:extLst>
                  <a:ext uri="{FF2B5EF4-FFF2-40B4-BE49-F238E27FC236}">
                    <a16:creationId xmlns:a16="http://schemas.microsoft.com/office/drawing/2014/main" id="{853224CF-AEF5-7031-4A88-A7CD220F7627}"/>
                  </a:ext>
                </a:extLst>
              </p:cNvPr>
              <p:cNvSpPr/>
              <p:nvPr/>
            </p:nvSpPr>
            <p:spPr>
              <a:xfrm>
                <a:off x="305440" y="381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29" name="object 148">
                <a:extLst>
                  <a:ext uri="{FF2B5EF4-FFF2-40B4-BE49-F238E27FC236}">
                    <a16:creationId xmlns:a16="http://schemas.microsoft.com/office/drawing/2014/main" id="{0886E1A9-CF37-04C2-5B50-282186B7337B}"/>
                  </a:ext>
                </a:extLst>
              </p:cNvPr>
              <p:cNvSpPr/>
              <p:nvPr/>
            </p:nvSpPr>
            <p:spPr>
              <a:xfrm>
                <a:off x="295922" y="3812831"/>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30" name="object 149">
                <a:extLst>
                  <a:ext uri="{FF2B5EF4-FFF2-40B4-BE49-F238E27FC236}">
                    <a16:creationId xmlns:a16="http://schemas.microsoft.com/office/drawing/2014/main" id="{1C30A29F-AE9E-548E-2B0D-70F8E2A3EA4F}"/>
                  </a:ext>
                </a:extLst>
              </p:cNvPr>
              <p:cNvSpPr/>
              <p:nvPr/>
            </p:nvSpPr>
            <p:spPr>
              <a:xfrm>
                <a:off x="305440" y="3888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31" name="object 150">
                <a:extLst>
                  <a:ext uri="{FF2B5EF4-FFF2-40B4-BE49-F238E27FC236}">
                    <a16:creationId xmlns:a16="http://schemas.microsoft.com/office/drawing/2014/main" id="{296A5F91-BA8C-4E41-5ACE-D722BCA8BFF4}"/>
                  </a:ext>
                </a:extLst>
              </p:cNvPr>
              <p:cNvSpPr/>
              <p:nvPr/>
            </p:nvSpPr>
            <p:spPr>
              <a:xfrm>
                <a:off x="295922" y="3884840"/>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432" name="object 151">
                <a:extLst>
                  <a:ext uri="{FF2B5EF4-FFF2-40B4-BE49-F238E27FC236}">
                    <a16:creationId xmlns:a16="http://schemas.microsoft.com/office/drawing/2014/main" id="{C83765E8-974A-D80A-3C8D-C751B0379D29}"/>
                  </a:ext>
                </a:extLst>
              </p:cNvPr>
              <p:cNvSpPr/>
              <p:nvPr/>
            </p:nvSpPr>
            <p:spPr>
              <a:xfrm>
                <a:off x="305440" y="3960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33" name="object 152">
                <a:extLst>
                  <a:ext uri="{FF2B5EF4-FFF2-40B4-BE49-F238E27FC236}">
                    <a16:creationId xmlns:a16="http://schemas.microsoft.com/office/drawing/2014/main" id="{0E3C91A7-D8B6-458D-358A-5206571509D5}"/>
                  </a:ext>
                </a:extLst>
              </p:cNvPr>
              <p:cNvSpPr/>
              <p:nvPr/>
            </p:nvSpPr>
            <p:spPr>
              <a:xfrm>
                <a:off x="295922" y="3956837"/>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34" name="object 153">
                <a:extLst>
                  <a:ext uri="{FF2B5EF4-FFF2-40B4-BE49-F238E27FC236}">
                    <a16:creationId xmlns:a16="http://schemas.microsoft.com/office/drawing/2014/main" id="{8634D8CE-7A1E-AD8D-673A-261867462A52}"/>
                  </a:ext>
                </a:extLst>
              </p:cNvPr>
              <p:cNvSpPr/>
              <p:nvPr/>
            </p:nvSpPr>
            <p:spPr>
              <a:xfrm>
                <a:off x="305440" y="4032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35" name="object 154">
                <a:extLst>
                  <a:ext uri="{FF2B5EF4-FFF2-40B4-BE49-F238E27FC236}">
                    <a16:creationId xmlns:a16="http://schemas.microsoft.com/office/drawing/2014/main" id="{76218A26-3B89-3E1D-F909-DD8EAB62D053}"/>
                  </a:ext>
                </a:extLst>
              </p:cNvPr>
              <p:cNvSpPr/>
              <p:nvPr/>
            </p:nvSpPr>
            <p:spPr>
              <a:xfrm>
                <a:off x="295922" y="4028833"/>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36" name="object 155">
                <a:extLst>
                  <a:ext uri="{FF2B5EF4-FFF2-40B4-BE49-F238E27FC236}">
                    <a16:creationId xmlns:a16="http://schemas.microsoft.com/office/drawing/2014/main" id="{B2C9BC85-4D49-A5A5-5805-2527AED36C37}"/>
                  </a:ext>
                </a:extLst>
              </p:cNvPr>
              <p:cNvSpPr/>
              <p:nvPr/>
            </p:nvSpPr>
            <p:spPr>
              <a:xfrm>
                <a:off x="305440" y="4104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37" name="object 156">
                <a:extLst>
                  <a:ext uri="{FF2B5EF4-FFF2-40B4-BE49-F238E27FC236}">
                    <a16:creationId xmlns:a16="http://schemas.microsoft.com/office/drawing/2014/main" id="{318D7E9D-7868-B6B6-A99D-8B106744B7AB}"/>
                  </a:ext>
                </a:extLst>
              </p:cNvPr>
              <p:cNvSpPr/>
              <p:nvPr/>
            </p:nvSpPr>
            <p:spPr>
              <a:xfrm>
                <a:off x="295922" y="4100829"/>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438" name="object 157">
                <a:extLst>
                  <a:ext uri="{FF2B5EF4-FFF2-40B4-BE49-F238E27FC236}">
                    <a16:creationId xmlns:a16="http://schemas.microsoft.com/office/drawing/2014/main" id="{2EDC22E4-3074-93BF-4F19-DF1F39025F86}"/>
                  </a:ext>
                </a:extLst>
              </p:cNvPr>
              <p:cNvSpPr/>
              <p:nvPr/>
            </p:nvSpPr>
            <p:spPr>
              <a:xfrm>
                <a:off x="305440" y="417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439" name="object 158">
                <a:extLst>
                  <a:ext uri="{FF2B5EF4-FFF2-40B4-BE49-F238E27FC236}">
                    <a16:creationId xmlns:a16="http://schemas.microsoft.com/office/drawing/2014/main" id="{145B8FC8-23D6-2384-DBC2-A8CD276E5CE8}"/>
                  </a:ext>
                </a:extLst>
              </p:cNvPr>
              <p:cNvSpPr/>
              <p:nvPr/>
            </p:nvSpPr>
            <p:spPr>
              <a:xfrm>
                <a:off x="295922" y="4172838"/>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grpSp>
      </p:grpSp>
      <p:sp>
        <p:nvSpPr>
          <p:cNvPr id="6" name="Foliennummernplatzhalter 1">
            <a:extLst>
              <a:ext uri="{FF2B5EF4-FFF2-40B4-BE49-F238E27FC236}">
                <a16:creationId xmlns:a16="http://schemas.microsoft.com/office/drawing/2014/main" id="{1394D897-85AF-89B0-6D87-F88FD9303FF9}"/>
              </a:ext>
            </a:extLst>
          </p:cNvPr>
          <p:cNvSpPr>
            <a:spLocks noGrp="1"/>
          </p:cNvSpPr>
          <p:nvPr>
            <p:ph type="sldNum" sz="quarter" idx="11"/>
          </p:nvPr>
        </p:nvSpPr>
        <p:spPr>
          <a:xfrm>
            <a:off x="8478000" y="4896000"/>
            <a:ext cx="360000" cy="180000"/>
          </a:xfrm>
        </p:spPr>
        <p:txBody>
          <a:bodyPr/>
          <a:lstStyle/>
          <a:p>
            <a:fld id="{D56DB8AA-803C-49D2-90AA-1140CE72DCD7}" type="slidenum">
              <a:rPr lang="en-GB" smtClean="0">
                <a:solidFill>
                  <a:schemeClr val="bg1"/>
                </a:solidFill>
              </a:rPr>
              <a:pPr/>
              <a:t>15</a:t>
            </a:fld>
            <a:endParaRPr lang="en-GB" dirty="0">
              <a:solidFill>
                <a:schemeClr val="bg1"/>
              </a:solidFill>
            </a:endParaRPr>
          </a:p>
        </p:txBody>
      </p:sp>
      <p:pic>
        <p:nvPicPr>
          <p:cNvPr id="8" name="Logo 1">
            <a:extLst>
              <a:ext uri="{FF2B5EF4-FFF2-40B4-BE49-F238E27FC236}">
                <a16:creationId xmlns:a16="http://schemas.microsoft.com/office/drawing/2014/main" id="{796BF781-20B3-A88D-73F9-48B701863C22}"/>
              </a:ext>
            </a:extLst>
          </p:cNvPr>
          <p:cNvPicPr preferRelativeResize="0">
            <a:picLocks/>
          </p:cNvPicPr>
          <p:nvPr/>
        </p:nvPicPr>
        <p:blipFill>
          <a:blip r:embed="rId39">
            <a:biLevel thresh="25000"/>
          </a:blip>
          <a:stretch>
            <a:fillRect/>
          </a:stretch>
        </p:blipFill>
        <p:spPr>
          <a:xfrm>
            <a:off x="7584788" y="307350"/>
            <a:ext cx="1306800" cy="302400"/>
          </a:xfrm>
          <a:prstGeom prst="rect">
            <a:avLst/>
          </a:prstGeom>
        </p:spPr>
      </p:pic>
    </p:spTree>
    <p:extLst>
      <p:ext uri="{BB962C8B-B14F-4D97-AF65-F5344CB8AC3E}">
        <p14:creationId xmlns:p14="http://schemas.microsoft.com/office/powerpoint/2010/main" val="404951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kt 36" hidden="1">
            <a:extLst>
              <a:ext uri="{FF2B5EF4-FFF2-40B4-BE49-F238E27FC236}">
                <a16:creationId xmlns:a16="http://schemas.microsoft.com/office/drawing/2014/main" id="{BAF69142-FB34-47E9-9584-301C081C0506}"/>
              </a:ext>
            </a:extLst>
          </p:cNvPr>
          <p:cNvGraphicFramePr>
            <a:graphicFrameLocks noChangeAspect="1"/>
          </p:cNvGraphicFramePr>
          <p:nvPr>
            <p:custDataLst>
              <p:tags r:id="rId1"/>
            </p:custDataLst>
            <p:extLst>
              <p:ext uri="{D42A27DB-BD31-4B8C-83A1-F6EECF244321}">
                <p14:modId xmlns:p14="http://schemas.microsoft.com/office/powerpoint/2010/main" val="63427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7" name="Objekt 36" hidden="1">
                        <a:extLst>
                          <a:ext uri="{FF2B5EF4-FFF2-40B4-BE49-F238E27FC236}">
                            <a16:creationId xmlns:a16="http://schemas.microsoft.com/office/drawing/2014/main" id="{BAF69142-FB34-47E9-9584-301C081C05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3739EB0-8BC4-45B8-AC92-E8F4FFEC7A45}"/>
              </a:ext>
            </a:extLst>
          </p:cNvPr>
          <p:cNvSpPr>
            <a:spLocks noGrp="1"/>
          </p:cNvSpPr>
          <p:nvPr>
            <p:ph type="sldNum" sz="quarter" idx="11"/>
          </p:nvPr>
        </p:nvSpPr>
        <p:spPr/>
        <p:txBody>
          <a:bodyPr/>
          <a:lstStyle/>
          <a:p>
            <a:fld id="{D56DB8AA-803C-49D2-90AA-1140CE72DCD7}" type="slidenum">
              <a:rPr lang="en-GB" smtClean="0"/>
              <a:pPr/>
              <a:t>16</a:t>
            </a:fld>
            <a:endParaRPr lang="en-GB" dirty="0"/>
          </a:p>
        </p:txBody>
      </p:sp>
      <p:sp>
        <p:nvSpPr>
          <p:cNvPr id="450" name="Title 449">
            <a:extLst>
              <a:ext uri="{FF2B5EF4-FFF2-40B4-BE49-F238E27FC236}">
                <a16:creationId xmlns:a16="http://schemas.microsoft.com/office/drawing/2014/main" id="{11D17301-4789-21EA-E3D6-89E677066065}"/>
              </a:ext>
            </a:extLst>
          </p:cNvPr>
          <p:cNvSpPr>
            <a:spLocks noGrp="1"/>
          </p:cNvSpPr>
          <p:nvPr>
            <p:ph type="title"/>
          </p:nvPr>
        </p:nvSpPr>
        <p:spPr>
          <a:xfrm>
            <a:off x="252000" y="252000"/>
            <a:ext cx="6748875" cy="576000"/>
          </a:xfrm>
        </p:spPr>
        <p:txBody>
          <a:bodyPr vert="horz"/>
          <a:lstStyle/>
          <a:p>
            <a:r>
              <a:rPr lang="en-US" dirty="0"/>
              <a:t>Digitalization/Technology 1/2</a:t>
            </a:r>
            <a:br>
              <a:rPr lang="en-US" dirty="0"/>
            </a:br>
            <a:endParaRPr lang="en-US" dirty="0"/>
          </a:p>
        </p:txBody>
      </p:sp>
      <p:sp>
        <p:nvSpPr>
          <p:cNvPr id="5" name="TextBox 4">
            <a:extLst>
              <a:ext uri="{FF2B5EF4-FFF2-40B4-BE49-F238E27FC236}">
                <a16:creationId xmlns:a16="http://schemas.microsoft.com/office/drawing/2014/main" id="{23CCDD1C-F824-4DBE-9F85-664FB910F0B3}"/>
              </a:ext>
            </a:extLst>
          </p:cNvPr>
          <p:cNvSpPr txBox="1"/>
          <p:nvPr/>
        </p:nvSpPr>
        <p:spPr>
          <a:xfrm>
            <a:off x="452119"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yber</a:t>
            </a:r>
            <a:br>
              <a:rPr lang="en-GB" sz="700" dirty="0">
                <a:solidFill>
                  <a:schemeClr val="tx2"/>
                </a:solidFill>
              </a:rPr>
            </a:br>
            <a:r>
              <a:rPr lang="en-GB" sz="700" dirty="0">
                <a:solidFill>
                  <a:schemeClr val="tx2"/>
                </a:solidFill>
              </a:rPr>
              <a:t>security</a:t>
            </a:r>
          </a:p>
        </p:txBody>
      </p:sp>
      <p:sp>
        <p:nvSpPr>
          <p:cNvPr id="6" name="TextBox 5">
            <a:extLst>
              <a:ext uri="{FF2B5EF4-FFF2-40B4-BE49-F238E27FC236}">
                <a16:creationId xmlns:a16="http://schemas.microsoft.com/office/drawing/2014/main" id="{AAC80356-7553-4BC3-AA88-5F1F368DC466}"/>
              </a:ext>
            </a:extLst>
          </p:cNvPr>
          <p:cNvSpPr txBox="1"/>
          <p:nvPr/>
        </p:nvSpPr>
        <p:spPr>
          <a:xfrm>
            <a:off x="3588420"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Data</a:t>
            </a:r>
            <a:br>
              <a:rPr lang="en-GB" sz="700" dirty="0">
                <a:solidFill>
                  <a:schemeClr val="tx2"/>
                </a:solidFill>
              </a:rPr>
            </a:br>
            <a:r>
              <a:rPr lang="en-GB" sz="700" dirty="0">
                <a:solidFill>
                  <a:schemeClr val="tx2"/>
                </a:solidFill>
              </a:rPr>
              <a:t>encryption</a:t>
            </a:r>
          </a:p>
        </p:txBody>
      </p:sp>
      <p:sp>
        <p:nvSpPr>
          <p:cNvPr id="7" name="TextBox 6">
            <a:extLst>
              <a:ext uri="{FF2B5EF4-FFF2-40B4-BE49-F238E27FC236}">
                <a16:creationId xmlns:a16="http://schemas.microsoft.com/office/drawing/2014/main" id="{6854948D-E936-4BB4-8FC5-8D1B2FC5C123}"/>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obile</a:t>
            </a:r>
            <a:br>
              <a:rPr lang="en-GB" sz="700" dirty="0">
                <a:solidFill>
                  <a:schemeClr val="tx2"/>
                </a:solidFill>
              </a:rPr>
            </a:br>
            <a:r>
              <a:rPr lang="en-GB" sz="700" dirty="0">
                <a:solidFill>
                  <a:schemeClr val="tx2"/>
                </a:solidFill>
              </a:rPr>
              <a:t>security</a:t>
            </a:r>
          </a:p>
        </p:txBody>
      </p:sp>
      <p:sp>
        <p:nvSpPr>
          <p:cNvPr id="8" name="TextBox 7">
            <a:extLst>
              <a:ext uri="{FF2B5EF4-FFF2-40B4-BE49-F238E27FC236}">
                <a16:creationId xmlns:a16="http://schemas.microsoft.com/office/drawing/2014/main" id="{BF7418EE-9DE0-4C00-B05C-00759AB2F278}"/>
              </a:ext>
            </a:extLst>
          </p:cNvPr>
          <p:cNvSpPr txBox="1"/>
          <p:nvPr/>
        </p:nvSpPr>
        <p:spPr>
          <a:xfrm>
            <a:off x="1497553"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E-mail virus</a:t>
            </a:r>
            <a:br>
              <a:rPr lang="en-GB" sz="700" dirty="0">
                <a:solidFill>
                  <a:schemeClr val="tx2"/>
                </a:solidFill>
              </a:rPr>
            </a:br>
            <a:r>
              <a:rPr lang="en-GB" sz="700" dirty="0">
                <a:solidFill>
                  <a:schemeClr val="tx2"/>
                </a:solidFill>
              </a:rPr>
              <a:t>threat</a:t>
            </a:r>
          </a:p>
        </p:txBody>
      </p:sp>
      <p:sp>
        <p:nvSpPr>
          <p:cNvPr id="9" name="TextBox 8">
            <a:extLst>
              <a:ext uri="{FF2B5EF4-FFF2-40B4-BE49-F238E27FC236}">
                <a16:creationId xmlns:a16="http://schemas.microsoft.com/office/drawing/2014/main" id="{27814340-97D2-4CF5-9A5F-A3108B1962A4}"/>
              </a:ext>
            </a:extLst>
          </p:cNvPr>
          <p:cNvSpPr txBox="1"/>
          <p:nvPr/>
        </p:nvSpPr>
        <p:spPr>
          <a:xfrm>
            <a:off x="452119"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Fingerprint</a:t>
            </a:r>
            <a:br>
              <a:rPr lang="en-GB" sz="700" dirty="0">
                <a:solidFill>
                  <a:schemeClr val="tx2"/>
                </a:solidFill>
              </a:rPr>
            </a:br>
            <a:r>
              <a:rPr lang="en-GB" sz="700" dirty="0">
                <a:solidFill>
                  <a:schemeClr val="tx2"/>
                </a:solidFill>
              </a:rPr>
              <a:t>scanner</a:t>
            </a:r>
          </a:p>
        </p:txBody>
      </p:sp>
      <p:sp>
        <p:nvSpPr>
          <p:cNvPr id="10" name="TextBox 9">
            <a:extLst>
              <a:ext uri="{FF2B5EF4-FFF2-40B4-BE49-F238E27FC236}">
                <a16:creationId xmlns:a16="http://schemas.microsoft.com/office/drawing/2014/main" id="{E6ED09A8-02BB-42CA-A98F-E3283E50C41C}"/>
              </a:ext>
            </a:extLst>
          </p:cNvPr>
          <p:cNvSpPr txBox="1"/>
          <p:nvPr/>
        </p:nvSpPr>
        <p:spPr>
          <a:xfrm>
            <a:off x="3588420"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ccess to</a:t>
            </a:r>
            <a:br>
              <a:rPr lang="en-GB" sz="700" dirty="0">
                <a:solidFill>
                  <a:schemeClr val="tx2"/>
                </a:solidFill>
              </a:rPr>
            </a:br>
            <a:r>
              <a:rPr lang="en-GB" sz="700" dirty="0">
                <a:solidFill>
                  <a:schemeClr val="tx2"/>
                </a:solidFill>
              </a:rPr>
              <a:t>profile</a:t>
            </a:r>
          </a:p>
        </p:txBody>
      </p:sp>
      <p:sp>
        <p:nvSpPr>
          <p:cNvPr id="11" name="TextBox 10">
            <a:extLst>
              <a:ext uri="{FF2B5EF4-FFF2-40B4-BE49-F238E27FC236}">
                <a16:creationId xmlns:a16="http://schemas.microsoft.com/office/drawing/2014/main" id="{7500E89C-C9DB-4CE8-8494-FF1A8B51480F}"/>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mail security</a:t>
            </a:r>
          </a:p>
        </p:txBody>
      </p:sp>
      <p:sp>
        <p:nvSpPr>
          <p:cNvPr id="12" name="TextBox 11">
            <a:extLst>
              <a:ext uri="{FF2B5EF4-FFF2-40B4-BE49-F238E27FC236}">
                <a16:creationId xmlns:a16="http://schemas.microsoft.com/office/drawing/2014/main" id="{2CE7994A-A9C7-4BEB-8E2B-045E79C7F65D}"/>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ecure wallet</a:t>
            </a:r>
          </a:p>
        </p:txBody>
      </p:sp>
      <p:sp>
        <p:nvSpPr>
          <p:cNvPr id="13" name="TextBox 12">
            <a:extLst>
              <a:ext uri="{FF2B5EF4-FFF2-40B4-BE49-F238E27FC236}">
                <a16:creationId xmlns:a16="http://schemas.microsoft.com/office/drawing/2014/main" id="{043AA084-57D7-48B5-B547-CB8CF53579C6}"/>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ata</a:t>
            </a:r>
          </a:p>
        </p:txBody>
      </p:sp>
      <p:sp>
        <p:nvSpPr>
          <p:cNvPr id="14" name="TextBox 13">
            <a:extLst>
              <a:ext uri="{FF2B5EF4-FFF2-40B4-BE49-F238E27FC236}">
                <a16:creationId xmlns:a16="http://schemas.microsoft.com/office/drawing/2014/main" id="{17F8E1A7-CD37-4F6F-AB4C-9C20C38180EA}"/>
              </a:ext>
            </a:extLst>
          </p:cNvPr>
          <p:cNvSpPr txBox="1"/>
          <p:nvPr/>
        </p:nvSpPr>
        <p:spPr>
          <a:xfrm>
            <a:off x="3588420"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reative</a:t>
            </a:r>
            <a:br>
              <a:rPr lang="en-GB" sz="700" dirty="0">
                <a:solidFill>
                  <a:schemeClr val="tx2"/>
                </a:solidFill>
              </a:rPr>
            </a:br>
            <a:r>
              <a:rPr lang="en-GB" sz="700" dirty="0">
                <a:solidFill>
                  <a:schemeClr val="tx2"/>
                </a:solidFill>
              </a:rPr>
              <a:t>techniques</a:t>
            </a:r>
          </a:p>
        </p:txBody>
      </p:sp>
      <p:sp>
        <p:nvSpPr>
          <p:cNvPr id="15" name="TextBox 14">
            <a:extLst>
              <a:ext uri="{FF2B5EF4-FFF2-40B4-BE49-F238E27FC236}">
                <a16:creationId xmlns:a16="http://schemas.microsoft.com/office/drawing/2014/main" id="{0B543C66-A3D4-42ED-BD79-AEA306C04828}"/>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Hosting</a:t>
            </a:r>
          </a:p>
        </p:txBody>
      </p:sp>
      <p:sp>
        <p:nvSpPr>
          <p:cNvPr id="16" name="TextBox 15">
            <a:extLst>
              <a:ext uri="{FF2B5EF4-FFF2-40B4-BE49-F238E27FC236}">
                <a16:creationId xmlns:a16="http://schemas.microsoft.com/office/drawing/2014/main" id="{409038C8-C22F-406B-BF8F-89A3C1B5E2C6}"/>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teractivity</a:t>
            </a:r>
          </a:p>
        </p:txBody>
      </p:sp>
      <p:sp>
        <p:nvSpPr>
          <p:cNvPr id="17" name="TextBox 16">
            <a:extLst>
              <a:ext uri="{FF2B5EF4-FFF2-40B4-BE49-F238E27FC236}">
                <a16:creationId xmlns:a16="http://schemas.microsoft.com/office/drawing/2014/main" id="{B453420D-B8E5-45A5-87E2-5B77C585CDB4}"/>
              </a:ext>
            </a:extLst>
          </p:cNvPr>
          <p:cNvSpPr txBox="1"/>
          <p:nvPr/>
        </p:nvSpPr>
        <p:spPr>
          <a:xfrm>
            <a:off x="452119"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actice</a:t>
            </a:r>
            <a:br>
              <a:rPr lang="en-GB" sz="700" dirty="0">
                <a:solidFill>
                  <a:schemeClr val="tx2"/>
                </a:solidFill>
              </a:rPr>
            </a:br>
            <a:r>
              <a:rPr lang="en-GB" sz="700" dirty="0">
                <a:solidFill>
                  <a:schemeClr val="tx2"/>
                </a:solidFill>
              </a:rPr>
              <a:t>online marketing</a:t>
            </a:r>
          </a:p>
        </p:txBody>
      </p:sp>
      <p:sp>
        <p:nvSpPr>
          <p:cNvPr id="18" name="TextBox 17">
            <a:extLst>
              <a:ext uri="{FF2B5EF4-FFF2-40B4-BE49-F238E27FC236}">
                <a16:creationId xmlns:a16="http://schemas.microsoft.com/office/drawing/2014/main" id="{0D8590EB-01D5-46AE-99FC-7DEEFB257EC8}"/>
              </a:ext>
            </a:extLst>
          </p:cNvPr>
          <p:cNvSpPr txBox="1"/>
          <p:nvPr/>
        </p:nvSpPr>
        <p:spPr>
          <a:xfrm>
            <a:off x="3588420"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tructuring</a:t>
            </a:r>
            <a:br>
              <a:rPr lang="en-GB" sz="700" dirty="0">
                <a:solidFill>
                  <a:schemeClr val="tx2"/>
                </a:solidFill>
              </a:rPr>
            </a:br>
            <a:r>
              <a:rPr lang="en-GB" sz="700" dirty="0">
                <a:solidFill>
                  <a:schemeClr val="tx2"/>
                </a:solidFill>
              </a:rPr>
              <a:t>data</a:t>
            </a:r>
          </a:p>
        </p:txBody>
      </p:sp>
      <p:sp>
        <p:nvSpPr>
          <p:cNvPr id="19" name="TextBox 18">
            <a:extLst>
              <a:ext uri="{FF2B5EF4-FFF2-40B4-BE49-F238E27FC236}">
                <a16:creationId xmlns:a16="http://schemas.microsoft.com/office/drawing/2014/main" id="{E71A84D9-D81C-418A-9617-D616EDDBDF91}"/>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ig data</a:t>
            </a:r>
          </a:p>
        </p:txBody>
      </p:sp>
      <p:sp>
        <p:nvSpPr>
          <p:cNvPr id="20" name="TextBox 19">
            <a:extLst>
              <a:ext uri="{FF2B5EF4-FFF2-40B4-BE49-F238E27FC236}">
                <a16:creationId xmlns:a16="http://schemas.microsoft.com/office/drawing/2014/main" id="{7393821E-FBA4-419F-BC12-8F6F207309ED}"/>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ensor data</a:t>
            </a:r>
          </a:p>
        </p:txBody>
      </p:sp>
      <p:grpSp>
        <p:nvGrpSpPr>
          <p:cNvPr id="41" name="Group 40">
            <a:extLst>
              <a:ext uri="{FF2B5EF4-FFF2-40B4-BE49-F238E27FC236}">
                <a16:creationId xmlns:a16="http://schemas.microsoft.com/office/drawing/2014/main" id="{C5525EF2-B4E7-4050-AF99-0F44FB0D03AE}"/>
              </a:ext>
            </a:extLst>
          </p:cNvPr>
          <p:cNvGrpSpPr/>
          <p:nvPr/>
        </p:nvGrpSpPr>
        <p:grpSpPr>
          <a:xfrm>
            <a:off x="3674461" y="1585984"/>
            <a:ext cx="511781" cy="432000"/>
            <a:chOff x="3674461" y="1585984"/>
            <a:chExt cx="511781" cy="432000"/>
          </a:xfrm>
        </p:grpSpPr>
        <p:grpSp>
          <p:nvGrpSpPr>
            <p:cNvPr id="306" name="Gruppieren 833">
              <a:extLst>
                <a:ext uri="{FF2B5EF4-FFF2-40B4-BE49-F238E27FC236}">
                  <a16:creationId xmlns:a16="http://schemas.microsoft.com/office/drawing/2014/main" id="{74207DB7-3541-46DD-8275-EFB6278FB11E}"/>
                </a:ext>
              </a:extLst>
            </p:cNvPr>
            <p:cNvGrpSpPr/>
            <p:nvPr/>
          </p:nvGrpSpPr>
          <p:grpSpPr>
            <a:xfrm>
              <a:off x="3674461" y="1585984"/>
              <a:ext cx="511781" cy="432000"/>
              <a:chOff x="1691122" y="4129259"/>
              <a:chExt cx="503884" cy="425334"/>
            </a:xfrm>
          </p:grpSpPr>
          <p:sp>
            <p:nvSpPr>
              <p:cNvPr id="399" name="Freihandform: Form 428">
                <a:extLst>
                  <a:ext uri="{FF2B5EF4-FFF2-40B4-BE49-F238E27FC236}">
                    <a16:creationId xmlns:a16="http://schemas.microsoft.com/office/drawing/2014/main" id="{9189E3CF-0FE8-4677-BE26-AD76EDCE3D85}"/>
                  </a:ext>
                </a:extLst>
              </p:cNvPr>
              <p:cNvSpPr/>
              <p:nvPr/>
            </p:nvSpPr>
            <p:spPr>
              <a:xfrm>
                <a:off x="1691122" y="4129259"/>
                <a:ext cx="503884" cy="352925"/>
              </a:xfrm>
              <a:custGeom>
                <a:avLst/>
                <a:gdLst>
                  <a:gd name="connsiteX0" fmla="*/ 474941 w 503884"/>
                  <a:gd name="connsiteY0" fmla="*/ 352925 h 352925"/>
                  <a:gd name="connsiteX1" fmla="*/ 28935 w 503884"/>
                  <a:gd name="connsiteY1" fmla="*/ 352925 h 352925"/>
                  <a:gd name="connsiteX2" fmla="*/ 0 w 503884"/>
                  <a:gd name="connsiteY2" fmla="*/ 323982 h 352925"/>
                  <a:gd name="connsiteX3" fmla="*/ 0 w 503884"/>
                  <a:gd name="connsiteY3" fmla="*/ 28943 h 352925"/>
                  <a:gd name="connsiteX4" fmla="*/ 28935 w 503884"/>
                  <a:gd name="connsiteY4" fmla="*/ 0 h 352925"/>
                  <a:gd name="connsiteX5" fmla="*/ 474941 w 503884"/>
                  <a:gd name="connsiteY5" fmla="*/ 0 h 352925"/>
                  <a:gd name="connsiteX6" fmla="*/ 503884 w 503884"/>
                  <a:gd name="connsiteY6" fmla="*/ 28943 h 352925"/>
                  <a:gd name="connsiteX7" fmla="*/ 503884 w 503884"/>
                  <a:gd name="connsiteY7" fmla="*/ 323973 h 352925"/>
                  <a:gd name="connsiteX8" fmla="*/ 474941 w 503884"/>
                  <a:gd name="connsiteY8" fmla="*/ 352925 h 352925"/>
                  <a:gd name="connsiteX9" fmla="*/ 28935 w 503884"/>
                  <a:gd name="connsiteY9" fmla="*/ 11952 h 352925"/>
                  <a:gd name="connsiteX10" fmla="*/ 11944 w 503884"/>
                  <a:gd name="connsiteY10" fmla="*/ 28952 h 352925"/>
                  <a:gd name="connsiteX11" fmla="*/ 11944 w 503884"/>
                  <a:gd name="connsiteY11" fmla="*/ 323982 h 352925"/>
                  <a:gd name="connsiteX12" fmla="*/ 28935 w 503884"/>
                  <a:gd name="connsiteY12" fmla="*/ 340982 h 352925"/>
                  <a:gd name="connsiteX13" fmla="*/ 474941 w 503884"/>
                  <a:gd name="connsiteY13" fmla="*/ 340982 h 352925"/>
                  <a:gd name="connsiteX14" fmla="*/ 491932 w 503884"/>
                  <a:gd name="connsiteY14" fmla="*/ 323982 h 352925"/>
                  <a:gd name="connsiteX15" fmla="*/ 491932 w 503884"/>
                  <a:gd name="connsiteY15" fmla="*/ 28943 h 352925"/>
                  <a:gd name="connsiteX16" fmla="*/ 474941 w 503884"/>
                  <a:gd name="connsiteY16" fmla="*/ 11944 h 352925"/>
                  <a:gd name="connsiteX17" fmla="*/ 28935 w 503884"/>
                  <a:gd name="connsiteY17" fmla="*/ 11944 h 35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3884" h="352925">
                    <a:moveTo>
                      <a:pt x="474941" y="352925"/>
                    </a:moveTo>
                    <a:lnTo>
                      <a:pt x="28935" y="352925"/>
                    </a:lnTo>
                    <a:cubicBezTo>
                      <a:pt x="12975" y="352925"/>
                      <a:pt x="0" y="339941"/>
                      <a:pt x="0" y="323982"/>
                    </a:cubicBezTo>
                    <a:lnTo>
                      <a:pt x="0" y="28943"/>
                    </a:lnTo>
                    <a:cubicBezTo>
                      <a:pt x="0" y="12984"/>
                      <a:pt x="12975" y="0"/>
                      <a:pt x="28935" y="0"/>
                    </a:cubicBezTo>
                    <a:lnTo>
                      <a:pt x="474941" y="0"/>
                    </a:lnTo>
                    <a:cubicBezTo>
                      <a:pt x="490900" y="0"/>
                      <a:pt x="503884" y="12984"/>
                      <a:pt x="503884" y="28943"/>
                    </a:cubicBezTo>
                    <a:lnTo>
                      <a:pt x="503884" y="323973"/>
                    </a:lnTo>
                    <a:cubicBezTo>
                      <a:pt x="503875" y="339941"/>
                      <a:pt x="490900" y="352925"/>
                      <a:pt x="474941" y="352925"/>
                    </a:cubicBezTo>
                    <a:close/>
                    <a:moveTo>
                      <a:pt x="28935" y="11952"/>
                    </a:moveTo>
                    <a:cubicBezTo>
                      <a:pt x="19562" y="11952"/>
                      <a:pt x="11944" y="19579"/>
                      <a:pt x="11944" y="28952"/>
                    </a:cubicBezTo>
                    <a:lnTo>
                      <a:pt x="11944" y="323982"/>
                    </a:lnTo>
                    <a:cubicBezTo>
                      <a:pt x="11944" y="333354"/>
                      <a:pt x="19571" y="340982"/>
                      <a:pt x="28935" y="340982"/>
                    </a:cubicBezTo>
                    <a:lnTo>
                      <a:pt x="474941" y="340982"/>
                    </a:lnTo>
                    <a:cubicBezTo>
                      <a:pt x="484313" y="340982"/>
                      <a:pt x="491932" y="333354"/>
                      <a:pt x="491932" y="323982"/>
                    </a:cubicBezTo>
                    <a:lnTo>
                      <a:pt x="491932" y="28943"/>
                    </a:lnTo>
                    <a:cubicBezTo>
                      <a:pt x="491932" y="19571"/>
                      <a:pt x="484305" y="11944"/>
                      <a:pt x="474941" y="11944"/>
                    </a:cubicBezTo>
                    <a:lnTo>
                      <a:pt x="28935" y="11944"/>
                    </a:lnTo>
                    <a:close/>
                  </a:path>
                </a:pathLst>
              </a:custGeom>
              <a:solidFill>
                <a:schemeClr val="tx2"/>
              </a:solidFill>
              <a:ln w="858" cap="flat">
                <a:noFill/>
                <a:prstDash val="solid"/>
                <a:miter/>
              </a:ln>
            </p:spPr>
            <p:txBody>
              <a:bodyPr rtlCol="0" anchor="ctr"/>
              <a:lstStyle/>
              <a:p>
                <a:endParaRPr lang="en-GB" dirty="0"/>
              </a:p>
            </p:txBody>
          </p:sp>
          <p:sp>
            <p:nvSpPr>
              <p:cNvPr id="400" name="Freihandform: Form 429">
                <a:extLst>
                  <a:ext uri="{FF2B5EF4-FFF2-40B4-BE49-F238E27FC236}">
                    <a16:creationId xmlns:a16="http://schemas.microsoft.com/office/drawing/2014/main" id="{29BF7CB3-20AE-4AF5-820B-702CE6950716}"/>
                  </a:ext>
                </a:extLst>
              </p:cNvPr>
              <p:cNvSpPr/>
              <p:nvPr/>
            </p:nvSpPr>
            <p:spPr>
              <a:xfrm>
                <a:off x="1697090" y="4415518"/>
                <a:ext cx="491931" cy="11943"/>
              </a:xfrm>
              <a:custGeom>
                <a:avLst/>
                <a:gdLst>
                  <a:gd name="connsiteX0" fmla="*/ 0 w 491931"/>
                  <a:gd name="connsiteY0" fmla="*/ 0 h 11943"/>
                  <a:gd name="connsiteX1" fmla="*/ 491932 w 491931"/>
                  <a:gd name="connsiteY1" fmla="*/ 0 h 11943"/>
                  <a:gd name="connsiteX2" fmla="*/ 491932 w 491931"/>
                  <a:gd name="connsiteY2" fmla="*/ 11943 h 11943"/>
                  <a:gd name="connsiteX3" fmla="*/ 0 w 491931"/>
                  <a:gd name="connsiteY3" fmla="*/ 11943 h 11943"/>
                </a:gdLst>
                <a:ahLst/>
                <a:cxnLst>
                  <a:cxn ang="0">
                    <a:pos x="connsiteX0" y="connsiteY0"/>
                  </a:cxn>
                  <a:cxn ang="0">
                    <a:pos x="connsiteX1" y="connsiteY1"/>
                  </a:cxn>
                  <a:cxn ang="0">
                    <a:pos x="connsiteX2" y="connsiteY2"/>
                  </a:cxn>
                  <a:cxn ang="0">
                    <a:pos x="connsiteX3" y="connsiteY3"/>
                  </a:cxn>
                </a:cxnLst>
                <a:rect l="l" t="t" r="r" b="b"/>
                <a:pathLst>
                  <a:path w="491931" h="11943">
                    <a:moveTo>
                      <a:pt x="0" y="0"/>
                    </a:moveTo>
                    <a:lnTo>
                      <a:pt x="491932" y="0"/>
                    </a:lnTo>
                    <a:lnTo>
                      <a:pt x="491932" y="11943"/>
                    </a:lnTo>
                    <a:lnTo>
                      <a:pt x="0" y="11943"/>
                    </a:lnTo>
                    <a:close/>
                  </a:path>
                </a:pathLst>
              </a:custGeom>
              <a:solidFill>
                <a:schemeClr val="tx2"/>
              </a:solidFill>
              <a:ln w="858" cap="flat">
                <a:noFill/>
                <a:prstDash val="solid"/>
                <a:miter/>
              </a:ln>
            </p:spPr>
            <p:txBody>
              <a:bodyPr rtlCol="0" anchor="ctr"/>
              <a:lstStyle/>
              <a:p>
                <a:endParaRPr lang="en-GB" dirty="0"/>
              </a:p>
            </p:txBody>
          </p:sp>
          <p:sp>
            <p:nvSpPr>
              <p:cNvPr id="401" name="Freihandform: Form 430">
                <a:extLst>
                  <a:ext uri="{FF2B5EF4-FFF2-40B4-BE49-F238E27FC236}">
                    <a16:creationId xmlns:a16="http://schemas.microsoft.com/office/drawing/2014/main" id="{3D7C8272-E352-4BCE-B22E-E0C326E6BA15}"/>
                  </a:ext>
                </a:extLst>
              </p:cNvPr>
              <p:cNvSpPr/>
              <p:nvPr/>
            </p:nvSpPr>
            <p:spPr>
              <a:xfrm>
                <a:off x="1857241" y="4470232"/>
                <a:ext cx="170211" cy="84361"/>
              </a:xfrm>
              <a:custGeom>
                <a:avLst/>
                <a:gdLst>
                  <a:gd name="connsiteX0" fmla="*/ 170211 w 170211"/>
                  <a:gd name="connsiteY0" fmla="*/ 84362 h 84361"/>
                  <a:gd name="connsiteX1" fmla="*/ 0 w 170211"/>
                  <a:gd name="connsiteY1" fmla="*/ 84362 h 84361"/>
                  <a:gd name="connsiteX2" fmla="*/ 41033 w 170211"/>
                  <a:gd name="connsiteY2" fmla="*/ 0 h 84361"/>
                  <a:gd name="connsiteX3" fmla="*/ 129161 w 170211"/>
                  <a:gd name="connsiteY3" fmla="*/ 0 h 84361"/>
                  <a:gd name="connsiteX4" fmla="*/ 170211 w 170211"/>
                  <a:gd name="connsiteY4" fmla="*/ 84362 h 84361"/>
                  <a:gd name="connsiteX5" fmla="*/ 19098 w 170211"/>
                  <a:gd name="connsiteY5" fmla="*/ 72418 h 84361"/>
                  <a:gd name="connsiteX6" fmla="*/ 151114 w 170211"/>
                  <a:gd name="connsiteY6" fmla="*/ 72418 h 84361"/>
                  <a:gd name="connsiteX7" fmla="*/ 121689 w 170211"/>
                  <a:gd name="connsiteY7" fmla="*/ 11952 h 84361"/>
                  <a:gd name="connsiteX8" fmla="*/ 48514 w 170211"/>
                  <a:gd name="connsiteY8" fmla="*/ 11952 h 84361"/>
                  <a:gd name="connsiteX9" fmla="*/ 19098 w 170211"/>
                  <a:gd name="connsiteY9" fmla="*/ 72418 h 84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211" h="84361">
                    <a:moveTo>
                      <a:pt x="170211" y="84362"/>
                    </a:moveTo>
                    <a:lnTo>
                      <a:pt x="0" y="84362"/>
                    </a:lnTo>
                    <a:lnTo>
                      <a:pt x="41033" y="0"/>
                    </a:lnTo>
                    <a:lnTo>
                      <a:pt x="129161" y="0"/>
                    </a:lnTo>
                    <a:lnTo>
                      <a:pt x="170211" y="84362"/>
                    </a:lnTo>
                    <a:close/>
                    <a:moveTo>
                      <a:pt x="19098" y="72418"/>
                    </a:moveTo>
                    <a:lnTo>
                      <a:pt x="151114" y="72418"/>
                    </a:lnTo>
                    <a:lnTo>
                      <a:pt x="121689" y="11952"/>
                    </a:lnTo>
                    <a:lnTo>
                      <a:pt x="48514" y="11952"/>
                    </a:lnTo>
                    <a:lnTo>
                      <a:pt x="19098" y="72418"/>
                    </a:lnTo>
                    <a:close/>
                  </a:path>
                </a:pathLst>
              </a:custGeom>
              <a:solidFill>
                <a:schemeClr val="tx2"/>
              </a:solidFill>
              <a:ln w="858" cap="flat">
                <a:noFill/>
                <a:prstDash val="solid"/>
                <a:miter/>
              </a:ln>
            </p:spPr>
            <p:txBody>
              <a:bodyPr rtlCol="0" anchor="ctr"/>
              <a:lstStyle/>
              <a:p>
                <a:endParaRPr lang="en-GB" dirty="0"/>
              </a:p>
            </p:txBody>
          </p:sp>
          <p:sp>
            <p:nvSpPr>
              <p:cNvPr id="402" name="Freihandform: Form 431">
                <a:extLst>
                  <a:ext uri="{FF2B5EF4-FFF2-40B4-BE49-F238E27FC236}">
                    <a16:creationId xmlns:a16="http://schemas.microsoft.com/office/drawing/2014/main" id="{0ACC48E0-6171-445E-8C37-B249A5FB1EE4}"/>
                  </a:ext>
                </a:extLst>
              </p:cNvPr>
              <p:cNvSpPr/>
              <p:nvPr/>
            </p:nvSpPr>
            <p:spPr>
              <a:xfrm>
                <a:off x="1834360" y="4542650"/>
                <a:ext cx="217401" cy="11943"/>
              </a:xfrm>
              <a:custGeom>
                <a:avLst/>
                <a:gdLst>
                  <a:gd name="connsiteX0" fmla="*/ 0 w 217401"/>
                  <a:gd name="connsiteY0" fmla="*/ 0 h 11943"/>
                  <a:gd name="connsiteX1" fmla="*/ 217401 w 217401"/>
                  <a:gd name="connsiteY1" fmla="*/ 0 h 11943"/>
                  <a:gd name="connsiteX2" fmla="*/ 217401 w 217401"/>
                  <a:gd name="connsiteY2" fmla="*/ 11944 h 11943"/>
                  <a:gd name="connsiteX3" fmla="*/ 0 w 217401"/>
                  <a:gd name="connsiteY3" fmla="*/ 11944 h 11943"/>
                </a:gdLst>
                <a:ahLst/>
                <a:cxnLst>
                  <a:cxn ang="0">
                    <a:pos x="connsiteX0" y="connsiteY0"/>
                  </a:cxn>
                  <a:cxn ang="0">
                    <a:pos x="connsiteX1" y="connsiteY1"/>
                  </a:cxn>
                  <a:cxn ang="0">
                    <a:pos x="connsiteX2" y="connsiteY2"/>
                  </a:cxn>
                  <a:cxn ang="0">
                    <a:pos x="connsiteX3" y="connsiteY3"/>
                  </a:cxn>
                </a:cxnLst>
                <a:rect l="l" t="t" r="r" b="b"/>
                <a:pathLst>
                  <a:path w="217401" h="11943">
                    <a:moveTo>
                      <a:pt x="0" y="0"/>
                    </a:moveTo>
                    <a:lnTo>
                      <a:pt x="217401" y="0"/>
                    </a:lnTo>
                    <a:lnTo>
                      <a:pt x="217401" y="11944"/>
                    </a:lnTo>
                    <a:lnTo>
                      <a:pt x="0" y="11944"/>
                    </a:lnTo>
                    <a:close/>
                  </a:path>
                </a:pathLst>
              </a:custGeom>
              <a:solidFill>
                <a:schemeClr val="tx2"/>
              </a:solidFill>
              <a:ln w="858" cap="flat">
                <a:noFill/>
                <a:prstDash val="solid"/>
                <a:miter/>
              </a:ln>
            </p:spPr>
            <p:txBody>
              <a:bodyPr rtlCol="0" anchor="ctr"/>
              <a:lstStyle/>
              <a:p>
                <a:endParaRPr lang="en-GB" dirty="0"/>
              </a:p>
            </p:txBody>
          </p:sp>
          <p:sp>
            <p:nvSpPr>
              <p:cNvPr id="403" name="Freihandform: Form 432">
                <a:extLst>
                  <a:ext uri="{FF2B5EF4-FFF2-40B4-BE49-F238E27FC236}">
                    <a16:creationId xmlns:a16="http://schemas.microsoft.com/office/drawing/2014/main" id="{6932745A-5E61-4C7E-9763-5BD7E8E92829}"/>
                  </a:ext>
                </a:extLst>
              </p:cNvPr>
              <p:cNvSpPr/>
              <p:nvPr/>
            </p:nvSpPr>
            <p:spPr>
              <a:xfrm>
                <a:off x="1718208" y="4156353"/>
                <a:ext cx="449703" cy="244039"/>
              </a:xfrm>
              <a:custGeom>
                <a:avLst/>
                <a:gdLst>
                  <a:gd name="connsiteX0" fmla="*/ 439402 w 449703"/>
                  <a:gd name="connsiteY0" fmla="*/ 244040 h 244039"/>
                  <a:gd name="connsiteX1" fmla="*/ 10301 w 449703"/>
                  <a:gd name="connsiteY1" fmla="*/ 244040 h 244039"/>
                  <a:gd name="connsiteX2" fmla="*/ 0 w 449703"/>
                  <a:gd name="connsiteY2" fmla="*/ 233738 h 244039"/>
                  <a:gd name="connsiteX3" fmla="*/ 0 w 449703"/>
                  <a:gd name="connsiteY3" fmla="*/ 10301 h 244039"/>
                  <a:gd name="connsiteX4" fmla="*/ 10301 w 449703"/>
                  <a:gd name="connsiteY4" fmla="*/ 0 h 244039"/>
                  <a:gd name="connsiteX5" fmla="*/ 439402 w 449703"/>
                  <a:gd name="connsiteY5" fmla="*/ 0 h 244039"/>
                  <a:gd name="connsiteX6" fmla="*/ 449704 w 449703"/>
                  <a:gd name="connsiteY6" fmla="*/ 10301 h 244039"/>
                  <a:gd name="connsiteX7" fmla="*/ 449704 w 449703"/>
                  <a:gd name="connsiteY7" fmla="*/ 233738 h 244039"/>
                  <a:gd name="connsiteX8" fmla="*/ 439402 w 449703"/>
                  <a:gd name="connsiteY8" fmla="*/ 244040 h 244039"/>
                  <a:gd name="connsiteX9" fmla="*/ 11944 w 449703"/>
                  <a:gd name="connsiteY9" fmla="*/ 232088 h 244039"/>
                  <a:gd name="connsiteX10" fmla="*/ 437751 w 449703"/>
                  <a:gd name="connsiteY10" fmla="*/ 232088 h 244039"/>
                  <a:gd name="connsiteX11" fmla="*/ 437751 w 449703"/>
                  <a:gd name="connsiteY11" fmla="*/ 11944 h 244039"/>
                  <a:gd name="connsiteX12" fmla="*/ 11944 w 449703"/>
                  <a:gd name="connsiteY12" fmla="*/ 11944 h 244039"/>
                  <a:gd name="connsiteX13" fmla="*/ 11944 w 449703"/>
                  <a:gd name="connsiteY13" fmla="*/ 232088 h 24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9703" h="244039">
                    <a:moveTo>
                      <a:pt x="439402" y="244040"/>
                    </a:moveTo>
                    <a:lnTo>
                      <a:pt x="10301" y="244040"/>
                    </a:lnTo>
                    <a:cubicBezTo>
                      <a:pt x="4617" y="244040"/>
                      <a:pt x="0" y="239422"/>
                      <a:pt x="0" y="233738"/>
                    </a:cubicBezTo>
                    <a:lnTo>
                      <a:pt x="0" y="10301"/>
                    </a:lnTo>
                    <a:cubicBezTo>
                      <a:pt x="0" y="4617"/>
                      <a:pt x="4617" y="0"/>
                      <a:pt x="10301" y="0"/>
                    </a:cubicBezTo>
                    <a:lnTo>
                      <a:pt x="439402" y="0"/>
                    </a:lnTo>
                    <a:cubicBezTo>
                      <a:pt x="445086" y="0"/>
                      <a:pt x="449704" y="4617"/>
                      <a:pt x="449704" y="10301"/>
                    </a:cubicBezTo>
                    <a:lnTo>
                      <a:pt x="449704" y="233738"/>
                    </a:lnTo>
                    <a:cubicBezTo>
                      <a:pt x="449704" y="239414"/>
                      <a:pt x="445078" y="244040"/>
                      <a:pt x="439402" y="244040"/>
                    </a:cubicBezTo>
                    <a:close/>
                    <a:moveTo>
                      <a:pt x="11944" y="232088"/>
                    </a:moveTo>
                    <a:lnTo>
                      <a:pt x="437751" y="232088"/>
                    </a:lnTo>
                    <a:lnTo>
                      <a:pt x="437751" y="11944"/>
                    </a:lnTo>
                    <a:lnTo>
                      <a:pt x="11944" y="11944"/>
                    </a:lnTo>
                    <a:lnTo>
                      <a:pt x="11944" y="232088"/>
                    </a:lnTo>
                    <a:close/>
                  </a:path>
                </a:pathLst>
              </a:custGeom>
              <a:solidFill>
                <a:schemeClr val="tx2"/>
              </a:solidFill>
              <a:ln w="858" cap="flat">
                <a:noFill/>
                <a:prstDash val="solid"/>
                <a:miter/>
              </a:ln>
            </p:spPr>
            <p:txBody>
              <a:bodyPr rtlCol="0" anchor="ctr"/>
              <a:lstStyle/>
              <a:p>
                <a:endParaRPr lang="en-GB" dirty="0"/>
              </a:p>
            </p:txBody>
          </p:sp>
        </p:grpSp>
        <p:grpSp>
          <p:nvGrpSpPr>
            <p:cNvPr id="307" name="Grafik 7">
              <a:extLst>
                <a:ext uri="{FF2B5EF4-FFF2-40B4-BE49-F238E27FC236}">
                  <a16:creationId xmlns:a16="http://schemas.microsoft.com/office/drawing/2014/main" id="{1E40084B-8C84-4C2D-8737-45693C429C92}"/>
                </a:ext>
              </a:extLst>
            </p:cNvPr>
            <p:cNvGrpSpPr/>
            <p:nvPr/>
          </p:nvGrpSpPr>
          <p:grpSpPr>
            <a:xfrm>
              <a:off x="3763970" y="1669729"/>
              <a:ext cx="332754" cy="135394"/>
              <a:chOff x="1779250" y="4211712"/>
              <a:chExt cx="327619" cy="133305"/>
            </a:xfrm>
            <a:solidFill>
              <a:schemeClr val="accent1"/>
            </a:solidFill>
          </p:grpSpPr>
          <p:grpSp>
            <p:nvGrpSpPr>
              <p:cNvPr id="308" name="Grafik 7">
                <a:extLst>
                  <a:ext uri="{FF2B5EF4-FFF2-40B4-BE49-F238E27FC236}">
                    <a16:creationId xmlns:a16="http://schemas.microsoft.com/office/drawing/2014/main" id="{51449076-5D7B-4AD1-8B8F-E7185FDCBA0E}"/>
                  </a:ext>
                </a:extLst>
              </p:cNvPr>
              <p:cNvGrpSpPr/>
              <p:nvPr/>
            </p:nvGrpSpPr>
            <p:grpSpPr>
              <a:xfrm>
                <a:off x="1779250" y="4211712"/>
                <a:ext cx="327619" cy="11943"/>
                <a:chOff x="1779250" y="4211712"/>
                <a:chExt cx="327619" cy="11943"/>
              </a:xfrm>
              <a:solidFill>
                <a:schemeClr val="accent1"/>
              </a:solidFill>
            </p:grpSpPr>
            <p:sp>
              <p:nvSpPr>
                <p:cNvPr id="383" name="Freihandform: Form 435">
                  <a:extLst>
                    <a:ext uri="{FF2B5EF4-FFF2-40B4-BE49-F238E27FC236}">
                      <a16:creationId xmlns:a16="http://schemas.microsoft.com/office/drawing/2014/main" id="{EA0F9DCA-AF36-47E9-9B45-BB0778CD9E07}"/>
                    </a:ext>
                  </a:extLst>
                </p:cNvPr>
                <p:cNvSpPr/>
                <p:nvPr/>
              </p:nvSpPr>
              <p:spPr>
                <a:xfrm>
                  <a:off x="1779250"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84" name="Freihandform: Form 436">
                  <a:extLst>
                    <a:ext uri="{FF2B5EF4-FFF2-40B4-BE49-F238E27FC236}">
                      <a16:creationId xmlns:a16="http://schemas.microsoft.com/office/drawing/2014/main" id="{99C3594C-626A-4591-9EFB-E70ECEBC56D4}"/>
                    </a:ext>
                  </a:extLst>
                </p:cNvPr>
                <p:cNvSpPr/>
                <p:nvPr/>
              </p:nvSpPr>
              <p:spPr>
                <a:xfrm>
                  <a:off x="1793498"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85" name="Freihandform: Form 437">
                  <a:extLst>
                    <a:ext uri="{FF2B5EF4-FFF2-40B4-BE49-F238E27FC236}">
                      <a16:creationId xmlns:a16="http://schemas.microsoft.com/office/drawing/2014/main" id="{0C747391-79DC-44D0-BB6C-E19ADD626C34}"/>
                    </a:ext>
                  </a:extLst>
                </p:cNvPr>
                <p:cNvSpPr/>
                <p:nvPr/>
              </p:nvSpPr>
              <p:spPr>
                <a:xfrm>
                  <a:off x="1821986"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86" name="Freihandform: Form 438">
                  <a:extLst>
                    <a:ext uri="{FF2B5EF4-FFF2-40B4-BE49-F238E27FC236}">
                      <a16:creationId xmlns:a16="http://schemas.microsoft.com/office/drawing/2014/main" id="{2B69B873-7004-491F-AFB1-C9692A00CB96}"/>
                    </a:ext>
                  </a:extLst>
                </p:cNvPr>
                <p:cNvSpPr/>
                <p:nvPr/>
              </p:nvSpPr>
              <p:spPr>
                <a:xfrm>
                  <a:off x="1836234" y="4211712"/>
                  <a:ext cx="14239" cy="11943"/>
                </a:xfrm>
                <a:custGeom>
                  <a:avLst/>
                  <a:gdLst>
                    <a:gd name="connsiteX0" fmla="*/ 0 w 14239"/>
                    <a:gd name="connsiteY0" fmla="*/ 0 h 11943"/>
                    <a:gd name="connsiteX1" fmla="*/ 14239 w 14239"/>
                    <a:gd name="connsiteY1" fmla="*/ 0 h 11943"/>
                    <a:gd name="connsiteX2" fmla="*/ 14239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87" name="Freihandform: Form 439">
                  <a:extLst>
                    <a:ext uri="{FF2B5EF4-FFF2-40B4-BE49-F238E27FC236}">
                      <a16:creationId xmlns:a16="http://schemas.microsoft.com/office/drawing/2014/main" id="{369A685B-AFE3-45E0-94CC-F4E77C5E15EE}"/>
                    </a:ext>
                  </a:extLst>
                </p:cNvPr>
                <p:cNvSpPr/>
                <p:nvPr/>
              </p:nvSpPr>
              <p:spPr>
                <a:xfrm>
                  <a:off x="1850473"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88" name="Freihandform: Form 440">
                  <a:extLst>
                    <a:ext uri="{FF2B5EF4-FFF2-40B4-BE49-F238E27FC236}">
                      <a16:creationId xmlns:a16="http://schemas.microsoft.com/office/drawing/2014/main" id="{B0AF1745-6685-493F-AB37-03296698F927}"/>
                    </a:ext>
                  </a:extLst>
                </p:cNvPr>
                <p:cNvSpPr/>
                <p:nvPr/>
              </p:nvSpPr>
              <p:spPr>
                <a:xfrm>
                  <a:off x="1864713"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89" name="Freihandform: Form 441">
                  <a:extLst>
                    <a:ext uri="{FF2B5EF4-FFF2-40B4-BE49-F238E27FC236}">
                      <a16:creationId xmlns:a16="http://schemas.microsoft.com/office/drawing/2014/main" id="{E2361A6C-8E77-4E3B-B4B7-16E41DE16C8C}"/>
                    </a:ext>
                  </a:extLst>
                </p:cNvPr>
                <p:cNvSpPr/>
                <p:nvPr/>
              </p:nvSpPr>
              <p:spPr>
                <a:xfrm>
                  <a:off x="1878961"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90" name="Freihandform: Form 442">
                  <a:extLst>
                    <a:ext uri="{FF2B5EF4-FFF2-40B4-BE49-F238E27FC236}">
                      <a16:creationId xmlns:a16="http://schemas.microsoft.com/office/drawing/2014/main" id="{E85E8E44-034B-4969-BB76-F51B95813611}"/>
                    </a:ext>
                  </a:extLst>
                </p:cNvPr>
                <p:cNvSpPr/>
                <p:nvPr/>
              </p:nvSpPr>
              <p:spPr>
                <a:xfrm>
                  <a:off x="1907448"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91" name="Freihandform: Form 443">
                  <a:extLst>
                    <a:ext uri="{FF2B5EF4-FFF2-40B4-BE49-F238E27FC236}">
                      <a16:creationId xmlns:a16="http://schemas.microsoft.com/office/drawing/2014/main" id="{669523BF-B7C8-4480-B3B4-9345337680CC}"/>
                    </a:ext>
                  </a:extLst>
                </p:cNvPr>
                <p:cNvSpPr/>
                <p:nvPr/>
              </p:nvSpPr>
              <p:spPr>
                <a:xfrm>
                  <a:off x="1935936"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92" name="Freihandform: Form 444">
                  <a:extLst>
                    <a:ext uri="{FF2B5EF4-FFF2-40B4-BE49-F238E27FC236}">
                      <a16:creationId xmlns:a16="http://schemas.microsoft.com/office/drawing/2014/main" id="{1537F7D6-C413-46E3-8EB5-805CCF964A0E}"/>
                    </a:ext>
                  </a:extLst>
                </p:cNvPr>
                <p:cNvSpPr/>
                <p:nvPr/>
              </p:nvSpPr>
              <p:spPr>
                <a:xfrm>
                  <a:off x="1950175"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93" name="Freihandform: Form 445">
                  <a:extLst>
                    <a:ext uri="{FF2B5EF4-FFF2-40B4-BE49-F238E27FC236}">
                      <a16:creationId xmlns:a16="http://schemas.microsoft.com/office/drawing/2014/main" id="{E3BA2926-7583-4256-8BD5-2C60FE9F8D60}"/>
                    </a:ext>
                  </a:extLst>
                </p:cNvPr>
                <p:cNvSpPr/>
                <p:nvPr/>
              </p:nvSpPr>
              <p:spPr>
                <a:xfrm>
                  <a:off x="1978672"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94" name="Freihandform: Form 446">
                  <a:extLst>
                    <a:ext uri="{FF2B5EF4-FFF2-40B4-BE49-F238E27FC236}">
                      <a16:creationId xmlns:a16="http://schemas.microsoft.com/office/drawing/2014/main" id="{5C9DF06E-25AF-4641-B788-AEC5CB25AF14}"/>
                    </a:ext>
                  </a:extLst>
                </p:cNvPr>
                <p:cNvSpPr/>
                <p:nvPr/>
              </p:nvSpPr>
              <p:spPr>
                <a:xfrm>
                  <a:off x="1992911" y="4211712"/>
                  <a:ext cx="14239" cy="11943"/>
                </a:xfrm>
                <a:custGeom>
                  <a:avLst/>
                  <a:gdLst>
                    <a:gd name="connsiteX0" fmla="*/ 0 w 14239"/>
                    <a:gd name="connsiteY0" fmla="*/ 0 h 11943"/>
                    <a:gd name="connsiteX1" fmla="*/ 14240 w 14239"/>
                    <a:gd name="connsiteY1" fmla="*/ 0 h 11943"/>
                    <a:gd name="connsiteX2" fmla="*/ 14240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95" name="Freihandform: Form 447">
                  <a:extLst>
                    <a:ext uri="{FF2B5EF4-FFF2-40B4-BE49-F238E27FC236}">
                      <a16:creationId xmlns:a16="http://schemas.microsoft.com/office/drawing/2014/main" id="{1C980B69-948B-452A-81B9-213C3C3DD840}"/>
                    </a:ext>
                  </a:extLst>
                </p:cNvPr>
                <p:cNvSpPr/>
                <p:nvPr/>
              </p:nvSpPr>
              <p:spPr>
                <a:xfrm>
                  <a:off x="2021399" y="4211712"/>
                  <a:ext cx="14239" cy="11943"/>
                </a:xfrm>
                <a:custGeom>
                  <a:avLst/>
                  <a:gdLst>
                    <a:gd name="connsiteX0" fmla="*/ 0 w 14239"/>
                    <a:gd name="connsiteY0" fmla="*/ 0 h 11943"/>
                    <a:gd name="connsiteX1" fmla="*/ 14240 w 14239"/>
                    <a:gd name="connsiteY1" fmla="*/ 0 h 11943"/>
                    <a:gd name="connsiteX2" fmla="*/ 14240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96" name="Freihandform: Form 448">
                  <a:extLst>
                    <a:ext uri="{FF2B5EF4-FFF2-40B4-BE49-F238E27FC236}">
                      <a16:creationId xmlns:a16="http://schemas.microsoft.com/office/drawing/2014/main" id="{CEDA38BC-18A2-468F-8F35-A6737FE06811}"/>
                    </a:ext>
                  </a:extLst>
                </p:cNvPr>
                <p:cNvSpPr/>
                <p:nvPr/>
              </p:nvSpPr>
              <p:spPr>
                <a:xfrm>
                  <a:off x="2049886"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97" name="Freihandform: Form 449">
                  <a:extLst>
                    <a:ext uri="{FF2B5EF4-FFF2-40B4-BE49-F238E27FC236}">
                      <a16:creationId xmlns:a16="http://schemas.microsoft.com/office/drawing/2014/main" id="{C5FB34F8-CB41-44C7-AAE6-91FF5F84656D}"/>
                    </a:ext>
                  </a:extLst>
                </p:cNvPr>
                <p:cNvSpPr/>
                <p:nvPr/>
              </p:nvSpPr>
              <p:spPr>
                <a:xfrm>
                  <a:off x="2078374" y="4211712"/>
                  <a:ext cx="14239" cy="11943"/>
                </a:xfrm>
                <a:custGeom>
                  <a:avLst/>
                  <a:gdLst>
                    <a:gd name="connsiteX0" fmla="*/ 0 w 14239"/>
                    <a:gd name="connsiteY0" fmla="*/ 0 h 11943"/>
                    <a:gd name="connsiteX1" fmla="*/ 14240 w 14239"/>
                    <a:gd name="connsiteY1" fmla="*/ 0 h 11943"/>
                    <a:gd name="connsiteX2" fmla="*/ 14240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98" name="Freihandform: Form 450">
                  <a:extLst>
                    <a:ext uri="{FF2B5EF4-FFF2-40B4-BE49-F238E27FC236}">
                      <a16:creationId xmlns:a16="http://schemas.microsoft.com/office/drawing/2014/main" id="{5D57BD69-A48F-4479-84A2-EF6B7BABDA25}"/>
                    </a:ext>
                  </a:extLst>
                </p:cNvPr>
                <p:cNvSpPr/>
                <p:nvPr/>
              </p:nvSpPr>
              <p:spPr>
                <a:xfrm>
                  <a:off x="2092622" y="4211712"/>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grpSp>
          <p:grpSp>
            <p:nvGrpSpPr>
              <p:cNvPr id="309" name="Grafik 7">
                <a:extLst>
                  <a:ext uri="{FF2B5EF4-FFF2-40B4-BE49-F238E27FC236}">
                    <a16:creationId xmlns:a16="http://schemas.microsoft.com/office/drawing/2014/main" id="{2109EBB3-9D94-4E9B-AA5F-7EFA6AE158B1}"/>
                  </a:ext>
                </a:extLst>
              </p:cNvPr>
              <p:cNvGrpSpPr/>
              <p:nvPr/>
            </p:nvGrpSpPr>
            <p:grpSpPr>
              <a:xfrm>
                <a:off x="1779250" y="4235986"/>
                <a:ext cx="327619" cy="11943"/>
                <a:chOff x="1779250" y="4235986"/>
                <a:chExt cx="327619" cy="11943"/>
              </a:xfrm>
              <a:solidFill>
                <a:schemeClr val="accent1"/>
              </a:solidFill>
            </p:grpSpPr>
            <p:sp>
              <p:nvSpPr>
                <p:cNvPr id="369" name="Freihandform: Form 452">
                  <a:extLst>
                    <a:ext uri="{FF2B5EF4-FFF2-40B4-BE49-F238E27FC236}">
                      <a16:creationId xmlns:a16="http://schemas.microsoft.com/office/drawing/2014/main" id="{ABEC7EB1-4A4F-403F-BDB0-78C52C148545}"/>
                    </a:ext>
                  </a:extLst>
                </p:cNvPr>
                <p:cNvSpPr/>
                <p:nvPr/>
              </p:nvSpPr>
              <p:spPr>
                <a:xfrm>
                  <a:off x="1779250" y="4235986"/>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70" name="Freihandform: Form 453">
                  <a:extLst>
                    <a:ext uri="{FF2B5EF4-FFF2-40B4-BE49-F238E27FC236}">
                      <a16:creationId xmlns:a16="http://schemas.microsoft.com/office/drawing/2014/main" id="{DDBB6194-6B8C-4EC0-8AFC-A604A348C553}"/>
                    </a:ext>
                  </a:extLst>
                </p:cNvPr>
                <p:cNvSpPr/>
                <p:nvPr/>
              </p:nvSpPr>
              <p:spPr>
                <a:xfrm>
                  <a:off x="1807747" y="4235986"/>
                  <a:ext cx="14239" cy="11943"/>
                </a:xfrm>
                <a:custGeom>
                  <a:avLst/>
                  <a:gdLst>
                    <a:gd name="connsiteX0" fmla="*/ 0 w 14239"/>
                    <a:gd name="connsiteY0" fmla="*/ 0 h 11943"/>
                    <a:gd name="connsiteX1" fmla="*/ 14239 w 14239"/>
                    <a:gd name="connsiteY1" fmla="*/ 0 h 11943"/>
                    <a:gd name="connsiteX2" fmla="*/ 14239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71" name="Freihandform: Form 454">
                  <a:extLst>
                    <a:ext uri="{FF2B5EF4-FFF2-40B4-BE49-F238E27FC236}">
                      <a16:creationId xmlns:a16="http://schemas.microsoft.com/office/drawing/2014/main" id="{70A3222A-F8A4-41CC-928D-3727A95823C1}"/>
                    </a:ext>
                  </a:extLst>
                </p:cNvPr>
                <p:cNvSpPr/>
                <p:nvPr/>
              </p:nvSpPr>
              <p:spPr>
                <a:xfrm>
                  <a:off x="1836234" y="4235986"/>
                  <a:ext cx="14239" cy="11943"/>
                </a:xfrm>
                <a:custGeom>
                  <a:avLst/>
                  <a:gdLst>
                    <a:gd name="connsiteX0" fmla="*/ 0 w 14239"/>
                    <a:gd name="connsiteY0" fmla="*/ 0 h 11943"/>
                    <a:gd name="connsiteX1" fmla="*/ 14239 w 14239"/>
                    <a:gd name="connsiteY1" fmla="*/ 0 h 11943"/>
                    <a:gd name="connsiteX2" fmla="*/ 14239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72" name="Freihandform: Form 455">
                  <a:extLst>
                    <a:ext uri="{FF2B5EF4-FFF2-40B4-BE49-F238E27FC236}">
                      <a16:creationId xmlns:a16="http://schemas.microsoft.com/office/drawing/2014/main" id="{42907290-E479-4B75-BD8F-FC47C3C7539D}"/>
                    </a:ext>
                  </a:extLst>
                </p:cNvPr>
                <p:cNvSpPr/>
                <p:nvPr/>
              </p:nvSpPr>
              <p:spPr>
                <a:xfrm>
                  <a:off x="1864713" y="4235986"/>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73" name="Freihandform: Form 456">
                  <a:extLst>
                    <a:ext uri="{FF2B5EF4-FFF2-40B4-BE49-F238E27FC236}">
                      <a16:creationId xmlns:a16="http://schemas.microsoft.com/office/drawing/2014/main" id="{CC1FED12-889B-4BB0-9B4C-9F0D169172F3}"/>
                    </a:ext>
                  </a:extLst>
                </p:cNvPr>
                <p:cNvSpPr/>
                <p:nvPr/>
              </p:nvSpPr>
              <p:spPr>
                <a:xfrm>
                  <a:off x="1893209" y="4235986"/>
                  <a:ext cx="14239" cy="11943"/>
                </a:xfrm>
                <a:custGeom>
                  <a:avLst/>
                  <a:gdLst>
                    <a:gd name="connsiteX0" fmla="*/ 0 w 14239"/>
                    <a:gd name="connsiteY0" fmla="*/ 0 h 11943"/>
                    <a:gd name="connsiteX1" fmla="*/ 14239 w 14239"/>
                    <a:gd name="connsiteY1" fmla="*/ 0 h 11943"/>
                    <a:gd name="connsiteX2" fmla="*/ 14239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74" name="Freihandform: Form 457">
                  <a:extLst>
                    <a:ext uri="{FF2B5EF4-FFF2-40B4-BE49-F238E27FC236}">
                      <a16:creationId xmlns:a16="http://schemas.microsoft.com/office/drawing/2014/main" id="{1AE03714-9F30-416D-B9BF-C54DA8976B34}"/>
                    </a:ext>
                  </a:extLst>
                </p:cNvPr>
                <p:cNvSpPr/>
                <p:nvPr/>
              </p:nvSpPr>
              <p:spPr>
                <a:xfrm>
                  <a:off x="1907448" y="4235986"/>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75" name="Freihandform: Form 458">
                  <a:extLst>
                    <a:ext uri="{FF2B5EF4-FFF2-40B4-BE49-F238E27FC236}">
                      <a16:creationId xmlns:a16="http://schemas.microsoft.com/office/drawing/2014/main" id="{4C700048-2E15-42A0-B1CD-7ADE5BD7F4A6}"/>
                    </a:ext>
                  </a:extLst>
                </p:cNvPr>
                <p:cNvSpPr/>
                <p:nvPr/>
              </p:nvSpPr>
              <p:spPr>
                <a:xfrm>
                  <a:off x="1921697" y="4235986"/>
                  <a:ext cx="14239" cy="11943"/>
                </a:xfrm>
                <a:custGeom>
                  <a:avLst/>
                  <a:gdLst>
                    <a:gd name="connsiteX0" fmla="*/ 0 w 14239"/>
                    <a:gd name="connsiteY0" fmla="*/ 0 h 11943"/>
                    <a:gd name="connsiteX1" fmla="*/ 14239 w 14239"/>
                    <a:gd name="connsiteY1" fmla="*/ 0 h 11943"/>
                    <a:gd name="connsiteX2" fmla="*/ 14239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76" name="Freihandform: Form 459">
                  <a:extLst>
                    <a:ext uri="{FF2B5EF4-FFF2-40B4-BE49-F238E27FC236}">
                      <a16:creationId xmlns:a16="http://schemas.microsoft.com/office/drawing/2014/main" id="{1923B91E-5486-4557-9D6D-11C8A20ED258}"/>
                    </a:ext>
                  </a:extLst>
                </p:cNvPr>
                <p:cNvSpPr/>
                <p:nvPr/>
              </p:nvSpPr>
              <p:spPr>
                <a:xfrm>
                  <a:off x="1950175" y="4235986"/>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77" name="Freihandform: Form 460">
                  <a:extLst>
                    <a:ext uri="{FF2B5EF4-FFF2-40B4-BE49-F238E27FC236}">
                      <a16:creationId xmlns:a16="http://schemas.microsoft.com/office/drawing/2014/main" id="{7891177C-D694-4419-B07C-65BAFFC6F557}"/>
                    </a:ext>
                  </a:extLst>
                </p:cNvPr>
                <p:cNvSpPr/>
                <p:nvPr/>
              </p:nvSpPr>
              <p:spPr>
                <a:xfrm>
                  <a:off x="1964423" y="4235986"/>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78" name="Freihandform: Form 461">
                  <a:extLst>
                    <a:ext uri="{FF2B5EF4-FFF2-40B4-BE49-F238E27FC236}">
                      <a16:creationId xmlns:a16="http://schemas.microsoft.com/office/drawing/2014/main" id="{96FE1D96-3761-4E18-85E7-C154C27DE141}"/>
                    </a:ext>
                  </a:extLst>
                </p:cNvPr>
                <p:cNvSpPr/>
                <p:nvPr/>
              </p:nvSpPr>
              <p:spPr>
                <a:xfrm>
                  <a:off x="1992911" y="4235986"/>
                  <a:ext cx="14239" cy="11943"/>
                </a:xfrm>
                <a:custGeom>
                  <a:avLst/>
                  <a:gdLst>
                    <a:gd name="connsiteX0" fmla="*/ 0 w 14239"/>
                    <a:gd name="connsiteY0" fmla="*/ 0 h 11943"/>
                    <a:gd name="connsiteX1" fmla="*/ 14240 w 14239"/>
                    <a:gd name="connsiteY1" fmla="*/ 0 h 11943"/>
                    <a:gd name="connsiteX2" fmla="*/ 14240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79" name="Freihandform: Form 462">
                  <a:extLst>
                    <a:ext uri="{FF2B5EF4-FFF2-40B4-BE49-F238E27FC236}">
                      <a16:creationId xmlns:a16="http://schemas.microsoft.com/office/drawing/2014/main" id="{6A3102DE-2A43-40DD-98CA-56E9662E247E}"/>
                    </a:ext>
                  </a:extLst>
                </p:cNvPr>
                <p:cNvSpPr/>
                <p:nvPr/>
              </p:nvSpPr>
              <p:spPr>
                <a:xfrm>
                  <a:off x="2021399" y="4235986"/>
                  <a:ext cx="14239" cy="11943"/>
                </a:xfrm>
                <a:custGeom>
                  <a:avLst/>
                  <a:gdLst>
                    <a:gd name="connsiteX0" fmla="*/ 0 w 14239"/>
                    <a:gd name="connsiteY0" fmla="*/ 0 h 11943"/>
                    <a:gd name="connsiteX1" fmla="*/ 14240 w 14239"/>
                    <a:gd name="connsiteY1" fmla="*/ 0 h 11943"/>
                    <a:gd name="connsiteX2" fmla="*/ 14240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80" name="Freihandform: Form 463">
                  <a:extLst>
                    <a:ext uri="{FF2B5EF4-FFF2-40B4-BE49-F238E27FC236}">
                      <a16:creationId xmlns:a16="http://schemas.microsoft.com/office/drawing/2014/main" id="{76315415-8DA1-45D0-B1FA-AFCA9156F110}"/>
                    </a:ext>
                  </a:extLst>
                </p:cNvPr>
                <p:cNvSpPr/>
                <p:nvPr/>
              </p:nvSpPr>
              <p:spPr>
                <a:xfrm>
                  <a:off x="2049886" y="4235986"/>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81" name="Freihandform: Form 464">
                  <a:extLst>
                    <a:ext uri="{FF2B5EF4-FFF2-40B4-BE49-F238E27FC236}">
                      <a16:creationId xmlns:a16="http://schemas.microsoft.com/office/drawing/2014/main" id="{65A48C6D-64D1-4AD1-9C2D-F474E230541E}"/>
                    </a:ext>
                  </a:extLst>
                </p:cNvPr>
                <p:cNvSpPr/>
                <p:nvPr/>
              </p:nvSpPr>
              <p:spPr>
                <a:xfrm>
                  <a:off x="2064134" y="4235986"/>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82" name="Freihandform: Form 465">
                  <a:extLst>
                    <a:ext uri="{FF2B5EF4-FFF2-40B4-BE49-F238E27FC236}">
                      <a16:creationId xmlns:a16="http://schemas.microsoft.com/office/drawing/2014/main" id="{90964646-6228-4C29-AC02-2BED5448782A}"/>
                    </a:ext>
                  </a:extLst>
                </p:cNvPr>
                <p:cNvSpPr/>
                <p:nvPr/>
              </p:nvSpPr>
              <p:spPr>
                <a:xfrm>
                  <a:off x="2092622" y="4235986"/>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grpSp>
          <p:grpSp>
            <p:nvGrpSpPr>
              <p:cNvPr id="310" name="Grafik 7">
                <a:extLst>
                  <a:ext uri="{FF2B5EF4-FFF2-40B4-BE49-F238E27FC236}">
                    <a16:creationId xmlns:a16="http://schemas.microsoft.com/office/drawing/2014/main" id="{5027ECC2-7A13-4719-86A3-1B1FA5B63671}"/>
                  </a:ext>
                </a:extLst>
              </p:cNvPr>
              <p:cNvGrpSpPr/>
              <p:nvPr/>
            </p:nvGrpSpPr>
            <p:grpSpPr>
              <a:xfrm>
                <a:off x="1779250" y="4260268"/>
                <a:ext cx="327619" cy="11943"/>
                <a:chOff x="1779250" y="4260268"/>
                <a:chExt cx="327619" cy="11943"/>
              </a:xfrm>
              <a:solidFill>
                <a:schemeClr val="accent1"/>
              </a:solidFill>
            </p:grpSpPr>
            <p:sp>
              <p:nvSpPr>
                <p:cNvPr id="357" name="Freihandform: Form 467">
                  <a:extLst>
                    <a:ext uri="{FF2B5EF4-FFF2-40B4-BE49-F238E27FC236}">
                      <a16:creationId xmlns:a16="http://schemas.microsoft.com/office/drawing/2014/main" id="{66007BA8-9A90-47C6-8B85-0F9886B03339}"/>
                    </a:ext>
                  </a:extLst>
                </p:cNvPr>
                <p:cNvSpPr/>
                <p:nvPr/>
              </p:nvSpPr>
              <p:spPr>
                <a:xfrm>
                  <a:off x="2092622" y="4260268"/>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58" name="Freihandform: Form 468">
                  <a:extLst>
                    <a:ext uri="{FF2B5EF4-FFF2-40B4-BE49-F238E27FC236}">
                      <a16:creationId xmlns:a16="http://schemas.microsoft.com/office/drawing/2014/main" id="{AAF75A3B-5817-4955-81F6-210ECC3CA9EC}"/>
                    </a:ext>
                  </a:extLst>
                </p:cNvPr>
                <p:cNvSpPr/>
                <p:nvPr/>
              </p:nvSpPr>
              <p:spPr>
                <a:xfrm>
                  <a:off x="2064134" y="4260268"/>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59" name="Freihandform: Form 469">
                  <a:extLst>
                    <a:ext uri="{FF2B5EF4-FFF2-40B4-BE49-F238E27FC236}">
                      <a16:creationId xmlns:a16="http://schemas.microsoft.com/office/drawing/2014/main" id="{45E91B44-34B0-4C8C-B224-605572532F90}"/>
                    </a:ext>
                  </a:extLst>
                </p:cNvPr>
                <p:cNvSpPr/>
                <p:nvPr/>
              </p:nvSpPr>
              <p:spPr>
                <a:xfrm>
                  <a:off x="2035638" y="4260268"/>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60" name="Freihandform: Form 470">
                  <a:extLst>
                    <a:ext uri="{FF2B5EF4-FFF2-40B4-BE49-F238E27FC236}">
                      <a16:creationId xmlns:a16="http://schemas.microsoft.com/office/drawing/2014/main" id="{4ACA9526-9A5B-4240-8CA5-392DFC8BB48D}"/>
                    </a:ext>
                  </a:extLst>
                </p:cNvPr>
                <p:cNvSpPr/>
                <p:nvPr/>
              </p:nvSpPr>
              <p:spPr>
                <a:xfrm>
                  <a:off x="2007159" y="4260268"/>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61" name="Freihandform: Form 471">
                  <a:extLst>
                    <a:ext uri="{FF2B5EF4-FFF2-40B4-BE49-F238E27FC236}">
                      <a16:creationId xmlns:a16="http://schemas.microsoft.com/office/drawing/2014/main" id="{2E730EE5-042B-400A-836F-3B470F82BA7C}"/>
                    </a:ext>
                  </a:extLst>
                </p:cNvPr>
                <p:cNvSpPr/>
                <p:nvPr/>
              </p:nvSpPr>
              <p:spPr>
                <a:xfrm>
                  <a:off x="1978672" y="4260268"/>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62" name="Freihandform: Form 472">
                  <a:extLst>
                    <a:ext uri="{FF2B5EF4-FFF2-40B4-BE49-F238E27FC236}">
                      <a16:creationId xmlns:a16="http://schemas.microsoft.com/office/drawing/2014/main" id="{281CC5B3-803B-4E53-9013-CA1E5321411F}"/>
                    </a:ext>
                  </a:extLst>
                </p:cNvPr>
                <p:cNvSpPr/>
                <p:nvPr/>
              </p:nvSpPr>
              <p:spPr>
                <a:xfrm>
                  <a:off x="1950175" y="4260268"/>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63" name="Freihandform: Form 473">
                  <a:extLst>
                    <a:ext uri="{FF2B5EF4-FFF2-40B4-BE49-F238E27FC236}">
                      <a16:creationId xmlns:a16="http://schemas.microsoft.com/office/drawing/2014/main" id="{B04320E8-723F-4438-930D-E7E3C98C2577}"/>
                    </a:ext>
                  </a:extLst>
                </p:cNvPr>
                <p:cNvSpPr/>
                <p:nvPr/>
              </p:nvSpPr>
              <p:spPr>
                <a:xfrm>
                  <a:off x="1921697" y="4260268"/>
                  <a:ext cx="14239" cy="11943"/>
                </a:xfrm>
                <a:custGeom>
                  <a:avLst/>
                  <a:gdLst>
                    <a:gd name="connsiteX0" fmla="*/ 0 w 14239"/>
                    <a:gd name="connsiteY0" fmla="*/ 0 h 11943"/>
                    <a:gd name="connsiteX1" fmla="*/ 14239 w 14239"/>
                    <a:gd name="connsiteY1" fmla="*/ 0 h 11943"/>
                    <a:gd name="connsiteX2" fmla="*/ 14239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64" name="Freihandform: Form 474">
                  <a:extLst>
                    <a:ext uri="{FF2B5EF4-FFF2-40B4-BE49-F238E27FC236}">
                      <a16:creationId xmlns:a16="http://schemas.microsoft.com/office/drawing/2014/main" id="{25088BB4-A589-4FF7-AC8D-48440FF856C6}"/>
                    </a:ext>
                  </a:extLst>
                </p:cNvPr>
                <p:cNvSpPr/>
                <p:nvPr/>
              </p:nvSpPr>
              <p:spPr>
                <a:xfrm>
                  <a:off x="1907448" y="4260268"/>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65" name="Freihandform: Form 475">
                  <a:extLst>
                    <a:ext uri="{FF2B5EF4-FFF2-40B4-BE49-F238E27FC236}">
                      <a16:creationId xmlns:a16="http://schemas.microsoft.com/office/drawing/2014/main" id="{67A2B86B-25E9-45E8-A37F-EFCC4935AEE3}"/>
                    </a:ext>
                  </a:extLst>
                </p:cNvPr>
                <p:cNvSpPr/>
                <p:nvPr/>
              </p:nvSpPr>
              <p:spPr>
                <a:xfrm>
                  <a:off x="1878961" y="4260268"/>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66" name="Freihandform: Form 476">
                  <a:extLst>
                    <a:ext uri="{FF2B5EF4-FFF2-40B4-BE49-F238E27FC236}">
                      <a16:creationId xmlns:a16="http://schemas.microsoft.com/office/drawing/2014/main" id="{74433598-6490-48EC-A712-53DD619EBE42}"/>
                    </a:ext>
                  </a:extLst>
                </p:cNvPr>
                <p:cNvSpPr/>
                <p:nvPr/>
              </p:nvSpPr>
              <p:spPr>
                <a:xfrm>
                  <a:off x="1850473" y="4260268"/>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67" name="Freihandform: Form 477">
                  <a:extLst>
                    <a:ext uri="{FF2B5EF4-FFF2-40B4-BE49-F238E27FC236}">
                      <a16:creationId xmlns:a16="http://schemas.microsoft.com/office/drawing/2014/main" id="{F46DCFEE-B082-4ABF-A6C2-A2AF5721565A}"/>
                    </a:ext>
                  </a:extLst>
                </p:cNvPr>
                <p:cNvSpPr/>
                <p:nvPr/>
              </p:nvSpPr>
              <p:spPr>
                <a:xfrm>
                  <a:off x="1807747" y="4260268"/>
                  <a:ext cx="14239" cy="11943"/>
                </a:xfrm>
                <a:custGeom>
                  <a:avLst/>
                  <a:gdLst>
                    <a:gd name="connsiteX0" fmla="*/ 0 w 14239"/>
                    <a:gd name="connsiteY0" fmla="*/ 0 h 11943"/>
                    <a:gd name="connsiteX1" fmla="*/ 14239 w 14239"/>
                    <a:gd name="connsiteY1" fmla="*/ 0 h 11943"/>
                    <a:gd name="connsiteX2" fmla="*/ 14239 w 14239"/>
                    <a:gd name="connsiteY2" fmla="*/ 11943 h 11943"/>
                    <a:gd name="connsiteX3" fmla="*/ 0 w 14239"/>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3"/>
                      </a:lnTo>
                      <a:lnTo>
                        <a:pt x="0" y="11943"/>
                      </a:lnTo>
                      <a:close/>
                    </a:path>
                  </a:pathLst>
                </a:custGeom>
                <a:solidFill>
                  <a:schemeClr val="accent1"/>
                </a:solidFill>
                <a:ln w="858" cap="flat">
                  <a:noFill/>
                  <a:prstDash val="solid"/>
                  <a:miter/>
                </a:ln>
              </p:spPr>
              <p:txBody>
                <a:bodyPr rtlCol="0" anchor="ctr"/>
                <a:lstStyle/>
                <a:p>
                  <a:endParaRPr lang="en-GB" dirty="0"/>
                </a:p>
              </p:txBody>
            </p:sp>
            <p:sp>
              <p:nvSpPr>
                <p:cNvPr id="368" name="Freihandform: Form 478">
                  <a:extLst>
                    <a:ext uri="{FF2B5EF4-FFF2-40B4-BE49-F238E27FC236}">
                      <a16:creationId xmlns:a16="http://schemas.microsoft.com/office/drawing/2014/main" id="{5E4A8CB5-8B6E-4E90-BCA7-49ECA5658FAF}"/>
                    </a:ext>
                  </a:extLst>
                </p:cNvPr>
                <p:cNvSpPr/>
                <p:nvPr/>
              </p:nvSpPr>
              <p:spPr>
                <a:xfrm>
                  <a:off x="1779250" y="4260268"/>
                  <a:ext cx="14248" cy="11943"/>
                </a:xfrm>
                <a:custGeom>
                  <a:avLst/>
                  <a:gdLst>
                    <a:gd name="connsiteX0" fmla="*/ 0 w 14248"/>
                    <a:gd name="connsiteY0" fmla="*/ 0 h 11943"/>
                    <a:gd name="connsiteX1" fmla="*/ 14248 w 14248"/>
                    <a:gd name="connsiteY1" fmla="*/ 0 h 11943"/>
                    <a:gd name="connsiteX2" fmla="*/ 14248 w 14248"/>
                    <a:gd name="connsiteY2" fmla="*/ 11943 h 11943"/>
                    <a:gd name="connsiteX3" fmla="*/ 0 w 14248"/>
                    <a:gd name="connsiteY3" fmla="*/ 11943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3"/>
                      </a:lnTo>
                      <a:lnTo>
                        <a:pt x="0" y="11943"/>
                      </a:lnTo>
                      <a:close/>
                    </a:path>
                  </a:pathLst>
                </a:custGeom>
                <a:solidFill>
                  <a:schemeClr val="accent1"/>
                </a:solidFill>
                <a:ln w="858" cap="flat">
                  <a:noFill/>
                  <a:prstDash val="solid"/>
                  <a:miter/>
                </a:ln>
              </p:spPr>
              <p:txBody>
                <a:bodyPr rtlCol="0" anchor="ctr"/>
                <a:lstStyle/>
                <a:p>
                  <a:endParaRPr lang="en-GB" dirty="0"/>
                </a:p>
              </p:txBody>
            </p:sp>
          </p:grpSp>
          <p:grpSp>
            <p:nvGrpSpPr>
              <p:cNvPr id="311" name="Grafik 7">
                <a:extLst>
                  <a:ext uri="{FF2B5EF4-FFF2-40B4-BE49-F238E27FC236}">
                    <a16:creationId xmlns:a16="http://schemas.microsoft.com/office/drawing/2014/main" id="{6D99BAC7-2F9D-4642-BE27-DA7856E3457F}"/>
                  </a:ext>
                </a:extLst>
              </p:cNvPr>
              <p:cNvGrpSpPr/>
              <p:nvPr/>
            </p:nvGrpSpPr>
            <p:grpSpPr>
              <a:xfrm>
                <a:off x="1779250" y="4284534"/>
                <a:ext cx="327619" cy="11943"/>
                <a:chOff x="1779250" y="4284534"/>
                <a:chExt cx="327619" cy="11943"/>
              </a:xfrm>
              <a:solidFill>
                <a:schemeClr val="accent1"/>
              </a:solidFill>
            </p:grpSpPr>
            <p:sp>
              <p:nvSpPr>
                <p:cNvPr id="343" name="Freihandform: Form 480">
                  <a:extLst>
                    <a:ext uri="{FF2B5EF4-FFF2-40B4-BE49-F238E27FC236}">
                      <a16:creationId xmlns:a16="http://schemas.microsoft.com/office/drawing/2014/main" id="{A9EDAFF3-1208-479E-A0AE-B29257020695}"/>
                    </a:ext>
                  </a:extLst>
                </p:cNvPr>
                <p:cNvSpPr/>
                <p:nvPr/>
              </p:nvSpPr>
              <p:spPr>
                <a:xfrm>
                  <a:off x="1779250" y="428453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44" name="Freihandform: Form 481">
                  <a:extLst>
                    <a:ext uri="{FF2B5EF4-FFF2-40B4-BE49-F238E27FC236}">
                      <a16:creationId xmlns:a16="http://schemas.microsoft.com/office/drawing/2014/main" id="{02AC1BFC-7C06-4195-AE2E-DA2A11F04BEC}"/>
                    </a:ext>
                  </a:extLst>
                </p:cNvPr>
                <p:cNvSpPr/>
                <p:nvPr/>
              </p:nvSpPr>
              <p:spPr>
                <a:xfrm>
                  <a:off x="1807747" y="4284534"/>
                  <a:ext cx="14239" cy="11943"/>
                </a:xfrm>
                <a:custGeom>
                  <a:avLst/>
                  <a:gdLst>
                    <a:gd name="connsiteX0" fmla="*/ 0 w 14239"/>
                    <a:gd name="connsiteY0" fmla="*/ 0 h 11943"/>
                    <a:gd name="connsiteX1" fmla="*/ 14239 w 14239"/>
                    <a:gd name="connsiteY1" fmla="*/ 0 h 11943"/>
                    <a:gd name="connsiteX2" fmla="*/ 14239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45" name="Freihandform: Form 482">
                  <a:extLst>
                    <a:ext uri="{FF2B5EF4-FFF2-40B4-BE49-F238E27FC236}">
                      <a16:creationId xmlns:a16="http://schemas.microsoft.com/office/drawing/2014/main" id="{22AA1AEA-7B07-4B51-B69E-AE63E3C434E7}"/>
                    </a:ext>
                  </a:extLst>
                </p:cNvPr>
                <p:cNvSpPr/>
                <p:nvPr/>
              </p:nvSpPr>
              <p:spPr>
                <a:xfrm>
                  <a:off x="1821986" y="428453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46" name="Freihandform: Form 483">
                  <a:extLst>
                    <a:ext uri="{FF2B5EF4-FFF2-40B4-BE49-F238E27FC236}">
                      <a16:creationId xmlns:a16="http://schemas.microsoft.com/office/drawing/2014/main" id="{59A29966-1E06-4473-A688-37F03C6DEB58}"/>
                    </a:ext>
                  </a:extLst>
                </p:cNvPr>
                <p:cNvSpPr/>
                <p:nvPr/>
              </p:nvSpPr>
              <p:spPr>
                <a:xfrm>
                  <a:off x="1850473" y="428453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47" name="Freihandform: Form 484">
                  <a:extLst>
                    <a:ext uri="{FF2B5EF4-FFF2-40B4-BE49-F238E27FC236}">
                      <a16:creationId xmlns:a16="http://schemas.microsoft.com/office/drawing/2014/main" id="{FA975AEA-97F0-4DF2-B668-2C69BE85446F}"/>
                    </a:ext>
                  </a:extLst>
                </p:cNvPr>
                <p:cNvSpPr/>
                <p:nvPr/>
              </p:nvSpPr>
              <p:spPr>
                <a:xfrm>
                  <a:off x="1864713" y="428453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48" name="Freihandform: Form 485">
                  <a:extLst>
                    <a:ext uri="{FF2B5EF4-FFF2-40B4-BE49-F238E27FC236}">
                      <a16:creationId xmlns:a16="http://schemas.microsoft.com/office/drawing/2014/main" id="{46BD4F9F-5928-4E4D-A01D-294670D9894E}"/>
                    </a:ext>
                  </a:extLst>
                </p:cNvPr>
                <p:cNvSpPr/>
                <p:nvPr/>
              </p:nvSpPr>
              <p:spPr>
                <a:xfrm>
                  <a:off x="1921697" y="4284534"/>
                  <a:ext cx="14239" cy="11943"/>
                </a:xfrm>
                <a:custGeom>
                  <a:avLst/>
                  <a:gdLst>
                    <a:gd name="connsiteX0" fmla="*/ 0 w 14239"/>
                    <a:gd name="connsiteY0" fmla="*/ 0 h 11943"/>
                    <a:gd name="connsiteX1" fmla="*/ 14239 w 14239"/>
                    <a:gd name="connsiteY1" fmla="*/ 0 h 11943"/>
                    <a:gd name="connsiteX2" fmla="*/ 14239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49" name="Freihandform: Form 486">
                  <a:extLst>
                    <a:ext uri="{FF2B5EF4-FFF2-40B4-BE49-F238E27FC236}">
                      <a16:creationId xmlns:a16="http://schemas.microsoft.com/office/drawing/2014/main" id="{9C907860-3828-4585-81FA-4835A0C4004C}"/>
                    </a:ext>
                  </a:extLst>
                </p:cNvPr>
                <p:cNvSpPr/>
                <p:nvPr/>
              </p:nvSpPr>
              <p:spPr>
                <a:xfrm>
                  <a:off x="1935936" y="428453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50" name="Freihandform: Form 487">
                  <a:extLst>
                    <a:ext uri="{FF2B5EF4-FFF2-40B4-BE49-F238E27FC236}">
                      <a16:creationId xmlns:a16="http://schemas.microsoft.com/office/drawing/2014/main" id="{E5227786-E802-4116-96C4-28FA2C81CDDF}"/>
                    </a:ext>
                  </a:extLst>
                </p:cNvPr>
                <p:cNvSpPr/>
                <p:nvPr/>
              </p:nvSpPr>
              <p:spPr>
                <a:xfrm>
                  <a:off x="1964423" y="428453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51" name="Freihandform: Form 488">
                  <a:extLst>
                    <a:ext uri="{FF2B5EF4-FFF2-40B4-BE49-F238E27FC236}">
                      <a16:creationId xmlns:a16="http://schemas.microsoft.com/office/drawing/2014/main" id="{84B4EE2B-0EDD-4055-B89D-34ADCAD555BB}"/>
                    </a:ext>
                  </a:extLst>
                </p:cNvPr>
                <p:cNvSpPr/>
                <p:nvPr/>
              </p:nvSpPr>
              <p:spPr>
                <a:xfrm>
                  <a:off x="1992911" y="4284534"/>
                  <a:ext cx="14239" cy="11943"/>
                </a:xfrm>
                <a:custGeom>
                  <a:avLst/>
                  <a:gdLst>
                    <a:gd name="connsiteX0" fmla="*/ 0 w 14239"/>
                    <a:gd name="connsiteY0" fmla="*/ 0 h 11943"/>
                    <a:gd name="connsiteX1" fmla="*/ 14240 w 14239"/>
                    <a:gd name="connsiteY1" fmla="*/ 0 h 11943"/>
                    <a:gd name="connsiteX2" fmla="*/ 14240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52" name="Freihandform: Form 489">
                  <a:extLst>
                    <a:ext uri="{FF2B5EF4-FFF2-40B4-BE49-F238E27FC236}">
                      <a16:creationId xmlns:a16="http://schemas.microsoft.com/office/drawing/2014/main" id="{23FD8031-1571-4B19-AF91-B75F6562D7F5}"/>
                    </a:ext>
                  </a:extLst>
                </p:cNvPr>
                <p:cNvSpPr/>
                <p:nvPr/>
              </p:nvSpPr>
              <p:spPr>
                <a:xfrm>
                  <a:off x="2021399" y="4284534"/>
                  <a:ext cx="14239" cy="11943"/>
                </a:xfrm>
                <a:custGeom>
                  <a:avLst/>
                  <a:gdLst>
                    <a:gd name="connsiteX0" fmla="*/ 0 w 14239"/>
                    <a:gd name="connsiteY0" fmla="*/ 0 h 11943"/>
                    <a:gd name="connsiteX1" fmla="*/ 14240 w 14239"/>
                    <a:gd name="connsiteY1" fmla="*/ 0 h 11943"/>
                    <a:gd name="connsiteX2" fmla="*/ 14240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53" name="Freihandform: Form 490">
                  <a:extLst>
                    <a:ext uri="{FF2B5EF4-FFF2-40B4-BE49-F238E27FC236}">
                      <a16:creationId xmlns:a16="http://schemas.microsoft.com/office/drawing/2014/main" id="{E399B7DB-93EF-424F-AAAF-3CF47685BF17}"/>
                    </a:ext>
                  </a:extLst>
                </p:cNvPr>
                <p:cNvSpPr/>
                <p:nvPr/>
              </p:nvSpPr>
              <p:spPr>
                <a:xfrm>
                  <a:off x="2049886" y="428453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54" name="Freihandform: Form 491">
                  <a:extLst>
                    <a:ext uri="{FF2B5EF4-FFF2-40B4-BE49-F238E27FC236}">
                      <a16:creationId xmlns:a16="http://schemas.microsoft.com/office/drawing/2014/main" id="{C456C6C0-954D-41BE-87F4-91CC2C6E2E26}"/>
                    </a:ext>
                  </a:extLst>
                </p:cNvPr>
                <p:cNvSpPr/>
                <p:nvPr/>
              </p:nvSpPr>
              <p:spPr>
                <a:xfrm>
                  <a:off x="2064134" y="428453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55" name="Freihandform: Form 492">
                  <a:extLst>
                    <a:ext uri="{FF2B5EF4-FFF2-40B4-BE49-F238E27FC236}">
                      <a16:creationId xmlns:a16="http://schemas.microsoft.com/office/drawing/2014/main" id="{138D56E0-CA14-4208-846E-187DF529420F}"/>
                    </a:ext>
                  </a:extLst>
                </p:cNvPr>
                <p:cNvSpPr/>
                <p:nvPr/>
              </p:nvSpPr>
              <p:spPr>
                <a:xfrm>
                  <a:off x="2078374" y="4284534"/>
                  <a:ext cx="14239" cy="11943"/>
                </a:xfrm>
                <a:custGeom>
                  <a:avLst/>
                  <a:gdLst>
                    <a:gd name="connsiteX0" fmla="*/ 0 w 14239"/>
                    <a:gd name="connsiteY0" fmla="*/ 0 h 11943"/>
                    <a:gd name="connsiteX1" fmla="*/ 14240 w 14239"/>
                    <a:gd name="connsiteY1" fmla="*/ 0 h 11943"/>
                    <a:gd name="connsiteX2" fmla="*/ 14240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56" name="Freihandform: Form 493">
                  <a:extLst>
                    <a:ext uri="{FF2B5EF4-FFF2-40B4-BE49-F238E27FC236}">
                      <a16:creationId xmlns:a16="http://schemas.microsoft.com/office/drawing/2014/main" id="{10696DA4-B409-4CCD-8F64-15FFFFEEEE54}"/>
                    </a:ext>
                  </a:extLst>
                </p:cNvPr>
                <p:cNvSpPr/>
                <p:nvPr/>
              </p:nvSpPr>
              <p:spPr>
                <a:xfrm>
                  <a:off x="2092622" y="428453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grpSp>
          <p:grpSp>
            <p:nvGrpSpPr>
              <p:cNvPr id="312" name="Grafik 7">
                <a:extLst>
                  <a:ext uri="{FF2B5EF4-FFF2-40B4-BE49-F238E27FC236}">
                    <a16:creationId xmlns:a16="http://schemas.microsoft.com/office/drawing/2014/main" id="{A7891C0A-FBA7-486D-B018-05BEB121EB14}"/>
                  </a:ext>
                </a:extLst>
              </p:cNvPr>
              <p:cNvGrpSpPr/>
              <p:nvPr/>
            </p:nvGrpSpPr>
            <p:grpSpPr>
              <a:xfrm>
                <a:off x="1779250" y="4308808"/>
                <a:ext cx="327619" cy="11943"/>
                <a:chOff x="1779250" y="4308808"/>
                <a:chExt cx="327619" cy="11943"/>
              </a:xfrm>
              <a:solidFill>
                <a:schemeClr val="accent1"/>
              </a:solidFill>
            </p:grpSpPr>
            <p:sp>
              <p:nvSpPr>
                <p:cNvPr id="327" name="Freihandform: Form 495">
                  <a:extLst>
                    <a:ext uri="{FF2B5EF4-FFF2-40B4-BE49-F238E27FC236}">
                      <a16:creationId xmlns:a16="http://schemas.microsoft.com/office/drawing/2014/main" id="{47C9B802-1686-4241-8687-1D0E8CD56B69}"/>
                    </a:ext>
                  </a:extLst>
                </p:cNvPr>
                <p:cNvSpPr/>
                <p:nvPr/>
              </p:nvSpPr>
              <p:spPr>
                <a:xfrm>
                  <a:off x="1779250"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28" name="Freihandform: Form 496">
                  <a:extLst>
                    <a:ext uri="{FF2B5EF4-FFF2-40B4-BE49-F238E27FC236}">
                      <a16:creationId xmlns:a16="http://schemas.microsoft.com/office/drawing/2014/main" id="{07F9390F-4211-4F4C-96BB-DAE3598B6340}"/>
                    </a:ext>
                  </a:extLst>
                </p:cNvPr>
                <p:cNvSpPr/>
                <p:nvPr/>
              </p:nvSpPr>
              <p:spPr>
                <a:xfrm>
                  <a:off x="1807747" y="4308808"/>
                  <a:ext cx="14239" cy="11943"/>
                </a:xfrm>
                <a:custGeom>
                  <a:avLst/>
                  <a:gdLst>
                    <a:gd name="connsiteX0" fmla="*/ 0 w 14239"/>
                    <a:gd name="connsiteY0" fmla="*/ 0 h 11943"/>
                    <a:gd name="connsiteX1" fmla="*/ 14239 w 14239"/>
                    <a:gd name="connsiteY1" fmla="*/ 0 h 11943"/>
                    <a:gd name="connsiteX2" fmla="*/ 14239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29" name="Freihandform: Form 497">
                  <a:extLst>
                    <a:ext uri="{FF2B5EF4-FFF2-40B4-BE49-F238E27FC236}">
                      <a16:creationId xmlns:a16="http://schemas.microsoft.com/office/drawing/2014/main" id="{28DFC7AE-9614-4A23-AB7A-72A3EA5C16EA}"/>
                    </a:ext>
                  </a:extLst>
                </p:cNvPr>
                <p:cNvSpPr/>
                <p:nvPr/>
              </p:nvSpPr>
              <p:spPr>
                <a:xfrm>
                  <a:off x="1836234" y="4308808"/>
                  <a:ext cx="14239" cy="11943"/>
                </a:xfrm>
                <a:custGeom>
                  <a:avLst/>
                  <a:gdLst>
                    <a:gd name="connsiteX0" fmla="*/ 0 w 14239"/>
                    <a:gd name="connsiteY0" fmla="*/ 0 h 11943"/>
                    <a:gd name="connsiteX1" fmla="*/ 14239 w 14239"/>
                    <a:gd name="connsiteY1" fmla="*/ 0 h 11943"/>
                    <a:gd name="connsiteX2" fmla="*/ 14239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30" name="Freihandform: Form 498">
                  <a:extLst>
                    <a:ext uri="{FF2B5EF4-FFF2-40B4-BE49-F238E27FC236}">
                      <a16:creationId xmlns:a16="http://schemas.microsoft.com/office/drawing/2014/main" id="{ADFD4665-4400-4210-950F-0E0ED622BC6C}"/>
                    </a:ext>
                  </a:extLst>
                </p:cNvPr>
                <p:cNvSpPr/>
                <p:nvPr/>
              </p:nvSpPr>
              <p:spPr>
                <a:xfrm>
                  <a:off x="1850473"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31" name="Freihandform: Form 499">
                  <a:extLst>
                    <a:ext uri="{FF2B5EF4-FFF2-40B4-BE49-F238E27FC236}">
                      <a16:creationId xmlns:a16="http://schemas.microsoft.com/office/drawing/2014/main" id="{578C10A0-5398-4CF1-AB37-3CE381F7083C}"/>
                    </a:ext>
                  </a:extLst>
                </p:cNvPr>
                <p:cNvSpPr/>
                <p:nvPr/>
              </p:nvSpPr>
              <p:spPr>
                <a:xfrm>
                  <a:off x="1878961"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32" name="Freihandform: Form 500">
                  <a:extLst>
                    <a:ext uri="{FF2B5EF4-FFF2-40B4-BE49-F238E27FC236}">
                      <a16:creationId xmlns:a16="http://schemas.microsoft.com/office/drawing/2014/main" id="{F2B01879-4AAA-4194-923A-1D8B4D64A868}"/>
                    </a:ext>
                  </a:extLst>
                </p:cNvPr>
                <p:cNvSpPr/>
                <p:nvPr/>
              </p:nvSpPr>
              <p:spPr>
                <a:xfrm>
                  <a:off x="1893209" y="4308808"/>
                  <a:ext cx="14239" cy="11943"/>
                </a:xfrm>
                <a:custGeom>
                  <a:avLst/>
                  <a:gdLst>
                    <a:gd name="connsiteX0" fmla="*/ 0 w 14239"/>
                    <a:gd name="connsiteY0" fmla="*/ 0 h 11943"/>
                    <a:gd name="connsiteX1" fmla="*/ 14239 w 14239"/>
                    <a:gd name="connsiteY1" fmla="*/ 0 h 11943"/>
                    <a:gd name="connsiteX2" fmla="*/ 14239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33" name="Freihandform: Form 501">
                  <a:extLst>
                    <a:ext uri="{FF2B5EF4-FFF2-40B4-BE49-F238E27FC236}">
                      <a16:creationId xmlns:a16="http://schemas.microsoft.com/office/drawing/2014/main" id="{E918AAC6-8DCA-4758-8DB2-E9D23A43D706}"/>
                    </a:ext>
                  </a:extLst>
                </p:cNvPr>
                <p:cNvSpPr/>
                <p:nvPr/>
              </p:nvSpPr>
              <p:spPr>
                <a:xfrm>
                  <a:off x="1907448"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34" name="Freihandform: Form 502">
                  <a:extLst>
                    <a:ext uri="{FF2B5EF4-FFF2-40B4-BE49-F238E27FC236}">
                      <a16:creationId xmlns:a16="http://schemas.microsoft.com/office/drawing/2014/main" id="{C5D63095-4C6F-44AC-BEA6-471DFBC65BE9}"/>
                    </a:ext>
                  </a:extLst>
                </p:cNvPr>
                <p:cNvSpPr/>
                <p:nvPr/>
              </p:nvSpPr>
              <p:spPr>
                <a:xfrm>
                  <a:off x="1935936"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35" name="Freihandform: Form 503">
                  <a:extLst>
                    <a:ext uri="{FF2B5EF4-FFF2-40B4-BE49-F238E27FC236}">
                      <a16:creationId xmlns:a16="http://schemas.microsoft.com/office/drawing/2014/main" id="{65B468B2-C753-4044-ABF4-0ADB86175C62}"/>
                    </a:ext>
                  </a:extLst>
                </p:cNvPr>
                <p:cNvSpPr/>
                <p:nvPr/>
              </p:nvSpPr>
              <p:spPr>
                <a:xfrm>
                  <a:off x="1950175"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36" name="Freihandform: Form 504">
                  <a:extLst>
                    <a:ext uri="{FF2B5EF4-FFF2-40B4-BE49-F238E27FC236}">
                      <a16:creationId xmlns:a16="http://schemas.microsoft.com/office/drawing/2014/main" id="{16A0B920-7284-42DC-AE12-1F354D357426}"/>
                    </a:ext>
                  </a:extLst>
                </p:cNvPr>
                <p:cNvSpPr/>
                <p:nvPr/>
              </p:nvSpPr>
              <p:spPr>
                <a:xfrm>
                  <a:off x="1978672"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37" name="Freihandform: Form 505">
                  <a:extLst>
                    <a:ext uri="{FF2B5EF4-FFF2-40B4-BE49-F238E27FC236}">
                      <a16:creationId xmlns:a16="http://schemas.microsoft.com/office/drawing/2014/main" id="{B5EBCEC4-B196-4753-9A62-17C99306EA57}"/>
                    </a:ext>
                  </a:extLst>
                </p:cNvPr>
                <p:cNvSpPr/>
                <p:nvPr/>
              </p:nvSpPr>
              <p:spPr>
                <a:xfrm>
                  <a:off x="2007159"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38" name="Freihandform: Form 506">
                  <a:extLst>
                    <a:ext uri="{FF2B5EF4-FFF2-40B4-BE49-F238E27FC236}">
                      <a16:creationId xmlns:a16="http://schemas.microsoft.com/office/drawing/2014/main" id="{570CA8DB-929E-4BF0-8B5F-E577084F9278}"/>
                    </a:ext>
                  </a:extLst>
                </p:cNvPr>
                <p:cNvSpPr/>
                <p:nvPr/>
              </p:nvSpPr>
              <p:spPr>
                <a:xfrm>
                  <a:off x="2021399" y="4308808"/>
                  <a:ext cx="14239" cy="11943"/>
                </a:xfrm>
                <a:custGeom>
                  <a:avLst/>
                  <a:gdLst>
                    <a:gd name="connsiteX0" fmla="*/ 0 w 14239"/>
                    <a:gd name="connsiteY0" fmla="*/ 0 h 11943"/>
                    <a:gd name="connsiteX1" fmla="*/ 14240 w 14239"/>
                    <a:gd name="connsiteY1" fmla="*/ 0 h 11943"/>
                    <a:gd name="connsiteX2" fmla="*/ 14240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39" name="Freihandform: Form 507">
                  <a:extLst>
                    <a:ext uri="{FF2B5EF4-FFF2-40B4-BE49-F238E27FC236}">
                      <a16:creationId xmlns:a16="http://schemas.microsoft.com/office/drawing/2014/main" id="{DBA93D21-0FAF-4D52-B5FB-0A5E67C2BCEA}"/>
                    </a:ext>
                  </a:extLst>
                </p:cNvPr>
                <p:cNvSpPr/>
                <p:nvPr/>
              </p:nvSpPr>
              <p:spPr>
                <a:xfrm>
                  <a:off x="2035638"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40" name="Freihandform: Form 508">
                  <a:extLst>
                    <a:ext uri="{FF2B5EF4-FFF2-40B4-BE49-F238E27FC236}">
                      <a16:creationId xmlns:a16="http://schemas.microsoft.com/office/drawing/2014/main" id="{8B099918-7D33-43B7-85EA-7B46E473C70F}"/>
                    </a:ext>
                  </a:extLst>
                </p:cNvPr>
                <p:cNvSpPr/>
                <p:nvPr/>
              </p:nvSpPr>
              <p:spPr>
                <a:xfrm>
                  <a:off x="2049886"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41" name="Freihandform: Form 509">
                  <a:extLst>
                    <a:ext uri="{FF2B5EF4-FFF2-40B4-BE49-F238E27FC236}">
                      <a16:creationId xmlns:a16="http://schemas.microsoft.com/office/drawing/2014/main" id="{20D0C0CF-16D5-4524-843C-FD5C8152D875}"/>
                    </a:ext>
                  </a:extLst>
                </p:cNvPr>
                <p:cNvSpPr/>
                <p:nvPr/>
              </p:nvSpPr>
              <p:spPr>
                <a:xfrm>
                  <a:off x="2078374" y="4308808"/>
                  <a:ext cx="14239" cy="11943"/>
                </a:xfrm>
                <a:custGeom>
                  <a:avLst/>
                  <a:gdLst>
                    <a:gd name="connsiteX0" fmla="*/ 0 w 14239"/>
                    <a:gd name="connsiteY0" fmla="*/ 0 h 11943"/>
                    <a:gd name="connsiteX1" fmla="*/ 14240 w 14239"/>
                    <a:gd name="connsiteY1" fmla="*/ 0 h 11943"/>
                    <a:gd name="connsiteX2" fmla="*/ 14240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42" name="Freihandform: Form 510">
                  <a:extLst>
                    <a:ext uri="{FF2B5EF4-FFF2-40B4-BE49-F238E27FC236}">
                      <a16:creationId xmlns:a16="http://schemas.microsoft.com/office/drawing/2014/main" id="{3A31BACE-C516-4774-ACCF-0F63002552FE}"/>
                    </a:ext>
                  </a:extLst>
                </p:cNvPr>
                <p:cNvSpPr/>
                <p:nvPr/>
              </p:nvSpPr>
              <p:spPr>
                <a:xfrm>
                  <a:off x="2092622" y="4308808"/>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grpSp>
          <p:grpSp>
            <p:nvGrpSpPr>
              <p:cNvPr id="313" name="Grafik 7">
                <a:extLst>
                  <a:ext uri="{FF2B5EF4-FFF2-40B4-BE49-F238E27FC236}">
                    <a16:creationId xmlns:a16="http://schemas.microsoft.com/office/drawing/2014/main" id="{8F3C586C-EFCA-4156-AE46-8AE799E3A336}"/>
                  </a:ext>
                </a:extLst>
              </p:cNvPr>
              <p:cNvGrpSpPr/>
              <p:nvPr/>
            </p:nvGrpSpPr>
            <p:grpSpPr>
              <a:xfrm>
                <a:off x="1779250" y="4333074"/>
                <a:ext cx="327619" cy="11943"/>
                <a:chOff x="1779250" y="4333074"/>
                <a:chExt cx="327619" cy="11943"/>
              </a:xfrm>
              <a:solidFill>
                <a:schemeClr val="accent1"/>
              </a:solidFill>
            </p:grpSpPr>
            <p:sp>
              <p:nvSpPr>
                <p:cNvPr id="314" name="Freihandform: Form 512">
                  <a:extLst>
                    <a:ext uri="{FF2B5EF4-FFF2-40B4-BE49-F238E27FC236}">
                      <a16:creationId xmlns:a16="http://schemas.microsoft.com/office/drawing/2014/main" id="{55A0F211-D977-49A5-A402-2FBA41561565}"/>
                    </a:ext>
                  </a:extLst>
                </p:cNvPr>
                <p:cNvSpPr/>
                <p:nvPr/>
              </p:nvSpPr>
              <p:spPr>
                <a:xfrm>
                  <a:off x="1779250" y="433307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15" name="Freihandform: Form 513">
                  <a:extLst>
                    <a:ext uri="{FF2B5EF4-FFF2-40B4-BE49-F238E27FC236}">
                      <a16:creationId xmlns:a16="http://schemas.microsoft.com/office/drawing/2014/main" id="{662C33AF-1611-4F69-B9B3-36E512C7EE54}"/>
                    </a:ext>
                  </a:extLst>
                </p:cNvPr>
                <p:cNvSpPr/>
                <p:nvPr/>
              </p:nvSpPr>
              <p:spPr>
                <a:xfrm>
                  <a:off x="1807747" y="4333074"/>
                  <a:ext cx="14239" cy="11943"/>
                </a:xfrm>
                <a:custGeom>
                  <a:avLst/>
                  <a:gdLst>
                    <a:gd name="connsiteX0" fmla="*/ 0 w 14239"/>
                    <a:gd name="connsiteY0" fmla="*/ 0 h 11943"/>
                    <a:gd name="connsiteX1" fmla="*/ 14239 w 14239"/>
                    <a:gd name="connsiteY1" fmla="*/ 0 h 11943"/>
                    <a:gd name="connsiteX2" fmla="*/ 14239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16" name="Freihandform: Form 514">
                  <a:extLst>
                    <a:ext uri="{FF2B5EF4-FFF2-40B4-BE49-F238E27FC236}">
                      <a16:creationId xmlns:a16="http://schemas.microsoft.com/office/drawing/2014/main" id="{596FEE43-249F-4983-B5C3-DCCDA506E46F}"/>
                    </a:ext>
                  </a:extLst>
                </p:cNvPr>
                <p:cNvSpPr/>
                <p:nvPr/>
              </p:nvSpPr>
              <p:spPr>
                <a:xfrm>
                  <a:off x="1836234" y="4333074"/>
                  <a:ext cx="14239" cy="11943"/>
                </a:xfrm>
                <a:custGeom>
                  <a:avLst/>
                  <a:gdLst>
                    <a:gd name="connsiteX0" fmla="*/ 0 w 14239"/>
                    <a:gd name="connsiteY0" fmla="*/ 0 h 11943"/>
                    <a:gd name="connsiteX1" fmla="*/ 14239 w 14239"/>
                    <a:gd name="connsiteY1" fmla="*/ 0 h 11943"/>
                    <a:gd name="connsiteX2" fmla="*/ 14239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39" y="0"/>
                      </a:lnTo>
                      <a:lnTo>
                        <a:pt x="14239"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17" name="Freihandform: Form 515">
                  <a:extLst>
                    <a:ext uri="{FF2B5EF4-FFF2-40B4-BE49-F238E27FC236}">
                      <a16:creationId xmlns:a16="http://schemas.microsoft.com/office/drawing/2014/main" id="{92406680-14D1-452C-8418-B1DDD2A1121C}"/>
                    </a:ext>
                  </a:extLst>
                </p:cNvPr>
                <p:cNvSpPr/>
                <p:nvPr/>
              </p:nvSpPr>
              <p:spPr>
                <a:xfrm>
                  <a:off x="1850473" y="433307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18" name="Freihandform: Form 516">
                  <a:extLst>
                    <a:ext uri="{FF2B5EF4-FFF2-40B4-BE49-F238E27FC236}">
                      <a16:creationId xmlns:a16="http://schemas.microsoft.com/office/drawing/2014/main" id="{E8F67F60-5B42-468D-ADDE-DC58B739E753}"/>
                    </a:ext>
                  </a:extLst>
                </p:cNvPr>
                <p:cNvSpPr/>
                <p:nvPr/>
              </p:nvSpPr>
              <p:spPr>
                <a:xfrm>
                  <a:off x="1878961" y="433307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19" name="Freihandform: Form 517">
                  <a:extLst>
                    <a:ext uri="{FF2B5EF4-FFF2-40B4-BE49-F238E27FC236}">
                      <a16:creationId xmlns:a16="http://schemas.microsoft.com/office/drawing/2014/main" id="{FF9D1DF3-F4B0-4395-942D-191D84386D1E}"/>
                    </a:ext>
                  </a:extLst>
                </p:cNvPr>
                <p:cNvSpPr/>
                <p:nvPr/>
              </p:nvSpPr>
              <p:spPr>
                <a:xfrm>
                  <a:off x="1935936" y="433307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20" name="Freihandform: Form 518">
                  <a:extLst>
                    <a:ext uri="{FF2B5EF4-FFF2-40B4-BE49-F238E27FC236}">
                      <a16:creationId xmlns:a16="http://schemas.microsoft.com/office/drawing/2014/main" id="{561FD698-A14B-4680-BF9E-AB86EAC7C228}"/>
                    </a:ext>
                  </a:extLst>
                </p:cNvPr>
                <p:cNvSpPr/>
                <p:nvPr/>
              </p:nvSpPr>
              <p:spPr>
                <a:xfrm>
                  <a:off x="1950175" y="433307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21" name="Freihandform: Form 519">
                  <a:extLst>
                    <a:ext uri="{FF2B5EF4-FFF2-40B4-BE49-F238E27FC236}">
                      <a16:creationId xmlns:a16="http://schemas.microsoft.com/office/drawing/2014/main" id="{8A834F49-19E8-45E5-BEA3-26B3F619A664}"/>
                    </a:ext>
                  </a:extLst>
                </p:cNvPr>
                <p:cNvSpPr/>
                <p:nvPr/>
              </p:nvSpPr>
              <p:spPr>
                <a:xfrm>
                  <a:off x="1978672" y="433307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22" name="Freihandform: Form 520">
                  <a:extLst>
                    <a:ext uri="{FF2B5EF4-FFF2-40B4-BE49-F238E27FC236}">
                      <a16:creationId xmlns:a16="http://schemas.microsoft.com/office/drawing/2014/main" id="{2EC00A86-05CA-4C9A-A4DF-839C384CE309}"/>
                    </a:ext>
                  </a:extLst>
                </p:cNvPr>
                <p:cNvSpPr/>
                <p:nvPr/>
              </p:nvSpPr>
              <p:spPr>
                <a:xfrm>
                  <a:off x="2007159" y="433307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23" name="Freihandform: Form 521">
                  <a:extLst>
                    <a:ext uri="{FF2B5EF4-FFF2-40B4-BE49-F238E27FC236}">
                      <a16:creationId xmlns:a16="http://schemas.microsoft.com/office/drawing/2014/main" id="{1F36E499-3BBE-40E5-8DB5-24CF4FDB256B}"/>
                    </a:ext>
                  </a:extLst>
                </p:cNvPr>
                <p:cNvSpPr/>
                <p:nvPr/>
              </p:nvSpPr>
              <p:spPr>
                <a:xfrm>
                  <a:off x="2021399" y="4333074"/>
                  <a:ext cx="14239" cy="11943"/>
                </a:xfrm>
                <a:custGeom>
                  <a:avLst/>
                  <a:gdLst>
                    <a:gd name="connsiteX0" fmla="*/ 0 w 14239"/>
                    <a:gd name="connsiteY0" fmla="*/ 0 h 11943"/>
                    <a:gd name="connsiteX1" fmla="*/ 14240 w 14239"/>
                    <a:gd name="connsiteY1" fmla="*/ 0 h 11943"/>
                    <a:gd name="connsiteX2" fmla="*/ 14240 w 14239"/>
                    <a:gd name="connsiteY2" fmla="*/ 11944 h 11943"/>
                    <a:gd name="connsiteX3" fmla="*/ 0 w 14239"/>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39" h="11943">
                      <a:moveTo>
                        <a:pt x="0" y="0"/>
                      </a:moveTo>
                      <a:lnTo>
                        <a:pt x="14240" y="0"/>
                      </a:lnTo>
                      <a:lnTo>
                        <a:pt x="14240"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24" name="Freihandform: Form 522">
                  <a:extLst>
                    <a:ext uri="{FF2B5EF4-FFF2-40B4-BE49-F238E27FC236}">
                      <a16:creationId xmlns:a16="http://schemas.microsoft.com/office/drawing/2014/main" id="{54821283-F79C-4225-92E3-E34E06C90E07}"/>
                    </a:ext>
                  </a:extLst>
                </p:cNvPr>
                <p:cNvSpPr/>
                <p:nvPr/>
              </p:nvSpPr>
              <p:spPr>
                <a:xfrm>
                  <a:off x="2049886" y="433307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25" name="Freihandform: Form 523">
                  <a:extLst>
                    <a:ext uri="{FF2B5EF4-FFF2-40B4-BE49-F238E27FC236}">
                      <a16:creationId xmlns:a16="http://schemas.microsoft.com/office/drawing/2014/main" id="{47E7C67B-23F5-4247-9532-336D94B43C26}"/>
                    </a:ext>
                  </a:extLst>
                </p:cNvPr>
                <p:cNvSpPr/>
                <p:nvPr/>
              </p:nvSpPr>
              <p:spPr>
                <a:xfrm>
                  <a:off x="2064134" y="433307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sp>
              <p:nvSpPr>
                <p:cNvPr id="326" name="Freihandform: Form 524">
                  <a:extLst>
                    <a:ext uri="{FF2B5EF4-FFF2-40B4-BE49-F238E27FC236}">
                      <a16:creationId xmlns:a16="http://schemas.microsoft.com/office/drawing/2014/main" id="{4F62EB30-7E40-4308-8323-A52224515D06}"/>
                    </a:ext>
                  </a:extLst>
                </p:cNvPr>
                <p:cNvSpPr/>
                <p:nvPr/>
              </p:nvSpPr>
              <p:spPr>
                <a:xfrm>
                  <a:off x="2092622" y="4333074"/>
                  <a:ext cx="14248" cy="11943"/>
                </a:xfrm>
                <a:custGeom>
                  <a:avLst/>
                  <a:gdLst>
                    <a:gd name="connsiteX0" fmla="*/ 0 w 14248"/>
                    <a:gd name="connsiteY0" fmla="*/ 0 h 11943"/>
                    <a:gd name="connsiteX1" fmla="*/ 14248 w 14248"/>
                    <a:gd name="connsiteY1" fmla="*/ 0 h 11943"/>
                    <a:gd name="connsiteX2" fmla="*/ 14248 w 14248"/>
                    <a:gd name="connsiteY2" fmla="*/ 11944 h 11943"/>
                    <a:gd name="connsiteX3" fmla="*/ 0 w 1424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248" h="11943">
                      <a:moveTo>
                        <a:pt x="0" y="0"/>
                      </a:moveTo>
                      <a:lnTo>
                        <a:pt x="14248" y="0"/>
                      </a:lnTo>
                      <a:lnTo>
                        <a:pt x="14248" y="11944"/>
                      </a:lnTo>
                      <a:lnTo>
                        <a:pt x="0" y="11944"/>
                      </a:lnTo>
                      <a:close/>
                    </a:path>
                  </a:pathLst>
                </a:custGeom>
                <a:solidFill>
                  <a:schemeClr val="accent1"/>
                </a:solidFill>
                <a:ln w="858" cap="flat">
                  <a:noFill/>
                  <a:prstDash val="solid"/>
                  <a:miter/>
                </a:ln>
              </p:spPr>
              <p:txBody>
                <a:bodyPr rtlCol="0" anchor="ctr"/>
                <a:lstStyle/>
                <a:p>
                  <a:endParaRPr lang="en-GB" dirty="0"/>
                </a:p>
              </p:txBody>
            </p:sp>
          </p:grpSp>
        </p:grpSp>
      </p:grpSp>
      <p:grpSp>
        <p:nvGrpSpPr>
          <p:cNvPr id="40" name="Group 39">
            <a:extLst>
              <a:ext uri="{FF2B5EF4-FFF2-40B4-BE49-F238E27FC236}">
                <a16:creationId xmlns:a16="http://schemas.microsoft.com/office/drawing/2014/main" id="{DD5A2A79-47C8-481F-80A0-1670408F31A4}"/>
              </a:ext>
            </a:extLst>
          </p:cNvPr>
          <p:cNvGrpSpPr/>
          <p:nvPr/>
        </p:nvGrpSpPr>
        <p:grpSpPr>
          <a:xfrm>
            <a:off x="2662862" y="1585984"/>
            <a:ext cx="444112" cy="432000"/>
            <a:chOff x="2662862" y="1585984"/>
            <a:chExt cx="444112" cy="432000"/>
          </a:xfrm>
        </p:grpSpPr>
        <p:grpSp>
          <p:nvGrpSpPr>
            <p:cNvPr id="405" name="Gruppieren 825">
              <a:extLst>
                <a:ext uri="{FF2B5EF4-FFF2-40B4-BE49-F238E27FC236}">
                  <a16:creationId xmlns:a16="http://schemas.microsoft.com/office/drawing/2014/main" id="{92283DBC-33AF-404C-B275-A97E29B1286A}"/>
                </a:ext>
              </a:extLst>
            </p:cNvPr>
            <p:cNvGrpSpPr/>
            <p:nvPr/>
          </p:nvGrpSpPr>
          <p:grpSpPr>
            <a:xfrm>
              <a:off x="2662862" y="1585984"/>
              <a:ext cx="264828" cy="432000"/>
              <a:chOff x="2570916" y="3266671"/>
              <a:chExt cx="269603" cy="439789"/>
            </a:xfrm>
          </p:grpSpPr>
          <p:sp>
            <p:nvSpPr>
              <p:cNvPr id="411" name="Freihandform: Form 600">
                <a:extLst>
                  <a:ext uri="{FF2B5EF4-FFF2-40B4-BE49-F238E27FC236}">
                    <a16:creationId xmlns:a16="http://schemas.microsoft.com/office/drawing/2014/main" id="{02630039-3CD7-4524-92FC-09EB055697E5}"/>
                  </a:ext>
                </a:extLst>
              </p:cNvPr>
              <p:cNvSpPr/>
              <p:nvPr/>
            </p:nvSpPr>
            <p:spPr>
              <a:xfrm>
                <a:off x="2576901" y="3626776"/>
                <a:ext cx="257651" cy="11943"/>
              </a:xfrm>
              <a:custGeom>
                <a:avLst/>
                <a:gdLst>
                  <a:gd name="connsiteX0" fmla="*/ 0 w 257651"/>
                  <a:gd name="connsiteY0" fmla="*/ 0 h 11943"/>
                  <a:gd name="connsiteX1" fmla="*/ 257651 w 257651"/>
                  <a:gd name="connsiteY1" fmla="*/ 0 h 11943"/>
                  <a:gd name="connsiteX2" fmla="*/ 257651 w 257651"/>
                  <a:gd name="connsiteY2" fmla="*/ 11943 h 11943"/>
                  <a:gd name="connsiteX3" fmla="*/ 0 w 257651"/>
                  <a:gd name="connsiteY3" fmla="*/ 11943 h 11943"/>
                </a:gdLst>
                <a:ahLst/>
                <a:cxnLst>
                  <a:cxn ang="0">
                    <a:pos x="connsiteX0" y="connsiteY0"/>
                  </a:cxn>
                  <a:cxn ang="0">
                    <a:pos x="connsiteX1" y="connsiteY1"/>
                  </a:cxn>
                  <a:cxn ang="0">
                    <a:pos x="connsiteX2" y="connsiteY2"/>
                  </a:cxn>
                  <a:cxn ang="0">
                    <a:pos x="connsiteX3" y="connsiteY3"/>
                  </a:cxn>
                </a:cxnLst>
                <a:rect l="l" t="t" r="r" b="b"/>
                <a:pathLst>
                  <a:path w="257651" h="11943">
                    <a:moveTo>
                      <a:pt x="0" y="0"/>
                    </a:moveTo>
                    <a:lnTo>
                      <a:pt x="257651" y="0"/>
                    </a:lnTo>
                    <a:lnTo>
                      <a:pt x="257651" y="11943"/>
                    </a:lnTo>
                    <a:lnTo>
                      <a:pt x="0" y="11943"/>
                    </a:lnTo>
                    <a:close/>
                  </a:path>
                </a:pathLst>
              </a:custGeom>
              <a:solidFill>
                <a:schemeClr val="tx2"/>
              </a:solidFill>
              <a:ln w="858" cap="flat">
                <a:noFill/>
                <a:prstDash val="solid"/>
                <a:miter/>
              </a:ln>
            </p:spPr>
            <p:txBody>
              <a:bodyPr rtlCol="0" anchor="ctr"/>
              <a:lstStyle/>
              <a:p>
                <a:endParaRPr lang="en-GB" dirty="0"/>
              </a:p>
            </p:txBody>
          </p:sp>
          <p:sp>
            <p:nvSpPr>
              <p:cNvPr id="412" name="Freihandform: Form 601">
                <a:extLst>
                  <a:ext uri="{FF2B5EF4-FFF2-40B4-BE49-F238E27FC236}">
                    <a16:creationId xmlns:a16="http://schemas.microsoft.com/office/drawing/2014/main" id="{2C9C340E-E8C7-4C82-B537-1EB90E0D8E6E}"/>
                  </a:ext>
                </a:extLst>
              </p:cNvPr>
              <p:cNvSpPr/>
              <p:nvPr/>
            </p:nvSpPr>
            <p:spPr>
              <a:xfrm>
                <a:off x="2665949" y="3661997"/>
                <a:ext cx="79555" cy="11943"/>
              </a:xfrm>
              <a:custGeom>
                <a:avLst/>
                <a:gdLst>
                  <a:gd name="connsiteX0" fmla="*/ 0 w 79555"/>
                  <a:gd name="connsiteY0" fmla="*/ 0 h 11943"/>
                  <a:gd name="connsiteX1" fmla="*/ 79555 w 79555"/>
                  <a:gd name="connsiteY1" fmla="*/ 0 h 11943"/>
                  <a:gd name="connsiteX2" fmla="*/ 79555 w 79555"/>
                  <a:gd name="connsiteY2" fmla="*/ 11943 h 11943"/>
                  <a:gd name="connsiteX3" fmla="*/ 0 w 79555"/>
                  <a:gd name="connsiteY3" fmla="*/ 11943 h 11943"/>
                </a:gdLst>
                <a:ahLst/>
                <a:cxnLst>
                  <a:cxn ang="0">
                    <a:pos x="connsiteX0" y="connsiteY0"/>
                  </a:cxn>
                  <a:cxn ang="0">
                    <a:pos x="connsiteX1" y="connsiteY1"/>
                  </a:cxn>
                  <a:cxn ang="0">
                    <a:pos x="connsiteX2" y="connsiteY2"/>
                  </a:cxn>
                  <a:cxn ang="0">
                    <a:pos x="connsiteX3" y="connsiteY3"/>
                  </a:cxn>
                </a:cxnLst>
                <a:rect l="l" t="t" r="r" b="b"/>
                <a:pathLst>
                  <a:path w="79555" h="11943">
                    <a:moveTo>
                      <a:pt x="0" y="0"/>
                    </a:moveTo>
                    <a:lnTo>
                      <a:pt x="79555" y="0"/>
                    </a:lnTo>
                    <a:lnTo>
                      <a:pt x="79555" y="11943"/>
                    </a:lnTo>
                    <a:lnTo>
                      <a:pt x="0" y="11943"/>
                    </a:lnTo>
                    <a:close/>
                  </a:path>
                </a:pathLst>
              </a:custGeom>
              <a:solidFill>
                <a:schemeClr val="tx2"/>
              </a:solidFill>
              <a:ln w="858" cap="flat">
                <a:noFill/>
                <a:prstDash val="solid"/>
                <a:miter/>
              </a:ln>
            </p:spPr>
            <p:txBody>
              <a:bodyPr rtlCol="0" anchor="ctr"/>
              <a:lstStyle/>
              <a:p>
                <a:endParaRPr lang="en-GB" dirty="0"/>
              </a:p>
            </p:txBody>
          </p:sp>
          <p:sp>
            <p:nvSpPr>
              <p:cNvPr id="413" name="Freihandform: Form 602">
                <a:extLst>
                  <a:ext uri="{FF2B5EF4-FFF2-40B4-BE49-F238E27FC236}">
                    <a16:creationId xmlns:a16="http://schemas.microsoft.com/office/drawing/2014/main" id="{228BFDD7-622D-4F60-BBBB-614B0AAA9CC8}"/>
                  </a:ext>
                </a:extLst>
              </p:cNvPr>
              <p:cNvSpPr/>
              <p:nvPr/>
            </p:nvSpPr>
            <p:spPr>
              <a:xfrm>
                <a:off x="2576901" y="3332486"/>
                <a:ext cx="257651" cy="11943"/>
              </a:xfrm>
              <a:custGeom>
                <a:avLst/>
                <a:gdLst>
                  <a:gd name="connsiteX0" fmla="*/ 0 w 257651"/>
                  <a:gd name="connsiteY0" fmla="*/ 0 h 11943"/>
                  <a:gd name="connsiteX1" fmla="*/ 257651 w 257651"/>
                  <a:gd name="connsiteY1" fmla="*/ 0 h 11943"/>
                  <a:gd name="connsiteX2" fmla="*/ 257651 w 257651"/>
                  <a:gd name="connsiteY2" fmla="*/ 11944 h 11943"/>
                  <a:gd name="connsiteX3" fmla="*/ 0 w 257651"/>
                  <a:gd name="connsiteY3" fmla="*/ 11944 h 11943"/>
                </a:gdLst>
                <a:ahLst/>
                <a:cxnLst>
                  <a:cxn ang="0">
                    <a:pos x="connsiteX0" y="connsiteY0"/>
                  </a:cxn>
                  <a:cxn ang="0">
                    <a:pos x="connsiteX1" y="connsiteY1"/>
                  </a:cxn>
                  <a:cxn ang="0">
                    <a:pos x="connsiteX2" y="connsiteY2"/>
                  </a:cxn>
                  <a:cxn ang="0">
                    <a:pos x="connsiteX3" y="connsiteY3"/>
                  </a:cxn>
                </a:cxnLst>
                <a:rect l="l" t="t" r="r" b="b"/>
                <a:pathLst>
                  <a:path w="257651" h="11943">
                    <a:moveTo>
                      <a:pt x="0" y="0"/>
                    </a:moveTo>
                    <a:lnTo>
                      <a:pt x="257651" y="0"/>
                    </a:lnTo>
                    <a:lnTo>
                      <a:pt x="257651" y="11944"/>
                    </a:lnTo>
                    <a:lnTo>
                      <a:pt x="0" y="11944"/>
                    </a:lnTo>
                    <a:close/>
                  </a:path>
                </a:pathLst>
              </a:custGeom>
              <a:solidFill>
                <a:schemeClr val="tx2"/>
              </a:solidFill>
              <a:ln w="858" cap="flat">
                <a:noFill/>
                <a:prstDash val="solid"/>
                <a:miter/>
              </a:ln>
            </p:spPr>
            <p:txBody>
              <a:bodyPr rtlCol="0" anchor="ctr"/>
              <a:lstStyle/>
              <a:p>
                <a:endParaRPr lang="en-GB" dirty="0"/>
              </a:p>
            </p:txBody>
          </p:sp>
          <p:sp>
            <p:nvSpPr>
              <p:cNvPr id="414" name="Freihandform: Form 603">
                <a:extLst>
                  <a:ext uri="{FF2B5EF4-FFF2-40B4-BE49-F238E27FC236}">
                    <a16:creationId xmlns:a16="http://schemas.microsoft.com/office/drawing/2014/main" id="{4E64A245-FB4E-4F01-B9E7-54D2C21D9B47}"/>
                  </a:ext>
                </a:extLst>
              </p:cNvPr>
              <p:cNvSpPr/>
              <p:nvPr/>
            </p:nvSpPr>
            <p:spPr>
              <a:xfrm>
                <a:off x="2570916" y="3266671"/>
                <a:ext cx="269603" cy="439789"/>
              </a:xfrm>
              <a:custGeom>
                <a:avLst/>
                <a:gdLst>
                  <a:gd name="connsiteX0" fmla="*/ 233033 w 269603"/>
                  <a:gd name="connsiteY0" fmla="*/ 439789 h 439789"/>
                  <a:gd name="connsiteX1" fmla="*/ 36579 w 269603"/>
                  <a:gd name="connsiteY1" fmla="*/ 439789 h 439789"/>
                  <a:gd name="connsiteX2" fmla="*/ 0 w 269603"/>
                  <a:gd name="connsiteY2" fmla="*/ 403219 h 439789"/>
                  <a:gd name="connsiteX3" fmla="*/ 0 w 269603"/>
                  <a:gd name="connsiteY3" fmla="*/ 36588 h 439789"/>
                  <a:gd name="connsiteX4" fmla="*/ 36579 w 269603"/>
                  <a:gd name="connsiteY4" fmla="*/ 0 h 439789"/>
                  <a:gd name="connsiteX5" fmla="*/ 233033 w 269603"/>
                  <a:gd name="connsiteY5" fmla="*/ 0 h 439789"/>
                  <a:gd name="connsiteX6" fmla="*/ 269604 w 269603"/>
                  <a:gd name="connsiteY6" fmla="*/ 36588 h 439789"/>
                  <a:gd name="connsiteX7" fmla="*/ 269604 w 269603"/>
                  <a:gd name="connsiteY7" fmla="*/ 183144 h 439789"/>
                  <a:gd name="connsiteX8" fmla="*/ 257660 w 269603"/>
                  <a:gd name="connsiteY8" fmla="*/ 183144 h 439789"/>
                  <a:gd name="connsiteX9" fmla="*/ 257660 w 269603"/>
                  <a:gd name="connsiteY9" fmla="*/ 36588 h 439789"/>
                  <a:gd name="connsiteX10" fmla="*/ 233033 w 269603"/>
                  <a:gd name="connsiteY10" fmla="*/ 11952 h 439789"/>
                  <a:gd name="connsiteX11" fmla="*/ 36579 w 269603"/>
                  <a:gd name="connsiteY11" fmla="*/ 11952 h 439789"/>
                  <a:gd name="connsiteX12" fmla="*/ 11952 w 269603"/>
                  <a:gd name="connsiteY12" fmla="*/ 36588 h 439789"/>
                  <a:gd name="connsiteX13" fmla="*/ 11952 w 269603"/>
                  <a:gd name="connsiteY13" fmla="*/ 403219 h 439789"/>
                  <a:gd name="connsiteX14" fmla="*/ 36579 w 269603"/>
                  <a:gd name="connsiteY14" fmla="*/ 427846 h 439789"/>
                  <a:gd name="connsiteX15" fmla="*/ 233033 w 269603"/>
                  <a:gd name="connsiteY15" fmla="*/ 427846 h 439789"/>
                  <a:gd name="connsiteX16" fmla="*/ 257660 w 269603"/>
                  <a:gd name="connsiteY16" fmla="*/ 403219 h 439789"/>
                  <a:gd name="connsiteX17" fmla="*/ 257660 w 269603"/>
                  <a:gd name="connsiteY17" fmla="*/ 256663 h 439789"/>
                  <a:gd name="connsiteX18" fmla="*/ 269604 w 269603"/>
                  <a:gd name="connsiteY18" fmla="*/ 256663 h 439789"/>
                  <a:gd name="connsiteX19" fmla="*/ 269604 w 269603"/>
                  <a:gd name="connsiteY19" fmla="*/ 403219 h 439789"/>
                  <a:gd name="connsiteX20" fmla="*/ 233033 w 269603"/>
                  <a:gd name="connsiteY20" fmla="*/ 439789 h 439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9603" h="439789">
                    <a:moveTo>
                      <a:pt x="233033" y="439789"/>
                    </a:moveTo>
                    <a:lnTo>
                      <a:pt x="36579" y="439789"/>
                    </a:lnTo>
                    <a:cubicBezTo>
                      <a:pt x="16406" y="439789"/>
                      <a:pt x="0" y="423383"/>
                      <a:pt x="0" y="403219"/>
                    </a:cubicBezTo>
                    <a:lnTo>
                      <a:pt x="0" y="36588"/>
                    </a:lnTo>
                    <a:cubicBezTo>
                      <a:pt x="0" y="16415"/>
                      <a:pt x="16406" y="0"/>
                      <a:pt x="36579" y="0"/>
                    </a:cubicBezTo>
                    <a:lnTo>
                      <a:pt x="233033" y="0"/>
                    </a:lnTo>
                    <a:cubicBezTo>
                      <a:pt x="253206" y="0"/>
                      <a:pt x="269604" y="16415"/>
                      <a:pt x="269604" y="36588"/>
                    </a:cubicBezTo>
                    <a:lnTo>
                      <a:pt x="269604" y="183144"/>
                    </a:lnTo>
                    <a:lnTo>
                      <a:pt x="257660" y="183144"/>
                    </a:lnTo>
                    <a:lnTo>
                      <a:pt x="257660" y="36588"/>
                    </a:lnTo>
                    <a:cubicBezTo>
                      <a:pt x="257660" y="22993"/>
                      <a:pt x="246611" y="11952"/>
                      <a:pt x="233033" y="11952"/>
                    </a:cubicBezTo>
                    <a:lnTo>
                      <a:pt x="36579" y="11952"/>
                    </a:lnTo>
                    <a:cubicBezTo>
                      <a:pt x="23002" y="11952"/>
                      <a:pt x="11952" y="23002"/>
                      <a:pt x="11952" y="36588"/>
                    </a:cubicBezTo>
                    <a:lnTo>
                      <a:pt x="11952" y="403219"/>
                    </a:lnTo>
                    <a:cubicBezTo>
                      <a:pt x="11952" y="416796"/>
                      <a:pt x="23002" y="427846"/>
                      <a:pt x="36579" y="427846"/>
                    </a:cubicBezTo>
                    <a:lnTo>
                      <a:pt x="233033" y="427846"/>
                    </a:lnTo>
                    <a:cubicBezTo>
                      <a:pt x="246611" y="427846"/>
                      <a:pt x="257660" y="416796"/>
                      <a:pt x="257660" y="403219"/>
                    </a:cubicBezTo>
                    <a:lnTo>
                      <a:pt x="257660" y="256663"/>
                    </a:lnTo>
                    <a:lnTo>
                      <a:pt x="269604" y="256663"/>
                    </a:lnTo>
                    <a:lnTo>
                      <a:pt x="269604" y="403219"/>
                    </a:lnTo>
                    <a:cubicBezTo>
                      <a:pt x="269612" y="423383"/>
                      <a:pt x="253206" y="439789"/>
                      <a:pt x="233033" y="439789"/>
                    </a:cubicBezTo>
                    <a:close/>
                  </a:path>
                </a:pathLst>
              </a:custGeom>
              <a:solidFill>
                <a:schemeClr val="tx2"/>
              </a:solidFill>
              <a:ln w="858" cap="flat">
                <a:noFill/>
                <a:prstDash val="solid"/>
                <a:miter/>
              </a:ln>
            </p:spPr>
            <p:txBody>
              <a:bodyPr rtlCol="0" anchor="ctr"/>
              <a:lstStyle/>
              <a:p>
                <a:endParaRPr lang="en-GB" dirty="0"/>
              </a:p>
            </p:txBody>
          </p:sp>
          <p:grpSp>
            <p:nvGrpSpPr>
              <p:cNvPr id="415" name="Grafik 7">
                <a:extLst>
                  <a:ext uri="{FF2B5EF4-FFF2-40B4-BE49-F238E27FC236}">
                    <a16:creationId xmlns:a16="http://schemas.microsoft.com/office/drawing/2014/main" id="{321A3406-A41E-4E35-9854-F06CE8CEF89E}"/>
                  </a:ext>
                </a:extLst>
              </p:cNvPr>
              <p:cNvGrpSpPr/>
              <p:nvPr/>
            </p:nvGrpSpPr>
            <p:grpSpPr>
              <a:xfrm>
                <a:off x="2667281" y="3302201"/>
                <a:ext cx="76889" cy="11943"/>
                <a:chOff x="2667281" y="3302201"/>
                <a:chExt cx="76889" cy="11943"/>
              </a:xfrm>
              <a:solidFill>
                <a:srgbClr val="4D4E53"/>
              </a:solidFill>
            </p:grpSpPr>
            <p:sp>
              <p:nvSpPr>
                <p:cNvPr id="426" name="Freihandform: Form 605">
                  <a:extLst>
                    <a:ext uri="{FF2B5EF4-FFF2-40B4-BE49-F238E27FC236}">
                      <a16:creationId xmlns:a16="http://schemas.microsoft.com/office/drawing/2014/main" id="{498222F5-6775-4F0C-95E2-61EE70B0F045}"/>
                    </a:ext>
                  </a:extLst>
                </p:cNvPr>
                <p:cNvSpPr/>
                <p:nvPr/>
              </p:nvSpPr>
              <p:spPr>
                <a:xfrm>
                  <a:off x="2667281" y="3302201"/>
                  <a:ext cx="11565" cy="11943"/>
                </a:xfrm>
                <a:custGeom>
                  <a:avLst/>
                  <a:gdLst>
                    <a:gd name="connsiteX0" fmla="*/ 0 w 11565"/>
                    <a:gd name="connsiteY0" fmla="*/ 0 h 11943"/>
                    <a:gd name="connsiteX1" fmla="*/ 11565 w 11565"/>
                    <a:gd name="connsiteY1" fmla="*/ 0 h 11943"/>
                    <a:gd name="connsiteX2" fmla="*/ 11565 w 11565"/>
                    <a:gd name="connsiteY2" fmla="*/ 11944 h 11943"/>
                    <a:gd name="connsiteX3" fmla="*/ 0 w 11565"/>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1565" h="11943">
                      <a:moveTo>
                        <a:pt x="0" y="0"/>
                      </a:moveTo>
                      <a:lnTo>
                        <a:pt x="11565" y="0"/>
                      </a:lnTo>
                      <a:lnTo>
                        <a:pt x="11565" y="11944"/>
                      </a:lnTo>
                      <a:lnTo>
                        <a:pt x="0" y="11944"/>
                      </a:lnTo>
                      <a:close/>
                    </a:path>
                  </a:pathLst>
                </a:custGeom>
                <a:solidFill>
                  <a:schemeClr val="tx2"/>
                </a:solidFill>
                <a:ln w="858" cap="flat">
                  <a:noFill/>
                  <a:prstDash val="solid"/>
                  <a:miter/>
                </a:ln>
              </p:spPr>
              <p:txBody>
                <a:bodyPr rtlCol="0" anchor="ctr"/>
                <a:lstStyle/>
                <a:p>
                  <a:endParaRPr lang="en-GB" dirty="0"/>
                </a:p>
              </p:txBody>
            </p:sp>
            <p:sp>
              <p:nvSpPr>
                <p:cNvPr id="427" name="Freihandform: Form 606">
                  <a:extLst>
                    <a:ext uri="{FF2B5EF4-FFF2-40B4-BE49-F238E27FC236}">
                      <a16:creationId xmlns:a16="http://schemas.microsoft.com/office/drawing/2014/main" id="{0E7BEF99-9C53-4CA5-BEC3-B63837F5F25C}"/>
                    </a:ext>
                  </a:extLst>
                </p:cNvPr>
                <p:cNvSpPr/>
                <p:nvPr/>
              </p:nvSpPr>
              <p:spPr>
                <a:xfrm>
                  <a:off x="2688090" y="3302201"/>
                  <a:ext cx="56080" cy="11943"/>
                </a:xfrm>
                <a:custGeom>
                  <a:avLst/>
                  <a:gdLst>
                    <a:gd name="connsiteX0" fmla="*/ 0 w 56080"/>
                    <a:gd name="connsiteY0" fmla="*/ 0 h 11943"/>
                    <a:gd name="connsiteX1" fmla="*/ 56081 w 56080"/>
                    <a:gd name="connsiteY1" fmla="*/ 0 h 11943"/>
                    <a:gd name="connsiteX2" fmla="*/ 56081 w 56080"/>
                    <a:gd name="connsiteY2" fmla="*/ 11944 h 11943"/>
                    <a:gd name="connsiteX3" fmla="*/ 0 w 56080"/>
                    <a:gd name="connsiteY3" fmla="*/ 11944 h 11943"/>
                  </a:gdLst>
                  <a:ahLst/>
                  <a:cxnLst>
                    <a:cxn ang="0">
                      <a:pos x="connsiteX0" y="connsiteY0"/>
                    </a:cxn>
                    <a:cxn ang="0">
                      <a:pos x="connsiteX1" y="connsiteY1"/>
                    </a:cxn>
                    <a:cxn ang="0">
                      <a:pos x="connsiteX2" y="connsiteY2"/>
                    </a:cxn>
                    <a:cxn ang="0">
                      <a:pos x="connsiteX3" y="connsiteY3"/>
                    </a:cxn>
                  </a:cxnLst>
                  <a:rect l="l" t="t" r="r" b="b"/>
                  <a:pathLst>
                    <a:path w="56080" h="11943">
                      <a:moveTo>
                        <a:pt x="0" y="0"/>
                      </a:moveTo>
                      <a:lnTo>
                        <a:pt x="56081" y="0"/>
                      </a:lnTo>
                      <a:lnTo>
                        <a:pt x="56081" y="11944"/>
                      </a:lnTo>
                      <a:lnTo>
                        <a:pt x="0" y="11944"/>
                      </a:lnTo>
                      <a:close/>
                    </a:path>
                  </a:pathLst>
                </a:custGeom>
                <a:solidFill>
                  <a:schemeClr val="tx2"/>
                </a:solidFill>
                <a:ln w="858" cap="flat">
                  <a:noFill/>
                  <a:prstDash val="solid"/>
                  <a:miter/>
                </a:ln>
              </p:spPr>
              <p:txBody>
                <a:bodyPr rtlCol="0" anchor="ctr"/>
                <a:lstStyle/>
                <a:p>
                  <a:endParaRPr lang="en-GB" dirty="0"/>
                </a:p>
              </p:txBody>
            </p:sp>
          </p:grpSp>
          <p:sp>
            <p:nvSpPr>
              <p:cNvPr id="416" name="Freihandform: Form 607">
                <a:extLst>
                  <a:ext uri="{FF2B5EF4-FFF2-40B4-BE49-F238E27FC236}">
                    <a16:creationId xmlns:a16="http://schemas.microsoft.com/office/drawing/2014/main" id="{7626A0EF-9EC6-4FA0-8729-6B72238667B9}"/>
                  </a:ext>
                </a:extLst>
              </p:cNvPr>
              <p:cNvSpPr/>
              <p:nvPr/>
            </p:nvSpPr>
            <p:spPr>
              <a:xfrm>
                <a:off x="2605121" y="3366476"/>
                <a:ext cx="58668" cy="46725"/>
              </a:xfrm>
              <a:custGeom>
                <a:avLst/>
                <a:gdLst>
                  <a:gd name="connsiteX0" fmla="*/ 58669 w 58668"/>
                  <a:gd name="connsiteY0" fmla="*/ 46725 h 46725"/>
                  <a:gd name="connsiteX1" fmla="*/ 0 w 58668"/>
                  <a:gd name="connsiteY1" fmla="*/ 46725 h 46725"/>
                  <a:gd name="connsiteX2" fmla="*/ 0 w 58668"/>
                  <a:gd name="connsiteY2" fmla="*/ 0 h 46725"/>
                  <a:gd name="connsiteX3" fmla="*/ 58669 w 58668"/>
                  <a:gd name="connsiteY3" fmla="*/ 0 h 46725"/>
                  <a:gd name="connsiteX4" fmla="*/ 58669 w 58668"/>
                  <a:gd name="connsiteY4" fmla="*/ 46725 h 46725"/>
                  <a:gd name="connsiteX5" fmla="*/ 11944 w 58668"/>
                  <a:gd name="connsiteY5" fmla="*/ 34773 h 46725"/>
                  <a:gd name="connsiteX6" fmla="*/ 46717 w 58668"/>
                  <a:gd name="connsiteY6" fmla="*/ 34773 h 46725"/>
                  <a:gd name="connsiteX7" fmla="*/ 46717 w 58668"/>
                  <a:gd name="connsiteY7" fmla="*/ 11944 h 46725"/>
                  <a:gd name="connsiteX8" fmla="*/ 11944 w 58668"/>
                  <a:gd name="connsiteY8" fmla="*/ 11944 h 46725"/>
                  <a:gd name="connsiteX9" fmla="*/ 11944 w 58668"/>
                  <a:gd name="connsiteY9" fmla="*/ 34773 h 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68" h="46725">
                    <a:moveTo>
                      <a:pt x="58669" y="46725"/>
                    </a:moveTo>
                    <a:lnTo>
                      <a:pt x="0" y="46725"/>
                    </a:lnTo>
                    <a:lnTo>
                      <a:pt x="0" y="0"/>
                    </a:lnTo>
                    <a:lnTo>
                      <a:pt x="58669" y="0"/>
                    </a:lnTo>
                    <a:lnTo>
                      <a:pt x="58669" y="46725"/>
                    </a:lnTo>
                    <a:close/>
                    <a:moveTo>
                      <a:pt x="11944" y="34773"/>
                    </a:moveTo>
                    <a:lnTo>
                      <a:pt x="46717" y="34773"/>
                    </a:lnTo>
                    <a:lnTo>
                      <a:pt x="46717" y="11944"/>
                    </a:lnTo>
                    <a:lnTo>
                      <a:pt x="11944" y="11944"/>
                    </a:lnTo>
                    <a:lnTo>
                      <a:pt x="11944" y="34773"/>
                    </a:lnTo>
                    <a:close/>
                  </a:path>
                </a:pathLst>
              </a:custGeom>
              <a:solidFill>
                <a:schemeClr val="tx2"/>
              </a:solidFill>
              <a:ln w="858" cap="flat">
                <a:noFill/>
                <a:prstDash val="solid"/>
                <a:miter/>
              </a:ln>
            </p:spPr>
            <p:txBody>
              <a:bodyPr rtlCol="0" anchor="ctr"/>
              <a:lstStyle/>
              <a:p>
                <a:endParaRPr lang="en-GB" dirty="0"/>
              </a:p>
            </p:txBody>
          </p:sp>
          <p:sp>
            <p:nvSpPr>
              <p:cNvPr id="417" name="Freihandform: Form 608">
                <a:extLst>
                  <a:ext uri="{FF2B5EF4-FFF2-40B4-BE49-F238E27FC236}">
                    <a16:creationId xmlns:a16="http://schemas.microsoft.com/office/drawing/2014/main" id="{DC4F3F5F-8549-4E76-A52F-C74115ADB07A}"/>
                  </a:ext>
                </a:extLst>
              </p:cNvPr>
              <p:cNvSpPr/>
              <p:nvPr/>
            </p:nvSpPr>
            <p:spPr>
              <a:xfrm>
                <a:off x="2678606" y="3366476"/>
                <a:ext cx="58668" cy="46725"/>
              </a:xfrm>
              <a:custGeom>
                <a:avLst/>
                <a:gdLst>
                  <a:gd name="connsiteX0" fmla="*/ 58669 w 58668"/>
                  <a:gd name="connsiteY0" fmla="*/ 46725 h 46725"/>
                  <a:gd name="connsiteX1" fmla="*/ 0 w 58668"/>
                  <a:gd name="connsiteY1" fmla="*/ 46725 h 46725"/>
                  <a:gd name="connsiteX2" fmla="*/ 0 w 58668"/>
                  <a:gd name="connsiteY2" fmla="*/ 0 h 46725"/>
                  <a:gd name="connsiteX3" fmla="*/ 58669 w 58668"/>
                  <a:gd name="connsiteY3" fmla="*/ 0 h 46725"/>
                  <a:gd name="connsiteX4" fmla="*/ 58669 w 58668"/>
                  <a:gd name="connsiteY4" fmla="*/ 46725 h 46725"/>
                  <a:gd name="connsiteX5" fmla="*/ 11952 w 58668"/>
                  <a:gd name="connsiteY5" fmla="*/ 34773 h 46725"/>
                  <a:gd name="connsiteX6" fmla="*/ 46734 w 58668"/>
                  <a:gd name="connsiteY6" fmla="*/ 34773 h 46725"/>
                  <a:gd name="connsiteX7" fmla="*/ 46734 w 58668"/>
                  <a:gd name="connsiteY7" fmla="*/ 11944 h 46725"/>
                  <a:gd name="connsiteX8" fmla="*/ 11952 w 58668"/>
                  <a:gd name="connsiteY8" fmla="*/ 11944 h 46725"/>
                  <a:gd name="connsiteX9" fmla="*/ 11952 w 58668"/>
                  <a:gd name="connsiteY9" fmla="*/ 34773 h 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68" h="46725">
                    <a:moveTo>
                      <a:pt x="58669" y="46725"/>
                    </a:moveTo>
                    <a:lnTo>
                      <a:pt x="0" y="46725"/>
                    </a:lnTo>
                    <a:lnTo>
                      <a:pt x="0" y="0"/>
                    </a:lnTo>
                    <a:lnTo>
                      <a:pt x="58669" y="0"/>
                    </a:lnTo>
                    <a:lnTo>
                      <a:pt x="58669" y="46725"/>
                    </a:lnTo>
                    <a:close/>
                    <a:moveTo>
                      <a:pt x="11952" y="34773"/>
                    </a:moveTo>
                    <a:lnTo>
                      <a:pt x="46734" y="34773"/>
                    </a:lnTo>
                    <a:lnTo>
                      <a:pt x="46734" y="11944"/>
                    </a:lnTo>
                    <a:lnTo>
                      <a:pt x="11952" y="11944"/>
                    </a:lnTo>
                    <a:lnTo>
                      <a:pt x="11952" y="34773"/>
                    </a:lnTo>
                    <a:close/>
                  </a:path>
                </a:pathLst>
              </a:custGeom>
              <a:solidFill>
                <a:schemeClr val="tx2"/>
              </a:solidFill>
              <a:ln w="858" cap="flat">
                <a:noFill/>
                <a:prstDash val="solid"/>
                <a:miter/>
              </a:ln>
            </p:spPr>
            <p:txBody>
              <a:bodyPr rtlCol="0" anchor="ctr"/>
              <a:lstStyle/>
              <a:p>
                <a:endParaRPr lang="en-GB" dirty="0"/>
              </a:p>
            </p:txBody>
          </p:sp>
          <p:sp>
            <p:nvSpPr>
              <p:cNvPr id="418" name="Freihandform: Form 609">
                <a:extLst>
                  <a:ext uri="{FF2B5EF4-FFF2-40B4-BE49-F238E27FC236}">
                    <a16:creationId xmlns:a16="http://schemas.microsoft.com/office/drawing/2014/main" id="{A57E97B7-5C89-42AD-B3D5-A40BB69BD736}"/>
                  </a:ext>
                </a:extLst>
              </p:cNvPr>
              <p:cNvSpPr/>
              <p:nvPr/>
            </p:nvSpPr>
            <p:spPr>
              <a:xfrm>
                <a:off x="2752082" y="3366476"/>
                <a:ext cx="58668" cy="46725"/>
              </a:xfrm>
              <a:custGeom>
                <a:avLst/>
                <a:gdLst>
                  <a:gd name="connsiteX0" fmla="*/ 58669 w 58668"/>
                  <a:gd name="connsiteY0" fmla="*/ 46725 h 46725"/>
                  <a:gd name="connsiteX1" fmla="*/ 0 w 58668"/>
                  <a:gd name="connsiteY1" fmla="*/ 46725 h 46725"/>
                  <a:gd name="connsiteX2" fmla="*/ 0 w 58668"/>
                  <a:gd name="connsiteY2" fmla="*/ 0 h 46725"/>
                  <a:gd name="connsiteX3" fmla="*/ 58669 w 58668"/>
                  <a:gd name="connsiteY3" fmla="*/ 0 h 46725"/>
                  <a:gd name="connsiteX4" fmla="*/ 58669 w 58668"/>
                  <a:gd name="connsiteY4" fmla="*/ 46725 h 46725"/>
                  <a:gd name="connsiteX5" fmla="*/ 11944 w 58668"/>
                  <a:gd name="connsiteY5" fmla="*/ 34773 h 46725"/>
                  <a:gd name="connsiteX6" fmla="*/ 46717 w 58668"/>
                  <a:gd name="connsiteY6" fmla="*/ 34773 h 46725"/>
                  <a:gd name="connsiteX7" fmla="*/ 46717 w 58668"/>
                  <a:gd name="connsiteY7" fmla="*/ 11944 h 46725"/>
                  <a:gd name="connsiteX8" fmla="*/ 11944 w 58668"/>
                  <a:gd name="connsiteY8" fmla="*/ 11944 h 46725"/>
                  <a:gd name="connsiteX9" fmla="*/ 11944 w 58668"/>
                  <a:gd name="connsiteY9" fmla="*/ 34773 h 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68" h="46725">
                    <a:moveTo>
                      <a:pt x="58669" y="46725"/>
                    </a:moveTo>
                    <a:lnTo>
                      <a:pt x="0" y="46725"/>
                    </a:lnTo>
                    <a:lnTo>
                      <a:pt x="0" y="0"/>
                    </a:lnTo>
                    <a:lnTo>
                      <a:pt x="58669" y="0"/>
                    </a:lnTo>
                    <a:lnTo>
                      <a:pt x="58669" y="46725"/>
                    </a:lnTo>
                    <a:close/>
                    <a:moveTo>
                      <a:pt x="11944" y="34773"/>
                    </a:moveTo>
                    <a:lnTo>
                      <a:pt x="46717" y="34773"/>
                    </a:lnTo>
                    <a:lnTo>
                      <a:pt x="46717" y="11944"/>
                    </a:lnTo>
                    <a:lnTo>
                      <a:pt x="11944" y="11944"/>
                    </a:lnTo>
                    <a:lnTo>
                      <a:pt x="11944" y="34773"/>
                    </a:lnTo>
                    <a:close/>
                  </a:path>
                </a:pathLst>
              </a:custGeom>
              <a:solidFill>
                <a:schemeClr val="tx2"/>
              </a:solidFill>
              <a:ln w="858" cap="flat">
                <a:noFill/>
                <a:prstDash val="solid"/>
                <a:miter/>
              </a:ln>
            </p:spPr>
            <p:txBody>
              <a:bodyPr rtlCol="0" anchor="ctr"/>
              <a:lstStyle/>
              <a:p>
                <a:endParaRPr lang="en-GB" dirty="0"/>
              </a:p>
            </p:txBody>
          </p:sp>
          <p:sp>
            <p:nvSpPr>
              <p:cNvPr id="419" name="Freihandform: Form 610">
                <a:extLst>
                  <a:ext uri="{FF2B5EF4-FFF2-40B4-BE49-F238E27FC236}">
                    <a16:creationId xmlns:a16="http://schemas.microsoft.com/office/drawing/2014/main" id="{53CD15DD-0B3B-4A14-A74A-BAEABCD95B11}"/>
                  </a:ext>
                </a:extLst>
              </p:cNvPr>
              <p:cNvSpPr/>
              <p:nvPr/>
            </p:nvSpPr>
            <p:spPr>
              <a:xfrm>
                <a:off x="2605121" y="3430967"/>
                <a:ext cx="58668" cy="46716"/>
              </a:xfrm>
              <a:custGeom>
                <a:avLst/>
                <a:gdLst>
                  <a:gd name="connsiteX0" fmla="*/ 58669 w 58668"/>
                  <a:gd name="connsiteY0" fmla="*/ 46717 h 46716"/>
                  <a:gd name="connsiteX1" fmla="*/ 0 w 58668"/>
                  <a:gd name="connsiteY1" fmla="*/ 46717 h 46716"/>
                  <a:gd name="connsiteX2" fmla="*/ 0 w 58668"/>
                  <a:gd name="connsiteY2" fmla="*/ 0 h 46716"/>
                  <a:gd name="connsiteX3" fmla="*/ 58669 w 58668"/>
                  <a:gd name="connsiteY3" fmla="*/ 0 h 46716"/>
                  <a:gd name="connsiteX4" fmla="*/ 58669 w 58668"/>
                  <a:gd name="connsiteY4" fmla="*/ 46717 h 46716"/>
                  <a:gd name="connsiteX5" fmla="*/ 11944 w 58668"/>
                  <a:gd name="connsiteY5" fmla="*/ 34764 h 46716"/>
                  <a:gd name="connsiteX6" fmla="*/ 46717 w 58668"/>
                  <a:gd name="connsiteY6" fmla="*/ 34764 h 46716"/>
                  <a:gd name="connsiteX7" fmla="*/ 46717 w 58668"/>
                  <a:gd name="connsiteY7" fmla="*/ 11944 h 46716"/>
                  <a:gd name="connsiteX8" fmla="*/ 11944 w 58668"/>
                  <a:gd name="connsiteY8" fmla="*/ 11944 h 46716"/>
                  <a:gd name="connsiteX9" fmla="*/ 11944 w 58668"/>
                  <a:gd name="connsiteY9" fmla="*/ 34764 h 4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68" h="46716">
                    <a:moveTo>
                      <a:pt x="58669" y="46717"/>
                    </a:moveTo>
                    <a:lnTo>
                      <a:pt x="0" y="46717"/>
                    </a:lnTo>
                    <a:lnTo>
                      <a:pt x="0" y="0"/>
                    </a:lnTo>
                    <a:lnTo>
                      <a:pt x="58669" y="0"/>
                    </a:lnTo>
                    <a:lnTo>
                      <a:pt x="58669" y="46717"/>
                    </a:lnTo>
                    <a:close/>
                    <a:moveTo>
                      <a:pt x="11944" y="34764"/>
                    </a:moveTo>
                    <a:lnTo>
                      <a:pt x="46717" y="34764"/>
                    </a:lnTo>
                    <a:lnTo>
                      <a:pt x="46717" y="11944"/>
                    </a:lnTo>
                    <a:lnTo>
                      <a:pt x="11944" y="11944"/>
                    </a:lnTo>
                    <a:lnTo>
                      <a:pt x="11944" y="34764"/>
                    </a:lnTo>
                    <a:close/>
                  </a:path>
                </a:pathLst>
              </a:custGeom>
              <a:solidFill>
                <a:schemeClr val="tx2"/>
              </a:solidFill>
              <a:ln w="858" cap="flat">
                <a:noFill/>
                <a:prstDash val="solid"/>
                <a:miter/>
              </a:ln>
            </p:spPr>
            <p:txBody>
              <a:bodyPr rtlCol="0" anchor="ctr"/>
              <a:lstStyle/>
              <a:p>
                <a:endParaRPr lang="en-GB" dirty="0"/>
              </a:p>
            </p:txBody>
          </p:sp>
          <p:sp>
            <p:nvSpPr>
              <p:cNvPr id="420" name="Freihandform: Form 611">
                <a:extLst>
                  <a:ext uri="{FF2B5EF4-FFF2-40B4-BE49-F238E27FC236}">
                    <a16:creationId xmlns:a16="http://schemas.microsoft.com/office/drawing/2014/main" id="{EC50F9D5-E5E8-44DD-B368-AF6A6552B7B6}"/>
                  </a:ext>
                </a:extLst>
              </p:cNvPr>
              <p:cNvSpPr/>
              <p:nvPr/>
            </p:nvSpPr>
            <p:spPr>
              <a:xfrm>
                <a:off x="2678606" y="3430967"/>
                <a:ext cx="58668" cy="46716"/>
              </a:xfrm>
              <a:custGeom>
                <a:avLst/>
                <a:gdLst>
                  <a:gd name="connsiteX0" fmla="*/ 58669 w 58668"/>
                  <a:gd name="connsiteY0" fmla="*/ 46717 h 46716"/>
                  <a:gd name="connsiteX1" fmla="*/ 0 w 58668"/>
                  <a:gd name="connsiteY1" fmla="*/ 46717 h 46716"/>
                  <a:gd name="connsiteX2" fmla="*/ 0 w 58668"/>
                  <a:gd name="connsiteY2" fmla="*/ 0 h 46716"/>
                  <a:gd name="connsiteX3" fmla="*/ 58669 w 58668"/>
                  <a:gd name="connsiteY3" fmla="*/ 0 h 46716"/>
                  <a:gd name="connsiteX4" fmla="*/ 58669 w 58668"/>
                  <a:gd name="connsiteY4" fmla="*/ 46717 h 46716"/>
                  <a:gd name="connsiteX5" fmla="*/ 11952 w 58668"/>
                  <a:gd name="connsiteY5" fmla="*/ 34764 h 46716"/>
                  <a:gd name="connsiteX6" fmla="*/ 46734 w 58668"/>
                  <a:gd name="connsiteY6" fmla="*/ 34764 h 46716"/>
                  <a:gd name="connsiteX7" fmla="*/ 46734 w 58668"/>
                  <a:gd name="connsiteY7" fmla="*/ 11944 h 46716"/>
                  <a:gd name="connsiteX8" fmla="*/ 11952 w 58668"/>
                  <a:gd name="connsiteY8" fmla="*/ 11944 h 46716"/>
                  <a:gd name="connsiteX9" fmla="*/ 11952 w 58668"/>
                  <a:gd name="connsiteY9" fmla="*/ 34764 h 46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68" h="46716">
                    <a:moveTo>
                      <a:pt x="58669" y="46717"/>
                    </a:moveTo>
                    <a:lnTo>
                      <a:pt x="0" y="46717"/>
                    </a:lnTo>
                    <a:lnTo>
                      <a:pt x="0" y="0"/>
                    </a:lnTo>
                    <a:lnTo>
                      <a:pt x="58669" y="0"/>
                    </a:lnTo>
                    <a:lnTo>
                      <a:pt x="58669" y="46717"/>
                    </a:lnTo>
                    <a:close/>
                    <a:moveTo>
                      <a:pt x="11952" y="34764"/>
                    </a:moveTo>
                    <a:lnTo>
                      <a:pt x="46734" y="34764"/>
                    </a:lnTo>
                    <a:lnTo>
                      <a:pt x="46734" y="11944"/>
                    </a:lnTo>
                    <a:lnTo>
                      <a:pt x="11952" y="11944"/>
                    </a:lnTo>
                    <a:lnTo>
                      <a:pt x="11952" y="34764"/>
                    </a:lnTo>
                    <a:close/>
                  </a:path>
                </a:pathLst>
              </a:custGeom>
              <a:solidFill>
                <a:schemeClr val="tx2"/>
              </a:solidFill>
              <a:ln w="858" cap="flat">
                <a:noFill/>
                <a:prstDash val="solid"/>
                <a:miter/>
              </a:ln>
            </p:spPr>
            <p:txBody>
              <a:bodyPr rtlCol="0" anchor="ctr"/>
              <a:lstStyle/>
              <a:p>
                <a:endParaRPr lang="en-GB" dirty="0"/>
              </a:p>
            </p:txBody>
          </p:sp>
          <p:sp>
            <p:nvSpPr>
              <p:cNvPr id="421" name="Freihandform: Form 612">
                <a:extLst>
                  <a:ext uri="{FF2B5EF4-FFF2-40B4-BE49-F238E27FC236}">
                    <a16:creationId xmlns:a16="http://schemas.microsoft.com/office/drawing/2014/main" id="{8D0EFF58-9510-46C4-9273-DA06E526DC9D}"/>
                  </a:ext>
                </a:extLst>
              </p:cNvPr>
              <p:cNvSpPr/>
              <p:nvPr/>
            </p:nvSpPr>
            <p:spPr>
              <a:xfrm>
                <a:off x="2605121" y="3495448"/>
                <a:ext cx="58668" cy="46725"/>
              </a:xfrm>
              <a:custGeom>
                <a:avLst/>
                <a:gdLst>
                  <a:gd name="connsiteX0" fmla="*/ 58669 w 58668"/>
                  <a:gd name="connsiteY0" fmla="*/ 46725 h 46725"/>
                  <a:gd name="connsiteX1" fmla="*/ 0 w 58668"/>
                  <a:gd name="connsiteY1" fmla="*/ 46725 h 46725"/>
                  <a:gd name="connsiteX2" fmla="*/ 0 w 58668"/>
                  <a:gd name="connsiteY2" fmla="*/ 0 h 46725"/>
                  <a:gd name="connsiteX3" fmla="*/ 58669 w 58668"/>
                  <a:gd name="connsiteY3" fmla="*/ 0 h 46725"/>
                  <a:gd name="connsiteX4" fmla="*/ 58669 w 58668"/>
                  <a:gd name="connsiteY4" fmla="*/ 46725 h 46725"/>
                  <a:gd name="connsiteX5" fmla="*/ 11944 w 58668"/>
                  <a:gd name="connsiteY5" fmla="*/ 34773 h 46725"/>
                  <a:gd name="connsiteX6" fmla="*/ 46717 w 58668"/>
                  <a:gd name="connsiteY6" fmla="*/ 34773 h 46725"/>
                  <a:gd name="connsiteX7" fmla="*/ 46717 w 58668"/>
                  <a:gd name="connsiteY7" fmla="*/ 11944 h 46725"/>
                  <a:gd name="connsiteX8" fmla="*/ 11944 w 58668"/>
                  <a:gd name="connsiteY8" fmla="*/ 11944 h 46725"/>
                  <a:gd name="connsiteX9" fmla="*/ 11944 w 58668"/>
                  <a:gd name="connsiteY9" fmla="*/ 34773 h 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68" h="46725">
                    <a:moveTo>
                      <a:pt x="58669" y="46725"/>
                    </a:moveTo>
                    <a:lnTo>
                      <a:pt x="0" y="46725"/>
                    </a:lnTo>
                    <a:lnTo>
                      <a:pt x="0" y="0"/>
                    </a:lnTo>
                    <a:lnTo>
                      <a:pt x="58669" y="0"/>
                    </a:lnTo>
                    <a:lnTo>
                      <a:pt x="58669" y="46725"/>
                    </a:lnTo>
                    <a:close/>
                    <a:moveTo>
                      <a:pt x="11944" y="34773"/>
                    </a:moveTo>
                    <a:lnTo>
                      <a:pt x="46717" y="34773"/>
                    </a:lnTo>
                    <a:lnTo>
                      <a:pt x="46717" y="11944"/>
                    </a:lnTo>
                    <a:lnTo>
                      <a:pt x="11944" y="11944"/>
                    </a:lnTo>
                    <a:lnTo>
                      <a:pt x="11944" y="34773"/>
                    </a:lnTo>
                    <a:close/>
                  </a:path>
                </a:pathLst>
              </a:custGeom>
              <a:solidFill>
                <a:schemeClr val="tx2"/>
              </a:solidFill>
              <a:ln w="858" cap="flat">
                <a:noFill/>
                <a:prstDash val="solid"/>
                <a:miter/>
              </a:ln>
            </p:spPr>
            <p:txBody>
              <a:bodyPr rtlCol="0" anchor="ctr"/>
              <a:lstStyle/>
              <a:p>
                <a:endParaRPr lang="en-GB" dirty="0"/>
              </a:p>
            </p:txBody>
          </p:sp>
          <p:sp>
            <p:nvSpPr>
              <p:cNvPr id="422" name="Freihandform: Form 613">
                <a:extLst>
                  <a:ext uri="{FF2B5EF4-FFF2-40B4-BE49-F238E27FC236}">
                    <a16:creationId xmlns:a16="http://schemas.microsoft.com/office/drawing/2014/main" id="{5E3FFFA1-CE44-4A2E-8E6D-69E97477CE3D}"/>
                  </a:ext>
                </a:extLst>
              </p:cNvPr>
              <p:cNvSpPr/>
              <p:nvPr/>
            </p:nvSpPr>
            <p:spPr>
              <a:xfrm>
                <a:off x="2678606" y="3495448"/>
                <a:ext cx="58668" cy="46725"/>
              </a:xfrm>
              <a:custGeom>
                <a:avLst/>
                <a:gdLst>
                  <a:gd name="connsiteX0" fmla="*/ 58669 w 58668"/>
                  <a:gd name="connsiteY0" fmla="*/ 46725 h 46725"/>
                  <a:gd name="connsiteX1" fmla="*/ 0 w 58668"/>
                  <a:gd name="connsiteY1" fmla="*/ 46725 h 46725"/>
                  <a:gd name="connsiteX2" fmla="*/ 0 w 58668"/>
                  <a:gd name="connsiteY2" fmla="*/ 0 h 46725"/>
                  <a:gd name="connsiteX3" fmla="*/ 58669 w 58668"/>
                  <a:gd name="connsiteY3" fmla="*/ 0 h 46725"/>
                  <a:gd name="connsiteX4" fmla="*/ 58669 w 58668"/>
                  <a:gd name="connsiteY4" fmla="*/ 46725 h 46725"/>
                  <a:gd name="connsiteX5" fmla="*/ 11952 w 58668"/>
                  <a:gd name="connsiteY5" fmla="*/ 34773 h 46725"/>
                  <a:gd name="connsiteX6" fmla="*/ 46734 w 58668"/>
                  <a:gd name="connsiteY6" fmla="*/ 34773 h 46725"/>
                  <a:gd name="connsiteX7" fmla="*/ 46734 w 58668"/>
                  <a:gd name="connsiteY7" fmla="*/ 11944 h 46725"/>
                  <a:gd name="connsiteX8" fmla="*/ 11952 w 58668"/>
                  <a:gd name="connsiteY8" fmla="*/ 11944 h 46725"/>
                  <a:gd name="connsiteX9" fmla="*/ 11952 w 58668"/>
                  <a:gd name="connsiteY9" fmla="*/ 34773 h 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68" h="46725">
                    <a:moveTo>
                      <a:pt x="58669" y="46725"/>
                    </a:moveTo>
                    <a:lnTo>
                      <a:pt x="0" y="46725"/>
                    </a:lnTo>
                    <a:lnTo>
                      <a:pt x="0" y="0"/>
                    </a:lnTo>
                    <a:lnTo>
                      <a:pt x="58669" y="0"/>
                    </a:lnTo>
                    <a:lnTo>
                      <a:pt x="58669" y="46725"/>
                    </a:lnTo>
                    <a:close/>
                    <a:moveTo>
                      <a:pt x="11952" y="34773"/>
                    </a:moveTo>
                    <a:lnTo>
                      <a:pt x="46734" y="34773"/>
                    </a:lnTo>
                    <a:lnTo>
                      <a:pt x="46734" y="11944"/>
                    </a:lnTo>
                    <a:lnTo>
                      <a:pt x="11952" y="11944"/>
                    </a:lnTo>
                    <a:lnTo>
                      <a:pt x="11952" y="34773"/>
                    </a:lnTo>
                    <a:close/>
                  </a:path>
                </a:pathLst>
              </a:custGeom>
              <a:solidFill>
                <a:schemeClr val="tx2"/>
              </a:solidFill>
              <a:ln w="858" cap="flat">
                <a:noFill/>
                <a:prstDash val="solid"/>
                <a:miter/>
              </a:ln>
            </p:spPr>
            <p:txBody>
              <a:bodyPr rtlCol="0" anchor="ctr"/>
              <a:lstStyle/>
              <a:p>
                <a:endParaRPr lang="en-GB" dirty="0"/>
              </a:p>
            </p:txBody>
          </p:sp>
          <p:sp>
            <p:nvSpPr>
              <p:cNvPr id="423" name="Freihandform: Form 615">
                <a:extLst>
                  <a:ext uri="{FF2B5EF4-FFF2-40B4-BE49-F238E27FC236}">
                    <a16:creationId xmlns:a16="http://schemas.microsoft.com/office/drawing/2014/main" id="{78475199-83F0-462B-AC70-E272A83ED5BB}"/>
                  </a:ext>
                </a:extLst>
              </p:cNvPr>
              <p:cNvSpPr/>
              <p:nvPr/>
            </p:nvSpPr>
            <p:spPr>
              <a:xfrm>
                <a:off x="2605121" y="3559930"/>
                <a:ext cx="58668" cy="46725"/>
              </a:xfrm>
              <a:custGeom>
                <a:avLst/>
                <a:gdLst>
                  <a:gd name="connsiteX0" fmla="*/ 58669 w 58668"/>
                  <a:gd name="connsiteY0" fmla="*/ 46725 h 46725"/>
                  <a:gd name="connsiteX1" fmla="*/ 0 w 58668"/>
                  <a:gd name="connsiteY1" fmla="*/ 46725 h 46725"/>
                  <a:gd name="connsiteX2" fmla="*/ 0 w 58668"/>
                  <a:gd name="connsiteY2" fmla="*/ 0 h 46725"/>
                  <a:gd name="connsiteX3" fmla="*/ 58669 w 58668"/>
                  <a:gd name="connsiteY3" fmla="*/ 0 h 46725"/>
                  <a:gd name="connsiteX4" fmla="*/ 58669 w 58668"/>
                  <a:gd name="connsiteY4" fmla="*/ 46725 h 46725"/>
                  <a:gd name="connsiteX5" fmla="*/ 11944 w 58668"/>
                  <a:gd name="connsiteY5" fmla="*/ 34773 h 46725"/>
                  <a:gd name="connsiteX6" fmla="*/ 46717 w 58668"/>
                  <a:gd name="connsiteY6" fmla="*/ 34773 h 46725"/>
                  <a:gd name="connsiteX7" fmla="*/ 46717 w 58668"/>
                  <a:gd name="connsiteY7" fmla="*/ 11944 h 46725"/>
                  <a:gd name="connsiteX8" fmla="*/ 11944 w 58668"/>
                  <a:gd name="connsiteY8" fmla="*/ 11944 h 46725"/>
                  <a:gd name="connsiteX9" fmla="*/ 11944 w 58668"/>
                  <a:gd name="connsiteY9" fmla="*/ 34773 h 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68" h="46725">
                    <a:moveTo>
                      <a:pt x="58669" y="46725"/>
                    </a:moveTo>
                    <a:lnTo>
                      <a:pt x="0" y="46725"/>
                    </a:lnTo>
                    <a:lnTo>
                      <a:pt x="0" y="0"/>
                    </a:lnTo>
                    <a:lnTo>
                      <a:pt x="58669" y="0"/>
                    </a:lnTo>
                    <a:lnTo>
                      <a:pt x="58669" y="46725"/>
                    </a:lnTo>
                    <a:close/>
                    <a:moveTo>
                      <a:pt x="11944" y="34773"/>
                    </a:moveTo>
                    <a:lnTo>
                      <a:pt x="46717" y="34773"/>
                    </a:lnTo>
                    <a:lnTo>
                      <a:pt x="46717" y="11944"/>
                    </a:lnTo>
                    <a:lnTo>
                      <a:pt x="11944" y="11944"/>
                    </a:lnTo>
                    <a:lnTo>
                      <a:pt x="11944" y="34773"/>
                    </a:lnTo>
                    <a:close/>
                  </a:path>
                </a:pathLst>
              </a:custGeom>
              <a:solidFill>
                <a:schemeClr val="tx2"/>
              </a:solidFill>
              <a:ln w="858" cap="flat">
                <a:noFill/>
                <a:prstDash val="solid"/>
                <a:miter/>
              </a:ln>
            </p:spPr>
            <p:txBody>
              <a:bodyPr rtlCol="0" anchor="ctr"/>
              <a:lstStyle/>
              <a:p>
                <a:endParaRPr lang="en-GB" dirty="0"/>
              </a:p>
            </p:txBody>
          </p:sp>
          <p:sp>
            <p:nvSpPr>
              <p:cNvPr id="424" name="Freihandform: Form 616">
                <a:extLst>
                  <a:ext uri="{FF2B5EF4-FFF2-40B4-BE49-F238E27FC236}">
                    <a16:creationId xmlns:a16="http://schemas.microsoft.com/office/drawing/2014/main" id="{EBB0514D-BDA7-4596-9FF9-C1C5ED86AA3B}"/>
                  </a:ext>
                </a:extLst>
              </p:cNvPr>
              <p:cNvSpPr/>
              <p:nvPr/>
            </p:nvSpPr>
            <p:spPr>
              <a:xfrm>
                <a:off x="2678606" y="3559930"/>
                <a:ext cx="58668" cy="46725"/>
              </a:xfrm>
              <a:custGeom>
                <a:avLst/>
                <a:gdLst>
                  <a:gd name="connsiteX0" fmla="*/ 58669 w 58668"/>
                  <a:gd name="connsiteY0" fmla="*/ 46725 h 46725"/>
                  <a:gd name="connsiteX1" fmla="*/ 0 w 58668"/>
                  <a:gd name="connsiteY1" fmla="*/ 46725 h 46725"/>
                  <a:gd name="connsiteX2" fmla="*/ 0 w 58668"/>
                  <a:gd name="connsiteY2" fmla="*/ 0 h 46725"/>
                  <a:gd name="connsiteX3" fmla="*/ 58669 w 58668"/>
                  <a:gd name="connsiteY3" fmla="*/ 0 h 46725"/>
                  <a:gd name="connsiteX4" fmla="*/ 58669 w 58668"/>
                  <a:gd name="connsiteY4" fmla="*/ 46725 h 46725"/>
                  <a:gd name="connsiteX5" fmla="*/ 11952 w 58668"/>
                  <a:gd name="connsiteY5" fmla="*/ 34773 h 46725"/>
                  <a:gd name="connsiteX6" fmla="*/ 46734 w 58668"/>
                  <a:gd name="connsiteY6" fmla="*/ 34773 h 46725"/>
                  <a:gd name="connsiteX7" fmla="*/ 46734 w 58668"/>
                  <a:gd name="connsiteY7" fmla="*/ 11944 h 46725"/>
                  <a:gd name="connsiteX8" fmla="*/ 11952 w 58668"/>
                  <a:gd name="connsiteY8" fmla="*/ 11944 h 46725"/>
                  <a:gd name="connsiteX9" fmla="*/ 11952 w 58668"/>
                  <a:gd name="connsiteY9" fmla="*/ 34773 h 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68" h="46725">
                    <a:moveTo>
                      <a:pt x="58669" y="46725"/>
                    </a:moveTo>
                    <a:lnTo>
                      <a:pt x="0" y="46725"/>
                    </a:lnTo>
                    <a:lnTo>
                      <a:pt x="0" y="0"/>
                    </a:lnTo>
                    <a:lnTo>
                      <a:pt x="58669" y="0"/>
                    </a:lnTo>
                    <a:lnTo>
                      <a:pt x="58669" y="46725"/>
                    </a:lnTo>
                    <a:close/>
                    <a:moveTo>
                      <a:pt x="11952" y="34773"/>
                    </a:moveTo>
                    <a:lnTo>
                      <a:pt x="46734" y="34773"/>
                    </a:lnTo>
                    <a:lnTo>
                      <a:pt x="46734" y="11944"/>
                    </a:lnTo>
                    <a:lnTo>
                      <a:pt x="11952" y="11944"/>
                    </a:lnTo>
                    <a:lnTo>
                      <a:pt x="11952" y="34773"/>
                    </a:lnTo>
                    <a:close/>
                  </a:path>
                </a:pathLst>
              </a:custGeom>
              <a:solidFill>
                <a:schemeClr val="tx2"/>
              </a:solidFill>
              <a:ln w="858" cap="flat">
                <a:noFill/>
                <a:prstDash val="solid"/>
                <a:miter/>
              </a:ln>
            </p:spPr>
            <p:txBody>
              <a:bodyPr rtlCol="0" anchor="ctr"/>
              <a:lstStyle/>
              <a:p>
                <a:endParaRPr lang="en-GB" dirty="0"/>
              </a:p>
            </p:txBody>
          </p:sp>
          <p:sp>
            <p:nvSpPr>
              <p:cNvPr id="425" name="Freihandform: Form 617">
                <a:extLst>
                  <a:ext uri="{FF2B5EF4-FFF2-40B4-BE49-F238E27FC236}">
                    <a16:creationId xmlns:a16="http://schemas.microsoft.com/office/drawing/2014/main" id="{97FF42AC-7C96-4451-8F9E-EC699580CCE6}"/>
                  </a:ext>
                </a:extLst>
              </p:cNvPr>
              <p:cNvSpPr/>
              <p:nvPr/>
            </p:nvSpPr>
            <p:spPr>
              <a:xfrm>
                <a:off x="2752082" y="3559930"/>
                <a:ext cx="58668" cy="46725"/>
              </a:xfrm>
              <a:custGeom>
                <a:avLst/>
                <a:gdLst>
                  <a:gd name="connsiteX0" fmla="*/ 58669 w 58668"/>
                  <a:gd name="connsiteY0" fmla="*/ 46725 h 46725"/>
                  <a:gd name="connsiteX1" fmla="*/ 0 w 58668"/>
                  <a:gd name="connsiteY1" fmla="*/ 46725 h 46725"/>
                  <a:gd name="connsiteX2" fmla="*/ 0 w 58668"/>
                  <a:gd name="connsiteY2" fmla="*/ 0 h 46725"/>
                  <a:gd name="connsiteX3" fmla="*/ 58669 w 58668"/>
                  <a:gd name="connsiteY3" fmla="*/ 0 h 46725"/>
                  <a:gd name="connsiteX4" fmla="*/ 58669 w 58668"/>
                  <a:gd name="connsiteY4" fmla="*/ 46725 h 46725"/>
                  <a:gd name="connsiteX5" fmla="*/ 11944 w 58668"/>
                  <a:gd name="connsiteY5" fmla="*/ 34773 h 46725"/>
                  <a:gd name="connsiteX6" fmla="*/ 46717 w 58668"/>
                  <a:gd name="connsiteY6" fmla="*/ 34773 h 46725"/>
                  <a:gd name="connsiteX7" fmla="*/ 46717 w 58668"/>
                  <a:gd name="connsiteY7" fmla="*/ 11944 h 46725"/>
                  <a:gd name="connsiteX8" fmla="*/ 11944 w 58668"/>
                  <a:gd name="connsiteY8" fmla="*/ 11944 h 46725"/>
                  <a:gd name="connsiteX9" fmla="*/ 11944 w 58668"/>
                  <a:gd name="connsiteY9" fmla="*/ 34773 h 4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68" h="46725">
                    <a:moveTo>
                      <a:pt x="58669" y="46725"/>
                    </a:moveTo>
                    <a:lnTo>
                      <a:pt x="0" y="46725"/>
                    </a:lnTo>
                    <a:lnTo>
                      <a:pt x="0" y="0"/>
                    </a:lnTo>
                    <a:lnTo>
                      <a:pt x="58669" y="0"/>
                    </a:lnTo>
                    <a:lnTo>
                      <a:pt x="58669" y="46725"/>
                    </a:lnTo>
                    <a:close/>
                    <a:moveTo>
                      <a:pt x="11944" y="34773"/>
                    </a:moveTo>
                    <a:lnTo>
                      <a:pt x="46717" y="34773"/>
                    </a:lnTo>
                    <a:lnTo>
                      <a:pt x="46717" y="11944"/>
                    </a:lnTo>
                    <a:lnTo>
                      <a:pt x="11944" y="11944"/>
                    </a:lnTo>
                    <a:lnTo>
                      <a:pt x="11944" y="34773"/>
                    </a:lnTo>
                    <a:close/>
                  </a:path>
                </a:pathLst>
              </a:custGeom>
              <a:solidFill>
                <a:schemeClr val="tx2"/>
              </a:solidFill>
              <a:ln w="858" cap="flat">
                <a:noFill/>
                <a:prstDash val="solid"/>
                <a:miter/>
              </a:ln>
            </p:spPr>
            <p:txBody>
              <a:bodyPr rtlCol="0" anchor="ctr"/>
              <a:lstStyle/>
              <a:p>
                <a:endParaRPr lang="en-GB" dirty="0"/>
              </a:p>
            </p:txBody>
          </p:sp>
        </p:grpSp>
        <p:grpSp>
          <p:nvGrpSpPr>
            <p:cNvPr id="406" name="Gruppieren 826">
              <a:extLst>
                <a:ext uri="{FF2B5EF4-FFF2-40B4-BE49-F238E27FC236}">
                  <a16:creationId xmlns:a16="http://schemas.microsoft.com/office/drawing/2014/main" id="{9E5A72AC-1635-4978-AF05-BF61D651C763}"/>
                </a:ext>
              </a:extLst>
            </p:cNvPr>
            <p:cNvGrpSpPr/>
            <p:nvPr/>
          </p:nvGrpSpPr>
          <p:grpSpPr>
            <a:xfrm>
              <a:off x="2840820" y="1732192"/>
              <a:ext cx="266154" cy="139585"/>
              <a:chOff x="2752082" y="3415515"/>
              <a:chExt cx="270953" cy="142102"/>
            </a:xfrm>
          </p:grpSpPr>
          <p:grpSp>
            <p:nvGrpSpPr>
              <p:cNvPr id="407" name="Gruppieren 824">
                <a:extLst>
                  <a:ext uri="{FF2B5EF4-FFF2-40B4-BE49-F238E27FC236}">
                    <a16:creationId xmlns:a16="http://schemas.microsoft.com/office/drawing/2014/main" id="{7270E62F-62EE-4873-8CB8-A3E68B6D5B24}"/>
                  </a:ext>
                </a:extLst>
              </p:cNvPr>
              <p:cNvGrpSpPr/>
              <p:nvPr/>
            </p:nvGrpSpPr>
            <p:grpSpPr>
              <a:xfrm>
                <a:off x="2752082" y="3415515"/>
                <a:ext cx="270953" cy="142102"/>
                <a:chOff x="2752082" y="3415515"/>
                <a:chExt cx="270953" cy="142102"/>
              </a:xfrm>
            </p:grpSpPr>
            <p:sp>
              <p:nvSpPr>
                <p:cNvPr id="409" name="Freihandform: Form 614">
                  <a:extLst>
                    <a:ext uri="{FF2B5EF4-FFF2-40B4-BE49-F238E27FC236}">
                      <a16:creationId xmlns:a16="http://schemas.microsoft.com/office/drawing/2014/main" id="{2F2BD497-5F33-4FBF-9876-C0110BFB93C5}"/>
                    </a:ext>
                  </a:extLst>
                </p:cNvPr>
                <p:cNvSpPr/>
                <p:nvPr/>
              </p:nvSpPr>
              <p:spPr>
                <a:xfrm>
                  <a:off x="2752082" y="3430967"/>
                  <a:ext cx="58668" cy="111207"/>
                </a:xfrm>
                <a:custGeom>
                  <a:avLst/>
                  <a:gdLst>
                    <a:gd name="connsiteX0" fmla="*/ 58669 w 58668"/>
                    <a:gd name="connsiteY0" fmla="*/ 111207 h 111207"/>
                    <a:gd name="connsiteX1" fmla="*/ 0 w 58668"/>
                    <a:gd name="connsiteY1" fmla="*/ 111207 h 111207"/>
                    <a:gd name="connsiteX2" fmla="*/ 0 w 58668"/>
                    <a:gd name="connsiteY2" fmla="*/ 0 h 111207"/>
                    <a:gd name="connsiteX3" fmla="*/ 58669 w 58668"/>
                    <a:gd name="connsiteY3" fmla="*/ 0 h 111207"/>
                    <a:gd name="connsiteX4" fmla="*/ 58669 w 58668"/>
                    <a:gd name="connsiteY4" fmla="*/ 18840 h 111207"/>
                    <a:gd name="connsiteX5" fmla="*/ 46725 w 58668"/>
                    <a:gd name="connsiteY5" fmla="*/ 18840 h 111207"/>
                    <a:gd name="connsiteX6" fmla="*/ 46725 w 58668"/>
                    <a:gd name="connsiteY6" fmla="*/ 11944 h 111207"/>
                    <a:gd name="connsiteX7" fmla="*/ 11944 w 58668"/>
                    <a:gd name="connsiteY7" fmla="*/ 11944 h 111207"/>
                    <a:gd name="connsiteX8" fmla="*/ 11944 w 58668"/>
                    <a:gd name="connsiteY8" fmla="*/ 99255 h 111207"/>
                    <a:gd name="connsiteX9" fmla="*/ 46725 w 58668"/>
                    <a:gd name="connsiteY9" fmla="*/ 99255 h 111207"/>
                    <a:gd name="connsiteX10" fmla="*/ 46725 w 58668"/>
                    <a:gd name="connsiteY10" fmla="*/ 92359 h 111207"/>
                    <a:gd name="connsiteX11" fmla="*/ 58669 w 58668"/>
                    <a:gd name="connsiteY11" fmla="*/ 92359 h 11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668" h="111207">
                      <a:moveTo>
                        <a:pt x="58669" y="111207"/>
                      </a:moveTo>
                      <a:lnTo>
                        <a:pt x="0" y="111207"/>
                      </a:lnTo>
                      <a:lnTo>
                        <a:pt x="0" y="0"/>
                      </a:lnTo>
                      <a:lnTo>
                        <a:pt x="58669" y="0"/>
                      </a:lnTo>
                      <a:lnTo>
                        <a:pt x="58669" y="18840"/>
                      </a:lnTo>
                      <a:lnTo>
                        <a:pt x="46725" y="18840"/>
                      </a:lnTo>
                      <a:lnTo>
                        <a:pt x="46725" y="11944"/>
                      </a:lnTo>
                      <a:lnTo>
                        <a:pt x="11944" y="11944"/>
                      </a:lnTo>
                      <a:lnTo>
                        <a:pt x="11944" y="99255"/>
                      </a:lnTo>
                      <a:lnTo>
                        <a:pt x="46725" y="99255"/>
                      </a:lnTo>
                      <a:lnTo>
                        <a:pt x="46725" y="92359"/>
                      </a:lnTo>
                      <a:lnTo>
                        <a:pt x="58669" y="92359"/>
                      </a:lnTo>
                      <a:close/>
                    </a:path>
                  </a:pathLst>
                </a:custGeom>
                <a:solidFill>
                  <a:schemeClr val="accent1"/>
                </a:solidFill>
                <a:ln w="858" cap="flat">
                  <a:noFill/>
                  <a:prstDash val="solid"/>
                  <a:miter/>
                </a:ln>
              </p:spPr>
              <p:txBody>
                <a:bodyPr rtlCol="0" anchor="ctr"/>
                <a:lstStyle/>
                <a:p>
                  <a:endParaRPr lang="en-GB" dirty="0"/>
                </a:p>
              </p:txBody>
            </p:sp>
            <p:sp>
              <p:nvSpPr>
                <p:cNvPr id="410" name="Freihandform: Form 618">
                  <a:extLst>
                    <a:ext uri="{FF2B5EF4-FFF2-40B4-BE49-F238E27FC236}">
                      <a16:creationId xmlns:a16="http://schemas.microsoft.com/office/drawing/2014/main" id="{8E7EDEE9-E287-4D1F-A56B-E129B7CA9F43}"/>
                    </a:ext>
                  </a:extLst>
                </p:cNvPr>
                <p:cNvSpPr/>
                <p:nvPr/>
              </p:nvSpPr>
              <p:spPr>
                <a:xfrm>
                  <a:off x="2781412" y="3415515"/>
                  <a:ext cx="241623" cy="142102"/>
                </a:xfrm>
                <a:custGeom>
                  <a:avLst/>
                  <a:gdLst>
                    <a:gd name="connsiteX0" fmla="*/ 170564 w 241623"/>
                    <a:gd name="connsiteY0" fmla="*/ 142102 h 142102"/>
                    <a:gd name="connsiteX1" fmla="*/ 103632 w 241623"/>
                    <a:gd name="connsiteY1" fmla="*/ 94758 h 142102"/>
                    <a:gd name="connsiteX2" fmla="*/ 0 w 241623"/>
                    <a:gd name="connsiteY2" fmla="*/ 94758 h 142102"/>
                    <a:gd name="connsiteX3" fmla="*/ 0 w 241623"/>
                    <a:gd name="connsiteY3" fmla="*/ 82814 h 142102"/>
                    <a:gd name="connsiteX4" fmla="*/ 112514 w 241623"/>
                    <a:gd name="connsiteY4" fmla="*/ 82814 h 142102"/>
                    <a:gd name="connsiteX5" fmla="*/ 113752 w 241623"/>
                    <a:gd name="connsiteY5" fmla="*/ 87157 h 142102"/>
                    <a:gd name="connsiteX6" fmla="*/ 170564 w 241623"/>
                    <a:gd name="connsiteY6" fmla="*/ 130159 h 142102"/>
                    <a:gd name="connsiteX7" fmla="*/ 229680 w 241623"/>
                    <a:gd name="connsiteY7" fmla="*/ 71060 h 142102"/>
                    <a:gd name="connsiteX8" fmla="*/ 170564 w 241623"/>
                    <a:gd name="connsiteY8" fmla="*/ 11944 h 142102"/>
                    <a:gd name="connsiteX9" fmla="*/ 113752 w 241623"/>
                    <a:gd name="connsiteY9" fmla="*/ 54946 h 142102"/>
                    <a:gd name="connsiteX10" fmla="*/ 112514 w 241623"/>
                    <a:gd name="connsiteY10" fmla="*/ 59288 h 142102"/>
                    <a:gd name="connsiteX11" fmla="*/ 0 w 241623"/>
                    <a:gd name="connsiteY11" fmla="*/ 59288 h 142102"/>
                    <a:gd name="connsiteX12" fmla="*/ 0 w 241623"/>
                    <a:gd name="connsiteY12" fmla="*/ 47345 h 142102"/>
                    <a:gd name="connsiteX13" fmla="*/ 103632 w 241623"/>
                    <a:gd name="connsiteY13" fmla="*/ 47345 h 142102"/>
                    <a:gd name="connsiteX14" fmla="*/ 170564 w 241623"/>
                    <a:gd name="connsiteY14" fmla="*/ 0 h 142102"/>
                    <a:gd name="connsiteX15" fmla="*/ 241624 w 241623"/>
                    <a:gd name="connsiteY15" fmla="*/ 71060 h 142102"/>
                    <a:gd name="connsiteX16" fmla="*/ 170564 w 241623"/>
                    <a:gd name="connsiteY16" fmla="*/ 142102 h 142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1623" h="142102">
                      <a:moveTo>
                        <a:pt x="170564" y="142102"/>
                      </a:moveTo>
                      <a:cubicBezTo>
                        <a:pt x="140486" y="142102"/>
                        <a:pt x="113597" y="122850"/>
                        <a:pt x="103632" y="94758"/>
                      </a:cubicBezTo>
                      <a:lnTo>
                        <a:pt x="0" y="94758"/>
                      </a:lnTo>
                      <a:lnTo>
                        <a:pt x="0" y="82814"/>
                      </a:lnTo>
                      <a:lnTo>
                        <a:pt x="112514" y="82814"/>
                      </a:lnTo>
                      <a:lnTo>
                        <a:pt x="113752" y="87157"/>
                      </a:lnTo>
                      <a:cubicBezTo>
                        <a:pt x="120915" y="112471"/>
                        <a:pt x="144286" y="130159"/>
                        <a:pt x="170564" y="130159"/>
                      </a:cubicBezTo>
                      <a:cubicBezTo>
                        <a:pt x="203162" y="130159"/>
                        <a:pt x="229680" y="103640"/>
                        <a:pt x="229680" y="71060"/>
                      </a:cubicBezTo>
                      <a:cubicBezTo>
                        <a:pt x="229680" y="38462"/>
                        <a:pt x="203162" y="11944"/>
                        <a:pt x="170564" y="11944"/>
                      </a:cubicBezTo>
                      <a:cubicBezTo>
                        <a:pt x="144278" y="11944"/>
                        <a:pt x="120915" y="29631"/>
                        <a:pt x="113752" y="54946"/>
                      </a:cubicBezTo>
                      <a:lnTo>
                        <a:pt x="112514" y="59288"/>
                      </a:lnTo>
                      <a:lnTo>
                        <a:pt x="0" y="59288"/>
                      </a:lnTo>
                      <a:lnTo>
                        <a:pt x="0" y="47345"/>
                      </a:lnTo>
                      <a:lnTo>
                        <a:pt x="103632" y="47345"/>
                      </a:lnTo>
                      <a:cubicBezTo>
                        <a:pt x="113597" y="19253"/>
                        <a:pt x="140486" y="0"/>
                        <a:pt x="170564" y="0"/>
                      </a:cubicBezTo>
                      <a:cubicBezTo>
                        <a:pt x="209748" y="0"/>
                        <a:pt x="241624" y="31875"/>
                        <a:pt x="241624" y="71060"/>
                      </a:cubicBezTo>
                      <a:cubicBezTo>
                        <a:pt x="241624" y="110227"/>
                        <a:pt x="209748" y="142102"/>
                        <a:pt x="170564" y="142102"/>
                      </a:cubicBezTo>
                      <a:close/>
                    </a:path>
                  </a:pathLst>
                </a:custGeom>
                <a:solidFill>
                  <a:schemeClr val="accent1"/>
                </a:solidFill>
                <a:ln w="858" cap="flat">
                  <a:noFill/>
                  <a:prstDash val="solid"/>
                  <a:miter/>
                </a:ln>
              </p:spPr>
              <p:txBody>
                <a:bodyPr rtlCol="0" anchor="ctr"/>
                <a:lstStyle/>
                <a:p>
                  <a:endParaRPr lang="en-GB" dirty="0"/>
                </a:p>
              </p:txBody>
            </p:sp>
          </p:grpSp>
          <p:sp>
            <p:nvSpPr>
              <p:cNvPr id="408" name="Freihandform: Form 619">
                <a:extLst>
                  <a:ext uri="{FF2B5EF4-FFF2-40B4-BE49-F238E27FC236}">
                    <a16:creationId xmlns:a16="http://schemas.microsoft.com/office/drawing/2014/main" id="{93883179-4328-4063-9747-6B168D71BF83}"/>
                  </a:ext>
                </a:extLst>
              </p:cNvPr>
              <p:cNvSpPr/>
              <p:nvPr/>
            </p:nvSpPr>
            <p:spPr>
              <a:xfrm>
                <a:off x="2944856" y="3463676"/>
                <a:ext cx="45762" cy="45770"/>
              </a:xfrm>
              <a:custGeom>
                <a:avLst/>
                <a:gdLst>
                  <a:gd name="connsiteX0" fmla="*/ 22881 w 45762"/>
                  <a:gd name="connsiteY0" fmla="*/ 45771 h 45770"/>
                  <a:gd name="connsiteX1" fmla="*/ 0 w 45762"/>
                  <a:gd name="connsiteY1" fmla="*/ 22890 h 45770"/>
                  <a:gd name="connsiteX2" fmla="*/ 22881 w 45762"/>
                  <a:gd name="connsiteY2" fmla="*/ 0 h 45770"/>
                  <a:gd name="connsiteX3" fmla="*/ 45762 w 45762"/>
                  <a:gd name="connsiteY3" fmla="*/ 22890 h 45770"/>
                  <a:gd name="connsiteX4" fmla="*/ 22881 w 45762"/>
                  <a:gd name="connsiteY4" fmla="*/ 45771 h 45770"/>
                  <a:gd name="connsiteX5" fmla="*/ 22881 w 45762"/>
                  <a:gd name="connsiteY5" fmla="*/ 11952 h 45770"/>
                  <a:gd name="connsiteX6" fmla="*/ 11952 w 45762"/>
                  <a:gd name="connsiteY6" fmla="*/ 22898 h 45770"/>
                  <a:gd name="connsiteX7" fmla="*/ 22881 w 45762"/>
                  <a:gd name="connsiteY7" fmla="*/ 33827 h 45770"/>
                  <a:gd name="connsiteX8" fmla="*/ 33810 w 45762"/>
                  <a:gd name="connsiteY8" fmla="*/ 22898 h 45770"/>
                  <a:gd name="connsiteX9" fmla="*/ 22881 w 45762"/>
                  <a:gd name="connsiteY9" fmla="*/ 11952 h 45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762" h="45770">
                    <a:moveTo>
                      <a:pt x="22881" y="45771"/>
                    </a:moveTo>
                    <a:cubicBezTo>
                      <a:pt x="10267" y="45771"/>
                      <a:pt x="0" y="35504"/>
                      <a:pt x="0" y="22890"/>
                    </a:cubicBezTo>
                    <a:cubicBezTo>
                      <a:pt x="0" y="10267"/>
                      <a:pt x="10267" y="0"/>
                      <a:pt x="22881" y="0"/>
                    </a:cubicBezTo>
                    <a:cubicBezTo>
                      <a:pt x="35495" y="0"/>
                      <a:pt x="45762" y="10267"/>
                      <a:pt x="45762" y="22890"/>
                    </a:cubicBezTo>
                    <a:cubicBezTo>
                      <a:pt x="45762" y="35504"/>
                      <a:pt x="35495" y="45771"/>
                      <a:pt x="22881" y="45771"/>
                    </a:cubicBezTo>
                    <a:close/>
                    <a:moveTo>
                      <a:pt x="22881" y="11952"/>
                    </a:moveTo>
                    <a:cubicBezTo>
                      <a:pt x="16853" y="11952"/>
                      <a:pt x="11952" y="16862"/>
                      <a:pt x="11952" y="22898"/>
                    </a:cubicBezTo>
                    <a:cubicBezTo>
                      <a:pt x="11952" y="28926"/>
                      <a:pt x="16853" y="33827"/>
                      <a:pt x="22881" y="33827"/>
                    </a:cubicBezTo>
                    <a:cubicBezTo>
                      <a:pt x="28909" y="33827"/>
                      <a:pt x="33810" y="28926"/>
                      <a:pt x="33810" y="22898"/>
                    </a:cubicBezTo>
                    <a:cubicBezTo>
                      <a:pt x="33810" y="16862"/>
                      <a:pt x="28917" y="11952"/>
                      <a:pt x="22881" y="11952"/>
                    </a:cubicBezTo>
                    <a:close/>
                  </a:path>
                </a:pathLst>
              </a:custGeom>
              <a:solidFill>
                <a:schemeClr val="accent1"/>
              </a:solidFill>
              <a:ln w="858" cap="flat">
                <a:noFill/>
                <a:prstDash val="solid"/>
                <a:miter/>
              </a:ln>
            </p:spPr>
            <p:txBody>
              <a:bodyPr rtlCol="0" anchor="ctr"/>
              <a:lstStyle/>
              <a:p>
                <a:endParaRPr lang="en-GB" dirty="0"/>
              </a:p>
            </p:txBody>
          </p:sp>
        </p:grpSp>
      </p:grpSp>
      <p:grpSp>
        <p:nvGrpSpPr>
          <p:cNvPr id="39" name="Group 38">
            <a:extLst>
              <a:ext uri="{FF2B5EF4-FFF2-40B4-BE49-F238E27FC236}">
                <a16:creationId xmlns:a16="http://schemas.microsoft.com/office/drawing/2014/main" id="{D7AF0945-D2C5-46BB-9827-95372B154154}"/>
              </a:ext>
            </a:extLst>
          </p:cNvPr>
          <p:cNvGrpSpPr/>
          <p:nvPr/>
        </p:nvGrpSpPr>
        <p:grpSpPr>
          <a:xfrm>
            <a:off x="1634314" y="1585984"/>
            <a:ext cx="410341" cy="432000"/>
            <a:chOff x="1634314" y="1585984"/>
            <a:chExt cx="410341" cy="432000"/>
          </a:xfrm>
        </p:grpSpPr>
        <p:grpSp>
          <p:nvGrpSpPr>
            <p:cNvPr id="429" name="Grafik 7">
              <a:extLst>
                <a:ext uri="{FF2B5EF4-FFF2-40B4-BE49-F238E27FC236}">
                  <a16:creationId xmlns:a16="http://schemas.microsoft.com/office/drawing/2014/main" id="{5C53B811-DCCA-422B-820B-B6CB14A8B071}"/>
                </a:ext>
              </a:extLst>
            </p:cNvPr>
            <p:cNvGrpSpPr/>
            <p:nvPr/>
          </p:nvGrpSpPr>
          <p:grpSpPr>
            <a:xfrm>
              <a:off x="1634314" y="1585984"/>
              <a:ext cx="410341" cy="432000"/>
              <a:chOff x="3386752" y="2441130"/>
              <a:chExt cx="400536" cy="421677"/>
            </a:xfrm>
            <a:solidFill>
              <a:srgbClr val="4D4E53"/>
            </a:solidFill>
          </p:grpSpPr>
          <p:sp>
            <p:nvSpPr>
              <p:cNvPr id="439" name="Freihandform: Form 716">
                <a:extLst>
                  <a:ext uri="{FF2B5EF4-FFF2-40B4-BE49-F238E27FC236}">
                    <a16:creationId xmlns:a16="http://schemas.microsoft.com/office/drawing/2014/main" id="{31191C33-E96F-4C47-BB45-B4733C9B54D2}"/>
                  </a:ext>
                </a:extLst>
              </p:cNvPr>
              <p:cNvSpPr/>
              <p:nvPr/>
            </p:nvSpPr>
            <p:spPr>
              <a:xfrm>
                <a:off x="3389882" y="2623832"/>
                <a:ext cx="394284" cy="132858"/>
              </a:xfrm>
              <a:custGeom>
                <a:avLst/>
                <a:gdLst>
                  <a:gd name="connsiteX0" fmla="*/ 197142 w 394284"/>
                  <a:gd name="connsiteY0" fmla="*/ 132859 h 132858"/>
                  <a:gd name="connsiteX1" fmla="*/ 111267 w 394284"/>
                  <a:gd name="connsiteY1" fmla="*/ 101800 h 132858"/>
                  <a:gd name="connsiteX2" fmla="*/ 0 w 394284"/>
                  <a:gd name="connsiteY2" fmla="*/ 9183 h 132858"/>
                  <a:gd name="connsiteX3" fmla="*/ 7653 w 394284"/>
                  <a:gd name="connsiteY3" fmla="*/ 0 h 132858"/>
                  <a:gd name="connsiteX4" fmla="*/ 118920 w 394284"/>
                  <a:gd name="connsiteY4" fmla="*/ 92617 h 132858"/>
                  <a:gd name="connsiteX5" fmla="*/ 275356 w 394284"/>
                  <a:gd name="connsiteY5" fmla="*/ 92617 h 132858"/>
                  <a:gd name="connsiteX6" fmla="*/ 386632 w 394284"/>
                  <a:gd name="connsiteY6" fmla="*/ 0 h 132858"/>
                  <a:gd name="connsiteX7" fmla="*/ 394285 w 394284"/>
                  <a:gd name="connsiteY7" fmla="*/ 9183 h 132858"/>
                  <a:gd name="connsiteX8" fmla="*/ 283009 w 394284"/>
                  <a:gd name="connsiteY8" fmla="*/ 101800 h 132858"/>
                  <a:gd name="connsiteX9" fmla="*/ 197142 w 394284"/>
                  <a:gd name="connsiteY9" fmla="*/ 132859 h 13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4284" h="132858">
                    <a:moveTo>
                      <a:pt x="197142" y="132859"/>
                    </a:moveTo>
                    <a:cubicBezTo>
                      <a:pt x="166634" y="132859"/>
                      <a:pt x="136152" y="122506"/>
                      <a:pt x="111267" y="101800"/>
                    </a:cubicBezTo>
                    <a:lnTo>
                      <a:pt x="0" y="9183"/>
                    </a:lnTo>
                    <a:lnTo>
                      <a:pt x="7653" y="0"/>
                    </a:lnTo>
                    <a:lnTo>
                      <a:pt x="118920" y="92617"/>
                    </a:lnTo>
                    <a:cubicBezTo>
                      <a:pt x="164252" y="130365"/>
                      <a:pt x="230067" y="130330"/>
                      <a:pt x="275356" y="92617"/>
                    </a:cubicBezTo>
                    <a:lnTo>
                      <a:pt x="386632" y="0"/>
                    </a:lnTo>
                    <a:lnTo>
                      <a:pt x="394285" y="9183"/>
                    </a:lnTo>
                    <a:lnTo>
                      <a:pt x="283009" y="101800"/>
                    </a:lnTo>
                    <a:cubicBezTo>
                      <a:pt x="258125" y="122497"/>
                      <a:pt x="227633" y="132859"/>
                      <a:pt x="197142" y="132859"/>
                    </a:cubicBezTo>
                    <a:close/>
                  </a:path>
                </a:pathLst>
              </a:custGeom>
              <a:solidFill>
                <a:schemeClr val="tx2"/>
              </a:solidFill>
              <a:ln w="858" cap="flat">
                <a:noFill/>
                <a:prstDash val="solid"/>
                <a:miter/>
              </a:ln>
            </p:spPr>
            <p:txBody>
              <a:bodyPr rtlCol="0" anchor="ctr"/>
              <a:lstStyle/>
              <a:p>
                <a:endParaRPr lang="en-GB" dirty="0"/>
              </a:p>
            </p:txBody>
          </p:sp>
          <p:grpSp>
            <p:nvGrpSpPr>
              <p:cNvPr id="440" name="Grafik 7">
                <a:extLst>
                  <a:ext uri="{FF2B5EF4-FFF2-40B4-BE49-F238E27FC236}">
                    <a16:creationId xmlns:a16="http://schemas.microsoft.com/office/drawing/2014/main" id="{A24C0E19-3EF5-48A2-A784-4E937A89BE15}"/>
                  </a:ext>
                </a:extLst>
              </p:cNvPr>
              <p:cNvGrpSpPr/>
              <p:nvPr/>
            </p:nvGrpSpPr>
            <p:grpSpPr>
              <a:xfrm>
                <a:off x="3423353" y="2724964"/>
                <a:ext cx="327511" cy="102098"/>
                <a:chOff x="3423353" y="2724964"/>
                <a:chExt cx="327511" cy="102098"/>
              </a:xfrm>
              <a:solidFill>
                <a:srgbClr val="4D4E53"/>
              </a:solidFill>
            </p:grpSpPr>
            <p:sp>
              <p:nvSpPr>
                <p:cNvPr id="448" name="Freihandform: Form 718">
                  <a:extLst>
                    <a:ext uri="{FF2B5EF4-FFF2-40B4-BE49-F238E27FC236}">
                      <a16:creationId xmlns:a16="http://schemas.microsoft.com/office/drawing/2014/main" id="{380127F6-1395-4ECB-AD71-7BBBE8B12ECE}"/>
                    </a:ext>
                  </a:extLst>
                </p:cNvPr>
                <p:cNvSpPr/>
                <p:nvPr/>
              </p:nvSpPr>
              <p:spPr>
                <a:xfrm rot="-2825700">
                  <a:off x="3407279" y="2769979"/>
                  <a:ext cx="128114" cy="11943"/>
                </a:xfrm>
                <a:custGeom>
                  <a:avLst/>
                  <a:gdLst>
                    <a:gd name="connsiteX0" fmla="*/ 0 w 128114"/>
                    <a:gd name="connsiteY0" fmla="*/ 0 h 11943"/>
                    <a:gd name="connsiteX1" fmla="*/ 128115 w 128114"/>
                    <a:gd name="connsiteY1" fmla="*/ 0 h 11943"/>
                    <a:gd name="connsiteX2" fmla="*/ 128115 w 128114"/>
                    <a:gd name="connsiteY2" fmla="*/ 11944 h 11943"/>
                    <a:gd name="connsiteX3" fmla="*/ 0 w 128114"/>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28114" h="11943">
                      <a:moveTo>
                        <a:pt x="0" y="0"/>
                      </a:moveTo>
                      <a:lnTo>
                        <a:pt x="128115" y="0"/>
                      </a:lnTo>
                      <a:lnTo>
                        <a:pt x="128115" y="11944"/>
                      </a:lnTo>
                      <a:lnTo>
                        <a:pt x="0" y="11944"/>
                      </a:lnTo>
                      <a:close/>
                    </a:path>
                  </a:pathLst>
                </a:custGeom>
                <a:solidFill>
                  <a:schemeClr val="tx2"/>
                </a:solidFill>
                <a:ln w="858" cap="flat">
                  <a:noFill/>
                  <a:prstDash val="solid"/>
                  <a:miter/>
                </a:ln>
              </p:spPr>
              <p:txBody>
                <a:bodyPr rtlCol="0" anchor="ctr"/>
                <a:lstStyle/>
                <a:p>
                  <a:endParaRPr lang="en-GB" dirty="0"/>
                </a:p>
              </p:txBody>
            </p:sp>
            <p:sp>
              <p:nvSpPr>
                <p:cNvPr id="449" name="Freihandform: Form 719">
                  <a:extLst>
                    <a:ext uri="{FF2B5EF4-FFF2-40B4-BE49-F238E27FC236}">
                      <a16:creationId xmlns:a16="http://schemas.microsoft.com/office/drawing/2014/main" id="{47520634-3CEE-44BB-A776-92C6FD9D23D4}"/>
                    </a:ext>
                  </a:extLst>
                </p:cNvPr>
                <p:cNvSpPr/>
                <p:nvPr/>
              </p:nvSpPr>
              <p:spPr>
                <a:xfrm rot="-2574300">
                  <a:off x="3696909" y="2712018"/>
                  <a:ext cx="11943" cy="128114"/>
                </a:xfrm>
                <a:custGeom>
                  <a:avLst/>
                  <a:gdLst>
                    <a:gd name="connsiteX0" fmla="*/ 0 w 11943"/>
                    <a:gd name="connsiteY0" fmla="*/ 0 h 128114"/>
                    <a:gd name="connsiteX1" fmla="*/ 11944 w 11943"/>
                    <a:gd name="connsiteY1" fmla="*/ 0 h 128114"/>
                    <a:gd name="connsiteX2" fmla="*/ 11944 w 11943"/>
                    <a:gd name="connsiteY2" fmla="*/ 128115 h 128114"/>
                    <a:gd name="connsiteX3" fmla="*/ 0 w 11943"/>
                    <a:gd name="connsiteY3" fmla="*/ 128115 h 128114"/>
                  </a:gdLst>
                  <a:ahLst/>
                  <a:cxnLst>
                    <a:cxn ang="0">
                      <a:pos x="connsiteX0" y="connsiteY0"/>
                    </a:cxn>
                    <a:cxn ang="0">
                      <a:pos x="connsiteX1" y="connsiteY1"/>
                    </a:cxn>
                    <a:cxn ang="0">
                      <a:pos x="connsiteX2" y="connsiteY2"/>
                    </a:cxn>
                    <a:cxn ang="0">
                      <a:pos x="connsiteX3" y="connsiteY3"/>
                    </a:cxn>
                  </a:cxnLst>
                  <a:rect l="l" t="t" r="r" b="b"/>
                  <a:pathLst>
                    <a:path w="11943" h="128114">
                      <a:moveTo>
                        <a:pt x="0" y="0"/>
                      </a:moveTo>
                      <a:lnTo>
                        <a:pt x="11944" y="0"/>
                      </a:lnTo>
                      <a:lnTo>
                        <a:pt x="11944" y="128115"/>
                      </a:lnTo>
                      <a:lnTo>
                        <a:pt x="0" y="128115"/>
                      </a:lnTo>
                      <a:close/>
                    </a:path>
                  </a:pathLst>
                </a:custGeom>
                <a:solidFill>
                  <a:schemeClr val="tx2"/>
                </a:solidFill>
                <a:ln w="858" cap="flat">
                  <a:noFill/>
                  <a:prstDash val="solid"/>
                  <a:miter/>
                </a:ln>
              </p:spPr>
              <p:txBody>
                <a:bodyPr rtlCol="0" anchor="ctr"/>
                <a:lstStyle/>
                <a:p>
                  <a:endParaRPr lang="en-GB" dirty="0"/>
                </a:p>
              </p:txBody>
            </p:sp>
          </p:grpSp>
          <p:sp>
            <p:nvSpPr>
              <p:cNvPr id="441" name="Freihandform: Form 720">
                <a:extLst>
                  <a:ext uri="{FF2B5EF4-FFF2-40B4-BE49-F238E27FC236}">
                    <a16:creationId xmlns:a16="http://schemas.microsoft.com/office/drawing/2014/main" id="{47439B4D-0C3B-4616-9B63-0F7BA21F16B6}"/>
                  </a:ext>
                </a:extLst>
              </p:cNvPr>
              <p:cNvSpPr/>
              <p:nvPr/>
            </p:nvSpPr>
            <p:spPr>
              <a:xfrm>
                <a:off x="3444957" y="2502719"/>
                <a:ext cx="287807" cy="172034"/>
              </a:xfrm>
              <a:custGeom>
                <a:avLst/>
                <a:gdLst>
                  <a:gd name="connsiteX0" fmla="*/ 287807 w 287807"/>
                  <a:gd name="connsiteY0" fmla="*/ 172034 h 172034"/>
                  <a:gd name="connsiteX1" fmla="*/ 275864 w 287807"/>
                  <a:gd name="connsiteY1" fmla="*/ 172034 h 172034"/>
                  <a:gd name="connsiteX2" fmla="*/ 275864 w 287807"/>
                  <a:gd name="connsiteY2" fmla="*/ 11944 h 172034"/>
                  <a:gd name="connsiteX3" fmla="*/ 11944 w 287807"/>
                  <a:gd name="connsiteY3" fmla="*/ 11944 h 172034"/>
                  <a:gd name="connsiteX4" fmla="*/ 11944 w 287807"/>
                  <a:gd name="connsiteY4" fmla="*/ 172034 h 172034"/>
                  <a:gd name="connsiteX5" fmla="*/ 0 w 287807"/>
                  <a:gd name="connsiteY5" fmla="*/ 172034 h 172034"/>
                  <a:gd name="connsiteX6" fmla="*/ 0 w 287807"/>
                  <a:gd name="connsiteY6" fmla="*/ 0 h 172034"/>
                  <a:gd name="connsiteX7" fmla="*/ 287807 w 287807"/>
                  <a:gd name="connsiteY7" fmla="*/ 0 h 172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807" h="172034">
                    <a:moveTo>
                      <a:pt x="287807" y="172034"/>
                    </a:moveTo>
                    <a:lnTo>
                      <a:pt x="275864" y="172034"/>
                    </a:lnTo>
                    <a:lnTo>
                      <a:pt x="275864" y="11944"/>
                    </a:lnTo>
                    <a:lnTo>
                      <a:pt x="11944" y="11944"/>
                    </a:lnTo>
                    <a:lnTo>
                      <a:pt x="11944" y="172034"/>
                    </a:lnTo>
                    <a:lnTo>
                      <a:pt x="0" y="172034"/>
                    </a:lnTo>
                    <a:lnTo>
                      <a:pt x="0" y="0"/>
                    </a:lnTo>
                    <a:lnTo>
                      <a:pt x="287807" y="0"/>
                    </a:lnTo>
                    <a:close/>
                  </a:path>
                </a:pathLst>
              </a:custGeom>
              <a:solidFill>
                <a:schemeClr val="tx2"/>
              </a:solidFill>
              <a:ln w="858" cap="flat">
                <a:noFill/>
                <a:prstDash val="solid"/>
                <a:miter/>
              </a:ln>
            </p:spPr>
            <p:txBody>
              <a:bodyPr rtlCol="0" anchor="ctr"/>
              <a:lstStyle/>
              <a:p>
                <a:endParaRPr lang="en-GB" dirty="0"/>
              </a:p>
            </p:txBody>
          </p:sp>
          <p:sp>
            <p:nvSpPr>
              <p:cNvPr id="442" name="Freihandform: Form 721">
                <a:extLst>
                  <a:ext uri="{FF2B5EF4-FFF2-40B4-BE49-F238E27FC236}">
                    <a16:creationId xmlns:a16="http://schemas.microsoft.com/office/drawing/2014/main" id="{3B3E9765-371D-4DEF-9BC3-D7CB17F4A458}"/>
                  </a:ext>
                </a:extLst>
              </p:cNvPr>
              <p:cNvSpPr/>
              <p:nvPr/>
            </p:nvSpPr>
            <p:spPr>
              <a:xfrm>
                <a:off x="3490358" y="2539462"/>
                <a:ext cx="58161" cy="11943"/>
              </a:xfrm>
              <a:custGeom>
                <a:avLst/>
                <a:gdLst>
                  <a:gd name="connsiteX0" fmla="*/ 0 w 58161"/>
                  <a:gd name="connsiteY0" fmla="*/ 0 h 11943"/>
                  <a:gd name="connsiteX1" fmla="*/ 58162 w 58161"/>
                  <a:gd name="connsiteY1" fmla="*/ 0 h 11943"/>
                  <a:gd name="connsiteX2" fmla="*/ 58162 w 58161"/>
                  <a:gd name="connsiteY2" fmla="*/ 11944 h 11943"/>
                  <a:gd name="connsiteX3" fmla="*/ 0 w 58161"/>
                  <a:gd name="connsiteY3" fmla="*/ 11944 h 11943"/>
                </a:gdLst>
                <a:ahLst/>
                <a:cxnLst>
                  <a:cxn ang="0">
                    <a:pos x="connsiteX0" y="connsiteY0"/>
                  </a:cxn>
                  <a:cxn ang="0">
                    <a:pos x="connsiteX1" y="connsiteY1"/>
                  </a:cxn>
                  <a:cxn ang="0">
                    <a:pos x="connsiteX2" y="connsiteY2"/>
                  </a:cxn>
                  <a:cxn ang="0">
                    <a:pos x="connsiteX3" y="connsiteY3"/>
                  </a:cxn>
                </a:cxnLst>
                <a:rect l="l" t="t" r="r" b="b"/>
                <a:pathLst>
                  <a:path w="58161" h="11943">
                    <a:moveTo>
                      <a:pt x="0" y="0"/>
                    </a:moveTo>
                    <a:lnTo>
                      <a:pt x="58162" y="0"/>
                    </a:lnTo>
                    <a:lnTo>
                      <a:pt x="58162" y="11944"/>
                    </a:lnTo>
                    <a:lnTo>
                      <a:pt x="0" y="11944"/>
                    </a:lnTo>
                    <a:close/>
                  </a:path>
                </a:pathLst>
              </a:custGeom>
              <a:solidFill>
                <a:schemeClr val="tx2"/>
              </a:solidFill>
              <a:ln w="858" cap="flat">
                <a:noFill/>
                <a:prstDash val="solid"/>
                <a:miter/>
              </a:ln>
            </p:spPr>
            <p:txBody>
              <a:bodyPr rtlCol="0" anchor="ctr"/>
              <a:lstStyle/>
              <a:p>
                <a:endParaRPr lang="en-GB" dirty="0"/>
              </a:p>
            </p:txBody>
          </p:sp>
          <p:sp>
            <p:nvSpPr>
              <p:cNvPr id="443" name="Freihandform: Form 722">
                <a:extLst>
                  <a:ext uri="{FF2B5EF4-FFF2-40B4-BE49-F238E27FC236}">
                    <a16:creationId xmlns:a16="http://schemas.microsoft.com/office/drawing/2014/main" id="{38F2B5E2-6370-40D3-8F1A-1648C84267D5}"/>
                  </a:ext>
                </a:extLst>
              </p:cNvPr>
              <p:cNvSpPr/>
              <p:nvPr/>
            </p:nvSpPr>
            <p:spPr>
              <a:xfrm>
                <a:off x="3562518" y="2539462"/>
                <a:ext cx="13998" cy="11943"/>
              </a:xfrm>
              <a:custGeom>
                <a:avLst/>
                <a:gdLst>
                  <a:gd name="connsiteX0" fmla="*/ 0 w 13998"/>
                  <a:gd name="connsiteY0" fmla="*/ 0 h 11943"/>
                  <a:gd name="connsiteX1" fmla="*/ 13999 w 13998"/>
                  <a:gd name="connsiteY1" fmla="*/ 0 h 11943"/>
                  <a:gd name="connsiteX2" fmla="*/ 13999 w 13998"/>
                  <a:gd name="connsiteY2" fmla="*/ 11944 h 11943"/>
                  <a:gd name="connsiteX3" fmla="*/ 0 w 1399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3998" h="11943">
                    <a:moveTo>
                      <a:pt x="0" y="0"/>
                    </a:moveTo>
                    <a:lnTo>
                      <a:pt x="13999" y="0"/>
                    </a:lnTo>
                    <a:lnTo>
                      <a:pt x="13999" y="11944"/>
                    </a:lnTo>
                    <a:lnTo>
                      <a:pt x="0" y="11944"/>
                    </a:lnTo>
                    <a:close/>
                  </a:path>
                </a:pathLst>
              </a:custGeom>
              <a:solidFill>
                <a:schemeClr val="tx2"/>
              </a:solidFill>
              <a:ln w="858" cap="flat">
                <a:noFill/>
                <a:prstDash val="solid"/>
                <a:miter/>
              </a:ln>
            </p:spPr>
            <p:txBody>
              <a:bodyPr rtlCol="0" anchor="ctr"/>
              <a:lstStyle/>
              <a:p>
                <a:endParaRPr lang="en-GB" dirty="0"/>
              </a:p>
            </p:txBody>
          </p:sp>
          <p:sp>
            <p:nvSpPr>
              <p:cNvPr id="444" name="Freihandform: Form 723">
                <a:extLst>
                  <a:ext uri="{FF2B5EF4-FFF2-40B4-BE49-F238E27FC236}">
                    <a16:creationId xmlns:a16="http://schemas.microsoft.com/office/drawing/2014/main" id="{8D9C8822-FB79-4189-B2EB-56252D26C729}"/>
                  </a:ext>
                </a:extLst>
              </p:cNvPr>
              <p:cNvSpPr/>
              <p:nvPr/>
            </p:nvSpPr>
            <p:spPr>
              <a:xfrm>
                <a:off x="3590395" y="2539462"/>
                <a:ext cx="14007" cy="11943"/>
              </a:xfrm>
              <a:custGeom>
                <a:avLst/>
                <a:gdLst>
                  <a:gd name="connsiteX0" fmla="*/ 0 w 14007"/>
                  <a:gd name="connsiteY0" fmla="*/ 0 h 11943"/>
                  <a:gd name="connsiteX1" fmla="*/ 14007 w 14007"/>
                  <a:gd name="connsiteY1" fmla="*/ 0 h 11943"/>
                  <a:gd name="connsiteX2" fmla="*/ 14007 w 14007"/>
                  <a:gd name="connsiteY2" fmla="*/ 11944 h 11943"/>
                  <a:gd name="connsiteX3" fmla="*/ 0 w 14007"/>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007" h="11943">
                    <a:moveTo>
                      <a:pt x="0" y="0"/>
                    </a:moveTo>
                    <a:lnTo>
                      <a:pt x="14007" y="0"/>
                    </a:lnTo>
                    <a:lnTo>
                      <a:pt x="14007" y="11944"/>
                    </a:lnTo>
                    <a:lnTo>
                      <a:pt x="0" y="11944"/>
                    </a:lnTo>
                    <a:close/>
                  </a:path>
                </a:pathLst>
              </a:custGeom>
              <a:solidFill>
                <a:schemeClr val="tx2"/>
              </a:solidFill>
              <a:ln w="858" cap="flat">
                <a:noFill/>
                <a:prstDash val="solid"/>
                <a:miter/>
              </a:ln>
            </p:spPr>
            <p:txBody>
              <a:bodyPr rtlCol="0" anchor="ctr"/>
              <a:lstStyle/>
              <a:p>
                <a:endParaRPr lang="en-GB" dirty="0"/>
              </a:p>
            </p:txBody>
          </p:sp>
          <p:sp>
            <p:nvSpPr>
              <p:cNvPr id="445" name="Freihandform: Form 724">
                <a:extLst>
                  <a:ext uri="{FF2B5EF4-FFF2-40B4-BE49-F238E27FC236}">
                    <a16:creationId xmlns:a16="http://schemas.microsoft.com/office/drawing/2014/main" id="{77648DC5-EFA8-4F04-8A77-A6A07D3E9EA1}"/>
                  </a:ext>
                </a:extLst>
              </p:cNvPr>
              <p:cNvSpPr/>
              <p:nvPr/>
            </p:nvSpPr>
            <p:spPr>
              <a:xfrm>
                <a:off x="3618289" y="2539462"/>
                <a:ext cx="14015" cy="11943"/>
              </a:xfrm>
              <a:custGeom>
                <a:avLst/>
                <a:gdLst>
                  <a:gd name="connsiteX0" fmla="*/ 0 w 14015"/>
                  <a:gd name="connsiteY0" fmla="*/ 0 h 11943"/>
                  <a:gd name="connsiteX1" fmla="*/ 14016 w 14015"/>
                  <a:gd name="connsiteY1" fmla="*/ 0 h 11943"/>
                  <a:gd name="connsiteX2" fmla="*/ 14016 w 14015"/>
                  <a:gd name="connsiteY2" fmla="*/ 11944 h 11943"/>
                  <a:gd name="connsiteX3" fmla="*/ 0 w 14015"/>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4015" h="11943">
                    <a:moveTo>
                      <a:pt x="0" y="0"/>
                    </a:moveTo>
                    <a:lnTo>
                      <a:pt x="14016" y="0"/>
                    </a:lnTo>
                    <a:lnTo>
                      <a:pt x="14016" y="11944"/>
                    </a:lnTo>
                    <a:lnTo>
                      <a:pt x="0" y="11944"/>
                    </a:lnTo>
                    <a:close/>
                  </a:path>
                </a:pathLst>
              </a:custGeom>
              <a:solidFill>
                <a:schemeClr val="tx2"/>
              </a:solidFill>
              <a:ln w="858" cap="flat">
                <a:noFill/>
                <a:prstDash val="solid"/>
                <a:miter/>
              </a:ln>
            </p:spPr>
            <p:txBody>
              <a:bodyPr rtlCol="0" anchor="ctr"/>
              <a:lstStyle/>
              <a:p>
                <a:endParaRPr lang="en-GB" dirty="0"/>
              </a:p>
            </p:txBody>
          </p:sp>
          <p:sp>
            <p:nvSpPr>
              <p:cNvPr id="446" name="Freihandform: Form 725">
                <a:extLst>
                  <a:ext uri="{FF2B5EF4-FFF2-40B4-BE49-F238E27FC236}">
                    <a16:creationId xmlns:a16="http://schemas.microsoft.com/office/drawing/2014/main" id="{7DFAC639-01EF-4143-8DCA-F3DCB804E052}"/>
                  </a:ext>
                </a:extLst>
              </p:cNvPr>
              <p:cNvSpPr/>
              <p:nvPr/>
            </p:nvSpPr>
            <p:spPr>
              <a:xfrm>
                <a:off x="3498785" y="2441130"/>
                <a:ext cx="176436" cy="71950"/>
              </a:xfrm>
              <a:custGeom>
                <a:avLst/>
                <a:gdLst>
                  <a:gd name="connsiteX0" fmla="*/ 8117 w 176436"/>
                  <a:gd name="connsiteY0" fmla="*/ 71951 h 71950"/>
                  <a:gd name="connsiteX1" fmla="*/ 0 w 176436"/>
                  <a:gd name="connsiteY1" fmla="*/ 63180 h 71950"/>
                  <a:gd name="connsiteX2" fmla="*/ 53922 w 176436"/>
                  <a:gd name="connsiteY2" fmla="*/ 13333 h 71950"/>
                  <a:gd name="connsiteX3" fmla="*/ 122557 w 176436"/>
                  <a:gd name="connsiteY3" fmla="*/ 13333 h 71950"/>
                  <a:gd name="connsiteX4" fmla="*/ 176437 w 176436"/>
                  <a:gd name="connsiteY4" fmla="*/ 63137 h 71950"/>
                  <a:gd name="connsiteX5" fmla="*/ 168320 w 176436"/>
                  <a:gd name="connsiteY5" fmla="*/ 71908 h 71950"/>
                  <a:gd name="connsiteX6" fmla="*/ 114440 w 176436"/>
                  <a:gd name="connsiteY6" fmla="*/ 22104 h 71950"/>
                  <a:gd name="connsiteX7" fmla="*/ 62048 w 176436"/>
                  <a:gd name="connsiteY7" fmla="*/ 22104 h 71950"/>
                  <a:gd name="connsiteX8" fmla="*/ 8117 w 176436"/>
                  <a:gd name="connsiteY8" fmla="*/ 71951 h 71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436" h="71950">
                    <a:moveTo>
                      <a:pt x="8117" y="71951"/>
                    </a:moveTo>
                    <a:lnTo>
                      <a:pt x="0" y="63180"/>
                    </a:lnTo>
                    <a:lnTo>
                      <a:pt x="53922" y="13333"/>
                    </a:lnTo>
                    <a:cubicBezTo>
                      <a:pt x="73192" y="-4449"/>
                      <a:pt x="103331" y="-4440"/>
                      <a:pt x="122557" y="13333"/>
                    </a:cubicBezTo>
                    <a:lnTo>
                      <a:pt x="176437" y="63137"/>
                    </a:lnTo>
                    <a:lnTo>
                      <a:pt x="168320" y="71908"/>
                    </a:lnTo>
                    <a:lnTo>
                      <a:pt x="114440" y="22104"/>
                    </a:lnTo>
                    <a:cubicBezTo>
                      <a:pt x="99779" y="8535"/>
                      <a:pt x="76735" y="8509"/>
                      <a:pt x="62048" y="22104"/>
                    </a:cubicBezTo>
                    <a:lnTo>
                      <a:pt x="8117" y="71951"/>
                    </a:lnTo>
                    <a:close/>
                  </a:path>
                </a:pathLst>
              </a:custGeom>
              <a:solidFill>
                <a:schemeClr val="tx2"/>
              </a:solidFill>
              <a:ln w="858" cap="flat">
                <a:noFill/>
                <a:prstDash val="solid"/>
                <a:miter/>
              </a:ln>
            </p:spPr>
            <p:txBody>
              <a:bodyPr rtlCol="0" anchor="ctr"/>
              <a:lstStyle/>
              <a:p>
                <a:endParaRPr lang="en-GB" dirty="0"/>
              </a:p>
            </p:txBody>
          </p:sp>
          <p:sp>
            <p:nvSpPr>
              <p:cNvPr id="447" name="Freihandform: Form 726">
                <a:extLst>
                  <a:ext uri="{FF2B5EF4-FFF2-40B4-BE49-F238E27FC236}">
                    <a16:creationId xmlns:a16="http://schemas.microsoft.com/office/drawing/2014/main" id="{99F1E59E-D651-4B94-A87B-4795F519BE9E}"/>
                  </a:ext>
                </a:extLst>
              </p:cNvPr>
              <p:cNvSpPr/>
              <p:nvPr/>
            </p:nvSpPr>
            <p:spPr>
              <a:xfrm>
                <a:off x="3386752" y="2552291"/>
                <a:ext cx="400536" cy="310516"/>
              </a:xfrm>
              <a:custGeom>
                <a:avLst/>
                <a:gdLst>
                  <a:gd name="connsiteX0" fmla="*/ 360423 w 400536"/>
                  <a:gd name="connsiteY0" fmla="*/ 310516 h 310516"/>
                  <a:gd name="connsiteX1" fmla="*/ 40121 w 400536"/>
                  <a:gd name="connsiteY1" fmla="*/ 310516 h 310516"/>
                  <a:gd name="connsiteX2" fmla="*/ 0 w 400536"/>
                  <a:gd name="connsiteY2" fmla="*/ 270395 h 310516"/>
                  <a:gd name="connsiteX3" fmla="*/ 0 w 400536"/>
                  <a:gd name="connsiteY3" fmla="*/ 87500 h 310516"/>
                  <a:gd name="connsiteX4" fmla="*/ 23449 w 400536"/>
                  <a:gd name="connsiteY4" fmla="*/ 33905 h 310516"/>
                  <a:gd name="connsiteX5" fmla="*/ 60113 w 400536"/>
                  <a:gd name="connsiteY5" fmla="*/ 0 h 310516"/>
                  <a:gd name="connsiteX6" fmla="*/ 68231 w 400536"/>
                  <a:gd name="connsiteY6" fmla="*/ 8771 h 310516"/>
                  <a:gd name="connsiteX7" fmla="*/ 31549 w 400536"/>
                  <a:gd name="connsiteY7" fmla="*/ 42675 h 310516"/>
                  <a:gd name="connsiteX8" fmla="*/ 11935 w 400536"/>
                  <a:gd name="connsiteY8" fmla="*/ 87500 h 310516"/>
                  <a:gd name="connsiteX9" fmla="*/ 11935 w 400536"/>
                  <a:gd name="connsiteY9" fmla="*/ 270395 h 310516"/>
                  <a:gd name="connsiteX10" fmla="*/ 40113 w 400536"/>
                  <a:gd name="connsiteY10" fmla="*/ 298573 h 310516"/>
                  <a:gd name="connsiteX11" fmla="*/ 360415 w 400536"/>
                  <a:gd name="connsiteY11" fmla="*/ 298573 h 310516"/>
                  <a:gd name="connsiteX12" fmla="*/ 388593 w 400536"/>
                  <a:gd name="connsiteY12" fmla="*/ 270395 h 310516"/>
                  <a:gd name="connsiteX13" fmla="*/ 388593 w 400536"/>
                  <a:gd name="connsiteY13" fmla="*/ 87500 h 310516"/>
                  <a:gd name="connsiteX14" fmla="*/ 368979 w 400536"/>
                  <a:gd name="connsiteY14" fmla="*/ 42675 h 310516"/>
                  <a:gd name="connsiteX15" fmla="*/ 335977 w 400536"/>
                  <a:gd name="connsiteY15" fmla="*/ 12167 h 310516"/>
                  <a:gd name="connsiteX16" fmla="*/ 344094 w 400536"/>
                  <a:gd name="connsiteY16" fmla="*/ 3397 h 310516"/>
                  <a:gd name="connsiteX17" fmla="*/ 377096 w 400536"/>
                  <a:gd name="connsiteY17" fmla="*/ 33905 h 310516"/>
                  <a:gd name="connsiteX18" fmla="*/ 400536 w 400536"/>
                  <a:gd name="connsiteY18" fmla="*/ 87500 h 310516"/>
                  <a:gd name="connsiteX19" fmla="*/ 400536 w 400536"/>
                  <a:gd name="connsiteY19" fmla="*/ 270395 h 310516"/>
                  <a:gd name="connsiteX20" fmla="*/ 360423 w 400536"/>
                  <a:gd name="connsiteY20" fmla="*/ 310516 h 310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0536" h="310516">
                    <a:moveTo>
                      <a:pt x="360423" y="310516"/>
                    </a:moveTo>
                    <a:lnTo>
                      <a:pt x="40121" y="310516"/>
                    </a:lnTo>
                    <a:cubicBezTo>
                      <a:pt x="17997" y="310516"/>
                      <a:pt x="0" y="292519"/>
                      <a:pt x="0" y="270395"/>
                    </a:cubicBezTo>
                    <a:lnTo>
                      <a:pt x="0" y="87500"/>
                    </a:lnTo>
                    <a:cubicBezTo>
                      <a:pt x="0" y="67199"/>
                      <a:pt x="8538" y="47663"/>
                      <a:pt x="23449" y="33905"/>
                    </a:cubicBezTo>
                    <a:lnTo>
                      <a:pt x="60113" y="0"/>
                    </a:lnTo>
                    <a:lnTo>
                      <a:pt x="68231" y="8771"/>
                    </a:lnTo>
                    <a:lnTo>
                      <a:pt x="31549" y="42675"/>
                    </a:lnTo>
                    <a:cubicBezTo>
                      <a:pt x="19080" y="54180"/>
                      <a:pt x="11935" y="70518"/>
                      <a:pt x="11935" y="87500"/>
                    </a:cubicBezTo>
                    <a:lnTo>
                      <a:pt x="11935" y="270395"/>
                    </a:lnTo>
                    <a:cubicBezTo>
                      <a:pt x="11935" y="285933"/>
                      <a:pt x="24567" y="298573"/>
                      <a:pt x="40113" y="298573"/>
                    </a:cubicBezTo>
                    <a:lnTo>
                      <a:pt x="360415" y="298573"/>
                    </a:lnTo>
                    <a:cubicBezTo>
                      <a:pt x="375952" y="298573"/>
                      <a:pt x="388593" y="285933"/>
                      <a:pt x="388593" y="270395"/>
                    </a:cubicBezTo>
                    <a:lnTo>
                      <a:pt x="388593" y="87500"/>
                    </a:lnTo>
                    <a:cubicBezTo>
                      <a:pt x="388593" y="70535"/>
                      <a:pt x="381439" y="54198"/>
                      <a:pt x="368979" y="42675"/>
                    </a:cubicBezTo>
                    <a:lnTo>
                      <a:pt x="335977" y="12167"/>
                    </a:lnTo>
                    <a:lnTo>
                      <a:pt x="344094" y="3397"/>
                    </a:lnTo>
                    <a:lnTo>
                      <a:pt x="377096" y="33905"/>
                    </a:lnTo>
                    <a:cubicBezTo>
                      <a:pt x="391998" y="47680"/>
                      <a:pt x="400536" y="67216"/>
                      <a:pt x="400536" y="87500"/>
                    </a:cubicBezTo>
                    <a:lnTo>
                      <a:pt x="400536" y="270395"/>
                    </a:lnTo>
                    <a:cubicBezTo>
                      <a:pt x="400545" y="292528"/>
                      <a:pt x="382539" y="310516"/>
                      <a:pt x="360423" y="310516"/>
                    </a:cubicBezTo>
                    <a:close/>
                  </a:path>
                </a:pathLst>
              </a:custGeom>
              <a:solidFill>
                <a:schemeClr val="tx2"/>
              </a:solidFill>
              <a:ln w="858" cap="flat">
                <a:noFill/>
                <a:prstDash val="solid"/>
                <a:miter/>
              </a:ln>
            </p:spPr>
            <p:txBody>
              <a:bodyPr rtlCol="0" anchor="ctr"/>
              <a:lstStyle/>
              <a:p>
                <a:endParaRPr lang="en-GB" dirty="0"/>
              </a:p>
            </p:txBody>
          </p:sp>
        </p:grpSp>
        <p:grpSp>
          <p:nvGrpSpPr>
            <p:cNvPr id="430" name="Grafik 7">
              <a:extLst>
                <a:ext uri="{FF2B5EF4-FFF2-40B4-BE49-F238E27FC236}">
                  <a16:creationId xmlns:a16="http://schemas.microsoft.com/office/drawing/2014/main" id="{9CC1526E-02B3-4DD5-8672-293908CFA55E}"/>
                </a:ext>
              </a:extLst>
            </p:cNvPr>
            <p:cNvGrpSpPr/>
            <p:nvPr/>
          </p:nvGrpSpPr>
          <p:grpSpPr>
            <a:xfrm>
              <a:off x="1760884" y="1727254"/>
              <a:ext cx="157191" cy="123345"/>
              <a:chOff x="3510298" y="2579024"/>
              <a:chExt cx="153435" cy="120398"/>
            </a:xfrm>
            <a:solidFill>
              <a:schemeClr val="accent1"/>
            </a:solidFill>
          </p:grpSpPr>
          <p:sp>
            <p:nvSpPr>
              <p:cNvPr id="431" name="Freihandform: Form 728">
                <a:extLst>
                  <a:ext uri="{FF2B5EF4-FFF2-40B4-BE49-F238E27FC236}">
                    <a16:creationId xmlns:a16="http://schemas.microsoft.com/office/drawing/2014/main" id="{EAA567BE-984C-496B-9253-A09B785B1D0D}"/>
                  </a:ext>
                </a:extLst>
              </p:cNvPr>
              <p:cNvSpPr/>
              <p:nvPr/>
            </p:nvSpPr>
            <p:spPr>
              <a:xfrm>
                <a:off x="3549594" y="2610375"/>
                <a:ext cx="74585" cy="74585"/>
              </a:xfrm>
              <a:custGeom>
                <a:avLst/>
                <a:gdLst>
                  <a:gd name="connsiteX0" fmla="*/ 37301 w 74585"/>
                  <a:gd name="connsiteY0" fmla="*/ 74585 h 74585"/>
                  <a:gd name="connsiteX1" fmla="*/ 0 w 74585"/>
                  <a:gd name="connsiteY1" fmla="*/ 37293 h 74585"/>
                  <a:gd name="connsiteX2" fmla="*/ 37301 w 74585"/>
                  <a:gd name="connsiteY2" fmla="*/ 0 h 74585"/>
                  <a:gd name="connsiteX3" fmla="*/ 74585 w 74585"/>
                  <a:gd name="connsiteY3" fmla="*/ 37293 h 74585"/>
                  <a:gd name="connsiteX4" fmla="*/ 37301 w 74585"/>
                  <a:gd name="connsiteY4" fmla="*/ 74585 h 74585"/>
                  <a:gd name="connsiteX5" fmla="*/ 37301 w 74585"/>
                  <a:gd name="connsiteY5" fmla="*/ 11952 h 74585"/>
                  <a:gd name="connsiteX6" fmla="*/ 11952 w 74585"/>
                  <a:gd name="connsiteY6" fmla="*/ 37301 h 74585"/>
                  <a:gd name="connsiteX7" fmla="*/ 37301 w 74585"/>
                  <a:gd name="connsiteY7" fmla="*/ 62650 h 74585"/>
                  <a:gd name="connsiteX8" fmla="*/ 62642 w 74585"/>
                  <a:gd name="connsiteY8" fmla="*/ 37301 h 74585"/>
                  <a:gd name="connsiteX9" fmla="*/ 37301 w 74585"/>
                  <a:gd name="connsiteY9" fmla="*/ 11952 h 74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85" h="74585">
                    <a:moveTo>
                      <a:pt x="37301" y="74585"/>
                    </a:moveTo>
                    <a:cubicBezTo>
                      <a:pt x="16733" y="74585"/>
                      <a:pt x="0" y="57852"/>
                      <a:pt x="0" y="37293"/>
                    </a:cubicBezTo>
                    <a:cubicBezTo>
                      <a:pt x="0" y="16733"/>
                      <a:pt x="16733" y="0"/>
                      <a:pt x="37301" y="0"/>
                    </a:cubicBezTo>
                    <a:cubicBezTo>
                      <a:pt x="57861" y="0"/>
                      <a:pt x="74585" y="16733"/>
                      <a:pt x="74585" y="37293"/>
                    </a:cubicBezTo>
                    <a:cubicBezTo>
                      <a:pt x="74594" y="57861"/>
                      <a:pt x="57861" y="74585"/>
                      <a:pt x="37301" y="74585"/>
                    </a:cubicBezTo>
                    <a:close/>
                    <a:moveTo>
                      <a:pt x="37301" y="11952"/>
                    </a:moveTo>
                    <a:cubicBezTo>
                      <a:pt x="23328" y="11952"/>
                      <a:pt x="11952" y="23320"/>
                      <a:pt x="11952" y="37301"/>
                    </a:cubicBezTo>
                    <a:cubicBezTo>
                      <a:pt x="11952" y="51283"/>
                      <a:pt x="23328" y="62650"/>
                      <a:pt x="37301" y="62650"/>
                    </a:cubicBezTo>
                    <a:cubicBezTo>
                      <a:pt x="51274" y="62650"/>
                      <a:pt x="62642" y="51283"/>
                      <a:pt x="62642" y="37301"/>
                    </a:cubicBezTo>
                    <a:cubicBezTo>
                      <a:pt x="62642" y="23320"/>
                      <a:pt x="51283" y="11952"/>
                      <a:pt x="37301" y="11952"/>
                    </a:cubicBezTo>
                    <a:close/>
                  </a:path>
                </a:pathLst>
              </a:custGeom>
              <a:solidFill>
                <a:schemeClr val="accent1"/>
              </a:solidFill>
              <a:ln w="858" cap="flat">
                <a:noFill/>
                <a:prstDash val="solid"/>
                <a:miter/>
              </a:ln>
            </p:spPr>
            <p:txBody>
              <a:bodyPr rtlCol="0" anchor="ctr"/>
              <a:lstStyle/>
              <a:p>
                <a:endParaRPr lang="en-GB" dirty="0"/>
              </a:p>
            </p:txBody>
          </p:sp>
          <p:sp>
            <p:nvSpPr>
              <p:cNvPr id="432" name="Freihandform: Form 729">
                <a:extLst>
                  <a:ext uri="{FF2B5EF4-FFF2-40B4-BE49-F238E27FC236}">
                    <a16:creationId xmlns:a16="http://schemas.microsoft.com/office/drawing/2014/main" id="{3BC9C8AA-4C2A-4C09-939E-9536B3AA819F}"/>
                  </a:ext>
                </a:extLst>
              </p:cNvPr>
              <p:cNvSpPr/>
              <p:nvPr/>
            </p:nvSpPr>
            <p:spPr>
              <a:xfrm>
                <a:off x="3565244" y="2579024"/>
                <a:ext cx="43302" cy="43303"/>
              </a:xfrm>
              <a:custGeom>
                <a:avLst/>
                <a:gdLst>
                  <a:gd name="connsiteX0" fmla="*/ 21651 w 43302"/>
                  <a:gd name="connsiteY0" fmla="*/ 43303 h 43303"/>
                  <a:gd name="connsiteX1" fmla="*/ 0 w 43302"/>
                  <a:gd name="connsiteY1" fmla="*/ 21651 h 43303"/>
                  <a:gd name="connsiteX2" fmla="*/ 21651 w 43302"/>
                  <a:gd name="connsiteY2" fmla="*/ 0 h 43303"/>
                  <a:gd name="connsiteX3" fmla="*/ 43303 w 43302"/>
                  <a:gd name="connsiteY3" fmla="*/ 21651 h 43303"/>
                  <a:gd name="connsiteX4" fmla="*/ 21651 w 43302"/>
                  <a:gd name="connsiteY4" fmla="*/ 43303 h 43303"/>
                  <a:gd name="connsiteX5" fmla="*/ 21651 w 43302"/>
                  <a:gd name="connsiteY5" fmla="*/ 11944 h 43303"/>
                  <a:gd name="connsiteX6" fmla="*/ 11944 w 43302"/>
                  <a:gd name="connsiteY6" fmla="*/ 21651 h 43303"/>
                  <a:gd name="connsiteX7" fmla="*/ 21651 w 43302"/>
                  <a:gd name="connsiteY7" fmla="*/ 31359 h 43303"/>
                  <a:gd name="connsiteX8" fmla="*/ 31359 w 43302"/>
                  <a:gd name="connsiteY8" fmla="*/ 21651 h 43303"/>
                  <a:gd name="connsiteX9" fmla="*/ 21651 w 43302"/>
                  <a:gd name="connsiteY9" fmla="*/ 11944 h 4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02" h="43303">
                    <a:moveTo>
                      <a:pt x="21651" y="43303"/>
                    </a:moveTo>
                    <a:cubicBezTo>
                      <a:pt x="9716" y="43303"/>
                      <a:pt x="0" y="33586"/>
                      <a:pt x="0" y="21651"/>
                    </a:cubicBezTo>
                    <a:cubicBezTo>
                      <a:pt x="0" y="9716"/>
                      <a:pt x="9716" y="0"/>
                      <a:pt x="21651" y="0"/>
                    </a:cubicBezTo>
                    <a:cubicBezTo>
                      <a:pt x="33586" y="0"/>
                      <a:pt x="43303" y="9716"/>
                      <a:pt x="43303" y="21651"/>
                    </a:cubicBezTo>
                    <a:cubicBezTo>
                      <a:pt x="43303" y="33586"/>
                      <a:pt x="33586" y="43303"/>
                      <a:pt x="21651" y="43303"/>
                    </a:cubicBezTo>
                    <a:close/>
                    <a:moveTo>
                      <a:pt x="21651" y="11944"/>
                    </a:moveTo>
                    <a:cubicBezTo>
                      <a:pt x="16295" y="11944"/>
                      <a:pt x="11944" y="16295"/>
                      <a:pt x="11944" y="21651"/>
                    </a:cubicBezTo>
                    <a:cubicBezTo>
                      <a:pt x="11944" y="27008"/>
                      <a:pt x="16295" y="31359"/>
                      <a:pt x="21651" y="31359"/>
                    </a:cubicBezTo>
                    <a:cubicBezTo>
                      <a:pt x="27008" y="31359"/>
                      <a:pt x="31359" y="27008"/>
                      <a:pt x="31359" y="21651"/>
                    </a:cubicBezTo>
                    <a:cubicBezTo>
                      <a:pt x="31359" y="16295"/>
                      <a:pt x="27008" y="11944"/>
                      <a:pt x="21651" y="11944"/>
                    </a:cubicBezTo>
                    <a:close/>
                  </a:path>
                </a:pathLst>
              </a:custGeom>
              <a:solidFill>
                <a:schemeClr val="accent1"/>
              </a:solidFill>
              <a:ln w="858" cap="flat">
                <a:noFill/>
                <a:prstDash val="solid"/>
                <a:miter/>
              </a:ln>
            </p:spPr>
            <p:txBody>
              <a:bodyPr rtlCol="0" anchor="ctr"/>
              <a:lstStyle/>
              <a:p>
                <a:endParaRPr lang="en-GB" dirty="0"/>
              </a:p>
            </p:txBody>
          </p:sp>
          <p:sp>
            <p:nvSpPr>
              <p:cNvPr id="433" name="Freihandform: Form 730">
                <a:extLst>
                  <a:ext uri="{FF2B5EF4-FFF2-40B4-BE49-F238E27FC236}">
                    <a16:creationId xmlns:a16="http://schemas.microsoft.com/office/drawing/2014/main" id="{EA939778-A90F-4C21-AE41-B05F0CD9935C}"/>
                  </a:ext>
                </a:extLst>
              </p:cNvPr>
              <p:cNvSpPr/>
              <p:nvPr/>
            </p:nvSpPr>
            <p:spPr>
              <a:xfrm>
                <a:off x="3539482" y="2663713"/>
                <a:ext cx="31866" cy="35710"/>
              </a:xfrm>
              <a:custGeom>
                <a:avLst/>
                <a:gdLst>
                  <a:gd name="connsiteX0" fmla="*/ 11015 w 31866"/>
                  <a:gd name="connsiteY0" fmla="*/ 35710 h 35710"/>
                  <a:gd name="connsiteX1" fmla="*/ 0 w 31866"/>
                  <a:gd name="connsiteY1" fmla="*/ 31059 h 35710"/>
                  <a:gd name="connsiteX2" fmla="*/ 8719 w 31866"/>
                  <a:gd name="connsiteY2" fmla="*/ 10482 h 35710"/>
                  <a:gd name="connsiteX3" fmla="*/ 25538 w 31866"/>
                  <a:gd name="connsiteY3" fmla="*/ 0 h 35710"/>
                  <a:gd name="connsiteX4" fmla="*/ 31867 w 31866"/>
                  <a:gd name="connsiteY4" fmla="*/ 10138 h 35710"/>
                  <a:gd name="connsiteX5" fmla="*/ 18238 w 31866"/>
                  <a:gd name="connsiteY5" fmla="*/ 18625 h 35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66" h="35710">
                    <a:moveTo>
                      <a:pt x="11015" y="35710"/>
                    </a:moveTo>
                    <a:lnTo>
                      <a:pt x="0" y="31059"/>
                    </a:lnTo>
                    <a:lnTo>
                      <a:pt x="8719" y="10482"/>
                    </a:lnTo>
                    <a:lnTo>
                      <a:pt x="25538" y="0"/>
                    </a:lnTo>
                    <a:lnTo>
                      <a:pt x="31867" y="10138"/>
                    </a:lnTo>
                    <a:lnTo>
                      <a:pt x="18238" y="18625"/>
                    </a:lnTo>
                    <a:close/>
                  </a:path>
                </a:pathLst>
              </a:custGeom>
              <a:solidFill>
                <a:schemeClr val="accent1"/>
              </a:solidFill>
              <a:ln w="858" cap="flat">
                <a:noFill/>
                <a:prstDash val="solid"/>
                <a:miter/>
              </a:ln>
            </p:spPr>
            <p:txBody>
              <a:bodyPr rtlCol="0" anchor="ctr"/>
              <a:lstStyle/>
              <a:p>
                <a:endParaRPr lang="en-GB" dirty="0"/>
              </a:p>
            </p:txBody>
          </p:sp>
          <p:sp>
            <p:nvSpPr>
              <p:cNvPr id="434" name="Freihandform: Form 731">
                <a:extLst>
                  <a:ext uri="{FF2B5EF4-FFF2-40B4-BE49-F238E27FC236}">
                    <a16:creationId xmlns:a16="http://schemas.microsoft.com/office/drawing/2014/main" id="{5E103175-BABB-4E97-B5B4-821AAFF4BEE0}"/>
                  </a:ext>
                </a:extLst>
              </p:cNvPr>
              <p:cNvSpPr/>
              <p:nvPr/>
            </p:nvSpPr>
            <p:spPr>
              <a:xfrm>
                <a:off x="3510298" y="2636584"/>
                <a:ext cx="45272" cy="17059"/>
              </a:xfrm>
              <a:custGeom>
                <a:avLst/>
                <a:gdLst>
                  <a:gd name="connsiteX0" fmla="*/ 45272 w 45272"/>
                  <a:gd name="connsiteY0" fmla="*/ 17060 h 17059"/>
                  <a:gd name="connsiteX1" fmla="*/ 21523 w 45272"/>
                  <a:gd name="connsiteY1" fmla="*/ 16888 h 17059"/>
                  <a:gd name="connsiteX2" fmla="*/ 0 w 45272"/>
                  <a:gd name="connsiteY2" fmla="*/ 11608 h 17059"/>
                  <a:gd name="connsiteX3" fmla="*/ 2846 w 45272"/>
                  <a:gd name="connsiteY3" fmla="*/ 0 h 17059"/>
                  <a:gd name="connsiteX4" fmla="*/ 23672 w 45272"/>
                  <a:gd name="connsiteY4" fmla="*/ 5116 h 17059"/>
                  <a:gd name="connsiteX5" fmla="*/ 45272 w 45272"/>
                  <a:gd name="connsiteY5" fmla="*/ 5116 h 17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72" h="17059">
                    <a:moveTo>
                      <a:pt x="45272" y="17060"/>
                    </a:moveTo>
                    <a:lnTo>
                      <a:pt x="21523" y="16888"/>
                    </a:lnTo>
                    <a:lnTo>
                      <a:pt x="0" y="11608"/>
                    </a:lnTo>
                    <a:lnTo>
                      <a:pt x="2846" y="0"/>
                    </a:lnTo>
                    <a:lnTo>
                      <a:pt x="23672" y="5116"/>
                    </a:lnTo>
                    <a:lnTo>
                      <a:pt x="45272" y="5116"/>
                    </a:lnTo>
                    <a:close/>
                  </a:path>
                </a:pathLst>
              </a:custGeom>
              <a:solidFill>
                <a:schemeClr val="accent1"/>
              </a:solidFill>
              <a:ln w="858" cap="flat">
                <a:noFill/>
                <a:prstDash val="solid"/>
                <a:miter/>
              </a:ln>
            </p:spPr>
            <p:txBody>
              <a:bodyPr rtlCol="0" anchor="ctr"/>
              <a:lstStyle/>
              <a:p>
                <a:endParaRPr lang="en-GB" dirty="0"/>
              </a:p>
            </p:txBody>
          </p:sp>
          <p:sp>
            <p:nvSpPr>
              <p:cNvPr id="435" name="Freihandform: Form 732">
                <a:extLst>
                  <a:ext uri="{FF2B5EF4-FFF2-40B4-BE49-F238E27FC236}">
                    <a16:creationId xmlns:a16="http://schemas.microsoft.com/office/drawing/2014/main" id="{7A38A1F7-2FDE-4231-ACAC-7AFDC5626643}"/>
                  </a:ext>
                </a:extLst>
              </p:cNvPr>
              <p:cNvSpPr/>
              <p:nvPr/>
            </p:nvSpPr>
            <p:spPr>
              <a:xfrm>
                <a:off x="3525114" y="2593530"/>
                <a:ext cx="43027" cy="36535"/>
              </a:xfrm>
              <a:custGeom>
                <a:avLst/>
                <a:gdLst>
                  <a:gd name="connsiteX0" fmla="*/ 38221 w 43027"/>
                  <a:gd name="connsiteY0" fmla="*/ 36536 h 36535"/>
                  <a:gd name="connsiteX1" fmla="*/ 13345 w 43027"/>
                  <a:gd name="connsiteY1" fmla="*/ 25598 h 36535"/>
                  <a:gd name="connsiteX2" fmla="*/ 0 w 43027"/>
                  <a:gd name="connsiteY2" fmla="*/ 6956 h 36535"/>
                  <a:gd name="connsiteX3" fmla="*/ 9708 w 43027"/>
                  <a:gd name="connsiteY3" fmla="*/ 0 h 36535"/>
                  <a:gd name="connsiteX4" fmla="*/ 21162 w 43027"/>
                  <a:gd name="connsiteY4" fmla="*/ 15985 h 36535"/>
                  <a:gd name="connsiteX5" fmla="*/ 43028 w 43027"/>
                  <a:gd name="connsiteY5" fmla="*/ 25607 h 3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27" h="36535">
                    <a:moveTo>
                      <a:pt x="38221" y="36536"/>
                    </a:moveTo>
                    <a:lnTo>
                      <a:pt x="13345" y="25598"/>
                    </a:lnTo>
                    <a:lnTo>
                      <a:pt x="0" y="6956"/>
                    </a:lnTo>
                    <a:lnTo>
                      <a:pt x="9708" y="0"/>
                    </a:lnTo>
                    <a:lnTo>
                      <a:pt x="21162" y="15985"/>
                    </a:lnTo>
                    <a:lnTo>
                      <a:pt x="43028" y="25607"/>
                    </a:lnTo>
                    <a:close/>
                  </a:path>
                </a:pathLst>
              </a:custGeom>
              <a:solidFill>
                <a:schemeClr val="accent1"/>
              </a:solidFill>
              <a:ln w="858" cap="flat">
                <a:noFill/>
                <a:prstDash val="solid"/>
                <a:miter/>
              </a:ln>
            </p:spPr>
            <p:txBody>
              <a:bodyPr rtlCol="0" anchor="ctr"/>
              <a:lstStyle/>
              <a:p>
                <a:endParaRPr lang="en-GB" dirty="0"/>
              </a:p>
            </p:txBody>
          </p:sp>
          <p:sp>
            <p:nvSpPr>
              <p:cNvPr id="436" name="Freihandform: Form 733">
                <a:extLst>
                  <a:ext uri="{FF2B5EF4-FFF2-40B4-BE49-F238E27FC236}">
                    <a16:creationId xmlns:a16="http://schemas.microsoft.com/office/drawing/2014/main" id="{45AD59AF-C3BF-4AB7-94B3-42D35D674569}"/>
                  </a:ext>
                </a:extLst>
              </p:cNvPr>
              <p:cNvSpPr/>
              <p:nvPr/>
            </p:nvSpPr>
            <p:spPr>
              <a:xfrm>
                <a:off x="3602683" y="2663713"/>
                <a:ext cx="31875" cy="35710"/>
              </a:xfrm>
              <a:custGeom>
                <a:avLst/>
                <a:gdLst>
                  <a:gd name="connsiteX0" fmla="*/ 20860 w 31875"/>
                  <a:gd name="connsiteY0" fmla="*/ 35710 h 35710"/>
                  <a:gd name="connsiteX1" fmla="*/ 13638 w 31875"/>
                  <a:gd name="connsiteY1" fmla="*/ 18625 h 35710"/>
                  <a:gd name="connsiteX2" fmla="*/ 0 w 31875"/>
                  <a:gd name="connsiteY2" fmla="*/ 10138 h 35710"/>
                  <a:gd name="connsiteX3" fmla="*/ 6320 w 31875"/>
                  <a:gd name="connsiteY3" fmla="*/ 0 h 35710"/>
                  <a:gd name="connsiteX4" fmla="*/ 23156 w 31875"/>
                  <a:gd name="connsiteY4" fmla="*/ 10482 h 35710"/>
                  <a:gd name="connsiteX5" fmla="*/ 31875 w 31875"/>
                  <a:gd name="connsiteY5" fmla="*/ 31059 h 35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75" h="35710">
                    <a:moveTo>
                      <a:pt x="20860" y="35710"/>
                    </a:moveTo>
                    <a:lnTo>
                      <a:pt x="13638" y="18625"/>
                    </a:lnTo>
                    <a:lnTo>
                      <a:pt x="0" y="10138"/>
                    </a:lnTo>
                    <a:lnTo>
                      <a:pt x="6320" y="0"/>
                    </a:lnTo>
                    <a:lnTo>
                      <a:pt x="23156" y="10482"/>
                    </a:lnTo>
                    <a:lnTo>
                      <a:pt x="31875" y="31059"/>
                    </a:lnTo>
                    <a:close/>
                  </a:path>
                </a:pathLst>
              </a:custGeom>
              <a:solidFill>
                <a:schemeClr val="accent1"/>
              </a:solidFill>
              <a:ln w="858" cap="flat">
                <a:noFill/>
                <a:prstDash val="solid"/>
                <a:miter/>
              </a:ln>
            </p:spPr>
            <p:txBody>
              <a:bodyPr rtlCol="0" anchor="ctr"/>
              <a:lstStyle/>
              <a:p>
                <a:endParaRPr lang="en-GB" dirty="0"/>
              </a:p>
            </p:txBody>
          </p:sp>
          <p:sp>
            <p:nvSpPr>
              <p:cNvPr id="437" name="Freihandform: Form 734">
                <a:extLst>
                  <a:ext uri="{FF2B5EF4-FFF2-40B4-BE49-F238E27FC236}">
                    <a16:creationId xmlns:a16="http://schemas.microsoft.com/office/drawing/2014/main" id="{F5111FE7-E9C2-44CF-A1FB-6F35276BD4A7}"/>
                  </a:ext>
                </a:extLst>
              </p:cNvPr>
              <p:cNvSpPr/>
              <p:nvPr/>
            </p:nvSpPr>
            <p:spPr>
              <a:xfrm>
                <a:off x="3618470" y="2636593"/>
                <a:ext cx="45263" cy="17051"/>
              </a:xfrm>
              <a:custGeom>
                <a:avLst/>
                <a:gdLst>
                  <a:gd name="connsiteX0" fmla="*/ 23053 w 45263"/>
                  <a:gd name="connsiteY0" fmla="*/ 17051 h 17051"/>
                  <a:gd name="connsiteX1" fmla="*/ 0 w 45263"/>
                  <a:gd name="connsiteY1" fmla="*/ 17051 h 17051"/>
                  <a:gd name="connsiteX2" fmla="*/ 0 w 45263"/>
                  <a:gd name="connsiteY2" fmla="*/ 5108 h 17051"/>
                  <a:gd name="connsiteX3" fmla="*/ 21608 w 45263"/>
                  <a:gd name="connsiteY3" fmla="*/ 5108 h 17051"/>
                  <a:gd name="connsiteX4" fmla="*/ 42417 w 45263"/>
                  <a:gd name="connsiteY4" fmla="*/ 0 h 17051"/>
                  <a:gd name="connsiteX5" fmla="*/ 45263 w 45263"/>
                  <a:gd name="connsiteY5" fmla="*/ 11600 h 1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263" h="17051">
                    <a:moveTo>
                      <a:pt x="23053" y="17051"/>
                    </a:moveTo>
                    <a:lnTo>
                      <a:pt x="0" y="17051"/>
                    </a:lnTo>
                    <a:lnTo>
                      <a:pt x="0" y="5108"/>
                    </a:lnTo>
                    <a:lnTo>
                      <a:pt x="21608" y="5108"/>
                    </a:lnTo>
                    <a:lnTo>
                      <a:pt x="42417" y="0"/>
                    </a:lnTo>
                    <a:lnTo>
                      <a:pt x="45263" y="11600"/>
                    </a:lnTo>
                    <a:close/>
                  </a:path>
                </a:pathLst>
              </a:custGeom>
              <a:solidFill>
                <a:schemeClr val="accent1"/>
              </a:solidFill>
              <a:ln w="858" cap="flat">
                <a:noFill/>
                <a:prstDash val="solid"/>
                <a:miter/>
              </a:ln>
            </p:spPr>
            <p:txBody>
              <a:bodyPr rtlCol="0" anchor="ctr"/>
              <a:lstStyle/>
              <a:p>
                <a:endParaRPr lang="en-GB" dirty="0"/>
              </a:p>
            </p:txBody>
          </p:sp>
          <p:sp>
            <p:nvSpPr>
              <p:cNvPr id="438" name="Freihandform: Form 735">
                <a:extLst>
                  <a:ext uri="{FF2B5EF4-FFF2-40B4-BE49-F238E27FC236}">
                    <a16:creationId xmlns:a16="http://schemas.microsoft.com/office/drawing/2014/main" id="{85B3F112-1483-4309-9A80-84E6392B6F8E}"/>
                  </a:ext>
                </a:extLst>
              </p:cNvPr>
              <p:cNvSpPr/>
              <p:nvPr/>
            </p:nvSpPr>
            <p:spPr>
              <a:xfrm>
                <a:off x="3605907" y="2593530"/>
                <a:ext cx="43019" cy="36535"/>
              </a:xfrm>
              <a:custGeom>
                <a:avLst/>
                <a:gdLst>
                  <a:gd name="connsiteX0" fmla="*/ 4807 w 43019"/>
                  <a:gd name="connsiteY0" fmla="*/ 36536 h 36535"/>
                  <a:gd name="connsiteX1" fmla="*/ 0 w 43019"/>
                  <a:gd name="connsiteY1" fmla="*/ 25607 h 36535"/>
                  <a:gd name="connsiteX2" fmla="*/ 21858 w 43019"/>
                  <a:gd name="connsiteY2" fmla="*/ 15985 h 36535"/>
                  <a:gd name="connsiteX3" fmla="*/ 33320 w 43019"/>
                  <a:gd name="connsiteY3" fmla="*/ 0 h 36535"/>
                  <a:gd name="connsiteX4" fmla="*/ 43019 w 43019"/>
                  <a:gd name="connsiteY4" fmla="*/ 6956 h 36535"/>
                  <a:gd name="connsiteX5" fmla="*/ 29674 w 43019"/>
                  <a:gd name="connsiteY5" fmla="*/ 25598 h 36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19" h="36535">
                    <a:moveTo>
                      <a:pt x="4807" y="36536"/>
                    </a:moveTo>
                    <a:lnTo>
                      <a:pt x="0" y="25607"/>
                    </a:lnTo>
                    <a:lnTo>
                      <a:pt x="21858" y="15985"/>
                    </a:lnTo>
                    <a:lnTo>
                      <a:pt x="33320" y="0"/>
                    </a:lnTo>
                    <a:lnTo>
                      <a:pt x="43019" y="6956"/>
                    </a:lnTo>
                    <a:lnTo>
                      <a:pt x="29674" y="25598"/>
                    </a:lnTo>
                    <a:close/>
                  </a:path>
                </a:pathLst>
              </a:custGeom>
              <a:solidFill>
                <a:schemeClr val="accent1"/>
              </a:solidFill>
              <a:ln w="858" cap="flat">
                <a:noFill/>
                <a:prstDash val="solid"/>
                <a:miter/>
              </a:ln>
            </p:spPr>
            <p:txBody>
              <a:bodyPr rtlCol="0" anchor="ctr"/>
              <a:lstStyle/>
              <a:p>
                <a:endParaRPr lang="en-GB" dirty="0"/>
              </a:p>
            </p:txBody>
          </p:sp>
        </p:grpSp>
      </p:grpSp>
      <p:grpSp>
        <p:nvGrpSpPr>
          <p:cNvPr id="38" name="Group 37">
            <a:extLst>
              <a:ext uri="{FF2B5EF4-FFF2-40B4-BE49-F238E27FC236}">
                <a16:creationId xmlns:a16="http://schemas.microsoft.com/office/drawing/2014/main" id="{C7783723-2093-41C7-96A3-D68C2630DE95}"/>
              </a:ext>
            </a:extLst>
          </p:cNvPr>
          <p:cNvGrpSpPr/>
          <p:nvPr/>
        </p:nvGrpSpPr>
        <p:grpSpPr>
          <a:xfrm>
            <a:off x="518598" y="1585984"/>
            <a:ext cx="550905" cy="432000"/>
            <a:chOff x="518598" y="1585984"/>
            <a:chExt cx="550905" cy="432000"/>
          </a:xfrm>
        </p:grpSpPr>
        <p:grpSp>
          <p:nvGrpSpPr>
            <p:cNvPr id="451" name="Grafik 7">
              <a:extLst>
                <a:ext uri="{FF2B5EF4-FFF2-40B4-BE49-F238E27FC236}">
                  <a16:creationId xmlns:a16="http://schemas.microsoft.com/office/drawing/2014/main" id="{BC6EA804-B029-4D15-B62D-D2FD7DCA234B}"/>
                </a:ext>
              </a:extLst>
            </p:cNvPr>
            <p:cNvGrpSpPr/>
            <p:nvPr/>
          </p:nvGrpSpPr>
          <p:grpSpPr>
            <a:xfrm>
              <a:off x="688063" y="1585984"/>
              <a:ext cx="211975" cy="418808"/>
              <a:chOff x="1843878" y="2449450"/>
              <a:chExt cx="199937" cy="395024"/>
            </a:xfrm>
            <a:solidFill>
              <a:schemeClr val="accent1"/>
            </a:solidFill>
          </p:grpSpPr>
          <p:sp>
            <p:nvSpPr>
              <p:cNvPr id="469" name="Freihandform: Form 578">
                <a:extLst>
                  <a:ext uri="{FF2B5EF4-FFF2-40B4-BE49-F238E27FC236}">
                    <a16:creationId xmlns:a16="http://schemas.microsoft.com/office/drawing/2014/main" id="{26284EC5-B463-4AFA-9663-C4CCFE899518}"/>
                  </a:ext>
                </a:extLst>
              </p:cNvPr>
              <p:cNvSpPr/>
              <p:nvPr/>
            </p:nvSpPr>
            <p:spPr>
              <a:xfrm>
                <a:off x="1843878" y="2449450"/>
                <a:ext cx="199937" cy="395024"/>
              </a:xfrm>
              <a:custGeom>
                <a:avLst/>
                <a:gdLst>
                  <a:gd name="connsiteX0" fmla="*/ 142936 w 199937"/>
                  <a:gd name="connsiteY0" fmla="*/ 395024 h 395024"/>
                  <a:gd name="connsiteX1" fmla="*/ 79830 w 199937"/>
                  <a:gd name="connsiteY1" fmla="*/ 395024 h 395024"/>
                  <a:gd name="connsiteX2" fmla="*/ 57869 w 199937"/>
                  <a:gd name="connsiteY2" fmla="*/ 375247 h 395024"/>
                  <a:gd name="connsiteX3" fmla="*/ 57869 w 199937"/>
                  <a:gd name="connsiteY3" fmla="*/ 190633 h 395024"/>
                  <a:gd name="connsiteX4" fmla="*/ 0 w 199937"/>
                  <a:gd name="connsiteY4" fmla="*/ 99969 h 395024"/>
                  <a:gd name="connsiteX5" fmla="*/ 99969 w 199937"/>
                  <a:gd name="connsiteY5" fmla="*/ 0 h 395024"/>
                  <a:gd name="connsiteX6" fmla="*/ 199937 w 199937"/>
                  <a:gd name="connsiteY6" fmla="*/ 99969 h 395024"/>
                  <a:gd name="connsiteX7" fmla="*/ 145972 w 199937"/>
                  <a:gd name="connsiteY7" fmla="*/ 188630 h 395024"/>
                  <a:gd name="connsiteX8" fmla="*/ 133048 w 199937"/>
                  <a:gd name="connsiteY8" fmla="*/ 204950 h 395024"/>
                  <a:gd name="connsiteX9" fmla="*/ 142945 w 199937"/>
                  <a:gd name="connsiteY9" fmla="*/ 229362 h 395024"/>
                  <a:gd name="connsiteX10" fmla="*/ 142945 w 199937"/>
                  <a:gd name="connsiteY10" fmla="*/ 250016 h 395024"/>
                  <a:gd name="connsiteX11" fmla="*/ 128379 w 199937"/>
                  <a:gd name="connsiteY11" fmla="*/ 266706 h 395024"/>
                  <a:gd name="connsiteX12" fmla="*/ 142945 w 199937"/>
                  <a:gd name="connsiteY12" fmla="*/ 287231 h 395024"/>
                  <a:gd name="connsiteX13" fmla="*/ 142945 w 199937"/>
                  <a:gd name="connsiteY13" fmla="*/ 308057 h 395024"/>
                  <a:gd name="connsiteX14" fmla="*/ 128009 w 199937"/>
                  <a:gd name="connsiteY14" fmla="*/ 330955 h 395024"/>
                  <a:gd name="connsiteX15" fmla="*/ 142945 w 199937"/>
                  <a:gd name="connsiteY15" fmla="*/ 351911 h 395024"/>
                  <a:gd name="connsiteX16" fmla="*/ 142945 w 199937"/>
                  <a:gd name="connsiteY16" fmla="*/ 395024 h 395024"/>
                  <a:gd name="connsiteX17" fmla="*/ 84414 w 199937"/>
                  <a:gd name="connsiteY17" fmla="*/ 383081 h 395024"/>
                  <a:gd name="connsiteX18" fmla="*/ 130984 w 199937"/>
                  <a:gd name="connsiteY18" fmla="*/ 383081 h 395024"/>
                  <a:gd name="connsiteX19" fmla="*/ 130984 w 199937"/>
                  <a:gd name="connsiteY19" fmla="*/ 355746 h 395024"/>
                  <a:gd name="connsiteX20" fmla="*/ 113546 w 199937"/>
                  <a:gd name="connsiteY20" fmla="*/ 331265 h 395024"/>
                  <a:gd name="connsiteX21" fmla="*/ 130984 w 199937"/>
                  <a:gd name="connsiteY21" fmla="*/ 304514 h 395024"/>
                  <a:gd name="connsiteX22" fmla="*/ 130984 w 199937"/>
                  <a:gd name="connsiteY22" fmla="*/ 291032 h 395024"/>
                  <a:gd name="connsiteX23" fmla="*/ 113176 w 199937"/>
                  <a:gd name="connsiteY23" fmla="*/ 265941 h 395024"/>
                  <a:gd name="connsiteX24" fmla="*/ 130984 w 199937"/>
                  <a:gd name="connsiteY24" fmla="*/ 245527 h 395024"/>
                  <a:gd name="connsiteX25" fmla="*/ 130984 w 199937"/>
                  <a:gd name="connsiteY25" fmla="*/ 230574 h 395024"/>
                  <a:gd name="connsiteX26" fmla="*/ 119255 w 199937"/>
                  <a:gd name="connsiteY26" fmla="*/ 203084 h 395024"/>
                  <a:gd name="connsiteX27" fmla="*/ 139402 w 199937"/>
                  <a:gd name="connsiteY27" fmla="*/ 178552 h 395024"/>
                  <a:gd name="connsiteX28" fmla="*/ 187985 w 199937"/>
                  <a:gd name="connsiteY28" fmla="*/ 99951 h 395024"/>
                  <a:gd name="connsiteX29" fmla="*/ 99969 w 199937"/>
                  <a:gd name="connsiteY29" fmla="*/ 11926 h 395024"/>
                  <a:gd name="connsiteX30" fmla="*/ 11944 w 199937"/>
                  <a:gd name="connsiteY30" fmla="*/ 99951 h 395024"/>
                  <a:gd name="connsiteX31" fmla="*/ 66133 w 199937"/>
                  <a:gd name="connsiteY31" fmla="*/ 181209 h 395024"/>
                  <a:gd name="connsiteX32" fmla="*/ 69804 w 199937"/>
                  <a:gd name="connsiteY32" fmla="*/ 182740 h 395024"/>
                  <a:gd name="connsiteX33" fmla="*/ 69804 w 199937"/>
                  <a:gd name="connsiteY33" fmla="*/ 369916 h 395024"/>
                  <a:gd name="connsiteX34" fmla="*/ 84414 w 199937"/>
                  <a:gd name="connsiteY34" fmla="*/ 383081 h 39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99937" h="395024">
                    <a:moveTo>
                      <a:pt x="142936" y="395024"/>
                    </a:moveTo>
                    <a:lnTo>
                      <a:pt x="79830" y="395024"/>
                    </a:lnTo>
                    <a:lnTo>
                      <a:pt x="57869" y="375247"/>
                    </a:lnTo>
                    <a:lnTo>
                      <a:pt x="57869" y="190633"/>
                    </a:lnTo>
                    <a:cubicBezTo>
                      <a:pt x="22589" y="174261"/>
                      <a:pt x="9" y="139101"/>
                      <a:pt x="0" y="99969"/>
                    </a:cubicBezTo>
                    <a:cubicBezTo>
                      <a:pt x="0" y="44842"/>
                      <a:pt x="44842" y="0"/>
                      <a:pt x="99969" y="0"/>
                    </a:cubicBezTo>
                    <a:cubicBezTo>
                      <a:pt x="155086" y="0"/>
                      <a:pt x="199937" y="44842"/>
                      <a:pt x="199937" y="99969"/>
                    </a:cubicBezTo>
                    <a:cubicBezTo>
                      <a:pt x="199937" y="137485"/>
                      <a:pt x="179292" y="171329"/>
                      <a:pt x="145972" y="188630"/>
                    </a:cubicBezTo>
                    <a:lnTo>
                      <a:pt x="133048" y="204950"/>
                    </a:lnTo>
                    <a:lnTo>
                      <a:pt x="142945" y="229362"/>
                    </a:lnTo>
                    <a:lnTo>
                      <a:pt x="142945" y="250016"/>
                    </a:lnTo>
                    <a:lnTo>
                      <a:pt x="128379" y="266706"/>
                    </a:lnTo>
                    <a:lnTo>
                      <a:pt x="142945" y="287231"/>
                    </a:lnTo>
                    <a:lnTo>
                      <a:pt x="142945" y="308057"/>
                    </a:lnTo>
                    <a:lnTo>
                      <a:pt x="128009" y="330955"/>
                    </a:lnTo>
                    <a:lnTo>
                      <a:pt x="142945" y="351911"/>
                    </a:lnTo>
                    <a:lnTo>
                      <a:pt x="142945" y="395024"/>
                    </a:lnTo>
                    <a:close/>
                    <a:moveTo>
                      <a:pt x="84414" y="383081"/>
                    </a:moveTo>
                    <a:lnTo>
                      <a:pt x="130984" y="383081"/>
                    </a:lnTo>
                    <a:lnTo>
                      <a:pt x="130984" y="355746"/>
                    </a:lnTo>
                    <a:lnTo>
                      <a:pt x="113546" y="331265"/>
                    </a:lnTo>
                    <a:lnTo>
                      <a:pt x="130984" y="304514"/>
                    </a:lnTo>
                    <a:lnTo>
                      <a:pt x="130984" y="291032"/>
                    </a:lnTo>
                    <a:lnTo>
                      <a:pt x="113176" y="265941"/>
                    </a:lnTo>
                    <a:lnTo>
                      <a:pt x="130984" y="245527"/>
                    </a:lnTo>
                    <a:lnTo>
                      <a:pt x="130984" y="230574"/>
                    </a:lnTo>
                    <a:lnTo>
                      <a:pt x="119255" y="203084"/>
                    </a:lnTo>
                    <a:lnTo>
                      <a:pt x="139402" y="178552"/>
                    </a:lnTo>
                    <a:cubicBezTo>
                      <a:pt x="169369" y="163487"/>
                      <a:pt x="187985" y="133366"/>
                      <a:pt x="187985" y="99951"/>
                    </a:cubicBezTo>
                    <a:cubicBezTo>
                      <a:pt x="187985" y="51412"/>
                      <a:pt x="148500" y="11926"/>
                      <a:pt x="99969" y="11926"/>
                    </a:cubicBezTo>
                    <a:cubicBezTo>
                      <a:pt x="51429" y="11926"/>
                      <a:pt x="11944" y="51412"/>
                      <a:pt x="11944" y="99951"/>
                    </a:cubicBezTo>
                    <a:cubicBezTo>
                      <a:pt x="11952" y="135593"/>
                      <a:pt x="33217" y="167486"/>
                      <a:pt x="66133" y="181209"/>
                    </a:cubicBezTo>
                    <a:lnTo>
                      <a:pt x="69804" y="182740"/>
                    </a:lnTo>
                    <a:lnTo>
                      <a:pt x="69804" y="369916"/>
                    </a:lnTo>
                    <a:lnTo>
                      <a:pt x="84414" y="383081"/>
                    </a:lnTo>
                    <a:close/>
                  </a:path>
                </a:pathLst>
              </a:custGeom>
              <a:solidFill>
                <a:schemeClr val="accent1"/>
              </a:solidFill>
              <a:ln w="858" cap="flat">
                <a:noFill/>
                <a:prstDash val="solid"/>
                <a:miter/>
              </a:ln>
            </p:spPr>
            <p:txBody>
              <a:bodyPr rtlCol="0" anchor="ctr"/>
              <a:lstStyle/>
              <a:p>
                <a:endParaRPr lang="en-GB" dirty="0"/>
              </a:p>
            </p:txBody>
          </p:sp>
          <p:sp>
            <p:nvSpPr>
              <p:cNvPr id="470" name="Freihandform: Form 579">
                <a:extLst>
                  <a:ext uri="{FF2B5EF4-FFF2-40B4-BE49-F238E27FC236}">
                    <a16:creationId xmlns:a16="http://schemas.microsoft.com/office/drawing/2014/main" id="{22167DBC-A26D-42DB-AFA6-FD29CFD06D61}"/>
                  </a:ext>
                </a:extLst>
              </p:cNvPr>
              <p:cNvSpPr/>
              <p:nvPr/>
            </p:nvSpPr>
            <p:spPr>
              <a:xfrm>
                <a:off x="1926495" y="2674289"/>
                <a:ext cx="11943" cy="134913"/>
              </a:xfrm>
              <a:custGeom>
                <a:avLst/>
                <a:gdLst>
                  <a:gd name="connsiteX0" fmla="*/ 0 w 11943"/>
                  <a:gd name="connsiteY0" fmla="*/ 0 h 134913"/>
                  <a:gd name="connsiteX1" fmla="*/ 11944 w 11943"/>
                  <a:gd name="connsiteY1" fmla="*/ 0 h 134913"/>
                  <a:gd name="connsiteX2" fmla="*/ 11944 w 11943"/>
                  <a:gd name="connsiteY2" fmla="*/ 134914 h 134913"/>
                  <a:gd name="connsiteX3" fmla="*/ 0 w 11943"/>
                  <a:gd name="connsiteY3" fmla="*/ 134914 h 134913"/>
                </a:gdLst>
                <a:ahLst/>
                <a:cxnLst>
                  <a:cxn ang="0">
                    <a:pos x="connsiteX0" y="connsiteY0"/>
                  </a:cxn>
                  <a:cxn ang="0">
                    <a:pos x="connsiteX1" y="connsiteY1"/>
                  </a:cxn>
                  <a:cxn ang="0">
                    <a:pos x="connsiteX2" y="connsiteY2"/>
                  </a:cxn>
                  <a:cxn ang="0">
                    <a:pos x="connsiteX3" y="connsiteY3"/>
                  </a:cxn>
                </a:cxnLst>
                <a:rect l="l" t="t" r="r" b="b"/>
                <a:pathLst>
                  <a:path w="11943" h="134913">
                    <a:moveTo>
                      <a:pt x="0" y="0"/>
                    </a:moveTo>
                    <a:lnTo>
                      <a:pt x="11944" y="0"/>
                    </a:lnTo>
                    <a:lnTo>
                      <a:pt x="11944" y="134914"/>
                    </a:lnTo>
                    <a:lnTo>
                      <a:pt x="0" y="134914"/>
                    </a:lnTo>
                    <a:close/>
                  </a:path>
                </a:pathLst>
              </a:custGeom>
              <a:solidFill>
                <a:schemeClr val="accent1"/>
              </a:solidFill>
              <a:ln w="858" cap="flat">
                <a:noFill/>
                <a:prstDash val="solid"/>
                <a:miter/>
              </a:ln>
            </p:spPr>
            <p:txBody>
              <a:bodyPr rtlCol="0" anchor="ctr"/>
              <a:lstStyle/>
              <a:p>
                <a:endParaRPr lang="en-GB" dirty="0"/>
              </a:p>
            </p:txBody>
          </p:sp>
          <p:sp>
            <p:nvSpPr>
              <p:cNvPr id="471" name="Freihandform: Form 580">
                <a:extLst>
                  <a:ext uri="{FF2B5EF4-FFF2-40B4-BE49-F238E27FC236}">
                    <a16:creationId xmlns:a16="http://schemas.microsoft.com/office/drawing/2014/main" id="{1453F126-1837-4ED8-9D42-DEDF063B3F47}"/>
                  </a:ext>
                </a:extLst>
              </p:cNvPr>
              <p:cNvSpPr/>
              <p:nvPr/>
            </p:nvSpPr>
            <p:spPr>
              <a:xfrm>
                <a:off x="1926495" y="2646361"/>
                <a:ext cx="11943" cy="14910"/>
              </a:xfrm>
              <a:custGeom>
                <a:avLst/>
                <a:gdLst>
                  <a:gd name="connsiteX0" fmla="*/ 0 w 11943"/>
                  <a:gd name="connsiteY0" fmla="*/ 0 h 14910"/>
                  <a:gd name="connsiteX1" fmla="*/ 11944 w 11943"/>
                  <a:gd name="connsiteY1" fmla="*/ 0 h 14910"/>
                  <a:gd name="connsiteX2" fmla="*/ 11944 w 11943"/>
                  <a:gd name="connsiteY2" fmla="*/ 14910 h 14910"/>
                  <a:gd name="connsiteX3" fmla="*/ 0 w 11943"/>
                  <a:gd name="connsiteY3" fmla="*/ 14910 h 14910"/>
                </a:gdLst>
                <a:ahLst/>
                <a:cxnLst>
                  <a:cxn ang="0">
                    <a:pos x="connsiteX0" y="connsiteY0"/>
                  </a:cxn>
                  <a:cxn ang="0">
                    <a:pos x="connsiteX1" y="connsiteY1"/>
                  </a:cxn>
                  <a:cxn ang="0">
                    <a:pos x="connsiteX2" y="connsiteY2"/>
                  </a:cxn>
                  <a:cxn ang="0">
                    <a:pos x="connsiteX3" y="connsiteY3"/>
                  </a:cxn>
                </a:cxnLst>
                <a:rect l="l" t="t" r="r" b="b"/>
                <a:pathLst>
                  <a:path w="11943" h="14910">
                    <a:moveTo>
                      <a:pt x="0" y="0"/>
                    </a:moveTo>
                    <a:lnTo>
                      <a:pt x="11944" y="0"/>
                    </a:lnTo>
                    <a:lnTo>
                      <a:pt x="11944" y="14910"/>
                    </a:lnTo>
                    <a:lnTo>
                      <a:pt x="0" y="14910"/>
                    </a:lnTo>
                    <a:close/>
                  </a:path>
                </a:pathLst>
              </a:custGeom>
              <a:solidFill>
                <a:schemeClr val="accent1"/>
              </a:solidFill>
              <a:ln w="858" cap="flat">
                <a:noFill/>
                <a:prstDash val="solid"/>
                <a:miter/>
              </a:ln>
            </p:spPr>
            <p:txBody>
              <a:bodyPr rtlCol="0" anchor="ctr"/>
              <a:lstStyle/>
              <a:p>
                <a:endParaRPr lang="en-GB" dirty="0"/>
              </a:p>
            </p:txBody>
          </p:sp>
          <p:sp>
            <p:nvSpPr>
              <p:cNvPr id="472" name="Freihandform: Form 581">
                <a:extLst>
                  <a:ext uri="{FF2B5EF4-FFF2-40B4-BE49-F238E27FC236}">
                    <a16:creationId xmlns:a16="http://schemas.microsoft.com/office/drawing/2014/main" id="{F3158130-83E7-4AC4-A710-E4AE3BFBF1A1}"/>
                  </a:ext>
                </a:extLst>
              </p:cNvPr>
              <p:cNvSpPr/>
              <p:nvPr/>
            </p:nvSpPr>
            <p:spPr>
              <a:xfrm>
                <a:off x="1908652" y="2488729"/>
                <a:ext cx="67888" cy="67869"/>
              </a:xfrm>
              <a:custGeom>
                <a:avLst/>
                <a:gdLst>
                  <a:gd name="connsiteX0" fmla="*/ 33956 w 67888"/>
                  <a:gd name="connsiteY0" fmla="*/ 67870 h 67869"/>
                  <a:gd name="connsiteX1" fmla="*/ 9949 w 67888"/>
                  <a:gd name="connsiteY1" fmla="*/ 57938 h 67869"/>
                  <a:gd name="connsiteX2" fmla="*/ 0 w 67888"/>
                  <a:gd name="connsiteY2" fmla="*/ 33930 h 67869"/>
                  <a:gd name="connsiteX3" fmla="*/ 9949 w 67888"/>
                  <a:gd name="connsiteY3" fmla="*/ 9931 h 67869"/>
                  <a:gd name="connsiteX4" fmla="*/ 57964 w 67888"/>
                  <a:gd name="connsiteY4" fmla="*/ 9931 h 67869"/>
                  <a:gd name="connsiteX5" fmla="*/ 57964 w 67888"/>
                  <a:gd name="connsiteY5" fmla="*/ 57938 h 67869"/>
                  <a:gd name="connsiteX6" fmla="*/ 33956 w 67888"/>
                  <a:gd name="connsiteY6" fmla="*/ 67870 h 67869"/>
                  <a:gd name="connsiteX7" fmla="*/ 33956 w 67888"/>
                  <a:gd name="connsiteY7" fmla="*/ 11952 h 67869"/>
                  <a:gd name="connsiteX8" fmla="*/ 18393 w 67888"/>
                  <a:gd name="connsiteY8" fmla="*/ 18384 h 67869"/>
                  <a:gd name="connsiteX9" fmla="*/ 11944 w 67888"/>
                  <a:gd name="connsiteY9" fmla="*/ 33939 h 67869"/>
                  <a:gd name="connsiteX10" fmla="*/ 18393 w 67888"/>
                  <a:gd name="connsiteY10" fmla="*/ 49494 h 67869"/>
                  <a:gd name="connsiteX11" fmla="*/ 18393 w 67888"/>
                  <a:gd name="connsiteY11" fmla="*/ 49494 h 67869"/>
                  <a:gd name="connsiteX12" fmla="*/ 49511 w 67888"/>
                  <a:gd name="connsiteY12" fmla="*/ 49494 h 67869"/>
                  <a:gd name="connsiteX13" fmla="*/ 49511 w 67888"/>
                  <a:gd name="connsiteY13" fmla="*/ 18375 h 67869"/>
                  <a:gd name="connsiteX14" fmla="*/ 33956 w 67888"/>
                  <a:gd name="connsiteY14" fmla="*/ 11952 h 6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888" h="67869">
                    <a:moveTo>
                      <a:pt x="33956" y="67870"/>
                    </a:moveTo>
                    <a:cubicBezTo>
                      <a:pt x="25263" y="67870"/>
                      <a:pt x="16570" y="64559"/>
                      <a:pt x="9949" y="57938"/>
                    </a:cubicBezTo>
                    <a:cubicBezTo>
                      <a:pt x="3534" y="51523"/>
                      <a:pt x="0" y="43002"/>
                      <a:pt x="0" y="33930"/>
                    </a:cubicBezTo>
                    <a:cubicBezTo>
                      <a:pt x="0" y="24867"/>
                      <a:pt x="3534" y="16338"/>
                      <a:pt x="9949" y="9931"/>
                    </a:cubicBezTo>
                    <a:cubicBezTo>
                      <a:pt x="23199" y="-3319"/>
                      <a:pt x="44730" y="-3302"/>
                      <a:pt x="57964" y="9931"/>
                    </a:cubicBezTo>
                    <a:cubicBezTo>
                      <a:pt x="71197" y="23165"/>
                      <a:pt x="71197" y="44705"/>
                      <a:pt x="57964" y="57938"/>
                    </a:cubicBezTo>
                    <a:cubicBezTo>
                      <a:pt x="51351" y="64568"/>
                      <a:pt x="42650" y="67870"/>
                      <a:pt x="33956" y="67870"/>
                    </a:cubicBezTo>
                    <a:close/>
                    <a:moveTo>
                      <a:pt x="33956" y="11952"/>
                    </a:moveTo>
                    <a:cubicBezTo>
                      <a:pt x="28315" y="11952"/>
                      <a:pt x="22683" y="14102"/>
                      <a:pt x="18393" y="18384"/>
                    </a:cubicBezTo>
                    <a:cubicBezTo>
                      <a:pt x="14239" y="22546"/>
                      <a:pt x="11944" y="28066"/>
                      <a:pt x="11944" y="33939"/>
                    </a:cubicBezTo>
                    <a:cubicBezTo>
                      <a:pt x="11944" y="39821"/>
                      <a:pt x="14239" y="45341"/>
                      <a:pt x="18393" y="49494"/>
                    </a:cubicBezTo>
                    <a:lnTo>
                      <a:pt x="18393" y="49494"/>
                    </a:lnTo>
                    <a:cubicBezTo>
                      <a:pt x="26966" y="58067"/>
                      <a:pt x="40930" y="58067"/>
                      <a:pt x="49511" y="49494"/>
                    </a:cubicBezTo>
                    <a:cubicBezTo>
                      <a:pt x="58084" y="40913"/>
                      <a:pt x="58084" y="26957"/>
                      <a:pt x="49511" y="18375"/>
                    </a:cubicBezTo>
                    <a:cubicBezTo>
                      <a:pt x="45229" y="14093"/>
                      <a:pt x="39588" y="11952"/>
                      <a:pt x="33956" y="11952"/>
                    </a:cubicBezTo>
                    <a:close/>
                  </a:path>
                </a:pathLst>
              </a:custGeom>
              <a:solidFill>
                <a:schemeClr val="accent1"/>
              </a:solidFill>
              <a:ln w="858" cap="flat">
                <a:noFill/>
                <a:prstDash val="solid"/>
                <a:miter/>
              </a:ln>
            </p:spPr>
            <p:txBody>
              <a:bodyPr rtlCol="0" anchor="ctr"/>
              <a:lstStyle/>
              <a:p>
                <a:endParaRPr lang="en-GB" dirty="0"/>
              </a:p>
            </p:txBody>
          </p:sp>
        </p:grpSp>
        <p:grpSp>
          <p:nvGrpSpPr>
            <p:cNvPr id="452" name="Grafik 7">
              <a:extLst>
                <a:ext uri="{FF2B5EF4-FFF2-40B4-BE49-F238E27FC236}">
                  <a16:creationId xmlns:a16="http://schemas.microsoft.com/office/drawing/2014/main" id="{43650422-D589-4493-B068-14EE355B341E}"/>
                </a:ext>
              </a:extLst>
            </p:cNvPr>
            <p:cNvGrpSpPr/>
            <p:nvPr/>
          </p:nvGrpSpPr>
          <p:grpSpPr>
            <a:xfrm>
              <a:off x="518598" y="1669218"/>
              <a:ext cx="550905" cy="348766"/>
              <a:chOff x="1684037" y="2527957"/>
              <a:chExt cx="519619" cy="328960"/>
            </a:xfrm>
            <a:solidFill>
              <a:srgbClr val="4D4E53"/>
            </a:solidFill>
          </p:grpSpPr>
          <p:sp>
            <p:nvSpPr>
              <p:cNvPr id="453" name="Freihandform: Form 583">
                <a:extLst>
                  <a:ext uri="{FF2B5EF4-FFF2-40B4-BE49-F238E27FC236}">
                    <a16:creationId xmlns:a16="http://schemas.microsoft.com/office/drawing/2014/main" id="{F376C2C8-C361-4555-A20E-E22DB362DBBB}"/>
                  </a:ext>
                </a:extLst>
              </p:cNvPr>
              <p:cNvSpPr/>
              <p:nvPr/>
            </p:nvSpPr>
            <p:spPr>
              <a:xfrm>
                <a:off x="2009008" y="2700507"/>
                <a:ext cx="114526" cy="40327"/>
              </a:xfrm>
              <a:custGeom>
                <a:avLst/>
                <a:gdLst>
                  <a:gd name="connsiteX0" fmla="*/ 114526 w 114526"/>
                  <a:gd name="connsiteY0" fmla="*/ 40328 h 40327"/>
                  <a:gd name="connsiteX1" fmla="*/ 40758 w 114526"/>
                  <a:gd name="connsiteY1" fmla="*/ 40328 h 40327"/>
                  <a:gd name="connsiteX2" fmla="*/ 0 w 114526"/>
                  <a:gd name="connsiteY2" fmla="*/ 9536 h 40327"/>
                  <a:gd name="connsiteX3" fmla="*/ 7197 w 114526"/>
                  <a:gd name="connsiteY3" fmla="*/ 0 h 40327"/>
                  <a:gd name="connsiteX4" fmla="*/ 44765 w 114526"/>
                  <a:gd name="connsiteY4" fmla="*/ 28384 h 40327"/>
                  <a:gd name="connsiteX5" fmla="*/ 114526 w 114526"/>
                  <a:gd name="connsiteY5" fmla="*/ 28384 h 4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26" h="40327">
                    <a:moveTo>
                      <a:pt x="114526" y="40328"/>
                    </a:moveTo>
                    <a:lnTo>
                      <a:pt x="40758" y="40328"/>
                    </a:lnTo>
                    <a:lnTo>
                      <a:pt x="0" y="9536"/>
                    </a:lnTo>
                    <a:lnTo>
                      <a:pt x="7197" y="0"/>
                    </a:lnTo>
                    <a:lnTo>
                      <a:pt x="44765" y="28384"/>
                    </a:lnTo>
                    <a:lnTo>
                      <a:pt x="114526" y="28384"/>
                    </a:lnTo>
                    <a:close/>
                  </a:path>
                </a:pathLst>
              </a:custGeom>
              <a:solidFill>
                <a:schemeClr val="tx2"/>
              </a:solidFill>
              <a:ln w="858" cap="flat">
                <a:noFill/>
                <a:prstDash val="solid"/>
                <a:miter/>
              </a:ln>
            </p:spPr>
            <p:txBody>
              <a:bodyPr rtlCol="0" anchor="ctr"/>
              <a:lstStyle/>
              <a:p>
                <a:endParaRPr lang="en-GB" dirty="0"/>
              </a:p>
            </p:txBody>
          </p:sp>
          <p:sp>
            <p:nvSpPr>
              <p:cNvPr id="454" name="Freihandform: Form 584">
                <a:extLst>
                  <a:ext uri="{FF2B5EF4-FFF2-40B4-BE49-F238E27FC236}">
                    <a16:creationId xmlns:a16="http://schemas.microsoft.com/office/drawing/2014/main" id="{294C095F-3FBF-4360-930B-A61572DC0E91}"/>
                  </a:ext>
                </a:extLst>
              </p:cNvPr>
              <p:cNvSpPr/>
              <p:nvPr/>
            </p:nvSpPr>
            <p:spPr>
              <a:xfrm>
                <a:off x="1764168" y="2701246"/>
                <a:ext cx="110983" cy="39588"/>
              </a:xfrm>
              <a:custGeom>
                <a:avLst/>
                <a:gdLst>
                  <a:gd name="connsiteX0" fmla="*/ 82229 w 110983"/>
                  <a:gd name="connsiteY0" fmla="*/ 39588 h 39588"/>
                  <a:gd name="connsiteX1" fmla="*/ 0 w 110983"/>
                  <a:gd name="connsiteY1" fmla="*/ 39588 h 39588"/>
                  <a:gd name="connsiteX2" fmla="*/ 0 w 110983"/>
                  <a:gd name="connsiteY2" fmla="*/ 27645 h 39588"/>
                  <a:gd name="connsiteX3" fmla="*/ 76958 w 110983"/>
                  <a:gd name="connsiteY3" fmla="*/ 27645 h 39588"/>
                  <a:gd name="connsiteX4" fmla="*/ 102153 w 110983"/>
                  <a:gd name="connsiteY4" fmla="*/ 0 h 39588"/>
                  <a:gd name="connsiteX5" fmla="*/ 110983 w 110983"/>
                  <a:gd name="connsiteY5" fmla="*/ 8048 h 3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0983" h="39588">
                    <a:moveTo>
                      <a:pt x="82229" y="39588"/>
                    </a:moveTo>
                    <a:lnTo>
                      <a:pt x="0" y="39588"/>
                    </a:lnTo>
                    <a:lnTo>
                      <a:pt x="0" y="27645"/>
                    </a:lnTo>
                    <a:lnTo>
                      <a:pt x="76958" y="27645"/>
                    </a:lnTo>
                    <a:lnTo>
                      <a:pt x="102153" y="0"/>
                    </a:lnTo>
                    <a:lnTo>
                      <a:pt x="110983" y="8048"/>
                    </a:lnTo>
                    <a:close/>
                  </a:path>
                </a:pathLst>
              </a:custGeom>
              <a:solidFill>
                <a:schemeClr val="tx2"/>
              </a:solidFill>
              <a:ln w="858" cap="flat">
                <a:noFill/>
                <a:prstDash val="solid"/>
                <a:miter/>
              </a:ln>
            </p:spPr>
            <p:txBody>
              <a:bodyPr rtlCol="0" anchor="ctr"/>
              <a:lstStyle/>
              <a:p>
                <a:endParaRPr lang="en-GB" dirty="0"/>
              </a:p>
            </p:txBody>
          </p:sp>
          <p:sp>
            <p:nvSpPr>
              <p:cNvPr id="455" name="Freihandform: Form 585">
                <a:extLst>
                  <a:ext uri="{FF2B5EF4-FFF2-40B4-BE49-F238E27FC236}">
                    <a16:creationId xmlns:a16="http://schemas.microsoft.com/office/drawing/2014/main" id="{33A93558-B110-46CC-A78B-873F9E690D22}"/>
                  </a:ext>
                </a:extLst>
              </p:cNvPr>
              <p:cNvSpPr/>
              <p:nvPr/>
            </p:nvSpPr>
            <p:spPr>
              <a:xfrm>
                <a:off x="1707933" y="2703766"/>
                <a:ext cx="62211" cy="62202"/>
              </a:xfrm>
              <a:custGeom>
                <a:avLst/>
                <a:gdLst>
                  <a:gd name="connsiteX0" fmla="*/ 31102 w 62211"/>
                  <a:gd name="connsiteY0" fmla="*/ 62203 h 62202"/>
                  <a:gd name="connsiteX1" fmla="*/ 0 w 62211"/>
                  <a:gd name="connsiteY1" fmla="*/ 31102 h 62202"/>
                  <a:gd name="connsiteX2" fmla="*/ 31102 w 62211"/>
                  <a:gd name="connsiteY2" fmla="*/ 0 h 62202"/>
                  <a:gd name="connsiteX3" fmla="*/ 62212 w 62211"/>
                  <a:gd name="connsiteY3" fmla="*/ 31102 h 62202"/>
                  <a:gd name="connsiteX4" fmla="*/ 31102 w 62211"/>
                  <a:gd name="connsiteY4" fmla="*/ 62203 h 62202"/>
                  <a:gd name="connsiteX5" fmla="*/ 31102 w 62211"/>
                  <a:gd name="connsiteY5" fmla="*/ 11944 h 62202"/>
                  <a:gd name="connsiteX6" fmla="*/ 11944 w 62211"/>
                  <a:gd name="connsiteY6" fmla="*/ 31102 h 62202"/>
                  <a:gd name="connsiteX7" fmla="*/ 31102 w 62211"/>
                  <a:gd name="connsiteY7" fmla="*/ 50259 h 62202"/>
                  <a:gd name="connsiteX8" fmla="*/ 50259 w 62211"/>
                  <a:gd name="connsiteY8" fmla="*/ 31102 h 62202"/>
                  <a:gd name="connsiteX9" fmla="*/ 31102 w 62211"/>
                  <a:gd name="connsiteY9" fmla="*/ 11944 h 6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11" h="62202">
                    <a:moveTo>
                      <a:pt x="31102" y="62203"/>
                    </a:moveTo>
                    <a:cubicBezTo>
                      <a:pt x="13947" y="62203"/>
                      <a:pt x="0" y="48247"/>
                      <a:pt x="0" y="31102"/>
                    </a:cubicBezTo>
                    <a:cubicBezTo>
                      <a:pt x="0" y="13956"/>
                      <a:pt x="13956" y="0"/>
                      <a:pt x="31102" y="0"/>
                    </a:cubicBezTo>
                    <a:cubicBezTo>
                      <a:pt x="48256" y="0"/>
                      <a:pt x="62212" y="13956"/>
                      <a:pt x="62212" y="31102"/>
                    </a:cubicBezTo>
                    <a:cubicBezTo>
                      <a:pt x="62212" y="48247"/>
                      <a:pt x="48256" y="62203"/>
                      <a:pt x="31102" y="62203"/>
                    </a:cubicBezTo>
                    <a:close/>
                    <a:moveTo>
                      <a:pt x="31102" y="11944"/>
                    </a:moveTo>
                    <a:cubicBezTo>
                      <a:pt x="20534" y="11944"/>
                      <a:pt x="11944" y="20534"/>
                      <a:pt x="11944" y="31102"/>
                    </a:cubicBezTo>
                    <a:cubicBezTo>
                      <a:pt x="11944" y="41669"/>
                      <a:pt x="20534" y="50259"/>
                      <a:pt x="31102" y="50259"/>
                    </a:cubicBezTo>
                    <a:cubicBezTo>
                      <a:pt x="41669" y="50259"/>
                      <a:pt x="50259" y="41669"/>
                      <a:pt x="50259" y="31102"/>
                    </a:cubicBezTo>
                    <a:cubicBezTo>
                      <a:pt x="50259" y="20534"/>
                      <a:pt x="41661" y="11944"/>
                      <a:pt x="31102" y="11944"/>
                    </a:cubicBezTo>
                    <a:close/>
                  </a:path>
                </a:pathLst>
              </a:custGeom>
              <a:solidFill>
                <a:schemeClr val="tx2"/>
              </a:solidFill>
              <a:ln w="858" cap="flat">
                <a:noFill/>
                <a:prstDash val="solid"/>
                <a:miter/>
              </a:ln>
            </p:spPr>
            <p:txBody>
              <a:bodyPr rtlCol="0" anchor="ctr"/>
              <a:lstStyle/>
              <a:p>
                <a:endParaRPr lang="en-GB" dirty="0"/>
              </a:p>
            </p:txBody>
          </p:sp>
          <p:sp>
            <p:nvSpPr>
              <p:cNvPr id="456" name="Freihandform: Form 586">
                <a:extLst>
                  <a:ext uri="{FF2B5EF4-FFF2-40B4-BE49-F238E27FC236}">
                    <a16:creationId xmlns:a16="http://schemas.microsoft.com/office/drawing/2014/main" id="{899D32C5-CA64-4C01-A1F0-9C512D9CB897}"/>
                  </a:ext>
                </a:extLst>
              </p:cNvPr>
              <p:cNvSpPr/>
              <p:nvPr/>
            </p:nvSpPr>
            <p:spPr>
              <a:xfrm>
                <a:off x="2117558" y="2703766"/>
                <a:ext cx="62202" cy="62202"/>
              </a:xfrm>
              <a:custGeom>
                <a:avLst/>
                <a:gdLst>
                  <a:gd name="connsiteX0" fmla="*/ 31102 w 62202"/>
                  <a:gd name="connsiteY0" fmla="*/ 62203 h 62202"/>
                  <a:gd name="connsiteX1" fmla="*/ 0 w 62202"/>
                  <a:gd name="connsiteY1" fmla="*/ 31102 h 62202"/>
                  <a:gd name="connsiteX2" fmla="*/ 31102 w 62202"/>
                  <a:gd name="connsiteY2" fmla="*/ 0 h 62202"/>
                  <a:gd name="connsiteX3" fmla="*/ 62203 w 62202"/>
                  <a:gd name="connsiteY3" fmla="*/ 31102 h 62202"/>
                  <a:gd name="connsiteX4" fmla="*/ 31102 w 62202"/>
                  <a:gd name="connsiteY4" fmla="*/ 62203 h 62202"/>
                  <a:gd name="connsiteX5" fmla="*/ 31102 w 62202"/>
                  <a:gd name="connsiteY5" fmla="*/ 11944 h 62202"/>
                  <a:gd name="connsiteX6" fmla="*/ 11944 w 62202"/>
                  <a:gd name="connsiteY6" fmla="*/ 31102 h 62202"/>
                  <a:gd name="connsiteX7" fmla="*/ 31102 w 62202"/>
                  <a:gd name="connsiteY7" fmla="*/ 50259 h 62202"/>
                  <a:gd name="connsiteX8" fmla="*/ 50259 w 62202"/>
                  <a:gd name="connsiteY8" fmla="*/ 31102 h 62202"/>
                  <a:gd name="connsiteX9" fmla="*/ 31102 w 62202"/>
                  <a:gd name="connsiteY9" fmla="*/ 11944 h 6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02" h="62202">
                    <a:moveTo>
                      <a:pt x="31102" y="62203"/>
                    </a:moveTo>
                    <a:cubicBezTo>
                      <a:pt x="13947" y="62203"/>
                      <a:pt x="0" y="48247"/>
                      <a:pt x="0" y="31102"/>
                    </a:cubicBezTo>
                    <a:cubicBezTo>
                      <a:pt x="0" y="13956"/>
                      <a:pt x="13956" y="0"/>
                      <a:pt x="31102" y="0"/>
                    </a:cubicBezTo>
                    <a:cubicBezTo>
                      <a:pt x="48247" y="0"/>
                      <a:pt x="62203" y="13956"/>
                      <a:pt x="62203" y="31102"/>
                    </a:cubicBezTo>
                    <a:cubicBezTo>
                      <a:pt x="62203" y="48247"/>
                      <a:pt x="48247" y="62203"/>
                      <a:pt x="31102" y="62203"/>
                    </a:cubicBezTo>
                    <a:close/>
                    <a:moveTo>
                      <a:pt x="31102" y="11944"/>
                    </a:moveTo>
                    <a:cubicBezTo>
                      <a:pt x="20534" y="11944"/>
                      <a:pt x="11944" y="20534"/>
                      <a:pt x="11944" y="31102"/>
                    </a:cubicBezTo>
                    <a:cubicBezTo>
                      <a:pt x="11944" y="41669"/>
                      <a:pt x="20534" y="50259"/>
                      <a:pt x="31102" y="50259"/>
                    </a:cubicBezTo>
                    <a:cubicBezTo>
                      <a:pt x="41661" y="50259"/>
                      <a:pt x="50259" y="41669"/>
                      <a:pt x="50259" y="31102"/>
                    </a:cubicBezTo>
                    <a:cubicBezTo>
                      <a:pt x="50259" y="20534"/>
                      <a:pt x="41669" y="11944"/>
                      <a:pt x="31102" y="11944"/>
                    </a:cubicBezTo>
                    <a:close/>
                  </a:path>
                </a:pathLst>
              </a:custGeom>
              <a:solidFill>
                <a:schemeClr val="tx2"/>
              </a:solidFill>
              <a:ln w="858" cap="flat">
                <a:noFill/>
                <a:prstDash val="solid"/>
                <a:miter/>
              </a:ln>
            </p:spPr>
            <p:txBody>
              <a:bodyPr rtlCol="0" anchor="ctr"/>
              <a:lstStyle/>
              <a:p>
                <a:endParaRPr lang="en-GB" dirty="0"/>
              </a:p>
            </p:txBody>
          </p:sp>
          <p:sp>
            <p:nvSpPr>
              <p:cNvPr id="457" name="Freihandform: Form 587">
                <a:extLst>
                  <a:ext uri="{FF2B5EF4-FFF2-40B4-BE49-F238E27FC236}">
                    <a16:creationId xmlns:a16="http://schemas.microsoft.com/office/drawing/2014/main" id="{5DD8DBCA-78E2-4B74-8B9B-963EFD25FDF8}"/>
                  </a:ext>
                </a:extLst>
              </p:cNvPr>
              <p:cNvSpPr/>
              <p:nvPr/>
            </p:nvSpPr>
            <p:spPr>
              <a:xfrm>
                <a:off x="2093662" y="2794706"/>
                <a:ext cx="62203" cy="62211"/>
              </a:xfrm>
              <a:custGeom>
                <a:avLst/>
                <a:gdLst>
                  <a:gd name="connsiteX0" fmla="*/ 31102 w 62203"/>
                  <a:gd name="connsiteY0" fmla="*/ 62212 h 62211"/>
                  <a:gd name="connsiteX1" fmla="*/ 0 w 62203"/>
                  <a:gd name="connsiteY1" fmla="*/ 31102 h 62211"/>
                  <a:gd name="connsiteX2" fmla="*/ 31102 w 62203"/>
                  <a:gd name="connsiteY2" fmla="*/ 0 h 62211"/>
                  <a:gd name="connsiteX3" fmla="*/ 62203 w 62203"/>
                  <a:gd name="connsiteY3" fmla="*/ 31102 h 62211"/>
                  <a:gd name="connsiteX4" fmla="*/ 31102 w 62203"/>
                  <a:gd name="connsiteY4" fmla="*/ 62212 h 62211"/>
                  <a:gd name="connsiteX5" fmla="*/ 31102 w 62203"/>
                  <a:gd name="connsiteY5" fmla="*/ 11952 h 62211"/>
                  <a:gd name="connsiteX6" fmla="*/ 11944 w 62203"/>
                  <a:gd name="connsiteY6" fmla="*/ 31110 h 62211"/>
                  <a:gd name="connsiteX7" fmla="*/ 31102 w 62203"/>
                  <a:gd name="connsiteY7" fmla="*/ 50268 h 62211"/>
                  <a:gd name="connsiteX8" fmla="*/ 50259 w 62203"/>
                  <a:gd name="connsiteY8" fmla="*/ 31110 h 62211"/>
                  <a:gd name="connsiteX9" fmla="*/ 31102 w 62203"/>
                  <a:gd name="connsiteY9" fmla="*/ 11952 h 6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03" h="62211">
                    <a:moveTo>
                      <a:pt x="31102" y="62212"/>
                    </a:moveTo>
                    <a:cubicBezTo>
                      <a:pt x="13947" y="62212"/>
                      <a:pt x="0" y="48256"/>
                      <a:pt x="0" y="31102"/>
                    </a:cubicBezTo>
                    <a:cubicBezTo>
                      <a:pt x="0" y="13956"/>
                      <a:pt x="13956" y="0"/>
                      <a:pt x="31102" y="0"/>
                    </a:cubicBezTo>
                    <a:cubicBezTo>
                      <a:pt x="48247" y="0"/>
                      <a:pt x="62203" y="13956"/>
                      <a:pt x="62203" y="31102"/>
                    </a:cubicBezTo>
                    <a:cubicBezTo>
                      <a:pt x="62212" y="48265"/>
                      <a:pt x="48256" y="62212"/>
                      <a:pt x="31102" y="62212"/>
                    </a:cubicBezTo>
                    <a:close/>
                    <a:moveTo>
                      <a:pt x="31102" y="11952"/>
                    </a:moveTo>
                    <a:cubicBezTo>
                      <a:pt x="20534" y="11952"/>
                      <a:pt x="11944" y="20542"/>
                      <a:pt x="11944" y="31110"/>
                    </a:cubicBezTo>
                    <a:cubicBezTo>
                      <a:pt x="11944" y="41678"/>
                      <a:pt x="20534" y="50268"/>
                      <a:pt x="31102" y="50268"/>
                    </a:cubicBezTo>
                    <a:cubicBezTo>
                      <a:pt x="41661" y="50268"/>
                      <a:pt x="50259" y="41669"/>
                      <a:pt x="50259" y="31110"/>
                    </a:cubicBezTo>
                    <a:cubicBezTo>
                      <a:pt x="50259" y="20542"/>
                      <a:pt x="41669" y="11952"/>
                      <a:pt x="31102" y="11952"/>
                    </a:cubicBezTo>
                    <a:close/>
                  </a:path>
                </a:pathLst>
              </a:custGeom>
              <a:solidFill>
                <a:schemeClr val="tx2"/>
              </a:solidFill>
              <a:ln w="858" cap="flat">
                <a:noFill/>
                <a:prstDash val="solid"/>
                <a:miter/>
              </a:ln>
            </p:spPr>
            <p:txBody>
              <a:bodyPr rtlCol="0" anchor="ctr"/>
              <a:lstStyle/>
              <a:p>
                <a:endParaRPr lang="en-GB" dirty="0"/>
              </a:p>
            </p:txBody>
          </p:sp>
          <p:sp>
            <p:nvSpPr>
              <p:cNvPr id="458" name="Freihandform: Form 588">
                <a:extLst>
                  <a:ext uri="{FF2B5EF4-FFF2-40B4-BE49-F238E27FC236}">
                    <a16:creationId xmlns:a16="http://schemas.microsoft.com/office/drawing/2014/main" id="{26F74EC2-E1F2-4D26-A9F1-AF8A152A5748}"/>
                  </a:ext>
                </a:extLst>
              </p:cNvPr>
              <p:cNvSpPr/>
              <p:nvPr/>
            </p:nvSpPr>
            <p:spPr>
              <a:xfrm>
                <a:off x="1731820" y="2794706"/>
                <a:ext cx="62211" cy="62211"/>
              </a:xfrm>
              <a:custGeom>
                <a:avLst/>
                <a:gdLst>
                  <a:gd name="connsiteX0" fmla="*/ 31110 w 62211"/>
                  <a:gd name="connsiteY0" fmla="*/ 62212 h 62211"/>
                  <a:gd name="connsiteX1" fmla="*/ 0 w 62211"/>
                  <a:gd name="connsiteY1" fmla="*/ 31102 h 62211"/>
                  <a:gd name="connsiteX2" fmla="*/ 31110 w 62211"/>
                  <a:gd name="connsiteY2" fmla="*/ 0 h 62211"/>
                  <a:gd name="connsiteX3" fmla="*/ 62212 w 62211"/>
                  <a:gd name="connsiteY3" fmla="*/ 31102 h 62211"/>
                  <a:gd name="connsiteX4" fmla="*/ 31110 w 62211"/>
                  <a:gd name="connsiteY4" fmla="*/ 62212 h 62211"/>
                  <a:gd name="connsiteX5" fmla="*/ 31110 w 62211"/>
                  <a:gd name="connsiteY5" fmla="*/ 11952 h 62211"/>
                  <a:gd name="connsiteX6" fmla="*/ 11952 w 62211"/>
                  <a:gd name="connsiteY6" fmla="*/ 31110 h 62211"/>
                  <a:gd name="connsiteX7" fmla="*/ 31110 w 62211"/>
                  <a:gd name="connsiteY7" fmla="*/ 50268 h 62211"/>
                  <a:gd name="connsiteX8" fmla="*/ 50268 w 62211"/>
                  <a:gd name="connsiteY8" fmla="*/ 31110 h 62211"/>
                  <a:gd name="connsiteX9" fmla="*/ 31110 w 62211"/>
                  <a:gd name="connsiteY9" fmla="*/ 11952 h 6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11" h="62211">
                    <a:moveTo>
                      <a:pt x="31110" y="62212"/>
                    </a:moveTo>
                    <a:cubicBezTo>
                      <a:pt x="13956" y="62212"/>
                      <a:pt x="0" y="48256"/>
                      <a:pt x="0" y="31102"/>
                    </a:cubicBezTo>
                    <a:cubicBezTo>
                      <a:pt x="0" y="13956"/>
                      <a:pt x="13956" y="0"/>
                      <a:pt x="31110" y="0"/>
                    </a:cubicBezTo>
                    <a:cubicBezTo>
                      <a:pt x="48256" y="0"/>
                      <a:pt x="62212" y="13956"/>
                      <a:pt x="62212" y="31102"/>
                    </a:cubicBezTo>
                    <a:cubicBezTo>
                      <a:pt x="62212" y="48265"/>
                      <a:pt x="48265" y="62212"/>
                      <a:pt x="31110" y="62212"/>
                    </a:cubicBezTo>
                    <a:close/>
                    <a:moveTo>
                      <a:pt x="31110" y="11952"/>
                    </a:moveTo>
                    <a:cubicBezTo>
                      <a:pt x="20542" y="11952"/>
                      <a:pt x="11952" y="20542"/>
                      <a:pt x="11952" y="31110"/>
                    </a:cubicBezTo>
                    <a:cubicBezTo>
                      <a:pt x="11952" y="41678"/>
                      <a:pt x="20551" y="50268"/>
                      <a:pt x="31110" y="50268"/>
                    </a:cubicBezTo>
                    <a:cubicBezTo>
                      <a:pt x="41678" y="50268"/>
                      <a:pt x="50268" y="41669"/>
                      <a:pt x="50268" y="31110"/>
                    </a:cubicBezTo>
                    <a:cubicBezTo>
                      <a:pt x="50268" y="20542"/>
                      <a:pt x="41678" y="11952"/>
                      <a:pt x="31110" y="11952"/>
                    </a:cubicBezTo>
                    <a:close/>
                  </a:path>
                </a:pathLst>
              </a:custGeom>
              <a:solidFill>
                <a:schemeClr val="tx2"/>
              </a:solidFill>
              <a:ln w="858" cap="flat">
                <a:noFill/>
                <a:prstDash val="solid"/>
                <a:miter/>
              </a:ln>
            </p:spPr>
            <p:txBody>
              <a:bodyPr rtlCol="0" anchor="ctr"/>
              <a:lstStyle/>
              <a:p>
                <a:endParaRPr lang="en-GB" dirty="0"/>
              </a:p>
            </p:txBody>
          </p:sp>
          <p:sp>
            <p:nvSpPr>
              <p:cNvPr id="459" name="Freihandform: Form 589">
                <a:extLst>
                  <a:ext uri="{FF2B5EF4-FFF2-40B4-BE49-F238E27FC236}">
                    <a16:creationId xmlns:a16="http://schemas.microsoft.com/office/drawing/2014/main" id="{198F5BC1-626B-428D-A360-5F231C3CBD60}"/>
                  </a:ext>
                </a:extLst>
              </p:cNvPr>
              <p:cNvSpPr/>
              <p:nvPr/>
            </p:nvSpPr>
            <p:spPr>
              <a:xfrm>
                <a:off x="2019610" y="2640987"/>
                <a:ext cx="127811" cy="11943"/>
              </a:xfrm>
              <a:custGeom>
                <a:avLst/>
                <a:gdLst>
                  <a:gd name="connsiteX0" fmla="*/ 0 w 127811"/>
                  <a:gd name="connsiteY0" fmla="*/ 0 h 11943"/>
                  <a:gd name="connsiteX1" fmla="*/ 127811 w 127811"/>
                  <a:gd name="connsiteY1" fmla="*/ 0 h 11943"/>
                  <a:gd name="connsiteX2" fmla="*/ 127811 w 127811"/>
                  <a:gd name="connsiteY2" fmla="*/ 11944 h 11943"/>
                  <a:gd name="connsiteX3" fmla="*/ 0 w 127811"/>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27811" h="11943">
                    <a:moveTo>
                      <a:pt x="0" y="0"/>
                    </a:moveTo>
                    <a:lnTo>
                      <a:pt x="127811" y="0"/>
                    </a:lnTo>
                    <a:lnTo>
                      <a:pt x="127811" y="11944"/>
                    </a:lnTo>
                    <a:lnTo>
                      <a:pt x="0" y="11944"/>
                    </a:lnTo>
                    <a:close/>
                  </a:path>
                </a:pathLst>
              </a:custGeom>
              <a:solidFill>
                <a:schemeClr val="tx2"/>
              </a:solidFill>
              <a:ln w="858" cap="flat">
                <a:noFill/>
                <a:prstDash val="solid"/>
                <a:miter/>
              </a:ln>
            </p:spPr>
            <p:txBody>
              <a:bodyPr rtlCol="0" anchor="ctr"/>
              <a:lstStyle/>
              <a:p>
                <a:endParaRPr lang="en-GB" dirty="0"/>
              </a:p>
            </p:txBody>
          </p:sp>
          <p:sp>
            <p:nvSpPr>
              <p:cNvPr id="460" name="Freihandform: Form 590">
                <a:extLst>
                  <a:ext uri="{FF2B5EF4-FFF2-40B4-BE49-F238E27FC236}">
                    <a16:creationId xmlns:a16="http://schemas.microsoft.com/office/drawing/2014/main" id="{2F465977-624C-4B1A-84CE-1DCD2C2582D7}"/>
                  </a:ext>
                </a:extLst>
              </p:cNvPr>
              <p:cNvSpPr/>
              <p:nvPr/>
            </p:nvSpPr>
            <p:spPr>
              <a:xfrm>
                <a:off x="1740273" y="2640987"/>
                <a:ext cx="130468" cy="11943"/>
              </a:xfrm>
              <a:custGeom>
                <a:avLst/>
                <a:gdLst>
                  <a:gd name="connsiteX0" fmla="*/ 0 w 130468"/>
                  <a:gd name="connsiteY0" fmla="*/ 0 h 11943"/>
                  <a:gd name="connsiteX1" fmla="*/ 130468 w 130468"/>
                  <a:gd name="connsiteY1" fmla="*/ 0 h 11943"/>
                  <a:gd name="connsiteX2" fmla="*/ 130468 w 130468"/>
                  <a:gd name="connsiteY2" fmla="*/ 11944 h 11943"/>
                  <a:gd name="connsiteX3" fmla="*/ 0 w 130468"/>
                  <a:gd name="connsiteY3" fmla="*/ 11944 h 11943"/>
                </a:gdLst>
                <a:ahLst/>
                <a:cxnLst>
                  <a:cxn ang="0">
                    <a:pos x="connsiteX0" y="connsiteY0"/>
                  </a:cxn>
                  <a:cxn ang="0">
                    <a:pos x="connsiteX1" y="connsiteY1"/>
                  </a:cxn>
                  <a:cxn ang="0">
                    <a:pos x="connsiteX2" y="connsiteY2"/>
                  </a:cxn>
                  <a:cxn ang="0">
                    <a:pos x="connsiteX3" y="connsiteY3"/>
                  </a:cxn>
                </a:cxnLst>
                <a:rect l="l" t="t" r="r" b="b"/>
                <a:pathLst>
                  <a:path w="130468" h="11943">
                    <a:moveTo>
                      <a:pt x="0" y="0"/>
                    </a:moveTo>
                    <a:lnTo>
                      <a:pt x="130468" y="0"/>
                    </a:lnTo>
                    <a:lnTo>
                      <a:pt x="130468" y="11944"/>
                    </a:lnTo>
                    <a:lnTo>
                      <a:pt x="0" y="11944"/>
                    </a:lnTo>
                    <a:close/>
                  </a:path>
                </a:pathLst>
              </a:custGeom>
              <a:solidFill>
                <a:schemeClr val="tx2"/>
              </a:solidFill>
              <a:ln w="858" cap="flat">
                <a:noFill/>
                <a:prstDash val="solid"/>
                <a:miter/>
              </a:ln>
            </p:spPr>
            <p:txBody>
              <a:bodyPr rtlCol="0" anchor="ctr"/>
              <a:lstStyle/>
              <a:p>
                <a:endParaRPr lang="en-GB" dirty="0"/>
              </a:p>
            </p:txBody>
          </p:sp>
          <p:sp>
            <p:nvSpPr>
              <p:cNvPr id="461" name="Freihandform: Form 591">
                <a:extLst>
                  <a:ext uri="{FF2B5EF4-FFF2-40B4-BE49-F238E27FC236}">
                    <a16:creationId xmlns:a16="http://schemas.microsoft.com/office/drawing/2014/main" id="{58E69975-2756-454D-BBF7-0602DAAC2222}"/>
                  </a:ext>
                </a:extLst>
              </p:cNvPr>
              <p:cNvSpPr/>
              <p:nvPr/>
            </p:nvSpPr>
            <p:spPr>
              <a:xfrm>
                <a:off x="1684037" y="2615853"/>
                <a:ext cx="62203" cy="62211"/>
              </a:xfrm>
              <a:custGeom>
                <a:avLst/>
                <a:gdLst>
                  <a:gd name="connsiteX0" fmla="*/ 31101 w 62203"/>
                  <a:gd name="connsiteY0" fmla="*/ 62212 h 62211"/>
                  <a:gd name="connsiteX1" fmla="*/ 0 w 62203"/>
                  <a:gd name="connsiteY1" fmla="*/ 31110 h 62211"/>
                  <a:gd name="connsiteX2" fmla="*/ 31101 w 62203"/>
                  <a:gd name="connsiteY2" fmla="*/ 0 h 62211"/>
                  <a:gd name="connsiteX3" fmla="*/ 62203 w 62203"/>
                  <a:gd name="connsiteY3" fmla="*/ 31110 h 62211"/>
                  <a:gd name="connsiteX4" fmla="*/ 31101 w 62203"/>
                  <a:gd name="connsiteY4" fmla="*/ 62212 h 62211"/>
                  <a:gd name="connsiteX5" fmla="*/ 31101 w 62203"/>
                  <a:gd name="connsiteY5" fmla="*/ 11952 h 62211"/>
                  <a:gd name="connsiteX6" fmla="*/ 11944 w 62203"/>
                  <a:gd name="connsiteY6" fmla="*/ 31110 h 62211"/>
                  <a:gd name="connsiteX7" fmla="*/ 31101 w 62203"/>
                  <a:gd name="connsiteY7" fmla="*/ 50268 h 62211"/>
                  <a:gd name="connsiteX8" fmla="*/ 50259 w 62203"/>
                  <a:gd name="connsiteY8" fmla="*/ 31110 h 62211"/>
                  <a:gd name="connsiteX9" fmla="*/ 31101 w 62203"/>
                  <a:gd name="connsiteY9" fmla="*/ 11952 h 6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03" h="62211">
                    <a:moveTo>
                      <a:pt x="31101" y="62212"/>
                    </a:moveTo>
                    <a:cubicBezTo>
                      <a:pt x="13947" y="62212"/>
                      <a:pt x="0" y="48256"/>
                      <a:pt x="0" y="31110"/>
                    </a:cubicBezTo>
                    <a:cubicBezTo>
                      <a:pt x="0" y="13956"/>
                      <a:pt x="13956" y="0"/>
                      <a:pt x="31101" y="0"/>
                    </a:cubicBezTo>
                    <a:cubicBezTo>
                      <a:pt x="48247" y="0"/>
                      <a:pt x="62203" y="13956"/>
                      <a:pt x="62203" y="31110"/>
                    </a:cubicBezTo>
                    <a:cubicBezTo>
                      <a:pt x="62203" y="48265"/>
                      <a:pt x="48256" y="62212"/>
                      <a:pt x="31101" y="62212"/>
                    </a:cubicBezTo>
                    <a:close/>
                    <a:moveTo>
                      <a:pt x="31101" y="11952"/>
                    </a:moveTo>
                    <a:cubicBezTo>
                      <a:pt x="20534" y="11952"/>
                      <a:pt x="11944" y="20551"/>
                      <a:pt x="11944" y="31110"/>
                    </a:cubicBezTo>
                    <a:cubicBezTo>
                      <a:pt x="11944" y="41678"/>
                      <a:pt x="20534" y="50268"/>
                      <a:pt x="31101" y="50268"/>
                    </a:cubicBezTo>
                    <a:cubicBezTo>
                      <a:pt x="41669" y="50268"/>
                      <a:pt x="50259" y="41678"/>
                      <a:pt x="50259" y="31110"/>
                    </a:cubicBezTo>
                    <a:cubicBezTo>
                      <a:pt x="50259" y="20551"/>
                      <a:pt x="41669" y="11952"/>
                      <a:pt x="31101" y="11952"/>
                    </a:cubicBezTo>
                    <a:close/>
                  </a:path>
                </a:pathLst>
              </a:custGeom>
              <a:solidFill>
                <a:schemeClr val="tx2"/>
              </a:solidFill>
              <a:ln w="858" cap="flat">
                <a:noFill/>
                <a:prstDash val="solid"/>
                <a:miter/>
              </a:ln>
            </p:spPr>
            <p:txBody>
              <a:bodyPr rtlCol="0" anchor="ctr"/>
              <a:lstStyle/>
              <a:p>
                <a:endParaRPr lang="en-GB" dirty="0"/>
              </a:p>
            </p:txBody>
          </p:sp>
          <p:sp>
            <p:nvSpPr>
              <p:cNvPr id="462" name="Freihandform: Form 592">
                <a:extLst>
                  <a:ext uri="{FF2B5EF4-FFF2-40B4-BE49-F238E27FC236}">
                    <a16:creationId xmlns:a16="http://schemas.microsoft.com/office/drawing/2014/main" id="{7E565EA6-6718-4A61-8689-5B56B4D5431A}"/>
                  </a:ext>
                </a:extLst>
              </p:cNvPr>
              <p:cNvSpPr/>
              <p:nvPr/>
            </p:nvSpPr>
            <p:spPr>
              <a:xfrm>
                <a:off x="2141445" y="2615853"/>
                <a:ext cx="62211" cy="62211"/>
              </a:xfrm>
              <a:custGeom>
                <a:avLst/>
                <a:gdLst>
                  <a:gd name="connsiteX0" fmla="*/ 31110 w 62211"/>
                  <a:gd name="connsiteY0" fmla="*/ 62212 h 62211"/>
                  <a:gd name="connsiteX1" fmla="*/ 0 w 62211"/>
                  <a:gd name="connsiteY1" fmla="*/ 31110 h 62211"/>
                  <a:gd name="connsiteX2" fmla="*/ 31110 w 62211"/>
                  <a:gd name="connsiteY2" fmla="*/ 0 h 62211"/>
                  <a:gd name="connsiteX3" fmla="*/ 62212 w 62211"/>
                  <a:gd name="connsiteY3" fmla="*/ 31110 h 62211"/>
                  <a:gd name="connsiteX4" fmla="*/ 31110 w 62211"/>
                  <a:gd name="connsiteY4" fmla="*/ 62212 h 62211"/>
                  <a:gd name="connsiteX5" fmla="*/ 31110 w 62211"/>
                  <a:gd name="connsiteY5" fmla="*/ 11952 h 62211"/>
                  <a:gd name="connsiteX6" fmla="*/ 11952 w 62211"/>
                  <a:gd name="connsiteY6" fmla="*/ 31110 h 62211"/>
                  <a:gd name="connsiteX7" fmla="*/ 31110 w 62211"/>
                  <a:gd name="connsiteY7" fmla="*/ 50268 h 62211"/>
                  <a:gd name="connsiteX8" fmla="*/ 50268 w 62211"/>
                  <a:gd name="connsiteY8" fmla="*/ 31110 h 62211"/>
                  <a:gd name="connsiteX9" fmla="*/ 31110 w 62211"/>
                  <a:gd name="connsiteY9" fmla="*/ 11952 h 62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11" h="62211">
                    <a:moveTo>
                      <a:pt x="31110" y="62212"/>
                    </a:moveTo>
                    <a:cubicBezTo>
                      <a:pt x="13956" y="62212"/>
                      <a:pt x="0" y="48256"/>
                      <a:pt x="0" y="31110"/>
                    </a:cubicBezTo>
                    <a:cubicBezTo>
                      <a:pt x="0" y="13956"/>
                      <a:pt x="13956" y="0"/>
                      <a:pt x="31110" y="0"/>
                    </a:cubicBezTo>
                    <a:cubicBezTo>
                      <a:pt x="48256" y="0"/>
                      <a:pt x="62212" y="13956"/>
                      <a:pt x="62212" y="31110"/>
                    </a:cubicBezTo>
                    <a:cubicBezTo>
                      <a:pt x="62220" y="48265"/>
                      <a:pt x="48265" y="62212"/>
                      <a:pt x="31110" y="62212"/>
                    </a:cubicBezTo>
                    <a:close/>
                    <a:moveTo>
                      <a:pt x="31110" y="11952"/>
                    </a:moveTo>
                    <a:cubicBezTo>
                      <a:pt x="20542" y="11952"/>
                      <a:pt x="11952" y="20551"/>
                      <a:pt x="11952" y="31110"/>
                    </a:cubicBezTo>
                    <a:cubicBezTo>
                      <a:pt x="11952" y="41678"/>
                      <a:pt x="20551" y="50268"/>
                      <a:pt x="31110" y="50268"/>
                    </a:cubicBezTo>
                    <a:cubicBezTo>
                      <a:pt x="41669" y="50268"/>
                      <a:pt x="50268" y="41678"/>
                      <a:pt x="50268" y="31110"/>
                    </a:cubicBezTo>
                    <a:cubicBezTo>
                      <a:pt x="50268" y="20551"/>
                      <a:pt x="41678" y="11952"/>
                      <a:pt x="31110" y="11952"/>
                    </a:cubicBezTo>
                    <a:close/>
                  </a:path>
                </a:pathLst>
              </a:custGeom>
              <a:solidFill>
                <a:schemeClr val="tx2"/>
              </a:solidFill>
              <a:ln w="858" cap="flat">
                <a:noFill/>
                <a:prstDash val="solid"/>
                <a:miter/>
              </a:ln>
            </p:spPr>
            <p:txBody>
              <a:bodyPr rtlCol="0" anchor="ctr"/>
              <a:lstStyle/>
              <a:p>
                <a:endParaRPr lang="en-GB" dirty="0"/>
              </a:p>
            </p:txBody>
          </p:sp>
          <p:sp>
            <p:nvSpPr>
              <p:cNvPr id="463" name="Freihandform: Form 593">
                <a:extLst>
                  <a:ext uri="{FF2B5EF4-FFF2-40B4-BE49-F238E27FC236}">
                    <a16:creationId xmlns:a16="http://schemas.microsoft.com/office/drawing/2014/main" id="{2D0FC579-FBBA-4003-A6B9-ADC6FCC14E89}"/>
                  </a:ext>
                </a:extLst>
              </p:cNvPr>
              <p:cNvSpPr/>
              <p:nvPr/>
            </p:nvSpPr>
            <p:spPr>
              <a:xfrm>
                <a:off x="2060385" y="2553159"/>
                <a:ext cx="39425" cy="11823"/>
              </a:xfrm>
              <a:custGeom>
                <a:avLst/>
                <a:gdLst>
                  <a:gd name="connsiteX0" fmla="*/ 27481 w 39425"/>
                  <a:gd name="connsiteY0" fmla="*/ 11823 h 11823"/>
                  <a:gd name="connsiteX1" fmla="*/ 27481 w 39425"/>
                  <a:gd name="connsiteY1" fmla="*/ 0 h 11823"/>
                  <a:gd name="connsiteX2" fmla="*/ 39425 w 39425"/>
                  <a:gd name="connsiteY2" fmla="*/ 0 h 11823"/>
                  <a:gd name="connsiteX3" fmla="*/ 39425 w 39425"/>
                  <a:gd name="connsiteY3" fmla="*/ 11823 h 11823"/>
                  <a:gd name="connsiteX4" fmla="*/ 27481 w 39425"/>
                  <a:gd name="connsiteY4" fmla="*/ 11823 h 11823"/>
                  <a:gd name="connsiteX5" fmla="*/ 0 w 39425"/>
                  <a:gd name="connsiteY5" fmla="*/ 11823 h 11823"/>
                  <a:gd name="connsiteX6" fmla="*/ 0 w 39425"/>
                  <a:gd name="connsiteY6" fmla="*/ 0 h 11823"/>
                  <a:gd name="connsiteX7" fmla="*/ 11944 w 39425"/>
                  <a:gd name="connsiteY7" fmla="*/ 0 h 11823"/>
                  <a:gd name="connsiteX8" fmla="*/ 11944 w 39425"/>
                  <a:gd name="connsiteY8" fmla="*/ 11823 h 11823"/>
                  <a:gd name="connsiteX9" fmla="*/ 0 w 39425"/>
                  <a:gd name="connsiteY9" fmla="*/ 11823 h 1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425" h="11823">
                    <a:moveTo>
                      <a:pt x="27481" y="11823"/>
                    </a:moveTo>
                    <a:lnTo>
                      <a:pt x="27481" y="0"/>
                    </a:lnTo>
                    <a:lnTo>
                      <a:pt x="39425" y="0"/>
                    </a:lnTo>
                    <a:lnTo>
                      <a:pt x="39425" y="11823"/>
                    </a:lnTo>
                    <a:cubicBezTo>
                      <a:pt x="27481" y="11823"/>
                      <a:pt x="39425" y="11823"/>
                      <a:pt x="27481" y="11823"/>
                    </a:cubicBezTo>
                    <a:close/>
                    <a:moveTo>
                      <a:pt x="0" y="11823"/>
                    </a:moveTo>
                    <a:lnTo>
                      <a:pt x="0" y="0"/>
                    </a:lnTo>
                    <a:lnTo>
                      <a:pt x="11944" y="0"/>
                    </a:lnTo>
                    <a:lnTo>
                      <a:pt x="11944" y="11823"/>
                    </a:lnTo>
                    <a:cubicBezTo>
                      <a:pt x="0" y="11823"/>
                      <a:pt x="11944" y="11823"/>
                      <a:pt x="0" y="11823"/>
                    </a:cubicBezTo>
                    <a:close/>
                  </a:path>
                </a:pathLst>
              </a:custGeom>
              <a:solidFill>
                <a:schemeClr val="tx2"/>
              </a:solidFill>
              <a:ln w="858" cap="flat">
                <a:noFill/>
                <a:prstDash val="solid"/>
                <a:miter/>
              </a:ln>
            </p:spPr>
            <p:txBody>
              <a:bodyPr rtlCol="0" anchor="ctr"/>
              <a:lstStyle/>
              <a:p>
                <a:endParaRPr lang="en-GB" dirty="0"/>
              </a:p>
            </p:txBody>
          </p:sp>
          <p:sp>
            <p:nvSpPr>
              <p:cNvPr id="464" name="Freihandform: Form 594">
                <a:extLst>
                  <a:ext uri="{FF2B5EF4-FFF2-40B4-BE49-F238E27FC236}">
                    <a16:creationId xmlns:a16="http://schemas.microsoft.com/office/drawing/2014/main" id="{52C7390F-7808-4885-88C7-C0F7C6AFE990}"/>
                  </a:ext>
                </a:extLst>
              </p:cNvPr>
              <p:cNvSpPr/>
              <p:nvPr/>
            </p:nvSpPr>
            <p:spPr>
              <a:xfrm>
                <a:off x="1787772" y="2553039"/>
                <a:ext cx="39416" cy="11943"/>
              </a:xfrm>
              <a:custGeom>
                <a:avLst/>
                <a:gdLst>
                  <a:gd name="connsiteX0" fmla="*/ 27473 w 39416"/>
                  <a:gd name="connsiteY0" fmla="*/ 11944 h 11943"/>
                  <a:gd name="connsiteX1" fmla="*/ 27473 w 39416"/>
                  <a:gd name="connsiteY1" fmla="*/ 0 h 11943"/>
                  <a:gd name="connsiteX2" fmla="*/ 39417 w 39416"/>
                  <a:gd name="connsiteY2" fmla="*/ 0 h 11943"/>
                  <a:gd name="connsiteX3" fmla="*/ 39417 w 39416"/>
                  <a:gd name="connsiteY3" fmla="*/ 11944 h 11943"/>
                  <a:gd name="connsiteX4" fmla="*/ 27473 w 39416"/>
                  <a:gd name="connsiteY4" fmla="*/ 11944 h 11943"/>
                  <a:gd name="connsiteX5" fmla="*/ 0 w 39416"/>
                  <a:gd name="connsiteY5" fmla="*/ 11944 h 11943"/>
                  <a:gd name="connsiteX6" fmla="*/ 0 w 39416"/>
                  <a:gd name="connsiteY6" fmla="*/ 0 h 11943"/>
                  <a:gd name="connsiteX7" fmla="*/ 11944 w 39416"/>
                  <a:gd name="connsiteY7" fmla="*/ 0 h 11943"/>
                  <a:gd name="connsiteX8" fmla="*/ 11944 w 39416"/>
                  <a:gd name="connsiteY8" fmla="*/ 11944 h 11943"/>
                  <a:gd name="connsiteX9" fmla="*/ 0 w 39416"/>
                  <a:gd name="connsiteY9" fmla="*/ 11944 h 11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416" h="11943">
                    <a:moveTo>
                      <a:pt x="27473" y="11944"/>
                    </a:moveTo>
                    <a:lnTo>
                      <a:pt x="27473" y="0"/>
                    </a:lnTo>
                    <a:lnTo>
                      <a:pt x="39417" y="0"/>
                    </a:lnTo>
                    <a:lnTo>
                      <a:pt x="39417" y="11944"/>
                    </a:lnTo>
                    <a:cubicBezTo>
                      <a:pt x="27473" y="11944"/>
                      <a:pt x="39417" y="11944"/>
                      <a:pt x="27473" y="11944"/>
                    </a:cubicBezTo>
                    <a:close/>
                    <a:moveTo>
                      <a:pt x="0" y="11944"/>
                    </a:moveTo>
                    <a:lnTo>
                      <a:pt x="0" y="0"/>
                    </a:lnTo>
                    <a:lnTo>
                      <a:pt x="11944" y="0"/>
                    </a:lnTo>
                    <a:lnTo>
                      <a:pt x="11944" y="11944"/>
                    </a:lnTo>
                    <a:cubicBezTo>
                      <a:pt x="0" y="11944"/>
                      <a:pt x="11944" y="11944"/>
                      <a:pt x="0" y="11944"/>
                    </a:cubicBezTo>
                    <a:close/>
                  </a:path>
                </a:pathLst>
              </a:custGeom>
              <a:solidFill>
                <a:schemeClr val="tx2"/>
              </a:solidFill>
              <a:ln w="858" cap="flat">
                <a:noFill/>
                <a:prstDash val="solid"/>
                <a:miter/>
              </a:ln>
            </p:spPr>
            <p:txBody>
              <a:bodyPr rtlCol="0" anchor="ctr"/>
              <a:lstStyle/>
              <a:p>
                <a:endParaRPr lang="en-GB" dirty="0"/>
              </a:p>
            </p:txBody>
          </p:sp>
          <p:sp>
            <p:nvSpPr>
              <p:cNvPr id="465" name="Freihandform: Form 595">
                <a:extLst>
                  <a:ext uri="{FF2B5EF4-FFF2-40B4-BE49-F238E27FC236}">
                    <a16:creationId xmlns:a16="http://schemas.microsoft.com/office/drawing/2014/main" id="{1945187A-6689-4156-8802-B2BC9CE44C07}"/>
                  </a:ext>
                </a:extLst>
              </p:cNvPr>
              <p:cNvSpPr/>
              <p:nvPr/>
            </p:nvSpPr>
            <p:spPr>
              <a:xfrm>
                <a:off x="1707933" y="2527957"/>
                <a:ext cx="62211" cy="62202"/>
              </a:xfrm>
              <a:custGeom>
                <a:avLst/>
                <a:gdLst>
                  <a:gd name="connsiteX0" fmla="*/ 31102 w 62211"/>
                  <a:gd name="connsiteY0" fmla="*/ 62203 h 62202"/>
                  <a:gd name="connsiteX1" fmla="*/ 0 w 62211"/>
                  <a:gd name="connsiteY1" fmla="*/ 31101 h 62202"/>
                  <a:gd name="connsiteX2" fmla="*/ 31102 w 62211"/>
                  <a:gd name="connsiteY2" fmla="*/ 0 h 62202"/>
                  <a:gd name="connsiteX3" fmla="*/ 62212 w 62211"/>
                  <a:gd name="connsiteY3" fmla="*/ 31101 h 62202"/>
                  <a:gd name="connsiteX4" fmla="*/ 31102 w 62211"/>
                  <a:gd name="connsiteY4" fmla="*/ 62203 h 62202"/>
                  <a:gd name="connsiteX5" fmla="*/ 31102 w 62211"/>
                  <a:gd name="connsiteY5" fmla="*/ 11944 h 62202"/>
                  <a:gd name="connsiteX6" fmla="*/ 11944 w 62211"/>
                  <a:gd name="connsiteY6" fmla="*/ 31101 h 62202"/>
                  <a:gd name="connsiteX7" fmla="*/ 31102 w 62211"/>
                  <a:gd name="connsiteY7" fmla="*/ 50259 h 62202"/>
                  <a:gd name="connsiteX8" fmla="*/ 50259 w 62211"/>
                  <a:gd name="connsiteY8" fmla="*/ 31101 h 62202"/>
                  <a:gd name="connsiteX9" fmla="*/ 31102 w 62211"/>
                  <a:gd name="connsiteY9" fmla="*/ 11944 h 6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11" h="62202">
                    <a:moveTo>
                      <a:pt x="31102" y="62203"/>
                    </a:moveTo>
                    <a:cubicBezTo>
                      <a:pt x="13947" y="62203"/>
                      <a:pt x="0" y="48247"/>
                      <a:pt x="0" y="31101"/>
                    </a:cubicBezTo>
                    <a:cubicBezTo>
                      <a:pt x="0" y="13956"/>
                      <a:pt x="13956" y="0"/>
                      <a:pt x="31102" y="0"/>
                    </a:cubicBezTo>
                    <a:cubicBezTo>
                      <a:pt x="48256" y="0"/>
                      <a:pt x="62212" y="13956"/>
                      <a:pt x="62212" y="31101"/>
                    </a:cubicBezTo>
                    <a:cubicBezTo>
                      <a:pt x="62212" y="48247"/>
                      <a:pt x="48256" y="62203"/>
                      <a:pt x="31102" y="62203"/>
                    </a:cubicBezTo>
                    <a:close/>
                    <a:moveTo>
                      <a:pt x="31102" y="11944"/>
                    </a:moveTo>
                    <a:cubicBezTo>
                      <a:pt x="20534" y="11944"/>
                      <a:pt x="11944" y="20534"/>
                      <a:pt x="11944" y="31101"/>
                    </a:cubicBezTo>
                    <a:cubicBezTo>
                      <a:pt x="11944" y="41669"/>
                      <a:pt x="20534" y="50259"/>
                      <a:pt x="31102" y="50259"/>
                    </a:cubicBezTo>
                    <a:cubicBezTo>
                      <a:pt x="41669" y="50259"/>
                      <a:pt x="50259" y="41669"/>
                      <a:pt x="50259" y="31101"/>
                    </a:cubicBezTo>
                    <a:cubicBezTo>
                      <a:pt x="50259" y="20534"/>
                      <a:pt x="41661" y="11944"/>
                      <a:pt x="31102" y="11944"/>
                    </a:cubicBezTo>
                    <a:close/>
                  </a:path>
                </a:pathLst>
              </a:custGeom>
              <a:solidFill>
                <a:schemeClr val="tx2"/>
              </a:solidFill>
              <a:ln w="858" cap="flat">
                <a:noFill/>
                <a:prstDash val="solid"/>
                <a:miter/>
              </a:ln>
            </p:spPr>
            <p:txBody>
              <a:bodyPr rtlCol="0" anchor="ctr"/>
              <a:lstStyle/>
              <a:p>
                <a:endParaRPr lang="en-GB" dirty="0"/>
              </a:p>
            </p:txBody>
          </p:sp>
          <p:sp>
            <p:nvSpPr>
              <p:cNvPr id="466" name="Freihandform: Form 596">
                <a:extLst>
                  <a:ext uri="{FF2B5EF4-FFF2-40B4-BE49-F238E27FC236}">
                    <a16:creationId xmlns:a16="http://schemas.microsoft.com/office/drawing/2014/main" id="{42641D59-F1D9-44F4-8565-D1C0A62517B0}"/>
                  </a:ext>
                </a:extLst>
              </p:cNvPr>
              <p:cNvSpPr/>
              <p:nvPr/>
            </p:nvSpPr>
            <p:spPr>
              <a:xfrm>
                <a:off x="2117558" y="2527957"/>
                <a:ext cx="62202" cy="62202"/>
              </a:xfrm>
              <a:custGeom>
                <a:avLst/>
                <a:gdLst>
                  <a:gd name="connsiteX0" fmla="*/ 31102 w 62202"/>
                  <a:gd name="connsiteY0" fmla="*/ 62203 h 62202"/>
                  <a:gd name="connsiteX1" fmla="*/ 0 w 62202"/>
                  <a:gd name="connsiteY1" fmla="*/ 31101 h 62202"/>
                  <a:gd name="connsiteX2" fmla="*/ 31102 w 62202"/>
                  <a:gd name="connsiteY2" fmla="*/ 0 h 62202"/>
                  <a:gd name="connsiteX3" fmla="*/ 62203 w 62202"/>
                  <a:gd name="connsiteY3" fmla="*/ 31101 h 62202"/>
                  <a:gd name="connsiteX4" fmla="*/ 31102 w 62202"/>
                  <a:gd name="connsiteY4" fmla="*/ 62203 h 62202"/>
                  <a:gd name="connsiteX5" fmla="*/ 31102 w 62202"/>
                  <a:gd name="connsiteY5" fmla="*/ 11944 h 62202"/>
                  <a:gd name="connsiteX6" fmla="*/ 11944 w 62202"/>
                  <a:gd name="connsiteY6" fmla="*/ 31101 h 62202"/>
                  <a:gd name="connsiteX7" fmla="*/ 31102 w 62202"/>
                  <a:gd name="connsiteY7" fmla="*/ 50259 h 62202"/>
                  <a:gd name="connsiteX8" fmla="*/ 50259 w 62202"/>
                  <a:gd name="connsiteY8" fmla="*/ 31101 h 62202"/>
                  <a:gd name="connsiteX9" fmla="*/ 31102 w 62202"/>
                  <a:gd name="connsiteY9" fmla="*/ 11944 h 62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02" h="62202">
                    <a:moveTo>
                      <a:pt x="31102" y="62203"/>
                    </a:moveTo>
                    <a:cubicBezTo>
                      <a:pt x="13947" y="62203"/>
                      <a:pt x="0" y="48247"/>
                      <a:pt x="0" y="31101"/>
                    </a:cubicBezTo>
                    <a:cubicBezTo>
                      <a:pt x="0" y="13956"/>
                      <a:pt x="13956" y="0"/>
                      <a:pt x="31102" y="0"/>
                    </a:cubicBezTo>
                    <a:cubicBezTo>
                      <a:pt x="48247" y="0"/>
                      <a:pt x="62203" y="13956"/>
                      <a:pt x="62203" y="31101"/>
                    </a:cubicBezTo>
                    <a:cubicBezTo>
                      <a:pt x="62203" y="48247"/>
                      <a:pt x="48247" y="62203"/>
                      <a:pt x="31102" y="62203"/>
                    </a:cubicBezTo>
                    <a:close/>
                    <a:moveTo>
                      <a:pt x="31102" y="11944"/>
                    </a:moveTo>
                    <a:cubicBezTo>
                      <a:pt x="20534" y="11944"/>
                      <a:pt x="11944" y="20534"/>
                      <a:pt x="11944" y="31101"/>
                    </a:cubicBezTo>
                    <a:cubicBezTo>
                      <a:pt x="11944" y="41669"/>
                      <a:pt x="20534" y="50259"/>
                      <a:pt x="31102" y="50259"/>
                    </a:cubicBezTo>
                    <a:cubicBezTo>
                      <a:pt x="41661" y="50259"/>
                      <a:pt x="50259" y="41669"/>
                      <a:pt x="50259" y="31101"/>
                    </a:cubicBezTo>
                    <a:cubicBezTo>
                      <a:pt x="50259" y="20534"/>
                      <a:pt x="41669" y="11944"/>
                      <a:pt x="31102" y="11944"/>
                    </a:cubicBezTo>
                    <a:close/>
                  </a:path>
                </a:pathLst>
              </a:custGeom>
              <a:solidFill>
                <a:schemeClr val="tx2"/>
              </a:solidFill>
              <a:ln w="858" cap="flat">
                <a:noFill/>
                <a:prstDash val="solid"/>
                <a:miter/>
              </a:ln>
            </p:spPr>
            <p:txBody>
              <a:bodyPr rtlCol="0" anchor="ctr"/>
              <a:lstStyle/>
              <a:p>
                <a:endParaRPr lang="en-GB" dirty="0"/>
              </a:p>
            </p:txBody>
          </p:sp>
          <p:sp>
            <p:nvSpPr>
              <p:cNvPr id="467" name="Freihandform: Form 597">
                <a:extLst>
                  <a:ext uri="{FF2B5EF4-FFF2-40B4-BE49-F238E27FC236}">
                    <a16:creationId xmlns:a16="http://schemas.microsoft.com/office/drawing/2014/main" id="{00174A4D-38FF-4D94-AC68-83DD3019A043}"/>
                  </a:ext>
                </a:extLst>
              </p:cNvPr>
              <p:cNvSpPr/>
              <p:nvPr/>
            </p:nvSpPr>
            <p:spPr>
              <a:xfrm>
                <a:off x="1808314" y="2788274"/>
                <a:ext cx="84705" cy="43474"/>
              </a:xfrm>
              <a:custGeom>
                <a:avLst/>
                <a:gdLst>
                  <a:gd name="connsiteX0" fmla="*/ 27482 w 84705"/>
                  <a:gd name="connsiteY0" fmla="*/ 43475 h 43474"/>
                  <a:gd name="connsiteX1" fmla="*/ 27482 w 84705"/>
                  <a:gd name="connsiteY1" fmla="*/ 31531 h 43474"/>
                  <a:gd name="connsiteX2" fmla="*/ 39425 w 84705"/>
                  <a:gd name="connsiteY2" fmla="*/ 31531 h 43474"/>
                  <a:gd name="connsiteX3" fmla="*/ 39425 w 84705"/>
                  <a:gd name="connsiteY3" fmla="*/ 43475 h 43474"/>
                  <a:gd name="connsiteX4" fmla="*/ 27482 w 84705"/>
                  <a:gd name="connsiteY4" fmla="*/ 43475 h 43474"/>
                  <a:gd name="connsiteX5" fmla="*/ 0 w 84705"/>
                  <a:gd name="connsiteY5" fmla="*/ 43475 h 43474"/>
                  <a:gd name="connsiteX6" fmla="*/ 0 w 84705"/>
                  <a:gd name="connsiteY6" fmla="*/ 31531 h 43474"/>
                  <a:gd name="connsiteX7" fmla="*/ 11944 w 84705"/>
                  <a:gd name="connsiteY7" fmla="*/ 31531 h 43474"/>
                  <a:gd name="connsiteX8" fmla="*/ 11944 w 84705"/>
                  <a:gd name="connsiteY8" fmla="*/ 43475 h 43474"/>
                  <a:gd name="connsiteX9" fmla="*/ 0 w 84705"/>
                  <a:gd name="connsiteY9" fmla="*/ 43475 h 43474"/>
                  <a:gd name="connsiteX10" fmla="*/ 48385 w 84705"/>
                  <a:gd name="connsiteY10" fmla="*/ 27825 h 43474"/>
                  <a:gd name="connsiteX11" fmla="*/ 56863 w 84705"/>
                  <a:gd name="connsiteY11" fmla="*/ 19347 h 43474"/>
                  <a:gd name="connsiteX12" fmla="*/ 65342 w 84705"/>
                  <a:gd name="connsiteY12" fmla="*/ 27825 h 43474"/>
                  <a:gd name="connsiteX13" fmla="*/ 56863 w 84705"/>
                  <a:gd name="connsiteY13" fmla="*/ 36304 h 43474"/>
                  <a:gd name="connsiteX14" fmla="*/ 48385 w 84705"/>
                  <a:gd name="connsiteY14" fmla="*/ 27825 h 43474"/>
                  <a:gd name="connsiteX15" fmla="*/ 67861 w 84705"/>
                  <a:gd name="connsiteY15" fmla="*/ 8358 h 43474"/>
                  <a:gd name="connsiteX16" fmla="*/ 76339 w 84705"/>
                  <a:gd name="connsiteY16" fmla="*/ 0 h 43474"/>
                  <a:gd name="connsiteX17" fmla="*/ 84706 w 84705"/>
                  <a:gd name="connsiteY17" fmla="*/ 8358 h 43474"/>
                  <a:gd name="connsiteX18" fmla="*/ 76339 w 84705"/>
                  <a:gd name="connsiteY18" fmla="*/ 16836 h 43474"/>
                  <a:gd name="connsiteX19" fmla="*/ 67861 w 84705"/>
                  <a:gd name="connsiteY19" fmla="*/ 8358 h 4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705" h="43474">
                    <a:moveTo>
                      <a:pt x="27482" y="43475"/>
                    </a:moveTo>
                    <a:lnTo>
                      <a:pt x="27482" y="31531"/>
                    </a:lnTo>
                    <a:lnTo>
                      <a:pt x="39425" y="31531"/>
                    </a:lnTo>
                    <a:lnTo>
                      <a:pt x="39425" y="43475"/>
                    </a:lnTo>
                    <a:cubicBezTo>
                      <a:pt x="27482" y="43475"/>
                      <a:pt x="39425" y="43475"/>
                      <a:pt x="27482" y="43475"/>
                    </a:cubicBezTo>
                    <a:close/>
                    <a:moveTo>
                      <a:pt x="0" y="43475"/>
                    </a:moveTo>
                    <a:lnTo>
                      <a:pt x="0" y="31531"/>
                    </a:lnTo>
                    <a:lnTo>
                      <a:pt x="11944" y="31531"/>
                    </a:lnTo>
                    <a:lnTo>
                      <a:pt x="11944" y="43475"/>
                    </a:lnTo>
                    <a:cubicBezTo>
                      <a:pt x="0" y="43475"/>
                      <a:pt x="11944" y="43475"/>
                      <a:pt x="0" y="43475"/>
                    </a:cubicBezTo>
                    <a:close/>
                    <a:moveTo>
                      <a:pt x="48385" y="27825"/>
                    </a:moveTo>
                    <a:lnTo>
                      <a:pt x="56863" y="19347"/>
                    </a:lnTo>
                    <a:lnTo>
                      <a:pt x="65342" y="27825"/>
                    </a:lnTo>
                    <a:lnTo>
                      <a:pt x="56863" y="36304"/>
                    </a:lnTo>
                    <a:cubicBezTo>
                      <a:pt x="48385" y="27825"/>
                      <a:pt x="56872" y="36304"/>
                      <a:pt x="48385" y="27825"/>
                    </a:cubicBezTo>
                    <a:close/>
                    <a:moveTo>
                      <a:pt x="67861" y="8358"/>
                    </a:moveTo>
                    <a:lnTo>
                      <a:pt x="76339" y="0"/>
                    </a:lnTo>
                    <a:lnTo>
                      <a:pt x="84706" y="8358"/>
                    </a:lnTo>
                    <a:lnTo>
                      <a:pt x="76339" y="16836"/>
                    </a:lnTo>
                    <a:cubicBezTo>
                      <a:pt x="67861" y="8358"/>
                      <a:pt x="76339" y="16836"/>
                      <a:pt x="67861" y="8358"/>
                    </a:cubicBezTo>
                    <a:close/>
                  </a:path>
                </a:pathLst>
              </a:custGeom>
              <a:solidFill>
                <a:schemeClr val="tx2"/>
              </a:solidFill>
              <a:ln w="858" cap="flat">
                <a:noFill/>
                <a:prstDash val="solid"/>
                <a:miter/>
              </a:ln>
            </p:spPr>
            <p:txBody>
              <a:bodyPr rtlCol="0" anchor="ctr"/>
              <a:lstStyle/>
              <a:p>
                <a:endParaRPr lang="en-GB" dirty="0"/>
              </a:p>
            </p:txBody>
          </p:sp>
          <p:sp>
            <p:nvSpPr>
              <p:cNvPr id="468" name="Freihandform: Form 598">
                <a:extLst>
                  <a:ext uri="{FF2B5EF4-FFF2-40B4-BE49-F238E27FC236}">
                    <a16:creationId xmlns:a16="http://schemas.microsoft.com/office/drawing/2014/main" id="{0843EC7A-7625-4A14-996E-E86DB7A7FDED}"/>
                  </a:ext>
                </a:extLst>
              </p:cNvPr>
              <p:cNvSpPr/>
              <p:nvPr/>
            </p:nvSpPr>
            <p:spPr>
              <a:xfrm>
                <a:off x="1995637" y="2780982"/>
                <a:ext cx="81833" cy="50766"/>
              </a:xfrm>
              <a:custGeom>
                <a:avLst/>
                <a:gdLst>
                  <a:gd name="connsiteX0" fmla="*/ 69890 w 81833"/>
                  <a:gd name="connsiteY0" fmla="*/ 50767 h 50766"/>
                  <a:gd name="connsiteX1" fmla="*/ 69890 w 81833"/>
                  <a:gd name="connsiteY1" fmla="*/ 38823 h 50766"/>
                  <a:gd name="connsiteX2" fmla="*/ 81834 w 81833"/>
                  <a:gd name="connsiteY2" fmla="*/ 38823 h 50766"/>
                  <a:gd name="connsiteX3" fmla="*/ 81834 w 81833"/>
                  <a:gd name="connsiteY3" fmla="*/ 50767 h 50766"/>
                  <a:gd name="connsiteX4" fmla="*/ 69890 w 81833"/>
                  <a:gd name="connsiteY4" fmla="*/ 50767 h 50766"/>
                  <a:gd name="connsiteX5" fmla="*/ 42409 w 81833"/>
                  <a:gd name="connsiteY5" fmla="*/ 50767 h 50766"/>
                  <a:gd name="connsiteX6" fmla="*/ 42409 w 81833"/>
                  <a:gd name="connsiteY6" fmla="*/ 38823 h 50766"/>
                  <a:gd name="connsiteX7" fmla="*/ 54352 w 81833"/>
                  <a:gd name="connsiteY7" fmla="*/ 38823 h 50766"/>
                  <a:gd name="connsiteX8" fmla="*/ 54352 w 81833"/>
                  <a:gd name="connsiteY8" fmla="*/ 50767 h 50766"/>
                  <a:gd name="connsiteX9" fmla="*/ 42409 w 81833"/>
                  <a:gd name="connsiteY9" fmla="*/ 50767 h 50766"/>
                  <a:gd name="connsiteX10" fmla="*/ 19467 w 81833"/>
                  <a:gd name="connsiteY10" fmla="*/ 27954 h 50766"/>
                  <a:gd name="connsiteX11" fmla="*/ 27946 w 81833"/>
                  <a:gd name="connsiteY11" fmla="*/ 19467 h 50766"/>
                  <a:gd name="connsiteX12" fmla="*/ 36312 w 81833"/>
                  <a:gd name="connsiteY12" fmla="*/ 27954 h 50766"/>
                  <a:gd name="connsiteX13" fmla="*/ 27946 w 81833"/>
                  <a:gd name="connsiteY13" fmla="*/ 36433 h 50766"/>
                  <a:gd name="connsiteX14" fmla="*/ 19467 w 81833"/>
                  <a:gd name="connsiteY14" fmla="*/ 27954 h 50766"/>
                  <a:gd name="connsiteX15" fmla="*/ 0 w 81833"/>
                  <a:gd name="connsiteY15" fmla="*/ 8478 h 50766"/>
                  <a:gd name="connsiteX16" fmla="*/ 8478 w 81833"/>
                  <a:gd name="connsiteY16" fmla="*/ 0 h 50766"/>
                  <a:gd name="connsiteX17" fmla="*/ 16957 w 81833"/>
                  <a:gd name="connsiteY17" fmla="*/ 8478 h 50766"/>
                  <a:gd name="connsiteX18" fmla="*/ 8478 w 81833"/>
                  <a:gd name="connsiteY18" fmla="*/ 16957 h 50766"/>
                  <a:gd name="connsiteX19" fmla="*/ 0 w 81833"/>
                  <a:gd name="connsiteY19" fmla="*/ 8478 h 50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1833" h="50766">
                    <a:moveTo>
                      <a:pt x="69890" y="50767"/>
                    </a:moveTo>
                    <a:lnTo>
                      <a:pt x="69890" y="38823"/>
                    </a:lnTo>
                    <a:lnTo>
                      <a:pt x="81834" y="38823"/>
                    </a:lnTo>
                    <a:lnTo>
                      <a:pt x="81834" y="50767"/>
                    </a:lnTo>
                    <a:cubicBezTo>
                      <a:pt x="69890" y="50767"/>
                      <a:pt x="81834" y="50767"/>
                      <a:pt x="69890" y="50767"/>
                    </a:cubicBezTo>
                    <a:close/>
                    <a:moveTo>
                      <a:pt x="42409" y="50767"/>
                    </a:moveTo>
                    <a:lnTo>
                      <a:pt x="42409" y="38823"/>
                    </a:lnTo>
                    <a:lnTo>
                      <a:pt x="54352" y="38823"/>
                    </a:lnTo>
                    <a:lnTo>
                      <a:pt x="54352" y="50767"/>
                    </a:lnTo>
                    <a:cubicBezTo>
                      <a:pt x="42409" y="50767"/>
                      <a:pt x="54352" y="50767"/>
                      <a:pt x="42409" y="50767"/>
                    </a:cubicBezTo>
                    <a:close/>
                    <a:moveTo>
                      <a:pt x="19467" y="27954"/>
                    </a:moveTo>
                    <a:lnTo>
                      <a:pt x="27946" y="19467"/>
                    </a:lnTo>
                    <a:lnTo>
                      <a:pt x="36312" y="27954"/>
                    </a:lnTo>
                    <a:lnTo>
                      <a:pt x="27946" y="36433"/>
                    </a:lnTo>
                    <a:cubicBezTo>
                      <a:pt x="19467" y="27954"/>
                      <a:pt x="27954" y="36433"/>
                      <a:pt x="19467" y="27954"/>
                    </a:cubicBezTo>
                    <a:close/>
                    <a:moveTo>
                      <a:pt x="0" y="8478"/>
                    </a:moveTo>
                    <a:lnTo>
                      <a:pt x="8478" y="0"/>
                    </a:lnTo>
                    <a:lnTo>
                      <a:pt x="16957" y="8478"/>
                    </a:lnTo>
                    <a:lnTo>
                      <a:pt x="8478" y="16957"/>
                    </a:lnTo>
                    <a:cubicBezTo>
                      <a:pt x="0" y="8478"/>
                      <a:pt x="8478" y="16957"/>
                      <a:pt x="0" y="8478"/>
                    </a:cubicBezTo>
                    <a:close/>
                  </a:path>
                </a:pathLst>
              </a:custGeom>
              <a:solidFill>
                <a:schemeClr val="tx2"/>
              </a:solidFill>
              <a:ln w="858" cap="flat">
                <a:noFill/>
                <a:prstDash val="solid"/>
                <a:miter/>
              </a:ln>
            </p:spPr>
            <p:txBody>
              <a:bodyPr rtlCol="0" anchor="ctr"/>
              <a:lstStyle/>
              <a:p>
                <a:endParaRPr lang="en-GB" dirty="0"/>
              </a:p>
            </p:txBody>
          </p:sp>
        </p:grpSp>
      </p:grpSp>
      <p:grpSp>
        <p:nvGrpSpPr>
          <p:cNvPr id="207" name="Group 206">
            <a:extLst>
              <a:ext uri="{FF2B5EF4-FFF2-40B4-BE49-F238E27FC236}">
                <a16:creationId xmlns:a16="http://schemas.microsoft.com/office/drawing/2014/main" id="{0C46D627-8181-4B49-BEEA-BCE780C1FE7B}"/>
              </a:ext>
            </a:extLst>
          </p:cNvPr>
          <p:cNvGrpSpPr/>
          <p:nvPr/>
        </p:nvGrpSpPr>
        <p:grpSpPr>
          <a:xfrm>
            <a:off x="3710173" y="2391526"/>
            <a:ext cx="440356" cy="432000"/>
            <a:chOff x="3710173" y="2391526"/>
            <a:chExt cx="440356" cy="432000"/>
          </a:xfrm>
        </p:grpSpPr>
        <p:sp>
          <p:nvSpPr>
            <p:cNvPr id="197" name="Freihandform: Form 809">
              <a:extLst>
                <a:ext uri="{FF2B5EF4-FFF2-40B4-BE49-F238E27FC236}">
                  <a16:creationId xmlns:a16="http://schemas.microsoft.com/office/drawing/2014/main" id="{0EC06FF0-CE52-4CB0-8875-FE3D3BCE2B6D}"/>
                </a:ext>
              </a:extLst>
            </p:cNvPr>
            <p:cNvSpPr/>
            <p:nvPr/>
          </p:nvSpPr>
          <p:spPr>
            <a:xfrm>
              <a:off x="3748575" y="2692428"/>
              <a:ext cx="56893" cy="56924"/>
            </a:xfrm>
            <a:custGeom>
              <a:avLst/>
              <a:gdLst>
                <a:gd name="connsiteX0" fmla="*/ 28878 w 57755"/>
                <a:gd name="connsiteY0" fmla="*/ 0 h 57787"/>
                <a:gd name="connsiteX1" fmla="*/ 0 w 57755"/>
                <a:gd name="connsiteY1" fmla="*/ 28894 h 57787"/>
                <a:gd name="connsiteX2" fmla="*/ 28878 w 57755"/>
                <a:gd name="connsiteY2" fmla="*/ 57788 h 57787"/>
                <a:gd name="connsiteX3" fmla="*/ 57755 w 57755"/>
                <a:gd name="connsiteY3" fmla="*/ 28894 h 57787"/>
                <a:gd name="connsiteX4" fmla="*/ 28878 w 57755"/>
                <a:gd name="connsiteY4" fmla="*/ 0 h 57787"/>
                <a:gd name="connsiteX5" fmla="*/ 28878 w 57755"/>
                <a:gd name="connsiteY5" fmla="*/ 42997 h 57787"/>
                <a:gd name="connsiteX6" fmla="*/ 14791 w 57755"/>
                <a:gd name="connsiteY6" fmla="*/ 28894 h 57787"/>
                <a:gd name="connsiteX7" fmla="*/ 28878 w 57755"/>
                <a:gd name="connsiteY7" fmla="*/ 14791 h 57787"/>
                <a:gd name="connsiteX8" fmla="*/ 42980 w 57755"/>
                <a:gd name="connsiteY8" fmla="*/ 28894 h 57787"/>
                <a:gd name="connsiteX9" fmla="*/ 28878 w 57755"/>
                <a:gd name="connsiteY9" fmla="*/ 42997 h 57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755" h="57787">
                  <a:moveTo>
                    <a:pt x="28878" y="0"/>
                  </a:moveTo>
                  <a:cubicBezTo>
                    <a:pt x="12956" y="0"/>
                    <a:pt x="0" y="12956"/>
                    <a:pt x="0" y="28894"/>
                  </a:cubicBezTo>
                  <a:cubicBezTo>
                    <a:pt x="0" y="44831"/>
                    <a:pt x="12956" y="57788"/>
                    <a:pt x="28878" y="57788"/>
                  </a:cubicBezTo>
                  <a:cubicBezTo>
                    <a:pt x="44799" y="57788"/>
                    <a:pt x="57755" y="44831"/>
                    <a:pt x="57755" y="28894"/>
                  </a:cubicBezTo>
                  <a:cubicBezTo>
                    <a:pt x="57755" y="12956"/>
                    <a:pt x="44815" y="0"/>
                    <a:pt x="28878" y="0"/>
                  </a:cubicBezTo>
                  <a:close/>
                  <a:moveTo>
                    <a:pt x="28878" y="42997"/>
                  </a:moveTo>
                  <a:cubicBezTo>
                    <a:pt x="21114" y="42997"/>
                    <a:pt x="14791" y="36674"/>
                    <a:pt x="14791" y="28894"/>
                  </a:cubicBezTo>
                  <a:cubicBezTo>
                    <a:pt x="14791" y="21114"/>
                    <a:pt x="21114" y="14791"/>
                    <a:pt x="28878" y="14791"/>
                  </a:cubicBezTo>
                  <a:cubicBezTo>
                    <a:pt x="36658" y="14791"/>
                    <a:pt x="42980" y="21130"/>
                    <a:pt x="42980" y="28894"/>
                  </a:cubicBezTo>
                  <a:cubicBezTo>
                    <a:pt x="42980" y="36674"/>
                    <a:pt x="36658" y="42997"/>
                    <a:pt x="28878" y="42997"/>
                  </a:cubicBezTo>
                  <a:close/>
                </a:path>
              </a:pathLst>
            </a:custGeom>
            <a:solidFill>
              <a:schemeClr val="accent1"/>
            </a:solidFill>
            <a:ln w="1637" cap="flat">
              <a:noFill/>
              <a:prstDash val="solid"/>
              <a:miter/>
            </a:ln>
          </p:spPr>
          <p:txBody>
            <a:bodyPr rtlCol="0" anchor="ctr"/>
            <a:lstStyle/>
            <a:p>
              <a:endParaRPr lang="en-GB" dirty="0"/>
            </a:p>
          </p:txBody>
        </p:sp>
        <p:sp>
          <p:nvSpPr>
            <p:cNvPr id="198" name="Freihandform: Form 810">
              <a:extLst>
                <a:ext uri="{FF2B5EF4-FFF2-40B4-BE49-F238E27FC236}">
                  <a16:creationId xmlns:a16="http://schemas.microsoft.com/office/drawing/2014/main" id="{082E2BAA-1366-47CF-A0EE-DAEAFA462573}"/>
                </a:ext>
              </a:extLst>
            </p:cNvPr>
            <p:cNvSpPr/>
            <p:nvPr/>
          </p:nvSpPr>
          <p:spPr>
            <a:xfrm>
              <a:off x="3710173" y="2391526"/>
              <a:ext cx="440356" cy="432000"/>
            </a:xfrm>
            <a:custGeom>
              <a:avLst/>
              <a:gdLst>
                <a:gd name="connsiteX0" fmla="*/ 441926 w 447031"/>
                <a:gd name="connsiteY0" fmla="*/ 328002 h 438548"/>
                <a:gd name="connsiteX1" fmla="*/ 314541 w 447031"/>
                <a:gd name="connsiteY1" fmla="*/ 267462 h 438548"/>
                <a:gd name="connsiteX2" fmla="*/ 312116 w 447031"/>
                <a:gd name="connsiteY2" fmla="*/ 244563 h 438548"/>
                <a:gd name="connsiteX3" fmla="*/ 337914 w 447031"/>
                <a:gd name="connsiteY3" fmla="*/ 190313 h 438548"/>
                <a:gd name="connsiteX4" fmla="*/ 356227 w 447031"/>
                <a:gd name="connsiteY4" fmla="*/ 149790 h 438548"/>
                <a:gd name="connsiteX5" fmla="*/ 352361 w 447031"/>
                <a:gd name="connsiteY5" fmla="*/ 129004 h 438548"/>
                <a:gd name="connsiteX6" fmla="*/ 346252 w 447031"/>
                <a:gd name="connsiteY6" fmla="*/ 123533 h 438548"/>
                <a:gd name="connsiteX7" fmla="*/ 330069 w 447031"/>
                <a:gd name="connsiteY7" fmla="*/ 40390 h 438548"/>
                <a:gd name="connsiteX8" fmla="*/ 211889 w 447031"/>
                <a:gd name="connsiteY8" fmla="*/ 9727 h 438548"/>
                <a:gd name="connsiteX9" fmla="*/ 177884 w 447031"/>
                <a:gd name="connsiteY9" fmla="*/ 43141 h 438548"/>
                <a:gd name="connsiteX10" fmla="*/ 153233 w 447031"/>
                <a:gd name="connsiteY10" fmla="*/ 95213 h 438548"/>
                <a:gd name="connsiteX11" fmla="*/ 158507 w 447031"/>
                <a:gd name="connsiteY11" fmla="*/ 125400 h 438548"/>
                <a:gd name="connsiteX12" fmla="*/ 151136 w 447031"/>
                <a:gd name="connsiteY12" fmla="*/ 149806 h 438548"/>
                <a:gd name="connsiteX13" fmla="*/ 169465 w 447031"/>
                <a:gd name="connsiteY13" fmla="*/ 190346 h 438548"/>
                <a:gd name="connsiteX14" fmla="*/ 195214 w 447031"/>
                <a:gd name="connsiteY14" fmla="*/ 244514 h 438548"/>
                <a:gd name="connsiteX15" fmla="*/ 192773 w 447031"/>
                <a:gd name="connsiteY15" fmla="*/ 267479 h 438548"/>
                <a:gd name="connsiteX16" fmla="*/ 146894 w 447031"/>
                <a:gd name="connsiteY16" fmla="*/ 289280 h 438548"/>
                <a:gd name="connsiteX17" fmla="*/ 145370 w 447031"/>
                <a:gd name="connsiteY17" fmla="*/ 289280 h 438548"/>
                <a:gd name="connsiteX18" fmla="*/ 79704 w 447031"/>
                <a:gd name="connsiteY18" fmla="*/ 254653 h 438548"/>
                <a:gd name="connsiteX19" fmla="*/ 0 w 447031"/>
                <a:gd name="connsiteY19" fmla="*/ 334374 h 438548"/>
                <a:gd name="connsiteX20" fmla="*/ 79704 w 447031"/>
                <a:gd name="connsiteY20" fmla="*/ 414077 h 438548"/>
                <a:gd name="connsiteX21" fmla="*/ 114740 w 447031"/>
                <a:gd name="connsiteY21" fmla="*/ 405888 h 438548"/>
                <a:gd name="connsiteX22" fmla="*/ 180407 w 447031"/>
                <a:gd name="connsiteY22" fmla="*/ 438205 h 438548"/>
                <a:gd name="connsiteX23" fmla="*/ 182618 w 447031"/>
                <a:gd name="connsiteY23" fmla="*/ 438549 h 438548"/>
                <a:gd name="connsiteX24" fmla="*/ 324663 w 447031"/>
                <a:gd name="connsiteY24" fmla="*/ 438549 h 438548"/>
                <a:gd name="connsiteX25" fmla="*/ 326874 w 447031"/>
                <a:gd name="connsiteY25" fmla="*/ 438205 h 438548"/>
                <a:gd name="connsiteX26" fmla="*/ 445431 w 447031"/>
                <a:gd name="connsiteY26" fmla="*/ 356421 h 438548"/>
                <a:gd name="connsiteX27" fmla="*/ 447020 w 447031"/>
                <a:gd name="connsiteY27" fmla="*/ 351458 h 438548"/>
                <a:gd name="connsiteX28" fmla="*/ 446119 w 447031"/>
                <a:gd name="connsiteY28" fmla="*/ 334308 h 438548"/>
                <a:gd name="connsiteX29" fmla="*/ 441926 w 447031"/>
                <a:gd name="connsiteY29" fmla="*/ 328002 h 438548"/>
                <a:gd name="connsiteX30" fmla="*/ 14791 w 447031"/>
                <a:gd name="connsiteY30" fmla="*/ 334357 h 438548"/>
                <a:gd name="connsiteX31" fmla="*/ 79720 w 447031"/>
                <a:gd name="connsiteY31" fmla="*/ 269428 h 438548"/>
                <a:gd name="connsiteX32" fmla="*/ 135067 w 447031"/>
                <a:gd name="connsiteY32" fmla="*/ 300533 h 438548"/>
                <a:gd name="connsiteX33" fmla="*/ 141374 w 447031"/>
                <a:gd name="connsiteY33" fmla="*/ 304055 h 438548"/>
                <a:gd name="connsiteX34" fmla="*/ 242306 w 447031"/>
                <a:gd name="connsiteY34" fmla="*/ 304055 h 438548"/>
                <a:gd name="connsiteX35" fmla="*/ 242306 w 447031"/>
                <a:gd name="connsiteY35" fmla="*/ 356486 h 438548"/>
                <a:gd name="connsiteX36" fmla="*/ 229055 w 447031"/>
                <a:gd name="connsiteY36" fmla="*/ 342563 h 438548"/>
                <a:gd name="connsiteX37" fmla="*/ 223371 w 447031"/>
                <a:gd name="connsiteY37" fmla="*/ 340270 h 438548"/>
                <a:gd name="connsiteX38" fmla="*/ 217900 w 447031"/>
                <a:gd name="connsiteY38" fmla="*/ 343071 h 438548"/>
                <a:gd name="connsiteX39" fmla="*/ 204632 w 447031"/>
                <a:gd name="connsiteY39" fmla="*/ 359811 h 438548"/>
                <a:gd name="connsiteX40" fmla="*/ 190644 w 447031"/>
                <a:gd name="connsiteY40" fmla="*/ 343088 h 438548"/>
                <a:gd name="connsiteX41" fmla="*/ 184436 w 447031"/>
                <a:gd name="connsiteY41" fmla="*/ 340467 h 438548"/>
                <a:gd name="connsiteX42" fmla="*/ 178670 w 447031"/>
                <a:gd name="connsiteY42" fmla="*/ 343989 h 438548"/>
                <a:gd name="connsiteX43" fmla="*/ 166025 w 447031"/>
                <a:gd name="connsiteY43" fmla="*/ 364676 h 438548"/>
                <a:gd name="connsiteX44" fmla="*/ 141374 w 447031"/>
                <a:gd name="connsiteY44" fmla="*/ 364676 h 438548"/>
                <a:gd name="connsiteX45" fmla="*/ 135067 w 447031"/>
                <a:gd name="connsiteY45" fmla="*/ 368214 h 438548"/>
                <a:gd name="connsiteX46" fmla="*/ 111579 w 447031"/>
                <a:gd name="connsiteY46" fmla="*/ 390966 h 438548"/>
                <a:gd name="connsiteX47" fmla="*/ 111284 w 447031"/>
                <a:gd name="connsiteY47" fmla="*/ 391129 h 438548"/>
                <a:gd name="connsiteX48" fmla="*/ 79720 w 447031"/>
                <a:gd name="connsiteY48" fmla="*/ 399303 h 438548"/>
                <a:gd name="connsiteX49" fmla="*/ 14791 w 447031"/>
                <a:gd name="connsiteY49" fmla="*/ 334357 h 438548"/>
                <a:gd name="connsiteX50" fmla="*/ 323533 w 447031"/>
                <a:gd name="connsiteY50" fmla="*/ 423758 h 438548"/>
                <a:gd name="connsiteX51" fmla="*/ 183781 w 447031"/>
                <a:gd name="connsiteY51" fmla="*/ 423758 h 438548"/>
                <a:gd name="connsiteX52" fmla="*/ 128466 w 447031"/>
                <a:gd name="connsiteY52" fmla="*/ 397272 h 438548"/>
                <a:gd name="connsiteX53" fmla="*/ 145370 w 447031"/>
                <a:gd name="connsiteY53" fmla="*/ 379451 h 438548"/>
                <a:gd name="connsiteX54" fmla="*/ 170153 w 447031"/>
                <a:gd name="connsiteY54" fmla="*/ 379451 h 438548"/>
                <a:gd name="connsiteX55" fmla="*/ 176459 w 447031"/>
                <a:gd name="connsiteY55" fmla="*/ 375913 h 438548"/>
                <a:gd name="connsiteX56" fmla="*/ 185894 w 447031"/>
                <a:gd name="connsiteY56" fmla="*/ 360466 h 438548"/>
                <a:gd name="connsiteX57" fmla="*/ 199096 w 447031"/>
                <a:gd name="connsiteY57" fmla="*/ 376257 h 438548"/>
                <a:gd name="connsiteX58" fmla="*/ 204862 w 447031"/>
                <a:gd name="connsiteY58" fmla="*/ 378910 h 438548"/>
                <a:gd name="connsiteX59" fmla="*/ 210562 w 447031"/>
                <a:gd name="connsiteY59" fmla="*/ 376109 h 438548"/>
                <a:gd name="connsiteX60" fmla="*/ 224190 w 447031"/>
                <a:gd name="connsiteY60" fmla="*/ 358910 h 438548"/>
                <a:gd name="connsiteX61" fmla="*/ 241536 w 447031"/>
                <a:gd name="connsiteY61" fmla="*/ 377141 h 438548"/>
                <a:gd name="connsiteX62" fmla="*/ 242273 w 447031"/>
                <a:gd name="connsiteY62" fmla="*/ 377665 h 438548"/>
                <a:gd name="connsiteX63" fmla="*/ 242273 w 447031"/>
                <a:gd name="connsiteY63" fmla="*/ 400433 h 438548"/>
                <a:gd name="connsiteX64" fmla="*/ 249660 w 447031"/>
                <a:gd name="connsiteY64" fmla="*/ 407820 h 438548"/>
                <a:gd name="connsiteX65" fmla="*/ 257048 w 447031"/>
                <a:gd name="connsiteY65" fmla="*/ 400433 h 438548"/>
                <a:gd name="connsiteX66" fmla="*/ 257048 w 447031"/>
                <a:gd name="connsiteY66" fmla="*/ 262024 h 438548"/>
                <a:gd name="connsiteX67" fmla="*/ 249660 w 447031"/>
                <a:gd name="connsiteY67" fmla="*/ 254637 h 438548"/>
                <a:gd name="connsiteX68" fmla="*/ 242273 w 447031"/>
                <a:gd name="connsiteY68" fmla="*/ 262024 h 438548"/>
                <a:gd name="connsiteX69" fmla="*/ 242273 w 447031"/>
                <a:gd name="connsiteY69" fmla="*/ 289264 h 438548"/>
                <a:gd name="connsiteX70" fmla="*/ 181324 w 447031"/>
                <a:gd name="connsiteY70" fmla="*/ 289264 h 438548"/>
                <a:gd name="connsiteX71" fmla="*/ 201635 w 447031"/>
                <a:gd name="connsiteY71" fmla="*/ 279616 h 438548"/>
                <a:gd name="connsiteX72" fmla="*/ 207007 w 447031"/>
                <a:gd name="connsiteY72" fmla="*/ 273277 h 438548"/>
                <a:gd name="connsiteX73" fmla="*/ 210234 w 447031"/>
                <a:gd name="connsiteY73" fmla="*/ 242974 h 438548"/>
                <a:gd name="connsiteX74" fmla="*/ 208482 w 447031"/>
                <a:gd name="connsiteY74" fmla="*/ 237372 h 438548"/>
                <a:gd name="connsiteX75" fmla="*/ 182864 w 447031"/>
                <a:gd name="connsiteY75" fmla="*/ 183172 h 438548"/>
                <a:gd name="connsiteX76" fmla="*/ 177311 w 447031"/>
                <a:gd name="connsiteY76" fmla="*/ 177636 h 438548"/>
                <a:gd name="connsiteX77" fmla="*/ 165698 w 447031"/>
                <a:gd name="connsiteY77" fmla="*/ 147431 h 438548"/>
                <a:gd name="connsiteX78" fmla="*/ 169891 w 447031"/>
                <a:gd name="connsiteY78" fmla="*/ 135753 h 438548"/>
                <a:gd name="connsiteX79" fmla="*/ 174346 w 447031"/>
                <a:gd name="connsiteY79" fmla="*/ 131821 h 438548"/>
                <a:gd name="connsiteX80" fmla="*/ 174461 w 447031"/>
                <a:gd name="connsiteY80" fmla="*/ 125876 h 438548"/>
                <a:gd name="connsiteX81" fmla="*/ 168007 w 447031"/>
                <a:gd name="connsiteY81" fmla="*/ 95229 h 438548"/>
                <a:gd name="connsiteX82" fmla="*/ 187024 w 447031"/>
                <a:gd name="connsiteY82" fmla="*/ 54951 h 438548"/>
                <a:gd name="connsiteX83" fmla="*/ 191479 w 447031"/>
                <a:gd name="connsiteY83" fmla="*/ 49235 h 438548"/>
                <a:gd name="connsiteX84" fmla="*/ 218866 w 447031"/>
                <a:gd name="connsiteY84" fmla="*/ 22781 h 438548"/>
                <a:gd name="connsiteX85" fmla="*/ 317767 w 447031"/>
                <a:gd name="connsiteY85" fmla="*/ 48661 h 438548"/>
                <a:gd name="connsiteX86" fmla="*/ 330675 w 447031"/>
                <a:gd name="connsiteY86" fmla="*/ 126891 h 438548"/>
                <a:gd name="connsiteX87" fmla="*/ 331952 w 447031"/>
                <a:gd name="connsiteY87" fmla="*/ 132509 h 438548"/>
                <a:gd name="connsiteX88" fmla="*/ 336882 w 447031"/>
                <a:gd name="connsiteY88" fmla="*/ 135605 h 438548"/>
                <a:gd name="connsiteX89" fmla="*/ 341616 w 447031"/>
                <a:gd name="connsiteY89" fmla="*/ 147431 h 438548"/>
                <a:gd name="connsiteX90" fmla="*/ 330019 w 447031"/>
                <a:gd name="connsiteY90" fmla="*/ 177636 h 438548"/>
                <a:gd name="connsiteX91" fmla="*/ 324450 w 447031"/>
                <a:gd name="connsiteY91" fmla="*/ 183205 h 438548"/>
                <a:gd name="connsiteX92" fmla="*/ 298849 w 447031"/>
                <a:gd name="connsiteY92" fmla="*/ 237405 h 438548"/>
                <a:gd name="connsiteX93" fmla="*/ 297080 w 447031"/>
                <a:gd name="connsiteY93" fmla="*/ 243040 h 438548"/>
                <a:gd name="connsiteX94" fmla="*/ 300274 w 447031"/>
                <a:gd name="connsiteY94" fmla="*/ 273293 h 438548"/>
                <a:gd name="connsiteX95" fmla="*/ 305122 w 447031"/>
                <a:gd name="connsiteY95" fmla="*/ 279387 h 438548"/>
                <a:gd name="connsiteX96" fmla="*/ 431574 w 447031"/>
                <a:gd name="connsiteY96" fmla="*/ 339484 h 438548"/>
                <a:gd name="connsiteX97" fmla="*/ 432098 w 447031"/>
                <a:gd name="connsiteY97" fmla="*/ 349410 h 438548"/>
                <a:gd name="connsiteX98" fmla="*/ 323533 w 447031"/>
                <a:gd name="connsiteY98" fmla="*/ 423758 h 438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447031" h="438548">
                  <a:moveTo>
                    <a:pt x="441926" y="328002"/>
                  </a:moveTo>
                  <a:lnTo>
                    <a:pt x="314541" y="267462"/>
                  </a:lnTo>
                  <a:lnTo>
                    <a:pt x="312116" y="244563"/>
                  </a:lnTo>
                  <a:cubicBezTo>
                    <a:pt x="327317" y="225710"/>
                    <a:pt x="335294" y="200027"/>
                    <a:pt x="337914" y="190313"/>
                  </a:cubicBezTo>
                  <a:cubicBezTo>
                    <a:pt x="346825" y="185563"/>
                    <a:pt x="352427" y="172984"/>
                    <a:pt x="356227" y="149790"/>
                  </a:cubicBezTo>
                  <a:cubicBezTo>
                    <a:pt x="357619" y="141322"/>
                    <a:pt x="356309" y="134328"/>
                    <a:pt x="352361" y="129004"/>
                  </a:cubicBezTo>
                  <a:cubicBezTo>
                    <a:pt x="350494" y="126482"/>
                    <a:pt x="348316" y="124745"/>
                    <a:pt x="346252" y="123533"/>
                  </a:cubicBezTo>
                  <a:cubicBezTo>
                    <a:pt x="348922" y="105221"/>
                    <a:pt x="350248" y="70463"/>
                    <a:pt x="330069" y="40390"/>
                  </a:cubicBezTo>
                  <a:cubicBezTo>
                    <a:pt x="304909" y="2847"/>
                    <a:pt x="250774" y="-11207"/>
                    <a:pt x="211889" y="9727"/>
                  </a:cubicBezTo>
                  <a:cubicBezTo>
                    <a:pt x="187827" y="22634"/>
                    <a:pt x="180243" y="36376"/>
                    <a:pt x="177884" y="43141"/>
                  </a:cubicBezTo>
                  <a:cubicBezTo>
                    <a:pt x="170350" y="47777"/>
                    <a:pt x="153233" y="61994"/>
                    <a:pt x="153233" y="95213"/>
                  </a:cubicBezTo>
                  <a:cubicBezTo>
                    <a:pt x="153233" y="106875"/>
                    <a:pt x="155755" y="117391"/>
                    <a:pt x="158507" y="125400"/>
                  </a:cubicBezTo>
                  <a:cubicBezTo>
                    <a:pt x="152971" y="129938"/>
                    <a:pt x="149187" y="137865"/>
                    <a:pt x="151136" y="149806"/>
                  </a:cubicBezTo>
                  <a:cubicBezTo>
                    <a:pt x="154936" y="173017"/>
                    <a:pt x="160554" y="185596"/>
                    <a:pt x="169465" y="190346"/>
                  </a:cubicBezTo>
                  <a:cubicBezTo>
                    <a:pt x="172102" y="200010"/>
                    <a:pt x="180128" y="225628"/>
                    <a:pt x="195214" y="244514"/>
                  </a:cubicBezTo>
                  <a:lnTo>
                    <a:pt x="192773" y="267479"/>
                  </a:lnTo>
                  <a:lnTo>
                    <a:pt x="146894" y="289280"/>
                  </a:lnTo>
                  <a:lnTo>
                    <a:pt x="145370" y="289280"/>
                  </a:lnTo>
                  <a:cubicBezTo>
                    <a:pt x="130448" y="267511"/>
                    <a:pt x="106206" y="254653"/>
                    <a:pt x="79704" y="254653"/>
                  </a:cubicBezTo>
                  <a:cubicBezTo>
                    <a:pt x="35757" y="254653"/>
                    <a:pt x="0" y="290410"/>
                    <a:pt x="0" y="334374"/>
                  </a:cubicBezTo>
                  <a:cubicBezTo>
                    <a:pt x="0" y="378320"/>
                    <a:pt x="35757" y="414077"/>
                    <a:pt x="79704" y="414077"/>
                  </a:cubicBezTo>
                  <a:cubicBezTo>
                    <a:pt x="92136" y="414077"/>
                    <a:pt x="104028" y="411146"/>
                    <a:pt x="114740" y="405888"/>
                  </a:cubicBezTo>
                  <a:cubicBezTo>
                    <a:pt x="134969" y="419909"/>
                    <a:pt x="156984" y="430867"/>
                    <a:pt x="180407" y="438205"/>
                  </a:cubicBezTo>
                  <a:cubicBezTo>
                    <a:pt x="181127" y="438434"/>
                    <a:pt x="181865" y="438549"/>
                    <a:pt x="182618" y="438549"/>
                  </a:cubicBezTo>
                  <a:lnTo>
                    <a:pt x="324663" y="438549"/>
                  </a:lnTo>
                  <a:cubicBezTo>
                    <a:pt x="325417" y="438549"/>
                    <a:pt x="326154" y="438434"/>
                    <a:pt x="326874" y="438205"/>
                  </a:cubicBezTo>
                  <a:cubicBezTo>
                    <a:pt x="373737" y="423512"/>
                    <a:pt x="414736" y="395241"/>
                    <a:pt x="445431" y="356421"/>
                  </a:cubicBezTo>
                  <a:cubicBezTo>
                    <a:pt x="446545" y="355012"/>
                    <a:pt x="447118" y="353243"/>
                    <a:pt x="447020" y="351458"/>
                  </a:cubicBezTo>
                  <a:lnTo>
                    <a:pt x="446119" y="334308"/>
                  </a:lnTo>
                  <a:cubicBezTo>
                    <a:pt x="445988" y="331589"/>
                    <a:pt x="444367" y="329181"/>
                    <a:pt x="441926" y="328002"/>
                  </a:cubicBezTo>
                  <a:close/>
                  <a:moveTo>
                    <a:pt x="14791" y="334357"/>
                  </a:moveTo>
                  <a:cubicBezTo>
                    <a:pt x="14791" y="298551"/>
                    <a:pt x="43914" y="269428"/>
                    <a:pt x="79720" y="269428"/>
                  </a:cubicBezTo>
                  <a:cubicBezTo>
                    <a:pt x="102439" y="269428"/>
                    <a:pt x="123127" y="281057"/>
                    <a:pt x="135067" y="300533"/>
                  </a:cubicBezTo>
                  <a:cubicBezTo>
                    <a:pt x="136411" y="302728"/>
                    <a:pt x="138802" y="304055"/>
                    <a:pt x="141374" y="304055"/>
                  </a:cubicBezTo>
                  <a:lnTo>
                    <a:pt x="242306" y="304055"/>
                  </a:lnTo>
                  <a:lnTo>
                    <a:pt x="242306" y="356486"/>
                  </a:lnTo>
                  <a:lnTo>
                    <a:pt x="229055" y="342563"/>
                  </a:lnTo>
                  <a:cubicBezTo>
                    <a:pt x="227580" y="341007"/>
                    <a:pt x="225533" y="340172"/>
                    <a:pt x="223371" y="340270"/>
                  </a:cubicBezTo>
                  <a:cubicBezTo>
                    <a:pt x="221225" y="340368"/>
                    <a:pt x="219243" y="341384"/>
                    <a:pt x="217900" y="343071"/>
                  </a:cubicBezTo>
                  <a:lnTo>
                    <a:pt x="204632" y="359811"/>
                  </a:lnTo>
                  <a:lnTo>
                    <a:pt x="190644" y="343088"/>
                  </a:lnTo>
                  <a:cubicBezTo>
                    <a:pt x="189121" y="341269"/>
                    <a:pt x="186827" y="340287"/>
                    <a:pt x="184436" y="340467"/>
                  </a:cubicBezTo>
                  <a:cubicBezTo>
                    <a:pt x="182061" y="340647"/>
                    <a:pt x="179915" y="341941"/>
                    <a:pt x="178670" y="343989"/>
                  </a:cubicBezTo>
                  <a:lnTo>
                    <a:pt x="166025" y="364676"/>
                  </a:lnTo>
                  <a:lnTo>
                    <a:pt x="141374" y="364676"/>
                  </a:lnTo>
                  <a:cubicBezTo>
                    <a:pt x="138802" y="364676"/>
                    <a:pt x="136411" y="366019"/>
                    <a:pt x="135067" y="368214"/>
                  </a:cubicBezTo>
                  <a:cubicBezTo>
                    <a:pt x="129138" y="377895"/>
                    <a:pt x="121030" y="385626"/>
                    <a:pt x="111579" y="390966"/>
                  </a:cubicBezTo>
                  <a:cubicBezTo>
                    <a:pt x="111481" y="391031"/>
                    <a:pt x="111382" y="391080"/>
                    <a:pt x="111284" y="391129"/>
                  </a:cubicBezTo>
                  <a:cubicBezTo>
                    <a:pt x="101817" y="396420"/>
                    <a:pt x="91022" y="399303"/>
                    <a:pt x="79720" y="399303"/>
                  </a:cubicBezTo>
                  <a:cubicBezTo>
                    <a:pt x="43930" y="399287"/>
                    <a:pt x="14791" y="370147"/>
                    <a:pt x="14791" y="334357"/>
                  </a:cubicBezTo>
                  <a:close/>
                  <a:moveTo>
                    <a:pt x="323533" y="423758"/>
                  </a:moveTo>
                  <a:lnTo>
                    <a:pt x="183781" y="423758"/>
                  </a:lnTo>
                  <a:cubicBezTo>
                    <a:pt x="164191" y="417517"/>
                    <a:pt x="145698" y="408525"/>
                    <a:pt x="128466" y="397272"/>
                  </a:cubicBezTo>
                  <a:cubicBezTo>
                    <a:pt x="134855" y="392276"/>
                    <a:pt x="140637" y="386379"/>
                    <a:pt x="145370" y="379451"/>
                  </a:cubicBezTo>
                  <a:lnTo>
                    <a:pt x="170153" y="379451"/>
                  </a:lnTo>
                  <a:cubicBezTo>
                    <a:pt x="172725" y="379451"/>
                    <a:pt x="175116" y="378108"/>
                    <a:pt x="176459" y="375913"/>
                  </a:cubicBezTo>
                  <a:lnTo>
                    <a:pt x="185894" y="360466"/>
                  </a:lnTo>
                  <a:lnTo>
                    <a:pt x="199096" y="376257"/>
                  </a:lnTo>
                  <a:cubicBezTo>
                    <a:pt x="200521" y="377960"/>
                    <a:pt x="202831" y="379123"/>
                    <a:pt x="204862" y="378910"/>
                  </a:cubicBezTo>
                  <a:cubicBezTo>
                    <a:pt x="207089" y="378877"/>
                    <a:pt x="209186" y="377845"/>
                    <a:pt x="210562" y="376109"/>
                  </a:cubicBezTo>
                  <a:lnTo>
                    <a:pt x="224190" y="358910"/>
                  </a:lnTo>
                  <a:lnTo>
                    <a:pt x="241536" y="377141"/>
                  </a:lnTo>
                  <a:cubicBezTo>
                    <a:pt x="241749" y="377370"/>
                    <a:pt x="242044" y="377469"/>
                    <a:pt x="242273" y="377665"/>
                  </a:cubicBezTo>
                  <a:lnTo>
                    <a:pt x="242273" y="400433"/>
                  </a:lnTo>
                  <a:cubicBezTo>
                    <a:pt x="242273" y="404512"/>
                    <a:pt x="245582" y="407820"/>
                    <a:pt x="249660" y="407820"/>
                  </a:cubicBezTo>
                  <a:cubicBezTo>
                    <a:pt x="253739" y="407820"/>
                    <a:pt x="257048" y="404512"/>
                    <a:pt x="257048" y="400433"/>
                  </a:cubicBezTo>
                  <a:lnTo>
                    <a:pt x="257048" y="262024"/>
                  </a:lnTo>
                  <a:cubicBezTo>
                    <a:pt x="257048" y="257946"/>
                    <a:pt x="253739" y="254637"/>
                    <a:pt x="249660" y="254637"/>
                  </a:cubicBezTo>
                  <a:cubicBezTo>
                    <a:pt x="245582" y="254637"/>
                    <a:pt x="242273" y="257946"/>
                    <a:pt x="242273" y="262024"/>
                  </a:cubicBezTo>
                  <a:lnTo>
                    <a:pt x="242273" y="289264"/>
                  </a:lnTo>
                  <a:lnTo>
                    <a:pt x="181324" y="289264"/>
                  </a:lnTo>
                  <a:lnTo>
                    <a:pt x="201635" y="279616"/>
                  </a:lnTo>
                  <a:cubicBezTo>
                    <a:pt x="204501" y="278830"/>
                    <a:pt x="206680" y="276356"/>
                    <a:pt x="207007" y="273277"/>
                  </a:cubicBezTo>
                  <a:lnTo>
                    <a:pt x="210234" y="242974"/>
                  </a:lnTo>
                  <a:cubicBezTo>
                    <a:pt x="210447" y="240943"/>
                    <a:pt x="209808" y="238912"/>
                    <a:pt x="208482" y="237372"/>
                  </a:cubicBezTo>
                  <a:cubicBezTo>
                    <a:pt x="190857" y="216963"/>
                    <a:pt x="182945" y="183500"/>
                    <a:pt x="182864" y="183172"/>
                  </a:cubicBezTo>
                  <a:cubicBezTo>
                    <a:pt x="182225" y="180420"/>
                    <a:pt x="180063" y="178258"/>
                    <a:pt x="177311" y="177636"/>
                  </a:cubicBezTo>
                  <a:cubicBezTo>
                    <a:pt x="172987" y="176636"/>
                    <a:pt x="168646" y="165351"/>
                    <a:pt x="165698" y="147431"/>
                  </a:cubicBezTo>
                  <a:cubicBezTo>
                    <a:pt x="164633" y="140912"/>
                    <a:pt x="166042" y="136981"/>
                    <a:pt x="169891" y="135753"/>
                  </a:cubicBezTo>
                  <a:cubicBezTo>
                    <a:pt x="171856" y="135130"/>
                    <a:pt x="173478" y="133689"/>
                    <a:pt x="174346" y="131821"/>
                  </a:cubicBezTo>
                  <a:cubicBezTo>
                    <a:pt x="175214" y="129938"/>
                    <a:pt x="175263" y="127792"/>
                    <a:pt x="174461" y="125876"/>
                  </a:cubicBezTo>
                  <a:cubicBezTo>
                    <a:pt x="171512" y="118800"/>
                    <a:pt x="168007" y="107743"/>
                    <a:pt x="168007" y="95229"/>
                  </a:cubicBezTo>
                  <a:cubicBezTo>
                    <a:pt x="168007" y="63813"/>
                    <a:pt x="186320" y="55262"/>
                    <a:pt x="187024" y="54951"/>
                  </a:cubicBezTo>
                  <a:cubicBezTo>
                    <a:pt x="189334" y="53985"/>
                    <a:pt x="191037" y="51691"/>
                    <a:pt x="191479" y="49235"/>
                  </a:cubicBezTo>
                  <a:cubicBezTo>
                    <a:pt x="191496" y="49104"/>
                    <a:pt x="194117" y="36065"/>
                    <a:pt x="218866" y="22781"/>
                  </a:cubicBezTo>
                  <a:cubicBezTo>
                    <a:pt x="247236" y="7548"/>
                    <a:pt x="294836" y="14428"/>
                    <a:pt x="317767" y="48661"/>
                  </a:cubicBezTo>
                  <a:cubicBezTo>
                    <a:pt x="337440" y="77997"/>
                    <a:pt x="333345" y="113132"/>
                    <a:pt x="330675" y="126891"/>
                  </a:cubicBezTo>
                  <a:cubicBezTo>
                    <a:pt x="330298" y="128840"/>
                    <a:pt x="330822" y="130888"/>
                    <a:pt x="331952" y="132509"/>
                  </a:cubicBezTo>
                  <a:cubicBezTo>
                    <a:pt x="333082" y="134147"/>
                    <a:pt x="334933" y="135277"/>
                    <a:pt x="336882" y="135605"/>
                  </a:cubicBezTo>
                  <a:cubicBezTo>
                    <a:pt x="338832" y="135933"/>
                    <a:pt x="343205" y="137751"/>
                    <a:pt x="341616" y="147431"/>
                  </a:cubicBezTo>
                  <a:cubicBezTo>
                    <a:pt x="338684" y="165367"/>
                    <a:pt x="334344" y="176653"/>
                    <a:pt x="330019" y="177636"/>
                  </a:cubicBezTo>
                  <a:cubicBezTo>
                    <a:pt x="327251" y="178258"/>
                    <a:pt x="325089" y="180437"/>
                    <a:pt x="324450" y="183205"/>
                  </a:cubicBezTo>
                  <a:cubicBezTo>
                    <a:pt x="324385" y="183549"/>
                    <a:pt x="316637" y="216996"/>
                    <a:pt x="298849" y="237405"/>
                  </a:cubicBezTo>
                  <a:cubicBezTo>
                    <a:pt x="297506" y="238961"/>
                    <a:pt x="296850" y="240993"/>
                    <a:pt x="297080" y="243040"/>
                  </a:cubicBezTo>
                  <a:lnTo>
                    <a:pt x="300274" y="273293"/>
                  </a:lnTo>
                  <a:cubicBezTo>
                    <a:pt x="300569" y="276111"/>
                    <a:pt x="302567" y="278404"/>
                    <a:pt x="305122" y="279387"/>
                  </a:cubicBezTo>
                  <a:lnTo>
                    <a:pt x="431574" y="339484"/>
                  </a:lnTo>
                  <a:lnTo>
                    <a:pt x="432098" y="349410"/>
                  </a:lnTo>
                  <a:cubicBezTo>
                    <a:pt x="403712" y="384463"/>
                    <a:pt x="366235" y="410130"/>
                    <a:pt x="323533" y="423758"/>
                  </a:cubicBezTo>
                  <a:close/>
                </a:path>
              </a:pathLst>
            </a:custGeom>
            <a:solidFill>
              <a:schemeClr val="tx2"/>
            </a:solidFill>
            <a:ln w="1637" cap="flat">
              <a:noFill/>
              <a:prstDash val="solid"/>
              <a:miter/>
            </a:ln>
          </p:spPr>
          <p:txBody>
            <a:bodyPr rtlCol="0" anchor="ctr"/>
            <a:lstStyle/>
            <a:p>
              <a:endParaRPr lang="en-GB" dirty="0"/>
            </a:p>
          </p:txBody>
        </p:sp>
      </p:grpSp>
      <p:grpSp>
        <p:nvGrpSpPr>
          <p:cNvPr id="48" name="Group 47">
            <a:extLst>
              <a:ext uri="{FF2B5EF4-FFF2-40B4-BE49-F238E27FC236}">
                <a16:creationId xmlns:a16="http://schemas.microsoft.com/office/drawing/2014/main" id="{7EE633FC-51E9-44F4-A31B-DBC62A8F4AB9}"/>
              </a:ext>
            </a:extLst>
          </p:cNvPr>
          <p:cNvGrpSpPr/>
          <p:nvPr/>
        </p:nvGrpSpPr>
        <p:grpSpPr>
          <a:xfrm>
            <a:off x="2638436" y="2391526"/>
            <a:ext cx="492964" cy="432000"/>
            <a:chOff x="2638436" y="2391526"/>
            <a:chExt cx="492964" cy="432000"/>
          </a:xfrm>
        </p:grpSpPr>
        <p:sp>
          <p:nvSpPr>
            <p:cNvPr id="200" name="Freihandform: Form 803">
              <a:extLst>
                <a:ext uri="{FF2B5EF4-FFF2-40B4-BE49-F238E27FC236}">
                  <a16:creationId xmlns:a16="http://schemas.microsoft.com/office/drawing/2014/main" id="{20599254-C292-46FA-A9E5-E0D9AEB73EB2}"/>
                </a:ext>
              </a:extLst>
            </p:cNvPr>
            <p:cNvSpPr/>
            <p:nvPr/>
          </p:nvSpPr>
          <p:spPr>
            <a:xfrm>
              <a:off x="2638436" y="2391526"/>
              <a:ext cx="492964" cy="432000"/>
            </a:xfrm>
            <a:custGeom>
              <a:avLst/>
              <a:gdLst>
                <a:gd name="connsiteX0" fmla="*/ 448576 w 453506"/>
                <a:gd name="connsiteY0" fmla="*/ 33054 h 397422"/>
                <a:gd name="connsiteX1" fmla="*/ 355244 w 453506"/>
                <a:gd name="connsiteY1" fmla="*/ 409 h 397422"/>
                <a:gd name="connsiteX2" fmla="*/ 352804 w 453506"/>
                <a:gd name="connsiteY2" fmla="*/ 0 h 397422"/>
                <a:gd name="connsiteX3" fmla="*/ 345531 w 453506"/>
                <a:gd name="connsiteY3" fmla="*/ 0 h 397422"/>
                <a:gd name="connsiteX4" fmla="*/ 343090 w 453506"/>
                <a:gd name="connsiteY4" fmla="*/ 409 h 397422"/>
                <a:gd name="connsiteX5" fmla="*/ 249759 w 453506"/>
                <a:gd name="connsiteY5" fmla="*/ 33054 h 397422"/>
                <a:gd name="connsiteX6" fmla="*/ 244812 w 453506"/>
                <a:gd name="connsiteY6" fmla="*/ 40032 h 397422"/>
                <a:gd name="connsiteX7" fmla="*/ 244812 w 453506"/>
                <a:gd name="connsiteY7" fmla="*/ 73496 h 397422"/>
                <a:gd name="connsiteX8" fmla="*/ 26126 w 453506"/>
                <a:gd name="connsiteY8" fmla="*/ 73496 h 397422"/>
                <a:gd name="connsiteX9" fmla="*/ 0 w 453506"/>
                <a:gd name="connsiteY9" fmla="*/ 99622 h 397422"/>
                <a:gd name="connsiteX10" fmla="*/ 0 w 453506"/>
                <a:gd name="connsiteY10" fmla="*/ 371297 h 397422"/>
                <a:gd name="connsiteX11" fmla="*/ 26126 w 453506"/>
                <a:gd name="connsiteY11" fmla="*/ 397422 h 397422"/>
                <a:gd name="connsiteX12" fmla="*/ 391493 w 453506"/>
                <a:gd name="connsiteY12" fmla="*/ 397422 h 397422"/>
                <a:gd name="connsiteX13" fmla="*/ 417618 w 453506"/>
                <a:gd name="connsiteY13" fmla="*/ 371297 h 397422"/>
                <a:gd name="connsiteX14" fmla="*/ 417618 w 453506"/>
                <a:gd name="connsiteY14" fmla="*/ 199932 h 397422"/>
                <a:gd name="connsiteX15" fmla="*/ 417275 w 453506"/>
                <a:gd name="connsiteY15" fmla="*/ 198244 h 397422"/>
                <a:gd name="connsiteX16" fmla="*/ 453507 w 453506"/>
                <a:gd name="connsiteY16" fmla="*/ 133905 h 397422"/>
                <a:gd name="connsiteX17" fmla="*/ 453507 w 453506"/>
                <a:gd name="connsiteY17" fmla="*/ 40016 h 397422"/>
                <a:gd name="connsiteX18" fmla="*/ 448576 w 453506"/>
                <a:gd name="connsiteY18" fmla="*/ 33054 h 397422"/>
                <a:gd name="connsiteX19" fmla="*/ 267875 w 453506"/>
                <a:gd name="connsiteY19" fmla="*/ 185599 h 397422"/>
                <a:gd name="connsiteX20" fmla="*/ 209284 w 453506"/>
                <a:gd name="connsiteY20" fmla="*/ 233199 h 397422"/>
                <a:gd name="connsiteX21" fmla="*/ 30597 w 453506"/>
                <a:gd name="connsiteY21" fmla="*/ 88271 h 397422"/>
                <a:gd name="connsiteX22" fmla="*/ 244796 w 453506"/>
                <a:gd name="connsiteY22" fmla="*/ 88271 h 397422"/>
                <a:gd name="connsiteX23" fmla="*/ 244796 w 453506"/>
                <a:gd name="connsiteY23" fmla="*/ 133905 h 397422"/>
                <a:gd name="connsiteX24" fmla="*/ 267875 w 453506"/>
                <a:gd name="connsiteY24" fmla="*/ 185599 h 397422"/>
                <a:gd name="connsiteX25" fmla="*/ 402844 w 453506"/>
                <a:gd name="connsiteY25" fmla="*/ 371313 h 397422"/>
                <a:gd name="connsiteX26" fmla="*/ 391493 w 453506"/>
                <a:gd name="connsiteY26" fmla="*/ 382664 h 397422"/>
                <a:gd name="connsiteX27" fmla="*/ 26126 w 453506"/>
                <a:gd name="connsiteY27" fmla="*/ 382664 h 397422"/>
                <a:gd name="connsiteX28" fmla="*/ 14791 w 453506"/>
                <a:gd name="connsiteY28" fmla="*/ 371313 h 397422"/>
                <a:gd name="connsiteX29" fmla="*/ 14791 w 453506"/>
                <a:gd name="connsiteY29" fmla="*/ 99638 h 397422"/>
                <a:gd name="connsiteX30" fmla="*/ 15675 w 453506"/>
                <a:gd name="connsiteY30" fmla="*/ 95232 h 397422"/>
                <a:gd name="connsiteX31" fmla="*/ 157901 w 453506"/>
                <a:gd name="connsiteY31" fmla="*/ 210595 h 397422"/>
                <a:gd name="connsiteX32" fmla="*/ 94560 w 453506"/>
                <a:gd name="connsiteY32" fmla="*/ 273444 h 397422"/>
                <a:gd name="connsiteX33" fmla="*/ 94511 w 453506"/>
                <a:gd name="connsiteY33" fmla="*/ 283894 h 397422"/>
                <a:gd name="connsiteX34" fmla="*/ 99753 w 453506"/>
                <a:gd name="connsiteY34" fmla="*/ 286089 h 397422"/>
                <a:gd name="connsiteX35" fmla="*/ 104961 w 453506"/>
                <a:gd name="connsiteY35" fmla="*/ 283943 h 397422"/>
                <a:gd name="connsiteX36" fmla="*/ 169449 w 453506"/>
                <a:gd name="connsiteY36" fmla="*/ 219964 h 397422"/>
                <a:gd name="connsiteX37" fmla="*/ 204632 w 453506"/>
                <a:gd name="connsiteY37" fmla="*/ 248498 h 397422"/>
                <a:gd name="connsiteX38" fmla="*/ 209284 w 453506"/>
                <a:gd name="connsiteY38" fmla="*/ 250152 h 397422"/>
                <a:gd name="connsiteX39" fmla="*/ 213952 w 453506"/>
                <a:gd name="connsiteY39" fmla="*/ 248498 h 397422"/>
                <a:gd name="connsiteX40" fmla="*/ 248579 w 453506"/>
                <a:gd name="connsiteY40" fmla="*/ 220357 h 397422"/>
                <a:gd name="connsiteX41" fmla="*/ 312641 w 453506"/>
                <a:gd name="connsiteY41" fmla="*/ 283943 h 397422"/>
                <a:gd name="connsiteX42" fmla="*/ 317849 w 453506"/>
                <a:gd name="connsiteY42" fmla="*/ 286089 h 397422"/>
                <a:gd name="connsiteX43" fmla="*/ 323091 w 453506"/>
                <a:gd name="connsiteY43" fmla="*/ 283894 h 397422"/>
                <a:gd name="connsiteX44" fmla="*/ 323042 w 453506"/>
                <a:gd name="connsiteY44" fmla="*/ 273444 h 397422"/>
                <a:gd name="connsiteX45" fmla="*/ 260111 w 453506"/>
                <a:gd name="connsiteY45" fmla="*/ 210988 h 397422"/>
                <a:gd name="connsiteX46" fmla="*/ 278489 w 453506"/>
                <a:gd name="connsiteY46" fmla="*/ 196050 h 397422"/>
                <a:gd name="connsiteX47" fmla="*/ 334573 w 453506"/>
                <a:gd name="connsiteY47" fmla="*/ 227794 h 397422"/>
                <a:gd name="connsiteX48" fmla="*/ 335654 w 453506"/>
                <a:gd name="connsiteY48" fmla="*/ 228105 h 397422"/>
                <a:gd name="connsiteX49" fmla="*/ 337669 w 453506"/>
                <a:gd name="connsiteY49" fmla="*/ 228383 h 397422"/>
                <a:gd name="connsiteX50" fmla="*/ 360666 w 453506"/>
                <a:gd name="connsiteY50" fmla="*/ 228383 h 397422"/>
                <a:gd name="connsiteX51" fmla="*/ 362681 w 453506"/>
                <a:gd name="connsiteY51" fmla="*/ 228105 h 397422"/>
                <a:gd name="connsiteX52" fmla="*/ 363778 w 453506"/>
                <a:gd name="connsiteY52" fmla="*/ 227794 h 397422"/>
                <a:gd name="connsiteX53" fmla="*/ 402844 w 453506"/>
                <a:gd name="connsiteY53" fmla="*/ 209104 h 397422"/>
                <a:gd name="connsiteX54" fmla="*/ 402844 w 453506"/>
                <a:gd name="connsiteY54" fmla="*/ 371313 h 397422"/>
                <a:gd name="connsiteX55" fmla="*/ 438732 w 453506"/>
                <a:gd name="connsiteY55" fmla="*/ 133921 h 397422"/>
                <a:gd name="connsiteX56" fmla="*/ 359732 w 453506"/>
                <a:gd name="connsiteY56" fmla="*/ 213543 h 397422"/>
                <a:gd name="connsiteX57" fmla="*/ 338684 w 453506"/>
                <a:gd name="connsiteY57" fmla="*/ 213576 h 397422"/>
                <a:gd name="connsiteX58" fmla="*/ 338619 w 453506"/>
                <a:gd name="connsiteY58" fmla="*/ 213559 h 397422"/>
                <a:gd name="connsiteX59" fmla="*/ 259570 w 453506"/>
                <a:gd name="connsiteY59" fmla="*/ 133921 h 397422"/>
                <a:gd name="connsiteX60" fmla="*/ 259570 w 453506"/>
                <a:gd name="connsiteY60" fmla="*/ 45274 h 397422"/>
                <a:gd name="connsiteX61" fmla="*/ 346776 w 453506"/>
                <a:gd name="connsiteY61" fmla="*/ 14775 h 397422"/>
                <a:gd name="connsiteX62" fmla="*/ 351543 w 453506"/>
                <a:gd name="connsiteY62" fmla="*/ 14775 h 397422"/>
                <a:gd name="connsiteX63" fmla="*/ 438748 w 453506"/>
                <a:gd name="connsiteY63" fmla="*/ 45274 h 397422"/>
                <a:gd name="connsiteX64" fmla="*/ 438748 w 453506"/>
                <a:gd name="connsiteY64" fmla="*/ 133921 h 397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453506" h="397422">
                  <a:moveTo>
                    <a:pt x="448576" y="33054"/>
                  </a:moveTo>
                  <a:lnTo>
                    <a:pt x="355244" y="409"/>
                  </a:lnTo>
                  <a:cubicBezTo>
                    <a:pt x="354458" y="131"/>
                    <a:pt x="353639" y="0"/>
                    <a:pt x="352804" y="0"/>
                  </a:cubicBezTo>
                  <a:lnTo>
                    <a:pt x="345531" y="0"/>
                  </a:lnTo>
                  <a:cubicBezTo>
                    <a:pt x="344696" y="0"/>
                    <a:pt x="343877" y="131"/>
                    <a:pt x="343090" y="409"/>
                  </a:cubicBezTo>
                  <a:lnTo>
                    <a:pt x="249759" y="33054"/>
                  </a:lnTo>
                  <a:cubicBezTo>
                    <a:pt x="246794" y="34086"/>
                    <a:pt x="244812" y="36887"/>
                    <a:pt x="244812" y="40032"/>
                  </a:cubicBezTo>
                  <a:lnTo>
                    <a:pt x="244812" y="73496"/>
                  </a:lnTo>
                  <a:lnTo>
                    <a:pt x="26126" y="73496"/>
                  </a:lnTo>
                  <a:cubicBezTo>
                    <a:pt x="11728" y="73496"/>
                    <a:pt x="0" y="85224"/>
                    <a:pt x="0" y="99622"/>
                  </a:cubicBezTo>
                  <a:lnTo>
                    <a:pt x="0" y="371297"/>
                  </a:lnTo>
                  <a:cubicBezTo>
                    <a:pt x="0" y="385711"/>
                    <a:pt x="11711" y="397422"/>
                    <a:pt x="26126" y="397422"/>
                  </a:cubicBezTo>
                  <a:lnTo>
                    <a:pt x="391493" y="397422"/>
                  </a:lnTo>
                  <a:cubicBezTo>
                    <a:pt x="405907" y="397422"/>
                    <a:pt x="417618" y="385694"/>
                    <a:pt x="417618" y="371297"/>
                  </a:cubicBezTo>
                  <a:lnTo>
                    <a:pt x="417618" y="199932"/>
                  </a:lnTo>
                  <a:cubicBezTo>
                    <a:pt x="417618" y="199325"/>
                    <a:pt x="417405" y="198801"/>
                    <a:pt x="417275" y="198244"/>
                  </a:cubicBezTo>
                  <a:cubicBezTo>
                    <a:pt x="437716" y="180980"/>
                    <a:pt x="453507" y="158343"/>
                    <a:pt x="453507" y="133905"/>
                  </a:cubicBezTo>
                  <a:lnTo>
                    <a:pt x="453507" y="40016"/>
                  </a:lnTo>
                  <a:cubicBezTo>
                    <a:pt x="453523" y="36887"/>
                    <a:pt x="451541" y="34086"/>
                    <a:pt x="448576" y="33054"/>
                  </a:cubicBezTo>
                  <a:close/>
                  <a:moveTo>
                    <a:pt x="267875" y="185599"/>
                  </a:moveTo>
                  <a:lnTo>
                    <a:pt x="209284" y="233199"/>
                  </a:lnTo>
                  <a:lnTo>
                    <a:pt x="30597" y="88271"/>
                  </a:lnTo>
                  <a:lnTo>
                    <a:pt x="244796" y="88271"/>
                  </a:lnTo>
                  <a:lnTo>
                    <a:pt x="244796" y="133905"/>
                  </a:lnTo>
                  <a:cubicBezTo>
                    <a:pt x="244796" y="152758"/>
                    <a:pt x="254214" y="170530"/>
                    <a:pt x="267875" y="185599"/>
                  </a:cubicBezTo>
                  <a:close/>
                  <a:moveTo>
                    <a:pt x="402844" y="371313"/>
                  </a:moveTo>
                  <a:cubicBezTo>
                    <a:pt x="402844" y="377570"/>
                    <a:pt x="397750" y="382664"/>
                    <a:pt x="391493" y="382664"/>
                  </a:cubicBezTo>
                  <a:lnTo>
                    <a:pt x="26126" y="382664"/>
                  </a:lnTo>
                  <a:cubicBezTo>
                    <a:pt x="19869" y="382664"/>
                    <a:pt x="14791" y="377570"/>
                    <a:pt x="14791" y="371313"/>
                  </a:cubicBezTo>
                  <a:lnTo>
                    <a:pt x="14791" y="99638"/>
                  </a:lnTo>
                  <a:cubicBezTo>
                    <a:pt x="14791" y="98066"/>
                    <a:pt x="15102" y="96592"/>
                    <a:pt x="15675" y="95232"/>
                  </a:cubicBezTo>
                  <a:lnTo>
                    <a:pt x="157901" y="210595"/>
                  </a:lnTo>
                  <a:lnTo>
                    <a:pt x="94560" y="273444"/>
                  </a:lnTo>
                  <a:cubicBezTo>
                    <a:pt x="91661" y="276310"/>
                    <a:pt x="91645" y="280995"/>
                    <a:pt x="94511" y="283894"/>
                  </a:cubicBezTo>
                  <a:cubicBezTo>
                    <a:pt x="95953" y="285352"/>
                    <a:pt x="97853" y="286089"/>
                    <a:pt x="99753" y="286089"/>
                  </a:cubicBezTo>
                  <a:cubicBezTo>
                    <a:pt x="101636" y="286089"/>
                    <a:pt x="103520" y="285368"/>
                    <a:pt x="104961" y="283943"/>
                  </a:cubicBezTo>
                  <a:lnTo>
                    <a:pt x="169449" y="219964"/>
                  </a:lnTo>
                  <a:lnTo>
                    <a:pt x="204632" y="248498"/>
                  </a:lnTo>
                  <a:cubicBezTo>
                    <a:pt x="205992" y="249595"/>
                    <a:pt x="207646" y="250152"/>
                    <a:pt x="209284" y="250152"/>
                  </a:cubicBezTo>
                  <a:cubicBezTo>
                    <a:pt x="210939" y="250152"/>
                    <a:pt x="212593" y="249611"/>
                    <a:pt x="213952" y="248498"/>
                  </a:cubicBezTo>
                  <a:lnTo>
                    <a:pt x="248579" y="220357"/>
                  </a:lnTo>
                  <a:lnTo>
                    <a:pt x="312641" y="283943"/>
                  </a:lnTo>
                  <a:cubicBezTo>
                    <a:pt x="314082" y="285368"/>
                    <a:pt x="315966" y="286089"/>
                    <a:pt x="317849" y="286089"/>
                  </a:cubicBezTo>
                  <a:cubicBezTo>
                    <a:pt x="319749" y="286089"/>
                    <a:pt x="321649" y="285368"/>
                    <a:pt x="323091" y="283894"/>
                  </a:cubicBezTo>
                  <a:cubicBezTo>
                    <a:pt x="325957" y="280995"/>
                    <a:pt x="325957" y="276327"/>
                    <a:pt x="323042" y="273444"/>
                  </a:cubicBezTo>
                  <a:lnTo>
                    <a:pt x="260111" y="210988"/>
                  </a:lnTo>
                  <a:lnTo>
                    <a:pt x="278489" y="196050"/>
                  </a:lnTo>
                  <a:cubicBezTo>
                    <a:pt x="295737" y="211299"/>
                    <a:pt x="316752" y="222683"/>
                    <a:pt x="334573" y="227794"/>
                  </a:cubicBezTo>
                  <a:lnTo>
                    <a:pt x="335654" y="228105"/>
                  </a:lnTo>
                  <a:cubicBezTo>
                    <a:pt x="336309" y="228285"/>
                    <a:pt x="336981" y="228383"/>
                    <a:pt x="337669" y="228383"/>
                  </a:cubicBezTo>
                  <a:lnTo>
                    <a:pt x="360666" y="228383"/>
                  </a:lnTo>
                  <a:cubicBezTo>
                    <a:pt x="361338" y="228383"/>
                    <a:pt x="362009" y="228285"/>
                    <a:pt x="362681" y="228105"/>
                  </a:cubicBezTo>
                  <a:lnTo>
                    <a:pt x="363778" y="227794"/>
                  </a:lnTo>
                  <a:cubicBezTo>
                    <a:pt x="376030" y="224272"/>
                    <a:pt x="389822" y="217769"/>
                    <a:pt x="402844" y="209104"/>
                  </a:cubicBezTo>
                  <a:lnTo>
                    <a:pt x="402844" y="371313"/>
                  </a:lnTo>
                  <a:close/>
                  <a:moveTo>
                    <a:pt x="438732" y="133921"/>
                  </a:moveTo>
                  <a:cubicBezTo>
                    <a:pt x="438732" y="169219"/>
                    <a:pt x="392705" y="204092"/>
                    <a:pt x="359732" y="213543"/>
                  </a:cubicBezTo>
                  <a:lnTo>
                    <a:pt x="338684" y="213576"/>
                  </a:lnTo>
                  <a:lnTo>
                    <a:pt x="338619" y="213559"/>
                  </a:lnTo>
                  <a:cubicBezTo>
                    <a:pt x="305614" y="204092"/>
                    <a:pt x="259570" y="169219"/>
                    <a:pt x="259570" y="133921"/>
                  </a:cubicBezTo>
                  <a:lnTo>
                    <a:pt x="259570" y="45274"/>
                  </a:lnTo>
                  <a:lnTo>
                    <a:pt x="346776" y="14775"/>
                  </a:lnTo>
                  <a:lnTo>
                    <a:pt x="351543" y="14775"/>
                  </a:lnTo>
                  <a:lnTo>
                    <a:pt x="438748" y="45274"/>
                  </a:lnTo>
                  <a:lnTo>
                    <a:pt x="438748" y="133921"/>
                  </a:lnTo>
                  <a:close/>
                </a:path>
              </a:pathLst>
            </a:custGeom>
            <a:solidFill>
              <a:schemeClr val="tx2"/>
            </a:solidFill>
            <a:ln w="1637" cap="flat">
              <a:noFill/>
              <a:prstDash val="solid"/>
              <a:miter/>
            </a:ln>
          </p:spPr>
          <p:txBody>
            <a:bodyPr rtlCol="0" anchor="ctr"/>
            <a:lstStyle/>
            <a:p>
              <a:endParaRPr lang="en-GB" dirty="0"/>
            </a:p>
          </p:txBody>
        </p:sp>
        <p:sp>
          <p:nvSpPr>
            <p:cNvPr id="201" name="Freihandform: Form 804">
              <a:extLst>
                <a:ext uri="{FF2B5EF4-FFF2-40B4-BE49-F238E27FC236}">
                  <a16:creationId xmlns:a16="http://schemas.microsoft.com/office/drawing/2014/main" id="{DE10CA79-BC7C-4DD6-B4F1-996C3DBCBE75}"/>
                </a:ext>
              </a:extLst>
            </p:cNvPr>
            <p:cNvSpPr/>
            <p:nvPr/>
          </p:nvSpPr>
          <p:spPr>
            <a:xfrm>
              <a:off x="2945607" y="2436750"/>
              <a:ext cx="144735" cy="157751"/>
            </a:xfrm>
            <a:custGeom>
              <a:avLst/>
              <a:gdLst>
                <a:gd name="connsiteX0" fmla="*/ 64356 w 133150"/>
                <a:gd name="connsiteY0" fmla="*/ 0 h 145124"/>
                <a:gd name="connsiteX1" fmla="*/ 61915 w 133150"/>
                <a:gd name="connsiteY1" fmla="*/ 409 h 145124"/>
                <a:gd name="connsiteX2" fmla="*/ 4947 w 133150"/>
                <a:gd name="connsiteY2" fmla="*/ 20327 h 145124"/>
                <a:gd name="connsiteX3" fmla="*/ 0 w 133150"/>
                <a:gd name="connsiteY3" fmla="*/ 27305 h 145124"/>
                <a:gd name="connsiteX4" fmla="*/ 0 w 133150"/>
                <a:gd name="connsiteY4" fmla="*/ 84618 h 145124"/>
                <a:gd name="connsiteX5" fmla="*/ 57526 w 133150"/>
                <a:gd name="connsiteY5" fmla="*/ 144846 h 145124"/>
                <a:gd name="connsiteX6" fmla="*/ 59557 w 133150"/>
                <a:gd name="connsiteY6" fmla="*/ 145125 h 145124"/>
                <a:gd name="connsiteX7" fmla="*/ 73594 w 133150"/>
                <a:gd name="connsiteY7" fmla="*/ 145125 h 145124"/>
                <a:gd name="connsiteX8" fmla="*/ 76280 w 133150"/>
                <a:gd name="connsiteY8" fmla="*/ 144650 h 145124"/>
                <a:gd name="connsiteX9" fmla="*/ 133151 w 133150"/>
                <a:gd name="connsiteY9" fmla="*/ 84618 h 145124"/>
                <a:gd name="connsiteX10" fmla="*/ 133151 w 133150"/>
                <a:gd name="connsiteY10" fmla="*/ 27305 h 145124"/>
                <a:gd name="connsiteX11" fmla="*/ 128204 w 133150"/>
                <a:gd name="connsiteY11" fmla="*/ 20327 h 145124"/>
                <a:gd name="connsiteX12" fmla="*/ 71252 w 133150"/>
                <a:gd name="connsiteY12" fmla="*/ 409 h 145124"/>
                <a:gd name="connsiteX13" fmla="*/ 68811 w 133150"/>
                <a:gd name="connsiteY13" fmla="*/ 0 h 145124"/>
                <a:gd name="connsiteX14" fmla="*/ 64356 w 133150"/>
                <a:gd name="connsiteY14" fmla="*/ 0 h 145124"/>
                <a:gd name="connsiteX15" fmla="*/ 118360 w 133150"/>
                <a:gd name="connsiteY15" fmla="*/ 32563 h 145124"/>
                <a:gd name="connsiteX16" fmla="*/ 118360 w 133150"/>
                <a:gd name="connsiteY16" fmla="*/ 84618 h 145124"/>
                <a:gd name="connsiteX17" fmla="*/ 72546 w 133150"/>
                <a:gd name="connsiteY17" fmla="*/ 130334 h 145124"/>
                <a:gd name="connsiteX18" fmla="*/ 60589 w 133150"/>
                <a:gd name="connsiteY18" fmla="*/ 130334 h 145124"/>
                <a:gd name="connsiteX19" fmla="*/ 14775 w 133150"/>
                <a:gd name="connsiteY19" fmla="*/ 84618 h 145124"/>
                <a:gd name="connsiteX20" fmla="*/ 14775 w 133150"/>
                <a:gd name="connsiteY20" fmla="*/ 32563 h 145124"/>
                <a:gd name="connsiteX21" fmla="*/ 65601 w 133150"/>
                <a:gd name="connsiteY21" fmla="*/ 14791 h 145124"/>
                <a:gd name="connsiteX22" fmla="*/ 67534 w 133150"/>
                <a:gd name="connsiteY22" fmla="*/ 14791 h 145124"/>
                <a:gd name="connsiteX23" fmla="*/ 118360 w 133150"/>
                <a:gd name="connsiteY23" fmla="*/ 32563 h 14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3150" h="145124">
                  <a:moveTo>
                    <a:pt x="64356" y="0"/>
                  </a:moveTo>
                  <a:cubicBezTo>
                    <a:pt x="63521" y="0"/>
                    <a:pt x="62702" y="131"/>
                    <a:pt x="61915" y="409"/>
                  </a:cubicBezTo>
                  <a:lnTo>
                    <a:pt x="4947" y="20327"/>
                  </a:lnTo>
                  <a:cubicBezTo>
                    <a:pt x="1982" y="21359"/>
                    <a:pt x="0" y="24160"/>
                    <a:pt x="0" y="27305"/>
                  </a:cubicBezTo>
                  <a:lnTo>
                    <a:pt x="0" y="84618"/>
                  </a:lnTo>
                  <a:cubicBezTo>
                    <a:pt x="0" y="113152"/>
                    <a:pt x="33021" y="137803"/>
                    <a:pt x="57526" y="144846"/>
                  </a:cubicBezTo>
                  <a:cubicBezTo>
                    <a:pt x="58181" y="145027"/>
                    <a:pt x="58869" y="145125"/>
                    <a:pt x="59557" y="145125"/>
                  </a:cubicBezTo>
                  <a:lnTo>
                    <a:pt x="73594" y="145125"/>
                  </a:lnTo>
                  <a:cubicBezTo>
                    <a:pt x="74282" y="145125"/>
                    <a:pt x="75609" y="144846"/>
                    <a:pt x="76280" y="144650"/>
                  </a:cubicBezTo>
                  <a:cubicBezTo>
                    <a:pt x="100130" y="137819"/>
                    <a:pt x="133151" y="113152"/>
                    <a:pt x="133151" y="84618"/>
                  </a:cubicBezTo>
                  <a:lnTo>
                    <a:pt x="133151" y="27305"/>
                  </a:lnTo>
                  <a:cubicBezTo>
                    <a:pt x="133151" y="24160"/>
                    <a:pt x="131169" y="21359"/>
                    <a:pt x="128204" y="20327"/>
                  </a:cubicBezTo>
                  <a:lnTo>
                    <a:pt x="71252" y="409"/>
                  </a:lnTo>
                  <a:cubicBezTo>
                    <a:pt x="70466" y="131"/>
                    <a:pt x="69647" y="0"/>
                    <a:pt x="68811" y="0"/>
                  </a:cubicBezTo>
                  <a:lnTo>
                    <a:pt x="64356" y="0"/>
                  </a:lnTo>
                  <a:close/>
                  <a:moveTo>
                    <a:pt x="118360" y="32563"/>
                  </a:moveTo>
                  <a:lnTo>
                    <a:pt x="118360" y="84618"/>
                  </a:lnTo>
                  <a:cubicBezTo>
                    <a:pt x="118360" y="104683"/>
                    <a:pt x="91808" y="124666"/>
                    <a:pt x="72546" y="130334"/>
                  </a:cubicBezTo>
                  <a:lnTo>
                    <a:pt x="60589" y="130334"/>
                  </a:lnTo>
                  <a:cubicBezTo>
                    <a:pt x="41343" y="124683"/>
                    <a:pt x="14775" y="104683"/>
                    <a:pt x="14775" y="84618"/>
                  </a:cubicBezTo>
                  <a:lnTo>
                    <a:pt x="14775" y="32563"/>
                  </a:lnTo>
                  <a:lnTo>
                    <a:pt x="65601" y="14791"/>
                  </a:lnTo>
                  <a:lnTo>
                    <a:pt x="67534" y="14791"/>
                  </a:lnTo>
                  <a:lnTo>
                    <a:pt x="118360" y="32563"/>
                  </a:lnTo>
                  <a:close/>
                </a:path>
              </a:pathLst>
            </a:custGeom>
            <a:solidFill>
              <a:schemeClr val="accent1"/>
            </a:solidFill>
            <a:ln w="1637" cap="flat">
              <a:noFill/>
              <a:prstDash val="solid"/>
              <a:miter/>
            </a:ln>
          </p:spPr>
          <p:txBody>
            <a:bodyPr rtlCol="0" anchor="ctr"/>
            <a:lstStyle/>
            <a:p>
              <a:endParaRPr lang="en-GB" dirty="0"/>
            </a:p>
          </p:txBody>
        </p:sp>
      </p:grpSp>
      <p:grpSp>
        <p:nvGrpSpPr>
          <p:cNvPr id="47" name="Group 46">
            <a:extLst>
              <a:ext uri="{FF2B5EF4-FFF2-40B4-BE49-F238E27FC236}">
                <a16:creationId xmlns:a16="http://schemas.microsoft.com/office/drawing/2014/main" id="{784CFDFD-3D43-4B45-A163-F0F74F2CAFA3}"/>
              </a:ext>
            </a:extLst>
          </p:cNvPr>
          <p:cNvGrpSpPr/>
          <p:nvPr/>
        </p:nvGrpSpPr>
        <p:grpSpPr>
          <a:xfrm>
            <a:off x="1644670" y="2391526"/>
            <a:ext cx="389629" cy="432000"/>
            <a:chOff x="1644670" y="2391526"/>
            <a:chExt cx="389629" cy="432000"/>
          </a:xfrm>
        </p:grpSpPr>
        <p:grpSp>
          <p:nvGrpSpPr>
            <p:cNvPr id="203" name="Gruppieren 857">
              <a:extLst>
                <a:ext uri="{FF2B5EF4-FFF2-40B4-BE49-F238E27FC236}">
                  <a16:creationId xmlns:a16="http://schemas.microsoft.com/office/drawing/2014/main" id="{DB38F552-56B7-4819-9596-FC444D76C64F}"/>
                </a:ext>
              </a:extLst>
            </p:cNvPr>
            <p:cNvGrpSpPr/>
            <p:nvPr/>
          </p:nvGrpSpPr>
          <p:grpSpPr>
            <a:xfrm>
              <a:off x="1803028" y="2515569"/>
              <a:ext cx="145895" cy="210789"/>
              <a:chOff x="6761252" y="3559835"/>
              <a:chExt cx="139423" cy="201438"/>
            </a:xfrm>
          </p:grpSpPr>
          <p:sp>
            <p:nvSpPr>
              <p:cNvPr id="205" name="Freihandform: Form 781">
                <a:extLst>
                  <a:ext uri="{FF2B5EF4-FFF2-40B4-BE49-F238E27FC236}">
                    <a16:creationId xmlns:a16="http://schemas.microsoft.com/office/drawing/2014/main" id="{87F14790-194B-4F10-A70D-A8164A2EB53F}"/>
                  </a:ext>
                </a:extLst>
              </p:cNvPr>
              <p:cNvSpPr/>
              <p:nvPr/>
            </p:nvSpPr>
            <p:spPr>
              <a:xfrm>
                <a:off x="6761252" y="3559835"/>
                <a:ext cx="31203" cy="51465"/>
              </a:xfrm>
              <a:custGeom>
                <a:avLst/>
                <a:gdLst>
                  <a:gd name="connsiteX0" fmla="*/ 15610 w 31203"/>
                  <a:gd name="connsiteY0" fmla="*/ 0 h 51465"/>
                  <a:gd name="connsiteX1" fmla="*/ 0 w 31203"/>
                  <a:gd name="connsiteY1" fmla="*/ 15610 h 51465"/>
                  <a:gd name="connsiteX2" fmla="*/ 8223 w 31203"/>
                  <a:gd name="connsiteY2" fmla="*/ 29271 h 51465"/>
                  <a:gd name="connsiteX3" fmla="*/ 8223 w 31203"/>
                  <a:gd name="connsiteY3" fmla="*/ 44078 h 51465"/>
                  <a:gd name="connsiteX4" fmla="*/ 15610 w 31203"/>
                  <a:gd name="connsiteY4" fmla="*/ 51465 h 51465"/>
                  <a:gd name="connsiteX5" fmla="*/ 22997 w 31203"/>
                  <a:gd name="connsiteY5" fmla="*/ 44078 h 51465"/>
                  <a:gd name="connsiteX6" fmla="*/ 22997 w 31203"/>
                  <a:gd name="connsiteY6" fmla="*/ 29271 h 51465"/>
                  <a:gd name="connsiteX7" fmla="*/ 31203 w 31203"/>
                  <a:gd name="connsiteY7" fmla="*/ 15610 h 51465"/>
                  <a:gd name="connsiteX8" fmla="*/ 15610 w 31203"/>
                  <a:gd name="connsiteY8" fmla="*/ 0 h 5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203" h="51465">
                    <a:moveTo>
                      <a:pt x="15610" y="0"/>
                    </a:moveTo>
                    <a:cubicBezTo>
                      <a:pt x="7010" y="0"/>
                      <a:pt x="0" y="6994"/>
                      <a:pt x="0" y="15610"/>
                    </a:cubicBezTo>
                    <a:cubicBezTo>
                      <a:pt x="0" y="21523"/>
                      <a:pt x="3358" y="26617"/>
                      <a:pt x="8223" y="29271"/>
                    </a:cubicBezTo>
                    <a:lnTo>
                      <a:pt x="8223" y="44078"/>
                    </a:lnTo>
                    <a:cubicBezTo>
                      <a:pt x="8223" y="48157"/>
                      <a:pt x="11531" y="51465"/>
                      <a:pt x="15610" y="51465"/>
                    </a:cubicBezTo>
                    <a:cubicBezTo>
                      <a:pt x="19689" y="51465"/>
                      <a:pt x="22997" y="48157"/>
                      <a:pt x="22997" y="44078"/>
                    </a:cubicBezTo>
                    <a:lnTo>
                      <a:pt x="22997" y="29271"/>
                    </a:lnTo>
                    <a:cubicBezTo>
                      <a:pt x="27862" y="26634"/>
                      <a:pt x="31203" y="21539"/>
                      <a:pt x="31203" y="15610"/>
                    </a:cubicBezTo>
                    <a:cubicBezTo>
                      <a:pt x="31220" y="6994"/>
                      <a:pt x="24209" y="0"/>
                      <a:pt x="15610" y="0"/>
                    </a:cubicBezTo>
                    <a:close/>
                  </a:path>
                </a:pathLst>
              </a:custGeom>
              <a:solidFill>
                <a:schemeClr val="accent1"/>
              </a:solidFill>
              <a:ln w="1637" cap="flat">
                <a:noFill/>
                <a:prstDash val="solid"/>
                <a:miter/>
              </a:ln>
            </p:spPr>
            <p:txBody>
              <a:bodyPr rtlCol="0" anchor="ctr"/>
              <a:lstStyle/>
              <a:p>
                <a:endParaRPr lang="en-GB" dirty="0"/>
              </a:p>
            </p:txBody>
          </p:sp>
          <p:sp>
            <p:nvSpPr>
              <p:cNvPr id="206" name="Freihandform: Form 782">
                <a:extLst>
                  <a:ext uri="{FF2B5EF4-FFF2-40B4-BE49-F238E27FC236}">
                    <a16:creationId xmlns:a16="http://schemas.microsoft.com/office/drawing/2014/main" id="{A207E156-978C-4E94-9EEA-8C0F7CA4A93F}"/>
                  </a:ext>
                </a:extLst>
              </p:cNvPr>
              <p:cNvSpPr/>
              <p:nvPr/>
            </p:nvSpPr>
            <p:spPr>
              <a:xfrm>
                <a:off x="6843101" y="3703699"/>
                <a:ext cx="57574" cy="57574"/>
              </a:xfrm>
              <a:custGeom>
                <a:avLst/>
                <a:gdLst>
                  <a:gd name="connsiteX0" fmla="*/ 28796 w 57574"/>
                  <a:gd name="connsiteY0" fmla="*/ 0 h 57574"/>
                  <a:gd name="connsiteX1" fmla="*/ 0 w 57574"/>
                  <a:gd name="connsiteY1" fmla="*/ 28779 h 57574"/>
                  <a:gd name="connsiteX2" fmla="*/ 28796 w 57574"/>
                  <a:gd name="connsiteY2" fmla="*/ 57575 h 57574"/>
                  <a:gd name="connsiteX3" fmla="*/ 57575 w 57574"/>
                  <a:gd name="connsiteY3" fmla="*/ 28779 h 57574"/>
                  <a:gd name="connsiteX4" fmla="*/ 28796 w 57574"/>
                  <a:gd name="connsiteY4" fmla="*/ 0 h 57574"/>
                  <a:gd name="connsiteX5" fmla="*/ 28796 w 57574"/>
                  <a:gd name="connsiteY5" fmla="*/ 42800 h 57574"/>
                  <a:gd name="connsiteX6" fmla="*/ 14791 w 57574"/>
                  <a:gd name="connsiteY6" fmla="*/ 28796 h 57574"/>
                  <a:gd name="connsiteX7" fmla="*/ 28796 w 57574"/>
                  <a:gd name="connsiteY7" fmla="*/ 14791 h 57574"/>
                  <a:gd name="connsiteX8" fmla="*/ 42800 w 57574"/>
                  <a:gd name="connsiteY8" fmla="*/ 28796 h 57574"/>
                  <a:gd name="connsiteX9" fmla="*/ 28796 w 57574"/>
                  <a:gd name="connsiteY9" fmla="*/ 42800 h 57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574" h="57574">
                    <a:moveTo>
                      <a:pt x="28796" y="0"/>
                    </a:moveTo>
                    <a:cubicBezTo>
                      <a:pt x="12907" y="0"/>
                      <a:pt x="0" y="12907"/>
                      <a:pt x="0" y="28779"/>
                    </a:cubicBezTo>
                    <a:cubicBezTo>
                      <a:pt x="0" y="44651"/>
                      <a:pt x="12907" y="57575"/>
                      <a:pt x="28796" y="57575"/>
                    </a:cubicBezTo>
                    <a:cubicBezTo>
                      <a:pt x="44668" y="57575"/>
                      <a:pt x="57575" y="44667"/>
                      <a:pt x="57575" y="28779"/>
                    </a:cubicBezTo>
                    <a:cubicBezTo>
                      <a:pt x="57575" y="12923"/>
                      <a:pt x="44668" y="0"/>
                      <a:pt x="28796" y="0"/>
                    </a:cubicBezTo>
                    <a:close/>
                    <a:moveTo>
                      <a:pt x="28796" y="42800"/>
                    </a:moveTo>
                    <a:cubicBezTo>
                      <a:pt x="21064" y="42800"/>
                      <a:pt x="14791" y="36527"/>
                      <a:pt x="14791" y="28796"/>
                    </a:cubicBezTo>
                    <a:cubicBezTo>
                      <a:pt x="14791" y="21064"/>
                      <a:pt x="21081" y="14791"/>
                      <a:pt x="28796" y="14791"/>
                    </a:cubicBezTo>
                    <a:cubicBezTo>
                      <a:pt x="36527" y="14791"/>
                      <a:pt x="42800" y="21064"/>
                      <a:pt x="42800" y="28796"/>
                    </a:cubicBezTo>
                    <a:cubicBezTo>
                      <a:pt x="42800" y="36510"/>
                      <a:pt x="36510" y="42800"/>
                      <a:pt x="28796" y="42800"/>
                    </a:cubicBezTo>
                    <a:close/>
                  </a:path>
                </a:pathLst>
              </a:custGeom>
              <a:solidFill>
                <a:schemeClr val="accent1"/>
              </a:solidFill>
              <a:ln w="1637" cap="flat">
                <a:noFill/>
                <a:prstDash val="solid"/>
                <a:miter/>
              </a:ln>
            </p:spPr>
            <p:txBody>
              <a:bodyPr rtlCol="0" anchor="ctr"/>
              <a:lstStyle/>
              <a:p>
                <a:endParaRPr lang="en-GB" dirty="0"/>
              </a:p>
            </p:txBody>
          </p:sp>
        </p:grpSp>
        <p:sp>
          <p:nvSpPr>
            <p:cNvPr id="204" name="Freihandform: Form 783">
              <a:extLst>
                <a:ext uri="{FF2B5EF4-FFF2-40B4-BE49-F238E27FC236}">
                  <a16:creationId xmlns:a16="http://schemas.microsoft.com/office/drawing/2014/main" id="{384704FA-9B4E-4856-BFA6-B1AB0EC8E564}"/>
                </a:ext>
              </a:extLst>
            </p:cNvPr>
            <p:cNvSpPr/>
            <p:nvPr/>
          </p:nvSpPr>
          <p:spPr>
            <a:xfrm>
              <a:off x="1644670" y="2391526"/>
              <a:ext cx="389629" cy="432000"/>
            </a:xfrm>
            <a:custGeom>
              <a:avLst/>
              <a:gdLst>
                <a:gd name="connsiteX0" fmla="*/ 325073 w 372344"/>
                <a:gd name="connsiteY0" fmla="*/ 135788 h 412835"/>
                <a:gd name="connsiteX1" fmla="*/ 318930 w 372344"/>
                <a:gd name="connsiteY1" fmla="*/ 135788 h 412835"/>
                <a:gd name="connsiteX2" fmla="*/ 319078 w 372344"/>
                <a:gd name="connsiteY2" fmla="*/ 135018 h 412835"/>
                <a:gd name="connsiteX3" fmla="*/ 319078 w 372344"/>
                <a:gd name="connsiteY3" fmla="*/ 63095 h 412835"/>
                <a:gd name="connsiteX4" fmla="*/ 311691 w 372344"/>
                <a:gd name="connsiteY4" fmla="*/ 55708 h 412835"/>
                <a:gd name="connsiteX5" fmla="*/ 224108 w 372344"/>
                <a:gd name="connsiteY5" fmla="*/ 55708 h 412835"/>
                <a:gd name="connsiteX6" fmla="*/ 224108 w 372344"/>
                <a:gd name="connsiteY6" fmla="*/ 41424 h 412835"/>
                <a:gd name="connsiteX7" fmla="*/ 182683 w 372344"/>
                <a:gd name="connsiteY7" fmla="*/ 0 h 412835"/>
                <a:gd name="connsiteX8" fmla="*/ 151202 w 372344"/>
                <a:gd name="connsiteY8" fmla="*/ 0 h 412835"/>
                <a:gd name="connsiteX9" fmla="*/ 109777 w 372344"/>
                <a:gd name="connsiteY9" fmla="*/ 41424 h 412835"/>
                <a:gd name="connsiteX10" fmla="*/ 109777 w 372344"/>
                <a:gd name="connsiteY10" fmla="*/ 55708 h 412835"/>
                <a:gd name="connsiteX11" fmla="*/ 44356 w 372344"/>
                <a:gd name="connsiteY11" fmla="*/ 55708 h 412835"/>
                <a:gd name="connsiteX12" fmla="*/ 0 w 372344"/>
                <a:gd name="connsiteY12" fmla="*/ 100064 h 412835"/>
                <a:gd name="connsiteX13" fmla="*/ 0 w 372344"/>
                <a:gd name="connsiteY13" fmla="*/ 102374 h 412835"/>
                <a:gd name="connsiteX14" fmla="*/ 0 w 372344"/>
                <a:gd name="connsiteY14" fmla="*/ 106223 h 412835"/>
                <a:gd name="connsiteX15" fmla="*/ 0 w 372344"/>
                <a:gd name="connsiteY15" fmla="*/ 368479 h 412835"/>
                <a:gd name="connsiteX16" fmla="*/ 44356 w 372344"/>
                <a:gd name="connsiteY16" fmla="*/ 412836 h 412835"/>
                <a:gd name="connsiteX17" fmla="*/ 290135 w 372344"/>
                <a:gd name="connsiteY17" fmla="*/ 412836 h 412835"/>
                <a:gd name="connsiteX18" fmla="*/ 334491 w 372344"/>
                <a:gd name="connsiteY18" fmla="*/ 368479 h 412835"/>
                <a:gd name="connsiteX19" fmla="*/ 334491 w 372344"/>
                <a:gd name="connsiteY19" fmla="*/ 354016 h 412835"/>
                <a:gd name="connsiteX20" fmla="*/ 372345 w 372344"/>
                <a:gd name="connsiteY20" fmla="*/ 307841 h 412835"/>
                <a:gd name="connsiteX21" fmla="*/ 372345 w 372344"/>
                <a:gd name="connsiteY21" fmla="*/ 197409 h 412835"/>
                <a:gd name="connsiteX22" fmla="*/ 372148 w 372344"/>
                <a:gd name="connsiteY22" fmla="*/ 196426 h 412835"/>
                <a:gd name="connsiteX23" fmla="*/ 372230 w 372344"/>
                <a:gd name="connsiteY23" fmla="*/ 194772 h 412835"/>
                <a:gd name="connsiteX24" fmla="*/ 372230 w 372344"/>
                <a:gd name="connsiteY24" fmla="*/ 182864 h 412835"/>
                <a:gd name="connsiteX25" fmla="*/ 326825 w 372344"/>
                <a:gd name="connsiteY25" fmla="*/ 135870 h 412835"/>
                <a:gd name="connsiteX26" fmla="*/ 326465 w 372344"/>
                <a:gd name="connsiteY26" fmla="*/ 135805 h 412835"/>
                <a:gd name="connsiteX27" fmla="*/ 325417 w 372344"/>
                <a:gd name="connsiteY27" fmla="*/ 135805 h 412835"/>
                <a:gd name="connsiteX28" fmla="*/ 325138 w 372344"/>
                <a:gd name="connsiteY28" fmla="*/ 135788 h 412835"/>
                <a:gd name="connsiteX29" fmla="*/ 325073 w 372344"/>
                <a:gd name="connsiteY29" fmla="*/ 135788 h 412835"/>
                <a:gd name="connsiteX30" fmla="*/ 304303 w 372344"/>
                <a:gd name="connsiteY30" fmla="*/ 70499 h 412835"/>
                <a:gd name="connsiteX31" fmla="*/ 304303 w 372344"/>
                <a:gd name="connsiteY31" fmla="*/ 135018 h 412835"/>
                <a:gd name="connsiteX32" fmla="*/ 304451 w 372344"/>
                <a:gd name="connsiteY32" fmla="*/ 135788 h 412835"/>
                <a:gd name="connsiteX33" fmla="*/ 246925 w 372344"/>
                <a:gd name="connsiteY33" fmla="*/ 135788 h 412835"/>
                <a:gd name="connsiteX34" fmla="*/ 246925 w 372344"/>
                <a:gd name="connsiteY34" fmla="*/ 92972 h 412835"/>
                <a:gd name="connsiteX35" fmla="*/ 239538 w 372344"/>
                <a:gd name="connsiteY35" fmla="*/ 85584 h 412835"/>
                <a:gd name="connsiteX36" fmla="*/ 224108 w 372344"/>
                <a:gd name="connsiteY36" fmla="*/ 85584 h 412835"/>
                <a:gd name="connsiteX37" fmla="*/ 224108 w 372344"/>
                <a:gd name="connsiteY37" fmla="*/ 70499 h 412835"/>
                <a:gd name="connsiteX38" fmla="*/ 304303 w 372344"/>
                <a:gd name="connsiteY38" fmla="*/ 70499 h 412835"/>
                <a:gd name="connsiteX39" fmla="*/ 101735 w 372344"/>
                <a:gd name="connsiteY39" fmla="*/ 100375 h 412835"/>
                <a:gd name="connsiteX40" fmla="*/ 232150 w 372344"/>
                <a:gd name="connsiteY40" fmla="*/ 100375 h 412835"/>
                <a:gd name="connsiteX41" fmla="*/ 232150 w 372344"/>
                <a:gd name="connsiteY41" fmla="*/ 189956 h 412835"/>
                <a:gd name="connsiteX42" fmla="*/ 101735 w 372344"/>
                <a:gd name="connsiteY42" fmla="*/ 189956 h 412835"/>
                <a:gd name="connsiteX43" fmla="*/ 101735 w 372344"/>
                <a:gd name="connsiteY43" fmla="*/ 100375 h 412835"/>
                <a:gd name="connsiteX44" fmla="*/ 124568 w 372344"/>
                <a:gd name="connsiteY44" fmla="*/ 41441 h 412835"/>
                <a:gd name="connsiteX45" fmla="*/ 151202 w 372344"/>
                <a:gd name="connsiteY45" fmla="*/ 14807 h 412835"/>
                <a:gd name="connsiteX46" fmla="*/ 182683 w 372344"/>
                <a:gd name="connsiteY46" fmla="*/ 14807 h 412835"/>
                <a:gd name="connsiteX47" fmla="*/ 209333 w 372344"/>
                <a:gd name="connsiteY47" fmla="*/ 41441 h 412835"/>
                <a:gd name="connsiteX48" fmla="*/ 209333 w 372344"/>
                <a:gd name="connsiteY48" fmla="*/ 85584 h 412835"/>
                <a:gd name="connsiteX49" fmla="*/ 124568 w 372344"/>
                <a:gd name="connsiteY49" fmla="*/ 85584 h 412835"/>
                <a:gd name="connsiteX50" fmla="*/ 124568 w 372344"/>
                <a:gd name="connsiteY50" fmla="*/ 41441 h 412835"/>
                <a:gd name="connsiteX51" fmla="*/ 14791 w 372344"/>
                <a:gd name="connsiteY51" fmla="*/ 100064 h 412835"/>
                <a:gd name="connsiteX52" fmla="*/ 44356 w 372344"/>
                <a:gd name="connsiteY52" fmla="*/ 70499 h 412835"/>
                <a:gd name="connsiteX53" fmla="*/ 109777 w 372344"/>
                <a:gd name="connsiteY53" fmla="*/ 70499 h 412835"/>
                <a:gd name="connsiteX54" fmla="*/ 109777 w 372344"/>
                <a:gd name="connsiteY54" fmla="*/ 85584 h 412835"/>
                <a:gd name="connsiteX55" fmla="*/ 94348 w 372344"/>
                <a:gd name="connsiteY55" fmla="*/ 85584 h 412835"/>
                <a:gd name="connsiteX56" fmla="*/ 86960 w 372344"/>
                <a:gd name="connsiteY56" fmla="*/ 92972 h 412835"/>
                <a:gd name="connsiteX57" fmla="*/ 86960 w 372344"/>
                <a:gd name="connsiteY57" fmla="*/ 135788 h 412835"/>
                <a:gd name="connsiteX58" fmla="*/ 44356 w 372344"/>
                <a:gd name="connsiteY58" fmla="*/ 135788 h 412835"/>
                <a:gd name="connsiteX59" fmla="*/ 14791 w 372344"/>
                <a:gd name="connsiteY59" fmla="*/ 106223 h 412835"/>
                <a:gd name="connsiteX60" fmla="*/ 14791 w 372344"/>
                <a:gd name="connsiteY60" fmla="*/ 102374 h 412835"/>
                <a:gd name="connsiteX61" fmla="*/ 14791 w 372344"/>
                <a:gd name="connsiteY61" fmla="*/ 100064 h 412835"/>
                <a:gd name="connsiteX62" fmla="*/ 290135 w 372344"/>
                <a:gd name="connsiteY62" fmla="*/ 398045 h 412835"/>
                <a:gd name="connsiteX63" fmla="*/ 44356 w 372344"/>
                <a:gd name="connsiteY63" fmla="*/ 398045 h 412835"/>
                <a:gd name="connsiteX64" fmla="*/ 14791 w 372344"/>
                <a:gd name="connsiteY64" fmla="*/ 368479 h 412835"/>
                <a:gd name="connsiteX65" fmla="*/ 14791 w 372344"/>
                <a:gd name="connsiteY65" fmla="*/ 139195 h 412835"/>
                <a:gd name="connsiteX66" fmla="*/ 44356 w 372344"/>
                <a:gd name="connsiteY66" fmla="*/ 150579 h 412835"/>
                <a:gd name="connsiteX67" fmla="*/ 86960 w 372344"/>
                <a:gd name="connsiteY67" fmla="*/ 150579 h 412835"/>
                <a:gd name="connsiteX68" fmla="*/ 86960 w 372344"/>
                <a:gd name="connsiteY68" fmla="*/ 197343 h 412835"/>
                <a:gd name="connsiteX69" fmla="*/ 94348 w 372344"/>
                <a:gd name="connsiteY69" fmla="*/ 204731 h 412835"/>
                <a:gd name="connsiteX70" fmla="*/ 239538 w 372344"/>
                <a:gd name="connsiteY70" fmla="*/ 204731 h 412835"/>
                <a:gd name="connsiteX71" fmla="*/ 246925 w 372344"/>
                <a:gd name="connsiteY71" fmla="*/ 197343 h 412835"/>
                <a:gd name="connsiteX72" fmla="*/ 246925 w 372344"/>
                <a:gd name="connsiteY72" fmla="*/ 150579 h 412835"/>
                <a:gd name="connsiteX73" fmla="*/ 319700 w 372344"/>
                <a:gd name="connsiteY73" fmla="*/ 150579 h 412835"/>
                <a:gd name="connsiteX74" fmla="*/ 319700 w 372344"/>
                <a:gd name="connsiteY74" fmla="*/ 227073 h 412835"/>
                <a:gd name="connsiteX75" fmla="*/ 270692 w 372344"/>
                <a:gd name="connsiteY75" fmla="*/ 227073 h 412835"/>
                <a:gd name="connsiteX76" fmla="*/ 257670 w 372344"/>
                <a:gd name="connsiteY76" fmla="*/ 227073 h 412835"/>
                <a:gd name="connsiteX77" fmla="*/ 216459 w 372344"/>
                <a:gd name="connsiteY77" fmla="*/ 227073 h 412835"/>
                <a:gd name="connsiteX78" fmla="*/ 169383 w 372344"/>
                <a:gd name="connsiteY78" fmla="*/ 274165 h 412835"/>
                <a:gd name="connsiteX79" fmla="*/ 169383 w 372344"/>
                <a:gd name="connsiteY79" fmla="*/ 307874 h 412835"/>
                <a:gd name="connsiteX80" fmla="*/ 216459 w 372344"/>
                <a:gd name="connsiteY80" fmla="*/ 354966 h 412835"/>
                <a:gd name="connsiteX81" fmla="*/ 257801 w 372344"/>
                <a:gd name="connsiteY81" fmla="*/ 354966 h 412835"/>
                <a:gd name="connsiteX82" fmla="*/ 270708 w 372344"/>
                <a:gd name="connsiteY82" fmla="*/ 354966 h 412835"/>
                <a:gd name="connsiteX83" fmla="*/ 319717 w 372344"/>
                <a:gd name="connsiteY83" fmla="*/ 354966 h 412835"/>
                <a:gd name="connsiteX84" fmla="*/ 319717 w 372344"/>
                <a:gd name="connsiteY84" fmla="*/ 368512 h 412835"/>
                <a:gd name="connsiteX85" fmla="*/ 290135 w 372344"/>
                <a:gd name="connsiteY85" fmla="*/ 398045 h 412835"/>
                <a:gd name="connsiteX86" fmla="*/ 325269 w 372344"/>
                <a:gd name="connsiteY86" fmla="*/ 340159 h 412835"/>
                <a:gd name="connsiteX87" fmla="*/ 270692 w 372344"/>
                <a:gd name="connsiteY87" fmla="*/ 340159 h 412835"/>
                <a:gd name="connsiteX88" fmla="*/ 257785 w 372344"/>
                <a:gd name="connsiteY88" fmla="*/ 340159 h 412835"/>
                <a:gd name="connsiteX89" fmla="*/ 216442 w 372344"/>
                <a:gd name="connsiteY89" fmla="*/ 340159 h 412835"/>
                <a:gd name="connsiteX90" fmla="*/ 184141 w 372344"/>
                <a:gd name="connsiteY90" fmla="*/ 307858 h 412835"/>
                <a:gd name="connsiteX91" fmla="*/ 184141 w 372344"/>
                <a:gd name="connsiteY91" fmla="*/ 274148 h 412835"/>
                <a:gd name="connsiteX92" fmla="*/ 216442 w 372344"/>
                <a:gd name="connsiteY92" fmla="*/ 241847 h 412835"/>
                <a:gd name="connsiteX93" fmla="*/ 257654 w 372344"/>
                <a:gd name="connsiteY93" fmla="*/ 241847 h 412835"/>
                <a:gd name="connsiteX94" fmla="*/ 270676 w 372344"/>
                <a:gd name="connsiteY94" fmla="*/ 241847 h 412835"/>
                <a:gd name="connsiteX95" fmla="*/ 325122 w 372344"/>
                <a:gd name="connsiteY95" fmla="*/ 241847 h 412835"/>
                <a:gd name="connsiteX96" fmla="*/ 357537 w 372344"/>
                <a:gd name="connsiteY96" fmla="*/ 228825 h 412835"/>
                <a:gd name="connsiteX97" fmla="*/ 357537 w 372344"/>
                <a:gd name="connsiteY97" fmla="*/ 307858 h 412835"/>
                <a:gd name="connsiteX98" fmla="*/ 325269 w 372344"/>
                <a:gd name="connsiteY98" fmla="*/ 340159 h 412835"/>
                <a:gd name="connsiteX99" fmla="*/ 357439 w 372344"/>
                <a:gd name="connsiteY99" fmla="*/ 182864 h 412835"/>
                <a:gd name="connsiteX100" fmla="*/ 357439 w 372344"/>
                <a:gd name="connsiteY100" fmla="*/ 194772 h 412835"/>
                <a:gd name="connsiteX101" fmla="*/ 334475 w 372344"/>
                <a:gd name="connsiteY101" fmla="*/ 225533 h 412835"/>
                <a:gd name="connsiteX102" fmla="*/ 334475 w 372344"/>
                <a:gd name="connsiteY102" fmla="*/ 152102 h 412835"/>
                <a:gd name="connsiteX103" fmla="*/ 357439 w 372344"/>
                <a:gd name="connsiteY103" fmla="*/ 182864 h 41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372344" h="412835">
                  <a:moveTo>
                    <a:pt x="325073" y="135788"/>
                  </a:moveTo>
                  <a:lnTo>
                    <a:pt x="318930" y="135788"/>
                  </a:lnTo>
                  <a:cubicBezTo>
                    <a:pt x="318963" y="135526"/>
                    <a:pt x="319078" y="135297"/>
                    <a:pt x="319078" y="135018"/>
                  </a:cubicBezTo>
                  <a:lnTo>
                    <a:pt x="319078" y="63095"/>
                  </a:lnTo>
                  <a:cubicBezTo>
                    <a:pt x="319078" y="59016"/>
                    <a:pt x="315769" y="55708"/>
                    <a:pt x="311691" y="55708"/>
                  </a:cubicBezTo>
                  <a:lnTo>
                    <a:pt x="224108" y="55708"/>
                  </a:lnTo>
                  <a:lnTo>
                    <a:pt x="224108" y="41424"/>
                  </a:lnTo>
                  <a:cubicBezTo>
                    <a:pt x="224108" y="18591"/>
                    <a:pt x="205517" y="0"/>
                    <a:pt x="182683" y="0"/>
                  </a:cubicBezTo>
                  <a:lnTo>
                    <a:pt x="151202" y="0"/>
                  </a:lnTo>
                  <a:cubicBezTo>
                    <a:pt x="128368" y="0"/>
                    <a:pt x="109777" y="18575"/>
                    <a:pt x="109777" y="41424"/>
                  </a:cubicBezTo>
                  <a:lnTo>
                    <a:pt x="109777" y="55708"/>
                  </a:lnTo>
                  <a:lnTo>
                    <a:pt x="44356" y="55708"/>
                  </a:lnTo>
                  <a:cubicBezTo>
                    <a:pt x="19901" y="55708"/>
                    <a:pt x="0" y="75609"/>
                    <a:pt x="0" y="100064"/>
                  </a:cubicBezTo>
                  <a:lnTo>
                    <a:pt x="0" y="102374"/>
                  </a:lnTo>
                  <a:lnTo>
                    <a:pt x="0" y="106223"/>
                  </a:lnTo>
                  <a:lnTo>
                    <a:pt x="0" y="368479"/>
                  </a:lnTo>
                  <a:cubicBezTo>
                    <a:pt x="0" y="392934"/>
                    <a:pt x="19901" y="412836"/>
                    <a:pt x="44356" y="412836"/>
                  </a:cubicBezTo>
                  <a:lnTo>
                    <a:pt x="290135" y="412836"/>
                  </a:lnTo>
                  <a:cubicBezTo>
                    <a:pt x="314590" y="412836"/>
                    <a:pt x="334491" y="392934"/>
                    <a:pt x="334491" y="368479"/>
                  </a:cubicBezTo>
                  <a:lnTo>
                    <a:pt x="334491" y="354016"/>
                  </a:lnTo>
                  <a:cubicBezTo>
                    <a:pt x="356047" y="349708"/>
                    <a:pt x="372345" y="330658"/>
                    <a:pt x="372345" y="307841"/>
                  </a:cubicBezTo>
                  <a:lnTo>
                    <a:pt x="372345" y="197409"/>
                  </a:lnTo>
                  <a:cubicBezTo>
                    <a:pt x="372345" y="197049"/>
                    <a:pt x="372197" y="196754"/>
                    <a:pt x="372148" y="196426"/>
                  </a:cubicBezTo>
                  <a:cubicBezTo>
                    <a:pt x="372165" y="195869"/>
                    <a:pt x="372230" y="195329"/>
                    <a:pt x="372230" y="194772"/>
                  </a:cubicBezTo>
                  <a:lnTo>
                    <a:pt x="372230" y="182864"/>
                  </a:lnTo>
                  <a:cubicBezTo>
                    <a:pt x="372230" y="157475"/>
                    <a:pt x="352017" y="136755"/>
                    <a:pt x="326825" y="135870"/>
                  </a:cubicBezTo>
                  <a:cubicBezTo>
                    <a:pt x="326711" y="135870"/>
                    <a:pt x="326596" y="135805"/>
                    <a:pt x="326465" y="135805"/>
                  </a:cubicBezTo>
                  <a:lnTo>
                    <a:pt x="325417" y="135805"/>
                  </a:lnTo>
                  <a:cubicBezTo>
                    <a:pt x="325319" y="135805"/>
                    <a:pt x="325237" y="135788"/>
                    <a:pt x="325138" y="135788"/>
                  </a:cubicBezTo>
                  <a:cubicBezTo>
                    <a:pt x="325106" y="135788"/>
                    <a:pt x="325106" y="135788"/>
                    <a:pt x="325073" y="135788"/>
                  </a:cubicBezTo>
                  <a:close/>
                  <a:moveTo>
                    <a:pt x="304303" y="70499"/>
                  </a:moveTo>
                  <a:lnTo>
                    <a:pt x="304303" y="135018"/>
                  </a:lnTo>
                  <a:cubicBezTo>
                    <a:pt x="304303" y="135297"/>
                    <a:pt x="304418" y="135510"/>
                    <a:pt x="304451" y="135788"/>
                  </a:cubicBezTo>
                  <a:lnTo>
                    <a:pt x="246925" y="135788"/>
                  </a:lnTo>
                  <a:lnTo>
                    <a:pt x="246925" y="92972"/>
                  </a:lnTo>
                  <a:cubicBezTo>
                    <a:pt x="246925" y="88893"/>
                    <a:pt x="243616" y="85584"/>
                    <a:pt x="239538" y="85584"/>
                  </a:cubicBezTo>
                  <a:lnTo>
                    <a:pt x="224108" y="85584"/>
                  </a:lnTo>
                  <a:lnTo>
                    <a:pt x="224108" y="70499"/>
                  </a:lnTo>
                  <a:lnTo>
                    <a:pt x="304303" y="70499"/>
                  </a:lnTo>
                  <a:close/>
                  <a:moveTo>
                    <a:pt x="101735" y="100375"/>
                  </a:moveTo>
                  <a:lnTo>
                    <a:pt x="232150" y="100375"/>
                  </a:lnTo>
                  <a:lnTo>
                    <a:pt x="232150" y="189956"/>
                  </a:lnTo>
                  <a:lnTo>
                    <a:pt x="101735" y="189956"/>
                  </a:lnTo>
                  <a:lnTo>
                    <a:pt x="101735" y="100375"/>
                  </a:lnTo>
                  <a:close/>
                  <a:moveTo>
                    <a:pt x="124568" y="41441"/>
                  </a:moveTo>
                  <a:cubicBezTo>
                    <a:pt x="124568" y="26748"/>
                    <a:pt x="136525" y="14807"/>
                    <a:pt x="151202" y="14807"/>
                  </a:cubicBezTo>
                  <a:lnTo>
                    <a:pt x="182683" y="14807"/>
                  </a:lnTo>
                  <a:cubicBezTo>
                    <a:pt x="197376" y="14807"/>
                    <a:pt x="209333" y="26748"/>
                    <a:pt x="209333" y="41441"/>
                  </a:cubicBezTo>
                  <a:lnTo>
                    <a:pt x="209333" y="85584"/>
                  </a:lnTo>
                  <a:lnTo>
                    <a:pt x="124568" y="85584"/>
                  </a:lnTo>
                  <a:lnTo>
                    <a:pt x="124568" y="41441"/>
                  </a:lnTo>
                  <a:close/>
                  <a:moveTo>
                    <a:pt x="14791" y="100064"/>
                  </a:moveTo>
                  <a:cubicBezTo>
                    <a:pt x="14791" y="83750"/>
                    <a:pt x="28059" y="70499"/>
                    <a:pt x="44356" y="70499"/>
                  </a:cubicBezTo>
                  <a:lnTo>
                    <a:pt x="109777" y="70499"/>
                  </a:lnTo>
                  <a:lnTo>
                    <a:pt x="109777" y="85584"/>
                  </a:lnTo>
                  <a:lnTo>
                    <a:pt x="94348" y="85584"/>
                  </a:lnTo>
                  <a:cubicBezTo>
                    <a:pt x="90269" y="85584"/>
                    <a:pt x="86960" y="88893"/>
                    <a:pt x="86960" y="92972"/>
                  </a:cubicBezTo>
                  <a:lnTo>
                    <a:pt x="86960" y="135788"/>
                  </a:lnTo>
                  <a:lnTo>
                    <a:pt x="44356" y="135788"/>
                  </a:lnTo>
                  <a:cubicBezTo>
                    <a:pt x="28059" y="135788"/>
                    <a:pt x="14791" y="122521"/>
                    <a:pt x="14791" y="106223"/>
                  </a:cubicBezTo>
                  <a:lnTo>
                    <a:pt x="14791" y="102374"/>
                  </a:lnTo>
                  <a:lnTo>
                    <a:pt x="14791" y="100064"/>
                  </a:lnTo>
                  <a:close/>
                  <a:moveTo>
                    <a:pt x="290135" y="398045"/>
                  </a:moveTo>
                  <a:lnTo>
                    <a:pt x="44356" y="398045"/>
                  </a:lnTo>
                  <a:cubicBezTo>
                    <a:pt x="28059" y="398045"/>
                    <a:pt x="14791" y="384777"/>
                    <a:pt x="14791" y="368479"/>
                  </a:cubicBezTo>
                  <a:lnTo>
                    <a:pt x="14791" y="139195"/>
                  </a:lnTo>
                  <a:cubicBezTo>
                    <a:pt x="22653" y="146255"/>
                    <a:pt x="32989" y="150579"/>
                    <a:pt x="44356" y="150579"/>
                  </a:cubicBezTo>
                  <a:lnTo>
                    <a:pt x="86960" y="150579"/>
                  </a:lnTo>
                  <a:lnTo>
                    <a:pt x="86960" y="197343"/>
                  </a:lnTo>
                  <a:cubicBezTo>
                    <a:pt x="86960" y="201422"/>
                    <a:pt x="90269" y="204731"/>
                    <a:pt x="94348" y="204731"/>
                  </a:cubicBezTo>
                  <a:lnTo>
                    <a:pt x="239538" y="204731"/>
                  </a:lnTo>
                  <a:cubicBezTo>
                    <a:pt x="243616" y="204731"/>
                    <a:pt x="246925" y="201422"/>
                    <a:pt x="246925" y="197343"/>
                  </a:cubicBezTo>
                  <a:lnTo>
                    <a:pt x="246925" y="150579"/>
                  </a:lnTo>
                  <a:lnTo>
                    <a:pt x="319700" y="150579"/>
                  </a:lnTo>
                  <a:lnTo>
                    <a:pt x="319700" y="227073"/>
                  </a:lnTo>
                  <a:lnTo>
                    <a:pt x="270692" y="227073"/>
                  </a:lnTo>
                  <a:lnTo>
                    <a:pt x="257670" y="227073"/>
                  </a:lnTo>
                  <a:lnTo>
                    <a:pt x="216459" y="227073"/>
                  </a:lnTo>
                  <a:cubicBezTo>
                    <a:pt x="190497" y="227073"/>
                    <a:pt x="169383" y="248203"/>
                    <a:pt x="169383" y="274165"/>
                  </a:cubicBezTo>
                  <a:lnTo>
                    <a:pt x="169383" y="307874"/>
                  </a:lnTo>
                  <a:cubicBezTo>
                    <a:pt x="169383" y="333836"/>
                    <a:pt x="190497" y="354966"/>
                    <a:pt x="216459" y="354966"/>
                  </a:cubicBezTo>
                  <a:lnTo>
                    <a:pt x="257801" y="354966"/>
                  </a:lnTo>
                  <a:lnTo>
                    <a:pt x="270708" y="354966"/>
                  </a:lnTo>
                  <a:lnTo>
                    <a:pt x="319717" y="354966"/>
                  </a:lnTo>
                  <a:lnTo>
                    <a:pt x="319717" y="368512"/>
                  </a:lnTo>
                  <a:cubicBezTo>
                    <a:pt x="319700" y="384794"/>
                    <a:pt x="306433" y="398045"/>
                    <a:pt x="290135" y="398045"/>
                  </a:cubicBezTo>
                  <a:close/>
                  <a:moveTo>
                    <a:pt x="325269" y="340159"/>
                  </a:moveTo>
                  <a:lnTo>
                    <a:pt x="270692" y="340159"/>
                  </a:lnTo>
                  <a:lnTo>
                    <a:pt x="257785" y="340159"/>
                  </a:lnTo>
                  <a:lnTo>
                    <a:pt x="216442" y="340159"/>
                  </a:lnTo>
                  <a:cubicBezTo>
                    <a:pt x="198637" y="340159"/>
                    <a:pt x="184141" y="325679"/>
                    <a:pt x="184141" y="307858"/>
                  </a:cubicBezTo>
                  <a:lnTo>
                    <a:pt x="184141" y="274148"/>
                  </a:lnTo>
                  <a:cubicBezTo>
                    <a:pt x="184141" y="256327"/>
                    <a:pt x="198621" y="241847"/>
                    <a:pt x="216442" y="241847"/>
                  </a:cubicBezTo>
                  <a:lnTo>
                    <a:pt x="257654" y="241847"/>
                  </a:lnTo>
                  <a:lnTo>
                    <a:pt x="270676" y="241847"/>
                  </a:lnTo>
                  <a:lnTo>
                    <a:pt x="325122" y="241847"/>
                  </a:lnTo>
                  <a:cubicBezTo>
                    <a:pt x="337685" y="241847"/>
                    <a:pt x="349086" y="236868"/>
                    <a:pt x="357537" y="228825"/>
                  </a:cubicBezTo>
                  <a:lnTo>
                    <a:pt x="357537" y="307858"/>
                  </a:lnTo>
                  <a:cubicBezTo>
                    <a:pt x="357554" y="325663"/>
                    <a:pt x="343074" y="340159"/>
                    <a:pt x="325269" y="340159"/>
                  </a:cubicBezTo>
                  <a:close/>
                  <a:moveTo>
                    <a:pt x="357439" y="182864"/>
                  </a:moveTo>
                  <a:lnTo>
                    <a:pt x="357439" y="194772"/>
                  </a:lnTo>
                  <a:cubicBezTo>
                    <a:pt x="357439" y="209317"/>
                    <a:pt x="347710" y="221487"/>
                    <a:pt x="334475" y="225533"/>
                  </a:cubicBezTo>
                  <a:lnTo>
                    <a:pt x="334475" y="152102"/>
                  </a:lnTo>
                  <a:cubicBezTo>
                    <a:pt x="347726" y="156132"/>
                    <a:pt x="357439" y="168318"/>
                    <a:pt x="357439" y="182864"/>
                  </a:cubicBezTo>
                  <a:close/>
                </a:path>
              </a:pathLst>
            </a:custGeom>
            <a:solidFill>
              <a:schemeClr val="tx2"/>
            </a:solidFill>
            <a:ln w="1637" cap="flat">
              <a:noFill/>
              <a:prstDash val="solid"/>
              <a:miter/>
            </a:ln>
          </p:spPr>
          <p:txBody>
            <a:bodyPr rtlCol="0" anchor="ctr"/>
            <a:lstStyle/>
            <a:p>
              <a:endParaRPr lang="en-GB" dirty="0"/>
            </a:p>
          </p:txBody>
        </p:sp>
      </p:grpSp>
      <p:grpSp>
        <p:nvGrpSpPr>
          <p:cNvPr id="46" name="Group 45">
            <a:extLst>
              <a:ext uri="{FF2B5EF4-FFF2-40B4-BE49-F238E27FC236}">
                <a16:creationId xmlns:a16="http://schemas.microsoft.com/office/drawing/2014/main" id="{B20A1EAA-CC88-49CA-804F-07875C90A61A}"/>
              </a:ext>
            </a:extLst>
          </p:cNvPr>
          <p:cNvGrpSpPr/>
          <p:nvPr/>
        </p:nvGrpSpPr>
        <p:grpSpPr>
          <a:xfrm>
            <a:off x="602649" y="2391526"/>
            <a:ext cx="382803" cy="432000"/>
            <a:chOff x="602649" y="2391526"/>
            <a:chExt cx="382803" cy="432000"/>
          </a:xfrm>
        </p:grpSpPr>
        <p:grpSp>
          <p:nvGrpSpPr>
            <p:cNvPr id="213" name="Gruppieren 836">
              <a:extLst>
                <a:ext uri="{FF2B5EF4-FFF2-40B4-BE49-F238E27FC236}">
                  <a16:creationId xmlns:a16="http://schemas.microsoft.com/office/drawing/2014/main" id="{B18BA251-41C8-43A1-84DA-77BBE23A2414}"/>
                </a:ext>
              </a:extLst>
            </p:cNvPr>
            <p:cNvGrpSpPr/>
            <p:nvPr/>
          </p:nvGrpSpPr>
          <p:grpSpPr>
            <a:xfrm>
              <a:off x="676002" y="2435603"/>
              <a:ext cx="236090" cy="212904"/>
              <a:chOff x="2628690" y="4100057"/>
              <a:chExt cx="272381" cy="245631"/>
            </a:xfrm>
            <a:solidFill>
              <a:schemeClr val="accent1"/>
            </a:solidFill>
          </p:grpSpPr>
          <p:grpSp>
            <p:nvGrpSpPr>
              <p:cNvPr id="286" name="Gruppieren 835">
                <a:extLst>
                  <a:ext uri="{FF2B5EF4-FFF2-40B4-BE49-F238E27FC236}">
                    <a16:creationId xmlns:a16="http://schemas.microsoft.com/office/drawing/2014/main" id="{6AB8965F-D718-442B-A788-015B4B3FA949}"/>
                  </a:ext>
                </a:extLst>
              </p:cNvPr>
              <p:cNvGrpSpPr/>
              <p:nvPr/>
            </p:nvGrpSpPr>
            <p:grpSpPr>
              <a:xfrm>
                <a:off x="2628690" y="4133739"/>
                <a:ext cx="272381" cy="211949"/>
                <a:chOff x="2628690" y="4133739"/>
                <a:chExt cx="272381" cy="211949"/>
              </a:xfrm>
              <a:solidFill>
                <a:schemeClr val="accent1"/>
              </a:solidFill>
            </p:grpSpPr>
            <p:sp>
              <p:nvSpPr>
                <p:cNvPr id="288" name="Freihandform: Form 309">
                  <a:extLst>
                    <a:ext uri="{FF2B5EF4-FFF2-40B4-BE49-F238E27FC236}">
                      <a16:creationId xmlns:a16="http://schemas.microsoft.com/office/drawing/2014/main" id="{C089F6F1-EDD4-44EC-A47F-EF080E86BE10}"/>
                    </a:ext>
                  </a:extLst>
                </p:cNvPr>
                <p:cNvSpPr/>
                <p:nvPr/>
              </p:nvSpPr>
              <p:spPr>
                <a:xfrm>
                  <a:off x="2764885" y="4133739"/>
                  <a:ext cx="124569" cy="87242"/>
                </a:xfrm>
                <a:custGeom>
                  <a:avLst/>
                  <a:gdLst>
                    <a:gd name="connsiteX0" fmla="*/ 113580 w 124569"/>
                    <a:gd name="connsiteY0" fmla="*/ 87242 h 87242"/>
                    <a:gd name="connsiteX1" fmla="*/ 87156 w 124569"/>
                    <a:gd name="connsiteY1" fmla="*/ 48058 h 87242"/>
                    <a:gd name="connsiteX2" fmla="*/ 47981 w 124569"/>
                    <a:gd name="connsiteY2" fmla="*/ 21643 h 87242"/>
                    <a:gd name="connsiteX3" fmla="*/ 0 w 124569"/>
                    <a:gd name="connsiteY3" fmla="*/ 11944 h 87242"/>
                    <a:gd name="connsiteX4" fmla="*/ 0 w 124569"/>
                    <a:gd name="connsiteY4" fmla="*/ 0 h 87242"/>
                    <a:gd name="connsiteX5" fmla="*/ 52624 w 124569"/>
                    <a:gd name="connsiteY5" fmla="*/ 10628 h 87242"/>
                    <a:gd name="connsiteX6" fmla="*/ 95600 w 124569"/>
                    <a:gd name="connsiteY6" fmla="*/ 39606 h 87242"/>
                    <a:gd name="connsiteX7" fmla="*/ 124569 w 124569"/>
                    <a:gd name="connsiteY7" fmla="*/ 82573 h 87242"/>
                    <a:gd name="connsiteX8" fmla="*/ 113580 w 124569"/>
                    <a:gd name="connsiteY8" fmla="*/ 87242 h 87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569" h="87242">
                      <a:moveTo>
                        <a:pt x="113580" y="87242"/>
                      </a:moveTo>
                      <a:cubicBezTo>
                        <a:pt x="107346" y="72556"/>
                        <a:pt x="98472" y="59374"/>
                        <a:pt x="87156" y="48058"/>
                      </a:cubicBezTo>
                      <a:cubicBezTo>
                        <a:pt x="75841" y="36734"/>
                        <a:pt x="62667" y="27851"/>
                        <a:pt x="47981" y="21643"/>
                      </a:cubicBezTo>
                      <a:cubicBezTo>
                        <a:pt x="32778" y="15202"/>
                        <a:pt x="16630" y="11944"/>
                        <a:pt x="0" y="11944"/>
                      </a:cubicBezTo>
                      <a:lnTo>
                        <a:pt x="0" y="0"/>
                      </a:lnTo>
                      <a:cubicBezTo>
                        <a:pt x="18246" y="0"/>
                        <a:pt x="35960" y="3586"/>
                        <a:pt x="52624" y="10628"/>
                      </a:cubicBezTo>
                      <a:cubicBezTo>
                        <a:pt x="68738" y="17438"/>
                        <a:pt x="83201" y="27198"/>
                        <a:pt x="95600" y="39606"/>
                      </a:cubicBezTo>
                      <a:cubicBezTo>
                        <a:pt x="108000" y="52005"/>
                        <a:pt x="117759" y="66459"/>
                        <a:pt x="124569" y="82573"/>
                      </a:cubicBezTo>
                      <a:lnTo>
                        <a:pt x="113580" y="87242"/>
                      </a:lnTo>
                      <a:close/>
                    </a:path>
                  </a:pathLst>
                </a:custGeom>
                <a:solidFill>
                  <a:schemeClr val="accent1"/>
                </a:solidFill>
                <a:ln w="858" cap="flat">
                  <a:noFill/>
                  <a:prstDash val="solid"/>
                  <a:miter/>
                </a:ln>
              </p:spPr>
              <p:txBody>
                <a:bodyPr rtlCol="0" anchor="ctr"/>
                <a:lstStyle/>
                <a:p>
                  <a:endParaRPr lang="en-GB" dirty="0"/>
                </a:p>
              </p:txBody>
            </p:sp>
            <p:sp>
              <p:nvSpPr>
                <p:cNvPr id="289" name="Freihandform: Form 310">
                  <a:extLst>
                    <a:ext uri="{FF2B5EF4-FFF2-40B4-BE49-F238E27FC236}">
                      <a16:creationId xmlns:a16="http://schemas.microsoft.com/office/drawing/2014/main" id="{938CBC72-F826-4010-9262-503D1CF5D2A7}"/>
                    </a:ext>
                  </a:extLst>
                </p:cNvPr>
                <p:cNvSpPr/>
                <p:nvPr/>
              </p:nvSpPr>
              <p:spPr>
                <a:xfrm>
                  <a:off x="2640307" y="4144367"/>
                  <a:ext cx="76588" cy="76614"/>
                </a:xfrm>
                <a:custGeom>
                  <a:avLst/>
                  <a:gdLst>
                    <a:gd name="connsiteX0" fmla="*/ 10989 w 76588"/>
                    <a:gd name="connsiteY0" fmla="*/ 76614 h 76614"/>
                    <a:gd name="connsiteX1" fmla="*/ 0 w 76588"/>
                    <a:gd name="connsiteY1" fmla="*/ 71945 h 76614"/>
                    <a:gd name="connsiteX2" fmla="*/ 28969 w 76588"/>
                    <a:gd name="connsiteY2" fmla="*/ 28978 h 76614"/>
                    <a:gd name="connsiteX3" fmla="*/ 71945 w 76588"/>
                    <a:gd name="connsiteY3" fmla="*/ 0 h 76614"/>
                    <a:gd name="connsiteX4" fmla="*/ 76589 w 76588"/>
                    <a:gd name="connsiteY4" fmla="*/ 11015 h 76614"/>
                    <a:gd name="connsiteX5" fmla="*/ 37413 w 76588"/>
                    <a:gd name="connsiteY5" fmla="*/ 37430 h 76614"/>
                    <a:gd name="connsiteX6" fmla="*/ 10989 w 76588"/>
                    <a:gd name="connsiteY6" fmla="*/ 76614 h 76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588" h="76614">
                      <a:moveTo>
                        <a:pt x="10989" y="76614"/>
                      </a:moveTo>
                      <a:lnTo>
                        <a:pt x="0" y="71945"/>
                      </a:lnTo>
                      <a:cubicBezTo>
                        <a:pt x="6810" y="55831"/>
                        <a:pt x="16570" y="41377"/>
                        <a:pt x="28969" y="28978"/>
                      </a:cubicBezTo>
                      <a:cubicBezTo>
                        <a:pt x="41368" y="16561"/>
                        <a:pt x="55840" y="6810"/>
                        <a:pt x="71945" y="0"/>
                      </a:cubicBezTo>
                      <a:lnTo>
                        <a:pt x="76589" y="11015"/>
                      </a:lnTo>
                      <a:cubicBezTo>
                        <a:pt x="61902" y="17223"/>
                        <a:pt x="48729" y="26097"/>
                        <a:pt x="37413" y="37430"/>
                      </a:cubicBezTo>
                      <a:cubicBezTo>
                        <a:pt x="26097" y="48746"/>
                        <a:pt x="17223" y="61928"/>
                        <a:pt x="10989" y="76614"/>
                      </a:cubicBezTo>
                      <a:close/>
                    </a:path>
                  </a:pathLst>
                </a:custGeom>
                <a:solidFill>
                  <a:schemeClr val="accent1"/>
                </a:solidFill>
                <a:ln w="858" cap="flat">
                  <a:noFill/>
                  <a:prstDash val="solid"/>
                  <a:miter/>
                </a:ln>
              </p:spPr>
              <p:txBody>
                <a:bodyPr rtlCol="0" anchor="ctr"/>
                <a:lstStyle/>
                <a:p>
                  <a:endParaRPr lang="en-GB" dirty="0"/>
                </a:p>
              </p:txBody>
            </p:sp>
            <p:sp>
              <p:nvSpPr>
                <p:cNvPr id="290" name="Freihandform: Form 311">
                  <a:extLst>
                    <a:ext uri="{FF2B5EF4-FFF2-40B4-BE49-F238E27FC236}">
                      <a16:creationId xmlns:a16="http://schemas.microsoft.com/office/drawing/2014/main" id="{D209ED5F-B74C-45FD-A25A-0BFAA1FEE609}"/>
                    </a:ext>
                  </a:extLst>
                </p:cNvPr>
                <p:cNvSpPr/>
                <p:nvPr/>
              </p:nvSpPr>
              <p:spPr>
                <a:xfrm>
                  <a:off x="2837484" y="4206905"/>
                  <a:ext cx="30310" cy="109942"/>
                </a:xfrm>
                <a:custGeom>
                  <a:avLst/>
                  <a:gdLst>
                    <a:gd name="connsiteX0" fmla="*/ 30310 w 30310"/>
                    <a:gd name="connsiteY0" fmla="*/ 109943 h 109942"/>
                    <a:gd name="connsiteX1" fmla="*/ 18367 w 30310"/>
                    <a:gd name="connsiteY1" fmla="*/ 109943 h 109942"/>
                    <a:gd name="connsiteX2" fmla="*/ 18367 w 30310"/>
                    <a:gd name="connsiteY2" fmla="*/ 62048 h 109942"/>
                    <a:gd name="connsiteX3" fmla="*/ 0 w 30310"/>
                    <a:gd name="connsiteY3" fmla="*/ 7214 h 109942"/>
                    <a:gd name="connsiteX4" fmla="*/ 9519 w 30310"/>
                    <a:gd name="connsiteY4" fmla="*/ 0 h 109942"/>
                    <a:gd name="connsiteX5" fmla="*/ 30310 w 30310"/>
                    <a:gd name="connsiteY5" fmla="*/ 62040 h 109942"/>
                    <a:gd name="connsiteX6" fmla="*/ 30310 w 30310"/>
                    <a:gd name="connsiteY6" fmla="*/ 109943 h 10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10" h="109942">
                      <a:moveTo>
                        <a:pt x="30310" y="109943"/>
                      </a:moveTo>
                      <a:lnTo>
                        <a:pt x="18367" y="109943"/>
                      </a:lnTo>
                      <a:lnTo>
                        <a:pt x="18367" y="62048"/>
                      </a:lnTo>
                      <a:cubicBezTo>
                        <a:pt x="18367" y="42073"/>
                        <a:pt x="12021" y="23105"/>
                        <a:pt x="0" y="7214"/>
                      </a:cubicBezTo>
                      <a:lnTo>
                        <a:pt x="9519" y="0"/>
                      </a:lnTo>
                      <a:cubicBezTo>
                        <a:pt x="23122" y="17988"/>
                        <a:pt x="30310" y="39442"/>
                        <a:pt x="30310" y="62040"/>
                      </a:cubicBezTo>
                      <a:lnTo>
                        <a:pt x="30310" y="109943"/>
                      </a:lnTo>
                      <a:close/>
                    </a:path>
                  </a:pathLst>
                </a:custGeom>
                <a:solidFill>
                  <a:schemeClr val="accent1"/>
                </a:solidFill>
                <a:ln w="858" cap="flat">
                  <a:noFill/>
                  <a:prstDash val="solid"/>
                  <a:miter/>
                </a:ln>
              </p:spPr>
              <p:txBody>
                <a:bodyPr rtlCol="0" anchor="ctr"/>
                <a:lstStyle/>
                <a:p>
                  <a:endParaRPr lang="en-GB" dirty="0"/>
                </a:p>
              </p:txBody>
            </p:sp>
            <p:sp>
              <p:nvSpPr>
                <p:cNvPr id="291" name="Freihandform: Form 312">
                  <a:extLst>
                    <a:ext uri="{FF2B5EF4-FFF2-40B4-BE49-F238E27FC236}">
                      <a16:creationId xmlns:a16="http://schemas.microsoft.com/office/drawing/2014/main" id="{C226B949-F44E-42CA-8AAD-E20FCB2255E0}"/>
                    </a:ext>
                  </a:extLst>
                </p:cNvPr>
                <p:cNvSpPr/>
                <p:nvPr/>
              </p:nvSpPr>
              <p:spPr>
                <a:xfrm>
                  <a:off x="2699406" y="4166035"/>
                  <a:ext cx="118902" cy="32726"/>
                </a:xfrm>
                <a:custGeom>
                  <a:avLst/>
                  <a:gdLst>
                    <a:gd name="connsiteX0" fmla="*/ 7610 w 118902"/>
                    <a:gd name="connsiteY0" fmla="*/ 32727 h 32726"/>
                    <a:gd name="connsiteX1" fmla="*/ 0 w 118902"/>
                    <a:gd name="connsiteY1" fmla="*/ 23509 h 32726"/>
                    <a:gd name="connsiteX2" fmla="*/ 65471 w 118902"/>
                    <a:gd name="connsiteY2" fmla="*/ 0 h 32726"/>
                    <a:gd name="connsiteX3" fmla="*/ 118903 w 118902"/>
                    <a:gd name="connsiteY3" fmla="*/ 14953 h 32726"/>
                    <a:gd name="connsiteX4" fmla="*/ 112695 w 118902"/>
                    <a:gd name="connsiteY4" fmla="*/ 25151 h 32726"/>
                    <a:gd name="connsiteX5" fmla="*/ 7610 w 118902"/>
                    <a:gd name="connsiteY5" fmla="*/ 32727 h 3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8902" h="32726">
                      <a:moveTo>
                        <a:pt x="7610" y="32727"/>
                      </a:moveTo>
                      <a:lnTo>
                        <a:pt x="0" y="23509"/>
                      </a:lnTo>
                      <a:cubicBezTo>
                        <a:pt x="18384" y="8358"/>
                        <a:pt x="41635" y="0"/>
                        <a:pt x="65471" y="0"/>
                      </a:cubicBezTo>
                      <a:cubicBezTo>
                        <a:pt x="84362" y="0"/>
                        <a:pt x="102841" y="5168"/>
                        <a:pt x="118903" y="14953"/>
                      </a:cubicBezTo>
                      <a:lnTo>
                        <a:pt x="112695" y="25151"/>
                      </a:lnTo>
                      <a:cubicBezTo>
                        <a:pt x="80596" y="5632"/>
                        <a:pt x="36717" y="8728"/>
                        <a:pt x="7610" y="32727"/>
                      </a:cubicBezTo>
                      <a:close/>
                    </a:path>
                  </a:pathLst>
                </a:custGeom>
                <a:solidFill>
                  <a:schemeClr val="accent1"/>
                </a:solidFill>
                <a:ln w="858" cap="flat">
                  <a:noFill/>
                  <a:prstDash val="solid"/>
                  <a:miter/>
                </a:ln>
              </p:spPr>
              <p:txBody>
                <a:bodyPr rtlCol="0" anchor="ctr"/>
                <a:lstStyle/>
                <a:p>
                  <a:endParaRPr lang="en-GB" dirty="0"/>
                </a:p>
              </p:txBody>
            </p:sp>
            <p:sp>
              <p:nvSpPr>
                <p:cNvPr id="292" name="Freihandform: Form 313">
                  <a:extLst>
                    <a:ext uri="{FF2B5EF4-FFF2-40B4-BE49-F238E27FC236}">
                      <a16:creationId xmlns:a16="http://schemas.microsoft.com/office/drawing/2014/main" id="{FCE40F7B-F6DA-4B8D-A3A7-30D91ECEB5A4}"/>
                    </a:ext>
                  </a:extLst>
                </p:cNvPr>
                <p:cNvSpPr/>
                <p:nvPr/>
              </p:nvSpPr>
              <p:spPr>
                <a:xfrm>
                  <a:off x="2661976" y="4218866"/>
                  <a:ext cx="23414" cy="97982"/>
                </a:xfrm>
                <a:custGeom>
                  <a:avLst/>
                  <a:gdLst>
                    <a:gd name="connsiteX0" fmla="*/ 11944 w 23414"/>
                    <a:gd name="connsiteY0" fmla="*/ 97982 h 97982"/>
                    <a:gd name="connsiteX1" fmla="*/ 0 w 23414"/>
                    <a:gd name="connsiteY1" fmla="*/ 97982 h 97982"/>
                    <a:gd name="connsiteX2" fmla="*/ 0 w 23414"/>
                    <a:gd name="connsiteY2" fmla="*/ 50087 h 97982"/>
                    <a:gd name="connsiteX3" fmla="*/ 12984 w 23414"/>
                    <a:gd name="connsiteY3" fmla="*/ 0 h 97982"/>
                    <a:gd name="connsiteX4" fmla="*/ 23414 w 23414"/>
                    <a:gd name="connsiteY4" fmla="*/ 5830 h 97982"/>
                    <a:gd name="connsiteX5" fmla="*/ 11944 w 23414"/>
                    <a:gd name="connsiteY5" fmla="*/ 50079 h 97982"/>
                    <a:gd name="connsiteX6" fmla="*/ 11944 w 23414"/>
                    <a:gd name="connsiteY6" fmla="*/ 97982 h 9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414" h="97982">
                      <a:moveTo>
                        <a:pt x="11944" y="97982"/>
                      </a:moveTo>
                      <a:lnTo>
                        <a:pt x="0" y="97982"/>
                      </a:lnTo>
                      <a:lnTo>
                        <a:pt x="0" y="50087"/>
                      </a:lnTo>
                      <a:cubicBezTo>
                        <a:pt x="0" y="32538"/>
                        <a:pt x="4489" y="15228"/>
                        <a:pt x="12984" y="0"/>
                      </a:cubicBezTo>
                      <a:lnTo>
                        <a:pt x="23414" y="5830"/>
                      </a:lnTo>
                      <a:cubicBezTo>
                        <a:pt x="15916" y="19270"/>
                        <a:pt x="11944" y="34575"/>
                        <a:pt x="11944" y="50079"/>
                      </a:cubicBezTo>
                      <a:lnTo>
                        <a:pt x="11944" y="97982"/>
                      </a:lnTo>
                      <a:close/>
                    </a:path>
                  </a:pathLst>
                </a:custGeom>
                <a:solidFill>
                  <a:schemeClr val="accent1"/>
                </a:solidFill>
                <a:ln w="858" cap="flat">
                  <a:noFill/>
                  <a:prstDash val="solid"/>
                  <a:miter/>
                </a:ln>
              </p:spPr>
              <p:txBody>
                <a:bodyPr rtlCol="0" anchor="ctr"/>
                <a:lstStyle/>
                <a:p>
                  <a:endParaRPr lang="en-GB" dirty="0"/>
                </a:p>
              </p:txBody>
            </p:sp>
            <p:sp>
              <p:nvSpPr>
                <p:cNvPr id="293" name="Freihandform: Form 314">
                  <a:extLst>
                    <a:ext uri="{FF2B5EF4-FFF2-40B4-BE49-F238E27FC236}">
                      <a16:creationId xmlns:a16="http://schemas.microsoft.com/office/drawing/2014/main" id="{1D4E44DE-8F25-4468-BAEA-281EFE7AE7A9}"/>
                    </a:ext>
                  </a:extLst>
                </p:cNvPr>
                <p:cNvSpPr/>
                <p:nvPr/>
              </p:nvSpPr>
              <p:spPr>
                <a:xfrm>
                  <a:off x="2823554" y="4268945"/>
                  <a:ext cx="11943" cy="47903"/>
                </a:xfrm>
                <a:custGeom>
                  <a:avLst/>
                  <a:gdLst>
                    <a:gd name="connsiteX0" fmla="*/ 0 w 11943"/>
                    <a:gd name="connsiteY0" fmla="*/ 0 h 47903"/>
                    <a:gd name="connsiteX1" fmla="*/ 11944 w 11943"/>
                    <a:gd name="connsiteY1" fmla="*/ 0 h 47903"/>
                    <a:gd name="connsiteX2" fmla="*/ 11944 w 11943"/>
                    <a:gd name="connsiteY2" fmla="*/ 47903 h 47903"/>
                    <a:gd name="connsiteX3" fmla="*/ 0 w 11943"/>
                    <a:gd name="connsiteY3" fmla="*/ 47903 h 47903"/>
                  </a:gdLst>
                  <a:ahLst/>
                  <a:cxnLst>
                    <a:cxn ang="0">
                      <a:pos x="connsiteX0" y="connsiteY0"/>
                    </a:cxn>
                    <a:cxn ang="0">
                      <a:pos x="connsiteX1" y="connsiteY1"/>
                    </a:cxn>
                    <a:cxn ang="0">
                      <a:pos x="connsiteX2" y="connsiteY2"/>
                    </a:cxn>
                    <a:cxn ang="0">
                      <a:pos x="connsiteX3" y="connsiteY3"/>
                    </a:cxn>
                  </a:cxnLst>
                  <a:rect l="l" t="t" r="r" b="b"/>
                  <a:pathLst>
                    <a:path w="11943" h="47903">
                      <a:moveTo>
                        <a:pt x="0" y="0"/>
                      </a:moveTo>
                      <a:lnTo>
                        <a:pt x="11944" y="0"/>
                      </a:lnTo>
                      <a:lnTo>
                        <a:pt x="11944" y="47903"/>
                      </a:lnTo>
                      <a:lnTo>
                        <a:pt x="0" y="47903"/>
                      </a:lnTo>
                      <a:close/>
                    </a:path>
                  </a:pathLst>
                </a:custGeom>
                <a:solidFill>
                  <a:schemeClr val="accent1"/>
                </a:solidFill>
                <a:ln w="858" cap="flat">
                  <a:noFill/>
                  <a:prstDash val="solid"/>
                  <a:miter/>
                </a:ln>
              </p:spPr>
              <p:txBody>
                <a:bodyPr rtlCol="0" anchor="ctr"/>
                <a:lstStyle/>
                <a:p>
                  <a:endParaRPr lang="en-GB" dirty="0"/>
                </a:p>
              </p:txBody>
            </p:sp>
            <p:sp>
              <p:nvSpPr>
                <p:cNvPr id="294" name="Freihandform: Form 315">
                  <a:extLst>
                    <a:ext uri="{FF2B5EF4-FFF2-40B4-BE49-F238E27FC236}">
                      <a16:creationId xmlns:a16="http://schemas.microsoft.com/office/drawing/2014/main" id="{64FD3651-587E-4C44-AC7C-6D908BBB97F2}"/>
                    </a:ext>
                  </a:extLst>
                </p:cNvPr>
                <p:cNvSpPr/>
                <p:nvPr/>
              </p:nvSpPr>
              <p:spPr>
                <a:xfrm>
                  <a:off x="2741050" y="4198323"/>
                  <a:ext cx="86416" cy="43423"/>
                </a:xfrm>
                <a:custGeom>
                  <a:avLst/>
                  <a:gdLst>
                    <a:gd name="connsiteX0" fmla="*/ 75841 w 86416"/>
                    <a:gd name="connsiteY0" fmla="*/ 43423 h 43423"/>
                    <a:gd name="connsiteX1" fmla="*/ 23836 w 86416"/>
                    <a:gd name="connsiteY1" fmla="*/ 11944 h 43423"/>
                    <a:gd name="connsiteX2" fmla="*/ 4016 w 86416"/>
                    <a:gd name="connsiteY2" fmla="*/ 15374 h 43423"/>
                    <a:gd name="connsiteX3" fmla="*/ 0 w 86416"/>
                    <a:gd name="connsiteY3" fmla="*/ 4127 h 43423"/>
                    <a:gd name="connsiteX4" fmla="*/ 23836 w 86416"/>
                    <a:gd name="connsiteY4" fmla="*/ 0 h 43423"/>
                    <a:gd name="connsiteX5" fmla="*/ 86417 w 86416"/>
                    <a:gd name="connsiteY5" fmla="*/ 37869 h 43423"/>
                    <a:gd name="connsiteX6" fmla="*/ 75841 w 86416"/>
                    <a:gd name="connsiteY6" fmla="*/ 43423 h 43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416" h="43423">
                      <a:moveTo>
                        <a:pt x="75841" y="43423"/>
                      </a:moveTo>
                      <a:cubicBezTo>
                        <a:pt x="65642" y="24008"/>
                        <a:pt x="45719" y="11944"/>
                        <a:pt x="23836" y="11944"/>
                      </a:cubicBezTo>
                      <a:cubicBezTo>
                        <a:pt x="17060" y="11944"/>
                        <a:pt x="10396" y="13096"/>
                        <a:pt x="4016" y="15374"/>
                      </a:cubicBezTo>
                      <a:lnTo>
                        <a:pt x="0" y="4127"/>
                      </a:lnTo>
                      <a:cubicBezTo>
                        <a:pt x="7661" y="1384"/>
                        <a:pt x="15675" y="0"/>
                        <a:pt x="23836" y="0"/>
                      </a:cubicBezTo>
                      <a:cubicBezTo>
                        <a:pt x="50182" y="0"/>
                        <a:pt x="74155" y="14515"/>
                        <a:pt x="86417" y="37869"/>
                      </a:cubicBezTo>
                      <a:lnTo>
                        <a:pt x="75841" y="43423"/>
                      </a:lnTo>
                      <a:close/>
                    </a:path>
                  </a:pathLst>
                </a:custGeom>
                <a:solidFill>
                  <a:schemeClr val="accent1"/>
                </a:solidFill>
                <a:ln w="858" cap="flat">
                  <a:noFill/>
                  <a:prstDash val="solid"/>
                  <a:miter/>
                </a:ln>
              </p:spPr>
              <p:txBody>
                <a:bodyPr rtlCol="0" anchor="ctr"/>
                <a:lstStyle/>
                <a:p>
                  <a:endParaRPr lang="en-GB" dirty="0"/>
                </a:p>
              </p:txBody>
            </p:sp>
            <p:sp>
              <p:nvSpPr>
                <p:cNvPr id="295" name="Freihandform: Form 316">
                  <a:extLst>
                    <a:ext uri="{FF2B5EF4-FFF2-40B4-BE49-F238E27FC236}">
                      <a16:creationId xmlns:a16="http://schemas.microsoft.com/office/drawing/2014/main" id="{79E93477-151F-4C11-8347-84BB2D3F643C}"/>
                    </a:ext>
                  </a:extLst>
                </p:cNvPr>
                <p:cNvSpPr/>
                <p:nvPr/>
              </p:nvSpPr>
              <p:spPr>
                <a:xfrm>
                  <a:off x="2694264" y="4213999"/>
                  <a:ext cx="33775" cy="102848"/>
                </a:xfrm>
                <a:custGeom>
                  <a:avLst/>
                  <a:gdLst>
                    <a:gd name="connsiteX0" fmla="*/ 11944 w 33775"/>
                    <a:gd name="connsiteY0" fmla="*/ 102849 h 102848"/>
                    <a:gd name="connsiteX1" fmla="*/ 0 w 33775"/>
                    <a:gd name="connsiteY1" fmla="*/ 102849 h 102848"/>
                    <a:gd name="connsiteX2" fmla="*/ 0 w 33775"/>
                    <a:gd name="connsiteY2" fmla="*/ 54946 h 102848"/>
                    <a:gd name="connsiteX3" fmla="*/ 26260 w 33775"/>
                    <a:gd name="connsiteY3" fmla="*/ 0 h 102848"/>
                    <a:gd name="connsiteX4" fmla="*/ 33776 w 33775"/>
                    <a:gd name="connsiteY4" fmla="*/ 9286 h 102848"/>
                    <a:gd name="connsiteX5" fmla="*/ 11952 w 33775"/>
                    <a:gd name="connsiteY5" fmla="*/ 54946 h 102848"/>
                    <a:gd name="connsiteX6" fmla="*/ 11952 w 33775"/>
                    <a:gd name="connsiteY6" fmla="*/ 102849 h 10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75" h="102848">
                      <a:moveTo>
                        <a:pt x="11944" y="102849"/>
                      </a:moveTo>
                      <a:lnTo>
                        <a:pt x="0" y="102849"/>
                      </a:lnTo>
                      <a:lnTo>
                        <a:pt x="0" y="54946"/>
                      </a:lnTo>
                      <a:cubicBezTo>
                        <a:pt x="0" y="33518"/>
                        <a:pt x="9579" y="13483"/>
                        <a:pt x="26260" y="0"/>
                      </a:cubicBezTo>
                      <a:lnTo>
                        <a:pt x="33776" y="9286"/>
                      </a:lnTo>
                      <a:cubicBezTo>
                        <a:pt x="19906" y="20499"/>
                        <a:pt x="11952" y="37146"/>
                        <a:pt x="11952" y="54946"/>
                      </a:cubicBezTo>
                      <a:lnTo>
                        <a:pt x="11952" y="102849"/>
                      </a:lnTo>
                      <a:close/>
                    </a:path>
                  </a:pathLst>
                </a:custGeom>
                <a:solidFill>
                  <a:schemeClr val="accent1"/>
                </a:solidFill>
                <a:ln w="858" cap="flat">
                  <a:noFill/>
                  <a:prstDash val="solid"/>
                  <a:miter/>
                </a:ln>
              </p:spPr>
              <p:txBody>
                <a:bodyPr rtlCol="0" anchor="ctr"/>
                <a:lstStyle/>
                <a:p>
                  <a:endParaRPr lang="en-GB" dirty="0"/>
                </a:p>
              </p:txBody>
            </p:sp>
            <p:sp>
              <p:nvSpPr>
                <p:cNvPr id="296" name="Freihandform: Form 317">
                  <a:extLst>
                    <a:ext uri="{FF2B5EF4-FFF2-40B4-BE49-F238E27FC236}">
                      <a16:creationId xmlns:a16="http://schemas.microsoft.com/office/drawing/2014/main" id="{8F84F6A3-0758-471F-8120-F27672F5A39E}"/>
                    </a:ext>
                  </a:extLst>
                </p:cNvPr>
                <p:cNvSpPr/>
                <p:nvPr/>
              </p:nvSpPr>
              <p:spPr>
                <a:xfrm>
                  <a:off x="2729562" y="4230611"/>
                  <a:ext cx="73639" cy="86236"/>
                </a:xfrm>
                <a:custGeom>
                  <a:avLst/>
                  <a:gdLst>
                    <a:gd name="connsiteX0" fmla="*/ 73639 w 73639"/>
                    <a:gd name="connsiteY0" fmla="*/ 86236 h 86236"/>
                    <a:gd name="connsiteX1" fmla="*/ 61696 w 73639"/>
                    <a:gd name="connsiteY1" fmla="*/ 86236 h 86236"/>
                    <a:gd name="connsiteX2" fmla="*/ 61696 w 73639"/>
                    <a:gd name="connsiteY2" fmla="*/ 38333 h 86236"/>
                    <a:gd name="connsiteX3" fmla="*/ 35315 w 73639"/>
                    <a:gd name="connsiteY3" fmla="*/ 11952 h 86236"/>
                    <a:gd name="connsiteX4" fmla="*/ 11015 w 73639"/>
                    <a:gd name="connsiteY4" fmla="*/ 28075 h 86236"/>
                    <a:gd name="connsiteX5" fmla="*/ 0 w 73639"/>
                    <a:gd name="connsiteY5" fmla="*/ 23406 h 86236"/>
                    <a:gd name="connsiteX6" fmla="*/ 35315 w 73639"/>
                    <a:gd name="connsiteY6" fmla="*/ 0 h 86236"/>
                    <a:gd name="connsiteX7" fmla="*/ 73639 w 73639"/>
                    <a:gd name="connsiteY7" fmla="*/ 38324 h 86236"/>
                    <a:gd name="connsiteX8" fmla="*/ 73639 w 73639"/>
                    <a:gd name="connsiteY8" fmla="*/ 86236 h 86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639" h="86236">
                      <a:moveTo>
                        <a:pt x="73639" y="86236"/>
                      </a:moveTo>
                      <a:lnTo>
                        <a:pt x="61696" y="86236"/>
                      </a:lnTo>
                      <a:lnTo>
                        <a:pt x="61696" y="38333"/>
                      </a:lnTo>
                      <a:cubicBezTo>
                        <a:pt x="61696" y="23784"/>
                        <a:pt x="49864" y="11952"/>
                        <a:pt x="35315" y="11952"/>
                      </a:cubicBezTo>
                      <a:cubicBezTo>
                        <a:pt x="24687" y="11952"/>
                        <a:pt x="15151" y="18272"/>
                        <a:pt x="11015" y="28075"/>
                      </a:cubicBezTo>
                      <a:lnTo>
                        <a:pt x="0" y="23406"/>
                      </a:lnTo>
                      <a:cubicBezTo>
                        <a:pt x="6019" y="9201"/>
                        <a:pt x="19880" y="0"/>
                        <a:pt x="35315" y="0"/>
                      </a:cubicBezTo>
                      <a:cubicBezTo>
                        <a:pt x="56442" y="0"/>
                        <a:pt x="73639" y="17197"/>
                        <a:pt x="73639" y="38324"/>
                      </a:cubicBezTo>
                      <a:lnTo>
                        <a:pt x="73639" y="86236"/>
                      </a:lnTo>
                      <a:close/>
                    </a:path>
                  </a:pathLst>
                </a:custGeom>
                <a:solidFill>
                  <a:schemeClr val="accent1"/>
                </a:solidFill>
                <a:ln w="858" cap="flat">
                  <a:noFill/>
                  <a:prstDash val="solid"/>
                  <a:miter/>
                </a:ln>
              </p:spPr>
              <p:txBody>
                <a:bodyPr rtlCol="0" anchor="ctr"/>
                <a:lstStyle/>
                <a:p>
                  <a:endParaRPr lang="en-GB" dirty="0"/>
                </a:p>
              </p:txBody>
            </p:sp>
            <p:sp>
              <p:nvSpPr>
                <p:cNvPr id="297" name="Freihandform: Form 318">
                  <a:extLst>
                    <a:ext uri="{FF2B5EF4-FFF2-40B4-BE49-F238E27FC236}">
                      <a16:creationId xmlns:a16="http://schemas.microsoft.com/office/drawing/2014/main" id="{18FDEB04-3EB3-4BA9-B17F-9D586C426E20}"/>
                    </a:ext>
                  </a:extLst>
                </p:cNvPr>
                <p:cNvSpPr/>
                <p:nvPr/>
              </p:nvSpPr>
              <p:spPr>
                <a:xfrm>
                  <a:off x="2726561" y="4287905"/>
                  <a:ext cx="11943" cy="28943"/>
                </a:xfrm>
                <a:custGeom>
                  <a:avLst/>
                  <a:gdLst>
                    <a:gd name="connsiteX0" fmla="*/ 0 w 11943"/>
                    <a:gd name="connsiteY0" fmla="*/ 0 h 28943"/>
                    <a:gd name="connsiteX1" fmla="*/ 11943 w 11943"/>
                    <a:gd name="connsiteY1" fmla="*/ 0 h 28943"/>
                    <a:gd name="connsiteX2" fmla="*/ 11943 w 11943"/>
                    <a:gd name="connsiteY2" fmla="*/ 28943 h 28943"/>
                    <a:gd name="connsiteX3" fmla="*/ 0 w 11943"/>
                    <a:gd name="connsiteY3" fmla="*/ 28943 h 28943"/>
                  </a:gdLst>
                  <a:ahLst/>
                  <a:cxnLst>
                    <a:cxn ang="0">
                      <a:pos x="connsiteX0" y="connsiteY0"/>
                    </a:cxn>
                    <a:cxn ang="0">
                      <a:pos x="connsiteX1" y="connsiteY1"/>
                    </a:cxn>
                    <a:cxn ang="0">
                      <a:pos x="connsiteX2" y="connsiteY2"/>
                    </a:cxn>
                    <a:cxn ang="0">
                      <a:pos x="connsiteX3" y="connsiteY3"/>
                    </a:cxn>
                  </a:cxnLst>
                  <a:rect l="l" t="t" r="r" b="b"/>
                  <a:pathLst>
                    <a:path w="11943" h="28943">
                      <a:moveTo>
                        <a:pt x="0" y="0"/>
                      </a:moveTo>
                      <a:lnTo>
                        <a:pt x="11943" y="0"/>
                      </a:lnTo>
                      <a:lnTo>
                        <a:pt x="11943" y="28943"/>
                      </a:lnTo>
                      <a:lnTo>
                        <a:pt x="0" y="28943"/>
                      </a:lnTo>
                      <a:close/>
                    </a:path>
                  </a:pathLst>
                </a:custGeom>
                <a:solidFill>
                  <a:schemeClr val="accent1"/>
                </a:solidFill>
                <a:ln w="858" cap="flat">
                  <a:noFill/>
                  <a:prstDash val="solid"/>
                  <a:miter/>
                </a:ln>
              </p:spPr>
              <p:txBody>
                <a:bodyPr rtlCol="0" anchor="ctr"/>
                <a:lstStyle/>
                <a:p>
                  <a:endParaRPr lang="en-GB" dirty="0"/>
                </a:p>
              </p:txBody>
            </p:sp>
            <p:sp>
              <p:nvSpPr>
                <p:cNvPr id="298" name="Freihandform: Form 319">
                  <a:extLst>
                    <a:ext uri="{FF2B5EF4-FFF2-40B4-BE49-F238E27FC236}">
                      <a16:creationId xmlns:a16="http://schemas.microsoft.com/office/drawing/2014/main" id="{7C1129BA-9E68-4AD8-9434-EA08A9324988}"/>
                    </a:ext>
                  </a:extLst>
                </p:cNvPr>
                <p:cNvSpPr/>
                <p:nvPr/>
              </p:nvSpPr>
              <p:spPr>
                <a:xfrm>
                  <a:off x="2758909" y="4269099"/>
                  <a:ext cx="11943" cy="24953"/>
                </a:xfrm>
                <a:custGeom>
                  <a:avLst/>
                  <a:gdLst>
                    <a:gd name="connsiteX0" fmla="*/ 0 w 11943"/>
                    <a:gd name="connsiteY0" fmla="*/ 0 h 24953"/>
                    <a:gd name="connsiteX1" fmla="*/ 11944 w 11943"/>
                    <a:gd name="connsiteY1" fmla="*/ 0 h 24953"/>
                    <a:gd name="connsiteX2" fmla="*/ 11944 w 11943"/>
                    <a:gd name="connsiteY2" fmla="*/ 24953 h 24953"/>
                    <a:gd name="connsiteX3" fmla="*/ 0 w 11943"/>
                    <a:gd name="connsiteY3" fmla="*/ 24953 h 24953"/>
                  </a:gdLst>
                  <a:ahLst/>
                  <a:cxnLst>
                    <a:cxn ang="0">
                      <a:pos x="connsiteX0" y="connsiteY0"/>
                    </a:cxn>
                    <a:cxn ang="0">
                      <a:pos x="connsiteX1" y="connsiteY1"/>
                    </a:cxn>
                    <a:cxn ang="0">
                      <a:pos x="connsiteX2" y="connsiteY2"/>
                    </a:cxn>
                    <a:cxn ang="0">
                      <a:pos x="connsiteX3" y="connsiteY3"/>
                    </a:cxn>
                  </a:cxnLst>
                  <a:rect l="l" t="t" r="r" b="b"/>
                  <a:pathLst>
                    <a:path w="11943" h="24953">
                      <a:moveTo>
                        <a:pt x="0" y="0"/>
                      </a:moveTo>
                      <a:lnTo>
                        <a:pt x="11944" y="0"/>
                      </a:lnTo>
                      <a:lnTo>
                        <a:pt x="11944" y="24953"/>
                      </a:lnTo>
                      <a:lnTo>
                        <a:pt x="0" y="24953"/>
                      </a:lnTo>
                      <a:close/>
                    </a:path>
                  </a:pathLst>
                </a:custGeom>
                <a:solidFill>
                  <a:schemeClr val="accent1"/>
                </a:solidFill>
                <a:ln w="858" cap="flat">
                  <a:noFill/>
                  <a:prstDash val="solid"/>
                  <a:miter/>
                </a:ln>
              </p:spPr>
              <p:txBody>
                <a:bodyPr rtlCol="0" anchor="ctr"/>
                <a:lstStyle/>
                <a:p>
                  <a:endParaRPr lang="en-GB" dirty="0"/>
                </a:p>
              </p:txBody>
            </p:sp>
            <p:sp>
              <p:nvSpPr>
                <p:cNvPr id="299" name="Freihandform: Form 385">
                  <a:extLst>
                    <a:ext uri="{FF2B5EF4-FFF2-40B4-BE49-F238E27FC236}">
                      <a16:creationId xmlns:a16="http://schemas.microsoft.com/office/drawing/2014/main" id="{25C67ACD-9239-474E-A4B5-21D68AFD3840}"/>
                    </a:ext>
                  </a:extLst>
                </p:cNvPr>
                <p:cNvSpPr/>
                <p:nvPr/>
              </p:nvSpPr>
              <p:spPr>
                <a:xfrm>
                  <a:off x="2694264" y="4316848"/>
                  <a:ext cx="11943" cy="23405"/>
                </a:xfrm>
                <a:custGeom>
                  <a:avLst/>
                  <a:gdLst>
                    <a:gd name="connsiteX0" fmla="*/ 0 w 11943"/>
                    <a:gd name="connsiteY0" fmla="*/ 0 h 23405"/>
                    <a:gd name="connsiteX1" fmla="*/ 11943 w 11943"/>
                    <a:gd name="connsiteY1" fmla="*/ 0 h 23405"/>
                    <a:gd name="connsiteX2" fmla="*/ 11943 w 11943"/>
                    <a:gd name="connsiteY2" fmla="*/ 23406 h 23405"/>
                    <a:gd name="connsiteX3" fmla="*/ 0 w 11943"/>
                    <a:gd name="connsiteY3" fmla="*/ 23406 h 23405"/>
                  </a:gdLst>
                  <a:ahLst/>
                  <a:cxnLst>
                    <a:cxn ang="0">
                      <a:pos x="connsiteX0" y="connsiteY0"/>
                    </a:cxn>
                    <a:cxn ang="0">
                      <a:pos x="connsiteX1" y="connsiteY1"/>
                    </a:cxn>
                    <a:cxn ang="0">
                      <a:pos x="connsiteX2" y="connsiteY2"/>
                    </a:cxn>
                    <a:cxn ang="0">
                      <a:pos x="connsiteX3" y="connsiteY3"/>
                    </a:cxn>
                  </a:cxnLst>
                  <a:rect l="l" t="t" r="r" b="b"/>
                  <a:pathLst>
                    <a:path w="11943" h="23405">
                      <a:moveTo>
                        <a:pt x="0" y="0"/>
                      </a:moveTo>
                      <a:lnTo>
                        <a:pt x="11943" y="0"/>
                      </a:lnTo>
                      <a:lnTo>
                        <a:pt x="11943" y="23406"/>
                      </a:lnTo>
                      <a:lnTo>
                        <a:pt x="0" y="23406"/>
                      </a:lnTo>
                      <a:close/>
                    </a:path>
                  </a:pathLst>
                </a:custGeom>
                <a:solidFill>
                  <a:schemeClr val="accent1"/>
                </a:solidFill>
                <a:ln w="858" cap="flat">
                  <a:noFill/>
                  <a:prstDash val="solid"/>
                  <a:miter/>
                </a:ln>
              </p:spPr>
              <p:txBody>
                <a:bodyPr rtlCol="0" anchor="ctr"/>
                <a:lstStyle/>
                <a:p>
                  <a:endParaRPr lang="en-GB" dirty="0"/>
                </a:p>
              </p:txBody>
            </p:sp>
            <p:sp>
              <p:nvSpPr>
                <p:cNvPr id="300" name="Freihandform: Form 386">
                  <a:extLst>
                    <a:ext uri="{FF2B5EF4-FFF2-40B4-BE49-F238E27FC236}">
                      <a16:creationId xmlns:a16="http://schemas.microsoft.com/office/drawing/2014/main" id="{F3F6BBE1-EC40-4E3B-BA74-0FE48A68F649}"/>
                    </a:ext>
                  </a:extLst>
                </p:cNvPr>
                <p:cNvSpPr/>
                <p:nvPr/>
              </p:nvSpPr>
              <p:spPr>
                <a:xfrm>
                  <a:off x="2726561" y="4316848"/>
                  <a:ext cx="11943" cy="8263"/>
                </a:xfrm>
                <a:custGeom>
                  <a:avLst/>
                  <a:gdLst>
                    <a:gd name="connsiteX0" fmla="*/ 0 w 11943"/>
                    <a:gd name="connsiteY0" fmla="*/ 0 h 8263"/>
                    <a:gd name="connsiteX1" fmla="*/ 11943 w 11943"/>
                    <a:gd name="connsiteY1" fmla="*/ 0 h 8263"/>
                    <a:gd name="connsiteX2" fmla="*/ 11943 w 11943"/>
                    <a:gd name="connsiteY2" fmla="*/ 8263 h 8263"/>
                    <a:gd name="connsiteX3" fmla="*/ 0 w 11943"/>
                    <a:gd name="connsiteY3" fmla="*/ 8263 h 8263"/>
                  </a:gdLst>
                  <a:ahLst/>
                  <a:cxnLst>
                    <a:cxn ang="0">
                      <a:pos x="connsiteX0" y="connsiteY0"/>
                    </a:cxn>
                    <a:cxn ang="0">
                      <a:pos x="connsiteX1" y="connsiteY1"/>
                    </a:cxn>
                    <a:cxn ang="0">
                      <a:pos x="connsiteX2" y="connsiteY2"/>
                    </a:cxn>
                    <a:cxn ang="0">
                      <a:pos x="connsiteX3" y="connsiteY3"/>
                    </a:cxn>
                  </a:cxnLst>
                  <a:rect l="l" t="t" r="r" b="b"/>
                  <a:pathLst>
                    <a:path w="11943" h="8263">
                      <a:moveTo>
                        <a:pt x="0" y="0"/>
                      </a:moveTo>
                      <a:lnTo>
                        <a:pt x="11943" y="0"/>
                      </a:lnTo>
                      <a:lnTo>
                        <a:pt x="11943" y="8263"/>
                      </a:lnTo>
                      <a:lnTo>
                        <a:pt x="0" y="8263"/>
                      </a:lnTo>
                      <a:close/>
                    </a:path>
                  </a:pathLst>
                </a:custGeom>
                <a:solidFill>
                  <a:schemeClr val="accent1"/>
                </a:solidFill>
                <a:ln w="858" cap="flat">
                  <a:noFill/>
                  <a:prstDash val="solid"/>
                  <a:miter/>
                </a:ln>
              </p:spPr>
              <p:txBody>
                <a:bodyPr rtlCol="0" anchor="ctr"/>
                <a:lstStyle/>
                <a:p>
                  <a:endParaRPr lang="en-GB" dirty="0"/>
                </a:p>
              </p:txBody>
            </p:sp>
            <p:sp>
              <p:nvSpPr>
                <p:cNvPr id="301" name="Freihandform: Form 388">
                  <a:extLst>
                    <a:ext uri="{FF2B5EF4-FFF2-40B4-BE49-F238E27FC236}">
                      <a16:creationId xmlns:a16="http://schemas.microsoft.com/office/drawing/2014/main" id="{B78E208D-3A84-4BF6-946C-5389E6934D2D}"/>
                    </a:ext>
                  </a:extLst>
                </p:cNvPr>
                <p:cNvSpPr/>
                <p:nvPr/>
              </p:nvSpPr>
              <p:spPr>
                <a:xfrm>
                  <a:off x="2791258" y="4294053"/>
                  <a:ext cx="11943" cy="51635"/>
                </a:xfrm>
                <a:custGeom>
                  <a:avLst/>
                  <a:gdLst>
                    <a:gd name="connsiteX0" fmla="*/ 0 w 11943"/>
                    <a:gd name="connsiteY0" fmla="*/ 0 h 51635"/>
                    <a:gd name="connsiteX1" fmla="*/ 11943 w 11943"/>
                    <a:gd name="connsiteY1" fmla="*/ 0 h 51635"/>
                    <a:gd name="connsiteX2" fmla="*/ 11943 w 11943"/>
                    <a:gd name="connsiteY2" fmla="*/ 51635 h 51635"/>
                    <a:gd name="connsiteX3" fmla="*/ 0 w 11943"/>
                    <a:gd name="connsiteY3" fmla="*/ 51635 h 51635"/>
                  </a:gdLst>
                  <a:ahLst/>
                  <a:cxnLst>
                    <a:cxn ang="0">
                      <a:pos x="connsiteX0" y="connsiteY0"/>
                    </a:cxn>
                    <a:cxn ang="0">
                      <a:pos x="connsiteX1" y="connsiteY1"/>
                    </a:cxn>
                    <a:cxn ang="0">
                      <a:pos x="connsiteX2" y="connsiteY2"/>
                    </a:cxn>
                    <a:cxn ang="0">
                      <a:pos x="connsiteX3" y="connsiteY3"/>
                    </a:cxn>
                  </a:cxnLst>
                  <a:rect l="l" t="t" r="r" b="b"/>
                  <a:pathLst>
                    <a:path w="11943" h="51635">
                      <a:moveTo>
                        <a:pt x="0" y="0"/>
                      </a:moveTo>
                      <a:lnTo>
                        <a:pt x="11943" y="0"/>
                      </a:lnTo>
                      <a:lnTo>
                        <a:pt x="11943" y="51635"/>
                      </a:lnTo>
                      <a:lnTo>
                        <a:pt x="0" y="51635"/>
                      </a:lnTo>
                      <a:close/>
                    </a:path>
                  </a:pathLst>
                </a:custGeom>
                <a:solidFill>
                  <a:schemeClr val="accent1"/>
                </a:solidFill>
                <a:ln w="858" cap="flat">
                  <a:noFill/>
                  <a:prstDash val="solid"/>
                  <a:miter/>
                </a:ln>
              </p:spPr>
              <p:txBody>
                <a:bodyPr rtlCol="0" anchor="ctr"/>
                <a:lstStyle/>
                <a:p>
                  <a:endParaRPr lang="en-GB" dirty="0"/>
                </a:p>
              </p:txBody>
            </p:sp>
            <p:grpSp>
              <p:nvGrpSpPr>
                <p:cNvPr id="302" name="Grafik 7">
                  <a:extLst>
                    <a:ext uri="{FF2B5EF4-FFF2-40B4-BE49-F238E27FC236}">
                      <a16:creationId xmlns:a16="http://schemas.microsoft.com/office/drawing/2014/main" id="{0BA0E364-97AA-4B13-BCB7-E8FD85DC0679}"/>
                    </a:ext>
                  </a:extLst>
                </p:cNvPr>
                <p:cNvGrpSpPr/>
                <p:nvPr/>
              </p:nvGrpSpPr>
              <p:grpSpPr>
                <a:xfrm>
                  <a:off x="2628690" y="4237250"/>
                  <a:ext cx="272381" cy="97853"/>
                  <a:chOff x="2628690" y="4237250"/>
                  <a:chExt cx="272381" cy="97853"/>
                </a:xfrm>
                <a:solidFill>
                  <a:schemeClr val="accent1"/>
                </a:solidFill>
              </p:grpSpPr>
              <p:sp>
                <p:nvSpPr>
                  <p:cNvPr id="303" name="Freihandform: Form 391">
                    <a:extLst>
                      <a:ext uri="{FF2B5EF4-FFF2-40B4-BE49-F238E27FC236}">
                        <a16:creationId xmlns:a16="http://schemas.microsoft.com/office/drawing/2014/main" id="{13878FDE-FD6C-47CF-81CF-68BA0C371DFD}"/>
                      </a:ext>
                    </a:extLst>
                  </p:cNvPr>
                  <p:cNvSpPr/>
                  <p:nvPr/>
                </p:nvSpPr>
                <p:spPr>
                  <a:xfrm>
                    <a:off x="2885345" y="4237250"/>
                    <a:ext cx="15727" cy="82616"/>
                  </a:xfrm>
                  <a:custGeom>
                    <a:avLst/>
                    <a:gdLst>
                      <a:gd name="connsiteX0" fmla="*/ 15727 w 15727"/>
                      <a:gd name="connsiteY0" fmla="*/ 82616 h 82616"/>
                      <a:gd name="connsiteX1" fmla="*/ 3784 w 15727"/>
                      <a:gd name="connsiteY1" fmla="*/ 82616 h 82616"/>
                      <a:gd name="connsiteX2" fmla="*/ 3784 w 15727"/>
                      <a:gd name="connsiteY2" fmla="*/ 33509 h 82616"/>
                      <a:gd name="connsiteX3" fmla="*/ 0 w 15727"/>
                      <a:gd name="connsiteY3" fmla="*/ 2941 h 82616"/>
                      <a:gd name="connsiteX4" fmla="*/ 11574 w 15727"/>
                      <a:gd name="connsiteY4" fmla="*/ 0 h 82616"/>
                      <a:gd name="connsiteX5" fmla="*/ 15727 w 15727"/>
                      <a:gd name="connsiteY5" fmla="*/ 33509 h 82616"/>
                      <a:gd name="connsiteX6" fmla="*/ 15727 w 15727"/>
                      <a:gd name="connsiteY6" fmla="*/ 82616 h 8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27" h="82616">
                        <a:moveTo>
                          <a:pt x="15727" y="82616"/>
                        </a:moveTo>
                        <a:lnTo>
                          <a:pt x="3784" y="82616"/>
                        </a:lnTo>
                        <a:lnTo>
                          <a:pt x="3784" y="33509"/>
                        </a:lnTo>
                        <a:cubicBezTo>
                          <a:pt x="3784" y="23148"/>
                          <a:pt x="2511" y="12872"/>
                          <a:pt x="0" y="2941"/>
                        </a:cubicBezTo>
                        <a:lnTo>
                          <a:pt x="11574" y="0"/>
                        </a:lnTo>
                        <a:cubicBezTo>
                          <a:pt x="14326" y="10895"/>
                          <a:pt x="15727" y="22167"/>
                          <a:pt x="15727" y="33509"/>
                        </a:cubicBezTo>
                        <a:lnTo>
                          <a:pt x="15727" y="82616"/>
                        </a:lnTo>
                        <a:close/>
                      </a:path>
                    </a:pathLst>
                  </a:custGeom>
                  <a:solidFill>
                    <a:schemeClr val="accent1"/>
                  </a:solidFill>
                  <a:ln w="858" cap="flat">
                    <a:noFill/>
                    <a:prstDash val="solid"/>
                    <a:miter/>
                  </a:ln>
                </p:spPr>
                <p:txBody>
                  <a:bodyPr rtlCol="0" anchor="ctr"/>
                  <a:lstStyle/>
                  <a:p>
                    <a:endParaRPr lang="en-GB" dirty="0"/>
                  </a:p>
                </p:txBody>
              </p:sp>
              <p:sp>
                <p:nvSpPr>
                  <p:cNvPr id="304" name="Freihandform: Form 392">
                    <a:extLst>
                      <a:ext uri="{FF2B5EF4-FFF2-40B4-BE49-F238E27FC236}">
                        <a16:creationId xmlns:a16="http://schemas.microsoft.com/office/drawing/2014/main" id="{F8F057F3-9261-46B2-96FA-7765EA418503}"/>
                      </a:ext>
                    </a:extLst>
                  </p:cNvPr>
                  <p:cNvSpPr/>
                  <p:nvPr/>
                </p:nvSpPr>
                <p:spPr>
                  <a:xfrm>
                    <a:off x="2628690" y="4242572"/>
                    <a:ext cx="14609" cy="92530"/>
                  </a:xfrm>
                  <a:custGeom>
                    <a:avLst/>
                    <a:gdLst>
                      <a:gd name="connsiteX0" fmla="*/ 11944 w 14609"/>
                      <a:gd name="connsiteY0" fmla="*/ 92531 h 92530"/>
                      <a:gd name="connsiteX1" fmla="*/ 0 w 14609"/>
                      <a:gd name="connsiteY1" fmla="*/ 92531 h 92530"/>
                      <a:gd name="connsiteX2" fmla="*/ 0 w 14609"/>
                      <a:gd name="connsiteY2" fmla="*/ 28187 h 92530"/>
                      <a:gd name="connsiteX3" fmla="*/ 2915 w 14609"/>
                      <a:gd name="connsiteY3" fmla="*/ 0 h 92530"/>
                      <a:gd name="connsiteX4" fmla="*/ 14609 w 14609"/>
                      <a:gd name="connsiteY4" fmla="*/ 2476 h 92530"/>
                      <a:gd name="connsiteX5" fmla="*/ 11952 w 14609"/>
                      <a:gd name="connsiteY5" fmla="*/ 28187 h 92530"/>
                      <a:gd name="connsiteX6" fmla="*/ 11952 w 14609"/>
                      <a:gd name="connsiteY6" fmla="*/ 92531 h 92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09" h="92530">
                        <a:moveTo>
                          <a:pt x="11944" y="92531"/>
                        </a:moveTo>
                        <a:lnTo>
                          <a:pt x="0" y="92531"/>
                        </a:lnTo>
                        <a:lnTo>
                          <a:pt x="0" y="28187"/>
                        </a:lnTo>
                        <a:cubicBezTo>
                          <a:pt x="0" y="18668"/>
                          <a:pt x="980" y="9192"/>
                          <a:pt x="2915" y="0"/>
                        </a:cubicBezTo>
                        <a:lnTo>
                          <a:pt x="14609" y="2476"/>
                        </a:lnTo>
                        <a:cubicBezTo>
                          <a:pt x="12847" y="10843"/>
                          <a:pt x="11952" y="19502"/>
                          <a:pt x="11952" y="28187"/>
                        </a:cubicBezTo>
                        <a:lnTo>
                          <a:pt x="11952" y="92531"/>
                        </a:lnTo>
                        <a:close/>
                      </a:path>
                    </a:pathLst>
                  </a:custGeom>
                  <a:solidFill>
                    <a:schemeClr val="accent1"/>
                  </a:solidFill>
                  <a:ln w="858" cap="flat">
                    <a:noFill/>
                    <a:prstDash val="solid"/>
                    <a:miter/>
                  </a:ln>
                </p:spPr>
                <p:txBody>
                  <a:bodyPr rtlCol="0" anchor="ctr"/>
                  <a:lstStyle/>
                  <a:p>
                    <a:endParaRPr lang="en-GB" dirty="0"/>
                  </a:p>
                </p:txBody>
              </p:sp>
            </p:grpSp>
          </p:grpSp>
          <p:sp>
            <p:nvSpPr>
              <p:cNvPr id="287" name="Freihandform: Form 320">
                <a:extLst>
                  <a:ext uri="{FF2B5EF4-FFF2-40B4-BE49-F238E27FC236}">
                    <a16:creationId xmlns:a16="http://schemas.microsoft.com/office/drawing/2014/main" id="{450FE449-311C-4CEE-AF6A-2785855E84AB}"/>
                  </a:ext>
                </a:extLst>
              </p:cNvPr>
              <p:cNvSpPr/>
              <p:nvPr/>
            </p:nvSpPr>
            <p:spPr>
              <a:xfrm>
                <a:off x="2644762" y="4100057"/>
                <a:ext cx="240247" cy="58144"/>
              </a:xfrm>
              <a:custGeom>
                <a:avLst/>
                <a:gdLst>
                  <a:gd name="connsiteX0" fmla="*/ 231804 w 240247"/>
                  <a:gd name="connsiteY0" fmla="*/ 58144 h 58144"/>
                  <a:gd name="connsiteX1" fmla="*/ 181605 w 240247"/>
                  <a:gd name="connsiteY1" fmla="*/ 24300 h 58144"/>
                  <a:gd name="connsiteX2" fmla="*/ 58643 w 240247"/>
                  <a:gd name="connsiteY2" fmla="*/ 24300 h 58144"/>
                  <a:gd name="connsiteX3" fmla="*/ 8444 w 240247"/>
                  <a:gd name="connsiteY3" fmla="*/ 58144 h 58144"/>
                  <a:gd name="connsiteX4" fmla="*/ 0 w 240247"/>
                  <a:gd name="connsiteY4" fmla="*/ 49700 h 58144"/>
                  <a:gd name="connsiteX5" fmla="*/ 54000 w 240247"/>
                  <a:gd name="connsiteY5" fmla="*/ 13285 h 58144"/>
                  <a:gd name="connsiteX6" fmla="*/ 186248 w 240247"/>
                  <a:gd name="connsiteY6" fmla="*/ 13285 h 58144"/>
                  <a:gd name="connsiteX7" fmla="*/ 240248 w 240247"/>
                  <a:gd name="connsiteY7" fmla="*/ 49700 h 58144"/>
                  <a:gd name="connsiteX8" fmla="*/ 231804 w 240247"/>
                  <a:gd name="connsiteY8" fmla="*/ 58144 h 58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0247" h="58144">
                    <a:moveTo>
                      <a:pt x="231804" y="58144"/>
                    </a:moveTo>
                    <a:cubicBezTo>
                      <a:pt x="217281" y="43630"/>
                      <a:pt x="200384" y="32245"/>
                      <a:pt x="181605" y="24300"/>
                    </a:cubicBezTo>
                    <a:cubicBezTo>
                      <a:pt x="142661" y="7825"/>
                      <a:pt x="97587" y="7825"/>
                      <a:pt x="58643" y="24300"/>
                    </a:cubicBezTo>
                    <a:cubicBezTo>
                      <a:pt x="39863" y="32245"/>
                      <a:pt x="22967" y="43630"/>
                      <a:pt x="8444" y="58144"/>
                    </a:cubicBezTo>
                    <a:lnTo>
                      <a:pt x="0" y="49700"/>
                    </a:lnTo>
                    <a:cubicBezTo>
                      <a:pt x="15624" y="34094"/>
                      <a:pt x="33784" y="21841"/>
                      <a:pt x="54000" y="13285"/>
                    </a:cubicBezTo>
                    <a:cubicBezTo>
                      <a:pt x="95884" y="-4428"/>
                      <a:pt x="144372" y="-4428"/>
                      <a:pt x="186248" y="13285"/>
                    </a:cubicBezTo>
                    <a:cubicBezTo>
                      <a:pt x="206463" y="21832"/>
                      <a:pt x="224633" y="34085"/>
                      <a:pt x="240248" y="49700"/>
                    </a:cubicBezTo>
                    <a:lnTo>
                      <a:pt x="231804" y="58144"/>
                    </a:lnTo>
                    <a:close/>
                  </a:path>
                </a:pathLst>
              </a:custGeom>
              <a:solidFill>
                <a:schemeClr val="accent1"/>
              </a:solidFill>
              <a:ln w="858" cap="flat">
                <a:noFill/>
                <a:prstDash val="solid"/>
                <a:miter/>
              </a:ln>
            </p:spPr>
            <p:txBody>
              <a:bodyPr rtlCol="0" anchor="ctr"/>
              <a:lstStyle/>
              <a:p>
                <a:endParaRPr lang="en-GB" dirty="0"/>
              </a:p>
            </p:txBody>
          </p:sp>
        </p:grpSp>
        <p:grpSp>
          <p:nvGrpSpPr>
            <p:cNvPr id="214" name="Gruppieren 837">
              <a:extLst>
                <a:ext uri="{FF2B5EF4-FFF2-40B4-BE49-F238E27FC236}">
                  <a16:creationId xmlns:a16="http://schemas.microsoft.com/office/drawing/2014/main" id="{35241AB0-CF21-47B0-ACCF-1843BC136F2C}"/>
                </a:ext>
              </a:extLst>
            </p:cNvPr>
            <p:cNvGrpSpPr/>
            <p:nvPr/>
          </p:nvGrpSpPr>
          <p:grpSpPr>
            <a:xfrm>
              <a:off x="602649" y="2391526"/>
              <a:ext cx="382803" cy="432000"/>
              <a:chOff x="2544062" y="4049205"/>
              <a:chExt cx="441646" cy="498406"/>
            </a:xfrm>
          </p:grpSpPr>
          <p:grpSp>
            <p:nvGrpSpPr>
              <p:cNvPr id="215" name="Grafik 7">
                <a:extLst>
                  <a:ext uri="{FF2B5EF4-FFF2-40B4-BE49-F238E27FC236}">
                    <a16:creationId xmlns:a16="http://schemas.microsoft.com/office/drawing/2014/main" id="{CA7C5893-BE05-4105-9B29-879928C4EF0E}"/>
                  </a:ext>
                </a:extLst>
              </p:cNvPr>
              <p:cNvGrpSpPr/>
              <p:nvPr/>
            </p:nvGrpSpPr>
            <p:grpSpPr>
              <a:xfrm>
                <a:off x="2544062" y="4049205"/>
                <a:ext cx="441638" cy="498406"/>
                <a:chOff x="2544062" y="4049205"/>
                <a:chExt cx="441638" cy="498406"/>
              </a:xfrm>
              <a:solidFill>
                <a:srgbClr val="4D4E53"/>
              </a:solidFill>
            </p:grpSpPr>
            <p:sp>
              <p:nvSpPr>
                <p:cNvPr id="282" name="Freihandform: Form 304">
                  <a:extLst>
                    <a:ext uri="{FF2B5EF4-FFF2-40B4-BE49-F238E27FC236}">
                      <a16:creationId xmlns:a16="http://schemas.microsoft.com/office/drawing/2014/main" id="{F7CC2168-4E2F-41AD-80C0-2582AAE7060D}"/>
                    </a:ext>
                  </a:extLst>
                </p:cNvPr>
                <p:cNvSpPr/>
                <p:nvPr/>
              </p:nvSpPr>
              <p:spPr>
                <a:xfrm>
                  <a:off x="2544062" y="4483981"/>
                  <a:ext cx="64920" cy="63630"/>
                </a:xfrm>
                <a:custGeom>
                  <a:avLst/>
                  <a:gdLst>
                    <a:gd name="connsiteX0" fmla="*/ 64920 w 64920"/>
                    <a:gd name="connsiteY0" fmla="*/ 63630 h 63630"/>
                    <a:gd name="connsiteX1" fmla="*/ 0 w 64920"/>
                    <a:gd name="connsiteY1" fmla="*/ 63630 h 63630"/>
                    <a:gd name="connsiteX2" fmla="*/ 0 w 64920"/>
                    <a:gd name="connsiteY2" fmla="*/ 0 h 63630"/>
                    <a:gd name="connsiteX3" fmla="*/ 11944 w 64920"/>
                    <a:gd name="connsiteY3" fmla="*/ 0 h 63630"/>
                    <a:gd name="connsiteX4" fmla="*/ 11944 w 64920"/>
                    <a:gd name="connsiteY4" fmla="*/ 51678 h 63630"/>
                    <a:gd name="connsiteX5" fmla="*/ 64920 w 64920"/>
                    <a:gd name="connsiteY5" fmla="*/ 51678 h 6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920" h="63630">
                      <a:moveTo>
                        <a:pt x="64920" y="63630"/>
                      </a:moveTo>
                      <a:lnTo>
                        <a:pt x="0" y="63630"/>
                      </a:lnTo>
                      <a:lnTo>
                        <a:pt x="0" y="0"/>
                      </a:lnTo>
                      <a:lnTo>
                        <a:pt x="11944" y="0"/>
                      </a:lnTo>
                      <a:lnTo>
                        <a:pt x="11944" y="51678"/>
                      </a:lnTo>
                      <a:lnTo>
                        <a:pt x="64920" y="51678"/>
                      </a:lnTo>
                      <a:close/>
                    </a:path>
                  </a:pathLst>
                </a:custGeom>
                <a:solidFill>
                  <a:schemeClr val="tx2"/>
                </a:solidFill>
                <a:ln w="858" cap="flat">
                  <a:noFill/>
                  <a:prstDash val="solid"/>
                  <a:miter/>
                </a:ln>
              </p:spPr>
              <p:txBody>
                <a:bodyPr rtlCol="0" anchor="ctr"/>
                <a:lstStyle/>
                <a:p>
                  <a:endParaRPr lang="en-GB" dirty="0"/>
                </a:p>
              </p:txBody>
            </p:sp>
            <p:sp>
              <p:nvSpPr>
                <p:cNvPr id="283" name="Freihandform: Form 305">
                  <a:extLst>
                    <a:ext uri="{FF2B5EF4-FFF2-40B4-BE49-F238E27FC236}">
                      <a16:creationId xmlns:a16="http://schemas.microsoft.com/office/drawing/2014/main" id="{4B2BAAF8-8360-41BE-8E36-4123B1F7D979}"/>
                    </a:ext>
                  </a:extLst>
                </p:cNvPr>
                <p:cNvSpPr/>
                <p:nvPr/>
              </p:nvSpPr>
              <p:spPr>
                <a:xfrm>
                  <a:off x="2922061" y="4482700"/>
                  <a:ext cx="63639" cy="64911"/>
                </a:xfrm>
                <a:custGeom>
                  <a:avLst/>
                  <a:gdLst>
                    <a:gd name="connsiteX0" fmla="*/ 63639 w 63639"/>
                    <a:gd name="connsiteY0" fmla="*/ 64912 h 64911"/>
                    <a:gd name="connsiteX1" fmla="*/ 0 w 63639"/>
                    <a:gd name="connsiteY1" fmla="*/ 64912 h 64911"/>
                    <a:gd name="connsiteX2" fmla="*/ 0 w 63639"/>
                    <a:gd name="connsiteY2" fmla="*/ 52959 h 64911"/>
                    <a:gd name="connsiteX3" fmla="*/ 51695 w 63639"/>
                    <a:gd name="connsiteY3" fmla="*/ 52959 h 64911"/>
                    <a:gd name="connsiteX4" fmla="*/ 51695 w 63639"/>
                    <a:gd name="connsiteY4" fmla="*/ 0 h 64911"/>
                    <a:gd name="connsiteX5" fmla="*/ 63639 w 63639"/>
                    <a:gd name="connsiteY5" fmla="*/ 0 h 6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639" h="64911">
                      <a:moveTo>
                        <a:pt x="63639" y="64912"/>
                      </a:moveTo>
                      <a:lnTo>
                        <a:pt x="0" y="64912"/>
                      </a:lnTo>
                      <a:lnTo>
                        <a:pt x="0" y="52959"/>
                      </a:lnTo>
                      <a:lnTo>
                        <a:pt x="51695" y="52959"/>
                      </a:lnTo>
                      <a:lnTo>
                        <a:pt x="51695" y="0"/>
                      </a:lnTo>
                      <a:lnTo>
                        <a:pt x="63639" y="0"/>
                      </a:lnTo>
                      <a:close/>
                    </a:path>
                  </a:pathLst>
                </a:custGeom>
                <a:solidFill>
                  <a:schemeClr val="tx2"/>
                </a:solidFill>
                <a:ln w="858" cap="flat">
                  <a:noFill/>
                  <a:prstDash val="solid"/>
                  <a:miter/>
                </a:ln>
              </p:spPr>
              <p:txBody>
                <a:bodyPr rtlCol="0" anchor="ctr"/>
                <a:lstStyle/>
                <a:p>
                  <a:endParaRPr lang="en-GB" dirty="0"/>
                </a:p>
              </p:txBody>
            </p:sp>
            <p:sp>
              <p:nvSpPr>
                <p:cNvPr id="284" name="Freihandform: Form 306">
                  <a:extLst>
                    <a:ext uri="{FF2B5EF4-FFF2-40B4-BE49-F238E27FC236}">
                      <a16:creationId xmlns:a16="http://schemas.microsoft.com/office/drawing/2014/main" id="{5F66C1EE-EE20-4CF6-ACDE-7B296078E996}"/>
                    </a:ext>
                  </a:extLst>
                </p:cNvPr>
                <p:cNvSpPr/>
                <p:nvPr/>
              </p:nvSpPr>
              <p:spPr>
                <a:xfrm>
                  <a:off x="2544062" y="4049205"/>
                  <a:ext cx="63621" cy="64911"/>
                </a:xfrm>
                <a:custGeom>
                  <a:avLst/>
                  <a:gdLst>
                    <a:gd name="connsiteX0" fmla="*/ 11944 w 63621"/>
                    <a:gd name="connsiteY0" fmla="*/ 64912 h 64911"/>
                    <a:gd name="connsiteX1" fmla="*/ 0 w 63621"/>
                    <a:gd name="connsiteY1" fmla="*/ 64912 h 64911"/>
                    <a:gd name="connsiteX2" fmla="*/ 0 w 63621"/>
                    <a:gd name="connsiteY2" fmla="*/ 0 h 64911"/>
                    <a:gd name="connsiteX3" fmla="*/ 63622 w 63621"/>
                    <a:gd name="connsiteY3" fmla="*/ 0 h 64911"/>
                    <a:gd name="connsiteX4" fmla="*/ 63622 w 63621"/>
                    <a:gd name="connsiteY4" fmla="*/ 11952 h 64911"/>
                    <a:gd name="connsiteX5" fmla="*/ 11944 w 63621"/>
                    <a:gd name="connsiteY5" fmla="*/ 11952 h 64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621" h="64911">
                      <a:moveTo>
                        <a:pt x="11944" y="64912"/>
                      </a:moveTo>
                      <a:lnTo>
                        <a:pt x="0" y="64912"/>
                      </a:lnTo>
                      <a:lnTo>
                        <a:pt x="0" y="0"/>
                      </a:lnTo>
                      <a:lnTo>
                        <a:pt x="63622" y="0"/>
                      </a:lnTo>
                      <a:lnTo>
                        <a:pt x="63622" y="11952"/>
                      </a:lnTo>
                      <a:lnTo>
                        <a:pt x="11944" y="11952"/>
                      </a:lnTo>
                      <a:close/>
                    </a:path>
                  </a:pathLst>
                </a:custGeom>
                <a:solidFill>
                  <a:schemeClr val="tx2"/>
                </a:solidFill>
                <a:ln w="858" cap="flat">
                  <a:noFill/>
                  <a:prstDash val="solid"/>
                  <a:miter/>
                </a:ln>
              </p:spPr>
              <p:txBody>
                <a:bodyPr rtlCol="0" anchor="ctr"/>
                <a:lstStyle/>
                <a:p>
                  <a:endParaRPr lang="en-GB" dirty="0"/>
                </a:p>
              </p:txBody>
            </p:sp>
            <p:sp>
              <p:nvSpPr>
                <p:cNvPr id="285" name="Freihandform: Form 307">
                  <a:extLst>
                    <a:ext uri="{FF2B5EF4-FFF2-40B4-BE49-F238E27FC236}">
                      <a16:creationId xmlns:a16="http://schemas.microsoft.com/office/drawing/2014/main" id="{D60D4E38-5043-4666-9F9E-34D3C88C1678}"/>
                    </a:ext>
                  </a:extLst>
                </p:cNvPr>
                <p:cNvSpPr/>
                <p:nvPr/>
              </p:nvSpPr>
              <p:spPr>
                <a:xfrm>
                  <a:off x="2920780" y="4049205"/>
                  <a:ext cx="64920" cy="63630"/>
                </a:xfrm>
                <a:custGeom>
                  <a:avLst/>
                  <a:gdLst>
                    <a:gd name="connsiteX0" fmla="*/ 64920 w 64920"/>
                    <a:gd name="connsiteY0" fmla="*/ 63630 h 63630"/>
                    <a:gd name="connsiteX1" fmla="*/ 52976 w 64920"/>
                    <a:gd name="connsiteY1" fmla="*/ 63630 h 63630"/>
                    <a:gd name="connsiteX2" fmla="*/ 52976 w 64920"/>
                    <a:gd name="connsiteY2" fmla="*/ 11952 h 63630"/>
                    <a:gd name="connsiteX3" fmla="*/ 0 w 64920"/>
                    <a:gd name="connsiteY3" fmla="*/ 11952 h 63630"/>
                    <a:gd name="connsiteX4" fmla="*/ 0 w 64920"/>
                    <a:gd name="connsiteY4" fmla="*/ 0 h 63630"/>
                    <a:gd name="connsiteX5" fmla="*/ 64920 w 64920"/>
                    <a:gd name="connsiteY5" fmla="*/ 0 h 6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920" h="63630">
                      <a:moveTo>
                        <a:pt x="64920" y="63630"/>
                      </a:moveTo>
                      <a:lnTo>
                        <a:pt x="52976" y="63630"/>
                      </a:lnTo>
                      <a:lnTo>
                        <a:pt x="52976" y="11952"/>
                      </a:lnTo>
                      <a:lnTo>
                        <a:pt x="0" y="11952"/>
                      </a:lnTo>
                      <a:lnTo>
                        <a:pt x="0" y="0"/>
                      </a:lnTo>
                      <a:lnTo>
                        <a:pt x="64920" y="0"/>
                      </a:lnTo>
                      <a:close/>
                    </a:path>
                  </a:pathLst>
                </a:custGeom>
                <a:solidFill>
                  <a:schemeClr val="tx2"/>
                </a:solidFill>
                <a:ln w="858" cap="flat">
                  <a:noFill/>
                  <a:prstDash val="solid"/>
                  <a:miter/>
                </a:ln>
              </p:spPr>
              <p:txBody>
                <a:bodyPr rtlCol="0" anchor="ctr"/>
                <a:lstStyle/>
                <a:p>
                  <a:endParaRPr lang="en-GB" dirty="0"/>
                </a:p>
              </p:txBody>
            </p:sp>
          </p:grpSp>
          <p:sp>
            <p:nvSpPr>
              <p:cNvPr id="216" name="Freihandform: Form 321">
                <a:extLst>
                  <a:ext uri="{FF2B5EF4-FFF2-40B4-BE49-F238E27FC236}">
                    <a16:creationId xmlns:a16="http://schemas.microsoft.com/office/drawing/2014/main" id="{62DD83B3-0BD4-44AE-938C-2A689919AA77}"/>
                  </a:ext>
                </a:extLst>
              </p:cNvPr>
              <p:cNvSpPr/>
              <p:nvPr/>
            </p:nvSpPr>
            <p:spPr>
              <a:xfrm>
                <a:off x="2544062" y="4288077"/>
                <a:ext cx="441646" cy="11943"/>
              </a:xfrm>
              <a:custGeom>
                <a:avLst/>
                <a:gdLst>
                  <a:gd name="connsiteX0" fmla="*/ 0 w 441646"/>
                  <a:gd name="connsiteY0" fmla="*/ 0 h 11943"/>
                  <a:gd name="connsiteX1" fmla="*/ 441647 w 441646"/>
                  <a:gd name="connsiteY1" fmla="*/ 0 h 11943"/>
                  <a:gd name="connsiteX2" fmla="*/ 441647 w 441646"/>
                  <a:gd name="connsiteY2" fmla="*/ 11943 h 11943"/>
                  <a:gd name="connsiteX3" fmla="*/ 0 w 441646"/>
                  <a:gd name="connsiteY3" fmla="*/ 11943 h 11943"/>
                </a:gdLst>
                <a:ahLst/>
                <a:cxnLst>
                  <a:cxn ang="0">
                    <a:pos x="connsiteX0" y="connsiteY0"/>
                  </a:cxn>
                  <a:cxn ang="0">
                    <a:pos x="connsiteX1" y="connsiteY1"/>
                  </a:cxn>
                  <a:cxn ang="0">
                    <a:pos x="connsiteX2" y="connsiteY2"/>
                  </a:cxn>
                  <a:cxn ang="0">
                    <a:pos x="connsiteX3" y="connsiteY3"/>
                  </a:cxn>
                </a:cxnLst>
                <a:rect l="l" t="t" r="r" b="b"/>
                <a:pathLst>
                  <a:path w="441646" h="11943">
                    <a:moveTo>
                      <a:pt x="0" y="0"/>
                    </a:moveTo>
                    <a:lnTo>
                      <a:pt x="441647" y="0"/>
                    </a:lnTo>
                    <a:lnTo>
                      <a:pt x="441647" y="11943"/>
                    </a:lnTo>
                    <a:lnTo>
                      <a:pt x="0" y="11943"/>
                    </a:lnTo>
                    <a:close/>
                  </a:path>
                </a:pathLst>
              </a:custGeom>
              <a:solidFill>
                <a:schemeClr val="tx2"/>
              </a:solidFill>
              <a:ln w="858" cap="flat">
                <a:noFill/>
                <a:prstDash val="solid"/>
                <a:miter/>
              </a:ln>
            </p:spPr>
            <p:txBody>
              <a:bodyPr rtlCol="0" anchor="ctr"/>
              <a:lstStyle/>
              <a:p>
                <a:endParaRPr lang="en-GB" dirty="0"/>
              </a:p>
            </p:txBody>
          </p:sp>
          <p:sp>
            <p:nvSpPr>
              <p:cNvPr id="217" name="Freihandform: Form 322">
                <a:extLst>
                  <a:ext uri="{FF2B5EF4-FFF2-40B4-BE49-F238E27FC236}">
                    <a16:creationId xmlns:a16="http://schemas.microsoft.com/office/drawing/2014/main" id="{A7EDAC37-7CA1-49C1-8228-33296EAF1DDD}"/>
                  </a:ext>
                </a:extLst>
              </p:cNvPr>
              <p:cNvSpPr/>
              <p:nvPr/>
            </p:nvSpPr>
            <p:spPr>
              <a:xfrm>
                <a:off x="2661967" y="4316848"/>
                <a:ext cx="11943" cy="39425"/>
              </a:xfrm>
              <a:custGeom>
                <a:avLst/>
                <a:gdLst>
                  <a:gd name="connsiteX0" fmla="*/ 0 w 11943"/>
                  <a:gd name="connsiteY0" fmla="*/ 0 h 39425"/>
                  <a:gd name="connsiteX1" fmla="*/ 11944 w 11943"/>
                  <a:gd name="connsiteY1" fmla="*/ 0 h 39425"/>
                  <a:gd name="connsiteX2" fmla="*/ 11944 w 11943"/>
                  <a:gd name="connsiteY2" fmla="*/ 39425 h 39425"/>
                  <a:gd name="connsiteX3" fmla="*/ 0 w 11943"/>
                  <a:gd name="connsiteY3" fmla="*/ 39425 h 39425"/>
                </a:gdLst>
                <a:ahLst/>
                <a:cxnLst>
                  <a:cxn ang="0">
                    <a:pos x="connsiteX0" y="connsiteY0"/>
                  </a:cxn>
                  <a:cxn ang="0">
                    <a:pos x="connsiteX1" y="connsiteY1"/>
                  </a:cxn>
                  <a:cxn ang="0">
                    <a:pos x="connsiteX2" y="connsiteY2"/>
                  </a:cxn>
                  <a:cxn ang="0">
                    <a:pos x="connsiteX3" y="connsiteY3"/>
                  </a:cxn>
                </a:cxnLst>
                <a:rect l="l" t="t" r="r" b="b"/>
                <a:pathLst>
                  <a:path w="11943" h="39425">
                    <a:moveTo>
                      <a:pt x="0" y="0"/>
                    </a:moveTo>
                    <a:lnTo>
                      <a:pt x="11944" y="0"/>
                    </a:lnTo>
                    <a:lnTo>
                      <a:pt x="11944" y="39425"/>
                    </a:lnTo>
                    <a:lnTo>
                      <a:pt x="0" y="39425"/>
                    </a:lnTo>
                    <a:close/>
                  </a:path>
                </a:pathLst>
              </a:custGeom>
              <a:solidFill>
                <a:schemeClr val="tx2"/>
              </a:solidFill>
              <a:ln w="858" cap="flat">
                <a:noFill/>
                <a:prstDash val="solid"/>
                <a:miter/>
              </a:ln>
            </p:spPr>
            <p:txBody>
              <a:bodyPr rtlCol="0" anchor="ctr"/>
              <a:lstStyle/>
              <a:p>
                <a:endParaRPr lang="en-GB" dirty="0"/>
              </a:p>
            </p:txBody>
          </p:sp>
          <p:grpSp>
            <p:nvGrpSpPr>
              <p:cNvPr id="218" name="Grafik 7">
                <a:extLst>
                  <a:ext uri="{FF2B5EF4-FFF2-40B4-BE49-F238E27FC236}">
                    <a16:creationId xmlns:a16="http://schemas.microsoft.com/office/drawing/2014/main" id="{5A521F5D-60CC-48F3-A3DF-61EEE0602FA4}"/>
                  </a:ext>
                </a:extLst>
              </p:cNvPr>
              <p:cNvGrpSpPr/>
              <p:nvPr/>
            </p:nvGrpSpPr>
            <p:grpSpPr>
              <a:xfrm>
                <a:off x="2661968" y="4370280"/>
                <a:ext cx="11952" cy="125119"/>
                <a:chOff x="2661968" y="4370280"/>
                <a:chExt cx="11952" cy="125119"/>
              </a:xfrm>
              <a:solidFill>
                <a:srgbClr val="4D4E53"/>
              </a:solidFill>
            </p:grpSpPr>
            <p:grpSp>
              <p:nvGrpSpPr>
                <p:cNvPr id="276" name="Grafik 7">
                  <a:extLst>
                    <a:ext uri="{FF2B5EF4-FFF2-40B4-BE49-F238E27FC236}">
                      <a16:creationId xmlns:a16="http://schemas.microsoft.com/office/drawing/2014/main" id="{E4D16477-D28C-4BE0-AFD2-B92E8337E0AF}"/>
                    </a:ext>
                  </a:extLst>
                </p:cNvPr>
                <p:cNvGrpSpPr/>
                <p:nvPr/>
              </p:nvGrpSpPr>
              <p:grpSpPr>
                <a:xfrm>
                  <a:off x="2661968" y="4370280"/>
                  <a:ext cx="11952" cy="37051"/>
                  <a:chOff x="2661968" y="4370280"/>
                  <a:chExt cx="11952" cy="37051"/>
                </a:xfrm>
                <a:solidFill>
                  <a:srgbClr val="4D4E53"/>
                </a:solidFill>
              </p:grpSpPr>
              <p:sp>
                <p:nvSpPr>
                  <p:cNvPr id="280" name="Freihandform: Form 325">
                    <a:extLst>
                      <a:ext uri="{FF2B5EF4-FFF2-40B4-BE49-F238E27FC236}">
                        <a16:creationId xmlns:a16="http://schemas.microsoft.com/office/drawing/2014/main" id="{66C3C2A5-5A7F-4663-BE1C-7D93E02D91C0}"/>
                      </a:ext>
                    </a:extLst>
                  </p:cNvPr>
                  <p:cNvSpPr/>
                  <p:nvPr/>
                </p:nvSpPr>
                <p:spPr>
                  <a:xfrm>
                    <a:off x="2661968" y="4370280"/>
                    <a:ext cx="11952" cy="12811"/>
                  </a:xfrm>
                  <a:custGeom>
                    <a:avLst/>
                    <a:gdLst>
                      <a:gd name="connsiteX0" fmla="*/ 11952 w 11952"/>
                      <a:gd name="connsiteY0" fmla="*/ 12812 h 12811"/>
                      <a:gd name="connsiteX1" fmla="*/ 0 w 11952"/>
                      <a:gd name="connsiteY1" fmla="*/ 12812 h 12811"/>
                      <a:gd name="connsiteX2" fmla="*/ 0 w 11952"/>
                      <a:gd name="connsiteY2" fmla="*/ 860 h 12811"/>
                      <a:gd name="connsiteX3" fmla="*/ 11952 w 11952"/>
                      <a:gd name="connsiteY3" fmla="*/ 0 h 12811"/>
                    </a:gdLst>
                    <a:ahLst/>
                    <a:cxnLst>
                      <a:cxn ang="0">
                        <a:pos x="connsiteX0" y="connsiteY0"/>
                      </a:cxn>
                      <a:cxn ang="0">
                        <a:pos x="connsiteX1" y="connsiteY1"/>
                      </a:cxn>
                      <a:cxn ang="0">
                        <a:pos x="connsiteX2" y="connsiteY2"/>
                      </a:cxn>
                      <a:cxn ang="0">
                        <a:pos x="connsiteX3" y="connsiteY3"/>
                      </a:cxn>
                    </a:cxnLst>
                    <a:rect l="l" t="t" r="r" b="b"/>
                    <a:pathLst>
                      <a:path w="11952" h="12811">
                        <a:moveTo>
                          <a:pt x="11952" y="12812"/>
                        </a:moveTo>
                        <a:lnTo>
                          <a:pt x="0" y="12812"/>
                        </a:lnTo>
                        <a:lnTo>
                          <a:pt x="0" y="860"/>
                        </a:lnTo>
                        <a:lnTo>
                          <a:pt x="11952" y="0"/>
                        </a:lnTo>
                        <a:close/>
                      </a:path>
                    </a:pathLst>
                  </a:custGeom>
                  <a:solidFill>
                    <a:schemeClr val="tx2"/>
                  </a:solidFill>
                  <a:ln w="858" cap="flat">
                    <a:noFill/>
                    <a:prstDash val="solid"/>
                    <a:miter/>
                  </a:ln>
                </p:spPr>
                <p:txBody>
                  <a:bodyPr rtlCol="0" anchor="ctr"/>
                  <a:lstStyle/>
                  <a:p>
                    <a:endParaRPr lang="en-GB" dirty="0"/>
                  </a:p>
                </p:txBody>
              </p:sp>
              <p:sp>
                <p:nvSpPr>
                  <p:cNvPr id="281" name="Freihandform: Form 326">
                    <a:extLst>
                      <a:ext uri="{FF2B5EF4-FFF2-40B4-BE49-F238E27FC236}">
                        <a16:creationId xmlns:a16="http://schemas.microsoft.com/office/drawing/2014/main" id="{6881D893-F3E1-45EA-9C48-18F15C7F4199}"/>
                      </a:ext>
                    </a:extLst>
                  </p:cNvPr>
                  <p:cNvSpPr/>
                  <p:nvPr/>
                </p:nvSpPr>
                <p:spPr>
                  <a:xfrm>
                    <a:off x="2661968" y="4394511"/>
                    <a:ext cx="11952" cy="12820"/>
                  </a:xfrm>
                  <a:custGeom>
                    <a:avLst/>
                    <a:gdLst>
                      <a:gd name="connsiteX0" fmla="*/ 11952 w 11952"/>
                      <a:gd name="connsiteY0" fmla="*/ 12821 h 12820"/>
                      <a:gd name="connsiteX1" fmla="*/ 0 w 11952"/>
                      <a:gd name="connsiteY1" fmla="*/ 12821 h 12820"/>
                      <a:gd name="connsiteX2" fmla="*/ 0 w 11952"/>
                      <a:gd name="connsiteY2" fmla="*/ 877 h 12820"/>
                      <a:gd name="connsiteX3" fmla="*/ 11952 w 11952"/>
                      <a:gd name="connsiteY3" fmla="*/ 0 h 12820"/>
                    </a:gdLst>
                    <a:ahLst/>
                    <a:cxnLst>
                      <a:cxn ang="0">
                        <a:pos x="connsiteX0" y="connsiteY0"/>
                      </a:cxn>
                      <a:cxn ang="0">
                        <a:pos x="connsiteX1" y="connsiteY1"/>
                      </a:cxn>
                      <a:cxn ang="0">
                        <a:pos x="connsiteX2" y="connsiteY2"/>
                      </a:cxn>
                      <a:cxn ang="0">
                        <a:pos x="connsiteX3" y="connsiteY3"/>
                      </a:cxn>
                    </a:cxnLst>
                    <a:rect l="l" t="t" r="r" b="b"/>
                    <a:pathLst>
                      <a:path w="11952" h="12820">
                        <a:moveTo>
                          <a:pt x="11952" y="12821"/>
                        </a:moveTo>
                        <a:lnTo>
                          <a:pt x="0" y="12821"/>
                        </a:lnTo>
                        <a:lnTo>
                          <a:pt x="0" y="877"/>
                        </a:lnTo>
                        <a:lnTo>
                          <a:pt x="11952" y="0"/>
                        </a:lnTo>
                        <a:close/>
                      </a:path>
                    </a:pathLst>
                  </a:custGeom>
                  <a:solidFill>
                    <a:schemeClr val="tx2"/>
                  </a:solidFill>
                  <a:ln w="858" cap="flat">
                    <a:noFill/>
                    <a:prstDash val="solid"/>
                    <a:miter/>
                  </a:ln>
                </p:spPr>
                <p:txBody>
                  <a:bodyPr rtlCol="0" anchor="ctr"/>
                  <a:lstStyle/>
                  <a:p>
                    <a:endParaRPr lang="en-GB" dirty="0"/>
                  </a:p>
                </p:txBody>
              </p:sp>
            </p:grpSp>
            <p:sp>
              <p:nvSpPr>
                <p:cNvPr id="277" name="Freihandform: Form 327">
                  <a:extLst>
                    <a:ext uri="{FF2B5EF4-FFF2-40B4-BE49-F238E27FC236}">
                      <a16:creationId xmlns:a16="http://schemas.microsoft.com/office/drawing/2014/main" id="{30752677-4D9B-4C9C-8BC9-3A05BD1B78BF}"/>
                    </a:ext>
                  </a:extLst>
                </p:cNvPr>
                <p:cNvSpPr/>
                <p:nvPr/>
              </p:nvSpPr>
              <p:spPr>
                <a:xfrm>
                  <a:off x="2661968" y="4419542"/>
                  <a:ext cx="11952" cy="12820"/>
                </a:xfrm>
                <a:custGeom>
                  <a:avLst/>
                  <a:gdLst>
                    <a:gd name="connsiteX0" fmla="*/ 11952 w 11952"/>
                    <a:gd name="connsiteY0" fmla="*/ 12821 h 12820"/>
                    <a:gd name="connsiteX1" fmla="*/ 0 w 11952"/>
                    <a:gd name="connsiteY1" fmla="*/ 12821 h 12820"/>
                    <a:gd name="connsiteX2" fmla="*/ 0 w 11952"/>
                    <a:gd name="connsiteY2" fmla="*/ 877 h 12820"/>
                    <a:gd name="connsiteX3" fmla="*/ 11952 w 11952"/>
                    <a:gd name="connsiteY3" fmla="*/ 0 h 12820"/>
                  </a:gdLst>
                  <a:ahLst/>
                  <a:cxnLst>
                    <a:cxn ang="0">
                      <a:pos x="connsiteX0" y="connsiteY0"/>
                    </a:cxn>
                    <a:cxn ang="0">
                      <a:pos x="connsiteX1" y="connsiteY1"/>
                    </a:cxn>
                    <a:cxn ang="0">
                      <a:pos x="connsiteX2" y="connsiteY2"/>
                    </a:cxn>
                    <a:cxn ang="0">
                      <a:pos x="connsiteX3" y="connsiteY3"/>
                    </a:cxn>
                  </a:cxnLst>
                  <a:rect l="l" t="t" r="r" b="b"/>
                  <a:pathLst>
                    <a:path w="11952" h="12820">
                      <a:moveTo>
                        <a:pt x="11952" y="12821"/>
                      </a:moveTo>
                      <a:lnTo>
                        <a:pt x="0" y="12821"/>
                      </a:lnTo>
                      <a:lnTo>
                        <a:pt x="0" y="877"/>
                      </a:lnTo>
                      <a:lnTo>
                        <a:pt x="11952" y="0"/>
                      </a:lnTo>
                      <a:close/>
                    </a:path>
                  </a:pathLst>
                </a:custGeom>
                <a:solidFill>
                  <a:schemeClr val="tx2"/>
                </a:solidFill>
                <a:ln w="858" cap="flat">
                  <a:noFill/>
                  <a:prstDash val="solid"/>
                  <a:miter/>
                </a:ln>
              </p:spPr>
              <p:txBody>
                <a:bodyPr rtlCol="0" anchor="ctr"/>
                <a:lstStyle/>
                <a:p>
                  <a:endParaRPr lang="en-GB" dirty="0"/>
                </a:p>
              </p:txBody>
            </p:sp>
            <p:sp>
              <p:nvSpPr>
                <p:cNvPr id="278" name="Freihandform: Form 328">
                  <a:extLst>
                    <a:ext uri="{FF2B5EF4-FFF2-40B4-BE49-F238E27FC236}">
                      <a16:creationId xmlns:a16="http://schemas.microsoft.com/office/drawing/2014/main" id="{75E6ACB6-C7D6-489D-82DE-B8A655A8434B}"/>
                    </a:ext>
                  </a:extLst>
                </p:cNvPr>
                <p:cNvSpPr/>
                <p:nvPr/>
              </p:nvSpPr>
              <p:spPr>
                <a:xfrm>
                  <a:off x="2661968" y="4457540"/>
                  <a:ext cx="11952" cy="12829"/>
                </a:xfrm>
                <a:custGeom>
                  <a:avLst/>
                  <a:gdLst>
                    <a:gd name="connsiteX0" fmla="*/ 11952 w 11952"/>
                    <a:gd name="connsiteY0" fmla="*/ 12829 h 12829"/>
                    <a:gd name="connsiteX1" fmla="*/ 0 w 11952"/>
                    <a:gd name="connsiteY1" fmla="*/ 12829 h 12829"/>
                    <a:gd name="connsiteX2" fmla="*/ 0 w 11952"/>
                    <a:gd name="connsiteY2" fmla="*/ 877 h 12829"/>
                    <a:gd name="connsiteX3" fmla="*/ 11952 w 11952"/>
                    <a:gd name="connsiteY3" fmla="*/ 0 h 12829"/>
                  </a:gdLst>
                  <a:ahLst/>
                  <a:cxnLst>
                    <a:cxn ang="0">
                      <a:pos x="connsiteX0" y="connsiteY0"/>
                    </a:cxn>
                    <a:cxn ang="0">
                      <a:pos x="connsiteX1" y="connsiteY1"/>
                    </a:cxn>
                    <a:cxn ang="0">
                      <a:pos x="connsiteX2" y="connsiteY2"/>
                    </a:cxn>
                    <a:cxn ang="0">
                      <a:pos x="connsiteX3" y="connsiteY3"/>
                    </a:cxn>
                  </a:cxnLst>
                  <a:rect l="l" t="t" r="r" b="b"/>
                  <a:pathLst>
                    <a:path w="11952" h="12829">
                      <a:moveTo>
                        <a:pt x="11952" y="12829"/>
                      </a:moveTo>
                      <a:lnTo>
                        <a:pt x="0" y="12829"/>
                      </a:lnTo>
                      <a:lnTo>
                        <a:pt x="0" y="877"/>
                      </a:lnTo>
                      <a:lnTo>
                        <a:pt x="11952" y="0"/>
                      </a:lnTo>
                      <a:close/>
                    </a:path>
                  </a:pathLst>
                </a:custGeom>
                <a:solidFill>
                  <a:schemeClr val="tx2"/>
                </a:solidFill>
                <a:ln w="858" cap="flat">
                  <a:noFill/>
                  <a:prstDash val="solid"/>
                  <a:miter/>
                </a:ln>
              </p:spPr>
              <p:txBody>
                <a:bodyPr rtlCol="0" anchor="ctr"/>
                <a:lstStyle/>
                <a:p>
                  <a:endParaRPr lang="en-GB" dirty="0"/>
                </a:p>
              </p:txBody>
            </p:sp>
            <p:sp>
              <p:nvSpPr>
                <p:cNvPr id="279" name="Freihandform: Form 329">
                  <a:extLst>
                    <a:ext uri="{FF2B5EF4-FFF2-40B4-BE49-F238E27FC236}">
                      <a16:creationId xmlns:a16="http://schemas.microsoft.com/office/drawing/2014/main" id="{53BAAF9E-392C-40AE-9B49-2CAC04EB77FD}"/>
                    </a:ext>
                  </a:extLst>
                </p:cNvPr>
                <p:cNvSpPr/>
                <p:nvPr/>
              </p:nvSpPr>
              <p:spPr>
                <a:xfrm>
                  <a:off x="2661968" y="4482588"/>
                  <a:ext cx="11952" cy="12812"/>
                </a:xfrm>
                <a:custGeom>
                  <a:avLst/>
                  <a:gdLst>
                    <a:gd name="connsiteX0" fmla="*/ 11952 w 11952"/>
                    <a:gd name="connsiteY0" fmla="*/ 12812 h 12812"/>
                    <a:gd name="connsiteX1" fmla="*/ 0 w 11952"/>
                    <a:gd name="connsiteY1" fmla="*/ 12812 h 12812"/>
                    <a:gd name="connsiteX2" fmla="*/ 0 w 11952"/>
                    <a:gd name="connsiteY2" fmla="*/ 868 h 12812"/>
                    <a:gd name="connsiteX3" fmla="*/ 11952 w 11952"/>
                    <a:gd name="connsiteY3" fmla="*/ 0 h 12812"/>
                  </a:gdLst>
                  <a:ahLst/>
                  <a:cxnLst>
                    <a:cxn ang="0">
                      <a:pos x="connsiteX0" y="connsiteY0"/>
                    </a:cxn>
                    <a:cxn ang="0">
                      <a:pos x="connsiteX1" y="connsiteY1"/>
                    </a:cxn>
                    <a:cxn ang="0">
                      <a:pos x="connsiteX2" y="connsiteY2"/>
                    </a:cxn>
                    <a:cxn ang="0">
                      <a:pos x="connsiteX3" y="connsiteY3"/>
                    </a:cxn>
                  </a:cxnLst>
                  <a:rect l="l" t="t" r="r" b="b"/>
                  <a:pathLst>
                    <a:path w="11952" h="12812">
                      <a:moveTo>
                        <a:pt x="11952" y="12812"/>
                      </a:moveTo>
                      <a:lnTo>
                        <a:pt x="0" y="12812"/>
                      </a:lnTo>
                      <a:lnTo>
                        <a:pt x="0" y="868"/>
                      </a:lnTo>
                      <a:lnTo>
                        <a:pt x="11952" y="0"/>
                      </a:lnTo>
                      <a:close/>
                    </a:path>
                  </a:pathLst>
                </a:custGeom>
                <a:solidFill>
                  <a:schemeClr val="tx2"/>
                </a:solidFill>
                <a:ln w="858" cap="flat">
                  <a:noFill/>
                  <a:prstDash val="solid"/>
                  <a:miter/>
                </a:ln>
              </p:spPr>
              <p:txBody>
                <a:bodyPr rtlCol="0" anchor="ctr"/>
                <a:lstStyle/>
                <a:p>
                  <a:endParaRPr lang="en-GB" dirty="0"/>
                </a:p>
              </p:txBody>
            </p:sp>
          </p:grpSp>
          <p:grpSp>
            <p:nvGrpSpPr>
              <p:cNvPr id="219" name="Grafik 7">
                <a:extLst>
                  <a:ext uri="{FF2B5EF4-FFF2-40B4-BE49-F238E27FC236}">
                    <a16:creationId xmlns:a16="http://schemas.microsoft.com/office/drawing/2014/main" id="{A9868FF9-265C-49E3-AAA1-1B4D21DAD91B}"/>
                  </a:ext>
                </a:extLst>
              </p:cNvPr>
              <p:cNvGrpSpPr/>
              <p:nvPr/>
            </p:nvGrpSpPr>
            <p:grpSpPr>
              <a:xfrm>
                <a:off x="2694264" y="4353083"/>
                <a:ext cx="11943" cy="129367"/>
                <a:chOff x="2694264" y="4353083"/>
                <a:chExt cx="11943" cy="129367"/>
              </a:xfrm>
              <a:solidFill>
                <a:srgbClr val="4D4E53"/>
              </a:solidFill>
            </p:grpSpPr>
            <p:grpSp>
              <p:nvGrpSpPr>
                <p:cNvPr id="270" name="Grafik 7">
                  <a:extLst>
                    <a:ext uri="{FF2B5EF4-FFF2-40B4-BE49-F238E27FC236}">
                      <a16:creationId xmlns:a16="http://schemas.microsoft.com/office/drawing/2014/main" id="{E329D7FB-E9E4-4A8B-9D96-B15068D2C092}"/>
                    </a:ext>
                  </a:extLst>
                </p:cNvPr>
                <p:cNvGrpSpPr/>
                <p:nvPr/>
              </p:nvGrpSpPr>
              <p:grpSpPr>
                <a:xfrm>
                  <a:off x="2694264" y="4353083"/>
                  <a:ext cx="11943" cy="54249"/>
                  <a:chOff x="2694264" y="4353083"/>
                  <a:chExt cx="11943" cy="54249"/>
                </a:xfrm>
                <a:solidFill>
                  <a:srgbClr val="4D4E53"/>
                </a:solidFill>
              </p:grpSpPr>
              <p:sp>
                <p:nvSpPr>
                  <p:cNvPr id="274" name="Freihandform: Form 332">
                    <a:extLst>
                      <a:ext uri="{FF2B5EF4-FFF2-40B4-BE49-F238E27FC236}">
                        <a16:creationId xmlns:a16="http://schemas.microsoft.com/office/drawing/2014/main" id="{61D91FB5-1378-4769-83D4-A1C5C17F501D}"/>
                      </a:ext>
                    </a:extLst>
                  </p:cNvPr>
                  <p:cNvSpPr/>
                  <p:nvPr/>
                </p:nvSpPr>
                <p:spPr>
                  <a:xfrm>
                    <a:off x="2694264" y="4353083"/>
                    <a:ext cx="11943" cy="30009"/>
                  </a:xfrm>
                  <a:custGeom>
                    <a:avLst/>
                    <a:gdLst>
                      <a:gd name="connsiteX0" fmla="*/ 0 w 11943"/>
                      <a:gd name="connsiteY0" fmla="*/ 0 h 30009"/>
                      <a:gd name="connsiteX1" fmla="*/ 11943 w 11943"/>
                      <a:gd name="connsiteY1" fmla="*/ 0 h 30009"/>
                      <a:gd name="connsiteX2" fmla="*/ 11943 w 11943"/>
                      <a:gd name="connsiteY2" fmla="*/ 30009 h 30009"/>
                      <a:gd name="connsiteX3" fmla="*/ 0 w 11943"/>
                      <a:gd name="connsiteY3" fmla="*/ 30009 h 30009"/>
                    </a:gdLst>
                    <a:ahLst/>
                    <a:cxnLst>
                      <a:cxn ang="0">
                        <a:pos x="connsiteX0" y="connsiteY0"/>
                      </a:cxn>
                      <a:cxn ang="0">
                        <a:pos x="connsiteX1" y="connsiteY1"/>
                      </a:cxn>
                      <a:cxn ang="0">
                        <a:pos x="connsiteX2" y="connsiteY2"/>
                      </a:cxn>
                      <a:cxn ang="0">
                        <a:pos x="connsiteX3" y="connsiteY3"/>
                      </a:cxn>
                    </a:cxnLst>
                    <a:rect l="l" t="t" r="r" b="b"/>
                    <a:pathLst>
                      <a:path w="11943" h="30009">
                        <a:moveTo>
                          <a:pt x="0" y="0"/>
                        </a:moveTo>
                        <a:lnTo>
                          <a:pt x="11943" y="0"/>
                        </a:lnTo>
                        <a:lnTo>
                          <a:pt x="11943" y="30009"/>
                        </a:lnTo>
                        <a:lnTo>
                          <a:pt x="0" y="30009"/>
                        </a:lnTo>
                        <a:close/>
                      </a:path>
                    </a:pathLst>
                  </a:custGeom>
                  <a:solidFill>
                    <a:schemeClr val="tx2"/>
                  </a:solidFill>
                  <a:ln w="858" cap="flat">
                    <a:noFill/>
                    <a:prstDash val="solid"/>
                    <a:miter/>
                  </a:ln>
                </p:spPr>
                <p:txBody>
                  <a:bodyPr rtlCol="0" anchor="ctr"/>
                  <a:lstStyle/>
                  <a:p>
                    <a:endParaRPr lang="en-GB" dirty="0"/>
                  </a:p>
                </p:txBody>
              </p:sp>
              <p:sp>
                <p:nvSpPr>
                  <p:cNvPr id="275" name="Freihandform: Form 333">
                    <a:extLst>
                      <a:ext uri="{FF2B5EF4-FFF2-40B4-BE49-F238E27FC236}">
                        <a16:creationId xmlns:a16="http://schemas.microsoft.com/office/drawing/2014/main" id="{A52E4823-4387-419C-9243-B9A8AE519D8C}"/>
                      </a:ext>
                    </a:extLst>
                  </p:cNvPr>
                  <p:cNvSpPr/>
                  <p:nvPr/>
                </p:nvSpPr>
                <p:spPr>
                  <a:xfrm>
                    <a:off x="2694264" y="4394511"/>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grpSp>
            <p:sp>
              <p:nvSpPr>
                <p:cNvPr id="271" name="Freihandform: Form 334">
                  <a:extLst>
                    <a:ext uri="{FF2B5EF4-FFF2-40B4-BE49-F238E27FC236}">
                      <a16:creationId xmlns:a16="http://schemas.microsoft.com/office/drawing/2014/main" id="{F8F5EAF9-3895-4F96-BF98-167056EAAA55}"/>
                    </a:ext>
                  </a:extLst>
                </p:cNvPr>
                <p:cNvSpPr/>
                <p:nvPr/>
              </p:nvSpPr>
              <p:spPr>
                <a:xfrm>
                  <a:off x="2694264" y="4419542"/>
                  <a:ext cx="11943" cy="28461"/>
                </a:xfrm>
                <a:custGeom>
                  <a:avLst/>
                  <a:gdLst>
                    <a:gd name="connsiteX0" fmla="*/ 0 w 11943"/>
                    <a:gd name="connsiteY0" fmla="*/ 0 h 28461"/>
                    <a:gd name="connsiteX1" fmla="*/ 11943 w 11943"/>
                    <a:gd name="connsiteY1" fmla="*/ 0 h 28461"/>
                    <a:gd name="connsiteX2" fmla="*/ 11943 w 11943"/>
                    <a:gd name="connsiteY2" fmla="*/ 28462 h 28461"/>
                    <a:gd name="connsiteX3" fmla="*/ 0 w 11943"/>
                    <a:gd name="connsiteY3" fmla="*/ 28462 h 28461"/>
                  </a:gdLst>
                  <a:ahLst/>
                  <a:cxnLst>
                    <a:cxn ang="0">
                      <a:pos x="connsiteX0" y="connsiteY0"/>
                    </a:cxn>
                    <a:cxn ang="0">
                      <a:pos x="connsiteX1" y="connsiteY1"/>
                    </a:cxn>
                    <a:cxn ang="0">
                      <a:pos x="connsiteX2" y="connsiteY2"/>
                    </a:cxn>
                    <a:cxn ang="0">
                      <a:pos x="connsiteX3" y="connsiteY3"/>
                    </a:cxn>
                  </a:cxnLst>
                  <a:rect l="l" t="t" r="r" b="b"/>
                  <a:pathLst>
                    <a:path w="11943" h="28461">
                      <a:moveTo>
                        <a:pt x="0" y="0"/>
                      </a:moveTo>
                      <a:lnTo>
                        <a:pt x="11943" y="0"/>
                      </a:lnTo>
                      <a:lnTo>
                        <a:pt x="11943" y="28462"/>
                      </a:lnTo>
                      <a:lnTo>
                        <a:pt x="0" y="28462"/>
                      </a:lnTo>
                      <a:close/>
                    </a:path>
                  </a:pathLst>
                </a:custGeom>
                <a:solidFill>
                  <a:schemeClr val="tx2"/>
                </a:solidFill>
                <a:ln w="858" cap="flat">
                  <a:noFill/>
                  <a:prstDash val="solid"/>
                  <a:miter/>
                </a:ln>
              </p:spPr>
              <p:txBody>
                <a:bodyPr rtlCol="0" anchor="ctr"/>
                <a:lstStyle/>
                <a:p>
                  <a:endParaRPr lang="en-GB" dirty="0"/>
                </a:p>
              </p:txBody>
            </p:sp>
            <p:sp>
              <p:nvSpPr>
                <p:cNvPr id="272" name="Freihandform: Form 335">
                  <a:extLst>
                    <a:ext uri="{FF2B5EF4-FFF2-40B4-BE49-F238E27FC236}">
                      <a16:creationId xmlns:a16="http://schemas.microsoft.com/office/drawing/2014/main" id="{682A2D79-61F9-4F17-9844-3E7D407E4B7B}"/>
                    </a:ext>
                  </a:extLst>
                </p:cNvPr>
                <p:cNvSpPr/>
                <p:nvPr/>
              </p:nvSpPr>
              <p:spPr>
                <a:xfrm>
                  <a:off x="2694264" y="4444590"/>
                  <a:ext cx="11943" cy="12811"/>
                </a:xfrm>
                <a:custGeom>
                  <a:avLst/>
                  <a:gdLst>
                    <a:gd name="connsiteX0" fmla="*/ 11944 w 11943"/>
                    <a:gd name="connsiteY0" fmla="*/ 12812 h 12811"/>
                    <a:gd name="connsiteX1" fmla="*/ 0 w 11943"/>
                    <a:gd name="connsiteY1" fmla="*/ 12812 h 12811"/>
                    <a:gd name="connsiteX2" fmla="*/ 0 w 11943"/>
                    <a:gd name="connsiteY2" fmla="*/ 868 h 12811"/>
                    <a:gd name="connsiteX3" fmla="*/ 11944 w 11943"/>
                    <a:gd name="connsiteY3" fmla="*/ 0 h 12811"/>
                  </a:gdLst>
                  <a:ahLst/>
                  <a:cxnLst>
                    <a:cxn ang="0">
                      <a:pos x="connsiteX0" y="connsiteY0"/>
                    </a:cxn>
                    <a:cxn ang="0">
                      <a:pos x="connsiteX1" y="connsiteY1"/>
                    </a:cxn>
                    <a:cxn ang="0">
                      <a:pos x="connsiteX2" y="connsiteY2"/>
                    </a:cxn>
                    <a:cxn ang="0">
                      <a:pos x="connsiteX3" y="connsiteY3"/>
                    </a:cxn>
                  </a:cxnLst>
                  <a:rect l="l" t="t" r="r" b="b"/>
                  <a:pathLst>
                    <a:path w="11943" h="12811">
                      <a:moveTo>
                        <a:pt x="11944" y="12812"/>
                      </a:moveTo>
                      <a:lnTo>
                        <a:pt x="0" y="12812"/>
                      </a:lnTo>
                      <a:lnTo>
                        <a:pt x="0" y="868"/>
                      </a:lnTo>
                      <a:lnTo>
                        <a:pt x="11944" y="0"/>
                      </a:lnTo>
                      <a:close/>
                    </a:path>
                  </a:pathLst>
                </a:custGeom>
                <a:solidFill>
                  <a:schemeClr val="tx2"/>
                </a:solidFill>
                <a:ln w="858" cap="flat">
                  <a:noFill/>
                  <a:prstDash val="solid"/>
                  <a:miter/>
                </a:ln>
              </p:spPr>
              <p:txBody>
                <a:bodyPr rtlCol="0" anchor="ctr"/>
                <a:lstStyle/>
                <a:p>
                  <a:endParaRPr lang="en-GB" dirty="0"/>
                </a:p>
              </p:txBody>
            </p:sp>
            <p:sp>
              <p:nvSpPr>
                <p:cNvPr id="273" name="Freihandform: Form 336">
                  <a:extLst>
                    <a:ext uri="{FF2B5EF4-FFF2-40B4-BE49-F238E27FC236}">
                      <a16:creationId xmlns:a16="http://schemas.microsoft.com/office/drawing/2014/main" id="{B3AAA904-95AE-4B20-BC8E-D3BAFCBE4F97}"/>
                    </a:ext>
                  </a:extLst>
                </p:cNvPr>
                <p:cNvSpPr/>
                <p:nvPr/>
              </p:nvSpPr>
              <p:spPr>
                <a:xfrm>
                  <a:off x="2694264" y="4469630"/>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grpSp>
          <p:grpSp>
            <p:nvGrpSpPr>
              <p:cNvPr id="220" name="Grafik 7">
                <a:extLst>
                  <a:ext uri="{FF2B5EF4-FFF2-40B4-BE49-F238E27FC236}">
                    <a16:creationId xmlns:a16="http://schemas.microsoft.com/office/drawing/2014/main" id="{C895CFDB-19CB-413B-909B-6E78E6084253}"/>
                  </a:ext>
                </a:extLst>
              </p:cNvPr>
              <p:cNvGrpSpPr/>
              <p:nvPr/>
            </p:nvGrpSpPr>
            <p:grpSpPr>
              <a:xfrm>
                <a:off x="2726561" y="4333590"/>
                <a:ext cx="11943" cy="173900"/>
                <a:chOff x="2726561" y="4333590"/>
                <a:chExt cx="11943" cy="173900"/>
              </a:xfrm>
              <a:solidFill>
                <a:srgbClr val="4D4E53"/>
              </a:solidFill>
            </p:grpSpPr>
            <p:grpSp>
              <p:nvGrpSpPr>
                <p:cNvPr id="263" name="Grafik 7">
                  <a:extLst>
                    <a:ext uri="{FF2B5EF4-FFF2-40B4-BE49-F238E27FC236}">
                      <a16:creationId xmlns:a16="http://schemas.microsoft.com/office/drawing/2014/main" id="{DD32C840-5474-419B-B89E-07B9F1109172}"/>
                    </a:ext>
                  </a:extLst>
                </p:cNvPr>
                <p:cNvGrpSpPr/>
                <p:nvPr/>
              </p:nvGrpSpPr>
              <p:grpSpPr>
                <a:xfrm>
                  <a:off x="2726561" y="4333590"/>
                  <a:ext cx="11943" cy="73742"/>
                  <a:chOff x="2726561" y="4333590"/>
                  <a:chExt cx="11943" cy="73742"/>
                </a:xfrm>
                <a:solidFill>
                  <a:srgbClr val="4D4E53"/>
                </a:solidFill>
              </p:grpSpPr>
              <p:sp>
                <p:nvSpPr>
                  <p:cNvPr id="268" name="Freihandform: Form 339">
                    <a:extLst>
                      <a:ext uri="{FF2B5EF4-FFF2-40B4-BE49-F238E27FC236}">
                        <a16:creationId xmlns:a16="http://schemas.microsoft.com/office/drawing/2014/main" id="{DEBA6918-3D30-4F25-B52E-4BF91A930A20}"/>
                      </a:ext>
                    </a:extLst>
                  </p:cNvPr>
                  <p:cNvSpPr/>
                  <p:nvPr/>
                </p:nvSpPr>
                <p:spPr>
                  <a:xfrm>
                    <a:off x="2726561" y="4333590"/>
                    <a:ext cx="11943" cy="49502"/>
                  </a:xfrm>
                  <a:custGeom>
                    <a:avLst/>
                    <a:gdLst>
                      <a:gd name="connsiteX0" fmla="*/ 0 w 11943"/>
                      <a:gd name="connsiteY0" fmla="*/ 0 h 49502"/>
                      <a:gd name="connsiteX1" fmla="*/ 11943 w 11943"/>
                      <a:gd name="connsiteY1" fmla="*/ 0 h 49502"/>
                      <a:gd name="connsiteX2" fmla="*/ 11943 w 11943"/>
                      <a:gd name="connsiteY2" fmla="*/ 49503 h 49502"/>
                      <a:gd name="connsiteX3" fmla="*/ 0 w 11943"/>
                      <a:gd name="connsiteY3" fmla="*/ 49503 h 49502"/>
                    </a:gdLst>
                    <a:ahLst/>
                    <a:cxnLst>
                      <a:cxn ang="0">
                        <a:pos x="connsiteX0" y="connsiteY0"/>
                      </a:cxn>
                      <a:cxn ang="0">
                        <a:pos x="connsiteX1" y="connsiteY1"/>
                      </a:cxn>
                      <a:cxn ang="0">
                        <a:pos x="connsiteX2" y="connsiteY2"/>
                      </a:cxn>
                      <a:cxn ang="0">
                        <a:pos x="connsiteX3" y="connsiteY3"/>
                      </a:cxn>
                    </a:cxnLst>
                    <a:rect l="l" t="t" r="r" b="b"/>
                    <a:pathLst>
                      <a:path w="11943" h="49502">
                        <a:moveTo>
                          <a:pt x="0" y="0"/>
                        </a:moveTo>
                        <a:lnTo>
                          <a:pt x="11943" y="0"/>
                        </a:lnTo>
                        <a:lnTo>
                          <a:pt x="11943" y="49503"/>
                        </a:lnTo>
                        <a:lnTo>
                          <a:pt x="0" y="49503"/>
                        </a:lnTo>
                        <a:close/>
                      </a:path>
                    </a:pathLst>
                  </a:custGeom>
                  <a:solidFill>
                    <a:schemeClr val="tx2"/>
                  </a:solidFill>
                  <a:ln w="858" cap="flat">
                    <a:noFill/>
                    <a:prstDash val="solid"/>
                    <a:miter/>
                  </a:ln>
                </p:spPr>
                <p:txBody>
                  <a:bodyPr rtlCol="0" anchor="ctr"/>
                  <a:lstStyle/>
                  <a:p>
                    <a:endParaRPr lang="en-GB" dirty="0"/>
                  </a:p>
                </p:txBody>
              </p:sp>
              <p:sp>
                <p:nvSpPr>
                  <p:cNvPr id="269" name="Freihandform: Form 340">
                    <a:extLst>
                      <a:ext uri="{FF2B5EF4-FFF2-40B4-BE49-F238E27FC236}">
                        <a16:creationId xmlns:a16="http://schemas.microsoft.com/office/drawing/2014/main" id="{4B8F52E4-EBFA-4C1A-8578-4D78830707CF}"/>
                      </a:ext>
                    </a:extLst>
                  </p:cNvPr>
                  <p:cNvSpPr/>
                  <p:nvPr/>
                </p:nvSpPr>
                <p:spPr>
                  <a:xfrm>
                    <a:off x="2726561" y="4394511"/>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grpSp>
            <p:sp>
              <p:nvSpPr>
                <p:cNvPr id="264" name="Freihandform: Form 341">
                  <a:extLst>
                    <a:ext uri="{FF2B5EF4-FFF2-40B4-BE49-F238E27FC236}">
                      <a16:creationId xmlns:a16="http://schemas.microsoft.com/office/drawing/2014/main" id="{922DF770-EE3A-4CB8-9A40-645120A502A1}"/>
                    </a:ext>
                  </a:extLst>
                </p:cNvPr>
                <p:cNvSpPr/>
                <p:nvPr/>
              </p:nvSpPr>
              <p:spPr>
                <a:xfrm>
                  <a:off x="2726561" y="4395388"/>
                  <a:ext cx="11943" cy="36983"/>
                </a:xfrm>
                <a:custGeom>
                  <a:avLst/>
                  <a:gdLst>
                    <a:gd name="connsiteX0" fmla="*/ 0 w 11943"/>
                    <a:gd name="connsiteY0" fmla="*/ 0 h 36983"/>
                    <a:gd name="connsiteX1" fmla="*/ 11943 w 11943"/>
                    <a:gd name="connsiteY1" fmla="*/ 0 h 36983"/>
                    <a:gd name="connsiteX2" fmla="*/ 11943 w 11943"/>
                    <a:gd name="connsiteY2" fmla="*/ 36983 h 36983"/>
                    <a:gd name="connsiteX3" fmla="*/ 0 w 11943"/>
                    <a:gd name="connsiteY3" fmla="*/ 36983 h 36983"/>
                  </a:gdLst>
                  <a:ahLst/>
                  <a:cxnLst>
                    <a:cxn ang="0">
                      <a:pos x="connsiteX0" y="connsiteY0"/>
                    </a:cxn>
                    <a:cxn ang="0">
                      <a:pos x="connsiteX1" y="connsiteY1"/>
                    </a:cxn>
                    <a:cxn ang="0">
                      <a:pos x="connsiteX2" y="connsiteY2"/>
                    </a:cxn>
                    <a:cxn ang="0">
                      <a:pos x="connsiteX3" y="connsiteY3"/>
                    </a:cxn>
                  </a:cxnLst>
                  <a:rect l="l" t="t" r="r" b="b"/>
                  <a:pathLst>
                    <a:path w="11943" h="36983">
                      <a:moveTo>
                        <a:pt x="0" y="0"/>
                      </a:moveTo>
                      <a:lnTo>
                        <a:pt x="11943" y="0"/>
                      </a:lnTo>
                      <a:lnTo>
                        <a:pt x="11943" y="36983"/>
                      </a:lnTo>
                      <a:lnTo>
                        <a:pt x="0" y="36983"/>
                      </a:lnTo>
                      <a:close/>
                    </a:path>
                  </a:pathLst>
                </a:custGeom>
                <a:solidFill>
                  <a:schemeClr val="tx2"/>
                </a:solidFill>
                <a:ln w="858" cap="flat">
                  <a:noFill/>
                  <a:prstDash val="solid"/>
                  <a:miter/>
                </a:ln>
              </p:spPr>
              <p:txBody>
                <a:bodyPr rtlCol="0" anchor="ctr"/>
                <a:lstStyle/>
                <a:p>
                  <a:endParaRPr lang="en-GB" dirty="0"/>
                </a:p>
              </p:txBody>
            </p:sp>
            <p:sp>
              <p:nvSpPr>
                <p:cNvPr id="265" name="Freihandform: Form 342">
                  <a:extLst>
                    <a:ext uri="{FF2B5EF4-FFF2-40B4-BE49-F238E27FC236}">
                      <a16:creationId xmlns:a16="http://schemas.microsoft.com/office/drawing/2014/main" id="{13C2DEBF-0D63-486D-A4D8-FA4C7A73F805}"/>
                    </a:ext>
                  </a:extLst>
                </p:cNvPr>
                <p:cNvSpPr/>
                <p:nvPr/>
              </p:nvSpPr>
              <p:spPr>
                <a:xfrm>
                  <a:off x="2726561" y="4444590"/>
                  <a:ext cx="11943" cy="12811"/>
                </a:xfrm>
                <a:custGeom>
                  <a:avLst/>
                  <a:gdLst>
                    <a:gd name="connsiteX0" fmla="*/ 11944 w 11943"/>
                    <a:gd name="connsiteY0" fmla="*/ 12812 h 12811"/>
                    <a:gd name="connsiteX1" fmla="*/ 0 w 11943"/>
                    <a:gd name="connsiteY1" fmla="*/ 12812 h 12811"/>
                    <a:gd name="connsiteX2" fmla="*/ 0 w 11943"/>
                    <a:gd name="connsiteY2" fmla="*/ 868 h 12811"/>
                    <a:gd name="connsiteX3" fmla="*/ 11944 w 11943"/>
                    <a:gd name="connsiteY3" fmla="*/ 0 h 12811"/>
                  </a:gdLst>
                  <a:ahLst/>
                  <a:cxnLst>
                    <a:cxn ang="0">
                      <a:pos x="connsiteX0" y="connsiteY0"/>
                    </a:cxn>
                    <a:cxn ang="0">
                      <a:pos x="connsiteX1" y="connsiteY1"/>
                    </a:cxn>
                    <a:cxn ang="0">
                      <a:pos x="connsiteX2" y="connsiteY2"/>
                    </a:cxn>
                    <a:cxn ang="0">
                      <a:pos x="connsiteX3" y="connsiteY3"/>
                    </a:cxn>
                  </a:cxnLst>
                  <a:rect l="l" t="t" r="r" b="b"/>
                  <a:pathLst>
                    <a:path w="11943" h="12811">
                      <a:moveTo>
                        <a:pt x="11944" y="12812"/>
                      </a:moveTo>
                      <a:lnTo>
                        <a:pt x="0" y="12812"/>
                      </a:lnTo>
                      <a:lnTo>
                        <a:pt x="0" y="868"/>
                      </a:lnTo>
                      <a:lnTo>
                        <a:pt x="11944" y="0"/>
                      </a:lnTo>
                      <a:close/>
                    </a:path>
                  </a:pathLst>
                </a:custGeom>
                <a:solidFill>
                  <a:schemeClr val="tx2"/>
                </a:solidFill>
                <a:ln w="858" cap="flat">
                  <a:noFill/>
                  <a:prstDash val="solid"/>
                  <a:miter/>
                </a:ln>
              </p:spPr>
              <p:txBody>
                <a:bodyPr rtlCol="0" anchor="ctr"/>
                <a:lstStyle/>
                <a:p>
                  <a:endParaRPr lang="en-GB" dirty="0"/>
                </a:p>
              </p:txBody>
            </p:sp>
            <p:sp>
              <p:nvSpPr>
                <p:cNvPr id="266" name="Freihandform: Form 343">
                  <a:extLst>
                    <a:ext uri="{FF2B5EF4-FFF2-40B4-BE49-F238E27FC236}">
                      <a16:creationId xmlns:a16="http://schemas.microsoft.com/office/drawing/2014/main" id="{A18E4799-648B-4403-9FCC-648567C6B7AA}"/>
                    </a:ext>
                  </a:extLst>
                </p:cNvPr>
                <p:cNvSpPr/>
                <p:nvPr/>
              </p:nvSpPr>
              <p:spPr>
                <a:xfrm>
                  <a:off x="2726561" y="4469630"/>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sp>
              <p:nvSpPr>
                <p:cNvPr id="267" name="Freihandform: Form 344">
                  <a:extLst>
                    <a:ext uri="{FF2B5EF4-FFF2-40B4-BE49-F238E27FC236}">
                      <a16:creationId xmlns:a16="http://schemas.microsoft.com/office/drawing/2014/main" id="{E18EA3F7-0A8B-4155-BFDC-C3EFC9680FDE}"/>
                    </a:ext>
                  </a:extLst>
                </p:cNvPr>
                <p:cNvSpPr/>
                <p:nvPr/>
              </p:nvSpPr>
              <p:spPr>
                <a:xfrm>
                  <a:off x="2726561" y="4494669"/>
                  <a:ext cx="11943" cy="12820"/>
                </a:xfrm>
                <a:custGeom>
                  <a:avLst/>
                  <a:gdLst>
                    <a:gd name="connsiteX0" fmla="*/ 11944 w 11943"/>
                    <a:gd name="connsiteY0" fmla="*/ 12821 h 12820"/>
                    <a:gd name="connsiteX1" fmla="*/ 0 w 11943"/>
                    <a:gd name="connsiteY1" fmla="*/ 12821 h 12820"/>
                    <a:gd name="connsiteX2" fmla="*/ 0 w 11943"/>
                    <a:gd name="connsiteY2" fmla="*/ 868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68"/>
                      </a:lnTo>
                      <a:lnTo>
                        <a:pt x="11944" y="0"/>
                      </a:lnTo>
                      <a:close/>
                    </a:path>
                  </a:pathLst>
                </a:custGeom>
                <a:solidFill>
                  <a:schemeClr val="tx2"/>
                </a:solidFill>
                <a:ln w="858" cap="flat">
                  <a:noFill/>
                  <a:prstDash val="solid"/>
                  <a:miter/>
                </a:ln>
              </p:spPr>
              <p:txBody>
                <a:bodyPr rtlCol="0" anchor="ctr"/>
                <a:lstStyle/>
                <a:p>
                  <a:endParaRPr lang="en-GB" dirty="0"/>
                </a:p>
              </p:txBody>
            </p:sp>
          </p:grpSp>
          <p:grpSp>
            <p:nvGrpSpPr>
              <p:cNvPr id="221" name="Grafik 7">
                <a:extLst>
                  <a:ext uri="{FF2B5EF4-FFF2-40B4-BE49-F238E27FC236}">
                    <a16:creationId xmlns:a16="http://schemas.microsoft.com/office/drawing/2014/main" id="{6D8C564B-27B8-45FA-9DBE-63E72DFA7ACC}"/>
                  </a:ext>
                </a:extLst>
              </p:cNvPr>
              <p:cNvGrpSpPr/>
              <p:nvPr/>
            </p:nvGrpSpPr>
            <p:grpSpPr>
              <a:xfrm>
                <a:off x="2758849" y="4364132"/>
                <a:ext cx="11943" cy="143357"/>
                <a:chOff x="2758849" y="4364132"/>
                <a:chExt cx="11943" cy="143357"/>
              </a:xfrm>
              <a:solidFill>
                <a:srgbClr val="4D4E53"/>
              </a:solidFill>
            </p:grpSpPr>
            <p:grpSp>
              <p:nvGrpSpPr>
                <p:cNvPr id="256" name="Grafik 7">
                  <a:extLst>
                    <a:ext uri="{FF2B5EF4-FFF2-40B4-BE49-F238E27FC236}">
                      <a16:creationId xmlns:a16="http://schemas.microsoft.com/office/drawing/2014/main" id="{6C1A1CA7-6F5A-4239-B081-9B3318918019}"/>
                    </a:ext>
                  </a:extLst>
                </p:cNvPr>
                <p:cNvGrpSpPr/>
                <p:nvPr/>
              </p:nvGrpSpPr>
              <p:grpSpPr>
                <a:xfrm>
                  <a:off x="2758849" y="4364132"/>
                  <a:ext cx="11943" cy="43199"/>
                  <a:chOff x="2758849" y="4364132"/>
                  <a:chExt cx="11943" cy="43199"/>
                </a:xfrm>
                <a:solidFill>
                  <a:srgbClr val="4D4E53"/>
                </a:solidFill>
              </p:grpSpPr>
              <p:sp>
                <p:nvSpPr>
                  <p:cNvPr id="261" name="Freihandform: Form 347">
                    <a:extLst>
                      <a:ext uri="{FF2B5EF4-FFF2-40B4-BE49-F238E27FC236}">
                        <a16:creationId xmlns:a16="http://schemas.microsoft.com/office/drawing/2014/main" id="{F67E3734-3144-49BE-AD71-026AC7288AB1}"/>
                      </a:ext>
                    </a:extLst>
                  </p:cNvPr>
                  <p:cNvSpPr/>
                  <p:nvPr/>
                </p:nvSpPr>
                <p:spPr>
                  <a:xfrm>
                    <a:off x="2758849" y="4364132"/>
                    <a:ext cx="11943" cy="18960"/>
                  </a:xfrm>
                  <a:custGeom>
                    <a:avLst/>
                    <a:gdLst>
                      <a:gd name="connsiteX0" fmla="*/ 0 w 11943"/>
                      <a:gd name="connsiteY0" fmla="*/ 0 h 18960"/>
                      <a:gd name="connsiteX1" fmla="*/ 11944 w 11943"/>
                      <a:gd name="connsiteY1" fmla="*/ 0 h 18960"/>
                      <a:gd name="connsiteX2" fmla="*/ 11944 w 11943"/>
                      <a:gd name="connsiteY2" fmla="*/ 18960 h 18960"/>
                      <a:gd name="connsiteX3" fmla="*/ 0 w 11943"/>
                      <a:gd name="connsiteY3" fmla="*/ 18960 h 18960"/>
                    </a:gdLst>
                    <a:ahLst/>
                    <a:cxnLst>
                      <a:cxn ang="0">
                        <a:pos x="connsiteX0" y="connsiteY0"/>
                      </a:cxn>
                      <a:cxn ang="0">
                        <a:pos x="connsiteX1" y="connsiteY1"/>
                      </a:cxn>
                      <a:cxn ang="0">
                        <a:pos x="connsiteX2" y="connsiteY2"/>
                      </a:cxn>
                      <a:cxn ang="0">
                        <a:pos x="connsiteX3" y="connsiteY3"/>
                      </a:cxn>
                    </a:cxnLst>
                    <a:rect l="l" t="t" r="r" b="b"/>
                    <a:pathLst>
                      <a:path w="11943" h="18960">
                        <a:moveTo>
                          <a:pt x="0" y="0"/>
                        </a:moveTo>
                        <a:lnTo>
                          <a:pt x="11944" y="0"/>
                        </a:lnTo>
                        <a:lnTo>
                          <a:pt x="11944" y="18960"/>
                        </a:lnTo>
                        <a:lnTo>
                          <a:pt x="0" y="18960"/>
                        </a:lnTo>
                        <a:close/>
                      </a:path>
                    </a:pathLst>
                  </a:custGeom>
                  <a:solidFill>
                    <a:schemeClr val="tx2"/>
                  </a:solidFill>
                  <a:ln w="858" cap="flat">
                    <a:noFill/>
                    <a:prstDash val="solid"/>
                    <a:miter/>
                  </a:ln>
                </p:spPr>
                <p:txBody>
                  <a:bodyPr rtlCol="0" anchor="ctr"/>
                  <a:lstStyle/>
                  <a:p>
                    <a:endParaRPr lang="en-GB" dirty="0"/>
                  </a:p>
                </p:txBody>
              </p:sp>
              <p:sp>
                <p:nvSpPr>
                  <p:cNvPr id="262" name="Freihandform: Form 348">
                    <a:extLst>
                      <a:ext uri="{FF2B5EF4-FFF2-40B4-BE49-F238E27FC236}">
                        <a16:creationId xmlns:a16="http://schemas.microsoft.com/office/drawing/2014/main" id="{EA0C24BB-9C42-494F-ADE0-2295E3520D4B}"/>
                      </a:ext>
                    </a:extLst>
                  </p:cNvPr>
                  <p:cNvSpPr/>
                  <p:nvPr/>
                </p:nvSpPr>
                <p:spPr>
                  <a:xfrm>
                    <a:off x="2758849" y="4394511"/>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grpSp>
            <p:sp>
              <p:nvSpPr>
                <p:cNvPr id="257" name="Freihandform: Form 349">
                  <a:extLst>
                    <a:ext uri="{FF2B5EF4-FFF2-40B4-BE49-F238E27FC236}">
                      <a16:creationId xmlns:a16="http://schemas.microsoft.com/office/drawing/2014/main" id="{271CA8FB-8F1A-4D01-B6B5-63E90B5D74AE}"/>
                    </a:ext>
                  </a:extLst>
                </p:cNvPr>
                <p:cNvSpPr/>
                <p:nvPr/>
              </p:nvSpPr>
              <p:spPr>
                <a:xfrm>
                  <a:off x="2758849" y="4419542"/>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sp>
              <p:nvSpPr>
                <p:cNvPr id="258" name="Freihandform: Form 350">
                  <a:extLst>
                    <a:ext uri="{FF2B5EF4-FFF2-40B4-BE49-F238E27FC236}">
                      <a16:creationId xmlns:a16="http://schemas.microsoft.com/office/drawing/2014/main" id="{AB43890B-C7A5-4496-A13C-9E4D1B496043}"/>
                    </a:ext>
                  </a:extLst>
                </p:cNvPr>
                <p:cNvSpPr/>
                <p:nvPr/>
              </p:nvSpPr>
              <p:spPr>
                <a:xfrm>
                  <a:off x="2758849" y="4444590"/>
                  <a:ext cx="11943" cy="12811"/>
                </a:xfrm>
                <a:custGeom>
                  <a:avLst/>
                  <a:gdLst>
                    <a:gd name="connsiteX0" fmla="*/ 11944 w 11943"/>
                    <a:gd name="connsiteY0" fmla="*/ 12812 h 12811"/>
                    <a:gd name="connsiteX1" fmla="*/ 0 w 11943"/>
                    <a:gd name="connsiteY1" fmla="*/ 12812 h 12811"/>
                    <a:gd name="connsiteX2" fmla="*/ 0 w 11943"/>
                    <a:gd name="connsiteY2" fmla="*/ 868 h 12811"/>
                    <a:gd name="connsiteX3" fmla="*/ 11944 w 11943"/>
                    <a:gd name="connsiteY3" fmla="*/ 0 h 12811"/>
                  </a:gdLst>
                  <a:ahLst/>
                  <a:cxnLst>
                    <a:cxn ang="0">
                      <a:pos x="connsiteX0" y="connsiteY0"/>
                    </a:cxn>
                    <a:cxn ang="0">
                      <a:pos x="connsiteX1" y="connsiteY1"/>
                    </a:cxn>
                    <a:cxn ang="0">
                      <a:pos x="connsiteX2" y="connsiteY2"/>
                    </a:cxn>
                    <a:cxn ang="0">
                      <a:pos x="connsiteX3" y="connsiteY3"/>
                    </a:cxn>
                  </a:cxnLst>
                  <a:rect l="l" t="t" r="r" b="b"/>
                  <a:pathLst>
                    <a:path w="11943" h="12811">
                      <a:moveTo>
                        <a:pt x="11944" y="12812"/>
                      </a:moveTo>
                      <a:lnTo>
                        <a:pt x="0" y="12812"/>
                      </a:lnTo>
                      <a:lnTo>
                        <a:pt x="0" y="868"/>
                      </a:lnTo>
                      <a:lnTo>
                        <a:pt x="11944" y="0"/>
                      </a:lnTo>
                      <a:close/>
                    </a:path>
                  </a:pathLst>
                </a:custGeom>
                <a:solidFill>
                  <a:schemeClr val="tx2"/>
                </a:solidFill>
                <a:ln w="858" cap="flat">
                  <a:noFill/>
                  <a:prstDash val="solid"/>
                  <a:miter/>
                </a:ln>
              </p:spPr>
              <p:txBody>
                <a:bodyPr rtlCol="0" anchor="ctr"/>
                <a:lstStyle/>
                <a:p>
                  <a:endParaRPr lang="en-GB" dirty="0"/>
                </a:p>
              </p:txBody>
            </p:sp>
            <p:sp>
              <p:nvSpPr>
                <p:cNvPr id="259" name="Freihandform: Form 351">
                  <a:extLst>
                    <a:ext uri="{FF2B5EF4-FFF2-40B4-BE49-F238E27FC236}">
                      <a16:creationId xmlns:a16="http://schemas.microsoft.com/office/drawing/2014/main" id="{B5321338-490D-4204-AC27-9962EA192A83}"/>
                    </a:ext>
                  </a:extLst>
                </p:cNvPr>
                <p:cNvSpPr/>
                <p:nvPr/>
              </p:nvSpPr>
              <p:spPr>
                <a:xfrm>
                  <a:off x="2758849" y="4469630"/>
                  <a:ext cx="11943" cy="33638"/>
                </a:xfrm>
                <a:custGeom>
                  <a:avLst/>
                  <a:gdLst>
                    <a:gd name="connsiteX0" fmla="*/ 0 w 11943"/>
                    <a:gd name="connsiteY0" fmla="*/ 0 h 33638"/>
                    <a:gd name="connsiteX1" fmla="*/ 11944 w 11943"/>
                    <a:gd name="connsiteY1" fmla="*/ 0 h 33638"/>
                    <a:gd name="connsiteX2" fmla="*/ 11944 w 11943"/>
                    <a:gd name="connsiteY2" fmla="*/ 33638 h 33638"/>
                    <a:gd name="connsiteX3" fmla="*/ 0 w 11943"/>
                    <a:gd name="connsiteY3" fmla="*/ 33638 h 33638"/>
                  </a:gdLst>
                  <a:ahLst/>
                  <a:cxnLst>
                    <a:cxn ang="0">
                      <a:pos x="connsiteX0" y="connsiteY0"/>
                    </a:cxn>
                    <a:cxn ang="0">
                      <a:pos x="connsiteX1" y="connsiteY1"/>
                    </a:cxn>
                    <a:cxn ang="0">
                      <a:pos x="connsiteX2" y="connsiteY2"/>
                    </a:cxn>
                    <a:cxn ang="0">
                      <a:pos x="connsiteX3" y="connsiteY3"/>
                    </a:cxn>
                  </a:cxnLst>
                  <a:rect l="l" t="t" r="r" b="b"/>
                  <a:pathLst>
                    <a:path w="11943" h="33638">
                      <a:moveTo>
                        <a:pt x="0" y="0"/>
                      </a:moveTo>
                      <a:lnTo>
                        <a:pt x="11944" y="0"/>
                      </a:lnTo>
                      <a:lnTo>
                        <a:pt x="11944" y="33638"/>
                      </a:lnTo>
                      <a:lnTo>
                        <a:pt x="0" y="33638"/>
                      </a:lnTo>
                      <a:close/>
                    </a:path>
                  </a:pathLst>
                </a:custGeom>
                <a:solidFill>
                  <a:schemeClr val="tx2"/>
                </a:solidFill>
                <a:ln w="858" cap="flat">
                  <a:noFill/>
                  <a:prstDash val="solid"/>
                  <a:miter/>
                </a:ln>
              </p:spPr>
              <p:txBody>
                <a:bodyPr rtlCol="0" anchor="ctr"/>
                <a:lstStyle/>
                <a:p>
                  <a:endParaRPr lang="en-GB" dirty="0"/>
                </a:p>
              </p:txBody>
            </p:sp>
            <p:sp>
              <p:nvSpPr>
                <p:cNvPr id="260" name="Freihandform: Form 352">
                  <a:extLst>
                    <a:ext uri="{FF2B5EF4-FFF2-40B4-BE49-F238E27FC236}">
                      <a16:creationId xmlns:a16="http://schemas.microsoft.com/office/drawing/2014/main" id="{CA9C45E2-94DD-48DC-92CF-13BEEA4F4ECD}"/>
                    </a:ext>
                  </a:extLst>
                </p:cNvPr>
                <p:cNvSpPr/>
                <p:nvPr/>
              </p:nvSpPr>
              <p:spPr>
                <a:xfrm>
                  <a:off x="2758849" y="4494669"/>
                  <a:ext cx="11943" cy="12820"/>
                </a:xfrm>
                <a:custGeom>
                  <a:avLst/>
                  <a:gdLst>
                    <a:gd name="connsiteX0" fmla="*/ 11944 w 11943"/>
                    <a:gd name="connsiteY0" fmla="*/ 12821 h 12820"/>
                    <a:gd name="connsiteX1" fmla="*/ 0 w 11943"/>
                    <a:gd name="connsiteY1" fmla="*/ 12821 h 12820"/>
                    <a:gd name="connsiteX2" fmla="*/ 0 w 11943"/>
                    <a:gd name="connsiteY2" fmla="*/ 868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68"/>
                      </a:lnTo>
                      <a:lnTo>
                        <a:pt x="11944" y="0"/>
                      </a:lnTo>
                      <a:close/>
                    </a:path>
                  </a:pathLst>
                </a:custGeom>
                <a:solidFill>
                  <a:schemeClr val="tx2"/>
                </a:solidFill>
                <a:ln w="858" cap="flat">
                  <a:noFill/>
                  <a:prstDash val="solid"/>
                  <a:miter/>
                </a:ln>
              </p:spPr>
              <p:txBody>
                <a:bodyPr rtlCol="0" anchor="ctr"/>
                <a:lstStyle/>
                <a:p>
                  <a:endParaRPr lang="en-GB" dirty="0"/>
                </a:p>
              </p:txBody>
            </p:sp>
          </p:grpSp>
          <p:grpSp>
            <p:nvGrpSpPr>
              <p:cNvPr id="222" name="Grafik 7">
                <a:extLst>
                  <a:ext uri="{FF2B5EF4-FFF2-40B4-BE49-F238E27FC236}">
                    <a16:creationId xmlns:a16="http://schemas.microsoft.com/office/drawing/2014/main" id="{06A003C1-8695-49D2-A21B-F7C04C31D092}"/>
                  </a:ext>
                </a:extLst>
              </p:cNvPr>
              <p:cNvGrpSpPr/>
              <p:nvPr/>
            </p:nvGrpSpPr>
            <p:grpSpPr>
              <a:xfrm>
                <a:off x="2628690" y="4347391"/>
                <a:ext cx="11943" cy="130356"/>
                <a:chOff x="2628690" y="4347391"/>
                <a:chExt cx="11943" cy="130356"/>
              </a:xfrm>
              <a:solidFill>
                <a:srgbClr val="4D4E53"/>
              </a:solidFill>
            </p:grpSpPr>
            <p:sp>
              <p:nvSpPr>
                <p:cNvPr id="252" name="Freihandform: Form 354">
                  <a:extLst>
                    <a:ext uri="{FF2B5EF4-FFF2-40B4-BE49-F238E27FC236}">
                      <a16:creationId xmlns:a16="http://schemas.microsoft.com/office/drawing/2014/main" id="{49755CB8-73A3-4CF9-BE92-60554E4D0AE7}"/>
                    </a:ext>
                  </a:extLst>
                </p:cNvPr>
                <p:cNvSpPr/>
                <p:nvPr/>
              </p:nvSpPr>
              <p:spPr>
                <a:xfrm>
                  <a:off x="2628691" y="4347391"/>
                  <a:ext cx="11943" cy="18960"/>
                </a:xfrm>
                <a:custGeom>
                  <a:avLst/>
                  <a:gdLst>
                    <a:gd name="connsiteX0" fmla="*/ 0 w 11943"/>
                    <a:gd name="connsiteY0" fmla="*/ 0 h 18960"/>
                    <a:gd name="connsiteX1" fmla="*/ 11943 w 11943"/>
                    <a:gd name="connsiteY1" fmla="*/ 0 h 18960"/>
                    <a:gd name="connsiteX2" fmla="*/ 11943 w 11943"/>
                    <a:gd name="connsiteY2" fmla="*/ 18960 h 18960"/>
                    <a:gd name="connsiteX3" fmla="*/ 0 w 11943"/>
                    <a:gd name="connsiteY3" fmla="*/ 18960 h 18960"/>
                  </a:gdLst>
                  <a:ahLst/>
                  <a:cxnLst>
                    <a:cxn ang="0">
                      <a:pos x="connsiteX0" y="connsiteY0"/>
                    </a:cxn>
                    <a:cxn ang="0">
                      <a:pos x="connsiteX1" y="connsiteY1"/>
                    </a:cxn>
                    <a:cxn ang="0">
                      <a:pos x="connsiteX2" y="connsiteY2"/>
                    </a:cxn>
                    <a:cxn ang="0">
                      <a:pos x="connsiteX3" y="connsiteY3"/>
                    </a:cxn>
                  </a:cxnLst>
                  <a:rect l="l" t="t" r="r" b="b"/>
                  <a:pathLst>
                    <a:path w="11943" h="18960">
                      <a:moveTo>
                        <a:pt x="0" y="0"/>
                      </a:moveTo>
                      <a:lnTo>
                        <a:pt x="11943" y="0"/>
                      </a:lnTo>
                      <a:lnTo>
                        <a:pt x="11943" y="18960"/>
                      </a:lnTo>
                      <a:lnTo>
                        <a:pt x="0" y="18960"/>
                      </a:lnTo>
                      <a:close/>
                    </a:path>
                  </a:pathLst>
                </a:custGeom>
                <a:solidFill>
                  <a:schemeClr val="tx2"/>
                </a:solidFill>
                <a:ln w="858" cap="flat">
                  <a:noFill/>
                  <a:prstDash val="solid"/>
                  <a:miter/>
                </a:ln>
              </p:spPr>
              <p:txBody>
                <a:bodyPr rtlCol="0" anchor="ctr"/>
                <a:lstStyle/>
                <a:p>
                  <a:endParaRPr lang="en-GB" dirty="0"/>
                </a:p>
              </p:txBody>
            </p:sp>
            <p:sp>
              <p:nvSpPr>
                <p:cNvPr id="253" name="Freihandform: Form 355">
                  <a:extLst>
                    <a:ext uri="{FF2B5EF4-FFF2-40B4-BE49-F238E27FC236}">
                      <a16:creationId xmlns:a16="http://schemas.microsoft.com/office/drawing/2014/main" id="{D7F85E9C-729E-4007-80BE-42396BA31FF0}"/>
                    </a:ext>
                  </a:extLst>
                </p:cNvPr>
                <p:cNvSpPr/>
                <p:nvPr/>
              </p:nvSpPr>
              <p:spPr>
                <a:xfrm>
                  <a:off x="2628690" y="4389808"/>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sp>
              <p:nvSpPr>
                <p:cNvPr id="254" name="Freihandform: Form 356">
                  <a:extLst>
                    <a:ext uri="{FF2B5EF4-FFF2-40B4-BE49-F238E27FC236}">
                      <a16:creationId xmlns:a16="http://schemas.microsoft.com/office/drawing/2014/main" id="{54B103BC-30A0-46DA-A061-0884A1EEC2E5}"/>
                    </a:ext>
                  </a:extLst>
                </p:cNvPr>
                <p:cNvSpPr/>
                <p:nvPr/>
              </p:nvSpPr>
              <p:spPr>
                <a:xfrm>
                  <a:off x="2628691" y="4414856"/>
                  <a:ext cx="11943" cy="39407"/>
                </a:xfrm>
                <a:custGeom>
                  <a:avLst/>
                  <a:gdLst>
                    <a:gd name="connsiteX0" fmla="*/ 0 w 11943"/>
                    <a:gd name="connsiteY0" fmla="*/ 0 h 39407"/>
                    <a:gd name="connsiteX1" fmla="*/ 11943 w 11943"/>
                    <a:gd name="connsiteY1" fmla="*/ 0 h 39407"/>
                    <a:gd name="connsiteX2" fmla="*/ 11943 w 11943"/>
                    <a:gd name="connsiteY2" fmla="*/ 39408 h 39407"/>
                    <a:gd name="connsiteX3" fmla="*/ 0 w 11943"/>
                    <a:gd name="connsiteY3" fmla="*/ 39408 h 39407"/>
                  </a:gdLst>
                  <a:ahLst/>
                  <a:cxnLst>
                    <a:cxn ang="0">
                      <a:pos x="connsiteX0" y="connsiteY0"/>
                    </a:cxn>
                    <a:cxn ang="0">
                      <a:pos x="connsiteX1" y="connsiteY1"/>
                    </a:cxn>
                    <a:cxn ang="0">
                      <a:pos x="connsiteX2" y="connsiteY2"/>
                    </a:cxn>
                    <a:cxn ang="0">
                      <a:pos x="connsiteX3" y="connsiteY3"/>
                    </a:cxn>
                  </a:cxnLst>
                  <a:rect l="l" t="t" r="r" b="b"/>
                  <a:pathLst>
                    <a:path w="11943" h="39407">
                      <a:moveTo>
                        <a:pt x="0" y="0"/>
                      </a:moveTo>
                      <a:lnTo>
                        <a:pt x="11943" y="0"/>
                      </a:lnTo>
                      <a:lnTo>
                        <a:pt x="11943" y="39408"/>
                      </a:lnTo>
                      <a:lnTo>
                        <a:pt x="0" y="39408"/>
                      </a:lnTo>
                      <a:close/>
                    </a:path>
                  </a:pathLst>
                </a:custGeom>
                <a:solidFill>
                  <a:schemeClr val="tx2"/>
                </a:solidFill>
                <a:ln w="858" cap="flat">
                  <a:noFill/>
                  <a:prstDash val="solid"/>
                  <a:miter/>
                </a:ln>
              </p:spPr>
              <p:txBody>
                <a:bodyPr rtlCol="0" anchor="ctr"/>
                <a:lstStyle/>
                <a:p>
                  <a:endParaRPr lang="en-GB" dirty="0"/>
                </a:p>
              </p:txBody>
            </p:sp>
            <p:sp>
              <p:nvSpPr>
                <p:cNvPr id="255" name="Freihandform: Form 357">
                  <a:extLst>
                    <a:ext uri="{FF2B5EF4-FFF2-40B4-BE49-F238E27FC236}">
                      <a16:creationId xmlns:a16="http://schemas.microsoft.com/office/drawing/2014/main" id="{1E58F38C-4C37-4B81-943E-BC336F41AB5D}"/>
                    </a:ext>
                  </a:extLst>
                </p:cNvPr>
                <p:cNvSpPr/>
                <p:nvPr/>
              </p:nvSpPr>
              <p:spPr>
                <a:xfrm>
                  <a:off x="2628690" y="4464926"/>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grpSp>
          <p:grpSp>
            <p:nvGrpSpPr>
              <p:cNvPr id="223" name="Grafik 7">
                <a:extLst>
                  <a:ext uri="{FF2B5EF4-FFF2-40B4-BE49-F238E27FC236}">
                    <a16:creationId xmlns:a16="http://schemas.microsoft.com/office/drawing/2014/main" id="{012F1EF8-161F-42E6-8998-69B9CA5B665B}"/>
                  </a:ext>
                </a:extLst>
              </p:cNvPr>
              <p:cNvGrpSpPr/>
              <p:nvPr/>
            </p:nvGrpSpPr>
            <p:grpSpPr>
              <a:xfrm>
                <a:off x="2791154" y="4360013"/>
                <a:ext cx="11943" cy="122436"/>
                <a:chOff x="2791154" y="4360013"/>
                <a:chExt cx="11943" cy="122436"/>
              </a:xfrm>
              <a:solidFill>
                <a:srgbClr val="4D4E53"/>
              </a:solidFill>
            </p:grpSpPr>
            <p:grpSp>
              <p:nvGrpSpPr>
                <p:cNvPr id="246" name="Grafik 7">
                  <a:extLst>
                    <a:ext uri="{FF2B5EF4-FFF2-40B4-BE49-F238E27FC236}">
                      <a16:creationId xmlns:a16="http://schemas.microsoft.com/office/drawing/2014/main" id="{23091500-8C72-4822-9758-22D8C1DCAE97}"/>
                    </a:ext>
                  </a:extLst>
                </p:cNvPr>
                <p:cNvGrpSpPr/>
                <p:nvPr/>
              </p:nvGrpSpPr>
              <p:grpSpPr>
                <a:xfrm>
                  <a:off x="2791154" y="4360013"/>
                  <a:ext cx="11943" cy="47318"/>
                  <a:chOff x="2791154" y="4360013"/>
                  <a:chExt cx="11943" cy="47318"/>
                </a:xfrm>
                <a:solidFill>
                  <a:srgbClr val="4D4E53"/>
                </a:solidFill>
              </p:grpSpPr>
              <p:sp>
                <p:nvSpPr>
                  <p:cNvPr id="250" name="Freihandform: Form 360">
                    <a:extLst>
                      <a:ext uri="{FF2B5EF4-FFF2-40B4-BE49-F238E27FC236}">
                        <a16:creationId xmlns:a16="http://schemas.microsoft.com/office/drawing/2014/main" id="{CAA72061-0BA2-4E9D-8988-06729ACF161E}"/>
                      </a:ext>
                    </a:extLst>
                  </p:cNvPr>
                  <p:cNvSpPr/>
                  <p:nvPr/>
                </p:nvSpPr>
                <p:spPr>
                  <a:xfrm>
                    <a:off x="2791154" y="4360013"/>
                    <a:ext cx="11943" cy="23078"/>
                  </a:xfrm>
                  <a:custGeom>
                    <a:avLst/>
                    <a:gdLst>
                      <a:gd name="connsiteX0" fmla="*/ 0 w 11943"/>
                      <a:gd name="connsiteY0" fmla="*/ 0 h 23078"/>
                      <a:gd name="connsiteX1" fmla="*/ 11944 w 11943"/>
                      <a:gd name="connsiteY1" fmla="*/ 0 h 23078"/>
                      <a:gd name="connsiteX2" fmla="*/ 11944 w 11943"/>
                      <a:gd name="connsiteY2" fmla="*/ 23079 h 23078"/>
                      <a:gd name="connsiteX3" fmla="*/ 0 w 11943"/>
                      <a:gd name="connsiteY3" fmla="*/ 23079 h 23078"/>
                    </a:gdLst>
                    <a:ahLst/>
                    <a:cxnLst>
                      <a:cxn ang="0">
                        <a:pos x="connsiteX0" y="connsiteY0"/>
                      </a:cxn>
                      <a:cxn ang="0">
                        <a:pos x="connsiteX1" y="connsiteY1"/>
                      </a:cxn>
                      <a:cxn ang="0">
                        <a:pos x="connsiteX2" y="connsiteY2"/>
                      </a:cxn>
                      <a:cxn ang="0">
                        <a:pos x="connsiteX3" y="connsiteY3"/>
                      </a:cxn>
                    </a:cxnLst>
                    <a:rect l="l" t="t" r="r" b="b"/>
                    <a:pathLst>
                      <a:path w="11943" h="23078">
                        <a:moveTo>
                          <a:pt x="0" y="0"/>
                        </a:moveTo>
                        <a:lnTo>
                          <a:pt x="11944" y="0"/>
                        </a:lnTo>
                        <a:lnTo>
                          <a:pt x="11944" y="23079"/>
                        </a:lnTo>
                        <a:lnTo>
                          <a:pt x="0" y="23079"/>
                        </a:lnTo>
                        <a:close/>
                      </a:path>
                    </a:pathLst>
                  </a:custGeom>
                  <a:solidFill>
                    <a:schemeClr val="tx2"/>
                  </a:solidFill>
                  <a:ln w="858" cap="flat">
                    <a:noFill/>
                    <a:prstDash val="solid"/>
                    <a:miter/>
                  </a:ln>
                </p:spPr>
                <p:txBody>
                  <a:bodyPr rtlCol="0" anchor="ctr"/>
                  <a:lstStyle/>
                  <a:p>
                    <a:endParaRPr lang="en-GB" dirty="0"/>
                  </a:p>
                </p:txBody>
              </p:sp>
              <p:sp>
                <p:nvSpPr>
                  <p:cNvPr id="251" name="Freihandform: Form 361">
                    <a:extLst>
                      <a:ext uri="{FF2B5EF4-FFF2-40B4-BE49-F238E27FC236}">
                        <a16:creationId xmlns:a16="http://schemas.microsoft.com/office/drawing/2014/main" id="{819C116B-8755-4F3C-BF36-BD815B56F77F}"/>
                      </a:ext>
                    </a:extLst>
                  </p:cNvPr>
                  <p:cNvSpPr/>
                  <p:nvPr/>
                </p:nvSpPr>
                <p:spPr>
                  <a:xfrm>
                    <a:off x="2791154" y="4394511"/>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grpSp>
            <p:sp>
              <p:nvSpPr>
                <p:cNvPr id="247" name="Freihandform: Form 362">
                  <a:extLst>
                    <a:ext uri="{FF2B5EF4-FFF2-40B4-BE49-F238E27FC236}">
                      <a16:creationId xmlns:a16="http://schemas.microsoft.com/office/drawing/2014/main" id="{70759511-23EA-43B5-93A1-18B754C4081F}"/>
                    </a:ext>
                  </a:extLst>
                </p:cNvPr>
                <p:cNvSpPr/>
                <p:nvPr/>
              </p:nvSpPr>
              <p:spPr>
                <a:xfrm>
                  <a:off x="2791154" y="4419542"/>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sp>
              <p:nvSpPr>
                <p:cNvPr id="248" name="Freihandform: Form 363">
                  <a:extLst>
                    <a:ext uri="{FF2B5EF4-FFF2-40B4-BE49-F238E27FC236}">
                      <a16:creationId xmlns:a16="http://schemas.microsoft.com/office/drawing/2014/main" id="{99304758-A628-48AD-9B7D-6355EF2F31E5}"/>
                    </a:ext>
                  </a:extLst>
                </p:cNvPr>
                <p:cNvSpPr/>
                <p:nvPr/>
              </p:nvSpPr>
              <p:spPr>
                <a:xfrm>
                  <a:off x="2791154" y="4419542"/>
                  <a:ext cx="11943" cy="37860"/>
                </a:xfrm>
                <a:custGeom>
                  <a:avLst/>
                  <a:gdLst>
                    <a:gd name="connsiteX0" fmla="*/ 0 w 11943"/>
                    <a:gd name="connsiteY0" fmla="*/ 0 h 37860"/>
                    <a:gd name="connsiteX1" fmla="*/ 11944 w 11943"/>
                    <a:gd name="connsiteY1" fmla="*/ 0 h 37860"/>
                    <a:gd name="connsiteX2" fmla="*/ 11944 w 11943"/>
                    <a:gd name="connsiteY2" fmla="*/ 37860 h 37860"/>
                    <a:gd name="connsiteX3" fmla="*/ 0 w 11943"/>
                    <a:gd name="connsiteY3" fmla="*/ 37860 h 37860"/>
                  </a:gdLst>
                  <a:ahLst/>
                  <a:cxnLst>
                    <a:cxn ang="0">
                      <a:pos x="connsiteX0" y="connsiteY0"/>
                    </a:cxn>
                    <a:cxn ang="0">
                      <a:pos x="connsiteX1" y="connsiteY1"/>
                    </a:cxn>
                    <a:cxn ang="0">
                      <a:pos x="connsiteX2" y="connsiteY2"/>
                    </a:cxn>
                    <a:cxn ang="0">
                      <a:pos x="connsiteX3" y="connsiteY3"/>
                    </a:cxn>
                  </a:cxnLst>
                  <a:rect l="l" t="t" r="r" b="b"/>
                  <a:pathLst>
                    <a:path w="11943" h="37860">
                      <a:moveTo>
                        <a:pt x="0" y="0"/>
                      </a:moveTo>
                      <a:lnTo>
                        <a:pt x="11944" y="0"/>
                      </a:lnTo>
                      <a:lnTo>
                        <a:pt x="11944" y="37860"/>
                      </a:lnTo>
                      <a:lnTo>
                        <a:pt x="0" y="37860"/>
                      </a:lnTo>
                      <a:close/>
                    </a:path>
                  </a:pathLst>
                </a:custGeom>
                <a:solidFill>
                  <a:schemeClr val="tx2"/>
                </a:solidFill>
                <a:ln w="858" cap="flat">
                  <a:noFill/>
                  <a:prstDash val="solid"/>
                  <a:miter/>
                </a:ln>
              </p:spPr>
              <p:txBody>
                <a:bodyPr rtlCol="0" anchor="ctr"/>
                <a:lstStyle/>
                <a:p>
                  <a:endParaRPr lang="en-GB" dirty="0"/>
                </a:p>
              </p:txBody>
            </p:sp>
            <p:sp>
              <p:nvSpPr>
                <p:cNvPr id="249" name="Freihandform: Form 364">
                  <a:extLst>
                    <a:ext uri="{FF2B5EF4-FFF2-40B4-BE49-F238E27FC236}">
                      <a16:creationId xmlns:a16="http://schemas.microsoft.com/office/drawing/2014/main" id="{C940DD90-C7A2-461E-B51F-11320143AAB5}"/>
                    </a:ext>
                  </a:extLst>
                </p:cNvPr>
                <p:cNvSpPr/>
                <p:nvPr/>
              </p:nvSpPr>
              <p:spPr>
                <a:xfrm>
                  <a:off x="2791154" y="4469630"/>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grpSp>
          <p:grpSp>
            <p:nvGrpSpPr>
              <p:cNvPr id="224" name="Grafik 7">
                <a:extLst>
                  <a:ext uri="{FF2B5EF4-FFF2-40B4-BE49-F238E27FC236}">
                    <a16:creationId xmlns:a16="http://schemas.microsoft.com/office/drawing/2014/main" id="{E676DA6F-DD41-4245-9A7B-D087A8CE254B}"/>
                  </a:ext>
                </a:extLst>
              </p:cNvPr>
              <p:cNvGrpSpPr/>
              <p:nvPr/>
            </p:nvGrpSpPr>
            <p:grpSpPr>
              <a:xfrm>
                <a:off x="2889128" y="4332420"/>
                <a:ext cx="11943" cy="122428"/>
                <a:chOff x="2889128" y="4332420"/>
                <a:chExt cx="11943" cy="122428"/>
              </a:xfrm>
              <a:solidFill>
                <a:srgbClr val="4D4E53"/>
              </a:solidFill>
            </p:grpSpPr>
            <p:grpSp>
              <p:nvGrpSpPr>
                <p:cNvPr id="241" name="Grafik 7">
                  <a:extLst>
                    <a:ext uri="{FF2B5EF4-FFF2-40B4-BE49-F238E27FC236}">
                      <a16:creationId xmlns:a16="http://schemas.microsoft.com/office/drawing/2014/main" id="{0D323402-53B9-4557-9D1A-20F1912D659D}"/>
                    </a:ext>
                  </a:extLst>
                </p:cNvPr>
                <p:cNvGrpSpPr/>
                <p:nvPr/>
              </p:nvGrpSpPr>
              <p:grpSpPr>
                <a:xfrm>
                  <a:off x="2889128" y="4332420"/>
                  <a:ext cx="11943" cy="47310"/>
                  <a:chOff x="2889128" y="4332420"/>
                  <a:chExt cx="11943" cy="47310"/>
                </a:xfrm>
                <a:solidFill>
                  <a:srgbClr val="4D4E53"/>
                </a:solidFill>
              </p:grpSpPr>
              <p:sp>
                <p:nvSpPr>
                  <p:cNvPr id="244" name="Freihandform: Form 367">
                    <a:extLst>
                      <a:ext uri="{FF2B5EF4-FFF2-40B4-BE49-F238E27FC236}">
                        <a16:creationId xmlns:a16="http://schemas.microsoft.com/office/drawing/2014/main" id="{3410A854-C76D-4921-9A14-B8D4D3F8DEEE}"/>
                      </a:ext>
                    </a:extLst>
                  </p:cNvPr>
                  <p:cNvSpPr/>
                  <p:nvPr/>
                </p:nvSpPr>
                <p:spPr>
                  <a:xfrm>
                    <a:off x="2889128" y="4332420"/>
                    <a:ext cx="11943" cy="23078"/>
                  </a:xfrm>
                  <a:custGeom>
                    <a:avLst/>
                    <a:gdLst>
                      <a:gd name="connsiteX0" fmla="*/ 0 w 11943"/>
                      <a:gd name="connsiteY0" fmla="*/ 0 h 23078"/>
                      <a:gd name="connsiteX1" fmla="*/ 11944 w 11943"/>
                      <a:gd name="connsiteY1" fmla="*/ 0 h 23078"/>
                      <a:gd name="connsiteX2" fmla="*/ 11944 w 11943"/>
                      <a:gd name="connsiteY2" fmla="*/ 23079 h 23078"/>
                      <a:gd name="connsiteX3" fmla="*/ 0 w 11943"/>
                      <a:gd name="connsiteY3" fmla="*/ 23079 h 23078"/>
                    </a:gdLst>
                    <a:ahLst/>
                    <a:cxnLst>
                      <a:cxn ang="0">
                        <a:pos x="connsiteX0" y="connsiteY0"/>
                      </a:cxn>
                      <a:cxn ang="0">
                        <a:pos x="connsiteX1" y="connsiteY1"/>
                      </a:cxn>
                      <a:cxn ang="0">
                        <a:pos x="connsiteX2" y="connsiteY2"/>
                      </a:cxn>
                      <a:cxn ang="0">
                        <a:pos x="connsiteX3" y="connsiteY3"/>
                      </a:cxn>
                    </a:cxnLst>
                    <a:rect l="l" t="t" r="r" b="b"/>
                    <a:pathLst>
                      <a:path w="11943" h="23078">
                        <a:moveTo>
                          <a:pt x="0" y="0"/>
                        </a:moveTo>
                        <a:lnTo>
                          <a:pt x="11944" y="0"/>
                        </a:lnTo>
                        <a:lnTo>
                          <a:pt x="11944" y="23079"/>
                        </a:lnTo>
                        <a:lnTo>
                          <a:pt x="0" y="23079"/>
                        </a:lnTo>
                        <a:close/>
                      </a:path>
                    </a:pathLst>
                  </a:custGeom>
                  <a:solidFill>
                    <a:schemeClr val="tx2"/>
                  </a:solidFill>
                  <a:ln w="858" cap="flat">
                    <a:noFill/>
                    <a:prstDash val="solid"/>
                    <a:miter/>
                  </a:ln>
                </p:spPr>
                <p:txBody>
                  <a:bodyPr rtlCol="0" anchor="ctr"/>
                  <a:lstStyle/>
                  <a:p>
                    <a:endParaRPr lang="en-GB" dirty="0"/>
                  </a:p>
                </p:txBody>
              </p:sp>
              <p:sp>
                <p:nvSpPr>
                  <p:cNvPr id="245" name="Freihandform: Form 368">
                    <a:extLst>
                      <a:ext uri="{FF2B5EF4-FFF2-40B4-BE49-F238E27FC236}">
                        <a16:creationId xmlns:a16="http://schemas.microsoft.com/office/drawing/2014/main" id="{480D49AC-E8A1-4C81-A5D3-D9E225E2F2FE}"/>
                      </a:ext>
                    </a:extLst>
                  </p:cNvPr>
                  <p:cNvSpPr/>
                  <p:nvPr/>
                </p:nvSpPr>
                <p:spPr>
                  <a:xfrm>
                    <a:off x="2889128" y="4366910"/>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grpSp>
            <p:sp>
              <p:nvSpPr>
                <p:cNvPr id="242" name="Freihandform: Form 369">
                  <a:extLst>
                    <a:ext uri="{FF2B5EF4-FFF2-40B4-BE49-F238E27FC236}">
                      <a16:creationId xmlns:a16="http://schemas.microsoft.com/office/drawing/2014/main" id="{9E32BC96-0311-403D-902E-AED2F98F4800}"/>
                    </a:ext>
                  </a:extLst>
                </p:cNvPr>
                <p:cNvSpPr/>
                <p:nvPr/>
              </p:nvSpPr>
              <p:spPr>
                <a:xfrm>
                  <a:off x="2889128" y="4391958"/>
                  <a:ext cx="11943" cy="12803"/>
                </a:xfrm>
                <a:custGeom>
                  <a:avLst/>
                  <a:gdLst>
                    <a:gd name="connsiteX0" fmla="*/ 11944 w 11943"/>
                    <a:gd name="connsiteY0" fmla="*/ 12803 h 12803"/>
                    <a:gd name="connsiteX1" fmla="*/ 0 w 11943"/>
                    <a:gd name="connsiteY1" fmla="*/ 12803 h 12803"/>
                    <a:gd name="connsiteX2" fmla="*/ 0 w 11943"/>
                    <a:gd name="connsiteY2" fmla="*/ 860 h 12803"/>
                    <a:gd name="connsiteX3" fmla="*/ 11944 w 11943"/>
                    <a:gd name="connsiteY3" fmla="*/ 0 h 12803"/>
                  </a:gdLst>
                  <a:ahLst/>
                  <a:cxnLst>
                    <a:cxn ang="0">
                      <a:pos x="connsiteX0" y="connsiteY0"/>
                    </a:cxn>
                    <a:cxn ang="0">
                      <a:pos x="connsiteX1" y="connsiteY1"/>
                    </a:cxn>
                    <a:cxn ang="0">
                      <a:pos x="connsiteX2" y="connsiteY2"/>
                    </a:cxn>
                    <a:cxn ang="0">
                      <a:pos x="connsiteX3" y="connsiteY3"/>
                    </a:cxn>
                  </a:cxnLst>
                  <a:rect l="l" t="t" r="r" b="b"/>
                  <a:pathLst>
                    <a:path w="11943" h="12803">
                      <a:moveTo>
                        <a:pt x="11944" y="12803"/>
                      </a:moveTo>
                      <a:lnTo>
                        <a:pt x="0" y="12803"/>
                      </a:lnTo>
                      <a:lnTo>
                        <a:pt x="0" y="860"/>
                      </a:lnTo>
                      <a:lnTo>
                        <a:pt x="11944" y="0"/>
                      </a:lnTo>
                      <a:close/>
                    </a:path>
                  </a:pathLst>
                </a:custGeom>
                <a:solidFill>
                  <a:schemeClr val="tx2"/>
                </a:solidFill>
                <a:ln w="858" cap="flat">
                  <a:noFill/>
                  <a:prstDash val="solid"/>
                  <a:miter/>
                </a:ln>
              </p:spPr>
              <p:txBody>
                <a:bodyPr rtlCol="0" anchor="ctr"/>
                <a:lstStyle/>
                <a:p>
                  <a:endParaRPr lang="en-GB" dirty="0"/>
                </a:p>
              </p:txBody>
            </p:sp>
            <p:sp>
              <p:nvSpPr>
                <p:cNvPr id="243" name="Freihandform: Form 370">
                  <a:extLst>
                    <a:ext uri="{FF2B5EF4-FFF2-40B4-BE49-F238E27FC236}">
                      <a16:creationId xmlns:a16="http://schemas.microsoft.com/office/drawing/2014/main" id="{4F27A216-CA4F-4078-AE71-49A0334798D6}"/>
                    </a:ext>
                  </a:extLst>
                </p:cNvPr>
                <p:cNvSpPr/>
                <p:nvPr/>
              </p:nvSpPr>
              <p:spPr>
                <a:xfrm>
                  <a:off x="2889128" y="4420419"/>
                  <a:ext cx="11943" cy="34429"/>
                </a:xfrm>
                <a:custGeom>
                  <a:avLst/>
                  <a:gdLst>
                    <a:gd name="connsiteX0" fmla="*/ 0 w 11943"/>
                    <a:gd name="connsiteY0" fmla="*/ 0 h 34429"/>
                    <a:gd name="connsiteX1" fmla="*/ 11944 w 11943"/>
                    <a:gd name="connsiteY1" fmla="*/ 0 h 34429"/>
                    <a:gd name="connsiteX2" fmla="*/ 11944 w 11943"/>
                    <a:gd name="connsiteY2" fmla="*/ 34429 h 34429"/>
                    <a:gd name="connsiteX3" fmla="*/ 0 w 11943"/>
                    <a:gd name="connsiteY3" fmla="*/ 34429 h 34429"/>
                  </a:gdLst>
                  <a:ahLst/>
                  <a:cxnLst>
                    <a:cxn ang="0">
                      <a:pos x="connsiteX0" y="connsiteY0"/>
                    </a:cxn>
                    <a:cxn ang="0">
                      <a:pos x="connsiteX1" y="connsiteY1"/>
                    </a:cxn>
                    <a:cxn ang="0">
                      <a:pos x="connsiteX2" y="connsiteY2"/>
                    </a:cxn>
                    <a:cxn ang="0">
                      <a:pos x="connsiteX3" y="connsiteY3"/>
                    </a:cxn>
                  </a:cxnLst>
                  <a:rect l="l" t="t" r="r" b="b"/>
                  <a:pathLst>
                    <a:path w="11943" h="34429">
                      <a:moveTo>
                        <a:pt x="0" y="0"/>
                      </a:moveTo>
                      <a:lnTo>
                        <a:pt x="11944" y="0"/>
                      </a:lnTo>
                      <a:lnTo>
                        <a:pt x="11944" y="34429"/>
                      </a:lnTo>
                      <a:lnTo>
                        <a:pt x="0" y="34429"/>
                      </a:lnTo>
                      <a:close/>
                    </a:path>
                  </a:pathLst>
                </a:custGeom>
                <a:solidFill>
                  <a:schemeClr val="tx2"/>
                </a:solidFill>
                <a:ln w="858" cap="flat">
                  <a:noFill/>
                  <a:prstDash val="solid"/>
                  <a:miter/>
                </a:ln>
              </p:spPr>
              <p:txBody>
                <a:bodyPr rtlCol="0" anchor="ctr"/>
                <a:lstStyle/>
                <a:p>
                  <a:endParaRPr lang="en-GB" dirty="0"/>
                </a:p>
              </p:txBody>
            </p:sp>
          </p:grpSp>
          <p:grpSp>
            <p:nvGrpSpPr>
              <p:cNvPr id="225" name="Grafik 7">
                <a:extLst>
                  <a:ext uri="{FF2B5EF4-FFF2-40B4-BE49-F238E27FC236}">
                    <a16:creationId xmlns:a16="http://schemas.microsoft.com/office/drawing/2014/main" id="{480F7905-459E-46D9-B5CE-4A0AF5B63CDB}"/>
                  </a:ext>
                </a:extLst>
              </p:cNvPr>
              <p:cNvGrpSpPr/>
              <p:nvPr/>
            </p:nvGrpSpPr>
            <p:grpSpPr>
              <a:xfrm>
                <a:off x="2823442" y="4360013"/>
                <a:ext cx="11952" cy="147476"/>
                <a:chOff x="2823442" y="4360013"/>
                <a:chExt cx="11952" cy="147476"/>
              </a:xfrm>
              <a:solidFill>
                <a:srgbClr val="4D4E53"/>
              </a:solidFill>
            </p:grpSpPr>
            <p:grpSp>
              <p:nvGrpSpPr>
                <p:cNvPr id="234" name="Grafik 7">
                  <a:extLst>
                    <a:ext uri="{FF2B5EF4-FFF2-40B4-BE49-F238E27FC236}">
                      <a16:creationId xmlns:a16="http://schemas.microsoft.com/office/drawing/2014/main" id="{6637CCC7-8314-4578-B2C8-CFED3994B07B}"/>
                    </a:ext>
                  </a:extLst>
                </p:cNvPr>
                <p:cNvGrpSpPr/>
                <p:nvPr/>
              </p:nvGrpSpPr>
              <p:grpSpPr>
                <a:xfrm>
                  <a:off x="2823442" y="4360013"/>
                  <a:ext cx="11952" cy="47318"/>
                  <a:chOff x="2823442" y="4360013"/>
                  <a:chExt cx="11952" cy="47318"/>
                </a:xfrm>
                <a:solidFill>
                  <a:srgbClr val="4D4E53"/>
                </a:solidFill>
              </p:grpSpPr>
              <p:sp>
                <p:nvSpPr>
                  <p:cNvPr id="239" name="Freihandform: Form 373">
                    <a:extLst>
                      <a:ext uri="{FF2B5EF4-FFF2-40B4-BE49-F238E27FC236}">
                        <a16:creationId xmlns:a16="http://schemas.microsoft.com/office/drawing/2014/main" id="{0F037EEB-0BA3-42A8-A70C-A2D6C8292A12}"/>
                      </a:ext>
                    </a:extLst>
                  </p:cNvPr>
                  <p:cNvSpPr/>
                  <p:nvPr/>
                </p:nvSpPr>
                <p:spPr>
                  <a:xfrm>
                    <a:off x="2823443" y="4360013"/>
                    <a:ext cx="11943" cy="23078"/>
                  </a:xfrm>
                  <a:custGeom>
                    <a:avLst/>
                    <a:gdLst>
                      <a:gd name="connsiteX0" fmla="*/ 0 w 11943"/>
                      <a:gd name="connsiteY0" fmla="*/ 0 h 23078"/>
                      <a:gd name="connsiteX1" fmla="*/ 11943 w 11943"/>
                      <a:gd name="connsiteY1" fmla="*/ 0 h 23078"/>
                      <a:gd name="connsiteX2" fmla="*/ 11943 w 11943"/>
                      <a:gd name="connsiteY2" fmla="*/ 23079 h 23078"/>
                      <a:gd name="connsiteX3" fmla="*/ 0 w 11943"/>
                      <a:gd name="connsiteY3" fmla="*/ 23079 h 23078"/>
                    </a:gdLst>
                    <a:ahLst/>
                    <a:cxnLst>
                      <a:cxn ang="0">
                        <a:pos x="connsiteX0" y="connsiteY0"/>
                      </a:cxn>
                      <a:cxn ang="0">
                        <a:pos x="connsiteX1" y="connsiteY1"/>
                      </a:cxn>
                      <a:cxn ang="0">
                        <a:pos x="connsiteX2" y="connsiteY2"/>
                      </a:cxn>
                      <a:cxn ang="0">
                        <a:pos x="connsiteX3" y="connsiteY3"/>
                      </a:cxn>
                    </a:cxnLst>
                    <a:rect l="l" t="t" r="r" b="b"/>
                    <a:pathLst>
                      <a:path w="11943" h="23078">
                        <a:moveTo>
                          <a:pt x="0" y="0"/>
                        </a:moveTo>
                        <a:lnTo>
                          <a:pt x="11943" y="0"/>
                        </a:lnTo>
                        <a:lnTo>
                          <a:pt x="11943" y="23079"/>
                        </a:lnTo>
                        <a:lnTo>
                          <a:pt x="0" y="23079"/>
                        </a:lnTo>
                        <a:close/>
                      </a:path>
                    </a:pathLst>
                  </a:custGeom>
                  <a:solidFill>
                    <a:schemeClr val="tx2"/>
                  </a:solidFill>
                  <a:ln w="858" cap="flat">
                    <a:noFill/>
                    <a:prstDash val="solid"/>
                    <a:miter/>
                  </a:ln>
                </p:spPr>
                <p:txBody>
                  <a:bodyPr rtlCol="0" anchor="ctr"/>
                  <a:lstStyle/>
                  <a:p>
                    <a:endParaRPr lang="en-GB" dirty="0"/>
                  </a:p>
                </p:txBody>
              </p:sp>
              <p:sp>
                <p:nvSpPr>
                  <p:cNvPr id="240" name="Freihandform: Form 374">
                    <a:extLst>
                      <a:ext uri="{FF2B5EF4-FFF2-40B4-BE49-F238E27FC236}">
                        <a16:creationId xmlns:a16="http://schemas.microsoft.com/office/drawing/2014/main" id="{55640C28-08A9-492D-BD3A-3C0B504F6ADE}"/>
                      </a:ext>
                    </a:extLst>
                  </p:cNvPr>
                  <p:cNvSpPr/>
                  <p:nvPr/>
                </p:nvSpPr>
                <p:spPr>
                  <a:xfrm>
                    <a:off x="2823442" y="4394511"/>
                    <a:ext cx="11952" cy="12820"/>
                  </a:xfrm>
                  <a:custGeom>
                    <a:avLst/>
                    <a:gdLst>
                      <a:gd name="connsiteX0" fmla="*/ 11952 w 11952"/>
                      <a:gd name="connsiteY0" fmla="*/ 12821 h 12820"/>
                      <a:gd name="connsiteX1" fmla="*/ 0 w 11952"/>
                      <a:gd name="connsiteY1" fmla="*/ 12821 h 12820"/>
                      <a:gd name="connsiteX2" fmla="*/ 0 w 11952"/>
                      <a:gd name="connsiteY2" fmla="*/ 877 h 12820"/>
                      <a:gd name="connsiteX3" fmla="*/ 11952 w 11952"/>
                      <a:gd name="connsiteY3" fmla="*/ 0 h 12820"/>
                    </a:gdLst>
                    <a:ahLst/>
                    <a:cxnLst>
                      <a:cxn ang="0">
                        <a:pos x="connsiteX0" y="connsiteY0"/>
                      </a:cxn>
                      <a:cxn ang="0">
                        <a:pos x="connsiteX1" y="connsiteY1"/>
                      </a:cxn>
                      <a:cxn ang="0">
                        <a:pos x="connsiteX2" y="connsiteY2"/>
                      </a:cxn>
                      <a:cxn ang="0">
                        <a:pos x="connsiteX3" y="connsiteY3"/>
                      </a:cxn>
                    </a:cxnLst>
                    <a:rect l="l" t="t" r="r" b="b"/>
                    <a:pathLst>
                      <a:path w="11952" h="12820">
                        <a:moveTo>
                          <a:pt x="11952" y="12821"/>
                        </a:moveTo>
                        <a:lnTo>
                          <a:pt x="0" y="12821"/>
                        </a:lnTo>
                        <a:lnTo>
                          <a:pt x="0" y="877"/>
                        </a:lnTo>
                        <a:lnTo>
                          <a:pt x="11952" y="0"/>
                        </a:lnTo>
                        <a:close/>
                      </a:path>
                    </a:pathLst>
                  </a:custGeom>
                  <a:solidFill>
                    <a:schemeClr val="tx2"/>
                  </a:solidFill>
                  <a:ln w="858" cap="flat">
                    <a:noFill/>
                    <a:prstDash val="solid"/>
                    <a:miter/>
                  </a:ln>
                </p:spPr>
                <p:txBody>
                  <a:bodyPr rtlCol="0" anchor="ctr"/>
                  <a:lstStyle/>
                  <a:p>
                    <a:endParaRPr lang="en-GB" dirty="0"/>
                  </a:p>
                </p:txBody>
              </p:sp>
            </p:grpSp>
            <p:sp>
              <p:nvSpPr>
                <p:cNvPr id="235" name="Freihandform: Form 375">
                  <a:extLst>
                    <a:ext uri="{FF2B5EF4-FFF2-40B4-BE49-F238E27FC236}">
                      <a16:creationId xmlns:a16="http://schemas.microsoft.com/office/drawing/2014/main" id="{8B452063-157D-4BD7-A882-42F213C57C6E}"/>
                    </a:ext>
                  </a:extLst>
                </p:cNvPr>
                <p:cNvSpPr/>
                <p:nvPr/>
              </p:nvSpPr>
              <p:spPr>
                <a:xfrm>
                  <a:off x="2823443" y="4395388"/>
                  <a:ext cx="11943" cy="36983"/>
                </a:xfrm>
                <a:custGeom>
                  <a:avLst/>
                  <a:gdLst>
                    <a:gd name="connsiteX0" fmla="*/ 0 w 11943"/>
                    <a:gd name="connsiteY0" fmla="*/ 0 h 36983"/>
                    <a:gd name="connsiteX1" fmla="*/ 11943 w 11943"/>
                    <a:gd name="connsiteY1" fmla="*/ 0 h 36983"/>
                    <a:gd name="connsiteX2" fmla="*/ 11943 w 11943"/>
                    <a:gd name="connsiteY2" fmla="*/ 36983 h 36983"/>
                    <a:gd name="connsiteX3" fmla="*/ 0 w 11943"/>
                    <a:gd name="connsiteY3" fmla="*/ 36983 h 36983"/>
                  </a:gdLst>
                  <a:ahLst/>
                  <a:cxnLst>
                    <a:cxn ang="0">
                      <a:pos x="connsiteX0" y="connsiteY0"/>
                    </a:cxn>
                    <a:cxn ang="0">
                      <a:pos x="connsiteX1" y="connsiteY1"/>
                    </a:cxn>
                    <a:cxn ang="0">
                      <a:pos x="connsiteX2" y="connsiteY2"/>
                    </a:cxn>
                    <a:cxn ang="0">
                      <a:pos x="connsiteX3" y="connsiteY3"/>
                    </a:cxn>
                  </a:cxnLst>
                  <a:rect l="l" t="t" r="r" b="b"/>
                  <a:pathLst>
                    <a:path w="11943" h="36983">
                      <a:moveTo>
                        <a:pt x="0" y="0"/>
                      </a:moveTo>
                      <a:lnTo>
                        <a:pt x="11943" y="0"/>
                      </a:lnTo>
                      <a:lnTo>
                        <a:pt x="11943" y="36983"/>
                      </a:lnTo>
                      <a:lnTo>
                        <a:pt x="0" y="36983"/>
                      </a:lnTo>
                      <a:close/>
                    </a:path>
                  </a:pathLst>
                </a:custGeom>
                <a:solidFill>
                  <a:schemeClr val="tx2"/>
                </a:solidFill>
                <a:ln w="858" cap="flat">
                  <a:noFill/>
                  <a:prstDash val="solid"/>
                  <a:miter/>
                </a:ln>
              </p:spPr>
              <p:txBody>
                <a:bodyPr rtlCol="0" anchor="ctr"/>
                <a:lstStyle/>
                <a:p>
                  <a:endParaRPr lang="en-GB" dirty="0"/>
                </a:p>
              </p:txBody>
            </p:sp>
            <p:sp>
              <p:nvSpPr>
                <p:cNvPr id="236" name="Freihandform: Form 376">
                  <a:extLst>
                    <a:ext uri="{FF2B5EF4-FFF2-40B4-BE49-F238E27FC236}">
                      <a16:creationId xmlns:a16="http://schemas.microsoft.com/office/drawing/2014/main" id="{4DF221A7-2228-488E-8894-AB4DEDBCC624}"/>
                    </a:ext>
                  </a:extLst>
                </p:cNvPr>
                <p:cNvSpPr/>
                <p:nvPr/>
              </p:nvSpPr>
              <p:spPr>
                <a:xfrm>
                  <a:off x="2823442" y="4444590"/>
                  <a:ext cx="11952" cy="12811"/>
                </a:xfrm>
                <a:custGeom>
                  <a:avLst/>
                  <a:gdLst>
                    <a:gd name="connsiteX0" fmla="*/ 11952 w 11952"/>
                    <a:gd name="connsiteY0" fmla="*/ 12812 h 12811"/>
                    <a:gd name="connsiteX1" fmla="*/ 0 w 11952"/>
                    <a:gd name="connsiteY1" fmla="*/ 12812 h 12811"/>
                    <a:gd name="connsiteX2" fmla="*/ 0 w 11952"/>
                    <a:gd name="connsiteY2" fmla="*/ 868 h 12811"/>
                    <a:gd name="connsiteX3" fmla="*/ 11952 w 11952"/>
                    <a:gd name="connsiteY3" fmla="*/ 0 h 12811"/>
                  </a:gdLst>
                  <a:ahLst/>
                  <a:cxnLst>
                    <a:cxn ang="0">
                      <a:pos x="connsiteX0" y="connsiteY0"/>
                    </a:cxn>
                    <a:cxn ang="0">
                      <a:pos x="connsiteX1" y="connsiteY1"/>
                    </a:cxn>
                    <a:cxn ang="0">
                      <a:pos x="connsiteX2" y="connsiteY2"/>
                    </a:cxn>
                    <a:cxn ang="0">
                      <a:pos x="connsiteX3" y="connsiteY3"/>
                    </a:cxn>
                  </a:cxnLst>
                  <a:rect l="l" t="t" r="r" b="b"/>
                  <a:pathLst>
                    <a:path w="11952" h="12811">
                      <a:moveTo>
                        <a:pt x="11952" y="12812"/>
                      </a:moveTo>
                      <a:lnTo>
                        <a:pt x="0" y="12812"/>
                      </a:lnTo>
                      <a:lnTo>
                        <a:pt x="0" y="868"/>
                      </a:lnTo>
                      <a:lnTo>
                        <a:pt x="11952" y="0"/>
                      </a:lnTo>
                      <a:close/>
                    </a:path>
                  </a:pathLst>
                </a:custGeom>
                <a:solidFill>
                  <a:schemeClr val="tx2"/>
                </a:solidFill>
                <a:ln w="858" cap="flat">
                  <a:noFill/>
                  <a:prstDash val="solid"/>
                  <a:miter/>
                </a:ln>
              </p:spPr>
              <p:txBody>
                <a:bodyPr rtlCol="0" anchor="ctr"/>
                <a:lstStyle/>
                <a:p>
                  <a:endParaRPr lang="en-GB" dirty="0"/>
                </a:p>
              </p:txBody>
            </p:sp>
            <p:sp>
              <p:nvSpPr>
                <p:cNvPr id="237" name="Freihandform: Form 377">
                  <a:extLst>
                    <a:ext uri="{FF2B5EF4-FFF2-40B4-BE49-F238E27FC236}">
                      <a16:creationId xmlns:a16="http://schemas.microsoft.com/office/drawing/2014/main" id="{2949B8DE-C943-49EA-A36B-635F1876A9DF}"/>
                    </a:ext>
                  </a:extLst>
                </p:cNvPr>
                <p:cNvSpPr/>
                <p:nvPr/>
              </p:nvSpPr>
              <p:spPr>
                <a:xfrm>
                  <a:off x="2823442" y="4469630"/>
                  <a:ext cx="11952" cy="12820"/>
                </a:xfrm>
                <a:custGeom>
                  <a:avLst/>
                  <a:gdLst>
                    <a:gd name="connsiteX0" fmla="*/ 11952 w 11952"/>
                    <a:gd name="connsiteY0" fmla="*/ 12821 h 12820"/>
                    <a:gd name="connsiteX1" fmla="*/ 0 w 11952"/>
                    <a:gd name="connsiteY1" fmla="*/ 12821 h 12820"/>
                    <a:gd name="connsiteX2" fmla="*/ 0 w 11952"/>
                    <a:gd name="connsiteY2" fmla="*/ 877 h 12820"/>
                    <a:gd name="connsiteX3" fmla="*/ 11952 w 11952"/>
                    <a:gd name="connsiteY3" fmla="*/ 0 h 12820"/>
                  </a:gdLst>
                  <a:ahLst/>
                  <a:cxnLst>
                    <a:cxn ang="0">
                      <a:pos x="connsiteX0" y="connsiteY0"/>
                    </a:cxn>
                    <a:cxn ang="0">
                      <a:pos x="connsiteX1" y="connsiteY1"/>
                    </a:cxn>
                    <a:cxn ang="0">
                      <a:pos x="connsiteX2" y="connsiteY2"/>
                    </a:cxn>
                    <a:cxn ang="0">
                      <a:pos x="connsiteX3" y="connsiteY3"/>
                    </a:cxn>
                  </a:cxnLst>
                  <a:rect l="l" t="t" r="r" b="b"/>
                  <a:pathLst>
                    <a:path w="11952" h="12820">
                      <a:moveTo>
                        <a:pt x="11952" y="12821"/>
                      </a:moveTo>
                      <a:lnTo>
                        <a:pt x="0" y="12821"/>
                      </a:lnTo>
                      <a:lnTo>
                        <a:pt x="0" y="877"/>
                      </a:lnTo>
                      <a:lnTo>
                        <a:pt x="11952" y="0"/>
                      </a:lnTo>
                      <a:close/>
                    </a:path>
                  </a:pathLst>
                </a:custGeom>
                <a:solidFill>
                  <a:schemeClr val="tx2"/>
                </a:solidFill>
                <a:ln w="858" cap="flat">
                  <a:noFill/>
                  <a:prstDash val="solid"/>
                  <a:miter/>
                </a:ln>
              </p:spPr>
              <p:txBody>
                <a:bodyPr rtlCol="0" anchor="ctr"/>
                <a:lstStyle/>
                <a:p>
                  <a:endParaRPr lang="en-GB" dirty="0"/>
                </a:p>
              </p:txBody>
            </p:sp>
            <p:sp>
              <p:nvSpPr>
                <p:cNvPr id="238" name="Freihandform: Form 378">
                  <a:extLst>
                    <a:ext uri="{FF2B5EF4-FFF2-40B4-BE49-F238E27FC236}">
                      <a16:creationId xmlns:a16="http://schemas.microsoft.com/office/drawing/2014/main" id="{BDC4EE16-A2E4-4909-80CD-1016CE58A880}"/>
                    </a:ext>
                  </a:extLst>
                </p:cNvPr>
                <p:cNvSpPr/>
                <p:nvPr/>
              </p:nvSpPr>
              <p:spPr>
                <a:xfrm>
                  <a:off x="2823442" y="4494669"/>
                  <a:ext cx="11952" cy="12820"/>
                </a:xfrm>
                <a:custGeom>
                  <a:avLst/>
                  <a:gdLst>
                    <a:gd name="connsiteX0" fmla="*/ 11952 w 11952"/>
                    <a:gd name="connsiteY0" fmla="*/ 12821 h 12820"/>
                    <a:gd name="connsiteX1" fmla="*/ 0 w 11952"/>
                    <a:gd name="connsiteY1" fmla="*/ 12821 h 12820"/>
                    <a:gd name="connsiteX2" fmla="*/ 0 w 11952"/>
                    <a:gd name="connsiteY2" fmla="*/ 868 h 12820"/>
                    <a:gd name="connsiteX3" fmla="*/ 11952 w 11952"/>
                    <a:gd name="connsiteY3" fmla="*/ 0 h 12820"/>
                  </a:gdLst>
                  <a:ahLst/>
                  <a:cxnLst>
                    <a:cxn ang="0">
                      <a:pos x="connsiteX0" y="connsiteY0"/>
                    </a:cxn>
                    <a:cxn ang="0">
                      <a:pos x="connsiteX1" y="connsiteY1"/>
                    </a:cxn>
                    <a:cxn ang="0">
                      <a:pos x="connsiteX2" y="connsiteY2"/>
                    </a:cxn>
                    <a:cxn ang="0">
                      <a:pos x="connsiteX3" y="connsiteY3"/>
                    </a:cxn>
                  </a:cxnLst>
                  <a:rect l="l" t="t" r="r" b="b"/>
                  <a:pathLst>
                    <a:path w="11952" h="12820">
                      <a:moveTo>
                        <a:pt x="11952" y="12821"/>
                      </a:moveTo>
                      <a:lnTo>
                        <a:pt x="0" y="12821"/>
                      </a:lnTo>
                      <a:lnTo>
                        <a:pt x="0" y="868"/>
                      </a:lnTo>
                      <a:lnTo>
                        <a:pt x="11952" y="0"/>
                      </a:lnTo>
                      <a:close/>
                    </a:path>
                  </a:pathLst>
                </a:custGeom>
                <a:solidFill>
                  <a:schemeClr val="tx2"/>
                </a:solidFill>
                <a:ln w="858" cap="flat">
                  <a:noFill/>
                  <a:prstDash val="solid"/>
                  <a:miter/>
                </a:ln>
              </p:spPr>
              <p:txBody>
                <a:bodyPr rtlCol="0" anchor="ctr"/>
                <a:lstStyle/>
                <a:p>
                  <a:endParaRPr lang="en-GB" dirty="0"/>
                </a:p>
              </p:txBody>
            </p:sp>
          </p:grpSp>
          <p:grpSp>
            <p:nvGrpSpPr>
              <p:cNvPr id="226" name="Grafik 7">
                <a:extLst>
                  <a:ext uri="{FF2B5EF4-FFF2-40B4-BE49-F238E27FC236}">
                    <a16:creationId xmlns:a16="http://schemas.microsoft.com/office/drawing/2014/main" id="{187C60D6-F624-405C-AC25-77BF34F45156}"/>
                  </a:ext>
                </a:extLst>
              </p:cNvPr>
              <p:cNvGrpSpPr/>
              <p:nvPr/>
            </p:nvGrpSpPr>
            <p:grpSpPr>
              <a:xfrm>
                <a:off x="2855739" y="4326865"/>
                <a:ext cx="11943" cy="155584"/>
                <a:chOff x="2855739" y="4326865"/>
                <a:chExt cx="11943" cy="155584"/>
              </a:xfrm>
              <a:solidFill>
                <a:srgbClr val="4D4E53"/>
              </a:solidFill>
            </p:grpSpPr>
            <p:grpSp>
              <p:nvGrpSpPr>
                <p:cNvPr id="229" name="Grafik 7">
                  <a:extLst>
                    <a:ext uri="{FF2B5EF4-FFF2-40B4-BE49-F238E27FC236}">
                      <a16:creationId xmlns:a16="http://schemas.microsoft.com/office/drawing/2014/main" id="{46A8945C-3840-4747-BC59-F93235BA7400}"/>
                    </a:ext>
                  </a:extLst>
                </p:cNvPr>
                <p:cNvGrpSpPr/>
                <p:nvPr/>
              </p:nvGrpSpPr>
              <p:grpSpPr>
                <a:xfrm>
                  <a:off x="2855739" y="4326865"/>
                  <a:ext cx="11943" cy="80466"/>
                  <a:chOff x="2855739" y="4326865"/>
                  <a:chExt cx="11943" cy="80466"/>
                </a:xfrm>
                <a:solidFill>
                  <a:srgbClr val="4D4E53"/>
                </a:solidFill>
              </p:grpSpPr>
              <p:sp>
                <p:nvSpPr>
                  <p:cNvPr id="232" name="Freihandform: Form 381">
                    <a:extLst>
                      <a:ext uri="{FF2B5EF4-FFF2-40B4-BE49-F238E27FC236}">
                        <a16:creationId xmlns:a16="http://schemas.microsoft.com/office/drawing/2014/main" id="{41628BE3-2867-4E53-8FE3-6EB932CFB89F}"/>
                      </a:ext>
                    </a:extLst>
                  </p:cNvPr>
                  <p:cNvSpPr/>
                  <p:nvPr/>
                </p:nvSpPr>
                <p:spPr>
                  <a:xfrm>
                    <a:off x="2855739" y="4326865"/>
                    <a:ext cx="11943" cy="56218"/>
                  </a:xfrm>
                  <a:custGeom>
                    <a:avLst/>
                    <a:gdLst>
                      <a:gd name="connsiteX0" fmla="*/ 0 w 11943"/>
                      <a:gd name="connsiteY0" fmla="*/ 0 h 56218"/>
                      <a:gd name="connsiteX1" fmla="*/ 11943 w 11943"/>
                      <a:gd name="connsiteY1" fmla="*/ 0 h 56218"/>
                      <a:gd name="connsiteX2" fmla="*/ 11943 w 11943"/>
                      <a:gd name="connsiteY2" fmla="*/ 56218 h 56218"/>
                      <a:gd name="connsiteX3" fmla="*/ 0 w 11943"/>
                      <a:gd name="connsiteY3" fmla="*/ 56218 h 56218"/>
                    </a:gdLst>
                    <a:ahLst/>
                    <a:cxnLst>
                      <a:cxn ang="0">
                        <a:pos x="connsiteX0" y="connsiteY0"/>
                      </a:cxn>
                      <a:cxn ang="0">
                        <a:pos x="connsiteX1" y="connsiteY1"/>
                      </a:cxn>
                      <a:cxn ang="0">
                        <a:pos x="connsiteX2" y="connsiteY2"/>
                      </a:cxn>
                      <a:cxn ang="0">
                        <a:pos x="connsiteX3" y="connsiteY3"/>
                      </a:cxn>
                    </a:cxnLst>
                    <a:rect l="l" t="t" r="r" b="b"/>
                    <a:pathLst>
                      <a:path w="11943" h="56218">
                        <a:moveTo>
                          <a:pt x="0" y="0"/>
                        </a:moveTo>
                        <a:lnTo>
                          <a:pt x="11943" y="0"/>
                        </a:lnTo>
                        <a:lnTo>
                          <a:pt x="11943" y="56218"/>
                        </a:lnTo>
                        <a:lnTo>
                          <a:pt x="0" y="56218"/>
                        </a:lnTo>
                        <a:close/>
                      </a:path>
                    </a:pathLst>
                  </a:custGeom>
                  <a:solidFill>
                    <a:schemeClr val="tx2"/>
                  </a:solidFill>
                  <a:ln w="858" cap="flat">
                    <a:noFill/>
                    <a:prstDash val="solid"/>
                    <a:miter/>
                  </a:ln>
                </p:spPr>
                <p:txBody>
                  <a:bodyPr rtlCol="0" anchor="ctr"/>
                  <a:lstStyle/>
                  <a:p>
                    <a:endParaRPr lang="en-GB" dirty="0"/>
                  </a:p>
                </p:txBody>
              </p:sp>
              <p:sp>
                <p:nvSpPr>
                  <p:cNvPr id="233" name="Freihandform: Form 382">
                    <a:extLst>
                      <a:ext uri="{FF2B5EF4-FFF2-40B4-BE49-F238E27FC236}">
                        <a16:creationId xmlns:a16="http://schemas.microsoft.com/office/drawing/2014/main" id="{3D3F331B-936A-4ACE-A5B2-04E7099E6D3F}"/>
                      </a:ext>
                    </a:extLst>
                  </p:cNvPr>
                  <p:cNvSpPr/>
                  <p:nvPr/>
                </p:nvSpPr>
                <p:spPr>
                  <a:xfrm>
                    <a:off x="2855739" y="4394511"/>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grpSp>
            <p:sp>
              <p:nvSpPr>
                <p:cNvPr id="230" name="Freihandform: Form 383">
                  <a:extLst>
                    <a:ext uri="{FF2B5EF4-FFF2-40B4-BE49-F238E27FC236}">
                      <a16:creationId xmlns:a16="http://schemas.microsoft.com/office/drawing/2014/main" id="{91C5AC73-E954-488E-A2EC-79E51D94F6B2}"/>
                    </a:ext>
                  </a:extLst>
                </p:cNvPr>
                <p:cNvSpPr/>
                <p:nvPr/>
              </p:nvSpPr>
              <p:spPr>
                <a:xfrm>
                  <a:off x="2855739" y="4444590"/>
                  <a:ext cx="11943" cy="12811"/>
                </a:xfrm>
                <a:custGeom>
                  <a:avLst/>
                  <a:gdLst>
                    <a:gd name="connsiteX0" fmla="*/ 11944 w 11943"/>
                    <a:gd name="connsiteY0" fmla="*/ 12812 h 12811"/>
                    <a:gd name="connsiteX1" fmla="*/ 0 w 11943"/>
                    <a:gd name="connsiteY1" fmla="*/ 12812 h 12811"/>
                    <a:gd name="connsiteX2" fmla="*/ 0 w 11943"/>
                    <a:gd name="connsiteY2" fmla="*/ 868 h 12811"/>
                    <a:gd name="connsiteX3" fmla="*/ 11944 w 11943"/>
                    <a:gd name="connsiteY3" fmla="*/ 0 h 12811"/>
                  </a:gdLst>
                  <a:ahLst/>
                  <a:cxnLst>
                    <a:cxn ang="0">
                      <a:pos x="connsiteX0" y="connsiteY0"/>
                    </a:cxn>
                    <a:cxn ang="0">
                      <a:pos x="connsiteX1" y="connsiteY1"/>
                    </a:cxn>
                    <a:cxn ang="0">
                      <a:pos x="connsiteX2" y="connsiteY2"/>
                    </a:cxn>
                    <a:cxn ang="0">
                      <a:pos x="connsiteX3" y="connsiteY3"/>
                    </a:cxn>
                  </a:cxnLst>
                  <a:rect l="l" t="t" r="r" b="b"/>
                  <a:pathLst>
                    <a:path w="11943" h="12811">
                      <a:moveTo>
                        <a:pt x="11944" y="12812"/>
                      </a:moveTo>
                      <a:lnTo>
                        <a:pt x="0" y="12812"/>
                      </a:lnTo>
                      <a:lnTo>
                        <a:pt x="0" y="868"/>
                      </a:lnTo>
                      <a:lnTo>
                        <a:pt x="11944" y="0"/>
                      </a:lnTo>
                      <a:close/>
                    </a:path>
                  </a:pathLst>
                </a:custGeom>
                <a:solidFill>
                  <a:schemeClr val="tx2"/>
                </a:solidFill>
                <a:ln w="858" cap="flat">
                  <a:noFill/>
                  <a:prstDash val="solid"/>
                  <a:miter/>
                </a:ln>
              </p:spPr>
              <p:txBody>
                <a:bodyPr rtlCol="0" anchor="ctr"/>
                <a:lstStyle/>
                <a:p>
                  <a:endParaRPr lang="en-GB" dirty="0"/>
                </a:p>
              </p:txBody>
            </p:sp>
            <p:sp>
              <p:nvSpPr>
                <p:cNvPr id="231" name="Freihandform: Form 384">
                  <a:extLst>
                    <a:ext uri="{FF2B5EF4-FFF2-40B4-BE49-F238E27FC236}">
                      <a16:creationId xmlns:a16="http://schemas.microsoft.com/office/drawing/2014/main" id="{76A98471-10C6-45CB-96B0-4C5FD0CE1BAF}"/>
                    </a:ext>
                  </a:extLst>
                </p:cNvPr>
                <p:cNvSpPr/>
                <p:nvPr/>
              </p:nvSpPr>
              <p:spPr>
                <a:xfrm>
                  <a:off x="2855739" y="4469630"/>
                  <a:ext cx="11943" cy="12820"/>
                </a:xfrm>
                <a:custGeom>
                  <a:avLst/>
                  <a:gdLst>
                    <a:gd name="connsiteX0" fmla="*/ 11944 w 11943"/>
                    <a:gd name="connsiteY0" fmla="*/ 12821 h 12820"/>
                    <a:gd name="connsiteX1" fmla="*/ 0 w 11943"/>
                    <a:gd name="connsiteY1" fmla="*/ 12821 h 12820"/>
                    <a:gd name="connsiteX2" fmla="*/ 0 w 11943"/>
                    <a:gd name="connsiteY2" fmla="*/ 877 h 12820"/>
                    <a:gd name="connsiteX3" fmla="*/ 11944 w 11943"/>
                    <a:gd name="connsiteY3" fmla="*/ 0 h 12820"/>
                  </a:gdLst>
                  <a:ahLst/>
                  <a:cxnLst>
                    <a:cxn ang="0">
                      <a:pos x="connsiteX0" y="connsiteY0"/>
                    </a:cxn>
                    <a:cxn ang="0">
                      <a:pos x="connsiteX1" y="connsiteY1"/>
                    </a:cxn>
                    <a:cxn ang="0">
                      <a:pos x="connsiteX2" y="connsiteY2"/>
                    </a:cxn>
                    <a:cxn ang="0">
                      <a:pos x="connsiteX3" y="connsiteY3"/>
                    </a:cxn>
                  </a:cxnLst>
                  <a:rect l="l" t="t" r="r" b="b"/>
                  <a:pathLst>
                    <a:path w="11943" h="12820">
                      <a:moveTo>
                        <a:pt x="11944" y="12821"/>
                      </a:moveTo>
                      <a:lnTo>
                        <a:pt x="0" y="12821"/>
                      </a:lnTo>
                      <a:lnTo>
                        <a:pt x="0" y="877"/>
                      </a:lnTo>
                      <a:lnTo>
                        <a:pt x="11944" y="0"/>
                      </a:lnTo>
                      <a:close/>
                    </a:path>
                  </a:pathLst>
                </a:custGeom>
                <a:solidFill>
                  <a:schemeClr val="tx2"/>
                </a:solidFill>
                <a:ln w="858" cap="flat">
                  <a:noFill/>
                  <a:prstDash val="solid"/>
                  <a:miter/>
                </a:ln>
              </p:spPr>
              <p:txBody>
                <a:bodyPr rtlCol="0" anchor="ctr"/>
                <a:lstStyle/>
                <a:p>
                  <a:endParaRPr lang="en-GB" dirty="0"/>
                </a:p>
              </p:txBody>
            </p:sp>
          </p:grpSp>
          <p:sp>
            <p:nvSpPr>
              <p:cNvPr id="227" name="Freihandform: Form 387">
                <a:extLst>
                  <a:ext uri="{FF2B5EF4-FFF2-40B4-BE49-F238E27FC236}">
                    <a16:creationId xmlns:a16="http://schemas.microsoft.com/office/drawing/2014/main" id="{913B3111-F065-4073-9D2B-8BDC944292E7}"/>
                  </a:ext>
                </a:extLst>
              </p:cNvPr>
              <p:cNvSpPr/>
              <p:nvPr/>
            </p:nvSpPr>
            <p:spPr>
              <a:xfrm>
                <a:off x="2758909" y="4294053"/>
                <a:ext cx="11943" cy="59313"/>
              </a:xfrm>
              <a:custGeom>
                <a:avLst/>
                <a:gdLst>
                  <a:gd name="connsiteX0" fmla="*/ 0 w 11943"/>
                  <a:gd name="connsiteY0" fmla="*/ 0 h 59313"/>
                  <a:gd name="connsiteX1" fmla="*/ 11944 w 11943"/>
                  <a:gd name="connsiteY1" fmla="*/ 0 h 59313"/>
                  <a:gd name="connsiteX2" fmla="*/ 11944 w 11943"/>
                  <a:gd name="connsiteY2" fmla="*/ 59314 h 59313"/>
                  <a:gd name="connsiteX3" fmla="*/ 0 w 11943"/>
                  <a:gd name="connsiteY3" fmla="*/ 59314 h 59313"/>
                </a:gdLst>
                <a:ahLst/>
                <a:cxnLst>
                  <a:cxn ang="0">
                    <a:pos x="connsiteX0" y="connsiteY0"/>
                  </a:cxn>
                  <a:cxn ang="0">
                    <a:pos x="connsiteX1" y="connsiteY1"/>
                  </a:cxn>
                  <a:cxn ang="0">
                    <a:pos x="connsiteX2" y="connsiteY2"/>
                  </a:cxn>
                  <a:cxn ang="0">
                    <a:pos x="connsiteX3" y="connsiteY3"/>
                  </a:cxn>
                </a:cxnLst>
                <a:rect l="l" t="t" r="r" b="b"/>
                <a:pathLst>
                  <a:path w="11943" h="59313">
                    <a:moveTo>
                      <a:pt x="0" y="0"/>
                    </a:moveTo>
                    <a:lnTo>
                      <a:pt x="11944" y="0"/>
                    </a:lnTo>
                    <a:lnTo>
                      <a:pt x="11944" y="59314"/>
                    </a:lnTo>
                    <a:lnTo>
                      <a:pt x="0" y="59314"/>
                    </a:lnTo>
                    <a:close/>
                  </a:path>
                </a:pathLst>
              </a:custGeom>
              <a:solidFill>
                <a:schemeClr val="tx2"/>
              </a:solidFill>
              <a:ln w="858" cap="flat">
                <a:noFill/>
                <a:prstDash val="solid"/>
                <a:miter/>
              </a:ln>
            </p:spPr>
            <p:txBody>
              <a:bodyPr rtlCol="0" anchor="ctr"/>
              <a:lstStyle/>
              <a:p>
                <a:endParaRPr lang="en-GB" dirty="0"/>
              </a:p>
            </p:txBody>
          </p:sp>
          <p:sp>
            <p:nvSpPr>
              <p:cNvPr id="228" name="Freihandform: Form 389">
                <a:extLst>
                  <a:ext uri="{FF2B5EF4-FFF2-40B4-BE49-F238E27FC236}">
                    <a16:creationId xmlns:a16="http://schemas.microsoft.com/office/drawing/2014/main" id="{C661E72B-8D1C-4DC7-8A3F-5CE40C7053F9}"/>
                  </a:ext>
                </a:extLst>
              </p:cNvPr>
              <p:cNvSpPr/>
              <p:nvPr/>
            </p:nvSpPr>
            <p:spPr>
              <a:xfrm>
                <a:off x="2823554" y="4294053"/>
                <a:ext cx="11943" cy="56398"/>
              </a:xfrm>
              <a:custGeom>
                <a:avLst/>
                <a:gdLst>
                  <a:gd name="connsiteX0" fmla="*/ 0 w 11943"/>
                  <a:gd name="connsiteY0" fmla="*/ 0 h 56398"/>
                  <a:gd name="connsiteX1" fmla="*/ 11944 w 11943"/>
                  <a:gd name="connsiteY1" fmla="*/ 0 h 56398"/>
                  <a:gd name="connsiteX2" fmla="*/ 11944 w 11943"/>
                  <a:gd name="connsiteY2" fmla="*/ 56399 h 56398"/>
                  <a:gd name="connsiteX3" fmla="*/ 0 w 11943"/>
                  <a:gd name="connsiteY3" fmla="*/ 56399 h 56398"/>
                </a:gdLst>
                <a:ahLst/>
                <a:cxnLst>
                  <a:cxn ang="0">
                    <a:pos x="connsiteX0" y="connsiteY0"/>
                  </a:cxn>
                  <a:cxn ang="0">
                    <a:pos x="connsiteX1" y="connsiteY1"/>
                  </a:cxn>
                  <a:cxn ang="0">
                    <a:pos x="connsiteX2" y="connsiteY2"/>
                  </a:cxn>
                  <a:cxn ang="0">
                    <a:pos x="connsiteX3" y="connsiteY3"/>
                  </a:cxn>
                </a:cxnLst>
                <a:rect l="l" t="t" r="r" b="b"/>
                <a:pathLst>
                  <a:path w="11943" h="56398">
                    <a:moveTo>
                      <a:pt x="0" y="0"/>
                    </a:moveTo>
                    <a:lnTo>
                      <a:pt x="11944" y="0"/>
                    </a:lnTo>
                    <a:lnTo>
                      <a:pt x="11944" y="56399"/>
                    </a:lnTo>
                    <a:lnTo>
                      <a:pt x="0" y="56399"/>
                    </a:lnTo>
                    <a:close/>
                  </a:path>
                </a:pathLst>
              </a:custGeom>
              <a:solidFill>
                <a:schemeClr val="tx2"/>
              </a:solidFill>
              <a:ln w="858" cap="flat">
                <a:noFill/>
                <a:prstDash val="solid"/>
                <a:miter/>
              </a:ln>
            </p:spPr>
            <p:txBody>
              <a:bodyPr rtlCol="0" anchor="ctr"/>
              <a:lstStyle/>
              <a:p>
                <a:endParaRPr lang="en-GB" dirty="0"/>
              </a:p>
            </p:txBody>
          </p:sp>
        </p:grpSp>
      </p:grpSp>
      <p:grpSp>
        <p:nvGrpSpPr>
          <p:cNvPr id="744" name="Group 743">
            <a:extLst>
              <a:ext uri="{FF2B5EF4-FFF2-40B4-BE49-F238E27FC236}">
                <a16:creationId xmlns:a16="http://schemas.microsoft.com/office/drawing/2014/main" id="{A4AC30F2-F798-4861-ADC1-FA532BCAF75C}"/>
              </a:ext>
            </a:extLst>
          </p:cNvPr>
          <p:cNvGrpSpPr/>
          <p:nvPr/>
        </p:nvGrpSpPr>
        <p:grpSpPr>
          <a:xfrm>
            <a:off x="3712953" y="3197068"/>
            <a:ext cx="434796" cy="432000"/>
            <a:chOff x="3712953" y="3197068"/>
            <a:chExt cx="434796" cy="432000"/>
          </a:xfrm>
        </p:grpSpPr>
        <p:grpSp>
          <p:nvGrpSpPr>
            <p:cNvPr id="130" name="Group 1128">
              <a:extLst>
                <a:ext uri="{FF2B5EF4-FFF2-40B4-BE49-F238E27FC236}">
                  <a16:creationId xmlns:a16="http://schemas.microsoft.com/office/drawing/2014/main" id="{0AEFBCD4-D95E-41F1-BE0C-B1A9BD42D795}"/>
                </a:ext>
              </a:extLst>
            </p:cNvPr>
            <p:cNvGrpSpPr/>
            <p:nvPr/>
          </p:nvGrpSpPr>
          <p:grpSpPr>
            <a:xfrm>
              <a:off x="3712953" y="3197068"/>
              <a:ext cx="434796" cy="432000"/>
              <a:chOff x="6080529" y="2432698"/>
              <a:chExt cx="538949" cy="535483"/>
            </a:xfrm>
            <a:solidFill>
              <a:schemeClr val="accent1"/>
            </a:solidFill>
          </p:grpSpPr>
          <p:grpSp>
            <p:nvGrpSpPr>
              <p:cNvPr id="140" name="Grafik 36">
                <a:extLst>
                  <a:ext uri="{FF2B5EF4-FFF2-40B4-BE49-F238E27FC236}">
                    <a16:creationId xmlns:a16="http://schemas.microsoft.com/office/drawing/2014/main" id="{1F9FF967-407C-4F48-8714-C931BF1E178F}"/>
                  </a:ext>
                </a:extLst>
              </p:cNvPr>
              <p:cNvGrpSpPr/>
              <p:nvPr/>
            </p:nvGrpSpPr>
            <p:grpSpPr>
              <a:xfrm>
                <a:off x="6287726" y="2640524"/>
                <a:ext cx="124773" cy="172211"/>
                <a:chOff x="6287726" y="2640524"/>
                <a:chExt cx="124773" cy="172211"/>
              </a:xfrm>
              <a:solidFill>
                <a:schemeClr val="accent1"/>
              </a:solidFill>
            </p:grpSpPr>
            <p:sp>
              <p:nvSpPr>
                <p:cNvPr id="149" name="Freihandform: Form 1550">
                  <a:extLst>
                    <a:ext uri="{FF2B5EF4-FFF2-40B4-BE49-F238E27FC236}">
                      <a16:creationId xmlns:a16="http://schemas.microsoft.com/office/drawing/2014/main" id="{6B15191C-6E85-42EA-A02E-C5A8DD727CB9}"/>
                    </a:ext>
                  </a:extLst>
                </p:cNvPr>
                <p:cNvSpPr/>
                <p:nvPr/>
              </p:nvSpPr>
              <p:spPr>
                <a:xfrm>
                  <a:off x="6287726" y="2640524"/>
                  <a:ext cx="124773" cy="140134"/>
                </a:xfrm>
                <a:custGeom>
                  <a:avLst/>
                  <a:gdLst>
                    <a:gd name="connsiteX0" fmla="*/ 89716 w 124773"/>
                    <a:gd name="connsiteY0" fmla="*/ 140134 h 140134"/>
                    <a:gd name="connsiteX1" fmla="*/ 35082 w 124773"/>
                    <a:gd name="connsiteY1" fmla="*/ 140134 h 140134"/>
                    <a:gd name="connsiteX2" fmla="*/ 30164 w 124773"/>
                    <a:gd name="connsiteY2" fmla="*/ 135216 h 140134"/>
                    <a:gd name="connsiteX3" fmla="*/ 30164 w 124773"/>
                    <a:gd name="connsiteY3" fmla="*/ 116342 h 140134"/>
                    <a:gd name="connsiteX4" fmla="*/ 26263 w 124773"/>
                    <a:gd name="connsiteY4" fmla="*/ 113265 h 140134"/>
                    <a:gd name="connsiteX5" fmla="*/ 0 w 124773"/>
                    <a:gd name="connsiteY5" fmla="*/ 62387 h 140134"/>
                    <a:gd name="connsiteX6" fmla="*/ 62387 w 124773"/>
                    <a:gd name="connsiteY6" fmla="*/ 0 h 140134"/>
                    <a:gd name="connsiteX7" fmla="*/ 124774 w 124773"/>
                    <a:gd name="connsiteY7" fmla="*/ 62387 h 140134"/>
                    <a:gd name="connsiteX8" fmla="*/ 97953 w 124773"/>
                    <a:gd name="connsiteY8" fmla="*/ 113653 h 140134"/>
                    <a:gd name="connsiteX9" fmla="*/ 94610 w 124773"/>
                    <a:gd name="connsiteY9" fmla="*/ 120025 h 140134"/>
                    <a:gd name="connsiteX10" fmla="*/ 94634 w 124773"/>
                    <a:gd name="connsiteY10" fmla="*/ 135216 h 140134"/>
                    <a:gd name="connsiteX11" fmla="*/ 89716 w 124773"/>
                    <a:gd name="connsiteY11" fmla="*/ 140134 h 140134"/>
                    <a:gd name="connsiteX12" fmla="*/ 40000 w 124773"/>
                    <a:gd name="connsiteY12" fmla="*/ 130273 h 140134"/>
                    <a:gd name="connsiteX13" fmla="*/ 84773 w 124773"/>
                    <a:gd name="connsiteY13" fmla="*/ 130273 h 140134"/>
                    <a:gd name="connsiteX14" fmla="*/ 84773 w 124773"/>
                    <a:gd name="connsiteY14" fmla="*/ 120413 h 140134"/>
                    <a:gd name="connsiteX15" fmla="*/ 92672 w 124773"/>
                    <a:gd name="connsiteY15" fmla="*/ 105319 h 140134"/>
                    <a:gd name="connsiteX16" fmla="*/ 114913 w 124773"/>
                    <a:gd name="connsiteY16" fmla="*/ 62363 h 140134"/>
                    <a:gd name="connsiteX17" fmla="*/ 62387 w 124773"/>
                    <a:gd name="connsiteY17" fmla="*/ 9812 h 140134"/>
                    <a:gd name="connsiteX18" fmla="*/ 9837 w 124773"/>
                    <a:gd name="connsiteY18" fmla="*/ 62363 h 140134"/>
                    <a:gd name="connsiteX19" fmla="*/ 31835 w 124773"/>
                    <a:gd name="connsiteY19" fmla="*/ 105125 h 140134"/>
                    <a:gd name="connsiteX20" fmla="*/ 39637 w 124773"/>
                    <a:gd name="connsiteY20" fmla="*/ 112878 h 140134"/>
                    <a:gd name="connsiteX21" fmla="*/ 40000 w 124773"/>
                    <a:gd name="connsiteY21" fmla="*/ 114719 h 140134"/>
                    <a:gd name="connsiteX22" fmla="*/ 40000 w 124773"/>
                    <a:gd name="connsiteY22" fmla="*/ 130273 h 140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4773" h="140134">
                      <a:moveTo>
                        <a:pt x="89716" y="140134"/>
                      </a:moveTo>
                      <a:lnTo>
                        <a:pt x="35082" y="140134"/>
                      </a:lnTo>
                      <a:cubicBezTo>
                        <a:pt x="32368" y="140134"/>
                        <a:pt x="30164" y="137929"/>
                        <a:pt x="30164" y="135216"/>
                      </a:cubicBezTo>
                      <a:lnTo>
                        <a:pt x="30164" y="116342"/>
                      </a:lnTo>
                      <a:cubicBezTo>
                        <a:pt x="29606" y="115833"/>
                        <a:pt x="28419" y="114743"/>
                        <a:pt x="26263" y="113265"/>
                      </a:cubicBezTo>
                      <a:cubicBezTo>
                        <a:pt x="9812" y="101902"/>
                        <a:pt x="0" y="82908"/>
                        <a:pt x="0" y="62387"/>
                      </a:cubicBezTo>
                      <a:cubicBezTo>
                        <a:pt x="0" y="27983"/>
                        <a:pt x="27983" y="0"/>
                        <a:pt x="62387" y="0"/>
                      </a:cubicBezTo>
                      <a:cubicBezTo>
                        <a:pt x="96790" y="0"/>
                        <a:pt x="124774" y="27983"/>
                        <a:pt x="124774" y="62387"/>
                      </a:cubicBezTo>
                      <a:cubicBezTo>
                        <a:pt x="124774" y="83513"/>
                        <a:pt x="114501" y="103162"/>
                        <a:pt x="97953" y="113653"/>
                      </a:cubicBezTo>
                      <a:cubicBezTo>
                        <a:pt x="94392" y="115906"/>
                        <a:pt x="94610" y="119976"/>
                        <a:pt x="94610" y="120025"/>
                      </a:cubicBezTo>
                      <a:lnTo>
                        <a:pt x="94634" y="135216"/>
                      </a:lnTo>
                      <a:cubicBezTo>
                        <a:pt x="94634" y="137929"/>
                        <a:pt x="92429" y="140134"/>
                        <a:pt x="89716" y="140134"/>
                      </a:cubicBezTo>
                      <a:close/>
                      <a:moveTo>
                        <a:pt x="40000" y="130273"/>
                      </a:moveTo>
                      <a:lnTo>
                        <a:pt x="84773" y="130273"/>
                      </a:lnTo>
                      <a:lnTo>
                        <a:pt x="84773" y="120413"/>
                      </a:lnTo>
                      <a:cubicBezTo>
                        <a:pt x="84483" y="117093"/>
                        <a:pt x="85815" y="109655"/>
                        <a:pt x="92672" y="105319"/>
                      </a:cubicBezTo>
                      <a:cubicBezTo>
                        <a:pt x="106385" y="96621"/>
                        <a:pt x="114913" y="80170"/>
                        <a:pt x="114913" y="62363"/>
                      </a:cubicBezTo>
                      <a:cubicBezTo>
                        <a:pt x="114913" y="33386"/>
                        <a:pt x="91339" y="9812"/>
                        <a:pt x="62387" y="9812"/>
                      </a:cubicBezTo>
                      <a:cubicBezTo>
                        <a:pt x="33410" y="9812"/>
                        <a:pt x="9837" y="33386"/>
                        <a:pt x="9837" y="62363"/>
                      </a:cubicBezTo>
                      <a:cubicBezTo>
                        <a:pt x="9837" y="79637"/>
                        <a:pt x="18050" y="95603"/>
                        <a:pt x="31835" y="105125"/>
                      </a:cubicBezTo>
                      <a:cubicBezTo>
                        <a:pt x="37190" y="108832"/>
                        <a:pt x="39031" y="111400"/>
                        <a:pt x="39637" y="112878"/>
                      </a:cubicBezTo>
                      <a:cubicBezTo>
                        <a:pt x="39879" y="113459"/>
                        <a:pt x="40000" y="114089"/>
                        <a:pt x="40000" y="114719"/>
                      </a:cubicBezTo>
                      <a:lnTo>
                        <a:pt x="40000" y="130273"/>
                      </a:lnTo>
                      <a:close/>
                    </a:path>
                  </a:pathLst>
                </a:custGeom>
                <a:solidFill>
                  <a:schemeClr val="accent1"/>
                </a:solidFill>
                <a:ln w="2420" cap="flat">
                  <a:noFill/>
                  <a:prstDash val="solid"/>
                  <a:miter/>
                </a:ln>
              </p:spPr>
              <p:txBody>
                <a:bodyPr rtlCol="0" anchor="ctr"/>
                <a:lstStyle/>
                <a:p>
                  <a:endParaRPr lang="en-GB" dirty="0"/>
                </a:p>
              </p:txBody>
            </p:sp>
            <p:sp>
              <p:nvSpPr>
                <p:cNvPr id="150" name="Freihandform: Form 1551">
                  <a:extLst>
                    <a:ext uri="{FF2B5EF4-FFF2-40B4-BE49-F238E27FC236}">
                      <a16:creationId xmlns:a16="http://schemas.microsoft.com/office/drawing/2014/main" id="{27B179DD-0B35-4705-9AD8-62BF799CB499}"/>
                    </a:ext>
                  </a:extLst>
                </p:cNvPr>
                <p:cNvSpPr/>
                <p:nvPr/>
              </p:nvSpPr>
              <p:spPr>
                <a:xfrm>
                  <a:off x="6317793" y="2786861"/>
                  <a:ext cx="63961" cy="9836"/>
                </a:xfrm>
                <a:custGeom>
                  <a:avLst/>
                  <a:gdLst>
                    <a:gd name="connsiteX0" fmla="*/ 59043 w 63961"/>
                    <a:gd name="connsiteY0" fmla="*/ 9837 h 9836"/>
                    <a:gd name="connsiteX1" fmla="*/ 4918 w 63961"/>
                    <a:gd name="connsiteY1" fmla="*/ 9837 h 9836"/>
                    <a:gd name="connsiteX2" fmla="*/ 0 w 63961"/>
                    <a:gd name="connsiteY2" fmla="*/ 4918 h 9836"/>
                    <a:gd name="connsiteX3" fmla="*/ 4918 w 63961"/>
                    <a:gd name="connsiteY3" fmla="*/ 0 h 9836"/>
                    <a:gd name="connsiteX4" fmla="*/ 59043 w 63961"/>
                    <a:gd name="connsiteY4" fmla="*/ 0 h 9836"/>
                    <a:gd name="connsiteX5" fmla="*/ 63962 w 63961"/>
                    <a:gd name="connsiteY5" fmla="*/ 4918 h 9836"/>
                    <a:gd name="connsiteX6" fmla="*/ 59043 w 63961"/>
                    <a:gd name="connsiteY6" fmla="*/ 9837 h 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61" h="9836">
                      <a:moveTo>
                        <a:pt x="59043" y="9837"/>
                      </a:moveTo>
                      <a:lnTo>
                        <a:pt x="4918" y="9837"/>
                      </a:lnTo>
                      <a:cubicBezTo>
                        <a:pt x="2205" y="9837"/>
                        <a:pt x="0" y="7632"/>
                        <a:pt x="0" y="4918"/>
                      </a:cubicBezTo>
                      <a:cubicBezTo>
                        <a:pt x="0" y="2205"/>
                        <a:pt x="2205" y="0"/>
                        <a:pt x="4918" y="0"/>
                      </a:cubicBezTo>
                      <a:lnTo>
                        <a:pt x="59043" y="0"/>
                      </a:lnTo>
                      <a:cubicBezTo>
                        <a:pt x="61757" y="0"/>
                        <a:pt x="63962" y="2205"/>
                        <a:pt x="63962" y="4918"/>
                      </a:cubicBezTo>
                      <a:cubicBezTo>
                        <a:pt x="63986" y="7632"/>
                        <a:pt x="61781" y="9837"/>
                        <a:pt x="59043" y="9837"/>
                      </a:cubicBezTo>
                      <a:close/>
                    </a:path>
                  </a:pathLst>
                </a:custGeom>
                <a:solidFill>
                  <a:schemeClr val="accent1"/>
                </a:solidFill>
                <a:ln w="2420" cap="flat">
                  <a:noFill/>
                  <a:prstDash val="solid"/>
                  <a:miter/>
                </a:ln>
              </p:spPr>
              <p:txBody>
                <a:bodyPr rtlCol="0" anchor="ctr"/>
                <a:lstStyle/>
                <a:p>
                  <a:endParaRPr lang="en-GB" dirty="0"/>
                </a:p>
              </p:txBody>
            </p:sp>
            <p:sp>
              <p:nvSpPr>
                <p:cNvPr id="151" name="Freihandform: Form 1552">
                  <a:extLst>
                    <a:ext uri="{FF2B5EF4-FFF2-40B4-BE49-F238E27FC236}">
                      <a16:creationId xmlns:a16="http://schemas.microsoft.com/office/drawing/2014/main" id="{7C6D0553-505B-44A3-974E-556BF0B591A0}"/>
                    </a:ext>
                  </a:extLst>
                </p:cNvPr>
                <p:cNvSpPr/>
                <p:nvPr/>
              </p:nvSpPr>
              <p:spPr>
                <a:xfrm>
                  <a:off x="6327823" y="2802900"/>
                  <a:ext cx="43925" cy="9836"/>
                </a:xfrm>
                <a:custGeom>
                  <a:avLst/>
                  <a:gdLst>
                    <a:gd name="connsiteX0" fmla="*/ 39007 w 43925"/>
                    <a:gd name="connsiteY0" fmla="*/ 9837 h 9836"/>
                    <a:gd name="connsiteX1" fmla="*/ 4918 w 43925"/>
                    <a:gd name="connsiteY1" fmla="*/ 9837 h 9836"/>
                    <a:gd name="connsiteX2" fmla="*/ 0 w 43925"/>
                    <a:gd name="connsiteY2" fmla="*/ 4918 h 9836"/>
                    <a:gd name="connsiteX3" fmla="*/ 4918 w 43925"/>
                    <a:gd name="connsiteY3" fmla="*/ 0 h 9836"/>
                    <a:gd name="connsiteX4" fmla="*/ 39007 w 43925"/>
                    <a:gd name="connsiteY4" fmla="*/ 0 h 9836"/>
                    <a:gd name="connsiteX5" fmla="*/ 43925 w 43925"/>
                    <a:gd name="connsiteY5" fmla="*/ 4918 h 9836"/>
                    <a:gd name="connsiteX6" fmla="*/ 39007 w 43925"/>
                    <a:gd name="connsiteY6" fmla="*/ 9837 h 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925" h="9836">
                      <a:moveTo>
                        <a:pt x="39007" y="9837"/>
                      </a:moveTo>
                      <a:lnTo>
                        <a:pt x="4918" y="9837"/>
                      </a:lnTo>
                      <a:cubicBezTo>
                        <a:pt x="2205" y="9837"/>
                        <a:pt x="0" y="7632"/>
                        <a:pt x="0" y="4918"/>
                      </a:cubicBezTo>
                      <a:cubicBezTo>
                        <a:pt x="0" y="2205"/>
                        <a:pt x="2205" y="0"/>
                        <a:pt x="4918" y="0"/>
                      </a:cubicBezTo>
                      <a:lnTo>
                        <a:pt x="39007" y="0"/>
                      </a:lnTo>
                      <a:cubicBezTo>
                        <a:pt x="41720" y="0"/>
                        <a:pt x="43925" y="2205"/>
                        <a:pt x="43925" y="4918"/>
                      </a:cubicBezTo>
                      <a:cubicBezTo>
                        <a:pt x="43925" y="7632"/>
                        <a:pt x="41720" y="9837"/>
                        <a:pt x="39007" y="9837"/>
                      </a:cubicBezTo>
                      <a:close/>
                    </a:path>
                  </a:pathLst>
                </a:custGeom>
                <a:solidFill>
                  <a:schemeClr val="accent1"/>
                </a:solidFill>
                <a:ln w="2420" cap="flat">
                  <a:noFill/>
                  <a:prstDash val="solid"/>
                  <a:miter/>
                </a:ln>
              </p:spPr>
              <p:txBody>
                <a:bodyPr rtlCol="0" anchor="ctr"/>
                <a:lstStyle/>
                <a:p>
                  <a:endParaRPr lang="en-GB" dirty="0"/>
                </a:p>
              </p:txBody>
            </p:sp>
          </p:grpSp>
          <p:grpSp>
            <p:nvGrpSpPr>
              <p:cNvPr id="141" name="Grafik 36">
                <a:extLst>
                  <a:ext uri="{FF2B5EF4-FFF2-40B4-BE49-F238E27FC236}">
                    <a16:creationId xmlns:a16="http://schemas.microsoft.com/office/drawing/2014/main" id="{457D0DCF-FC26-4F51-8F85-9C877723EDC7}"/>
                  </a:ext>
                </a:extLst>
              </p:cNvPr>
              <p:cNvGrpSpPr/>
              <p:nvPr/>
            </p:nvGrpSpPr>
            <p:grpSpPr>
              <a:xfrm>
                <a:off x="6260318" y="2587247"/>
                <a:ext cx="179613" cy="65391"/>
                <a:chOff x="6260318" y="2587247"/>
                <a:chExt cx="179613" cy="65391"/>
              </a:xfrm>
              <a:solidFill>
                <a:schemeClr val="accent1"/>
              </a:solidFill>
            </p:grpSpPr>
            <p:sp>
              <p:nvSpPr>
                <p:cNvPr id="146" name="Freihandform: Form 1547">
                  <a:extLst>
                    <a:ext uri="{FF2B5EF4-FFF2-40B4-BE49-F238E27FC236}">
                      <a16:creationId xmlns:a16="http://schemas.microsoft.com/office/drawing/2014/main" id="{4885A0F4-70D2-4B42-96F4-98EFED244F89}"/>
                    </a:ext>
                  </a:extLst>
                </p:cNvPr>
                <p:cNvSpPr/>
                <p:nvPr/>
              </p:nvSpPr>
              <p:spPr>
                <a:xfrm>
                  <a:off x="6343789" y="2587247"/>
                  <a:ext cx="9836" cy="45354"/>
                </a:xfrm>
                <a:custGeom>
                  <a:avLst/>
                  <a:gdLst>
                    <a:gd name="connsiteX0" fmla="*/ 4918 w 9836"/>
                    <a:gd name="connsiteY0" fmla="*/ 45355 h 45354"/>
                    <a:gd name="connsiteX1" fmla="*/ 0 w 9836"/>
                    <a:gd name="connsiteY1" fmla="*/ 40436 h 45354"/>
                    <a:gd name="connsiteX2" fmla="*/ 0 w 9836"/>
                    <a:gd name="connsiteY2" fmla="*/ 4918 h 45354"/>
                    <a:gd name="connsiteX3" fmla="*/ 4918 w 9836"/>
                    <a:gd name="connsiteY3" fmla="*/ 0 h 45354"/>
                    <a:gd name="connsiteX4" fmla="*/ 9837 w 9836"/>
                    <a:gd name="connsiteY4" fmla="*/ 4918 h 45354"/>
                    <a:gd name="connsiteX5" fmla="*/ 9837 w 9836"/>
                    <a:gd name="connsiteY5" fmla="*/ 40436 h 45354"/>
                    <a:gd name="connsiteX6" fmla="*/ 4918 w 9836"/>
                    <a:gd name="connsiteY6" fmla="*/ 45355 h 4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45354">
                      <a:moveTo>
                        <a:pt x="4918" y="45355"/>
                      </a:moveTo>
                      <a:cubicBezTo>
                        <a:pt x="2205" y="45355"/>
                        <a:pt x="0" y="43150"/>
                        <a:pt x="0" y="40436"/>
                      </a:cubicBezTo>
                      <a:lnTo>
                        <a:pt x="0" y="4918"/>
                      </a:lnTo>
                      <a:cubicBezTo>
                        <a:pt x="0" y="2205"/>
                        <a:pt x="2205" y="0"/>
                        <a:pt x="4918" y="0"/>
                      </a:cubicBezTo>
                      <a:cubicBezTo>
                        <a:pt x="7632" y="0"/>
                        <a:pt x="9837" y="2205"/>
                        <a:pt x="9837" y="4918"/>
                      </a:cubicBezTo>
                      <a:lnTo>
                        <a:pt x="9837" y="40436"/>
                      </a:lnTo>
                      <a:cubicBezTo>
                        <a:pt x="9861" y="43150"/>
                        <a:pt x="7656" y="45355"/>
                        <a:pt x="4918" y="45355"/>
                      </a:cubicBezTo>
                      <a:close/>
                    </a:path>
                  </a:pathLst>
                </a:custGeom>
                <a:solidFill>
                  <a:schemeClr val="accent1"/>
                </a:solidFill>
                <a:ln w="2420" cap="flat">
                  <a:noFill/>
                  <a:prstDash val="solid"/>
                  <a:miter/>
                </a:ln>
              </p:spPr>
              <p:txBody>
                <a:bodyPr rtlCol="0" anchor="ctr"/>
                <a:lstStyle/>
                <a:p>
                  <a:endParaRPr lang="en-GB" dirty="0"/>
                </a:p>
              </p:txBody>
            </p:sp>
            <p:sp>
              <p:nvSpPr>
                <p:cNvPr id="147" name="Freihandform: Form 1548">
                  <a:extLst>
                    <a:ext uri="{FF2B5EF4-FFF2-40B4-BE49-F238E27FC236}">
                      <a16:creationId xmlns:a16="http://schemas.microsoft.com/office/drawing/2014/main" id="{955F8DEE-C3F6-4B11-90F6-A4341EA271FF}"/>
                    </a:ext>
                  </a:extLst>
                </p:cNvPr>
                <p:cNvSpPr/>
                <p:nvPr/>
              </p:nvSpPr>
              <p:spPr>
                <a:xfrm>
                  <a:off x="6260318" y="2617647"/>
                  <a:ext cx="34972" cy="34991"/>
                </a:xfrm>
                <a:custGeom>
                  <a:avLst/>
                  <a:gdLst>
                    <a:gd name="connsiteX0" fmla="*/ 30049 w 34972"/>
                    <a:gd name="connsiteY0" fmla="*/ 34991 h 34991"/>
                    <a:gd name="connsiteX1" fmla="*/ 26560 w 34972"/>
                    <a:gd name="connsiteY1" fmla="*/ 33537 h 34991"/>
                    <a:gd name="connsiteX2" fmla="*/ 1435 w 34972"/>
                    <a:gd name="connsiteY2" fmla="*/ 8413 h 34991"/>
                    <a:gd name="connsiteX3" fmla="*/ 1435 w 34972"/>
                    <a:gd name="connsiteY3" fmla="*/ 1435 h 34991"/>
                    <a:gd name="connsiteX4" fmla="*/ 8413 w 34972"/>
                    <a:gd name="connsiteY4" fmla="*/ 1435 h 34991"/>
                    <a:gd name="connsiteX5" fmla="*/ 33537 w 34972"/>
                    <a:gd name="connsiteY5" fmla="*/ 26560 h 34991"/>
                    <a:gd name="connsiteX6" fmla="*/ 33537 w 34972"/>
                    <a:gd name="connsiteY6" fmla="*/ 33537 h 34991"/>
                    <a:gd name="connsiteX7" fmla="*/ 30049 w 34972"/>
                    <a:gd name="connsiteY7" fmla="*/ 34991 h 3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72" h="34991">
                      <a:moveTo>
                        <a:pt x="30049" y="34991"/>
                      </a:moveTo>
                      <a:cubicBezTo>
                        <a:pt x="28789" y="34991"/>
                        <a:pt x="27529" y="34507"/>
                        <a:pt x="26560" y="33537"/>
                      </a:cubicBezTo>
                      <a:lnTo>
                        <a:pt x="1435" y="8413"/>
                      </a:lnTo>
                      <a:cubicBezTo>
                        <a:pt x="-478" y="6499"/>
                        <a:pt x="-478" y="3374"/>
                        <a:pt x="1435" y="1435"/>
                      </a:cubicBezTo>
                      <a:cubicBezTo>
                        <a:pt x="3349" y="-478"/>
                        <a:pt x="6475" y="-478"/>
                        <a:pt x="8413" y="1435"/>
                      </a:cubicBezTo>
                      <a:lnTo>
                        <a:pt x="33537" y="26560"/>
                      </a:lnTo>
                      <a:cubicBezTo>
                        <a:pt x="35451" y="28474"/>
                        <a:pt x="35451" y="31599"/>
                        <a:pt x="33537" y="33537"/>
                      </a:cubicBezTo>
                      <a:cubicBezTo>
                        <a:pt x="32568" y="34507"/>
                        <a:pt x="31308" y="34991"/>
                        <a:pt x="30049" y="34991"/>
                      </a:cubicBezTo>
                      <a:close/>
                    </a:path>
                  </a:pathLst>
                </a:custGeom>
                <a:solidFill>
                  <a:schemeClr val="accent1"/>
                </a:solidFill>
                <a:ln w="2420" cap="flat">
                  <a:noFill/>
                  <a:prstDash val="solid"/>
                  <a:miter/>
                </a:ln>
              </p:spPr>
              <p:txBody>
                <a:bodyPr rtlCol="0" anchor="ctr"/>
                <a:lstStyle/>
                <a:p>
                  <a:endParaRPr lang="en-GB" dirty="0"/>
                </a:p>
              </p:txBody>
            </p:sp>
            <p:sp>
              <p:nvSpPr>
                <p:cNvPr id="148" name="Freihandform: Form 1549">
                  <a:extLst>
                    <a:ext uri="{FF2B5EF4-FFF2-40B4-BE49-F238E27FC236}">
                      <a16:creationId xmlns:a16="http://schemas.microsoft.com/office/drawing/2014/main" id="{71E7C788-826D-4621-ACCE-A6EB69E8C9F5}"/>
                    </a:ext>
                  </a:extLst>
                </p:cNvPr>
                <p:cNvSpPr/>
                <p:nvPr/>
              </p:nvSpPr>
              <p:spPr>
                <a:xfrm>
                  <a:off x="6404959" y="2617647"/>
                  <a:ext cx="34972" cy="34991"/>
                </a:xfrm>
                <a:custGeom>
                  <a:avLst/>
                  <a:gdLst>
                    <a:gd name="connsiteX0" fmla="*/ 4924 w 34972"/>
                    <a:gd name="connsiteY0" fmla="*/ 34991 h 34991"/>
                    <a:gd name="connsiteX1" fmla="*/ 1436 w 34972"/>
                    <a:gd name="connsiteY1" fmla="*/ 33537 h 34991"/>
                    <a:gd name="connsiteX2" fmla="*/ 1436 w 34972"/>
                    <a:gd name="connsiteY2" fmla="*/ 26560 h 34991"/>
                    <a:gd name="connsiteX3" fmla="*/ 26560 w 34972"/>
                    <a:gd name="connsiteY3" fmla="*/ 1435 h 34991"/>
                    <a:gd name="connsiteX4" fmla="*/ 33537 w 34972"/>
                    <a:gd name="connsiteY4" fmla="*/ 1435 h 34991"/>
                    <a:gd name="connsiteX5" fmla="*/ 33537 w 34972"/>
                    <a:gd name="connsiteY5" fmla="*/ 8413 h 34991"/>
                    <a:gd name="connsiteX6" fmla="*/ 8413 w 34972"/>
                    <a:gd name="connsiteY6" fmla="*/ 33537 h 34991"/>
                    <a:gd name="connsiteX7" fmla="*/ 4924 w 34972"/>
                    <a:gd name="connsiteY7" fmla="*/ 34991 h 3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72" h="34991">
                      <a:moveTo>
                        <a:pt x="4924" y="34991"/>
                      </a:moveTo>
                      <a:cubicBezTo>
                        <a:pt x="3664" y="34991"/>
                        <a:pt x="2405" y="34507"/>
                        <a:pt x="1436" y="33537"/>
                      </a:cubicBezTo>
                      <a:cubicBezTo>
                        <a:pt x="-479" y="31623"/>
                        <a:pt x="-479" y="28498"/>
                        <a:pt x="1436" y="26560"/>
                      </a:cubicBezTo>
                      <a:lnTo>
                        <a:pt x="26560" y="1435"/>
                      </a:lnTo>
                      <a:cubicBezTo>
                        <a:pt x="28474" y="-478"/>
                        <a:pt x="31599" y="-478"/>
                        <a:pt x="33537" y="1435"/>
                      </a:cubicBezTo>
                      <a:cubicBezTo>
                        <a:pt x="35451" y="3349"/>
                        <a:pt x="35451" y="6475"/>
                        <a:pt x="33537" y="8413"/>
                      </a:cubicBezTo>
                      <a:lnTo>
                        <a:pt x="8413" y="33537"/>
                      </a:lnTo>
                      <a:cubicBezTo>
                        <a:pt x="7444" y="34507"/>
                        <a:pt x="6184" y="34991"/>
                        <a:pt x="4924" y="34991"/>
                      </a:cubicBezTo>
                      <a:close/>
                    </a:path>
                  </a:pathLst>
                </a:custGeom>
                <a:solidFill>
                  <a:schemeClr val="accent1"/>
                </a:solidFill>
                <a:ln w="2420" cap="flat">
                  <a:noFill/>
                  <a:prstDash val="solid"/>
                  <a:miter/>
                </a:ln>
              </p:spPr>
              <p:txBody>
                <a:bodyPr rtlCol="0" anchor="ctr"/>
                <a:lstStyle/>
                <a:p>
                  <a:endParaRPr lang="en-GB" dirty="0"/>
                </a:p>
              </p:txBody>
            </p:sp>
          </p:grpSp>
          <p:sp>
            <p:nvSpPr>
              <p:cNvPr id="142" name="Freihandform: Form 1543">
                <a:extLst>
                  <a:ext uri="{FF2B5EF4-FFF2-40B4-BE49-F238E27FC236}">
                    <a16:creationId xmlns:a16="http://schemas.microsoft.com/office/drawing/2014/main" id="{A98C5274-0213-40AB-9055-E9315E85BECF}"/>
                  </a:ext>
                </a:extLst>
              </p:cNvPr>
              <p:cNvSpPr/>
              <p:nvPr/>
            </p:nvSpPr>
            <p:spPr>
              <a:xfrm>
                <a:off x="6322711" y="2432698"/>
                <a:ext cx="53882" cy="53882"/>
              </a:xfrm>
              <a:custGeom>
                <a:avLst/>
                <a:gdLst>
                  <a:gd name="connsiteX0" fmla="*/ 26941 w 53882"/>
                  <a:gd name="connsiteY0" fmla="*/ 53883 h 53882"/>
                  <a:gd name="connsiteX1" fmla="*/ 0 w 53882"/>
                  <a:gd name="connsiteY1" fmla="*/ 26941 h 53882"/>
                  <a:gd name="connsiteX2" fmla="*/ 26941 w 53882"/>
                  <a:gd name="connsiteY2" fmla="*/ 0 h 53882"/>
                  <a:gd name="connsiteX3" fmla="*/ 53883 w 53882"/>
                  <a:gd name="connsiteY3" fmla="*/ 26941 h 53882"/>
                  <a:gd name="connsiteX4" fmla="*/ 26941 w 53882"/>
                  <a:gd name="connsiteY4" fmla="*/ 53883 h 53882"/>
                  <a:gd name="connsiteX5" fmla="*/ 26941 w 53882"/>
                  <a:gd name="connsiteY5" fmla="*/ 9837 h 53882"/>
                  <a:gd name="connsiteX6" fmla="*/ 9861 w 53882"/>
                  <a:gd name="connsiteY6" fmla="*/ 26917 h 53882"/>
                  <a:gd name="connsiteX7" fmla="*/ 26941 w 53882"/>
                  <a:gd name="connsiteY7" fmla="*/ 44022 h 53882"/>
                  <a:gd name="connsiteX8" fmla="*/ 44022 w 53882"/>
                  <a:gd name="connsiteY8" fmla="*/ 26917 h 53882"/>
                  <a:gd name="connsiteX9" fmla="*/ 26941 w 53882"/>
                  <a:gd name="connsiteY9" fmla="*/ 9837 h 5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82" h="53882">
                    <a:moveTo>
                      <a:pt x="26941" y="53883"/>
                    </a:moveTo>
                    <a:cubicBezTo>
                      <a:pt x="12090" y="53883"/>
                      <a:pt x="0" y="41793"/>
                      <a:pt x="0" y="26941"/>
                    </a:cubicBezTo>
                    <a:cubicBezTo>
                      <a:pt x="0" y="12090"/>
                      <a:pt x="12090" y="0"/>
                      <a:pt x="26941" y="0"/>
                    </a:cubicBezTo>
                    <a:cubicBezTo>
                      <a:pt x="41793" y="0"/>
                      <a:pt x="53883" y="12090"/>
                      <a:pt x="53883" y="26941"/>
                    </a:cubicBezTo>
                    <a:cubicBezTo>
                      <a:pt x="53883" y="41793"/>
                      <a:pt x="41793" y="53883"/>
                      <a:pt x="26941" y="53883"/>
                    </a:cubicBezTo>
                    <a:close/>
                    <a:moveTo>
                      <a:pt x="26941" y="9837"/>
                    </a:moveTo>
                    <a:cubicBezTo>
                      <a:pt x="17517" y="9837"/>
                      <a:pt x="9861" y="17493"/>
                      <a:pt x="9861" y="26917"/>
                    </a:cubicBezTo>
                    <a:cubicBezTo>
                      <a:pt x="9861" y="36342"/>
                      <a:pt x="17517" y="44022"/>
                      <a:pt x="26941" y="44022"/>
                    </a:cubicBezTo>
                    <a:cubicBezTo>
                      <a:pt x="36366" y="44022"/>
                      <a:pt x="44022" y="36366"/>
                      <a:pt x="44022" y="26917"/>
                    </a:cubicBezTo>
                    <a:cubicBezTo>
                      <a:pt x="44046" y="17493"/>
                      <a:pt x="36366" y="9837"/>
                      <a:pt x="26941" y="9837"/>
                    </a:cubicBezTo>
                    <a:close/>
                  </a:path>
                </a:pathLst>
              </a:custGeom>
              <a:solidFill>
                <a:schemeClr val="accent1"/>
              </a:solidFill>
              <a:ln w="2420" cap="flat">
                <a:noFill/>
                <a:prstDash val="solid"/>
                <a:miter/>
              </a:ln>
            </p:spPr>
            <p:txBody>
              <a:bodyPr rtlCol="0" anchor="ctr"/>
              <a:lstStyle/>
              <a:p>
                <a:endParaRPr lang="en-GB" dirty="0"/>
              </a:p>
            </p:txBody>
          </p:sp>
          <p:sp>
            <p:nvSpPr>
              <p:cNvPr id="143" name="Freihandform: Form 1544">
                <a:extLst>
                  <a:ext uri="{FF2B5EF4-FFF2-40B4-BE49-F238E27FC236}">
                    <a16:creationId xmlns:a16="http://schemas.microsoft.com/office/drawing/2014/main" id="{2B4CC1F6-B44F-42BB-A01A-986784D2767F}"/>
                  </a:ext>
                </a:extLst>
              </p:cNvPr>
              <p:cNvSpPr/>
              <p:nvPr/>
            </p:nvSpPr>
            <p:spPr>
              <a:xfrm>
                <a:off x="6080529" y="2674855"/>
                <a:ext cx="53882" cy="53882"/>
              </a:xfrm>
              <a:custGeom>
                <a:avLst/>
                <a:gdLst>
                  <a:gd name="connsiteX0" fmla="*/ 26941 w 53882"/>
                  <a:gd name="connsiteY0" fmla="*/ 53883 h 53882"/>
                  <a:gd name="connsiteX1" fmla="*/ 0 w 53882"/>
                  <a:gd name="connsiteY1" fmla="*/ 26941 h 53882"/>
                  <a:gd name="connsiteX2" fmla="*/ 26941 w 53882"/>
                  <a:gd name="connsiteY2" fmla="*/ 0 h 53882"/>
                  <a:gd name="connsiteX3" fmla="*/ 53883 w 53882"/>
                  <a:gd name="connsiteY3" fmla="*/ 26941 h 53882"/>
                  <a:gd name="connsiteX4" fmla="*/ 26941 w 53882"/>
                  <a:gd name="connsiteY4" fmla="*/ 53883 h 53882"/>
                  <a:gd name="connsiteX5" fmla="*/ 26941 w 53882"/>
                  <a:gd name="connsiteY5" fmla="*/ 9861 h 53882"/>
                  <a:gd name="connsiteX6" fmla="*/ 9861 w 53882"/>
                  <a:gd name="connsiteY6" fmla="*/ 26941 h 53882"/>
                  <a:gd name="connsiteX7" fmla="*/ 26941 w 53882"/>
                  <a:gd name="connsiteY7" fmla="*/ 44022 h 53882"/>
                  <a:gd name="connsiteX8" fmla="*/ 44022 w 53882"/>
                  <a:gd name="connsiteY8" fmla="*/ 26941 h 53882"/>
                  <a:gd name="connsiteX9" fmla="*/ 26941 w 53882"/>
                  <a:gd name="connsiteY9" fmla="*/ 9861 h 5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82" h="53882">
                    <a:moveTo>
                      <a:pt x="26941" y="53883"/>
                    </a:moveTo>
                    <a:cubicBezTo>
                      <a:pt x="12090" y="53883"/>
                      <a:pt x="0" y="41793"/>
                      <a:pt x="0" y="26941"/>
                    </a:cubicBezTo>
                    <a:cubicBezTo>
                      <a:pt x="0" y="12090"/>
                      <a:pt x="12090" y="0"/>
                      <a:pt x="26941" y="0"/>
                    </a:cubicBezTo>
                    <a:cubicBezTo>
                      <a:pt x="41793" y="0"/>
                      <a:pt x="53883" y="12090"/>
                      <a:pt x="53883" y="26941"/>
                    </a:cubicBezTo>
                    <a:cubicBezTo>
                      <a:pt x="53883" y="41793"/>
                      <a:pt x="41793" y="53883"/>
                      <a:pt x="26941" y="53883"/>
                    </a:cubicBezTo>
                    <a:close/>
                    <a:moveTo>
                      <a:pt x="26941" y="9861"/>
                    </a:moveTo>
                    <a:cubicBezTo>
                      <a:pt x="17517" y="9861"/>
                      <a:pt x="9861" y="17517"/>
                      <a:pt x="9861" y="26941"/>
                    </a:cubicBezTo>
                    <a:cubicBezTo>
                      <a:pt x="9861" y="36366"/>
                      <a:pt x="17517" y="44022"/>
                      <a:pt x="26941" y="44022"/>
                    </a:cubicBezTo>
                    <a:cubicBezTo>
                      <a:pt x="36366" y="44022"/>
                      <a:pt x="44022" y="36366"/>
                      <a:pt x="44022" y="26941"/>
                    </a:cubicBezTo>
                    <a:cubicBezTo>
                      <a:pt x="44046" y="17517"/>
                      <a:pt x="36366" y="9861"/>
                      <a:pt x="26941" y="9861"/>
                    </a:cubicBezTo>
                    <a:close/>
                  </a:path>
                </a:pathLst>
              </a:custGeom>
              <a:solidFill>
                <a:schemeClr val="accent1"/>
              </a:solidFill>
              <a:ln w="2420" cap="flat">
                <a:noFill/>
                <a:prstDash val="solid"/>
                <a:miter/>
              </a:ln>
            </p:spPr>
            <p:txBody>
              <a:bodyPr rtlCol="0" anchor="ctr"/>
              <a:lstStyle/>
              <a:p>
                <a:endParaRPr lang="en-GB" dirty="0"/>
              </a:p>
            </p:txBody>
          </p:sp>
          <p:sp>
            <p:nvSpPr>
              <p:cNvPr id="144" name="Freihandform: Form 1545">
                <a:extLst>
                  <a:ext uri="{FF2B5EF4-FFF2-40B4-BE49-F238E27FC236}">
                    <a16:creationId xmlns:a16="http://schemas.microsoft.com/office/drawing/2014/main" id="{DDB5D3C3-D78E-4D2C-869C-6A55AD2B7411}"/>
                  </a:ext>
                </a:extLst>
              </p:cNvPr>
              <p:cNvSpPr/>
              <p:nvPr/>
            </p:nvSpPr>
            <p:spPr>
              <a:xfrm>
                <a:off x="6565596" y="2674855"/>
                <a:ext cx="53882" cy="53882"/>
              </a:xfrm>
              <a:custGeom>
                <a:avLst/>
                <a:gdLst>
                  <a:gd name="connsiteX0" fmla="*/ 26941 w 53882"/>
                  <a:gd name="connsiteY0" fmla="*/ 53883 h 53882"/>
                  <a:gd name="connsiteX1" fmla="*/ 0 w 53882"/>
                  <a:gd name="connsiteY1" fmla="*/ 26941 h 53882"/>
                  <a:gd name="connsiteX2" fmla="*/ 26941 w 53882"/>
                  <a:gd name="connsiteY2" fmla="*/ 0 h 53882"/>
                  <a:gd name="connsiteX3" fmla="*/ 53883 w 53882"/>
                  <a:gd name="connsiteY3" fmla="*/ 26941 h 53882"/>
                  <a:gd name="connsiteX4" fmla="*/ 26941 w 53882"/>
                  <a:gd name="connsiteY4" fmla="*/ 53883 h 53882"/>
                  <a:gd name="connsiteX5" fmla="*/ 26941 w 53882"/>
                  <a:gd name="connsiteY5" fmla="*/ 9861 h 53882"/>
                  <a:gd name="connsiteX6" fmla="*/ 9861 w 53882"/>
                  <a:gd name="connsiteY6" fmla="*/ 26941 h 53882"/>
                  <a:gd name="connsiteX7" fmla="*/ 26941 w 53882"/>
                  <a:gd name="connsiteY7" fmla="*/ 44022 h 53882"/>
                  <a:gd name="connsiteX8" fmla="*/ 44022 w 53882"/>
                  <a:gd name="connsiteY8" fmla="*/ 26941 h 53882"/>
                  <a:gd name="connsiteX9" fmla="*/ 26941 w 53882"/>
                  <a:gd name="connsiteY9" fmla="*/ 9861 h 5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82" h="53882">
                    <a:moveTo>
                      <a:pt x="26941" y="53883"/>
                    </a:moveTo>
                    <a:cubicBezTo>
                      <a:pt x="12090" y="53883"/>
                      <a:pt x="0" y="41793"/>
                      <a:pt x="0" y="26941"/>
                    </a:cubicBezTo>
                    <a:cubicBezTo>
                      <a:pt x="0" y="12090"/>
                      <a:pt x="12090" y="0"/>
                      <a:pt x="26941" y="0"/>
                    </a:cubicBezTo>
                    <a:cubicBezTo>
                      <a:pt x="41793" y="0"/>
                      <a:pt x="53883" y="12090"/>
                      <a:pt x="53883" y="26941"/>
                    </a:cubicBezTo>
                    <a:cubicBezTo>
                      <a:pt x="53883" y="41793"/>
                      <a:pt x="41793" y="53883"/>
                      <a:pt x="26941" y="53883"/>
                    </a:cubicBezTo>
                    <a:close/>
                    <a:moveTo>
                      <a:pt x="26941" y="9861"/>
                    </a:moveTo>
                    <a:cubicBezTo>
                      <a:pt x="17517" y="9861"/>
                      <a:pt x="9861" y="17517"/>
                      <a:pt x="9861" y="26941"/>
                    </a:cubicBezTo>
                    <a:cubicBezTo>
                      <a:pt x="9861" y="36366"/>
                      <a:pt x="17517" y="44022"/>
                      <a:pt x="26941" y="44022"/>
                    </a:cubicBezTo>
                    <a:cubicBezTo>
                      <a:pt x="36366" y="44022"/>
                      <a:pt x="44022" y="36366"/>
                      <a:pt x="44022" y="26941"/>
                    </a:cubicBezTo>
                    <a:cubicBezTo>
                      <a:pt x="44022" y="17517"/>
                      <a:pt x="36342" y="9861"/>
                      <a:pt x="26941" y="9861"/>
                    </a:cubicBezTo>
                    <a:close/>
                  </a:path>
                </a:pathLst>
              </a:custGeom>
              <a:solidFill>
                <a:schemeClr val="accent1"/>
              </a:solidFill>
              <a:ln w="2420" cap="flat">
                <a:noFill/>
                <a:prstDash val="solid"/>
                <a:miter/>
              </a:ln>
            </p:spPr>
            <p:txBody>
              <a:bodyPr rtlCol="0" anchor="ctr"/>
              <a:lstStyle/>
              <a:p>
                <a:endParaRPr lang="en-GB" dirty="0"/>
              </a:p>
            </p:txBody>
          </p:sp>
          <p:sp>
            <p:nvSpPr>
              <p:cNvPr id="145" name="Freihandform: Form 1546">
                <a:extLst>
                  <a:ext uri="{FF2B5EF4-FFF2-40B4-BE49-F238E27FC236}">
                    <a16:creationId xmlns:a16="http://schemas.microsoft.com/office/drawing/2014/main" id="{00100E22-F108-470C-8C5D-6426D957239C}"/>
                  </a:ext>
                </a:extLst>
              </p:cNvPr>
              <p:cNvSpPr/>
              <p:nvPr/>
            </p:nvSpPr>
            <p:spPr>
              <a:xfrm>
                <a:off x="6322711" y="2914299"/>
                <a:ext cx="53882" cy="53882"/>
              </a:xfrm>
              <a:custGeom>
                <a:avLst/>
                <a:gdLst>
                  <a:gd name="connsiteX0" fmla="*/ 26941 w 53882"/>
                  <a:gd name="connsiteY0" fmla="*/ 53883 h 53882"/>
                  <a:gd name="connsiteX1" fmla="*/ 0 w 53882"/>
                  <a:gd name="connsiteY1" fmla="*/ 26941 h 53882"/>
                  <a:gd name="connsiteX2" fmla="*/ 26941 w 53882"/>
                  <a:gd name="connsiteY2" fmla="*/ 0 h 53882"/>
                  <a:gd name="connsiteX3" fmla="*/ 53883 w 53882"/>
                  <a:gd name="connsiteY3" fmla="*/ 26941 h 53882"/>
                  <a:gd name="connsiteX4" fmla="*/ 26941 w 53882"/>
                  <a:gd name="connsiteY4" fmla="*/ 53883 h 53882"/>
                  <a:gd name="connsiteX5" fmla="*/ 26941 w 53882"/>
                  <a:gd name="connsiteY5" fmla="*/ 9837 h 53882"/>
                  <a:gd name="connsiteX6" fmla="*/ 9861 w 53882"/>
                  <a:gd name="connsiteY6" fmla="*/ 26941 h 53882"/>
                  <a:gd name="connsiteX7" fmla="*/ 26941 w 53882"/>
                  <a:gd name="connsiteY7" fmla="*/ 44022 h 53882"/>
                  <a:gd name="connsiteX8" fmla="*/ 44022 w 53882"/>
                  <a:gd name="connsiteY8" fmla="*/ 26941 h 53882"/>
                  <a:gd name="connsiteX9" fmla="*/ 26941 w 53882"/>
                  <a:gd name="connsiteY9" fmla="*/ 9837 h 5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82" h="53882">
                    <a:moveTo>
                      <a:pt x="26941" y="53883"/>
                    </a:moveTo>
                    <a:cubicBezTo>
                      <a:pt x="12090" y="53883"/>
                      <a:pt x="0" y="41793"/>
                      <a:pt x="0" y="26941"/>
                    </a:cubicBezTo>
                    <a:cubicBezTo>
                      <a:pt x="0" y="12090"/>
                      <a:pt x="12090" y="0"/>
                      <a:pt x="26941" y="0"/>
                    </a:cubicBezTo>
                    <a:cubicBezTo>
                      <a:pt x="41793" y="0"/>
                      <a:pt x="53883" y="12090"/>
                      <a:pt x="53883" y="26941"/>
                    </a:cubicBezTo>
                    <a:cubicBezTo>
                      <a:pt x="53883" y="41793"/>
                      <a:pt x="41793" y="53883"/>
                      <a:pt x="26941" y="53883"/>
                    </a:cubicBezTo>
                    <a:close/>
                    <a:moveTo>
                      <a:pt x="26941" y="9837"/>
                    </a:moveTo>
                    <a:cubicBezTo>
                      <a:pt x="17517" y="9837"/>
                      <a:pt x="9861" y="17493"/>
                      <a:pt x="9861" y="26941"/>
                    </a:cubicBezTo>
                    <a:cubicBezTo>
                      <a:pt x="9861" y="36366"/>
                      <a:pt x="17517" y="44022"/>
                      <a:pt x="26941" y="44022"/>
                    </a:cubicBezTo>
                    <a:cubicBezTo>
                      <a:pt x="36366" y="44022"/>
                      <a:pt x="44022" y="36366"/>
                      <a:pt x="44022" y="26941"/>
                    </a:cubicBezTo>
                    <a:cubicBezTo>
                      <a:pt x="44046" y="17517"/>
                      <a:pt x="36366" y="9837"/>
                      <a:pt x="26941" y="9837"/>
                    </a:cubicBezTo>
                    <a:close/>
                  </a:path>
                </a:pathLst>
              </a:custGeom>
              <a:solidFill>
                <a:schemeClr val="accent1"/>
              </a:solidFill>
              <a:ln w="2420" cap="flat">
                <a:noFill/>
                <a:prstDash val="solid"/>
                <a:miter/>
              </a:ln>
            </p:spPr>
            <p:txBody>
              <a:bodyPr rtlCol="0" anchor="ctr"/>
              <a:lstStyle/>
              <a:p>
                <a:endParaRPr lang="en-GB" dirty="0"/>
              </a:p>
            </p:txBody>
          </p:sp>
        </p:grpSp>
        <p:grpSp>
          <p:nvGrpSpPr>
            <p:cNvPr id="131" name="Group 1129">
              <a:extLst>
                <a:ext uri="{FF2B5EF4-FFF2-40B4-BE49-F238E27FC236}">
                  <a16:creationId xmlns:a16="http://schemas.microsoft.com/office/drawing/2014/main" id="{5DD752A4-56DF-4BCC-B717-96F20AB9FB1A}"/>
                </a:ext>
              </a:extLst>
            </p:cNvPr>
            <p:cNvGrpSpPr/>
            <p:nvPr/>
          </p:nvGrpSpPr>
          <p:grpSpPr>
            <a:xfrm>
              <a:off x="3761798" y="3245913"/>
              <a:ext cx="337086" cy="334311"/>
              <a:chOff x="6141075" y="2493243"/>
              <a:chExt cx="417833" cy="414393"/>
            </a:xfrm>
          </p:grpSpPr>
          <p:sp>
            <p:nvSpPr>
              <p:cNvPr id="132" name="Freihandform: Form 1533">
                <a:extLst>
                  <a:ext uri="{FF2B5EF4-FFF2-40B4-BE49-F238E27FC236}">
                    <a16:creationId xmlns:a16="http://schemas.microsoft.com/office/drawing/2014/main" id="{E3C43943-5D53-45AF-9FA7-79A690FF8B10}"/>
                  </a:ext>
                </a:extLst>
              </p:cNvPr>
              <p:cNvSpPr/>
              <p:nvPr/>
            </p:nvSpPr>
            <p:spPr>
              <a:xfrm>
                <a:off x="6253895" y="2536345"/>
                <a:ext cx="191609" cy="38716"/>
              </a:xfrm>
              <a:custGeom>
                <a:avLst/>
                <a:gdLst>
                  <a:gd name="connsiteX0" fmla="*/ 4927 w 191609"/>
                  <a:gd name="connsiteY0" fmla="*/ 38716 h 38716"/>
                  <a:gd name="connsiteX1" fmla="*/ 905 w 191609"/>
                  <a:gd name="connsiteY1" fmla="*/ 36633 h 38716"/>
                  <a:gd name="connsiteX2" fmla="*/ 2092 w 191609"/>
                  <a:gd name="connsiteY2" fmla="*/ 29776 h 38716"/>
                  <a:gd name="connsiteX3" fmla="*/ 96218 w 191609"/>
                  <a:gd name="connsiteY3" fmla="*/ 0 h 38716"/>
                  <a:gd name="connsiteX4" fmla="*/ 189495 w 191609"/>
                  <a:gd name="connsiteY4" fmla="*/ 29170 h 38716"/>
                  <a:gd name="connsiteX5" fmla="*/ 190731 w 191609"/>
                  <a:gd name="connsiteY5" fmla="*/ 36027 h 38716"/>
                  <a:gd name="connsiteX6" fmla="*/ 183874 w 191609"/>
                  <a:gd name="connsiteY6" fmla="*/ 37262 h 38716"/>
                  <a:gd name="connsiteX7" fmla="*/ 96218 w 191609"/>
                  <a:gd name="connsiteY7" fmla="*/ 9861 h 38716"/>
                  <a:gd name="connsiteX8" fmla="*/ 7762 w 191609"/>
                  <a:gd name="connsiteY8" fmla="*/ 37844 h 38716"/>
                  <a:gd name="connsiteX9" fmla="*/ 4927 w 191609"/>
                  <a:gd name="connsiteY9" fmla="*/ 38716 h 3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1609" h="38716">
                    <a:moveTo>
                      <a:pt x="4927" y="38716"/>
                    </a:moveTo>
                    <a:cubicBezTo>
                      <a:pt x="3376" y="38716"/>
                      <a:pt x="1850" y="37989"/>
                      <a:pt x="905" y="36633"/>
                    </a:cubicBezTo>
                    <a:cubicBezTo>
                      <a:pt x="-670" y="34404"/>
                      <a:pt x="-137" y="31327"/>
                      <a:pt x="2092" y="29776"/>
                    </a:cubicBezTo>
                    <a:cubicBezTo>
                      <a:pt x="29736" y="10297"/>
                      <a:pt x="62299" y="0"/>
                      <a:pt x="96218" y="0"/>
                    </a:cubicBezTo>
                    <a:cubicBezTo>
                      <a:pt x="129773" y="0"/>
                      <a:pt x="162021" y="10079"/>
                      <a:pt x="189495" y="29170"/>
                    </a:cubicBezTo>
                    <a:cubicBezTo>
                      <a:pt x="191724" y="30721"/>
                      <a:pt x="192281" y="33798"/>
                      <a:pt x="190731" y="36027"/>
                    </a:cubicBezTo>
                    <a:cubicBezTo>
                      <a:pt x="189180" y="38256"/>
                      <a:pt x="186103" y="38813"/>
                      <a:pt x="183874" y="37262"/>
                    </a:cubicBezTo>
                    <a:cubicBezTo>
                      <a:pt x="158071" y="19334"/>
                      <a:pt x="127762" y="9861"/>
                      <a:pt x="96218" y="9861"/>
                    </a:cubicBezTo>
                    <a:cubicBezTo>
                      <a:pt x="64334" y="9861"/>
                      <a:pt x="33758" y="19528"/>
                      <a:pt x="7762" y="37844"/>
                    </a:cubicBezTo>
                    <a:cubicBezTo>
                      <a:pt x="6914" y="38425"/>
                      <a:pt x="5920" y="38716"/>
                      <a:pt x="4927" y="38716"/>
                    </a:cubicBezTo>
                    <a:close/>
                  </a:path>
                </a:pathLst>
              </a:custGeom>
              <a:solidFill>
                <a:schemeClr val="tx2"/>
              </a:solidFill>
              <a:ln w="2420" cap="flat">
                <a:noFill/>
                <a:prstDash val="solid"/>
                <a:miter/>
              </a:ln>
            </p:spPr>
            <p:txBody>
              <a:bodyPr rtlCol="0" anchor="ctr"/>
              <a:lstStyle/>
              <a:p>
                <a:endParaRPr lang="en-GB" dirty="0"/>
              </a:p>
            </p:txBody>
          </p:sp>
          <p:sp>
            <p:nvSpPr>
              <p:cNvPr id="133" name="Freihandform: Form 1534">
                <a:extLst>
                  <a:ext uri="{FF2B5EF4-FFF2-40B4-BE49-F238E27FC236}">
                    <a16:creationId xmlns:a16="http://schemas.microsoft.com/office/drawing/2014/main" id="{F4BA47E7-24F2-44F8-97C2-FFE7B95FF1B6}"/>
                  </a:ext>
                </a:extLst>
              </p:cNvPr>
              <p:cNvSpPr/>
              <p:nvPr/>
            </p:nvSpPr>
            <p:spPr>
              <a:xfrm>
                <a:off x="6494459" y="2641054"/>
                <a:ext cx="19264" cy="116660"/>
              </a:xfrm>
              <a:custGeom>
                <a:avLst/>
                <a:gdLst>
                  <a:gd name="connsiteX0" fmla="*/ 5358 w 19264"/>
                  <a:gd name="connsiteY0" fmla="*/ 116661 h 116660"/>
                  <a:gd name="connsiteX1" fmla="*/ 3711 w 19264"/>
                  <a:gd name="connsiteY1" fmla="*/ 116394 h 116660"/>
                  <a:gd name="connsiteX2" fmla="*/ 706 w 19264"/>
                  <a:gd name="connsiteY2" fmla="*/ 110095 h 116660"/>
                  <a:gd name="connsiteX3" fmla="*/ 9428 w 19264"/>
                  <a:gd name="connsiteY3" fmla="*/ 58926 h 116660"/>
                  <a:gd name="connsiteX4" fmla="*/ 294 w 19264"/>
                  <a:gd name="connsiteY4" fmla="*/ 6594 h 116660"/>
                  <a:gd name="connsiteX5" fmla="*/ 3250 w 19264"/>
                  <a:gd name="connsiteY5" fmla="*/ 294 h 116660"/>
                  <a:gd name="connsiteX6" fmla="*/ 9549 w 19264"/>
                  <a:gd name="connsiteY6" fmla="*/ 3250 h 116660"/>
                  <a:gd name="connsiteX7" fmla="*/ 19265 w 19264"/>
                  <a:gd name="connsiteY7" fmla="*/ 58950 h 116660"/>
                  <a:gd name="connsiteX8" fmla="*/ 9986 w 19264"/>
                  <a:gd name="connsiteY8" fmla="*/ 113390 h 116660"/>
                  <a:gd name="connsiteX9" fmla="*/ 5358 w 19264"/>
                  <a:gd name="connsiteY9" fmla="*/ 116661 h 116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64" h="116660">
                    <a:moveTo>
                      <a:pt x="5358" y="116661"/>
                    </a:moveTo>
                    <a:cubicBezTo>
                      <a:pt x="4825" y="116661"/>
                      <a:pt x="4268" y="116564"/>
                      <a:pt x="3711" y="116394"/>
                    </a:cubicBezTo>
                    <a:cubicBezTo>
                      <a:pt x="1142" y="115498"/>
                      <a:pt x="-214" y="112687"/>
                      <a:pt x="706" y="110095"/>
                    </a:cubicBezTo>
                    <a:cubicBezTo>
                      <a:pt x="6497" y="93693"/>
                      <a:pt x="9428" y="76467"/>
                      <a:pt x="9428" y="58926"/>
                    </a:cubicBezTo>
                    <a:cubicBezTo>
                      <a:pt x="9428" y="40949"/>
                      <a:pt x="6351" y="23335"/>
                      <a:pt x="294" y="6594"/>
                    </a:cubicBezTo>
                    <a:cubicBezTo>
                      <a:pt x="-626" y="4025"/>
                      <a:pt x="682" y="1215"/>
                      <a:pt x="3250" y="294"/>
                    </a:cubicBezTo>
                    <a:cubicBezTo>
                      <a:pt x="5818" y="-626"/>
                      <a:pt x="8629" y="682"/>
                      <a:pt x="9549" y="3250"/>
                    </a:cubicBezTo>
                    <a:cubicBezTo>
                      <a:pt x="15994" y="21082"/>
                      <a:pt x="19265" y="39810"/>
                      <a:pt x="19265" y="58950"/>
                    </a:cubicBezTo>
                    <a:cubicBezTo>
                      <a:pt x="19265" y="77630"/>
                      <a:pt x="16139" y="95946"/>
                      <a:pt x="9986" y="113390"/>
                    </a:cubicBezTo>
                    <a:cubicBezTo>
                      <a:pt x="9307" y="115401"/>
                      <a:pt x="7393" y="116661"/>
                      <a:pt x="5358" y="116661"/>
                    </a:cubicBezTo>
                    <a:close/>
                  </a:path>
                </a:pathLst>
              </a:custGeom>
              <a:solidFill>
                <a:schemeClr val="tx2"/>
              </a:solidFill>
              <a:ln w="2420" cap="flat">
                <a:noFill/>
                <a:prstDash val="solid"/>
                <a:miter/>
              </a:ln>
            </p:spPr>
            <p:txBody>
              <a:bodyPr rtlCol="0" anchor="ctr"/>
              <a:lstStyle/>
              <a:p>
                <a:endParaRPr lang="en-GB" dirty="0"/>
              </a:p>
            </p:txBody>
          </p:sp>
          <p:sp>
            <p:nvSpPr>
              <p:cNvPr id="134" name="Freihandform: Form 1535">
                <a:extLst>
                  <a:ext uri="{FF2B5EF4-FFF2-40B4-BE49-F238E27FC236}">
                    <a16:creationId xmlns:a16="http://schemas.microsoft.com/office/drawing/2014/main" id="{CEC90ECC-9BAD-460F-841A-E13C020A4A81}"/>
                  </a:ext>
                </a:extLst>
              </p:cNvPr>
              <p:cNvSpPr/>
              <p:nvPr/>
            </p:nvSpPr>
            <p:spPr>
              <a:xfrm>
                <a:off x="6254485" y="2824720"/>
                <a:ext cx="192088" cy="38894"/>
              </a:xfrm>
              <a:custGeom>
                <a:avLst/>
                <a:gdLst>
                  <a:gd name="connsiteX0" fmla="*/ 95628 w 192088"/>
                  <a:gd name="connsiteY0" fmla="*/ 38895 h 38894"/>
                  <a:gd name="connsiteX1" fmla="*/ 55604 w 192088"/>
                  <a:gd name="connsiteY1" fmla="*/ 33952 h 38894"/>
                  <a:gd name="connsiteX2" fmla="*/ 2108 w 192088"/>
                  <a:gd name="connsiteY2" fmla="*/ 9530 h 38894"/>
                  <a:gd name="connsiteX3" fmla="*/ 897 w 192088"/>
                  <a:gd name="connsiteY3" fmla="*/ 2674 h 38894"/>
                  <a:gd name="connsiteX4" fmla="*/ 7754 w 192088"/>
                  <a:gd name="connsiteY4" fmla="*/ 1462 h 38894"/>
                  <a:gd name="connsiteX5" fmla="*/ 58002 w 192088"/>
                  <a:gd name="connsiteY5" fmla="*/ 24406 h 38894"/>
                  <a:gd name="connsiteX6" fmla="*/ 95628 w 192088"/>
                  <a:gd name="connsiteY6" fmla="*/ 29034 h 38894"/>
                  <a:gd name="connsiteX7" fmla="*/ 184302 w 192088"/>
                  <a:gd name="connsiteY7" fmla="*/ 905 h 38894"/>
                  <a:gd name="connsiteX8" fmla="*/ 191183 w 192088"/>
                  <a:gd name="connsiteY8" fmla="*/ 2092 h 38894"/>
                  <a:gd name="connsiteX9" fmla="*/ 189996 w 192088"/>
                  <a:gd name="connsiteY9" fmla="*/ 8973 h 38894"/>
                  <a:gd name="connsiteX10" fmla="*/ 95628 w 192088"/>
                  <a:gd name="connsiteY10" fmla="*/ 38895 h 3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088" h="38894">
                    <a:moveTo>
                      <a:pt x="95628" y="38895"/>
                    </a:moveTo>
                    <a:cubicBezTo>
                      <a:pt x="82085" y="38895"/>
                      <a:pt x="68638" y="37247"/>
                      <a:pt x="55604" y="33952"/>
                    </a:cubicBezTo>
                    <a:cubicBezTo>
                      <a:pt x="36415" y="29131"/>
                      <a:pt x="18414" y="20917"/>
                      <a:pt x="2108" y="9530"/>
                    </a:cubicBezTo>
                    <a:cubicBezTo>
                      <a:pt x="-120" y="7980"/>
                      <a:pt x="-678" y="4903"/>
                      <a:pt x="897" y="2674"/>
                    </a:cubicBezTo>
                    <a:cubicBezTo>
                      <a:pt x="2448" y="445"/>
                      <a:pt x="5525" y="-88"/>
                      <a:pt x="7754" y="1462"/>
                    </a:cubicBezTo>
                    <a:cubicBezTo>
                      <a:pt x="23066" y="12147"/>
                      <a:pt x="39977" y="19876"/>
                      <a:pt x="58002" y="24406"/>
                    </a:cubicBezTo>
                    <a:cubicBezTo>
                      <a:pt x="70237" y="27483"/>
                      <a:pt x="82908" y="29034"/>
                      <a:pt x="95628" y="29034"/>
                    </a:cubicBezTo>
                    <a:cubicBezTo>
                      <a:pt x="127633" y="29034"/>
                      <a:pt x="158281" y="19294"/>
                      <a:pt x="184302" y="905"/>
                    </a:cubicBezTo>
                    <a:cubicBezTo>
                      <a:pt x="186531" y="-670"/>
                      <a:pt x="189608" y="-137"/>
                      <a:pt x="191183" y="2092"/>
                    </a:cubicBezTo>
                    <a:cubicBezTo>
                      <a:pt x="192758" y="4321"/>
                      <a:pt x="192225" y="7398"/>
                      <a:pt x="189996" y="8973"/>
                    </a:cubicBezTo>
                    <a:cubicBezTo>
                      <a:pt x="162303" y="28525"/>
                      <a:pt x="129668" y="38895"/>
                      <a:pt x="95628" y="38895"/>
                    </a:cubicBezTo>
                    <a:close/>
                  </a:path>
                </a:pathLst>
              </a:custGeom>
              <a:solidFill>
                <a:schemeClr val="tx2"/>
              </a:solidFill>
              <a:ln w="2420" cap="flat">
                <a:noFill/>
                <a:prstDash val="solid"/>
                <a:miter/>
              </a:ln>
            </p:spPr>
            <p:txBody>
              <a:bodyPr rtlCol="0" anchor="ctr"/>
              <a:lstStyle/>
              <a:p>
                <a:endParaRPr lang="en-GB" dirty="0"/>
              </a:p>
            </p:txBody>
          </p:sp>
          <p:sp>
            <p:nvSpPr>
              <p:cNvPr id="135" name="Freihandform: Form 1536">
                <a:extLst>
                  <a:ext uri="{FF2B5EF4-FFF2-40B4-BE49-F238E27FC236}">
                    <a16:creationId xmlns:a16="http://schemas.microsoft.com/office/drawing/2014/main" id="{E6CF4479-8A49-4DC8-87CD-9997DE573103}"/>
                  </a:ext>
                </a:extLst>
              </p:cNvPr>
              <p:cNvSpPr/>
              <p:nvPr/>
            </p:nvSpPr>
            <p:spPr>
              <a:xfrm>
                <a:off x="6186502" y="2640935"/>
                <a:ext cx="19337" cy="116197"/>
              </a:xfrm>
              <a:custGeom>
                <a:avLst/>
                <a:gdLst>
                  <a:gd name="connsiteX0" fmla="*/ 13713 w 19337"/>
                  <a:gd name="connsiteY0" fmla="*/ 116198 h 116197"/>
                  <a:gd name="connsiteX1" fmla="*/ 9061 w 19337"/>
                  <a:gd name="connsiteY1" fmla="*/ 112879 h 116197"/>
                  <a:gd name="connsiteX2" fmla="*/ 0 w 19337"/>
                  <a:gd name="connsiteY2" fmla="*/ 59020 h 116197"/>
                  <a:gd name="connsiteX3" fmla="*/ 9764 w 19337"/>
                  <a:gd name="connsiteY3" fmla="*/ 3248 h 116197"/>
                  <a:gd name="connsiteX4" fmla="*/ 16087 w 19337"/>
                  <a:gd name="connsiteY4" fmla="*/ 292 h 116197"/>
                  <a:gd name="connsiteX5" fmla="*/ 19043 w 19337"/>
                  <a:gd name="connsiteY5" fmla="*/ 6615 h 116197"/>
                  <a:gd name="connsiteX6" fmla="*/ 9885 w 19337"/>
                  <a:gd name="connsiteY6" fmla="*/ 59020 h 116197"/>
                  <a:gd name="connsiteX7" fmla="*/ 18413 w 19337"/>
                  <a:gd name="connsiteY7" fmla="*/ 109632 h 116197"/>
                  <a:gd name="connsiteX8" fmla="*/ 15385 w 19337"/>
                  <a:gd name="connsiteY8" fmla="*/ 115907 h 116197"/>
                  <a:gd name="connsiteX9" fmla="*/ 13713 w 19337"/>
                  <a:gd name="connsiteY9" fmla="*/ 116198 h 11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337" h="116197">
                    <a:moveTo>
                      <a:pt x="13713" y="116198"/>
                    </a:moveTo>
                    <a:cubicBezTo>
                      <a:pt x="11678" y="116198"/>
                      <a:pt x="9764" y="114914"/>
                      <a:pt x="9061" y="112879"/>
                    </a:cubicBezTo>
                    <a:cubicBezTo>
                      <a:pt x="3028" y="95604"/>
                      <a:pt x="0" y="77482"/>
                      <a:pt x="0" y="59020"/>
                    </a:cubicBezTo>
                    <a:cubicBezTo>
                      <a:pt x="0" y="39856"/>
                      <a:pt x="3271" y="21103"/>
                      <a:pt x="9764" y="3248"/>
                    </a:cubicBezTo>
                    <a:cubicBezTo>
                      <a:pt x="10685" y="704"/>
                      <a:pt x="13519" y="-629"/>
                      <a:pt x="16087" y="292"/>
                    </a:cubicBezTo>
                    <a:cubicBezTo>
                      <a:pt x="18655" y="1212"/>
                      <a:pt x="19964" y="4047"/>
                      <a:pt x="19043" y="6615"/>
                    </a:cubicBezTo>
                    <a:cubicBezTo>
                      <a:pt x="12962" y="23381"/>
                      <a:pt x="9885" y="41019"/>
                      <a:pt x="9885" y="59020"/>
                    </a:cubicBezTo>
                    <a:cubicBezTo>
                      <a:pt x="9885" y="76367"/>
                      <a:pt x="12744" y="93399"/>
                      <a:pt x="18413" y="109632"/>
                    </a:cubicBezTo>
                    <a:cubicBezTo>
                      <a:pt x="19310" y="112200"/>
                      <a:pt x="17953" y="115011"/>
                      <a:pt x="15385" y="115907"/>
                    </a:cubicBezTo>
                    <a:cubicBezTo>
                      <a:pt x="14803" y="116125"/>
                      <a:pt x="14246" y="116198"/>
                      <a:pt x="13713" y="116198"/>
                    </a:cubicBezTo>
                    <a:close/>
                  </a:path>
                </a:pathLst>
              </a:custGeom>
              <a:solidFill>
                <a:schemeClr val="tx2"/>
              </a:solidFill>
              <a:ln w="2420" cap="flat">
                <a:noFill/>
                <a:prstDash val="solid"/>
                <a:miter/>
              </a:ln>
            </p:spPr>
            <p:txBody>
              <a:bodyPr rtlCol="0" anchor="ctr"/>
              <a:lstStyle/>
              <a:p>
                <a:endParaRPr lang="en-GB" dirty="0"/>
              </a:p>
            </p:txBody>
          </p:sp>
          <p:sp>
            <p:nvSpPr>
              <p:cNvPr id="136" name="Freihandform: Form 1537">
                <a:extLst>
                  <a:ext uri="{FF2B5EF4-FFF2-40B4-BE49-F238E27FC236}">
                    <a16:creationId xmlns:a16="http://schemas.microsoft.com/office/drawing/2014/main" id="{6E437E75-3A3E-4B86-A0D7-E5AA06ED86ED}"/>
                  </a:ext>
                </a:extLst>
              </p:cNvPr>
              <p:cNvSpPr/>
              <p:nvPr/>
            </p:nvSpPr>
            <p:spPr>
              <a:xfrm>
                <a:off x="6344734" y="2493243"/>
                <a:ext cx="9836" cy="37359"/>
              </a:xfrm>
              <a:custGeom>
                <a:avLst/>
                <a:gdLst>
                  <a:gd name="connsiteX0" fmla="*/ 4918 w 9836"/>
                  <a:gd name="connsiteY0" fmla="*/ 37359 h 37359"/>
                  <a:gd name="connsiteX1" fmla="*/ 0 w 9836"/>
                  <a:gd name="connsiteY1" fmla="*/ 32441 h 37359"/>
                  <a:gd name="connsiteX2" fmla="*/ 0 w 9836"/>
                  <a:gd name="connsiteY2" fmla="*/ 4918 h 37359"/>
                  <a:gd name="connsiteX3" fmla="*/ 4918 w 9836"/>
                  <a:gd name="connsiteY3" fmla="*/ 0 h 37359"/>
                  <a:gd name="connsiteX4" fmla="*/ 9837 w 9836"/>
                  <a:gd name="connsiteY4" fmla="*/ 4918 h 37359"/>
                  <a:gd name="connsiteX5" fmla="*/ 9837 w 9836"/>
                  <a:gd name="connsiteY5" fmla="*/ 32441 h 37359"/>
                  <a:gd name="connsiteX6" fmla="*/ 4918 w 9836"/>
                  <a:gd name="connsiteY6" fmla="*/ 37359 h 37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37359">
                    <a:moveTo>
                      <a:pt x="4918" y="37359"/>
                    </a:moveTo>
                    <a:cubicBezTo>
                      <a:pt x="2205" y="37359"/>
                      <a:pt x="0" y="35155"/>
                      <a:pt x="0" y="32441"/>
                    </a:cubicBezTo>
                    <a:lnTo>
                      <a:pt x="0" y="4918"/>
                    </a:lnTo>
                    <a:cubicBezTo>
                      <a:pt x="0" y="2205"/>
                      <a:pt x="2205" y="0"/>
                      <a:pt x="4918" y="0"/>
                    </a:cubicBezTo>
                    <a:cubicBezTo>
                      <a:pt x="7632" y="0"/>
                      <a:pt x="9837" y="2205"/>
                      <a:pt x="9837" y="4918"/>
                    </a:cubicBezTo>
                    <a:lnTo>
                      <a:pt x="9837" y="32441"/>
                    </a:lnTo>
                    <a:cubicBezTo>
                      <a:pt x="9861" y="35155"/>
                      <a:pt x="7656" y="37359"/>
                      <a:pt x="4918" y="37359"/>
                    </a:cubicBezTo>
                    <a:close/>
                  </a:path>
                </a:pathLst>
              </a:custGeom>
              <a:solidFill>
                <a:schemeClr val="tx2"/>
              </a:solidFill>
              <a:ln w="2420" cap="flat">
                <a:noFill/>
                <a:prstDash val="solid"/>
                <a:miter/>
              </a:ln>
            </p:spPr>
            <p:txBody>
              <a:bodyPr rtlCol="0" anchor="ctr"/>
              <a:lstStyle/>
              <a:p>
                <a:endParaRPr lang="en-GB" dirty="0"/>
              </a:p>
            </p:txBody>
          </p:sp>
          <p:sp>
            <p:nvSpPr>
              <p:cNvPr id="137" name="Freihandform: Form 1538">
                <a:extLst>
                  <a:ext uri="{FF2B5EF4-FFF2-40B4-BE49-F238E27FC236}">
                    <a16:creationId xmlns:a16="http://schemas.microsoft.com/office/drawing/2014/main" id="{3B32377E-AB42-487A-9273-5CAF17E74A67}"/>
                  </a:ext>
                </a:extLst>
              </p:cNvPr>
              <p:cNvSpPr/>
              <p:nvPr/>
            </p:nvSpPr>
            <p:spPr>
              <a:xfrm>
                <a:off x="6141075" y="2696903"/>
                <a:ext cx="37359" cy="9836"/>
              </a:xfrm>
              <a:custGeom>
                <a:avLst/>
                <a:gdLst>
                  <a:gd name="connsiteX0" fmla="*/ 32441 w 37359"/>
                  <a:gd name="connsiteY0" fmla="*/ 9837 h 9836"/>
                  <a:gd name="connsiteX1" fmla="*/ 4918 w 37359"/>
                  <a:gd name="connsiteY1" fmla="*/ 9837 h 9836"/>
                  <a:gd name="connsiteX2" fmla="*/ 0 w 37359"/>
                  <a:gd name="connsiteY2" fmla="*/ 4918 h 9836"/>
                  <a:gd name="connsiteX3" fmla="*/ 4918 w 37359"/>
                  <a:gd name="connsiteY3" fmla="*/ 0 h 9836"/>
                  <a:gd name="connsiteX4" fmla="*/ 32441 w 37359"/>
                  <a:gd name="connsiteY4" fmla="*/ 0 h 9836"/>
                  <a:gd name="connsiteX5" fmla="*/ 37359 w 37359"/>
                  <a:gd name="connsiteY5" fmla="*/ 4918 h 9836"/>
                  <a:gd name="connsiteX6" fmla="*/ 32441 w 37359"/>
                  <a:gd name="connsiteY6" fmla="*/ 9837 h 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59" h="9836">
                    <a:moveTo>
                      <a:pt x="32441" y="9837"/>
                    </a:moveTo>
                    <a:lnTo>
                      <a:pt x="4918" y="9837"/>
                    </a:lnTo>
                    <a:cubicBezTo>
                      <a:pt x="2205" y="9837"/>
                      <a:pt x="0" y="7632"/>
                      <a:pt x="0" y="4918"/>
                    </a:cubicBezTo>
                    <a:cubicBezTo>
                      <a:pt x="0" y="2205"/>
                      <a:pt x="2205" y="0"/>
                      <a:pt x="4918" y="0"/>
                    </a:cubicBezTo>
                    <a:lnTo>
                      <a:pt x="32441" y="0"/>
                    </a:lnTo>
                    <a:cubicBezTo>
                      <a:pt x="35155" y="0"/>
                      <a:pt x="37359" y="2205"/>
                      <a:pt x="37359" y="4918"/>
                    </a:cubicBezTo>
                    <a:cubicBezTo>
                      <a:pt x="37384" y="7632"/>
                      <a:pt x="35179" y="9837"/>
                      <a:pt x="32441" y="9837"/>
                    </a:cubicBezTo>
                    <a:close/>
                  </a:path>
                </a:pathLst>
              </a:custGeom>
              <a:solidFill>
                <a:schemeClr val="tx2"/>
              </a:solidFill>
              <a:ln w="2420" cap="flat">
                <a:noFill/>
                <a:prstDash val="solid"/>
                <a:miter/>
              </a:ln>
            </p:spPr>
            <p:txBody>
              <a:bodyPr rtlCol="0" anchor="ctr"/>
              <a:lstStyle/>
              <a:p>
                <a:endParaRPr lang="en-GB" dirty="0"/>
              </a:p>
            </p:txBody>
          </p:sp>
          <p:sp>
            <p:nvSpPr>
              <p:cNvPr id="138" name="Freihandform: Form 1539">
                <a:extLst>
                  <a:ext uri="{FF2B5EF4-FFF2-40B4-BE49-F238E27FC236}">
                    <a16:creationId xmlns:a16="http://schemas.microsoft.com/office/drawing/2014/main" id="{899DB378-A913-4E75-A93E-70E90BFD41BF}"/>
                  </a:ext>
                </a:extLst>
              </p:cNvPr>
              <p:cNvSpPr/>
              <p:nvPr/>
            </p:nvSpPr>
            <p:spPr>
              <a:xfrm>
                <a:off x="6521549" y="2696903"/>
                <a:ext cx="37359" cy="9836"/>
              </a:xfrm>
              <a:custGeom>
                <a:avLst/>
                <a:gdLst>
                  <a:gd name="connsiteX0" fmla="*/ 32441 w 37359"/>
                  <a:gd name="connsiteY0" fmla="*/ 9837 h 9836"/>
                  <a:gd name="connsiteX1" fmla="*/ 4918 w 37359"/>
                  <a:gd name="connsiteY1" fmla="*/ 9837 h 9836"/>
                  <a:gd name="connsiteX2" fmla="*/ 0 w 37359"/>
                  <a:gd name="connsiteY2" fmla="*/ 4918 h 9836"/>
                  <a:gd name="connsiteX3" fmla="*/ 4918 w 37359"/>
                  <a:gd name="connsiteY3" fmla="*/ 0 h 9836"/>
                  <a:gd name="connsiteX4" fmla="*/ 32441 w 37359"/>
                  <a:gd name="connsiteY4" fmla="*/ 0 h 9836"/>
                  <a:gd name="connsiteX5" fmla="*/ 37359 w 37359"/>
                  <a:gd name="connsiteY5" fmla="*/ 4918 h 9836"/>
                  <a:gd name="connsiteX6" fmla="*/ 32441 w 37359"/>
                  <a:gd name="connsiteY6" fmla="*/ 9837 h 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359" h="9836">
                    <a:moveTo>
                      <a:pt x="32441" y="9837"/>
                    </a:moveTo>
                    <a:lnTo>
                      <a:pt x="4918" y="9837"/>
                    </a:lnTo>
                    <a:cubicBezTo>
                      <a:pt x="2205" y="9837"/>
                      <a:pt x="0" y="7632"/>
                      <a:pt x="0" y="4918"/>
                    </a:cubicBezTo>
                    <a:cubicBezTo>
                      <a:pt x="0" y="2205"/>
                      <a:pt x="2205" y="0"/>
                      <a:pt x="4918" y="0"/>
                    </a:cubicBezTo>
                    <a:lnTo>
                      <a:pt x="32441" y="0"/>
                    </a:lnTo>
                    <a:cubicBezTo>
                      <a:pt x="35155" y="0"/>
                      <a:pt x="37359" y="2205"/>
                      <a:pt x="37359" y="4918"/>
                    </a:cubicBezTo>
                    <a:cubicBezTo>
                      <a:pt x="37384" y="7632"/>
                      <a:pt x="35155" y="9837"/>
                      <a:pt x="32441" y="9837"/>
                    </a:cubicBezTo>
                    <a:close/>
                  </a:path>
                </a:pathLst>
              </a:custGeom>
              <a:solidFill>
                <a:schemeClr val="tx2"/>
              </a:solidFill>
              <a:ln w="2420" cap="flat">
                <a:noFill/>
                <a:prstDash val="solid"/>
                <a:miter/>
              </a:ln>
            </p:spPr>
            <p:txBody>
              <a:bodyPr rtlCol="0" anchor="ctr"/>
              <a:lstStyle/>
              <a:p>
                <a:endParaRPr lang="en-GB" dirty="0"/>
              </a:p>
            </p:txBody>
          </p:sp>
          <p:sp>
            <p:nvSpPr>
              <p:cNvPr id="139" name="Freihandform: Form 1540">
                <a:extLst>
                  <a:ext uri="{FF2B5EF4-FFF2-40B4-BE49-F238E27FC236}">
                    <a16:creationId xmlns:a16="http://schemas.microsoft.com/office/drawing/2014/main" id="{323988E1-2C61-4081-80F8-128E48428EE9}"/>
                  </a:ext>
                </a:extLst>
              </p:cNvPr>
              <p:cNvSpPr/>
              <p:nvPr/>
            </p:nvSpPr>
            <p:spPr>
              <a:xfrm>
                <a:off x="6344734" y="2870277"/>
                <a:ext cx="9836" cy="37359"/>
              </a:xfrm>
              <a:custGeom>
                <a:avLst/>
                <a:gdLst>
                  <a:gd name="connsiteX0" fmla="*/ 4918 w 9836"/>
                  <a:gd name="connsiteY0" fmla="*/ 37359 h 37359"/>
                  <a:gd name="connsiteX1" fmla="*/ 0 w 9836"/>
                  <a:gd name="connsiteY1" fmla="*/ 32441 h 37359"/>
                  <a:gd name="connsiteX2" fmla="*/ 0 w 9836"/>
                  <a:gd name="connsiteY2" fmla="*/ 4918 h 37359"/>
                  <a:gd name="connsiteX3" fmla="*/ 4918 w 9836"/>
                  <a:gd name="connsiteY3" fmla="*/ 0 h 37359"/>
                  <a:gd name="connsiteX4" fmla="*/ 9837 w 9836"/>
                  <a:gd name="connsiteY4" fmla="*/ 4918 h 37359"/>
                  <a:gd name="connsiteX5" fmla="*/ 9837 w 9836"/>
                  <a:gd name="connsiteY5" fmla="*/ 32441 h 37359"/>
                  <a:gd name="connsiteX6" fmla="*/ 4918 w 9836"/>
                  <a:gd name="connsiteY6" fmla="*/ 37359 h 37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37359">
                    <a:moveTo>
                      <a:pt x="4918" y="37359"/>
                    </a:moveTo>
                    <a:cubicBezTo>
                      <a:pt x="2205" y="37359"/>
                      <a:pt x="0" y="35155"/>
                      <a:pt x="0" y="32441"/>
                    </a:cubicBezTo>
                    <a:lnTo>
                      <a:pt x="0" y="4918"/>
                    </a:lnTo>
                    <a:cubicBezTo>
                      <a:pt x="0" y="2205"/>
                      <a:pt x="2205" y="0"/>
                      <a:pt x="4918" y="0"/>
                    </a:cubicBezTo>
                    <a:cubicBezTo>
                      <a:pt x="7632" y="0"/>
                      <a:pt x="9837" y="2205"/>
                      <a:pt x="9837" y="4918"/>
                    </a:cubicBezTo>
                    <a:lnTo>
                      <a:pt x="9837" y="32441"/>
                    </a:lnTo>
                    <a:cubicBezTo>
                      <a:pt x="9861" y="35155"/>
                      <a:pt x="7656" y="37359"/>
                      <a:pt x="4918" y="37359"/>
                    </a:cubicBezTo>
                    <a:close/>
                  </a:path>
                </a:pathLst>
              </a:custGeom>
              <a:solidFill>
                <a:schemeClr val="tx2"/>
              </a:solidFill>
              <a:ln w="2420" cap="flat">
                <a:noFill/>
                <a:prstDash val="solid"/>
                <a:miter/>
              </a:ln>
            </p:spPr>
            <p:txBody>
              <a:bodyPr rtlCol="0" anchor="ctr"/>
              <a:lstStyle/>
              <a:p>
                <a:endParaRPr lang="en-GB" dirty="0"/>
              </a:p>
            </p:txBody>
          </p:sp>
        </p:grpSp>
      </p:grpSp>
      <p:grpSp>
        <p:nvGrpSpPr>
          <p:cNvPr id="49" name="Group 48">
            <a:extLst>
              <a:ext uri="{FF2B5EF4-FFF2-40B4-BE49-F238E27FC236}">
                <a16:creationId xmlns:a16="http://schemas.microsoft.com/office/drawing/2014/main" id="{BE6FF972-E7C4-0A29-00A0-BFE5F39D2537}"/>
              </a:ext>
            </a:extLst>
          </p:cNvPr>
          <p:cNvGrpSpPr/>
          <p:nvPr/>
        </p:nvGrpSpPr>
        <p:grpSpPr>
          <a:xfrm>
            <a:off x="2681534" y="3197068"/>
            <a:ext cx="406768" cy="432000"/>
            <a:chOff x="2681534" y="3197068"/>
            <a:chExt cx="406768" cy="432000"/>
          </a:xfrm>
        </p:grpSpPr>
        <p:grpSp>
          <p:nvGrpSpPr>
            <p:cNvPr id="153" name="Group 1099">
              <a:extLst>
                <a:ext uri="{FF2B5EF4-FFF2-40B4-BE49-F238E27FC236}">
                  <a16:creationId xmlns:a16="http://schemas.microsoft.com/office/drawing/2014/main" id="{9250B64F-5690-4927-80C8-9EF062E4DC31}"/>
                </a:ext>
              </a:extLst>
            </p:cNvPr>
            <p:cNvGrpSpPr/>
            <p:nvPr/>
          </p:nvGrpSpPr>
          <p:grpSpPr>
            <a:xfrm>
              <a:off x="2681534" y="3197068"/>
              <a:ext cx="406768" cy="406791"/>
              <a:chOff x="5304123" y="1706516"/>
              <a:chExt cx="423769" cy="423793"/>
            </a:xfrm>
            <a:solidFill>
              <a:schemeClr val="tx2"/>
            </a:solidFill>
          </p:grpSpPr>
          <p:sp>
            <p:nvSpPr>
              <p:cNvPr id="174" name="Freihandform: Form 1574">
                <a:extLst>
                  <a:ext uri="{FF2B5EF4-FFF2-40B4-BE49-F238E27FC236}">
                    <a16:creationId xmlns:a16="http://schemas.microsoft.com/office/drawing/2014/main" id="{7F33DEAE-5FDB-4707-A5D2-4DDABB5EE00F}"/>
                  </a:ext>
                </a:extLst>
              </p:cNvPr>
              <p:cNvSpPr/>
              <p:nvPr/>
            </p:nvSpPr>
            <p:spPr>
              <a:xfrm>
                <a:off x="5304123" y="1706516"/>
                <a:ext cx="423769" cy="82108"/>
              </a:xfrm>
              <a:custGeom>
                <a:avLst/>
                <a:gdLst>
                  <a:gd name="connsiteX0" fmla="*/ 418852 w 423769"/>
                  <a:gd name="connsiteY0" fmla="*/ 82108 h 82108"/>
                  <a:gd name="connsiteX1" fmla="*/ 4918 w 423769"/>
                  <a:gd name="connsiteY1" fmla="*/ 82108 h 82108"/>
                  <a:gd name="connsiteX2" fmla="*/ 0 w 423769"/>
                  <a:gd name="connsiteY2" fmla="*/ 77190 h 82108"/>
                  <a:gd name="connsiteX3" fmla="*/ 0 w 423769"/>
                  <a:gd name="connsiteY3" fmla="*/ 4918 h 82108"/>
                  <a:gd name="connsiteX4" fmla="*/ 4918 w 423769"/>
                  <a:gd name="connsiteY4" fmla="*/ 0 h 82108"/>
                  <a:gd name="connsiteX5" fmla="*/ 418852 w 423769"/>
                  <a:gd name="connsiteY5" fmla="*/ 0 h 82108"/>
                  <a:gd name="connsiteX6" fmla="*/ 423770 w 423769"/>
                  <a:gd name="connsiteY6" fmla="*/ 4918 h 82108"/>
                  <a:gd name="connsiteX7" fmla="*/ 423770 w 423769"/>
                  <a:gd name="connsiteY7" fmla="*/ 77190 h 82108"/>
                  <a:gd name="connsiteX8" fmla="*/ 418852 w 423769"/>
                  <a:gd name="connsiteY8" fmla="*/ 82108 h 82108"/>
                  <a:gd name="connsiteX9" fmla="*/ 9861 w 423769"/>
                  <a:gd name="connsiteY9" fmla="*/ 72272 h 82108"/>
                  <a:gd name="connsiteX10" fmla="*/ 413957 w 423769"/>
                  <a:gd name="connsiteY10" fmla="*/ 72272 h 82108"/>
                  <a:gd name="connsiteX11" fmla="*/ 413957 w 423769"/>
                  <a:gd name="connsiteY11" fmla="*/ 9837 h 82108"/>
                  <a:gd name="connsiteX12" fmla="*/ 9861 w 423769"/>
                  <a:gd name="connsiteY12" fmla="*/ 9837 h 82108"/>
                  <a:gd name="connsiteX13" fmla="*/ 9861 w 423769"/>
                  <a:gd name="connsiteY13" fmla="*/ 72272 h 8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3769" h="82108">
                    <a:moveTo>
                      <a:pt x="418852" y="82108"/>
                    </a:moveTo>
                    <a:lnTo>
                      <a:pt x="4918" y="82108"/>
                    </a:lnTo>
                    <a:cubicBezTo>
                      <a:pt x="2205" y="82108"/>
                      <a:pt x="0" y="79904"/>
                      <a:pt x="0" y="77190"/>
                    </a:cubicBezTo>
                    <a:lnTo>
                      <a:pt x="0" y="4918"/>
                    </a:lnTo>
                    <a:cubicBezTo>
                      <a:pt x="0" y="2205"/>
                      <a:pt x="2205" y="0"/>
                      <a:pt x="4918" y="0"/>
                    </a:cubicBezTo>
                    <a:lnTo>
                      <a:pt x="418852" y="0"/>
                    </a:lnTo>
                    <a:cubicBezTo>
                      <a:pt x="421565" y="0"/>
                      <a:pt x="423770" y="2205"/>
                      <a:pt x="423770" y="4918"/>
                    </a:cubicBezTo>
                    <a:lnTo>
                      <a:pt x="423770" y="77190"/>
                    </a:lnTo>
                    <a:cubicBezTo>
                      <a:pt x="423794" y="79904"/>
                      <a:pt x="421589" y="82108"/>
                      <a:pt x="418852" y="82108"/>
                    </a:cubicBezTo>
                    <a:close/>
                    <a:moveTo>
                      <a:pt x="9861" y="72272"/>
                    </a:moveTo>
                    <a:lnTo>
                      <a:pt x="413957" y="72272"/>
                    </a:lnTo>
                    <a:lnTo>
                      <a:pt x="413957" y="9837"/>
                    </a:lnTo>
                    <a:lnTo>
                      <a:pt x="9861" y="9837"/>
                    </a:lnTo>
                    <a:lnTo>
                      <a:pt x="9861" y="72272"/>
                    </a:lnTo>
                    <a:close/>
                  </a:path>
                </a:pathLst>
              </a:custGeom>
              <a:grpFill/>
              <a:ln w="2420" cap="flat">
                <a:noFill/>
                <a:prstDash val="solid"/>
                <a:miter/>
              </a:ln>
            </p:spPr>
            <p:txBody>
              <a:bodyPr rtlCol="0" anchor="ctr"/>
              <a:lstStyle/>
              <a:p>
                <a:endParaRPr lang="en-GB" dirty="0"/>
              </a:p>
            </p:txBody>
          </p:sp>
          <p:sp>
            <p:nvSpPr>
              <p:cNvPr id="175" name="Freihandform: Form 1575">
                <a:extLst>
                  <a:ext uri="{FF2B5EF4-FFF2-40B4-BE49-F238E27FC236}">
                    <a16:creationId xmlns:a16="http://schemas.microsoft.com/office/drawing/2014/main" id="{89375EF9-4A6A-4B21-BE12-C756366A1A5E}"/>
                  </a:ext>
                </a:extLst>
              </p:cNvPr>
              <p:cNvSpPr/>
              <p:nvPr/>
            </p:nvSpPr>
            <p:spPr>
              <a:xfrm>
                <a:off x="5304123" y="1818206"/>
                <a:ext cx="423769" cy="82132"/>
              </a:xfrm>
              <a:custGeom>
                <a:avLst/>
                <a:gdLst>
                  <a:gd name="connsiteX0" fmla="*/ 418852 w 423769"/>
                  <a:gd name="connsiteY0" fmla="*/ 82133 h 82132"/>
                  <a:gd name="connsiteX1" fmla="*/ 4918 w 423769"/>
                  <a:gd name="connsiteY1" fmla="*/ 82133 h 82132"/>
                  <a:gd name="connsiteX2" fmla="*/ 0 w 423769"/>
                  <a:gd name="connsiteY2" fmla="*/ 77214 h 82132"/>
                  <a:gd name="connsiteX3" fmla="*/ 0 w 423769"/>
                  <a:gd name="connsiteY3" fmla="*/ 4918 h 82132"/>
                  <a:gd name="connsiteX4" fmla="*/ 4918 w 423769"/>
                  <a:gd name="connsiteY4" fmla="*/ 0 h 82132"/>
                  <a:gd name="connsiteX5" fmla="*/ 418852 w 423769"/>
                  <a:gd name="connsiteY5" fmla="*/ 0 h 82132"/>
                  <a:gd name="connsiteX6" fmla="*/ 423770 w 423769"/>
                  <a:gd name="connsiteY6" fmla="*/ 4918 h 82132"/>
                  <a:gd name="connsiteX7" fmla="*/ 423770 w 423769"/>
                  <a:gd name="connsiteY7" fmla="*/ 77190 h 82132"/>
                  <a:gd name="connsiteX8" fmla="*/ 418852 w 423769"/>
                  <a:gd name="connsiteY8" fmla="*/ 82133 h 82132"/>
                  <a:gd name="connsiteX9" fmla="*/ 9861 w 423769"/>
                  <a:gd name="connsiteY9" fmla="*/ 72272 h 82132"/>
                  <a:gd name="connsiteX10" fmla="*/ 413957 w 423769"/>
                  <a:gd name="connsiteY10" fmla="*/ 72272 h 82132"/>
                  <a:gd name="connsiteX11" fmla="*/ 413957 w 423769"/>
                  <a:gd name="connsiteY11" fmla="*/ 9861 h 82132"/>
                  <a:gd name="connsiteX12" fmla="*/ 9861 w 423769"/>
                  <a:gd name="connsiteY12" fmla="*/ 9861 h 82132"/>
                  <a:gd name="connsiteX13" fmla="*/ 9861 w 423769"/>
                  <a:gd name="connsiteY13" fmla="*/ 72272 h 8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3769" h="82132">
                    <a:moveTo>
                      <a:pt x="418852" y="82133"/>
                    </a:moveTo>
                    <a:lnTo>
                      <a:pt x="4918" y="82133"/>
                    </a:lnTo>
                    <a:cubicBezTo>
                      <a:pt x="2205" y="82133"/>
                      <a:pt x="0" y="79928"/>
                      <a:pt x="0" y="77214"/>
                    </a:cubicBezTo>
                    <a:lnTo>
                      <a:pt x="0" y="4918"/>
                    </a:lnTo>
                    <a:cubicBezTo>
                      <a:pt x="0" y="2205"/>
                      <a:pt x="2205" y="0"/>
                      <a:pt x="4918" y="0"/>
                    </a:cubicBezTo>
                    <a:lnTo>
                      <a:pt x="418852" y="0"/>
                    </a:lnTo>
                    <a:cubicBezTo>
                      <a:pt x="421565" y="0"/>
                      <a:pt x="423770" y="2205"/>
                      <a:pt x="423770" y="4918"/>
                    </a:cubicBezTo>
                    <a:lnTo>
                      <a:pt x="423770" y="77190"/>
                    </a:lnTo>
                    <a:cubicBezTo>
                      <a:pt x="423794" y="79928"/>
                      <a:pt x="421589" y="82133"/>
                      <a:pt x="418852" y="82133"/>
                    </a:cubicBezTo>
                    <a:close/>
                    <a:moveTo>
                      <a:pt x="9861" y="72272"/>
                    </a:moveTo>
                    <a:lnTo>
                      <a:pt x="413957" y="72272"/>
                    </a:lnTo>
                    <a:lnTo>
                      <a:pt x="413957" y="9861"/>
                    </a:lnTo>
                    <a:lnTo>
                      <a:pt x="9861" y="9861"/>
                    </a:lnTo>
                    <a:lnTo>
                      <a:pt x="9861" y="72272"/>
                    </a:lnTo>
                    <a:close/>
                  </a:path>
                </a:pathLst>
              </a:custGeom>
              <a:grpFill/>
              <a:ln w="2420" cap="flat">
                <a:noFill/>
                <a:prstDash val="solid"/>
                <a:miter/>
              </a:ln>
            </p:spPr>
            <p:txBody>
              <a:bodyPr rtlCol="0" anchor="ctr"/>
              <a:lstStyle/>
              <a:p>
                <a:endParaRPr lang="en-GB" dirty="0"/>
              </a:p>
            </p:txBody>
          </p:sp>
          <p:sp>
            <p:nvSpPr>
              <p:cNvPr id="176" name="Freihandform: Form 1576">
                <a:extLst>
                  <a:ext uri="{FF2B5EF4-FFF2-40B4-BE49-F238E27FC236}">
                    <a16:creationId xmlns:a16="http://schemas.microsoft.com/office/drawing/2014/main" id="{C7485749-602F-488B-8EB5-E1BE6B81C09E}"/>
                  </a:ext>
                </a:extLst>
              </p:cNvPr>
              <p:cNvSpPr/>
              <p:nvPr/>
            </p:nvSpPr>
            <p:spPr>
              <a:xfrm>
                <a:off x="5304123" y="1929921"/>
                <a:ext cx="423769" cy="82108"/>
              </a:xfrm>
              <a:custGeom>
                <a:avLst/>
                <a:gdLst>
                  <a:gd name="connsiteX0" fmla="*/ 418852 w 423769"/>
                  <a:gd name="connsiteY0" fmla="*/ 82108 h 82108"/>
                  <a:gd name="connsiteX1" fmla="*/ 4918 w 423769"/>
                  <a:gd name="connsiteY1" fmla="*/ 82108 h 82108"/>
                  <a:gd name="connsiteX2" fmla="*/ 0 w 423769"/>
                  <a:gd name="connsiteY2" fmla="*/ 77190 h 82108"/>
                  <a:gd name="connsiteX3" fmla="*/ 0 w 423769"/>
                  <a:gd name="connsiteY3" fmla="*/ 4918 h 82108"/>
                  <a:gd name="connsiteX4" fmla="*/ 4918 w 423769"/>
                  <a:gd name="connsiteY4" fmla="*/ 0 h 82108"/>
                  <a:gd name="connsiteX5" fmla="*/ 418852 w 423769"/>
                  <a:gd name="connsiteY5" fmla="*/ 0 h 82108"/>
                  <a:gd name="connsiteX6" fmla="*/ 423770 w 423769"/>
                  <a:gd name="connsiteY6" fmla="*/ 4918 h 82108"/>
                  <a:gd name="connsiteX7" fmla="*/ 423770 w 423769"/>
                  <a:gd name="connsiteY7" fmla="*/ 77190 h 82108"/>
                  <a:gd name="connsiteX8" fmla="*/ 418852 w 423769"/>
                  <a:gd name="connsiteY8" fmla="*/ 82108 h 82108"/>
                  <a:gd name="connsiteX9" fmla="*/ 9861 w 423769"/>
                  <a:gd name="connsiteY9" fmla="*/ 72248 h 82108"/>
                  <a:gd name="connsiteX10" fmla="*/ 413957 w 423769"/>
                  <a:gd name="connsiteY10" fmla="*/ 72248 h 82108"/>
                  <a:gd name="connsiteX11" fmla="*/ 413957 w 423769"/>
                  <a:gd name="connsiteY11" fmla="*/ 9837 h 82108"/>
                  <a:gd name="connsiteX12" fmla="*/ 9861 w 423769"/>
                  <a:gd name="connsiteY12" fmla="*/ 9837 h 82108"/>
                  <a:gd name="connsiteX13" fmla="*/ 9861 w 423769"/>
                  <a:gd name="connsiteY13" fmla="*/ 72248 h 8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3769" h="82108">
                    <a:moveTo>
                      <a:pt x="418852" y="82108"/>
                    </a:moveTo>
                    <a:lnTo>
                      <a:pt x="4918" y="82108"/>
                    </a:lnTo>
                    <a:cubicBezTo>
                      <a:pt x="2205" y="82108"/>
                      <a:pt x="0" y="79904"/>
                      <a:pt x="0" y="77190"/>
                    </a:cubicBezTo>
                    <a:lnTo>
                      <a:pt x="0" y="4918"/>
                    </a:lnTo>
                    <a:cubicBezTo>
                      <a:pt x="0" y="2205"/>
                      <a:pt x="2205" y="0"/>
                      <a:pt x="4918" y="0"/>
                    </a:cubicBezTo>
                    <a:lnTo>
                      <a:pt x="418852" y="0"/>
                    </a:lnTo>
                    <a:cubicBezTo>
                      <a:pt x="421565" y="0"/>
                      <a:pt x="423770" y="2205"/>
                      <a:pt x="423770" y="4918"/>
                    </a:cubicBezTo>
                    <a:lnTo>
                      <a:pt x="423770" y="77190"/>
                    </a:lnTo>
                    <a:cubicBezTo>
                      <a:pt x="423794" y="79904"/>
                      <a:pt x="421589" y="82108"/>
                      <a:pt x="418852" y="82108"/>
                    </a:cubicBezTo>
                    <a:close/>
                    <a:moveTo>
                      <a:pt x="9861" y="72248"/>
                    </a:moveTo>
                    <a:lnTo>
                      <a:pt x="413957" y="72248"/>
                    </a:lnTo>
                    <a:lnTo>
                      <a:pt x="413957" y="9837"/>
                    </a:lnTo>
                    <a:lnTo>
                      <a:pt x="9861" y="9837"/>
                    </a:lnTo>
                    <a:lnTo>
                      <a:pt x="9861" y="72248"/>
                    </a:lnTo>
                    <a:close/>
                  </a:path>
                </a:pathLst>
              </a:custGeom>
              <a:grpFill/>
              <a:ln w="2420" cap="flat">
                <a:noFill/>
                <a:prstDash val="solid"/>
                <a:miter/>
              </a:ln>
            </p:spPr>
            <p:txBody>
              <a:bodyPr rtlCol="0" anchor="ctr"/>
              <a:lstStyle/>
              <a:p>
                <a:endParaRPr lang="en-GB" dirty="0"/>
              </a:p>
            </p:txBody>
          </p:sp>
          <p:sp>
            <p:nvSpPr>
              <p:cNvPr id="177" name="Freihandform: Form 1577">
                <a:extLst>
                  <a:ext uri="{FF2B5EF4-FFF2-40B4-BE49-F238E27FC236}">
                    <a16:creationId xmlns:a16="http://schemas.microsoft.com/office/drawing/2014/main" id="{5EC76016-8984-47FB-BA3A-21CAFAB46662}"/>
                  </a:ext>
                </a:extLst>
              </p:cNvPr>
              <p:cNvSpPr/>
              <p:nvPr/>
            </p:nvSpPr>
            <p:spPr>
              <a:xfrm>
                <a:off x="5330410" y="1778787"/>
                <a:ext cx="371219" cy="49279"/>
              </a:xfrm>
              <a:custGeom>
                <a:avLst/>
                <a:gdLst>
                  <a:gd name="connsiteX0" fmla="*/ 366301 w 371219"/>
                  <a:gd name="connsiteY0" fmla="*/ 49279 h 49279"/>
                  <a:gd name="connsiteX1" fmla="*/ 361383 w 371219"/>
                  <a:gd name="connsiteY1" fmla="*/ 44361 h 49279"/>
                  <a:gd name="connsiteX2" fmla="*/ 361383 w 371219"/>
                  <a:gd name="connsiteY2" fmla="*/ 9837 h 49279"/>
                  <a:gd name="connsiteX3" fmla="*/ 9837 w 371219"/>
                  <a:gd name="connsiteY3" fmla="*/ 9837 h 49279"/>
                  <a:gd name="connsiteX4" fmla="*/ 9837 w 371219"/>
                  <a:gd name="connsiteY4" fmla="*/ 44337 h 49279"/>
                  <a:gd name="connsiteX5" fmla="*/ 4918 w 371219"/>
                  <a:gd name="connsiteY5" fmla="*/ 49255 h 49279"/>
                  <a:gd name="connsiteX6" fmla="*/ 0 w 371219"/>
                  <a:gd name="connsiteY6" fmla="*/ 44337 h 49279"/>
                  <a:gd name="connsiteX7" fmla="*/ 0 w 371219"/>
                  <a:gd name="connsiteY7" fmla="*/ 4918 h 49279"/>
                  <a:gd name="connsiteX8" fmla="*/ 4918 w 371219"/>
                  <a:gd name="connsiteY8" fmla="*/ 0 h 49279"/>
                  <a:gd name="connsiteX9" fmla="*/ 366301 w 371219"/>
                  <a:gd name="connsiteY9" fmla="*/ 0 h 49279"/>
                  <a:gd name="connsiteX10" fmla="*/ 371220 w 371219"/>
                  <a:gd name="connsiteY10" fmla="*/ 4918 h 49279"/>
                  <a:gd name="connsiteX11" fmla="*/ 371220 w 371219"/>
                  <a:gd name="connsiteY11" fmla="*/ 44337 h 49279"/>
                  <a:gd name="connsiteX12" fmla="*/ 366301 w 371219"/>
                  <a:gd name="connsiteY12" fmla="*/ 49279 h 49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219" h="49279">
                    <a:moveTo>
                      <a:pt x="366301" y="49279"/>
                    </a:moveTo>
                    <a:cubicBezTo>
                      <a:pt x="363588" y="49279"/>
                      <a:pt x="361383" y="47075"/>
                      <a:pt x="361383" y="44361"/>
                    </a:cubicBezTo>
                    <a:lnTo>
                      <a:pt x="361383" y="9837"/>
                    </a:lnTo>
                    <a:lnTo>
                      <a:pt x="9837" y="9837"/>
                    </a:lnTo>
                    <a:lnTo>
                      <a:pt x="9837" y="44337"/>
                    </a:lnTo>
                    <a:cubicBezTo>
                      <a:pt x="9837" y="47051"/>
                      <a:pt x="7632" y="49255"/>
                      <a:pt x="4918" y="49255"/>
                    </a:cubicBezTo>
                    <a:cubicBezTo>
                      <a:pt x="2205" y="49255"/>
                      <a:pt x="0" y="47051"/>
                      <a:pt x="0" y="44337"/>
                    </a:cubicBezTo>
                    <a:lnTo>
                      <a:pt x="0" y="4918"/>
                    </a:lnTo>
                    <a:cubicBezTo>
                      <a:pt x="0" y="2205"/>
                      <a:pt x="2205" y="0"/>
                      <a:pt x="4918" y="0"/>
                    </a:cubicBezTo>
                    <a:lnTo>
                      <a:pt x="366301" y="0"/>
                    </a:lnTo>
                    <a:cubicBezTo>
                      <a:pt x="369015" y="0"/>
                      <a:pt x="371220" y="2205"/>
                      <a:pt x="371220" y="4918"/>
                    </a:cubicBezTo>
                    <a:lnTo>
                      <a:pt x="371220" y="44337"/>
                    </a:lnTo>
                    <a:cubicBezTo>
                      <a:pt x="371220" y="47051"/>
                      <a:pt x="369015" y="49279"/>
                      <a:pt x="366301" y="49279"/>
                    </a:cubicBezTo>
                    <a:close/>
                  </a:path>
                </a:pathLst>
              </a:custGeom>
              <a:grpFill/>
              <a:ln w="2420" cap="flat">
                <a:noFill/>
                <a:prstDash val="solid"/>
                <a:miter/>
              </a:ln>
            </p:spPr>
            <p:txBody>
              <a:bodyPr rtlCol="0" anchor="ctr"/>
              <a:lstStyle/>
              <a:p>
                <a:endParaRPr lang="en-GB" dirty="0"/>
              </a:p>
            </p:txBody>
          </p:sp>
          <p:sp>
            <p:nvSpPr>
              <p:cNvPr id="178" name="Freihandform: Form 1578">
                <a:extLst>
                  <a:ext uri="{FF2B5EF4-FFF2-40B4-BE49-F238E27FC236}">
                    <a16:creationId xmlns:a16="http://schemas.microsoft.com/office/drawing/2014/main" id="{77A9B368-C5E9-4410-9E13-04818DA5D4DD}"/>
                  </a:ext>
                </a:extLst>
              </p:cNvPr>
              <p:cNvSpPr/>
              <p:nvPr/>
            </p:nvSpPr>
            <p:spPr>
              <a:xfrm>
                <a:off x="5691793" y="1890502"/>
                <a:ext cx="9836" cy="49255"/>
              </a:xfrm>
              <a:custGeom>
                <a:avLst/>
                <a:gdLst>
                  <a:gd name="connsiteX0" fmla="*/ 4918 w 9836"/>
                  <a:gd name="connsiteY0" fmla="*/ 49255 h 49255"/>
                  <a:gd name="connsiteX1" fmla="*/ 0 w 9836"/>
                  <a:gd name="connsiteY1" fmla="*/ 44337 h 49255"/>
                  <a:gd name="connsiteX2" fmla="*/ 0 w 9836"/>
                  <a:gd name="connsiteY2" fmla="*/ 4918 h 49255"/>
                  <a:gd name="connsiteX3" fmla="*/ 4918 w 9836"/>
                  <a:gd name="connsiteY3" fmla="*/ 0 h 49255"/>
                  <a:gd name="connsiteX4" fmla="*/ 9837 w 9836"/>
                  <a:gd name="connsiteY4" fmla="*/ 4918 h 49255"/>
                  <a:gd name="connsiteX5" fmla="*/ 9837 w 9836"/>
                  <a:gd name="connsiteY5" fmla="*/ 44337 h 49255"/>
                  <a:gd name="connsiteX6" fmla="*/ 4918 w 9836"/>
                  <a:gd name="connsiteY6" fmla="*/ 49255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49255">
                    <a:moveTo>
                      <a:pt x="4918" y="49255"/>
                    </a:moveTo>
                    <a:cubicBezTo>
                      <a:pt x="2205" y="49255"/>
                      <a:pt x="0" y="47051"/>
                      <a:pt x="0" y="44337"/>
                    </a:cubicBezTo>
                    <a:lnTo>
                      <a:pt x="0" y="4918"/>
                    </a:lnTo>
                    <a:cubicBezTo>
                      <a:pt x="0" y="2205"/>
                      <a:pt x="2205" y="0"/>
                      <a:pt x="4918" y="0"/>
                    </a:cubicBezTo>
                    <a:cubicBezTo>
                      <a:pt x="7632" y="0"/>
                      <a:pt x="9837" y="2205"/>
                      <a:pt x="9837" y="4918"/>
                    </a:cubicBezTo>
                    <a:lnTo>
                      <a:pt x="9837" y="44337"/>
                    </a:lnTo>
                    <a:cubicBezTo>
                      <a:pt x="9837" y="47051"/>
                      <a:pt x="7632" y="49255"/>
                      <a:pt x="4918" y="49255"/>
                    </a:cubicBezTo>
                    <a:close/>
                  </a:path>
                </a:pathLst>
              </a:custGeom>
              <a:grpFill/>
              <a:ln w="2420" cap="flat">
                <a:noFill/>
                <a:prstDash val="solid"/>
                <a:miter/>
              </a:ln>
            </p:spPr>
            <p:txBody>
              <a:bodyPr rtlCol="0" anchor="ctr"/>
              <a:lstStyle/>
              <a:p>
                <a:endParaRPr lang="en-GB" dirty="0"/>
              </a:p>
            </p:txBody>
          </p:sp>
          <p:sp>
            <p:nvSpPr>
              <p:cNvPr id="179" name="Freihandform: Form 1579">
                <a:extLst>
                  <a:ext uri="{FF2B5EF4-FFF2-40B4-BE49-F238E27FC236}">
                    <a16:creationId xmlns:a16="http://schemas.microsoft.com/office/drawing/2014/main" id="{7AE89EC8-7B40-491F-8ECE-A84F9BE76B88}"/>
                  </a:ext>
                </a:extLst>
              </p:cNvPr>
              <p:cNvSpPr/>
              <p:nvPr/>
            </p:nvSpPr>
            <p:spPr>
              <a:xfrm>
                <a:off x="5330410" y="2002193"/>
                <a:ext cx="371195" cy="49255"/>
              </a:xfrm>
              <a:custGeom>
                <a:avLst/>
                <a:gdLst>
                  <a:gd name="connsiteX0" fmla="*/ 366301 w 371195"/>
                  <a:gd name="connsiteY0" fmla="*/ 49255 h 49255"/>
                  <a:gd name="connsiteX1" fmla="*/ 4918 w 371195"/>
                  <a:gd name="connsiteY1" fmla="*/ 49255 h 49255"/>
                  <a:gd name="connsiteX2" fmla="*/ 0 w 371195"/>
                  <a:gd name="connsiteY2" fmla="*/ 44337 h 49255"/>
                  <a:gd name="connsiteX3" fmla="*/ 0 w 371195"/>
                  <a:gd name="connsiteY3" fmla="*/ 4918 h 49255"/>
                  <a:gd name="connsiteX4" fmla="*/ 4918 w 371195"/>
                  <a:gd name="connsiteY4" fmla="*/ 0 h 49255"/>
                  <a:gd name="connsiteX5" fmla="*/ 9837 w 371195"/>
                  <a:gd name="connsiteY5" fmla="*/ 4918 h 49255"/>
                  <a:gd name="connsiteX6" fmla="*/ 9837 w 371195"/>
                  <a:gd name="connsiteY6" fmla="*/ 39419 h 49255"/>
                  <a:gd name="connsiteX7" fmla="*/ 361359 w 371195"/>
                  <a:gd name="connsiteY7" fmla="*/ 39419 h 49255"/>
                  <a:gd name="connsiteX8" fmla="*/ 361359 w 371195"/>
                  <a:gd name="connsiteY8" fmla="*/ 4918 h 49255"/>
                  <a:gd name="connsiteX9" fmla="*/ 366277 w 371195"/>
                  <a:gd name="connsiteY9" fmla="*/ 0 h 49255"/>
                  <a:gd name="connsiteX10" fmla="*/ 371195 w 371195"/>
                  <a:gd name="connsiteY10" fmla="*/ 4918 h 49255"/>
                  <a:gd name="connsiteX11" fmla="*/ 371195 w 371195"/>
                  <a:gd name="connsiteY11" fmla="*/ 44337 h 49255"/>
                  <a:gd name="connsiteX12" fmla="*/ 366301 w 371195"/>
                  <a:gd name="connsiteY12" fmla="*/ 49255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1195" h="49255">
                    <a:moveTo>
                      <a:pt x="366301" y="49255"/>
                    </a:moveTo>
                    <a:lnTo>
                      <a:pt x="4918" y="49255"/>
                    </a:lnTo>
                    <a:cubicBezTo>
                      <a:pt x="2205" y="49255"/>
                      <a:pt x="0" y="47051"/>
                      <a:pt x="0" y="44337"/>
                    </a:cubicBezTo>
                    <a:lnTo>
                      <a:pt x="0" y="4918"/>
                    </a:lnTo>
                    <a:cubicBezTo>
                      <a:pt x="0" y="2205"/>
                      <a:pt x="2205" y="0"/>
                      <a:pt x="4918" y="0"/>
                    </a:cubicBezTo>
                    <a:cubicBezTo>
                      <a:pt x="7632" y="0"/>
                      <a:pt x="9837" y="2205"/>
                      <a:pt x="9837" y="4918"/>
                    </a:cubicBezTo>
                    <a:lnTo>
                      <a:pt x="9837" y="39419"/>
                    </a:lnTo>
                    <a:lnTo>
                      <a:pt x="361359" y="39419"/>
                    </a:lnTo>
                    <a:lnTo>
                      <a:pt x="361359" y="4918"/>
                    </a:lnTo>
                    <a:cubicBezTo>
                      <a:pt x="361359" y="2205"/>
                      <a:pt x="363563" y="0"/>
                      <a:pt x="366277" y="0"/>
                    </a:cubicBezTo>
                    <a:cubicBezTo>
                      <a:pt x="368991" y="0"/>
                      <a:pt x="371195" y="2205"/>
                      <a:pt x="371195" y="4918"/>
                    </a:cubicBezTo>
                    <a:lnTo>
                      <a:pt x="371195" y="44337"/>
                    </a:lnTo>
                    <a:cubicBezTo>
                      <a:pt x="371220" y="47051"/>
                      <a:pt x="369015" y="49255"/>
                      <a:pt x="366301" y="49255"/>
                    </a:cubicBezTo>
                    <a:close/>
                  </a:path>
                </a:pathLst>
              </a:custGeom>
              <a:grpFill/>
              <a:ln w="2420" cap="flat">
                <a:noFill/>
                <a:prstDash val="solid"/>
                <a:miter/>
              </a:ln>
            </p:spPr>
            <p:txBody>
              <a:bodyPr rtlCol="0" anchor="ctr"/>
              <a:lstStyle/>
              <a:p>
                <a:endParaRPr lang="en-GB" dirty="0"/>
              </a:p>
            </p:txBody>
          </p:sp>
          <p:sp>
            <p:nvSpPr>
              <p:cNvPr id="180" name="Freihandform: Form 1580">
                <a:extLst>
                  <a:ext uri="{FF2B5EF4-FFF2-40B4-BE49-F238E27FC236}">
                    <a16:creationId xmlns:a16="http://schemas.microsoft.com/office/drawing/2014/main" id="{F3D50E3E-6CBD-4263-B4D3-7339A7A8D00B}"/>
                  </a:ext>
                </a:extLst>
              </p:cNvPr>
              <p:cNvSpPr/>
              <p:nvPr/>
            </p:nvSpPr>
            <p:spPr>
              <a:xfrm>
                <a:off x="5330410" y="1890502"/>
                <a:ext cx="9836" cy="49255"/>
              </a:xfrm>
              <a:custGeom>
                <a:avLst/>
                <a:gdLst>
                  <a:gd name="connsiteX0" fmla="*/ 4918 w 9836"/>
                  <a:gd name="connsiteY0" fmla="*/ 49255 h 49255"/>
                  <a:gd name="connsiteX1" fmla="*/ 0 w 9836"/>
                  <a:gd name="connsiteY1" fmla="*/ 44337 h 49255"/>
                  <a:gd name="connsiteX2" fmla="*/ 0 w 9836"/>
                  <a:gd name="connsiteY2" fmla="*/ 4918 h 49255"/>
                  <a:gd name="connsiteX3" fmla="*/ 4918 w 9836"/>
                  <a:gd name="connsiteY3" fmla="*/ 0 h 49255"/>
                  <a:gd name="connsiteX4" fmla="*/ 9837 w 9836"/>
                  <a:gd name="connsiteY4" fmla="*/ 4918 h 49255"/>
                  <a:gd name="connsiteX5" fmla="*/ 9837 w 9836"/>
                  <a:gd name="connsiteY5" fmla="*/ 44337 h 49255"/>
                  <a:gd name="connsiteX6" fmla="*/ 4918 w 9836"/>
                  <a:gd name="connsiteY6" fmla="*/ 49255 h 4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49255">
                    <a:moveTo>
                      <a:pt x="4918" y="49255"/>
                    </a:moveTo>
                    <a:cubicBezTo>
                      <a:pt x="2205" y="49255"/>
                      <a:pt x="0" y="47051"/>
                      <a:pt x="0" y="44337"/>
                    </a:cubicBezTo>
                    <a:lnTo>
                      <a:pt x="0" y="4918"/>
                    </a:lnTo>
                    <a:cubicBezTo>
                      <a:pt x="0" y="2205"/>
                      <a:pt x="2205" y="0"/>
                      <a:pt x="4918" y="0"/>
                    </a:cubicBezTo>
                    <a:cubicBezTo>
                      <a:pt x="7632" y="0"/>
                      <a:pt x="9837" y="2205"/>
                      <a:pt x="9837" y="4918"/>
                    </a:cubicBezTo>
                    <a:lnTo>
                      <a:pt x="9837" y="44337"/>
                    </a:lnTo>
                    <a:cubicBezTo>
                      <a:pt x="9837" y="47051"/>
                      <a:pt x="7632" y="49255"/>
                      <a:pt x="4918" y="49255"/>
                    </a:cubicBezTo>
                    <a:close/>
                  </a:path>
                </a:pathLst>
              </a:custGeom>
              <a:grpFill/>
              <a:ln w="2420" cap="flat">
                <a:noFill/>
                <a:prstDash val="solid"/>
                <a:miter/>
              </a:ln>
            </p:spPr>
            <p:txBody>
              <a:bodyPr rtlCol="0" anchor="ctr"/>
              <a:lstStyle/>
              <a:p>
                <a:endParaRPr lang="en-GB" dirty="0"/>
              </a:p>
            </p:txBody>
          </p:sp>
          <p:sp>
            <p:nvSpPr>
              <p:cNvPr id="181" name="Freihandform: Form 1581">
                <a:extLst>
                  <a:ext uri="{FF2B5EF4-FFF2-40B4-BE49-F238E27FC236}">
                    <a16:creationId xmlns:a16="http://schemas.microsoft.com/office/drawing/2014/main" id="{AF4E2067-D5B6-4253-8417-E8A24F5DAFBC}"/>
                  </a:ext>
                </a:extLst>
              </p:cNvPr>
              <p:cNvSpPr/>
              <p:nvPr/>
            </p:nvSpPr>
            <p:spPr>
              <a:xfrm>
                <a:off x="5379689" y="2120473"/>
                <a:ext cx="114961" cy="9836"/>
              </a:xfrm>
              <a:custGeom>
                <a:avLst/>
                <a:gdLst>
                  <a:gd name="connsiteX0" fmla="*/ 110043 w 114961"/>
                  <a:gd name="connsiteY0" fmla="*/ 9837 h 9836"/>
                  <a:gd name="connsiteX1" fmla="*/ 4918 w 114961"/>
                  <a:gd name="connsiteY1" fmla="*/ 9837 h 9836"/>
                  <a:gd name="connsiteX2" fmla="*/ 0 w 114961"/>
                  <a:gd name="connsiteY2" fmla="*/ 4918 h 9836"/>
                  <a:gd name="connsiteX3" fmla="*/ 4918 w 114961"/>
                  <a:gd name="connsiteY3" fmla="*/ 0 h 9836"/>
                  <a:gd name="connsiteX4" fmla="*/ 110043 w 114961"/>
                  <a:gd name="connsiteY4" fmla="*/ 0 h 9836"/>
                  <a:gd name="connsiteX5" fmla="*/ 114961 w 114961"/>
                  <a:gd name="connsiteY5" fmla="*/ 4918 h 9836"/>
                  <a:gd name="connsiteX6" fmla="*/ 110043 w 114961"/>
                  <a:gd name="connsiteY6" fmla="*/ 9837 h 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61" h="9836">
                    <a:moveTo>
                      <a:pt x="110043" y="9837"/>
                    </a:moveTo>
                    <a:lnTo>
                      <a:pt x="4918" y="9837"/>
                    </a:lnTo>
                    <a:cubicBezTo>
                      <a:pt x="2205" y="9837"/>
                      <a:pt x="0" y="7632"/>
                      <a:pt x="0" y="4918"/>
                    </a:cubicBezTo>
                    <a:cubicBezTo>
                      <a:pt x="0" y="2205"/>
                      <a:pt x="2205" y="0"/>
                      <a:pt x="4918" y="0"/>
                    </a:cubicBezTo>
                    <a:lnTo>
                      <a:pt x="110043" y="0"/>
                    </a:lnTo>
                    <a:cubicBezTo>
                      <a:pt x="112757" y="0"/>
                      <a:pt x="114961" y="2205"/>
                      <a:pt x="114961" y="4918"/>
                    </a:cubicBezTo>
                    <a:cubicBezTo>
                      <a:pt x="114961" y="7632"/>
                      <a:pt x="112757" y="9837"/>
                      <a:pt x="110043" y="9837"/>
                    </a:cubicBezTo>
                    <a:close/>
                  </a:path>
                </a:pathLst>
              </a:custGeom>
              <a:grpFill/>
              <a:ln w="2420" cap="flat">
                <a:noFill/>
                <a:prstDash val="solid"/>
                <a:miter/>
              </a:ln>
            </p:spPr>
            <p:txBody>
              <a:bodyPr rtlCol="0" anchor="ctr"/>
              <a:lstStyle/>
              <a:p>
                <a:endParaRPr lang="en-GB" dirty="0"/>
              </a:p>
            </p:txBody>
          </p:sp>
          <p:sp>
            <p:nvSpPr>
              <p:cNvPr id="182" name="Freihandform: Form 1582">
                <a:extLst>
                  <a:ext uri="{FF2B5EF4-FFF2-40B4-BE49-F238E27FC236}">
                    <a16:creationId xmlns:a16="http://schemas.microsoft.com/office/drawing/2014/main" id="{B5687B83-23AA-4FDA-AFB9-EC6C363C6C5A}"/>
                  </a:ext>
                </a:extLst>
              </p:cNvPr>
              <p:cNvSpPr/>
              <p:nvPr/>
            </p:nvSpPr>
            <p:spPr>
              <a:xfrm>
                <a:off x="5538624" y="2120473"/>
                <a:ext cx="113725" cy="9836"/>
              </a:xfrm>
              <a:custGeom>
                <a:avLst/>
                <a:gdLst>
                  <a:gd name="connsiteX0" fmla="*/ 108807 w 113725"/>
                  <a:gd name="connsiteY0" fmla="*/ 9837 h 9836"/>
                  <a:gd name="connsiteX1" fmla="*/ 4918 w 113725"/>
                  <a:gd name="connsiteY1" fmla="*/ 9837 h 9836"/>
                  <a:gd name="connsiteX2" fmla="*/ 0 w 113725"/>
                  <a:gd name="connsiteY2" fmla="*/ 4918 h 9836"/>
                  <a:gd name="connsiteX3" fmla="*/ 4918 w 113725"/>
                  <a:gd name="connsiteY3" fmla="*/ 0 h 9836"/>
                  <a:gd name="connsiteX4" fmla="*/ 108807 w 113725"/>
                  <a:gd name="connsiteY4" fmla="*/ 0 h 9836"/>
                  <a:gd name="connsiteX5" fmla="*/ 113726 w 113725"/>
                  <a:gd name="connsiteY5" fmla="*/ 4918 h 9836"/>
                  <a:gd name="connsiteX6" fmla="*/ 108807 w 113725"/>
                  <a:gd name="connsiteY6" fmla="*/ 9837 h 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725" h="9836">
                    <a:moveTo>
                      <a:pt x="108807" y="9837"/>
                    </a:moveTo>
                    <a:lnTo>
                      <a:pt x="4918" y="9837"/>
                    </a:lnTo>
                    <a:cubicBezTo>
                      <a:pt x="2205" y="9837"/>
                      <a:pt x="0" y="7632"/>
                      <a:pt x="0" y="4918"/>
                    </a:cubicBezTo>
                    <a:cubicBezTo>
                      <a:pt x="0" y="2205"/>
                      <a:pt x="2205" y="0"/>
                      <a:pt x="4918" y="0"/>
                    </a:cubicBezTo>
                    <a:lnTo>
                      <a:pt x="108807" y="0"/>
                    </a:lnTo>
                    <a:cubicBezTo>
                      <a:pt x="111521" y="0"/>
                      <a:pt x="113726" y="2205"/>
                      <a:pt x="113726" y="4918"/>
                    </a:cubicBezTo>
                    <a:cubicBezTo>
                      <a:pt x="113726" y="7632"/>
                      <a:pt x="111521" y="9837"/>
                      <a:pt x="108807" y="9837"/>
                    </a:cubicBezTo>
                    <a:close/>
                  </a:path>
                </a:pathLst>
              </a:custGeom>
              <a:grpFill/>
              <a:ln w="2420" cap="flat">
                <a:noFill/>
                <a:prstDash val="solid"/>
                <a:miter/>
              </a:ln>
            </p:spPr>
            <p:txBody>
              <a:bodyPr rtlCol="0" anchor="ctr"/>
              <a:lstStyle/>
              <a:p>
                <a:endParaRPr lang="en-GB" dirty="0"/>
              </a:p>
            </p:txBody>
          </p:sp>
          <p:sp>
            <p:nvSpPr>
              <p:cNvPr id="183" name="Freihandform: Form 1583">
                <a:extLst>
                  <a:ext uri="{FF2B5EF4-FFF2-40B4-BE49-F238E27FC236}">
                    <a16:creationId xmlns:a16="http://schemas.microsoft.com/office/drawing/2014/main" id="{66FCDE3F-0EA9-45FD-943A-61E4CBD96D1F}"/>
                  </a:ext>
                </a:extLst>
              </p:cNvPr>
              <p:cNvSpPr/>
              <p:nvPr/>
            </p:nvSpPr>
            <p:spPr>
              <a:xfrm>
                <a:off x="5511101" y="2041611"/>
                <a:ext cx="9836" cy="62411"/>
              </a:xfrm>
              <a:custGeom>
                <a:avLst/>
                <a:gdLst>
                  <a:gd name="connsiteX0" fmla="*/ 4918 w 9836"/>
                  <a:gd name="connsiteY0" fmla="*/ 62411 h 62411"/>
                  <a:gd name="connsiteX1" fmla="*/ 0 w 9836"/>
                  <a:gd name="connsiteY1" fmla="*/ 57493 h 62411"/>
                  <a:gd name="connsiteX2" fmla="*/ 0 w 9836"/>
                  <a:gd name="connsiteY2" fmla="*/ 4918 h 62411"/>
                  <a:gd name="connsiteX3" fmla="*/ 4918 w 9836"/>
                  <a:gd name="connsiteY3" fmla="*/ 0 h 62411"/>
                  <a:gd name="connsiteX4" fmla="*/ 9837 w 9836"/>
                  <a:gd name="connsiteY4" fmla="*/ 4918 h 62411"/>
                  <a:gd name="connsiteX5" fmla="*/ 9837 w 9836"/>
                  <a:gd name="connsiteY5" fmla="*/ 57493 h 62411"/>
                  <a:gd name="connsiteX6" fmla="*/ 4918 w 9836"/>
                  <a:gd name="connsiteY6" fmla="*/ 62411 h 6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62411">
                    <a:moveTo>
                      <a:pt x="4918" y="62411"/>
                    </a:moveTo>
                    <a:cubicBezTo>
                      <a:pt x="2205" y="62411"/>
                      <a:pt x="0" y="60206"/>
                      <a:pt x="0" y="57493"/>
                    </a:cubicBezTo>
                    <a:lnTo>
                      <a:pt x="0" y="4918"/>
                    </a:lnTo>
                    <a:cubicBezTo>
                      <a:pt x="0" y="2205"/>
                      <a:pt x="2205" y="0"/>
                      <a:pt x="4918" y="0"/>
                    </a:cubicBezTo>
                    <a:cubicBezTo>
                      <a:pt x="7632" y="0"/>
                      <a:pt x="9837" y="2205"/>
                      <a:pt x="9837" y="4918"/>
                    </a:cubicBezTo>
                    <a:lnTo>
                      <a:pt x="9837" y="57493"/>
                    </a:lnTo>
                    <a:cubicBezTo>
                      <a:pt x="9837" y="60206"/>
                      <a:pt x="7632" y="62411"/>
                      <a:pt x="4918" y="62411"/>
                    </a:cubicBezTo>
                    <a:close/>
                  </a:path>
                </a:pathLst>
              </a:custGeom>
              <a:grpFill/>
              <a:ln w="2420" cap="flat">
                <a:noFill/>
                <a:prstDash val="solid"/>
                <a:miter/>
              </a:ln>
            </p:spPr>
            <p:txBody>
              <a:bodyPr rtlCol="0" anchor="ctr"/>
              <a:lstStyle/>
              <a:p>
                <a:endParaRPr lang="en-GB" dirty="0"/>
              </a:p>
            </p:txBody>
          </p:sp>
        </p:grpSp>
        <p:grpSp>
          <p:nvGrpSpPr>
            <p:cNvPr id="154" name="Group 1098">
              <a:extLst>
                <a:ext uri="{FF2B5EF4-FFF2-40B4-BE49-F238E27FC236}">
                  <a16:creationId xmlns:a16="http://schemas.microsoft.com/office/drawing/2014/main" id="{943F6D4C-728D-4BA5-ADAB-0A126F80E508}"/>
                </a:ext>
              </a:extLst>
            </p:cNvPr>
            <p:cNvGrpSpPr/>
            <p:nvPr/>
          </p:nvGrpSpPr>
          <p:grpSpPr>
            <a:xfrm>
              <a:off x="2719371" y="3215998"/>
              <a:ext cx="331094" cy="413070"/>
              <a:chOff x="5343541" y="1726237"/>
              <a:chExt cx="344932" cy="430335"/>
            </a:xfrm>
            <a:solidFill>
              <a:schemeClr val="accent1"/>
            </a:solidFill>
          </p:grpSpPr>
          <p:sp>
            <p:nvSpPr>
              <p:cNvPr id="155" name="Freihandform: Form 1555">
                <a:extLst>
                  <a:ext uri="{FF2B5EF4-FFF2-40B4-BE49-F238E27FC236}">
                    <a16:creationId xmlns:a16="http://schemas.microsoft.com/office/drawing/2014/main" id="{EC4D845A-3FF5-433D-808A-5187B10F0D00}"/>
                  </a:ext>
                </a:extLst>
              </p:cNvPr>
              <p:cNvSpPr/>
              <p:nvPr/>
            </p:nvSpPr>
            <p:spPr>
              <a:xfrm>
                <a:off x="5645784" y="1726237"/>
                <a:ext cx="42689" cy="42689"/>
              </a:xfrm>
              <a:custGeom>
                <a:avLst/>
                <a:gdLst>
                  <a:gd name="connsiteX0" fmla="*/ 21345 w 42689"/>
                  <a:gd name="connsiteY0" fmla="*/ 42690 h 42689"/>
                  <a:gd name="connsiteX1" fmla="*/ 0 w 42689"/>
                  <a:gd name="connsiteY1" fmla="*/ 21345 h 42689"/>
                  <a:gd name="connsiteX2" fmla="*/ 21345 w 42689"/>
                  <a:gd name="connsiteY2" fmla="*/ 0 h 42689"/>
                  <a:gd name="connsiteX3" fmla="*/ 42690 w 42689"/>
                  <a:gd name="connsiteY3" fmla="*/ 21345 h 42689"/>
                  <a:gd name="connsiteX4" fmla="*/ 21345 w 42689"/>
                  <a:gd name="connsiteY4" fmla="*/ 42690 h 42689"/>
                  <a:gd name="connsiteX5" fmla="*/ 21345 w 42689"/>
                  <a:gd name="connsiteY5" fmla="*/ 9837 h 42689"/>
                  <a:gd name="connsiteX6" fmla="*/ 9837 w 42689"/>
                  <a:gd name="connsiteY6" fmla="*/ 21345 h 42689"/>
                  <a:gd name="connsiteX7" fmla="*/ 21345 w 42689"/>
                  <a:gd name="connsiteY7" fmla="*/ 32853 h 42689"/>
                  <a:gd name="connsiteX8" fmla="*/ 32853 w 42689"/>
                  <a:gd name="connsiteY8" fmla="*/ 21345 h 42689"/>
                  <a:gd name="connsiteX9" fmla="*/ 21345 w 42689"/>
                  <a:gd name="connsiteY9" fmla="*/ 9837 h 4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689" h="42689">
                    <a:moveTo>
                      <a:pt x="21345" y="42690"/>
                    </a:moveTo>
                    <a:cubicBezTo>
                      <a:pt x="9570" y="42690"/>
                      <a:pt x="0" y="33120"/>
                      <a:pt x="0" y="21345"/>
                    </a:cubicBezTo>
                    <a:cubicBezTo>
                      <a:pt x="0" y="9570"/>
                      <a:pt x="9570" y="0"/>
                      <a:pt x="21345" y="0"/>
                    </a:cubicBezTo>
                    <a:cubicBezTo>
                      <a:pt x="33120" y="0"/>
                      <a:pt x="42690" y="9570"/>
                      <a:pt x="42690" y="21345"/>
                    </a:cubicBezTo>
                    <a:cubicBezTo>
                      <a:pt x="42690" y="33120"/>
                      <a:pt x="33120" y="42690"/>
                      <a:pt x="21345" y="42690"/>
                    </a:cubicBezTo>
                    <a:close/>
                    <a:moveTo>
                      <a:pt x="21345" y="9837"/>
                    </a:moveTo>
                    <a:cubicBezTo>
                      <a:pt x="14997" y="9837"/>
                      <a:pt x="9837" y="14997"/>
                      <a:pt x="9837" y="21345"/>
                    </a:cubicBezTo>
                    <a:cubicBezTo>
                      <a:pt x="9837" y="27692"/>
                      <a:pt x="14997" y="32853"/>
                      <a:pt x="21345" y="32853"/>
                    </a:cubicBezTo>
                    <a:cubicBezTo>
                      <a:pt x="27692" y="32853"/>
                      <a:pt x="32853" y="27692"/>
                      <a:pt x="32853" y="21345"/>
                    </a:cubicBezTo>
                    <a:cubicBezTo>
                      <a:pt x="32853" y="14997"/>
                      <a:pt x="27692" y="9837"/>
                      <a:pt x="21345" y="9837"/>
                    </a:cubicBezTo>
                    <a:close/>
                  </a:path>
                </a:pathLst>
              </a:custGeom>
              <a:solidFill>
                <a:schemeClr val="accent1"/>
              </a:solidFill>
              <a:ln w="2420" cap="flat">
                <a:noFill/>
                <a:prstDash val="solid"/>
                <a:miter/>
              </a:ln>
            </p:spPr>
            <p:txBody>
              <a:bodyPr rtlCol="0" anchor="ctr"/>
              <a:lstStyle/>
              <a:p>
                <a:endParaRPr lang="en-GB" dirty="0"/>
              </a:p>
            </p:txBody>
          </p:sp>
          <p:sp>
            <p:nvSpPr>
              <p:cNvPr id="156" name="Freihandform: Form 1556">
                <a:extLst>
                  <a:ext uri="{FF2B5EF4-FFF2-40B4-BE49-F238E27FC236}">
                    <a16:creationId xmlns:a16="http://schemas.microsoft.com/office/drawing/2014/main" id="{7CACD1A7-CBEA-4E25-8947-B03647780261}"/>
                  </a:ext>
                </a:extLst>
              </p:cNvPr>
              <p:cNvSpPr/>
              <p:nvPr/>
            </p:nvSpPr>
            <p:spPr>
              <a:xfrm>
                <a:off x="5645784" y="1837928"/>
                <a:ext cx="42689" cy="42689"/>
              </a:xfrm>
              <a:custGeom>
                <a:avLst/>
                <a:gdLst>
                  <a:gd name="connsiteX0" fmla="*/ 21345 w 42689"/>
                  <a:gd name="connsiteY0" fmla="*/ 42690 h 42689"/>
                  <a:gd name="connsiteX1" fmla="*/ 0 w 42689"/>
                  <a:gd name="connsiteY1" fmla="*/ 21345 h 42689"/>
                  <a:gd name="connsiteX2" fmla="*/ 21345 w 42689"/>
                  <a:gd name="connsiteY2" fmla="*/ 0 h 42689"/>
                  <a:gd name="connsiteX3" fmla="*/ 42690 w 42689"/>
                  <a:gd name="connsiteY3" fmla="*/ 21345 h 42689"/>
                  <a:gd name="connsiteX4" fmla="*/ 21345 w 42689"/>
                  <a:gd name="connsiteY4" fmla="*/ 42690 h 42689"/>
                  <a:gd name="connsiteX5" fmla="*/ 21345 w 42689"/>
                  <a:gd name="connsiteY5" fmla="*/ 9837 h 42689"/>
                  <a:gd name="connsiteX6" fmla="*/ 9837 w 42689"/>
                  <a:gd name="connsiteY6" fmla="*/ 21345 h 42689"/>
                  <a:gd name="connsiteX7" fmla="*/ 21345 w 42689"/>
                  <a:gd name="connsiteY7" fmla="*/ 32853 h 42689"/>
                  <a:gd name="connsiteX8" fmla="*/ 32853 w 42689"/>
                  <a:gd name="connsiteY8" fmla="*/ 21345 h 42689"/>
                  <a:gd name="connsiteX9" fmla="*/ 21345 w 42689"/>
                  <a:gd name="connsiteY9" fmla="*/ 9837 h 4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689" h="42689">
                    <a:moveTo>
                      <a:pt x="21345" y="42690"/>
                    </a:moveTo>
                    <a:cubicBezTo>
                      <a:pt x="9570" y="42690"/>
                      <a:pt x="0" y="33120"/>
                      <a:pt x="0" y="21345"/>
                    </a:cubicBezTo>
                    <a:cubicBezTo>
                      <a:pt x="0" y="9570"/>
                      <a:pt x="9570" y="0"/>
                      <a:pt x="21345" y="0"/>
                    </a:cubicBezTo>
                    <a:cubicBezTo>
                      <a:pt x="33120" y="0"/>
                      <a:pt x="42690" y="9570"/>
                      <a:pt x="42690" y="21345"/>
                    </a:cubicBezTo>
                    <a:cubicBezTo>
                      <a:pt x="42690" y="33120"/>
                      <a:pt x="33120" y="42690"/>
                      <a:pt x="21345" y="42690"/>
                    </a:cubicBezTo>
                    <a:close/>
                    <a:moveTo>
                      <a:pt x="21345" y="9837"/>
                    </a:moveTo>
                    <a:cubicBezTo>
                      <a:pt x="14997" y="9837"/>
                      <a:pt x="9837" y="14997"/>
                      <a:pt x="9837" y="21345"/>
                    </a:cubicBezTo>
                    <a:cubicBezTo>
                      <a:pt x="9837" y="27692"/>
                      <a:pt x="14997" y="32853"/>
                      <a:pt x="21345" y="32853"/>
                    </a:cubicBezTo>
                    <a:cubicBezTo>
                      <a:pt x="27692" y="32853"/>
                      <a:pt x="32853" y="27692"/>
                      <a:pt x="32853" y="21345"/>
                    </a:cubicBezTo>
                    <a:cubicBezTo>
                      <a:pt x="32853" y="14997"/>
                      <a:pt x="27692" y="9837"/>
                      <a:pt x="21345" y="9837"/>
                    </a:cubicBezTo>
                    <a:close/>
                  </a:path>
                </a:pathLst>
              </a:custGeom>
              <a:solidFill>
                <a:schemeClr val="accent1"/>
              </a:solidFill>
              <a:ln w="2420" cap="flat">
                <a:noFill/>
                <a:prstDash val="solid"/>
                <a:miter/>
              </a:ln>
            </p:spPr>
            <p:txBody>
              <a:bodyPr rtlCol="0" anchor="ctr"/>
              <a:lstStyle/>
              <a:p>
                <a:endParaRPr lang="en-GB" dirty="0"/>
              </a:p>
            </p:txBody>
          </p:sp>
          <p:sp>
            <p:nvSpPr>
              <p:cNvPr id="157" name="Freihandform: Form 1557">
                <a:extLst>
                  <a:ext uri="{FF2B5EF4-FFF2-40B4-BE49-F238E27FC236}">
                    <a16:creationId xmlns:a16="http://schemas.microsoft.com/office/drawing/2014/main" id="{489302A9-F838-4A4D-BA7E-FE2BAFA0E2FE}"/>
                  </a:ext>
                </a:extLst>
              </p:cNvPr>
              <p:cNvSpPr/>
              <p:nvPr/>
            </p:nvSpPr>
            <p:spPr>
              <a:xfrm>
                <a:off x="5645784" y="1949642"/>
                <a:ext cx="42689" cy="42689"/>
              </a:xfrm>
              <a:custGeom>
                <a:avLst/>
                <a:gdLst>
                  <a:gd name="connsiteX0" fmla="*/ 21345 w 42689"/>
                  <a:gd name="connsiteY0" fmla="*/ 42690 h 42689"/>
                  <a:gd name="connsiteX1" fmla="*/ 0 w 42689"/>
                  <a:gd name="connsiteY1" fmla="*/ 21345 h 42689"/>
                  <a:gd name="connsiteX2" fmla="*/ 21345 w 42689"/>
                  <a:gd name="connsiteY2" fmla="*/ 0 h 42689"/>
                  <a:gd name="connsiteX3" fmla="*/ 42690 w 42689"/>
                  <a:gd name="connsiteY3" fmla="*/ 21345 h 42689"/>
                  <a:gd name="connsiteX4" fmla="*/ 21345 w 42689"/>
                  <a:gd name="connsiteY4" fmla="*/ 42690 h 42689"/>
                  <a:gd name="connsiteX5" fmla="*/ 21345 w 42689"/>
                  <a:gd name="connsiteY5" fmla="*/ 9837 h 42689"/>
                  <a:gd name="connsiteX6" fmla="*/ 9837 w 42689"/>
                  <a:gd name="connsiteY6" fmla="*/ 21345 h 42689"/>
                  <a:gd name="connsiteX7" fmla="*/ 21345 w 42689"/>
                  <a:gd name="connsiteY7" fmla="*/ 32853 h 42689"/>
                  <a:gd name="connsiteX8" fmla="*/ 32853 w 42689"/>
                  <a:gd name="connsiteY8" fmla="*/ 21345 h 42689"/>
                  <a:gd name="connsiteX9" fmla="*/ 21345 w 42689"/>
                  <a:gd name="connsiteY9" fmla="*/ 9837 h 4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689" h="42689">
                    <a:moveTo>
                      <a:pt x="21345" y="42690"/>
                    </a:moveTo>
                    <a:cubicBezTo>
                      <a:pt x="9570" y="42690"/>
                      <a:pt x="0" y="33120"/>
                      <a:pt x="0" y="21345"/>
                    </a:cubicBezTo>
                    <a:cubicBezTo>
                      <a:pt x="0" y="9570"/>
                      <a:pt x="9570" y="0"/>
                      <a:pt x="21345" y="0"/>
                    </a:cubicBezTo>
                    <a:cubicBezTo>
                      <a:pt x="33120" y="0"/>
                      <a:pt x="42690" y="9570"/>
                      <a:pt x="42690" y="21345"/>
                    </a:cubicBezTo>
                    <a:cubicBezTo>
                      <a:pt x="42714" y="33095"/>
                      <a:pt x="33120" y="42690"/>
                      <a:pt x="21345" y="42690"/>
                    </a:cubicBezTo>
                    <a:close/>
                    <a:moveTo>
                      <a:pt x="21345" y="9837"/>
                    </a:moveTo>
                    <a:cubicBezTo>
                      <a:pt x="14997" y="9837"/>
                      <a:pt x="9837" y="14997"/>
                      <a:pt x="9837" y="21345"/>
                    </a:cubicBezTo>
                    <a:cubicBezTo>
                      <a:pt x="9837" y="27692"/>
                      <a:pt x="14997" y="32853"/>
                      <a:pt x="21345" y="32853"/>
                    </a:cubicBezTo>
                    <a:cubicBezTo>
                      <a:pt x="27692" y="32853"/>
                      <a:pt x="32853" y="27692"/>
                      <a:pt x="32853" y="21345"/>
                    </a:cubicBezTo>
                    <a:cubicBezTo>
                      <a:pt x="32853" y="14997"/>
                      <a:pt x="27692" y="9837"/>
                      <a:pt x="21345" y="9837"/>
                    </a:cubicBezTo>
                    <a:close/>
                  </a:path>
                </a:pathLst>
              </a:custGeom>
              <a:solidFill>
                <a:schemeClr val="accent1"/>
              </a:solidFill>
              <a:ln w="2420" cap="flat">
                <a:noFill/>
                <a:prstDash val="solid"/>
                <a:miter/>
              </a:ln>
            </p:spPr>
            <p:txBody>
              <a:bodyPr rtlCol="0" anchor="ctr"/>
              <a:lstStyle/>
              <a:p>
                <a:endParaRPr lang="en-GB" dirty="0"/>
              </a:p>
            </p:txBody>
          </p:sp>
          <p:grpSp>
            <p:nvGrpSpPr>
              <p:cNvPr id="158" name="Grafik 36">
                <a:extLst>
                  <a:ext uri="{FF2B5EF4-FFF2-40B4-BE49-F238E27FC236}">
                    <a16:creationId xmlns:a16="http://schemas.microsoft.com/office/drawing/2014/main" id="{79039806-B1BF-4E04-A74E-09662E90163F}"/>
                  </a:ext>
                </a:extLst>
              </p:cNvPr>
              <p:cNvGrpSpPr/>
              <p:nvPr/>
            </p:nvGrpSpPr>
            <p:grpSpPr>
              <a:xfrm>
                <a:off x="5343541" y="1732803"/>
                <a:ext cx="128117" cy="29558"/>
                <a:chOff x="5343541" y="1732803"/>
                <a:chExt cx="128117" cy="29558"/>
              </a:xfrm>
              <a:solidFill>
                <a:schemeClr val="accent1"/>
              </a:solidFill>
            </p:grpSpPr>
            <p:sp>
              <p:nvSpPr>
                <p:cNvPr id="170" name="Freihandform: Form 1570">
                  <a:extLst>
                    <a:ext uri="{FF2B5EF4-FFF2-40B4-BE49-F238E27FC236}">
                      <a16:creationId xmlns:a16="http://schemas.microsoft.com/office/drawing/2014/main" id="{BEAF9614-9911-4F78-906B-3F2A1295B2E9}"/>
                    </a:ext>
                  </a:extLst>
                </p:cNvPr>
                <p:cNvSpPr/>
                <p:nvPr/>
              </p:nvSpPr>
              <p:spPr>
                <a:xfrm>
                  <a:off x="5343541" y="1732803"/>
                  <a:ext cx="9836" cy="29558"/>
                </a:xfrm>
                <a:custGeom>
                  <a:avLst/>
                  <a:gdLst>
                    <a:gd name="connsiteX0" fmla="*/ 4918 w 9836"/>
                    <a:gd name="connsiteY0" fmla="*/ 29558 h 29558"/>
                    <a:gd name="connsiteX1" fmla="*/ 0 w 9836"/>
                    <a:gd name="connsiteY1" fmla="*/ 24640 h 29558"/>
                    <a:gd name="connsiteX2" fmla="*/ 0 w 9836"/>
                    <a:gd name="connsiteY2" fmla="*/ 4918 h 29558"/>
                    <a:gd name="connsiteX3" fmla="*/ 4918 w 9836"/>
                    <a:gd name="connsiteY3" fmla="*/ 0 h 29558"/>
                    <a:gd name="connsiteX4" fmla="*/ 9837 w 9836"/>
                    <a:gd name="connsiteY4" fmla="*/ 4918 h 29558"/>
                    <a:gd name="connsiteX5" fmla="*/ 9837 w 9836"/>
                    <a:gd name="connsiteY5" fmla="*/ 24640 h 29558"/>
                    <a:gd name="connsiteX6" fmla="*/ 4918 w 9836"/>
                    <a:gd name="connsiteY6" fmla="*/ 29558 h 2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8">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61" y="27353"/>
                        <a:pt x="7656" y="29558"/>
                        <a:pt x="4918" y="29558"/>
                      </a:cubicBezTo>
                      <a:close/>
                    </a:path>
                  </a:pathLst>
                </a:custGeom>
                <a:solidFill>
                  <a:schemeClr val="accent1"/>
                </a:solidFill>
                <a:ln w="2420" cap="flat">
                  <a:noFill/>
                  <a:prstDash val="solid"/>
                  <a:miter/>
                </a:ln>
              </p:spPr>
              <p:txBody>
                <a:bodyPr rtlCol="0" anchor="ctr"/>
                <a:lstStyle/>
                <a:p>
                  <a:endParaRPr lang="en-GB" dirty="0"/>
                </a:p>
              </p:txBody>
            </p:sp>
            <p:sp>
              <p:nvSpPr>
                <p:cNvPr id="171" name="Freihandform: Form 1571">
                  <a:extLst>
                    <a:ext uri="{FF2B5EF4-FFF2-40B4-BE49-F238E27FC236}">
                      <a16:creationId xmlns:a16="http://schemas.microsoft.com/office/drawing/2014/main" id="{C1B28393-A61C-471E-92F4-070D0F4E19C5}"/>
                    </a:ext>
                  </a:extLst>
                </p:cNvPr>
                <p:cNvSpPr/>
                <p:nvPr/>
              </p:nvSpPr>
              <p:spPr>
                <a:xfrm>
                  <a:off x="5382960" y="1732803"/>
                  <a:ext cx="9836" cy="29558"/>
                </a:xfrm>
                <a:custGeom>
                  <a:avLst/>
                  <a:gdLst>
                    <a:gd name="connsiteX0" fmla="*/ 4918 w 9836"/>
                    <a:gd name="connsiteY0" fmla="*/ 29558 h 29558"/>
                    <a:gd name="connsiteX1" fmla="*/ 0 w 9836"/>
                    <a:gd name="connsiteY1" fmla="*/ 24640 h 29558"/>
                    <a:gd name="connsiteX2" fmla="*/ 0 w 9836"/>
                    <a:gd name="connsiteY2" fmla="*/ 4918 h 29558"/>
                    <a:gd name="connsiteX3" fmla="*/ 4918 w 9836"/>
                    <a:gd name="connsiteY3" fmla="*/ 0 h 29558"/>
                    <a:gd name="connsiteX4" fmla="*/ 9837 w 9836"/>
                    <a:gd name="connsiteY4" fmla="*/ 4918 h 29558"/>
                    <a:gd name="connsiteX5" fmla="*/ 9837 w 9836"/>
                    <a:gd name="connsiteY5" fmla="*/ 24640 h 29558"/>
                    <a:gd name="connsiteX6" fmla="*/ 4918 w 9836"/>
                    <a:gd name="connsiteY6" fmla="*/ 29558 h 2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8">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61" y="27353"/>
                        <a:pt x="7656" y="29558"/>
                        <a:pt x="4918" y="29558"/>
                      </a:cubicBezTo>
                      <a:close/>
                    </a:path>
                  </a:pathLst>
                </a:custGeom>
                <a:solidFill>
                  <a:schemeClr val="accent1"/>
                </a:solidFill>
                <a:ln w="2420" cap="flat">
                  <a:noFill/>
                  <a:prstDash val="solid"/>
                  <a:miter/>
                </a:ln>
              </p:spPr>
              <p:txBody>
                <a:bodyPr rtlCol="0" anchor="ctr"/>
                <a:lstStyle/>
                <a:p>
                  <a:endParaRPr lang="en-GB" dirty="0"/>
                </a:p>
              </p:txBody>
            </p:sp>
            <p:sp>
              <p:nvSpPr>
                <p:cNvPr id="172" name="Freihandform: Form 1572">
                  <a:extLst>
                    <a:ext uri="{FF2B5EF4-FFF2-40B4-BE49-F238E27FC236}">
                      <a16:creationId xmlns:a16="http://schemas.microsoft.com/office/drawing/2014/main" id="{049544D9-C618-441F-B5CD-628B3FB7236B}"/>
                    </a:ext>
                  </a:extLst>
                </p:cNvPr>
                <p:cNvSpPr/>
                <p:nvPr/>
              </p:nvSpPr>
              <p:spPr>
                <a:xfrm>
                  <a:off x="5422403" y="1732803"/>
                  <a:ext cx="9836" cy="29558"/>
                </a:xfrm>
                <a:custGeom>
                  <a:avLst/>
                  <a:gdLst>
                    <a:gd name="connsiteX0" fmla="*/ 4918 w 9836"/>
                    <a:gd name="connsiteY0" fmla="*/ 29558 h 29558"/>
                    <a:gd name="connsiteX1" fmla="*/ 0 w 9836"/>
                    <a:gd name="connsiteY1" fmla="*/ 24640 h 29558"/>
                    <a:gd name="connsiteX2" fmla="*/ 0 w 9836"/>
                    <a:gd name="connsiteY2" fmla="*/ 4918 h 29558"/>
                    <a:gd name="connsiteX3" fmla="*/ 4918 w 9836"/>
                    <a:gd name="connsiteY3" fmla="*/ 0 h 29558"/>
                    <a:gd name="connsiteX4" fmla="*/ 9837 w 9836"/>
                    <a:gd name="connsiteY4" fmla="*/ 4918 h 29558"/>
                    <a:gd name="connsiteX5" fmla="*/ 9837 w 9836"/>
                    <a:gd name="connsiteY5" fmla="*/ 24640 h 29558"/>
                    <a:gd name="connsiteX6" fmla="*/ 4918 w 9836"/>
                    <a:gd name="connsiteY6" fmla="*/ 29558 h 2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8">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37" y="27353"/>
                        <a:pt x="7632" y="29558"/>
                        <a:pt x="4918" y="29558"/>
                      </a:cubicBezTo>
                      <a:close/>
                    </a:path>
                  </a:pathLst>
                </a:custGeom>
                <a:solidFill>
                  <a:schemeClr val="accent1"/>
                </a:solidFill>
                <a:ln w="2420" cap="flat">
                  <a:noFill/>
                  <a:prstDash val="solid"/>
                  <a:miter/>
                </a:ln>
              </p:spPr>
              <p:txBody>
                <a:bodyPr rtlCol="0" anchor="ctr"/>
                <a:lstStyle/>
                <a:p>
                  <a:endParaRPr lang="en-GB" dirty="0"/>
                </a:p>
              </p:txBody>
            </p:sp>
            <p:sp>
              <p:nvSpPr>
                <p:cNvPr id="173" name="Freihandform: Form 1573">
                  <a:extLst>
                    <a:ext uri="{FF2B5EF4-FFF2-40B4-BE49-F238E27FC236}">
                      <a16:creationId xmlns:a16="http://schemas.microsoft.com/office/drawing/2014/main" id="{D8085507-20E0-43DD-94DD-4A6CD5B50947}"/>
                    </a:ext>
                  </a:extLst>
                </p:cNvPr>
                <p:cNvSpPr/>
                <p:nvPr/>
              </p:nvSpPr>
              <p:spPr>
                <a:xfrm>
                  <a:off x="5461822" y="1732803"/>
                  <a:ext cx="9836" cy="29558"/>
                </a:xfrm>
                <a:custGeom>
                  <a:avLst/>
                  <a:gdLst>
                    <a:gd name="connsiteX0" fmla="*/ 4918 w 9836"/>
                    <a:gd name="connsiteY0" fmla="*/ 29558 h 29558"/>
                    <a:gd name="connsiteX1" fmla="*/ 0 w 9836"/>
                    <a:gd name="connsiteY1" fmla="*/ 24640 h 29558"/>
                    <a:gd name="connsiteX2" fmla="*/ 0 w 9836"/>
                    <a:gd name="connsiteY2" fmla="*/ 4918 h 29558"/>
                    <a:gd name="connsiteX3" fmla="*/ 4918 w 9836"/>
                    <a:gd name="connsiteY3" fmla="*/ 0 h 29558"/>
                    <a:gd name="connsiteX4" fmla="*/ 9837 w 9836"/>
                    <a:gd name="connsiteY4" fmla="*/ 4918 h 29558"/>
                    <a:gd name="connsiteX5" fmla="*/ 9837 w 9836"/>
                    <a:gd name="connsiteY5" fmla="*/ 24640 h 29558"/>
                    <a:gd name="connsiteX6" fmla="*/ 4918 w 9836"/>
                    <a:gd name="connsiteY6" fmla="*/ 29558 h 29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8">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37" y="27353"/>
                        <a:pt x="7632" y="29558"/>
                        <a:pt x="4918" y="29558"/>
                      </a:cubicBezTo>
                      <a:close/>
                    </a:path>
                  </a:pathLst>
                </a:custGeom>
                <a:solidFill>
                  <a:schemeClr val="accent1"/>
                </a:solidFill>
                <a:ln w="2420" cap="flat">
                  <a:noFill/>
                  <a:prstDash val="solid"/>
                  <a:miter/>
                </a:ln>
              </p:spPr>
              <p:txBody>
                <a:bodyPr rtlCol="0" anchor="ctr"/>
                <a:lstStyle/>
                <a:p>
                  <a:endParaRPr lang="en-GB" dirty="0"/>
                </a:p>
              </p:txBody>
            </p:sp>
          </p:grpSp>
          <p:grpSp>
            <p:nvGrpSpPr>
              <p:cNvPr id="159" name="Grafik 36">
                <a:extLst>
                  <a:ext uri="{FF2B5EF4-FFF2-40B4-BE49-F238E27FC236}">
                    <a16:creationId xmlns:a16="http://schemas.microsoft.com/office/drawing/2014/main" id="{F914B38C-6906-4EEB-B02C-36F614D8A66F}"/>
                  </a:ext>
                </a:extLst>
              </p:cNvPr>
              <p:cNvGrpSpPr/>
              <p:nvPr/>
            </p:nvGrpSpPr>
            <p:grpSpPr>
              <a:xfrm>
                <a:off x="5343541" y="1844493"/>
                <a:ext cx="128117" cy="29557"/>
                <a:chOff x="5343541" y="1844493"/>
                <a:chExt cx="128117" cy="29557"/>
              </a:xfrm>
              <a:solidFill>
                <a:schemeClr val="accent1"/>
              </a:solidFill>
            </p:grpSpPr>
            <p:sp>
              <p:nvSpPr>
                <p:cNvPr id="166" name="Freihandform: Form 1566">
                  <a:extLst>
                    <a:ext uri="{FF2B5EF4-FFF2-40B4-BE49-F238E27FC236}">
                      <a16:creationId xmlns:a16="http://schemas.microsoft.com/office/drawing/2014/main" id="{70AA7F58-23AA-40F8-A479-652497DCA83D}"/>
                    </a:ext>
                  </a:extLst>
                </p:cNvPr>
                <p:cNvSpPr/>
                <p:nvPr/>
              </p:nvSpPr>
              <p:spPr>
                <a:xfrm>
                  <a:off x="5343541" y="1844493"/>
                  <a:ext cx="9836" cy="29557"/>
                </a:xfrm>
                <a:custGeom>
                  <a:avLst/>
                  <a:gdLst>
                    <a:gd name="connsiteX0" fmla="*/ 4918 w 9836"/>
                    <a:gd name="connsiteY0" fmla="*/ 29558 h 29557"/>
                    <a:gd name="connsiteX1" fmla="*/ 0 w 9836"/>
                    <a:gd name="connsiteY1" fmla="*/ 24640 h 29557"/>
                    <a:gd name="connsiteX2" fmla="*/ 0 w 9836"/>
                    <a:gd name="connsiteY2" fmla="*/ 4918 h 29557"/>
                    <a:gd name="connsiteX3" fmla="*/ 4918 w 9836"/>
                    <a:gd name="connsiteY3" fmla="*/ 0 h 29557"/>
                    <a:gd name="connsiteX4" fmla="*/ 9837 w 9836"/>
                    <a:gd name="connsiteY4" fmla="*/ 4918 h 29557"/>
                    <a:gd name="connsiteX5" fmla="*/ 9837 w 9836"/>
                    <a:gd name="connsiteY5" fmla="*/ 24640 h 29557"/>
                    <a:gd name="connsiteX6" fmla="*/ 4918 w 9836"/>
                    <a:gd name="connsiteY6" fmla="*/ 29558 h 2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7">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61" y="27353"/>
                        <a:pt x="7656" y="29558"/>
                        <a:pt x="4918" y="29558"/>
                      </a:cubicBezTo>
                      <a:close/>
                    </a:path>
                  </a:pathLst>
                </a:custGeom>
                <a:solidFill>
                  <a:schemeClr val="accent1"/>
                </a:solidFill>
                <a:ln w="2420" cap="flat">
                  <a:noFill/>
                  <a:prstDash val="solid"/>
                  <a:miter/>
                </a:ln>
              </p:spPr>
              <p:txBody>
                <a:bodyPr rtlCol="0" anchor="ctr"/>
                <a:lstStyle/>
                <a:p>
                  <a:endParaRPr lang="en-GB" dirty="0"/>
                </a:p>
              </p:txBody>
            </p:sp>
            <p:sp>
              <p:nvSpPr>
                <p:cNvPr id="167" name="Freihandform: Form 1567">
                  <a:extLst>
                    <a:ext uri="{FF2B5EF4-FFF2-40B4-BE49-F238E27FC236}">
                      <a16:creationId xmlns:a16="http://schemas.microsoft.com/office/drawing/2014/main" id="{A6FE5D62-4AA4-4F3D-A269-CE12012302DB}"/>
                    </a:ext>
                  </a:extLst>
                </p:cNvPr>
                <p:cNvSpPr/>
                <p:nvPr/>
              </p:nvSpPr>
              <p:spPr>
                <a:xfrm>
                  <a:off x="5382960" y="1844493"/>
                  <a:ext cx="9836" cy="29557"/>
                </a:xfrm>
                <a:custGeom>
                  <a:avLst/>
                  <a:gdLst>
                    <a:gd name="connsiteX0" fmla="*/ 4918 w 9836"/>
                    <a:gd name="connsiteY0" fmla="*/ 29558 h 29557"/>
                    <a:gd name="connsiteX1" fmla="*/ 0 w 9836"/>
                    <a:gd name="connsiteY1" fmla="*/ 24640 h 29557"/>
                    <a:gd name="connsiteX2" fmla="*/ 0 w 9836"/>
                    <a:gd name="connsiteY2" fmla="*/ 4918 h 29557"/>
                    <a:gd name="connsiteX3" fmla="*/ 4918 w 9836"/>
                    <a:gd name="connsiteY3" fmla="*/ 0 h 29557"/>
                    <a:gd name="connsiteX4" fmla="*/ 9837 w 9836"/>
                    <a:gd name="connsiteY4" fmla="*/ 4918 h 29557"/>
                    <a:gd name="connsiteX5" fmla="*/ 9837 w 9836"/>
                    <a:gd name="connsiteY5" fmla="*/ 24640 h 29557"/>
                    <a:gd name="connsiteX6" fmla="*/ 4918 w 9836"/>
                    <a:gd name="connsiteY6" fmla="*/ 29558 h 2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7">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61" y="27353"/>
                        <a:pt x="7656" y="29558"/>
                        <a:pt x="4918" y="29558"/>
                      </a:cubicBezTo>
                      <a:close/>
                    </a:path>
                  </a:pathLst>
                </a:custGeom>
                <a:solidFill>
                  <a:schemeClr val="accent1"/>
                </a:solidFill>
                <a:ln w="2420" cap="flat">
                  <a:noFill/>
                  <a:prstDash val="solid"/>
                  <a:miter/>
                </a:ln>
              </p:spPr>
              <p:txBody>
                <a:bodyPr rtlCol="0" anchor="ctr"/>
                <a:lstStyle/>
                <a:p>
                  <a:endParaRPr lang="en-GB" dirty="0"/>
                </a:p>
              </p:txBody>
            </p:sp>
            <p:sp>
              <p:nvSpPr>
                <p:cNvPr id="168" name="Freihandform: Form 1568">
                  <a:extLst>
                    <a:ext uri="{FF2B5EF4-FFF2-40B4-BE49-F238E27FC236}">
                      <a16:creationId xmlns:a16="http://schemas.microsoft.com/office/drawing/2014/main" id="{9605919C-F4CA-404B-B863-176109D40165}"/>
                    </a:ext>
                  </a:extLst>
                </p:cNvPr>
                <p:cNvSpPr/>
                <p:nvPr/>
              </p:nvSpPr>
              <p:spPr>
                <a:xfrm>
                  <a:off x="5422403" y="1844493"/>
                  <a:ext cx="9836" cy="29557"/>
                </a:xfrm>
                <a:custGeom>
                  <a:avLst/>
                  <a:gdLst>
                    <a:gd name="connsiteX0" fmla="*/ 4918 w 9836"/>
                    <a:gd name="connsiteY0" fmla="*/ 29558 h 29557"/>
                    <a:gd name="connsiteX1" fmla="*/ 0 w 9836"/>
                    <a:gd name="connsiteY1" fmla="*/ 24640 h 29557"/>
                    <a:gd name="connsiteX2" fmla="*/ 0 w 9836"/>
                    <a:gd name="connsiteY2" fmla="*/ 4918 h 29557"/>
                    <a:gd name="connsiteX3" fmla="*/ 4918 w 9836"/>
                    <a:gd name="connsiteY3" fmla="*/ 0 h 29557"/>
                    <a:gd name="connsiteX4" fmla="*/ 9837 w 9836"/>
                    <a:gd name="connsiteY4" fmla="*/ 4918 h 29557"/>
                    <a:gd name="connsiteX5" fmla="*/ 9837 w 9836"/>
                    <a:gd name="connsiteY5" fmla="*/ 24640 h 29557"/>
                    <a:gd name="connsiteX6" fmla="*/ 4918 w 9836"/>
                    <a:gd name="connsiteY6" fmla="*/ 29558 h 2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7">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37" y="27353"/>
                        <a:pt x="7632" y="29558"/>
                        <a:pt x="4918" y="29558"/>
                      </a:cubicBezTo>
                      <a:close/>
                    </a:path>
                  </a:pathLst>
                </a:custGeom>
                <a:solidFill>
                  <a:schemeClr val="accent1"/>
                </a:solidFill>
                <a:ln w="2420" cap="flat">
                  <a:noFill/>
                  <a:prstDash val="solid"/>
                  <a:miter/>
                </a:ln>
              </p:spPr>
              <p:txBody>
                <a:bodyPr rtlCol="0" anchor="ctr"/>
                <a:lstStyle/>
                <a:p>
                  <a:endParaRPr lang="en-GB" dirty="0"/>
                </a:p>
              </p:txBody>
            </p:sp>
            <p:sp>
              <p:nvSpPr>
                <p:cNvPr id="169" name="Freihandform: Form 1569">
                  <a:extLst>
                    <a:ext uri="{FF2B5EF4-FFF2-40B4-BE49-F238E27FC236}">
                      <a16:creationId xmlns:a16="http://schemas.microsoft.com/office/drawing/2014/main" id="{524F4122-C9C6-405E-AB53-98E935BFD096}"/>
                    </a:ext>
                  </a:extLst>
                </p:cNvPr>
                <p:cNvSpPr/>
                <p:nvPr/>
              </p:nvSpPr>
              <p:spPr>
                <a:xfrm>
                  <a:off x="5461822" y="1844493"/>
                  <a:ext cx="9836" cy="29557"/>
                </a:xfrm>
                <a:custGeom>
                  <a:avLst/>
                  <a:gdLst>
                    <a:gd name="connsiteX0" fmla="*/ 4918 w 9836"/>
                    <a:gd name="connsiteY0" fmla="*/ 29558 h 29557"/>
                    <a:gd name="connsiteX1" fmla="*/ 0 w 9836"/>
                    <a:gd name="connsiteY1" fmla="*/ 24640 h 29557"/>
                    <a:gd name="connsiteX2" fmla="*/ 0 w 9836"/>
                    <a:gd name="connsiteY2" fmla="*/ 4918 h 29557"/>
                    <a:gd name="connsiteX3" fmla="*/ 4918 w 9836"/>
                    <a:gd name="connsiteY3" fmla="*/ 0 h 29557"/>
                    <a:gd name="connsiteX4" fmla="*/ 9837 w 9836"/>
                    <a:gd name="connsiteY4" fmla="*/ 4918 h 29557"/>
                    <a:gd name="connsiteX5" fmla="*/ 9837 w 9836"/>
                    <a:gd name="connsiteY5" fmla="*/ 24640 h 29557"/>
                    <a:gd name="connsiteX6" fmla="*/ 4918 w 9836"/>
                    <a:gd name="connsiteY6" fmla="*/ 29558 h 2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7">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37" y="27353"/>
                        <a:pt x="7632" y="29558"/>
                        <a:pt x="4918" y="29558"/>
                      </a:cubicBezTo>
                      <a:close/>
                    </a:path>
                  </a:pathLst>
                </a:custGeom>
                <a:solidFill>
                  <a:schemeClr val="accent1"/>
                </a:solidFill>
                <a:ln w="2420" cap="flat">
                  <a:noFill/>
                  <a:prstDash val="solid"/>
                  <a:miter/>
                </a:ln>
              </p:spPr>
              <p:txBody>
                <a:bodyPr rtlCol="0" anchor="ctr"/>
                <a:lstStyle/>
                <a:p>
                  <a:endParaRPr lang="en-GB" dirty="0"/>
                </a:p>
              </p:txBody>
            </p:sp>
          </p:grpSp>
          <p:grpSp>
            <p:nvGrpSpPr>
              <p:cNvPr id="160" name="Grafik 36">
                <a:extLst>
                  <a:ext uri="{FF2B5EF4-FFF2-40B4-BE49-F238E27FC236}">
                    <a16:creationId xmlns:a16="http://schemas.microsoft.com/office/drawing/2014/main" id="{76FA380F-5B7E-47E9-862E-62A068E88B5A}"/>
                  </a:ext>
                </a:extLst>
              </p:cNvPr>
              <p:cNvGrpSpPr/>
              <p:nvPr/>
            </p:nvGrpSpPr>
            <p:grpSpPr>
              <a:xfrm>
                <a:off x="5343541" y="1956184"/>
                <a:ext cx="128117" cy="29557"/>
                <a:chOff x="5343541" y="1956184"/>
                <a:chExt cx="128117" cy="29557"/>
              </a:xfrm>
              <a:solidFill>
                <a:schemeClr val="accent1"/>
              </a:solidFill>
            </p:grpSpPr>
            <p:sp>
              <p:nvSpPr>
                <p:cNvPr id="162" name="Freihandform: Form 1562">
                  <a:extLst>
                    <a:ext uri="{FF2B5EF4-FFF2-40B4-BE49-F238E27FC236}">
                      <a16:creationId xmlns:a16="http://schemas.microsoft.com/office/drawing/2014/main" id="{C15CEAD0-30B0-4276-B812-02888563DECC}"/>
                    </a:ext>
                  </a:extLst>
                </p:cNvPr>
                <p:cNvSpPr/>
                <p:nvPr/>
              </p:nvSpPr>
              <p:spPr>
                <a:xfrm>
                  <a:off x="5343541" y="1956184"/>
                  <a:ext cx="9836" cy="29557"/>
                </a:xfrm>
                <a:custGeom>
                  <a:avLst/>
                  <a:gdLst>
                    <a:gd name="connsiteX0" fmla="*/ 4918 w 9836"/>
                    <a:gd name="connsiteY0" fmla="*/ 29558 h 29557"/>
                    <a:gd name="connsiteX1" fmla="*/ 0 w 9836"/>
                    <a:gd name="connsiteY1" fmla="*/ 24640 h 29557"/>
                    <a:gd name="connsiteX2" fmla="*/ 0 w 9836"/>
                    <a:gd name="connsiteY2" fmla="*/ 4918 h 29557"/>
                    <a:gd name="connsiteX3" fmla="*/ 4918 w 9836"/>
                    <a:gd name="connsiteY3" fmla="*/ 0 h 29557"/>
                    <a:gd name="connsiteX4" fmla="*/ 9837 w 9836"/>
                    <a:gd name="connsiteY4" fmla="*/ 4918 h 29557"/>
                    <a:gd name="connsiteX5" fmla="*/ 9837 w 9836"/>
                    <a:gd name="connsiteY5" fmla="*/ 24640 h 29557"/>
                    <a:gd name="connsiteX6" fmla="*/ 4918 w 9836"/>
                    <a:gd name="connsiteY6" fmla="*/ 29558 h 2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7">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61" y="27353"/>
                        <a:pt x="7656" y="29558"/>
                        <a:pt x="4918" y="29558"/>
                      </a:cubicBezTo>
                      <a:close/>
                    </a:path>
                  </a:pathLst>
                </a:custGeom>
                <a:solidFill>
                  <a:schemeClr val="accent1"/>
                </a:solidFill>
                <a:ln w="2420" cap="flat">
                  <a:noFill/>
                  <a:prstDash val="solid"/>
                  <a:miter/>
                </a:ln>
              </p:spPr>
              <p:txBody>
                <a:bodyPr rtlCol="0" anchor="ctr"/>
                <a:lstStyle/>
                <a:p>
                  <a:endParaRPr lang="en-GB" dirty="0"/>
                </a:p>
              </p:txBody>
            </p:sp>
            <p:sp>
              <p:nvSpPr>
                <p:cNvPr id="163" name="Freihandform: Form 1563">
                  <a:extLst>
                    <a:ext uri="{FF2B5EF4-FFF2-40B4-BE49-F238E27FC236}">
                      <a16:creationId xmlns:a16="http://schemas.microsoft.com/office/drawing/2014/main" id="{75341BCC-952E-4E9E-A450-0D9A422802B3}"/>
                    </a:ext>
                  </a:extLst>
                </p:cNvPr>
                <p:cNvSpPr/>
                <p:nvPr/>
              </p:nvSpPr>
              <p:spPr>
                <a:xfrm>
                  <a:off x="5382960" y="1956184"/>
                  <a:ext cx="9836" cy="29557"/>
                </a:xfrm>
                <a:custGeom>
                  <a:avLst/>
                  <a:gdLst>
                    <a:gd name="connsiteX0" fmla="*/ 4918 w 9836"/>
                    <a:gd name="connsiteY0" fmla="*/ 29558 h 29557"/>
                    <a:gd name="connsiteX1" fmla="*/ 0 w 9836"/>
                    <a:gd name="connsiteY1" fmla="*/ 24640 h 29557"/>
                    <a:gd name="connsiteX2" fmla="*/ 0 w 9836"/>
                    <a:gd name="connsiteY2" fmla="*/ 4918 h 29557"/>
                    <a:gd name="connsiteX3" fmla="*/ 4918 w 9836"/>
                    <a:gd name="connsiteY3" fmla="*/ 0 h 29557"/>
                    <a:gd name="connsiteX4" fmla="*/ 9837 w 9836"/>
                    <a:gd name="connsiteY4" fmla="*/ 4918 h 29557"/>
                    <a:gd name="connsiteX5" fmla="*/ 9837 w 9836"/>
                    <a:gd name="connsiteY5" fmla="*/ 24640 h 29557"/>
                    <a:gd name="connsiteX6" fmla="*/ 4918 w 9836"/>
                    <a:gd name="connsiteY6" fmla="*/ 29558 h 2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7">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61" y="27353"/>
                        <a:pt x="7656" y="29558"/>
                        <a:pt x="4918" y="29558"/>
                      </a:cubicBezTo>
                      <a:close/>
                    </a:path>
                  </a:pathLst>
                </a:custGeom>
                <a:solidFill>
                  <a:schemeClr val="accent1"/>
                </a:solidFill>
                <a:ln w="2420" cap="flat">
                  <a:noFill/>
                  <a:prstDash val="solid"/>
                  <a:miter/>
                </a:ln>
              </p:spPr>
              <p:txBody>
                <a:bodyPr rtlCol="0" anchor="ctr"/>
                <a:lstStyle/>
                <a:p>
                  <a:endParaRPr lang="en-GB" dirty="0"/>
                </a:p>
              </p:txBody>
            </p:sp>
            <p:sp>
              <p:nvSpPr>
                <p:cNvPr id="164" name="Freihandform: Form 1564">
                  <a:extLst>
                    <a:ext uri="{FF2B5EF4-FFF2-40B4-BE49-F238E27FC236}">
                      <a16:creationId xmlns:a16="http://schemas.microsoft.com/office/drawing/2014/main" id="{E2AA1356-7679-440A-9C1E-6525A3A288AD}"/>
                    </a:ext>
                  </a:extLst>
                </p:cNvPr>
                <p:cNvSpPr/>
                <p:nvPr/>
              </p:nvSpPr>
              <p:spPr>
                <a:xfrm>
                  <a:off x="5422403" y="1956184"/>
                  <a:ext cx="9836" cy="29557"/>
                </a:xfrm>
                <a:custGeom>
                  <a:avLst/>
                  <a:gdLst>
                    <a:gd name="connsiteX0" fmla="*/ 4918 w 9836"/>
                    <a:gd name="connsiteY0" fmla="*/ 29558 h 29557"/>
                    <a:gd name="connsiteX1" fmla="*/ 0 w 9836"/>
                    <a:gd name="connsiteY1" fmla="*/ 24640 h 29557"/>
                    <a:gd name="connsiteX2" fmla="*/ 0 w 9836"/>
                    <a:gd name="connsiteY2" fmla="*/ 4918 h 29557"/>
                    <a:gd name="connsiteX3" fmla="*/ 4918 w 9836"/>
                    <a:gd name="connsiteY3" fmla="*/ 0 h 29557"/>
                    <a:gd name="connsiteX4" fmla="*/ 9837 w 9836"/>
                    <a:gd name="connsiteY4" fmla="*/ 4918 h 29557"/>
                    <a:gd name="connsiteX5" fmla="*/ 9837 w 9836"/>
                    <a:gd name="connsiteY5" fmla="*/ 24640 h 29557"/>
                    <a:gd name="connsiteX6" fmla="*/ 4918 w 9836"/>
                    <a:gd name="connsiteY6" fmla="*/ 29558 h 2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7">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37" y="27353"/>
                        <a:pt x="7632" y="29558"/>
                        <a:pt x="4918" y="29558"/>
                      </a:cubicBezTo>
                      <a:close/>
                    </a:path>
                  </a:pathLst>
                </a:custGeom>
                <a:solidFill>
                  <a:schemeClr val="accent1"/>
                </a:solidFill>
                <a:ln w="2420" cap="flat">
                  <a:noFill/>
                  <a:prstDash val="solid"/>
                  <a:miter/>
                </a:ln>
              </p:spPr>
              <p:txBody>
                <a:bodyPr rtlCol="0" anchor="ctr"/>
                <a:lstStyle/>
                <a:p>
                  <a:endParaRPr lang="en-GB" dirty="0"/>
                </a:p>
              </p:txBody>
            </p:sp>
            <p:sp>
              <p:nvSpPr>
                <p:cNvPr id="165" name="Freihandform: Form 1565">
                  <a:extLst>
                    <a:ext uri="{FF2B5EF4-FFF2-40B4-BE49-F238E27FC236}">
                      <a16:creationId xmlns:a16="http://schemas.microsoft.com/office/drawing/2014/main" id="{4C7D713F-23A5-4C5E-9B6F-C1F548212B9A}"/>
                    </a:ext>
                  </a:extLst>
                </p:cNvPr>
                <p:cNvSpPr/>
                <p:nvPr/>
              </p:nvSpPr>
              <p:spPr>
                <a:xfrm>
                  <a:off x="5461822" y="1956184"/>
                  <a:ext cx="9836" cy="29557"/>
                </a:xfrm>
                <a:custGeom>
                  <a:avLst/>
                  <a:gdLst>
                    <a:gd name="connsiteX0" fmla="*/ 4918 w 9836"/>
                    <a:gd name="connsiteY0" fmla="*/ 29558 h 29557"/>
                    <a:gd name="connsiteX1" fmla="*/ 0 w 9836"/>
                    <a:gd name="connsiteY1" fmla="*/ 24640 h 29557"/>
                    <a:gd name="connsiteX2" fmla="*/ 0 w 9836"/>
                    <a:gd name="connsiteY2" fmla="*/ 4918 h 29557"/>
                    <a:gd name="connsiteX3" fmla="*/ 4918 w 9836"/>
                    <a:gd name="connsiteY3" fmla="*/ 0 h 29557"/>
                    <a:gd name="connsiteX4" fmla="*/ 9837 w 9836"/>
                    <a:gd name="connsiteY4" fmla="*/ 4918 h 29557"/>
                    <a:gd name="connsiteX5" fmla="*/ 9837 w 9836"/>
                    <a:gd name="connsiteY5" fmla="*/ 24640 h 29557"/>
                    <a:gd name="connsiteX6" fmla="*/ 4918 w 9836"/>
                    <a:gd name="connsiteY6" fmla="*/ 29558 h 2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29557">
                      <a:moveTo>
                        <a:pt x="4918" y="29558"/>
                      </a:moveTo>
                      <a:cubicBezTo>
                        <a:pt x="2205" y="29558"/>
                        <a:pt x="0" y="27353"/>
                        <a:pt x="0" y="24640"/>
                      </a:cubicBezTo>
                      <a:lnTo>
                        <a:pt x="0" y="4918"/>
                      </a:lnTo>
                      <a:cubicBezTo>
                        <a:pt x="0" y="2205"/>
                        <a:pt x="2205" y="0"/>
                        <a:pt x="4918" y="0"/>
                      </a:cubicBezTo>
                      <a:cubicBezTo>
                        <a:pt x="7632" y="0"/>
                        <a:pt x="9837" y="2205"/>
                        <a:pt x="9837" y="4918"/>
                      </a:cubicBezTo>
                      <a:lnTo>
                        <a:pt x="9837" y="24640"/>
                      </a:lnTo>
                      <a:cubicBezTo>
                        <a:pt x="9837" y="27353"/>
                        <a:pt x="7632" y="29558"/>
                        <a:pt x="4918" y="29558"/>
                      </a:cubicBezTo>
                      <a:close/>
                    </a:path>
                  </a:pathLst>
                </a:custGeom>
                <a:solidFill>
                  <a:schemeClr val="accent1"/>
                </a:solidFill>
                <a:ln w="2420" cap="flat">
                  <a:noFill/>
                  <a:prstDash val="solid"/>
                  <a:miter/>
                </a:ln>
              </p:spPr>
              <p:txBody>
                <a:bodyPr rtlCol="0" anchor="ctr"/>
                <a:lstStyle/>
                <a:p>
                  <a:endParaRPr lang="en-GB" dirty="0"/>
                </a:p>
              </p:txBody>
            </p:sp>
          </p:grpSp>
          <p:sp>
            <p:nvSpPr>
              <p:cNvPr id="161" name="Freihandform: Form 1561">
                <a:extLst>
                  <a:ext uri="{FF2B5EF4-FFF2-40B4-BE49-F238E27FC236}">
                    <a16:creationId xmlns:a16="http://schemas.microsoft.com/office/drawing/2014/main" id="{EBC4655E-275C-4ECB-961E-1BA7DADE1A3B}"/>
                  </a:ext>
                </a:extLst>
              </p:cNvPr>
              <p:cNvSpPr/>
              <p:nvPr/>
            </p:nvSpPr>
            <p:spPr>
              <a:xfrm>
                <a:off x="5484814" y="2094162"/>
                <a:ext cx="62410" cy="62410"/>
              </a:xfrm>
              <a:custGeom>
                <a:avLst/>
                <a:gdLst>
                  <a:gd name="connsiteX0" fmla="*/ 31206 w 62410"/>
                  <a:gd name="connsiteY0" fmla="*/ 62411 h 62410"/>
                  <a:gd name="connsiteX1" fmla="*/ 0 w 62410"/>
                  <a:gd name="connsiteY1" fmla="*/ 31206 h 62410"/>
                  <a:gd name="connsiteX2" fmla="*/ 31206 w 62410"/>
                  <a:gd name="connsiteY2" fmla="*/ 0 h 62410"/>
                  <a:gd name="connsiteX3" fmla="*/ 62411 w 62410"/>
                  <a:gd name="connsiteY3" fmla="*/ 31206 h 62410"/>
                  <a:gd name="connsiteX4" fmla="*/ 31206 w 62410"/>
                  <a:gd name="connsiteY4" fmla="*/ 62411 h 62410"/>
                  <a:gd name="connsiteX5" fmla="*/ 31206 w 62410"/>
                  <a:gd name="connsiteY5" fmla="*/ 9861 h 62410"/>
                  <a:gd name="connsiteX6" fmla="*/ 9861 w 62410"/>
                  <a:gd name="connsiteY6" fmla="*/ 31206 h 62410"/>
                  <a:gd name="connsiteX7" fmla="*/ 31206 w 62410"/>
                  <a:gd name="connsiteY7" fmla="*/ 52550 h 62410"/>
                  <a:gd name="connsiteX8" fmla="*/ 52550 w 62410"/>
                  <a:gd name="connsiteY8" fmla="*/ 31206 h 62410"/>
                  <a:gd name="connsiteX9" fmla="*/ 31206 w 62410"/>
                  <a:gd name="connsiteY9" fmla="*/ 9861 h 62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410" h="62410">
                    <a:moveTo>
                      <a:pt x="31206" y="62411"/>
                    </a:moveTo>
                    <a:cubicBezTo>
                      <a:pt x="14004" y="62411"/>
                      <a:pt x="0" y="48407"/>
                      <a:pt x="0" y="31206"/>
                    </a:cubicBezTo>
                    <a:cubicBezTo>
                      <a:pt x="0" y="14004"/>
                      <a:pt x="14004" y="0"/>
                      <a:pt x="31206" y="0"/>
                    </a:cubicBezTo>
                    <a:cubicBezTo>
                      <a:pt x="48407" y="0"/>
                      <a:pt x="62411" y="14004"/>
                      <a:pt x="62411" y="31206"/>
                    </a:cubicBezTo>
                    <a:cubicBezTo>
                      <a:pt x="62411" y="48432"/>
                      <a:pt x="48407" y="62411"/>
                      <a:pt x="31206" y="62411"/>
                    </a:cubicBezTo>
                    <a:close/>
                    <a:moveTo>
                      <a:pt x="31206" y="9861"/>
                    </a:moveTo>
                    <a:cubicBezTo>
                      <a:pt x="19431" y="9861"/>
                      <a:pt x="9861" y="19431"/>
                      <a:pt x="9861" y="31206"/>
                    </a:cubicBezTo>
                    <a:cubicBezTo>
                      <a:pt x="9861" y="42980"/>
                      <a:pt x="19431" y="52550"/>
                      <a:pt x="31206" y="52550"/>
                    </a:cubicBezTo>
                    <a:cubicBezTo>
                      <a:pt x="42980" y="52550"/>
                      <a:pt x="52550" y="42980"/>
                      <a:pt x="52550" y="31206"/>
                    </a:cubicBezTo>
                    <a:cubicBezTo>
                      <a:pt x="52550" y="19431"/>
                      <a:pt x="42980" y="9861"/>
                      <a:pt x="31206" y="9861"/>
                    </a:cubicBezTo>
                    <a:close/>
                  </a:path>
                </a:pathLst>
              </a:custGeom>
              <a:solidFill>
                <a:schemeClr val="accent1"/>
              </a:solidFill>
              <a:ln w="2420" cap="flat">
                <a:noFill/>
                <a:prstDash val="solid"/>
                <a:miter/>
              </a:ln>
            </p:spPr>
            <p:txBody>
              <a:bodyPr rtlCol="0" anchor="ctr"/>
              <a:lstStyle/>
              <a:p>
                <a:endParaRPr lang="en-GB" dirty="0"/>
              </a:p>
            </p:txBody>
          </p:sp>
        </p:grpSp>
      </p:grpSp>
      <p:grpSp>
        <p:nvGrpSpPr>
          <p:cNvPr id="742" name="Group 741">
            <a:extLst>
              <a:ext uri="{FF2B5EF4-FFF2-40B4-BE49-F238E27FC236}">
                <a16:creationId xmlns:a16="http://schemas.microsoft.com/office/drawing/2014/main" id="{4CC36EB0-E102-4022-8483-D131C7E13483}"/>
              </a:ext>
            </a:extLst>
          </p:cNvPr>
          <p:cNvGrpSpPr/>
          <p:nvPr/>
        </p:nvGrpSpPr>
        <p:grpSpPr>
          <a:xfrm>
            <a:off x="1631784" y="3197068"/>
            <a:ext cx="415401" cy="432000"/>
            <a:chOff x="1631784" y="3197068"/>
            <a:chExt cx="415401" cy="432000"/>
          </a:xfrm>
        </p:grpSpPr>
        <p:sp>
          <p:nvSpPr>
            <p:cNvPr id="185" name="Freihandform: Form 1377">
              <a:extLst>
                <a:ext uri="{FF2B5EF4-FFF2-40B4-BE49-F238E27FC236}">
                  <a16:creationId xmlns:a16="http://schemas.microsoft.com/office/drawing/2014/main" id="{DADE4520-1534-47F9-BF3E-6625E76C9DE1}"/>
                </a:ext>
              </a:extLst>
            </p:cNvPr>
            <p:cNvSpPr/>
            <p:nvPr/>
          </p:nvSpPr>
          <p:spPr>
            <a:xfrm>
              <a:off x="1829840" y="3598215"/>
              <a:ext cx="110887" cy="30853"/>
            </a:xfrm>
            <a:custGeom>
              <a:avLst/>
              <a:gdLst>
                <a:gd name="connsiteX0" fmla="*/ 149215 w 149215"/>
                <a:gd name="connsiteY0" fmla="*/ 41517 h 41517"/>
                <a:gd name="connsiteX1" fmla="*/ 0 w 149215"/>
                <a:gd name="connsiteY1" fmla="*/ 41517 h 41517"/>
                <a:gd name="connsiteX2" fmla="*/ 0 w 149215"/>
                <a:gd name="connsiteY2" fmla="*/ 0 h 41517"/>
                <a:gd name="connsiteX3" fmla="*/ 149207 w 149215"/>
                <a:gd name="connsiteY3" fmla="*/ 0 h 41517"/>
                <a:gd name="connsiteX4" fmla="*/ 149207 w 149215"/>
                <a:gd name="connsiteY4" fmla="*/ 41517 h 41517"/>
                <a:gd name="connsiteX5" fmla="*/ 12810 w 149215"/>
                <a:gd name="connsiteY5" fmla="*/ 28707 h 41517"/>
                <a:gd name="connsiteX6" fmla="*/ 136397 w 149215"/>
                <a:gd name="connsiteY6" fmla="*/ 28707 h 41517"/>
                <a:gd name="connsiteX7" fmla="*/ 136397 w 149215"/>
                <a:gd name="connsiteY7" fmla="*/ 12810 h 41517"/>
                <a:gd name="connsiteX8" fmla="*/ 12810 w 149215"/>
                <a:gd name="connsiteY8" fmla="*/ 12810 h 41517"/>
                <a:gd name="connsiteX9" fmla="*/ 12810 w 149215"/>
                <a:gd name="connsiteY9" fmla="*/ 28707 h 41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9215" h="41517">
                  <a:moveTo>
                    <a:pt x="149215" y="41517"/>
                  </a:moveTo>
                  <a:lnTo>
                    <a:pt x="0" y="41517"/>
                  </a:lnTo>
                  <a:lnTo>
                    <a:pt x="0" y="0"/>
                  </a:lnTo>
                  <a:lnTo>
                    <a:pt x="149207" y="0"/>
                  </a:lnTo>
                  <a:lnTo>
                    <a:pt x="149207" y="41517"/>
                  </a:lnTo>
                  <a:close/>
                  <a:moveTo>
                    <a:pt x="12810" y="28707"/>
                  </a:moveTo>
                  <a:lnTo>
                    <a:pt x="136397" y="28707"/>
                  </a:lnTo>
                  <a:lnTo>
                    <a:pt x="136397" y="12810"/>
                  </a:lnTo>
                  <a:lnTo>
                    <a:pt x="12810" y="12810"/>
                  </a:lnTo>
                  <a:lnTo>
                    <a:pt x="12810" y="28707"/>
                  </a:lnTo>
                  <a:close/>
                </a:path>
              </a:pathLst>
            </a:custGeom>
            <a:solidFill>
              <a:schemeClr val="accent1"/>
            </a:solidFill>
            <a:ln w="852" cap="flat">
              <a:noFill/>
              <a:prstDash val="solid"/>
              <a:miter/>
            </a:ln>
          </p:spPr>
          <p:txBody>
            <a:bodyPr rtlCol="0" anchor="ctr"/>
            <a:lstStyle/>
            <a:p>
              <a:endParaRPr lang="en-GB" dirty="0"/>
            </a:p>
          </p:txBody>
        </p:sp>
        <p:sp>
          <p:nvSpPr>
            <p:cNvPr id="186" name="Freihandform: Form 1378">
              <a:extLst>
                <a:ext uri="{FF2B5EF4-FFF2-40B4-BE49-F238E27FC236}">
                  <a16:creationId xmlns:a16="http://schemas.microsoft.com/office/drawing/2014/main" id="{1EF24647-E71F-4FC0-915A-E09E311A23A4}"/>
                </a:ext>
              </a:extLst>
            </p:cNvPr>
            <p:cNvSpPr/>
            <p:nvPr/>
          </p:nvSpPr>
          <p:spPr>
            <a:xfrm>
              <a:off x="1631784" y="3197068"/>
              <a:ext cx="415401" cy="404633"/>
            </a:xfrm>
            <a:custGeom>
              <a:avLst/>
              <a:gdLst>
                <a:gd name="connsiteX0" fmla="*/ 553082 w 558985"/>
                <a:gd name="connsiteY0" fmla="*/ 175440 h 544495"/>
                <a:gd name="connsiteX1" fmla="*/ 488435 w 558985"/>
                <a:gd name="connsiteY1" fmla="*/ 133096 h 544495"/>
                <a:gd name="connsiteX2" fmla="*/ 460300 w 558985"/>
                <a:gd name="connsiteY2" fmla="*/ 138981 h 544495"/>
                <a:gd name="connsiteX3" fmla="*/ 421793 w 558985"/>
                <a:gd name="connsiteY3" fmla="*/ 226339 h 544495"/>
                <a:gd name="connsiteX4" fmla="*/ 318206 w 558985"/>
                <a:gd name="connsiteY4" fmla="*/ 271480 h 544495"/>
                <a:gd name="connsiteX5" fmla="*/ 286420 w 558985"/>
                <a:gd name="connsiteY5" fmla="*/ 251890 h 544495"/>
                <a:gd name="connsiteX6" fmla="*/ 286420 w 558985"/>
                <a:gd name="connsiteY6" fmla="*/ 140687 h 544495"/>
                <a:gd name="connsiteX7" fmla="*/ 351117 w 558985"/>
                <a:gd name="connsiteY7" fmla="*/ 70488 h 544495"/>
                <a:gd name="connsiteX8" fmla="*/ 280629 w 558985"/>
                <a:gd name="connsiteY8" fmla="*/ 0 h 544495"/>
                <a:gd name="connsiteX9" fmla="*/ 210141 w 558985"/>
                <a:gd name="connsiteY9" fmla="*/ 70488 h 544495"/>
                <a:gd name="connsiteX10" fmla="*/ 273610 w 558985"/>
                <a:gd name="connsiteY10" fmla="*/ 140627 h 544495"/>
                <a:gd name="connsiteX11" fmla="*/ 273610 w 558985"/>
                <a:gd name="connsiteY11" fmla="*/ 251899 h 544495"/>
                <a:gd name="connsiteX12" fmla="*/ 241568 w 558985"/>
                <a:gd name="connsiteY12" fmla="*/ 271821 h 544495"/>
                <a:gd name="connsiteX13" fmla="*/ 137196 w 558985"/>
                <a:gd name="connsiteY13" fmla="*/ 226347 h 544495"/>
                <a:gd name="connsiteX14" fmla="*/ 98690 w 558985"/>
                <a:gd name="connsiteY14" fmla="*/ 138989 h 544495"/>
                <a:gd name="connsiteX15" fmla="*/ 70554 w 558985"/>
                <a:gd name="connsiteY15" fmla="*/ 133105 h 544495"/>
                <a:gd name="connsiteX16" fmla="*/ 5908 w 558985"/>
                <a:gd name="connsiteY16" fmla="*/ 175449 h 544495"/>
                <a:gd name="connsiteX17" fmla="*/ 4919 w 558985"/>
                <a:gd name="connsiteY17" fmla="*/ 229392 h 544495"/>
                <a:gd name="connsiteX18" fmla="*/ 42359 w 558985"/>
                <a:gd name="connsiteY18" fmla="*/ 268231 h 544495"/>
                <a:gd name="connsiteX19" fmla="*/ 70486 w 558985"/>
                <a:gd name="connsiteY19" fmla="*/ 274115 h 544495"/>
                <a:gd name="connsiteX20" fmla="*/ 70495 w 558985"/>
                <a:gd name="connsiteY20" fmla="*/ 274115 h 544495"/>
                <a:gd name="connsiteX21" fmla="*/ 131985 w 558985"/>
                <a:gd name="connsiteY21" fmla="*/ 238048 h 544495"/>
                <a:gd name="connsiteX22" fmla="*/ 235923 w 558985"/>
                <a:gd name="connsiteY22" fmla="*/ 283335 h 544495"/>
                <a:gd name="connsiteX23" fmla="*/ 233569 w 558985"/>
                <a:gd name="connsiteY23" fmla="*/ 297850 h 544495"/>
                <a:gd name="connsiteX24" fmla="*/ 252161 w 558985"/>
                <a:gd name="connsiteY24" fmla="*/ 334839 h 544495"/>
                <a:gd name="connsiteX25" fmla="*/ 252161 w 558985"/>
                <a:gd name="connsiteY25" fmla="*/ 397105 h 544495"/>
                <a:gd name="connsiteX26" fmla="*/ 232417 w 558985"/>
                <a:gd name="connsiteY26" fmla="*/ 422358 h 544495"/>
                <a:gd name="connsiteX27" fmla="*/ 232417 w 558985"/>
                <a:gd name="connsiteY27" fmla="*/ 465444 h 544495"/>
                <a:gd name="connsiteX28" fmla="*/ 245364 w 558985"/>
                <a:gd name="connsiteY28" fmla="*/ 490092 h 544495"/>
                <a:gd name="connsiteX29" fmla="*/ 252604 w 558985"/>
                <a:gd name="connsiteY29" fmla="*/ 497230 h 544495"/>
                <a:gd name="connsiteX30" fmla="*/ 265841 w 558985"/>
                <a:gd name="connsiteY30" fmla="*/ 508514 h 544495"/>
                <a:gd name="connsiteX31" fmla="*/ 280885 w 558985"/>
                <a:gd name="connsiteY31" fmla="*/ 526500 h 544495"/>
                <a:gd name="connsiteX32" fmla="*/ 280885 w 558985"/>
                <a:gd name="connsiteY32" fmla="*/ 544495 h 544495"/>
                <a:gd name="connsiteX33" fmla="*/ 293695 w 558985"/>
                <a:gd name="connsiteY33" fmla="*/ 544495 h 544495"/>
                <a:gd name="connsiteX34" fmla="*/ 293695 w 558985"/>
                <a:gd name="connsiteY34" fmla="*/ 520615 h 544495"/>
                <a:gd name="connsiteX35" fmla="*/ 291418 w 558985"/>
                <a:gd name="connsiteY35" fmla="*/ 518697 h 544495"/>
                <a:gd name="connsiteX36" fmla="*/ 264971 w 558985"/>
                <a:gd name="connsiteY36" fmla="*/ 461854 h 544495"/>
                <a:gd name="connsiteX37" fmla="*/ 264971 w 558985"/>
                <a:gd name="connsiteY37" fmla="*/ 309304 h 544495"/>
                <a:gd name="connsiteX38" fmla="*/ 280100 w 558985"/>
                <a:gd name="connsiteY38" fmla="*/ 294174 h 544495"/>
                <a:gd name="connsiteX39" fmla="*/ 295230 w 558985"/>
                <a:gd name="connsiteY39" fmla="*/ 309304 h 544495"/>
                <a:gd name="connsiteX40" fmla="*/ 295230 w 558985"/>
                <a:gd name="connsiteY40" fmla="*/ 379289 h 544495"/>
                <a:gd name="connsiteX41" fmla="*/ 295256 w 558985"/>
                <a:gd name="connsiteY41" fmla="*/ 404662 h 544495"/>
                <a:gd name="connsiteX42" fmla="*/ 302266 w 558985"/>
                <a:gd name="connsiteY42" fmla="*/ 409566 h 544495"/>
                <a:gd name="connsiteX43" fmla="*/ 308040 w 558985"/>
                <a:gd name="connsiteY43" fmla="*/ 404261 h 544495"/>
                <a:gd name="connsiteX44" fmla="*/ 308040 w 558985"/>
                <a:gd name="connsiteY44" fmla="*/ 379289 h 544495"/>
                <a:gd name="connsiteX45" fmla="*/ 321370 w 558985"/>
                <a:gd name="connsiteY45" fmla="*/ 365959 h 544495"/>
                <a:gd name="connsiteX46" fmla="*/ 334709 w 558985"/>
                <a:gd name="connsiteY46" fmla="*/ 379289 h 544495"/>
                <a:gd name="connsiteX47" fmla="*/ 334709 w 558985"/>
                <a:gd name="connsiteY47" fmla="*/ 404261 h 544495"/>
                <a:gd name="connsiteX48" fmla="*/ 341591 w 558985"/>
                <a:gd name="connsiteY48" fmla="*/ 409566 h 544495"/>
                <a:gd name="connsiteX49" fmla="*/ 347518 w 558985"/>
                <a:gd name="connsiteY49" fmla="*/ 404559 h 544495"/>
                <a:gd name="connsiteX50" fmla="*/ 347518 w 558985"/>
                <a:gd name="connsiteY50" fmla="*/ 379289 h 544495"/>
                <a:gd name="connsiteX51" fmla="*/ 360848 w 558985"/>
                <a:gd name="connsiteY51" fmla="*/ 365959 h 544495"/>
                <a:gd name="connsiteX52" fmla="*/ 374187 w 558985"/>
                <a:gd name="connsiteY52" fmla="*/ 379289 h 544495"/>
                <a:gd name="connsiteX53" fmla="*/ 374187 w 558985"/>
                <a:gd name="connsiteY53" fmla="*/ 386479 h 544495"/>
                <a:gd name="connsiteX54" fmla="*/ 374187 w 558985"/>
                <a:gd name="connsiteY54" fmla="*/ 404261 h 544495"/>
                <a:gd name="connsiteX55" fmla="*/ 380328 w 558985"/>
                <a:gd name="connsiteY55" fmla="*/ 409566 h 544495"/>
                <a:gd name="connsiteX56" fmla="*/ 386997 w 558985"/>
                <a:gd name="connsiteY56" fmla="*/ 404662 h 544495"/>
                <a:gd name="connsiteX57" fmla="*/ 386997 w 558985"/>
                <a:gd name="connsiteY57" fmla="*/ 386479 h 544495"/>
                <a:gd name="connsiteX58" fmla="*/ 400327 w 558985"/>
                <a:gd name="connsiteY58" fmla="*/ 373149 h 544495"/>
                <a:gd name="connsiteX59" fmla="*/ 413657 w 558985"/>
                <a:gd name="connsiteY59" fmla="*/ 386479 h 544495"/>
                <a:gd name="connsiteX60" fmla="*/ 413657 w 558985"/>
                <a:gd name="connsiteY60" fmla="*/ 461854 h 544495"/>
                <a:gd name="connsiteX61" fmla="*/ 390528 w 558985"/>
                <a:gd name="connsiteY61" fmla="*/ 515712 h 544495"/>
                <a:gd name="connsiteX62" fmla="*/ 388532 w 558985"/>
                <a:gd name="connsiteY62" fmla="*/ 517605 h 544495"/>
                <a:gd name="connsiteX63" fmla="*/ 388532 w 558985"/>
                <a:gd name="connsiteY63" fmla="*/ 544487 h 544495"/>
                <a:gd name="connsiteX64" fmla="*/ 401342 w 558985"/>
                <a:gd name="connsiteY64" fmla="*/ 544487 h 544495"/>
                <a:gd name="connsiteX65" fmla="*/ 401342 w 558985"/>
                <a:gd name="connsiteY65" fmla="*/ 523046 h 544495"/>
                <a:gd name="connsiteX66" fmla="*/ 426467 w 558985"/>
                <a:gd name="connsiteY66" fmla="*/ 461854 h 544495"/>
                <a:gd name="connsiteX67" fmla="*/ 426467 w 558985"/>
                <a:gd name="connsiteY67" fmla="*/ 386479 h 544495"/>
                <a:gd name="connsiteX68" fmla="*/ 400319 w 558985"/>
                <a:gd name="connsiteY68" fmla="*/ 360339 h 544495"/>
                <a:gd name="connsiteX69" fmla="*/ 383551 w 558985"/>
                <a:gd name="connsiteY69" fmla="*/ 366590 h 544495"/>
                <a:gd name="connsiteX70" fmla="*/ 360831 w 558985"/>
                <a:gd name="connsiteY70" fmla="*/ 353149 h 544495"/>
                <a:gd name="connsiteX71" fmla="*/ 341088 w 558985"/>
                <a:gd name="connsiteY71" fmla="*/ 362343 h 544495"/>
                <a:gd name="connsiteX72" fmla="*/ 321344 w 558985"/>
                <a:gd name="connsiteY72" fmla="*/ 353149 h 544495"/>
                <a:gd name="connsiteX73" fmla="*/ 308014 w 558985"/>
                <a:gd name="connsiteY73" fmla="*/ 356927 h 544495"/>
                <a:gd name="connsiteX74" fmla="*/ 308014 w 558985"/>
                <a:gd name="connsiteY74" fmla="*/ 334685 h 544495"/>
                <a:gd name="connsiteX75" fmla="*/ 326444 w 558985"/>
                <a:gd name="connsiteY75" fmla="*/ 297859 h 544495"/>
                <a:gd name="connsiteX76" fmla="*/ 323946 w 558985"/>
                <a:gd name="connsiteY76" fmla="*/ 282951 h 544495"/>
                <a:gd name="connsiteX77" fmla="*/ 426987 w 558985"/>
                <a:gd name="connsiteY77" fmla="*/ 238048 h 544495"/>
                <a:gd name="connsiteX78" fmla="*/ 488478 w 558985"/>
                <a:gd name="connsiteY78" fmla="*/ 274115 h 544495"/>
                <a:gd name="connsiteX79" fmla="*/ 516597 w 558985"/>
                <a:gd name="connsiteY79" fmla="*/ 268231 h 544495"/>
                <a:gd name="connsiteX80" fmla="*/ 554045 w 558985"/>
                <a:gd name="connsiteY80" fmla="*/ 229392 h 544495"/>
                <a:gd name="connsiteX81" fmla="*/ 553082 w 558985"/>
                <a:gd name="connsiteY81" fmla="*/ 175440 h 544495"/>
                <a:gd name="connsiteX82" fmla="*/ 123406 w 558985"/>
                <a:gd name="connsiteY82" fmla="*/ 226654 h 544495"/>
                <a:gd name="connsiteX83" fmla="*/ 70495 w 558985"/>
                <a:gd name="connsiteY83" fmla="*/ 261305 h 544495"/>
                <a:gd name="connsiteX84" fmla="*/ 70495 w 558985"/>
                <a:gd name="connsiteY84" fmla="*/ 261305 h 544495"/>
                <a:gd name="connsiteX85" fmla="*/ 47493 w 558985"/>
                <a:gd name="connsiteY85" fmla="*/ 256478 h 544495"/>
                <a:gd name="connsiteX86" fmla="*/ 16850 w 558985"/>
                <a:gd name="connsiteY86" fmla="*/ 224701 h 544495"/>
                <a:gd name="connsiteX87" fmla="*/ 17660 w 558985"/>
                <a:gd name="connsiteY87" fmla="*/ 180557 h 544495"/>
                <a:gd name="connsiteX88" fmla="*/ 70571 w 558985"/>
                <a:gd name="connsiteY88" fmla="*/ 145906 h 544495"/>
                <a:gd name="connsiteX89" fmla="*/ 93590 w 558985"/>
                <a:gd name="connsiteY89" fmla="*/ 150733 h 544495"/>
                <a:gd name="connsiteX90" fmla="*/ 123406 w 558985"/>
                <a:gd name="connsiteY90" fmla="*/ 226654 h 544495"/>
                <a:gd name="connsiteX91" fmla="*/ 222951 w 558985"/>
                <a:gd name="connsiteY91" fmla="*/ 70488 h 544495"/>
                <a:gd name="connsiteX92" fmla="*/ 280629 w 558985"/>
                <a:gd name="connsiteY92" fmla="*/ 12810 h 544495"/>
                <a:gd name="connsiteX93" fmla="*/ 338308 w 558985"/>
                <a:gd name="connsiteY93" fmla="*/ 70488 h 544495"/>
                <a:gd name="connsiteX94" fmla="*/ 280629 w 558985"/>
                <a:gd name="connsiteY94" fmla="*/ 128175 h 544495"/>
                <a:gd name="connsiteX95" fmla="*/ 222951 w 558985"/>
                <a:gd name="connsiteY95" fmla="*/ 70488 h 544495"/>
                <a:gd name="connsiteX96" fmla="*/ 245236 w 558985"/>
                <a:gd name="connsiteY96" fmla="*/ 465453 h 544495"/>
                <a:gd name="connsiteX97" fmla="*/ 245236 w 558985"/>
                <a:gd name="connsiteY97" fmla="*/ 422367 h 544495"/>
                <a:gd name="connsiteX98" fmla="*/ 252161 w 558985"/>
                <a:gd name="connsiteY98" fmla="*/ 410751 h 544495"/>
                <a:gd name="connsiteX99" fmla="*/ 252161 w 558985"/>
                <a:gd name="connsiteY99" fmla="*/ 461854 h 544495"/>
                <a:gd name="connsiteX100" fmla="*/ 254310 w 558985"/>
                <a:gd name="connsiteY100" fmla="*/ 480924 h 544495"/>
                <a:gd name="connsiteX101" fmla="*/ 245236 w 558985"/>
                <a:gd name="connsiteY101" fmla="*/ 465453 h 544495"/>
                <a:gd name="connsiteX102" fmla="*/ 308048 w 558985"/>
                <a:gd name="connsiteY102" fmla="*/ 316298 h 544495"/>
                <a:gd name="connsiteX103" fmla="*/ 308048 w 558985"/>
                <a:gd name="connsiteY103" fmla="*/ 309304 h 544495"/>
                <a:gd name="connsiteX104" fmla="*/ 280100 w 558985"/>
                <a:gd name="connsiteY104" fmla="*/ 281365 h 544495"/>
                <a:gd name="connsiteX105" fmla="*/ 252161 w 558985"/>
                <a:gd name="connsiteY105" fmla="*/ 309304 h 544495"/>
                <a:gd name="connsiteX106" fmla="*/ 252161 w 558985"/>
                <a:gd name="connsiteY106" fmla="*/ 316451 h 544495"/>
                <a:gd name="connsiteX107" fmla="*/ 246379 w 558985"/>
                <a:gd name="connsiteY107" fmla="*/ 297850 h 544495"/>
                <a:gd name="connsiteX108" fmla="*/ 280015 w 558985"/>
                <a:gd name="connsiteY108" fmla="*/ 264205 h 544495"/>
                <a:gd name="connsiteX109" fmla="*/ 313660 w 558985"/>
                <a:gd name="connsiteY109" fmla="*/ 297850 h 544495"/>
                <a:gd name="connsiteX110" fmla="*/ 308048 w 558985"/>
                <a:gd name="connsiteY110" fmla="*/ 316298 h 544495"/>
                <a:gd name="connsiteX111" fmla="*/ 542148 w 558985"/>
                <a:gd name="connsiteY111" fmla="*/ 224701 h 544495"/>
                <a:gd name="connsiteX112" fmla="*/ 511505 w 558985"/>
                <a:gd name="connsiteY112" fmla="*/ 256478 h 544495"/>
                <a:gd name="connsiteX113" fmla="*/ 488504 w 558985"/>
                <a:gd name="connsiteY113" fmla="*/ 261305 h 544495"/>
                <a:gd name="connsiteX114" fmla="*/ 435584 w 558985"/>
                <a:gd name="connsiteY114" fmla="*/ 226654 h 544495"/>
                <a:gd name="connsiteX115" fmla="*/ 465417 w 558985"/>
                <a:gd name="connsiteY115" fmla="*/ 150733 h 544495"/>
                <a:gd name="connsiteX116" fmla="*/ 488435 w 558985"/>
                <a:gd name="connsiteY116" fmla="*/ 145906 h 544495"/>
                <a:gd name="connsiteX117" fmla="*/ 541346 w 558985"/>
                <a:gd name="connsiteY117" fmla="*/ 180557 h 544495"/>
                <a:gd name="connsiteX118" fmla="*/ 542148 w 558985"/>
                <a:gd name="connsiteY118" fmla="*/ 224701 h 54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558985" h="544495">
                  <a:moveTo>
                    <a:pt x="553082" y="175440"/>
                  </a:moveTo>
                  <a:cubicBezTo>
                    <a:pt x="541875" y="149718"/>
                    <a:pt x="516494" y="133096"/>
                    <a:pt x="488435" y="133096"/>
                  </a:cubicBezTo>
                  <a:cubicBezTo>
                    <a:pt x="478730" y="133096"/>
                    <a:pt x="469272" y="135083"/>
                    <a:pt x="460300" y="138981"/>
                  </a:cubicBezTo>
                  <a:cubicBezTo>
                    <a:pt x="426458" y="153735"/>
                    <a:pt x="410067" y="192011"/>
                    <a:pt x="421793" y="226339"/>
                  </a:cubicBezTo>
                  <a:lnTo>
                    <a:pt x="318206" y="271480"/>
                  </a:lnTo>
                  <a:cubicBezTo>
                    <a:pt x="310974" y="261033"/>
                    <a:pt x="299562" y="253724"/>
                    <a:pt x="286420" y="251890"/>
                  </a:cubicBezTo>
                  <a:lnTo>
                    <a:pt x="286420" y="140687"/>
                  </a:lnTo>
                  <a:cubicBezTo>
                    <a:pt x="322581" y="137719"/>
                    <a:pt x="351117" y="107400"/>
                    <a:pt x="351117" y="70488"/>
                  </a:cubicBezTo>
                  <a:cubicBezTo>
                    <a:pt x="351117" y="31624"/>
                    <a:pt x="319494" y="0"/>
                    <a:pt x="280629" y="0"/>
                  </a:cubicBezTo>
                  <a:cubicBezTo>
                    <a:pt x="241756" y="0"/>
                    <a:pt x="210141" y="31624"/>
                    <a:pt x="210141" y="70488"/>
                  </a:cubicBezTo>
                  <a:cubicBezTo>
                    <a:pt x="210141" y="106990"/>
                    <a:pt x="238029" y="137096"/>
                    <a:pt x="273610" y="140627"/>
                  </a:cubicBezTo>
                  <a:lnTo>
                    <a:pt x="273610" y="251899"/>
                  </a:lnTo>
                  <a:cubicBezTo>
                    <a:pt x="260314" y="253741"/>
                    <a:pt x="248792" y="261186"/>
                    <a:pt x="241568" y="271821"/>
                  </a:cubicBezTo>
                  <a:lnTo>
                    <a:pt x="137196" y="226347"/>
                  </a:lnTo>
                  <a:cubicBezTo>
                    <a:pt x="148932" y="192020"/>
                    <a:pt x="132531" y="153735"/>
                    <a:pt x="98690" y="138989"/>
                  </a:cubicBezTo>
                  <a:cubicBezTo>
                    <a:pt x="89726" y="135083"/>
                    <a:pt x="80260" y="133105"/>
                    <a:pt x="70554" y="133105"/>
                  </a:cubicBezTo>
                  <a:cubicBezTo>
                    <a:pt x="42495" y="133105"/>
                    <a:pt x="17115" y="149727"/>
                    <a:pt x="5908" y="175449"/>
                  </a:cubicBezTo>
                  <a:cubicBezTo>
                    <a:pt x="-1614" y="192711"/>
                    <a:pt x="-1964" y="211866"/>
                    <a:pt x="4919" y="229392"/>
                  </a:cubicBezTo>
                  <a:cubicBezTo>
                    <a:pt x="11801" y="246909"/>
                    <a:pt x="25106" y="260717"/>
                    <a:pt x="42359" y="268231"/>
                  </a:cubicBezTo>
                  <a:cubicBezTo>
                    <a:pt x="51314" y="272137"/>
                    <a:pt x="60781" y="274115"/>
                    <a:pt x="70486" y="274115"/>
                  </a:cubicBezTo>
                  <a:cubicBezTo>
                    <a:pt x="70486" y="274115"/>
                    <a:pt x="70486" y="274115"/>
                    <a:pt x="70495" y="274115"/>
                  </a:cubicBezTo>
                  <a:cubicBezTo>
                    <a:pt x="96191" y="274115"/>
                    <a:pt x="119602" y="260154"/>
                    <a:pt x="131985" y="238048"/>
                  </a:cubicBezTo>
                  <a:lnTo>
                    <a:pt x="235923" y="283335"/>
                  </a:lnTo>
                  <a:cubicBezTo>
                    <a:pt x="234413" y="287906"/>
                    <a:pt x="233569" y="292784"/>
                    <a:pt x="233569" y="297850"/>
                  </a:cubicBezTo>
                  <a:cubicBezTo>
                    <a:pt x="233569" y="312988"/>
                    <a:pt x="240920" y="326361"/>
                    <a:pt x="252161" y="334839"/>
                  </a:cubicBezTo>
                  <a:lnTo>
                    <a:pt x="252161" y="397105"/>
                  </a:lnTo>
                  <a:cubicBezTo>
                    <a:pt x="240852" y="399979"/>
                    <a:pt x="232417" y="410162"/>
                    <a:pt x="232417" y="422358"/>
                  </a:cubicBezTo>
                  <a:lnTo>
                    <a:pt x="232417" y="465444"/>
                  </a:lnTo>
                  <a:cubicBezTo>
                    <a:pt x="232417" y="477009"/>
                    <a:pt x="233697" y="478647"/>
                    <a:pt x="245364" y="490092"/>
                  </a:cubicBezTo>
                  <a:cubicBezTo>
                    <a:pt x="247291" y="491985"/>
                    <a:pt x="249568" y="494220"/>
                    <a:pt x="252604" y="497230"/>
                  </a:cubicBezTo>
                  <a:lnTo>
                    <a:pt x="265841" y="508514"/>
                  </a:lnTo>
                  <a:cubicBezTo>
                    <a:pt x="270020" y="515072"/>
                    <a:pt x="274992" y="521170"/>
                    <a:pt x="280885" y="526500"/>
                  </a:cubicBezTo>
                  <a:lnTo>
                    <a:pt x="280885" y="544495"/>
                  </a:lnTo>
                  <a:lnTo>
                    <a:pt x="293695" y="544495"/>
                  </a:lnTo>
                  <a:lnTo>
                    <a:pt x="293695" y="520615"/>
                  </a:lnTo>
                  <a:lnTo>
                    <a:pt x="291418" y="518697"/>
                  </a:lnTo>
                  <a:cubicBezTo>
                    <a:pt x="274608" y="504514"/>
                    <a:pt x="264971" y="483798"/>
                    <a:pt x="264971" y="461854"/>
                  </a:cubicBezTo>
                  <a:lnTo>
                    <a:pt x="264971" y="309304"/>
                  </a:lnTo>
                  <a:cubicBezTo>
                    <a:pt x="264971" y="300963"/>
                    <a:pt x="271759" y="294174"/>
                    <a:pt x="280100" y="294174"/>
                  </a:cubicBezTo>
                  <a:cubicBezTo>
                    <a:pt x="288450" y="294174"/>
                    <a:pt x="295230" y="300963"/>
                    <a:pt x="295230" y="309304"/>
                  </a:cubicBezTo>
                  <a:lnTo>
                    <a:pt x="295230" y="379289"/>
                  </a:lnTo>
                  <a:lnTo>
                    <a:pt x="295256" y="404662"/>
                  </a:lnTo>
                  <a:cubicBezTo>
                    <a:pt x="295256" y="404662"/>
                    <a:pt x="295059" y="409566"/>
                    <a:pt x="302266" y="409566"/>
                  </a:cubicBezTo>
                  <a:cubicBezTo>
                    <a:pt x="307972" y="409566"/>
                    <a:pt x="308040" y="404261"/>
                    <a:pt x="308040" y="404261"/>
                  </a:cubicBezTo>
                  <a:lnTo>
                    <a:pt x="308040" y="379289"/>
                  </a:lnTo>
                  <a:cubicBezTo>
                    <a:pt x="308040" y="371938"/>
                    <a:pt x="314018" y="365959"/>
                    <a:pt x="321370" y="365959"/>
                  </a:cubicBezTo>
                  <a:cubicBezTo>
                    <a:pt x="328730" y="365959"/>
                    <a:pt x="334709" y="371938"/>
                    <a:pt x="334709" y="379289"/>
                  </a:cubicBezTo>
                  <a:lnTo>
                    <a:pt x="334709" y="404261"/>
                  </a:lnTo>
                  <a:cubicBezTo>
                    <a:pt x="334709" y="404261"/>
                    <a:pt x="334888" y="409566"/>
                    <a:pt x="341591" y="409566"/>
                  </a:cubicBezTo>
                  <a:cubicBezTo>
                    <a:pt x="347092" y="409566"/>
                    <a:pt x="347518" y="404559"/>
                    <a:pt x="347518" y="404559"/>
                  </a:cubicBezTo>
                  <a:lnTo>
                    <a:pt x="347518" y="379289"/>
                  </a:lnTo>
                  <a:cubicBezTo>
                    <a:pt x="347518" y="371938"/>
                    <a:pt x="353497" y="365959"/>
                    <a:pt x="360848" y="365959"/>
                  </a:cubicBezTo>
                  <a:cubicBezTo>
                    <a:pt x="368209" y="365959"/>
                    <a:pt x="374187" y="371938"/>
                    <a:pt x="374187" y="379289"/>
                  </a:cubicBezTo>
                  <a:lnTo>
                    <a:pt x="374187" y="386479"/>
                  </a:lnTo>
                  <a:lnTo>
                    <a:pt x="374187" y="404261"/>
                  </a:lnTo>
                  <a:cubicBezTo>
                    <a:pt x="374187" y="404261"/>
                    <a:pt x="373420" y="409566"/>
                    <a:pt x="380328" y="409566"/>
                  </a:cubicBezTo>
                  <a:cubicBezTo>
                    <a:pt x="387227" y="409566"/>
                    <a:pt x="386997" y="404662"/>
                    <a:pt x="386997" y="404662"/>
                  </a:cubicBezTo>
                  <a:lnTo>
                    <a:pt x="386997" y="386479"/>
                  </a:lnTo>
                  <a:cubicBezTo>
                    <a:pt x="386997" y="379127"/>
                    <a:pt x="392975" y="373149"/>
                    <a:pt x="400327" y="373149"/>
                  </a:cubicBezTo>
                  <a:cubicBezTo>
                    <a:pt x="407679" y="373149"/>
                    <a:pt x="413657" y="379127"/>
                    <a:pt x="413657" y="386479"/>
                  </a:cubicBezTo>
                  <a:lnTo>
                    <a:pt x="413657" y="461854"/>
                  </a:lnTo>
                  <a:cubicBezTo>
                    <a:pt x="413657" y="482408"/>
                    <a:pt x="405444" y="501537"/>
                    <a:pt x="390528" y="515712"/>
                  </a:cubicBezTo>
                  <a:lnTo>
                    <a:pt x="388532" y="517605"/>
                  </a:lnTo>
                  <a:lnTo>
                    <a:pt x="388532" y="544487"/>
                  </a:lnTo>
                  <a:lnTo>
                    <a:pt x="401342" y="544487"/>
                  </a:lnTo>
                  <a:lnTo>
                    <a:pt x="401342" y="523046"/>
                  </a:lnTo>
                  <a:cubicBezTo>
                    <a:pt x="417563" y="506637"/>
                    <a:pt x="426467" y="485017"/>
                    <a:pt x="426467" y="461854"/>
                  </a:cubicBezTo>
                  <a:lnTo>
                    <a:pt x="426467" y="386479"/>
                  </a:lnTo>
                  <a:cubicBezTo>
                    <a:pt x="426467" y="372066"/>
                    <a:pt x="414740" y="360339"/>
                    <a:pt x="400319" y="360339"/>
                  </a:cubicBezTo>
                  <a:cubicBezTo>
                    <a:pt x="393905" y="360339"/>
                    <a:pt x="388106" y="362744"/>
                    <a:pt x="383551" y="366590"/>
                  </a:cubicBezTo>
                  <a:cubicBezTo>
                    <a:pt x="379065" y="358616"/>
                    <a:pt x="370622" y="353149"/>
                    <a:pt x="360831" y="353149"/>
                  </a:cubicBezTo>
                  <a:cubicBezTo>
                    <a:pt x="352908" y="353149"/>
                    <a:pt x="345889" y="356765"/>
                    <a:pt x="341088" y="362343"/>
                  </a:cubicBezTo>
                  <a:cubicBezTo>
                    <a:pt x="336286" y="356765"/>
                    <a:pt x="329267" y="353149"/>
                    <a:pt x="321344" y="353149"/>
                  </a:cubicBezTo>
                  <a:cubicBezTo>
                    <a:pt x="316457" y="353149"/>
                    <a:pt x="311929" y="354582"/>
                    <a:pt x="308014" y="356927"/>
                  </a:cubicBezTo>
                  <a:lnTo>
                    <a:pt x="308014" y="334685"/>
                  </a:lnTo>
                  <a:cubicBezTo>
                    <a:pt x="319153" y="326199"/>
                    <a:pt x="326444" y="312912"/>
                    <a:pt x="326444" y="297859"/>
                  </a:cubicBezTo>
                  <a:cubicBezTo>
                    <a:pt x="326444" y="292640"/>
                    <a:pt x="325540" y="287633"/>
                    <a:pt x="323946" y="282951"/>
                  </a:cubicBezTo>
                  <a:lnTo>
                    <a:pt x="426987" y="238048"/>
                  </a:lnTo>
                  <a:cubicBezTo>
                    <a:pt x="439371" y="260146"/>
                    <a:pt x="462781" y="274115"/>
                    <a:pt x="488478" y="274115"/>
                  </a:cubicBezTo>
                  <a:cubicBezTo>
                    <a:pt x="498183" y="274115"/>
                    <a:pt x="507642" y="272128"/>
                    <a:pt x="516597" y="268231"/>
                  </a:cubicBezTo>
                  <a:cubicBezTo>
                    <a:pt x="533858" y="260709"/>
                    <a:pt x="547154" y="246909"/>
                    <a:pt x="554045" y="229392"/>
                  </a:cubicBezTo>
                  <a:cubicBezTo>
                    <a:pt x="560953" y="211857"/>
                    <a:pt x="560604" y="192702"/>
                    <a:pt x="553082" y="175440"/>
                  </a:cubicBezTo>
                  <a:close/>
                  <a:moveTo>
                    <a:pt x="123406" y="226654"/>
                  </a:moveTo>
                  <a:cubicBezTo>
                    <a:pt x="114229" y="247703"/>
                    <a:pt x="93462" y="261305"/>
                    <a:pt x="70495" y="261305"/>
                  </a:cubicBezTo>
                  <a:lnTo>
                    <a:pt x="70495" y="261305"/>
                  </a:lnTo>
                  <a:cubicBezTo>
                    <a:pt x="62563" y="261305"/>
                    <a:pt x="54828" y="259677"/>
                    <a:pt x="47493" y="256478"/>
                  </a:cubicBezTo>
                  <a:cubicBezTo>
                    <a:pt x="33370" y="250329"/>
                    <a:pt x="22488" y="239038"/>
                    <a:pt x="16850" y="224701"/>
                  </a:cubicBezTo>
                  <a:cubicBezTo>
                    <a:pt x="11213" y="210365"/>
                    <a:pt x="11503" y="194689"/>
                    <a:pt x="17660" y="180557"/>
                  </a:cubicBezTo>
                  <a:cubicBezTo>
                    <a:pt x="26837" y="159509"/>
                    <a:pt x="47596" y="145906"/>
                    <a:pt x="70571" y="145906"/>
                  </a:cubicBezTo>
                  <a:cubicBezTo>
                    <a:pt x="78503" y="145906"/>
                    <a:pt x="86247" y="147526"/>
                    <a:pt x="93590" y="150733"/>
                  </a:cubicBezTo>
                  <a:cubicBezTo>
                    <a:pt x="122732" y="163441"/>
                    <a:pt x="136113" y="197504"/>
                    <a:pt x="123406" y="226654"/>
                  </a:cubicBezTo>
                  <a:close/>
                  <a:moveTo>
                    <a:pt x="222951" y="70488"/>
                  </a:moveTo>
                  <a:cubicBezTo>
                    <a:pt x="222951" y="38685"/>
                    <a:pt x="248826" y="12810"/>
                    <a:pt x="280629" y="12810"/>
                  </a:cubicBezTo>
                  <a:cubicBezTo>
                    <a:pt x="312432" y="12810"/>
                    <a:pt x="338308" y="38685"/>
                    <a:pt x="338308" y="70488"/>
                  </a:cubicBezTo>
                  <a:cubicBezTo>
                    <a:pt x="338308" y="102291"/>
                    <a:pt x="312432" y="128175"/>
                    <a:pt x="280629" y="128175"/>
                  </a:cubicBezTo>
                  <a:cubicBezTo>
                    <a:pt x="248826" y="128175"/>
                    <a:pt x="222951" y="102300"/>
                    <a:pt x="222951" y="70488"/>
                  </a:cubicBezTo>
                  <a:close/>
                  <a:moveTo>
                    <a:pt x="245236" y="465453"/>
                  </a:moveTo>
                  <a:lnTo>
                    <a:pt x="245236" y="422367"/>
                  </a:lnTo>
                  <a:cubicBezTo>
                    <a:pt x="245236" y="417352"/>
                    <a:pt x="248059" y="413020"/>
                    <a:pt x="252161" y="410751"/>
                  </a:cubicBezTo>
                  <a:lnTo>
                    <a:pt x="252161" y="461854"/>
                  </a:lnTo>
                  <a:cubicBezTo>
                    <a:pt x="252161" y="468344"/>
                    <a:pt x="252920" y="474724"/>
                    <a:pt x="254310" y="480924"/>
                  </a:cubicBezTo>
                  <a:cubicBezTo>
                    <a:pt x="245236" y="472028"/>
                    <a:pt x="245236" y="472011"/>
                    <a:pt x="245236" y="465453"/>
                  </a:cubicBezTo>
                  <a:close/>
                  <a:moveTo>
                    <a:pt x="308048" y="316298"/>
                  </a:moveTo>
                  <a:lnTo>
                    <a:pt x="308048" y="309304"/>
                  </a:lnTo>
                  <a:cubicBezTo>
                    <a:pt x="308048" y="293893"/>
                    <a:pt x="295511" y="281365"/>
                    <a:pt x="280100" y="281365"/>
                  </a:cubicBezTo>
                  <a:cubicBezTo>
                    <a:pt x="264689" y="281365"/>
                    <a:pt x="252161" y="293893"/>
                    <a:pt x="252161" y="309304"/>
                  </a:cubicBezTo>
                  <a:lnTo>
                    <a:pt x="252161" y="316451"/>
                  </a:lnTo>
                  <a:cubicBezTo>
                    <a:pt x="248545" y="311138"/>
                    <a:pt x="246379" y="304767"/>
                    <a:pt x="246379" y="297850"/>
                  </a:cubicBezTo>
                  <a:cubicBezTo>
                    <a:pt x="246379" y="279301"/>
                    <a:pt x="261474" y="264205"/>
                    <a:pt x="280015" y="264205"/>
                  </a:cubicBezTo>
                  <a:cubicBezTo>
                    <a:pt x="298565" y="264205"/>
                    <a:pt x="313660" y="279301"/>
                    <a:pt x="313660" y="297850"/>
                  </a:cubicBezTo>
                  <a:cubicBezTo>
                    <a:pt x="313660" y="304690"/>
                    <a:pt x="311571" y="311010"/>
                    <a:pt x="308048" y="316298"/>
                  </a:cubicBezTo>
                  <a:close/>
                  <a:moveTo>
                    <a:pt x="542148" y="224701"/>
                  </a:moveTo>
                  <a:cubicBezTo>
                    <a:pt x="536511" y="239038"/>
                    <a:pt x="525637" y="250329"/>
                    <a:pt x="511505" y="256478"/>
                  </a:cubicBezTo>
                  <a:cubicBezTo>
                    <a:pt x="504170" y="259685"/>
                    <a:pt x="496435" y="261305"/>
                    <a:pt x="488504" y="261305"/>
                  </a:cubicBezTo>
                  <a:cubicBezTo>
                    <a:pt x="465536" y="261305"/>
                    <a:pt x="444761" y="247703"/>
                    <a:pt x="435584" y="226654"/>
                  </a:cubicBezTo>
                  <a:cubicBezTo>
                    <a:pt x="422885" y="197504"/>
                    <a:pt x="436266" y="163441"/>
                    <a:pt x="465417" y="150733"/>
                  </a:cubicBezTo>
                  <a:cubicBezTo>
                    <a:pt x="472760" y="147526"/>
                    <a:pt x="480495" y="145906"/>
                    <a:pt x="488435" y="145906"/>
                  </a:cubicBezTo>
                  <a:cubicBezTo>
                    <a:pt x="511403" y="145906"/>
                    <a:pt x="532170" y="159509"/>
                    <a:pt x="541346" y="180557"/>
                  </a:cubicBezTo>
                  <a:cubicBezTo>
                    <a:pt x="547495" y="194681"/>
                    <a:pt x="547785" y="210365"/>
                    <a:pt x="542148" y="224701"/>
                  </a:cubicBezTo>
                  <a:close/>
                </a:path>
              </a:pathLst>
            </a:custGeom>
            <a:solidFill>
              <a:schemeClr val="tx2"/>
            </a:solidFill>
            <a:ln w="852" cap="flat">
              <a:noFill/>
              <a:prstDash val="solid"/>
              <a:miter/>
            </a:ln>
          </p:spPr>
          <p:txBody>
            <a:bodyPr rtlCol="0" anchor="ctr"/>
            <a:lstStyle/>
            <a:p>
              <a:endParaRPr lang="en-GB" dirty="0"/>
            </a:p>
          </p:txBody>
        </p:sp>
      </p:grpSp>
      <p:grpSp>
        <p:nvGrpSpPr>
          <p:cNvPr id="741" name="Group 740">
            <a:extLst>
              <a:ext uri="{FF2B5EF4-FFF2-40B4-BE49-F238E27FC236}">
                <a16:creationId xmlns:a16="http://schemas.microsoft.com/office/drawing/2014/main" id="{57BCAD44-64CB-4431-8849-CC5E3FA1F986}"/>
              </a:ext>
            </a:extLst>
          </p:cNvPr>
          <p:cNvGrpSpPr/>
          <p:nvPr/>
        </p:nvGrpSpPr>
        <p:grpSpPr>
          <a:xfrm>
            <a:off x="691211" y="3251068"/>
            <a:ext cx="205678" cy="324000"/>
            <a:chOff x="691211" y="3251068"/>
            <a:chExt cx="205678" cy="324000"/>
          </a:xfrm>
        </p:grpSpPr>
        <p:sp>
          <p:nvSpPr>
            <p:cNvPr id="188" name="Freihandform: Form 303">
              <a:extLst>
                <a:ext uri="{FF2B5EF4-FFF2-40B4-BE49-F238E27FC236}">
                  <a16:creationId xmlns:a16="http://schemas.microsoft.com/office/drawing/2014/main" id="{AEF6684E-A12E-4D63-9869-8DB94F8D6D11}"/>
                </a:ext>
              </a:extLst>
            </p:cNvPr>
            <p:cNvSpPr/>
            <p:nvPr/>
          </p:nvSpPr>
          <p:spPr>
            <a:xfrm>
              <a:off x="691211" y="3251068"/>
              <a:ext cx="205677" cy="62590"/>
            </a:xfrm>
            <a:custGeom>
              <a:avLst/>
              <a:gdLst>
                <a:gd name="connsiteX0" fmla="*/ 151778 w 303556"/>
                <a:gd name="connsiteY0" fmla="*/ 0 h 92376"/>
                <a:gd name="connsiteX1" fmla="*/ 0 w 303556"/>
                <a:gd name="connsiteY1" fmla="*/ 46188 h 92376"/>
                <a:gd name="connsiteX2" fmla="*/ 151778 w 303556"/>
                <a:gd name="connsiteY2" fmla="*/ 92377 h 92376"/>
                <a:gd name="connsiteX3" fmla="*/ 303557 w 303556"/>
                <a:gd name="connsiteY3" fmla="*/ 46188 h 92376"/>
                <a:gd name="connsiteX4" fmla="*/ 151778 w 303556"/>
                <a:gd name="connsiteY4" fmla="*/ 0 h 92376"/>
                <a:gd name="connsiteX5" fmla="*/ 151778 w 303556"/>
                <a:gd name="connsiteY5" fmla="*/ 79187 h 92376"/>
                <a:gd name="connsiteX6" fmla="*/ 13190 w 303556"/>
                <a:gd name="connsiteY6" fmla="*/ 46188 h 92376"/>
                <a:gd name="connsiteX7" fmla="*/ 151778 w 303556"/>
                <a:gd name="connsiteY7" fmla="*/ 13190 h 92376"/>
                <a:gd name="connsiteX8" fmla="*/ 290367 w 303556"/>
                <a:gd name="connsiteY8" fmla="*/ 46188 h 92376"/>
                <a:gd name="connsiteX9" fmla="*/ 151778 w 303556"/>
                <a:gd name="connsiteY9" fmla="*/ 79187 h 92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556" h="92376">
                  <a:moveTo>
                    <a:pt x="151778" y="0"/>
                  </a:moveTo>
                  <a:cubicBezTo>
                    <a:pt x="79979" y="0"/>
                    <a:pt x="0" y="18969"/>
                    <a:pt x="0" y="46188"/>
                  </a:cubicBezTo>
                  <a:cubicBezTo>
                    <a:pt x="0" y="73407"/>
                    <a:pt x="79979" y="92377"/>
                    <a:pt x="151778" y="92377"/>
                  </a:cubicBezTo>
                  <a:cubicBezTo>
                    <a:pt x="223578" y="92377"/>
                    <a:pt x="303557" y="73407"/>
                    <a:pt x="303557" y="46188"/>
                  </a:cubicBezTo>
                  <a:cubicBezTo>
                    <a:pt x="303557" y="18969"/>
                    <a:pt x="223578" y="0"/>
                    <a:pt x="151778" y="0"/>
                  </a:cubicBezTo>
                  <a:close/>
                  <a:moveTo>
                    <a:pt x="151778" y="79187"/>
                  </a:moveTo>
                  <a:cubicBezTo>
                    <a:pt x="66975" y="79187"/>
                    <a:pt x="13190" y="55976"/>
                    <a:pt x="13190" y="46188"/>
                  </a:cubicBezTo>
                  <a:cubicBezTo>
                    <a:pt x="13190" y="36401"/>
                    <a:pt x="66975" y="13190"/>
                    <a:pt x="151778" y="13190"/>
                  </a:cubicBezTo>
                  <a:cubicBezTo>
                    <a:pt x="236581" y="13190"/>
                    <a:pt x="290367" y="36401"/>
                    <a:pt x="290367" y="46188"/>
                  </a:cubicBezTo>
                  <a:cubicBezTo>
                    <a:pt x="290367" y="55999"/>
                    <a:pt x="236581" y="79187"/>
                    <a:pt x="151778" y="79187"/>
                  </a:cubicBezTo>
                  <a:close/>
                </a:path>
              </a:pathLst>
            </a:custGeom>
            <a:solidFill>
              <a:schemeClr val="tx2"/>
            </a:solidFill>
            <a:ln w="2328" cap="flat">
              <a:noFill/>
              <a:prstDash val="solid"/>
              <a:miter/>
            </a:ln>
          </p:spPr>
          <p:txBody>
            <a:bodyPr rtlCol="0" anchor="ctr"/>
            <a:lstStyle/>
            <a:p>
              <a:endParaRPr lang="en-GB" dirty="0"/>
            </a:p>
          </p:txBody>
        </p:sp>
        <p:grpSp>
          <p:nvGrpSpPr>
            <p:cNvPr id="189" name="Gruppieren 1212">
              <a:extLst>
                <a:ext uri="{FF2B5EF4-FFF2-40B4-BE49-F238E27FC236}">
                  <a16:creationId xmlns:a16="http://schemas.microsoft.com/office/drawing/2014/main" id="{A9354697-532C-4551-9810-B6CBE507FD47}"/>
                </a:ext>
              </a:extLst>
            </p:cNvPr>
            <p:cNvGrpSpPr>
              <a:grpSpLocks noChangeAspect="1"/>
            </p:cNvGrpSpPr>
            <p:nvPr/>
          </p:nvGrpSpPr>
          <p:grpSpPr>
            <a:xfrm>
              <a:off x="691212" y="3282363"/>
              <a:ext cx="205677" cy="292705"/>
              <a:chOff x="895336" y="2975921"/>
              <a:chExt cx="303556" cy="376148"/>
            </a:xfrm>
          </p:grpSpPr>
          <p:sp>
            <p:nvSpPr>
              <p:cNvPr id="190" name="Freihandform: Form 301">
                <a:extLst>
                  <a:ext uri="{FF2B5EF4-FFF2-40B4-BE49-F238E27FC236}">
                    <a16:creationId xmlns:a16="http://schemas.microsoft.com/office/drawing/2014/main" id="{8E8D370B-7A06-464C-93F9-B22B42EE60D1}"/>
                  </a:ext>
                </a:extLst>
              </p:cNvPr>
              <p:cNvSpPr/>
              <p:nvPr/>
            </p:nvSpPr>
            <p:spPr>
              <a:xfrm>
                <a:off x="895336" y="2975921"/>
                <a:ext cx="13190" cy="329959"/>
              </a:xfrm>
              <a:custGeom>
                <a:avLst/>
                <a:gdLst>
                  <a:gd name="connsiteX0" fmla="*/ 0 w 13190"/>
                  <a:gd name="connsiteY0" fmla="*/ 0 h 329959"/>
                  <a:gd name="connsiteX1" fmla="*/ 13190 w 13190"/>
                  <a:gd name="connsiteY1" fmla="*/ 0 h 329959"/>
                  <a:gd name="connsiteX2" fmla="*/ 13190 w 13190"/>
                  <a:gd name="connsiteY2" fmla="*/ 329960 h 329959"/>
                  <a:gd name="connsiteX3" fmla="*/ 0 w 13190"/>
                  <a:gd name="connsiteY3" fmla="*/ 329960 h 329959"/>
                </a:gdLst>
                <a:ahLst/>
                <a:cxnLst>
                  <a:cxn ang="0">
                    <a:pos x="connsiteX0" y="connsiteY0"/>
                  </a:cxn>
                  <a:cxn ang="0">
                    <a:pos x="connsiteX1" y="connsiteY1"/>
                  </a:cxn>
                  <a:cxn ang="0">
                    <a:pos x="connsiteX2" y="connsiteY2"/>
                  </a:cxn>
                  <a:cxn ang="0">
                    <a:pos x="connsiteX3" y="connsiteY3"/>
                  </a:cxn>
                </a:cxnLst>
                <a:rect l="l" t="t" r="r" b="b"/>
                <a:pathLst>
                  <a:path w="13190" h="329959">
                    <a:moveTo>
                      <a:pt x="0" y="0"/>
                    </a:moveTo>
                    <a:lnTo>
                      <a:pt x="13190" y="0"/>
                    </a:lnTo>
                    <a:lnTo>
                      <a:pt x="13190" y="329960"/>
                    </a:lnTo>
                    <a:lnTo>
                      <a:pt x="0" y="329960"/>
                    </a:lnTo>
                    <a:close/>
                  </a:path>
                </a:pathLst>
              </a:custGeom>
              <a:solidFill>
                <a:schemeClr val="tx2"/>
              </a:solidFill>
              <a:ln w="2328" cap="flat">
                <a:noFill/>
                <a:prstDash val="solid"/>
                <a:miter/>
              </a:ln>
            </p:spPr>
            <p:txBody>
              <a:bodyPr rtlCol="0" anchor="ctr"/>
              <a:lstStyle/>
              <a:p>
                <a:endParaRPr lang="en-GB" dirty="0"/>
              </a:p>
            </p:txBody>
          </p:sp>
          <p:sp>
            <p:nvSpPr>
              <p:cNvPr id="191" name="Freihandform: Form 302">
                <a:extLst>
                  <a:ext uri="{FF2B5EF4-FFF2-40B4-BE49-F238E27FC236}">
                    <a16:creationId xmlns:a16="http://schemas.microsoft.com/office/drawing/2014/main" id="{684AF336-EA53-43FA-9F09-AF8468D3FB60}"/>
                  </a:ext>
                </a:extLst>
              </p:cNvPr>
              <p:cNvSpPr/>
              <p:nvPr/>
            </p:nvSpPr>
            <p:spPr>
              <a:xfrm>
                <a:off x="1185702" y="2975921"/>
                <a:ext cx="13190" cy="329959"/>
              </a:xfrm>
              <a:custGeom>
                <a:avLst/>
                <a:gdLst>
                  <a:gd name="connsiteX0" fmla="*/ 0 w 13190"/>
                  <a:gd name="connsiteY0" fmla="*/ 0 h 329959"/>
                  <a:gd name="connsiteX1" fmla="*/ 13190 w 13190"/>
                  <a:gd name="connsiteY1" fmla="*/ 0 h 329959"/>
                  <a:gd name="connsiteX2" fmla="*/ 13190 w 13190"/>
                  <a:gd name="connsiteY2" fmla="*/ 329960 h 329959"/>
                  <a:gd name="connsiteX3" fmla="*/ 0 w 13190"/>
                  <a:gd name="connsiteY3" fmla="*/ 329960 h 329959"/>
                </a:gdLst>
                <a:ahLst/>
                <a:cxnLst>
                  <a:cxn ang="0">
                    <a:pos x="connsiteX0" y="connsiteY0"/>
                  </a:cxn>
                  <a:cxn ang="0">
                    <a:pos x="connsiteX1" y="connsiteY1"/>
                  </a:cxn>
                  <a:cxn ang="0">
                    <a:pos x="connsiteX2" y="connsiteY2"/>
                  </a:cxn>
                  <a:cxn ang="0">
                    <a:pos x="connsiteX3" y="connsiteY3"/>
                  </a:cxn>
                </a:cxnLst>
                <a:rect l="l" t="t" r="r" b="b"/>
                <a:pathLst>
                  <a:path w="13190" h="329959">
                    <a:moveTo>
                      <a:pt x="0" y="0"/>
                    </a:moveTo>
                    <a:lnTo>
                      <a:pt x="13190" y="0"/>
                    </a:lnTo>
                    <a:lnTo>
                      <a:pt x="13190" y="329960"/>
                    </a:lnTo>
                    <a:lnTo>
                      <a:pt x="0" y="329960"/>
                    </a:lnTo>
                    <a:close/>
                  </a:path>
                </a:pathLst>
              </a:custGeom>
              <a:solidFill>
                <a:schemeClr val="tx2"/>
              </a:solidFill>
              <a:ln w="2328" cap="flat">
                <a:noFill/>
                <a:prstDash val="solid"/>
                <a:miter/>
              </a:ln>
            </p:spPr>
            <p:txBody>
              <a:bodyPr rtlCol="0" anchor="ctr"/>
              <a:lstStyle/>
              <a:p>
                <a:endParaRPr lang="en-GB" dirty="0"/>
              </a:p>
            </p:txBody>
          </p:sp>
          <p:sp>
            <p:nvSpPr>
              <p:cNvPr id="192" name="Freihandform: Form 304">
                <a:extLst>
                  <a:ext uri="{FF2B5EF4-FFF2-40B4-BE49-F238E27FC236}">
                    <a16:creationId xmlns:a16="http://schemas.microsoft.com/office/drawing/2014/main" id="{47AA8E0F-D22C-4BFD-85AD-C57100F50C82}"/>
                  </a:ext>
                </a:extLst>
              </p:cNvPr>
              <p:cNvSpPr/>
              <p:nvPr/>
            </p:nvSpPr>
            <p:spPr>
              <a:xfrm>
                <a:off x="895336" y="3305881"/>
                <a:ext cx="303556" cy="46188"/>
              </a:xfrm>
              <a:custGeom>
                <a:avLst/>
                <a:gdLst>
                  <a:gd name="connsiteX0" fmla="*/ 151778 w 303556"/>
                  <a:gd name="connsiteY0" fmla="*/ 32998 h 46188"/>
                  <a:gd name="connsiteX1" fmla="*/ 13190 w 303556"/>
                  <a:gd name="connsiteY1" fmla="*/ 0 h 46188"/>
                  <a:gd name="connsiteX2" fmla="*/ 0 w 303556"/>
                  <a:gd name="connsiteY2" fmla="*/ 0 h 46188"/>
                  <a:gd name="connsiteX3" fmla="*/ 151778 w 303556"/>
                  <a:gd name="connsiteY3" fmla="*/ 46188 h 46188"/>
                  <a:gd name="connsiteX4" fmla="*/ 303557 w 303556"/>
                  <a:gd name="connsiteY4" fmla="*/ 0 h 46188"/>
                  <a:gd name="connsiteX5" fmla="*/ 290367 w 303556"/>
                  <a:gd name="connsiteY5" fmla="*/ 0 h 46188"/>
                  <a:gd name="connsiteX6" fmla="*/ 151778 w 303556"/>
                  <a:gd name="connsiteY6" fmla="*/ 32998 h 4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556" h="46188">
                    <a:moveTo>
                      <a:pt x="151778" y="32998"/>
                    </a:moveTo>
                    <a:cubicBezTo>
                      <a:pt x="66975" y="32998"/>
                      <a:pt x="13190" y="9788"/>
                      <a:pt x="13190" y="0"/>
                    </a:cubicBezTo>
                    <a:lnTo>
                      <a:pt x="0" y="0"/>
                    </a:lnTo>
                    <a:cubicBezTo>
                      <a:pt x="0" y="27219"/>
                      <a:pt x="79979" y="46188"/>
                      <a:pt x="151778" y="46188"/>
                    </a:cubicBezTo>
                    <a:cubicBezTo>
                      <a:pt x="223578" y="46188"/>
                      <a:pt x="303557" y="27219"/>
                      <a:pt x="303557" y="0"/>
                    </a:cubicBezTo>
                    <a:lnTo>
                      <a:pt x="290367" y="0"/>
                    </a:lnTo>
                    <a:cubicBezTo>
                      <a:pt x="290367" y="9788"/>
                      <a:pt x="236581" y="32998"/>
                      <a:pt x="151778" y="32998"/>
                    </a:cubicBezTo>
                    <a:close/>
                  </a:path>
                </a:pathLst>
              </a:custGeom>
              <a:solidFill>
                <a:schemeClr val="tx2"/>
              </a:solidFill>
              <a:ln w="2328" cap="flat">
                <a:noFill/>
                <a:prstDash val="solid"/>
                <a:miter/>
              </a:ln>
            </p:spPr>
            <p:txBody>
              <a:bodyPr rtlCol="0" anchor="ctr"/>
              <a:lstStyle/>
              <a:p>
                <a:endParaRPr lang="en-GB" dirty="0"/>
              </a:p>
            </p:txBody>
          </p:sp>
          <p:grpSp>
            <p:nvGrpSpPr>
              <p:cNvPr id="193" name="Gruppieren 1211">
                <a:extLst>
                  <a:ext uri="{FF2B5EF4-FFF2-40B4-BE49-F238E27FC236}">
                    <a16:creationId xmlns:a16="http://schemas.microsoft.com/office/drawing/2014/main" id="{C9DC09CC-0932-4799-87C5-7EB15EA0F222}"/>
                  </a:ext>
                </a:extLst>
              </p:cNvPr>
              <p:cNvGrpSpPr/>
              <p:nvPr/>
            </p:nvGrpSpPr>
            <p:grpSpPr>
              <a:xfrm>
                <a:off x="895336" y="3088106"/>
                <a:ext cx="303556" cy="158373"/>
                <a:chOff x="895336" y="3088106"/>
                <a:chExt cx="303556" cy="158373"/>
              </a:xfrm>
            </p:grpSpPr>
            <p:sp>
              <p:nvSpPr>
                <p:cNvPr id="194" name="Freihandform: Form 305">
                  <a:extLst>
                    <a:ext uri="{FF2B5EF4-FFF2-40B4-BE49-F238E27FC236}">
                      <a16:creationId xmlns:a16="http://schemas.microsoft.com/office/drawing/2014/main" id="{30D8FAC7-063A-4D0C-951F-91A4503AD45A}"/>
                    </a:ext>
                  </a:extLst>
                </p:cNvPr>
                <p:cNvSpPr/>
                <p:nvPr/>
              </p:nvSpPr>
              <p:spPr>
                <a:xfrm>
                  <a:off x="895336" y="3200291"/>
                  <a:ext cx="303556" cy="46188"/>
                </a:xfrm>
                <a:custGeom>
                  <a:avLst/>
                  <a:gdLst>
                    <a:gd name="connsiteX0" fmla="*/ 151778 w 303556"/>
                    <a:gd name="connsiteY0" fmla="*/ 32998 h 46188"/>
                    <a:gd name="connsiteX1" fmla="*/ 13190 w 303556"/>
                    <a:gd name="connsiteY1" fmla="*/ 0 h 46188"/>
                    <a:gd name="connsiteX2" fmla="*/ 0 w 303556"/>
                    <a:gd name="connsiteY2" fmla="*/ 0 h 46188"/>
                    <a:gd name="connsiteX3" fmla="*/ 151778 w 303556"/>
                    <a:gd name="connsiteY3" fmla="*/ 46188 h 46188"/>
                    <a:gd name="connsiteX4" fmla="*/ 303557 w 303556"/>
                    <a:gd name="connsiteY4" fmla="*/ 0 h 46188"/>
                    <a:gd name="connsiteX5" fmla="*/ 290367 w 303556"/>
                    <a:gd name="connsiteY5" fmla="*/ 0 h 46188"/>
                    <a:gd name="connsiteX6" fmla="*/ 151778 w 303556"/>
                    <a:gd name="connsiteY6" fmla="*/ 32998 h 4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556" h="46188">
                      <a:moveTo>
                        <a:pt x="151778" y="32998"/>
                      </a:moveTo>
                      <a:cubicBezTo>
                        <a:pt x="66975" y="32998"/>
                        <a:pt x="13190" y="9788"/>
                        <a:pt x="13190" y="0"/>
                      </a:cubicBezTo>
                      <a:lnTo>
                        <a:pt x="0" y="0"/>
                      </a:lnTo>
                      <a:cubicBezTo>
                        <a:pt x="0" y="27219"/>
                        <a:pt x="79979" y="46188"/>
                        <a:pt x="151778" y="46188"/>
                      </a:cubicBezTo>
                      <a:cubicBezTo>
                        <a:pt x="223578" y="46188"/>
                        <a:pt x="303557" y="27219"/>
                        <a:pt x="303557" y="0"/>
                      </a:cubicBezTo>
                      <a:lnTo>
                        <a:pt x="290367" y="0"/>
                      </a:lnTo>
                      <a:cubicBezTo>
                        <a:pt x="290367" y="9811"/>
                        <a:pt x="236581" y="32998"/>
                        <a:pt x="151778" y="32998"/>
                      </a:cubicBezTo>
                      <a:close/>
                    </a:path>
                  </a:pathLst>
                </a:custGeom>
                <a:solidFill>
                  <a:schemeClr val="accent1"/>
                </a:solidFill>
                <a:ln w="2328" cap="flat">
                  <a:noFill/>
                  <a:prstDash val="solid"/>
                  <a:miter/>
                </a:ln>
              </p:spPr>
              <p:txBody>
                <a:bodyPr rtlCol="0" anchor="ctr"/>
                <a:lstStyle/>
                <a:p>
                  <a:endParaRPr lang="en-GB" dirty="0"/>
                </a:p>
              </p:txBody>
            </p:sp>
            <p:sp>
              <p:nvSpPr>
                <p:cNvPr id="195" name="Freihandform: Form 306">
                  <a:extLst>
                    <a:ext uri="{FF2B5EF4-FFF2-40B4-BE49-F238E27FC236}">
                      <a16:creationId xmlns:a16="http://schemas.microsoft.com/office/drawing/2014/main" id="{B47C1AD2-1C28-44E4-9FC8-28C7C677234F}"/>
                    </a:ext>
                  </a:extLst>
                </p:cNvPr>
                <p:cNvSpPr/>
                <p:nvPr/>
              </p:nvSpPr>
              <p:spPr>
                <a:xfrm>
                  <a:off x="895336" y="3088106"/>
                  <a:ext cx="303556" cy="46188"/>
                </a:xfrm>
                <a:custGeom>
                  <a:avLst/>
                  <a:gdLst>
                    <a:gd name="connsiteX0" fmla="*/ 151778 w 303556"/>
                    <a:gd name="connsiteY0" fmla="*/ 32998 h 46188"/>
                    <a:gd name="connsiteX1" fmla="*/ 13190 w 303556"/>
                    <a:gd name="connsiteY1" fmla="*/ 0 h 46188"/>
                    <a:gd name="connsiteX2" fmla="*/ 0 w 303556"/>
                    <a:gd name="connsiteY2" fmla="*/ 0 h 46188"/>
                    <a:gd name="connsiteX3" fmla="*/ 151778 w 303556"/>
                    <a:gd name="connsiteY3" fmla="*/ 46188 h 46188"/>
                    <a:gd name="connsiteX4" fmla="*/ 303557 w 303556"/>
                    <a:gd name="connsiteY4" fmla="*/ 0 h 46188"/>
                    <a:gd name="connsiteX5" fmla="*/ 290367 w 303556"/>
                    <a:gd name="connsiteY5" fmla="*/ 0 h 46188"/>
                    <a:gd name="connsiteX6" fmla="*/ 151778 w 303556"/>
                    <a:gd name="connsiteY6" fmla="*/ 32998 h 46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3556" h="46188">
                      <a:moveTo>
                        <a:pt x="151778" y="32998"/>
                      </a:moveTo>
                      <a:cubicBezTo>
                        <a:pt x="66975" y="32998"/>
                        <a:pt x="13190" y="9788"/>
                        <a:pt x="13190" y="0"/>
                      </a:cubicBezTo>
                      <a:lnTo>
                        <a:pt x="0" y="0"/>
                      </a:lnTo>
                      <a:cubicBezTo>
                        <a:pt x="0" y="27219"/>
                        <a:pt x="79979" y="46188"/>
                        <a:pt x="151778" y="46188"/>
                      </a:cubicBezTo>
                      <a:cubicBezTo>
                        <a:pt x="223578" y="46188"/>
                        <a:pt x="303557" y="27219"/>
                        <a:pt x="303557" y="0"/>
                      </a:cubicBezTo>
                      <a:lnTo>
                        <a:pt x="290367" y="0"/>
                      </a:lnTo>
                      <a:cubicBezTo>
                        <a:pt x="290367" y="9811"/>
                        <a:pt x="236581" y="32998"/>
                        <a:pt x="151778" y="32998"/>
                      </a:cubicBezTo>
                      <a:close/>
                    </a:path>
                  </a:pathLst>
                </a:custGeom>
                <a:solidFill>
                  <a:schemeClr val="accent1"/>
                </a:solidFill>
                <a:ln w="2328" cap="flat">
                  <a:noFill/>
                  <a:prstDash val="solid"/>
                  <a:miter/>
                </a:ln>
              </p:spPr>
              <p:txBody>
                <a:bodyPr rtlCol="0" anchor="ctr"/>
                <a:lstStyle/>
                <a:p>
                  <a:endParaRPr lang="en-GB" dirty="0"/>
                </a:p>
              </p:txBody>
            </p:sp>
          </p:grpSp>
        </p:grpSp>
      </p:grpSp>
      <p:grpSp>
        <p:nvGrpSpPr>
          <p:cNvPr id="754" name="Group 753">
            <a:extLst>
              <a:ext uri="{FF2B5EF4-FFF2-40B4-BE49-F238E27FC236}">
                <a16:creationId xmlns:a16="http://schemas.microsoft.com/office/drawing/2014/main" id="{7CD5723A-EC82-4AB0-9A1C-26524A0F62A4}"/>
              </a:ext>
            </a:extLst>
          </p:cNvPr>
          <p:cNvGrpSpPr/>
          <p:nvPr/>
        </p:nvGrpSpPr>
        <p:grpSpPr>
          <a:xfrm>
            <a:off x="3781807" y="4040086"/>
            <a:ext cx="297089" cy="432000"/>
            <a:chOff x="3781807" y="4040086"/>
            <a:chExt cx="297089" cy="432000"/>
          </a:xfrm>
        </p:grpSpPr>
        <p:grpSp>
          <p:nvGrpSpPr>
            <p:cNvPr id="50" name="Group 49">
              <a:extLst>
                <a:ext uri="{FF2B5EF4-FFF2-40B4-BE49-F238E27FC236}">
                  <a16:creationId xmlns:a16="http://schemas.microsoft.com/office/drawing/2014/main" id="{BCDB835D-DE02-4D84-ADAA-10CD0147C6A5}"/>
                </a:ext>
              </a:extLst>
            </p:cNvPr>
            <p:cNvGrpSpPr/>
            <p:nvPr/>
          </p:nvGrpSpPr>
          <p:grpSpPr>
            <a:xfrm>
              <a:off x="3781807" y="4126753"/>
              <a:ext cx="297089" cy="262372"/>
              <a:chOff x="6996875" y="2525775"/>
              <a:chExt cx="388901" cy="343455"/>
            </a:xfrm>
          </p:grpSpPr>
          <p:sp>
            <p:nvSpPr>
              <p:cNvPr id="55" name="Freihandform: Form 962">
                <a:extLst>
                  <a:ext uri="{FF2B5EF4-FFF2-40B4-BE49-F238E27FC236}">
                    <a16:creationId xmlns:a16="http://schemas.microsoft.com/office/drawing/2014/main" id="{25EC32B5-5931-45EC-8CC4-85F64B3B3717}"/>
                  </a:ext>
                </a:extLst>
              </p:cNvPr>
              <p:cNvSpPr/>
              <p:nvPr/>
            </p:nvSpPr>
            <p:spPr>
              <a:xfrm>
                <a:off x="6996900" y="2525775"/>
                <a:ext cx="388876" cy="74991"/>
              </a:xfrm>
              <a:custGeom>
                <a:avLst/>
                <a:gdLst>
                  <a:gd name="connsiteX0" fmla="*/ 194425 w 388876"/>
                  <a:gd name="connsiteY0" fmla="*/ 74991 h 74991"/>
                  <a:gd name="connsiteX1" fmla="*/ 0 w 388876"/>
                  <a:gd name="connsiteY1" fmla="*/ 37496 h 74991"/>
                  <a:gd name="connsiteX2" fmla="*/ 194425 w 388876"/>
                  <a:gd name="connsiteY2" fmla="*/ 0 h 74991"/>
                  <a:gd name="connsiteX3" fmla="*/ 234956 w 388876"/>
                  <a:gd name="connsiteY3" fmla="*/ 752 h 74991"/>
                  <a:gd name="connsiteX4" fmla="*/ 239721 w 388876"/>
                  <a:gd name="connsiteY4" fmla="*/ 5894 h 74991"/>
                  <a:gd name="connsiteX5" fmla="*/ 234580 w 388876"/>
                  <a:gd name="connsiteY5" fmla="*/ 10659 h 74991"/>
                  <a:gd name="connsiteX6" fmla="*/ 194425 w 388876"/>
                  <a:gd name="connsiteY6" fmla="*/ 9932 h 74991"/>
                  <a:gd name="connsiteX7" fmla="*/ 9932 w 388876"/>
                  <a:gd name="connsiteY7" fmla="*/ 37496 h 74991"/>
                  <a:gd name="connsiteX8" fmla="*/ 194425 w 388876"/>
                  <a:gd name="connsiteY8" fmla="*/ 65059 h 74991"/>
                  <a:gd name="connsiteX9" fmla="*/ 378944 w 388876"/>
                  <a:gd name="connsiteY9" fmla="*/ 37496 h 74991"/>
                  <a:gd name="connsiteX10" fmla="*/ 293519 w 388876"/>
                  <a:gd name="connsiteY10" fmla="*/ 14747 h 74991"/>
                  <a:gd name="connsiteX11" fmla="*/ 289105 w 388876"/>
                  <a:gd name="connsiteY11" fmla="*/ 9280 h 74991"/>
                  <a:gd name="connsiteX12" fmla="*/ 294573 w 388876"/>
                  <a:gd name="connsiteY12" fmla="*/ 4866 h 74991"/>
                  <a:gd name="connsiteX13" fmla="*/ 388876 w 388876"/>
                  <a:gd name="connsiteY13" fmla="*/ 37496 h 74991"/>
                  <a:gd name="connsiteX14" fmla="*/ 194425 w 388876"/>
                  <a:gd name="connsiteY14" fmla="*/ 74991 h 7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8876" h="74991">
                    <a:moveTo>
                      <a:pt x="194425" y="74991"/>
                    </a:moveTo>
                    <a:cubicBezTo>
                      <a:pt x="127184" y="74991"/>
                      <a:pt x="0" y="67166"/>
                      <a:pt x="0" y="37496"/>
                    </a:cubicBezTo>
                    <a:cubicBezTo>
                      <a:pt x="0" y="7825"/>
                      <a:pt x="127184" y="0"/>
                      <a:pt x="194425" y="0"/>
                    </a:cubicBezTo>
                    <a:cubicBezTo>
                      <a:pt x="208145" y="0"/>
                      <a:pt x="221789" y="251"/>
                      <a:pt x="234956" y="752"/>
                    </a:cubicBezTo>
                    <a:cubicBezTo>
                      <a:pt x="237690" y="853"/>
                      <a:pt x="239822" y="3160"/>
                      <a:pt x="239721" y="5894"/>
                    </a:cubicBezTo>
                    <a:cubicBezTo>
                      <a:pt x="239621" y="8628"/>
                      <a:pt x="237263" y="10810"/>
                      <a:pt x="234580" y="10659"/>
                    </a:cubicBezTo>
                    <a:cubicBezTo>
                      <a:pt x="221538" y="10183"/>
                      <a:pt x="208019" y="9932"/>
                      <a:pt x="194425" y="9932"/>
                    </a:cubicBezTo>
                    <a:cubicBezTo>
                      <a:pt x="73286" y="9932"/>
                      <a:pt x="9932" y="27890"/>
                      <a:pt x="9932" y="37496"/>
                    </a:cubicBezTo>
                    <a:cubicBezTo>
                      <a:pt x="9932" y="47127"/>
                      <a:pt x="73311" y="65059"/>
                      <a:pt x="194425" y="65059"/>
                    </a:cubicBezTo>
                    <a:cubicBezTo>
                      <a:pt x="315565" y="65059"/>
                      <a:pt x="378944" y="47102"/>
                      <a:pt x="378944" y="37496"/>
                    </a:cubicBezTo>
                    <a:cubicBezTo>
                      <a:pt x="378944" y="33031"/>
                      <a:pt x="358077" y="21620"/>
                      <a:pt x="293519" y="14747"/>
                    </a:cubicBezTo>
                    <a:cubicBezTo>
                      <a:pt x="290786" y="14472"/>
                      <a:pt x="288804" y="12014"/>
                      <a:pt x="289105" y="9280"/>
                    </a:cubicBezTo>
                    <a:cubicBezTo>
                      <a:pt x="289406" y="6546"/>
                      <a:pt x="291914" y="4590"/>
                      <a:pt x="294573" y="4866"/>
                    </a:cubicBezTo>
                    <a:cubicBezTo>
                      <a:pt x="357149" y="11512"/>
                      <a:pt x="388876" y="22497"/>
                      <a:pt x="388876" y="37496"/>
                    </a:cubicBezTo>
                    <a:cubicBezTo>
                      <a:pt x="388851" y="67141"/>
                      <a:pt x="261667" y="74991"/>
                      <a:pt x="194425" y="74991"/>
                    </a:cubicBezTo>
                    <a:close/>
                  </a:path>
                </a:pathLst>
              </a:custGeom>
              <a:solidFill>
                <a:schemeClr val="accent1"/>
              </a:solidFill>
              <a:ln w="2503" cap="flat">
                <a:noFill/>
                <a:prstDash val="solid"/>
                <a:miter/>
              </a:ln>
            </p:spPr>
            <p:txBody>
              <a:bodyPr rtlCol="0" anchor="ctr"/>
              <a:lstStyle/>
              <a:p>
                <a:endParaRPr lang="en-GB" dirty="0"/>
              </a:p>
            </p:txBody>
          </p:sp>
          <p:sp>
            <p:nvSpPr>
              <p:cNvPr id="56" name="Freihandform: Form 963">
                <a:extLst>
                  <a:ext uri="{FF2B5EF4-FFF2-40B4-BE49-F238E27FC236}">
                    <a16:creationId xmlns:a16="http://schemas.microsoft.com/office/drawing/2014/main" id="{80177F7E-F43B-4D80-ADB2-4705D229C3DD}"/>
                  </a:ext>
                </a:extLst>
              </p:cNvPr>
              <p:cNvSpPr/>
              <p:nvPr/>
            </p:nvSpPr>
            <p:spPr>
              <a:xfrm>
                <a:off x="6996875" y="2560738"/>
                <a:ext cx="388449" cy="308492"/>
              </a:xfrm>
              <a:custGeom>
                <a:avLst/>
                <a:gdLst>
                  <a:gd name="connsiteX0" fmla="*/ 192620 w 388449"/>
                  <a:gd name="connsiteY0" fmla="*/ 308493 h 308492"/>
                  <a:gd name="connsiteX1" fmla="*/ 148578 w 388449"/>
                  <a:gd name="connsiteY1" fmla="*/ 291513 h 308492"/>
                  <a:gd name="connsiteX2" fmla="*/ 148101 w 388449"/>
                  <a:gd name="connsiteY2" fmla="*/ 289406 h 308492"/>
                  <a:gd name="connsiteX3" fmla="*/ 148101 w 388449"/>
                  <a:gd name="connsiteY3" fmla="*/ 195504 h 308492"/>
                  <a:gd name="connsiteX4" fmla="*/ 11261 w 388449"/>
                  <a:gd name="connsiteY4" fmla="*/ 105314 h 308492"/>
                  <a:gd name="connsiteX5" fmla="*/ 0 w 388449"/>
                  <a:gd name="connsiteY5" fmla="*/ 84070 h 308492"/>
                  <a:gd name="connsiteX6" fmla="*/ 0 w 388449"/>
                  <a:gd name="connsiteY6" fmla="*/ 4966 h 308492"/>
                  <a:gd name="connsiteX7" fmla="*/ 4966 w 388449"/>
                  <a:gd name="connsiteY7" fmla="*/ 0 h 308492"/>
                  <a:gd name="connsiteX8" fmla="*/ 9932 w 388449"/>
                  <a:gd name="connsiteY8" fmla="*/ 4966 h 308492"/>
                  <a:gd name="connsiteX9" fmla="*/ 9932 w 388449"/>
                  <a:gd name="connsiteY9" fmla="*/ 84070 h 308492"/>
                  <a:gd name="connsiteX10" fmla="*/ 16729 w 388449"/>
                  <a:gd name="connsiteY10" fmla="*/ 97037 h 308492"/>
                  <a:gd name="connsiteX11" fmla="*/ 155801 w 388449"/>
                  <a:gd name="connsiteY11" fmla="*/ 188682 h 308492"/>
                  <a:gd name="connsiteX12" fmla="*/ 158033 w 388449"/>
                  <a:gd name="connsiteY12" fmla="*/ 192820 h 308492"/>
                  <a:gd name="connsiteX13" fmla="*/ 158033 w 388449"/>
                  <a:gd name="connsiteY13" fmla="*/ 287951 h 308492"/>
                  <a:gd name="connsiteX14" fmla="*/ 194124 w 388449"/>
                  <a:gd name="connsiteY14" fmla="*/ 298536 h 308492"/>
                  <a:gd name="connsiteX15" fmla="*/ 228109 w 388449"/>
                  <a:gd name="connsiteY15" fmla="*/ 287349 h 308492"/>
                  <a:gd name="connsiteX16" fmla="*/ 228109 w 388449"/>
                  <a:gd name="connsiteY16" fmla="*/ 192820 h 308492"/>
                  <a:gd name="connsiteX17" fmla="*/ 230491 w 388449"/>
                  <a:gd name="connsiteY17" fmla="*/ 188582 h 308492"/>
                  <a:gd name="connsiteX18" fmla="*/ 371269 w 388449"/>
                  <a:gd name="connsiteY18" fmla="*/ 103332 h 308492"/>
                  <a:gd name="connsiteX19" fmla="*/ 378518 w 388449"/>
                  <a:gd name="connsiteY19" fmla="*/ 90090 h 308492"/>
                  <a:gd name="connsiteX20" fmla="*/ 378518 w 388449"/>
                  <a:gd name="connsiteY20" fmla="*/ 5794 h 308492"/>
                  <a:gd name="connsiteX21" fmla="*/ 383484 w 388449"/>
                  <a:gd name="connsiteY21" fmla="*/ 828 h 308492"/>
                  <a:gd name="connsiteX22" fmla="*/ 388450 w 388449"/>
                  <a:gd name="connsiteY22" fmla="*/ 5794 h 308492"/>
                  <a:gd name="connsiteX23" fmla="*/ 388450 w 388449"/>
                  <a:gd name="connsiteY23" fmla="*/ 90090 h 308492"/>
                  <a:gd name="connsiteX24" fmla="*/ 376411 w 388449"/>
                  <a:gd name="connsiteY24" fmla="*/ 111835 h 308492"/>
                  <a:gd name="connsiteX25" fmla="*/ 238016 w 388449"/>
                  <a:gd name="connsiteY25" fmla="*/ 195654 h 308492"/>
                  <a:gd name="connsiteX26" fmla="*/ 238016 w 388449"/>
                  <a:gd name="connsiteY26" fmla="*/ 288328 h 308492"/>
                  <a:gd name="connsiteX27" fmla="*/ 237865 w 388449"/>
                  <a:gd name="connsiteY27" fmla="*/ 289531 h 308492"/>
                  <a:gd name="connsiteX28" fmla="*/ 194225 w 388449"/>
                  <a:gd name="connsiteY28" fmla="*/ 308493 h 308492"/>
                  <a:gd name="connsiteX29" fmla="*/ 192620 w 388449"/>
                  <a:gd name="connsiteY29" fmla="*/ 308493 h 308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88449" h="308492">
                    <a:moveTo>
                      <a:pt x="192620" y="308493"/>
                    </a:moveTo>
                    <a:cubicBezTo>
                      <a:pt x="157507" y="308493"/>
                      <a:pt x="149406" y="293269"/>
                      <a:pt x="148578" y="291513"/>
                    </a:cubicBezTo>
                    <a:cubicBezTo>
                      <a:pt x="148277" y="290861"/>
                      <a:pt x="148101" y="290133"/>
                      <a:pt x="148101" y="289406"/>
                    </a:cubicBezTo>
                    <a:lnTo>
                      <a:pt x="148101" y="195504"/>
                    </a:lnTo>
                    <a:lnTo>
                      <a:pt x="11261" y="105314"/>
                    </a:lnTo>
                    <a:cubicBezTo>
                      <a:pt x="4214" y="100674"/>
                      <a:pt x="0" y="92723"/>
                      <a:pt x="0" y="84070"/>
                    </a:cubicBezTo>
                    <a:lnTo>
                      <a:pt x="0" y="4966"/>
                    </a:lnTo>
                    <a:cubicBezTo>
                      <a:pt x="0" y="2232"/>
                      <a:pt x="2232" y="0"/>
                      <a:pt x="4966" y="0"/>
                    </a:cubicBezTo>
                    <a:cubicBezTo>
                      <a:pt x="7700" y="0"/>
                      <a:pt x="9932" y="2232"/>
                      <a:pt x="9932" y="4966"/>
                    </a:cubicBezTo>
                    <a:lnTo>
                      <a:pt x="9932" y="84070"/>
                    </a:lnTo>
                    <a:cubicBezTo>
                      <a:pt x="9932" y="89388"/>
                      <a:pt x="12465" y="94228"/>
                      <a:pt x="16729" y="97037"/>
                    </a:cubicBezTo>
                    <a:lnTo>
                      <a:pt x="155801" y="188682"/>
                    </a:lnTo>
                    <a:cubicBezTo>
                      <a:pt x="157181" y="189610"/>
                      <a:pt x="158033" y="191165"/>
                      <a:pt x="158033" y="192820"/>
                    </a:cubicBezTo>
                    <a:lnTo>
                      <a:pt x="158033" y="287951"/>
                    </a:lnTo>
                    <a:cubicBezTo>
                      <a:pt x="159965" y="290409"/>
                      <a:pt x="168166" y="298937"/>
                      <a:pt x="194124" y="298536"/>
                    </a:cubicBezTo>
                    <a:cubicBezTo>
                      <a:pt x="220785" y="298184"/>
                      <a:pt x="227030" y="289381"/>
                      <a:pt x="228109" y="287349"/>
                    </a:cubicBezTo>
                    <a:lnTo>
                      <a:pt x="228109" y="192820"/>
                    </a:lnTo>
                    <a:cubicBezTo>
                      <a:pt x="228109" y="191090"/>
                      <a:pt x="229012" y="189460"/>
                      <a:pt x="230491" y="188582"/>
                    </a:cubicBezTo>
                    <a:lnTo>
                      <a:pt x="371269" y="103332"/>
                    </a:lnTo>
                    <a:cubicBezTo>
                      <a:pt x="375734" y="100624"/>
                      <a:pt x="378518" y="95557"/>
                      <a:pt x="378518" y="90090"/>
                    </a:cubicBezTo>
                    <a:lnTo>
                      <a:pt x="378518" y="5794"/>
                    </a:lnTo>
                    <a:cubicBezTo>
                      <a:pt x="378518" y="3060"/>
                      <a:pt x="380750" y="828"/>
                      <a:pt x="383484" y="828"/>
                    </a:cubicBezTo>
                    <a:cubicBezTo>
                      <a:pt x="386218" y="828"/>
                      <a:pt x="388450" y="3060"/>
                      <a:pt x="388450" y="5794"/>
                    </a:cubicBezTo>
                    <a:lnTo>
                      <a:pt x="388450" y="90090"/>
                    </a:lnTo>
                    <a:cubicBezTo>
                      <a:pt x="388450" y="99019"/>
                      <a:pt x="383835" y="107345"/>
                      <a:pt x="376411" y="111835"/>
                    </a:cubicBezTo>
                    <a:lnTo>
                      <a:pt x="238016" y="195654"/>
                    </a:lnTo>
                    <a:lnTo>
                      <a:pt x="238016" y="288328"/>
                    </a:lnTo>
                    <a:cubicBezTo>
                      <a:pt x="238016" y="288729"/>
                      <a:pt x="237966" y="289130"/>
                      <a:pt x="237865" y="289531"/>
                    </a:cubicBezTo>
                    <a:cubicBezTo>
                      <a:pt x="237389" y="291413"/>
                      <a:pt x="232197" y="307991"/>
                      <a:pt x="194225" y="308493"/>
                    </a:cubicBezTo>
                    <a:cubicBezTo>
                      <a:pt x="193698" y="308493"/>
                      <a:pt x="193172" y="308493"/>
                      <a:pt x="192620" y="308493"/>
                    </a:cubicBezTo>
                    <a:close/>
                  </a:path>
                </a:pathLst>
              </a:custGeom>
              <a:solidFill>
                <a:schemeClr val="accent1"/>
              </a:solidFill>
              <a:ln w="2503" cap="flat">
                <a:noFill/>
                <a:prstDash val="solid"/>
                <a:miter/>
              </a:ln>
            </p:spPr>
            <p:txBody>
              <a:bodyPr rtlCol="0" anchor="ctr"/>
              <a:lstStyle/>
              <a:p>
                <a:endParaRPr lang="en-GB" dirty="0"/>
              </a:p>
            </p:txBody>
          </p:sp>
        </p:grpSp>
        <p:grpSp>
          <p:nvGrpSpPr>
            <p:cNvPr id="51" name="Group 50">
              <a:extLst>
                <a:ext uri="{FF2B5EF4-FFF2-40B4-BE49-F238E27FC236}">
                  <a16:creationId xmlns:a16="http://schemas.microsoft.com/office/drawing/2014/main" id="{85FD9BD4-FF4A-4CCA-8CF0-C58E6C29EDF1}"/>
                </a:ext>
              </a:extLst>
            </p:cNvPr>
            <p:cNvGrpSpPr/>
            <p:nvPr/>
          </p:nvGrpSpPr>
          <p:grpSpPr>
            <a:xfrm>
              <a:off x="3864148" y="4040086"/>
              <a:ext cx="147621" cy="432000"/>
              <a:chOff x="7104662" y="2412325"/>
              <a:chExt cx="193241" cy="565504"/>
            </a:xfrm>
          </p:grpSpPr>
          <p:sp>
            <p:nvSpPr>
              <p:cNvPr id="52" name="Freihandform: Form 964">
                <a:extLst>
                  <a:ext uri="{FF2B5EF4-FFF2-40B4-BE49-F238E27FC236}">
                    <a16:creationId xmlns:a16="http://schemas.microsoft.com/office/drawing/2014/main" id="{330C1B4F-5569-4922-9FC2-4357D7D0E545}"/>
                  </a:ext>
                </a:extLst>
              </p:cNvPr>
              <p:cNvSpPr/>
              <p:nvPr/>
            </p:nvSpPr>
            <p:spPr>
              <a:xfrm>
                <a:off x="7225751" y="2485736"/>
                <a:ext cx="72152" cy="72142"/>
              </a:xfrm>
              <a:custGeom>
                <a:avLst/>
                <a:gdLst>
                  <a:gd name="connsiteX0" fmla="*/ 36076 w 72152"/>
                  <a:gd name="connsiteY0" fmla="*/ 72142 h 72142"/>
                  <a:gd name="connsiteX1" fmla="*/ 9415 w 72152"/>
                  <a:gd name="connsiteY1" fmla="*/ 60404 h 72142"/>
                  <a:gd name="connsiteX2" fmla="*/ 11748 w 72152"/>
                  <a:gd name="connsiteY2" fmla="*/ 9415 h 72142"/>
                  <a:gd name="connsiteX3" fmla="*/ 62737 w 72152"/>
                  <a:gd name="connsiteY3" fmla="*/ 11748 h 72142"/>
                  <a:gd name="connsiteX4" fmla="*/ 60404 w 72152"/>
                  <a:gd name="connsiteY4" fmla="*/ 62737 h 72142"/>
                  <a:gd name="connsiteX5" fmla="*/ 36076 w 72152"/>
                  <a:gd name="connsiteY5" fmla="*/ 72142 h 72142"/>
                  <a:gd name="connsiteX6" fmla="*/ 36051 w 72152"/>
                  <a:gd name="connsiteY6" fmla="*/ 9917 h 72142"/>
                  <a:gd name="connsiteX7" fmla="*/ 18419 w 72152"/>
                  <a:gd name="connsiteY7" fmla="*/ 16739 h 72142"/>
                  <a:gd name="connsiteX8" fmla="*/ 16739 w 72152"/>
                  <a:gd name="connsiteY8" fmla="*/ 53708 h 72142"/>
                  <a:gd name="connsiteX9" fmla="*/ 53708 w 72152"/>
                  <a:gd name="connsiteY9" fmla="*/ 55388 h 72142"/>
                  <a:gd name="connsiteX10" fmla="*/ 55388 w 72152"/>
                  <a:gd name="connsiteY10" fmla="*/ 18419 h 72142"/>
                  <a:gd name="connsiteX11" fmla="*/ 36051 w 72152"/>
                  <a:gd name="connsiteY11" fmla="*/ 9917 h 7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152" h="72142">
                    <a:moveTo>
                      <a:pt x="36076" y="72142"/>
                    </a:moveTo>
                    <a:cubicBezTo>
                      <a:pt x="26269" y="72142"/>
                      <a:pt x="16513" y="68179"/>
                      <a:pt x="9415" y="60404"/>
                    </a:cubicBezTo>
                    <a:cubicBezTo>
                      <a:pt x="-4003" y="45707"/>
                      <a:pt x="-2949" y="22833"/>
                      <a:pt x="11748" y="9415"/>
                    </a:cubicBezTo>
                    <a:cubicBezTo>
                      <a:pt x="26445" y="-4003"/>
                      <a:pt x="49319" y="-2950"/>
                      <a:pt x="62737" y="11748"/>
                    </a:cubicBezTo>
                    <a:cubicBezTo>
                      <a:pt x="76155" y="26445"/>
                      <a:pt x="75102" y="49319"/>
                      <a:pt x="60404" y="62737"/>
                    </a:cubicBezTo>
                    <a:cubicBezTo>
                      <a:pt x="53482" y="69032"/>
                      <a:pt x="44754" y="72142"/>
                      <a:pt x="36076" y="72142"/>
                    </a:cubicBezTo>
                    <a:close/>
                    <a:moveTo>
                      <a:pt x="36051" y="9917"/>
                    </a:moveTo>
                    <a:cubicBezTo>
                      <a:pt x="29756" y="9917"/>
                      <a:pt x="23435" y="12174"/>
                      <a:pt x="18419" y="16739"/>
                    </a:cubicBezTo>
                    <a:cubicBezTo>
                      <a:pt x="7760" y="26470"/>
                      <a:pt x="7007" y="43048"/>
                      <a:pt x="16739" y="53708"/>
                    </a:cubicBezTo>
                    <a:cubicBezTo>
                      <a:pt x="26445" y="64367"/>
                      <a:pt x="43048" y="65119"/>
                      <a:pt x="53708" y="55388"/>
                    </a:cubicBezTo>
                    <a:cubicBezTo>
                      <a:pt x="64367" y="45657"/>
                      <a:pt x="65119" y="29078"/>
                      <a:pt x="55388" y="18419"/>
                    </a:cubicBezTo>
                    <a:cubicBezTo>
                      <a:pt x="50221" y="12776"/>
                      <a:pt x="43149" y="9917"/>
                      <a:pt x="36051" y="9917"/>
                    </a:cubicBezTo>
                    <a:close/>
                  </a:path>
                </a:pathLst>
              </a:custGeom>
              <a:solidFill>
                <a:schemeClr val="tx2"/>
              </a:solidFill>
              <a:ln w="2503" cap="flat">
                <a:noFill/>
                <a:prstDash val="solid"/>
                <a:miter/>
              </a:ln>
            </p:spPr>
            <p:txBody>
              <a:bodyPr rtlCol="0" anchor="ctr"/>
              <a:lstStyle/>
              <a:p>
                <a:endParaRPr lang="en-GB" dirty="0"/>
              </a:p>
            </p:txBody>
          </p:sp>
          <p:sp>
            <p:nvSpPr>
              <p:cNvPr id="53" name="Freihandform: Form 965">
                <a:extLst>
                  <a:ext uri="{FF2B5EF4-FFF2-40B4-BE49-F238E27FC236}">
                    <a16:creationId xmlns:a16="http://schemas.microsoft.com/office/drawing/2014/main" id="{8B59EAD4-B7AC-4D5F-B6BF-114E5F3A1C30}"/>
                  </a:ext>
                </a:extLst>
              </p:cNvPr>
              <p:cNvSpPr/>
              <p:nvPr/>
            </p:nvSpPr>
            <p:spPr>
              <a:xfrm>
                <a:off x="7104662" y="2412325"/>
                <a:ext cx="72178" cy="72142"/>
              </a:xfrm>
              <a:custGeom>
                <a:avLst/>
                <a:gdLst>
                  <a:gd name="connsiteX0" fmla="*/ 36076 w 72178"/>
                  <a:gd name="connsiteY0" fmla="*/ 72142 h 72142"/>
                  <a:gd name="connsiteX1" fmla="*/ 9415 w 72178"/>
                  <a:gd name="connsiteY1" fmla="*/ 60404 h 72142"/>
                  <a:gd name="connsiteX2" fmla="*/ 11748 w 72178"/>
                  <a:gd name="connsiteY2" fmla="*/ 9415 h 72142"/>
                  <a:gd name="connsiteX3" fmla="*/ 62737 w 72178"/>
                  <a:gd name="connsiteY3" fmla="*/ 11748 h 72142"/>
                  <a:gd name="connsiteX4" fmla="*/ 72142 w 72178"/>
                  <a:gd name="connsiteY4" fmla="*/ 37731 h 72142"/>
                  <a:gd name="connsiteX5" fmla="*/ 60429 w 72178"/>
                  <a:gd name="connsiteY5" fmla="*/ 62737 h 72142"/>
                  <a:gd name="connsiteX6" fmla="*/ 36076 w 72178"/>
                  <a:gd name="connsiteY6" fmla="*/ 72142 h 72142"/>
                  <a:gd name="connsiteX7" fmla="*/ 36051 w 72178"/>
                  <a:gd name="connsiteY7" fmla="*/ 9892 h 72142"/>
                  <a:gd name="connsiteX8" fmla="*/ 18419 w 72178"/>
                  <a:gd name="connsiteY8" fmla="*/ 16714 h 72142"/>
                  <a:gd name="connsiteX9" fmla="*/ 16739 w 72178"/>
                  <a:gd name="connsiteY9" fmla="*/ 53683 h 72142"/>
                  <a:gd name="connsiteX10" fmla="*/ 53708 w 72178"/>
                  <a:gd name="connsiteY10" fmla="*/ 55363 h 72142"/>
                  <a:gd name="connsiteX11" fmla="*/ 62210 w 72178"/>
                  <a:gd name="connsiteY11" fmla="*/ 37230 h 72142"/>
                  <a:gd name="connsiteX12" fmla="*/ 55388 w 72178"/>
                  <a:gd name="connsiteY12" fmla="*/ 18394 h 72142"/>
                  <a:gd name="connsiteX13" fmla="*/ 36051 w 72178"/>
                  <a:gd name="connsiteY13" fmla="*/ 9892 h 72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178" h="72142">
                    <a:moveTo>
                      <a:pt x="36076" y="72142"/>
                    </a:moveTo>
                    <a:cubicBezTo>
                      <a:pt x="26270" y="72142"/>
                      <a:pt x="16513" y="68179"/>
                      <a:pt x="9415" y="60404"/>
                    </a:cubicBezTo>
                    <a:cubicBezTo>
                      <a:pt x="-4003" y="45707"/>
                      <a:pt x="-2950" y="22833"/>
                      <a:pt x="11748" y="9415"/>
                    </a:cubicBezTo>
                    <a:cubicBezTo>
                      <a:pt x="26445" y="-4003"/>
                      <a:pt x="49319" y="-2950"/>
                      <a:pt x="62737" y="11748"/>
                    </a:cubicBezTo>
                    <a:cubicBezTo>
                      <a:pt x="69233" y="18871"/>
                      <a:pt x="72568" y="28100"/>
                      <a:pt x="72142" y="37731"/>
                    </a:cubicBezTo>
                    <a:cubicBezTo>
                      <a:pt x="71691" y="47362"/>
                      <a:pt x="67527" y="56241"/>
                      <a:pt x="60429" y="62737"/>
                    </a:cubicBezTo>
                    <a:cubicBezTo>
                      <a:pt x="53482" y="69032"/>
                      <a:pt x="44754" y="72142"/>
                      <a:pt x="36076" y="72142"/>
                    </a:cubicBezTo>
                    <a:close/>
                    <a:moveTo>
                      <a:pt x="36051" y="9892"/>
                    </a:moveTo>
                    <a:cubicBezTo>
                      <a:pt x="29756" y="9892"/>
                      <a:pt x="23435" y="12149"/>
                      <a:pt x="18419" y="16714"/>
                    </a:cubicBezTo>
                    <a:cubicBezTo>
                      <a:pt x="7760" y="26445"/>
                      <a:pt x="7008" y="43023"/>
                      <a:pt x="16739" y="53683"/>
                    </a:cubicBezTo>
                    <a:cubicBezTo>
                      <a:pt x="26445" y="64342"/>
                      <a:pt x="43049" y="65094"/>
                      <a:pt x="53708" y="55363"/>
                    </a:cubicBezTo>
                    <a:cubicBezTo>
                      <a:pt x="58874" y="50648"/>
                      <a:pt x="61884" y="44202"/>
                      <a:pt x="62210" y="37230"/>
                    </a:cubicBezTo>
                    <a:cubicBezTo>
                      <a:pt x="62536" y="30257"/>
                      <a:pt x="60103" y="23561"/>
                      <a:pt x="55388" y="18394"/>
                    </a:cubicBezTo>
                    <a:cubicBezTo>
                      <a:pt x="50222" y="12776"/>
                      <a:pt x="43149" y="9892"/>
                      <a:pt x="36051" y="9892"/>
                    </a:cubicBezTo>
                    <a:close/>
                  </a:path>
                </a:pathLst>
              </a:custGeom>
              <a:solidFill>
                <a:schemeClr val="tx2"/>
              </a:solidFill>
              <a:ln w="2503" cap="flat">
                <a:noFill/>
                <a:prstDash val="solid"/>
                <a:miter/>
              </a:ln>
            </p:spPr>
            <p:txBody>
              <a:bodyPr rtlCol="0" anchor="ctr"/>
              <a:lstStyle/>
              <a:p>
                <a:endParaRPr lang="en-GB" dirty="0"/>
              </a:p>
            </p:txBody>
          </p:sp>
          <p:sp>
            <p:nvSpPr>
              <p:cNvPr id="54" name="Freihandform: Form 966">
                <a:extLst>
                  <a:ext uri="{FF2B5EF4-FFF2-40B4-BE49-F238E27FC236}">
                    <a16:creationId xmlns:a16="http://schemas.microsoft.com/office/drawing/2014/main" id="{A78DC5E8-3340-4308-BF87-0983C1FCDCA8}"/>
                  </a:ext>
                </a:extLst>
              </p:cNvPr>
              <p:cNvSpPr/>
              <p:nvPr/>
            </p:nvSpPr>
            <p:spPr>
              <a:xfrm>
                <a:off x="7155750" y="2905697"/>
                <a:ext cx="72153" cy="72132"/>
              </a:xfrm>
              <a:custGeom>
                <a:avLst/>
                <a:gdLst>
                  <a:gd name="connsiteX0" fmla="*/ 36127 w 72153"/>
                  <a:gd name="connsiteY0" fmla="*/ 72132 h 72132"/>
                  <a:gd name="connsiteX1" fmla="*/ 9442 w 72153"/>
                  <a:gd name="connsiteY1" fmla="*/ 60394 h 72132"/>
                  <a:gd name="connsiteX2" fmla="*/ 36 w 72153"/>
                  <a:gd name="connsiteY2" fmla="*/ 34411 h 72132"/>
                  <a:gd name="connsiteX3" fmla="*/ 11749 w 72153"/>
                  <a:gd name="connsiteY3" fmla="*/ 9405 h 72132"/>
                  <a:gd name="connsiteX4" fmla="*/ 11749 w 72153"/>
                  <a:gd name="connsiteY4" fmla="*/ 9405 h 72132"/>
                  <a:gd name="connsiteX5" fmla="*/ 62738 w 72153"/>
                  <a:gd name="connsiteY5" fmla="*/ 11738 h 72132"/>
                  <a:gd name="connsiteX6" fmla="*/ 60406 w 72153"/>
                  <a:gd name="connsiteY6" fmla="*/ 62727 h 72132"/>
                  <a:gd name="connsiteX7" fmla="*/ 36127 w 72153"/>
                  <a:gd name="connsiteY7" fmla="*/ 72132 h 72132"/>
                  <a:gd name="connsiteX8" fmla="*/ 18471 w 72153"/>
                  <a:gd name="connsiteY8" fmla="*/ 16704 h 72132"/>
                  <a:gd name="connsiteX9" fmla="*/ 9968 w 72153"/>
                  <a:gd name="connsiteY9" fmla="*/ 34837 h 72132"/>
                  <a:gd name="connsiteX10" fmla="*/ 16790 w 72153"/>
                  <a:gd name="connsiteY10" fmla="*/ 53673 h 72132"/>
                  <a:gd name="connsiteX11" fmla="*/ 53759 w 72153"/>
                  <a:gd name="connsiteY11" fmla="*/ 55353 h 72132"/>
                  <a:gd name="connsiteX12" fmla="*/ 55440 w 72153"/>
                  <a:gd name="connsiteY12" fmla="*/ 18384 h 72132"/>
                  <a:gd name="connsiteX13" fmla="*/ 18471 w 72153"/>
                  <a:gd name="connsiteY13" fmla="*/ 16704 h 72132"/>
                  <a:gd name="connsiteX14" fmla="*/ 18471 w 72153"/>
                  <a:gd name="connsiteY14" fmla="*/ 16704 h 7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153" h="72132">
                    <a:moveTo>
                      <a:pt x="36127" y="72132"/>
                    </a:moveTo>
                    <a:cubicBezTo>
                      <a:pt x="26321" y="72132"/>
                      <a:pt x="16565" y="68169"/>
                      <a:pt x="9442" y="60394"/>
                    </a:cubicBezTo>
                    <a:cubicBezTo>
                      <a:pt x="2946" y="53271"/>
                      <a:pt x="-390" y="44042"/>
                      <a:pt x="36" y="34411"/>
                    </a:cubicBezTo>
                    <a:cubicBezTo>
                      <a:pt x="488" y="24780"/>
                      <a:pt x="4651" y="15901"/>
                      <a:pt x="11749" y="9405"/>
                    </a:cubicBezTo>
                    <a:cubicBezTo>
                      <a:pt x="11749" y="9405"/>
                      <a:pt x="11749" y="9405"/>
                      <a:pt x="11749" y="9405"/>
                    </a:cubicBezTo>
                    <a:cubicBezTo>
                      <a:pt x="26446" y="-3988"/>
                      <a:pt x="49320" y="-2959"/>
                      <a:pt x="62738" y="11738"/>
                    </a:cubicBezTo>
                    <a:cubicBezTo>
                      <a:pt x="76156" y="26435"/>
                      <a:pt x="75103" y="49309"/>
                      <a:pt x="60406" y="62727"/>
                    </a:cubicBezTo>
                    <a:cubicBezTo>
                      <a:pt x="53534" y="69022"/>
                      <a:pt x="44805" y="72132"/>
                      <a:pt x="36127" y="72132"/>
                    </a:cubicBezTo>
                    <a:close/>
                    <a:moveTo>
                      <a:pt x="18471" y="16704"/>
                    </a:moveTo>
                    <a:cubicBezTo>
                      <a:pt x="13304" y="21419"/>
                      <a:pt x="10294" y="27865"/>
                      <a:pt x="9968" y="34837"/>
                    </a:cubicBezTo>
                    <a:cubicBezTo>
                      <a:pt x="9642" y="41810"/>
                      <a:pt x="12075" y="48506"/>
                      <a:pt x="16790" y="53673"/>
                    </a:cubicBezTo>
                    <a:cubicBezTo>
                      <a:pt x="26496" y="64332"/>
                      <a:pt x="43100" y="65084"/>
                      <a:pt x="53759" y="55353"/>
                    </a:cubicBezTo>
                    <a:cubicBezTo>
                      <a:pt x="64418" y="45622"/>
                      <a:pt x="65171" y="29044"/>
                      <a:pt x="55440" y="18384"/>
                    </a:cubicBezTo>
                    <a:cubicBezTo>
                      <a:pt x="45708" y="7750"/>
                      <a:pt x="29105" y="6973"/>
                      <a:pt x="18471" y="16704"/>
                    </a:cubicBezTo>
                    <a:lnTo>
                      <a:pt x="18471" y="16704"/>
                    </a:lnTo>
                    <a:close/>
                  </a:path>
                </a:pathLst>
              </a:custGeom>
              <a:solidFill>
                <a:schemeClr val="tx2"/>
              </a:solidFill>
              <a:ln w="2503" cap="flat">
                <a:noFill/>
                <a:prstDash val="solid"/>
                <a:miter/>
              </a:ln>
            </p:spPr>
            <p:txBody>
              <a:bodyPr rtlCol="0" anchor="ctr"/>
              <a:lstStyle/>
              <a:p>
                <a:endParaRPr lang="en-GB" dirty="0"/>
              </a:p>
            </p:txBody>
          </p:sp>
        </p:grpSp>
      </p:grpSp>
      <p:grpSp>
        <p:nvGrpSpPr>
          <p:cNvPr id="755" name="Group 754">
            <a:extLst>
              <a:ext uri="{FF2B5EF4-FFF2-40B4-BE49-F238E27FC236}">
                <a16:creationId xmlns:a16="http://schemas.microsoft.com/office/drawing/2014/main" id="{0C7A5135-D72B-4127-AB9C-77E1DD73B881}"/>
              </a:ext>
            </a:extLst>
          </p:cNvPr>
          <p:cNvGrpSpPr/>
          <p:nvPr/>
        </p:nvGrpSpPr>
        <p:grpSpPr>
          <a:xfrm>
            <a:off x="2587419" y="4040086"/>
            <a:ext cx="594998" cy="432000"/>
            <a:chOff x="2587419" y="4040086"/>
            <a:chExt cx="594998" cy="432000"/>
          </a:xfrm>
        </p:grpSpPr>
        <p:grpSp>
          <p:nvGrpSpPr>
            <p:cNvPr id="58" name="Group 57">
              <a:extLst>
                <a:ext uri="{FF2B5EF4-FFF2-40B4-BE49-F238E27FC236}">
                  <a16:creationId xmlns:a16="http://schemas.microsoft.com/office/drawing/2014/main" id="{6BCF8287-1FEE-4E8A-B0F0-A966E5ABCD55}"/>
                </a:ext>
              </a:extLst>
            </p:cNvPr>
            <p:cNvGrpSpPr/>
            <p:nvPr/>
          </p:nvGrpSpPr>
          <p:grpSpPr>
            <a:xfrm>
              <a:off x="2587419" y="4040086"/>
              <a:ext cx="594998" cy="432000"/>
              <a:chOff x="6913105" y="1725851"/>
              <a:chExt cx="544101" cy="395046"/>
            </a:xfrm>
          </p:grpSpPr>
          <p:grpSp>
            <p:nvGrpSpPr>
              <p:cNvPr id="66" name="Group 65">
                <a:extLst>
                  <a:ext uri="{FF2B5EF4-FFF2-40B4-BE49-F238E27FC236}">
                    <a16:creationId xmlns:a16="http://schemas.microsoft.com/office/drawing/2014/main" id="{41E143C5-33EE-4790-8BF7-855C559284C2}"/>
                  </a:ext>
                </a:extLst>
              </p:cNvPr>
              <p:cNvGrpSpPr/>
              <p:nvPr/>
            </p:nvGrpSpPr>
            <p:grpSpPr>
              <a:xfrm>
                <a:off x="7297125" y="1725851"/>
                <a:ext cx="160081" cy="395046"/>
                <a:chOff x="7297125" y="1725851"/>
                <a:chExt cx="160081" cy="395046"/>
              </a:xfrm>
            </p:grpSpPr>
            <p:sp>
              <p:nvSpPr>
                <p:cNvPr id="75" name="Freihandform: Form 888">
                  <a:extLst>
                    <a:ext uri="{FF2B5EF4-FFF2-40B4-BE49-F238E27FC236}">
                      <a16:creationId xmlns:a16="http://schemas.microsoft.com/office/drawing/2014/main" id="{7BF9BE7D-F8C8-4D13-BC48-53B87B0DE2D7}"/>
                    </a:ext>
                  </a:extLst>
                </p:cNvPr>
                <p:cNvSpPr/>
                <p:nvPr/>
              </p:nvSpPr>
              <p:spPr>
                <a:xfrm>
                  <a:off x="7382165" y="1725851"/>
                  <a:ext cx="75041" cy="75041"/>
                </a:xfrm>
                <a:custGeom>
                  <a:avLst/>
                  <a:gdLst>
                    <a:gd name="connsiteX0" fmla="*/ 37521 w 75041"/>
                    <a:gd name="connsiteY0" fmla="*/ 75041 h 75041"/>
                    <a:gd name="connsiteX1" fmla="*/ 10985 w 75041"/>
                    <a:gd name="connsiteY1" fmla="*/ 64056 h 75041"/>
                    <a:gd name="connsiteX2" fmla="*/ 0 w 75041"/>
                    <a:gd name="connsiteY2" fmla="*/ 37521 h 75041"/>
                    <a:gd name="connsiteX3" fmla="*/ 37521 w 75041"/>
                    <a:gd name="connsiteY3" fmla="*/ 0 h 75041"/>
                    <a:gd name="connsiteX4" fmla="*/ 37521 w 75041"/>
                    <a:gd name="connsiteY4" fmla="*/ 0 h 75041"/>
                    <a:gd name="connsiteX5" fmla="*/ 64056 w 75041"/>
                    <a:gd name="connsiteY5" fmla="*/ 10985 h 75041"/>
                    <a:gd name="connsiteX6" fmla="*/ 75041 w 75041"/>
                    <a:gd name="connsiteY6" fmla="*/ 37521 h 75041"/>
                    <a:gd name="connsiteX7" fmla="*/ 37521 w 75041"/>
                    <a:gd name="connsiteY7" fmla="*/ 75041 h 75041"/>
                    <a:gd name="connsiteX8" fmla="*/ 37521 w 75041"/>
                    <a:gd name="connsiteY8" fmla="*/ 75041 h 75041"/>
                    <a:gd name="connsiteX9" fmla="*/ 37546 w 75041"/>
                    <a:gd name="connsiteY9" fmla="*/ 9932 h 75041"/>
                    <a:gd name="connsiteX10" fmla="*/ 37546 w 75041"/>
                    <a:gd name="connsiteY10" fmla="*/ 9932 h 75041"/>
                    <a:gd name="connsiteX11" fmla="*/ 9957 w 75041"/>
                    <a:gd name="connsiteY11" fmla="*/ 37521 h 75041"/>
                    <a:gd name="connsiteX12" fmla="*/ 18033 w 75041"/>
                    <a:gd name="connsiteY12" fmla="*/ 57034 h 75041"/>
                    <a:gd name="connsiteX13" fmla="*/ 37546 w 75041"/>
                    <a:gd name="connsiteY13" fmla="*/ 65109 h 75041"/>
                    <a:gd name="connsiteX14" fmla="*/ 37546 w 75041"/>
                    <a:gd name="connsiteY14" fmla="*/ 65109 h 75041"/>
                    <a:gd name="connsiteX15" fmla="*/ 65134 w 75041"/>
                    <a:gd name="connsiteY15" fmla="*/ 37521 h 75041"/>
                    <a:gd name="connsiteX16" fmla="*/ 57059 w 75041"/>
                    <a:gd name="connsiteY16" fmla="*/ 18008 h 75041"/>
                    <a:gd name="connsiteX17" fmla="*/ 37546 w 75041"/>
                    <a:gd name="connsiteY17" fmla="*/ 9932 h 7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041" h="75041">
                      <a:moveTo>
                        <a:pt x="37521" y="75041"/>
                      </a:moveTo>
                      <a:cubicBezTo>
                        <a:pt x="27513" y="75041"/>
                        <a:pt x="18083" y="71154"/>
                        <a:pt x="10985" y="64056"/>
                      </a:cubicBezTo>
                      <a:cubicBezTo>
                        <a:pt x="3887" y="56958"/>
                        <a:pt x="0" y="47553"/>
                        <a:pt x="0" y="37521"/>
                      </a:cubicBezTo>
                      <a:cubicBezTo>
                        <a:pt x="0" y="16829"/>
                        <a:pt x="16829" y="0"/>
                        <a:pt x="37521" y="0"/>
                      </a:cubicBezTo>
                      <a:lnTo>
                        <a:pt x="37521" y="0"/>
                      </a:lnTo>
                      <a:cubicBezTo>
                        <a:pt x="47528" y="0"/>
                        <a:pt x="56958" y="3913"/>
                        <a:pt x="64056" y="10985"/>
                      </a:cubicBezTo>
                      <a:cubicBezTo>
                        <a:pt x="71154" y="18083"/>
                        <a:pt x="75041" y="27488"/>
                        <a:pt x="75041" y="37521"/>
                      </a:cubicBezTo>
                      <a:cubicBezTo>
                        <a:pt x="75041" y="58187"/>
                        <a:pt x="58212" y="75016"/>
                        <a:pt x="37521" y="75041"/>
                      </a:cubicBezTo>
                      <a:lnTo>
                        <a:pt x="37521" y="75041"/>
                      </a:lnTo>
                      <a:close/>
                      <a:moveTo>
                        <a:pt x="37546" y="9932"/>
                      </a:moveTo>
                      <a:lnTo>
                        <a:pt x="37546" y="9932"/>
                      </a:lnTo>
                      <a:cubicBezTo>
                        <a:pt x="22322" y="9932"/>
                        <a:pt x="9957" y="22322"/>
                        <a:pt x="9957" y="37521"/>
                      </a:cubicBezTo>
                      <a:cubicBezTo>
                        <a:pt x="9957" y="44894"/>
                        <a:pt x="12816" y="51817"/>
                        <a:pt x="18033" y="57034"/>
                      </a:cubicBezTo>
                      <a:cubicBezTo>
                        <a:pt x="23250" y="62250"/>
                        <a:pt x="30172" y="65109"/>
                        <a:pt x="37546" y="65109"/>
                      </a:cubicBezTo>
                      <a:lnTo>
                        <a:pt x="37546" y="65109"/>
                      </a:lnTo>
                      <a:cubicBezTo>
                        <a:pt x="52745" y="65109"/>
                        <a:pt x="65134" y="52720"/>
                        <a:pt x="65134" y="37521"/>
                      </a:cubicBezTo>
                      <a:cubicBezTo>
                        <a:pt x="65134" y="30147"/>
                        <a:pt x="62275" y="23225"/>
                        <a:pt x="57059" y="18008"/>
                      </a:cubicBezTo>
                      <a:cubicBezTo>
                        <a:pt x="51817" y="12791"/>
                        <a:pt x="44895" y="9932"/>
                        <a:pt x="37546" y="9932"/>
                      </a:cubicBezTo>
                      <a:close/>
                    </a:path>
                  </a:pathLst>
                </a:custGeom>
                <a:solidFill>
                  <a:schemeClr val="accent1"/>
                </a:solidFill>
                <a:ln w="2503" cap="flat">
                  <a:noFill/>
                  <a:prstDash val="solid"/>
                  <a:miter/>
                </a:ln>
              </p:spPr>
              <p:txBody>
                <a:bodyPr rtlCol="0" anchor="ctr"/>
                <a:lstStyle/>
                <a:p>
                  <a:endParaRPr lang="en-GB" dirty="0"/>
                </a:p>
              </p:txBody>
            </p:sp>
            <p:sp>
              <p:nvSpPr>
                <p:cNvPr id="76" name="Freihandform: Form 889">
                  <a:extLst>
                    <a:ext uri="{FF2B5EF4-FFF2-40B4-BE49-F238E27FC236}">
                      <a16:creationId xmlns:a16="http://schemas.microsoft.com/office/drawing/2014/main" id="{0C81A9FE-8A3D-4793-94BC-B31502ECA8A0}"/>
                    </a:ext>
                  </a:extLst>
                </p:cNvPr>
                <p:cNvSpPr/>
                <p:nvPr/>
              </p:nvSpPr>
              <p:spPr>
                <a:xfrm>
                  <a:off x="7382165" y="2045856"/>
                  <a:ext cx="75041" cy="75041"/>
                </a:xfrm>
                <a:custGeom>
                  <a:avLst/>
                  <a:gdLst>
                    <a:gd name="connsiteX0" fmla="*/ 37521 w 75041"/>
                    <a:gd name="connsiteY0" fmla="*/ 75041 h 75041"/>
                    <a:gd name="connsiteX1" fmla="*/ 10985 w 75041"/>
                    <a:gd name="connsiteY1" fmla="*/ 64056 h 75041"/>
                    <a:gd name="connsiteX2" fmla="*/ 0 w 75041"/>
                    <a:gd name="connsiteY2" fmla="*/ 37521 h 75041"/>
                    <a:gd name="connsiteX3" fmla="*/ 37521 w 75041"/>
                    <a:gd name="connsiteY3" fmla="*/ 0 h 75041"/>
                    <a:gd name="connsiteX4" fmla="*/ 37521 w 75041"/>
                    <a:gd name="connsiteY4" fmla="*/ 0 h 75041"/>
                    <a:gd name="connsiteX5" fmla="*/ 64056 w 75041"/>
                    <a:gd name="connsiteY5" fmla="*/ 10985 h 75041"/>
                    <a:gd name="connsiteX6" fmla="*/ 75041 w 75041"/>
                    <a:gd name="connsiteY6" fmla="*/ 37521 h 75041"/>
                    <a:gd name="connsiteX7" fmla="*/ 37521 w 75041"/>
                    <a:gd name="connsiteY7" fmla="*/ 75041 h 75041"/>
                    <a:gd name="connsiteX8" fmla="*/ 37521 w 75041"/>
                    <a:gd name="connsiteY8" fmla="*/ 75041 h 75041"/>
                    <a:gd name="connsiteX9" fmla="*/ 37546 w 75041"/>
                    <a:gd name="connsiteY9" fmla="*/ 9957 h 75041"/>
                    <a:gd name="connsiteX10" fmla="*/ 37546 w 75041"/>
                    <a:gd name="connsiteY10" fmla="*/ 9957 h 75041"/>
                    <a:gd name="connsiteX11" fmla="*/ 9957 w 75041"/>
                    <a:gd name="connsiteY11" fmla="*/ 37546 h 75041"/>
                    <a:gd name="connsiteX12" fmla="*/ 18033 w 75041"/>
                    <a:gd name="connsiteY12" fmla="*/ 57059 h 75041"/>
                    <a:gd name="connsiteX13" fmla="*/ 37546 w 75041"/>
                    <a:gd name="connsiteY13" fmla="*/ 65135 h 75041"/>
                    <a:gd name="connsiteX14" fmla="*/ 37546 w 75041"/>
                    <a:gd name="connsiteY14" fmla="*/ 65135 h 75041"/>
                    <a:gd name="connsiteX15" fmla="*/ 65134 w 75041"/>
                    <a:gd name="connsiteY15" fmla="*/ 37546 h 75041"/>
                    <a:gd name="connsiteX16" fmla="*/ 57059 w 75041"/>
                    <a:gd name="connsiteY16" fmla="*/ 18033 h 75041"/>
                    <a:gd name="connsiteX17" fmla="*/ 37546 w 75041"/>
                    <a:gd name="connsiteY17" fmla="*/ 9957 h 7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041" h="75041">
                      <a:moveTo>
                        <a:pt x="37521" y="75041"/>
                      </a:moveTo>
                      <a:cubicBezTo>
                        <a:pt x="27513" y="75041"/>
                        <a:pt x="18083" y="71129"/>
                        <a:pt x="10985" y="64056"/>
                      </a:cubicBezTo>
                      <a:cubicBezTo>
                        <a:pt x="3887" y="56958"/>
                        <a:pt x="0" y="47553"/>
                        <a:pt x="0" y="37521"/>
                      </a:cubicBezTo>
                      <a:cubicBezTo>
                        <a:pt x="0" y="16829"/>
                        <a:pt x="16829" y="0"/>
                        <a:pt x="37521" y="0"/>
                      </a:cubicBezTo>
                      <a:lnTo>
                        <a:pt x="37521" y="0"/>
                      </a:lnTo>
                      <a:cubicBezTo>
                        <a:pt x="47528" y="0"/>
                        <a:pt x="56958" y="3913"/>
                        <a:pt x="64056" y="10985"/>
                      </a:cubicBezTo>
                      <a:cubicBezTo>
                        <a:pt x="71154" y="18083"/>
                        <a:pt x="75041" y="27488"/>
                        <a:pt x="75041" y="37521"/>
                      </a:cubicBezTo>
                      <a:cubicBezTo>
                        <a:pt x="75041" y="58212"/>
                        <a:pt x="58212" y="75041"/>
                        <a:pt x="37521" y="75041"/>
                      </a:cubicBezTo>
                      <a:lnTo>
                        <a:pt x="37521" y="75041"/>
                      </a:lnTo>
                      <a:close/>
                      <a:moveTo>
                        <a:pt x="37546" y="9957"/>
                      </a:moveTo>
                      <a:lnTo>
                        <a:pt x="37546" y="9957"/>
                      </a:lnTo>
                      <a:cubicBezTo>
                        <a:pt x="22322" y="9957"/>
                        <a:pt x="9957" y="22347"/>
                        <a:pt x="9957" y="37546"/>
                      </a:cubicBezTo>
                      <a:cubicBezTo>
                        <a:pt x="9957" y="44919"/>
                        <a:pt x="12816" y="51842"/>
                        <a:pt x="18033" y="57059"/>
                      </a:cubicBezTo>
                      <a:cubicBezTo>
                        <a:pt x="23250" y="62275"/>
                        <a:pt x="30172" y="65135"/>
                        <a:pt x="37546" y="65135"/>
                      </a:cubicBezTo>
                      <a:lnTo>
                        <a:pt x="37546" y="65135"/>
                      </a:lnTo>
                      <a:cubicBezTo>
                        <a:pt x="52745" y="65135"/>
                        <a:pt x="65134" y="52745"/>
                        <a:pt x="65134" y="37546"/>
                      </a:cubicBezTo>
                      <a:cubicBezTo>
                        <a:pt x="65134" y="30172"/>
                        <a:pt x="62275" y="23250"/>
                        <a:pt x="57059" y="18033"/>
                      </a:cubicBezTo>
                      <a:cubicBezTo>
                        <a:pt x="51817" y="12816"/>
                        <a:pt x="44895" y="9957"/>
                        <a:pt x="37546" y="9957"/>
                      </a:cubicBezTo>
                      <a:close/>
                    </a:path>
                  </a:pathLst>
                </a:custGeom>
                <a:solidFill>
                  <a:schemeClr val="accent1"/>
                </a:solidFill>
                <a:ln w="2503" cap="flat">
                  <a:noFill/>
                  <a:prstDash val="solid"/>
                  <a:miter/>
                </a:ln>
              </p:spPr>
              <p:txBody>
                <a:bodyPr rtlCol="0" anchor="ctr"/>
                <a:lstStyle/>
                <a:p>
                  <a:endParaRPr lang="en-GB" dirty="0"/>
                </a:p>
              </p:txBody>
            </p:sp>
            <p:grpSp>
              <p:nvGrpSpPr>
                <p:cNvPr id="77" name="Grafik 16">
                  <a:extLst>
                    <a:ext uri="{FF2B5EF4-FFF2-40B4-BE49-F238E27FC236}">
                      <a16:creationId xmlns:a16="http://schemas.microsoft.com/office/drawing/2014/main" id="{EF4984E8-28FA-4098-B32C-417638040BD0}"/>
                    </a:ext>
                  </a:extLst>
                </p:cNvPr>
                <p:cNvGrpSpPr/>
                <p:nvPr/>
              </p:nvGrpSpPr>
              <p:grpSpPr>
                <a:xfrm>
                  <a:off x="7298846" y="1884738"/>
                  <a:ext cx="118631" cy="75041"/>
                  <a:chOff x="7298846" y="1884738"/>
                  <a:chExt cx="118631" cy="75041"/>
                </a:xfrm>
                <a:solidFill>
                  <a:schemeClr val="accent1"/>
                </a:solidFill>
              </p:grpSpPr>
              <p:sp>
                <p:nvSpPr>
                  <p:cNvPr id="80" name="Freihandform: Form 891">
                    <a:extLst>
                      <a:ext uri="{FF2B5EF4-FFF2-40B4-BE49-F238E27FC236}">
                        <a16:creationId xmlns:a16="http://schemas.microsoft.com/office/drawing/2014/main" id="{170384A4-52E5-4457-A476-CD265AEE0854}"/>
                      </a:ext>
                    </a:extLst>
                  </p:cNvPr>
                  <p:cNvSpPr/>
                  <p:nvPr/>
                </p:nvSpPr>
                <p:spPr>
                  <a:xfrm>
                    <a:off x="7342437" y="1884738"/>
                    <a:ext cx="75041" cy="75041"/>
                  </a:xfrm>
                  <a:custGeom>
                    <a:avLst/>
                    <a:gdLst>
                      <a:gd name="connsiteX0" fmla="*/ 37521 w 75041"/>
                      <a:gd name="connsiteY0" fmla="*/ 75041 h 75041"/>
                      <a:gd name="connsiteX1" fmla="*/ 10985 w 75041"/>
                      <a:gd name="connsiteY1" fmla="*/ 64056 h 75041"/>
                      <a:gd name="connsiteX2" fmla="*/ 0 w 75041"/>
                      <a:gd name="connsiteY2" fmla="*/ 37521 h 75041"/>
                      <a:gd name="connsiteX3" fmla="*/ 37521 w 75041"/>
                      <a:gd name="connsiteY3" fmla="*/ 0 h 75041"/>
                      <a:gd name="connsiteX4" fmla="*/ 37521 w 75041"/>
                      <a:gd name="connsiteY4" fmla="*/ 0 h 75041"/>
                      <a:gd name="connsiteX5" fmla="*/ 64056 w 75041"/>
                      <a:gd name="connsiteY5" fmla="*/ 10985 h 75041"/>
                      <a:gd name="connsiteX6" fmla="*/ 75042 w 75041"/>
                      <a:gd name="connsiteY6" fmla="*/ 37521 h 75041"/>
                      <a:gd name="connsiteX7" fmla="*/ 37521 w 75041"/>
                      <a:gd name="connsiteY7" fmla="*/ 75041 h 75041"/>
                      <a:gd name="connsiteX8" fmla="*/ 37521 w 75041"/>
                      <a:gd name="connsiteY8" fmla="*/ 75041 h 75041"/>
                      <a:gd name="connsiteX9" fmla="*/ 37546 w 75041"/>
                      <a:gd name="connsiteY9" fmla="*/ 9957 h 75041"/>
                      <a:gd name="connsiteX10" fmla="*/ 37546 w 75041"/>
                      <a:gd name="connsiteY10" fmla="*/ 9957 h 75041"/>
                      <a:gd name="connsiteX11" fmla="*/ 9957 w 75041"/>
                      <a:gd name="connsiteY11" fmla="*/ 37546 h 75041"/>
                      <a:gd name="connsiteX12" fmla="*/ 18033 w 75041"/>
                      <a:gd name="connsiteY12" fmla="*/ 57059 h 75041"/>
                      <a:gd name="connsiteX13" fmla="*/ 37546 w 75041"/>
                      <a:gd name="connsiteY13" fmla="*/ 65135 h 75041"/>
                      <a:gd name="connsiteX14" fmla="*/ 37546 w 75041"/>
                      <a:gd name="connsiteY14" fmla="*/ 65135 h 75041"/>
                      <a:gd name="connsiteX15" fmla="*/ 65135 w 75041"/>
                      <a:gd name="connsiteY15" fmla="*/ 37546 h 75041"/>
                      <a:gd name="connsiteX16" fmla="*/ 57059 w 75041"/>
                      <a:gd name="connsiteY16" fmla="*/ 18033 h 75041"/>
                      <a:gd name="connsiteX17" fmla="*/ 37546 w 75041"/>
                      <a:gd name="connsiteY17" fmla="*/ 9957 h 7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041" h="75041">
                        <a:moveTo>
                          <a:pt x="37521" y="75041"/>
                        </a:moveTo>
                        <a:cubicBezTo>
                          <a:pt x="27514" y="75041"/>
                          <a:pt x="18083" y="71154"/>
                          <a:pt x="10985" y="64056"/>
                        </a:cubicBezTo>
                        <a:cubicBezTo>
                          <a:pt x="3888" y="56958"/>
                          <a:pt x="0" y="47553"/>
                          <a:pt x="0" y="37521"/>
                        </a:cubicBezTo>
                        <a:cubicBezTo>
                          <a:pt x="0" y="16829"/>
                          <a:pt x="16829" y="0"/>
                          <a:pt x="37521" y="0"/>
                        </a:cubicBezTo>
                        <a:lnTo>
                          <a:pt x="37521" y="0"/>
                        </a:lnTo>
                        <a:cubicBezTo>
                          <a:pt x="47528" y="0"/>
                          <a:pt x="56958" y="3913"/>
                          <a:pt x="64056" y="10985"/>
                        </a:cubicBezTo>
                        <a:cubicBezTo>
                          <a:pt x="71154" y="18083"/>
                          <a:pt x="75042" y="27488"/>
                          <a:pt x="75042" y="37521"/>
                        </a:cubicBezTo>
                        <a:cubicBezTo>
                          <a:pt x="75042" y="58212"/>
                          <a:pt x="58212" y="75041"/>
                          <a:pt x="37521" y="75041"/>
                        </a:cubicBezTo>
                        <a:lnTo>
                          <a:pt x="37521" y="75041"/>
                        </a:lnTo>
                        <a:close/>
                        <a:moveTo>
                          <a:pt x="37546" y="9957"/>
                        </a:moveTo>
                        <a:lnTo>
                          <a:pt x="37546" y="9957"/>
                        </a:lnTo>
                        <a:cubicBezTo>
                          <a:pt x="22322" y="9957"/>
                          <a:pt x="9957" y="22347"/>
                          <a:pt x="9957" y="37546"/>
                        </a:cubicBezTo>
                        <a:cubicBezTo>
                          <a:pt x="9957" y="44920"/>
                          <a:pt x="12816" y="51842"/>
                          <a:pt x="18033" y="57059"/>
                        </a:cubicBezTo>
                        <a:cubicBezTo>
                          <a:pt x="23250" y="62275"/>
                          <a:pt x="30172" y="65135"/>
                          <a:pt x="37546" y="65135"/>
                        </a:cubicBezTo>
                        <a:lnTo>
                          <a:pt x="37546" y="65135"/>
                        </a:lnTo>
                        <a:cubicBezTo>
                          <a:pt x="52745" y="65135"/>
                          <a:pt x="65135" y="52745"/>
                          <a:pt x="65135" y="37546"/>
                        </a:cubicBezTo>
                        <a:cubicBezTo>
                          <a:pt x="65135" y="30172"/>
                          <a:pt x="62275" y="23250"/>
                          <a:pt x="57059" y="18033"/>
                        </a:cubicBezTo>
                        <a:cubicBezTo>
                          <a:pt x="51817" y="12816"/>
                          <a:pt x="44895" y="9957"/>
                          <a:pt x="37546" y="9957"/>
                        </a:cubicBezTo>
                        <a:close/>
                      </a:path>
                    </a:pathLst>
                  </a:custGeom>
                  <a:solidFill>
                    <a:schemeClr val="accent1"/>
                  </a:solidFill>
                  <a:ln w="2503" cap="flat">
                    <a:noFill/>
                    <a:prstDash val="solid"/>
                    <a:miter/>
                  </a:ln>
                </p:spPr>
                <p:txBody>
                  <a:bodyPr rtlCol="0" anchor="ctr"/>
                  <a:lstStyle/>
                  <a:p>
                    <a:endParaRPr lang="en-GB" dirty="0"/>
                  </a:p>
                </p:txBody>
              </p:sp>
              <p:sp>
                <p:nvSpPr>
                  <p:cNvPr id="81" name="Freihandform: Form 892">
                    <a:extLst>
                      <a:ext uri="{FF2B5EF4-FFF2-40B4-BE49-F238E27FC236}">
                        <a16:creationId xmlns:a16="http://schemas.microsoft.com/office/drawing/2014/main" id="{203F2F5B-AA74-4BF1-A4AB-90AE6AD8F704}"/>
                      </a:ext>
                    </a:extLst>
                  </p:cNvPr>
                  <p:cNvSpPr/>
                  <p:nvPr/>
                </p:nvSpPr>
                <p:spPr>
                  <a:xfrm>
                    <a:off x="7298846" y="1917869"/>
                    <a:ext cx="52418" cy="9931"/>
                  </a:xfrm>
                  <a:custGeom>
                    <a:avLst/>
                    <a:gdLst>
                      <a:gd name="connsiteX0" fmla="*/ 47453 w 52418"/>
                      <a:gd name="connsiteY0" fmla="*/ 9932 h 9931"/>
                      <a:gd name="connsiteX1" fmla="*/ 4966 w 52418"/>
                      <a:gd name="connsiteY1" fmla="*/ 9932 h 9931"/>
                      <a:gd name="connsiteX2" fmla="*/ 0 w 52418"/>
                      <a:gd name="connsiteY2" fmla="*/ 4966 h 9931"/>
                      <a:gd name="connsiteX3" fmla="*/ 4966 w 52418"/>
                      <a:gd name="connsiteY3" fmla="*/ 0 h 9931"/>
                      <a:gd name="connsiteX4" fmla="*/ 47453 w 52418"/>
                      <a:gd name="connsiteY4" fmla="*/ 0 h 9931"/>
                      <a:gd name="connsiteX5" fmla="*/ 52419 w 52418"/>
                      <a:gd name="connsiteY5" fmla="*/ 4966 h 9931"/>
                      <a:gd name="connsiteX6" fmla="*/ 47453 w 52418"/>
                      <a:gd name="connsiteY6" fmla="*/ 9932 h 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418" h="9931">
                        <a:moveTo>
                          <a:pt x="47453" y="9932"/>
                        </a:moveTo>
                        <a:lnTo>
                          <a:pt x="4966" y="9932"/>
                        </a:lnTo>
                        <a:cubicBezTo>
                          <a:pt x="2232" y="9932"/>
                          <a:pt x="0" y="7700"/>
                          <a:pt x="0" y="4966"/>
                        </a:cubicBezTo>
                        <a:cubicBezTo>
                          <a:pt x="0" y="2232"/>
                          <a:pt x="2232" y="0"/>
                          <a:pt x="4966" y="0"/>
                        </a:cubicBezTo>
                        <a:lnTo>
                          <a:pt x="47453" y="0"/>
                        </a:lnTo>
                        <a:cubicBezTo>
                          <a:pt x="50186" y="0"/>
                          <a:pt x="52419" y="2232"/>
                          <a:pt x="52419" y="4966"/>
                        </a:cubicBezTo>
                        <a:cubicBezTo>
                          <a:pt x="52419" y="7700"/>
                          <a:pt x="50212" y="9932"/>
                          <a:pt x="47453" y="9932"/>
                        </a:cubicBezTo>
                        <a:close/>
                      </a:path>
                    </a:pathLst>
                  </a:custGeom>
                  <a:solidFill>
                    <a:schemeClr val="accent1"/>
                  </a:solidFill>
                  <a:ln w="2503" cap="flat">
                    <a:noFill/>
                    <a:prstDash val="solid"/>
                    <a:miter/>
                  </a:ln>
                </p:spPr>
                <p:txBody>
                  <a:bodyPr rtlCol="0" anchor="ctr"/>
                  <a:lstStyle/>
                  <a:p>
                    <a:endParaRPr lang="en-GB" dirty="0"/>
                  </a:p>
                </p:txBody>
              </p:sp>
            </p:grpSp>
            <p:sp>
              <p:nvSpPr>
                <p:cNvPr id="78" name="Freihandform: Form 893">
                  <a:extLst>
                    <a:ext uri="{FF2B5EF4-FFF2-40B4-BE49-F238E27FC236}">
                      <a16:creationId xmlns:a16="http://schemas.microsoft.com/office/drawing/2014/main" id="{39074E97-39BC-4579-97E2-1D33755957F5}"/>
                    </a:ext>
                  </a:extLst>
                </p:cNvPr>
                <p:cNvSpPr/>
                <p:nvPr/>
              </p:nvSpPr>
              <p:spPr>
                <a:xfrm>
                  <a:off x="7297125" y="1790925"/>
                  <a:ext cx="127514" cy="64242"/>
                </a:xfrm>
                <a:custGeom>
                  <a:avLst/>
                  <a:gdLst>
                    <a:gd name="connsiteX0" fmla="*/ 4957 w 127514"/>
                    <a:gd name="connsiteY0" fmla="*/ 64243 h 64242"/>
                    <a:gd name="connsiteX1" fmla="*/ 41 w 127514"/>
                    <a:gd name="connsiteY1" fmla="*/ 59904 h 64242"/>
                    <a:gd name="connsiteX2" fmla="*/ 4330 w 127514"/>
                    <a:gd name="connsiteY2" fmla="*/ 54336 h 64242"/>
                    <a:gd name="connsiteX3" fmla="*/ 105054 w 127514"/>
                    <a:gd name="connsiteY3" fmla="*/ 41269 h 64242"/>
                    <a:gd name="connsiteX4" fmla="*/ 117845 w 127514"/>
                    <a:gd name="connsiteY4" fmla="*/ 3372 h 64242"/>
                    <a:gd name="connsiteX5" fmla="*/ 124141 w 127514"/>
                    <a:gd name="connsiteY5" fmla="*/ 262 h 64242"/>
                    <a:gd name="connsiteX6" fmla="*/ 127251 w 127514"/>
                    <a:gd name="connsiteY6" fmla="*/ 6557 h 64242"/>
                    <a:gd name="connsiteX7" fmla="*/ 113456 w 127514"/>
                    <a:gd name="connsiteY7" fmla="*/ 47388 h 64242"/>
                    <a:gd name="connsiteX8" fmla="*/ 109393 w 127514"/>
                    <a:gd name="connsiteY8" fmla="*/ 50724 h 64242"/>
                    <a:gd name="connsiteX9" fmla="*/ 5584 w 127514"/>
                    <a:gd name="connsiteY9" fmla="*/ 64167 h 64242"/>
                    <a:gd name="connsiteX10" fmla="*/ 4957 w 127514"/>
                    <a:gd name="connsiteY10" fmla="*/ 64243 h 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14" h="64242">
                      <a:moveTo>
                        <a:pt x="4957" y="64243"/>
                      </a:moveTo>
                      <a:cubicBezTo>
                        <a:pt x="2499" y="64243"/>
                        <a:pt x="367" y="62412"/>
                        <a:pt x="41" y="59904"/>
                      </a:cubicBezTo>
                      <a:cubicBezTo>
                        <a:pt x="-310" y="57195"/>
                        <a:pt x="1621" y="54687"/>
                        <a:pt x="4330" y="54336"/>
                      </a:cubicBezTo>
                      <a:lnTo>
                        <a:pt x="105054" y="41269"/>
                      </a:lnTo>
                      <a:lnTo>
                        <a:pt x="117845" y="3372"/>
                      </a:lnTo>
                      <a:cubicBezTo>
                        <a:pt x="118723" y="788"/>
                        <a:pt x="121532" y="-616"/>
                        <a:pt x="124141" y="262"/>
                      </a:cubicBezTo>
                      <a:cubicBezTo>
                        <a:pt x="126749" y="1140"/>
                        <a:pt x="128128" y="3949"/>
                        <a:pt x="127251" y="6557"/>
                      </a:cubicBezTo>
                      <a:lnTo>
                        <a:pt x="113456" y="47388"/>
                      </a:lnTo>
                      <a:cubicBezTo>
                        <a:pt x="112854" y="49194"/>
                        <a:pt x="111274" y="50473"/>
                        <a:pt x="109393" y="50724"/>
                      </a:cubicBezTo>
                      <a:lnTo>
                        <a:pt x="5584" y="64167"/>
                      </a:lnTo>
                      <a:cubicBezTo>
                        <a:pt x="5383" y="64243"/>
                        <a:pt x="5183" y="64243"/>
                        <a:pt x="4957" y="64243"/>
                      </a:cubicBezTo>
                      <a:close/>
                    </a:path>
                  </a:pathLst>
                </a:custGeom>
                <a:solidFill>
                  <a:schemeClr val="accent1"/>
                </a:solidFill>
                <a:ln w="2503" cap="flat">
                  <a:noFill/>
                  <a:prstDash val="solid"/>
                  <a:miter/>
                </a:ln>
              </p:spPr>
              <p:txBody>
                <a:bodyPr rtlCol="0" anchor="ctr"/>
                <a:lstStyle/>
                <a:p>
                  <a:endParaRPr lang="en-GB" dirty="0"/>
                </a:p>
              </p:txBody>
            </p:sp>
            <p:sp>
              <p:nvSpPr>
                <p:cNvPr id="79" name="Freihandform: Form 894">
                  <a:extLst>
                    <a:ext uri="{FF2B5EF4-FFF2-40B4-BE49-F238E27FC236}">
                      <a16:creationId xmlns:a16="http://schemas.microsoft.com/office/drawing/2014/main" id="{229FD399-14B0-42DB-B934-DF29E2F5C0D6}"/>
                    </a:ext>
                  </a:extLst>
                </p:cNvPr>
                <p:cNvSpPr/>
                <p:nvPr/>
              </p:nvSpPr>
              <p:spPr>
                <a:xfrm>
                  <a:off x="7297150" y="1990461"/>
                  <a:ext cx="127537" cy="64248"/>
                </a:xfrm>
                <a:custGeom>
                  <a:avLst/>
                  <a:gdLst>
                    <a:gd name="connsiteX0" fmla="*/ 122560 w 127537"/>
                    <a:gd name="connsiteY0" fmla="*/ 64248 h 64248"/>
                    <a:gd name="connsiteX1" fmla="*/ 117845 w 127537"/>
                    <a:gd name="connsiteY1" fmla="*/ 60862 h 64248"/>
                    <a:gd name="connsiteX2" fmla="*/ 105054 w 127537"/>
                    <a:gd name="connsiteY2" fmla="*/ 22965 h 64248"/>
                    <a:gd name="connsiteX3" fmla="*/ 4330 w 127537"/>
                    <a:gd name="connsiteY3" fmla="*/ 9898 h 64248"/>
                    <a:gd name="connsiteX4" fmla="*/ 41 w 127537"/>
                    <a:gd name="connsiteY4" fmla="*/ 4330 h 64248"/>
                    <a:gd name="connsiteX5" fmla="*/ 5609 w 127537"/>
                    <a:gd name="connsiteY5" fmla="*/ 42 h 64248"/>
                    <a:gd name="connsiteX6" fmla="*/ 109418 w 127537"/>
                    <a:gd name="connsiteY6" fmla="*/ 13510 h 64248"/>
                    <a:gd name="connsiteX7" fmla="*/ 113481 w 127537"/>
                    <a:gd name="connsiteY7" fmla="*/ 16846 h 64248"/>
                    <a:gd name="connsiteX8" fmla="*/ 127276 w 127537"/>
                    <a:gd name="connsiteY8" fmla="*/ 57677 h 64248"/>
                    <a:gd name="connsiteX9" fmla="*/ 124166 w 127537"/>
                    <a:gd name="connsiteY9" fmla="*/ 63972 h 64248"/>
                    <a:gd name="connsiteX10" fmla="*/ 122560 w 127537"/>
                    <a:gd name="connsiteY10" fmla="*/ 64248 h 64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7" h="64248">
                      <a:moveTo>
                        <a:pt x="122560" y="64248"/>
                      </a:moveTo>
                      <a:cubicBezTo>
                        <a:pt x="120479" y="64248"/>
                        <a:pt x="118548" y="62944"/>
                        <a:pt x="117845" y="60862"/>
                      </a:cubicBezTo>
                      <a:lnTo>
                        <a:pt x="105054" y="22965"/>
                      </a:lnTo>
                      <a:lnTo>
                        <a:pt x="4330" y="9898"/>
                      </a:lnTo>
                      <a:cubicBezTo>
                        <a:pt x="1621" y="9547"/>
                        <a:pt x="-310" y="7064"/>
                        <a:pt x="41" y="4330"/>
                      </a:cubicBezTo>
                      <a:cubicBezTo>
                        <a:pt x="392" y="1597"/>
                        <a:pt x="2850" y="-309"/>
                        <a:pt x="5609" y="42"/>
                      </a:cubicBezTo>
                      <a:lnTo>
                        <a:pt x="109418" y="13510"/>
                      </a:lnTo>
                      <a:cubicBezTo>
                        <a:pt x="111299" y="13761"/>
                        <a:pt x="112879" y="15040"/>
                        <a:pt x="113481" y="16846"/>
                      </a:cubicBezTo>
                      <a:lnTo>
                        <a:pt x="127276" y="57677"/>
                      </a:lnTo>
                      <a:cubicBezTo>
                        <a:pt x="128153" y="60286"/>
                        <a:pt x="126749" y="63095"/>
                        <a:pt x="124166" y="63972"/>
                      </a:cubicBezTo>
                      <a:cubicBezTo>
                        <a:pt x="123614" y="64148"/>
                        <a:pt x="123062" y="64248"/>
                        <a:pt x="122560" y="64248"/>
                      </a:cubicBezTo>
                      <a:close/>
                    </a:path>
                  </a:pathLst>
                </a:custGeom>
                <a:solidFill>
                  <a:schemeClr val="accent1"/>
                </a:solidFill>
                <a:ln w="2503" cap="flat">
                  <a:noFill/>
                  <a:prstDash val="solid"/>
                  <a:miter/>
                </a:ln>
              </p:spPr>
              <p:txBody>
                <a:bodyPr rtlCol="0" anchor="ctr"/>
                <a:lstStyle/>
                <a:p>
                  <a:endParaRPr lang="en-GB" dirty="0"/>
                </a:p>
              </p:txBody>
            </p:sp>
          </p:grpSp>
          <p:grpSp>
            <p:nvGrpSpPr>
              <p:cNvPr id="67" name="Group 66">
                <a:extLst>
                  <a:ext uri="{FF2B5EF4-FFF2-40B4-BE49-F238E27FC236}">
                    <a16:creationId xmlns:a16="http://schemas.microsoft.com/office/drawing/2014/main" id="{DB9D7507-6EAF-44AE-BC20-1D2E0669DF0C}"/>
                  </a:ext>
                </a:extLst>
              </p:cNvPr>
              <p:cNvGrpSpPr/>
              <p:nvPr/>
            </p:nvGrpSpPr>
            <p:grpSpPr>
              <a:xfrm>
                <a:off x="6913105" y="1725851"/>
                <a:ext cx="160106" cy="395046"/>
                <a:chOff x="6913105" y="1725851"/>
                <a:chExt cx="160106" cy="395046"/>
              </a:xfrm>
            </p:grpSpPr>
            <p:sp>
              <p:nvSpPr>
                <p:cNvPr id="68" name="Freihandform: Form 896">
                  <a:extLst>
                    <a:ext uri="{FF2B5EF4-FFF2-40B4-BE49-F238E27FC236}">
                      <a16:creationId xmlns:a16="http://schemas.microsoft.com/office/drawing/2014/main" id="{A52856BA-4B77-4196-A163-24F5038EA581}"/>
                    </a:ext>
                  </a:extLst>
                </p:cNvPr>
                <p:cNvSpPr/>
                <p:nvPr/>
              </p:nvSpPr>
              <p:spPr>
                <a:xfrm>
                  <a:off x="6913105" y="1725851"/>
                  <a:ext cx="75041" cy="75041"/>
                </a:xfrm>
                <a:custGeom>
                  <a:avLst/>
                  <a:gdLst>
                    <a:gd name="connsiteX0" fmla="*/ 37521 w 75041"/>
                    <a:gd name="connsiteY0" fmla="*/ 75041 h 75041"/>
                    <a:gd name="connsiteX1" fmla="*/ 37521 w 75041"/>
                    <a:gd name="connsiteY1" fmla="*/ 75041 h 75041"/>
                    <a:gd name="connsiteX2" fmla="*/ 0 w 75041"/>
                    <a:gd name="connsiteY2" fmla="*/ 37521 h 75041"/>
                    <a:gd name="connsiteX3" fmla="*/ 0 w 75041"/>
                    <a:gd name="connsiteY3" fmla="*/ 37521 h 75041"/>
                    <a:gd name="connsiteX4" fmla="*/ 37521 w 75041"/>
                    <a:gd name="connsiteY4" fmla="*/ 0 h 75041"/>
                    <a:gd name="connsiteX5" fmla="*/ 37521 w 75041"/>
                    <a:gd name="connsiteY5" fmla="*/ 0 h 75041"/>
                    <a:gd name="connsiteX6" fmla="*/ 64056 w 75041"/>
                    <a:gd name="connsiteY6" fmla="*/ 10985 h 75041"/>
                    <a:gd name="connsiteX7" fmla="*/ 75042 w 75041"/>
                    <a:gd name="connsiteY7" fmla="*/ 37521 h 75041"/>
                    <a:gd name="connsiteX8" fmla="*/ 64056 w 75041"/>
                    <a:gd name="connsiteY8" fmla="*/ 64056 h 75041"/>
                    <a:gd name="connsiteX9" fmla="*/ 37521 w 75041"/>
                    <a:gd name="connsiteY9" fmla="*/ 75041 h 75041"/>
                    <a:gd name="connsiteX10" fmla="*/ 9932 w 75041"/>
                    <a:gd name="connsiteY10" fmla="*/ 37521 h 75041"/>
                    <a:gd name="connsiteX11" fmla="*/ 37521 w 75041"/>
                    <a:gd name="connsiteY11" fmla="*/ 65109 h 75041"/>
                    <a:gd name="connsiteX12" fmla="*/ 37521 w 75041"/>
                    <a:gd name="connsiteY12" fmla="*/ 65109 h 75041"/>
                    <a:gd name="connsiteX13" fmla="*/ 57033 w 75041"/>
                    <a:gd name="connsiteY13" fmla="*/ 57034 h 75041"/>
                    <a:gd name="connsiteX14" fmla="*/ 65110 w 75041"/>
                    <a:gd name="connsiteY14" fmla="*/ 37521 h 75041"/>
                    <a:gd name="connsiteX15" fmla="*/ 57033 w 75041"/>
                    <a:gd name="connsiteY15" fmla="*/ 18008 h 75041"/>
                    <a:gd name="connsiteX16" fmla="*/ 37521 w 75041"/>
                    <a:gd name="connsiteY16" fmla="*/ 9932 h 75041"/>
                    <a:gd name="connsiteX17" fmla="*/ 37521 w 75041"/>
                    <a:gd name="connsiteY17" fmla="*/ 9932 h 75041"/>
                    <a:gd name="connsiteX18" fmla="*/ 9932 w 75041"/>
                    <a:gd name="connsiteY18" fmla="*/ 37521 h 75041"/>
                    <a:gd name="connsiteX19" fmla="*/ 9932 w 75041"/>
                    <a:gd name="connsiteY19" fmla="*/ 37521 h 7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041" h="75041">
                      <a:moveTo>
                        <a:pt x="37521" y="75041"/>
                      </a:moveTo>
                      <a:lnTo>
                        <a:pt x="37521" y="75041"/>
                      </a:lnTo>
                      <a:cubicBezTo>
                        <a:pt x="16829" y="75041"/>
                        <a:pt x="0" y="58212"/>
                        <a:pt x="0" y="37521"/>
                      </a:cubicBezTo>
                      <a:lnTo>
                        <a:pt x="0" y="37521"/>
                      </a:lnTo>
                      <a:cubicBezTo>
                        <a:pt x="0" y="16829"/>
                        <a:pt x="16829" y="0"/>
                        <a:pt x="37521" y="0"/>
                      </a:cubicBezTo>
                      <a:lnTo>
                        <a:pt x="37521" y="0"/>
                      </a:lnTo>
                      <a:cubicBezTo>
                        <a:pt x="47553" y="0"/>
                        <a:pt x="56958" y="3913"/>
                        <a:pt x="64056" y="10985"/>
                      </a:cubicBezTo>
                      <a:cubicBezTo>
                        <a:pt x="71129" y="18083"/>
                        <a:pt x="75042" y="27488"/>
                        <a:pt x="75042" y="37521"/>
                      </a:cubicBezTo>
                      <a:cubicBezTo>
                        <a:pt x="75042" y="47528"/>
                        <a:pt x="71129" y="56958"/>
                        <a:pt x="64056" y="64056"/>
                      </a:cubicBezTo>
                      <a:cubicBezTo>
                        <a:pt x="56958" y="71129"/>
                        <a:pt x="47553" y="75041"/>
                        <a:pt x="37521" y="75041"/>
                      </a:cubicBezTo>
                      <a:close/>
                      <a:moveTo>
                        <a:pt x="9932" y="37521"/>
                      </a:moveTo>
                      <a:cubicBezTo>
                        <a:pt x="9932" y="52720"/>
                        <a:pt x="22297" y="65109"/>
                        <a:pt x="37521" y="65109"/>
                      </a:cubicBezTo>
                      <a:lnTo>
                        <a:pt x="37521" y="65109"/>
                      </a:lnTo>
                      <a:cubicBezTo>
                        <a:pt x="44895" y="65109"/>
                        <a:pt x="51817" y="62250"/>
                        <a:pt x="57033" y="57034"/>
                      </a:cubicBezTo>
                      <a:cubicBezTo>
                        <a:pt x="62250" y="51817"/>
                        <a:pt x="65110" y="44894"/>
                        <a:pt x="65110" y="37521"/>
                      </a:cubicBezTo>
                      <a:cubicBezTo>
                        <a:pt x="65110" y="30147"/>
                        <a:pt x="62250" y="23225"/>
                        <a:pt x="57033" y="18008"/>
                      </a:cubicBezTo>
                      <a:cubicBezTo>
                        <a:pt x="51817" y="12791"/>
                        <a:pt x="44895" y="9932"/>
                        <a:pt x="37521" y="9932"/>
                      </a:cubicBezTo>
                      <a:lnTo>
                        <a:pt x="37521" y="9932"/>
                      </a:lnTo>
                      <a:cubicBezTo>
                        <a:pt x="22322" y="9932"/>
                        <a:pt x="9932" y="22297"/>
                        <a:pt x="9932" y="37521"/>
                      </a:cubicBezTo>
                      <a:lnTo>
                        <a:pt x="9932" y="37521"/>
                      </a:lnTo>
                      <a:close/>
                    </a:path>
                  </a:pathLst>
                </a:custGeom>
                <a:solidFill>
                  <a:schemeClr val="accent1"/>
                </a:solidFill>
                <a:ln w="2503" cap="flat">
                  <a:noFill/>
                  <a:prstDash val="solid"/>
                  <a:miter/>
                </a:ln>
              </p:spPr>
              <p:txBody>
                <a:bodyPr rtlCol="0" anchor="ctr"/>
                <a:lstStyle/>
                <a:p>
                  <a:endParaRPr lang="en-GB" dirty="0"/>
                </a:p>
              </p:txBody>
            </p:sp>
            <p:sp>
              <p:nvSpPr>
                <p:cNvPr id="69" name="Freihandform: Form 897">
                  <a:extLst>
                    <a:ext uri="{FF2B5EF4-FFF2-40B4-BE49-F238E27FC236}">
                      <a16:creationId xmlns:a16="http://schemas.microsoft.com/office/drawing/2014/main" id="{FF6B6259-54EC-4F73-BFAE-371031C7A60E}"/>
                    </a:ext>
                  </a:extLst>
                </p:cNvPr>
                <p:cNvSpPr/>
                <p:nvPr/>
              </p:nvSpPr>
              <p:spPr>
                <a:xfrm>
                  <a:off x="6913105" y="2045856"/>
                  <a:ext cx="75041" cy="75041"/>
                </a:xfrm>
                <a:custGeom>
                  <a:avLst/>
                  <a:gdLst>
                    <a:gd name="connsiteX0" fmla="*/ 37521 w 75041"/>
                    <a:gd name="connsiteY0" fmla="*/ 75041 h 75041"/>
                    <a:gd name="connsiteX1" fmla="*/ 37521 w 75041"/>
                    <a:gd name="connsiteY1" fmla="*/ 75041 h 75041"/>
                    <a:gd name="connsiteX2" fmla="*/ 0 w 75041"/>
                    <a:gd name="connsiteY2" fmla="*/ 37521 h 75041"/>
                    <a:gd name="connsiteX3" fmla="*/ 0 w 75041"/>
                    <a:gd name="connsiteY3" fmla="*/ 37521 h 75041"/>
                    <a:gd name="connsiteX4" fmla="*/ 37521 w 75041"/>
                    <a:gd name="connsiteY4" fmla="*/ 0 h 75041"/>
                    <a:gd name="connsiteX5" fmla="*/ 37521 w 75041"/>
                    <a:gd name="connsiteY5" fmla="*/ 0 h 75041"/>
                    <a:gd name="connsiteX6" fmla="*/ 64056 w 75041"/>
                    <a:gd name="connsiteY6" fmla="*/ 10985 h 75041"/>
                    <a:gd name="connsiteX7" fmla="*/ 75042 w 75041"/>
                    <a:gd name="connsiteY7" fmla="*/ 37521 h 75041"/>
                    <a:gd name="connsiteX8" fmla="*/ 64056 w 75041"/>
                    <a:gd name="connsiteY8" fmla="*/ 64056 h 75041"/>
                    <a:gd name="connsiteX9" fmla="*/ 37521 w 75041"/>
                    <a:gd name="connsiteY9" fmla="*/ 75041 h 75041"/>
                    <a:gd name="connsiteX10" fmla="*/ 9932 w 75041"/>
                    <a:gd name="connsiteY10" fmla="*/ 37521 h 75041"/>
                    <a:gd name="connsiteX11" fmla="*/ 37521 w 75041"/>
                    <a:gd name="connsiteY11" fmla="*/ 65109 h 75041"/>
                    <a:gd name="connsiteX12" fmla="*/ 37521 w 75041"/>
                    <a:gd name="connsiteY12" fmla="*/ 65109 h 75041"/>
                    <a:gd name="connsiteX13" fmla="*/ 57033 w 75041"/>
                    <a:gd name="connsiteY13" fmla="*/ 57033 h 75041"/>
                    <a:gd name="connsiteX14" fmla="*/ 65110 w 75041"/>
                    <a:gd name="connsiteY14" fmla="*/ 37521 h 75041"/>
                    <a:gd name="connsiteX15" fmla="*/ 57033 w 75041"/>
                    <a:gd name="connsiteY15" fmla="*/ 18008 h 75041"/>
                    <a:gd name="connsiteX16" fmla="*/ 37521 w 75041"/>
                    <a:gd name="connsiteY16" fmla="*/ 9932 h 75041"/>
                    <a:gd name="connsiteX17" fmla="*/ 37521 w 75041"/>
                    <a:gd name="connsiteY17" fmla="*/ 9932 h 75041"/>
                    <a:gd name="connsiteX18" fmla="*/ 9932 w 75041"/>
                    <a:gd name="connsiteY18" fmla="*/ 37521 h 75041"/>
                    <a:gd name="connsiteX19" fmla="*/ 9932 w 75041"/>
                    <a:gd name="connsiteY19" fmla="*/ 37521 h 7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041" h="75041">
                      <a:moveTo>
                        <a:pt x="37521" y="75041"/>
                      </a:moveTo>
                      <a:lnTo>
                        <a:pt x="37521" y="75041"/>
                      </a:lnTo>
                      <a:cubicBezTo>
                        <a:pt x="16829" y="75041"/>
                        <a:pt x="0" y="58212"/>
                        <a:pt x="0" y="37521"/>
                      </a:cubicBezTo>
                      <a:cubicBezTo>
                        <a:pt x="0" y="37521"/>
                        <a:pt x="0" y="37521"/>
                        <a:pt x="0" y="37521"/>
                      </a:cubicBezTo>
                      <a:cubicBezTo>
                        <a:pt x="0" y="16829"/>
                        <a:pt x="16829" y="0"/>
                        <a:pt x="37521" y="0"/>
                      </a:cubicBezTo>
                      <a:lnTo>
                        <a:pt x="37521" y="0"/>
                      </a:lnTo>
                      <a:cubicBezTo>
                        <a:pt x="47553" y="0"/>
                        <a:pt x="56958" y="3913"/>
                        <a:pt x="64056" y="10985"/>
                      </a:cubicBezTo>
                      <a:cubicBezTo>
                        <a:pt x="71129" y="18083"/>
                        <a:pt x="75042" y="27488"/>
                        <a:pt x="75042" y="37521"/>
                      </a:cubicBezTo>
                      <a:cubicBezTo>
                        <a:pt x="75042" y="47528"/>
                        <a:pt x="71129" y="56958"/>
                        <a:pt x="64056" y="64056"/>
                      </a:cubicBezTo>
                      <a:cubicBezTo>
                        <a:pt x="56958" y="71154"/>
                        <a:pt x="47553" y="75041"/>
                        <a:pt x="37521" y="75041"/>
                      </a:cubicBezTo>
                      <a:close/>
                      <a:moveTo>
                        <a:pt x="9932" y="37521"/>
                      </a:moveTo>
                      <a:cubicBezTo>
                        <a:pt x="9932" y="52745"/>
                        <a:pt x="22297" y="65109"/>
                        <a:pt x="37521" y="65109"/>
                      </a:cubicBezTo>
                      <a:lnTo>
                        <a:pt x="37521" y="65109"/>
                      </a:lnTo>
                      <a:cubicBezTo>
                        <a:pt x="44895" y="65109"/>
                        <a:pt x="51817" y="62250"/>
                        <a:pt x="57033" y="57033"/>
                      </a:cubicBezTo>
                      <a:cubicBezTo>
                        <a:pt x="62250" y="51817"/>
                        <a:pt x="65110" y="44894"/>
                        <a:pt x="65110" y="37521"/>
                      </a:cubicBezTo>
                      <a:cubicBezTo>
                        <a:pt x="65110" y="30147"/>
                        <a:pt x="62250" y="23225"/>
                        <a:pt x="57033" y="18008"/>
                      </a:cubicBezTo>
                      <a:cubicBezTo>
                        <a:pt x="51817" y="12791"/>
                        <a:pt x="44895" y="9932"/>
                        <a:pt x="37521" y="9932"/>
                      </a:cubicBezTo>
                      <a:lnTo>
                        <a:pt x="37521" y="9932"/>
                      </a:lnTo>
                      <a:cubicBezTo>
                        <a:pt x="22322" y="9957"/>
                        <a:pt x="9932" y="22322"/>
                        <a:pt x="9932" y="37521"/>
                      </a:cubicBezTo>
                      <a:lnTo>
                        <a:pt x="9932" y="37521"/>
                      </a:lnTo>
                      <a:close/>
                    </a:path>
                  </a:pathLst>
                </a:custGeom>
                <a:solidFill>
                  <a:schemeClr val="accent1"/>
                </a:solidFill>
                <a:ln w="2503" cap="flat">
                  <a:noFill/>
                  <a:prstDash val="solid"/>
                  <a:miter/>
                </a:ln>
              </p:spPr>
              <p:txBody>
                <a:bodyPr rtlCol="0" anchor="ctr"/>
                <a:lstStyle/>
                <a:p>
                  <a:endParaRPr lang="en-GB" dirty="0"/>
                </a:p>
              </p:txBody>
            </p:sp>
            <p:grpSp>
              <p:nvGrpSpPr>
                <p:cNvPr id="70" name="Grafik 16">
                  <a:extLst>
                    <a:ext uri="{FF2B5EF4-FFF2-40B4-BE49-F238E27FC236}">
                      <a16:creationId xmlns:a16="http://schemas.microsoft.com/office/drawing/2014/main" id="{039290DB-1F49-4539-93B1-E3F9EB6192FE}"/>
                    </a:ext>
                  </a:extLst>
                </p:cNvPr>
                <p:cNvGrpSpPr/>
                <p:nvPr/>
              </p:nvGrpSpPr>
              <p:grpSpPr>
                <a:xfrm>
                  <a:off x="6952833" y="1884738"/>
                  <a:ext cx="118631" cy="75041"/>
                  <a:chOff x="6952833" y="1884738"/>
                  <a:chExt cx="118631" cy="75041"/>
                </a:xfrm>
                <a:solidFill>
                  <a:schemeClr val="accent1"/>
                </a:solidFill>
              </p:grpSpPr>
              <p:sp>
                <p:nvSpPr>
                  <p:cNvPr id="73" name="Freihandform: Form 899">
                    <a:extLst>
                      <a:ext uri="{FF2B5EF4-FFF2-40B4-BE49-F238E27FC236}">
                        <a16:creationId xmlns:a16="http://schemas.microsoft.com/office/drawing/2014/main" id="{63AC06B2-5A1C-4A77-8769-481BA3234FBB}"/>
                      </a:ext>
                    </a:extLst>
                  </p:cNvPr>
                  <p:cNvSpPr/>
                  <p:nvPr/>
                </p:nvSpPr>
                <p:spPr>
                  <a:xfrm>
                    <a:off x="6952833" y="1884738"/>
                    <a:ext cx="75041" cy="75041"/>
                  </a:xfrm>
                  <a:custGeom>
                    <a:avLst/>
                    <a:gdLst>
                      <a:gd name="connsiteX0" fmla="*/ 37521 w 75041"/>
                      <a:gd name="connsiteY0" fmla="*/ 75041 h 75041"/>
                      <a:gd name="connsiteX1" fmla="*/ 37521 w 75041"/>
                      <a:gd name="connsiteY1" fmla="*/ 75041 h 75041"/>
                      <a:gd name="connsiteX2" fmla="*/ 0 w 75041"/>
                      <a:gd name="connsiteY2" fmla="*/ 37521 h 75041"/>
                      <a:gd name="connsiteX3" fmla="*/ 0 w 75041"/>
                      <a:gd name="connsiteY3" fmla="*/ 37521 h 75041"/>
                      <a:gd name="connsiteX4" fmla="*/ 37521 w 75041"/>
                      <a:gd name="connsiteY4" fmla="*/ 0 h 75041"/>
                      <a:gd name="connsiteX5" fmla="*/ 37521 w 75041"/>
                      <a:gd name="connsiteY5" fmla="*/ 0 h 75041"/>
                      <a:gd name="connsiteX6" fmla="*/ 64056 w 75041"/>
                      <a:gd name="connsiteY6" fmla="*/ 10985 h 75041"/>
                      <a:gd name="connsiteX7" fmla="*/ 75041 w 75041"/>
                      <a:gd name="connsiteY7" fmla="*/ 37521 h 75041"/>
                      <a:gd name="connsiteX8" fmla="*/ 64056 w 75041"/>
                      <a:gd name="connsiteY8" fmla="*/ 64056 h 75041"/>
                      <a:gd name="connsiteX9" fmla="*/ 37521 w 75041"/>
                      <a:gd name="connsiteY9" fmla="*/ 75041 h 75041"/>
                      <a:gd name="connsiteX10" fmla="*/ 9932 w 75041"/>
                      <a:gd name="connsiteY10" fmla="*/ 37521 h 75041"/>
                      <a:gd name="connsiteX11" fmla="*/ 37521 w 75041"/>
                      <a:gd name="connsiteY11" fmla="*/ 65110 h 75041"/>
                      <a:gd name="connsiteX12" fmla="*/ 37521 w 75041"/>
                      <a:gd name="connsiteY12" fmla="*/ 65110 h 75041"/>
                      <a:gd name="connsiteX13" fmla="*/ 57033 w 75041"/>
                      <a:gd name="connsiteY13" fmla="*/ 57033 h 75041"/>
                      <a:gd name="connsiteX14" fmla="*/ 65109 w 75041"/>
                      <a:gd name="connsiteY14" fmla="*/ 37521 h 75041"/>
                      <a:gd name="connsiteX15" fmla="*/ 57033 w 75041"/>
                      <a:gd name="connsiteY15" fmla="*/ 18008 h 75041"/>
                      <a:gd name="connsiteX16" fmla="*/ 37521 w 75041"/>
                      <a:gd name="connsiteY16" fmla="*/ 9932 h 75041"/>
                      <a:gd name="connsiteX17" fmla="*/ 37521 w 75041"/>
                      <a:gd name="connsiteY17" fmla="*/ 9932 h 75041"/>
                      <a:gd name="connsiteX18" fmla="*/ 9932 w 75041"/>
                      <a:gd name="connsiteY18" fmla="*/ 37521 h 75041"/>
                      <a:gd name="connsiteX19" fmla="*/ 9932 w 75041"/>
                      <a:gd name="connsiteY19" fmla="*/ 37521 h 75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041" h="75041">
                        <a:moveTo>
                          <a:pt x="37521" y="75041"/>
                        </a:moveTo>
                        <a:lnTo>
                          <a:pt x="37521" y="75041"/>
                        </a:lnTo>
                        <a:cubicBezTo>
                          <a:pt x="16829" y="75041"/>
                          <a:pt x="0" y="58212"/>
                          <a:pt x="0" y="37521"/>
                        </a:cubicBezTo>
                        <a:lnTo>
                          <a:pt x="0" y="37521"/>
                        </a:lnTo>
                        <a:cubicBezTo>
                          <a:pt x="0" y="16829"/>
                          <a:pt x="16829" y="0"/>
                          <a:pt x="37521" y="0"/>
                        </a:cubicBezTo>
                        <a:lnTo>
                          <a:pt x="37521" y="0"/>
                        </a:lnTo>
                        <a:cubicBezTo>
                          <a:pt x="47553" y="0"/>
                          <a:pt x="56958" y="3913"/>
                          <a:pt x="64056" y="10985"/>
                        </a:cubicBezTo>
                        <a:cubicBezTo>
                          <a:pt x="71129" y="18083"/>
                          <a:pt x="75041" y="27488"/>
                          <a:pt x="75041" y="37521"/>
                        </a:cubicBezTo>
                        <a:cubicBezTo>
                          <a:pt x="75041" y="47528"/>
                          <a:pt x="71129" y="56958"/>
                          <a:pt x="64056" y="64056"/>
                        </a:cubicBezTo>
                        <a:cubicBezTo>
                          <a:pt x="56958" y="71154"/>
                          <a:pt x="47553" y="75041"/>
                          <a:pt x="37521" y="75041"/>
                        </a:cubicBezTo>
                        <a:close/>
                        <a:moveTo>
                          <a:pt x="9932" y="37521"/>
                        </a:moveTo>
                        <a:cubicBezTo>
                          <a:pt x="9932" y="52720"/>
                          <a:pt x="22297" y="65110"/>
                          <a:pt x="37521" y="65110"/>
                        </a:cubicBezTo>
                        <a:lnTo>
                          <a:pt x="37521" y="65110"/>
                        </a:lnTo>
                        <a:cubicBezTo>
                          <a:pt x="44894" y="65110"/>
                          <a:pt x="51817" y="62250"/>
                          <a:pt x="57033" y="57033"/>
                        </a:cubicBezTo>
                        <a:cubicBezTo>
                          <a:pt x="62250" y="51817"/>
                          <a:pt x="65109" y="44894"/>
                          <a:pt x="65109" y="37521"/>
                        </a:cubicBezTo>
                        <a:cubicBezTo>
                          <a:pt x="65109" y="30147"/>
                          <a:pt x="62250" y="23225"/>
                          <a:pt x="57033" y="18008"/>
                        </a:cubicBezTo>
                        <a:cubicBezTo>
                          <a:pt x="51817" y="12791"/>
                          <a:pt x="44894" y="9932"/>
                          <a:pt x="37521" y="9932"/>
                        </a:cubicBezTo>
                        <a:lnTo>
                          <a:pt x="37521" y="9932"/>
                        </a:lnTo>
                        <a:cubicBezTo>
                          <a:pt x="22322" y="9957"/>
                          <a:pt x="9932" y="22322"/>
                          <a:pt x="9932" y="37521"/>
                        </a:cubicBezTo>
                        <a:lnTo>
                          <a:pt x="9932" y="37521"/>
                        </a:lnTo>
                        <a:close/>
                      </a:path>
                    </a:pathLst>
                  </a:custGeom>
                  <a:solidFill>
                    <a:schemeClr val="accent1"/>
                  </a:solidFill>
                  <a:ln w="2503" cap="flat">
                    <a:noFill/>
                    <a:prstDash val="solid"/>
                    <a:miter/>
                  </a:ln>
                </p:spPr>
                <p:txBody>
                  <a:bodyPr rtlCol="0" anchor="ctr"/>
                  <a:lstStyle/>
                  <a:p>
                    <a:endParaRPr lang="en-GB" dirty="0"/>
                  </a:p>
                </p:txBody>
              </p:sp>
              <p:sp>
                <p:nvSpPr>
                  <p:cNvPr id="74" name="Freihandform: Form 900">
                    <a:extLst>
                      <a:ext uri="{FF2B5EF4-FFF2-40B4-BE49-F238E27FC236}">
                        <a16:creationId xmlns:a16="http://schemas.microsoft.com/office/drawing/2014/main" id="{3EEAD7CC-08CD-4CB2-9F0C-2AA5C1EA1457}"/>
                      </a:ext>
                    </a:extLst>
                  </p:cNvPr>
                  <p:cNvSpPr/>
                  <p:nvPr/>
                </p:nvSpPr>
                <p:spPr>
                  <a:xfrm>
                    <a:off x="7019046" y="1917869"/>
                    <a:ext cx="52418" cy="9931"/>
                  </a:xfrm>
                  <a:custGeom>
                    <a:avLst/>
                    <a:gdLst>
                      <a:gd name="connsiteX0" fmla="*/ 47453 w 52418"/>
                      <a:gd name="connsiteY0" fmla="*/ 9932 h 9931"/>
                      <a:gd name="connsiteX1" fmla="*/ 4966 w 52418"/>
                      <a:gd name="connsiteY1" fmla="*/ 9932 h 9931"/>
                      <a:gd name="connsiteX2" fmla="*/ 0 w 52418"/>
                      <a:gd name="connsiteY2" fmla="*/ 4966 h 9931"/>
                      <a:gd name="connsiteX3" fmla="*/ 4966 w 52418"/>
                      <a:gd name="connsiteY3" fmla="*/ 0 h 9931"/>
                      <a:gd name="connsiteX4" fmla="*/ 47453 w 52418"/>
                      <a:gd name="connsiteY4" fmla="*/ 0 h 9931"/>
                      <a:gd name="connsiteX5" fmla="*/ 52419 w 52418"/>
                      <a:gd name="connsiteY5" fmla="*/ 4966 h 9931"/>
                      <a:gd name="connsiteX6" fmla="*/ 47453 w 52418"/>
                      <a:gd name="connsiteY6" fmla="*/ 9932 h 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418" h="9931">
                        <a:moveTo>
                          <a:pt x="47453" y="9932"/>
                        </a:moveTo>
                        <a:lnTo>
                          <a:pt x="4966" y="9932"/>
                        </a:lnTo>
                        <a:cubicBezTo>
                          <a:pt x="2232" y="9932"/>
                          <a:pt x="0" y="7700"/>
                          <a:pt x="0" y="4966"/>
                        </a:cubicBezTo>
                        <a:cubicBezTo>
                          <a:pt x="0" y="2232"/>
                          <a:pt x="2232" y="0"/>
                          <a:pt x="4966" y="0"/>
                        </a:cubicBezTo>
                        <a:lnTo>
                          <a:pt x="47453" y="0"/>
                        </a:lnTo>
                        <a:cubicBezTo>
                          <a:pt x="50186" y="0"/>
                          <a:pt x="52419" y="2232"/>
                          <a:pt x="52419" y="4966"/>
                        </a:cubicBezTo>
                        <a:cubicBezTo>
                          <a:pt x="52419" y="7700"/>
                          <a:pt x="50186" y="9932"/>
                          <a:pt x="47453" y="9932"/>
                        </a:cubicBezTo>
                        <a:close/>
                      </a:path>
                    </a:pathLst>
                  </a:custGeom>
                  <a:solidFill>
                    <a:schemeClr val="accent1"/>
                  </a:solidFill>
                  <a:ln w="2503" cap="flat">
                    <a:noFill/>
                    <a:prstDash val="solid"/>
                    <a:miter/>
                  </a:ln>
                </p:spPr>
                <p:txBody>
                  <a:bodyPr rtlCol="0" anchor="ctr"/>
                  <a:lstStyle/>
                  <a:p>
                    <a:endParaRPr lang="en-GB" dirty="0"/>
                  </a:p>
                </p:txBody>
              </p:sp>
            </p:grpSp>
            <p:sp>
              <p:nvSpPr>
                <p:cNvPr id="71" name="Freihandform: Form 901">
                  <a:extLst>
                    <a:ext uri="{FF2B5EF4-FFF2-40B4-BE49-F238E27FC236}">
                      <a16:creationId xmlns:a16="http://schemas.microsoft.com/office/drawing/2014/main" id="{6FF69DE6-7515-44FF-9CB6-ADD37682F1A9}"/>
                    </a:ext>
                  </a:extLst>
                </p:cNvPr>
                <p:cNvSpPr/>
                <p:nvPr/>
              </p:nvSpPr>
              <p:spPr>
                <a:xfrm>
                  <a:off x="6945649" y="1790950"/>
                  <a:ext cx="127512" cy="64217"/>
                </a:xfrm>
                <a:custGeom>
                  <a:avLst/>
                  <a:gdLst>
                    <a:gd name="connsiteX0" fmla="*/ 122580 w 127512"/>
                    <a:gd name="connsiteY0" fmla="*/ 64217 h 64217"/>
                    <a:gd name="connsiteX1" fmla="*/ 121928 w 127512"/>
                    <a:gd name="connsiteY1" fmla="*/ 64167 h 64217"/>
                    <a:gd name="connsiteX2" fmla="*/ 18119 w 127512"/>
                    <a:gd name="connsiteY2" fmla="*/ 50724 h 64217"/>
                    <a:gd name="connsiteX3" fmla="*/ 14056 w 127512"/>
                    <a:gd name="connsiteY3" fmla="*/ 47388 h 64217"/>
                    <a:gd name="connsiteX4" fmla="*/ 262 w 127512"/>
                    <a:gd name="connsiteY4" fmla="*/ 6557 h 64217"/>
                    <a:gd name="connsiteX5" fmla="*/ 3372 w 127512"/>
                    <a:gd name="connsiteY5" fmla="*/ 262 h 64217"/>
                    <a:gd name="connsiteX6" fmla="*/ 9667 w 127512"/>
                    <a:gd name="connsiteY6" fmla="*/ 3372 h 64217"/>
                    <a:gd name="connsiteX7" fmla="*/ 22458 w 127512"/>
                    <a:gd name="connsiteY7" fmla="*/ 41269 h 64217"/>
                    <a:gd name="connsiteX8" fmla="*/ 123182 w 127512"/>
                    <a:gd name="connsiteY8" fmla="*/ 54336 h 64217"/>
                    <a:gd name="connsiteX9" fmla="*/ 127471 w 127512"/>
                    <a:gd name="connsiteY9" fmla="*/ 59904 h 64217"/>
                    <a:gd name="connsiteX10" fmla="*/ 122580 w 127512"/>
                    <a:gd name="connsiteY10" fmla="*/ 64217 h 64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12" h="64217">
                      <a:moveTo>
                        <a:pt x="122580" y="64217"/>
                      </a:moveTo>
                      <a:cubicBezTo>
                        <a:pt x="122354" y="64217"/>
                        <a:pt x="122154" y="64192"/>
                        <a:pt x="121928" y="64167"/>
                      </a:cubicBezTo>
                      <a:lnTo>
                        <a:pt x="18119" y="50724"/>
                      </a:lnTo>
                      <a:cubicBezTo>
                        <a:pt x="16238" y="50473"/>
                        <a:pt x="14658" y="49194"/>
                        <a:pt x="14056" y="47388"/>
                      </a:cubicBezTo>
                      <a:lnTo>
                        <a:pt x="262" y="6557"/>
                      </a:lnTo>
                      <a:cubicBezTo>
                        <a:pt x="-616" y="3949"/>
                        <a:pt x="788" y="1139"/>
                        <a:pt x="3372" y="262"/>
                      </a:cubicBezTo>
                      <a:cubicBezTo>
                        <a:pt x="6005" y="-616"/>
                        <a:pt x="8789" y="788"/>
                        <a:pt x="9667" y="3372"/>
                      </a:cubicBezTo>
                      <a:lnTo>
                        <a:pt x="22458" y="41269"/>
                      </a:lnTo>
                      <a:lnTo>
                        <a:pt x="123182" y="54336"/>
                      </a:lnTo>
                      <a:cubicBezTo>
                        <a:pt x="125891" y="54687"/>
                        <a:pt x="127822" y="57170"/>
                        <a:pt x="127471" y="59904"/>
                      </a:cubicBezTo>
                      <a:cubicBezTo>
                        <a:pt x="127170" y="62387"/>
                        <a:pt x="125038" y="64217"/>
                        <a:pt x="122580" y="64217"/>
                      </a:cubicBezTo>
                      <a:close/>
                    </a:path>
                  </a:pathLst>
                </a:custGeom>
                <a:solidFill>
                  <a:schemeClr val="accent1"/>
                </a:solidFill>
                <a:ln w="2503" cap="flat">
                  <a:noFill/>
                  <a:prstDash val="solid"/>
                  <a:miter/>
                </a:ln>
              </p:spPr>
              <p:txBody>
                <a:bodyPr rtlCol="0" anchor="ctr"/>
                <a:lstStyle/>
                <a:p>
                  <a:endParaRPr lang="en-GB" dirty="0"/>
                </a:p>
              </p:txBody>
            </p:sp>
            <p:sp>
              <p:nvSpPr>
                <p:cNvPr id="72" name="Freihandform: Form 902">
                  <a:extLst>
                    <a:ext uri="{FF2B5EF4-FFF2-40B4-BE49-F238E27FC236}">
                      <a16:creationId xmlns:a16="http://schemas.microsoft.com/office/drawing/2014/main" id="{B68AF219-7508-4A07-A0AD-E5AC5EC03F51}"/>
                    </a:ext>
                  </a:extLst>
                </p:cNvPr>
                <p:cNvSpPr/>
                <p:nvPr/>
              </p:nvSpPr>
              <p:spPr>
                <a:xfrm>
                  <a:off x="6945672" y="1990486"/>
                  <a:ext cx="127539" cy="64223"/>
                </a:xfrm>
                <a:custGeom>
                  <a:avLst/>
                  <a:gdLst>
                    <a:gd name="connsiteX0" fmla="*/ 4954 w 127539"/>
                    <a:gd name="connsiteY0" fmla="*/ 64223 h 64223"/>
                    <a:gd name="connsiteX1" fmla="*/ 3374 w 127539"/>
                    <a:gd name="connsiteY1" fmla="*/ 63972 h 64223"/>
                    <a:gd name="connsiteX2" fmla="*/ 264 w 127539"/>
                    <a:gd name="connsiteY2" fmla="*/ 57677 h 64223"/>
                    <a:gd name="connsiteX3" fmla="*/ 14059 w 127539"/>
                    <a:gd name="connsiteY3" fmla="*/ 16846 h 64223"/>
                    <a:gd name="connsiteX4" fmla="*/ 18122 w 127539"/>
                    <a:gd name="connsiteY4" fmla="*/ 13510 h 64223"/>
                    <a:gd name="connsiteX5" fmla="*/ 121931 w 127539"/>
                    <a:gd name="connsiteY5" fmla="*/ 42 h 64223"/>
                    <a:gd name="connsiteX6" fmla="*/ 127498 w 127539"/>
                    <a:gd name="connsiteY6" fmla="*/ 4330 h 64223"/>
                    <a:gd name="connsiteX7" fmla="*/ 123210 w 127539"/>
                    <a:gd name="connsiteY7" fmla="*/ 9898 h 64223"/>
                    <a:gd name="connsiteX8" fmla="*/ 22486 w 127539"/>
                    <a:gd name="connsiteY8" fmla="*/ 22965 h 64223"/>
                    <a:gd name="connsiteX9" fmla="*/ 9695 w 127539"/>
                    <a:gd name="connsiteY9" fmla="*/ 60862 h 64223"/>
                    <a:gd name="connsiteX10" fmla="*/ 4954 w 127539"/>
                    <a:gd name="connsiteY10" fmla="*/ 64223 h 64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39" h="64223">
                      <a:moveTo>
                        <a:pt x="4954" y="64223"/>
                      </a:moveTo>
                      <a:cubicBezTo>
                        <a:pt x="4428" y="64223"/>
                        <a:pt x="3901" y="64148"/>
                        <a:pt x="3374" y="63972"/>
                      </a:cubicBezTo>
                      <a:cubicBezTo>
                        <a:pt x="766" y="63095"/>
                        <a:pt x="-614" y="60286"/>
                        <a:pt x="264" y="57677"/>
                      </a:cubicBezTo>
                      <a:lnTo>
                        <a:pt x="14059" y="16846"/>
                      </a:lnTo>
                      <a:cubicBezTo>
                        <a:pt x="14660" y="15040"/>
                        <a:pt x="16241" y="13761"/>
                        <a:pt x="18122" y="13510"/>
                      </a:cubicBezTo>
                      <a:lnTo>
                        <a:pt x="121931" y="42"/>
                      </a:lnTo>
                      <a:cubicBezTo>
                        <a:pt x="124664" y="-309"/>
                        <a:pt x="127147" y="1597"/>
                        <a:pt x="127498" y="4330"/>
                      </a:cubicBezTo>
                      <a:cubicBezTo>
                        <a:pt x="127850" y="7039"/>
                        <a:pt x="125918" y="9547"/>
                        <a:pt x="123210" y="9898"/>
                      </a:cubicBezTo>
                      <a:lnTo>
                        <a:pt x="22486" y="22965"/>
                      </a:lnTo>
                      <a:lnTo>
                        <a:pt x="9695" y="60862"/>
                      </a:lnTo>
                      <a:cubicBezTo>
                        <a:pt x="8942" y="62894"/>
                        <a:pt x="7011" y="64223"/>
                        <a:pt x="4954" y="64223"/>
                      </a:cubicBezTo>
                      <a:close/>
                    </a:path>
                  </a:pathLst>
                </a:custGeom>
                <a:solidFill>
                  <a:schemeClr val="accent1"/>
                </a:solidFill>
                <a:ln w="2503" cap="flat">
                  <a:noFill/>
                  <a:prstDash val="solid"/>
                  <a:miter/>
                </a:ln>
              </p:spPr>
              <p:txBody>
                <a:bodyPr rtlCol="0" anchor="ctr"/>
                <a:lstStyle/>
                <a:p>
                  <a:endParaRPr lang="en-GB" dirty="0"/>
                </a:p>
              </p:txBody>
            </p:sp>
          </p:grpSp>
        </p:grpSp>
        <p:grpSp>
          <p:nvGrpSpPr>
            <p:cNvPr id="59" name="Group 58">
              <a:extLst>
                <a:ext uri="{FF2B5EF4-FFF2-40B4-BE49-F238E27FC236}">
                  <a16:creationId xmlns:a16="http://schemas.microsoft.com/office/drawing/2014/main" id="{12C2EE85-9B19-4CF0-BD8A-9B5F0A198827}"/>
                </a:ext>
              </a:extLst>
            </p:cNvPr>
            <p:cNvGrpSpPr/>
            <p:nvPr/>
          </p:nvGrpSpPr>
          <p:grpSpPr>
            <a:xfrm>
              <a:off x="2751597" y="4048506"/>
              <a:ext cx="260006" cy="401858"/>
              <a:chOff x="7063239" y="1733551"/>
              <a:chExt cx="237765" cy="367482"/>
            </a:xfrm>
          </p:grpSpPr>
          <p:sp>
            <p:nvSpPr>
              <p:cNvPr id="60" name="Freihandform: Form 904">
                <a:extLst>
                  <a:ext uri="{FF2B5EF4-FFF2-40B4-BE49-F238E27FC236}">
                    <a16:creationId xmlns:a16="http://schemas.microsoft.com/office/drawing/2014/main" id="{2BCDE7ED-07F0-44FA-BECB-FFB9AA22C1A8}"/>
                  </a:ext>
                </a:extLst>
              </p:cNvPr>
              <p:cNvSpPr/>
              <p:nvPr/>
            </p:nvSpPr>
            <p:spPr>
              <a:xfrm>
                <a:off x="7063264" y="1768162"/>
                <a:ext cx="9932" cy="298284"/>
              </a:xfrm>
              <a:custGeom>
                <a:avLst/>
                <a:gdLst>
                  <a:gd name="connsiteX0" fmla="*/ 4966 w 9932"/>
                  <a:gd name="connsiteY0" fmla="*/ 298285 h 298284"/>
                  <a:gd name="connsiteX1" fmla="*/ 0 w 9932"/>
                  <a:gd name="connsiteY1" fmla="*/ 293319 h 298284"/>
                  <a:gd name="connsiteX2" fmla="*/ 0 w 9932"/>
                  <a:gd name="connsiteY2" fmla="*/ 4966 h 298284"/>
                  <a:gd name="connsiteX3" fmla="*/ 4966 w 9932"/>
                  <a:gd name="connsiteY3" fmla="*/ 0 h 298284"/>
                  <a:gd name="connsiteX4" fmla="*/ 9932 w 9932"/>
                  <a:gd name="connsiteY4" fmla="*/ 4966 h 298284"/>
                  <a:gd name="connsiteX5" fmla="*/ 9932 w 9932"/>
                  <a:gd name="connsiteY5" fmla="*/ 293319 h 298284"/>
                  <a:gd name="connsiteX6" fmla="*/ 4966 w 9932"/>
                  <a:gd name="connsiteY6" fmla="*/ 298285 h 29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2" h="298284">
                    <a:moveTo>
                      <a:pt x="4966" y="298285"/>
                    </a:moveTo>
                    <a:cubicBezTo>
                      <a:pt x="2232" y="298285"/>
                      <a:pt x="0" y="296053"/>
                      <a:pt x="0" y="293319"/>
                    </a:cubicBezTo>
                    <a:lnTo>
                      <a:pt x="0" y="4966"/>
                    </a:lnTo>
                    <a:cubicBezTo>
                      <a:pt x="0" y="2232"/>
                      <a:pt x="2232" y="0"/>
                      <a:pt x="4966" y="0"/>
                    </a:cubicBezTo>
                    <a:cubicBezTo>
                      <a:pt x="7700" y="0"/>
                      <a:pt x="9932" y="2232"/>
                      <a:pt x="9932" y="4966"/>
                    </a:cubicBezTo>
                    <a:lnTo>
                      <a:pt x="9932" y="293319"/>
                    </a:lnTo>
                    <a:cubicBezTo>
                      <a:pt x="9932" y="296053"/>
                      <a:pt x="7700" y="298285"/>
                      <a:pt x="4966" y="298285"/>
                    </a:cubicBezTo>
                    <a:close/>
                  </a:path>
                </a:pathLst>
              </a:custGeom>
              <a:solidFill>
                <a:schemeClr val="tx2"/>
              </a:solidFill>
              <a:ln w="2503" cap="flat">
                <a:noFill/>
                <a:prstDash val="solid"/>
                <a:miter/>
              </a:ln>
            </p:spPr>
            <p:txBody>
              <a:bodyPr rtlCol="0" anchor="ctr"/>
              <a:lstStyle/>
              <a:p>
                <a:endParaRPr lang="en-GB" dirty="0"/>
              </a:p>
            </p:txBody>
          </p:sp>
          <p:sp>
            <p:nvSpPr>
              <p:cNvPr id="61" name="Freihandform: Form 905">
                <a:extLst>
                  <a:ext uri="{FF2B5EF4-FFF2-40B4-BE49-F238E27FC236}">
                    <a16:creationId xmlns:a16="http://schemas.microsoft.com/office/drawing/2014/main" id="{DC63CA4E-C4A3-4F41-8860-8E8A4CB3437D}"/>
                  </a:ext>
                </a:extLst>
              </p:cNvPr>
              <p:cNvSpPr/>
              <p:nvPr/>
            </p:nvSpPr>
            <p:spPr>
              <a:xfrm>
                <a:off x="7291072" y="1768162"/>
                <a:ext cx="9932" cy="298284"/>
              </a:xfrm>
              <a:custGeom>
                <a:avLst/>
                <a:gdLst>
                  <a:gd name="connsiteX0" fmla="*/ 4966 w 9932"/>
                  <a:gd name="connsiteY0" fmla="*/ 298285 h 298284"/>
                  <a:gd name="connsiteX1" fmla="*/ 0 w 9932"/>
                  <a:gd name="connsiteY1" fmla="*/ 293319 h 298284"/>
                  <a:gd name="connsiteX2" fmla="*/ 0 w 9932"/>
                  <a:gd name="connsiteY2" fmla="*/ 4966 h 298284"/>
                  <a:gd name="connsiteX3" fmla="*/ 4966 w 9932"/>
                  <a:gd name="connsiteY3" fmla="*/ 0 h 298284"/>
                  <a:gd name="connsiteX4" fmla="*/ 9932 w 9932"/>
                  <a:gd name="connsiteY4" fmla="*/ 4966 h 298284"/>
                  <a:gd name="connsiteX5" fmla="*/ 9932 w 9932"/>
                  <a:gd name="connsiteY5" fmla="*/ 293319 h 298284"/>
                  <a:gd name="connsiteX6" fmla="*/ 4966 w 9932"/>
                  <a:gd name="connsiteY6" fmla="*/ 298285 h 298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2" h="298284">
                    <a:moveTo>
                      <a:pt x="4966" y="298285"/>
                    </a:moveTo>
                    <a:cubicBezTo>
                      <a:pt x="2232" y="298285"/>
                      <a:pt x="0" y="296053"/>
                      <a:pt x="0" y="293319"/>
                    </a:cubicBezTo>
                    <a:lnTo>
                      <a:pt x="0" y="4966"/>
                    </a:lnTo>
                    <a:cubicBezTo>
                      <a:pt x="0" y="2232"/>
                      <a:pt x="2232" y="0"/>
                      <a:pt x="4966" y="0"/>
                    </a:cubicBezTo>
                    <a:cubicBezTo>
                      <a:pt x="7700" y="0"/>
                      <a:pt x="9932" y="2232"/>
                      <a:pt x="9932" y="4966"/>
                    </a:cubicBezTo>
                    <a:lnTo>
                      <a:pt x="9932" y="293319"/>
                    </a:lnTo>
                    <a:cubicBezTo>
                      <a:pt x="9932" y="296053"/>
                      <a:pt x="7700" y="298285"/>
                      <a:pt x="4966" y="298285"/>
                    </a:cubicBezTo>
                    <a:close/>
                  </a:path>
                </a:pathLst>
              </a:custGeom>
              <a:solidFill>
                <a:schemeClr val="tx2"/>
              </a:solidFill>
              <a:ln w="2503" cap="flat">
                <a:noFill/>
                <a:prstDash val="solid"/>
                <a:miter/>
              </a:ln>
            </p:spPr>
            <p:txBody>
              <a:bodyPr rtlCol="0" anchor="ctr"/>
              <a:lstStyle/>
              <a:p>
                <a:endParaRPr lang="en-GB" dirty="0"/>
              </a:p>
            </p:txBody>
          </p:sp>
          <p:sp>
            <p:nvSpPr>
              <p:cNvPr id="62" name="Freihandform: Form 906">
                <a:extLst>
                  <a:ext uri="{FF2B5EF4-FFF2-40B4-BE49-F238E27FC236}">
                    <a16:creationId xmlns:a16="http://schemas.microsoft.com/office/drawing/2014/main" id="{EC14B5DA-06A5-45F8-AD2F-A0BA7919455F}"/>
                  </a:ext>
                </a:extLst>
              </p:cNvPr>
              <p:cNvSpPr/>
              <p:nvPr/>
            </p:nvSpPr>
            <p:spPr>
              <a:xfrm>
                <a:off x="7063239" y="1733551"/>
                <a:ext cx="237764" cy="79154"/>
              </a:xfrm>
              <a:custGeom>
                <a:avLst/>
                <a:gdLst>
                  <a:gd name="connsiteX0" fmla="*/ 118882 w 237764"/>
                  <a:gd name="connsiteY0" fmla="*/ 79155 h 79154"/>
                  <a:gd name="connsiteX1" fmla="*/ 0 w 237764"/>
                  <a:gd name="connsiteY1" fmla="*/ 39577 h 79154"/>
                  <a:gd name="connsiteX2" fmla="*/ 118882 w 237764"/>
                  <a:gd name="connsiteY2" fmla="*/ 0 h 79154"/>
                  <a:gd name="connsiteX3" fmla="*/ 237765 w 237764"/>
                  <a:gd name="connsiteY3" fmla="*/ 39577 h 79154"/>
                  <a:gd name="connsiteX4" fmla="*/ 118882 w 237764"/>
                  <a:gd name="connsiteY4" fmla="*/ 79155 h 79154"/>
                  <a:gd name="connsiteX5" fmla="*/ 118882 w 237764"/>
                  <a:gd name="connsiteY5" fmla="*/ 9957 h 79154"/>
                  <a:gd name="connsiteX6" fmla="*/ 9932 w 237764"/>
                  <a:gd name="connsiteY6" fmla="*/ 39602 h 79154"/>
                  <a:gd name="connsiteX7" fmla="*/ 118882 w 237764"/>
                  <a:gd name="connsiteY7" fmla="*/ 69248 h 79154"/>
                  <a:gd name="connsiteX8" fmla="*/ 227833 w 237764"/>
                  <a:gd name="connsiteY8" fmla="*/ 39602 h 79154"/>
                  <a:gd name="connsiteX9" fmla="*/ 118882 w 237764"/>
                  <a:gd name="connsiteY9" fmla="*/ 9957 h 7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764" h="79154">
                    <a:moveTo>
                      <a:pt x="118882" y="79155"/>
                    </a:moveTo>
                    <a:cubicBezTo>
                      <a:pt x="55554" y="79155"/>
                      <a:pt x="0" y="60670"/>
                      <a:pt x="0" y="39577"/>
                    </a:cubicBezTo>
                    <a:cubicBezTo>
                      <a:pt x="0" y="18510"/>
                      <a:pt x="55554" y="0"/>
                      <a:pt x="118882" y="0"/>
                    </a:cubicBezTo>
                    <a:cubicBezTo>
                      <a:pt x="182211" y="0"/>
                      <a:pt x="237765" y="18484"/>
                      <a:pt x="237765" y="39577"/>
                    </a:cubicBezTo>
                    <a:cubicBezTo>
                      <a:pt x="237765" y="60670"/>
                      <a:pt x="182211" y="79155"/>
                      <a:pt x="118882" y="79155"/>
                    </a:cubicBezTo>
                    <a:close/>
                    <a:moveTo>
                      <a:pt x="118882" y="9957"/>
                    </a:moveTo>
                    <a:cubicBezTo>
                      <a:pt x="54876" y="9957"/>
                      <a:pt x="9932" y="29169"/>
                      <a:pt x="9932" y="39602"/>
                    </a:cubicBezTo>
                    <a:cubicBezTo>
                      <a:pt x="9932" y="50036"/>
                      <a:pt x="54851" y="69248"/>
                      <a:pt x="118882" y="69248"/>
                    </a:cubicBezTo>
                    <a:cubicBezTo>
                      <a:pt x="182888" y="69248"/>
                      <a:pt x="227833" y="50011"/>
                      <a:pt x="227833" y="39602"/>
                    </a:cubicBezTo>
                    <a:cubicBezTo>
                      <a:pt x="227833" y="29194"/>
                      <a:pt x="182888" y="9957"/>
                      <a:pt x="118882" y="9957"/>
                    </a:cubicBezTo>
                    <a:close/>
                  </a:path>
                </a:pathLst>
              </a:custGeom>
              <a:solidFill>
                <a:schemeClr val="tx2"/>
              </a:solidFill>
              <a:ln w="2503" cap="flat">
                <a:noFill/>
                <a:prstDash val="solid"/>
                <a:miter/>
              </a:ln>
            </p:spPr>
            <p:txBody>
              <a:bodyPr rtlCol="0" anchor="ctr"/>
              <a:lstStyle/>
              <a:p>
                <a:endParaRPr lang="en-GB" dirty="0"/>
              </a:p>
            </p:txBody>
          </p:sp>
          <p:sp>
            <p:nvSpPr>
              <p:cNvPr id="63" name="Freihandform: Form 907">
                <a:extLst>
                  <a:ext uri="{FF2B5EF4-FFF2-40B4-BE49-F238E27FC236}">
                    <a16:creationId xmlns:a16="http://schemas.microsoft.com/office/drawing/2014/main" id="{6C8A9A24-7EC5-4361-BEE4-63611A088A57}"/>
                  </a:ext>
                </a:extLst>
              </p:cNvPr>
              <p:cNvSpPr/>
              <p:nvPr/>
            </p:nvSpPr>
            <p:spPr>
              <a:xfrm>
                <a:off x="7063239" y="2056490"/>
                <a:ext cx="237764" cy="44543"/>
              </a:xfrm>
              <a:custGeom>
                <a:avLst/>
                <a:gdLst>
                  <a:gd name="connsiteX0" fmla="*/ 118882 w 237764"/>
                  <a:gd name="connsiteY0" fmla="*/ 44543 h 44543"/>
                  <a:gd name="connsiteX1" fmla="*/ 0 w 237764"/>
                  <a:gd name="connsiteY1" fmla="*/ 4966 h 44543"/>
                  <a:gd name="connsiteX2" fmla="*/ 4966 w 237764"/>
                  <a:gd name="connsiteY2" fmla="*/ 0 h 44543"/>
                  <a:gd name="connsiteX3" fmla="*/ 9932 w 237764"/>
                  <a:gd name="connsiteY3" fmla="*/ 4966 h 44543"/>
                  <a:gd name="connsiteX4" fmla="*/ 118882 w 237764"/>
                  <a:gd name="connsiteY4" fmla="*/ 34611 h 44543"/>
                  <a:gd name="connsiteX5" fmla="*/ 227833 w 237764"/>
                  <a:gd name="connsiteY5" fmla="*/ 4966 h 44543"/>
                  <a:gd name="connsiteX6" fmla="*/ 232799 w 237764"/>
                  <a:gd name="connsiteY6" fmla="*/ 0 h 44543"/>
                  <a:gd name="connsiteX7" fmla="*/ 237765 w 237764"/>
                  <a:gd name="connsiteY7" fmla="*/ 4966 h 44543"/>
                  <a:gd name="connsiteX8" fmla="*/ 118882 w 237764"/>
                  <a:gd name="connsiteY8" fmla="*/ 44543 h 4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64" h="44543">
                    <a:moveTo>
                      <a:pt x="118882" y="44543"/>
                    </a:moveTo>
                    <a:cubicBezTo>
                      <a:pt x="55554" y="44543"/>
                      <a:pt x="0" y="26059"/>
                      <a:pt x="0" y="4966"/>
                    </a:cubicBezTo>
                    <a:cubicBezTo>
                      <a:pt x="0" y="2232"/>
                      <a:pt x="2232" y="0"/>
                      <a:pt x="4966" y="0"/>
                    </a:cubicBezTo>
                    <a:cubicBezTo>
                      <a:pt x="7700" y="0"/>
                      <a:pt x="9932" y="2232"/>
                      <a:pt x="9932" y="4966"/>
                    </a:cubicBezTo>
                    <a:cubicBezTo>
                      <a:pt x="9932" y="15374"/>
                      <a:pt x="54851" y="34611"/>
                      <a:pt x="118882" y="34611"/>
                    </a:cubicBezTo>
                    <a:cubicBezTo>
                      <a:pt x="182888" y="34611"/>
                      <a:pt x="227833" y="15400"/>
                      <a:pt x="227833" y="4966"/>
                    </a:cubicBezTo>
                    <a:cubicBezTo>
                      <a:pt x="227833" y="2232"/>
                      <a:pt x="230065" y="0"/>
                      <a:pt x="232799" y="0"/>
                    </a:cubicBezTo>
                    <a:cubicBezTo>
                      <a:pt x="235533" y="0"/>
                      <a:pt x="237765" y="2232"/>
                      <a:pt x="237765" y="4966"/>
                    </a:cubicBezTo>
                    <a:cubicBezTo>
                      <a:pt x="237765" y="26059"/>
                      <a:pt x="182211" y="44543"/>
                      <a:pt x="118882" y="44543"/>
                    </a:cubicBezTo>
                    <a:close/>
                  </a:path>
                </a:pathLst>
              </a:custGeom>
              <a:solidFill>
                <a:schemeClr val="tx2"/>
              </a:solidFill>
              <a:ln w="2503" cap="flat">
                <a:noFill/>
                <a:prstDash val="solid"/>
                <a:miter/>
              </a:ln>
            </p:spPr>
            <p:txBody>
              <a:bodyPr rtlCol="0" anchor="ctr"/>
              <a:lstStyle/>
              <a:p>
                <a:endParaRPr lang="en-GB" dirty="0"/>
              </a:p>
            </p:txBody>
          </p:sp>
          <p:sp>
            <p:nvSpPr>
              <p:cNvPr id="64" name="Freihandform: Form 908">
                <a:extLst>
                  <a:ext uri="{FF2B5EF4-FFF2-40B4-BE49-F238E27FC236}">
                    <a16:creationId xmlns:a16="http://schemas.microsoft.com/office/drawing/2014/main" id="{0FC9286A-F8C1-46B9-BAA3-76FC1E462B51}"/>
                  </a:ext>
                </a:extLst>
              </p:cNvPr>
              <p:cNvSpPr/>
              <p:nvPr/>
            </p:nvSpPr>
            <p:spPr>
              <a:xfrm>
                <a:off x="7063239" y="1964243"/>
                <a:ext cx="237764" cy="44543"/>
              </a:xfrm>
              <a:custGeom>
                <a:avLst/>
                <a:gdLst>
                  <a:gd name="connsiteX0" fmla="*/ 118882 w 237764"/>
                  <a:gd name="connsiteY0" fmla="*/ 44543 h 44543"/>
                  <a:gd name="connsiteX1" fmla="*/ 0 w 237764"/>
                  <a:gd name="connsiteY1" fmla="*/ 4966 h 44543"/>
                  <a:gd name="connsiteX2" fmla="*/ 4966 w 237764"/>
                  <a:gd name="connsiteY2" fmla="*/ 0 h 44543"/>
                  <a:gd name="connsiteX3" fmla="*/ 9932 w 237764"/>
                  <a:gd name="connsiteY3" fmla="*/ 4966 h 44543"/>
                  <a:gd name="connsiteX4" fmla="*/ 118882 w 237764"/>
                  <a:gd name="connsiteY4" fmla="*/ 34611 h 44543"/>
                  <a:gd name="connsiteX5" fmla="*/ 227833 w 237764"/>
                  <a:gd name="connsiteY5" fmla="*/ 4966 h 44543"/>
                  <a:gd name="connsiteX6" fmla="*/ 232799 w 237764"/>
                  <a:gd name="connsiteY6" fmla="*/ 0 h 44543"/>
                  <a:gd name="connsiteX7" fmla="*/ 237765 w 237764"/>
                  <a:gd name="connsiteY7" fmla="*/ 4966 h 44543"/>
                  <a:gd name="connsiteX8" fmla="*/ 118882 w 237764"/>
                  <a:gd name="connsiteY8" fmla="*/ 44543 h 4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64" h="44543">
                    <a:moveTo>
                      <a:pt x="118882" y="44543"/>
                    </a:moveTo>
                    <a:cubicBezTo>
                      <a:pt x="55554" y="44543"/>
                      <a:pt x="0" y="26059"/>
                      <a:pt x="0" y="4966"/>
                    </a:cubicBezTo>
                    <a:cubicBezTo>
                      <a:pt x="0" y="2232"/>
                      <a:pt x="2232" y="0"/>
                      <a:pt x="4966" y="0"/>
                    </a:cubicBezTo>
                    <a:cubicBezTo>
                      <a:pt x="7700" y="0"/>
                      <a:pt x="9932" y="2232"/>
                      <a:pt x="9932" y="4966"/>
                    </a:cubicBezTo>
                    <a:cubicBezTo>
                      <a:pt x="9932" y="15374"/>
                      <a:pt x="54851" y="34611"/>
                      <a:pt x="118882" y="34611"/>
                    </a:cubicBezTo>
                    <a:cubicBezTo>
                      <a:pt x="182888" y="34611"/>
                      <a:pt x="227833" y="15400"/>
                      <a:pt x="227833" y="4966"/>
                    </a:cubicBezTo>
                    <a:cubicBezTo>
                      <a:pt x="227833" y="2232"/>
                      <a:pt x="230065" y="0"/>
                      <a:pt x="232799" y="0"/>
                    </a:cubicBezTo>
                    <a:cubicBezTo>
                      <a:pt x="235533" y="0"/>
                      <a:pt x="237765" y="2232"/>
                      <a:pt x="237765" y="4966"/>
                    </a:cubicBezTo>
                    <a:cubicBezTo>
                      <a:pt x="237765" y="26034"/>
                      <a:pt x="182211" y="44543"/>
                      <a:pt x="118882" y="44543"/>
                    </a:cubicBezTo>
                    <a:close/>
                  </a:path>
                </a:pathLst>
              </a:custGeom>
              <a:solidFill>
                <a:schemeClr val="tx2"/>
              </a:solidFill>
              <a:ln w="2503" cap="flat">
                <a:noFill/>
                <a:prstDash val="solid"/>
                <a:miter/>
              </a:ln>
            </p:spPr>
            <p:txBody>
              <a:bodyPr rtlCol="0" anchor="ctr"/>
              <a:lstStyle/>
              <a:p>
                <a:endParaRPr lang="en-GB" dirty="0"/>
              </a:p>
            </p:txBody>
          </p:sp>
          <p:sp>
            <p:nvSpPr>
              <p:cNvPr id="65" name="Freihandform: Form 909">
                <a:extLst>
                  <a:ext uri="{FF2B5EF4-FFF2-40B4-BE49-F238E27FC236}">
                    <a16:creationId xmlns:a16="http://schemas.microsoft.com/office/drawing/2014/main" id="{753A99C4-29B9-4323-A5EA-E886B1AD1EBA}"/>
                  </a:ext>
                </a:extLst>
              </p:cNvPr>
              <p:cNvSpPr/>
              <p:nvPr/>
            </p:nvSpPr>
            <p:spPr>
              <a:xfrm>
                <a:off x="7063239" y="1866203"/>
                <a:ext cx="237764" cy="44543"/>
              </a:xfrm>
              <a:custGeom>
                <a:avLst/>
                <a:gdLst>
                  <a:gd name="connsiteX0" fmla="*/ 118882 w 237764"/>
                  <a:gd name="connsiteY0" fmla="*/ 44543 h 44543"/>
                  <a:gd name="connsiteX1" fmla="*/ 0 w 237764"/>
                  <a:gd name="connsiteY1" fmla="*/ 4966 h 44543"/>
                  <a:gd name="connsiteX2" fmla="*/ 4966 w 237764"/>
                  <a:gd name="connsiteY2" fmla="*/ 0 h 44543"/>
                  <a:gd name="connsiteX3" fmla="*/ 9932 w 237764"/>
                  <a:gd name="connsiteY3" fmla="*/ 4966 h 44543"/>
                  <a:gd name="connsiteX4" fmla="*/ 118882 w 237764"/>
                  <a:gd name="connsiteY4" fmla="*/ 34611 h 44543"/>
                  <a:gd name="connsiteX5" fmla="*/ 227833 w 237764"/>
                  <a:gd name="connsiteY5" fmla="*/ 4966 h 44543"/>
                  <a:gd name="connsiteX6" fmla="*/ 232799 w 237764"/>
                  <a:gd name="connsiteY6" fmla="*/ 0 h 44543"/>
                  <a:gd name="connsiteX7" fmla="*/ 237765 w 237764"/>
                  <a:gd name="connsiteY7" fmla="*/ 4966 h 44543"/>
                  <a:gd name="connsiteX8" fmla="*/ 118882 w 237764"/>
                  <a:gd name="connsiteY8" fmla="*/ 44543 h 4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64" h="44543">
                    <a:moveTo>
                      <a:pt x="118882" y="44543"/>
                    </a:moveTo>
                    <a:cubicBezTo>
                      <a:pt x="55554" y="44543"/>
                      <a:pt x="0" y="26059"/>
                      <a:pt x="0" y="4966"/>
                    </a:cubicBezTo>
                    <a:cubicBezTo>
                      <a:pt x="0" y="2232"/>
                      <a:pt x="2232" y="0"/>
                      <a:pt x="4966" y="0"/>
                    </a:cubicBezTo>
                    <a:cubicBezTo>
                      <a:pt x="7700" y="0"/>
                      <a:pt x="9932" y="2232"/>
                      <a:pt x="9932" y="4966"/>
                    </a:cubicBezTo>
                    <a:cubicBezTo>
                      <a:pt x="9932" y="15374"/>
                      <a:pt x="54851" y="34611"/>
                      <a:pt x="118882" y="34611"/>
                    </a:cubicBezTo>
                    <a:cubicBezTo>
                      <a:pt x="182888" y="34611"/>
                      <a:pt x="227833" y="15374"/>
                      <a:pt x="227833" y="4966"/>
                    </a:cubicBezTo>
                    <a:cubicBezTo>
                      <a:pt x="227833" y="2232"/>
                      <a:pt x="230065" y="0"/>
                      <a:pt x="232799" y="0"/>
                    </a:cubicBezTo>
                    <a:cubicBezTo>
                      <a:pt x="235533" y="0"/>
                      <a:pt x="237765" y="2232"/>
                      <a:pt x="237765" y="4966"/>
                    </a:cubicBezTo>
                    <a:cubicBezTo>
                      <a:pt x="237765" y="26059"/>
                      <a:pt x="182211" y="44543"/>
                      <a:pt x="118882" y="44543"/>
                    </a:cubicBezTo>
                    <a:close/>
                  </a:path>
                </a:pathLst>
              </a:custGeom>
              <a:solidFill>
                <a:schemeClr val="tx2"/>
              </a:solidFill>
              <a:ln w="2503" cap="flat">
                <a:noFill/>
                <a:prstDash val="solid"/>
                <a:miter/>
              </a:ln>
            </p:spPr>
            <p:txBody>
              <a:bodyPr rtlCol="0" anchor="ctr"/>
              <a:lstStyle/>
              <a:p>
                <a:endParaRPr lang="en-GB" dirty="0"/>
              </a:p>
            </p:txBody>
          </p:sp>
        </p:grpSp>
      </p:grpSp>
      <p:grpSp>
        <p:nvGrpSpPr>
          <p:cNvPr id="473" name="Group 472">
            <a:extLst>
              <a:ext uri="{FF2B5EF4-FFF2-40B4-BE49-F238E27FC236}">
                <a16:creationId xmlns:a16="http://schemas.microsoft.com/office/drawing/2014/main" id="{3D9555D1-68C1-70AC-A2F4-C6DAF206B721}"/>
              </a:ext>
            </a:extLst>
          </p:cNvPr>
          <p:cNvGrpSpPr/>
          <p:nvPr/>
        </p:nvGrpSpPr>
        <p:grpSpPr>
          <a:xfrm>
            <a:off x="1623495" y="4040086"/>
            <a:ext cx="431978" cy="432000"/>
            <a:chOff x="1623495" y="4040086"/>
            <a:chExt cx="431978" cy="432000"/>
          </a:xfrm>
        </p:grpSpPr>
        <p:grpSp>
          <p:nvGrpSpPr>
            <p:cNvPr id="83" name="Group 82">
              <a:extLst>
                <a:ext uri="{FF2B5EF4-FFF2-40B4-BE49-F238E27FC236}">
                  <a16:creationId xmlns:a16="http://schemas.microsoft.com/office/drawing/2014/main" id="{CFE84DE3-3D84-42F2-BFED-22DAAF2436E1}"/>
                </a:ext>
              </a:extLst>
            </p:cNvPr>
            <p:cNvGrpSpPr/>
            <p:nvPr/>
          </p:nvGrpSpPr>
          <p:grpSpPr>
            <a:xfrm>
              <a:off x="1699572" y="4105907"/>
              <a:ext cx="279846" cy="289451"/>
              <a:chOff x="5372148" y="1722666"/>
              <a:chExt cx="312756" cy="323490"/>
            </a:xfrm>
            <a:solidFill>
              <a:schemeClr val="tx2"/>
            </a:solidFill>
          </p:grpSpPr>
          <p:grpSp>
            <p:nvGrpSpPr>
              <p:cNvPr id="89" name="Grafik 16">
                <a:extLst>
                  <a:ext uri="{FF2B5EF4-FFF2-40B4-BE49-F238E27FC236}">
                    <a16:creationId xmlns:a16="http://schemas.microsoft.com/office/drawing/2014/main" id="{A794A3D8-7446-433F-A7EB-9E3F5B72F564}"/>
                  </a:ext>
                </a:extLst>
              </p:cNvPr>
              <p:cNvGrpSpPr/>
              <p:nvPr/>
            </p:nvGrpSpPr>
            <p:grpSpPr>
              <a:xfrm>
                <a:off x="5398232" y="1752964"/>
                <a:ext cx="260588" cy="290384"/>
                <a:chOff x="5398232" y="1752964"/>
                <a:chExt cx="260588" cy="290384"/>
              </a:xfrm>
              <a:grpFill/>
            </p:grpSpPr>
            <p:sp>
              <p:nvSpPr>
                <p:cNvPr id="91" name="Freihandform: Form 835">
                  <a:extLst>
                    <a:ext uri="{FF2B5EF4-FFF2-40B4-BE49-F238E27FC236}">
                      <a16:creationId xmlns:a16="http://schemas.microsoft.com/office/drawing/2014/main" id="{A3E133E3-273F-4C86-A3F8-42E9F195DD60}"/>
                    </a:ext>
                  </a:extLst>
                </p:cNvPr>
                <p:cNvSpPr/>
                <p:nvPr/>
              </p:nvSpPr>
              <p:spPr>
                <a:xfrm>
                  <a:off x="5417569" y="1918872"/>
                  <a:ext cx="9931" cy="84321"/>
                </a:xfrm>
                <a:custGeom>
                  <a:avLst/>
                  <a:gdLst>
                    <a:gd name="connsiteX0" fmla="*/ 4966 w 9931"/>
                    <a:gd name="connsiteY0" fmla="*/ 84321 h 84321"/>
                    <a:gd name="connsiteX1" fmla="*/ 0 w 9931"/>
                    <a:gd name="connsiteY1" fmla="*/ 79355 h 84321"/>
                    <a:gd name="connsiteX2" fmla="*/ 0 w 9931"/>
                    <a:gd name="connsiteY2" fmla="*/ 4966 h 84321"/>
                    <a:gd name="connsiteX3" fmla="*/ 4966 w 9931"/>
                    <a:gd name="connsiteY3" fmla="*/ 0 h 84321"/>
                    <a:gd name="connsiteX4" fmla="*/ 9932 w 9931"/>
                    <a:gd name="connsiteY4" fmla="*/ 4966 h 84321"/>
                    <a:gd name="connsiteX5" fmla="*/ 9932 w 9931"/>
                    <a:gd name="connsiteY5" fmla="*/ 79355 h 84321"/>
                    <a:gd name="connsiteX6" fmla="*/ 4966 w 9931"/>
                    <a:gd name="connsiteY6" fmla="*/ 84321 h 84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84321">
                      <a:moveTo>
                        <a:pt x="4966" y="84321"/>
                      </a:moveTo>
                      <a:cubicBezTo>
                        <a:pt x="2232" y="84321"/>
                        <a:pt x="0" y="82089"/>
                        <a:pt x="0" y="79355"/>
                      </a:cubicBezTo>
                      <a:lnTo>
                        <a:pt x="0" y="4966"/>
                      </a:lnTo>
                      <a:cubicBezTo>
                        <a:pt x="0" y="2232"/>
                        <a:pt x="2232" y="0"/>
                        <a:pt x="4966" y="0"/>
                      </a:cubicBezTo>
                      <a:cubicBezTo>
                        <a:pt x="7700" y="0"/>
                        <a:pt x="9932" y="2232"/>
                        <a:pt x="9932" y="4966"/>
                      </a:cubicBezTo>
                      <a:lnTo>
                        <a:pt x="9932" y="79355"/>
                      </a:lnTo>
                      <a:cubicBezTo>
                        <a:pt x="9932" y="82089"/>
                        <a:pt x="7700" y="84321"/>
                        <a:pt x="4966" y="84321"/>
                      </a:cubicBezTo>
                      <a:close/>
                    </a:path>
                  </a:pathLst>
                </a:custGeom>
                <a:grpFill/>
                <a:ln w="2503" cap="flat">
                  <a:noFill/>
                  <a:prstDash val="solid"/>
                  <a:miter/>
                </a:ln>
              </p:spPr>
              <p:txBody>
                <a:bodyPr rtlCol="0" anchor="ctr"/>
                <a:lstStyle/>
                <a:p>
                  <a:endParaRPr lang="en-GB" dirty="0"/>
                </a:p>
              </p:txBody>
            </p:sp>
            <p:sp>
              <p:nvSpPr>
                <p:cNvPr id="92" name="Freihandform: Form 836">
                  <a:extLst>
                    <a:ext uri="{FF2B5EF4-FFF2-40B4-BE49-F238E27FC236}">
                      <a16:creationId xmlns:a16="http://schemas.microsoft.com/office/drawing/2014/main" id="{7BEC930B-5E1A-403E-AEAE-4A45D43ADACF}"/>
                    </a:ext>
                  </a:extLst>
                </p:cNvPr>
                <p:cNvSpPr/>
                <p:nvPr/>
              </p:nvSpPr>
              <p:spPr>
                <a:xfrm>
                  <a:off x="5417569" y="1792595"/>
                  <a:ext cx="50608" cy="93421"/>
                </a:xfrm>
                <a:custGeom>
                  <a:avLst/>
                  <a:gdLst>
                    <a:gd name="connsiteX0" fmla="*/ 4966 w 50608"/>
                    <a:gd name="connsiteY0" fmla="*/ 93422 h 93421"/>
                    <a:gd name="connsiteX1" fmla="*/ 0 w 50608"/>
                    <a:gd name="connsiteY1" fmla="*/ 88456 h 93421"/>
                    <a:gd name="connsiteX2" fmla="*/ 42587 w 50608"/>
                    <a:gd name="connsiteY2" fmla="*/ 1049 h 93421"/>
                    <a:gd name="connsiteX3" fmla="*/ 49559 w 50608"/>
                    <a:gd name="connsiteY3" fmla="*/ 1902 h 93421"/>
                    <a:gd name="connsiteX4" fmla="*/ 48707 w 50608"/>
                    <a:gd name="connsiteY4" fmla="*/ 8875 h 93421"/>
                    <a:gd name="connsiteX5" fmla="*/ 9932 w 50608"/>
                    <a:gd name="connsiteY5" fmla="*/ 88456 h 93421"/>
                    <a:gd name="connsiteX6" fmla="*/ 4966 w 50608"/>
                    <a:gd name="connsiteY6" fmla="*/ 93422 h 9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08" h="93421">
                      <a:moveTo>
                        <a:pt x="4966" y="93422"/>
                      </a:moveTo>
                      <a:cubicBezTo>
                        <a:pt x="2232" y="93422"/>
                        <a:pt x="0" y="91189"/>
                        <a:pt x="0" y="88456"/>
                      </a:cubicBezTo>
                      <a:cubicBezTo>
                        <a:pt x="0" y="54120"/>
                        <a:pt x="15525" y="22268"/>
                        <a:pt x="42587" y="1049"/>
                      </a:cubicBezTo>
                      <a:cubicBezTo>
                        <a:pt x="44744" y="-631"/>
                        <a:pt x="47879" y="-255"/>
                        <a:pt x="49559" y="1902"/>
                      </a:cubicBezTo>
                      <a:cubicBezTo>
                        <a:pt x="51240" y="4059"/>
                        <a:pt x="50864" y="7194"/>
                        <a:pt x="48707" y="8875"/>
                      </a:cubicBezTo>
                      <a:cubicBezTo>
                        <a:pt x="24052" y="28187"/>
                        <a:pt x="9932" y="57180"/>
                        <a:pt x="9932" y="88456"/>
                      </a:cubicBezTo>
                      <a:cubicBezTo>
                        <a:pt x="9932" y="91189"/>
                        <a:pt x="7700" y="93422"/>
                        <a:pt x="4966" y="93422"/>
                      </a:cubicBezTo>
                      <a:close/>
                    </a:path>
                  </a:pathLst>
                </a:custGeom>
                <a:grpFill/>
                <a:ln w="2503" cap="flat">
                  <a:noFill/>
                  <a:prstDash val="solid"/>
                  <a:miter/>
                </a:ln>
              </p:spPr>
              <p:txBody>
                <a:bodyPr rtlCol="0" anchor="ctr"/>
                <a:lstStyle/>
                <a:p>
                  <a:endParaRPr lang="en-GB" dirty="0"/>
                </a:p>
              </p:txBody>
            </p:sp>
            <p:sp>
              <p:nvSpPr>
                <p:cNvPr id="93" name="Freihandform: Form 837">
                  <a:extLst>
                    <a:ext uri="{FF2B5EF4-FFF2-40B4-BE49-F238E27FC236}">
                      <a16:creationId xmlns:a16="http://schemas.microsoft.com/office/drawing/2014/main" id="{04A7593B-D607-4C72-A759-3CE7AD2D38D7}"/>
                    </a:ext>
                  </a:extLst>
                </p:cNvPr>
                <p:cNvSpPr/>
                <p:nvPr/>
              </p:nvSpPr>
              <p:spPr>
                <a:xfrm>
                  <a:off x="5523560" y="1770069"/>
                  <a:ext cx="102943" cy="65084"/>
                </a:xfrm>
                <a:custGeom>
                  <a:avLst/>
                  <a:gdLst>
                    <a:gd name="connsiteX0" fmla="*/ 97990 w 102943"/>
                    <a:gd name="connsiteY0" fmla="*/ 65084 h 65084"/>
                    <a:gd name="connsiteX1" fmla="*/ 93626 w 102943"/>
                    <a:gd name="connsiteY1" fmla="*/ 62501 h 65084"/>
                    <a:gd name="connsiteX2" fmla="*/ 4966 w 102943"/>
                    <a:gd name="connsiteY2" fmla="*/ 9932 h 65084"/>
                    <a:gd name="connsiteX3" fmla="*/ 0 w 102943"/>
                    <a:gd name="connsiteY3" fmla="*/ 4966 h 65084"/>
                    <a:gd name="connsiteX4" fmla="*/ 4966 w 102943"/>
                    <a:gd name="connsiteY4" fmla="*/ 0 h 65084"/>
                    <a:gd name="connsiteX5" fmla="*/ 102329 w 102943"/>
                    <a:gd name="connsiteY5" fmla="*/ 57711 h 65084"/>
                    <a:gd name="connsiteX6" fmla="*/ 100348 w 102943"/>
                    <a:gd name="connsiteY6" fmla="*/ 64457 h 65084"/>
                    <a:gd name="connsiteX7" fmla="*/ 97990 w 102943"/>
                    <a:gd name="connsiteY7" fmla="*/ 65084 h 65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943" h="65084">
                      <a:moveTo>
                        <a:pt x="97990" y="65084"/>
                      </a:moveTo>
                      <a:cubicBezTo>
                        <a:pt x="96235" y="65084"/>
                        <a:pt x="94529" y="64156"/>
                        <a:pt x="93626" y="62501"/>
                      </a:cubicBezTo>
                      <a:cubicBezTo>
                        <a:pt x="75869" y="30072"/>
                        <a:pt x="41885" y="9932"/>
                        <a:pt x="4966" y="9932"/>
                      </a:cubicBezTo>
                      <a:cubicBezTo>
                        <a:pt x="2232" y="9932"/>
                        <a:pt x="0" y="7700"/>
                        <a:pt x="0" y="4966"/>
                      </a:cubicBezTo>
                      <a:cubicBezTo>
                        <a:pt x="0" y="2232"/>
                        <a:pt x="2232" y="0"/>
                        <a:pt x="4966" y="0"/>
                      </a:cubicBezTo>
                      <a:cubicBezTo>
                        <a:pt x="45521" y="0"/>
                        <a:pt x="82842" y="22121"/>
                        <a:pt x="102329" y="57711"/>
                      </a:cubicBezTo>
                      <a:cubicBezTo>
                        <a:pt x="103659" y="60118"/>
                        <a:pt x="102756" y="63128"/>
                        <a:pt x="100348" y="64457"/>
                      </a:cubicBezTo>
                      <a:cubicBezTo>
                        <a:pt x="99621" y="64884"/>
                        <a:pt x="98793" y="65084"/>
                        <a:pt x="97990" y="65084"/>
                      </a:cubicBezTo>
                      <a:close/>
                    </a:path>
                  </a:pathLst>
                </a:custGeom>
                <a:grpFill/>
                <a:ln w="2503" cap="flat">
                  <a:noFill/>
                  <a:prstDash val="solid"/>
                  <a:miter/>
                </a:ln>
              </p:spPr>
              <p:txBody>
                <a:bodyPr rtlCol="0" anchor="ctr"/>
                <a:lstStyle/>
                <a:p>
                  <a:endParaRPr lang="en-GB" dirty="0"/>
                </a:p>
              </p:txBody>
            </p:sp>
            <p:sp>
              <p:nvSpPr>
                <p:cNvPr id="94" name="Freihandform: Form 838">
                  <a:extLst>
                    <a:ext uri="{FF2B5EF4-FFF2-40B4-BE49-F238E27FC236}">
                      <a16:creationId xmlns:a16="http://schemas.microsoft.com/office/drawing/2014/main" id="{FD39509A-A3A2-40C2-96A2-B1940F75EBBA}"/>
                    </a:ext>
                  </a:extLst>
                </p:cNvPr>
                <p:cNvSpPr/>
                <p:nvPr/>
              </p:nvSpPr>
              <p:spPr>
                <a:xfrm>
                  <a:off x="5629551" y="1876085"/>
                  <a:ext cx="9931" cy="127108"/>
                </a:xfrm>
                <a:custGeom>
                  <a:avLst/>
                  <a:gdLst>
                    <a:gd name="connsiteX0" fmla="*/ 4966 w 9931"/>
                    <a:gd name="connsiteY0" fmla="*/ 127109 h 127108"/>
                    <a:gd name="connsiteX1" fmla="*/ 0 w 9931"/>
                    <a:gd name="connsiteY1" fmla="*/ 122143 h 127108"/>
                    <a:gd name="connsiteX2" fmla="*/ 0 w 9931"/>
                    <a:gd name="connsiteY2" fmla="*/ 4966 h 127108"/>
                    <a:gd name="connsiteX3" fmla="*/ 4966 w 9931"/>
                    <a:gd name="connsiteY3" fmla="*/ 0 h 127108"/>
                    <a:gd name="connsiteX4" fmla="*/ 9932 w 9931"/>
                    <a:gd name="connsiteY4" fmla="*/ 4966 h 127108"/>
                    <a:gd name="connsiteX5" fmla="*/ 9932 w 9931"/>
                    <a:gd name="connsiteY5" fmla="*/ 122143 h 127108"/>
                    <a:gd name="connsiteX6" fmla="*/ 4966 w 9931"/>
                    <a:gd name="connsiteY6" fmla="*/ 127109 h 127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127108">
                      <a:moveTo>
                        <a:pt x="4966" y="127109"/>
                      </a:moveTo>
                      <a:cubicBezTo>
                        <a:pt x="2232" y="127109"/>
                        <a:pt x="0" y="124877"/>
                        <a:pt x="0" y="122143"/>
                      </a:cubicBezTo>
                      <a:lnTo>
                        <a:pt x="0" y="4966"/>
                      </a:lnTo>
                      <a:cubicBezTo>
                        <a:pt x="0" y="2232"/>
                        <a:pt x="2232" y="0"/>
                        <a:pt x="4966" y="0"/>
                      </a:cubicBezTo>
                      <a:cubicBezTo>
                        <a:pt x="7700" y="0"/>
                        <a:pt x="9932" y="2232"/>
                        <a:pt x="9932" y="4966"/>
                      </a:cubicBezTo>
                      <a:lnTo>
                        <a:pt x="9932" y="122143"/>
                      </a:lnTo>
                      <a:cubicBezTo>
                        <a:pt x="9932" y="124877"/>
                        <a:pt x="7700" y="127109"/>
                        <a:pt x="4966" y="127109"/>
                      </a:cubicBezTo>
                      <a:close/>
                    </a:path>
                  </a:pathLst>
                </a:custGeom>
                <a:grpFill/>
                <a:ln w="2503" cap="flat">
                  <a:noFill/>
                  <a:prstDash val="solid"/>
                  <a:miter/>
                </a:ln>
              </p:spPr>
              <p:txBody>
                <a:bodyPr rtlCol="0" anchor="ctr"/>
                <a:lstStyle/>
                <a:p>
                  <a:endParaRPr lang="en-GB" dirty="0"/>
                </a:p>
              </p:txBody>
            </p:sp>
            <p:sp>
              <p:nvSpPr>
                <p:cNvPr id="95" name="Freihandform: Form 839">
                  <a:extLst>
                    <a:ext uri="{FF2B5EF4-FFF2-40B4-BE49-F238E27FC236}">
                      <a16:creationId xmlns:a16="http://schemas.microsoft.com/office/drawing/2014/main" id="{94D86D8E-B54B-42AB-8406-583F01848694}"/>
                    </a:ext>
                  </a:extLst>
                </p:cNvPr>
                <p:cNvSpPr/>
                <p:nvPr/>
              </p:nvSpPr>
              <p:spPr>
                <a:xfrm>
                  <a:off x="5438687" y="1879947"/>
                  <a:ext cx="9931" cy="136413"/>
                </a:xfrm>
                <a:custGeom>
                  <a:avLst/>
                  <a:gdLst>
                    <a:gd name="connsiteX0" fmla="*/ 4966 w 9931"/>
                    <a:gd name="connsiteY0" fmla="*/ 136414 h 136413"/>
                    <a:gd name="connsiteX1" fmla="*/ 0 w 9931"/>
                    <a:gd name="connsiteY1" fmla="*/ 131448 h 136413"/>
                    <a:gd name="connsiteX2" fmla="*/ 0 w 9931"/>
                    <a:gd name="connsiteY2" fmla="*/ 4966 h 136413"/>
                    <a:gd name="connsiteX3" fmla="*/ 4966 w 9931"/>
                    <a:gd name="connsiteY3" fmla="*/ 0 h 136413"/>
                    <a:gd name="connsiteX4" fmla="*/ 9932 w 9931"/>
                    <a:gd name="connsiteY4" fmla="*/ 4966 h 136413"/>
                    <a:gd name="connsiteX5" fmla="*/ 9932 w 9931"/>
                    <a:gd name="connsiteY5" fmla="*/ 131448 h 136413"/>
                    <a:gd name="connsiteX6" fmla="*/ 4966 w 9931"/>
                    <a:gd name="connsiteY6" fmla="*/ 136414 h 13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136413">
                      <a:moveTo>
                        <a:pt x="4966" y="136414"/>
                      </a:moveTo>
                      <a:cubicBezTo>
                        <a:pt x="2232" y="136414"/>
                        <a:pt x="0" y="134182"/>
                        <a:pt x="0" y="131448"/>
                      </a:cubicBezTo>
                      <a:lnTo>
                        <a:pt x="0" y="4966"/>
                      </a:lnTo>
                      <a:cubicBezTo>
                        <a:pt x="0" y="2232"/>
                        <a:pt x="2232" y="0"/>
                        <a:pt x="4966" y="0"/>
                      </a:cubicBezTo>
                      <a:cubicBezTo>
                        <a:pt x="7700" y="0"/>
                        <a:pt x="9932" y="2232"/>
                        <a:pt x="9932" y="4966"/>
                      </a:cubicBezTo>
                      <a:lnTo>
                        <a:pt x="9932" y="131448"/>
                      </a:lnTo>
                      <a:cubicBezTo>
                        <a:pt x="9932" y="134182"/>
                        <a:pt x="7725" y="136414"/>
                        <a:pt x="4966" y="136414"/>
                      </a:cubicBezTo>
                      <a:close/>
                    </a:path>
                  </a:pathLst>
                </a:custGeom>
                <a:grpFill/>
                <a:ln w="2503" cap="flat">
                  <a:noFill/>
                  <a:prstDash val="solid"/>
                  <a:miter/>
                </a:ln>
              </p:spPr>
              <p:txBody>
                <a:bodyPr rtlCol="0" anchor="ctr"/>
                <a:lstStyle/>
                <a:p>
                  <a:endParaRPr lang="en-GB" dirty="0"/>
                </a:p>
              </p:txBody>
            </p:sp>
            <p:sp>
              <p:nvSpPr>
                <p:cNvPr id="96" name="Freihandform: Form 840">
                  <a:extLst>
                    <a:ext uri="{FF2B5EF4-FFF2-40B4-BE49-F238E27FC236}">
                      <a16:creationId xmlns:a16="http://schemas.microsoft.com/office/drawing/2014/main" id="{419B883B-FB73-4D0D-925A-FD2671899EE2}"/>
                    </a:ext>
                  </a:extLst>
                </p:cNvPr>
                <p:cNvSpPr/>
                <p:nvPr/>
              </p:nvSpPr>
              <p:spPr>
                <a:xfrm>
                  <a:off x="5454733" y="1795099"/>
                  <a:ext cx="106524" cy="45120"/>
                </a:xfrm>
                <a:custGeom>
                  <a:avLst/>
                  <a:gdLst>
                    <a:gd name="connsiteX0" fmla="*/ 4972 w 106524"/>
                    <a:gd name="connsiteY0" fmla="*/ 45120 h 45120"/>
                    <a:gd name="connsiteX1" fmla="*/ 2062 w 106524"/>
                    <a:gd name="connsiteY1" fmla="*/ 44167 h 45120"/>
                    <a:gd name="connsiteX2" fmla="*/ 959 w 106524"/>
                    <a:gd name="connsiteY2" fmla="*/ 37245 h 45120"/>
                    <a:gd name="connsiteX3" fmla="*/ 73793 w 106524"/>
                    <a:gd name="connsiteY3" fmla="*/ 0 h 45120"/>
                    <a:gd name="connsiteX4" fmla="*/ 103188 w 106524"/>
                    <a:gd name="connsiteY4" fmla="*/ 4916 h 45120"/>
                    <a:gd name="connsiteX5" fmla="*/ 106247 w 106524"/>
                    <a:gd name="connsiteY5" fmla="*/ 11236 h 45120"/>
                    <a:gd name="connsiteX6" fmla="*/ 99927 w 106524"/>
                    <a:gd name="connsiteY6" fmla="*/ 14296 h 45120"/>
                    <a:gd name="connsiteX7" fmla="*/ 73793 w 106524"/>
                    <a:gd name="connsiteY7" fmla="*/ 9932 h 45120"/>
                    <a:gd name="connsiteX8" fmla="*/ 9010 w 106524"/>
                    <a:gd name="connsiteY8" fmla="*/ 43064 h 45120"/>
                    <a:gd name="connsiteX9" fmla="*/ 4972 w 106524"/>
                    <a:gd name="connsiteY9" fmla="*/ 45120 h 4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524" h="45120">
                      <a:moveTo>
                        <a:pt x="4972" y="45120"/>
                      </a:moveTo>
                      <a:cubicBezTo>
                        <a:pt x="3968" y="45120"/>
                        <a:pt x="2940" y="44819"/>
                        <a:pt x="2062" y="44167"/>
                      </a:cubicBezTo>
                      <a:cubicBezTo>
                        <a:pt x="-170" y="42562"/>
                        <a:pt x="-672" y="39452"/>
                        <a:pt x="959" y="37245"/>
                      </a:cubicBezTo>
                      <a:cubicBezTo>
                        <a:pt x="17813" y="13920"/>
                        <a:pt x="45051" y="0"/>
                        <a:pt x="73793" y="0"/>
                      </a:cubicBezTo>
                      <a:cubicBezTo>
                        <a:pt x="83876" y="0"/>
                        <a:pt x="93757" y="1655"/>
                        <a:pt x="103188" y="4916"/>
                      </a:cubicBezTo>
                      <a:cubicBezTo>
                        <a:pt x="105771" y="5819"/>
                        <a:pt x="107150" y="8628"/>
                        <a:pt x="106247" y="11236"/>
                      </a:cubicBezTo>
                      <a:cubicBezTo>
                        <a:pt x="105345" y="13819"/>
                        <a:pt x="102510" y="15199"/>
                        <a:pt x="99927" y="14296"/>
                      </a:cubicBezTo>
                      <a:cubicBezTo>
                        <a:pt x="91550" y="11387"/>
                        <a:pt x="82747" y="9932"/>
                        <a:pt x="73793" y="9932"/>
                      </a:cubicBezTo>
                      <a:cubicBezTo>
                        <a:pt x="48236" y="9932"/>
                        <a:pt x="24008" y="22322"/>
                        <a:pt x="9010" y="43064"/>
                      </a:cubicBezTo>
                      <a:cubicBezTo>
                        <a:pt x="8031" y="44393"/>
                        <a:pt x="6502" y="45120"/>
                        <a:pt x="4972" y="45120"/>
                      </a:cubicBezTo>
                      <a:close/>
                    </a:path>
                  </a:pathLst>
                </a:custGeom>
                <a:grpFill/>
                <a:ln w="2503" cap="flat">
                  <a:noFill/>
                  <a:prstDash val="solid"/>
                  <a:miter/>
                </a:ln>
              </p:spPr>
              <p:txBody>
                <a:bodyPr rtlCol="0" anchor="ctr"/>
                <a:lstStyle/>
                <a:p>
                  <a:endParaRPr lang="en-GB" dirty="0"/>
                </a:p>
              </p:txBody>
            </p:sp>
            <p:sp>
              <p:nvSpPr>
                <p:cNvPr id="97" name="Freihandform: Form 841">
                  <a:extLst>
                    <a:ext uri="{FF2B5EF4-FFF2-40B4-BE49-F238E27FC236}">
                      <a16:creationId xmlns:a16="http://schemas.microsoft.com/office/drawing/2014/main" id="{04B9DBFD-4ADD-4C2A-AE5A-20B165938A22}"/>
                    </a:ext>
                  </a:extLst>
                </p:cNvPr>
                <p:cNvSpPr/>
                <p:nvPr/>
              </p:nvSpPr>
              <p:spPr>
                <a:xfrm>
                  <a:off x="5585825" y="1822302"/>
                  <a:ext cx="32514" cy="101887"/>
                </a:xfrm>
                <a:custGeom>
                  <a:avLst/>
                  <a:gdLst>
                    <a:gd name="connsiteX0" fmla="*/ 27549 w 32514"/>
                    <a:gd name="connsiteY0" fmla="*/ 101888 h 101887"/>
                    <a:gd name="connsiteX1" fmla="*/ 22583 w 32514"/>
                    <a:gd name="connsiteY1" fmla="*/ 96922 h 101887"/>
                    <a:gd name="connsiteX2" fmla="*/ 22583 w 32514"/>
                    <a:gd name="connsiteY2" fmla="*/ 62612 h 101887"/>
                    <a:gd name="connsiteX3" fmla="*/ 1314 w 32514"/>
                    <a:gd name="connsiteY3" fmla="*/ 8337 h 101887"/>
                    <a:gd name="connsiteX4" fmla="*/ 1590 w 32514"/>
                    <a:gd name="connsiteY4" fmla="*/ 1314 h 101887"/>
                    <a:gd name="connsiteX5" fmla="*/ 8613 w 32514"/>
                    <a:gd name="connsiteY5" fmla="*/ 1590 h 101887"/>
                    <a:gd name="connsiteX6" fmla="*/ 32515 w 32514"/>
                    <a:gd name="connsiteY6" fmla="*/ 62612 h 101887"/>
                    <a:gd name="connsiteX7" fmla="*/ 32515 w 32514"/>
                    <a:gd name="connsiteY7" fmla="*/ 96922 h 101887"/>
                    <a:gd name="connsiteX8" fmla="*/ 27549 w 32514"/>
                    <a:gd name="connsiteY8" fmla="*/ 101888 h 101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14" h="101887">
                      <a:moveTo>
                        <a:pt x="27549" y="101888"/>
                      </a:moveTo>
                      <a:cubicBezTo>
                        <a:pt x="24815" y="101888"/>
                        <a:pt x="22583" y="99656"/>
                        <a:pt x="22583" y="96922"/>
                      </a:cubicBezTo>
                      <a:lnTo>
                        <a:pt x="22583" y="62612"/>
                      </a:lnTo>
                      <a:cubicBezTo>
                        <a:pt x="22583" y="42422"/>
                        <a:pt x="15034" y="23160"/>
                        <a:pt x="1314" y="8337"/>
                      </a:cubicBezTo>
                      <a:cubicBezTo>
                        <a:pt x="-542" y="6331"/>
                        <a:pt x="-416" y="3195"/>
                        <a:pt x="1590" y="1314"/>
                      </a:cubicBezTo>
                      <a:cubicBezTo>
                        <a:pt x="3597" y="-542"/>
                        <a:pt x="6732" y="-416"/>
                        <a:pt x="8613" y="1590"/>
                      </a:cubicBezTo>
                      <a:cubicBezTo>
                        <a:pt x="24037" y="18244"/>
                        <a:pt x="32515" y="39914"/>
                        <a:pt x="32515" y="62612"/>
                      </a:cubicBezTo>
                      <a:lnTo>
                        <a:pt x="32515" y="96922"/>
                      </a:lnTo>
                      <a:cubicBezTo>
                        <a:pt x="32515" y="99681"/>
                        <a:pt x="30283" y="101888"/>
                        <a:pt x="27549" y="101888"/>
                      </a:cubicBezTo>
                      <a:close/>
                    </a:path>
                  </a:pathLst>
                </a:custGeom>
                <a:grpFill/>
                <a:ln w="2503" cap="flat">
                  <a:noFill/>
                  <a:prstDash val="solid"/>
                  <a:miter/>
                </a:ln>
              </p:spPr>
              <p:txBody>
                <a:bodyPr rtlCol="0" anchor="ctr"/>
                <a:lstStyle/>
                <a:p>
                  <a:endParaRPr lang="en-GB" dirty="0"/>
                </a:p>
              </p:txBody>
            </p:sp>
            <p:sp>
              <p:nvSpPr>
                <p:cNvPr id="98" name="Freihandform: Form 842">
                  <a:extLst>
                    <a:ext uri="{FF2B5EF4-FFF2-40B4-BE49-F238E27FC236}">
                      <a16:creationId xmlns:a16="http://schemas.microsoft.com/office/drawing/2014/main" id="{9102B693-F477-4A4C-B127-71E10E9337A3}"/>
                    </a:ext>
                  </a:extLst>
                </p:cNvPr>
                <p:cNvSpPr/>
                <p:nvPr/>
              </p:nvSpPr>
              <p:spPr>
                <a:xfrm>
                  <a:off x="5608408" y="1951778"/>
                  <a:ext cx="9931" cy="65234"/>
                </a:xfrm>
                <a:custGeom>
                  <a:avLst/>
                  <a:gdLst>
                    <a:gd name="connsiteX0" fmla="*/ 4966 w 9931"/>
                    <a:gd name="connsiteY0" fmla="*/ 65235 h 65234"/>
                    <a:gd name="connsiteX1" fmla="*/ 0 w 9931"/>
                    <a:gd name="connsiteY1" fmla="*/ 60269 h 65234"/>
                    <a:gd name="connsiteX2" fmla="*/ 0 w 9931"/>
                    <a:gd name="connsiteY2" fmla="*/ 4966 h 65234"/>
                    <a:gd name="connsiteX3" fmla="*/ 4966 w 9931"/>
                    <a:gd name="connsiteY3" fmla="*/ 0 h 65234"/>
                    <a:gd name="connsiteX4" fmla="*/ 9932 w 9931"/>
                    <a:gd name="connsiteY4" fmla="*/ 4966 h 65234"/>
                    <a:gd name="connsiteX5" fmla="*/ 9932 w 9931"/>
                    <a:gd name="connsiteY5" fmla="*/ 60269 h 65234"/>
                    <a:gd name="connsiteX6" fmla="*/ 4966 w 9931"/>
                    <a:gd name="connsiteY6" fmla="*/ 65235 h 6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65234">
                      <a:moveTo>
                        <a:pt x="4966" y="65235"/>
                      </a:moveTo>
                      <a:cubicBezTo>
                        <a:pt x="2232" y="65235"/>
                        <a:pt x="0" y="63003"/>
                        <a:pt x="0" y="60269"/>
                      </a:cubicBezTo>
                      <a:lnTo>
                        <a:pt x="0" y="4966"/>
                      </a:lnTo>
                      <a:cubicBezTo>
                        <a:pt x="0" y="2232"/>
                        <a:pt x="2232" y="0"/>
                        <a:pt x="4966" y="0"/>
                      </a:cubicBezTo>
                      <a:cubicBezTo>
                        <a:pt x="7700" y="0"/>
                        <a:pt x="9932" y="2232"/>
                        <a:pt x="9932" y="4966"/>
                      </a:cubicBezTo>
                      <a:lnTo>
                        <a:pt x="9932" y="60269"/>
                      </a:lnTo>
                      <a:cubicBezTo>
                        <a:pt x="9932" y="63028"/>
                        <a:pt x="7700" y="65235"/>
                        <a:pt x="4966" y="65235"/>
                      </a:cubicBezTo>
                      <a:close/>
                    </a:path>
                  </a:pathLst>
                </a:custGeom>
                <a:grpFill/>
                <a:ln w="2503" cap="flat">
                  <a:noFill/>
                  <a:prstDash val="solid"/>
                  <a:miter/>
                </a:ln>
              </p:spPr>
              <p:txBody>
                <a:bodyPr rtlCol="0" anchor="ctr"/>
                <a:lstStyle/>
                <a:p>
                  <a:endParaRPr lang="en-GB" dirty="0"/>
                </a:p>
              </p:txBody>
            </p:sp>
            <p:sp>
              <p:nvSpPr>
                <p:cNvPr id="99" name="Freihandform: Form 843">
                  <a:extLst>
                    <a:ext uri="{FF2B5EF4-FFF2-40B4-BE49-F238E27FC236}">
                      <a16:creationId xmlns:a16="http://schemas.microsoft.com/office/drawing/2014/main" id="{5647E7B6-5C16-45F0-A8BA-1E0BB21AED9A}"/>
                    </a:ext>
                  </a:extLst>
                </p:cNvPr>
                <p:cNvSpPr/>
                <p:nvPr/>
              </p:nvSpPr>
              <p:spPr>
                <a:xfrm>
                  <a:off x="5462865" y="1826482"/>
                  <a:ext cx="36761" cy="115489"/>
                </a:xfrm>
                <a:custGeom>
                  <a:avLst/>
                  <a:gdLst>
                    <a:gd name="connsiteX0" fmla="*/ 4966 w 36761"/>
                    <a:gd name="connsiteY0" fmla="*/ 115489 h 115489"/>
                    <a:gd name="connsiteX1" fmla="*/ 0 w 36761"/>
                    <a:gd name="connsiteY1" fmla="*/ 110523 h 115489"/>
                    <a:gd name="connsiteX2" fmla="*/ 0 w 36761"/>
                    <a:gd name="connsiteY2" fmla="*/ 55346 h 115489"/>
                    <a:gd name="connsiteX3" fmla="*/ 29018 w 36761"/>
                    <a:gd name="connsiteY3" fmla="*/ 846 h 115489"/>
                    <a:gd name="connsiteX4" fmla="*/ 35916 w 36761"/>
                    <a:gd name="connsiteY4" fmla="*/ 2200 h 115489"/>
                    <a:gd name="connsiteX5" fmla="*/ 34561 w 36761"/>
                    <a:gd name="connsiteY5" fmla="*/ 9097 h 115489"/>
                    <a:gd name="connsiteX6" fmla="*/ 9907 w 36761"/>
                    <a:gd name="connsiteY6" fmla="*/ 55371 h 115489"/>
                    <a:gd name="connsiteX7" fmla="*/ 9907 w 36761"/>
                    <a:gd name="connsiteY7" fmla="*/ 110549 h 115489"/>
                    <a:gd name="connsiteX8" fmla="*/ 4966 w 36761"/>
                    <a:gd name="connsiteY8" fmla="*/ 115489 h 115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761" h="115489">
                      <a:moveTo>
                        <a:pt x="4966" y="115489"/>
                      </a:moveTo>
                      <a:cubicBezTo>
                        <a:pt x="2232" y="115489"/>
                        <a:pt x="0" y="113257"/>
                        <a:pt x="0" y="110523"/>
                      </a:cubicBezTo>
                      <a:lnTo>
                        <a:pt x="0" y="55346"/>
                      </a:lnTo>
                      <a:cubicBezTo>
                        <a:pt x="0" y="33451"/>
                        <a:pt x="10860" y="13085"/>
                        <a:pt x="29018" y="846"/>
                      </a:cubicBezTo>
                      <a:cubicBezTo>
                        <a:pt x="31301" y="-684"/>
                        <a:pt x="34386" y="-82"/>
                        <a:pt x="35916" y="2200"/>
                      </a:cubicBezTo>
                      <a:cubicBezTo>
                        <a:pt x="37445" y="4482"/>
                        <a:pt x="36844" y="7567"/>
                        <a:pt x="34561" y="9097"/>
                      </a:cubicBezTo>
                      <a:cubicBezTo>
                        <a:pt x="19137" y="19481"/>
                        <a:pt x="9907" y="36786"/>
                        <a:pt x="9907" y="55371"/>
                      </a:cubicBezTo>
                      <a:lnTo>
                        <a:pt x="9907" y="110549"/>
                      </a:lnTo>
                      <a:cubicBezTo>
                        <a:pt x="9932" y="113257"/>
                        <a:pt x="7700" y="115489"/>
                        <a:pt x="4966" y="115489"/>
                      </a:cubicBezTo>
                      <a:close/>
                    </a:path>
                  </a:pathLst>
                </a:custGeom>
                <a:grpFill/>
                <a:ln w="2503" cap="flat">
                  <a:noFill/>
                  <a:prstDash val="solid"/>
                  <a:miter/>
                </a:ln>
              </p:spPr>
              <p:txBody>
                <a:bodyPr rtlCol="0" anchor="ctr"/>
                <a:lstStyle/>
                <a:p>
                  <a:endParaRPr lang="en-GB" dirty="0"/>
                </a:p>
              </p:txBody>
            </p:sp>
            <p:sp>
              <p:nvSpPr>
                <p:cNvPr id="100" name="Freihandform: Form 844">
                  <a:extLst>
                    <a:ext uri="{FF2B5EF4-FFF2-40B4-BE49-F238E27FC236}">
                      <a16:creationId xmlns:a16="http://schemas.microsoft.com/office/drawing/2014/main" id="{978235D0-A95F-47FE-9C48-BE5FB0CFEC67}"/>
                    </a:ext>
                  </a:extLst>
                </p:cNvPr>
                <p:cNvSpPr/>
                <p:nvPr/>
              </p:nvSpPr>
              <p:spPr>
                <a:xfrm>
                  <a:off x="5523560" y="1816167"/>
                  <a:ext cx="70627" cy="70627"/>
                </a:xfrm>
                <a:custGeom>
                  <a:avLst/>
                  <a:gdLst>
                    <a:gd name="connsiteX0" fmla="*/ 65661 w 70627"/>
                    <a:gd name="connsiteY0" fmla="*/ 70627 h 70627"/>
                    <a:gd name="connsiteX1" fmla="*/ 60695 w 70627"/>
                    <a:gd name="connsiteY1" fmla="*/ 65661 h 70627"/>
                    <a:gd name="connsiteX2" fmla="*/ 4966 w 70627"/>
                    <a:gd name="connsiteY2" fmla="*/ 9932 h 70627"/>
                    <a:gd name="connsiteX3" fmla="*/ 0 w 70627"/>
                    <a:gd name="connsiteY3" fmla="*/ 4966 h 70627"/>
                    <a:gd name="connsiteX4" fmla="*/ 4966 w 70627"/>
                    <a:gd name="connsiteY4" fmla="*/ 0 h 70627"/>
                    <a:gd name="connsiteX5" fmla="*/ 70627 w 70627"/>
                    <a:gd name="connsiteY5" fmla="*/ 65661 h 70627"/>
                    <a:gd name="connsiteX6" fmla="*/ 65661 w 70627"/>
                    <a:gd name="connsiteY6" fmla="*/ 70627 h 70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627" h="70627">
                      <a:moveTo>
                        <a:pt x="65661" y="70627"/>
                      </a:moveTo>
                      <a:cubicBezTo>
                        <a:pt x="62927" y="70627"/>
                        <a:pt x="60695" y="68395"/>
                        <a:pt x="60695" y="65661"/>
                      </a:cubicBezTo>
                      <a:cubicBezTo>
                        <a:pt x="60695" y="34937"/>
                        <a:pt x="35690" y="9932"/>
                        <a:pt x="4966" y="9932"/>
                      </a:cubicBezTo>
                      <a:cubicBezTo>
                        <a:pt x="2232" y="9932"/>
                        <a:pt x="0" y="7700"/>
                        <a:pt x="0" y="4966"/>
                      </a:cubicBezTo>
                      <a:cubicBezTo>
                        <a:pt x="0" y="2232"/>
                        <a:pt x="2232" y="0"/>
                        <a:pt x="4966" y="0"/>
                      </a:cubicBezTo>
                      <a:cubicBezTo>
                        <a:pt x="41182" y="0"/>
                        <a:pt x="70627" y="29445"/>
                        <a:pt x="70627" y="65661"/>
                      </a:cubicBezTo>
                      <a:cubicBezTo>
                        <a:pt x="70627" y="68395"/>
                        <a:pt x="68395" y="70627"/>
                        <a:pt x="65661" y="70627"/>
                      </a:cubicBezTo>
                      <a:close/>
                    </a:path>
                  </a:pathLst>
                </a:custGeom>
                <a:grpFill/>
                <a:ln w="2503" cap="flat">
                  <a:noFill/>
                  <a:prstDash val="solid"/>
                  <a:miter/>
                </a:ln>
              </p:spPr>
              <p:txBody>
                <a:bodyPr rtlCol="0" anchor="ctr"/>
                <a:lstStyle/>
                <a:p>
                  <a:endParaRPr lang="en-GB" dirty="0"/>
                </a:p>
              </p:txBody>
            </p:sp>
            <p:sp>
              <p:nvSpPr>
                <p:cNvPr id="101" name="Freihandform: Form 845">
                  <a:extLst>
                    <a:ext uri="{FF2B5EF4-FFF2-40B4-BE49-F238E27FC236}">
                      <a16:creationId xmlns:a16="http://schemas.microsoft.com/office/drawing/2014/main" id="{15481BD4-0D61-4D15-B81D-D2C6A677A9B1}"/>
                    </a:ext>
                  </a:extLst>
                </p:cNvPr>
                <p:cNvSpPr/>
                <p:nvPr/>
              </p:nvSpPr>
              <p:spPr>
                <a:xfrm>
                  <a:off x="5583377" y="1912276"/>
                  <a:ext cx="9931" cy="116600"/>
                </a:xfrm>
                <a:custGeom>
                  <a:avLst/>
                  <a:gdLst>
                    <a:gd name="connsiteX0" fmla="*/ 4966 w 9931"/>
                    <a:gd name="connsiteY0" fmla="*/ 116600 h 116600"/>
                    <a:gd name="connsiteX1" fmla="*/ 0 w 9931"/>
                    <a:gd name="connsiteY1" fmla="*/ 111634 h 116600"/>
                    <a:gd name="connsiteX2" fmla="*/ 0 w 9931"/>
                    <a:gd name="connsiteY2" fmla="*/ 4966 h 116600"/>
                    <a:gd name="connsiteX3" fmla="*/ 4966 w 9931"/>
                    <a:gd name="connsiteY3" fmla="*/ 0 h 116600"/>
                    <a:gd name="connsiteX4" fmla="*/ 9932 w 9931"/>
                    <a:gd name="connsiteY4" fmla="*/ 4966 h 116600"/>
                    <a:gd name="connsiteX5" fmla="*/ 9932 w 9931"/>
                    <a:gd name="connsiteY5" fmla="*/ 111634 h 116600"/>
                    <a:gd name="connsiteX6" fmla="*/ 4966 w 9931"/>
                    <a:gd name="connsiteY6" fmla="*/ 116600 h 11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116600">
                      <a:moveTo>
                        <a:pt x="4966" y="116600"/>
                      </a:moveTo>
                      <a:cubicBezTo>
                        <a:pt x="2232" y="116600"/>
                        <a:pt x="0" y="114368"/>
                        <a:pt x="0" y="111634"/>
                      </a:cubicBezTo>
                      <a:lnTo>
                        <a:pt x="0" y="4966"/>
                      </a:lnTo>
                      <a:cubicBezTo>
                        <a:pt x="0" y="2232"/>
                        <a:pt x="2232" y="0"/>
                        <a:pt x="4966" y="0"/>
                      </a:cubicBezTo>
                      <a:cubicBezTo>
                        <a:pt x="7700" y="0"/>
                        <a:pt x="9932" y="2232"/>
                        <a:pt x="9932" y="4966"/>
                      </a:cubicBezTo>
                      <a:lnTo>
                        <a:pt x="9932" y="111634"/>
                      </a:lnTo>
                      <a:cubicBezTo>
                        <a:pt x="9932" y="114368"/>
                        <a:pt x="7700" y="116600"/>
                        <a:pt x="4966" y="116600"/>
                      </a:cubicBezTo>
                      <a:close/>
                    </a:path>
                  </a:pathLst>
                </a:custGeom>
                <a:grpFill/>
                <a:ln w="2503" cap="flat">
                  <a:noFill/>
                  <a:prstDash val="solid"/>
                  <a:miter/>
                </a:ln>
              </p:spPr>
              <p:txBody>
                <a:bodyPr rtlCol="0" anchor="ctr"/>
                <a:lstStyle/>
                <a:p>
                  <a:endParaRPr lang="en-GB" dirty="0"/>
                </a:p>
              </p:txBody>
            </p:sp>
            <p:sp>
              <p:nvSpPr>
                <p:cNvPr id="102" name="Freihandform: Form 846">
                  <a:extLst>
                    <a:ext uri="{FF2B5EF4-FFF2-40B4-BE49-F238E27FC236}">
                      <a16:creationId xmlns:a16="http://schemas.microsoft.com/office/drawing/2014/main" id="{784DD303-F6F4-48B7-A5B3-A03157752D5F}"/>
                    </a:ext>
                  </a:extLst>
                </p:cNvPr>
                <p:cNvSpPr/>
                <p:nvPr/>
              </p:nvSpPr>
              <p:spPr>
                <a:xfrm>
                  <a:off x="5462865" y="1965598"/>
                  <a:ext cx="9931" cy="64457"/>
                </a:xfrm>
                <a:custGeom>
                  <a:avLst/>
                  <a:gdLst>
                    <a:gd name="connsiteX0" fmla="*/ 4966 w 9931"/>
                    <a:gd name="connsiteY0" fmla="*/ 64457 h 64457"/>
                    <a:gd name="connsiteX1" fmla="*/ 0 w 9931"/>
                    <a:gd name="connsiteY1" fmla="*/ 59491 h 64457"/>
                    <a:gd name="connsiteX2" fmla="*/ 0 w 9931"/>
                    <a:gd name="connsiteY2" fmla="*/ 4966 h 64457"/>
                    <a:gd name="connsiteX3" fmla="*/ 4966 w 9931"/>
                    <a:gd name="connsiteY3" fmla="*/ 0 h 64457"/>
                    <a:gd name="connsiteX4" fmla="*/ 9932 w 9931"/>
                    <a:gd name="connsiteY4" fmla="*/ 4966 h 64457"/>
                    <a:gd name="connsiteX5" fmla="*/ 9932 w 9931"/>
                    <a:gd name="connsiteY5" fmla="*/ 59491 h 64457"/>
                    <a:gd name="connsiteX6" fmla="*/ 4966 w 9931"/>
                    <a:gd name="connsiteY6" fmla="*/ 64457 h 6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64457">
                      <a:moveTo>
                        <a:pt x="4966" y="64457"/>
                      </a:moveTo>
                      <a:cubicBezTo>
                        <a:pt x="2232" y="64457"/>
                        <a:pt x="0" y="62225"/>
                        <a:pt x="0" y="59491"/>
                      </a:cubicBezTo>
                      <a:lnTo>
                        <a:pt x="0" y="4966"/>
                      </a:lnTo>
                      <a:cubicBezTo>
                        <a:pt x="0" y="2232"/>
                        <a:pt x="2232" y="0"/>
                        <a:pt x="4966" y="0"/>
                      </a:cubicBezTo>
                      <a:cubicBezTo>
                        <a:pt x="7700" y="0"/>
                        <a:pt x="9932" y="2232"/>
                        <a:pt x="9932" y="4966"/>
                      </a:cubicBezTo>
                      <a:lnTo>
                        <a:pt x="9932" y="59491"/>
                      </a:lnTo>
                      <a:cubicBezTo>
                        <a:pt x="9932" y="62250"/>
                        <a:pt x="7700" y="64457"/>
                        <a:pt x="4966" y="64457"/>
                      </a:cubicBezTo>
                      <a:close/>
                    </a:path>
                  </a:pathLst>
                </a:custGeom>
                <a:grpFill/>
                <a:ln w="2503" cap="flat">
                  <a:noFill/>
                  <a:prstDash val="solid"/>
                  <a:miter/>
                </a:ln>
              </p:spPr>
              <p:txBody>
                <a:bodyPr rtlCol="0" anchor="ctr"/>
                <a:lstStyle/>
                <a:p>
                  <a:endParaRPr lang="en-GB" dirty="0"/>
                </a:p>
              </p:txBody>
            </p:sp>
            <p:sp>
              <p:nvSpPr>
                <p:cNvPr id="103" name="Freihandform: Form 847">
                  <a:extLst>
                    <a:ext uri="{FF2B5EF4-FFF2-40B4-BE49-F238E27FC236}">
                      <a16:creationId xmlns:a16="http://schemas.microsoft.com/office/drawing/2014/main" id="{552400B2-482B-4575-A27A-E9360E6924E1}"/>
                    </a:ext>
                  </a:extLst>
                </p:cNvPr>
                <p:cNvSpPr/>
                <p:nvPr/>
              </p:nvSpPr>
              <p:spPr>
                <a:xfrm>
                  <a:off x="5481274" y="1924791"/>
                  <a:ext cx="9931" cy="115922"/>
                </a:xfrm>
                <a:custGeom>
                  <a:avLst/>
                  <a:gdLst>
                    <a:gd name="connsiteX0" fmla="*/ 4966 w 9931"/>
                    <a:gd name="connsiteY0" fmla="*/ 115923 h 115922"/>
                    <a:gd name="connsiteX1" fmla="*/ 0 w 9931"/>
                    <a:gd name="connsiteY1" fmla="*/ 110957 h 115922"/>
                    <a:gd name="connsiteX2" fmla="*/ 0 w 9931"/>
                    <a:gd name="connsiteY2" fmla="*/ 4966 h 115922"/>
                    <a:gd name="connsiteX3" fmla="*/ 4966 w 9931"/>
                    <a:gd name="connsiteY3" fmla="*/ 0 h 115922"/>
                    <a:gd name="connsiteX4" fmla="*/ 9932 w 9931"/>
                    <a:gd name="connsiteY4" fmla="*/ 4966 h 115922"/>
                    <a:gd name="connsiteX5" fmla="*/ 9932 w 9931"/>
                    <a:gd name="connsiteY5" fmla="*/ 110957 h 115922"/>
                    <a:gd name="connsiteX6" fmla="*/ 4966 w 9931"/>
                    <a:gd name="connsiteY6" fmla="*/ 115923 h 11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115922">
                      <a:moveTo>
                        <a:pt x="4966" y="115923"/>
                      </a:moveTo>
                      <a:cubicBezTo>
                        <a:pt x="2232" y="115923"/>
                        <a:pt x="0" y="113691"/>
                        <a:pt x="0" y="110957"/>
                      </a:cubicBezTo>
                      <a:lnTo>
                        <a:pt x="0" y="4966"/>
                      </a:lnTo>
                      <a:cubicBezTo>
                        <a:pt x="0" y="2232"/>
                        <a:pt x="2232" y="0"/>
                        <a:pt x="4966" y="0"/>
                      </a:cubicBezTo>
                      <a:cubicBezTo>
                        <a:pt x="7700" y="0"/>
                        <a:pt x="9932" y="2232"/>
                        <a:pt x="9932" y="4966"/>
                      </a:cubicBezTo>
                      <a:lnTo>
                        <a:pt x="9932" y="110957"/>
                      </a:lnTo>
                      <a:cubicBezTo>
                        <a:pt x="9932" y="113716"/>
                        <a:pt x="7700" y="115923"/>
                        <a:pt x="4966" y="115923"/>
                      </a:cubicBezTo>
                      <a:close/>
                    </a:path>
                  </a:pathLst>
                </a:custGeom>
                <a:grpFill/>
                <a:ln w="2503" cap="flat">
                  <a:noFill/>
                  <a:prstDash val="solid"/>
                  <a:miter/>
                </a:ln>
              </p:spPr>
              <p:txBody>
                <a:bodyPr rtlCol="0" anchor="ctr"/>
                <a:lstStyle/>
                <a:p>
                  <a:endParaRPr lang="en-GB" dirty="0"/>
                </a:p>
              </p:txBody>
            </p:sp>
            <p:sp>
              <p:nvSpPr>
                <p:cNvPr id="104" name="Freihandform: Form 848">
                  <a:extLst>
                    <a:ext uri="{FF2B5EF4-FFF2-40B4-BE49-F238E27FC236}">
                      <a16:creationId xmlns:a16="http://schemas.microsoft.com/office/drawing/2014/main" id="{C7422F34-E01C-4F01-A760-11125B10F662}"/>
                    </a:ext>
                  </a:extLst>
                </p:cNvPr>
                <p:cNvSpPr/>
                <p:nvPr/>
              </p:nvSpPr>
              <p:spPr>
                <a:xfrm>
                  <a:off x="5481249" y="1839843"/>
                  <a:ext cx="94504" cy="89613"/>
                </a:xfrm>
                <a:custGeom>
                  <a:avLst/>
                  <a:gdLst>
                    <a:gd name="connsiteX0" fmla="*/ 89538 w 94504"/>
                    <a:gd name="connsiteY0" fmla="*/ 89613 h 89613"/>
                    <a:gd name="connsiteX1" fmla="*/ 84572 w 94504"/>
                    <a:gd name="connsiteY1" fmla="*/ 84647 h 89613"/>
                    <a:gd name="connsiteX2" fmla="*/ 84572 w 94504"/>
                    <a:gd name="connsiteY2" fmla="*/ 47252 h 89613"/>
                    <a:gd name="connsiteX3" fmla="*/ 47252 w 94504"/>
                    <a:gd name="connsiteY3" fmla="*/ 9932 h 89613"/>
                    <a:gd name="connsiteX4" fmla="*/ 9932 w 94504"/>
                    <a:gd name="connsiteY4" fmla="*/ 47252 h 89613"/>
                    <a:gd name="connsiteX5" fmla="*/ 4966 w 94504"/>
                    <a:gd name="connsiteY5" fmla="*/ 52218 h 89613"/>
                    <a:gd name="connsiteX6" fmla="*/ 0 w 94504"/>
                    <a:gd name="connsiteY6" fmla="*/ 47252 h 89613"/>
                    <a:gd name="connsiteX7" fmla="*/ 47252 w 94504"/>
                    <a:gd name="connsiteY7" fmla="*/ 0 h 89613"/>
                    <a:gd name="connsiteX8" fmla="*/ 94504 w 94504"/>
                    <a:gd name="connsiteY8" fmla="*/ 47252 h 89613"/>
                    <a:gd name="connsiteX9" fmla="*/ 94504 w 94504"/>
                    <a:gd name="connsiteY9" fmla="*/ 84647 h 89613"/>
                    <a:gd name="connsiteX10" fmla="*/ 89538 w 94504"/>
                    <a:gd name="connsiteY10" fmla="*/ 89613 h 8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504" h="89613">
                      <a:moveTo>
                        <a:pt x="89538" y="89613"/>
                      </a:moveTo>
                      <a:cubicBezTo>
                        <a:pt x="86804" y="89613"/>
                        <a:pt x="84572" y="87381"/>
                        <a:pt x="84572" y="84647"/>
                      </a:cubicBezTo>
                      <a:lnTo>
                        <a:pt x="84572" y="47252"/>
                      </a:lnTo>
                      <a:cubicBezTo>
                        <a:pt x="84572" y="26686"/>
                        <a:pt x="67843" y="9932"/>
                        <a:pt x="47252" y="9932"/>
                      </a:cubicBezTo>
                      <a:cubicBezTo>
                        <a:pt x="26686" y="9932"/>
                        <a:pt x="9932" y="26661"/>
                        <a:pt x="9932" y="47252"/>
                      </a:cubicBezTo>
                      <a:cubicBezTo>
                        <a:pt x="9932" y="49986"/>
                        <a:pt x="7700" y="52218"/>
                        <a:pt x="4966" y="52218"/>
                      </a:cubicBezTo>
                      <a:cubicBezTo>
                        <a:pt x="2232" y="52218"/>
                        <a:pt x="0" y="49986"/>
                        <a:pt x="0" y="47252"/>
                      </a:cubicBezTo>
                      <a:cubicBezTo>
                        <a:pt x="0" y="21193"/>
                        <a:pt x="21193" y="0"/>
                        <a:pt x="47252" y="0"/>
                      </a:cubicBezTo>
                      <a:cubicBezTo>
                        <a:pt x="73311" y="0"/>
                        <a:pt x="94504" y="21193"/>
                        <a:pt x="94504" y="47252"/>
                      </a:cubicBezTo>
                      <a:lnTo>
                        <a:pt x="94504" y="84647"/>
                      </a:lnTo>
                      <a:cubicBezTo>
                        <a:pt x="94504" y="87381"/>
                        <a:pt x="92297" y="89613"/>
                        <a:pt x="89538" y="89613"/>
                      </a:cubicBezTo>
                      <a:close/>
                    </a:path>
                  </a:pathLst>
                </a:custGeom>
                <a:grpFill/>
                <a:ln w="2503" cap="flat">
                  <a:noFill/>
                  <a:prstDash val="solid"/>
                  <a:miter/>
                </a:ln>
              </p:spPr>
              <p:txBody>
                <a:bodyPr rtlCol="0" anchor="ctr"/>
                <a:lstStyle/>
                <a:p>
                  <a:endParaRPr lang="en-GB" dirty="0"/>
                </a:p>
              </p:txBody>
            </p:sp>
            <p:sp>
              <p:nvSpPr>
                <p:cNvPr id="105" name="Freihandform: Form 849">
                  <a:extLst>
                    <a:ext uri="{FF2B5EF4-FFF2-40B4-BE49-F238E27FC236}">
                      <a16:creationId xmlns:a16="http://schemas.microsoft.com/office/drawing/2014/main" id="{03C88D93-E5B5-4A25-9BA6-DBDD49AB0996}"/>
                    </a:ext>
                  </a:extLst>
                </p:cNvPr>
                <p:cNvSpPr/>
                <p:nvPr/>
              </p:nvSpPr>
              <p:spPr>
                <a:xfrm>
                  <a:off x="5565821" y="1962312"/>
                  <a:ext cx="9931" cy="78402"/>
                </a:xfrm>
                <a:custGeom>
                  <a:avLst/>
                  <a:gdLst>
                    <a:gd name="connsiteX0" fmla="*/ 4966 w 9931"/>
                    <a:gd name="connsiteY0" fmla="*/ 78402 h 78402"/>
                    <a:gd name="connsiteX1" fmla="*/ 0 w 9931"/>
                    <a:gd name="connsiteY1" fmla="*/ 73436 h 78402"/>
                    <a:gd name="connsiteX2" fmla="*/ 0 w 9931"/>
                    <a:gd name="connsiteY2" fmla="*/ 4966 h 78402"/>
                    <a:gd name="connsiteX3" fmla="*/ 4966 w 9931"/>
                    <a:gd name="connsiteY3" fmla="*/ 0 h 78402"/>
                    <a:gd name="connsiteX4" fmla="*/ 9932 w 9931"/>
                    <a:gd name="connsiteY4" fmla="*/ 4966 h 78402"/>
                    <a:gd name="connsiteX5" fmla="*/ 9932 w 9931"/>
                    <a:gd name="connsiteY5" fmla="*/ 73436 h 78402"/>
                    <a:gd name="connsiteX6" fmla="*/ 4966 w 9931"/>
                    <a:gd name="connsiteY6" fmla="*/ 78402 h 7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78402">
                      <a:moveTo>
                        <a:pt x="4966" y="78402"/>
                      </a:moveTo>
                      <a:cubicBezTo>
                        <a:pt x="2232" y="78402"/>
                        <a:pt x="0" y="76170"/>
                        <a:pt x="0" y="73436"/>
                      </a:cubicBezTo>
                      <a:lnTo>
                        <a:pt x="0" y="4966"/>
                      </a:lnTo>
                      <a:cubicBezTo>
                        <a:pt x="0" y="2232"/>
                        <a:pt x="2232" y="0"/>
                        <a:pt x="4966" y="0"/>
                      </a:cubicBezTo>
                      <a:cubicBezTo>
                        <a:pt x="7700" y="0"/>
                        <a:pt x="9932" y="2232"/>
                        <a:pt x="9932" y="4966"/>
                      </a:cubicBezTo>
                      <a:lnTo>
                        <a:pt x="9932" y="73436"/>
                      </a:lnTo>
                      <a:cubicBezTo>
                        <a:pt x="9932" y="76195"/>
                        <a:pt x="7725" y="78402"/>
                        <a:pt x="4966" y="78402"/>
                      </a:cubicBezTo>
                      <a:close/>
                    </a:path>
                  </a:pathLst>
                </a:custGeom>
                <a:grpFill/>
                <a:ln w="2503" cap="flat">
                  <a:noFill/>
                  <a:prstDash val="solid"/>
                  <a:miter/>
                </a:ln>
              </p:spPr>
              <p:txBody>
                <a:bodyPr rtlCol="0" anchor="ctr"/>
                <a:lstStyle/>
                <a:p>
                  <a:endParaRPr lang="en-GB" dirty="0"/>
                </a:p>
              </p:txBody>
            </p:sp>
            <p:sp>
              <p:nvSpPr>
                <p:cNvPr id="106" name="Freihandform: Form 850">
                  <a:extLst>
                    <a:ext uri="{FF2B5EF4-FFF2-40B4-BE49-F238E27FC236}">
                      <a16:creationId xmlns:a16="http://schemas.microsoft.com/office/drawing/2014/main" id="{41578E92-2B0E-4E23-AD4F-3271B9E8B205}"/>
                    </a:ext>
                  </a:extLst>
                </p:cNvPr>
                <p:cNvSpPr/>
                <p:nvPr/>
              </p:nvSpPr>
              <p:spPr>
                <a:xfrm>
                  <a:off x="5499106" y="1980772"/>
                  <a:ext cx="9931" cy="59190"/>
                </a:xfrm>
                <a:custGeom>
                  <a:avLst/>
                  <a:gdLst>
                    <a:gd name="connsiteX0" fmla="*/ 4966 w 9931"/>
                    <a:gd name="connsiteY0" fmla="*/ 59190 h 59190"/>
                    <a:gd name="connsiteX1" fmla="*/ 0 w 9931"/>
                    <a:gd name="connsiteY1" fmla="*/ 54224 h 59190"/>
                    <a:gd name="connsiteX2" fmla="*/ 0 w 9931"/>
                    <a:gd name="connsiteY2" fmla="*/ 4966 h 59190"/>
                    <a:gd name="connsiteX3" fmla="*/ 4966 w 9931"/>
                    <a:gd name="connsiteY3" fmla="*/ 0 h 59190"/>
                    <a:gd name="connsiteX4" fmla="*/ 9932 w 9931"/>
                    <a:gd name="connsiteY4" fmla="*/ 4966 h 59190"/>
                    <a:gd name="connsiteX5" fmla="*/ 9932 w 9931"/>
                    <a:gd name="connsiteY5" fmla="*/ 54224 h 59190"/>
                    <a:gd name="connsiteX6" fmla="*/ 4966 w 9931"/>
                    <a:gd name="connsiteY6" fmla="*/ 59190 h 59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59190">
                      <a:moveTo>
                        <a:pt x="4966" y="59190"/>
                      </a:moveTo>
                      <a:cubicBezTo>
                        <a:pt x="2232" y="59190"/>
                        <a:pt x="0" y="56958"/>
                        <a:pt x="0" y="54224"/>
                      </a:cubicBezTo>
                      <a:lnTo>
                        <a:pt x="0" y="4966"/>
                      </a:lnTo>
                      <a:cubicBezTo>
                        <a:pt x="0" y="2232"/>
                        <a:pt x="2232" y="0"/>
                        <a:pt x="4966" y="0"/>
                      </a:cubicBezTo>
                      <a:cubicBezTo>
                        <a:pt x="7700" y="0"/>
                        <a:pt x="9932" y="2232"/>
                        <a:pt x="9932" y="4966"/>
                      </a:cubicBezTo>
                      <a:lnTo>
                        <a:pt x="9932" y="54224"/>
                      </a:lnTo>
                      <a:cubicBezTo>
                        <a:pt x="9932" y="56958"/>
                        <a:pt x="7700" y="59190"/>
                        <a:pt x="4966" y="59190"/>
                      </a:cubicBezTo>
                      <a:close/>
                    </a:path>
                  </a:pathLst>
                </a:custGeom>
                <a:grpFill/>
                <a:ln w="2503" cap="flat">
                  <a:noFill/>
                  <a:prstDash val="solid"/>
                  <a:miter/>
                </a:ln>
              </p:spPr>
              <p:txBody>
                <a:bodyPr rtlCol="0" anchor="ctr"/>
                <a:lstStyle/>
                <a:p>
                  <a:endParaRPr lang="en-GB" dirty="0"/>
                </a:p>
              </p:txBody>
            </p:sp>
            <p:sp>
              <p:nvSpPr>
                <p:cNvPr id="107" name="Freihandform: Form 851">
                  <a:extLst>
                    <a:ext uri="{FF2B5EF4-FFF2-40B4-BE49-F238E27FC236}">
                      <a16:creationId xmlns:a16="http://schemas.microsoft.com/office/drawing/2014/main" id="{0C215796-169E-4FF1-91DD-17C74A14F743}"/>
                    </a:ext>
                  </a:extLst>
                </p:cNvPr>
                <p:cNvSpPr/>
                <p:nvPr/>
              </p:nvSpPr>
              <p:spPr>
                <a:xfrm>
                  <a:off x="5499106" y="1879370"/>
                  <a:ext cx="34385" cy="58638"/>
                </a:xfrm>
                <a:custGeom>
                  <a:avLst/>
                  <a:gdLst>
                    <a:gd name="connsiteX0" fmla="*/ 4966 w 34385"/>
                    <a:gd name="connsiteY0" fmla="*/ 58639 h 58638"/>
                    <a:gd name="connsiteX1" fmla="*/ 0 w 34385"/>
                    <a:gd name="connsiteY1" fmla="*/ 53673 h 58638"/>
                    <a:gd name="connsiteX2" fmla="*/ 0 w 34385"/>
                    <a:gd name="connsiteY2" fmla="*/ 29420 h 58638"/>
                    <a:gd name="connsiteX3" fmla="*/ 29420 w 34385"/>
                    <a:gd name="connsiteY3" fmla="*/ 0 h 58638"/>
                    <a:gd name="connsiteX4" fmla="*/ 34386 w 34385"/>
                    <a:gd name="connsiteY4" fmla="*/ 4966 h 58638"/>
                    <a:gd name="connsiteX5" fmla="*/ 29420 w 34385"/>
                    <a:gd name="connsiteY5" fmla="*/ 9932 h 58638"/>
                    <a:gd name="connsiteX6" fmla="*/ 9932 w 34385"/>
                    <a:gd name="connsiteY6" fmla="*/ 29420 h 58638"/>
                    <a:gd name="connsiteX7" fmla="*/ 9932 w 34385"/>
                    <a:gd name="connsiteY7" fmla="*/ 53673 h 58638"/>
                    <a:gd name="connsiteX8" fmla="*/ 4966 w 34385"/>
                    <a:gd name="connsiteY8" fmla="*/ 58639 h 5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385" h="58638">
                      <a:moveTo>
                        <a:pt x="4966" y="58639"/>
                      </a:moveTo>
                      <a:cubicBezTo>
                        <a:pt x="2232" y="58639"/>
                        <a:pt x="0" y="56406"/>
                        <a:pt x="0" y="53673"/>
                      </a:cubicBezTo>
                      <a:lnTo>
                        <a:pt x="0" y="29420"/>
                      </a:lnTo>
                      <a:cubicBezTo>
                        <a:pt x="0" y="13192"/>
                        <a:pt x="13192" y="0"/>
                        <a:pt x="29420" y="0"/>
                      </a:cubicBezTo>
                      <a:cubicBezTo>
                        <a:pt x="32153" y="0"/>
                        <a:pt x="34386" y="2232"/>
                        <a:pt x="34386" y="4966"/>
                      </a:cubicBezTo>
                      <a:cubicBezTo>
                        <a:pt x="34386" y="7700"/>
                        <a:pt x="32153" y="9932"/>
                        <a:pt x="29420" y="9932"/>
                      </a:cubicBezTo>
                      <a:cubicBezTo>
                        <a:pt x="18660" y="9932"/>
                        <a:pt x="9932" y="18685"/>
                        <a:pt x="9932" y="29420"/>
                      </a:cubicBezTo>
                      <a:lnTo>
                        <a:pt x="9932" y="53673"/>
                      </a:lnTo>
                      <a:cubicBezTo>
                        <a:pt x="9932" y="56432"/>
                        <a:pt x="7700" y="58639"/>
                        <a:pt x="4966" y="58639"/>
                      </a:cubicBezTo>
                      <a:close/>
                    </a:path>
                  </a:pathLst>
                </a:custGeom>
                <a:grpFill/>
                <a:ln w="2503" cap="flat">
                  <a:noFill/>
                  <a:prstDash val="solid"/>
                  <a:miter/>
                </a:ln>
              </p:spPr>
              <p:txBody>
                <a:bodyPr rtlCol="0" anchor="ctr"/>
                <a:lstStyle/>
                <a:p>
                  <a:endParaRPr lang="en-GB" dirty="0"/>
                </a:p>
              </p:txBody>
            </p:sp>
            <p:sp>
              <p:nvSpPr>
                <p:cNvPr id="108" name="Freihandform: Form 852">
                  <a:extLst>
                    <a:ext uri="{FF2B5EF4-FFF2-40B4-BE49-F238E27FC236}">
                      <a16:creationId xmlns:a16="http://schemas.microsoft.com/office/drawing/2014/main" id="{CEC8CB57-FCC4-4C83-A39F-C0144B7F7E74}"/>
                    </a:ext>
                  </a:extLst>
                </p:cNvPr>
                <p:cNvSpPr/>
                <p:nvPr/>
              </p:nvSpPr>
              <p:spPr>
                <a:xfrm>
                  <a:off x="5548014" y="1903824"/>
                  <a:ext cx="9931" cy="136138"/>
                </a:xfrm>
                <a:custGeom>
                  <a:avLst/>
                  <a:gdLst>
                    <a:gd name="connsiteX0" fmla="*/ 4966 w 9931"/>
                    <a:gd name="connsiteY0" fmla="*/ 136138 h 136138"/>
                    <a:gd name="connsiteX1" fmla="*/ 0 w 9931"/>
                    <a:gd name="connsiteY1" fmla="*/ 131172 h 136138"/>
                    <a:gd name="connsiteX2" fmla="*/ 0 w 9931"/>
                    <a:gd name="connsiteY2" fmla="*/ 4966 h 136138"/>
                    <a:gd name="connsiteX3" fmla="*/ 4966 w 9931"/>
                    <a:gd name="connsiteY3" fmla="*/ 0 h 136138"/>
                    <a:gd name="connsiteX4" fmla="*/ 9932 w 9931"/>
                    <a:gd name="connsiteY4" fmla="*/ 4966 h 136138"/>
                    <a:gd name="connsiteX5" fmla="*/ 9932 w 9931"/>
                    <a:gd name="connsiteY5" fmla="*/ 131172 h 136138"/>
                    <a:gd name="connsiteX6" fmla="*/ 4966 w 9931"/>
                    <a:gd name="connsiteY6" fmla="*/ 136138 h 13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136138">
                      <a:moveTo>
                        <a:pt x="4966" y="136138"/>
                      </a:moveTo>
                      <a:cubicBezTo>
                        <a:pt x="2232" y="136138"/>
                        <a:pt x="0" y="133906"/>
                        <a:pt x="0" y="131172"/>
                      </a:cubicBezTo>
                      <a:lnTo>
                        <a:pt x="0" y="4966"/>
                      </a:lnTo>
                      <a:cubicBezTo>
                        <a:pt x="0" y="2232"/>
                        <a:pt x="2232" y="0"/>
                        <a:pt x="4966" y="0"/>
                      </a:cubicBezTo>
                      <a:cubicBezTo>
                        <a:pt x="7700" y="0"/>
                        <a:pt x="9932" y="2232"/>
                        <a:pt x="9932" y="4966"/>
                      </a:cubicBezTo>
                      <a:lnTo>
                        <a:pt x="9932" y="131172"/>
                      </a:lnTo>
                      <a:cubicBezTo>
                        <a:pt x="9932" y="133906"/>
                        <a:pt x="7700" y="136138"/>
                        <a:pt x="4966" y="136138"/>
                      </a:cubicBezTo>
                      <a:close/>
                    </a:path>
                  </a:pathLst>
                </a:custGeom>
                <a:grpFill/>
                <a:ln w="2503" cap="flat">
                  <a:noFill/>
                  <a:prstDash val="solid"/>
                  <a:miter/>
                </a:ln>
              </p:spPr>
              <p:txBody>
                <a:bodyPr rtlCol="0" anchor="ctr"/>
                <a:lstStyle/>
                <a:p>
                  <a:endParaRPr lang="en-GB" dirty="0"/>
                </a:p>
              </p:txBody>
            </p:sp>
            <p:sp>
              <p:nvSpPr>
                <p:cNvPr id="109" name="Freihandform: Form 853">
                  <a:extLst>
                    <a:ext uri="{FF2B5EF4-FFF2-40B4-BE49-F238E27FC236}">
                      <a16:creationId xmlns:a16="http://schemas.microsoft.com/office/drawing/2014/main" id="{7340A5EE-4DA6-46AE-81AB-6A2ECE9E307B}"/>
                    </a:ext>
                  </a:extLst>
                </p:cNvPr>
                <p:cNvSpPr/>
                <p:nvPr/>
              </p:nvSpPr>
              <p:spPr>
                <a:xfrm>
                  <a:off x="5398232" y="1820224"/>
                  <a:ext cx="24158" cy="162553"/>
                </a:xfrm>
                <a:custGeom>
                  <a:avLst/>
                  <a:gdLst>
                    <a:gd name="connsiteX0" fmla="*/ 4966 w 24158"/>
                    <a:gd name="connsiteY0" fmla="*/ 162554 h 162553"/>
                    <a:gd name="connsiteX1" fmla="*/ 0 w 24158"/>
                    <a:gd name="connsiteY1" fmla="*/ 157588 h 162553"/>
                    <a:gd name="connsiteX2" fmla="*/ 0 w 24158"/>
                    <a:gd name="connsiteY2" fmla="*/ 63009 h 162553"/>
                    <a:gd name="connsiteX3" fmla="*/ 14798 w 24158"/>
                    <a:gd name="connsiteY3" fmla="*/ 2665 h 162553"/>
                    <a:gd name="connsiteX4" fmla="*/ 21494 w 24158"/>
                    <a:gd name="connsiteY4" fmla="*/ 558 h 162553"/>
                    <a:gd name="connsiteX5" fmla="*/ 23601 w 24158"/>
                    <a:gd name="connsiteY5" fmla="*/ 7254 h 162553"/>
                    <a:gd name="connsiteX6" fmla="*/ 9957 w 24158"/>
                    <a:gd name="connsiteY6" fmla="*/ 62984 h 162553"/>
                    <a:gd name="connsiteX7" fmla="*/ 9957 w 24158"/>
                    <a:gd name="connsiteY7" fmla="*/ 157563 h 162553"/>
                    <a:gd name="connsiteX8" fmla="*/ 4966 w 24158"/>
                    <a:gd name="connsiteY8" fmla="*/ 162554 h 16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58" h="162553">
                      <a:moveTo>
                        <a:pt x="4966" y="162554"/>
                      </a:moveTo>
                      <a:cubicBezTo>
                        <a:pt x="2232" y="162554"/>
                        <a:pt x="0" y="160322"/>
                        <a:pt x="0" y="157588"/>
                      </a:cubicBezTo>
                      <a:lnTo>
                        <a:pt x="0" y="63009"/>
                      </a:lnTo>
                      <a:cubicBezTo>
                        <a:pt x="0" y="42016"/>
                        <a:pt x="5116" y="21149"/>
                        <a:pt x="14798" y="2665"/>
                      </a:cubicBezTo>
                      <a:cubicBezTo>
                        <a:pt x="16077" y="232"/>
                        <a:pt x="19086" y="-696"/>
                        <a:pt x="21494" y="558"/>
                      </a:cubicBezTo>
                      <a:cubicBezTo>
                        <a:pt x="23927" y="1837"/>
                        <a:pt x="24855" y="4821"/>
                        <a:pt x="23601" y="7254"/>
                      </a:cubicBezTo>
                      <a:cubicBezTo>
                        <a:pt x="14672" y="24309"/>
                        <a:pt x="9957" y="43596"/>
                        <a:pt x="9957" y="62984"/>
                      </a:cubicBezTo>
                      <a:lnTo>
                        <a:pt x="9957" y="157563"/>
                      </a:lnTo>
                      <a:cubicBezTo>
                        <a:pt x="9932" y="160347"/>
                        <a:pt x="7700" y="162554"/>
                        <a:pt x="4966" y="162554"/>
                      </a:cubicBezTo>
                      <a:close/>
                    </a:path>
                  </a:pathLst>
                </a:custGeom>
                <a:grpFill/>
                <a:ln w="2503" cap="flat">
                  <a:noFill/>
                  <a:prstDash val="solid"/>
                  <a:miter/>
                </a:ln>
              </p:spPr>
              <p:txBody>
                <a:bodyPr rtlCol="0" anchor="ctr"/>
                <a:lstStyle/>
                <a:p>
                  <a:endParaRPr lang="en-GB" dirty="0"/>
                </a:p>
              </p:txBody>
            </p:sp>
            <p:sp>
              <p:nvSpPr>
                <p:cNvPr id="110" name="Freihandform: Form 854">
                  <a:extLst>
                    <a:ext uri="{FF2B5EF4-FFF2-40B4-BE49-F238E27FC236}">
                      <a16:creationId xmlns:a16="http://schemas.microsoft.com/office/drawing/2014/main" id="{0014306B-46CE-4962-94EF-6BE60363E1D6}"/>
                    </a:ext>
                  </a:extLst>
                </p:cNvPr>
                <p:cNvSpPr/>
                <p:nvPr/>
              </p:nvSpPr>
              <p:spPr>
                <a:xfrm>
                  <a:off x="5454521" y="1752964"/>
                  <a:ext cx="116244" cy="30648"/>
                </a:xfrm>
                <a:custGeom>
                  <a:avLst/>
                  <a:gdLst>
                    <a:gd name="connsiteX0" fmla="*/ 4957 w 116244"/>
                    <a:gd name="connsiteY0" fmla="*/ 30649 h 30648"/>
                    <a:gd name="connsiteX1" fmla="*/ 819 w 116244"/>
                    <a:gd name="connsiteY1" fmla="*/ 28416 h 30648"/>
                    <a:gd name="connsiteX2" fmla="*/ 2224 w 116244"/>
                    <a:gd name="connsiteY2" fmla="*/ 21544 h 30648"/>
                    <a:gd name="connsiteX3" fmla="*/ 74004 w 116244"/>
                    <a:gd name="connsiteY3" fmla="*/ 0 h 30648"/>
                    <a:gd name="connsiteX4" fmla="*/ 112754 w 116244"/>
                    <a:gd name="connsiteY4" fmla="*/ 5844 h 30648"/>
                    <a:gd name="connsiteX5" fmla="*/ 116015 w 116244"/>
                    <a:gd name="connsiteY5" fmla="*/ 12064 h 30648"/>
                    <a:gd name="connsiteX6" fmla="*/ 109795 w 116244"/>
                    <a:gd name="connsiteY6" fmla="*/ 15324 h 30648"/>
                    <a:gd name="connsiteX7" fmla="*/ 74004 w 116244"/>
                    <a:gd name="connsiteY7" fmla="*/ 9907 h 30648"/>
                    <a:gd name="connsiteX8" fmla="*/ 7691 w 116244"/>
                    <a:gd name="connsiteY8" fmla="*/ 29796 h 30648"/>
                    <a:gd name="connsiteX9" fmla="*/ 4957 w 116244"/>
                    <a:gd name="connsiteY9" fmla="*/ 30649 h 30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244" h="30648">
                      <a:moveTo>
                        <a:pt x="4957" y="30649"/>
                      </a:moveTo>
                      <a:cubicBezTo>
                        <a:pt x="3352" y="30649"/>
                        <a:pt x="1772" y="29871"/>
                        <a:pt x="819" y="28416"/>
                      </a:cubicBezTo>
                      <a:cubicBezTo>
                        <a:pt x="-686" y="26134"/>
                        <a:pt x="-59" y="23049"/>
                        <a:pt x="2224" y="21544"/>
                      </a:cubicBezTo>
                      <a:cubicBezTo>
                        <a:pt x="23517" y="7449"/>
                        <a:pt x="48347" y="0"/>
                        <a:pt x="74004" y="0"/>
                      </a:cubicBezTo>
                      <a:cubicBezTo>
                        <a:pt x="87222" y="0"/>
                        <a:pt x="100264" y="1981"/>
                        <a:pt x="112754" y="5844"/>
                      </a:cubicBezTo>
                      <a:cubicBezTo>
                        <a:pt x="115363" y="6646"/>
                        <a:pt x="116842" y="9430"/>
                        <a:pt x="116015" y="12064"/>
                      </a:cubicBezTo>
                      <a:cubicBezTo>
                        <a:pt x="115212" y="14672"/>
                        <a:pt x="112428" y="16152"/>
                        <a:pt x="109795" y="15324"/>
                      </a:cubicBezTo>
                      <a:cubicBezTo>
                        <a:pt x="98257" y="11738"/>
                        <a:pt x="86219" y="9907"/>
                        <a:pt x="74004" y="9907"/>
                      </a:cubicBezTo>
                      <a:cubicBezTo>
                        <a:pt x="50303" y="9907"/>
                        <a:pt x="27354" y="16779"/>
                        <a:pt x="7691" y="29796"/>
                      </a:cubicBezTo>
                      <a:cubicBezTo>
                        <a:pt x="6838" y="30373"/>
                        <a:pt x="5885" y="30649"/>
                        <a:pt x="4957" y="30649"/>
                      </a:cubicBezTo>
                      <a:close/>
                    </a:path>
                  </a:pathLst>
                </a:custGeom>
                <a:grpFill/>
                <a:ln w="2503" cap="flat">
                  <a:noFill/>
                  <a:prstDash val="solid"/>
                  <a:miter/>
                </a:ln>
              </p:spPr>
              <p:txBody>
                <a:bodyPr rtlCol="0" anchor="ctr"/>
                <a:lstStyle/>
                <a:p>
                  <a:endParaRPr lang="en-GB" dirty="0"/>
                </a:p>
              </p:txBody>
            </p:sp>
            <p:sp>
              <p:nvSpPr>
                <p:cNvPr id="111" name="Freihandform: Form 855">
                  <a:extLst>
                    <a:ext uri="{FF2B5EF4-FFF2-40B4-BE49-F238E27FC236}">
                      <a16:creationId xmlns:a16="http://schemas.microsoft.com/office/drawing/2014/main" id="{CCB4120E-AE62-4B24-B304-4D577AE08457}"/>
                    </a:ext>
                  </a:extLst>
                </p:cNvPr>
                <p:cNvSpPr/>
                <p:nvPr/>
              </p:nvSpPr>
              <p:spPr>
                <a:xfrm>
                  <a:off x="5613633" y="1791170"/>
                  <a:ext cx="45186" cy="97053"/>
                </a:xfrm>
                <a:custGeom>
                  <a:avLst/>
                  <a:gdLst>
                    <a:gd name="connsiteX0" fmla="*/ 40196 w 45186"/>
                    <a:gd name="connsiteY0" fmla="*/ 97054 h 97053"/>
                    <a:gd name="connsiteX1" fmla="*/ 35230 w 45186"/>
                    <a:gd name="connsiteY1" fmla="*/ 92088 h 97053"/>
                    <a:gd name="connsiteX2" fmla="*/ 1396 w 45186"/>
                    <a:gd name="connsiteY2" fmla="*/ 8418 h 97053"/>
                    <a:gd name="connsiteX3" fmla="*/ 1521 w 45186"/>
                    <a:gd name="connsiteY3" fmla="*/ 1396 h 97053"/>
                    <a:gd name="connsiteX4" fmla="*/ 8544 w 45186"/>
                    <a:gd name="connsiteY4" fmla="*/ 1521 h 97053"/>
                    <a:gd name="connsiteX5" fmla="*/ 45187 w 45186"/>
                    <a:gd name="connsiteY5" fmla="*/ 92113 h 97053"/>
                    <a:gd name="connsiteX6" fmla="*/ 40196 w 45186"/>
                    <a:gd name="connsiteY6" fmla="*/ 97054 h 9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186" h="97053">
                      <a:moveTo>
                        <a:pt x="40196" y="97054"/>
                      </a:moveTo>
                      <a:cubicBezTo>
                        <a:pt x="37462" y="97054"/>
                        <a:pt x="35230" y="94821"/>
                        <a:pt x="35230" y="92088"/>
                      </a:cubicBezTo>
                      <a:cubicBezTo>
                        <a:pt x="35230" y="60687"/>
                        <a:pt x="23216" y="30966"/>
                        <a:pt x="1396" y="8418"/>
                      </a:cubicBezTo>
                      <a:cubicBezTo>
                        <a:pt x="-510" y="6437"/>
                        <a:pt x="-460" y="3302"/>
                        <a:pt x="1521" y="1396"/>
                      </a:cubicBezTo>
                      <a:cubicBezTo>
                        <a:pt x="3478" y="-510"/>
                        <a:pt x="6638" y="-460"/>
                        <a:pt x="8544" y="1521"/>
                      </a:cubicBezTo>
                      <a:cubicBezTo>
                        <a:pt x="32170" y="25950"/>
                        <a:pt x="45187" y="58103"/>
                        <a:pt x="45187" y="92113"/>
                      </a:cubicBezTo>
                      <a:cubicBezTo>
                        <a:pt x="45162" y="94821"/>
                        <a:pt x="42955" y="97054"/>
                        <a:pt x="40196" y="97054"/>
                      </a:cubicBezTo>
                      <a:close/>
                    </a:path>
                  </a:pathLst>
                </a:custGeom>
                <a:grpFill/>
                <a:ln w="2503" cap="flat">
                  <a:noFill/>
                  <a:prstDash val="solid"/>
                  <a:miter/>
                </a:ln>
              </p:spPr>
              <p:txBody>
                <a:bodyPr rtlCol="0" anchor="ctr"/>
                <a:lstStyle/>
                <a:p>
                  <a:endParaRPr lang="en-GB" dirty="0"/>
                </a:p>
              </p:txBody>
            </p:sp>
            <p:sp>
              <p:nvSpPr>
                <p:cNvPr id="112" name="Freihandform: Form 856">
                  <a:extLst>
                    <a:ext uri="{FF2B5EF4-FFF2-40B4-BE49-F238E27FC236}">
                      <a16:creationId xmlns:a16="http://schemas.microsoft.com/office/drawing/2014/main" id="{10A4B147-28B5-4707-9EB4-F35FC0E18219}"/>
                    </a:ext>
                  </a:extLst>
                </p:cNvPr>
                <p:cNvSpPr/>
                <p:nvPr/>
              </p:nvSpPr>
              <p:spPr>
                <a:xfrm>
                  <a:off x="5648863" y="1906357"/>
                  <a:ext cx="9931" cy="76420"/>
                </a:xfrm>
                <a:custGeom>
                  <a:avLst/>
                  <a:gdLst>
                    <a:gd name="connsiteX0" fmla="*/ 4966 w 9931"/>
                    <a:gd name="connsiteY0" fmla="*/ 76421 h 76420"/>
                    <a:gd name="connsiteX1" fmla="*/ 0 w 9931"/>
                    <a:gd name="connsiteY1" fmla="*/ 71455 h 76420"/>
                    <a:gd name="connsiteX2" fmla="*/ 0 w 9931"/>
                    <a:gd name="connsiteY2" fmla="*/ 4966 h 76420"/>
                    <a:gd name="connsiteX3" fmla="*/ 4966 w 9931"/>
                    <a:gd name="connsiteY3" fmla="*/ 0 h 76420"/>
                    <a:gd name="connsiteX4" fmla="*/ 9932 w 9931"/>
                    <a:gd name="connsiteY4" fmla="*/ 4966 h 76420"/>
                    <a:gd name="connsiteX5" fmla="*/ 9932 w 9931"/>
                    <a:gd name="connsiteY5" fmla="*/ 71455 h 76420"/>
                    <a:gd name="connsiteX6" fmla="*/ 4966 w 9931"/>
                    <a:gd name="connsiteY6" fmla="*/ 76421 h 7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76420">
                      <a:moveTo>
                        <a:pt x="4966" y="76421"/>
                      </a:moveTo>
                      <a:cubicBezTo>
                        <a:pt x="2232" y="76421"/>
                        <a:pt x="0" y="74189"/>
                        <a:pt x="0" y="71455"/>
                      </a:cubicBezTo>
                      <a:lnTo>
                        <a:pt x="0" y="4966"/>
                      </a:lnTo>
                      <a:cubicBezTo>
                        <a:pt x="0" y="2232"/>
                        <a:pt x="2232" y="0"/>
                        <a:pt x="4966" y="0"/>
                      </a:cubicBezTo>
                      <a:cubicBezTo>
                        <a:pt x="7700" y="0"/>
                        <a:pt x="9932" y="2232"/>
                        <a:pt x="9932" y="4966"/>
                      </a:cubicBezTo>
                      <a:lnTo>
                        <a:pt x="9932" y="71455"/>
                      </a:lnTo>
                      <a:cubicBezTo>
                        <a:pt x="9932" y="74214"/>
                        <a:pt x="7725" y="76421"/>
                        <a:pt x="4966" y="76421"/>
                      </a:cubicBezTo>
                      <a:close/>
                    </a:path>
                  </a:pathLst>
                </a:custGeom>
                <a:grpFill/>
                <a:ln w="2503" cap="flat">
                  <a:noFill/>
                  <a:prstDash val="solid"/>
                  <a:miter/>
                </a:ln>
              </p:spPr>
              <p:txBody>
                <a:bodyPr rtlCol="0" anchor="ctr"/>
                <a:lstStyle/>
                <a:p>
                  <a:endParaRPr lang="en-GB" dirty="0"/>
                </a:p>
              </p:txBody>
            </p:sp>
            <p:sp>
              <p:nvSpPr>
                <p:cNvPr id="113" name="Freihandform: Form 857">
                  <a:extLst>
                    <a:ext uri="{FF2B5EF4-FFF2-40B4-BE49-F238E27FC236}">
                      <a16:creationId xmlns:a16="http://schemas.microsoft.com/office/drawing/2014/main" id="{11A4C5E5-CD7E-47A3-8751-6CD6DD792DF1}"/>
                    </a:ext>
                  </a:extLst>
                </p:cNvPr>
                <p:cNvSpPr/>
                <p:nvPr/>
              </p:nvSpPr>
              <p:spPr>
                <a:xfrm>
                  <a:off x="5523434" y="1975479"/>
                  <a:ext cx="9931" cy="67868"/>
                </a:xfrm>
                <a:custGeom>
                  <a:avLst/>
                  <a:gdLst>
                    <a:gd name="connsiteX0" fmla="*/ 4966 w 9931"/>
                    <a:gd name="connsiteY0" fmla="*/ 67868 h 67868"/>
                    <a:gd name="connsiteX1" fmla="*/ 0 w 9931"/>
                    <a:gd name="connsiteY1" fmla="*/ 62902 h 67868"/>
                    <a:gd name="connsiteX2" fmla="*/ 0 w 9931"/>
                    <a:gd name="connsiteY2" fmla="*/ 4966 h 67868"/>
                    <a:gd name="connsiteX3" fmla="*/ 4966 w 9931"/>
                    <a:gd name="connsiteY3" fmla="*/ 0 h 67868"/>
                    <a:gd name="connsiteX4" fmla="*/ 9932 w 9931"/>
                    <a:gd name="connsiteY4" fmla="*/ 4966 h 67868"/>
                    <a:gd name="connsiteX5" fmla="*/ 9932 w 9931"/>
                    <a:gd name="connsiteY5" fmla="*/ 62902 h 67868"/>
                    <a:gd name="connsiteX6" fmla="*/ 4966 w 9931"/>
                    <a:gd name="connsiteY6" fmla="*/ 67868 h 6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67868">
                      <a:moveTo>
                        <a:pt x="4966" y="67868"/>
                      </a:moveTo>
                      <a:cubicBezTo>
                        <a:pt x="2232" y="67868"/>
                        <a:pt x="0" y="65636"/>
                        <a:pt x="0" y="62902"/>
                      </a:cubicBezTo>
                      <a:lnTo>
                        <a:pt x="0" y="4966"/>
                      </a:lnTo>
                      <a:cubicBezTo>
                        <a:pt x="0" y="2232"/>
                        <a:pt x="2232" y="0"/>
                        <a:pt x="4966" y="0"/>
                      </a:cubicBezTo>
                      <a:cubicBezTo>
                        <a:pt x="7700" y="0"/>
                        <a:pt x="9932" y="2232"/>
                        <a:pt x="9932" y="4966"/>
                      </a:cubicBezTo>
                      <a:lnTo>
                        <a:pt x="9932" y="62902"/>
                      </a:lnTo>
                      <a:cubicBezTo>
                        <a:pt x="9932" y="65661"/>
                        <a:pt x="7725" y="67868"/>
                        <a:pt x="4966" y="67868"/>
                      </a:cubicBezTo>
                      <a:close/>
                    </a:path>
                  </a:pathLst>
                </a:custGeom>
                <a:grpFill/>
                <a:ln w="2503" cap="flat">
                  <a:noFill/>
                  <a:prstDash val="solid"/>
                  <a:miter/>
                </a:ln>
              </p:spPr>
              <p:txBody>
                <a:bodyPr rtlCol="0" anchor="ctr"/>
                <a:lstStyle/>
                <a:p>
                  <a:endParaRPr lang="en-GB" dirty="0"/>
                </a:p>
              </p:txBody>
            </p:sp>
            <p:sp>
              <p:nvSpPr>
                <p:cNvPr id="114" name="Freihandform: Form 858">
                  <a:extLst>
                    <a:ext uri="{FF2B5EF4-FFF2-40B4-BE49-F238E27FC236}">
                      <a16:creationId xmlns:a16="http://schemas.microsoft.com/office/drawing/2014/main" id="{B7F24994-1DBC-4E81-97D1-9ABF2E6CBE7F}"/>
                    </a:ext>
                  </a:extLst>
                </p:cNvPr>
                <p:cNvSpPr/>
                <p:nvPr/>
              </p:nvSpPr>
              <p:spPr>
                <a:xfrm>
                  <a:off x="5523434" y="1904376"/>
                  <a:ext cx="9931" cy="57334"/>
                </a:xfrm>
                <a:custGeom>
                  <a:avLst/>
                  <a:gdLst>
                    <a:gd name="connsiteX0" fmla="*/ 4966 w 9931"/>
                    <a:gd name="connsiteY0" fmla="*/ 57334 h 57334"/>
                    <a:gd name="connsiteX1" fmla="*/ 0 w 9931"/>
                    <a:gd name="connsiteY1" fmla="*/ 52369 h 57334"/>
                    <a:gd name="connsiteX2" fmla="*/ 0 w 9931"/>
                    <a:gd name="connsiteY2" fmla="*/ 4966 h 57334"/>
                    <a:gd name="connsiteX3" fmla="*/ 4966 w 9931"/>
                    <a:gd name="connsiteY3" fmla="*/ 0 h 57334"/>
                    <a:gd name="connsiteX4" fmla="*/ 9932 w 9931"/>
                    <a:gd name="connsiteY4" fmla="*/ 4966 h 57334"/>
                    <a:gd name="connsiteX5" fmla="*/ 9932 w 9931"/>
                    <a:gd name="connsiteY5" fmla="*/ 52369 h 57334"/>
                    <a:gd name="connsiteX6" fmla="*/ 4966 w 9931"/>
                    <a:gd name="connsiteY6" fmla="*/ 57334 h 57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1" h="57334">
                      <a:moveTo>
                        <a:pt x="4966" y="57334"/>
                      </a:moveTo>
                      <a:cubicBezTo>
                        <a:pt x="2232" y="57334"/>
                        <a:pt x="0" y="55102"/>
                        <a:pt x="0" y="52369"/>
                      </a:cubicBezTo>
                      <a:lnTo>
                        <a:pt x="0" y="4966"/>
                      </a:lnTo>
                      <a:cubicBezTo>
                        <a:pt x="0" y="2232"/>
                        <a:pt x="2232" y="0"/>
                        <a:pt x="4966" y="0"/>
                      </a:cubicBezTo>
                      <a:cubicBezTo>
                        <a:pt x="7700" y="0"/>
                        <a:pt x="9932" y="2232"/>
                        <a:pt x="9932" y="4966"/>
                      </a:cubicBezTo>
                      <a:lnTo>
                        <a:pt x="9932" y="52369"/>
                      </a:lnTo>
                      <a:cubicBezTo>
                        <a:pt x="9932" y="55127"/>
                        <a:pt x="7725" y="57334"/>
                        <a:pt x="4966" y="57334"/>
                      </a:cubicBezTo>
                      <a:close/>
                    </a:path>
                  </a:pathLst>
                </a:custGeom>
                <a:grpFill/>
                <a:ln w="2503" cap="flat">
                  <a:noFill/>
                  <a:prstDash val="solid"/>
                  <a:miter/>
                </a:ln>
              </p:spPr>
              <p:txBody>
                <a:bodyPr rtlCol="0" anchor="ctr"/>
                <a:lstStyle/>
                <a:p>
                  <a:endParaRPr lang="en-GB" dirty="0"/>
                </a:p>
              </p:txBody>
            </p:sp>
          </p:grpSp>
          <p:sp>
            <p:nvSpPr>
              <p:cNvPr id="90" name="Freihandform: Form 859">
                <a:extLst>
                  <a:ext uri="{FF2B5EF4-FFF2-40B4-BE49-F238E27FC236}">
                    <a16:creationId xmlns:a16="http://schemas.microsoft.com/office/drawing/2014/main" id="{4D2B3AEC-CDA8-4E1E-9BDE-C3068F1A02CD}"/>
                  </a:ext>
                </a:extLst>
              </p:cNvPr>
              <p:cNvSpPr/>
              <p:nvPr/>
            </p:nvSpPr>
            <p:spPr>
              <a:xfrm>
                <a:off x="5372148" y="1722666"/>
                <a:ext cx="312756" cy="323490"/>
              </a:xfrm>
              <a:custGeom>
                <a:avLst/>
                <a:gdLst>
                  <a:gd name="connsiteX0" fmla="*/ 307790 w 312756"/>
                  <a:gd name="connsiteY0" fmla="*/ 323491 h 323490"/>
                  <a:gd name="connsiteX1" fmla="*/ 302824 w 312756"/>
                  <a:gd name="connsiteY1" fmla="*/ 318525 h 323490"/>
                  <a:gd name="connsiteX2" fmla="*/ 302824 w 312756"/>
                  <a:gd name="connsiteY2" fmla="*/ 166937 h 323490"/>
                  <a:gd name="connsiteX3" fmla="*/ 156378 w 312756"/>
                  <a:gd name="connsiteY3" fmla="*/ 9932 h 323490"/>
                  <a:gd name="connsiteX4" fmla="*/ 9932 w 312756"/>
                  <a:gd name="connsiteY4" fmla="*/ 166937 h 323490"/>
                  <a:gd name="connsiteX5" fmla="*/ 9932 w 312756"/>
                  <a:gd name="connsiteY5" fmla="*/ 318525 h 323490"/>
                  <a:gd name="connsiteX6" fmla="*/ 4966 w 312756"/>
                  <a:gd name="connsiteY6" fmla="*/ 323491 h 323490"/>
                  <a:gd name="connsiteX7" fmla="*/ 0 w 312756"/>
                  <a:gd name="connsiteY7" fmla="*/ 318525 h 323490"/>
                  <a:gd name="connsiteX8" fmla="*/ 0 w 312756"/>
                  <a:gd name="connsiteY8" fmla="*/ 166937 h 323490"/>
                  <a:gd name="connsiteX9" fmla="*/ 156378 w 312756"/>
                  <a:gd name="connsiteY9" fmla="*/ 0 h 323490"/>
                  <a:gd name="connsiteX10" fmla="*/ 312756 w 312756"/>
                  <a:gd name="connsiteY10" fmla="*/ 166937 h 323490"/>
                  <a:gd name="connsiteX11" fmla="*/ 312756 w 312756"/>
                  <a:gd name="connsiteY11" fmla="*/ 318525 h 323490"/>
                  <a:gd name="connsiteX12" fmla="*/ 307790 w 312756"/>
                  <a:gd name="connsiteY12" fmla="*/ 323491 h 323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2756" h="323490">
                    <a:moveTo>
                      <a:pt x="307790" y="323491"/>
                    </a:moveTo>
                    <a:cubicBezTo>
                      <a:pt x="305056" y="323491"/>
                      <a:pt x="302824" y="321259"/>
                      <a:pt x="302824" y="318525"/>
                    </a:cubicBezTo>
                    <a:lnTo>
                      <a:pt x="302824" y="166937"/>
                    </a:lnTo>
                    <a:cubicBezTo>
                      <a:pt x="302824" y="80359"/>
                      <a:pt x="237113" y="9932"/>
                      <a:pt x="156378" y="9932"/>
                    </a:cubicBezTo>
                    <a:cubicBezTo>
                      <a:pt x="75618" y="9932"/>
                      <a:pt x="9932" y="80359"/>
                      <a:pt x="9932" y="166937"/>
                    </a:cubicBezTo>
                    <a:lnTo>
                      <a:pt x="9932" y="318525"/>
                    </a:lnTo>
                    <a:cubicBezTo>
                      <a:pt x="9932" y="321259"/>
                      <a:pt x="7700" y="323491"/>
                      <a:pt x="4966" y="323491"/>
                    </a:cubicBezTo>
                    <a:cubicBezTo>
                      <a:pt x="2232" y="323491"/>
                      <a:pt x="0" y="321259"/>
                      <a:pt x="0" y="318525"/>
                    </a:cubicBezTo>
                    <a:lnTo>
                      <a:pt x="0" y="166937"/>
                    </a:lnTo>
                    <a:cubicBezTo>
                      <a:pt x="0" y="74891"/>
                      <a:pt x="70151" y="0"/>
                      <a:pt x="156378" y="0"/>
                    </a:cubicBezTo>
                    <a:cubicBezTo>
                      <a:pt x="242606" y="0"/>
                      <a:pt x="312756" y="74891"/>
                      <a:pt x="312756" y="166937"/>
                    </a:cubicBezTo>
                    <a:lnTo>
                      <a:pt x="312756" y="318525"/>
                    </a:lnTo>
                    <a:cubicBezTo>
                      <a:pt x="312756" y="321259"/>
                      <a:pt x="310549" y="323491"/>
                      <a:pt x="307790" y="323491"/>
                    </a:cubicBezTo>
                    <a:close/>
                  </a:path>
                </a:pathLst>
              </a:custGeom>
              <a:grpFill/>
              <a:ln w="2503" cap="flat">
                <a:noFill/>
                <a:prstDash val="solid"/>
                <a:miter/>
              </a:ln>
            </p:spPr>
            <p:txBody>
              <a:bodyPr rtlCol="0" anchor="ctr"/>
              <a:lstStyle/>
              <a:p>
                <a:endParaRPr lang="en-GB" dirty="0"/>
              </a:p>
            </p:txBody>
          </p:sp>
        </p:grpSp>
        <p:grpSp>
          <p:nvGrpSpPr>
            <p:cNvPr id="84" name="Group 83">
              <a:extLst>
                <a:ext uri="{FF2B5EF4-FFF2-40B4-BE49-F238E27FC236}">
                  <a16:creationId xmlns:a16="http://schemas.microsoft.com/office/drawing/2014/main" id="{97556ABA-644A-45E2-A3D7-5A726E25D6B6}"/>
                </a:ext>
              </a:extLst>
            </p:cNvPr>
            <p:cNvGrpSpPr/>
            <p:nvPr/>
          </p:nvGrpSpPr>
          <p:grpSpPr>
            <a:xfrm>
              <a:off x="1623495" y="4040086"/>
              <a:ext cx="431978" cy="432000"/>
              <a:chOff x="5287124" y="1649104"/>
              <a:chExt cx="482778" cy="482803"/>
            </a:xfrm>
          </p:grpSpPr>
          <p:sp>
            <p:nvSpPr>
              <p:cNvPr id="85" name="Freihandform: Form 861">
                <a:extLst>
                  <a:ext uri="{FF2B5EF4-FFF2-40B4-BE49-F238E27FC236}">
                    <a16:creationId xmlns:a16="http://schemas.microsoft.com/office/drawing/2014/main" id="{664CB5DD-3F08-4A37-AA2E-013E78005207}"/>
                  </a:ext>
                </a:extLst>
              </p:cNvPr>
              <p:cNvSpPr/>
              <p:nvPr/>
            </p:nvSpPr>
            <p:spPr>
              <a:xfrm>
                <a:off x="5601536" y="1649104"/>
                <a:ext cx="168366" cy="164479"/>
              </a:xfrm>
              <a:custGeom>
                <a:avLst/>
                <a:gdLst>
                  <a:gd name="connsiteX0" fmla="*/ 163401 w 168366"/>
                  <a:gd name="connsiteY0" fmla="*/ 164479 h 164479"/>
                  <a:gd name="connsiteX1" fmla="*/ 158435 w 168366"/>
                  <a:gd name="connsiteY1" fmla="*/ 159513 h 164479"/>
                  <a:gd name="connsiteX2" fmla="*/ 158435 w 168366"/>
                  <a:gd name="connsiteY2" fmla="*/ 53472 h 164479"/>
                  <a:gd name="connsiteX3" fmla="*/ 114895 w 168366"/>
                  <a:gd name="connsiteY3" fmla="*/ 9932 h 164479"/>
                  <a:gd name="connsiteX4" fmla="*/ 4966 w 168366"/>
                  <a:gd name="connsiteY4" fmla="*/ 9932 h 164479"/>
                  <a:gd name="connsiteX5" fmla="*/ 0 w 168366"/>
                  <a:gd name="connsiteY5" fmla="*/ 4966 h 164479"/>
                  <a:gd name="connsiteX6" fmla="*/ 4966 w 168366"/>
                  <a:gd name="connsiteY6" fmla="*/ 0 h 164479"/>
                  <a:gd name="connsiteX7" fmla="*/ 114895 w 168366"/>
                  <a:gd name="connsiteY7" fmla="*/ 0 h 164479"/>
                  <a:gd name="connsiteX8" fmla="*/ 168367 w 168366"/>
                  <a:gd name="connsiteY8" fmla="*/ 53472 h 164479"/>
                  <a:gd name="connsiteX9" fmla="*/ 168367 w 168366"/>
                  <a:gd name="connsiteY9" fmla="*/ 159488 h 164479"/>
                  <a:gd name="connsiteX10" fmla="*/ 163401 w 168366"/>
                  <a:gd name="connsiteY10" fmla="*/ 164479 h 164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366" h="164479">
                    <a:moveTo>
                      <a:pt x="163401" y="164479"/>
                    </a:moveTo>
                    <a:cubicBezTo>
                      <a:pt x="160667" y="164479"/>
                      <a:pt x="158435" y="162247"/>
                      <a:pt x="158435" y="159513"/>
                    </a:cubicBezTo>
                    <a:lnTo>
                      <a:pt x="158435" y="53472"/>
                    </a:lnTo>
                    <a:cubicBezTo>
                      <a:pt x="158435" y="29470"/>
                      <a:pt x="138897" y="9932"/>
                      <a:pt x="114895" y="9932"/>
                    </a:cubicBezTo>
                    <a:lnTo>
                      <a:pt x="4966" y="9932"/>
                    </a:lnTo>
                    <a:cubicBezTo>
                      <a:pt x="2232" y="9932"/>
                      <a:pt x="0" y="7700"/>
                      <a:pt x="0" y="4966"/>
                    </a:cubicBezTo>
                    <a:cubicBezTo>
                      <a:pt x="0" y="2232"/>
                      <a:pt x="2232" y="0"/>
                      <a:pt x="4966" y="0"/>
                    </a:cubicBezTo>
                    <a:lnTo>
                      <a:pt x="114895" y="0"/>
                    </a:lnTo>
                    <a:cubicBezTo>
                      <a:pt x="144390" y="0"/>
                      <a:pt x="168367" y="23977"/>
                      <a:pt x="168367" y="53472"/>
                    </a:cubicBezTo>
                    <a:lnTo>
                      <a:pt x="168367" y="159488"/>
                    </a:lnTo>
                    <a:cubicBezTo>
                      <a:pt x="168367" y="162247"/>
                      <a:pt x="166160" y="164479"/>
                      <a:pt x="163401" y="164479"/>
                    </a:cubicBezTo>
                    <a:close/>
                  </a:path>
                </a:pathLst>
              </a:custGeom>
              <a:solidFill>
                <a:schemeClr val="accent1"/>
              </a:solidFill>
              <a:ln w="2503" cap="flat">
                <a:noFill/>
                <a:prstDash val="solid"/>
                <a:miter/>
              </a:ln>
            </p:spPr>
            <p:txBody>
              <a:bodyPr rtlCol="0" anchor="ctr"/>
              <a:lstStyle/>
              <a:p>
                <a:endParaRPr lang="en-GB" dirty="0"/>
              </a:p>
            </p:txBody>
          </p:sp>
          <p:sp>
            <p:nvSpPr>
              <p:cNvPr id="86" name="Freihandform: Form 862">
                <a:extLst>
                  <a:ext uri="{FF2B5EF4-FFF2-40B4-BE49-F238E27FC236}">
                    <a16:creationId xmlns:a16="http://schemas.microsoft.com/office/drawing/2014/main" id="{EE819009-8CB1-41ED-9B2B-455BE6FCDC51}"/>
                  </a:ext>
                </a:extLst>
              </p:cNvPr>
              <p:cNvSpPr/>
              <p:nvPr/>
            </p:nvSpPr>
            <p:spPr>
              <a:xfrm>
                <a:off x="5601536" y="1963541"/>
                <a:ext cx="168366" cy="168366"/>
              </a:xfrm>
              <a:custGeom>
                <a:avLst/>
                <a:gdLst>
                  <a:gd name="connsiteX0" fmla="*/ 114895 w 168366"/>
                  <a:gd name="connsiteY0" fmla="*/ 168367 h 168366"/>
                  <a:gd name="connsiteX1" fmla="*/ 4966 w 168366"/>
                  <a:gd name="connsiteY1" fmla="*/ 168367 h 168366"/>
                  <a:gd name="connsiteX2" fmla="*/ 0 w 168366"/>
                  <a:gd name="connsiteY2" fmla="*/ 163401 h 168366"/>
                  <a:gd name="connsiteX3" fmla="*/ 4966 w 168366"/>
                  <a:gd name="connsiteY3" fmla="*/ 158435 h 168366"/>
                  <a:gd name="connsiteX4" fmla="*/ 114895 w 168366"/>
                  <a:gd name="connsiteY4" fmla="*/ 158435 h 168366"/>
                  <a:gd name="connsiteX5" fmla="*/ 158435 w 168366"/>
                  <a:gd name="connsiteY5" fmla="*/ 114895 h 168366"/>
                  <a:gd name="connsiteX6" fmla="*/ 158435 w 168366"/>
                  <a:gd name="connsiteY6" fmla="*/ 4966 h 168366"/>
                  <a:gd name="connsiteX7" fmla="*/ 163401 w 168366"/>
                  <a:gd name="connsiteY7" fmla="*/ 0 h 168366"/>
                  <a:gd name="connsiteX8" fmla="*/ 168367 w 168366"/>
                  <a:gd name="connsiteY8" fmla="*/ 4966 h 168366"/>
                  <a:gd name="connsiteX9" fmla="*/ 168367 w 168366"/>
                  <a:gd name="connsiteY9" fmla="*/ 114895 h 168366"/>
                  <a:gd name="connsiteX10" fmla="*/ 114895 w 168366"/>
                  <a:gd name="connsiteY10" fmla="*/ 168367 h 168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366" h="168366">
                    <a:moveTo>
                      <a:pt x="114895" y="168367"/>
                    </a:moveTo>
                    <a:lnTo>
                      <a:pt x="4966" y="168367"/>
                    </a:lnTo>
                    <a:cubicBezTo>
                      <a:pt x="2232" y="168367"/>
                      <a:pt x="0" y="166135"/>
                      <a:pt x="0" y="163401"/>
                    </a:cubicBezTo>
                    <a:cubicBezTo>
                      <a:pt x="0" y="160667"/>
                      <a:pt x="2232" y="158435"/>
                      <a:pt x="4966" y="158435"/>
                    </a:cubicBezTo>
                    <a:lnTo>
                      <a:pt x="114895" y="158435"/>
                    </a:lnTo>
                    <a:cubicBezTo>
                      <a:pt x="138897" y="158435"/>
                      <a:pt x="158435" y="138897"/>
                      <a:pt x="158435" y="114895"/>
                    </a:cubicBezTo>
                    <a:lnTo>
                      <a:pt x="158435" y="4966"/>
                    </a:lnTo>
                    <a:cubicBezTo>
                      <a:pt x="158435" y="2232"/>
                      <a:pt x="160667" y="0"/>
                      <a:pt x="163401" y="0"/>
                    </a:cubicBezTo>
                    <a:cubicBezTo>
                      <a:pt x="166135" y="0"/>
                      <a:pt x="168367" y="2232"/>
                      <a:pt x="168367" y="4966"/>
                    </a:cubicBezTo>
                    <a:lnTo>
                      <a:pt x="168367" y="114895"/>
                    </a:lnTo>
                    <a:cubicBezTo>
                      <a:pt x="168367" y="144364"/>
                      <a:pt x="144390" y="168367"/>
                      <a:pt x="114895" y="168367"/>
                    </a:cubicBezTo>
                    <a:close/>
                  </a:path>
                </a:pathLst>
              </a:custGeom>
              <a:solidFill>
                <a:schemeClr val="accent1"/>
              </a:solidFill>
              <a:ln w="2503" cap="flat">
                <a:noFill/>
                <a:prstDash val="solid"/>
                <a:miter/>
              </a:ln>
            </p:spPr>
            <p:txBody>
              <a:bodyPr rtlCol="0" anchor="ctr"/>
              <a:lstStyle/>
              <a:p>
                <a:endParaRPr lang="en-GB" dirty="0"/>
              </a:p>
            </p:txBody>
          </p:sp>
          <p:sp>
            <p:nvSpPr>
              <p:cNvPr id="87" name="Freihandform: Form 863">
                <a:extLst>
                  <a:ext uri="{FF2B5EF4-FFF2-40B4-BE49-F238E27FC236}">
                    <a16:creationId xmlns:a16="http://schemas.microsoft.com/office/drawing/2014/main" id="{1573C39C-6352-407A-9A60-1910AA6939C5}"/>
                  </a:ext>
                </a:extLst>
              </p:cNvPr>
              <p:cNvSpPr/>
              <p:nvPr/>
            </p:nvSpPr>
            <p:spPr>
              <a:xfrm>
                <a:off x="5287124" y="1963541"/>
                <a:ext cx="164454" cy="168366"/>
              </a:xfrm>
              <a:custGeom>
                <a:avLst/>
                <a:gdLst>
                  <a:gd name="connsiteX0" fmla="*/ 159488 w 164454"/>
                  <a:gd name="connsiteY0" fmla="*/ 168367 h 168366"/>
                  <a:gd name="connsiteX1" fmla="*/ 53472 w 164454"/>
                  <a:gd name="connsiteY1" fmla="*/ 168367 h 168366"/>
                  <a:gd name="connsiteX2" fmla="*/ 0 w 164454"/>
                  <a:gd name="connsiteY2" fmla="*/ 114895 h 168366"/>
                  <a:gd name="connsiteX3" fmla="*/ 0 w 164454"/>
                  <a:gd name="connsiteY3" fmla="*/ 4966 h 168366"/>
                  <a:gd name="connsiteX4" fmla="*/ 4966 w 164454"/>
                  <a:gd name="connsiteY4" fmla="*/ 0 h 168366"/>
                  <a:gd name="connsiteX5" fmla="*/ 9932 w 164454"/>
                  <a:gd name="connsiteY5" fmla="*/ 4966 h 168366"/>
                  <a:gd name="connsiteX6" fmla="*/ 9932 w 164454"/>
                  <a:gd name="connsiteY6" fmla="*/ 114895 h 168366"/>
                  <a:gd name="connsiteX7" fmla="*/ 53472 w 164454"/>
                  <a:gd name="connsiteY7" fmla="*/ 158435 h 168366"/>
                  <a:gd name="connsiteX8" fmla="*/ 159488 w 164454"/>
                  <a:gd name="connsiteY8" fmla="*/ 158435 h 168366"/>
                  <a:gd name="connsiteX9" fmla="*/ 164454 w 164454"/>
                  <a:gd name="connsiteY9" fmla="*/ 163401 h 168366"/>
                  <a:gd name="connsiteX10" fmla="*/ 159488 w 164454"/>
                  <a:gd name="connsiteY10" fmla="*/ 168367 h 168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454" h="168366">
                    <a:moveTo>
                      <a:pt x="159488" y="168367"/>
                    </a:moveTo>
                    <a:lnTo>
                      <a:pt x="53472" y="168367"/>
                    </a:lnTo>
                    <a:cubicBezTo>
                      <a:pt x="23977" y="168367"/>
                      <a:pt x="0" y="144390"/>
                      <a:pt x="0" y="114895"/>
                    </a:cubicBezTo>
                    <a:lnTo>
                      <a:pt x="0" y="4966"/>
                    </a:lnTo>
                    <a:cubicBezTo>
                      <a:pt x="0" y="2232"/>
                      <a:pt x="2232" y="0"/>
                      <a:pt x="4966" y="0"/>
                    </a:cubicBezTo>
                    <a:cubicBezTo>
                      <a:pt x="7700" y="0"/>
                      <a:pt x="9932" y="2232"/>
                      <a:pt x="9932" y="4966"/>
                    </a:cubicBezTo>
                    <a:lnTo>
                      <a:pt x="9932" y="114895"/>
                    </a:lnTo>
                    <a:cubicBezTo>
                      <a:pt x="9932" y="138897"/>
                      <a:pt x="29470" y="158435"/>
                      <a:pt x="53472" y="158435"/>
                    </a:cubicBezTo>
                    <a:lnTo>
                      <a:pt x="159488" y="158435"/>
                    </a:lnTo>
                    <a:cubicBezTo>
                      <a:pt x="162222" y="158435"/>
                      <a:pt x="164454" y="160667"/>
                      <a:pt x="164454" y="163401"/>
                    </a:cubicBezTo>
                    <a:cubicBezTo>
                      <a:pt x="164454" y="166135"/>
                      <a:pt x="162222" y="168367"/>
                      <a:pt x="159488" y="168367"/>
                    </a:cubicBezTo>
                    <a:close/>
                  </a:path>
                </a:pathLst>
              </a:custGeom>
              <a:solidFill>
                <a:schemeClr val="accent1"/>
              </a:solidFill>
              <a:ln w="2503" cap="flat">
                <a:noFill/>
                <a:prstDash val="solid"/>
                <a:miter/>
              </a:ln>
            </p:spPr>
            <p:txBody>
              <a:bodyPr rtlCol="0" anchor="ctr"/>
              <a:lstStyle/>
              <a:p>
                <a:endParaRPr lang="en-GB" dirty="0"/>
              </a:p>
            </p:txBody>
          </p:sp>
          <p:sp>
            <p:nvSpPr>
              <p:cNvPr id="88" name="Freihandform: Form 864">
                <a:extLst>
                  <a:ext uri="{FF2B5EF4-FFF2-40B4-BE49-F238E27FC236}">
                    <a16:creationId xmlns:a16="http://schemas.microsoft.com/office/drawing/2014/main" id="{81195DEF-52A1-4B1A-8546-4B761DA91FB3}"/>
                  </a:ext>
                </a:extLst>
              </p:cNvPr>
              <p:cNvSpPr/>
              <p:nvPr/>
            </p:nvSpPr>
            <p:spPr>
              <a:xfrm>
                <a:off x="5287124" y="1649104"/>
                <a:ext cx="164454" cy="164454"/>
              </a:xfrm>
              <a:custGeom>
                <a:avLst/>
                <a:gdLst>
                  <a:gd name="connsiteX0" fmla="*/ 4966 w 164454"/>
                  <a:gd name="connsiteY0" fmla="*/ 164454 h 164454"/>
                  <a:gd name="connsiteX1" fmla="*/ 0 w 164454"/>
                  <a:gd name="connsiteY1" fmla="*/ 159488 h 164454"/>
                  <a:gd name="connsiteX2" fmla="*/ 0 w 164454"/>
                  <a:gd name="connsiteY2" fmla="*/ 53472 h 164454"/>
                  <a:gd name="connsiteX3" fmla="*/ 53472 w 164454"/>
                  <a:gd name="connsiteY3" fmla="*/ 0 h 164454"/>
                  <a:gd name="connsiteX4" fmla="*/ 159488 w 164454"/>
                  <a:gd name="connsiteY4" fmla="*/ 0 h 164454"/>
                  <a:gd name="connsiteX5" fmla="*/ 164454 w 164454"/>
                  <a:gd name="connsiteY5" fmla="*/ 4966 h 164454"/>
                  <a:gd name="connsiteX6" fmla="*/ 159488 w 164454"/>
                  <a:gd name="connsiteY6" fmla="*/ 9932 h 164454"/>
                  <a:gd name="connsiteX7" fmla="*/ 53472 w 164454"/>
                  <a:gd name="connsiteY7" fmla="*/ 9932 h 164454"/>
                  <a:gd name="connsiteX8" fmla="*/ 9932 w 164454"/>
                  <a:gd name="connsiteY8" fmla="*/ 53472 h 164454"/>
                  <a:gd name="connsiteX9" fmla="*/ 9932 w 164454"/>
                  <a:gd name="connsiteY9" fmla="*/ 159488 h 164454"/>
                  <a:gd name="connsiteX10" fmla="*/ 4966 w 164454"/>
                  <a:gd name="connsiteY10" fmla="*/ 164454 h 164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4454" h="164454">
                    <a:moveTo>
                      <a:pt x="4966" y="164454"/>
                    </a:moveTo>
                    <a:cubicBezTo>
                      <a:pt x="2232" y="164454"/>
                      <a:pt x="0" y="162222"/>
                      <a:pt x="0" y="159488"/>
                    </a:cubicBezTo>
                    <a:lnTo>
                      <a:pt x="0" y="53472"/>
                    </a:lnTo>
                    <a:cubicBezTo>
                      <a:pt x="0" y="23977"/>
                      <a:pt x="23977" y="0"/>
                      <a:pt x="53472" y="0"/>
                    </a:cubicBezTo>
                    <a:lnTo>
                      <a:pt x="159488" y="0"/>
                    </a:lnTo>
                    <a:cubicBezTo>
                      <a:pt x="162222" y="0"/>
                      <a:pt x="164454" y="2232"/>
                      <a:pt x="164454" y="4966"/>
                    </a:cubicBezTo>
                    <a:cubicBezTo>
                      <a:pt x="164454" y="7700"/>
                      <a:pt x="162222" y="9932"/>
                      <a:pt x="159488" y="9932"/>
                    </a:cubicBezTo>
                    <a:lnTo>
                      <a:pt x="53472" y="9932"/>
                    </a:lnTo>
                    <a:cubicBezTo>
                      <a:pt x="29470" y="9932"/>
                      <a:pt x="9932" y="29470"/>
                      <a:pt x="9932" y="53472"/>
                    </a:cubicBezTo>
                    <a:lnTo>
                      <a:pt x="9932" y="159488"/>
                    </a:lnTo>
                    <a:cubicBezTo>
                      <a:pt x="9932" y="162247"/>
                      <a:pt x="7700" y="164454"/>
                      <a:pt x="4966" y="164454"/>
                    </a:cubicBezTo>
                    <a:close/>
                  </a:path>
                </a:pathLst>
              </a:custGeom>
              <a:solidFill>
                <a:schemeClr val="accent1"/>
              </a:solidFill>
              <a:ln w="2503" cap="flat">
                <a:noFill/>
                <a:prstDash val="solid"/>
                <a:miter/>
              </a:ln>
            </p:spPr>
            <p:txBody>
              <a:bodyPr rtlCol="0" anchor="ctr"/>
              <a:lstStyle/>
              <a:p>
                <a:endParaRPr lang="en-GB" dirty="0"/>
              </a:p>
            </p:txBody>
          </p:sp>
        </p:grpSp>
      </p:grpSp>
      <p:grpSp>
        <p:nvGrpSpPr>
          <p:cNvPr id="57" name="Group 56">
            <a:extLst>
              <a:ext uri="{FF2B5EF4-FFF2-40B4-BE49-F238E27FC236}">
                <a16:creationId xmlns:a16="http://schemas.microsoft.com/office/drawing/2014/main" id="{EF3D4F7C-7D40-068C-8CEF-BBC193B3E31B}"/>
              </a:ext>
            </a:extLst>
          </p:cNvPr>
          <p:cNvGrpSpPr/>
          <p:nvPr/>
        </p:nvGrpSpPr>
        <p:grpSpPr>
          <a:xfrm>
            <a:off x="544319" y="4040086"/>
            <a:ext cx="499463" cy="432000"/>
            <a:chOff x="544319" y="4040086"/>
            <a:chExt cx="499463" cy="432000"/>
          </a:xfrm>
        </p:grpSpPr>
        <p:grpSp>
          <p:nvGrpSpPr>
            <p:cNvPr id="116" name="Group 1137">
              <a:extLst>
                <a:ext uri="{FF2B5EF4-FFF2-40B4-BE49-F238E27FC236}">
                  <a16:creationId xmlns:a16="http://schemas.microsoft.com/office/drawing/2014/main" id="{D1046BCA-B38C-439B-ADFC-C074933806DB}"/>
                </a:ext>
              </a:extLst>
            </p:cNvPr>
            <p:cNvGrpSpPr/>
            <p:nvPr/>
          </p:nvGrpSpPr>
          <p:grpSpPr>
            <a:xfrm>
              <a:off x="544319" y="4040086"/>
              <a:ext cx="292692" cy="220901"/>
              <a:chOff x="6070713" y="3319799"/>
              <a:chExt cx="294537" cy="222293"/>
            </a:xfrm>
            <a:solidFill>
              <a:schemeClr val="accent1"/>
            </a:solidFill>
          </p:grpSpPr>
          <p:sp>
            <p:nvSpPr>
              <p:cNvPr id="126" name="Freihandform: Form 1449">
                <a:extLst>
                  <a:ext uri="{FF2B5EF4-FFF2-40B4-BE49-F238E27FC236}">
                    <a16:creationId xmlns:a16="http://schemas.microsoft.com/office/drawing/2014/main" id="{B36610F0-36F3-4410-802B-56DCED5D6A3F}"/>
                  </a:ext>
                </a:extLst>
              </p:cNvPr>
              <p:cNvSpPr/>
              <p:nvPr/>
            </p:nvSpPr>
            <p:spPr>
              <a:xfrm>
                <a:off x="6116974" y="3319799"/>
                <a:ext cx="80891" cy="110602"/>
              </a:xfrm>
              <a:custGeom>
                <a:avLst/>
                <a:gdLst>
                  <a:gd name="connsiteX0" fmla="*/ 75828 w 80891"/>
                  <a:gd name="connsiteY0" fmla="*/ 110603 h 110602"/>
                  <a:gd name="connsiteX1" fmla="*/ 73041 w 80891"/>
                  <a:gd name="connsiteY1" fmla="*/ 109730 h 110602"/>
                  <a:gd name="connsiteX2" fmla="*/ 2126 w 80891"/>
                  <a:gd name="connsiteY2" fmla="*/ 60960 h 110602"/>
                  <a:gd name="connsiteX3" fmla="*/ 43 w 80891"/>
                  <a:gd name="connsiteY3" fmla="*/ 56259 h 110602"/>
                  <a:gd name="connsiteX4" fmla="*/ 6802 w 80891"/>
                  <a:gd name="connsiteY4" fmla="*/ 4291 h 110602"/>
                  <a:gd name="connsiteX5" fmla="*/ 9661 w 80891"/>
                  <a:gd name="connsiteY5" fmla="*/ 438 h 110602"/>
                  <a:gd name="connsiteX6" fmla="*/ 14434 w 80891"/>
                  <a:gd name="connsiteY6" fmla="*/ 850 h 110602"/>
                  <a:gd name="connsiteX7" fmla="*/ 72702 w 80891"/>
                  <a:gd name="connsiteY7" fmla="*/ 40099 h 110602"/>
                  <a:gd name="connsiteX8" fmla="*/ 74858 w 80891"/>
                  <a:gd name="connsiteY8" fmla="*/ 43709 h 110602"/>
                  <a:gd name="connsiteX9" fmla="*/ 80625 w 80891"/>
                  <a:gd name="connsiteY9" fmla="*/ 104061 h 110602"/>
                  <a:gd name="connsiteX10" fmla="*/ 80891 w 80891"/>
                  <a:gd name="connsiteY10" fmla="*/ 105636 h 110602"/>
                  <a:gd name="connsiteX11" fmla="*/ 75973 w 80891"/>
                  <a:gd name="connsiteY11" fmla="*/ 110554 h 110602"/>
                  <a:gd name="connsiteX12" fmla="*/ 75828 w 80891"/>
                  <a:gd name="connsiteY12" fmla="*/ 110603 h 110602"/>
                  <a:gd name="connsiteX13" fmla="*/ 10194 w 80891"/>
                  <a:gd name="connsiteY13" fmla="*/ 54539 h 110602"/>
                  <a:gd name="connsiteX14" fmla="*/ 69916 w 80891"/>
                  <a:gd name="connsiteY14" fmla="*/ 95605 h 110602"/>
                  <a:gd name="connsiteX15" fmla="*/ 65264 w 80891"/>
                  <a:gd name="connsiteY15" fmla="*/ 46956 h 110602"/>
                  <a:gd name="connsiteX16" fmla="*/ 15524 w 80891"/>
                  <a:gd name="connsiteY16" fmla="*/ 13449 h 110602"/>
                  <a:gd name="connsiteX17" fmla="*/ 10194 w 80891"/>
                  <a:gd name="connsiteY17" fmla="*/ 54539 h 11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891" h="110602">
                    <a:moveTo>
                      <a:pt x="75828" y="110603"/>
                    </a:moveTo>
                    <a:cubicBezTo>
                      <a:pt x="74858" y="110603"/>
                      <a:pt x="73865" y="110312"/>
                      <a:pt x="73041" y="109730"/>
                    </a:cubicBezTo>
                    <a:lnTo>
                      <a:pt x="2126" y="60960"/>
                    </a:lnTo>
                    <a:cubicBezTo>
                      <a:pt x="600" y="59918"/>
                      <a:pt x="-200" y="58101"/>
                      <a:pt x="43" y="56259"/>
                    </a:cubicBezTo>
                    <a:lnTo>
                      <a:pt x="6802" y="4291"/>
                    </a:lnTo>
                    <a:cubicBezTo>
                      <a:pt x="7020" y="2595"/>
                      <a:pt x="8111" y="1141"/>
                      <a:pt x="9661" y="438"/>
                    </a:cubicBezTo>
                    <a:cubicBezTo>
                      <a:pt x="11212" y="-264"/>
                      <a:pt x="13029" y="-119"/>
                      <a:pt x="14434" y="850"/>
                    </a:cubicBezTo>
                    <a:lnTo>
                      <a:pt x="72702" y="40099"/>
                    </a:lnTo>
                    <a:cubicBezTo>
                      <a:pt x="73914" y="40923"/>
                      <a:pt x="74713" y="42256"/>
                      <a:pt x="74858" y="43709"/>
                    </a:cubicBezTo>
                    <a:lnTo>
                      <a:pt x="80625" y="104061"/>
                    </a:lnTo>
                    <a:cubicBezTo>
                      <a:pt x="80794" y="104570"/>
                      <a:pt x="80891" y="105103"/>
                      <a:pt x="80891" y="105636"/>
                    </a:cubicBezTo>
                    <a:cubicBezTo>
                      <a:pt x="80891" y="108349"/>
                      <a:pt x="78686" y="110554"/>
                      <a:pt x="75973" y="110554"/>
                    </a:cubicBezTo>
                    <a:cubicBezTo>
                      <a:pt x="75924" y="110603"/>
                      <a:pt x="75876" y="110603"/>
                      <a:pt x="75828" y="110603"/>
                    </a:cubicBezTo>
                    <a:close/>
                    <a:moveTo>
                      <a:pt x="10194" y="54539"/>
                    </a:moveTo>
                    <a:lnTo>
                      <a:pt x="69916" y="95605"/>
                    </a:lnTo>
                    <a:lnTo>
                      <a:pt x="65264" y="46956"/>
                    </a:lnTo>
                    <a:lnTo>
                      <a:pt x="15524" y="13449"/>
                    </a:lnTo>
                    <a:lnTo>
                      <a:pt x="10194" y="54539"/>
                    </a:lnTo>
                    <a:close/>
                  </a:path>
                </a:pathLst>
              </a:custGeom>
              <a:solidFill>
                <a:schemeClr val="accent1"/>
              </a:solidFill>
              <a:ln w="2420" cap="flat">
                <a:noFill/>
                <a:prstDash val="solid"/>
                <a:miter/>
              </a:ln>
            </p:spPr>
            <p:txBody>
              <a:bodyPr rtlCol="0" anchor="ctr"/>
              <a:lstStyle/>
              <a:p>
                <a:endParaRPr lang="en-GB" dirty="0"/>
              </a:p>
            </p:txBody>
          </p:sp>
          <p:sp>
            <p:nvSpPr>
              <p:cNvPr id="127" name="Freihandform: Form 1450">
                <a:extLst>
                  <a:ext uri="{FF2B5EF4-FFF2-40B4-BE49-F238E27FC236}">
                    <a16:creationId xmlns:a16="http://schemas.microsoft.com/office/drawing/2014/main" id="{81778C2F-5301-43C2-8378-8A6289D09FA3}"/>
                  </a:ext>
                </a:extLst>
              </p:cNvPr>
              <p:cNvSpPr/>
              <p:nvPr/>
            </p:nvSpPr>
            <p:spPr>
              <a:xfrm>
                <a:off x="6070713" y="3372241"/>
                <a:ext cx="128210" cy="73497"/>
              </a:xfrm>
              <a:custGeom>
                <a:avLst/>
                <a:gdLst>
                  <a:gd name="connsiteX0" fmla="*/ 64329 w 128210"/>
                  <a:gd name="connsiteY0" fmla="*/ 73497 h 73497"/>
                  <a:gd name="connsiteX1" fmla="*/ 61640 w 128210"/>
                  <a:gd name="connsiteY1" fmla="*/ 72698 h 73497"/>
                  <a:gd name="connsiteX2" fmla="*/ 2233 w 128210"/>
                  <a:gd name="connsiteY2" fmla="*/ 33812 h 73497"/>
                  <a:gd name="connsiteX3" fmla="*/ 4 w 128210"/>
                  <a:gd name="connsiteY3" fmla="*/ 29475 h 73497"/>
                  <a:gd name="connsiteX4" fmla="*/ 2597 w 128210"/>
                  <a:gd name="connsiteY4" fmla="*/ 25356 h 73497"/>
                  <a:gd name="connsiteX5" fmla="*/ 48606 w 128210"/>
                  <a:gd name="connsiteY5" fmla="*/ 596 h 73497"/>
                  <a:gd name="connsiteX6" fmla="*/ 53645 w 128210"/>
                  <a:gd name="connsiteY6" fmla="*/ 814 h 73497"/>
                  <a:gd name="connsiteX7" fmla="*/ 125989 w 128210"/>
                  <a:gd name="connsiteY7" fmla="*/ 48397 h 73497"/>
                  <a:gd name="connsiteX8" fmla="*/ 128146 w 128210"/>
                  <a:gd name="connsiteY8" fmla="*/ 53291 h 73497"/>
                  <a:gd name="connsiteX9" fmla="*/ 124584 w 128210"/>
                  <a:gd name="connsiteY9" fmla="*/ 57265 h 73497"/>
                  <a:gd name="connsiteX10" fmla="*/ 65638 w 128210"/>
                  <a:gd name="connsiteY10" fmla="*/ 73328 h 73497"/>
                  <a:gd name="connsiteX11" fmla="*/ 64329 w 128210"/>
                  <a:gd name="connsiteY11" fmla="*/ 73497 h 73497"/>
                  <a:gd name="connsiteX12" fmla="*/ 14565 w 128210"/>
                  <a:gd name="connsiteY12" fmla="*/ 30105 h 73497"/>
                  <a:gd name="connsiteX13" fmla="*/ 65177 w 128210"/>
                  <a:gd name="connsiteY13" fmla="*/ 63225 h 73497"/>
                  <a:gd name="connsiteX14" fmla="*/ 111453 w 128210"/>
                  <a:gd name="connsiteY14" fmla="*/ 50626 h 73497"/>
                  <a:gd name="connsiteX15" fmla="*/ 50689 w 128210"/>
                  <a:gd name="connsiteY15" fmla="*/ 10650 h 73497"/>
                  <a:gd name="connsiteX16" fmla="*/ 14565 w 128210"/>
                  <a:gd name="connsiteY16" fmla="*/ 30105 h 73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210" h="73497">
                    <a:moveTo>
                      <a:pt x="64329" y="73497"/>
                    </a:moveTo>
                    <a:cubicBezTo>
                      <a:pt x="63384" y="73497"/>
                      <a:pt x="62440" y="73231"/>
                      <a:pt x="61640" y="72698"/>
                    </a:cubicBezTo>
                    <a:lnTo>
                      <a:pt x="2233" y="33812"/>
                    </a:lnTo>
                    <a:cubicBezTo>
                      <a:pt x="780" y="32867"/>
                      <a:pt x="-68" y="31220"/>
                      <a:pt x="4" y="29475"/>
                    </a:cubicBezTo>
                    <a:cubicBezTo>
                      <a:pt x="77" y="27731"/>
                      <a:pt x="1070" y="26180"/>
                      <a:pt x="2597" y="25356"/>
                    </a:cubicBezTo>
                    <a:lnTo>
                      <a:pt x="48606" y="596"/>
                    </a:lnTo>
                    <a:cubicBezTo>
                      <a:pt x="50204" y="-277"/>
                      <a:pt x="52143" y="-180"/>
                      <a:pt x="53645" y="814"/>
                    </a:cubicBezTo>
                    <a:lnTo>
                      <a:pt x="125989" y="48397"/>
                    </a:lnTo>
                    <a:cubicBezTo>
                      <a:pt x="127613" y="49463"/>
                      <a:pt x="128461" y="51377"/>
                      <a:pt x="128146" y="53291"/>
                    </a:cubicBezTo>
                    <a:cubicBezTo>
                      <a:pt x="127831" y="55205"/>
                      <a:pt x="126450" y="56756"/>
                      <a:pt x="124584" y="57265"/>
                    </a:cubicBezTo>
                    <a:lnTo>
                      <a:pt x="65638" y="73328"/>
                    </a:lnTo>
                    <a:cubicBezTo>
                      <a:pt x="65202" y="73449"/>
                      <a:pt x="64765" y="73497"/>
                      <a:pt x="64329" y="73497"/>
                    </a:cubicBezTo>
                    <a:close/>
                    <a:moveTo>
                      <a:pt x="14565" y="30105"/>
                    </a:moveTo>
                    <a:lnTo>
                      <a:pt x="65177" y="63225"/>
                    </a:lnTo>
                    <a:lnTo>
                      <a:pt x="111453" y="50626"/>
                    </a:lnTo>
                    <a:lnTo>
                      <a:pt x="50689" y="10650"/>
                    </a:lnTo>
                    <a:lnTo>
                      <a:pt x="14565" y="30105"/>
                    </a:lnTo>
                    <a:close/>
                  </a:path>
                </a:pathLst>
              </a:custGeom>
              <a:solidFill>
                <a:schemeClr val="accent1"/>
              </a:solidFill>
              <a:ln w="2420" cap="flat">
                <a:noFill/>
                <a:prstDash val="solid"/>
                <a:miter/>
              </a:ln>
            </p:spPr>
            <p:txBody>
              <a:bodyPr rtlCol="0" anchor="ctr"/>
              <a:lstStyle/>
              <a:p>
                <a:endParaRPr lang="en-GB" dirty="0"/>
              </a:p>
            </p:txBody>
          </p:sp>
          <p:sp>
            <p:nvSpPr>
              <p:cNvPr id="128" name="Freihandform: Form 1451">
                <a:extLst>
                  <a:ext uri="{FF2B5EF4-FFF2-40B4-BE49-F238E27FC236}">
                    <a16:creationId xmlns:a16="http://schemas.microsoft.com/office/drawing/2014/main" id="{EDF19BF3-40C1-468F-98A1-68C44535F42B}"/>
                  </a:ext>
                </a:extLst>
              </p:cNvPr>
              <p:cNvSpPr/>
              <p:nvPr/>
            </p:nvSpPr>
            <p:spPr>
              <a:xfrm>
                <a:off x="6083417" y="3349243"/>
                <a:ext cx="281833" cy="192849"/>
              </a:xfrm>
              <a:custGeom>
                <a:avLst/>
                <a:gdLst>
                  <a:gd name="connsiteX0" fmla="*/ 276896 w 281833"/>
                  <a:gd name="connsiteY0" fmla="*/ 192849 h 192849"/>
                  <a:gd name="connsiteX1" fmla="*/ 274158 w 281833"/>
                  <a:gd name="connsiteY1" fmla="*/ 192001 h 192849"/>
                  <a:gd name="connsiteX2" fmla="*/ 2176 w 281833"/>
                  <a:gd name="connsiteY2" fmla="*/ 9008 h 192849"/>
                  <a:gd name="connsiteX3" fmla="*/ 843 w 281833"/>
                  <a:gd name="connsiteY3" fmla="*/ 2176 h 192849"/>
                  <a:gd name="connsiteX4" fmla="*/ 7675 w 281833"/>
                  <a:gd name="connsiteY4" fmla="*/ 843 h 192849"/>
                  <a:gd name="connsiteX5" fmla="*/ 279658 w 281833"/>
                  <a:gd name="connsiteY5" fmla="*/ 183812 h 192849"/>
                  <a:gd name="connsiteX6" fmla="*/ 280990 w 281833"/>
                  <a:gd name="connsiteY6" fmla="*/ 190645 h 192849"/>
                  <a:gd name="connsiteX7" fmla="*/ 276896 w 281833"/>
                  <a:gd name="connsiteY7" fmla="*/ 192849 h 19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833" h="192849">
                    <a:moveTo>
                      <a:pt x="276896" y="192849"/>
                    </a:moveTo>
                    <a:cubicBezTo>
                      <a:pt x="275951" y="192849"/>
                      <a:pt x="274982" y="192583"/>
                      <a:pt x="274158" y="192001"/>
                    </a:cubicBezTo>
                    <a:lnTo>
                      <a:pt x="2176" y="9008"/>
                    </a:lnTo>
                    <a:cubicBezTo>
                      <a:pt x="-77" y="7482"/>
                      <a:pt x="-683" y="4429"/>
                      <a:pt x="843" y="2176"/>
                    </a:cubicBezTo>
                    <a:cubicBezTo>
                      <a:pt x="2370" y="-77"/>
                      <a:pt x="5422" y="-683"/>
                      <a:pt x="7675" y="843"/>
                    </a:cubicBezTo>
                    <a:lnTo>
                      <a:pt x="279658" y="183812"/>
                    </a:lnTo>
                    <a:cubicBezTo>
                      <a:pt x="281911" y="185339"/>
                      <a:pt x="282516" y="188391"/>
                      <a:pt x="280990" y="190645"/>
                    </a:cubicBezTo>
                    <a:cubicBezTo>
                      <a:pt x="280045" y="192074"/>
                      <a:pt x="278495" y="192849"/>
                      <a:pt x="276896" y="192849"/>
                    </a:cubicBezTo>
                    <a:close/>
                  </a:path>
                </a:pathLst>
              </a:custGeom>
              <a:solidFill>
                <a:schemeClr val="accent1"/>
              </a:solidFill>
              <a:ln w="2420" cap="flat">
                <a:noFill/>
                <a:prstDash val="solid"/>
                <a:miter/>
              </a:ln>
            </p:spPr>
            <p:txBody>
              <a:bodyPr rtlCol="0" anchor="ctr"/>
              <a:lstStyle/>
              <a:p>
                <a:endParaRPr lang="en-GB" dirty="0"/>
              </a:p>
            </p:txBody>
          </p:sp>
        </p:grpSp>
        <p:grpSp>
          <p:nvGrpSpPr>
            <p:cNvPr id="117" name="Group 1139">
              <a:extLst>
                <a:ext uri="{FF2B5EF4-FFF2-40B4-BE49-F238E27FC236}">
                  <a16:creationId xmlns:a16="http://schemas.microsoft.com/office/drawing/2014/main" id="{727C8588-C340-4299-9B9C-4664540B9E59}"/>
                </a:ext>
              </a:extLst>
            </p:cNvPr>
            <p:cNvGrpSpPr/>
            <p:nvPr/>
          </p:nvGrpSpPr>
          <p:grpSpPr>
            <a:xfrm>
              <a:off x="618285" y="4042255"/>
              <a:ext cx="425497" cy="429831"/>
              <a:chOff x="6145145" y="3321982"/>
              <a:chExt cx="428179" cy="432540"/>
            </a:xfrm>
            <a:solidFill>
              <a:schemeClr val="tx2"/>
            </a:solidFill>
          </p:grpSpPr>
          <p:sp>
            <p:nvSpPr>
              <p:cNvPr id="118" name="Freihandform: Form 1441">
                <a:extLst>
                  <a:ext uri="{FF2B5EF4-FFF2-40B4-BE49-F238E27FC236}">
                    <a16:creationId xmlns:a16="http://schemas.microsoft.com/office/drawing/2014/main" id="{44970DC7-7169-4247-9F47-66C366084923}"/>
                  </a:ext>
                </a:extLst>
              </p:cNvPr>
              <p:cNvSpPr/>
              <p:nvPr/>
            </p:nvSpPr>
            <p:spPr>
              <a:xfrm>
                <a:off x="6355419" y="3608695"/>
                <a:ext cx="9836" cy="145827"/>
              </a:xfrm>
              <a:custGeom>
                <a:avLst/>
                <a:gdLst>
                  <a:gd name="connsiteX0" fmla="*/ 4918 w 9836"/>
                  <a:gd name="connsiteY0" fmla="*/ 145828 h 145827"/>
                  <a:gd name="connsiteX1" fmla="*/ 0 w 9836"/>
                  <a:gd name="connsiteY1" fmla="*/ 140909 h 145827"/>
                  <a:gd name="connsiteX2" fmla="*/ 0 w 9836"/>
                  <a:gd name="connsiteY2" fmla="*/ 4918 h 145827"/>
                  <a:gd name="connsiteX3" fmla="*/ 4918 w 9836"/>
                  <a:gd name="connsiteY3" fmla="*/ 0 h 145827"/>
                  <a:gd name="connsiteX4" fmla="*/ 9837 w 9836"/>
                  <a:gd name="connsiteY4" fmla="*/ 4918 h 145827"/>
                  <a:gd name="connsiteX5" fmla="*/ 9837 w 9836"/>
                  <a:gd name="connsiteY5" fmla="*/ 140909 h 145827"/>
                  <a:gd name="connsiteX6" fmla="*/ 4918 w 9836"/>
                  <a:gd name="connsiteY6" fmla="*/ 145828 h 145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145827">
                    <a:moveTo>
                      <a:pt x="4918" y="145828"/>
                    </a:moveTo>
                    <a:cubicBezTo>
                      <a:pt x="2205" y="145828"/>
                      <a:pt x="0" y="143623"/>
                      <a:pt x="0" y="140909"/>
                    </a:cubicBezTo>
                    <a:lnTo>
                      <a:pt x="0" y="4918"/>
                    </a:lnTo>
                    <a:cubicBezTo>
                      <a:pt x="0" y="2205"/>
                      <a:pt x="2205" y="0"/>
                      <a:pt x="4918" y="0"/>
                    </a:cubicBezTo>
                    <a:cubicBezTo>
                      <a:pt x="7632" y="0"/>
                      <a:pt x="9837" y="2205"/>
                      <a:pt x="9837" y="4918"/>
                    </a:cubicBezTo>
                    <a:lnTo>
                      <a:pt x="9837" y="140909"/>
                    </a:lnTo>
                    <a:cubicBezTo>
                      <a:pt x="9837" y="143623"/>
                      <a:pt x="7632" y="145828"/>
                      <a:pt x="4918" y="145828"/>
                    </a:cubicBezTo>
                    <a:close/>
                  </a:path>
                </a:pathLst>
              </a:custGeom>
              <a:grpFill/>
              <a:ln w="2420" cap="flat">
                <a:noFill/>
                <a:prstDash val="solid"/>
                <a:miter/>
              </a:ln>
            </p:spPr>
            <p:txBody>
              <a:bodyPr rtlCol="0" anchor="ctr"/>
              <a:lstStyle/>
              <a:p>
                <a:endParaRPr lang="en-GB" dirty="0"/>
              </a:p>
            </p:txBody>
          </p:sp>
          <p:grpSp>
            <p:nvGrpSpPr>
              <p:cNvPr id="119" name="Group 1138">
                <a:extLst>
                  <a:ext uri="{FF2B5EF4-FFF2-40B4-BE49-F238E27FC236}">
                    <a16:creationId xmlns:a16="http://schemas.microsoft.com/office/drawing/2014/main" id="{DBFE5A39-53B0-47D4-9295-60E901666827}"/>
                  </a:ext>
                </a:extLst>
              </p:cNvPr>
              <p:cNvGrpSpPr/>
              <p:nvPr/>
            </p:nvGrpSpPr>
            <p:grpSpPr>
              <a:xfrm>
                <a:off x="6145145" y="3321982"/>
                <a:ext cx="428179" cy="389051"/>
                <a:chOff x="6145145" y="3321982"/>
                <a:chExt cx="428179" cy="389051"/>
              </a:xfrm>
              <a:grpFill/>
            </p:grpSpPr>
            <p:sp>
              <p:nvSpPr>
                <p:cNvPr id="120" name="Freihandform: Form 1443">
                  <a:extLst>
                    <a:ext uri="{FF2B5EF4-FFF2-40B4-BE49-F238E27FC236}">
                      <a16:creationId xmlns:a16="http://schemas.microsoft.com/office/drawing/2014/main" id="{9A79EAD5-9C2E-4C73-8527-21E6A765A1DF}"/>
                    </a:ext>
                  </a:extLst>
                </p:cNvPr>
                <p:cNvSpPr/>
                <p:nvPr/>
              </p:nvSpPr>
              <p:spPr>
                <a:xfrm>
                  <a:off x="6183934" y="3359826"/>
                  <a:ext cx="351207" cy="351207"/>
                </a:xfrm>
                <a:custGeom>
                  <a:avLst/>
                  <a:gdLst>
                    <a:gd name="connsiteX0" fmla="*/ 175579 w 351207"/>
                    <a:gd name="connsiteY0" fmla="*/ 351207 h 351207"/>
                    <a:gd name="connsiteX1" fmla="*/ 0 w 351207"/>
                    <a:gd name="connsiteY1" fmla="*/ 175604 h 351207"/>
                    <a:gd name="connsiteX2" fmla="*/ 175579 w 351207"/>
                    <a:gd name="connsiteY2" fmla="*/ 0 h 351207"/>
                    <a:gd name="connsiteX3" fmla="*/ 351207 w 351207"/>
                    <a:gd name="connsiteY3" fmla="*/ 175604 h 351207"/>
                    <a:gd name="connsiteX4" fmla="*/ 175579 w 351207"/>
                    <a:gd name="connsiteY4" fmla="*/ 351207 h 351207"/>
                    <a:gd name="connsiteX5" fmla="*/ 175579 w 351207"/>
                    <a:gd name="connsiteY5" fmla="*/ 9861 h 351207"/>
                    <a:gd name="connsiteX6" fmla="*/ 9861 w 351207"/>
                    <a:gd name="connsiteY6" fmla="*/ 175604 h 351207"/>
                    <a:gd name="connsiteX7" fmla="*/ 175579 w 351207"/>
                    <a:gd name="connsiteY7" fmla="*/ 341371 h 351207"/>
                    <a:gd name="connsiteX8" fmla="*/ 341347 w 351207"/>
                    <a:gd name="connsiteY8" fmla="*/ 175604 h 351207"/>
                    <a:gd name="connsiteX9" fmla="*/ 175579 w 351207"/>
                    <a:gd name="connsiteY9" fmla="*/ 9861 h 35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207" h="351207">
                      <a:moveTo>
                        <a:pt x="175579" y="351207"/>
                      </a:moveTo>
                      <a:cubicBezTo>
                        <a:pt x="78765" y="351207"/>
                        <a:pt x="0" y="272418"/>
                        <a:pt x="0" y="175604"/>
                      </a:cubicBezTo>
                      <a:cubicBezTo>
                        <a:pt x="0" y="78789"/>
                        <a:pt x="78765" y="0"/>
                        <a:pt x="175579" y="0"/>
                      </a:cubicBezTo>
                      <a:cubicBezTo>
                        <a:pt x="272418" y="0"/>
                        <a:pt x="351207" y="78765"/>
                        <a:pt x="351207" y="175604"/>
                      </a:cubicBezTo>
                      <a:cubicBezTo>
                        <a:pt x="351207" y="272418"/>
                        <a:pt x="272418" y="351207"/>
                        <a:pt x="175579" y="351207"/>
                      </a:cubicBezTo>
                      <a:close/>
                      <a:moveTo>
                        <a:pt x="175579" y="9861"/>
                      </a:moveTo>
                      <a:cubicBezTo>
                        <a:pt x="84192" y="9861"/>
                        <a:pt x="9861" y="84216"/>
                        <a:pt x="9861" y="175604"/>
                      </a:cubicBezTo>
                      <a:cubicBezTo>
                        <a:pt x="9861" y="266991"/>
                        <a:pt x="84216" y="341371"/>
                        <a:pt x="175579" y="341371"/>
                      </a:cubicBezTo>
                      <a:cubicBezTo>
                        <a:pt x="266991" y="341371"/>
                        <a:pt x="341347" y="267015"/>
                        <a:pt x="341347" y="175604"/>
                      </a:cubicBezTo>
                      <a:cubicBezTo>
                        <a:pt x="341347" y="84192"/>
                        <a:pt x="266991" y="9861"/>
                        <a:pt x="175579" y="9861"/>
                      </a:cubicBezTo>
                      <a:close/>
                    </a:path>
                  </a:pathLst>
                </a:custGeom>
                <a:grpFill/>
                <a:ln w="2420" cap="flat">
                  <a:noFill/>
                  <a:prstDash val="solid"/>
                  <a:miter/>
                </a:ln>
              </p:spPr>
              <p:txBody>
                <a:bodyPr rtlCol="0" anchor="ctr"/>
                <a:lstStyle/>
                <a:p>
                  <a:endParaRPr lang="en-GB" dirty="0"/>
                </a:p>
              </p:txBody>
            </p:sp>
            <p:sp>
              <p:nvSpPr>
                <p:cNvPr id="121" name="Freihandform: Form 1444">
                  <a:extLst>
                    <a:ext uri="{FF2B5EF4-FFF2-40B4-BE49-F238E27FC236}">
                      <a16:creationId xmlns:a16="http://schemas.microsoft.com/office/drawing/2014/main" id="{9EDCF88A-E28C-4D66-81C3-3C2544F87D57}"/>
                    </a:ext>
                  </a:extLst>
                </p:cNvPr>
                <p:cNvSpPr/>
                <p:nvPr/>
              </p:nvSpPr>
              <p:spPr>
                <a:xfrm>
                  <a:off x="6253734" y="3429651"/>
                  <a:ext cx="211557" cy="211509"/>
                </a:xfrm>
                <a:custGeom>
                  <a:avLst/>
                  <a:gdLst>
                    <a:gd name="connsiteX0" fmla="*/ 105779 w 211557"/>
                    <a:gd name="connsiteY0" fmla="*/ 211509 h 211509"/>
                    <a:gd name="connsiteX1" fmla="*/ 0 w 211557"/>
                    <a:gd name="connsiteY1" fmla="*/ 105755 h 211509"/>
                    <a:gd name="connsiteX2" fmla="*/ 105779 w 211557"/>
                    <a:gd name="connsiteY2" fmla="*/ 0 h 211509"/>
                    <a:gd name="connsiteX3" fmla="*/ 211558 w 211557"/>
                    <a:gd name="connsiteY3" fmla="*/ 105755 h 211509"/>
                    <a:gd name="connsiteX4" fmla="*/ 105779 w 211557"/>
                    <a:gd name="connsiteY4" fmla="*/ 211509 h 211509"/>
                    <a:gd name="connsiteX5" fmla="*/ 105779 w 211557"/>
                    <a:gd name="connsiteY5" fmla="*/ 9861 h 211509"/>
                    <a:gd name="connsiteX6" fmla="*/ 9861 w 211557"/>
                    <a:gd name="connsiteY6" fmla="*/ 105779 h 211509"/>
                    <a:gd name="connsiteX7" fmla="*/ 105779 w 211557"/>
                    <a:gd name="connsiteY7" fmla="*/ 201673 h 211509"/>
                    <a:gd name="connsiteX8" fmla="*/ 201721 w 211557"/>
                    <a:gd name="connsiteY8" fmla="*/ 105779 h 211509"/>
                    <a:gd name="connsiteX9" fmla="*/ 105779 w 211557"/>
                    <a:gd name="connsiteY9" fmla="*/ 9861 h 211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557" h="211509">
                      <a:moveTo>
                        <a:pt x="105779" y="211509"/>
                      </a:moveTo>
                      <a:cubicBezTo>
                        <a:pt x="47462" y="211509"/>
                        <a:pt x="0" y="164071"/>
                        <a:pt x="0" y="105755"/>
                      </a:cubicBezTo>
                      <a:cubicBezTo>
                        <a:pt x="0" y="47438"/>
                        <a:pt x="47438" y="0"/>
                        <a:pt x="105779" y="0"/>
                      </a:cubicBezTo>
                      <a:cubicBezTo>
                        <a:pt x="164120" y="0"/>
                        <a:pt x="211558" y="47438"/>
                        <a:pt x="211558" y="105755"/>
                      </a:cubicBezTo>
                      <a:cubicBezTo>
                        <a:pt x="211558" y="164071"/>
                        <a:pt x="164120" y="211509"/>
                        <a:pt x="105779" y="211509"/>
                      </a:cubicBezTo>
                      <a:close/>
                      <a:moveTo>
                        <a:pt x="105779" y="9861"/>
                      </a:moveTo>
                      <a:cubicBezTo>
                        <a:pt x="52889" y="9861"/>
                        <a:pt x="9861" y="52889"/>
                        <a:pt x="9861" y="105779"/>
                      </a:cubicBezTo>
                      <a:cubicBezTo>
                        <a:pt x="9861" y="158668"/>
                        <a:pt x="52889" y="201673"/>
                        <a:pt x="105779" y="201673"/>
                      </a:cubicBezTo>
                      <a:cubicBezTo>
                        <a:pt x="158668" y="201673"/>
                        <a:pt x="201721" y="158668"/>
                        <a:pt x="201721" y="105779"/>
                      </a:cubicBezTo>
                      <a:cubicBezTo>
                        <a:pt x="201721" y="52889"/>
                        <a:pt x="158668" y="9861"/>
                        <a:pt x="105779" y="9861"/>
                      </a:cubicBezTo>
                      <a:close/>
                    </a:path>
                  </a:pathLst>
                </a:custGeom>
                <a:grpFill/>
                <a:ln w="2420" cap="flat">
                  <a:noFill/>
                  <a:prstDash val="solid"/>
                  <a:miter/>
                </a:ln>
              </p:spPr>
              <p:txBody>
                <a:bodyPr rtlCol="0" anchor="ctr"/>
                <a:lstStyle/>
                <a:p>
                  <a:endParaRPr lang="en-GB" dirty="0"/>
                </a:p>
              </p:txBody>
            </p:sp>
            <p:sp>
              <p:nvSpPr>
                <p:cNvPr id="122" name="Freihandform: Form 1445">
                  <a:extLst>
                    <a:ext uri="{FF2B5EF4-FFF2-40B4-BE49-F238E27FC236}">
                      <a16:creationId xmlns:a16="http://schemas.microsoft.com/office/drawing/2014/main" id="{6C83FF2F-EC97-4124-9777-8135AEAC5491}"/>
                    </a:ext>
                  </a:extLst>
                </p:cNvPr>
                <p:cNvSpPr/>
                <p:nvPr/>
              </p:nvSpPr>
              <p:spPr>
                <a:xfrm>
                  <a:off x="6311833" y="3487725"/>
                  <a:ext cx="95336" cy="95360"/>
                </a:xfrm>
                <a:custGeom>
                  <a:avLst/>
                  <a:gdLst>
                    <a:gd name="connsiteX0" fmla="*/ 47680 w 95336"/>
                    <a:gd name="connsiteY0" fmla="*/ 95361 h 95360"/>
                    <a:gd name="connsiteX1" fmla="*/ 0 w 95336"/>
                    <a:gd name="connsiteY1" fmla="*/ 47680 h 95360"/>
                    <a:gd name="connsiteX2" fmla="*/ 47680 w 95336"/>
                    <a:gd name="connsiteY2" fmla="*/ 0 h 95360"/>
                    <a:gd name="connsiteX3" fmla="*/ 95337 w 95336"/>
                    <a:gd name="connsiteY3" fmla="*/ 47680 h 95360"/>
                    <a:gd name="connsiteX4" fmla="*/ 47680 w 95336"/>
                    <a:gd name="connsiteY4" fmla="*/ 95361 h 95360"/>
                    <a:gd name="connsiteX5" fmla="*/ 47680 w 95336"/>
                    <a:gd name="connsiteY5" fmla="*/ 9861 h 95360"/>
                    <a:gd name="connsiteX6" fmla="*/ 9861 w 95336"/>
                    <a:gd name="connsiteY6" fmla="*/ 47680 h 95360"/>
                    <a:gd name="connsiteX7" fmla="*/ 47680 w 95336"/>
                    <a:gd name="connsiteY7" fmla="*/ 85500 h 95360"/>
                    <a:gd name="connsiteX8" fmla="*/ 85476 w 95336"/>
                    <a:gd name="connsiteY8" fmla="*/ 47680 h 95360"/>
                    <a:gd name="connsiteX9" fmla="*/ 47680 w 95336"/>
                    <a:gd name="connsiteY9" fmla="*/ 9861 h 95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336" h="95360">
                      <a:moveTo>
                        <a:pt x="47680" y="95361"/>
                      </a:moveTo>
                      <a:cubicBezTo>
                        <a:pt x="21393" y="95361"/>
                        <a:pt x="0" y="73968"/>
                        <a:pt x="0" y="47680"/>
                      </a:cubicBezTo>
                      <a:cubicBezTo>
                        <a:pt x="0" y="21393"/>
                        <a:pt x="21393" y="0"/>
                        <a:pt x="47680" y="0"/>
                      </a:cubicBezTo>
                      <a:cubicBezTo>
                        <a:pt x="73968" y="0"/>
                        <a:pt x="95337" y="21393"/>
                        <a:pt x="95337" y="47680"/>
                      </a:cubicBezTo>
                      <a:cubicBezTo>
                        <a:pt x="95337" y="73968"/>
                        <a:pt x="73968" y="95361"/>
                        <a:pt x="47680" y="95361"/>
                      </a:cubicBezTo>
                      <a:close/>
                      <a:moveTo>
                        <a:pt x="47680" y="9861"/>
                      </a:moveTo>
                      <a:cubicBezTo>
                        <a:pt x="26820" y="9861"/>
                        <a:pt x="9861" y="26820"/>
                        <a:pt x="9861" y="47680"/>
                      </a:cubicBezTo>
                      <a:cubicBezTo>
                        <a:pt x="9861" y="68517"/>
                        <a:pt x="26820" y="85500"/>
                        <a:pt x="47680" y="85500"/>
                      </a:cubicBezTo>
                      <a:cubicBezTo>
                        <a:pt x="68516" y="85500"/>
                        <a:pt x="85476" y="68541"/>
                        <a:pt x="85476" y="47680"/>
                      </a:cubicBezTo>
                      <a:cubicBezTo>
                        <a:pt x="85476" y="26845"/>
                        <a:pt x="68516" y="9861"/>
                        <a:pt x="47680" y="9861"/>
                      </a:cubicBezTo>
                      <a:close/>
                    </a:path>
                  </a:pathLst>
                </a:custGeom>
                <a:grpFill/>
                <a:ln w="2420" cap="flat">
                  <a:noFill/>
                  <a:prstDash val="solid"/>
                  <a:miter/>
                </a:ln>
              </p:spPr>
              <p:txBody>
                <a:bodyPr rtlCol="0" anchor="ctr"/>
                <a:lstStyle/>
                <a:p>
                  <a:endParaRPr lang="en-GB" dirty="0"/>
                </a:p>
              </p:txBody>
            </p:sp>
            <p:sp>
              <p:nvSpPr>
                <p:cNvPr id="123" name="Freihandform: Form 1446">
                  <a:extLst>
                    <a:ext uri="{FF2B5EF4-FFF2-40B4-BE49-F238E27FC236}">
                      <a16:creationId xmlns:a16="http://schemas.microsoft.com/office/drawing/2014/main" id="{BB1FF54D-F82E-4A9D-BB41-A9175281115C}"/>
                    </a:ext>
                  </a:extLst>
                </p:cNvPr>
                <p:cNvSpPr/>
                <p:nvPr/>
              </p:nvSpPr>
              <p:spPr>
                <a:xfrm>
                  <a:off x="6355419" y="3321982"/>
                  <a:ext cx="9836" cy="137202"/>
                </a:xfrm>
                <a:custGeom>
                  <a:avLst/>
                  <a:gdLst>
                    <a:gd name="connsiteX0" fmla="*/ 4918 w 9836"/>
                    <a:gd name="connsiteY0" fmla="*/ 137202 h 137202"/>
                    <a:gd name="connsiteX1" fmla="*/ 0 w 9836"/>
                    <a:gd name="connsiteY1" fmla="*/ 132284 h 137202"/>
                    <a:gd name="connsiteX2" fmla="*/ 0 w 9836"/>
                    <a:gd name="connsiteY2" fmla="*/ 4918 h 137202"/>
                    <a:gd name="connsiteX3" fmla="*/ 4918 w 9836"/>
                    <a:gd name="connsiteY3" fmla="*/ 0 h 137202"/>
                    <a:gd name="connsiteX4" fmla="*/ 9837 w 9836"/>
                    <a:gd name="connsiteY4" fmla="*/ 4918 h 137202"/>
                    <a:gd name="connsiteX5" fmla="*/ 9837 w 9836"/>
                    <a:gd name="connsiteY5" fmla="*/ 132284 h 137202"/>
                    <a:gd name="connsiteX6" fmla="*/ 4918 w 9836"/>
                    <a:gd name="connsiteY6" fmla="*/ 137202 h 13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36" h="137202">
                      <a:moveTo>
                        <a:pt x="4918" y="137202"/>
                      </a:moveTo>
                      <a:cubicBezTo>
                        <a:pt x="2205" y="137202"/>
                        <a:pt x="0" y="134998"/>
                        <a:pt x="0" y="132284"/>
                      </a:cubicBezTo>
                      <a:lnTo>
                        <a:pt x="0" y="4918"/>
                      </a:lnTo>
                      <a:cubicBezTo>
                        <a:pt x="0" y="2205"/>
                        <a:pt x="2205" y="0"/>
                        <a:pt x="4918" y="0"/>
                      </a:cubicBezTo>
                      <a:cubicBezTo>
                        <a:pt x="7632" y="0"/>
                        <a:pt x="9837" y="2205"/>
                        <a:pt x="9837" y="4918"/>
                      </a:cubicBezTo>
                      <a:lnTo>
                        <a:pt x="9837" y="132284"/>
                      </a:lnTo>
                      <a:cubicBezTo>
                        <a:pt x="9837" y="134998"/>
                        <a:pt x="7632" y="137202"/>
                        <a:pt x="4918" y="137202"/>
                      </a:cubicBezTo>
                      <a:close/>
                    </a:path>
                  </a:pathLst>
                </a:custGeom>
                <a:grpFill/>
                <a:ln w="2420" cap="flat">
                  <a:noFill/>
                  <a:prstDash val="solid"/>
                  <a:miter/>
                </a:ln>
              </p:spPr>
              <p:txBody>
                <a:bodyPr rtlCol="0" anchor="ctr"/>
                <a:lstStyle/>
                <a:p>
                  <a:endParaRPr lang="en-GB" dirty="0"/>
                </a:p>
              </p:txBody>
            </p:sp>
            <p:sp>
              <p:nvSpPr>
                <p:cNvPr id="124" name="Freihandform: Form 1447">
                  <a:extLst>
                    <a:ext uri="{FF2B5EF4-FFF2-40B4-BE49-F238E27FC236}">
                      <a16:creationId xmlns:a16="http://schemas.microsoft.com/office/drawing/2014/main" id="{9B79734D-3C39-427A-A46D-3E6D980227AE}"/>
                    </a:ext>
                  </a:extLst>
                </p:cNvPr>
                <p:cNvSpPr/>
                <p:nvPr/>
              </p:nvSpPr>
              <p:spPr>
                <a:xfrm>
                  <a:off x="6432221" y="3530705"/>
                  <a:ext cx="141103" cy="9836"/>
                </a:xfrm>
                <a:custGeom>
                  <a:avLst/>
                  <a:gdLst>
                    <a:gd name="connsiteX0" fmla="*/ 136185 w 141103"/>
                    <a:gd name="connsiteY0" fmla="*/ 9837 h 9836"/>
                    <a:gd name="connsiteX1" fmla="*/ 4918 w 141103"/>
                    <a:gd name="connsiteY1" fmla="*/ 9837 h 9836"/>
                    <a:gd name="connsiteX2" fmla="*/ 0 w 141103"/>
                    <a:gd name="connsiteY2" fmla="*/ 4918 h 9836"/>
                    <a:gd name="connsiteX3" fmla="*/ 4918 w 141103"/>
                    <a:gd name="connsiteY3" fmla="*/ 0 h 9836"/>
                    <a:gd name="connsiteX4" fmla="*/ 136185 w 141103"/>
                    <a:gd name="connsiteY4" fmla="*/ 0 h 9836"/>
                    <a:gd name="connsiteX5" fmla="*/ 141103 w 141103"/>
                    <a:gd name="connsiteY5" fmla="*/ 4918 h 9836"/>
                    <a:gd name="connsiteX6" fmla="*/ 136185 w 141103"/>
                    <a:gd name="connsiteY6" fmla="*/ 9837 h 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103" h="9836">
                      <a:moveTo>
                        <a:pt x="136185" y="9837"/>
                      </a:moveTo>
                      <a:lnTo>
                        <a:pt x="4918" y="9837"/>
                      </a:lnTo>
                      <a:cubicBezTo>
                        <a:pt x="2205" y="9837"/>
                        <a:pt x="0" y="7632"/>
                        <a:pt x="0" y="4918"/>
                      </a:cubicBezTo>
                      <a:cubicBezTo>
                        <a:pt x="0" y="2205"/>
                        <a:pt x="2205" y="0"/>
                        <a:pt x="4918" y="0"/>
                      </a:cubicBezTo>
                      <a:lnTo>
                        <a:pt x="136185" y="0"/>
                      </a:lnTo>
                      <a:cubicBezTo>
                        <a:pt x="138898" y="0"/>
                        <a:pt x="141103" y="2205"/>
                        <a:pt x="141103" y="4918"/>
                      </a:cubicBezTo>
                      <a:cubicBezTo>
                        <a:pt x="141103" y="7632"/>
                        <a:pt x="138898" y="9837"/>
                        <a:pt x="136185" y="9837"/>
                      </a:cubicBezTo>
                      <a:close/>
                    </a:path>
                  </a:pathLst>
                </a:custGeom>
                <a:grpFill/>
                <a:ln w="2420" cap="flat">
                  <a:noFill/>
                  <a:prstDash val="solid"/>
                  <a:miter/>
                </a:ln>
              </p:spPr>
              <p:txBody>
                <a:bodyPr rtlCol="0" anchor="ctr"/>
                <a:lstStyle/>
                <a:p>
                  <a:endParaRPr lang="en-GB" dirty="0"/>
                </a:p>
              </p:txBody>
            </p:sp>
            <p:sp>
              <p:nvSpPr>
                <p:cNvPr id="125" name="Freihandform: Form 1448">
                  <a:extLst>
                    <a:ext uri="{FF2B5EF4-FFF2-40B4-BE49-F238E27FC236}">
                      <a16:creationId xmlns:a16="http://schemas.microsoft.com/office/drawing/2014/main" id="{08A3A174-6245-43FA-BE9E-0887CC8731F0}"/>
                    </a:ext>
                  </a:extLst>
                </p:cNvPr>
                <p:cNvSpPr/>
                <p:nvPr/>
              </p:nvSpPr>
              <p:spPr>
                <a:xfrm>
                  <a:off x="6145145" y="3530705"/>
                  <a:ext cx="144470" cy="9836"/>
                </a:xfrm>
                <a:custGeom>
                  <a:avLst/>
                  <a:gdLst>
                    <a:gd name="connsiteX0" fmla="*/ 139553 w 144470"/>
                    <a:gd name="connsiteY0" fmla="*/ 9837 h 9836"/>
                    <a:gd name="connsiteX1" fmla="*/ 4918 w 144470"/>
                    <a:gd name="connsiteY1" fmla="*/ 9837 h 9836"/>
                    <a:gd name="connsiteX2" fmla="*/ 0 w 144470"/>
                    <a:gd name="connsiteY2" fmla="*/ 4918 h 9836"/>
                    <a:gd name="connsiteX3" fmla="*/ 4918 w 144470"/>
                    <a:gd name="connsiteY3" fmla="*/ 0 h 9836"/>
                    <a:gd name="connsiteX4" fmla="*/ 139553 w 144470"/>
                    <a:gd name="connsiteY4" fmla="*/ 0 h 9836"/>
                    <a:gd name="connsiteX5" fmla="*/ 144471 w 144470"/>
                    <a:gd name="connsiteY5" fmla="*/ 4918 h 9836"/>
                    <a:gd name="connsiteX6" fmla="*/ 139553 w 144470"/>
                    <a:gd name="connsiteY6" fmla="*/ 9837 h 9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470" h="9836">
                      <a:moveTo>
                        <a:pt x="139553" y="9837"/>
                      </a:moveTo>
                      <a:lnTo>
                        <a:pt x="4918" y="9837"/>
                      </a:lnTo>
                      <a:cubicBezTo>
                        <a:pt x="2205" y="9837"/>
                        <a:pt x="0" y="7632"/>
                        <a:pt x="0" y="4918"/>
                      </a:cubicBezTo>
                      <a:cubicBezTo>
                        <a:pt x="0" y="2205"/>
                        <a:pt x="2205" y="0"/>
                        <a:pt x="4918" y="0"/>
                      </a:cubicBezTo>
                      <a:lnTo>
                        <a:pt x="139553" y="0"/>
                      </a:lnTo>
                      <a:cubicBezTo>
                        <a:pt x="142266" y="0"/>
                        <a:pt x="144471" y="2205"/>
                        <a:pt x="144471" y="4918"/>
                      </a:cubicBezTo>
                      <a:cubicBezTo>
                        <a:pt x="144471" y="7632"/>
                        <a:pt x="142266" y="9837"/>
                        <a:pt x="139553" y="9837"/>
                      </a:cubicBezTo>
                      <a:close/>
                    </a:path>
                  </a:pathLst>
                </a:custGeom>
                <a:grpFill/>
                <a:ln w="2420" cap="flat">
                  <a:noFill/>
                  <a:prstDash val="solid"/>
                  <a:miter/>
                </a:ln>
              </p:spPr>
              <p:txBody>
                <a:bodyPr rtlCol="0" anchor="ctr"/>
                <a:lstStyle/>
                <a:p>
                  <a:endParaRPr lang="en-GB" dirty="0"/>
                </a:p>
              </p:txBody>
            </p:sp>
          </p:grpSp>
        </p:grpSp>
      </p:grpSp>
      <p:sp>
        <p:nvSpPr>
          <p:cNvPr id="21" name="TextBox 20">
            <a:extLst>
              <a:ext uri="{FF2B5EF4-FFF2-40B4-BE49-F238E27FC236}">
                <a16:creationId xmlns:a16="http://schemas.microsoft.com/office/drawing/2014/main" id="{E65C8445-14B1-45FD-98C3-ABE497302A4F}"/>
              </a:ext>
            </a:extLst>
          </p:cNvPr>
          <p:cNvSpPr txBox="1"/>
          <p:nvPr/>
        </p:nvSpPr>
        <p:spPr>
          <a:xfrm>
            <a:off x="487133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Face</a:t>
            </a:r>
            <a:br>
              <a:rPr lang="en-GB" sz="700" dirty="0">
                <a:solidFill>
                  <a:schemeClr val="tx2"/>
                </a:solidFill>
              </a:rPr>
            </a:br>
            <a:r>
              <a:rPr lang="en-GB" sz="700" dirty="0">
                <a:solidFill>
                  <a:schemeClr val="tx2"/>
                </a:solidFill>
              </a:rPr>
              <a:t>recognition</a:t>
            </a:r>
          </a:p>
        </p:txBody>
      </p:sp>
      <p:sp>
        <p:nvSpPr>
          <p:cNvPr id="22" name="TextBox 21">
            <a:extLst>
              <a:ext uri="{FF2B5EF4-FFF2-40B4-BE49-F238E27FC236}">
                <a16:creationId xmlns:a16="http://schemas.microsoft.com/office/drawing/2014/main" id="{6BCDB655-92E9-4460-8EF5-A70B283BC548}"/>
              </a:ext>
            </a:extLst>
          </p:cNvPr>
          <p:cNvSpPr txBox="1"/>
          <p:nvPr/>
        </p:nvSpPr>
        <p:spPr>
          <a:xfrm>
            <a:off x="8007638"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edictive</a:t>
            </a:r>
            <a:br>
              <a:rPr lang="en-GB" sz="700" dirty="0">
                <a:solidFill>
                  <a:schemeClr val="tx2"/>
                </a:solidFill>
              </a:rPr>
            </a:br>
            <a:r>
              <a:rPr lang="en-GB" sz="700" dirty="0">
                <a:solidFill>
                  <a:schemeClr val="tx2"/>
                </a:solidFill>
              </a:rPr>
              <a:t>analytics</a:t>
            </a:r>
          </a:p>
        </p:txBody>
      </p:sp>
      <p:sp>
        <p:nvSpPr>
          <p:cNvPr id="23" name="TextBox 22">
            <a:extLst>
              <a:ext uri="{FF2B5EF4-FFF2-40B4-BE49-F238E27FC236}">
                <a16:creationId xmlns:a16="http://schemas.microsoft.com/office/drawing/2014/main" id="{4E3818C1-836A-4F78-B4A9-3A6CF2EEB251}"/>
              </a:ext>
            </a:extLst>
          </p:cNvPr>
          <p:cNvSpPr txBox="1"/>
          <p:nvPr/>
        </p:nvSpPr>
        <p:spPr>
          <a:xfrm>
            <a:off x="6962205"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vent analysis</a:t>
            </a:r>
          </a:p>
        </p:txBody>
      </p:sp>
      <p:sp>
        <p:nvSpPr>
          <p:cNvPr id="24" name="TextBox 23">
            <a:extLst>
              <a:ext uri="{FF2B5EF4-FFF2-40B4-BE49-F238E27FC236}">
                <a16:creationId xmlns:a16="http://schemas.microsoft.com/office/drawing/2014/main" id="{49E6FF3B-D19B-4354-A1F7-7B7BD13CDA34}"/>
              </a:ext>
            </a:extLst>
          </p:cNvPr>
          <p:cNvSpPr txBox="1"/>
          <p:nvPr/>
        </p:nvSpPr>
        <p:spPr>
          <a:xfrm>
            <a:off x="5916771"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Useful results</a:t>
            </a:r>
          </a:p>
        </p:txBody>
      </p:sp>
      <p:sp>
        <p:nvSpPr>
          <p:cNvPr id="25" name="TextBox 24">
            <a:extLst>
              <a:ext uri="{FF2B5EF4-FFF2-40B4-BE49-F238E27FC236}">
                <a16:creationId xmlns:a16="http://schemas.microsoft.com/office/drawing/2014/main" id="{D64012C6-32AD-4E1F-8E2B-74FD9A40EC7D}"/>
              </a:ext>
            </a:extLst>
          </p:cNvPr>
          <p:cNvSpPr txBox="1"/>
          <p:nvPr/>
        </p:nvSpPr>
        <p:spPr>
          <a:xfrm>
            <a:off x="487133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utomated</a:t>
            </a:r>
            <a:br>
              <a:rPr lang="en-GB" sz="700" dirty="0">
                <a:solidFill>
                  <a:schemeClr val="tx2"/>
                </a:solidFill>
              </a:rPr>
            </a:br>
            <a:r>
              <a:rPr lang="en-GB" sz="700" dirty="0">
                <a:solidFill>
                  <a:schemeClr val="tx2"/>
                </a:solidFill>
              </a:rPr>
              <a:t>system</a:t>
            </a:r>
          </a:p>
        </p:txBody>
      </p:sp>
      <p:sp>
        <p:nvSpPr>
          <p:cNvPr id="26" name="TextBox 25">
            <a:extLst>
              <a:ext uri="{FF2B5EF4-FFF2-40B4-BE49-F238E27FC236}">
                <a16:creationId xmlns:a16="http://schemas.microsoft.com/office/drawing/2014/main" id="{D9B59723-F2CC-4036-8E92-CD0A9D83CEEF}"/>
              </a:ext>
            </a:extLst>
          </p:cNvPr>
          <p:cNvSpPr txBox="1"/>
          <p:nvPr/>
        </p:nvSpPr>
        <p:spPr>
          <a:xfrm>
            <a:off x="8007638"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esign</a:t>
            </a:r>
          </a:p>
        </p:txBody>
      </p:sp>
      <p:sp>
        <p:nvSpPr>
          <p:cNvPr id="27" name="TextBox 26">
            <a:extLst>
              <a:ext uri="{FF2B5EF4-FFF2-40B4-BE49-F238E27FC236}">
                <a16:creationId xmlns:a16="http://schemas.microsoft.com/office/drawing/2014/main" id="{CEF81BF4-7AA3-4877-823F-5C23E709EDD9}"/>
              </a:ext>
            </a:extLst>
          </p:cNvPr>
          <p:cNvSpPr txBox="1"/>
          <p:nvPr/>
        </p:nvSpPr>
        <p:spPr>
          <a:xfrm>
            <a:off x="6962205"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Neural</a:t>
            </a:r>
            <a:br>
              <a:rPr lang="en-GB" sz="700" dirty="0">
                <a:solidFill>
                  <a:schemeClr val="tx2"/>
                </a:solidFill>
              </a:rPr>
            </a:br>
            <a:r>
              <a:rPr lang="en-GB" sz="700" dirty="0">
                <a:solidFill>
                  <a:schemeClr val="tx2"/>
                </a:solidFill>
              </a:rPr>
              <a:t>interface</a:t>
            </a:r>
          </a:p>
        </p:txBody>
      </p:sp>
      <p:sp>
        <p:nvSpPr>
          <p:cNvPr id="28" name="TextBox 27">
            <a:extLst>
              <a:ext uri="{FF2B5EF4-FFF2-40B4-BE49-F238E27FC236}">
                <a16:creationId xmlns:a16="http://schemas.microsoft.com/office/drawing/2014/main" id="{5C83CF04-3142-4A28-B780-EAE16D1DE9CD}"/>
              </a:ext>
            </a:extLst>
          </p:cNvPr>
          <p:cNvSpPr txBox="1"/>
          <p:nvPr/>
        </p:nvSpPr>
        <p:spPr>
          <a:xfrm>
            <a:off x="5916771"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Wireless </a:t>
            </a:r>
            <a:br>
              <a:rPr lang="en-GB" sz="700" dirty="0">
                <a:solidFill>
                  <a:schemeClr val="tx2"/>
                </a:solidFill>
              </a:rPr>
            </a:br>
            <a:r>
              <a:rPr lang="en-GB" sz="700" dirty="0">
                <a:solidFill>
                  <a:schemeClr val="tx2"/>
                </a:solidFill>
              </a:rPr>
              <a:t>power transfer</a:t>
            </a:r>
          </a:p>
        </p:txBody>
      </p:sp>
      <p:sp>
        <p:nvSpPr>
          <p:cNvPr id="29" name="TextBox 28">
            <a:extLst>
              <a:ext uri="{FF2B5EF4-FFF2-40B4-BE49-F238E27FC236}">
                <a16:creationId xmlns:a16="http://schemas.microsoft.com/office/drawing/2014/main" id="{DBBCFE22-89B4-4BBD-BC30-D8D1FA3CF2AE}"/>
              </a:ext>
            </a:extLst>
          </p:cNvPr>
          <p:cNvSpPr txBox="1"/>
          <p:nvPr/>
        </p:nvSpPr>
        <p:spPr>
          <a:xfrm>
            <a:off x="4813995" y="3723675"/>
            <a:ext cx="798548" cy="215444"/>
          </a:xfrm>
          <a:prstGeom prst="rect">
            <a:avLst/>
          </a:prstGeom>
          <a:noFill/>
          <a:effectLst/>
        </p:spPr>
        <p:txBody>
          <a:bodyPr wrap="square" lIns="0" tIns="0" rIns="0" bIns="0" rtlCol="0" anchor="t">
            <a:spAutoFit/>
          </a:bodyPr>
          <a:lstStyle/>
          <a:p>
            <a:pPr algn="ctr"/>
            <a:r>
              <a:rPr lang="en-GB" sz="700" dirty="0">
                <a:solidFill>
                  <a:schemeClr val="tx2"/>
                </a:solidFill>
              </a:rPr>
              <a:t>Human-computer</a:t>
            </a:r>
            <a:br>
              <a:rPr lang="en-GB" sz="700" dirty="0">
                <a:solidFill>
                  <a:schemeClr val="tx2"/>
                </a:solidFill>
              </a:rPr>
            </a:br>
            <a:r>
              <a:rPr lang="en-GB" sz="700" dirty="0">
                <a:solidFill>
                  <a:schemeClr val="tx2"/>
                </a:solidFill>
              </a:rPr>
              <a:t>interaction</a:t>
            </a:r>
          </a:p>
        </p:txBody>
      </p:sp>
      <p:sp>
        <p:nvSpPr>
          <p:cNvPr id="30" name="TextBox 29">
            <a:extLst>
              <a:ext uri="{FF2B5EF4-FFF2-40B4-BE49-F238E27FC236}">
                <a16:creationId xmlns:a16="http://schemas.microsoft.com/office/drawing/2014/main" id="{217FE420-FF0D-4F92-B382-711AF000056C}"/>
              </a:ext>
            </a:extLst>
          </p:cNvPr>
          <p:cNvSpPr txBox="1"/>
          <p:nvPr/>
        </p:nvSpPr>
        <p:spPr>
          <a:xfrm>
            <a:off x="8007638"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ireless</a:t>
            </a:r>
          </a:p>
        </p:txBody>
      </p:sp>
      <p:sp>
        <p:nvSpPr>
          <p:cNvPr id="31" name="TextBox 30">
            <a:extLst>
              <a:ext uri="{FF2B5EF4-FFF2-40B4-BE49-F238E27FC236}">
                <a16:creationId xmlns:a16="http://schemas.microsoft.com/office/drawing/2014/main" id="{A681135B-3629-4E62-B7E4-6EF92D610A8E}"/>
              </a:ext>
            </a:extLst>
          </p:cNvPr>
          <p:cNvSpPr txBox="1"/>
          <p:nvPr/>
        </p:nvSpPr>
        <p:spPr>
          <a:xfrm>
            <a:off x="6962205"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ownload</a:t>
            </a:r>
          </a:p>
        </p:txBody>
      </p:sp>
      <p:sp>
        <p:nvSpPr>
          <p:cNvPr id="32" name="TextBox 31">
            <a:extLst>
              <a:ext uri="{FF2B5EF4-FFF2-40B4-BE49-F238E27FC236}">
                <a16:creationId xmlns:a16="http://schemas.microsoft.com/office/drawing/2014/main" id="{4FED0184-0E57-4ECC-979A-CA1284172D97}"/>
              </a:ext>
            </a:extLst>
          </p:cNvPr>
          <p:cNvSpPr txBox="1"/>
          <p:nvPr/>
        </p:nvSpPr>
        <p:spPr>
          <a:xfrm>
            <a:off x="5916771"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Upload</a:t>
            </a:r>
          </a:p>
        </p:txBody>
      </p:sp>
      <p:sp>
        <p:nvSpPr>
          <p:cNvPr id="33" name="TextBox 32">
            <a:extLst>
              <a:ext uri="{FF2B5EF4-FFF2-40B4-BE49-F238E27FC236}">
                <a16:creationId xmlns:a16="http://schemas.microsoft.com/office/drawing/2014/main" id="{550F99BD-0D1A-4520-BEBD-FDE6D2051E5A}"/>
              </a:ext>
            </a:extLst>
          </p:cNvPr>
          <p:cNvSpPr txBox="1"/>
          <p:nvPr/>
        </p:nvSpPr>
        <p:spPr>
          <a:xfrm>
            <a:off x="487133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evices</a:t>
            </a:r>
          </a:p>
        </p:txBody>
      </p:sp>
      <p:sp>
        <p:nvSpPr>
          <p:cNvPr id="34" name="TextBox 33">
            <a:extLst>
              <a:ext uri="{FF2B5EF4-FFF2-40B4-BE49-F238E27FC236}">
                <a16:creationId xmlns:a16="http://schemas.microsoft.com/office/drawing/2014/main" id="{B8CB4B6B-8544-42E3-84D1-BF92572A8F0A}"/>
              </a:ext>
            </a:extLst>
          </p:cNvPr>
          <p:cNvSpPr txBox="1"/>
          <p:nvPr/>
        </p:nvSpPr>
        <p:spPr>
          <a:xfrm>
            <a:off x="8007638"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usiness activity</a:t>
            </a:r>
            <a:br>
              <a:rPr lang="en-GB" sz="700" dirty="0">
                <a:solidFill>
                  <a:schemeClr val="tx2"/>
                </a:solidFill>
              </a:rPr>
            </a:br>
            <a:r>
              <a:rPr lang="en-GB" sz="700" dirty="0">
                <a:solidFill>
                  <a:schemeClr val="tx2"/>
                </a:solidFill>
              </a:rPr>
              <a:t>monitoring</a:t>
            </a:r>
          </a:p>
        </p:txBody>
      </p:sp>
      <p:sp>
        <p:nvSpPr>
          <p:cNvPr id="35" name="TextBox 34">
            <a:extLst>
              <a:ext uri="{FF2B5EF4-FFF2-40B4-BE49-F238E27FC236}">
                <a16:creationId xmlns:a16="http://schemas.microsoft.com/office/drawing/2014/main" id="{DF719BAD-A8F6-4261-806B-0DBCD96DC53D}"/>
              </a:ext>
            </a:extLst>
          </p:cNvPr>
          <p:cNvSpPr txBox="1"/>
          <p:nvPr/>
        </p:nvSpPr>
        <p:spPr>
          <a:xfrm>
            <a:off x="6962205"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ntivirus</a:t>
            </a:r>
          </a:p>
        </p:txBody>
      </p:sp>
      <p:sp>
        <p:nvSpPr>
          <p:cNvPr id="36" name="TextBox 35">
            <a:extLst>
              <a:ext uri="{FF2B5EF4-FFF2-40B4-BE49-F238E27FC236}">
                <a16:creationId xmlns:a16="http://schemas.microsoft.com/office/drawing/2014/main" id="{53BC807C-6976-4669-9B1F-9CA41B26135A}"/>
              </a:ext>
            </a:extLst>
          </p:cNvPr>
          <p:cNvSpPr txBox="1"/>
          <p:nvPr/>
        </p:nvSpPr>
        <p:spPr>
          <a:xfrm>
            <a:off x="5916771"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ata storage</a:t>
            </a:r>
          </a:p>
        </p:txBody>
      </p:sp>
      <p:grpSp>
        <p:nvGrpSpPr>
          <p:cNvPr id="3" name="Group 2">
            <a:extLst>
              <a:ext uri="{FF2B5EF4-FFF2-40B4-BE49-F238E27FC236}">
                <a16:creationId xmlns:a16="http://schemas.microsoft.com/office/drawing/2014/main" id="{49E12CA4-0916-DE5C-C0D6-A9F3181840A0}"/>
              </a:ext>
            </a:extLst>
          </p:cNvPr>
          <p:cNvGrpSpPr/>
          <p:nvPr/>
        </p:nvGrpSpPr>
        <p:grpSpPr>
          <a:xfrm>
            <a:off x="5069179" y="1585984"/>
            <a:ext cx="288179" cy="432000"/>
            <a:chOff x="5068767" y="1585984"/>
            <a:chExt cx="288179" cy="432000"/>
          </a:xfrm>
        </p:grpSpPr>
        <p:grpSp>
          <p:nvGrpSpPr>
            <p:cNvPr id="474" name="Group 473">
              <a:extLst>
                <a:ext uri="{FF2B5EF4-FFF2-40B4-BE49-F238E27FC236}">
                  <a16:creationId xmlns:a16="http://schemas.microsoft.com/office/drawing/2014/main" id="{FB77E8E8-2C67-445B-A1B7-57ACF6B39D1D}"/>
                </a:ext>
              </a:extLst>
            </p:cNvPr>
            <p:cNvGrpSpPr/>
            <p:nvPr/>
          </p:nvGrpSpPr>
          <p:grpSpPr>
            <a:xfrm>
              <a:off x="5109296" y="1605939"/>
              <a:ext cx="207082" cy="412045"/>
              <a:chOff x="7878537" y="2428111"/>
              <a:chExt cx="259760" cy="516862"/>
            </a:xfrm>
            <a:solidFill>
              <a:schemeClr val="tx2"/>
            </a:solidFill>
          </p:grpSpPr>
          <p:sp>
            <p:nvSpPr>
              <p:cNvPr id="480" name="Freihandform: Form 969">
                <a:extLst>
                  <a:ext uri="{FF2B5EF4-FFF2-40B4-BE49-F238E27FC236}">
                    <a16:creationId xmlns:a16="http://schemas.microsoft.com/office/drawing/2014/main" id="{F80899EC-5D18-43AA-A264-6E096B180CEC}"/>
                  </a:ext>
                </a:extLst>
              </p:cNvPr>
              <p:cNvSpPr/>
              <p:nvPr/>
            </p:nvSpPr>
            <p:spPr>
              <a:xfrm>
                <a:off x="8005420" y="2793863"/>
                <a:ext cx="9932" cy="149380"/>
              </a:xfrm>
              <a:custGeom>
                <a:avLst/>
                <a:gdLst>
                  <a:gd name="connsiteX0" fmla="*/ 4966 w 9932"/>
                  <a:gd name="connsiteY0" fmla="*/ 149381 h 149380"/>
                  <a:gd name="connsiteX1" fmla="*/ 0 w 9932"/>
                  <a:gd name="connsiteY1" fmla="*/ 144415 h 149380"/>
                  <a:gd name="connsiteX2" fmla="*/ 0 w 9932"/>
                  <a:gd name="connsiteY2" fmla="*/ 4966 h 149380"/>
                  <a:gd name="connsiteX3" fmla="*/ 4966 w 9932"/>
                  <a:gd name="connsiteY3" fmla="*/ 0 h 149380"/>
                  <a:gd name="connsiteX4" fmla="*/ 9932 w 9932"/>
                  <a:gd name="connsiteY4" fmla="*/ 4966 h 149380"/>
                  <a:gd name="connsiteX5" fmla="*/ 9932 w 9932"/>
                  <a:gd name="connsiteY5" fmla="*/ 144415 h 149380"/>
                  <a:gd name="connsiteX6" fmla="*/ 4966 w 9932"/>
                  <a:gd name="connsiteY6" fmla="*/ 149381 h 14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2" h="149380">
                    <a:moveTo>
                      <a:pt x="4966" y="149381"/>
                    </a:moveTo>
                    <a:cubicBezTo>
                      <a:pt x="2232" y="149381"/>
                      <a:pt x="0" y="147148"/>
                      <a:pt x="0" y="144415"/>
                    </a:cubicBezTo>
                    <a:lnTo>
                      <a:pt x="0" y="4966"/>
                    </a:lnTo>
                    <a:cubicBezTo>
                      <a:pt x="0" y="2232"/>
                      <a:pt x="2232" y="0"/>
                      <a:pt x="4966" y="0"/>
                    </a:cubicBezTo>
                    <a:cubicBezTo>
                      <a:pt x="7700" y="0"/>
                      <a:pt x="9932" y="2232"/>
                      <a:pt x="9932" y="4966"/>
                    </a:cubicBezTo>
                    <a:lnTo>
                      <a:pt x="9932" y="144415"/>
                    </a:lnTo>
                    <a:cubicBezTo>
                      <a:pt x="9932" y="147148"/>
                      <a:pt x="7700" y="149381"/>
                      <a:pt x="4966" y="149381"/>
                    </a:cubicBezTo>
                    <a:close/>
                  </a:path>
                </a:pathLst>
              </a:custGeom>
              <a:grpFill/>
              <a:ln w="2503" cap="flat">
                <a:noFill/>
                <a:prstDash val="solid"/>
                <a:miter/>
              </a:ln>
            </p:spPr>
            <p:txBody>
              <a:bodyPr rtlCol="0" anchor="ctr"/>
              <a:lstStyle/>
              <a:p>
                <a:endParaRPr lang="en-GB" dirty="0"/>
              </a:p>
            </p:txBody>
          </p:sp>
          <p:sp>
            <p:nvSpPr>
              <p:cNvPr id="481" name="Freihandform: Form 970">
                <a:extLst>
                  <a:ext uri="{FF2B5EF4-FFF2-40B4-BE49-F238E27FC236}">
                    <a16:creationId xmlns:a16="http://schemas.microsoft.com/office/drawing/2014/main" id="{453CCAC9-022C-479F-BD58-9DCEA37AA343}"/>
                  </a:ext>
                </a:extLst>
              </p:cNvPr>
              <p:cNvSpPr/>
              <p:nvPr/>
            </p:nvSpPr>
            <p:spPr>
              <a:xfrm>
                <a:off x="8007034" y="2759817"/>
                <a:ext cx="49708" cy="74199"/>
              </a:xfrm>
              <a:custGeom>
                <a:avLst/>
                <a:gdLst>
                  <a:gd name="connsiteX0" fmla="*/ 34451 w 49708"/>
                  <a:gd name="connsiteY0" fmla="*/ 74200 h 74199"/>
                  <a:gd name="connsiteX1" fmla="*/ 30915 w 49708"/>
                  <a:gd name="connsiteY1" fmla="*/ 72720 h 74199"/>
                  <a:gd name="connsiteX2" fmla="*/ 1445 w 49708"/>
                  <a:gd name="connsiteY2" fmla="*/ 43025 h 74199"/>
                  <a:gd name="connsiteX3" fmla="*/ 1470 w 49708"/>
                  <a:gd name="connsiteY3" fmla="*/ 36002 h 74199"/>
                  <a:gd name="connsiteX4" fmla="*/ 8493 w 49708"/>
                  <a:gd name="connsiteY4" fmla="*/ 36027 h 74199"/>
                  <a:gd name="connsiteX5" fmla="*/ 33122 w 49708"/>
                  <a:gd name="connsiteY5" fmla="*/ 60857 h 74199"/>
                  <a:gd name="connsiteX6" fmla="*/ 30564 w 49708"/>
                  <a:gd name="connsiteY6" fmla="*/ 8263 h 74199"/>
                  <a:gd name="connsiteX7" fmla="*/ 30965 w 49708"/>
                  <a:gd name="connsiteY7" fmla="*/ 1265 h 74199"/>
                  <a:gd name="connsiteX8" fmla="*/ 37988 w 49708"/>
                  <a:gd name="connsiteY8" fmla="*/ 1666 h 74199"/>
                  <a:gd name="connsiteX9" fmla="*/ 38690 w 49708"/>
                  <a:gd name="connsiteY9" fmla="*/ 71817 h 74199"/>
                  <a:gd name="connsiteX10" fmla="*/ 35028 w 49708"/>
                  <a:gd name="connsiteY10" fmla="*/ 74175 h 74199"/>
                  <a:gd name="connsiteX11" fmla="*/ 34451 w 49708"/>
                  <a:gd name="connsiteY11" fmla="*/ 74200 h 7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708" h="74199">
                    <a:moveTo>
                      <a:pt x="34451" y="74200"/>
                    </a:moveTo>
                    <a:cubicBezTo>
                      <a:pt x="33122" y="74200"/>
                      <a:pt x="31868" y="73673"/>
                      <a:pt x="30915" y="72720"/>
                    </a:cubicBezTo>
                    <a:lnTo>
                      <a:pt x="1445" y="43025"/>
                    </a:lnTo>
                    <a:cubicBezTo>
                      <a:pt x="-486" y="41068"/>
                      <a:pt x="-486" y="37933"/>
                      <a:pt x="1470" y="36002"/>
                    </a:cubicBezTo>
                    <a:cubicBezTo>
                      <a:pt x="3426" y="34071"/>
                      <a:pt x="6562" y="34096"/>
                      <a:pt x="8493" y="36027"/>
                    </a:cubicBezTo>
                    <a:lnTo>
                      <a:pt x="33122" y="60857"/>
                    </a:lnTo>
                    <a:cubicBezTo>
                      <a:pt x="38063" y="49897"/>
                      <a:pt x="46064" y="25669"/>
                      <a:pt x="30564" y="8263"/>
                    </a:cubicBezTo>
                    <a:cubicBezTo>
                      <a:pt x="28733" y="6206"/>
                      <a:pt x="28909" y="3071"/>
                      <a:pt x="30965" y="1265"/>
                    </a:cubicBezTo>
                    <a:cubicBezTo>
                      <a:pt x="33022" y="-566"/>
                      <a:pt x="36132" y="-390"/>
                      <a:pt x="37988" y="1666"/>
                    </a:cubicBezTo>
                    <a:cubicBezTo>
                      <a:pt x="63420" y="30208"/>
                      <a:pt x="39693" y="70112"/>
                      <a:pt x="38690" y="71817"/>
                    </a:cubicBezTo>
                    <a:cubicBezTo>
                      <a:pt x="37887" y="73121"/>
                      <a:pt x="36533" y="73999"/>
                      <a:pt x="35028" y="74175"/>
                    </a:cubicBezTo>
                    <a:cubicBezTo>
                      <a:pt x="34828" y="74200"/>
                      <a:pt x="34652" y="74200"/>
                      <a:pt x="34451" y="74200"/>
                    </a:cubicBezTo>
                    <a:close/>
                  </a:path>
                </a:pathLst>
              </a:custGeom>
              <a:grpFill/>
              <a:ln w="2503" cap="flat">
                <a:noFill/>
                <a:prstDash val="solid"/>
                <a:miter/>
              </a:ln>
            </p:spPr>
            <p:txBody>
              <a:bodyPr rtlCol="0" anchor="ctr"/>
              <a:lstStyle/>
              <a:p>
                <a:endParaRPr lang="en-GB" dirty="0"/>
              </a:p>
            </p:txBody>
          </p:sp>
          <p:sp>
            <p:nvSpPr>
              <p:cNvPr id="482" name="Freihandform: Form 971">
                <a:extLst>
                  <a:ext uri="{FF2B5EF4-FFF2-40B4-BE49-F238E27FC236}">
                    <a16:creationId xmlns:a16="http://schemas.microsoft.com/office/drawing/2014/main" id="{AA74AE87-D6CB-475C-A25F-D2ACD71719F7}"/>
                  </a:ext>
                </a:extLst>
              </p:cNvPr>
              <p:cNvSpPr/>
              <p:nvPr/>
            </p:nvSpPr>
            <p:spPr>
              <a:xfrm>
                <a:off x="7960956" y="2759817"/>
                <a:ext cx="49696" cy="74199"/>
              </a:xfrm>
              <a:custGeom>
                <a:avLst/>
                <a:gdLst>
                  <a:gd name="connsiteX0" fmla="*/ 15270 w 49696"/>
                  <a:gd name="connsiteY0" fmla="*/ 74200 h 74199"/>
                  <a:gd name="connsiteX1" fmla="*/ 14693 w 49696"/>
                  <a:gd name="connsiteY1" fmla="*/ 74175 h 74199"/>
                  <a:gd name="connsiteX2" fmla="*/ 11031 w 49696"/>
                  <a:gd name="connsiteY2" fmla="*/ 71817 h 74199"/>
                  <a:gd name="connsiteX3" fmla="*/ 11708 w 49696"/>
                  <a:gd name="connsiteY3" fmla="*/ 1666 h 74199"/>
                  <a:gd name="connsiteX4" fmla="*/ 18731 w 49696"/>
                  <a:gd name="connsiteY4" fmla="*/ 1265 h 74199"/>
                  <a:gd name="connsiteX5" fmla="*/ 19132 w 49696"/>
                  <a:gd name="connsiteY5" fmla="*/ 8263 h 74199"/>
                  <a:gd name="connsiteX6" fmla="*/ 16574 w 49696"/>
                  <a:gd name="connsiteY6" fmla="*/ 60857 h 74199"/>
                  <a:gd name="connsiteX7" fmla="*/ 41203 w 49696"/>
                  <a:gd name="connsiteY7" fmla="*/ 36027 h 74199"/>
                  <a:gd name="connsiteX8" fmla="*/ 48226 w 49696"/>
                  <a:gd name="connsiteY8" fmla="*/ 36002 h 74199"/>
                  <a:gd name="connsiteX9" fmla="*/ 48251 w 49696"/>
                  <a:gd name="connsiteY9" fmla="*/ 43025 h 74199"/>
                  <a:gd name="connsiteX10" fmla="*/ 18781 w 49696"/>
                  <a:gd name="connsiteY10" fmla="*/ 72720 h 74199"/>
                  <a:gd name="connsiteX11" fmla="*/ 15270 w 49696"/>
                  <a:gd name="connsiteY11" fmla="*/ 74200 h 7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696" h="74199">
                    <a:moveTo>
                      <a:pt x="15270" y="74200"/>
                    </a:moveTo>
                    <a:cubicBezTo>
                      <a:pt x="15069" y="74200"/>
                      <a:pt x="14894" y="74175"/>
                      <a:pt x="14693" y="74175"/>
                    </a:cubicBezTo>
                    <a:cubicBezTo>
                      <a:pt x="13188" y="73999"/>
                      <a:pt x="11834" y="73121"/>
                      <a:pt x="11031" y="71817"/>
                    </a:cubicBezTo>
                    <a:cubicBezTo>
                      <a:pt x="10003" y="70137"/>
                      <a:pt x="-13698" y="30233"/>
                      <a:pt x="11708" y="1666"/>
                    </a:cubicBezTo>
                    <a:cubicBezTo>
                      <a:pt x="13539" y="-390"/>
                      <a:pt x="16674" y="-566"/>
                      <a:pt x="18731" y="1265"/>
                    </a:cubicBezTo>
                    <a:cubicBezTo>
                      <a:pt x="20763" y="3096"/>
                      <a:pt x="20963" y="6231"/>
                      <a:pt x="19132" y="8263"/>
                    </a:cubicBezTo>
                    <a:cubicBezTo>
                      <a:pt x="3633" y="25669"/>
                      <a:pt x="11633" y="49897"/>
                      <a:pt x="16574" y="60857"/>
                    </a:cubicBezTo>
                    <a:lnTo>
                      <a:pt x="41203" y="36027"/>
                    </a:lnTo>
                    <a:cubicBezTo>
                      <a:pt x="43135" y="34096"/>
                      <a:pt x="46270" y="34071"/>
                      <a:pt x="48226" y="36002"/>
                    </a:cubicBezTo>
                    <a:cubicBezTo>
                      <a:pt x="50182" y="37933"/>
                      <a:pt x="50182" y="41068"/>
                      <a:pt x="48251" y="43025"/>
                    </a:cubicBezTo>
                    <a:lnTo>
                      <a:pt x="18781" y="72720"/>
                    </a:lnTo>
                    <a:cubicBezTo>
                      <a:pt x="17853" y="73673"/>
                      <a:pt x="16599" y="74200"/>
                      <a:pt x="15270" y="74200"/>
                    </a:cubicBezTo>
                    <a:close/>
                  </a:path>
                </a:pathLst>
              </a:custGeom>
              <a:grpFill/>
              <a:ln w="2503" cap="flat">
                <a:noFill/>
                <a:prstDash val="solid"/>
                <a:miter/>
              </a:ln>
            </p:spPr>
            <p:txBody>
              <a:bodyPr rtlCol="0" anchor="ctr"/>
              <a:lstStyle/>
              <a:p>
                <a:endParaRPr lang="en-GB" dirty="0"/>
              </a:p>
            </p:txBody>
          </p:sp>
          <p:sp>
            <p:nvSpPr>
              <p:cNvPr id="483" name="Freihandform: Form 972">
                <a:extLst>
                  <a:ext uri="{FF2B5EF4-FFF2-40B4-BE49-F238E27FC236}">
                    <a16:creationId xmlns:a16="http://schemas.microsoft.com/office/drawing/2014/main" id="{65975A0B-58CF-4454-B187-0B182B931F3E}"/>
                  </a:ext>
                </a:extLst>
              </p:cNvPr>
              <p:cNvSpPr/>
              <p:nvPr/>
            </p:nvSpPr>
            <p:spPr>
              <a:xfrm>
                <a:off x="7951645" y="2428111"/>
                <a:ext cx="182768" cy="155500"/>
              </a:xfrm>
              <a:custGeom>
                <a:avLst/>
                <a:gdLst>
                  <a:gd name="connsiteX0" fmla="*/ 169271 w 182768"/>
                  <a:gd name="connsiteY0" fmla="*/ 155500 h 155500"/>
                  <a:gd name="connsiteX1" fmla="*/ 164782 w 182768"/>
                  <a:gd name="connsiteY1" fmla="*/ 152666 h 155500"/>
                  <a:gd name="connsiteX2" fmla="*/ 141983 w 182768"/>
                  <a:gd name="connsiteY2" fmla="*/ 104712 h 155500"/>
                  <a:gd name="connsiteX3" fmla="*/ 59619 w 182768"/>
                  <a:gd name="connsiteY3" fmla="*/ 117603 h 155500"/>
                  <a:gd name="connsiteX4" fmla="*/ 56483 w 182768"/>
                  <a:gd name="connsiteY4" fmla="*/ 117327 h 155500"/>
                  <a:gd name="connsiteX5" fmla="*/ 56483 w 182768"/>
                  <a:gd name="connsiteY5" fmla="*/ 117327 h 155500"/>
                  <a:gd name="connsiteX6" fmla="*/ 14272 w 182768"/>
                  <a:gd name="connsiteY6" fmla="*/ 98166 h 155500"/>
                  <a:gd name="connsiteX7" fmla="*/ 77 w 182768"/>
                  <a:gd name="connsiteY7" fmla="*/ 57711 h 155500"/>
                  <a:gd name="connsiteX8" fmla="*/ 52746 w 182768"/>
                  <a:gd name="connsiteY8" fmla="*/ 25 h 155500"/>
                  <a:gd name="connsiteX9" fmla="*/ 56860 w 182768"/>
                  <a:gd name="connsiteY9" fmla="*/ 0 h 155500"/>
                  <a:gd name="connsiteX10" fmla="*/ 182614 w 182768"/>
                  <a:gd name="connsiteY10" fmla="*/ 78402 h 155500"/>
                  <a:gd name="connsiteX11" fmla="*/ 182639 w 182768"/>
                  <a:gd name="connsiteY11" fmla="*/ 80760 h 155500"/>
                  <a:gd name="connsiteX12" fmla="*/ 174187 w 182768"/>
                  <a:gd name="connsiteY12" fmla="*/ 151111 h 155500"/>
                  <a:gd name="connsiteX13" fmla="*/ 170074 w 182768"/>
                  <a:gd name="connsiteY13" fmla="*/ 155425 h 155500"/>
                  <a:gd name="connsiteX14" fmla="*/ 169271 w 182768"/>
                  <a:gd name="connsiteY14" fmla="*/ 155500 h 155500"/>
                  <a:gd name="connsiteX15" fmla="*/ 149533 w 182768"/>
                  <a:gd name="connsiteY15" fmla="*/ 97413 h 155500"/>
                  <a:gd name="connsiteX16" fmla="*/ 166362 w 182768"/>
                  <a:gd name="connsiteY16" fmla="*/ 132802 h 155500"/>
                  <a:gd name="connsiteX17" fmla="*/ 172958 w 182768"/>
                  <a:gd name="connsiteY17" fmla="*/ 80584 h 155500"/>
                  <a:gd name="connsiteX18" fmla="*/ 52922 w 182768"/>
                  <a:gd name="connsiteY18" fmla="*/ 9957 h 155500"/>
                  <a:gd name="connsiteX19" fmla="*/ 10059 w 182768"/>
                  <a:gd name="connsiteY19" fmla="*/ 58187 h 155500"/>
                  <a:gd name="connsiteX20" fmla="*/ 57261 w 182768"/>
                  <a:gd name="connsiteY20" fmla="*/ 107421 h 155500"/>
                  <a:gd name="connsiteX21" fmla="*/ 60521 w 182768"/>
                  <a:gd name="connsiteY21" fmla="*/ 107697 h 155500"/>
                  <a:gd name="connsiteX22" fmla="*/ 142560 w 182768"/>
                  <a:gd name="connsiteY22" fmla="*/ 93576 h 155500"/>
                  <a:gd name="connsiteX23" fmla="*/ 149056 w 182768"/>
                  <a:gd name="connsiteY23" fmla="*/ 95808 h 155500"/>
                  <a:gd name="connsiteX24" fmla="*/ 149533 w 182768"/>
                  <a:gd name="connsiteY24" fmla="*/ 97413 h 15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2768" h="155500">
                    <a:moveTo>
                      <a:pt x="169271" y="155500"/>
                    </a:moveTo>
                    <a:cubicBezTo>
                      <a:pt x="167365" y="155500"/>
                      <a:pt x="165610" y="154422"/>
                      <a:pt x="164782" y="152666"/>
                    </a:cubicBezTo>
                    <a:lnTo>
                      <a:pt x="141983" y="104712"/>
                    </a:lnTo>
                    <a:cubicBezTo>
                      <a:pt x="103384" y="121416"/>
                      <a:pt x="77175" y="119133"/>
                      <a:pt x="59619" y="117603"/>
                    </a:cubicBezTo>
                    <a:lnTo>
                      <a:pt x="56483" y="117327"/>
                    </a:lnTo>
                    <a:lnTo>
                      <a:pt x="56483" y="117327"/>
                    </a:lnTo>
                    <a:cubicBezTo>
                      <a:pt x="56483" y="117327"/>
                      <a:pt x="31026" y="115346"/>
                      <a:pt x="14272" y="98166"/>
                    </a:cubicBezTo>
                    <a:cubicBezTo>
                      <a:pt x="4090" y="87732"/>
                      <a:pt x="-676" y="74113"/>
                      <a:pt x="77" y="57711"/>
                    </a:cubicBezTo>
                    <a:cubicBezTo>
                      <a:pt x="1582" y="25733"/>
                      <a:pt x="24706" y="401"/>
                      <a:pt x="52746" y="25"/>
                    </a:cubicBezTo>
                    <a:cubicBezTo>
                      <a:pt x="54126" y="0"/>
                      <a:pt x="55505" y="0"/>
                      <a:pt x="56860" y="0"/>
                    </a:cubicBezTo>
                    <a:cubicBezTo>
                      <a:pt x="128014" y="0"/>
                      <a:pt x="169171" y="25658"/>
                      <a:pt x="182614" y="78402"/>
                    </a:cubicBezTo>
                    <a:cubicBezTo>
                      <a:pt x="182815" y="79205"/>
                      <a:pt x="182815" y="80007"/>
                      <a:pt x="182639" y="80760"/>
                    </a:cubicBezTo>
                    <a:cubicBezTo>
                      <a:pt x="182087" y="84221"/>
                      <a:pt x="177297" y="124501"/>
                      <a:pt x="174187" y="151111"/>
                    </a:cubicBezTo>
                    <a:cubicBezTo>
                      <a:pt x="173936" y="153318"/>
                      <a:pt x="172256" y="155074"/>
                      <a:pt x="170074" y="155425"/>
                    </a:cubicBezTo>
                    <a:cubicBezTo>
                      <a:pt x="169823" y="155475"/>
                      <a:pt x="169547" y="155500"/>
                      <a:pt x="169271" y="155500"/>
                    </a:cubicBezTo>
                    <a:close/>
                    <a:moveTo>
                      <a:pt x="149533" y="97413"/>
                    </a:moveTo>
                    <a:lnTo>
                      <a:pt x="166362" y="132802"/>
                    </a:lnTo>
                    <a:cubicBezTo>
                      <a:pt x="170199" y="100097"/>
                      <a:pt x="171855" y="86503"/>
                      <a:pt x="172958" y="80584"/>
                    </a:cubicBezTo>
                    <a:cubicBezTo>
                      <a:pt x="160292" y="31476"/>
                      <a:pt x="122145" y="8929"/>
                      <a:pt x="52922" y="9957"/>
                    </a:cubicBezTo>
                    <a:cubicBezTo>
                      <a:pt x="30124" y="10258"/>
                      <a:pt x="11288" y="31451"/>
                      <a:pt x="10059" y="58187"/>
                    </a:cubicBezTo>
                    <a:cubicBezTo>
                      <a:pt x="7952" y="103157"/>
                      <a:pt x="56759" y="107395"/>
                      <a:pt x="57261" y="107421"/>
                    </a:cubicBezTo>
                    <a:lnTo>
                      <a:pt x="60521" y="107697"/>
                    </a:lnTo>
                    <a:cubicBezTo>
                      <a:pt x="77727" y="109201"/>
                      <a:pt x="103761" y="111459"/>
                      <a:pt x="142560" y="93576"/>
                    </a:cubicBezTo>
                    <a:cubicBezTo>
                      <a:pt x="144968" y="92447"/>
                      <a:pt x="147827" y="93451"/>
                      <a:pt x="149056" y="95808"/>
                    </a:cubicBezTo>
                    <a:cubicBezTo>
                      <a:pt x="149282" y="96335"/>
                      <a:pt x="149457" y="96887"/>
                      <a:pt x="149533" y="97413"/>
                    </a:cubicBezTo>
                    <a:close/>
                  </a:path>
                </a:pathLst>
              </a:custGeom>
              <a:grpFill/>
              <a:ln w="2503" cap="flat">
                <a:noFill/>
                <a:prstDash val="solid"/>
                <a:miter/>
              </a:ln>
            </p:spPr>
            <p:txBody>
              <a:bodyPr rtlCol="0" anchor="ctr"/>
              <a:lstStyle/>
              <a:p>
                <a:endParaRPr lang="en-GB" dirty="0"/>
              </a:p>
            </p:txBody>
          </p:sp>
          <p:sp>
            <p:nvSpPr>
              <p:cNvPr id="484" name="Freihandform: Form 973">
                <a:extLst>
                  <a:ext uri="{FF2B5EF4-FFF2-40B4-BE49-F238E27FC236}">
                    <a16:creationId xmlns:a16="http://schemas.microsoft.com/office/drawing/2014/main" id="{F7AB2662-14B8-4E31-8F7C-3AD3004637E7}"/>
                  </a:ext>
                </a:extLst>
              </p:cNvPr>
              <p:cNvSpPr/>
              <p:nvPr/>
            </p:nvSpPr>
            <p:spPr>
              <a:xfrm>
                <a:off x="7987147" y="2652347"/>
                <a:ext cx="47196" cy="27749"/>
              </a:xfrm>
              <a:custGeom>
                <a:avLst/>
                <a:gdLst>
                  <a:gd name="connsiteX0" fmla="*/ 23690 w 47196"/>
                  <a:gd name="connsiteY0" fmla="*/ 27750 h 27749"/>
                  <a:gd name="connsiteX1" fmla="*/ 23012 w 47196"/>
                  <a:gd name="connsiteY1" fmla="*/ 27750 h 27749"/>
                  <a:gd name="connsiteX2" fmla="*/ 139 w 47196"/>
                  <a:gd name="connsiteY2" fmla="*/ 12576 h 27749"/>
                  <a:gd name="connsiteX3" fmla="*/ 14 w 47196"/>
                  <a:gd name="connsiteY3" fmla="*/ 5328 h 27749"/>
                  <a:gd name="connsiteX4" fmla="*/ 4578 w 47196"/>
                  <a:gd name="connsiteY4" fmla="*/ 11 h 27749"/>
                  <a:gd name="connsiteX5" fmla="*/ 9920 w 47196"/>
                  <a:gd name="connsiteY5" fmla="*/ 4575 h 27749"/>
                  <a:gd name="connsiteX6" fmla="*/ 10071 w 47196"/>
                  <a:gd name="connsiteY6" fmla="*/ 12676 h 27749"/>
                  <a:gd name="connsiteX7" fmla="*/ 23163 w 47196"/>
                  <a:gd name="connsiteY7" fmla="*/ 17818 h 27749"/>
                  <a:gd name="connsiteX8" fmla="*/ 37233 w 47196"/>
                  <a:gd name="connsiteY8" fmla="*/ 12526 h 27749"/>
                  <a:gd name="connsiteX9" fmla="*/ 37158 w 47196"/>
                  <a:gd name="connsiteY9" fmla="*/ 8914 h 27749"/>
                  <a:gd name="connsiteX10" fmla="*/ 36983 w 47196"/>
                  <a:gd name="connsiteY10" fmla="*/ 5679 h 27749"/>
                  <a:gd name="connsiteX11" fmla="*/ 41748 w 47196"/>
                  <a:gd name="connsiteY11" fmla="*/ 512 h 27749"/>
                  <a:gd name="connsiteX12" fmla="*/ 46914 w 47196"/>
                  <a:gd name="connsiteY12" fmla="*/ 5278 h 27749"/>
                  <a:gd name="connsiteX13" fmla="*/ 47090 w 47196"/>
                  <a:gd name="connsiteY13" fmla="*/ 8287 h 27749"/>
                  <a:gd name="connsiteX14" fmla="*/ 47190 w 47196"/>
                  <a:gd name="connsiteY14" fmla="*/ 12727 h 27749"/>
                  <a:gd name="connsiteX15" fmla="*/ 23690 w 47196"/>
                  <a:gd name="connsiteY15" fmla="*/ 27750 h 27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96" h="27749">
                    <a:moveTo>
                      <a:pt x="23690" y="27750"/>
                    </a:moveTo>
                    <a:cubicBezTo>
                      <a:pt x="23464" y="27750"/>
                      <a:pt x="23238" y="27750"/>
                      <a:pt x="23012" y="27750"/>
                    </a:cubicBezTo>
                    <a:cubicBezTo>
                      <a:pt x="9243" y="27549"/>
                      <a:pt x="64" y="21455"/>
                      <a:pt x="139" y="12576"/>
                    </a:cubicBezTo>
                    <a:cubicBezTo>
                      <a:pt x="189" y="7710"/>
                      <a:pt x="39" y="5478"/>
                      <a:pt x="14" y="5328"/>
                    </a:cubicBezTo>
                    <a:cubicBezTo>
                      <a:pt x="-187" y="2594"/>
                      <a:pt x="1845" y="211"/>
                      <a:pt x="4578" y="11"/>
                    </a:cubicBezTo>
                    <a:cubicBezTo>
                      <a:pt x="7287" y="-165"/>
                      <a:pt x="9695" y="1842"/>
                      <a:pt x="9920" y="4575"/>
                    </a:cubicBezTo>
                    <a:cubicBezTo>
                      <a:pt x="9920" y="4575"/>
                      <a:pt x="10121" y="7033"/>
                      <a:pt x="10071" y="12676"/>
                    </a:cubicBezTo>
                    <a:cubicBezTo>
                      <a:pt x="10046" y="15009"/>
                      <a:pt x="15413" y="17718"/>
                      <a:pt x="23163" y="17818"/>
                    </a:cubicBezTo>
                    <a:cubicBezTo>
                      <a:pt x="30662" y="18044"/>
                      <a:pt x="37183" y="15460"/>
                      <a:pt x="37233" y="12526"/>
                    </a:cubicBezTo>
                    <a:cubicBezTo>
                      <a:pt x="37258" y="10645"/>
                      <a:pt x="37233" y="10018"/>
                      <a:pt x="37158" y="8914"/>
                    </a:cubicBezTo>
                    <a:cubicBezTo>
                      <a:pt x="37108" y="8162"/>
                      <a:pt x="37058" y="7209"/>
                      <a:pt x="36983" y="5679"/>
                    </a:cubicBezTo>
                    <a:cubicBezTo>
                      <a:pt x="36857" y="2945"/>
                      <a:pt x="38989" y="638"/>
                      <a:pt x="41748" y="512"/>
                    </a:cubicBezTo>
                    <a:cubicBezTo>
                      <a:pt x="44381" y="287"/>
                      <a:pt x="46814" y="2519"/>
                      <a:pt x="46914" y="5278"/>
                    </a:cubicBezTo>
                    <a:cubicBezTo>
                      <a:pt x="46990" y="6707"/>
                      <a:pt x="47040" y="7585"/>
                      <a:pt x="47090" y="8287"/>
                    </a:cubicBezTo>
                    <a:cubicBezTo>
                      <a:pt x="47165" y="9642"/>
                      <a:pt x="47215" y="10394"/>
                      <a:pt x="47190" y="12727"/>
                    </a:cubicBezTo>
                    <a:cubicBezTo>
                      <a:pt x="46990" y="21630"/>
                      <a:pt x="37359" y="27750"/>
                      <a:pt x="23690" y="27750"/>
                    </a:cubicBezTo>
                    <a:close/>
                  </a:path>
                </a:pathLst>
              </a:custGeom>
              <a:grpFill/>
              <a:ln w="2503" cap="flat">
                <a:noFill/>
                <a:prstDash val="solid"/>
                <a:miter/>
              </a:ln>
            </p:spPr>
            <p:txBody>
              <a:bodyPr rtlCol="0" anchor="ctr"/>
              <a:lstStyle/>
              <a:p>
                <a:endParaRPr lang="en-GB" dirty="0"/>
              </a:p>
            </p:txBody>
          </p:sp>
          <p:grpSp>
            <p:nvGrpSpPr>
              <p:cNvPr id="485" name="Grafik 16">
                <a:extLst>
                  <a:ext uri="{FF2B5EF4-FFF2-40B4-BE49-F238E27FC236}">
                    <a16:creationId xmlns:a16="http://schemas.microsoft.com/office/drawing/2014/main" id="{C117AAD3-9AF6-4937-AECC-D325E50E86D8}"/>
                  </a:ext>
                </a:extLst>
              </p:cNvPr>
              <p:cNvGrpSpPr/>
              <p:nvPr/>
            </p:nvGrpSpPr>
            <p:grpSpPr>
              <a:xfrm>
                <a:off x="7981620" y="2710877"/>
                <a:ext cx="58197" cy="38593"/>
                <a:chOff x="7981620" y="2710877"/>
                <a:chExt cx="58197" cy="38593"/>
              </a:xfrm>
              <a:grpFill/>
            </p:grpSpPr>
            <p:sp>
              <p:nvSpPr>
                <p:cNvPr id="493" name="Freihandform: Form 975">
                  <a:extLst>
                    <a:ext uri="{FF2B5EF4-FFF2-40B4-BE49-F238E27FC236}">
                      <a16:creationId xmlns:a16="http://schemas.microsoft.com/office/drawing/2014/main" id="{153300EB-56A7-4D22-AA3C-A6F2A0F2AFD2}"/>
                    </a:ext>
                  </a:extLst>
                </p:cNvPr>
                <p:cNvSpPr/>
                <p:nvPr/>
              </p:nvSpPr>
              <p:spPr>
                <a:xfrm>
                  <a:off x="7981620" y="2710877"/>
                  <a:ext cx="58197" cy="14766"/>
                </a:xfrm>
                <a:custGeom>
                  <a:avLst/>
                  <a:gdLst>
                    <a:gd name="connsiteX0" fmla="*/ 29117 w 58197"/>
                    <a:gd name="connsiteY0" fmla="*/ 14766 h 14766"/>
                    <a:gd name="connsiteX1" fmla="*/ 2757 w 58197"/>
                    <a:gd name="connsiteY1" fmla="*/ 9424 h 14766"/>
                    <a:gd name="connsiteX2" fmla="*/ 525 w 58197"/>
                    <a:gd name="connsiteY2" fmla="*/ 2753 h 14766"/>
                    <a:gd name="connsiteX3" fmla="*/ 7171 w 58197"/>
                    <a:gd name="connsiteY3" fmla="*/ 520 h 14766"/>
                    <a:gd name="connsiteX4" fmla="*/ 29117 w 58197"/>
                    <a:gd name="connsiteY4" fmla="*/ 4834 h 14766"/>
                    <a:gd name="connsiteX5" fmla="*/ 51038 w 58197"/>
                    <a:gd name="connsiteY5" fmla="*/ 520 h 14766"/>
                    <a:gd name="connsiteX6" fmla="*/ 57684 w 58197"/>
                    <a:gd name="connsiteY6" fmla="*/ 2778 h 14766"/>
                    <a:gd name="connsiteX7" fmla="*/ 55452 w 58197"/>
                    <a:gd name="connsiteY7" fmla="*/ 9424 h 14766"/>
                    <a:gd name="connsiteX8" fmla="*/ 29117 w 58197"/>
                    <a:gd name="connsiteY8" fmla="*/ 14766 h 14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197" h="14766">
                      <a:moveTo>
                        <a:pt x="29117" y="14766"/>
                      </a:moveTo>
                      <a:cubicBezTo>
                        <a:pt x="13617" y="14766"/>
                        <a:pt x="3183" y="9650"/>
                        <a:pt x="2757" y="9424"/>
                      </a:cubicBezTo>
                      <a:cubicBezTo>
                        <a:pt x="299" y="8195"/>
                        <a:pt x="-704" y="5211"/>
                        <a:pt x="525" y="2753"/>
                      </a:cubicBezTo>
                      <a:cubicBezTo>
                        <a:pt x="1754" y="320"/>
                        <a:pt x="4738" y="-708"/>
                        <a:pt x="7171" y="520"/>
                      </a:cubicBezTo>
                      <a:cubicBezTo>
                        <a:pt x="7372" y="621"/>
                        <a:pt x="16175" y="4834"/>
                        <a:pt x="29117" y="4834"/>
                      </a:cubicBezTo>
                      <a:cubicBezTo>
                        <a:pt x="42109" y="4834"/>
                        <a:pt x="50962" y="571"/>
                        <a:pt x="51038" y="520"/>
                      </a:cubicBezTo>
                      <a:cubicBezTo>
                        <a:pt x="53495" y="-658"/>
                        <a:pt x="56480" y="320"/>
                        <a:pt x="57684" y="2778"/>
                      </a:cubicBezTo>
                      <a:cubicBezTo>
                        <a:pt x="58888" y="5236"/>
                        <a:pt x="57910" y="8195"/>
                        <a:pt x="55452" y="9424"/>
                      </a:cubicBezTo>
                      <a:cubicBezTo>
                        <a:pt x="55025" y="9650"/>
                        <a:pt x="44592" y="14766"/>
                        <a:pt x="29117" y="14766"/>
                      </a:cubicBezTo>
                      <a:close/>
                    </a:path>
                  </a:pathLst>
                </a:custGeom>
                <a:grpFill/>
                <a:ln w="2503" cap="flat">
                  <a:noFill/>
                  <a:prstDash val="solid"/>
                  <a:miter/>
                </a:ln>
              </p:spPr>
              <p:txBody>
                <a:bodyPr rtlCol="0" anchor="ctr"/>
                <a:lstStyle/>
                <a:p>
                  <a:endParaRPr lang="en-GB" dirty="0"/>
                </a:p>
              </p:txBody>
            </p:sp>
            <p:sp>
              <p:nvSpPr>
                <p:cNvPr id="494" name="Freihandform: Form 976">
                  <a:extLst>
                    <a:ext uri="{FF2B5EF4-FFF2-40B4-BE49-F238E27FC236}">
                      <a16:creationId xmlns:a16="http://schemas.microsoft.com/office/drawing/2014/main" id="{C4700F2E-0A6C-4298-8B83-D4645FDC6D92}"/>
                    </a:ext>
                  </a:extLst>
                </p:cNvPr>
                <p:cNvSpPr/>
                <p:nvPr/>
              </p:nvSpPr>
              <p:spPr>
                <a:xfrm>
                  <a:off x="7996115" y="2739538"/>
                  <a:ext cx="29244" cy="9932"/>
                </a:xfrm>
                <a:custGeom>
                  <a:avLst/>
                  <a:gdLst>
                    <a:gd name="connsiteX0" fmla="*/ 24278 w 29244"/>
                    <a:gd name="connsiteY0" fmla="*/ 9932 h 9932"/>
                    <a:gd name="connsiteX1" fmla="*/ 4966 w 29244"/>
                    <a:gd name="connsiteY1" fmla="*/ 9932 h 9932"/>
                    <a:gd name="connsiteX2" fmla="*/ 0 w 29244"/>
                    <a:gd name="connsiteY2" fmla="*/ 4966 h 9932"/>
                    <a:gd name="connsiteX3" fmla="*/ 4966 w 29244"/>
                    <a:gd name="connsiteY3" fmla="*/ 0 h 9932"/>
                    <a:gd name="connsiteX4" fmla="*/ 24278 w 29244"/>
                    <a:gd name="connsiteY4" fmla="*/ 0 h 9932"/>
                    <a:gd name="connsiteX5" fmla="*/ 29244 w 29244"/>
                    <a:gd name="connsiteY5" fmla="*/ 4966 h 9932"/>
                    <a:gd name="connsiteX6" fmla="*/ 24278 w 29244"/>
                    <a:gd name="connsiteY6" fmla="*/ 9932 h 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44" h="9932">
                      <a:moveTo>
                        <a:pt x="24278" y="9932"/>
                      </a:moveTo>
                      <a:lnTo>
                        <a:pt x="4966" y="9932"/>
                      </a:lnTo>
                      <a:cubicBezTo>
                        <a:pt x="2232" y="9932"/>
                        <a:pt x="0" y="7700"/>
                        <a:pt x="0" y="4966"/>
                      </a:cubicBezTo>
                      <a:cubicBezTo>
                        <a:pt x="0" y="2232"/>
                        <a:pt x="2232" y="0"/>
                        <a:pt x="4966" y="0"/>
                      </a:cubicBezTo>
                      <a:lnTo>
                        <a:pt x="24278" y="0"/>
                      </a:lnTo>
                      <a:cubicBezTo>
                        <a:pt x="27012" y="0"/>
                        <a:pt x="29244" y="2232"/>
                        <a:pt x="29244" y="4966"/>
                      </a:cubicBezTo>
                      <a:cubicBezTo>
                        <a:pt x="29244" y="7700"/>
                        <a:pt x="27037" y="9932"/>
                        <a:pt x="24278" y="9932"/>
                      </a:cubicBezTo>
                      <a:close/>
                    </a:path>
                  </a:pathLst>
                </a:custGeom>
                <a:grpFill/>
                <a:ln w="2503" cap="flat">
                  <a:noFill/>
                  <a:prstDash val="solid"/>
                  <a:miter/>
                </a:ln>
              </p:spPr>
              <p:txBody>
                <a:bodyPr rtlCol="0" anchor="ctr"/>
                <a:lstStyle/>
                <a:p>
                  <a:endParaRPr lang="en-GB" dirty="0"/>
                </a:p>
              </p:txBody>
            </p:sp>
          </p:grpSp>
          <p:sp>
            <p:nvSpPr>
              <p:cNvPr id="486" name="Freihandform: Form 977">
                <a:extLst>
                  <a:ext uri="{FF2B5EF4-FFF2-40B4-BE49-F238E27FC236}">
                    <a16:creationId xmlns:a16="http://schemas.microsoft.com/office/drawing/2014/main" id="{D159EA9F-475A-4FE6-A23B-00F7DAAE771E}"/>
                  </a:ext>
                </a:extLst>
              </p:cNvPr>
              <p:cNvSpPr/>
              <p:nvPr/>
            </p:nvSpPr>
            <p:spPr>
              <a:xfrm>
                <a:off x="7889727" y="2451080"/>
                <a:ext cx="81256" cy="130098"/>
              </a:xfrm>
              <a:custGeom>
                <a:avLst/>
                <a:gdLst>
                  <a:gd name="connsiteX0" fmla="*/ 9827 w 81256"/>
                  <a:gd name="connsiteY0" fmla="*/ 130098 h 130098"/>
                  <a:gd name="connsiteX1" fmla="*/ 9000 w 81256"/>
                  <a:gd name="connsiteY1" fmla="*/ 130023 h 130098"/>
                  <a:gd name="connsiteX2" fmla="*/ 4886 w 81256"/>
                  <a:gd name="connsiteY2" fmla="*/ 125559 h 130098"/>
                  <a:gd name="connsiteX3" fmla="*/ 46 w 81256"/>
                  <a:gd name="connsiteY3" fmla="*/ 66343 h 130098"/>
                  <a:gd name="connsiteX4" fmla="*/ 21 w 81256"/>
                  <a:gd name="connsiteY4" fmla="*/ 63133 h 130098"/>
                  <a:gd name="connsiteX5" fmla="*/ 33604 w 81256"/>
                  <a:gd name="connsiteY5" fmla="*/ 7077 h 130098"/>
                  <a:gd name="connsiteX6" fmla="*/ 76718 w 81256"/>
                  <a:gd name="connsiteY6" fmla="*/ 3717 h 130098"/>
                  <a:gd name="connsiteX7" fmla="*/ 79251 w 81256"/>
                  <a:gd name="connsiteY7" fmla="*/ 6977 h 130098"/>
                  <a:gd name="connsiteX8" fmla="*/ 78473 w 81256"/>
                  <a:gd name="connsiteY8" fmla="*/ 11015 h 130098"/>
                  <a:gd name="connsiteX9" fmla="*/ 72604 w 81256"/>
                  <a:gd name="connsiteY9" fmla="*/ 38027 h 130098"/>
                  <a:gd name="connsiteX10" fmla="*/ 80354 w 81256"/>
                  <a:gd name="connsiteY10" fmla="*/ 64287 h 130098"/>
                  <a:gd name="connsiteX11" fmla="*/ 79978 w 81256"/>
                  <a:gd name="connsiteY11" fmla="*/ 70456 h 130098"/>
                  <a:gd name="connsiteX12" fmla="*/ 38821 w 81256"/>
                  <a:gd name="connsiteY12" fmla="*/ 93079 h 130098"/>
                  <a:gd name="connsiteX13" fmla="*/ 30193 w 81256"/>
                  <a:gd name="connsiteY13" fmla="*/ 92226 h 130098"/>
                  <a:gd name="connsiteX14" fmla="*/ 14367 w 81256"/>
                  <a:gd name="connsiteY14" fmla="*/ 127164 h 130098"/>
                  <a:gd name="connsiteX15" fmla="*/ 9827 w 81256"/>
                  <a:gd name="connsiteY15" fmla="*/ 130098 h 130098"/>
                  <a:gd name="connsiteX16" fmla="*/ 61293 w 81256"/>
                  <a:gd name="connsiteY16" fmla="*/ 9962 h 130098"/>
                  <a:gd name="connsiteX17" fmla="*/ 37592 w 81256"/>
                  <a:gd name="connsiteY17" fmla="*/ 16182 h 130098"/>
                  <a:gd name="connsiteX18" fmla="*/ 9953 w 81256"/>
                  <a:gd name="connsiteY18" fmla="*/ 63058 h 130098"/>
                  <a:gd name="connsiteX19" fmla="*/ 9978 w 81256"/>
                  <a:gd name="connsiteY19" fmla="*/ 66343 h 130098"/>
                  <a:gd name="connsiteX20" fmla="*/ 13113 w 81256"/>
                  <a:gd name="connsiteY20" fmla="*/ 105820 h 130098"/>
                  <a:gd name="connsiteX21" fmla="*/ 22819 w 81256"/>
                  <a:gd name="connsiteY21" fmla="*/ 84351 h 130098"/>
                  <a:gd name="connsiteX22" fmla="*/ 28738 w 81256"/>
                  <a:gd name="connsiteY22" fmla="*/ 81642 h 130098"/>
                  <a:gd name="connsiteX23" fmla="*/ 38770 w 81256"/>
                  <a:gd name="connsiteY23" fmla="*/ 83122 h 130098"/>
                  <a:gd name="connsiteX24" fmla="*/ 69971 w 81256"/>
                  <a:gd name="connsiteY24" fmla="*/ 66519 h 130098"/>
                  <a:gd name="connsiteX25" fmla="*/ 62622 w 81256"/>
                  <a:gd name="connsiteY25" fmla="*/ 38002 h 130098"/>
                  <a:gd name="connsiteX26" fmla="*/ 67212 w 81256"/>
                  <a:gd name="connsiteY26" fmla="*/ 10639 h 130098"/>
                  <a:gd name="connsiteX27" fmla="*/ 61293 w 81256"/>
                  <a:gd name="connsiteY27" fmla="*/ 9962 h 130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81256" h="130098">
                    <a:moveTo>
                      <a:pt x="9827" y="130098"/>
                    </a:moveTo>
                    <a:cubicBezTo>
                      <a:pt x="9551" y="130098"/>
                      <a:pt x="9276" y="130073"/>
                      <a:pt x="9000" y="130023"/>
                    </a:cubicBezTo>
                    <a:cubicBezTo>
                      <a:pt x="6767" y="129647"/>
                      <a:pt x="5087" y="127816"/>
                      <a:pt x="4886" y="125559"/>
                    </a:cubicBezTo>
                    <a:cubicBezTo>
                      <a:pt x="4385" y="120016"/>
                      <a:pt x="46" y="71359"/>
                      <a:pt x="46" y="66343"/>
                    </a:cubicBezTo>
                    <a:lnTo>
                      <a:pt x="21" y="63133"/>
                    </a:lnTo>
                    <a:cubicBezTo>
                      <a:pt x="-130" y="46730"/>
                      <a:pt x="-330" y="21950"/>
                      <a:pt x="33604" y="7077"/>
                    </a:cubicBezTo>
                    <a:cubicBezTo>
                      <a:pt x="52214" y="-1099"/>
                      <a:pt x="65531" y="-2152"/>
                      <a:pt x="76718" y="3717"/>
                    </a:cubicBezTo>
                    <a:cubicBezTo>
                      <a:pt x="77997" y="4394"/>
                      <a:pt x="78925" y="5573"/>
                      <a:pt x="79251" y="6977"/>
                    </a:cubicBezTo>
                    <a:cubicBezTo>
                      <a:pt x="79577" y="8382"/>
                      <a:pt x="79301" y="9836"/>
                      <a:pt x="78473" y="11015"/>
                    </a:cubicBezTo>
                    <a:cubicBezTo>
                      <a:pt x="74410" y="16683"/>
                      <a:pt x="72604" y="25035"/>
                      <a:pt x="72604" y="38027"/>
                    </a:cubicBezTo>
                    <a:cubicBezTo>
                      <a:pt x="72604" y="47834"/>
                      <a:pt x="75363" y="57164"/>
                      <a:pt x="80354" y="64287"/>
                    </a:cubicBezTo>
                    <a:cubicBezTo>
                      <a:pt x="81683" y="66168"/>
                      <a:pt x="81533" y="68726"/>
                      <a:pt x="79978" y="70456"/>
                    </a:cubicBezTo>
                    <a:cubicBezTo>
                      <a:pt x="70146" y="81392"/>
                      <a:pt x="54195" y="93079"/>
                      <a:pt x="38821" y="93079"/>
                    </a:cubicBezTo>
                    <a:cubicBezTo>
                      <a:pt x="35936" y="93079"/>
                      <a:pt x="33052" y="92803"/>
                      <a:pt x="30193" y="92226"/>
                    </a:cubicBezTo>
                    <a:lnTo>
                      <a:pt x="14367" y="127164"/>
                    </a:lnTo>
                    <a:cubicBezTo>
                      <a:pt x="13539" y="128995"/>
                      <a:pt x="11759" y="130098"/>
                      <a:pt x="9827" y="130098"/>
                    </a:cubicBezTo>
                    <a:close/>
                    <a:moveTo>
                      <a:pt x="61293" y="9962"/>
                    </a:moveTo>
                    <a:cubicBezTo>
                      <a:pt x="55750" y="9962"/>
                      <a:pt x="48226" y="11517"/>
                      <a:pt x="37592" y="16182"/>
                    </a:cubicBezTo>
                    <a:cubicBezTo>
                      <a:pt x="9652" y="28446"/>
                      <a:pt x="9802" y="46830"/>
                      <a:pt x="9953" y="63058"/>
                    </a:cubicBezTo>
                    <a:lnTo>
                      <a:pt x="9978" y="66343"/>
                    </a:lnTo>
                    <a:cubicBezTo>
                      <a:pt x="9978" y="68876"/>
                      <a:pt x="11533" y="87536"/>
                      <a:pt x="13113" y="105820"/>
                    </a:cubicBezTo>
                    <a:lnTo>
                      <a:pt x="22819" y="84351"/>
                    </a:lnTo>
                    <a:cubicBezTo>
                      <a:pt x="23847" y="82094"/>
                      <a:pt x="26380" y="80940"/>
                      <a:pt x="28738" y="81642"/>
                    </a:cubicBezTo>
                    <a:cubicBezTo>
                      <a:pt x="32049" y="82621"/>
                      <a:pt x="35435" y="83122"/>
                      <a:pt x="38770" y="83122"/>
                    </a:cubicBezTo>
                    <a:cubicBezTo>
                      <a:pt x="47950" y="83122"/>
                      <a:pt x="59913" y="76702"/>
                      <a:pt x="69971" y="66519"/>
                    </a:cubicBezTo>
                    <a:cubicBezTo>
                      <a:pt x="65206" y="58292"/>
                      <a:pt x="62622" y="48335"/>
                      <a:pt x="62622" y="38002"/>
                    </a:cubicBezTo>
                    <a:cubicBezTo>
                      <a:pt x="62622" y="29600"/>
                      <a:pt x="63224" y="19342"/>
                      <a:pt x="67212" y="10639"/>
                    </a:cubicBezTo>
                    <a:cubicBezTo>
                      <a:pt x="65556" y="10238"/>
                      <a:pt x="63600" y="9962"/>
                      <a:pt x="61293" y="9962"/>
                    </a:cubicBezTo>
                    <a:close/>
                  </a:path>
                </a:pathLst>
              </a:custGeom>
              <a:grpFill/>
              <a:ln w="2503" cap="flat">
                <a:noFill/>
                <a:prstDash val="solid"/>
                <a:miter/>
              </a:ln>
            </p:spPr>
            <p:txBody>
              <a:bodyPr rtlCol="0" anchor="ctr"/>
              <a:lstStyle/>
              <a:p>
                <a:endParaRPr lang="en-GB" dirty="0"/>
              </a:p>
            </p:txBody>
          </p:sp>
          <p:sp>
            <p:nvSpPr>
              <p:cNvPr id="487" name="Freihandform: Form 978">
                <a:extLst>
                  <a:ext uri="{FF2B5EF4-FFF2-40B4-BE49-F238E27FC236}">
                    <a16:creationId xmlns:a16="http://schemas.microsoft.com/office/drawing/2014/main" id="{D777EC1C-A012-4A3E-9DF9-2170BA604031}"/>
                  </a:ext>
                </a:extLst>
              </p:cNvPr>
              <p:cNvSpPr/>
              <p:nvPr/>
            </p:nvSpPr>
            <p:spPr>
              <a:xfrm>
                <a:off x="7895865" y="2513508"/>
                <a:ext cx="228791" cy="262472"/>
              </a:xfrm>
              <a:custGeom>
                <a:avLst/>
                <a:gdLst>
                  <a:gd name="connsiteX0" fmla="*/ 114822 w 228791"/>
                  <a:gd name="connsiteY0" fmla="*/ 262472 h 262472"/>
                  <a:gd name="connsiteX1" fmla="*/ 114120 w 228791"/>
                  <a:gd name="connsiteY1" fmla="*/ 262472 h 262472"/>
                  <a:gd name="connsiteX2" fmla="*/ 2912 w 228791"/>
                  <a:gd name="connsiteY2" fmla="*/ 146424 h 262472"/>
                  <a:gd name="connsiteX3" fmla="*/ 3 w 228791"/>
                  <a:gd name="connsiteY3" fmla="*/ 60121 h 262472"/>
                  <a:gd name="connsiteX4" fmla="*/ 454 w 228791"/>
                  <a:gd name="connsiteY4" fmla="*/ 57914 h 262472"/>
                  <a:gd name="connsiteX5" fmla="*/ 16205 w 228791"/>
                  <a:gd name="connsiteY5" fmla="*/ 23754 h 262472"/>
                  <a:gd name="connsiteX6" fmla="*/ 18637 w 228791"/>
                  <a:gd name="connsiteY6" fmla="*/ 21347 h 262472"/>
                  <a:gd name="connsiteX7" fmla="*/ 21497 w 228791"/>
                  <a:gd name="connsiteY7" fmla="*/ 20068 h 262472"/>
                  <a:gd name="connsiteX8" fmla="*/ 24682 w 228791"/>
                  <a:gd name="connsiteY8" fmla="*/ 19767 h 262472"/>
                  <a:gd name="connsiteX9" fmla="*/ 32708 w 228791"/>
                  <a:gd name="connsiteY9" fmla="*/ 20720 h 262472"/>
                  <a:gd name="connsiteX10" fmla="*/ 66241 w 228791"/>
                  <a:gd name="connsiteY10" fmla="*/ 1633 h 262472"/>
                  <a:gd name="connsiteX11" fmla="*/ 70153 w 228791"/>
                  <a:gd name="connsiteY11" fmla="*/ 3 h 262472"/>
                  <a:gd name="connsiteX12" fmla="*/ 73890 w 228791"/>
                  <a:gd name="connsiteY12" fmla="*/ 1984 h 262472"/>
                  <a:gd name="connsiteX13" fmla="*/ 113016 w 228791"/>
                  <a:gd name="connsiteY13" fmla="*/ 22049 h 262472"/>
                  <a:gd name="connsiteX14" fmla="*/ 116101 w 228791"/>
                  <a:gd name="connsiteY14" fmla="*/ 22300 h 262472"/>
                  <a:gd name="connsiteX15" fmla="*/ 126736 w 228791"/>
                  <a:gd name="connsiteY15" fmla="*/ 23102 h 262472"/>
                  <a:gd name="connsiteX16" fmla="*/ 128065 w 228791"/>
                  <a:gd name="connsiteY16" fmla="*/ 23353 h 262472"/>
                  <a:gd name="connsiteX17" fmla="*/ 129695 w 228791"/>
                  <a:gd name="connsiteY17" fmla="*/ 23228 h 262472"/>
                  <a:gd name="connsiteX18" fmla="*/ 158011 w 228791"/>
                  <a:gd name="connsiteY18" fmla="*/ 21271 h 262472"/>
                  <a:gd name="connsiteX19" fmla="*/ 199896 w 228791"/>
                  <a:gd name="connsiteY19" fmla="*/ 9584 h 262472"/>
                  <a:gd name="connsiteX20" fmla="*/ 205715 w 228791"/>
                  <a:gd name="connsiteY20" fmla="*/ 12268 h 262472"/>
                  <a:gd name="connsiteX21" fmla="*/ 228312 w 228791"/>
                  <a:gd name="connsiteY21" fmla="*/ 60448 h 262472"/>
                  <a:gd name="connsiteX22" fmla="*/ 228789 w 228791"/>
                  <a:gd name="connsiteY22" fmla="*/ 62730 h 262472"/>
                  <a:gd name="connsiteX23" fmla="*/ 225980 w 228791"/>
                  <a:gd name="connsiteY23" fmla="*/ 146575 h 262472"/>
                  <a:gd name="connsiteX24" fmla="*/ 114822 w 228791"/>
                  <a:gd name="connsiteY24" fmla="*/ 262472 h 262472"/>
                  <a:gd name="connsiteX25" fmla="*/ 9960 w 228791"/>
                  <a:gd name="connsiteY25" fmla="*/ 60949 h 262472"/>
                  <a:gd name="connsiteX26" fmla="*/ 12844 w 228791"/>
                  <a:gd name="connsiteY26" fmla="*/ 146249 h 262472"/>
                  <a:gd name="connsiteX27" fmla="*/ 114145 w 228791"/>
                  <a:gd name="connsiteY27" fmla="*/ 252541 h 262472"/>
                  <a:gd name="connsiteX28" fmla="*/ 114797 w 228791"/>
                  <a:gd name="connsiteY28" fmla="*/ 252541 h 262472"/>
                  <a:gd name="connsiteX29" fmla="*/ 216073 w 228791"/>
                  <a:gd name="connsiteY29" fmla="*/ 146424 h 262472"/>
                  <a:gd name="connsiteX30" fmla="*/ 218857 w 228791"/>
                  <a:gd name="connsiteY30" fmla="*/ 63608 h 262472"/>
                  <a:gd name="connsiteX31" fmla="*/ 198542 w 228791"/>
                  <a:gd name="connsiteY31" fmla="*/ 20293 h 262472"/>
                  <a:gd name="connsiteX32" fmla="*/ 160243 w 228791"/>
                  <a:gd name="connsiteY32" fmla="*/ 30978 h 262472"/>
                  <a:gd name="connsiteX33" fmla="*/ 129896 w 228791"/>
                  <a:gd name="connsiteY33" fmla="*/ 33160 h 262472"/>
                  <a:gd name="connsiteX34" fmla="*/ 127588 w 228791"/>
                  <a:gd name="connsiteY34" fmla="*/ 33335 h 262472"/>
                  <a:gd name="connsiteX35" fmla="*/ 125306 w 228791"/>
                  <a:gd name="connsiteY35" fmla="*/ 32959 h 262472"/>
                  <a:gd name="connsiteX36" fmla="*/ 115248 w 228791"/>
                  <a:gd name="connsiteY36" fmla="*/ 32182 h 262472"/>
                  <a:gd name="connsiteX37" fmla="*/ 112289 w 228791"/>
                  <a:gd name="connsiteY37" fmla="*/ 31931 h 262472"/>
                  <a:gd name="connsiteX38" fmla="*/ 112289 w 228791"/>
                  <a:gd name="connsiteY38" fmla="*/ 31931 h 262472"/>
                  <a:gd name="connsiteX39" fmla="*/ 69677 w 228791"/>
                  <a:gd name="connsiteY39" fmla="*/ 12343 h 262472"/>
                  <a:gd name="connsiteX40" fmla="*/ 32683 w 228791"/>
                  <a:gd name="connsiteY40" fmla="*/ 30652 h 262472"/>
                  <a:gd name="connsiteX41" fmla="*/ 24281 w 228791"/>
                  <a:gd name="connsiteY41" fmla="*/ 29849 h 262472"/>
                  <a:gd name="connsiteX42" fmla="*/ 18512 w 228791"/>
                  <a:gd name="connsiteY42" fmla="*/ 42038 h 262472"/>
                  <a:gd name="connsiteX43" fmla="*/ 9960 w 228791"/>
                  <a:gd name="connsiteY43" fmla="*/ 60949 h 262472"/>
                  <a:gd name="connsiteX44" fmla="*/ 112289 w 228791"/>
                  <a:gd name="connsiteY44" fmla="*/ 31956 h 262472"/>
                  <a:gd name="connsiteX45" fmla="*/ 112289 w 228791"/>
                  <a:gd name="connsiteY45" fmla="*/ 31956 h 262472"/>
                  <a:gd name="connsiteX46" fmla="*/ 112289 w 228791"/>
                  <a:gd name="connsiteY46" fmla="*/ 31956 h 262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8791" h="262472">
                    <a:moveTo>
                      <a:pt x="114822" y="262472"/>
                    </a:moveTo>
                    <a:lnTo>
                      <a:pt x="114120" y="262472"/>
                    </a:lnTo>
                    <a:cubicBezTo>
                      <a:pt x="64059" y="262247"/>
                      <a:pt x="2912" y="208649"/>
                      <a:pt x="2912" y="146424"/>
                    </a:cubicBezTo>
                    <a:lnTo>
                      <a:pt x="3" y="60121"/>
                    </a:lnTo>
                    <a:cubicBezTo>
                      <a:pt x="-22" y="59369"/>
                      <a:pt x="128" y="58592"/>
                      <a:pt x="454" y="57914"/>
                    </a:cubicBezTo>
                    <a:lnTo>
                      <a:pt x="16205" y="23754"/>
                    </a:lnTo>
                    <a:cubicBezTo>
                      <a:pt x="16707" y="22701"/>
                      <a:pt x="17584" y="21848"/>
                      <a:pt x="18637" y="21347"/>
                    </a:cubicBezTo>
                    <a:lnTo>
                      <a:pt x="21497" y="20068"/>
                    </a:lnTo>
                    <a:cubicBezTo>
                      <a:pt x="22500" y="19616"/>
                      <a:pt x="23629" y="19516"/>
                      <a:pt x="24682" y="19767"/>
                    </a:cubicBezTo>
                    <a:cubicBezTo>
                      <a:pt x="27341" y="20394"/>
                      <a:pt x="30049" y="20720"/>
                      <a:pt x="32708" y="20720"/>
                    </a:cubicBezTo>
                    <a:cubicBezTo>
                      <a:pt x="42565" y="20720"/>
                      <a:pt x="55732" y="13221"/>
                      <a:pt x="66241" y="1633"/>
                    </a:cubicBezTo>
                    <a:cubicBezTo>
                      <a:pt x="67244" y="530"/>
                      <a:pt x="68649" y="-47"/>
                      <a:pt x="70153" y="3"/>
                    </a:cubicBezTo>
                    <a:cubicBezTo>
                      <a:pt x="71633" y="78"/>
                      <a:pt x="73013" y="781"/>
                      <a:pt x="73890" y="1984"/>
                    </a:cubicBezTo>
                    <a:cubicBezTo>
                      <a:pt x="87183" y="19616"/>
                      <a:pt x="112765" y="22024"/>
                      <a:pt x="113016" y="22049"/>
                    </a:cubicBezTo>
                    <a:lnTo>
                      <a:pt x="116101" y="22300"/>
                    </a:lnTo>
                    <a:cubicBezTo>
                      <a:pt x="119337" y="22576"/>
                      <a:pt x="122873" y="22877"/>
                      <a:pt x="126736" y="23102"/>
                    </a:cubicBezTo>
                    <a:cubicBezTo>
                      <a:pt x="127187" y="23127"/>
                      <a:pt x="127638" y="23228"/>
                      <a:pt x="128065" y="23353"/>
                    </a:cubicBezTo>
                    <a:lnTo>
                      <a:pt x="129695" y="23228"/>
                    </a:lnTo>
                    <a:cubicBezTo>
                      <a:pt x="139953" y="23529"/>
                      <a:pt x="148831" y="22927"/>
                      <a:pt x="158011" y="21271"/>
                    </a:cubicBezTo>
                    <a:lnTo>
                      <a:pt x="199896" y="9584"/>
                    </a:lnTo>
                    <a:cubicBezTo>
                      <a:pt x="202228" y="8932"/>
                      <a:pt x="204686" y="10060"/>
                      <a:pt x="205715" y="12268"/>
                    </a:cubicBezTo>
                    <a:lnTo>
                      <a:pt x="228312" y="60448"/>
                    </a:lnTo>
                    <a:cubicBezTo>
                      <a:pt x="228638" y="61150"/>
                      <a:pt x="228814" y="61927"/>
                      <a:pt x="228789" y="62730"/>
                    </a:cubicBezTo>
                    <a:lnTo>
                      <a:pt x="225980" y="146575"/>
                    </a:lnTo>
                    <a:cubicBezTo>
                      <a:pt x="226005" y="208649"/>
                      <a:pt x="164858" y="262247"/>
                      <a:pt x="114822" y="262472"/>
                    </a:cubicBezTo>
                    <a:close/>
                    <a:moveTo>
                      <a:pt x="9960" y="60949"/>
                    </a:moveTo>
                    <a:lnTo>
                      <a:pt x="12844" y="146249"/>
                    </a:lnTo>
                    <a:cubicBezTo>
                      <a:pt x="12844" y="192999"/>
                      <a:pt x="60548" y="252290"/>
                      <a:pt x="114145" y="252541"/>
                    </a:cubicBezTo>
                    <a:lnTo>
                      <a:pt x="114797" y="252541"/>
                    </a:lnTo>
                    <a:cubicBezTo>
                      <a:pt x="168369" y="252315"/>
                      <a:pt x="216073" y="192999"/>
                      <a:pt x="216073" y="146424"/>
                    </a:cubicBezTo>
                    <a:lnTo>
                      <a:pt x="218857" y="63608"/>
                    </a:lnTo>
                    <a:lnTo>
                      <a:pt x="198542" y="20293"/>
                    </a:lnTo>
                    <a:lnTo>
                      <a:pt x="160243" y="30978"/>
                    </a:lnTo>
                    <a:cubicBezTo>
                      <a:pt x="149885" y="32859"/>
                      <a:pt x="140404" y="33511"/>
                      <a:pt x="129896" y="33160"/>
                    </a:cubicBezTo>
                    <a:lnTo>
                      <a:pt x="127588" y="33335"/>
                    </a:lnTo>
                    <a:cubicBezTo>
                      <a:pt x="126811" y="33385"/>
                      <a:pt x="126033" y="33260"/>
                      <a:pt x="125306" y="32959"/>
                    </a:cubicBezTo>
                    <a:cubicBezTo>
                      <a:pt x="121694" y="32758"/>
                      <a:pt x="118358" y="32457"/>
                      <a:pt x="115248" y="32182"/>
                    </a:cubicBezTo>
                    <a:lnTo>
                      <a:pt x="112289" y="31931"/>
                    </a:lnTo>
                    <a:lnTo>
                      <a:pt x="112289" y="31931"/>
                    </a:lnTo>
                    <a:cubicBezTo>
                      <a:pt x="112264" y="31931"/>
                      <a:pt x="86456" y="29974"/>
                      <a:pt x="69677" y="12343"/>
                    </a:cubicBezTo>
                    <a:cubicBezTo>
                      <a:pt x="57939" y="23729"/>
                      <a:pt x="44120" y="30652"/>
                      <a:pt x="32683" y="30652"/>
                    </a:cubicBezTo>
                    <a:cubicBezTo>
                      <a:pt x="29899" y="30652"/>
                      <a:pt x="27090" y="30376"/>
                      <a:pt x="24281" y="29849"/>
                    </a:cubicBezTo>
                    <a:lnTo>
                      <a:pt x="18512" y="42038"/>
                    </a:lnTo>
                    <a:lnTo>
                      <a:pt x="9960" y="60949"/>
                    </a:lnTo>
                    <a:close/>
                    <a:moveTo>
                      <a:pt x="112289" y="31956"/>
                    </a:moveTo>
                    <a:lnTo>
                      <a:pt x="112289" y="31956"/>
                    </a:lnTo>
                    <a:lnTo>
                      <a:pt x="112289" y="31956"/>
                    </a:lnTo>
                    <a:close/>
                  </a:path>
                </a:pathLst>
              </a:custGeom>
              <a:grpFill/>
              <a:ln w="2503" cap="flat">
                <a:noFill/>
                <a:prstDash val="solid"/>
                <a:miter/>
              </a:ln>
            </p:spPr>
            <p:txBody>
              <a:bodyPr rtlCol="0" anchor="ctr"/>
              <a:lstStyle/>
              <a:p>
                <a:endParaRPr lang="en-GB" dirty="0"/>
              </a:p>
            </p:txBody>
          </p:sp>
          <p:sp>
            <p:nvSpPr>
              <p:cNvPr id="488" name="Freihandform: Form 979">
                <a:extLst>
                  <a:ext uri="{FF2B5EF4-FFF2-40B4-BE49-F238E27FC236}">
                    <a16:creationId xmlns:a16="http://schemas.microsoft.com/office/drawing/2014/main" id="{870972B3-F1A8-40B0-9543-0020C5B15B9D}"/>
                  </a:ext>
                </a:extLst>
              </p:cNvPr>
              <p:cNvSpPr/>
              <p:nvPr/>
            </p:nvSpPr>
            <p:spPr>
              <a:xfrm>
                <a:off x="7979988" y="2762085"/>
                <a:ext cx="61046" cy="41608"/>
              </a:xfrm>
              <a:custGeom>
                <a:avLst/>
                <a:gdLst>
                  <a:gd name="connsiteX0" fmla="*/ 30724 w 61046"/>
                  <a:gd name="connsiteY0" fmla="*/ 41609 h 41608"/>
                  <a:gd name="connsiteX1" fmla="*/ 30322 w 61046"/>
                  <a:gd name="connsiteY1" fmla="*/ 41609 h 41608"/>
                  <a:gd name="connsiteX2" fmla="*/ 30172 w 61046"/>
                  <a:gd name="connsiteY2" fmla="*/ 41609 h 41608"/>
                  <a:gd name="connsiteX3" fmla="*/ 30172 w 61046"/>
                  <a:gd name="connsiteY3" fmla="*/ 41559 h 41608"/>
                  <a:gd name="connsiteX4" fmla="*/ 9104 w 61046"/>
                  <a:gd name="connsiteY4" fmla="*/ 28667 h 41608"/>
                  <a:gd name="connsiteX5" fmla="*/ 0 w 61046"/>
                  <a:gd name="connsiteY5" fmla="*/ 11387 h 41608"/>
                  <a:gd name="connsiteX6" fmla="*/ 0 w 61046"/>
                  <a:gd name="connsiteY6" fmla="*/ 4966 h 41608"/>
                  <a:gd name="connsiteX7" fmla="*/ 4966 w 61046"/>
                  <a:gd name="connsiteY7" fmla="*/ 0 h 41608"/>
                  <a:gd name="connsiteX8" fmla="*/ 9932 w 61046"/>
                  <a:gd name="connsiteY8" fmla="*/ 4966 h 41608"/>
                  <a:gd name="connsiteX9" fmla="*/ 9932 w 61046"/>
                  <a:gd name="connsiteY9" fmla="*/ 11387 h 41608"/>
                  <a:gd name="connsiteX10" fmla="*/ 30523 w 61046"/>
                  <a:gd name="connsiteY10" fmla="*/ 31200 h 41608"/>
                  <a:gd name="connsiteX11" fmla="*/ 51114 w 61046"/>
                  <a:gd name="connsiteY11" fmla="*/ 11387 h 41608"/>
                  <a:gd name="connsiteX12" fmla="*/ 51114 w 61046"/>
                  <a:gd name="connsiteY12" fmla="*/ 4966 h 41608"/>
                  <a:gd name="connsiteX13" fmla="*/ 56080 w 61046"/>
                  <a:gd name="connsiteY13" fmla="*/ 0 h 41608"/>
                  <a:gd name="connsiteX14" fmla="*/ 61046 w 61046"/>
                  <a:gd name="connsiteY14" fmla="*/ 4966 h 41608"/>
                  <a:gd name="connsiteX15" fmla="*/ 61046 w 61046"/>
                  <a:gd name="connsiteY15" fmla="*/ 11387 h 41608"/>
                  <a:gd name="connsiteX16" fmla="*/ 51942 w 61046"/>
                  <a:gd name="connsiteY16" fmla="*/ 28667 h 41608"/>
                  <a:gd name="connsiteX17" fmla="*/ 30874 w 61046"/>
                  <a:gd name="connsiteY17" fmla="*/ 41559 h 41608"/>
                  <a:gd name="connsiteX18" fmla="*/ 30874 w 61046"/>
                  <a:gd name="connsiteY18" fmla="*/ 41609 h 41608"/>
                  <a:gd name="connsiteX19" fmla="*/ 30724 w 61046"/>
                  <a:gd name="connsiteY19" fmla="*/ 41609 h 41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046" h="41608">
                    <a:moveTo>
                      <a:pt x="30724" y="41609"/>
                    </a:moveTo>
                    <a:cubicBezTo>
                      <a:pt x="30598" y="41609"/>
                      <a:pt x="30448" y="41609"/>
                      <a:pt x="30322" y="41609"/>
                    </a:cubicBezTo>
                    <a:cubicBezTo>
                      <a:pt x="30272" y="41609"/>
                      <a:pt x="30222" y="41609"/>
                      <a:pt x="30172" y="41609"/>
                    </a:cubicBezTo>
                    <a:lnTo>
                      <a:pt x="30172" y="41559"/>
                    </a:lnTo>
                    <a:cubicBezTo>
                      <a:pt x="26184" y="40907"/>
                      <a:pt x="14923" y="34085"/>
                      <a:pt x="9104" y="28667"/>
                    </a:cubicBezTo>
                    <a:cubicBezTo>
                      <a:pt x="3060" y="23049"/>
                      <a:pt x="0" y="17230"/>
                      <a:pt x="0" y="11387"/>
                    </a:cubicBezTo>
                    <a:lnTo>
                      <a:pt x="0" y="4966"/>
                    </a:lnTo>
                    <a:cubicBezTo>
                      <a:pt x="0" y="2232"/>
                      <a:pt x="2232" y="0"/>
                      <a:pt x="4966" y="0"/>
                    </a:cubicBezTo>
                    <a:cubicBezTo>
                      <a:pt x="7700" y="0"/>
                      <a:pt x="9932" y="2232"/>
                      <a:pt x="9932" y="4966"/>
                    </a:cubicBezTo>
                    <a:lnTo>
                      <a:pt x="9932" y="11387"/>
                    </a:lnTo>
                    <a:cubicBezTo>
                      <a:pt x="9932" y="19111"/>
                      <a:pt x="23551" y="27789"/>
                      <a:pt x="30523" y="31200"/>
                    </a:cubicBezTo>
                    <a:cubicBezTo>
                      <a:pt x="37496" y="27789"/>
                      <a:pt x="51114" y="19137"/>
                      <a:pt x="51114" y="11387"/>
                    </a:cubicBezTo>
                    <a:lnTo>
                      <a:pt x="51114" y="4966"/>
                    </a:lnTo>
                    <a:cubicBezTo>
                      <a:pt x="51114" y="2232"/>
                      <a:pt x="53346" y="0"/>
                      <a:pt x="56080" y="0"/>
                    </a:cubicBezTo>
                    <a:cubicBezTo>
                      <a:pt x="58814" y="0"/>
                      <a:pt x="61046" y="2232"/>
                      <a:pt x="61046" y="4966"/>
                    </a:cubicBezTo>
                    <a:lnTo>
                      <a:pt x="61046" y="11387"/>
                    </a:lnTo>
                    <a:cubicBezTo>
                      <a:pt x="61046" y="17230"/>
                      <a:pt x="57987" y="23049"/>
                      <a:pt x="51942" y="28667"/>
                    </a:cubicBezTo>
                    <a:cubicBezTo>
                      <a:pt x="46123" y="34085"/>
                      <a:pt x="34862" y="40907"/>
                      <a:pt x="30874" y="41559"/>
                    </a:cubicBezTo>
                    <a:lnTo>
                      <a:pt x="30874" y="41609"/>
                    </a:lnTo>
                    <a:cubicBezTo>
                      <a:pt x="30824" y="41609"/>
                      <a:pt x="30774" y="41609"/>
                      <a:pt x="30724" y="41609"/>
                    </a:cubicBezTo>
                    <a:close/>
                  </a:path>
                </a:pathLst>
              </a:custGeom>
              <a:grpFill/>
              <a:ln w="2503" cap="flat">
                <a:noFill/>
                <a:prstDash val="solid"/>
                <a:miter/>
              </a:ln>
            </p:spPr>
            <p:txBody>
              <a:bodyPr rtlCol="0" anchor="ctr"/>
              <a:lstStyle/>
              <a:p>
                <a:endParaRPr lang="en-GB" dirty="0"/>
              </a:p>
            </p:txBody>
          </p:sp>
          <p:sp>
            <p:nvSpPr>
              <p:cNvPr id="489" name="Freihandform: Form 980">
                <a:extLst>
                  <a:ext uri="{FF2B5EF4-FFF2-40B4-BE49-F238E27FC236}">
                    <a16:creationId xmlns:a16="http://schemas.microsoft.com/office/drawing/2014/main" id="{CBBBD227-82B5-4F09-9180-EB281C5AC9A4}"/>
                  </a:ext>
                </a:extLst>
              </p:cNvPr>
              <p:cNvSpPr/>
              <p:nvPr/>
            </p:nvSpPr>
            <p:spPr>
              <a:xfrm>
                <a:off x="7878537" y="2756957"/>
                <a:ext cx="259760" cy="188016"/>
              </a:xfrm>
              <a:custGeom>
                <a:avLst/>
                <a:gdLst>
                  <a:gd name="connsiteX0" fmla="*/ 131874 w 259760"/>
                  <a:gd name="connsiteY0" fmla="*/ 188016 h 188016"/>
                  <a:gd name="connsiteX1" fmla="*/ 131874 w 259760"/>
                  <a:gd name="connsiteY1" fmla="*/ 188016 h 188016"/>
                  <a:gd name="connsiteX2" fmla="*/ 1706 w 259760"/>
                  <a:gd name="connsiteY2" fmla="*/ 147060 h 188016"/>
                  <a:gd name="connsiteX3" fmla="*/ 0 w 259760"/>
                  <a:gd name="connsiteY3" fmla="*/ 143323 h 188016"/>
                  <a:gd name="connsiteX4" fmla="*/ 0 w 259760"/>
                  <a:gd name="connsiteY4" fmla="*/ 75429 h 188016"/>
                  <a:gd name="connsiteX5" fmla="*/ 93877 w 259760"/>
                  <a:gd name="connsiteY5" fmla="*/ 62 h 188016"/>
                  <a:gd name="connsiteX6" fmla="*/ 99571 w 259760"/>
                  <a:gd name="connsiteY6" fmla="*/ 4175 h 188016"/>
                  <a:gd name="connsiteX7" fmla="*/ 95457 w 259760"/>
                  <a:gd name="connsiteY7" fmla="*/ 9868 h 188016"/>
                  <a:gd name="connsiteX8" fmla="*/ 9932 w 259760"/>
                  <a:gd name="connsiteY8" fmla="*/ 75429 h 188016"/>
                  <a:gd name="connsiteX9" fmla="*/ 9932 w 259760"/>
                  <a:gd name="connsiteY9" fmla="*/ 140965 h 188016"/>
                  <a:gd name="connsiteX10" fmla="*/ 131824 w 259760"/>
                  <a:gd name="connsiteY10" fmla="*/ 178110 h 188016"/>
                  <a:gd name="connsiteX11" fmla="*/ 131849 w 259760"/>
                  <a:gd name="connsiteY11" fmla="*/ 178110 h 188016"/>
                  <a:gd name="connsiteX12" fmla="*/ 249829 w 259760"/>
                  <a:gd name="connsiteY12" fmla="*/ 141116 h 188016"/>
                  <a:gd name="connsiteX13" fmla="*/ 249829 w 259760"/>
                  <a:gd name="connsiteY13" fmla="*/ 75454 h 188016"/>
                  <a:gd name="connsiteX14" fmla="*/ 166385 w 259760"/>
                  <a:gd name="connsiteY14" fmla="*/ 10244 h 188016"/>
                  <a:gd name="connsiteX15" fmla="*/ 162347 w 259760"/>
                  <a:gd name="connsiteY15" fmla="*/ 4501 h 188016"/>
                  <a:gd name="connsiteX16" fmla="*/ 168091 w 259760"/>
                  <a:gd name="connsiteY16" fmla="*/ 463 h 188016"/>
                  <a:gd name="connsiteX17" fmla="*/ 259761 w 259760"/>
                  <a:gd name="connsiteY17" fmla="*/ 75454 h 188016"/>
                  <a:gd name="connsiteX18" fmla="*/ 259761 w 259760"/>
                  <a:gd name="connsiteY18" fmla="*/ 143348 h 188016"/>
                  <a:gd name="connsiteX19" fmla="*/ 258231 w 259760"/>
                  <a:gd name="connsiteY19" fmla="*/ 146934 h 188016"/>
                  <a:gd name="connsiteX20" fmla="*/ 131874 w 259760"/>
                  <a:gd name="connsiteY20" fmla="*/ 188016 h 18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9760" h="188016">
                    <a:moveTo>
                      <a:pt x="131874" y="188016"/>
                    </a:moveTo>
                    <a:cubicBezTo>
                      <a:pt x="131874" y="188016"/>
                      <a:pt x="131849" y="188016"/>
                      <a:pt x="131874" y="188016"/>
                    </a:cubicBezTo>
                    <a:cubicBezTo>
                      <a:pt x="49484" y="188016"/>
                      <a:pt x="3637" y="148740"/>
                      <a:pt x="1706" y="147060"/>
                    </a:cubicBezTo>
                    <a:cubicBezTo>
                      <a:pt x="627" y="146107"/>
                      <a:pt x="0" y="144752"/>
                      <a:pt x="0" y="143323"/>
                    </a:cubicBezTo>
                    <a:lnTo>
                      <a:pt x="0" y="75429"/>
                    </a:lnTo>
                    <a:cubicBezTo>
                      <a:pt x="0" y="38912"/>
                      <a:pt x="36844" y="9341"/>
                      <a:pt x="93877" y="62"/>
                    </a:cubicBezTo>
                    <a:cubicBezTo>
                      <a:pt x="96611" y="-365"/>
                      <a:pt x="99144" y="1466"/>
                      <a:pt x="99571" y="4175"/>
                    </a:cubicBezTo>
                    <a:cubicBezTo>
                      <a:pt x="100022" y="6884"/>
                      <a:pt x="98166" y="9442"/>
                      <a:pt x="95457" y="9868"/>
                    </a:cubicBezTo>
                    <a:cubicBezTo>
                      <a:pt x="44293" y="18170"/>
                      <a:pt x="9932" y="44530"/>
                      <a:pt x="9932" y="75429"/>
                    </a:cubicBezTo>
                    <a:lnTo>
                      <a:pt x="9932" y="140965"/>
                    </a:lnTo>
                    <a:cubicBezTo>
                      <a:pt x="18785" y="147812"/>
                      <a:pt x="61924" y="178084"/>
                      <a:pt x="131824" y="178110"/>
                    </a:cubicBezTo>
                    <a:cubicBezTo>
                      <a:pt x="131824" y="178110"/>
                      <a:pt x="131849" y="178110"/>
                      <a:pt x="131849" y="178110"/>
                    </a:cubicBezTo>
                    <a:cubicBezTo>
                      <a:pt x="201925" y="178110"/>
                      <a:pt x="241753" y="147912"/>
                      <a:pt x="249829" y="141116"/>
                    </a:cubicBezTo>
                    <a:lnTo>
                      <a:pt x="249829" y="75454"/>
                    </a:lnTo>
                    <a:cubicBezTo>
                      <a:pt x="249829" y="44630"/>
                      <a:pt x="217074" y="19023"/>
                      <a:pt x="166385" y="10244"/>
                    </a:cubicBezTo>
                    <a:cubicBezTo>
                      <a:pt x="163677" y="9768"/>
                      <a:pt x="161871" y="7210"/>
                      <a:pt x="162347" y="4501"/>
                    </a:cubicBezTo>
                    <a:cubicBezTo>
                      <a:pt x="162824" y="1792"/>
                      <a:pt x="165457" y="-14"/>
                      <a:pt x="168091" y="463"/>
                    </a:cubicBezTo>
                    <a:cubicBezTo>
                      <a:pt x="223770" y="10119"/>
                      <a:pt x="259761" y="39564"/>
                      <a:pt x="259761" y="75454"/>
                    </a:cubicBezTo>
                    <a:lnTo>
                      <a:pt x="259761" y="143348"/>
                    </a:lnTo>
                    <a:cubicBezTo>
                      <a:pt x="259761" y="144702"/>
                      <a:pt x="259209" y="146006"/>
                      <a:pt x="258231" y="146934"/>
                    </a:cubicBezTo>
                    <a:cubicBezTo>
                      <a:pt x="256500" y="148590"/>
                      <a:pt x="214365" y="188016"/>
                      <a:pt x="131874" y="188016"/>
                    </a:cubicBezTo>
                    <a:close/>
                  </a:path>
                </a:pathLst>
              </a:custGeom>
              <a:grpFill/>
              <a:ln w="2503" cap="flat">
                <a:noFill/>
                <a:prstDash val="solid"/>
                <a:miter/>
              </a:ln>
            </p:spPr>
            <p:txBody>
              <a:bodyPr rtlCol="0" anchor="ctr"/>
              <a:lstStyle/>
              <a:p>
                <a:endParaRPr lang="en-GB" dirty="0"/>
              </a:p>
            </p:txBody>
          </p:sp>
          <p:grpSp>
            <p:nvGrpSpPr>
              <p:cNvPr id="490" name="Grafik 16">
                <a:extLst>
                  <a:ext uri="{FF2B5EF4-FFF2-40B4-BE49-F238E27FC236}">
                    <a16:creationId xmlns:a16="http://schemas.microsoft.com/office/drawing/2014/main" id="{15C1ADF7-405C-43DA-8C67-511217C4C5C4}"/>
                  </a:ext>
                </a:extLst>
              </p:cNvPr>
              <p:cNvGrpSpPr/>
              <p:nvPr/>
            </p:nvGrpSpPr>
            <p:grpSpPr>
              <a:xfrm>
                <a:off x="7930529" y="2604905"/>
                <a:ext cx="155751" cy="22522"/>
                <a:chOff x="7930529" y="2604905"/>
                <a:chExt cx="155751" cy="22522"/>
              </a:xfrm>
              <a:grpFill/>
            </p:grpSpPr>
            <p:sp>
              <p:nvSpPr>
                <p:cNvPr id="491" name="Freihandform: Form 982">
                  <a:extLst>
                    <a:ext uri="{FF2B5EF4-FFF2-40B4-BE49-F238E27FC236}">
                      <a16:creationId xmlns:a16="http://schemas.microsoft.com/office/drawing/2014/main" id="{878DEDD8-4B08-491A-8083-622C3DA39813}"/>
                    </a:ext>
                  </a:extLst>
                </p:cNvPr>
                <p:cNvSpPr/>
                <p:nvPr/>
              </p:nvSpPr>
              <p:spPr>
                <a:xfrm>
                  <a:off x="8048759" y="2604905"/>
                  <a:ext cx="37520" cy="22522"/>
                </a:xfrm>
                <a:custGeom>
                  <a:avLst/>
                  <a:gdLst>
                    <a:gd name="connsiteX0" fmla="*/ 32555 w 37520"/>
                    <a:gd name="connsiteY0" fmla="*/ 22522 h 22522"/>
                    <a:gd name="connsiteX1" fmla="*/ 27589 w 37520"/>
                    <a:gd name="connsiteY1" fmla="*/ 17556 h 22522"/>
                    <a:gd name="connsiteX2" fmla="*/ 18760 w 37520"/>
                    <a:gd name="connsiteY2" fmla="*/ 9932 h 22522"/>
                    <a:gd name="connsiteX3" fmla="*/ 9932 w 37520"/>
                    <a:gd name="connsiteY3" fmla="*/ 17556 h 22522"/>
                    <a:gd name="connsiteX4" fmla="*/ 4966 w 37520"/>
                    <a:gd name="connsiteY4" fmla="*/ 22522 h 22522"/>
                    <a:gd name="connsiteX5" fmla="*/ 0 w 37520"/>
                    <a:gd name="connsiteY5" fmla="*/ 17556 h 22522"/>
                    <a:gd name="connsiteX6" fmla="*/ 18760 w 37520"/>
                    <a:gd name="connsiteY6" fmla="*/ 0 h 22522"/>
                    <a:gd name="connsiteX7" fmla="*/ 37521 w 37520"/>
                    <a:gd name="connsiteY7" fmla="*/ 17556 h 22522"/>
                    <a:gd name="connsiteX8" fmla="*/ 32555 w 37520"/>
                    <a:gd name="connsiteY8" fmla="*/ 22522 h 2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20" h="22522">
                      <a:moveTo>
                        <a:pt x="32555" y="22522"/>
                      </a:moveTo>
                      <a:cubicBezTo>
                        <a:pt x="29821" y="22522"/>
                        <a:pt x="27589" y="20290"/>
                        <a:pt x="27589" y="17556"/>
                      </a:cubicBezTo>
                      <a:cubicBezTo>
                        <a:pt x="27589" y="13343"/>
                        <a:pt x="23626" y="9932"/>
                        <a:pt x="18760" y="9932"/>
                      </a:cubicBezTo>
                      <a:cubicBezTo>
                        <a:pt x="13895" y="9932"/>
                        <a:pt x="9932" y="13343"/>
                        <a:pt x="9932" y="17556"/>
                      </a:cubicBezTo>
                      <a:cubicBezTo>
                        <a:pt x="9932" y="20290"/>
                        <a:pt x="7700" y="22522"/>
                        <a:pt x="4966" y="22522"/>
                      </a:cubicBezTo>
                      <a:cubicBezTo>
                        <a:pt x="2232" y="22522"/>
                        <a:pt x="0" y="20290"/>
                        <a:pt x="0" y="17556"/>
                      </a:cubicBezTo>
                      <a:cubicBezTo>
                        <a:pt x="0" y="7875"/>
                        <a:pt x="8402" y="0"/>
                        <a:pt x="18760" y="0"/>
                      </a:cubicBezTo>
                      <a:cubicBezTo>
                        <a:pt x="29094" y="0"/>
                        <a:pt x="37521" y="7875"/>
                        <a:pt x="37521" y="17556"/>
                      </a:cubicBezTo>
                      <a:cubicBezTo>
                        <a:pt x="37521" y="20290"/>
                        <a:pt x="35289" y="22522"/>
                        <a:pt x="32555" y="22522"/>
                      </a:cubicBezTo>
                      <a:close/>
                    </a:path>
                  </a:pathLst>
                </a:custGeom>
                <a:grpFill/>
                <a:ln w="2503" cap="flat">
                  <a:noFill/>
                  <a:prstDash val="solid"/>
                  <a:miter/>
                </a:ln>
              </p:spPr>
              <p:txBody>
                <a:bodyPr rtlCol="0" anchor="ctr"/>
                <a:lstStyle/>
                <a:p>
                  <a:endParaRPr lang="en-GB" dirty="0"/>
                </a:p>
              </p:txBody>
            </p:sp>
            <p:sp>
              <p:nvSpPr>
                <p:cNvPr id="492" name="Freihandform: Form 983">
                  <a:extLst>
                    <a:ext uri="{FF2B5EF4-FFF2-40B4-BE49-F238E27FC236}">
                      <a16:creationId xmlns:a16="http://schemas.microsoft.com/office/drawing/2014/main" id="{446E4020-E051-428D-84AE-401FB7644522}"/>
                    </a:ext>
                  </a:extLst>
                </p:cNvPr>
                <p:cNvSpPr/>
                <p:nvPr/>
              </p:nvSpPr>
              <p:spPr>
                <a:xfrm>
                  <a:off x="7930529" y="2604905"/>
                  <a:ext cx="37520" cy="22522"/>
                </a:xfrm>
                <a:custGeom>
                  <a:avLst/>
                  <a:gdLst>
                    <a:gd name="connsiteX0" fmla="*/ 32555 w 37520"/>
                    <a:gd name="connsiteY0" fmla="*/ 22522 h 22522"/>
                    <a:gd name="connsiteX1" fmla="*/ 27589 w 37520"/>
                    <a:gd name="connsiteY1" fmla="*/ 17556 h 22522"/>
                    <a:gd name="connsiteX2" fmla="*/ 18761 w 37520"/>
                    <a:gd name="connsiteY2" fmla="*/ 9932 h 22522"/>
                    <a:gd name="connsiteX3" fmla="*/ 9932 w 37520"/>
                    <a:gd name="connsiteY3" fmla="*/ 17556 h 22522"/>
                    <a:gd name="connsiteX4" fmla="*/ 4966 w 37520"/>
                    <a:gd name="connsiteY4" fmla="*/ 22522 h 22522"/>
                    <a:gd name="connsiteX5" fmla="*/ 0 w 37520"/>
                    <a:gd name="connsiteY5" fmla="*/ 17556 h 22522"/>
                    <a:gd name="connsiteX6" fmla="*/ 18761 w 37520"/>
                    <a:gd name="connsiteY6" fmla="*/ 0 h 22522"/>
                    <a:gd name="connsiteX7" fmla="*/ 37521 w 37520"/>
                    <a:gd name="connsiteY7" fmla="*/ 17556 h 22522"/>
                    <a:gd name="connsiteX8" fmla="*/ 32555 w 37520"/>
                    <a:gd name="connsiteY8" fmla="*/ 22522 h 2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520" h="22522">
                      <a:moveTo>
                        <a:pt x="32555" y="22522"/>
                      </a:moveTo>
                      <a:cubicBezTo>
                        <a:pt x="29821" y="22522"/>
                        <a:pt x="27589" y="20290"/>
                        <a:pt x="27589" y="17556"/>
                      </a:cubicBezTo>
                      <a:cubicBezTo>
                        <a:pt x="27589" y="13418"/>
                        <a:pt x="23551" y="9932"/>
                        <a:pt x="18761" y="9932"/>
                      </a:cubicBezTo>
                      <a:cubicBezTo>
                        <a:pt x="13895" y="9932"/>
                        <a:pt x="9932" y="13343"/>
                        <a:pt x="9932" y="17556"/>
                      </a:cubicBezTo>
                      <a:cubicBezTo>
                        <a:pt x="9932" y="20290"/>
                        <a:pt x="7700" y="22522"/>
                        <a:pt x="4966" y="22522"/>
                      </a:cubicBezTo>
                      <a:cubicBezTo>
                        <a:pt x="2232" y="22522"/>
                        <a:pt x="0" y="20290"/>
                        <a:pt x="0" y="17556"/>
                      </a:cubicBezTo>
                      <a:cubicBezTo>
                        <a:pt x="0" y="7875"/>
                        <a:pt x="8402" y="0"/>
                        <a:pt x="18761" y="0"/>
                      </a:cubicBezTo>
                      <a:cubicBezTo>
                        <a:pt x="29094" y="0"/>
                        <a:pt x="37521" y="7875"/>
                        <a:pt x="37521" y="17556"/>
                      </a:cubicBezTo>
                      <a:cubicBezTo>
                        <a:pt x="37521" y="20290"/>
                        <a:pt x="35289" y="22522"/>
                        <a:pt x="32555" y="22522"/>
                      </a:cubicBezTo>
                      <a:close/>
                    </a:path>
                  </a:pathLst>
                </a:custGeom>
                <a:grpFill/>
                <a:ln w="2503" cap="flat">
                  <a:noFill/>
                  <a:prstDash val="solid"/>
                  <a:miter/>
                </a:ln>
              </p:spPr>
              <p:txBody>
                <a:bodyPr rtlCol="0" anchor="ctr"/>
                <a:lstStyle/>
                <a:p>
                  <a:endParaRPr lang="en-GB" dirty="0"/>
                </a:p>
              </p:txBody>
            </p:sp>
          </p:grpSp>
        </p:grpSp>
        <p:grpSp>
          <p:nvGrpSpPr>
            <p:cNvPr id="475" name="Group 474">
              <a:extLst>
                <a:ext uri="{FF2B5EF4-FFF2-40B4-BE49-F238E27FC236}">
                  <a16:creationId xmlns:a16="http://schemas.microsoft.com/office/drawing/2014/main" id="{E35390DE-F009-4A89-936D-937132AD2E06}"/>
                </a:ext>
              </a:extLst>
            </p:cNvPr>
            <p:cNvGrpSpPr/>
            <p:nvPr/>
          </p:nvGrpSpPr>
          <p:grpSpPr>
            <a:xfrm>
              <a:off x="5068767" y="1585984"/>
              <a:ext cx="288179" cy="288179"/>
              <a:chOff x="7827698" y="2403080"/>
              <a:chExt cx="361487" cy="361487"/>
            </a:xfrm>
          </p:grpSpPr>
          <p:sp>
            <p:nvSpPr>
              <p:cNvPr id="476" name="Freihandform: Form 985">
                <a:extLst>
                  <a:ext uri="{FF2B5EF4-FFF2-40B4-BE49-F238E27FC236}">
                    <a16:creationId xmlns:a16="http://schemas.microsoft.com/office/drawing/2014/main" id="{0134B3E9-497F-4F7C-886D-8E0A07BFB270}"/>
                  </a:ext>
                </a:extLst>
              </p:cNvPr>
              <p:cNvSpPr/>
              <p:nvPr/>
            </p:nvSpPr>
            <p:spPr>
              <a:xfrm>
                <a:off x="8061475" y="2403080"/>
                <a:ext cx="127710" cy="124826"/>
              </a:xfrm>
              <a:custGeom>
                <a:avLst/>
                <a:gdLst>
                  <a:gd name="connsiteX0" fmla="*/ 122745 w 127710"/>
                  <a:gd name="connsiteY0" fmla="*/ 124827 h 124826"/>
                  <a:gd name="connsiteX1" fmla="*/ 117779 w 127710"/>
                  <a:gd name="connsiteY1" fmla="*/ 119861 h 124826"/>
                  <a:gd name="connsiteX2" fmla="*/ 117779 w 127710"/>
                  <a:gd name="connsiteY2" fmla="*/ 41032 h 124826"/>
                  <a:gd name="connsiteX3" fmla="*/ 86679 w 127710"/>
                  <a:gd name="connsiteY3" fmla="*/ 9932 h 124826"/>
                  <a:gd name="connsiteX4" fmla="*/ 4966 w 127710"/>
                  <a:gd name="connsiteY4" fmla="*/ 9932 h 124826"/>
                  <a:gd name="connsiteX5" fmla="*/ 0 w 127710"/>
                  <a:gd name="connsiteY5" fmla="*/ 4966 h 124826"/>
                  <a:gd name="connsiteX6" fmla="*/ 4966 w 127710"/>
                  <a:gd name="connsiteY6" fmla="*/ 0 h 124826"/>
                  <a:gd name="connsiteX7" fmla="*/ 86679 w 127710"/>
                  <a:gd name="connsiteY7" fmla="*/ 0 h 124826"/>
                  <a:gd name="connsiteX8" fmla="*/ 127711 w 127710"/>
                  <a:gd name="connsiteY8" fmla="*/ 41032 h 124826"/>
                  <a:gd name="connsiteX9" fmla="*/ 127711 w 127710"/>
                  <a:gd name="connsiteY9" fmla="*/ 119861 h 124826"/>
                  <a:gd name="connsiteX10" fmla="*/ 122745 w 127710"/>
                  <a:gd name="connsiteY10" fmla="*/ 124827 h 12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710" h="124826">
                    <a:moveTo>
                      <a:pt x="122745" y="124827"/>
                    </a:moveTo>
                    <a:cubicBezTo>
                      <a:pt x="120011" y="124827"/>
                      <a:pt x="117779" y="122594"/>
                      <a:pt x="117779" y="119861"/>
                    </a:cubicBezTo>
                    <a:lnTo>
                      <a:pt x="117779" y="41032"/>
                    </a:lnTo>
                    <a:cubicBezTo>
                      <a:pt x="117779" y="23877"/>
                      <a:pt x="103834" y="9932"/>
                      <a:pt x="86679" y="9932"/>
                    </a:cubicBezTo>
                    <a:lnTo>
                      <a:pt x="4966" y="9932"/>
                    </a:lnTo>
                    <a:cubicBezTo>
                      <a:pt x="2232" y="9932"/>
                      <a:pt x="0" y="7700"/>
                      <a:pt x="0" y="4966"/>
                    </a:cubicBezTo>
                    <a:cubicBezTo>
                      <a:pt x="0" y="2232"/>
                      <a:pt x="2232" y="0"/>
                      <a:pt x="4966" y="0"/>
                    </a:cubicBezTo>
                    <a:lnTo>
                      <a:pt x="86679" y="0"/>
                    </a:lnTo>
                    <a:cubicBezTo>
                      <a:pt x="109302" y="0"/>
                      <a:pt x="127711" y="18409"/>
                      <a:pt x="127711" y="41032"/>
                    </a:cubicBezTo>
                    <a:lnTo>
                      <a:pt x="127711" y="119861"/>
                    </a:lnTo>
                    <a:cubicBezTo>
                      <a:pt x="127711" y="122594"/>
                      <a:pt x="125478" y="124827"/>
                      <a:pt x="122745" y="124827"/>
                    </a:cubicBezTo>
                    <a:close/>
                  </a:path>
                </a:pathLst>
              </a:custGeom>
              <a:solidFill>
                <a:schemeClr val="accent1"/>
              </a:solidFill>
              <a:ln w="2503" cap="flat">
                <a:noFill/>
                <a:prstDash val="solid"/>
                <a:miter/>
              </a:ln>
            </p:spPr>
            <p:txBody>
              <a:bodyPr rtlCol="0" anchor="ctr"/>
              <a:lstStyle/>
              <a:p>
                <a:endParaRPr lang="en-GB" dirty="0"/>
              </a:p>
            </p:txBody>
          </p:sp>
          <p:sp>
            <p:nvSpPr>
              <p:cNvPr id="477" name="Freihandform: Form 986">
                <a:extLst>
                  <a:ext uri="{FF2B5EF4-FFF2-40B4-BE49-F238E27FC236}">
                    <a16:creationId xmlns:a16="http://schemas.microsoft.com/office/drawing/2014/main" id="{FC00E263-DC91-4667-A6DA-2E690B0F26E0}"/>
                  </a:ext>
                </a:extLst>
              </p:cNvPr>
              <p:cNvSpPr/>
              <p:nvPr/>
            </p:nvSpPr>
            <p:spPr>
              <a:xfrm>
                <a:off x="8143163" y="2636857"/>
                <a:ext cx="45997" cy="127710"/>
              </a:xfrm>
              <a:custGeom>
                <a:avLst/>
                <a:gdLst>
                  <a:gd name="connsiteX0" fmla="*/ 4966 w 45997"/>
                  <a:gd name="connsiteY0" fmla="*/ 127711 h 127710"/>
                  <a:gd name="connsiteX1" fmla="*/ 0 w 45997"/>
                  <a:gd name="connsiteY1" fmla="*/ 122745 h 127710"/>
                  <a:gd name="connsiteX2" fmla="*/ 4966 w 45997"/>
                  <a:gd name="connsiteY2" fmla="*/ 117779 h 127710"/>
                  <a:gd name="connsiteX3" fmla="*/ 36066 w 45997"/>
                  <a:gd name="connsiteY3" fmla="*/ 86679 h 127710"/>
                  <a:gd name="connsiteX4" fmla="*/ 36066 w 45997"/>
                  <a:gd name="connsiteY4" fmla="*/ 4966 h 127710"/>
                  <a:gd name="connsiteX5" fmla="*/ 41032 w 45997"/>
                  <a:gd name="connsiteY5" fmla="*/ 0 h 127710"/>
                  <a:gd name="connsiteX6" fmla="*/ 45998 w 45997"/>
                  <a:gd name="connsiteY6" fmla="*/ 4966 h 127710"/>
                  <a:gd name="connsiteX7" fmla="*/ 45998 w 45997"/>
                  <a:gd name="connsiteY7" fmla="*/ 86679 h 127710"/>
                  <a:gd name="connsiteX8" fmla="*/ 4966 w 45997"/>
                  <a:gd name="connsiteY8" fmla="*/ 127711 h 127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97" h="127710">
                    <a:moveTo>
                      <a:pt x="4966" y="127711"/>
                    </a:moveTo>
                    <a:cubicBezTo>
                      <a:pt x="2232" y="127711"/>
                      <a:pt x="0" y="125479"/>
                      <a:pt x="0" y="122745"/>
                    </a:cubicBezTo>
                    <a:cubicBezTo>
                      <a:pt x="0" y="120011"/>
                      <a:pt x="2232" y="117779"/>
                      <a:pt x="4966" y="117779"/>
                    </a:cubicBezTo>
                    <a:cubicBezTo>
                      <a:pt x="22121" y="117779"/>
                      <a:pt x="36066" y="103834"/>
                      <a:pt x="36066" y="86679"/>
                    </a:cubicBezTo>
                    <a:lnTo>
                      <a:pt x="36066" y="4966"/>
                    </a:lnTo>
                    <a:cubicBezTo>
                      <a:pt x="36066" y="2232"/>
                      <a:pt x="38298" y="0"/>
                      <a:pt x="41032" y="0"/>
                    </a:cubicBezTo>
                    <a:cubicBezTo>
                      <a:pt x="43766" y="0"/>
                      <a:pt x="45998" y="2232"/>
                      <a:pt x="45998" y="4966"/>
                    </a:cubicBezTo>
                    <a:lnTo>
                      <a:pt x="45998" y="86679"/>
                    </a:lnTo>
                    <a:cubicBezTo>
                      <a:pt x="46023" y="109302"/>
                      <a:pt x="27614" y="127711"/>
                      <a:pt x="4966" y="127711"/>
                    </a:cubicBezTo>
                    <a:close/>
                  </a:path>
                </a:pathLst>
              </a:custGeom>
              <a:solidFill>
                <a:schemeClr val="accent1"/>
              </a:solidFill>
              <a:ln w="2503" cap="flat">
                <a:noFill/>
                <a:prstDash val="solid"/>
                <a:miter/>
              </a:ln>
            </p:spPr>
            <p:txBody>
              <a:bodyPr rtlCol="0" anchor="ctr"/>
              <a:lstStyle/>
              <a:p>
                <a:endParaRPr lang="en-GB" dirty="0"/>
              </a:p>
            </p:txBody>
          </p:sp>
          <p:sp>
            <p:nvSpPr>
              <p:cNvPr id="478" name="Freihandform: Form 987">
                <a:extLst>
                  <a:ext uri="{FF2B5EF4-FFF2-40B4-BE49-F238E27FC236}">
                    <a16:creationId xmlns:a16="http://schemas.microsoft.com/office/drawing/2014/main" id="{44CDCD44-F627-4F6E-8553-5ED6CDDFAE3F}"/>
                  </a:ext>
                </a:extLst>
              </p:cNvPr>
              <p:cNvSpPr/>
              <p:nvPr/>
            </p:nvSpPr>
            <p:spPr>
              <a:xfrm>
                <a:off x="7827698" y="2636857"/>
                <a:ext cx="45998" cy="127710"/>
              </a:xfrm>
              <a:custGeom>
                <a:avLst/>
                <a:gdLst>
                  <a:gd name="connsiteX0" fmla="*/ 41032 w 45998"/>
                  <a:gd name="connsiteY0" fmla="*/ 127711 h 127710"/>
                  <a:gd name="connsiteX1" fmla="*/ 0 w 45998"/>
                  <a:gd name="connsiteY1" fmla="*/ 86679 h 127710"/>
                  <a:gd name="connsiteX2" fmla="*/ 0 w 45998"/>
                  <a:gd name="connsiteY2" fmla="*/ 4966 h 127710"/>
                  <a:gd name="connsiteX3" fmla="*/ 4966 w 45998"/>
                  <a:gd name="connsiteY3" fmla="*/ 0 h 127710"/>
                  <a:gd name="connsiteX4" fmla="*/ 9932 w 45998"/>
                  <a:gd name="connsiteY4" fmla="*/ 4966 h 127710"/>
                  <a:gd name="connsiteX5" fmla="*/ 9932 w 45998"/>
                  <a:gd name="connsiteY5" fmla="*/ 86679 h 127710"/>
                  <a:gd name="connsiteX6" fmla="*/ 41032 w 45998"/>
                  <a:gd name="connsiteY6" fmla="*/ 117779 h 127710"/>
                  <a:gd name="connsiteX7" fmla="*/ 45998 w 45998"/>
                  <a:gd name="connsiteY7" fmla="*/ 122745 h 127710"/>
                  <a:gd name="connsiteX8" fmla="*/ 41032 w 45998"/>
                  <a:gd name="connsiteY8" fmla="*/ 127711 h 127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998" h="127710">
                    <a:moveTo>
                      <a:pt x="41032" y="127711"/>
                    </a:moveTo>
                    <a:cubicBezTo>
                      <a:pt x="18409" y="127711"/>
                      <a:pt x="0" y="109302"/>
                      <a:pt x="0" y="86679"/>
                    </a:cubicBezTo>
                    <a:lnTo>
                      <a:pt x="0" y="4966"/>
                    </a:lnTo>
                    <a:cubicBezTo>
                      <a:pt x="0" y="2232"/>
                      <a:pt x="2232" y="0"/>
                      <a:pt x="4966" y="0"/>
                    </a:cubicBezTo>
                    <a:cubicBezTo>
                      <a:pt x="7700" y="0"/>
                      <a:pt x="9932" y="2232"/>
                      <a:pt x="9932" y="4966"/>
                    </a:cubicBezTo>
                    <a:lnTo>
                      <a:pt x="9932" y="86679"/>
                    </a:lnTo>
                    <a:cubicBezTo>
                      <a:pt x="9932" y="103834"/>
                      <a:pt x="23877" y="117779"/>
                      <a:pt x="41032" y="117779"/>
                    </a:cubicBezTo>
                    <a:cubicBezTo>
                      <a:pt x="43766" y="117779"/>
                      <a:pt x="45998" y="120011"/>
                      <a:pt x="45998" y="122745"/>
                    </a:cubicBezTo>
                    <a:cubicBezTo>
                      <a:pt x="45998" y="125479"/>
                      <a:pt x="43766" y="127711"/>
                      <a:pt x="41032" y="127711"/>
                    </a:cubicBezTo>
                    <a:close/>
                  </a:path>
                </a:pathLst>
              </a:custGeom>
              <a:solidFill>
                <a:schemeClr val="accent1"/>
              </a:solidFill>
              <a:ln w="2503" cap="flat">
                <a:noFill/>
                <a:prstDash val="solid"/>
                <a:miter/>
              </a:ln>
            </p:spPr>
            <p:txBody>
              <a:bodyPr rtlCol="0" anchor="ctr"/>
              <a:lstStyle/>
              <a:p>
                <a:endParaRPr lang="en-GB" dirty="0"/>
              </a:p>
            </p:txBody>
          </p:sp>
          <p:sp>
            <p:nvSpPr>
              <p:cNvPr id="479" name="Freihandform: Form 988">
                <a:extLst>
                  <a:ext uri="{FF2B5EF4-FFF2-40B4-BE49-F238E27FC236}">
                    <a16:creationId xmlns:a16="http://schemas.microsoft.com/office/drawing/2014/main" id="{0B287838-9621-4E1F-BA4C-BC0DEC94151D}"/>
                  </a:ext>
                </a:extLst>
              </p:cNvPr>
              <p:cNvSpPr/>
              <p:nvPr/>
            </p:nvSpPr>
            <p:spPr>
              <a:xfrm>
                <a:off x="7827698" y="2403080"/>
                <a:ext cx="124801" cy="124826"/>
              </a:xfrm>
              <a:custGeom>
                <a:avLst/>
                <a:gdLst>
                  <a:gd name="connsiteX0" fmla="*/ 4966 w 124801"/>
                  <a:gd name="connsiteY0" fmla="*/ 124827 h 124826"/>
                  <a:gd name="connsiteX1" fmla="*/ 0 w 124801"/>
                  <a:gd name="connsiteY1" fmla="*/ 119861 h 124826"/>
                  <a:gd name="connsiteX2" fmla="*/ 0 w 124801"/>
                  <a:gd name="connsiteY2" fmla="*/ 41032 h 124826"/>
                  <a:gd name="connsiteX3" fmla="*/ 41032 w 124801"/>
                  <a:gd name="connsiteY3" fmla="*/ 0 h 124826"/>
                  <a:gd name="connsiteX4" fmla="*/ 119836 w 124801"/>
                  <a:gd name="connsiteY4" fmla="*/ 0 h 124826"/>
                  <a:gd name="connsiteX5" fmla="*/ 124802 w 124801"/>
                  <a:gd name="connsiteY5" fmla="*/ 4966 h 124826"/>
                  <a:gd name="connsiteX6" fmla="*/ 119836 w 124801"/>
                  <a:gd name="connsiteY6" fmla="*/ 9932 h 124826"/>
                  <a:gd name="connsiteX7" fmla="*/ 41032 w 124801"/>
                  <a:gd name="connsiteY7" fmla="*/ 9932 h 124826"/>
                  <a:gd name="connsiteX8" fmla="*/ 9932 w 124801"/>
                  <a:gd name="connsiteY8" fmla="*/ 41032 h 124826"/>
                  <a:gd name="connsiteX9" fmla="*/ 9932 w 124801"/>
                  <a:gd name="connsiteY9" fmla="*/ 119861 h 124826"/>
                  <a:gd name="connsiteX10" fmla="*/ 4966 w 124801"/>
                  <a:gd name="connsiteY10" fmla="*/ 124827 h 124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801" h="124826">
                    <a:moveTo>
                      <a:pt x="4966" y="124827"/>
                    </a:moveTo>
                    <a:cubicBezTo>
                      <a:pt x="2232" y="124827"/>
                      <a:pt x="0" y="122594"/>
                      <a:pt x="0" y="119861"/>
                    </a:cubicBezTo>
                    <a:lnTo>
                      <a:pt x="0" y="41032"/>
                    </a:lnTo>
                    <a:cubicBezTo>
                      <a:pt x="0" y="18409"/>
                      <a:pt x="18409" y="0"/>
                      <a:pt x="41032" y="0"/>
                    </a:cubicBezTo>
                    <a:lnTo>
                      <a:pt x="119836" y="0"/>
                    </a:lnTo>
                    <a:cubicBezTo>
                      <a:pt x="122569" y="0"/>
                      <a:pt x="124802" y="2232"/>
                      <a:pt x="124802" y="4966"/>
                    </a:cubicBezTo>
                    <a:cubicBezTo>
                      <a:pt x="124802" y="7700"/>
                      <a:pt x="122569" y="9932"/>
                      <a:pt x="119836" y="9932"/>
                    </a:cubicBezTo>
                    <a:lnTo>
                      <a:pt x="41032" y="9932"/>
                    </a:lnTo>
                    <a:cubicBezTo>
                      <a:pt x="23877" y="9932"/>
                      <a:pt x="9932" y="23877"/>
                      <a:pt x="9932" y="41032"/>
                    </a:cubicBezTo>
                    <a:lnTo>
                      <a:pt x="9932" y="119861"/>
                    </a:lnTo>
                    <a:cubicBezTo>
                      <a:pt x="9932" y="122594"/>
                      <a:pt x="7725" y="124827"/>
                      <a:pt x="4966" y="124827"/>
                    </a:cubicBezTo>
                    <a:close/>
                  </a:path>
                </a:pathLst>
              </a:custGeom>
              <a:solidFill>
                <a:schemeClr val="accent1"/>
              </a:solidFill>
              <a:ln w="2503" cap="flat">
                <a:noFill/>
                <a:prstDash val="solid"/>
                <a:miter/>
              </a:ln>
            </p:spPr>
            <p:txBody>
              <a:bodyPr rtlCol="0" anchor="ctr"/>
              <a:lstStyle/>
              <a:p>
                <a:endParaRPr lang="en-GB" dirty="0"/>
              </a:p>
            </p:txBody>
          </p:sp>
        </p:grpSp>
      </p:grpSp>
      <p:grpSp>
        <p:nvGrpSpPr>
          <p:cNvPr id="43" name="Group 42">
            <a:extLst>
              <a:ext uri="{FF2B5EF4-FFF2-40B4-BE49-F238E27FC236}">
                <a16:creationId xmlns:a16="http://schemas.microsoft.com/office/drawing/2014/main" id="{4B187E3A-AA25-4E85-817C-A2430A5D3349}"/>
              </a:ext>
            </a:extLst>
          </p:cNvPr>
          <p:cNvGrpSpPr/>
          <p:nvPr/>
        </p:nvGrpSpPr>
        <p:grpSpPr>
          <a:xfrm>
            <a:off x="5978293" y="1585984"/>
            <a:ext cx="556217" cy="432000"/>
            <a:chOff x="5977881" y="1585984"/>
            <a:chExt cx="556217" cy="432000"/>
          </a:xfrm>
        </p:grpSpPr>
        <p:grpSp>
          <p:nvGrpSpPr>
            <p:cNvPr id="496" name="Group 495">
              <a:extLst>
                <a:ext uri="{FF2B5EF4-FFF2-40B4-BE49-F238E27FC236}">
                  <a16:creationId xmlns:a16="http://schemas.microsoft.com/office/drawing/2014/main" id="{EB72E1C1-76A9-46BC-BFAF-6F36D1516060}"/>
                </a:ext>
              </a:extLst>
            </p:cNvPr>
            <p:cNvGrpSpPr/>
            <p:nvPr/>
          </p:nvGrpSpPr>
          <p:grpSpPr>
            <a:xfrm>
              <a:off x="6132575" y="1585984"/>
              <a:ext cx="246597" cy="283716"/>
              <a:chOff x="5403599" y="3366631"/>
              <a:chExt cx="257929" cy="296754"/>
            </a:xfrm>
          </p:grpSpPr>
          <p:sp>
            <p:nvSpPr>
              <p:cNvPr id="503" name="Freihandform: Form 991">
                <a:extLst>
                  <a:ext uri="{FF2B5EF4-FFF2-40B4-BE49-F238E27FC236}">
                    <a16:creationId xmlns:a16="http://schemas.microsoft.com/office/drawing/2014/main" id="{982DAC93-E525-4C1C-808A-C23848DA95EB}"/>
                  </a:ext>
                </a:extLst>
              </p:cNvPr>
              <p:cNvSpPr/>
              <p:nvPr/>
            </p:nvSpPr>
            <p:spPr>
              <a:xfrm>
                <a:off x="5436856" y="3597649"/>
                <a:ext cx="191415" cy="9932"/>
              </a:xfrm>
              <a:custGeom>
                <a:avLst/>
                <a:gdLst>
                  <a:gd name="connsiteX0" fmla="*/ 186450 w 191415"/>
                  <a:gd name="connsiteY0" fmla="*/ 9932 h 9932"/>
                  <a:gd name="connsiteX1" fmla="*/ 4966 w 191415"/>
                  <a:gd name="connsiteY1" fmla="*/ 9932 h 9932"/>
                  <a:gd name="connsiteX2" fmla="*/ 0 w 191415"/>
                  <a:gd name="connsiteY2" fmla="*/ 4966 h 9932"/>
                  <a:gd name="connsiteX3" fmla="*/ 4966 w 191415"/>
                  <a:gd name="connsiteY3" fmla="*/ 0 h 9932"/>
                  <a:gd name="connsiteX4" fmla="*/ 186450 w 191415"/>
                  <a:gd name="connsiteY4" fmla="*/ 0 h 9932"/>
                  <a:gd name="connsiteX5" fmla="*/ 191416 w 191415"/>
                  <a:gd name="connsiteY5" fmla="*/ 4966 h 9932"/>
                  <a:gd name="connsiteX6" fmla="*/ 186450 w 191415"/>
                  <a:gd name="connsiteY6" fmla="*/ 9932 h 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415" h="9932">
                    <a:moveTo>
                      <a:pt x="186450" y="9932"/>
                    </a:moveTo>
                    <a:lnTo>
                      <a:pt x="4966" y="9932"/>
                    </a:lnTo>
                    <a:cubicBezTo>
                      <a:pt x="2232" y="9932"/>
                      <a:pt x="0" y="7700"/>
                      <a:pt x="0" y="4966"/>
                    </a:cubicBezTo>
                    <a:cubicBezTo>
                      <a:pt x="0" y="2232"/>
                      <a:pt x="2232" y="0"/>
                      <a:pt x="4966" y="0"/>
                    </a:cubicBezTo>
                    <a:lnTo>
                      <a:pt x="186450" y="0"/>
                    </a:lnTo>
                    <a:cubicBezTo>
                      <a:pt x="189184" y="0"/>
                      <a:pt x="191416" y="2232"/>
                      <a:pt x="191416" y="4966"/>
                    </a:cubicBezTo>
                    <a:cubicBezTo>
                      <a:pt x="191416" y="7725"/>
                      <a:pt x="189209" y="9932"/>
                      <a:pt x="186450" y="9932"/>
                    </a:cubicBezTo>
                    <a:close/>
                  </a:path>
                </a:pathLst>
              </a:custGeom>
              <a:solidFill>
                <a:schemeClr val="accent1"/>
              </a:solidFill>
              <a:ln w="2503" cap="flat">
                <a:noFill/>
                <a:prstDash val="solid"/>
                <a:miter/>
              </a:ln>
            </p:spPr>
            <p:txBody>
              <a:bodyPr rtlCol="0" anchor="ctr"/>
              <a:lstStyle/>
              <a:p>
                <a:endParaRPr lang="en-GB" dirty="0"/>
              </a:p>
            </p:txBody>
          </p:sp>
          <p:sp>
            <p:nvSpPr>
              <p:cNvPr id="504" name="Freihandform: Form 992">
                <a:extLst>
                  <a:ext uri="{FF2B5EF4-FFF2-40B4-BE49-F238E27FC236}">
                    <a16:creationId xmlns:a16="http://schemas.microsoft.com/office/drawing/2014/main" id="{E77B5D01-099E-4CA0-B8A9-29C7B40AE29E}"/>
                  </a:ext>
                </a:extLst>
              </p:cNvPr>
              <p:cNvSpPr/>
              <p:nvPr/>
            </p:nvSpPr>
            <p:spPr>
              <a:xfrm>
                <a:off x="5403599" y="3366631"/>
                <a:ext cx="257929" cy="296754"/>
              </a:xfrm>
              <a:custGeom>
                <a:avLst/>
                <a:gdLst>
                  <a:gd name="connsiteX0" fmla="*/ 4966 w 257929"/>
                  <a:gd name="connsiteY0" fmla="*/ 296755 h 296754"/>
                  <a:gd name="connsiteX1" fmla="*/ 0 w 257929"/>
                  <a:gd name="connsiteY1" fmla="*/ 291789 h 296754"/>
                  <a:gd name="connsiteX2" fmla="*/ 0 w 257929"/>
                  <a:gd name="connsiteY2" fmla="*/ 4966 h 296754"/>
                  <a:gd name="connsiteX3" fmla="*/ 4966 w 257929"/>
                  <a:gd name="connsiteY3" fmla="*/ 0 h 296754"/>
                  <a:gd name="connsiteX4" fmla="*/ 252964 w 257929"/>
                  <a:gd name="connsiteY4" fmla="*/ 0 h 296754"/>
                  <a:gd name="connsiteX5" fmla="*/ 257930 w 257929"/>
                  <a:gd name="connsiteY5" fmla="*/ 4966 h 296754"/>
                  <a:gd name="connsiteX6" fmla="*/ 257930 w 257929"/>
                  <a:gd name="connsiteY6" fmla="*/ 291137 h 296754"/>
                  <a:gd name="connsiteX7" fmla="*/ 252964 w 257929"/>
                  <a:gd name="connsiteY7" fmla="*/ 296103 h 296754"/>
                  <a:gd name="connsiteX8" fmla="*/ 247998 w 257929"/>
                  <a:gd name="connsiteY8" fmla="*/ 291137 h 296754"/>
                  <a:gd name="connsiteX9" fmla="*/ 247998 w 257929"/>
                  <a:gd name="connsiteY9" fmla="*/ 9932 h 296754"/>
                  <a:gd name="connsiteX10" fmla="*/ 9932 w 257929"/>
                  <a:gd name="connsiteY10" fmla="*/ 9932 h 296754"/>
                  <a:gd name="connsiteX11" fmla="*/ 9932 w 257929"/>
                  <a:gd name="connsiteY11" fmla="*/ 291789 h 296754"/>
                  <a:gd name="connsiteX12" fmla="*/ 4966 w 257929"/>
                  <a:gd name="connsiteY12" fmla="*/ 296755 h 296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7929" h="296754">
                    <a:moveTo>
                      <a:pt x="4966" y="296755"/>
                    </a:moveTo>
                    <a:cubicBezTo>
                      <a:pt x="2232" y="296755"/>
                      <a:pt x="0" y="294523"/>
                      <a:pt x="0" y="291789"/>
                    </a:cubicBezTo>
                    <a:lnTo>
                      <a:pt x="0" y="4966"/>
                    </a:lnTo>
                    <a:cubicBezTo>
                      <a:pt x="0" y="2232"/>
                      <a:pt x="2232" y="0"/>
                      <a:pt x="4966" y="0"/>
                    </a:cubicBezTo>
                    <a:lnTo>
                      <a:pt x="252964" y="0"/>
                    </a:lnTo>
                    <a:cubicBezTo>
                      <a:pt x="255698" y="0"/>
                      <a:pt x="257930" y="2232"/>
                      <a:pt x="257930" y="4966"/>
                    </a:cubicBezTo>
                    <a:lnTo>
                      <a:pt x="257930" y="291137"/>
                    </a:lnTo>
                    <a:cubicBezTo>
                      <a:pt x="257930" y="293870"/>
                      <a:pt x="255698" y="296103"/>
                      <a:pt x="252964" y="296103"/>
                    </a:cubicBezTo>
                    <a:cubicBezTo>
                      <a:pt x="250230" y="296103"/>
                      <a:pt x="247998" y="293870"/>
                      <a:pt x="247998" y="291137"/>
                    </a:cubicBezTo>
                    <a:lnTo>
                      <a:pt x="247998" y="9932"/>
                    </a:lnTo>
                    <a:lnTo>
                      <a:pt x="9932" y="9932"/>
                    </a:lnTo>
                    <a:lnTo>
                      <a:pt x="9932" y="291789"/>
                    </a:lnTo>
                    <a:cubicBezTo>
                      <a:pt x="9932" y="294523"/>
                      <a:pt x="7725" y="296755"/>
                      <a:pt x="4966" y="296755"/>
                    </a:cubicBezTo>
                    <a:close/>
                  </a:path>
                </a:pathLst>
              </a:custGeom>
              <a:solidFill>
                <a:schemeClr val="accent1"/>
              </a:solidFill>
              <a:ln w="2503" cap="flat">
                <a:noFill/>
                <a:prstDash val="solid"/>
                <a:miter/>
              </a:ln>
            </p:spPr>
            <p:txBody>
              <a:bodyPr rtlCol="0" anchor="ctr"/>
              <a:lstStyle/>
              <a:p>
                <a:endParaRPr lang="en-GB" dirty="0"/>
              </a:p>
            </p:txBody>
          </p:sp>
          <p:sp>
            <p:nvSpPr>
              <p:cNvPr id="505" name="Freihandform: Form 993">
                <a:extLst>
                  <a:ext uri="{FF2B5EF4-FFF2-40B4-BE49-F238E27FC236}">
                    <a16:creationId xmlns:a16="http://schemas.microsoft.com/office/drawing/2014/main" id="{A6F1829C-601F-4E3A-A5AB-F238BEF11360}"/>
                  </a:ext>
                </a:extLst>
              </p:cNvPr>
              <p:cNvSpPr/>
              <p:nvPr/>
            </p:nvSpPr>
            <p:spPr>
              <a:xfrm>
                <a:off x="5447691" y="3544453"/>
                <a:ext cx="43038" cy="62902"/>
              </a:xfrm>
              <a:custGeom>
                <a:avLst/>
                <a:gdLst>
                  <a:gd name="connsiteX0" fmla="*/ 38072 w 43038"/>
                  <a:gd name="connsiteY0" fmla="*/ 62902 h 62902"/>
                  <a:gd name="connsiteX1" fmla="*/ 4966 w 43038"/>
                  <a:gd name="connsiteY1" fmla="*/ 62902 h 62902"/>
                  <a:gd name="connsiteX2" fmla="*/ 0 w 43038"/>
                  <a:gd name="connsiteY2" fmla="*/ 57937 h 62902"/>
                  <a:gd name="connsiteX3" fmla="*/ 0 w 43038"/>
                  <a:gd name="connsiteY3" fmla="*/ 4966 h 62902"/>
                  <a:gd name="connsiteX4" fmla="*/ 4966 w 43038"/>
                  <a:gd name="connsiteY4" fmla="*/ 0 h 62902"/>
                  <a:gd name="connsiteX5" fmla="*/ 38072 w 43038"/>
                  <a:gd name="connsiteY5" fmla="*/ 0 h 62902"/>
                  <a:gd name="connsiteX6" fmla="*/ 43038 w 43038"/>
                  <a:gd name="connsiteY6" fmla="*/ 4966 h 62902"/>
                  <a:gd name="connsiteX7" fmla="*/ 43038 w 43038"/>
                  <a:gd name="connsiteY7" fmla="*/ 57937 h 62902"/>
                  <a:gd name="connsiteX8" fmla="*/ 38072 w 43038"/>
                  <a:gd name="connsiteY8" fmla="*/ 62902 h 62902"/>
                  <a:gd name="connsiteX9" fmla="*/ 9932 w 43038"/>
                  <a:gd name="connsiteY9" fmla="*/ 52970 h 62902"/>
                  <a:gd name="connsiteX10" fmla="*/ 33107 w 43038"/>
                  <a:gd name="connsiteY10" fmla="*/ 52970 h 62902"/>
                  <a:gd name="connsiteX11" fmla="*/ 33107 w 43038"/>
                  <a:gd name="connsiteY11" fmla="*/ 9932 h 62902"/>
                  <a:gd name="connsiteX12" fmla="*/ 9932 w 43038"/>
                  <a:gd name="connsiteY12" fmla="*/ 9932 h 62902"/>
                  <a:gd name="connsiteX13" fmla="*/ 9932 w 43038"/>
                  <a:gd name="connsiteY13" fmla="*/ 52970 h 6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038" h="62902">
                    <a:moveTo>
                      <a:pt x="38072" y="62902"/>
                    </a:moveTo>
                    <a:lnTo>
                      <a:pt x="4966" y="62902"/>
                    </a:lnTo>
                    <a:cubicBezTo>
                      <a:pt x="2232" y="62902"/>
                      <a:pt x="0" y="60670"/>
                      <a:pt x="0" y="57937"/>
                    </a:cubicBezTo>
                    <a:lnTo>
                      <a:pt x="0" y="4966"/>
                    </a:lnTo>
                    <a:cubicBezTo>
                      <a:pt x="0" y="2232"/>
                      <a:pt x="2232" y="0"/>
                      <a:pt x="4966" y="0"/>
                    </a:cubicBezTo>
                    <a:lnTo>
                      <a:pt x="38072" y="0"/>
                    </a:lnTo>
                    <a:cubicBezTo>
                      <a:pt x="40806" y="0"/>
                      <a:pt x="43038" y="2232"/>
                      <a:pt x="43038" y="4966"/>
                    </a:cubicBezTo>
                    <a:lnTo>
                      <a:pt x="43038" y="57937"/>
                    </a:lnTo>
                    <a:cubicBezTo>
                      <a:pt x="43038" y="60670"/>
                      <a:pt x="40806" y="62902"/>
                      <a:pt x="38072" y="62902"/>
                    </a:cubicBezTo>
                    <a:close/>
                    <a:moveTo>
                      <a:pt x="9932" y="52970"/>
                    </a:moveTo>
                    <a:lnTo>
                      <a:pt x="33107" y="52970"/>
                    </a:lnTo>
                    <a:lnTo>
                      <a:pt x="33107" y="9932"/>
                    </a:lnTo>
                    <a:lnTo>
                      <a:pt x="9932" y="9932"/>
                    </a:lnTo>
                    <a:lnTo>
                      <a:pt x="9932" y="52970"/>
                    </a:lnTo>
                    <a:close/>
                  </a:path>
                </a:pathLst>
              </a:custGeom>
              <a:solidFill>
                <a:schemeClr val="accent1"/>
              </a:solidFill>
              <a:ln w="2503" cap="flat">
                <a:noFill/>
                <a:prstDash val="solid"/>
                <a:miter/>
              </a:ln>
            </p:spPr>
            <p:txBody>
              <a:bodyPr rtlCol="0" anchor="ctr"/>
              <a:lstStyle/>
              <a:p>
                <a:endParaRPr lang="en-GB" dirty="0"/>
              </a:p>
            </p:txBody>
          </p:sp>
          <p:sp>
            <p:nvSpPr>
              <p:cNvPr id="506" name="Freihandform: Form 994">
                <a:extLst>
                  <a:ext uri="{FF2B5EF4-FFF2-40B4-BE49-F238E27FC236}">
                    <a16:creationId xmlns:a16="http://schemas.microsoft.com/office/drawing/2014/main" id="{3AB05366-7BF5-481C-8B7B-0102628CAEE0}"/>
                  </a:ext>
                </a:extLst>
              </p:cNvPr>
              <p:cNvSpPr/>
              <p:nvPr/>
            </p:nvSpPr>
            <p:spPr>
              <a:xfrm>
                <a:off x="5510593" y="3524589"/>
                <a:ext cx="43038" cy="82766"/>
              </a:xfrm>
              <a:custGeom>
                <a:avLst/>
                <a:gdLst>
                  <a:gd name="connsiteX0" fmla="*/ 38072 w 43038"/>
                  <a:gd name="connsiteY0" fmla="*/ 82766 h 82766"/>
                  <a:gd name="connsiteX1" fmla="*/ 4966 w 43038"/>
                  <a:gd name="connsiteY1" fmla="*/ 82766 h 82766"/>
                  <a:gd name="connsiteX2" fmla="*/ 0 w 43038"/>
                  <a:gd name="connsiteY2" fmla="*/ 77800 h 82766"/>
                  <a:gd name="connsiteX3" fmla="*/ 0 w 43038"/>
                  <a:gd name="connsiteY3" fmla="*/ 4966 h 82766"/>
                  <a:gd name="connsiteX4" fmla="*/ 4966 w 43038"/>
                  <a:gd name="connsiteY4" fmla="*/ 0 h 82766"/>
                  <a:gd name="connsiteX5" fmla="*/ 38072 w 43038"/>
                  <a:gd name="connsiteY5" fmla="*/ 0 h 82766"/>
                  <a:gd name="connsiteX6" fmla="*/ 43038 w 43038"/>
                  <a:gd name="connsiteY6" fmla="*/ 4966 h 82766"/>
                  <a:gd name="connsiteX7" fmla="*/ 43038 w 43038"/>
                  <a:gd name="connsiteY7" fmla="*/ 77800 h 82766"/>
                  <a:gd name="connsiteX8" fmla="*/ 38072 w 43038"/>
                  <a:gd name="connsiteY8" fmla="*/ 82766 h 82766"/>
                  <a:gd name="connsiteX9" fmla="*/ 9932 w 43038"/>
                  <a:gd name="connsiteY9" fmla="*/ 72834 h 82766"/>
                  <a:gd name="connsiteX10" fmla="*/ 33107 w 43038"/>
                  <a:gd name="connsiteY10" fmla="*/ 72834 h 82766"/>
                  <a:gd name="connsiteX11" fmla="*/ 33107 w 43038"/>
                  <a:gd name="connsiteY11" fmla="*/ 9932 h 82766"/>
                  <a:gd name="connsiteX12" fmla="*/ 9932 w 43038"/>
                  <a:gd name="connsiteY12" fmla="*/ 9932 h 82766"/>
                  <a:gd name="connsiteX13" fmla="*/ 9932 w 43038"/>
                  <a:gd name="connsiteY13" fmla="*/ 72834 h 8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038" h="82766">
                    <a:moveTo>
                      <a:pt x="38072" y="82766"/>
                    </a:moveTo>
                    <a:lnTo>
                      <a:pt x="4966" y="82766"/>
                    </a:lnTo>
                    <a:cubicBezTo>
                      <a:pt x="2232" y="82766"/>
                      <a:pt x="0" y="80534"/>
                      <a:pt x="0" y="77800"/>
                    </a:cubicBezTo>
                    <a:lnTo>
                      <a:pt x="0" y="4966"/>
                    </a:lnTo>
                    <a:cubicBezTo>
                      <a:pt x="0" y="2232"/>
                      <a:pt x="2232" y="0"/>
                      <a:pt x="4966" y="0"/>
                    </a:cubicBezTo>
                    <a:lnTo>
                      <a:pt x="38072" y="0"/>
                    </a:lnTo>
                    <a:cubicBezTo>
                      <a:pt x="40806" y="0"/>
                      <a:pt x="43038" y="2232"/>
                      <a:pt x="43038" y="4966"/>
                    </a:cubicBezTo>
                    <a:lnTo>
                      <a:pt x="43038" y="77800"/>
                    </a:lnTo>
                    <a:cubicBezTo>
                      <a:pt x="43038" y="80534"/>
                      <a:pt x="40806" y="82766"/>
                      <a:pt x="38072" y="82766"/>
                    </a:cubicBezTo>
                    <a:close/>
                    <a:moveTo>
                      <a:pt x="9932" y="72834"/>
                    </a:moveTo>
                    <a:lnTo>
                      <a:pt x="33107" y="72834"/>
                    </a:lnTo>
                    <a:lnTo>
                      <a:pt x="33107" y="9932"/>
                    </a:lnTo>
                    <a:lnTo>
                      <a:pt x="9932" y="9932"/>
                    </a:lnTo>
                    <a:lnTo>
                      <a:pt x="9932" y="72834"/>
                    </a:lnTo>
                    <a:close/>
                  </a:path>
                </a:pathLst>
              </a:custGeom>
              <a:solidFill>
                <a:schemeClr val="accent1"/>
              </a:solidFill>
              <a:ln w="2503" cap="flat">
                <a:noFill/>
                <a:prstDash val="solid"/>
                <a:miter/>
              </a:ln>
            </p:spPr>
            <p:txBody>
              <a:bodyPr rtlCol="0" anchor="ctr"/>
              <a:lstStyle/>
              <a:p>
                <a:endParaRPr lang="en-GB" dirty="0"/>
              </a:p>
            </p:txBody>
          </p:sp>
          <p:sp>
            <p:nvSpPr>
              <p:cNvPr id="507" name="Freihandform: Form 995">
                <a:extLst>
                  <a:ext uri="{FF2B5EF4-FFF2-40B4-BE49-F238E27FC236}">
                    <a16:creationId xmlns:a16="http://schemas.microsoft.com/office/drawing/2014/main" id="{B9EEB889-A4B5-4259-8423-2596211C285D}"/>
                  </a:ext>
                </a:extLst>
              </p:cNvPr>
              <p:cNvSpPr/>
              <p:nvPr/>
            </p:nvSpPr>
            <p:spPr>
              <a:xfrm>
                <a:off x="5573496" y="3498103"/>
                <a:ext cx="43038" cy="109251"/>
              </a:xfrm>
              <a:custGeom>
                <a:avLst/>
                <a:gdLst>
                  <a:gd name="connsiteX0" fmla="*/ 38072 w 43038"/>
                  <a:gd name="connsiteY0" fmla="*/ 109252 h 109251"/>
                  <a:gd name="connsiteX1" fmla="*/ 4966 w 43038"/>
                  <a:gd name="connsiteY1" fmla="*/ 109252 h 109251"/>
                  <a:gd name="connsiteX2" fmla="*/ 0 w 43038"/>
                  <a:gd name="connsiteY2" fmla="*/ 104286 h 109251"/>
                  <a:gd name="connsiteX3" fmla="*/ 0 w 43038"/>
                  <a:gd name="connsiteY3" fmla="*/ 4966 h 109251"/>
                  <a:gd name="connsiteX4" fmla="*/ 4966 w 43038"/>
                  <a:gd name="connsiteY4" fmla="*/ 0 h 109251"/>
                  <a:gd name="connsiteX5" fmla="*/ 38072 w 43038"/>
                  <a:gd name="connsiteY5" fmla="*/ 0 h 109251"/>
                  <a:gd name="connsiteX6" fmla="*/ 43038 w 43038"/>
                  <a:gd name="connsiteY6" fmla="*/ 4966 h 109251"/>
                  <a:gd name="connsiteX7" fmla="*/ 43038 w 43038"/>
                  <a:gd name="connsiteY7" fmla="*/ 104286 h 109251"/>
                  <a:gd name="connsiteX8" fmla="*/ 38072 w 43038"/>
                  <a:gd name="connsiteY8" fmla="*/ 109252 h 109251"/>
                  <a:gd name="connsiteX9" fmla="*/ 9932 w 43038"/>
                  <a:gd name="connsiteY9" fmla="*/ 99319 h 109251"/>
                  <a:gd name="connsiteX10" fmla="*/ 33107 w 43038"/>
                  <a:gd name="connsiteY10" fmla="*/ 99319 h 109251"/>
                  <a:gd name="connsiteX11" fmla="*/ 33107 w 43038"/>
                  <a:gd name="connsiteY11" fmla="*/ 9932 h 109251"/>
                  <a:gd name="connsiteX12" fmla="*/ 9932 w 43038"/>
                  <a:gd name="connsiteY12" fmla="*/ 9932 h 109251"/>
                  <a:gd name="connsiteX13" fmla="*/ 9932 w 43038"/>
                  <a:gd name="connsiteY13" fmla="*/ 99319 h 109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038" h="109251">
                    <a:moveTo>
                      <a:pt x="38072" y="109252"/>
                    </a:moveTo>
                    <a:lnTo>
                      <a:pt x="4966" y="109252"/>
                    </a:lnTo>
                    <a:cubicBezTo>
                      <a:pt x="2232" y="109252"/>
                      <a:pt x="0" y="107019"/>
                      <a:pt x="0" y="104286"/>
                    </a:cubicBezTo>
                    <a:lnTo>
                      <a:pt x="0" y="4966"/>
                    </a:lnTo>
                    <a:cubicBezTo>
                      <a:pt x="0" y="2232"/>
                      <a:pt x="2232" y="0"/>
                      <a:pt x="4966" y="0"/>
                    </a:cubicBezTo>
                    <a:lnTo>
                      <a:pt x="38072" y="0"/>
                    </a:lnTo>
                    <a:cubicBezTo>
                      <a:pt x="40806" y="0"/>
                      <a:pt x="43038" y="2232"/>
                      <a:pt x="43038" y="4966"/>
                    </a:cubicBezTo>
                    <a:lnTo>
                      <a:pt x="43038" y="104286"/>
                    </a:lnTo>
                    <a:cubicBezTo>
                      <a:pt x="43038" y="107019"/>
                      <a:pt x="40806" y="109252"/>
                      <a:pt x="38072" y="109252"/>
                    </a:cubicBezTo>
                    <a:close/>
                    <a:moveTo>
                      <a:pt x="9932" y="99319"/>
                    </a:moveTo>
                    <a:lnTo>
                      <a:pt x="33107" y="99319"/>
                    </a:lnTo>
                    <a:lnTo>
                      <a:pt x="33107" y="9932"/>
                    </a:lnTo>
                    <a:lnTo>
                      <a:pt x="9932" y="9932"/>
                    </a:lnTo>
                    <a:lnTo>
                      <a:pt x="9932" y="99319"/>
                    </a:lnTo>
                    <a:close/>
                  </a:path>
                </a:pathLst>
              </a:custGeom>
              <a:solidFill>
                <a:schemeClr val="accent1"/>
              </a:solidFill>
              <a:ln w="2503" cap="flat">
                <a:noFill/>
                <a:prstDash val="solid"/>
                <a:miter/>
              </a:ln>
            </p:spPr>
            <p:txBody>
              <a:bodyPr rtlCol="0" anchor="ctr"/>
              <a:lstStyle/>
              <a:p>
                <a:endParaRPr lang="en-GB" dirty="0"/>
              </a:p>
            </p:txBody>
          </p:sp>
          <p:grpSp>
            <p:nvGrpSpPr>
              <p:cNvPr id="508" name="Grafik 16">
                <a:extLst>
                  <a:ext uri="{FF2B5EF4-FFF2-40B4-BE49-F238E27FC236}">
                    <a16:creationId xmlns:a16="http://schemas.microsoft.com/office/drawing/2014/main" id="{8D3117BD-1FD2-4F35-8234-B6768106A7F2}"/>
                  </a:ext>
                </a:extLst>
              </p:cNvPr>
              <p:cNvGrpSpPr/>
              <p:nvPr/>
            </p:nvGrpSpPr>
            <p:grpSpPr>
              <a:xfrm>
                <a:off x="5433882" y="3406584"/>
                <a:ext cx="197414" cy="58663"/>
                <a:chOff x="5433882" y="3406584"/>
                <a:chExt cx="197414" cy="58663"/>
              </a:xfrm>
              <a:solidFill>
                <a:schemeClr val="accent1"/>
              </a:solidFill>
            </p:grpSpPr>
            <p:sp>
              <p:nvSpPr>
                <p:cNvPr id="509" name="Freihandform: Form 997">
                  <a:extLst>
                    <a:ext uri="{FF2B5EF4-FFF2-40B4-BE49-F238E27FC236}">
                      <a16:creationId xmlns:a16="http://schemas.microsoft.com/office/drawing/2014/main" id="{0DA677CD-4F64-4017-909B-EB91669065AA}"/>
                    </a:ext>
                  </a:extLst>
                </p:cNvPr>
                <p:cNvSpPr/>
                <p:nvPr/>
              </p:nvSpPr>
              <p:spPr>
                <a:xfrm>
                  <a:off x="5433882" y="3406803"/>
                  <a:ext cx="61201" cy="58444"/>
                </a:xfrm>
                <a:custGeom>
                  <a:avLst/>
                  <a:gdLst>
                    <a:gd name="connsiteX0" fmla="*/ 14737 w 61201"/>
                    <a:gd name="connsiteY0" fmla="*/ 58444 h 58444"/>
                    <a:gd name="connsiteX1" fmla="*/ 11828 w 61201"/>
                    <a:gd name="connsiteY1" fmla="*/ 57491 h 58444"/>
                    <a:gd name="connsiteX2" fmla="*/ 9847 w 61201"/>
                    <a:gd name="connsiteY2" fmla="*/ 52626 h 58444"/>
                    <a:gd name="connsiteX3" fmla="*/ 12430 w 61201"/>
                    <a:gd name="connsiteY3" fmla="*/ 37577 h 58444"/>
                    <a:gd name="connsiteX4" fmla="*/ 1495 w 61201"/>
                    <a:gd name="connsiteY4" fmla="*/ 26918 h 58444"/>
                    <a:gd name="connsiteX5" fmla="*/ 241 w 61201"/>
                    <a:gd name="connsiteY5" fmla="*/ 21826 h 58444"/>
                    <a:gd name="connsiteX6" fmla="*/ 4254 w 61201"/>
                    <a:gd name="connsiteY6" fmla="*/ 18441 h 58444"/>
                    <a:gd name="connsiteX7" fmla="*/ 19377 w 61201"/>
                    <a:gd name="connsiteY7" fmla="*/ 16233 h 58444"/>
                    <a:gd name="connsiteX8" fmla="*/ 26149 w 61201"/>
                    <a:gd name="connsiteY8" fmla="*/ 2539 h 58444"/>
                    <a:gd name="connsiteX9" fmla="*/ 35053 w 61201"/>
                    <a:gd name="connsiteY9" fmla="*/ 2539 h 58444"/>
                    <a:gd name="connsiteX10" fmla="*/ 41824 w 61201"/>
                    <a:gd name="connsiteY10" fmla="*/ 16233 h 58444"/>
                    <a:gd name="connsiteX11" fmla="*/ 56948 w 61201"/>
                    <a:gd name="connsiteY11" fmla="*/ 18441 h 58444"/>
                    <a:gd name="connsiteX12" fmla="*/ 60961 w 61201"/>
                    <a:gd name="connsiteY12" fmla="*/ 21826 h 58444"/>
                    <a:gd name="connsiteX13" fmla="*/ 59707 w 61201"/>
                    <a:gd name="connsiteY13" fmla="*/ 26918 h 58444"/>
                    <a:gd name="connsiteX14" fmla="*/ 48772 w 61201"/>
                    <a:gd name="connsiteY14" fmla="*/ 37577 h 58444"/>
                    <a:gd name="connsiteX15" fmla="*/ 51355 w 61201"/>
                    <a:gd name="connsiteY15" fmla="*/ 52626 h 58444"/>
                    <a:gd name="connsiteX16" fmla="*/ 49374 w 61201"/>
                    <a:gd name="connsiteY16" fmla="*/ 57491 h 58444"/>
                    <a:gd name="connsiteX17" fmla="*/ 44132 w 61201"/>
                    <a:gd name="connsiteY17" fmla="*/ 57867 h 58444"/>
                    <a:gd name="connsiteX18" fmla="*/ 30613 w 61201"/>
                    <a:gd name="connsiteY18" fmla="*/ 50745 h 58444"/>
                    <a:gd name="connsiteX19" fmla="*/ 17095 w 61201"/>
                    <a:gd name="connsiteY19" fmla="*/ 57867 h 58444"/>
                    <a:gd name="connsiteX20" fmla="*/ 14737 w 61201"/>
                    <a:gd name="connsiteY20" fmla="*/ 58444 h 58444"/>
                    <a:gd name="connsiteX21" fmla="*/ 15640 w 61201"/>
                    <a:gd name="connsiteY21" fmla="*/ 26843 h 58444"/>
                    <a:gd name="connsiteX22" fmla="*/ 21233 w 61201"/>
                    <a:gd name="connsiteY22" fmla="*/ 32310 h 58444"/>
                    <a:gd name="connsiteX23" fmla="*/ 22663 w 61201"/>
                    <a:gd name="connsiteY23" fmla="*/ 36699 h 58444"/>
                    <a:gd name="connsiteX24" fmla="*/ 21334 w 61201"/>
                    <a:gd name="connsiteY24" fmla="*/ 44424 h 58444"/>
                    <a:gd name="connsiteX25" fmla="*/ 28256 w 61201"/>
                    <a:gd name="connsiteY25" fmla="*/ 40787 h 58444"/>
                    <a:gd name="connsiteX26" fmla="*/ 32871 w 61201"/>
                    <a:gd name="connsiteY26" fmla="*/ 40787 h 58444"/>
                    <a:gd name="connsiteX27" fmla="*/ 39793 w 61201"/>
                    <a:gd name="connsiteY27" fmla="*/ 44424 h 58444"/>
                    <a:gd name="connsiteX28" fmla="*/ 38464 w 61201"/>
                    <a:gd name="connsiteY28" fmla="*/ 36699 h 58444"/>
                    <a:gd name="connsiteX29" fmla="*/ 39893 w 61201"/>
                    <a:gd name="connsiteY29" fmla="*/ 32310 h 58444"/>
                    <a:gd name="connsiteX30" fmla="*/ 45486 w 61201"/>
                    <a:gd name="connsiteY30" fmla="*/ 26843 h 58444"/>
                    <a:gd name="connsiteX31" fmla="*/ 37736 w 61201"/>
                    <a:gd name="connsiteY31" fmla="*/ 25714 h 58444"/>
                    <a:gd name="connsiteX32" fmla="*/ 33999 w 61201"/>
                    <a:gd name="connsiteY32" fmla="*/ 23005 h 58444"/>
                    <a:gd name="connsiteX33" fmla="*/ 30538 w 61201"/>
                    <a:gd name="connsiteY33" fmla="*/ 15983 h 58444"/>
                    <a:gd name="connsiteX34" fmla="*/ 27077 w 61201"/>
                    <a:gd name="connsiteY34" fmla="*/ 23005 h 58444"/>
                    <a:gd name="connsiteX35" fmla="*/ 23340 w 61201"/>
                    <a:gd name="connsiteY35" fmla="*/ 25714 h 58444"/>
                    <a:gd name="connsiteX36" fmla="*/ 15640 w 61201"/>
                    <a:gd name="connsiteY36" fmla="*/ 26843 h 5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1201" h="58444">
                      <a:moveTo>
                        <a:pt x="14737" y="58444"/>
                      </a:moveTo>
                      <a:cubicBezTo>
                        <a:pt x="13709" y="58444"/>
                        <a:pt x="12681" y="58118"/>
                        <a:pt x="11828" y="57491"/>
                      </a:cubicBezTo>
                      <a:cubicBezTo>
                        <a:pt x="10298" y="56388"/>
                        <a:pt x="9521" y="54507"/>
                        <a:pt x="9847" y="52626"/>
                      </a:cubicBezTo>
                      <a:lnTo>
                        <a:pt x="12430" y="37577"/>
                      </a:lnTo>
                      <a:lnTo>
                        <a:pt x="1495" y="26918"/>
                      </a:lnTo>
                      <a:cubicBezTo>
                        <a:pt x="140" y="25589"/>
                        <a:pt x="-336" y="23632"/>
                        <a:pt x="241" y="21826"/>
                      </a:cubicBezTo>
                      <a:cubicBezTo>
                        <a:pt x="818" y="20021"/>
                        <a:pt x="2373" y="18716"/>
                        <a:pt x="4254" y="18441"/>
                      </a:cubicBezTo>
                      <a:lnTo>
                        <a:pt x="19377" y="16233"/>
                      </a:lnTo>
                      <a:lnTo>
                        <a:pt x="26149" y="2539"/>
                      </a:lnTo>
                      <a:cubicBezTo>
                        <a:pt x="27829" y="-846"/>
                        <a:pt x="33372" y="-846"/>
                        <a:pt x="35053" y="2539"/>
                      </a:cubicBezTo>
                      <a:lnTo>
                        <a:pt x="41824" y="16233"/>
                      </a:lnTo>
                      <a:lnTo>
                        <a:pt x="56948" y="18441"/>
                      </a:lnTo>
                      <a:cubicBezTo>
                        <a:pt x="58829" y="18716"/>
                        <a:pt x="60384" y="20021"/>
                        <a:pt x="60961" y="21826"/>
                      </a:cubicBezTo>
                      <a:cubicBezTo>
                        <a:pt x="61538" y="23632"/>
                        <a:pt x="61061" y="25589"/>
                        <a:pt x="59707" y="26918"/>
                      </a:cubicBezTo>
                      <a:lnTo>
                        <a:pt x="48772" y="37577"/>
                      </a:lnTo>
                      <a:lnTo>
                        <a:pt x="51355" y="52626"/>
                      </a:lnTo>
                      <a:cubicBezTo>
                        <a:pt x="51681" y="54482"/>
                        <a:pt x="50904" y="56363"/>
                        <a:pt x="49374" y="57491"/>
                      </a:cubicBezTo>
                      <a:cubicBezTo>
                        <a:pt x="47844" y="58620"/>
                        <a:pt x="45812" y="58745"/>
                        <a:pt x="44132" y="57867"/>
                      </a:cubicBezTo>
                      <a:lnTo>
                        <a:pt x="30613" y="50745"/>
                      </a:lnTo>
                      <a:lnTo>
                        <a:pt x="17095" y="57867"/>
                      </a:lnTo>
                      <a:cubicBezTo>
                        <a:pt x="16317" y="58269"/>
                        <a:pt x="15540" y="58444"/>
                        <a:pt x="14737" y="58444"/>
                      </a:cubicBezTo>
                      <a:close/>
                      <a:moveTo>
                        <a:pt x="15640" y="26843"/>
                      </a:moveTo>
                      <a:lnTo>
                        <a:pt x="21233" y="32310"/>
                      </a:lnTo>
                      <a:cubicBezTo>
                        <a:pt x="22412" y="33439"/>
                        <a:pt x="22939" y="35094"/>
                        <a:pt x="22663" y="36699"/>
                      </a:cubicBezTo>
                      <a:lnTo>
                        <a:pt x="21334" y="44424"/>
                      </a:lnTo>
                      <a:lnTo>
                        <a:pt x="28256" y="40787"/>
                      </a:lnTo>
                      <a:cubicBezTo>
                        <a:pt x="29710" y="40035"/>
                        <a:pt x="31441" y="40035"/>
                        <a:pt x="32871" y="40787"/>
                      </a:cubicBezTo>
                      <a:lnTo>
                        <a:pt x="39793" y="44424"/>
                      </a:lnTo>
                      <a:lnTo>
                        <a:pt x="38464" y="36699"/>
                      </a:lnTo>
                      <a:cubicBezTo>
                        <a:pt x="38188" y="35094"/>
                        <a:pt x="38714" y="33439"/>
                        <a:pt x="39893" y="32310"/>
                      </a:cubicBezTo>
                      <a:lnTo>
                        <a:pt x="45486" y="26843"/>
                      </a:lnTo>
                      <a:lnTo>
                        <a:pt x="37736" y="25714"/>
                      </a:lnTo>
                      <a:cubicBezTo>
                        <a:pt x="36131" y="25488"/>
                        <a:pt x="34727" y="24460"/>
                        <a:pt x="33999" y="23005"/>
                      </a:cubicBezTo>
                      <a:lnTo>
                        <a:pt x="30538" y="15983"/>
                      </a:lnTo>
                      <a:lnTo>
                        <a:pt x="27077" y="23005"/>
                      </a:lnTo>
                      <a:cubicBezTo>
                        <a:pt x="26350" y="24485"/>
                        <a:pt x="24945" y="25488"/>
                        <a:pt x="23340" y="25714"/>
                      </a:cubicBezTo>
                      <a:lnTo>
                        <a:pt x="15640" y="26843"/>
                      </a:lnTo>
                      <a:close/>
                    </a:path>
                  </a:pathLst>
                </a:custGeom>
                <a:solidFill>
                  <a:schemeClr val="accent1"/>
                </a:solidFill>
                <a:ln w="2503" cap="flat">
                  <a:noFill/>
                  <a:prstDash val="solid"/>
                  <a:miter/>
                </a:ln>
              </p:spPr>
              <p:txBody>
                <a:bodyPr rtlCol="0" anchor="ctr"/>
                <a:lstStyle/>
                <a:p>
                  <a:endParaRPr lang="en-GB" dirty="0"/>
                </a:p>
              </p:txBody>
            </p:sp>
            <p:sp>
              <p:nvSpPr>
                <p:cNvPr id="510" name="Freihandform: Form 998">
                  <a:extLst>
                    <a:ext uri="{FF2B5EF4-FFF2-40B4-BE49-F238E27FC236}">
                      <a16:creationId xmlns:a16="http://schemas.microsoft.com/office/drawing/2014/main" id="{190D2A31-CA6A-457E-8BD6-27CC0F90156B}"/>
                    </a:ext>
                  </a:extLst>
                </p:cNvPr>
                <p:cNvSpPr/>
                <p:nvPr/>
              </p:nvSpPr>
              <p:spPr>
                <a:xfrm>
                  <a:off x="5501976" y="3406803"/>
                  <a:ext cx="61201" cy="58444"/>
                </a:xfrm>
                <a:custGeom>
                  <a:avLst/>
                  <a:gdLst>
                    <a:gd name="connsiteX0" fmla="*/ 46414 w 61201"/>
                    <a:gd name="connsiteY0" fmla="*/ 58444 h 58444"/>
                    <a:gd name="connsiteX1" fmla="*/ 44107 w 61201"/>
                    <a:gd name="connsiteY1" fmla="*/ 57867 h 58444"/>
                    <a:gd name="connsiteX2" fmla="*/ 30588 w 61201"/>
                    <a:gd name="connsiteY2" fmla="*/ 50745 h 58444"/>
                    <a:gd name="connsiteX3" fmla="*/ 17070 w 61201"/>
                    <a:gd name="connsiteY3" fmla="*/ 57867 h 58444"/>
                    <a:gd name="connsiteX4" fmla="*/ 11828 w 61201"/>
                    <a:gd name="connsiteY4" fmla="*/ 57491 h 58444"/>
                    <a:gd name="connsiteX5" fmla="*/ 9847 w 61201"/>
                    <a:gd name="connsiteY5" fmla="*/ 52626 h 58444"/>
                    <a:gd name="connsiteX6" fmla="*/ 12430 w 61201"/>
                    <a:gd name="connsiteY6" fmla="*/ 37577 h 58444"/>
                    <a:gd name="connsiteX7" fmla="*/ 1495 w 61201"/>
                    <a:gd name="connsiteY7" fmla="*/ 26918 h 58444"/>
                    <a:gd name="connsiteX8" fmla="*/ 241 w 61201"/>
                    <a:gd name="connsiteY8" fmla="*/ 21826 h 58444"/>
                    <a:gd name="connsiteX9" fmla="*/ 4254 w 61201"/>
                    <a:gd name="connsiteY9" fmla="*/ 18441 h 58444"/>
                    <a:gd name="connsiteX10" fmla="*/ 19377 w 61201"/>
                    <a:gd name="connsiteY10" fmla="*/ 16233 h 58444"/>
                    <a:gd name="connsiteX11" fmla="*/ 26149 w 61201"/>
                    <a:gd name="connsiteY11" fmla="*/ 2539 h 58444"/>
                    <a:gd name="connsiteX12" fmla="*/ 35053 w 61201"/>
                    <a:gd name="connsiteY12" fmla="*/ 2539 h 58444"/>
                    <a:gd name="connsiteX13" fmla="*/ 41824 w 61201"/>
                    <a:gd name="connsiteY13" fmla="*/ 16233 h 58444"/>
                    <a:gd name="connsiteX14" fmla="*/ 56948 w 61201"/>
                    <a:gd name="connsiteY14" fmla="*/ 18441 h 58444"/>
                    <a:gd name="connsiteX15" fmla="*/ 60961 w 61201"/>
                    <a:gd name="connsiteY15" fmla="*/ 21826 h 58444"/>
                    <a:gd name="connsiteX16" fmla="*/ 59707 w 61201"/>
                    <a:gd name="connsiteY16" fmla="*/ 26918 h 58444"/>
                    <a:gd name="connsiteX17" fmla="*/ 48772 w 61201"/>
                    <a:gd name="connsiteY17" fmla="*/ 37577 h 58444"/>
                    <a:gd name="connsiteX18" fmla="*/ 51355 w 61201"/>
                    <a:gd name="connsiteY18" fmla="*/ 52626 h 58444"/>
                    <a:gd name="connsiteX19" fmla="*/ 49374 w 61201"/>
                    <a:gd name="connsiteY19" fmla="*/ 57491 h 58444"/>
                    <a:gd name="connsiteX20" fmla="*/ 46414 w 61201"/>
                    <a:gd name="connsiteY20" fmla="*/ 58444 h 58444"/>
                    <a:gd name="connsiteX21" fmla="*/ 30563 w 61201"/>
                    <a:gd name="connsiteY21" fmla="*/ 40186 h 58444"/>
                    <a:gd name="connsiteX22" fmla="*/ 32871 w 61201"/>
                    <a:gd name="connsiteY22" fmla="*/ 40762 h 58444"/>
                    <a:gd name="connsiteX23" fmla="*/ 39793 w 61201"/>
                    <a:gd name="connsiteY23" fmla="*/ 44399 h 58444"/>
                    <a:gd name="connsiteX24" fmla="*/ 38464 w 61201"/>
                    <a:gd name="connsiteY24" fmla="*/ 36674 h 58444"/>
                    <a:gd name="connsiteX25" fmla="*/ 39893 w 61201"/>
                    <a:gd name="connsiteY25" fmla="*/ 32285 h 58444"/>
                    <a:gd name="connsiteX26" fmla="*/ 45486 w 61201"/>
                    <a:gd name="connsiteY26" fmla="*/ 26817 h 58444"/>
                    <a:gd name="connsiteX27" fmla="*/ 37736 w 61201"/>
                    <a:gd name="connsiteY27" fmla="*/ 25689 h 58444"/>
                    <a:gd name="connsiteX28" fmla="*/ 33999 w 61201"/>
                    <a:gd name="connsiteY28" fmla="*/ 22980 h 58444"/>
                    <a:gd name="connsiteX29" fmla="*/ 30538 w 61201"/>
                    <a:gd name="connsiteY29" fmla="*/ 15958 h 58444"/>
                    <a:gd name="connsiteX30" fmla="*/ 27077 w 61201"/>
                    <a:gd name="connsiteY30" fmla="*/ 22980 h 58444"/>
                    <a:gd name="connsiteX31" fmla="*/ 23340 w 61201"/>
                    <a:gd name="connsiteY31" fmla="*/ 25689 h 58444"/>
                    <a:gd name="connsiteX32" fmla="*/ 15590 w 61201"/>
                    <a:gd name="connsiteY32" fmla="*/ 26817 h 58444"/>
                    <a:gd name="connsiteX33" fmla="*/ 21183 w 61201"/>
                    <a:gd name="connsiteY33" fmla="*/ 32285 h 58444"/>
                    <a:gd name="connsiteX34" fmla="*/ 22613 w 61201"/>
                    <a:gd name="connsiteY34" fmla="*/ 36674 h 58444"/>
                    <a:gd name="connsiteX35" fmla="*/ 21283 w 61201"/>
                    <a:gd name="connsiteY35" fmla="*/ 44399 h 58444"/>
                    <a:gd name="connsiteX36" fmla="*/ 28206 w 61201"/>
                    <a:gd name="connsiteY36" fmla="*/ 40762 h 58444"/>
                    <a:gd name="connsiteX37" fmla="*/ 30563 w 61201"/>
                    <a:gd name="connsiteY37" fmla="*/ 40186 h 5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1201" h="58444">
                      <a:moveTo>
                        <a:pt x="46414" y="58444"/>
                      </a:moveTo>
                      <a:cubicBezTo>
                        <a:pt x="45612" y="58444"/>
                        <a:pt x="44834" y="58269"/>
                        <a:pt x="44107" y="57867"/>
                      </a:cubicBezTo>
                      <a:lnTo>
                        <a:pt x="30588" y="50745"/>
                      </a:lnTo>
                      <a:lnTo>
                        <a:pt x="17070" y="57867"/>
                      </a:lnTo>
                      <a:cubicBezTo>
                        <a:pt x="15389" y="58745"/>
                        <a:pt x="13383" y="58595"/>
                        <a:pt x="11828" y="57491"/>
                      </a:cubicBezTo>
                      <a:cubicBezTo>
                        <a:pt x="10298" y="56388"/>
                        <a:pt x="9521" y="54507"/>
                        <a:pt x="9847" y="52626"/>
                      </a:cubicBezTo>
                      <a:lnTo>
                        <a:pt x="12430" y="37577"/>
                      </a:lnTo>
                      <a:lnTo>
                        <a:pt x="1495" y="26918"/>
                      </a:lnTo>
                      <a:cubicBezTo>
                        <a:pt x="140" y="25589"/>
                        <a:pt x="-336" y="23632"/>
                        <a:pt x="241" y="21826"/>
                      </a:cubicBezTo>
                      <a:cubicBezTo>
                        <a:pt x="818" y="20021"/>
                        <a:pt x="2373" y="18716"/>
                        <a:pt x="4254" y="18441"/>
                      </a:cubicBezTo>
                      <a:lnTo>
                        <a:pt x="19377" y="16233"/>
                      </a:lnTo>
                      <a:lnTo>
                        <a:pt x="26149" y="2539"/>
                      </a:lnTo>
                      <a:cubicBezTo>
                        <a:pt x="27804" y="-846"/>
                        <a:pt x="33372" y="-846"/>
                        <a:pt x="35053" y="2539"/>
                      </a:cubicBezTo>
                      <a:lnTo>
                        <a:pt x="41824" y="16233"/>
                      </a:lnTo>
                      <a:lnTo>
                        <a:pt x="56948" y="18441"/>
                      </a:lnTo>
                      <a:cubicBezTo>
                        <a:pt x="58829" y="18716"/>
                        <a:pt x="60384" y="20021"/>
                        <a:pt x="60961" y="21826"/>
                      </a:cubicBezTo>
                      <a:cubicBezTo>
                        <a:pt x="61538" y="23632"/>
                        <a:pt x="61061" y="25589"/>
                        <a:pt x="59707" y="26918"/>
                      </a:cubicBezTo>
                      <a:lnTo>
                        <a:pt x="48772" y="37577"/>
                      </a:lnTo>
                      <a:lnTo>
                        <a:pt x="51355" y="52626"/>
                      </a:lnTo>
                      <a:cubicBezTo>
                        <a:pt x="51681" y="54482"/>
                        <a:pt x="50904" y="56388"/>
                        <a:pt x="49374" y="57491"/>
                      </a:cubicBezTo>
                      <a:cubicBezTo>
                        <a:pt x="48446" y="58143"/>
                        <a:pt x="47443" y="58444"/>
                        <a:pt x="46414" y="58444"/>
                      </a:cubicBezTo>
                      <a:close/>
                      <a:moveTo>
                        <a:pt x="30563" y="40186"/>
                      </a:moveTo>
                      <a:cubicBezTo>
                        <a:pt x="31366" y="40186"/>
                        <a:pt x="32143" y="40361"/>
                        <a:pt x="32871" y="40762"/>
                      </a:cubicBezTo>
                      <a:lnTo>
                        <a:pt x="39793" y="44399"/>
                      </a:lnTo>
                      <a:lnTo>
                        <a:pt x="38464" y="36674"/>
                      </a:lnTo>
                      <a:cubicBezTo>
                        <a:pt x="38188" y="35069"/>
                        <a:pt x="38714" y="33414"/>
                        <a:pt x="39893" y="32285"/>
                      </a:cubicBezTo>
                      <a:lnTo>
                        <a:pt x="45486" y="26817"/>
                      </a:lnTo>
                      <a:lnTo>
                        <a:pt x="37736" y="25689"/>
                      </a:lnTo>
                      <a:cubicBezTo>
                        <a:pt x="36131" y="25463"/>
                        <a:pt x="34727" y="24435"/>
                        <a:pt x="33999" y="22980"/>
                      </a:cubicBezTo>
                      <a:lnTo>
                        <a:pt x="30538" y="15958"/>
                      </a:lnTo>
                      <a:lnTo>
                        <a:pt x="27077" y="22980"/>
                      </a:lnTo>
                      <a:cubicBezTo>
                        <a:pt x="26350" y="24460"/>
                        <a:pt x="24945" y="25463"/>
                        <a:pt x="23340" y="25689"/>
                      </a:cubicBezTo>
                      <a:lnTo>
                        <a:pt x="15590" y="26817"/>
                      </a:lnTo>
                      <a:lnTo>
                        <a:pt x="21183" y="32285"/>
                      </a:lnTo>
                      <a:cubicBezTo>
                        <a:pt x="22362" y="33414"/>
                        <a:pt x="22889" y="35069"/>
                        <a:pt x="22613" y="36674"/>
                      </a:cubicBezTo>
                      <a:lnTo>
                        <a:pt x="21283" y="44399"/>
                      </a:lnTo>
                      <a:lnTo>
                        <a:pt x="28206" y="40762"/>
                      </a:lnTo>
                      <a:cubicBezTo>
                        <a:pt x="28983" y="40386"/>
                        <a:pt x="29786" y="40186"/>
                        <a:pt x="30563" y="40186"/>
                      </a:cubicBezTo>
                      <a:close/>
                    </a:path>
                  </a:pathLst>
                </a:custGeom>
                <a:solidFill>
                  <a:schemeClr val="accent1"/>
                </a:solidFill>
                <a:ln w="2503" cap="flat">
                  <a:noFill/>
                  <a:prstDash val="solid"/>
                  <a:miter/>
                </a:ln>
              </p:spPr>
              <p:txBody>
                <a:bodyPr rtlCol="0" anchor="ctr"/>
                <a:lstStyle/>
                <a:p>
                  <a:endParaRPr lang="en-GB" dirty="0"/>
                </a:p>
              </p:txBody>
            </p:sp>
            <p:sp>
              <p:nvSpPr>
                <p:cNvPr id="511" name="Freihandform: Form 999">
                  <a:extLst>
                    <a:ext uri="{FF2B5EF4-FFF2-40B4-BE49-F238E27FC236}">
                      <a16:creationId xmlns:a16="http://schemas.microsoft.com/office/drawing/2014/main" id="{9EF15FD5-3B01-4BCF-9178-0EC9641DAAEA}"/>
                    </a:ext>
                  </a:extLst>
                </p:cNvPr>
                <p:cNvSpPr/>
                <p:nvPr/>
              </p:nvSpPr>
              <p:spPr>
                <a:xfrm>
                  <a:off x="5570070" y="3406584"/>
                  <a:ext cx="61226" cy="58663"/>
                </a:xfrm>
                <a:custGeom>
                  <a:avLst/>
                  <a:gdLst>
                    <a:gd name="connsiteX0" fmla="*/ 46414 w 61226"/>
                    <a:gd name="connsiteY0" fmla="*/ 58664 h 58663"/>
                    <a:gd name="connsiteX1" fmla="*/ 44107 w 61226"/>
                    <a:gd name="connsiteY1" fmla="*/ 58087 h 58663"/>
                    <a:gd name="connsiteX2" fmla="*/ 30588 w 61226"/>
                    <a:gd name="connsiteY2" fmla="*/ 50964 h 58663"/>
                    <a:gd name="connsiteX3" fmla="*/ 17070 w 61226"/>
                    <a:gd name="connsiteY3" fmla="*/ 58087 h 58663"/>
                    <a:gd name="connsiteX4" fmla="*/ 11828 w 61226"/>
                    <a:gd name="connsiteY4" fmla="*/ 57711 h 58663"/>
                    <a:gd name="connsiteX5" fmla="*/ 9847 w 61226"/>
                    <a:gd name="connsiteY5" fmla="*/ 52845 h 58663"/>
                    <a:gd name="connsiteX6" fmla="*/ 12430 w 61226"/>
                    <a:gd name="connsiteY6" fmla="*/ 37797 h 58663"/>
                    <a:gd name="connsiteX7" fmla="*/ 1495 w 61226"/>
                    <a:gd name="connsiteY7" fmla="*/ 27137 h 58663"/>
                    <a:gd name="connsiteX8" fmla="*/ 241 w 61226"/>
                    <a:gd name="connsiteY8" fmla="*/ 22046 h 58663"/>
                    <a:gd name="connsiteX9" fmla="*/ 4254 w 61226"/>
                    <a:gd name="connsiteY9" fmla="*/ 18660 h 58663"/>
                    <a:gd name="connsiteX10" fmla="*/ 19377 w 61226"/>
                    <a:gd name="connsiteY10" fmla="*/ 16453 h 58663"/>
                    <a:gd name="connsiteX11" fmla="*/ 26149 w 61226"/>
                    <a:gd name="connsiteY11" fmla="*/ 2759 h 58663"/>
                    <a:gd name="connsiteX12" fmla="*/ 30613 w 61226"/>
                    <a:gd name="connsiteY12" fmla="*/ 0 h 58663"/>
                    <a:gd name="connsiteX13" fmla="*/ 30613 w 61226"/>
                    <a:gd name="connsiteY13" fmla="*/ 0 h 58663"/>
                    <a:gd name="connsiteX14" fmla="*/ 35078 w 61226"/>
                    <a:gd name="connsiteY14" fmla="*/ 2759 h 58663"/>
                    <a:gd name="connsiteX15" fmla="*/ 41850 w 61226"/>
                    <a:gd name="connsiteY15" fmla="*/ 16453 h 58663"/>
                    <a:gd name="connsiteX16" fmla="*/ 56973 w 61226"/>
                    <a:gd name="connsiteY16" fmla="*/ 18660 h 58663"/>
                    <a:gd name="connsiteX17" fmla="*/ 60986 w 61226"/>
                    <a:gd name="connsiteY17" fmla="*/ 22046 h 58663"/>
                    <a:gd name="connsiteX18" fmla="*/ 59732 w 61226"/>
                    <a:gd name="connsiteY18" fmla="*/ 27137 h 58663"/>
                    <a:gd name="connsiteX19" fmla="*/ 48797 w 61226"/>
                    <a:gd name="connsiteY19" fmla="*/ 37797 h 58663"/>
                    <a:gd name="connsiteX20" fmla="*/ 51380 w 61226"/>
                    <a:gd name="connsiteY20" fmla="*/ 52845 h 58663"/>
                    <a:gd name="connsiteX21" fmla="*/ 49399 w 61226"/>
                    <a:gd name="connsiteY21" fmla="*/ 57711 h 58663"/>
                    <a:gd name="connsiteX22" fmla="*/ 46414 w 61226"/>
                    <a:gd name="connsiteY22" fmla="*/ 58664 h 58663"/>
                    <a:gd name="connsiteX23" fmla="*/ 30563 w 61226"/>
                    <a:gd name="connsiteY23" fmla="*/ 40405 h 58663"/>
                    <a:gd name="connsiteX24" fmla="*/ 32871 w 61226"/>
                    <a:gd name="connsiteY24" fmla="*/ 40982 h 58663"/>
                    <a:gd name="connsiteX25" fmla="*/ 39793 w 61226"/>
                    <a:gd name="connsiteY25" fmla="*/ 44619 h 58663"/>
                    <a:gd name="connsiteX26" fmla="*/ 38464 w 61226"/>
                    <a:gd name="connsiteY26" fmla="*/ 36894 h 58663"/>
                    <a:gd name="connsiteX27" fmla="*/ 39893 w 61226"/>
                    <a:gd name="connsiteY27" fmla="*/ 32504 h 58663"/>
                    <a:gd name="connsiteX28" fmla="*/ 45486 w 61226"/>
                    <a:gd name="connsiteY28" fmla="*/ 27037 h 58663"/>
                    <a:gd name="connsiteX29" fmla="*/ 37736 w 61226"/>
                    <a:gd name="connsiteY29" fmla="*/ 25908 h 58663"/>
                    <a:gd name="connsiteX30" fmla="*/ 33999 w 61226"/>
                    <a:gd name="connsiteY30" fmla="*/ 23200 h 58663"/>
                    <a:gd name="connsiteX31" fmla="*/ 30538 w 61226"/>
                    <a:gd name="connsiteY31" fmla="*/ 16177 h 58663"/>
                    <a:gd name="connsiteX32" fmla="*/ 27077 w 61226"/>
                    <a:gd name="connsiteY32" fmla="*/ 23200 h 58663"/>
                    <a:gd name="connsiteX33" fmla="*/ 23340 w 61226"/>
                    <a:gd name="connsiteY33" fmla="*/ 25908 h 58663"/>
                    <a:gd name="connsiteX34" fmla="*/ 15590 w 61226"/>
                    <a:gd name="connsiteY34" fmla="*/ 27037 h 58663"/>
                    <a:gd name="connsiteX35" fmla="*/ 21183 w 61226"/>
                    <a:gd name="connsiteY35" fmla="*/ 32504 h 58663"/>
                    <a:gd name="connsiteX36" fmla="*/ 22613 w 61226"/>
                    <a:gd name="connsiteY36" fmla="*/ 36894 h 58663"/>
                    <a:gd name="connsiteX37" fmla="*/ 21283 w 61226"/>
                    <a:gd name="connsiteY37" fmla="*/ 44619 h 58663"/>
                    <a:gd name="connsiteX38" fmla="*/ 28206 w 61226"/>
                    <a:gd name="connsiteY38" fmla="*/ 40982 h 58663"/>
                    <a:gd name="connsiteX39" fmla="*/ 30563 w 61226"/>
                    <a:gd name="connsiteY39" fmla="*/ 40405 h 5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1226" h="58663">
                      <a:moveTo>
                        <a:pt x="46414" y="58664"/>
                      </a:moveTo>
                      <a:cubicBezTo>
                        <a:pt x="45612" y="58664"/>
                        <a:pt x="44834" y="58488"/>
                        <a:pt x="44107" y="58087"/>
                      </a:cubicBezTo>
                      <a:lnTo>
                        <a:pt x="30588" y="50964"/>
                      </a:lnTo>
                      <a:lnTo>
                        <a:pt x="17070" y="58087"/>
                      </a:lnTo>
                      <a:cubicBezTo>
                        <a:pt x="15389" y="58965"/>
                        <a:pt x="13383" y="58814"/>
                        <a:pt x="11828" y="57711"/>
                      </a:cubicBezTo>
                      <a:cubicBezTo>
                        <a:pt x="10298" y="56607"/>
                        <a:pt x="9520" y="54726"/>
                        <a:pt x="9847" y="52845"/>
                      </a:cubicBezTo>
                      <a:lnTo>
                        <a:pt x="12430" y="37797"/>
                      </a:lnTo>
                      <a:lnTo>
                        <a:pt x="1495" y="27137"/>
                      </a:lnTo>
                      <a:cubicBezTo>
                        <a:pt x="140" y="25808"/>
                        <a:pt x="-336" y="23852"/>
                        <a:pt x="241" y="22046"/>
                      </a:cubicBezTo>
                      <a:cubicBezTo>
                        <a:pt x="817" y="20240"/>
                        <a:pt x="2373" y="18936"/>
                        <a:pt x="4254" y="18660"/>
                      </a:cubicBezTo>
                      <a:lnTo>
                        <a:pt x="19377" y="16453"/>
                      </a:lnTo>
                      <a:lnTo>
                        <a:pt x="26149" y="2759"/>
                      </a:lnTo>
                      <a:cubicBezTo>
                        <a:pt x="26977" y="1053"/>
                        <a:pt x="28707" y="0"/>
                        <a:pt x="30613" y="0"/>
                      </a:cubicBezTo>
                      <a:lnTo>
                        <a:pt x="30613" y="0"/>
                      </a:lnTo>
                      <a:cubicBezTo>
                        <a:pt x="32494" y="0"/>
                        <a:pt x="34225" y="1078"/>
                        <a:pt x="35078" y="2759"/>
                      </a:cubicBezTo>
                      <a:lnTo>
                        <a:pt x="41850" y="16453"/>
                      </a:lnTo>
                      <a:lnTo>
                        <a:pt x="56973" y="18660"/>
                      </a:lnTo>
                      <a:cubicBezTo>
                        <a:pt x="58854" y="18936"/>
                        <a:pt x="60409" y="20240"/>
                        <a:pt x="60986" y="22046"/>
                      </a:cubicBezTo>
                      <a:cubicBezTo>
                        <a:pt x="61563" y="23852"/>
                        <a:pt x="61086" y="25808"/>
                        <a:pt x="59732" y="27137"/>
                      </a:cubicBezTo>
                      <a:lnTo>
                        <a:pt x="48797" y="37797"/>
                      </a:lnTo>
                      <a:lnTo>
                        <a:pt x="51380" y="52845"/>
                      </a:lnTo>
                      <a:cubicBezTo>
                        <a:pt x="51706" y="54701"/>
                        <a:pt x="50929" y="56607"/>
                        <a:pt x="49399" y="57711"/>
                      </a:cubicBezTo>
                      <a:cubicBezTo>
                        <a:pt x="48446" y="58363"/>
                        <a:pt x="47443" y="58664"/>
                        <a:pt x="46414" y="58664"/>
                      </a:cubicBezTo>
                      <a:close/>
                      <a:moveTo>
                        <a:pt x="30563" y="40405"/>
                      </a:moveTo>
                      <a:cubicBezTo>
                        <a:pt x="31366" y="40405"/>
                        <a:pt x="32143" y="40581"/>
                        <a:pt x="32871" y="40982"/>
                      </a:cubicBezTo>
                      <a:lnTo>
                        <a:pt x="39793" y="44619"/>
                      </a:lnTo>
                      <a:lnTo>
                        <a:pt x="38464" y="36894"/>
                      </a:lnTo>
                      <a:cubicBezTo>
                        <a:pt x="38188" y="35289"/>
                        <a:pt x="38714" y="33633"/>
                        <a:pt x="39893" y="32504"/>
                      </a:cubicBezTo>
                      <a:lnTo>
                        <a:pt x="45486" y="27037"/>
                      </a:lnTo>
                      <a:lnTo>
                        <a:pt x="37736" y="25908"/>
                      </a:lnTo>
                      <a:cubicBezTo>
                        <a:pt x="36131" y="25683"/>
                        <a:pt x="34727" y="24654"/>
                        <a:pt x="33999" y="23200"/>
                      </a:cubicBezTo>
                      <a:lnTo>
                        <a:pt x="30538" y="16177"/>
                      </a:lnTo>
                      <a:lnTo>
                        <a:pt x="27077" y="23200"/>
                      </a:lnTo>
                      <a:cubicBezTo>
                        <a:pt x="26350" y="24679"/>
                        <a:pt x="24945" y="25683"/>
                        <a:pt x="23340" y="25908"/>
                      </a:cubicBezTo>
                      <a:lnTo>
                        <a:pt x="15590" y="27037"/>
                      </a:lnTo>
                      <a:lnTo>
                        <a:pt x="21183" y="32504"/>
                      </a:lnTo>
                      <a:cubicBezTo>
                        <a:pt x="22362" y="33658"/>
                        <a:pt x="22889" y="35289"/>
                        <a:pt x="22613" y="36894"/>
                      </a:cubicBezTo>
                      <a:lnTo>
                        <a:pt x="21283" y="44619"/>
                      </a:lnTo>
                      <a:lnTo>
                        <a:pt x="28206" y="40982"/>
                      </a:lnTo>
                      <a:cubicBezTo>
                        <a:pt x="28983" y="40606"/>
                        <a:pt x="29786" y="40405"/>
                        <a:pt x="30563" y="40405"/>
                      </a:cubicBezTo>
                      <a:close/>
                    </a:path>
                  </a:pathLst>
                </a:custGeom>
                <a:solidFill>
                  <a:schemeClr val="accent1"/>
                </a:solidFill>
                <a:ln w="2503" cap="flat">
                  <a:noFill/>
                  <a:prstDash val="solid"/>
                  <a:miter/>
                </a:ln>
              </p:spPr>
              <p:txBody>
                <a:bodyPr rtlCol="0" anchor="ctr"/>
                <a:lstStyle/>
                <a:p>
                  <a:endParaRPr lang="en-GB" dirty="0"/>
                </a:p>
              </p:txBody>
            </p:sp>
          </p:grpSp>
        </p:grpSp>
        <p:grpSp>
          <p:nvGrpSpPr>
            <p:cNvPr id="497" name="Group 496">
              <a:extLst>
                <a:ext uri="{FF2B5EF4-FFF2-40B4-BE49-F238E27FC236}">
                  <a16:creationId xmlns:a16="http://schemas.microsoft.com/office/drawing/2014/main" id="{7512C890-59B7-4D36-9BDF-721B036C3B4A}"/>
                </a:ext>
              </a:extLst>
            </p:cNvPr>
            <p:cNvGrpSpPr/>
            <p:nvPr/>
          </p:nvGrpSpPr>
          <p:grpSpPr>
            <a:xfrm>
              <a:off x="5977881" y="1636243"/>
              <a:ext cx="556217" cy="381741"/>
              <a:chOff x="5241796" y="3419200"/>
              <a:chExt cx="581778" cy="399284"/>
            </a:xfrm>
          </p:grpSpPr>
          <p:sp>
            <p:nvSpPr>
              <p:cNvPr id="498" name="Freihandform: Form 1001">
                <a:extLst>
                  <a:ext uri="{FF2B5EF4-FFF2-40B4-BE49-F238E27FC236}">
                    <a16:creationId xmlns:a16="http://schemas.microsoft.com/office/drawing/2014/main" id="{6D2BF1B9-B11C-427D-AC34-0D3286C7DE90}"/>
                  </a:ext>
                </a:extLst>
              </p:cNvPr>
              <p:cNvSpPr/>
              <p:nvPr/>
            </p:nvSpPr>
            <p:spPr>
              <a:xfrm>
                <a:off x="5319855" y="3419200"/>
                <a:ext cx="423863" cy="275310"/>
              </a:xfrm>
              <a:custGeom>
                <a:avLst/>
                <a:gdLst>
                  <a:gd name="connsiteX0" fmla="*/ 418898 w 423863"/>
                  <a:gd name="connsiteY0" fmla="*/ 275311 h 275310"/>
                  <a:gd name="connsiteX1" fmla="*/ 4966 w 423863"/>
                  <a:gd name="connsiteY1" fmla="*/ 275311 h 275310"/>
                  <a:gd name="connsiteX2" fmla="*/ 0 w 423863"/>
                  <a:gd name="connsiteY2" fmla="*/ 270345 h 275310"/>
                  <a:gd name="connsiteX3" fmla="*/ 0 w 423863"/>
                  <a:gd name="connsiteY3" fmla="*/ 10735 h 275310"/>
                  <a:gd name="connsiteX4" fmla="*/ 10408 w 423863"/>
                  <a:gd name="connsiteY4" fmla="*/ 326 h 275310"/>
                  <a:gd name="connsiteX5" fmla="*/ 68069 w 423863"/>
                  <a:gd name="connsiteY5" fmla="*/ 326 h 275310"/>
                  <a:gd name="connsiteX6" fmla="*/ 73035 w 423863"/>
                  <a:gd name="connsiteY6" fmla="*/ 5292 h 275310"/>
                  <a:gd name="connsiteX7" fmla="*/ 68069 w 423863"/>
                  <a:gd name="connsiteY7" fmla="*/ 10258 h 275310"/>
                  <a:gd name="connsiteX8" fmla="*/ 10408 w 423863"/>
                  <a:gd name="connsiteY8" fmla="*/ 10258 h 275310"/>
                  <a:gd name="connsiteX9" fmla="*/ 9857 w 423863"/>
                  <a:gd name="connsiteY9" fmla="*/ 10434 h 275310"/>
                  <a:gd name="connsiteX10" fmla="*/ 9932 w 423863"/>
                  <a:gd name="connsiteY10" fmla="*/ 265379 h 275310"/>
                  <a:gd name="connsiteX11" fmla="*/ 413932 w 423863"/>
                  <a:gd name="connsiteY11" fmla="*/ 265379 h 275310"/>
                  <a:gd name="connsiteX12" fmla="*/ 413932 w 423863"/>
                  <a:gd name="connsiteY12" fmla="*/ 10735 h 275310"/>
                  <a:gd name="connsiteX13" fmla="*/ 413430 w 423863"/>
                  <a:gd name="connsiteY13" fmla="*/ 10258 h 275310"/>
                  <a:gd name="connsiteX14" fmla="*/ 360109 w 423863"/>
                  <a:gd name="connsiteY14" fmla="*/ 9932 h 275310"/>
                  <a:gd name="connsiteX15" fmla="*/ 355168 w 423863"/>
                  <a:gd name="connsiteY15" fmla="*/ 4941 h 275310"/>
                  <a:gd name="connsiteX16" fmla="*/ 360134 w 423863"/>
                  <a:gd name="connsiteY16" fmla="*/ 0 h 275310"/>
                  <a:gd name="connsiteX17" fmla="*/ 360159 w 423863"/>
                  <a:gd name="connsiteY17" fmla="*/ 0 h 275310"/>
                  <a:gd name="connsiteX18" fmla="*/ 413480 w 423863"/>
                  <a:gd name="connsiteY18" fmla="*/ 326 h 275310"/>
                  <a:gd name="connsiteX19" fmla="*/ 423864 w 423863"/>
                  <a:gd name="connsiteY19" fmla="*/ 10735 h 275310"/>
                  <a:gd name="connsiteX20" fmla="*/ 423864 w 423863"/>
                  <a:gd name="connsiteY20" fmla="*/ 270345 h 275310"/>
                  <a:gd name="connsiteX21" fmla="*/ 418898 w 423863"/>
                  <a:gd name="connsiteY21" fmla="*/ 275311 h 27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3863" h="275310">
                    <a:moveTo>
                      <a:pt x="418898" y="275311"/>
                    </a:moveTo>
                    <a:lnTo>
                      <a:pt x="4966" y="275311"/>
                    </a:lnTo>
                    <a:cubicBezTo>
                      <a:pt x="2232" y="275311"/>
                      <a:pt x="0" y="273079"/>
                      <a:pt x="0" y="270345"/>
                    </a:cubicBezTo>
                    <a:lnTo>
                      <a:pt x="0" y="10735"/>
                    </a:lnTo>
                    <a:cubicBezTo>
                      <a:pt x="0" y="3963"/>
                      <a:pt x="5367" y="326"/>
                      <a:pt x="10408" y="326"/>
                    </a:cubicBezTo>
                    <a:lnTo>
                      <a:pt x="68069" y="326"/>
                    </a:lnTo>
                    <a:cubicBezTo>
                      <a:pt x="70803" y="326"/>
                      <a:pt x="73035" y="2558"/>
                      <a:pt x="73035" y="5292"/>
                    </a:cubicBezTo>
                    <a:cubicBezTo>
                      <a:pt x="73035" y="8026"/>
                      <a:pt x="70803" y="10258"/>
                      <a:pt x="68069" y="10258"/>
                    </a:cubicBezTo>
                    <a:lnTo>
                      <a:pt x="10408" y="10258"/>
                    </a:lnTo>
                    <a:cubicBezTo>
                      <a:pt x="10308" y="10283"/>
                      <a:pt x="9957" y="10358"/>
                      <a:pt x="9857" y="10434"/>
                    </a:cubicBezTo>
                    <a:lnTo>
                      <a:pt x="9932" y="265379"/>
                    </a:lnTo>
                    <a:lnTo>
                      <a:pt x="413932" y="265379"/>
                    </a:lnTo>
                    <a:lnTo>
                      <a:pt x="413932" y="10735"/>
                    </a:lnTo>
                    <a:cubicBezTo>
                      <a:pt x="413932" y="10735"/>
                      <a:pt x="413430" y="10258"/>
                      <a:pt x="413430" y="10258"/>
                    </a:cubicBezTo>
                    <a:lnTo>
                      <a:pt x="360109" y="9932"/>
                    </a:lnTo>
                    <a:cubicBezTo>
                      <a:pt x="357375" y="9907"/>
                      <a:pt x="355168" y="7675"/>
                      <a:pt x="355168" y="4941"/>
                    </a:cubicBezTo>
                    <a:cubicBezTo>
                      <a:pt x="355193" y="2207"/>
                      <a:pt x="357400" y="0"/>
                      <a:pt x="360134" y="0"/>
                    </a:cubicBezTo>
                    <a:cubicBezTo>
                      <a:pt x="360134" y="0"/>
                      <a:pt x="360159" y="0"/>
                      <a:pt x="360159" y="0"/>
                    </a:cubicBezTo>
                    <a:lnTo>
                      <a:pt x="413480" y="326"/>
                    </a:lnTo>
                    <a:cubicBezTo>
                      <a:pt x="418496" y="326"/>
                      <a:pt x="423864" y="3963"/>
                      <a:pt x="423864" y="10735"/>
                    </a:cubicBezTo>
                    <a:lnTo>
                      <a:pt x="423864" y="270345"/>
                    </a:lnTo>
                    <a:cubicBezTo>
                      <a:pt x="423864" y="273079"/>
                      <a:pt x="421632" y="275311"/>
                      <a:pt x="418898" y="275311"/>
                    </a:cubicBezTo>
                    <a:close/>
                  </a:path>
                </a:pathLst>
              </a:custGeom>
              <a:solidFill>
                <a:schemeClr val="tx2"/>
              </a:solidFill>
              <a:ln w="2503" cap="flat">
                <a:noFill/>
                <a:prstDash val="solid"/>
                <a:miter/>
              </a:ln>
            </p:spPr>
            <p:txBody>
              <a:bodyPr rtlCol="0" anchor="ctr"/>
              <a:lstStyle/>
              <a:p>
                <a:endParaRPr lang="en-GB" dirty="0"/>
              </a:p>
            </p:txBody>
          </p:sp>
          <p:sp>
            <p:nvSpPr>
              <p:cNvPr id="499" name="Freihandform: Form 1002">
                <a:extLst>
                  <a:ext uri="{FF2B5EF4-FFF2-40B4-BE49-F238E27FC236}">
                    <a16:creationId xmlns:a16="http://schemas.microsoft.com/office/drawing/2014/main" id="{01D3DDAF-0A03-4B79-A0D3-928C5F65FB8B}"/>
                  </a:ext>
                </a:extLst>
              </p:cNvPr>
              <p:cNvSpPr/>
              <p:nvPr/>
            </p:nvSpPr>
            <p:spPr>
              <a:xfrm>
                <a:off x="5241803" y="3780763"/>
                <a:ext cx="581771" cy="37721"/>
              </a:xfrm>
              <a:custGeom>
                <a:avLst/>
                <a:gdLst>
                  <a:gd name="connsiteX0" fmla="*/ 576806 w 581771"/>
                  <a:gd name="connsiteY0" fmla="*/ 37721 h 37721"/>
                  <a:gd name="connsiteX1" fmla="*/ 4966 w 581771"/>
                  <a:gd name="connsiteY1" fmla="*/ 37721 h 37721"/>
                  <a:gd name="connsiteX2" fmla="*/ 0 w 581771"/>
                  <a:gd name="connsiteY2" fmla="*/ 32755 h 37721"/>
                  <a:gd name="connsiteX3" fmla="*/ 0 w 581771"/>
                  <a:gd name="connsiteY3" fmla="*/ 4966 h 37721"/>
                  <a:gd name="connsiteX4" fmla="*/ 4966 w 581771"/>
                  <a:gd name="connsiteY4" fmla="*/ 0 h 37721"/>
                  <a:gd name="connsiteX5" fmla="*/ 9932 w 581771"/>
                  <a:gd name="connsiteY5" fmla="*/ 4966 h 37721"/>
                  <a:gd name="connsiteX6" fmla="*/ 9932 w 581771"/>
                  <a:gd name="connsiteY6" fmla="*/ 27789 h 37721"/>
                  <a:gd name="connsiteX7" fmla="*/ 571840 w 581771"/>
                  <a:gd name="connsiteY7" fmla="*/ 27789 h 37721"/>
                  <a:gd name="connsiteX8" fmla="*/ 571840 w 581771"/>
                  <a:gd name="connsiteY8" fmla="*/ 4966 h 37721"/>
                  <a:gd name="connsiteX9" fmla="*/ 576806 w 581771"/>
                  <a:gd name="connsiteY9" fmla="*/ 0 h 37721"/>
                  <a:gd name="connsiteX10" fmla="*/ 581772 w 581771"/>
                  <a:gd name="connsiteY10" fmla="*/ 4966 h 37721"/>
                  <a:gd name="connsiteX11" fmla="*/ 581772 w 581771"/>
                  <a:gd name="connsiteY11" fmla="*/ 32755 h 37721"/>
                  <a:gd name="connsiteX12" fmla="*/ 576806 w 581771"/>
                  <a:gd name="connsiteY12" fmla="*/ 37721 h 3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771" h="37721">
                    <a:moveTo>
                      <a:pt x="576806" y="37721"/>
                    </a:moveTo>
                    <a:lnTo>
                      <a:pt x="4966" y="37721"/>
                    </a:lnTo>
                    <a:cubicBezTo>
                      <a:pt x="2232" y="37721"/>
                      <a:pt x="0" y="35489"/>
                      <a:pt x="0" y="32755"/>
                    </a:cubicBezTo>
                    <a:lnTo>
                      <a:pt x="0" y="4966"/>
                    </a:lnTo>
                    <a:cubicBezTo>
                      <a:pt x="0" y="2232"/>
                      <a:pt x="2232" y="0"/>
                      <a:pt x="4966" y="0"/>
                    </a:cubicBezTo>
                    <a:cubicBezTo>
                      <a:pt x="7700" y="0"/>
                      <a:pt x="9932" y="2232"/>
                      <a:pt x="9932" y="4966"/>
                    </a:cubicBezTo>
                    <a:lnTo>
                      <a:pt x="9932" y="27789"/>
                    </a:lnTo>
                    <a:lnTo>
                      <a:pt x="571840" y="27789"/>
                    </a:lnTo>
                    <a:lnTo>
                      <a:pt x="571840" y="4966"/>
                    </a:lnTo>
                    <a:cubicBezTo>
                      <a:pt x="571840" y="2232"/>
                      <a:pt x="574072" y="0"/>
                      <a:pt x="576806" y="0"/>
                    </a:cubicBezTo>
                    <a:cubicBezTo>
                      <a:pt x="579540" y="0"/>
                      <a:pt x="581772" y="2232"/>
                      <a:pt x="581772" y="4966"/>
                    </a:cubicBezTo>
                    <a:lnTo>
                      <a:pt x="581772" y="32755"/>
                    </a:lnTo>
                    <a:cubicBezTo>
                      <a:pt x="581772" y="35489"/>
                      <a:pt x="579565" y="37721"/>
                      <a:pt x="576806" y="37721"/>
                    </a:cubicBezTo>
                    <a:close/>
                  </a:path>
                </a:pathLst>
              </a:custGeom>
              <a:solidFill>
                <a:schemeClr val="tx2"/>
              </a:solidFill>
              <a:ln w="2503" cap="flat">
                <a:noFill/>
                <a:prstDash val="solid"/>
                <a:miter/>
              </a:ln>
            </p:spPr>
            <p:txBody>
              <a:bodyPr rtlCol="0" anchor="ctr"/>
              <a:lstStyle/>
              <a:p>
                <a:endParaRPr lang="en-GB" dirty="0"/>
              </a:p>
            </p:txBody>
          </p:sp>
          <p:sp>
            <p:nvSpPr>
              <p:cNvPr id="500" name="Freihandform: Form 1003">
                <a:extLst>
                  <a:ext uri="{FF2B5EF4-FFF2-40B4-BE49-F238E27FC236}">
                    <a16:creationId xmlns:a16="http://schemas.microsoft.com/office/drawing/2014/main" id="{A8BCBD5F-318C-43FD-970F-B2F7CCDEA423}"/>
                  </a:ext>
                </a:extLst>
              </p:cNvPr>
              <p:cNvSpPr/>
              <p:nvPr/>
            </p:nvSpPr>
            <p:spPr>
              <a:xfrm>
                <a:off x="5241796" y="3684553"/>
                <a:ext cx="581765" cy="106166"/>
              </a:xfrm>
              <a:custGeom>
                <a:avLst/>
                <a:gdLst>
                  <a:gd name="connsiteX0" fmla="*/ 576813 w 581765"/>
                  <a:gd name="connsiteY0" fmla="*/ 106167 h 106166"/>
                  <a:gd name="connsiteX1" fmla="*/ 4973 w 581765"/>
                  <a:gd name="connsiteY1" fmla="*/ 106167 h 106166"/>
                  <a:gd name="connsiteX2" fmla="*/ 484 w 581765"/>
                  <a:gd name="connsiteY2" fmla="*/ 103333 h 106166"/>
                  <a:gd name="connsiteX3" fmla="*/ 1111 w 581765"/>
                  <a:gd name="connsiteY3" fmla="*/ 98066 h 106166"/>
                  <a:gd name="connsiteX4" fmla="*/ 79162 w 581765"/>
                  <a:gd name="connsiteY4" fmla="*/ 1831 h 106166"/>
                  <a:gd name="connsiteX5" fmla="*/ 83024 w 581765"/>
                  <a:gd name="connsiteY5" fmla="*/ 0 h 106166"/>
                  <a:gd name="connsiteX6" fmla="*/ 496956 w 581765"/>
                  <a:gd name="connsiteY6" fmla="*/ 0 h 106166"/>
                  <a:gd name="connsiteX7" fmla="*/ 500768 w 581765"/>
                  <a:gd name="connsiteY7" fmla="*/ 1806 h 106166"/>
                  <a:gd name="connsiteX8" fmla="*/ 580625 w 581765"/>
                  <a:gd name="connsiteY8" fmla="*/ 98041 h 106166"/>
                  <a:gd name="connsiteX9" fmla="*/ 581302 w 581765"/>
                  <a:gd name="connsiteY9" fmla="*/ 103307 h 106166"/>
                  <a:gd name="connsiteX10" fmla="*/ 576813 w 581765"/>
                  <a:gd name="connsiteY10" fmla="*/ 106167 h 106166"/>
                  <a:gd name="connsiteX11" fmla="*/ 15382 w 581765"/>
                  <a:gd name="connsiteY11" fmla="*/ 96235 h 106166"/>
                  <a:gd name="connsiteX12" fmla="*/ 566229 w 581765"/>
                  <a:gd name="connsiteY12" fmla="*/ 96235 h 106166"/>
                  <a:gd name="connsiteX13" fmla="*/ 494598 w 581765"/>
                  <a:gd name="connsiteY13" fmla="*/ 9932 h 106166"/>
                  <a:gd name="connsiteX14" fmla="*/ 85382 w 581765"/>
                  <a:gd name="connsiteY14" fmla="*/ 9932 h 106166"/>
                  <a:gd name="connsiteX15" fmla="*/ 15382 w 581765"/>
                  <a:gd name="connsiteY15" fmla="*/ 96235 h 106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1765" h="106166">
                    <a:moveTo>
                      <a:pt x="576813" y="106167"/>
                    </a:moveTo>
                    <a:lnTo>
                      <a:pt x="4973" y="106167"/>
                    </a:lnTo>
                    <a:cubicBezTo>
                      <a:pt x="3067" y="106167"/>
                      <a:pt x="1311" y="105063"/>
                      <a:pt x="484" y="103333"/>
                    </a:cubicBezTo>
                    <a:cubicBezTo>
                      <a:pt x="-344" y="101602"/>
                      <a:pt x="-93" y="99545"/>
                      <a:pt x="1111" y="98066"/>
                    </a:cubicBezTo>
                    <a:lnTo>
                      <a:pt x="79162" y="1831"/>
                    </a:lnTo>
                    <a:cubicBezTo>
                      <a:pt x="80115" y="677"/>
                      <a:pt x="81519" y="0"/>
                      <a:pt x="83024" y="0"/>
                    </a:cubicBezTo>
                    <a:lnTo>
                      <a:pt x="496956" y="0"/>
                    </a:lnTo>
                    <a:cubicBezTo>
                      <a:pt x="498436" y="0"/>
                      <a:pt x="499840" y="652"/>
                      <a:pt x="500768" y="1806"/>
                    </a:cubicBezTo>
                    <a:lnTo>
                      <a:pt x="580625" y="98041"/>
                    </a:lnTo>
                    <a:cubicBezTo>
                      <a:pt x="581854" y="99520"/>
                      <a:pt x="582105" y="101577"/>
                      <a:pt x="581302" y="103307"/>
                    </a:cubicBezTo>
                    <a:cubicBezTo>
                      <a:pt x="580500" y="105063"/>
                      <a:pt x="578744" y="106167"/>
                      <a:pt x="576813" y="106167"/>
                    </a:cubicBezTo>
                    <a:close/>
                    <a:moveTo>
                      <a:pt x="15382" y="96235"/>
                    </a:moveTo>
                    <a:lnTo>
                      <a:pt x="566229" y="96235"/>
                    </a:lnTo>
                    <a:lnTo>
                      <a:pt x="494598" y="9932"/>
                    </a:lnTo>
                    <a:lnTo>
                      <a:pt x="85382" y="9932"/>
                    </a:lnTo>
                    <a:lnTo>
                      <a:pt x="15382" y="96235"/>
                    </a:lnTo>
                    <a:close/>
                  </a:path>
                </a:pathLst>
              </a:custGeom>
              <a:solidFill>
                <a:schemeClr val="tx2"/>
              </a:solidFill>
              <a:ln w="2503" cap="flat">
                <a:noFill/>
                <a:prstDash val="solid"/>
                <a:miter/>
              </a:ln>
            </p:spPr>
            <p:txBody>
              <a:bodyPr rtlCol="0" anchor="ctr"/>
              <a:lstStyle/>
              <a:p>
                <a:endParaRPr lang="en-GB" dirty="0"/>
              </a:p>
            </p:txBody>
          </p:sp>
          <p:sp>
            <p:nvSpPr>
              <p:cNvPr id="501" name="Freihandform: Form 1004">
                <a:extLst>
                  <a:ext uri="{FF2B5EF4-FFF2-40B4-BE49-F238E27FC236}">
                    <a16:creationId xmlns:a16="http://schemas.microsoft.com/office/drawing/2014/main" id="{FB0EB1AD-66AA-4CA1-B052-677A82C4107B}"/>
                  </a:ext>
                </a:extLst>
              </p:cNvPr>
              <p:cNvSpPr/>
              <p:nvPr/>
            </p:nvSpPr>
            <p:spPr>
              <a:xfrm>
                <a:off x="5343455" y="3443127"/>
                <a:ext cx="374830" cy="222340"/>
              </a:xfrm>
              <a:custGeom>
                <a:avLst/>
                <a:gdLst>
                  <a:gd name="connsiteX0" fmla="*/ 369865 w 374830"/>
                  <a:gd name="connsiteY0" fmla="*/ 222340 h 222340"/>
                  <a:gd name="connsiteX1" fmla="*/ 4966 w 374830"/>
                  <a:gd name="connsiteY1" fmla="*/ 222340 h 222340"/>
                  <a:gd name="connsiteX2" fmla="*/ 0 w 374830"/>
                  <a:gd name="connsiteY2" fmla="*/ 217374 h 222340"/>
                  <a:gd name="connsiteX3" fmla="*/ 0 w 374830"/>
                  <a:gd name="connsiteY3" fmla="*/ 4966 h 222340"/>
                  <a:gd name="connsiteX4" fmla="*/ 4966 w 374830"/>
                  <a:gd name="connsiteY4" fmla="*/ 0 h 222340"/>
                  <a:gd name="connsiteX5" fmla="*/ 44744 w 374830"/>
                  <a:gd name="connsiteY5" fmla="*/ 0 h 222340"/>
                  <a:gd name="connsiteX6" fmla="*/ 49710 w 374830"/>
                  <a:gd name="connsiteY6" fmla="*/ 4966 h 222340"/>
                  <a:gd name="connsiteX7" fmla="*/ 44744 w 374830"/>
                  <a:gd name="connsiteY7" fmla="*/ 9932 h 222340"/>
                  <a:gd name="connsiteX8" fmla="*/ 9932 w 374830"/>
                  <a:gd name="connsiteY8" fmla="*/ 9932 h 222340"/>
                  <a:gd name="connsiteX9" fmla="*/ 9932 w 374830"/>
                  <a:gd name="connsiteY9" fmla="*/ 212408 h 222340"/>
                  <a:gd name="connsiteX10" fmla="*/ 364899 w 374830"/>
                  <a:gd name="connsiteY10" fmla="*/ 212408 h 222340"/>
                  <a:gd name="connsiteX11" fmla="*/ 364899 w 374830"/>
                  <a:gd name="connsiteY11" fmla="*/ 9932 h 222340"/>
                  <a:gd name="connsiteX12" fmla="*/ 337185 w 374830"/>
                  <a:gd name="connsiteY12" fmla="*/ 9932 h 222340"/>
                  <a:gd name="connsiteX13" fmla="*/ 332219 w 374830"/>
                  <a:gd name="connsiteY13" fmla="*/ 4966 h 222340"/>
                  <a:gd name="connsiteX14" fmla="*/ 337185 w 374830"/>
                  <a:gd name="connsiteY14" fmla="*/ 0 h 222340"/>
                  <a:gd name="connsiteX15" fmla="*/ 369865 w 374830"/>
                  <a:gd name="connsiteY15" fmla="*/ 0 h 222340"/>
                  <a:gd name="connsiteX16" fmla="*/ 374831 w 374830"/>
                  <a:gd name="connsiteY16" fmla="*/ 4966 h 222340"/>
                  <a:gd name="connsiteX17" fmla="*/ 374831 w 374830"/>
                  <a:gd name="connsiteY17" fmla="*/ 217374 h 222340"/>
                  <a:gd name="connsiteX18" fmla="*/ 369865 w 374830"/>
                  <a:gd name="connsiteY18" fmla="*/ 222340 h 22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4830" h="222340">
                    <a:moveTo>
                      <a:pt x="369865" y="222340"/>
                    </a:moveTo>
                    <a:lnTo>
                      <a:pt x="4966" y="222340"/>
                    </a:lnTo>
                    <a:cubicBezTo>
                      <a:pt x="2232" y="222340"/>
                      <a:pt x="0" y="220108"/>
                      <a:pt x="0" y="217374"/>
                    </a:cubicBezTo>
                    <a:lnTo>
                      <a:pt x="0" y="4966"/>
                    </a:lnTo>
                    <a:cubicBezTo>
                      <a:pt x="0" y="2232"/>
                      <a:pt x="2232" y="0"/>
                      <a:pt x="4966" y="0"/>
                    </a:cubicBezTo>
                    <a:lnTo>
                      <a:pt x="44744" y="0"/>
                    </a:lnTo>
                    <a:cubicBezTo>
                      <a:pt x="47478" y="0"/>
                      <a:pt x="49710" y="2232"/>
                      <a:pt x="49710" y="4966"/>
                    </a:cubicBezTo>
                    <a:cubicBezTo>
                      <a:pt x="49710" y="7700"/>
                      <a:pt x="47478" y="9932"/>
                      <a:pt x="44744" y="9932"/>
                    </a:cubicBezTo>
                    <a:lnTo>
                      <a:pt x="9932" y="9932"/>
                    </a:lnTo>
                    <a:lnTo>
                      <a:pt x="9932" y="212408"/>
                    </a:lnTo>
                    <a:lnTo>
                      <a:pt x="364899" y="212408"/>
                    </a:lnTo>
                    <a:lnTo>
                      <a:pt x="364899" y="9932"/>
                    </a:lnTo>
                    <a:lnTo>
                      <a:pt x="337185" y="9932"/>
                    </a:lnTo>
                    <a:cubicBezTo>
                      <a:pt x="334451" y="9932"/>
                      <a:pt x="332219" y="7700"/>
                      <a:pt x="332219" y="4966"/>
                    </a:cubicBezTo>
                    <a:cubicBezTo>
                      <a:pt x="332219" y="2232"/>
                      <a:pt x="334451" y="0"/>
                      <a:pt x="337185" y="0"/>
                    </a:cubicBezTo>
                    <a:lnTo>
                      <a:pt x="369865" y="0"/>
                    </a:lnTo>
                    <a:cubicBezTo>
                      <a:pt x="372599" y="0"/>
                      <a:pt x="374831" y="2232"/>
                      <a:pt x="374831" y="4966"/>
                    </a:cubicBezTo>
                    <a:lnTo>
                      <a:pt x="374831" y="217374"/>
                    </a:lnTo>
                    <a:cubicBezTo>
                      <a:pt x="374831" y="220108"/>
                      <a:pt x="372599" y="222340"/>
                      <a:pt x="369865" y="222340"/>
                    </a:cubicBezTo>
                    <a:close/>
                  </a:path>
                </a:pathLst>
              </a:custGeom>
              <a:solidFill>
                <a:schemeClr val="tx2"/>
              </a:solidFill>
              <a:ln w="2503" cap="flat">
                <a:noFill/>
                <a:prstDash val="solid"/>
                <a:miter/>
              </a:ln>
            </p:spPr>
            <p:txBody>
              <a:bodyPr rtlCol="0" anchor="ctr"/>
              <a:lstStyle/>
              <a:p>
                <a:endParaRPr lang="en-GB" dirty="0"/>
              </a:p>
            </p:txBody>
          </p:sp>
          <p:sp>
            <p:nvSpPr>
              <p:cNvPr id="502" name="Freihandform: Form 1005">
                <a:extLst>
                  <a:ext uri="{FF2B5EF4-FFF2-40B4-BE49-F238E27FC236}">
                    <a16:creationId xmlns:a16="http://schemas.microsoft.com/office/drawing/2014/main" id="{52581E19-3607-4794-9B67-A06FA9DDD10B}"/>
                  </a:ext>
                </a:extLst>
              </p:cNvPr>
              <p:cNvSpPr/>
              <p:nvPr/>
            </p:nvSpPr>
            <p:spPr>
              <a:xfrm>
                <a:off x="5329360" y="3735843"/>
                <a:ext cx="407310" cy="9932"/>
              </a:xfrm>
              <a:custGeom>
                <a:avLst/>
                <a:gdLst>
                  <a:gd name="connsiteX0" fmla="*/ 402344 w 407310"/>
                  <a:gd name="connsiteY0" fmla="*/ 9932 h 9932"/>
                  <a:gd name="connsiteX1" fmla="*/ 4966 w 407310"/>
                  <a:gd name="connsiteY1" fmla="*/ 9932 h 9932"/>
                  <a:gd name="connsiteX2" fmla="*/ 0 w 407310"/>
                  <a:gd name="connsiteY2" fmla="*/ 4966 h 9932"/>
                  <a:gd name="connsiteX3" fmla="*/ 4966 w 407310"/>
                  <a:gd name="connsiteY3" fmla="*/ 0 h 9932"/>
                  <a:gd name="connsiteX4" fmla="*/ 402344 w 407310"/>
                  <a:gd name="connsiteY4" fmla="*/ 0 h 9932"/>
                  <a:gd name="connsiteX5" fmla="*/ 407310 w 407310"/>
                  <a:gd name="connsiteY5" fmla="*/ 4966 h 9932"/>
                  <a:gd name="connsiteX6" fmla="*/ 402344 w 407310"/>
                  <a:gd name="connsiteY6" fmla="*/ 9932 h 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7310" h="9932">
                    <a:moveTo>
                      <a:pt x="402344" y="9932"/>
                    </a:moveTo>
                    <a:lnTo>
                      <a:pt x="4966" y="9932"/>
                    </a:lnTo>
                    <a:cubicBezTo>
                      <a:pt x="2232" y="9932"/>
                      <a:pt x="0" y="7700"/>
                      <a:pt x="0" y="4966"/>
                    </a:cubicBezTo>
                    <a:cubicBezTo>
                      <a:pt x="0" y="2232"/>
                      <a:pt x="2232" y="0"/>
                      <a:pt x="4966" y="0"/>
                    </a:cubicBezTo>
                    <a:lnTo>
                      <a:pt x="402344" y="0"/>
                    </a:lnTo>
                    <a:cubicBezTo>
                      <a:pt x="405078" y="0"/>
                      <a:pt x="407310" y="2232"/>
                      <a:pt x="407310" y="4966"/>
                    </a:cubicBezTo>
                    <a:cubicBezTo>
                      <a:pt x="407310" y="7700"/>
                      <a:pt x="405103" y="9932"/>
                      <a:pt x="402344" y="9932"/>
                    </a:cubicBezTo>
                    <a:close/>
                  </a:path>
                </a:pathLst>
              </a:custGeom>
              <a:solidFill>
                <a:schemeClr val="tx2"/>
              </a:solidFill>
              <a:ln w="2503" cap="flat">
                <a:noFill/>
                <a:prstDash val="solid"/>
                <a:miter/>
              </a:ln>
            </p:spPr>
            <p:txBody>
              <a:bodyPr rtlCol="0" anchor="ctr"/>
              <a:lstStyle/>
              <a:p>
                <a:endParaRPr lang="en-GB" dirty="0"/>
              </a:p>
            </p:txBody>
          </p:sp>
        </p:grpSp>
      </p:grpSp>
      <p:grpSp>
        <p:nvGrpSpPr>
          <p:cNvPr id="44" name="Group 43">
            <a:extLst>
              <a:ext uri="{FF2B5EF4-FFF2-40B4-BE49-F238E27FC236}">
                <a16:creationId xmlns:a16="http://schemas.microsoft.com/office/drawing/2014/main" id="{BB41C7D1-CBF3-4EE9-9FE4-B17B51A58BF8}"/>
              </a:ext>
            </a:extLst>
          </p:cNvPr>
          <p:cNvGrpSpPr/>
          <p:nvPr/>
        </p:nvGrpSpPr>
        <p:grpSpPr>
          <a:xfrm>
            <a:off x="7125859" y="1585984"/>
            <a:ext cx="347351" cy="432000"/>
            <a:chOff x="7125447" y="1585984"/>
            <a:chExt cx="347351" cy="432000"/>
          </a:xfrm>
        </p:grpSpPr>
        <p:grpSp>
          <p:nvGrpSpPr>
            <p:cNvPr id="513" name="Group 512">
              <a:extLst>
                <a:ext uri="{FF2B5EF4-FFF2-40B4-BE49-F238E27FC236}">
                  <a16:creationId xmlns:a16="http://schemas.microsoft.com/office/drawing/2014/main" id="{D5154E98-1C38-48E4-8ABE-57DE5DAB3D43}"/>
                </a:ext>
              </a:extLst>
            </p:cNvPr>
            <p:cNvGrpSpPr/>
            <p:nvPr/>
          </p:nvGrpSpPr>
          <p:grpSpPr>
            <a:xfrm>
              <a:off x="7125447" y="1585984"/>
              <a:ext cx="347351" cy="432000"/>
              <a:chOff x="6961586" y="3256426"/>
              <a:chExt cx="466827" cy="580592"/>
            </a:xfrm>
          </p:grpSpPr>
          <p:sp>
            <p:nvSpPr>
              <p:cNvPr id="521" name="Freihandform: Form 1032">
                <a:extLst>
                  <a:ext uri="{FF2B5EF4-FFF2-40B4-BE49-F238E27FC236}">
                    <a16:creationId xmlns:a16="http://schemas.microsoft.com/office/drawing/2014/main" id="{BBF091BA-6ED7-489C-B30A-B2A81E967455}"/>
                  </a:ext>
                </a:extLst>
              </p:cNvPr>
              <p:cNvSpPr/>
              <p:nvPr/>
            </p:nvSpPr>
            <p:spPr>
              <a:xfrm>
                <a:off x="6961586" y="3296154"/>
                <a:ext cx="466801" cy="387346"/>
              </a:xfrm>
              <a:custGeom>
                <a:avLst/>
                <a:gdLst>
                  <a:gd name="connsiteX0" fmla="*/ 461836 w 466801"/>
                  <a:gd name="connsiteY0" fmla="*/ 387346 h 387346"/>
                  <a:gd name="connsiteX1" fmla="*/ 305132 w 466801"/>
                  <a:gd name="connsiteY1" fmla="*/ 387346 h 387346"/>
                  <a:gd name="connsiteX2" fmla="*/ 300166 w 466801"/>
                  <a:gd name="connsiteY2" fmla="*/ 382380 h 387346"/>
                  <a:gd name="connsiteX3" fmla="*/ 305132 w 466801"/>
                  <a:gd name="connsiteY3" fmla="*/ 377414 h 387346"/>
                  <a:gd name="connsiteX4" fmla="*/ 456870 w 466801"/>
                  <a:gd name="connsiteY4" fmla="*/ 377414 h 387346"/>
                  <a:gd name="connsiteX5" fmla="*/ 456870 w 466801"/>
                  <a:gd name="connsiteY5" fmla="*/ 9932 h 387346"/>
                  <a:gd name="connsiteX6" fmla="*/ 9932 w 466801"/>
                  <a:gd name="connsiteY6" fmla="*/ 9932 h 387346"/>
                  <a:gd name="connsiteX7" fmla="*/ 9932 w 466801"/>
                  <a:gd name="connsiteY7" fmla="*/ 377414 h 387346"/>
                  <a:gd name="connsiteX8" fmla="*/ 165533 w 466801"/>
                  <a:gd name="connsiteY8" fmla="*/ 377414 h 387346"/>
                  <a:gd name="connsiteX9" fmla="*/ 170499 w 466801"/>
                  <a:gd name="connsiteY9" fmla="*/ 382380 h 387346"/>
                  <a:gd name="connsiteX10" fmla="*/ 165533 w 466801"/>
                  <a:gd name="connsiteY10" fmla="*/ 387346 h 387346"/>
                  <a:gd name="connsiteX11" fmla="*/ 4966 w 466801"/>
                  <a:gd name="connsiteY11" fmla="*/ 387346 h 387346"/>
                  <a:gd name="connsiteX12" fmla="*/ 0 w 466801"/>
                  <a:gd name="connsiteY12" fmla="*/ 382380 h 387346"/>
                  <a:gd name="connsiteX13" fmla="*/ 0 w 466801"/>
                  <a:gd name="connsiteY13" fmla="*/ 4966 h 387346"/>
                  <a:gd name="connsiteX14" fmla="*/ 4966 w 466801"/>
                  <a:gd name="connsiteY14" fmla="*/ 0 h 387346"/>
                  <a:gd name="connsiteX15" fmla="*/ 461836 w 466801"/>
                  <a:gd name="connsiteY15" fmla="*/ 0 h 387346"/>
                  <a:gd name="connsiteX16" fmla="*/ 466802 w 466801"/>
                  <a:gd name="connsiteY16" fmla="*/ 4966 h 387346"/>
                  <a:gd name="connsiteX17" fmla="*/ 466802 w 466801"/>
                  <a:gd name="connsiteY17" fmla="*/ 382380 h 387346"/>
                  <a:gd name="connsiteX18" fmla="*/ 461836 w 466801"/>
                  <a:gd name="connsiteY18" fmla="*/ 387346 h 38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6801" h="387346">
                    <a:moveTo>
                      <a:pt x="461836" y="387346"/>
                    </a:moveTo>
                    <a:lnTo>
                      <a:pt x="305132" y="387346"/>
                    </a:lnTo>
                    <a:cubicBezTo>
                      <a:pt x="302398" y="387346"/>
                      <a:pt x="300166" y="385114"/>
                      <a:pt x="300166" y="382380"/>
                    </a:cubicBezTo>
                    <a:cubicBezTo>
                      <a:pt x="300166" y="379646"/>
                      <a:pt x="302398" y="377414"/>
                      <a:pt x="305132" y="377414"/>
                    </a:cubicBezTo>
                    <a:lnTo>
                      <a:pt x="456870" y="377414"/>
                    </a:lnTo>
                    <a:lnTo>
                      <a:pt x="456870" y="9932"/>
                    </a:lnTo>
                    <a:lnTo>
                      <a:pt x="9932" y="9932"/>
                    </a:lnTo>
                    <a:lnTo>
                      <a:pt x="9932" y="377414"/>
                    </a:lnTo>
                    <a:lnTo>
                      <a:pt x="165533" y="377414"/>
                    </a:lnTo>
                    <a:cubicBezTo>
                      <a:pt x="168266" y="377414"/>
                      <a:pt x="170499" y="379646"/>
                      <a:pt x="170499" y="382380"/>
                    </a:cubicBezTo>
                    <a:cubicBezTo>
                      <a:pt x="170499" y="385114"/>
                      <a:pt x="168266" y="387346"/>
                      <a:pt x="165533" y="387346"/>
                    </a:cubicBezTo>
                    <a:lnTo>
                      <a:pt x="4966" y="387346"/>
                    </a:lnTo>
                    <a:cubicBezTo>
                      <a:pt x="2232" y="387346"/>
                      <a:pt x="0" y="385114"/>
                      <a:pt x="0" y="382380"/>
                    </a:cubicBezTo>
                    <a:lnTo>
                      <a:pt x="0" y="4966"/>
                    </a:lnTo>
                    <a:cubicBezTo>
                      <a:pt x="0" y="2232"/>
                      <a:pt x="2232" y="0"/>
                      <a:pt x="4966" y="0"/>
                    </a:cubicBezTo>
                    <a:lnTo>
                      <a:pt x="461836" y="0"/>
                    </a:lnTo>
                    <a:cubicBezTo>
                      <a:pt x="464570" y="0"/>
                      <a:pt x="466802" y="2232"/>
                      <a:pt x="466802" y="4966"/>
                    </a:cubicBezTo>
                    <a:lnTo>
                      <a:pt x="466802" y="382380"/>
                    </a:lnTo>
                    <a:cubicBezTo>
                      <a:pt x="466802" y="385114"/>
                      <a:pt x="464595" y="387346"/>
                      <a:pt x="461836" y="387346"/>
                    </a:cubicBezTo>
                    <a:close/>
                  </a:path>
                </a:pathLst>
              </a:custGeom>
              <a:solidFill>
                <a:schemeClr val="tx2"/>
              </a:solidFill>
              <a:ln w="2503" cap="flat">
                <a:noFill/>
                <a:prstDash val="solid"/>
                <a:miter/>
              </a:ln>
            </p:spPr>
            <p:txBody>
              <a:bodyPr rtlCol="0" anchor="ctr"/>
              <a:lstStyle/>
              <a:p>
                <a:endParaRPr lang="en-GB" dirty="0"/>
              </a:p>
            </p:txBody>
          </p:sp>
          <p:sp>
            <p:nvSpPr>
              <p:cNvPr id="522" name="Freihandform: Form 1033">
                <a:extLst>
                  <a:ext uri="{FF2B5EF4-FFF2-40B4-BE49-F238E27FC236}">
                    <a16:creationId xmlns:a16="http://schemas.microsoft.com/office/drawing/2014/main" id="{493D0449-6D90-463D-9F56-0356DD5F68F4}"/>
                  </a:ext>
                </a:extLst>
              </p:cNvPr>
              <p:cNvSpPr/>
              <p:nvPr/>
            </p:nvSpPr>
            <p:spPr>
              <a:xfrm>
                <a:off x="6961612" y="3296154"/>
                <a:ext cx="466801" cy="76144"/>
              </a:xfrm>
              <a:custGeom>
                <a:avLst/>
                <a:gdLst>
                  <a:gd name="connsiteX0" fmla="*/ 461811 w 466801"/>
                  <a:gd name="connsiteY0" fmla="*/ 76145 h 76144"/>
                  <a:gd name="connsiteX1" fmla="*/ 4966 w 466801"/>
                  <a:gd name="connsiteY1" fmla="*/ 76145 h 76144"/>
                  <a:gd name="connsiteX2" fmla="*/ 0 w 466801"/>
                  <a:gd name="connsiteY2" fmla="*/ 71179 h 76144"/>
                  <a:gd name="connsiteX3" fmla="*/ 0 w 466801"/>
                  <a:gd name="connsiteY3" fmla="*/ 4966 h 76144"/>
                  <a:gd name="connsiteX4" fmla="*/ 4966 w 466801"/>
                  <a:gd name="connsiteY4" fmla="*/ 0 h 76144"/>
                  <a:gd name="connsiteX5" fmla="*/ 461836 w 466801"/>
                  <a:gd name="connsiteY5" fmla="*/ 0 h 76144"/>
                  <a:gd name="connsiteX6" fmla="*/ 466802 w 466801"/>
                  <a:gd name="connsiteY6" fmla="*/ 4966 h 76144"/>
                  <a:gd name="connsiteX7" fmla="*/ 466802 w 466801"/>
                  <a:gd name="connsiteY7" fmla="*/ 71179 h 76144"/>
                  <a:gd name="connsiteX8" fmla="*/ 461811 w 466801"/>
                  <a:gd name="connsiteY8" fmla="*/ 76145 h 76144"/>
                  <a:gd name="connsiteX9" fmla="*/ 9932 w 466801"/>
                  <a:gd name="connsiteY9" fmla="*/ 66213 h 76144"/>
                  <a:gd name="connsiteX10" fmla="*/ 456870 w 466801"/>
                  <a:gd name="connsiteY10" fmla="*/ 66213 h 76144"/>
                  <a:gd name="connsiteX11" fmla="*/ 456870 w 466801"/>
                  <a:gd name="connsiteY11" fmla="*/ 9932 h 76144"/>
                  <a:gd name="connsiteX12" fmla="*/ 9932 w 466801"/>
                  <a:gd name="connsiteY12" fmla="*/ 9932 h 76144"/>
                  <a:gd name="connsiteX13" fmla="*/ 9932 w 466801"/>
                  <a:gd name="connsiteY13" fmla="*/ 66213 h 7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6801" h="76144">
                    <a:moveTo>
                      <a:pt x="461811" y="76145"/>
                    </a:moveTo>
                    <a:lnTo>
                      <a:pt x="4966" y="76145"/>
                    </a:lnTo>
                    <a:cubicBezTo>
                      <a:pt x="2232" y="76145"/>
                      <a:pt x="0" y="73913"/>
                      <a:pt x="0" y="71179"/>
                    </a:cubicBezTo>
                    <a:lnTo>
                      <a:pt x="0" y="4966"/>
                    </a:lnTo>
                    <a:cubicBezTo>
                      <a:pt x="0" y="2232"/>
                      <a:pt x="2232" y="0"/>
                      <a:pt x="4966" y="0"/>
                    </a:cubicBezTo>
                    <a:lnTo>
                      <a:pt x="461836" y="0"/>
                    </a:lnTo>
                    <a:cubicBezTo>
                      <a:pt x="464570" y="0"/>
                      <a:pt x="466802" y="2232"/>
                      <a:pt x="466802" y="4966"/>
                    </a:cubicBezTo>
                    <a:lnTo>
                      <a:pt x="466802" y="71179"/>
                    </a:lnTo>
                    <a:cubicBezTo>
                      <a:pt x="466777" y="73938"/>
                      <a:pt x="464570" y="76145"/>
                      <a:pt x="461811" y="76145"/>
                    </a:cubicBezTo>
                    <a:close/>
                    <a:moveTo>
                      <a:pt x="9932" y="66213"/>
                    </a:moveTo>
                    <a:lnTo>
                      <a:pt x="456870" y="66213"/>
                    </a:lnTo>
                    <a:lnTo>
                      <a:pt x="456870" y="9932"/>
                    </a:lnTo>
                    <a:lnTo>
                      <a:pt x="9932" y="9932"/>
                    </a:lnTo>
                    <a:lnTo>
                      <a:pt x="9932" y="66213"/>
                    </a:lnTo>
                    <a:close/>
                  </a:path>
                </a:pathLst>
              </a:custGeom>
              <a:solidFill>
                <a:schemeClr val="tx2"/>
              </a:solidFill>
              <a:ln w="2503" cap="flat">
                <a:noFill/>
                <a:prstDash val="solid"/>
                <a:miter/>
              </a:ln>
            </p:spPr>
            <p:txBody>
              <a:bodyPr rtlCol="0" anchor="ctr"/>
              <a:lstStyle/>
              <a:p>
                <a:endParaRPr lang="en-GB" dirty="0"/>
              </a:p>
            </p:txBody>
          </p:sp>
          <p:sp>
            <p:nvSpPr>
              <p:cNvPr id="523" name="Freihandform: Form 1034">
                <a:extLst>
                  <a:ext uri="{FF2B5EF4-FFF2-40B4-BE49-F238E27FC236}">
                    <a16:creationId xmlns:a16="http://schemas.microsoft.com/office/drawing/2014/main" id="{BFDD278D-BCC2-4315-AB54-FD36CE766EE3}"/>
                  </a:ext>
                </a:extLst>
              </p:cNvPr>
              <p:cNvSpPr/>
              <p:nvPr/>
            </p:nvSpPr>
            <p:spPr>
              <a:xfrm>
                <a:off x="7041067" y="3256426"/>
                <a:ext cx="9932" cy="49659"/>
              </a:xfrm>
              <a:custGeom>
                <a:avLst/>
                <a:gdLst>
                  <a:gd name="connsiteX0" fmla="*/ 4966 w 9932"/>
                  <a:gd name="connsiteY0" fmla="*/ 49660 h 49659"/>
                  <a:gd name="connsiteX1" fmla="*/ 0 w 9932"/>
                  <a:gd name="connsiteY1" fmla="*/ 44694 h 49659"/>
                  <a:gd name="connsiteX2" fmla="*/ 0 w 9932"/>
                  <a:gd name="connsiteY2" fmla="*/ 4966 h 49659"/>
                  <a:gd name="connsiteX3" fmla="*/ 4966 w 9932"/>
                  <a:gd name="connsiteY3" fmla="*/ 0 h 49659"/>
                  <a:gd name="connsiteX4" fmla="*/ 9932 w 9932"/>
                  <a:gd name="connsiteY4" fmla="*/ 4966 h 49659"/>
                  <a:gd name="connsiteX5" fmla="*/ 9932 w 9932"/>
                  <a:gd name="connsiteY5" fmla="*/ 44694 h 49659"/>
                  <a:gd name="connsiteX6" fmla="*/ 4966 w 9932"/>
                  <a:gd name="connsiteY6" fmla="*/ 49660 h 4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2" h="49659">
                    <a:moveTo>
                      <a:pt x="4966" y="49660"/>
                    </a:moveTo>
                    <a:cubicBezTo>
                      <a:pt x="2232" y="49660"/>
                      <a:pt x="0" y="47428"/>
                      <a:pt x="0" y="44694"/>
                    </a:cubicBezTo>
                    <a:lnTo>
                      <a:pt x="0" y="4966"/>
                    </a:lnTo>
                    <a:cubicBezTo>
                      <a:pt x="0" y="2232"/>
                      <a:pt x="2232" y="0"/>
                      <a:pt x="4966" y="0"/>
                    </a:cubicBezTo>
                    <a:cubicBezTo>
                      <a:pt x="7700" y="0"/>
                      <a:pt x="9932" y="2232"/>
                      <a:pt x="9932" y="4966"/>
                    </a:cubicBezTo>
                    <a:lnTo>
                      <a:pt x="9932" y="44694"/>
                    </a:lnTo>
                    <a:cubicBezTo>
                      <a:pt x="9932" y="47453"/>
                      <a:pt x="7700" y="49660"/>
                      <a:pt x="4966" y="49660"/>
                    </a:cubicBezTo>
                    <a:close/>
                  </a:path>
                </a:pathLst>
              </a:custGeom>
              <a:solidFill>
                <a:schemeClr val="tx2"/>
              </a:solidFill>
              <a:ln w="2503" cap="flat">
                <a:noFill/>
                <a:prstDash val="solid"/>
                <a:miter/>
              </a:ln>
            </p:spPr>
            <p:txBody>
              <a:bodyPr rtlCol="0" anchor="ctr"/>
              <a:lstStyle/>
              <a:p>
                <a:endParaRPr lang="en-GB" dirty="0"/>
              </a:p>
            </p:txBody>
          </p:sp>
          <p:sp>
            <p:nvSpPr>
              <p:cNvPr id="524" name="Freihandform: Form 1035">
                <a:extLst>
                  <a:ext uri="{FF2B5EF4-FFF2-40B4-BE49-F238E27FC236}">
                    <a16:creationId xmlns:a16="http://schemas.microsoft.com/office/drawing/2014/main" id="{F787067D-3869-45E5-B81D-3A71FB5F252F}"/>
                  </a:ext>
                </a:extLst>
              </p:cNvPr>
              <p:cNvSpPr/>
              <p:nvPr/>
            </p:nvSpPr>
            <p:spPr>
              <a:xfrm>
                <a:off x="7339001" y="3256426"/>
                <a:ext cx="9932" cy="49659"/>
              </a:xfrm>
              <a:custGeom>
                <a:avLst/>
                <a:gdLst>
                  <a:gd name="connsiteX0" fmla="*/ 4966 w 9932"/>
                  <a:gd name="connsiteY0" fmla="*/ 49660 h 49659"/>
                  <a:gd name="connsiteX1" fmla="*/ 0 w 9932"/>
                  <a:gd name="connsiteY1" fmla="*/ 44694 h 49659"/>
                  <a:gd name="connsiteX2" fmla="*/ 0 w 9932"/>
                  <a:gd name="connsiteY2" fmla="*/ 4966 h 49659"/>
                  <a:gd name="connsiteX3" fmla="*/ 4966 w 9932"/>
                  <a:gd name="connsiteY3" fmla="*/ 0 h 49659"/>
                  <a:gd name="connsiteX4" fmla="*/ 9932 w 9932"/>
                  <a:gd name="connsiteY4" fmla="*/ 4966 h 49659"/>
                  <a:gd name="connsiteX5" fmla="*/ 9932 w 9932"/>
                  <a:gd name="connsiteY5" fmla="*/ 44694 h 49659"/>
                  <a:gd name="connsiteX6" fmla="*/ 4966 w 9932"/>
                  <a:gd name="connsiteY6" fmla="*/ 49660 h 4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2" h="49659">
                    <a:moveTo>
                      <a:pt x="4966" y="49660"/>
                    </a:moveTo>
                    <a:cubicBezTo>
                      <a:pt x="2232" y="49660"/>
                      <a:pt x="0" y="47428"/>
                      <a:pt x="0" y="44694"/>
                    </a:cubicBezTo>
                    <a:lnTo>
                      <a:pt x="0" y="4966"/>
                    </a:lnTo>
                    <a:cubicBezTo>
                      <a:pt x="0" y="2232"/>
                      <a:pt x="2232" y="0"/>
                      <a:pt x="4966" y="0"/>
                    </a:cubicBezTo>
                    <a:cubicBezTo>
                      <a:pt x="7700" y="0"/>
                      <a:pt x="9932" y="2232"/>
                      <a:pt x="9932" y="4966"/>
                    </a:cubicBezTo>
                    <a:lnTo>
                      <a:pt x="9932" y="44694"/>
                    </a:lnTo>
                    <a:cubicBezTo>
                      <a:pt x="9932" y="47453"/>
                      <a:pt x="7725" y="49660"/>
                      <a:pt x="4966" y="49660"/>
                    </a:cubicBezTo>
                    <a:close/>
                  </a:path>
                </a:pathLst>
              </a:custGeom>
              <a:solidFill>
                <a:schemeClr val="tx2"/>
              </a:solidFill>
              <a:ln w="2503" cap="flat">
                <a:noFill/>
                <a:prstDash val="solid"/>
                <a:miter/>
              </a:ln>
            </p:spPr>
            <p:txBody>
              <a:bodyPr rtlCol="0" anchor="ctr"/>
              <a:lstStyle/>
              <a:p>
                <a:endParaRPr lang="en-GB" dirty="0"/>
              </a:p>
            </p:txBody>
          </p:sp>
          <p:grpSp>
            <p:nvGrpSpPr>
              <p:cNvPr id="525" name="Grafik 16">
                <a:extLst>
                  <a:ext uri="{FF2B5EF4-FFF2-40B4-BE49-F238E27FC236}">
                    <a16:creationId xmlns:a16="http://schemas.microsoft.com/office/drawing/2014/main" id="{C2DC231E-9A5B-4007-9C9F-728D9ABC81E6}"/>
                  </a:ext>
                </a:extLst>
              </p:cNvPr>
              <p:cNvGrpSpPr/>
              <p:nvPr/>
            </p:nvGrpSpPr>
            <p:grpSpPr>
              <a:xfrm>
                <a:off x="7014582" y="3408716"/>
                <a:ext cx="360835" cy="62902"/>
                <a:chOff x="7014582" y="3408716"/>
                <a:chExt cx="360835" cy="62902"/>
              </a:xfrm>
              <a:solidFill>
                <a:schemeClr val="tx2"/>
              </a:solidFill>
            </p:grpSpPr>
            <p:sp>
              <p:nvSpPr>
                <p:cNvPr id="534" name="Freihandform: Form 1037">
                  <a:extLst>
                    <a:ext uri="{FF2B5EF4-FFF2-40B4-BE49-F238E27FC236}">
                      <a16:creationId xmlns:a16="http://schemas.microsoft.com/office/drawing/2014/main" id="{E271006C-A29F-4303-901B-8C96CE04E965}"/>
                    </a:ext>
                  </a:extLst>
                </p:cNvPr>
                <p:cNvSpPr/>
                <p:nvPr/>
              </p:nvSpPr>
              <p:spPr>
                <a:xfrm>
                  <a:off x="7014582" y="3408716"/>
                  <a:ext cx="62902" cy="62902"/>
                </a:xfrm>
                <a:custGeom>
                  <a:avLst/>
                  <a:gdLst>
                    <a:gd name="connsiteX0" fmla="*/ 51315 w 62902"/>
                    <a:gd name="connsiteY0" fmla="*/ 62902 h 62902"/>
                    <a:gd name="connsiteX1" fmla="*/ 11587 w 62902"/>
                    <a:gd name="connsiteY1" fmla="*/ 62902 h 62902"/>
                    <a:gd name="connsiteX2" fmla="*/ 0 w 62902"/>
                    <a:gd name="connsiteY2" fmla="*/ 51315 h 62902"/>
                    <a:gd name="connsiteX3" fmla="*/ 0 w 62902"/>
                    <a:gd name="connsiteY3" fmla="*/ 11587 h 62902"/>
                    <a:gd name="connsiteX4" fmla="*/ 11587 w 62902"/>
                    <a:gd name="connsiteY4" fmla="*/ 0 h 62902"/>
                    <a:gd name="connsiteX5" fmla="*/ 51315 w 62902"/>
                    <a:gd name="connsiteY5" fmla="*/ 0 h 62902"/>
                    <a:gd name="connsiteX6" fmla="*/ 62902 w 62902"/>
                    <a:gd name="connsiteY6" fmla="*/ 11587 h 62902"/>
                    <a:gd name="connsiteX7" fmla="*/ 62902 w 62902"/>
                    <a:gd name="connsiteY7" fmla="*/ 51315 h 62902"/>
                    <a:gd name="connsiteX8" fmla="*/ 51315 w 62902"/>
                    <a:gd name="connsiteY8" fmla="*/ 62902 h 62902"/>
                    <a:gd name="connsiteX9" fmla="*/ 51215 w 62902"/>
                    <a:gd name="connsiteY9" fmla="*/ 9932 h 62902"/>
                    <a:gd name="connsiteX10" fmla="*/ 11587 w 62902"/>
                    <a:gd name="connsiteY10" fmla="*/ 9932 h 62902"/>
                    <a:gd name="connsiteX11" fmla="*/ 9932 w 62902"/>
                    <a:gd name="connsiteY11" fmla="*/ 11587 h 62902"/>
                    <a:gd name="connsiteX12" fmla="*/ 9932 w 62902"/>
                    <a:gd name="connsiteY12" fmla="*/ 51315 h 62902"/>
                    <a:gd name="connsiteX13" fmla="*/ 11688 w 62902"/>
                    <a:gd name="connsiteY13" fmla="*/ 52970 h 62902"/>
                    <a:gd name="connsiteX14" fmla="*/ 51265 w 62902"/>
                    <a:gd name="connsiteY14" fmla="*/ 52970 h 62902"/>
                    <a:gd name="connsiteX15" fmla="*/ 52996 w 62902"/>
                    <a:gd name="connsiteY15" fmla="*/ 51315 h 62902"/>
                    <a:gd name="connsiteX16" fmla="*/ 52996 w 62902"/>
                    <a:gd name="connsiteY16" fmla="*/ 11587 h 62902"/>
                    <a:gd name="connsiteX17" fmla="*/ 51215 w 62902"/>
                    <a:gd name="connsiteY17" fmla="*/ 9932 h 6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02" h="62902">
                      <a:moveTo>
                        <a:pt x="51315" y="62902"/>
                      </a:moveTo>
                      <a:lnTo>
                        <a:pt x="11587" y="62902"/>
                      </a:lnTo>
                      <a:cubicBezTo>
                        <a:pt x="6922" y="62902"/>
                        <a:pt x="0" y="59818"/>
                        <a:pt x="0" y="51315"/>
                      </a:cubicBezTo>
                      <a:lnTo>
                        <a:pt x="0" y="11587"/>
                      </a:lnTo>
                      <a:cubicBezTo>
                        <a:pt x="0" y="3085"/>
                        <a:pt x="6922" y="0"/>
                        <a:pt x="11587" y="0"/>
                      </a:cubicBezTo>
                      <a:lnTo>
                        <a:pt x="51315" y="0"/>
                      </a:lnTo>
                      <a:cubicBezTo>
                        <a:pt x="55980" y="0"/>
                        <a:pt x="62902" y="3085"/>
                        <a:pt x="62902" y="11587"/>
                      </a:cubicBezTo>
                      <a:lnTo>
                        <a:pt x="62902" y="51315"/>
                      </a:lnTo>
                      <a:cubicBezTo>
                        <a:pt x="62902" y="59818"/>
                        <a:pt x="55955" y="62902"/>
                        <a:pt x="51315" y="62902"/>
                      </a:cubicBezTo>
                      <a:close/>
                      <a:moveTo>
                        <a:pt x="51215" y="9932"/>
                      </a:moveTo>
                      <a:lnTo>
                        <a:pt x="11587" y="9932"/>
                      </a:lnTo>
                      <a:cubicBezTo>
                        <a:pt x="9932" y="10007"/>
                        <a:pt x="9932" y="10835"/>
                        <a:pt x="9932" y="11587"/>
                      </a:cubicBezTo>
                      <a:lnTo>
                        <a:pt x="9932" y="51315"/>
                      </a:lnTo>
                      <a:cubicBezTo>
                        <a:pt x="9932" y="52068"/>
                        <a:pt x="9932" y="52895"/>
                        <a:pt x="11688" y="52970"/>
                      </a:cubicBezTo>
                      <a:lnTo>
                        <a:pt x="51265" y="52970"/>
                      </a:lnTo>
                      <a:cubicBezTo>
                        <a:pt x="52996" y="52895"/>
                        <a:pt x="52996" y="52042"/>
                        <a:pt x="52996" y="51315"/>
                      </a:cubicBezTo>
                      <a:lnTo>
                        <a:pt x="52996" y="11587"/>
                      </a:lnTo>
                      <a:cubicBezTo>
                        <a:pt x="52970" y="10860"/>
                        <a:pt x="52970" y="10007"/>
                        <a:pt x="51215" y="9932"/>
                      </a:cubicBezTo>
                      <a:close/>
                    </a:path>
                  </a:pathLst>
                </a:custGeom>
                <a:solidFill>
                  <a:schemeClr val="accent1"/>
                </a:solidFill>
                <a:ln w="2503" cap="flat">
                  <a:noFill/>
                  <a:prstDash val="solid"/>
                  <a:miter/>
                </a:ln>
              </p:spPr>
              <p:txBody>
                <a:bodyPr rtlCol="0" anchor="ctr"/>
                <a:lstStyle/>
                <a:p>
                  <a:endParaRPr lang="en-GB" dirty="0"/>
                </a:p>
              </p:txBody>
            </p:sp>
            <p:sp>
              <p:nvSpPr>
                <p:cNvPr id="535" name="Freihandform: Form 1038">
                  <a:extLst>
                    <a:ext uri="{FF2B5EF4-FFF2-40B4-BE49-F238E27FC236}">
                      <a16:creationId xmlns:a16="http://schemas.microsoft.com/office/drawing/2014/main" id="{A26C83E8-5261-45C7-BA16-CC11528B7FB5}"/>
                    </a:ext>
                  </a:extLst>
                </p:cNvPr>
                <p:cNvSpPr/>
                <p:nvPr/>
              </p:nvSpPr>
              <p:spPr>
                <a:xfrm>
                  <a:off x="7312515" y="3408716"/>
                  <a:ext cx="62902" cy="62902"/>
                </a:xfrm>
                <a:custGeom>
                  <a:avLst/>
                  <a:gdLst>
                    <a:gd name="connsiteX0" fmla="*/ 51315 w 62902"/>
                    <a:gd name="connsiteY0" fmla="*/ 62902 h 62902"/>
                    <a:gd name="connsiteX1" fmla="*/ 11587 w 62902"/>
                    <a:gd name="connsiteY1" fmla="*/ 62902 h 62902"/>
                    <a:gd name="connsiteX2" fmla="*/ 0 w 62902"/>
                    <a:gd name="connsiteY2" fmla="*/ 51315 h 62902"/>
                    <a:gd name="connsiteX3" fmla="*/ 0 w 62902"/>
                    <a:gd name="connsiteY3" fmla="*/ 11587 h 62902"/>
                    <a:gd name="connsiteX4" fmla="*/ 11587 w 62902"/>
                    <a:gd name="connsiteY4" fmla="*/ 0 h 62902"/>
                    <a:gd name="connsiteX5" fmla="*/ 51315 w 62902"/>
                    <a:gd name="connsiteY5" fmla="*/ 0 h 62902"/>
                    <a:gd name="connsiteX6" fmla="*/ 62902 w 62902"/>
                    <a:gd name="connsiteY6" fmla="*/ 11587 h 62902"/>
                    <a:gd name="connsiteX7" fmla="*/ 62902 w 62902"/>
                    <a:gd name="connsiteY7" fmla="*/ 51315 h 62902"/>
                    <a:gd name="connsiteX8" fmla="*/ 51315 w 62902"/>
                    <a:gd name="connsiteY8" fmla="*/ 62902 h 62902"/>
                    <a:gd name="connsiteX9" fmla="*/ 51215 w 62902"/>
                    <a:gd name="connsiteY9" fmla="*/ 9932 h 62902"/>
                    <a:gd name="connsiteX10" fmla="*/ 11587 w 62902"/>
                    <a:gd name="connsiteY10" fmla="*/ 9932 h 62902"/>
                    <a:gd name="connsiteX11" fmla="*/ 9932 w 62902"/>
                    <a:gd name="connsiteY11" fmla="*/ 11587 h 62902"/>
                    <a:gd name="connsiteX12" fmla="*/ 9932 w 62902"/>
                    <a:gd name="connsiteY12" fmla="*/ 51315 h 62902"/>
                    <a:gd name="connsiteX13" fmla="*/ 11688 w 62902"/>
                    <a:gd name="connsiteY13" fmla="*/ 52970 h 62902"/>
                    <a:gd name="connsiteX14" fmla="*/ 51265 w 62902"/>
                    <a:gd name="connsiteY14" fmla="*/ 52970 h 62902"/>
                    <a:gd name="connsiteX15" fmla="*/ 52996 w 62902"/>
                    <a:gd name="connsiteY15" fmla="*/ 51315 h 62902"/>
                    <a:gd name="connsiteX16" fmla="*/ 52996 w 62902"/>
                    <a:gd name="connsiteY16" fmla="*/ 11587 h 62902"/>
                    <a:gd name="connsiteX17" fmla="*/ 51215 w 62902"/>
                    <a:gd name="connsiteY17" fmla="*/ 9932 h 6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02" h="62902">
                      <a:moveTo>
                        <a:pt x="51315" y="62902"/>
                      </a:moveTo>
                      <a:lnTo>
                        <a:pt x="11587" y="62902"/>
                      </a:lnTo>
                      <a:cubicBezTo>
                        <a:pt x="6922" y="62902"/>
                        <a:pt x="0" y="59818"/>
                        <a:pt x="0" y="51315"/>
                      </a:cubicBezTo>
                      <a:lnTo>
                        <a:pt x="0" y="11587"/>
                      </a:lnTo>
                      <a:cubicBezTo>
                        <a:pt x="0" y="3085"/>
                        <a:pt x="6922" y="0"/>
                        <a:pt x="11587" y="0"/>
                      </a:cubicBezTo>
                      <a:lnTo>
                        <a:pt x="51315" y="0"/>
                      </a:lnTo>
                      <a:cubicBezTo>
                        <a:pt x="55980" y="0"/>
                        <a:pt x="62902" y="3085"/>
                        <a:pt x="62902" y="11587"/>
                      </a:cubicBezTo>
                      <a:lnTo>
                        <a:pt x="62902" y="51315"/>
                      </a:lnTo>
                      <a:cubicBezTo>
                        <a:pt x="62902" y="59818"/>
                        <a:pt x="55980" y="62902"/>
                        <a:pt x="51315" y="62902"/>
                      </a:cubicBezTo>
                      <a:close/>
                      <a:moveTo>
                        <a:pt x="51215" y="9932"/>
                      </a:moveTo>
                      <a:lnTo>
                        <a:pt x="11587" y="9932"/>
                      </a:lnTo>
                      <a:cubicBezTo>
                        <a:pt x="9932" y="10007"/>
                        <a:pt x="9932" y="10835"/>
                        <a:pt x="9932" y="11587"/>
                      </a:cubicBezTo>
                      <a:lnTo>
                        <a:pt x="9932" y="51315"/>
                      </a:lnTo>
                      <a:cubicBezTo>
                        <a:pt x="9932" y="52068"/>
                        <a:pt x="9932" y="52895"/>
                        <a:pt x="11688" y="52970"/>
                      </a:cubicBezTo>
                      <a:lnTo>
                        <a:pt x="51265" y="52970"/>
                      </a:lnTo>
                      <a:cubicBezTo>
                        <a:pt x="52996" y="52895"/>
                        <a:pt x="52996" y="52042"/>
                        <a:pt x="52996" y="51315"/>
                      </a:cubicBezTo>
                      <a:lnTo>
                        <a:pt x="52996" y="11587"/>
                      </a:lnTo>
                      <a:cubicBezTo>
                        <a:pt x="52970" y="10860"/>
                        <a:pt x="52970" y="10007"/>
                        <a:pt x="51215" y="9932"/>
                      </a:cubicBezTo>
                      <a:close/>
                    </a:path>
                  </a:pathLst>
                </a:custGeom>
                <a:solidFill>
                  <a:schemeClr val="accent1"/>
                </a:solidFill>
                <a:ln w="2503" cap="flat">
                  <a:noFill/>
                  <a:prstDash val="solid"/>
                  <a:miter/>
                </a:ln>
              </p:spPr>
              <p:txBody>
                <a:bodyPr rtlCol="0" anchor="ctr"/>
                <a:lstStyle/>
                <a:p>
                  <a:endParaRPr lang="en-GB" dirty="0"/>
                </a:p>
              </p:txBody>
            </p:sp>
            <p:sp>
              <p:nvSpPr>
                <p:cNvPr id="536" name="Freihandform: Form 1039">
                  <a:extLst>
                    <a:ext uri="{FF2B5EF4-FFF2-40B4-BE49-F238E27FC236}">
                      <a16:creationId xmlns:a16="http://schemas.microsoft.com/office/drawing/2014/main" id="{8BB05EB9-9A49-4C22-A760-DE589FA43572}"/>
                    </a:ext>
                  </a:extLst>
                </p:cNvPr>
                <p:cNvSpPr/>
                <p:nvPr/>
              </p:nvSpPr>
              <p:spPr>
                <a:xfrm>
                  <a:off x="7113901" y="3408716"/>
                  <a:ext cx="62902" cy="62902"/>
                </a:xfrm>
                <a:custGeom>
                  <a:avLst/>
                  <a:gdLst>
                    <a:gd name="connsiteX0" fmla="*/ 51315 w 62902"/>
                    <a:gd name="connsiteY0" fmla="*/ 62902 h 62902"/>
                    <a:gd name="connsiteX1" fmla="*/ 11587 w 62902"/>
                    <a:gd name="connsiteY1" fmla="*/ 62902 h 62902"/>
                    <a:gd name="connsiteX2" fmla="*/ 0 w 62902"/>
                    <a:gd name="connsiteY2" fmla="*/ 51315 h 62902"/>
                    <a:gd name="connsiteX3" fmla="*/ 0 w 62902"/>
                    <a:gd name="connsiteY3" fmla="*/ 11587 h 62902"/>
                    <a:gd name="connsiteX4" fmla="*/ 11587 w 62902"/>
                    <a:gd name="connsiteY4" fmla="*/ 0 h 62902"/>
                    <a:gd name="connsiteX5" fmla="*/ 51315 w 62902"/>
                    <a:gd name="connsiteY5" fmla="*/ 0 h 62902"/>
                    <a:gd name="connsiteX6" fmla="*/ 62902 w 62902"/>
                    <a:gd name="connsiteY6" fmla="*/ 11587 h 62902"/>
                    <a:gd name="connsiteX7" fmla="*/ 62902 w 62902"/>
                    <a:gd name="connsiteY7" fmla="*/ 51315 h 62902"/>
                    <a:gd name="connsiteX8" fmla="*/ 51315 w 62902"/>
                    <a:gd name="connsiteY8" fmla="*/ 62902 h 62902"/>
                    <a:gd name="connsiteX9" fmla="*/ 51215 w 62902"/>
                    <a:gd name="connsiteY9" fmla="*/ 9932 h 62902"/>
                    <a:gd name="connsiteX10" fmla="*/ 11587 w 62902"/>
                    <a:gd name="connsiteY10" fmla="*/ 9932 h 62902"/>
                    <a:gd name="connsiteX11" fmla="*/ 9932 w 62902"/>
                    <a:gd name="connsiteY11" fmla="*/ 11587 h 62902"/>
                    <a:gd name="connsiteX12" fmla="*/ 9932 w 62902"/>
                    <a:gd name="connsiteY12" fmla="*/ 51315 h 62902"/>
                    <a:gd name="connsiteX13" fmla="*/ 11688 w 62902"/>
                    <a:gd name="connsiteY13" fmla="*/ 52970 h 62902"/>
                    <a:gd name="connsiteX14" fmla="*/ 51265 w 62902"/>
                    <a:gd name="connsiteY14" fmla="*/ 52970 h 62902"/>
                    <a:gd name="connsiteX15" fmla="*/ 52996 w 62902"/>
                    <a:gd name="connsiteY15" fmla="*/ 51315 h 62902"/>
                    <a:gd name="connsiteX16" fmla="*/ 52996 w 62902"/>
                    <a:gd name="connsiteY16" fmla="*/ 11587 h 62902"/>
                    <a:gd name="connsiteX17" fmla="*/ 51215 w 62902"/>
                    <a:gd name="connsiteY17" fmla="*/ 9932 h 6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02" h="62902">
                      <a:moveTo>
                        <a:pt x="51315" y="62902"/>
                      </a:moveTo>
                      <a:lnTo>
                        <a:pt x="11587" y="62902"/>
                      </a:lnTo>
                      <a:cubicBezTo>
                        <a:pt x="6922" y="62902"/>
                        <a:pt x="0" y="59818"/>
                        <a:pt x="0" y="51315"/>
                      </a:cubicBezTo>
                      <a:lnTo>
                        <a:pt x="0" y="11587"/>
                      </a:lnTo>
                      <a:cubicBezTo>
                        <a:pt x="0" y="3085"/>
                        <a:pt x="6922" y="0"/>
                        <a:pt x="11587" y="0"/>
                      </a:cubicBezTo>
                      <a:lnTo>
                        <a:pt x="51315" y="0"/>
                      </a:lnTo>
                      <a:cubicBezTo>
                        <a:pt x="55980" y="0"/>
                        <a:pt x="62902" y="3085"/>
                        <a:pt x="62902" y="11587"/>
                      </a:cubicBezTo>
                      <a:lnTo>
                        <a:pt x="62902" y="51315"/>
                      </a:lnTo>
                      <a:cubicBezTo>
                        <a:pt x="62902" y="59818"/>
                        <a:pt x="55955" y="62902"/>
                        <a:pt x="51315" y="62902"/>
                      </a:cubicBezTo>
                      <a:close/>
                      <a:moveTo>
                        <a:pt x="51215" y="9932"/>
                      </a:moveTo>
                      <a:lnTo>
                        <a:pt x="11587" y="9932"/>
                      </a:lnTo>
                      <a:cubicBezTo>
                        <a:pt x="9932" y="10007"/>
                        <a:pt x="9932" y="10835"/>
                        <a:pt x="9932" y="11587"/>
                      </a:cubicBezTo>
                      <a:lnTo>
                        <a:pt x="9932" y="51315"/>
                      </a:lnTo>
                      <a:cubicBezTo>
                        <a:pt x="9932" y="52068"/>
                        <a:pt x="9932" y="52895"/>
                        <a:pt x="11688" y="52970"/>
                      </a:cubicBezTo>
                      <a:lnTo>
                        <a:pt x="51265" y="52970"/>
                      </a:lnTo>
                      <a:cubicBezTo>
                        <a:pt x="52996" y="52895"/>
                        <a:pt x="52996" y="52042"/>
                        <a:pt x="52996" y="51315"/>
                      </a:cubicBezTo>
                      <a:lnTo>
                        <a:pt x="52996" y="11587"/>
                      </a:lnTo>
                      <a:cubicBezTo>
                        <a:pt x="52970" y="10860"/>
                        <a:pt x="52970" y="10007"/>
                        <a:pt x="51215" y="9932"/>
                      </a:cubicBezTo>
                      <a:close/>
                    </a:path>
                  </a:pathLst>
                </a:custGeom>
                <a:solidFill>
                  <a:schemeClr val="accent1"/>
                </a:solidFill>
                <a:ln w="2503" cap="flat">
                  <a:noFill/>
                  <a:prstDash val="solid"/>
                  <a:miter/>
                </a:ln>
              </p:spPr>
              <p:txBody>
                <a:bodyPr rtlCol="0" anchor="ctr"/>
                <a:lstStyle/>
                <a:p>
                  <a:endParaRPr lang="en-GB" dirty="0"/>
                </a:p>
              </p:txBody>
            </p:sp>
            <p:sp>
              <p:nvSpPr>
                <p:cNvPr id="537" name="Freihandform: Form 1040">
                  <a:extLst>
                    <a:ext uri="{FF2B5EF4-FFF2-40B4-BE49-F238E27FC236}">
                      <a16:creationId xmlns:a16="http://schemas.microsoft.com/office/drawing/2014/main" id="{C7E15EA9-F000-4146-A1DA-D677070ACC02}"/>
                    </a:ext>
                  </a:extLst>
                </p:cNvPr>
                <p:cNvSpPr/>
                <p:nvPr/>
              </p:nvSpPr>
              <p:spPr>
                <a:xfrm>
                  <a:off x="7213196" y="3408716"/>
                  <a:ext cx="62902" cy="62902"/>
                </a:xfrm>
                <a:custGeom>
                  <a:avLst/>
                  <a:gdLst>
                    <a:gd name="connsiteX0" fmla="*/ 51315 w 62902"/>
                    <a:gd name="connsiteY0" fmla="*/ 62902 h 62902"/>
                    <a:gd name="connsiteX1" fmla="*/ 11587 w 62902"/>
                    <a:gd name="connsiteY1" fmla="*/ 62902 h 62902"/>
                    <a:gd name="connsiteX2" fmla="*/ 0 w 62902"/>
                    <a:gd name="connsiteY2" fmla="*/ 51315 h 62902"/>
                    <a:gd name="connsiteX3" fmla="*/ 0 w 62902"/>
                    <a:gd name="connsiteY3" fmla="*/ 11587 h 62902"/>
                    <a:gd name="connsiteX4" fmla="*/ 11587 w 62902"/>
                    <a:gd name="connsiteY4" fmla="*/ 0 h 62902"/>
                    <a:gd name="connsiteX5" fmla="*/ 51315 w 62902"/>
                    <a:gd name="connsiteY5" fmla="*/ 0 h 62902"/>
                    <a:gd name="connsiteX6" fmla="*/ 62902 w 62902"/>
                    <a:gd name="connsiteY6" fmla="*/ 11587 h 62902"/>
                    <a:gd name="connsiteX7" fmla="*/ 62902 w 62902"/>
                    <a:gd name="connsiteY7" fmla="*/ 51315 h 62902"/>
                    <a:gd name="connsiteX8" fmla="*/ 51315 w 62902"/>
                    <a:gd name="connsiteY8" fmla="*/ 62902 h 62902"/>
                    <a:gd name="connsiteX9" fmla="*/ 51240 w 62902"/>
                    <a:gd name="connsiteY9" fmla="*/ 9932 h 62902"/>
                    <a:gd name="connsiteX10" fmla="*/ 11612 w 62902"/>
                    <a:gd name="connsiteY10" fmla="*/ 9932 h 62902"/>
                    <a:gd name="connsiteX11" fmla="*/ 9957 w 62902"/>
                    <a:gd name="connsiteY11" fmla="*/ 11587 h 62902"/>
                    <a:gd name="connsiteX12" fmla="*/ 9957 w 62902"/>
                    <a:gd name="connsiteY12" fmla="*/ 51315 h 62902"/>
                    <a:gd name="connsiteX13" fmla="*/ 11713 w 62902"/>
                    <a:gd name="connsiteY13" fmla="*/ 52970 h 62902"/>
                    <a:gd name="connsiteX14" fmla="*/ 51290 w 62902"/>
                    <a:gd name="connsiteY14" fmla="*/ 52970 h 62902"/>
                    <a:gd name="connsiteX15" fmla="*/ 53021 w 62902"/>
                    <a:gd name="connsiteY15" fmla="*/ 51315 h 62902"/>
                    <a:gd name="connsiteX16" fmla="*/ 53021 w 62902"/>
                    <a:gd name="connsiteY16" fmla="*/ 11587 h 62902"/>
                    <a:gd name="connsiteX17" fmla="*/ 51240 w 62902"/>
                    <a:gd name="connsiteY17" fmla="*/ 9932 h 6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02" h="62902">
                      <a:moveTo>
                        <a:pt x="51315" y="62902"/>
                      </a:moveTo>
                      <a:lnTo>
                        <a:pt x="11587" y="62902"/>
                      </a:lnTo>
                      <a:cubicBezTo>
                        <a:pt x="6922" y="62902"/>
                        <a:pt x="0" y="59818"/>
                        <a:pt x="0" y="51315"/>
                      </a:cubicBezTo>
                      <a:lnTo>
                        <a:pt x="0" y="11587"/>
                      </a:lnTo>
                      <a:cubicBezTo>
                        <a:pt x="0" y="3085"/>
                        <a:pt x="6922" y="0"/>
                        <a:pt x="11587" y="0"/>
                      </a:cubicBezTo>
                      <a:lnTo>
                        <a:pt x="51315" y="0"/>
                      </a:lnTo>
                      <a:cubicBezTo>
                        <a:pt x="55980" y="0"/>
                        <a:pt x="62902" y="3085"/>
                        <a:pt x="62902" y="11587"/>
                      </a:cubicBezTo>
                      <a:lnTo>
                        <a:pt x="62902" y="51315"/>
                      </a:lnTo>
                      <a:cubicBezTo>
                        <a:pt x="62902" y="59818"/>
                        <a:pt x="55980" y="62902"/>
                        <a:pt x="51315" y="62902"/>
                      </a:cubicBezTo>
                      <a:close/>
                      <a:moveTo>
                        <a:pt x="51240" y="9932"/>
                      </a:moveTo>
                      <a:lnTo>
                        <a:pt x="11612" y="9932"/>
                      </a:lnTo>
                      <a:cubicBezTo>
                        <a:pt x="9957" y="10007"/>
                        <a:pt x="9957" y="10835"/>
                        <a:pt x="9957" y="11587"/>
                      </a:cubicBezTo>
                      <a:lnTo>
                        <a:pt x="9957" y="51315"/>
                      </a:lnTo>
                      <a:cubicBezTo>
                        <a:pt x="9957" y="52068"/>
                        <a:pt x="9957" y="52895"/>
                        <a:pt x="11713" y="52970"/>
                      </a:cubicBezTo>
                      <a:lnTo>
                        <a:pt x="51290" y="52970"/>
                      </a:lnTo>
                      <a:cubicBezTo>
                        <a:pt x="53021" y="52895"/>
                        <a:pt x="53021" y="52042"/>
                        <a:pt x="53021" y="51315"/>
                      </a:cubicBezTo>
                      <a:lnTo>
                        <a:pt x="53021" y="11587"/>
                      </a:lnTo>
                      <a:cubicBezTo>
                        <a:pt x="52970" y="10860"/>
                        <a:pt x="52970" y="10007"/>
                        <a:pt x="51240" y="9932"/>
                      </a:cubicBezTo>
                      <a:close/>
                    </a:path>
                  </a:pathLst>
                </a:custGeom>
                <a:solidFill>
                  <a:schemeClr val="accent1"/>
                </a:solidFill>
                <a:ln w="2503" cap="flat">
                  <a:noFill/>
                  <a:prstDash val="solid"/>
                  <a:miter/>
                </a:ln>
              </p:spPr>
              <p:txBody>
                <a:bodyPr rtlCol="0" anchor="ctr"/>
                <a:lstStyle/>
                <a:p>
                  <a:endParaRPr lang="en-GB" dirty="0"/>
                </a:p>
              </p:txBody>
            </p:sp>
          </p:grpSp>
          <p:sp>
            <p:nvSpPr>
              <p:cNvPr id="526" name="Freihandform: Form 1041">
                <a:extLst>
                  <a:ext uri="{FF2B5EF4-FFF2-40B4-BE49-F238E27FC236}">
                    <a16:creationId xmlns:a16="http://schemas.microsoft.com/office/drawing/2014/main" id="{E2599FE8-6832-4D1A-8C0B-1EC173B3A72C}"/>
                  </a:ext>
                </a:extLst>
              </p:cNvPr>
              <p:cNvSpPr/>
              <p:nvPr/>
            </p:nvSpPr>
            <p:spPr>
              <a:xfrm>
                <a:off x="7014582" y="3494793"/>
                <a:ext cx="62902" cy="62902"/>
              </a:xfrm>
              <a:custGeom>
                <a:avLst/>
                <a:gdLst>
                  <a:gd name="connsiteX0" fmla="*/ 51315 w 62902"/>
                  <a:gd name="connsiteY0" fmla="*/ 62902 h 62902"/>
                  <a:gd name="connsiteX1" fmla="*/ 11587 w 62902"/>
                  <a:gd name="connsiteY1" fmla="*/ 62902 h 62902"/>
                  <a:gd name="connsiteX2" fmla="*/ 0 w 62902"/>
                  <a:gd name="connsiteY2" fmla="*/ 51315 h 62902"/>
                  <a:gd name="connsiteX3" fmla="*/ 0 w 62902"/>
                  <a:gd name="connsiteY3" fmla="*/ 11587 h 62902"/>
                  <a:gd name="connsiteX4" fmla="*/ 11587 w 62902"/>
                  <a:gd name="connsiteY4" fmla="*/ 0 h 62902"/>
                  <a:gd name="connsiteX5" fmla="*/ 51315 w 62902"/>
                  <a:gd name="connsiteY5" fmla="*/ 0 h 62902"/>
                  <a:gd name="connsiteX6" fmla="*/ 62902 w 62902"/>
                  <a:gd name="connsiteY6" fmla="*/ 11587 h 62902"/>
                  <a:gd name="connsiteX7" fmla="*/ 62902 w 62902"/>
                  <a:gd name="connsiteY7" fmla="*/ 51315 h 62902"/>
                  <a:gd name="connsiteX8" fmla="*/ 51315 w 62902"/>
                  <a:gd name="connsiteY8" fmla="*/ 62902 h 62902"/>
                  <a:gd name="connsiteX9" fmla="*/ 51215 w 62902"/>
                  <a:gd name="connsiteY9" fmla="*/ 9932 h 62902"/>
                  <a:gd name="connsiteX10" fmla="*/ 11587 w 62902"/>
                  <a:gd name="connsiteY10" fmla="*/ 9932 h 62902"/>
                  <a:gd name="connsiteX11" fmla="*/ 9932 w 62902"/>
                  <a:gd name="connsiteY11" fmla="*/ 11587 h 62902"/>
                  <a:gd name="connsiteX12" fmla="*/ 9932 w 62902"/>
                  <a:gd name="connsiteY12" fmla="*/ 51315 h 62902"/>
                  <a:gd name="connsiteX13" fmla="*/ 11688 w 62902"/>
                  <a:gd name="connsiteY13" fmla="*/ 52970 h 62902"/>
                  <a:gd name="connsiteX14" fmla="*/ 51265 w 62902"/>
                  <a:gd name="connsiteY14" fmla="*/ 52970 h 62902"/>
                  <a:gd name="connsiteX15" fmla="*/ 52996 w 62902"/>
                  <a:gd name="connsiteY15" fmla="*/ 51315 h 62902"/>
                  <a:gd name="connsiteX16" fmla="*/ 52996 w 62902"/>
                  <a:gd name="connsiteY16" fmla="*/ 11587 h 62902"/>
                  <a:gd name="connsiteX17" fmla="*/ 51215 w 62902"/>
                  <a:gd name="connsiteY17" fmla="*/ 9932 h 6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02" h="62902">
                    <a:moveTo>
                      <a:pt x="51315" y="62902"/>
                    </a:moveTo>
                    <a:lnTo>
                      <a:pt x="11587" y="62902"/>
                    </a:lnTo>
                    <a:cubicBezTo>
                      <a:pt x="6922" y="62902"/>
                      <a:pt x="0" y="59817"/>
                      <a:pt x="0" y="51315"/>
                    </a:cubicBezTo>
                    <a:lnTo>
                      <a:pt x="0" y="11587"/>
                    </a:lnTo>
                    <a:cubicBezTo>
                      <a:pt x="0" y="3085"/>
                      <a:pt x="6922" y="0"/>
                      <a:pt x="11587" y="0"/>
                    </a:cubicBezTo>
                    <a:lnTo>
                      <a:pt x="51315" y="0"/>
                    </a:lnTo>
                    <a:cubicBezTo>
                      <a:pt x="55980" y="0"/>
                      <a:pt x="62902" y="3085"/>
                      <a:pt x="62902" y="11587"/>
                    </a:cubicBezTo>
                    <a:lnTo>
                      <a:pt x="62902" y="51315"/>
                    </a:lnTo>
                    <a:cubicBezTo>
                      <a:pt x="62902" y="59817"/>
                      <a:pt x="55955" y="62902"/>
                      <a:pt x="51315" y="62902"/>
                    </a:cubicBezTo>
                    <a:close/>
                    <a:moveTo>
                      <a:pt x="51215" y="9932"/>
                    </a:moveTo>
                    <a:lnTo>
                      <a:pt x="11587" y="9932"/>
                    </a:lnTo>
                    <a:cubicBezTo>
                      <a:pt x="9932" y="10007"/>
                      <a:pt x="9932" y="10835"/>
                      <a:pt x="9932" y="11587"/>
                    </a:cubicBezTo>
                    <a:lnTo>
                      <a:pt x="9932" y="51315"/>
                    </a:lnTo>
                    <a:cubicBezTo>
                      <a:pt x="9932" y="52068"/>
                      <a:pt x="9932" y="52895"/>
                      <a:pt x="11688" y="52970"/>
                    </a:cubicBezTo>
                    <a:lnTo>
                      <a:pt x="51265" y="52970"/>
                    </a:lnTo>
                    <a:cubicBezTo>
                      <a:pt x="52996" y="52895"/>
                      <a:pt x="52996" y="52042"/>
                      <a:pt x="52996" y="51315"/>
                    </a:cubicBezTo>
                    <a:lnTo>
                      <a:pt x="52996" y="11587"/>
                    </a:lnTo>
                    <a:cubicBezTo>
                      <a:pt x="52970" y="10860"/>
                      <a:pt x="52970" y="10007"/>
                      <a:pt x="51215" y="9932"/>
                    </a:cubicBezTo>
                    <a:close/>
                  </a:path>
                </a:pathLst>
              </a:custGeom>
              <a:solidFill>
                <a:schemeClr val="tx2"/>
              </a:solidFill>
              <a:ln w="2503" cap="flat">
                <a:noFill/>
                <a:prstDash val="solid"/>
                <a:miter/>
              </a:ln>
            </p:spPr>
            <p:txBody>
              <a:bodyPr rtlCol="0" anchor="ctr"/>
              <a:lstStyle/>
              <a:p>
                <a:endParaRPr lang="en-GB" dirty="0"/>
              </a:p>
            </p:txBody>
          </p:sp>
          <p:sp>
            <p:nvSpPr>
              <p:cNvPr id="527" name="Freihandform: Form 1042">
                <a:extLst>
                  <a:ext uri="{FF2B5EF4-FFF2-40B4-BE49-F238E27FC236}">
                    <a16:creationId xmlns:a16="http://schemas.microsoft.com/office/drawing/2014/main" id="{3510F3EB-1A65-4CC6-A564-37F54D536948}"/>
                  </a:ext>
                </a:extLst>
              </p:cNvPr>
              <p:cNvSpPr/>
              <p:nvPr/>
            </p:nvSpPr>
            <p:spPr>
              <a:xfrm>
                <a:off x="7312515" y="3494793"/>
                <a:ext cx="62902" cy="62902"/>
              </a:xfrm>
              <a:custGeom>
                <a:avLst/>
                <a:gdLst>
                  <a:gd name="connsiteX0" fmla="*/ 51315 w 62902"/>
                  <a:gd name="connsiteY0" fmla="*/ 62902 h 62902"/>
                  <a:gd name="connsiteX1" fmla="*/ 11587 w 62902"/>
                  <a:gd name="connsiteY1" fmla="*/ 62902 h 62902"/>
                  <a:gd name="connsiteX2" fmla="*/ 0 w 62902"/>
                  <a:gd name="connsiteY2" fmla="*/ 51315 h 62902"/>
                  <a:gd name="connsiteX3" fmla="*/ 0 w 62902"/>
                  <a:gd name="connsiteY3" fmla="*/ 11587 h 62902"/>
                  <a:gd name="connsiteX4" fmla="*/ 11587 w 62902"/>
                  <a:gd name="connsiteY4" fmla="*/ 0 h 62902"/>
                  <a:gd name="connsiteX5" fmla="*/ 51315 w 62902"/>
                  <a:gd name="connsiteY5" fmla="*/ 0 h 62902"/>
                  <a:gd name="connsiteX6" fmla="*/ 62902 w 62902"/>
                  <a:gd name="connsiteY6" fmla="*/ 11587 h 62902"/>
                  <a:gd name="connsiteX7" fmla="*/ 62902 w 62902"/>
                  <a:gd name="connsiteY7" fmla="*/ 51315 h 62902"/>
                  <a:gd name="connsiteX8" fmla="*/ 51315 w 62902"/>
                  <a:gd name="connsiteY8" fmla="*/ 62902 h 62902"/>
                  <a:gd name="connsiteX9" fmla="*/ 51215 w 62902"/>
                  <a:gd name="connsiteY9" fmla="*/ 9932 h 62902"/>
                  <a:gd name="connsiteX10" fmla="*/ 11587 w 62902"/>
                  <a:gd name="connsiteY10" fmla="*/ 9932 h 62902"/>
                  <a:gd name="connsiteX11" fmla="*/ 9932 w 62902"/>
                  <a:gd name="connsiteY11" fmla="*/ 11587 h 62902"/>
                  <a:gd name="connsiteX12" fmla="*/ 9932 w 62902"/>
                  <a:gd name="connsiteY12" fmla="*/ 51315 h 62902"/>
                  <a:gd name="connsiteX13" fmla="*/ 11688 w 62902"/>
                  <a:gd name="connsiteY13" fmla="*/ 52970 h 62902"/>
                  <a:gd name="connsiteX14" fmla="*/ 51265 w 62902"/>
                  <a:gd name="connsiteY14" fmla="*/ 52970 h 62902"/>
                  <a:gd name="connsiteX15" fmla="*/ 52996 w 62902"/>
                  <a:gd name="connsiteY15" fmla="*/ 51315 h 62902"/>
                  <a:gd name="connsiteX16" fmla="*/ 52996 w 62902"/>
                  <a:gd name="connsiteY16" fmla="*/ 11587 h 62902"/>
                  <a:gd name="connsiteX17" fmla="*/ 51215 w 62902"/>
                  <a:gd name="connsiteY17" fmla="*/ 9932 h 6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02" h="62902">
                    <a:moveTo>
                      <a:pt x="51315" y="62902"/>
                    </a:moveTo>
                    <a:lnTo>
                      <a:pt x="11587" y="62902"/>
                    </a:lnTo>
                    <a:cubicBezTo>
                      <a:pt x="6922" y="62902"/>
                      <a:pt x="0" y="59817"/>
                      <a:pt x="0" y="51315"/>
                    </a:cubicBezTo>
                    <a:lnTo>
                      <a:pt x="0" y="11587"/>
                    </a:lnTo>
                    <a:cubicBezTo>
                      <a:pt x="0" y="3085"/>
                      <a:pt x="6922" y="0"/>
                      <a:pt x="11587" y="0"/>
                    </a:cubicBezTo>
                    <a:lnTo>
                      <a:pt x="51315" y="0"/>
                    </a:lnTo>
                    <a:cubicBezTo>
                      <a:pt x="55980" y="0"/>
                      <a:pt x="62902" y="3085"/>
                      <a:pt x="62902" y="11587"/>
                    </a:cubicBezTo>
                    <a:lnTo>
                      <a:pt x="62902" y="51315"/>
                    </a:lnTo>
                    <a:cubicBezTo>
                      <a:pt x="62902" y="59817"/>
                      <a:pt x="55980" y="62902"/>
                      <a:pt x="51315" y="62902"/>
                    </a:cubicBezTo>
                    <a:close/>
                    <a:moveTo>
                      <a:pt x="51215" y="9932"/>
                    </a:moveTo>
                    <a:lnTo>
                      <a:pt x="11587" y="9932"/>
                    </a:lnTo>
                    <a:cubicBezTo>
                      <a:pt x="9932" y="10007"/>
                      <a:pt x="9932" y="10835"/>
                      <a:pt x="9932" y="11587"/>
                    </a:cubicBezTo>
                    <a:lnTo>
                      <a:pt x="9932" y="51315"/>
                    </a:lnTo>
                    <a:cubicBezTo>
                      <a:pt x="9932" y="52068"/>
                      <a:pt x="9932" y="52895"/>
                      <a:pt x="11688" y="52970"/>
                    </a:cubicBezTo>
                    <a:lnTo>
                      <a:pt x="51265" y="52970"/>
                    </a:lnTo>
                    <a:cubicBezTo>
                      <a:pt x="52996" y="52895"/>
                      <a:pt x="52996" y="52042"/>
                      <a:pt x="52996" y="51315"/>
                    </a:cubicBezTo>
                    <a:lnTo>
                      <a:pt x="52996" y="11587"/>
                    </a:lnTo>
                    <a:cubicBezTo>
                      <a:pt x="52970" y="10860"/>
                      <a:pt x="52970" y="10007"/>
                      <a:pt x="51215" y="9932"/>
                    </a:cubicBezTo>
                    <a:close/>
                  </a:path>
                </a:pathLst>
              </a:custGeom>
              <a:solidFill>
                <a:schemeClr val="tx2"/>
              </a:solidFill>
              <a:ln w="2503" cap="flat">
                <a:noFill/>
                <a:prstDash val="solid"/>
                <a:miter/>
              </a:ln>
            </p:spPr>
            <p:txBody>
              <a:bodyPr rtlCol="0" anchor="ctr"/>
              <a:lstStyle/>
              <a:p>
                <a:endParaRPr lang="en-GB" dirty="0"/>
              </a:p>
            </p:txBody>
          </p:sp>
          <p:sp>
            <p:nvSpPr>
              <p:cNvPr id="528" name="Freihandform: Form 1043">
                <a:extLst>
                  <a:ext uri="{FF2B5EF4-FFF2-40B4-BE49-F238E27FC236}">
                    <a16:creationId xmlns:a16="http://schemas.microsoft.com/office/drawing/2014/main" id="{1F1E7482-CB75-42F0-90D9-3A45F5AC358A}"/>
                  </a:ext>
                </a:extLst>
              </p:cNvPr>
              <p:cNvSpPr/>
              <p:nvPr/>
            </p:nvSpPr>
            <p:spPr>
              <a:xfrm>
                <a:off x="7014582" y="3580870"/>
                <a:ext cx="62902" cy="62902"/>
              </a:xfrm>
              <a:custGeom>
                <a:avLst/>
                <a:gdLst>
                  <a:gd name="connsiteX0" fmla="*/ 51315 w 62902"/>
                  <a:gd name="connsiteY0" fmla="*/ 62902 h 62902"/>
                  <a:gd name="connsiteX1" fmla="*/ 11587 w 62902"/>
                  <a:gd name="connsiteY1" fmla="*/ 62902 h 62902"/>
                  <a:gd name="connsiteX2" fmla="*/ 0 w 62902"/>
                  <a:gd name="connsiteY2" fmla="*/ 51315 h 62902"/>
                  <a:gd name="connsiteX3" fmla="*/ 0 w 62902"/>
                  <a:gd name="connsiteY3" fmla="*/ 11587 h 62902"/>
                  <a:gd name="connsiteX4" fmla="*/ 11587 w 62902"/>
                  <a:gd name="connsiteY4" fmla="*/ 0 h 62902"/>
                  <a:gd name="connsiteX5" fmla="*/ 51315 w 62902"/>
                  <a:gd name="connsiteY5" fmla="*/ 0 h 62902"/>
                  <a:gd name="connsiteX6" fmla="*/ 62902 w 62902"/>
                  <a:gd name="connsiteY6" fmla="*/ 11587 h 62902"/>
                  <a:gd name="connsiteX7" fmla="*/ 62902 w 62902"/>
                  <a:gd name="connsiteY7" fmla="*/ 51315 h 62902"/>
                  <a:gd name="connsiteX8" fmla="*/ 51315 w 62902"/>
                  <a:gd name="connsiteY8" fmla="*/ 62902 h 62902"/>
                  <a:gd name="connsiteX9" fmla="*/ 51215 w 62902"/>
                  <a:gd name="connsiteY9" fmla="*/ 9932 h 62902"/>
                  <a:gd name="connsiteX10" fmla="*/ 11587 w 62902"/>
                  <a:gd name="connsiteY10" fmla="*/ 9932 h 62902"/>
                  <a:gd name="connsiteX11" fmla="*/ 9932 w 62902"/>
                  <a:gd name="connsiteY11" fmla="*/ 11587 h 62902"/>
                  <a:gd name="connsiteX12" fmla="*/ 9932 w 62902"/>
                  <a:gd name="connsiteY12" fmla="*/ 51315 h 62902"/>
                  <a:gd name="connsiteX13" fmla="*/ 11688 w 62902"/>
                  <a:gd name="connsiteY13" fmla="*/ 52970 h 62902"/>
                  <a:gd name="connsiteX14" fmla="*/ 51265 w 62902"/>
                  <a:gd name="connsiteY14" fmla="*/ 52970 h 62902"/>
                  <a:gd name="connsiteX15" fmla="*/ 52996 w 62902"/>
                  <a:gd name="connsiteY15" fmla="*/ 51315 h 62902"/>
                  <a:gd name="connsiteX16" fmla="*/ 52996 w 62902"/>
                  <a:gd name="connsiteY16" fmla="*/ 11587 h 62902"/>
                  <a:gd name="connsiteX17" fmla="*/ 51215 w 62902"/>
                  <a:gd name="connsiteY17" fmla="*/ 9932 h 6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02" h="62902">
                    <a:moveTo>
                      <a:pt x="51315" y="62902"/>
                    </a:moveTo>
                    <a:lnTo>
                      <a:pt x="11587" y="62902"/>
                    </a:lnTo>
                    <a:cubicBezTo>
                      <a:pt x="6922" y="62902"/>
                      <a:pt x="0" y="59817"/>
                      <a:pt x="0" y="51315"/>
                    </a:cubicBezTo>
                    <a:lnTo>
                      <a:pt x="0" y="11587"/>
                    </a:lnTo>
                    <a:cubicBezTo>
                      <a:pt x="0" y="3085"/>
                      <a:pt x="6922" y="0"/>
                      <a:pt x="11587" y="0"/>
                    </a:cubicBezTo>
                    <a:lnTo>
                      <a:pt x="51315" y="0"/>
                    </a:lnTo>
                    <a:cubicBezTo>
                      <a:pt x="55980" y="0"/>
                      <a:pt x="62902" y="3085"/>
                      <a:pt x="62902" y="11587"/>
                    </a:cubicBezTo>
                    <a:lnTo>
                      <a:pt x="62902" y="51315"/>
                    </a:lnTo>
                    <a:cubicBezTo>
                      <a:pt x="62902" y="59817"/>
                      <a:pt x="55955" y="62902"/>
                      <a:pt x="51315" y="62902"/>
                    </a:cubicBezTo>
                    <a:close/>
                    <a:moveTo>
                      <a:pt x="51215" y="9932"/>
                    </a:moveTo>
                    <a:lnTo>
                      <a:pt x="11587" y="9932"/>
                    </a:lnTo>
                    <a:cubicBezTo>
                      <a:pt x="9932" y="10007"/>
                      <a:pt x="9932" y="10835"/>
                      <a:pt x="9932" y="11587"/>
                    </a:cubicBezTo>
                    <a:lnTo>
                      <a:pt x="9932" y="51315"/>
                    </a:lnTo>
                    <a:cubicBezTo>
                      <a:pt x="9932" y="52068"/>
                      <a:pt x="9932" y="52895"/>
                      <a:pt x="11688" y="52970"/>
                    </a:cubicBezTo>
                    <a:lnTo>
                      <a:pt x="51265" y="52970"/>
                    </a:lnTo>
                    <a:cubicBezTo>
                      <a:pt x="52996" y="52895"/>
                      <a:pt x="52996" y="52042"/>
                      <a:pt x="52996" y="51315"/>
                    </a:cubicBezTo>
                    <a:lnTo>
                      <a:pt x="52996" y="11587"/>
                    </a:lnTo>
                    <a:cubicBezTo>
                      <a:pt x="52970" y="10835"/>
                      <a:pt x="52970" y="10007"/>
                      <a:pt x="51215" y="9932"/>
                    </a:cubicBezTo>
                    <a:close/>
                  </a:path>
                </a:pathLst>
              </a:custGeom>
              <a:solidFill>
                <a:schemeClr val="tx2"/>
              </a:solidFill>
              <a:ln w="2503" cap="flat">
                <a:noFill/>
                <a:prstDash val="solid"/>
                <a:miter/>
              </a:ln>
            </p:spPr>
            <p:txBody>
              <a:bodyPr rtlCol="0" anchor="ctr"/>
              <a:lstStyle/>
              <a:p>
                <a:endParaRPr lang="en-GB" dirty="0"/>
              </a:p>
            </p:txBody>
          </p:sp>
          <p:sp>
            <p:nvSpPr>
              <p:cNvPr id="529" name="Freihandform: Form 1044">
                <a:extLst>
                  <a:ext uri="{FF2B5EF4-FFF2-40B4-BE49-F238E27FC236}">
                    <a16:creationId xmlns:a16="http://schemas.microsoft.com/office/drawing/2014/main" id="{F730B9F7-75DC-4F15-8D93-249BC9B4779C}"/>
                  </a:ext>
                </a:extLst>
              </p:cNvPr>
              <p:cNvSpPr/>
              <p:nvPr/>
            </p:nvSpPr>
            <p:spPr>
              <a:xfrm>
                <a:off x="7312515" y="3580870"/>
                <a:ext cx="62902" cy="62902"/>
              </a:xfrm>
              <a:custGeom>
                <a:avLst/>
                <a:gdLst>
                  <a:gd name="connsiteX0" fmla="*/ 51315 w 62902"/>
                  <a:gd name="connsiteY0" fmla="*/ 62902 h 62902"/>
                  <a:gd name="connsiteX1" fmla="*/ 11587 w 62902"/>
                  <a:gd name="connsiteY1" fmla="*/ 62902 h 62902"/>
                  <a:gd name="connsiteX2" fmla="*/ 0 w 62902"/>
                  <a:gd name="connsiteY2" fmla="*/ 51315 h 62902"/>
                  <a:gd name="connsiteX3" fmla="*/ 0 w 62902"/>
                  <a:gd name="connsiteY3" fmla="*/ 11587 h 62902"/>
                  <a:gd name="connsiteX4" fmla="*/ 11587 w 62902"/>
                  <a:gd name="connsiteY4" fmla="*/ 0 h 62902"/>
                  <a:gd name="connsiteX5" fmla="*/ 51315 w 62902"/>
                  <a:gd name="connsiteY5" fmla="*/ 0 h 62902"/>
                  <a:gd name="connsiteX6" fmla="*/ 62902 w 62902"/>
                  <a:gd name="connsiteY6" fmla="*/ 11587 h 62902"/>
                  <a:gd name="connsiteX7" fmla="*/ 62902 w 62902"/>
                  <a:gd name="connsiteY7" fmla="*/ 51315 h 62902"/>
                  <a:gd name="connsiteX8" fmla="*/ 51315 w 62902"/>
                  <a:gd name="connsiteY8" fmla="*/ 62902 h 62902"/>
                  <a:gd name="connsiteX9" fmla="*/ 51215 w 62902"/>
                  <a:gd name="connsiteY9" fmla="*/ 9932 h 62902"/>
                  <a:gd name="connsiteX10" fmla="*/ 11587 w 62902"/>
                  <a:gd name="connsiteY10" fmla="*/ 9932 h 62902"/>
                  <a:gd name="connsiteX11" fmla="*/ 9932 w 62902"/>
                  <a:gd name="connsiteY11" fmla="*/ 11587 h 62902"/>
                  <a:gd name="connsiteX12" fmla="*/ 9932 w 62902"/>
                  <a:gd name="connsiteY12" fmla="*/ 51315 h 62902"/>
                  <a:gd name="connsiteX13" fmla="*/ 11688 w 62902"/>
                  <a:gd name="connsiteY13" fmla="*/ 52970 h 62902"/>
                  <a:gd name="connsiteX14" fmla="*/ 51265 w 62902"/>
                  <a:gd name="connsiteY14" fmla="*/ 52970 h 62902"/>
                  <a:gd name="connsiteX15" fmla="*/ 52996 w 62902"/>
                  <a:gd name="connsiteY15" fmla="*/ 51315 h 62902"/>
                  <a:gd name="connsiteX16" fmla="*/ 52996 w 62902"/>
                  <a:gd name="connsiteY16" fmla="*/ 11587 h 62902"/>
                  <a:gd name="connsiteX17" fmla="*/ 51215 w 62902"/>
                  <a:gd name="connsiteY17" fmla="*/ 9932 h 62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02" h="62902">
                    <a:moveTo>
                      <a:pt x="51315" y="62902"/>
                    </a:moveTo>
                    <a:lnTo>
                      <a:pt x="11587" y="62902"/>
                    </a:lnTo>
                    <a:cubicBezTo>
                      <a:pt x="6922" y="62902"/>
                      <a:pt x="0" y="59817"/>
                      <a:pt x="0" y="51315"/>
                    </a:cubicBezTo>
                    <a:lnTo>
                      <a:pt x="0" y="11587"/>
                    </a:lnTo>
                    <a:cubicBezTo>
                      <a:pt x="0" y="3085"/>
                      <a:pt x="6922" y="0"/>
                      <a:pt x="11587" y="0"/>
                    </a:cubicBezTo>
                    <a:lnTo>
                      <a:pt x="51315" y="0"/>
                    </a:lnTo>
                    <a:cubicBezTo>
                      <a:pt x="55980" y="0"/>
                      <a:pt x="62902" y="3085"/>
                      <a:pt x="62902" y="11587"/>
                    </a:cubicBezTo>
                    <a:lnTo>
                      <a:pt x="62902" y="51315"/>
                    </a:lnTo>
                    <a:cubicBezTo>
                      <a:pt x="62902" y="59817"/>
                      <a:pt x="55980" y="62902"/>
                      <a:pt x="51315" y="62902"/>
                    </a:cubicBezTo>
                    <a:close/>
                    <a:moveTo>
                      <a:pt x="51215" y="9932"/>
                    </a:moveTo>
                    <a:lnTo>
                      <a:pt x="11587" y="9932"/>
                    </a:lnTo>
                    <a:cubicBezTo>
                      <a:pt x="9932" y="10007"/>
                      <a:pt x="9932" y="10835"/>
                      <a:pt x="9932" y="11587"/>
                    </a:cubicBezTo>
                    <a:lnTo>
                      <a:pt x="9932" y="51315"/>
                    </a:lnTo>
                    <a:cubicBezTo>
                      <a:pt x="9932" y="52068"/>
                      <a:pt x="9932" y="52895"/>
                      <a:pt x="11688" y="52970"/>
                    </a:cubicBezTo>
                    <a:lnTo>
                      <a:pt x="51265" y="52970"/>
                    </a:lnTo>
                    <a:cubicBezTo>
                      <a:pt x="52996" y="52895"/>
                      <a:pt x="52996" y="52042"/>
                      <a:pt x="52996" y="51315"/>
                    </a:cubicBezTo>
                    <a:lnTo>
                      <a:pt x="52996" y="11587"/>
                    </a:lnTo>
                    <a:cubicBezTo>
                      <a:pt x="52970" y="10835"/>
                      <a:pt x="52970" y="10007"/>
                      <a:pt x="51215" y="9932"/>
                    </a:cubicBezTo>
                    <a:close/>
                  </a:path>
                </a:pathLst>
              </a:custGeom>
              <a:solidFill>
                <a:schemeClr val="tx2"/>
              </a:solidFill>
              <a:ln w="2503" cap="flat">
                <a:noFill/>
                <a:prstDash val="solid"/>
                <a:miter/>
              </a:ln>
            </p:spPr>
            <p:txBody>
              <a:bodyPr rtlCol="0" anchor="ctr"/>
              <a:lstStyle/>
              <a:p>
                <a:endParaRPr lang="en-GB" dirty="0"/>
              </a:p>
            </p:txBody>
          </p:sp>
          <p:grpSp>
            <p:nvGrpSpPr>
              <p:cNvPr id="530" name="Grafik 16">
                <a:extLst>
                  <a:ext uri="{FF2B5EF4-FFF2-40B4-BE49-F238E27FC236}">
                    <a16:creationId xmlns:a16="http://schemas.microsoft.com/office/drawing/2014/main" id="{AC7D82EA-9835-482E-83CB-6CCCC431AA1E}"/>
                  </a:ext>
                </a:extLst>
              </p:cNvPr>
              <p:cNvGrpSpPr/>
              <p:nvPr/>
            </p:nvGrpSpPr>
            <p:grpSpPr>
              <a:xfrm>
                <a:off x="7099881" y="3483130"/>
                <a:ext cx="199391" cy="353888"/>
                <a:chOff x="7099881" y="3483130"/>
                <a:chExt cx="199391" cy="353888"/>
              </a:xfrm>
              <a:solidFill>
                <a:schemeClr val="tx2"/>
              </a:solidFill>
            </p:grpSpPr>
            <p:sp>
              <p:nvSpPr>
                <p:cNvPr id="531" name="Freihandform: Form 1046">
                  <a:extLst>
                    <a:ext uri="{FF2B5EF4-FFF2-40B4-BE49-F238E27FC236}">
                      <a16:creationId xmlns:a16="http://schemas.microsoft.com/office/drawing/2014/main" id="{F34412AB-4C97-4349-B7A8-9005B05FB592}"/>
                    </a:ext>
                  </a:extLst>
                </p:cNvPr>
                <p:cNvSpPr/>
                <p:nvPr/>
              </p:nvSpPr>
              <p:spPr>
                <a:xfrm>
                  <a:off x="7099881" y="3483130"/>
                  <a:ext cx="199391" cy="199416"/>
                </a:xfrm>
                <a:custGeom>
                  <a:avLst/>
                  <a:gdLst>
                    <a:gd name="connsiteX0" fmla="*/ 99696 w 199391"/>
                    <a:gd name="connsiteY0" fmla="*/ 199417 h 199416"/>
                    <a:gd name="connsiteX1" fmla="*/ 99646 w 199391"/>
                    <a:gd name="connsiteY1" fmla="*/ 199417 h 199416"/>
                    <a:gd name="connsiteX2" fmla="*/ 0 w 199391"/>
                    <a:gd name="connsiteY2" fmla="*/ 99671 h 199416"/>
                    <a:gd name="connsiteX3" fmla="*/ 0 w 199391"/>
                    <a:gd name="connsiteY3" fmla="*/ 99671 h 199416"/>
                    <a:gd name="connsiteX4" fmla="*/ 99721 w 199391"/>
                    <a:gd name="connsiteY4" fmla="*/ 0 h 199416"/>
                    <a:gd name="connsiteX5" fmla="*/ 99746 w 199391"/>
                    <a:gd name="connsiteY5" fmla="*/ 0 h 199416"/>
                    <a:gd name="connsiteX6" fmla="*/ 199392 w 199391"/>
                    <a:gd name="connsiteY6" fmla="*/ 99746 h 199416"/>
                    <a:gd name="connsiteX7" fmla="*/ 170147 w 199391"/>
                    <a:gd name="connsiteY7" fmla="*/ 170223 h 199416"/>
                    <a:gd name="connsiteX8" fmla="*/ 99696 w 199391"/>
                    <a:gd name="connsiteY8" fmla="*/ 199417 h 199416"/>
                    <a:gd name="connsiteX9" fmla="*/ 9932 w 199391"/>
                    <a:gd name="connsiteY9" fmla="*/ 99696 h 199416"/>
                    <a:gd name="connsiteX10" fmla="*/ 99646 w 199391"/>
                    <a:gd name="connsiteY10" fmla="*/ 189510 h 199416"/>
                    <a:gd name="connsiteX11" fmla="*/ 99696 w 199391"/>
                    <a:gd name="connsiteY11" fmla="*/ 189510 h 199416"/>
                    <a:gd name="connsiteX12" fmla="*/ 163150 w 199391"/>
                    <a:gd name="connsiteY12" fmla="*/ 163250 h 199416"/>
                    <a:gd name="connsiteX13" fmla="*/ 189460 w 199391"/>
                    <a:gd name="connsiteY13" fmla="*/ 99796 h 199416"/>
                    <a:gd name="connsiteX14" fmla="*/ 99746 w 199391"/>
                    <a:gd name="connsiteY14" fmla="*/ 9982 h 199416"/>
                    <a:gd name="connsiteX15" fmla="*/ 99721 w 199391"/>
                    <a:gd name="connsiteY15" fmla="*/ 9982 h 199416"/>
                    <a:gd name="connsiteX16" fmla="*/ 9932 w 199391"/>
                    <a:gd name="connsiteY16" fmla="*/ 99696 h 199416"/>
                    <a:gd name="connsiteX17" fmla="*/ 9932 w 199391"/>
                    <a:gd name="connsiteY17" fmla="*/ 99696 h 19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9391" h="199416">
                      <a:moveTo>
                        <a:pt x="99696" y="199417"/>
                      </a:moveTo>
                      <a:cubicBezTo>
                        <a:pt x="99671" y="199417"/>
                        <a:pt x="99671" y="199417"/>
                        <a:pt x="99646" y="199417"/>
                      </a:cubicBezTo>
                      <a:cubicBezTo>
                        <a:pt x="44694" y="199392"/>
                        <a:pt x="-25" y="154648"/>
                        <a:pt x="0" y="99671"/>
                      </a:cubicBezTo>
                      <a:lnTo>
                        <a:pt x="0" y="99671"/>
                      </a:lnTo>
                      <a:cubicBezTo>
                        <a:pt x="25" y="44719"/>
                        <a:pt x="44769" y="0"/>
                        <a:pt x="99721" y="0"/>
                      </a:cubicBezTo>
                      <a:cubicBezTo>
                        <a:pt x="99746" y="0"/>
                        <a:pt x="99746" y="0"/>
                        <a:pt x="99746" y="0"/>
                      </a:cubicBezTo>
                      <a:cubicBezTo>
                        <a:pt x="154723" y="25"/>
                        <a:pt x="199417" y="44769"/>
                        <a:pt x="199392" y="99746"/>
                      </a:cubicBezTo>
                      <a:cubicBezTo>
                        <a:pt x="199392" y="126382"/>
                        <a:pt x="189008" y="151412"/>
                        <a:pt x="170147" y="170223"/>
                      </a:cubicBezTo>
                      <a:cubicBezTo>
                        <a:pt x="151337" y="189058"/>
                        <a:pt x="126306" y="199417"/>
                        <a:pt x="99696" y="199417"/>
                      </a:cubicBezTo>
                      <a:close/>
                      <a:moveTo>
                        <a:pt x="9932" y="99696"/>
                      </a:moveTo>
                      <a:cubicBezTo>
                        <a:pt x="9907" y="149205"/>
                        <a:pt x="50161" y="189485"/>
                        <a:pt x="99646" y="189510"/>
                      </a:cubicBezTo>
                      <a:cubicBezTo>
                        <a:pt x="99671" y="189510"/>
                        <a:pt x="99671" y="189510"/>
                        <a:pt x="99696" y="189510"/>
                      </a:cubicBezTo>
                      <a:cubicBezTo>
                        <a:pt x="123648" y="189510"/>
                        <a:pt x="146195" y="180180"/>
                        <a:pt x="163150" y="163250"/>
                      </a:cubicBezTo>
                      <a:cubicBezTo>
                        <a:pt x="180104" y="146296"/>
                        <a:pt x="189460" y="123773"/>
                        <a:pt x="189460" y="99796"/>
                      </a:cubicBezTo>
                      <a:cubicBezTo>
                        <a:pt x="189485" y="50287"/>
                        <a:pt x="149230" y="10007"/>
                        <a:pt x="99746" y="9982"/>
                      </a:cubicBezTo>
                      <a:cubicBezTo>
                        <a:pt x="99746" y="9982"/>
                        <a:pt x="99721" y="9982"/>
                        <a:pt x="99721" y="9982"/>
                      </a:cubicBezTo>
                      <a:cubicBezTo>
                        <a:pt x="50237" y="9957"/>
                        <a:pt x="9957" y="50212"/>
                        <a:pt x="9932" y="99696"/>
                      </a:cubicBezTo>
                      <a:lnTo>
                        <a:pt x="9932" y="99696"/>
                      </a:lnTo>
                      <a:close/>
                    </a:path>
                  </a:pathLst>
                </a:custGeom>
                <a:solidFill>
                  <a:schemeClr val="accent1"/>
                </a:solidFill>
                <a:ln w="2503" cap="flat">
                  <a:noFill/>
                  <a:prstDash val="solid"/>
                  <a:miter/>
                </a:ln>
              </p:spPr>
              <p:txBody>
                <a:bodyPr rtlCol="0" anchor="ctr"/>
                <a:lstStyle/>
                <a:p>
                  <a:endParaRPr lang="en-GB" dirty="0"/>
                </a:p>
              </p:txBody>
            </p:sp>
            <p:sp>
              <p:nvSpPr>
                <p:cNvPr id="532" name="Freihandform: Form 1047">
                  <a:extLst>
                    <a:ext uri="{FF2B5EF4-FFF2-40B4-BE49-F238E27FC236}">
                      <a16:creationId xmlns:a16="http://schemas.microsoft.com/office/drawing/2014/main" id="{95473F72-CA2A-467B-9648-37BC01576E5A}"/>
                    </a:ext>
                  </a:extLst>
                </p:cNvPr>
                <p:cNvSpPr/>
                <p:nvPr/>
              </p:nvSpPr>
              <p:spPr>
                <a:xfrm>
                  <a:off x="7194560" y="3674722"/>
                  <a:ext cx="10535" cy="52017"/>
                </a:xfrm>
                <a:custGeom>
                  <a:avLst/>
                  <a:gdLst>
                    <a:gd name="connsiteX0" fmla="*/ 5569 w 10535"/>
                    <a:gd name="connsiteY0" fmla="*/ 52017 h 52017"/>
                    <a:gd name="connsiteX1" fmla="*/ 603 w 10535"/>
                    <a:gd name="connsiteY1" fmla="*/ 47127 h 52017"/>
                    <a:gd name="connsiteX2" fmla="*/ 1 w 10535"/>
                    <a:gd name="connsiteY2" fmla="*/ 5041 h 52017"/>
                    <a:gd name="connsiteX3" fmla="*/ 4892 w 10535"/>
                    <a:gd name="connsiteY3" fmla="*/ 0 h 52017"/>
                    <a:gd name="connsiteX4" fmla="*/ 4967 w 10535"/>
                    <a:gd name="connsiteY4" fmla="*/ 0 h 52017"/>
                    <a:gd name="connsiteX5" fmla="*/ 9933 w 10535"/>
                    <a:gd name="connsiteY5" fmla="*/ 4891 h 52017"/>
                    <a:gd name="connsiteX6" fmla="*/ 10535 w 10535"/>
                    <a:gd name="connsiteY6" fmla="*/ 46976 h 52017"/>
                    <a:gd name="connsiteX7" fmla="*/ 5644 w 10535"/>
                    <a:gd name="connsiteY7" fmla="*/ 52017 h 52017"/>
                    <a:gd name="connsiteX8" fmla="*/ 5569 w 10535"/>
                    <a:gd name="connsiteY8" fmla="*/ 52017 h 5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35" h="52017">
                      <a:moveTo>
                        <a:pt x="5569" y="52017"/>
                      </a:moveTo>
                      <a:cubicBezTo>
                        <a:pt x="2860" y="52017"/>
                        <a:pt x="653" y="49835"/>
                        <a:pt x="603" y="47127"/>
                      </a:cubicBezTo>
                      <a:lnTo>
                        <a:pt x="1" y="5041"/>
                      </a:lnTo>
                      <a:cubicBezTo>
                        <a:pt x="-49" y="2307"/>
                        <a:pt x="2158" y="50"/>
                        <a:pt x="4892" y="0"/>
                      </a:cubicBezTo>
                      <a:cubicBezTo>
                        <a:pt x="4917" y="0"/>
                        <a:pt x="4942" y="0"/>
                        <a:pt x="4967" y="0"/>
                      </a:cubicBezTo>
                      <a:cubicBezTo>
                        <a:pt x="7676" y="0"/>
                        <a:pt x="9883" y="2182"/>
                        <a:pt x="9933" y="4891"/>
                      </a:cubicBezTo>
                      <a:lnTo>
                        <a:pt x="10535" y="46976"/>
                      </a:lnTo>
                      <a:cubicBezTo>
                        <a:pt x="10585" y="49710"/>
                        <a:pt x="8378" y="51967"/>
                        <a:pt x="5644" y="52017"/>
                      </a:cubicBezTo>
                      <a:cubicBezTo>
                        <a:pt x="5619" y="52017"/>
                        <a:pt x="5594" y="52017"/>
                        <a:pt x="5569" y="52017"/>
                      </a:cubicBezTo>
                      <a:close/>
                    </a:path>
                  </a:pathLst>
                </a:custGeom>
                <a:solidFill>
                  <a:schemeClr val="accent1"/>
                </a:solidFill>
                <a:ln w="2503" cap="flat">
                  <a:noFill/>
                  <a:prstDash val="solid"/>
                  <a:miter/>
                </a:ln>
              </p:spPr>
              <p:txBody>
                <a:bodyPr rtlCol="0" anchor="ctr"/>
                <a:lstStyle/>
                <a:p>
                  <a:endParaRPr lang="en-GB" dirty="0"/>
                </a:p>
              </p:txBody>
            </p:sp>
            <p:sp>
              <p:nvSpPr>
                <p:cNvPr id="533" name="Freihandform: Form 1048">
                  <a:extLst>
                    <a:ext uri="{FF2B5EF4-FFF2-40B4-BE49-F238E27FC236}">
                      <a16:creationId xmlns:a16="http://schemas.microsoft.com/office/drawing/2014/main" id="{3ECBE041-0D85-41AA-8133-743D53CF9A98}"/>
                    </a:ext>
                  </a:extLst>
                </p:cNvPr>
                <p:cNvSpPr/>
                <p:nvPr/>
              </p:nvSpPr>
              <p:spPr>
                <a:xfrm>
                  <a:off x="7178259" y="3718839"/>
                  <a:ext cx="42436" cy="118180"/>
                </a:xfrm>
                <a:custGeom>
                  <a:avLst/>
                  <a:gdLst>
                    <a:gd name="connsiteX0" fmla="*/ 21218 w 42436"/>
                    <a:gd name="connsiteY0" fmla="*/ 118180 h 118180"/>
                    <a:gd name="connsiteX1" fmla="*/ 0 w 42436"/>
                    <a:gd name="connsiteY1" fmla="*/ 93375 h 118180"/>
                    <a:gd name="connsiteX2" fmla="*/ 25 w 42436"/>
                    <a:gd name="connsiteY2" fmla="*/ 24805 h 118180"/>
                    <a:gd name="connsiteX3" fmla="*/ 7449 w 42436"/>
                    <a:gd name="connsiteY3" fmla="*/ 5919 h 118180"/>
                    <a:gd name="connsiteX4" fmla="*/ 21218 w 42436"/>
                    <a:gd name="connsiteY4" fmla="*/ 0 h 118180"/>
                    <a:gd name="connsiteX5" fmla="*/ 21268 w 42436"/>
                    <a:gd name="connsiteY5" fmla="*/ 0 h 118180"/>
                    <a:gd name="connsiteX6" fmla="*/ 35013 w 42436"/>
                    <a:gd name="connsiteY6" fmla="*/ 5919 h 118180"/>
                    <a:gd name="connsiteX7" fmla="*/ 42436 w 42436"/>
                    <a:gd name="connsiteY7" fmla="*/ 24830 h 118180"/>
                    <a:gd name="connsiteX8" fmla="*/ 42411 w 42436"/>
                    <a:gd name="connsiteY8" fmla="*/ 93400 h 118180"/>
                    <a:gd name="connsiteX9" fmla="*/ 21218 w 42436"/>
                    <a:gd name="connsiteY9" fmla="*/ 118180 h 118180"/>
                    <a:gd name="connsiteX10" fmla="*/ 21243 w 42436"/>
                    <a:gd name="connsiteY10" fmla="*/ 9907 h 118180"/>
                    <a:gd name="connsiteX11" fmla="*/ 14497 w 42436"/>
                    <a:gd name="connsiteY11" fmla="*/ 12916 h 118180"/>
                    <a:gd name="connsiteX12" fmla="*/ 9982 w 42436"/>
                    <a:gd name="connsiteY12" fmla="*/ 24780 h 118180"/>
                    <a:gd name="connsiteX13" fmla="*/ 9982 w 42436"/>
                    <a:gd name="connsiteY13" fmla="*/ 24780 h 118180"/>
                    <a:gd name="connsiteX14" fmla="*/ 9957 w 42436"/>
                    <a:gd name="connsiteY14" fmla="*/ 93350 h 118180"/>
                    <a:gd name="connsiteX15" fmla="*/ 21243 w 42436"/>
                    <a:gd name="connsiteY15" fmla="*/ 108223 h 118180"/>
                    <a:gd name="connsiteX16" fmla="*/ 32530 w 42436"/>
                    <a:gd name="connsiteY16" fmla="*/ 93350 h 118180"/>
                    <a:gd name="connsiteX17" fmla="*/ 32555 w 42436"/>
                    <a:gd name="connsiteY17" fmla="*/ 24780 h 118180"/>
                    <a:gd name="connsiteX18" fmla="*/ 28040 w 42436"/>
                    <a:gd name="connsiteY18" fmla="*/ 12916 h 118180"/>
                    <a:gd name="connsiteX19" fmla="*/ 21293 w 42436"/>
                    <a:gd name="connsiteY19" fmla="*/ 9907 h 118180"/>
                    <a:gd name="connsiteX20" fmla="*/ 21243 w 42436"/>
                    <a:gd name="connsiteY20" fmla="*/ 9907 h 118180"/>
                    <a:gd name="connsiteX21" fmla="*/ 5016 w 42436"/>
                    <a:gd name="connsiteY21" fmla="*/ 24780 h 118180"/>
                    <a:gd name="connsiteX22" fmla="*/ 5091 w 42436"/>
                    <a:gd name="connsiteY22" fmla="*/ 24780 h 118180"/>
                    <a:gd name="connsiteX23" fmla="*/ 5016 w 42436"/>
                    <a:gd name="connsiteY23" fmla="*/ 24780 h 118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2436" h="118180">
                      <a:moveTo>
                        <a:pt x="21218" y="118180"/>
                      </a:moveTo>
                      <a:cubicBezTo>
                        <a:pt x="9531" y="118155"/>
                        <a:pt x="0" y="107044"/>
                        <a:pt x="0" y="93375"/>
                      </a:cubicBezTo>
                      <a:lnTo>
                        <a:pt x="25" y="24805"/>
                      </a:lnTo>
                      <a:cubicBezTo>
                        <a:pt x="25" y="17506"/>
                        <a:pt x="2734" y="10634"/>
                        <a:pt x="7449" y="5919"/>
                      </a:cubicBezTo>
                      <a:cubicBezTo>
                        <a:pt x="11286" y="2107"/>
                        <a:pt x="16177" y="0"/>
                        <a:pt x="21218" y="0"/>
                      </a:cubicBezTo>
                      <a:cubicBezTo>
                        <a:pt x="21243" y="0"/>
                        <a:pt x="21268" y="0"/>
                        <a:pt x="21268" y="0"/>
                      </a:cubicBezTo>
                      <a:cubicBezTo>
                        <a:pt x="26310" y="0"/>
                        <a:pt x="31200" y="2107"/>
                        <a:pt x="35013" y="5919"/>
                      </a:cubicBezTo>
                      <a:cubicBezTo>
                        <a:pt x="39728" y="10634"/>
                        <a:pt x="42436" y="17531"/>
                        <a:pt x="42436" y="24830"/>
                      </a:cubicBezTo>
                      <a:lnTo>
                        <a:pt x="42411" y="93400"/>
                      </a:lnTo>
                      <a:cubicBezTo>
                        <a:pt x="42436" y="107044"/>
                        <a:pt x="32906" y="118180"/>
                        <a:pt x="21218" y="118180"/>
                      </a:cubicBezTo>
                      <a:close/>
                      <a:moveTo>
                        <a:pt x="21243" y="9907"/>
                      </a:moveTo>
                      <a:cubicBezTo>
                        <a:pt x="18158" y="9907"/>
                        <a:pt x="15876" y="11537"/>
                        <a:pt x="14497" y="12916"/>
                      </a:cubicBezTo>
                      <a:cubicBezTo>
                        <a:pt x="11637" y="15776"/>
                        <a:pt x="9982" y="20090"/>
                        <a:pt x="9982" y="24780"/>
                      </a:cubicBezTo>
                      <a:lnTo>
                        <a:pt x="9982" y="24780"/>
                      </a:lnTo>
                      <a:lnTo>
                        <a:pt x="9957" y="93350"/>
                      </a:lnTo>
                      <a:cubicBezTo>
                        <a:pt x="9957" y="101401"/>
                        <a:pt x="15124" y="108223"/>
                        <a:pt x="21243" y="108223"/>
                      </a:cubicBezTo>
                      <a:cubicBezTo>
                        <a:pt x="27438" y="108223"/>
                        <a:pt x="32504" y="101552"/>
                        <a:pt x="32530" y="93350"/>
                      </a:cubicBezTo>
                      <a:lnTo>
                        <a:pt x="32555" y="24780"/>
                      </a:lnTo>
                      <a:cubicBezTo>
                        <a:pt x="32555" y="20090"/>
                        <a:pt x="30899" y="15776"/>
                        <a:pt x="28040" y="12916"/>
                      </a:cubicBezTo>
                      <a:cubicBezTo>
                        <a:pt x="26661" y="11537"/>
                        <a:pt x="24378" y="9907"/>
                        <a:pt x="21293" y="9907"/>
                      </a:cubicBezTo>
                      <a:cubicBezTo>
                        <a:pt x="21268" y="9907"/>
                        <a:pt x="21268" y="9907"/>
                        <a:pt x="21243" y="9907"/>
                      </a:cubicBezTo>
                      <a:close/>
                      <a:moveTo>
                        <a:pt x="5016" y="24780"/>
                      </a:moveTo>
                      <a:lnTo>
                        <a:pt x="5091" y="24780"/>
                      </a:lnTo>
                      <a:lnTo>
                        <a:pt x="5016" y="24780"/>
                      </a:lnTo>
                      <a:close/>
                    </a:path>
                  </a:pathLst>
                </a:custGeom>
                <a:solidFill>
                  <a:schemeClr val="accent1"/>
                </a:solidFill>
                <a:ln w="2503" cap="flat">
                  <a:noFill/>
                  <a:prstDash val="solid"/>
                  <a:miter/>
                </a:ln>
              </p:spPr>
              <p:txBody>
                <a:bodyPr rtlCol="0" anchor="ctr"/>
                <a:lstStyle/>
                <a:p>
                  <a:endParaRPr lang="en-GB" dirty="0"/>
                </a:p>
              </p:txBody>
            </p:sp>
          </p:grpSp>
        </p:grpSp>
        <p:grpSp>
          <p:nvGrpSpPr>
            <p:cNvPr id="514" name="Group 513">
              <a:extLst>
                <a:ext uri="{FF2B5EF4-FFF2-40B4-BE49-F238E27FC236}">
                  <a16:creationId xmlns:a16="http://schemas.microsoft.com/office/drawing/2014/main" id="{CF8E84C2-0032-4456-9957-5354102CE164}"/>
                </a:ext>
              </a:extLst>
            </p:cNvPr>
            <p:cNvGrpSpPr/>
            <p:nvPr/>
          </p:nvGrpSpPr>
          <p:grpSpPr>
            <a:xfrm>
              <a:off x="7280340" y="1786355"/>
              <a:ext cx="47177" cy="92767"/>
              <a:chOff x="7169756" y="3525717"/>
              <a:chExt cx="63404" cy="124676"/>
            </a:xfrm>
          </p:grpSpPr>
          <p:grpSp>
            <p:nvGrpSpPr>
              <p:cNvPr id="515" name="Grafik 16">
                <a:extLst>
                  <a:ext uri="{FF2B5EF4-FFF2-40B4-BE49-F238E27FC236}">
                    <a16:creationId xmlns:a16="http://schemas.microsoft.com/office/drawing/2014/main" id="{D9A076A0-245C-4B69-879F-05FF95F10A02}"/>
                  </a:ext>
                </a:extLst>
              </p:cNvPr>
              <p:cNvGrpSpPr/>
              <p:nvPr/>
            </p:nvGrpSpPr>
            <p:grpSpPr>
              <a:xfrm>
                <a:off x="7169756" y="3525717"/>
                <a:ext cx="63404" cy="118681"/>
                <a:chOff x="7169756" y="3525717"/>
                <a:chExt cx="63404" cy="118681"/>
              </a:xfrm>
              <a:solidFill>
                <a:schemeClr val="accent1"/>
              </a:solidFill>
            </p:grpSpPr>
            <p:grpSp>
              <p:nvGrpSpPr>
                <p:cNvPr id="517" name="Grafik 16">
                  <a:extLst>
                    <a:ext uri="{FF2B5EF4-FFF2-40B4-BE49-F238E27FC236}">
                      <a16:creationId xmlns:a16="http://schemas.microsoft.com/office/drawing/2014/main" id="{7E6F0C0E-59FC-49E8-B919-F2586869213F}"/>
                    </a:ext>
                  </a:extLst>
                </p:cNvPr>
                <p:cNvGrpSpPr/>
                <p:nvPr/>
              </p:nvGrpSpPr>
              <p:grpSpPr>
                <a:xfrm>
                  <a:off x="7169756" y="3525717"/>
                  <a:ext cx="63404" cy="118681"/>
                  <a:chOff x="7169756" y="3525717"/>
                  <a:chExt cx="63404" cy="118681"/>
                </a:xfrm>
                <a:solidFill>
                  <a:schemeClr val="accent1"/>
                </a:solidFill>
              </p:grpSpPr>
              <p:sp>
                <p:nvSpPr>
                  <p:cNvPr id="519" name="Freihandform: Form 1052">
                    <a:extLst>
                      <a:ext uri="{FF2B5EF4-FFF2-40B4-BE49-F238E27FC236}">
                        <a16:creationId xmlns:a16="http://schemas.microsoft.com/office/drawing/2014/main" id="{4CE872BA-50E6-40EF-BE82-8DB9DF2CB996}"/>
                      </a:ext>
                    </a:extLst>
                  </p:cNvPr>
                  <p:cNvSpPr/>
                  <p:nvPr/>
                </p:nvSpPr>
                <p:spPr>
                  <a:xfrm>
                    <a:off x="7169756" y="3525717"/>
                    <a:ext cx="63404" cy="83217"/>
                  </a:xfrm>
                  <a:custGeom>
                    <a:avLst/>
                    <a:gdLst>
                      <a:gd name="connsiteX0" fmla="*/ 31552 w 63404"/>
                      <a:gd name="connsiteY0" fmla="*/ 83218 h 83217"/>
                      <a:gd name="connsiteX1" fmla="*/ 31351 w 63404"/>
                      <a:gd name="connsiteY1" fmla="*/ 83218 h 83217"/>
                      <a:gd name="connsiteX2" fmla="*/ 9105 w 63404"/>
                      <a:gd name="connsiteY2" fmla="*/ 73838 h 83217"/>
                      <a:gd name="connsiteX3" fmla="*/ 1 w 63404"/>
                      <a:gd name="connsiteY3" fmla="*/ 51465 h 83217"/>
                      <a:gd name="connsiteX4" fmla="*/ 302 w 63404"/>
                      <a:gd name="connsiteY4" fmla="*/ 4941 h 83217"/>
                      <a:gd name="connsiteX5" fmla="*/ 5267 w 63404"/>
                      <a:gd name="connsiteY5" fmla="*/ 0 h 83217"/>
                      <a:gd name="connsiteX6" fmla="*/ 5293 w 63404"/>
                      <a:gd name="connsiteY6" fmla="*/ 0 h 83217"/>
                      <a:gd name="connsiteX7" fmla="*/ 58464 w 63404"/>
                      <a:gd name="connsiteY7" fmla="*/ 326 h 83217"/>
                      <a:gd name="connsiteX8" fmla="*/ 63405 w 63404"/>
                      <a:gd name="connsiteY8" fmla="*/ 5317 h 83217"/>
                      <a:gd name="connsiteX9" fmla="*/ 63129 w 63404"/>
                      <a:gd name="connsiteY9" fmla="*/ 51842 h 83217"/>
                      <a:gd name="connsiteX10" fmla="*/ 31552 w 63404"/>
                      <a:gd name="connsiteY10" fmla="*/ 83218 h 83217"/>
                      <a:gd name="connsiteX11" fmla="*/ 10183 w 63404"/>
                      <a:gd name="connsiteY11" fmla="*/ 9982 h 83217"/>
                      <a:gd name="connsiteX12" fmla="*/ 9933 w 63404"/>
                      <a:gd name="connsiteY12" fmla="*/ 51541 h 83217"/>
                      <a:gd name="connsiteX13" fmla="*/ 16178 w 63404"/>
                      <a:gd name="connsiteY13" fmla="*/ 66865 h 83217"/>
                      <a:gd name="connsiteX14" fmla="*/ 31427 w 63404"/>
                      <a:gd name="connsiteY14" fmla="*/ 73286 h 83217"/>
                      <a:gd name="connsiteX15" fmla="*/ 31552 w 63404"/>
                      <a:gd name="connsiteY15" fmla="*/ 73286 h 83217"/>
                      <a:gd name="connsiteX16" fmla="*/ 53172 w 63404"/>
                      <a:gd name="connsiteY16" fmla="*/ 51792 h 83217"/>
                      <a:gd name="connsiteX17" fmla="*/ 53422 w 63404"/>
                      <a:gd name="connsiteY17" fmla="*/ 10233 h 83217"/>
                      <a:gd name="connsiteX18" fmla="*/ 10183 w 63404"/>
                      <a:gd name="connsiteY18" fmla="*/ 9982 h 8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3404" h="83217">
                        <a:moveTo>
                          <a:pt x="31552" y="83218"/>
                        </a:moveTo>
                        <a:cubicBezTo>
                          <a:pt x="31477" y="83218"/>
                          <a:pt x="31427" y="83218"/>
                          <a:pt x="31351" y="83218"/>
                        </a:cubicBezTo>
                        <a:cubicBezTo>
                          <a:pt x="22924" y="83168"/>
                          <a:pt x="15024" y="79832"/>
                          <a:pt x="9105" y="73838"/>
                        </a:cubicBezTo>
                        <a:cubicBezTo>
                          <a:pt x="3186" y="67843"/>
                          <a:pt x="-50" y="59893"/>
                          <a:pt x="1" y="51465"/>
                        </a:cubicBezTo>
                        <a:lnTo>
                          <a:pt x="302" y="4941"/>
                        </a:lnTo>
                        <a:cubicBezTo>
                          <a:pt x="327" y="2207"/>
                          <a:pt x="2534" y="0"/>
                          <a:pt x="5267" y="0"/>
                        </a:cubicBezTo>
                        <a:cubicBezTo>
                          <a:pt x="5293" y="0"/>
                          <a:pt x="5293" y="0"/>
                          <a:pt x="5293" y="0"/>
                        </a:cubicBezTo>
                        <a:lnTo>
                          <a:pt x="58464" y="326"/>
                        </a:lnTo>
                        <a:cubicBezTo>
                          <a:pt x="61198" y="351"/>
                          <a:pt x="63405" y="2583"/>
                          <a:pt x="63405" y="5317"/>
                        </a:cubicBezTo>
                        <a:lnTo>
                          <a:pt x="63129" y="51842"/>
                        </a:lnTo>
                        <a:cubicBezTo>
                          <a:pt x="63003" y="69198"/>
                          <a:pt x="48858" y="83218"/>
                          <a:pt x="31552" y="83218"/>
                        </a:cubicBezTo>
                        <a:close/>
                        <a:moveTo>
                          <a:pt x="10183" y="9982"/>
                        </a:moveTo>
                        <a:lnTo>
                          <a:pt x="9933" y="51541"/>
                        </a:lnTo>
                        <a:cubicBezTo>
                          <a:pt x="9882" y="57309"/>
                          <a:pt x="12115" y="62752"/>
                          <a:pt x="16178" y="66865"/>
                        </a:cubicBezTo>
                        <a:cubicBezTo>
                          <a:pt x="20241" y="70978"/>
                          <a:pt x="25658" y="73261"/>
                          <a:pt x="31427" y="73286"/>
                        </a:cubicBezTo>
                        <a:cubicBezTo>
                          <a:pt x="31477" y="73286"/>
                          <a:pt x="31527" y="73286"/>
                          <a:pt x="31552" y="73286"/>
                        </a:cubicBezTo>
                        <a:cubicBezTo>
                          <a:pt x="43415" y="73286"/>
                          <a:pt x="53096" y="63680"/>
                          <a:pt x="53172" y="51792"/>
                        </a:cubicBezTo>
                        <a:lnTo>
                          <a:pt x="53422" y="10233"/>
                        </a:lnTo>
                        <a:lnTo>
                          <a:pt x="10183" y="9982"/>
                        </a:lnTo>
                        <a:close/>
                      </a:path>
                    </a:pathLst>
                  </a:custGeom>
                  <a:solidFill>
                    <a:schemeClr val="accent1"/>
                  </a:solidFill>
                  <a:ln w="2503" cap="flat">
                    <a:noFill/>
                    <a:prstDash val="solid"/>
                    <a:miter/>
                  </a:ln>
                </p:spPr>
                <p:txBody>
                  <a:bodyPr rtlCol="0" anchor="ctr"/>
                  <a:lstStyle/>
                  <a:p>
                    <a:endParaRPr lang="en-GB" dirty="0"/>
                  </a:p>
                </p:txBody>
              </p:sp>
              <p:sp>
                <p:nvSpPr>
                  <p:cNvPr id="520" name="Freihandform: Form 1053">
                    <a:extLst>
                      <a:ext uri="{FF2B5EF4-FFF2-40B4-BE49-F238E27FC236}">
                        <a16:creationId xmlns:a16="http://schemas.microsoft.com/office/drawing/2014/main" id="{9160CF98-7F85-4C74-A31F-BA2AD196B975}"/>
                      </a:ext>
                    </a:extLst>
                  </p:cNvPr>
                  <p:cNvSpPr/>
                  <p:nvPr/>
                </p:nvSpPr>
                <p:spPr>
                  <a:xfrm>
                    <a:off x="7195940" y="3599003"/>
                    <a:ext cx="10157" cy="45396"/>
                  </a:xfrm>
                  <a:custGeom>
                    <a:avLst/>
                    <a:gdLst>
                      <a:gd name="connsiteX0" fmla="*/ 4966 w 10157"/>
                      <a:gd name="connsiteY0" fmla="*/ 45396 h 45396"/>
                      <a:gd name="connsiteX1" fmla="*/ 4941 w 10157"/>
                      <a:gd name="connsiteY1" fmla="*/ 45396 h 45396"/>
                      <a:gd name="connsiteX2" fmla="*/ 0 w 10157"/>
                      <a:gd name="connsiteY2" fmla="*/ 40405 h 45396"/>
                      <a:gd name="connsiteX3" fmla="*/ 226 w 10157"/>
                      <a:gd name="connsiteY3" fmla="*/ 4941 h 45396"/>
                      <a:gd name="connsiteX4" fmla="*/ 5192 w 10157"/>
                      <a:gd name="connsiteY4" fmla="*/ 0 h 45396"/>
                      <a:gd name="connsiteX5" fmla="*/ 5217 w 10157"/>
                      <a:gd name="connsiteY5" fmla="*/ 0 h 45396"/>
                      <a:gd name="connsiteX6" fmla="*/ 10158 w 10157"/>
                      <a:gd name="connsiteY6" fmla="*/ 4991 h 45396"/>
                      <a:gd name="connsiteX7" fmla="*/ 9932 w 10157"/>
                      <a:gd name="connsiteY7" fmla="*/ 40455 h 45396"/>
                      <a:gd name="connsiteX8" fmla="*/ 4966 w 10157"/>
                      <a:gd name="connsiteY8" fmla="*/ 45396 h 45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57" h="45396">
                        <a:moveTo>
                          <a:pt x="4966" y="45396"/>
                        </a:moveTo>
                        <a:cubicBezTo>
                          <a:pt x="4941" y="45396"/>
                          <a:pt x="4941" y="45396"/>
                          <a:pt x="4941" y="45396"/>
                        </a:cubicBezTo>
                        <a:cubicBezTo>
                          <a:pt x="2207" y="45371"/>
                          <a:pt x="0" y="43139"/>
                          <a:pt x="0" y="40405"/>
                        </a:cubicBezTo>
                        <a:lnTo>
                          <a:pt x="226" y="4941"/>
                        </a:lnTo>
                        <a:cubicBezTo>
                          <a:pt x="251" y="2207"/>
                          <a:pt x="2458" y="0"/>
                          <a:pt x="5192" y="0"/>
                        </a:cubicBezTo>
                        <a:cubicBezTo>
                          <a:pt x="5217" y="0"/>
                          <a:pt x="5217" y="0"/>
                          <a:pt x="5217" y="0"/>
                        </a:cubicBezTo>
                        <a:cubicBezTo>
                          <a:pt x="7951" y="25"/>
                          <a:pt x="10158" y="2257"/>
                          <a:pt x="10158" y="4991"/>
                        </a:cubicBezTo>
                        <a:lnTo>
                          <a:pt x="9932" y="40455"/>
                        </a:lnTo>
                        <a:cubicBezTo>
                          <a:pt x="9932" y="43189"/>
                          <a:pt x="7700" y="45396"/>
                          <a:pt x="4966" y="45396"/>
                        </a:cubicBezTo>
                        <a:close/>
                      </a:path>
                    </a:pathLst>
                  </a:custGeom>
                  <a:solidFill>
                    <a:schemeClr val="accent1"/>
                  </a:solidFill>
                  <a:ln w="2503" cap="flat">
                    <a:noFill/>
                    <a:prstDash val="solid"/>
                    <a:miter/>
                  </a:ln>
                </p:spPr>
                <p:txBody>
                  <a:bodyPr rtlCol="0" anchor="ctr"/>
                  <a:lstStyle/>
                  <a:p>
                    <a:endParaRPr lang="en-GB" dirty="0"/>
                  </a:p>
                </p:txBody>
              </p:sp>
            </p:grpSp>
            <p:sp>
              <p:nvSpPr>
                <p:cNvPr id="518" name="Freihandform: Form 1054">
                  <a:extLst>
                    <a:ext uri="{FF2B5EF4-FFF2-40B4-BE49-F238E27FC236}">
                      <a16:creationId xmlns:a16="http://schemas.microsoft.com/office/drawing/2014/main" id="{0905CF81-682C-47E3-88A7-A14DBD8E5FD3}"/>
                    </a:ext>
                  </a:extLst>
                </p:cNvPr>
                <p:cNvSpPr/>
                <p:nvPr/>
              </p:nvSpPr>
              <p:spPr>
                <a:xfrm>
                  <a:off x="7169966" y="3547268"/>
                  <a:ext cx="62513" cy="23419"/>
                </a:xfrm>
                <a:custGeom>
                  <a:avLst/>
                  <a:gdLst>
                    <a:gd name="connsiteX0" fmla="*/ 4957 w 62513"/>
                    <a:gd name="connsiteY0" fmla="*/ 23420 h 23419"/>
                    <a:gd name="connsiteX1" fmla="*/ 41 w 62513"/>
                    <a:gd name="connsiteY1" fmla="*/ 19106 h 23419"/>
                    <a:gd name="connsiteX2" fmla="*/ 4330 w 62513"/>
                    <a:gd name="connsiteY2" fmla="*/ 13538 h 23419"/>
                    <a:gd name="connsiteX3" fmla="*/ 21335 w 62513"/>
                    <a:gd name="connsiteY3" fmla="*/ 8196 h 23419"/>
                    <a:gd name="connsiteX4" fmla="*/ 37010 w 62513"/>
                    <a:gd name="connsiteY4" fmla="*/ 2527 h 23419"/>
                    <a:gd name="connsiteX5" fmla="*/ 58203 w 62513"/>
                    <a:gd name="connsiteY5" fmla="*/ 421 h 23419"/>
                    <a:gd name="connsiteX6" fmla="*/ 62467 w 62513"/>
                    <a:gd name="connsiteY6" fmla="*/ 5988 h 23419"/>
                    <a:gd name="connsiteX7" fmla="*/ 56899 w 62513"/>
                    <a:gd name="connsiteY7" fmla="*/ 10252 h 23419"/>
                    <a:gd name="connsiteX8" fmla="*/ 40045 w 62513"/>
                    <a:gd name="connsiteY8" fmla="*/ 11983 h 23419"/>
                    <a:gd name="connsiteX9" fmla="*/ 24896 w 62513"/>
                    <a:gd name="connsiteY9" fmla="*/ 17450 h 23419"/>
                    <a:gd name="connsiteX10" fmla="*/ 5609 w 62513"/>
                    <a:gd name="connsiteY10" fmla="*/ 23369 h 23419"/>
                    <a:gd name="connsiteX11" fmla="*/ 4957 w 62513"/>
                    <a:gd name="connsiteY11" fmla="*/ 23420 h 23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513" h="23419">
                      <a:moveTo>
                        <a:pt x="4957" y="23420"/>
                      </a:moveTo>
                      <a:cubicBezTo>
                        <a:pt x="2499" y="23420"/>
                        <a:pt x="367" y="21589"/>
                        <a:pt x="41" y="19106"/>
                      </a:cubicBezTo>
                      <a:cubicBezTo>
                        <a:pt x="-310" y="16372"/>
                        <a:pt x="1621" y="13889"/>
                        <a:pt x="4330" y="13538"/>
                      </a:cubicBezTo>
                      <a:cubicBezTo>
                        <a:pt x="9045" y="12936"/>
                        <a:pt x="14463" y="10829"/>
                        <a:pt x="21335" y="8196"/>
                      </a:cubicBezTo>
                      <a:cubicBezTo>
                        <a:pt x="25924" y="6440"/>
                        <a:pt x="31116" y="4433"/>
                        <a:pt x="37010" y="2527"/>
                      </a:cubicBezTo>
                      <a:cubicBezTo>
                        <a:pt x="44509" y="120"/>
                        <a:pt x="51030" y="-533"/>
                        <a:pt x="58203" y="421"/>
                      </a:cubicBezTo>
                      <a:cubicBezTo>
                        <a:pt x="60912" y="772"/>
                        <a:pt x="62843" y="3280"/>
                        <a:pt x="62467" y="5988"/>
                      </a:cubicBezTo>
                      <a:cubicBezTo>
                        <a:pt x="62116" y="8722"/>
                        <a:pt x="59533" y="10653"/>
                        <a:pt x="56899" y="10252"/>
                      </a:cubicBezTo>
                      <a:cubicBezTo>
                        <a:pt x="52886" y="9725"/>
                        <a:pt x="47745" y="9525"/>
                        <a:pt x="40045" y="11983"/>
                      </a:cubicBezTo>
                      <a:cubicBezTo>
                        <a:pt x="34402" y="13788"/>
                        <a:pt x="29361" y="15745"/>
                        <a:pt x="24896" y="17450"/>
                      </a:cubicBezTo>
                      <a:cubicBezTo>
                        <a:pt x="17698" y="20234"/>
                        <a:pt x="11503" y="22617"/>
                        <a:pt x="5609" y="23369"/>
                      </a:cubicBezTo>
                      <a:cubicBezTo>
                        <a:pt x="5383" y="23420"/>
                        <a:pt x="5183" y="23420"/>
                        <a:pt x="4957" y="23420"/>
                      </a:cubicBezTo>
                      <a:close/>
                    </a:path>
                  </a:pathLst>
                </a:custGeom>
                <a:solidFill>
                  <a:schemeClr val="accent1"/>
                </a:solidFill>
                <a:ln w="2503" cap="flat">
                  <a:noFill/>
                  <a:prstDash val="solid"/>
                  <a:miter/>
                </a:ln>
              </p:spPr>
              <p:txBody>
                <a:bodyPr rtlCol="0" anchor="ctr"/>
                <a:lstStyle/>
                <a:p>
                  <a:endParaRPr lang="en-GB" dirty="0"/>
                </a:p>
              </p:txBody>
            </p:sp>
          </p:grpSp>
          <p:sp>
            <p:nvSpPr>
              <p:cNvPr id="516" name="Freihandform: Form 1055">
                <a:extLst>
                  <a:ext uri="{FF2B5EF4-FFF2-40B4-BE49-F238E27FC236}">
                    <a16:creationId xmlns:a16="http://schemas.microsoft.com/office/drawing/2014/main" id="{868079E1-D83F-4FCB-BAFB-68E1B489D22A}"/>
                  </a:ext>
                </a:extLst>
              </p:cNvPr>
              <p:cNvSpPr/>
              <p:nvPr/>
            </p:nvSpPr>
            <p:spPr>
              <a:xfrm>
                <a:off x="7173669" y="3640462"/>
                <a:ext cx="53773" cy="9931"/>
              </a:xfrm>
              <a:custGeom>
                <a:avLst/>
                <a:gdLst>
                  <a:gd name="connsiteX0" fmla="*/ 48807 w 53773"/>
                  <a:gd name="connsiteY0" fmla="*/ 9932 h 9931"/>
                  <a:gd name="connsiteX1" fmla="*/ 4966 w 53773"/>
                  <a:gd name="connsiteY1" fmla="*/ 9932 h 9931"/>
                  <a:gd name="connsiteX2" fmla="*/ 0 w 53773"/>
                  <a:gd name="connsiteY2" fmla="*/ 4966 h 9931"/>
                  <a:gd name="connsiteX3" fmla="*/ 4966 w 53773"/>
                  <a:gd name="connsiteY3" fmla="*/ 0 h 9931"/>
                  <a:gd name="connsiteX4" fmla="*/ 48807 w 53773"/>
                  <a:gd name="connsiteY4" fmla="*/ 0 h 9931"/>
                  <a:gd name="connsiteX5" fmla="*/ 53773 w 53773"/>
                  <a:gd name="connsiteY5" fmla="*/ 4966 h 9931"/>
                  <a:gd name="connsiteX6" fmla="*/ 48807 w 53773"/>
                  <a:gd name="connsiteY6" fmla="*/ 9932 h 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773" h="9931">
                    <a:moveTo>
                      <a:pt x="48807" y="9932"/>
                    </a:moveTo>
                    <a:lnTo>
                      <a:pt x="4966" y="9932"/>
                    </a:lnTo>
                    <a:cubicBezTo>
                      <a:pt x="2232" y="9932"/>
                      <a:pt x="0" y="7700"/>
                      <a:pt x="0" y="4966"/>
                    </a:cubicBezTo>
                    <a:cubicBezTo>
                      <a:pt x="0" y="2232"/>
                      <a:pt x="2232" y="0"/>
                      <a:pt x="4966" y="0"/>
                    </a:cubicBezTo>
                    <a:lnTo>
                      <a:pt x="48807" y="0"/>
                    </a:lnTo>
                    <a:cubicBezTo>
                      <a:pt x="51541" y="0"/>
                      <a:pt x="53773" y="2232"/>
                      <a:pt x="53773" y="4966"/>
                    </a:cubicBezTo>
                    <a:cubicBezTo>
                      <a:pt x="53773" y="7700"/>
                      <a:pt x="51541" y="9932"/>
                      <a:pt x="48807" y="9932"/>
                    </a:cubicBezTo>
                    <a:close/>
                  </a:path>
                </a:pathLst>
              </a:custGeom>
              <a:solidFill>
                <a:schemeClr val="accent1"/>
              </a:solidFill>
              <a:ln w="2503" cap="flat">
                <a:noFill/>
                <a:prstDash val="solid"/>
                <a:miter/>
              </a:ln>
            </p:spPr>
            <p:txBody>
              <a:bodyPr rtlCol="0" anchor="ctr"/>
              <a:lstStyle/>
              <a:p>
                <a:endParaRPr lang="en-GB" dirty="0"/>
              </a:p>
            </p:txBody>
          </p:sp>
        </p:grpSp>
      </p:grpSp>
      <p:grpSp>
        <p:nvGrpSpPr>
          <p:cNvPr id="45" name="Group 44">
            <a:extLst>
              <a:ext uri="{FF2B5EF4-FFF2-40B4-BE49-F238E27FC236}">
                <a16:creationId xmlns:a16="http://schemas.microsoft.com/office/drawing/2014/main" id="{ED661197-0BA8-40DE-8056-EC9310CACE01}"/>
              </a:ext>
            </a:extLst>
          </p:cNvPr>
          <p:cNvGrpSpPr/>
          <p:nvPr/>
        </p:nvGrpSpPr>
        <p:grpSpPr>
          <a:xfrm>
            <a:off x="8150933" y="1585984"/>
            <a:ext cx="383470" cy="432000"/>
            <a:chOff x="8150521" y="1585984"/>
            <a:chExt cx="383470" cy="432000"/>
          </a:xfrm>
        </p:grpSpPr>
        <p:sp>
          <p:nvSpPr>
            <p:cNvPr id="539" name="Freihandform: Form 1060">
              <a:extLst>
                <a:ext uri="{FF2B5EF4-FFF2-40B4-BE49-F238E27FC236}">
                  <a16:creationId xmlns:a16="http://schemas.microsoft.com/office/drawing/2014/main" id="{86F2D37D-17F7-4F97-9696-5D2F2B7D0B38}"/>
                </a:ext>
              </a:extLst>
            </p:cNvPr>
            <p:cNvSpPr/>
            <p:nvPr/>
          </p:nvSpPr>
          <p:spPr>
            <a:xfrm>
              <a:off x="8150521" y="1673690"/>
              <a:ext cx="383470" cy="219371"/>
            </a:xfrm>
            <a:custGeom>
              <a:avLst/>
              <a:gdLst>
                <a:gd name="connsiteX0" fmla="*/ 251520 w 453546"/>
                <a:gd name="connsiteY0" fmla="*/ 259460 h 259459"/>
                <a:gd name="connsiteX1" fmla="*/ 246604 w 453546"/>
                <a:gd name="connsiteY1" fmla="*/ 255196 h 259459"/>
                <a:gd name="connsiteX2" fmla="*/ 250817 w 453546"/>
                <a:gd name="connsiteY2" fmla="*/ 249578 h 259459"/>
                <a:gd name="connsiteX3" fmla="*/ 436038 w 453546"/>
                <a:gd name="connsiteY3" fmla="*/ 139198 h 259459"/>
                <a:gd name="connsiteX4" fmla="*/ 441832 w 453546"/>
                <a:gd name="connsiteY4" fmla="*/ 133580 h 259459"/>
                <a:gd name="connsiteX5" fmla="*/ 226665 w 453546"/>
                <a:gd name="connsiteY5" fmla="*/ 9932 h 259459"/>
                <a:gd name="connsiteX6" fmla="*/ 11773 w 453546"/>
                <a:gd name="connsiteY6" fmla="*/ 133580 h 259459"/>
                <a:gd name="connsiteX7" fmla="*/ 17492 w 453546"/>
                <a:gd name="connsiteY7" fmla="*/ 139148 h 259459"/>
                <a:gd name="connsiteX8" fmla="*/ 198624 w 453546"/>
                <a:gd name="connsiteY8" fmla="*/ 248951 h 259459"/>
                <a:gd name="connsiteX9" fmla="*/ 202713 w 453546"/>
                <a:gd name="connsiteY9" fmla="*/ 254669 h 259459"/>
                <a:gd name="connsiteX10" fmla="*/ 196994 w 453546"/>
                <a:gd name="connsiteY10" fmla="*/ 258758 h 259459"/>
                <a:gd name="connsiteX11" fmla="*/ 10544 w 453546"/>
                <a:gd name="connsiteY11" fmla="*/ 146271 h 259459"/>
                <a:gd name="connsiteX12" fmla="*/ 1540 w 453546"/>
                <a:gd name="connsiteY12" fmla="*/ 137543 h 259459"/>
                <a:gd name="connsiteX13" fmla="*/ 1164 w 453546"/>
                <a:gd name="connsiteY13" fmla="*/ 130771 h 259459"/>
                <a:gd name="connsiteX14" fmla="*/ 226640 w 453546"/>
                <a:gd name="connsiteY14" fmla="*/ 0 h 259459"/>
                <a:gd name="connsiteX15" fmla="*/ 452391 w 453546"/>
                <a:gd name="connsiteY15" fmla="*/ 130771 h 259459"/>
                <a:gd name="connsiteX16" fmla="*/ 452015 w 453546"/>
                <a:gd name="connsiteY16" fmla="*/ 137543 h 259459"/>
                <a:gd name="connsiteX17" fmla="*/ 442935 w 453546"/>
                <a:gd name="connsiteY17" fmla="*/ 146321 h 259459"/>
                <a:gd name="connsiteX18" fmla="*/ 252197 w 453546"/>
                <a:gd name="connsiteY18" fmla="*/ 259410 h 259459"/>
                <a:gd name="connsiteX19" fmla="*/ 251520 w 453546"/>
                <a:gd name="connsiteY19" fmla="*/ 259460 h 25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3546" h="259459">
                  <a:moveTo>
                    <a:pt x="251520" y="259460"/>
                  </a:moveTo>
                  <a:cubicBezTo>
                    <a:pt x="249087" y="259460"/>
                    <a:pt x="246980" y="257679"/>
                    <a:pt x="246604" y="255196"/>
                  </a:cubicBezTo>
                  <a:cubicBezTo>
                    <a:pt x="246202" y="252487"/>
                    <a:pt x="248083" y="249954"/>
                    <a:pt x="250817" y="249578"/>
                  </a:cubicBezTo>
                  <a:cubicBezTo>
                    <a:pt x="335214" y="237364"/>
                    <a:pt x="400800" y="173508"/>
                    <a:pt x="436038" y="139198"/>
                  </a:cubicBezTo>
                  <a:cubicBezTo>
                    <a:pt x="438070" y="137217"/>
                    <a:pt x="440001" y="135335"/>
                    <a:pt x="441832" y="133580"/>
                  </a:cubicBezTo>
                  <a:cubicBezTo>
                    <a:pt x="373938" y="53347"/>
                    <a:pt x="301556" y="11738"/>
                    <a:pt x="226665" y="9932"/>
                  </a:cubicBezTo>
                  <a:cubicBezTo>
                    <a:pt x="152075" y="11738"/>
                    <a:pt x="79717" y="53347"/>
                    <a:pt x="11773" y="133580"/>
                  </a:cubicBezTo>
                  <a:cubicBezTo>
                    <a:pt x="13579" y="135335"/>
                    <a:pt x="15485" y="137191"/>
                    <a:pt x="17492" y="139148"/>
                  </a:cubicBezTo>
                  <a:cubicBezTo>
                    <a:pt x="51978" y="172756"/>
                    <a:pt x="116184" y="235307"/>
                    <a:pt x="198624" y="248951"/>
                  </a:cubicBezTo>
                  <a:cubicBezTo>
                    <a:pt x="201333" y="249402"/>
                    <a:pt x="203164" y="251961"/>
                    <a:pt x="202713" y="254669"/>
                  </a:cubicBezTo>
                  <a:cubicBezTo>
                    <a:pt x="202261" y="257378"/>
                    <a:pt x="199678" y="259209"/>
                    <a:pt x="196994" y="258758"/>
                  </a:cubicBezTo>
                  <a:cubicBezTo>
                    <a:pt x="111469" y="244587"/>
                    <a:pt x="45808" y="180631"/>
                    <a:pt x="10544" y="146271"/>
                  </a:cubicBezTo>
                  <a:cubicBezTo>
                    <a:pt x="7284" y="143085"/>
                    <a:pt x="4274" y="140176"/>
                    <a:pt x="1540" y="137543"/>
                  </a:cubicBezTo>
                  <a:cubicBezTo>
                    <a:pt x="-366" y="135737"/>
                    <a:pt x="-516" y="132777"/>
                    <a:pt x="1164" y="130771"/>
                  </a:cubicBezTo>
                  <a:cubicBezTo>
                    <a:pt x="71867" y="45923"/>
                    <a:pt x="147736" y="1931"/>
                    <a:pt x="226640" y="0"/>
                  </a:cubicBezTo>
                  <a:cubicBezTo>
                    <a:pt x="305844" y="1906"/>
                    <a:pt x="381713" y="45898"/>
                    <a:pt x="452391" y="130771"/>
                  </a:cubicBezTo>
                  <a:cubicBezTo>
                    <a:pt x="454071" y="132777"/>
                    <a:pt x="453896" y="135737"/>
                    <a:pt x="452015" y="137543"/>
                  </a:cubicBezTo>
                  <a:cubicBezTo>
                    <a:pt x="449256" y="140176"/>
                    <a:pt x="446221" y="143136"/>
                    <a:pt x="442935" y="146321"/>
                  </a:cubicBezTo>
                  <a:cubicBezTo>
                    <a:pt x="406895" y="181409"/>
                    <a:pt x="339804" y="246744"/>
                    <a:pt x="252197" y="259410"/>
                  </a:cubicBezTo>
                  <a:cubicBezTo>
                    <a:pt x="251996" y="259435"/>
                    <a:pt x="251745" y="259460"/>
                    <a:pt x="251520" y="259460"/>
                  </a:cubicBezTo>
                  <a:close/>
                </a:path>
              </a:pathLst>
            </a:custGeom>
            <a:solidFill>
              <a:schemeClr val="tx2"/>
            </a:solidFill>
            <a:ln w="2503" cap="flat">
              <a:noFill/>
              <a:prstDash val="solid"/>
              <a:miter/>
            </a:ln>
          </p:spPr>
          <p:txBody>
            <a:bodyPr rtlCol="0" anchor="ctr"/>
            <a:lstStyle/>
            <a:p>
              <a:endParaRPr lang="en-GB" dirty="0"/>
            </a:p>
          </p:txBody>
        </p:sp>
        <p:grpSp>
          <p:nvGrpSpPr>
            <p:cNvPr id="540" name="Group 539">
              <a:extLst>
                <a:ext uri="{FF2B5EF4-FFF2-40B4-BE49-F238E27FC236}">
                  <a16:creationId xmlns:a16="http://schemas.microsoft.com/office/drawing/2014/main" id="{341D6FD0-19B4-4054-AEFB-56B667DCDC56}"/>
                </a:ext>
              </a:extLst>
            </p:cNvPr>
            <p:cNvGrpSpPr/>
            <p:nvPr/>
          </p:nvGrpSpPr>
          <p:grpSpPr>
            <a:xfrm>
              <a:off x="8213919" y="1585984"/>
              <a:ext cx="256746" cy="432000"/>
              <a:chOff x="7861789" y="3245716"/>
              <a:chExt cx="303664" cy="510944"/>
            </a:xfrm>
          </p:grpSpPr>
          <p:sp>
            <p:nvSpPr>
              <p:cNvPr id="541" name="Freihandform: Form 1058">
                <a:extLst>
                  <a:ext uri="{FF2B5EF4-FFF2-40B4-BE49-F238E27FC236}">
                    <a16:creationId xmlns:a16="http://schemas.microsoft.com/office/drawing/2014/main" id="{2BC34427-05D0-49C0-A264-29726D7823F9}"/>
                  </a:ext>
                </a:extLst>
              </p:cNvPr>
              <p:cNvSpPr/>
              <p:nvPr/>
            </p:nvSpPr>
            <p:spPr>
              <a:xfrm>
                <a:off x="8010085" y="3385541"/>
                <a:ext cx="102629" cy="102630"/>
              </a:xfrm>
              <a:custGeom>
                <a:avLst/>
                <a:gdLst>
                  <a:gd name="connsiteX0" fmla="*/ 97664 w 102629"/>
                  <a:gd name="connsiteY0" fmla="*/ 102630 h 102630"/>
                  <a:gd name="connsiteX1" fmla="*/ 4966 w 102629"/>
                  <a:gd name="connsiteY1" fmla="*/ 102630 h 102630"/>
                  <a:gd name="connsiteX2" fmla="*/ 0 w 102629"/>
                  <a:gd name="connsiteY2" fmla="*/ 97664 h 102630"/>
                  <a:gd name="connsiteX3" fmla="*/ 0 w 102629"/>
                  <a:gd name="connsiteY3" fmla="*/ 4966 h 102630"/>
                  <a:gd name="connsiteX4" fmla="*/ 4966 w 102629"/>
                  <a:gd name="connsiteY4" fmla="*/ 0 h 102630"/>
                  <a:gd name="connsiteX5" fmla="*/ 102630 w 102629"/>
                  <a:gd name="connsiteY5" fmla="*/ 97664 h 102630"/>
                  <a:gd name="connsiteX6" fmla="*/ 97664 w 102629"/>
                  <a:gd name="connsiteY6" fmla="*/ 102630 h 102630"/>
                  <a:gd name="connsiteX7" fmla="*/ 9932 w 102629"/>
                  <a:gd name="connsiteY7" fmla="*/ 92698 h 102630"/>
                  <a:gd name="connsiteX8" fmla="*/ 92573 w 102629"/>
                  <a:gd name="connsiteY8" fmla="*/ 92698 h 102630"/>
                  <a:gd name="connsiteX9" fmla="*/ 9932 w 102629"/>
                  <a:gd name="connsiteY9" fmla="*/ 10082 h 102630"/>
                  <a:gd name="connsiteX10" fmla="*/ 9932 w 102629"/>
                  <a:gd name="connsiteY10" fmla="*/ 92698 h 10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629" h="102630">
                    <a:moveTo>
                      <a:pt x="97664" y="102630"/>
                    </a:moveTo>
                    <a:lnTo>
                      <a:pt x="4966" y="102630"/>
                    </a:lnTo>
                    <a:cubicBezTo>
                      <a:pt x="2232" y="102630"/>
                      <a:pt x="0" y="100398"/>
                      <a:pt x="0" y="97664"/>
                    </a:cubicBezTo>
                    <a:lnTo>
                      <a:pt x="0" y="4966"/>
                    </a:lnTo>
                    <a:cubicBezTo>
                      <a:pt x="0" y="2232"/>
                      <a:pt x="2232" y="0"/>
                      <a:pt x="4966" y="0"/>
                    </a:cubicBezTo>
                    <a:cubicBezTo>
                      <a:pt x="58814" y="0"/>
                      <a:pt x="102630" y="43816"/>
                      <a:pt x="102630" y="97664"/>
                    </a:cubicBezTo>
                    <a:cubicBezTo>
                      <a:pt x="102630" y="100398"/>
                      <a:pt x="100398" y="102630"/>
                      <a:pt x="97664" y="102630"/>
                    </a:cubicBezTo>
                    <a:close/>
                    <a:moveTo>
                      <a:pt x="9932" y="92698"/>
                    </a:moveTo>
                    <a:lnTo>
                      <a:pt x="92573" y="92698"/>
                    </a:lnTo>
                    <a:cubicBezTo>
                      <a:pt x="90065" y="48280"/>
                      <a:pt x="54375" y="12565"/>
                      <a:pt x="9932" y="10082"/>
                    </a:cubicBezTo>
                    <a:lnTo>
                      <a:pt x="9932" y="92698"/>
                    </a:lnTo>
                    <a:close/>
                  </a:path>
                </a:pathLst>
              </a:custGeom>
              <a:solidFill>
                <a:schemeClr val="accent1"/>
              </a:solidFill>
              <a:ln w="2503" cap="flat">
                <a:noFill/>
                <a:prstDash val="solid"/>
                <a:miter/>
              </a:ln>
            </p:spPr>
            <p:txBody>
              <a:bodyPr rtlCol="0" anchor="ctr"/>
              <a:lstStyle/>
              <a:p>
                <a:endParaRPr lang="en-GB" dirty="0"/>
              </a:p>
            </p:txBody>
          </p:sp>
          <p:sp>
            <p:nvSpPr>
              <p:cNvPr id="542" name="Freihandform: Form 1059">
                <a:extLst>
                  <a:ext uri="{FF2B5EF4-FFF2-40B4-BE49-F238E27FC236}">
                    <a16:creationId xmlns:a16="http://schemas.microsoft.com/office/drawing/2014/main" id="{250861CD-2B38-4CE3-8392-80B1C99A766A}"/>
                  </a:ext>
                </a:extLst>
              </p:cNvPr>
              <p:cNvSpPr/>
              <p:nvPr/>
            </p:nvSpPr>
            <p:spPr>
              <a:xfrm>
                <a:off x="7917387" y="3385541"/>
                <a:ext cx="195328" cy="195328"/>
              </a:xfrm>
              <a:custGeom>
                <a:avLst/>
                <a:gdLst>
                  <a:gd name="connsiteX0" fmla="*/ 97664 w 195328"/>
                  <a:gd name="connsiteY0" fmla="*/ 195328 h 195328"/>
                  <a:gd name="connsiteX1" fmla="*/ 0 w 195328"/>
                  <a:gd name="connsiteY1" fmla="*/ 97664 h 195328"/>
                  <a:gd name="connsiteX2" fmla="*/ 97664 w 195328"/>
                  <a:gd name="connsiteY2" fmla="*/ 0 h 195328"/>
                  <a:gd name="connsiteX3" fmla="*/ 102630 w 195328"/>
                  <a:gd name="connsiteY3" fmla="*/ 4966 h 195328"/>
                  <a:gd name="connsiteX4" fmla="*/ 102630 w 195328"/>
                  <a:gd name="connsiteY4" fmla="*/ 92698 h 195328"/>
                  <a:gd name="connsiteX5" fmla="*/ 190363 w 195328"/>
                  <a:gd name="connsiteY5" fmla="*/ 92698 h 195328"/>
                  <a:gd name="connsiteX6" fmla="*/ 195328 w 195328"/>
                  <a:gd name="connsiteY6" fmla="*/ 97664 h 195328"/>
                  <a:gd name="connsiteX7" fmla="*/ 97664 w 195328"/>
                  <a:gd name="connsiteY7" fmla="*/ 195328 h 195328"/>
                  <a:gd name="connsiteX8" fmla="*/ 92698 w 195328"/>
                  <a:gd name="connsiteY8" fmla="*/ 10082 h 195328"/>
                  <a:gd name="connsiteX9" fmla="*/ 9932 w 195328"/>
                  <a:gd name="connsiteY9" fmla="*/ 97664 h 195328"/>
                  <a:gd name="connsiteX10" fmla="*/ 97664 w 195328"/>
                  <a:gd name="connsiteY10" fmla="*/ 185396 h 195328"/>
                  <a:gd name="connsiteX11" fmla="*/ 185271 w 195328"/>
                  <a:gd name="connsiteY11" fmla="*/ 102630 h 195328"/>
                  <a:gd name="connsiteX12" fmla="*/ 97664 w 195328"/>
                  <a:gd name="connsiteY12" fmla="*/ 102630 h 195328"/>
                  <a:gd name="connsiteX13" fmla="*/ 92698 w 195328"/>
                  <a:gd name="connsiteY13" fmla="*/ 97664 h 195328"/>
                  <a:gd name="connsiteX14" fmla="*/ 92698 w 195328"/>
                  <a:gd name="connsiteY14" fmla="*/ 10082 h 19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328" h="195328">
                    <a:moveTo>
                      <a:pt x="97664" y="195328"/>
                    </a:moveTo>
                    <a:cubicBezTo>
                      <a:pt x="43816" y="195328"/>
                      <a:pt x="0" y="151512"/>
                      <a:pt x="0" y="97664"/>
                    </a:cubicBezTo>
                    <a:cubicBezTo>
                      <a:pt x="0" y="43816"/>
                      <a:pt x="43816" y="0"/>
                      <a:pt x="97664" y="0"/>
                    </a:cubicBezTo>
                    <a:cubicBezTo>
                      <a:pt x="100398" y="0"/>
                      <a:pt x="102630" y="2232"/>
                      <a:pt x="102630" y="4966"/>
                    </a:cubicBezTo>
                    <a:lnTo>
                      <a:pt x="102630" y="92698"/>
                    </a:lnTo>
                    <a:lnTo>
                      <a:pt x="190363" y="92698"/>
                    </a:lnTo>
                    <a:cubicBezTo>
                      <a:pt x="193096" y="92698"/>
                      <a:pt x="195328" y="94930"/>
                      <a:pt x="195328" y="97664"/>
                    </a:cubicBezTo>
                    <a:cubicBezTo>
                      <a:pt x="195328" y="151512"/>
                      <a:pt x="151513" y="195328"/>
                      <a:pt x="97664" y="195328"/>
                    </a:cubicBezTo>
                    <a:close/>
                    <a:moveTo>
                      <a:pt x="92698" y="10082"/>
                    </a:moveTo>
                    <a:cubicBezTo>
                      <a:pt x="46625" y="12666"/>
                      <a:pt x="9932" y="50964"/>
                      <a:pt x="9932" y="97664"/>
                    </a:cubicBezTo>
                    <a:cubicBezTo>
                      <a:pt x="9932" y="146045"/>
                      <a:pt x="49284" y="185396"/>
                      <a:pt x="97664" y="185396"/>
                    </a:cubicBezTo>
                    <a:cubicBezTo>
                      <a:pt x="144365" y="185396"/>
                      <a:pt x="182663" y="148703"/>
                      <a:pt x="185271" y="102630"/>
                    </a:cubicBezTo>
                    <a:lnTo>
                      <a:pt x="97664" y="102630"/>
                    </a:lnTo>
                    <a:cubicBezTo>
                      <a:pt x="94930" y="102630"/>
                      <a:pt x="92698" y="100398"/>
                      <a:pt x="92698" y="97664"/>
                    </a:cubicBezTo>
                    <a:lnTo>
                      <a:pt x="92698" y="10082"/>
                    </a:lnTo>
                    <a:close/>
                  </a:path>
                </a:pathLst>
              </a:custGeom>
              <a:solidFill>
                <a:schemeClr val="accent1"/>
              </a:solidFill>
              <a:ln w="2503" cap="flat">
                <a:noFill/>
                <a:prstDash val="solid"/>
                <a:miter/>
              </a:ln>
            </p:spPr>
            <p:txBody>
              <a:bodyPr rtlCol="0" anchor="ctr"/>
              <a:lstStyle/>
              <a:p>
                <a:endParaRPr lang="en-GB" dirty="0"/>
              </a:p>
            </p:txBody>
          </p:sp>
          <p:sp>
            <p:nvSpPr>
              <p:cNvPr id="543" name="Freihandform: Form 1062">
                <a:extLst>
                  <a:ext uri="{FF2B5EF4-FFF2-40B4-BE49-F238E27FC236}">
                    <a16:creationId xmlns:a16="http://schemas.microsoft.com/office/drawing/2014/main" id="{1DD0354D-5834-411C-8E42-53E31CEEFA55}"/>
                  </a:ext>
                </a:extLst>
              </p:cNvPr>
              <p:cNvSpPr/>
              <p:nvPr/>
            </p:nvSpPr>
            <p:spPr>
              <a:xfrm>
                <a:off x="8006699" y="3245716"/>
                <a:ext cx="9932" cy="62024"/>
              </a:xfrm>
              <a:custGeom>
                <a:avLst/>
                <a:gdLst>
                  <a:gd name="connsiteX0" fmla="*/ 4966 w 9932"/>
                  <a:gd name="connsiteY0" fmla="*/ 62025 h 62024"/>
                  <a:gd name="connsiteX1" fmla="*/ 0 w 9932"/>
                  <a:gd name="connsiteY1" fmla="*/ 57059 h 62024"/>
                  <a:gd name="connsiteX2" fmla="*/ 0 w 9932"/>
                  <a:gd name="connsiteY2" fmla="*/ 4966 h 62024"/>
                  <a:gd name="connsiteX3" fmla="*/ 4966 w 9932"/>
                  <a:gd name="connsiteY3" fmla="*/ 0 h 62024"/>
                  <a:gd name="connsiteX4" fmla="*/ 9932 w 9932"/>
                  <a:gd name="connsiteY4" fmla="*/ 4966 h 62024"/>
                  <a:gd name="connsiteX5" fmla="*/ 9932 w 9932"/>
                  <a:gd name="connsiteY5" fmla="*/ 57059 h 62024"/>
                  <a:gd name="connsiteX6" fmla="*/ 4966 w 9932"/>
                  <a:gd name="connsiteY6" fmla="*/ 62025 h 62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2" h="62024">
                    <a:moveTo>
                      <a:pt x="4966" y="62025"/>
                    </a:moveTo>
                    <a:cubicBezTo>
                      <a:pt x="2232" y="62025"/>
                      <a:pt x="0" y="59792"/>
                      <a:pt x="0" y="57059"/>
                    </a:cubicBezTo>
                    <a:lnTo>
                      <a:pt x="0" y="4966"/>
                    </a:lnTo>
                    <a:cubicBezTo>
                      <a:pt x="0" y="2232"/>
                      <a:pt x="2232" y="0"/>
                      <a:pt x="4966" y="0"/>
                    </a:cubicBezTo>
                    <a:cubicBezTo>
                      <a:pt x="7700" y="0"/>
                      <a:pt x="9932" y="2232"/>
                      <a:pt x="9932" y="4966"/>
                    </a:cubicBezTo>
                    <a:lnTo>
                      <a:pt x="9932" y="57059"/>
                    </a:lnTo>
                    <a:cubicBezTo>
                      <a:pt x="9932" y="59817"/>
                      <a:pt x="7700" y="62025"/>
                      <a:pt x="4966" y="62025"/>
                    </a:cubicBezTo>
                    <a:close/>
                  </a:path>
                </a:pathLst>
              </a:custGeom>
              <a:solidFill>
                <a:schemeClr val="accent1"/>
              </a:solidFill>
              <a:ln w="2503" cap="flat">
                <a:noFill/>
                <a:prstDash val="solid"/>
                <a:miter/>
              </a:ln>
            </p:spPr>
            <p:txBody>
              <a:bodyPr rtlCol="0" anchor="ctr"/>
              <a:lstStyle/>
              <a:p>
                <a:endParaRPr lang="en-GB" dirty="0"/>
              </a:p>
            </p:txBody>
          </p:sp>
          <p:sp>
            <p:nvSpPr>
              <p:cNvPr id="544" name="Freihandform: Form 1063">
                <a:extLst>
                  <a:ext uri="{FF2B5EF4-FFF2-40B4-BE49-F238E27FC236}">
                    <a16:creationId xmlns:a16="http://schemas.microsoft.com/office/drawing/2014/main" id="{60E207EA-367C-4358-B9C6-621BB805AA83}"/>
                  </a:ext>
                </a:extLst>
              </p:cNvPr>
              <p:cNvSpPr/>
              <p:nvPr/>
            </p:nvSpPr>
            <p:spPr>
              <a:xfrm>
                <a:off x="7861789" y="3297991"/>
                <a:ext cx="46737" cy="46769"/>
              </a:xfrm>
              <a:custGeom>
                <a:avLst/>
                <a:gdLst>
                  <a:gd name="connsiteX0" fmla="*/ 41778 w 46737"/>
                  <a:gd name="connsiteY0" fmla="*/ 46769 h 46769"/>
                  <a:gd name="connsiteX1" fmla="*/ 38267 w 46737"/>
                  <a:gd name="connsiteY1" fmla="*/ 45314 h 46769"/>
                  <a:gd name="connsiteX2" fmla="*/ 1448 w 46737"/>
                  <a:gd name="connsiteY2" fmla="*/ 8471 h 46769"/>
                  <a:gd name="connsiteX3" fmla="*/ 1448 w 46737"/>
                  <a:gd name="connsiteY3" fmla="*/ 1448 h 46769"/>
                  <a:gd name="connsiteX4" fmla="*/ 8471 w 46737"/>
                  <a:gd name="connsiteY4" fmla="*/ 1448 h 46769"/>
                  <a:gd name="connsiteX5" fmla="*/ 45289 w 46737"/>
                  <a:gd name="connsiteY5" fmla="*/ 38292 h 46769"/>
                  <a:gd name="connsiteX6" fmla="*/ 45289 w 46737"/>
                  <a:gd name="connsiteY6" fmla="*/ 45314 h 46769"/>
                  <a:gd name="connsiteX7" fmla="*/ 41778 w 46737"/>
                  <a:gd name="connsiteY7" fmla="*/ 46769 h 46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37" h="46769">
                    <a:moveTo>
                      <a:pt x="41778" y="46769"/>
                    </a:moveTo>
                    <a:cubicBezTo>
                      <a:pt x="40499" y="46769"/>
                      <a:pt x="39245" y="46293"/>
                      <a:pt x="38267" y="45314"/>
                    </a:cubicBezTo>
                    <a:lnTo>
                      <a:pt x="1448" y="8471"/>
                    </a:lnTo>
                    <a:cubicBezTo>
                      <a:pt x="-483" y="6540"/>
                      <a:pt x="-483" y="3380"/>
                      <a:pt x="1448" y="1448"/>
                    </a:cubicBezTo>
                    <a:cubicBezTo>
                      <a:pt x="3380" y="-483"/>
                      <a:pt x="6540" y="-483"/>
                      <a:pt x="8471" y="1448"/>
                    </a:cubicBezTo>
                    <a:lnTo>
                      <a:pt x="45289" y="38292"/>
                    </a:lnTo>
                    <a:cubicBezTo>
                      <a:pt x="47221" y="40223"/>
                      <a:pt x="47221" y="43383"/>
                      <a:pt x="45289" y="45314"/>
                    </a:cubicBezTo>
                    <a:cubicBezTo>
                      <a:pt x="44311" y="46293"/>
                      <a:pt x="43032" y="46769"/>
                      <a:pt x="41778" y="46769"/>
                    </a:cubicBezTo>
                    <a:close/>
                  </a:path>
                </a:pathLst>
              </a:custGeom>
              <a:solidFill>
                <a:schemeClr val="accent1"/>
              </a:solidFill>
              <a:ln w="2503" cap="flat">
                <a:noFill/>
                <a:prstDash val="solid"/>
                <a:miter/>
              </a:ln>
            </p:spPr>
            <p:txBody>
              <a:bodyPr rtlCol="0" anchor="ctr"/>
              <a:lstStyle/>
              <a:p>
                <a:endParaRPr lang="en-GB" dirty="0"/>
              </a:p>
            </p:txBody>
          </p:sp>
          <p:sp>
            <p:nvSpPr>
              <p:cNvPr id="545" name="Freihandform: Form 1064">
                <a:extLst>
                  <a:ext uri="{FF2B5EF4-FFF2-40B4-BE49-F238E27FC236}">
                    <a16:creationId xmlns:a16="http://schemas.microsoft.com/office/drawing/2014/main" id="{6487643F-1B60-4731-9D88-F970FC64467F}"/>
                  </a:ext>
                </a:extLst>
              </p:cNvPr>
              <p:cNvSpPr/>
              <p:nvPr/>
            </p:nvSpPr>
            <p:spPr>
              <a:xfrm>
                <a:off x="8118716" y="3297840"/>
                <a:ext cx="46737" cy="46744"/>
              </a:xfrm>
              <a:custGeom>
                <a:avLst/>
                <a:gdLst>
                  <a:gd name="connsiteX0" fmla="*/ 4960 w 46737"/>
                  <a:gd name="connsiteY0" fmla="*/ 46744 h 46744"/>
                  <a:gd name="connsiteX1" fmla="*/ 1448 w 46737"/>
                  <a:gd name="connsiteY1" fmla="*/ 45289 h 46744"/>
                  <a:gd name="connsiteX2" fmla="*/ 1448 w 46737"/>
                  <a:gd name="connsiteY2" fmla="*/ 38267 h 46744"/>
                  <a:gd name="connsiteX3" fmla="*/ 38267 w 46737"/>
                  <a:gd name="connsiteY3" fmla="*/ 1448 h 46744"/>
                  <a:gd name="connsiteX4" fmla="*/ 45290 w 46737"/>
                  <a:gd name="connsiteY4" fmla="*/ 1448 h 46744"/>
                  <a:gd name="connsiteX5" fmla="*/ 45290 w 46737"/>
                  <a:gd name="connsiteY5" fmla="*/ 8471 h 46744"/>
                  <a:gd name="connsiteX6" fmla="*/ 8471 w 46737"/>
                  <a:gd name="connsiteY6" fmla="*/ 45289 h 46744"/>
                  <a:gd name="connsiteX7" fmla="*/ 4960 w 46737"/>
                  <a:gd name="connsiteY7" fmla="*/ 46744 h 46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37" h="46744">
                    <a:moveTo>
                      <a:pt x="4960" y="46744"/>
                    </a:moveTo>
                    <a:cubicBezTo>
                      <a:pt x="3680" y="46744"/>
                      <a:pt x="2426" y="46268"/>
                      <a:pt x="1448" y="45289"/>
                    </a:cubicBezTo>
                    <a:cubicBezTo>
                      <a:pt x="-483" y="43358"/>
                      <a:pt x="-483" y="40198"/>
                      <a:pt x="1448" y="38267"/>
                    </a:cubicBezTo>
                    <a:lnTo>
                      <a:pt x="38267" y="1448"/>
                    </a:lnTo>
                    <a:cubicBezTo>
                      <a:pt x="40198" y="-483"/>
                      <a:pt x="43358" y="-483"/>
                      <a:pt x="45290" y="1448"/>
                    </a:cubicBezTo>
                    <a:cubicBezTo>
                      <a:pt x="47220" y="3380"/>
                      <a:pt x="47220" y="6540"/>
                      <a:pt x="45290" y="8471"/>
                    </a:cubicBezTo>
                    <a:lnTo>
                      <a:pt x="8471" y="45289"/>
                    </a:lnTo>
                    <a:cubicBezTo>
                      <a:pt x="7493" y="46242"/>
                      <a:pt x="6214" y="46744"/>
                      <a:pt x="4960" y="46744"/>
                    </a:cubicBezTo>
                    <a:close/>
                  </a:path>
                </a:pathLst>
              </a:custGeom>
              <a:solidFill>
                <a:schemeClr val="accent1"/>
              </a:solidFill>
              <a:ln w="2503" cap="flat">
                <a:noFill/>
                <a:prstDash val="solid"/>
                <a:miter/>
              </a:ln>
            </p:spPr>
            <p:txBody>
              <a:bodyPr rtlCol="0" anchor="ctr"/>
              <a:lstStyle/>
              <a:p>
                <a:endParaRPr lang="en-GB" dirty="0"/>
              </a:p>
            </p:txBody>
          </p:sp>
          <p:sp>
            <p:nvSpPr>
              <p:cNvPr id="546" name="Freihandform: Form 1066">
                <a:extLst>
                  <a:ext uri="{FF2B5EF4-FFF2-40B4-BE49-F238E27FC236}">
                    <a16:creationId xmlns:a16="http://schemas.microsoft.com/office/drawing/2014/main" id="{64BBE0EC-6505-42EA-B0DD-68F925A51F37}"/>
                  </a:ext>
                </a:extLst>
              </p:cNvPr>
              <p:cNvSpPr/>
              <p:nvPr/>
            </p:nvSpPr>
            <p:spPr>
              <a:xfrm>
                <a:off x="8009132" y="3572819"/>
                <a:ext cx="10082" cy="58212"/>
              </a:xfrm>
              <a:custGeom>
                <a:avLst/>
                <a:gdLst>
                  <a:gd name="connsiteX0" fmla="*/ 4966 w 10082"/>
                  <a:gd name="connsiteY0" fmla="*/ 58212 h 58212"/>
                  <a:gd name="connsiteX1" fmla="*/ 4966 w 10082"/>
                  <a:gd name="connsiteY1" fmla="*/ 58212 h 58212"/>
                  <a:gd name="connsiteX2" fmla="*/ 0 w 10082"/>
                  <a:gd name="connsiteY2" fmla="*/ 53246 h 58212"/>
                  <a:gd name="connsiteX3" fmla="*/ 150 w 10082"/>
                  <a:gd name="connsiteY3" fmla="*/ 4941 h 58212"/>
                  <a:gd name="connsiteX4" fmla="*/ 5116 w 10082"/>
                  <a:gd name="connsiteY4" fmla="*/ 0 h 58212"/>
                  <a:gd name="connsiteX5" fmla="*/ 5141 w 10082"/>
                  <a:gd name="connsiteY5" fmla="*/ 0 h 58212"/>
                  <a:gd name="connsiteX6" fmla="*/ 10082 w 10082"/>
                  <a:gd name="connsiteY6" fmla="*/ 4991 h 58212"/>
                  <a:gd name="connsiteX7" fmla="*/ 9932 w 10082"/>
                  <a:gd name="connsiteY7" fmla="*/ 53296 h 58212"/>
                  <a:gd name="connsiteX8" fmla="*/ 4966 w 10082"/>
                  <a:gd name="connsiteY8" fmla="*/ 58212 h 5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082" h="58212">
                    <a:moveTo>
                      <a:pt x="4966" y="58212"/>
                    </a:moveTo>
                    <a:cubicBezTo>
                      <a:pt x="4966" y="58212"/>
                      <a:pt x="4941" y="58212"/>
                      <a:pt x="4966" y="58212"/>
                    </a:cubicBezTo>
                    <a:cubicBezTo>
                      <a:pt x="2207" y="58212"/>
                      <a:pt x="0" y="55980"/>
                      <a:pt x="0" y="53246"/>
                    </a:cubicBezTo>
                    <a:lnTo>
                      <a:pt x="150" y="4941"/>
                    </a:lnTo>
                    <a:cubicBezTo>
                      <a:pt x="150" y="2207"/>
                      <a:pt x="2383" y="0"/>
                      <a:pt x="5116" y="0"/>
                    </a:cubicBezTo>
                    <a:cubicBezTo>
                      <a:pt x="5116" y="0"/>
                      <a:pt x="5141" y="0"/>
                      <a:pt x="5141" y="0"/>
                    </a:cubicBezTo>
                    <a:cubicBezTo>
                      <a:pt x="7900" y="0"/>
                      <a:pt x="10107" y="2232"/>
                      <a:pt x="10082" y="4991"/>
                    </a:cubicBezTo>
                    <a:lnTo>
                      <a:pt x="9932" y="53296"/>
                    </a:lnTo>
                    <a:cubicBezTo>
                      <a:pt x="9932" y="56005"/>
                      <a:pt x="7700" y="58212"/>
                      <a:pt x="4966" y="58212"/>
                    </a:cubicBezTo>
                    <a:close/>
                  </a:path>
                </a:pathLst>
              </a:custGeom>
              <a:solidFill>
                <a:schemeClr val="accent1"/>
              </a:solidFill>
              <a:ln w="2503" cap="flat">
                <a:noFill/>
                <a:prstDash val="solid"/>
                <a:miter/>
              </a:ln>
            </p:spPr>
            <p:txBody>
              <a:bodyPr rtlCol="0" anchor="ctr"/>
              <a:lstStyle/>
              <a:p>
                <a:endParaRPr lang="en-GB" dirty="0"/>
              </a:p>
            </p:txBody>
          </p:sp>
          <p:sp>
            <p:nvSpPr>
              <p:cNvPr id="547" name="Freihandform: Form 1067">
                <a:extLst>
                  <a:ext uri="{FF2B5EF4-FFF2-40B4-BE49-F238E27FC236}">
                    <a16:creationId xmlns:a16="http://schemas.microsoft.com/office/drawing/2014/main" id="{0125A7BE-98BE-45D0-9E11-1AF83B3961B4}"/>
                  </a:ext>
                </a:extLst>
              </p:cNvPr>
              <p:cNvSpPr/>
              <p:nvPr/>
            </p:nvSpPr>
            <p:spPr>
              <a:xfrm>
                <a:off x="7989769" y="3621099"/>
                <a:ext cx="48005" cy="135561"/>
              </a:xfrm>
              <a:custGeom>
                <a:avLst/>
                <a:gdLst>
                  <a:gd name="connsiteX0" fmla="*/ 23777 w 48005"/>
                  <a:gd name="connsiteY0" fmla="*/ 135561 h 135561"/>
                  <a:gd name="connsiteX1" fmla="*/ 23677 w 48005"/>
                  <a:gd name="connsiteY1" fmla="*/ 135561 h 135561"/>
                  <a:gd name="connsiteX2" fmla="*/ 8252 w 48005"/>
                  <a:gd name="connsiteY2" fmla="*/ 128815 h 135561"/>
                  <a:gd name="connsiteX3" fmla="*/ 1 w 48005"/>
                  <a:gd name="connsiteY3" fmla="*/ 107446 h 135561"/>
                  <a:gd name="connsiteX4" fmla="*/ 377 w 48005"/>
                  <a:gd name="connsiteY4" fmla="*/ 27865 h 135561"/>
                  <a:gd name="connsiteX5" fmla="*/ 7124 w 48005"/>
                  <a:gd name="connsiteY5" fmla="*/ 8477 h 135561"/>
                  <a:gd name="connsiteX6" fmla="*/ 24229 w 48005"/>
                  <a:gd name="connsiteY6" fmla="*/ 0 h 135561"/>
                  <a:gd name="connsiteX7" fmla="*/ 24329 w 48005"/>
                  <a:gd name="connsiteY7" fmla="*/ 0 h 135561"/>
                  <a:gd name="connsiteX8" fmla="*/ 39754 w 48005"/>
                  <a:gd name="connsiteY8" fmla="*/ 6747 h 135561"/>
                  <a:gd name="connsiteX9" fmla="*/ 48005 w 48005"/>
                  <a:gd name="connsiteY9" fmla="*/ 28116 h 135561"/>
                  <a:gd name="connsiteX10" fmla="*/ 47629 w 48005"/>
                  <a:gd name="connsiteY10" fmla="*/ 107671 h 135561"/>
                  <a:gd name="connsiteX11" fmla="*/ 23777 w 48005"/>
                  <a:gd name="connsiteY11" fmla="*/ 135561 h 135561"/>
                  <a:gd name="connsiteX12" fmla="*/ 24254 w 48005"/>
                  <a:gd name="connsiteY12" fmla="*/ 9932 h 135561"/>
                  <a:gd name="connsiteX13" fmla="*/ 14798 w 48005"/>
                  <a:gd name="connsiteY13" fmla="*/ 14823 h 135561"/>
                  <a:gd name="connsiteX14" fmla="*/ 10334 w 48005"/>
                  <a:gd name="connsiteY14" fmla="*/ 27915 h 135561"/>
                  <a:gd name="connsiteX15" fmla="*/ 9958 w 48005"/>
                  <a:gd name="connsiteY15" fmla="*/ 107496 h 135561"/>
                  <a:gd name="connsiteX16" fmla="*/ 15325 w 48005"/>
                  <a:gd name="connsiteY16" fmla="*/ 121817 h 135561"/>
                  <a:gd name="connsiteX17" fmla="*/ 23727 w 48005"/>
                  <a:gd name="connsiteY17" fmla="*/ 125604 h 135561"/>
                  <a:gd name="connsiteX18" fmla="*/ 23777 w 48005"/>
                  <a:gd name="connsiteY18" fmla="*/ 125604 h 135561"/>
                  <a:gd name="connsiteX19" fmla="*/ 37697 w 48005"/>
                  <a:gd name="connsiteY19" fmla="*/ 107596 h 135561"/>
                  <a:gd name="connsiteX20" fmla="*/ 38073 w 48005"/>
                  <a:gd name="connsiteY20" fmla="*/ 28040 h 135561"/>
                  <a:gd name="connsiteX21" fmla="*/ 38073 w 48005"/>
                  <a:gd name="connsiteY21" fmla="*/ 28040 h 135561"/>
                  <a:gd name="connsiteX22" fmla="*/ 32706 w 48005"/>
                  <a:gd name="connsiteY22" fmla="*/ 13719 h 135561"/>
                  <a:gd name="connsiteX23" fmla="*/ 24304 w 48005"/>
                  <a:gd name="connsiteY23" fmla="*/ 9932 h 135561"/>
                  <a:gd name="connsiteX24" fmla="*/ 24254 w 48005"/>
                  <a:gd name="connsiteY24" fmla="*/ 9932 h 135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005" h="135561">
                    <a:moveTo>
                      <a:pt x="23777" y="135561"/>
                    </a:moveTo>
                    <a:cubicBezTo>
                      <a:pt x="23752" y="135561"/>
                      <a:pt x="23702" y="135561"/>
                      <a:pt x="23677" y="135561"/>
                    </a:cubicBezTo>
                    <a:cubicBezTo>
                      <a:pt x="18009" y="135536"/>
                      <a:pt x="12541" y="133128"/>
                      <a:pt x="8252" y="128815"/>
                    </a:cubicBezTo>
                    <a:cubicBezTo>
                      <a:pt x="2960" y="123472"/>
                      <a:pt x="-49" y="115672"/>
                      <a:pt x="1" y="107446"/>
                    </a:cubicBezTo>
                    <a:lnTo>
                      <a:pt x="377" y="27865"/>
                    </a:lnTo>
                    <a:cubicBezTo>
                      <a:pt x="402" y="20566"/>
                      <a:pt x="2810" y="13694"/>
                      <a:pt x="7124" y="8477"/>
                    </a:cubicBezTo>
                    <a:cubicBezTo>
                      <a:pt x="11663" y="3010"/>
                      <a:pt x="17733" y="0"/>
                      <a:pt x="24229" y="0"/>
                    </a:cubicBezTo>
                    <a:cubicBezTo>
                      <a:pt x="24254" y="0"/>
                      <a:pt x="24304" y="0"/>
                      <a:pt x="24329" y="0"/>
                    </a:cubicBezTo>
                    <a:cubicBezTo>
                      <a:pt x="29997" y="25"/>
                      <a:pt x="35465" y="2408"/>
                      <a:pt x="39754" y="6747"/>
                    </a:cubicBezTo>
                    <a:cubicBezTo>
                      <a:pt x="45046" y="12089"/>
                      <a:pt x="48055" y="19889"/>
                      <a:pt x="48005" y="28116"/>
                    </a:cubicBezTo>
                    <a:lnTo>
                      <a:pt x="47629" y="107671"/>
                    </a:lnTo>
                    <a:cubicBezTo>
                      <a:pt x="47554" y="123071"/>
                      <a:pt x="36869" y="135561"/>
                      <a:pt x="23777" y="135561"/>
                    </a:cubicBezTo>
                    <a:close/>
                    <a:moveTo>
                      <a:pt x="24254" y="9932"/>
                    </a:moveTo>
                    <a:cubicBezTo>
                      <a:pt x="20742" y="9932"/>
                      <a:pt x="17382" y="11663"/>
                      <a:pt x="14798" y="14823"/>
                    </a:cubicBezTo>
                    <a:cubicBezTo>
                      <a:pt x="11939" y="18259"/>
                      <a:pt x="10359" y="22924"/>
                      <a:pt x="10334" y="27915"/>
                    </a:cubicBezTo>
                    <a:lnTo>
                      <a:pt x="9958" y="107496"/>
                    </a:lnTo>
                    <a:cubicBezTo>
                      <a:pt x="9933" y="113114"/>
                      <a:pt x="11889" y="118331"/>
                      <a:pt x="15325" y="121817"/>
                    </a:cubicBezTo>
                    <a:cubicBezTo>
                      <a:pt x="17030" y="123548"/>
                      <a:pt x="19865" y="125604"/>
                      <a:pt x="23727" y="125604"/>
                    </a:cubicBezTo>
                    <a:cubicBezTo>
                      <a:pt x="23752" y="125604"/>
                      <a:pt x="23752" y="125604"/>
                      <a:pt x="23777" y="125604"/>
                    </a:cubicBezTo>
                    <a:cubicBezTo>
                      <a:pt x="31402" y="125604"/>
                      <a:pt x="37647" y="117553"/>
                      <a:pt x="37697" y="107596"/>
                    </a:cubicBezTo>
                    <a:lnTo>
                      <a:pt x="38073" y="28040"/>
                    </a:lnTo>
                    <a:lnTo>
                      <a:pt x="38073" y="28040"/>
                    </a:lnTo>
                    <a:cubicBezTo>
                      <a:pt x="38098" y="22422"/>
                      <a:pt x="36142" y="17205"/>
                      <a:pt x="32706" y="13719"/>
                    </a:cubicBezTo>
                    <a:cubicBezTo>
                      <a:pt x="31001" y="11989"/>
                      <a:pt x="28166" y="9957"/>
                      <a:pt x="24304" y="9932"/>
                    </a:cubicBezTo>
                    <a:cubicBezTo>
                      <a:pt x="24279" y="9932"/>
                      <a:pt x="24279" y="9932"/>
                      <a:pt x="24254" y="9932"/>
                    </a:cubicBezTo>
                    <a:close/>
                  </a:path>
                </a:pathLst>
              </a:custGeom>
              <a:solidFill>
                <a:schemeClr val="accent1"/>
              </a:solidFill>
              <a:ln w="2503" cap="flat">
                <a:noFill/>
                <a:prstDash val="solid"/>
                <a:miter/>
              </a:ln>
            </p:spPr>
            <p:txBody>
              <a:bodyPr rtlCol="0" anchor="ctr"/>
              <a:lstStyle/>
              <a:p>
                <a:endParaRPr lang="en-GB" dirty="0"/>
              </a:p>
            </p:txBody>
          </p:sp>
        </p:grpSp>
      </p:grpSp>
      <p:grpSp>
        <p:nvGrpSpPr>
          <p:cNvPr id="208" name="Group 207">
            <a:extLst>
              <a:ext uri="{FF2B5EF4-FFF2-40B4-BE49-F238E27FC236}">
                <a16:creationId xmlns:a16="http://schemas.microsoft.com/office/drawing/2014/main" id="{2FD70247-E217-4B94-852A-A7646587642E}"/>
              </a:ext>
            </a:extLst>
          </p:cNvPr>
          <p:cNvGrpSpPr/>
          <p:nvPr/>
        </p:nvGrpSpPr>
        <p:grpSpPr>
          <a:xfrm>
            <a:off x="4888623" y="2391526"/>
            <a:ext cx="649290" cy="432000"/>
            <a:chOff x="4888211" y="2391526"/>
            <a:chExt cx="649290" cy="432000"/>
          </a:xfrm>
        </p:grpSpPr>
        <p:grpSp>
          <p:nvGrpSpPr>
            <p:cNvPr id="549" name="Group 548">
              <a:extLst>
                <a:ext uri="{FF2B5EF4-FFF2-40B4-BE49-F238E27FC236}">
                  <a16:creationId xmlns:a16="http://schemas.microsoft.com/office/drawing/2014/main" id="{1924BED8-3295-4202-B313-21557E1EDF12}"/>
                </a:ext>
              </a:extLst>
            </p:cNvPr>
            <p:cNvGrpSpPr/>
            <p:nvPr/>
          </p:nvGrpSpPr>
          <p:grpSpPr>
            <a:xfrm>
              <a:off x="4888211" y="2391526"/>
              <a:ext cx="649290" cy="432000"/>
              <a:chOff x="6001799" y="4087735"/>
              <a:chExt cx="720091" cy="479107"/>
            </a:xfrm>
          </p:grpSpPr>
          <p:sp>
            <p:nvSpPr>
              <p:cNvPr id="551" name="Freihandform: Form 1102">
                <a:extLst>
                  <a:ext uri="{FF2B5EF4-FFF2-40B4-BE49-F238E27FC236}">
                    <a16:creationId xmlns:a16="http://schemas.microsoft.com/office/drawing/2014/main" id="{771F7569-649A-4BEE-8FE3-B77A95310B6B}"/>
                  </a:ext>
                </a:extLst>
              </p:cNvPr>
              <p:cNvSpPr/>
              <p:nvPr/>
            </p:nvSpPr>
            <p:spPr>
              <a:xfrm>
                <a:off x="6233226" y="4198633"/>
                <a:ext cx="257184" cy="257226"/>
              </a:xfrm>
              <a:custGeom>
                <a:avLst/>
                <a:gdLst>
                  <a:gd name="connsiteX0" fmla="*/ 119602 w 257184"/>
                  <a:gd name="connsiteY0" fmla="*/ 257227 h 257226"/>
                  <a:gd name="connsiteX1" fmla="*/ 118674 w 257184"/>
                  <a:gd name="connsiteY1" fmla="*/ 257126 h 257226"/>
                  <a:gd name="connsiteX2" fmla="*/ 90232 w 257184"/>
                  <a:gd name="connsiteY2" fmla="*/ 251709 h 257226"/>
                  <a:gd name="connsiteX3" fmla="*/ 87047 w 257184"/>
                  <a:gd name="connsiteY3" fmla="*/ 249627 h 257226"/>
                  <a:gd name="connsiteX4" fmla="*/ 86270 w 257184"/>
                  <a:gd name="connsiteY4" fmla="*/ 245915 h 257226"/>
                  <a:gd name="connsiteX5" fmla="*/ 91612 w 257184"/>
                  <a:gd name="connsiteY5" fmla="*/ 218026 h 257226"/>
                  <a:gd name="connsiteX6" fmla="*/ 59684 w 257184"/>
                  <a:gd name="connsiteY6" fmla="*/ 196506 h 257226"/>
                  <a:gd name="connsiteX7" fmla="*/ 35832 w 257184"/>
                  <a:gd name="connsiteY7" fmla="*/ 211931 h 257226"/>
                  <a:gd name="connsiteX8" fmla="*/ 28960 w 257184"/>
                  <a:gd name="connsiteY8" fmla="*/ 210451 h 257226"/>
                  <a:gd name="connsiteX9" fmla="*/ 13184 w 257184"/>
                  <a:gd name="connsiteY9" fmla="*/ 186123 h 257226"/>
                  <a:gd name="connsiteX10" fmla="*/ 12507 w 257184"/>
                  <a:gd name="connsiteY10" fmla="*/ 182386 h 257226"/>
                  <a:gd name="connsiteX11" fmla="*/ 14664 w 257184"/>
                  <a:gd name="connsiteY11" fmla="*/ 179251 h 257226"/>
                  <a:gd name="connsiteX12" fmla="*/ 38516 w 257184"/>
                  <a:gd name="connsiteY12" fmla="*/ 163801 h 257226"/>
                  <a:gd name="connsiteX13" fmla="*/ 31895 w 257184"/>
                  <a:gd name="connsiteY13" fmla="*/ 129867 h 257226"/>
                  <a:gd name="connsiteX14" fmla="*/ 4030 w 257184"/>
                  <a:gd name="connsiteY14" fmla="*/ 124500 h 257226"/>
                  <a:gd name="connsiteX15" fmla="*/ 92 w 257184"/>
                  <a:gd name="connsiteY15" fmla="*/ 118681 h 257226"/>
                  <a:gd name="connsiteX16" fmla="*/ 5560 w 257184"/>
                  <a:gd name="connsiteY16" fmla="*/ 90214 h 257226"/>
                  <a:gd name="connsiteX17" fmla="*/ 7642 w 257184"/>
                  <a:gd name="connsiteY17" fmla="*/ 87029 h 257226"/>
                  <a:gd name="connsiteX18" fmla="*/ 11354 w 257184"/>
                  <a:gd name="connsiteY18" fmla="*/ 86277 h 257226"/>
                  <a:gd name="connsiteX19" fmla="*/ 39218 w 257184"/>
                  <a:gd name="connsiteY19" fmla="*/ 91619 h 257226"/>
                  <a:gd name="connsiteX20" fmla="*/ 58004 w 257184"/>
                  <a:gd name="connsiteY20" fmla="*/ 62525 h 257226"/>
                  <a:gd name="connsiteX21" fmla="*/ 41576 w 257184"/>
                  <a:gd name="connsiteY21" fmla="*/ 39326 h 257226"/>
                  <a:gd name="connsiteX22" fmla="*/ 40723 w 257184"/>
                  <a:gd name="connsiteY22" fmla="*/ 35614 h 257226"/>
                  <a:gd name="connsiteX23" fmla="*/ 42755 w 257184"/>
                  <a:gd name="connsiteY23" fmla="*/ 32403 h 257226"/>
                  <a:gd name="connsiteX24" fmla="*/ 66431 w 257184"/>
                  <a:gd name="connsiteY24" fmla="*/ 15699 h 257226"/>
                  <a:gd name="connsiteX25" fmla="*/ 73353 w 257184"/>
                  <a:gd name="connsiteY25" fmla="*/ 16878 h 257226"/>
                  <a:gd name="connsiteX26" fmla="*/ 89756 w 257184"/>
                  <a:gd name="connsiteY26" fmla="*/ 40053 h 257226"/>
                  <a:gd name="connsiteX27" fmla="*/ 127377 w 257184"/>
                  <a:gd name="connsiteY27" fmla="*/ 31902 h 257226"/>
                  <a:gd name="connsiteX28" fmla="*/ 132744 w 257184"/>
                  <a:gd name="connsiteY28" fmla="*/ 4037 h 257226"/>
                  <a:gd name="connsiteX29" fmla="*/ 138563 w 257184"/>
                  <a:gd name="connsiteY29" fmla="*/ 99 h 257226"/>
                  <a:gd name="connsiteX30" fmla="*/ 166979 w 257184"/>
                  <a:gd name="connsiteY30" fmla="*/ 5567 h 257226"/>
                  <a:gd name="connsiteX31" fmla="*/ 170139 w 257184"/>
                  <a:gd name="connsiteY31" fmla="*/ 7649 h 257226"/>
                  <a:gd name="connsiteX32" fmla="*/ 170917 w 257184"/>
                  <a:gd name="connsiteY32" fmla="*/ 11361 h 257226"/>
                  <a:gd name="connsiteX33" fmla="*/ 165550 w 257184"/>
                  <a:gd name="connsiteY33" fmla="*/ 39250 h 257226"/>
                  <a:gd name="connsiteX34" fmla="*/ 197452 w 257184"/>
                  <a:gd name="connsiteY34" fmla="*/ 60770 h 257226"/>
                  <a:gd name="connsiteX35" fmla="*/ 221304 w 257184"/>
                  <a:gd name="connsiteY35" fmla="*/ 45370 h 257226"/>
                  <a:gd name="connsiteX36" fmla="*/ 228151 w 257184"/>
                  <a:gd name="connsiteY36" fmla="*/ 46850 h 257226"/>
                  <a:gd name="connsiteX37" fmla="*/ 243927 w 257184"/>
                  <a:gd name="connsiteY37" fmla="*/ 71128 h 257226"/>
                  <a:gd name="connsiteX38" fmla="*/ 244629 w 257184"/>
                  <a:gd name="connsiteY38" fmla="*/ 74865 h 257226"/>
                  <a:gd name="connsiteX39" fmla="*/ 242472 w 257184"/>
                  <a:gd name="connsiteY39" fmla="*/ 78000 h 257226"/>
                  <a:gd name="connsiteX40" fmla="*/ 218620 w 257184"/>
                  <a:gd name="connsiteY40" fmla="*/ 93450 h 257226"/>
                  <a:gd name="connsiteX41" fmla="*/ 225267 w 257184"/>
                  <a:gd name="connsiteY41" fmla="*/ 127409 h 257226"/>
                  <a:gd name="connsiteX42" fmla="*/ 253157 w 257184"/>
                  <a:gd name="connsiteY42" fmla="*/ 132751 h 257226"/>
                  <a:gd name="connsiteX43" fmla="*/ 256342 w 257184"/>
                  <a:gd name="connsiteY43" fmla="*/ 134833 h 257226"/>
                  <a:gd name="connsiteX44" fmla="*/ 257094 w 257184"/>
                  <a:gd name="connsiteY44" fmla="*/ 138570 h 257226"/>
                  <a:gd name="connsiteX45" fmla="*/ 251601 w 257184"/>
                  <a:gd name="connsiteY45" fmla="*/ 167062 h 257226"/>
                  <a:gd name="connsiteX46" fmla="*/ 245783 w 257184"/>
                  <a:gd name="connsiteY46" fmla="*/ 170999 h 257226"/>
                  <a:gd name="connsiteX47" fmla="*/ 217918 w 257184"/>
                  <a:gd name="connsiteY47" fmla="*/ 165632 h 257226"/>
                  <a:gd name="connsiteX48" fmla="*/ 199183 w 257184"/>
                  <a:gd name="connsiteY48" fmla="*/ 194700 h 257226"/>
                  <a:gd name="connsiteX49" fmla="*/ 215611 w 257184"/>
                  <a:gd name="connsiteY49" fmla="*/ 217900 h 257226"/>
                  <a:gd name="connsiteX50" fmla="*/ 216463 w 257184"/>
                  <a:gd name="connsiteY50" fmla="*/ 221612 h 257226"/>
                  <a:gd name="connsiteX51" fmla="*/ 214432 w 257184"/>
                  <a:gd name="connsiteY51" fmla="*/ 224822 h 257226"/>
                  <a:gd name="connsiteX52" fmla="*/ 190756 w 257184"/>
                  <a:gd name="connsiteY52" fmla="*/ 241576 h 257226"/>
                  <a:gd name="connsiteX53" fmla="*/ 183834 w 257184"/>
                  <a:gd name="connsiteY53" fmla="*/ 240398 h 257226"/>
                  <a:gd name="connsiteX54" fmla="*/ 167431 w 257184"/>
                  <a:gd name="connsiteY54" fmla="*/ 217223 h 257226"/>
                  <a:gd name="connsiteX55" fmla="*/ 129810 w 257184"/>
                  <a:gd name="connsiteY55" fmla="*/ 225374 h 257226"/>
                  <a:gd name="connsiteX56" fmla="*/ 124468 w 257184"/>
                  <a:gd name="connsiteY56" fmla="*/ 253214 h 257226"/>
                  <a:gd name="connsiteX57" fmla="*/ 119602 w 257184"/>
                  <a:gd name="connsiteY57" fmla="*/ 257227 h 257226"/>
                  <a:gd name="connsiteX58" fmla="*/ 96979 w 257184"/>
                  <a:gd name="connsiteY58" fmla="*/ 242906 h 257226"/>
                  <a:gd name="connsiteX59" fmla="*/ 115664 w 257184"/>
                  <a:gd name="connsiteY59" fmla="*/ 246467 h 257226"/>
                  <a:gd name="connsiteX60" fmla="*/ 120856 w 257184"/>
                  <a:gd name="connsiteY60" fmla="*/ 219430 h 257226"/>
                  <a:gd name="connsiteX61" fmla="*/ 125872 w 257184"/>
                  <a:gd name="connsiteY61" fmla="*/ 215392 h 257226"/>
                  <a:gd name="connsiteX62" fmla="*/ 166904 w 257184"/>
                  <a:gd name="connsiteY62" fmla="*/ 206514 h 257226"/>
                  <a:gd name="connsiteX63" fmla="*/ 173149 w 257184"/>
                  <a:gd name="connsiteY63" fmla="*/ 208094 h 257226"/>
                  <a:gd name="connsiteX64" fmla="*/ 189075 w 257184"/>
                  <a:gd name="connsiteY64" fmla="*/ 230616 h 257226"/>
                  <a:gd name="connsiteX65" fmla="*/ 204650 w 257184"/>
                  <a:gd name="connsiteY65" fmla="*/ 219606 h 257226"/>
                  <a:gd name="connsiteX66" fmla="*/ 188699 w 257184"/>
                  <a:gd name="connsiteY66" fmla="*/ 197083 h 257226"/>
                  <a:gd name="connsiteX67" fmla="*/ 189276 w 257184"/>
                  <a:gd name="connsiteY67" fmla="*/ 190662 h 257226"/>
                  <a:gd name="connsiteX68" fmla="*/ 210143 w 257184"/>
                  <a:gd name="connsiteY68" fmla="*/ 158309 h 257226"/>
                  <a:gd name="connsiteX69" fmla="*/ 215761 w 257184"/>
                  <a:gd name="connsiteY69" fmla="*/ 155123 h 257226"/>
                  <a:gd name="connsiteX70" fmla="*/ 242823 w 257184"/>
                  <a:gd name="connsiteY70" fmla="*/ 160340 h 257226"/>
                  <a:gd name="connsiteX71" fmla="*/ 246435 w 257184"/>
                  <a:gd name="connsiteY71" fmla="*/ 141605 h 257226"/>
                  <a:gd name="connsiteX72" fmla="*/ 219348 w 257184"/>
                  <a:gd name="connsiteY72" fmla="*/ 136413 h 257226"/>
                  <a:gd name="connsiteX73" fmla="*/ 215310 w 257184"/>
                  <a:gd name="connsiteY73" fmla="*/ 131372 h 257226"/>
                  <a:gd name="connsiteX74" fmla="*/ 207911 w 257184"/>
                  <a:gd name="connsiteY74" fmla="*/ 93600 h 257226"/>
                  <a:gd name="connsiteX75" fmla="*/ 209742 w 257184"/>
                  <a:gd name="connsiteY75" fmla="*/ 87405 h 257226"/>
                  <a:gd name="connsiteX76" fmla="*/ 232916 w 257184"/>
                  <a:gd name="connsiteY76" fmla="*/ 72407 h 257226"/>
                  <a:gd name="connsiteX77" fmla="*/ 222558 w 257184"/>
                  <a:gd name="connsiteY77" fmla="*/ 56456 h 257226"/>
                  <a:gd name="connsiteX78" fmla="*/ 199384 w 257184"/>
                  <a:gd name="connsiteY78" fmla="*/ 71404 h 257226"/>
                  <a:gd name="connsiteX79" fmla="*/ 192988 w 257184"/>
                  <a:gd name="connsiteY79" fmla="*/ 70551 h 257226"/>
                  <a:gd name="connsiteX80" fmla="*/ 158226 w 257184"/>
                  <a:gd name="connsiteY80" fmla="*/ 47101 h 257226"/>
                  <a:gd name="connsiteX81" fmla="*/ 155041 w 257184"/>
                  <a:gd name="connsiteY81" fmla="*/ 41482 h 257226"/>
                  <a:gd name="connsiteX82" fmla="*/ 160258 w 257184"/>
                  <a:gd name="connsiteY82" fmla="*/ 14396 h 257226"/>
                  <a:gd name="connsiteX83" fmla="*/ 141573 w 257184"/>
                  <a:gd name="connsiteY83" fmla="*/ 10809 h 257226"/>
                  <a:gd name="connsiteX84" fmla="*/ 136356 w 257184"/>
                  <a:gd name="connsiteY84" fmla="*/ 37871 h 257226"/>
                  <a:gd name="connsiteX85" fmla="*/ 131340 w 257184"/>
                  <a:gd name="connsiteY85" fmla="*/ 41909 h 257226"/>
                  <a:gd name="connsiteX86" fmla="*/ 90333 w 257184"/>
                  <a:gd name="connsiteY86" fmla="*/ 50812 h 257226"/>
                  <a:gd name="connsiteX87" fmla="*/ 84062 w 257184"/>
                  <a:gd name="connsiteY87" fmla="*/ 49232 h 257226"/>
                  <a:gd name="connsiteX88" fmla="*/ 68136 w 257184"/>
                  <a:gd name="connsiteY88" fmla="*/ 26735 h 257226"/>
                  <a:gd name="connsiteX89" fmla="*/ 52561 w 257184"/>
                  <a:gd name="connsiteY89" fmla="*/ 37720 h 257226"/>
                  <a:gd name="connsiteX90" fmla="*/ 68512 w 257184"/>
                  <a:gd name="connsiteY90" fmla="*/ 60243 h 257226"/>
                  <a:gd name="connsiteX91" fmla="*/ 67936 w 257184"/>
                  <a:gd name="connsiteY91" fmla="*/ 66664 h 257226"/>
                  <a:gd name="connsiteX92" fmla="*/ 47043 w 257184"/>
                  <a:gd name="connsiteY92" fmla="*/ 99043 h 257226"/>
                  <a:gd name="connsiteX93" fmla="*/ 41425 w 257184"/>
                  <a:gd name="connsiteY93" fmla="*/ 102228 h 257226"/>
                  <a:gd name="connsiteX94" fmla="*/ 14363 w 257184"/>
                  <a:gd name="connsiteY94" fmla="*/ 97036 h 257226"/>
                  <a:gd name="connsiteX95" fmla="*/ 10777 w 257184"/>
                  <a:gd name="connsiteY95" fmla="*/ 115746 h 257226"/>
                  <a:gd name="connsiteX96" fmla="*/ 37839 w 257184"/>
                  <a:gd name="connsiteY96" fmla="*/ 120963 h 257226"/>
                  <a:gd name="connsiteX97" fmla="*/ 41852 w 257184"/>
                  <a:gd name="connsiteY97" fmla="*/ 126005 h 257226"/>
                  <a:gd name="connsiteX98" fmla="*/ 49225 w 257184"/>
                  <a:gd name="connsiteY98" fmla="*/ 163751 h 257226"/>
                  <a:gd name="connsiteX99" fmla="*/ 47395 w 257184"/>
                  <a:gd name="connsiteY99" fmla="*/ 169946 h 257226"/>
                  <a:gd name="connsiteX100" fmla="*/ 24220 w 257184"/>
                  <a:gd name="connsiteY100" fmla="*/ 184944 h 257226"/>
                  <a:gd name="connsiteX101" fmla="*/ 34603 w 257184"/>
                  <a:gd name="connsiteY101" fmla="*/ 200946 h 257226"/>
                  <a:gd name="connsiteX102" fmla="*/ 57753 w 257184"/>
                  <a:gd name="connsiteY102" fmla="*/ 185972 h 257226"/>
                  <a:gd name="connsiteX103" fmla="*/ 64123 w 257184"/>
                  <a:gd name="connsiteY103" fmla="*/ 186825 h 257226"/>
                  <a:gd name="connsiteX104" fmla="*/ 98935 w 257184"/>
                  <a:gd name="connsiteY104" fmla="*/ 210301 h 257226"/>
                  <a:gd name="connsiteX105" fmla="*/ 102121 w 257184"/>
                  <a:gd name="connsiteY105" fmla="*/ 215894 h 257226"/>
                  <a:gd name="connsiteX106" fmla="*/ 96979 w 257184"/>
                  <a:gd name="connsiteY106" fmla="*/ 242906 h 257226"/>
                  <a:gd name="connsiteX107" fmla="*/ 128581 w 257184"/>
                  <a:gd name="connsiteY107" fmla="*/ 182461 h 257226"/>
                  <a:gd name="connsiteX108" fmla="*/ 74833 w 257184"/>
                  <a:gd name="connsiteY108" fmla="*/ 128663 h 257226"/>
                  <a:gd name="connsiteX109" fmla="*/ 128581 w 257184"/>
                  <a:gd name="connsiteY109" fmla="*/ 74865 h 257226"/>
                  <a:gd name="connsiteX110" fmla="*/ 182379 w 257184"/>
                  <a:gd name="connsiteY110" fmla="*/ 128663 h 257226"/>
                  <a:gd name="connsiteX111" fmla="*/ 128581 w 257184"/>
                  <a:gd name="connsiteY111" fmla="*/ 182461 h 257226"/>
                  <a:gd name="connsiteX112" fmla="*/ 128581 w 257184"/>
                  <a:gd name="connsiteY112" fmla="*/ 84797 h 257226"/>
                  <a:gd name="connsiteX113" fmla="*/ 84765 w 257184"/>
                  <a:gd name="connsiteY113" fmla="*/ 128663 h 257226"/>
                  <a:gd name="connsiteX114" fmla="*/ 128581 w 257184"/>
                  <a:gd name="connsiteY114" fmla="*/ 172529 h 257226"/>
                  <a:gd name="connsiteX115" fmla="*/ 172447 w 257184"/>
                  <a:gd name="connsiteY115" fmla="*/ 128663 h 257226"/>
                  <a:gd name="connsiteX116" fmla="*/ 128581 w 257184"/>
                  <a:gd name="connsiteY116" fmla="*/ 84797 h 257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257184" h="257226">
                    <a:moveTo>
                      <a:pt x="119602" y="257227"/>
                    </a:moveTo>
                    <a:cubicBezTo>
                      <a:pt x="119301" y="257227"/>
                      <a:pt x="118975" y="257202"/>
                      <a:pt x="118674" y="257126"/>
                    </a:cubicBezTo>
                    <a:lnTo>
                      <a:pt x="90232" y="251709"/>
                    </a:lnTo>
                    <a:cubicBezTo>
                      <a:pt x="88928" y="251458"/>
                      <a:pt x="87800" y="250706"/>
                      <a:pt x="87047" y="249627"/>
                    </a:cubicBezTo>
                    <a:cubicBezTo>
                      <a:pt x="86295" y="248524"/>
                      <a:pt x="86044" y="247194"/>
                      <a:pt x="86270" y="245915"/>
                    </a:cubicBezTo>
                    <a:lnTo>
                      <a:pt x="91612" y="218026"/>
                    </a:lnTo>
                    <a:cubicBezTo>
                      <a:pt x="79698" y="213085"/>
                      <a:pt x="68788" y="205736"/>
                      <a:pt x="59684" y="196506"/>
                    </a:cubicBezTo>
                    <a:lnTo>
                      <a:pt x="35832" y="211931"/>
                    </a:lnTo>
                    <a:cubicBezTo>
                      <a:pt x="33525" y="213411"/>
                      <a:pt x="30465" y="212759"/>
                      <a:pt x="28960" y="210451"/>
                    </a:cubicBezTo>
                    <a:lnTo>
                      <a:pt x="13184" y="186123"/>
                    </a:lnTo>
                    <a:cubicBezTo>
                      <a:pt x="12457" y="185019"/>
                      <a:pt x="12231" y="183665"/>
                      <a:pt x="12507" y="182386"/>
                    </a:cubicBezTo>
                    <a:cubicBezTo>
                      <a:pt x="12783" y="181082"/>
                      <a:pt x="13561" y="179978"/>
                      <a:pt x="14664" y="179251"/>
                    </a:cubicBezTo>
                    <a:lnTo>
                      <a:pt x="38516" y="163801"/>
                    </a:lnTo>
                    <a:cubicBezTo>
                      <a:pt x="34277" y="153041"/>
                      <a:pt x="32020" y="141454"/>
                      <a:pt x="31895" y="129867"/>
                    </a:cubicBezTo>
                    <a:lnTo>
                      <a:pt x="4030" y="124500"/>
                    </a:lnTo>
                    <a:cubicBezTo>
                      <a:pt x="1346" y="123973"/>
                      <a:pt x="-434" y="121390"/>
                      <a:pt x="92" y="118681"/>
                    </a:cubicBezTo>
                    <a:lnTo>
                      <a:pt x="5560" y="90214"/>
                    </a:lnTo>
                    <a:cubicBezTo>
                      <a:pt x="5811" y="88910"/>
                      <a:pt x="6563" y="87781"/>
                      <a:pt x="7642" y="87029"/>
                    </a:cubicBezTo>
                    <a:cubicBezTo>
                      <a:pt x="8720" y="86302"/>
                      <a:pt x="10074" y="86026"/>
                      <a:pt x="11354" y="86277"/>
                    </a:cubicBezTo>
                    <a:lnTo>
                      <a:pt x="39218" y="91619"/>
                    </a:lnTo>
                    <a:cubicBezTo>
                      <a:pt x="43658" y="80834"/>
                      <a:pt x="49953" y="71078"/>
                      <a:pt x="58004" y="62525"/>
                    </a:cubicBezTo>
                    <a:lnTo>
                      <a:pt x="41576" y="39326"/>
                    </a:lnTo>
                    <a:cubicBezTo>
                      <a:pt x="40823" y="38247"/>
                      <a:pt x="40497" y="36918"/>
                      <a:pt x="40723" y="35614"/>
                    </a:cubicBezTo>
                    <a:cubicBezTo>
                      <a:pt x="40949" y="34309"/>
                      <a:pt x="41676" y="33156"/>
                      <a:pt x="42755" y="32403"/>
                    </a:cubicBezTo>
                    <a:lnTo>
                      <a:pt x="66431" y="15699"/>
                    </a:lnTo>
                    <a:cubicBezTo>
                      <a:pt x="68663" y="14119"/>
                      <a:pt x="71773" y="14646"/>
                      <a:pt x="73353" y="16878"/>
                    </a:cubicBezTo>
                    <a:lnTo>
                      <a:pt x="89756" y="40053"/>
                    </a:lnTo>
                    <a:cubicBezTo>
                      <a:pt x="101544" y="34861"/>
                      <a:pt x="114410" y="32077"/>
                      <a:pt x="127377" y="31902"/>
                    </a:cubicBezTo>
                    <a:lnTo>
                      <a:pt x="132744" y="4037"/>
                    </a:lnTo>
                    <a:cubicBezTo>
                      <a:pt x="133246" y="1353"/>
                      <a:pt x="135854" y="-452"/>
                      <a:pt x="138563" y="99"/>
                    </a:cubicBezTo>
                    <a:lnTo>
                      <a:pt x="166979" y="5567"/>
                    </a:lnTo>
                    <a:cubicBezTo>
                      <a:pt x="168283" y="5818"/>
                      <a:pt x="169412" y="6570"/>
                      <a:pt x="170139" y="7649"/>
                    </a:cubicBezTo>
                    <a:cubicBezTo>
                      <a:pt x="170892" y="8752"/>
                      <a:pt x="171143" y="10081"/>
                      <a:pt x="170917" y="11361"/>
                    </a:cubicBezTo>
                    <a:lnTo>
                      <a:pt x="165550" y="39250"/>
                    </a:lnTo>
                    <a:cubicBezTo>
                      <a:pt x="177463" y="44166"/>
                      <a:pt x="188348" y="51515"/>
                      <a:pt x="197452" y="60770"/>
                    </a:cubicBezTo>
                    <a:lnTo>
                      <a:pt x="221304" y="45370"/>
                    </a:lnTo>
                    <a:cubicBezTo>
                      <a:pt x="223586" y="43890"/>
                      <a:pt x="226671" y="44542"/>
                      <a:pt x="228151" y="46850"/>
                    </a:cubicBezTo>
                    <a:lnTo>
                      <a:pt x="243927" y="71128"/>
                    </a:lnTo>
                    <a:cubicBezTo>
                      <a:pt x="244654" y="72231"/>
                      <a:pt x="244905" y="73586"/>
                      <a:pt x="244629" y="74865"/>
                    </a:cubicBezTo>
                    <a:cubicBezTo>
                      <a:pt x="244353" y="76169"/>
                      <a:pt x="243576" y="77273"/>
                      <a:pt x="242472" y="78000"/>
                    </a:cubicBezTo>
                    <a:lnTo>
                      <a:pt x="218620" y="93450"/>
                    </a:lnTo>
                    <a:cubicBezTo>
                      <a:pt x="222859" y="104184"/>
                      <a:pt x="225116" y="115797"/>
                      <a:pt x="225267" y="127409"/>
                    </a:cubicBezTo>
                    <a:lnTo>
                      <a:pt x="253157" y="132751"/>
                    </a:lnTo>
                    <a:cubicBezTo>
                      <a:pt x="254461" y="133002"/>
                      <a:pt x="255589" y="133754"/>
                      <a:pt x="256342" y="134833"/>
                    </a:cubicBezTo>
                    <a:cubicBezTo>
                      <a:pt x="257069" y="135936"/>
                      <a:pt x="257345" y="137266"/>
                      <a:pt x="257094" y="138570"/>
                    </a:cubicBezTo>
                    <a:lnTo>
                      <a:pt x="251601" y="167062"/>
                    </a:lnTo>
                    <a:cubicBezTo>
                      <a:pt x="251075" y="169745"/>
                      <a:pt x="248441" y="171526"/>
                      <a:pt x="245783" y="170999"/>
                    </a:cubicBezTo>
                    <a:lnTo>
                      <a:pt x="217918" y="165632"/>
                    </a:lnTo>
                    <a:cubicBezTo>
                      <a:pt x="213479" y="176341"/>
                      <a:pt x="207083" y="186248"/>
                      <a:pt x="199183" y="194700"/>
                    </a:cubicBezTo>
                    <a:lnTo>
                      <a:pt x="215611" y="217900"/>
                    </a:lnTo>
                    <a:cubicBezTo>
                      <a:pt x="216363" y="218979"/>
                      <a:pt x="216664" y="220308"/>
                      <a:pt x="216463" y="221612"/>
                    </a:cubicBezTo>
                    <a:cubicBezTo>
                      <a:pt x="216238" y="222916"/>
                      <a:pt x="215510" y="224070"/>
                      <a:pt x="214432" y="224822"/>
                    </a:cubicBezTo>
                    <a:lnTo>
                      <a:pt x="190756" y="241576"/>
                    </a:lnTo>
                    <a:cubicBezTo>
                      <a:pt x="188524" y="243156"/>
                      <a:pt x="185414" y="242630"/>
                      <a:pt x="183834" y="240398"/>
                    </a:cubicBezTo>
                    <a:lnTo>
                      <a:pt x="167431" y="217223"/>
                    </a:lnTo>
                    <a:cubicBezTo>
                      <a:pt x="155618" y="222415"/>
                      <a:pt x="142751" y="225199"/>
                      <a:pt x="129810" y="225374"/>
                    </a:cubicBezTo>
                    <a:lnTo>
                      <a:pt x="124468" y="253214"/>
                    </a:lnTo>
                    <a:cubicBezTo>
                      <a:pt x="124016" y="255571"/>
                      <a:pt x="121934" y="257227"/>
                      <a:pt x="119602" y="257227"/>
                    </a:cubicBezTo>
                    <a:close/>
                    <a:moveTo>
                      <a:pt x="96979" y="242906"/>
                    </a:moveTo>
                    <a:lnTo>
                      <a:pt x="115664" y="246467"/>
                    </a:lnTo>
                    <a:lnTo>
                      <a:pt x="120856" y="219430"/>
                    </a:lnTo>
                    <a:cubicBezTo>
                      <a:pt x="121307" y="217047"/>
                      <a:pt x="123414" y="215492"/>
                      <a:pt x="125872" y="215392"/>
                    </a:cubicBezTo>
                    <a:cubicBezTo>
                      <a:pt x="140043" y="215818"/>
                      <a:pt x="154263" y="212759"/>
                      <a:pt x="166904" y="206514"/>
                    </a:cubicBezTo>
                    <a:cubicBezTo>
                      <a:pt x="169111" y="205435"/>
                      <a:pt x="171745" y="206087"/>
                      <a:pt x="173149" y="208094"/>
                    </a:cubicBezTo>
                    <a:lnTo>
                      <a:pt x="189075" y="230616"/>
                    </a:lnTo>
                    <a:lnTo>
                      <a:pt x="204650" y="219606"/>
                    </a:lnTo>
                    <a:lnTo>
                      <a:pt x="188699" y="197083"/>
                    </a:lnTo>
                    <a:cubicBezTo>
                      <a:pt x="187295" y="195077"/>
                      <a:pt x="187545" y="192368"/>
                      <a:pt x="189276" y="190662"/>
                    </a:cubicBezTo>
                    <a:cubicBezTo>
                      <a:pt x="198506" y="181659"/>
                      <a:pt x="205729" y="170473"/>
                      <a:pt x="210143" y="158309"/>
                    </a:cubicBezTo>
                    <a:cubicBezTo>
                      <a:pt x="210971" y="156001"/>
                      <a:pt x="213353" y="154647"/>
                      <a:pt x="215761" y="155123"/>
                    </a:cubicBezTo>
                    <a:lnTo>
                      <a:pt x="242823" y="160340"/>
                    </a:lnTo>
                    <a:lnTo>
                      <a:pt x="246435" y="141605"/>
                    </a:lnTo>
                    <a:lnTo>
                      <a:pt x="219348" y="136413"/>
                    </a:lnTo>
                    <a:cubicBezTo>
                      <a:pt x="216940" y="135962"/>
                      <a:pt x="215235" y="133830"/>
                      <a:pt x="215310" y="131372"/>
                    </a:cubicBezTo>
                    <a:cubicBezTo>
                      <a:pt x="215736" y="118405"/>
                      <a:pt x="213178" y="105338"/>
                      <a:pt x="207911" y="93600"/>
                    </a:cubicBezTo>
                    <a:cubicBezTo>
                      <a:pt x="206908" y="91368"/>
                      <a:pt x="207685" y="88734"/>
                      <a:pt x="209742" y="87405"/>
                    </a:cubicBezTo>
                    <a:lnTo>
                      <a:pt x="232916" y="72407"/>
                    </a:lnTo>
                    <a:lnTo>
                      <a:pt x="222558" y="56456"/>
                    </a:lnTo>
                    <a:lnTo>
                      <a:pt x="199384" y="71404"/>
                    </a:lnTo>
                    <a:cubicBezTo>
                      <a:pt x="197327" y="72733"/>
                      <a:pt x="194618" y="72357"/>
                      <a:pt x="192988" y="70551"/>
                    </a:cubicBezTo>
                    <a:cubicBezTo>
                      <a:pt x="183482" y="59967"/>
                      <a:pt x="171444" y="51866"/>
                      <a:pt x="158226" y="47101"/>
                    </a:cubicBezTo>
                    <a:cubicBezTo>
                      <a:pt x="155919" y="46273"/>
                      <a:pt x="154564" y="43890"/>
                      <a:pt x="155041" y="41482"/>
                    </a:cubicBezTo>
                    <a:lnTo>
                      <a:pt x="160258" y="14396"/>
                    </a:lnTo>
                    <a:lnTo>
                      <a:pt x="141573" y="10809"/>
                    </a:lnTo>
                    <a:lnTo>
                      <a:pt x="136356" y="37871"/>
                    </a:lnTo>
                    <a:cubicBezTo>
                      <a:pt x="135904" y="40279"/>
                      <a:pt x="133697" y="41884"/>
                      <a:pt x="131340" y="41909"/>
                    </a:cubicBezTo>
                    <a:cubicBezTo>
                      <a:pt x="117169" y="41482"/>
                      <a:pt x="102948" y="44567"/>
                      <a:pt x="90333" y="50812"/>
                    </a:cubicBezTo>
                    <a:cubicBezTo>
                      <a:pt x="88151" y="51916"/>
                      <a:pt x="85492" y="51214"/>
                      <a:pt x="84062" y="49232"/>
                    </a:cubicBezTo>
                    <a:lnTo>
                      <a:pt x="68136" y="26735"/>
                    </a:lnTo>
                    <a:lnTo>
                      <a:pt x="52561" y="37720"/>
                    </a:lnTo>
                    <a:lnTo>
                      <a:pt x="68512" y="60243"/>
                    </a:lnTo>
                    <a:cubicBezTo>
                      <a:pt x="69917" y="62224"/>
                      <a:pt x="69691" y="64958"/>
                      <a:pt x="67936" y="66664"/>
                    </a:cubicBezTo>
                    <a:cubicBezTo>
                      <a:pt x="58505" y="75868"/>
                      <a:pt x="51483" y="86753"/>
                      <a:pt x="47043" y="99043"/>
                    </a:cubicBezTo>
                    <a:cubicBezTo>
                      <a:pt x="46216" y="101350"/>
                      <a:pt x="43858" y="102730"/>
                      <a:pt x="41425" y="102228"/>
                    </a:cubicBezTo>
                    <a:lnTo>
                      <a:pt x="14363" y="97036"/>
                    </a:lnTo>
                    <a:lnTo>
                      <a:pt x="10777" y="115746"/>
                    </a:lnTo>
                    <a:lnTo>
                      <a:pt x="37839" y="120963"/>
                    </a:lnTo>
                    <a:cubicBezTo>
                      <a:pt x="40247" y="121415"/>
                      <a:pt x="41952" y="123572"/>
                      <a:pt x="41852" y="126005"/>
                    </a:cubicBezTo>
                    <a:cubicBezTo>
                      <a:pt x="41425" y="138946"/>
                      <a:pt x="43984" y="151988"/>
                      <a:pt x="49225" y="163751"/>
                    </a:cubicBezTo>
                    <a:cubicBezTo>
                      <a:pt x="50229" y="165983"/>
                      <a:pt x="49451" y="168617"/>
                      <a:pt x="47395" y="169946"/>
                    </a:cubicBezTo>
                    <a:lnTo>
                      <a:pt x="24220" y="184944"/>
                    </a:lnTo>
                    <a:lnTo>
                      <a:pt x="34603" y="200946"/>
                    </a:lnTo>
                    <a:lnTo>
                      <a:pt x="57753" y="185972"/>
                    </a:lnTo>
                    <a:cubicBezTo>
                      <a:pt x="59809" y="184643"/>
                      <a:pt x="62493" y="185019"/>
                      <a:pt x="64123" y="186825"/>
                    </a:cubicBezTo>
                    <a:cubicBezTo>
                      <a:pt x="73629" y="197359"/>
                      <a:pt x="85668" y="205485"/>
                      <a:pt x="98935" y="210301"/>
                    </a:cubicBezTo>
                    <a:cubicBezTo>
                      <a:pt x="101218" y="211128"/>
                      <a:pt x="102572" y="213511"/>
                      <a:pt x="102121" y="215894"/>
                    </a:cubicBezTo>
                    <a:lnTo>
                      <a:pt x="96979" y="242906"/>
                    </a:lnTo>
                    <a:close/>
                    <a:moveTo>
                      <a:pt x="128581" y="182461"/>
                    </a:moveTo>
                    <a:cubicBezTo>
                      <a:pt x="98935" y="182461"/>
                      <a:pt x="74833" y="158333"/>
                      <a:pt x="74833" y="128663"/>
                    </a:cubicBezTo>
                    <a:cubicBezTo>
                      <a:pt x="74833" y="98993"/>
                      <a:pt x="98935" y="74865"/>
                      <a:pt x="128581" y="74865"/>
                    </a:cubicBezTo>
                    <a:cubicBezTo>
                      <a:pt x="158251" y="74865"/>
                      <a:pt x="182379" y="98993"/>
                      <a:pt x="182379" y="128663"/>
                    </a:cubicBezTo>
                    <a:cubicBezTo>
                      <a:pt x="182379" y="158333"/>
                      <a:pt x="158251" y="182461"/>
                      <a:pt x="128581" y="182461"/>
                    </a:cubicBezTo>
                    <a:close/>
                    <a:moveTo>
                      <a:pt x="128581" y="84797"/>
                    </a:moveTo>
                    <a:cubicBezTo>
                      <a:pt x="104428" y="84797"/>
                      <a:pt x="84765" y="104485"/>
                      <a:pt x="84765" y="128663"/>
                    </a:cubicBezTo>
                    <a:cubicBezTo>
                      <a:pt x="84765" y="152866"/>
                      <a:pt x="104428" y="172529"/>
                      <a:pt x="128581" y="172529"/>
                    </a:cubicBezTo>
                    <a:cubicBezTo>
                      <a:pt x="152759" y="172529"/>
                      <a:pt x="172447" y="152841"/>
                      <a:pt x="172447" y="128663"/>
                    </a:cubicBezTo>
                    <a:cubicBezTo>
                      <a:pt x="172447" y="104460"/>
                      <a:pt x="152759" y="84797"/>
                      <a:pt x="128581" y="84797"/>
                    </a:cubicBezTo>
                    <a:close/>
                  </a:path>
                </a:pathLst>
              </a:custGeom>
              <a:solidFill>
                <a:schemeClr val="tx2"/>
              </a:solidFill>
              <a:ln w="2503" cap="flat">
                <a:noFill/>
                <a:prstDash val="solid"/>
                <a:miter/>
              </a:ln>
            </p:spPr>
            <p:txBody>
              <a:bodyPr rtlCol="0" anchor="ctr"/>
              <a:lstStyle/>
              <a:p>
                <a:endParaRPr lang="en-GB" dirty="0"/>
              </a:p>
            </p:txBody>
          </p:sp>
          <p:grpSp>
            <p:nvGrpSpPr>
              <p:cNvPr id="552" name="Grafik 16">
                <a:extLst>
                  <a:ext uri="{FF2B5EF4-FFF2-40B4-BE49-F238E27FC236}">
                    <a16:creationId xmlns:a16="http://schemas.microsoft.com/office/drawing/2014/main" id="{BEFF2DE7-F99F-4BE0-8E4C-05B08B58CCF4}"/>
                  </a:ext>
                </a:extLst>
              </p:cNvPr>
              <p:cNvGrpSpPr/>
              <p:nvPr/>
            </p:nvGrpSpPr>
            <p:grpSpPr>
              <a:xfrm>
                <a:off x="6001799" y="4087735"/>
                <a:ext cx="198035" cy="479107"/>
                <a:chOff x="6001799" y="4087735"/>
                <a:chExt cx="198035" cy="479107"/>
              </a:xfrm>
              <a:solidFill>
                <a:schemeClr val="tx2"/>
              </a:solidFill>
            </p:grpSpPr>
            <p:sp>
              <p:nvSpPr>
                <p:cNvPr id="564" name="Freihandform: Form 1105">
                  <a:extLst>
                    <a:ext uri="{FF2B5EF4-FFF2-40B4-BE49-F238E27FC236}">
                      <a16:creationId xmlns:a16="http://schemas.microsoft.com/office/drawing/2014/main" id="{F9B2577F-9A9E-4426-9B32-BFD4D8A5E2F2}"/>
                    </a:ext>
                  </a:extLst>
                </p:cNvPr>
                <p:cNvSpPr/>
                <p:nvPr/>
              </p:nvSpPr>
              <p:spPr>
                <a:xfrm>
                  <a:off x="6142050" y="4195599"/>
                  <a:ext cx="57784" cy="264048"/>
                </a:xfrm>
                <a:custGeom>
                  <a:avLst/>
                  <a:gdLst>
                    <a:gd name="connsiteX0" fmla="*/ 47252 w 57784"/>
                    <a:gd name="connsiteY0" fmla="*/ 264048 h 264048"/>
                    <a:gd name="connsiteX1" fmla="*/ 43339 w 57784"/>
                    <a:gd name="connsiteY1" fmla="*/ 262117 h 264048"/>
                    <a:gd name="connsiteX2" fmla="*/ 0 w 57784"/>
                    <a:gd name="connsiteY2" fmla="*/ 135435 h 264048"/>
                    <a:gd name="connsiteX3" fmla="*/ 49033 w 57784"/>
                    <a:gd name="connsiteY3" fmla="*/ 1755 h 264048"/>
                    <a:gd name="connsiteX4" fmla="*/ 56030 w 57784"/>
                    <a:gd name="connsiteY4" fmla="*/ 1178 h 264048"/>
                    <a:gd name="connsiteX5" fmla="*/ 56607 w 57784"/>
                    <a:gd name="connsiteY5" fmla="*/ 8175 h 264048"/>
                    <a:gd name="connsiteX6" fmla="*/ 9932 w 57784"/>
                    <a:gd name="connsiteY6" fmla="*/ 135435 h 264048"/>
                    <a:gd name="connsiteX7" fmla="*/ 51190 w 57784"/>
                    <a:gd name="connsiteY7" fmla="*/ 256023 h 264048"/>
                    <a:gd name="connsiteX8" fmla="*/ 50312 w 57784"/>
                    <a:gd name="connsiteY8" fmla="*/ 262995 h 264048"/>
                    <a:gd name="connsiteX9" fmla="*/ 47252 w 57784"/>
                    <a:gd name="connsiteY9" fmla="*/ 264048 h 264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784" h="264048">
                      <a:moveTo>
                        <a:pt x="47252" y="264048"/>
                      </a:moveTo>
                      <a:cubicBezTo>
                        <a:pt x="45772" y="264048"/>
                        <a:pt x="44293" y="263396"/>
                        <a:pt x="43339" y="262117"/>
                      </a:cubicBezTo>
                      <a:cubicBezTo>
                        <a:pt x="14998" y="225575"/>
                        <a:pt x="0" y="181784"/>
                        <a:pt x="0" y="135435"/>
                      </a:cubicBezTo>
                      <a:cubicBezTo>
                        <a:pt x="0" y="86502"/>
                        <a:pt x="17406" y="39024"/>
                        <a:pt x="49033" y="1755"/>
                      </a:cubicBezTo>
                      <a:cubicBezTo>
                        <a:pt x="50814" y="-327"/>
                        <a:pt x="53923" y="-603"/>
                        <a:pt x="56030" y="1178"/>
                      </a:cubicBezTo>
                      <a:cubicBezTo>
                        <a:pt x="58112" y="2958"/>
                        <a:pt x="58388" y="6094"/>
                        <a:pt x="56607" y="8175"/>
                      </a:cubicBezTo>
                      <a:cubicBezTo>
                        <a:pt x="26510" y="43664"/>
                        <a:pt x="9932" y="88860"/>
                        <a:pt x="9932" y="135435"/>
                      </a:cubicBezTo>
                      <a:cubicBezTo>
                        <a:pt x="9932" y="179551"/>
                        <a:pt x="24203" y="221236"/>
                        <a:pt x="51190" y="256023"/>
                      </a:cubicBezTo>
                      <a:cubicBezTo>
                        <a:pt x="52870" y="258180"/>
                        <a:pt x="52469" y="261315"/>
                        <a:pt x="50312" y="262995"/>
                      </a:cubicBezTo>
                      <a:cubicBezTo>
                        <a:pt x="49384" y="263697"/>
                        <a:pt x="48305" y="264048"/>
                        <a:pt x="47252" y="264048"/>
                      </a:cubicBezTo>
                      <a:close/>
                    </a:path>
                  </a:pathLst>
                </a:custGeom>
                <a:solidFill>
                  <a:schemeClr val="accent1"/>
                </a:solidFill>
                <a:ln w="2503" cap="flat">
                  <a:noFill/>
                  <a:prstDash val="solid"/>
                  <a:miter/>
                </a:ln>
              </p:spPr>
              <p:txBody>
                <a:bodyPr rtlCol="0" anchor="ctr"/>
                <a:lstStyle/>
                <a:p>
                  <a:endParaRPr lang="en-GB" dirty="0"/>
                </a:p>
              </p:txBody>
            </p:sp>
            <p:grpSp>
              <p:nvGrpSpPr>
                <p:cNvPr id="565" name="Grafik 16">
                  <a:extLst>
                    <a:ext uri="{FF2B5EF4-FFF2-40B4-BE49-F238E27FC236}">
                      <a16:creationId xmlns:a16="http://schemas.microsoft.com/office/drawing/2014/main" id="{E1FAD432-FDAA-4FAD-94A9-EDDD77001B9F}"/>
                    </a:ext>
                  </a:extLst>
                </p:cNvPr>
                <p:cNvGrpSpPr/>
                <p:nvPr/>
              </p:nvGrpSpPr>
              <p:grpSpPr>
                <a:xfrm>
                  <a:off x="6001799" y="4296899"/>
                  <a:ext cx="149957" cy="63253"/>
                  <a:chOff x="6001799" y="4296899"/>
                  <a:chExt cx="149957" cy="63253"/>
                </a:xfrm>
                <a:solidFill>
                  <a:schemeClr val="accent1"/>
                </a:solidFill>
              </p:grpSpPr>
              <p:sp>
                <p:nvSpPr>
                  <p:cNvPr id="573" name="Freihandform: Form 1107">
                    <a:extLst>
                      <a:ext uri="{FF2B5EF4-FFF2-40B4-BE49-F238E27FC236}">
                        <a16:creationId xmlns:a16="http://schemas.microsoft.com/office/drawing/2014/main" id="{B538766C-6771-41C0-9123-30B499E9E0CE}"/>
                      </a:ext>
                    </a:extLst>
                  </p:cNvPr>
                  <p:cNvSpPr/>
                  <p:nvPr/>
                </p:nvSpPr>
                <p:spPr>
                  <a:xfrm>
                    <a:off x="6001799" y="4296899"/>
                    <a:ext cx="63253" cy="63253"/>
                  </a:xfrm>
                  <a:custGeom>
                    <a:avLst/>
                    <a:gdLst>
                      <a:gd name="connsiteX0" fmla="*/ 31627 w 63253"/>
                      <a:gd name="connsiteY0" fmla="*/ 63253 h 63253"/>
                      <a:gd name="connsiteX1" fmla="*/ 0 w 63253"/>
                      <a:gd name="connsiteY1" fmla="*/ 31627 h 63253"/>
                      <a:gd name="connsiteX2" fmla="*/ 31627 w 63253"/>
                      <a:gd name="connsiteY2" fmla="*/ 0 h 63253"/>
                      <a:gd name="connsiteX3" fmla="*/ 63254 w 63253"/>
                      <a:gd name="connsiteY3" fmla="*/ 31627 h 63253"/>
                      <a:gd name="connsiteX4" fmla="*/ 31627 w 63253"/>
                      <a:gd name="connsiteY4" fmla="*/ 63253 h 63253"/>
                      <a:gd name="connsiteX5" fmla="*/ 31627 w 63253"/>
                      <a:gd name="connsiteY5" fmla="*/ 9932 h 63253"/>
                      <a:gd name="connsiteX6" fmla="*/ 9932 w 63253"/>
                      <a:gd name="connsiteY6" fmla="*/ 31627 h 63253"/>
                      <a:gd name="connsiteX7" fmla="*/ 31627 w 63253"/>
                      <a:gd name="connsiteY7" fmla="*/ 53322 h 63253"/>
                      <a:gd name="connsiteX8" fmla="*/ 53322 w 63253"/>
                      <a:gd name="connsiteY8" fmla="*/ 31627 h 63253"/>
                      <a:gd name="connsiteX9" fmla="*/ 31627 w 63253"/>
                      <a:gd name="connsiteY9" fmla="*/ 9932 h 63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53" h="63253">
                        <a:moveTo>
                          <a:pt x="31627" y="63253"/>
                        </a:moveTo>
                        <a:cubicBezTo>
                          <a:pt x="14196" y="63253"/>
                          <a:pt x="0" y="49058"/>
                          <a:pt x="0" y="31627"/>
                        </a:cubicBezTo>
                        <a:cubicBezTo>
                          <a:pt x="0" y="14196"/>
                          <a:pt x="14196" y="0"/>
                          <a:pt x="31627" y="0"/>
                        </a:cubicBezTo>
                        <a:cubicBezTo>
                          <a:pt x="49058" y="0"/>
                          <a:pt x="63254" y="14196"/>
                          <a:pt x="63254" y="31627"/>
                        </a:cubicBezTo>
                        <a:cubicBezTo>
                          <a:pt x="63254" y="49058"/>
                          <a:pt x="49058" y="63253"/>
                          <a:pt x="31627" y="63253"/>
                        </a:cubicBezTo>
                        <a:close/>
                        <a:moveTo>
                          <a:pt x="31627" y="9932"/>
                        </a:moveTo>
                        <a:cubicBezTo>
                          <a:pt x="19663" y="9932"/>
                          <a:pt x="9932" y="19663"/>
                          <a:pt x="9932" y="31627"/>
                        </a:cubicBezTo>
                        <a:cubicBezTo>
                          <a:pt x="9932" y="43590"/>
                          <a:pt x="19663" y="53322"/>
                          <a:pt x="31627" y="53322"/>
                        </a:cubicBezTo>
                        <a:cubicBezTo>
                          <a:pt x="43590" y="53322"/>
                          <a:pt x="53322" y="43590"/>
                          <a:pt x="53322" y="31627"/>
                        </a:cubicBezTo>
                        <a:cubicBezTo>
                          <a:pt x="53322" y="19663"/>
                          <a:pt x="43590" y="9932"/>
                          <a:pt x="31627" y="9932"/>
                        </a:cubicBezTo>
                        <a:close/>
                      </a:path>
                    </a:pathLst>
                  </a:custGeom>
                  <a:solidFill>
                    <a:schemeClr val="accent1"/>
                  </a:solidFill>
                  <a:ln w="2503" cap="flat">
                    <a:noFill/>
                    <a:prstDash val="solid"/>
                    <a:miter/>
                  </a:ln>
                </p:spPr>
                <p:txBody>
                  <a:bodyPr rtlCol="0" anchor="ctr"/>
                  <a:lstStyle/>
                  <a:p>
                    <a:endParaRPr lang="en-GB" dirty="0"/>
                  </a:p>
                </p:txBody>
              </p:sp>
              <p:sp>
                <p:nvSpPr>
                  <p:cNvPr id="574" name="Freihandform: Form 1108">
                    <a:extLst>
                      <a:ext uri="{FF2B5EF4-FFF2-40B4-BE49-F238E27FC236}">
                        <a16:creationId xmlns:a16="http://schemas.microsoft.com/office/drawing/2014/main" id="{91730D7E-4987-4CAD-9226-5D2F00EEE59D}"/>
                      </a:ext>
                    </a:extLst>
                  </p:cNvPr>
                  <p:cNvSpPr/>
                  <p:nvPr/>
                </p:nvSpPr>
                <p:spPr>
                  <a:xfrm>
                    <a:off x="6055647" y="4323309"/>
                    <a:ext cx="96109" cy="9931"/>
                  </a:xfrm>
                  <a:custGeom>
                    <a:avLst/>
                    <a:gdLst>
                      <a:gd name="connsiteX0" fmla="*/ 91143 w 96109"/>
                      <a:gd name="connsiteY0" fmla="*/ 9932 h 9931"/>
                      <a:gd name="connsiteX1" fmla="*/ 4966 w 96109"/>
                      <a:gd name="connsiteY1" fmla="*/ 9932 h 9931"/>
                      <a:gd name="connsiteX2" fmla="*/ 0 w 96109"/>
                      <a:gd name="connsiteY2" fmla="*/ 4966 h 9931"/>
                      <a:gd name="connsiteX3" fmla="*/ 4966 w 96109"/>
                      <a:gd name="connsiteY3" fmla="*/ 0 h 9931"/>
                      <a:gd name="connsiteX4" fmla="*/ 91143 w 96109"/>
                      <a:gd name="connsiteY4" fmla="*/ 0 h 9931"/>
                      <a:gd name="connsiteX5" fmla="*/ 96109 w 96109"/>
                      <a:gd name="connsiteY5" fmla="*/ 4966 h 9931"/>
                      <a:gd name="connsiteX6" fmla="*/ 91143 w 96109"/>
                      <a:gd name="connsiteY6" fmla="*/ 9932 h 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109" h="9931">
                        <a:moveTo>
                          <a:pt x="91143" y="9932"/>
                        </a:moveTo>
                        <a:lnTo>
                          <a:pt x="4966" y="9932"/>
                        </a:lnTo>
                        <a:cubicBezTo>
                          <a:pt x="2232" y="9932"/>
                          <a:pt x="0" y="7700"/>
                          <a:pt x="0" y="4966"/>
                        </a:cubicBezTo>
                        <a:cubicBezTo>
                          <a:pt x="0" y="2232"/>
                          <a:pt x="2232" y="0"/>
                          <a:pt x="4966" y="0"/>
                        </a:cubicBezTo>
                        <a:lnTo>
                          <a:pt x="91143" y="0"/>
                        </a:lnTo>
                        <a:cubicBezTo>
                          <a:pt x="93877" y="0"/>
                          <a:pt x="96109" y="2232"/>
                          <a:pt x="96109" y="4966"/>
                        </a:cubicBezTo>
                        <a:cubicBezTo>
                          <a:pt x="96109" y="7700"/>
                          <a:pt x="93877" y="9932"/>
                          <a:pt x="91143" y="9932"/>
                        </a:cubicBezTo>
                        <a:close/>
                      </a:path>
                    </a:pathLst>
                  </a:custGeom>
                  <a:solidFill>
                    <a:schemeClr val="accent1"/>
                  </a:solidFill>
                  <a:ln w="2503" cap="flat">
                    <a:noFill/>
                    <a:prstDash val="solid"/>
                    <a:miter/>
                  </a:ln>
                </p:spPr>
                <p:txBody>
                  <a:bodyPr rtlCol="0" anchor="ctr"/>
                  <a:lstStyle/>
                  <a:p>
                    <a:endParaRPr lang="en-GB" dirty="0"/>
                  </a:p>
                </p:txBody>
              </p:sp>
            </p:grpSp>
            <p:grpSp>
              <p:nvGrpSpPr>
                <p:cNvPr id="566" name="Grafik 16">
                  <a:extLst>
                    <a:ext uri="{FF2B5EF4-FFF2-40B4-BE49-F238E27FC236}">
                      <a16:creationId xmlns:a16="http://schemas.microsoft.com/office/drawing/2014/main" id="{826F6439-ACF7-447A-8E43-26D808A31A00}"/>
                    </a:ext>
                  </a:extLst>
                </p:cNvPr>
                <p:cNvGrpSpPr/>
                <p:nvPr/>
              </p:nvGrpSpPr>
              <p:grpSpPr>
                <a:xfrm>
                  <a:off x="6077467" y="4087735"/>
                  <a:ext cx="121283" cy="479107"/>
                  <a:chOff x="6077467" y="4087735"/>
                  <a:chExt cx="121283" cy="479107"/>
                </a:xfrm>
                <a:solidFill>
                  <a:schemeClr val="accent1"/>
                </a:solidFill>
              </p:grpSpPr>
              <p:grpSp>
                <p:nvGrpSpPr>
                  <p:cNvPr id="567" name="Grafik 16">
                    <a:extLst>
                      <a:ext uri="{FF2B5EF4-FFF2-40B4-BE49-F238E27FC236}">
                        <a16:creationId xmlns:a16="http://schemas.microsoft.com/office/drawing/2014/main" id="{EF32488C-844D-4141-A9DB-6106FD2EBE57}"/>
                      </a:ext>
                    </a:extLst>
                  </p:cNvPr>
                  <p:cNvGrpSpPr/>
                  <p:nvPr/>
                </p:nvGrpSpPr>
                <p:grpSpPr>
                  <a:xfrm>
                    <a:off x="6077467" y="4449897"/>
                    <a:ext cx="116543" cy="116944"/>
                    <a:chOff x="6077467" y="4449897"/>
                    <a:chExt cx="116543" cy="116944"/>
                  </a:xfrm>
                  <a:solidFill>
                    <a:schemeClr val="accent1"/>
                  </a:solidFill>
                </p:grpSpPr>
                <p:sp>
                  <p:nvSpPr>
                    <p:cNvPr id="571" name="Freihandform: Form 1111">
                      <a:extLst>
                        <a:ext uri="{FF2B5EF4-FFF2-40B4-BE49-F238E27FC236}">
                          <a16:creationId xmlns:a16="http://schemas.microsoft.com/office/drawing/2014/main" id="{E08F0DA6-A134-4CD8-9AD6-EC4868D76766}"/>
                        </a:ext>
                      </a:extLst>
                    </p:cNvPr>
                    <p:cNvSpPr/>
                    <p:nvPr/>
                  </p:nvSpPr>
                  <p:spPr>
                    <a:xfrm>
                      <a:off x="6077467" y="4503607"/>
                      <a:ext cx="63234" cy="63234"/>
                    </a:xfrm>
                    <a:custGeom>
                      <a:avLst/>
                      <a:gdLst>
                        <a:gd name="connsiteX0" fmla="*/ 31627 w 63234"/>
                        <a:gd name="connsiteY0" fmla="*/ 63235 h 63234"/>
                        <a:gd name="connsiteX1" fmla="*/ 31627 w 63234"/>
                        <a:gd name="connsiteY1" fmla="*/ 63235 h 63234"/>
                        <a:gd name="connsiteX2" fmla="*/ 9255 w 63234"/>
                        <a:gd name="connsiteY2" fmla="*/ 53980 h 63234"/>
                        <a:gd name="connsiteX3" fmla="*/ 9255 w 63234"/>
                        <a:gd name="connsiteY3" fmla="*/ 9236 h 63234"/>
                        <a:gd name="connsiteX4" fmla="*/ 53999 w 63234"/>
                        <a:gd name="connsiteY4" fmla="*/ 9236 h 63234"/>
                        <a:gd name="connsiteX5" fmla="*/ 53999 w 63234"/>
                        <a:gd name="connsiteY5" fmla="*/ 9236 h 63234"/>
                        <a:gd name="connsiteX6" fmla="*/ 53999 w 63234"/>
                        <a:gd name="connsiteY6" fmla="*/ 53980 h 63234"/>
                        <a:gd name="connsiteX7" fmla="*/ 31627 w 63234"/>
                        <a:gd name="connsiteY7" fmla="*/ 63235 h 63234"/>
                        <a:gd name="connsiteX8" fmla="*/ 31627 w 63234"/>
                        <a:gd name="connsiteY8" fmla="*/ 9913 h 63234"/>
                        <a:gd name="connsiteX9" fmla="*/ 16277 w 63234"/>
                        <a:gd name="connsiteY9" fmla="*/ 16259 h 63234"/>
                        <a:gd name="connsiteX10" fmla="*/ 16277 w 63234"/>
                        <a:gd name="connsiteY10" fmla="*/ 46957 h 63234"/>
                        <a:gd name="connsiteX11" fmla="*/ 31627 w 63234"/>
                        <a:gd name="connsiteY11" fmla="*/ 53303 h 63234"/>
                        <a:gd name="connsiteX12" fmla="*/ 31627 w 63234"/>
                        <a:gd name="connsiteY12" fmla="*/ 53303 h 63234"/>
                        <a:gd name="connsiteX13" fmla="*/ 46976 w 63234"/>
                        <a:gd name="connsiteY13" fmla="*/ 46957 h 63234"/>
                        <a:gd name="connsiteX14" fmla="*/ 46976 w 63234"/>
                        <a:gd name="connsiteY14" fmla="*/ 16259 h 63234"/>
                        <a:gd name="connsiteX15" fmla="*/ 31627 w 63234"/>
                        <a:gd name="connsiteY15" fmla="*/ 9913 h 6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234" h="63234">
                          <a:moveTo>
                            <a:pt x="31627" y="63235"/>
                          </a:moveTo>
                          <a:lnTo>
                            <a:pt x="31627" y="63235"/>
                          </a:lnTo>
                          <a:cubicBezTo>
                            <a:pt x="23175" y="63235"/>
                            <a:pt x="15224" y="59949"/>
                            <a:pt x="9255" y="53980"/>
                          </a:cubicBezTo>
                          <a:cubicBezTo>
                            <a:pt x="-3085" y="41640"/>
                            <a:pt x="-3085" y="21576"/>
                            <a:pt x="9255" y="9236"/>
                          </a:cubicBezTo>
                          <a:cubicBezTo>
                            <a:pt x="21594" y="-3079"/>
                            <a:pt x="41659" y="-3079"/>
                            <a:pt x="53999" y="9236"/>
                          </a:cubicBezTo>
                          <a:lnTo>
                            <a:pt x="53999" y="9236"/>
                          </a:lnTo>
                          <a:cubicBezTo>
                            <a:pt x="66313" y="21576"/>
                            <a:pt x="66313" y="41640"/>
                            <a:pt x="53999" y="53980"/>
                          </a:cubicBezTo>
                          <a:cubicBezTo>
                            <a:pt x="48030" y="59949"/>
                            <a:pt x="40079" y="63235"/>
                            <a:pt x="31627" y="63235"/>
                          </a:cubicBezTo>
                          <a:close/>
                          <a:moveTo>
                            <a:pt x="31627" y="9913"/>
                          </a:moveTo>
                          <a:cubicBezTo>
                            <a:pt x="26059" y="9913"/>
                            <a:pt x="20516" y="12020"/>
                            <a:pt x="16277" y="16259"/>
                          </a:cubicBezTo>
                          <a:cubicBezTo>
                            <a:pt x="7825" y="24711"/>
                            <a:pt x="7825" y="38480"/>
                            <a:pt x="16277" y="46957"/>
                          </a:cubicBezTo>
                          <a:cubicBezTo>
                            <a:pt x="20365" y="51045"/>
                            <a:pt x="25833" y="53303"/>
                            <a:pt x="31627" y="53303"/>
                          </a:cubicBezTo>
                          <a:lnTo>
                            <a:pt x="31627" y="53303"/>
                          </a:lnTo>
                          <a:cubicBezTo>
                            <a:pt x="37420" y="53303"/>
                            <a:pt x="42863" y="51045"/>
                            <a:pt x="46976" y="46957"/>
                          </a:cubicBezTo>
                          <a:cubicBezTo>
                            <a:pt x="55428" y="38505"/>
                            <a:pt x="55428" y="24736"/>
                            <a:pt x="46976" y="16259"/>
                          </a:cubicBezTo>
                          <a:cubicBezTo>
                            <a:pt x="42737" y="12045"/>
                            <a:pt x="37170" y="9913"/>
                            <a:pt x="31627" y="9913"/>
                          </a:cubicBezTo>
                          <a:close/>
                        </a:path>
                      </a:pathLst>
                    </a:custGeom>
                    <a:solidFill>
                      <a:schemeClr val="accent1"/>
                    </a:solidFill>
                    <a:ln w="2503" cap="flat">
                      <a:noFill/>
                      <a:prstDash val="solid"/>
                      <a:miter/>
                    </a:ln>
                  </p:spPr>
                  <p:txBody>
                    <a:bodyPr rtlCol="0" anchor="ctr"/>
                    <a:lstStyle/>
                    <a:p>
                      <a:endParaRPr lang="en-GB" dirty="0"/>
                    </a:p>
                  </p:txBody>
                </p:sp>
                <p:sp>
                  <p:nvSpPr>
                    <p:cNvPr id="572" name="Freihandform: Form 1112">
                      <a:extLst>
                        <a:ext uri="{FF2B5EF4-FFF2-40B4-BE49-F238E27FC236}">
                          <a16:creationId xmlns:a16="http://schemas.microsoft.com/office/drawing/2014/main" id="{4102C345-90F8-4221-96FD-704FE9B1EAF5}"/>
                        </a:ext>
                      </a:extLst>
                    </p:cNvPr>
                    <p:cNvSpPr/>
                    <p:nvPr/>
                  </p:nvSpPr>
                  <p:spPr>
                    <a:xfrm>
                      <a:off x="6123170" y="4449897"/>
                      <a:ext cx="70840" cy="70871"/>
                    </a:xfrm>
                    <a:custGeom>
                      <a:avLst/>
                      <a:gdLst>
                        <a:gd name="connsiteX0" fmla="*/ 4960 w 70840"/>
                        <a:gd name="connsiteY0" fmla="*/ 70872 h 70871"/>
                        <a:gd name="connsiteX1" fmla="*/ 1448 w 70840"/>
                        <a:gd name="connsiteY1" fmla="*/ 69417 h 70871"/>
                        <a:gd name="connsiteX2" fmla="*/ 1448 w 70840"/>
                        <a:gd name="connsiteY2" fmla="*/ 62394 h 70871"/>
                        <a:gd name="connsiteX3" fmla="*/ 62369 w 70840"/>
                        <a:gd name="connsiteY3" fmla="*/ 1448 h 70871"/>
                        <a:gd name="connsiteX4" fmla="*/ 69392 w 70840"/>
                        <a:gd name="connsiteY4" fmla="*/ 1448 h 70871"/>
                        <a:gd name="connsiteX5" fmla="*/ 69392 w 70840"/>
                        <a:gd name="connsiteY5" fmla="*/ 8471 h 70871"/>
                        <a:gd name="connsiteX6" fmla="*/ 8471 w 70840"/>
                        <a:gd name="connsiteY6" fmla="*/ 69417 h 70871"/>
                        <a:gd name="connsiteX7" fmla="*/ 4960 w 70840"/>
                        <a:gd name="connsiteY7" fmla="*/ 70872 h 70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840" h="70871">
                          <a:moveTo>
                            <a:pt x="4960" y="70872"/>
                          </a:moveTo>
                          <a:cubicBezTo>
                            <a:pt x="3681" y="70872"/>
                            <a:pt x="2427" y="70395"/>
                            <a:pt x="1448" y="69417"/>
                          </a:cubicBezTo>
                          <a:cubicBezTo>
                            <a:pt x="-483" y="67486"/>
                            <a:pt x="-483" y="64326"/>
                            <a:pt x="1448" y="62394"/>
                          </a:cubicBezTo>
                          <a:lnTo>
                            <a:pt x="62369" y="1448"/>
                          </a:lnTo>
                          <a:cubicBezTo>
                            <a:pt x="64301" y="-483"/>
                            <a:pt x="67461" y="-483"/>
                            <a:pt x="69392" y="1448"/>
                          </a:cubicBezTo>
                          <a:cubicBezTo>
                            <a:pt x="71323" y="3379"/>
                            <a:pt x="71323" y="6540"/>
                            <a:pt x="69392" y="8471"/>
                          </a:cubicBezTo>
                          <a:lnTo>
                            <a:pt x="8471" y="69417"/>
                          </a:lnTo>
                          <a:cubicBezTo>
                            <a:pt x="7518" y="70395"/>
                            <a:pt x="6239" y="70872"/>
                            <a:pt x="4960" y="70872"/>
                          </a:cubicBezTo>
                          <a:close/>
                        </a:path>
                      </a:pathLst>
                    </a:custGeom>
                    <a:solidFill>
                      <a:schemeClr val="accent1"/>
                    </a:solidFill>
                    <a:ln w="2503" cap="flat">
                      <a:noFill/>
                      <a:prstDash val="solid"/>
                      <a:miter/>
                    </a:ln>
                  </p:spPr>
                  <p:txBody>
                    <a:bodyPr rtlCol="0" anchor="ctr"/>
                    <a:lstStyle/>
                    <a:p>
                      <a:endParaRPr lang="en-GB" dirty="0"/>
                    </a:p>
                  </p:txBody>
                </p:sp>
              </p:grpSp>
              <p:grpSp>
                <p:nvGrpSpPr>
                  <p:cNvPr id="568" name="Grafik 16">
                    <a:extLst>
                      <a:ext uri="{FF2B5EF4-FFF2-40B4-BE49-F238E27FC236}">
                        <a16:creationId xmlns:a16="http://schemas.microsoft.com/office/drawing/2014/main" id="{3B3DE49D-289F-4281-90B0-C7C0C23EF524}"/>
                      </a:ext>
                    </a:extLst>
                  </p:cNvPr>
                  <p:cNvGrpSpPr/>
                  <p:nvPr/>
                </p:nvGrpSpPr>
                <p:grpSpPr>
                  <a:xfrm>
                    <a:off x="6082182" y="4087735"/>
                    <a:ext cx="116568" cy="116916"/>
                    <a:chOff x="6082182" y="4087735"/>
                    <a:chExt cx="116568" cy="116916"/>
                  </a:xfrm>
                  <a:solidFill>
                    <a:schemeClr val="accent1"/>
                  </a:solidFill>
                </p:grpSpPr>
                <p:sp>
                  <p:nvSpPr>
                    <p:cNvPr id="569" name="Freihandform: Form 1114">
                      <a:extLst>
                        <a:ext uri="{FF2B5EF4-FFF2-40B4-BE49-F238E27FC236}">
                          <a16:creationId xmlns:a16="http://schemas.microsoft.com/office/drawing/2014/main" id="{3D3ECD0E-AC79-438D-8078-E232D78C9E93}"/>
                        </a:ext>
                      </a:extLst>
                    </p:cNvPr>
                    <p:cNvSpPr/>
                    <p:nvPr/>
                  </p:nvSpPr>
                  <p:spPr>
                    <a:xfrm>
                      <a:off x="6082182" y="4087735"/>
                      <a:ext cx="63228" cy="63219"/>
                    </a:xfrm>
                    <a:custGeom>
                      <a:avLst/>
                      <a:gdLst>
                        <a:gd name="connsiteX0" fmla="*/ 31627 w 63228"/>
                        <a:gd name="connsiteY0" fmla="*/ 63219 h 63219"/>
                        <a:gd name="connsiteX1" fmla="*/ 9255 w 63228"/>
                        <a:gd name="connsiteY1" fmla="*/ 53964 h 63219"/>
                        <a:gd name="connsiteX2" fmla="*/ 9255 w 63228"/>
                        <a:gd name="connsiteY2" fmla="*/ 9245 h 63219"/>
                        <a:gd name="connsiteX3" fmla="*/ 53974 w 63228"/>
                        <a:gd name="connsiteY3" fmla="*/ 9245 h 63219"/>
                        <a:gd name="connsiteX4" fmla="*/ 53974 w 63228"/>
                        <a:gd name="connsiteY4" fmla="*/ 53964 h 63219"/>
                        <a:gd name="connsiteX5" fmla="*/ 53974 w 63228"/>
                        <a:gd name="connsiteY5" fmla="*/ 53964 h 63219"/>
                        <a:gd name="connsiteX6" fmla="*/ 53974 w 63228"/>
                        <a:gd name="connsiteY6" fmla="*/ 53964 h 63219"/>
                        <a:gd name="connsiteX7" fmla="*/ 53974 w 63228"/>
                        <a:gd name="connsiteY7" fmla="*/ 53964 h 63219"/>
                        <a:gd name="connsiteX8" fmla="*/ 31627 w 63228"/>
                        <a:gd name="connsiteY8" fmla="*/ 63219 h 63219"/>
                        <a:gd name="connsiteX9" fmla="*/ 31627 w 63228"/>
                        <a:gd name="connsiteY9" fmla="*/ 9897 h 63219"/>
                        <a:gd name="connsiteX10" fmla="*/ 16277 w 63228"/>
                        <a:gd name="connsiteY10" fmla="*/ 16243 h 63219"/>
                        <a:gd name="connsiteX11" fmla="*/ 16277 w 63228"/>
                        <a:gd name="connsiteY11" fmla="*/ 46942 h 63219"/>
                        <a:gd name="connsiteX12" fmla="*/ 46951 w 63228"/>
                        <a:gd name="connsiteY12" fmla="*/ 46942 h 63219"/>
                        <a:gd name="connsiteX13" fmla="*/ 46951 w 63228"/>
                        <a:gd name="connsiteY13" fmla="*/ 46942 h 63219"/>
                        <a:gd name="connsiteX14" fmla="*/ 46951 w 63228"/>
                        <a:gd name="connsiteY14" fmla="*/ 16243 h 63219"/>
                        <a:gd name="connsiteX15" fmla="*/ 31627 w 63228"/>
                        <a:gd name="connsiteY15" fmla="*/ 9897 h 63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228" h="63219">
                          <a:moveTo>
                            <a:pt x="31627" y="63219"/>
                          </a:moveTo>
                          <a:cubicBezTo>
                            <a:pt x="23174" y="63219"/>
                            <a:pt x="15249" y="59933"/>
                            <a:pt x="9255" y="53964"/>
                          </a:cubicBezTo>
                          <a:cubicBezTo>
                            <a:pt x="-3085" y="41650"/>
                            <a:pt x="-3085" y="21585"/>
                            <a:pt x="9255" y="9245"/>
                          </a:cubicBezTo>
                          <a:cubicBezTo>
                            <a:pt x="21594" y="-3069"/>
                            <a:pt x="41659" y="-3094"/>
                            <a:pt x="53974" y="9245"/>
                          </a:cubicBezTo>
                          <a:cubicBezTo>
                            <a:pt x="66313" y="21585"/>
                            <a:pt x="66313" y="41650"/>
                            <a:pt x="53974" y="53964"/>
                          </a:cubicBezTo>
                          <a:lnTo>
                            <a:pt x="53974" y="53964"/>
                          </a:lnTo>
                          <a:lnTo>
                            <a:pt x="53974" y="53964"/>
                          </a:lnTo>
                          <a:lnTo>
                            <a:pt x="53974" y="53964"/>
                          </a:lnTo>
                          <a:cubicBezTo>
                            <a:pt x="48004" y="59908"/>
                            <a:pt x="40079" y="63219"/>
                            <a:pt x="31627" y="63219"/>
                          </a:cubicBezTo>
                          <a:close/>
                          <a:moveTo>
                            <a:pt x="31627" y="9897"/>
                          </a:moveTo>
                          <a:cubicBezTo>
                            <a:pt x="26059" y="9897"/>
                            <a:pt x="20516" y="12004"/>
                            <a:pt x="16277" y="16243"/>
                          </a:cubicBezTo>
                          <a:cubicBezTo>
                            <a:pt x="7825" y="24695"/>
                            <a:pt x="7825" y="38464"/>
                            <a:pt x="16277" y="46942"/>
                          </a:cubicBezTo>
                          <a:cubicBezTo>
                            <a:pt x="24479" y="55143"/>
                            <a:pt x="38750" y="55143"/>
                            <a:pt x="46951" y="46942"/>
                          </a:cubicBezTo>
                          <a:lnTo>
                            <a:pt x="46951" y="46942"/>
                          </a:lnTo>
                          <a:cubicBezTo>
                            <a:pt x="55403" y="38490"/>
                            <a:pt x="55403" y="24720"/>
                            <a:pt x="46951" y="16243"/>
                          </a:cubicBezTo>
                          <a:cubicBezTo>
                            <a:pt x="42737" y="12004"/>
                            <a:pt x="37170" y="9897"/>
                            <a:pt x="31627" y="9897"/>
                          </a:cubicBezTo>
                          <a:close/>
                        </a:path>
                      </a:pathLst>
                    </a:custGeom>
                    <a:solidFill>
                      <a:schemeClr val="accent1"/>
                    </a:solidFill>
                    <a:ln w="2503" cap="flat">
                      <a:noFill/>
                      <a:prstDash val="solid"/>
                      <a:miter/>
                    </a:ln>
                  </p:spPr>
                  <p:txBody>
                    <a:bodyPr rtlCol="0" anchor="ctr"/>
                    <a:lstStyle/>
                    <a:p>
                      <a:endParaRPr lang="en-GB" dirty="0"/>
                    </a:p>
                  </p:txBody>
                </p:sp>
                <p:sp>
                  <p:nvSpPr>
                    <p:cNvPr id="570" name="Freihandform: Form 1115">
                      <a:extLst>
                        <a:ext uri="{FF2B5EF4-FFF2-40B4-BE49-F238E27FC236}">
                          <a16:creationId xmlns:a16="http://schemas.microsoft.com/office/drawing/2014/main" id="{17975478-F2DF-4855-8CE2-0EC93C08A395}"/>
                        </a:ext>
                      </a:extLst>
                    </p:cNvPr>
                    <p:cNvSpPr/>
                    <p:nvPr/>
                  </p:nvSpPr>
                  <p:spPr>
                    <a:xfrm>
                      <a:off x="6127885" y="4133780"/>
                      <a:ext cx="70865" cy="70871"/>
                    </a:xfrm>
                    <a:custGeom>
                      <a:avLst/>
                      <a:gdLst>
                        <a:gd name="connsiteX0" fmla="*/ 65906 w 70865"/>
                        <a:gd name="connsiteY0" fmla="*/ 70872 h 70871"/>
                        <a:gd name="connsiteX1" fmla="*/ 62395 w 70865"/>
                        <a:gd name="connsiteY1" fmla="*/ 69417 h 70871"/>
                        <a:gd name="connsiteX2" fmla="*/ 1448 w 70865"/>
                        <a:gd name="connsiteY2" fmla="*/ 8471 h 70871"/>
                        <a:gd name="connsiteX3" fmla="*/ 1448 w 70865"/>
                        <a:gd name="connsiteY3" fmla="*/ 1448 h 70871"/>
                        <a:gd name="connsiteX4" fmla="*/ 8471 w 70865"/>
                        <a:gd name="connsiteY4" fmla="*/ 1448 h 70871"/>
                        <a:gd name="connsiteX5" fmla="*/ 69417 w 70865"/>
                        <a:gd name="connsiteY5" fmla="*/ 62394 h 70871"/>
                        <a:gd name="connsiteX6" fmla="*/ 69417 w 70865"/>
                        <a:gd name="connsiteY6" fmla="*/ 69417 h 70871"/>
                        <a:gd name="connsiteX7" fmla="*/ 65906 w 70865"/>
                        <a:gd name="connsiteY7" fmla="*/ 70872 h 70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865" h="70871">
                          <a:moveTo>
                            <a:pt x="65906" y="70872"/>
                          </a:moveTo>
                          <a:cubicBezTo>
                            <a:pt x="64627" y="70872"/>
                            <a:pt x="63373" y="70395"/>
                            <a:pt x="62395" y="69417"/>
                          </a:cubicBezTo>
                          <a:lnTo>
                            <a:pt x="1448" y="8471"/>
                          </a:lnTo>
                          <a:cubicBezTo>
                            <a:pt x="-483" y="6540"/>
                            <a:pt x="-483" y="3380"/>
                            <a:pt x="1448" y="1448"/>
                          </a:cubicBezTo>
                          <a:cubicBezTo>
                            <a:pt x="3380" y="-483"/>
                            <a:pt x="6540" y="-483"/>
                            <a:pt x="8471" y="1448"/>
                          </a:cubicBezTo>
                          <a:lnTo>
                            <a:pt x="69417" y="62394"/>
                          </a:lnTo>
                          <a:cubicBezTo>
                            <a:pt x="71348" y="64326"/>
                            <a:pt x="71348" y="67486"/>
                            <a:pt x="69417" y="69417"/>
                          </a:cubicBezTo>
                          <a:cubicBezTo>
                            <a:pt x="68439" y="70370"/>
                            <a:pt x="67160" y="70872"/>
                            <a:pt x="65906" y="70872"/>
                          </a:cubicBezTo>
                          <a:close/>
                        </a:path>
                      </a:pathLst>
                    </a:custGeom>
                    <a:solidFill>
                      <a:schemeClr val="accent1"/>
                    </a:solidFill>
                    <a:ln w="2503" cap="flat">
                      <a:noFill/>
                      <a:prstDash val="solid"/>
                      <a:miter/>
                    </a:ln>
                  </p:spPr>
                  <p:txBody>
                    <a:bodyPr rtlCol="0" anchor="ctr"/>
                    <a:lstStyle/>
                    <a:p>
                      <a:endParaRPr lang="en-GB" dirty="0"/>
                    </a:p>
                  </p:txBody>
                </p:sp>
              </p:grpSp>
            </p:grpSp>
          </p:grpSp>
          <p:grpSp>
            <p:nvGrpSpPr>
              <p:cNvPr id="553" name="Grafik 16">
                <a:extLst>
                  <a:ext uri="{FF2B5EF4-FFF2-40B4-BE49-F238E27FC236}">
                    <a16:creationId xmlns:a16="http://schemas.microsoft.com/office/drawing/2014/main" id="{86688A97-043A-4169-B716-A3EBBB3F0F47}"/>
                  </a:ext>
                </a:extLst>
              </p:cNvPr>
              <p:cNvGrpSpPr/>
              <p:nvPr/>
            </p:nvGrpSpPr>
            <p:grpSpPr>
              <a:xfrm>
                <a:off x="6525104" y="4087744"/>
                <a:ext cx="196786" cy="479097"/>
                <a:chOff x="6525104" y="4087744"/>
                <a:chExt cx="196786" cy="479097"/>
              </a:xfrm>
              <a:solidFill>
                <a:schemeClr val="tx2"/>
              </a:solidFill>
            </p:grpSpPr>
            <p:sp>
              <p:nvSpPr>
                <p:cNvPr id="554" name="Freihandform: Form 1117">
                  <a:extLst>
                    <a:ext uri="{FF2B5EF4-FFF2-40B4-BE49-F238E27FC236}">
                      <a16:creationId xmlns:a16="http://schemas.microsoft.com/office/drawing/2014/main" id="{D7CF17F6-BED6-4EE1-9A2C-512C9073E4CA}"/>
                    </a:ext>
                  </a:extLst>
                </p:cNvPr>
                <p:cNvSpPr/>
                <p:nvPr/>
              </p:nvSpPr>
              <p:spPr>
                <a:xfrm>
                  <a:off x="6658637" y="4296372"/>
                  <a:ext cx="63253" cy="63253"/>
                </a:xfrm>
                <a:custGeom>
                  <a:avLst/>
                  <a:gdLst>
                    <a:gd name="connsiteX0" fmla="*/ 31627 w 63253"/>
                    <a:gd name="connsiteY0" fmla="*/ 63253 h 63253"/>
                    <a:gd name="connsiteX1" fmla="*/ 0 w 63253"/>
                    <a:gd name="connsiteY1" fmla="*/ 31627 h 63253"/>
                    <a:gd name="connsiteX2" fmla="*/ 31627 w 63253"/>
                    <a:gd name="connsiteY2" fmla="*/ 0 h 63253"/>
                    <a:gd name="connsiteX3" fmla="*/ 63253 w 63253"/>
                    <a:gd name="connsiteY3" fmla="*/ 31627 h 63253"/>
                    <a:gd name="connsiteX4" fmla="*/ 31627 w 63253"/>
                    <a:gd name="connsiteY4" fmla="*/ 63253 h 63253"/>
                    <a:gd name="connsiteX5" fmla="*/ 31627 w 63253"/>
                    <a:gd name="connsiteY5" fmla="*/ 9932 h 63253"/>
                    <a:gd name="connsiteX6" fmla="*/ 9932 w 63253"/>
                    <a:gd name="connsiteY6" fmla="*/ 31627 h 63253"/>
                    <a:gd name="connsiteX7" fmla="*/ 31627 w 63253"/>
                    <a:gd name="connsiteY7" fmla="*/ 53322 h 63253"/>
                    <a:gd name="connsiteX8" fmla="*/ 53321 w 63253"/>
                    <a:gd name="connsiteY8" fmla="*/ 31627 h 63253"/>
                    <a:gd name="connsiteX9" fmla="*/ 31627 w 63253"/>
                    <a:gd name="connsiteY9" fmla="*/ 9932 h 63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253" h="63253">
                      <a:moveTo>
                        <a:pt x="31627" y="63253"/>
                      </a:moveTo>
                      <a:cubicBezTo>
                        <a:pt x="14196" y="63253"/>
                        <a:pt x="0" y="49058"/>
                        <a:pt x="0" y="31627"/>
                      </a:cubicBezTo>
                      <a:cubicBezTo>
                        <a:pt x="0" y="14195"/>
                        <a:pt x="14196" y="0"/>
                        <a:pt x="31627" y="0"/>
                      </a:cubicBezTo>
                      <a:cubicBezTo>
                        <a:pt x="49058" y="0"/>
                        <a:pt x="63253" y="14195"/>
                        <a:pt x="63253" y="31627"/>
                      </a:cubicBezTo>
                      <a:cubicBezTo>
                        <a:pt x="63253" y="49058"/>
                        <a:pt x="49058" y="63253"/>
                        <a:pt x="31627" y="63253"/>
                      </a:cubicBezTo>
                      <a:close/>
                      <a:moveTo>
                        <a:pt x="31627" y="9932"/>
                      </a:moveTo>
                      <a:cubicBezTo>
                        <a:pt x="19663" y="9932"/>
                        <a:pt x="9932" y="19663"/>
                        <a:pt x="9932" y="31627"/>
                      </a:cubicBezTo>
                      <a:cubicBezTo>
                        <a:pt x="9932" y="43590"/>
                        <a:pt x="19663" y="53322"/>
                        <a:pt x="31627" y="53322"/>
                      </a:cubicBezTo>
                      <a:cubicBezTo>
                        <a:pt x="43590" y="53322"/>
                        <a:pt x="53321" y="43590"/>
                        <a:pt x="53321" y="31627"/>
                      </a:cubicBezTo>
                      <a:cubicBezTo>
                        <a:pt x="53321" y="19663"/>
                        <a:pt x="43590" y="9932"/>
                        <a:pt x="31627" y="9932"/>
                      </a:cubicBezTo>
                      <a:close/>
                    </a:path>
                  </a:pathLst>
                </a:custGeom>
                <a:solidFill>
                  <a:schemeClr val="accent1"/>
                </a:solidFill>
                <a:ln w="2503" cap="flat">
                  <a:noFill/>
                  <a:prstDash val="solid"/>
                  <a:miter/>
                </a:ln>
              </p:spPr>
              <p:txBody>
                <a:bodyPr rtlCol="0" anchor="ctr"/>
                <a:lstStyle/>
                <a:p>
                  <a:endParaRPr lang="en-GB" dirty="0"/>
                </a:p>
              </p:txBody>
            </p:sp>
            <p:sp>
              <p:nvSpPr>
                <p:cNvPr id="555" name="Freihandform: Form 1118">
                  <a:extLst>
                    <a:ext uri="{FF2B5EF4-FFF2-40B4-BE49-F238E27FC236}">
                      <a16:creationId xmlns:a16="http://schemas.microsoft.com/office/drawing/2014/main" id="{E8510666-B12F-4ED1-8ABE-0BBB9984F29C}"/>
                    </a:ext>
                  </a:extLst>
                </p:cNvPr>
                <p:cNvSpPr/>
                <p:nvPr/>
              </p:nvSpPr>
              <p:spPr>
                <a:xfrm>
                  <a:off x="6525104" y="4195572"/>
                  <a:ext cx="57488" cy="262846"/>
                </a:xfrm>
                <a:custGeom>
                  <a:avLst/>
                  <a:gdLst>
                    <a:gd name="connsiteX0" fmla="*/ 11164 w 57488"/>
                    <a:gd name="connsiteY0" fmla="*/ 262847 h 262846"/>
                    <a:gd name="connsiteX1" fmla="*/ 8154 w 57488"/>
                    <a:gd name="connsiteY1" fmla="*/ 261818 h 262846"/>
                    <a:gd name="connsiteX2" fmla="*/ 7226 w 57488"/>
                    <a:gd name="connsiteY2" fmla="*/ 254871 h 262846"/>
                    <a:gd name="connsiteX3" fmla="*/ 47556 w 57488"/>
                    <a:gd name="connsiteY3" fmla="*/ 135487 h 262846"/>
                    <a:gd name="connsiteX4" fmla="*/ 1157 w 57488"/>
                    <a:gd name="connsiteY4" fmla="*/ 8152 h 262846"/>
                    <a:gd name="connsiteX5" fmla="*/ 1759 w 57488"/>
                    <a:gd name="connsiteY5" fmla="*/ 1155 h 262846"/>
                    <a:gd name="connsiteX6" fmla="*/ 8756 w 57488"/>
                    <a:gd name="connsiteY6" fmla="*/ 1782 h 262846"/>
                    <a:gd name="connsiteX7" fmla="*/ 57488 w 57488"/>
                    <a:gd name="connsiteY7" fmla="*/ 135487 h 262846"/>
                    <a:gd name="connsiteX8" fmla="*/ 15127 w 57488"/>
                    <a:gd name="connsiteY8" fmla="*/ 260915 h 262846"/>
                    <a:gd name="connsiteX9" fmla="*/ 11164 w 57488"/>
                    <a:gd name="connsiteY9" fmla="*/ 262847 h 26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488" h="262846">
                      <a:moveTo>
                        <a:pt x="11164" y="262847"/>
                      </a:moveTo>
                      <a:cubicBezTo>
                        <a:pt x="10111" y="262847"/>
                        <a:pt x="9057" y="262521"/>
                        <a:pt x="8154" y="261818"/>
                      </a:cubicBezTo>
                      <a:cubicBezTo>
                        <a:pt x="5972" y="260163"/>
                        <a:pt x="5546" y="257028"/>
                        <a:pt x="7226" y="254871"/>
                      </a:cubicBezTo>
                      <a:cubicBezTo>
                        <a:pt x="33611" y="220335"/>
                        <a:pt x="47556" y="179027"/>
                        <a:pt x="47556" y="135487"/>
                      </a:cubicBezTo>
                      <a:cubicBezTo>
                        <a:pt x="47556" y="89062"/>
                        <a:pt x="31078" y="43842"/>
                        <a:pt x="1157" y="8152"/>
                      </a:cubicBezTo>
                      <a:cubicBezTo>
                        <a:pt x="-599" y="6045"/>
                        <a:pt x="-323" y="2910"/>
                        <a:pt x="1759" y="1155"/>
                      </a:cubicBezTo>
                      <a:cubicBezTo>
                        <a:pt x="3866" y="-601"/>
                        <a:pt x="7001" y="-325"/>
                        <a:pt x="8756" y="1782"/>
                      </a:cubicBezTo>
                      <a:cubicBezTo>
                        <a:pt x="40182" y="39252"/>
                        <a:pt x="57488" y="86730"/>
                        <a:pt x="57488" y="135487"/>
                      </a:cubicBezTo>
                      <a:cubicBezTo>
                        <a:pt x="57488" y="181234"/>
                        <a:pt x="42841" y="224624"/>
                        <a:pt x="15127" y="260915"/>
                      </a:cubicBezTo>
                      <a:cubicBezTo>
                        <a:pt x="14149" y="262195"/>
                        <a:pt x="12669" y="262847"/>
                        <a:pt x="11164" y="262847"/>
                      </a:cubicBezTo>
                      <a:close/>
                    </a:path>
                  </a:pathLst>
                </a:custGeom>
                <a:solidFill>
                  <a:schemeClr val="accent1"/>
                </a:solidFill>
                <a:ln w="2503" cap="flat">
                  <a:noFill/>
                  <a:prstDash val="solid"/>
                  <a:miter/>
                </a:ln>
              </p:spPr>
              <p:txBody>
                <a:bodyPr rtlCol="0" anchor="ctr"/>
                <a:lstStyle/>
                <a:p>
                  <a:endParaRPr lang="en-GB" dirty="0"/>
                </a:p>
              </p:txBody>
            </p:sp>
            <p:sp>
              <p:nvSpPr>
                <p:cNvPr id="556" name="Freihandform: Form 1119">
                  <a:extLst>
                    <a:ext uri="{FF2B5EF4-FFF2-40B4-BE49-F238E27FC236}">
                      <a16:creationId xmlns:a16="http://schemas.microsoft.com/office/drawing/2014/main" id="{652193D5-2E63-4BF2-8AE6-941255ABFCB8}"/>
                    </a:ext>
                  </a:extLst>
                </p:cNvPr>
                <p:cNvSpPr/>
                <p:nvPr/>
              </p:nvSpPr>
              <p:spPr>
                <a:xfrm>
                  <a:off x="6572459" y="4323309"/>
                  <a:ext cx="96109" cy="9931"/>
                </a:xfrm>
                <a:custGeom>
                  <a:avLst/>
                  <a:gdLst>
                    <a:gd name="connsiteX0" fmla="*/ 91143 w 96109"/>
                    <a:gd name="connsiteY0" fmla="*/ 9932 h 9931"/>
                    <a:gd name="connsiteX1" fmla="*/ 4966 w 96109"/>
                    <a:gd name="connsiteY1" fmla="*/ 9932 h 9931"/>
                    <a:gd name="connsiteX2" fmla="*/ 0 w 96109"/>
                    <a:gd name="connsiteY2" fmla="*/ 4966 h 9931"/>
                    <a:gd name="connsiteX3" fmla="*/ 4966 w 96109"/>
                    <a:gd name="connsiteY3" fmla="*/ 0 h 9931"/>
                    <a:gd name="connsiteX4" fmla="*/ 91143 w 96109"/>
                    <a:gd name="connsiteY4" fmla="*/ 0 h 9931"/>
                    <a:gd name="connsiteX5" fmla="*/ 96109 w 96109"/>
                    <a:gd name="connsiteY5" fmla="*/ 4966 h 9931"/>
                    <a:gd name="connsiteX6" fmla="*/ 91143 w 96109"/>
                    <a:gd name="connsiteY6" fmla="*/ 9932 h 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109" h="9931">
                      <a:moveTo>
                        <a:pt x="91143" y="9932"/>
                      </a:moveTo>
                      <a:lnTo>
                        <a:pt x="4966" y="9932"/>
                      </a:lnTo>
                      <a:cubicBezTo>
                        <a:pt x="2232" y="9932"/>
                        <a:pt x="0" y="7700"/>
                        <a:pt x="0" y="4966"/>
                      </a:cubicBezTo>
                      <a:cubicBezTo>
                        <a:pt x="0" y="2232"/>
                        <a:pt x="2232" y="0"/>
                        <a:pt x="4966" y="0"/>
                      </a:cubicBezTo>
                      <a:lnTo>
                        <a:pt x="91143" y="0"/>
                      </a:lnTo>
                      <a:cubicBezTo>
                        <a:pt x="93877" y="0"/>
                        <a:pt x="96109" y="2232"/>
                        <a:pt x="96109" y="4966"/>
                      </a:cubicBezTo>
                      <a:cubicBezTo>
                        <a:pt x="96109" y="7700"/>
                        <a:pt x="93877" y="9932"/>
                        <a:pt x="91143" y="9932"/>
                      </a:cubicBezTo>
                      <a:close/>
                    </a:path>
                  </a:pathLst>
                </a:custGeom>
                <a:solidFill>
                  <a:schemeClr val="accent1"/>
                </a:solidFill>
                <a:ln w="2503" cap="flat">
                  <a:noFill/>
                  <a:prstDash val="solid"/>
                  <a:miter/>
                </a:ln>
              </p:spPr>
              <p:txBody>
                <a:bodyPr rtlCol="0" anchor="ctr"/>
                <a:lstStyle/>
                <a:p>
                  <a:endParaRPr lang="en-GB" dirty="0"/>
                </a:p>
              </p:txBody>
            </p:sp>
            <p:grpSp>
              <p:nvGrpSpPr>
                <p:cNvPr id="557" name="Grafik 16">
                  <a:extLst>
                    <a:ext uri="{FF2B5EF4-FFF2-40B4-BE49-F238E27FC236}">
                      <a16:creationId xmlns:a16="http://schemas.microsoft.com/office/drawing/2014/main" id="{D26A03DD-C1B0-48B3-8ACB-810F1DFCC658}"/>
                    </a:ext>
                  </a:extLst>
                </p:cNvPr>
                <p:cNvGrpSpPr/>
                <p:nvPr/>
              </p:nvGrpSpPr>
              <p:grpSpPr>
                <a:xfrm>
                  <a:off x="6525991" y="4087744"/>
                  <a:ext cx="121283" cy="479097"/>
                  <a:chOff x="6525991" y="4087744"/>
                  <a:chExt cx="121283" cy="479097"/>
                </a:xfrm>
                <a:solidFill>
                  <a:schemeClr val="accent1"/>
                </a:solidFill>
              </p:grpSpPr>
              <p:grpSp>
                <p:nvGrpSpPr>
                  <p:cNvPr id="558" name="Grafik 16">
                    <a:extLst>
                      <a:ext uri="{FF2B5EF4-FFF2-40B4-BE49-F238E27FC236}">
                        <a16:creationId xmlns:a16="http://schemas.microsoft.com/office/drawing/2014/main" id="{1229D382-AE92-461E-B12A-97678C4D0504}"/>
                      </a:ext>
                    </a:extLst>
                  </p:cNvPr>
                  <p:cNvGrpSpPr/>
                  <p:nvPr/>
                </p:nvGrpSpPr>
                <p:grpSpPr>
                  <a:xfrm>
                    <a:off x="6530706" y="4449897"/>
                    <a:ext cx="116568" cy="116944"/>
                    <a:chOff x="6530706" y="4449897"/>
                    <a:chExt cx="116568" cy="116944"/>
                  </a:xfrm>
                  <a:solidFill>
                    <a:schemeClr val="accent1"/>
                  </a:solidFill>
                </p:grpSpPr>
                <p:sp>
                  <p:nvSpPr>
                    <p:cNvPr id="562" name="Freihandform: Form 1122">
                      <a:extLst>
                        <a:ext uri="{FF2B5EF4-FFF2-40B4-BE49-F238E27FC236}">
                          <a16:creationId xmlns:a16="http://schemas.microsoft.com/office/drawing/2014/main" id="{8DB3E907-C5AE-49A9-8E4C-603DF87EFBB4}"/>
                        </a:ext>
                      </a:extLst>
                    </p:cNvPr>
                    <p:cNvSpPr/>
                    <p:nvPr/>
                  </p:nvSpPr>
                  <p:spPr>
                    <a:xfrm>
                      <a:off x="6584022" y="4503607"/>
                      <a:ext cx="63253" cy="63234"/>
                    </a:xfrm>
                    <a:custGeom>
                      <a:avLst/>
                      <a:gdLst>
                        <a:gd name="connsiteX0" fmla="*/ 31627 w 63253"/>
                        <a:gd name="connsiteY0" fmla="*/ 63235 h 63234"/>
                        <a:gd name="connsiteX1" fmla="*/ 9255 w 63253"/>
                        <a:gd name="connsiteY1" fmla="*/ 53980 h 63234"/>
                        <a:gd name="connsiteX2" fmla="*/ 9255 w 63253"/>
                        <a:gd name="connsiteY2" fmla="*/ 9236 h 63234"/>
                        <a:gd name="connsiteX3" fmla="*/ 9255 w 63253"/>
                        <a:gd name="connsiteY3" fmla="*/ 9236 h 63234"/>
                        <a:gd name="connsiteX4" fmla="*/ 53999 w 63253"/>
                        <a:gd name="connsiteY4" fmla="*/ 9236 h 63234"/>
                        <a:gd name="connsiteX5" fmla="*/ 53999 w 63253"/>
                        <a:gd name="connsiteY5" fmla="*/ 53980 h 63234"/>
                        <a:gd name="connsiteX6" fmla="*/ 31627 w 63253"/>
                        <a:gd name="connsiteY6" fmla="*/ 63235 h 63234"/>
                        <a:gd name="connsiteX7" fmla="*/ 16277 w 63253"/>
                        <a:gd name="connsiteY7" fmla="*/ 16259 h 63234"/>
                        <a:gd name="connsiteX8" fmla="*/ 16277 w 63253"/>
                        <a:gd name="connsiteY8" fmla="*/ 46957 h 63234"/>
                        <a:gd name="connsiteX9" fmla="*/ 46976 w 63253"/>
                        <a:gd name="connsiteY9" fmla="*/ 46957 h 63234"/>
                        <a:gd name="connsiteX10" fmla="*/ 46976 w 63253"/>
                        <a:gd name="connsiteY10" fmla="*/ 16259 h 63234"/>
                        <a:gd name="connsiteX11" fmla="*/ 16277 w 63253"/>
                        <a:gd name="connsiteY11" fmla="*/ 16259 h 63234"/>
                        <a:gd name="connsiteX12" fmla="*/ 16277 w 63253"/>
                        <a:gd name="connsiteY12" fmla="*/ 16259 h 6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253" h="63234">
                          <a:moveTo>
                            <a:pt x="31627" y="63235"/>
                          </a:moveTo>
                          <a:cubicBezTo>
                            <a:pt x="23175" y="63235"/>
                            <a:pt x="15224" y="59949"/>
                            <a:pt x="9255" y="53980"/>
                          </a:cubicBezTo>
                          <a:cubicBezTo>
                            <a:pt x="-3085" y="41640"/>
                            <a:pt x="-3085" y="21576"/>
                            <a:pt x="9255" y="9236"/>
                          </a:cubicBezTo>
                          <a:lnTo>
                            <a:pt x="9255" y="9236"/>
                          </a:lnTo>
                          <a:cubicBezTo>
                            <a:pt x="21595" y="-3079"/>
                            <a:pt x="41659" y="-3079"/>
                            <a:pt x="53999" y="9236"/>
                          </a:cubicBezTo>
                          <a:cubicBezTo>
                            <a:pt x="66338" y="21576"/>
                            <a:pt x="66338" y="41640"/>
                            <a:pt x="53999" y="53980"/>
                          </a:cubicBezTo>
                          <a:cubicBezTo>
                            <a:pt x="48030" y="59949"/>
                            <a:pt x="40079" y="63235"/>
                            <a:pt x="31627" y="63235"/>
                          </a:cubicBezTo>
                          <a:close/>
                          <a:moveTo>
                            <a:pt x="16277" y="16259"/>
                          </a:moveTo>
                          <a:cubicBezTo>
                            <a:pt x="7825" y="24711"/>
                            <a:pt x="7825" y="38480"/>
                            <a:pt x="16277" y="46957"/>
                          </a:cubicBezTo>
                          <a:cubicBezTo>
                            <a:pt x="24479" y="55159"/>
                            <a:pt x="38775" y="55159"/>
                            <a:pt x="46976" y="46957"/>
                          </a:cubicBezTo>
                          <a:cubicBezTo>
                            <a:pt x="55428" y="38505"/>
                            <a:pt x="55428" y="24736"/>
                            <a:pt x="46976" y="16259"/>
                          </a:cubicBezTo>
                          <a:cubicBezTo>
                            <a:pt x="38499" y="7806"/>
                            <a:pt x="24730" y="7806"/>
                            <a:pt x="16277" y="16259"/>
                          </a:cubicBezTo>
                          <a:lnTo>
                            <a:pt x="16277" y="16259"/>
                          </a:lnTo>
                          <a:close/>
                        </a:path>
                      </a:pathLst>
                    </a:custGeom>
                    <a:solidFill>
                      <a:schemeClr val="accent1"/>
                    </a:solidFill>
                    <a:ln w="2503" cap="flat">
                      <a:noFill/>
                      <a:prstDash val="solid"/>
                      <a:miter/>
                    </a:ln>
                  </p:spPr>
                  <p:txBody>
                    <a:bodyPr rtlCol="0" anchor="ctr"/>
                    <a:lstStyle/>
                    <a:p>
                      <a:endParaRPr lang="en-GB" dirty="0"/>
                    </a:p>
                  </p:txBody>
                </p:sp>
                <p:sp>
                  <p:nvSpPr>
                    <p:cNvPr id="563" name="Freihandform: Form 1123">
                      <a:extLst>
                        <a:ext uri="{FF2B5EF4-FFF2-40B4-BE49-F238E27FC236}">
                          <a16:creationId xmlns:a16="http://schemas.microsoft.com/office/drawing/2014/main" id="{09053E6E-D6B4-4713-8C80-B6026B1F27F6}"/>
                        </a:ext>
                      </a:extLst>
                    </p:cNvPr>
                    <p:cNvSpPr/>
                    <p:nvPr/>
                  </p:nvSpPr>
                  <p:spPr>
                    <a:xfrm>
                      <a:off x="6530706" y="4449897"/>
                      <a:ext cx="70865" cy="70871"/>
                    </a:xfrm>
                    <a:custGeom>
                      <a:avLst/>
                      <a:gdLst>
                        <a:gd name="connsiteX0" fmla="*/ 65906 w 70865"/>
                        <a:gd name="connsiteY0" fmla="*/ 70872 h 70871"/>
                        <a:gd name="connsiteX1" fmla="*/ 62395 w 70865"/>
                        <a:gd name="connsiteY1" fmla="*/ 69417 h 70871"/>
                        <a:gd name="connsiteX2" fmla="*/ 1448 w 70865"/>
                        <a:gd name="connsiteY2" fmla="*/ 8471 h 70871"/>
                        <a:gd name="connsiteX3" fmla="*/ 1448 w 70865"/>
                        <a:gd name="connsiteY3" fmla="*/ 1448 h 70871"/>
                        <a:gd name="connsiteX4" fmla="*/ 8471 w 70865"/>
                        <a:gd name="connsiteY4" fmla="*/ 1448 h 70871"/>
                        <a:gd name="connsiteX5" fmla="*/ 69417 w 70865"/>
                        <a:gd name="connsiteY5" fmla="*/ 62394 h 70871"/>
                        <a:gd name="connsiteX6" fmla="*/ 69417 w 70865"/>
                        <a:gd name="connsiteY6" fmla="*/ 69417 h 70871"/>
                        <a:gd name="connsiteX7" fmla="*/ 65906 w 70865"/>
                        <a:gd name="connsiteY7" fmla="*/ 70872 h 70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865" h="70871">
                          <a:moveTo>
                            <a:pt x="65906" y="70872"/>
                          </a:moveTo>
                          <a:cubicBezTo>
                            <a:pt x="64627" y="70872"/>
                            <a:pt x="63373" y="70395"/>
                            <a:pt x="62395" y="69417"/>
                          </a:cubicBezTo>
                          <a:lnTo>
                            <a:pt x="1448" y="8471"/>
                          </a:lnTo>
                          <a:cubicBezTo>
                            <a:pt x="-483" y="6540"/>
                            <a:pt x="-483" y="3379"/>
                            <a:pt x="1448" y="1448"/>
                          </a:cubicBezTo>
                          <a:cubicBezTo>
                            <a:pt x="3380" y="-483"/>
                            <a:pt x="6540" y="-483"/>
                            <a:pt x="8471" y="1448"/>
                          </a:cubicBezTo>
                          <a:lnTo>
                            <a:pt x="69417" y="62394"/>
                          </a:lnTo>
                          <a:cubicBezTo>
                            <a:pt x="71348" y="64326"/>
                            <a:pt x="71348" y="67486"/>
                            <a:pt x="69417" y="69417"/>
                          </a:cubicBezTo>
                          <a:cubicBezTo>
                            <a:pt x="68439" y="70395"/>
                            <a:pt x="67185" y="70872"/>
                            <a:pt x="65906" y="70872"/>
                          </a:cubicBezTo>
                          <a:close/>
                        </a:path>
                      </a:pathLst>
                    </a:custGeom>
                    <a:solidFill>
                      <a:schemeClr val="accent1"/>
                    </a:solidFill>
                    <a:ln w="2503" cap="flat">
                      <a:noFill/>
                      <a:prstDash val="solid"/>
                      <a:miter/>
                    </a:ln>
                  </p:spPr>
                  <p:txBody>
                    <a:bodyPr rtlCol="0" anchor="ctr"/>
                    <a:lstStyle/>
                    <a:p>
                      <a:endParaRPr lang="en-GB" dirty="0"/>
                    </a:p>
                  </p:txBody>
                </p:sp>
              </p:grpSp>
              <p:grpSp>
                <p:nvGrpSpPr>
                  <p:cNvPr id="559" name="Grafik 16">
                    <a:extLst>
                      <a:ext uri="{FF2B5EF4-FFF2-40B4-BE49-F238E27FC236}">
                        <a16:creationId xmlns:a16="http://schemas.microsoft.com/office/drawing/2014/main" id="{899EBAA8-5282-4FDB-87D4-A94FFCB9D8DC}"/>
                      </a:ext>
                    </a:extLst>
                  </p:cNvPr>
                  <p:cNvGrpSpPr/>
                  <p:nvPr/>
                </p:nvGrpSpPr>
                <p:grpSpPr>
                  <a:xfrm>
                    <a:off x="6525991" y="4087744"/>
                    <a:ext cx="116568" cy="116907"/>
                    <a:chOff x="6525991" y="4087744"/>
                    <a:chExt cx="116568" cy="116907"/>
                  </a:xfrm>
                  <a:solidFill>
                    <a:schemeClr val="accent1"/>
                  </a:solidFill>
                </p:grpSpPr>
                <p:sp>
                  <p:nvSpPr>
                    <p:cNvPr id="560" name="Freihandform: Form 1125">
                      <a:extLst>
                        <a:ext uri="{FF2B5EF4-FFF2-40B4-BE49-F238E27FC236}">
                          <a16:creationId xmlns:a16="http://schemas.microsoft.com/office/drawing/2014/main" id="{209EF401-C394-4755-BD2B-BD85FAB2542C}"/>
                        </a:ext>
                      </a:extLst>
                    </p:cNvPr>
                    <p:cNvSpPr/>
                    <p:nvPr/>
                  </p:nvSpPr>
                  <p:spPr>
                    <a:xfrm>
                      <a:off x="6579325" y="4087744"/>
                      <a:ext cx="63234" cy="63209"/>
                    </a:xfrm>
                    <a:custGeom>
                      <a:avLst/>
                      <a:gdLst>
                        <a:gd name="connsiteX0" fmla="*/ 31608 w 63234"/>
                        <a:gd name="connsiteY0" fmla="*/ 63210 h 63209"/>
                        <a:gd name="connsiteX1" fmla="*/ 9236 w 63234"/>
                        <a:gd name="connsiteY1" fmla="*/ 53955 h 63209"/>
                        <a:gd name="connsiteX2" fmla="*/ 9236 w 63234"/>
                        <a:gd name="connsiteY2" fmla="*/ 53955 h 63209"/>
                        <a:gd name="connsiteX3" fmla="*/ 9236 w 63234"/>
                        <a:gd name="connsiteY3" fmla="*/ 9236 h 63209"/>
                        <a:gd name="connsiteX4" fmla="*/ 53980 w 63234"/>
                        <a:gd name="connsiteY4" fmla="*/ 9236 h 63209"/>
                        <a:gd name="connsiteX5" fmla="*/ 53980 w 63234"/>
                        <a:gd name="connsiteY5" fmla="*/ 53955 h 63209"/>
                        <a:gd name="connsiteX6" fmla="*/ 31608 w 63234"/>
                        <a:gd name="connsiteY6" fmla="*/ 63210 h 63209"/>
                        <a:gd name="connsiteX7" fmla="*/ 16259 w 63234"/>
                        <a:gd name="connsiteY7" fmla="*/ 46907 h 63209"/>
                        <a:gd name="connsiteX8" fmla="*/ 46957 w 63234"/>
                        <a:gd name="connsiteY8" fmla="*/ 46907 h 63209"/>
                        <a:gd name="connsiteX9" fmla="*/ 46957 w 63234"/>
                        <a:gd name="connsiteY9" fmla="*/ 16208 h 63209"/>
                        <a:gd name="connsiteX10" fmla="*/ 16284 w 63234"/>
                        <a:gd name="connsiteY10" fmla="*/ 16208 h 63209"/>
                        <a:gd name="connsiteX11" fmla="*/ 16259 w 63234"/>
                        <a:gd name="connsiteY11" fmla="*/ 46907 h 63209"/>
                        <a:gd name="connsiteX12" fmla="*/ 16259 w 63234"/>
                        <a:gd name="connsiteY12" fmla="*/ 46907 h 63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234" h="63209">
                          <a:moveTo>
                            <a:pt x="31608" y="63210"/>
                          </a:moveTo>
                          <a:cubicBezTo>
                            <a:pt x="23156" y="63210"/>
                            <a:pt x="15205" y="59924"/>
                            <a:pt x="9236" y="53955"/>
                          </a:cubicBezTo>
                          <a:lnTo>
                            <a:pt x="9236" y="53955"/>
                          </a:lnTo>
                          <a:cubicBezTo>
                            <a:pt x="-3079" y="41640"/>
                            <a:pt x="-3079" y="21576"/>
                            <a:pt x="9236" y="9236"/>
                          </a:cubicBezTo>
                          <a:cubicBezTo>
                            <a:pt x="21576" y="-3079"/>
                            <a:pt x="41640" y="-3079"/>
                            <a:pt x="53980" y="9236"/>
                          </a:cubicBezTo>
                          <a:cubicBezTo>
                            <a:pt x="66320" y="21576"/>
                            <a:pt x="66320" y="41640"/>
                            <a:pt x="53980" y="53955"/>
                          </a:cubicBezTo>
                          <a:cubicBezTo>
                            <a:pt x="48011" y="59899"/>
                            <a:pt x="40060" y="63210"/>
                            <a:pt x="31608" y="63210"/>
                          </a:cubicBezTo>
                          <a:close/>
                          <a:moveTo>
                            <a:pt x="16259" y="46907"/>
                          </a:moveTo>
                          <a:cubicBezTo>
                            <a:pt x="24460" y="55109"/>
                            <a:pt x="38756" y="55109"/>
                            <a:pt x="46957" y="46907"/>
                          </a:cubicBezTo>
                          <a:cubicBezTo>
                            <a:pt x="55410" y="38455"/>
                            <a:pt x="55410" y="24686"/>
                            <a:pt x="46957" y="16208"/>
                          </a:cubicBezTo>
                          <a:cubicBezTo>
                            <a:pt x="38505" y="7756"/>
                            <a:pt x="24736" y="7756"/>
                            <a:pt x="16284" y="16208"/>
                          </a:cubicBezTo>
                          <a:cubicBezTo>
                            <a:pt x="7832" y="24686"/>
                            <a:pt x="7832" y="38455"/>
                            <a:pt x="16259" y="46907"/>
                          </a:cubicBezTo>
                          <a:lnTo>
                            <a:pt x="16259" y="46907"/>
                          </a:lnTo>
                          <a:close/>
                        </a:path>
                      </a:pathLst>
                    </a:custGeom>
                    <a:solidFill>
                      <a:schemeClr val="accent1"/>
                    </a:solidFill>
                    <a:ln w="2503" cap="flat">
                      <a:noFill/>
                      <a:prstDash val="solid"/>
                      <a:miter/>
                    </a:ln>
                  </p:spPr>
                  <p:txBody>
                    <a:bodyPr rtlCol="0" anchor="ctr"/>
                    <a:lstStyle/>
                    <a:p>
                      <a:endParaRPr lang="en-GB" dirty="0"/>
                    </a:p>
                  </p:txBody>
                </p:sp>
                <p:sp>
                  <p:nvSpPr>
                    <p:cNvPr id="561" name="Freihandform: Form 1126">
                      <a:extLst>
                        <a:ext uri="{FF2B5EF4-FFF2-40B4-BE49-F238E27FC236}">
                          <a16:creationId xmlns:a16="http://schemas.microsoft.com/office/drawing/2014/main" id="{CCF2B0B6-21A1-42AB-B05C-C233E56E2D43}"/>
                        </a:ext>
                      </a:extLst>
                    </p:cNvPr>
                    <p:cNvSpPr/>
                    <p:nvPr/>
                  </p:nvSpPr>
                  <p:spPr>
                    <a:xfrm>
                      <a:off x="6525991" y="4133780"/>
                      <a:ext cx="70865" cy="70871"/>
                    </a:xfrm>
                    <a:custGeom>
                      <a:avLst/>
                      <a:gdLst>
                        <a:gd name="connsiteX0" fmla="*/ 4960 w 70865"/>
                        <a:gd name="connsiteY0" fmla="*/ 70872 h 70871"/>
                        <a:gd name="connsiteX1" fmla="*/ 1448 w 70865"/>
                        <a:gd name="connsiteY1" fmla="*/ 69417 h 70871"/>
                        <a:gd name="connsiteX2" fmla="*/ 1448 w 70865"/>
                        <a:gd name="connsiteY2" fmla="*/ 62394 h 70871"/>
                        <a:gd name="connsiteX3" fmla="*/ 62395 w 70865"/>
                        <a:gd name="connsiteY3" fmla="*/ 1448 h 70871"/>
                        <a:gd name="connsiteX4" fmla="*/ 69417 w 70865"/>
                        <a:gd name="connsiteY4" fmla="*/ 1448 h 70871"/>
                        <a:gd name="connsiteX5" fmla="*/ 69417 w 70865"/>
                        <a:gd name="connsiteY5" fmla="*/ 8471 h 70871"/>
                        <a:gd name="connsiteX6" fmla="*/ 8471 w 70865"/>
                        <a:gd name="connsiteY6" fmla="*/ 69417 h 70871"/>
                        <a:gd name="connsiteX7" fmla="*/ 4960 w 70865"/>
                        <a:gd name="connsiteY7" fmla="*/ 70872 h 70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865" h="70871">
                          <a:moveTo>
                            <a:pt x="4960" y="70872"/>
                          </a:moveTo>
                          <a:cubicBezTo>
                            <a:pt x="3681" y="70872"/>
                            <a:pt x="2426" y="70395"/>
                            <a:pt x="1448" y="69417"/>
                          </a:cubicBezTo>
                          <a:cubicBezTo>
                            <a:pt x="-483" y="67486"/>
                            <a:pt x="-483" y="64326"/>
                            <a:pt x="1448" y="62394"/>
                          </a:cubicBezTo>
                          <a:lnTo>
                            <a:pt x="62395" y="1448"/>
                          </a:lnTo>
                          <a:cubicBezTo>
                            <a:pt x="64326" y="-483"/>
                            <a:pt x="67486" y="-483"/>
                            <a:pt x="69417" y="1448"/>
                          </a:cubicBezTo>
                          <a:cubicBezTo>
                            <a:pt x="71348" y="3380"/>
                            <a:pt x="71348" y="6540"/>
                            <a:pt x="69417" y="8471"/>
                          </a:cubicBezTo>
                          <a:lnTo>
                            <a:pt x="8471" y="69417"/>
                          </a:lnTo>
                          <a:cubicBezTo>
                            <a:pt x="7493" y="70370"/>
                            <a:pt x="6239" y="70872"/>
                            <a:pt x="4960" y="70872"/>
                          </a:cubicBezTo>
                          <a:close/>
                        </a:path>
                      </a:pathLst>
                    </a:custGeom>
                    <a:solidFill>
                      <a:schemeClr val="accent1"/>
                    </a:solidFill>
                    <a:ln w="2503" cap="flat">
                      <a:noFill/>
                      <a:prstDash val="solid"/>
                      <a:miter/>
                    </a:ln>
                  </p:spPr>
                  <p:txBody>
                    <a:bodyPr rtlCol="0" anchor="ctr"/>
                    <a:lstStyle/>
                    <a:p>
                      <a:endParaRPr lang="en-GB" dirty="0"/>
                    </a:p>
                  </p:txBody>
                </p:sp>
              </p:grpSp>
            </p:grpSp>
          </p:grpSp>
        </p:grpSp>
        <p:sp>
          <p:nvSpPr>
            <p:cNvPr id="550" name="Freihandform: Form 1127">
              <a:extLst>
                <a:ext uri="{FF2B5EF4-FFF2-40B4-BE49-F238E27FC236}">
                  <a16:creationId xmlns:a16="http://schemas.microsoft.com/office/drawing/2014/main" id="{76CADA8A-0AE2-412D-8BDB-B1A576CCF3FB}"/>
                </a:ext>
              </a:extLst>
            </p:cNvPr>
            <p:cNvSpPr/>
            <p:nvPr/>
          </p:nvSpPr>
          <p:spPr>
            <a:xfrm>
              <a:off x="5059110" y="2457442"/>
              <a:ext cx="307469" cy="303802"/>
            </a:xfrm>
            <a:custGeom>
              <a:avLst/>
              <a:gdLst>
                <a:gd name="connsiteX0" fmla="*/ 170499 w 340997"/>
                <a:gd name="connsiteY0" fmla="*/ 336931 h 336930"/>
                <a:gd name="connsiteX1" fmla="*/ 132075 w 340997"/>
                <a:gd name="connsiteY1" fmla="*/ 332592 h 336930"/>
                <a:gd name="connsiteX2" fmla="*/ 128363 w 340997"/>
                <a:gd name="connsiteY2" fmla="*/ 326648 h 336930"/>
                <a:gd name="connsiteX3" fmla="*/ 134307 w 340997"/>
                <a:gd name="connsiteY3" fmla="*/ 322936 h 336930"/>
                <a:gd name="connsiteX4" fmla="*/ 205737 w 340997"/>
                <a:gd name="connsiteY4" fmla="*/ 323136 h 336930"/>
                <a:gd name="connsiteX5" fmla="*/ 211681 w 340997"/>
                <a:gd name="connsiteY5" fmla="*/ 326899 h 336930"/>
                <a:gd name="connsiteX6" fmla="*/ 207919 w 340997"/>
                <a:gd name="connsiteY6" fmla="*/ 332818 h 336930"/>
                <a:gd name="connsiteX7" fmla="*/ 170499 w 340997"/>
                <a:gd name="connsiteY7" fmla="*/ 336931 h 336930"/>
                <a:gd name="connsiteX8" fmla="*/ 273279 w 340997"/>
                <a:gd name="connsiteY8" fmla="*/ 301166 h 336930"/>
                <a:gd name="connsiteX9" fmla="*/ 269392 w 340997"/>
                <a:gd name="connsiteY9" fmla="*/ 299285 h 336930"/>
                <a:gd name="connsiteX10" fmla="*/ 270194 w 340997"/>
                <a:gd name="connsiteY10" fmla="*/ 292312 h 336930"/>
                <a:gd name="connsiteX11" fmla="*/ 314963 w 340997"/>
                <a:gd name="connsiteY11" fmla="*/ 236633 h 336930"/>
                <a:gd name="connsiteX12" fmla="*/ 321610 w 340997"/>
                <a:gd name="connsiteY12" fmla="*/ 234351 h 336930"/>
                <a:gd name="connsiteX13" fmla="*/ 323892 w 340997"/>
                <a:gd name="connsiteY13" fmla="*/ 240972 h 336930"/>
                <a:gd name="connsiteX14" fmla="*/ 276364 w 340997"/>
                <a:gd name="connsiteY14" fmla="*/ 300087 h 336930"/>
                <a:gd name="connsiteX15" fmla="*/ 273279 w 340997"/>
                <a:gd name="connsiteY15" fmla="*/ 301166 h 336930"/>
                <a:gd name="connsiteX16" fmla="*/ 66965 w 340997"/>
                <a:gd name="connsiteY16" fmla="*/ 300564 h 336930"/>
                <a:gd name="connsiteX17" fmla="*/ 63855 w 340997"/>
                <a:gd name="connsiteY17" fmla="*/ 299460 h 336930"/>
                <a:gd name="connsiteX18" fmla="*/ 16679 w 340997"/>
                <a:gd name="connsiteY18" fmla="*/ 240069 h 336930"/>
                <a:gd name="connsiteX19" fmla="*/ 19011 w 340997"/>
                <a:gd name="connsiteY19" fmla="*/ 233448 h 336930"/>
                <a:gd name="connsiteX20" fmla="*/ 25632 w 340997"/>
                <a:gd name="connsiteY20" fmla="*/ 235780 h 336930"/>
                <a:gd name="connsiteX21" fmla="*/ 70075 w 340997"/>
                <a:gd name="connsiteY21" fmla="*/ 291735 h 336930"/>
                <a:gd name="connsiteX22" fmla="*/ 70828 w 340997"/>
                <a:gd name="connsiteY22" fmla="*/ 298708 h 336930"/>
                <a:gd name="connsiteX23" fmla="*/ 66965 w 340997"/>
                <a:gd name="connsiteY23" fmla="*/ 300564 h 336930"/>
                <a:gd name="connsiteX24" fmla="*/ 336056 w 340997"/>
                <a:gd name="connsiteY24" fmla="*/ 172075 h 336930"/>
                <a:gd name="connsiteX25" fmla="*/ 331090 w 340997"/>
                <a:gd name="connsiteY25" fmla="*/ 167109 h 336930"/>
                <a:gd name="connsiteX26" fmla="*/ 331090 w 340997"/>
                <a:gd name="connsiteY26" fmla="*/ 166432 h 336930"/>
                <a:gd name="connsiteX27" fmla="*/ 315239 w 340997"/>
                <a:gd name="connsiteY27" fmla="*/ 96783 h 336930"/>
                <a:gd name="connsiteX28" fmla="*/ 317547 w 340997"/>
                <a:gd name="connsiteY28" fmla="*/ 90137 h 336930"/>
                <a:gd name="connsiteX29" fmla="*/ 324168 w 340997"/>
                <a:gd name="connsiteY29" fmla="*/ 92444 h 336930"/>
                <a:gd name="connsiteX30" fmla="*/ 340997 w 340997"/>
                <a:gd name="connsiteY30" fmla="*/ 166407 h 336930"/>
                <a:gd name="connsiteX31" fmla="*/ 340997 w 340997"/>
                <a:gd name="connsiteY31" fmla="*/ 167084 h 336930"/>
                <a:gd name="connsiteX32" fmla="*/ 336056 w 340997"/>
                <a:gd name="connsiteY32" fmla="*/ 172075 h 336930"/>
                <a:gd name="connsiteX33" fmla="*/ 4966 w 340997"/>
                <a:gd name="connsiteY33" fmla="*/ 171047 h 336930"/>
                <a:gd name="connsiteX34" fmla="*/ 4966 w 340997"/>
                <a:gd name="connsiteY34" fmla="*/ 171047 h 336930"/>
                <a:gd name="connsiteX35" fmla="*/ 0 w 340997"/>
                <a:gd name="connsiteY35" fmla="*/ 166081 h 336930"/>
                <a:gd name="connsiteX36" fmla="*/ 16980 w 340997"/>
                <a:gd name="connsiteY36" fmla="*/ 92168 h 336930"/>
                <a:gd name="connsiteX37" fmla="*/ 23601 w 340997"/>
                <a:gd name="connsiteY37" fmla="*/ 89861 h 336930"/>
                <a:gd name="connsiteX38" fmla="*/ 25908 w 340997"/>
                <a:gd name="connsiteY38" fmla="*/ 96507 h 336930"/>
                <a:gd name="connsiteX39" fmla="*/ 9932 w 340997"/>
                <a:gd name="connsiteY39" fmla="*/ 166106 h 336930"/>
                <a:gd name="connsiteX40" fmla="*/ 4966 w 340997"/>
                <a:gd name="connsiteY40" fmla="*/ 171047 h 336930"/>
                <a:gd name="connsiteX41" fmla="*/ 273781 w 340997"/>
                <a:gd name="connsiteY41" fmla="*/ 42007 h 336930"/>
                <a:gd name="connsiteX42" fmla="*/ 270696 w 340997"/>
                <a:gd name="connsiteY42" fmla="*/ 40928 h 336930"/>
                <a:gd name="connsiteX43" fmla="*/ 206389 w 340997"/>
                <a:gd name="connsiteY43" fmla="*/ 9879 h 336930"/>
                <a:gd name="connsiteX44" fmla="*/ 202652 w 340997"/>
                <a:gd name="connsiteY44" fmla="*/ 3934 h 336930"/>
                <a:gd name="connsiteX45" fmla="*/ 208596 w 340997"/>
                <a:gd name="connsiteY45" fmla="*/ 197 h 336930"/>
                <a:gd name="connsiteX46" fmla="*/ 276891 w 340997"/>
                <a:gd name="connsiteY46" fmla="*/ 33179 h 336930"/>
                <a:gd name="connsiteX47" fmla="*/ 277668 w 340997"/>
                <a:gd name="connsiteY47" fmla="*/ 40151 h 336930"/>
                <a:gd name="connsiteX48" fmla="*/ 273781 w 340997"/>
                <a:gd name="connsiteY48" fmla="*/ 42007 h 336930"/>
                <a:gd name="connsiteX49" fmla="*/ 67467 w 340997"/>
                <a:gd name="connsiteY49" fmla="*/ 41832 h 336930"/>
                <a:gd name="connsiteX50" fmla="*/ 63579 w 340997"/>
                <a:gd name="connsiteY50" fmla="*/ 39950 h 336930"/>
                <a:gd name="connsiteX51" fmla="*/ 64357 w 340997"/>
                <a:gd name="connsiteY51" fmla="*/ 32978 h 336930"/>
                <a:gd name="connsiteX52" fmla="*/ 132727 w 340997"/>
                <a:gd name="connsiteY52" fmla="*/ 122 h 336930"/>
                <a:gd name="connsiteX53" fmla="*/ 138671 w 340997"/>
                <a:gd name="connsiteY53" fmla="*/ 3884 h 336930"/>
                <a:gd name="connsiteX54" fmla="*/ 134934 w 340997"/>
                <a:gd name="connsiteY54" fmla="*/ 9828 h 336930"/>
                <a:gd name="connsiteX55" fmla="*/ 70552 w 340997"/>
                <a:gd name="connsiteY55" fmla="*/ 40778 h 336930"/>
                <a:gd name="connsiteX56" fmla="*/ 67467 w 340997"/>
                <a:gd name="connsiteY56" fmla="*/ 41832 h 33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340997" h="336930">
                  <a:moveTo>
                    <a:pt x="170499" y="336931"/>
                  </a:moveTo>
                  <a:cubicBezTo>
                    <a:pt x="157532" y="336931"/>
                    <a:pt x="144615" y="335476"/>
                    <a:pt x="132075" y="332592"/>
                  </a:cubicBezTo>
                  <a:cubicBezTo>
                    <a:pt x="129416" y="331990"/>
                    <a:pt x="127736" y="329306"/>
                    <a:pt x="128363" y="326648"/>
                  </a:cubicBezTo>
                  <a:cubicBezTo>
                    <a:pt x="128965" y="323964"/>
                    <a:pt x="131649" y="322284"/>
                    <a:pt x="134307" y="322936"/>
                  </a:cubicBezTo>
                  <a:cubicBezTo>
                    <a:pt x="157607" y="328303"/>
                    <a:pt x="182437" y="328378"/>
                    <a:pt x="205737" y="323136"/>
                  </a:cubicBezTo>
                  <a:cubicBezTo>
                    <a:pt x="208421" y="322509"/>
                    <a:pt x="211079" y="324215"/>
                    <a:pt x="211681" y="326899"/>
                  </a:cubicBezTo>
                  <a:cubicBezTo>
                    <a:pt x="212283" y="329582"/>
                    <a:pt x="210603" y="332241"/>
                    <a:pt x="207919" y="332818"/>
                  </a:cubicBezTo>
                  <a:cubicBezTo>
                    <a:pt x="195705" y="335552"/>
                    <a:pt x="183114" y="336931"/>
                    <a:pt x="170499" y="336931"/>
                  </a:cubicBezTo>
                  <a:close/>
                  <a:moveTo>
                    <a:pt x="273279" y="301166"/>
                  </a:moveTo>
                  <a:cubicBezTo>
                    <a:pt x="271824" y="301166"/>
                    <a:pt x="270370" y="300514"/>
                    <a:pt x="269392" y="299285"/>
                  </a:cubicBezTo>
                  <a:cubicBezTo>
                    <a:pt x="267686" y="297128"/>
                    <a:pt x="268062" y="294018"/>
                    <a:pt x="270194" y="292312"/>
                  </a:cubicBezTo>
                  <a:cubicBezTo>
                    <a:pt x="289005" y="277389"/>
                    <a:pt x="304480" y="258153"/>
                    <a:pt x="314963" y="236633"/>
                  </a:cubicBezTo>
                  <a:cubicBezTo>
                    <a:pt x="316167" y="234175"/>
                    <a:pt x="319127" y="233147"/>
                    <a:pt x="321610" y="234351"/>
                  </a:cubicBezTo>
                  <a:cubicBezTo>
                    <a:pt x="324068" y="235555"/>
                    <a:pt x="325096" y="238514"/>
                    <a:pt x="323892" y="240972"/>
                  </a:cubicBezTo>
                  <a:cubicBezTo>
                    <a:pt x="312781" y="263821"/>
                    <a:pt x="296328" y="284261"/>
                    <a:pt x="276364" y="300087"/>
                  </a:cubicBezTo>
                  <a:cubicBezTo>
                    <a:pt x="275461" y="300815"/>
                    <a:pt x="274358" y="301166"/>
                    <a:pt x="273279" y="301166"/>
                  </a:cubicBezTo>
                  <a:close/>
                  <a:moveTo>
                    <a:pt x="66965" y="300564"/>
                  </a:moveTo>
                  <a:cubicBezTo>
                    <a:pt x="65887" y="300564"/>
                    <a:pt x="64783" y="300213"/>
                    <a:pt x="63855" y="299460"/>
                  </a:cubicBezTo>
                  <a:cubicBezTo>
                    <a:pt x="43991" y="283509"/>
                    <a:pt x="27664" y="262968"/>
                    <a:pt x="16679" y="240069"/>
                  </a:cubicBezTo>
                  <a:cubicBezTo>
                    <a:pt x="15500" y="237611"/>
                    <a:pt x="16528" y="234627"/>
                    <a:pt x="19011" y="233448"/>
                  </a:cubicBezTo>
                  <a:cubicBezTo>
                    <a:pt x="21469" y="232244"/>
                    <a:pt x="24454" y="233297"/>
                    <a:pt x="25632" y="235780"/>
                  </a:cubicBezTo>
                  <a:cubicBezTo>
                    <a:pt x="35966" y="257350"/>
                    <a:pt x="51340" y="276687"/>
                    <a:pt x="70075" y="291735"/>
                  </a:cubicBezTo>
                  <a:cubicBezTo>
                    <a:pt x="72207" y="293466"/>
                    <a:pt x="72558" y="296576"/>
                    <a:pt x="70828" y="298708"/>
                  </a:cubicBezTo>
                  <a:cubicBezTo>
                    <a:pt x="69850" y="299937"/>
                    <a:pt x="68420" y="300564"/>
                    <a:pt x="66965" y="300564"/>
                  </a:cubicBezTo>
                  <a:close/>
                  <a:moveTo>
                    <a:pt x="336056" y="172075"/>
                  </a:moveTo>
                  <a:cubicBezTo>
                    <a:pt x="333322" y="172075"/>
                    <a:pt x="331090" y="169843"/>
                    <a:pt x="331090" y="167109"/>
                  </a:cubicBezTo>
                  <a:lnTo>
                    <a:pt x="331090" y="166432"/>
                  </a:lnTo>
                  <a:cubicBezTo>
                    <a:pt x="331090" y="142029"/>
                    <a:pt x="325748" y="118578"/>
                    <a:pt x="315239" y="96783"/>
                  </a:cubicBezTo>
                  <a:cubicBezTo>
                    <a:pt x="314060" y="94300"/>
                    <a:pt x="315089" y="91341"/>
                    <a:pt x="317547" y="90137"/>
                  </a:cubicBezTo>
                  <a:cubicBezTo>
                    <a:pt x="320004" y="88933"/>
                    <a:pt x="322989" y="89986"/>
                    <a:pt x="324168" y="92444"/>
                  </a:cubicBezTo>
                  <a:cubicBezTo>
                    <a:pt x="335329" y="115619"/>
                    <a:pt x="340997" y="140499"/>
                    <a:pt x="340997" y="166407"/>
                  </a:cubicBezTo>
                  <a:lnTo>
                    <a:pt x="340997" y="167084"/>
                  </a:lnTo>
                  <a:cubicBezTo>
                    <a:pt x="341022" y="169843"/>
                    <a:pt x="338790" y="172075"/>
                    <a:pt x="336056" y="172075"/>
                  </a:cubicBezTo>
                  <a:close/>
                  <a:moveTo>
                    <a:pt x="4966" y="171047"/>
                  </a:moveTo>
                  <a:lnTo>
                    <a:pt x="4966" y="171047"/>
                  </a:lnTo>
                  <a:cubicBezTo>
                    <a:pt x="2207" y="171047"/>
                    <a:pt x="0" y="168815"/>
                    <a:pt x="0" y="166081"/>
                  </a:cubicBezTo>
                  <a:cubicBezTo>
                    <a:pt x="50" y="140173"/>
                    <a:pt x="5769" y="115318"/>
                    <a:pt x="16980" y="92168"/>
                  </a:cubicBezTo>
                  <a:cubicBezTo>
                    <a:pt x="18184" y="89710"/>
                    <a:pt x="21143" y="88682"/>
                    <a:pt x="23601" y="89861"/>
                  </a:cubicBezTo>
                  <a:cubicBezTo>
                    <a:pt x="26059" y="91065"/>
                    <a:pt x="27087" y="94024"/>
                    <a:pt x="25908" y="96507"/>
                  </a:cubicBezTo>
                  <a:cubicBezTo>
                    <a:pt x="15349" y="118303"/>
                    <a:pt x="9982" y="141728"/>
                    <a:pt x="9932" y="166106"/>
                  </a:cubicBezTo>
                  <a:cubicBezTo>
                    <a:pt x="9907" y="168840"/>
                    <a:pt x="7700" y="171047"/>
                    <a:pt x="4966" y="171047"/>
                  </a:cubicBezTo>
                  <a:close/>
                  <a:moveTo>
                    <a:pt x="273781" y="42007"/>
                  </a:moveTo>
                  <a:cubicBezTo>
                    <a:pt x="272702" y="42007"/>
                    <a:pt x="271599" y="41656"/>
                    <a:pt x="270696" y="40928"/>
                  </a:cubicBezTo>
                  <a:cubicBezTo>
                    <a:pt x="251936" y="25930"/>
                    <a:pt x="229689" y="15196"/>
                    <a:pt x="206389" y="9879"/>
                  </a:cubicBezTo>
                  <a:cubicBezTo>
                    <a:pt x="203705" y="9277"/>
                    <a:pt x="202050" y="6618"/>
                    <a:pt x="202652" y="3934"/>
                  </a:cubicBezTo>
                  <a:cubicBezTo>
                    <a:pt x="203254" y="1276"/>
                    <a:pt x="205938" y="-379"/>
                    <a:pt x="208596" y="197"/>
                  </a:cubicBezTo>
                  <a:cubicBezTo>
                    <a:pt x="233351" y="5841"/>
                    <a:pt x="256977" y="17252"/>
                    <a:pt x="276891" y="33179"/>
                  </a:cubicBezTo>
                  <a:cubicBezTo>
                    <a:pt x="279023" y="34884"/>
                    <a:pt x="279374" y="38019"/>
                    <a:pt x="277668" y="40151"/>
                  </a:cubicBezTo>
                  <a:cubicBezTo>
                    <a:pt x="276690" y="41355"/>
                    <a:pt x="275236" y="42007"/>
                    <a:pt x="273781" y="42007"/>
                  </a:cubicBezTo>
                  <a:close/>
                  <a:moveTo>
                    <a:pt x="67467" y="41832"/>
                  </a:moveTo>
                  <a:cubicBezTo>
                    <a:pt x="66012" y="41832"/>
                    <a:pt x="64558" y="41179"/>
                    <a:pt x="63579" y="39950"/>
                  </a:cubicBezTo>
                  <a:cubicBezTo>
                    <a:pt x="61874" y="37818"/>
                    <a:pt x="62225" y="34683"/>
                    <a:pt x="64357" y="32978"/>
                  </a:cubicBezTo>
                  <a:cubicBezTo>
                    <a:pt x="84296" y="17102"/>
                    <a:pt x="107947" y="5740"/>
                    <a:pt x="132727" y="122"/>
                  </a:cubicBezTo>
                  <a:cubicBezTo>
                    <a:pt x="135411" y="-480"/>
                    <a:pt x="138069" y="1201"/>
                    <a:pt x="138671" y="3884"/>
                  </a:cubicBezTo>
                  <a:cubicBezTo>
                    <a:pt x="139273" y="6543"/>
                    <a:pt x="137593" y="9201"/>
                    <a:pt x="134934" y="9828"/>
                  </a:cubicBezTo>
                  <a:cubicBezTo>
                    <a:pt x="111609" y="15095"/>
                    <a:pt x="89337" y="25805"/>
                    <a:pt x="70552" y="40778"/>
                  </a:cubicBezTo>
                  <a:cubicBezTo>
                    <a:pt x="69649" y="41455"/>
                    <a:pt x="68546" y="41832"/>
                    <a:pt x="67467" y="41832"/>
                  </a:cubicBezTo>
                  <a:close/>
                </a:path>
              </a:pathLst>
            </a:custGeom>
            <a:solidFill>
              <a:schemeClr val="accent1"/>
            </a:solidFill>
            <a:ln w="2503" cap="flat">
              <a:noFill/>
              <a:prstDash val="solid"/>
              <a:miter/>
            </a:ln>
          </p:spPr>
          <p:txBody>
            <a:bodyPr rtlCol="0" anchor="ctr"/>
            <a:lstStyle/>
            <a:p>
              <a:endParaRPr lang="en-GB" dirty="0"/>
            </a:p>
          </p:txBody>
        </p:sp>
      </p:grpSp>
      <p:grpSp>
        <p:nvGrpSpPr>
          <p:cNvPr id="4" name="Group 3">
            <a:extLst>
              <a:ext uri="{FF2B5EF4-FFF2-40B4-BE49-F238E27FC236}">
                <a16:creationId xmlns:a16="http://schemas.microsoft.com/office/drawing/2014/main" id="{1430084E-25F3-309B-1441-8D4588CDE73D}"/>
              </a:ext>
            </a:extLst>
          </p:cNvPr>
          <p:cNvGrpSpPr/>
          <p:nvPr/>
        </p:nvGrpSpPr>
        <p:grpSpPr>
          <a:xfrm>
            <a:off x="6039835" y="2391526"/>
            <a:ext cx="433132" cy="432000"/>
            <a:chOff x="6039423" y="2391526"/>
            <a:chExt cx="433132" cy="432000"/>
          </a:xfrm>
        </p:grpSpPr>
        <p:grpSp>
          <p:nvGrpSpPr>
            <p:cNvPr id="576" name="Grafik 223">
              <a:extLst>
                <a:ext uri="{FF2B5EF4-FFF2-40B4-BE49-F238E27FC236}">
                  <a16:creationId xmlns:a16="http://schemas.microsoft.com/office/drawing/2014/main" id="{A7273296-9B94-4CC4-89AA-E7CE1661A8C1}"/>
                </a:ext>
              </a:extLst>
            </p:cNvPr>
            <p:cNvGrpSpPr/>
            <p:nvPr/>
          </p:nvGrpSpPr>
          <p:grpSpPr>
            <a:xfrm>
              <a:off x="6039423" y="2391526"/>
              <a:ext cx="433132" cy="254835"/>
              <a:chOff x="873107" y="1627122"/>
              <a:chExt cx="486906" cy="286473"/>
            </a:xfrm>
            <a:solidFill>
              <a:schemeClr val="tx2"/>
            </a:solidFill>
          </p:grpSpPr>
          <p:sp>
            <p:nvSpPr>
              <p:cNvPr id="578" name="Freihandform: Form 200">
                <a:extLst>
                  <a:ext uri="{FF2B5EF4-FFF2-40B4-BE49-F238E27FC236}">
                    <a16:creationId xmlns:a16="http://schemas.microsoft.com/office/drawing/2014/main" id="{8AFF4F87-8BBD-4E5A-AEC1-BCD4E10D0ADE}"/>
                  </a:ext>
                </a:extLst>
              </p:cNvPr>
              <p:cNvSpPr/>
              <p:nvPr/>
            </p:nvSpPr>
            <p:spPr>
              <a:xfrm>
                <a:off x="998998" y="1798803"/>
                <a:ext cx="235122" cy="114792"/>
              </a:xfrm>
              <a:custGeom>
                <a:avLst/>
                <a:gdLst>
                  <a:gd name="connsiteX0" fmla="*/ 179748 w 235122"/>
                  <a:gd name="connsiteY0" fmla="*/ 114793 h 114792"/>
                  <a:gd name="connsiteX1" fmla="*/ 178914 w 235122"/>
                  <a:gd name="connsiteY1" fmla="*/ 114740 h 114792"/>
                  <a:gd name="connsiteX2" fmla="*/ 174148 w 235122"/>
                  <a:gd name="connsiteY2" fmla="*/ 111667 h 114792"/>
                  <a:gd name="connsiteX3" fmla="*/ 117546 w 235122"/>
                  <a:gd name="connsiteY3" fmla="*/ 79993 h 114792"/>
                  <a:gd name="connsiteX4" fmla="*/ 60944 w 235122"/>
                  <a:gd name="connsiteY4" fmla="*/ 111667 h 114792"/>
                  <a:gd name="connsiteX5" fmla="*/ 56177 w 235122"/>
                  <a:gd name="connsiteY5" fmla="*/ 114740 h 114792"/>
                  <a:gd name="connsiteX6" fmla="*/ 50812 w 235122"/>
                  <a:gd name="connsiteY6" fmla="*/ 112969 h 114792"/>
                  <a:gd name="connsiteX7" fmla="*/ 2024 w 235122"/>
                  <a:gd name="connsiteY7" fmla="*/ 66187 h 114792"/>
                  <a:gd name="connsiteX8" fmla="*/ 1373 w 235122"/>
                  <a:gd name="connsiteY8" fmla="*/ 57461 h 114792"/>
                  <a:gd name="connsiteX9" fmla="*/ 117546 w 235122"/>
                  <a:gd name="connsiteY9" fmla="*/ 0 h 114792"/>
                  <a:gd name="connsiteX10" fmla="*/ 233771 w 235122"/>
                  <a:gd name="connsiteY10" fmla="*/ 57461 h 114792"/>
                  <a:gd name="connsiteX11" fmla="*/ 233094 w 235122"/>
                  <a:gd name="connsiteY11" fmla="*/ 66187 h 114792"/>
                  <a:gd name="connsiteX12" fmla="*/ 184280 w 235122"/>
                  <a:gd name="connsiteY12" fmla="*/ 112969 h 114792"/>
                  <a:gd name="connsiteX13" fmla="*/ 179748 w 235122"/>
                  <a:gd name="connsiteY13" fmla="*/ 114793 h 114792"/>
                  <a:gd name="connsiteX14" fmla="*/ 117546 w 235122"/>
                  <a:gd name="connsiteY14" fmla="*/ 66891 h 114792"/>
                  <a:gd name="connsiteX15" fmla="*/ 180764 w 235122"/>
                  <a:gd name="connsiteY15" fmla="*/ 98174 h 114792"/>
                  <a:gd name="connsiteX16" fmla="*/ 219653 w 235122"/>
                  <a:gd name="connsiteY16" fmla="*/ 60874 h 114792"/>
                  <a:gd name="connsiteX17" fmla="*/ 117546 w 235122"/>
                  <a:gd name="connsiteY17" fmla="*/ 13128 h 114792"/>
                  <a:gd name="connsiteX18" fmla="*/ 15465 w 235122"/>
                  <a:gd name="connsiteY18" fmla="*/ 60874 h 114792"/>
                  <a:gd name="connsiteX19" fmla="*/ 54354 w 235122"/>
                  <a:gd name="connsiteY19" fmla="*/ 98174 h 114792"/>
                  <a:gd name="connsiteX20" fmla="*/ 117546 w 235122"/>
                  <a:gd name="connsiteY20" fmla="*/ 66891 h 11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5122" h="114792">
                    <a:moveTo>
                      <a:pt x="179748" y="114793"/>
                    </a:moveTo>
                    <a:cubicBezTo>
                      <a:pt x="179461" y="114793"/>
                      <a:pt x="179201" y="114766"/>
                      <a:pt x="178914" y="114740"/>
                    </a:cubicBezTo>
                    <a:cubicBezTo>
                      <a:pt x="176935" y="114480"/>
                      <a:pt x="175190" y="113360"/>
                      <a:pt x="174148" y="111667"/>
                    </a:cubicBezTo>
                    <a:cubicBezTo>
                      <a:pt x="162114" y="92131"/>
                      <a:pt x="140416" y="79993"/>
                      <a:pt x="117546" y="79993"/>
                    </a:cubicBezTo>
                    <a:cubicBezTo>
                      <a:pt x="94676" y="79993"/>
                      <a:pt x="73004" y="92131"/>
                      <a:pt x="60944" y="111667"/>
                    </a:cubicBezTo>
                    <a:cubicBezTo>
                      <a:pt x="59902" y="113360"/>
                      <a:pt x="58157" y="114480"/>
                      <a:pt x="56177" y="114740"/>
                    </a:cubicBezTo>
                    <a:cubicBezTo>
                      <a:pt x="54198" y="114975"/>
                      <a:pt x="52218" y="114324"/>
                      <a:pt x="50812" y="112969"/>
                    </a:cubicBezTo>
                    <a:lnTo>
                      <a:pt x="2024" y="66187"/>
                    </a:lnTo>
                    <a:cubicBezTo>
                      <a:pt x="-398" y="63869"/>
                      <a:pt x="-685" y="60118"/>
                      <a:pt x="1373" y="57461"/>
                    </a:cubicBezTo>
                    <a:cubicBezTo>
                      <a:pt x="28983" y="21489"/>
                      <a:pt x="72405" y="0"/>
                      <a:pt x="117546" y="0"/>
                    </a:cubicBezTo>
                    <a:cubicBezTo>
                      <a:pt x="162713" y="0"/>
                      <a:pt x="206134" y="21489"/>
                      <a:pt x="233771" y="57461"/>
                    </a:cubicBezTo>
                    <a:cubicBezTo>
                      <a:pt x="235803" y="60118"/>
                      <a:pt x="235516" y="63895"/>
                      <a:pt x="233094" y="66187"/>
                    </a:cubicBezTo>
                    <a:lnTo>
                      <a:pt x="184280" y="112969"/>
                    </a:lnTo>
                    <a:cubicBezTo>
                      <a:pt x="183056" y="114141"/>
                      <a:pt x="181415" y="114793"/>
                      <a:pt x="179748" y="114793"/>
                    </a:cubicBezTo>
                    <a:close/>
                    <a:moveTo>
                      <a:pt x="117546" y="66891"/>
                    </a:moveTo>
                    <a:cubicBezTo>
                      <a:pt x="142265" y="66891"/>
                      <a:pt x="165812" y="78690"/>
                      <a:pt x="180764" y="98174"/>
                    </a:cubicBezTo>
                    <a:lnTo>
                      <a:pt x="219653" y="60874"/>
                    </a:lnTo>
                    <a:cubicBezTo>
                      <a:pt x="194413" y="30867"/>
                      <a:pt x="156696" y="13128"/>
                      <a:pt x="117546" y="13128"/>
                    </a:cubicBezTo>
                    <a:cubicBezTo>
                      <a:pt x="78422" y="13128"/>
                      <a:pt x="40679" y="30867"/>
                      <a:pt x="15465" y="60874"/>
                    </a:cubicBezTo>
                    <a:lnTo>
                      <a:pt x="54354" y="98174"/>
                    </a:lnTo>
                    <a:cubicBezTo>
                      <a:pt x="69305" y="78690"/>
                      <a:pt x="92827" y="66891"/>
                      <a:pt x="117546" y="66891"/>
                    </a:cubicBezTo>
                    <a:close/>
                  </a:path>
                </a:pathLst>
              </a:custGeom>
              <a:grpFill/>
              <a:ln w="2601" cap="flat">
                <a:noFill/>
                <a:prstDash val="solid"/>
                <a:miter/>
              </a:ln>
            </p:spPr>
            <p:txBody>
              <a:bodyPr rtlCol="0" anchor="ctr"/>
              <a:lstStyle/>
              <a:p>
                <a:endParaRPr lang="en-GB" dirty="0"/>
              </a:p>
            </p:txBody>
          </p:sp>
          <p:sp>
            <p:nvSpPr>
              <p:cNvPr id="579" name="Freihandform: Form 201">
                <a:extLst>
                  <a:ext uri="{FF2B5EF4-FFF2-40B4-BE49-F238E27FC236}">
                    <a16:creationId xmlns:a16="http://schemas.microsoft.com/office/drawing/2014/main" id="{C3B09FD9-344C-4805-B2E1-9A7DA048ABD0}"/>
                  </a:ext>
                </a:extLst>
              </p:cNvPr>
              <p:cNvSpPr/>
              <p:nvPr/>
            </p:nvSpPr>
            <p:spPr>
              <a:xfrm>
                <a:off x="873107" y="1627122"/>
                <a:ext cx="486906" cy="180042"/>
              </a:xfrm>
              <a:custGeom>
                <a:avLst/>
                <a:gdLst>
                  <a:gd name="connsiteX0" fmla="*/ 420718 w 486906"/>
                  <a:gd name="connsiteY0" fmla="*/ 180042 h 180042"/>
                  <a:gd name="connsiteX1" fmla="*/ 420301 w 486906"/>
                  <a:gd name="connsiteY1" fmla="*/ 180016 h 180042"/>
                  <a:gd name="connsiteX2" fmla="*/ 415613 w 486906"/>
                  <a:gd name="connsiteY2" fmla="*/ 177594 h 180042"/>
                  <a:gd name="connsiteX3" fmla="*/ 243046 w 486906"/>
                  <a:gd name="connsiteY3" fmla="*/ 95335 h 180042"/>
                  <a:gd name="connsiteX4" fmla="*/ 71261 w 486906"/>
                  <a:gd name="connsiteY4" fmla="*/ 176578 h 180042"/>
                  <a:gd name="connsiteX5" fmla="*/ 66573 w 486906"/>
                  <a:gd name="connsiteY5" fmla="*/ 178948 h 180042"/>
                  <a:gd name="connsiteX6" fmla="*/ 61650 w 486906"/>
                  <a:gd name="connsiteY6" fmla="*/ 177125 h 180042"/>
                  <a:gd name="connsiteX7" fmla="*/ 2026 w 486906"/>
                  <a:gd name="connsiteY7" fmla="*/ 119976 h 180042"/>
                  <a:gd name="connsiteX8" fmla="*/ 1584 w 486906"/>
                  <a:gd name="connsiteY8" fmla="*/ 110963 h 180042"/>
                  <a:gd name="connsiteX9" fmla="*/ 243020 w 486906"/>
                  <a:gd name="connsiteY9" fmla="*/ 0 h 180042"/>
                  <a:gd name="connsiteX10" fmla="*/ 485343 w 486906"/>
                  <a:gd name="connsiteY10" fmla="*/ 112005 h 180042"/>
                  <a:gd name="connsiteX11" fmla="*/ 484900 w 486906"/>
                  <a:gd name="connsiteY11" fmla="*/ 120992 h 180042"/>
                  <a:gd name="connsiteX12" fmla="*/ 425303 w 486906"/>
                  <a:gd name="connsiteY12" fmla="*/ 178193 h 180042"/>
                  <a:gd name="connsiteX13" fmla="*/ 420718 w 486906"/>
                  <a:gd name="connsiteY13" fmla="*/ 180042 h 180042"/>
                  <a:gd name="connsiteX14" fmla="*/ 243072 w 486906"/>
                  <a:gd name="connsiteY14" fmla="*/ 82207 h 180042"/>
                  <a:gd name="connsiteX15" fmla="*/ 421265 w 486906"/>
                  <a:gd name="connsiteY15" fmla="*/ 163867 h 180042"/>
                  <a:gd name="connsiteX16" fmla="*/ 471303 w 486906"/>
                  <a:gd name="connsiteY16" fmla="*/ 115860 h 180042"/>
                  <a:gd name="connsiteX17" fmla="*/ 243046 w 486906"/>
                  <a:gd name="connsiteY17" fmla="*/ 13154 h 180042"/>
                  <a:gd name="connsiteX18" fmla="*/ 15675 w 486906"/>
                  <a:gd name="connsiteY18" fmla="*/ 114871 h 180042"/>
                  <a:gd name="connsiteX19" fmla="*/ 65739 w 486906"/>
                  <a:gd name="connsiteY19" fmla="*/ 162877 h 180042"/>
                  <a:gd name="connsiteX20" fmla="*/ 243072 w 486906"/>
                  <a:gd name="connsiteY20" fmla="*/ 82207 h 18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6906" h="180042">
                    <a:moveTo>
                      <a:pt x="420718" y="180042"/>
                    </a:moveTo>
                    <a:cubicBezTo>
                      <a:pt x="420588" y="180042"/>
                      <a:pt x="420458" y="180042"/>
                      <a:pt x="420301" y="180016"/>
                    </a:cubicBezTo>
                    <a:cubicBezTo>
                      <a:pt x="418478" y="179912"/>
                      <a:pt x="416759" y="179026"/>
                      <a:pt x="415613" y="177594"/>
                    </a:cubicBezTo>
                    <a:cubicBezTo>
                      <a:pt x="373077" y="125316"/>
                      <a:pt x="310197" y="95335"/>
                      <a:pt x="243046" y="95335"/>
                    </a:cubicBezTo>
                    <a:cubicBezTo>
                      <a:pt x="176390" y="95335"/>
                      <a:pt x="113797" y="124951"/>
                      <a:pt x="71261" y="176578"/>
                    </a:cubicBezTo>
                    <a:cubicBezTo>
                      <a:pt x="70089" y="177984"/>
                      <a:pt x="68396" y="178844"/>
                      <a:pt x="66573" y="178948"/>
                    </a:cubicBezTo>
                    <a:cubicBezTo>
                      <a:pt x="64749" y="179078"/>
                      <a:pt x="62978" y="178401"/>
                      <a:pt x="61650" y="177125"/>
                    </a:cubicBezTo>
                    <a:lnTo>
                      <a:pt x="2026" y="119976"/>
                    </a:lnTo>
                    <a:cubicBezTo>
                      <a:pt x="-500" y="117554"/>
                      <a:pt x="-683" y="113594"/>
                      <a:pt x="1584" y="110963"/>
                    </a:cubicBezTo>
                    <a:cubicBezTo>
                      <a:pt x="62119" y="40452"/>
                      <a:pt x="150108" y="0"/>
                      <a:pt x="243020" y="0"/>
                    </a:cubicBezTo>
                    <a:cubicBezTo>
                      <a:pt x="336428" y="0"/>
                      <a:pt x="424756" y="40817"/>
                      <a:pt x="485343" y="112005"/>
                    </a:cubicBezTo>
                    <a:cubicBezTo>
                      <a:pt x="487583" y="114662"/>
                      <a:pt x="487400" y="118595"/>
                      <a:pt x="484900" y="120992"/>
                    </a:cubicBezTo>
                    <a:lnTo>
                      <a:pt x="425303" y="178193"/>
                    </a:lnTo>
                    <a:cubicBezTo>
                      <a:pt x="424052" y="179391"/>
                      <a:pt x="422411" y="180042"/>
                      <a:pt x="420718" y="180042"/>
                    </a:cubicBezTo>
                    <a:close/>
                    <a:moveTo>
                      <a:pt x="243072" y="82207"/>
                    </a:moveTo>
                    <a:cubicBezTo>
                      <a:pt x="311812" y="82207"/>
                      <a:pt x="376359" y="111875"/>
                      <a:pt x="421265" y="163867"/>
                    </a:cubicBezTo>
                    <a:lnTo>
                      <a:pt x="471303" y="115860"/>
                    </a:lnTo>
                    <a:cubicBezTo>
                      <a:pt x="413373" y="50507"/>
                      <a:pt x="330541" y="13154"/>
                      <a:pt x="243046" y="13154"/>
                    </a:cubicBezTo>
                    <a:cubicBezTo>
                      <a:pt x="156047" y="13154"/>
                      <a:pt x="73554" y="50142"/>
                      <a:pt x="15675" y="114871"/>
                    </a:cubicBezTo>
                    <a:lnTo>
                      <a:pt x="65739" y="162877"/>
                    </a:lnTo>
                    <a:cubicBezTo>
                      <a:pt x="110593" y="111510"/>
                      <a:pt x="174827" y="82207"/>
                      <a:pt x="243072" y="82207"/>
                    </a:cubicBezTo>
                    <a:close/>
                  </a:path>
                </a:pathLst>
              </a:custGeom>
              <a:grpFill/>
              <a:ln w="2601" cap="flat">
                <a:noFill/>
                <a:prstDash val="solid"/>
                <a:miter/>
              </a:ln>
            </p:spPr>
            <p:txBody>
              <a:bodyPr rtlCol="0" anchor="ctr"/>
              <a:lstStyle/>
              <a:p>
                <a:endParaRPr lang="en-GB" dirty="0"/>
              </a:p>
            </p:txBody>
          </p:sp>
        </p:grpSp>
        <p:sp>
          <p:nvSpPr>
            <p:cNvPr id="577" name="Freihandform: Form 202">
              <a:extLst>
                <a:ext uri="{FF2B5EF4-FFF2-40B4-BE49-F238E27FC236}">
                  <a16:creationId xmlns:a16="http://schemas.microsoft.com/office/drawing/2014/main" id="{5A2C6640-C759-4091-B84D-D9CFD48AF325}"/>
                </a:ext>
              </a:extLst>
            </p:cNvPr>
            <p:cNvSpPr/>
            <p:nvPr/>
          </p:nvSpPr>
          <p:spPr>
            <a:xfrm>
              <a:off x="6197657" y="2642413"/>
              <a:ext cx="122662" cy="181113"/>
            </a:xfrm>
            <a:custGeom>
              <a:avLst/>
              <a:gdLst>
                <a:gd name="connsiteX0" fmla="*/ 65688 w 137891"/>
                <a:gd name="connsiteY0" fmla="*/ 203600 h 203599"/>
                <a:gd name="connsiteX1" fmla="*/ 63578 w 137891"/>
                <a:gd name="connsiteY1" fmla="*/ 203261 h 203599"/>
                <a:gd name="connsiteX2" fmla="*/ 59202 w 137891"/>
                <a:gd name="connsiteY2" fmla="*/ 195968 h 203599"/>
                <a:gd name="connsiteX3" fmla="*/ 70794 w 137891"/>
                <a:gd name="connsiteY3" fmla="*/ 126368 h 203599"/>
                <a:gd name="connsiteX4" fmla="*/ 7732 w 137891"/>
                <a:gd name="connsiteY4" fmla="*/ 137829 h 203599"/>
                <a:gd name="connsiteX5" fmla="*/ 1350 w 137891"/>
                <a:gd name="connsiteY5" fmla="*/ 135354 h 203599"/>
                <a:gd name="connsiteX6" fmla="*/ 621 w 137891"/>
                <a:gd name="connsiteY6" fmla="*/ 128556 h 203599"/>
                <a:gd name="connsiteX7" fmla="*/ 59723 w 137891"/>
                <a:gd name="connsiteY7" fmla="*/ 3761 h 203599"/>
                <a:gd name="connsiteX8" fmla="*/ 67355 w 137891"/>
                <a:gd name="connsiteY8" fmla="*/ 219 h 203599"/>
                <a:gd name="connsiteX9" fmla="*/ 72200 w 137891"/>
                <a:gd name="connsiteY9" fmla="*/ 7095 h 203599"/>
                <a:gd name="connsiteX10" fmla="*/ 66340 w 137891"/>
                <a:gd name="connsiteY10" fmla="*/ 77372 h 203599"/>
                <a:gd name="connsiteX11" fmla="*/ 130157 w 137891"/>
                <a:gd name="connsiteY11" fmla="*/ 65781 h 203599"/>
                <a:gd name="connsiteX12" fmla="*/ 136616 w 137891"/>
                <a:gd name="connsiteY12" fmla="*/ 68360 h 203599"/>
                <a:gd name="connsiteX13" fmla="*/ 137137 w 137891"/>
                <a:gd name="connsiteY13" fmla="*/ 75314 h 203599"/>
                <a:gd name="connsiteX14" fmla="*/ 71471 w 137891"/>
                <a:gd name="connsiteY14" fmla="*/ 200109 h 203599"/>
                <a:gd name="connsiteX15" fmla="*/ 65688 w 137891"/>
                <a:gd name="connsiteY15" fmla="*/ 203600 h 203599"/>
                <a:gd name="connsiteX16" fmla="*/ 78816 w 137891"/>
                <a:gd name="connsiteY16" fmla="*/ 111651 h 203599"/>
                <a:gd name="connsiteX17" fmla="*/ 83427 w 137891"/>
                <a:gd name="connsiteY17" fmla="*/ 113552 h 203599"/>
                <a:gd name="connsiteX18" fmla="*/ 85302 w 137891"/>
                <a:gd name="connsiteY18" fmla="*/ 119309 h 203599"/>
                <a:gd name="connsiteX19" fmla="*/ 78868 w 137891"/>
                <a:gd name="connsiteY19" fmla="*/ 157886 h 203599"/>
                <a:gd name="connsiteX20" fmla="*/ 119269 w 137891"/>
                <a:gd name="connsiteY20" fmla="*/ 81123 h 203599"/>
                <a:gd name="connsiteX21" fmla="*/ 60296 w 137891"/>
                <a:gd name="connsiteY21" fmla="*/ 91855 h 203599"/>
                <a:gd name="connsiteX22" fmla="*/ 54722 w 137891"/>
                <a:gd name="connsiteY22" fmla="*/ 90266 h 203599"/>
                <a:gd name="connsiteX23" fmla="*/ 52586 w 137891"/>
                <a:gd name="connsiteY23" fmla="*/ 84848 h 203599"/>
                <a:gd name="connsiteX24" fmla="*/ 56155 w 137891"/>
                <a:gd name="connsiteY24" fmla="*/ 42077 h 203599"/>
                <a:gd name="connsiteX25" fmla="*/ 18021 w 137891"/>
                <a:gd name="connsiteY25" fmla="*/ 122617 h 203599"/>
                <a:gd name="connsiteX26" fmla="*/ 77670 w 137891"/>
                <a:gd name="connsiteY26" fmla="*/ 111781 h 203599"/>
                <a:gd name="connsiteX27" fmla="*/ 78816 w 137891"/>
                <a:gd name="connsiteY27" fmla="*/ 111651 h 203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7891" h="203599">
                  <a:moveTo>
                    <a:pt x="65688" y="203600"/>
                  </a:moveTo>
                  <a:cubicBezTo>
                    <a:pt x="64985" y="203600"/>
                    <a:pt x="64282" y="203495"/>
                    <a:pt x="63578" y="203261"/>
                  </a:cubicBezTo>
                  <a:cubicBezTo>
                    <a:pt x="60531" y="202219"/>
                    <a:pt x="58681" y="199145"/>
                    <a:pt x="59202" y="195968"/>
                  </a:cubicBezTo>
                  <a:lnTo>
                    <a:pt x="70794" y="126368"/>
                  </a:lnTo>
                  <a:lnTo>
                    <a:pt x="7732" y="137829"/>
                  </a:lnTo>
                  <a:cubicBezTo>
                    <a:pt x="5310" y="138272"/>
                    <a:pt x="2835" y="137308"/>
                    <a:pt x="1350" y="135354"/>
                  </a:cubicBezTo>
                  <a:cubicBezTo>
                    <a:pt x="-134" y="133401"/>
                    <a:pt x="-421" y="130770"/>
                    <a:pt x="621" y="128556"/>
                  </a:cubicBezTo>
                  <a:lnTo>
                    <a:pt x="59723" y="3761"/>
                  </a:lnTo>
                  <a:cubicBezTo>
                    <a:pt x="61078" y="896"/>
                    <a:pt x="64308" y="-589"/>
                    <a:pt x="67355" y="219"/>
                  </a:cubicBezTo>
                  <a:cubicBezTo>
                    <a:pt x="70429" y="1052"/>
                    <a:pt x="72461" y="3943"/>
                    <a:pt x="72200" y="7095"/>
                  </a:cubicBezTo>
                  <a:lnTo>
                    <a:pt x="66340" y="77372"/>
                  </a:lnTo>
                  <a:lnTo>
                    <a:pt x="130157" y="65781"/>
                  </a:lnTo>
                  <a:cubicBezTo>
                    <a:pt x="132631" y="65338"/>
                    <a:pt x="135132" y="66328"/>
                    <a:pt x="136616" y="68360"/>
                  </a:cubicBezTo>
                  <a:cubicBezTo>
                    <a:pt x="138101" y="70391"/>
                    <a:pt x="138309" y="73074"/>
                    <a:pt x="137137" y="75314"/>
                  </a:cubicBezTo>
                  <a:lnTo>
                    <a:pt x="71471" y="200109"/>
                  </a:lnTo>
                  <a:cubicBezTo>
                    <a:pt x="70325" y="202297"/>
                    <a:pt x="68059" y="203600"/>
                    <a:pt x="65688" y="203600"/>
                  </a:cubicBezTo>
                  <a:close/>
                  <a:moveTo>
                    <a:pt x="78816" y="111651"/>
                  </a:moveTo>
                  <a:cubicBezTo>
                    <a:pt x="80536" y="111651"/>
                    <a:pt x="82177" y="112328"/>
                    <a:pt x="83427" y="113552"/>
                  </a:cubicBezTo>
                  <a:cubicBezTo>
                    <a:pt x="84938" y="115063"/>
                    <a:pt x="85641" y="117199"/>
                    <a:pt x="85302" y="119309"/>
                  </a:cubicBezTo>
                  <a:lnTo>
                    <a:pt x="78868" y="157886"/>
                  </a:lnTo>
                  <a:lnTo>
                    <a:pt x="119269" y="81123"/>
                  </a:lnTo>
                  <a:lnTo>
                    <a:pt x="60296" y="91855"/>
                  </a:lnTo>
                  <a:cubicBezTo>
                    <a:pt x="58265" y="92219"/>
                    <a:pt x="56233" y="91620"/>
                    <a:pt x="54722" y="90266"/>
                  </a:cubicBezTo>
                  <a:cubicBezTo>
                    <a:pt x="53211" y="88885"/>
                    <a:pt x="52430" y="86906"/>
                    <a:pt x="52586" y="84848"/>
                  </a:cubicBezTo>
                  <a:lnTo>
                    <a:pt x="56155" y="42077"/>
                  </a:lnTo>
                  <a:lnTo>
                    <a:pt x="18021" y="122617"/>
                  </a:lnTo>
                  <a:lnTo>
                    <a:pt x="77670" y="111781"/>
                  </a:lnTo>
                  <a:cubicBezTo>
                    <a:pt x="78035" y="111703"/>
                    <a:pt x="78426" y="111651"/>
                    <a:pt x="78816" y="111651"/>
                  </a:cubicBezTo>
                  <a:close/>
                </a:path>
              </a:pathLst>
            </a:custGeom>
            <a:solidFill>
              <a:schemeClr val="accent1"/>
            </a:solidFill>
            <a:ln w="2601" cap="flat">
              <a:noFill/>
              <a:prstDash val="solid"/>
              <a:miter/>
            </a:ln>
          </p:spPr>
          <p:txBody>
            <a:bodyPr rtlCol="0" anchor="ctr"/>
            <a:lstStyle/>
            <a:p>
              <a:endParaRPr lang="en-GB" dirty="0"/>
            </a:p>
          </p:txBody>
        </p:sp>
      </p:grpSp>
      <p:grpSp>
        <p:nvGrpSpPr>
          <p:cNvPr id="210" name="Group 209">
            <a:extLst>
              <a:ext uri="{FF2B5EF4-FFF2-40B4-BE49-F238E27FC236}">
                <a16:creationId xmlns:a16="http://schemas.microsoft.com/office/drawing/2014/main" id="{C58413E3-9A83-4288-A862-E431B3A41C0F}"/>
              </a:ext>
            </a:extLst>
          </p:cNvPr>
          <p:cNvGrpSpPr/>
          <p:nvPr/>
        </p:nvGrpSpPr>
        <p:grpSpPr>
          <a:xfrm>
            <a:off x="7136794" y="2391526"/>
            <a:ext cx="325480" cy="432000"/>
            <a:chOff x="7136382" y="2391526"/>
            <a:chExt cx="325480" cy="432000"/>
          </a:xfrm>
        </p:grpSpPr>
        <p:sp>
          <p:nvSpPr>
            <p:cNvPr id="581" name="Freihandform: Form 318">
              <a:extLst>
                <a:ext uri="{FF2B5EF4-FFF2-40B4-BE49-F238E27FC236}">
                  <a16:creationId xmlns:a16="http://schemas.microsoft.com/office/drawing/2014/main" id="{F758A548-FACE-4694-8055-DCAB3E294AEB}"/>
                </a:ext>
              </a:extLst>
            </p:cNvPr>
            <p:cNvSpPr/>
            <p:nvPr/>
          </p:nvSpPr>
          <p:spPr>
            <a:xfrm>
              <a:off x="7136382" y="2391526"/>
              <a:ext cx="325480" cy="432000"/>
            </a:xfrm>
            <a:custGeom>
              <a:avLst/>
              <a:gdLst>
                <a:gd name="connsiteX0" fmla="*/ 205882 w 361222"/>
                <a:gd name="connsiteY0" fmla="*/ 479440 h 479439"/>
                <a:gd name="connsiteX1" fmla="*/ 192753 w 361222"/>
                <a:gd name="connsiteY1" fmla="*/ 479440 h 479439"/>
                <a:gd name="connsiteX2" fmla="*/ 192753 w 361222"/>
                <a:gd name="connsiteY2" fmla="*/ 389419 h 479439"/>
                <a:gd name="connsiteX3" fmla="*/ 275038 w 361222"/>
                <a:gd name="connsiteY3" fmla="*/ 389419 h 479439"/>
                <a:gd name="connsiteX4" fmla="*/ 302883 w 361222"/>
                <a:gd name="connsiteY4" fmla="*/ 361209 h 479439"/>
                <a:gd name="connsiteX5" fmla="*/ 302883 w 361222"/>
                <a:gd name="connsiteY5" fmla="*/ 285098 h 479439"/>
                <a:gd name="connsiteX6" fmla="*/ 348076 w 361222"/>
                <a:gd name="connsiteY6" fmla="*/ 285098 h 479439"/>
                <a:gd name="connsiteX7" fmla="*/ 302284 w 361222"/>
                <a:gd name="connsiteY7" fmla="*/ 150613 h 479439"/>
                <a:gd name="connsiteX8" fmla="*/ 172254 w 361222"/>
                <a:gd name="connsiteY8" fmla="*/ 13810 h 479439"/>
                <a:gd name="connsiteX9" fmla="*/ 61473 w 361222"/>
                <a:gd name="connsiteY9" fmla="*/ 50590 h 479439"/>
                <a:gd name="connsiteX10" fmla="*/ 13128 w 361222"/>
                <a:gd name="connsiteY10" fmla="*/ 159521 h 479439"/>
                <a:gd name="connsiteX11" fmla="*/ 13128 w 361222"/>
                <a:gd name="connsiteY11" fmla="*/ 479414 h 479439"/>
                <a:gd name="connsiteX12" fmla="*/ 0 w 361222"/>
                <a:gd name="connsiteY12" fmla="*/ 479414 h 479439"/>
                <a:gd name="connsiteX13" fmla="*/ 0 w 361222"/>
                <a:gd name="connsiteY13" fmla="*/ 159547 h 479439"/>
                <a:gd name="connsiteX14" fmla="*/ 52642 w 361222"/>
                <a:gd name="connsiteY14" fmla="*/ 40900 h 479439"/>
                <a:gd name="connsiteX15" fmla="*/ 173530 w 361222"/>
                <a:gd name="connsiteY15" fmla="*/ 760 h 479439"/>
                <a:gd name="connsiteX16" fmla="*/ 315308 w 361222"/>
                <a:gd name="connsiteY16" fmla="*/ 148737 h 479439"/>
                <a:gd name="connsiteX17" fmla="*/ 360423 w 361222"/>
                <a:gd name="connsiteY17" fmla="*/ 280539 h 479439"/>
                <a:gd name="connsiteX18" fmla="*/ 358860 w 361222"/>
                <a:gd name="connsiteY18" fmla="*/ 292573 h 479439"/>
                <a:gd name="connsiteX19" fmla="*/ 348076 w 361222"/>
                <a:gd name="connsiteY19" fmla="*/ 298226 h 479439"/>
                <a:gd name="connsiteX20" fmla="*/ 315986 w 361222"/>
                <a:gd name="connsiteY20" fmla="*/ 298226 h 479439"/>
                <a:gd name="connsiteX21" fmla="*/ 315986 w 361222"/>
                <a:gd name="connsiteY21" fmla="*/ 361209 h 479439"/>
                <a:gd name="connsiteX22" fmla="*/ 275012 w 361222"/>
                <a:gd name="connsiteY22" fmla="*/ 402547 h 479439"/>
                <a:gd name="connsiteX23" fmla="*/ 205856 w 361222"/>
                <a:gd name="connsiteY23" fmla="*/ 402547 h 479439"/>
                <a:gd name="connsiteX24" fmla="*/ 205856 w 361222"/>
                <a:gd name="connsiteY24" fmla="*/ 479440 h 4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1222" h="479439">
                  <a:moveTo>
                    <a:pt x="205882" y="479440"/>
                  </a:moveTo>
                  <a:lnTo>
                    <a:pt x="192753" y="479440"/>
                  </a:lnTo>
                  <a:lnTo>
                    <a:pt x="192753" y="389419"/>
                  </a:lnTo>
                  <a:lnTo>
                    <a:pt x="275038" y="389419"/>
                  </a:lnTo>
                  <a:cubicBezTo>
                    <a:pt x="290380" y="389419"/>
                    <a:pt x="302883" y="376760"/>
                    <a:pt x="302883" y="361209"/>
                  </a:cubicBezTo>
                  <a:lnTo>
                    <a:pt x="302883" y="285098"/>
                  </a:lnTo>
                  <a:lnTo>
                    <a:pt x="348076" y="285098"/>
                  </a:lnTo>
                  <a:lnTo>
                    <a:pt x="302284" y="150613"/>
                  </a:lnTo>
                  <a:cubicBezTo>
                    <a:pt x="296424" y="78148"/>
                    <a:pt x="241749" y="20609"/>
                    <a:pt x="172254" y="13810"/>
                  </a:cubicBezTo>
                  <a:cubicBezTo>
                    <a:pt x="131385" y="9825"/>
                    <a:pt x="92027" y="22875"/>
                    <a:pt x="61473" y="50590"/>
                  </a:cubicBezTo>
                  <a:cubicBezTo>
                    <a:pt x="30763" y="78435"/>
                    <a:pt x="13128" y="118157"/>
                    <a:pt x="13128" y="159521"/>
                  </a:cubicBezTo>
                  <a:lnTo>
                    <a:pt x="13128" y="479414"/>
                  </a:lnTo>
                  <a:lnTo>
                    <a:pt x="0" y="479414"/>
                  </a:lnTo>
                  <a:lnTo>
                    <a:pt x="0" y="159547"/>
                  </a:lnTo>
                  <a:cubicBezTo>
                    <a:pt x="0" y="114485"/>
                    <a:pt x="19197" y="71219"/>
                    <a:pt x="52642" y="40900"/>
                  </a:cubicBezTo>
                  <a:cubicBezTo>
                    <a:pt x="86010" y="10658"/>
                    <a:pt x="128963" y="-3564"/>
                    <a:pt x="173530" y="760"/>
                  </a:cubicBezTo>
                  <a:cubicBezTo>
                    <a:pt x="249095" y="8158"/>
                    <a:pt x="308588" y="70334"/>
                    <a:pt x="315308" y="148737"/>
                  </a:cubicBezTo>
                  <a:lnTo>
                    <a:pt x="360423" y="280539"/>
                  </a:lnTo>
                  <a:cubicBezTo>
                    <a:pt x="361882" y="284420"/>
                    <a:pt x="361335" y="289005"/>
                    <a:pt x="358860" y="292573"/>
                  </a:cubicBezTo>
                  <a:cubicBezTo>
                    <a:pt x="356411" y="296116"/>
                    <a:pt x="352374" y="298226"/>
                    <a:pt x="348076" y="298226"/>
                  </a:cubicBezTo>
                  <a:lnTo>
                    <a:pt x="315986" y="298226"/>
                  </a:lnTo>
                  <a:lnTo>
                    <a:pt x="315986" y="361209"/>
                  </a:lnTo>
                  <a:cubicBezTo>
                    <a:pt x="315986" y="384001"/>
                    <a:pt x="297596" y="402547"/>
                    <a:pt x="275012" y="402547"/>
                  </a:cubicBezTo>
                  <a:lnTo>
                    <a:pt x="205856" y="402547"/>
                  </a:lnTo>
                  <a:lnTo>
                    <a:pt x="205856" y="479440"/>
                  </a:lnTo>
                  <a:close/>
                </a:path>
              </a:pathLst>
            </a:custGeom>
            <a:solidFill>
              <a:schemeClr val="tx2"/>
            </a:solidFill>
            <a:ln w="2601" cap="flat">
              <a:noFill/>
              <a:prstDash val="solid"/>
              <a:miter/>
            </a:ln>
          </p:spPr>
          <p:txBody>
            <a:bodyPr rtlCol="0" anchor="ctr"/>
            <a:lstStyle/>
            <a:p>
              <a:endParaRPr lang="en-GB" dirty="0"/>
            </a:p>
          </p:txBody>
        </p:sp>
        <p:grpSp>
          <p:nvGrpSpPr>
            <p:cNvPr id="582" name="Grafik 223">
              <a:extLst>
                <a:ext uri="{FF2B5EF4-FFF2-40B4-BE49-F238E27FC236}">
                  <a16:creationId xmlns:a16="http://schemas.microsoft.com/office/drawing/2014/main" id="{9A7AAF1C-9AC0-4A43-ABD7-53EF1EC9B1D6}"/>
                </a:ext>
              </a:extLst>
            </p:cNvPr>
            <p:cNvGrpSpPr/>
            <p:nvPr/>
          </p:nvGrpSpPr>
          <p:grpSpPr>
            <a:xfrm>
              <a:off x="7186234" y="2468044"/>
              <a:ext cx="189382" cy="189359"/>
              <a:chOff x="3507286" y="2546244"/>
              <a:chExt cx="210179" cy="210153"/>
            </a:xfrm>
            <a:solidFill>
              <a:schemeClr val="accent1"/>
            </a:solidFill>
          </p:grpSpPr>
          <p:sp>
            <p:nvSpPr>
              <p:cNvPr id="583" name="Freihandform: Form 320">
                <a:extLst>
                  <a:ext uri="{FF2B5EF4-FFF2-40B4-BE49-F238E27FC236}">
                    <a16:creationId xmlns:a16="http://schemas.microsoft.com/office/drawing/2014/main" id="{896938A6-711B-45A2-9D62-71AB7CFB5AFC}"/>
                  </a:ext>
                </a:extLst>
              </p:cNvPr>
              <p:cNvSpPr/>
              <p:nvPr/>
            </p:nvSpPr>
            <p:spPr>
              <a:xfrm>
                <a:off x="3540158" y="2579064"/>
                <a:ext cx="144460" cy="144486"/>
              </a:xfrm>
              <a:custGeom>
                <a:avLst/>
                <a:gdLst>
                  <a:gd name="connsiteX0" fmla="*/ 121200 w 144460"/>
                  <a:gd name="connsiteY0" fmla="*/ 144487 h 144486"/>
                  <a:gd name="connsiteX1" fmla="*/ 23261 w 144460"/>
                  <a:gd name="connsiteY1" fmla="*/ 144487 h 144486"/>
                  <a:gd name="connsiteX2" fmla="*/ 0 w 144460"/>
                  <a:gd name="connsiteY2" fmla="*/ 121226 h 144486"/>
                  <a:gd name="connsiteX3" fmla="*/ 0 w 144460"/>
                  <a:gd name="connsiteY3" fmla="*/ 23261 h 144486"/>
                  <a:gd name="connsiteX4" fmla="*/ 23261 w 144460"/>
                  <a:gd name="connsiteY4" fmla="*/ 0 h 144486"/>
                  <a:gd name="connsiteX5" fmla="*/ 121200 w 144460"/>
                  <a:gd name="connsiteY5" fmla="*/ 0 h 144486"/>
                  <a:gd name="connsiteX6" fmla="*/ 144461 w 144460"/>
                  <a:gd name="connsiteY6" fmla="*/ 23261 h 144486"/>
                  <a:gd name="connsiteX7" fmla="*/ 144461 w 144460"/>
                  <a:gd name="connsiteY7" fmla="*/ 121226 h 144486"/>
                  <a:gd name="connsiteX8" fmla="*/ 121200 w 144460"/>
                  <a:gd name="connsiteY8" fmla="*/ 144487 h 144486"/>
                  <a:gd name="connsiteX9" fmla="*/ 23235 w 144460"/>
                  <a:gd name="connsiteY9" fmla="*/ 13154 h 144486"/>
                  <a:gd name="connsiteX10" fmla="*/ 13102 w 144460"/>
                  <a:gd name="connsiteY10" fmla="*/ 23287 h 144486"/>
                  <a:gd name="connsiteX11" fmla="*/ 13102 w 144460"/>
                  <a:gd name="connsiteY11" fmla="*/ 121252 h 144486"/>
                  <a:gd name="connsiteX12" fmla="*/ 23235 w 144460"/>
                  <a:gd name="connsiteY12" fmla="*/ 131385 h 144486"/>
                  <a:gd name="connsiteX13" fmla="*/ 121174 w 144460"/>
                  <a:gd name="connsiteY13" fmla="*/ 131385 h 144486"/>
                  <a:gd name="connsiteX14" fmla="*/ 131307 w 144460"/>
                  <a:gd name="connsiteY14" fmla="*/ 121252 h 144486"/>
                  <a:gd name="connsiteX15" fmla="*/ 131307 w 144460"/>
                  <a:gd name="connsiteY15" fmla="*/ 23287 h 144486"/>
                  <a:gd name="connsiteX16" fmla="*/ 121174 w 144460"/>
                  <a:gd name="connsiteY16" fmla="*/ 13154 h 144486"/>
                  <a:gd name="connsiteX17" fmla="*/ 23235 w 144460"/>
                  <a:gd name="connsiteY17" fmla="*/ 13154 h 144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4460" h="144486">
                    <a:moveTo>
                      <a:pt x="121200" y="144487"/>
                    </a:moveTo>
                    <a:lnTo>
                      <a:pt x="23261" y="144487"/>
                    </a:lnTo>
                    <a:cubicBezTo>
                      <a:pt x="10445" y="144487"/>
                      <a:pt x="0" y="134042"/>
                      <a:pt x="0" y="121226"/>
                    </a:cubicBezTo>
                    <a:lnTo>
                      <a:pt x="0" y="23261"/>
                    </a:lnTo>
                    <a:cubicBezTo>
                      <a:pt x="0" y="10445"/>
                      <a:pt x="10445" y="0"/>
                      <a:pt x="23261" y="0"/>
                    </a:cubicBezTo>
                    <a:lnTo>
                      <a:pt x="121200" y="0"/>
                    </a:lnTo>
                    <a:cubicBezTo>
                      <a:pt x="134016" y="0"/>
                      <a:pt x="144461" y="10445"/>
                      <a:pt x="144461" y="23261"/>
                    </a:cubicBezTo>
                    <a:lnTo>
                      <a:pt x="144461" y="121226"/>
                    </a:lnTo>
                    <a:cubicBezTo>
                      <a:pt x="144461" y="134068"/>
                      <a:pt x="134016" y="144487"/>
                      <a:pt x="121200" y="144487"/>
                    </a:cubicBezTo>
                    <a:close/>
                    <a:moveTo>
                      <a:pt x="23235" y="13154"/>
                    </a:moveTo>
                    <a:cubicBezTo>
                      <a:pt x="17660" y="13154"/>
                      <a:pt x="13102" y="17686"/>
                      <a:pt x="13102" y="23287"/>
                    </a:cubicBezTo>
                    <a:lnTo>
                      <a:pt x="13102" y="121252"/>
                    </a:lnTo>
                    <a:cubicBezTo>
                      <a:pt x="13102" y="126827"/>
                      <a:pt x="17660" y="131385"/>
                      <a:pt x="23235" y="131385"/>
                    </a:cubicBezTo>
                    <a:lnTo>
                      <a:pt x="121174" y="131385"/>
                    </a:lnTo>
                    <a:cubicBezTo>
                      <a:pt x="126749" y="131385"/>
                      <a:pt x="131307" y="126853"/>
                      <a:pt x="131307" y="121252"/>
                    </a:cubicBezTo>
                    <a:lnTo>
                      <a:pt x="131307" y="23287"/>
                    </a:lnTo>
                    <a:cubicBezTo>
                      <a:pt x="131307" y="17712"/>
                      <a:pt x="126749" y="13154"/>
                      <a:pt x="121174" y="13154"/>
                    </a:cubicBezTo>
                    <a:lnTo>
                      <a:pt x="23235" y="13154"/>
                    </a:lnTo>
                    <a:close/>
                  </a:path>
                </a:pathLst>
              </a:custGeom>
              <a:solidFill>
                <a:schemeClr val="accent1"/>
              </a:solidFill>
              <a:ln w="2601" cap="flat">
                <a:noFill/>
                <a:prstDash val="solid"/>
                <a:miter/>
              </a:ln>
            </p:spPr>
            <p:txBody>
              <a:bodyPr rtlCol="0" anchor="ctr"/>
              <a:lstStyle/>
              <a:p>
                <a:endParaRPr lang="en-GB" dirty="0"/>
              </a:p>
            </p:txBody>
          </p:sp>
          <p:sp>
            <p:nvSpPr>
              <p:cNvPr id="584" name="Freihandform: Form 321">
                <a:extLst>
                  <a:ext uri="{FF2B5EF4-FFF2-40B4-BE49-F238E27FC236}">
                    <a16:creationId xmlns:a16="http://schemas.microsoft.com/office/drawing/2014/main" id="{24296BC0-4FB4-4A4C-8654-A5C517EC49F0}"/>
                  </a:ext>
                </a:extLst>
              </p:cNvPr>
              <p:cNvSpPr/>
              <p:nvPr/>
            </p:nvSpPr>
            <p:spPr>
              <a:xfrm>
                <a:off x="3572978" y="2611936"/>
                <a:ext cx="78794" cy="78794"/>
              </a:xfrm>
              <a:custGeom>
                <a:avLst/>
                <a:gdLst>
                  <a:gd name="connsiteX0" fmla="*/ 72231 w 78794"/>
                  <a:gd name="connsiteY0" fmla="*/ 78794 h 78794"/>
                  <a:gd name="connsiteX1" fmla="*/ 6564 w 78794"/>
                  <a:gd name="connsiteY1" fmla="*/ 78794 h 78794"/>
                  <a:gd name="connsiteX2" fmla="*/ 0 w 78794"/>
                  <a:gd name="connsiteY2" fmla="*/ 72230 h 78794"/>
                  <a:gd name="connsiteX3" fmla="*/ 0 w 78794"/>
                  <a:gd name="connsiteY3" fmla="*/ 6564 h 78794"/>
                  <a:gd name="connsiteX4" fmla="*/ 6564 w 78794"/>
                  <a:gd name="connsiteY4" fmla="*/ 0 h 78794"/>
                  <a:gd name="connsiteX5" fmla="*/ 72231 w 78794"/>
                  <a:gd name="connsiteY5" fmla="*/ 0 h 78794"/>
                  <a:gd name="connsiteX6" fmla="*/ 78794 w 78794"/>
                  <a:gd name="connsiteY6" fmla="*/ 6564 h 78794"/>
                  <a:gd name="connsiteX7" fmla="*/ 78794 w 78794"/>
                  <a:gd name="connsiteY7" fmla="*/ 72230 h 78794"/>
                  <a:gd name="connsiteX8" fmla="*/ 72231 w 78794"/>
                  <a:gd name="connsiteY8" fmla="*/ 78794 h 78794"/>
                  <a:gd name="connsiteX9" fmla="*/ 13128 w 78794"/>
                  <a:gd name="connsiteY9" fmla="*/ 65640 h 78794"/>
                  <a:gd name="connsiteX10" fmla="*/ 65667 w 78794"/>
                  <a:gd name="connsiteY10" fmla="*/ 65640 h 78794"/>
                  <a:gd name="connsiteX11" fmla="*/ 65667 w 78794"/>
                  <a:gd name="connsiteY11" fmla="*/ 13102 h 78794"/>
                  <a:gd name="connsiteX12" fmla="*/ 13128 w 78794"/>
                  <a:gd name="connsiteY12" fmla="*/ 13102 h 78794"/>
                  <a:gd name="connsiteX13" fmla="*/ 13128 w 78794"/>
                  <a:gd name="connsiteY13" fmla="*/ 65640 h 7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794" h="78794">
                    <a:moveTo>
                      <a:pt x="72231" y="78794"/>
                    </a:moveTo>
                    <a:lnTo>
                      <a:pt x="6564" y="78794"/>
                    </a:lnTo>
                    <a:cubicBezTo>
                      <a:pt x="2943" y="78794"/>
                      <a:pt x="0" y="75851"/>
                      <a:pt x="0" y="72230"/>
                    </a:cubicBezTo>
                    <a:lnTo>
                      <a:pt x="0" y="6564"/>
                    </a:lnTo>
                    <a:cubicBezTo>
                      <a:pt x="0" y="2943"/>
                      <a:pt x="2943" y="0"/>
                      <a:pt x="6564" y="0"/>
                    </a:cubicBezTo>
                    <a:lnTo>
                      <a:pt x="72231" y="0"/>
                    </a:lnTo>
                    <a:cubicBezTo>
                      <a:pt x="75851" y="0"/>
                      <a:pt x="78794" y="2943"/>
                      <a:pt x="78794" y="6564"/>
                    </a:cubicBezTo>
                    <a:lnTo>
                      <a:pt x="78794" y="72230"/>
                    </a:lnTo>
                    <a:cubicBezTo>
                      <a:pt x="78794" y="75851"/>
                      <a:pt x="75877" y="78794"/>
                      <a:pt x="72231" y="78794"/>
                    </a:cubicBezTo>
                    <a:close/>
                    <a:moveTo>
                      <a:pt x="13128" y="65640"/>
                    </a:moveTo>
                    <a:lnTo>
                      <a:pt x="65667" y="65640"/>
                    </a:lnTo>
                    <a:lnTo>
                      <a:pt x="65667" y="13102"/>
                    </a:lnTo>
                    <a:lnTo>
                      <a:pt x="13128" y="13102"/>
                    </a:lnTo>
                    <a:lnTo>
                      <a:pt x="13128" y="65640"/>
                    </a:lnTo>
                    <a:close/>
                  </a:path>
                </a:pathLst>
              </a:custGeom>
              <a:solidFill>
                <a:schemeClr val="accent1"/>
              </a:solidFill>
              <a:ln w="2601" cap="flat">
                <a:noFill/>
                <a:prstDash val="solid"/>
                <a:miter/>
              </a:ln>
            </p:spPr>
            <p:txBody>
              <a:bodyPr rtlCol="0" anchor="ctr"/>
              <a:lstStyle/>
              <a:p>
                <a:endParaRPr lang="en-GB" dirty="0"/>
              </a:p>
            </p:txBody>
          </p:sp>
          <p:sp>
            <p:nvSpPr>
              <p:cNvPr id="585" name="Freihandform: Form 322">
                <a:extLst>
                  <a:ext uri="{FF2B5EF4-FFF2-40B4-BE49-F238E27FC236}">
                    <a16:creationId xmlns:a16="http://schemas.microsoft.com/office/drawing/2014/main" id="{9AA06151-2E36-4A63-8B37-1721FF8F2285}"/>
                  </a:ext>
                </a:extLst>
              </p:cNvPr>
              <p:cNvSpPr/>
              <p:nvPr/>
            </p:nvSpPr>
            <p:spPr>
              <a:xfrm>
                <a:off x="3605798" y="2546244"/>
                <a:ext cx="13128" cy="39410"/>
              </a:xfrm>
              <a:custGeom>
                <a:avLst/>
                <a:gdLst>
                  <a:gd name="connsiteX0" fmla="*/ 0 w 13128"/>
                  <a:gd name="connsiteY0" fmla="*/ 0 h 39410"/>
                  <a:gd name="connsiteX1" fmla="*/ 13128 w 13128"/>
                  <a:gd name="connsiteY1" fmla="*/ 0 h 39410"/>
                  <a:gd name="connsiteX2" fmla="*/ 13128 w 13128"/>
                  <a:gd name="connsiteY2" fmla="*/ 39410 h 39410"/>
                  <a:gd name="connsiteX3" fmla="*/ 0 w 13128"/>
                  <a:gd name="connsiteY3" fmla="*/ 39410 h 39410"/>
                </a:gdLst>
                <a:ahLst/>
                <a:cxnLst>
                  <a:cxn ang="0">
                    <a:pos x="connsiteX0" y="connsiteY0"/>
                  </a:cxn>
                  <a:cxn ang="0">
                    <a:pos x="connsiteX1" y="connsiteY1"/>
                  </a:cxn>
                  <a:cxn ang="0">
                    <a:pos x="connsiteX2" y="connsiteY2"/>
                  </a:cxn>
                  <a:cxn ang="0">
                    <a:pos x="connsiteX3" y="connsiteY3"/>
                  </a:cxn>
                </a:cxnLst>
                <a:rect l="l" t="t" r="r" b="b"/>
                <a:pathLst>
                  <a:path w="13128" h="39410">
                    <a:moveTo>
                      <a:pt x="0" y="0"/>
                    </a:moveTo>
                    <a:lnTo>
                      <a:pt x="13128" y="0"/>
                    </a:lnTo>
                    <a:lnTo>
                      <a:pt x="13128" y="39410"/>
                    </a:lnTo>
                    <a:lnTo>
                      <a:pt x="0" y="39410"/>
                    </a:lnTo>
                    <a:close/>
                  </a:path>
                </a:pathLst>
              </a:custGeom>
              <a:solidFill>
                <a:schemeClr val="accent1"/>
              </a:solidFill>
              <a:ln w="2601" cap="flat">
                <a:noFill/>
                <a:prstDash val="solid"/>
                <a:miter/>
              </a:ln>
            </p:spPr>
            <p:txBody>
              <a:bodyPr rtlCol="0" anchor="ctr"/>
              <a:lstStyle/>
              <a:p>
                <a:endParaRPr lang="en-GB" dirty="0"/>
              </a:p>
            </p:txBody>
          </p:sp>
          <p:sp>
            <p:nvSpPr>
              <p:cNvPr id="586" name="Freihandform: Form 323">
                <a:extLst>
                  <a:ext uri="{FF2B5EF4-FFF2-40B4-BE49-F238E27FC236}">
                    <a16:creationId xmlns:a16="http://schemas.microsoft.com/office/drawing/2014/main" id="{ED0FEFA8-DF6D-403D-8706-C5FA6FC88676}"/>
                  </a:ext>
                </a:extLst>
              </p:cNvPr>
              <p:cNvSpPr/>
              <p:nvPr/>
            </p:nvSpPr>
            <p:spPr>
              <a:xfrm>
                <a:off x="3638645" y="2559372"/>
                <a:ext cx="13128" cy="26282"/>
              </a:xfrm>
              <a:custGeom>
                <a:avLst/>
                <a:gdLst>
                  <a:gd name="connsiteX0" fmla="*/ 0 w 13128"/>
                  <a:gd name="connsiteY0" fmla="*/ 0 h 26282"/>
                  <a:gd name="connsiteX1" fmla="*/ 13128 w 13128"/>
                  <a:gd name="connsiteY1" fmla="*/ 0 h 26282"/>
                  <a:gd name="connsiteX2" fmla="*/ 13128 w 13128"/>
                  <a:gd name="connsiteY2" fmla="*/ 26282 h 26282"/>
                  <a:gd name="connsiteX3" fmla="*/ 0 w 13128"/>
                  <a:gd name="connsiteY3" fmla="*/ 26282 h 26282"/>
                </a:gdLst>
                <a:ahLst/>
                <a:cxnLst>
                  <a:cxn ang="0">
                    <a:pos x="connsiteX0" y="connsiteY0"/>
                  </a:cxn>
                  <a:cxn ang="0">
                    <a:pos x="connsiteX1" y="connsiteY1"/>
                  </a:cxn>
                  <a:cxn ang="0">
                    <a:pos x="connsiteX2" y="connsiteY2"/>
                  </a:cxn>
                  <a:cxn ang="0">
                    <a:pos x="connsiteX3" y="connsiteY3"/>
                  </a:cxn>
                </a:cxnLst>
                <a:rect l="l" t="t" r="r" b="b"/>
                <a:pathLst>
                  <a:path w="13128" h="26282">
                    <a:moveTo>
                      <a:pt x="0" y="0"/>
                    </a:moveTo>
                    <a:lnTo>
                      <a:pt x="13128" y="0"/>
                    </a:lnTo>
                    <a:lnTo>
                      <a:pt x="13128" y="26282"/>
                    </a:lnTo>
                    <a:lnTo>
                      <a:pt x="0" y="26282"/>
                    </a:lnTo>
                    <a:close/>
                  </a:path>
                </a:pathLst>
              </a:custGeom>
              <a:solidFill>
                <a:schemeClr val="accent1"/>
              </a:solidFill>
              <a:ln w="2601" cap="flat">
                <a:noFill/>
                <a:prstDash val="solid"/>
                <a:miter/>
              </a:ln>
            </p:spPr>
            <p:txBody>
              <a:bodyPr rtlCol="0" anchor="ctr"/>
              <a:lstStyle/>
              <a:p>
                <a:endParaRPr lang="en-GB" dirty="0"/>
              </a:p>
            </p:txBody>
          </p:sp>
          <p:sp>
            <p:nvSpPr>
              <p:cNvPr id="587" name="Freihandform: Form 324">
                <a:extLst>
                  <a:ext uri="{FF2B5EF4-FFF2-40B4-BE49-F238E27FC236}">
                    <a16:creationId xmlns:a16="http://schemas.microsoft.com/office/drawing/2014/main" id="{09B03234-E817-4828-9559-0EE6D4CF0E8F}"/>
                  </a:ext>
                </a:extLst>
              </p:cNvPr>
              <p:cNvSpPr/>
              <p:nvPr/>
            </p:nvSpPr>
            <p:spPr>
              <a:xfrm>
                <a:off x="3572978" y="2559372"/>
                <a:ext cx="13128" cy="26282"/>
              </a:xfrm>
              <a:custGeom>
                <a:avLst/>
                <a:gdLst>
                  <a:gd name="connsiteX0" fmla="*/ 0 w 13128"/>
                  <a:gd name="connsiteY0" fmla="*/ 0 h 26282"/>
                  <a:gd name="connsiteX1" fmla="*/ 13128 w 13128"/>
                  <a:gd name="connsiteY1" fmla="*/ 0 h 26282"/>
                  <a:gd name="connsiteX2" fmla="*/ 13128 w 13128"/>
                  <a:gd name="connsiteY2" fmla="*/ 26282 h 26282"/>
                  <a:gd name="connsiteX3" fmla="*/ 0 w 13128"/>
                  <a:gd name="connsiteY3" fmla="*/ 26282 h 26282"/>
                </a:gdLst>
                <a:ahLst/>
                <a:cxnLst>
                  <a:cxn ang="0">
                    <a:pos x="connsiteX0" y="connsiteY0"/>
                  </a:cxn>
                  <a:cxn ang="0">
                    <a:pos x="connsiteX1" y="connsiteY1"/>
                  </a:cxn>
                  <a:cxn ang="0">
                    <a:pos x="connsiteX2" y="connsiteY2"/>
                  </a:cxn>
                  <a:cxn ang="0">
                    <a:pos x="connsiteX3" y="connsiteY3"/>
                  </a:cxn>
                </a:cxnLst>
                <a:rect l="l" t="t" r="r" b="b"/>
                <a:pathLst>
                  <a:path w="13128" h="26282">
                    <a:moveTo>
                      <a:pt x="0" y="0"/>
                    </a:moveTo>
                    <a:lnTo>
                      <a:pt x="13128" y="0"/>
                    </a:lnTo>
                    <a:lnTo>
                      <a:pt x="13128" y="26282"/>
                    </a:lnTo>
                    <a:lnTo>
                      <a:pt x="0" y="26282"/>
                    </a:lnTo>
                    <a:close/>
                  </a:path>
                </a:pathLst>
              </a:custGeom>
              <a:solidFill>
                <a:schemeClr val="accent1"/>
              </a:solidFill>
              <a:ln w="2601" cap="flat">
                <a:noFill/>
                <a:prstDash val="solid"/>
                <a:miter/>
              </a:ln>
            </p:spPr>
            <p:txBody>
              <a:bodyPr rtlCol="0" anchor="ctr"/>
              <a:lstStyle/>
              <a:p>
                <a:endParaRPr lang="en-GB" dirty="0"/>
              </a:p>
            </p:txBody>
          </p:sp>
          <p:sp>
            <p:nvSpPr>
              <p:cNvPr id="588" name="Freihandform: Form 325">
                <a:extLst>
                  <a:ext uri="{FF2B5EF4-FFF2-40B4-BE49-F238E27FC236}">
                    <a16:creationId xmlns:a16="http://schemas.microsoft.com/office/drawing/2014/main" id="{0E0756AF-97B7-40F0-9F99-42F583927437}"/>
                  </a:ext>
                </a:extLst>
              </p:cNvPr>
              <p:cNvSpPr/>
              <p:nvPr/>
            </p:nvSpPr>
            <p:spPr>
              <a:xfrm>
                <a:off x="3507286" y="2644756"/>
                <a:ext cx="39410" cy="13128"/>
              </a:xfrm>
              <a:custGeom>
                <a:avLst/>
                <a:gdLst>
                  <a:gd name="connsiteX0" fmla="*/ 0 w 39410"/>
                  <a:gd name="connsiteY0" fmla="*/ 0 h 13128"/>
                  <a:gd name="connsiteX1" fmla="*/ 39410 w 39410"/>
                  <a:gd name="connsiteY1" fmla="*/ 0 h 13128"/>
                  <a:gd name="connsiteX2" fmla="*/ 39410 w 39410"/>
                  <a:gd name="connsiteY2" fmla="*/ 13128 h 13128"/>
                  <a:gd name="connsiteX3" fmla="*/ 0 w 39410"/>
                  <a:gd name="connsiteY3" fmla="*/ 13128 h 13128"/>
                </a:gdLst>
                <a:ahLst/>
                <a:cxnLst>
                  <a:cxn ang="0">
                    <a:pos x="connsiteX0" y="connsiteY0"/>
                  </a:cxn>
                  <a:cxn ang="0">
                    <a:pos x="connsiteX1" y="connsiteY1"/>
                  </a:cxn>
                  <a:cxn ang="0">
                    <a:pos x="connsiteX2" y="connsiteY2"/>
                  </a:cxn>
                  <a:cxn ang="0">
                    <a:pos x="connsiteX3" y="connsiteY3"/>
                  </a:cxn>
                </a:cxnLst>
                <a:rect l="l" t="t" r="r" b="b"/>
                <a:pathLst>
                  <a:path w="39410" h="13128">
                    <a:moveTo>
                      <a:pt x="0" y="0"/>
                    </a:moveTo>
                    <a:lnTo>
                      <a:pt x="39410" y="0"/>
                    </a:lnTo>
                    <a:lnTo>
                      <a:pt x="39410" y="13128"/>
                    </a:lnTo>
                    <a:lnTo>
                      <a:pt x="0" y="13128"/>
                    </a:lnTo>
                    <a:close/>
                  </a:path>
                </a:pathLst>
              </a:custGeom>
              <a:solidFill>
                <a:schemeClr val="accent1"/>
              </a:solidFill>
              <a:ln w="2601" cap="flat">
                <a:noFill/>
                <a:prstDash val="solid"/>
                <a:miter/>
              </a:ln>
            </p:spPr>
            <p:txBody>
              <a:bodyPr rtlCol="0" anchor="ctr"/>
              <a:lstStyle/>
              <a:p>
                <a:endParaRPr lang="en-GB" dirty="0"/>
              </a:p>
            </p:txBody>
          </p:sp>
          <p:sp>
            <p:nvSpPr>
              <p:cNvPr id="589" name="Freihandform: Form 326">
                <a:extLst>
                  <a:ext uri="{FF2B5EF4-FFF2-40B4-BE49-F238E27FC236}">
                    <a16:creationId xmlns:a16="http://schemas.microsoft.com/office/drawing/2014/main" id="{8F4DB623-3F81-4413-BD43-71E1AB8776A0}"/>
                  </a:ext>
                </a:extLst>
              </p:cNvPr>
              <p:cNvSpPr/>
              <p:nvPr/>
            </p:nvSpPr>
            <p:spPr>
              <a:xfrm>
                <a:off x="3520440" y="2611910"/>
                <a:ext cx="26282" cy="13128"/>
              </a:xfrm>
              <a:custGeom>
                <a:avLst/>
                <a:gdLst>
                  <a:gd name="connsiteX0" fmla="*/ 0 w 26282"/>
                  <a:gd name="connsiteY0" fmla="*/ 0 h 13128"/>
                  <a:gd name="connsiteX1" fmla="*/ 26282 w 26282"/>
                  <a:gd name="connsiteY1" fmla="*/ 0 h 13128"/>
                  <a:gd name="connsiteX2" fmla="*/ 26282 w 26282"/>
                  <a:gd name="connsiteY2" fmla="*/ 13128 h 13128"/>
                  <a:gd name="connsiteX3" fmla="*/ 0 w 26282"/>
                  <a:gd name="connsiteY3" fmla="*/ 13128 h 13128"/>
                </a:gdLst>
                <a:ahLst/>
                <a:cxnLst>
                  <a:cxn ang="0">
                    <a:pos x="connsiteX0" y="connsiteY0"/>
                  </a:cxn>
                  <a:cxn ang="0">
                    <a:pos x="connsiteX1" y="connsiteY1"/>
                  </a:cxn>
                  <a:cxn ang="0">
                    <a:pos x="connsiteX2" y="connsiteY2"/>
                  </a:cxn>
                  <a:cxn ang="0">
                    <a:pos x="connsiteX3" y="connsiteY3"/>
                  </a:cxn>
                </a:cxnLst>
                <a:rect l="l" t="t" r="r" b="b"/>
                <a:pathLst>
                  <a:path w="26282" h="13128">
                    <a:moveTo>
                      <a:pt x="0" y="0"/>
                    </a:moveTo>
                    <a:lnTo>
                      <a:pt x="26282" y="0"/>
                    </a:lnTo>
                    <a:lnTo>
                      <a:pt x="26282" y="13128"/>
                    </a:lnTo>
                    <a:lnTo>
                      <a:pt x="0" y="13128"/>
                    </a:lnTo>
                    <a:close/>
                  </a:path>
                </a:pathLst>
              </a:custGeom>
              <a:solidFill>
                <a:schemeClr val="accent1"/>
              </a:solidFill>
              <a:ln w="2601" cap="flat">
                <a:noFill/>
                <a:prstDash val="solid"/>
                <a:miter/>
              </a:ln>
            </p:spPr>
            <p:txBody>
              <a:bodyPr rtlCol="0" anchor="ctr"/>
              <a:lstStyle/>
              <a:p>
                <a:endParaRPr lang="en-GB" dirty="0"/>
              </a:p>
            </p:txBody>
          </p:sp>
          <p:sp>
            <p:nvSpPr>
              <p:cNvPr id="590" name="Freihandform: Form 327">
                <a:extLst>
                  <a:ext uri="{FF2B5EF4-FFF2-40B4-BE49-F238E27FC236}">
                    <a16:creationId xmlns:a16="http://schemas.microsoft.com/office/drawing/2014/main" id="{B3880D48-8059-4A47-AD6B-9E357206C89A}"/>
                  </a:ext>
                </a:extLst>
              </p:cNvPr>
              <p:cNvSpPr/>
              <p:nvPr/>
            </p:nvSpPr>
            <p:spPr>
              <a:xfrm>
                <a:off x="3520440" y="2677576"/>
                <a:ext cx="26282" cy="13128"/>
              </a:xfrm>
              <a:custGeom>
                <a:avLst/>
                <a:gdLst>
                  <a:gd name="connsiteX0" fmla="*/ 0 w 26282"/>
                  <a:gd name="connsiteY0" fmla="*/ 0 h 13128"/>
                  <a:gd name="connsiteX1" fmla="*/ 26282 w 26282"/>
                  <a:gd name="connsiteY1" fmla="*/ 0 h 13128"/>
                  <a:gd name="connsiteX2" fmla="*/ 26282 w 26282"/>
                  <a:gd name="connsiteY2" fmla="*/ 13128 h 13128"/>
                  <a:gd name="connsiteX3" fmla="*/ 0 w 26282"/>
                  <a:gd name="connsiteY3" fmla="*/ 13128 h 13128"/>
                </a:gdLst>
                <a:ahLst/>
                <a:cxnLst>
                  <a:cxn ang="0">
                    <a:pos x="connsiteX0" y="connsiteY0"/>
                  </a:cxn>
                  <a:cxn ang="0">
                    <a:pos x="connsiteX1" y="connsiteY1"/>
                  </a:cxn>
                  <a:cxn ang="0">
                    <a:pos x="connsiteX2" y="connsiteY2"/>
                  </a:cxn>
                  <a:cxn ang="0">
                    <a:pos x="connsiteX3" y="connsiteY3"/>
                  </a:cxn>
                </a:cxnLst>
                <a:rect l="l" t="t" r="r" b="b"/>
                <a:pathLst>
                  <a:path w="26282" h="13128">
                    <a:moveTo>
                      <a:pt x="0" y="0"/>
                    </a:moveTo>
                    <a:lnTo>
                      <a:pt x="26282" y="0"/>
                    </a:lnTo>
                    <a:lnTo>
                      <a:pt x="26282" y="13128"/>
                    </a:lnTo>
                    <a:lnTo>
                      <a:pt x="0" y="13128"/>
                    </a:lnTo>
                    <a:close/>
                  </a:path>
                </a:pathLst>
              </a:custGeom>
              <a:solidFill>
                <a:schemeClr val="accent1"/>
              </a:solidFill>
              <a:ln w="2601" cap="flat">
                <a:noFill/>
                <a:prstDash val="solid"/>
                <a:miter/>
              </a:ln>
            </p:spPr>
            <p:txBody>
              <a:bodyPr rtlCol="0" anchor="ctr"/>
              <a:lstStyle/>
              <a:p>
                <a:endParaRPr lang="en-GB" dirty="0"/>
              </a:p>
            </p:txBody>
          </p:sp>
          <p:sp>
            <p:nvSpPr>
              <p:cNvPr id="591" name="Freihandform: Form 328">
                <a:extLst>
                  <a:ext uri="{FF2B5EF4-FFF2-40B4-BE49-F238E27FC236}">
                    <a16:creationId xmlns:a16="http://schemas.microsoft.com/office/drawing/2014/main" id="{1169EFE4-7477-41C2-9D5C-888F79C53C21}"/>
                  </a:ext>
                </a:extLst>
              </p:cNvPr>
              <p:cNvSpPr/>
              <p:nvPr/>
            </p:nvSpPr>
            <p:spPr>
              <a:xfrm>
                <a:off x="3678055" y="2644756"/>
                <a:ext cx="39410" cy="13128"/>
              </a:xfrm>
              <a:custGeom>
                <a:avLst/>
                <a:gdLst>
                  <a:gd name="connsiteX0" fmla="*/ 0 w 39410"/>
                  <a:gd name="connsiteY0" fmla="*/ 0 h 13128"/>
                  <a:gd name="connsiteX1" fmla="*/ 39410 w 39410"/>
                  <a:gd name="connsiteY1" fmla="*/ 0 h 13128"/>
                  <a:gd name="connsiteX2" fmla="*/ 39410 w 39410"/>
                  <a:gd name="connsiteY2" fmla="*/ 13128 h 13128"/>
                  <a:gd name="connsiteX3" fmla="*/ 0 w 39410"/>
                  <a:gd name="connsiteY3" fmla="*/ 13128 h 13128"/>
                </a:gdLst>
                <a:ahLst/>
                <a:cxnLst>
                  <a:cxn ang="0">
                    <a:pos x="connsiteX0" y="connsiteY0"/>
                  </a:cxn>
                  <a:cxn ang="0">
                    <a:pos x="connsiteX1" y="connsiteY1"/>
                  </a:cxn>
                  <a:cxn ang="0">
                    <a:pos x="connsiteX2" y="connsiteY2"/>
                  </a:cxn>
                  <a:cxn ang="0">
                    <a:pos x="connsiteX3" y="connsiteY3"/>
                  </a:cxn>
                </a:cxnLst>
                <a:rect l="l" t="t" r="r" b="b"/>
                <a:pathLst>
                  <a:path w="39410" h="13128">
                    <a:moveTo>
                      <a:pt x="0" y="0"/>
                    </a:moveTo>
                    <a:lnTo>
                      <a:pt x="39410" y="0"/>
                    </a:lnTo>
                    <a:lnTo>
                      <a:pt x="39410" y="13128"/>
                    </a:lnTo>
                    <a:lnTo>
                      <a:pt x="0" y="13128"/>
                    </a:lnTo>
                    <a:close/>
                  </a:path>
                </a:pathLst>
              </a:custGeom>
              <a:solidFill>
                <a:schemeClr val="accent1"/>
              </a:solidFill>
              <a:ln w="2601" cap="flat">
                <a:noFill/>
                <a:prstDash val="solid"/>
                <a:miter/>
              </a:ln>
            </p:spPr>
            <p:txBody>
              <a:bodyPr rtlCol="0" anchor="ctr"/>
              <a:lstStyle/>
              <a:p>
                <a:endParaRPr lang="en-GB" dirty="0"/>
              </a:p>
            </p:txBody>
          </p:sp>
          <p:sp>
            <p:nvSpPr>
              <p:cNvPr id="592" name="Freihandform: Form 329">
                <a:extLst>
                  <a:ext uri="{FF2B5EF4-FFF2-40B4-BE49-F238E27FC236}">
                    <a16:creationId xmlns:a16="http://schemas.microsoft.com/office/drawing/2014/main" id="{A95391D2-274C-42F3-B4C5-342488DEE8DF}"/>
                  </a:ext>
                </a:extLst>
              </p:cNvPr>
              <p:cNvSpPr/>
              <p:nvPr/>
            </p:nvSpPr>
            <p:spPr>
              <a:xfrm>
                <a:off x="3678055" y="2611910"/>
                <a:ext cx="26282" cy="13128"/>
              </a:xfrm>
              <a:custGeom>
                <a:avLst/>
                <a:gdLst>
                  <a:gd name="connsiteX0" fmla="*/ 0 w 26282"/>
                  <a:gd name="connsiteY0" fmla="*/ 0 h 13128"/>
                  <a:gd name="connsiteX1" fmla="*/ 26282 w 26282"/>
                  <a:gd name="connsiteY1" fmla="*/ 0 h 13128"/>
                  <a:gd name="connsiteX2" fmla="*/ 26282 w 26282"/>
                  <a:gd name="connsiteY2" fmla="*/ 13128 h 13128"/>
                  <a:gd name="connsiteX3" fmla="*/ 0 w 26282"/>
                  <a:gd name="connsiteY3" fmla="*/ 13128 h 13128"/>
                </a:gdLst>
                <a:ahLst/>
                <a:cxnLst>
                  <a:cxn ang="0">
                    <a:pos x="connsiteX0" y="connsiteY0"/>
                  </a:cxn>
                  <a:cxn ang="0">
                    <a:pos x="connsiteX1" y="connsiteY1"/>
                  </a:cxn>
                  <a:cxn ang="0">
                    <a:pos x="connsiteX2" y="connsiteY2"/>
                  </a:cxn>
                  <a:cxn ang="0">
                    <a:pos x="connsiteX3" y="connsiteY3"/>
                  </a:cxn>
                </a:cxnLst>
                <a:rect l="l" t="t" r="r" b="b"/>
                <a:pathLst>
                  <a:path w="26282" h="13128">
                    <a:moveTo>
                      <a:pt x="0" y="0"/>
                    </a:moveTo>
                    <a:lnTo>
                      <a:pt x="26282" y="0"/>
                    </a:lnTo>
                    <a:lnTo>
                      <a:pt x="26282" y="13128"/>
                    </a:lnTo>
                    <a:lnTo>
                      <a:pt x="0" y="13128"/>
                    </a:lnTo>
                    <a:close/>
                  </a:path>
                </a:pathLst>
              </a:custGeom>
              <a:solidFill>
                <a:schemeClr val="accent1"/>
              </a:solidFill>
              <a:ln w="2601" cap="flat">
                <a:noFill/>
                <a:prstDash val="solid"/>
                <a:miter/>
              </a:ln>
            </p:spPr>
            <p:txBody>
              <a:bodyPr rtlCol="0" anchor="ctr"/>
              <a:lstStyle/>
              <a:p>
                <a:endParaRPr lang="en-GB" dirty="0"/>
              </a:p>
            </p:txBody>
          </p:sp>
          <p:sp>
            <p:nvSpPr>
              <p:cNvPr id="593" name="Freihandform: Form 330">
                <a:extLst>
                  <a:ext uri="{FF2B5EF4-FFF2-40B4-BE49-F238E27FC236}">
                    <a16:creationId xmlns:a16="http://schemas.microsoft.com/office/drawing/2014/main" id="{976E6BE4-E162-4F8E-A0B4-848D2E37DEA0}"/>
                  </a:ext>
                </a:extLst>
              </p:cNvPr>
              <p:cNvSpPr/>
              <p:nvPr/>
            </p:nvSpPr>
            <p:spPr>
              <a:xfrm>
                <a:off x="3678055" y="2677576"/>
                <a:ext cx="26282" cy="13128"/>
              </a:xfrm>
              <a:custGeom>
                <a:avLst/>
                <a:gdLst>
                  <a:gd name="connsiteX0" fmla="*/ 0 w 26282"/>
                  <a:gd name="connsiteY0" fmla="*/ 0 h 13128"/>
                  <a:gd name="connsiteX1" fmla="*/ 26282 w 26282"/>
                  <a:gd name="connsiteY1" fmla="*/ 0 h 13128"/>
                  <a:gd name="connsiteX2" fmla="*/ 26282 w 26282"/>
                  <a:gd name="connsiteY2" fmla="*/ 13128 h 13128"/>
                  <a:gd name="connsiteX3" fmla="*/ 0 w 26282"/>
                  <a:gd name="connsiteY3" fmla="*/ 13128 h 13128"/>
                </a:gdLst>
                <a:ahLst/>
                <a:cxnLst>
                  <a:cxn ang="0">
                    <a:pos x="connsiteX0" y="connsiteY0"/>
                  </a:cxn>
                  <a:cxn ang="0">
                    <a:pos x="connsiteX1" y="connsiteY1"/>
                  </a:cxn>
                  <a:cxn ang="0">
                    <a:pos x="connsiteX2" y="connsiteY2"/>
                  </a:cxn>
                  <a:cxn ang="0">
                    <a:pos x="connsiteX3" y="connsiteY3"/>
                  </a:cxn>
                </a:cxnLst>
                <a:rect l="l" t="t" r="r" b="b"/>
                <a:pathLst>
                  <a:path w="26282" h="13128">
                    <a:moveTo>
                      <a:pt x="0" y="0"/>
                    </a:moveTo>
                    <a:lnTo>
                      <a:pt x="26282" y="0"/>
                    </a:lnTo>
                    <a:lnTo>
                      <a:pt x="26282" y="13128"/>
                    </a:lnTo>
                    <a:lnTo>
                      <a:pt x="0" y="13128"/>
                    </a:lnTo>
                    <a:close/>
                  </a:path>
                </a:pathLst>
              </a:custGeom>
              <a:solidFill>
                <a:schemeClr val="accent1"/>
              </a:solidFill>
              <a:ln w="2601" cap="flat">
                <a:noFill/>
                <a:prstDash val="solid"/>
                <a:miter/>
              </a:ln>
            </p:spPr>
            <p:txBody>
              <a:bodyPr rtlCol="0" anchor="ctr"/>
              <a:lstStyle/>
              <a:p>
                <a:endParaRPr lang="en-GB" dirty="0"/>
              </a:p>
            </p:txBody>
          </p:sp>
          <p:sp>
            <p:nvSpPr>
              <p:cNvPr id="594" name="Freihandform: Form 331">
                <a:extLst>
                  <a:ext uri="{FF2B5EF4-FFF2-40B4-BE49-F238E27FC236}">
                    <a16:creationId xmlns:a16="http://schemas.microsoft.com/office/drawing/2014/main" id="{B2367652-4D75-4535-89A5-0E183DB11DA4}"/>
                  </a:ext>
                </a:extLst>
              </p:cNvPr>
              <p:cNvSpPr/>
              <p:nvPr/>
            </p:nvSpPr>
            <p:spPr>
              <a:xfrm>
                <a:off x="3605798" y="2716987"/>
                <a:ext cx="13128" cy="39410"/>
              </a:xfrm>
              <a:custGeom>
                <a:avLst/>
                <a:gdLst>
                  <a:gd name="connsiteX0" fmla="*/ 0 w 13128"/>
                  <a:gd name="connsiteY0" fmla="*/ 0 h 39410"/>
                  <a:gd name="connsiteX1" fmla="*/ 13128 w 13128"/>
                  <a:gd name="connsiteY1" fmla="*/ 0 h 39410"/>
                  <a:gd name="connsiteX2" fmla="*/ 13128 w 13128"/>
                  <a:gd name="connsiteY2" fmla="*/ 39410 h 39410"/>
                  <a:gd name="connsiteX3" fmla="*/ 0 w 13128"/>
                  <a:gd name="connsiteY3" fmla="*/ 39410 h 39410"/>
                </a:gdLst>
                <a:ahLst/>
                <a:cxnLst>
                  <a:cxn ang="0">
                    <a:pos x="connsiteX0" y="connsiteY0"/>
                  </a:cxn>
                  <a:cxn ang="0">
                    <a:pos x="connsiteX1" y="connsiteY1"/>
                  </a:cxn>
                  <a:cxn ang="0">
                    <a:pos x="connsiteX2" y="connsiteY2"/>
                  </a:cxn>
                  <a:cxn ang="0">
                    <a:pos x="connsiteX3" y="connsiteY3"/>
                  </a:cxn>
                </a:cxnLst>
                <a:rect l="l" t="t" r="r" b="b"/>
                <a:pathLst>
                  <a:path w="13128" h="39410">
                    <a:moveTo>
                      <a:pt x="0" y="0"/>
                    </a:moveTo>
                    <a:lnTo>
                      <a:pt x="13128" y="0"/>
                    </a:lnTo>
                    <a:lnTo>
                      <a:pt x="13128" y="39410"/>
                    </a:lnTo>
                    <a:lnTo>
                      <a:pt x="0" y="39410"/>
                    </a:lnTo>
                    <a:close/>
                  </a:path>
                </a:pathLst>
              </a:custGeom>
              <a:solidFill>
                <a:schemeClr val="accent1"/>
              </a:solidFill>
              <a:ln w="2601" cap="flat">
                <a:noFill/>
                <a:prstDash val="solid"/>
                <a:miter/>
              </a:ln>
            </p:spPr>
            <p:txBody>
              <a:bodyPr rtlCol="0" anchor="ctr"/>
              <a:lstStyle/>
              <a:p>
                <a:endParaRPr lang="en-GB" dirty="0"/>
              </a:p>
            </p:txBody>
          </p:sp>
          <p:sp>
            <p:nvSpPr>
              <p:cNvPr id="595" name="Freihandform: Form 332">
                <a:extLst>
                  <a:ext uri="{FF2B5EF4-FFF2-40B4-BE49-F238E27FC236}">
                    <a16:creationId xmlns:a16="http://schemas.microsoft.com/office/drawing/2014/main" id="{0C1A80FD-58CA-4996-91E9-A3E26DCEAA8E}"/>
                  </a:ext>
                </a:extLst>
              </p:cNvPr>
              <p:cNvSpPr/>
              <p:nvPr/>
            </p:nvSpPr>
            <p:spPr>
              <a:xfrm>
                <a:off x="3638645" y="2716987"/>
                <a:ext cx="13128" cy="26282"/>
              </a:xfrm>
              <a:custGeom>
                <a:avLst/>
                <a:gdLst>
                  <a:gd name="connsiteX0" fmla="*/ 0 w 13128"/>
                  <a:gd name="connsiteY0" fmla="*/ 0 h 26282"/>
                  <a:gd name="connsiteX1" fmla="*/ 13128 w 13128"/>
                  <a:gd name="connsiteY1" fmla="*/ 0 h 26282"/>
                  <a:gd name="connsiteX2" fmla="*/ 13128 w 13128"/>
                  <a:gd name="connsiteY2" fmla="*/ 26282 h 26282"/>
                  <a:gd name="connsiteX3" fmla="*/ 0 w 13128"/>
                  <a:gd name="connsiteY3" fmla="*/ 26282 h 26282"/>
                </a:gdLst>
                <a:ahLst/>
                <a:cxnLst>
                  <a:cxn ang="0">
                    <a:pos x="connsiteX0" y="connsiteY0"/>
                  </a:cxn>
                  <a:cxn ang="0">
                    <a:pos x="connsiteX1" y="connsiteY1"/>
                  </a:cxn>
                  <a:cxn ang="0">
                    <a:pos x="connsiteX2" y="connsiteY2"/>
                  </a:cxn>
                  <a:cxn ang="0">
                    <a:pos x="connsiteX3" y="connsiteY3"/>
                  </a:cxn>
                </a:cxnLst>
                <a:rect l="l" t="t" r="r" b="b"/>
                <a:pathLst>
                  <a:path w="13128" h="26282">
                    <a:moveTo>
                      <a:pt x="0" y="0"/>
                    </a:moveTo>
                    <a:lnTo>
                      <a:pt x="13128" y="0"/>
                    </a:lnTo>
                    <a:lnTo>
                      <a:pt x="13128" y="26282"/>
                    </a:lnTo>
                    <a:lnTo>
                      <a:pt x="0" y="26282"/>
                    </a:lnTo>
                    <a:close/>
                  </a:path>
                </a:pathLst>
              </a:custGeom>
              <a:solidFill>
                <a:schemeClr val="accent1"/>
              </a:solidFill>
              <a:ln w="2601" cap="flat">
                <a:noFill/>
                <a:prstDash val="solid"/>
                <a:miter/>
              </a:ln>
            </p:spPr>
            <p:txBody>
              <a:bodyPr rtlCol="0" anchor="ctr"/>
              <a:lstStyle/>
              <a:p>
                <a:endParaRPr lang="en-GB" dirty="0"/>
              </a:p>
            </p:txBody>
          </p:sp>
          <p:sp>
            <p:nvSpPr>
              <p:cNvPr id="596" name="Freihandform: Form 333">
                <a:extLst>
                  <a:ext uri="{FF2B5EF4-FFF2-40B4-BE49-F238E27FC236}">
                    <a16:creationId xmlns:a16="http://schemas.microsoft.com/office/drawing/2014/main" id="{FDDF2379-6196-41FC-9993-47C437907235}"/>
                  </a:ext>
                </a:extLst>
              </p:cNvPr>
              <p:cNvSpPr/>
              <p:nvPr/>
            </p:nvSpPr>
            <p:spPr>
              <a:xfrm>
                <a:off x="3572978" y="2716987"/>
                <a:ext cx="13128" cy="26282"/>
              </a:xfrm>
              <a:custGeom>
                <a:avLst/>
                <a:gdLst>
                  <a:gd name="connsiteX0" fmla="*/ 0 w 13128"/>
                  <a:gd name="connsiteY0" fmla="*/ 0 h 26282"/>
                  <a:gd name="connsiteX1" fmla="*/ 13128 w 13128"/>
                  <a:gd name="connsiteY1" fmla="*/ 0 h 26282"/>
                  <a:gd name="connsiteX2" fmla="*/ 13128 w 13128"/>
                  <a:gd name="connsiteY2" fmla="*/ 26282 h 26282"/>
                  <a:gd name="connsiteX3" fmla="*/ 0 w 13128"/>
                  <a:gd name="connsiteY3" fmla="*/ 26282 h 26282"/>
                </a:gdLst>
                <a:ahLst/>
                <a:cxnLst>
                  <a:cxn ang="0">
                    <a:pos x="connsiteX0" y="connsiteY0"/>
                  </a:cxn>
                  <a:cxn ang="0">
                    <a:pos x="connsiteX1" y="connsiteY1"/>
                  </a:cxn>
                  <a:cxn ang="0">
                    <a:pos x="connsiteX2" y="connsiteY2"/>
                  </a:cxn>
                  <a:cxn ang="0">
                    <a:pos x="connsiteX3" y="connsiteY3"/>
                  </a:cxn>
                </a:cxnLst>
                <a:rect l="l" t="t" r="r" b="b"/>
                <a:pathLst>
                  <a:path w="13128" h="26282">
                    <a:moveTo>
                      <a:pt x="0" y="0"/>
                    </a:moveTo>
                    <a:lnTo>
                      <a:pt x="13128" y="0"/>
                    </a:lnTo>
                    <a:lnTo>
                      <a:pt x="13128" y="26282"/>
                    </a:lnTo>
                    <a:lnTo>
                      <a:pt x="0" y="26282"/>
                    </a:lnTo>
                    <a:close/>
                  </a:path>
                </a:pathLst>
              </a:custGeom>
              <a:solidFill>
                <a:schemeClr val="accent1"/>
              </a:solidFill>
              <a:ln w="2601" cap="flat">
                <a:noFill/>
                <a:prstDash val="solid"/>
                <a:miter/>
              </a:ln>
            </p:spPr>
            <p:txBody>
              <a:bodyPr rtlCol="0" anchor="ctr"/>
              <a:lstStyle/>
              <a:p>
                <a:endParaRPr lang="en-GB" dirty="0"/>
              </a:p>
            </p:txBody>
          </p:sp>
        </p:grpSp>
      </p:grpSp>
      <p:grpSp>
        <p:nvGrpSpPr>
          <p:cNvPr id="211" name="Group 210">
            <a:extLst>
              <a:ext uri="{FF2B5EF4-FFF2-40B4-BE49-F238E27FC236}">
                <a16:creationId xmlns:a16="http://schemas.microsoft.com/office/drawing/2014/main" id="{9BB7701E-5C67-4AC8-8475-3E286A91D68D}"/>
              </a:ext>
            </a:extLst>
          </p:cNvPr>
          <p:cNvGrpSpPr/>
          <p:nvPr/>
        </p:nvGrpSpPr>
        <p:grpSpPr>
          <a:xfrm>
            <a:off x="8114324" y="2391526"/>
            <a:ext cx="456688" cy="432000"/>
            <a:chOff x="8113912" y="2391526"/>
            <a:chExt cx="456688" cy="432000"/>
          </a:xfrm>
          <a:solidFill>
            <a:schemeClr val="tx2"/>
          </a:solidFill>
        </p:grpSpPr>
        <p:grpSp>
          <p:nvGrpSpPr>
            <p:cNvPr id="598" name="Group 597">
              <a:extLst>
                <a:ext uri="{FF2B5EF4-FFF2-40B4-BE49-F238E27FC236}">
                  <a16:creationId xmlns:a16="http://schemas.microsoft.com/office/drawing/2014/main" id="{7C4935BE-9490-48ED-9E31-54FC06093065}"/>
                </a:ext>
              </a:extLst>
            </p:cNvPr>
            <p:cNvGrpSpPr/>
            <p:nvPr/>
          </p:nvGrpSpPr>
          <p:grpSpPr>
            <a:xfrm>
              <a:off x="8113912" y="2391526"/>
              <a:ext cx="456688" cy="432000"/>
              <a:chOff x="5280098" y="2473358"/>
              <a:chExt cx="478251" cy="452397"/>
            </a:xfrm>
            <a:grpFill/>
          </p:grpSpPr>
          <p:grpSp>
            <p:nvGrpSpPr>
              <p:cNvPr id="604" name="Grafik 191">
                <a:extLst>
                  <a:ext uri="{FF2B5EF4-FFF2-40B4-BE49-F238E27FC236}">
                    <a16:creationId xmlns:a16="http://schemas.microsoft.com/office/drawing/2014/main" id="{B94F43A6-F231-462B-907D-37C6793AB9B3}"/>
                  </a:ext>
                </a:extLst>
              </p:cNvPr>
              <p:cNvGrpSpPr/>
              <p:nvPr/>
            </p:nvGrpSpPr>
            <p:grpSpPr>
              <a:xfrm>
                <a:off x="5415083" y="2473358"/>
                <a:ext cx="214043" cy="213995"/>
                <a:chOff x="5415083" y="2473358"/>
                <a:chExt cx="214043" cy="213995"/>
              </a:xfrm>
              <a:grpFill/>
            </p:grpSpPr>
            <p:grpSp>
              <p:nvGrpSpPr>
                <p:cNvPr id="611" name="Grafik 191">
                  <a:extLst>
                    <a:ext uri="{FF2B5EF4-FFF2-40B4-BE49-F238E27FC236}">
                      <a16:creationId xmlns:a16="http://schemas.microsoft.com/office/drawing/2014/main" id="{377E2626-835D-4B08-B545-1A86091E56FF}"/>
                    </a:ext>
                  </a:extLst>
                </p:cNvPr>
                <p:cNvGrpSpPr/>
                <p:nvPr/>
              </p:nvGrpSpPr>
              <p:grpSpPr>
                <a:xfrm>
                  <a:off x="5415083" y="2473358"/>
                  <a:ext cx="214043" cy="213995"/>
                  <a:chOff x="5415083" y="2473358"/>
                  <a:chExt cx="214043" cy="213995"/>
                </a:xfrm>
                <a:grpFill/>
              </p:grpSpPr>
              <p:sp>
                <p:nvSpPr>
                  <p:cNvPr id="616" name="Freihandform: Form 892">
                    <a:extLst>
                      <a:ext uri="{FF2B5EF4-FFF2-40B4-BE49-F238E27FC236}">
                        <a16:creationId xmlns:a16="http://schemas.microsoft.com/office/drawing/2014/main" id="{049C7B14-4990-4854-B320-0EC41F6C1772}"/>
                      </a:ext>
                    </a:extLst>
                  </p:cNvPr>
                  <p:cNvSpPr/>
                  <p:nvPr/>
                </p:nvSpPr>
                <p:spPr>
                  <a:xfrm>
                    <a:off x="5516189" y="2574578"/>
                    <a:ext cx="112937" cy="112775"/>
                  </a:xfrm>
                  <a:custGeom>
                    <a:avLst/>
                    <a:gdLst>
                      <a:gd name="connsiteX0" fmla="*/ 69888 w 112937"/>
                      <a:gd name="connsiteY0" fmla="*/ 112775 h 112775"/>
                      <a:gd name="connsiteX1" fmla="*/ 65326 w 112937"/>
                      <a:gd name="connsiteY1" fmla="*/ 110893 h 112775"/>
                      <a:gd name="connsiteX2" fmla="*/ 1901 w 112937"/>
                      <a:gd name="connsiteY2" fmla="*/ 47467 h 112775"/>
                      <a:gd name="connsiteX3" fmla="*/ 1901 w 112937"/>
                      <a:gd name="connsiteY3" fmla="*/ 38320 h 112775"/>
                      <a:gd name="connsiteX4" fmla="*/ 11048 w 112937"/>
                      <a:gd name="connsiteY4" fmla="*/ 38320 h 112775"/>
                      <a:gd name="connsiteX5" fmla="*/ 69888 w 112937"/>
                      <a:gd name="connsiteY5" fmla="*/ 97160 h 112775"/>
                      <a:gd name="connsiteX6" fmla="*/ 97305 w 112937"/>
                      <a:gd name="connsiteY6" fmla="*/ 69743 h 112775"/>
                      <a:gd name="connsiteX7" fmla="*/ 38609 w 112937"/>
                      <a:gd name="connsiteY7" fmla="*/ 11048 h 112775"/>
                      <a:gd name="connsiteX8" fmla="*/ 38609 w 112937"/>
                      <a:gd name="connsiteY8" fmla="*/ 1901 h 112775"/>
                      <a:gd name="connsiteX9" fmla="*/ 47756 w 112937"/>
                      <a:gd name="connsiteY9" fmla="*/ 1901 h 112775"/>
                      <a:gd name="connsiteX10" fmla="*/ 111037 w 112937"/>
                      <a:gd name="connsiteY10" fmla="*/ 65182 h 112775"/>
                      <a:gd name="connsiteX11" fmla="*/ 111037 w 112937"/>
                      <a:gd name="connsiteY11" fmla="*/ 74329 h 112775"/>
                      <a:gd name="connsiteX12" fmla="*/ 74473 w 112937"/>
                      <a:gd name="connsiteY12" fmla="*/ 110893 h 112775"/>
                      <a:gd name="connsiteX13" fmla="*/ 69888 w 112937"/>
                      <a:gd name="connsiteY13" fmla="*/ 112775 h 11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937" h="112775">
                        <a:moveTo>
                          <a:pt x="69888" y="112775"/>
                        </a:moveTo>
                        <a:cubicBezTo>
                          <a:pt x="68223" y="112775"/>
                          <a:pt x="66581" y="112148"/>
                          <a:pt x="65326" y="110893"/>
                        </a:cubicBezTo>
                        <a:lnTo>
                          <a:pt x="1901" y="47467"/>
                        </a:lnTo>
                        <a:cubicBezTo>
                          <a:pt x="-634" y="44933"/>
                          <a:pt x="-634" y="40854"/>
                          <a:pt x="1901" y="38320"/>
                        </a:cubicBezTo>
                        <a:cubicBezTo>
                          <a:pt x="4435" y="35786"/>
                          <a:pt x="8513" y="35786"/>
                          <a:pt x="11048" y="38320"/>
                        </a:cubicBezTo>
                        <a:lnTo>
                          <a:pt x="69888" y="97160"/>
                        </a:lnTo>
                        <a:lnTo>
                          <a:pt x="97305" y="69743"/>
                        </a:lnTo>
                        <a:lnTo>
                          <a:pt x="38609" y="11048"/>
                        </a:lnTo>
                        <a:cubicBezTo>
                          <a:pt x="36075" y="8513"/>
                          <a:pt x="36075" y="4435"/>
                          <a:pt x="38609" y="1901"/>
                        </a:cubicBezTo>
                        <a:cubicBezTo>
                          <a:pt x="41143" y="-634"/>
                          <a:pt x="45222" y="-634"/>
                          <a:pt x="47756" y="1901"/>
                        </a:cubicBezTo>
                        <a:lnTo>
                          <a:pt x="111037" y="65182"/>
                        </a:lnTo>
                        <a:cubicBezTo>
                          <a:pt x="113571" y="67716"/>
                          <a:pt x="113571" y="71794"/>
                          <a:pt x="111037" y="74329"/>
                        </a:cubicBezTo>
                        <a:lnTo>
                          <a:pt x="74473" y="110893"/>
                        </a:lnTo>
                        <a:cubicBezTo>
                          <a:pt x="73194" y="112148"/>
                          <a:pt x="71529" y="112775"/>
                          <a:pt x="69888" y="112775"/>
                        </a:cubicBezTo>
                        <a:close/>
                      </a:path>
                    </a:pathLst>
                  </a:custGeom>
                  <a:grpFill/>
                  <a:ln w="2408" cap="flat">
                    <a:noFill/>
                    <a:prstDash val="solid"/>
                    <a:miter/>
                  </a:ln>
                </p:spPr>
                <p:txBody>
                  <a:bodyPr rtlCol="0" anchor="ctr"/>
                  <a:lstStyle/>
                  <a:p>
                    <a:endParaRPr lang="en-GB" dirty="0"/>
                  </a:p>
                </p:txBody>
              </p:sp>
              <p:sp>
                <p:nvSpPr>
                  <p:cNvPr id="617" name="Freihandform: Form 893">
                    <a:extLst>
                      <a:ext uri="{FF2B5EF4-FFF2-40B4-BE49-F238E27FC236}">
                        <a16:creationId xmlns:a16="http://schemas.microsoft.com/office/drawing/2014/main" id="{F75556AE-FE83-49B0-A618-EE1C84CCDE0D}"/>
                      </a:ext>
                    </a:extLst>
                  </p:cNvPr>
                  <p:cNvSpPr/>
                  <p:nvPr/>
                </p:nvSpPr>
                <p:spPr>
                  <a:xfrm>
                    <a:off x="5415083" y="2473358"/>
                    <a:ext cx="113305" cy="113064"/>
                  </a:xfrm>
                  <a:custGeom>
                    <a:avLst/>
                    <a:gdLst>
                      <a:gd name="connsiteX0" fmla="*/ 69894 w 113305"/>
                      <a:gd name="connsiteY0" fmla="*/ 113065 h 113064"/>
                      <a:gd name="connsiteX1" fmla="*/ 65308 w 113305"/>
                      <a:gd name="connsiteY1" fmla="*/ 111158 h 113064"/>
                      <a:gd name="connsiteX2" fmla="*/ 1883 w 113305"/>
                      <a:gd name="connsiteY2" fmla="*/ 47587 h 113064"/>
                      <a:gd name="connsiteX3" fmla="*/ 1883 w 113305"/>
                      <a:gd name="connsiteY3" fmla="*/ 38465 h 113064"/>
                      <a:gd name="connsiteX4" fmla="*/ 38446 w 113305"/>
                      <a:gd name="connsiteY4" fmla="*/ 1901 h 113064"/>
                      <a:gd name="connsiteX5" fmla="*/ 47593 w 113305"/>
                      <a:gd name="connsiteY5" fmla="*/ 1901 h 113064"/>
                      <a:gd name="connsiteX6" fmla="*/ 111405 w 113305"/>
                      <a:gd name="connsiteY6" fmla="*/ 65713 h 113064"/>
                      <a:gd name="connsiteX7" fmla="*/ 111405 w 113305"/>
                      <a:gd name="connsiteY7" fmla="*/ 74860 h 113064"/>
                      <a:gd name="connsiteX8" fmla="*/ 102258 w 113305"/>
                      <a:gd name="connsiteY8" fmla="*/ 74860 h 113064"/>
                      <a:gd name="connsiteX9" fmla="*/ 43008 w 113305"/>
                      <a:gd name="connsiteY9" fmla="*/ 15609 h 113064"/>
                      <a:gd name="connsiteX10" fmla="*/ 15591 w 113305"/>
                      <a:gd name="connsiteY10" fmla="*/ 43026 h 113064"/>
                      <a:gd name="connsiteX11" fmla="*/ 74455 w 113305"/>
                      <a:gd name="connsiteY11" fmla="*/ 102035 h 113064"/>
                      <a:gd name="connsiteX12" fmla="*/ 74431 w 113305"/>
                      <a:gd name="connsiteY12" fmla="*/ 111182 h 113064"/>
                      <a:gd name="connsiteX13" fmla="*/ 69894 w 113305"/>
                      <a:gd name="connsiteY13" fmla="*/ 113065 h 11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305" h="113064">
                        <a:moveTo>
                          <a:pt x="69894" y="113065"/>
                        </a:moveTo>
                        <a:cubicBezTo>
                          <a:pt x="68229" y="113065"/>
                          <a:pt x="66587" y="112437"/>
                          <a:pt x="65308" y="111158"/>
                        </a:cubicBezTo>
                        <a:lnTo>
                          <a:pt x="1883" y="47587"/>
                        </a:lnTo>
                        <a:cubicBezTo>
                          <a:pt x="-628" y="45053"/>
                          <a:pt x="-628" y="40975"/>
                          <a:pt x="1883" y="38465"/>
                        </a:cubicBezTo>
                        <a:lnTo>
                          <a:pt x="38446" y="1901"/>
                        </a:lnTo>
                        <a:cubicBezTo>
                          <a:pt x="40981" y="-634"/>
                          <a:pt x="45059" y="-634"/>
                          <a:pt x="47593" y="1901"/>
                        </a:cubicBezTo>
                        <a:lnTo>
                          <a:pt x="111405" y="65713"/>
                        </a:lnTo>
                        <a:cubicBezTo>
                          <a:pt x="113940" y="68247"/>
                          <a:pt x="113940" y="72325"/>
                          <a:pt x="111405" y="74860"/>
                        </a:cubicBezTo>
                        <a:cubicBezTo>
                          <a:pt x="108871" y="77394"/>
                          <a:pt x="104792" y="77394"/>
                          <a:pt x="102258" y="74860"/>
                        </a:cubicBezTo>
                        <a:lnTo>
                          <a:pt x="43008" y="15609"/>
                        </a:lnTo>
                        <a:lnTo>
                          <a:pt x="15591" y="43026"/>
                        </a:lnTo>
                        <a:lnTo>
                          <a:pt x="74455" y="102035"/>
                        </a:lnTo>
                        <a:cubicBezTo>
                          <a:pt x="76965" y="104569"/>
                          <a:pt x="76965" y="108648"/>
                          <a:pt x="74431" y="111182"/>
                        </a:cubicBezTo>
                        <a:cubicBezTo>
                          <a:pt x="73200" y="112437"/>
                          <a:pt x="71535" y="113065"/>
                          <a:pt x="69894" y="113065"/>
                        </a:cubicBezTo>
                        <a:close/>
                      </a:path>
                    </a:pathLst>
                  </a:custGeom>
                  <a:grpFill/>
                  <a:ln w="2408" cap="flat">
                    <a:noFill/>
                    <a:prstDash val="solid"/>
                    <a:miter/>
                  </a:ln>
                </p:spPr>
                <p:txBody>
                  <a:bodyPr rtlCol="0" anchor="ctr"/>
                  <a:lstStyle/>
                  <a:p>
                    <a:endParaRPr lang="en-GB" dirty="0"/>
                  </a:p>
                </p:txBody>
              </p:sp>
              <p:sp>
                <p:nvSpPr>
                  <p:cNvPr id="618" name="Freihandform: Form 894">
                    <a:extLst>
                      <a:ext uri="{FF2B5EF4-FFF2-40B4-BE49-F238E27FC236}">
                        <a16:creationId xmlns:a16="http://schemas.microsoft.com/office/drawing/2014/main" id="{49F9B036-1A4E-4069-AD74-B5362C2CC1FD}"/>
                      </a:ext>
                    </a:extLst>
                  </p:cNvPr>
                  <p:cNvSpPr/>
                  <p:nvPr/>
                </p:nvSpPr>
                <p:spPr>
                  <a:xfrm rot="-2700000">
                    <a:off x="5446107" y="2530489"/>
                    <a:ext cx="19379" cy="12911"/>
                  </a:xfrm>
                  <a:custGeom>
                    <a:avLst/>
                    <a:gdLst>
                      <a:gd name="connsiteX0" fmla="*/ 0 w 19379"/>
                      <a:gd name="connsiteY0" fmla="*/ 0 h 12911"/>
                      <a:gd name="connsiteX1" fmla="*/ 19380 w 19379"/>
                      <a:gd name="connsiteY1" fmla="*/ 0 h 12911"/>
                      <a:gd name="connsiteX2" fmla="*/ 19380 w 19379"/>
                      <a:gd name="connsiteY2" fmla="*/ 12912 h 12911"/>
                      <a:gd name="connsiteX3" fmla="*/ 0 w 19379"/>
                      <a:gd name="connsiteY3" fmla="*/ 12912 h 12911"/>
                    </a:gdLst>
                    <a:ahLst/>
                    <a:cxnLst>
                      <a:cxn ang="0">
                        <a:pos x="connsiteX0" y="connsiteY0"/>
                      </a:cxn>
                      <a:cxn ang="0">
                        <a:pos x="connsiteX1" y="connsiteY1"/>
                      </a:cxn>
                      <a:cxn ang="0">
                        <a:pos x="connsiteX2" y="connsiteY2"/>
                      </a:cxn>
                      <a:cxn ang="0">
                        <a:pos x="connsiteX3" y="connsiteY3"/>
                      </a:cxn>
                    </a:cxnLst>
                    <a:rect l="l" t="t" r="r" b="b"/>
                    <a:pathLst>
                      <a:path w="19379" h="12911">
                        <a:moveTo>
                          <a:pt x="0" y="0"/>
                        </a:moveTo>
                        <a:lnTo>
                          <a:pt x="19380" y="0"/>
                        </a:lnTo>
                        <a:lnTo>
                          <a:pt x="19380" y="12912"/>
                        </a:lnTo>
                        <a:lnTo>
                          <a:pt x="0" y="12912"/>
                        </a:lnTo>
                        <a:close/>
                      </a:path>
                    </a:pathLst>
                  </a:custGeom>
                  <a:grpFill/>
                  <a:ln w="2408" cap="flat">
                    <a:noFill/>
                    <a:prstDash val="solid"/>
                    <a:miter/>
                  </a:ln>
                </p:spPr>
                <p:txBody>
                  <a:bodyPr rtlCol="0" anchor="ctr"/>
                  <a:lstStyle/>
                  <a:p>
                    <a:endParaRPr lang="en-GB" dirty="0"/>
                  </a:p>
                </p:txBody>
              </p:sp>
              <p:sp>
                <p:nvSpPr>
                  <p:cNvPr id="619" name="Freihandform: Form 895">
                    <a:extLst>
                      <a:ext uri="{FF2B5EF4-FFF2-40B4-BE49-F238E27FC236}">
                        <a16:creationId xmlns:a16="http://schemas.microsoft.com/office/drawing/2014/main" id="{CC5E64FA-DD1E-46B7-8B68-215E1C9DE702}"/>
                      </a:ext>
                    </a:extLst>
                  </p:cNvPr>
                  <p:cNvSpPr/>
                  <p:nvPr/>
                </p:nvSpPr>
                <p:spPr>
                  <a:xfrm rot="-2700000">
                    <a:off x="5555805" y="2640164"/>
                    <a:ext cx="19379" cy="12911"/>
                  </a:xfrm>
                  <a:custGeom>
                    <a:avLst/>
                    <a:gdLst>
                      <a:gd name="connsiteX0" fmla="*/ 0 w 19379"/>
                      <a:gd name="connsiteY0" fmla="*/ 0 h 12911"/>
                      <a:gd name="connsiteX1" fmla="*/ 19380 w 19379"/>
                      <a:gd name="connsiteY1" fmla="*/ 0 h 12911"/>
                      <a:gd name="connsiteX2" fmla="*/ 19380 w 19379"/>
                      <a:gd name="connsiteY2" fmla="*/ 12912 h 12911"/>
                      <a:gd name="connsiteX3" fmla="*/ 0 w 19379"/>
                      <a:gd name="connsiteY3" fmla="*/ 12912 h 12911"/>
                    </a:gdLst>
                    <a:ahLst/>
                    <a:cxnLst>
                      <a:cxn ang="0">
                        <a:pos x="connsiteX0" y="connsiteY0"/>
                      </a:cxn>
                      <a:cxn ang="0">
                        <a:pos x="connsiteX1" y="connsiteY1"/>
                      </a:cxn>
                      <a:cxn ang="0">
                        <a:pos x="connsiteX2" y="connsiteY2"/>
                      </a:cxn>
                      <a:cxn ang="0">
                        <a:pos x="connsiteX3" y="connsiteY3"/>
                      </a:cxn>
                    </a:cxnLst>
                    <a:rect l="l" t="t" r="r" b="b"/>
                    <a:pathLst>
                      <a:path w="19379" h="12911">
                        <a:moveTo>
                          <a:pt x="0" y="0"/>
                        </a:moveTo>
                        <a:lnTo>
                          <a:pt x="19380" y="0"/>
                        </a:lnTo>
                        <a:lnTo>
                          <a:pt x="19380" y="12912"/>
                        </a:lnTo>
                        <a:lnTo>
                          <a:pt x="0" y="12912"/>
                        </a:lnTo>
                        <a:close/>
                      </a:path>
                    </a:pathLst>
                  </a:custGeom>
                  <a:grpFill/>
                  <a:ln w="2408" cap="flat">
                    <a:noFill/>
                    <a:prstDash val="solid"/>
                    <a:miter/>
                  </a:ln>
                </p:spPr>
                <p:txBody>
                  <a:bodyPr rtlCol="0" anchor="ctr"/>
                  <a:lstStyle/>
                  <a:p>
                    <a:endParaRPr lang="en-GB" dirty="0"/>
                  </a:p>
                </p:txBody>
              </p:sp>
            </p:grpSp>
            <p:grpSp>
              <p:nvGrpSpPr>
                <p:cNvPr id="612" name="Grafik 191">
                  <a:extLst>
                    <a:ext uri="{FF2B5EF4-FFF2-40B4-BE49-F238E27FC236}">
                      <a16:creationId xmlns:a16="http://schemas.microsoft.com/office/drawing/2014/main" id="{A91685BF-64DB-4B39-AE24-9A9515F2941D}"/>
                    </a:ext>
                  </a:extLst>
                </p:cNvPr>
                <p:cNvGrpSpPr/>
                <p:nvPr/>
              </p:nvGrpSpPr>
              <p:grpSpPr>
                <a:xfrm>
                  <a:off x="5424236" y="2482490"/>
                  <a:ext cx="195710" cy="195740"/>
                  <a:chOff x="5424236" y="2482490"/>
                  <a:chExt cx="195710" cy="195740"/>
                </a:xfrm>
                <a:grpFill/>
              </p:grpSpPr>
              <p:sp>
                <p:nvSpPr>
                  <p:cNvPr id="613" name="Freihandform: Form 897">
                    <a:extLst>
                      <a:ext uri="{FF2B5EF4-FFF2-40B4-BE49-F238E27FC236}">
                        <a16:creationId xmlns:a16="http://schemas.microsoft.com/office/drawing/2014/main" id="{D1A3451E-FB2E-4A1B-B237-DD94B4C2F1E7}"/>
                      </a:ext>
                    </a:extLst>
                  </p:cNvPr>
                  <p:cNvSpPr/>
                  <p:nvPr/>
                </p:nvSpPr>
                <p:spPr>
                  <a:xfrm>
                    <a:off x="5424236" y="2491652"/>
                    <a:ext cx="186596" cy="186578"/>
                  </a:xfrm>
                  <a:custGeom>
                    <a:avLst/>
                    <a:gdLst>
                      <a:gd name="connsiteX0" fmla="*/ 43026 w 186596"/>
                      <a:gd name="connsiteY0" fmla="*/ 186579 h 186578"/>
                      <a:gd name="connsiteX1" fmla="*/ 38465 w 186596"/>
                      <a:gd name="connsiteY1" fmla="*/ 184696 h 186578"/>
                      <a:gd name="connsiteX2" fmla="*/ 1901 w 186596"/>
                      <a:gd name="connsiteY2" fmla="*/ 148132 h 186578"/>
                      <a:gd name="connsiteX3" fmla="*/ 1901 w 186596"/>
                      <a:gd name="connsiteY3" fmla="*/ 138985 h 186578"/>
                      <a:gd name="connsiteX4" fmla="*/ 138985 w 186596"/>
                      <a:gd name="connsiteY4" fmla="*/ 1901 h 186578"/>
                      <a:gd name="connsiteX5" fmla="*/ 148132 w 186596"/>
                      <a:gd name="connsiteY5" fmla="*/ 1901 h 186578"/>
                      <a:gd name="connsiteX6" fmla="*/ 184696 w 186596"/>
                      <a:gd name="connsiteY6" fmla="*/ 38465 h 186578"/>
                      <a:gd name="connsiteX7" fmla="*/ 184696 w 186596"/>
                      <a:gd name="connsiteY7" fmla="*/ 47612 h 186578"/>
                      <a:gd name="connsiteX8" fmla="*/ 47612 w 186596"/>
                      <a:gd name="connsiteY8" fmla="*/ 184696 h 186578"/>
                      <a:gd name="connsiteX9" fmla="*/ 43026 w 186596"/>
                      <a:gd name="connsiteY9" fmla="*/ 186579 h 186578"/>
                      <a:gd name="connsiteX10" fmla="*/ 15585 w 186596"/>
                      <a:gd name="connsiteY10" fmla="*/ 143547 h 186578"/>
                      <a:gd name="connsiteX11" fmla="*/ 43002 w 186596"/>
                      <a:gd name="connsiteY11" fmla="*/ 170964 h 186578"/>
                      <a:gd name="connsiteX12" fmla="*/ 170964 w 186596"/>
                      <a:gd name="connsiteY12" fmla="*/ 43002 h 186578"/>
                      <a:gd name="connsiteX13" fmla="*/ 143547 w 186596"/>
                      <a:gd name="connsiteY13" fmla="*/ 15585 h 186578"/>
                      <a:gd name="connsiteX14" fmla="*/ 15585 w 186596"/>
                      <a:gd name="connsiteY14" fmla="*/ 143547 h 186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6596" h="186578">
                        <a:moveTo>
                          <a:pt x="43026" y="186579"/>
                        </a:moveTo>
                        <a:cubicBezTo>
                          <a:pt x="41361" y="186579"/>
                          <a:pt x="39720" y="185951"/>
                          <a:pt x="38465" y="184696"/>
                        </a:cubicBezTo>
                        <a:lnTo>
                          <a:pt x="1901" y="148132"/>
                        </a:lnTo>
                        <a:cubicBezTo>
                          <a:pt x="-634" y="145598"/>
                          <a:pt x="-634" y="141519"/>
                          <a:pt x="1901" y="138985"/>
                        </a:cubicBezTo>
                        <a:lnTo>
                          <a:pt x="138985" y="1901"/>
                        </a:lnTo>
                        <a:cubicBezTo>
                          <a:pt x="141519" y="-634"/>
                          <a:pt x="145598" y="-634"/>
                          <a:pt x="148132" y="1901"/>
                        </a:cubicBezTo>
                        <a:lnTo>
                          <a:pt x="184696" y="38465"/>
                        </a:lnTo>
                        <a:cubicBezTo>
                          <a:pt x="187230" y="40999"/>
                          <a:pt x="187230" y="45077"/>
                          <a:pt x="184696" y="47612"/>
                        </a:cubicBezTo>
                        <a:lnTo>
                          <a:pt x="47612" y="184696"/>
                        </a:lnTo>
                        <a:cubicBezTo>
                          <a:pt x="46332" y="185927"/>
                          <a:pt x="44667" y="186579"/>
                          <a:pt x="43026" y="186579"/>
                        </a:cubicBezTo>
                        <a:close/>
                        <a:moveTo>
                          <a:pt x="15585" y="143547"/>
                        </a:moveTo>
                        <a:lnTo>
                          <a:pt x="43002" y="170964"/>
                        </a:lnTo>
                        <a:lnTo>
                          <a:pt x="170964" y="43002"/>
                        </a:lnTo>
                        <a:lnTo>
                          <a:pt x="143547" y="15585"/>
                        </a:lnTo>
                        <a:lnTo>
                          <a:pt x="15585" y="143547"/>
                        </a:lnTo>
                        <a:close/>
                      </a:path>
                    </a:pathLst>
                  </a:custGeom>
                  <a:grpFill/>
                  <a:ln w="2408" cap="flat">
                    <a:noFill/>
                    <a:prstDash val="solid"/>
                    <a:miter/>
                  </a:ln>
                </p:spPr>
                <p:txBody>
                  <a:bodyPr rtlCol="0" anchor="ctr"/>
                  <a:lstStyle/>
                  <a:p>
                    <a:endParaRPr lang="en-GB" dirty="0"/>
                  </a:p>
                </p:txBody>
              </p:sp>
              <p:sp>
                <p:nvSpPr>
                  <p:cNvPr id="614" name="Freihandform: Form 898">
                    <a:extLst>
                      <a:ext uri="{FF2B5EF4-FFF2-40B4-BE49-F238E27FC236}">
                        <a16:creationId xmlns:a16="http://schemas.microsoft.com/office/drawing/2014/main" id="{F0A5FCE5-8177-4532-A028-9F0F4724726B}"/>
                      </a:ext>
                    </a:extLst>
                  </p:cNvPr>
                  <p:cNvSpPr/>
                  <p:nvPr/>
                </p:nvSpPr>
                <p:spPr>
                  <a:xfrm>
                    <a:off x="5561322" y="2482490"/>
                    <a:ext cx="58624" cy="58631"/>
                  </a:xfrm>
                  <a:custGeom>
                    <a:avLst/>
                    <a:gdLst>
                      <a:gd name="connsiteX0" fmla="*/ 43024 w 58624"/>
                      <a:gd name="connsiteY0" fmla="*/ 58632 h 58631"/>
                      <a:gd name="connsiteX1" fmla="*/ 38463 w 58624"/>
                      <a:gd name="connsiteY1" fmla="*/ 56749 h 58631"/>
                      <a:gd name="connsiteX2" fmla="*/ 1899 w 58624"/>
                      <a:gd name="connsiteY2" fmla="*/ 20185 h 58631"/>
                      <a:gd name="connsiteX3" fmla="*/ 282 w 58624"/>
                      <a:gd name="connsiteY3" fmla="*/ 13742 h 58631"/>
                      <a:gd name="connsiteX4" fmla="*/ 5205 w 58624"/>
                      <a:gd name="connsiteY4" fmla="*/ 9277 h 58631"/>
                      <a:gd name="connsiteX5" fmla="*/ 50892 w 58624"/>
                      <a:gd name="connsiteY5" fmla="*/ 130 h 58631"/>
                      <a:gd name="connsiteX6" fmla="*/ 56733 w 58624"/>
                      <a:gd name="connsiteY6" fmla="*/ 1891 h 58631"/>
                      <a:gd name="connsiteX7" fmla="*/ 58495 w 58624"/>
                      <a:gd name="connsiteY7" fmla="*/ 7732 h 58631"/>
                      <a:gd name="connsiteX8" fmla="*/ 49348 w 58624"/>
                      <a:gd name="connsiteY8" fmla="*/ 53419 h 58631"/>
                      <a:gd name="connsiteX9" fmla="*/ 44883 w 58624"/>
                      <a:gd name="connsiteY9" fmla="*/ 58342 h 58631"/>
                      <a:gd name="connsiteX10" fmla="*/ 43024 w 58624"/>
                      <a:gd name="connsiteY10" fmla="*/ 58632 h 58631"/>
                      <a:gd name="connsiteX11" fmla="*/ 19565 w 58624"/>
                      <a:gd name="connsiteY11" fmla="*/ 19582 h 58631"/>
                      <a:gd name="connsiteX12" fmla="*/ 39042 w 58624"/>
                      <a:gd name="connsiteY12" fmla="*/ 39059 h 58631"/>
                      <a:gd name="connsiteX13" fmla="*/ 43917 w 58624"/>
                      <a:gd name="connsiteY13" fmla="*/ 14707 h 58631"/>
                      <a:gd name="connsiteX14" fmla="*/ 19565 w 58624"/>
                      <a:gd name="connsiteY14" fmla="*/ 19582 h 5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624" h="58631">
                        <a:moveTo>
                          <a:pt x="43024" y="58632"/>
                        </a:moveTo>
                        <a:cubicBezTo>
                          <a:pt x="41335" y="58632"/>
                          <a:pt x="39694" y="57980"/>
                          <a:pt x="38463" y="56749"/>
                        </a:cubicBezTo>
                        <a:lnTo>
                          <a:pt x="1899" y="20185"/>
                        </a:lnTo>
                        <a:cubicBezTo>
                          <a:pt x="209" y="18496"/>
                          <a:pt x="-418" y="16034"/>
                          <a:pt x="282" y="13742"/>
                        </a:cubicBezTo>
                        <a:cubicBezTo>
                          <a:pt x="982" y="11449"/>
                          <a:pt x="2864" y="9735"/>
                          <a:pt x="5205" y="9277"/>
                        </a:cubicBezTo>
                        <a:lnTo>
                          <a:pt x="50892" y="130"/>
                        </a:lnTo>
                        <a:cubicBezTo>
                          <a:pt x="53016" y="-305"/>
                          <a:pt x="55212" y="371"/>
                          <a:pt x="56733" y="1891"/>
                        </a:cubicBezTo>
                        <a:cubicBezTo>
                          <a:pt x="58253" y="3412"/>
                          <a:pt x="58929" y="5608"/>
                          <a:pt x="58495" y="7732"/>
                        </a:cubicBezTo>
                        <a:lnTo>
                          <a:pt x="49348" y="53419"/>
                        </a:lnTo>
                        <a:cubicBezTo>
                          <a:pt x="48889" y="55760"/>
                          <a:pt x="47175" y="57642"/>
                          <a:pt x="44883" y="58342"/>
                        </a:cubicBezTo>
                        <a:cubicBezTo>
                          <a:pt x="44279" y="58535"/>
                          <a:pt x="43652" y="58632"/>
                          <a:pt x="43024" y="58632"/>
                        </a:cubicBezTo>
                        <a:close/>
                        <a:moveTo>
                          <a:pt x="19565" y="19582"/>
                        </a:moveTo>
                        <a:lnTo>
                          <a:pt x="39042" y="39059"/>
                        </a:lnTo>
                        <a:lnTo>
                          <a:pt x="43917" y="14707"/>
                        </a:lnTo>
                        <a:lnTo>
                          <a:pt x="19565" y="19582"/>
                        </a:lnTo>
                        <a:close/>
                      </a:path>
                    </a:pathLst>
                  </a:custGeom>
                  <a:grpFill/>
                  <a:ln w="2408" cap="flat">
                    <a:noFill/>
                    <a:prstDash val="solid"/>
                    <a:miter/>
                  </a:ln>
                </p:spPr>
                <p:txBody>
                  <a:bodyPr rtlCol="0" anchor="ctr"/>
                  <a:lstStyle/>
                  <a:p>
                    <a:endParaRPr lang="en-GB" dirty="0"/>
                  </a:p>
                </p:txBody>
              </p:sp>
              <p:sp>
                <p:nvSpPr>
                  <p:cNvPr id="615" name="Freihandform: Form 899">
                    <a:extLst>
                      <a:ext uri="{FF2B5EF4-FFF2-40B4-BE49-F238E27FC236}">
                        <a16:creationId xmlns:a16="http://schemas.microsoft.com/office/drawing/2014/main" id="{44FF2E7C-CDEC-4A1B-BBE7-269FACA52B7D}"/>
                      </a:ext>
                    </a:extLst>
                  </p:cNvPr>
                  <p:cNvSpPr/>
                  <p:nvPr/>
                </p:nvSpPr>
                <p:spPr>
                  <a:xfrm>
                    <a:off x="5442506" y="2610442"/>
                    <a:ext cx="49512" cy="49494"/>
                  </a:xfrm>
                  <a:custGeom>
                    <a:avLst/>
                    <a:gdLst>
                      <a:gd name="connsiteX0" fmla="*/ 43026 w 49512"/>
                      <a:gd name="connsiteY0" fmla="*/ 49494 h 49494"/>
                      <a:gd name="connsiteX1" fmla="*/ 38465 w 49512"/>
                      <a:gd name="connsiteY1" fmla="*/ 47612 h 49494"/>
                      <a:gd name="connsiteX2" fmla="*/ 1901 w 49512"/>
                      <a:gd name="connsiteY2" fmla="*/ 11048 h 49494"/>
                      <a:gd name="connsiteX3" fmla="*/ 1901 w 49512"/>
                      <a:gd name="connsiteY3" fmla="*/ 1901 h 49494"/>
                      <a:gd name="connsiteX4" fmla="*/ 11048 w 49512"/>
                      <a:gd name="connsiteY4" fmla="*/ 1901 h 49494"/>
                      <a:gd name="connsiteX5" fmla="*/ 47612 w 49512"/>
                      <a:gd name="connsiteY5" fmla="*/ 38465 h 49494"/>
                      <a:gd name="connsiteX6" fmla="*/ 47612 w 49512"/>
                      <a:gd name="connsiteY6" fmla="*/ 47612 h 49494"/>
                      <a:gd name="connsiteX7" fmla="*/ 43026 w 49512"/>
                      <a:gd name="connsiteY7" fmla="*/ 49494 h 49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12" h="49494">
                        <a:moveTo>
                          <a:pt x="43026" y="49494"/>
                        </a:moveTo>
                        <a:cubicBezTo>
                          <a:pt x="41385" y="49494"/>
                          <a:pt x="39720" y="48867"/>
                          <a:pt x="38465" y="47612"/>
                        </a:cubicBezTo>
                        <a:lnTo>
                          <a:pt x="1901" y="11048"/>
                        </a:lnTo>
                        <a:cubicBezTo>
                          <a:pt x="-634" y="8513"/>
                          <a:pt x="-634" y="4435"/>
                          <a:pt x="1901" y="1901"/>
                        </a:cubicBezTo>
                        <a:cubicBezTo>
                          <a:pt x="4435" y="-634"/>
                          <a:pt x="8513" y="-634"/>
                          <a:pt x="11048" y="1901"/>
                        </a:cubicBezTo>
                        <a:lnTo>
                          <a:pt x="47612" y="38465"/>
                        </a:lnTo>
                        <a:cubicBezTo>
                          <a:pt x="50146" y="40999"/>
                          <a:pt x="50146" y="45077"/>
                          <a:pt x="47612" y="47612"/>
                        </a:cubicBezTo>
                        <a:cubicBezTo>
                          <a:pt x="46332" y="48867"/>
                          <a:pt x="44667" y="49494"/>
                          <a:pt x="43026" y="49494"/>
                        </a:cubicBezTo>
                        <a:close/>
                      </a:path>
                    </a:pathLst>
                  </a:custGeom>
                  <a:grpFill/>
                  <a:ln w="2408" cap="flat">
                    <a:noFill/>
                    <a:prstDash val="solid"/>
                    <a:miter/>
                  </a:ln>
                </p:spPr>
                <p:txBody>
                  <a:bodyPr rtlCol="0" anchor="ctr"/>
                  <a:lstStyle/>
                  <a:p>
                    <a:endParaRPr lang="en-GB" dirty="0"/>
                  </a:p>
                </p:txBody>
              </p:sp>
            </p:grpSp>
          </p:grpSp>
          <p:sp>
            <p:nvSpPr>
              <p:cNvPr id="605" name="Freihandform: Form 901">
                <a:extLst>
                  <a:ext uri="{FF2B5EF4-FFF2-40B4-BE49-F238E27FC236}">
                    <a16:creationId xmlns:a16="http://schemas.microsoft.com/office/drawing/2014/main" id="{6F1EC9CD-33A1-4E05-8243-66AFBA442374}"/>
                  </a:ext>
                </a:extLst>
              </p:cNvPr>
              <p:cNvSpPr/>
              <p:nvPr/>
            </p:nvSpPr>
            <p:spPr>
              <a:xfrm>
                <a:off x="5280098" y="2886971"/>
                <a:ext cx="478251" cy="38784"/>
              </a:xfrm>
              <a:custGeom>
                <a:avLst/>
                <a:gdLst>
                  <a:gd name="connsiteX0" fmla="*/ 471783 w 478251"/>
                  <a:gd name="connsiteY0" fmla="*/ 38784 h 38784"/>
                  <a:gd name="connsiteX1" fmla="*/ 6468 w 478251"/>
                  <a:gd name="connsiteY1" fmla="*/ 38784 h 38784"/>
                  <a:gd name="connsiteX2" fmla="*/ 0 w 478251"/>
                  <a:gd name="connsiteY2" fmla="*/ 32316 h 38784"/>
                  <a:gd name="connsiteX3" fmla="*/ 0 w 478251"/>
                  <a:gd name="connsiteY3" fmla="*/ 6468 h 38784"/>
                  <a:gd name="connsiteX4" fmla="*/ 6468 w 478251"/>
                  <a:gd name="connsiteY4" fmla="*/ 0 h 38784"/>
                  <a:gd name="connsiteX5" fmla="*/ 471783 w 478251"/>
                  <a:gd name="connsiteY5" fmla="*/ 0 h 38784"/>
                  <a:gd name="connsiteX6" fmla="*/ 478252 w 478251"/>
                  <a:gd name="connsiteY6" fmla="*/ 6468 h 38784"/>
                  <a:gd name="connsiteX7" fmla="*/ 478252 w 478251"/>
                  <a:gd name="connsiteY7" fmla="*/ 32316 h 38784"/>
                  <a:gd name="connsiteX8" fmla="*/ 471783 w 478251"/>
                  <a:gd name="connsiteY8" fmla="*/ 38784 h 38784"/>
                  <a:gd name="connsiteX9" fmla="*/ 12936 w 478251"/>
                  <a:gd name="connsiteY9" fmla="*/ 25848 h 38784"/>
                  <a:gd name="connsiteX10" fmla="*/ 465315 w 478251"/>
                  <a:gd name="connsiteY10" fmla="*/ 25848 h 38784"/>
                  <a:gd name="connsiteX11" fmla="*/ 465315 w 478251"/>
                  <a:gd name="connsiteY11" fmla="*/ 12912 h 38784"/>
                  <a:gd name="connsiteX12" fmla="*/ 12936 w 478251"/>
                  <a:gd name="connsiteY12" fmla="*/ 12912 h 38784"/>
                  <a:gd name="connsiteX13" fmla="*/ 12936 w 478251"/>
                  <a:gd name="connsiteY13" fmla="*/ 25848 h 38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251" h="38784">
                    <a:moveTo>
                      <a:pt x="471783" y="38784"/>
                    </a:moveTo>
                    <a:lnTo>
                      <a:pt x="6468" y="38784"/>
                    </a:lnTo>
                    <a:cubicBezTo>
                      <a:pt x="2896" y="38784"/>
                      <a:pt x="0" y="35888"/>
                      <a:pt x="0" y="32316"/>
                    </a:cubicBezTo>
                    <a:lnTo>
                      <a:pt x="0" y="6468"/>
                    </a:lnTo>
                    <a:cubicBezTo>
                      <a:pt x="0" y="2896"/>
                      <a:pt x="2896" y="0"/>
                      <a:pt x="6468" y="0"/>
                    </a:cubicBezTo>
                    <a:lnTo>
                      <a:pt x="471783" y="0"/>
                    </a:lnTo>
                    <a:cubicBezTo>
                      <a:pt x="475355" y="0"/>
                      <a:pt x="478252" y="2896"/>
                      <a:pt x="478252" y="6468"/>
                    </a:cubicBezTo>
                    <a:lnTo>
                      <a:pt x="478252" y="32316"/>
                    </a:lnTo>
                    <a:cubicBezTo>
                      <a:pt x="478252" y="35888"/>
                      <a:pt x="475355" y="38784"/>
                      <a:pt x="471783" y="38784"/>
                    </a:cubicBezTo>
                    <a:close/>
                    <a:moveTo>
                      <a:pt x="12936" y="25848"/>
                    </a:moveTo>
                    <a:lnTo>
                      <a:pt x="465315" y="25848"/>
                    </a:lnTo>
                    <a:lnTo>
                      <a:pt x="465315" y="12912"/>
                    </a:lnTo>
                    <a:lnTo>
                      <a:pt x="12936" y="12912"/>
                    </a:lnTo>
                    <a:lnTo>
                      <a:pt x="12936" y="25848"/>
                    </a:lnTo>
                    <a:close/>
                  </a:path>
                </a:pathLst>
              </a:custGeom>
              <a:grpFill/>
              <a:ln w="2408" cap="flat">
                <a:noFill/>
                <a:prstDash val="solid"/>
                <a:miter/>
              </a:ln>
            </p:spPr>
            <p:txBody>
              <a:bodyPr rtlCol="0" anchor="ctr"/>
              <a:lstStyle/>
              <a:p>
                <a:endParaRPr lang="en-GB" dirty="0"/>
              </a:p>
            </p:txBody>
          </p:sp>
          <p:sp>
            <p:nvSpPr>
              <p:cNvPr id="606" name="Freihandform: Form 902">
                <a:extLst>
                  <a:ext uri="{FF2B5EF4-FFF2-40B4-BE49-F238E27FC236}">
                    <a16:creationId xmlns:a16="http://schemas.microsoft.com/office/drawing/2014/main" id="{36ECFE2F-37BF-4965-BB06-2B49786A6364}"/>
                  </a:ext>
                </a:extLst>
              </p:cNvPr>
              <p:cNvSpPr/>
              <p:nvPr/>
            </p:nvSpPr>
            <p:spPr>
              <a:xfrm>
                <a:off x="5280107" y="2802958"/>
                <a:ext cx="478232" cy="96948"/>
              </a:xfrm>
              <a:custGeom>
                <a:avLst/>
                <a:gdLst>
                  <a:gd name="connsiteX0" fmla="*/ 471774 w 478232"/>
                  <a:gd name="connsiteY0" fmla="*/ 96949 h 96948"/>
                  <a:gd name="connsiteX1" fmla="*/ 6459 w 478232"/>
                  <a:gd name="connsiteY1" fmla="*/ 96949 h 96948"/>
                  <a:gd name="connsiteX2" fmla="*/ 739 w 478232"/>
                  <a:gd name="connsiteY2" fmla="*/ 93473 h 96948"/>
                  <a:gd name="connsiteX3" fmla="*/ 1149 w 478232"/>
                  <a:gd name="connsiteY3" fmla="*/ 86788 h 96948"/>
                  <a:gd name="connsiteX4" fmla="*/ 59313 w 478232"/>
                  <a:gd name="connsiteY4" fmla="*/ 2775 h 96948"/>
                  <a:gd name="connsiteX5" fmla="*/ 64623 w 478232"/>
                  <a:gd name="connsiteY5" fmla="*/ 0 h 96948"/>
                  <a:gd name="connsiteX6" fmla="*/ 413610 w 478232"/>
                  <a:gd name="connsiteY6" fmla="*/ 0 h 96948"/>
                  <a:gd name="connsiteX7" fmla="*/ 418919 w 478232"/>
                  <a:gd name="connsiteY7" fmla="*/ 2775 h 96948"/>
                  <a:gd name="connsiteX8" fmla="*/ 477084 w 478232"/>
                  <a:gd name="connsiteY8" fmla="*/ 86788 h 96948"/>
                  <a:gd name="connsiteX9" fmla="*/ 477494 w 478232"/>
                  <a:gd name="connsiteY9" fmla="*/ 93473 h 96948"/>
                  <a:gd name="connsiteX10" fmla="*/ 471774 w 478232"/>
                  <a:gd name="connsiteY10" fmla="*/ 96949 h 96948"/>
                  <a:gd name="connsiteX11" fmla="*/ 18791 w 478232"/>
                  <a:gd name="connsiteY11" fmla="*/ 84013 h 96948"/>
                  <a:gd name="connsiteX12" fmla="*/ 459441 w 478232"/>
                  <a:gd name="connsiteY12" fmla="*/ 84013 h 96948"/>
                  <a:gd name="connsiteX13" fmla="*/ 410231 w 478232"/>
                  <a:gd name="connsiteY13" fmla="*/ 12912 h 96948"/>
                  <a:gd name="connsiteX14" fmla="*/ 68002 w 478232"/>
                  <a:gd name="connsiteY14" fmla="*/ 12912 h 96948"/>
                  <a:gd name="connsiteX15" fmla="*/ 18791 w 478232"/>
                  <a:gd name="connsiteY15" fmla="*/ 84013 h 9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8232" h="96948">
                    <a:moveTo>
                      <a:pt x="471774" y="96949"/>
                    </a:moveTo>
                    <a:lnTo>
                      <a:pt x="6459" y="96949"/>
                    </a:lnTo>
                    <a:cubicBezTo>
                      <a:pt x="4045" y="96949"/>
                      <a:pt x="1849" y="95621"/>
                      <a:pt x="739" y="93473"/>
                    </a:cubicBezTo>
                    <a:cubicBezTo>
                      <a:pt x="-372" y="91350"/>
                      <a:pt x="-227" y="88767"/>
                      <a:pt x="1149" y="86788"/>
                    </a:cubicBezTo>
                    <a:lnTo>
                      <a:pt x="59313" y="2775"/>
                    </a:lnTo>
                    <a:cubicBezTo>
                      <a:pt x="60520" y="1038"/>
                      <a:pt x="62499" y="0"/>
                      <a:pt x="64623" y="0"/>
                    </a:cubicBezTo>
                    <a:lnTo>
                      <a:pt x="413610" y="0"/>
                    </a:lnTo>
                    <a:cubicBezTo>
                      <a:pt x="415733" y="0"/>
                      <a:pt x="417712" y="1038"/>
                      <a:pt x="418919" y="2775"/>
                    </a:cubicBezTo>
                    <a:lnTo>
                      <a:pt x="477084" y="86788"/>
                    </a:lnTo>
                    <a:cubicBezTo>
                      <a:pt x="478459" y="88767"/>
                      <a:pt x="478604" y="91350"/>
                      <a:pt x="477494" y="93473"/>
                    </a:cubicBezTo>
                    <a:cubicBezTo>
                      <a:pt x="476384" y="95597"/>
                      <a:pt x="474163" y="96949"/>
                      <a:pt x="471774" y="96949"/>
                    </a:cubicBezTo>
                    <a:close/>
                    <a:moveTo>
                      <a:pt x="18791" y="84013"/>
                    </a:moveTo>
                    <a:lnTo>
                      <a:pt x="459441" y="84013"/>
                    </a:lnTo>
                    <a:lnTo>
                      <a:pt x="410231" y="12912"/>
                    </a:lnTo>
                    <a:lnTo>
                      <a:pt x="68002" y="12912"/>
                    </a:lnTo>
                    <a:lnTo>
                      <a:pt x="18791" y="84013"/>
                    </a:lnTo>
                    <a:close/>
                  </a:path>
                </a:pathLst>
              </a:custGeom>
              <a:grpFill/>
              <a:ln w="2408" cap="flat">
                <a:noFill/>
                <a:prstDash val="solid"/>
                <a:miter/>
              </a:ln>
            </p:spPr>
            <p:txBody>
              <a:bodyPr rtlCol="0" anchor="ctr"/>
              <a:lstStyle/>
              <a:p>
                <a:endParaRPr lang="en-GB" dirty="0"/>
              </a:p>
            </p:txBody>
          </p:sp>
          <p:sp>
            <p:nvSpPr>
              <p:cNvPr id="607" name="Freihandform: Form 903">
                <a:extLst>
                  <a:ext uri="{FF2B5EF4-FFF2-40B4-BE49-F238E27FC236}">
                    <a16:creationId xmlns:a16="http://schemas.microsoft.com/office/drawing/2014/main" id="{EB6D72B6-BBE8-4904-A24E-BDBEF15402BC}"/>
                  </a:ext>
                </a:extLst>
              </p:cNvPr>
              <p:cNvSpPr/>
              <p:nvPr/>
            </p:nvSpPr>
            <p:spPr>
              <a:xfrm>
                <a:off x="5351174" y="2848186"/>
                <a:ext cx="336074" cy="12936"/>
              </a:xfrm>
              <a:custGeom>
                <a:avLst/>
                <a:gdLst>
                  <a:gd name="connsiteX0" fmla="*/ 329606 w 336074"/>
                  <a:gd name="connsiteY0" fmla="*/ 12936 h 12936"/>
                  <a:gd name="connsiteX1" fmla="*/ 6468 w 336074"/>
                  <a:gd name="connsiteY1" fmla="*/ 12936 h 12936"/>
                  <a:gd name="connsiteX2" fmla="*/ 0 w 336074"/>
                  <a:gd name="connsiteY2" fmla="*/ 6468 h 12936"/>
                  <a:gd name="connsiteX3" fmla="*/ 6468 w 336074"/>
                  <a:gd name="connsiteY3" fmla="*/ 0 h 12936"/>
                  <a:gd name="connsiteX4" fmla="*/ 329606 w 336074"/>
                  <a:gd name="connsiteY4" fmla="*/ 0 h 12936"/>
                  <a:gd name="connsiteX5" fmla="*/ 336075 w 336074"/>
                  <a:gd name="connsiteY5" fmla="*/ 6468 h 12936"/>
                  <a:gd name="connsiteX6" fmla="*/ 329606 w 336074"/>
                  <a:gd name="connsiteY6" fmla="*/ 12936 h 12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6074" h="12936">
                    <a:moveTo>
                      <a:pt x="329606" y="12936"/>
                    </a:moveTo>
                    <a:lnTo>
                      <a:pt x="6468" y="12936"/>
                    </a:lnTo>
                    <a:cubicBezTo>
                      <a:pt x="2896" y="12936"/>
                      <a:pt x="0" y="10040"/>
                      <a:pt x="0" y="6468"/>
                    </a:cubicBezTo>
                    <a:cubicBezTo>
                      <a:pt x="0" y="2896"/>
                      <a:pt x="2896" y="0"/>
                      <a:pt x="6468" y="0"/>
                    </a:cubicBezTo>
                    <a:lnTo>
                      <a:pt x="329606" y="0"/>
                    </a:lnTo>
                    <a:cubicBezTo>
                      <a:pt x="333178" y="0"/>
                      <a:pt x="336075" y="2896"/>
                      <a:pt x="336075" y="6468"/>
                    </a:cubicBezTo>
                    <a:cubicBezTo>
                      <a:pt x="336075" y="10040"/>
                      <a:pt x="333178" y="12936"/>
                      <a:pt x="329606" y="12936"/>
                    </a:cubicBezTo>
                    <a:close/>
                  </a:path>
                </a:pathLst>
              </a:custGeom>
              <a:grpFill/>
              <a:ln w="2408" cap="flat">
                <a:noFill/>
                <a:prstDash val="solid"/>
                <a:miter/>
              </a:ln>
            </p:spPr>
            <p:txBody>
              <a:bodyPr rtlCol="0" anchor="ctr"/>
              <a:lstStyle/>
              <a:p>
                <a:endParaRPr lang="en-GB" dirty="0"/>
              </a:p>
            </p:txBody>
          </p:sp>
          <p:grpSp>
            <p:nvGrpSpPr>
              <p:cNvPr id="608" name="Grafik 191">
                <a:extLst>
                  <a:ext uri="{FF2B5EF4-FFF2-40B4-BE49-F238E27FC236}">
                    <a16:creationId xmlns:a16="http://schemas.microsoft.com/office/drawing/2014/main" id="{3036BA90-AD7F-4EEE-AB82-AEFE08C3C76A}"/>
                  </a:ext>
                </a:extLst>
              </p:cNvPr>
              <p:cNvGrpSpPr/>
              <p:nvPr/>
            </p:nvGrpSpPr>
            <p:grpSpPr>
              <a:xfrm>
                <a:off x="5338262" y="2557388"/>
                <a:ext cx="361922" cy="258505"/>
                <a:chOff x="5338262" y="2557388"/>
                <a:chExt cx="361922" cy="258505"/>
              </a:xfrm>
              <a:grpFill/>
            </p:grpSpPr>
            <p:sp>
              <p:nvSpPr>
                <p:cNvPr id="609" name="Freihandform: Form 905">
                  <a:extLst>
                    <a:ext uri="{FF2B5EF4-FFF2-40B4-BE49-F238E27FC236}">
                      <a16:creationId xmlns:a16="http://schemas.microsoft.com/office/drawing/2014/main" id="{DC702B9B-108B-4031-9EF1-F3B659DD98E3}"/>
                    </a:ext>
                  </a:extLst>
                </p:cNvPr>
                <p:cNvSpPr/>
                <p:nvPr/>
              </p:nvSpPr>
              <p:spPr>
                <a:xfrm>
                  <a:off x="5338262" y="2557388"/>
                  <a:ext cx="361922" cy="258505"/>
                </a:xfrm>
                <a:custGeom>
                  <a:avLst/>
                  <a:gdLst>
                    <a:gd name="connsiteX0" fmla="*/ 361923 w 361922"/>
                    <a:gd name="connsiteY0" fmla="*/ 258506 h 258505"/>
                    <a:gd name="connsiteX1" fmla="*/ 0 w 361922"/>
                    <a:gd name="connsiteY1" fmla="*/ 258506 h 258505"/>
                    <a:gd name="connsiteX2" fmla="*/ 0 w 361922"/>
                    <a:gd name="connsiteY2" fmla="*/ 38784 h 258505"/>
                    <a:gd name="connsiteX3" fmla="*/ 38784 w 361922"/>
                    <a:gd name="connsiteY3" fmla="*/ 0 h 258505"/>
                    <a:gd name="connsiteX4" fmla="*/ 84013 w 361922"/>
                    <a:gd name="connsiteY4" fmla="*/ 0 h 258505"/>
                    <a:gd name="connsiteX5" fmla="*/ 84013 w 361922"/>
                    <a:gd name="connsiteY5" fmla="*/ 12936 h 258505"/>
                    <a:gd name="connsiteX6" fmla="*/ 38784 w 361922"/>
                    <a:gd name="connsiteY6" fmla="*/ 12936 h 258505"/>
                    <a:gd name="connsiteX7" fmla="*/ 12936 w 361922"/>
                    <a:gd name="connsiteY7" fmla="*/ 38784 h 258505"/>
                    <a:gd name="connsiteX8" fmla="*/ 12936 w 361922"/>
                    <a:gd name="connsiteY8" fmla="*/ 245594 h 258505"/>
                    <a:gd name="connsiteX9" fmla="*/ 348987 w 361922"/>
                    <a:gd name="connsiteY9" fmla="*/ 245594 h 258505"/>
                    <a:gd name="connsiteX10" fmla="*/ 348987 w 361922"/>
                    <a:gd name="connsiteY10" fmla="*/ 38784 h 258505"/>
                    <a:gd name="connsiteX11" fmla="*/ 323138 w 361922"/>
                    <a:gd name="connsiteY11" fmla="*/ 12936 h 258505"/>
                    <a:gd name="connsiteX12" fmla="*/ 277910 w 361922"/>
                    <a:gd name="connsiteY12" fmla="*/ 12936 h 258505"/>
                    <a:gd name="connsiteX13" fmla="*/ 277910 w 361922"/>
                    <a:gd name="connsiteY13" fmla="*/ 0 h 258505"/>
                    <a:gd name="connsiteX14" fmla="*/ 323138 w 361922"/>
                    <a:gd name="connsiteY14" fmla="*/ 0 h 258505"/>
                    <a:gd name="connsiteX15" fmla="*/ 361923 w 361922"/>
                    <a:gd name="connsiteY15" fmla="*/ 38784 h 258505"/>
                    <a:gd name="connsiteX16" fmla="*/ 361923 w 361922"/>
                    <a:gd name="connsiteY16" fmla="*/ 258506 h 258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1922" h="258505">
                      <a:moveTo>
                        <a:pt x="361923" y="258506"/>
                      </a:moveTo>
                      <a:lnTo>
                        <a:pt x="0" y="258506"/>
                      </a:lnTo>
                      <a:lnTo>
                        <a:pt x="0" y="38784"/>
                      </a:lnTo>
                      <a:cubicBezTo>
                        <a:pt x="0" y="17401"/>
                        <a:pt x="17401" y="0"/>
                        <a:pt x="38784" y="0"/>
                      </a:cubicBezTo>
                      <a:lnTo>
                        <a:pt x="84013" y="0"/>
                      </a:lnTo>
                      <a:lnTo>
                        <a:pt x="84013" y="12936"/>
                      </a:lnTo>
                      <a:lnTo>
                        <a:pt x="38784" y="12936"/>
                      </a:lnTo>
                      <a:cubicBezTo>
                        <a:pt x="24521" y="12936"/>
                        <a:pt x="12936" y="24521"/>
                        <a:pt x="12936" y="38784"/>
                      </a:cubicBezTo>
                      <a:lnTo>
                        <a:pt x="12936" y="245594"/>
                      </a:lnTo>
                      <a:lnTo>
                        <a:pt x="348987" y="245594"/>
                      </a:lnTo>
                      <a:lnTo>
                        <a:pt x="348987" y="38784"/>
                      </a:lnTo>
                      <a:cubicBezTo>
                        <a:pt x="348987" y="24521"/>
                        <a:pt x="337402" y="12936"/>
                        <a:pt x="323138" y="12936"/>
                      </a:cubicBezTo>
                      <a:lnTo>
                        <a:pt x="277910" y="12936"/>
                      </a:lnTo>
                      <a:lnTo>
                        <a:pt x="277910" y="0"/>
                      </a:lnTo>
                      <a:lnTo>
                        <a:pt x="323138" y="0"/>
                      </a:lnTo>
                      <a:cubicBezTo>
                        <a:pt x="344522" y="0"/>
                        <a:pt x="361923" y="17401"/>
                        <a:pt x="361923" y="38784"/>
                      </a:cubicBezTo>
                      <a:lnTo>
                        <a:pt x="361923" y="258506"/>
                      </a:lnTo>
                      <a:close/>
                    </a:path>
                  </a:pathLst>
                </a:custGeom>
                <a:grpFill/>
                <a:ln w="2408" cap="flat">
                  <a:noFill/>
                  <a:prstDash val="solid"/>
                  <a:miter/>
                </a:ln>
              </p:spPr>
              <p:txBody>
                <a:bodyPr rtlCol="0" anchor="ctr"/>
                <a:lstStyle/>
                <a:p>
                  <a:endParaRPr lang="en-GB" dirty="0"/>
                </a:p>
              </p:txBody>
            </p:sp>
            <p:sp>
              <p:nvSpPr>
                <p:cNvPr id="610" name="Freihandform: Form 906">
                  <a:extLst>
                    <a:ext uri="{FF2B5EF4-FFF2-40B4-BE49-F238E27FC236}">
                      <a16:creationId xmlns:a16="http://schemas.microsoft.com/office/drawing/2014/main" id="{BA2E135D-7CF1-45CB-ADA7-64F7FB4EBECC}"/>
                    </a:ext>
                  </a:extLst>
                </p:cNvPr>
                <p:cNvSpPr/>
                <p:nvPr/>
              </p:nvSpPr>
              <p:spPr>
                <a:xfrm>
                  <a:off x="5364111" y="2589681"/>
                  <a:ext cx="310202" cy="200365"/>
                </a:xfrm>
                <a:custGeom>
                  <a:avLst/>
                  <a:gdLst>
                    <a:gd name="connsiteX0" fmla="*/ 310202 w 310202"/>
                    <a:gd name="connsiteY0" fmla="*/ 200366 h 200365"/>
                    <a:gd name="connsiteX1" fmla="*/ 0 w 310202"/>
                    <a:gd name="connsiteY1" fmla="*/ 200366 h 200365"/>
                    <a:gd name="connsiteX2" fmla="*/ 0 w 310202"/>
                    <a:gd name="connsiteY2" fmla="*/ 0 h 200365"/>
                    <a:gd name="connsiteX3" fmla="*/ 58164 w 310202"/>
                    <a:gd name="connsiteY3" fmla="*/ 0 h 200365"/>
                    <a:gd name="connsiteX4" fmla="*/ 58164 w 310202"/>
                    <a:gd name="connsiteY4" fmla="*/ 12936 h 200365"/>
                    <a:gd name="connsiteX5" fmla="*/ 12936 w 310202"/>
                    <a:gd name="connsiteY5" fmla="*/ 12936 h 200365"/>
                    <a:gd name="connsiteX6" fmla="*/ 12936 w 310202"/>
                    <a:gd name="connsiteY6" fmla="*/ 187429 h 200365"/>
                    <a:gd name="connsiteX7" fmla="*/ 297290 w 310202"/>
                    <a:gd name="connsiteY7" fmla="*/ 187429 h 200365"/>
                    <a:gd name="connsiteX8" fmla="*/ 297290 w 310202"/>
                    <a:gd name="connsiteY8" fmla="*/ 12936 h 200365"/>
                    <a:gd name="connsiteX9" fmla="*/ 252038 w 310202"/>
                    <a:gd name="connsiteY9" fmla="*/ 12936 h 200365"/>
                    <a:gd name="connsiteX10" fmla="*/ 252038 w 310202"/>
                    <a:gd name="connsiteY10" fmla="*/ 0 h 200365"/>
                    <a:gd name="connsiteX11" fmla="*/ 310202 w 310202"/>
                    <a:gd name="connsiteY11" fmla="*/ 0 h 200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0202" h="200365">
                      <a:moveTo>
                        <a:pt x="310202" y="200366"/>
                      </a:moveTo>
                      <a:lnTo>
                        <a:pt x="0" y="200366"/>
                      </a:lnTo>
                      <a:lnTo>
                        <a:pt x="0" y="0"/>
                      </a:lnTo>
                      <a:lnTo>
                        <a:pt x="58164" y="0"/>
                      </a:lnTo>
                      <a:lnTo>
                        <a:pt x="58164" y="12936"/>
                      </a:lnTo>
                      <a:lnTo>
                        <a:pt x="12936" y="12936"/>
                      </a:lnTo>
                      <a:lnTo>
                        <a:pt x="12936" y="187429"/>
                      </a:lnTo>
                      <a:lnTo>
                        <a:pt x="297290" y="187429"/>
                      </a:lnTo>
                      <a:lnTo>
                        <a:pt x="297290" y="12936"/>
                      </a:lnTo>
                      <a:lnTo>
                        <a:pt x="252038" y="12936"/>
                      </a:lnTo>
                      <a:lnTo>
                        <a:pt x="252038" y="0"/>
                      </a:lnTo>
                      <a:lnTo>
                        <a:pt x="310202" y="0"/>
                      </a:lnTo>
                      <a:close/>
                    </a:path>
                  </a:pathLst>
                </a:custGeom>
                <a:grpFill/>
                <a:ln w="2408" cap="flat">
                  <a:noFill/>
                  <a:prstDash val="solid"/>
                  <a:miter/>
                </a:ln>
              </p:spPr>
              <p:txBody>
                <a:bodyPr rtlCol="0" anchor="ctr"/>
                <a:lstStyle/>
                <a:p>
                  <a:endParaRPr lang="en-GB" dirty="0"/>
                </a:p>
              </p:txBody>
            </p:sp>
          </p:grpSp>
        </p:grpSp>
        <p:grpSp>
          <p:nvGrpSpPr>
            <p:cNvPr id="599" name="Group 598">
              <a:extLst>
                <a:ext uri="{FF2B5EF4-FFF2-40B4-BE49-F238E27FC236}">
                  <a16:creationId xmlns:a16="http://schemas.microsoft.com/office/drawing/2014/main" id="{784676D8-9C46-42E6-9BD1-35540772045E}"/>
                </a:ext>
              </a:extLst>
            </p:cNvPr>
            <p:cNvGrpSpPr/>
            <p:nvPr/>
          </p:nvGrpSpPr>
          <p:grpSpPr>
            <a:xfrm>
              <a:off x="8274361" y="2601358"/>
              <a:ext cx="135767" cy="49389"/>
              <a:chOff x="5448123" y="2693097"/>
              <a:chExt cx="142177" cy="51721"/>
            </a:xfrm>
            <a:grpFill/>
          </p:grpSpPr>
          <p:sp>
            <p:nvSpPr>
              <p:cNvPr id="600" name="Freihandform: Form 907">
                <a:extLst>
                  <a:ext uri="{FF2B5EF4-FFF2-40B4-BE49-F238E27FC236}">
                    <a16:creationId xmlns:a16="http://schemas.microsoft.com/office/drawing/2014/main" id="{AEF1E44A-1646-40FB-A393-B2F6FE5D7C45}"/>
                  </a:ext>
                </a:extLst>
              </p:cNvPr>
              <p:cNvSpPr/>
              <p:nvPr/>
            </p:nvSpPr>
            <p:spPr>
              <a:xfrm>
                <a:off x="5448123" y="2731882"/>
                <a:ext cx="142177" cy="12936"/>
              </a:xfrm>
              <a:custGeom>
                <a:avLst/>
                <a:gdLst>
                  <a:gd name="connsiteX0" fmla="*/ 0 w 142177"/>
                  <a:gd name="connsiteY0" fmla="*/ 0 h 12936"/>
                  <a:gd name="connsiteX1" fmla="*/ 142177 w 142177"/>
                  <a:gd name="connsiteY1" fmla="*/ 0 h 12936"/>
                  <a:gd name="connsiteX2" fmla="*/ 142177 w 142177"/>
                  <a:gd name="connsiteY2" fmla="*/ 12936 h 12936"/>
                  <a:gd name="connsiteX3" fmla="*/ 0 w 142177"/>
                  <a:gd name="connsiteY3" fmla="*/ 12936 h 12936"/>
                </a:gdLst>
                <a:ahLst/>
                <a:cxnLst>
                  <a:cxn ang="0">
                    <a:pos x="connsiteX0" y="connsiteY0"/>
                  </a:cxn>
                  <a:cxn ang="0">
                    <a:pos x="connsiteX1" y="connsiteY1"/>
                  </a:cxn>
                  <a:cxn ang="0">
                    <a:pos x="connsiteX2" y="connsiteY2"/>
                  </a:cxn>
                  <a:cxn ang="0">
                    <a:pos x="connsiteX3" y="connsiteY3"/>
                  </a:cxn>
                </a:cxnLst>
                <a:rect l="l" t="t" r="r" b="b"/>
                <a:pathLst>
                  <a:path w="142177" h="12936">
                    <a:moveTo>
                      <a:pt x="0" y="0"/>
                    </a:moveTo>
                    <a:lnTo>
                      <a:pt x="142177" y="0"/>
                    </a:lnTo>
                    <a:lnTo>
                      <a:pt x="142177" y="12936"/>
                    </a:lnTo>
                    <a:lnTo>
                      <a:pt x="0" y="12936"/>
                    </a:lnTo>
                    <a:close/>
                  </a:path>
                </a:pathLst>
              </a:custGeom>
              <a:solidFill>
                <a:schemeClr val="accent1"/>
              </a:solidFill>
              <a:ln w="2408" cap="flat">
                <a:noFill/>
                <a:prstDash val="solid"/>
                <a:miter/>
              </a:ln>
            </p:spPr>
            <p:txBody>
              <a:bodyPr rtlCol="0" anchor="ctr"/>
              <a:lstStyle/>
              <a:p>
                <a:endParaRPr lang="en-GB" dirty="0"/>
              </a:p>
            </p:txBody>
          </p:sp>
          <p:sp>
            <p:nvSpPr>
              <p:cNvPr id="601" name="Freihandform: Form 908">
                <a:extLst>
                  <a:ext uri="{FF2B5EF4-FFF2-40B4-BE49-F238E27FC236}">
                    <a16:creationId xmlns:a16="http://schemas.microsoft.com/office/drawing/2014/main" id="{D6A00785-BA4F-4C4A-9A51-0127E6D27BF6}"/>
                  </a:ext>
                </a:extLst>
              </p:cNvPr>
              <p:cNvSpPr/>
              <p:nvPr/>
            </p:nvSpPr>
            <p:spPr>
              <a:xfrm>
                <a:off x="5512756" y="2693097"/>
                <a:ext cx="12936" cy="12936"/>
              </a:xfrm>
              <a:custGeom>
                <a:avLst/>
                <a:gdLst>
                  <a:gd name="connsiteX0" fmla="*/ 0 w 12936"/>
                  <a:gd name="connsiteY0" fmla="*/ 0 h 12936"/>
                  <a:gd name="connsiteX1" fmla="*/ 12936 w 12936"/>
                  <a:gd name="connsiteY1" fmla="*/ 0 h 12936"/>
                  <a:gd name="connsiteX2" fmla="*/ 12936 w 12936"/>
                  <a:gd name="connsiteY2" fmla="*/ 12936 h 12936"/>
                  <a:gd name="connsiteX3" fmla="*/ 0 w 12936"/>
                  <a:gd name="connsiteY3" fmla="*/ 12936 h 12936"/>
                </a:gdLst>
                <a:ahLst/>
                <a:cxnLst>
                  <a:cxn ang="0">
                    <a:pos x="connsiteX0" y="connsiteY0"/>
                  </a:cxn>
                  <a:cxn ang="0">
                    <a:pos x="connsiteX1" y="connsiteY1"/>
                  </a:cxn>
                  <a:cxn ang="0">
                    <a:pos x="connsiteX2" y="connsiteY2"/>
                  </a:cxn>
                  <a:cxn ang="0">
                    <a:pos x="connsiteX3" y="connsiteY3"/>
                  </a:cxn>
                </a:cxnLst>
                <a:rect l="l" t="t" r="r" b="b"/>
                <a:pathLst>
                  <a:path w="12936" h="12936">
                    <a:moveTo>
                      <a:pt x="0" y="0"/>
                    </a:moveTo>
                    <a:lnTo>
                      <a:pt x="12936" y="0"/>
                    </a:lnTo>
                    <a:lnTo>
                      <a:pt x="12936" y="12936"/>
                    </a:lnTo>
                    <a:lnTo>
                      <a:pt x="0" y="12936"/>
                    </a:lnTo>
                    <a:close/>
                  </a:path>
                </a:pathLst>
              </a:custGeom>
              <a:solidFill>
                <a:schemeClr val="accent1"/>
              </a:solidFill>
              <a:ln w="2408" cap="flat">
                <a:noFill/>
                <a:prstDash val="solid"/>
                <a:miter/>
              </a:ln>
            </p:spPr>
            <p:txBody>
              <a:bodyPr rtlCol="0" anchor="ctr"/>
              <a:lstStyle/>
              <a:p>
                <a:endParaRPr lang="en-GB" dirty="0"/>
              </a:p>
            </p:txBody>
          </p:sp>
          <p:sp>
            <p:nvSpPr>
              <p:cNvPr id="602" name="Freihandform: Form 909">
                <a:extLst>
                  <a:ext uri="{FF2B5EF4-FFF2-40B4-BE49-F238E27FC236}">
                    <a16:creationId xmlns:a16="http://schemas.microsoft.com/office/drawing/2014/main" id="{75A2901D-EDC1-4DCB-892A-27820A7E8F5D}"/>
                  </a:ext>
                </a:extLst>
              </p:cNvPr>
              <p:cNvSpPr/>
              <p:nvPr/>
            </p:nvSpPr>
            <p:spPr>
              <a:xfrm>
                <a:off x="5551540" y="2693097"/>
                <a:ext cx="12936" cy="12936"/>
              </a:xfrm>
              <a:custGeom>
                <a:avLst/>
                <a:gdLst>
                  <a:gd name="connsiteX0" fmla="*/ 0 w 12936"/>
                  <a:gd name="connsiteY0" fmla="*/ 0 h 12936"/>
                  <a:gd name="connsiteX1" fmla="*/ 12936 w 12936"/>
                  <a:gd name="connsiteY1" fmla="*/ 0 h 12936"/>
                  <a:gd name="connsiteX2" fmla="*/ 12936 w 12936"/>
                  <a:gd name="connsiteY2" fmla="*/ 12936 h 12936"/>
                  <a:gd name="connsiteX3" fmla="*/ 0 w 12936"/>
                  <a:gd name="connsiteY3" fmla="*/ 12936 h 12936"/>
                </a:gdLst>
                <a:ahLst/>
                <a:cxnLst>
                  <a:cxn ang="0">
                    <a:pos x="connsiteX0" y="connsiteY0"/>
                  </a:cxn>
                  <a:cxn ang="0">
                    <a:pos x="connsiteX1" y="connsiteY1"/>
                  </a:cxn>
                  <a:cxn ang="0">
                    <a:pos x="connsiteX2" y="connsiteY2"/>
                  </a:cxn>
                  <a:cxn ang="0">
                    <a:pos x="connsiteX3" y="connsiteY3"/>
                  </a:cxn>
                </a:cxnLst>
                <a:rect l="l" t="t" r="r" b="b"/>
                <a:pathLst>
                  <a:path w="12936" h="12936">
                    <a:moveTo>
                      <a:pt x="0" y="0"/>
                    </a:moveTo>
                    <a:lnTo>
                      <a:pt x="12936" y="0"/>
                    </a:lnTo>
                    <a:lnTo>
                      <a:pt x="12936" y="12936"/>
                    </a:lnTo>
                    <a:lnTo>
                      <a:pt x="0" y="12936"/>
                    </a:lnTo>
                    <a:close/>
                  </a:path>
                </a:pathLst>
              </a:custGeom>
              <a:solidFill>
                <a:schemeClr val="accent1"/>
              </a:solidFill>
              <a:ln w="2408" cap="flat">
                <a:noFill/>
                <a:prstDash val="solid"/>
                <a:miter/>
              </a:ln>
            </p:spPr>
            <p:txBody>
              <a:bodyPr rtlCol="0" anchor="ctr"/>
              <a:lstStyle/>
              <a:p>
                <a:endParaRPr lang="en-GB" dirty="0"/>
              </a:p>
            </p:txBody>
          </p:sp>
          <p:sp>
            <p:nvSpPr>
              <p:cNvPr id="603" name="Freihandform: Form 910">
                <a:extLst>
                  <a:ext uri="{FF2B5EF4-FFF2-40B4-BE49-F238E27FC236}">
                    <a16:creationId xmlns:a16="http://schemas.microsoft.com/office/drawing/2014/main" id="{862CE718-BF4D-445D-9A76-738D951B0404}"/>
                  </a:ext>
                </a:extLst>
              </p:cNvPr>
              <p:cNvSpPr/>
              <p:nvPr/>
            </p:nvSpPr>
            <p:spPr>
              <a:xfrm>
                <a:off x="5473971" y="2693097"/>
                <a:ext cx="12936" cy="12936"/>
              </a:xfrm>
              <a:custGeom>
                <a:avLst/>
                <a:gdLst>
                  <a:gd name="connsiteX0" fmla="*/ 0 w 12936"/>
                  <a:gd name="connsiteY0" fmla="*/ 0 h 12936"/>
                  <a:gd name="connsiteX1" fmla="*/ 12936 w 12936"/>
                  <a:gd name="connsiteY1" fmla="*/ 0 h 12936"/>
                  <a:gd name="connsiteX2" fmla="*/ 12936 w 12936"/>
                  <a:gd name="connsiteY2" fmla="*/ 12936 h 12936"/>
                  <a:gd name="connsiteX3" fmla="*/ 0 w 12936"/>
                  <a:gd name="connsiteY3" fmla="*/ 12936 h 12936"/>
                </a:gdLst>
                <a:ahLst/>
                <a:cxnLst>
                  <a:cxn ang="0">
                    <a:pos x="connsiteX0" y="connsiteY0"/>
                  </a:cxn>
                  <a:cxn ang="0">
                    <a:pos x="connsiteX1" y="connsiteY1"/>
                  </a:cxn>
                  <a:cxn ang="0">
                    <a:pos x="connsiteX2" y="connsiteY2"/>
                  </a:cxn>
                  <a:cxn ang="0">
                    <a:pos x="connsiteX3" y="connsiteY3"/>
                  </a:cxn>
                </a:cxnLst>
                <a:rect l="l" t="t" r="r" b="b"/>
                <a:pathLst>
                  <a:path w="12936" h="12936">
                    <a:moveTo>
                      <a:pt x="0" y="0"/>
                    </a:moveTo>
                    <a:lnTo>
                      <a:pt x="12936" y="0"/>
                    </a:lnTo>
                    <a:lnTo>
                      <a:pt x="12936" y="12936"/>
                    </a:lnTo>
                    <a:lnTo>
                      <a:pt x="0" y="12936"/>
                    </a:lnTo>
                    <a:close/>
                  </a:path>
                </a:pathLst>
              </a:custGeom>
              <a:solidFill>
                <a:schemeClr val="accent1"/>
              </a:solidFill>
              <a:ln w="2408" cap="flat">
                <a:noFill/>
                <a:prstDash val="solid"/>
                <a:miter/>
              </a:ln>
            </p:spPr>
            <p:txBody>
              <a:bodyPr rtlCol="0" anchor="ctr"/>
              <a:lstStyle/>
              <a:p>
                <a:endParaRPr lang="en-GB" dirty="0"/>
              </a:p>
            </p:txBody>
          </p:sp>
        </p:grpSp>
      </p:grpSp>
      <p:grpSp>
        <p:nvGrpSpPr>
          <p:cNvPr id="746" name="Group 745">
            <a:extLst>
              <a:ext uri="{FF2B5EF4-FFF2-40B4-BE49-F238E27FC236}">
                <a16:creationId xmlns:a16="http://schemas.microsoft.com/office/drawing/2014/main" id="{7F807825-804C-4C59-B060-268DA465811E}"/>
              </a:ext>
            </a:extLst>
          </p:cNvPr>
          <p:cNvGrpSpPr/>
          <p:nvPr/>
        </p:nvGrpSpPr>
        <p:grpSpPr>
          <a:xfrm>
            <a:off x="4994302" y="3197068"/>
            <a:ext cx="437932" cy="432000"/>
            <a:chOff x="4993890" y="3197068"/>
            <a:chExt cx="437932" cy="432000"/>
          </a:xfrm>
        </p:grpSpPr>
        <p:sp>
          <p:nvSpPr>
            <p:cNvPr id="621" name="Freihandform: Form 912">
              <a:extLst>
                <a:ext uri="{FF2B5EF4-FFF2-40B4-BE49-F238E27FC236}">
                  <a16:creationId xmlns:a16="http://schemas.microsoft.com/office/drawing/2014/main" id="{A318F4FA-5DAA-46DA-AB58-31D17319DF7D}"/>
                </a:ext>
              </a:extLst>
            </p:cNvPr>
            <p:cNvSpPr/>
            <p:nvPr/>
          </p:nvSpPr>
          <p:spPr>
            <a:xfrm>
              <a:off x="5123932" y="3341991"/>
              <a:ext cx="183634" cy="287077"/>
            </a:xfrm>
            <a:custGeom>
              <a:avLst/>
              <a:gdLst>
                <a:gd name="connsiteX0" fmla="*/ 129241 w 200544"/>
                <a:gd name="connsiteY0" fmla="*/ 313514 h 313513"/>
                <a:gd name="connsiteX1" fmla="*/ 116305 w 200544"/>
                <a:gd name="connsiteY1" fmla="*/ 313514 h 313513"/>
                <a:gd name="connsiteX2" fmla="*/ 116305 w 200544"/>
                <a:gd name="connsiteY2" fmla="*/ 284649 h 313513"/>
                <a:gd name="connsiteX3" fmla="*/ 119804 w 200544"/>
                <a:gd name="connsiteY3" fmla="*/ 282839 h 313513"/>
                <a:gd name="connsiteX4" fmla="*/ 151179 w 200544"/>
                <a:gd name="connsiteY4" fmla="*/ 247240 h 313513"/>
                <a:gd name="connsiteX5" fmla="*/ 151445 w 200544"/>
                <a:gd name="connsiteY5" fmla="*/ 246637 h 313513"/>
                <a:gd name="connsiteX6" fmla="*/ 183520 w 200544"/>
                <a:gd name="connsiteY6" fmla="*/ 180846 h 313513"/>
                <a:gd name="connsiteX7" fmla="*/ 184533 w 200544"/>
                <a:gd name="connsiteY7" fmla="*/ 152801 h 313513"/>
                <a:gd name="connsiteX8" fmla="*/ 167470 w 200544"/>
                <a:gd name="connsiteY8" fmla="*/ 144040 h 313513"/>
                <a:gd name="connsiteX9" fmla="*/ 167518 w 200544"/>
                <a:gd name="connsiteY9" fmla="*/ 171578 h 313513"/>
                <a:gd name="connsiteX10" fmla="*/ 154582 w 200544"/>
                <a:gd name="connsiteY10" fmla="*/ 171626 h 313513"/>
                <a:gd name="connsiteX11" fmla="*/ 154365 w 200544"/>
                <a:gd name="connsiteY11" fmla="*/ 131249 h 313513"/>
                <a:gd name="connsiteX12" fmla="*/ 154510 w 200544"/>
                <a:gd name="connsiteY12" fmla="*/ 131249 h 313513"/>
                <a:gd name="connsiteX13" fmla="*/ 154293 w 200544"/>
                <a:gd name="connsiteY13" fmla="*/ 21992 h 313513"/>
                <a:gd name="connsiteX14" fmla="*/ 140946 w 200544"/>
                <a:gd name="connsiteY14" fmla="*/ 13013 h 313513"/>
                <a:gd name="connsiteX15" fmla="*/ 129120 w 200544"/>
                <a:gd name="connsiteY15" fmla="*/ 22619 h 313513"/>
                <a:gd name="connsiteX16" fmla="*/ 127769 w 200544"/>
                <a:gd name="connsiteY16" fmla="*/ 140251 h 313513"/>
                <a:gd name="connsiteX17" fmla="*/ 114833 w 200544"/>
                <a:gd name="connsiteY17" fmla="*/ 140082 h 313513"/>
                <a:gd name="connsiteX18" fmla="*/ 115339 w 200544"/>
                <a:gd name="connsiteY18" fmla="*/ 90727 h 313513"/>
                <a:gd name="connsiteX19" fmla="*/ 101003 w 200544"/>
                <a:gd name="connsiteY19" fmla="*/ 81628 h 313513"/>
                <a:gd name="connsiteX20" fmla="*/ 90529 w 200544"/>
                <a:gd name="connsiteY20" fmla="*/ 84935 h 313513"/>
                <a:gd name="connsiteX21" fmla="*/ 86740 w 200544"/>
                <a:gd name="connsiteY21" fmla="*/ 91065 h 313513"/>
                <a:gd name="connsiteX22" fmla="*/ 86764 w 200544"/>
                <a:gd name="connsiteY22" fmla="*/ 139648 h 313513"/>
                <a:gd name="connsiteX23" fmla="*/ 73828 w 200544"/>
                <a:gd name="connsiteY23" fmla="*/ 139720 h 313513"/>
                <a:gd name="connsiteX24" fmla="*/ 73418 w 200544"/>
                <a:gd name="connsiteY24" fmla="*/ 101057 h 313513"/>
                <a:gd name="connsiteX25" fmla="*/ 58406 w 200544"/>
                <a:gd name="connsiteY25" fmla="*/ 91475 h 313513"/>
                <a:gd name="connsiteX26" fmla="*/ 43466 w 200544"/>
                <a:gd name="connsiteY26" fmla="*/ 103977 h 313513"/>
                <a:gd name="connsiteX27" fmla="*/ 43708 w 200544"/>
                <a:gd name="connsiteY27" fmla="*/ 113003 h 313513"/>
                <a:gd name="connsiteX28" fmla="*/ 43756 w 200544"/>
                <a:gd name="connsiteY28" fmla="*/ 114837 h 313513"/>
                <a:gd name="connsiteX29" fmla="*/ 44384 w 200544"/>
                <a:gd name="connsiteY29" fmla="*/ 139358 h 313513"/>
                <a:gd name="connsiteX30" fmla="*/ 31472 w 200544"/>
                <a:gd name="connsiteY30" fmla="*/ 139696 h 313513"/>
                <a:gd name="connsiteX31" fmla="*/ 30796 w 200544"/>
                <a:gd name="connsiteY31" fmla="*/ 113920 h 313513"/>
                <a:gd name="connsiteX32" fmla="*/ 29155 w 200544"/>
                <a:gd name="connsiteY32" fmla="*/ 110228 h 313513"/>
                <a:gd name="connsiteX33" fmla="*/ 22735 w 200544"/>
                <a:gd name="connsiteY33" fmla="*/ 108225 h 313513"/>
                <a:gd name="connsiteX34" fmla="*/ 13178 w 200544"/>
                <a:gd name="connsiteY34" fmla="*/ 117758 h 313513"/>
                <a:gd name="connsiteX35" fmla="*/ 12936 w 200544"/>
                <a:gd name="connsiteY35" fmla="*/ 229042 h 313513"/>
                <a:gd name="connsiteX36" fmla="*/ 37071 w 200544"/>
                <a:gd name="connsiteY36" fmla="*/ 271423 h 313513"/>
                <a:gd name="connsiteX37" fmla="*/ 38784 w 200544"/>
                <a:gd name="connsiteY37" fmla="*/ 273281 h 313513"/>
                <a:gd name="connsiteX38" fmla="*/ 38784 w 200544"/>
                <a:gd name="connsiteY38" fmla="*/ 313489 h 313513"/>
                <a:gd name="connsiteX39" fmla="*/ 25848 w 200544"/>
                <a:gd name="connsiteY39" fmla="*/ 313489 h 313513"/>
                <a:gd name="connsiteX40" fmla="*/ 25848 w 200544"/>
                <a:gd name="connsiteY40" fmla="*/ 278325 h 313513"/>
                <a:gd name="connsiteX41" fmla="*/ 48 w 200544"/>
                <a:gd name="connsiteY41" fmla="*/ 230322 h 313513"/>
                <a:gd name="connsiteX42" fmla="*/ 0 w 200544"/>
                <a:gd name="connsiteY42" fmla="*/ 229453 h 313513"/>
                <a:gd name="connsiteX43" fmla="*/ 410 w 200544"/>
                <a:gd name="connsiteY43" fmla="*/ 115465 h 313513"/>
                <a:gd name="connsiteX44" fmla="*/ 21963 w 200544"/>
                <a:gd name="connsiteY44" fmla="*/ 95288 h 313513"/>
                <a:gd name="connsiteX45" fmla="*/ 31882 w 200544"/>
                <a:gd name="connsiteY45" fmla="*/ 96881 h 313513"/>
                <a:gd name="connsiteX46" fmla="*/ 58237 w 200544"/>
                <a:gd name="connsiteY46" fmla="*/ 78515 h 313513"/>
                <a:gd name="connsiteX47" fmla="*/ 58551 w 200544"/>
                <a:gd name="connsiteY47" fmla="*/ 78515 h 313513"/>
                <a:gd name="connsiteX48" fmla="*/ 75590 w 200544"/>
                <a:gd name="connsiteY48" fmla="*/ 83221 h 313513"/>
                <a:gd name="connsiteX49" fmla="*/ 82733 w 200544"/>
                <a:gd name="connsiteY49" fmla="*/ 74581 h 313513"/>
                <a:gd name="connsiteX50" fmla="*/ 101148 w 200544"/>
                <a:gd name="connsiteY50" fmla="*/ 68668 h 313513"/>
                <a:gd name="connsiteX51" fmla="*/ 115605 w 200544"/>
                <a:gd name="connsiteY51" fmla="*/ 72167 h 313513"/>
                <a:gd name="connsiteX52" fmla="*/ 116184 w 200544"/>
                <a:gd name="connsiteY52" fmla="*/ 22378 h 313513"/>
                <a:gd name="connsiteX53" fmla="*/ 141091 w 200544"/>
                <a:gd name="connsiteY53" fmla="*/ 5 h 313513"/>
                <a:gd name="connsiteX54" fmla="*/ 167229 w 200544"/>
                <a:gd name="connsiteY54" fmla="*/ 21967 h 313513"/>
                <a:gd name="connsiteX55" fmla="*/ 167446 w 200544"/>
                <a:gd name="connsiteY55" fmla="*/ 130959 h 313513"/>
                <a:gd name="connsiteX56" fmla="*/ 195056 w 200544"/>
                <a:gd name="connsiteY56" fmla="*/ 145247 h 313513"/>
                <a:gd name="connsiteX57" fmla="*/ 195297 w 200544"/>
                <a:gd name="connsiteY57" fmla="*/ 186107 h 313513"/>
                <a:gd name="connsiteX58" fmla="*/ 163222 w 200544"/>
                <a:gd name="connsiteY58" fmla="*/ 251946 h 313513"/>
                <a:gd name="connsiteX59" fmla="*/ 129265 w 200544"/>
                <a:gd name="connsiteY59" fmla="*/ 292348 h 313513"/>
                <a:gd name="connsiteX60" fmla="*/ 129265 w 200544"/>
                <a:gd name="connsiteY60" fmla="*/ 313514 h 31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200544" h="313513">
                  <a:moveTo>
                    <a:pt x="129241" y="313514"/>
                  </a:moveTo>
                  <a:lnTo>
                    <a:pt x="116305" y="313514"/>
                  </a:lnTo>
                  <a:lnTo>
                    <a:pt x="116305" y="284649"/>
                  </a:lnTo>
                  <a:lnTo>
                    <a:pt x="119804" y="282839"/>
                  </a:lnTo>
                  <a:cubicBezTo>
                    <a:pt x="134575" y="275188"/>
                    <a:pt x="145435" y="262879"/>
                    <a:pt x="151179" y="247240"/>
                  </a:cubicBezTo>
                  <a:lnTo>
                    <a:pt x="151445" y="246637"/>
                  </a:lnTo>
                  <a:lnTo>
                    <a:pt x="183520" y="180846"/>
                  </a:lnTo>
                  <a:cubicBezTo>
                    <a:pt x="188612" y="168633"/>
                    <a:pt x="188998" y="159076"/>
                    <a:pt x="184533" y="152801"/>
                  </a:cubicBezTo>
                  <a:cubicBezTo>
                    <a:pt x="180720" y="147443"/>
                    <a:pt x="173576" y="144885"/>
                    <a:pt x="167470" y="144040"/>
                  </a:cubicBezTo>
                  <a:lnTo>
                    <a:pt x="167518" y="171578"/>
                  </a:lnTo>
                  <a:lnTo>
                    <a:pt x="154582" y="171626"/>
                  </a:lnTo>
                  <a:lnTo>
                    <a:pt x="154365" y="131249"/>
                  </a:lnTo>
                  <a:lnTo>
                    <a:pt x="154510" y="131249"/>
                  </a:lnTo>
                  <a:lnTo>
                    <a:pt x="154293" y="21992"/>
                  </a:lnTo>
                  <a:cubicBezTo>
                    <a:pt x="154341" y="17575"/>
                    <a:pt x="147607" y="13110"/>
                    <a:pt x="140946" y="13013"/>
                  </a:cubicBezTo>
                  <a:cubicBezTo>
                    <a:pt x="135033" y="13038"/>
                    <a:pt x="129193" y="17623"/>
                    <a:pt x="129120" y="22619"/>
                  </a:cubicBezTo>
                  <a:lnTo>
                    <a:pt x="127769" y="140251"/>
                  </a:lnTo>
                  <a:lnTo>
                    <a:pt x="114833" y="140082"/>
                  </a:lnTo>
                  <a:lnTo>
                    <a:pt x="115339" y="90727"/>
                  </a:lnTo>
                  <a:cubicBezTo>
                    <a:pt x="115388" y="86141"/>
                    <a:pt x="108413" y="81725"/>
                    <a:pt x="101003" y="81628"/>
                  </a:cubicBezTo>
                  <a:cubicBezTo>
                    <a:pt x="97190" y="81532"/>
                    <a:pt x="93377" y="82787"/>
                    <a:pt x="90529" y="84935"/>
                  </a:cubicBezTo>
                  <a:cubicBezTo>
                    <a:pt x="88140" y="86745"/>
                    <a:pt x="86764" y="88965"/>
                    <a:pt x="86740" y="91065"/>
                  </a:cubicBezTo>
                  <a:lnTo>
                    <a:pt x="86764" y="139648"/>
                  </a:lnTo>
                  <a:lnTo>
                    <a:pt x="73828" y="139720"/>
                  </a:lnTo>
                  <a:lnTo>
                    <a:pt x="73418" y="101057"/>
                  </a:lnTo>
                  <a:cubicBezTo>
                    <a:pt x="73466" y="96543"/>
                    <a:pt x="67311" y="91596"/>
                    <a:pt x="58406" y="91475"/>
                  </a:cubicBezTo>
                  <a:cubicBezTo>
                    <a:pt x="49717" y="91234"/>
                    <a:pt x="43515" y="98981"/>
                    <a:pt x="43466" y="103977"/>
                  </a:cubicBezTo>
                  <a:lnTo>
                    <a:pt x="43708" y="113003"/>
                  </a:lnTo>
                  <a:cubicBezTo>
                    <a:pt x="43756" y="113607"/>
                    <a:pt x="43780" y="114210"/>
                    <a:pt x="43756" y="114837"/>
                  </a:cubicBezTo>
                  <a:lnTo>
                    <a:pt x="44384" y="139358"/>
                  </a:lnTo>
                  <a:lnTo>
                    <a:pt x="31472" y="139696"/>
                  </a:lnTo>
                  <a:lnTo>
                    <a:pt x="30796" y="113920"/>
                  </a:lnTo>
                  <a:cubicBezTo>
                    <a:pt x="30651" y="112327"/>
                    <a:pt x="30120" y="111145"/>
                    <a:pt x="29155" y="110228"/>
                  </a:cubicBezTo>
                  <a:cubicBezTo>
                    <a:pt x="27682" y="108828"/>
                    <a:pt x="25317" y="108080"/>
                    <a:pt x="22735" y="108225"/>
                  </a:cubicBezTo>
                  <a:cubicBezTo>
                    <a:pt x="17860" y="108514"/>
                    <a:pt x="15132" y="110035"/>
                    <a:pt x="13178" y="117758"/>
                  </a:cubicBezTo>
                  <a:lnTo>
                    <a:pt x="12936" y="229042"/>
                  </a:lnTo>
                  <a:cubicBezTo>
                    <a:pt x="14770" y="241858"/>
                    <a:pt x="22880" y="256121"/>
                    <a:pt x="37071" y="271423"/>
                  </a:cubicBezTo>
                  <a:lnTo>
                    <a:pt x="38784" y="273281"/>
                  </a:lnTo>
                  <a:lnTo>
                    <a:pt x="38784" y="313489"/>
                  </a:lnTo>
                  <a:lnTo>
                    <a:pt x="25848" y="313489"/>
                  </a:lnTo>
                  <a:lnTo>
                    <a:pt x="25848" y="278325"/>
                  </a:lnTo>
                  <a:cubicBezTo>
                    <a:pt x="10740" y="261528"/>
                    <a:pt x="2051" y="245406"/>
                    <a:pt x="48" y="230322"/>
                  </a:cubicBezTo>
                  <a:lnTo>
                    <a:pt x="0" y="229453"/>
                  </a:lnTo>
                  <a:lnTo>
                    <a:pt x="410" y="115465"/>
                  </a:lnTo>
                  <a:cubicBezTo>
                    <a:pt x="2365" y="107235"/>
                    <a:pt x="6709" y="96181"/>
                    <a:pt x="21963" y="95288"/>
                  </a:cubicBezTo>
                  <a:cubicBezTo>
                    <a:pt x="25438" y="95119"/>
                    <a:pt x="28865" y="95650"/>
                    <a:pt x="31882" y="96881"/>
                  </a:cubicBezTo>
                  <a:cubicBezTo>
                    <a:pt x="35430" y="87131"/>
                    <a:pt x="45590" y="78515"/>
                    <a:pt x="58237" y="78515"/>
                  </a:cubicBezTo>
                  <a:cubicBezTo>
                    <a:pt x="58333" y="78515"/>
                    <a:pt x="58454" y="78515"/>
                    <a:pt x="58551" y="78515"/>
                  </a:cubicBezTo>
                  <a:cubicBezTo>
                    <a:pt x="65043" y="78611"/>
                    <a:pt x="70932" y="80325"/>
                    <a:pt x="75590" y="83221"/>
                  </a:cubicBezTo>
                  <a:cubicBezTo>
                    <a:pt x="77110" y="79963"/>
                    <a:pt x="79524" y="76994"/>
                    <a:pt x="82733" y="74581"/>
                  </a:cubicBezTo>
                  <a:cubicBezTo>
                    <a:pt x="87898" y="70671"/>
                    <a:pt x="94463" y="68571"/>
                    <a:pt x="101148" y="68668"/>
                  </a:cubicBezTo>
                  <a:cubicBezTo>
                    <a:pt x="106458" y="68740"/>
                    <a:pt x="111405" y="70019"/>
                    <a:pt x="115605" y="72167"/>
                  </a:cubicBezTo>
                  <a:lnTo>
                    <a:pt x="116184" y="22378"/>
                  </a:lnTo>
                  <a:cubicBezTo>
                    <a:pt x="116353" y="10310"/>
                    <a:pt x="127769" y="-261"/>
                    <a:pt x="141091" y="5"/>
                  </a:cubicBezTo>
                  <a:cubicBezTo>
                    <a:pt x="153834" y="150"/>
                    <a:pt x="167374" y="9031"/>
                    <a:pt x="167229" y="21967"/>
                  </a:cubicBezTo>
                  <a:lnTo>
                    <a:pt x="167446" y="130959"/>
                  </a:lnTo>
                  <a:cubicBezTo>
                    <a:pt x="176400" y="131876"/>
                    <a:pt x="188154" y="135521"/>
                    <a:pt x="195056" y="145247"/>
                  </a:cubicBezTo>
                  <a:cubicBezTo>
                    <a:pt x="202296" y="155432"/>
                    <a:pt x="202369" y="169164"/>
                    <a:pt x="195297" y="186107"/>
                  </a:cubicBezTo>
                  <a:lnTo>
                    <a:pt x="163222" y="251946"/>
                  </a:lnTo>
                  <a:cubicBezTo>
                    <a:pt x="156779" y="269275"/>
                    <a:pt x="145073" y="283152"/>
                    <a:pt x="129265" y="292348"/>
                  </a:cubicBezTo>
                  <a:lnTo>
                    <a:pt x="129265" y="313514"/>
                  </a:lnTo>
                  <a:close/>
                </a:path>
              </a:pathLst>
            </a:custGeom>
            <a:solidFill>
              <a:schemeClr val="tx2"/>
            </a:solidFill>
            <a:ln w="2408" cap="flat">
              <a:noFill/>
              <a:prstDash val="solid"/>
              <a:miter/>
            </a:ln>
          </p:spPr>
          <p:txBody>
            <a:bodyPr rtlCol="0" anchor="ctr"/>
            <a:lstStyle/>
            <a:p>
              <a:endParaRPr lang="en-GB" dirty="0"/>
            </a:p>
          </p:txBody>
        </p:sp>
        <p:grpSp>
          <p:nvGrpSpPr>
            <p:cNvPr id="622" name="Group 621">
              <a:extLst>
                <a:ext uri="{FF2B5EF4-FFF2-40B4-BE49-F238E27FC236}">
                  <a16:creationId xmlns:a16="http://schemas.microsoft.com/office/drawing/2014/main" id="{5BD37CD7-55E0-4410-B9DE-866569EDD3FC}"/>
                </a:ext>
              </a:extLst>
            </p:cNvPr>
            <p:cNvGrpSpPr/>
            <p:nvPr/>
          </p:nvGrpSpPr>
          <p:grpSpPr>
            <a:xfrm>
              <a:off x="4993890" y="3197068"/>
              <a:ext cx="437932" cy="378741"/>
              <a:chOff x="6100835" y="2447504"/>
              <a:chExt cx="478260" cy="413618"/>
            </a:xfrm>
          </p:grpSpPr>
          <p:sp>
            <p:nvSpPr>
              <p:cNvPr id="623" name="Freihandform: Form 913">
                <a:extLst>
                  <a:ext uri="{FF2B5EF4-FFF2-40B4-BE49-F238E27FC236}">
                    <a16:creationId xmlns:a16="http://schemas.microsoft.com/office/drawing/2014/main" id="{460784EC-C106-4484-9A44-079B8D1A2C9F}"/>
                  </a:ext>
                </a:extLst>
              </p:cNvPr>
              <p:cNvSpPr/>
              <p:nvPr/>
            </p:nvSpPr>
            <p:spPr>
              <a:xfrm>
                <a:off x="6126716" y="2644611"/>
                <a:ext cx="12936" cy="135708"/>
              </a:xfrm>
              <a:custGeom>
                <a:avLst/>
                <a:gdLst>
                  <a:gd name="connsiteX0" fmla="*/ 0 w 12936"/>
                  <a:gd name="connsiteY0" fmla="*/ 0 h 135708"/>
                  <a:gd name="connsiteX1" fmla="*/ 12936 w 12936"/>
                  <a:gd name="connsiteY1" fmla="*/ 0 h 135708"/>
                  <a:gd name="connsiteX2" fmla="*/ 12936 w 12936"/>
                  <a:gd name="connsiteY2" fmla="*/ 135709 h 135708"/>
                  <a:gd name="connsiteX3" fmla="*/ 0 w 12936"/>
                  <a:gd name="connsiteY3" fmla="*/ 135709 h 135708"/>
                </a:gdLst>
                <a:ahLst/>
                <a:cxnLst>
                  <a:cxn ang="0">
                    <a:pos x="connsiteX0" y="connsiteY0"/>
                  </a:cxn>
                  <a:cxn ang="0">
                    <a:pos x="connsiteX1" y="connsiteY1"/>
                  </a:cxn>
                  <a:cxn ang="0">
                    <a:pos x="connsiteX2" y="connsiteY2"/>
                  </a:cxn>
                  <a:cxn ang="0">
                    <a:pos x="connsiteX3" y="connsiteY3"/>
                  </a:cxn>
                </a:cxnLst>
                <a:rect l="l" t="t" r="r" b="b"/>
                <a:pathLst>
                  <a:path w="12936" h="135708">
                    <a:moveTo>
                      <a:pt x="0" y="0"/>
                    </a:moveTo>
                    <a:lnTo>
                      <a:pt x="12936" y="0"/>
                    </a:lnTo>
                    <a:lnTo>
                      <a:pt x="12936" y="135709"/>
                    </a:lnTo>
                    <a:lnTo>
                      <a:pt x="0" y="135709"/>
                    </a:lnTo>
                    <a:close/>
                  </a:path>
                </a:pathLst>
              </a:custGeom>
              <a:solidFill>
                <a:schemeClr val="accent1"/>
              </a:solidFill>
              <a:ln w="2408" cap="flat">
                <a:noFill/>
                <a:prstDash val="solid"/>
                <a:miter/>
              </a:ln>
            </p:spPr>
            <p:txBody>
              <a:bodyPr rtlCol="0" anchor="ctr"/>
              <a:lstStyle/>
              <a:p>
                <a:endParaRPr lang="en-GB" dirty="0"/>
              </a:p>
            </p:txBody>
          </p:sp>
          <p:grpSp>
            <p:nvGrpSpPr>
              <p:cNvPr id="624" name="Grafik 191">
                <a:extLst>
                  <a:ext uri="{FF2B5EF4-FFF2-40B4-BE49-F238E27FC236}">
                    <a16:creationId xmlns:a16="http://schemas.microsoft.com/office/drawing/2014/main" id="{1FABF7FD-6BFA-4560-9577-6D272FE31A00}"/>
                  </a:ext>
                </a:extLst>
              </p:cNvPr>
              <p:cNvGrpSpPr/>
              <p:nvPr/>
            </p:nvGrpSpPr>
            <p:grpSpPr>
              <a:xfrm>
                <a:off x="6307653" y="2447504"/>
                <a:ext cx="64632" cy="142177"/>
                <a:chOff x="6307653" y="2447504"/>
                <a:chExt cx="64632" cy="142177"/>
              </a:xfrm>
              <a:solidFill>
                <a:schemeClr val="accent1"/>
              </a:solidFill>
            </p:grpSpPr>
            <p:sp>
              <p:nvSpPr>
                <p:cNvPr id="640" name="Freihandform: Form 915">
                  <a:extLst>
                    <a:ext uri="{FF2B5EF4-FFF2-40B4-BE49-F238E27FC236}">
                      <a16:creationId xmlns:a16="http://schemas.microsoft.com/office/drawing/2014/main" id="{55B3109C-3C1A-42B8-A401-E033C6273E8F}"/>
                    </a:ext>
                  </a:extLst>
                </p:cNvPr>
                <p:cNvSpPr/>
                <p:nvPr/>
              </p:nvSpPr>
              <p:spPr>
                <a:xfrm>
                  <a:off x="6307653" y="2447504"/>
                  <a:ext cx="64632" cy="64632"/>
                </a:xfrm>
                <a:custGeom>
                  <a:avLst/>
                  <a:gdLst>
                    <a:gd name="connsiteX0" fmla="*/ 32316 w 64632"/>
                    <a:gd name="connsiteY0" fmla="*/ 64633 h 64632"/>
                    <a:gd name="connsiteX1" fmla="*/ 0 w 64632"/>
                    <a:gd name="connsiteY1" fmla="*/ 32316 h 64632"/>
                    <a:gd name="connsiteX2" fmla="*/ 32316 w 64632"/>
                    <a:gd name="connsiteY2" fmla="*/ 0 h 64632"/>
                    <a:gd name="connsiteX3" fmla="*/ 64632 w 64632"/>
                    <a:gd name="connsiteY3" fmla="*/ 32316 h 64632"/>
                    <a:gd name="connsiteX4" fmla="*/ 32316 w 64632"/>
                    <a:gd name="connsiteY4" fmla="*/ 64633 h 64632"/>
                    <a:gd name="connsiteX5" fmla="*/ 32316 w 64632"/>
                    <a:gd name="connsiteY5" fmla="*/ 12936 h 64632"/>
                    <a:gd name="connsiteX6" fmla="*/ 12936 w 64632"/>
                    <a:gd name="connsiteY6" fmla="*/ 32316 h 64632"/>
                    <a:gd name="connsiteX7" fmla="*/ 32316 w 64632"/>
                    <a:gd name="connsiteY7" fmla="*/ 51696 h 64632"/>
                    <a:gd name="connsiteX8" fmla="*/ 51696 w 64632"/>
                    <a:gd name="connsiteY8" fmla="*/ 32316 h 64632"/>
                    <a:gd name="connsiteX9" fmla="*/ 32316 w 64632"/>
                    <a:gd name="connsiteY9" fmla="*/ 12936 h 6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632" h="64632">
                      <a:moveTo>
                        <a:pt x="32316" y="64633"/>
                      </a:moveTo>
                      <a:cubicBezTo>
                        <a:pt x="14505" y="64633"/>
                        <a:pt x="0" y="50128"/>
                        <a:pt x="0" y="32316"/>
                      </a:cubicBezTo>
                      <a:cubicBezTo>
                        <a:pt x="0" y="14505"/>
                        <a:pt x="14505" y="0"/>
                        <a:pt x="32316" y="0"/>
                      </a:cubicBezTo>
                      <a:cubicBezTo>
                        <a:pt x="50128" y="0"/>
                        <a:pt x="64632" y="14505"/>
                        <a:pt x="64632" y="32316"/>
                      </a:cubicBezTo>
                      <a:cubicBezTo>
                        <a:pt x="64632" y="50128"/>
                        <a:pt x="50128" y="64633"/>
                        <a:pt x="32316" y="64633"/>
                      </a:cubicBezTo>
                      <a:close/>
                      <a:moveTo>
                        <a:pt x="32316" y="12936"/>
                      </a:moveTo>
                      <a:cubicBezTo>
                        <a:pt x="21625" y="12936"/>
                        <a:pt x="12936" y="21625"/>
                        <a:pt x="12936" y="32316"/>
                      </a:cubicBezTo>
                      <a:cubicBezTo>
                        <a:pt x="12936" y="43008"/>
                        <a:pt x="21625" y="51696"/>
                        <a:pt x="32316" y="51696"/>
                      </a:cubicBezTo>
                      <a:cubicBezTo>
                        <a:pt x="43008" y="51696"/>
                        <a:pt x="51696" y="43008"/>
                        <a:pt x="51696" y="32316"/>
                      </a:cubicBezTo>
                      <a:cubicBezTo>
                        <a:pt x="51696" y="21625"/>
                        <a:pt x="43008" y="12936"/>
                        <a:pt x="32316" y="12936"/>
                      </a:cubicBezTo>
                      <a:close/>
                    </a:path>
                  </a:pathLst>
                </a:custGeom>
                <a:solidFill>
                  <a:schemeClr val="accent1"/>
                </a:solidFill>
                <a:ln w="2408" cap="flat">
                  <a:noFill/>
                  <a:prstDash val="solid"/>
                  <a:miter/>
                </a:ln>
              </p:spPr>
              <p:txBody>
                <a:bodyPr rtlCol="0" anchor="ctr"/>
                <a:lstStyle/>
                <a:p>
                  <a:endParaRPr lang="en-GB" dirty="0"/>
                </a:p>
              </p:txBody>
            </p:sp>
            <p:sp>
              <p:nvSpPr>
                <p:cNvPr id="641" name="Freihandform: Form 916">
                  <a:extLst>
                    <a:ext uri="{FF2B5EF4-FFF2-40B4-BE49-F238E27FC236}">
                      <a16:creationId xmlns:a16="http://schemas.microsoft.com/office/drawing/2014/main" id="{E78590E7-552A-4527-B122-10E2A305B5C5}"/>
                    </a:ext>
                  </a:extLst>
                </p:cNvPr>
                <p:cNvSpPr/>
                <p:nvPr/>
              </p:nvSpPr>
              <p:spPr>
                <a:xfrm>
                  <a:off x="6333526" y="2505668"/>
                  <a:ext cx="12936" cy="84012"/>
                </a:xfrm>
                <a:custGeom>
                  <a:avLst/>
                  <a:gdLst>
                    <a:gd name="connsiteX0" fmla="*/ 0 w 12936"/>
                    <a:gd name="connsiteY0" fmla="*/ 0 h 84012"/>
                    <a:gd name="connsiteX1" fmla="*/ 12936 w 12936"/>
                    <a:gd name="connsiteY1" fmla="*/ 0 h 84012"/>
                    <a:gd name="connsiteX2" fmla="*/ 12936 w 12936"/>
                    <a:gd name="connsiteY2" fmla="*/ 84013 h 84012"/>
                    <a:gd name="connsiteX3" fmla="*/ 0 w 12936"/>
                    <a:gd name="connsiteY3" fmla="*/ 84013 h 84012"/>
                  </a:gdLst>
                  <a:ahLst/>
                  <a:cxnLst>
                    <a:cxn ang="0">
                      <a:pos x="connsiteX0" y="connsiteY0"/>
                    </a:cxn>
                    <a:cxn ang="0">
                      <a:pos x="connsiteX1" y="connsiteY1"/>
                    </a:cxn>
                    <a:cxn ang="0">
                      <a:pos x="connsiteX2" y="connsiteY2"/>
                    </a:cxn>
                    <a:cxn ang="0">
                      <a:pos x="connsiteX3" y="connsiteY3"/>
                    </a:cxn>
                  </a:cxnLst>
                  <a:rect l="l" t="t" r="r" b="b"/>
                  <a:pathLst>
                    <a:path w="12936" h="84012">
                      <a:moveTo>
                        <a:pt x="0" y="0"/>
                      </a:moveTo>
                      <a:lnTo>
                        <a:pt x="12936" y="0"/>
                      </a:lnTo>
                      <a:lnTo>
                        <a:pt x="12936" y="84013"/>
                      </a:lnTo>
                      <a:lnTo>
                        <a:pt x="0" y="84013"/>
                      </a:lnTo>
                      <a:close/>
                    </a:path>
                  </a:pathLst>
                </a:custGeom>
                <a:solidFill>
                  <a:schemeClr val="accent1"/>
                </a:solidFill>
                <a:ln w="2408" cap="flat">
                  <a:noFill/>
                  <a:prstDash val="solid"/>
                  <a:miter/>
                </a:ln>
              </p:spPr>
              <p:txBody>
                <a:bodyPr rtlCol="0" anchor="ctr"/>
                <a:lstStyle/>
                <a:p>
                  <a:endParaRPr lang="en-GB" dirty="0"/>
                </a:p>
              </p:txBody>
            </p:sp>
          </p:grpSp>
          <p:grpSp>
            <p:nvGrpSpPr>
              <p:cNvPr id="625" name="Grafik 191">
                <a:extLst>
                  <a:ext uri="{FF2B5EF4-FFF2-40B4-BE49-F238E27FC236}">
                    <a16:creationId xmlns:a16="http://schemas.microsoft.com/office/drawing/2014/main" id="{2FD7A4F7-ED7E-4177-B6D5-FF9186282A1E}"/>
                  </a:ext>
                </a:extLst>
              </p:cNvPr>
              <p:cNvGrpSpPr/>
              <p:nvPr/>
            </p:nvGrpSpPr>
            <p:grpSpPr>
              <a:xfrm>
                <a:off x="6100835" y="2563834"/>
                <a:ext cx="130688" cy="92859"/>
                <a:chOff x="6100835" y="2563834"/>
                <a:chExt cx="130688" cy="92859"/>
              </a:xfrm>
              <a:solidFill>
                <a:schemeClr val="accent1"/>
              </a:solidFill>
            </p:grpSpPr>
            <p:sp>
              <p:nvSpPr>
                <p:cNvPr id="638" name="Freihandform: Form 918">
                  <a:extLst>
                    <a:ext uri="{FF2B5EF4-FFF2-40B4-BE49-F238E27FC236}">
                      <a16:creationId xmlns:a16="http://schemas.microsoft.com/office/drawing/2014/main" id="{F656C146-173F-411F-BF7C-7AAABDE4F9D4}"/>
                    </a:ext>
                  </a:extLst>
                </p:cNvPr>
                <p:cNvSpPr/>
                <p:nvPr/>
              </p:nvSpPr>
              <p:spPr>
                <a:xfrm>
                  <a:off x="6100835" y="2563834"/>
                  <a:ext cx="64663" cy="64630"/>
                </a:xfrm>
                <a:custGeom>
                  <a:avLst/>
                  <a:gdLst>
                    <a:gd name="connsiteX0" fmla="*/ 32277 w 64663"/>
                    <a:gd name="connsiteY0" fmla="*/ 64631 h 64630"/>
                    <a:gd name="connsiteX1" fmla="*/ 16179 w 64663"/>
                    <a:gd name="connsiteY1" fmla="*/ 60311 h 64630"/>
                    <a:gd name="connsiteX2" fmla="*/ 1119 w 64663"/>
                    <a:gd name="connsiteY2" fmla="*/ 40689 h 64630"/>
                    <a:gd name="connsiteX3" fmla="*/ 4353 w 64663"/>
                    <a:gd name="connsiteY3" fmla="*/ 16168 h 64630"/>
                    <a:gd name="connsiteX4" fmla="*/ 23975 w 64663"/>
                    <a:gd name="connsiteY4" fmla="*/ 1108 h 64630"/>
                    <a:gd name="connsiteX5" fmla="*/ 48495 w 64663"/>
                    <a:gd name="connsiteY5" fmla="*/ 4342 h 64630"/>
                    <a:gd name="connsiteX6" fmla="*/ 63555 w 64663"/>
                    <a:gd name="connsiteY6" fmla="*/ 23964 h 64630"/>
                    <a:gd name="connsiteX7" fmla="*/ 60321 w 64663"/>
                    <a:gd name="connsiteY7" fmla="*/ 48485 h 64630"/>
                    <a:gd name="connsiteX8" fmla="*/ 32277 w 64663"/>
                    <a:gd name="connsiteY8" fmla="*/ 64631 h 64630"/>
                    <a:gd name="connsiteX9" fmla="*/ 32373 w 64663"/>
                    <a:gd name="connsiteY9" fmla="*/ 12910 h 64630"/>
                    <a:gd name="connsiteX10" fmla="*/ 27329 w 64663"/>
                    <a:gd name="connsiteY10" fmla="*/ 13586 h 64630"/>
                    <a:gd name="connsiteX11" fmla="*/ 15552 w 64663"/>
                    <a:gd name="connsiteY11" fmla="*/ 22612 h 64630"/>
                    <a:gd name="connsiteX12" fmla="*/ 22647 w 64663"/>
                    <a:gd name="connsiteY12" fmla="*/ 49088 h 64630"/>
                    <a:gd name="connsiteX13" fmla="*/ 49123 w 64663"/>
                    <a:gd name="connsiteY13" fmla="*/ 41992 h 64630"/>
                    <a:gd name="connsiteX14" fmla="*/ 51054 w 64663"/>
                    <a:gd name="connsiteY14" fmla="*/ 27270 h 64630"/>
                    <a:gd name="connsiteX15" fmla="*/ 42027 w 64663"/>
                    <a:gd name="connsiteY15" fmla="*/ 15493 h 64630"/>
                    <a:gd name="connsiteX16" fmla="*/ 42027 w 64663"/>
                    <a:gd name="connsiteY16" fmla="*/ 15493 h 64630"/>
                    <a:gd name="connsiteX17" fmla="*/ 32373 w 64663"/>
                    <a:gd name="connsiteY17" fmla="*/ 12910 h 6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663" h="64630">
                      <a:moveTo>
                        <a:pt x="32277" y="64631"/>
                      </a:moveTo>
                      <a:cubicBezTo>
                        <a:pt x="26798" y="64631"/>
                        <a:pt x="21247" y="63231"/>
                        <a:pt x="16179" y="60311"/>
                      </a:cubicBezTo>
                      <a:cubicBezTo>
                        <a:pt x="8697" y="55991"/>
                        <a:pt x="3364" y="49016"/>
                        <a:pt x="1119" y="40689"/>
                      </a:cubicBezTo>
                      <a:cubicBezTo>
                        <a:pt x="-1125" y="32363"/>
                        <a:pt x="33" y="23650"/>
                        <a:pt x="4353" y="16168"/>
                      </a:cubicBezTo>
                      <a:cubicBezTo>
                        <a:pt x="8673" y="8687"/>
                        <a:pt x="15648" y="3353"/>
                        <a:pt x="23975" y="1108"/>
                      </a:cubicBezTo>
                      <a:cubicBezTo>
                        <a:pt x="32301" y="-1112"/>
                        <a:pt x="41014" y="22"/>
                        <a:pt x="48495" y="4342"/>
                      </a:cubicBezTo>
                      <a:cubicBezTo>
                        <a:pt x="55977" y="8663"/>
                        <a:pt x="61311" y="15637"/>
                        <a:pt x="63555" y="23964"/>
                      </a:cubicBezTo>
                      <a:cubicBezTo>
                        <a:pt x="65776" y="32290"/>
                        <a:pt x="64641" y="41003"/>
                        <a:pt x="60321" y="48485"/>
                      </a:cubicBezTo>
                      <a:cubicBezTo>
                        <a:pt x="54360" y="58838"/>
                        <a:pt x="43475" y="64631"/>
                        <a:pt x="32277" y="64631"/>
                      </a:cubicBezTo>
                      <a:close/>
                      <a:moveTo>
                        <a:pt x="32373" y="12910"/>
                      </a:moveTo>
                      <a:cubicBezTo>
                        <a:pt x="30684" y="12910"/>
                        <a:pt x="28995" y="13127"/>
                        <a:pt x="27329" y="13586"/>
                      </a:cubicBezTo>
                      <a:cubicBezTo>
                        <a:pt x="22333" y="14938"/>
                        <a:pt x="18158" y="18123"/>
                        <a:pt x="15552" y="22612"/>
                      </a:cubicBezTo>
                      <a:cubicBezTo>
                        <a:pt x="10218" y="31880"/>
                        <a:pt x="13380" y="43754"/>
                        <a:pt x="22647" y="49088"/>
                      </a:cubicBezTo>
                      <a:cubicBezTo>
                        <a:pt x="31915" y="54422"/>
                        <a:pt x="43789" y="51236"/>
                        <a:pt x="49123" y="41992"/>
                      </a:cubicBezTo>
                      <a:cubicBezTo>
                        <a:pt x="51705" y="37503"/>
                        <a:pt x="52405" y="32290"/>
                        <a:pt x="51054" y="27270"/>
                      </a:cubicBezTo>
                      <a:cubicBezTo>
                        <a:pt x="49702" y="22274"/>
                        <a:pt x="46516" y="18099"/>
                        <a:pt x="42027" y="15493"/>
                      </a:cubicBezTo>
                      <a:lnTo>
                        <a:pt x="42027" y="15493"/>
                      </a:lnTo>
                      <a:cubicBezTo>
                        <a:pt x="39035" y="13803"/>
                        <a:pt x="35728" y="12910"/>
                        <a:pt x="32373" y="12910"/>
                      </a:cubicBezTo>
                      <a:close/>
                    </a:path>
                  </a:pathLst>
                </a:custGeom>
                <a:solidFill>
                  <a:schemeClr val="accent1"/>
                </a:solidFill>
                <a:ln w="2408" cap="flat">
                  <a:noFill/>
                  <a:prstDash val="solid"/>
                  <a:miter/>
                </a:ln>
              </p:spPr>
              <p:txBody>
                <a:bodyPr rtlCol="0" anchor="ctr"/>
                <a:lstStyle/>
                <a:p>
                  <a:endParaRPr lang="en-GB" dirty="0"/>
                </a:p>
              </p:txBody>
            </p:sp>
            <p:sp>
              <p:nvSpPr>
                <p:cNvPr id="639" name="Freihandform: Form 919">
                  <a:extLst>
                    <a:ext uri="{FF2B5EF4-FFF2-40B4-BE49-F238E27FC236}">
                      <a16:creationId xmlns:a16="http://schemas.microsoft.com/office/drawing/2014/main" id="{4A74A8B6-55D6-4125-9C81-A87C4E2BF2FF}"/>
                    </a:ext>
                  </a:extLst>
                </p:cNvPr>
                <p:cNvSpPr/>
                <p:nvPr/>
              </p:nvSpPr>
              <p:spPr>
                <a:xfrm rot="-3599956">
                  <a:off x="6185443" y="2588084"/>
                  <a:ext cx="12935" cy="84010"/>
                </a:xfrm>
                <a:custGeom>
                  <a:avLst/>
                  <a:gdLst>
                    <a:gd name="connsiteX0" fmla="*/ 0 w 12935"/>
                    <a:gd name="connsiteY0" fmla="*/ 0 h 84010"/>
                    <a:gd name="connsiteX1" fmla="*/ 12936 w 12935"/>
                    <a:gd name="connsiteY1" fmla="*/ 0 h 84010"/>
                    <a:gd name="connsiteX2" fmla="*/ 12936 w 12935"/>
                    <a:gd name="connsiteY2" fmla="*/ 84011 h 84010"/>
                    <a:gd name="connsiteX3" fmla="*/ 0 w 12935"/>
                    <a:gd name="connsiteY3" fmla="*/ 84011 h 84010"/>
                  </a:gdLst>
                  <a:ahLst/>
                  <a:cxnLst>
                    <a:cxn ang="0">
                      <a:pos x="connsiteX0" y="connsiteY0"/>
                    </a:cxn>
                    <a:cxn ang="0">
                      <a:pos x="connsiteX1" y="connsiteY1"/>
                    </a:cxn>
                    <a:cxn ang="0">
                      <a:pos x="connsiteX2" y="connsiteY2"/>
                    </a:cxn>
                    <a:cxn ang="0">
                      <a:pos x="connsiteX3" y="connsiteY3"/>
                    </a:cxn>
                  </a:cxnLst>
                  <a:rect l="l" t="t" r="r" b="b"/>
                  <a:pathLst>
                    <a:path w="12935" h="84010">
                      <a:moveTo>
                        <a:pt x="0" y="0"/>
                      </a:moveTo>
                      <a:lnTo>
                        <a:pt x="12936" y="0"/>
                      </a:lnTo>
                      <a:lnTo>
                        <a:pt x="12936" y="84011"/>
                      </a:lnTo>
                      <a:lnTo>
                        <a:pt x="0" y="84011"/>
                      </a:lnTo>
                      <a:close/>
                    </a:path>
                  </a:pathLst>
                </a:custGeom>
                <a:solidFill>
                  <a:schemeClr val="accent1"/>
                </a:solidFill>
                <a:ln w="2408" cap="flat">
                  <a:noFill/>
                  <a:prstDash val="solid"/>
                  <a:miter/>
                </a:ln>
              </p:spPr>
              <p:txBody>
                <a:bodyPr rtlCol="0" anchor="ctr"/>
                <a:lstStyle/>
                <a:p>
                  <a:endParaRPr lang="en-GB" dirty="0"/>
                </a:p>
              </p:txBody>
            </p:sp>
          </p:grpSp>
          <p:grpSp>
            <p:nvGrpSpPr>
              <p:cNvPr id="626" name="Grafik 191">
                <a:extLst>
                  <a:ext uri="{FF2B5EF4-FFF2-40B4-BE49-F238E27FC236}">
                    <a16:creationId xmlns:a16="http://schemas.microsoft.com/office/drawing/2014/main" id="{9F160D99-2A55-4C2E-9540-548D15D644D2}"/>
                  </a:ext>
                </a:extLst>
              </p:cNvPr>
              <p:cNvGrpSpPr/>
              <p:nvPr/>
            </p:nvGrpSpPr>
            <p:grpSpPr>
              <a:xfrm>
                <a:off x="6448399" y="2563834"/>
                <a:ext cx="130694" cy="92916"/>
                <a:chOff x="6448399" y="2563834"/>
                <a:chExt cx="130694" cy="92916"/>
              </a:xfrm>
              <a:solidFill>
                <a:schemeClr val="accent1"/>
              </a:solidFill>
            </p:grpSpPr>
            <p:sp>
              <p:nvSpPr>
                <p:cNvPr id="636" name="Freihandform: Form 921">
                  <a:extLst>
                    <a:ext uri="{FF2B5EF4-FFF2-40B4-BE49-F238E27FC236}">
                      <a16:creationId xmlns:a16="http://schemas.microsoft.com/office/drawing/2014/main" id="{8EB89FD2-F6AF-44D6-89F6-C20326D423EB}"/>
                    </a:ext>
                  </a:extLst>
                </p:cNvPr>
                <p:cNvSpPr/>
                <p:nvPr/>
              </p:nvSpPr>
              <p:spPr>
                <a:xfrm>
                  <a:off x="6514441" y="2563834"/>
                  <a:ext cx="64653" cy="64630"/>
                </a:xfrm>
                <a:custGeom>
                  <a:avLst/>
                  <a:gdLst>
                    <a:gd name="connsiteX0" fmla="*/ 32387 w 64653"/>
                    <a:gd name="connsiteY0" fmla="*/ 64631 h 64630"/>
                    <a:gd name="connsiteX1" fmla="*/ 4342 w 64653"/>
                    <a:gd name="connsiteY1" fmla="*/ 48485 h 64630"/>
                    <a:gd name="connsiteX2" fmla="*/ 1108 w 64653"/>
                    <a:gd name="connsiteY2" fmla="*/ 23964 h 64630"/>
                    <a:gd name="connsiteX3" fmla="*/ 16168 w 64653"/>
                    <a:gd name="connsiteY3" fmla="*/ 4342 h 64630"/>
                    <a:gd name="connsiteX4" fmla="*/ 16168 w 64653"/>
                    <a:gd name="connsiteY4" fmla="*/ 4342 h 64630"/>
                    <a:gd name="connsiteX5" fmla="*/ 40689 w 64653"/>
                    <a:gd name="connsiteY5" fmla="*/ 1108 h 64630"/>
                    <a:gd name="connsiteX6" fmla="*/ 60311 w 64653"/>
                    <a:gd name="connsiteY6" fmla="*/ 16168 h 64630"/>
                    <a:gd name="connsiteX7" fmla="*/ 63545 w 64653"/>
                    <a:gd name="connsiteY7" fmla="*/ 40689 h 64630"/>
                    <a:gd name="connsiteX8" fmla="*/ 48485 w 64653"/>
                    <a:gd name="connsiteY8" fmla="*/ 60311 h 64630"/>
                    <a:gd name="connsiteX9" fmla="*/ 32387 w 64653"/>
                    <a:gd name="connsiteY9" fmla="*/ 64631 h 64630"/>
                    <a:gd name="connsiteX10" fmla="*/ 32314 w 64653"/>
                    <a:gd name="connsiteY10" fmla="*/ 12910 h 64630"/>
                    <a:gd name="connsiteX11" fmla="*/ 22661 w 64653"/>
                    <a:gd name="connsiteY11" fmla="*/ 15517 h 64630"/>
                    <a:gd name="connsiteX12" fmla="*/ 22661 w 64653"/>
                    <a:gd name="connsiteY12" fmla="*/ 15517 h 64630"/>
                    <a:gd name="connsiteX13" fmla="*/ 13634 w 64653"/>
                    <a:gd name="connsiteY13" fmla="*/ 27294 h 64630"/>
                    <a:gd name="connsiteX14" fmla="*/ 15565 w 64653"/>
                    <a:gd name="connsiteY14" fmla="*/ 42017 h 64630"/>
                    <a:gd name="connsiteX15" fmla="*/ 42041 w 64653"/>
                    <a:gd name="connsiteY15" fmla="*/ 49112 h 64630"/>
                    <a:gd name="connsiteX16" fmla="*/ 49136 w 64653"/>
                    <a:gd name="connsiteY16" fmla="*/ 22636 h 64630"/>
                    <a:gd name="connsiteX17" fmla="*/ 37359 w 64653"/>
                    <a:gd name="connsiteY17" fmla="*/ 13610 h 64630"/>
                    <a:gd name="connsiteX18" fmla="*/ 32314 w 64653"/>
                    <a:gd name="connsiteY18" fmla="*/ 12910 h 64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53" h="64630">
                      <a:moveTo>
                        <a:pt x="32387" y="64631"/>
                      </a:moveTo>
                      <a:cubicBezTo>
                        <a:pt x="21213" y="64631"/>
                        <a:pt x="10328" y="58838"/>
                        <a:pt x="4342" y="48485"/>
                      </a:cubicBezTo>
                      <a:cubicBezTo>
                        <a:pt x="22" y="41003"/>
                        <a:pt x="-1112" y="32290"/>
                        <a:pt x="1108" y="23964"/>
                      </a:cubicBezTo>
                      <a:cubicBezTo>
                        <a:pt x="3353" y="15637"/>
                        <a:pt x="8687" y="8663"/>
                        <a:pt x="16168" y="4342"/>
                      </a:cubicBezTo>
                      <a:lnTo>
                        <a:pt x="16168" y="4342"/>
                      </a:lnTo>
                      <a:cubicBezTo>
                        <a:pt x="23650" y="22"/>
                        <a:pt x="32363" y="-1112"/>
                        <a:pt x="40689" y="1108"/>
                      </a:cubicBezTo>
                      <a:cubicBezTo>
                        <a:pt x="49016" y="3353"/>
                        <a:pt x="55990" y="8687"/>
                        <a:pt x="60311" y="16168"/>
                      </a:cubicBezTo>
                      <a:cubicBezTo>
                        <a:pt x="64631" y="23650"/>
                        <a:pt x="65765" y="32339"/>
                        <a:pt x="63545" y="40689"/>
                      </a:cubicBezTo>
                      <a:cubicBezTo>
                        <a:pt x="61300" y="49016"/>
                        <a:pt x="55966" y="55991"/>
                        <a:pt x="48485" y="60311"/>
                      </a:cubicBezTo>
                      <a:cubicBezTo>
                        <a:pt x="43416" y="63231"/>
                        <a:pt x="37865" y="64631"/>
                        <a:pt x="32387" y="64631"/>
                      </a:cubicBezTo>
                      <a:close/>
                      <a:moveTo>
                        <a:pt x="32314" y="12910"/>
                      </a:moveTo>
                      <a:cubicBezTo>
                        <a:pt x="28960" y="12910"/>
                        <a:pt x="25629" y="13779"/>
                        <a:pt x="22661" y="15517"/>
                      </a:cubicBezTo>
                      <a:lnTo>
                        <a:pt x="22661" y="15517"/>
                      </a:lnTo>
                      <a:cubicBezTo>
                        <a:pt x="18172" y="18099"/>
                        <a:pt x="14962" y="22274"/>
                        <a:pt x="13634" y="27294"/>
                      </a:cubicBezTo>
                      <a:cubicBezTo>
                        <a:pt x="12283" y="32290"/>
                        <a:pt x="12983" y="37528"/>
                        <a:pt x="15565" y="42017"/>
                      </a:cubicBezTo>
                      <a:cubicBezTo>
                        <a:pt x="20899" y="51284"/>
                        <a:pt x="32797" y="54446"/>
                        <a:pt x="42041" y="49112"/>
                      </a:cubicBezTo>
                      <a:cubicBezTo>
                        <a:pt x="51308" y="43778"/>
                        <a:pt x="54470" y="31880"/>
                        <a:pt x="49136" y="22636"/>
                      </a:cubicBezTo>
                      <a:cubicBezTo>
                        <a:pt x="46554" y="18147"/>
                        <a:pt x="42379" y="14938"/>
                        <a:pt x="37359" y="13610"/>
                      </a:cubicBezTo>
                      <a:cubicBezTo>
                        <a:pt x="35693" y="13152"/>
                        <a:pt x="33980" y="12910"/>
                        <a:pt x="32314" y="12910"/>
                      </a:cubicBezTo>
                      <a:close/>
                    </a:path>
                  </a:pathLst>
                </a:custGeom>
                <a:solidFill>
                  <a:schemeClr val="accent1"/>
                </a:solidFill>
                <a:ln w="2408" cap="flat">
                  <a:noFill/>
                  <a:prstDash val="solid"/>
                  <a:miter/>
                </a:ln>
              </p:spPr>
              <p:txBody>
                <a:bodyPr rtlCol="0" anchor="ctr"/>
                <a:lstStyle/>
                <a:p>
                  <a:endParaRPr lang="en-GB" dirty="0"/>
                </a:p>
              </p:txBody>
            </p:sp>
            <p:sp>
              <p:nvSpPr>
                <p:cNvPr id="637" name="Freihandform: Form 922">
                  <a:extLst>
                    <a:ext uri="{FF2B5EF4-FFF2-40B4-BE49-F238E27FC236}">
                      <a16:creationId xmlns:a16="http://schemas.microsoft.com/office/drawing/2014/main" id="{0C59BD84-85FF-4501-BA04-E5B923433E13}"/>
                    </a:ext>
                  </a:extLst>
                </p:cNvPr>
                <p:cNvSpPr/>
                <p:nvPr/>
              </p:nvSpPr>
              <p:spPr>
                <a:xfrm rot="-1799574">
                  <a:off x="6446007" y="2623681"/>
                  <a:ext cx="84013" cy="12936"/>
                </a:xfrm>
                <a:custGeom>
                  <a:avLst/>
                  <a:gdLst>
                    <a:gd name="connsiteX0" fmla="*/ 0 w 84013"/>
                    <a:gd name="connsiteY0" fmla="*/ 0 h 12936"/>
                    <a:gd name="connsiteX1" fmla="*/ 84014 w 84013"/>
                    <a:gd name="connsiteY1" fmla="*/ 0 h 12936"/>
                    <a:gd name="connsiteX2" fmla="*/ 84014 w 84013"/>
                    <a:gd name="connsiteY2" fmla="*/ 12936 h 12936"/>
                    <a:gd name="connsiteX3" fmla="*/ 0 w 84013"/>
                    <a:gd name="connsiteY3" fmla="*/ 12936 h 12936"/>
                  </a:gdLst>
                  <a:ahLst/>
                  <a:cxnLst>
                    <a:cxn ang="0">
                      <a:pos x="connsiteX0" y="connsiteY0"/>
                    </a:cxn>
                    <a:cxn ang="0">
                      <a:pos x="connsiteX1" y="connsiteY1"/>
                    </a:cxn>
                    <a:cxn ang="0">
                      <a:pos x="connsiteX2" y="connsiteY2"/>
                    </a:cxn>
                    <a:cxn ang="0">
                      <a:pos x="connsiteX3" y="connsiteY3"/>
                    </a:cxn>
                  </a:cxnLst>
                  <a:rect l="l" t="t" r="r" b="b"/>
                  <a:pathLst>
                    <a:path w="84013" h="12936">
                      <a:moveTo>
                        <a:pt x="0" y="0"/>
                      </a:moveTo>
                      <a:lnTo>
                        <a:pt x="84014" y="0"/>
                      </a:lnTo>
                      <a:lnTo>
                        <a:pt x="84014" y="12936"/>
                      </a:lnTo>
                      <a:lnTo>
                        <a:pt x="0" y="12936"/>
                      </a:lnTo>
                      <a:close/>
                    </a:path>
                  </a:pathLst>
                </a:custGeom>
                <a:solidFill>
                  <a:schemeClr val="accent1"/>
                </a:solidFill>
                <a:ln w="2408" cap="flat">
                  <a:noFill/>
                  <a:prstDash val="solid"/>
                  <a:miter/>
                </a:ln>
              </p:spPr>
              <p:txBody>
                <a:bodyPr rtlCol="0" anchor="ctr"/>
                <a:lstStyle/>
                <a:p>
                  <a:endParaRPr lang="en-GB" dirty="0"/>
                </a:p>
              </p:txBody>
            </p:sp>
          </p:grpSp>
          <p:grpSp>
            <p:nvGrpSpPr>
              <p:cNvPr id="627" name="Grafik 191">
                <a:extLst>
                  <a:ext uri="{FF2B5EF4-FFF2-40B4-BE49-F238E27FC236}">
                    <a16:creationId xmlns:a16="http://schemas.microsoft.com/office/drawing/2014/main" id="{76DCAACA-658D-4C3A-9139-98888EFED202}"/>
                  </a:ext>
                </a:extLst>
              </p:cNvPr>
              <p:cNvGrpSpPr/>
              <p:nvPr/>
            </p:nvGrpSpPr>
            <p:grpSpPr>
              <a:xfrm>
                <a:off x="6457113" y="2773070"/>
                <a:ext cx="121982" cy="88052"/>
                <a:chOff x="6457113" y="2773070"/>
                <a:chExt cx="121982" cy="88052"/>
              </a:xfrm>
              <a:solidFill>
                <a:schemeClr val="accent1"/>
              </a:solidFill>
            </p:grpSpPr>
            <p:sp>
              <p:nvSpPr>
                <p:cNvPr id="634" name="Freihandform: Form 924">
                  <a:extLst>
                    <a:ext uri="{FF2B5EF4-FFF2-40B4-BE49-F238E27FC236}">
                      <a16:creationId xmlns:a16="http://schemas.microsoft.com/office/drawing/2014/main" id="{147F68C7-9B24-4125-BD38-AA9F47A3BB92}"/>
                    </a:ext>
                  </a:extLst>
                </p:cNvPr>
                <p:cNvSpPr/>
                <p:nvPr/>
              </p:nvSpPr>
              <p:spPr>
                <a:xfrm>
                  <a:off x="6514454" y="2796457"/>
                  <a:ext cx="64641" cy="64665"/>
                </a:xfrm>
                <a:custGeom>
                  <a:avLst/>
                  <a:gdLst>
                    <a:gd name="connsiteX0" fmla="*/ 32277 w 64641"/>
                    <a:gd name="connsiteY0" fmla="*/ 64666 h 64665"/>
                    <a:gd name="connsiteX1" fmla="*/ 16179 w 64641"/>
                    <a:gd name="connsiteY1" fmla="*/ 60321 h 64665"/>
                    <a:gd name="connsiteX2" fmla="*/ 1119 w 64641"/>
                    <a:gd name="connsiteY2" fmla="*/ 40700 h 64665"/>
                    <a:gd name="connsiteX3" fmla="*/ 4353 w 64641"/>
                    <a:gd name="connsiteY3" fmla="*/ 16179 h 64665"/>
                    <a:gd name="connsiteX4" fmla="*/ 23975 w 64641"/>
                    <a:gd name="connsiteY4" fmla="*/ 1119 h 64665"/>
                    <a:gd name="connsiteX5" fmla="*/ 48495 w 64641"/>
                    <a:gd name="connsiteY5" fmla="*/ 4353 h 64665"/>
                    <a:gd name="connsiteX6" fmla="*/ 60321 w 64641"/>
                    <a:gd name="connsiteY6" fmla="*/ 48495 h 64665"/>
                    <a:gd name="connsiteX7" fmla="*/ 40700 w 64641"/>
                    <a:gd name="connsiteY7" fmla="*/ 63555 h 64665"/>
                    <a:gd name="connsiteX8" fmla="*/ 32277 w 64641"/>
                    <a:gd name="connsiteY8" fmla="*/ 64666 h 64665"/>
                    <a:gd name="connsiteX9" fmla="*/ 32349 w 64641"/>
                    <a:gd name="connsiteY9" fmla="*/ 12945 h 64665"/>
                    <a:gd name="connsiteX10" fmla="*/ 27305 w 64641"/>
                    <a:gd name="connsiteY10" fmla="*/ 13621 h 64665"/>
                    <a:gd name="connsiteX11" fmla="*/ 15527 w 64641"/>
                    <a:gd name="connsiteY11" fmla="*/ 22647 h 64665"/>
                    <a:gd name="connsiteX12" fmla="*/ 13597 w 64641"/>
                    <a:gd name="connsiteY12" fmla="*/ 37369 h 64665"/>
                    <a:gd name="connsiteX13" fmla="*/ 22623 w 64641"/>
                    <a:gd name="connsiteY13" fmla="*/ 49147 h 64665"/>
                    <a:gd name="connsiteX14" fmla="*/ 22623 w 64641"/>
                    <a:gd name="connsiteY14" fmla="*/ 49147 h 64665"/>
                    <a:gd name="connsiteX15" fmla="*/ 49099 w 64641"/>
                    <a:gd name="connsiteY15" fmla="*/ 42051 h 64665"/>
                    <a:gd name="connsiteX16" fmla="*/ 42003 w 64641"/>
                    <a:gd name="connsiteY16" fmla="*/ 15576 h 64665"/>
                    <a:gd name="connsiteX17" fmla="*/ 32349 w 64641"/>
                    <a:gd name="connsiteY17" fmla="*/ 12945 h 6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641" h="64665">
                      <a:moveTo>
                        <a:pt x="32277" y="64666"/>
                      </a:moveTo>
                      <a:cubicBezTo>
                        <a:pt x="26678" y="64666"/>
                        <a:pt x="21151" y="63193"/>
                        <a:pt x="16179" y="60321"/>
                      </a:cubicBezTo>
                      <a:cubicBezTo>
                        <a:pt x="8697" y="56001"/>
                        <a:pt x="3364" y="49026"/>
                        <a:pt x="1119" y="40700"/>
                      </a:cubicBezTo>
                      <a:cubicBezTo>
                        <a:pt x="-1125" y="32373"/>
                        <a:pt x="33" y="23661"/>
                        <a:pt x="4353" y="16179"/>
                      </a:cubicBezTo>
                      <a:cubicBezTo>
                        <a:pt x="8673" y="8697"/>
                        <a:pt x="15648" y="3364"/>
                        <a:pt x="23975" y="1119"/>
                      </a:cubicBezTo>
                      <a:cubicBezTo>
                        <a:pt x="32325" y="-1125"/>
                        <a:pt x="41014" y="33"/>
                        <a:pt x="48495" y="4353"/>
                      </a:cubicBezTo>
                      <a:cubicBezTo>
                        <a:pt x="63917" y="13259"/>
                        <a:pt x="69227" y="33073"/>
                        <a:pt x="60321" y="48495"/>
                      </a:cubicBezTo>
                      <a:cubicBezTo>
                        <a:pt x="56001" y="55977"/>
                        <a:pt x="49026" y="61311"/>
                        <a:pt x="40700" y="63555"/>
                      </a:cubicBezTo>
                      <a:cubicBezTo>
                        <a:pt x="37900" y="64304"/>
                        <a:pt x="35077" y="64666"/>
                        <a:pt x="32277" y="64666"/>
                      </a:cubicBezTo>
                      <a:close/>
                      <a:moveTo>
                        <a:pt x="32349" y="12945"/>
                      </a:moveTo>
                      <a:cubicBezTo>
                        <a:pt x="30660" y="12945"/>
                        <a:pt x="28970" y="13162"/>
                        <a:pt x="27305" y="13621"/>
                      </a:cubicBezTo>
                      <a:cubicBezTo>
                        <a:pt x="22309" y="14972"/>
                        <a:pt x="18134" y="18158"/>
                        <a:pt x="15527" y="22647"/>
                      </a:cubicBezTo>
                      <a:cubicBezTo>
                        <a:pt x="12945" y="27136"/>
                        <a:pt x="12245" y="32349"/>
                        <a:pt x="13597" y="37369"/>
                      </a:cubicBezTo>
                      <a:cubicBezTo>
                        <a:pt x="14948" y="42365"/>
                        <a:pt x="18134" y="46540"/>
                        <a:pt x="22623" y="49147"/>
                      </a:cubicBezTo>
                      <a:lnTo>
                        <a:pt x="22623" y="49147"/>
                      </a:lnTo>
                      <a:cubicBezTo>
                        <a:pt x="31867" y="54505"/>
                        <a:pt x="43765" y="51319"/>
                        <a:pt x="49099" y="42051"/>
                      </a:cubicBezTo>
                      <a:cubicBezTo>
                        <a:pt x="54432" y="32784"/>
                        <a:pt x="51271" y="20910"/>
                        <a:pt x="42003" y="15576"/>
                      </a:cubicBezTo>
                      <a:cubicBezTo>
                        <a:pt x="39035" y="13838"/>
                        <a:pt x="35704" y="12945"/>
                        <a:pt x="32349" y="12945"/>
                      </a:cubicBezTo>
                      <a:close/>
                    </a:path>
                  </a:pathLst>
                </a:custGeom>
                <a:solidFill>
                  <a:schemeClr val="accent1"/>
                </a:solidFill>
                <a:ln w="2408" cap="flat">
                  <a:noFill/>
                  <a:prstDash val="solid"/>
                  <a:miter/>
                </a:ln>
              </p:spPr>
              <p:txBody>
                <a:bodyPr rtlCol="0" anchor="ctr"/>
                <a:lstStyle/>
                <a:p>
                  <a:endParaRPr lang="en-GB" dirty="0"/>
                </a:p>
              </p:txBody>
            </p:sp>
            <p:sp>
              <p:nvSpPr>
                <p:cNvPr id="635" name="Freihandform: Form 925">
                  <a:extLst>
                    <a:ext uri="{FF2B5EF4-FFF2-40B4-BE49-F238E27FC236}">
                      <a16:creationId xmlns:a16="http://schemas.microsoft.com/office/drawing/2014/main" id="{3F538D1A-39EB-4F66-B1CD-2EDA96315B43}"/>
                    </a:ext>
                  </a:extLst>
                </p:cNvPr>
                <p:cNvSpPr/>
                <p:nvPr/>
              </p:nvSpPr>
              <p:spPr>
                <a:xfrm rot="-3592879">
                  <a:off x="6485921" y="2760210"/>
                  <a:ext cx="12912" cy="74046"/>
                </a:xfrm>
                <a:custGeom>
                  <a:avLst/>
                  <a:gdLst>
                    <a:gd name="connsiteX0" fmla="*/ 0 w 12912"/>
                    <a:gd name="connsiteY0" fmla="*/ 0 h 74046"/>
                    <a:gd name="connsiteX1" fmla="*/ 12912 w 12912"/>
                    <a:gd name="connsiteY1" fmla="*/ 0 h 74046"/>
                    <a:gd name="connsiteX2" fmla="*/ 12912 w 12912"/>
                    <a:gd name="connsiteY2" fmla="*/ 74046 h 74046"/>
                    <a:gd name="connsiteX3" fmla="*/ 0 w 12912"/>
                    <a:gd name="connsiteY3" fmla="*/ 74046 h 74046"/>
                  </a:gdLst>
                  <a:ahLst/>
                  <a:cxnLst>
                    <a:cxn ang="0">
                      <a:pos x="connsiteX0" y="connsiteY0"/>
                    </a:cxn>
                    <a:cxn ang="0">
                      <a:pos x="connsiteX1" y="connsiteY1"/>
                    </a:cxn>
                    <a:cxn ang="0">
                      <a:pos x="connsiteX2" y="connsiteY2"/>
                    </a:cxn>
                    <a:cxn ang="0">
                      <a:pos x="connsiteX3" y="connsiteY3"/>
                    </a:cxn>
                  </a:cxnLst>
                  <a:rect l="l" t="t" r="r" b="b"/>
                  <a:pathLst>
                    <a:path w="12912" h="74046">
                      <a:moveTo>
                        <a:pt x="0" y="0"/>
                      </a:moveTo>
                      <a:lnTo>
                        <a:pt x="12912" y="0"/>
                      </a:lnTo>
                      <a:lnTo>
                        <a:pt x="12912" y="74046"/>
                      </a:lnTo>
                      <a:lnTo>
                        <a:pt x="0" y="74046"/>
                      </a:lnTo>
                      <a:close/>
                    </a:path>
                  </a:pathLst>
                </a:custGeom>
                <a:solidFill>
                  <a:schemeClr val="accent1"/>
                </a:solidFill>
                <a:ln w="2408" cap="flat">
                  <a:noFill/>
                  <a:prstDash val="solid"/>
                  <a:miter/>
                </a:ln>
              </p:spPr>
              <p:txBody>
                <a:bodyPr rtlCol="0" anchor="ctr"/>
                <a:lstStyle/>
                <a:p>
                  <a:endParaRPr lang="en-GB" dirty="0"/>
                </a:p>
              </p:txBody>
            </p:sp>
          </p:grpSp>
          <p:grpSp>
            <p:nvGrpSpPr>
              <p:cNvPr id="628" name="Grafik 191">
                <a:extLst>
                  <a:ext uri="{FF2B5EF4-FFF2-40B4-BE49-F238E27FC236}">
                    <a16:creationId xmlns:a16="http://schemas.microsoft.com/office/drawing/2014/main" id="{F40A753E-94A0-4739-B0F1-CC5E2A82189F}"/>
                  </a:ext>
                </a:extLst>
              </p:cNvPr>
              <p:cNvGrpSpPr/>
              <p:nvPr/>
            </p:nvGrpSpPr>
            <p:grpSpPr>
              <a:xfrm>
                <a:off x="6100868" y="2768332"/>
                <a:ext cx="130686" cy="92790"/>
                <a:chOff x="6100868" y="2768332"/>
                <a:chExt cx="130686" cy="92790"/>
              </a:xfrm>
              <a:solidFill>
                <a:schemeClr val="accent1"/>
              </a:solidFill>
            </p:grpSpPr>
            <p:sp>
              <p:nvSpPr>
                <p:cNvPr id="632" name="Freihandform: Form 927">
                  <a:extLst>
                    <a:ext uri="{FF2B5EF4-FFF2-40B4-BE49-F238E27FC236}">
                      <a16:creationId xmlns:a16="http://schemas.microsoft.com/office/drawing/2014/main" id="{1820D589-6754-46F5-86F2-D08CE463BDB4}"/>
                    </a:ext>
                  </a:extLst>
                </p:cNvPr>
                <p:cNvSpPr/>
                <p:nvPr/>
              </p:nvSpPr>
              <p:spPr>
                <a:xfrm>
                  <a:off x="6100868" y="2796468"/>
                  <a:ext cx="64630" cy="64654"/>
                </a:xfrm>
                <a:custGeom>
                  <a:avLst/>
                  <a:gdLst>
                    <a:gd name="connsiteX0" fmla="*/ 32364 w 64630"/>
                    <a:gd name="connsiteY0" fmla="*/ 64655 h 64654"/>
                    <a:gd name="connsiteX1" fmla="*/ 23941 w 64630"/>
                    <a:gd name="connsiteY1" fmla="*/ 63545 h 64654"/>
                    <a:gd name="connsiteX2" fmla="*/ 4320 w 64630"/>
                    <a:gd name="connsiteY2" fmla="*/ 48485 h 64654"/>
                    <a:gd name="connsiteX3" fmla="*/ 16146 w 64630"/>
                    <a:gd name="connsiteY3" fmla="*/ 4342 h 64654"/>
                    <a:gd name="connsiteX4" fmla="*/ 40667 w 64630"/>
                    <a:gd name="connsiteY4" fmla="*/ 1108 h 64654"/>
                    <a:gd name="connsiteX5" fmla="*/ 60288 w 64630"/>
                    <a:gd name="connsiteY5" fmla="*/ 16168 h 64654"/>
                    <a:gd name="connsiteX6" fmla="*/ 63522 w 64630"/>
                    <a:gd name="connsiteY6" fmla="*/ 40689 h 64654"/>
                    <a:gd name="connsiteX7" fmla="*/ 48462 w 64630"/>
                    <a:gd name="connsiteY7" fmla="*/ 60311 h 64654"/>
                    <a:gd name="connsiteX8" fmla="*/ 48462 w 64630"/>
                    <a:gd name="connsiteY8" fmla="*/ 60311 h 64654"/>
                    <a:gd name="connsiteX9" fmla="*/ 32364 w 64630"/>
                    <a:gd name="connsiteY9" fmla="*/ 64655 h 64654"/>
                    <a:gd name="connsiteX10" fmla="*/ 32268 w 64630"/>
                    <a:gd name="connsiteY10" fmla="*/ 12934 h 64654"/>
                    <a:gd name="connsiteX11" fmla="*/ 22614 w 64630"/>
                    <a:gd name="connsiteY11" fmla="*/ 15541 h 64654"/>
                    <a:gd name="connsiteX12" fmla="*/ 15518 w 64630"/>
                    <a:gd name="connsiteY12" fmla="*/ 42017 h 64654"/>
                    <a:gd name="connsiteX13" fmla="*/ 41994 w 64630"/>
                    <a:gd name="connsiteY13" fmla="*/ 49112 h 64654"/>
                    <a:gd name="connsiteX14" fmla="*/ 41994 w 64630"/>
                    <a:gd name="connsiteY14" fmla="*/ 49112 h 64654"/>
                    <a:gd name="connsiteX15" fmla="*/ 51020 w 64630"/>
                    <a:gd name="connsiteY15" fmla="*/ 37334 h 64654"/>
                    <a:gd name="connsiteX16" fmla="*/ 49090 w 64630"/>
                    <a:gd name="connsiteY16" fmla="*/ 22612 h 64654"/>
                    <a:gd name="connsiteX17" fmla="*/ 37312 w 64630"/>
                    <a:gd name="connsiteY17" fmla="*/ 13586 h 64654"/>
                    <a:gd name="connsiteX18" fmla="*/ 32268 w 64630"/>
                    <a:gd name="connsiteY18" fmla="*/ 12934 h 64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630" h="64654">
                      <a:moveTo>
                        <a:pt x="32364" y="64655"/>
                      </a:moveTo>
                      <a:cubicBezTo>
                        <a:pt x="29565" y="64655"/>
                        <a:pt x="26741" y="64293"/>
                        <a:pt x="23941" y="63545"/>
                      </a:cubicBezTo>
                      <a:cubicBezTo>
                        <a:pt x="15615" y="61300"/>
                        <a:pt x="8640" y="55966"/>
                        <a:pt x="4320" y="48485"/>
                      </a:cubicBezTo>
                      <a:cubicBezTo>
                        <a:pt x="-4586" y="33039"/>
                        <a:pt x="724" y="13248"/>
                        <a:pt x="16146" y="4342"/>
                      </a:cubicBezTo>
                      <a:cubicBezTo>
                        <a:pt x="23628" y="22"/>
                        <a:pt x="32340" y="-1112"/>
                        <a:pt x="40667" y="1108"/>
                      </a:cubicBezTo>
                      <a:cubicBezTo>
                        <a:pt x="48993" y="3353"/>
                        <a:pt x="55968" y="8687"/>
                        <a:pt x="60288" y="16168"/>
                      </a:cubicBezTo>
                      <a:cubicBezTo>
                        <a:pt x="64608" y="23650"/>
                        <a:pt x="65743" y="32339"/>
                        <a:pt x="63522" y="40689"/>
                      </a:cubicBezTo>
                      <a:cubicBezTo>
                        <a:pt x="61278" y="49016"/>
                        <a:pt x="55944" y="55990"/>
                        <a:pt x="48462" y="60311"/>
                      </a:cubicBezTo>
                      <a:lnTo>
                        <a:pt x="48462" y="60311"/>
                      </a:lnTo>
                      <a:cubicBezTo>
                        <a:pt x="43490" y="63207"/>
                        <a:pt x="37964" y="64655"/>
                        <a:pt x="32364" y="64655"/>
                      </a:cubicBezTo>
                      <a:close/>
                      <a:moveTo>
                        <a:pt x="32268" y="12934"/>
                      </a:moveTo>
                      <a:cubicBezTo>
                        <a:pt x="28913" y="12934"/>
                        <a:pt x="25583" y="13803"/>
                        <a:pt x="22614" y="15541"/>
                      </a:cubicBezTo>
                      <a:cubicBezTo>
                        <a:pt x="13346" y="20875"/>
                        <a:pt x="10185" y="32773"/>
                        <a:pt x="15518" y="42017"/>
                      </a:cubicBezTo>
                      <a:cubicBezTo>
                        <a:pt x="20852" y="51284"/>
                        <a:pt x="32751" y="54470"/>
                        <a:pt x="41994" y="49112"/>
                      </a:cubicBezTo>
                      <a:lnTo>
                        <a:pt x="41994" y="49112"/>
                      </a:lnTo>
                      <a:cubicBezTo>
                        <a:pt x="46483" y="46530"/>
                        <a:pt x="49693" y="42354"/>
                        <a:pt x="51020" y="37334"/>
                      </a:cubicBezTo>
                      <a:cubicBezTo>
                        <a:pt x="52372" y="32339"/>
                        <a:pt x="51672" y="27101"/>
                        <a:pt x="49090" y="22612"/>
                      </a:cubicBezTo>
                      <a:cubicBezTo>
                        <a:pt x="46507" y="18123"/>
                        <a:pt x="42332" y="14913"/>
                        <a:pt x="37312" y="13586"/>
                      </a:cubicBezTo>
                      <a:cubicBezTo>
                        <a:pt x="35647" y="13152"/>
                        <a:pt x="33957" y="12934"/>
                        <a:pt x="32268" y="12934"/>
                      </a:cubicBezTo>
                      <a:close/>
                    </a:path>
                  </a:pathLst>
                </a:custGeom>
                <a:solidFill>
                  <a:schemeClr val="accent1"/>
                </a:solidFill>
                <a:ln w="2408" cap="flat">
                  <a:noFill/>
                  <a:prstDash val="solid"/>
                  <a:miter/>
                </a:ln>
              </p:spPr>
              <p:txBody>
                <a:bodyPr rtlCol="0" anchor="ctr"/>
                <a:lstStyle/>
                <a:p>
                  <a:endParaRPr lang="en-GB" dirty="0"/>
                </a:p>
              </p:txBody>
            </p:sp>
            <p:sp>
              <p:nvSpPr>
                <p:cNvPr id="633" name="Freihandform: Form 928">
                  <a:extLst>
                    <a:ext uri="{FF2B5EF4-FFF2-40B4-BE49-F238E27FC236}">
                      <a16:creationId xmlns:a16="http://schemas.microsoft.com/office/drawing/2014/main" id="{06A796FF-E4DC-43C8-BD96-5A7A2FFBE2BB}"/>
                    </a:ext>
                  </a:extLst>
                </p:cNvPr>
                <p:cNvSpPr/>
                <p:nvPr/>
              </p:nvSpPr>
              <p:spPr>
                <a:xfrm rot="-1799574">
                  <a:off x="6149932" y="2788465"/>
                  <a:ext cx="84013" cy="12936"/>
                </a:xfrm>
                <a:custGeom>
                  <a:avLst/>
                  <a:gdLst>
                    <a:gd name="connsiteX0" fmla="*/ 0 w 84013"/>
                    <a:gd name="connsiteY0" fmla="*/ 0 h 12936"/>
                    <a:gd name="connsiteX1" fmla="*/ 84014 w 84013"/>
                    <a:gd name="connsiteY1" fmla="*/ 0 h 12936"/>
                    <a:gd name="connsiteX2" fmla="*/ 84014 w 84013"/>
                    <a:gd name="connsiteY2" fmla="*/ 12936 h 12936"/>
                    <a:gd name="connsiteX3" fmla="*/ 0 w 84013"/>
                    <a:gd name="connsiteY3" fmla="*/ 12936 h 12936"/>
                  </a:gdLst>
                  <a:ahLst/>
                  <a:cxnLst>
                    <a:cxn ang="0">
                      <a:pos x="connsiteX0" y="connsiteY0"/>
                    </a:cxn>
                    <a:cxn ang="0">
                      <a:pos x="connsiteX1" y="connsiteY1"/>
                    </a:cxn>
                    <a:cxn ang="0">
                      <a:pos x="connsiteX2" y="connsiteY2"/>
                    </a:cxn>
                    <a:cxn ang="0">
                      <a:pos x="connsiteX3" y="connsiteY3"/>
                    </a:cxn>
                  </a:cxnLst>
                  <a:rect l="l" t="t" r="r" b="b"/>
                  <a:pathLst>
                    <a:path w="84013" h="12936">
                      <a:moveTo>
                        <a:pt x="0" y="0"/>
                      </a:moveTo>
                      <a:lnTo>
                        <a:pt x="84014" y="0"/>
                      </a:lnTo>
                      <a:lnTo>
                        <a:pt x="84014" y="12936"/>
                      </a:lnTo>
                      <a:lnTo>
                        <a:pt x="0" y="12936"/>
                      </a:lnTo>
                      <a:close/>
                    </a:path>
                  </a:pathLst>
                </a:custGeom>
                <a:solidFill>
                  <a:schemeClr val="accent1"/>
                </a:solidFill>
                <a:ln w="2408" cap="flat">
                  <a:noFill/>
                  <a:prstDash val="solid"/>
                  <a:miter/>
                </a:ln>
              </p:spPr>
              <p:txBody>
                <a:bodyPr rtlCol="0" anchor="ctr"/>
                <a:lstStyle/>
                <a:p>
                  <a:endParaRPr lang="en-GB" dirty="0"/>
                </a:p>
              </p:txBody>
            </p:sp>
          </p:grpSp>
          <p:sp>
            <p:nvSpPr>
              <p:cNvPr id="629" name="Freihandform: Form 929">
                <a:extLst>
                  <a:ext uri="{FF2B5EF4-FFF2-40B4-BE49-F238E27FC236}">
                    <a16:creationId xmlns:a16="http://schemas.microsoft.com/office/drawing/2014/main" id="{8C0C9D64-3850-43E0-B9DB-93769E2D985E}"/>
                  </a:ext>
                </a:extLst>
              </p:cNvPr>
              <p:cNvSpPr/>
              <p:nvPr/>
            </p:nvSpPr>
            <p:spPr>
              <a:xfrm>
                <a:off x="6540866" y="2644611"/>
                <a:ext cx="12936" cy="135708"/>
              </a:xfrm>
              <a:custGeom>
                <a:avLst/>
                <a:gdLst>
                  <a:gd name="connsiteX0" fmla="*/ 0 w 12936"/>
                  <a:gd name="connsiteY0" fmla="*/ 0 h 135708"/>
                  <a:gd name="connsiteX1" fmla="*/ 12936 w 12936"/>
                  <a:gd name="connsiteY1" fmla="*/ 0 h 135708"/>
                  <a:gd name="connsiteX2" fmla="*/ 12936 w 12936"/>
                  <a:gd name="connsiteY2" fmla="*/ 135709 h 135708"/>
                  <a:gd name="connsiteX3" fmla="*/ 0 w 12936"/>
                  <a:gd name="connsiteY3" fmla="*/ 135709 h 135708"/>
                </a:gdLst>
                <a:ahLst/>
                <a:cxnLst>
                  <a:cxn ang="0">
                    <a:pos x="connsiteX0" y="connsiteY0"/>
                  </a:cxn>
                  <a:cxn ang="0">
                    <a:pos x="connsiteX1" y="connsiteY1"/>
                  </a:cxn>
                  <a:cxn ang="0">
                    <a:pos x="connsiteX2" y="connsiteY2"/>
                  </a:cxn>
                  <a:cxn ang="0">
                    <a:pos x="connsiteX3" y="connsiteY3"/>
                  </a:cxn>
                </a:cxnLst>
                <a:rect l="l" t="t" r="r" b="b"/>
                <a:pathLst>
                  <a:path w="12936" h="135708">
                    <a:moveTo>
                      <a:pt x="0" y="0"/>
                    </a:moveTo>
                    <a:lnTo>
                      <a:pt x="12936" y="0"/>
                    </a:lnTo>
                    <a:lnTo>
                      <a:pt x="12936" y="135709"/>
                    </a:lnTo>
                    <a:lnTo>
                      <a:pt x="0" y="135709"/>
                    </a:lnTo>
                    <a:close/>
                  </a:path>
                </a:pathLst>
              </a:custGeom>
              <a:solidFill>
                <a:schemeClr val="accent1"/>
              </a:solidFill>
              <a:ln w="2408" cap="flat">
                <a:noFill/>
                <a:prstDash val="solid"/>
                <a:miter/>
              </a:ln>
            </p:spPr>
            <p:txBody>
              <a:bodyPr rtlCol="0" anchor="ctr"/>
              <a:lstStyle/>
              <a:p>
                <a:endParaRPr lang="en-GB" dirty="0"/>
              </a:p>
            </p:txBody>
          </p:sp>
          <p:sp>
            <p:nvSpPr>
              <p:cNvPr id="630" name="Freihandform: Form 930">
                <a:extLst>
                  <a:ext uri="{FF2B5EF4-FFF2-40B4-BE49-F238E27FC236}">
                    <a16:creationId xmlns:a16="http://schemas.microsoft.com/office/drawing/2014/main" id="{8C24C838-B467-4E02-B71C-6DF5A9A87F46}"/>
                  </a:ext>
                </a:extLst>
              </p:cNvPr>
              <p:cNvSpPr/>
              <p:nvPr/>
            </p:nvSpPr>
            <p:spPr>
              <a:xfrm rot="17914158">
                <a:off x="6438981" y="2462435"/>
                <a:ext cx="12935" cy="137223"/>
              </a:xfrm>
              <a:custGeom>
                <a:avLst/>
                <a:gdLst>
                  <a:gd name="connsiteX0" fmla="*/ 0 w 12935"/>
                  <a:gd name="connsiteY0" fmla="*/ 0 h 137223"/>
                  <a:gd name="connsiteX1" fmla="*/ 12936 w 12935"/>
                  <a:gd name="connsiteY1" fmla="*/ 0 h 137223"/>
                  <a:gd name="connsiteX2" fmla="*/ 12936 w 12935"/>
                  <a:gd name="connsiteY2" fmla="*/ 137223 h 137223"/>
                  <a:gd name="connsiteX3" fmla="*/ 0 w 12935"/>
                  <a:gd name="connsiteY3" fmla="*/ 137223 h 137223"/>
                </a:gdLst>
                <a:ahLst/>
                <a:cxnLst>
                  <a:cxn ang="0">
                    <a:pos x="connsiteX0" y="connsiteY0"/>
                  </a:cxn>
                  <a:cxn ang="0">
                    <a:pos x="connsiteX1" y="connsiteY1"/>
                  </a:cxn>
                  <a:cxn ang="0">
                    <a:pos x="connsiteX2" y="connsiteY2"/>
                  </a:cxn>
                  <a:cxn ang="0">
                    <a:pos x="connsiteX3" y="connsiteY3"/>
                  </a:cxn>
                </a:cxnLst>
                <a:rect l="l" t="t" r="r" b="b"/>
                <a:pathLst>
                  <a:path w="12935" h="137223">
                    <a:moveTo>
                      <a:pt x="0" y="0"/>
                    </a:moveTo>
                    <a:lnTo>
                      <a:pt x="12936" y="0"/>
                    </a:lnTo>
                    <a:lnTo>
                      <a:pt x="12936" y="137223"/>
                    </a:lnTo>
                    <a:lnTo>
                      <a:pt x="0" y="137223"/>
                    </a:lnTo>
                    <a:close/>
                  </a:path>
                </a:pathLst>
              </a:custGeom>
              <a:solidFill>
                <a:schemeClr val="accent1"/>
              </a:solidFill>
              <a:ln w="2408" cap="flat">
                <a:noFill/>
                <a:prstDash val="solid"/>
                <a:miter/>
              </a:ln>
            </p:spPr>
            <p:txBody>
              <a:bodyPr rtlCol="0" anchor="ctr"/>
              <a:lstStyle/>
              <a:p>
                <a:endParaRPr lang="en-GB" dirty="0"/>
              </a:p>
            </p:txBody>
          </p:sp>
          <p:sp>
            <p:nvSpPr>
              <p:cNvPr id="631" name="Freihandform: Form 931">
                <a:extLst>
                  <a:ext uri="{FF2B5EF4-FFF2-40B4-BE49-F238E27FC236}">
                    <a16:creationId xmlns:a16="http://schemas.microsoft.com/office/drawing/2014/main" id="{88213939-5188-42E6-AE08-1759DAE9206B}"/>
                  </a:ext>
                </a:extLst>
              </p:cNvPr>
              <p:cNvSpPr/>
              <p:nvPr/>
            </p:nvSpPr>
            <p:spPr>
              <a:xfrm rot="19907845">
                <a:off x="6166243" y="2524015"/>
                <a:ext cx="136846" cy="12936"/>
              </a:xfrm>
              <a:custGeom>
                <a:avLst/>
                <a:gdLst>
                  <a:gd name="connsiteX0" fmla="*/ 0 w 136846"/>
                  <a:gd name="connsiteY0" fmla="*/ 0 h 12936"/>
                  <a:gd name="connsiteX1" fmla="*/ 136846 w 136846"/>
                  <a:gd name="connsiteY1" fmla="*/ 0 h 12936"/>
                  <a:gd name="connsiteX2" fmla="*/ 136846 w 136846"/>
                  <a:gd name="connsiteY2" fmla="*/ 12936 h 12936"/>
                  <a:gd name="connsiteX3" fmla="*/ 0 w 136846"/>
                  <a:gd name="connsiteY3" fmla="*/ 12936 h 12936"/>
                </a:gdLst>
                <a:ahLst/>
                <a:cxnLst>
                  <a:cxn ang="0">
                    <a:pos x="connsiteX0" y="connsiteY0"/>
                  </a:cxn>
                  <a:cxn ang="0">
                    <a:pos x="connsiteX1" y="connsiteY1"/>
                  </a:cxn>
                  <a:cxn ang="0">
                    <a:pos x="connsiteX2" y="connsiteY2"/>
                  </a:cxn>
                  <a:cxn ang="0">
                    <a:pos x="connsiteX3" y="connsiteY3"/>
                  </a:cxn>
                </a:cxnLst>
                <a:rect l="l" t="t" r="r" b="b"/>
                <a:pathLst>
                  <a:path w="136846" h="12936">
                    <a:moveTo>
                      <a:pt x="0" y="0"/>
                    </a:moveTo>
                    <a:lnTo>
                      <a:pt x="136846" y="0"/>
                    </a:lnTo>
                    <a:lnTo>
                      <a:pt x="136846" y="12936"/>
                    </a:lnTo>
                    <a:lnTo>
                      <a:pt x="0" y="12936"/>
                    </a:lnTo>
                    <a:close/>
                  </a:path>
                </a:pathLst>
              </a:custGeom>
              <a:solidFill>
                <a:schemeClr val="accent1"/>
              </a:solidFill>
              <a:ln w="2408" cap="flat">
                <a:noFill/>
                <a:prstDash val="solid"/>
                <a:miter/>
              </a:ln>
            </p:spPr>
            <p:txBody>
              <a:bodyPr rtlCol="0" anchor="ctr"/>
              <a:lstStyle/>
              <a:p>
                <a:endParaRPr lang="en-GB" dirty="0"/>
              </a:p>
            </p:txBody>
          </p:sp>
        </p:grpSp>
      </p:grpSp>
      <p:grpSp>
        <p:nvGrpSpPr>
          <p:cNvPr id="747" name="Group 746">
            <a:extLst>
              <a:ext uri="{FF2B5EF4-FFF2-40B4-BE49-F238E27FC236}">
                <a16:creationId xmlns:a16="http://schemas.microsoft.com/office/drawing/2014/main" id="{0BBDE340-17C1-45C1-B6B7-7BEB2E3DEF56}"/>
              </a:ext>
            </a:extLst>
          </p:cNvPr>
          <p:cNvGrpSpPr/>
          <p:nvPr/>
        </p:nvGrpSpPr>
        <p:grpSpPr>
          <a:xfrm>
            <a:off x="6011929" y="3197068"/>
            <a:ext cx="488945" cy="432000"/>
            <a:chOff x="6011517" y="3197068"/>
            <a:chExt cx="488945" cy="432000"/>
          </a:xfrm>
        </p:grpSpPr>
        <p:sp>
          <p:nvSpPr>
            <p:cNvPr id="643" name="Freihandform: Form 802">
              <a:extLst>
                <a:ext uri="{FF2B5EF4-FFF2-40B4-BE49-F238E27FC236}">
                  <a16:creationId xmlns:a16="http://schemas.microsoft.com/office/drawing/2014/main" id="{6D26F715-920D-4410-9897-8C0430358827}"/>
                </a:ext>
              </a:extLst>
            </p:cNvPr>
            <p:cNvSpPr/>
            <p:nvPr/>
          </p:nvSpPr>
          <p:spPr>
            <a:xfrm>
              <a:off x="6011517" y="3197068"/>
              <a:ext cx="488945" cy="323514"/>
            </a:xfrm>
            <a:custGeom>
              <a:avLst/>
              <a:gdLst>
                <a:gd name="connsiteX0" fmla="*/ 104780 w 504993"/>
                <a:gd name="connsiteY0" fmla="*/ 334132 h 334132"/>
                <a:gd name="connsiteX1" fmla="*/ 0 w 504993"/>
                <a:gd name="connsiteY1" fmla="*/ 229352 h 334132"/>
                <a:gd name="connsiteX2" fmla="*/ 58786 w 504993"/>
                <a:gd name="connsiteY2" fmla="*/ 135192 h 334132"/>
                <a:gd name="connsiteX3" fmla="*/ 163513 w 504993"/>
                <a:gd name="connsiteY3" fmla="*/ 33818 h 334132"/>
                <a:gd name="connsiteX4" fmla="*/ 226161 w 504993"/>
                <a:gd name="connsiteY4" fmla="*/ 54629 h 334132"/>
                <a:gd name="connsiteX5" fmla="*/ 322788 w 504993"/>
                <a:gd name="connsiteY5" fmla="*/ 0 h 334132"/>
                <a:gd name="connsiteX6" fmla="*/ 435587 w 504993"/>
                <a:gd name="connsiteY6" fmla="*/ 112799 h 334132"/>
                <a:gd name="connsiteX7" fmla="*/ 426468 w 504993"/>
                <a:gd name="connsiteY7" fmla="*/ 157210 h 334132"/>
                <a:gd name="connsiteX8" fmla="*/ 504993 w 504993"/>
                <a:gd name="connsiteY8" fmla="*/ 245363 h 334132"/>
                <a:gd name="connsiteX9" fmla="*/ 418530 w 504993"/>
                <a:gd name="connsiteY9" fmla="*/ 334079 h 334132"/>
                <a:gd name="connsiteX10" fmla="*/ 412871 w 504993"/>
                <a:gd name="connsiteY10" fmla="*/ 329010 h 334132"/>
                <a:gd name="connsiteX11" fmla="*/ 412871 w 504993"/>
                <a:gd name="connsiteY11" fmla="*/ 328983 h 334132"/>
                <a:gd name="connsiteX12" fmla="*/ 417886 w 504993"/>
                <a:gd name="connsiteY12" fmla="*/ 323861 h 334132"/>
                <a:gd name="connsiteX13" fmla="*/ 494748 w 504993"/>
                <a:gd name="connsiteY13" fmla="*/ 245363 h 334132"/>
                <a:gd name="connsiteX14" fmla="*/ 418503 w 504993"/>
                <a:gd name="connsiteY14" fmla="*/ 166919 h 334132"/>
                <a:gd name="connsiteX15" fmla="*/ 414239 w 504993"/>
                <a:gd name="connsiteY15" fmla="*/ 164398 h 334132"/>
                <a:gd name="connsiteX16" fmla="*/ 414078 w 504993"/>
                <a:gd name="connsiteY16" fmla="*/ 159436 h 334132"/>
                <a:gd name="connsiteX17" fmla="*/ 425342 w 504993"/>
                <a:gd name="connsiteY17" fmla="*/ 112772 h 334132"/>
                <a:gd name="connsiteX18" fmla="*/ 322815 w 504993"/>
                <a:gd name="connsiteY18" fmla="*/ 10245 h 334132"/>
                <a:gd name="connsiteX19" fmla="*/ 232222 w 504993"/>
                <a:gd name="connsiteY19" fmla="*/ 64767 h 334132"/>
                <a:gd name="connsiteX20" fmla="*/ 228655 w 504993"/>
                <a:gd name="connsiteY20" fmla="*/ 67395 h 334132"/>
                <a:gd name="connsiteX21" fmla="*/ 224364 w 504993"/>
                <a:gd name="connsiteY21" fmla="*/ 66295 h 334132"/>
                <a:gd name="connsiteX22" fmla="*/ 163486 w 504993"/>
                <a:gd name="connsiteY22" fmla="*/ 44090 h 334132"/>
                <a:gd name="connsiteX23" fmla="*/ 68977 w 504993"/>
                <a:gd name="connsiteY23" fmla="*/ 138491 h 334132"/>
                <a:gd name="connsiteX24" fmla="*/ 65974 w 504993"/>
                <a:gd name="connsiteY24" fmla="*/ 143157 h 334132"/>
                <a:gd name="connsiteX25" fmla="*/ 10272 w 504993"/>
                <a:gd name="connsiteY25" fmla="*/ 229379 h 334132"/>
                <a:gd name="connsiteX26" fmla="*/ 108159 w 504993"/>
                <a:gd name="connsiteY26" fmla="*/ 323834 h 334132"/>
                <a:gd name="connsiteX27" fmla="*/ 113469 w 504993"/>
                <a:gd name="connsiteY27" fmla="*/ 328768 h 334132"/>
                <a:gd name="connsiteX28" fmla="*/ 108535 w 504993"/>
                <a:gd name="connsiteY28" fmla="*/ 334079 h 334132"/>
                <a:gd name="connsiteX29" fmla="*/ 104780 w 504993"/>
                <a:gd name="connsiteY29" fmla="*/ 334132 h 334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4993" h="334132">
                  <a:moveTo>
                    <a:pt x="104780" y="334132"/>
                  </a:moveTo>
                  <a:cubicBezTo>
                    <a:pt x="47013" y="334132"/>
                    <a:pt x="0" y="287119"/>
                    <a:pt x="0" y="229352"/>
                  </a:cubicBezTo>
                  <a:cubicBezTo>
                    <a:pt x="0" y="189339"/>
                    <a:pt x="22957" y="152732"/>
                    <a:pt x="58786" y="135192"/>
                  </a:cubicBezTo>
                  <a:cubicBezTo>
                    <a:pt x="60583" y="79007"/>
                    <a:pt x="106872" y="33818"/>
                    <a:pt x="163513" y="33818"/>
                  </a:cubicBezTo>
                  <a:cubicBezTo>
                    <a:pt x="186121" y="33818"/>
                    <a:pt x="208139" y="41166"/>
                    <a:pt x="226161" y="54629"/>
                  </a:cubicBezTo>
                  <a:cubicBezTo>
                    <a:pt x="246516" y="20784"/>
                    <a:pt x="282989" y="0"/>
                    <a:pt x="322788" y="0"/>
                  </a:cubicBezTo>
                  <a:cubicBezTo>
                    <a:pt x="384980" y="0"/>
                    <a:pt x="435587" y="50607"/>
                    <a:pt x="435587" y="112799"/>
                  </a:cubicBezTo>
                  <a:cubicBezTo>
                    <a:pt x="435587" y="128246"/>
                    <a:pt x="432529" y="143157"/>
                    <a:pt x="426468" y="157210"/>
                  </a:cubicBezTo>
                  <a:cubicBezTo>
                    <a:pt x="471068" y="162252"/>
                    <a:pt x="504993" y="199610"/>
                    <a:pt x="504993" y="245363"/>
                  </a:cubicBezTo>
                  <a:cubicBezTo>
                    <a:pt x="504993" y="293127"/>
                    <a:pt x="466240" y="332845"/>
                    <a:pt x="418530" y="334079"/>
                  </a:cubicBezTo>
                  <a:cubicBezTo>
                    <a:pt x="415580" y="334374"/>
                    <a:pt x="412871" y="332014"/>
                    <a:pt x="412871" y="329010"/>
                  </a:cubicBezTo>
                  <a:lnTo>
                    <a:pt x="412871" y="328983"/>
                  </a:lnTo>
                  <a:cubicBezTo>
                    <a:pt x="412871" y="326194"/>
                    <a:pt x="415097" y="323914"/>
                    <a:pt x="417886" y="323861"/>
                  </a:cubicBezTo>
                  <a:cubicBezTo>
                    <a:pt x="460260" y="322976"/>
                    <a:pt x="494748" y="287763"/>
                    <a:pt x="494748" y="245363"/>
                  </a:cubicBezTo>
                  <a:cubicBezTo>
                    <a:pt x="494748" y="202587"/>
                    <a:pt x="461252" y="168125"/>
                    <a:pt x="418503" y="166919"/>
                  </a:cubicBezTo>
                  <a:cubicBezTo>
                    <a:pt x="416733" y="166865"/>
                    <a:pt x="415124" y="165926"/>
                    <a:pt x="414239" y="164398"/>
                  </a:cubicBezTo>
                  <a:cubicBezTo>
                    <a:pt x="413354" y="162896"/>
                    <a:pt x="413301" y="161019"/>
                    <a:pt x="414078" y="159436"/>
                  </a:cubicBezTo>
                  <a:cubicBezTo>
                    <a:pt x="421561" y="144847"/>
                    <a:pt x="425342" y="129131"/>
                    <a:pt x="425342" y="112772"/>
                  </a:cubicBezTo>
                  <a:cubicBezTo>
                    <a:pt x="425342" y="56238"/>
                    <a:pt x="379348" y="10245"/>
                    <a:pt x="322815" y="10245"/>
                  </a:cubicBezTo>
                  <a:cubicBezTo>
                    <a:pt x="284786" y="10245"/>
                    <a:pt x="250056" y="31136"/>
                    <a:pt x="232222" y="64767"/>
                  </a:cubicBezTo>
                  <a:cubicBezTo>
                    <a:pt x="231498" y="66135"/>
                    <a:pt x="230184" y="67100"/>
                    <a:pt x="228655" y="67395"/>
                  </a:cubicBezTo>
                  <a:cubicBezTo>
                    <a:pt x="227153" y="67690"/>
                    <a:pt x="225571" y="67288"/>
                    <a:pt x="224364" y="66295"/>
                  </a:cubicBezTo>
                  <a:cubicBezTo>
                    <a:pt x="207361" y="51974"/>
                    <a:pt x="185745" y="44090"/>
                    <a:pt x="163486" y="44090"/>
                  </a:cubicBezTo>
                  <a:cubicBezTo>
                    <a:pt x="111404" y="44090"/>
                    <a:pt x="69004" y="86436"/>
                    <a:pt x="68977" y="138491"/>
                  </a:cubicBezTo>
                  <a:cubicBezTo>
                    <a:pt x="68977" y="140502"/>
                    <a:pt x="67797" y="142326"/>
                    <a:pt x="65974" y="143157"/>
                  </a:cubicBezTo>
                  <a:cubicBezTo>
                    <a:pt x="32129" y="158444"/>
                    <a:pt x="10272" y="192262"/>
                    <a:pt x="10272" y="229379"/>
                  </a:cubicBezTo>
                  <a:cubicBezTo>
                    <a:pt x="10272" y="282614"/>
                    <a:pt x="54281" y="325765"/>
                    <a:pt x="108159" y="323834"/>
                  </a:cubicBezTo>
                  <a:cubicBezTo>
                    <a:pt x="110975" y="323727"/>
                    <a:pt x="113362" y="325926"/>
                    <a:pt x="113469" y="328768"/>
                  </a:cubicBezTo>
                  <a:cubicBezTo>
                    <a:pt x="113577" y="331584"/>
                    <a:pt x="111377" y="333971"/>
                    <a:pt x="108535" y="334079"/>
                  </a:cubicBezTo>
                  <a:cubicBezTo>
                    <a:pt x="107247" y="334105"/>
                    <a:pt x="106041" y="334132"/>
                    <a:pt x="104780" y="334132"/>
                  </a:cubicBezTo>
                  <a:close/>
                </a:path>
              </a:pathLst>
            </a:custGeom>
            <a:solidFill>
              <a:schemeClr val="tx2"/>
            </a:solidFill>
            <a:ln w="2680" cap="flat">
              <a:noFill/>
              <a:prstDash val="solid"/>
              <a:miter/>
            </a:ln>
          </p:spPr>
          <p:txBody>
            <a:bodyPr rtlCol="0" anchor="ctr"/>
            <a:lstStyle/>
            <a:p>
              <a:endParaRPr lang="en-GB" dirty="0"/>
            </a:p>
          </p:txBody>
        </p:sp>
        <p:grpSp>
          <p:nvGrpSpPr>
            <p:cNvPr id="644" name="Group 643">
              <a:extLst>
                <a:ext uri="{FF2B5EF4-FFF2-40B4-BE49-F238E27FC236}">
                  <a16:creationId xmlns:a16="http://schemas.microsoft.com/office/drawing/2014/main" id="{FE972CA8-0969-4692-8352-C7E5772AA783}"/>
                </a:ext>
              </a:extLst>
            </p:cNvPr>
            <p:cNvGrpSpPr/>
            <p:nvPr/>
          </p:nvGrpSpPr>
          <p:grpSpPr>
            <a:xfrm>
              <a:off x="6129975" y="3374340"/>
              <a:ext cx="289949" cy="254728"/>
              <a:chOff x="6194726" y="1809848"/>
              <a:chExt cx="299466" cy="263089"/>
            </a:xfrm>
          </p:grpSpPr>
          <p:sp>
            <p:nvSpPr>
              <p:cNvPr id="645" name="Freihandform: Form 801">
                <a:extLst>
                  <a:ext uri="{FF2B5EF4-FFF2-40B4-BE49-F238E27FC236}">
                    <a16:creationId xmlns:a16="http://schemas.microsoft.com/office/drawing/2014/main" id="{03730076-B7D8-4EDC-BD31-1D7101FD1CA0}"/>
                  </a:ext>
                </a:extLst>
              </p:cNvPr>
              <p:cNvSpPr/>
              <p:nvPr/>
            </p:nvSpPr>
            <p:spPr>
              <a:xfrm>
                <a:off x="6300665" y="1926026"/>
                <a:ext cx="89957" cy="121863"/>
              </a:xfrm>
              <a:custGeom>
                <a:avLst/>
                <a:gdLst>
                  <a:gd name="connsiteX0" fmla="*/ 68891 w 89957"/>
                  <a:gd name="connsiteY0" fmla="*/ 121863 h 121863"/>
                  <a:gd name="connsiteX1" fmla="*/ 21047 w 89957"/>
                  <a:gd name="connsiteY1" fmla="*/ 121863 h 121863"/>
                  <a:gd name="connsiteX2" fmla="*/ 15925 w 89957"/>
                  <a:gd name="connsiteY2" fmla="*/ 116741 h 121863"/>
                  <a:gd name="connsiteX3" fmla="*/ 15925 w 89957"/>
                  <a:gd name="connsiteY3" fmla="*/ 58089 h 121863"/>
                  <a:gd name="connsiteX4" fmla="*/ 5117 w 89957"/>
                  <a:gd name="connsiteY4" fmla="*/ 58089 h 121863"/>
                  <a:gd name="connsiteX5" fmla="*/ 477 w 89957"/>
                  <a:gd name="connsiteY5" fmla="*/ 55139 h 121863"/>
                  <a:gd name="connsiteX6" fmla="*/ 1175 w 89957"/>
                  <a:gd name="connsiteY6" fmla="*/ 49695 h 121863"/>
                  <a:gd name="connsiteX7" fmla="*/ 41027 w 89957"/>
                  <a:gd name="connsiteY7" fmla="*/ 1850 h 121863"/>
                  <a:gd name="connsiteX8" fmla="*/ 44969 w 89957"/>
                  <a:gd name="connsiteY8" fmla="*/ 0 h 121863"/>
                  <a:gd name="connsiteX9" fmla="*/ 44969 w 89957"/>
                  <a:gd name="connsiteY9" fmla="*/ 0 h 121863"/>
                  <a:gd name="connsiteX10" fmla="*/ 48912 w 89957"/>
                  <a:gd name="connsiteY10" fmla="*/ 1850 h 121863"/>
                  <a:gd name="connsiteX11" fmla="*/ 88764 w 89957"/>
                  <a:gd name="connsiteY11" fmla="*/ 49695 h 121863"/>
                  <a:gd name="connsiteX12" fmla="*/ 89461 w 89957"/>
                  <a:gd name="connsiteY12" fmla="*/ 55139 h 121863"/>
                  <a:gd name="connsiteX13" fmla="*/ 84822 w 89957"/>
                  <a:gd name="connsiteY13" fmla="*/ 58089 h 121863"/>
                  <a:gd name="connsiteX14" fmla="*/ 74014 w 89957"/>
                  <a:gd name="connsiteY14" fmla="*/ 58089 h 121863"/>
                  <a:gd name="connsiteX15" fmla="*/ 74014 w 89957"/>
                  <a:gd name="connsiteY15" fmla="*/ 116741 h 121863"/>
                  <a:gd name="connsiteX16" fmla="*/ 68891 w 89957"/>
                  <a:gd name="connsiteY16" fmla="*/ 121863 h 121863"/>
                  <a:gd name="connsiteX17" fmla="*/ 26170 w 89957"/>
                  <a:gd name="connsiteY17" fmla="*/ 111619 h 121863"/>
                  <a:gd name="connsiteX18" fmla="*/ 63742 w 89957"/>
                  <a:gd name="connsiteY18" fmla="*/ 111619 h 121863"/>
                  <a:gd name="connsiteX19" fmla="*/ 63742 w 89957"/>
                  <a:gd name="connsiteY19" fmla="*/ 52967 h 121863"/>
                  <a:gd name="connsiteX20" fmla="*/ 68865 w 89957"/>
                  <a:gd name="connsiteY20" fmla="*/ 47844 h 121863"/>
                  <a:gd name="connsiteX21" fmla="*/ 73853 w 89957"/>
                  <a:gd name="connsiteY21" fmla="*/ 47844 h 121863"/>
                  <a:gd name="connsiteX22" fmla="*/ 44943 w 89957"/>
                  <a:gd name="connsiteY22" fmla="*/ 13141 h 121863"/>
                  <a:gd name="connsiteX23" fmla="*/ 16032 w 89957"/>
                  <a:gd name="connsiteY23" fmla="*/ 47844 h 121863"/>
                  <a:gd name="connsiteX24" fmla="*/ 21047 w 89957"/>
                  <a:gd name="connsiteY24" fmla="*/ 47844 h 121863"/>
                  <a:gd name="connsiteX25" fmla="*/ 26170 w 89957"/>
                  <a:gd name="connsiteY25" fmla="*/ 52967 h 121863"/>
                  <a:gd name="connsiteX26" fmla="*/ 26170 w 89957"/>
                  <a:gd name="connsiteY26" fmla="*/ 111619 h 12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9957" h="121863">
                    <a:moveTo>
                      <a:pt x="68891" y="121863"/>
                    </a:moveTo>
                    <a:lnTo>
                      <a:pt x="21047" y="121863"/>
                    </a:lnTo>
                    <a:cubicBezTo>
                      <a:pt x="18204" y="121863"/>
                      <a:pt x="15925" y="119557"/>
                      <a:pt x="15925" y="116741"/>
                    </a:cubicBezTo>
                    <a:lnTo>
                      <a:pt x="15925" y="58089"/>
                    </a:lnTo>
                    <a:lnTo>
                      <a:pt x="5117" y="58089"/>
                    </a:lnTo>
                    <a:cubicBezTo>
                      <a:pt x="3132" y="58089"/>
                      <a:pt x="1309" y="56936"/>
                      <a:pt x="477" y="55139"/>
                    </a:cubicBezTo>
                    <a:cubicBezTo>
                      <a:pt x="-354" y="53342"/>
                      <a:pt x="-86" y="51223"/>
                      <a:pt x="1175" y="49695"/>
                    </a:cubicBezTo>
                    <a:lnTo>
                      <a:pt x="41027" y="1850"/>
                    </a:lnTo>
                    <a:cubicBezTo>
                      <a:pt x="41992" y="670"/>
                      <a:pt x="43441" y="0"/>
                      <a:pt x="44969" y="0"/>
                    </a:cubicBezTo>
                    <a:lnTo>
                      <a:pt x="44969" y="0"/>
                    </a:lnTo>
                    <a:cubicBezTo>
                      <a:pt x="46498" y="0"/>
                      <a:pt x="47919" y="670"/>
                      <a:pt x="48912" y="1850"/>
                    </a:cubicBezTo>
                    <a:lnTo>
                      <a:pt x="88764" y="49695"/>
                    </a:lnTo>
                    <a:cubicBezTo>
                      <a:pt x="90051" y="51223"/>
                      <a:pt x="90320" y="53342"/>
                      <a:pt x="89461" y="55139"/>
                    </a:cubicBezTo>
                    <a:cubicBezTo>
                      <a:pt x="88630" y="56936"/>
                      <a:pt x="86806" y="58089"/>
                      <a:pt x="84822" y="58089"/>
                    </a:cubicBezTo>
                    <a:lnTo>
                      <a:pt x="74014" y="58089"/>
                    </a:lnTo>
                    <a:lnTo>
                      <a:pt x="74014" y="116741"/>
                    </a:lnTo>
                    <a:cubicBezTo>
                      <a:pt x="74014" y="119584"/>
                      <a:pt x="71707" y="121863"/>
                      <a:pt x="68891" y="121863"/>
                    </a:cubicBezTo>
                    <a:close/>
                    <a:moveTo>
                      <a:pt x="26170" y="111619"/>
                    </a:moveTo>
                    <a:lnTo>
                      <a:pt x="63742" y="111619"/>
                    </a:lnTo>
                    <a:lnTo>
                      <a:pt x="63742" y="52967"/>
                    </a:lnTo>
                    <a:cubicBezTo>
                      <a:pt x="63742" y="50151"/>
                      <a:pt x="66049" y="47844"/>
                      <a:pt x="68865" y="47844"/>
                    </a:cubicBezTo>
                    <a:lnTo>
                      <a:pt x="73853" y="47844"/>
                    </a:lnTo>
                    <a:lnTo>
                      <a:pt x="44943" y="13141"/>
                    </a:lnTo>
                    <a:lnTo>
                      <a:pt x="16032" y="47844"/>
                    </a:lnTo>
                    <a:lnTo>
                      <a:pt x="21047" y="47844"/>
                    </a:lnTo>
                    <a:cubicBezTo>
                      <a:pt x="23890" y="47844"/>
                      <a:pt x="26170" y="50151"/>
                      <a:pt x="26170" y="52967"/>
                    </a:cubicBezTo>
                    <a:lnTo>
                      <a:pt x="26170" y="111619"/>
                    </a:lnTo>
                    <a:close/>
                  </a:path>
                </a:pathLst>
              </a:custGeom>
              <a:solidFill>
                <a:schemeClr val="accent1"/>
              </a:solidFill>
              <a:ln w="2680" cap="flat">
                <a:noFill/>
                <a:prstDash val="solid"/>
                <a:miter/>
              </a:ln>
            </p:spPr>
            <p:txBody>
              <a:bodyPr rtlCol="0" anchor="ctr"/>
              <a:lstStyle/>
              <a:p>
                <a:endParaRPr lang="en-GB" dirty="0"/>
              </a:p>
            </p:txBody>
          </p:sp>
          <p:grpSp>
            <p:nvGrpSpPr>
              <p:cNvPr id="646" name="Grafik 77">
                <a:extLst>
                  <a:ext uri="{FF2B5EF4-FFF2-40B4-BE49-F238E27FC236}">
                    <a16:creationId xmlns:a16="http://schemas.microsoft.com/office/drawing/2014/main" id="{84C2DEE8-539B-424B-BB97-5B4D1B1159B8}"/>
                  </a:ext>
                </a:extLst>
              </p:cNvPr>
              <p:cNvGrpSpPr/>
              <p:nvPr/>
            </p:nvGrpSpPr>
            <p:grpSpPr>
              <a:xfrm>
                <a:off x="6194726" y="1809848"/>
                <a:ext cx="299466" cy="194783"/>
                <a:chOff x="6194726" y="1809848"/>
                <a:chExt cx="299466" cy="194783"/>
              </a:xfrm>
              <a:solidFill>
                <a:schemeClr val="accent1"/>
              </a:solidFill>
            </p:grpSpPr>
            <p:sp>
              <p:nvSpPr>
                <p:cNvPr id="648" name="Freihandform: Form 804">
                  <a:extLst>
                    <a:ext uri="{FF2B5EF4-FFF2-40B4-BE49-F238E27FC236}">
                      <a16:creationId xmlns:a16="http://schemas.microsoft.com/office/drawing/2014/main" id="{EE441293-4AFA-449E-8019-A93586065DE9}"/>
                    </a:ext>
                  </a:extLst>
                </p:cNvPr>
                <p:cNvSpPr/>
                <p:nvPr/>
              </p:nvSpPr>
              <p:spPr>
                <a:xfrm>
                  <a:off x="6194726" y="1809848"/>
                  <a:ext cx="249439" cy="190116"/>
                </a:xfrm>
                <a:custGeom>
                  <a:avLst/>
                  <a:gdLst>
                    <a:gd name="connsiteX0" fmla="*/ 5122 w 249439"/>
                    <a:gd name="connsiteY0" fmla="*/ 190117 h 190116"/>
                    <a:gd name="connsiteX1" fmla="*/ 0 w 249439"/>
                    <a:gd name="connsiteY1" fmla="*/ 184994 h 190116"/>
                    <a:gd name="connsiteX2" fmla="*/ 0 w 249439"/>
                    <a:gd name="connsiteY2" fmla="*/ 16628 h 190116"/>
                    <a:gd name="connsiteX3" fmla="*/ 16627 w 249439"/>
                    <a:gd name="connsiteY3" fmla="*/ 0 h 190116"/>
                    <a:gd name="connsiteX4" fmla="*/ 78846 w 249439"/>
                    <a:gd name="connsiteY4" fmla="*/ 0 h 190116"/>
                    <a:gd name="connsiteX5" fmla="*/ 94616 w 249439"/>
                    <a:gd name="connsiteY5" fmla="*/ 11371 h 190116"/>
                    <a:gd name="connsiteX6" fmla="*/ 96198 w 249439"/>
                    <a:gd name="connsiteY6" fmla="*/ 16145 h 190116"/>
                    <a:gd name="connsiteX7" fmla="*/ 102232 w 249439"/>
                    <a:gd name="connsiteY7" fmla="*/ 20489 h 190116"/>
                    <a:gd name="connsiteX8" fmla="*/ 232812 w 249439"/>
                    <a:gd name="connsiteY8" fmla="*/ 20489 h 190116"/>
                    <a:gd name="connsiteX9" fmla="*/ 249439 w 249439"/>
                    <a:gd name="connsiteY9" fmla="*/ 37117 h 190116"/>
                    <a:gd name="connsiteX10" fmla="*/ 249439 w 249439"/>
                    <a:gd name="connsiteY10" fmla="*/ 46128 h 190116"/>
                    <a:gd name="connsiteX11" fmla="*/ 244317 w 249439"/>
                    <a:gd name="connsiteY11" fmla="*/ 51250 h 190116"/>
                    <a:gd name="connsiteX12" fmla="*/ 239194 w 249439"/>
                    <a:gd name="connsiteY12" fmla="*/ 46128 h 190116"/>
                    <a:gd name="connsiteX13" fmla="*/ 239194 w 249439"/>
                    <a:gd name="connsiteY13" fmla="*/ 37117 h 190116"/>
                    <a:gd name="connsiteX14" fmla="*/ 232838 w 249439"/>
                    <a:gd name="connsiteY14" fmla="*/ 30761 h 190116"/>
                    <a:gd name="connsiteX15" fmla="*/ 102259 w 249439"/>
                    <a:gd name="connsiteY15" fmla="*/ 30761 h 190116"/>
                    <a:gd name="connsiteX16" fmla="*/ 86490 w 249439"/>
                    <a:gd name="connsiteY16" fmla="*/ 19390 h 190116"/>
                    <a:gd name="connsiteX17" fmla="*/ 84907 w 249439"/>
                    <a:gd name="connsiteY17" fmla="*/ 14616 h 190116"/>
                    <a:gd name="connsiteX18" fmla="*/ 78873 w 249439"/>
                    <a:gd name="connsiteY18" fmla="*/ 10272 h 190116"/>
                    <a:gd name="connsiteX19" fmla="*/ 16654 w 249439"/>
                    <a:gd name="connsiteY19" fmla="*/ 10272 h 190116"/>
                    <a:gd name="connsiteX20" fmla="*/ 10298 w 249439"/>
                    <a:gd name="connsiteY20" fmla="*/ 16628 h 190116"/>
                    <a:gd name="connsiteX21" fmla="*/ 10298 w 249439"/>
                    <a:gd name="connsiteY21" fmla="*/ 184994 h 190116"/>
                    <a:gd name="connsiteX22" fmla="*/ 5122 w 249439"/>
                    <a:gd name="connsiteY22" fmla="*/ 190117 h 1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9439" h="190116">
                      <a:moveTo>
                        <a:pt x="5122" y="190117"/>
                      </a:moveTo>
                      <a:cubicBezTo>
                        <a:pt x="2280" y="190117"/>
                        <a:pt x="0" y="187810"/>
                        <a:pt x="0" y="184994"/>
                      </a:cubicBezTo>
                      <a:lnTo>
                        <a:pt x="0" y="16628"/>
                      </a:lnTo>
                      <a:cubicBezTo>
                        <a:pt x="0" y="7456"/>
                        <a:pt x="7456" y="0"/>
                        <a:pt x="16627" y="0"/>
                      </a:cubicBezTo>
                      <a:lnTo>
                        <a:pt x="78846" y="0"/>
                      </a:lnTo>
                      <a:cubicBezTo>
                        <a:pt x="86007" y="0"/>
                        <a:pt x="92336" y="4559"/>
                        <a:pt x="94616" y="11371"/>
                      </a:cubicBezTo>
                      <a:lnTo>
                        <a:pt x="96198" y="16145"/>
                      </a:lnTo>
                      <a:cubicBezTo>
                        <a:pt x="97056" y="18746"/>
                        <a:pt x="99497" y="20489"/>
                        <a:pt x="102232" y="20489"/>
                      </a:cubicBezTo>
                      <a:lnTo>
                        <a:pt x="232812" y="20489"/>
                      </a:lnTo>
                      <a:cubicBezTo>
                        <a:pt x="241984" y="20489"/>
                        <a:pt x="249439" y="27945"/>
                        <a:pt x="249439" y="37117"/>
                      </a:cubicBezTo>
                      <a:lnTo>
                        <a:pt x="249439" y="46128"/>
                      </a:lnTo>
                      <a:cubicBezTo>
                        <a:pt x="249439" y="48971"/>
                        <a:pt x="247133" y="51250"/>
                        <a:pt x="244317" y="51250"/>
                      </a:cubicBezTo>
                      <a:cubicBezTo>
                        <a:pt x="241501" y="51250"/>
                        <a:pt x="239194" y="48944"/>
                        <a:pt x="239194" y="46128"/>
                      </a:cubicBezTo>
                      <a:lnTo>
                        <a:pt x="239194" y="37117"/>
                      </a:lnTo>
                      <a:cubicBezTo>
                        <a:pt x="239194" y="33604"/>
                        <a:pt x="236325" y="30761"/>
                        <a:pt x="232838" y="30761"/>
                      </a:cubicBezTo>
                      <a:lnTo>
                        <a:pt x="102259" y="30761"/>
                      </a:lnTo>
                      <a:cubicBezTo>
                        <a:pt x="95099" y="30761"/>
                        <a:pt x="88769" y="26202"/>
                        <a:pt x="86490" y="19390"/>
                      </a:cubicBezTo>
                      <a:lnTo>
                        <a:pt x="84907" y="14616"/>
                      </a:lnTo>
                      <a:cubicBezTo>
                        <a:pt x="84049" y="12015"/>
                        <a:pt x="81609" y="10272"/>
                        <a:pt x="78873" y="10272"/>
                      </a:cubicBezTo>
                      <a:lnTo>
                        <a:pt x="16654" y="10272"/>
                      </a:lnTo>
                      <a:cubicBezTo>
                        <a:pt x="13141" y="10272"/>
                        <a:pt x="10298" y="13141"/>
                        <a:pt x="10298" y="16628"/>
                      </a:cubicBezTo>
                      <a:lnTo>
                        <a:pt x="10298" y="184994"/>
                      </a:lnTo>
                      <a:cubicBezTo>
                        <a:pt x="10245" y="187810"/>
                        <a:pt x="7938" y="190117"/>
                        <a:pt x="5122" y="190117"/>
                      </a:cubicBezTo>
                      <a:close/>
                    </a:path>
                  </a:pathLst>
                </a:custGeom>
                <a:solidFill>
                  <a:schemeClr val="accent1"/>
                </a:solidFill>
                <a:ln w="2680" cap="flat">
                  <a:noFill/>
                  <a:prstDash val="solid"/>
                  <a:miter/>
                </a:ln>
              </p:spPr>
              <p:txBody>
                <a:bodyPr rtlCol="0" anchor="ctr"/>
                <a:lstStyle/>
                <a:p>
                  <a:endParaRPr lang="en-GB" dirty="0"/>
                </a:p>
              </p:txBody>
            </p:sp>
            <p:sp>
              <p:nvSpPr>
                <p:cNvPr id="649" name="Freihandform: Form 805">
                  <a:extLst>
                    <a:ext uri="{FF2B5EF4-FFF2-40B4-BE49-F238E27FC236}">
                      <a16:creationId xmlns:a16="http://schemas.microsoft.com/office/drawing/2014/main" id="{CB038A85-681F-44F0-B3CF-286CE3CF39A6}"/>
                    </a:ext>
                  </a:extLst>
                </p:cNvPr>
                <p:cNvSpPr/>
                <p:nvPr/>
              </p:nvSpPr>
              <p:spPr>
                <a:xfrm>
                  <a:off x="6194730" y="1871369"/>
                  <a:ext cx="299462" cy="133261"/>
                </a:xfrm>
                <a:custGeom>
                  <a:avLst/>
                  <a:gdLst>
                    <a:gd name="connsiteX0" fmla="*/ 244286 w 299462"/>
                    <a:gd name="connsiteY0" fmla="*/ 133235 h 133261"/>
                    <a:gd name="connsiteX1" fmla="*/ 197005 w 299462"/>
                    <a:gd name="connsiteY1" fmla="*/ 133235 h 133261"/>
                    <a:gd name="connsiteX2" fmla="*/ 191883 w 299462"/>
                    <a:gd name="connsiteY2" fmla="*/ 128112 h 133261"/>
                    <a:gd name="connsiteX3" fmla="*/ 197005 w 299462"/>
                    <a:gd name="connsiteY3" fmla="*/ 122990 h 133261"/>
                    <a:gd name="connsiteX4" fmla="*/ 240934 w 299462"/>
                    <a:gd name="connsiteY4" fmla="*/ 122990 h 133261"/>
                    <a:gd name="connsiteX5" fmla="*/ 288832 w 299462"/>
                    <a:gd name="connsiteY5" fmla="*/ 15233 h 133261"/>
                    <a:gd name="connsiteX6" fmla="*/ 288563 w 299462"/>
                    <a:gd name="connsiteY6" fmla="*/ 11854 h 133261"/>
                    <a:gd name="connsiteX7" fmla="*/ 285587 w 299462"/>
                    <a:gd name="connsiteY7" fmla="*/ 10245 h 133261"/>
                    <a:gd name="connsiteX8" fmla="*/ 65406 w 299462"/>
                    <a:gd name="connsiteY8" fmla="*/ 10245 h 133261"/>
                    <a:gd name="connsiteX9" fmla="*/ 62161 w 299462"/>
                    <a:gd name="connsiteY9" fmla="*/ 12363 h 133261"/>
                    <a:gd name="connsiteX10" fmla="*/ 13003 w 299462"/>
                    <a:gd name="connsiteY10" fmla="*/ 123017 h 133261"/>
                    <a:gd name="connsiteX11" fmla="*/ 103060 w 299462"/>
                    <a:gd name="connsiteY11" fmla="*/ 123017 h 133261"/>
                    <a:gd name="connsiteX12" fmla="*/ 108182 w 299462"/>
                    <a:gd name="connsiteY12" fmla="*/ 128139 h 133261"/>
                    <a:gd name="connsiteX13" fmla="*/ 103060 w 299462"/>
                    <a:gd name="connsiteY13" fmla="*/ 133261 h 133261"/>
                    <a:gd name="connsiteX14" fmla="*/ 5118 w 299462"/>
                    <a:gd name="connsiteY14" fmla="*/ 133261 h 133261"/>
                    <a:gd name="connsiteX15" fmla="*/ 827 w 299462"/>
                    <a:gd name="connsiteY15" fmla="*/ 130928 h 133261"/>
                    <a:gd name="connsiteX16" fmla="*/ 452 w 299462"/>
                    <a:gd name="connsiteY16" fmla="*/ 126047 h 133261"/>
                    <a:gd name="connsiteX17" fmla="*/ 52829 w 299462"/>
                    <a:gd name="connsiteY17" fmla="*/ 8206 h 133261"/>
                    <a:gd name="connsiteX18" fmla="*/ 65460 w 299462"/>
                    <a:gd name="connsiteY18" fmla="*/ 0 h 133261"/>
                    <a:gd name="connsiteX19" fmla="*/ 285640 w 299462"/>
                    <a:gd name="connsiteY19" fmla="*/ 0 h 133261"/>
                    <a:gd name="connsiteX20" fmla="*/ 297226 w 299462"/>
                    <a:gd name="connsiteY20" fmla="*/ 6276 h 133261"/>
                    <a:gd name="connsiteX21" fmla="*/ 298272 w 299462"/>
                    <a:gd name="connsiteY21" fmla="*/ 19417 h 133261"/>
                    <a:gd name="connsiteX22" fmla="*/ 249033 w 299462"/>
                    <a:gd name="connsiteY22" fmla="*/ 130204 h 133261"/>
                    <a:gd name="connsiteX23" fmla="*/ 244286 w 299462"/>
                    <a:gd name="connsiteY23" fmla="*/ 133235 h 133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99462" h="133261">
                      <a:moveTo>
                        <a:pt x="244286" y="133235"/>
                      </a:moveTo>
                      <a:lnTo>
                        <a:pt x="197005" y="133235"/>
                      </a:lnTo>
                      <a:cubicBezTo>
                        <a:pt x="194162" y="133235"/>
                        <a:pt x="191883" y="130928"/>
                        <a:pt x="191883" y="128112"/>
                      </a:cubicBezTo>
                      <a:cubicBezTo>
                        <a:pt x="191883" y="125296"/>
                        <a:pt x="194189" y="122990"/>
                        <a:pt x="197005" y="122990"/>
                      </a:cubicBezTo>
                      <a:lnTo>
                        <a:pt x="240934" y="122990"/>
                      </a:lnTo>
                      <a:lnTo>
                        <a:pt x="288832" y="15233"/>
                      </a:lnTo>
                      <a:cubicBezTo>
                        <a:pt x="289556" y="13651"/>
                        <a:pt x="288885" y="12337"/>
                        <a:pt x="288563" y="11854"/>
                      </a:cubicBezTo>
                      <a:cubicBezTo>
                        <a:pt x="288242" y="11371"/>
                        <a:pt x="287330" y="10245"/>
                        <a:pt x="285587" y="10245"/>
                      </a:cubicBezTo>
                      <a:lnTo>
                        <a:pt x="65406" y="10245"/>
                      </a:lnTo>
                      <a:cubicBezTo>
                        <a:pt x="64012" y="10245"/>
                        <a:pt x="62725" y="11076"/>
                        <a:pt x="62161" y="12363"/>
                      </a:cubicBezTo>
                      <a:lnTo>
                        <a:pt x="13003" y="123017"/>
                      </a:lnTo>
                      <a:lnTo>
                        <a:pt x="103060" y="123017"/>
                      </a:lnTo>
                      <a:cubicBezTo>
                        <a:pt x="105902" y="123017"/>
                        <a:pt x="108182" y="125323"/>
                        <a:pt x="108182" y="128139"/>
                      </a:cubicBezTo>
                      <a:cubicBezTo>
                        <a:pt x="108182" y="130982"/>
                        <a:pt x="105876" y="133261"/>
                        <a:pt x="103060" y="133261"/>
                      </a:cubicBezTo>
                      <a:lnTo>
                        <a:pt x="5118" y="133261"/>
                      </a:lnTo>
                      <a:cubicBezTo>
                        <a:pt x="3375" y="133261"/>
                        <a:pt x="1766" y="132376"/>
                        <a:pt x="827" y="130928"/>
                      </a:cubicBezTo>
                      <a:cubicBezTo>
                        <a:pt x="-111" y="129480"/>
                        <a:pt x="-272" y="127629"/>
                        <a:pt x="452" y="126047"/>
                      </a:cubicBezTo>
                      <a:lnTo>
                        <a:pt x="52829" y="8206"/>
                      </a:lnTo>
                      <a:cubicBezTo>
                        <a:pt x="55055" y="3218"/>
                        <a:pt x="59989" y="0"/>
                        <a:pt x="65460" y="0"/>
                      </a:cubicBezTo>
                      <a:lnTo>
                        <a:pt x="285640" y="0"/>
                      </a:lnTo>
                      <a:cubicBezTo>
                        <a:pt x="290334" y="0"/>
                        <a:pt x="294651" y="2360"/>
                        <a:pt x="297226" y="6276"/>
                      </a:cubicBezTo>
                      <a:cubicBezTo>
                        <a:pt x="299774" y="10218"/>
                        <a:pt x="300176" y="15126"/>
                        <a:pt x="298272" y="19417"/>
                      </a:cubicBezTo>
                      <a:lnTo>
                        <a:pt x="249033" y="130204"/>
                      </a:lnTo>
                      <a:cubicBezTo>
                        <a:pt x="248148" y="132054"/>
                        <a:pt x="246324" y="133235"/>
                        <a:pt x="244286" y="133235"/>
                      </a:cubicBezTo>
                      <a:close/>
                    </a:path>
                  </a:pathLst>
                </a:custGeom>
                <a:solidFill>
                  <a:schemeClr val="accent1"/>
                </a:solidFill>
                <a:ln w="2680" cap="flat">
                  <a:noFill/>
                  <a:prstDash val="solid"/>
                  <a:miter/>
                </a:ln>
              </p:spPr>
              <p:txBody>
                <a:bodyPr rtlCol="0" anchor="ctr"/>
                <a:lstStyle/>
                <a:p>
                  <a:endParaRPr lang="en-GB" dirty="0"/>
                </a:p>
              </p:txBody>
            </p:sp>
          </p:grpSp>
          <p:sp>
            <p:nvSpPr>
              <p:cNvPr id="647" name="Freihandform: Form 806">
                <a:extLst>
                  <a:ext uri="{FF2B5EF4-FFF2-40B4-BE49-F238E27FC236}">
                    <a16:creationId xmlns:a16="http://schemas.microsoft.com/office/drawing/2014/main" id="{B4838FB5-EC69-4069-B47F-2F5519F1469D}"/>
                  </a:ext>
                </a:extLst>
              </p:cNvPr>
              <p:cNvSpPr/>
              <p:nvPr/>
            </p:nvSpPr>
            <p:spPr>
              <a:xfrm>
                <a:off x="6317716" y="2062693"/>
                <a:ext cx="58088" cy="10244"/>
              </a:xfrm>
              <a:custGeom>
                <a:avLst/>
                <a:gdLst>
                  <a:gd name="connsiteX0" fmla="*/ 52967 w 58088"/>
                  <a:gd name="connsiteY0" fmla="*/ 10245 h 10244"/>
                  <a:gd name="connsiteX1" fmla="*/ 5122 w 58088"/>
                  <a:gd name="connsiteY1" fmla="*/ 10245 h 10244"/>
                  <a:gd name="connsiteX2" fmla="*/ 0 w 58088"/>
                  <a:gd name="connsiteY2" fmla="*/ 5122 h 10244"/>
                  <a:gd name="connsiteX3" fmla="*/ 5122 w 58088"/>
                  <a:gd name="connsiteY3" fmla="*/ 0 h 10244"/>
                  <a:gd name="connsiteX4" fmla="*/ 52967 w 58088"/>
                  <a:gd name="connsiteY4" fmla="*/ 0 h 10244"/>
                  <a:gd name="connsiteX5" fmla="*/ 58089 w 58088"/>
                  <a:gd name="connsiteY5" fmla="*/ 5122 h 10244"/>
                  <a:gd name="connsiteX6" fmla="*/ 52967 w 58088"/>
                  <a:gd name="connsiteY6" fmla="*/ 10245 h 1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88" h="10244">
                    <a:moveTo>
                      <a:pt x="52967" y="10245"/>
                    </a:moveTo>
                    <a:lnTo>
                      <a:pt x="5122" y="10245"/>
                    </a:lnTo>
                    <a:cubicBezTo>
                      <a:pt x="2280" y="10245"/>
                      <a:pt x="0" y="7938"/>
                      <a:pt x="0" y="5122"/>
                    </a:cubicBezTo>
                    <a:cubicBezTo>
                      <a:pt x="0" y="2306"/>
                      <a:pt x="2306" y="0"/>
                      <a:pt x="5122" y="0"/>
                    </a:cubicBezTo>
                    <a:lnTo>
                      <a:pt x="52967" y="0"/>
                    </a:lnTo>
                    <a:cubicBezTo>
                      <a:pt x="55809" y="0"/>
                      <a:pt x="58089" y="2306"/>
                      <a:pt x="58089" y="5122"/>
                    </a:cubicBezTo>
                    <a:cubicBezTo>
                      <a:pt x="58089" y="7965"/>
                      <a:pt x="55809" y="10245"/>
                      <a:pt x="52967" y="10245"/>
                    </a:cubicBezTo>
                    <a:close/>
                  </a:path>
                </a:pathLst>
              </a:custGeom>
              <a:solidFill>
                <a:schemeClr val="accent1"/>
              </a:solidFill>
              <a:ln w="2680" cap="flat">
                <a:noFill/>
                <a:prstDash val="solid"/>
                <a:miter/>
              </a:ln>
            </p:spPr>
            <p:txBody>
              <a:bodyPr rtlCol="0" anchor="ctr"/>
              <a:lstStyle/>
              <a:p>
                <a:endParaRPr lang="en-GB" dirty="0"/>
              </a:p>
            </p:txBody>
          </p:sp>
        </p:grpSp>
      </p:grpSp>
      <p:grpSp>
        <p:nvGrpSpPr>
          <p:cNvPr id="748" name="Group 747">
            <a:extLst>
              <a:ext uri="{FF2B5EF4-FFF2-40B4-BE49-F238E27FC236}">
                <a16:creationId xmlns:a16="http://schemas.microsoft.com/office/drawing/2014/main" id="{C8639771-7E81-4878-BA9A-FA0BA2D343D4}"/>
              </a:ext>
            </a:extLst>
          </p:cNvPr>
          <p:cNvGrpSpPr/>
          <p:nvPr/>
        </p:nvGrpSpPr>
        <p:grpSpPr>
          <a:xfrm>
            <a:off x="7015997" y="3197068"/>
            <a:ext cx="567075" cy="432000"/>
            <a:chOff x="7015585" y="3197068"/>
            <a:chExt cx="567075" cy="432000"/>
          </a:xfrm>
        </p:grpSpPr>
        <p:sp>
          <p:nvSpPr>
            <p:cNvPr id="651" name="Freihandform: Form 808">
              <a:extLst>
                <a:ext uri="{FF2B5EF4-FFF2-40B4-BE49-F238E27FC236}">
                  <a16:creationId xmlns:a16="http://schemas.microsoft.com/office/drawing/2014/main" id="{6AC60DF9-6D86-40B2-90C9-AE13CA7941CE}"/>
                </a:ext>
              </a:extLst>
            </p:cNvPr>
            <p:cNvSpPr/>
            <p:nvPr/>
          </p:nvSpPr>
          <p:spPr>
            <a:xfrm>
              <a:off x="7015585" y="3197068"/>
              <a:ext cx="567075" cy="375229"/>
            </a:xfrm>
            <a:custGeom>
              <a:avLst/>
              <a:gdLst>
                <a:gd name="connsiteX0" fmla="*/ 104780 w 504966"/>
                <a:gd name="connsiteY0" fmla="*/ 334132 h 334132"/>
                <a:gd name="connsiteX1" fmla="*/ 0 w 504966"/>
                <a:gd name="connsiteY1" fmla="*/ 229352 h 334132"/>
                <a:gd name="connsiteX2" fmla="*/ 58786 w 504966"/>
                <a:gd name="connsiteY2" fmla="*/ 135192 h 334132"/>
                <a:gd name="connsiteX3" fmla="*/ 163513 w 504966"/>
                <a:gd name="connsiteY3" fmla="*/ 33818 h 334132"/>
                <a:gd name="connsiteX4" fmla="*/ 226161 w 504966"/>
                <a:gd name="connsiteY4" fmla="*/ 54629 h 334132"/>
                <a:gd name="connsiteX5" fmla="*/ 322788 w 504966"/>
                <a:gd name="connsiteY5" fmla="*/ 0 h 334132"/>
                <a:gd name="connsiteX6" fmla="*/ 435560 w 504966"/>
                <a:gd name="connsiteY6" fmla="*/ 112799 h 334132"/>
                <a:gd name="connsiteX7" fmla="*/ 426442 w 504966"/>
                <a:gd name="connsiteY7" fmla="*/ 157210 h 334132"/>
                <a:gd name="connsiteX8" fmla="*/ 504966 w 504966"/>
                <a:gd name="connsiteY8" fmla="*/ 245363 h 334132"/>
                <a:gd name="connsiteX9" fmla="*/ 418503 w 504966"/>
                <a:gd name="connsiteY9" fmla="*/ 334079 h 334132"/>
                <a:gd name="connsiteX10" fmla="*/ 412845 w 504966"/>
                <a:gd name="connsiteY10" fmla="*/ 329010 h 334132"/>
                <a:gd name="connsiteX11" fmla="*/ 412845 w 504966"/>
                <a:gd name="connsiteY11" fmla="*/ 328983 h 334132"/>
                <a:gd name="connsiteX12" fmla="*/ 417860 w 504966"/>
                <a:gd name="connsiteY12" fmla="*/ 323861 h 334132"/>
                <a:gd name="connsiteX13" fmla="*/ 494695 w 504966"/>
                <a:gd name="connsiteY13" fmla="*/ 245363 h 334132"/>
                <a:gd name="connsiteX14" fmla="*/ 418450 w 504966"/>
                <a:gd name="connsiteY14" fmla="*/ 166919 h 334132"/>
                <a:gd name="connsiteX15" fmla="*/ 414186 w 504966"/>
                <a:gd name="connsiteY15" fmla="*/ 164398 h 334132"/>
                <a:gd name="connsiteX16" fmla="*/ 414025 w 504966"/>
                <a:gd name="connsiteY16" fmla="*/ 159436 h 334132"/>
                <a:gd name="connsiteX17" fmla="*/ 425288 w 504966"/>
                <a:gd name="connsiteY17" fmla="*/ 112772 h 334132"/>
                <a:gd name="connsiteX18" fmla="*/ 322761 w 504966"/>
                <a:gd name="connsiteY18" fmla="*/ 10245 h 334132"/>
                <a:gd name="connsiteX19" fmla="*/ 232168 w 504966"/>
                <a:gd name="connsiteY19" fmla="*/ 64767 h 334132"/>
                <a:gd name="connsiteX20" fmla="*/ 228628 w 504966"/>
                <a:gd name="connsiteY20" fmla="*/ 67395 h 334132"/>
                <a:gd name="connsiteX21" fmla="*/ 224337 w 504966"/>
                <a:gd name="connsiteY21" fmla="*/ 66295 h 334132"/>
                <a:gd name="connsiteX22" fmla="*/ 163486 w 504966"/>
                <a:gd name="connsiteY22" fmla="*/ 44090 h 334132"/>
                <a:gd name="connsiteX23" fmla="*/ 68950 w 504966"/>
                <a:gd name="connsiteY23" fmla="*/ 138491 h 334132"/>
                <a:gd name="connsiteX24" fmla="*/ 65947 w 504966"/>
                <a:gd name="connsiteY24" fmla="*/ 143157 h 334132"/>
                <a:gd name="connsiteX25" fmla="*/ 10245 w 504966"/>
                <a:gd name="connsiteY25" fmla="*/ 229379 h 334132"/>
                <a:gd name="connsiteX26" fmla="*/ 108132 w 504966"/>
                <a:gd name="connsiteY26" fmla="*/ 323834 h 334132"/>
                <a:gd name="connsiteX27" fmla="*/ 113442 w 504966"/>
                <a:gd name="connsiteY27" fmla="*/ 328768 h 334132"/>
                <a:gd name="connsiteX28" fmla="*/ 108535 w 504966"/>
                <a:gd name="connsiteY28" fmla="*/ 334079 h 334132"/>
                <a:gd name="connsiteX29" fmla="*/ 104780 w 504966"/>
                <a:gd name="connsiteY29" fmla="*/ 334132 h 334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504966" h="334132">
                  <a:moveTo>
                    <a:pt x="104780" y="334132"/>
                  </a:moveTo>
                  <a:cubicBezTo>
                    <a:pt x="47013" y="334132"/>
                    <a:pt x="0" y="287119"/>
                    <a:pt x="0" y="229352"/>
                  </a:cubicBezTo>
                  <a:cubicBezTo>
                    <a:pt x="0" y="189339"/>
                    <a:pt x="22957" y="152732"/>
                    <a:pt x="58786" y="135192"/>
                  </a:cubicBezTo>
                  <a:cubicBezTo>
                    <a:pt x="60556" y="79007"/>
                    <a:pt x="106872" y="33818"/>
                    <a:pt x="163513" y="33818"/>
                  </a:cubicBezTo>
                  <a:cubicBezTo>
                    <a:pt x="186121" y="33818"/>
                    <a:pt x="208139" y="41166"/>
                    <a:pt x="226161" y="54629"/>
                  </a:cubicBezTo>
                  <a:cubicBezTo>
                    <a:pt x="246516" y="20784"/>
                    <a:pt x="283016" y="0"/>
                    <a:pt x="322788" y="0"/>
                  </a:cubicBezTo>
                  <a:cubicBezTo>
                    <a:pt x="384980" y="0"/>
                    <a:pt x="435560" y="50607"/>
                    <a:pt x="435560" y="112799"/>
                  </a:cubicBezTo>
                  <a:cubicBezTo>
                    <a:pt x="435560" y="128246"/>
                    <a:pt x="432502" y="143157"/>
                    <a:pt x="426442" y="157210"/>
                  </a:cubicBezTo>
                  <a:cubicBezTo>
                    <a:pt x="471041" y="162252"/>
                    <a:pt x="504966" y="199610"/>
                    <a:pt x="504966" y="245363"/>
                  </a:cubicBezTo>
                  <a:cubicBezTo>
                    <a:pt x="504966" y="293127"/>
                    <a:pt x="466213" y="332845"/>
                    <a:pt x="418503" y="334079"/>
                  </a:cubicBezTo>
                  <a:cubicBezTo>
                    <a:pt x="415634" y="334347"/>
                    <a:pt x="412845" y="332014"/>
                    <a:pt x="412845" y="329010"/>
                  </a:cubicBezTo>
                  <a:lnTo>
                    <a:pt x="412845" y="328983"/>
                  </a:lnTo>
                  <a:cubicBezTo>
                    <a:pt x="412845" y="326194"/>
                    <a:pt x="415070" y="323914"/>
                    <a:pt x="417860" y="323861"/>
                  </a:cubicBezTo>
                  <a:cubicBezTo>
                    <a:pt x="460233" y="322976"/>
                    <a:pt x="494695" y="287763"/>
                    <a:pt x="494695" y="245363"/>
                  </a:cubicBezTo>
                  <a:cubicBezTo>
                    <a:pt x="494695" y="202587"/>
                    <a:pt x="461198" y="168125"/>
                    <a:pt x="418450" y="166919"/>
                  </a:cubicBezTo>
                  <a:cubicBezTo>
                    <a:pt x="416706" y="166865"/>
                    <a:pt x="415070" y="165926"/>
                    <a:pt x="414186" y="164398"/>
                  </a:cubicBezTo>
                  <a:cubicBezTo>
                    <a:pt x="413300" y="162896"/>
                    <a:pt x="413220" y="161019"/>
                    <a:pt x="414025" y="159436"/>
                  </a:cubicBezTo>
                  <a:cubicBezTo>
                    <a:pt x="421507" y="144847"/>
                    <a:pt x="425288" y="129131"/>
                    <a:pt x="425288" y="112772"/>
                  </a:cubicBezTo>
                  <a:cubicBezTo>
                    <a:pt x="425288" y="56238"/>
                    <a:pt x="379295" y="10245"/>
                    <a:pt x="322761" y="10245"/>
                  </a:cubicBezTo>
                  <a:cubicBezTo>
                    <a:pt x="284732" y="10245"/>
                    <a:pt x="250029" y="31136"/>
                    <a:pt x="232168" y="64767"/>
                  </a:cubicBezTo>
                  <a:cubicBezTo>
                    <a:pt x="231444" y="66135"/>
                    <a:pt x="230130" y="67100"/>
                    <a:pt x="228628" y="67395"/>
                  </a:cubicBezTo>
                  <a:cubicBezTo>
                    <a:pt x="227099" y="67690"/>
                    <a:pt x="225544" y="67288"/>
                    <a:pt x="224337" y="66295"/>
                  </a:cubicBezTo>
                  <a:cubicBezTo>
                    <a:pt x="207334" y="51974"/>
                    <a:pt x="185718" y="44090"/>
                    <a:pt x="163486" y="44090"/>
                  </a:cubicBezTo>
                  <a:cubicBezTo>
                    <a:pt x="111404" y="44090"/>
                    <a:pt x="69004" y="86436"/>
                    <a:pt x="68950" y="138491"/>
                  </a:cubicBezTo>
                  <a:cubicBezTo>
                    <a:pt x="68950" y="140502"/>
                    <a:pt x="67770" y="142326"/>
                    <a:pt x="65947" y="143157"/>
                  </a:cubicBezTo>
                  <a:cubicBezTo>
                    <a:pt x="32102" y="158444"/>
                    <a:pt x="10245" y="192262"/>
                    <a:pt x="10245" y="229379"/>
                  </a:cubicBezTo>
                  <a:cubicBezTo>
                    <a:pt x="10245" y="282614"/>
                    <a:pt x="54254" y="325738"/>
                    <a:pt x="108132" y="323834"/>
                  </a:cubicBezTo>
                  <a:cubicBezTo>
                    <a:pt x="111029" y="323753"/>
                    <a:pt x="113335" y="325926"/>
                    <a:pt x="113442" y="328768"/>
                  </a:cubicBezTo>
                  <a:cubicBezTo>
                    <a:pt x="113550" y="331584"/>
                    <a:pt x="111350" y="333971"/>
                    <a:pt x="108535" y="334079"/>
                  </a:cubicBezTo>
                  <a:cubicBezTo>
                    <a:pt x="107274" y="334105"/>
                    <a:pt x="106040" y="334132"/>
                    <a:pt x="104780" y="334132"/>
                  </a:cubicBezTo>
                  <a:close/>
                </a:path>
              </a:pathLst>
            </a:custGeom>
            <a:solidFill>
              <a:schemeClr val="tx2"/>
            </a:solidFill>
            <a:ln w="2680" cap="flat">
              <a:noFill/>
              <a:prstDash val="solid"/>
              <a:miter/>
            </a:ln>
          </p:spPr>
          <p:txBody>
            <a:bodyPr rtlCol="0" anchor="ctr"/>
            <a:lstStyle/>
            <a:p>
              <a:endParaRPr lang="en-GB" dirty="0"/>
            </a:p>
          </p:txBody>
        </p:sp>
        <p:grpSp>
          <p:nvGrpSpPr>
            <p:cNvPr id="652" name="Group 651">
              <a:extLst>
                <a:ext uri="{FF2B5EF4-FFF2-40B4-BE49-F238E27FC236}">
                  <a16:creationId xmlns:a16="http://schemas.microsoft.com/office/drawing/2014/main" id="{0B0E0D31-8208-4C25-970C-B2CB3E8F940F}"/>
                </a:ext>
              </a:extLst>
            </p:cNvPr>
            <p:cNvGrpSpPr/>
            <p:nvPr/>
          </p:nvGrpSpPr>
          <p:grpSpPr>
            <a:xfrm>
              <a:off x="7153009" y="3300370"/>
              <a:ext cx="336299" cy="328698"/>
              <a:chOff x="7061474" y="1749506"/>
              <a:chExt cx="299466" cy="292697"/>
            </a:xfrm>
          </p:grpSpPr>
          <p:grpSp>
            <p:nvGrpSpPr>
              <p:cNvPr id="653" name="Grafik 77">
                <a:extLst>
                  <a:ext uri="{FF2B5EF4-FFF2-40B4-BE49-F238E27FC236}">
                    <a16:creationId xmlns:a16="http://schemas.microsoft.com/office/drawing/2014/main" id="{6C9CD4FD-28A6-4AB9-BF81-B08887732216}"/>
                  </a:ext>
                </a:extLst>
              </p:cNvPr>
              <p:cNvGrpSpPr/>
              <p:nvPr/>
            </p:nvGrpSpPr>
            <p:grpSpPr>
              <a:xfrm>
                <a:off x="7061474" y="1847420"/>
                <a:ext cx="299466" cy="194783"/>
                <a:chOff x="7061474" y="1847420"/>
                <a:chExt cx="299466" cy="194783"/>
              </a:xfrm>
              <a:solidFill>
                <a:schemeClr val="accent1"/>
              </a:solidFill>
            </p:grpSpPr>
            <p:sp>
              <p:nvSpPr>
                <p:cNvPr id="657" name="Freihandform: Form 810">
                  <a:extLst>
                    <a:ext uri="{FF2B5EF4-FFF2-40B4-BE49-F238E27FC236}">
                      <a16:creationId xmlns:a16="http://schemas.microsoft.com/office/drawing/2014/main" id="{20E5D6EB-BABE-4407-BD88-78BC5B3D7AE0}"/>
                    </a:ext>
                  </a:extLst>
                </p:cNvPr>
                <p:cNvSpPr/>
                <p:nvPr/>
              </p:nvSpPr>
              <p:spPr>
                <a:xfrm>
                  <a:off x="7061474" y="1847420"/>
                  <a:ext cx="109205" cy="190116"/>
                </a:xfrm>
                <a:custGeom>
                  <a:avLst/>
                  <a:gdLst>
                    <a:gd name="connsiteX0" fmla="*/ 5122 w 109205"/>
                    <a:gd name="connsiteY0" fmla="*/ 190117 h 190116"/>
                    <a:gd name="connsiteX1" fmla="*/ 0 w 109205"/>
                    <a:gd name="connsiteY1" fmla="*/ 184994 h 190116"/>
                    <a:gd name="connsiteX2" fmla="*/ 0 w 109205"/>
                    <a:gd name="connsiteY2" fmla="*/ 16628 h 190116"/>
                    <a:gd name="connsiteX3" fmla="*/ 16628 w 109205"/>
                    <a:gd name="connsiteY3" fmla="*/ 0 h 190116"/>
                    <a:gd name="connsiteX4" fmla="*/ 78846 w 109205"/>
                    <a:gd name="connsiteY4" fmla="*/ 0 h 190116"/>
                    <a:gd name="connsiteX5" fmla="*/ 94616 w 109205"/>
                    <a:gd name="connsiteY5" fmla="*/ 11371 h 190116"/>
                    <a:gd name="connsiteX6" fmla="*/ 96225 w 109205"/>
                    <a:gd name="connsiteY6" fmla="*/ 16172 h 190116"/>
                    <a:gd name="connsiteX7" fmla="*/ 102259 w 109205"/>
                    <a:gd name="connsiteY7" fmla="*/ 20516 h 190116"/>
                    <a:gd name="connsiteX8" fmla="*/ 104083 w 109205"/>
                    <a:gd name="connsiteY8" fmla="*/ 20516 h 190116"/>
                    <a:gd name="connsiteX9" fmla="*/ 109205 w 109205"/>
                    <a:gd name="connsiteY9" fmla="*/ 25639 h 190116"/>
                    <a:gd name="connsiteX10" fmla="*/ 104083 w 109205"/>
                    <a:gd name="connsiteY10" fmla="*/ 30761 h 190116"/>
                    <a:gd name="connsiteX11" fmla="*/ 102259 w 109205"/>
                    <a:gd name="connsiteY11" fmla="*/ 30761 h 190116"/>
                    <a:gd name="connsiteX12" fmla="*/ 86490 w 109205"/>
                    <a:gd name="connsiteY12" fmla="*/ 19390 h 190116"/>
                    <a:gd name="connsiteX13" fmla="*/ 84907 w 109205"/>
                    <a:gd name="connsiteY13" fmla="*/ 14616 h 190116"/>
                    <a:gd name="connsiteX14" fmla="*/ 78873 w 109205"/>
                    <a:gd name="connsiteY14" fmla="*/ 10272 h 190116"/>
                    <a:gd name="connsiteX15" fmla="*/ 16654 w 109205"/>
                    <a:gd name="connsiteY15" fmla="*/ 10272 h 190116"/>
                    <a:gd name="connsiteX16" fmla="*/ 10298 w 109205"/>
                    <a:gd name="connsiteY16" fmla="*/ 16628 h 190116"/>
                    <a:gd name="connsiteX17" fmla="*/ 10298 w 109205"/>
                    <a:gd name="connsiteY17" fmla="*/ 184994 h 190116"/>
                    <a:gd name="connsiteX18" fmla="*/ 5122 w 109205"/>
                    <a:gd name="connsiteY18" fmla="*/ 190117 h 190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9205" h="190116">
                      <a:moveTo>
                        <a:pt x="5122" y="190117"/>
                      </a:moveTo>
                      <a:cubicBezTo>
                        <a:pt x="2280" y="190117"/>
                        <a:pt x="0" y="187810"/>
                        <a:pt x="0" y="184994"/>
                      </a:cubicBezTo>
                      <a:lnTo>
                        <a:pt x="0" y="16628"/>
                      </a:lnTo>
                      <a:cubicBezTo>
                        <a:pt x="0" y="7456"/>
                        <a:pt x="7455" y="0"/>
                        <a:pt x="16628" y="0"/>
                      </a:cubicBezTo>
                      <a:lnTo>
                        <a:pt x="78846" y="0"/>
                      </a:lnTo>
                      <a:cubicBezTo>
                        <a:pt x="86007" y="0"/>
                        <a:pt x="92336" y="4559"/>
                        <a:pt x="94616" y="11371"/>
                      </a:cubicBezTo>
                      <a:lnTo>
                        <a:pt x="96225" y="16172"/>
                      </a:lnTo>
                      <a:cubicBezTo>
                        <a:pt x="97083" y="18773"/>
                        <a:pt x="99524" y="20516"/>
                        <a:pt x="102259" y="20516"/>
                      </a:cubicBezTo>
                      <a:lnTo>
                        <a:pt x="104083" y="20516"/>
                      </a:lnTo>
                      <a:cubicBezTo>
                        <a:pt x="106899" y="20516"/>
                        <a:pt x="109205" y="22823"/>
                        <a:pt x="109205" y="25639"/>
                      </a:cubicBezTo>
                      <a:cubicBezTo>
                        <a:pt x="109205" y="28481"/>
                        <a:pt x="106899" y="30761"/>
                        <a:pt x="104083" y="30761"/>
                      </a:cubicBezTo>
                      <a:lnTo>
                        <a:pt x="102259" y="30761"/>
                      </a:lnTo>
                      <a:cubicBezTo>
                        <a:pt x="95098" y="30761"/>
                        <a:pt x="88742" y="26202"/>
                        <a:pt x="86490" y="19390"/>
                      </a:cubicBezTo>
                      <a:lnTo>
                        <a:pt x="84907" y="14616"/>
                      </a:lnTo>
                      <a:cubicBezTo>
                        <a:pt x="84049" y="12015"/>
                        <a:pt x="81609" y="10272"/>
                        <a:pt x="78873" y="10272"/>
                      </a:cubicBezTo>
                      <a:lnTo>
                        <a:pt x="16654" y="10272"/>
                      </a:lnTo>
                      <a:cubicBezTo>
                        <a:pt x="13141" y="10272"/>
                        <a:pt x="10298" y="13141"/>
                        <a:pt x="10298" y="16628"/>
                      </a:cubicBezTo>
                      <a:lnTo>
                        <a:pt x="10298" y="184994"/>
                      </a:lnTo>
                      <a:cubicBezTo>
                        <a:pt x="10245" y="187837"/>
                        <a:pt x="7938" y="190117"/>
                        <a:pt x="5122" y="190117"/>
                      </a:cubicBezTo>
                      <a:close/>
                    </a:path>
                  </a:pathLst>
                </a:custGeom>
                <a:solidFill>
                  <a:schemeClr val="accent1"/>
                </a:solidFill>
                <a:ln w="2680" cap="flat">
                  <a:noFill/>
                  <a:prstDash val="solid"/>
                  <a:miter/>
                </a:ln>
              </p:spPr>
              <p:txBody>
                <a:bodyPr rtlCol="0" anchor="ctr"/>
                <a:lstStyle/>
                <a:p>
                  <a:endParaRPr lang="en-GB" dirty="0"/>
                </a:p>
              </p:txBody>
            </p:sp>
            <p:sp>
              <p:nvSpPr>
                <p:cNvPr id="658" name="Freihandform: Form 811">
                  <a:extLst>
                    <a:ext uri="{FF2B5EF4-FFF2-40B4-BE49-F238E27FC236}">
                      <a16:creationId xmlns:a16="http://schemas.microsoft.com/office/drawing/2014/main" id="{C83C19B8-9634-49ED-9795-6E51BA4F002C}"/>
                    </a:ext>
                  </a:extLst>
                </p:cNvPr>
                <p:cNvSpPr/>
                <p:nvPr/>
              </p:nvSpPr>
              <p:spPr>
                <a:xfrm>
                  <a:off x="7244564" y="1867963"/>
                  <a:ext cx="66349" cy="30734"/>
                </a:xfrm>
                <a:custGeom>
                  <a:avLst/>
                  <a:gdLst>
                    <a:gd name="connsiteX0" fmla="*/ 61200 w 66349"/>
                    <a:gd name="connsiteY0" fmla="*/ 30734 h 30734"/>
                    <a:gd name="connsiteX1" fmla="*/ 56078 w 66349"/>
                    <a:gd name="connsiteY1" fmla="*/ 25612 h 30734"/>
                    <a:gd name="connsiteX2" fmla="*/ 56078 w 66349"/>
                    <a:gd name="connsiteY2" fmla="*/ 16601 h 30734"/>
                    <a:gd name="connsiteX3" fmla="*/ 49722 w 66349"/>
                    <a:gd name="connsiteY3" fmla="*/ 10245 h 30734"/>
                    <a:gd name="connsiteX4" fmla="*/ 5122 w 66349"/>
                    <a:gd name="connsiteY4" fmla="*/ 10245 h 30734"/>
                    <a:gd name="connsiteX5" fmla="*/ 0 w 66349"/>
                    <a:gd name="connsiteY5" fmla="*/ 5122 h 30734"/>
                    <a:gd name="connsiteX6" fmla="*/ 5122 w 66349"/>
                    <a:gd name="connsiteY6" fmla="*/ 0 h 30734"/>
                    <a:gd name="connsiteX7" fmla="*/ 49722 w 66349"/>
                    <a:gd name="connsiteY7" fmla="*/ 0 h 30734"/>
                    <a:gd name="connsiteX8" fmla="*/ 66349 w 66349"/>
                    <a:gd name="connsiteY8" fmla="*/ 16627 h 30734"/>
                    <a:gd name="connsiteX9" fmla="*/ 66349 w 66349"/>
                    <a:gd name="connsiteY9" fmla="*/ 25639 h 30734"/>
                    <a:gd name="connsiteX10" fmla="*/ 61200 w 66349"/>
                    <a:gd name="connsiteY10" fmla="*/ 30734 h 3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349" h="30734">
                      <a:moveTo>
                        <a:pt x="61200" y="30734"/>
                      </a:moveTo>
                      <a:cubicBezTo>
                        <a:pt x="58357" y="30734"/>
                        <a:pt x="56078" y="28428"/>
                        <a:pt x="56078" y="25612"/>
                      </a:cubicBezTo>
                      <a:lnTo>
                        <a:pt x="56078" y="16601"/>
                      </a:lnTo>
                      <a:cubicBezTo>
                        <a:pt x="56078" y="13087"/>
                        <a:pt x="53208" y="10245"/>
                        <a:pt x="49722" y="10245"/>
                      </a:cubicBezTo>
                      <a:lnTo>
                        <a:pt x="5122" y="10245"/>
                      </a:lnTo>
                      <a:cubicBezTo>
                        <a:pt x="2280" y="10245"/>
                        <a:pt x="0" y="7938"/>
                        <a:pt x="0" y="5122"/>
                      </a:cubicBezTo>
                      <a:cubicBezTo>
                        <a:pt x="0" y="2306"/>
                        <a:pt x="2307" y="0"/>
                        <a:pt x="5122" y="0"/>
                      </a:cubicBezTo>
                      <a:lnTo>
                        <a:pt x="49722" y="0"/>
                      </a:lnTo>
                      <a:cubicBezTo>
                        <a:pt x="58894" y="0"/>
                        <a:pt x="66349" y="7456"/>
                        <a:pt x="66349" y="16627"/>
                      </a:cubicBezTo>
                      <a:lnTo>
                        <a:pt x="66349" y="25639"/>
                      </a:lnTo>
                      <a:cubicBezTo>
                        <a:pt x="66322" y="28428"/>
                        <a:pt x="64043" y="30734"/>
                        <a:pt x="61200" y="30734"/>
                      </a:cubicBezTo>
                      <a:close/>
                    </a:path>
                  </a:pathLst>
                </a:custGeom>
                <a:solidFill>
                  <a:schemeClr val="accent1"/>
                </a:solidFill>
                <a:ln w="2680" cap="flat">
                  <a:noFill/>
                  <a:prstDash val="solid"/>
                  <a:miter/>
                </a:ln>
              </p:spPr>
              <p:txBody>
                <a:bodyPr rtlCol="0" anchor="ctr"/>
                <a:lstStyle/>
                <a:p>
                  <a:endParaRPr lang="en-GB" dirty="0"/>
                </a:p>
              </p:txBody>
            </p:sp>
            <p:sp>
              <p:nvSpPr>
                <p:cNvPr id="659" name="Freihandform: Form 812">
                  <a:extLst>
                    <a:ext uri="{FF2B5EF4-FFF2-40B4-BE49-F238E27FC236}">
                      <a16:creationId xmlns:a16="http://schemas.microsoft.com/office/drawing/2014/main" id="{DED8D903-CF02-4DA7-9D62-F5AF603994D0}"/>
                    </a:ext>
                  </a:extLst>
                </p:cNvPr>
                <p:cNvSpPr/>
                <p:nvPr/>
              </p:nvSpPr>
              <p:spPr>
                <a:xfrm>
                  <a:off x="7061478" y="1908942"/>
                  <a:ext cx="299462" cy="133261"/>
                </a:xfrm>
                <a:custGeom>
                  <a:avLst/>
                  <a:gdLst>
                    <a:gd name="connsiteX0" fmla="*/ 244286 w 299462"/>
                    <a:gd name="connsiteY0" fmla="*/ 133261 h 133261"/>
                    <a:gd name="connsiteX1" fmla="*/ 5118 w 299462"/>
                    <a:gd name="connsiteY1" fmla="*/ 133261 h 133261"/>
                    <a:gd name="connsiteX2" fmla="*/ 828 w 299462"/>
                    <a:gd name="connsiteY2" fmla="*/ 130928 h 133261"/>
                    <a:gd name="connsiteX3" fmla="*/ 452 w 299462"/>
                    <a:gd name="connsiteY3" fmla="*/ 126047 h 133261"/>
                    <a:gd name="connsiteX4" fmla="*/ 52829 w 299462"/>
                    <a:gd name="connsiteY4" fmla="*/ 8206 h 133261"/>
                    <a:gd name="connsiteX5" fmla="*/ 65460 w 299462"/>
                    <a:gd name="connsiteY5" fmla="*/ 0 h 133261"/>
                    <a:gd name="connsiteX6" fmla="*/ 285640 w 299462"/>
                    <a:gd name="connsiteY6" fmla="*/ 0 h 133261"/>
                    <a:gd name="connsiteX7" fmla="*/ 297226 w 299462"/>
                    <a:gd name="connsiteY7" fmla="*/ 6276 h 133261"/>
                    <a:gd name="connsiteX8" fmla="*/ 298272 w 299462"/>
                    <a:gd name="connsiteY8" fmla="*/ 19417 h 133261"/>
                    <a:gd name="connsiteX9" fmla="*/ 249033 w 299462"/>
                    <a:gd name="connsiteY9" fmla="*/ 130204 h 133261"/>
                    <a:gd name="connsiteX10" fmla="*/ 244286 w 299462"/>
                    <a:gd name="connsiteY10" fmla="*/ 133261 h 133261"/>
                    <a:gd name="connsiteX11" fmla="*/ 13003 w 299462"/>
                    <a:gd name="connsiteY11" fmla="*/ 123017 h 133261"/>
                    <a:gd name="connsiteX12" fmla="*/ 240961 w 299462"/>
                    <a:gd name="connsiteY12" fmla="*/ 123017 h 133261"/>
                    <a:gd name="connsiteX13" fmla="*/ 288859 w 299462"/>
                    <a:gd name="connsiteY13" fmla="*/ 15260 h 133261"/>
                    <a:gd name="connsiteX14" fmla="*/ 288590 w 299462"/>
                    <a:gd name="connsiteY14" fmla="*/ 11881 h 133261"/>
                    <a:gd name="connsiteX15" fmla="*/ 285614 w 299462"/>
                    <a:gd name="connsiteY15" fmla="*/ 10272 h 133261"/>
                    <a:gd name="connsiteX16" fmla="*/ 65433 w 299462"/>
                    <a:gd name="connsiteY16" fmla="*/ 10272 h 133261"/>
                    <a:gd name="connsiteX17" fmla="*/ 62188 w 299462"/>
                    <a:gd name="connsiteY17" fmla="*/ 12390 h 133261"/>
                    <a:gd name="connsiteX18" fmla="*/ 13003 w 299462"/>
                    <a:gd name="connsiteY18" fmla="*/ 123017 h 133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9462" h="133261">
                      <a:moveTo>
                        <a:pt x="244286" y="133261"/>
                      </a:moveTo>
                      <a:lnTo>
                        <a:pt x="5118" y="133261"/>
                      </a:lnTo>
                      <a:cubicBezTo>
                        <a:pt x="3375" y="133261"/>
                        <a:pt x="1766" y="132376"/>
                        <a:pt x="828" y="130928"/>
                      </a:cubicBezTo>
                      <a:cubicBezTo>
                        <a:pt x="-111" y="129480"/>
                        <a:pt x="-272" y="127629"/>
                        <a:pt x="452" y="126047"/>
                      </a:cubicBezTo>
                      <a:lnTo>
                        <a:pt x="52829" y="8206"/>
                      </a:lnTo>
                      <a:cubicBezTo>
                        <a:pt x="55055" y="3218"/>
                        <a:pt x="59989" y="0"/>
                        <a:pt x="65460" y="0"/>
                      </a:cubicBezTo>
                      <a:lnTo>
                        <a:pt x="285640" y="0"/>
                      </a:lnTo>
                      <a:cubicBezTo>
                        <a:pt x="290334" y="0"/>
                        <a:pt x="294651" y="2360"/>
                        <a:pt x="297226" y="6276"/>
                      </a:cubicBezTo>
                      <a:cubicBezTo>
                        <a:pt x="299774" y="10218"/>
                        <a:pt x="300176" y="15126"/>
                        <a:pt x="298272" y="19417"/>
                      </a:cubicBezTo>
                      <a:lnTo>
                        <a:pt x="249033" y="130204"/>
                      </a:lnTo>
                      <a:cubicBezTo>
                        <a:pt x="248148" y="132054"/>
                        <a:pt x="246324" y="133261"/>
                        <a:pt x="244286" y="133261"/>
                      </a:cubicBezTo>
                      <a:close/>
                      <a:moveTo>
                        <a:pt x="13003" y="123017"/>
                      </a:moveTo>
                      <a:lnTo>
                        <a:pt x="240961" y="123017"/>
                      </a:lnTo>
                      <a:lnTo>
                        <a:pt x="288859" y="15260"/>
                      </a:lnTo>
                      <a:cubicBezTo>
                        <a:pt x="289583" y="13677"/>
                        <a:pt x="288912" y="12363"/>
                        <a:pt x="288590" y="11881"/>
                      </a:cubicBezTo>
                      <a:cubicBezTo>
                        <a:pt x="288269" y="11398"/>
                        <a:pt x="287357" y="10272"/>
                        <a:pt x="285614" y="10272"/>
                      </a:cubicBezTo>
                      <a:lnTo>
                        <a:pt x="65433" y="10272"/>
                      </a:lnTo>
                      <a:cubicBezTo>
                        <a:pt x="64039" y="10272"/>
                        <a:pt x="62751" y="11103"/>
                        <a:pt x="62188" y="12390"/>
                      </a:cubicBezTo>
                      <a:lnTo>
                        <a:pt x="13003" y="123017"/>
                      </a:lnTo>
                      <a:close/>
                    </a:path>
                  </a:pathLst>
                </a:custGeom>
                <a:solidFill>
                  <a:schemeClr val="accent1"/>
                </a:solidFill>
                <a:ln w="2680" cap="flat">
                  <a:noFill/>
                  <a:prstDash val="solid"/>
                  <a:miter/>
                </a:ln>
              </p:spPr>
              <p:txBody>
                <a:bodyPr rtlCol="0" anchor="ctr"/>
                <a:lstStyle/>
                <a:p>
                  <a:endParaRPr lang="en-GB" dirty="0"/>
                </a:p>
              </p:txBody>
            </p:sp>
          </p:grpSp>
          <p:grpSp>
            <p:nvGrpSpPr>
              <p:cNvPr id="654" name="Grafik 77">
                <a:extLst>
                  <a:ext uri="{FF2B5EF4-FFF2-40B4-BE49-F238E27FC236}">
                    <a16:creationId xmlns:a16="http://schemas.microsoft.com/office/drawing/2014/main" id="{BB41DC33-E161-4FF8-B4F7-1BFAF3665A84}"/>
                  </a:ext>
                </a:extLst>
              </p:cNvPr>
              <p:cNvGrpSpPr/>
              <p:nvPr/>
            </p:nvGrpSpPr>
            <p:grpSpPr>
              <a:xfrm>
                <a:off x="7163934" y="1749506"/>
                <a:ext cx="89996" cy="146911"/>
                <a:chOff x="7163934" y="1749506"/>
                <a:chExt cx="89996" cy="146911"/>
              </a:xfrm>
              <a:solidFill>
                <a:schemeClr val="accent1"/>
              </a:solidFill>
            </p:grpSpPr>
            <p:sp>
              <p:nvSpPr>
                <p:cNvPr id="655" name="Freihandform: Form 814">
                  <a:extLst>
                    <a:ext uri="{FF2B5EF4-FFF2-40B4-BE49-F238E27FC236}">
                      <a16:creationId xmlns:a16="http://schemas.microsoft.com/office/drawing/2014/main" id="{FDACDEF7-2150-4072-8263-10795447377C}"/>
                    </a:ext>
                  </a:extLst>
                </p:cNvPr>
                <p:cNvSpPr/>
                <p:nvPr/>
              </p:nvSpPr>
              <p:spPr>
                <a:xfrm>
                  <a:off x="7163934" y="1774554"/>
                  <a:ext cx="89996" cy="121863"/>
                </a:xfrm>
                <a:custGeom>
                  <a:avLst/>
                  <a:gdLst>
                    <a:gd name="connsiteX0" fmla="*/ 45015 w 89996"/>
                    <a:gd name="connsiteY0" fmla="*/ 121863 h 121863"/>
                    <a:gd name="connsiteX1" fmla="*/ 41073 w 89996"/>
                    <a:gd name="connsiteY1" fmla="*/ 120013 h 121863"/>
                    <a:gd name="connsiteX2" fmla="*/ 1194 w 89996"/>
                    <a:gd name="connsiteY2" fmla="*/ 72169 h 121863"/>
                    <a:gd name="connsiteX3" fmla="*/ 496 w 89996"/>
                    <a:gd name="connsiteY3" fmla="*/ 66725 h 121863"/>
                    <a:gd name="connsiteX4" fmla="*/ 5136 w 89996"/>
                    <a:gd name="connsiteY4" fmla="*/ 63774 h 121863"/>
                    <a:gd name="connsiteX5" fmla="*/ 15971 w 89996"/>
                    <a:gd name="connsiteY5" fmla="*/ 63774 h 121863"/>
                    <a:gd name="connsiteX6" fmla="*/ 15971 w 89996"/>
                    <a:gd name="connsiteY6" fmla="*/ 5122 h 121863"/>
                    <a:gd name="connsiteX7" fmla="*/ 21093 w 89996"/>
                    <a:gd name="connsiteY7" fmla="*/ 0 h 121863"/>
                    <a:gd name="connsiteX8" fmla="*/ 68937 w 89996"/>
                    <a:gd name="connsiteY8" fmla="*/ 0 h 121863"/>
                    <a:gd name="connsiteX9" fmla="*/ 74060 w 89996"/>
                    <a:gd name="connsiteY9" fmla="*/ 5122 h 121863"/>
                    <a:gd name="connsiteX10" fmla="*/ 74060 w 89996"/>
                    <a:gd name="connsiteY10" fmla="*/ 63774 h 121863"/>
                    <a:gd name="connsiteX11" fmla="*/ 84868 w 89996"/>
                    <a:gd name="connsiteY11" fmla="*/ 63774 h 121863"/>
                    <a:gd name="connsiteX12" fmla="*/ 89507 w 89996"/>
                    <a:gd name="connsiteY12" fmla="*/ 66725 h 121863"/>
                    <a:gd name="connsiteX13" fmla="*/ 88810 w 89996"/>
                    <a:gd name="connsiteY13" fmla="*/ 72169 h 121863"/>
                    <a:gd name="connsiteX14" fmla="*/ 48958 w 89996"/>
                    <a:gd name="connsiteY14" fmla="*/ 120013 h 121863"/>
                    <a:gd name="connsiteX15" fmla="*/ 45015 w 89996"/>
                    <a:gd name="connsiteY15" fmla="*/ 121863 h 121863"/>
                    <a:gd name="connsiteX16" fmla="*/ 16105 w 89996"/>
                    <a:gd name="connsiteY16" fmla="*/ 74019 h 121863"/>
                    <a:gd name="connsiteX17" fmla="*/ 45015 w 89996"/>
                    <a:gd name="connsiteY17" fmla="*/ 108722 h 121863"/>
                    <a:gd name="connsiteX18" fmla="*/ 73926 w 89996"/>
                    <a:gd name="connsiteY18" fmla="*/ 74019 h 121863"/>
                    <a:gd name="connsiteX19" fmla="*/ 68937 w 89996"/>
                    <a:gd name="connsiteY19" fmla="*/ 74019 h 121863"/>
                    <a:gd name="connsiteX20" fmla="*/ 63815 w 89996"/>
                    <a:gd name="connsiteY20" fmla="*/ 68897 h 121863"/>
                    <a:gd name="connsiteX21" fmla="*/ 63815 w 89996"/>
                    <a:gd name="connsiteY21" fmla="*/ 10245 h 121863"/>
                    <a:gd name="connsiteX22" fmla="*/ 26242 w 89996"/>
                    <a:gd name="connsiteY22" fmla="*/ 10245 h 121863"/>
                    <a:gd name="connsiteX23" fmla="*/ 26242 w 89996"/>
                    <a:gd name="connsiteY23" fmla="*/ 68897 h 121863"/>
                    <a:gd name="connsiteX24" fmla="*/ 21120 w 89996"/>
                    <a:gd name="connsiteY24" fmla="*/ 74019 h 121863"/>
                    <a:gd name="connsiteX25" fmla="*/ 16105 w 89996"/>
                    <a:gd name="connsiteY25" fmla="*/ 74019 h 12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9996" h="121863">
                      <a:moveTo>
                        <a:pt x="45015" y="121863"/>
                      </a:moveTo>
                      <a:cubicBezTo>
                        <a:pt x="43487" y="121863"/>
                        <a:pt x="42065" y="121193"/>
                        <a:pt x="41073" y="120013"/>
                      </a:cubicBezTo>
                      <a:lnTo>
                        <a:pt x="1194" y="72169"/>
                      </a:lnTo>
                      <a:cubicBezTo>
                        <a:pt x="-94" y="70640"/>
                        <a:pt x="-362" y="68521"/>
                        <a:pt x="496" y="66725"/>
                      </a:cubicBezTo>
                      <a:cubicBezTo>
                        <a:pt x="1355" y="64928"/>
                        <a:pt x="3152" y="63774"/>
                        <a:pt x="5136" y="63774"/>
                      </a:cubicBezTo>
                      <a:lnTo>
                        <a:pt x="15971" y="63774"/>
                      </a:lnTo>
                      <a:lnTo>
                        <a:pt x="15971" y="5122"/>
                      </a:lnTo>
                      <a:cubicBezTo>
                        <a:pt x="15971" y="2280"/>
                        <a:pt x="18277" y="0"/>
                        <a:pt x="21093" y="0"/>
                      </a:cubicBezTo>
                      <a:lnTo>
                        <a:pt x="68937" y="0"/>
                      </a:lnTo>
                      <a:cubicBezTo>
                        <a:pt x="71780" y="0"/>
                        <a:pt x="74060" y="2306"/>
                        <a:pt x="74060" y="5122"/>
                      </a:cubicBezTo>
                      <a:lnTo>
                        <a:pt x="74060" y="63774"/>
                      </a:lnTo>
                      <a:lnTo>
                        <a:pt x="84868" y="63774"/>
                      </a:lnTo>
                      <a:cubicBezTo>
                        <a:pt x="86852" y="63774"/>
                        <a:pt x="88676" y="64928"/>
                        <a:pt x="89507" y="66725"/>
                      </a:cubicBezTo>
                      <a:cubicBezTo>
                        <a:pt x="90365" y="68521"/>
                        <a:pt x="90070" y="70640"/>
                        <a:pt x="88810" y="72169"/>
                      </a:cubicBezTo>
                      <a:lnTo>
                        <a:pt x="48958" y="120013"/>
                      </a:lnTo>
                      <a:cubicBezTo>
                        <a:pt x="47992" y="121193"/>
                        <a:pt x="46544" y="121863"/>
                        <a:pt x="45015" y="121863"/>
                      </a:cubicBezTo>
                      <a:close/>
                      <a:moveTo>
                        <a:pt x="16105" y="74019"/>
                      </a:moveTo>
                      <a:lnTo>
                        <a:pt x="45015" y="108722"/>
                      </a:lnTo>
                      <a:lnTo>
                        <a:pt x="73926" y="74019"/>
                      </a:lnTo>
                      <a:lnTo>
                        <a:pt x="68937" y="74019"/>
                      </a:lnTo>
                      <a:cubicBezTo>
                        <a:pt x="66095" y="74019"/>
                        <a:pt x="63815" y="71713"/>
                        <a:pt x="63815" y="68897"/>
                      </a:cubicBezTo>
                      <a:lnTo>
                        <a:pt x="63815" y="10245"/>
                      </a:lnTo>
                      <a:lnTo>
                        <a:pt x="26242" y="10245"/>
                      </a:lnTo>
                      <a:lnTo>
                        <a:pt x="26242" y="68897"/>
                      </a:lnTo>
                      <a:cubicBezTo>
                        <a:pt x="26242" y="71740"/>
                        <a:pt x="23936" y="74019"/>
                        <a:pt x="21120" y="74019"/>
                      </a:cubicBezTo>
                      <a:lnTo>
                        <a:pt x="16105" y="74019"/>
                      </a:lnTo>
                      <a:close/>
                    </a:path>
                  </a:pathLst>
                </a:custGeom>
                <a:solidFill>
                  <a:schemeClr val="accent1"/>
                </a:solidFill>
                <a:ln w="2680" cap="flat">
                  <a:noFill/>
                  <a:prstDash val="solid"/>
                  <a:miter/>
                </a:ln>
              </p:spPr>
              <p:txBody>
                <a:bodyPr rtlCol="0" anchor="ctr"/>
                <a:lstStyle/>
                <a:p>
                  <a:endParaRPr lang="en-GB" dirty="0"/>
                </a:p>
              </p:txBody>
            </p:sp>
            <p:sp>
              <p:nvSpPr>
                <p:cNvPr id="656" name="Freihandform: Form 815">
                  <a:extLst>
                    <a:ext uri="{FF2B5EF4-FFF2-40B4-BE49-F238E27FC236}">
                      <a16:creationId xmlns:a16="http://schemas.microsoft.com/office/drawing/2014/main" id="{55558089-01F5-4BDA-B61C-107DFCAE05AC}"/>
                    </a:ext>
                  </a:extLst>
                </p:cNvPr>
                <p:cNvSpPr/>
                <p:nvPr/>
              </p:nvSpPr>
              <p:spPr>
                <a:xfrm>
                  <a:off x="7181031" y="1749506"/>
                  <a:ext cx="58089" cy="10244"/>
                </a:xfrm>
                <a:custGeom>
                  <a:avLst/>
                  <a:gdLst>
                    <a:gd name="connsiteX0" fmla="*/ 52967 w 58089"/>
                    <a:gd name="connsiteY0" fmla="*/ 10245 h 10244"/>
                    <a:gd name="connsiteX1" fmla="*/ 5122 w 58089"/>
                    <a:gd name="connsiteY1" fmla="*/ 10245 h 10244"/>
                    <a:gd name="connsiteX2" fmla="*/ 0 w 58089"/>
                    <a:gd name="connsiteY2" fmla="*/ 5122 h 10244"/>
                    <a:gd name="connsiteX3" fmla="*/ 5122 w 58089"/>
                    <a:gd name="connsiteY3" fmla="*/ 0 h 10244"/>
                    <a:gd name="connsiteX4" fmla="*/ 52967 w 58089"/>
                    <a:gd name="connsiteY4" fmla="*/ 0 h 10244"/>
                    <a:gd name="connsiteX5" fmla="*/ 58089 w 58089"/>
                    <a:gd name="connsiteY5" fmla="*/ 5122 h 10244"/>
                    <a:gd name="connsiteX6" fmla="*/ 52967 w 58089"/>
                    <a:gd name="connsiteY6" fmla="*/ 10245 h 1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89" h="10244">
                      <a:moveTo>
                        <a:pt x="52967" y="10245"/>
                      </a:moveTo>
                      <a:lnTo>
                        <a:pt x="5122" y="10245"/>
                      </a:lnTo>
                      <a:cubicBezTo>
                        <a:pt x="2280" y="10245"/>
                        <a:pt x="0" y="7938"/>
                        <a:pt x="0" y="5122"/>
                      </a:cubicBezTo>
                      <a:cubicBezTo>
                        <a:pt x="0" y="2306"/>
                        <a:pt x="2307" y="0"/>
                        <a:pt x="5122" y="0"/>
                      </a:cubicBezTo>
                      <a:lnTo>
                        <a:pt x="52967" y="0"/>
                      </a:lnTo>
                      <a:cubicBezTo>
                        <a:pt x="55809" y="0"/>
                        <a:pt x="58089" y="2306"/>
                        <a:pt x="58089" y="5122"/>
                      </a:cubicBezTo>
                      <a:cubicBezTo>
                        <a:pt x="58116" y="7938"/>
                        <a:pt x="55809" y="10245"/>
                        <a:pt x="52967" y="10245"/>
                      </a:cubicBezTo>
                      <a:close/>
                    </a:path>
                  </a:pathLst>
                </a:custGeom>
                <a:solidFill>
                  <a:schemeClr val="accent1"/>
                </a:solidFill>
                <a:ln w="2680" cap="flat">
                  <a:noFill/>
                  <a:prstDash val="solid"/>
                  <a:miter/>
                </a:ln>
              </p:spPr>
              <p:txBody>
                <a:bodyPr rtlCol="0" anchor="ctr"/>
                <a:lstStyle/>
                <a:p>
                  <a:endParaRPr lang="en-GB" dirty="0"/>
                </a:p>
              </p:txBody>
            </p:sp>
          </p:grpSp>
        </p:grpSp>
      </p:grpSp>
      <p:grpSp>
        <p:nvGrpSpPr>
          <p:cNvPr id="749" name="Group 748">
            <a:extLst>
              <a:ext uri="{FF2B5EF4-FFF2-40B4-BE49-F238E27FC236}">
                <a16:creationId xmlns:a16="http://schemas.microsoft.com/office/drawing/2014/main" id="{0CC4DE0C-3CAC-4511-B0EF-075C00768952}"/>
              </a:ext>
            </a:extLst>
          </p:cNvPr>
          <p:cNvGrpSpPr/>
          <p:nvPr/>
        </p:nvGrpSpPr>
        <p:grpSpPr>
          <a:xfrm>
            <a:off x="8149562" y="3197068"/>
            <a:ext cx="386213" cy="432000"/>
            <a:chOff x="8149150" y="3197068"/>
            <a:chExt cx="386213" cy="432000"/>
          </a:xfrm>
        </p:grpSpPr>
        <p:grpSp>
          <p:nvGrpSpPr>
            <p:cNvPr id="661" name="Group 660">
              <a:extLst>
                <a:ext uri="{FF2B5EF4-FFF2-40B4-BE49-F238E27FC236}">
                  <a16:creationId xmlns:a16="http://schemas.microsoft.com/office/drawing/2014/main" id="{07120BFB-B398-4E3B-9B0E-4FBF22D60CBF}"/>
                </a:ext>
              </a:extLst>
            </p:cNvPr>
            <p:cNvGrpSpPr/>
            <p:nvPr/>
          </p:nvGrpSpPr>
          <p:grpSpPr>
            <a:xfrm>
              <a:off x="8149150" y="3282915"/>
              <a:ext cx="386213" cy="346153"/>
              <a:chOff x="6099064" y="3371464"/>
              <a:chExt cx="461252" cy="413408"/>
            </a:xfrm>
          </p:grpSpPr>
          <p:grpSp>
            <p:nvGrpSpPr>
              <p:cNvPr id="665" name="Grafik 77">
                <a:extLst>
                  <a:ext uri="{FF2B5EF4-FFF2-40B4-BE49-F238E27FC236}">
                    <a16:creationId xmlns:a16="http://schemas.microsoft.com/office/drawing/2014/main" id="{CE256338-DDC7-4FBF-B257-4C52CE66336F}"/>
                  </a:ext>
                </a:extLst>
              </p:cNvPr>
              <p:cNvGrpSpPr/>
              <p:nvPr/>
            </p:nvGrpSpPr>
            <p:grpSpPr>
              <a:xfrm>
                <a:off x="6099064" y="3733622"/>
                <a:ext cx="461252" cy="51250"/>
                <a:chOff x="6099064" y="3733622"/>
                <a:chExt cx="461252" cy="51250"/>
              </a:xfrm>
              <a:solidFill>
                <a:schemeClr val="tx2"/>
              </a:solidFill>
            </p:grpSpPr>
            <p:sp>
              <p:nvSpPr>
                <p:cNvPr id="669" name="Freihandform: Form 909">
                  <a:extLst>
                    <a:ext uri="{FF2B5EF4-FFF2-40B4-BE49-F238E27FC236}">
                      <a16:creationId xmlns:a16="http://schemas.microsoft.com/office/drawing/2014/main" id="{E937E339-A55B-420F-8E37-C88DFDFD4253}"/>
                    </a:ext>
                  </a:extLst>
                </p:cNvPr>
                <p:cNvSpPr/>
                <p:nvPr/>
              </p:nvSpPr>
              <p:spPr>
                <a:xfrm>
                  <a:off x="6099064" y="3733622"/>
                  <a:ext cx="461252" cy="10244"/>
                </a:xfrm>
                <a:custGeom>
                  <a:avLst/>
                  <a:gdLst>
                    <a:gd name="connsiteX0" fmla="*/ 456130 w 461252"/>
                    <a:gd name="connsiteY0" fmla="*/ 10245 h 10244"/>
                    <a:gd name="connsiteX1" fmla="*/ 5122 w 461252"/>
                    <a:gd name="connsiteY1" fmla="*/ 10245 h 10244"/>
                    <a:gd name="connsiteX2" fmla="*/ 0 w 461252"/>
                    <a:gd name="connsiteY2" fmla="*/ 5122 h 10244"/>
                    <a:gd name="connsiteX3" fmla="*/ 5122 w 461252"/>
                    <a:gd name="connsiteY3" fmla="*/ 0 h 10244"/>
                    <a:gd name="connsiteX4" fmla="*/ 456130 w 461252"/>
                    <a:gd name="connsiteY4" fmla="*/ 0 h 10244"/>
                    <a:gd name="connsiteX5" fmla="*/ 461252 w 461252"/>
                    <a:gd name="connsiteY5" fmla="*/ 5122 h 10244"/>
                    <a:gd name="connsiteX6" fmla="*/ 456130 w 461252"/>
                    <a:gd name="connsiteY6" fmla="*/ 10245 h 1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1252" h="10244">
                      <a:moveTo>
                        <a:pt x="456130" y="10245"/>
                      </a:moveTo>
                      <a:lnTo>
                        <a:pt x="5122" y="10245"/>
                      </a:lnTo>
                      <a:cubicBezTo>
                        <a:pt x="2280" y="10245"/>
                        <a:pt x="0" y="7938"/>
                        <a:pt x="0" y="5122"/>
                      </a:cubicBezTo>
                      <a:cubicBezTo>
                        <a:pt x="0" y="2307"/>
                        <a:pt x="2306" y="0"/>
                        <a:pt x="5122" y="0"/>
                      </a:cubicBezTo>
                      <a:lnTo>
                        <a:pt x="456130" y="0"/>
                      </a:lnTo>
                      <a:cubicBezTo>
                        <a:pt x="458972" y="0"/>
                        <a:pt x="461252" y="2307"/>
                        <a:pt x="461252" y="5122"/>
                      </a:cubicBezTo>
                      <a:cubicBezTo>
                        <a:pt x="461252" y="7965"/>
                        <a:pt x="458972" y="10245"/>
                        <a:pt x="456130" y="10245"/>
                      </a:cubicBezTo>
                      <a:close/>
                    </a:path>
                  </a:pathLst>
                </a:custGeom>
                <a:solidFill>
                  <a:schemeClr val="accent1"/>
                </a:solidFill>
                <a:ln w="2680" cap="flat">
                  <a:noFill/>
                  <a:prstDash val="solid"/>
                  <a:miter/>
                </a:ln>
              </p:spPr>
              <p:txBody>
                <a:bodyPr rtlCol="0" anchor="ctr"/>
                <a:lstStyle/>
                <a:p>
                  <a:endParaRPr lang="en-GB" dirty="0"/>
                </a:p>
              </p:txBody>
            </p:sp>
            <p:sp>
              <p:nvSpPr>
                <p:cNvPr id="670" name="Freihandform: Form 910">
                  <a:extLst>
                    <a:ext uri="{FF2B5EF4-FFF2-40B4-BE49-F238E27FC236}">
                      <a16:creationId xmlns:a16="http://schemas.microsoft.com/office/drawing/2014/main" id="{5D144E5A-06DB-4173-A3DE-95AF404EC00F}"/>
                    </a:ext>
                  </a:extLst>
                </p:cNvPr>
                <p:cNvSpPr/>
                <p:nvPr/>
              </p:nvSpPr>
              <p:spPr>
                <a:xfrm>
                  <a:off x="6146909" y="3774627"/>
                  <a:ext cx="365590" cy="10244"/>
                </a:xfrm>
                <a:custGeom>
                  <a:avLst/>
                  <a:gdLst>
                    <a:gd name="connsiteX0" fmla="*/ 360468 w 365590"/>
                    <a:gd name="connsiteY0" fmla="*/ 10245 h 10244"/>
                    <a:gd name="connsiteX1" fmla="*/ 5122 w 365590"/>
                    <a:gd name="connsiteY1" fmla="*/ 10245 h 10244"/>
                    <a:gd name="connsiteX2" fmla="*/ 0 w 365590"/>
                    <a:gd name="connsiteY2" fmla="*/ 5122 h 10244"/>
                    <a:gd name="connsiteX3" fmla="*/ 5122 w 365590"/>
                    <a:gd name="connsiteY3" fmla="*/ 0 h 10244"/>
                    <a:gd name="connsiteX4" fmla="*/ 360468 w 365590"/>
                    <a:gd name="connsiteY4" fmla="*/ 0 h 10244"/>
                    <a:gd name="connsiteX5" fmla="*/ 365590 w 365590"/>
                    <a:gd name="connsiteY5" fmla="*/ 5122 h 10244"/>
                    <a:gd name="connsiteX6" fmla="*/ 360468 w 365590"/>
                    <a:gd name="connsiteY6" fmla="*/ 10245 h 1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590" h="10244">
                      <a:moveTo>
                        <a:pt x="360468" y="10245"/>
                      </a:moveTo>
                      <a:lnTo>
                        <a:pt x="5122" y="10245"/>
                      </a:lnTo>
                      <a:cubicBezTo>
                        <a:pt x="2280" y="10245"/>
                        <a:pt x="0" y="7938"/>
                        <a:pt x="0" y="5122"/>
                      </a:cubicBezTo>
                      <a:cubicBezTo>
                        <a:pt x="0" y="2306"/>
                        <a:pt x="2306" y="0"/>
                        <a:pt x="5122" y="0"/>
                      </a:cubicBezTo>
                      <a:lnTo>
                        <a:pt x="360468" y="0"/>
                      </a:lnTo>
                      <a:cubicBezTo>
                        <a:pt x="363311" y="0"/>
                        <a:pt x="365590" y="2306"/>
                        <a:pt x="365590" y="5122"/>
                      </a:cubicBezTo>
                      <a:cubicBezTo>
                        <a:pt x="365590" y="7938"/>
                        <a:pt x="363284" y="10245"/>
                        <a:pt x="360468" y="10245"/>
                      </a:cubicBezTo>
                      <a:close/>
                    </a:path>
                  </a:pathLst>
                </a:custGeom>
                <a:solidFill>
                  <a:schemeClr val="accent1"/>
                </a:solidFill>
                <a:ln w="2680" cap="flat">
                  <a:noFill/>
                  <a:prstDash val="solid"/>
                  <a:miter/>
                </a:ln>
              </p:spPr>
              <p:txBody>
                <a:bodyPr rtlCol="0" anchor="ctr"/>
                <a:lstStyle/>
                <a:p>
                  <a:endParaRPr lang="en-GB" dirty="0"/>
                </a:p>
              </p:txBody>
            </p:sp>
          </p:grpSp>
          <p:sp>
            <p:nvSpPr>
              <p:cNvPr id="666" name="Freihandform: Form 911">
                <a:extLst>
                  <a:ext uri="{FF2B5EF4-FFF2-40B4-BE49-F238E27FC236}">
                    <a16:creationId xmlns:a16="http://schemas.microsoft.com/office/drawing/2014/main" id="{999DF5E8-A19A-4549-B269-B4427133C2CB}"/>
                  </a:ext>
                </a:extLst>
              </p:cNvPr>
              <p:cNvSpPr/>
              <p:nvPr/>
            </p:nvSpPr>
            <p:spPr>
              <a:xfrm>
                <a:off x="6215215" y="3692616"/>
                <a:ext cx="228923" cy="51250"/>
              </a:xfrm>
              <a:custGeom>
                <a:avLst/>
                <a:gdLst>
                  <a:gd name="connsiteX0" fmla="*/ 223801 w 228923"/>
                  <a:gd name="connsiteY0" fmla="*/ 51250 h 51250"/>
                  <a:gd name="connsiteX1" fmla="*/ 218678 w 228923"/>
                  <a:gd name="connsiteY1" fmla="*/ 46128 h 51250"/>
                  <a:gd name="connsiteX2" fmla="*/ 182795 w 228923"/>
                  <a:gd name="connsiteY2" fmla="*/ 10245 h 51250"/>
                  <a:gd name="connsiteX3" fmla="*/ 46128 w 228923"/>
                  <a:gd name="connsiteY3" fmla="*/ 10245 h 51250"/>
                  <a:gd name="connsiteX4" fmla="*/ 10245 w 228923"/>
                  <a:gd name="connsiteY4" fmla="*/ 46128 h 51250"/>
                  <a:gd name="connsiteX5" fmla="*/ 5122 w 228923"/>
                  <a:gd name="connsiteY5" fmla="*/ 51250 h 51250"/>
                  <a:gd name="connsiteX6" fmla="*/ 0 w 228923"/>
                  <a:gd name="connsiteY6" fmla="*/ 46128 h 51250"/>
                  <a:gd name="connsiteX7" fmla="*/ 46128 w 228923"/>
                  <a:gd name="connsiteY7" fmla="*/ 0 h 51250"/>
                  <a:gd name="connsiteX8" fmla="*/ 182795 w 228923"/>
                  <a:gd name="connsiteY8" fmla="*/ 0 h 51250"/>
                  <a:gd name="connsiteX9" fmla="*/ 228923 w 228923"/>
                  <a:gd name="connsiteY9" fmla="*/ 46128 h 51250"/>
                  <a:gd name="connsiteX10" fmla="*/ 223801 w 228923"/>
                  <a:gd name="connsiteY10" fmla="*/ 51250 h 5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28923" h="51250">
                    <a:moveTo>
                      <a:pt x="223801" y="51250"/>
                    </a:moveTo>
                    <a:cubicBezTo>
                      <a:pt x="220958" y="51250"/>
                      <a:pt x="218678" y="48944"/>
                      <a:pt x="218678" y="46128"/>
                    </a:cubicBezTo>
                    <a:cubicBezTo>
                      <a:pt x="218678" y="26336"/>
                      <a:pt x="202587" y="10245"/>
                      <a:pt x="182795" y="10245"/>
                    </a:cubicBezTo>
                    <a:lnTo>
                      <a:pt x="46128" y="10245"/>
                    </a:lnTo>
                    <a:cubicBezTo>
                      <a:pt x="26336" y="10245"/>
                      <a:pt x="10245" y="26336"/>
                      <a:pt x="10245" y="46128"/>
                    </a:cubicBezTo>
                    <a:cubicBezTo>
                      <a:pt x="10245" y="48971"/>
                      <a:pt x="7938" y="51250"/>
                      <a:pt x="5122" y="51250"/>
                    </a:cubicBezTo>
                    <a:cubicBezTo>
                      <a:pt x="2306" y="51250"/>
                      <a:pt x="0" y="48944"/>
                      <a:pt x="0" y="46128"/>
                    </a:cubicBezTo>
                    <a:cubicBezTo>
                      <a:pt x="0" y="20704"/>
                      <a:pt x="20704" y="0"/>
                      <a:pt x="46128" y="0"/>
                    </a:cubicBezTo>
                    <a:lnTo>
                      <a:pt x="182795" y="0"/>
                    </a:lnTo>
                    <a:cubicBezTo>
                      <a:pt x="208219" y="0"/>
                      <a:pt x="228923" y="20704"/>
                      <a:pt x="228923" y="46128"/>
                    </a:cubicBezTo>
                    <a:cubicBezTo>
                      <a:pt x="228950" y="48971"/>
                      <a:pt x="226643" y="51250"/>
                      <a:pt x="223801" y="51250"/>
                    </a:cubicBezTo>
                    <a:close/>
                  </a:path>
                </a:pathLst>
              </a:custGeom>
              <a:solidFill>
                <a:schemeClr val="tx2"/>
              </a:solidFill>
              <a:ln w="2680" cap="flat">
                <a:noFill/>
                <a:prstDash val="solid"/>
                <a:miter/>
              </a:ln>
            </p:spPr>
            <p:txBody>
              <a:bodyPr rtlCol="0" anchor="ctr"/>
              <a:lstStyle/>
              <a:p>
                <a:endParaRPr lang="en-GB" dirty="0"/>
              </a:p>
            </p:txBody>
          </p:sp>
          <p:sp>
            <p:nvSpPr>
              <p:cNvPr id="667" name="Freihandform: Form 912">
                <a:extLst>
                  <a:ext uri="{FF2B5EF4-FFF2-40B4-BE49-F238E27FC236}">
                    <a16:creationId xmlns:a16="http://schemas.microsoft.com/office/drawing/2014/main" id="{C9071FD1-F71C-44D6-A504-E444996752D6}"/>
                  </a:ext>
                </a:extLst>
              </p:cNvPr>
              <p:cNvSpPr/>
              <p:nvPr/>
            </p:nvSpPr>
            <p:spPr>
              <a:xfrm>
                <a:off x="6208377" y="3432905"/>
                <a:ext cx="242600" cy="249466"/>
              </a:xfrm>
              <a:custGeom>
                <a:avLst/>
                <a:gdLst>
                  <a:gd name="connsiteX0" fmla="*/ 121300 w 242600"/>
                  <a:gd name="connsiteY0" fmla="*/ 249466 h 249466"/>
                  <a:gd name="connsiteX1" fmla="*/ 116178 w 242600"/>
                  <a:gd name="connsiteY1" fmla="*/ 244344 h 249466"/>
                  <a:gd name="connsiteX2" fmla="*/ 116178 w 242600"/>
                  <a:gd name="connsiteY2" fmla="*/ 167455 h 249466"/>
                  <a:gd name="connsiteX3" fmla="*/ 14777 w 242600"/>
                  <a:gd name="connsiteY3" fmla="*/ 167455 h 249466"/>
                  <a:gd name="connsiteX4" fmla="*/ 0 w 242600"/>
                  <a:gd name="connsiteY4" fmla="*/ 152678 h 249466"/>
                  <a:gd name="connsiteX5" fmla="*/ 0 w 242600"/>
                  <a:gd name="connsiteY5" fmla="*/ 137794 h 249466"/>
                  <a:gd name="connsiteX6" fmla="*/ 14777 w 242600"/>
                  <a:gd name="connsiteY6" fmla="*/ 123017 h 249466"/>
                  <a:gd name="connsiteX7" fmla="*/ 227823 w 242600"/>
                  <a:gd name="connsiteY7" fmla="*/ 123017 h 249466"/>
                  <a:gd name="connsiteX8" fmla="*/ 232356 w 242600"/>
                  <a:gd name="connsiteY8" fmla="*/ 118484 h 249466"/>
                  <a:gd name="connsiteX9" fmla="*/ 232356 w 242600"/>
                  <a:gd name="connsiteY9" fmla="*/ 103600 h 249466"/>
                  <a:gd name="connsiteX10" fmla="*/ 227823 w 242600"/>
                  <a:gd name="connsiteY10" fmla="*/ 99095 h 249466"/>
                  <a:gd name="connsiteX11" fmla="*/ 121300 w 242600"/>
                  <a:gd name="connsiteY11" fmla="*/ 99095 h 249466"/>
                  <a:gd name="connsiteX12" fmla="*/ 116178 w 242600"/>
                  <a:gd name="connsiteY12" fmla="*/ 93972 h 249466"/>
                  <a:gd name="connsiteX13" fmla="*/ 116178 w 242600"/>
                  <a:gd name="connsiteY13" fmla="*/ 5122 h 249466"/>
                  <a:gd name="connsiteX14" fmla="*/ 121300 w 242600"/>
                  <a:gd name="connsiteY14" fmla="*/ 0 h 249466"/>
                  <a:gd name="connsiteX15" fmla="*/ 126423 w 242600"/>
                  <a:gd name="connsiteY15" fmla="*/ 5122 h 249466"/>
                  <a:gd name="connsiteX16" fmla="*/ 126423 w 242600"/>
                  <a:gd name="connsiteY16" fmla="*/ 88823 h 249466"/>
                  <a:gd name="connsiteX17" fmla="*/ 227823 w 242600"/>
                  <a:gd name="connsiteY17" fmla="*/ 88823 h 249466"/>
                  <a:gd name="connsiteX18" fmla="*/ 242600 w 242600"/>
                  <a:gd name="connsiteY18" fmla="*/ 103600 h 249466"/>
                  <a:gd name="connsiteX19" fmla="*/ 242600 w 242600"/>
                  <a:gd name="connsiteY19" fmla="*/ 118484 h 249466"/>
                  <a:gd name="connsiteX20" fmla="*/ 227823 w 242600"/>
                  <a:gd name="connsiteY20" fmla="*/ 133261 h 249466"/>
                  <a:gd name="connsiteX21" fmla="*/ 14777 w 242600"/>
                  <a:gd name="connsiteY21" fmla="*/ 133261 h 249466"/>
                  <a:gd name="connsiteX22" fmla="*/ 10245 w 242600"/>
                  <a:gd name="connsiteY22" fmla="*/ 137767 h 249466"/>
                  <a:gd name="connsiteX23" fmla="*/ 10245 w 242600"/>
                  <a:gd name="connsiteY23" fmla="*/ 152651 h 249466"/>
                  <a:gd name="connsiteX24" fmla="*/ 14777 w 242600"/>
                  <a:gd name="connsiteY24" fmla="*/ 157184 h 249466"/>
                  <a:gd name="connsiteX25" fmla="*/ 121300 w 242600"/>
                  <a:gd name="connsiteY25" fmla="*/ 157184 h 249466"/>
                  <a:gd name="connsiteX26" fmla="*/ 126423 w 242600"/>
                  <a:gd name="connsiteY26" fmla="*/ 162306 h 249466"/>
                  <a:gd name="connsiteX27" fmla="*/ 126423 w 242600"/>
                  <a:gd name="connsiteY27" fmla="*/ 244317 h 249466"/>
                  <a:gd name="connsiteX28" fmla="*/ 121300 w 242600"/>
                  <a:gd name="connsiteY28" fmla="*/ 249466 h 249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2600" h="249466">
                    <a:moveTo>
                      <a:pt x="121300" y="249466"/>
                    </a:moveTo>
                    <a:cubicBezTo>
                      <a:pt x="118457" y="249466"/>
                      <a:pt x="116178" y="247160"/>
                      <a:pt x="116178" y="244344"/>
                    </a:cubicBezTo>
                    <a:lnTo>
                      <a:pt x="116178" y="167455"/>
                    </a:lnTo>
                    <a:lnTo>
                      <a:pt x="14777" y="167455"/>
                    </a:lnTo>
                    <a:cubicBezTo>
                      <a:pt x="6624" y="167455"/>
                      <a:pt x="0" y="160831"/>
                      <a:pt x="0" y="152678"/>
                    </a:cubicBezTo>
                    <a:lnTo>
                      <a:pt x="0" y="137794"/>
                    </a:lnTo>
                    <a:cubicBezTo>
                      <a:pt x="0" y="129641"/>
                      <a:pt x="6624" y="123017"/>
                      <a:pt x="14777" y="123017"/>
                    </a:cubicBezTo>
                    <a:lnTo>
                      <a:pt x="227823" y="123017"/>
                    </a:lnTo>
                    <a:cubicBezTo>
                      <a:pt x="230318" y="123017"/>
                      <a:pt x="232356" y="120979"/>
                      <a:pt x="232356" y="118484"/>
                    </a:cubicBezTo>
                    <a:lnTo>
                      <a:pt x="232356" y="103600"/>
                    </a:lnTo>
                    <a:cubicBezTo>
                      <a:pt x="232356" y="101106"/>
                      <a:pt x="230318" y="99095"/>
                      <a:pt x="227823" y="99095"/>
                    </a:cubicBezTo>
                    <a:lnTo>
                      <a:pt x="121300" y="99095"/>
                    </a:lnTo>
                    <a:cubicBezTo>
                      <a:pt x="118457" y="99095"/>
                      <a:pt x="116178" y="96788"/>
                      <a:pt x="116178" y="93972"/>
                    </a:cubicBezTo>
                    <a:lnTo>
                      <a:pt x="116178" y="5122"/>
                    </a:lnTo>
                    <a:cubicBezTo>
                      <a:pt x="116178" y="2307"/>
                      <a:pt x="118484" y="0"/>
                      <a:pt x="121300" y="0"/>
                    </a:cubicBezTo>
                    <a:cubicBezTo>
                      <a:pt x="124116" y="0"/>
                      <a:pt x="126423" y="2307"/>
                      <a:pt x="126423" y="5122"/>
                    </a:cubicBezTo>
                    <a:lnTo>
                      <a:pt x="126423" y="88823"/>
                    </a:lnTo>
                    <a:lnTo>
                      <a:pt x="227823" y="88823"/>
                    </a:lnTo>
                    <a:cubicBezTo>
                      <a:pt x="235976" y="88823"/>
                      <a:pt x="242600" y="95447"/>
                      <a:pt x="242600" y="103600"/>
                    </a:cubicBezTo>
                    <a:lnTo>
                      <a:pt x="242600" y="118484"/>
                    </a:lnTo>
                    <a:cubicBezTo>
                      <a:pt x="242600" y="126637"/>
                      <a:pt x="235976" y="133261"/>
                      <a:pt x="227823" y="133261"/>
                    </a:cubicBezTo>
                    <a:lnTo>
                      <a:pt x="14777" y="133261"/>
                    </a:lnTo>
                    <a:cubicBezTo>
                      <a:pt x="12283" y="133261"/>
                      <a:pt x="10245" y="135300"/>
                      <a:pt x="10245" y="137767"/>
                    </a:cubicBezTo>
                    <a:lnTo>
                      <a:pt x="10245" y="152651"/>
                    </a:lnTo>
                    <a:cubicBezTo>
                      <a:pt x="10245" y="155145"/>
                      <a:pt x="12283" y="157184"/>
                      <a:pt x="14777" y="157184"/>
                    </a:cubicBezTo>
                    <a:lnTo>
                      <a:pt x="121300" y="157184"/>
                    </a:lnTo>
                    <a:cubicBezTo>
                      <a:pt x="124143" y="157184"/>
                      <a:pt x="126423" y="159490"/>
                      <a:pt x="126423" y="162306"/>
                    </a:cubicBezTo>
                    <a:lnTo>
                      <a:pt x="126423" y="244317"/>
                    </a:lnTo>
                    <a:cubicBezTo>
                      <a:pt x="126449" y="247160"/>
                      <a:pt x="124143" y="249466"/>
                      <a:pt x="121300" y="249466"/>
                    </a:cubicBezTo>
                    <a:close/>
                  </a:path>
                </a:pathLst>
              </a:custGeom>
              <a:solidFill>
                <a:schemeClr val="tx2"/>
              </a:solidFill>
              <a:ln w="2680" cap="flat">
                <a:noFill/>
                <a:prstDash val="solid"/>
                <a:miter/>
              </a:ln>
            </p:spPr>
            <p:txBody>
              <a:bodyPr rtlCol="0" anchor="ctr"/>
              <a:lstStyle/>
              <a:p>
                <a:endParaRPr lang="en-GB" dirty="0"/>
              </a:p>
            </p:txBody>
          </p:sp>
          <p:sp>
            <p:nvSpPr>
              <p:cNvPr id="668" name="Freihandform: Form 913">
                <a:extLst>
                  <a:ext uri="{FF2B5EF4-FFF2-40B4-BE49-F238E27FC236}">
                    <a16:creationId xmlns:a16="http://schemas.microsoft.com/office/drawing/2014/main" id="{0F986531-41D3-47E2-88B8-3AD1848AEB20}"/>
                  </a:ext>
                </a:extLst>
              </p:cNvPr>
              <p:cNvSpPr/>
              <p:nvPr/>
            </p:nvSpPr>
            <p:spPr>
              <a:xfrm>
                <a:off x="6297226" y="3371464"/>
                <a:ext cx="64900" cy="64900"/>
              </a:xfrm>
              <a:custGeom>
                <a:avLst/>
                <a:gdLst>
                  <a:gd name="connsiteX0" fmla="*/ 32450 w 64900"/>
                  <a:gd name="connsiteY0" fmla="*/ 64901 h 64900"/>
                  <a:gd name="connsiteX1" fmla="*/ 0 w 64900"/>
                  <a:gd name="connsiteY1" fmla="*/ 32450 h 64900"/>
                  <a:gd name="connsiteX2" fmla="*/ 32450 w 64900"/>
                  <a:gd name="connsiteY2" fmla="*/ 0 h 64900"/>
                  <a:gd name="connsiteX3" fmla="*/ 64901 w 64900"/>
                  <a:gd name="connsiteY3" fmla="*/ 32450 h 64900"/>
                  <a:gd name="connsiteX4" fmla="*/ 32450 w 64900"/>
                  <a:gd name="connsiteY4" fmla="*/ 64901 h 64900"/>
                  <a:gd name="connsiteX5" fmla="*/ 32450 w 64900"/>
                  <a:gd name="connsiteY5" fmla="*/ 10218 h 64900"/>
                  <a:gd name="connsiteX6" fmla="*/ 10245 w 64900"/>
                  <a:gd name="connsiteY6" fmla="*/ 32424 h 64900"/>
                  <a:gd name="connsiteX7" fmla="*/ 32450 w 64900"/>
                  <a:gd name="connsiteY7" fmla="*/ 54629 h 64900"/>
                  <a:gd name="connsiteX8" fmla="*/ 54656 w 64900"/>
                  <a:gd name="connsiteY8" fmla="*/ 32424 h 64900"/>
                  <a:gd name="connsiteX9" fmla="*/ 32450 w 64900"/>
                  <a:gd name="connsiteY9" fmla="*/ 10218 h 6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900" h="64900">
                    <a:moveTo>
                      <a:pt x="32450" y="64901"/>
                    </a:moveTo>
                    <a:cubicBezTo>
                      <a:pt x="14563" y="64901"/>
                      <a:pt x="0" y="50338"/>
                      <a:pt x="0" y="32450"/>
                    </a:cubicBezTo>
                    <a:cubicBezTo>
                      <a:pt x="0" y="14562"/>
                      <a:pt x="14563" y="0"/>
                      <a:pt x="32450" y="0"/>
                    </a:cubicBezTo>
                    <a:cubicBezTo>
                      <a:pt x="50338" y="0"/>
                      <a:pt x="64901" y="14562"/>
                      <a:pt x="64901" y="32450"/>
                    </a:cubicBezTo>
                    <a:cubicBezTo>
                      <a:pt x="64928" y="50338"/>
                      <a:pt x="50365" y="64901"/>
                      <a:pt x="32450" y="64901"/>
                    </a:cubicBezTo>
                    <a:close/>
                    <a:moveTo>
                      <a:pt x="32450" y="10218"/>
                    </a:moveTo>
                    <a:cubicBezTo>
                      <a:pt x="20194" y="10218"/>
                      <a:pt x="10245" y="20194"/>
                      <a:pt x="10245" y="32424"/>
                    </a:cubicBezTo>
                    <a:cubicBezTo>
                      <a:pt x="10245" y="44680"/>
                      <a:pt x="20221" y="54629"/>
                      <a:pt x="32450" y="54629"/>
                    </a:cubicBezTo>
                    <a:cubicBezTo>
                      <a:pt x="44680" y="54629"/>
                      <a:pt x="54656" y="44653"/>
                      <a:pt x="54656" y="32424"/>
                    </a:cubicBezTo>
                    <a:cubicBezTo>
                      <a:pt x="54683" y="20194"/>
                      <a:pt x="44707" y="10218"/>
                      <a:pt x="32450" y="10218"/>
                    </a:cubicBezTo>
                    <a:close/>
                  </a:path>
                </a:pathLst>
              </a:custGeom>
              <a:solidFill>
                <a:schemeClr val="tx2"/>
              </a:solidFill>
              <a:ln w="2680" cap="flat">
                <a:noFill/>
                <a:prstDash val="solid"/>
                <a:miter/>
              </a:ln>
            </p:spPr>
            <p:txBody>
              <a:bodyPr rtlCol="0" anchor="ctr"/>
              <a:lstStyle/>
              <a:p>
                <a:endParaRPr lang="en-GB" dirty="0"/>
              </a:p>
            </p:txBody>
          </p:sp>
        </p:grpSp>
        <p:grpSp>
          <p:nvGrpSpPr>
            <p:cNvPr id="662" name="Group 661">
              <a:extLst>
                <a:ext uri="{FF2B5EF4-FFF2-40B4-BE49-F238E27FC236}">
                  <a16:creationId xmlns:a16="http://schemas.microsoft.com/office/drawing/2014/main" id="{E22B5964-4D2A-415D-8C35-F7EF2118BB46}"/>
                </a:ext>
              </a:extLst>
            </p:cNvPr>
            <p:cNvGrpSpPr/>
            <p:nvPr/>
          </p:nvGrpSpPr>
          <p:grpSpPr>
            <a:xfrm>
              <a:off x="8242902" y="3197068"/>
              <a:ext cx="197806" cy="83938"/>
              <a:chOff x="6211032" y="3268937"/>
              <a:chExt cx="236239" cy="100247"/>
            </a:xfrm>
          </p:grpSpPr>
          <p:sp>
            <p:nvSpPr>
              <p:cNvPr id="663" name="Freihandform: Form 914">
                <a:extLst>
                  <a:ext uri="{FF2B5EF4-FFF2-40B4-BE49-F238E27FC236}">
                    <a16:creationId xmlns:a16="http://schemas.microsoft.com/office/drawing/2014/main" id="{4EFF6500-EA85-485D-AD7D-D9B6C67CD946}"/>
                  </a:ext>
                </a:extLst>
              </p:cNvPr>
              <p:cNvSpPr/>
              <p:nvPr/>
            </p:nvSpPr>
            <p:spPr>
              <a:xfrm>
                <a:off x="6252869" y="3316781"/>
                <a:ext cx="151555" cy="52403"/>
              </a:xfrm>
              <a:custGeom>
                <a:avLst/>
                <a:gdLst>
                  <a:gd name="connsiteX0" fmla="*/ 5122 w 151555"/>
                  <a:gd name="connsiteY0" fmla="*/ 52404 h 52403"/>
                  <a:gd name="connsiteX1" fmla="*/ 2628 w 151555"/>
                  <a:gd name="connsiteY1" fmla="*/ 51760 h 52403"/>
                  <a:gd name="connsiteX2" fmla="*/ 643 w 151555"/>
                  <a:gd name="connsiteY2" fmla="*/ 44787 h 52403"/>
                  <a:gd name="connsiteX3" fmla="*/ 76808 w 151555"/>
                  <a:gd name="connsiteY3" fmla="*/ 0 h 52403"/>
                  <a:gd name="connsiteX4" fmla="*/ 150773 w 151555"/>
                  <a:gd name="connsiteY4" fmla="*/ 41059 h 52403"/>
                  <a:gd name="connsiteX5" fmla="*/ 149137 w 151555"/>
                  <a:gd name="connsiteY5" fmla="*/ 48112 h 52403"/>
                  <a:gd name="connsiteX6" fmla="*/ 142084 w 151555"/>
                  <a:gd name="connsiteY6" fmla="*/ 46477 h 52403"/>
                  <a:gd name="connsiteX7" fmla="*/ 76808 w 151555"/>
                  <a:gd name="connsiteY7" fmla="*/ 10245 h 52403"/>
                  <a:gd name="connsiteX8" fmla="*/ 9600 w 151555"/>
                  <a:gd name="connsiteY8" fmla="*/ 49775 h 52403"/>
                  <a:gd name="connsiteX9" fmla="*/ 5122 w 151555"/>
                  <a:gd name="connsiteY9" fmla="*/ 52404 h 52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555" h="52403">
                    <a:moveTo>
                      <a:pt x="5122" y="52404"/>
                    </a:moveTo>
                    <a:cubicBezTo>
                      <a:pt x="4290" y="52404"/>
                      <a:pt x="3432" y="52189"/>
                      <a:pt x="2628" y="51760"/>
                    </a:cubicBezTo>
                    <a:cubicBezTo>
                      <a:pt x="160" y="50392"/>
                      <a:pt x="-725" y="47254"/>
                      <a:pt x="643" y="44787"/>
                    </a:cubicBezTo>
                    <a:cubicBezTo>
                      <a:pt x="16037" y="17164"/>
                      <a:pt x="45215" y="0"/>
                      <a:pt x="76808" y="0"/>
                    </a:cubicBezTo>
                    <a:cubicBezTo>
                      <a:pt x="107086" y="0"/>
                      <a:pt x="134736" y="15340"/>
                      <a:pt x="150773" y="41059"/>
                    </a:cubicBezTo>
                    <a:cubicBezTo>
                      <a:pt x="152275" y="43473"/>
                      <a:pt x="151551" y="46637"/>
                      <a:pt x="149137" y="48112"/>
                    </a:cubicBezTo>
                    <a:cubicBezTo>
                      <a:pt x="146724" y="49614"/>
                      <a:pt x="143586" y="48890"/>
                      <a:pt x="142084" y="46477"/>
                    </a:cubicBezTo>
                    <a:cubicBezTo>
                      <a:pt x="127924" y="23788"/>
                      <a:pt x="103519" y="10245"/>
                      <a:pt x="76808" y="10245"/>
                    </a:cubicBezTo>
                    <a:cubicBezTo>
                      <a:pt x="48916" y="10245"/>
                      <a:pt x="23171" y="25397"/>
                      <a:pt x="9600" y="49775"/>
                    </a:cubicBezTo>
                    <a:cubicBezTo>
                      <a:pt x="8662" y="51465"/>
                      <a:pt x="6919" y="52404"/>
                      <a:pt x="5122" y="52404"/>
                    </a:cubicBezTo>
                    <a:close/>
                  </a:path>
                </a:pathLst>
              </a:custGeom>
              <a:solidFill>
                <a:schemeClr val="accent1"/>
              </a:solidFill>
              <a:ln w="2680" cap="flat">
                <a:noFill/>
                <a:prstDash val="solid"/>
                <a:miter/>
              </a:ln>
            </p:spPr>
            <p:txBody>
              <a:bodyPr rtlCol="0" anchor="ctr"/>
              <a:lstStyle/>
              <a:p>
                <a:endParaRPr lang="en-GB" dirty="0"/>
              </a:p>
            </p:txBody>
          </p:sp>
          <p:sp>
            <p:nvSpPr>
              <p:cNvPr id="664" name="Freihandform: Form 915">
                <a:extLst>
                  <a:ext uri="{FF2B5EF4-FFF2-40B4-BE49-F238E27FC236}">
                    <a16:creationId xmlns:a16="http://schemas.microsoft.com/office/drawing/2014/main" id="{D6ED73B1-F88A-4464-8E30-DB8BE21292A1}"/>
                  </a:ext>
                </a:extLst>
              </p:cNvPr>
              <p:cNvSpPr/>
              <p:nvPr/>
            </p:nvSpPr>
            <p:spPr>
              <a:xfrm>
                <a:off x="6211032" y="3268937"/>
                <a:ext cx="236239" cy="77022"/>
              </a:xfrm>
              <a:custGeom>
                <a:avLst/>
                <a:gdLst>
                  <a:gd name="connsiteX0" fmla="*/ 5122 w 236239"/>
                  <a:gd name="connsiteY0" fmla="*/ 77023 h 77022"/>
                  <a:gd name="connsiteX1" fmla="*/ 2628 w 236239"/>
                  <a:gd name="connsiteY1" fmla="*/ 76379 h 77022"/>
                  <a:gd name="connsiteX2" fmla="*/ 643 w 236239"/>
                  <a:gd name="connsiteY2" fmla="*/ 69406 h 77022"/>
                  <a:gd name="connsiteX3" fmla="*/ 118645 w 236239"/>
                  <a:gd name="connsiteY3" fmla="*/ 0 h 77022"/>
                  <a:gd name="connsiteX4" fmla="*/ 235547 w 236239"/>
                  <a:gd name="connsiteY4" fmla="*/ 67475 h 77022"/>
                  <a:gd name="connsiteX5" fmla="*/ 233669 w 236239"/>
                  <a:gd name="connsiteY5" fmla="*/ 74475 h 77022"/>
                  <a:gd name="connsiteX6" fmla="*/ 226670 w 236239"/>
                  <a:gd name="connsiteY6" fmla="*/ 72598 h 77022"/>
                  <a:gd name="connsiteX7" fmla="*/ 118645 w 236239"/>
                  <a:gd name="connsiteY7" fmla="*/ 10245 h 77022"/>
                  <a:gd name="connsiteX8" fmla="*/ 9600 w 236239"/>
                  <a:gd name="connsiteY8" fmla="*/ 74395 h 77022"/>
                  <a:gd name="connsiteX9" fmla="*/ 5122 w 236239"/>
                  <a:gd name="connsiteY9" fmla="*/ 77023 h 77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239" h="77022">
                    <a:moveTo>
                      <a:pt x="5122" y="77023"/>
                    </a:moveTo>
                    <a:cubicBezTo>
                      <a:pt x="4290" y="77023"/>
                      <a:pt x="3432" y="76808"/>
                      <a:pt x="2628" y="76379"/>
                    </a:cubicBezTo>
                    <a:cubicBezTo>
                      <a:pt x="160" y="75011"/>
                      <a:pt x="-725" y="71874"/>
                      <a:pt x="643" y="69406"/>
                    </a:cubicBezTo>
                    <a:cubicBezTo>
                      <a:pt x="24485" y="26604"/>
                      <a:pt x="69701" y="0"/>
                      <a:pt x="118645" y="0"/>
                    </a:cubicBezTo>
                    <a:cubicBezTo>
                      <a:pt x="166677" y="0"/>
                      <a:pt x="211464" y="25853"/>
                      <a:pt x="235547" y="67475"/>
                    </a:cubicBezTo>
                    <a:cubicBezTo>
                      <a:pt x="236968" y="69943"/>
                      <a:pt x="236137" y="73054"/>
                      <a:pt x="233669" y="74475"/>
                    </a:cubicBezTo>
                    <a:cubicBezTo>
                      <a:pt x="231229" y="75896"/>
                      <a:pt x="228091" y="75065"/>
                      <a:pt x="226670" y="72598"/>
                    </a:cubicBezTo>
                    <a:cubicBezTo>
                      <a:pt x="204410" y="34140"/>
                      <a:pt x="163029" y="10245"/>
                      <a:pt x="118645" y="10245"/>
                    </a:cubicBezTo>
                    <a:cubicBezTo>
                      <a:pt x="73402" y="10245"/>
                      <a:pt x="31618" y="34810"/>
                      <a:pt x="9600" y="74395"/>
                    </a:cubicBezTo>
                    <a:cubicBezTo>
                      <a:pt x="8662" y="76057"/>
                      <a:pt x="6918" y="77023"/>
                      <a:pt x="5122" y="77023"/>
                    </a:cubicBezTo>
                    <a:close/>
                  </a:path>
                </a:pathLst>
              </a:custGeom>
              <a:solidFill>
                <a:schemeClr val="accent1"/>
              </a:solidFill>
              <a:ln w="2680" cap="flat">
                <a:noFill/>
                <a:prstDash val="solid"/>
                <a:miter/>
              </a:ln>
            </p:spPr>
            <p:txBody>
              <a:bodyPr rtlCol="0" anchor="ctr"/>
              <a:lstStyle/>
              <a:p>
                <a:endParaRPr lang="en-GB" dirty="0"/>
              </a:p>
            </p:txBody>
          </p:sp>
        </p:grpSp>
      </p:grpSp>
      <p:grpSp>
        <p:nvGrpSpPr>
          <p:cNvPr id="495" name="Group 494">
            <a:extLst>
              <a:ext uri="{FF2B5EF4-FFF2-40B4-BE49-F238E27FC236}">
                <a16:creationId xmlns:a16="http://schemas.microsoft.com/office/drawing/2014/main" id="{5588219D-3212-B8CD-A13C-510F2FEAB7EE}"/>
              </a:ext>
            </a:extLst>
          </p:cNvPr>
          <p:cNvGrpSpPr/>
          <p:nvPr/>
        </p:nvGrpSpPr>
        <p:grpSpPr>
          <a:xfrm>
            <a:off x="4916263" y="4040086"/>
            <a:ext cx="594010" cy="432000"/>
            <a:chOff x="4915851" y="4040086"/>
            <a:chExt cx="594010" cy="432000"/>
          </a:xfrm>
        </p:grpSpPr>
        <p:grpSp>
          <p:nvGrpSpPr>
            <p:cNvPr id="672" name="Group 671">
              <a:extLst>
                <a:ext uri="{FF2B5EF4-FFF2-40B4-BE49-F238E27FC236}">
                  <a16:creationId xmlns:a16="http://schemas.microsoft.com/office/drawing/2014/main" id="{B4B74FF3-2D0D-44AC-9582-F910ABCD5E49}"/>
                </a:ext>
              </a:extLst>
            </p:cNvPr>
            <p:cNvGrpSpPr/>
            <p:nvPr/>
          </p:nvGrpSpPr>
          <p:grpSpPr>
            <a:xfrm>
              <a:off x="4915851" y="4040086"/>
              <a:ext cx="594010" cy="432000"/>
              <a:chOff x="7643195" y="3205699"/>
              <a:chExt cx="796376" cy="579173"/>
            </a:xfrm>
            <a:solidFill>
              <a:schemeClr val="tx2"/>
            </a:solidFill>
          </p:grpSpPr>
          <p:grpSp>
            <p:nvGrpSpPr>
              <p:cNvPr id="684" name="Grafik 77">
                <a:extLst>
                  <a:ext uri="{FF2B5EF4-FFF2-40B4-BE49-F238E27FC236}">
                    <a16:creationId xmlns:a16="http://schemas.microsoft.com/office/drawing/2014/main" id="{539378CE-5AFD-46E6-9B6F-C3055145766E}"/>
                  </a:ext>
                </a:extLst>
              </p:cNvPr>
              <p:cNvGrpSpPr/>
              <p:nvPr/>
            </p:nvGrpSpPr>
            <p:grpSpPr>
              <a:xfrm>
                <a:off x="7643195" y="3480750"/>
                <a:ext cx="304095" cy="304122"/>
                <a:chOff x="7643195" y="3480750"/>
                <a:chExt cx="304095" cy="304122"/>
              </a:xfrm>
              <a:grpFill/>
            </p:grpSpPr>
            <p:grpSp>
              <p:nvGrpSpPr>
                <p:cNvPr id="693" name="Grafik 77">
                  <a:extLst>
                    <a:ext uri="{FF2B5EF4-FFF2-40B4-BE49-F238E27FC236}">
                      <a16:creationId xmlns:a16="http://schemas.microsoft.com/office/drawing/2014/main" id="{CFE0EC31-1958-48B1-B9AA-BB679CAA0E2F}"/>
                    </a:ext>
                  </a:extLst>
                </p:cNvPr>
                <p:cNvGrpSpPr/>
                <p:nvPr/>
              </p:nvGrpSpPr>
              <p:grpSpPr>
                <a:xfrm>
                  <a:off x="7643195" y="3480750"/>
                  <a:ext cx="304095" cy="228949"/>
                  <a:chOff x="7643195" y="3480750"/>
                  <a:chExt cx="304095" cy="228949"/>
                </a:xfrm>
                <a:grpFill/>
              </p:grpSpPr>
              <p:sp>
                <p:nvSpPr>
                  <p:cNvPr id="696" name="Freihandform: Form 927">
                    <a:extLst>
                      <a:ext uri="{FF2B5EF4-FFF2-40B4-BE49-F238E27FC236}">
                        <a16:creationId xmlns:a16="http://schemas.microsoft.com/office/drawing/2014/main" id="{5EDA0905-D57B-486A-AC43-6AF34012B8CE}"/>
                      </a:ext>
                    </a:extLst>
                  </p:cNvPr>
                  <p:cNvSpPr/>
                  <p:nvPr/>
                </p:nvSpPr>
                <p:spPr>
                  <a:xfrm>
                    <a:off x="7643195" y="3480750"/>
                    <a:ext cx="304095" cy="228949"/>
                  </a:xfrm>
                  <a:custGeom>
                    <a:avLst/>
                    <a:gdLst>
                      <a:gd name="connsiteX0" fmla="*/ 281568 w 304095"/>
                      <a:gd name="connsiteY0" fmla="*/ 228950 h 228949"/>
                      <a:gd name="connsiteX1" fmla="*/ 22528 w 304095"/>
                      <a:gd name="connsiteY1" fmla="*/ 228950 h 228949"/>
                      <a:gd name="connsiteX2" fmla="*/ 0 w 304095"/>
                      <a:gd name="connsiteY2" fmla="*/ 206422 h 228949"/>
                      <a:gd name="connsiteX3" fmla="*/ 0 w 304095"/>
                      <a:gd name="connsiteY3" fmla="*/ 22528 h 228949"/>
                      <a:gd name="connsiteX4" fmla="*/ 22528 w 304095"/>
                      <a:gd name="connsiteY4" fmla="*/ 0 h 228949"/>
                      <a:gd name="connsiteX5" fmla="*/ 281568 w 304095"/>
                      <a:gd name="connsiteY5" fmla="*/ 0 h 228949"/>
                      <a:gd name="connsiteX6" fmla="*/ 304095 w 304095"/>
                      <a:gd name="connsiteY6" fmla="*/ 22528 h 228949"/>
                      <a:gd name="connsiteX7" fmla="*/ 304095 w 304095"/>
                      <a:gd name="connsiteY7" fmla="*/ 206422 h 228949"/>
                      <a:gd name="connsiteX8" fmla="*/ 281568 w 304095"/>
                      <a:gd name="connsiteY8" fmla="*/ 228950 h 228949"/>
                      <a:gd name="connsiteX9" fmla="*/ 22528 w 304095"/>
                      <a:gd name="connsiteY9" fmla="*/ 10272 h 228949"/>
                      <a:gd name="connsiteX10" fmla="*/ 10245 w 304095"/>
                      <a:gd name="connsiteY10" fmla="*/ 22554 h 228949"/>
                      <a:gd name="connsiteX11" fmla="*/ 10245 w 304095"/>
                      <a:gd name="connsiteY11" fmla="*/ 206449 h 228949"/>
                      <a:gd name="connsiteX12" fmla="*/ 22528 w 304095"/>
                      <a:gd name="connsiteY12" fmla="*/ 218732 h 228949"/>
                      <a:gd name="connsiteX13" fmla="*/ 281568 w 304095"/>
                      <a:gd name="connsiteY13" fmla="*/ 218732 h 228949"/>
                      <a:gd name="connsiteX14" fmla="*/ 293851 w 304095"/>
                      <a:gd name="connsiteY14" fmla="*/ 206449 h 228949"/>
                      <a:gd name="connsiteX15" fmla="*/ 293851 w 304095"/>
                      <a:gd name="connsiteY15" fmla="*/ 22554 h 228949"/>
                      <a:gd name="connsiteX16" fmla="*/ 281568 w 304095"/>
                      <a:gd name="connsiteY16" fmla="*/ 10272 h 228949"/>
                      <a:gd name="connsiteX17" fmla="*/ 22528 w 304095"/>
                      <a:gd name="connsiteY17" fmla="*/ 10272 h 22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095" h="228949">
                        <a:moveTo>
                          <a:pt x="281568" y="228950"/>
                        </a:moveTo>
                        <a:lnTo>
                          <a:pt x="22528" y="228950"/>
                        </a:lnTo>
                        <a:cubicBezTo>
                          <a:pt x="10111" y="228950"/>
                          <a:pt x="0" y="218839"/>
                          <a:pt x="0" y="206422"/>
                        </a:cubicBezTo>
                        <a:lnTo>
                          <a:pt x="0" y="22528"/>
                        </a:lnTo>
                        <a:cubicBezTo>
                          <a:pt x="0" y="10111"/>
                          <a:pt x="10111" y="0"/>
                          <a:pt x="22528" y="0"/>
                        </a:cubicBezTo>
                        <a:lnTo>
                          <a:pt x="281568" y="0"/>
                        </a:lnTo>
                        <a:cubicBezTo>
                          <a:pt x="293985" y="0"/>
                          <a:pt x="304095" y="10111"/>
                          <a:pt x="304095" y="22528"/>
                        </a:cubicBezTo>
                        <a:lnTo>
                          <a:pt x="304095" y="206422"/>
                        </a:lnTo>
                        <a:cubicBezTo>
                          <a:pt x="304095" y="218839"/>
                          <a:pt x="293985" y="228950"/>
                          <a:pt x="281568" y="228950"/>
                        </a:cubicBezTo>
                        <a:close/>
                        <a:moveTo>
                          <a:pt x="22528" y="10272"/>
                        </a:moveTo>
                        <a:cubicBezTo>
                          <a:pt x="15769" y="10272"/>
                          <a:pt x="10245" y="15769"/>
                          <a:pt x="10245" y="22554"/>
                        </a:cubicBezTo>
                        <a:lnTo>
                          <a:pt x="10245" y="206449"/>
                        </a:lnTo>
                        <a:cubicBezTo>
                          <a:pt x="10245" y="213207"/>
                          <a:pt x="15742" y="218732"/>
                          <a:pt x="22528" y="218732"/>
                        </a:cubicBezTo>
                        <a:lnTo>
                          <a:pt x="281568" y="218732"/>
                        </a:lnTo>
                        <a:cubicBezTo>
                          <a:pt x="288326" y="218732"/>
                          <a:pt x="293851" y="213234"/>
                          <a:pt x="293851" y="206449"/>
                        </a:cubicBezTo>
                        <a:lnTo>
                          <a:pt x="293851" y="22554"/>
                        </a:lnTo>
                        <a:cubicBezTo>
                          <a:pt x="293851" y="15796"/>
                          <a:pt x="288353" y="10272"/>
                          <a:pt x="281568" y="10272"/>
                        </a:cubicBezTo>
                        <a:lnTo>
                          <a:pt x="22528" y="10272"/>
                        </a:lnTo>
                        <a:close/>
                      </a:path>
                    </a:pathLst>
                  </a:custGeom>
                  <a:grpFill/>
                  <a:ln w="2680" cap="flat">
                    <a:noFill/>
                    <a:prstDash val="solid"/>
                    <a:miter/>
                  </a:ln>
                </p:spPr>
                <p:txBody>
                  <a:bodyPr rtlCol="0" anchor="ctr"/>
                  <a:lstStyle/>
                  <a:p>
                    <a:endParaRPr lang="en-GB" dirty="0"/>
                  </a:p>
                </p:txBody>
              </p:sp>
              <p:sp>
                <p:nvSpPr>
                  <p:cNvPr id="697" name="Freihandform: Form 928">
                    <a:extLst>
                      <a:ext uri="{FF2B5EF4-FFF2-40B4-BE49-F238E27FC236}">
                        <a16:creationId xmlns:a16="http://schemas.microsoft.com/office/drawing/2014/main" id="{D5990256-AD55-48D9-A2E1-26E8406E790D}"/>
                      </a:ext>
                    </a:extLst>
                  </p:cNvPr>
                  <p:cNvSpPr/>
                  <p:nvPr/>
                </p:nvSpPr>
                <p:spPr>
                  <a:xfrm>
                    <a:off x="7643195" y="3508105"/>
                    <a:ext cx="304095" cy="160589"/>
                  </a:xfrm>
                  <a:custGeom>
                    <a:avLst/>
                    <a:gdLst>
                      <a:gd name="connsiteX0" fmla="*/ 298973 w 304095"/>
                      <a:gd name="connsiteY0" fmla="*/ 160589 h 160589"/>
                      <a:gd name="connsiteX1" fmla="*/ 5122 w 304095"/>
                      <a:gd name="connsiteY1" fmla="*/ 160589 h 160589"/>
                      <a:gd name="connsiteX2" fmla="*/ 0 w 304095"/>
                      <a:gd name="connsiteY2" fmla="*/ 155467 h 160589"/>
                      <a:gd name="connsiteX3" fmla="*/ 0 w 304095"/>
                      <a:gd name="connsiteY3" fmla="*/ 5122 h 160589"/>
                      <a:gd name="connsiteX4" fmla="*/ 5122 w 304095"/>
                      <a:gd name="connsiteY4" fmla="*/ 0 h 160589"/>
                      <a:gd name="connsiteX5" fmla="*/ 10245 w 304095"/>
                      <a:gd name="connsiteY5" fmla="*/ 5122 h 160589"/>
                      <a:gd name="connsiteX6" fmla="*/ 10245 w 304095"/>
                      <a:gd name="connsiteY6" fmla="*/ 150345 h 160589"/>
                      <a:gd name="connsiteX7" fmla="*/ 293851 w 304095"/>
                      <a:gd name="connsiteY7" fmla="*/ 150345 h 160589"/>
                      <a:gd name="connsiteX8" fmla="*/ 293851 w 304095"/>
                      <a:gd name="connsiteY8" fmla="*/ 5122 h 160589"/>
                      <a:gd name="connsiteX9" fmla="*/ 298973 w 304095"/>
                      <a:gd name="connsiteY9" fmla="*/ 0 h 160589"/>
                      <a:gd name="connsiteX10" fmla="*/ 304095 w 304095"/>
                      <a:gd name="connsiteY10" fmla="*/ 5122 h 160589"/>
                      <a:gd name="connsiteX11" fmla="*/ 304095 w 304095"/>
                      <a:gd name="connsiteY11" fmla="*/ 155467 h 160589"/>
                      <a:gd name="connsiteX12" fmla="*/ 298973 w 304095"/>
                      <a:gd name="connsiteY12" fmla="*/ 160589 h 160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4095" h="160589">
                        <a:moveTo>
                          <a:pt x="298973" y="160589"/>
                        </a:moveTo>
                        <a:lnTo>
                          <a:pt x="5122" y="160589"/>
                        </a:lnTo>
                        <a:cubicBezTo>
                          <a:pt x="2280" y="160589"/>
                          <a:pt x="0" y="158283"/>
                          <a:pt x="0" y="155467"/>
                        </a:cubicBezTo>
                        <a:lnTo>
                          <a:pt x="0" y="5122"/>
                        </a:lnTo>
                        <a:cubicBezTo>
                          <a:pt x="0" y="2306"/>
                          <a:pt x="2306" y="0"/>
                          <a:pt x="5122" y="0"/>
                        </a:cubicBezTo>
                        <a:cubicBezTo>
                          <a:pt x="7938" y="0"/>
                          <a:pt x="10245" y="2306"/>
                          <a:pt x="10245" y="5122"/>
                        </a:cubicBezTo>
                        <a:lnTo>
                          <a:pt x="10245" y="150345"/>
                        </a:lnTo>
                        <a:lnTo>
                          <a:pt x="293851" y="150345"/>
                        </a:lnTo>
                        <a:lnTo>
                          <a:pt x="293851" y="5122"/>
                        </a:lnTo>
                        <a:cubicBezTo>
                          <a:pt x="293851" y="2306"/>
                          <a:pt x="296157" y="0"/>
                          <a:pt x="298973" y="0"/>
                        </a:cubicBezTo>
                        <a:cubicBezTo>
                          <a:pt x="301789" y="0"/>
                          <a:pt x="304095" y="2306"/>
                          <a:pt x="304095" y="5122"/>
                        </a:cubicBezTo>
                        <a:lnTo>
                          <a:pt x="304095" y="155467"/>
                        </a:lnTo>
                        <a:cubicBezTo>
                          <a:pt x="304095" y="158310"/>
                          <a:pt x="301789" y="160589"/>
                          <a:pt x="298973" y="160589"/>
                        </a:cubicBezTo>
                        <a:close/>
                      </a:path>
                    </a:pathLst>
                  </a:custGeom>
                  <a:grpFill/>
                  <a:ln w="2680" cap="flat">
                    <a:noFill/>
                    <a:prstDash val="solid"/>
                    <a:miter/>
                  </a:ln>
                </p:spPr>
                <p:txBody>
                  <a:bodyPr rtlCol="0" anchor="ctr"/>
                  <a:lstStyle/>
                  <a:p>
                    <a:endParaRPr lang="en-GB" dirty="0"/>
                  </a:p>
                </p:txBody>
              </p:sp>
              <p:sp>
                <p:nvSpPr>
                  <p:cNvPr id="698" name="Freihandform: Form 929">
                    <a:extLst>
                      <a:ext uri="{FF2B5EF4-FFF2-40B4-BE49-F238E27FC236}">
                        <a16:creationId xmlns:a16="http://schemas.microsoft.com/office/drawing/2014/main" id="{84842723-A461-410E-9CEB-7DDA0E5BA6FE}"/>
                      </a:ext>
                    </a:extLst>
                  </p:cNvPr>
                  <p:cNvSpPr/>
                  <p:nvPr/>
                </p:nvSpPr>
                <p:spPr>
                  <a:xfrm>
                    <a:off x="7773024" y="3678966"/>
                    <a:ext cx="44411" cy="10244"/>
                  </a:xfrm>
                  <a:custGeom>
                    <a:avLst/>
                    <a:gdLst>
                      <a:gd name="connsiteX0" fmla="*/ 39289 w 44411"/>
                      <a:gd name="connsiteY0" fmla="*/ 10245 h 10244"/>
                      <a:gd name="connsiteX1" fmla="*/ 5122 w 44411"/>
                      <a:gd name="connsiteY1" fmla="*/ 10245 h 10244"/>
                      <a:gd name="connsiteX2" fmla="*/ 0 w 44411"/>
                      <a:gd name="connsiteY2" fmla="*/ 5122 h 10244"/>
                      <a:gd name="connsiteX3" fmla="*/ 5122 w 44411"/>
                      <a:gd name="connsiteY3" fmla="*/ 0 h 10244"/>
                      <a:gd name="connsiteX4" fmla="*/ 39289 w 44411"/>
                      <a:gd name="connsiteY4" fmla="*/ 0 h 10244"/>
                      <a:gd name="connsiteX5" fmla="*/ 44411 w 44411"/>
                      <a:gd name="connsiteY5" fmla="*/ 5122 h 10244"/>
                      <a:gd name="connsiteX6" fmla="*/ 39289 w 44411"/>
                      <a:gd name="connsiteY6" fmla="*/ 10245 h 1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4411" h="10244">
                        <a:moveTo>
                          <a:pt x="39289" y="10245"/>
                        </a:moveTo>
                        <a:lnTo>
                          <a:pt x="5122" y="10245"/>
                        </a:lnTo>
                        <a:cubicBezTo>
                          <a:pt x="2280" y="10245"/>
                          <a:pt x="0" y="7938"/>
                          <a:pt x="0" y="5122"/>
                        </a:cubicBezTo>
                        <a:cubicBezTo>
                          <a:pt x="0" y="2307"/>
                          <a:pt x="2306" y="0"/>
                          <a:pt x="5122" y="0"/>
                        </a:cubicBezTo>
                        <a:lnTo>
                          <a:pt x="39289" y="0"/>
                        </a:lnTo>
                        <a:cubicBezTo>
                          <a:pt x="42105" y="0"/>
                          <a:pt x="44411" y="2307"/>
                          <a:pt x="44411" y="5122"/>
                        </a:cubicBezTo>
                        <a:cubicBezTo>
                          <a:pt x="44438" y="7938"/>
                          <a:pt x="42132" y="10245"/>
                          <a:pt x="39289" y="10245"/>
                        </a:cubicBezTo>
                        <a:close/>
                      </a:path>
                    </a:pathLst>
                  </a:custGeom>
                  <a:grpFill/>
                  <a:ln w="2680" cap="flat">
                    <a:noFill/>
                    <a:prstDash val="solid"/>
                    <a:miter/>
                  </a:ln>
                </p:spPr>
                <p:txBody>
                  <a:bodyPr rtlCol="0" anchor="ctr"/>
                  <a:lstStyle/>
                  <a:p>
                    <a:endParaRPr lang="en-GB" dirty="0"/>
                  </a:p>
                </p:txBody>
              </p:sp>
            </p:grpSp>
            <p:sp>
              <p:nvSpPr>
                <p:cNvPr id="694" name="Freihandform: Form 930">
                  <a:extLst>
                    <a:ext uri="{FF2B5EF4-FFF2-40B4-BE49-F238E27FC236}">
                      <a16:creationId xmlns:a16="http://schemas.microsoft.com/office/drawing/2014/main" id="{7A0371DE-BC7E-4356-B3A0-4510E135402D}"/>
                    </a:ext>
                  </a:extLst>
                </p:cNvPr>
                <p:cNvSpPr/>
                <p:nvPr/>
              </p:nvSpPr>
              <p:spPr>
                <a:xfrm>
                  <a:off x="7790107" y="3719971"/>
                  <a:ext cx="10244" cy="64900"/>
                </a:xfrm>
                <a:custGeom>
                  <a:avLst/>
                  <a:gdLst>
                    <a:gd name="connsiteX0" fmla="*/ 5122 w 10244"/>
                    <a:gd name="connsiteY0" fmla="*/ 64901 h 64900"/>
                    <a:gd name="connsiteX1" fmla="*/ 0 w 10244"/>
                    <a:gd name="connsiteY1" fmla="*/ 59778 h 64900"/>
                    <a:gd name="connsiteX2" fmla="*/ 0 w 10244"/>
                    <a:gd name="connsiteY2" fmla="*/ 5122 h 64900"/>
                    <a:gd name="connsiteX3" fmla="*/ 5122 w 10244"/>
                    <a:gd name="connsiteY3" fmla="*/ 0 h 64900"/>
                    <a:gd name="connsiteX4" fmla="*/ 10245 w 10244"/>
                    <a:gd name="connsiteY4" fmla="*/ 5122 h 64900"/>
                    <a:gd name="connsiteX5" fmla="*/ 10245 w 10244"/>
                    <a:gd name="connsiteY5" fmla="*/ 59778 h 64900"/>
                    <a:gd name="connsiteX6" fmla="*/ 5122 w 10244"/>
                    <a:gd name="connsiteY6" fmla="*/ 64901 h 6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4" h="64900">
                      <a:moveTo>
                        <a:pt x="5122" y="64901"/>
                      </a:moveTo>
                      <a:cubicBezTo>
                        <a:pt x="2280" y="64901"/>
                        <a:pt x="0" y="62594"/>
                        <a:pt x="0" y="59778"/>
                      </a:cubicBezTo>
                      <a:lnTo>
                        <a:pt x="0" y="5122"/>
                      </a:lnTo>
                      <a:cubicBezTo>
                        <a:pt x="0" y="2306"/>
                        <a:pt x="2306" y="0"/>
                        <a:pt x="5122" y="0"/>
                      </a:cubicBezTo>
                      <a:cubicBezTo>
                        <a:pt x="7938" y="0"/>
                        <a:pt x="10245" y="2306"/>
                        <a:pt x="10245" y="5122"/>
                      </a:cubicBezTo>
                      <a:lnTo>
                        <a:pt x="10245" y="59778"/>
                      </a:lnTo>
                      <a:cubicBezTo>
                        <a:pt x="10271" y="62594"/>
                        <a:pt x="7965" y="64901"/>
                        <a:pt x="5122" y="64901"/>
                      </a:cubicBezTo>
                      <a:close/>
                    </a:path>
                  </a:pathLst>
                </a:custGeom>
                <a:grpFill/>
                <a:ln w="2680" cap="flat">
                  <a:noFill/>
                  <a:prstDash val="solid"/>
                  <a:miter/>
                </a:ln>
              </p:spPr>
              <p:txBody>
                <a:bodyPr rtlCol="0" anchor="ctr"/>
                <a:lstStyle/>
                <a:p>
                  <a:endParaRPr lang="en-GB" dirty="0"/>
                </a:p>
              </p:txBody>
            </p:sp>
            <p:sp>
              <p:nvSpPr>
                <p:cNvPr id="695" name="Freihandform: Form 931">
                  <a:extLst>
                    <a:ext uri="{FF2B5EF4-FFF2-40B4-BE49-F238E27FC236}">
                      <a16:creationId xmlns:a16="http://schemas.microsoft.com/office/drawing/2014/main" id="{7E811DC4-CF0E-46A9-AB46-DFA97912D64C}"/>
                    </a:ext>
                  </a:extLst>
                </p:cNvPr>
                <p:cNvSpPr/>
                <p:nvPr/>
              </p:nvSpPr>
              <p:spPr>
                <a:xfrm>
                  <a:off x="7728612" y="3774627"/>
                  <a:ext cx="133261" cy="10244"/>
                </a:xfrm>
                <a:custGeom>
                  <a:avLst/>
                  <a:gdLst>
                    <a:gd name="connsiteX0" fmla="*/ 128139 w 133261"/>
                    <a:gd name="connsiteY0" fmla="*/ 10245 h 10244"/>
                    <a:gd name="connsiteX1" fmla="*/ 5122 w 133261"/>
                    <a:gd name="connsiteY1" fmla="*/ 10245 h 10244"/>
                    <a:gd name="connsiteX2" fmla="*/ 0 w 133261"/>
                    <a:gd name="connsiteY2" fmla="*/ 5122 h 10244"/>
                    <a:gd name="connsiteX3" fmla="*/ 5122 w 133261"/>
                    <a:gd name="connsiteY3" fmla="*/ 0 h 10244"/>
                    <a:gd name="connsiteX4" fmla="*/ 128139 w 133261"/>
                    <a:gd name="connsiteY4" fmla="*/ 0 h 10244"/>
                    <a:gd name="connsiteX5" fmla="*/ 133261 w 133261"/>
                    <a:gd name="connsiteY5" fmla="*/ 5122 h 10244"/>
                    <a:gd name="connsiteX6" fmla="*/ 128139 w 133261"/>
                    <a:gd name="connsiteY6" fmla="*/ 10245 h 1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61" h="10244">
                      <a:moveTo>
                        <a:pt x="128139" y="10245"/>
                      </a:moveTo>
                      <a:lnTo>
                        <a:pt x="5122" y="10245"/>
                      </a:lnTo>
                      <a:cubicBezTo>
                        <a:pt x="2280" y="10245"/>
                        <a:pt x="0" y="7938"/>
                        <a:pt x="0" y="5122"/>
                      </a:cubicBezTo>
                      <a:cubicBezTo>
                        <a:pt x="0" y="2306"/>
                        <a:pt x="2306" y="0"/>
                        <a:pt x="5122" y="0"/>
                      </a:cubicBezTo>
                      <a:lnTo>
                        <a:pt x="128139" y="0"/>
                      </a:lnTo>
                      <a:cubicBezTo>
                        <a:pt x="130955" y="0"/>
                        <a:pt x="133261" y="2306"/>
                        <a:pt x="133261" y="5122"/>
                      </a:cubicBezTo>
                      <a:cubicBezTo>
                        <a:pt x="133261" y="7938"/>
                        <a:pt x="130955" y="10245"/>
                        <a:pt x="128139" y="10245"/>
                      </a:cubicBezTo>
                      <a:close/>
                    </a:path>
                  </a:pathLst>
                </a:custGeom>
                <a:grpFill/>
                <a:ln w="2680" cap="flat">
                  <a:noFill/>
                  <a:prstDash val="solid"/>
                  <a:miter/>
                </a:ln>
              </p:spPr>
              <p:txBody>
                <a:bodyPr rtlCol="0" anchor="ctr"/>
                <a:lstStyle/>
                <a:p>
                  <a:endParaRPr lang="en-GB" dirty="0"/>
                </a:p>
              </p:txBody>
            </p:sp>
          </p:grpSp>
          <p:grpSp>
            <p:nvGrpSpPr>
              <p:cNvPr id="685" name="Grafik 77">
                <a:extLst>
                  <a:ext uri="{FF2B5EF4-FFF2-40B4-BE49-F238E27FC236}">
                    <a16:creationId xmlns:a16="http://schemas.microsoft.com/office/drawing/2014/main" id="{80F3A2C9-71A3-4B33-BF5C-0195111F3F94}"/>
                  </a:ext>
                </a:extLst>
              </p:cNvPr>
              <p:cNvGrpSpPr/>
              <p:nvPr/>
            </p:nvGrpSpPr>
            <p:grpSpPr>
              <a:xfrm>
                <a:off x="7985131" y="3205699"/>
                <a:ext cx="167455" cy="269955"/>
                <a:chOff x="7985131" y="3205699"/>
                <a:chExt cx="167455" cy="269955"/>
              </a:xfrm>
              <a:grpFill/>
            </p:grpSpPr>
            <p:sp>
              <p:nvSpPr>
                <p:cNvPr id="690" name="Freihandform: Form 933">
                  <a:extLst>
                    <a:ext uri="{FF2B5EF4-FFF2-40B4-BE49-F238E27FC236}">
                      <a16:creationId xmlns:a16="http://schemas.microsoft.com/office/drawing/2014/main" id="{6A6ABCF3-B4DA-4C61-8717-F2B7730B6B91}"/>
                    </a:ext>
                  </a:extLst>
                </p:cNvPr>
                <p:cNvSpPr/>
                <p:nvPr/>
              </p:nvSpPr>
              <p:spPr>
                <a:xfrm>
                  <a:off x="7985131" y="3205699"/>
                  <a:ext cx="167455" cy="269955"/>
                </a:xfrm>
                <a:custGeom>
                  <a:avLst/>
                  <a:gdLst>
                    <a:gd name="connsiteX0" fmla="*/ 146697 w 167455"/>
                    <a:gd name="connsiteY0" fmla="*/ 269955 h 269955"/>
                    <a:gd name="connsiteX1" fmla="*/ 20758 w 167455"/>
                    <a:gd name="connsiteY1" fmla="*/ 269955 h 269955"/>
                    <a:gd name="connsiteX2" fmla="*/ 0 w 167455"/>
                    <a:gd name="connsiteY2" fmla="*/ 249198 h 269955"/>
                    <a:gd name="connsiteX3" fmla="*/ 0 w 167455"/>
                    <a:gd name="connsiteY3" fmla="*/ 20758 h 269955"/>
                    <a:gd name="connsiteX4" fmla="*/ 20758 w 167455"/>
                    <a:gd name="connsiteY4" fmla="*/ 0 h 269955"/>
                    <a:gd name="connsiteX5" fmla="*/ 146697 w 167455"/>
                    <a:gd name="connsiteY5" fmla="*/ 0 h 269955"/>
                    <a:gd name="connsiteX6" fmla="*/ 167455 w 167455"/>
                    <a:gd name="connsiteY6" fmla="*/ 20758 h 269955"/>
                    <a:gd name="connsiteX7" fmla="*/ 167455 w 167455"/>
                    <a:gd name="connsiteY7" fmla="*/ 249198 h 269955"/>
                    <a:gd name="connsiteX8" fmla="*/ 146697 w 167455"/>
                    <a:gd name="connsiteY8" fmla="*/ 269955 h 269955"/>
                    <a:gd name="connsiteX9" fmla="*/ 20758 w 167455"/>
                    <a:gd name="connsiteY9" fmla="*/ 10272 h 269955"/>
                    <a:gd name="connsiteX10" fmla="*/ 10271 w 167455"/>
                    <a:gd name="connsiteY10" fmla="*/ 20758 h 269955"/>
                    <a:gd name="connsiteX11" fmla="*/ 10271 w 167455"/>
                    <a:gd name="connsiteY11" fmla="*/ 249198 h 269955"/>
                    <a:gd name="connsiteX12" fmla="*/ 20758 w 167455"/>
                    <a:gd name="connsiteY12" fmla="*/ 259711 h 269955"/>
                    <a:gd name="connsiteX13" fmla="*/ 146697 w 167455"/>
                    <a:gd name="connsiteY13" fmla="*/ 259711 h 269955"/>
                    <a:gd name="connsiteX14" fmla="*/ 157183 w 167455"/>
                    <a:gd name="connsiteY14" fmla="*/ 249198 h 269955"/>
                    <a:gd name="connsiteX15" fmla="*/ 157183 w 167455"/>
                    <a:gd name="connsiteY15" fmla="*/ 20758 h 269955"/>
                    <a:gd name="connsiteX16" fmla="*/ 146697 w 167455"/>
                    <a:gd name="connsiteY16" fmla="*/ 10272 h 269955"/>
                    <a:gd name="connsiteX17" fmla="*/ 20758 w 167455"/>
                    <a:gd name="connsiteY17" fmla="*/ 10272 h 269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7455" h="269955">
                      <a:moveTo>
                        <a:pt x="146697" y="269955"/>
                      </a:moveTo>
                      <a:lnTo>
                        <a:pt x="20758" y="269955"/>
                      </a:lnTo>
                      <a:cubicBezTo>
                        <a:pt x="9306" y="269955"/>
                        <a:pt x="0" y="260649"/>
                        <a:pt x="0" y="249198"/>
                      </a:cubicBezTo>
                      <a:lnTo>
                        <a:pt x="0" y="20758"/>
                      </a:lnTo>
                      <a:cubicBezTo>
                        <a:pt x="0" y="9306"/>
                        <a:pt x="9306" y="0"/>
                        <a:pt x="20758" y="0"/>
                      </a:cubicBezTo>
                      <a:lnTo>
                        <a:pt x="146697" y="0"/>
                      </a:lnTo>
                      <a:cubicBezTo>
                        <a:pt x="158149" y="0"/>
                        <a:pt x="167455" y="9306"/>
                        <a:pt x="167455" y="20758"/>
                      </a:cubicBezTo>
                      <a:lnTo>
                        <a:pt x="167455" y="249198"/>
                      </a:lnTo>
                      <a:cubicBezTo>
                        <a:pt x="167455" y="260649"/>
                        <a:pt x="158122" y="269955"/>
                        <a:pt x="146697" y="269955"/>
                      </a:cubicBezTo>
                      <a:close/>
                      <a:moveTo>
                        <a:pt x="20758" y="10272"/>
                      </a:moveTo>
                      <a:cubicBezTo>
                        <a:pt x="14965" y="10272"/>
                        <a:pt x="10271" y="14992"/>
                        <a:pt x="10271" y="20758"/>
                      </a:cubicBezTo>
                      <a:lnTo>
                        <a:pt x="10271" y="249198"/>
                      </a:lnTo>
                      <a:cubicBezTo>
                        <a:pt x="10271" y="254991"/>
                        <a:pt x="14991" y="259711"/>
                        <a:pt x="20758" y="259711"/>
                      </a:cubicBezTo>
                      <a:lnTo>
                        <a:pt x="146697" y="259711"/>
                      </a:lnTo>
                      <a:cubicBezTo>
                        <a:pt x="152490" y="259711"/>
                        <a:pt x="157183" y="254991"/>
                        <a:pt x="157183" y="249198"/>
                      </a:cubicBezTo>
                      <a:lnTo>
                        <a:pt x="157183" y="20758"/>
                      </a:lnTo>
                      <a:cubicBezTo>
                        <a:pt x="157183" y="14965"/>
                        <a:pt x="152463" y="10272"/>
                        <a:pt x="146697" y="10272"/>
                      </a:cubicBezTo>
                      <a:lnTo>
                        <a:pt x="20758" y="10272"/>
                      </a:lnTo>
                      <a:close/>
                    </a:path>
                  </a:pathLst>
                </a:custGeom>
                <a:grpFill/>
                <a:ln w="2680" cap="flat">
                  <a:noFill/>
                  <a:prstDash val="solid"/>
                  <a:miter/>
                </a:ln>
              </p:spPr>
              <p:txBody>
                <a:bodyPr rtlCol="0" anchor="ctr"/>
                <a:lstStyle/>
                <a:p>
                  <a:endParaRPr lang="en-GB" dirty="0"/>
                </a:p>
              </p:txBody>
            </p:sp>
            <p:sp>
              <p:nvSpPr>
                <p:cNvPr id="691" name="Freihandform: Form 934">
                  <a:extLst>
                    <a:ext uri="{FF2B5EF4-FFF2-40B4-BE49-F238E27FC236}">
                      <a16:creationId xmlns:a16="http://schemas.microsoft.com/office/drawing/2014/main" id="{B95DB1E4-62CA-4DAE-8281-7D7C008EC6DB}"/>
                    </a:ext>
                  </a:extLst>
                </p:cNvPr>
                <p:cNvSpPr/>
                <p:nvPr/>
              </p:nvSpPr>
              <p:spPr>
                <a:xfrm>
                  <a:off x="7985131" y="3244452"/>
                  <a:ext cx="167428" cy="187917"/>
                </a:xfrm>
                <a:custGeom>
                  <a:avLst/>
                  <a:gdLst>
                    <a:gd name="connsiteX0" fmla="*/ 162306 w 167428"/>
                    <a:gd name="connsiteY0" fmla="*/ 187918 h 187917"/>
                    <a:gd name="connsiteX1" fmla="*/ 5122 w 167428"/>
                    <a:gd name="connsiteY1" fmla="*/ 187918 h 187917"/>
                    <a:gd name="connsiteX2" fmla="*/ 0 w 167428"/>
                    <a:gd name="connsiteY2" fmla="*/ 182795 h 187917"/>
                    <a:gd name="connsiteX3" fmla="*/ 0 w 167428"/>
                    <a:gd name="connsiteY3" fmla="*/ 5122 h 187917"/>
                    <a:gd name="connsiteX4" fmla="*/ 5122 w 167428"/>
                    <a:gd name="connsiteY4" fmla="*/ 0 h 187917"/>
                    <a:gd name="connsiteX5" fmla="*/ 162306 w 167428"/>
                    <a:gd name="connsiteY5" fmla="*/ 0 h 187917"/>
                    <a:gd name="connsiteX6" fmla="*/ 167428 w 167428"/>
                    <a:gd name="connsiteY6" fmla="*/ 5122 h 187917"/>
                    <a:gd name="connsiteX7" fmla="*/ 167428 w 167428"/>
                    <a:gd name="connsiteY7" fmla="*/ 182795 h 187917"/>
                    <a:gd name="connsiteX8" fmla="*/ 162306 w 167428"/>
                    <a:gd name="connsiteY8" fmla="*/ 187918 h 187917"/>
                    <a:gd name="connsiteX9" fmla="*/ 10271 w 167428"/>
                    <a:gd name="connsiteY9" fmla="*/ 177673 h 187917"/>
                    <a:gd name="connsiteX10" fmla="*/ 157183 w 167428"/>
                    <a:gd name="connsiteY10" fmla="*/ 177673 h 187917"/>
                    <a:gd name="connsiteX11" fmla="*/ 157183 w 167428"/>
                    <a:gd name="connsiteY11" fmla="*/ 10245 h 187917"/>
                    <a:gd name="connsiteX12" fmla="*/ 10271 w 167428"/>
                    <a:gd name="connsiteY12" fmla="*/ 10245 h 187917"/>
                    <a:gd name="connsiteX13" fmla="*/ 10271 w 167428"/>
                    <a:gd name="connsiteY13" fmla="*/ 177673 h 18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7428" h="187917">
                      <a:moveTo>
                        <a:pt x="162306" y="187918"/>
                      </a:moveTo>
                      <a:lnTo>
                        <a:pt x="5122" y="187918"/>
                      </a:lnTo>
                      <a:cubicBezTo>
                        <a:pt x="2280" y="187918"/>
                        <a:pt x="0" y="185611"/>
                        <a:pt x="0" y="182795"/>
                      </a:cubicBezTo>
                      <a:lnTo>
                        <a:pt x="0" y="5122"/>
                      </a:lnTo>
                      <a:cubicBezTo>
                        <a:pt x="0" y="2306"/>
                        <a:pt x="2306" y="0"/>
                        <a:pt x="5122" y="0"/>
                      </a:cubicBezTo>
                      <a:lnTo>
                        <a:pt x="162306" y="0"/>
                      </a:lnTo>
                      <a:cubicBezTo>
                        <a:pt x="165148" y="0"/>
                        <a:pt x="167428" y="2306"/>
                        <a:pt x="167428" y="5122"/>
                      </a:cubicBezTo>
                      <a:lnTo>
                        <a:pt x="167428" y="182795"/>
                      </a:lnTo>
                      <a:cubicBezTo>
                        <a:pt x="167455" y="185611"/>
                        <a:pt x="165148" y="187918"/>
                        <a:pt x="162306" y="187918"/>
                      </a:cubicBezTo>
                      <a:close/>
                      <a:moveTo>
                        <a:pt x="10271" y="177673"/>
                      </a:moveTo>
                      <a:lnTo>
                        <a:pt x="157183" y="177673"/>
                      </a:lnTo>
                      <a:lnTo>
                        <a:pt x="157183" y="10245"/>
                      </a:lnTo>
                      <a:lnTo>
                        <a:pt x="10271" y="10245"/>
                      </a:lnTo>
                      <a:lnTo>
                        <a:pt x="10271" y="177673"/>
                      </a:lnTo>
                      <a:close/>
                    </a:path>
                  </a:pathLst>
                </a:custGeom>
                <a:grpFill/>
                <a:ln w="2680" cap="flat">
                  <a:noFill/>
                  <a:prstDash val="solid"/>
                  <a:miter/>
                </a:ln>
              </p:spPr>
              <p:txBody>
                <a:bodyPr rtlCol="0" anchor="ctr"/>
                <a:lstStyle/>
                <a:p>
                  <a:endParaRPr lang="en-GB" dirty="0"/>
                </a:p>
              </p:txBody>
            </p:sp>
            <p:sp>
              <p:nvSpPr>
                <p:cNvPr id="692" name="Freihandform: Form 935">
                  <a:extLst>
                    <a:ext uri="{FF2B5EF4-FFF2-40B4-BE49-F238E27FC236}">
                      <a16:creationId xmlns:a16="http://schemas.microsoft.com/office/drawing/2014/main" id="{72C18596-5183-48E8-8CC7-A599D06B3B43}"/>
                    </a:ext>
                  </a:extLst>
                </p:cNvPr>
                <p:cNvSpPr/>
                <p:nvPr/>
              </p:nvSpPr>
              <p:spPr>
                <a:xfrm>
                  <a:off x="8053492" y="3444893"/>
                  <a:ext cx="30733" cy="10244"/>
                </a:xfrm>
                <a:custGeom>
                  <a:avLst/>
                  <a:gdLst>
                    <a:gd name="connsiteX0" fmla="*/ 25612 w 30733"/>
                    <a:gd name="connsiteY0" fmla="*/ 10245 h 10244"/>
                    <a:gd name="connsiteX1" fmla="*/ 5122 w 30733"/>
                    <a:gd name="connsiteY1" fmla="*/ 10245 h 10244"/>
                    <a:gd name="connsiteX2" fmla="*/ 0 w 30733"/>
                    <a:gd name="connsiteY2" fmla="*/ 5122 h 10244"/>
                    <a:gd name="connsiteX3" fmla="*/ 5122 w 30733"/>
                    <a:gd name="connsiteY3" fmla="*/ 0 h 10244"/>
                    <a:gd name="connsiteX4" fmla="*/ 25612 w 30733"/>
                    <a:gd name="connsiteY4" fmla="*/ 0 h 10244"/>
                    <a:gd name="connsiteX5" fmla="*/ 30734 w 30733"/>
                    <a:gd name="connsiteY5" fmla="*/ 5122 h 10244"/>
                    <a:gd name="connsiteX6" fmla="*/ 25612 w 30733"/>
                    <a:gd name="connsiteY6" fmla="*/ 10245 h 1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33" h="10244">
                      <a:moveTo>
                        <a:pt x="25612" y="10245"/>
                      </a:moveTo>
                      <a:lnTo>
                        <a:pt x="5122" y="10245"/>
                      </a:lnTo>
                      <a:cubicBezTo>
                        <a:pt x="2280" y="10245"/>
                        <a:pt x="0" y="7938"/>
                        <a:pt x="0" y="5122"/>
                      </a:cubicBezTo>
                      <a:cubicBezTo>
                        <a:pt x="0" y="2306"/>
                        <a:pt x="2306" y="0"/>
                        <a:pt x="5122" y="0"/>
                      </a:cubicBezTo>
                      <a:lnTo>
                        <a:pt x="25612" y="0"/>
                      </a:lnTo>
                      <a:cubicBezTo>
                        <a:pt x="28454" y="0"/>
                        <a:pt x="30734" y="2306"/>
                        <a:pt x="30734" y="5122"/>
                      </a:cubicBezTo>
                      <a:cubicBezTo>
                        <a:pt x="30734" y="7965"/>
                        <a:pt x="28454" y="10245"/>
                        <a:pt x="25612" y="10245"/>
                      </a:cubicBezTo>
                      <a:close/>
                    </a:path>
                  </a:pathLst>
                </a:custGeom>
                <a:grpFill/>
                <a:ln w="2680" cap="flat">
                  <a:noFill/>
                  <a:prstDash val="solid"/>
                  <a:miter/>
                </a:ln>
              </p:spPr>
              <p:txBody>
                <a:bodyPr rtlCol="0" anchor="ctr"/>
                <a:lstStyle/>
                <a:p>
                  <a:endParaRPr lang="en-GB" dirty="0"/>
                </a:p>
              </p:txBody>
            </p:sp>
          </p:grpSp>
          <p:grpSp>
            <p:nvGrpSpPr>
              <p:cNvPr id="686" name="Grafik 77">
                <a:extLst>
                  <a:ext uri="{FF2B5EF4-FFF2-40B4-BE49-F238E27FC236}">
                    <a16:creationId xmlns:a16="http://schemas.microsoft.com/office/drawing/2014/main" id="{F892EDF3-3C6A-4532-AC48-5B53653C1AF5}"/>
                  </a:ext>
                </a:extLst>
              </p:cNvPr>
              <p:cNvGrpSpPr/>
              <p:nvPr/>
            </p:nvGrpSpPr>
            <p:grpSpPr>
              <a:xfrm>
                <a:off x="8057676" y="3561527"/>
                <a:ext cx="381895" cy="223344"/>
                <a:chOff x="8057676" y="3561527"/>
                <a:chExt cx="381895" cy="223344"/>
              </a:xfrm>
              <a:grpFill/>
            </p:grpSpPr>
            <p:sp>
              <p:nvSpPr>
                <p:cNvPr id="687" name="Freihandform: Form 937">
                  <a:extLst>
                    <a:ext uri="{FF2B5EF4-FFF2-40B4-BE49-F238E27FC236}">
                      <a16:creationId xmlns:a16="http://schemas.microsoft.com/office/drawing/2014/main" id="{CC3AF7C9-9144-4C19-A798-96AF3856E607}"/>
                    </a:ext>
                  </a:extLst>
                </p:cNvPr>
                <p:cNvSpPr/>
                <p:nvPr/>
              </p:nvSpPr>
              <p:spPr>
                <a:xfrm>
                  <a:off x="8057676" y="3744483"/>
                  <a:ext cx="381895" cy="40388"/>
                </a:xfrm>
                <a:custGeom>
                  <a:avLst/>
                  <a:gdLst>
                    <a:gd name="connsiteX0" fmla="*/ 347139 w 381895"/>
                    <a:gd name="connsiteY0" fmla="*/ 40389 h 40388"/>
                    <a:gd name="connsiteX1" fmla="*/ 26979 w 381895"/>
                    <a:gd name="connsiteY1" fmla="*/ 40201 h 40388"/>
                    <a:gd name="connsiteX2" fmla="*/ 27 w 381895"/>
                    <a:gd name="connsiteY2" fmla="*/ 11612 h 40388"/>
                    <a:gd name="connsiteX3" fmla="*/ 0 w 381895"/>
                    <a:gd name="connsiteY3" fmla="*/ 5122 h 40388"/>
                    <a:gd name="connsiteX4" fmla="*/ 1502 w 381895"/>
                    <a:gd name="connsiteY4" fmla="*/ 1502 h 40388"/>
                    <a:gd name="connsiteX5" fmla="*/ 5122 w 381895"/>
                    <a:gd name="connsiteY5" fmla="*/ 0 h 40388"/>
                    <a:gd name="connsiteX6" fmla="*/ 5122 w 381895"/>
                    <a:gd name="connsiteY6" fmla="*/ 0 h 40388"/>
                    <a:gd name="connsiteX7" fmla="*/ 376774 w 381895"/>
                    <a:gd name="connsiteY7" fmla="*/ 188 h 40388"/>
                    <a:gd name="connsiteX8" fmla="*/ 380394 w 381895"/>
                    <a:gd name="connsiteY8" fmla="*/ 1690 h 40388"/>
                    <a:gd name="connsiteX9" fmla="*/ 381896 w 381895"/>
                    <a:gd name="connsiteY9" fmla="*/ 5310 h 40388"/>
                    <a:gd name="connsiteX10" fmla="*/ 381869 w 381895"/>
                    <a:gd name="connsiteY10" fmla="*/ 11183 h 40388"/>
                    <a:gd name="connsiteX11" fmla="*/ 354890 w 381895"/>
                    <a:gd name="connsiteY11" fmla="*/ 40362 h 40388"/>
                    <a:gd name="connsiteX12" fmla="*/ 347139 w 381895"/>
                    <a:gd name="connsiteY12" fmla="*/ 40389 h 40388"/>
                    <a:gd name="connsiteX13" fmla="*/ 10271 w 381895"/>
                    <a:gd name="connsiteY13" fmla="*/ 10245 h 40388"/>
                    <a:gd name="connsiteX14" fmla="*/ 10271 w 381895"/>
                    <a:gd name="connsiteY14" fmla="*/ 11505 h 40388"/>
                    <a:gd name="connsiteX15" fmla="*/ 27060 w 381895"/>
                    <a:gd name="connsiteY15" fmla="*/ 29956 h 40388"/>
                    <a:gd name="connsiteX16" fmla="*/ 354836 w 381895"/>
                    <a:gd name="connsiteY16" fmla="*/ 30117 h 40388"/>
                    <a:gd name="connsiteX17" fmla="*/ 371624 w 381895"/>
                    <a:gd name="connsiteY17" fmla="*/ 11693 h 40388"/>
                    <a:gd name="connsiteX18" fmla="*/ 371624 w 381895"/>
                    <a:gd name="connsiteY18" fmla="*/ 10406 h 40388"/>
                    <a:gd name="connsiteX19" fmla="*/ 10271 w 381895"/>
                    <a:gd name="connsiteY19" fmla="*/ 10245 h 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895" h="40388">
                      <a:moveTo>
                        <a:pt x="347139" y="40389"/>
                      </a:moveTo>
                      <a:cubicBezTo>
                        <a:pt x="297686" y="40389"/>
                        <a:pt x="30627" y="40254"/>
                        <a:pt x="26979" y="40201"/>
                      </a:cubicBezTo>
                      <a:cubicBezTo>
                        <a:pt x="2306" y="39986"/>
                        <a:pt x="161" y="27114"/>
                        <a:pt x="27" y="11612"/>
                      </a:cubicBezTo>
                      <a:cubicBezTo>
                        <a:pt x="27" y="10620"/>
                        <a:pt x="0" y="8367"/>
                        <a:pt x="0" y="5122"/>
                      </a:cubicBezTo>
                      <a:cubicBezTo>
                        <a:pt x="0" y="3754"/>
                        <a:pt x="536" y="2467"/>
                        <a:pt x="1502" y="1502"/>
                      </a:cubicBezTo>
                      <a:cubicBezTo>
                        <a:pt x="2467" y="536"/>
                        <a:pt x="3754" y="0"/>
                        <a:pt x="5122" y="0"/>
                      </a:cubicBezTo>
                      <a:lnTo>
                        <a:pt x="5122" y="0"/>
                      </a:lnTo>
                      <a:lnTo>
                        <a:pt x="376774" y="188"/>
                      </a:lnTo>
                      <a:cubicBezTo>
                        <a:pt x="378141" y="188"/>
                        <a:pt x="379455" y="724"/>
                        <a:pt x="380394" y="1690"/>
                      </a:cubicBezTo>
                      <a:cubicBezTo>
                        <a:pt x="381359" y="2655"/>
                        <a:pt x="381896" y="3969"/>
                        <a:pt x="381896" y="5310"/>
                      </a:cubicBezTo>
                      <a:lnTo>
                        <a:pt x="381869" y="11183"/>
                      </a:lnTo>
                      <a:cubicBezTo>
                        <a:pt x="381735" y="27301"/>
                        <a:pt x="379616" y="40174"/>
                        <a:pt x="354890" y="40362"/>
                      </a:cubicBezTo>
                      <a:cubicBezTo>
                        <a:pt x="354487" y="40389"/>
                        <a:pt x="351752" y="40389"/>
                        <a:pt x="347139" y="40389"/>
                      </a:cubicBezTo>
                      <a:close/>
                      <a:moveTo>
                        <a:pt x="10271" y="10245"/>
                      </a:moveTo>
                      <a:cubicBezTo>
                        <a:pt x="10271" y="10781"/>
                        <a:pt x="10271" y="11183"/>
                        <a:pt x="10271" y="11505"/>
                      </a:cubicBezTo>
                      <a:cubicBezTo>
                        <a:pt x="10406" y="25424"/>
                        <a:pt x="11210" y="29822"/>
                        <a:pt x="27060" y="29956"/>
                      </a:cubicBezTo>
                      <a:cubicBezTo>
                        <a:pt x="31056" y="29983"/>
                        <a:pt x="349660" y="30144"/>
                        <a:pt x="354836" y="30117"/>
                      </a:cubicBezTo>
                      <a:cubicBezTo>
                        <a:pt x="370713" y="29983"/>
                        <a:pt x="371517" y="25585"/>
                        <a:pt x="371624" y="11693"/>
                      </a:cubicBezTo>
                      <a:lnTo>
                        <a:pt x="371624" y="10406"/>
                      </a:lnTo>
                      <a:lnTo>
                        <a:pt x="10271" y="10245"/>
                      </a:lnTo>
                      <a:close/>
                    </a:path>
                  </a:pathLst>
                </a:custGeom>
                <a:grpFill/>
                <a:ln w="2680" cap="flat">
                  <a:noFill/>
                  <a:prstDash val="solid"/>
                  <a:miter/>
                </a:ln>
              </p:spPr>
              <p:txBody>
                <a:bodyPr rtlCol="0" anchor="ctr"/>
                <a:lstStyle/>
                <a:p>
                  <a:endParaRPr lang="en-GB" dirty="0"/>
                </a:p>
              </p:txBody>
            </p:sp>
            <p:sp>
              <p:nvSpPr>
                <p:cNvPr id="688" name="Freihandform: Form 938">
                  <a:extLst>
                    <a:ext uri="{FF2B5EF4-FFF2-40B4-BE49-F238E27FC236}">
                      <a16:creationId xmlns:a16="http://schemas.microsoft.com/office/drawing/2014/main" id="{37EC8C56-A886-4722-99CA-803E4622E479}"/>
                    </a:ext>
                  </a:extLst>
                </p:cNvPr>
                <p:cNvSpPr/>
                <p:nvPr/>
              </p:nvSpPr>
              <p:spPr>
                <a:xfrm>
                  <a:off x="8102892" y="3561527"/>
                  <a:ext cx="291517" cy="193227"/>
                </a:xfrm>
                <a:custGeom>
                  <a:avLst/>
                  <a:gdLst>
                    <a:gd name="connsiteX0" fmla="*/ 286368 w 291517"/>
                    <a:gd name="connsiteY0" fmla="*/ 193228 h 193227"/>
                    <a:gd name="connsiteX1" fmla="*/ 281246 w 291517"/>
                    <a:gd name="connsiteY1" fmla="*/ 188105 h 193227"/>
                    <a:gd name="connsiteX2" fmla="*/ 281246 w 291517"/>
                    <a:gd name="connsiteY2" fmla="*/ 15179 h 193227"/>
                    <a:gd name="connsiteX3" fmla="*/ 276258 w 291517"/>
                    <a:gd name="connsiteY3" fmla="*/ 10245 h 193227"/>
                    <a:gd name="connsiteX4" fmla="*/ 15153 w 291517"/>
                    <a:gd name="connsiteY4" fmla="*/ 10245 h 193227"/>
                    <a:gd name="connsiteX5" fmla="*/ 10245 w 291517"/>
                    <a:gd name="connsiteY5" fmla="*/ 15179 h 193227"/>
                    <a:gd name="connsiteX6" fmla="*/ 10245 w 291517"/>
                    <a:gd name="connsiteY6" fmla="*/ 184860 h 193227"/>
                    <a:gd name="connsiteX7" fmla="*/ 5122 w 291517"/>
                    <a:gd name="connsiteY7" fmla="*/ 189983 h 193227"/>
                    <a:gd name="connsiteX8" fmla="*/ 0 w 291517"/>
                    <a:gd name="connsiteY8" fmla="*/ 184860 h 193227"/>
                    <a:gd name="connsiteX9" fmla="*/ 0 w 291517"/>
                    <a:gd name="connsiteY9" fmla="*/ 15179 h 193227"/>
                    <a:gd name="connsiteX10" fmla="*/ 15153 w 291517"/>
                    <a:gd name="connsiteY10" fmla="*/ 0 h 193227"/>
                    <a:gd name="connsiteX11" fmla="*/ 276338 w 291517"/>
                    <a:gd name="connsiteY11" fmla="*/ 0 h 193227"/>
                    <a:gd name="connsiteX12" fmla="*/ 291517 w 291517"/>
                    <a:gd name="connsiteY12" fmla="*/ 15179 h 193227"/>
                    <a:gd name="connsiteX13" fmla="*/ 291517 w 291517"/>
                    <a:gd name="connsiteY13" fmla="*/ 188105 h 193227"/>
                    <a:gd name="connsiteX14" fmla="*/ 286368 w 291517"/>
                    <a:gd name="connsiteY14" fmla="*/ 193228 h 19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517" h="193227">
                      <a:moveTo>
                        <a:pt x="286368" y="193228"/>
                      </a:moveTo>
                      <a:cubicBezTo>
                        <a:pt x="283552" y="193228"/>
                        <a:pt x="281246" y="190921"/>
                        <a:pt x="281246" y="188105"/>
                      </a:cubicBezTo>
                      <a:lnTo>
                        <a:pt x="281246" y="15179"/>
                      </a:lnTo>
                      <a:cubicBezTo>
                        <a:pt x="281246" y="11210"/>
                        <a:pt x="278537" y="10298"/>
                        <a:pt x="276258" y="10245"/>
                      </a:cubicBezTo>
                      <a:lnTo>
                        <a:pt x="15153" y="10245"/>
                      </a:lnTo>
                      <a:cubicBezTo>
                        <a:pt x="12953" y="10298"/>
                        <a:pt x="10245" y="11210"/>
                        <a:pt x="10245" y="15179"/>
                      </a:cubicBezTo>
                      <a:lnTo>
                        <a:pt x="10245" y="184860"/>
                      </a:lnTo>
                      <a:cubicBezTo>
                        <a:pt x="10245" y="187676"/>
                        <a:pt x="7938" y="189983"/>
                        <a:pt x="5122" y="189983"/>
                      </a:cubicBezTo>
                      <a:cubicBezTo>
                        <a:pt x="2306" y="189983"/>
                        <a:pt x="0" y="187676"/>
                        <a:pt x="0" y="184860"/>
                      </a:cubicBezTo>
                      <a:lnTo>
                        <a:pt x="0" y="15179"/>
                      </a:lnTo>
                      <a:cubicBezTo>
                        <a:pt x="0" y="4050"/>
                        <a:pt x="9065" y="0"/>
                        <a:pt x="15153" y="0"/>
                      </a:cubicBezTo>
                      <a:lnTo>
                        <a:pt x="276338" y="0"/>
                      </a:lnTo>
                      <a:cubicBezTo>
                        <a:pt x="282426" y="0"/>
                        <a:pt x="291517" y="4050"/>
                        <a:pt x="291517" y="15179"/>
                      </a:cubicBezTo>
                      <a:lnTo>
                        <a:pt x="291517" y="188105"/>
                      </a:lnTo>
                      <a:cubicBezTo>
                        <a:pt x="291491" y="190921"/>
                        <a:pt x="289211" y="193228"/>
                        <a:pt x="286368" y="193228"/>
                      </a:cubicBezTo>
                      <a:close/>
                    </a:path>
                  </a:pathLst>
                </a:custGeom>
                <a:grpFill/>
                <a:ln w="2680" cap="flat">
                  <a:noFill/>
                  <a:prstDash val="solid"/>
                  <a:miter/>
                </a:ln>
              </p:spPr>
              <p:txBody>
                <a:bodyPr rtlCol="0" anchor="ctr"/>
                <a:lstStyle/>
                <a:p>
                  <a:endParaRPr lang="en-GB" dirty="0"/>
                </a:p>
              </p:txBody>
            </p:sp>
            <p:sp>
              <p:nvSpPr>
                <p:cNvPr id="689" name="Freihandform: Form 939">
                  <a:extLst>
                    <a:ext uri="{FF2B5EF4-FFF2-40B4-BE49-F238E27FC236}">
                      <a16:creationId xmlns:a16="http://schemas.microsoft.com/office/drawing/2014/main" id="{E205215C-1C03-4801-8E8B-511D7C608D98}"/>
                    </a:ext>
                  </a:extLst>
                </p:cNvPr>
                <p:cNvSpPr/>
                <p:nvPr/>
              </p:nvSpPr>
              <p:spPr>
                <a:xfrm>
                  <a:off x="8125500" y="3583840"/>
                  <a:ext cx="248259" cy="150344"/>
                </a:xfrm>
                <a:custGeom>
                  <a:avLst/>
                  <a:gdLst>
                    <a:gd name="connsiteX0" fmla="*/ 243110 w 248259"/>
                    <a:gd name="connsiteY0" fmla="*/ 150345 h 150344"/>
                    <a:gd name="connsiteX1" fmla="*/ 237988 w 248259"/>
                    <a:gd name="connsiteY1" fmla="*/ 145222 h 150344"/>
                    <a:gd name="connsiteX2" fmla="*/ 237988 w 248259"/>
                    <a:gd name="connsiteY2" fmla="*/ 10245 h 150344"/>
                    <a:gd name="connsiteX3" fmla="*/ 10245 w 248259"/>
                    <a:gd name="connsiteY3" fmla="*/ 10245 h 150344"/>
                    <a:gd name="connsiteX4" fmla="*/ 10245 w 248259"/>
                    <a:gd name="connsiteY4" fmla="*/ 142165 h 150344"/>
                    <a:gd name="connsiteX5" fmla="*/ 5122 w 248259"/>
                    <a:gd name="connsiteY5" fmla="*/ 147287 h 150344"/>
                    <a:gd name="connsiteX6" fmla="*/ 0 w 248259"/>
                    <a:gd name="connsiteY6" fmla="*/ 142165 h 150344"/>
                    <a:gd name="connsiteX7" fmla="*/ 0 w 248259"/>
                    <a:gd name="connsiteY7" fmla="*/ 5122 h 150344"/>
                    <a:gd name="connsiteX8" fmla="*/ 5122 w 248259"/>
                    <a:gd name="connsiteY8" fmla="*/ 0 h 150344"/>
                    <a:gd name="connsiteX9" fmla="*/ 243137 w 248259"/>
                    <a:gd name="connsiteY9" fmla="*/ 0 h 150344"/>
                    <a:gd name="connsiteX10" fmla="*/ 248259 w 248259"/>
                    <a:gd name="connsiteY10" fmla="*/ 5122 h 150344"/>
                    <a:gd name="connsiteX11" fmla="*/ 248259 w 248259"/>
                    <a:gd name="connsiteY11" fmla="*/ 145222 h 150344"/>
                    <a:gd name="connsiteX12" fmla="*/ 243110 w 248259"/>
                    <a:gd name="connsiteY12" fmla="*/ 150345 h 150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8259" h="150344">
                      <a:moveTo>
                        <a:pt x="243110" y="150345"/>
                      </a:moveTo>
                      <a:cubicBezTo>
                        <a:pt x="240268" y="150345"/>
                        <a:pt x="237988" y="148038"/>
                        <a:pt x="237988" y="145222"/>
                      </a:cubicBezTo>
                      <a:lnTo>
                        <a:pt x="237988" y="10245"/>
                      </a:lnTo>
                      <a:lnTo>
                        <a:pt x="10245" y="10245"/>
                      </a:lnTo>
                      <a:lnTo>
                        <a:pt x="10245" y="142165"/>
                      </a:lnTo>
                      <a:cubicBezTo>
                        <a:pt x="10245" y="145008"/>
                        <a:pt x="7939" y="147287"/>
                        <a:pt x="5122" y="147287"/>
                      </a:cubicBezTo>
                      <a:cubicBezTo>
                        <a:pt x="2280" y="147287"/>
                        <a:pt x="0" y="144981"/>
                        <a:pt x="0" y="142165"/>
                      </a:cubicBezTo>
                      <a:lnTo>
                        <a:pt x="0" y="5122"/>
                      </a:lnTo>
                      <a:cubicBezTo>
                        <a:pt x="0" y="2280"/>
                        <a:pt x="2306" y="0"/>
                        <a:pt x="5122" y="0"/>
                      </a:cubicBezTo>
                      <a:lnTo>
                        <a:pt x="243137" y="0"/>
                      </a:lnTo>
                      <a:cubicBezTo>
                        <a:pt x="245980" y="0"/>
                        <a:pt x="248259" y="2306"/>
                        <a:pt x="248259" y="5122"/>
                      </a:cubicBezTo>
                      <a:lnTo>
                        <a:pt x="248259" y="145222"/>
                      </a:lnTo>
                      <a:cubicBezTo>
                        <a:pt x="248233" y="148065"/>
                        <a:pt x="245926" y="150345"/>
                        <a:pt x="243110" y="150345"/>
                      </a:cubicBezTo>
                      <a:close/>
                    </a:path>
                  </a:pathLst>
                </a:custGeom>
                <a:grpFill/>
                <a:ln w="2680" cap="flat">
                  <a:noFill/>
                  <a:prstDash val="solid"/>
                  <a:miter/>
                </a:ln>
              </p:spPr>
              <p:txBody>
                <a:bodyPr rtlCol="0" anchor="ctr"/>
                <a:lstStyle/>
                <a:p>
                  <a:endParaRPr lang="en-GB" dirty="0"/>
                </a:p>
              </p:txBody>
            </p:sp>
          </p:grpSp>
        </p:grpSp>
        <p:grpSp>
          <p:nvGrpSpPr>
            <p:cNvPr id="673" name="Group 672">
              <a:extLst>
                <a:ext uri="{FF2B5EF4-FFF2-40B4-BE49-F238E27FC236}">
                  <a16:creationId xmlns:a16="http://schemas.microsoft.com/office/drawing/2014/main" id="{EB2A7EF3-6CB9-4A8B-AB1B-0660B51976FE}"/>
                </a:ext>
              </a:extLst>
            </p:cNvPr>
            <p:cNvGrpSpPr/>
            <p:nvPr/>
          </p:nvGrpSpPr>
          <p:grpSpPr>
            <a:xfrm>
              <a:off x="5028192" y="4140865"/>
              <a:ext cx="349145" cy="150367"/>
              <a:chOff x="7793808" y="3340811"/>
              <a:chExt cx="468091" cy="201594"/>
            </a:xfrm>
            <a:solidFill>
              <a:schemeClr val="accent1"/>
            </a:solidFill>
          </p:grpSpPr>
          <p:grpSp>
            <p:nvGrpSpPr>
              <p:cNvPr id="674" name="Grafik 77">
                <a:extLst>
                  <a:ext uri="{FF2B5EF4-FFF2-40B4-BE49-F238E27FC236}">
                    <a16:creationId xmlns:a16="http://schemas.microsoft.com/office/drawing/2014/main" id="{C8685F3F-55D9-4921-8696-4990E2C312D3}"/>
                  </a:ext>
                </a:extLst>
              </p:cNvPr>
              <p:cNvGrpSpPr/>
              <p:nvPr/>
            </p:nvGrpSpPr>
            <p:grpSpPr>
              <a:xfrm>
                <a:off x="8165406" y="3340811"/>
                <a:ext cx="96493" cy="201594"/>
                <a:chOff x="8165406" y="3340811"/>
                <a:chExt cx="96493" cy="201594"/>
              </a:xfrm>
              <a:grpFill/>
            </p:grpSpPr>
            <p:sp>
              <p:nvSpPr>
                <p:cNvPr id="680" name="Freihandform: Form 941">
                  <a:extLst>
                    <a:ext uri="{FF2B5EF4-FFF2-40B4-BE49-F238E27FC236}">
                      <a16:creationId xmlns:a16="http://schemas.microsoft.com/office/drawing/2014/main" id="{C68A4509-7427-45A7-B51E-B291AB84BACE}"/>
                    </a:ext>
                  </a:extLst>
                </p:cNvPr>
                <p:cNvSpPr/>
                <p:nvPr/>
              </p:nvSpPr>
              <p:spPr>
                <a:xfrm>
                  <a:off x="8165406" y="3340811"/>
                  <a:ext cx="37572" cy="10244"/>
                </a:xfrm>
                <a:custGeom>
                  <a:avLst/>
                  <a:gdLst>
                    <a:gd name="connsiteX0" fmla="*/ 32451 w 37572"/>
                    <a:gd name="connsiteY0" fmla="*/ 10245 h 10244"/>
                    <a:gd name="connsiteX1" fmla="*/ 5122 w 37572"/>
                    <a:gd name="connsiteY1" fmla="*/ 10245 h 10244"/>
                    <a:gd name="connsiteX2" fmla="*/ 0 w 37572"/>
                    <a:gd name="connsiteY2" fmla="*/ 5122 h 10244"/>
                    <a:gd name="connsiteX3" fmla="*/ 5122 w 37572"/>
                    <a:gd name="connsiteY3" fmla="*/ 0 h 10244"/>
                    <a:gd name="connsiteX4" fmla="*/ 32451 w 37572"/>
                    <a:gd name="connsiteY4" fmla="*/ 0 h 10244"/>
                    <a:gd name="connsiteX5" fmla="*/ 37573 w 37572"/>
                    <a:gd name="connsiteY5" fmla="*/ 5122 h 10244"/>
                    <a:gd name="connsiteX6" fmla="*/ 32451 w 37572"/>
                    <a:gd name="connsiteY6" fmla="*/ 10245 h 1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72" h="10244">
                      <a:moveTo>
                        <a:pt x="32451" y="10245"/>
                      </a:moveTo>
                      <a:lnTo>
                        <a:pt x="5122" y="10245"/>
                      </a:lnTo>
                      <a:cubicBezTo>
                        <a:pt x="2280" y="10245"/>
                        <a:pt x="0" y="7938"/>
                        <a:pt x="0" y="5122"/>
                      </a:cubicBezTo>
                      <a:cubicBezTo>
                        <a:pt x="0" y="2306"/>
                        <a:pt x="2306" y="0"/>
                        <a:pt x="5122" y="0"/>
                      </a:cubicBezTo>
                      <a:lnTo>
                        <a:pt x="32451" y="0"/>
                      </a:lnTo>
                      <a:cubicBezTo>
                        <a:pt x="35293" y="0"/>
                        <a:pt x="37573" y="2306"/>
                        <a:pt x="37573" y="5122"/>
                      </a:cubicBezTo>
                      <a:cubicBezTo>
                        <a:pt x="37573" y="7938"/>
                        <a:pt x="35266" y="10245"/>
                        <a:pt x="32451" y="10245"/>
                      </a:cubicBezTo>
                      <a:close/>
                    </a:path>
                  </a:pathLst>
                </a:custGeom>
                <a:grpFill/>
                <a:ln w="2680" cap="flat">
                  <a:noFill/>
                  <a:prstDash val="solid"/>
                  <a:miter/>
                </a:ln>
              </p:spPr>
              <p:txBody>
                <a:bodyPr rtlCol="0" anchor="ctr"/>
                <a:lstStyle/>
                <a:p>
                  <a:endParaRPr lang="en-GB" dirty="0"/>
                </a:p>
              </p:txBody>
            </p:sp>
            <p:sp>
              <p:nvSpPr>
                <p:cNvPr id="681" name="Freihandform: Form 942">
                  <a:extLst>
                    <a:ext uri="{FF2B5EF4-FFF2-40B4-BE49-F238E27FC236}">
                      <a16:creationId xmlns:a16="http://schemas.microsoft.com/office/drawing/2014/main" id="{0861D29F-EB02-483E-8449-6589C05D0A49}"/>
                    </a:ext>
                  </a:extLst>
                </p:cNvPr>
                <p:cNvSpPr/>
                <p:nvPr/>
              </p:nvSpPr>
              <p:spPr>
                <a:xfrm>
                  <a:off x="8224326" y="3340811"/>
                  <a:ext cx="37572" cy="37572"/>
                </a:xfrm>
                <a:custGeom>
                  <a:avLst/>
                  <a:gdLst>
                    <a:gd name="connsiteX0" fmla="*/ 32450 w 37572"/>
                    <a:gd name="connsiteY0" fmla="*/ 37573 h 37572"/>
                    <a:gd name="connsiteX1" fmla="*/ 27328 w 37572"/>
                    <a:gd name="connsiteY1" fmla="*/ 32450 h 37572"/>
                    <a:gd name="connsiteX2" fmla="*/ 27328 w 37572"/>
                    <a:gd name="connsiteY2" fmla="*/ 10245 h 37572"/>
                    <a:gd name="connsiteX3" fmla="*/ 5122 w 37572"/>
                    <a:gd name="connsiteY3" fmla="*/ 10245 h 37572"/>
                    <a:gd name="connsiteX4" fmla="*/ 0 w 37572"/>
                    <a:gd name="connsiteY4" fmla="*/ 5122 h 37572"/>
                    <a:gd name="connsiteX5" fmla="*/ 5122 w 37572"/>
                    <a:gd name="connsiteY5" fmla="*/ 0 h 37572"/>
                    <a:gd name="connsiteX6" fmla="*/ 32450 w 37572"/>
                    <a:gd name="connsiteY6" fmla="*/ 0 h 37572"/>
                    <a:gd name="connsiteX7" fmla="*/ 37572 w 37572"/>
                    <a:gd name="connsiteY7" fmla="*/ 5122 h 37572"/>
                    <a:gd name="connsiteX8" fmla="*/ 37572 w 37572"/>
                    <a:gd name="connsiteY8" fmla="*/ 32450 h 37572"/>
                    <a:gd name="connsiteX9" fmla="*/ 32450 w 37572"/>
                    <a:gd name="connsiteY9" fmla="*/ 37573 h 3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72" h="37572">
                      <a:moveTo>
                        <a:pt x="32450" y="37573"/>
                      </a:moveTo>
                      <a:cubicBezTo>
                        <a:pt x="29607" y="37573"/>
                        <a:pt x="27328" y="35266"/>
                        <a:pt x="27328" y="32450"/>
                      </a:cubicBezTo>
                      <a:lnTo>
                        <a:pt x="27328" y="10245"/>
                      </a:lnTo>
                      <a:lnTo>
                        <a:pt x="5122" y="10245"/>
                      </a:lnTo>
                      <a:cubicBezTo>
                        <a:pt x="2280" y="10245"/>
                        <a:pt x="0" y="7938"/>
                        <a:pt x="0" y="5122"/>
                      </a:cubicBezTo>
                      <a:cubicBezTo>
                        <a:pt x="0" y="2306"/>
                        <a:pt x="2306" y="0"/>
                        <a:pt x="5122" y="0"/>
                      </a:cubicBezTo>
                      <a:lnTo>
                        <a:pt x="32450" y="0"/>
                      </a:lnTo>
                      <a:cubicBezTo>
                        <a:pt x="35293" y="0"/>
                        <a:pt x="37572" y="2306"/>
                        <a:pt x="37572" y="5122"/>
                      </a:cubicBezTo>
                      <a:lnTo>
                        <a:pt x="37572" y="32450"/>
                      </a:lnTo>
                      <a:cubicBezTo>
                        <a:pt x="37599" y="35293"/>
                        <a:pt x="35293" y="37573"/>
                        <a:pt x="32450" y="37573"/>
                      </a:cubicBezTo>
                      <a:close/>
                    </a:path>
                  </a:pathLst>
                </a:custGeom>
                <a:grpFill/>
                <a:ln w="2680" cap="flat">
                  <a:noFill/>
                  <a:prstDash val="solid"/>
                  <a:miter/>
                </a:ln>
              </p:spPr>
              <p:txBody>
                <a:bodyPr rtlCol="0" anchor="ctr"/>
                <a:lstStyle/>
                <a:p>
                  <a:endParaRPr lang="en-GB" dirty="0"/>
                </a:p>
              </p:txBody>
            </p:sp>
            <p:sp>
              <p:nvSpPr>
                <p:cNvPr id="682" name="Freihandform: Form 943">
                  <a:extLst>
                    <a:ext uri="{FF2B5EF4-FFF2-40B4-BE49-F238E27FC236}">
                      <a16:creationId xmlns:a16="http://schemas.microsoft.com/office/drawing/2014/main" id="{156A477D-F489-4815-AD62-B751A17E29C2}"/>
                    </a:ext>
                  </a:extLst>
                </p:cNvPr>
                <p:cNvSpPr/>
                <p:nvPr/>
              </p:nvSpPr>
              <p:spPr>
                <a:xfrm>
                  <a:off x="8251654" y="3413703"/>
                  <a:ext cx="10244" cy="55809"/>
                </a:xfrm>
                <a:custGeom>
                  <a:avLst/>
                  <a:gdLst>
                    <a:gd name="connsiteX0" fmla="*/ 5122 w 10244"/>
                    <a:gd name="connsiteY0" fmla="*/ 55809 h 55809"/>
                    <a:gd name="connsiteX1" fmla="*/ 0 w 10244"/>
                    <a:gd name="connsiteY1" fmla="*/ 50687 h 55809"/>
                    <a:gd name="connsiteX2" fmla="*/ 0 w 10244"/>
                    <a:gd name="connsiteY2" fmla="*/ 5122 h 55809"/>
                    <a:gd name="connsiteX3" fmla="*/ 5122 w 10244"/>
                    <a:gd name="connsiteY3" fmla="*/ 0 h 55809"/>
                    <a:gd name="connsiteX4" fmla="*/ 10245 w 10244"/>
                    <a:gd name="connsiteY4" fmla="*/ 5122 h 55809"/>
                    <a:gd name="connsiteX5" fmla="*/ 10245 w 10244"/>
                    <a:gd name="connsiteY5" fmla="*/ 50687 h 55809"/>
                    <a:gd name="connsiteX6" fmla="*/ 5122 w 10244"/>
                    <a:gd name="connsiteY6" fmla="*/ 55809 h 5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4" h="55809">
                      <a:moveTo>
                        <a:pt x="5122" y="55809"/>
                      </a:moveTo>
                      <a:cubicBezTo>
                        <a:pt x="2280" y="55809"/>
                        <a:pt x="0" y="53503"/>
                        <a:pt x="0" y="50687"/>
                      </a:cubicBezTo>
                      <a:lnTo>
                        <a:pt x="0" y="5122"/>
                      </a:lnTo>
                      <a:cubicBezTo>
                        <a:pt x="0" y="2280"/>
                        <a:pt x="2306" y="0"/>
                        <a:pt x="5122" y="0"/>
                      </a:cubicBezTo>
                      <a:cubicBezTo>
                        <a:pt x="7965" y="0"/>
                        <a:pt x="10245" y="2306"/>
                        <a:pt x="10245" y="5122"/>
                      </a:cubicBezTo>
                      <a:lnTo>
                        <a:pt x="10245" y="50687"/>
                      </a:lnTo>
                      <a:cubicBezTo>
                        <a:pt x="10271" y="53503"/>
                        <a:pt x="7965" y="55809"/>
                        <a:pt x="5122" y="55809"/>
                      </a:cubicBezTo>
                      <a:close/>
                    </a:path>
                  </a:pathLst>
                </a:custGeom>
                <a:grpFill/>
                <a:ln w="2680" cap="flat">
                  <a:noFill/>
                  <a:prstDash val="solid"/>
                  <a:miter/>
                </a:ln>
              </p:spPr>
              <p:txBody>
                <a:bodyPr rtlCol="0" anchor="ctr"/>
                <a:lstStyle/>
                <a:p>
                  <a:endParaRPr lang="en-GB" dirty="0"/>
                </a:p>
              </p:txBody>
            </p:sp>
            <p:sp>
              <p:nvSpPr>
                <p:cNvPr id="683" name="Freihandform: Form 944">
                  <a:extLst>
                    <a:ext uri="{FF2B5EF4-FFF2-40B4-BE49-F238E27FC236}">
                      <a16:creationId xmlns:a16="http://schemas.microsoft.com/office/drawing/2014/main" id="{A83C2695-305F-4C64-80A6-25A3F2016E2D}"/>
                    </a:ext>
                  </a:extLst>
                </p:cNvPr>
                <p:cNvSpPr/>
                <p:nvPr/>
              </p:nvSpPr>
              <p:spPr>
                <a:xfrm>
                  <a:off x="8251654" y="3504833"/>
                  <a:ext cx="10244" cy="37572"/>
                </a:xfrm>
                <a:custGeom>
                  <a:avLst/>
                  <a:gdLst>
                    <a:gd name="connsiteX0" fmla="*/ 5122 w 10244"/>
                    <a:gd name="connsiteY0" fmla="*/ 37573 h 37572"/>
                    <a:gd name="connsiteX1" fmla="*/ 0 w 10244"/>
                    <a:gd name="connsiteY1" fmla="*/ 32451 h 37572"/>
                    <a:gd name="connsiteX2" fmla="*/ 0 w 10244"/>
                    <a:gd name="connsiteY2" fmla="*/ 5122 h 37572"/>
                    <a:gd name="connsiteX3" fmla="*/ 5122 w 10244"/>
                    <a:gd name="connsiteY3" fmla="*/ 0 h 37572"/>
                    <a:gd name="connsiteX4" fmla="*/ 10245 w 10244"/>
                    <a:gd name="connsiteY4" fmla="*/ 5122 h 37572"/>
                    <a:gd name="connsiteX5" fmla="*/ 10245 w 10244"/>
                    <a:gd name="connsiteY5" fmla="*/ 32451 h 37572"/>
                    <a:gd name="connsiteX6" fmla="*/ 5122 w 10244"/>
                    <a:gd name="connsiteY6" fmla="*/ 37573 h 3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4" h="37572">
                      <a:moveTo>
                        <a:pt x="5122" y="37573"/>
                      </a:moveTo>
                      <a:cubicBezTo>
                        <a:pt x="2280" y="37573"/>
                        <a:pt x="0" y="35266"/>
                        <a:pt x="0" y="32451"/>
                      </a:cubicBezTo>
                      <a:lnTo>
                        <a:pt x="0" y="5122"/>
                      </a:lnTo>
                      <a:cubicBezTo>
                        <a:pt x="0" y="2280"/>
                        <a:pt x="2306" y="0"/>
                        <a:pt x="5122" y="0"/>
                      </a:cubicBezTo>
                      <a:cubicBezTo>
                        <a:pt x="7965" y="0"/>
                        <a:pt x="10245" y="2307"/>
                        <a:pt x="10245" y="5122"/>
                      </a:cubicBezTo>
                      <a:lnTo>
                        <a:pt x="10245" y="32451"/>
                      </a:lnTo>
                      <a:cubicBezTo>
                        <a:pt x="10271" y="35266"/>
                        <a:pt x="7965" y="37573"/>
                        <a:pt x="5122" y="37573"/>
                      </a:cubicBezTo>
                      <a:close/>
                    </a:path>
                  </a:pathLst>
                </a:custGeom>
                <a:grpFill/>
                <a:ln w="2680" cap="flat">
                  <a:noFill/>
                  <a:prstDash val="solid"/>
                  <a:miter/>
                </a:ln>
              </p:spPr>
              <p:txBody>
                <a:bodyPr rtlCol="0" anchor="ctr"/>
                <a:lstStyle/>
                <a:p>
                  <a:endParaRPr lang="en-GB" dirty="0"/>
                </a:p>
              </p:txBody>
            </p:sp>
          </p:grpSp>
          <p:grpSp>
            <p:nvGrpSpPr>
              <p:cNvPr id="675" name="Grafik 77">
                <a:extLst>
                  <a:ext uri="{FF2B5EF4-FFF2-40B4-BE49-F238E27FC236}">
                    <a16:creationId xmlns:a16="http://schemas.microsoft.com/office/drawing/2014/main" id="{CFEE7C7E-098B-48DD-98AF-3BB713144EED}"/>
                  </a:ext>
                </a:extLst>
              </p:cNvPr>
              <p:cNvGrpSpPr/>
              <p:nvPr/>
            </p:nvGrpSpPr>
            <p:grpSpPr>
              <a:xfrm>
                <a:off x="7793808" y="3340811"/>
                <a:ext cx="180247" cy="126422"/>
                <a:chOff x="7793808" y="3340811"/>
                <a:chExt cx="180247" cy="126422"/>
              </a:xfrm>
              <a:grpFill/>
            </p:grpSpPr>
            <p:sp>
              <p:nvSpPr>
                <p:cNvPr id="676" name="Freihandform: Form 946">
                  <a:extLst>
                    <a:ext uri="{FF2B5EF4-FFF2-40B4-BE49-F238E27FC236}">
                      <a16:creationId xmlns:a16="http://schemas.microsoft.com/office/drawing/2014/main" id="{8431FDE6-8E77-4F15-919F-8DF3AB20AAF7}"/>
                    </a:ext>
                  </a:extLst>
                </p:cNvPr>
                <p:cNvSpPr/>
                <p:nvPr/>
              </p:nvSpPr>
              <p:spPr>
                <a:xfrm>
                  <a:off x="7793808" y="3429661"/>
                  <a:ext cx="10244" cy="37572"/>
                </a:xfrm>
                <a:custGeom>
                  <a:avLst/>
                  <a:gdLst>
                    <a:gd name="connsiteX0" fmla="*/ 5122 w 10244"/>
                    <a:gd name="connsiteY0" fmla="*/ 37573 h 37572"/>
                    <a:gd name="connsiteX1" fmla="*/ 0 w 10244"/>
                    <a:gd name="connsiteY1" fmla="*/ 32450 h 37572"/>
                    <a:gd name="connsiteX2" fmla="*/ 0 w 10244"/>
                    <a:gd name="connsiteY2" fmla="*/ 5122 h 37572"/>
                    <a:gd name="connsiteX3" fmla="*/ 5122 w 10244"/>
                    <a:gd name="connsiteY3" fmla="*/ 0 h 37572"/>
                    <a:gd name="connsiteX4" fmla="*/ 10245 w 10244"/>
                    <a:gd name="connsiteY4" fmla="*/ 5122 h 37572"/>
                    <a:gd name="connsiteX5" fmla="*/ 10245 w 10244"/>
                    <a:gd name="connsiteY5" fmla="*/ 32450 h 37572"/>
                    <a:gd name="connsiteX6" fmla="*/ 5122 w 10244"/>
                    <a:gd name="connsiteY6" fmla="*/ 37573 h 3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4" h="37572">
                      <a:moveTo>
                        <a:pt x="5122" y="37573"/>
                      </a:moveTo>
                      <a:cubicBezTo>
                        <a:pt x="2280" y="37573"/>
                        <a:pt x="0" y="35266"/>
                        <a:pt x="0" y="32450"/>
                      </a:cubicBezTo>
                      <a:lnTo>
                        <a:pt x="0" y="5122"/>
                      </a:lnTo>
                      <a:cubicBezTo>
                        <a:pt x="0" y="2280"/>
                        <a:pt x="2306" y="0"/>
                        <a:pt x="5122" y="0"/>
                      </a:cubicBezTo>
                      <a:cubicBezTo>
                        <a:pt x="7965" y="0"/>
                        <a:pt x="10245" y="2306"/>
                        <a:pt x="10245" y="5122"/>
                      </a:cubicBezTo>
                      <a:lnTo>
                        <a:pt x="10245" y="32450"/>
                      </a:lnTo>
                      <a:cubicBezTo>
                        <a:pt x="10245" y="35266"/>
                        <a:pt x="7965" y="37573"/>
                        <a:pt x="5122" y="37573"/>
                      </a:cubicBezTo>
                      <a:close/>
                    </a:path>
                  </a:pathLst>
                </a:custGeom>
                <a:grpFill/>
                <a:ln w="2680" cap="flat">
                  <a:noFill/>
                  <a:prstDash val="solid"/>
                  <a:miter/>
                </a:ln>
              </p:spPr>
              <p:txBody>
                <a:bodyPr rtlCol="0" anchor="ctr"/>
                <a:lstStyle/>
                <a:p>
                  <a:endParaRPr lang="en-GB" dirty="0"/>
                </a:p>
              </p:txBody>
            </p:sp>
            <p:sp>
              <p:nvSpPr>
                <p:cNvPr id="677" name="Freihandform: Form 947">
                  <a:extLst>
                    <a:ext uri="{FF2B5EF4-FFF2-40B4-BE49-F238E27FC236}">
                      <a16:creationId xmlns:a16="http://schemas.microsoft.com/office/drawing/2014/main" id="{70599914-4B60-4CBA-8217-B40152F50BA6}"/>
                    </a:ext>
                  </a:extLst>
                </p:cNvPr>
                <p:cNvSpPr/>
                <p:nvPr/>
              </p:nvSpPr>
              <p:spPr>
                <a:xfrm>
                  <a:off x="7793808" y="3340811"/>
                  <a:ext cx="37572" cy="37572"/>
                </a:xfrm>
                <a:custGeom>
                  <a:avLst/>
                  <a:gdLst>
                    <a:gd name="connsiteX0" fmla="*/ 5122 w 37572"/>
                    <a:gd name="connsiteY0" fmla="*/ 37573 h 37572"/>
                    <a:gd name="connsiteX1" fmla="*/ 0 w 37572"/>
                    <a:gd name="connsiteY1" fmla="*/ 32450 h 37572"/>
                    <a:gd name="connsiteX2" fmla="*/ 0 w 37572"/>
                    <a:gd name="connsiteY2" fmla="*/ 5122 h 37572"/>
                    <a:gd name="connsiteX3" fmla="*/ 5122 w 37572"/>
                    <a:gd name="connsiteY3" fmla="*/ 0 h 37572"/>
                    <a:gd name="connsiteX4" fmla="*/ 32450 w 37572"/>
                    <a:gd name="connsiteY4" fmla="*/ 0 h 37572"/>
                    <a:gd name="connsiteX5" fmla="*/ 37573 w 37572"/>
                    <a:gd name="connsiteY5" fmla="*/ 5122 h 37572"/>
                    <a:gd name="connsiteX6" fmla="*/ 32450 w 37572"/>
                    <a:gd name="connsiteY6" fmla="*/ 10245 h 37572"/>
                    <a:gd name="connsiteX7" fmla="*/ 10245 w 37572"/>
                    <a:gd name="connsiteY7" fmla="*/ 10245 h 37572"/>
                    <a:gd name="connsiteX8" fmla="*/ 10245 w 37572"/>
                    <a:gd name="connsiteY8" fmla="*/ 32450 h 37572"/>
                    <a:gd name="connsiteX9" fmla="*/ 5122 w 37572"/>
                    <a:gd name="connsiteY9" fmla="*/ 37573 h 3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72" h="37572">
                      <a:moveTo>
                        <a:pt x="5122" y="37573"/>
                      </a:moveTo>
                      <a:cubicBezTo>
                        <a:pt x="2280" y="37573"/>
                        <a:pt x="0" y="35266"/>
                        <a:pt x="0" y="32450"/>
                      </a:cubicBezTo>
                      <a:lnTo>
                        <a:pt x="0" y="5122"/>
                      </a:lnTo>
                      <a:cubicBezTo>
                        <a:pt x="0" y="2280"/>
                        <a:pt x="2306" y="0"/>
                        <a:pt x="5122" y="0"/>
                      </a:cubicBezTo>
                      <a:lnTo>
                        <a:pt x="32450" y="0"/>
                      </a:lnTo>
                      <a:cubicBezTo>
                        <a:pt x="35293" y="0"/>
                        <a:pt x="37573" y="2306"/>
                        <a:pt x="37573" y="5122"/>
                      </a:cubicBezTo>
                      <a:cubicBezTo>
                        <a:pt x="37573" y="7938"/>
                        <a:pt x="35266" y="10245"/>
                        <a:pt x="32450" y="10245"/>
                      </a:cubicBezTo>
                      <a:lnTo>
                        <a:pt x="10245" y="10245"/>
                      </a:lnTo>
                      <a:lnTo>
                        <a:pt x="10245" y="32450"/>
                      </a:lnTo>
                      <a:cubicBezTo>
                        <a:pt x="10245" y="35293"/>
                        <a:pt x="7965" y="37573"/>
                        <a:pt x="5122" y="37573"/>
                      </a:cubicBezTo>
                      <a:close/>
                    </a:path>
                  </a:pathLst>
                </a:custGeom>
                <a:grpFill/>
                <a:ln w="2680" cap="flat">
                  <a:noFill/>
                  <a:prstDash val="solid"/>
                  <a:miter/>
                </a:ln>
              </p:spPr>
              <p:txBody>
                <a:bodyPr rtlCol="0" anchor="ctr"/>
                <a:lstStyle/>
                <a:p>
                  <a:endParaRPr lang="en-GB" dirty="0"/>
                </a:p>
              </p:txBody>
            </p:sp>
            <p:sp>
              <p:nvSpPr>
                <p:cNvPr id="678" name="Freihandform: Form 948">
                  <a:extLst>
                    <a:ext uri="{FF2B5EF4-FFF2-40B4-BE49-F238E27FC236}">
                      <a16:creationId xmlns:a16="http://schemas.microsoft.com/office/drawing/2014/main" id="{B7F84F88-EFBD-4B90-AEA6-838BDEAFFB42}"/>
                    </a:ext>
                  </a:extLst>
                </p:cNvPr>
                <p:cNvSpPr/>
                <p:nvPr/>
              </p:nvSpPr>
              <p:spPr>
                <a:xfrm>
                  <a:off x="7859594" y="3340811"/>
                  <a:ext cx="48675" cy="10244"/>
                </a:xfrm>
                <a:custGeom>
                  <a:avLst/>
                  <a:gdLst>
                    <a:gd name="connsiteX0" fmla="*/ 43553 w 48675"/>
                    <a:gd name="connsiteY0" fmla="*/ 10245 h 10244"/>
                    <a:gd name="connsiteX1" fmla="*/ 5122 w 48675"/>
                    <a:gd name="connsiteY1" fmla="*/ 10245 h 10244"/>
                    <a:gd name="connsiteX2" fmla="*/ 0 w 48675"/>
                    <a:gd name="connsiteY2" fmla="*/ 5122 h 10244"/>
                    <a:gd name="connsiteX3" fmla="*/ 5122 w 48675"/>
                    <a:gd name="connsiteY3" fmla="*/ 0 h 10244"/>
                    <a:gd name="connsiteX4" fmla="*/ 43553 w 48675"/>
                    <a:gd name="connsiteY4" fmla="*/ 0 h 10244"/>
                    <a:gd name="connsiteX5" fmla="*/ 48676 w 48675"/>
                    <a:gd name="connsiteY5" fmla="*/ 5122 h 10244"/>
                    <a:gd name="connsiteX6" fmla="*/ 43553 w 48675"/>
                    <a:gd name="connsiteY6" fmla="*/ 10245 h 1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675" h="10244">
                      <a:moveTo>
                        <a:pt x="43553" y="10245"/>
                      </a:moveTo>
                      <a:lnTo>
                        <a:pt x="5122" y="10245"/>
                      </a:lnTo>
                      <a:cubicBezTo>
                        <a:pt x="2280" y="10245"/>
                        <a:pt x="0" y="7938"/>
                        <a:pt x="0" y="5122"/>
                      </a:cubicBezTo>
                      <a:cubicBezTo>
                        <a:pt x="0" y="2306"/>
                        <a:pt x="2306" y="0"/>
                        <a:pt x="5122" y="0"/>
                      </a:cubicBezTo>
                      <a:lnTo>
                        <a:pt x="43553" y="0"/>
                      </a:lnTo>
                      <a:cubicBezTo>
                        <a:pt x="46396" y="0"/>
                        <a:pt x="48676" y="2306"/>
                        <a:pt x="48676" y="5122"/>
                      </a:cubicBezTo>
                      <a:cubicBezTo>
                        <a:pt x="48676" y="7938"/>
                        <a:pt x="46369" y="10245"/>
                        <a:pt x="43553" y="10245"/>
                      </a:cubicBezTo>
                      <a:close/>
                    </a:path>
                  </a:pathLst>
                </a:custGeom>
                <a:grpFill/>
                <a:ln w="2680" cap="flat">
                  <a:noFill/>
                  <a:prstDash val="solid"/>
                  <a:miter/>
                </a:ln>
              </p:spPr>
              <p:txBody>
                <a:bodyPr rtlCol="0" anchor="ctr"/>
                <a:lstStyle/>
                <a:p>
                  <a:endParaRPr lang="en-GB" dirty="0"/>
                </a:p>
              </p:txBody>
            </p:sp>
            <p:sp>
              <p:nvSpPr>
                <p:cNvPr id="679" name="Freihandform: Form 949">
                  <a:extLst>
                    <a:ext uri="{FF2B5EF4-FFF2-40B4-BE49-F238E27FC236}">
                      <a16:creationId xmlns:a16="http://schemas.microsoft.com/office/drawing/2014/main" id="{49A3E4EF-81C6-4175-807D-B480D8566C07}"/>
                    </a:ext>
                  </a:extLst>
                </p:cNvPr>
                <p:cNvSpPr/>
                <p:nvPr/>
              </p:nvSpPr>
              <p:spPr>
                <a:xfrm>
                  <a:off x="7936483" y="3340811"/>
                  <a:ext cx="37572" cy="10244"/>
                </a:xfrm>
                <a:custGeom>
                  <a:avLst/>
                  <a:gdLst>
                    <a:gd name="connsiteX0" fmla="*/ 32450 w 37572"/>
                    <a:gd name="connsiteY0" fmla="*/ 10245 h 10244"/>
                    <a:gd name="connsiteX1" fmla="*/ 5122 w 37572"/>
                    <a:gd name="connsiteY1" fmla="*/ 10245 h 10244"/>
                    <a:gd name="connsiteX2" fmla="*/ 0 w 37572"/>
                    <a:gd name="connsiteY2" fmla="*/ 5122 h 10244"/>
                    <a:gd name="connsiteX3" fmla="*/ 5122 w 37572"/>
                    <a:gd name="connsiteY3" fmla="*/ 0 h 10244"/>
                    <a:gd name="connsiteX4" fmla="*/ 32450 w 37572"/>
                    <a:gd name="connsiteY4" fmla="*/ 0 h 10244"/>
                    <a:gd name="connsiteX5" fmla="*/ 37573 w 37572"/>
                    <a:gd name="connsiteY5" fmla="*/ 5122 h 10244"/>
                    <a:gd name="connsiteX6" fmla="*/ 32450 w 37572"/>
                    <a:gd name="connsiteY6" fmla="*/ 10245 h 1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72" h="10244">
                      <a:moveTo>
                        <a:pt x="32450" y="10245"/>
                      </a:moveTo>
                      <a:lnTo>
                        <a:pt x="5122" y="10245"/>
                      </a:lnTo>
                      <a:cubicBezTo>
                        <a:pt x="2280" y="10245"/>
                        <a:pt x="0" y="7938"/>
                        <a:pt x="0" y="5122"/>
                      </a:cubicBezTo>
                      <a:cubicBezTo>
                        <a:pt x="0" y="2306"/>
                        <a:pt x="2306" y="0"/>
                        <a:pt x="5122" y="0"/>
                      </a:cubicBezTo>
                      <a:lnTo>
                        <a:pt x="32450" y="0"/>
                      </a:lnTo>
                      <a:cubicBezTo>
                        <a:pt x="35293" y="0"/>
                        <a:pt x="37573" y="2306"/>
                        <a:pt x="37573" y="5122"/>
                      </a:cubicBezTo>
                      <a:cubicBezTo>
                        <a:pt x="37573" y="7938"/>
                        <a:pt x="35266" y="10245"/>
                        <a:pt x="32450" y="10245"/>
                      </a:cubicBezTo>
                      <a:close/>
                    </a:path>
                  </a:pathLst>
                </a:custGeom>
                <a:grpFill/>
                <a:ln w="2680" cap="flat">
                  <a:noFill/>
                  <a:prstDash val="solid"/>
                  <a:miter/>
                </a:ln>
              </p:spPr>
              <p:txBody>
                <a:bodyPr rtlCol="0" anchor="ctr"/>
                <a:lstStyle/>
                <a:p>
                  <a:endParaRPr lang="en-GB" dirty="0"/>
                </a:p>
              </p:txBody>
            </p:sp>
          </p:grpSp>
        </p:grpSp>
      </p:grpSp>
      <p:grpSp>
        <p:nvGrpSpPr>
          <p:cNvPr id="752" name="Group 751">
            <a:extLst>
              <a:ext uri="{FF2B5EF4-FFF2-40B4-BE49-F238E27FC236}">
                <a16:creationId xmlns:a16="http://schemas.microsoft.com/office/drawing/2014/main" id="{C7D106B6-F582-40E8-917E-0DA8F51CC094}"/>
              </a:ext>
            </a:extLst>
          </p:cNvPr>
          <p:cNvGrpSpPr/>
          <p:nvPr/>
        </p:nvGrpSpPr>
        <p:grpSpPr>
          <a:xfrm>
            <a:off x="6006838" y="4040086"/>
            <a:ext cx="499127" cy="432000"/>
            <a:chOff x="6006426" y="4040086"/>
            <a:chExt cx="499127" cy="432000"/>
          </a:xfrm>
        </p:grpSpPr>
        <p:grpSp>
          <p:nvGrpSpPr>
            <p:cNvPr id="700" name="Grafik 72">
              <a:extLst>
                <a:ext uri="{FF2B5EF4-FFF2-40B4-BE49-F238E27FC236}">
                  <a16:creationId xmlns:a16="http://schemas.microsoft.com/office/drawing/2014/main" id="{3E413CE9-D833-44EB-8147-2E398B8BBB42}"/>
                </a:ext>
              </a:extLst>
            </p:cNvPr>
            <p:cNvGrpSpPr/>
            <p:nvPr/>
          </p:nvGrpSpPr>
          <p:grpSpPr>
            <a:xfrm>
              <a:off x="6133166" y="4244411"/>
              <a:ext cx="261890" cy="227675"/>
              <a:chOff x="6304164" y="1913965"/>
              <a:chExt cx="211159" cy="183571"/>
            </a:xfrm>
            <a:solidFill>
              <a:schemeClr val="accent1"/>
            </a:solidFill>
          </p:grpSpPr>
          <p:sp>
            <p:nvSpPr>
              <p:cNvPr id="702" name="Freihandform: Form 899">
                <a:extLst>
                  <a:ext uri="{FF2B5EF4-FFF2-40B4-BE49-F238E27FC236}">
                    <a16:creationId xmlns:a16="http://schemas.microsoft.com/office/drawing/2014/main" id="{66CD31D0-468E-4E82-9888-E4C90BDED013}"/>
                  </a:ext>
                </a:extLst>
              </p:cNvPr>
              <p:cNvSpPr/>
              <p:nvPr/>
            </p:nvSpPr>
            <p:spPr>
              <a:xfrm>
                <a:off x="6304275" y="2006545"/>
                <a:ext cx="210583" cy="90991"/>
              </a:xfrm>
              <a:custGeom>
                <a:avLst/>
                <a:gdLst>
                  <a:gd name="connsiteX0" fmla="*/ 148003 w 210583"/>
                  <a:gd name="connsiteY0" fmla="*/ 90981 h 90991"/>
                  <a:gd name="connsiteX1" fmla="*/ 105088 w 210583"/>
                  <a:gd name="connsiteY1" fmla="*/ 90981 h 90991"/>
                  <a:gd name="connsiteX2" fmla="*/ 13484 w 210583"/>
                  <a:gd name="connsiteY2" fmla="*/ 90927 h 90991"/>
                  <a:gd name="connsiteX3" fmla="*/ 3627 w 210583"/>
                  <a:gd name="connsiteY3" fmla="*/ 87005 h 90991"/>
                  <a:gd name="connsiteX4" fmla="*/ 5 w 210583"/>
                  <a:gd name="connsiteY4" fmla="*/ 77475 h 90991"/>
                  <a:gd name="connsiteX5" fmla="*/ 5 w 210583"/>
                  <a:gd name="connsiteY5" fmla="*/ 4933 h 90991"/>
                  <a:gd name="connsiteX6" fmla="*/ 4907 w 210583"/>
                  <a:gd name="connsiteY6" fmla="*/ 31 h 90991"/>
                  <a:gd name="connsiteX7" fmla="*/ 61165 w 210583"/>
                  <a:gd name="connsiteY7" fmla="*/ 31 h 90991"/>
                  <a:gd name="connsiteX8" fmla="*/ 73147 w 210583"/>
                  <a:gd name="connsiteY8" fmla="*/ 6131 h 90991"/>
                  <a:gd name="connsiteX9" fmla="*/ 73936 w 210583"/>
                  <a:gd name="connsiteY9" fmla="*/ 7547 h 90991"/>
                  <a:gd name="connsiteX10" fmla="*/ 74072 w 210583"/>
                  <a:gd name="connsiteY10" fmla="*/ 7819 h 90991"/>
                  <a:gd name="connsiteX11" fmla="*/ 74181 w 210583"/>
                  <a:gd name="connsiteY11" fmla="*/ 8091 h 90991"/>
                  <a:gd name="connsiteX12" fmla="*/ 74181 w 210583"/>
                  <a:gd name="connsiteY12" fmla="*/ 8119 h 90991"/>
                  <a:gd name="connsiteX13" fmla="*/ 74181 w 210583"/>
                  <a:gd name="connsiteY13" fmla="*/ 8119 h 90991"/>
                  <a:gd name="connsiteX14" fmla="*/ 86762 w 210583"/>
                  <a:gd name="connsiteY14" fmla="*/ 39706 h 90991"/>
                  <a:gd name="connsiteX15" fmla="*/ 89757 w 210583"/>
                  <a:gd name="connsiteY15" fmla="*/ 41122 h 90991"/>
                  <a:gd name="connsiteX16" fmla="*/ 121045 w 210583"/>
                  <a:gd name="connsiteY16" fmla="*/ 41122 h 90991"/>
                  <a:gd name="connsiteX17" fmla="*/ 123659 w 210583"/>
                  <a:gd name="connsiteY17" fmla="*/ 39978 h 90991"/>
                  <a:gd name="connsiteX18" fmla="*/ 136349 w 210583"/>
                  <a:gd name="connsiteY18" fmla="*/ 8200 h 90991"/>
                  <a:gd name="connsiteX19" fmla="*/ 136512 w 210583"/>
                  <a:gd name="connsiteY19" fmla="*/ 7819 h 90991"/>
                  <a:gd name="connsiteX20" fmla="*/ 136594 w 210583"/>
                  <a:gd name="connsiteY20" fmla="*/ 7656 h 90991"/>
                  <a:gd name="connsiteX21" fmla="*/ 137574 w 210583"/>
                  <a:gd name="connsiteY21" fmla="*/ 5940 h 90991"/>
                  <a:gd name="connsiteX22" fmla="*/ 149447 w 210583"/>
                  <a:gd name="connsiteY22" fmla="*/ 31 h 90991"/>
                  <a:gd name="connsiteX23" fmla="*/ 205678 w 210583"/>
                  <a:gd name="connsiteY23" fmla="*/ 31 h 90991"/>
                  <a:gd name="connsiteX24" fmla="*/ 210579 w 210583"/>
                  <a:gd name="connsiteY24" fmla="*/ 4933 h 90991"/>
                  <a:gd name="connsiteX25" fmla="*/ 210579 w 210583"/>
                  <a:gd name="connsiteY25" fmla="*/ 77611 h 90991"/>
                  <a:gd name="connsiteX26" fmla="*/ 206958 w 210583"/>
                  <a:gd name="connsiteY26" fmla="*/ 86978 h 90991"/>
                  <a:gd name="connsiteX27" fmla="*/ 197100 w 210583"/>
                  <a:gd name="connsiteY27" fmla="*/ 90899 h 90991"/>
                  <a:gd name="connsiteX28" fmla="*/ 148003 w 210583"/>
                  <a:gd name="connsiteY28" fmla="*/ 90981 h 90991"/>
                  <a:gd name="connsiteX29" fmla="*/ 105088 w 210583"/>
                  <a:gd name="connsiteY29" fmla="*/ 81178 h 90991"/>
                  <a:gd name="connsiteX30" fmla="*/ 197018 w 210583"/>
                  <a:gd name="connsiteY30" fmla="*/ 81124 h 90991"/>
                  <a:gd name="connsiteX31" fmla="*/ 199905 w 210583"/>
                  <a:gd name="connsiteY31" fmla="*/ 80225 h 90991"/>
                  <a:gd name="connsiteX32" fmla="*/ 200831 w 210583"/>
                  <a:gd name="connsiteY32" fmla="*/ 77774 h 90991"/>
                  <a:gd name="connsiteX33" fmla="*/ 200831 w 210583"/>
                  <a:gd name="connsiteY33" fmla="*/ 9834 h 90991"/>
                  <a:gd name="connsiteX34" fmla="*/ 149474 w 210583"/>
                  <a:gd name="connsiteY34" fmla="*/ 9834 h 90991"/>
                  <a:gd name="connsiteX35" fmla="*/ 145770 w 210583"/>
                  <a:gd name="connsiteY35" fmla="*/ 11359 h 90991"/>
                  <a:gd name="connsiteX36" fmla="*/ 145362 w 210583"/>
                  <a:gd name="connsiteY36" fmla="*/ 12067 h 90991"/>
                  <a:gd name="connsiteX37" fmla="*/ 144409 w 210583"/>
                  <a:gd name="connsiteY37" fmla="*/ 14490 h 90991"/>
                  <a:gd name="connsiteX38" fmla="*/ 132918 w 210583"/>
                  <a:gd name="connsiteY38" fmla="*/ 43300 h 90991"/>
                  <a:gd name="connsiteX39" fmla="*/ 131502 w 210583"/>
                  <a:gd name="connsiteY39" fmla="*/ 45833 h 90991"/>
                  <a:gd name="connsiteX40" fmla="*/ 121290 w 210583"/>
                  <a:gd name="connsiteY40" fmla="*/ 50898 h 90991"/>
                  <a:gd name="connsiteX41" fmla="*/ 89512 w 210583"/>
                  <a:gd name="connsiteY41" fmla="*/ 50898 h 90991"/>
                  <a:gd name="connsiteX42" fmla="*/ 79137 w 210583"/>
                  <a:gd name="connsiteY42" fmla="*/ 45942 h 90991"/>
                  <a:gd name="connsiteX43" fmla="*/ 77667 w 210583"/>
                  <a:gd name="connsiteY43" fmla="*/ 43355 h 90991"/>
                  <a:gd name="connsiteX44" fmla="*/ 65141 w 210583"/>
                  <a:gd name="connsiteY44" fmla="*/ 11958 h 90991"/>
                  <a:gd name="connsiteX45" fmla="*/ 64923 w 210583"/>
                  <a:gd name="connsiteY45" fmla="*/ 11413 h 90991"/>
                  <a:gd name="connsiteX46" fmla="*/ 61111 w 210583"/>
                  <a:gd name="connsiteY46" fmla="*/ 9807 h 90991"/>
                  <a:gd name="connsiteX47" fmla="*/ 9781 w 210583"/>
                  <a:gd name="connsiteY47" fmla="*/ 9807 h 90991"/>
                  <a:gd name="connsiteX48" fmla="*/ 9781 w 210583"/>
                  <a:gd name="connsiteY48" fmla="*/ 77584 h 90991"/>
                  <a:gd name="connsiteX49" fmla="*/ 13593 w 210583"/>
                  <a:gd name="connsiteY49" fmla="*/ 81096 h 90991"/>
                  <a:gd name="connsiteX50" fmla="*/ 105088 w 210583"/>
                  <a:gd name="connsiteY50" fmla="*/ 81178 h 9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10583" h="90991">
                    <a:moveTo>
                      <a:pt x="148003" y="90981"/>
                    </a:moveTo>
                    <a:cubicBezTo>
                      <a:pt x="135886" y="90981"/>
                      <a:pt x="121590" y="90981"/>
                      <a:pt x="105088" y="90981"/>
                    </a:cubicBezTo>
                    <a:cubicBezTo>
                      <a:pt x="48557" y="91008"/>
                      <a:pt x="17732" y="90981"/>
                      <a:pt x="13484" y="90927"/>
                    </a:cubicBezTo>
                    <a:cubicBezTo>
                      <a:pt x="8392" y="90872"/>
                      <a:pt x="5315" y="88748"/>
                      <a:pt x="3627" y="87005"/>
                    </a:cubicBezTo>
                    <a:cubicBezTo>
                      <a:pt x="-76" y="83166"/>
                      <a:pt x="-22" y="78047"/>
                      <a:pt x="5" y="77475"/>
                    </a:cubicBezTo>
                    <a:lnTo>
                      <a:pt x="5" y="4933"/>
                    </a:lnTo>
                    <a:cubicBezTo>
                      <a:pt x="5" y="2237"/>
                      <a:pt x="2211" y="31"/>
                      <a:pt x="4907" y="31"/>
                    </a:cubicBezTo>
                    <a:lnTo>
                      <a:pt x="61165" y="31"/>
                    </a:lnTo>
                    <a:cubicBezTo>
                      <a:pt x="61764" y="-132"/>
                      <a:pt x="69361" y="140"/>
                      <a:pt x="73147" y="6131"/>
                    </a:cubicBezTo>
                    <a:cubicBezTo>
                      <a:pt x="73392" y="6457"/>
                      <a:pt x="73691" y="6975"/>
                      <a:pt x="73936" y="7547"/>
                    </a:cubicBezTo>
                    <a:cubicBezTo>
                      <a:pt x="73991" y="7656"/>
                      <a:pt x="74045" y="7737"/>
                      <a:pt x="74072" y="7819"/>
                    </a:cubicBezTo>
                    <a:cubicBezTo>
                      <a:pt x="74127" y="7901"/>
                      <a:pt x="74154" y="8010"/>
                      <a:pt x="74181" y="8091"/>
                    </a:cubicBezTo>
                    <a:cubicBezTo>
                      <a:pt x="74181" y="8091"/>
                      <a:pt x="74181" y="8091"/>
                      <a:pt x="74181" y="8119"/>
                    </a:cubicBezTo>
                    <a:lnTo>
                      <a:pt x="74181" y="8119"/>
                    </a:lnTo>
                    <a:lnTo>
                      <a:pt x="86762" y="39706"/>
                    </a:lnTo>
                    <a:cubicBezTo>
                      <a:pt x="87470" y="40714"/>
                      <a:pt x="89213" y="41095"/>
                      <a:pt x="89757" y="41122"/>
                    </a:cubicBezTo>
                    <a:lnTo>
                      <a:pt x="121045" y="41122"/>
                    </a:lnTo>
                    <a:cubicBezTo>
                      <a:pt x="121644" y="41068"/>
                      <a:pt x="123142" y="40632"/>
                      <a:pt x="123659" y="39978"/>
                    </a:cubicBezTo>
                    <a:lnTo>
                      <a:pt x="136349" y="8200"/>
                    </a:lnTo>
                    <a:cubicBezTo>
                      <a:pt x="136403" y="8091"/>
                      <a:pt x="136458" y="7955"/>
                      <a:pt x="136512" y="7819"/>
                    </a:cubicBezTo>
                    <a:cubicBezTo>
                      <a:pt x="136539" y="7765"/>
                      <a:pt x="136566" y="7710"/>
                      <a:pt x="136594" y="7656"/>
                    </a:cubicBezTo>
                    <a:cubicBezTo>
                      <a:pt x="136866" y="7057"/>
                      <a:pt x="137193" y="6485"/>
                      <a:pt x="137574" y="5940"/>
                    </a:cubicBezTo>
                    <a:cubicBezTo>
                      <a:pt x="141223" y="167"/>
                      <a:pt x="148466" y="-105"/>
                      <a:pt x="149447" y="31"/>
                    </a:cubicBezTo>
                    <a:lnTo>
                      <a:pt x="205678" y="31"/>
                    </a:lnTo>
                    <a:cubicBezTo>
                      <a:pt x="208374" y="31"/>
                      <a:pt x="210579" y="2237"/>
                      <a:pt x="210579" y="4933"/>
                    </a:cubicBezTo>
                    <a:lnTo>
                      <a:pt x="210579" y="77611"/>
                    </a:lnTo>
                    <a:cubicBezTo>
                      <a:pt x="210606" y="78047"/>
                      <a:pt x="210634" y="83139"/>
                      <a:pt x="206958" y="86978"/>
                    </a:cubicBezTo>
                    <a:cubicBezTo>
                      <a:pt x="205269" y="88721"/>
                      <a:pt x="202219" y="90818"/>
                      <a:pt x="197100" y="90899"/>
                    </a:cubicBezTo>
                    <a:cubicBezTo>
                      <a:pt x="194105" y="90954"/>
                      <a:pt x="177630" y="90981"/>
                      <a:pt x="148003" y="90981"/>
                    </a:cubicBezTo>
                    <a:close/>
                    <a:moveTo>
                      <a:pt x="105088" y="81178"/>
                    </a:moveTo>
                    <a:cubicBezTo>
                      <a:pt x="161074" y="81205"/>
                      <a:pt x="192852" y="81178"/>
                      <a:pt x="197018" y="81124"/>
                    </a:cubicBezTo>
                    <a:cubicBezTo>
                      <a:pt x="198380" y="81096"/>
                      <a:pt x="199360" y="80797"/>
                      <a:pt x="199905" y="80225"/>
                    </a:cubicBezTo>
                    <a:cubicBezTo>
                      <a:pt x="200749" y="79354"/>
                      <a:pt x="200831" y="77774"/>
                      <a:pt x="200831" y="77774"/>
                    </a:cubicBezTo>
                    <a:lnTo>
                      <a:pt x="200831" y="9834"/>
                    </a:lnTo>
                    <a:lnTo>
                      <a:pt x="149474" y="9834"/>
                    </a:lnTo>
                    <a:cubicBezTo>
                      <a:pt x="148902" y="9834"/>
                      <a:pt x="146560" y="10134"/>
                      <a:pt x="145770" y="11359"/>
                    </a:cubicBezTo>
                    <a:cubicBezTo>
                      <a:pt x="145716" y="11495"/>
                      <a:pt x="145525" y="11822"/>
                      <a:pt x="145362" y="12067"/>
                    </a:cubicBezTo>
                    <a:lnTo>
                      <a:pt x="144409" y="14490"/>
                    </a:lnTo>
                    <a:lnTo>
                      <a:pt x="132918" y="43300"/>
                    </a:lnTo>
                    <a:cubicBezTo>
                      <a:pt x="132564" y="44172"/>
                      <a:pt x="132101" y="44989"/>
                      <a:pt x="131502" y="45833"/>
                    </a:cubicBezTo>
                    <a:cubicBezTo>
                      <a:pt x="127934" y="50462"/>
                      <a:pt x="121944" y="50871"/>
                      <a:pt x="121290" y="50898"/>
                    </a:cubicBezTo>
                    <a:lnTo>
                      <a:pt x="89512" y="50898"/>
                    </a:lnTo>
                    <a:cubicBezTo>
                      <a:pt x="88586" y="50871"/>
                      <a:pt x="82623" y="50435"/>
                      <a:pt x="79137" y="45942"/>
                    </a:cubicBezTo>
                    <a:cubicBezTo>
                      <a:pt x="78484" y="45070"/>
                      <a:pt x="78021" y="44254"/>
                      <a:pt x="77667" y="43355"/>
                    </a:cubicBezTo>
                    <a:lnTo>
                      <a:pt x="65141" y="11958"/>
                    </a:lnTo>
                    <a:cubicBezTo>
                      <a:pt x="64977" y="11713"/>
                      <a:pt x="65032" y="11740"/>
                      <a:pt x="64923" y="11413"/>
                    </a:cubicBezTo>
                    <a:cubicBezTo>
                      <a:pt x="64052" y="10134"/>
                      <a:pt x="61682" y="9834"/>
                      <a:pt x="61111" y="9807"/>
                    </a:cubicBezTo>
                    <a:lnTo>
                      <a:pt x="9781" y="9807"/>
                    </a:lnTo>
                    <a:lnTo>
                      <a:pt x="9781" y="77584"/>
                    </a:lnTo>
                    <a:cubicBezTo>
                      <a:pt x="9808" y="81042"/>
                      <a:pt x="12559" y="81069"/>
                      <a:pt x="13593" y="81096"/>
                    </a:cubicBezTo>
                    <a:cubicBezTo>
                      <a:pt x="17732" y="81178"/>
                      <a:pt x="49374" y="81178"/>
                      <a:pt x="105088" y="81178"/>
                    </a:cubicBezTo>
                    <a:close/>
                  </a:path>
                </a:pathLst>
              </a:custGeom>
              <a:solidFill>
                <a:schemeClr val="accent1"/>
              </a:solidFill>
              <a:ln w="2718" cap="flat">
                <a:noFill/>
                <a:prstDash val="solid"/>
                <a:miter/>
              </a:ln>
            </p:spPr>
            <p:txBody>
              <a:bodyPr rtlCol="0" anchor="ctr"/>
              <a:lstStyle/>
              <a:p>
                <a:endParaRPr lang="en-GB" dirty="0"/>
              </a:p>
            </p:txBody>
          </p:sp>
          <p:sp>
            <p:nvSpPr>
              <p:cNvPr id="703" name="Freihandform: Form 900">
                <a:extLst>
                  <a:ext uri="{FF2B5EF4-FFF2-40B4-BE49-F238E27FC236}">
                    <a16:creationId xmlns:a16="http://schemas.microsoft.com/office/drawing/2014/main" id="{F465BBB3-C959-4F9E-B5BD-B1065C148596}"/>
                  </a:ext>
                </a:extLst>
              </p:cNvPr>
              <p:cNvSpPr/>
              <p:nvPr/>
            </p:nvSpPr>
            <p:spPr>
              <a:xfrm>
                <a:off x="6340551" y="1913965"/>
                <a:ext cx="138086" cy="9802"/>
              </a:xfrm>
              <a:custGeom>
                <a:avLst/>
                <a:gdLst>
                  <a:gd name="connsiteX0" fmla="*/ 133185 w 138086"/>
                  <a:gd name="connsiteY0" fmla="*/ 9803 h 9802"/>
                  <a:gd name="connsiteX1" fmla="*/ 4901 w 138086"/>
                  <a:gd name="connsiteY1" fmla="*/ 9803 h 9802"/>
                  <a:gd name="connsiteX2" fmla="*/ 0 w 138086"/>
                  <a:gd name="connsiteY2" fmla="*/ 4901 h 9802"/>
                  <a:gd name="connsiteX3" fmla="*/ 4901 w 138086"/>
                  <a:gd name="connsiteY3" fmla="*/ 0 h 9802"/>
                  <a:gd name="connsiteX4" fmla="*/ 133185 w 138086"/>
                  <a:gd name="connsiteY4" fmla="*/ 0 h 9802"/>
                  <a:gd name="connsiteX5" fmla="*/ 138086 w 138086"/>
                  <a:gd name="connsiteY5" fmla="*/ 4901 h 9802"/>
                  <a:gd name="connsiteX6" fmla="*/ 133185 w 138086"/>
                  <a:gd name="connsiteY6" fmla="*/ 9803 h 9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086" h="9802">
                    <a:moveTo>
                      <a:pt x="133185" y="9803"/>
                    </a:moveTo>
                    <a:lnTo>
                      <a:pt x="4901" y="9803"/>
                    </a:lnTo>
                    <a:cubicBezTo>
                      <a:pt x="2206" y="9803"/>
                      <a:pt x="0" y="7597"/>
                      <a:pt x="0" y="4901"/>
                    </a:cubicBezTo>
                    <a:cubicBezTo>
                      <a:pt x="0" y="2206"/>
                      <a:pt x="2206" y="0"/>
                      <a:pt x="4901" y="0"/>
                    </a:cubicBezTo>
                    <a:lnTo>
                      <a:pt x="133185" y="0"/>
                    </a:lnTo>
                    <a:cubicBezTo>
                      <a:pt x="135880" y="0"/>
                      <a:pt x="138086" y="2206"/>
                      <a:pt x="138086" y="4901"/>
                    </a:cubicBezTo>
                    <a:cubicBezTo>
                      <a:pt x="138086" y="7597"/>
                      <a:pt x="135880" y="9803"/>
                      <a:pt x="133185" y="9803"/>
                    </a:cubicBezTo>
                    <a:close/>
                  </a:path>
                </a:pathLst>
              </a:custGeom>
              <a:solidFill>
                <a:schemeClr val="accent1"/>
              </a:solidFill>
              <a:ln w="2718" cap="flat">
                <a:noFill/>
                <a:prstDash val="solid"/>
                <a:miter/>
              </a:ln>
            </p:spPr>
            <p:txBody>
              <a:bodyPr rtlCol="0" anchor="ctr"/>
              <a:lstStyle/>
              <a:p>
                <a:endParaRPr lang="en-GB" dirty="0"/>
              </a:p>
            </p:txBody>
          </p:sp>
          <p:sp>
            <p:nvSpPr>
              <p:cNvPr id="704" name="Freihandform: Form 901">
                <a:extLst>
                  <a:ext uri="{FF2B5EF4-FFF2-40B4-BE49-F238E27FC236}">
                    <a16:creationId xmlns:a16="http://schemas.microsoft.com/office/drawing/2014/main" id="{03293C25-D7FB-4D9F-8A88-2FDE56117483}"/>
                  </a:ext>
                </a:extLst>
              </p:cNvPr>
              <p:cNvSpPr/>
              <p:nvPr/>
            </p:nvSpPr>
            <p:spPr>
              <a:xfrm>
                <a:off x="6304164" y="1914856"/>
                <a:ext cx="45108" cy="100188"/>
              </a:xfrm>
              <a:custGeom>
                <a:avLst/>
                <a:gdLst>
                  <a:gd name="connsiteX0" fmla="*/ 4881 w 45108"/>
                  <a:gd name="connsiteY0" fmla="*/ 100188 h 100188"/>
                  <a:gd name="connsiteX1" fmla="*/ 3111 w 45108"/>
                  <a:gd name="connsiteY1" fmla="*/ 99862 h 100188"/>
                  <a:gd name="connsiteX2" fmla="*/ 334 w 45108"/>
                  <a:gd name="connsiteY2" fmla="*/ 93517 h 100188"/>
                  <a:gd name="connsiteX3" fmla="*/ 35652 w 45108"/>
                  <a:gd name="connsiteY3" fmla="*/ 3111 h 100188"/>
                  <a:gd name="connsiteX4" fmla="*/ 41997 w 45108"/>
                  <a:gd name="connsiteY4" fmla="*/ 334 h 100188"/>
                  <a:gd name="connsiteX5" fmla="*/ 44774 w 45108"/>
                  <a:gd name="connsiteY5" fmla="*/ 6679 h 100188"/>
                  <a:gd name="connsiteX6" fmla="*/ 9456 w 45108"/>
                  <a:gd name="connsiteY6" fmla="*/ 97084 h 100188"/>
                  <a:gd name="connsiteX7" fmla="*/ 4881 w 45108"/>
                  <a:gd name="connsiteY7" fmla="*/ 100188 h 100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108" h="100188">
                    <a:moveTo>
                      <a:pt x="4881" y="100188"/>
                    </a:moveTo>
                    <a:cubicBezTo>
                      <a:pt x="4282" y="100188"/>
                      <a:pt x="3683" y="100080"/>
                      <a:pt x="3111" y="99862"/>
                    </a:cubicBezTo>
                    <a:cubicBezTo>
                      <a:pt x="606" y="98881"/>
                      <a:pt x="-646" y="96049"/>
                      <a:pt x="334" y="93517"/>
                    </a:cubicBezTo>
                    <a:lnTo>
                      <a:pt x="35652" y="3111"/>
                    </a:lnTo>
                    <a:cubicBezTo>
                      <a:pt x="36632" y="606"/>
                      <a:pt x="39464" y="-646"/>
                      <a:pt x="41997" y="334"/>
                    </a:cubicBezTo>
                    <a:cubicBezTo>
                      <a:pt x="44502" y="1314"/>
                      <a:pt x="45755" y="4173"/>
                      <a:pt x="44774" y="6679"/>
                    </a:cubicBezTo>
                    <a:lnTo>
                      <a:pt x="9456" y="97084"/>
                    </a:lnTo>
                    <a:cubicBezTo>
                      <a:pt x="8694" y="99018"/>
                      <a:pt x="6842" y="100188"/>
                      <a:pt x="4881" y="100188"/>
                    </a:cubicBezTo>
                    <a:close/>
                  </a:path>
                </a:pathLst>
              </a:custGeom>
              <a:solidFill>
                <a:schemeClr val="accent1"/>
              </a:solidFill>
              <a:ln w="2718" cap="flat">
                <a:noFill/>
                <a:prstDash val="solid"/>
                <a:miter/>
              </a:ln>
            </p:spPr>
            <p:txBody>
              <a:bodyPr rtlCol="0" anchor="ctr"/>
              <a:lstStyle/>
              <a:p>
                <a:endParaRPr lang="en-GB" dirty="0"/>
              </a:p>
            </p:txBody>
          </p:sp>
          <p:sp>
            <p:nvSpPr>
              <p:cNvPr id="705" name="Freihandform: Form 902">
                <a:extLst>
                  <a:ext uri="{FF2B5EF4-FFF2-40B4-BE49-F238E27FC236}">
                    <a16:creationId xmlns:a16="http://schemas.microsoft.com/office/drawing/2014/main" id="{7DE2BCA7-C4B2-4B18-8E45-9464059378F0}"/>
                  </a:ext>
                </a:extLst>
              </p:cNvPr>
              <p:cNvSpPr/>
              <p:nvPr/>
            </p:nvSpPr>
            <p:spPr>
              <a:xfrm>
                <a:off x="6469835" y="1915412"/>
                <a:ext cx="45488" cy="102110"/>
              </a:xfrm>
              <a:custGeom>
                <a:avLst/>
                <a:gdLst>
                  <a:gd name="connsiteX0" fmla="*/ 40580 w 45488"/>
                  <a:gd name="connsiteY0" fmla="*/ 102110 h 102110"/>
                  <a:gd name="connsiteX1" fmla="*/ 36006 w 45488"/>
                  <a:gd name="connsiteY1" fmla="*/ 98979 h 102110"/>
                  <a:gd name="connsiteX2" fmla="*/ 334 w 45488"/>
                  <a:gd name="connsiteY2" fmla="*/ 6640 h 102110"/>
                  <a:gd name="connsiteX3" fmla="*/ 3138 w 45488"/>
                  <a:gd name="connsiteY3" fmla="*/ 323 h 102110"/>
                  <a:gd name="connsiteX4" fmla="*/ 9483 w 45488"/>
                  <a:gd name="connsiteY4" fmla="*/ 3127 h 102110"/>
                  <a:gd name="connsiteX5" fmla="*/ 45155 w 45488"/>
                  <a:gd name="connsiteY5" fmla="*/ 95466 h 102110"/>
                  <a:gd name="connsiteX6" fmla="*/ 42350 w 45488"/>
                  <a:gd name="connsiteY6" fmla="*/ 101784 h 102110"/>
                  <a:gd name="connsiteX7" fmla="*/ 40580 w 45488"/>
                  <a:gd name="connsiteY7" fmla="*/ 102110 h 102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88" h="102110">
                    <a:moveTo>
                      <a:pt x="40580" y="102110"/>
                    </a:moveTo>
                    <a:cubicBezTo>
                      <a:pt x="38620" y="102110"/>
                      <a:pt x="36768" y="100912"/>
                      <a:pt x="36006" y="98979"/>
                    </a:cubicBezTo>
                    <a:lnTo>
                      <a:pt x="334" y="6640"/>
                    </a:lnTo>
                    <a:cubicBezTo>
                      <a:pt x="-647" y="4108"/>
                      <a:pt x="606" y="1276"/>
                      <a:pt x="3138" y="323"/>
                    </a:cubicBezTo>
                    <a:cubicBezTo>
                      <a:pt x="5644" y="-631"/>
                      <a:pt x="8503" y="595"/>
                      <a:pt x="9483" y="3127"/>
                    </a:cubicBezTo>
                    <a:lnTo>
                      <a:pt x="45155" y="95466"/>
                    </a:lnTo>
                    <a:cubicBezTo>
                      <a:pt x="46135" y="97998"/>
                      <a:pt x="44883" y="100830"/>
                      <a:pt x="42350" y="101784"/>
                    </a:cubicBezTo>
                    <a:cubicBezTo>
                      <a:pt x="41779" y="102001"/>
                      <a:pt x="41180" y="102110"/>
                      <a:pt x="40580" y="102110"/>
                    </a:cubicBezTo>
                    <a:close/>
                  </a:path>
                </a:pathLst>
              </a:custGeom>
              <a:solidFill>
                <a:schemeClr val="accent1"/>
              </a:solidFill>
              <a:ln w="2718" cap="flat">
                <a:noFill/>
                <a:prstDash val="solid"/>
                <a:miter/>
              </a:ln>
            </p:spPr>
            <p:txBody>
              <a:bodyPr rtlCol="0" anchor="ctr"/>
              <a:lstStyle/>
              <a:p>
                <a:endParaRPr lang="en-GB" dirty="0"/>
              </a:p>
            </p:txBody>
          </p:sp>
          <p:sp>
            <p:nvSpPr>
              <p:cNvPr id="706" name="Freihandform: Form 903">
                <a:extLst>
                  <a:ext uri="{FF2B5EF4-FFF2-40B4-BE49-F238E27FC236}">
                    <a16:creationId xmlns:a16="http://schemas.microsoft.com/office/drawing/2014/main" id="{4276DBD4-90B0-43AB-818B-F49D48C3EC4F}"/>
                  </a:ext>
                </a:extLst>
              </p:cNvPr>
              <p:cNvSpPr/>
              <p:nvPr/>
            </p:nvSpPr>
            <p:spPr>
              <a:xfrm>
                <a:off x="6329278" y="1940842"/>
                <a:ext cx="159407" cy="9802"/>
              </a:xfrm>
              <a:custGeom>
                <a:avLst/>
                <a:gdLst>
                  <a:gd name="connsiteX0" fmla="*/ 154506 w 159407"/>
                  <a:gd name="connsiteY0" fmla="*/ 9803 h 9802"/>
                  <a:gd name="connsiteX1" fmla="*/ 4902 w 159407"/>
                  <a:gd name="connsiteY1" fmla="*/ 9803 h 9802"/>
                  <a:gd name="connsiteX2" fmla="*/ 0 w 159407"/>
                  <a:gd name="connsiteY2" fmla="*/ 4902 h 9802"/>
                  <a:gd name="connsiteX3" fmla="*/ 4902 w 159407"/>
                  <a:gd name="connsiteY3" fmla="*/ 0 h 9802"/>
                  <a:gd name="connsiteX4" fmla="*/ 154506 w 159407"/>
                  <a:gd name="connsiteY4" fmla="*/ 0 h 9802"/>
                  <a:gd name="connsiteX5" fmla="*/ 159408 w 159407"/>
                  <a:gd name="connsiteY5" fmla="*/ 4902 h 9802"/>
                  <a:gd name="connsiteX6" fmla="*/ 154506 w 159407"/>
                  <a:gd name="connsiteY6" fmla="*/ 9803 h 9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407" h="9802">
                    <a:moveTo>
                      <a:pt x="154506" y="9803"/>
                    </a:moveTo>
                    <a:lnTo>
                      <a:pt x="4902" y="9803"/>
                    </a:lnTo>
                    <a:cubicBezTo>
                      <a:pt x="2206" y="9803"/>
                      <a:pt x="0" y="7597"/>
                      <a:pt x="0" y="4902"/>
                    </a:cubicBezTo>
                    <a:cubicBezTo>
                      <a:pt x="0" y="2206"/>
                      <a:pt x="2206" y="0"/>
                      <a:pt x="4902" y="0"/>
                    </a:cubicBezTo>
                    <a:lnTo>
                      <a:pt x="154506" y="0"/>
                    </a:lnTo>
                    <a:cubicBezTo>
                      <a:pt x="157202" y="0"/>
                      <a:pt x="159408" y="2206"/>
                      <a:pt x="159408" y="4902"/>
                    </a:cubicBezTo>
                    <a:cubicBezTo>
                      <a:pt x="159408" y="7597"/>
                      <a:pt x="157202" y="9803"/>
                      <a:pt x="154506" y="9803"/>
                    </a:cubicBezTo>
                    <a:close/>
                  </a:path>
                </a:pathLst>
              </a:custGeom>
              <a:solidFill>
                <a:schemeClr val="accent1"/>
              </a:solidFill>
              <a:ln w="2718" cap="flat">
                <a:noFill/>
                <a:prstDash val="solid"/>
                <a:miter/>
              </a:ln>
            </p:spPr>
            <p:txBody>
              <a:bodyPr rtlCol="0" anchor="ctr"/>
              <a:lstStyle/>
              <a:p>
                <a:endParaRPr lang="en-GB" dirty="0"/>
              </a:p>
            </p:txBody>
          </p:sp>
          <p:sp>
            <p:nvSpPr>
              <p:cNvPr id="707" name="Freihandform: Form 904">
                <a:extLst>
                  <a:ext uri="{FF2B5EF4-FFF2-40B4-BE49-F238E27FC236}">
                    <a16:creationId xmlns:a16="http://schemas.microsoft.com/office/drawing/2014/main" id="{20384490-ABC7-468D-9C50-DE17EA821703}"/>
                  </a:ext>
                </a:extLst>
              </p:cNvPr>
              <p:cNvSpPr/>
              <p:nvPr/>
            </p:nvSpPr>
            <p:spPr>
              <a:xfrm>
                <a:off x="6317678" y="1973083"/>
                <a:ext cx="182608" cy="9802"/>
              </a:xfrm>
              <a:custGeom>
                <a:avLst/>
                <a:gdLst>
                  <a:gd name="connsiteX0" fmla="*/ 177707 w 182608"/>
                  <a:gd name="connsiteY0" fmla="*/ 9803 h 9802"/>
                  <a:gd name="connsiteX1" fmla="*/ 4901 w 182608"/>
                  <a:gd name="connsiteY1" fmla="*/ 9803 h 9802"/>
                  <a:gd name="connsiteX2" fmla="*/ 0 w 182608"/>
                  <a:gd name="connsiteY2" fmla="*/ 4901 h 9802"/>
                  <a:gd name="connsiteX3" fmla="*/ 4901 w 182608"/>
                  <a:gd name="connsiteY3" fmla="*/ 0 h 9802"/>
                  <a:gd name="connsiteX4" fmla="*/ 177707 w 182608"/>
                  <a:gd name="connsiteY4" fmla="*/ 0 h 9802"/>
                  <a:gd name="connsiteX5" fmla="*/ 182608 w 182608"/>
                  <a:gd name="connsiteY5" fmla="*/ 4901 h 9802"/>
                  <a:gd name="connsiteX6" fmla="*/ 177707 w 182608"/>
                  <a:gd name="connsiteY6" fmla="*/ 9803 h 9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2608" h="9802">
                    <a:moveTo>
                      <a:pt x="177707" y="9803"/>
                    </a:moveTo>
                    <a:lnTo>
                      <a:pt x="4901" y="9803"/>
                    </a:lnTo>
                    <a:cubicBezTo>
                      <a:pt x="2206" y="9803"/>
                      <a:pt x="0" y="7597"/>
                      <a:pt x="0" y="4901"/>
                    </a:cubicBezTo>
                    <a:cubicBezTo>
                      <a:pt x="0" y="2206"/>
                      <a:pt x="2206" y="0"/>
                      <a:pt x="4901" y="0"/>
                    </a:cubicBezTo>
                    <a:lnTo>
                      <a:pt x="177707" y="0"/>
                    </a:lnTo>
                    <a:cubicBezTo>
                      <a:pt x="180402" y="0"/>
                      <a:pt x="182608" y="2206"/>
                      <a:pt x="182608" y="4901"/>
                    </a:cubicBezTo>
                    <a:cubicBezTo>
                      <a:pt x="182608" y="7597"/>
                      <a:pt x="180402" y="9803"/>
                      <a:pt x="177707" y="9803"/>
                    </a:cubicBezTo>
                    <a:close/>
                  </a:path>
                </a:pathLst>
              </a:custGeom>
              <a:solidFill>
                <a:schemeClr val="accent1"/>
              </a:solidFill>
              <a:ln w="2718" cap="flat">
                <a:noFill/>
                <a:prstDash val="solid"/>
                <a:miter/>
              </a:ln>
            </p:spPr>
            <p:txBody>
              <a:bodyPr rtlCol="0" anchor="ctr"/>
              <a:lstStyle/>
              <a:p>
                <a:endParaRPr lang="en-GB" dirty="0"/>
              </a:p>
            </p:txBody>
          </p:sp>
        </p:grpSp>
        <p:sp>
          <p:nvSpPr>
            <p:cNvPr id="701" name="Freihandform: Form 905">
              <a:extLst>
                <a:ext uri="{FF2B5EF4-FFF2-40B4-BE49-F238E27FC236}">
                  <a16:creationId xmlns:a16="http://schemas.microsoft.com/office/drawing/2014/main" id="{03B2BE52-9936-46B8-8A9B-864AD1D5A300}"/>
                </a:ext>
              </a:extLst>
            </p:cNvPr>
            <p:cNvSpPr/>
            <p:nvPr/>
          </p:nvSpPr>
          <p:spPr>
            <a:xfrm>
              <a:off x="6006426" y="4040086"/>
              <a:ext cx="499127" cy="330967"/>
            </a:xfrm>
            <a:custGeom>
              <a:avLst/>
              <a:gdLst>
                <a:gd name="connsiteX0" fmla="*/ 84006 w 402440"/>
                <a:gd name="connsiteY0" fmla="*/ 266832 h 266854"/>
                <a:gd name="connsiteX1" fmla="*/ 0 w 402440"/>
                <a:gd name="connsiteY1" fmla="*/ 182853 h 266854"/>
                <a:gd name="connsiteX2" fmla="*/ 46673 w 402440"/>
                <a:gd name="connsiteY2" fmla="*/ 107615 h 266854"/>
                <a:gd name="connsiteX3" fmla="*/ 130598 w 402440"/>
                <a:gd name="connsiteY3" fmla="*/ 26849 h 266854"/>
                <a:gd name="connsiteX4" fmla="*/ 180103 w 402440"/>
                <a:gd name="connsiteY4" fmla="*/ 42970 h 266854"/>
                <a:gd name="connsiteX5" fmla="*/ 257029 w 402440"/>
                <a:gd name="connsiteY5" fmla="*/ 0 h 266854"/>
                <a:gd name="connsiteX6" fmla="*/ 347380 w 402440"/>
                <a:gd name="connsiteY6" fmla="*/ 90351 h 266854"/>
                <a:gd name="connsiteX7" fmla="*/ 340491 w 402440"/>
                <a:gd name="connsiteY7" fmla="*/ 124907 h 266854"/>
                <a:gd name="connsiteX8" fmla="*/ 402440 w 402440"/>
                <a:gd name="connsiteY8" fmla="*/ 195570 h 266854"/>
                <a:gd name="connsiteX9" fmla="*/ 333030 w 402440"/>
                <a:gd name="connsiteY9" fmla="*/ 266832 h 266854"/>
                <a:gd name="connsiteX10" fmla="*/ 327665 w 402440"/>
                <a:gd name="connsiteY10" fmla="*/ 261958 h 266854"/>
                <a:gd name="connsiteX11" fmla="*/ 327665 w 402440"/>
                <a:gd name="connsiteY11" fmla="*/ 261931 h 266854"/>
                <a:gd name="connsiteX12" fmla="*/ 332458 w 402440"/>
                <a:gd name="connsiteY12" fmla="*/ 257029 h 266854"/>
                <a:gd name="connsiteX13" fmla="*/ 392637 w 402440"/>
                <a:gd name="connsiteY13" fmla="*/ 195570 h 266854"/>
                <a:gd name="connsiteX14" fmla="*/ 332948 w 402440"/>
                <a:gd name="connsiteY14" fmla="*/ 134138 h 266854"/>
                <a:gd name="connsiteX15" fmla="*/ 328864 w 402440"/>
                <a:gd name="connsiteY15" fmla="*/ 131741 h 266854"/>
                <a:gd name="connsiteX16" fmla="*/ 328727 w 402440"/>
                <a:gd name="connsiteY16" fmla="*/ 127003 h 266854"/>
                <a:gd name="connsiteX17" fmla="*/ 337577 w 402440"/>
                <a:gd name="connsiteY17" fmla="*/ 90351 h 266854"/>
                <a:gd name="connsiteX18" fmla="*/ 257029 w 402440"/>
                <a:gd name="connsiteY18" fmla="*/ 9803 h 266854"/>
                <a:gd name="connsiteX19" fmla="*/ 185849 w 402440"/>
                <a:gd name="connsiteY19" fmla="*/ 52637 h 266854"/>
                <a:gd name="connsiteX20" fmla="*/ 182445 w 402440"/>
                <a:gd name="connsiteY20" fmla="*/ 55142 h 266854"/>
                <a:gd name="connsiteX21" fmla="*/ 178360 w 402440"/>
                <a:gd name="connsiteY21" fmla="*/ 54080 h 266854"/>
                <a:gd name="connsiteX22" fmla="*/ 130598 w 402440"/>
                <a:gd name="connsiteY22" fmla="*/ 36652 h 266854"/>
                <a:gd name="connsiteX23" fmla="*/ 56422 w 402440"/>
                <a:gd name="connsiteY23" fmla="*/ 110747 h 266854"/>
                <a:gd name="connsiteX24" fmla="*/ 53535 w 402440"/>
                <a:gd name="connsiteY24" fmla="*/ 115212 h 266854"/>
                <a:gd name="connsiteX25" fmla="*/ 9803 w 402440"/>
                <a:gd name="connsiteY25" fmla="*/ 182880 h 266854"/>
                <a:gd name="connsiteX26" fmla="*/ 86620 w 402440"/>
                <a:gd name="connsiteY26" fmla="*/ 257002 h 266854"/>
                <a:gd name="connsiteX27" fmla="*/ 91713 w 402440"/>
                <a:gd name="connsiteY27" fmla="*/ 261713 h 266854"/>
                <a:gd name="connsiteX28" fmla="*/ 87002 w 402440"/>
                <a:gd name="connsiteY28" fmla="*/ 266805 h 266854"/>
                <a:gd name="connsiteX29" fmla="*/ 84006 w 402440"/>
                <a:gd name="connsiteY29" fmla="*/ 266832 h 266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2440" h="266854">
                  <a:moveTo>
                    <a:pt x="84006" y="266832"/>
                  </a:moveTo>
                  <a:cubicBezTo>
                    <a:pt x="37687" y="266832"/>
                    <a:pt x="0" y="229145"/>
                    <a:pt x="0" y="182853"/>
                  </a:cubicBezTo>
                  <a:cubicBezTo>
                    <a:pt x="0" y="150939"/>
                    <a:pt x="18217" y="121748"/>
                    <a:pt x="46673" y="107615"/>
                  </a:cubicBezTo>
                  <a:cubicBezTo>
                    <a:pt x="48362" y="62794"/>
                    <a:pt x="85368" y="26849"/>
                    <a:pt x="130598" y="26849"/>
                  </a:cubicBezTo>
                  <a:cubicBezTo>
                    <a:pt x="148407" y="26849"/>
                    <a:pt x="165780" y="32541"/>
                    <a:pt x="180103" y="42970"/>
                  </a:cubicBezTo>
                  <a:cubicBezTo>
                    <a:pt x="196496" y="16311"/>
                    <a:pt x="225469" y="0"/>
                    <a:pt x="257029" y="0"/>
                  </a:cubicBezTo>
                  <a:cubicBezTo>
                    <a:pt x="306834" y="0"/>
                    <a:pt x="347380" y="40519"/>
                    <a:pt x="347380" y="90351"/>
                  </a:cubicBezTo>
                  <a:cubicBezTo>
                    <a:pt x="347380" y="102360"/>
                    <a:pt x="345066" y="113933"/>
                    <a:pt x="340491" y="124907"/>
                  </a:cubicBezTo>
                  <a:cubicBezTo>
                    <a:pt x="375755" y="129427"/>
                    <a:pt x="402440" y="159190"/>
                    <a:pt x="402440" y="195570"/>
                  </a:cubicBezTo>
                  <a:cubicBezTo>
                    <a:pt x="402440" y="233910"/>
                    <a:pt x="371343" y="265797"/>
                    <a:pt x="333030" y="266832"/>
                  </a:cubicBezTo>
                  <a:cubicBezTo>
                    <a:pt x="330171" y="267105"/>
                    <a:pt x="327665" y="264817"/>
                    <a:pt x="327665" y="261958"/>
                  </a:cubicBezTo>
                  <a:lnTo>
                    <a:pt x="327665" y="261931"/>
                  </a:lnTo>
                  <a:cubicBezTo>
                    <a:pt x="327665" y="259262"/>
                    <a:pt x="329789" y="257084"/>
                    <a:pt x="332458" y="257029"/>
                  </a:cubicBezTo>
                  <a:cubicBezTo>
                    <a:pt x="365652" y="256321"/>
                    <a:pt x="392637" y="228764"/>
                    <a:pt x="392637" y="195570"/>
                  </a:cubicBezTo>
                  <a:cubicBezTo>
                    <a:pt x="392637" y="162076"/>
                    <a:pt x="366415" y="135091"/>
                    <a:pt x="332948" y="134138"/>
                  </a:cubicBezTo>
                  <a:cubicBezTo>
                    <a:pt x="331260" y="134083"/>
                    <a:pt x="329735" y="133185"/>
                    <a:pt x="328864" y="131741"/>
                  </a:cubicBezTo>
                  <a:cubicBezTo>
                    <a:pt x="328019" y="130298"/>
                    <a:pt x="327965" y="128501"/>
                    <a:pt x="328727" y="127003"/>
                  </a:cubicBezTo>
                  <a:cubicBezTo>
                    <a:pt x="334609" y="115539"/>
                    <a:pt x="337577" y="103204"/>
                    <a:pt x="337577" y="90351"/>
                  </a:cubicBezTo>
                  <a:cubicBezTo>
                    <a:pt x="337577" y="45938"/>
                    <a:pt x="301442" y="9803"/>
                    <a:pt x="257029" y="9803"/>
                  </a:cubicBezTo>
                  <a:cubicBezTo>
                    <a:pt x="227157" y="9803"/>
                    <a:pt x="199872" y="26223"/>
                    <a:pt x="185849" y="52637"/>
                  </a:cubicBezTo>
                  <a:cubicBezTo>
                    <a:pt x="185141" y="53944"/>
                    <a:pt x="183915" y="54870"/>
                    <a:pt x="182445" y="55142"/>
                  </a:cubicBezTo>
                  <a:cubicBezTo>
                    <a:pt x="181002" y="55441"/>
                    <a:pt x="179504" y="55033"/>
                    <a:pt x="178360" y="54080"/>
                  </a:cubicBezTo>
                  <a:cubicBezTo>
                    <a:pt x="165017" y="42834"/>
                    <a:pt x="148053" y="36652"/>
                    <a:pt x="130598" y="36652"/>
                  </a:cubicBezTo>
                  <a:cubicBezTo>
                    <a:pt x="89725" y="36652"/>
                    <a:pt x="56449" y="69901"/>
                    <a:pt x="56422" y="110747"/>
                  </a:cubicBezTo>
                  <a:cubicBezTo>
                    <a:pt x="56422" y="112680"/>
                    <a:pt x="55305" y="114423"/>
                    <a:pt x="53535" y="115212"/>
                  </a:cubicBezTo>
                  <a:cubicBezTo>
                    <a:pt x="26958" y="127221"/>
                    <a:pt x="9803" y="153771"/>
                    <a:pt x="9803" y="182880"/>
                  </a:cubicBezTo>
                  <a:cubicBezTo>
                    <a:pt x="9803" y="224679"/>
                    <a:pt x="44386" y="258690"/>
                    <a:pt x="86620" y="257002"/>
                  </a:cubicBezTo>
                  <a:cubicBezTo>
                    <a:pt x="89289" y="256893"/>
                    <a:pt x="91604" y="258990"/>
                    <a:pt x="91713" y="261713"/>
                  </a:cubicBezTo>
                  <a:cubicBezTo>
                    <a:pt x="91821" y="264409"/>
                    <a:pt x="89725" y="266696"/>
                    <a:pt x="87002" y="266805"/>
                  </a:cubicBezTo>
                  <a:cubicBezTo>
                    <a:pt x="85994" y="266805"/>
                    <a:pt x="85014" y="266832"/>
                    <a:pt x="84006" y="266832"/>
                  </a:cubicBezTo>
                  <a:close/>
                </a:path>
              </a:pathLst>
            </a:custGeom>
            <a:solidFill>
              <a:schemeClr val="tx2"/>
            </a:solidFill>
            <a:ln w="2718" cap="flat">
              <a:noFill/>
              <a:prstDash val="solid"/>
              <a:miter/>
            </a:ln>
          </p:spPr>
          <p:txBody>
            <a:bodyPr rtlCol="0" anchor="ctr"/>
            <a:lstStyle/>
            <a:p>
              <a:endParaRPr lang="en-GB" dirty="0"/>
            </a:p>
          </p:txBody>
        </p:sp>
      </p:grpSp>
      <p:grpSp>
        <p:nvGrpSpPr>
          <p:cNvPr id="82" name="Group 81">
            <a:extLst>
              <a:ext uri="{FF2B5EF4-FFF2-40B4-BE49-F238E27FC236}">
                <a16:creationId xmlns:a16="http://schemas.microsoft.com/office/drawing/2014/main" id="{811FC0BE-E3DC-F96E-CC4F-27F2E73384E8}"/>
              </a:ext>
            </a:extLst>
          </p:cNvPr>
          <p:cNvGrpSpPr/>
          <p:nvPr/>
        </p:nvGrpSpPr>
        <p:grpSpPr>
          <a:xfrm>
            <a:off x="7071015" y="4040086"/>
            <a:ext cx="457039" cy="432000"/>
            <a:chOff x="7070603" y="4040086"/>
            <a:chExt cx="457039" cy="432000"/>
          </a:xfrm>
        </p:grpSpPr>
        <p:grpSp>
          <p:nvGrpSpPr>
            <p:cNvPr id="709" name="Grafik 72">
              <a:extLst>
                <a:ext uri="{FF2B5EF4-FFF2-40B4-BE49-F238E27FC236}">
                  <a16:creationId xmlns:a16="http://schemas.microsoft.com/office/drawing/2014/main" id="{04A3A0B3-DE6C-4E9E-909B-5E6C67D39B77}"/>
                </a:ext>
              </a:extLst>
            </p:cNvPr>
            <p:cNvGrpSpPr/>
            <p:nvPr/>
          </p:nvGrpSpPr>
          <p:grpSpPr>
            <a:xfrm>
              <a:off x="7222608" y="4175504"/>
              <a:ext cx="155806" cy="148840"/>
              <a:chOff x="7139436" y="3519451"/>
              <a:chExt cx="150448" cy="143722"/>
            </a:xfrm>
            <a:solidFill>
              <a:schemeClr val="accent1"/>
            </a:solidFill>
          </p:grpSpPr>
          <p:sp>
            <p:nvSpPr>
              <p:cNvPr id="720" name="Freihandform: Form 998">
                <a:extLst>
                  <a:ext uri="{FF2B5EF4-FFF2-40B4-BE49-F238E27FC236}">
                    <a16:creationId xmlns:a16="http://schemas.microsoft.com/office/drawing/2014/main" id="{CCD28B06-207E-4458-B064-464E38F88F52}"/>
                  </a:ext>
                </a:extLst>
              </p:cNvPr>
              <p:cNvSpPr/>
              <p:nvPr/>
            </p:nvSpPr>
            <p:spPr>
              <a:xfrm>
                <a:off x="7193058" y="3552945"/>
                <a:ext cx="43269" cy="90378"/>
              </a:xfrm>
              <a:custGeom>
                <a:avLst/>
                <a:gdLst>
                  <a:gd name="connsiteX0" fmla="*/ 23963 w 43269"/>
                  <a:gd name="connsiteY0" fmla="*/ 90378 h 90378"/>
                  <a:gd name="connsiteX1" fmla="*/ 19306 w 43269"/>
                  <a:gd name="connsiteY1" fmla="*/ 90378 h 90378"/>
                  <a:gd name="connsiteX2" fmla="*/ 0 w 43269"/>
                  <a:gd name="connsiteY2" fmla="*/ 71072 h 90378"/>
                  <a:gd name="connsiteX3" fmla="*/ 0 w 43269"/>
                  <a:gd name="connsiteY3" fmla="*/ 19307 h 90378"/>
                  <a:gd name="connsiteX4" fmla="*/ 19306 w 43269"/>
                  <a:gd name="connsiteY4" fmla="*/ 0 h 90378"/>
                  <a:gd name="connsiteX5" fmla="*/ 23963 w 43269"/>
                  <a:gd name="connsiteY5" fmla="*/ 0 h 90378"/>
                  <a:gd name="connsiteX6" fmla="*/ 43269 w 43269"/>
                  <a:gd name="connsiteY6" fmla="*/ 19307 h 90378"/>
                  <a:gd name="connsiteX7" fmla="*/ 43269 w 43269"/>
                  <a:gd name="connsiteY7" fmla="*/ 71072 h 90378"/>
                  <a:gd name="connsiteX8" fmla="*/ 23963 w 43269"/>
                  <a:gd name="connsiteY8" fmla="*/ 90378 h 90378"/>
                  <a:gd name="connsiteX9" fmla="*/ 19279 w 43269"/>
                  <a:gd name="connsiteY9" fmla="*/ 9776 h 90378"/>
                  <a:gd name="connsiteX10" fmla="*/ 9776 w 43269"/>
                  <a:gd name="connsiteY10" fmla="*/ 19279 h 90378"/>
                  <a:gd name="connsiteX11" fmla="*/ 9776 w 43269"/>
                  <a:gd name="connsiteY11" fmla="*/ 71045 h 90378"/>
                  <a:gd name="connsiteX12" fmla="*/ 19279 w 43269"/>
                  <a:gd name="connsiteY12" fmla="*/ 80548 h 90378"/>
                  <a:gd name="connsiteX13" fmla="*/ 23936 w 43269"/>
                  <a:gd name="connsiteY13" fmla="*/ 80548 h 90378"/>
                  <a:gd name="connsiteX14" fmla="*/ 33439 w 43269"/>
                  <a:gd name="connsiteY14" fmla="*/ 71045 h 90378"/>
                  <a:gd name="connsiteX15" fmla="*/ 33439 w 43269"/>
                  <a:gd name="connsiteY15" fmla="*/ 19279 h 90378"/>
                  <a:gd name="connsiteX16" fmla="*/ 23936 w 43269"/>
                  <a:gd name="connsiteY16" fmla="*/ 9776 h 90378"/>
                  <a:gd name="connsiteX17" fmla="*/ 19279 w 43269"/>
                  <a:gd name="connsiteY17" fmla="*/ 9776 h 90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269" h="90378">
                    <a:moveTo>
                      <a:pt x="23963" y="90378"/>
                    </a:moveTo>
                    <a:lnTo>
                      <a:pt x="19306" y="90378"/>
                    </a:lnTo>
                    <a:cubicBezTo>
                      <a:pt x="8659" y="90378"/>
                      <a:pt x="0" y="81719"/>
                      <a:pt x="0" y="71072"/>
                    </a:cubicBezTo>
                    <a:lnTo>
                      <a:pt x="0" y="19307"/>
                    </a:lnTo>
                    <a:cubicBezTo>
                      <a:pt x="0" y="8659"/>
                      <a:pt x="8659" y="0"/>
                      <a:pt x="19306" y="0"/>
                    </a:cubicBezTo>
                    <a:lnTo>
                      <a:pt x="23963" y="0"/>
                    </a:lnTo>
                    <a:cubicBezTo>
                      <a:pt x="34610" y="0"/>
                      <a:pt x="43269" y="8659"/>
                      <a:pt x="43269" y="19307"/>
                    </a:cubicBezTo>
                    <a:lnTo>
                      <a:pt x="43269" y="71072"/>
                    </a:lnTo>
                    <a:cubicBezTo>
                      <a:pt x="43269" y="81719"/>
                      <a:pt x="34610" y="90378"/>
                      <a:pt x="23963" y="90378"/>
                    </a:cubicBezTo>
                    <a:close/>
                    <a:moveTo>
                      <a:pt x="19279" y="9776"/>
                    </a:moveTo>
                    <a:cubicBezTo>
                      <a:pt x="14051" y="9776"/>
                      <a:pt x="9776" y="14051"/>
                      <a:pt x="9776" y="19279"/>
                    </a:cubicBezTo>
                    <a:lnTo>
                      <a:pt x="9776" y="71045"/>
                    </a:lnTo>
                    <a:cubicBezTo>
                      <a:pt x="9776" y="76300"/>
                      <a:pt x="14051" y="80548"/>
                      <a:pt x="19279" y="80548"/>
                    </a:cubicBezTo>
                    <a:lnTo>
                      <a:pt x="23936" y="80548"/>
                    </a:lnTo>
                    <a:cubicBezTo>
                      <a:pt x="29191" y="80548"/>
                      <a:pt x="33439" y="76273"/>
                      <a:pt x="33439" y="71045"/>
                    </a:cubicBezTo>
                    <a:lnTo>
                      <a:pt x="33439" y="19279"/>
                    </a:lnTo>
                    <a:cubicBezTo>
                      <a:pt x="33439" y="14051"/>
                      <a:pt x="29164" y="9776"/>
                      <a:pt x="23936" y="9776"/>
                    </a:cubicBezTo>
                    <a:lnTo>
                      <a:pt x="19279" y="9776"/>
                    </a:lnTo>
                    <a:close/>
                  </a:path>
                </a:pathLst>
              </a:custGeom>
              <a:solidFill>
                <a:schemeClr val="accent1"/>
              </a:solidFill>
              <a:ln w="2718" cap="flat">
                <a:noFill/>
                <a:prstDash val="solid"/>
                <a:miter/>
              </a:ln>
            </p:spPr>
            <p:txBody>
              <a:bodyPr rtlCol="0" anchor="ctr"/>
              <a:lstStyle/>
              <a:p>
                <a:endParaRPr lang="en-GB" dirty="0"/>
              </a:p>
            </p:txBody>
          </p:sp>
          <p:sp>
            <p:nvSpPr>
              <p:cNvPr id="721" name="Freihandform: Form 999">
                <a:extLst>
                  <a:ext uri="{FF2B5EF4-FFF2-40B4-BE49-F238E27FC236}">
                    <a16:creationId xmlns:a16="http://schemas.microsoft.com/office/drawing/2014/main" id="{8EE90649-5C09-48D9-8D24-C8F028303F81}"/>
                  </a:ext>
                </a:extLst>
              </p:cNvPr>
              <p:cNvSpPr/>
              <p:nvPr/>
            </p:nvSpPr>
            <p:spPr>
              <a:xfrm>
                <a:off x="7193058" y="3519451"/>
                <a:ext cx="43269" cy="43269"/>
              </a:xfrm>
              <a:custGeom>
                <a:avLst/>
                <a:gdLst>
                  <a:gd name="connsiteX0" fmla="*/ 21621 w 43269"/>
                  <a:gd name="connsiteY0" fmla="*/ 43269 h 43269"/>
                  <a:gd name="connsiteX1" fmla="*/ 0 w 43269"/>
                  <a:gd name="connsiteY1" fmla="*/ 21648 h 43269"/>
                  <a:gd name="connsiteX2" fmla="*/ 21621 w 43269"/>
                  <a:gd name="connsiteY2" fmla="*/ 0 h 43269"/>
                  <a:gd name="connsiteX3" fmla="*/ 43269 w 43269"/>
                  <a:gd name="connsiteY3" fmla="*/ 21648 h 43269"/>
                  <a:gd name="connsiteX4" fmla="*/ 21621 w 43269"/>
                  <a:gd name="connsiteY4" fmla="*/ 43269 h 43269"/>
                  <a:gd name="connsiteX5" fmla="*/ 21621 w 43269"/>
                  <a:gd name="connsiteY5" fmla="*/ 9803 h 43269"/>
                  <a:gd name="connsiteX6" fmla="*/ 9776 w 43269"/>
                  <a:gd name="connsiteY6" fmla="*/ 21648 h 43269"/>
                  <a:gd name="connsiteX7" fmla="*/ 21621 w 43269"/>
                  <a:gd name="connsiteY7" fmla="*/ 33494 h 43269"/>
                  <a:gd name="connsiteX8" fmla="*/ 33466 w 43269"/>
                  <a:gd name="connsiteY8" fmla="*/ 21648 h 43269"/>
                  <a:gd name="connsiteX9" fmla="*/ 21621 w 43269"/>
                  <a:gd name="connsiteY9" fmla="*/ 9803 h 43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69" h="43269">
                    <a:moveTo>
                      <a:pt x="21621" y="43269"/>
                    </a:moveTo>
                    <a:cubicBezTo>
                      <a:pt x="9694" y="43269"/>
                      <a:pt x="0" y="33575"/>
                      <a:pt x="0" y="21648"/>
                    </a:cubicBezTo>
                    <a:cubicBezTo>
                      <a:pt x="0" y="9721"/>
                      <a:pt x="9694" y="0"/>
                      <a:pt x="21621" y="0"/>
                    </a:cubicBezTo>
                    <a:cubicBezTo>
                      <a:pt x="33548" y="0"/>
                      <a:pt x="43269" y="9721"/>
                      <a:pt x="43269" y="21648"/>
                    </a:cubicBezTo>
                    <a:cubicBezTo>
                      <a:pt x="43269" y="33575"/>
                      <a:pt x="33548" y="43269"/>
                      <a:pt x="21621" y="43269"/>
                    </a:cubicBezTo>
                    <a:close/>
                    <a:moveTo>
                      <a:pt x="21621" y="9803"/>
                    </a:moveTo>
                    <a:cubicBezTo>
                      <a:pt x="15086" y="9803"/>
                      <a:pt x="9776" y="15113"/>
                      <a:pt x="9776" y="21648"/>
                    </a:cubicBezTo>
                    <a:cubicBezTo>
                      <a:pt x="9776" y="28184"/>
                      <a:pt x="15086" y="33494"/>
                      <a:pt x="21621" y="33494"/>
                    </a:cubicBezTo>
                    <a:cubicBezTo>
                      <a:pt x="28156" y="33494"/>
                      <a:pt x="33466" y="28184"/>
                      <a:pt x="33466" y="21648"/>
                    </a:cubicBezTo>
                    <a:cubicBezTo>
                      <a:pt x="33466" y="15113"/>
                      <a:pt x="28156" y="9803"/>
                      <a:pt x="21621" y="9803"/>
                    </a:cubicBezTo>
                    <a:close/>
                  </a:path>
                </a:pathLst>
              </a:custGeom>
              <a:solidFill>
                <a:schemeClr val="accent1"/>
              </a:solidFill>
              <a:ln w="2718" cap="flat">
                <a:noFill/>
                <a:prstDash val="solid"/>
                <a:miter/>
              </a:ln>
            </p:spPr>
            <p:txBody>
              <a:bodyPr rtlCol="0" anchor="ctr"/>
              <a:lstStyle/>
              <a:p>
                <a:endParaRPr lang="en-GB" dirty="0"/>
              </a:p>
            </p:txBody>
          </p:sp>
          <p:grpSp>
            <p:nvGrpSpPr>
              <p:cNvPr id="722" name="Grafik 72">
                <a:extLst>
                  <a:ext uri="{FF2B5EF4-FFF2-40B4-BE49-F238E27FC236}">
                    <a16:creationId xmlns:a16="http://schemas.microsoft.com/office/drawing/2014/main" id="{9C2D00BD-A3BD-4712-8FCB-BB3CFF1CFCA0}"/>
                  </a:ext>
                </a:extLst>
              </p:cNvPr>
              <p:cNvGrpSpPr/>
              <p:nvPr/>
            </p:nvGrpSpPr>
            <p:grpSpPr>
              <a:xfrm>
                <a:off x="7139436" y="3532855"/>
                <a:ext cx="150437" cy="49962"/>
                <a:chOff x="7139436" y="3532855"/>
                <a:chExt cx="150437" cy="49962"/>
              </a:xfrm>
              <a:solidFill>
                <a:schemeClr val="accent1"/>
              </a:solidFill>
            </p:grpSpPr>
            <p:sp>
              <p:nvSpPr>
                <p:cNvPr id="728" name="Freihandform: Form 1001">
                  <a:extLst>
                    <a:ext uri="{FF2B5EF4-FFF2-40B4-BE49-F238E27FC236}">
                      <a16:creationId xmlns:a16="http://schemas.microsoft.com/office/drawing/2014/main" id="{B0C358F1-57ED-4A2B-ABB9-0695B48711E8}"/>
                    </a:ext>
                  </a:extLst>
                </p:cNvPr>
                <p:cNvSpPr/>
                <p:nvPr/>
              </p:nvSpPr>
              <p:spPr>
                <a:xfrm>
                  <a:off x="7139436" y="3532855"/>
                  <a:ext cx="63370" cy="49961"/>
                </a:xfrm>
                <a:custGeom>
                  <a:avLst/>
                  <a:gdLst>
                    <a:gd name="connsiteX0" fmla="*/ 58496 w 63370"/>
                    <a:gd name="connsiteY0" fmla="*/ 49961 h 49961"/>
                    <a:gd name="connsiteX1" fmla="*/ 25003 w 63370"/>
                    <a:gd name="connsiteY1" fmla="*/ 49961 h 49961"/>
                    <a:gd name="connsiteX2" fmla="*/ 20619 w 63370"/>
                    <a:gd name="connsiteY2" fmla="*/ 47238 h 49961"/>
                    <a:gd name="connsiteX3" fmla="*/ 523 w 63370"/>
                    <a:gd name="connsiteY3" fmla="*/ 7073 h 49961"/>
                    <a:gd name="connsiteX4" fmla="*/ 2728 w 63370"/>
                    <a:gd name="connsiteY4" fmla="*/ 511 h 49961"/>
                    <a:gd name="connsiteX5" fmla="*/ 9291 w 63370"/>
                    <a:gd name="connsiteY5" fmla="*/ 2716 h 49961"/>
                    <a:gd name="connsiteX6" fmla="*/ 28025 w 63370"/>
                    <a:gd name="connsiteY6" fmla="*/ 40186 h 49961"/>
                    <a:gd name="connsiteX7" fmla="*/ 58469 w 63370"/>
                    <a:gd name="connsiteY7" fmla="*/ 40186 h 49961"/>
                    <a:gd name="connsiteX8" fmla="*/ 63371 w 63370"/>
                    <a:gd name="connsiteY8" fmla="*/ 45087 h 49961"/>
                    <a:gd name="connsiteX9" fmla="*/ 58496 w 63370"/>
                    <a:gd name="connsiteY9" fmla="*/ 49961 h 4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370" h="49961">
                      <a:moveTo>
                        <a:pt x="58496" y="49961"/>
                      </a:moveTo>
                      <a:lnTo>
                        <a:pt x="25003" y="49961"/>
                      </a:lnTo>
                      <a:cubicBezTo>
                        <a:pt x="23151" y="49961"/>
                        <a:pt x="21463" y="48927"/>
                        <a:pt x="20619" y="47238"/>
                      </a:cubicBezTo>
                      <a:lnTo>
                        <a:pt x="523" y="7073"/>
                      </a:lnTo>
                      <a:cubicBezTo>
                        <a:pt x="-703" y="4650"/>
                        <a:pt x="305" y="1709"/>
                        <a:pt x="2728" y="511"/>
                      </a:cubicBezTo>
                      <a:cubicBezTo>
                        <a:pt x="5152" y="-687"/>
                        <a:pt x="8093" y="293"/>
                        <a:pt x="9291" y="2716"/>
                      </a:cubicBezTo>
                      <a:lnTo>
                        <a:pt x="28025" y="40186"/>
                      </a:lnTo>
                      <a:lnTo>
                        <a:pt x="58469" y="40186"/>
                      </a:lnTo>
                      <a:cubicBezTo>
                        <a:pt x="61165" y="40186"/>
                        <a:pt x="63371" y="42391"/>
                        <a:pt x="63371" y="45087"/>
                      </a:cubicBezTo>
                      <a:cubicBezTo>
                        <a:pt x="63371" y="47783"/>
                        <a:pt x="61220" y="49961"/>
                        <a:pt x="58496" y="49961"/>
                      </a:cubicBezTo>
                      <a:close/>
                    </a:path>
                  </a:pathLst>
                </a:custGeom>
                <a:solidFill>
                  <a:schemeClr val="accent1"/>
                </a:solidFill>
                <a:ln w="2718" cap="flat">
                  <a:noFill/>
                  <a:prstDash val="solid"/>
                  <a:miter/>
                </a:ln>
              </p:spPr>
              <p:txBody>
                <a:bodyPr rtlCol="0" anchor="ctr"/>
                <a:lstStyle/>
                <a:p>
                  <a:endParaRPr lang="en-GB" dirty="0"/>
                </a:p>
              </p:txBody>
            </p:sp>
            <p:sp>
              <p:nvSpPr>
                <p:cNvPr id="729" name="Freihandform: Form 1002">
                  <a:extLst>
                    <a:ext uri="{FF2B5EF4-FFF2-40B4-BE49-F238E27FC236}">
                      <a16:creationId xmlns:a16="http://schemas.microsoft.com/office/drawing/2014/main" id="{CACE80DC-6221-4AE4-B87D-3EC46EF0982B}"/>
                    </a:ext>
                  </a:extLst>
                </p:cNvPr>
                <p:cNvSpPr/>
                <p:nvPr/>
              </p:nvSpPr>
              <p:spPr>
                <a:xfrm>
                  <a:off x="7226525" y="3532855"/>
                  <a:ext cx="63349" cy="49962"/>
                </a:xfrm>
                <a:custGeom>
                  <a:avLst/>
                  <a:gdLst>
                    <a:gd name="connsiteX0" fmla="*/ 38368 w 63349"/>
                    <a:gd name="connsiteY0" fmla="*/ 49962 h 49962"/>
                    <a:gd name="connsiteX1" fmla="*/ 4901 w 63349"/>
                    <a:gd name="connsiteY1" fmla="*/ 49962 h 49962"/>
                    <a:gd name="connsiteX2" fmla="*/ 0 w 63349"/>
                    <a:gd name="connsiteY2" fmla="*/ 45060 h 49962"/>
                    <a:gd name="connsiteX3" fmla="*/ 4901 w 63349"/>
                    <a:gd name="connsiteY3" fmla="*/ 40159 h 49962"/>
                    <a:gd name="connsiteX4" fmla="*/ 35345 w 63349"/>
                    <a:gd name="connsiteY4" fmla="*/ 40159 h 49962"/>
                    <a:gd name="connsiteX5" fmla="*/ 54080 w 63349"/>
                    <a:gd name="connsiteY5" fmla="*/ 2690 h 49962"/>
                    <a:gd name="connsiteX6" fmla="*/ 60643 w 63349"/>
                    <a:gd name="connsiteY6" fmla="*/ 511 h 49962"/>
                    <a:gd name="connsiteX7" fmla="*/ 62821 w 63349"/>
                    <a:gd name="connsiteY7" fmla="*/ 7074 h 49962"/>
                    <a:gd name="connsiteX8" fmla="*/ 42725 w 63349"/>
                    <a:gd name="connsiteY8" fmla="*/ 47239 h 49962"/>
                    <a:gd name="connsiteX9" fmla="*/ 38368 w 63349"/>
                    <a:gd name="connsiteY9" fmla="*/ 49962 h 4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349" h="49962">
                      <a:moveTo>
                        <a:pt x="38368" y="49962"/>
                      </a:moveTo>
                      <a:lnTo>
                        <a:pt x="4901" y="49962"/>
                      </a:lnTo>
                      <a:cubicBezTo>
                        <a:pt x="2206" y="49962"/>
                        <a:pt x="0" y="47756"/>
                        <a:pt x="0" y="45060"/>
                      </a:cubicBezTo>
                      <a:cubicBezTo>
                        <a:pt x="0" y="42365"/>
                        <a:pt x="2206" y="40159"/>
                        <a:pt x="4901" y="40159"/>
                      </a:cubicBezTo>
                      <a:lnTo>
                        <a:pt x="35345" y="40159"/>
                      </a:lnTo>
                      <a:lnTo>
                        <a:pt x="54080" y="2690"/>
                      </a:lnTo>
                      <a:cubicBezTo>
                        <a:pt x="55278" y="294"/>
                        <a:pt x="58219" y="-687"/>
                        <a:pt x="60643" y="511"/>
                      </a:cubicBezTo>
                      <a:cubicBezTo>
                        <a:pt x="63066" y="1709"/>
                        <a:pt x="64046" y="4650"/>
                        <a:pt x="62821" y="7074"/>
                      </a:cubicBezTo>
                      <a:lnTo>
                        <a:pt x="42725" y="47239"/>
                      </a:lnTo>
                      <a:cubicBezTo>
                        <a:pt x="41908" y="48927"/>
                        <a:pt x="40220" y="49962"/>
                        <a:pt x="38368" y="49962"/>
                      </a:cubicBezTo>
                      <a:close/>
                    </a:path>
                  </a:pathLst>
                </a:custGeom>
                <a:solidFill>
                  <a:schemeClr val="accent1"/>
                </a:solidFill>
                <a:ln w="2718" cap="flat">
                  <a:noFill/>
                  <a:prstDash val="solid"/>
                  <a:miter/>
                </a:ln>
              </p:spPr>
              <p:txBody>
                <a:bodyPr rtlCol="0" anchor="ctr"/>
                <a:lstStyle/>
                <a:p>
                  <a:endParaRPr lang="en-GB" dirty="0"/>
                </a:p>
              </p:txBody>
            </p:sp>
          </p:grpSp>
          <p:grpSp>
            <p:nvGrpSpPr>
              <p:cNvPr id="723" name="Grafik 72">
                <a:extLst>
                  <a:ext uri="{FF2B5EF4-FFF2-40B4-BE49-F238E27FC236}">
                    <a16:creationId xmlns:a16="http://schemas.microsoft.com/office/drawing/2014/main" id="{C9E2F5BD-5406-4AC3-B043-DD4B6989A8BC}"/>
                  </a:ext>
                </a:extLst>
              </p:cNvPr>
              <p:cNvGrpSpPr/>
              <p:nvPr/>
            </p:nvGrpSpPr>
            <p:grpSpPr>
              <a:xfrm>
                <a:off x="7139475" y="3613206"/>
                <a:ext cx="150408" cy="49968"/>
                <a:chOff x="7139475" y="3613206"/>
                <a:chExt cx="150408" cy="49968"/>
              </a:xfrm>
              <a:solidFill>
                <a:schemeClr val="accent1"/>
              </a:solidFill>
            </p:grpSpPr>
            <p:sp>
              <p:nvSpPr>
                <p:cNvPr id="726" name="Freihandform: Form 1004">
                  <a:extLst>
                    <a:ext uri="{FF2B5EF4-FFF2-40B4-BE49-F238E27FC236}">
                      <a16:creationId xmlns:a16="http://schemas.microsoft.com/office/drawing/2014/main" id="{6465F37E-2305-4D2C-86EF-2D2496826C5B}"/>
                    </a:ext>
                  </a:extLst>
                </p:cNvPr>
                <p:cNvSpPr/>
                <p:nvPr/>
              </p:nvSpPr>
              <p:spPr>
                <a:xfrm>
                  <a:off x="7139475" y="3613206"/>
                  <a:ext cx="63385" cy="49968"/>
                </a:xfrm>
                <a:custGeom>
                  <a:avLst/>
                  <a:gdLst>
                    <a:gd name="connsiteX0" fmla="*/ 4895 w 63385"/>
                    <a:gd name="connsiteY0" fmla="*/ 49968 h 49968"/>
                    <a:gd name="connsiteX1" fmla="*/ 2716 w 63385"/>
                    <a:gd name="connsiteY1" fmla="*/ 49451 h 49968"/>
                    <a:gd name="connsiteX2" fmla="*/ 511 w 63385"/>
                    <a:gd name="connsiteY2" fmla="*/ 42888 h 49968"/>
                    <a:gd name="connsiteX3" fmla="*/ 20607 w 63385"/>
                    <a:gd name="connsiteY3" fmla="*/ 2723 h 49968"/>
                    <a:gd name="connsiteX4" fmla="*/ 24991 w 63385"/>
                    <a:gd name="connsiteY4" fmla="*/ 0 h 49968"/>
                    <a:gd name="connsiteX5" fmla="*/ 58485 w 63385"/>
                    <a:gd name="connsiteY5" fmla="*/ 0 h 49968"/>
                    <a:gd name="connsiteX6" fmla="*/ 63386 w 63385"/>
                    <a:gd name="connsiteY6" fmla="*/ 4901 h 49968"/>
                    <a:gd name="connsiteX7" fmla="*/ 58485 w 63385"/>
                    <a:gd name="connsiteY7" fmla="*/ 9803 h 49968"/>
                    <a:gd name="connsiteX8" fmla="*/ 28041 w 63385"/>
                    <a:gd name="connsiteY8" fmla="*/ 9803 h 49968"/>
                    <a:gd name="connsiteX9" fmla="*/ 9306 w 63385"/>
                    <a:gd name="connsiteY9" fmla="*/ 47272 h 49968"/>
                    <a:gd name="connsiteX10" fmla="*/ 4895 w 63385"/>
                    <a:gd name="connsiteY10" fmla="*/ 49968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385" h="49968">
                      <a:moveTo>
                        <a:pt x="4895" y="49968"/>
                      </a:moveTo>
                      <a:cubicBezTo>
                        <a:pt x="4160" y="49968"/>
                        <a:pt x="3424" y="49805"/>
                        <a:pt x="2716" y="49451"/>
                      </a:cubicBezTo>
                      <a:cubicBezTo>
                        <a:pt x="293" y="48253"/>
                        <a:pt x="-687" y="45312"/>
                        <a:pt x="511" y="42888"/>
                      </a:cubicBezTo>
                      <a:lnTo>
                        <a:pt x="20607" y="2723"/>
                      </a:lnTo>
                      <a:cubicBezTo>
                        <a:pt x="21424" y="1062"/>
                        <a:pt x="23139" y="0"/>
                        <a:pt x="24991" y="0"/>
                      </a:cubicBezTo>
                      <a:lnTo>
                        <a:pt x="58485" y="0"/>
                      </a:lnTo>
                      <a:cubicBezTo>
                        <a:pt x="61180" y="0"/>
                        <a:pt x="63386" y="2206"/>
                        <a:pt x="63386" y="4901"/>
                      </a:cubicBezTo>
                      <a:cubicBezTo>
                        <a:pt x="63386" y="7597"/>
                        <a:pt x="61180" y="9803"/>
                        <a:pt x="58485" y="9803"/>
                      </a:cubicBezTo>
                      <a:lnTo>
                        <a:pt x="28041" y="9803"/>
                      </a:lnTo>
                      <a:lnTo>
                        <a:pt x="9306" y="47272"/>
                      </a:lnTo>
                      <a:cubicBezTo>
                        <a:pt x="8407" y="48960"/>
                        <a:pt x="6692" y="49968"/>
                        <a:pt x="4895" y="49968"/>
                      </a:cubicBezTo>
                      <a:close/>
                    </a:path>
                  </a:pathLst>
                </a:custGeom>
                <a:solidFill>
                  <a:schemeClr val="accent1"/>
                </a:solidFill>
                <a:ln w="2718" cap="flat">
                  <a:noFill/>
                  <a:prstDash val="solid"/>
                  <a:miter/>
                </a:ln>
              </p:spPr>
              <p:txBody>
                <a:bodyPr rtlCol="0" anchor="ctr"/>
                <a:lstStyle/>
                <a:p>
                  <a:endParaRPr lang="en-GB" dirty="0"/>
                </a:p>
              </p:txBody>
            </p:sp>
            <p:sp>
              <p:nvSpPr>
                <p:cNvPr id="727" name="Freihandform: Form 1005">
                  <a:extLst>
                    <a:ext uri="{FF2B5EF4-FFF2-40B4-BE49-F238E27FC236}">
                      <a16:creationId xmlns:a16="http://schemas.microsoft.com/office/drawing/2014/main" id="{09AF7343-AFC5-4481-BD91-E7DB4E9DD429}"/>
                    </a:ext>
                  </a:extLst>
                </p:cNvPr>
                <p:cNvSpPr/>
                <p:nvPr/>
              </p:nvSpPr>
              <p:spPr>
                <a:xfrm>
                  <a:off x="7226525" y="3613206"/>
                  <a:ext cx="63359" cy="49968"/>
                </a:xfrm>
                <a:custGeom>
                  <a:avLst/>
                  <a:gdLst>
                    <a:gd name="connsiteX0" fmla="*/ 58464 w 63359"/>
                    <a:gd name="connsiteY0" fmla="*/ 49968 h 49968"/>
                    <a:gd name="connsiteX1" fmla="*/ 54080 w 63359"/>
                    <a:gd name="connsiteY1" fmla="*/ 47272 h 49968"/>
                    <a:gd name="connsiteX2" fmla="*/ 35345 w 63359"/>
                    <a:gd name="connsiteY2" fmla="*/ 9803 h 49968"/>
                    <a:gd name="connsiteX3" fmla="*/ 4901 w 63359"/>
                    <a:gd name="connsiteY3" fmla="*/ 9803 h 49968"/>
                    <a:gd name="connsiteX4" fmla="*/ 0 w 63359"/>
                    <a:gd name="connsiteY4" fmla="*/ 4901 h 49968"/>
                    <a:gd name="connsiteX5" fmla="*/ 4901 w 63359"/>
                    <a:gd name="connsiteY5" fmla="*/ 0 h 49968"/>
                    <a:gd name="connsiteX6" fmla="*/ 38368 w 63359"/>
                    <a:gd name="connsiteY6" fmla="*/ 0 h 49968"/>
                    <a:gd name="connsiteX7" fmla="*/ 42752 w 63359"/>
                    <a:gd name="connsiteY7" fmla="*/ 2723 h 49968"/>
                    <a:gd name="connsiteX8" fmla="*/ 62848 w 63359"/>
                    <a:gd name="connsiteY8" fmla="*/ 42888 h 49968"/>
                    <a:gd name="connsiteX9" fmla="*/ 60670 w 63359"/>
                    <a:gd name="connsiteY9" fmla="*/ 49451 h 49968"/>
                    <a:gd name="connsiteX10" fmla="*/ 58464 w 63359"/>
                    <a:gd name="connsiteY10" fmla="*/ 49968 h 4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359" h="49968">
                      <a:moveTo>
                        <a:pt x="58464" y="49968"/>
                      </a:moveTo>
                      <a:cubicBezTo>
                        <a:pt x="56667" y="49968"/>
                        <a:pt x="54951" y="48988"/>
                        <a:pt x="54080" y="47272"/>
                      </a:cubicBezTo>
                      <a:lnTo>
                        <a:pt x="35345" y="9803"/>
                      </a:lnTo>
                      <a:lnTo>
                        <a:pt x="4901" y="9803"/>
                      </a:lnTo>
                      <a:cubicBezTo>
                        <a:pt x="2206" y="9803"/>
                        <a:pt x="0" y="7597"/>
                        <a:pt x="0" y="4901"/>
                      </a:cubicBezTo>
                      <a:cubicBezTo>
                        <a:pt x="0" y="2206"/>
                        <a:pt x="2206" y="0"/>
                        <a:pt x="4901" y="0"/>
                      </a:cubicBezTo>
                      <a:lnTo>
                        <a:pt x="38368" y="0"/>
                      </a:lnTo>
                      <a:cubicBezTo>
                        <a:pt x="40220" y="0"/>
                        <a:pt x="41908" y="1035"/>
                        <a:pt x="42752" y="2723"/>
                      </a:cubicBezTo>
                      <a:lnTo>
                        <a:pt x="62848" y="42888"/>
                      </a:lnTo>
                      <a:cubicBezTo>
                        <a:pt x="64046" y="45312"/>
                        <a:pt x="63066" y="48253"/>
                        <a:pt x="60670" y="49451"/>
                      </a:cubicBezTo>
                      <a:cubicBezTo>
                        <a:pt x="59934" y="49805"/>
                        <a:pt x="59199" y="49968"/>
                        <a:pt x="58464" y="49968"/>
                      </a:cubicBezTo>
                      <a:close/>
                    </a:path>
                  </a:pathLst>
                </a:custGeom>
                <a:solidFill>
                  <a:schemeClr val="accent1"/>
                </a:solidFill>
                <a:ln w="2718" cap="flat">
                  <a:noFill/>
                  <a:prstDash val="solid"/>
                  <a:miter/>
                </a:ln>
              </p:spPr>
              <p:txBody>
                <a:bodyPr rtlCol="0" anchor="ctr"/>
                <a:lstStyle/>
                <a:p>
                  <a:endParaRPr lang="en-GB" dirty="0"/>
                </a:p>
              </p:txBody>
            </p:sp>
          </p:grpSp>
          <p:sp>
            <p:nvSpPr>
              <p:cNvPr id="724" name="Freihandform: Form 1006">
                <a:extLst>
                  <a:ext uri="{FF2B5EF4-FFF2-40B4-BE49-F238E27FC236}">
                    <a16:creationId xmlns:a16="http://schemas.microsoft.com/office/drawing/2014/main" id="{7B2B09E9-A4E6-4919-B8BD-97B189CE567D}"/>
                  </a:ext>
                </a:extLst>
              </p:cNvPr>
              <p:cNvSpPr/>
              <p:nvPr/>
            </p:nvSpPr>
            <p:spPr>
              <a:xfrm>
                <a:off x="7152866" y="3593110"/>
                <a:ext cx="49968" cy="9803"/>
              </a:xfrm>
              <a:custGeom>
                <a:avLst/>
                <a:gdLst>
                  <a:gd name="connsiteX0" fmla="*/ 45067 w 49968"/>
                  <a:gd name="connsiteY0" fmla="*/ 9803 h 9803"/>
                  <a:gd name="connsiteX1" fmla="*/ 4901 w 49968"/>
                  <a:gd name="connsiteY1" fmla="*/ 9803 h 9803"/>
                  <a:gd name="connsiteX2" fmla="*/ 0 w 49968"/>
                  <a:gd name="connsiteY2" fmla="*/ 4901 h 9803"/>
                  <a:gd name="connsiteX3" fmla="*/ 4901 w 49968"/>
                  <a:gd name="connsiteY3" fmla="*/ 0 h 9803"/>
                  <a:gd name="connsiteX4" fmla="*/ 45067 w 49968"/>
                  <a:gd name="connsiteY4" fmla="*/ 0 h 9803"/>
                  <a:gd name="connsiteX5" fmla="*/ 49968 w 49968"/>
                  <a:gd name="connsiteY5" fmla="*/ 4901 h 9803"/>
                  <a:gd name="connsiteX6" fmla="*/ 45067 w 49968"/>
                  <a:gd name="connsiteY6" fmla="*/ 9803 h 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68" h="9803">
                    <a:moveTo>
                      <a:pt x="45067" y="9803"/>
                    </a:moveTo>
                    <a:lnTo>
                      <a:pt x="4901" y="9803"/>
                    </a:lnTo>
                    <a:cubicBezTo>
                      <a:pt x="2206" y="9803"/>
                      <a:pt x="0" y="7597"/>
                      <a:pt x="0" y="4901"/>
                    </a:cubicBezTo>
                    <a:cubicBezTo>
                      <a:pt x="0" y="2206"/>
                      <a:pt x="2206" y="0"/>
                      <a:pt x="4901" y="0"/>
                    </a:cubicBezTo>
                    <a:lnTo>
                      <a:pt x="45067" y="0"/>
                    </a:lnTo>
                    <a:cubicBezTo>
                      <a:pt x="47762" y="0"/>
                      <a:pt x="49968" y="2206"/>
                      <a:pt x="49968" y="4901"/>
                    </a:cubicBezTo>
                    <a:cubicBezTo>
                      <a:pt x="49968" y="7597"/>
                      <a:pt x="47790" y="9803"/>
                      <a:pt x="45067" y="9803"/>
                    </a:cubicBezTo>
                    <a:close/>
                  </a:path>
                </a:pathLst>
              </a:custGeom>
              <a:solidFill>
                <a:schemeClr val="accent1"/>
              </a:solidFill>
              <a:ln w="2718" cap="flat">
                <a:noFill/>
                <a:prstDash val="solid"/>
                <a:miter/>
              </a:ln>
            </p:spPr>
            <p:txBody>
              <a:bodyPr rtlCol="0" anchor="ctr"/>
              <a:lstStyle/>
              <a:p>
                <a:endParaRPr lang="en-GB" dirty="0"/>
              </a:p>
            </p:txBody>
          </p:sp>
          <p:sp>
            <p:nvSpPr>
              <p:cNvPr id="725" name="Freihandform: Form 1007">
                <a:extLst>
                  <a:ext uri="{FF2B5EF4-FFF2-40B4-BE49-F238E27FC236}">
                    <a16:creationId xmlns:a16="http://schemas.microsoft.com/office/drawing/2014/main" id="{E2B5A0B0-B28A-4347-8ED6-AE0BE2F82911}"/>
                  </a:ext>
                </a:extLst>
              </p:cNvPr>
              <p:cNvSpPr/>
              <p:nvPr/>
            </p:nvSpPr>
            <p:spPr>
              <a:xfrm>
                <a:off x="7226525" y="3593110"/>
                <a:ext cx="49968" cy="9803"/>
              </a:xfrm>
              <a:custGeom>
                <a:avLst/>
                <a:gdLst>
                  <a:gd name="connsiteX0" fmla="*/ 45067 w 49968"/>
                  <a:gd name="connsiteY0" fmla="*/ 9803 h 9803"/>
                  <a:gd name="connsiteX1" fmla="*/ 4901 w 49968"/>
                  <a:gd name="connsiteY1" fmla="*/ 9803 h 9803"/>
                  <a:gd name="connsiteX2" fmla="*/ 0 w 49968"/>
                  <a:gd name="connsiteY2" fmla="*/ 4901 h 9803"/>
                  <a:gd name="connsiteX3" fmla="*/ 4901 w 49968"/>
                  <a:gd name="connsiteY3" fmla="*/ 0 h 9803"/>
                  <a:gd name="connsiteX4" fmla="*/ 45067 w 49968"/>
                  <a:gd name="connsiteY4" fmla="*/ 0 h 9803"/>
                  <a:gd name="connsiteX5" fmla="*/ 49968 w 49968"/>
                  <a:gd name="connsiteY5" fmla="*/ 4901 h 9803"/>
                  <a:gd name="connsiteX6" fmla="*/ 45067 w 49968"/>
                  <a:gd name="connsiteY6" fmla="*/ 9803 h 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968" h="9803">
                    <a:moveTo>
                      <a:pt x="45067" y="9803"/>
                    </a:moveTo>
                    <a:lnTo>
                      <a:pt x="4901" y="9803"/>
                    </a:lnTo>
                    <a:cubicBezTo>
                      <a:pt x="2206" y="9803"/>
                      <a:pt x="0" y="7597"/>
                      <a:pt x="0" y="4901"/>
                    </a:cubicBezTo>
                    <a:cubicBezTo>
                      <a:pt x="0" y="2206"/>
                      <a:pt x="2206" y="0"/>
                      <a:pt x="4901" y="0"/>
                    </a:cubicBezTo>
                    <a:lnTo>
                      <a:pt x="45067" y="0"/>
                    </a:lnTo>
                    <a:cubicBezTo>
                      <a:pt x="47763" y="0"/>
                      <a:pt x="49968" y="2206"/>
                      <a:pt x="49968" y="4901"/>
                    </a:cubicBezTo>
                    <a:cubicBezTo>
                      <a:pt x="49968" y="7597"/>
                      <a:pt x="47763" y="9803"/>
                      <a:pt x="45067" y="9803"/>
                    </a:cubicBezTo>
                    <a:close/>
                  </a:path>
                </a:pathLst>
              </a:custGeom>
              <a:solidFill>
                <a:schemeClr val="accent1"/>
              </a:solidFill>
              <a:ln w="2718" cap="flat">
                <a:noFill/>
                <a:prstDash val="solid"/>
                <a:miter/>
              </a:ln>
            </p:spPr>
            <p:txBody>
              <a:bodyPr rtlCol="0" anchor="ctr"/>
              <a:lstStyle/>
              <a:p>
                <a:endParaRPr lang="en-GB" dirty="0"/>
              </a:p>
            </p:txBody>
          </p:sp>
        </p:grpSp>
        <p:grpSp>
          <p:nvGrpSpPr>
            <p:cNvPr id="710" name="Group 709">
              <a:extLst>
                <a:ext uri="{FF2B5EF4-FFF2-40B4-BE49-F238E27FC236}">
                  <a16:creationId xmlns:a16="http://schemas.microsoft.com/office/drawing/2014/main" id="{378E96CE-8689-4DE1-A53C-EE448D9AB6DD}"/>
                </a:ext>
              </a:extLst>
            </p:cNvPr>
            <p:cNvGrpSpPr/>
            <p:nvPr/>
          </p:nvGrpSpPr>
          <p:grpSpPr>
            <a:xfrm>
              <a:off x="7070603" y="4040086"/>
              <a:ext cx="457039" cy="432000"/>
              <a:chOff x="6992658" y="3388690"/>
              <a:chExt cx="441322" cy="417144"/>
            </a:xfrm>
            <a:solidFill>
              <a:schemeClr val="tx2"/>
            </a:solidFill>
          </p:grpSpPr>
          <p:grpSp>
            <p:nvGrpSpPr>
              <p:cNvPr id="711" name="Grafik 72">
                <a:extLst>
                  <a:ext uri="{FF2B5EF4-FFF2-40B4-BE49-F238E27FC236}">
                    <a16:creationId xmlns:a16="http://schemas.microsoft.com/office/drawing/2014/main" id="{2D60F634-B25F-4FC9-9D47-8A56480D73E0}"/>
                  </a:ext>
                </a:extLst>
              </p:cNvPr>
              <p:cNvGrpSpPr/>
              <p:nvPr/>
            </p:nvGrpSpPr>
            <p:grpSpPr>
              <a:xfrm>
                <a:off x="7004977" y="3388690"/>
                <a:ext cx="419350" cy="417144"/>
                <a:chOff x="7004977" y="3388690"/>
                <a:chExt cx="419350" cy="417144"/>
              </a:xfrm>
              <a:grpFill/>
            </p:grpSpPr>
            <p:sp>
              <p:nvSpPr>
                <p:cNvPr id="718" name="Freihandform: Form 995">
                  <a:extLst>
                    <a:ext uri="{FF2B5EF4-FFF2-40B4-BE49-F238E27FC236}">
                      <a16:creationId xmlns:a16="http://schemas.microsoft.com/office/drawing/2014/main" id="{B88AE267-81D4-4F85-B989-F2701A877CD2}"/>
                    </a:ext>
                  </a:extLst>
                </p:cNvPr>
                <p:cNvSpPr/>
                <p:nvPr/>
              </p:nvSpPr>
              <p:spPr>
                <a:xfrm>
                  <a:off x="7004977" y="3388690"/>
                  <a:ext cx="419350" cy="417144"/>
                </a:xfrm>
                <a:custGeom>
                  <a:avLst/>
                  <a:gdLst>
                    <a:gd name="connsiteX0" fmla="*/ 210057 w 419350"/>
                    <a:gd name="connsiteY0" fmla="*/ 417145 h 417144"/>
                    <a:gd name="connsiteX1" fmla="*/ 209185 w 419350"/>
                    <a:gd name="connsiteY1" fmla="*/ 417118 h 417144"/>
                    <a:gd name="connsiteX2" fmla="*/ 198946 w 419350"/>
                    <a:gd name="connsiteY2" fmla="*/ 413850 h 417144"/>
                    <a:gd name="connsiteX3" fmla="*/ 436 w 419350"/>
                    <a:gd name="connsiteY3" fmla="*/ 110474 h 417144"/>
                    <a:gd name="connsiteX4" fmla="*/ 272 w 419350"/>
                    <a:gd name="connsiteY4" fmla="*/ 109549 h 417144"/>
                    <a:gd name="connsiteX5" fmla="*/ 0 w 419350"/>
                    <a:gd name="connsiteY5" fmla="*/ 107071 h 417144"/>
                    <a:gd name="connsiteX6" fmla="*/ 10375 w 419350"/>
                    <a:gd name="connsiteY6" fmla="*/ 95116 h 417144"/>
                    <a:gd name="connsiteX7" fmla="*/ 63120 w 419350"/>
                    <a:gd name="connsiteY7" fmla="*/ 86076 h 417144"/>
                    <a:gd name="connsiteX8" fmla="*/ 70854 w 419350"/>
                    <a:gd name="connsiteY8" fmla="*/ 59363 h 417144"/>
                    <a:gd name="connsiteX9" fmla="*/ 73359 w 419350"/>
                    <a:gd name="connsiteY9" fmla="*/ 51520 h 417144"/>
                    <a:gd name="connsiteX10" fmla="*/ 210165 w 419350"/>
                    <a:gd name="connsiteY10" fmla="*/ 0 h 417144"/>
                    <a:gd name="connsiteX11" fmla="*/ 278650 w 419350"/>
                    <a:gd name="connsiteY11" fmla="*/ 25107 h 417144"/>
                    <a:gd name="connsiteX12" fmla="*/ 347462 w 419350"/>
                    <a:gd name="connsiteY12" fmla="*/ 54243 h 417144"/>
                    <a:gd name="connsiteX13" fmla="*/ 347680 w 419350"/>
                    <a:gd name="connsiteY13" fmla="*/ 54924 h 417144"/>
                    <a:gd name="connsiteX14" fmla="*/ 356203 w 419350"/>
                    <a:gd name="connsiteY14" fmla="*/ 86049 h 417144"/>
                    <a:gd name="connsiteX15" fmla="*/ 408867 w 419350"/>
                    <a:gd name="connsiteY15" fmla="*/ 95089 h 417144"/>
                    <a:gd name="connsiteX16" fmla="*/ 419351 w 419350"/>
                    <a:gd name="connsiteY16" fmla="*/ 107071 h 417144"/>
                    <a:gd name="connsiteX17" fmla="*/ 419160 w 419350"/>
                    <a:gd name="connsiteY17" fmla="*/ 109303 h 417144"/>
                    <a:gd name="connsiteX18" fmla="*/ 418915 w 419350"/>
                    <a:gd name="connsiteY18" fmla="*/ 110583 h 417144"/>
                    <a:gd name="connsiteX19" fmla="*/ 220377 w 419350"/>
                    <a:gd name="connsiteY19" fmla="*/ 413823 h 417144"/>
                    <a:gd name="connsiteX20" fmla="*/ 210519 w 419350"/>
                    <a:gd name="connsiteY20" fmla="*/ 417091 h 417144"/>
                    <a:gd name="connsiteX21" fmla="*/ 210057 w 419350"/>
                    <a:gd name="connsiteY21" fmla="*/ 417145 h 417144"/>
                    <a:gd name="connsiteX22" fmla="*/ 81365 w 419350"/>
                    <a:gd name="connsiteY22" fmla="*/ 57974 h 417144"/>
                    <a:gd name="connsiteX23" fmla="*/ 80357 w 419350"/>
                    <a:gd name="connsiteY23" fmla="*/ 61841 h 417144"/>
                    <a:gd name="connsiteX24" fmla="*/ 66851 w 419350"/>
                    <a:gd name="connsiteY24" fmla="*/ 95389 h 417144"/>
                    <a:gd name="connsiteX25" fmla="*/ 11818 w 419350"/>
                    <a:gd name="connsiteY25" fmla="*/ 104838 h 417144"/>
                    <a:gd name="connsiteX26" fmla="*/ 9830 w 419350"/>
                    <a:gd name="connsiteY26" fmla="*/ 107125 h 417144"/>
                    <a:gd name="connsiteX27" fmla="*/ 9939 w 419350"/>
                    <a:gd name="connsiteY27" fmla="*/ 107887 h 417144"/>
                    <a:gd name="connsiteX28" fmla="*/ 10103 w 419350"/>
                    <a:gd name="connsiteY28" fmla="*/ 108786 h 417144"/>
                    <a:gd name="connsiteX29" fmla="*/ 204284 w 419350"/>
                    <a:gd name="connsiteY29" fmla="*/ 405654 h 417144"/>
                    <a:gd name="connsiteX30" fmla="*/ 209784 w 419350"/>
                    <a:gd name="connsiteY30" fmla="*/ 407369 h 417144"/>
                    <a:gd name="connsiteX31" fmla="*/ 210084 w 419350"/>
                    <a:gd name="connsiteY31" fmla="*/ 412298 h 417144"/>
                    <a:gd name="connsiteX32" fmla="*/ 210084 w 419350"/>
                    <a:gd name="connsiteY32" fmla="*/ 407396 h 417144"/>
                    <a:gd name="connsiteX33" fmla="*/ 210084 w 419350"/>
                    <a:gd name="connsiteY33" fmla="*/ 412298 h 417144"/>
                    <a:gd name="connsiteX34" fmla="*/ 210138 w 419350"/>
                    <a:gd name="connsiteY34" fmla="*/ 407396 h 417144"/>
                    <a:gd name="connsiteX35" fmla="*/ 215094 w 419350"/>
                    <a:gd name="connsiteY35" fmla="*/ 405681 h 417144"/>
                    <a:gd name="connsiteX36" fmla="*/ 409303 w 419350"/>
                    <a:gd name="connsiteY36" fmla="*/ 108868 h 417144"/>
                    <a:gd name="connsiteX37" fmla="*/ 409548 w 419350"/>
                    <a:gd name="connsiteY37" fmla="*/ 107615 h 417144"/>
                    <a:gd name="connsiteX38" fmla="*/ 407533 w 419350"/>
                    <a:gd name="connsiteY38" fmla="*/ 104838 h 417144"/>
                    <a:gd name="connsiteX39" fmla="*/ 352445 w 419350"/>
                    <a:gd name="connsiteY39" fmla="*/ 95361 h 417144"/>
                    <a:gd name="connsiteX40" fmla="*/ 338639 w 419350"/>
                    <a:gd name="connsiteY40" fmla="*/ 59281 h 417144"/>
                    <a:gd name="connsiteX41" fmla="*/ 210111 w 419350"/>
                    <a:gd name="connsiteY41" fmla="*/ 10021 h 417144"/>
                    <a:gd name="connsiteX42" fmla="*/ 81365 w 419350"/>
                    <a:gd name="connsiteY42" fmla="*/ 57974 h 417144"/>
                    <a:gd name="connsiteX43" fmla="*/ 65217 w 419350"/>
                    <a:gd name="connsiteY43" fmla="*/ 85722 h 417144"/>
                    <a:gd name="connsiteX44" fmla="*/ 65163 w 419350"/>
                    <a:gd name="connsiteY44" fmla="*/ 85722 h 417144"/>
                    <a:gd name="connsiteX45" fmla="*/ 65217 w 419350"/>
                    <a:gd name="connsiteY45" fmla="*/ 85722 h 417144"/>
                    <a:gd name="connsiteX46" fmla="*/ 354106 w 419350"/>
                    <a:gd name="connsiteY46" fmla="*/ 85695 h 417144"/>
                    <a:gd name="connsiteX47" fmla="*/ 354188 w 419350"/>
                    <a:gd name="connsiteY47" fmla="*/ 85722 h 417144"/>
                    <a:gd name="connsiteX48" fmla="*/ 354106 w 419350"/>
                    <a:gd name="connsiteY48" fmla="*/ 85695 h 417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19350" h="417144">
                      <a:moveTo>
                        <a:pt x="210057" y="417145"/>
                      </a:moveTo>
                      <a:cubicBezTo>
                        <a:pt x="209920" y="417145"/>
                        <a:pt x="209321" y="417118"/>
                        <a:pt x="209185" y="417118"/>
                      </a:cubicBezTo>
                      <a:cubicBezTo>
                        <a:pt x="206598" y="417036"/>
                        <a:pt x="203140" y="416573"/>
                        <a:pt x="198946" y="413850"/>
                      </a:cubicBezTo>
                      <a:cubicBezTo>
                        <a:pt x="52255" y="319496"/>
                        <a:pt x="11246" y="170273"/>
                        <a:pt x="436" y="110474"/>
                      </a:cubicBezTo>
                      <a:lnTo>
                        <a:pt x="272" y="109549"/>
                      </a:lnTo>
                      <a:cubicBezTo>
                        <a:pt x="109" y="108868"/>
                        <a:pt x="0" y="107942"/>
                        <a:pt x="0" y="107071"/>
                      </a:cubicBezTo>
                      <a:cubicBezTo>
                        <a:pt x="0" y="101080"/>
                        <a:pt x="4466" y="95933"/>
                        <a:pt x="10375" y="95116"/>
                      </a:cubicBezTo>
                      <a:cubicBezTo>
                        <a:pt x="12798" y="94762"/>
                        <a:pt x="42480" y="89643"/>
                        <a:pt x="63120" y="86076"/>
                      </a:cubicBezTo>
                      <a:cubicBezTo>
                        <a:pt x="65217" y="81011"/>
                        <a:pt x="69383" y="64972"/>
                        <a:pt x="70854" y="59363"/>
                      </a:cubicBezTo>
                      <a:cubicBezTo>
                        <a:pt x="72651" y="52446"/>
                        <a:pt x="72651" y="52446"/>
                        <a:pt x="73359" y="51520"/>
                      </a:cubicBezTo>
                      <a:cubicBezTo>
                        <a:pt x="76327" y="47708"/>
                        <a:pt x="209185" y="0"/>
                        <a:pt x="210165" y="0"/>
                      </a:cubicBezTo>
                      <a:cubicBezTo>
                        <a:pt x="210873" y="0"/>
                        <a:pt x="212780" y="0"/>
                        <a:pt x="278650" y="25107"/>
                      </a:cubicBezTo>
                      <a:cubicBezTo>
                        <a:pt x="346100" y="50812"/>
                        <a:pt x="346400" y="51547"/>
                        <a:pt x="347462" y="54243"/>
                      </a:cubicBezTo>
                      <a:cubicBezTo>
                        <a:pt x="347544" y="54461"/>
                        <a:pt x="347625" y="54706"/>
                        <a:pt x="347680" y="54924"/>
                      </a:cubicBezTo>
                      <a:cubicBezTo>
                        <a:pt x="350485" y="67096"/>
                        <a:pt x="354297" y="81419"/>
                        <a:pt x="356203" y="86049"/>
                      </a:cubicBezTo>
                      <a:cubicBezTo>
                        <a:pt x="371779" y="88772"/>
                        <a:pt x="405763" y="94653"/>
                        <a:pt x="408867" y="95089"/>
                      </a:cubicBezTo>
                      <a:cubicBezTo>
                        <a:pt x="414803" y="95852"/>
                        <a:pt x="419351" y="100998"/>
                        <a:pt x="419351" y="107071"/>
                      </a:cubicBezTo>
                      <a:cubicBezTo>
                        <a:pt x="419351" y="107779"/>
                        <a:pt x="419269" y="108623"/>
                        <a:pt x="419160" y="109303"/>
                      </a:cubicBezTo>
                      <a:lnTo>
                        <a:pt x="418915" y="110583"/>
                      </a:lnTo>
                      <a:cubicBezTo>
                        <a:pt x="408050" y="170354"/>
                        <a:pt x="366986" y="319578"/>
                        <a:pt x="220377" y="413823"/>
                      </a:cubicBezTo>
                      <a:cubicBezTo>
                        <a:pt x="217273" y="415838"/>
                        <a:pt x="213951" y="416954"/>
                        <a:pt x="210519" y="417091"/>
                      </a:cubicBezTo>
                      <a:cubicBezTo>
                        <a:pt x="210465" y="417145"/>
                        <a:pt x="210138" y="417145"/>
                        <a:pt x="210057" y="417145"/>
                      </a:cubicBezTo>
                      <a:close/>
                      <a:moveTo>
                        <a:pt x="81365" y="57974"/>
                      </a:moveTo>
                      <a:cubicBezTo>
                        <a:pt x="81093" y="58981"/>
                        <a:pt x="80766" y="60288"/>
                        <a:pt x="80357" y="61841"/>
                      </a:cubicBezTo>
                      <a:cubicBezTo>
                        <a:pt x="72216" y="93265"/>
                        <a:pt x="70827" y="94735"/>
                        <a:pt x="66851" y="95389"/>
                      </a:cubicBezTo>
                      <a:cubicBezTo>
                        <a:pt x="49070" y="98466"/>
                        <a:pt x="14650" y="104429"/>
                        <a:pt x="11818" y="104838"/>
                      </a:cubicBezTo>
                      <a:cubicBezTo>
                        <a:pt x="10647" y="105001"/>
                        <a:pt x="9830" y="105954"/>
                        <a:pt x="9830" y="107125"/>
                      </a:cubicBezTo>
                      <a:cubicBezTo>
                        <a:pt x="9857" y="107207"/>
                        <a:pt x="9939" y="107806"/>
                        <a:pt x="9939" y="107887"/>
                      </a:cubicBezTo>
                      <a:lnTo>
                        <a:pt x="10103" y="108786"/>
                      </a:lnTo>
                      <a:cubicBezTo>
                        <a:pt x="20695" y="167305"/>
                        <a:pt x="60806" y="313397"/>
                        <a:pt x="204284" y="405654"/>
                      </a:cubicBezTo>
                      <a:cubicBezTo>
                        <a:pt x="206598" y="407151"/>
                        <a:pt x="208123" y="407315"/>
                        <a:pt x="209784" y="407369"/>
                      </a:cubicBezTo>
                      <a:lnTo>
                        <a:pt x="210084" y="412298"/>
                      </a:lnTo>
                      <a:lnTo>
                        <a:pt x="210084" y="407396"/>
                      </a:lnTo>
                      <a:lnTo>
                        <a:pt x="210084" y="412298"/>
                      </a:lnTo>
                      <a:lnTo>
                        <a:pt x="210138" y="407396"/>
                      </a:lnTo>
                      <a:cubicBezTo>
                        <a:pt x="211826" y="407315"/>
                        <a:pt x="213406" y="406797"/>
                        <a:pt x="215094" y="405681"/>
                      </a:cubicBezTo>
                      <a:cubicBezTo>
                        <a:pt x="358490" y="313505"/>
                        <a:pt x="398683" y="167414"/>
                        <a:pt x="409303" y="108868"/>
                      </a:cubicBezTo>
                      <a:lnTo>
                        <a:pt x="409548" y="107615"/>
                      </a:lnTo>
                      <a:cubicBezTo>
                        <a:pt x="409575" y="105981"/>
                        <a:pt x="408676" y="105001"/>
                        <a:pt x="407533" y="104838"/>
                      </a:cubicBezTo>
                      <a:cubicBezTo>
                        <a:pt x="403856" y="104293"/>
                        <a:pt x="365543" y="97649"/>
                        <a:pt x="352445" y="95361"/>
                      </a:cubicBezTo>
                      <a:cubicBezTo>
                        <a:pt x="349232" y="94844"/>
                        <a:pt x="346836" y="94436"/>
                        <a:pt x="338639" y="59281"/>
                      </a:cubicBezTo>
                      <a:cubicBezTo>
                        <a:pt x="324153" y="52582"/>
                        <a:pt x="222528" y="14133"/>
                        <a:pt x="210111" y="10021"/>
                      </a:cubicBezTo>
                      <a:cubicBezTo>
                        <a:pt x="197776" y="13833"/>
                        <a:pt x="96069" y="51765"/>
                        <a:pt x="81365" y="57974"/>
                      </a:cubicBezTo>
                      <a:close/>
                      <a:moveTo>
                        <a:pt x="65217" y="85722"/>
                      </a:moveTo>
                      <a:cubicBezTo>
                        <a:pt x="65190" y="85722"/>
                        <a:pt x="65190" y="85722"/>
                        <a:pt x="65163" y="85722"/>
                      </a:cubicBezTo>
                      <a:cubicBezTo>
                        <a:pt x="65163" y="85722"/>
                        <a:pt x="65190" y="85722"/>
                        <a:pt x="65217" y="85722"/>
                      </a:cubicBezTo>
                      <a:close/>
                      <a:moveTo>
                        <a:pt x="354106" y="85695"/>
                      </a:moveTo>
                      <a:cubicBezTo>
                        <a:pt x="354133" y="85695"/>
                        <a:pt x="354161" y="85695"/>
                        <a:pt x="354188" y="85722"/>
                      </a:cubicBezTo>
                      <a:cubicBezTo>
                        <a:pt x="354161" y="85695"/>
                        <a:pt x="354133" y="85695"/>
                        <a:pt x="354106" y="85695"/>
                      </a:cubicBezTo>
                      <a:close/>
                    </a:path>
                  </a:pathLst>
                </a:custGeom>
                <a:grpFill/>
                <a:ln w="2718" cap="flat">
                  <a:noFill/>
                  <a:prstDash val="solid"/>
                  <a:miter/>
                </a:ln>
              </p:spPr>
              <p:txBody>
                <a:bodyPr rtlCol="0" anchor="ctr"/>
                <a:lstStyle/>
                <a:p>
                  <a:endParaRPr lang="en-GB" dirty="0"/>
                </a:p>
              </p:txBody>
            </p:sp>
            <p:sp>
              <p:nvSpPr>
                <p:cNvPr id="719" name="Freihandform: Form 996">
                  <a:extLst>
                    <a:ext uri="{FF2B5EF4-FFF2-40B4-BE49-F238E27FC236}">
                      <a16:creationId xmlns:a16="http://schemas.microsoft.com/office/drawing/2014/main" id="{28B6CA6D-DD31-4FF7-92D5-2C0C62344556}"/>
                    </a:ext>
                  </a:extLst>
                </p:cNvPr>
                <p:cNvSpPr/>
                <p:nvPr/>
              </p:nvSpPr>
              <p:spPr>
                <a:xfrm>
                  <a:off x="7057232" y="3440619"/>
                  <a:ext cx="314894" cy="313287"/>
                </a:xfrm>
                <a:custGeom>
                  <a:avLst/>
                  <a:gdLst>
                    <a:gd name="connsiteX0" fmla="*/ 157719 w 314894"/>
                    <a:gd name="connsiteY0" fmla="*/ 313288 h 313287"/>
                    <a:gd name="connsiteX1" fmla="*/ 157093 w 314894"/>
                    <a:gd name="connsiteY1" fmla="*/ 313260 h 313287"/>
                    <a:gd name="connsiteX2" fmla="*/ 148761 w 314894"/>
                    <a:gd name="connsiteY2" fmla="*/ 310619 h 313287"/>
                    <a:gd name="connsiteX3" fmla="*/ 327 w 314894"/>
                    <a:gd name="connsiteY3" fmla="*/ 83788 h 313287"/>
                    <a:gd name="connsiteX4" fmla="*/ 218 w 314894"/>
                    <a:gd name="connsiteY4" fmla="*/ 83080 h 313287"/>
                    <a:gd name="connsiteX5" fmla="*/ 0 w 314894"/>
                    <a:gd name="connsiteY5" fmla="*/ 81038 h 313287"/>
                    <a:gd name="connsiteX6" fmla="*/ 8795 w 314894"/>
                    <a:gd name="connsiteY6" fmla="*/ 70881 h 313287"/>
                    <a:gd name="connsiteX7" fmla="*/ 47381 w 314894"/>
                    <a:gd name="connsiteY7" fmla="*/ 64264 h 313287"/>
                    <a:gd name="connsiteX8" fmla="*/ 52800 w 314894"/>
                    <a:gd name="connsiteY8" fmla="*/ 45203 h 313287"/>
                    <a:gd name="connsiteX9" fmla="*/ 54924 w 314894"/>
                    <a:gd name="connsiteY9" fmla="*/ 38831 h 313287"/>
                    <a:gd name="connsiteX10" fmla="*/ 157801 w 314894"/>
                    <a:gd name="connsiteY10" fmla="*/ 0 h 313287"/>
                    <a:gd name="connsiteX11" fmla="*/ 261250 w 314894"/>
                    <a:gd name="connsiteY11" fmla="*/ 41200 h 313287"/>
                    <a:gd name="connsiteX12" fmla="*/ 261468 w 314894"/>
                    <a:gd name="connsiteY12" fmla="*/ 41908 h 313287"/>
                    <a:gd name="connsiteX13" fmla="*/ 267513 w 314894"/>
                    <a:gd name="connsiteY13" fmla="*/ 64264 h 313287"/>
                    <a:gd name="connsiteX14" fmla="*/ 306017 w 314894"/>
                    <a:gd name="connsiteY14" fmla="*/ 70881 h 313287"/>
                    <a:gd name="connsiteX15" fmla="*/ 314894 w 314894"/>
                    <a:gd name="connsiteY15" fmla="*/ 81038 h 313287"/>
                    <a:gd name="connsiteX16" fmla="*/ 314731 w 314894"/>
                    <a:gd name="connsiteY16" fmla="*/ 82917 h 313287"/>
                    <a:gd name="connsiteX17" fmla="*/ 314540 w 314894"/>
                    <a:gd name="connsiteY17" fmla="*/ 83897 h 313287"/>
                    <a:gd name="connsiteX18" fmla="*/ 166079 w 314894"/>
                    <a:gd name="connsiteY18" fmla="*/ 310646 h 313287"/>
                    <a:gd name="connsiteX19" fmla="*/ 158101 w 314894"/>
                    <a:gd name="connsiteY19" fmla="*/ 313260 h 313287"/>
                    <a:gd name="connsiteX20" fmla="*/ 157719 w 314894"/>
                    <a:gd name="connsiteY20" fmla="*/ 313288 h 313287"/>
                    <a:gd name="connsiteX21" fmla="*/ 62875 w 314894"/>
                    <a:gd name="connsiteY21" fmla="*/ 45366 h 313287"/>
                    <a:gd name="connsiteX22" fmla="*/ 62276 w 314894"/>
                    <a:gd name="connsiteY22" fmla="*/ 47681 h 313287"/>
                    <a:gd name="connsiteX23" fmla="*/ 51221 w 314894"/>
                    <a:gd name="connsiteY23" fmla="*/ 73550 h 313287"/>
                    <a:gd name="connsiteX24" fmla="*/ 10184 w 314894"/>
                    <a:gd name="connsiteY24" fmla="*/ 80575 h 313287"/>
                    <a:gd name="connsiteX25" fmla="*/ 9857 w 314894"/>
                    <a:gd name="connsiteY25" fmla="*/ 81419 h 313287"/>
                    <a:gd name="connsiteX26" fmla="*/ 9966 w 314894"/>
                    <a:gd name="connsiteY26" fmla="*/ 82100 h 313287"/>
                    <a:gd name="connsiteX27" fmla="*/ 154071 w 314894"/>
                    <a:gd name="connsiteY27" fmla="*/ 302395 h 313287"/>
                    <a:gd name="connsiteX28" fmla="*/ 157529 w 314894"/>
                    <a:gd name="connsiteY28" fmla="*/ 303485 h 313287"/>
                    <a:gd name="connsiteX29" fmla="*/ 157719 w 314894"/>
                    <a:gd name="connsiteY29" fmla="*/ 308386 h 313287"/>
                    <a:gd name="connsiteX30" fmla="*/ 157719 w 314894"/>
                    <a:gd name="connsiteY30" fmla="*/ 303485 h 313287"/>
                    <a:gd name="connsiteX31" fmla="*/ 157719 w 314894"/>
                    <a:gd name="connsiteY31" fmla="*/ 308386 h 313287"/>
                    <a:gd name="connsiteX32" fmla="*/ 157747 w 314894"/>
                    <a:gd name="connsiteY32" fmla="*/ 303485 h 313287"/>
                    <a:gd name="connsiteX33" fmla="*/ 160796 w 314894"/>
                    <a:gd name="connsiteY33" fmla="*/ 302423 h 313287"/>
                    <a:gd name="connsiteX34" fmla="*/ 304928 w 314894"/>
                    <a:gd name="connsiteY34" fmla="*/ 82127 h 313287"/>
                    <a:gd name="connsiteX35" fmla="*/ 305118 w 314894"/>
                    <a:gd name="connsiteY35" fmla="*/ 81174 h 313287"/>
                    <a:gd name="connsiteX36" fmla="*/ 304574 w 314894"/>
                    <a:gd name="connsiteY36" fmla="*/ 80575 h 313287"/>
                    <a:gd name="connsiteX37" fmla="*/ 263592 w 314894"/>
                    <a:gd name="connsiteY37" fmla="*/ 73523 h 313287"/>
                    <a:gd name="connsiteX38" fmla="*/ 252427 w 314894"/>
                    <a:gd name="connsiteY38" fmla="*/ 46292 h 313287"/>
                    <a:gd name="connsiteX39" fmla="*/ 157747 w 314894"/>
                    <a:gd name="connsiteY39" fmla="*/ 10021 h 313287"/>
                    <a:gd name="connsiteX40" fmla="*/ 62875 w 314894"/>
                    <a:gd name="connsiteY40" fmla="*/ 45366 h 313287"/>
                    <a:gd name="connsiteX41" fmla="*/ 49587 w 314894"/>
                    <a:gd name="connsiteY41" fmla="*/ 63883 h 313287"/>
                    <a:gd name="connsiteX42" fmla="*/ 49532 w 314894"/>
                    <a:gd name="connsiteY42" fmla="*/ 63883 h 313287"/>
                    <a:gd name="connsiteX43" fmla="*/ 49587 w 314894"/>
                    <a:gd name="connsiteY43" fmla="*/ 63883 h 313287"/>
                    <a:gd name="connsiteX44" fmla="*/ 265226 w 314894"/>
                    <a:gd name="connsiteY44" fmla="*/ 63856 h 313287"/>
                    <a:gd name="connsiteX45" fmla="*/ 265335 w 314894"/>
                    <a:gd name="connsiteY45" fmla="*/ 63883 h 313287"/>
                    <a:gd name="connsiteX46" fmla="*/ 265226 w 314894"/>
                    <a:gd name="connsiteY46" fmla="*/ 63856 h 31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14894" h="313287">
                      <a:moveTo>
                        <a:pt x="157719" y="313288"/>
                      </a:moveTo>
                      <a:cubicBezTo>
                        <a:pt x="157638" y="313288"/>
                        <a:pt x="157202" y="313288"/>
                        <a:pt x="157093" y="313260"/>
                      </a:cubicBezTo>
                      <a:cubicBezTo>
                        <a:pt x="154942" y="313179"/>
                        <a:pt x="152164" y="312825"/>
                        <a:pt x="148761" y="310619"/>
                      </a:cubicBezTo>
                      <a:cubicBezTo>
                        <a:pt x="39076" y="240065"/>
                        <a:pt x="8414" y="128474"/>
                        <a:pt x="327" y="83788"/>
                      </a:cubicBezTo>
                      <a:lnTo>
                        <a:pt x="218" y="83080"/>
                      </a:lnTo>
                      <a:cubicBezTo>
                        <a:pt x="109" y="82563"/>
                        <a:pt x="0" y="81801"/>
                        <a:pt x="0" y="81038"/>
                      </a:cubicBezTo>
                      <a:cubicBezTo>
                        <a:pt x="0" y="75973"/>
                        <a:pt x="3785" y="71616"/>
                        <a:pt x="8795" y="70881"/>
                      </a:cubicBezTo>
                      <a:cubicBezTo>
                        <a:pt x="10538" y="70636"/>
                        <a:pt x="31941" y="66933"/>
                        <a:pt x="47381" y="64264"/>
                      </a:cubicBezTo>
                      <a:cubicBezTo>
                        <a:pt x="48960" y="60071"/>
                        <a:pt x="51793" y="49124"/>
                        <a:pt x="52800" y="45203"/>
                      </a:cubicBezTo>
                      <a:cubicBezTo>
                        <a:pt x="54216" y="39757"/>
                        <a:pt x="54216" y="39757"/>
                        <a:pt x="54924" y="38831"/>
                      </a:cubicBezTo>
                      <a:cubicBezTo>
                        <a:pt x="57647" y="35345"/>
                        <a:pt x="157093" y="0"/>
                        <a:pt x="157801" y="0"/>
                      </a:cubicBezTo>
                      <a:cubicBezTo>
                        <a:pt x="158673" y="0"/>
                        <a:pt x="259017" y="35563"/>
                        <a:pt x="261250" y="41200"/>
                      </a:cubicBezTo>
                      <a:cubicBezTo>
                        <a:pt x="261332" y="41418"/>
                        <a:pt x="261413" y="41663"/>
                        <a:pt x="261468" y="41908"/>
                      </a:cubicBezTo>
                      <a:cubicBezTo>
                        <a:pt x="263428" y="50377"/>
                        <a:pt x="266070" y="60397"/>
                        <a:pt x="267513" y="64264"/>
                      </a:cubicBezTo>
                      <a:cubicBezTo>
                        <a:pt x="279413" y="66334"/>
                        <a:pt x="303757" y="70554"/>
                        <a:pt x="306017" y="70881"/>
                      </a:cubicBezTo>
                      <a:cubicBezTo>
                        <a:pt x="311027" y="71507"/>
                        <a:pt x="314894" y="75892"/>
                        <a:pt x="314894" y="81038"/>
                      </a:cubicBezTo>
                      <a:cubicBezTo>
                        <a:pt x="314894" y="81637"/>
                        <a:pt x="314840" y="82345"/>
                        <a:pt x="314731" y="82917"/>
                      </a:cubicBezTo>
                      <a:lnTo>
                        <a:pt x="314540" y="83897"/>
                      </a:lnTo>
                      <a:cubicBezTo>
                        <a:pt x="306425" y="128583"/>
                        <a:pt x="275709" y="240174"/>
                        <a:pt x="166079" y="310646"/>
                      </a:cubicBezTo>
                      <a:cubicBezTo>
                        <a:pt x="163574" y="312280"/>
                        <a:pt x="160878" y="313151"/>
                        <a:pt x="158101" y="313260"/>
                      </a:cubicBezTo>
                      <a:cubicBezTo>
                        <a:pt x="158046" y="313288"/>
                        <a:pt x="157774" y="313288"/>
                        <a:pt x="157719" y="313288"/>
                      </a:cubicBezTo>
                      <a:close/>
                      <a:moveTo>
                        <a:pt x="62875" y="45366"/>
                      </a:moveTo>
                      <a:cubicBezTo>
                        <a:pt x="62712" y="46020"/>
                        <a:pt x="62494" y="46809"/>
                        <a:pt x="62276" y="47681"/>
                      </a:cubicBezTo>
                      <a:cubicBezTo>
                        <a:pt x="56204" y="71072"/>
                        <a:pt x="55142" y="72896"/>
                        <a:pt x="51221" y="73550"/>
                      </a:cubicBezTo>
                      <a:cubicBezTo>
                        <a:pt x="39321" y="75619"/>
                        <a:pt x="12390" y="80276"/>
                        <a:pt x="10184" y="80575"/>
                      </a:cubicBezTo>
                      <a:cubicBezTo>
                        <a:pt x="10211" y="80657"/>
                        <a:pt x="9857" y="81338"/>
                        <a:pt x="9857" y="81419"/>
                      </a:cubicBezTo>
                      <a:lnTo>
                        <a:pt x="9966" y="82100"/>
                      </a:lnTo>
                      <a:cubicBezTo>
                        <a:pt x="17809" y="125506"/>
                        <a:pt x="47599" y="233938"/>
                        <a:pt x="154071" y="302395"/>
                      </a:cubicBezTo>
                      <a:cubicBezTo>
                        <a:pt x="155541" y="303348"/>
                        <a:pt x="156467" y="303430"/>
                        <a:pt x="157529" y="303485"/>
                      </a:cubicBezTo>
                      <a:lnTo>
                        <a:pt x="157719" y="308386"/>
                      </a:lnTo>
                      <a:lnTo>
                        <a:pt x="157719" y="303485"/>
                      </a:lnTo>
                      <a:lnTo>
                        <a:pt x="157719" y="308386"/>
                      </a:lnTo>
                      <a:lnTo>
                        <a:pt x="157747" y="303485"/>
                      </a:lnTo>
                      <a:cubicBezTo>
                        <a:pt x="158754" y="303430"/>
                        <a:pt x="159734" y="303103"/>
                        <a:pt x="160796" y="302423"/>
                      </a:cubicBezTo>
                      <a:cubicBezTo>
                        <a:pt x="267214" y="234019"/>
                        <a:pt x="297058" y="125587"/>
                        <a:pt x="304928" y="82127"/>
                      </a:cubicBezTo>
                      <a:lnTo>
                        <a:pt x="305118" y="81174"/>
                      </a:lnTo>
                      <a:cubicBezTo>
                        <a:pt x="305091" y="81174"/>
                        <a:pt x="304628" y="80575"/>
                        <a:pt x="304574" y="80575"/>
                      </a:cubicBezTo>
                      <a:cubicBezTo>
                        <a:pt x="301905" y="80167"/>
                        <a:pt x="273340" y="75238"/>
                        <a:pt x="263592" y="73523"/>
                      </a:cubicBezTo>
                      <a:cubicBezTo>
                        <a:pt x="260433" y="73005"/>
                        <a:pt x="258636" y="72706"/>
                        <a:pt x="252427" y="46292"/>
                      </a:cubicBezTo>
                      <a:cubicBezTo>
                        <a:pt x="240174" y="40791"/>
                        <a:pt x="168230" y="13588"/>
                        <a:pt x="157747" y="10021"/>
                      </a:cubicBezTo>
                      <a:cubicBezTo>
                        <a:pt x="147290" y="13370"/>
                        <a:pt x="75347" y="40192"/>
                        <a:pt x="62875" y="45366"/>
                      </a:cubicBezTo>
                      <a:close/>
                      <a:moveTo>
                        <a:pt x="49587" y="63883"/>
                      </a:moveTo>
                      <a:cubicBezTo>
                        <a:pt x="49560" y="63883"/>
                        <a:pt x="49560" y="63883"/>
                        <a:pt x="49532" y="63883"/>
                      </a:cubicBezTo>
                      <a:cubicBezTo>
                        <a:pt x="49560" y="63910"/>
                        <a:pt x="49560" y="63910"/>
                        <a:pt x="49587" y="63883"/>
                      </a:cubicBezTo>
                      <a:close/>
                      <a:moveTo>
                        <a:pt x="265226" y="63856"/>
                      </a:moveTo>
                      <a:cubicBezTo>
                        <a:pt x="265253" y="63856"/>
                        <a:pt x="265307" y="63856"/>
                        <a:pt x="265335" y="63883"/>
                      </a:cubicBezTo>
                      <a:cubicBezTo>
                        <a:pt x="265280" y="63883"/>
                        <a:pt x="265253" y="63883"/>
                        <a:pt x="265226" y="63856"/>
                      </a:cubicBezTo>
                      <a:close/>
                    </a:path>
                  </a:pathLst>
                </a:custGeom>
                <a:grpFill/>
                <a:ln w="2718" cap="flat">
                  <a:noFill/>
                  <a:prstDash val="solid"/>
                  <a:miter/>
                </a:ln>
              </p:spPr>
              <p:txBody>
                <a:bodyPr rtlCol="0" anchor="ctr"/>
                <a:lstStyle/>
                <a:p>
                  <a:endParaRPr lang="en-GB" dirty="0"/>
                </a:p>
              </p:txBody>
            </p:sp>
          </p:grpSp>
          <p:grpSp>
            <p:nvGrpSpPr>
              <p:cNvPr id="712" name="Grafik 72">
                <a:extLst>
                  <a:ext uri="{FF2B5EF4-FFF2-40B4-BE49-F238E27FC236}">
                    <a16:creationId xmlns:a16="http://schemas.microsoft.com/office/drawing/2014/main" id="{077D2E3F-CA2A-4552-B784-89DA08F1897D}"/>
                  </a:ext>
                </a:extLst>
              </p:cNvPr>
              <p:cNvGrpSpPr/>
              <p:nvPr/>
            </p:nvGrpSpPr>
            <p:grpSpPr>
              <a:xfrm>
                <a:off x="6992658" y="3406216"/>
                <a:ext cx="381876" cy="367133"/>
                <a:chOff x="6992658" y="3406216"/>
                <a:chExt cx="381876" cy="367133"/>
              </a:xfrm>
              <a:grpFill/>
            </p:grpSpPr>
            <p:sp>
              <p:nvSpPr>
                <p:cNvPr id="716" name="Freihandform: Form 1009">
                  <a:extLst>
                    <a:ext uri="{FF2B5EF4-FFF2-40B4-BE49-F238E27FC236}">
                      <a16:creationId xmlns:a16="http://schemas.microsoft.com/office/drawing/2014/main" id="{8DDB06D3-2ADB-4B61-80C0-33FFA2A730FC}"/>
                    </a:ext>
                  </a:extLst>
                </p:cNvPr>
                <p:cNvSpPr/>
                <p:nvPr/>
              </p:nvSpPr>
              <p:spPr>
                <a:xfrm>
                  <a:off x="7311881" y="3712804"/>
                  <a:ext cx="62652" cy="60544"/>
                </a:xfrm>
                <a:custGeom>
                  <a:avLst/>
                  <a:gdLst>
                    <a:gd name="connsiteX0" fmla="*/ 57767 w 62652"/>
                    <a:gd name="connsiteY0" fmla="*/ 60545 h 60544"/>
                    <a:gd name="connsiteX1" fmla="*/ 54363 w 62652"/>
                    <a:gd name="connsiteY1" fmla="*/ 59183 h 60544"/>
                    <a:gd name="connsiteX2" fmla="*/ 1509 w 62652"/>
                    <a:gd name="connsiteY2" fmla="*/ 8425 h 60544"/>
                    <a:gd name="connsiteX3" fmla="*/ 1373 w 62652"/>
                    <a:gd name="connsiteY3" fmla="*/ 1509 h 60544"/>
                    <a:gd name="connsiteX4" fmla="*/ 8289 w 62652"/>
                    <a:gd name="connsiteY4" fmla="*/ 1373 h 60544"/>
                    <a:gd name="connsiteX5" fmla="*/ 61144 w 62652"/>
                    <a:gd name="connsiteY5" fmla="*/ 52130 h 60544"/>
                    <a:gd name="connsiteX6" fmla="*/ 61280 w 62652"/>
                    <a:gd name="connsiteY6" fmla="*/ 59047 h 60544"/>
                    <a:gd name="connsiteX7" fmla="*/ 57767 w 62652"/>
                    <a:gd name="connsiteY7" fmla="*/ 60545 h 60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52" h="60544">
                      <a:moveTo>
                        <a:pt x="57767" y="60545"/>
                      </a:moveTo>
                      <a:cubicBezTo>
                        <a:pt x="56542" y="60545"/>
                        <a:pt x="55316" y="60082"/>
                        <a:pt x="54363" y="59183"/>
                      </a:cubicBezTo>
                      <a:lnTo>
                        <a:pt x="1509" y="8425"/>
                      </a:lnTo>
                      <a:cubicBezTo>
                        <a:pt x="-452" y="6546"/>
                        <a:pt x="-506" y="3442"/>
                        <a:pt x="1373" y="1509"/>
                      </a:cubicBezTo>
                      <a:cubicBezTo>
                        <a:pt x="3252" y="-452"/>
                        <a:pt x="6329" y="-506"/>
                        <a:pt x="8289" y="1373"/>
                      </a:cubicBezTo>
                      <a:lnTo>
                        <a:pt x="61144" y="52130"/>
                      </a:lnTo>
                      <a:cubicBezTo>
                        <a:pt x="63104" y="54009"/>
                        <a:pt x="63159" y="57113"/>
                        <a:pt x="61280" y="59047"/>
                      </a:cubicBezTo>
                      <a:cubicBezTo>
                        <a:pt x="60327" y="60054"/>
                        <a:pt x="59047" y="60545"/>
                        <a:pt x="57767" y="60545"/>
                      </a:cubicBezTo>
                      <a:close/>
                    </a:path>
                  </a:pathLst>
                </a:custGeom>
                <a:grpFill/>
                <a:ln w="2718" cap="flat">
                  <a:noFill/>
                  <a:prstDash val="solid"/>
                  <a:miter/>
                </a:ln>
              </p:spPr>
              <p:txBody>
                <a:bodyPr rtlCol="0" anchor="ctr"/>
                <a:lstStyle/>
                <a:p>
                  <a:endParaRPr lang="en-GB" dirty="0"/>
                </a:p>
              </p:txBody>
            </p:sp>
            <p:sp>
              <p:nvSpPr>
                <p:cNvPr id="717" name="Freihandform: Form 1010">
                  <a:extLst>
                    <a:ext uri="{FF2B5EF4-FFF2-40B4-BE49-F238E27FC236}">
                      <a16:creationId xmlns:a16="http://schemas.microsoft.com/office/drawing/2014/main" id="{BD4BDFF6-3C02-4643-8B29-26339EDF3632}"/>
                    </a:ext>
                  </a:extLst>
                </p:cNvPr>
                <p:cNvSpPr/>
                <p:nvPr/>
              </p:nvSpPr>
              <p:spPr>
                <a:xfrm>
                  <a:off x="6992658" y="3406216"/>
                  <a:ext cx="81387" cy="78544"/>
                </a:xfrm>
                <a:custGeom>
                  <a:avLst/>
                  <a:gdLst>
                    <a:gd name="connsiteX0" fmla="*/ 76475 w 81387"/>
                    <a:gd name="connsiteY0" fmla="*/ 78544 h 78544"/>
                    <a:gd name="connsiteX1" fmla="*/ 73071 w 81387"/>
                    <a:gd name="connsiteY1" fmla="*/ 77183 h 78544"/>
                    <a:gd name="connsiteX2" fmla="*/ 1509 w 81387"/>
                    <a:gd name="connsiteY2" fmla="*/ 8425 h 78544"/>
                    <a:gd name="connsiteX3" fmla="*/ 1373 w 81387"/>
                    <a:gd name="connsiteY3" fmla="*/ 1509 h 78544"/>
                    <a:gd name="connsiteX4" fmla="*/ 8289 w 81387"/>
                    <a:gd name="connsiteY4" fmla="*/ 1373 h 78544"/>
                    <a:gd name="connsiteX5" fmla="*/ 79878 w 81387"/>
                    <a:gd name="connsiteY5" fmla="*/ 70130 h 78544"/>
                    <a:gd name="connsiteX6" fmla="*/ 80014 w 81387"/>
                    <a:gd name="connsiteY6" fmla="*/ 77046 h 78544"/>
                    <a:gd name="connsiteX7" fmla="*/ 76475 w 81387"/>
                    <a:gd name="connsiteY7" fmla="*/ 78544 h 7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387" h="78544">
                      <a:moveTo>
                        <a:pt x="76475" y="78544"/>
                      </a:moveTo>
                      <a:cubicBezTo>
                        <a:pt x="75249" y="78544"/>
                        <a:pt x="74024" y="78081"/>
                        <a:pt x="73071" y="77183"/>
                      </a:cubicBezTo>
                      <a:lnTo>
                        <a:pt x="1509" y="8425"/>
                      </a:lnTo>
                      <a:cubicBezTo>
                        <a:pt x="-452" y="6546"/>
                        <a:pt x="-506" y="3442"/>
                        <a:pt x="1373" y="1509"/>
                      </a:cubicBezTo>
                      <a:cubicBezTo>
                        <a:pt x="3252" y="-452"/>
                        <a:pt x="6329" y="-506"/>
                        <a:pt x="8289" y="1373"/>
                      </a:cubicBezTo>
                      <a:lnTo>
                        <a:pt x="79878" y="70130"/>
                      </a:lnTo>
                      <a:cubicBezTo>
                        <a:pt x="81839" y="72009"/>
                        <a:pt x="81893" y="75113"/>
                        <a:pt x="80014" y="77046"/>
                      </a:cubicBezTo>
                      <a:cubicBezTo>
                        <a:pt x="79034" y="78027"/>
                        <a:pt x="77754" y="78544"/>
                        <a:pt x="76475" y="78544"/>
                      </a:cubicBezTo>
                      <a:close/>
                    </a:path>
                  </a:pathLst>
                </a:custGeom>
                <a:grpFill/>
                <a:ln w="2718" cap="flat">
                  <a:noFill/>
                  <a:prstDash val="solid"/>
                  <a:miter/>
                </a:ln>
              </p:spPr>
              <p:txBody>
                <a:bodyPr rtlCol="0" anchor="ctr"/>
                <a:lstStyle/>
                <a:p>
                  <a:endParaRPr lang="en-GB" dirty="0"/>
                </a:p>
              </p:txBody>
            </p:sp>
          </p:grpSp>
          <p:grpSp>
            <p:nvGrpSpPr>
              <p:cNvPr id="713" name="Grafik 72">
                <a:extLst>
                  <a:ext uri="{FF2B5EF4-FFF2-40B4-BE49-F238E27FC236}">
                    <a16:creationId xmlns:a16="http://schemas.microsoft.com/office/drawing/2014/main" id="{9726A42C-AE8B-4240-8ADA-4B078C63AE58}"/>
                  </a:ext>
                </a:extLst>
              </p:cNvPr>
              <p:cNvGrpSpPr/>
              <p:nvPr/>
            </p:nvGrpSpPr>
            <p:grpSpPr>
              <a:xfrm>
                <a:off x="7059424" y="3402482"/>
                <a:ext cx="374556" cy="374597"/>
                <a:chOff x="7059424" y="3402482"/>
                <a:chExt cx="374556" cy="374597"/>
              </a:xfrm>
              <a:grpFill/>
            </p:grpSpPr>
            <p:sp>
              <p:nvSpPr>
                <p:cNvPr id="714" name="Freihandform: Form 1012">
                  <a:extLst>
                    <a:ext uri="{FF2B5EF4-FFF2-40B4-BE49-F238E27FC236}">
                      <a16:creationId xmlns:a16="http://schemas.microsoft.com/office/drawing/2014/main" id="{BD54D58C-E82D-4F8D-8D73-32C39A7A4429}"/>
                    </a:ext>
                  </a:extLst>
                </p:cNvPr>
                <p:cNvSpPr/>
                <p:nvPr/>
              </p:nvSpPr>
              <p:spPr>
                <a:xfrm>
                  <a:off x="7059424" y="3715471"/>
                  <a:ext cx="61595" cy="61609"/>
                </a:xfrm>
                <a:custGeom>
                  <a:avLst/>
                  <a:gdLst>
                    <a:gd name="connsiteX0" fmla="*/ 4888 w 61595"/>
                    <a:gd name="connsiteY0" fmla="*/ 61609 h 61609"/>
                    <a:gd name="connsiteX1" fmla="*/ 1430 w 61595"/>
                    <a:gd name="connsiteY1" fmla="*/ 60166 h 61609"/>
                    <a:gd name="connsiteX2" fmla="*/ 1430 w 61595"/>
                    <a:gd name="connsiteY2" fmla="*/ 53249 h 61609"/>
                    <a:gd name="connsiteX3" fmla="*/ 53249 w 61595"/>
                    <a:gd name="connsiteY3" fmla="*/ 1430 h 61609"/>
                    <a:gd name="connsiteX4" fmla="*/ 60166 w 61595"/>
                    <a:gd name="connsiteY4" fmla="*/ 1430 h 61609"/>
                    <a:gd name="connsiteX5" fmla="*/ 60166 w 61595"/>
                    <a:gd name="connsiteY5" fmla="*/ 8346 h 61609"/>
                    <a:gd name="connsiteX6" fmla="*/ 8346 w 61595"/>
                    <a:gd name="connsiteY6" fmla="*/ 60166 h 61609"/>
                    <a:gd name="connsiteX7" fmla="*/ 4888 w 61595"/>
                    <a:gd name="connsiteY7" fmla="*/ 61609 h 6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595" h="61609">
                      <a:moveTo>
                        <a:pt x="4888" y="61609"/>
                      </a:moveTo>
                      <a:cubicBezTo>
                        <a:pt x="3635" y="61609"/>
                        <a:pt x="2383" y="61119"/>
                        <a:pt x="1430" y="60166"/>
                      </a:cubicBezTo>
                      <a:cubicBezTo>
                        <a:pt x="-477" y="58260"/>
                        <a:pt x="-477" y="55155"/>
                        <a:pt x="1430" y="53249"/>
                      </a:cubicBezTo>
                      <a:lnTo>
                        <a:pt x="53249" y="1430"/>
                      </a:lnTo>
                      <a:cubicBezTo>
                        <a:pt x="55155" y="-477"/>
                        <a:pt x="58260" y="-477"/>
                        <a:pt x="60166" y="1430"/>
                      </a:cubicBezTo>
                      <a:cubicBezTo>
                        <a:pt x="62072" y="3336"/>
                        <a:pt x="62072" y="6440"/>
                        <a:pt x="60166" y="8346"/>
                      </a:cubicBezTo>
                      <a:lnTo>
                        <a:pt x="8346" y="60166"/>
                      </a:lnTo>
                      <a:cubicBezTo>
                        <a:pt x="7393" y="61146"/>
                        <a:pt x="6140" y="61609"/>
                        <a:pt x="4888" y="61609"/>
                      </a:cubicBezTo>
                      <a:close/>
                    </a:path>
                  </a:pathLst>
                </a:custGeom>
                <a:grpFill/>
                <a:ln w="2718" cap="flat">
                  <a:noFill/>
                  <a:prstDash val="solid"/>
                  <a:miter/>
                </a:ln>
              </p:spPr>
              <p:txBody>
                <a:bodyPr rtlCol="0" anchor="ctr"/>
                <a:lstStyle/>
                <a:p>
                  <a:endParaRPr lang="en-GB" dirty="0"/>
                </a:p>
              </p:txBody>
            </p:sp>
            <p:sp>
              <p:nvSpPr>
                <p:cNvPr id="715" name="Freihandform: Form 1013">
                  <a:extLst>
                    <a:ext uri="{FF2B5EF4-FFF2-40B4-BE49-F238E27FC236}">
                      <a16:creationId xmlns:a16="http://schemas.microsoft.com/office/drawing/2014/main" id="{A59AC633-721D-4E71-8CB0-140F602FBF88}"/>
                    </a:ext>
                  </a:extLst>
                </p:cNvPr>
                <p:cNvSpPr/>
                <p:nvPr/>
              </p:nvSpPr>
              <p:spPr>
                <a:xfrm>
                  <a:off x="7354032" y="3402482"/>
                  <a:ext cx="79948" cy="79962"/>
                </a:xfrm>
                <a:custGeom>
                  <a:avLst/>
                  <a:gdLst>
                    <a:gd name="connsiteX0" fmla="*/ 4888 w 79948"/>
                    <a:gd name="connsiteY0" fmla="*/ 79962 h 79962"/>
                    <a:gd name="connsiteX1" fmla="*/ 1430 w 79948"/>
                    <a:gd name="connsiteY1" fmla="*/ 78519 h 79962"/>
                    <a:gd name="connsiteX2" fmla="*/ 1430 w 79948"/>
                    <a:gd name="connsiteY2" fmla="*/ 71603 h 79962"/>
                    <a:gd name="connsiteX3" fmla="*/ 71603 w 79948"/>
                    <a:gd name="connsiteY3" fmla="*/ 1430 h 79962"/>
                    <a:gd name="connsiteX4" fmla="*/ 78519 w 79948"/>
                    <a:gd name="connsiteY4" fmla="*/ 1430 h 79962"/>
                    <a:gd name="connsiteX5" fmla="*/ 78519 w 79948"/>
                    <a:gd name="connsiteY5" fmla="*/ 8346 h 79962"/>
                    <a:gd name="connsiteX6" fmla="*/ 8346 w 79948"/>
                    <a:gd name="connsiteY6" fmla="*/ 78519 h 79962"/>
                    <a:gd name="connsiteX7" fmla="*/ 4888 w 79948"/>
                    <a:gd name="connsiteY7" fmla="*/ 79962 h 7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948" h="79962">
                      <a:moveTo>
                        <a:pt x="4888" y="79962"/>
                      </a:moveTo>
                      <a:cubicBezTo>
                        <a:pt x="3635" y="79962"/>
                        <a:pt x="2383" y="79472"/>
                        <a:pt x="1430" y="78519"/>
                      </a:cubicBezTo>
                      <a:cubicBezTo>
                        <a:pt x="-477" y="76613"/>
                        <a:pt x="-477" y="73509"/>
                        <a:pt x="1430" y="71603"/>
                      </a:cubicBezTo>
                      <a:lnTo>
                        <a:pt x="71603" y="1430"/>
                      </a:lnTo>
                      <a:cubicBezTo>
                        <a:pt x="73509" y="-477"/>
                        <a:pt x="76613" y="-477"/>
                        <a:pt x="78519" y="1430"/>
                      </a:cubicBezTo>
                      <a:cubicBezTo>
                        <a:pt x="80425" y="3336"/>
                        <a:pt x="80425" y="6440"/>
                        <a:pt x="78519" y="8346"/>
                      </a:cubicBezTo>
                      <a:lnTo>
                        <a:pt x="8346" y="78519"/>
                      </a:lnTo>
                      <a:cubicBezTo>
                        <a:pt x="7393" y="79500"/>
                        <a:pt x="6168" y="79962"/>
                        <a:pt x="4888" y="79962"/>
                      </a:cubicBezTo>
                      <a:close/>
                    </a:path>
                  </a:pathLst>
                </a:custGeom>
                <a:grpFill/>
                <a:ln w="2718" cap="flat">
                  <a:noFill/>
                  <a:prstDash val="solid"/>
                  <a:miter/>
                </a:ln>
              </p:spPr>
              <p:txBody>
                <a:bodyPr rtlCol="0" anchor="ctr"/>
                <a:lstStyle/>
                <a:p>
                  <a:endParaRPr lang="en-GB" dirty="0"/>
                </a:p>
              </p:txBody>
            </p:sp>
          </p:grpSp>
        </p:grpSp>
      </p:grpSp>
      <p:grpSp>
        <p:nvGrpSpPr>
          <p:cNvPr id="750" name="Group 749">
            <a:extLst>
              <a:ext uri="{FF2B5EF4-FFF2-40B4-BE49-F238E27FC236}">
                <a16:creationId xmlns:a16="http://schemas.microsoft.com/office/drawing/2014/main" id="{6457BBD1-097F-4253-9B32-D4582DEF529C}"/>
              </a:ext>
            </a:extLst>
          </p:cNvPr>
          <p:cNvGrpSpPr/>
          <p:nvPr/>
        </p:nvGrpSpPr>
        <p:grpSpPr>
          <a:xfrm>
            <a:off x="8038423" y="4040086"/>
            <a:ext cx="608490" cy="432000"/>
            <a:chOff x="8038011" y="4040086"/>
            <a:chExt cx="608490" cy="432000"/>
          </a:xfrm>
        </p:grpSpPr>
        <p:grpSp>
          <p:nvGrpSpPr>
            <p:cNvPr id="731" name="Group 730">
              <a:extLst>
                <a:ext uri="{FF2B5EF4-FFF2-40B4-BE49-F238E27FC236}">
                  <a16:creationId xmlns:a16="http://schemas.microsoft.com/office/drawing/2014/main" id="{3C4121D9-CEAD-4306-B7AE-62C0A4CE94D0}"/>
                </a:ext>
              </a:extLst>
            </p:cNvPr>
            <p:cNvGrpSpPr/>
            <p:nvPr/>
          </p:nvGrpSpPr>
          <p:grpSpPr>
            <a:xfrm>
              <a:off x="8204293" y="4194054"/>
              <a:ext cx="257307" cy="165330"/>
              <a:chOff x="1049084" y="4309282"/>
              <a:chExt cx="166785" cy="107166"/>
            </a:xfrm>
            <a:solidFill>
              <a:schemeClr val="accent1"/>
            </a:solidFill>
          </p:grpSpPr>
          <p:sp>
            <p:nvSpPr>
              <p:cNvPr id="737" name="Freihandform: Form 300">
                <a:extLst>
                  <a:ext uri="{FF2B5EF4-FFF2-40B4-BE49-F238E27FC236}">
                    <a16:creationId xmlns:a16="http://schemas.microsoft.com/office/drawing/2014/main" id="{C688CC1F-5119-493A-A994-3463FAFC66DC}"/>
                  </a:ext>
                </a:extLst>
              </p:cNvPr>
              <p:cNvSpPr/>
              <p:nvPr/>
            </p:nvSpPr>
            <p:spPr>
              <a:xfrm>
                <a:off x="1069354" y="4329739"/>
                <a:ext cx="87272" cy="86709"/>
              </a:xfrm>
              <a:custGeom>
                <a:avLst/>
                <a:gdLst>
                  <a:gd name="connsiteX0" fmla="*/ 67722 w 87272"/>
                  <a:gd name="connsiteY0" fmla="*/ 86710 h 86709"/>
                  <a:gd name="connsiteX1" fmla="*/ 65443 w 87272"/>
                  <a:gd name="connsiteY1" fmla="*/ 86576 h 86709"/>
                  <a:gd name="connsiteX2" fmla="*/ 6523 w 87272"/>
                  <a:gd name="connsiteY2" fmla="*/ 21434 h 86709"/>
                  <a:gd name="connsiteX3" fmla="*/ 1159 w 87272"/>
                  <a:gd name="connsiteY3" fmla="*/ 12745 h 86709"/>
                  <a:gd name="connsiteX4" fmla="*/ 2607 w 87272"/>
                  <a:gd name="connsiteY4" fmla="*/ 2607 h 86709"/>
                  <a:gd name="connsiteX5" fmla="*/ 12771 w 87272"/>
                  <a:gd name="connsiteY5" fmla="*/ 1159 h 86709"/>
                  <a:gd name="connsiteX6" fmla="*/ 24518 w 87272"/>
                  <a:gd name="connsiteY6" fmla="*/ 8266 h 86709"/>
                  <a:gd name="connsiteX7" fmla="*/ 87112 w 87272"/>
                  <a:gd name="connsiteY7" fmla="*/ 64290 h 86709"/>
                  <a:gd name="connsiteX8" fmla="*/ 81185 w 87272"/>
                  <a:gd name="connsiteY8" fmla="*/ 80729 h 86709"/>
                  <a:gd name="connsiteX9" fmla="*/ 80890 w 87272"/>
                  <a:gd name="connsiteY9" fmla="*/ 81024 h 86709"/>
                  <a:gd name="connsiteX10" fmla="*/ 80783 w 87272"/>
                  <a:gd name="connsiteY10" fmla="*/ 81132 h 86709"/>
                  <a:gd name="connsiteX11" fmla="*/ 67722 w 87272"/>
                  <a:gd name="connsiteY11" fmla="*/ 86710 h 86709"/>
                  <a:gd name="connsiteX12" fmla="*/ 12986 w 87272"/>
                  <a:gd name="connsiteY12" fmla="*/ 12932 h 86709"/>
                  <a:gd name="connsiteX13" fmla="*/ 15024 w 87272"/>
                  <a:gd name="connsiteY13" fmla="*/ 16258 h 86709"/>
                  <a:gd name="connsiteX14" fmla="*/ 66677 w 87272"/>
                  <a:gd name="connsiteY14" fmla="*/ 76707 h 86709"/>
                  <a:gd name="connsiteX15" fmla="*/ 73864 w 87272"/>
                  <a:gd name="connsiteY15" fmla="*/ 73971 h 86709"/>
                  <a:gd name="connsiteX16" fmla="*/ 74159 w 87272"/>
                  <a:gd name="connsiteY16" fmla="*/ 73703 h 86709"/>
                  <a:gd name="connsiteX17" fmla="*/ 74320 w 87272"/>
                  <a:gd name="connsiteY17" fmla="*/ 73542 h 86709"/>
                  <a:gd name="connsiteX18" fmla="*/ 77270 w 87272"/>
                  <a:gd name="connsiteY18" fmla="*/ 65524 h 86709"/>
                  <a:gd name="connsiteX19" fmla="*/ 19449 w 87272"/>
                  <a:gd name="connsiteY19" fmla="*/ 16767 h 86709"/>
                  <a:gd name="connsiteX20" fmla="*/ 12986 w 87272"/>
                  <a:gd name="connsiteY20" fmla="*/ 12932 h 86709"/>
                  <a:gd name="connsiteX21" fmla="*/ 9580 w 87272"/>
                  <a:gd name="connsiteY21" fmla="*/ 7434 h 86709"/>
                  <a:gd name="connsiteX22" fmla="*/ 9580 w 87272"/>
                  <a:gd name="connsiteY22" fmla="*/ 7434 h 86709"/>
                  <a:gd name="connsiteX23" fmla="*/ 9580 w 87272"/>
                  <a:gd name="connsiteY23" fmla="*/ 7434 h 86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272" h="86709">
                    <a:moveTo>
                      <a:pt x="67722" y="86710"/>
                    </a:moveTo>
                    <a:cubicBezTo>
                      <a:pt x="66972" y="86710"/>
                      <a:pt x="66221" y="86656"/>
                      <a:pt x="65443" y="86576"/>
                    </a:cubicBezTo>
                    <a:cubicBezTo>
                      <a:pt x="46429" y="84243"/>
                      <a:pt x="26717" y="54447"/>
                      <a:pt x="6523" y="21434"/>
                    </a:cubicBezTo>
                    <a:cubicBezTo>
                      <a:pt x="4565" y="18242"/>
                      <a:pt x="2768" y="15319"/>
                      <a:pt x="1159" y="12745"/>
                    </a:cubicBezTo>
                    <a:cubicBezTo>
                      <a:pt x="-826" y="9607"/>
                      <a:pt x="-209" y="5423"/>
                      <a:pt x="2607" y="2607"/>
                    </a:cubicBezTo>
                    <a:cubicBezTo>
                      <a:pt x="5450" y="-209"/>
                      <a:pt x="9607" y="-826"/>
                      <a:pt x="12771" y="1159"/>
                    </a:cubicBezTo>
                    <a:cubicBezTo>
                      <a:pt x="16124" y="3277"/>
                      <a:pt x="20146" y="5664"/>
                      <a:pt x="24518" y="8266"/>
                    </a:cubicBezTo>
                    <a:cubicBezTo>
                      <a:pt x="49834" y="23365"/>
                      <a:pt x="84538" y="44042"/>
                      <a:pt x="87112" y="64290"/>
                    </a:cubicBezTo>
                    <a:cubicBezTo>
                      <a:pt x="87890" y="70297"/>
                      <a:pt x="85825" y="75956"/>
                      <a:pt x="81185" y="80729"/>
                    </a:cubicBezTo>
                    <a:cubicBezTo>
                      <a:pt x="81078" y="80837"/>
                      <a:pt x="80998" y="80944"/>
                      <a:pt x="80890" y="81024"/>
                    </a:cubicBezTo>
                    <a:cubicBezTo>
                      <a:pt x="80864" y="81051"/>
                      <a:pt x="80810" y="81078"/>
                      <a:pt x="80783" y="81132"/>
                    </a:cubicBezTo>
                    <a:cubicBezTo>
                      <a:pt x="77028" y="84806"/>
                      <a:pt x="72550" y="86710"/>
                      <a:pt x="67722" y="86710"/>
                    </a:cubicBezTo>
                    <a:close/>
                    <a:moveTo>
                      <a:pt x="12986" y="12932"/>
                    </a:moveTo>
                    <a:cubicBezTo>
                      <a:pt x="13629" y="14005"/>
                      <a:pt x="14327" y="15105"/>
                      <a:pt x="15024" y="16258"/>
                    </a:cubicBezTo>
                    <a:cubicBezTo>
                      <a:pt x="27548" y="36720"/>
                      <a:pt x="50854" y="74776"/>
                      <a:pt x="66677" y="76707"/>
                    </a:cubicBezTo>
                    <a:cubicBezTo>
                      <a:pt x="69358" y="77055"/>
                      <a:pt x="71665" y="76170"/>
                      <a:pt x="73864" y="73971"/>
                    </a:cubicBezTo>
                    <a:cubicBezTo>
                      <a:pt x="73944" y="73891"/>
                      <a:pt x="74052" y="73784"/>
                      <a:pt x="74159" y="73703"/>
                    </a:cubicBezTo>
                    <a:cubicBezTo>
                      <a:pt x="74213" y="73649"/>
                      <a:pt x="74293" y="73596"/>
                      <a:pt x="74320" y="73542"/>
                    </a:cubicBezTo>
                    <a:cubicBezTo>
                      <a:pt x="76626" y="71182"/>
                      <a:pt x="77645" y="68554"/>
                      <a:pt x="77270" y="65524"/>
                    </a:cubicBezTo>
                    <a:cubicBezTo>
                      <a:pt x="75285" y="50076"/>
                      <a:pt x="40341" y="29238"/>
                      <a:pt x="19449" y="16767"/>
                    </a:cubicBezTo>
                    <a:cubicBezTo>
                      <a:pt x="17170" y="15453"/>
                      <a:pt x="14997" y="14166"/>
                      <a:pt x="12986" y="12932"/>
                    </a:cubicBezTo>
                    <a:close/>
                    <a:moveTo>
                      <a:pt x="9580" y="7434"/>
                    </a:moveTo>
                    <a:lnTo>
                      <a:pt x="9580" y="7434"/>
                    </a:lnTo>
                    <a:lnTo>
                      <a:pt x="9580" y="7434"/>
                    </a:lnTo>
                    <a:close/>
                  </a:path>
                </a:pathLst>
              </a:custGeom>
              <a:solidFill>
                <a:schemeClr val="accent1"/>
              </a:solidFill>
              <a:ln w="2676" cap="flat">
                <a:noFill/>
                <a:prstDash val="solid"/>
                <a:miter/>
              </a:ln>
            </p:spPr>
            <p:txBody>
              <a:bodyPr rtlCol="0" anchor="ctr"/>
              <a:lstStyle/>
              <a:p>
                <a:endParaRPr lang="en-GB" dirty="0"/>
              </a:p>
            </p:txBody>
          </p:sp>
          <p:sp>
            <p:nvSpPr>
              <p:cNvPr id="738" name="Freihandform: Form 302">
                <a:extLst>
                  <a:ext uri="{FF2B5EF4-FFF2-40B4-BE49-F238E27FC236}">
                    <a16:creationId xmlns:a16="http://schemas.microsoft.com/office/drawing/2014/main" id="{60A7EB20-8B9E-4FDB-BD91-85C3DC4A1AB5}"/>
                  </a:ext>
                </a:extLst>
              </p:cNvPr>
              <p:cNvSpPr/>
              <p:nvPr/>
            </p:nvSpPr>
            <p:spPr>
              <a:xfrm>
                <a:off x="1049084" y="4353691"/>
                <a:ext cx="17702" cy="43931"/>
              </a:xfrm>
              <a:custGeom>
                <a:avLst/>
                <a:gdLst>
                  <a:gd name="connsiteX0" fmla="*/ 4961 w 17702"/>
                  <a:gd name="connsiteY0" fmla="*/ 43931 h 43931"/>
                  <a:gd name="connsiteX1" fmla="*/ 0 w 17702"/>
                  <a:gd name="connsiteY1" fmla="*/ 38970 h 43931"/>
                  <a:gd name="connsiteX2" fmla="*/ 8233 w 17702"/>
                  <a:gd name="connsiteY2" fmla="*/ 2819 h 43931"/>
                  <a:gd name="connsiteX3" fmla="*/ 14884 w 17702"/>
                  <a:gd name="connsiteY3" fmla="*/ 485 h 43931"/>
                  <a:gd name="connsiteX4" fmla="*/ 17217 w 17702"/>
                  <a:gd name="connsiteY4" fmla="*/ 7110 h 43931"/>
                  <a:gd name="connsiteX5" fmla="*/ 9976 w 17702"/>
                  <a:gd name="connsiteY5" fmla="*/ 38943 h 43931"/>
                  <a:gd name="connsiteX6" fmla="*/ 4961 w 17702"/>
                  <a:gd name="connsiteY6" fmla="*/ 43931 h 43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02" h="43931">
                    <a:moveTo>
                      <a:pt x="4961" y="43931"/>
                    </a:moveTo>
                    <a:cubicBezTo>
                      <a:pt x="2226" y="43931"/>
                      <a:pt x="0" y="41705"/>
                      <a:pt x="0" y="38970"/>
                    </a:cubicBezTo>
                    <a:cubicBezTo>
                      <a:pt x="0" y="26312"/>
                      <a:pt x="2762" y="14163"/>
                      <a:pt x="8233" y="2819"/>
                    </a:cubicBezTo>
                    <a:cubicBezTo>
                      <a:pt x="9413" y="351"/>
                      <a:pt x="12390" y="-695"/>
                      <a:pt x="14884" y="485"/>
                    </a:cubicBezTo>
                    <a:cubicBezTo>
                      <a:pt x="17352" y="1665"/>
                      <a:pt x="18398" y="4642"/>
                      <a:pt x="17217" y="7110"/>
                    </a:cubicBezTo>
                    <a:cubicBezTo>
                      <a:pt x="12417" y="17086"/>
                      <a:pt x="9976" y="27787"/>
                      <a:pt x="9976" y="38943"/>
                    </a:cubicBezTo>
                    <a:cubicBezTo>
                      <a:pt x="9923" y="41705"/>
                      <a:pt x="7697" y="43931"/>
                      <a:pt x="4961" y="43931"/>
                    </a:cubicBezTo>
                    <a:close/>
                  </a:path>
                </a:pathLst>
              </a:custGeom>
              <a:solidFill>
                <a:schemeClr val="accent1"/>
              </a:solidFill>
              <a:ln w="2676" cap="flat">
                <a:noFill/>
                <a:prstDash val="solid"/>
                <a:miter/>
              </a:ln>
            </p:spPr>
            <p:txBody>
              <a:bodyPr rtlCol="0" anchor="ctr"/>
              <a:lstStyle/>
              <a:p>
                <a:endParaRPr lang="en-GB" dirty="0"/>
              </a:p>
            </p:txBody>
          </p:sp>
          <p:sp>
            <p:nvSpPr>
              <p:cNvPr id="739" name="Freihandform: Form 303">
                <a:extLst>
                  <a:ext uri="{FF2B5EF4-FFF2-40B4-BE49-F238E27FC236}">
                    <a16:creationId xmlns:a16="http://schemas.microsoft.com/office/drawing/2014/main" id="{EFED1D1D-293E-4E18-815A-32D706472042}"/>
                  </a:ext>
                </a:extLst>
              </p:cNvPr>
              <p:cNvSpPr/>
              <p:nvPr/>
            </p:nvSpPr>
            <p:spPr>
              <a:xfrm>
                <a:off x="1096989" y="4309282"/>
                <a:ext cx="118880" cy="88340"/>
              </a:xfrm>
              <a:custGeom>
                <a:avLst/>
                <a:gdLst>
                  <a:gd name="connsiteX0" fmla="*/ 113892 w 118880"/>
                  <a:gd name="connsiteY0" fmla="*/ 88340 h 88340"/>
                  <a:gd name="connsiteX1" fmla="*/ 108931 w 118880"/>
                  <a:gd name="connsiteY1" fmla="*/ 83379 h 88340"/>
                  <a:gd name="connsiteX2" fmla="*/ 35501 w 118880"/>
                  <a:gd name="connsiteY2" fmla="*/ 9950 h 88340"/>
                  <a:gd name="connsiteX3" fmla="*/ 6913 w 118880"/>
                  <a:gd name="connsiteY3" fmla="*/ 15716 h 88340"/>
                  <a:gd name="connsiteX4" fmla="*/ 396 w 118880"/>
                  <a:gd name="connsiteY4" fmla="*/ 13087 h 88340"/>
                  <a:gd name="connsiteX5" fmla="*/ 3051 w 118880"/>
                  <a:gd name="connsiteY5" fmla="*/ 6571 h 88340"/>
                  <a:gd name="connsiteX6" fmla="*/ 35501 w 118880"/>
                  <a:gd name="connsiteY6" fmla="*/ 0 h 88340"/>
                  <a:gd name="connsiteX7" fmla="*/ 118880 w 118880"/>
                  <a:gd name="connsiteY7" fmla="*/ 83379 h 88340"/>
                  <a:gd name="connsiteX8" fmla="*/ 113892 w 118880"/>
                  <a:gd name="connsiteY8" fmla="*/ 88340 h 8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8880" h="88340">
                    <a:moveTo>
                      <a:pt x="113892" y="88340"/>
                    </a:moveTo>
                    <a:cubicBezTo>
                      <a:pt x="111156" y="88340"/>
                      <a:pt x="108931" y="86114"/>
                      <a:pt x="108931" y="83379"/>
                    </a:cubicBezTo>
                    <a:cubicBezTo>
                      <a:pt x="108931" y="42883"/>
                      <a:pt x="75997" y="9950"/>
                      <a:pt x="35501" y="9950"/>
                    </a:cubicBezTo>
                    <a:cubicBezTo>
                      <a:pt x="25579" y="9950"/>
                      <a:pt x="15978" y="11881"/>
                      <a:pt x="6913" y="15716"/>
                    </a:cubicBezTo>
                    <a:cubicBezTo>
                      <a:pt x="4392" y="16815"/>
                      <a:pt x="1469" y="15608"/>
                      <a:pt x="396" y="13087"/>
                    </a:cubicBezTo>
                    <a:cubicBezTo>
                      <a:pt x="-677" y="10567"/>
                      <a:pt x="503" y="7643"/>
                      <a:pt x="3051" y="6571"/>
                    </a:cubicBezTo>
                    <a:cubicBezTo>
                      <a:pt x="13323" y="2226"/>
                      <a:pt x="24264" y="0"/>
                      <a:pt x="35501" y="0"/>
                    </a:cubicBezTo>
                    <a:cubicBezTo>
                      <a:pt x="81495" y="0"/>
                      <a:pt x="118880" y="37412"/>
                      <a:pt x="118880" y="83379"/>
                    </a:cubicBezTo>
                    <a:cubicBezTo>
                      <a:pt x="118853" y="86114"/>
                      <a:pt x="116628" y="88340"/>
                      <a:pt x="113892" y="88340"/>
                    </a:cubicBezTo>
                    <a:close/>
                  </a:path>
                </a:pathLst>
              </a:custGeom>
              <a:solidFill>
                <a:schemeClr val="accent1"/>
              </a:solidFill>
              <a:ln w="2676" cap="flat">
                <a:noFill/>
                <a:prstDash val="solid"/>
                <a:miter/>
              </a:ln>
            </p:spPr>
            <p:txBody>
              <a:bodyPr rtlCol="0" anchor="ctr"/>
              <a:lstStyle/>
              <a:p>
                <a:endParaRPr lang="en-GB" dirty="0"/>
              </a:p>
            </p:txBody>
          </p:sp>
        </p:grpSp>
        <p:grpSp>
          <p:nvGrpSpPr>
            <p:cNvPr id="732" name="Group 731">
              <a:extLst>
                <a:ext uri="{FF2B5EF4-FFF2-40B4-BE49-F238E27FC236}">
                  <a16:creationId xmlns:a16="http://schemas.microsoft.com/office/drawing/2014/main" id="{DE22DC86-1ED2-40A6-BAAF-3128D1C306B7}"/>
                </a:ext>
              </a:extLst>
            </p:cNvPr>
            <p:cNvGrpSpPr/>
            <p:nvPr/>
          </p:nvGrpSpPr>
          <p:grpSpPr>
            <a:xfrm>
              <a:off x="8038011" y="4040086"/>
              <a:ext cx="608490" cy="432000"/>
              <a:chOff x="941301" y="4209481"/>
              <a:chExt cx="394420" cy="280020"/>
            </a:xfrm>
          </p:grpSpPr>
          <p:sp>
            <p:nvSpPr>
              <p:cNvPr id="733" name="Freihandform: Form 298">
                <a:extLst>
                  <a:ext uri="{FF2B5EF4-FFF2-40B4-BE49-F238E27FC236}">
                    <a16:creationId xmlns:a16="http://schemas.microsoft.com/office/drawing/2014/main" id="{9F453E23-BCAB-476D-A927-8D90496107B3}"/>
                  </a:ext>
                </a:extLst>
              </p:cNvPr>
              <p:cNvSpPr/>
              <p:nvPr/>
            </p:nvSpPr>
            <p:spPr>
              <a:xfrm>
                <a:off x="949337" y="4209481"/>
                <a:ext cx="366065" cy="218687"/>
              </a:xfrm>
              <a:custGeom>
                <a:avLst/>
                <a:gdLst>
                  <a:gd name="connsiteX0" fmla="*/ 50052 w 366065"/>
                  <a:gd name="connsiteY0" fmla="*/ 218687 h 218687"/>
                  <a:gd name="connsiteX1" fmla="*/ 45225 w 366065"/>
                  <a:gd name="connsiteY1" fmla="*/ 214852 h 218687"/>
                  <a:gd name="connsiteX2" fmla="*/ 44179 w 366065"/>
                  <a:gd name="connsiteY2" fmla="*/ 156200 h 218687"/>
                  <a:gd name="connsiteX3" fmla="*/ 3120 w 366065"/>
                  <a:gd name="connsiteY3" fmla="*/ 139734 h 218687"/>
                  <a:gd name="connsiteX4" fmla="*/ 357 w 366065"/>
                  <a:gd name="connsiteY4" fmla="*/ 133270 h 218687"/>
                  <a:gd name="connsiteX5" fmla="*/ 16368 w 366065"/>
                  <a:gd name="connsiteY5" fmla="*/ 93203 h 218687"/>
                  <a:gd name="connsiteX6" fmla="*/ 19023 w 366065"/>
                  <a:gd name="connsiteY6" fmla="*/ 90468 h 218687"/>
                  <a:gd name="connsiteX7" fmla="*/ 22831 w 366065"/>
                  <a:gd name="connsiteY7" fmla="*/ 90414 h 218687"/>
                  <a:gd name="connsiteX8" fmla="*/ 63864 w 366065"/>
                  <a:gd name="connsiteY8" fmla="*/ 106854 h 218687"/>
                  <a:gd name="connsiteX9" fmla="*/ 101624 w 366065"/>
                  <a:gd name="connsiteY9" fmla="*/ 67458 h 218687"/>
                  <a:gd name="connsiteX10" fmla="*/ 83307 w 366065"/>
                  <a:gd name="connsiteY10" fmla="*/ 27122 h 218687"/>
                  <a:gd name="connsiteX11" fmla="*/ 83173 w 366065"/>
                  <a:gd name="connsiteY11" fmla="*/ 23314 h 218687"/>
                  <a:gd name="connsiteX12" fmla="*/ 85775 w 366065"/>
                  <a:gd name="connsiteY12" fmla="*/ 20525 h 218687"/>
                  <a:gd name="connsiteX13" fmla="*/ 125117 w 366065"/>
                  <a:gd name="connsiteY13" fmla="*/ 2771 h 218687"/>
                  <a:gd name="connsiteX14" fmla="*/ 131688 w 366065"/>
                  <a:gd name="connsiteY14" fmla="*/ 5238 h 218687"/>
                  <a:gd name="connsiteX15" fmla="*/ 149951 w 366065"/>
                  <a:gd name="connsiteY15" fmla="*/ 45547 h 218687"/>
                  <a:gd name="connsiteX16" fmla="*/ 210132 w 366065"/>
                  <a:gd name="connsiteY16" fmla="*/ 44179 h 218687"/>
                  <a:gd name="connsiteX17" fmla="*/ 226572 w 366065"/>
                  <a:gd name="connsiteY17" fmla="*/ 3120 h 218687"/>
                  <a:gd name="connsiteX18" fmla="*/ 233035 w 366065"/>
                  <a:gd name="connsiteY18" fmla="*/ 357 h 218687"/>
                  <a:gd name="connsiteX19" fmla="*/ 273048 w 366065"/>
                  <a:gd name="connsiteY19" fmla="*/ 16341 h 218687"/>
                  <a:gd name="connsiteX20" fmla="*/ 275784 w 366065"/>
                  <a:gd name="connsiteY20" fmla="*/ 18996 h 218687"/>
                  <a:gd name="connsiteX21" fmla="*/ 275837 w 366065"/>
                  <a:gd name="connsiteY21" fmla="*/ 22805 h 218687"/>
                  <a:gd name="connsiteX22" fmla="*/ 259398 w 366065"/>
                  <a:gd name="connsiteY22" fmla="*/ 63891 h 218687"/>
                  <a:gd name="connsiteX23" fmla="*/ 301985 w 366065"/>
                  <a:gd name="connsiteY23" fmla="*/ 106398 h 218687"/>
                  <a:gd name="connsiteX24" fmla="*/ 343071 w 366065"/>
                  <a:gd name="connsiteY24" fmla="*/ 89905 h 218687"/>
                  <a:gd name="connsiteX25" fmla="*/ 349535 w 366065"/>
                  <a:gd name="connsiteY25" fmla="*/ 92667 h 218687"/>
                  <a:gd name="connsiteX26" fmla="*/ 365706 w 366065"/>
                  <a:gd name="connsiteY26" fmla="*/ 132573 h 218687"/>
                  <a:gd name="connsiteX27" fmla="*/ 365679 w 366065"/>
                  <a:gd name="connsiteY27" fmla="*/ 136381 h 218687"/>
                  <a:gd name="connsiteX28" fmla="*/ 362971 w 366065"/>
                  <a:gd name="connsiteY28" fmla="*/ 139036 h 218687"/>
                  <a:gd name="connsiteX29" fmla="*/ 321912 w 366065"/>
                  <a:gd name="connsiteY29" fmla="*/ 155610 h 218687"/>
                  <a:gd name="connsiteX30" fmla="*/ 321161 w 366065"/>
                  <a:gd name="connsiteY30" fmla="*/ 214289 h 218687"/>
                  <a:gd name="connsiteX31" fmla="*/ 315207 w 366065"/>
                  <a:gd name="connsiteY31" fmla="*/ 218044 h 218687"/>
                  <a:gd name="connsiteX32" fmla="*/ 311452 w 366065"/>
                  <a:gd name="connsiteY32" fmla="*/ 212090 h 218687"/>
                  <a:gd name="connsiteX33" fmla="*/ 311318 w 366065"/>
                  <a:gd name="connsiteY33" fmla="*/ 153706 h 218687"/>
                  <a:gd name="connsiteX34" fmla="*/ 314295 w 366065"/>
                  <a:gd name="connsiteY34" fmla="*/ 147967 h 218687"/>
                  <a:gd name="connsiteX35" fmla="*/ 354630 w 366065"/>
                  <a:gd name="connsiteY35" fmla="*/ 131688 h 218687"/>
                  <a:gd name="connsiteX36" fmla="*/ 342186 w 366065"/>
                  <a:gd name="connsiteY36" fmla="*/ 100981 h 218687"/>
                  <a:gd name="connsiteX37" fmla="*/ 301851 w 366065"/>
                  <a:gd name="connsiteY37" fmla="*/ 117179 h 218687"/>
                  <a:gd name="connsiteX38" fmla="*/ 295737 w 366065"/>
                  <a:gd name="connsiteY38" fmla="*/ 115114 h 218687"/>
                  <a:gd name="connsiteX39" fmla="*/ 250708 w 366065"/>
                  <a:gd name="connsiteY39" fmla="*/ 70193 h 218687"/>
                  <a:gd name="connsiteX40" fmla="*/ 248643 w 366065"/>
                  <a:gd name="connsiteY40" fmla="*/ 64078 h 218687"/>
                  <a:gd name="connsiteX41" fmla="*/ 264788 w 366065"/>
                  <a:gd name="connsiteY41" fmla="*/ 23716 h 218687"/>
                  <a:gd name="connsiteX42" fmla="*/ 234027 w 366065"/>
                  <a:gd name="connsiteY42" fmla="*/ 11407 h 218687"/>
                  <a:gd name="connsiteX43" fmla="*/ 217883 w 366065"/>
                  <a:gd name="connsiteY43" fmla="*/ 51715 h 218687"/>
                  <a:gd name="connsiteX44" fmla="*/ 212170 w 366065"/>
                  <a:gd name="connsiteY44" fmla="*/ 54719 h 218687"/>
                  <a:gd name="connsiteX45" fmla="*/ 148530 w 366065"/>
                  <a:gd name="connsiteY45" fmla="*/ 56194 h 218687"/>
                  <a:gd name="connsiteX46" fmla="*/ 142683 w 366065"/>
                  <a:gd name="connsiteY46" fmla="*/ 53458 h 218687"/>
                  <a:gd name="connsiteX47" fmla="*/ 124742 w 366065"/>
                  <a:gd name="connsiteY47" fmla="*/ 13847 h 218687"/>
                  <a:gd name="connsiteX48" fmla="*/ 94464 w 366065"/>
                  <a:gd name="connsiteY48" fmla="*/ 27498 h 218687"/>
                  <a:gd name="connsiteX49" fmla="*/ 112459 w 366065"/>
                  <a:gd name="connsiteY49" fmla="*/ 67109 h 218687"/>
                  <a:gd name="connsiteX50" fmla="*/ 110662 w 366065"/>
                  <a:gd name="connsiteY50" fmla="*/ 73331 h 218687"/>
                  <a:gd name="connsiteX51" fmla="*/ 70220 w 366065"/>
                  <a:gd name="connsiteY51" fmla="*/ 115516 h 218687"/>
                  <a:gd name="connsiteX52" fmla="*/ 64105 w 366065"/>
                  <a:gd name="connsiteY52" fmla="*/ 117581 h 218687"/>
                  <a:gd name="connsiteX53" fmla="*/ 23797 w 366065"/>
                  <a:gd name="connsiteY53" fmla="*/ 101437 h 218687"/>
                  <a:gd name="connsiteX54" fmla="*/ 11460 w 366065"/>
                  <a:gd name="connsiteY54" fmla="*/ 132278 h 218687"/>
                  <a:gd name="connsiteX55" fmla="*/ 51769 w 366065"/>
                  <a:gd name="connsiteY55" fmla="*/ 148450 h 218687"/>
                  <a:gd name="connsiteX56" fmla="*/ 54772 w 366065"/>
                  <a:gd name="connsiteY56" fmla="*/ 154162 h 218687"/>
                  <a:gd name="connsiteX57" fmla="*/ 54933 w 366065"/>
                  <a:gd name="connsiteY57" fmla="*/ 212519 h 218687"/>
                  <a:gd name="connsiteX58" fmla="*/ 51232 w 366065"/>
                  <a:gd name="connsiteY58" fmla="*/ 218500 h 218687"/>
                  <a:gd name="connsiteX59" fmla="*/ 50052 w 366065"/>
                  <a:gd name="connsiteY59" fmla="*/ 218687 h 21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66065" h="218687">
                    <a:moveTo>
                      <a:pt x="50052" y="218687"/>
                    </a:moveTo>
                    <a:cubicBezTo>
                      <a:pt x="47799" y="218687"/>
                      <a:pt x="45761" y="217132"/>
                      <a:pt x="45225" y="214852"/>
                    </a:cubicBezTo>
                    <a:cubicBezTo>
                      <a:pt x="40746" y="195757"/>
                      <a:pt x="40398" y="175563"/>
                      <a:pt x="44179" y="156200"/>
                    </a:cubicBezTo>
                    <a:lnTo>
                      <a:pt x="3120" y="139734"/>
                    </a:lnTo>
                    <a:cubicBezTo>
                      <a:pt x="572" y="138714"/>
                      <a:pt x="-662" y="135818"/>
                      <a:pt x="357" y="133270"/>
                    </a:cubicBezTo>
                    <a:lnTo>
                      <a:pt x="16368" y="93203"/>
                    </a:lnTo>
                    <a:cubicBezTo>
                      <a:pt x="16851" y="91970"/>
                      <a:pt x="17816" y="91004"/>
                      <a:pt x="19023" y="90468"/>
                    </a:cubicBezTo>
                    <a:cubicBezTo>
                      <a:pt x="20230" y="89958"/>
                      <a:pt x="21598" y="89931"/>
                      <a:pt x="22831" y="90414"/>
                    </a:cubicBezTo>
                    <a:lnTo>
                      <a:pt x="63864" y="106854"/>
                    </a:lnTo>
                    <a:cubicBezTo>
                      <a:pt x="73760" y="91326"/>
                      <a:pt x="86445" y="78104"/>
                      <a:pt x="101624" y="67458"/>
                    </a:cubicBezTo>
                    <a:lnTo>
                      <a:pt x="83307" y="27122"/>
                    </a:lnTo>
                    <a:cubicBezTo>
                      <a:pt x="82771" y="25916"/>
                      <a:pt x="82717" y="24548"/>
                      <a:pt x="83173" y="23314"/>
                    </a:cubicBezTo>
                    <a:cubicBezTo>
                      <a:pt x="83629" y="22081"/>
                      <a:pt x="84568" y="21088"/>
                      <a:pt x="85775" y="20525"/>
                    </a:cubicBezTo>
                    <a:lnTo>
                      <a:pt x="125117" y="2771"/>
                    </a:lnTo>
                    <a:cubicBezTo>
                      <a:pt x="127611" y="1645"/>
                      <a:pt x="130561" y="2771"/>
                      <a:pt x="131688" y="5238"/>
                    </a:cubicBezTo>
                    <a:lnTo>
                      <a:pt x="149951" y="45547"/>
                    </a:lnTo>
                    <a:cubicBezTo>
                      <a:pt x="169529" y="40800"/>
                      <a:pt x="190152" y="40290"/>
                      <a:pt x="210132" y="44179"/>
                    </a:cubicBezTo>
                    <a:lnTo>
                      <a:pt x="226572" y="3120"/>
                    </a:lnTo>
                    <a:cubicBezTo>
                      <a:pt x="227591" y="572"/>
                      <a:pt x="230487" y="-662"/>
                      <a:pt x="233035" y="357"/>
                    </a:cubicBezTo>
                    <a:lnTo>
                      <a:pt x="273048" y="16341"/>
                    </a:lnTo>
                    <a:cubicBezTo>
                      <a:pt x="274282" y="16824"/>
                      <a:pt x="275247" y="17790"/>
                      <a:pt x="275784" y="18996"/>
                    </a:cubicBezTo>
                    <a:cubicBezTo>
                      <a:pt x="276293" y="20203"/>
                      <a:pt x="276320" y="21571"/>
                      <a:pt x="275837" y="22805"/>
                    </a:cubicBezTo>
                    <a:lnTo>
                      <a:pt x="259398" y="63891"/>
                    </a:lnTo>
                    <a:cubicBezTo>
                      <a:pt x="276374" y="74699"/>
                      <a:pt x="290963" y="89288"/>
                      <a:pt x="301985" y="106398"/>
                    </a:cubicBezTo>
                    <a:lnTo>
                      <a:pt x="343071" y="89905"/>
                    </a:lnTo>
                    <a:cubicBezTo>
                      <a:pt x="345619" y="88912"/>
                      <a:pt x="348516" y="90119"/>
                      <a:pt x="349535" y="92667"/>
                    </a:cubicBezTo>
                    <a:lnTo>
                      <a:pt x="365706" y="132573"/>
                    </a:lnTo>
                    <a:cubicBezTo>
                      <a:pt x="366189" y="133780"/>
                      <a:pt x="366189" y="135174"/>
                      <a:pt x="365679" y="136381"/>
                    </a:cubicBezTo>
                    <a:cubicBezTo>
                      <a:pt x="365170" y="137588"/>
                      <a:pt x="364178" y="138553"/>
                      <a:pt x="362971" y="139036"/>
                    </a:cubicBezTo>
                    <a:lnTo>
                      <a:pt x="321912" y="155610"/>
                    </a:lnTo>
                    <a:cubicBezTo>
                      <a:pt x="325774" y="174812"/>
                      <a:pt x="325532" y="195033"/>
                      <a:pt x="321161" y="214289"/>
                    </a:cubicBezTo>
                    <a:cubicBezTo>
                      <a:pt x="320544" y="216944"/>
                      <a:pt x="317889" y="218634"/>
                      <a:pt x="315207" y="218044"/>
                    </a:cubicBezTo>
                    <a:cubicBezTo>
                      <a:pt x="312525" y="217427"/>
                      <a:pt x="310862" y="214772"/>
                      <a:pt x="311452" y="212090"/>
                    </a:cubicBezTo>
                    <a:cubicBezTo>
                      <a:pt x="315824" y="192888"/>
                      <a:pt x="315770" y="172694"/>
                      <a:pt x="311318" y="153706"/>
                    </a:cubicBezTo>
                    <a:cubicBezTo>
                      <a:pt x="310755" y="151319"/>
                      <a:pt x="312016" y="148879"/>
                      <a:pt x="314295" y="147967"/>
                    </a:cubicBezTo>
                    <a:lnTo>
                      <a:pt x="354630" y="131688"/>
                    </a:lnTo>
                    <a:lnTo>
                      <a:pt x="342186" y="100981"/>
                    </a:lnTo>
                    <a:lnTo>
                      <a:pt x="301851" y="117179"/>
                    </a:lnTo>
                    <a:cubicBezTo>
                      <a:pt x="299572" y="118064"/>
                      <a:pt x="296997" y="117206"/>
                      <a:pt x="295737" y="115114"/>
                    </a:cubicBezTo>
                    <a:cubicBezTo>
                      <a:pt x="284580" y="96609"/>
                      <a:pt x="269026" y="81081"/>
                      <a:pt x="250708" y="70193"/>
                    </a:cubicBezTo>
                    <a:cubicBezTo>
                      <a:pt x="248617" y="68933"/>
                      <a:pt x="247732" y="66358"/>
                      <a:pt x="248643" y="64078"/>
                    </a:cubicBezTo>
                    <a:lnTo>
                      <a:pt x="264788" y="23716"/>
                    </a:lnTo>
                    <a:lnTo>
                      <a:pt x="234027" y="11407"/>
                    </a:lnTo>
                    <a:lnTo>
                      <a:pt x="217883" y="51715"/>
                    </a:lnTo>
                    <a:cubicBezTo>
                      <a:pt x="216971" y="53968"/>
                      <a:pt x="214557" y="55282"/>
                      <a:pt x="212170" y="54719"/>
                    </a:cubicBezTo>
                    <a:cubicBezTo>
                      <a:pt x="191091" y="49999"/>
                      <a:pt x="169073" y="50508"/>
                      <a:pt x="148530" y="56194"/>
                    </a:cubicBezTo>
                    <a:cubicBezTo>
                      <a:pt x="146170" y="56864"/>
                      <a:pt x="143676" y="55684"/>
                      <a:pt x="142683" y="53458"/>
                    </a:cubicBezTo>
                    <a:lnTo>
                      <a:pt x="124742" y="13847"/>
                    </a:lnTo>
                    <a:lnTo>
                      <a:pt x="94464" y="27498"/>
                    </a:lnTo>
                    <a:lnTo>
                      <a:pt x="112459" y="67109"/>
                    </a:lnTo>
                    <a:cubicBezTo>
                      <a:pt x="113478" y="69335"/>
                      <a:pt x="112700" y="71990"/>
                      <a:pt x="110662" y="73331"/>
                    </a:cubicBezTo>
                    <a:cubicBezTo>
                      <a:pt x="93981" y="84299"/>
                      <a:pt x="80384" y="98487"/>
                      <a:pt x="70220" y="115516"/>
                    </a:cubicBezTo>
                    <a:cubicBezTo>
                      <a:pt x="68959" y="117608"/>
                      <a:pt x="66358" y="118493"/>
                      <a:pt x="64105" y="117581"/>
                    </a:cubicBezTo>
                    <a:lnTo>
                      <a:pt x="23797" y="101437"/>
                    </a:lnTo>
                    <a:lnTo>
                      <a:pt x="11460" y="132278"/>
                    </a:lnTo>
                    <a:lnTo>
                      <a:pt x="51769" y="148450"/>
                    </a:lnTo>
                    <a:cubicBezTo>
                      <a:pt x="54021" y="149361"/>
                      <a:pt x="55309" y="151775"/>
                      <a:pt x="54772" y="154162"/>
                    </a:cubicBezTo>
                    <a:cubicBezTo>
                      <a:pt x="50428" y="173337"/>
                      <a:pt x="50481" y="193531"/>
                      <a:pt x="54933" y="212519"/>
                    </a:cubicBezTo>
                    <a:cubicBezTo>
                      <a:pt x="55550" y="215201"/>
                      <a:pt x="53914" y="217883"/>
                      <a:pt x="51232" y="218500"/>
                    </a:cubicBezTo>
                    <a:cubicBezTo>
                      <a:pt x="50803" y="218660"/>
                      <a:pt x="50428" y="218687"/>
                      <a:pt x="50052" y="218687"/>
                    </a:cubicBezTo>
                    <a:close/>
                  </a:path>
                </a:pathLst>
              </a:custGeom>
              <a:solidFill>
                <a:schemeClr val="tx2"/>
              </a:solidFill>
              <a:ln w="2676" cap="flat">
                <a:noFill/>
                <a:prstDash val="solid"/>
                <a:miter/>
              </a:ln>
            </p:spPr>
            <p:txBody>
              <a:bodyPr rtlCol="0" anchor="ctr"/>
              <a:lstStyle/>
              <a:p>
                <a:endParaRPr lang="en-GB" dirty="0"/>
              </a:p>
            </p:txBody>
          </p:sp>
          <p:sp>
            <p:nvSpPr>
              <p:cNvPr id="734" name="Freihandform: Form 301">
                <a:extLst>
                  <a:ext uri="{FF2B5EF4-FFF2-40B4-BE49-F238E27FC236}">
                    <a16:creationId xmlns:a16="http://schemas.microsoft.com/office/drawing/2014/main" id="{BED35709-6E52-4FAE-A845-CB940CA175B9}"/>
                  </a:ext>
                </a:extLst>
              </p:cNvPr>
              <p:cNvSpPr/>
              <p:nvPr/>
            </p:nvSpPr>
            <p:spPr>
              <a:xfrm>
                <a:off x="1019772" y="4279969"/>
                <a:ext cx="225382" cy="156513"/>
              </a:xfrm>
              <a:custGeom>
                <a:avLst/>
                <a:gdLst>
                  <a:gd name="connsiteX0" fmla="*/ 213180 w 225382"/>
                  <a:gd name="connsiteY0" fmla="*/ 156513 h 156513"/>
                  <a:gd name="connsiteX1" fmla="*/ 211384 w 225382"/>
                  <a:gd name="connsiteY1" fmla="*/ 156164 h 156513"/>
                  <a:gd name="connsiteX2" fmla="*/ 208541 w 225382"/>
                  <a:gd name="connsiteY2" fmla="*/ 149728 h 156513"/>
                  <a:gd name="connsiteX3" fmla="*/ 215433 w 225382"/>
                  <a:gd name="connsiteY3" fmla="*/ 112665 h 156513"/>
                  <a:gd name="connsiteX4" fmla="*/ 112691 w 225382"/>
                  <a:gd name="connsiteY4" fmla="*/ 9923 h 156513"/>
                  <a:gd name="connsiteX5" fmla="*/ 9950 w 225382"/>
                  <a:gd name="connsiteY5" fmla="*/ 112665 h 156513"/>
                  <a:gd name="connsiteX6" fmla="*/ 16842 w 225382"/>
                  <a:gd name="connsiteY6" fmla="*/ 149728 h 156513"/>
                  <a:gd name="connsiteX7" fmla="*/ 13999 w 225382"/>
                  <a:gd name="connsiteY7" fmla="*/ 156164 h 156513"/>
                  <a:gd name="connsiteX8" fmla="*/ 7563 w 225382"/>
                  <a:gd name="connsiteY8" fmla="*/ 153322 h 156513"/>
                  <a:gd name="connsiteX9" fmla="*/ 0 w 225382"/>
                  <a:gd name="connsiteY9" fmla="*/ 112691 h 156513"/>
                  <a:gd name="connsiteX10" fmla="*/ 112691 w 225382"/>
                  <a:gd name="connsiteY10" fmla="*/ 0 h 156513"/>
                  <a:gd name="connsiteX11" fmla="*/ 225383 w 225382"/>
                  <a:gd name="connsiteY11" fmla="*/ 112691 h 156513"/>
                  <a:gd name="connsiteX12" fmla="*/ 217847 w 225382"/>
                  <a:gd name="connsiteY12" fmla="*/ 153322 h 156513"/>
                  <a:gd name="connsiteX13" fmla="*/ 213180 w 225382"/>
                  <a:gd name="connsiteY13" fmla="*/ 156513 h 156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382" h="156513">
                    <a:moveTo>
                      <a:pt x="213180" y="156513"/>
                    </a:moveTo>
                    <a:cubicBezTo>
                      <a:pt x="212590" y="156513"/>
                      <a:pt x="211974" y="156406"/>
                      <a:pt x="211384" y="156164"/>
                    </a:cubicBezTo>
                    <a:cubicBezTo>
                      <a:pt x="208836" y="155172"/>
                      <a:pt x="207549" y="152302"/>
                      <a:pt x="208541" y="149728"/>
                    </a:cubicBezTo>
                    <a:cubicBezTo>
                      <a:pt x="213100" y="137928"/>
                      <a:pt x="215433" y="125457"/>
                      <a:pt x="215433" y="112665"/>
                    </a:cubicBezTo>
                    <a:cubicBezTo>
                      <a:pt x="215433" y="56024"/>
                      <a:pt x="169332" y="9923"/>
                      <a:pt x="112691" y="9923"/>
                    </a:cubicBezTo>
                    <a:cubicBezTo>
                      <a:pt x="56024" y="9923"/>
                      <a:pt x="9950" y="56024"/>
                      <a:pt x="9950" y="112665"/>
                    </a:cubicBezTo>
                    <a:cubicBezTo>
                      <a:pt x="9950" y="125457"/>
                      <a:pt x="12256" y="137901"/>
                      <a:pt x="16842" y="149728"/>
                    </a:cubicBezTo>
                    <a:cubicBezTo>
                      <a:pt x="17834" y="152276"/>
                      <a:pt x="16547" y="155172"/>
                      <a:pt x="13999" y="156164"/>
                    </a:cubicBezTo>
                    <a:cubicBezTo>
                      <a:pt x="11452" y="157157"/>
                      <a:pt x="8555" y="155896"/>
                      <a:pt x="7563" y="153322"/>
                    </a:cubicBezTo>
                    <a:cubicBezTo>
                      <a:pt x="2548" y="140368"/>
                      <a:pt x="0" y="126691"/>
                      <a:pt x="0" y="112691"/>
                    </a:cubicBezTo>
                    <a:cubicBezTo>
                      <a:pt x="0" y="50553"/>
                      <a:pt x="50553" y="0"/>
                      <a:pt x="112691" y="0"/>
                    </a:cubicBezTo>
                    <a:cubicBezTo>
                      <a:pt x="174830" y="0"/>
                      <a:pt x="225383" y="50553"/>
                      <a:pt x="225383" y="112691"/>
                    </a:cubicBezTo>
                    <a:cubicBezTo>
                      <a:pt x="225383" y="126717"/>
                      <a:pt x="222835" y="140368"/>
                      <a:pt x="217847" y="153322"/>
                    </a:cubicBezTo>
                    <a:cubicBezTo>
                      <a:pt x="217069" y="155306"/>
                      <a:pt x="215192" y="156513"/>
                      <a:pt x="213180" y="156513"/>
                    </a:cubicBezTo>
                    <a:close/>
                  </a:path>
                </a:pathLst>
              </a:custGeom>
              <a:solidFill>
                <a:schemeClr val="tx2"/>
              </a:solidFill>
              <a:ln w="2676" cap="flat">
                <a:noFill/>
                <a:prstDash val="solid"/>
                <a:miter/>
              </a:ln>
            </p:spPr>
            <p:txBody>
              <a:bodyPr rtlCol="0" anchor="ctr"/>
              <a:lstStyle/>
              <a:p>
                <a:endParaRPr lang="en-GB" dirty="0"/>
              </a:p>
            </p:txBody>
          </p:sp>
          <p:sp>
            <p:nvSpPr>
              <p:cNvPr id="735" name="Freihandform: Form 304">
                <a:extLst>
                  <a:ext uri="{FF2B5EF4-FFF2-40B4-BE49-F238E27FC236}">
                    <a16:creationId xmlns:a16="http://schemas.microsoft.com/office/drawing/2014/main" id="{8E5C2479-A5B6-4261-92A9-C710EF23F726}"/>
                  </a:ext>
                </a:extLst>
              </p:cNvPr>
              <p:cNvSpPr/>
              <p:nvPr/>
            </p:nvSpPr>
            <p:spPr>
              <a:xfrm>
                <a:off x="941301" y="4446432"/>
                <a:ext cx="394420" cy="9922"/>
              </a:xfrm>
              <a:custGeom>
                <a:avLst/>
                <a:gdLst>
                  <a:gd name="connsiteX0" fmla="*/ 389459 w 394420"/>
                  <a:gd name="connsiteY0" fmla="*/ 9923 h 9922"/>
                  <a:gd name="connsiteX1" fmla="*/ 4961 w 394420"/>
                  <a:gd name="connsiteY1" fmla="*/ 9923 h 9922"/>
                  <a:gd name="connsiteX2" fmla="*/ 0 w 394420"/>
                  <a:gd name="connsiteY2" fmla="*/ 4961 h 9922"/>
                  <a:gd name="connsiteX3" fmla="*/ 4961 w 394420"/>
                  <a:gd name="connsiteY3" fmla="*/ 0 h 9922"/>
                  <a:gd name="connsiteX4" fmla="*/ 389459 w 394420"/>
                  <a:gd name="connsiteY4" fmla="*/ 0 h 9922"/>
                  <a:gd name="connsiteX5" fmla="*/ 394420 w 394420"/>
                  <a:gd name="connsiteY5" fmla="*/ 4961 h 9922"/>
                  <a:gd name="connsiteX6" fmla="*/ 389459 w 394420"/>
                  <a:gd name="connsiteY6" fmla="*/ 9923 h 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420" h="9922">
                    <a:moveTo>
                      <a:pt x="389459" y="9923"/>
                    </a:moveTo>
                    <a:lnTo>
                      <a:pt x="4961" y="9923"/>
                    </a:lnTo>
                    <a:cubicBezTo>
                      <a:pt x="2226" y="9923"/>
                      <a:pt x="0" y="7697"/>
                      <a:pt x="0" y="4961"/>
                    </a:cubicBezTo>
                    <a:cubicBezTo>
                      <a:pt x="0" y="2226"/>
                      <a:pt x="2226" y="0"/>
                      <a:pt x="4961" y="0"/>
                    </a:cubicBezTo>
                    <a:lnTo>
                      <a:pt x="389459" y="0"/>
                    </a:lnTo>
                    <a:cubicBezTo>
                      <a:pt x="392194" y="0"/>
                      <a:pt x="394420" y="2226"/>
                      <a:pt x="394420" y="4961"/>
                    </a:cubicBezTo>
                    <a:cubicBezTo>
                      <a:pt x="394420" y="7697"/>
                      <a:pt x="392194" y="9923"/>
                      <a:pt x="389459" y="9923"/>
                    </a:cubicBezTo>
                    <a:close/>
                  </a:path>
                </a:pathLst>
              </a:custGeom>
              <a:solidFill>
                <a:schemeClr val="tx2"/>
              </a:solidFill>
              <a:ln w="2676" cap="flat">
                <a:noFill/>
                <a:prstDash val="solid"/>
                <a:miter/>
              </a:ln>
            </p:spPr>
            <p:txBody>
              <a:bodyPr rtlCol="0" anchor="ctr"/>
              <a:lstStyle/>
              <a:p>
                <a:endParaRPr lang="en-GB" dirty="0"/>
              </a:p>
            </p:txBody>
          </p:sp>
          <p:sp>
            <p:nvSpPr>
              <p:cNvPr id="736" name="Freihandform: Form 305">
                <a:extLst>
                  <a:ext uri="{FF2B5EF4-FFF2-40B4-BE49-F238E27FC236}">
                    <a16:creationId xmlns:a16="http://schemas.microsoft.com/office/drawing/2014/main" id="{A1DE5550-E434-4874-BBDF-BEA31EBEC9B5}"/>
                  </a:ext>
                </a:extLst>
              </p:cNvPr>
              <p:cNvSpPr/>
              <p:nvPr/>
            </p:nvSpPr>
            <p:spPr>
              <a:xfrm>
                <a:off x="1014220" y="4479579"/>
                <a:ext cx="241929" cy="9922"/>
              </a:xfrm>
              <a:custGeom>
                <a:avLst/>
                <a:gdLst>
                  <a:gd name="connsiteX0" fmla="*/ 236995 w 241929"/>
                  <a:gd name="connsiteY0" fmla="*/ 9923 h 9922"/>
                  <a:gd name="connsiteX1" fmla="*/ 4961 w 241929"/>
                  <a:gd name="connsiteY1" fmla="*/ 9923 h 9922"/>
                  <a:gd name="connsiteX2" fmla="*/ 0 w 241929"/>
                  <a:gd name="connsiteY2" fmla="*/ 4961 h 9922"/>
                  <a:gd name="connsiteX3" fmla="*/ 4961 w 241929"/>
                  <a:gd name="connsiteY3" fmla="*/ 0 h 9922"/>
                  <a:gd name="connsiteX4" fmla="*/ 236969 w 241929"/>
                  <a:gd name="connsiteY4" fmla="*/ 0 h 9922"/>
                  <a:gd name="connsiteX5" fmla="*/ 241930 w 241929"/>
                  <a:gd name="connsiteY5" fmla="*/ 4961 h 9922"/>
                  <a:gd name="connsiteX6" fmla="*/ 236995 w 241929"/>
                  <a:gd name="connsiteY6" fmla="*/ 9923 h 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929" h="9922">
                    <a:moveTo>
                      <a:pt x="236995" y="9923"/>
                    </a:moveTo>
                    <a:lnTo>
                      <a:pt x="4961" y="9923"/>
                    </a:lnTo>
                    <a:cubicBezTo>
                      <a:pt x="2226" y="9923"/>
                      <a:pt x="0" y="7697"/>
                      <a:pt x="0" y="4961"/>
                    </a:cubicBezTo>
                    <a:cubicBezTo>
                      <a:pt x="0" y="2226"/>
                      <a:pt x="2226" y="0"/>
                      <a:pt x="4961" y="0"/>
                    </a:cubicBezTo>
                    <a:lnTo>
                      <a:pt x="236969" y="0"/>
                    </a:lnTo>
                    <a:cubicBezTo>
                      <a:pt x="239704" y="0"/>
                      <a:pt x="241930" y="2226"/>
                      <a:pt x="241930" y="4961"/>
                    </a:cubicBezTo>
                    <a:cubicBezTo>
                      <a:pt x="241930" y="7697"/>
                      <a:pt x="239731" y="9923"/>
                      <a:pt x="236995" y="9923"/>
                    </a:cubicBezTo>
                    <a:close/>
                  </a:path>
                </a:pathLst>
              </a:custGeom>
              <a:solidFill>
                <a:schemeClr val="tx2"/>
              </a:solidFill>
              <a:ln w="2676"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53982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a:extLst>
              <a:ext uri="{FF2B5EF4-FFF2-40B4-BE49-F238E27FC236}">
                <a16:creationId xmlns:a16="http://schemas.microsoft.com/office/drawing/2014/main" id="{638B10E2-7DC6-48A0-8942-C1299F04438C}"/>
              </a:ext>
            </a:extLst>
          </p:cNvPr>
          <p:cNvGraphicFramePr>
            <a:graphicFrameLocks noChangeAspect="1"/>
          </p:cNvGraphicFramePr>
          <p:nvPr>
            <p:custDataLst>
              <p:tags r:id="rId1"/>
            </p:custDataLst>
            <p:extLst>
              <p:ext uri="{D42A27DB-BD31-4B8C-83A1-F6EECF244321}">
                <p14:modId xmlns:p14="http://schemas.microsoft.com/office/powerpoint/2010/main" val="3258185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22" name="Objekt 21" hidden="1">
                        <a:extLst>
                          <a:ext uri="{FF2B5EF4-FFF2-40B4-BE49-F238E27FC236}">
                            <a16:creationId xmlns:a16="http://schemas.microsoft.com/office/drawing/2014/main" id="{638B10E2-7DC6-48A0-8942-C1299F0443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9338AF0-63F9-4B4F-8892-FAA52A50D5C5}"/>
              </a:ext>
            </a:extLst>
          </p:cNvPr>
          <p:cNvSpPr>
            <a:spLocks noGrp="1"/>
          </p:cNvSpPr>
          <p:nvPr>
            <p:ph type="sldNum" sz="quarter" idx="11"/>
          </p:nvPr>
        </p:nvSpPr>
        <p:spPr/>
        <p:txBody>
          <a:bodyPr/>
          <a:lstStyle/>
          <a:p>
            <a:fld id="{D56DB8AA-803C-49D2-90AA-1140CE72DCD7}" type="slidenum">
              <a:rPr lang="en-GB" smtClean="0"/>
              <a:pPr/>
              <a:t>17</a:t>
            </a:fld>
            <a:endParaRPr lang="en-GB" dirty="0"/>
          </a:p>
        </p:txBody>
      </p:sp>
      <p:sp>
        <p:nvSpPr>
          <p:cNvPr id="3" name="Title 2">
            <a:extLst>
              <a:ext uri="{FF2B5EF4-FFF2-40B4-BE49-F238E27FC236}">
                <a16:creationId xmlns:a16="http://schemas.microsoft.com/office/drawing/2014/main" id="{AC2CC539-EC94-D036-00AA-EFCF6DFADA49}"/>
              </a:ext>
            </a:extLst>
          </p:cNvPr>
          <p:cNvSpPr>
            <a:spLocks noGrp="1"/>
          </p:cNvSpPr>
          <p:nvPr>
            <p:ph type="title"/>
          </p:nvPr>
        </p:nvSpPr>
        <p:spPr>
          <a:xfrm>
            <a:off x="252000" y="252000"/>
            <a:ext cx="6748875" cy="576000"/>
          </a:xfrm>
        </p:spPr>
        <p:txBody>
          <a:bodyPr/>
          <a:lstStyle/>
          <a:p>
            <a:r>
              <a:rPr lang="en-GB" dirty="0"/>
              <a:t>Digitalization/Technology 2/2</a:t>
            </a:r>
            <a:br>
              <a:rPr lang="en-GB" dirty="0"/>
            </a:br>
            <a:endParaRPr lang="en-US" dirty="0"/>
          </a:p>
        </p:txBody>
      </p:sp>
      <p:sp>
        <p:nvSpPr>
          <p:cNvPr id="5" name="TextBox 4">
            <a:extLst>
              <a:ext uri="{FF2B5EF4-FFF2-40B4-BE49-F238E27FC236}">
                <a16:creationId xmlns:a16="http://schemas.microsoft.com/office/drawing/2014/main" id="{E8A1BCB8-8CAC-409B-AC71-6D1CF75FE064}"/>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oftware tools</a:t>
            </a:r>
          </a:p>
        </p:txBody>
      </p:sp>
      <p:sp>
        <p:nvSpPr>
          <p:cNvPr id="6" name="TextBox 5">
            <a:extLst>
              <a:ext uri="{FF2B5EF4-FFF2-40B4-BE49-F238E27FC236}">
                <a16:creationId xmlns:a16="http://schemas.microsoft.com/office/drawing/2014/main" id="{B4E8AE56-7631-441A-A408-FE6D70593606}"/>
              </a:ext>
            </a:extLst>
          </p:cNvPr>
          <p:cNvSpPr txBox="1"/>
          <p:nvPr/>
        </p:nvSpPr>
        <p:spPr>
          <a:xfrm>
            <a:off x="3588420"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telligent</a:t>
            </a:r>
            <a:br>
              <a:rPr lang="en-GB" sz="700" dirty="0">
                <a:solidFill>
                  <a:schemeClr val="tx2"/>
                </a:solidFill>
              </a:rPr>
            </a:br>
            <a:r>
              <a:rPr lang="en-GB" sz="700" dirty="0">
                <a:solidFill>
                  <a:schemeClr val="tx2"/>
                </a:solidFill>
              </a:rPr>
              <a:t>system</a:t>
            </a:r>
          </a:p>
        </p:txBody>
      </p:sp>
      <p:sp>
        <p:nvSpPr>
          <p:cNvPr id="7" name="TextBox 6">
            <a:extLst>
              <a:ext uri="{FF2B5EF4-FFF2-40B4-BE49-F238E27FC236}">
                <a16:creationId xmlns:a16="http://schemas.microsoft.com/office/drawing/2014/main" id="{F65882AB-BD6D-4C1D-8D0E-32947ECFA7A6}"/>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erformance</a:t>
            </a:r>
            <a:br>
              <a:rPr lang="en-GB" sz="700" dirty="0">
                <a:solidFill>
                  <a:schemeClr val="tx2"/>
                </a:solidFill>
              </a:rPr>
            </a:br>
            <a:r>
              <a:rPr lang="en-GB" sz="700" dirty="0">
                <a:solidFill>
                  <a:schemeClr val="tx2"/>
                </a:solidFill>
              </a:rPr>
              <a:t>indicators</a:t>
            </a:r>
          </a:p>
        </p:txBody>
      </p:sp>
      <p:sp>
        <p:nvSpPr>
          <p:cNvPr id="8" name="TextBox 7">
            <a:extLst>
              <a:ext uri="{FF2B5EF4-FFF2-40B4-BE49-F238E27FC236}">
                <a16:creationId xmlns:a16="http://schemas.microsoft.com/office/drawing/2014/main" id="{2D5A1D39-7600-4AD1-9FCF-A2717A05105F}"/>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ashboard</a:t>
            </a:r>
          </a:p>
        </p:txBody>
      </p:sp>
      <p:sp>
        <p:nvSpPr>
          <p:cNvPr id="9" name="TextBox 8">
            <a:extLst>
              <a:ext uri="{FF2B5EF4-FFF2-40B4-BE49-F238E27FC236}">
                <a16:creationId xmlns:a16="http://schemas.microsoft.com/office/drawing/2014/main" id="{D7EEFADE-C7E2-46AF-8277-EE041CC0EEF4}"/>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hatbot</a:t>
            </a:r>
          </a:p>
        </p:txBody>
      </p:sp>
      <p:sp>
        <p:nvSpPr>
          <p:cNvPr id="10" name="TextBox 9">
            <a:extLst>
              <a:ext uri="{FF2B5EF4-FFF2-40B4-BE49-F238E27FC236}">
                <a16:creationId xmlns:a16="http://schemas.microsoft.com/office/drawing/2014/main" id="{5A546F2A-A9CA-4308-B1DB-F2F1240A2690}"/>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mart devices</a:t>
            </a:r>
          </a:p>
        </p:txBody>
      </p:sp>
      <p:sp>
        <p:nvSpPr>
          <p:cNvPr id="11" name="TextBox 10">
            <a:extLst>
              <a:ext uri="{FF2B5EF4-FFF2-40B4-BE49-F238E27FC236}">
                <a16:creationId xmlns:a16="http://schemas.microsoft.com/office/drawing/2014/main" id="{1D81C11D-AF9D-4636-852A-7871C648708E}"/>
              </a:ext>
            </a:extLst>
          </p:cNvPr>
          <p:cNvSpPr txBox="1"/>
          <p:nvPr/>
        </p:nvSpPr>
        <p:spPr>
          <a:xfrm>
            <a:off x="254298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utomation of</a:t>
            </a:r>
            <a:br>
              <a:rPr lang="en-GB" sz="700" dirty="0">
                <a:solidFill>
                  <a:schemeClr val="tx2"/>
                </a:solidFill>
              </a:rPr>
            </a:br>
            <a:r>
              <a:rPr lang="en-GB" sz="700" dirty="0">
                <a:solidFill>
                  <a:schemeClr val="tx2"/>
                </a:solidFill>
              </a:rPr>
              <a:t>production</a:t>
            </a:r>
          </a:p>
        </p:txBody>
      </p:sp>
      <p:sp>
        <p:nvSpPr>
          <p:cNvPr id="12" name="TextBox 11">
            <a:extLst>
              <a:ext uri="{FF2B5EF4-FFF2-40B4-BE49-F238E27FC236}">
                <a16:creationId xmlns:a16="http://schemas.microsoft.com/office/drawing/2014/main" id="{6319ADBD-421A-4C59-A960-ED6E05E99BEF}"/>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ybercrime</a:t>
            </a:r>
          </a:p>
        </p:txBody>
      </p:sp>
      <p:sp>
        <p:nvSpPr>
          <p:cNvPr id="13" name="TextBox 12">
            <a:extLst>
              <a:ext uri="{FF2B5EF4-FFF2-40B4-BE49-F238E27FC236}">
                <a16:creationId xmlns:a16="http://schemas.microsoft.com/office/drawing/2014/main" id="{5265106C-4784-4CA3-A798-A71B7B01D833}"/>
              </a:ext>
            </a:extLst>
          </p:cNvPr>
          <p:cNvSpPr txBox="1"/>
          <p:nvPr/>
        </p:nvSpPr>
        <p:spPr>
          <a:xfrm>
            <a:off x="452119"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ternet of</a:t>
            </a:r>
            <a:br>
              <a:rPr lang="en-GB" sz="700" dirty="0">
                <a:solidFill>
                  <a:schemeClr val="tx2"/>
                </a:solidFill>
              </a:rPr>
            </a:br>
            <a:r>
              <a:rPr lang="en-GB" sz="700" dirty="0">
                <a:solidFill>
                  <a:schemeClr val="tx2"/>
                </a:solidFill>
              </a:rPr>
              <a:t>things</a:t>
            </a:r>
          </a:p>
        </p:txBody>
      </p:sp>
      <p:sp>
        <p:nvSpPr>
          <p:cNvPr id="14" name="TextBox 13">
            <a:extLst>
              <a:ext uri="{FF2B5EF4-FFF2-40B4-BE49-F238E27FC236}">
                <a16:creationId xmlns:a16="http://schemas.microsoft.com/office/drawing/2014/main" id="{3F4427C0-DA8A-4373-94C6-05502324D088}"/>
              </a:ext>
            </a:extLst>
          </p:cNvPr>
          <p:cNvSpPr txBox="1"/>
          <p:nvPr/>
        </p:nvSpPr>
        <p:spPr>
          <a:xfrm>
            <a:off x="3588420"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usiness</a:t>
            </a:r>
            <a:br>
              <a:rPr lang="en-GB" sz="700" dirty="0">
                <a:solidFill>
                  <a:schemeClr val="tx2"/>
                </a:solidFill>
              </a:rPr>
            </a:br>
            <a:r>
              <a:rPr lang="en-GB" sz="700" dirty="0">
                <a:solidFill>
                  <a:schemeClr val="tx2"/>
                </a:solidFill>
              </a:rPr>
              <a:t>intelligence</a:t>
            </a:r>
          </a:p>
        </p:txBody>
      </p:sp>
      <p:sp>
        <p:nvSpPr>
          <p:cNvPr id="15" name="TextBox 14">
            <a:extLst>
              <a:ext uri="{FF2B5EF4-FFF2-40B4-BE49-F238E27FC236}">
                <a16:creationId xmlns:a16="http://schemas.microsoft.com/office/drawing/2014/main" id="{DD0C7027-EC5E-4768-B4DE-13F81F5E690A}"/>
              </a:ext>
            </a:extLst>
          </p:cNvPr>
          <p:cNvSpPr txBox="1"/>
          <p:nvPr/>
        </p:nvSpPr>
        <p:spPr>
          <a:xfrm>
            <a:off x="2542987"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Development</a:t>
            </a:r>
            <a:br>
              <a:rPr lang="en-GB" sz="700" dirty="0">
                <a:solidFill>
                  <a:schemeClr val="tx2"/>
                </a:solidFill>
              </a:rPr>
            </a:br>
            <a:r>
              <a:rPr lang="en-GB" sz="700" dirty="0">
                <a:solidFill>
                  <a:schemeClr val="tx2"/>
                </a:solidFill>
              </a:rPr>
              <a:t>process</a:t>
            </a:r>
          </a:p>
        </p:txBody>
      </p:sp>
      <p:sp>
        <p:nvSpPr>
          <p:cNvPr id="16" name="TextBox 15">
            <a:extLst>
              <a:ext uri="{FF2B5EF4-FFF2-40B4-BE49-F238E27FC236}">
                <a16:creationId xmlns:a16="http://schemas.microsoft.com/office/drawing/2014/main" id="{31CA3B61-7F2A-46A1-AE72-CFD08999574B}"/>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ata processing</a:t>
            </a:r>
          </a:p>
        </p:txBody>
      </p:sp>
      <p:sp>
        <p:nvSpPr>
          <p:cNvPr id="17" name="TextBox 16">
            <a:extLst>
              <a:ext uri="{FF2B5EF4-FFF2-40B4-BE49-F238E27FC236}">
                <a16:creationId xmlns:a16="http://schemas.microsoft.com/office/drawing/2014/main" id="{252C6BA7-D5F4-40BB-B2C8-9A667E0B8062}"/>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enchmarking</a:t>
            </a:r>
          </a:p>
        </p:txBody>
      </p:sp>
      <p:sp>
        <p:nvSpPr>
          <p:cNvPr id="18" name="TextBox 17">
            <a:extLst>
              <a:ext uri="{FF2B5EF4-FFF2-40B4-BE49-F238E27FC236}">
                <a16:creationId xmlns:a16="http://schemas.microsoft.com/office/drawing/2014/main" id="{60824383-3341-480D-8958-7967F27DFCBB}"/>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latforms</a:t>
            </a:r>
          </a:p>
        </p:txBody>
      </p:sp>
      <p:sp>
        <p:nvSpPr>
          <p:cNvPr id="19" name="TextBox 18">
            <a:extLst>
              <a:ext uri="{FF2B5EF4-FFF2-40B4-BE49-F238E27FC236}">
                <a16:creationId xmlns:a16="http://schemas.microsoft.com/office/drawing/2014/main" id="{526538D9-123D-44D0-B901-764A5B806B44}"/>
              </a:ext>
            </a:extLst>
          </p:cNvPr>
          <p:cNvSpPr txBox="1"/>
          <p:nvPr/>
        </p:nvSpPr>
        <p:spPr>
          <a:xfrm>
            <a:off x="254298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loud</a:t>
            </a:r>
            <a:br>
              <a:rPr lang="en-GB" sz="700" dirty="0">
                <a:solidFill>
                  <a:schemeClr val="tx2"/>
                </a:solidFill>
              </a:rPr>
            </a:br>
            <a:r>
              <a:rPr lang="en-GB" sz="700" dirty="0">
                <a:solidFill>
                  <a:schemeClr val="tx2"/>
                </a:solidFill>
              </a:rPr>
              <a:t>computing</a:t>
            </a:r>
          </a:p>
        </p:txBody>
      </p:sp>
      <p:sp>
        <p:nvSpPr>
          <p:cNvPr id="20" name="TextBox 19">
            <a:extLst>
              <a:ext uri="{FF2B5EF4-FFF2-40B4-BE49-F238E27FC236}">
                <a16:creationId xmlns:a16="http://schemas.microsoft.com/office/drawing/2014/main" id="{BF26A7C4-1FA0-4CD6-8E9F-FCEF8152F088}"/>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mmitment</a:t>
            </a:r>
          </a:p>
        </p:txBody>
      </p:sp>
      <p:grpSp>
        <p:nvGrpSpPr>
          <p:cNvPr id="45" name="Group 44">
            <a:extLst>
              <a:ext uri="{FF2B5EF4-FFF2-40B4-BE49-F238E27FC236}">
                <a16:creationId xmlns:a16="http://schemas.microsoft.com/office/drawing/2014/main" id="{71E3B513-CD19-3AF1-A02D-B4DC6416B836}"/>
              </a:ext>
            </a:extLst>
          </p:cNvPr>
          <p:cNvGrpSpPr/>
          <p:nvPr/>
        </p:nvGrpSpPr>
        <p:grpSpPr>
          <a:xfrm>
            <a:off x="578959" y="2391526"/>
            <a:ext cx="430182" cy="432000"/>
            <a:chOff x="578959" y="2391526"/>
            <a:chExt cx="430182" cy="432000"/>
          </a:xfrm>
        </p:grpSpPr>
        <p:grpSp>
          <p:nvGrpSpPr>
            <p:cNvPr id="101" name="Group 100">
              <a:extLst>
                <a:ext uri="{FF2B5EF4-FFF2-40B4-BE49-F238E27FC236}">
                  <a16:creationId xmlns:a16="http://schemas.microsoft.com/office/drawing/2014/main" id="{8056EFA2-CED2-431F-B0B9-72E7BC75804A}"/>
                </a:ext>
              </a:extLst>
            </p:cNvPr>
            <p:cNvGrpSpPr/>
            <p:nvPr/>
          </p:nvGrpSpPr>
          <p:grpSpPr>
            <a:xfrm>
              <a:off x="578959" y="2391526"/>
              <a:ext cx="406810" cy="239347"/>
              <a:chOff x="6958522" y="1626758"/>
              <a:chExt cx="451380" cy="265570"/>
            </a:xfrm>
            <a:solidFill>
              <a:schemeClr val="tx2"/>
            </a:solidFill>
          </p:grpSpPr>
          <p:grpSp>
            <p:nvGrpSpPr>
              <p:cNvPr id="115" name="Grafik 10">
                <a:extLst>
                  <a:ext uri="{FF2B5EF4-FFF2-40B4-BE49-F238E27FC236}">
                    <a16:creationId xmlns:a16="http://schemas.microsoft.com/office/drawing/2014/main" id="{CB8222B0-2AF9-446D-9DF2-AB845A59D3A9}"/>
                  </a:ext>
                </a:extLst>
              </p:cNvPr>
              <p:cNvGrpSpPr/>
              <p:nvPr/>
            </p:nvGrpSpPr>
            <p:grpSpPr>
              <a:xfrm>
                <a:off x="6958522" y="1626758"/>
                <a:ext cx="216166" cy="265570"/>
                <a:chOff x="6958522" y="1626758"/>
                <a:chExt cx="216166" cy="265570"/>
              </a:xfrm>
              <a:grpFill/>
            </p:grpSpPr>
            <p:sp>
              <p:nvSpPr>
                <p:cNvPr id="120" name="Freihandform: Form 811">
                  <a:extLst>
                    <a:ext uri="{FF2B5EF4-FFF2-40B4-BE49-F238E27FC236}">
                      <a16:creationId xmlns:a16="http://schemas.microsoft.com/office/drawing/2014/main" id="{2D25D31A-C850-4080-81A8-90AD607A9C92}"/>
                    </a:ext>
                  </a:extLst>
                </p:cNvPr>
                <p:cNvSpPr/>
                <p:nvPr/>
              </p:nvSpPr>
              <p:spPr>
                <a:xfrm>
                  <a:off x="7021279" y="1626758"/>
                  <a:ext cx="90679" cy="103645"/>
                </a:xfrm>
                <a:custGeom>
                  <a:avLst/>
                  <a:gdLst>
                    <a:gd name="connsiteX0" fmla="*/ 45340 w 90679"/>
                    <a:gd name="connsiteY0" fmla="*/ 103646 h 103645"/>
                    <a:gd name="connsiteX1" fmla="*/ 0 w 90679"/>
                    <a:gd name="connsiteY1" fmla="*/ 51837 h 103645"/>
                    <a:gd name="connsiteX2" fmla="*/ 45340 w 90679"/>
                    <a:gd name="connsiteY2" fmla="*/ 0 h 103645"/>
                    <a:gd name="connsiteX3" fmla="*/ 90680 w 90679"/>
                    <a:gd name="connsiteY3" fmla="*/ 51809 h 103645"/>
                    <a:gd name="connsiteX4" fmla="*/ 45340 w 90679"/>
                    <a:gd name="connsiteY4" fmla="*/ 103646 h 103645"/>
                    <a:gd name="connsiteX5" fmla="*/ 45340 w 90679"/>
                    <a:gd name="connsiteY5" fmla="*/ 12966 h 103645"/>
                    <a:gd name="connsiteX6" fmla="*/ 12966 w 90679"/>
                    <a:gd name="connsiteY6" fmla="*/ 51837 h 103645"/>
                    <a:gd name="connsiteX7" fmla="*/ 45340 w 90679"/>
                    <a:gd name="connsiteY7" fmla="*/ 90707 h 103645"/>
                    <a:gd name="connsiteX8" fmla="*/ 77714 w 90679"/>
                    <a:gd name="connsiteY8" fmla="*/ 51837 h 103645"/>
                    <a:gd name="connsiteX9" fmla="*/ 45340 w 90679"/>
                    <a:gd name="connsiteY9" fmla="*/ 12966 h 10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679" h="103645">
                      <a:moveTo>
                        <a:pt x="45340" y="103646"/>
                      </a:moveTo>
                      <a:cubicBezTo>
                        <a:pt x="18219" y="103646"/>
                        <a:pt x="0" y="82828"/>
                        <a:pt x="0" y="51837"/>
                      </a:cubicBezTo>
                      <a:cubicBezTo>
                        <a:pt x="0" y="20845"/>
                        <a:pt x="18247" y="0"/>
                        <a:pt x="45340" y="0"/>
                      </a:cubicBezTo>
                      <a:cubicBezTo>
                        <a:pt x="72461" y="0"/>
                        <a:pt x="90680" y="20818"/>
                        <a:pt x="90680" y="51809"/>
                      </a:cubicBezTo>
                      <a:cubicBezTo>
                        <a:pt x="90680" y="82801"/>
                        <a:pt x="72461" y="103646"/>
                        <a:pt x="45340" y="103646"/>
                      </a:cubicBezTo>
                      <a:close/>
                      <a:moveTo>
                        <a:pt x="45340" y="12966"/>
                      </a:moveTo>
                      <a:cubicBezTo>
                        <a:pt x="21426" y="12966"/>
                        <a:pt x="12966" y="33894"/>
                        <a:pt x="12966" y="51837"/>
                      </a:cubicBezTo>
                      <a:cubicBezTo>
                        <a:pt x="12966" y="69779"/>
                        <a:pt x="21454" y="90707"/>
                        <a:pt x="45340" y="90707"/>
                      </a:cubicBezTo>
                      <a:cubicBezTo>
                        <a:pt x="69254" y="90707"/>
                        <a:pt x="77714" y="69779"/>
                        <a:pt x="77714" y="51837"/>
                      </a:cubicBezTo>
                      <a:cubicBezTo>
                        <a:pt x="77714" y="33894"/>
                        <a:pt x="69254" y="12966"/>
                        <a:pt x="45340" y="12966"/>
                      </a:cubicBezTo>
                      <a:close/>
                    </a:path>
                  </a:pathLst>
                </a:custGeom>
                <a:grpFill/>
                <a:ln w="2759" cap="flat">
                  <a:noFill/>
                  <a:prstDash val="solid"/>
                  <a:miter/>
                </a:ln>
              </p:spPr>
              <p:txBody>
                <a:bodyPr rtlCol="0" anchor="ctr"/>
                <a:lstStyle/>
                <a:p>
                  <a:endParaRPr lang="en-GB" dirty="0"/>
                </a:p>
              </p:txBody>
            </p:sp>
            <p:sp>
              <p:nvSpPr>
                <p:cNvPr id="121" name="Freihandform: Form 812">
                  <a:extLst>
                    <a:ext uri="{FF2B5EF4-FFF2-40B4-BE49-F238E27FC236}">
                      <a16:creationId xmlns:a16="http://schemas.microsoft.com/office/drawing/2014/main" id="{540DFABF-555A-4D3D-BBCF-2CBDCD888AEE}"/>
                    </a:ext>
                  </a:extLst>
                </p:cNvPr>
                <p:cNvSpPr/>
                <p:nvPr/>
              </p:nvSpPr>
              <p:spPr>
                <a:xfrm>
                  <a:off x="7060150" y="1795179"/>
                  <a:ext cx="12966" cy="12966"/>
                </a:xfrm>
                <a:custGeom>
                  <a:avLst/>
                  <a:gdLst>
                    <a:gd name="connsiteX0" fmla="*/ 0 w 12966"/>
                    <a:gd name="connsiteY0" fmla="*/ 0 h 12966"/>
                    <a:gd name="connsiteX1" fmla="*/ 12966 w 12966"/>
                    <a:gd name="connsiteY1" fmla="*/ 0 h 12966"/>
                    <a:gd name="connsiteX2" fmla="*/ 12966 w 12966"/>
                    <a:gd name="connsiteY2" fmla="*/ 12966 h 12966"/>
                    <a:gd name="connsiteX3" fmla="*/ 0 w 12966"/>
                    <a:gd name="connsiteY3" fmla="*/ 12966 h 12966"/>
                  </a:gdLst>
                  <a:ahLst/>
                  <a:cxnLst>
                    <a:cxn ang="0">
                      <a:pos x="connsiteX0" y="connsiteY0"/>
                    </a:cxn>
                    <a:cxn ang="0">
                      <a:pos x="connsiteX1" y="connsiteY1"/>
                    </a:cxn>
                    <a:cxn ang="0">
                      <a:pos x="connsiteX2" y="connsiteY2"/>
                    </a:cxn>
                    <a:cxn ang="0">
                      <a:pos x="connsiteX3" y="connsiteY3"/>
                    </a:cxn>
                  </a:cxnLst>
                  <a:rect l="l" t="t" r="r" b="b"/>
                  <a:pathLst>
                    <a:path w="12966" h="12966">
                      <a:moveTo>
                        <a:pt x="0" y="0"/>
                      </a:moveTo>
                      <a:lnTo>
                        <a:pt x="12966" y="0"/>
                      </a:lnTo>
                      <a:lnTo>
                        <a:pt x="12966" y="12966"/>
                      </a:lnTo>
                      <a:lnTo>
                        <a:pt x="0" y="12966"/>
                      </a:lnTo>
                      <a:close/>
                    </a:path>
                  </a:pathLst>
                </a:custGeom>
                <a:grpFill/>
                <a:ln w="2759" cap="flat">
                  <a:noFill/>
                  <a:prstDash val="solid"/>
                  <a:miter/>
                </a:ln>
              </p:spPr>
              <p:txBody>
                <a:bodyPr rtlCol="0" anchor="ctr"/>
                <a:lstStyle/>
                <a:p>
                  <a:endParaRPr lang="en-GB" dirty="0"/>
                </a:p>
              </p:txBody>
            </p:sp>
            <p:sp>
              <p:nvSpPr>
                <p:cNvPr id="122" name="Freihandform: Form 813">
                  <a:extLst>
                    <a:ext uri="{FF2B5EF4-FFF2-40B4-BE49-F238E27FC236}">
                      <a16:creationId xmlns:a16="http://schemas.microsoft.com/office/drawing/2014/main" id="{E08DDECC-4286-4F8A-856E-CC5D3C242AFC}"/>
                    </a:ext>
                  </a:extLst>
                </p:cNvPr>
                <p:cNvSpPr/>
                <p:nvPr/>
              </p:nvSpPr>
              <p:spPr>
                <a:xfrm>
                  <a:off x="7060150" y="1840518"/>
                  <a:ext cx="64775" cy="45339"/>
                </a:xfrm>
                <a:custGeom>
                  <a:avLst/>
                  <a:gdLst>
                    <a:gd name="connsiteX0" fmla="*/ 12966 w 64775"/>
                    <a:gd name="connsiteY0" fmla="*/ 45340 h 45339"/>
                    <a:gd name="connsiteX1" fmla="*/ 0 w 64775"/>
                    <a:gd name="connsiteY1" fmla="*/ 45340 h 45339"/>
                    <a:gd name="connsiteX2" fmla="*/ 0 w 64775"/>
                    <a:gd name="connsiteY2" fmla="*/ 19435 h 45339"/>
                    <a:gd name="connsiteX3" fmla="*/ 19435 w 64775"/>
                    <a:gd name="connsiteY3" fmla="*/ 0 h 45339"/>
                    <a:gd name="connsiteX4" fmla="*/ 64775 w 64775"/>
                    <a:gd name="connsiteY4" fmla="*/ 0 h 45339"/>
                    <a:gd name="connsiteX5" fmla="*/ 64775 w 64775"/>
                    <a:gd name="connsiteY5" fmla="*/ 12938 h 45339"/>
                    <a:gd name="connsiteX6" fmla="*/ 19435 w 64775"/>
                    <a:gd name="connsiteY6" fmla="*/ 12938 h 45339"/>
                    <a:gd name="connsiteX7" fmla="*/ 12966 w 64775"/>
                    <a:gd name="connsiteY7" fmla="*/ 19408 h 45339"/>
                    <a:gd name="connsiteX8" fmla="*/ 12966 w 64775"/>
                    <a:gd name="connsiteY8" fmla="*/ 45340 h 4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75" h="45339">
                      <a:moveTo>
                        <a:pt x="12966" y="45340"/>
                      </a:moveTo>
                      <a:lnTo>
                        <a:pt x="0" y="45340"/>
                      </a:lnTo>
                      <a:lnTo>
                        <a:pt x="0" y="19435"/>
                      </a:lnTo>
                      <a:cubicBezTo>
                        <a:pt x="0" y="8709"/>
                        <a:pt x="8709" y="0"/>
                        <a:pt x="19435" y="0"/>
                      </a:cubicBezTo>
                      <a:lnTo>
                        <a:pt x="64775" y="0"/>
                      </a:lnTo>
                      <a:lnTo>
                        <a:pt x="64775" y="12938"/>
                      </a:lnTo>
                      <a:lnTo>
                        <a:pt x="19435" y="12938"/>
                      </a:lnTo>
                      <a:cubicBezTo>
                        <a:pt x="15869" y="12938"/>
                        <a:pt x="12966" y="15841"/>
                        <a:pt x="12966" y="19408"/>
                      </a:cubicBezTo>
                      <a:lnTo>
                        <a:pt x="12966" y="45340"/>
                      </a:lnTo>
                      <a:close/>
                    </a:path>
                  </a:pathLst>
                </a:custGeom>
                <a:grpFill/>
                <a:ln w="2759" cap="flat">
                  <a:noFill/>
                  <a:prstDash val="solid"/>
                  <a:miter/>
                </a:ln>
              </p:spPr>
              <p:txBody>
                <a:bodyPr rtlCol="0" anchor="ctr"/>
                <a:lstStyle/>
                <a:p>
                  <a:endParaRPr lang="en-GB" dirty="0"/>
                </a:p>
              </p:txBody>
            </p:sp>
            <p:sp>
              <p:nvSpPr>
                <p:cNvPr id="123" name="Freihandform: Form 814">
                  <a:extLst>
                    <a:ext uri="{FF2B5EF4-FFF2-40B4-BE49-F238E27FC236}">
                      <a16:creationId xmlns:a16="http://schemas.microsoft.com/office/drawing/2014/main" id="{29272EB7-DFD1-4601-A2A8-4E6578EA446F}"/>
                    </a:ext>
                  </a:extLst>
                </p:cNvPr>
                <p:cNvSpPr/>
                <p:nvPr/>
              </p:nvSpPr>
              <p:spPr>
                <a:xfrm>
                  <a:off x="7008341" y="1840518"/>
                  <a:ext cx="64775" cy="45339"/>
                </a:xfrm>
                <a:custGeom>
                  <a:avLst/>
                  <a:gdLst>
                    <a:gd name="connsiteX0" fmla="*/ 64775 w 64775"/>
                    <a:gd name="connsiteY0" fmla="*/ 45340 h 45339"/>
                    <a:gd name="connsiteX1" fmla="*/ 51809 w 64775"/>
                    <a:gd name="connsiteY1" fmla="*/ 45340 h 45339"/>
                    <a:gd name="connsiteX2" fmla="*/ 51809 w 64775"/>
                    <a:gd name="connsiteY2" fmla="*/ 19435 h 45339"/>
                    <a:gd name="connsiteX3" fmla="*/ 45340 w 64775"/>
                    <a:gd name="connsiteY3" fmla="*/ 12966 h 45339"/>
                    <a:gd name="connsiteX4" fmla="*/ 0 w 64775"/>
                    <a:gd name="connsiteY4" fmla="*/ 12966 h 45339"/>
                    <a:gd name="connsiteX5" fmla="*/ 0 w 64775"/>
                    <a:gd name="connsiteY5" fmla="*/ 0 h 45339"/>
                    <a:gd name="connsiteX6" fmla="*/ 45340 w 64775"/>
                    <a:gd name="connsiteY6" fmla="*/ 0 h 45339"/>
                    <a:gd name="connsiteX7" fmla="*/ 64775 w 64775"/>
                    <a:gd name="connsiteY7" fmla="*/ 19435 h 45339"/>
                    <a:gd name="connsiteX8" fmla="*/ 64775 w 64775"/>
                    <a:gd name="connsiteY8" fmla="*/ 45340 h 4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75" h="45339">
                      <a:moveTo>
                        <a:pt x="64775" y="45340"/>
                      </a:moveTo>
                      <a:lnTo>
                        <a:pt x="51809" y="45340"/>
                      </a:lnTo>
                      <a:lnTo>
                        <a:pt x="51809" y="19435"/>
                      </a:lnTo>
                      <a:cubicBezTo>
                        <a:pt x="51809" y="15869"/>
                        <a:pt x="48906" y="12966"/>
                        <a:pt x="45340" y="12966"/>
                      </a:cubicBezTo>
                      <a:lnTo>
                        <a:pt x="0" y="12966"/>
                      </a:lnTo>
                      <a:lnTo>
                        <a:pt x="0" y="0"/>
                      </a:lnTo>
                      <a:lnTo>
                        <a:pt x="45340" y="0"/>
                      </a:lnTo>
                      <a:cubicBezTo>
                        <a:pt x="56067" y="0"/>
                        <a:pt x="64775" y="8709"/>
                        <a:pt x="64775" y="19435"/>
                      </a:cubicBezTo>
                      <a:lnTo>
                        <a:pt x="64775" y="45340"/>
                      </a:lnTo>
                      <a:close/>
                    </a:path>
                  </a:pathLst>
                </a:custGeom>
                <a:grpFill/>
                <a:ln w="2759" cap="flat">
                  <a:noFill/>
                  <a:prstDash val="solid"/>
                  <a:miter/>
                </a:ln>
              </p:spPr>
              <p:txBody>
                <a:bodyPr rtlCol="0" anchor="ctr"/>
                <a:lstStyle/>
                <a:p>
                  <a:endParaRPr lang="en-GB" dirty="0"/>
                </a:p>
              </p:txBody>
            </p:sp>
            <p:sp>
              <p:nvSpPr>
                <p:cNvPr id="124" name="Freihandform: Form 815">
                  <a:extLst>
                    <a:ext uri="{FF2B5EF4-FFF2-40B4-BE49-F238E27FC236}">
                      <a16:creationId xmlns:a16="http://schemas.microsoft.com/office/drawing/2014/main" id="{371C6B22-B2ED-4934-9968-DDA9BB089FBA}"/>
                    </a:ext>
                  </a:extLst>
                </p:cNvPr>
                <p:cNvSpPr/>
                <p:nvPr/>
              </p:nvSpPr>
              <p:spPr>
                <a:xfrm>
                  <a:off x="6958522" y="1743369"/>
                  <a:ext cx="216166" cy="148958"/>
                </a:xfrm>
                <a:custGeom>
                  <a:avLst/>
                  <a:gdLst>
                    <a:gd name="connsiteX0" fmla="*/ 191976 w 216166"/>
                    <a:gd name="connsiteY0" fmla="*/ 148958 h 148958"/>
                    <a:gd name="connsiteX1" fmla="*/ 24218 w 216166"/>
                    <a:gd name="connsiteY1" fmla="*/ 148958 h 148958"/>
                    <a:gd name="connsiteX2" fmla="*/ 0 w 216166"/>
                    <a:gd name="connsiteY2" fmla="*/ 122252 h 148958"/>
                    <a:gd name="connsiteX3" fmla="*/ 4479 w 216166"/>
                    <a:gd name="connsiteY3" fmla="*/ 70692 h 148958"/>
                    <a:gd name="connsiteX4" fmla="*/ 82192 w 216166"/>
                    <a:gd name="connsiteY4" fmla="*/ 0 h 148958"/>
                    <a:gd name="connsiteX5" fmla="*/ 134001 w 216166"/>
                    <a:gd name="connsiteY5" fmla="*/ 0 h 148958"/>
                    <a:gd name="connsiteX6" fmla="*/ 211687 w 216166"/>
                    <a:gd name="connsiteY6" fmla="*/ 70387 h 148958"/>
                    <a:gd name="connsiteX7" fmla="*/ 216166 w 216166"/>
                    <a:gd name="connsiteY7" fmla="*/ 121699 h 148958"/>
                    <a:gd name="connsiteX8" fmla="*/ 191976 w 216166"/>
                    <a:gd name="connsiteY8" fmla="*/ 148958 h 148958"/>
                    <a:gd name="connsiteX9" fmla="*/ 82192 w 216166"/>
                    <a:gd name="connsiteY9" fmla="*/ 12938 h 148958"/>
                    <a:gd name="connsiteX10" fmla="*/ 17362 w 216166"/>
                    <a:gd name="connsiteY10" fmla="*/ 72101 h 148958"/>
                    <a:gd name="connsiteX11" fmla="*/ 12938 w 216166"/>
                    <a:gd name="connsiteY11" fmla="*/ 122805 h 148958"/>
                    <a:gd name="connsiteX12" fmla="*/ 24218 w 216166"/>
                    <a:gd name="connsiteY12" fmla="*/ 136020 h 148958"/>
                    <a:gd name="connsiteX13" fmla="*/ 191976 w 216166"/>
                    <a:gd name="connsiteY13" fmla="*/ 136020 h 148958"/>
                    <a:gd name="connsiteX14" fmla="*/ 203228 w 216166"/>
                    <a:gd name="connsiteY14" fmla="*/ 122252 h 148958"/>
                    <a:gd name="connsiteX15" fmla="*/ 198804 w 216166"/>
                    <a:gd name="connsiteY15" fmla="*/ 71797 h 148958"/>
                    <a:gd name="connsiteX16" fmla="*/ 134001 w 216166"/>
                    <a:gd name="connsiteY16" fmla="*/ 12938 h 148958"/>
                    <a:gd name="connsiteX17" fmla="*/ 82192 w 216166"/>
                    <a:gd name="connsiteY17" fmla="*/ 12938 h 14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6166" h="148958">
                      <a:moveTo>
                        <a:pt x="191976" y="148958"/>
                      </a:moveTo>
                      <a:lnTo>
                        <a:pt x="24218" y="148958"/>
                      </a:lnTo>
                      <a:cubicBezTo>
                        <a:pt x="10423" y="148958"/>
                        <a:pt x="0" y="137457"/>
                        <a:pt x="0" y="122252"/>
                      </a:cubicBezTo>
                      <a:lnTo>
                        <a:pt x="4479" y="70692"/>
                      </a:lnTo>
                      <a:cubicBezTo>
                        <a:pt x="11197" y="21039"/>
                        <a:pt x="34419" y="0"/>
                        <a:pt x="82192" y="0"/>
                      </a:cubicBezTo>
                      <a:lnTo>
                        <a:pt x="134001" y="0"/>
                      </a:lnTo>
                      <a:cubicBezTo>
                        <a:pt x="181747" y="0"/>
                        <a:pt x="204969" y="21039"/>
                        <a:pt x="211687" y="70387"/>
                      </a:cubicBezTo>
                      <a:lnTo>
                        <a:pt x="216166" y="121699"/>
                      </a:lnTo>
                      <a:cubicBezTo>
                        <a:pt x="216194" y="137485"/>
                        <a:pt x="205799" y="148958"/>
                        <a:pt x="191976" y="148958"/>
                      </a:cubicBezTo>
                      <a:close/>
                      <a:moveTo>
                        <a:pt x="82192" y="12938"/>
                      </a:moveTo>
                      <a:cubicBezTo>
                        <a:pt x="40778" y="12938"/>
                        <a:pt x="23195" y="28973"/>
                        <a:pt x="17362" y="72101"/>
                      </a:cubicBezTo>
                      <a:lnTo>
                        <a:pt x="12938" y="122805"/>
                      </a:lnTo>
                      <a:cubicBezTo>
                        <a:pt x="12966" y="128859"/>
                        <a:pt x="16477" y="136020"/>
                        <a:pt x="24218" y="136020"/>
                      </a:cubicBezTo>
                      <a:lnTo>
                        <a:pt x="191976" y="136020"/>
                      </a:lnTo>
                      <a:cubicBezTo>
                        <a:pt x="199717" y="136020"/>
                        <a:pt x="203228" y="128887"/>
                        <a:pt x="203228" y="122252"/>
                      </a:cubicBezTo>
                      <a:lnTo>
                        <a:pt x="198804" y="71797"/>
                      </a:lnTo>
                      <a:cubicBezTo>
                        <a:pt x="192999" y="28973"/>
                        <a:pt x="175415" y="12938"/>
                        <a:pt x="134001" y="12938"/>
                      </a:cubicBezTo>
                      <a:lnTo>
                        <a:pt x="82192" y="12938"/>
                      </a:lnTo>
                      <a:close/>
                    </a:path>
                  </a:pathLst>
                </a:custGeom>
                <a:grpFill/>
                <a:ln w="2759" cap="flat">
                  <a:noFill/>
                  <a:prstDash val="solid"/>
                  <a:miter/>
                </a:ln>
              </p:spPr>
              <p:txBody>
                <a:bodyPr rtlCol="0" anchor="ctr"/>
                <a:lstStyle/>
                <a:p>
                  <a:endParaRPr lang="en-GB" dirty="0"/>
                </a:p>
              </p:txBody>
            </p:sp>
          </p:grpSp>
          <p:sp>
            <p:nvSpPr>
              <p:cNvPr id="116" name="Freihandform: Form 816">
                <a:extLst>
                  <a:ext uri="{FF2B5EF4-FFF2-40B4-BE49-F238E27FC236}">
                    <a16:creationId xmlns:a16="http://schemas.microsoft.com/office/drawing/2014/main" id="{D7ABE7DB-1B7C-444F-9804-99D021526B6C}"/>
                  </a:ext>
                </a:extLst>
              </p:cNvPr>
              <p:cNvSpPr/>
              <p:nvPr/>
            </p:nvSpPr>
            <p:spPr>
              <a:xfrm>
                <a:off x="7150839" y="1691533"/>
                <a:ext cx="259063" cy="103645"/>
              </a:xfrm>
              <a:custGeom>
                <a:avLst/>
                <a:gdLst>
                  <a:gd name="connsiteX0" fmla="*/ 239656 w 259063"/>
                  <a:gd name="connsiteY0" fmla="*/ 103646 h 103645"/>
                  <a:gd name="connsiteX1" fmla="*/ 58297 w 259063"/>
                  <a:gd name="connsiteY1" fmla="*/ 103646 h 103645"/>
                  <a:gd name="connsiteX2" fmla="*/ 38861 w 259063"/>
                  <a:gd name="connsiteY2" fmla="*/ 84211 h 103645"/>
                  <a:gd name="connsiteX3" fmla="*/ 38861 w 259063"/>
                  <a:gd name="connsiteY3" fmla="*/ 73926 h 103645"/>
                  <a:gd name="connsiteX4" fmla="*/ 1898 w 259063"/>
                  <a:gd name="connsiteY4" fmla="*/ 36963 h 103645"/>
                  <a:gd name="connsiteX5" fmla="*/ 488 w 259063"/>
                  <a:gd name="connsiteY5" fmla="*/ 29913 h 103645"/>
                  <a:gd name="connsiteX6" fmla="*/ 6460 w 259063"/>
                  <a:gd name="connsiteY6" fmla="*/ 25905 h 103645"/>
                  <a:gd name="connsiteX7" fmla="*/ 38834 w 259063"/>
                  <a:gd name="connsiteY7" fmla="*/ 25905 h 103645"/>
                  <a:gd name="connsiteX8" fmla="*/ 38834 w 259063"/>
                  <a:gd name="connsiteY8" fmla="*/ 19435 h 103645"/>
                  <a:gd name="connsiteX9" fmla="*/ 58269 w 259063"/>
                  <a:gd name="connsiteY9" fmla="*/ 0 h 103645"/>
                  <a:gd name="connsiteX10" fmla="*/ 239629 w 259063"/>
                  <a:gd name="connsiteY10" fmla="*/ 0 h 103645"/>
                  <a:gd name="connsiteX11" fmla="*/ 259064 w 259063"/>
                  <a:gd name="connsiteY11" fmla="*/ 19435 h 103645"/>
                  <a:gd name="connsiteX12" fmla="*/ 259064 w 259063"/>
                  <a:gd name="connsiteY12" fmla="*/ 84211 h 103645"/>
                  <a:gd name="connsiteX13" fmla="*/ 239656 w 259063"/>
                  <a:gd name="connsiteY13" fmla="*/ 103646 h 103645"/>
                  <a:gd name="connsiteX14" fmla="*/ 22108 w 259063"/>
                  <a:gd name="connsiteY14" fmla="*/ 38871 h 103645"/>
                  <a:gd name="connsiteX15" fmla="*/ 49920 w 259063"/>
                  <a:gd name="connsiteY15" fmla="*/ 66683 h 103645"/>
                  <a:gd name="connsiteX16" fmla="*/ 51828 w 259063"/>
                  <a:gd name="connsiteY16" fmla="*/ 71272 h 103645"/>
                  <a:gd name="connsiteX17" fmla="*/ 51828 w 259063"/>
                  <a:gd name="connsiteY17" fmla="*/ 84238 h 103645"/>
                  <a:gd name="connsiteX18" fmla="*/ 58297 w 259063"/>
                  <a:gd name="connsiteY18" fmla="*/ 90707 h 103645"/>
                  <a:gd name="connsiteX19" fmla="*/ 239656 w 259063"/>
                  <a:gd name="connsiteY19" fmla="*/ 90707 h 103645"/>
                  <a:gd name="connsiteX20" fmla="*/ 246125 w 259063"/>
                  <a:gd name="connsiteY20" fmla="*/ 84238 h 103645"/>
                  <a:gd name="connsiteX21" fmla="*/ 246125 w 259063"/>
                  <a:gd name="connsiteY21" fmla="*/ 19435 h 103645"/>
                  <a:gd name="connsiteX22" fmla="*/ 239656 w 259063"/>
                  <a:gd name="connsiteY22" fmla="*/ 12966 h 103645"/>
                  <a:gd name="connsiteX23" fmla="*/ 58297 w 259063"/>
                  <a:gd name="connsiteY23" fmla="*/ 12966 h 103645"/>
                  <a:gd name="connsiteX24" fmla="*/ 51828 w 259063"/>
                  <a:gd name="connsiteY24" fmla="*/ 19435 h 103645"/>
                  <a:gd name="connsiteX25" fmla="*/ 51828 w 259063"/>
                  <a:gd name="connsiteY25" fmla="*/ 32401 h 103645"/>
                  <a:gd name="connsiteX26" fmla="*/ 45358 w 259063"/>
                  <a:gd name="connsiteY26" fmla="*/ 38871 h 103645"/>
                  <a:gd name="connsiteX27" fmla="*/ 22108 w 259063"/>
                  <a:gd name="connsiteY27" fmla="*/ 38871 h 10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59063" h="103645">
                    <a:moveTo>
                      <a:pt x="239656" y="103646"/>
                    </a:moveTo>
                    <a:lnTo>
                      <a:pt x="58297" y="103646"/>
                    </a:lnTo>
                    <a:cubicBezTo>
                      <a:pt x="47570" y="103646"/>
                      <a:pt x="38861" y="94937"/>
                      <a:pt x="38861" y="84211"/>
                    </a:cubicBezTo>
                    <a:lnTo>
                      <a:pt x="38861" y="73926"/>
                    </a:lnTo>
                    <a:lnTo>
                      <a:pt x="1898" y="36963"/>
                    </a:lnTo>
                    <a:cubicBezTo>
                      <a:pt x="46" y="35111"/>
                      <a:pt x="-507" y="32318"/>
                      <a:pt x="488" y="29913"/>
                    </a:cubicBezTo>
                    <a:cubicBezTo>
                      <a:pt x="1484" y="27480"/>
                      <a:pt x="3861" y="25905"/>
                      <a:pt x="6460" y="25905"/>
                    </a:cubicBezTo>
                    <a:lnTo>
                      <a:pt x="38834" y="25905"/>
                    </a:lnTo>
                    <a:lnTo>
                      <a:pt x="38834" y="19435"/>
                    </a:lnTo>
                    <a:cubicBezTo>
                      <a:pt x="38834" y="8709"/>
                      <a:pt x="47542" y="0"/>
                      <a:pt x="58269" y="0"/>
                    </a:cubicBezTo>
                    <a:lnTo>
                      <a:pt x="239629" y="0"/>
                    </a:lnTo>
                    <a:cubicBezTo>
                      <a:pt x="250355" y="0"/>
                      <a:pt x="259064" y="8709"/>
                      <a:pt x="259064" y="19435"/>
                    </a:cubicBezTo>
                    <a:lnTo>
                      <a:pt x="259064" y="84211"/>
                    </a:lnTo>
                    <a:cubicBezTo>
                      <a:pt x="259092" y="94910"/>
                      <a:pt x="250383" y="103646"/>
                      <a:pt x="239656" y="103646"/>
                    </a:cubicBezTo>
                    <a:close/>
                    <a:moveTo>
                      <a:pt x="22108" y="38871"/>
                    </a:moveTo>
                    <a:lnTo>
                      <a:pt x="49920" y="66683"/>
                    </a:lnTo>
                    <a:cubicBezTo>
                      <a:pt x="51136" y="67899"/>
                      <a:pt x="51828" y="69558"/>
                      <a:pt x="51828" y="71272"/>
                    </a:cubicBezTo>
                    <a:lnTo>
                      <a:pt x="51828" y="84238"/>
                    </a:lnTo>
                    <a:cubicBezTo>
                      <a:pt x="51828" y="87805"/>
                      <a:pt x="54730" y="90707"/>
                      <a:pt x="58297" y="90707"/>
                    </a:cubicBezTo>
                    <a:lnTo>
                      <a:pt x="239656" y="90707"/>
                    </a:lnTo>
                    <a:cubicBezTo>
                      <a:pt x="243223" y="90707"/>
                      <a:pt x="246125" y="87805"/>
                      <a:pt x="246125" y="84238"/>
                    </a:cubicBezTo>
                    <a:lnTo>
                      <a:pt x="246125" y="19435"/>
                    </a:lnTo>
                    <a:cubicBezTo>
                      <a:pt x="246125" y="15869"/>
                      <a:pt x="243223" y="12966"/>
                      <a:pt x="239656" y="12966"/>
                    </a:cubicBezTo>
                    <a:lnTo>
                      <a:pt x="58297" y="12966"/>
                    </a:lnTo>
                    <a:cubicBezTo>
                      <a:pt x="54730" y="12966"/>
                      <a:pt x="51828" y="15869"/>
                      <a:pt x="51828" y="19435"/>
                    </a:cubicBezTo>
                    <a:lnTo>
                      <a:pt x="51828" y="32401"/>
                    </a:lnTo>
                    <a:cubicBezTo>
                      <a:pt x="51828" y="35968"/>
                      <a:pt x="48925" y="38871"/>
                      <a:pt x="45358" y="38871"/>
                    </a:cubicBezTo>
                    <a:lnTo>
                      <a:pt x="22108" y="38871"/>
                    </a:lnTo>
                    <a:close/>
                  </a:path>
                </a:pathLst>
              </a:custGeom>
              <a:grpFill/>
              <a:ln w="2759" cap="flat">
                <a:noFill/>
                <a:prstDash val="solid"/>
                <a:miter/>
              </a:ln>
            </p:spPr>
            <p:txBody>
              <a:bodyPr rtlCol="0" anchor="ctr"/>
              <a:lstStyle/>
              <a:p>
                <a:endParaRPr lang="en-GB" dirty="0"/>
              </a:p>
            </p:txBody>
          </p:sp>
          <p:sp>
            <p:nvSpPr>
              <p:cNvPr id="117" name="Freihandform: Form 818">
                <a:extLst>
                  <a:ext uri="{FF2B5EF4-FFF2-40B4-BE49-F238E27FC236}">
                    <a16:creationId xmlns:a16="http://schemas.microsoft.com/office/drawing/2014/main" id="{A1780668-781E-4840-930C-F7C5DFBCD99B}"/>
                  </a:ext>
                </a:extLst>
              </p:cNvPr>
              <p:cNvSpPr/>
              <p:nvPr/>
            </p:nvSpPr>
            <p:spPr>
              <a:xfrm>
                <a:off x="7254475" y="1736873"/>
                <a:ext cx="12966" cy="12966"/>
              </a:xfrm>
              <a:custGeom>
                <a:avLst/>
                <a:gdLst>
                  <a:gd name="connsiteX0" fmla="*/ 0 w 12966"/>
                  <a:gd name="connsiteY0" fmla="*/ 0 h 12966"/>
                  <a:gd name="connsiteX1" fmla="*/ 12966 w 12966"/>
                  <a:gd name="connsiteY1" fmla="*/ 0 h 12966"/>
                  <a:gd name="connsiteX2" fmla="*/ 12966 w 12966"/>
                  <a:gd name="connsiteY2" fmla="*/ 12966 h 12966"/>
                  <a:gd name="connsiteX3" fmla="*/ 0 w 12966"/>
                  <a:gd name="connsiteY3" fmla="*/ 12966 h 12966"/>
                </a:gdLst>
                <a:ahLst/>
                <a:cxnLst>
                  <a:cxn ang="0">
                    <a:pos x="connsiteX0" y="connsiteY0"/>
                  </a:cxn>
                  <a:cxn ang="0">
                    <a:pos x="connsiteX1" y="connsiteY1"/>
                  </a:cxn>
                  <a:cxn ang="0">
                    <a:pos x="connsiteX2" y="connsiteY2"/>
                  </a:cxn>
                  <a:cxn ang="0">
                    <a:pos x="connsiteX3" y="connsiteY3"/>
                  </a:cxn>
                </a:cxnLst>
                <a:rect l="l" t="t" r="r" b="b"/>
                <a:pathLst>
                  <a:path w="12966" h="12966">
                    <a:moveTo>
                      <a:pt x="0" y="0"/>
                    </a:moveTo>
                    <a:lnTo>
                      <a:pt x="12966" y="0"/>
                    </a:lnTo>
                    <a:lnTo>
                      <a:pt x="12966" y="12966"/>
                    </a:lnTo>
                    <a:lnTo>
                      <a:pt x="0" y="12966"/>
                    </a:lnTo>
                    <a:close/>
                  </a:path>
                </a:pathLst>
              </a:custGeom>
              <a:grpFill/>
              <a:ln w="2759" cap="flat">
                <a:noFill/>
                <a:prstDash val="solid"/>
                <a:miter/>
              </a:ln>
            </p:spPr>
            <p:txBody>
              <a:bodyPr rtlCol="0" anchor="ctr"/>
              <a:lstStyle/>
              <a:p>
                <a:endParaRPr lang="en-GB" dirty="0"/>
              </a:p>
            </p:txBody>
          </p:sp>
          <p:sp>
            <p:nvSpPr>
              <p:cNvPr id="118" name="Freihandform: Form 819">
                <a:extLst>
                  <a:ext uri="{FF2B5EF4-FFF2-40B4-BE49-F238E27FC236}">
                    <a16:creationId xmlns:a16="http://schemas.microsoft.com/office/drawing/2014/main" id="{A26612F0-D568-4CA0-8007-69940393DC17}"/>
                  </a:ext>
                </a:extLst>
              </p:cNvPr>
              <p:cNvSpPr/>
              <p:nvPr/>
            </p:nvSpPr>
            <p:spPr>
              <a:xfrm>
                <a:off x="7293346" y="1736873"/>
                <a:ext cx="12966" cy="12966"/>
              </a:xfrm>
              <a:custGeom>
                <a:avLst/>
                <a:gdLst>
                  <a:gd name="connsiteX0" fmla="*/ 0 w 12966"/>
                  <a:gd name="connsiteY0" fmla="*/ 0 h 12966"/>
                  <a:gd name="connsiteX1" fmla="*/ 12966 w 12966"/>
                  <a:gd name="connsiteY1" fmla="*/ 0 h 12966"/>
                  <a:gd name="connsiteX2" fmla="*/ 12966 w 12966"/>
                  <a:gd name="connsiteY2" fmla="*/ 12966 h 12966"/>
                  <a:gd name="connsiteX3" fmla="*/ 0 w 12966"/>
                  <a:gd name="connsiteY3" fmla="*/ 12966 h 12966"/>
                </a:gdLst>
                <a:ahLst/>
                <a:cxnLst>
                  <a:cxn ang="0">
                    <a:pos x="connsiteX0" y="connsiteY0"/>
                  </a:cxn>
                  <a:cxn ang="0">
                    <a:pos x="connsiteX1" y="connsiteY1"/>
                  </a:cxn>
                  <a:cxn ang="0">
                    <a:pos x="connsiteX2" y="connsiteY2"/>
                  </a:cxn>
                  <a:cxn ang="0">
                    <a:pos x="connsiteX3" y="connsiteY3"/>
                  </a:cxn>
                </a:cxnLst>
                <a:rect l="l" t="t" r="r" b="b"/>
                <a:pathLst>
                  <a:path w="12966" h="12966">
                    <a:moveTo>
                      <a:pt x="0" y="0"/>
                    </a:moveTo>
                    <a:lnTo>
                      <a:pt x="12966" y="0"/>
                    </a:lnTo>
                    <a:lnTo>
                      <a:pt x="12966" y="12966"/>
                    </a:lnTo>
                    <a:lnTo>
                      <a:pt x="0" y="12966"/>
                    </a:lnTo>
                    <a:close/>
                  </a:path>
                </a:pathLst>
              </a:custGeom>
              <a:grpFill/>
              <a:ln w="2759" cap="flat">
                <a:noFill/>
                <a:prstDash val="solid"/>
                <a:miter/>
              </a:ln>
            </p:spPr>
            <p:txBody>
              <a:bodyPr rtlCol="0" anchor="ctr"/>
              <a:lstStyle/>
              <a:p>
                <a:endParaRPr lang="en-GB" dirty="0"/>
              </a:p>
            </p:txBody>
          </p:sp>
          <p:sp>
            <p:nvSpPr>
              <p:cNvPr id="119" name="Freihandform: Form 820">
                <a:extLst>
                  <a:ext uri="{FF2B5EF4-FFF2-40B4-BE49-F238E27FC236}">
                    <a16:creationId xmlns:a16="http://schemas.microsoft.com/office/drawing/2014/main" id="{06177709-34C1-4507-B559-55436A443924}"/>
                  </a:ext>
                </a:extLst>
              </p:cNvPr>
              <p:cNvSpPr/>
              <p:nvPr/>
            </p:nvSpPr>
            <p:spPr>
              <a:xfrm>
                <a:off x="7332217" y="1736873"/>
                <a:ext cx="12966" cy="12966"/>
              </a:xfrm>
              <a:custGeom>
                <a:avLst/>
                <a:gdLst>
                  <a:gd name="connsiteX0" fmla="*/ 0 w 12966"/>
                  <a:gd name="connsiteY0" fmla="*/ 0 h 12966"/>
                  <a:gd name="connsiteX1" fmla="*/ 12966 w 12966"/>
                  <a:gd name="connsiteY1" fmla="*/ 0 h 12966"/>
                  <a:gd name="connsiteX2" fmla="*/ 12966 w 12966"/>
                  <a:gd name="connsiteY2" fmla="*/ 12966 h 12966"/>
                  <a:gd name="connsiteX3" fmla="*/ 0 w 12966"/>
                  <a:gd name="connsiteY3" fmla="*/ 12966 h 12966"/>
                </a:gdLst>
                <a:ahLst/>
                <a:cxnLst>
                  <a:cxn ang="0">
                    <a:pos x="connsiteX0" y="connsiteY0"/>
                  </a:cxn>
                  <a:cxn ang="0">
                    <a:pos x="connsiteX1" y="connsiteY1"/>
                  </a:cxn>
                  <a:cxn ang="0">
                    <a:pos x="connsiteX2" y="connsiteY2"/>
                  </a:cxn>
                  <a:cxn ang="0">
                    <a:pos x="connsiteX3" y="connsiteY3"/>
                  </a:cxn>
                </a:cxnLst>
                <a:rect l="l" t="t" r="r" b="b"/>
                <a:pathLst>
                  <a:path w="12966" h="12966">
                    <a:moveTo>
                      <a:pt x="0" y="0"/>
                    </a:moveTo>
                    <a:lnTo>
                      <a:pt x="12966" y="0"/>
                    </a:lnTo>
                    <a:lnTo>
                      <a:pt x="12966" y="12966"/>
                    </a:lnTo>
                    <a:lnTo>
                      <a:pt x="0" y="12966"/>
                    </a:lnTo>
                    <a:close/>
                  </a:path>
                </a:pathLst>
              </a:custGeom>
              <a:grpFill/>
              <a:ln w="2759" cap="flat">
                <a:noFill/>
                <a:prstDash val="solid"/>
                <a:miter/>
              </a:ln>
            </p:spPr>
            <p:txBody>
              <a:bodyPr rtlCol="0" anchor="ctr"/>
              <a:lstStyle/>
              <a:p>
                <a:endParaRPr lang="en-GB" dirty="0"/>
              </a:p>
            </p:txBody>
          </p:sp>
        </p:grpSp>
        <p:grpSp>
          <p:nvGrpSpPr>
            <p:cNvPr id="102" name="Group 101">
              <a:extLst>
                <a:ext uri="{FF2B5EF4-FFF2-40B4-BE49-F238E27FC236}">
                  <a16:creationId xmlns:a16="http://schemas.microsoft.com/office/drawing/2014/main" id="{87C0D04A-910E-4754-9896-74CBDD4F6673}"/>
                </a:ext>
              </a:extLst>
            </p:cNvPr>
            <p:cNvGrpSpPr/>
            <p:nvPr/>
          </p:nvGrpSpPr>
          <p:grpSpPr>
            <a:xfrm>
              <a:off x="600512" y="2572493"/>
              <a:ext cx="408629" cy="251033"/>
              <a:chOff x="6982436" y="1827552"/>
              <a:chExt cx="453399" cy="278536"/>
            </a:xfrm>
          </p:grpSpPr>
          <p:sp>
            <p:nvSpPr>
              <p:cNvPr id="103" name="Freihandform: Form 817">
                <a:extLst>
                  <a:ext uri="{FF2B5EF4-FFF2-40B4-BE49-F238E27FC236}">
                    <a16:creationId xmlns:a16="http://schemas.microsoft.com/office/drawing/2014/main" id="{5581E7D4-ACB1-4BFC-8894-75B4B3ED19AB}"/>
                  </a:ext>
                </a:extLst>
              </p:cNvPr>
              <p:cNvSpPr/>
              <p:nvPr/>
            </p:nvSpPr>
            <p:spPr>
              <a:xfrm>
                <a:off x="6982436" y="1931198"/>
                <a:ext cx="259064" cy="103645"/>
              </a:xfrm>
              <a:custGeom>
                <a:avLst/>
                <a:gdLst>
                  <a:gd name="connsiteX0" fmla="*/ 200795 w 259064"/>
                  <a:gd name="connsiteY0" fmla="*/ 103646 h 103645"/>
                  <a:gd name="connsiteX1" fmla="*/ 19435 w 259064"/>
                  <a:gd name="connsiteY1" fmla="*/ 103646 h 103645"/>
                  <a:gd name="connsiteX2" fmla="*/ 0 w 259064"/>
                  <a:gd name="connsiteY2" fmla="*/ 84211 h 103645"/>
                  <a:gd name="connsiteX3" fmla="*/ 0 w 259064"/>
                  <a:gd name="connsiteY3" fmla="*/ 19435 h 103645"/>
                  <a:gd name="connsiteX4" fmla="*/ 19435 w 259064"/>
                  <a:gd name="connsiteY4" fmla="*/ 0 h 103645"/>
                  <a:gd name="connsiteX5" fmla="*/ 200795 w 259064"/>
                  <a:gd name="connsiteY5" fmla="*/ 0 h 103645"/>
                  <a:gd name="connsiteX6" fmla="*/ 220230 w 259064"/>
                  <a:gd name="connsiteY6" fmla="*/ 19435 h 103645"/>
                  <a:gd name="connsiteX7" fmla="*/ 220230 w 259064"/>
                  <a:gd name="connsiteY7" fmla="*/ 25905 h 103645"/>
                  <a:gd name="connsiteX8" fmla="*/ 252604 w 259064"/>
                  <a:gd name="connsiteY8" fmla="*/ 25905 h 103645"/>
                  <a:gd name="connsiteX9" fmla="*/ 258576 w 259064"/>
                  <a:gd name="connsiteY9" fmla="*/ 29913 h 103645"/>
                  <a:gd name="connsiteX10" fmla="*/ 257166 w 259064"/>
                  <a:gd name="connsiteY10" fmla="*/ 36963 h 103645"/>
                  <a:gd name="connsiteX11" fmla="*/ 220203 w 259064"/>
                  <a:gd name="connsiteY11" fmla="*/ 73926 h 103645"/>
                  <a:gd name="connsiteX12" fmla="*/ 220203 w 259064"/>
                  <a:gd name="connsiteY12" fmla="*/ 84211 h 103645"/>
                  <a:gd name="connsiteX13" fmla="*/ 200795 w 259064"/>
                  <a:gd name="connsiteY13" fmla="*/ 103646 h 103645"/>
                  <a:gd name="connsiteX14" fmla="*/ 19435 w 259064"/>
                  <a:gd name="connsiteY14" fmla="*/ 12966 h 103645"/>
                  <a:gd name="connsiteX15" fmla="*/ 12966 w 259064"/>
                  <a:gd name="connsiteY15" fmla="*/ 19435 h 103645"/>
                  <a:gd name="connsiteX16" fmla="*/ 12966 w 259064"/>
                  <a:gd name="connsiteY16" fmla="*/ 84211 h 103645"/>
                  <a:gd name="connsiteX17" fmla="*/ 19435 w 259064"/>
                  <a:gd name="connsiteY17" fmla="*/ 90680 h 103645"/>
                  <a:gd name="connsiteX18" fmla="*/ 200795 w 259064"/>
                  <a:gd name="connsiteY18" fmla="*/ 90680 h 103645"/>
                  <a:gd name="connsiteX19" fmla="*/ 207264 w 259064"/>
                  <a:gd name="connsiteY19" fmla="*/ 84211 h 103645"/>
                  <a:gd name="connsiteX20" fmla="*/ 207264 w 259064"/>
                  <a:gd name="connsiteY20" fmla="*/ 71244 h 103645"/>
                  <a:gd name="connsiteX21" fmla="*/ 209172 w 259064"/>
                  <a:gd name="connsiteY21" fmla="*/ 66655 h 103645"/>
                  <a:gd name="connsiteX22" fmla="*/ 236984 w 259064"/>
                  <a:gd name="connsiteY22" fmla="*/ 38843 h 103645"/>
                  <a:gd name="connsiteX23" fmla="*/ 213761 w 259064"/>
                  <a:gd name="connsiteY23" fmla="*/ 38843 h 103645"/>
                  <a:gd name="connsiteX24" fmla="*/ 207292 w 259064"/>
                  <a:gd name="connsiteY24" fmla="*/ 32374 h 103645"/>
                  <a:gd name="connsiteX25" fmla="*/ 207292 w 259064"/>
                  <a:gd name="connsiteY25" fmla="*/ 19408 h 103645"/>
                  <a:gd name="connsiteX26" fmla="*/ 200823 w 259064"/>
                  <a:gd name="connsiteY26" fmla="*/ 12938 h 103645"/>
                  <a:gd name="connsiteX27" fmla="*/ 19435 w 259064"/>
                  <a:gd name="connsiteY27" fmla="*/ 12938 h 10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59064" h="103645">
                    <a:moveTo>
                      <a:pt x="200795" y="103646"/>
                    </a:moveTo>
                    <a:lnTo>
                      <a:pt x="19435" y="103646"/>
                    </a:lnTo>
                    <a:cubicBezTo>
                      <a:pt x="8709" y="103646"/>
                      <a:pt x="0" y="94937"/>
                      <a:pt x="0" y="84211"/>
                    </a:cubicBezTo>
                    <a:lnTo>
                      <a:pt x="0" y="19435"/>
                    </a:lnTo>
                    <a:cubicBezTo>
                      <a:pt x="0" y="8709"/>
                      <a:pt x="8709" y="0"/>
                      <a:pt x="19435" y="0"/>
                    </a:cubicBezTo>
                    <a:lnTo>
                      <a:pt x="200795" y="0"/>
                    </a:lnTo>
                    <a:cubicBezTo>
                      <a:pt x="211522" y="0"/>
                      <a:pt x="220230" y="8709"/>
                      <a:pt x="220230" y="19435"/>
                    </a:cubicBezTo>
                    <a:lnTo>
                      <a:pt x="220230" y="25905"/>
                    </a:lnTo>
                    <a:lnTo>
                      <a:pt x="252604" y="25905"/>
                    </a:lnTo>
                    <a:cubicBezTo>
                      <a:pt x="255230" y="25905"/>
                      <a:pt x="257580" y="27480"/>
                      <a:pt x="258576" y="29913"/>
                    </a:cubicBezTo>
                    <a:cubicBezTo>
                      <a:pt x="259571" y="32346"/>
                      <a:pt x="259018" y="35111"/>
                      <a:pt x="257166" y="36963"/>
                    </a:cubicBezTo>
                    <a:lnTo>
                      <a:pt x="220203" y="73926"/>
                    </a:lnTo>
                    <a:lnTo>
                      <a:pt x="220203" y="84211"/>
                    </a:lnTo>
                    <a:cubicBezTo>
                      <a:pt x="220230" y="94910"/>
                      <a:pt x="211494" y="103646"/>
                      <a:pt x="200795" y="103646"/>
                    </a:cubicBezTo>
                    <a:close/>
                    <a:moveTo>
                      <a:pt x="19435" y="12966"/>
                    </a:moveTo>
                    <a:cubicBezTo>
                      <a:pt x="15869" y="12966"/>
                      <a:pt x="12966" y="15869"/>
                      <a:pt x="12966" y="19435"/>
                    </a:cubicBezTo>
                    <a:lnTo>
                      <a:pt x="12966" y="84211"/>
                    </a:lnTo>
                    <a:cubicBezTo>
                      <a:pt x="12966" y="87777"/>
                      <a:pt x="15869" y="90680"/>
                      <a:pt x="19435" y="90680"/>
                    </a:cubicBezTo>
                    <a:lnTo>
                      <a:pt x="200795" y="90680"/>
                    </a:lnTo>
                    <a:cubicBezTo>
                      <a:pt x="204361" y="90680"/>
                      <a:pt x="207264" y="87777"/>
                      <a:pt x="207264" y="84211"/>
                    </a:cubicBezTo>
                    <a:lnTo>
                      <a:pt x="207264" y="71244"/>
                    </a:lnTo>
                    <a:cubicBezTo>
                      <a:pt x="207264" y="69530"/>
                      <a:pt x="207955" y="67872"/>
                      <a:pt x="209172" y="66655"/>
                    </a:cubicBezTo>
                    <a:lnTo>
                      <a:pt x="236984" y="38843"/>
                    </a:lnTo>
                    <a:lnTo>
                      <a:pt x="213761" y="38843"/>
                    </a:lnTo>
                    <a:cubicBezTo>
                      <a:pt x="210195" y="38843"/>
                      <a:pt x="207292" y="35940"/>
                      <a:pt x="207292" y="32374"/>
                    </a:cubicBezTo>
                    <a:lnTo>
                      <a:pt x="207292" y="19408"/>
                    </a:lnTo>
                    <a:cubicBezTo>
                      <a:pt x="207292" y="15841"/>
                      <a:pt x="204389" y="12938"/>
                      <a:pt x="200823" y="12938"/>
                    </a:cubicBezTo>
                    <a:lnTo>
                      <a:pt x="19435" y="12938"/>
                    </a:lnTo>
                    <a:close/>
                  </a:path>
                </a:pathLst>
              </a:custGeom>
              <a:solidFill>
                <a:schemeClr val="accent1"/>
              </a:solidFill>
              <a:ln w="2759" cap="flat">
                <a:noFill/>
                <a:prstDash val="solid"/>
                <a:miter/>
              </a:ln>
            </p:spPr>
            <p:txBody>
              <a:bodyPr rtlCol="0" anchor="ctr"/>
              <a:lstStyle/>
              <a:p>
                <a:endParaRPr lang="en-GB" dirty="0"/>
              </a:p>
            </p:txBody>
          </p:sp>
          <p:sp>
            <p:nvSpPr>
              <p:cNvPr id="104" name="Freihandform: Form 821">
                <a:extLst>
                  <a:ext uri="{FF2B5EF4-FFF2-40B4-BE49-F238E27FC236}">
                    <a16:creationId xmlns:a16="http://schemas.microsoft.com/office/drawing/2014/main" id="{4C3D670F-1A93-4E81-88F8-597DD7591B9E}"/>
                  </a:ext>
                </a:extLst>
              </p:cNvPr>
              <p:cNvSpPr/>
              <p:nvPr/>
            </p:nvSpPr>
            <p:spPr>
              <a:xfrm>
                <a:off x="7086082" y="1963600"/>
                <a:ext cx="84182" cy="12938"/>
              </a:xfrm>
              <a:custGeom>
                <a:avLst/>
                <a:gdLst>
                  <a:gd name="connsiteX0" fmla="*/ 77714 w 84182"/>
                  <a:gd name="connsiteY0" fmla="*/ 12938 h 12938"/>
                  <a:gd name="connsiteX1" fmla="*/ 6469 w 84182"/>
                  <a:gd name="connsiteY1" fmla="*/ 12938 h 12938"/>
                  <a:gd name="connsiteX2" fmla="*/ 0 w 84182"/>
                  <a:gd name="connsiteY2" fmla="*/ 6469 h 12938"/>
                  <a:gd name="connsiteX3" fmla="*/ 6469 w 84182"/>
                  <a:gd name="connsiteY3" fmla="*/ 0 h 12938"/>
                  <a:gd name="connsiteX4" fmla="*/ 77714 w 84182"/>
                  <a:gd name="connsiteY4" fmla="*/ 0 h 12938"/>
                  <a:gd name="connsiteX5" fmla="*/ 84183 w 84182"/>
                  <a:gd name="connsiteY5" fmla="*/ 6469 h 12938"/>
                  <a:gd name="connsiteX6" fmla="*/ 77714 w 84182"/>
                  <a:gd name="connsiteY6" fmla="*/ 12938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182" h="12938">
                    <a:moveTo>
                      <a:pt x="77714" y="12938"/>
                    </a:moveTo>
                    <a:lnTo>
                      <a:pt x="6469" y="12938"/>
                    </a:lnTo>
                    <a:cubicBezTo>
                      <a:pt x="2903" y="12938"/>
                      <a:pt x="0" y="10036"/>
                      <a:pt x="0" y="6469"/>
                    </a:cubicBezTo>
                    <a:cubicBezTo>
                      <a:pt x="0" y="2903"/>
                      <a:pt x="2903" y="0"/>
                      <a:pt x="6469" y="0"/>
                    </a:cubicBezTo>
                    <a:lnTo>
                      <a:pt x="77714" y="0"/>
                    </a:lnTo>
                    <a:cubicBezTo>
                      <a:pt x="81280" y="0"/>
                      <a:pt x="84183" y="2903"/>
                      <a:pt x="84183" y="6469"/>
                    </a:cubicBezTo>
                    <a:cubicBezTo>
                      <a:pt x="84183" y="10036"/>
                      <a:pt x="81280" y="12938"/>
                      <a:pt x="77714" y="12938"/>
                    </a:cubicBezTo>
                    <a:close/>
                  </a:path>
                </a:pathLst>
              </a:custGeom>
              <a:solidFill>
                <a:schemeClr val="accent1"/>
              </a:solidFill>
              <a:ln w="2759" cap="flat">
                <a:noFill/>
                <a:prstDash val="solid"/>
                <a:miter/>
              </a:ln>
            </p:spPr>
            <p:txBody>
              <a:bodyPr rtlCol="0" anchor="ctr"/>
              <a:lstStyle/>
              <a:p>
                <a:endParaRPr lang="en-GB" dirty="0"/>
              </a:p>
            </p:txBody>
          </p:sp>
          <p:sp>
            <p:nvSpPr>
              <p:cNvPr id="105" name="Freihandform: Form 822">
                <a:extLst>
                  <a:ext uri="{FF2B5EF4-FFF2-40B4-BE49-F238E27FC236}">
                    <a16:creationId xmlns:a16="http://schemas.microsoft.com/office/drawing/2014/main" id="{17B58406-0AF0-4206-AFE8-F24B8C8B4616}"/>
                  </a:ext>
                </a:extLst>
              </p:cNvPr>
              <p:cNvSpPr/>
              <p:nvPr/>
            </p:nvSpPr>
            <p:spPr>
              <a:xfrm>
                <a:off x="7014838" y="1963600"/>
                <a:ext cx="45312" cy="12938"/>
              </a:xfrm>
              <a:custGeom>
                <a:avLst/>
                <a:gdLst>
                  <a:gd name="connsiteX0" fmla="*/ 38843 w 45312"/>
                  <a:gd name="connsiteY0" fmla="*/ 12938 h 12938"/>
                  <a:gd name="connsiteX1" fmla="*/ 6469 w 45312"/>
                  <a:gd name="connsiteY1" fmla="*/ 12938 h 12938"/>
                  <a:gd name="connsiteX2" fmla="*/ 0 w 45312"/>
                  <a:gd name="connsiteY2" fmla="*/ 6469 h 12938"/>
                  <a:gd name="connsiteX3" fmla="*/ 6469 w 45312"/>
                  <a:gd name="connsiteY3" fmla="*/ 0 h 12938"/>
                  <a:gd name="connsiteX4" fmla="*/ 38843 w 45312"/>
                  <a:gd name="connsiteY4" fmla="*/ 0 h 12938"/>
                  <a:gd name="connsiteX5" fmla="*/ 45312 w 45312"/>
                  <a:gd name="connsiteY5" fmla="*/ 6469 h 12938"/>
                  <a:gd name="connsiteX6" fmla="*/ 38843 w 45312"/>
                  <a:gd name="connsiteY6" fmla="*/ 12938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12" h="12938">
                    <a:moveTo>
                      <a:pt x="38843" y="12938"/>
                    </a:moveTo>
                    <a:lnTo>
                      <a:pt x="6469" y="12938"/>
                    </a:lnTo>
                    <a:cubicBezTo>
                      <a:pt x="2903" y="12938"/>
                      <a:pt x="0" y="10036"/>
                      <a:pt x="0" y="6469"/>
                    </a:cubicBezTo>
                    <a:cubicBezTo>
                      <a:pt x="0" y="2903"/>
                      <a:pt x="2903" y="0"/>
                      <a:pt x="6469" y="0"/>
                    </a:cubicBezTo>
                    <a:lnTo>
                      <a:pt x="38843" y="0"/>
                    </a:lnTo>
                    <a:cubicBezTo>
                      <a:pt x="42409" y="0"/>
                      <a:pt x="45312" y="2903"/>
                      <a:pt x="45312" y="6469"/>
                    </a:cubicBezTo>
                    <a:cubicBezTo>
                      <a:pt x="45312" y="10036"/>
                      <a:pt x="42409" y="12938"/>
                      <a:pt x="38843" y="12938"/>
                    </a:cubicBezTo>
                    <a:close/>
                  </a:path>
                </a:pathLst>
              </a:custGeom>
              <a:solidFill>
                <a:schemeClr val="accent1"/>
              </a:solidFill>
              <a:ln w="2759" cap="flat">
                <a:noFill/>
                <a:prstDash val="solid"/>
                <a:miter/>
              </a:ln>
            </p:spPr>
            <p:txBody>
              <a:bodyPr rtlCol="0" anchor="ctr"/>
              <a:lstStyle/>
              <a:p>
                <a:endParaRPr lang="en-GB" dirty="0"/>
              </a:p>
            </p:txBody>
          </p:sp>
          <p:sp>
            <p:nvSpPr>
              <p:cNvPr id="106" name="Freihandform: Form 823">
                <a:extLst>
                  <a:ext uri="{FF2B5EF4-FFF2-40B4-BE49-F238E27FC236}">
                    <a16:creationId xmlns:a16="http://schemas.microsoft.com/office/drawing/2014/main" id="{CEECF5AD-591B-45B0-8192-07A1AA01D0E2}"/>
                  </a:ext>
                </a:extLst>
              </p:cNvPr>
              <p:cNvSpPr/>
              <p:nvPr/>
            </p:nvSpPr>
            <p:spPr>
              <a:xfrm>
                <a:off x="7137891" y="1989504"/>
                <a:ext cx="32373" cy="12938"/>
              </a:xfrm>
              <a:custGeom>
                <a:avLst/>
                <a:gdLst>
                  <a:gd name="connsiteX0" fmla="*/ 25905 w 32373"/>
                  <a:gd name="connsiteY0" fmla="*/ 12938 h 12938"/>
                  <a:gd name="connsiteX1" fmla="*/ 6469 w 32373"/>
                  <a:gd name="connsiteY1" fmla="*/ 12938 h 12938"/>
                  <a:gd name="connsiteX2" fmla="*/ 0 w 32373"/>
                  <a:gd name="connsiteY2" fmla="*/ 6469 h 12938"/>
                  <a:gd name="connsiteX3" fmla="*/ 6469 w 32373"/>
                  <a:gd name="connsiteY3" fmla="*/ 0 h 12938"/>
                  <a:gd name="connsiteX4" fmla="*/ 25905 w 32373"/>
                  <a:gd name="connsiteY4" fmla="*/ 0 h 12938"/>
                  <a:gd name="connsiteX5" fmla="*/ 32374 w 32373"/>
                  <a:gd name="connsiteY5" fmla="*/ 6469 h 12938"/>
                  <a:gd name="connsiteX6" fmla="*/ 25905 w 32373"/>
                  <a:gd name="connsiteY6" fmla="*/ 12938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373" h="12938">
                    <a:moveTo>
                      <a:pt x="25905" y="12938"/>
                    </a:moveTo>
                    <a:lnTo>
                      <a:pt x="6469" y="12938"/>
                    </a:lnTo>
                    <a:cubicBezTo>
                      <a:pt x="2903" y="12938"/>
                      <a:pt x="0" y="10036"/>
                      <a:pt x="0" y="6469"/>
                    </a:cubicBezTo>
                    <a:cubicBezTo>
                      <a:pt x="0" y="2903"/>
                      <a:pt x="2903" y="0"/>
                      <a:pt x="6469" y="0"/>
                    </a:cubicBezTo>
                    <a:lnTo>
                      <a:pt x="25905" y="0"/>
                    </a:lnTo>
                    <a:cubicBezTo>
                      <a:pt x="29471" y="0"/>
                      <a:pt x="32374" y="2903"/>
                      <a:pt x="32374" y="6469"/>
                    </a:cubicBezTo>
                    <a:cubicBezTo>
                      <a:pt x="32374" y="10036"/>
                      <a:pt x="29471" y="12938"/>
                      <a:pt x="25905" y="12938"/>
                    </a:cubicBezTo>
                    <a:close/>
                  </a:path>
                </a:pathLst>
              </a:custGeom>
              <a:solidFill>
                <a:schemeClr val="accent1"/>
              </a:solidFill>
              <a:ln w="2759" cap="flat">
                <a:noFill/>
                <a:prstDash val="solid"/>
                <a:miter/>
              </a:ln>
            </p:spPr>
            <p:txBody>
              <a:bodyPr rtlCol="0" anchor="ctr"/>
              <a:lstStyle/>
              <a:p>
                <a:endParaRPr lang="en-GB" dirty="0"/>
              </a:p>
            </p:txBody>
          </p:sp>
          <p:sp>
            <p:nvSpPr>
              <p:cNvPr id="107" name="Freihandform: Form 824">
                <a:extLst>
                  <a:ext uri="{FF2B5EF4-FFF2-40B4-BE49-F238E27FC236}">
                    <a16:creationId xmlns:a16="http://schemas.microsoft.com/office/drawing/2014/main" id="{5AD7762E-99B1-44B3-A3F8-A1DD66889499}"/>
                  </a:ext>
                </a:extLst>
              </p:cNvPr>
              <p:cNvSpPr/>
              <p:nvPr/>
            </p:nvSpPr>
            <p:spPr>
              <a:xfrm>
                <a:off x="7014810" y="1989504"/>
                <a:ext cx="97149" cy="12938"/>
              </a:xfrm>
              <a:custGeom>
                <a:avLst/>
                <a:gdLst>
                  <a:gd name="connsiteX0" fmla="*/ 90680 w 97149"/>
                  <a:gd name="connsiteY0" fmla="*/ 12938 h 12938"/>
                  <a:gd name="connsiteX1" fmla="*/ 6469 w 97149"/>
                  <a:gd name="connsiteY1" fmla="*/ 12938 h 12938"/>
                  <a:gd name="connsiteX2" fmla="*/ 0 w 97149"/>
                  <a:gd name="connsiteY2" fmla="*/ 6469 h 12938"/>
                  <a:gd name="connsiteX3" fmla="*/ 6469 w 97149"/>
                  <a:gd name="connsiteY3" fmla="*/ 0 h 12938"/>
                  <a:gd name="connsiteX4" fmla="*/ 90680 w 97149"/>
                  <a:gd name="connsiteY4" fmla="*/ 0 h 12938"/>
                  <a:gd name="connsiteX5" fmla="*/ 97149 w 97149"/>
                  <a:gd name="connsiteY5" fmla="*/ 6469 h 12938"/>
                  <a:gd name="connsiteX6" fmla="*/ 90680 w 97149"/>
                  <a:gd name="connsiteY6" fmla="*/ 12938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149" h="12938">
                    <a:moveTo>
                      <a:pt x="90680" y="12938"/>
                    </a:moveTo>
                    <a:lnTo>
                      <a:pt x="6469" y="12938"/>
                    </a:lnTo>
                    <a:cubicBezTo>
                      <a:pt x="2903" y="12938"/>
                      <a:pt x="0" y="10036"/>
                      <a:pt x="0" y="6469"/>
                    </a:cubicBezTo>
                    <a:cubicBezTo>
                      <a:pt x="0" y="2903"/>
                      <a:pt x="2903" y="0"/>
                      <a:pt x="6469" y="0"/>
                    </a:cubicBezTo>
                    <a:lnTo>
                      <a:pt x="90680" y="0"/>
                    </a:lnTo>
                    <a:cubicBezTo>
                      <a:pt x="94246" y="0"/>
                      <a:pt x="97149" y="2903"/>
                      <a:pt x="97149" y="6469"/>
                    </a:cubicBezTo>
                    <a:cubicBezTo>
                      <a:pt x="97149" y="10036"/>
                      <a:pt x="94274" y="12938"/>
                      <a:pt x="90680" y="12938"/>
                    </a:cubicBezTo>
                    <a:close/>
                  </a:path>
                </a:pathLst>
              </a:custGeom>
              <a:solidFill>
                <a:schemeClr val="accent1"/>
              </a:solidFill>
              <a:ln w="2759" cap="flat">
                <a:noFill/>
                <a:prstDash val="solid"/>
                <a:miter/>
              </a:ln>
            </p:spPr>
            <p:txBody>
              <a:bodyPr rtlCol="0" anchor="ctr"/>
              <a:lstStyle/>
              <a:p>
                <a:endParaRPr lang="en-GB" dirty="0"/>
              </a:p>
            </p:txBody>
          </p:sp>
          <p:sp>
            <p:nvSpPr>
              <p:cNvPr id="108" name="Freihandform: Form 825">
                <a:extLst>
                  <a:ext uri="{FF2B5EF4-FFF2-40B4-BE49-F238E27FC236}">
                    <a16:creationId xmlns:a16="http://schemas.microsoft.com/office/drawing/2014/main" id="{643BDAEB-DD7A-4E6E-9E90-E8848429A144}"/>
                  </a:ext>
                </a:extLst>
              </p:cNvPr>
              <p:cNvSpPr/>
              <p:nvPr/>
            </p:nvSpPr>
            <p:spPr>
              <a:xfrm>
                <a:off x="7273911" y="1866423"/>
                <a:ext cx="103645" cy="103645"/>
              </a:xfrm>
              <a:custGeom>
                <a:avLst/>
                <a:gdLst>
                  <a:gd name="connsiteX0" fmla="*/ 84211 w 103645"/>
                  <a:gd name="connsiteY0" fmla="*/ 103646 h 103645"/>
                  <a:gd name="connsiteX1" fmla="*/ 19435 w 103645"/>
                  <a:gd name="connsiteY1" fmla="*/ 103646 h 103645"/>
                  <a:gd name="connsiteX2" fmla="*/ 0 w 103645"/>
                  <a:gd name="connsiteY2" fmla="*/ 84211 h 103645"/>
                  <a:gd name="connsiteX3" fmla="*/ 0 w 103645"/>
                  <a:gd name="connsiteY3" fmla="*/ 19435 h 103645"/>
                  <a:gd name="connsiteX4" fmla="*/ 19435 w 103645"/>
                  <a:gd name="connsiteY4" fmla="*/ 0 h 103645"/>
                  <a:gd name="connsiteX5" fmla="*/ 84211 w 103645"/>
                  <a:gd name="connsiteY5" fmla="*/ 0 h 103645"/>
                  <a:gd name="connsiteX6" fmla="*/ 103646 w 103645"/>
                  <a:gd name="connsiteY6" fmla="*/ 19435 h 103645"/>
                  <a:gd name="connsiteX7" fmla="*/ 103646 w 103645"/>
                  <a:gd name="connsiteY7" fmla="*/ 84211 h 103645"/>
                  <a:gd name="connsiteX8" fmla="*/ 84211 w 103645"/>
                  <a:gd name="connsiteY8" fmla="*/ 103646 h 103645"/>
                  <a:gd name="connsiteX9" fmla="*/ 19435 w 103645"/>
                  <a:gd name="connsiteY9" fmla="*/ 12966 h 103645"/>
                  <a:gd name="connsiteX10" fmla="*/ 12966 w 103645"/>
                  <a:gd name="connsiteY10" fmla="*/ 19435 h 103645"/>
                  <a:gd name="connsiteX11" fmla="*/ 12966 w 103645"/>
                  <a:gd name="connsiteY11" fmla="*/ 84211 h 103645"/>
                  <a:gd name="connsiteX12" fmla="*/ 19435 w 103645"/>
                  <a:gd name="connsiteY12" fmla="*/ 90680 h 103645"/>
                  <a:gd name="connsiteX13" fmla="*/ 84211 w 103645"/>
                  <a:gd name="connsiteY13" fmla="*/ 90680 h 103645"/>
                  <a:gd name="connsiteX14" fmla="*/ 90680 w 103645"/>
                  <a:gd name="connsiteY14" fmla="*/ 84211 h 103645"/>
                  <a:gd name="connsiteX15" fmla="*/ 90680 w 103645"/>
                  <a:gd name="connsiteY15" fmla="*/ 19435 h 103645"/>
                  <a:gd name="connsiteX16" fmla="*/ 84211 w 103645"/>
                  <a:gd name="connsiteY16" fmla="*/ 12966 h 103645"/>
                  <a:gd name="connsiteX17" fmla="*/ 19435 w 103645"/>
                  <a:gd name="connsiteY17" fmla="*/ 12966 h 10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3645" h="103645">
                    <a:moveTo>
                      <a:pt x="84211" y="103646"/>
                    </a:moveTo>
                    <a:lnTo>
                      <a:pt x="19435" y="103646"/>
                    </a:lnTo>
                    <a:cubicBezTo>
                      <a:pt x="8709" y="103646"/>
                      <a:pt x="0" y="94937"/>
                      <a:pt x="0" y="84211"/>
                    </a:cubicBezTo>
                    <a:lnTo>
                      <a:pt x="0" y="19435"/>
                    </a:lnTo>
                    <a:cubicBezTo>
                      <a:pt x="0" y="8709"/>
                      <a:pt x="8709" y="0"/>
                      <a:pt x="19435" y="0"/>
                    </a:cubicBezTo>
                    <a:lnTo>
                      <a:pt x="84211" y="0"/>
                    </a:lnTo>
                    <a:cubicBezTo>
                      <a:pt x="94937" y="0"/>
                      <a:pt x="103646" y="8709"/>
                      <a:pt x="103646" y="19435"/>
                    </a:cubicBezTo>
                    <a:lnTo>
                      <a:pt x="103646" y="84211"/>
                    </a:lnTo>
                    <a:cubicBezTo>
                      <a:pt x="103646" y="94910"/>
                      <a:pt x="94910" y="103646"/>
                      <a:pt x="84211" y="103646"/>
                    </a:cubicBezTo>
                    <a:close/>
                    <a:moveTo>
                      <a:pt x="19435" y="12966"/>
                    </a:moveTo>
                    <a:cubicBezTo>
                      <a:pt x="15869" y="12966"/>
                      <a:pt x="12966" y="15869"/>
                      <a:pt x="12966" y="19435"/>
                    </a:cubicBezTo>
                    <a:lnTo>
                      <a:pt x="12966" y="84211"/>
                    </a:lnTo>
                    <a:cubicBezTo>
                      <a:pt x="12966" y="87777"/>
                      <a:pt x="15869" y="90680"/>
                      <a:pt x="19435" y="90680"/>
                    </a:cubicBezTo>
                    <a:lnTo>
                      <a:pt x="84211" y="90680"/>
                    </a:lnTo>
                    <a:cubicBezTo>
                      <a:pt x="87777" y="90680"/>
                      <a:pt x="90680" y="87777"/>
                      <a:pt x="90680" y="84211"/>
                    </a:cubicBezTo>
                    <a:lnTo>
                      <a:pt x="90680" y="19435"/>
                    </a:lnTo>
                    <a:cubicBezTo>
                      <a:pt x="90680" y="15869"/>
                      <a:pt x="87777" y="12966"/>
                      <a:pt x="84211" y="12966"/>
                    </a:cubicBezTo>
                    <a:lnTo>
                      <a:pt x="19435" y="12966"/>
                    </a:lnTo>
                    <a:close/>
                  </a:path>
                </a:pathLst>
              </a:custGeom>
              <a:solidFill>
                <a:schemeClr val="accent1"/>
              </a:solidFill>
              <a:ln w="2759" cap="flat">
                <a:noFill/>
                <a:prstDash val="solid"/>
                <a:miter/>
              </a:ln>
            </p:spPr>
            <p:txBody>
              <a:bodyPr rtlCol="0" anchor="ctr"/>
              <a:lstStyle/>
              <a:p>
                <a:endParaRPr lang="en-GB" dirty="0"/>
              </a:p>
            </p:txBody>
          </p:sp>
          <p:sp>
            <p:nvSpPr>
              <p:cNvPr id="109" name="Freihandform: Form 826">
                <a:extLst>
                  <a:ext uri="{FF2B5EF4-FFF2-40B4-BE49-F238E27FC236}">
                    <a16:creationId xmlns:a16="http://schemas.microsoft.com/office/drawing/2014/main" id="{61E5AC5B-9506-440A-AFFF-38ED49AA7F17}"/>
                  </a:ext>
                </a:extLst>
              </p:cNvPr>
              <p:cNvSpPr/>
              <p:nvPr/>
            </p:nvSpPr>
            <p:spPr>
              <a:xfrm>
                <a:off x="7247978" y="1885831"/>
                <a:ext cx="38870" cy="45367"/>
              </a:xfrm>
              <a:custGeom>
                <a:avLst/>
                <a:gdLst>
                  <a:gd name="connsiteX0" fmla="*/ 32402 w 38870"/>
                  <a:gd name="connsiteY0" fmla="*/ 45368 h 45367"/>
                  <a:gd name="connsiteX1" fmla="*/ 14901 w 38870"/>
                  <a:gd name="connsiteY1" fmla="*/ 45368 h 45367"/>
                  <a:gd name="connsiteX2" fmla="*/ 0 w 38870"/>
                  <a:gd name="connsiteY2" fmla="*/ 30466 h 45367"/>
                  <a:gd name="connsiteX3" fmla="*/ 0 w 38870"/>
                  <a:gd name="connsiteY3" fmla="*/ 19435 h 45367"/>
                  <a:gd name="connsiteX4" fmla="*/ 19435 w 38870"/>
                  <a:gd name="connsiteY4" fmla="*/ 0 h 45367"/>
                  <a:gd name="connsiteX5" fmla="*/ 32402 w 38870"/>
                  <a:gd name="connsiteY5" fmla="*/ 0 h 45367"/>
                  <a:gd name="connsiteX6" fmla="*/ 38871 w 38870"/>
                  <a:gd name="connsiteY6" fmla="*/ 6469 h 45367"/>
                  <a:gd name="connsiteX7" fmla="*/ 38871 w 38870"/>
                  <a:gd name="connsiteY7" fmla="*/ 38843 h 45367"/>
                  <a:gd name="connsiteX8" fmla="*/ 32402 w 38870"/>
                  <a:gd name="connsiteY8" fmla="*/ 45368 h 45367"/>
                  <a:gd name="connsiteX9" fmla="*/ 19463 w 38870"/>
                  <a:gd name="connsiteY9" fmla="*/ 12966 h 45367"/>
                  <a:gd name="connsiteX10" fmla="*/ 12994 w 38870"/>
                  <a:gd name="connsiteY10" fmla="*/ 19435 h 45367"/>
                  <a:gd name="connsiteX11" fmla="*/ 12994 w 38870"/>
                  <a:gd name="connsiteY11" fmla="*/ 30466 h 45367"/>
                  <a:gd name="connsiteX12" fmla="*/ 14929 w 38870"/>
                  <a:gd name="connsiteY12" fmla="*/ 32401 h 45367"/>
                  <a:gd name="connsiteX13" fmla="*/ 25960 w 38870"/>
                  <a:gd name="connsiteY13" fmla="*/ 32401 h 45367"/>
                  <a:gd name="connsiteX14" fmla="*/ 25960 w 38870"/>
                  <a:gd name="connsiteY14" fmla="*/ 12966 h 45367"/>
                  <a:gd name="connsiteX15" fmla="*/ 19463 w 38870"/>
                  <a:gd name="connsiteY15" fmla="*/ 12966 h 45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870" h="45367">
                    <a:moveTo>
                      <a:pt x="32402" y="45368"/>
                    </a:moveTo>
                    <a:lnTo>
                      <a:pt x="14901" y="45368"/>
                    </a:lnTo>
                    <a:cubicBezTo>
                      <a:pt x="6691" y="45368"/>
                      <a:pt x="0" y="38677"/>
                      <a:pt x="0" y="30466"/>
                    </a:cubicBezTo>
                    <a:lnTo>
                      <a:pt x="0" y="19435"/>
                    </a:lnTo>
                    <a:cubicBezTo>
                      <a:pt x="0" y="8709"/>
                      <a:pt x="8709" y="0"/>
                      <a:pt x="19435" y="0"/>
                    </a:cubicBezTo>
                    <a:lnTo>
                      <a:pt x="32402" y="0"/>
                    </a:lnTo>
                    <a:cubicBezTo>
                      <a:pt x="35968" y="0"/>
                      <a:pt x="38871" y="2903"/>
                      <a:pt x="38871" y="6469"/>
                    </a:cubicBezTo>
                    <a:lnTo>
                      <a:pt x="38871" y="38843"/>
                    </a:lnTo>
                    <a:cubicBezTo>
                      <a:pt x="38898" y="42465"/>
                      <a:pt x="35995" y="45368"/>
                      <a:pt x="32402" y="45368"/>
                    </a:cubicBezTo>
                    <a:close/>
                    <a:moveTo>
                      <a:pt x="19463" y="12966"/>
                    </a:moveTo>
                    <a:cubicBezTo>
                      <a:pt x="15897" y="12966"/>
                      <a:pt x="12994" y="15869"/>
                      <a:pt x="12994" y="19435"/>
                    </a:cubicBezTo>
                    <a:lnTo>
                      <a:pt x="12994" y="30466"/>
                    </a:lnTo>
                    <a:cubicBezTo>
                      <a:pt x="12994" y="31544"/>
                      <a:pt x="13851" y="32401"/>
                      <a:pt x="14929" y="32401"/>
                    </a:cubicBezTo>
                    <a:lnTo>
                      <a:pt x="25960" y="32401"/>
                    </a:lnTo>
                    <a:lnTo>
                      <a:pt x="25960" y="12966"/>
                    </a:lnTo>
                    <a:lnTo>
                      <a:pt x="19463" y="12966"/>
                    </a:lnTo>
                    <a:close/>
                  </a:path>
                </a:pathLst>
              </a:custGeom>
              <a:solidFill>
                <a:schemeClr val="accent1"/>
              </a:solidFill>
              <a:ln w="2759" cap="flat">
                <a:noFill/>
                <a:prstDash val="solid"/>
                <a:miter/>
              </a:ln>
            </p:spPr>
            <p:txBody>
              <a:bodyPr rtlCol="0" anchor="ctr"/>
              <a:lstStyle/>
              <a:p>
                <a:endParaRPr lang="en-GB" dirty="0"/>
              </a:p>
            </p:txBody>
          </p:sp>
          <p:sp>
            <p:nvSpPr>
              <p:cNvPr id="110" name="Freihandform: Form 827">
                <a:extLst>
                  <a:ext uri="{FF2B5EF4-FFF2-40B4-BE49-F238E27FC236}">
                    <a16:creationId xmlns:a16="http://schemas.microsoft.com/office/drawing/2014/main" id="{8D9B230A-6734-4592-AA4E-B36583CFAFB6}"/>
                  </a:ext>
                </a:extLst>
              </p:cNvPr>
              <p:cNvSpPr/>
              <p:nvPr/>
            </p:nvSpPr>
            <p:spPr>
              <a:xfrm>
                <a:off x="7364591" y="1885858"/>
                <a:ext cx="38870" cy="45339"/>
              </a:xfrm>
              <a:custGeom>
                <a:avLst/>
                <a:gdLst>
                  <a:gd name="connsiteX0" fmla="*/ 23969 w 38870"/>
                  <a:gd name="connsiteY0" fmla="*/ 45340 h 45339"/>
                  <a:gd name="connsiteX1" fmla="*/ 6469 w 38870"/>
                  <a:gd name="connsiteY1" fmla="*/ 45340 h 45339"/>
                  <a:gd name="connsiteX2" fmla="*/ 0 w 38870"/>
                  <a:gd name="connsiteY2" fmla="*/ 38871 h 45339"/>
                  <a:gd name="connsiteX3" fmla="*/ 0 w 38870"/>
                  <a:gd name="connsiteY3" fmla="*/ 6469 h 45339"/>
                  <a:gd name="connsiteX4" fmla="*/ 6469 w 38870"/>
                  <a:gd name="connsiteY4" fmla="*/ 0 h 45339"/>
                  <a:gd name="connsiteX5" fmla="*/ 19435 w 38870"/>
                  <a:gd name="connsiteY5" fmla="*/ 0 h 45339"/>
                  <a:gd name="connsiteX6" fmla="*/ 38871 w 38870"/>
                  <a:gd name="connsiteY6" fmla="*/ 19435 h 45339"/>
                  <a:gd name="connsiteX7" fmla="*/ 38871 w 38870"/>
                  <a:gd name="connsiteY7" fmla="*/ 30466 h 45339"/>
                  <a:gd name="connsiteX8" fmla="*/ 23969 w 38870"/>
                  <a:gd name="connsiteY8" fmla="*/ 45340 h 45339"/>
                  <a:gd name="connsiteX9" fmla="*/ 12966 w 38870"/>
                  <a:gd name="connsiteY9" fmla="*/ 32374 h 45339"/>
                  <a:gd name="connsiteX10" fmla="*/ 23997 w 38870"/>
                  <a:gd name="connsiteY10" fmla="*/ 32374 h 45339"/>
                  <a:gd name="connsiteX11" fmla="*/ 25932 w 38870"/>
                  <a:gd name="connsiteY11" fmla="*/ 30439 h 45339"/>
                  <a:gd name="connsiteX12" fmla="*/ 25932 w 38870"/>
                  <a:gd name="connsiteY12" fmla="*/ 19408 h 45339"/>
                  <a:gd name="connsiteX13" fmla="*/ 19463 w 38870"/>
                  <a:gd name="connsiteY13" fmla="*/ 12938 h 45339"/>
                  <a:gd name="connsiteX14" fmla="*/ 12994 w 38870"/>
                  <a:gd name="connsiteY14" fmla="*/ 12938 h 45339"/>
                  <a:gd name="connsiteX15" fmla="*/ 12994 w 38870"/>
                  <a:gd name="connsiteY15" fmla="*/ 32374 h 45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8870" h="45339">
                    <a:moveTo>
                      <a:pt x="23969" y="45340"/>
                    </a:moveTo>
                    <a:lnTo>
                      <a:pt x="6469" y="45340"/>
                    </a:lnTo>
                    <a:cubicBezTo>
                      <a:pt x="2903" y="45340"/>
                      <a:pt x="0" y="42437"/>
                      <a:pt x="0" y="38871"/>
                    </a:cubicBezTo>
                    <a:lnTo>
                      <a:pt x="0" y="6469"/>
                    </a:lnTo>
                    <a:cubicBezTo>
                      <a:pt x="0" y="2903"/>
                      <a:pt x="2903" y="0"/>
                      <a:pt x="6469" y="0"/>
                    </a:cubicBezTo>
                    <a:lnTo>
                      <a:pt x="19435" y="0"/>
                    </a:lnTo>
                    <a:cubicBezTo>
                      <a:pt x="30162" y="0"/>
                      <a:pt x="38871" y="8709"/>
                      <a:pt x="38871" y="19435"/>
                    </a:cubicBezTo>
                    <a:lnTo>
                      <a:pt x="38871" y="30466"/>
                    </a:lnTo>
                    <a:cubicBezTo>
                      <a:pt x="38871" y="38649"/>
                      <a:pt x="32180" y="45340"/>
                      <a:pt x="23969" y="45340"/>
                    </a:cubicBezTo>
                    <a:close/>
                    <a:moveTo>
                      <a:pt x="12966" y="32374"/>
                    </a:moveTo>
                    <a:lnTo>
                      <a:pt x="23997" y="32374"/>
                    </a:lnTo>
                    <a:cubicBezTo>
                      <a:pt x="25075" y="32374"/>
                      <a:pt x="25932" y="31517"/>
                      <a:pt x="25932" y="30439"/>
                    </a:cubicBezTo>
                    <a:lnTo>
                      <a:pt x="25932" y="19408"/>
                    </a:lnTo>
                    <a:cubicBezTo>
                      <a:pt x="25932" y="15841"/>
                      <a:pt x="23029" y="12938"/>
                      <a:pt x="19463" y="12938"/>
                    </a:cubicBezTo>
                    <a:lnTo>
                      <a:pt x="12994" y="12938"/>
                    </a:lnTo>
                    <a:lnTo>
                      <a:pt x="12994" y="32374"/>
                    </a:lnTo>
                    <a:close/>
                  </a:path>
                </a:pathLst>
              </a:custGeom>
              <a:solidFill>
                <a:schemeClr val="accent1"/>
              </a:solidFill>
              <a:ln w="2759" cap="flat">
                <a:noFill/>
                <a:prstDash val="solid"/>
                <a:miter/>
              </a:ln>
            </p:spPr>
            <p:txBody>
              <a:bodyPr rtlCol="0" anchor="ctr"/>
              <a:lstStyle/>
              <a:p>
                <a:endParaRPr lang="en-GB" dirty="0"/>
              </a:p>
            </p:txBody>
          </p:sp>
          <p:sp>
            <p:nvSpPr>
              <p:cNvPr id="111" name="Freihandform: Form 828">
                <a:extLst>
                  <a:ext uri="{FF2B5EF4-FFF2-40B4-BE49-F238E27FC236}">
                    <a16:creationId xmlns:a16="http://schemas.microsoft.com/office/drawing/2014/main" id="{F25CAC64-F312-4599-9E5E-A00A9AC5DE2C}"/>
                  </a:ext>
                </a:extLst>
              </p:cNvPr>
              <p:cNvSpPr/>
              <p:nvPr/>
            </p:nvSpPr>
            <p:spPr>
              <a:xfrm>
                <a:off x="7254503" y="1827552"/>
                <a:ext cx="142516" cy="71244"/>
              </a:xfrm>
              <a:custGeom>
                <a:avLst/>
                <a:gdLst>
                  <a:gd name="connsiteX0" fmla="*/ 135992 w 142516"/>
                  <a:gd name="connsiteY0" fmla="*/ 71244 h 71244"/>
                  <a:gd name="connsiteX1" fmla="*/ 129523 w 142516"/>
                  <a:gd name="connsiteY1" fmla="*/ 64775 h 71244"/>
                  <a:gd name="connsiteX2" fmla="*/ 129523 w 142516"/>
                  <a:gd name="connsiteY2" fmla="*/ 48934 h 71244"/>
                  <a:gd name="connsiteX3" fmla="*/ 93555 w 142516"/>
                  <a:gd name="connsiteY3" fmla="*/ 12966 h 71244"/>
                  <a:gd name="connsiteX4" fmla="*/ 48906 w 142516"/>
                  <a:gd name="connsiteY4" fmla="*/ 12966 h 71244"/>
                  <a:gd name="connsiteX5" fmla="*/ 12938 w 142516"/>
                  <a:gd name="connsiteY5" fmla="*/ 48934 h 71244"/>
                  <a:gd name="connsiteX6" fmla="*/ 12938 w 142516"/>
                  <a:gd name="connsiteY6" fmla="*/ 64775 h 71244"/>
                  <a:gd name="connsiteX7" fmla="*/ 6469 w 142516"/>
                  <a:gd name="connsiteY7" fmla="*/ 71244 h 71244"/>
                  <a:gd name="connsiteX8" fmla="*/ 0 w 142516"/>
                  <a:gd name="connsiteY8" fmla="*/ 64775 h 71244"/>
                  <a:gd name="connsiteX9" fmla="*/ 0 w 142516"/>
                  <a:gd name="connsiteY9" fmla="*/ 48934 h 71244"/>
                  <a:gd name="connsiteX10" fmla="*/ 48934 w 142516"/>
                  <a:gd name="connsiteY10" fmla="*/ 0 h 71244"/>
                  <a:gd name="connsiteX11" fmla="*/ 93583 w 142516"/>
                  <a:gd name="connsiteY11" fmla="*/ 0 h 71244"/>
                  <a:gd name="connsiteX12" fmla="*/ 142516 w 142516"/>
                  <a:gd name="connsiteY12" fmla="*/ 48934 h 71244"/>
                  <a:gd name="connsiteX13" fmla="*/ 142516 w 142516"/>
                  <a:gd name="connsiteY13" fmla="*/ 64775 h 71244"/>
                  <a:gd name="connsiteX14" fmla="*/ 135992 w 142516"/>
                  <a:gd name="connsiteY14" fmla="*/ 71244 h 7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516" h="71244">
                    <a:moveTo>
                      <a:pt x="135992" y="71244"/>
                    </a:moveTo>
                    <a:cubicBezTo>
                      <a:pt x="132426" y="71244"/>
                      <a:pt x="129523" y="68342"/>
                      <a:pt x="129523" y="64775"/>
                    </a:cubicBezTo>
                    <a:lnTo>
                      <a:pt x="129523" y="48934"/>
                    </a:lnTo>
                    <a:cubicBezTo>
                      <a:pt x="129523" y="29084"/>
                      <a:pt x="113377" y="12966"/>
                      <a:pt x="93555" y="12966"/>
                    </a:cubicBezTo>
                    <a:lnTo>
                      <a:pt x="48906" y="12966"/>
                    </a:lnTo>
                    <a:cubicBezTo>
                      <a:pt x="29056" y="12966"/>
                      <a:pt x="12938" y="29112"/>
                      <a:pt x="12938" y="48934"/>
                    </a:cubicBezTo>
                    <a:lnTo>
                      <a:pt x="12938" y="64775"/>
                    </a:lnTo>
                    <a:cubicBezTo>
                      <a:pt x="12938" y="68342"/>
                      <a:pt x="10036" y="71244"/>
                      <a:pt x="6469" y="71244"/>
                    </a:cubicBezTo>
                    <a:cubicBezTo>
                      <a:pt x="2903" y="71244"/>
                      <a:pt x="0" y="68342"/>
                      <a:pt x="0" y="64775"/>
                    </a:cubicBezTo>
                    <a:lnTo>
                      <a:pt x="0" y="48934"/>
                    </a:lnTo>
                    <a:cubicBezTo>
                      <a:pt x="0" y="21951"/>
                      <a:pt x="21951" y="0"/>
                      <a:pt x="48934" y="0"/>
                    </a:cubicBezTo>
                    <a:lnTo>
                      <a:pt x="93583" y="0"/>
                    </a:lnTo>
                    <a:cubicBezTo>
                      <a:pt x="120565" y="0"/>
                      <a:pt x="142516" y="21951"/>
                      <a:pt x="142516" y="48934"/>
                    </a:cubicBezTo>
                    <a:lnTo>
                      <a:pt x="142516" y="64775"/>
                    </a:lnTo>
                    <a:cubicBezTo>
                      <a:pt x="142489" y="68369"/>
                      <a:pt x="139586" y="71244"/>
                      <a:pt x="135992" y="71244"/>
                    </a:cubicBezTo>
                    <a:close/>
                  </a:path>
                </a:pathLst>
              </a:custGeom>
              <a:solidFill>
                <a:schemeClr val="accent1"/>
              </a:solidFill>
              <a:ln w="2759" cap="flat">
                <a:noFill/>
                <a:prstDash val="solid"/>
                <a:miter/>
              </a:ln>
            </p:spPr>
            <p:txBody>
              <a:bodyPr rtlCol="0" anchor="ctr"/>
              <a:lstStyle/>
              <a:p>
                <a:endParaRPr lang="en-GB" dirty="0"/>
              </a:p>
            </p:txBody>
          </p:sp>
          <p:sp>
            <p:nvSpPr>
              <p:cNvPr id="112" name="Freihandform: Form 829">
                <a:extLst>
                  <a:ext uri="{FF2B5EF4-FFF2-40B4-BE49-F238E27FC236}">
                    <a16:creationId xmlns:a16="http://schemas.microsoft.com/office/drawing/2014/main" id="{851AD8B0-2CE3-4181-8322-4E37C527D2E4}"/>
                  </a:ext>
                </a:extLst>
              </p:cNvPr>
              <p:cNvSpPr/>
              <p:nvPr/>
            </p:nvSpPr>
            <p:spPr>
              <a:xfrm>
                <a:off x="7338686" y="1918260"/>
                <a:ext cx="58278" cy="32373"/>
              </a:xfrm>
              <a:custGeom>
                <a:avLst/>
                <a:gdLst>
                  <a:gd name="connsiteX0" fmla="*/ 45340 w 58278"/>
                  <a:gd name="connsiteY0" fmla="*/ 32374 h 32373"/>
                  <a:gd name="connsiteX1" fmla="*/ 6469 w 58278"/>
                  <a:gd name="connsiteY1" fmla="*/ 32374 h 32373"/>
                  <a:gd name="connsiteX2" fmla="*/ 0 w 58278"/>
                  <a:gd name="connsiteY2" fmla="*/ 25905 h 32373"/>
                  <a:gd name="connsiteX3" fmla="*/ 6469 w 58278"/>
                  <a:gd name="connsiteY3" fmla="*/ 19435 h 32373"/>
                  <a:gd name="connsiteX4" fmla="*/ 45340 w 58278"/>
                  <a:gd name="connsiteY4" fmla="*/ 19435 h 32373"/>
                  <a:gd name="connsiteX5" fmla="*/ 45340 w 58278"/>
                  <a:gd name="connsiteY5" fmla="*/ 6469 h 32373"/>
                  <a:gd name="connsiteX6" fmla="*/ 51809 w 58278"/>
                  <a:gd name="connsiteY6" fmla="*/ 0 h 32373"/>
                  <a:gd name="connsiteX7" fmla="*/ 58278 w 58278"/>
                  <a:gd name="connsiteY7" fmla="*/ 6469 h 32373"/>
                  <a:gd name="connsiteX8" fmla="*/ 58278 w 58278"/>
                  <a:gd name="connsiteY8" fmla="*/ 19435 h 32373"/>
                  <a:gd name="connsiteX9" fmla="*/ 45340 w 58278"/>
                  <a:gd name="connsiteY9" fmla="*/ 32374 h 3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278" h="32373">
                    <a:moveTo>
                      <a:pt x="45340" y="32374"/>
                    </a:moveTo>
                    <a:lnTo>
                      <a:pt x="6469" y="32374"/>
                    </a:lnTo>
                    <a:cubicBezTo>
                      <a:pt x="2903" y="32374"/>
                      <a:pt x="0" y="29471"/>
                      <a:pt x="0" y="25905"/>
                    </a:cubicBezTo>
                    <a:cubicBezTo>
                      <a:pt x="0" y="22338"/>
                      <a:pt x="2903" y="19435"/>
                      <a:pt x="6469" y="19435"/>
                    </a:cubicBezTo>
                    <a:lnTo>
                      <a:pt x="45340" y="19435"/>
                    </a:lnTo>
                    <a:lnTo>
                      <a:pt x="45340" y="6469"/>
                    </a:lnTo>
                    <a:cubicBezTo>
                      <a:pt x="45340" y="2903"/>
                      <a:pt x="48243" y="0"/>
                      <a:pt x="51809" y="0"/>
                    </a:cubicBezTo>
                    <a:cubicBezTo>
                      <a:pt x="55376" y="0"/>
                      <a:pt x="58278" y="2903"/>
                      <a:pt x="58278" y="6469"/>
                    </a:cubicBezTo>
                    <a:lnTo>
                      <a:pt x="58278" y="19435"/>
                    </a:lnTo>
                    <a:cubicBezTo>
                      <a:pt x="58306" y="26568"/>
                      <a:pt x="52473" y="32374"/>
                      <a:pt x="45340" y="32374"/>
                    </a:cubicBezTo>
                    <a:close/>
                  </a:path>
                </a:pathLst>
              </a:custGeom>
              <a:solidFill>
                <a:schemeClr val="accent1"/>
              </a:solidFill>
              <a:ln w="2759" cap="flat">
                <a:noFill/>
                <a:prstDash val="solid"/>
                <a:miter/>
              </a:ln>
            </p:spPr>
            <p:txBody>
              <a:bodyPr rtlCol="0" anchor="ctr"/>
              <a:lstStyle/>
              <a:p>
                <a:endParaRPr lang="en-GB" dirty="0"/>
              </a:p>
            </p:txBody>
          </p:sp>
          <p:sp>
            <p:nvSpPr>
              <p:cNvPr id="113" name="Freihandform: Form 830">
                <a:extLst>
                  <a:ext uri="{FF2B5EF4-FFF2-40B4-BE49-F238E27FC236}">
                    <a16:creationId xmlns:a16="http://schemas.microsoft.com/office/drawing/2014/main" id="{560BAA29-D6A2-453B-99C4-0BF3D434ADF3}"/>
                  </a:ext>
                </a:extLst>
              </p:cNvPr>
              <p:cNvSpPr/>
              <p:nvPr/>
            </p:nvSpPr>
            <p:spPr>
              <a:xfrm>
                <a:off x="7299815" y="1898824"/>
                <a:ext cx="51809" cy="12938"/>
              </a:xfrm>
              <a:custGeom>
                <a:avLst/>
                <a:gdLst>
                  <a:gd name="connsiteX0" fmla="*/ 45340 w 51809"/>
                  <a:gd name="connsiteY0" fmla="*/ 12938 h 12938"/>
                  <a:gd name="connsiteX1" fmla="*/ 6469 w 51809"/>
                  <a:gd name="connsiteY1" fmla="*/ 12938 h 12938"/>
                  <a:gd name="connsiteX2" fmla="*/ 0 w 51809"/>
                  <a:gd name="connsiteY2" fmla="*/ 6469 h 12938"/>
                  <a:gd name="connsiteX3" fmla="*/ 6469 w 51809"/>
                  <a:gd name="connsiteY3" fmla="*/ 0 h 12938"/>
                  <a:gd name="connsiteX4" fmla="*/ 45340 w 51809"/>
                  <a:gd name="connsiteY4" fmla="*/ 0 h 12938"/>
                  <a:gd name="connsiteX5" fmla="*/ 51809 w 51809"/>
                  <a:gd name="connsiteY5" fmla="*/ 6469 h 12938"/>
                  <a:gd name="connsiteX6" fmla="*/ 45340 w 51809"/>
                  <a:gd name="connsiteY6" fmla="*/ 12938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09" h="12938">
                    <a:moveTo>
                      <a:pt x="45340" y="12938"/>
                    </a:moveTo>
                    <a:lnTo>
                      <a:pt x="6469" y="12938"/>
                    </a:lnTo>
                    <a:cubicBezTo>
                      <a:pt x="2903" y="12938"/>
                      <a:pt x="0" y="10036"/>
                      <a:pt x="0" y="6469"/>
                    </a:cubicBezTo>
                    <a:cubicBezTo>
                      <a:pt x="0" y="2903"/>
                      <a:pt x="2903" y="0"/>
                      <a:pt x="6469" y="0"/>
                    </a:cubicBezTo>
                    <a:lnTo>
                      <a:pt x="45340" y="0"/>
                    </a:lnTo>
                    <a:cubicBezTo>
                      <a:pt x="48906" y="0"/>
                      <a:pt x="51809" y="2903"/>
                      <a:pt x="51809" y="6469"/>
                    </a:cubicBezTo>
                    <a:cubicBezTo>
                      <a:pt x="51809" y="10036"/>
                      <a:pt x="48934" y="12938"/>
                      <a:pt x="45340" y="12938"/>
                    </a:cubicBezTo>
                    <a:close/>
                  </a:path>
                </a:pathLst>
              </a:custGeom>
              <a:solidFill>
                <a:schemeClr val="accent1"/>
              </a:solidFill>
              <a:ln w="2759" cap="flat">
                <a:noFill/>
                <a:prstDash val="solid"/>
                <a:miter/>
              </a:ln>
            </p:spPr>
            <p:txBody>
              <a:bodyPr rtlCol="0" anchor="ctr"/>
              <a:lstStyle/>
              <a:p>
                <a:endParaRPr lang="en-GB" dirty="0"/>
              </a:p>
            </p:txBody>
          </p:sp>
          <p:sp>
            <p:nvSpPr>
              <p:cNvPr id="114" name="Freihandform: Form 831">
                <a:extLst>
                  <a:ext uri="{FF2B5EF4-FFF2-40B4-BE49-F238E27FC236}">
                    <a16:creationId xmlns:a16="http://schemas.microsoft.com/office/drawing/2014/main" id="{17AC02AD-0E1D-43AD-8CED-625B8C5C36DB}"/>
                  </a:ext>
                </a:extLst>
              </p:cNvPr>
              <p:cNvSpPr/>
              <p:nvPr/>
            </p:nvSpPr>
            <p:spPr>
              <a:xfrm>
                <a:off x="7215605" y="1983035"/>
                <a:ext cx="220230" cy="123053"/>
              </a:xfrm>
              <a:custGeom>
                <a:avLst/>
                <a:gdLst>
                  <a:gd name="connsiteX0" fmla="*/ 213761 w 220230"/>
                  <a:gd name="connsiteY0" fmla="*/ 123054 h 123053"/>
                  <a:gd name="connsiteX1" fmla="*/ 6469 w 220230"/>
                  <a:gd name="connsiteY1" fmla="*/ 123054 h 123053"/>
                  <a:gd name="connsiteX2" fmla="*/ 0 w 220230"/>
                  <a:gd name="connsiteY2" fmla="*/ 116584 h 123053"/>
                  <a:gd name="connsiteX3" fmla="*/ 0 w 220230"/>
                  <a:gd name="connsiteY3" fmla="*/ 76000 h 123053"/>
                  <a:gd name="connsiteX4" fmla="*/ 76000 w 220230"/>
                  <a:gd name="connsiteY4" fmla="*/ 0 h 123053"/>
                  <a:gd name="connsiteX5" fmla="*/ 144231 w 220230"/>
                  <a:gd name="connsiteY5" fmla="*/ 0 h 123053"/>
                  <a:gd name="connsiteX6" fmla="*/ 220230 w 220230"/>
                  <a:gd name="connsiteY6" fmla="*/ 76000 h 123053"/>
                  <a:gd name="connsiteX7" fmla="*/ 220230 w 220230"/>
                  <a:gd name="connsiteY7" fmla="*/ 116584 h 123053"/>
                  <a:gd name="connsiteX8" fmla="*/ 213761 w 220230"/>
                  <a:gd name="connsiteY8" fmla="*/ 123054 h 123053"/>
                  <a:gd name="connsiteX9" fmla="*/ 12966 w 220230"/>
                  <a:gd name="connsiteY9" fmla="*/ 110087 h 123053"/>
                  <a:gd name="connsiteX10" fmla="*/ 207292 w 220230"/>
                  <a:gd name="connsiteY10" fmla="*/ 110087 h 123053"/>
                  <a:gd name="connsiteX11" fmla="*/ 207292 w 220230"/>
                  <a:gd name="connsiteY11" fmla="*/ 75972 h 123053"/>
                  <a:gd name="connsiteX12" fmla="*/ 144258 w 220230"/>
                  <a:gd name="connsiteY12" fmla="*/ 12938 h 123053"/>
                  <a:gd name="connsiteX13" fmla="*/ 76027 w 220230"/>
                  <a:gd name="connsiteY13" fmla="*/ 12938 h 123053"/>
                  <a:gd name="connsiteX14" fmla="*/ 12994 w 220230"/>
                  <a:gd name="connsiteY14" fmla="*/ 75972 h 123053"/>
                  <a:gd name="connsiteX15" fmla="*/ 12994 w 220230"/>
                  <a:gd name="connsiteY15" fmla="*/ 110087 h 123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0230" h="123053">
                    <a:moveTo>
                      <a:pt x="213761" y="123054"/>
                    </a:moveTo>
                    <a:lnTo>
                      <a:pt x="6469" y="123054"/>
                    </a:lnTo>
                    <a:cubicBezTo>
                      <a:pt x="2903" y="123054"/>
                      <a:pt x="0" y="120151"/>
                      <a:pt x="0" y="116584"/>
                    </a:cubicBezTo>
                    <a:lnTo>
                      <a:pt x="0" y="76000"/>
                    </a:lnTo>
                    <a:cubicBezTo>
                      <a:pt x="0" y="34088"/>
                      <a:pt x="34088" y="0"/>
                      <a:pt x="76000" y="0"/>
                    </a:cubicBezTo>
                    <a:lnTo>
                      <a:pt x="144231" y="0"/>
                    </a:lnTo>
                    <a:cubicBezTo>
                      <a:pt x="186142" y="0"/>
                      <a:pt x="220230" y="34088"/>
                      <a:pt x="220230" y="76000"/>
                    </a:cubicBezTo>
                    <a:lnTo>
                      <a:pt x="220230" y="116584"/>
                    </a:lnTo>
                    <a:cubicBezTo>
                      <a:pt x="220230" y="120151"/>
                      <a:pt x="217355" y="123054"/>
                      <a:pt x="213761" y="123054"/>
                    </a:cubicBezTo>
                    <a:close/>
                    <a:moveTo>
                      <a:pt x="12966" y="110087"/>
                    </a:moveTo>
                    <a:lnTo>
                      <a:pt x="207292" y="110087"/>
                    </a:lnTo>
                    <a:lnTo>
                      <a:pt x="207292" y="75972"/>
                    </a:lnTo>
                    <a:cubicBezTo>
                      <a:pt x="207292" y="41221"/>
                      <a:pt x="179010" y="12938"/>
                      <a:pt x="144258" y="12938"/>
                    </a:cubicBezTo>
                    <a:lnTo>
                      <a:pt x="76027" y="12938"/>
                    </a:lnTo>
                    <a:cubicBezTo>
                      <a:pt x="41276" y="12938"/>
                      <a:pt x="12994" y="41221"/>
                      <a:pt x="12994" y="75972"/>
                    </a:cubicBezTo>
                    <a:lnTo>
                      <a:pt x="12994" y="110087"/>
                    </a:lnTo>
                    <a:close/>
                  </a:path>
                </a:pathLst>
              </a:custGeom>
              <a:solidFill>
                <a:schemeClr val="accent1"/>
              </a:solidFill>
              <a:ln w="2759" cap="flat">
                <a:noFill/>
                <a:prstDash val="solid"/>
                <a:miter/>
              </a:ln>
            </p:spPr>
            <p:txBody>
              <a:bodyPr rtlCol="0" anchor="ctr"/>
              <a:lstStyle/>
              <a:p>
                <a:endParaRPr lang="en-GB" dirty="0"/>
              </a:p>
            </p:txBody>
          </p:sp>
        </p:grpSp>
      </p:grpSp>
      <p:grpSp>
        <p:nvGrpSpPr>
          <p:cNvPr id="46" name="Group 45">
            <a:extLst>
              <a:ext uri="{FF2B5EF4-FFF2-40B4-BE49-F238E27FC236}">
                <a16:creationId xmlns:a16="http://schemas.microsoft.com/office/drawing/2014/main" id="{DF86C7C8-60C6-1447-4773-8C5C24DDACD6}"/>
              </a:ext>
            </a:extLst>
          </p:cNvPr>
          <p:cNvGrpSpPr/>
          <p:nvPr/>
        </p:nvGrpSpPr>
        <p:grpSpPr>
          <a:xfrm>
            <a:off x="1611143" y="2391526"/>
            <a:ext cx="456682" cy="432000"/>
            <a:chOff x="1611143" y="2391526"/>
            <a:chExt cx="456682" cy="432000"/>
          </a:xfrm>
        </p:grpSpPr>
        <p:grpSp>
          <p:nvGrpSpPr>
            <p:cNvPr id="126" name="Grafik 10">
              <a:extLst>
                <a:ext uri="{FF2B5EF4-FFF2-40B4-BE49-F238E27FC236}">
                  <a16:creationId xmlns:a16="http://schemas.microsoft.com/office/drawing/2014/main" id="{7BDC6286-EB73-4BEB-9018-1F8156239540}"/>
                </a:ext>
              </a:extLst>
            </p:cNvPr>
            <p:cNvGrpSpPr/>
            <p:nvPr/>
          </p:nvGrpSpPr>
          <p:grpSpPr>
            <a:xfrm>
              <a:off x="1611143" y="2545808"/>
              <a:ext cx="456682" cy="277718"/>
              <a:chOff x="7772677" y="2616190"/>
              <a:chExt cx="479303" cy="291474"/>
            </a:xfrm>
            <a:solidFill>
              <a:schemeClr val="tx2"/>
            </a:solidFill>
          </p:grpSpPr>
          <p:sp>
            <p:nvSpPr>
              <p:cNvPr id="138" name="Freihandform: Form 905">
                <a:extLst>
                  <a:ext uri="{FF2B5EF4-FFF2-40B4-BE49-F238E27FC236}">
                    <a16:creationId xmlns:a16="http://schemas.microsoft.com/office/drawing/2014/main" id="{4049D1A8-4E57-4763-8674-0FE6270525C8}"/>
                  </a:ext>
                </a:extLst>
              </p:cNvPr>
              <p:cNvSpPr/>
              <p:nvPr/>
            </p:nvSpPr>
            <p:spPr>
              <a:xfrm>
                <a:off x="7824486" y="2616190"/>
                <a:ext cx="375712" cy="246134"/>
              </a:xfrm>
              <a:custGeom>
                <a:avLst/>
                <a:gdLst>
                  <a:gd name="connsiteX0" fmla="*/ 375713 w 375712"/>
                  <a:gd name="connsiteY0" fmla="*/ 246135 h 246134"/>
                  <a:gd name="connsiteX1" fmla="*/ 0 w 375712"/>
                  <a:gd name="connsiteY1" fmla="*/ 246135 h 246134"/>
                  <a:gd name="connsiteX2" fmla="*/ 0 w 375712"/>
                  <a:gd name="connsiteY2" fmla="*/ 39479 h 246134"/>
                  <a:gd name="connsiteX3" fmla="*/ 39479 w 375712"/>
                  <a:gd name="connsiteY3" fmla="*/ 0 h 246134"/>
                  <a:gd name="connsiteX4" fmla="*/ 336206 w 375712"/>
                  <a:gd name="connsiteY4" fmla="*/ 0 h 246134"/>
                  <a:gd name="connsiteX5" fmla="*/ 375685 w 375712"/>
                  <a:gd name="connsiteY5" fmla="*/ 39479 h 246134"/>
                  <a:gd name="connsiteX6" fmla="*/ 375685 w 375712"/>
                  <a:gd name="connsiteY6" fmla="*/ 246135 h 246134"/>
                  <a:gd name="connsiteX7" fmla="*/ 12966 w 375712"/>
                  <a:gd name="connsiteY7" fmla="*/ 233196 h 246134"/>
                  <a:gd name="connsiteX8" fmla="*/ 362747 w 375712"/>
                  <a:gd name="connsiteY8" fmla="*/ 233196 h 246134"/>
                  <a:gd name="connsiteX9" fmla="*/ 362747 w 375712"/>
                  <a:gd name="connsiteY9" fmla="*/ 39506 h 246134"/>
                  <a:gd name="connsiteX10" fmla="*/ 336206 w 375712"/>
                  <a:gd name="connsiteY10" fmla="*/ 12966 h 246134"/>
                  <a:gd name="connsiteX11" fmla="*/ 39506 w 375712"/>
                  <a:gd name="connsiteY11" fmla="*/ 12966 h 246134"/>
                  <a:gd name="connsiteX12" fmla="*/ 12966 w 375712"/>
                  <a:gd name="connsiteY12" fmla="*/ 39506 h 246134"/>
                  <a:gd name="connsiteX13" fmla="*/ 12966 w 375712"/>
                  <a:gd name="connsiteY13" fmla="*/ 233196 h 246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712" h="246134">
                    <a:moveTo>
                      <a:pt x="375713" y="246135"/>
                    </a:moveTo>
                    <a:lnTo>
                      <a:pt x="0" y="246135"/>
                    </a:lnTo>
                    <a:lnTo>
                      <a:pt x="0" y="39479"/>
                    </a:lnTo>
                    <a:cubicBezTo>
                      <a:pt x="0" y="17694"/>
                      <a:pt x="17721" y="0"/>
                      <a:pt x="39479" y="0"/>
                    </a:cubicBezTo>
                    <a:lnTo>
                      <a:pt x="336206" y="0"/>
                    </a:lnTo>
                    <a:cubicBezTo>
                      <a:pt x="357992" y="0"/>
                      <a:pt x="375685" y="17721"/>
                      <a:pt x="375685" y="39479"/>
                    </a:cubicBezTo>
                    <a:lnTo>
                      <a:pt x="375685" y="246135"/>
                    </a:lnTo>
                    <a:close/>
                    <a:moveTo>
                      <a:pt x="12966" y="233196"/>
                    </a:moveTo>
                    <a:lnTo>
                      <a:pt x="362747" y="233196"/>
                    </a:lnTo>
                    <a:lnTo>
                      <a:pt x="362747" y="39506"/>
                    </a:lnTo>
                    <a:cubicBezTo>
                      <a:pt x="362747" y="24882"/>
                      <a:pt x="350859" y="12966"/>
                      <a:pt x="336206" y="12966"/>
                    </a:cubicBezTo>
                    <a:lnTo>
                      <a:pt x="39506" y="12966"/>
                    </a:lnTo>
                    <a:cubicBezTo>
                      <a:pt x="24882" y="12966"/>
                      <a:pt x="12966" y="24854"/>
                      <a:pt x="12966" y="39506"/>
                    </a:cubicBezTo>
                    <a:lnTo>
                      <a:pt x="12966" y="233196"/>
                    </a:lnTo>
                    <a:close/>
                  </a:path>
                </a:pathLst>
              </a:custGeom>
              <a:grpFill/>
              <a:ln w="2759" cap="flat">
                <a:noFill/>
                <a:prstDash val="solid"/>
                <a:miter/>
              </a:ln>
            </p:spPr>
            <p:txBody>
              <a:bodyPr rtlCol="0" anchor="ctr"/>
              <a:lstStyle/>
              <a:p>
                <a:endParaRPr lang="en-GB" dirty="0"/>
              </a:p>
            </p:txBody>
          </p:sp>
          <p:sp>
            <p:nvSpPr>
              <p:cNvPr id="139" name="Freihandform: Form 906">
                <a:extLst>
                  <a:ext uri="{FF2B5EF4-FFF2-40B4-BE49-F238E27FC236}">
                    <a16:creationId xmlns:a16="http://schemas.microsoft.com/office/drawing/2014/main" id="{7C8D163B-10F5-4456-8319-E1C83CE2CE38}"/>
                  </a:ext>
                </a:extLst>
              </p:cNvPr>
              <p:cNvSpPr/>
              <p:nvPr/>
            </p:nvSpPr>
            <p:spPr>
              <a:xfrm>
                <a:off x="7856860" y="2648591"/>
                <a:ext cx="310937" cy="187828"/>
              </a:xfrm>
              <a:custGeom>
                <a:avLst/>
                <a:gdLst>
                  <a:gd name="connsiteX0" fmla="*/ 310937 w 310937"/>
                  <a:gd name="connsiteY0" fmla="*/ 187829 h 187828"/>
                  <a:gd name="connsiteX1" fmla="*/ 297972 w 310937"/>
                  <a:gd name="connsiteY1" fmla="*/ 187829 h 187828"/>
                  <a:gd name="connsiteX2" fmla="*/ 297972 w 310937"/>
                  <a:gd name="connsiteY2" fmla="*/ 12939 h 187828"/>
                  <a:gd name="connsiteX3" fmla="*/ 12966 w 310937"/>
                  <a:gd name="connsiteY3" fmla="*/ 12939 h 187828"/>
                  <a:gd name="connsiteX4" fmla="*/ 12966 w 310937"/>
                  <a:gd name="connsiteY4" fmla="*/ 187829 h 187828"/>
                  <a:gd name="connsiteX5" fmla="*/ 0 w 310937"/>
                  <a:gd name="connsiteY5" fmla="*/ 187829 h 187828"/>
                  <a:gd name="connsiteX6" fmla="*/ 0 w 310937"/>
                  <a:gd name="connsiteY6" fmla="*/ 6469 h 187828"/>
                  <a:gd name="connsiteX7" fmla="*/ 6469 w 310937"/>
                  <a:gd name="connsiteY7" fmla="*/ 0 h 187828"/>
                  <a:gd name="connsiteX8" fmla="*/ 304441 w 310937"/>
                  <a:gd name="connsiteY8" fmla="*/ 0 h 187828"/>
                  <a:gd name="connsiteX9" fmla="*/ 310910 w 310937"/>
                  <a:gd name="connsiteY9" fmla="*/ 6469 h 187828"/>
                  <a:gd name="connsiteX10" fmla="*/ 310910 w 310937"/>
                  <a:gd name="connsiteY10" fmla="*/ 187829 h 18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0937" h="187828">
                    <a:moveTo>
                      <a:pt x="310937" y="187829"/>
                    </a:moveTo>
                    <a:lnTo>
                      <a:pt x="297972" y="187829"/>
                    </a:lnTo>
                    <a:lnTo>
                      <a:pt x="297972" y="12939"/>
                    </a:lnTo>
                    <a:lnTo>
                      <a:pt x="12966" y="12939"/>
                    </a:lnTo>
                    <a:lnTo>
                      <a:pt x="12966" y="187829"/>
                    </a:lnTo>
                    <a:lnTo>
                      <a:pt x="0" y="187829"/>
                    </a:lnTo>
                    <a:lnTo>
                      <a:pt x="0" y="6469"/>
                    </a:lnTo>
                    <a:cubicBezTo>
                      <a:pt x="0" y="2903"/>
                      <a:pt x="2903" y="0"/>
                      <a:pt x="6469" y="0"/>
                    </a:cubicBezTo>
                    <a:lnTo>
                      <a:pt x="304441" y="0"/>
                    </a:lnTo>
                    <a:cubicBezTo>
                      <a:pt x="308007" y="0"/>
                      <a:pt x="310910" y="2903"/>
                      <a:pt x="310910" y="6469"/>
                    </a:cubicBezTo>
                    <a:lnTo>
                      <a:pt x="310910" y="187829"/>
                    </a:lnTo>
                    <a:close/>
                  </a:path>
                </a:pathLst>
              </a:custGeom>
              <a:grpFill/>
              <a:ln w="2759" cap="flat">
                <a:noFill/>
                <a:prstDash val="solid"/>
                <a:miter/>
              </a:ln>
            </p:spPr>
            <p:txBody>
              <a:bodyPr rtlCol="0" anchor="ctr"/>
              <a:lstStyle/>
              <a:p>
                <a:endParaRPr lang="en-GB" dirty="0"/>
              </a:p>
            </p:txBody>
          </p:sp>
          <p:sp>
            <p:nvSpPr>
              <p:cNvPr id="140" name="Freihandform: Form 907">
                <a:extLst>
                  <a:ext uri="{FF2B5EF4-FFF2-40B4-BE49-F238E27FC236}">
                    <a16:creationId xmlns:a16="http://schemas.microsoft.com/office/drawing/2014/main" id="{5DE68F6C-F51C-4E71-9EB5-29CBEA2E2457}"/>
                  </a:ext>
                </a:extLst>
              </p:cNvPr>
              <p:cNvSpPr/>
              <p:nvPr/>
            </p:nvSpPr>
            <p:spPr>
              <a:xfrm>
                <a:off x="7772677" y="2849359"/>
                <a:ext cx="479303" cy="58305"/>
              </a:xfrm>
              <a:custGeom>
                <a:avLst/>
                <a:gdLst>
                  <a:gd name="connsiteX0" fmla="*/ 435124 w 479303"/>
                  <a:gd name="connsiteY0" fmla="*/ 58306 h 58305"/>
                  <a:gd name="connsiteX1" fmla="*/ 44206 w 479303"/>
                  <a:gd name="connsiteY1" fmla="*/ 58306 h 58305"/>
                  <a:gd name="connsiteX2" fmla="*/ 0 w 479303"/>
                  <a:gd name="connsiteY2" fmla="*/ 14100 h 58305"/>
                  <a:gd name="connsiteX3" fmla="*/ 0 w 479303"/>
                  <a:gd name="connsiteY3" fmla="*/ 6469 h 58305"/>
                  <a:gd name="connsiteX4" fmla="*/ 6469 w 479303"/>
                  <a:gd name="connsiteY4" fmla="*/ 0 h 58305"/>
                  <a:gd name="connsiteX5" fmla="*/ 472834 w 479303"/>
                  <a:gd name="connsiteY5" fmla="*/ 0 h 58305"/>
                  <a:gd name="connsiteX6" fmla="*/ 479303 w 479303"/>
                  <a:gd name="connsiteY6" fmla="*/ 6469 h 58305"/>
                  <a:gd name="connsiteX7" fmla="*/ 479303 w 479303"/>
                  <a:gd name="connsiteY7" fmla="*/ 14100 h 58305"/>
                  <a:gd name="connsiteX8" fmla="*/ 435124 w 479303"/>
                  <a:gd name="connsiteY8" fmla="*/ 58306 h 58305"/>
                  <a:gd name="connsiteX9" fmla="*/ 12966 w 479303"/>
                  <a:gd name="connsiteY9" fmla="*/ 12966 h 58305"/>
                  <a:gd name="connsiteX10" fmla="*/ 12966 w 479303"/>
                  <a:gd name="connsiteY10" fmla="*/ 14100 h 58305"/>
                  <a:gd name="connsiteX11" fmla="*/ 44206 w 479303"/>
                  <a:gd name="connsiteY11" fmla="*/ 45340 h 58305"/>
                  <a:gd name="connsiteX12" fmla="*/ 435152 w 479303"/>
                  <a:gd name="connsiteY12" fmla="*/ 45340 h 58305"/>
                  <a:gd name="connsiteX13" fmla="*/ 466393 w 479303"/>
                  <a:gd name="connsiteY13" fmla="*/ 14100 h 58305"/>
                  <a:gd name="connsiteX14" fmla="*/ 466393 w 479303"/>
                  <a:gd name="connsiteY14" fmla="*/ 12966 h 58305"/>
                  <a:gd name="connsiteX15" fmla="*/ 12966 w 479303"/>
                  <a:gd name="connsiteY15" fmla="*/ 12966 h 58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9303" h="58305">
                    <a:moveTo>
                      <a:pt x="435124" y="58306"/>
                    </a:moveTo>
                    <a:lnTo>
                      <a:pt x="44206" y="58306"/>
                    </a:lnTo>
                    <a:cubicBezTo>
                      <a:pt x="19822" y="58306"/>
                      <a:pt x="0" y="38484"/>
                      <a:pt x="0" y="14100"/>
                    </a:cubicBezTo>
                    <a:lnTo>
                      <a:pt x="0" y="6469"/>
                    </a:lnTo>
                    <a:cubicBezTo>
                      <a:pt x="0" y="2903"/>
                      <a:pt x="2903" y="0"/>
                      <a:pt x="6469" y="0"/>
                    </a:cubicBezTo>
                    <a:lnTo>
                      <a:pt x="472834" y="0"/>
                    </a:lnTo>
                    <a:cubicBezTo>
                      <a:pt x="476400" y="0"/>
                      <a:pt x="479303" y="2903"/>
                      <a:pt x="479303" y="6469"/>
                    </a:cubicBezTo>
                    <a:lnTo>
                      <a:pt x="479303" y="14100"/>
                    </a:lnTo>
                    <a:cubicBezTo>
                      <a:pt x="479331" y="38484"/>
                      <a:pt x="459509" y="58306"/>
                      <a:pt x="435124" y="58306"/>
                    </a:cubicBezTo>
                    <a:close/>
                    <a:moveTo>
                      <a:pt x="12966" y="12966"/>
                    </a:moveTo>
                    <a:lnTo>
                      <a:pt x="12966" y="14100"/>
                    </a:lnTo>
                    <a:cubicBezTo>
                      <a:pt x="12966" y="31323"/>
                      <a:pt x="26983" y="45340"/>
                      <a:pt x="44206" y="45340"/>
                    </a:cubicBezTo>
                    <a:lnTo>
                      <a:pt x="435152" y="45340"/>
                    </a:lnTo>
                    <a:cubicBezTo>
                      <a:pt x="452376" y="45340"/>
                      <a:pt x="466393" y="31323"/>
                      <a:pt x="466393" y="14100"/>
                    </a:cubicBezTo>
                    <a:lnTo>
                      <a:pt x="466393" y="12966"/>
                    </a:lnTo>
                    <a:lnTo>
                      <a:pt x="12966" y="12966"/>
                    </a:lnTo>
                    <a:close/>
                  </a:path>
                </a:pathLst>
              </a:custGeom>
              <a:grpFill/>
              <a:ln w="2759" cap="flat">
                <a:noFill/>
                <a:prstDash val="solid"/>
                <a:miter/>
              </a:ln>
            </p:spPr>
            <p:txBody>
              <a:bodyPr rtlCol="0" anchor="ctr"/>
              <a:lstStyle/>
              <a:p>
                <a:endParaRPr lang="en-GB" dirty="0"/>
              </a:p>
            </p:txBody>
          </p:sp>
        </p:grpSp>
        <p:grpSp>
          <p:nvGrpSpPr>
            <p:cNvPr id="127" name="Group 126">
              <a:extLst>
                <a:ext uri="{FF2B5EF4-FFF2-40B4-BE49-F238E27FC236}">
                  <a16:creationId xmlns:a16="http://schemas.microsoft.com/office/drawing/2014/main" id="{D55E7B9F-04DB-45D3-9F23-B163D2A9CEC0}"/>
                </a:ext>
              </a:extLst>
            </p:cNvPr>
            <p:cNvGrpSpPr/>
            <p:nvPr/>
          </p:nvGrpSpPr>
          <p:grpSpPr>
            <a:xfrm>
              <a:off x="1722246" y="2391526"/>
              <a:ext cx="234528" cy="333272"/>
              <a:chOff x="7889283" y="2454266"/>
              <a:chExt cx="246145" cy="349780"/>
            </a:xfrm>
          </p:grpSpPr>
          <p:sp>
            <p:nvSpPr>
              <p:cNvPr id="128" name="Freihandform: Form 908">
                <a:extLst>
                  <a:ext uri="{FF2B5EF4-FFF2-40B4-BE49-F238E27FC236}">
                    <a16:creationId xmlns:a16="http://schemas.microsoft.com/office/drawing/2014/main" id="{3A151AFB-7DA1-41C2-9E90-EA95EE99EAE7}"/>
                  </a:ext>
                </a:extLst>
              </p:cNvPr>
              <p:cNvSpPr/>
              <p:nvPr/>
            </p:nvSpPr>
            <p:spPr>
              <a:xfrm>
                <a:off x="7889283" y="2713367"/>
                <a:ext cx="246145" cy="90679"/>
              </a:xfrm>
              <a:custGeom>
                <a:avLst/>
                <a:gdLst>
                  <a:gd name="connsiteX0" fmla="*/ 207270 w 246145"/>
                  <a:gd name="connsiteY0" fmla="*/ 90680 h 90679"/>
                  <a:gd name="connsiteX1" fmla="*/ 168399 w 246145"/>
                  <a:gd name="connsiteY1" fmla="*/ 90680 h 90679"/>
                  <a:gd name="connsiteX2" fmla="*/ 140173 w 246145"/>
                  <a:gd name="connsiteY2" fmla="*/ 78432 h 90679"/>
                  <a:gd name="connsiteX3" fmla="*/ 125078 w 246145"/>
                  <a:gd name="connsiteY3" fmla="*/ 71244 h 90679"/>
                  <a:gd name="connsiteX4" fmla="*/ 121041 w 246145"/>
                  <a:gd name="connsiteY4" fmla="*/ 71244 h 90679"/>
                  <a:gd name="connsiteX5" fmla="*/ 105946 w 246145"/>
                  <a:gd name="connsiteY5" fmla="*/ 78432 h 90679"/>
                  <a:gd name="connsiteX6" fmla="*/ 77720 w 246145"/>
                  <a:gd name="connsiteY6" fmla="*/ 90680 h 90679"/>
                  <a:gd name="connsiteX7" fmla="*/ 38849 w 246145"/>
                  <a:gd name="connsiteY7" fmla="*/ 90680 h 90679"/>
                  <a:gd name="connsiteX8" fmla="*/ 14244 w 246145"/>
                  <a:gd name="connsiteY8" fmla="*/ 78432 h 90679"/>
                  <a:gd name="connsiteX9" fmla="*/ 199 w 246145"/>
                  <a:gd name="connsiteY9" fmla="*/ 38207 h 90679"/>
                  <a:gd name="connsiteX10" fmla="*/ 40397 w 246145"/>
                  <a:gd name="connsiteY10" fmla="*/ 0 h 90679"/>
                  <a:gd name="connsiteX11" fmla="*/ 205750 w 246145"/>
                  <a:gd name="connsiteY11" fmla="*/ 0 h 90679"/>
                  <a:gd name="connsiteX12" fmla="*/ 245947 w 246145"/>
                  <a:gd name="connsiteY12" fmla="*/ 38207 h 90679"/>
                  <a:gd name="connsiteX13" fmla="*/ 231903 w 246145"/>
                  <a:gd name="connsiteY13" fmla="*/ 78432 h 90679"/>
                  <a:gd name="connsiteX14" fmla="*/ 207270 w 246145"/>
                  <a:gd name="connsiteY14" fmla="*/ 90680 h 90679"/>
                  <a:gd name="connsiteX15" fmla="*/ 121041 w 246145"/>
                  <a:gd name="connsiteY15" fmla="*/ 58278 h 90679"/>
                  <a:gd name="connsiteX16" fmla="*/ 125078 w 246145"/>
                  <a:gd name="connsiteY16" fmla="*/ 58278 h 90679"/>
                  <a:gd name="connsiteX17" fmla="*/ 149600 w 246145"/>
                  <a:gd name="connsiteY17" fmla="*/ 69530 h 90679"/>
                  <a:gd name="connsiteX18" fmla="*/ 168399 w 246145"/>
                  <a:gd name="connsiteY18" fmla="*/ 77686 h 90679"/>
                  <a:gd name="connsiteX19" fmla="*/ 207270 w 246145"/>
                  <a:gd name="connsiteY19" fmla="*/ 77686 h 90679"/>
                  <a:gd name="connsiteX20" fmla="*/ 222254 w 246145"/>
                  <a:gd name="connsiteY20" fmla="*/ 69724 h 90679"/>
                  <a:gd name="connsiteX21" fmla="*/ 233036 w 246145"/>
                  <a:gd name="connsiteY21" fmla="*/ 39479 h 90679"/>
                  <a:gd name="connsiteX22" fmla="*/ 205750 w 246145"/>
                  <a:gd name="connsiteY22" fmla="*/ 12911 h 90679"/>
                  <a:gd name="connsiteX23" fmla="*/ 40397 w 246145"/>
                  <a:gd name="connsiteY23" fmla="*/ 12911 h 90679"/>
                  <a:gd name="connsiteX24" fmla="*/ 13110 w 246145"/>
                  <a:gd name="connsiteY24" fmla="*/ 39479 h 90679"/>
                  <a:gd name="connsiteX25" fmla="*/ 23892 w 246145"/>
                  <a:gd name="connsiteY25" fmla="*/ 69724 h 90679"/>
                  <a:gd name="connsiteX26" fmla="*/ 38877 w 246145"/>
                  <a:gd name="connsiteY26" fmla="*/ 77686 h 90679"/>
                  <a:gd name="connsiteX27" fmla="*/ 77747 w 246145"/>
                  <a:gd name="connsiteY27" fmla="*/ 77686 h 90679"/>
                  <a:gd name="connsiteX28" fmla="*/ 96547 w 246145"/>
                  <a:gd name="connsiteY28" fmla="*/ 69530 h 90679"/>
                  <a:gd name="connsiteX29" fmla="*/ 121041 w 246145"/>
                  <a:gd name="connsiteY29" fmla="*/ 58278 h 9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46145" h="90679">
                    <a:moveTo>
                      <a:pt x="207270" y="90680"/>
                    </a:moveTo>
                    <a:lnTo>
                      <a:pt x="168399" y="90680"/>
                    </a:lnTo>
                    <a:cubicBezTo>
                      <a:pt x="157783" y="90680"/>
                      <a:pt x="147499" y="86229"/>
                      <a:pt x="140173" y="78432"/>
                    </a:cubicBezTo>
                    <a:cubicBezTo>
                      <a:pt x="135804" y="73788"/>
                      <a:pt x="130441" y="71244"/>
                      <a:pt x="125078" y="71244"/>
                    </a:cubicBezTo>
                    <a:lnTo>
                      <a:pt x="121041" y="71244"/>
                    </a:lnTo>
                    <a:cubicBezTo>
                      <a:pt x="115678" y="71244"/>
                      <a:pt x="110315" y="73788"/>
                      <a:pt x="105946" y="78432"/>
                    </a:cubicBezTo>
                    <a:cubicBezTo>
                      <a:pt x="98620" y="86201"/>
                      <a:pt x="88336" y="90680"/>
                      <a:pt x="77720" y="90680"/>
                    </a:cubicBezTo>
                    <a:lnTo>
                      <a:pt x="38849" y="90680"/>
                    </a:lnTo>
                    <a:cubicBezTo>
                      <a:pt x="30113" y="90680"/>
                      <a:pt x="21376" y="86339"/>
                      <a:pt x="14244" y="78432"/>
                    </a:cubicBezTo>
                    <a:cubicBezTo>
                      <a:pt x="4485" y="67650"/>
                      <a:pt x="-1155" y="51477"/>
                      <a:pt x="199" y="38207"/>
                    </a:cubicBezTo>
                    <a:cubicBezTo>
                      <a:pt x="2301" y="17500"/>
                      <a:pt x="20685" y="0"/>
                      <a:pt x="40397" y="0"/>
                    </a:cubicBezTo>
                    <a:lnTo>
                      <a:pt x="205750" y="0"/>
                    </a:lnTo>
                    <a:cubicBezTo>
                      <a:pt x="225434" y="0"/>
                      <a:pt x="243846" y="17500"/>
                      <a:pt x="245947" y="38207"/>
                    </a:cubicBezTo>
                    <a:cubicBezTo>
                      <a:pt x="247302" y="51477"/>
                      <a:pt x="241634" y="67650"/>
                      <a:pt x="231903" y="78432"/>
                    </a:cubicBezTo>
                    <a:cubicBezTo>
                      <a:pt x="224743" y="86312"/>
                      <a:pt x="216006" y="90680"/>
                      <a:pt x="207270" y="90680"/>
                    </a:cubicBezTo>
                    <a:close/>
                    <a:moveTo>
                      <a:pt x="121041" y="58278"/>
                    </a:moveTo>
                    <a:lnTo>
                      <a:pt x="125078" y="58278"/>
                    </a:lnTo>
                    <a:cubicBezTo>
                      <a:pt x="134063" y="58278"/>
                      <a:pt x="142771" y="62287"/>
                      <a:pt x="149600" y="69530"/>
                    </a:cubicBezTo>
                    <a:cubicBezTo>
                      <a:pt x="154549" y="74811"/>
                      <a:pt x="161239" y="77686"/>
                      <a:pt x="168399" y="77686"/>
                    </a:cubicBezTo>
                    <a:lnTo>
                      <a:pt x="207270" y="77686"/>
                    </a:lnTo>
                    <a:cubicBezTo>
                      <a:pt x="212302" y="77686"/>
                      <a:pt x="217610" y="74866"/>
                      <a:pt x="222254" y="69724"/>
                    </a:cubicBezTo>
                    <a:cubicBezTo>
                      <a:pt x="229581" y="61623"/>
                      <a:pt x="234032" y="49183"/>
                      <a:pt x="233036" y="39479"/>
                    </a:cubicBezTo>
                    <a:cubicBezTo>
                      <a:pt x="231626" y="25324"/>
                      <a:pt x="218854" y="12911"/>
                      <a:pt x="205750" y="12911"/>
                    </a:cubicBezTo>
                    <a:lnTo>
                      <a:pt x="40397" y="12911"/>
                    </a:lnTo>
                    <a:cubicBezTo>
                      <a:pt x="27293" y="12911"/>
                      <a:pt x="14520" y="25324"/>
                      <a:pt x="13110" y="39479"/>
                    </a:cubicBezTo>
                    <a:cubicBezTo>
                      <a:pt x="12115" y="49183"/>
                      <a:pt x="16566" y="61623"/>
                      <a:pt x="23892" y="69724"/>
                    </a:cubicBezTo>
                    <a:cubicBezTo>
                      <a:pt x="28537" y="74866"/>
                      <a:pt x="33873" y="77686"/>
                      <a:pt x="38877" y="77686"/>
                    </a:cubicBezTo>
                    <a:lnTo>
                      <a:pt x="77747" y="77686"/>
                    </a:lnTo>
                    <a:cubicBezTo>
                      <a:pt x="84908" y="77686"/>
                      <a:pt x="91570" y="74783"/>
                      <a:pt x="96547" y="69530"/>
                    </a:cubicBezTo>
                    <a:cubicBezTo>
                      <a:pt x="103348" y="62287"/>
                      <a:pt x="112056" y="58278"/>
                      <a:pt x="121041" y="58278"/>
                    </a:cubicBezTo>
                    <a:close/>
                  </a:path>
                </a:pathLst>
              </a:custGeom>
              <a:solidFill>
                <a:schemeClr val="accent1"/>
              </a:solidFill>
              <a:ln w="2759" cap="flat">
                <a:noFill/>
                <a:prstDash val="solid"/>
                <a:miter/>
              </a:ln>
            </p:spPr>
            <p:txBody>
              <a:bodyPr rtlCol="0" anchor="ctr"/>
              <a:lstStyle/>
              <a:p>
                <a:endParaRPr lang="en-GB" dirty="0"/>
              </a:p>
            </p:txBody>
          </p:sp>
          <p:sp>
            <p:nvSpPr>
              <p:cNvPr id="129" name="Freihandform: Form 909">
                <a:extLst>
                  <a:ext uri="{FF2B5EF4-FFF2-40B4-BE49-F238E27FC236}">
                    <a16:creationId xmlns:a16="http://schemas.microsoft.com/office/drawing/2014/main" id="{BDF2C9DD-909A-458D-93B8-90568491478F}"/>
                  </a:ext>
                </a:extLst>
              </p:cNvPr>
              <p:cNvSpPr/>
              <p:nvPr/>
            </p:nvSpPr>
            <p:spPr>
              <a:xfrm>
                <a:off x="7921663" y="2739243"/>
                <a:ext cx="58305" cy="38870"/>
              </a:xfrm>
              <a:custGeom>
                <a:avLst/>
                <a:gdLst>
                  <a:gd name="connsiteX0" fmla="*/ 38871 w 58305"/>
                  <a:gd name="connsiteY0" fmla="*/ 38871 h 38870"/>
                  <a:gd name="connsiteX1" fmla="*/ 19435 w 58305"/>
                  <a:gd name="connsiteY1" fmla="*/ 38871 h 38870"/>
                  <a:gd name="connsiteX2" fmla="*/ 0 w 58305"/>
                  <a:gd name="connsiteY2" fmla="*/ 19435 h 38870"/>
                  <a:gd name="connsiteX3" fmla="*/ 19435 w 58305"/>
                  <a:gd name="connsiteY3" fmla="*/ 0 h 38870"/>
                  <a:gd name="connsiteX4" fmla="*/ 38871 w 58305"/>
                  <a:gd name="connsiteY4" fmla="*/ 0 h 38870"/>
                  <a:gd name="connsiteX5" fmla="*/ 58306 w 58305"/>
                  <a:gd name="connsiteY5" fmla="*/ 19435 h 38870"/>
                  <a:gd name="connsiteX6" fmla="*/ 38871 w 58305"/>
                  <a:gd name="connsiteY6" fmla="*/ 38871 h 38870"/>
                  <a:gd name="connsiteX7" fmla="*/ 19435 w 58305"/>
                  <a:gd name="connsiteY7" fmla="*/ 12966 h 38870"/>
                  <a:gd name="connsiteX8" fmla="*/ 12966 w 58305"/>
                  <a:gd name="connsiteY8" fmla="*/ 19435 h 38870"/>
                  <a:gd name="connsiteX9" fmla="*/ 19435 w 58305"/>
                  <a:gd name="connsiteY9" fmla="*/ 25905 h 38870"/>
                  <a:gd name="connsiteX10" fmla="*/ 38871 w 58305"/>
                  <a:gd name="connsiteY10" fmla="*/ 25905 h 38870"/>
                  <a:gd name="connsiteX11" fmla="*/ 45340 w 58305"/>
                  <a:gd name="connsiteY11" fmla="*/ 19435 h 38870"/>
                  <a:gd name="connsiteX12" fmla="*/ 38871 w 58305"/>
                  <a:gd name="connsiteY12" fmla="*/ 12966 h 38870"/>
                  <a:gd name="connsiteX13" fmla="*/ 19435 w 58305"/>
                  <a:gd name="connsiteY13" fmla="*/ 12966 h 3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305" h="38870">
                    <a:moveTo>
                      <a:pt x="38871" y="38871"/>
                    </a:moveTo>
                    <a:lnTo>
                      <a:pt x="19435" y="38871"/>
                    </a:lnTo>
                    <a:cubicBezTo>
                      <a:pt x="8708" y="38871"/>
                      <a:pt x="0" y="30162"/>
                      <a:pt x="0" y="19435"/>
                    </a:cubicBezTo>
                    <a:cubicBezTo>
                      <a:pt x="0" y="8709"/>
                      <a:pt x="8708" y="0"/>
                      <a:pt x="19435" y="0"/>
                    </a:cubicBezTo>
                    <a:lnTo>
                      <a:pt x="38871" y="0"/>
                    </a:lnTo>
                    <a:cubicBezTo>
                      <a:pt x="49597" y="0"/>
                      <a:pt x="58306" y="8709"/>
                      <a:pt x="58306" y="19435"/>
                    </a:cubicBezTo>
                    <a:cubicBezTo>
                      <a:pt x="58278" y="30162"/>
                      <a:pt x="49570" y="38871"/>
                      <a:pt x="38871" y="38871"/>
                    </a:cubicBezTo>
                    <a:close/>
                    <a:moveTo>
                      <a:pt x="19435" y="12966"/>
                    </a:moveTo>
                    <a:cubicBezTo>
                      <a:pt x="15869" y="12966"/>
                      <a:pt x="12966" y="15869"/>
                      <a:pt x="12966" y="19435"/>
                    </a:cubicBezTo>
                    <a:cubicBezTo>
                      <a:pt x="12966" y="23002"/>
                      <a:pt x="15869" y="25905"/>
                      <a:pt x="19435" y="25905"/>
                    </a:cubicBezTo>
                    <a:lnTo>
                      <a:pt x="38871" y="25905"/>
                    </a:lnTo>
                    <a:cubicBezTo>
                      <a:pt x="42437" y="25905"/>
                      <a:pt x="45340" y="23002"/>
                      <a:pt x="45340" y="19435"/>
                    </a:cubicBezTo>
                    <a:cubicBezTo>
                      <a:pt x="45340" y="15869"/>
                      <a:pt x="42437" y="12966"/>
                      <a:pt x="38871" y="12966"/>
                    </a:cubicBezTo>
                    <a:lnTo>
                      <a:pt x="19435" y="12966"/>
                    </a:lnTo>
                    <a:close/>
                  </a:path>
                </a:pathLst>
              </a:custGeom>
              <a:solidFill>
                <a:schemeClr val="accent1"/>
              </a:solidFill>
              <a:ln w="2759" cap="flat">
                <a:noFill/>
                <a:prstDash val="solid"/>
                <a:miter/>
              </a:ln>
            </p:spPr>
            <p:txBody>
              <a:bodyPr rtlCol="0" anchor="ctr"/>
              <a:lstStyle/>
              <a:p>
                <a:endParaRPr lang="en-GB" dirty="0"/>
              </a:p>
            </p:txBody>
          </p:sp>
          <p:sp>
            <p:nvSpPr>
              <p:cNvPr id="130" name="Freihandform: Form 910">
                <a:extLst>
                  <a:ext uri="{FF2B5EF4-FFF2-40B4-BE49-F238E27FC236}">
                    <a16:creationId xmlns:a16="http://schemas.microsoft.com/office/drawing/2014/main" id="{9D14AFC1-4EC7-4588-8925-AED151F4FBEB}"/>
                  </a:ext>
                </a:extLst>
              </p:cNvPr>
              <p:cNvSpPr/>
              <p:nvPr/>
            </p:nvSpPr>
            <p:spPr>
              <a:xfrm>
                <a:off x="8044716" y="2739243"/>
                <a:ext cx="58305" cy="38870"/>
              </a:xfrm>
              <a:custGeom>
                <a:avLst/>
                <a:gdLst>
                  <a:gd name="connsiteX0" fmla="*/ 38871 w 58305"/>
                  <a:gd name="connsiteY0" fmla="*/ 38871 h 38870"/>
                  <a:gd name="connsiteX1" fmla="*/ 19435 w 58305"/>
                  <a:gd name="connsiteY1" fmla="*/ 38871 h 38870"/>
                  <a:gd name="connsiteX2" fmla="*/ 0 w 58305"/>
                  <a:gd name="connsiteY2" fmla="*/ 19435 h 38870"/>
                  <a:gd name="connsiteX3" fmla="*/ 19435 w 58305"/>
                  <a:gd name="connsiteY3" fmla="*/ 0 h 38870"/>
                  <a:gd name="connsiteX4" fmla="*/ 38871 w 58305"/>
                  <a:gd name="connsiteY4" fmla="*/ 0 h 38870"/>
                  <a:gd name="connsiteX5" fmla="*/ 58306 w 58305"/>
                  <a:gd name="connsiteY5" fmla="*/ 19435 h 38870"/>
                  <a:gd name="connsiteX6" fmla="*/ 38871 w 58305"/>
                  <a:gd name="connsiteY6" fmla="*/ 38871 h 38870"/>
                  <a:gd name="connsiteX7" fmla="*/ 19435 w 58305"/>
                  <a:gd name="connsiteY7" fmla="*/ 12966 h 38870"/>
                  <a:gd name="connsiteX8" fmla="*/ 12966 w 58305"/>
                  <a:gd name="connsiteY8" fmla="*/ 19435 h 38870"/>
                  <a:gd name="connsiteX9" fmla="*/ 19435 w 58305"/>
                  <a:gd name="connsiteY9" fmla="*/ 25905 h 38870"/>
                  <a:gd name="connsiteX10" fmla="*/ 38871 w 58305"/>
                  <a:gd name="connsiteY10" fmla="*/ 25905 h 38870"/>
                  <a:gd name="connsiteX11" fmla="*/ 45340 w 58305"/>
                  <a:gd name="connsiteY11" fmla="*/ 19435 h 38870"/>
                  <a:gd name="connsiteX12" fmla="*/ 38871 w 58305"/>
                  <a:gd name="connsiteY12" fmla="*/ 12966 h 38870"/>
                  <a:gd name="connsiteX13" fmla="*/ 19435 w 58305"/>
                  <a:gd name="connsiteY13" fmla="*/ 12966 h 38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305" h="38870">
                    <a:moveTo>
                      <a:pt x="38871" y="38871"/>
                    </a:moveTo>
                    <a:lnTo>
                      <a:pt x="19435" y="38871"/>
                    </a:lnTo>
                    <a:cubicBezTo>
                      <a:pt x="8709" y="38871"/>
                      <a:pt x="0" y="30162"/>
                      <a:pt x="0" y="19435"/>
                    </a:cubicBezTo>
                    <a:cubicBezTo>
                      <a:pt x="0" y="8709"/>
                      <a:pt x="8709" y="0"/>
                      <a:pt x="19435" y="0"/>
                    </a:cubicBezTo>
                    <a:lnTo>
                      <a:pt x="38871" y="0"/>
                    </a:lnTo>
                    <a:cubicBezTo>
                      <a:pt x="49598" y="0"/>
                      <a:pt x="58306" y="8709"/>
                      <a:pt x="58306" y="19435"/>
                    </a:cubicBezTo>
                    <a:cubicBezTo>
                      <a:pt x="58306" y="30162"/>
                      <a:pt x="49598" y="38871"/>
                      <a:pt x="38871" y="38871"/>
                    </a:cubicBezTo>
                    <a:close/>
                    <a:moveTo>
                      <a:pt x="19435" y="12966"/>
                    </a:moveTo>
                    <a:cubicBezTo>
                      <a:pt x="15869" y="12966"/>
                      <a:pt x="12966" y="15869"/>
                      <a:pt x="12966" y="19435"/>
                    </a:cubicBezTo>
                    <a:cubicBezTo>
                      <a:pt x="12966" y="23002"/>
                      <a:pt x="15869" y="25905"/>
                      <a:pt x="19435" y="25905"/>
                    </a:cubicBezTo>
                    <a:lnTo>
                      <a:pt x="38871" y="25905"/>
                    </a:lnTo>
                    <a:cubicBezTo>
                      <a:pt x="42437" y="25905"/>
                      <a:pt x="45340" y="23002"/>
                      <a:pt x="45340" y="19435"/>
                    </a:cubicBezTo>
                    <a:cubicBezTo>
                      <a:pt x="45340" y="15869"/>
                      <a:pt x="42437" y="12966"/>
                      <a:pt x="38871" y="12966"/>
                    </a:cubicBezTo>
                    <a:lnTo>
                      <a:pt x="19435" y="12966"/>
                    </a:lnTo>
                    <a:close/>
                  </a:path>
                </a:pathLst>
              </a:custGeom>
              <a:solidFill>
                <a:schemeClr val="accent1"/>
              </a:solidFill>
              <a:ln w="2759" cap="flat">
                <a:noFill/>
                <a:prstDash val="solid"/>
                <a:miter/>
              </a:ln>
            </p:spPr>
            <p:txBody>
              <a:bodyPr rtlCol="0" anchor="ctr"/>
              <a:lstStyle/>
              <a:p>
                <a:endParaRPr lang="en-GB" dirty="0"/>
              </a:p>
            </p:txBody>
          </p:sp>
          <p:sp>
            <p:nvSpPr>
              <p:cNvPr id="131" name="Freihandform: Form 911">
                <a:extLst>
                  <a:ext uri="{FF2B5EF4-FFF2-40B4-BE49-F238E27FC236}">
                    <a16:creationId xmlns:a16="http://schemas.microsoft.com/office/drawing/2014/main" id="{A7AE5FC6-1D54-4BC1-9A71-79DCC1AB4C3D}"/>
                  </a:ext>
                </a:extLst>
              </p:cNvPr>
              <p:cNvSpPr/>
              <p:nvPr/>
            </p:nvSpPr>
            <p:spPr>
              <a:xfrm>
                <a:off x="7947567" y="2590285"/>
                <a:ext cx="129522" cy="12938"/>
              </a:xfrm>
              <a:custGeom>
                <a:avLst/>
                <a:gdLst>
                  <a:gd name="connsiteX0" fmla="*/ 123081 w 129522"/>
                  <a:gd name="connsiteY0" fmla="*/ 12939 h 12938"/>
                  <a:gd name="connsiteX1" fmla="*/ 6469 w 129522"/>
                  <a:gd name="connsiteY1" fmla="*/ 12939 h 12938"/>
                  <a:gd name="connsiteX2" fmla="*/ 0 w 129522"/>
                  <a:gd name="connsiteY2" fmla="*/ 6469 h 12938"/>
                  <a:gd name="connsiteX3" fmla="*/ 6469 w 129522"/>
                  <a:gd name="connsiteY3" fmla="*/ 0 h 12938"/>
                  <a:gd name="connsiteX4" fmla="*/ 123053 w 129522"/>
                  <a:gd name="connsiteY4" fmla="*/ 0 h 12938"/>
                  <a:gd name="connsiteX5" fmla="*/ 129523 w 129522"/>
                  <a:gd name="connsiteY5" fmla="*/ 6469 h 12938"/>
                  <a:gd name="connsiteX6" fmla="*/ 123081 w 129522"/>
                  <a:gd name="connsiteY6" fmla="*/ 12939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2" h="12938">
                    <a:moveTo>
                      <a:pt x="123081" y="12939"/>
                    </a:moveTo>
                    <a:lnTo>
                      <a:pt x="6469" y="12939"/>
                    </a:lnTo>
                    <a:cubicBezTo>
                      <a:pt x="2875" y="12939"/>
                      <a:pt x="0" y="10036"/>
                      <a:pt x="0" y="6469"/>
                    </a:cubicBezTo>
                    <a:cubicBezTo>
                      <a:pt x="0" y="2903"/>
                      <a:pt x="2903" y="0"/>
                      <a:pt x="6469" y="0"/>
                    </a:cubicBezTo>
                    <a:lnTo>
                      <a:pt x="123053" y="0"/>
                    </a:lnTo>
                    <a:cubicBezTo>
                      <a:pt x="126620" y="0"/>
                      <a:pt x="129523" y="2903"/>
                      <a:pt x="129523" y="6469"/>
                    </a:cubicBezTo>
                    <a:cubicBezTo>
                      <a:pt x="129523" y="10036"/>
                      <a:pt x="126648" y="12939"/>
                      <a:pt x="123081" y="12939"/>
                    </a:cubicBezTo>
                    <a:close/>
                  </a:path>
                </a:pathLst>
              </a:custGeom>
              <a:solidFill>
                <a:schemeClr val="accent1"/>
              </a:solidFill>
              <a:ln w="2759" cap="flat">
                <a:noFill/>
                <a:prstDash val="solid"/>
                <a:miter/>
              </a:ln>
            </p:spPr>
            <p:txBody>
              <a:bodyPr rtlCol="0" anchor="ctr"/>
              <a:lstStyle/>
              <a:p>
                <a:endParaRPr lang="en-GB" dirty="0"/>
              </a:p>
            </p:txBody>
          </p:sp>
          <p:sp>
            <p:nvSpPr>
              <p:cNvPr id="132" name="Freihandform: Form 912">
                <a:extLst>
                  <a:ext uri="{FF2B5EF4-FFF2-40B4-BE49-F238E27FC236}">
                    <a16:creationId xmlns:a16="http://schemas.microsoft.com/office/drawing/2014/main" id="{3B310A26-F7C2-40F4-8754-ECD9B63B8632}"/>
                  </a:ext>
                </a:extLst>
              </p:cNvPr>
              <p:cNvSpPr/>
              <p:nvPr/>
            </p:nvSpPr>
            <p:spPr>
              <a:xfrm>
                <a:off x="7967003" y="2506075"/>
                <a:ext cx="90679" cy="97149"/>
              </a:xfrm>
              <a:custGeom>
                <a:avLst/>
                <a:gdLst>
                  <a:gd name="connsiteX0" fmla="*/ 84211 w 90679"/>
                  <a:gd name="connsiteY0" fmla="*/ 97149 h 97149"/>
                  <a:gd name="connsiteX1" fmla="*/ 6469 w 90679"/>
                  <a:gd name="connsiteY1" fmla="*/ 97149 h 97149"/>
                  <a:gd name="connsiteX2" fmla="*/ 0 w 90679"/>
                  <a:gd name="connsiteY2" fmla="*/ 90680 h 97149"/>
                  <a:gd name="connsiteX3" fmla="*/ 0 w 90679"/>
                  <a:gd name="connsiteY3" fmla="*/ 45340 h 97149"/>
                  <a:gd name="connsiteX4" fmla="*/ 45340 w 90679"/>
                  <a:gd name="connsiteY4" fmla="*/ 0 h 97149"/>
                  <a:gd name="connsiteX5" fmla="*/ 90680 w 90679"/>
                  <a:gd name="connsiteY5" fmla="*/ 45340 h 97149"/>
                  <a:gd name="connsiteX6" fmla="*/ 90680 w 90679"/>
                  <a:gd name="connsiteY6" fmla="*/ 90680 h 97149"/>
                  <a:gd name="connsiteX7" fmla="*/ 84211 w 90679"/>
                  <a:gd name="connsiteY7" fmla="*/ 97149 h 97149"/>
                  <a:gd name="connsiteX8" fmla="*/ 12938 w 90679"/>
                  <a:gd name="connsiteY8" fmla="*/ 84211 h 97149"/>
                  <a:gd name="connsiteX9" fmla="*/ 77714 w 90679"/>
                  <a:gd name="connsiteY9" fmla="*/ 84211 h 97149"/>
                  <a:gd name="connsiteX10" fmla="*/ 77714 w 90679"/>
                  <a:gd name="connsiteY10" fmla="*/ 45340 h 97149"/>
                  <a:gd name="connsiteX11" fmla="*/ 45340 w 90679"/>
                  <a:gd name="connsiteY11" fmla="*/ 12966 h 97149"/>
                  <a:gd name="connsiteX12" fmla="*/ 12966 w 90679"/>
                  <a:gd name="connsiteY12" fmla="*/ 45340 h 97149"/>
                  <a:gd name="connsiteX13" fmla="*/ 12966 w 90679"/>
                  <a:gd name="connsiteY13" fmla="*/ 84211 h 97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679" h="97149">
                    <a:moveTo>
                      <a:pt x="84211" y="97149"/>
                    </a:moveTo>
                    <a:lnTo>
                      <a:pt x="6469" y="97149"/>
                    </a:lnTo>
                    <a:cubicBezTo>
                      <a:pt x="2903" y="97149"/>
                      <a:pt x="0" y="94246"/>
                      <a:pt x="0" y="90680"/>
                    </a:cubicBezTo>
                    <a:lnTo>
                      <a:pt x="0" y="45340"/>
                    </a:lnTo>
                    <a:cubicBezTo>
                      <a:pt x="0" y="20348"/>
                      <a:pt x="20348" y="0"/>
                      <a:pt x="45340" y="0"/>
                    </a:cubicBezTo>
                    <a:cubicBezTo>
                      <a:pt x="70332" y="0"/>
                      <a:pt x="90680" y="20348"/>
                      <a:pt x="90680" y="45340"/>
                    </a:cubicBezTo>
                    <a:lnTo>
                      <a:pt x="90680" y="90680"/>
                    </a:lnTo>
                    <a:cubicBezTo>
                      <a:pt x="90680" y="94246"/>
                      <a:pt x="87777" y="97149"/>
                      <a:pt x="84211" y="97149"/>
                    </a:cubicBezTo>
                    <a:close/>
                    <a:moveTo>
                      <a:pt x="12938" y="84211"/>
                    </a:moveTo>
                    <a:lnTo>
                      <a:pt x="77714" y="84211"/>
                    </a:lnTo>
                    <a:lnTo>
                      <a:pt x="77714" y="45340"/>
                    </a:lnTo>
                    <a:cubicBezTo>
                      <a:pt x="77714" y="27480"/>
                      <a:pt x="63172" y="12966"/>
                      <a:pt x="45340" y="12966"/>
                    </a:cubicBezTo>
                    <a:cubicBezTo>
                      <a:pt x="27508" y="12966"/>
                      <a:pt x="12966" y="27508"/>
                      <a:pt x="12966" y="45340"/>
                    </a:cubicBezTo>
                    <a:lnTo>
                      <a:pt x="12966" y="84211"/>
                    </a:lnTo>
                    <a:close/>
                  </a:path>
                </a:pathLst>
              </a:custGeom>
              <a:solidFill>
                <a:schemeClr val="accent1"/>
              </a:solidFill>
              <a:ln w="2759" cap="flat">
                <a:noFill/>
                <a:prstDash val="solid"/>
                <a:miter/>
              </a:ln>
            </p:spPr>
            <p:txBody>
              <a:bodyPr rtlCol="0" anchor="ctr"/>
              <a:lstStyle/>
              <a:p>
                <a:endParaRPr lang="en-GB" dirty="0"/>
              </a:p>
            </p:txBody>
          </p:sp>
          <p:sp>
            <p:nvSpPr>
              <p:cNvPr id="133" name="Freihandform: Form 913">
                <a:extLst>
                  <a:ext uri="{FF2B5EF4-FFF2-40B4-BE49-F238E27FC236}">
                    <a16:creationId xmlns:a16="http://schemas.microsoft.com/office/drawing/2014/main" id="{6506709E-843B-45EA-8FBB-2EBAF43FA68E}"/>
                  </a:ext>
                </a:extLst>
              </p:cNvPr>
              <p:cNvSpPr/>
              <p:nvPr/>
            </p:nvSpPr>
            <p:spPr>
              <a:xfrm>
                <a:off x="8005873" y="2454266"/>
                <a:ext cx="12938" cy="32373"/>
              </a:xfrm>
              <a:custGeom>
                <a:avLst/>
                <a:gdLst>
                  <a:gd name="connsiteX0" fmla="*/ 6469 w 12938"/>
                  <a:gd name="connsiteY0" fmla="*/ 32374 h 32373"/>
                  <a:gd name="connsiteX1" fmla="*/ 0 w 12938"/>
                  <a:gd name="connsiteY1" fmla="*/ 25905 h 32373"/>
                  <a:gd name="connsiteX2" fmla="*/ 0 w 12938"/>
                  <a:gd name="connsiteY2" fmla="*/ 6469 h 32373"/>
                  <a:gd name="connsiteX3" fmla="*/ 6469 w 12938"/>
                  <a:gd name="connsiteY3" fmla="*/ 0 h 32373"/>
                  <a:gd name="connsiteX4" fmla="*/ 12938 w 12938"/>
                  <a:gd name="connsiteY4" fmla="*/ 6469 h 32373"/>
                  <a:gd name="connsiteX5" fmla="*/ 12938 w 12938"/>
                  <a:gd name="connsiteY5" fmla="*/ 25905 h 32373"/>
                  <a:gd name="connsiteX6" fmla="*/ 6469 w 12938"/>
                  <a:gd name="connsiteY6" fmla="*/ 32374 h 3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38" h="32373">
                    <a:moveTo>
                      <a:pt x="6469" y="32374"/>
                    </a:moveTo>
                    <a:cubicBezTo>
                      <a:pt x="2903" y="32374"/>
                      <a:pt x="0" y="29471"/>
                      <a:pt x="0" y="25905"/>
                    </a:cubicBezTo>
                    <a:lnTo>
                      <a:pt x="0" y="6469"/>
                    </a:lnTo>
                    <a:cubicBezTo>
                      <a:pt x="0" y="2903"/>
                      <a:pt x="2903" y="0"/>
                      <a:pt x="6469" y="0"/>
                    </a:cubicBezTo>
                    <a:cubicBezTo>
                      <a:pt x="10036" y="0"/>
                      <a:pt x="12938" y="2903"/>
                      <a:pt x="12938" y="6469"/>
                    </a:cubicBezTo>
                    <a:lnTo>
                      <a:pt x="12938" y="25905"/>
                    </a:lnTo>
                    <a:cubicBezTo>
                      <a:pt x="12938" y="29471"/>
                      <a:pt x="10036" y="32374"/>
                      <a:pt x="6469" y="32374"/>
                    </a:cubicBezTo>
                    <a:close/>
                  </a:path>
                </a:pathLst>
              </a:custGeom>
              <a:solidFill>
                <a:schemeClr val="accent1"/>
              </a:solidFill>
              <a:ln w="2759" cap="flat">
                <a:noFill/>
                <a:prstDash val="solid"/>
                <a:miter/>
              </a:ln>
            </p:spPr>
            <p:txBody>
              <a:bodyPr rtlCol="0" anchor="ctr"/>
              <a:lstStyle/>
              <a:p>
                <a:endParaRPr lang="en-GB" dirty="0"/>
              </a:p>
            </p:txBody>
          </p:sp>
          <p:sp>
            <p:nvSpPr>
              <p:cNvPr id="134" name="Freihandform: Form 914">
                <a:extLst>
                  <a:ext uri="{FF2B5EF4-FFF2-40B4-BE49-F238E27FC236}">
                    <a16:creationId xmlns:a16="http://schemas.microsoft.com/office/drawing/2014/main" id="{4C9CA02A-6099-4E7D-9096-26D2302DDA0C}"/>
                  </a:ext>
                </a:extLst>
              </p:cNvPr>
              <p:cNvSpPr/>
              <p:nvPr/>
            </p:nvSpPr>
            <p:spPr>
              <a:xfrm>
                <a:off x="8077118" y="2544945"/>
                <a:ext cx="32373" cy="12938"/>
              </a:xfrm>
              <a:custGeom>
                <a:avLst/>
                <a:gdLst>
                  <a:gd name="connsiteX0" fmla="*/ 25904 w 32373"/>
                  <a:gd name="connsiteY0" fmla="*/ 12938 h 12938"/>
                  <a:gd name="connsiteX1" fmla="*/ 6469 w 32373"/>
                  <a:gd name="connsiteY1" fmla="*/ 12938 h 12938"/>
                  <a:gd name="connsiteX2" fmla="*/ 0 w 32373"/>
                  <a:gd name="connsiteY2" fmla="*/ 6469 h 12938"/>
                  <a:gd name="connsiteX3" fmla="*/ 6469 w 32373"/>
                  <a:gd name="connsiteY3" fmla="*/ 0 h 12938"/>
                  <a:gd name="connsiteX4" fmla="*/ 25904 w 32373"/>
                  <a:gd name="connsiteY4" fmla="*/ 0 h 12938"/>
                  <a:gd name="connsiteX5" fmla="*/ 32374 w 32373"/>
                  <a:gd name="connsiteY5" fmla="*/ 6469 h 12938"/>
                  <a:gd name="connsiteX6" fmla="*/ 25904 w 32373"/>
                  <a:gd name="connsiteY6" fmla="*/ 12938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373" h="12938">
                    <a:moveTo>
                      <a:pt x="25904" y="12938"/>
                    </a:moveTo>
                    <a:lnTo>
                      <a:pt x="6469" y="12938"/>
                    </a:lnTo>
                    <a:cubicBezTo>
                      <a:pt x="2903" y="12938"/>
                      <a:pt x="0" y="10036"/>
                      <a:pt x="0" y="6469"/>
                    </a:cubicBezTo>
                    <a:cubicBezTo>
                      <a:pt x="0" y="2903"/>
                      <a:pt x="2903" y="0"/>
                      <a:pt x="6469" y="0"/>
                    </a:cubicBezTo>
                    <a:lnTo>
                      <a:pt x="25904" y="0"/>
                    </a:lnTo>
                    <a:cubicBezTo>
                      <a:pt x="29471" y="0"/>
                      <a:pt x="32374" y="2903"/>
                      <a:pt x="32374" y="6469"/>
                    </a:cubicBezTo>
                    <a:cubicBezTo>
                      <a:pt x="32374" y="10036"/>
                      <a:pt x="29499" y="12938"/>
                      <a:pt x="25904" y="12938"/>
                    </a:cubicBezTo>
                    <a:close/>
                  </a:path>
                </a:pathLst>
              </a:custGeom>
              <a:solidFill>
                <a:schemeClr val="accent1"/>
              </a:solidFill>
              <a:ln w="2759" cap="flat">
                <a:noFill/>
                <a:prstDash val="solid"/>
                <a:miter/>
              </a:ln>
            </p:spPr>
            <p:txBody>
              <a:bodyPr rtlCol="0" anchor="ctr"/>
              <a:lstStyle/>
              <a:p>
                <a:endParaRPr lang="en-GB" dirty="0"/>
              </a:p>
            </p:txBody>
          </p:sp>
          <p:sp>
            <p:nvSpPr>
              <p:cNvPr id="135" name="Freihandform: Form 915">
                <a:extLst>
                  <a:ext uri="{FF2B5EF4-FFF2-40B4-BE49-F238E27FC236}">
                    <a16:creationId xmlns:a16="http://schemas.microsoft.com/office/drawing/2014/main" id="{594585FA-6B69-48EF-93D7-659D370538D1}"/>
                  </a:ext>
                </a:extLst>
              </p:cNvPr>
              <p:cNvSpPr/>
              <p:nvPr/>
            </p:nvSpPr>
            <p:spPr>
              <a:xfrm>
                <a:off x="7934601" y="2480143"/>
                <a:ext cx="26706" cy="26706"/>
              </a:xfrm>
              <a:custGeom>
                <a:avLst/>
                <a:gdLst>
                  <a:gd name="connsiteX0" fmla="*/ 20237 w 26706"/>
                  <a:gd name="connsiteY0" fmla="*/ 26706 h 26706"/>
                  <a:gd name="connsiteX1" fmla="*/ 15648 w 26706"/>
                  <a:gd name="connsiteY1" fmla="*/ 24799 h 26706"/>
                  <a:gd name="connsiteX2" fmla="*/ 1908 w 26706"/>
                  <a:gd name="connsiteY2" fmla="*/ 11058 h 26706"/>
                  <a:gd name="connsiteX3" fmla="*/ 1908 w 26706"/>
                  <a:gd name="connsiteY3" fmla="*/ 1908 h 26706"/>
                  <a:gd name="connsiteX4" fmla="*/ 11059 w 26706"/>
                  <a:gd name="connsiteY4" fmla="*/ 1908 h 26706"/>
                  <a:gd name="connsiteX5" fmla="*/ 24799 w 26706"/>
                  <a:gd name="connsiteY5" fmla="*/ 15648 h 26706"/>
                  <a:gd name="connsiteX6" fmla="*/ 24799 w 26706"/>
                  <a:gd name="connsiteY6" fmla="*/ 24799 h 26706"/>
                  <a:gd name="connsiteX7" fmla="*/ 20237 w 26706"/>
                  <a:gd name="connsiteY7" fmla="*/ 26706 h 2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06" h="26706">
                    <a:moveTo>
                      <a:pt x="20237" y="26706"/>
                    </a:moveTo>
                    <a:cubicBezTo>
                      <a:pt x="18578" y="26706"/>
                      <a:pt x="16920" y="26070"/>
                      <a:pt x="15648" y="24799"/>
                    </a:cubicBezTo>
                    <a:lnTo>
                      <a:pt x="1908" y="11058"/>
                    </a:lnTo>
                    <a:cubicBezTo>
                      <a:pt x="-636" y="8515"/>
                      <a:pt x="-636" y="4423"/>
                      <a:pt x="1908" y="1908"/>
                    </a:cubicBezTo>
                    <a:cubicBezTo>
                      <a:pt x="4451" y="-636"/>
                      <a:pt x="8543" y="-636"/>
                      <a:pt x="11059" y="1908"/>
                    </a:cubicBezTo>
                    <a:lnTo>
                      <a:pt x="24799" y="15648"/>
                    </a:lnTo>
                    <a:cubicBezTo>
                      <a:pt x="27342" y="18191"/>
                      <a:pt x="27342" y="22283"/>
                      <a:pt x="24799" y="24799"/>
                    </a:cubicBezTo>
                    <a:cubicBezTo>
                      <a:pt x="23555" y="26070"/>
                      <a:pt x="21896" y="26706"/>
                      <a:pt x="20237" y="26706"/>
                    </a:cubicBezTo>
                    <a:close/>
                  </a:path>
                </a:pathLst>
              </a:custGeom>
              <a:solidFill>
                <a:schemeClr val="accent1"/>
              </a:solidFill>
              <a:ln w="2759" cap="flat">
                <a:noFill/>
                <a:prstDash val="solid"/>
                <a:miter/>
              </a:ln>
            </p:spPr>
            <p:txBody>
              <a:bodyPr rtlCol="0" anchor="ctr"/>
              <a:lstStyle/>
              <a:p>
                <a:endParaRPr lang="en-GB" dirty="0"/>
              </a:p>
            </p:txBody>
          </p:sp>
          <p:sp>
            <p:nvSpPr>
              <p:cNvPr id="136" name="Freihandform: Form 916">
                <a:extLst>
                  <a:ext uri="{FF2B5EF4-FFF2-40B4-BE49-F238E27FC236}">
                    <a16:creationId xmlns:a16="http://schemas.microsoft.com/office/drawing/2014/main" id="{CBBB7552-CE3E-43C4-A6E7-003839C6E143}"/>
                  </a:ext>
                </a:extLst>
              </p:cNvPr>
              <p:cNvSpPr/>
              <p:nvPr/>
            </p:nvSpPr>
            <p:spPr>
              <a:xfrm>
                <a:off x="8064152" y="2480143"/>
                <a:ext cx="26706" cy="26706"/>
              </a:xfrm>
              <a:custGeom>
                <a:avLst/>
                <a:gdLst>
                  <a:gd name="connsiteX0" fmla="*/ 6497 w 26706"/>
                  <a:gd name="connsiteY0" fmla="*/ 26706 h 26706"/>
                  <a:gd name="connsiteX1" fmla="*/ 1908 w 26706"/>
                  <a:gd name="connsiteY1" fmla="*/ 24799 h 26706"/>
                  <a:gd name="connsiteX2" fmla="*/ 1908 w 26706"/>
                  <a:gd name="connsiteY2" fmla="*/ 15648 h 26706"/>
                  <a:gd name="connsiteX3" fmla="*/ 15648 w 26706"/>
                  <a:gd name="connsiteY3" fmla="*/ 1908 h 26706"/>
                  <a:gd name="connsiteX4" fmla="*/ 24799 w 26706"/>
                  <a:gd name="connsiteY4" fmla="*/ 1908 h 26706"/>
                  <a:gd name="connsiteX5" fmla="*/ 24799 w 26706"/>
                  <a:gd name="connsiteY5" fmla="*/ 11058 h 26706"/>
                  <a:gd name="connsiteX6" fmla="*/ 11058 w 26706"/>
                  <a:gd name="connsiteY6" fmla="*/ 24799 h 26706"/>
                  <a:gd name="connsiteX7" fmla="*/ 6497 w 26706"/>
                  <a:gd name="connsiteY7" fmla="*/ 26706 h 26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06" h="26706">
                    <a:moveTo>
                      <a:pt x="6497" y="26706"/>
                    </a:moveTo>
                    <a:cubicBezTo>
                      <a:pt x="4838" y="26706"/>
                      <a:pt x="3179" y="26070"/>
                      <a:pt x="1908" y="24799"/>
                    </a:cubicBezTo>
                    <a:cubicBezTo>
                      <a:pt x="-636" y="22255"/>
                      <a:pt x="-636" y="18164"/>
                      <a:pt x="1908" y="15648"/>
                    </a:cubicBezTo>
                    <a:lnTo>
                      <a:pt x="15648" y="1908"/>
                    </a:lnTo>
                    <a:cubicBezTo>
                      <a:pt x="18191" y="-636"/>
                      <a:pt x="22283" y="-636"/>
                      <a:pt x="24799" y="1908"/>
                    </a:cubicBezTo>
                    <a:cubicBezTo>
                      <a:pt x="27342" y="4451"/>
                      <a:pt x="27342" y="8543"/>
                      <a:pt x="24799" y="11058"/>
                    </a:cubicBezTo>
                    <a:lnTo>
                      <a:pt x="11058" y="24799"/>
                    </a:lnTo>
                    <a:cubicBezTo>
                      <a:pt x="9787" y="26070"/>
                      <a:pt x="8156" y="26706"/>
                      <a:pt x="6497" y="26706"/>
                    </a:cubicBezTo>
                    <a:close/>
                  </a:path>
                </a:pathLst>
              </a:custGeom>
              <a:solidFill>
                <a:schemeClr val="accent1"/>
              </a:solidFill>
              <a:ln w="2759" cap="flat">
                <a:noFill/>
                <a:prstDash val="solid"/>
                <a:miter/>
              </a:ln>
            </p:spPr>
            <p:txBody>
              <a:bodyPr rtlCol="0" anchor="ctr"/>
              <a:lstStyle/>
              <a:p>
                <a:endParaRPr lang="en-GB" dirty="0"/>
              </a:p>
            </p:txBody>
          </p:sp>
          <p:sp>
            <p:nvSpPr>
              <p:cNvPr id="137" name="Freihandform: Form 917">
                <a:extLst>
                  <a:ext uri="{FF2B5EF4-FFF2-40B4-BE49-F238E27FC236}">
                    <a16:creationId xmlns:a16="http://schemas.microsoft.com/office/drawing/2014/main" id="{379D3FF2-21BF-4335-A633-5BE6AB935799}"/>
                  </a:ext>
                </a:extLst>
              </p:cNvPr>
              <p:cNvSpPr/>
              <p:nvPr/>
            </p:nvSpPr>
            <p:spPr>
              <a:xfrm>
                <a:off x="7915193" y="2544945"/>
                <a:ext cx="32373" cy="12938"/>
              </a:xfrm>
              <a:custGeom>
                <a:avLst/>
                <a:gdLst>
                  <a:gd name="connsiteX0" fmla="*/ 25905 w 32373"/>
                  <a:gd name="connsiteY0" fmla="*/ 12938 h 12938"/>
                  <a:gd name="connsiteX1" fmla="*/ 6469 w 32373"/>
                  <a:gd name="connsiteY1" fmla="*/ 12938 h 12938"/>
                  <a:gd name="connsiteX2" fmla="*/ 0 w 32373"/>
                  <a:gd name="connsiteY2" fmla="*/ 6469 h 12938"/>
                  <a:gd name="connsiteX3" fmla="*/ 6469 w 32373"/>
                  <a:gd name="connsiteY3" fmla="*/ 0 h 12938"/>
                  <a:gd name="connsiteX4" fmla="*/ 25905 w 32373"/>
                  <a:gd name="connsiteY4" fmla="*/ 0 h 12938"/>
                  <a:gd name="connsiteX5" fmla="*/ 32374 w 32373"/>
                  <a:gd name="connsiteY5" fmla="*/ 6469 h 12938"/>
                  <a:gd name="connsiteX6" fmla="*/ 25905 w 32373"/>
                  <a:gd name="connsiteY6" fmla="*/ 12938 h 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373" h="12938">
                    <a:moveTo>
                      <a:pt x="25905" y="12938"/>
                    </a:moveTo>
                    <a:lnTo>
                      <a:pt x="6469" y="12938"/>
                    </a:lnTo>
                    <a:cubicBezTo>
                      <a:pt x="2903" y="12938"/>
                      <a:pt x="0" y="10036"/>
                      <a:pt x="0" y="6469"/>
                    </a:cubicBezTo>
                    <a:cubicBezTo>
                      <a:pt x="0" y="2903"/>
                      <a:pt x="2903" y="0"/>
                      <a:pt x="6469" y="0"/>
                    </a:cubicBezTo>
                    <a:lnTo>
                      <a:pt x="25905" y="0"/>
                    </a:lnTo>
                    <a:cubicBezTo>
                      <a:pt x="29471" y="0"/>
                      <a:pt x="32374" y="2903"/>
                      <a:pt x="32374" y="6469"/>
                    </a:cubicBezTo>
                    <a:cubicBezTo>
                      <a:pt x="32374" y="10036"/>
                      <a:pt x="29471" y="12938"/>
                      <a:pt x="25905" y="12938"/>
                    </a:cubicBezTo>
                    <a:close/>
                  </a:path>
                </a:pathLst>
              </a:custGeom>
              <a:solidFill>
                <a:schemeClr val="accent1"/>
              </a:solidFill>
              <a:ln w="2759" cap="flat">
                <a:noFill/>
                <a:prstDash val="solid"/>
                <a:miter/>
              </a:ln>
            </p:spPr>
            <p:txBody>
              <a:bodyPr rtlCol="0" anchor="ctr"/>
              <a:lstStyle/>
              <a:p>
                <a:endParaRPr lang="en-GB" dirty="0"/>
              </a:p>
            </p:txBody>
          </p:sp>
        </p:grpSp>
      </p:grpSp>
      <p:grpSp>
        <p:nvGrpSpPr>
          <p:cNvPr id="29" name="Group 28">
            <a:extLst>
              <a:ext uri="{FF2B5EF4-FFF2-40B4-BE49-F238E27FC236}">
                <a16:creationId xmlns:a16="http://schemas.microsoft.com/office/drawing/2014/main" id="{B5801836-9EF3-4479-8F20-31C32ADC3C42}"/>
              </a:ext>
            </a:extLst>
          </p:cNvPr>
          <p:cNvGrpSpPr/>
          <p:nvPr/>
        </p:nvGrpSpPr>
        <p:grpSpPr>
          <a:xfrm>
            <a:off x="2641438" y="2391526"/>
            <a:ext cx="486960" cy="432000"/>
            <a:chOff x="2641438" y="2391526"/>
            <a:chExt cx="486960" cy="432000"/>
          </a:xfrm>
        </p:grpSpPr>
        <p:sp>
          <p:nvSpPr>
            <p:cNvPr id="154" name="Freihandform: Form 249">
              <a:extLst>
                <a:ext uri="{FF2B5EF4-FFF2-40B4-BE49-F238E27FC236}">
                  <a16:creationId xmlns:a16="http://schemas.microsoft.com/office/drawing/2014/main" id="{2829DDEC-D5F0-4B71-A89B-C85771416333}"/>
                </a:ext>
              </a:extLst>
            </p:cNvPr>
            <p:cNvSpPr/>
            <p:nvPr/>
          </p:nvSpPr>
          <p:spPr>
            <a:xfrm>
              <a:off x="2954779" y="2518573"/>
              <a:ext cx="173619" cy="121031"/>
            </a:xfrm>
            <a:custGeom>
              <a:avLst/>
              <a:gdLst>
                <a:gd name="connsiteX0" fmla="*/ 140924 w 179032"/>
                <a:gd name="connsiteY0" fmla="*/ 124798 h 124804"/>
                <a:gd name="connsiteX1" fmla="*/ 136878 w 179032"/>
                <a:gd name="connsiteY1" fmla="*/ 123391 h 124804"/>
                <a:gd name="connsiteX2" fmla="*/ 131425 w 179032"/>
                <a:gd name="connsiteY2" fmla="*/ 77393 h 124804"/>
                <a:gd name="connsiteX3" fmla="*/ 135255 w 179032"/>
                <a:gd name="connsiteY3" fmla="*/ 72546 h 124804"/>
                <a:gd name="connsiteX4" fmla="*/ 103212 w 179032"/>
                <a:gd name="connsiteY4" fmla="*/ 49071 h 124804"/>
                <a:gd name="connsiteX5" fmla="*/ 75756 w 179032"/>
                <a:gd name="connsiteY5" fmla="*/ 49071 h 124804"/>
                <a:gd name="connsiteX6" fmla="*/ 43712 w 179032"/>
                <a:gd name="connsiteY6" fmla="*/ 72546 h 124804"/>
                <a:gd name="connsiteX7" fmla="*/ 47542 w 179032"/>
                <a:gd name="connsiteY7" fmla="*/ 77393 h 124804"/>
                <a:gd name="connsiteX8" fmla="*/ 54357 w 179032"/>
                <a:gd name="connsiteY8" fmla="*/ 101517 h 124804"/>
                <a:gd name="connsiteX9" fmla="*/ 42111 w 179032"/>
                <a:gd name="connsiteY9" fmla="*/ 123391 h 124804"/>
                <a:gd name="connsiteX10" fmla="*/ 37286 w 179032"/>
                <a:gd name="connsiteY10" fmla="*/ 124754 h 124804"/>
                <a:gd name="connsiteX11" fmla="*/ 32916 w 179032"/>
                <a:gd name="connsiteY11" fmla="*/ 122310 h 124804"/>
                <a:gd name="connsiteX12" fmla="*/ 6044 w 179032"/>
                <a:gd name="connsiteY12" fmla="*/ 88232 h 124804"/>
                <a:gd name="connsiteX13" fmla="*/ 245 w 179032"/>
                <a:gd name="connsiteY13" fmla="*/ 67159 h 124804"/>
                <a:gd name="connsiteX14" fmla="*/ 11280 w 179032"/>
                <a:gd name="connsiteY14" fmla="*/ 48292 h 124804"/>
                <a:gd name="connsiteX15" fmla="*/ 50311 w 179032"/>
                <a:gd name="connsiteY15" fmla="*/ 19061 h 124804"/>
                <a:gd name="connsiteX16" fmla="*/ 50311 w 179032"/>
                <a:gd name="connsiteY16" fmla="*/ 6556 h 124804"/>
                <a:gd name="connsiteX17" fmla="*/ 56867 w 179032"/>
                <a:gd name="connsiteY17" fmla="*/ 0 h 124804"/>
                <a:gd name="connsiteX18" fmla="*/ 122382 w 179032"/>
                <a:gd name="connsiteY18" fmla="*/ 0 h 124804"/>
                <a:gd name="connsiteX19" fmla="*/ 128937 w 179032"/>
                <a:gd name="connsiteY19" fmla="*/ 6556 h 124804"/>
                <a:gd name="connsiteX20" fmla="*/ 128937 w 179032"/>
                <a:gd name="connsiteY20" fmla="*/ 19213 h 124804"/>
                <a:gd name="connsiteX21" fmla="*/ 167753 w 179032"/>
                <a:gd name="connsiteY21" fmla="*/ 48270 h 124804"/>
                <a:gd name="connsiteX22" fmla="*/ 178787 w 179032"/>
                <a:gd name="connsiteY22" fmla="*/ 67137 h 124804"/>
                <a:gd name="connsiteX23" fmla="*/ 172989 w 179032"/>
                <a:gd name="connsiteY23" fmla="*/ 88211 h 124804"/>
                <a:gd name="connsiteX24" fmla="*/ 146138 w 179032"/>
                <a:gd name="connsiteY24" fmla="*/ 122288 h 124804"/>
                <a:gd name="connsiteX25" fmla="*/ 140924 w 179032"/>
                <a:gd name="connsiteY25" fmla="*/ 124798 h 124804"/>
                <a:gd name="connsiteX26" fmla="*/ 63401 w 179032"/>
                <a:gd name="connsiteY26" fmla="*/ 13112 h 124804"/>
                <a:gd name="connsiteX27" fmla="*/ 63401 w 179032"/>
                <a:gd name="connsiteY27" fmla="*/ 22329 h 124804"/>
                <a:gd name="connsiteX28" fmla="*/ 60783 w 179032"/>
                <a:gd name="connsiteY28" fmla="*/ 27565 h 124804"/>
                <a:gd name="connsiteX29" fmla="*/ 19134 w 179032"/>
                <a:gd name="connsiteY29" fmla="*/ 58764 h 124804"/>
                <a:gd name="connsiteX30" fmla="*/ 13249 w 179032"/>
                <a:gd name="connsiteY30" fmla="*/ 68846 h 124804"/>
                <a:gd name="connsiteX31" fmla="*/ 16342 w 179032"/>
                <a:gd name="connsiteY31" fmla="*/ 80097 h 124804"/>
                <a:gd name="connsiteX32" fmla="*/ 38455 w 179032"/>
                <a:gd name="connsiteY32" fmla="*/ 108138 h 124804"/>
                <a:gd name="connsiteX33" fmla="*/ 41354 w 179032"/>
                <a:gd name="connsiteY33" fmla="*/ 99938 h 124804"/>
                <a:gd name="connsiteX34" fmla="*/ 37265 w 179032"/>
                <a:gd name="connsiteY34" fmla="*/ 85463 h 124804"/>
                <a:gd name="connsiteX35" fmla="*/ 29238 w 179032"/>
                <a:gd name="connsiteY35" fmla="*/ 75294 h 124804"/>
                <a:gd name="connsiteX36" fmla="*/ 27896 w 179032"/>
                <a:gd name="connsiteY36" fmla="*/ 70361 h 124804"/>
                <a:gd name="connsiteX37" fmla="*/ 30514 w 179032"/>
                <a:gd name="connsiteY37" fmla="*/ 65969 h 124804"/>
                <a:gd name="connsiteX38" fmla="*/ 69762 w 179032"/>
                <a:gd name="connsiteY38" fmla="*/ 37214 h 124804"/>
                <a:gd name="connsiteX39" fmla="*/ 73635 w 179032"/>
                <a:gd name="connsiteY39" fmla="*/ 35938 h 124804"/>
                <a:gd name="connsiteX40" fmla="*/ 105376 w 179032"/>
                <a:gd name="connsiteY40" fmla="*/ 35938 h 124804"/>
                <a:gd name="connsiteX41" fmla="*/ 109248 w 179032"/>
                <a:gd name="connsiteY41" fmla="*/ 37214 h 124804"/>
                <a:gd name="connsiteX42" fmla="*/ 148496 w 179032"/>
                <a:gd name="connsiteY42" fmla="*/ 65969 h 124804"/>
                <a:gd name="connsiteX43" fmla="*/ 151115 w 179032"/>
                <a:gd name="connsiteY43" fmla="*/ 70361 h 124804"/>
                <a:gd name="connsiteX44" fmla="*/ 149773 w 179032"/>
                <a:gd name="connsiteY44" fmla="*/ 75294 h 124804"/>
                <a:gd name="connsiteX45" fmla="*/ 141746 w 179032"/>
                <a:gd name="connsiteY45" fmla="*/ 85463 h 124804"/>
                <a:gd name="connsiteX46" fmla="*/ 140556 w 179032"/>
                <a:gd name="connsiteY46" fmla="*/ 108116 h 124804"/>
                <a:gd name="connsiteX47" fmla="*/ 162668 w 179032"/>
                <a:gd name="connsiteY47" fmla="*/ 80076 h 124804"/>
                <a:gd name="connsiteX48" fmla="*/ 165762 w 179032"/>
                <a:gd name="connsiteY48" fmla="*/ 68825 h 124804"/>
                <a:gd name="connsiteX49" fmla="*/ 159856 w 179032"/>
                <a:gd name="connsiteY49" fmla="*/ 58742 h 124804"/>
                <a:gd name="connsiteX50" fmla="*/ 118422 w 179032"/>
                <a:gd name="connsiteY50" fmla="*/ 27716 h 124804"/>
                <a:gd name="connsiteX51" fmla="*/ 115804 w 179032"/>
                <a:gd name="connsiteY51" fmla="*/ 22480 h 124804"/>
                <a:gd name="connsiteX52" fmla="*/ 115804 w 179032"/>
                <a:gd name="connsiteY52" fmla="*/ 13090 h 124804"/>
                <a:gd name="connsiteX53" fmla="*/ 63401 w 179032"/>
                <a:gd name="connsiteY53" fmla="*/ 13090 h 124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79032" h="124804">
                  <a:moveTo>
                    <a:pt x="140924" y="124798"/>
                  </a:moveTo>
                  <a:cubicBezTo>
                    <a:pt x="139496" y="124798"/>
                    <a:pt x="138068" y="124343"/>
                    <a:pt x="136878" y="123391"/>
                  </a:cubicBezTo>
                  <a:cubicBezTo>
                    <a:pt x="122685" y="112205"/>
                    <a:pt x="120261" y="91586"/>
                    <a:pt x="131425" y="77393"/>
                  </a:cubicBezTo>
                  <a:lnTo>
                    <a:pt x="135255" y="72546"/>
                  </a:lnTo>
                  <a:lnTo>
                    <a:pt x="103212" y="49071"/>
                  </a:lnTo>
                  <a:lnTo>
                    <a:pt x="75756" y="49071"/>
                  </a:lnTo>
                  <a:lnTo>
                    <a:pt x="43712" y="72546"/>
                  </a:lnTo>
                  <a:lnTo>
                    <a:pt x="47542" y="77393"/>
                  </a:lnTo>
                  <a:cubicBezTo>
                    <a:pt x="52951" y="84273"/>
                    <a:pt x="55374" y="92841"/>
                    <a:pt x="54357" y="101517"/>
                  </a:cubicBezTo>
                  <a:cubicBezTo>
                    <a:pt x="53340" y="110193"/>
                    <a:pt x="48992" y="117982"/>
                    <a:pt x="42111" y="123391"/>
                  </a:cubicBezTo>
                  <a:cubicBezTo>
                    <a:pt x="40748" y="124473"/>
                    <a:pt x="39017" y="124971"/>
                    <a:pt x="37286" y="124754"/>
                  </a:cubicBezTo>
                  <a:cubicBezTo>
                    <a:pt x="35555" y="124560"/>
                    <a:pt x="33976" y="123673"/>
                    <a:pt x="32916" y="122310"/>
                  </a:cubicBezTo>
                  <a:lnTo>
                    <a:pt x="6044" y="88232"/>
                  </a:lnTo>
                  <a:cubicBezTo>
                    <a:pt x="1305" y="82239"/>
                    <a:pt x="-750" y="74753"/>
                    <a:pt x="245" y="67159"/>
                  </a:cubicBezTo>
                  <a:cubicBezTo>
                    <a:pt x="1240" y="59586"/>
                    <a:pt x="5157" y="52879"/>
                    <a:pt x="11280" y="48292"/>
                  </a:cubicBezTo>
                  <a:lnTo>
                    <a:pt x="50311" y="19061"/>
                  </a:lnTo>
                  <a:lnTo>
                    <a:pt x="50311" y="6556"/>
                  </a:lnTo>
                  <a:cubicBezTo>
                    <a:pt x="50311" y="2943"/>
                    <a:pt x="53232" y="0"/>
                    <a:pt x="56867" y="0"/>
                  </a:cubicBezTo>
                  <a:lnTo>
                    <a:pt x="122382" y="0"/>
                  </a:lnTo>
                  <a:cubicBezTo>
                    <a:pt x="125995" y="0"/>
                    <a:pt x="128937" y="2943"/>
                    <a:pt x="128937" y="6556"/>
                  </a:cubicBezTo>
                  <a:lnTo>
                    <a:pt x="128937" y="19213"/>
                  </a:lnTo>
                  <a:lnTo>
                    <a:pt x="167753" y="48270"/>
                  </a:lnTo>
                  <a:cubicBezTo>
                    <a:pt x="173876" y="52857"/>
                    <a:pt x="177792" y="59543"/>
                    <a:pt x="178787" y="67137"/>
                  </a:cubicBezTo>
                  <a:cubicBezTo>
                    <a:pt x="179783" y="74731"/>
                    <a:pt x="177727" y="82196"/>
                    <a:pt x="172989" y="88211"/>
                  </a:cubicBezTo>
                  <a:lnTo>
                    <a:pt x="146138" y="122288"/>
                  </a:lnTo>
                  <a:cubicBezTo>
                    <a:pt x="144775" y="123932"/>
                    <a:pt x="142871" y="124798"/>
                    <a:pt x="140924" y="124798"/>
                  </a:cubicBezTo>
                  <a:close/>
                  <a:moveTo>
                    <a:pt x="63401" y="13112"/>
                  </a:moveTo>
                  <a:lnTo>
                    <a:pt x="63401" y="22329"/>
                  </a:lnTo>
                  <a:cubicBezTo>
                    <a:pt x="63401" y="24384"/>
                    <a:pt x="62428" y="26331"/>
                    <a:pt x="60783" y="27565"/>
                  </a:cubicBezTo>
                  <a:lnTo>
                    <a:pt x="19134" y="58764"/>
                  </a:lnTo>
                  <a:cubicBezTo>
                    <a:pt x="15867" y="61209"/>
                    <a:pt x="13768" y="64800"/>
                    <a:pt x="13249" y="68846"/>
                  </a:cubicBezTo>
                  <a:cubicBezTo>
                    <a:pt x="12708" y="72892"/>
                    <a:pt x="13811" y="76895"/>
                    <a:pt x="16342" y="80097"/>
                  </a:cubicBezTo>
                  <a:lnTo>
                    <a:pt x="38455" y="108138"/>
                  </a:lnTo>
                  <a:cubicBezTo>
                    <a:pt x="40012" y="105693"/>
                    <a:pt x="41008" y="102902"/>
                    <a:pt x="41354" y="99938"/>
                  </a:cubicBezTo>
                  <a:cubicBezTo>
                    <a:pt x="41981" y="94723"/>
                    <a:pt x="40532" y="89574"/>
                    <a:pt x="37265" y="85463"/>
                  </a:cubicBezTo>
                  <a:lnTo>
                    <a:pt x="29238" y="75294"/>
                  </a:lnTo>
                  <a:cubicBezTo>
                    <a:pt x="28134" y="73888"/>
                    <a:pt x="27658" y="72114"/>
                    <a:pt x="27896" y="70361"/>
                  </a:cubicBezTo>
                  <a:cubicBezTo>
                    <a:pt x="28134" y="68608"/>
                    <a:pt x="29086" y="67007"/>
                    <a:pt x="30514" y="65969"/>
                  </a:cubicBezTo>
                  <a:lnTo>
                    <a:pt x="69762" y="37214"/>
                  </a:lnTo>
                  <a:cubicBezTo>
                    <a:pt x="70887" y="36392"/>
                    <a:pt x="72229" y="35938"/>
                    <a:pt x="73635" y="35938"/>
                  </a:cubicBezTo>
                  <a:lnTo>
                    <a:pt x="105376" y="35938"/>
                  </a:lnTo>
                  <a:cubicBezTo>
                    <a:pt x="106760" y="35938"/>
                    <a:pt x="108123" y="36392"/>
                    <a:pt x="109248" y="37214"/>
                  </a:cubicBezTo>
                  <a:lnTo>
                    <a:pt x="148496" y="65969"/>
                  </a:lnTo>
                  <a:cubicBezTo>
                    <a:pt x="149924" y="67029"/>
                    <a:pt x="150876" y="68608"/>
                    <a:pt x="151115" y="70361"/>
                  </a:cubicBezTo>
                  <a:cubicBezTo>
                    <a:pt x="151352" y="72114"/>
                    <a:pt x="150855" y="73909"/>
                    <a:pt x="149773" y="75294"/>
                  </a:cubicBezTo>
                  <a:lnTo>
                    <a:pt x="141746" y="85463"/>
                  </a:lnTo>
                  <a:cubicBezTo>
                    <a:pt x="136467" y="92170"/>
                    <a:pt x="136250" y="101279"/>
                    <a:pt x="140556" y="108116"/>
                  </a:cubicBezTo>
                  <a:lnTo>
                    <a:pt x="162668" y="80076"/>
                  </a:lnTo>
                  <a:cubicBezTo>
                    <a:pt x="165200" y="76873"/>
                    <a:pt x="166303" y="72871"/>
                    <a:pt x="165762" y="68825"/>
                  </a:cubicBezTo>
                  <a:cubicBezTo>
                    <a:pt x="165221" y="64779"/>
                    <a:pt x="163144" y="61187"/>
                    <a:pt x="159856" y="58742"/>
                  </a:cubicBezTo>
                  <a:lnTo>
                    <a:pt x="118422" y="27716"/>
                  </a:lnTo>
                  <a:cubicBezTo>
                    <a:pt x="116778" y="26483"/>
                    <a:pt x="115804" y="24535"/>
                    <a:pt x="115804" y="22480"/>
                  </a:cubicBezTo>
                  <a:lnTo>
                    <a:pt x="115804" y="13090"/>
                  </a:lnTo>
                  <a:lnTo>
                    <a:pt x="63401" y="13090"/>
                  </a:lnTo>
                  <a:close/>
                </a:path>
              </a:pathLst>
            </a:custGeom>
            <a:solidFill>
              <a:schemeClr val="accent1"/>
            </a:solidFill>
            <a:ln w="2159" cap="flat">
              <a:noFill/>
              <a:prstDash val="solid"/>
              <a:miter/>
            </a:ln>
          </p:spPr>
          <p:txBody>
            <a:bodyPr rtlCol="0" anchor="ctr"/>
            <a:lstStyle/>
            <a:p>
              <a:endParaRPr lang="en-GB" dirty="0"/>
            </a:p>
          </p:txBody>
        </p:sp>
        <p:grpSp>
          <p:nvGrpSpPr>
            <p:cNvPr id="210" name="Group 209">
              <a:extLst>
                <a:ext uri="{FF2B5EF4-FFF2-40B4-BE49-F238E27FC236}">
                  <a16:creationId xmlns:a16="http://schemas.microsoft.com/office/drawing/2014/main" id="{D60E100F-8BD0-46AB-8BE6-BE42CD6AC1E3}"/>
                </a:ext>
              </a:extLst>
            </p:cNvPr>
            <p:cNvGrpSpPr/>
            <p:nvPr/>
          </p:nvGrpSpPr>
          <p:grpSpPr>
            <a:xfrm>
              <a:off x="2641438" y="2391526"/>
              <a:ext cx="444695" cy="432000"/>
              <a:chOff x="2641438" y="2449341"/>
              <a:chExt cx="444695" cy="432000"/>
            </a:xfrm>
          </p:grpSpPr>
          <p:sp>
            <p:nvSpPr>
              <p:cNvPr id="142" name="Freihandform: Form 237">
                <a:extLst>
                  <a:ext uri="{FF2B5EF4-FFF2-40B4-BE49-F238E27FC236}">
                    <a16:creationId xmlns:a16="http://schemas.microsoft.com/office/drawing/2014/main" id="{B90A3CEB-E790-4EF0-A041-46D9AC1DBA9C}"/>
                  </a:ext>
                </a:extLst>
              </p:cNvPr>
              <p:cNvSpPr/>
              <p:nvPr/>
            </p:nvSpPr>
            <p:spPr>
              <a:xfrm>
                <a:off x="2641438" y="2868626"/>
                <a:ext cx="419285" cy="12715"/>
              </a:xfrm>
              <a:custGeom>
                <a:avLst/>
                <a:gdLst>
                  <a:gd name="connsiteX0" fmla="*/ 425801 w 432356"/>
                  <a:gd name="connsiteY0" fmla="*/ 13112 h 13111"/>
                  <a:gd name="connsiteX1" fmla="*/ 6556 w 432356"/>
                  <a:gd name="connsiteY1" fmla="*/ 13112 h 13111"/>
                  <a:gd name="connsiteX2" fmla="*/ 0 w 432356"/>
                  <a:gd name="connsiteY2" fmla="*/ 6556 h 13111"/>
                  <a:gd name="connsiteX3" fmla="*/ 6556 w 432356"/>
                  <a:gd name="connsiteY3" fmla="*/ 0 h 13111"/>
                  <a:gd name="connsiteX4" fmla="*/ 425801 w 432356"/>
                  <a:gd name="connsiteY4" fmla="*/ 0 h 13111"/>
                  <a:gd name="connsiteX5" fmla="*/ 432356 w 432356"/>
                  <a:gd name="connsiteY5" fmla="*/ 6556 h 13111"/>
                  <a:gd name="connsiteX6" fmla="*/ 425801 w 432356"/>
                  <a:gd name="connsiteY6" fmla="*/ 13112 h 1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2356" h="13111">
                    <a:moveTo>
                      <a:pt x="425801" y="13112"/>
                    </a:moveTo>
                    <a:lnTo>
                      <a:pt x="6556" y="13112"/>
                    </a:lnTo>
                    <a:cubicBezTo>
                      <a:pt x="2943" y="13112"/>
                      <a:pt x="0" y="10169"/>
                      <a:pt x="0" y="6556"/>
                    </a:cubicBezTo>
                    <a:cubicBezTo>
                      <a:pt x="0" y="2942"/>
                      <a:pt x="2921" y="0"/>
                      <a:pt x="6556" y="0"/>
                    </a:cubicBezTo>
                    <a:lnTo>
                      <a:pt x="425801" y="0"/>
                    </a:lnTo>
                    <a:cubicBezTo>
                      <a:pt x="429414" y="0"/>
                      <a:pt x="432356" y="2942"/>
                      <a:pt x="432356" y="6556"/>
                    </a:cubicBezTo>
                    <a:cubicBezTo>
                      <a:pt x="432356" y="10169"/>
                      <a:pt x="429436" y="13112"/>
                      <a:pt x="425801" y="13112"/>
                    </a:cubicBezTo>
                    <a:close/>
                  </a:path>
                </a:pathLst>
              </a:custGeom>
              <a:solidFill>
                <a:schemeClr val="tx2"/>
              </a:solidFill>
              <a:ln w="2159" cap="flat">
                <a:noFill/>
                <a:prstDash val="solid"/>
                <a:miter/>
              </a:ln>
            </p:spPr>
            <p:txBody>
              <a:bodyPr rtlCol="0" anchor="ctr"/>
              <a:lstStyle/>
              <a:p>
                <a:endParaRPr lang="en-GB" dirty="0"/>
              </a:p>
            </p:txBody>
          </p:sp>
          <p:sp>
            <p:nvSpPr>
              <p:cNvPr id="143" name="Freihandform: Form 238">
                <a:extLst>
                  <a:ext uri="{FF2B5EF4-FFF2-40B4-BE49-F238E27FC236}">
                    <a16:creationId xmlns:a16="http://schemas.microsoft.com/office/drawing/2014/main" id="{56EB8D1F-5FCD-4ECE-B0F2-AA79BA2C854A}"/>
                  </a:ext>
                </a:extLst>
              </p:cNvPr>
              <p:cNvSpPr/>
              <p:nvPr/>
            </p:nvSpPr>
            <p:spPr>
              <a:xfrm>
                <a:off x="2660511" y="2830502"/>
                <a:ext cx="381160" cy="12715"/>
              </a:xfrm>
              <a:custGeom>
                <a:avLst/>
                <a:gdLst>
                  <a:gd name="connsiteX0" fmla="*/ 386488 w 393043"/>
                  <a:gd name="connsiteY0" fmla="*/ 13112 h 13111"/>
                  <a:gd name="connsiteX1" fmla="*/ 6556 w 393043"/>
                  <a:gd name="connsiteY1" fmla="*/ 13112 h 13111"/>
                  <a:gd name="connsiteX2" fmla="*/ 0 w 393043"/>
                  <a:gd name="connsiteY2" fmla="*/ 6556 h 13111"/>
                  <a:gd name="connsiteX3" fmla="*/ 6556 w 393043"/>
                  <a:gd name="connsiteY3" fmla="*/ 0 h 13111"/>
                  <a:gd name="connsiteX4" fmla="*/ 386488 w 393043"/>
                  <a:gd name="connsiteY4" fmla="*/ 0 h 13111"/>
                  <a:gd name="connsiteX5" fmla="*/ 393043 w 393043"/>
                  <a:gd name="connsiteY5" fmla="*/ 6556 h 13111"/>
                  <a:gd name="connsiteX6" fmla="*/ 386488 w 393043"/>
                  <a:gd name="connsiteY6" fmla="*/ 13112 h 1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043" h="13111">
                    <a:moveTo>
                      <a:pt x="386488" y="13112"/>
                    </a:moveTo>
                    <a:lnTo>
                      <a:pt x="6556" y="13112"/>
                    </a:lnTo>
                    <a:cubicBezTo>
                      <a:pt x="2942" y="13112"/>
                      <a:pt x="0" y="10169"/>
                      <a:pt x="0" y="6556"/>
                    </a:cubicBezTo>
                    <a:cubicBezTo>
                      <a:pt x="0" y="2943"/>
                      <a:pt x="2921" y="0"/>
                      <a:pt x="6556" y="0"/>
                    </a:cubicBezTo>
                    <a:lnTo>
                      <a:pt x="386488" y="0"/>
                    </a:lnTo>
                    <a:cubicBezTo>
                      <a:pt x="390101" y="0"/>
                      <a:pt x="393043" y="2943"/>
                      <a:pt x="393043" y="6556"/>
                    </a:cubicBezTo>
                    <a:cubicBezTo>
                      <a:pt x="393043" y="10169"/>
                      <a:pt x="390101" y="13112"/>
                      <a:pt x="386488" y="13112"/>
                    </a:cubicBezTo>
                    <a:close/>
                  </a:path>
                </a:pathLst>
              </a:custGeom>
              <a:solidFill>
                <a:schemeClr val="tx2"/>
              </a:solidFill>
              <a:ln w="2159" cap="flat">
                <a:noFill/>
                <a:prstDash val="solid"/>
                <a:miter/>
              </a:ln>
            </p:spPr>
            <p:txBody>
              <a:bodyPr rtlCol="0" anchor="ctr"/>
              <a:lstStyle/>
              <a:p>
                <a:endParaRPr lang="en-GB" dirty="0"/>
              </a:p>
            </p:txBody>
          </p:sp>
          <p:sp>
            <p:nvSpPr>
              <p:cNvPr id="144" name="Freihandform: Form 239">
                <a:extLst>
                  <a:ext uri="{FF2B5EF4-FFF2-40B4-BE49-F238E27FC236}">
                    <a16:creationId xmlns:a16="http://schemas.microsoft.com/office/drawing/2014/main" id="{C155EC8F-F545-408A-AFAA-552FB07CB3EE}"/>
                  </a:ext>
                </a:extLst>
              </p:cNvPr>
              <p:cNvSpPr/>
              <p:nvPr/>
            </p:nvSpPr>
            <p:spPr>
              <a:xfrm>
                <a:off x="2800273" y="2792378"/>
                <a:ext cx="190601" cy="50839"/>
              </a:xfrm>
              <a:custGeom>
                <a:avLst/>
                <a:gdLst>
                  <a:gd name="connsiteX0" fmla="*/ 189966 w 196543"/>
                  <a:gd name="connsiteY0" fmla="*/ 52424 h 52424"/>
                  <a:gd name="connsiteX1" fmla="*/ 6556 w 196543"/>
                  <a:gd name="connsiteY1" fmla="*/ 52424 h 52424"/>
                  <a:gd name="connsiteX2" fmla="*/ 0 w 196543"/>
                  <a:gd name="connsiteY2" fmla="*/ 45869 h 52424"/>
                  <a:gd name="connsiteX3" fmla="*/ 0 w 196543"/>
                  <a:gd name="connsiteY3" fmla="*/ 19667 h 52424"/>
                  <a:gd name="connsiteX4" fmla="*/ 1926 w 196543"/>
                  <a:gd name="connsiteY4" fmla="*/ 15037 h 52424"/>
                  <a:gd name="connsiteX5" fmla="*/ 15037 w 196543"/>
                  <a:gd name="connsiteY5" fmla="*/ 1926 h 52424"/>
                  <a:gd name="connsiteX6" fmla="*/ 19667 w 196543"/>
                  <a:gd name="connsiteY6" fmla="*/ 0 h 52424"/>
                  <a:gd name="connsiteX7" fmla="*/ 176876 w 196543"/>
                  <a:gd name="connsiteY7" fmla="*/ 0 h 52424"/>
                  <a:gd name="connsiteX8" fmla="*/ 181506 w 196543"/>
                  <a:gd name="connsiteY8" fmla="*/ 1926 h 52424"/>
                  <a:gd name="connsiteX9" fmla="*/ 194618 w 196543"/>
                  <a:gd name="connsiteY9" fmla="*/ 15037 h 52424"/>
                  <a:gd name="connsiteX10" fmla="*/ 196543 w 196543"/>
                  <a:gd name="connsiteY10" fmla="*/ 19667 h 52424"/>
                  <a:gd name="connsiteX11" fmla="*/ 196543 w 196543"/>
                  <a:gd name="connsiteY11" fmla="*/ 45869 h 52424"/>
                  <a:gd name="connsiteX12" fmla="*/ 189966 w 196543"/>
                  <a:gd name="connsiteY12" fmla="*/ 52424 h 52424"/>
                  <a:gd name="connsiteX13" fmla="*/ 13090 w 196543"/>
                  <a:gd name="connsiteY13" fmla="*/ 39313 h 52424"/>
                  <a:gd name="connsiteX14" fmla="*/ 183410 w 196543"/>
                  <a:gd name="connsiteY14" fmla="*/ 39313 h 52424"/>
                  <a:gd name="connsiteX15" fmla="*/ 183410 w 196543"/>
                  <a:gd name="connsiteY15" fmla="*/ 22372 h 52424"/>
                  <a:gd name="connsiteX16" fmla="*/ 174150 w 196543"/>
                  <a:gd name="connsiteY16" fmla="*/ 13112 h 52424"/>
                  <a:gd name="connsiteX17" fmla="*/ 22350 w 196543"/>
                  <a:gd name="connsiteY17" fmla="*/ 13112 h 52424"/>
                  <a:gd name="connsiteX18" fmla="*/ 13090 w 196543"/>
                  <a:gd name="connsiteY18" fmla="*/ 22372 h 52424"/>
                  <a:gd name="connsiteX19" fmla="*/ 13090 w 196543"/>
                  <a:gd name="connsiteY19" fmla="*/ 39313 h 5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6543" h="52424">
                    <a:moveTo>
                      <a:pt x="189966" y="52424"/>
                    </a:moveTo>
                    <a:lnTo>
                      <a:pt x="6556" y="52424"/>
                    </a:lnTo>
                    <a:cubicBezTo>
                      <a:pt x="2942" y="52424"/>
                      <a:pt x="0" y="49482"/>
                      <a:pt x="0" y="45869"/>
                    </a:cubicBezTo>
                    <a:lnTo>
                      <a:pt x="0" y="19667"/>
                    </a:lnTo>
                    <a:cubicBezTo>
                      <a:pt x="0" y="17936"/>
                      <a:pt x="692" y="16270"/>
                      <a:pt x="1926" y="15037"/>
                    </a:cubicBezTo>
                    <a:lnTo>
                      <a:pt x="15037" y="1926"/>
                    </a:lnTo>
                    <a:cubicBezTo>
                      <a:pt x="16270" y="692"/>
                      <a:pt x="17937" y="0"/>
                      <a:pt x="19667" y="0"/>
                    </a:cubicBezTo>
                    <a:lnTo>
                      <a:pt x="176876" y="0"/>
                    </a:lnTo>
                    <a:cubicBezTo>
                      <a:pt x="178607" y="0"/>
                      <a:pt x="180273" y="692"/>
                      <a:pt x="181506" y="1926"/>
                    </a:cubicBezTo>
                    <a:lnTo>
                      <a:pt x="194618" y="15037"/>
                    </a:lnTo>
                    <a:cubicBezTo>
                      <a:pt x="195851" y="16270"/>
                      <a:pt x="196543" y="17936"/>
                      <a:pt x="196543" y="19667"/>
                    </a:cubicBezTo>
                    <a:lnTo>
                      <a:pt x="196543" y="45869"/>
                    </a:lnTo>
                    <a:cubicBezTo>
                      <a:pt x="196522" y="49482"/>
                      <a:pt x="193579" y="52424"/>
                      <a:pt x="189966" y="52424"/>
                    </a:cubicBezTo>
                    <a:close/>
                    <a:moveTo>
                      <a:pt x="13090" y="39313"/>
                    </a:moveTo>
                    <a:lnTo>
                      <a:pt x="183410" y="39313"/>
                    </a:lnTo>
                    <a:lnTo>
                      <a:pt x="183410" y="22372"/>
                    </a:lnTo>
                    <a:lnTo>
                      <a:pt x="174150" y="13112"/>
                    </a:lnTo>
                    <a:lnTo>
                      <a:pt x="22350" y="13112"/>
                    </a:lnTo>
                    <a:lnTo>
                      <a:pt x="13090" y="22372"/>
                    </a:lnTo>
                    <a:lnTo>
                      <a:pt x="13090" y="39313"/>
                    </a:lnTo>
                    <a:close/>
                  </a:path>
                </a:pathLst>
              </a:custGeom>
              <a:solidFill>
                <a:schemeClr val="tx2"/>
              </a:solidFill>
              <a:ln w="2159" cap="flat">
                <a:noFill/>
                <a:prstDash val="solid"/>
                <a:miter/>
              </a:ln>
            </p:spPr>
            <p:txBody>
              <a:bodyPr rtlCol="0" anchor="ctr"/>
              <a:lstStyle/>
              <a:p>
                <a:endParaRPr lang="en-GB" dirty="0"/>
              </a:p>
            </p:txBody>
          </p:sp>
          <p:sp>
            <p:nvSpPr>
              <p:cNvPr id="145" name="Freihandform: Form 240">
                <a:extLst>
                  <a:ext uri="{FF2B5EF4-FFF2-40B4-BE49-F238E27FC236}">
                    <a16:creationId xmlns:a16="http://schemas.microsoft.com/office/drawing/2014/main" id="{AAD0B714-335B-4EEF-A702-AD323F39E840}"/>
                  </a:ext>
                </a:extLst>
              </p:cNvPr>
              <p:cNvSpPr/>
              <p:nvPr/>
            </p:nvSpPr>
            <p:spPr>
              <a:xfrm>
                <a:off x="2838376" y="2703456"/>
                <a:ext cx="114352" cy="101636"/>
              </a:xfrm>
              <a:custGeom>
                <a:avLst/>
                <a:gdLst>
                  <a:gd name="connsiteX0" fmla="*/ 111362 w 117917"/>
                  <a:gd name="connsiteY0" fmla="*/ 104806 h 104805"/>
                  <a:gd name="connsiteX1" fmla="*/ 6556 w 117917"/>
                  <a:gd name="connsiteY1" fmla="*/ 104806 h 104805"/>
                  <a:gd name="connsiteX2" fmla="*/ 0 w 117917"/>
                  <a:gd name="connsiteY2" fmla="*/ 98250 h 104805"/>
                  <a:gd name="connsiteX3" fmla="*/ 0 w 117917"/>
                  <a:gd name="connsiteY3" fmla="*/ 43943 h 104805"/>
                  <a:gd name="connsiteX4" fmla="*/ 43943 w 117917"/>
                  <a:gd name="connsiteY4" fmla="*/ 0 h 104805"/>
                  <a:gd name="connsiteX5" fmla="*/ 73974 w 117917"/>
                  <a:gd name="connsiteY5" fmla="*/ 0 h 104805"/>
                  <a:gd name="connsiteX6" fmla="*/ 117917 w 117917"/>
                  <a:gd name="connsiteY6" fmla="*/ 43943 h 104805"/>
                  <a:gd name="connsiteX7" fmla="*/ 117917 w 117917"/>
                  <a:gd name="connsiteY7" fmla="*/ 98250 h 104805"/>
                  <a:gd name="connsiteX8" fmla="*/ 111362 w 117917"/>
                  <a:gd name="connsiteY8" fmla="*/ 104806 h 104805"/>
                  <a:gd name="connsiteX9" fmla="*/ 13112 w 117917"/>
                  <a:gd name="connsiteY9" fmla="*/ 91716 h 104805"/>
                  <a:gd name="connsiteX10" fmla="*/ 104827 w 117917"/>
                  <a:gd name="connsiteY10" fmla="*/ 91716 h 104805"/>
                  <a:gd name="connsiteX11" fmla="*/ 104827 w 117917"/>
                  <a:gd name="connsiteY11" fmla="*/ 43943 h 104805"/>
                  <a:gd name="connsiteX12" fmla="*/ 73996 w 117917"/>
                  <a:gd name="connsiteY12" fmla="*/ 13090 h 104805"/>
                  <a:gd name="connsiteX13" fmla="*/ 43965 w 117917"/>
                  <a:gd name="connsiteY13" fmla="*/ 13090 h 104805"/>
                  <a:gd name="connsiteX14" fmla="*/ 13133 w 117917"/>
                  <a:gd name="connsiteY14" fmla="*/ 43943 h 104805"/>
                  <a:gd name="connsiteX15" fmla="*/ 13133 w 117917"/>
                  <a:gd name="connsiteY15" fmla="*/ 91716 h 1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7917" h="104805">
                    <a:moveTo>
                      <a:pt x="111362" y="104806"/>
                    </a:moveTo>
                    <a:lnTo>
                      <a:pt x="6556" y="104806"/>
                    </a:lnTo>
                    <a:cubicBezTo>
                      <a:pt x="2942" y="104806"/>
                      <a:pt x="0" y="101863"/>
                      <a:pt x="0" y="98250"/>
                    </a:cubicBezTo>
                    <a:lnTo>
                      <a:pt x="0" y="43943"/>
                    </a:lnTo>
                    <a:cubicBezTo>
                      <a:pt x="0" y="19711"/>
                      <a:pt x="19711" y="0"/>
                      <a:pt x="43943" y="0"/>
                    </a:cubicBezTo>
                    <a:lnTo>
                      <a:pt x="73974" y="0"/>
                    </a:lnTo>
                    <a:cubicBezTo>
                      <a:pt x="98207" y="0"/>
                      <a:pt x="117917" y="19711"/>
                      <a:pt x="117917" y="43943"/>
                    </a:cubicBezTo>
                    <a:lnTo>
                      <a:pt x="117917" y="98250"/>
                    </a:lnTo>
                    <a:cubicBezTo>
                      <a:pt x="117917" y="101885"/>
                      <a:pt x="114996" y="104806"/>
                      <a:pt x="111362" y="104806"/>
                    </a:cubicBezTo>
                    <a:close/>
                    <a:moveTo>
                      <a:pt x="13112" y="91716"/>
                    </a:moveTo>
                    <a:lnTo>
                      <a:pt x="104827" y="91716"/>
                    </a:lnTo>
                    <a:lnTo>
                      <a:pt x="104827" y="43943"/>
                    </a:lnTo>
                    <a:cubicBezTo>
                      <a:pt x="104827" y="26937"/>
                      <a:pt x="90980" y="13090"/>
                      <a:pt x="73996" y="13090"/>
                    </a:cubicBezTo>
                    <a:lnTo>
                      <a:pt x="43965" y="13090"/>
                    </a:lnTo>
                    <a:cubicBezTo>
                      <a:pt x="26959" y="13090"/>
                      <a:pt x="13133" y="26937"/>
                      <a:pt x="13133" y="43943"/>
                    </a:cubicBezTo>
                    <a:lnTo>
                      <a:pt x="13133" y="91716"/>
                    </a:lnTo>
                    <a:close/>
                  </a:path>
                </a:pathLst>
              </a:custGeom>
              <a:solidFill>
                <a:schemeClr val="tx2"/>
              </a:solidFill>
              <a:ln w="2159" cap="flat">
                <a:noFill/>
                <a:prstDash val="solid"/>
                <a:miter/>
              </a:ln>
            </p:spPr>
            <p:txBody>
              <a:bodyPr rtlCol="0" anchor="ctr"/>
              <a:lstStyle/>
              <a:p>
                <a:endParaRPr lang="en-GB" dirty="0"/>
              </a:p>
            </p:txBody>
          </p:sp>
          <p:sp>
            <p:nvSpPr>
              <p:cNvPr id="146" name="Freihandform: Form 241">
                <a:extLst>
                  <a:ext uri="{FF2B5EF4-FFF2-40B4-BE49-F238E27FC236}">
                    <a16:creationId xmlns:a16="http://schemas.microsoft.com/office/drawing/2014/main" id="{693C4202-773A-43A2-9C42-838A8707D7AA}"/>
                  </a:ext>
                </a:extLst>
              </p:cNvPr>
              <p:cNvSpPr/>
              <p:nvPr/>
            </p:nvSpPr>
            <p:spPr>
              <a:xfrm>
                <a:off x="2870143" y="2728865"/>
                <a:ext cx="50818" cy="50818"/>
              </a:xfrm>
              <a:custGeom>
                <a:avLst/>
                <a:gdLst>
                  <a:gd name="connsiteX0" fmla="*/ 26202 w 52402"/>
                  <a:gd name="connsiteY0" fmla="*/ 52403 h 52402"/>
                  <a:gd name="connsiteX1" fmla="*/ 0 w 52402"/>
                  <a:gd name="connsiteY1" fmla="*/ 26202 h 52402"/>
                  <a:gd name="connsiteX2" fmla="*/ 26202 w 52402"/>
                  <a:gd name="connsiteY2" fmla="*/ 0 h 52402"/>
                  <a:gd name="connsiteX3" fmla="*/ 52403 w 52402"/>
                  <a:gd name="connsiteY3" fmla="*/ 26202 h 52402"/>
                  <a:gd name="connsiteX4" fmla="*/ 26202 w 52402"/>
                  <a:gd name="connsiteY4" fmla="*/ 52403 h 52402"/>
                  <a:gd name="connsiteX5" fmla="*/ 26202 w 52402"/>
                  <a:gd name="connsiteY5" fmla="*/ 13112 h 52402"/>
                  <a:gd name="connsiteX6" fmla="*/ 13090 w 52402"/>
                  <a:gd name="connsiteY6" fmla="*/ 26223 h 52402"/>
                  <a:gd name="connsiteX7" fmla="*/ 26202 w 52402"/>
                  <a:gd name="connsiteY7" fmla="*/ 39335 h 52402"/>
                  <a:gd name="connsiteX8" fmla="*/ 39313 w 52402"/>
                  <a:gd name="connsiteY8" fmla="*/ 26223 h 52402"/>
                  <a:gd name="connsiteX9" fmla="*/ 26202 w 52402"/>
                  <a:gd name="connsiteY9" fmla="*/ 13112 h 5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02" h="52402">
                    <a:moveTo>
                      <a:pt x="26202" y="52403"/>
                    </a:moveTo>
                    <a:cubicBezTo>
                      <a:pt x="11749" y="52403"/>
                      <a:pt x="0" y="40655"/>
                      <a:pt x="0" y="26202"/>
                    </a:cubicBezTo>
                    <a:cubicBezTo>
                      <a:pt x="0" y="11748"/>
                      <a:pt x="11749" y="0"/>
                      <a:pt x="26202" y="0"/>
                    </a:cubicBezTo>
                    <a:cubicBezTo>
                      <a:pt x="40655" y="0"/>
                      <a:pt x="52403" y="11748"/>
                      <a:pt x="52403" y="26202"/>
                    </a:cubicBezTo>
                    <a:cubicBezTo>
                      <a:pt x="52403" y="40655"/>
                      <a:pt x="40655" y="52403"/>
                      <a:pt x="26202" y="52403"/>
                    </a:cubicBezTo>
                    <a:close/>
                    <a:moveTo>
                      <a:pt x="26202" y="13112"/>
                    </a:moveTo>
                    <a:cubicBezTo>
                      <a:pt x="18975" y="13112"/>
                      <a:pt x="13090" y="18997"/>
                      <a:pt x="13090" y="26223"/>
                    </a:cubicBezTo>
                    <a:cubicBezTo>
                      <a:pt x="13090" y="33450"/>
                      <a:pt x="18975" y="39335"/>
                      <a:pt x="26202" y="39335"/>
                    </a:cubicBezTo>
                    <a:cubicBezTo>
                      <a:pt x="33428" y="39335"/>
                      <a:pt x="39313" y="33450"/>
                      <a:pt x="39313" y="26223"/>
                    </a:cubicBezTo>
                    <a:cubicBezTo>
                      <a:pt x="39313" y="18975"/>
                      <a:pt x="33428" y="13112"/>
                      <a:pt x="26202" y="13112"/>
                    </a:cubicBezTo>
                    <a:close/>
                  </a:path>
                </a:pathLst>
              </a:custGeom>
              <a:solidFill>
                <a:schemeClr val="tx2"/>
              </a:solidFill>
              <a:ln w="2159" cap="flat">
                <a:noFill/>
                <a:prstDash val="solid"/>
                <a:miter/>
              </a:ln>
            </p:spPr>
            <p:txBody>
              <a:bodyPr rtlCol="0" anchor="ctr"/>
              <a:lstStyle/>
              <a:p>
                <a:endParaRPr lang="en-GB" dirty="0"/>
              </a:p>
            </p:txBody>
          </p:sp>
          <p:sp>
            <p:nvSpPr>
              <p:cNvPr id="147" name="Freihandform: Form 242">
                <a:extLst>
                  <a:ext uri="{FF2B5EF4-FFF2-40B4-BE49-F238E27FC236}">
                    <a16:creationId xmlns:a16="http://schemas.microsoft.com/office/drawing/2014/main" id="{4FE68973-8F16-4261-9164-D8BD0569C143}"/>
                  </a:ext>
                </a:extLst>
              </p:cNvPr>
              <p:cNvSpPr/>
              <p:nvPr/>
            </p:nvSpPr>
            <p:spPr>
              <a:xfrm>
                <a:off x="2697813" y="2562913"/>
                <a:ext cx="153072" cy="184898"/>
              </a:xfrm>
              <a:custGeom>
                <a:avLst/>
                <a:gdLst>
                  <a:gd name="connsiteX0" fmla="*/ 151306 w 157844"/>
                  <a:gd name="connsiteY0" fmla="*/ 190663 h 190662"/>
                  <a:gd name="connsiteX1" fmla="*/ 146222 w 157844"/>
                  <a:gd name="connsiteY1" fmla="*/ 188261 h 190662"/>
                  <a:gd name="connsiteX2" fmla="*/ 1476 w 157844"/>
                  <a:gd name="connsiteY2" fmla="*/ 10693 h 190662"/>
                  <a:gd name="connsiteX3" fmla="*/ 2406 w 157844"/>
                  <a:gd name="connsiteY3" fmla="*/ 1476 h 190662"/>
                  <a:gd name="connsiteX4" fmla="*/ 11623 w 157844"/>
                  <a:gd name="connsiteY4" fmla="*/ 2406 h 190662"/>
                  <a:gd name="connsiteX5" fmla="*/ 156369 w 157844"/>
                  <a:gd name="connsiteY5" fmla="*/ 179974 h 190662"/>
                  <a:gd name="connsiteX6" fmla="*/ 155439 w 157844"/>
                  <a:gd name="connsiteY6" fmla="*/ 189191 h 190662"/>
                  <a:gd name="connsiteX7" fmla="*/ 151306 w 157844"/>
                  <a:gd name="connsiteY7" fmla="*/ 190663 h 190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844" h="190662">
                    <a:moveTo>
                      <a:pt x="151306" y="190663"/>
                    </a:moveTo>
                    <a:cubicBezTo>
                      <a:pt x="149402" y="190663"/>
                      <a:pt x="147520" y="189841"/>
                      <a:pt x="146222" y="188261"/>
                    </a:cubicBezTo>
                    <a:lnTo>
                      <a:pt x="1476" y="10693"/>
                    </a:lnTo>
                    <a:cubicBezTo>
                      <a:pt x="-818" y="7880"/>
                      <a:pt x="-385" y="3769"/>
                      <a:pt x="2406" y="1476"/>
                    </a:cubicBezTo>
                    <a:cubicBezTo>
                      <a:pt x="5219" y="-818"/>
                      <a:pt x="9351" y="-385"/>
                      <a:pt x="11623" y="2406"/>
                    </a:cubicBezTo>
                    <a:lnTo>
                      <a:pt x="156369" y="179974"/>
                    </a:lnTo>
                    <a:cubicBezTo>
                      <a:pt x="158663" y="182787"/>
                      <a:pt x="158230" y="186898"/>
                      <a:pt x="155439" y="189191"/>
                    </a:cubicBezTo>
                    <a:cubicBezTo>
                      <a:pt x="154227" y="190187"/>
                      <a:pt x="152778" y="190663"/>
                      <a:pt x="151306" y="190663"/>
                    </a:cubicBezTo>
                    <a:close/>
                  </a:path>
                </a:pathLst>
              </a:custGeom>
              <a:solidFill>
                <a:schemeClr val="tx2"/>
              </a:solidFill>
              <a:ln w="2159" cap="flat">
                <a:noFill/>
                <a:prstDash val="solid"/>
                <a:miter/>
              </a:ln>
            </p:spPr>
            <p:txBody>
              <a:bodyPr rtlCol="0" anchor="ctr"/>
              <a:lstStyle/>
              <a:p>
                <a:endParaRPr lang="en-GB" dirty="0"/>
              </a:p>
            </p:txBody>
          </p:sp>
          <p:sp>
            <p:nvSpPr>
              <p:cNvPr id="148" name="Freihandform: Form 243">
                <a:extLst>
                  <a:ext uri="{FF2B5EF4-FFF2-40B4-BE49-F238E27FC236}">
                    <a16:creationId xmlns:a16="http://schemas.microsoft.com/office/drawing/2014/main" id="{8E497077-80B9-4D28-ACE1-98E5CFE99E6F}"/>
                  </a:ext>
                </a:extLst>
              </p:cNvPr>
              <p:cNvSpPr/>
              <p:nvPr/>
            </p:nvSpPr>
            <p:spPr>
              <a:xfrm>
                <a:off x="2755629" y="2533225"/>
                <a:ext cx="149716" cy="181224"/>
              </a:xfrm>
              <a:custGeom>
                <a:avLst/>
                <a:gdLst>
                  <a:gd name="connsiteX0" fmla="*/ 147834 w 154383"/>
                  <a:gd name="connsiteY0" fmla="*/ 186875 h 186874"/>
                  <a:gd name="connsiteX1" fmla="*/ 142749 w 154383"/>
                  <a:gd name="connsiteY1" fmla="*/ 184451 h 186874"/>
                  <a:gd name="connsiteX2" fmla="*/ 1465 w 154383"/>
                  <a:gd name="connsiteY2" fmla="*/ 10691 h 186874"/>
                  <a:gd name="connsiteX3" fmla="*/ 2417 w 154383"/>
                  <a:gd name="connsiteY3" fmla="*/ 1474 h 186874"/>
                  <a:gd name="connsiteX4" fmla="*/ 11634 w 154383"/>
                  <a:gd name="connsiteY4" fmla="*/ 2426 h 186874"/>
                  <a:gd name="connsiteX5" fmla="*/ 152918 w 154383"/>
                  <a:gd name="connsiteY5" fmla="*/ 176186 h 186874"/>
                  <a:gd name="connsiteX6" fmla="*/ 151966 w 154383"/>
                  <a:gd name="connsiteY6" fmla="*/ 185403 h 186874"/>
                  <a:gd name="connsiteX7" fmla="*/ 147834 w 154383"/>
                  <a:gd name="connsiteY7" fmla="*/ 186875 h 186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383" h="186874">
                    <a:moveTo>
                      <a:pt x="147834" y="186875"/>
                    </a:moveTo>
                    <a:cubicBezTo>
                      <a:pt x="145930" y="186875"/>
                      <a:pt x="144047" y="186052"/>
                      <a:pt x="142749" y="184451"/>
                    </a:cubicBezTo>
                    <a:lnTo>
                      <a:pt x="1465" y="10691"/>
                    </a:lnTo>
                    <a:cubicBezTo>
                      <a:pt x="-807" y="7878"/>
                      <a:pt x="-396" y="3746"/>
                      <a:pt x="2417" y="1474"/>
                    </a:cubicBezTo>
                    <a:cubicBezTo>
                      <a:pt x="5230" y="-820"/>
                      <a:pt x="9340" y="-387"/>
                      <a:pt x="11634" y="2426"/>
                    </a:cubicBezTo>
                    <a:lnTo>
                      <a:pt x="152918" y="176186"/>
                    </a:lnTo>
                    <a:cubicBezTo>
                      <a:pt x="155190" y="178999"/>
                      <a:pt x="154779" y="183132"/>
                      <a:pt x="151966" y="185403"/>
                    </a:cubicBezTo>
                    <a:cubicBezTo>
                      <a:pt x="150755" y="186399"/>
                      <a:pt x="149283" y="186875"/>
                      <a:pt x="147834" y="186875"/>
                    </a:cubicBezTo>
                    <a:close/>
                  </a:path>
                </a:pathLst>
              </a:custGeom>
              <a:solidFill>
                <a:schemeClr val="tx2"/>
              </a:solidFill>
              <a:ln w="2159" cap="flat">
                <a:noFill/>
                <a:prstDash val="solid"/>
                <a:miter/>
              </a:ln>
            </p:spPr>
            <p:txBody>
              <a:bodyPr rtlCol="0" anchor="ctr"/>
              <a:lstStyle/>
              <a:p>
                <a:endParaRPr lang="en-GB" dirty="0"/>
              </a:p>
            </p:txBody>
          </p:sp>
          <p:sp>
            <p:nvSpPr>
              <p:cNvPr id="149" name="Freihandform: Form 244">
                <a:extLst>
                  <a:ext uri="{FF2B5EF4-FFF2-40B4-BE49-F238E27FC236}">
                    <a16:creationId xmlns:a16="http://schemas.microsoft.com/office/drawing/2014/main" id="{B4330CC9-5C76-4BCF-8472-274869A8B7C9}"/>
                  </a:ext>
                </a:extLst>
              </p:cNvPr>
              <p:cNvSpPr/>
              <p:nvPr/>
            </p:nvSpPr>
            <p:spPr>
              <a:xfrm>
                <a:off x="2752623" y="2500160"/>
                <a:ext cx="257282" cy="50839"/>
              </a:xfrm>
              <a:custGeom>
                <a:avLst/>
                <a:gdLst>
                  <a:gd name="connsiteX0" fmla="*/ 258747 w 265303"/>
                  <a:gd name="connsiteY0" fmla="*/ 52424 h 52424"/>
                  <a:gd name="connsiteX1" fmla="*/ 49136 w 265303"/>
                  <a:gd name="connsiteY1" fmla="*/ 52424 h 52424"/>
                  <a:gd name="connsiteX2" fmla="*/ 42580 w 265303"/>
                  <a:gd name="connsiteY2" fmla="*/ 45869 h 52424"/>
                  <a:gd name="connsiteX3" fmla="*/ 49136 w 265303"/>
                  <a:gd name="connsiteY3" fmla="*/ 39313 h 52424"/>
                  <a:gd name="connsiteX4" fmla="*/ 252213 w 265303"/>
                  <a:gd name="connsiteY4" fmla="*/ 39313 h 52424"/>
                  <a:gd name="connsiteX5" fmla="*/ 252213 w 265303"/>
                  <a:gd name="connsiteY5" fmla="*/ 13112 h 52424"/>
                  <a:gd name="connsiteX6" fmla="*/ 6556 w 265303"/>
                  <a:gd name="connsiteY6" fmla="*/ 13112 h 52424"/>
                  <a:gd name="connsiteX7" fmla="*/ 0 w 265303"/>
                  <a:gd name="connsiteY7" fmla="*/ 6556 h 52424"/>
                  <a:gd name="connsiteX8" fmla="*/ 6556 w 265303"/>
                  <a:gd name="connsiteY8" fmla="*/ 0 h 52424"/>
                  <a:gd name="connsiteX9" fmla="*/ 258747 w 265303"/>
                  <a:gd name="connsiteY9" fmla="*/ 0 h 52424"/>
                  <a:gd name="connsiteX10" fmla="*/ 265303 w 265303"/>
                  <a:gd name="connsiteY10" fmla="*/ 6556 h 52424"/>
                  <a:gd name="connsiteX11" fmla="*/ 265303 w 265303"/>
                  <a:gd name="connsiteY11" fmla="*/ 45869 h 52424"/>
                  <a:gd name="connsiteX12" fmla="*/ 258747 w 265303"/>
                  <a:gd name="connsiteY12" fmla="*/ 52424 h 5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5303" h="52424">
                    <a:moveTo>
                      <a:pt x="258747" y="52424"/>
                    </a:moveTo>
                    <a:lnTo>
                      <a:pt x="49136" y="52424"/>
                    </a:lnTo>
                    <a:cubicBezTo>
                      <a:pt x="45523" y="52424"/>
                      <a:pt x="42580" y="49482"/>
                      <a:pt x="42580" y="45869"/>
                    </a:cubicBezTo>
                    <a:cubicBezTo>
                      <a:pt x="42580" y="42256"/>
                      <a:pt x="45501" y="39313"/>
                      <a:pt x="49136" y="39313"/>
                    </a:cubicBezTo>
                    <a:lnTo>
                      <a:pt x="252213" y="39313"/>
                    </a:lnTo>
                    <a:lnTo>
                      <a:pt x="252213" y="13112"/>
                    </a:lnTo>
                    <a:lnTo>
                      <a:pt x="6556" y="13112"/>
                    </a:lnTo>
                    <a:cubicBezTo>
                      <a:pt x="2942" y="13112"/>
                      <a:pt x="0" y="10169"/>
                      <a:pt x="0" y="6556"/>
                    </a:cubicBezTo>
                    <a:cubicBezTo>
                      <a:pt x="0" y="2942"/>
                      <a:pt x="2921" y="0"/>
                      <a:pt x="6556" y="0"/>
                    </a:cubicBezTo>
                    <a:lnTo>
                      <a:pt x="258747" y="0"/>
                    </a:lnTo>
                    <a:cubicBezTo>
                      <a:pt x="262361" y="0"/>
                      <a:pt x="265303" y="2942"/>
                      <a:pt x="265303" y="6556"/>
                    </a:cubicBezTo>
                    <a:lnTo>
                      <a:pt x="265303" y="45869"/>
                    </a:lnTo>
                    <a:cubicBezTo>
                      <a:pt x="265303" y="49482"/>
                      <a:pt x="262361" y="52424"/>
                      <a:pt x="258747" y="52424"/>
                    </a:cubicBezTo>
                    <a:close/>
                  </a:path>
                </a:pathLst>
              </a:custGeom>
              <a:solidFill>
                <a:schemeClr val="tx2"/>
              </a:solidFill>
              <a:ln w="2159" cap="flat">
                <a:noFill/>
                <a:prstDash val="solid"/>
                <a:miter/>
              </a:ln>
            </p:spPr>
            <p:txBody>
              <a:bodyPr rtlCol="0" anchor="ctr"/>
              <a:lstStyle/>
              <a:p>
                <a:endParaRPr lang="en-GB" dirty="0"/>
              </a:p>
            </p:txBody>
          </p:sp>
          <p:sp>
            <p:nvSpPr>
              <p:cNvPr id="150" name="Freihandform: Form 245">
                <a:extLst>
                  <a:ext uri="{FF2B5EF4-FFF2-40B4-BE49-F238E27FC236}">
                    <a16:creationId xmlns:a16="http://schemas.microsoft.com/office/drawing/2014/main" id="{2F356592-D60C-4816-BD19-A8EDA5F72DA4}"/>
                  </a:ext>
                </a:extLst>
              </p:cNvPr>
              <p:cNvSpPr/>
              <p:nvPr/>
            </p:nvSpPr>
            <p:spPr>
              <a:xfrm>
                <a:off x="2666869" y="2474772"/>
                <a:ext cx="101636" cy="101636"/>
              </a:xfrm>
              <a:custGeom>
                <a:avLst/>
                <a:gdLst>
                  <a:gd name="connsiteX0" fmla="*/ 52403 w 104805"/>
                  <a:gd name="connsiteY0" fmla="*/ 104806 h 104805"/>
                  <a:gd name="connsiteX1" fmla="*/ 0 w 104805"/>
                  <a:gd name="connsiteY1" fmla="*/ 52403 h 104805"/>
                  <a:gd name="connsiteX2" fmla="*/ 52403 w 104805"/>
                  <a:gd name="connsiteY2" fmla="*/ 0 h 104805"/>
                  <a:gd name="connsiteX3" fmla="*/ 104806 w 104805"/>
                  <a:gd name="connsiteY3" fmla="*/ 52403 h 104805"/>
                  <a:gd name="connsiteX4" fmla="*/ 52403 w 104805"/>
                  <a:gd name="connsiteY4" fmla="*/ 104806 h 104805"/>
                  <a:gd name="connsiteX5" fmla="*/ 52403 w 104805"/>
                  <a:gd name="connsiteY5" fmla="*/ 13090 h 104805"/>
                  <a:gd name="connsiteX6" fmla="*/ 13090 w 104805"/>
                  <a:gd name="connsiteY6" fmla="*/ 52403 h 104805"/>
                  <a:gd name="connsiteX7" fmla="*/ 52403 w 104805"/>
                  <a:gd name="connsiteY7" fmla="*/ 91716 h 104805"/>
                  <a:gd name="connsiteX8" fmla="*/ 91716 w 104805"/>
                  <a:gd name="connsiteY8" fmla="*/ 52403 h 104805"/>
                  <a:gd name="connsiteX9" fmla="*/ 52403 w 104805"/>
                  <a:gd name="connsiteY9" fmla="*/ 13090 h 104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805" h="104805">
                    <a:moveTo>
                      <a:pt x="52403" y="104806"/>
                    </a:moveTo>
                    <a:cubicBezTo>
                      <a:pt x="23497" y="104806"/>
                      <a:pt x="0" y="81287"/>
                      <a:pt x="0" y="52403"/>
                    </a:cubicBezTo>
                    <a:cubicBezTo>
                      <a:pt x="0" y="23497"/>
                      <a:pt x="23519" y="0"/>
                      <a:pt x="52403" y="0"/>
                    </a:cubicBezTo>
                    <a:cubicBezTo>
                      <a:pt x="81287" y="0"/>
                      <a:pt x="104806" y="23519"/>
                      <a:pt x="104806" y="52403"/>
                    </a:cubicBezTo>
                    <a:cubicBezTo>
                      <a:pt x="104806" y="81287"/>
                      <a:pt x="81287" y="104806"/>
                      <a:pt x="52403" y="104806"/>
                    </a:cubicBezTo>
                    <a:close/>
                    <a:moveTo>
                      <a:pt x="52403" y="13090"/>
                    </a:moveTo>
                    <a:cubicBezTo>
                      <a:pt x="30723" y="13090"/>
                      <a:pt x="13090" y="30723"/>
                      <a:pt x="13090" y="52403"/>
                    </a:cubicBezTo>
                    <a:cubicBezTo>
                      <a:pt x="13090" y="74082"/>
                      <a:pt x="30723" y="91716"/>
                      <a:pt x="52403" y="91716"/>
                    </a:cubicBezTo>
                    <a:cubicBezTo>
                      <a:pt x="74082" y="91716"/>
                      <a:pt x="91716" y="74082"/>
                      <a:pt x="91716" y="52403"/>
                    </a:cubicBezTo>
                    <a:cubicBezTo>
                      <a:pt x="91716" y="30723"/>
                      <a:pt x="74082" y="13090"/>
                      <a:pt x="52403" y="13090"/>
                    </a:cubicBezTo>
                    <a:close/>
                  </a:path>
                </a:pathLst>
              </a:custGeom>
              <a:solidFill>
                <a:schemeClr val="tx2"/>
              </a:solidFill>
              <a:ln w="2159" cap="flat">
                <a:noFill/>
                <a:prstDash val="solid"/>
                <a:miter/>
              </a:ln>
            </p:spPr>
            <p:txBody>
              <a:bodyPr rtlCol="0" anchor="ctr"/>
              <a:lstStyle/>
              <a:p>
                <a:endParaRPr lang="en-GB" dirty="0"/>
              </a:p>
            </p:txBody>
          </p:sp>
          <p:sp>
            <p:nvSpPr>
              <p:cNvPr id="151" name="Freihandform: Form 246">
                <a:extLst>
                  <a:ext uri="{FF2B5EF4-FFF2-40B4-BE49-F238E27FC236}">
                    <a16:creationId xmlns:a16="http://schemas.microsoft.com/office/drawing/2014/main" id="{B42940BC-5BBC-48AC-AD7B-5618970CE014}"/>
                  </a:ext>
                </a:extLst>
              </p:cNvPr>
              <p:cNvSpPr/>
              <p:nvPr/>
            </p:nvSpPr>
            <p:spPr>
              <a:xfrm>
                <a:off x="2704972" y="2519233"/>
                <a:ext cx="25430" cy="12715"/>
              </a:xfrm>
              <a:custGeom>
                <a:avLst/>
                <a:gdLst>
                  <a:gd name="connsiteX0" fmla="*/ 19667 w 26223"/>
                  <a:gd name="connsiteY0" fmla="*/ 13112 h 13111"/>
                  <a:gd name="connsiteX1" fmla="*/ 6556 w 26223"/>
                  <a:gd name="connsiteY1" fmla="*/ 13112 h 13111"/>
                  <a:gd name="connsiteX2" fmla="*/ 0 w 26223"/>
                  <a:gd name="connsiteY2" fmla="*/ 6556 h 13111"/>
                  <a:gd name="connsiteX3" fmla="*/ 6556 w 26223"/>
                  <a:gd name="connsiteY3" fmla="*/ 0 h 13111"/>
                  <a:gd name="connsiteX4" fmla="*/ 19667 w 26223"/>
                  <a:gd name="connsiteY4" fmla="*/ 0 h 13111"/>
                  <a:gd name="connsiteX5" fmla="*/ 26223 w 26223"/>
                  <a:gd name="connsiteY5" fmla="*/ 6556 h 13111"/>
                  <a:gd name="connsiteX6" fmla="*/ 19667 w 26223"/>
                  <a:gd name="connsiteY6" fmla="*/ 13112 h 1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23" h="13111">
                    <a:moveTo>
                      <a:pt x="19667" y="13112"/>
                    </a:moveTo>
                    <a:lnTo>
                      <a:pt x="6556" y="13112"/>
                    </a:lnTo>
                    <a:cubicBezTo>
                      <a:pt x="2942" y="13112"/>
                      <a:pt x="0" y="10169"/>
                      <a:pt x="0" y="6556"/>
                    </a:cubicBezTo>
                    <a:cubicBezTo>
                      <a:pt x="0" y="2942"/>
                      <a:pt x="2921" y="0"/>
                      <a:pt x="6556" y="0"/>
                    </a:cubicBezTo>
                    <a:lnTo>
                      <a:pt x="19667" y="0"/>
                    </a:lnTo>
                    <a:cubicBezTo>
                      <a:pt x="23281" y="0"/>
                      <a:pt x="26223" y="2942"/>
                      <a:pt x="26223" y="6556"/>
                    </a:cubicBezTo>
                    <a:cubicBezTo>
                      <a:pt x="26201" y="10169"/>
                      <a:pt x="23281" y="13112"/>
                      <a:pt x="19667" y="13112"/>
                    </a:cubicBezTo>
                    <a:close/>
                  </a:path>
                </a:pathLst>
              </a:custGeom>
              <a:solidFill>
                <a:schemeClr val="tx2"/>
              </a:solidFill>
              <a:ln w="2159" cap="flat">
                <a:noFill/>
                <a:prstDash val="solid"/>
                <a:miter/>
              </a:ln>
            </p:spPr>
            <p:txBody>
              <a:bodyPr rtlCol="0" anchor="ctr"/>
              <a:lstStyle/>
              <a:p>
                <a:endParaRPr lang="en-GB" dirty="0"/>
              </a:p>
            </p:txBody>
          </p:sp>
          <p:sp>
            <p:nvSpPr>
              <p:cNvPr id="152" name="Freihandform: Form 247">
                <a:extLst>
                  <a:ext uri="{FF2B5EF4-FFF2-40B4-BE49-F238E27FC236}">
                    <a16:creationId xmlns:a16="http://schemas.microsoft.com/office/drawing/2014/main" id="{2FCB73D5-2B2A-4485-9988-7CDE65B493A5}"/>
                  </a:ext>
                </a:extLst>
              </p:cNvPr>
              <p:cNvSpPr/>
              <p:nvPr/>
            </p:nvSpPr>
            <p:spPr>
              <a:xfrm>
                <a:off x="2997190" y="2474751"/>
                <a:ext cx="88942" cy="114352"/>
              </a:xfrm>
              <a:custGeom>
                <a:avLst/>
                <a:gdLst>
                  <a:gd name="connsiteX0" fmla="*/ 85160 w 91715"/>
                  <a:gd name="connsiteY0" fmla="*/ 117917 h 117917"/>
                  <a:gd name="connsiteX1" fmla="*/ 6556 w 91715"/>
                  <a:gd name="connsiteY1" fmla="*/ 117917 h 117917"/>
                  <a:gd name="connsiteX2" fmla="*/ 0 w 91715"/>
                  <a:gd name="connsiteY2" fmla="*/ 111362 h 117917"/>
                  <a:gd name="connsiteX3" fmla="*/ 0 w 91715"/>
                  <a:gd name="connsiteY3" fmla="*/ 6556 h 117917"/>
                  <a:gd name="connsiteX4" fmla="*/ 6556 w 91715"/>
                  <a:gd name="connsiteY4" fmla="*/ 0 h 117917"/>
                  <a:gd name="connsiteX5" fmla="*/ 85160 w 91715"/>
                  <a:gd name="connsiteY5" fmla="*/ 0 h 117917"/>
                  <a:gd name="connsiteX6" fmla="*/ 91716 w 91715"/>
                  <a:gd name="connsiteY6" fmla="*/ 6556 h 117917"/>
                  <a:gd name="connsiteX7" fmla="*/ 91716 w 91715"/>
                  <a:gd name="connsiteY7" fmla="*/ 111362 h 117917"/>
                  <a:gd name="connsiteX8" fmla="*/ 85160 w 91715"/>
                  <a:gd name="connsiteY8" fmla="*/ 117917 h 117917"/>
                  <a:gd name="connsiteX9" fmla="*/ 13112 w 91715"/>
                  <a:gd name="connsiteY9" fmla="*/ 104827 h 117917"/>
                  <a:gd name="connsiteX10" fmla="*/ 78626 w 91715"/>
                  <a:gd name="connsiteY10" fmla="*/ 104827 h 117917"/>
                  <a:gd name="connsiteX11" fmla="*/ 78626 w 91715"/>
                  <a:gd name="connsiteY11" fmla="*/ 13112 h 117917"/>
                  <a:gd name="connsiteX12" fmla="*/ 13112 w 91715"/>
                  <a:gd name="connsiteY12" fmla="*/ 13112 h 117917"/>
                  <a:gd name="connsiteX13" fmla="*/ 13112 w 91715"/>
                  <a:gd name="connsiteY13" fmla="*/ 104827 h 117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715" h="117917">
                    <a:moveTo>
                      <a:pt x="85160" y="117917"/>
                    </a:moveTo>
                    <a:lnTo>
                      <a:pt x="6556" y="117917"/>
                    </a:lnTo>
                    <a:cubicBezTo>
                      <a:pt x="2942" y="117917"/>
                      <a:pt x="0" y="114975"/>
                      <a:pt x="0" y="111362"/>
                    </a:cubicBezTo>
                    <a:lnTo>
                      <a:pt x="0" y="6556"/>
                    </a:lnTo>
                    <a:cubicBezTo>
                      <a:pt x="0" y="2943"/>
                      <a:pt x="2921" y="0"/>
                      <a:pt x="6556" y="0"/>
                    </a:cubicBezTo>
                    <a:lnTo>
                      <a:pt x="85160" y="0"/>
                    </a:lnTo>
                    <a:cubicBezTo>
                      <a:pt x="88773" y="0"/>
                      <a:pt x="91716" y="2943"/>
                      <a:pt x="91716" y="6556"/>
                    </a:cubicBezTo>
                    <a:lnTo>
                      <a:pt x="91716" y="111362"/>
                    </a:lnTo>
                    <a:cubicBezTo>
                      <a:pt x="91716" y="114996"/>
                      <a:pt x="88795" y="117917"/>
                      <a:pt x="85160" y="117917"/>
                    </a:cubicBezTo>
                    <a:close/>
                    <a:moveTo>
                      <a:pt x="13112" y="104827"/>
                    </a:moveTo>
                    <a:lnTo>
                      <a:pt x="78626" y="104827"/>
                    </a:lnTo>
                    <a:lnTo>
                      <a:pt x="78626" y="13112"/>
                    </a:lnTo>
                    <a:lnTo>
                      <a:pt x="13112" y="13112"/>
                    </a:lnTo>
                    <a:lnTo>
                      <a:pt x="13112" y="104827"/>
                    </a:lnTo>
                    <a:close/>
                  </a:path>
                </a:pathLst>
              </a:custGeom>
              <a:solidFill>
                <a:schemeClr val="tx2"/>
              </a:solidFill>
              <a:ln w="2159" cap="flat">
                <a:noFill/>
                <a:prstDash val="solid"/>
                <a:miter/>
              </a:ln>
            </p:spPr>
            <p:txBody>
              <a:bodyPr rtlCol="0" anchor="ctr"/>
              <a:lstStyle/>
              <a:p>
                <a:endParaRPr lang="en-GB" dirty="0"/>
              </a:p>
            </p:txBody>
          </p:sp>
          <p:sp>
            <p:nvSpPr>
              <p:cNvPr id="153" name="Freihandform: Form 248">
                <a:extLst>
                  <a:ext uri="{FF2B5EF4-FFF2-40B4-BE49-F238E27FC236}">
                    <a16:creationId xmlns:a16="http://schemas.microsoft.com/office/drawing/2014/main" id="{3AF1DA30-3DDF-4958-92F5-B082F152EC24}"/>
                  </a:ext>
                </a:extLst>
              </p:cNvPr>
              <p:cNvSpPr/>
              <p:nvPr/>
            </p:nvSpPr>
            <p:spPr>
              <a:xfrm>
                <a:off x="3009905" y="2449341"/>
                <a:ext cx="63556" cy="38123"/>
              </a:xfrm>
              <a:custGeom>
                <a:avLst/>
                <a:gdLst>
                  <a:gd name="connsiteX0" fmla="*/ 58959 w 65537"/>
                  <a:gd name="connsiteY0" fmla="*/ 39313 h 39312"/>
                  <a:gd name="connsiteX1" fmla="*/ 6556 w 65537"/>
                  <a:gd name="connsiteY1" fmla="*/ 39313 h 39312"/>
                  <a:gd name="connsiteX2" fmla="*/ 0 w 65537"/>
                  <a:gd name="connsiteY2" fmla="*/ 32757 h 39312"/>
                  <a:gd name="connsiteX3" fmla="*/ 0 w 65537"/>
                  <a:gd name="connsiteY3" fmla="*/ 6556 h 39312"/>
                  <a:gd name="connsiteX4" fmla="*/ 6556 w 65537"/>
                  <a:gd name="connsiteY4" fmla="*/ 0 h 39312"/>
                  <a:gd name="connsiteX5" fmla="*/ 45869 w 65537"/>
                  <a:gd name="connsiteY5" fmla="*/ 0 h 39312"/>
                  <a:gd name="connsiteX6" fmla="*/ 51732 w 65537"/>
                  <a:gd name="connsiteY6" fmla="*/ 3613 h 39312"/>
                  <a:gd name="connsiteX7" fmla="*/ 64844 w 65537"/>
                  <a:gd name="connsiteY7" fmla="*/ 29815 h 39312"/>
                  <a:gd name="connsiteX8" fmla="*/ 64562 w 65537"/>
                  <a:gd name="connsiteY8" fmla="*/ 36197 h 39312"/>
                  <a:gd name="connsiteX9" fmla="*/ 58959 w 65537"/>
                  <a:gd name="connsiteY9" fmla="*/ 39313 h 39312"/>
                  <a:gd name="connsiteX10" fmla="*/ 13090 w 65537"/>
                  <a:gd name="connsiteY10" fmla="*/ 26223 h 39312"/>
                  <a:gd name="connsiteX11" fmla="*/ 48335 w 65537"/>
                  <a:gd name="connsiteY11" fmla="*/ 26223 h 39312"/>
                  <a:gd name="connsiteX12" fmla="*/ 41780 w 65537"/>
                  <a:gd name="connsiteY12" fmla="*/ 13112 h 39312"/>
                  <a:gd name="connsiteX13" fmla="*/ 13068 w 65537"/>
                  <a:gd name="connsiteY13" fmla="*/ 13112 h 39312"/>
                  <a:gd name="connsiteX14" fmla="*/ 13068 w 65537"/>
                  <a:gd name="connsiteY14" fmla="*/ 26223 h 3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5537" h="39312">
                    <a:moveTo>
                      <a:pt x="58959" y="39313"/>
                    </a:moveTo>
                    <a:lnTo>
                      <a:pt x="6556" y="39313"/>
                    </a:lnTo>
                    <a:cubicBezTo>
                      <a:pt x="2942" y="39313"/>
                      <a:pt x="0" y="36370"/>
                      <a:pt x="0" y="32757"/>
                    </a:cubicBezTo>
                    <a:lnTo>
                      <a:pt x="0" y="6556"/>
                    </a:lnTo>
                    <a:cubicBezTo>
                      <a:pt x="0" y="2942"/>
                      <a:pt x="2921" y="0"/>
                      <a:pt x="6556" y="0"/>
                    </a:cubicBezTo>
                    <a:lnTo>
                      <a:pt x="45869" y="0"/>
                    </a:lnTo>
                    <a:cubicBezTo>
                      <a:pt x="48357" y="0"/>
                      <a:pt x="50607" y="1406"/>
                      <a:pt x="51732" y="3613"/>
                    </a:cubicBezTo>
                    <a:lnTo>
                      <a:pt x="64844" y="29815"/>
                    </a:lnTo>
                    <a:cubicBezTo>
                      <a:pt x="65861" y="31849"/>
                      <a:pt x="65752" y="34250"/>
                      <a:pt x="64562" y="36197"/>
                    </a:cubicBezTo>
                    <a:cubicBezTo>
                      <a:pt x="63329" y="38145"/>
                      <a:pt x="61230" y="39313"/>
                      <a:pt x="58959" y="39313"/>
                    </a:cubicBezTo>
                    <a:close/>
                    <a:moveTo>
                      <a:pt x="13090" y="26223"/>
                    </a:moveTo>
                    <a:lnTo>
                      <a:pt x="48335" y="26223"/>
                    </a:lnTo>
                    <a:lnTo>
                      <a:pt x="41780" y="13112"/>
                    </a:lnTo>
                    <a:lnTo>
                      <a:pt x="13068" y="13112"/>
                    </a:lnTo>
                    <a:lnTo>
                      <a:pt x="13068" y="26223"/>
                    </a:lnTo>
                    <a:close/>
                  </a:path>
                </a:pathLst>
              </a:custGeom>
              <a:solidFill>
                <a:schemeClr val="tx2"/>
              </a:solidFill>
              <a:ln w="2159" cap="flat">
                <a:noFill/>
                <a:prstDash val="solid"/>
                <a:miter/>
              </a:ln>
            </p:spPr>
            <p:txBody>
              <a:bodyPr rtlCol="0" anchor="ctr"/>
              <a:lstStyle/>
              <a:p>
                <a:endParaRPr lang="en-GB" dirty="0"/>
              </a:p>
            </p:txBody>
          </p:sp>
          <p:sp>
            <p:nvSpPr>
              <p:cNvPr id="155" name="Freihandform: Form 250">
                <a:extLst>
                  <a:ext uri="{FF2B5EF4-FFF2-40B4-BE49-F238E27FC236}">
                    <a16:creationId xmlns:a16="http://schemas.microsoft.com/office/drawing/2014/main" id="{13785422-873C-4C89-BD76-1FA59D29A6D7}"/>
                  </a:ext>
                </a:extLst>
              </p:cNvPr>
              <p:cNvSpPr/>
              <p:nvPr/>
            </p:nvSpPr>
            <p:spPr>
              <a:xfrm>
                <a:off x="3054366" y="2519233"/>
                <a:ext cx="31767" cy="12715"/>
              </a:xfrm>
              <a:custGeom>
                <a:avLst/>
                <a:gdLst>
                  <a:gd name="connsiteX0" fmla="*/ 26201 w 32757"/>
                  <a:gd name="connsiteY0" fmla="*/ 13112 h 13111"/>
                  <a:gd name="connsiteX1" fmla="*/ 6556 w 32757"/>
                  <a:gd name="connsiteY1" fmla="*/ 13112 h 13111"/>
                  <a:gd name="connsiteX2" fmla="*/ 0 w 32757"/>
                  <a:gd name="connsiteY2" fmla="*/ 6556 h 13111"/>
                  <a:gd name="connsiteX3" fmla="*/ 6556 w 32757"/>
                  <a:gd name="connsiteY3" fmla="*/ 0 h 13111"/>
                  <a:gd name="connsiteX4" fmla="*/ 26201 w 32757"/>
                  <a:gd name="connsiteY4" fmla="*/ 0 h 13111"/>
                  <a:gd name="connsiteX5" fmla="*/ 32757 w 32757"/>
                  <a:gd name="connsiteY5" fmla="*/ 6556 h 13111"/>
                  <a:gd name="connsiteX6" fmla="*/ 26201 w 32757"/>
                  <a:gd name="connsiteY6" fmla="*/ 13112 h 1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57" h="13111">
                    <a:moveTo>
                      <a:pt x="26201" y="13112"/>
                    </a:moveTo>
                    <a:lnTo>
                      <a:pt x="6556" y="13112"/>
                    </a:lnTo>
                    <a:cubicBezTo>
                      <a:pt x="2942" y="13112"/>
                      <a:pt x="0" y="10169"/>
                      <a:pt x="0" y="6556"/>
                    </a:cubicBezTo>
                    <a:cubicBezTo>
                      <a:pt x="0" y="2942"/>
                      <a:pt x="2921" y="0"/>
                      <a:pt x="6556" y="0"/>
                    </a:cubicBezTo>
                    <a:lnTo>
                      <a:pt x="26201" y="0"/>
                    </a:lnTo>
                    <a:cubicBezTo>
                      <a:pt x="29815" y="0"/>
                      <a:pt x="32757" y="2942"/>
                      <a:pt x="32757" y="6556"/>
                    </a:cubicBezTo>
                    <a:cubicBezTo>
                      <a:pt x="32757" y="10169"/>
                      <a:pt x="29836" y="13112"/>
                      <a:pt x="26201" y="13112"/>
                    </a:cubicBezTo>
                    <a:close/>
                  </a:path>
                </a:pathLst>
              </a:custGeom>
              <a:solidFill>
                <a:schemeClr val="tx2"/>
              </a:solidFill>
              <a:ln w="2159" cap="flat">
                <a:noFill/>
                <a:prstDash val="solid"/>
                <a:miter/>
              </a:ln>
            </p:spPr>
            <p:txBody>
              <a:bodyPr rtlCol="0" anchor="ctr"/>
              <a:lstStyle/>
              <a:p>
                <a:endParaRPr lang="en-GB" dirty="0"/>
              </a:p>
            </p:txBody>
          </p:sp>
          <p:sp>
            <p:nvSpPr>
              <p:cNvPr id="156" name="Freihandform: Form 251">
                <a:extLst>
                  <a:ext uri="{FF2B5EF4-FFF2-40B4-BE49-F238E27FC236}">
                    <a16:creationId xmlns:a16="http://schemas.microsoft.com/office/drawing/2014/main" id="{898B6F63-E9F6-42C9-8A87-4C9DA2E5678A}"/>
                  </a:ext>
                </a:extLst>
              </p:cNvPr>
              <p:cNvSpPr/>
              <p:nvPr/>
            </p:nvSpPr>
            <p:spPr>
              <a:xfrm>
                <a:off x="2997190" y="2519233"/>
                <a:ext cx="31767" cy="12715"/>
              </a:xfrm>
              <a:custGeom>
                <a:avLst/>
                <a:gdLst>
                  <a:gd name="connsiteX0" fmla="*/ 26201 w 32757"/>
                  <a:gd name="connsiteY0" fmla="*/ 13112 h 13111"/>
                  <a:gd name="connsiteX1" fmla="*/ 6556 w 32757"/>
                  <a:gd name="connsiteY1" fmla="*/ 13112 h 13111"/>
                  <a:gd name="connsiteX2" fmla="*/ 0 w 32757"/>
                  <a:gd name="connsiteY2" fmla="*/ 6556 h 13111"/>
                  <a:gd name="connsiteX3" fmla="*/ 6556 w 32757"/>
                  <a:gd name="connsiteY3" fmla="*/ 0 h 13111"/>
                  <a:gd name="connsiteX4" fmla="*/ 26201 w 32757"/>
                  <a:gd name="connsiteY4" fmla="*/ 0 h 13111"/>
                  <a:gd name="connsiteX5" fmla="*/ 32757 w 32757"/>
                  <a:gd name="connsiteY5" fmla="*/ 6556 h 13111"/>
                  <a:gd name="connsiteX6" fmla="*/ 26201 w 32757"/>
                  <a:gd name="connsiteY6" fmla="*/ 13112 h 1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57" h="13111">
                    <a:moveTo>
                      <a:pt x="26201" y="13112"/>
                    </a:moveTo>
                    <a:lnTo>
                      <a:pt x="6556" y="13112"/>
                    </a:lnTo>
                    <a:cubicBezTo>
                      <a:pt x="2942" y="13112"/>
                      <a:pt x="0" y="10169"/>
                      <a:pt x="0" y="6556"/>
                    </a:cubicBezTo>
                    <a:cubicBezTo>
                      <a:pt x="0" y="2942"/>
                      <a:pt x="2921" y="0"/>
                      <a:pt x="6556" y="0"/>
                    </a:cubicBezTo>
                    <a:lnTo>
                      <a:pt x="26201" y="0"/>
                    </a:lnTo>
                    <a:cubicBezTo>
                      <a:pt x="29815" y="0"/>
                      <a:pt x="32757" y="2942"/>
                      <a:pt x="32757" y="6556"/>
                    </a:cubicBezTo>
                    <a:cubicBezTo>
                      <a:pt x="32757" y="10169"/>
                      <a:pt x="29836" y="13112"/>
                      <a:pt x="26201" y="13112"/>
                    </a:cubicBezTo>
                    <a:close/>
                  </a:path>
                </a:pathLst>
              </a:custGeom>
              <a:solidFill>
                <a:schemeClr val="tx2"/>
              </a:solidFill>
              <a:ln w="2159" cap="flat">
                <a:noFill/>
                <a:prstDash val="solid"/>
                <a:miter/>
              </a:ln>
            </p:spPr>
            <p:txBody>
              <a:bodyPr rtlCol="0" anchor="ctr"/>
              <a:lstStyle/>
              <a:p>
                <a:endParaRPr lang="en-GB" dirty="0"/>
              </a:p>
            </p:txBody>
          </p:sp>
        </p:grpSp>
      </p:grpSp>
      <p:grpSp>
        <p:nvGrpSpPr>
          <p:cNvPr id="30" name="Group 29">
            <a:extLst>
              <a:ext uri="{FF2B5EF4-FFF2-40B4-BE49-F238E27FC236}">
                <a16:creationId xmlns:a16="http://schemas.microsoft.com/office/drawing/2014/main" id="{19D02796-938D-4EE2-82B3-3B5E787BEF3F}"/>
              </a:ext>
            </a:extLst>
          </p:cNvPr>
          <p:cNvGrpSpPr/>
          <p:nvPr/>
        </p:nvGrpSpPr>
        <p:grpSpPr>
          <a:xfrm>
            <a:off x="3726025" y="2391526"/>
            <a:ext cx="408652" cy="432000"/>
            <a:chOff x="3726025" y="2391526"/>
            <a:chExt cx="408652" cy="432000"/>
          </a:xfrm>
          <a:solidFill>
            <a:schemeClr val="tx2"/>
          </a:solidFill>
        </p:grpSpPr>
        <p:grpSp>
          <p:nvGrpSpPr>
            <p:cNvPr id="158" name="Group 157">
              <a:extLst>
                <a:ext uri="{FF2B5EF4-FFF2-40B4-BE49-F238E27FC236}">
                  <a16:creationId xmlns:a16="http://schemas.microsoft.com/office/drawing/2014/main" id="{C85F7C93-1C91-407E-AC18-7BEEF56D0008}"/>
                </a:ext>
              </a:extLst>
            </p:cNvPr>
            <p:cNvGrpSpPr/>
            <p:nvPr/>
          </p:nvGrpSpPr>
          <p:grpSpPr>
            <a:xfrm>
              <a:off x="3726025" y="2391526"/>
              <a:ext cx="408652" cy="432000"/>
              <a:chOff x="2495067" y="3258993"/>
              <a:chExt cx="458580" cy="484781"/>
            </a:xfrm>
            <a:grpFill/>
          </p:grpSpPr>
          <p:grpSp>
            <p:nvGrpSpPr>
              <p:cNvPr id="166" name="Grafik 2">
                <a:extLst>
                  <a:ext uri="{FF2B5EF4-FFF2-40B4-BE49-F238E27FC236}">
                    <a16:creationId xmlns:a16="http://schemas.microsoft.com/office/drawing/2014/main" id="{CCEDFE15-11EC-4465-A96E-5DB266F37EBB}"/>
                  </a:ext>
                </a:extLst>
              </p:cNvPr>
              <p:cNvGrpSpPr/>
              <p:nvPr/>
            </p:nvGrpSpPr>
            <p:grpSpPr>
              <a:xfrm>
                <a:off x="2652298" y="3350731"/>
                <a:ext cx="301349" cy="393043"/>
                <a:chOff x="2652298" y="3350731"/>
                <a:chExt cx="301349" cy="393043"/>
              </a:xfrm>
              <a:grpFill/>
            </p:grpSpPr>
            <p:sp>
              <p:nvSpPr>
                <p:cNvPr id="170" name="Freihandform: Form 380">
                  <a:extLst>
                    <a:ext uri="{FF2B5EF4-FFF2-40B4-BE49-F238E27FC236}">
                      <a16:creationId xmlns:a16="http://schemas.microsoft.com/office/drawing/2014/main" id="{13203F99-5F9C-48D5-B783-423A4ED6E4C0}"/>
                    </a:ext>
                  </a:extLst>
                </p:cNvPr>
                <p:cNvSpPr/>
                <p:nvPr/>
              </p:nvSpPr>
              <p:spPr>
                <a:xfrm>
                  <a:off x="2652298" y="3350731"/>
                  <a:ext cx="301349" cy="393043"/>
                </a:xfrm>
                <a:custGeom>
                  <a:avLst/>
                  <a:gdLst>
                    <a:gd name="connsiteX0" fmla="*/ 262036 w 301349"/>
                    <a:gd name="connsiteY0" fmla="*/ 393044 h 393043"/>
                    <a:gd name="connsiteX1" fmla="*/ 39313 w 301349"/>
                    <a:gd name="connsiteY1" fmla="*/ 393044 h 393043"/>
                    <a:gd name="connsiteX2" fmla="*/ 0 w 301349"/>
                    <a:gd name="connsiteY2" fmla="*/ 353730 h 393043"/>
                    <a:gd name="connsiteX3" fmla="*/ 0 w 301349"/>
                    <a:gd name="connsiteY3" fmla="*/ 39313 h 393043"/>
                    <a:gd name="connsiteX4" fmla="*/ 39313 w 301349"/>
                    <a:gd name="connsiteY4" fmla="*/ 0 h 393043"/>
                    <a:gd name="connsiteX5" fmla="*/ 262036 w 301349"/>
                    <a:gd name="connsiteY5" fmla="*/ 0 h 393043"/>
                    <a:gd name="connsiteX6" fmla="*/ 301349 w 301349"/>
                    <a:gd name="connsiteY6" fmla="*/ 39313 h 393043"/>
                    <a:gd name="connsiteX7" fmla="*/ 301349 w 301349"/>
                    <a:gd name="connsiteY7" fmla="*/ 353752 h 393043"/>
                    <a:gd name="connsiteX8" fmla="*/ 262036 w 301349"/>
                    <a:gd name="connsiteY8" fmla="*/ 393044 h 393043"/>
                    <a:gd name="connsiteX9" fmla="*/ 39313 w 301349"/>
                    <a:gd name="connsiteY9" fmla="*/ 13112 h 393043"/>
                    <a:gd name="connsiteX10" fmla="*/ 13112 w 301349"/>
                    <a:gd name="connsiteY10" fmla="*/ 39313 h 393043"/>
                    <a:gd name="connsiteX11" fmla="*/ 13112 w 301349"/>
                    <a:gd name="connsiteY11" fmla="*/ 353752 h 393043"/>
                    <a:gd name="connsiteX12" fmla="*/ 39313 w 301349"/>
                    <a:gd name="connsiteY12" fmla="*/ 379953 h 393043"/>
                    <a:gd name="connsiteX13" fmla="*/ 262036 w 301349"/>
                    <a:gd name="connsiteY13" fmla="*/ 379953 h 393043"/>
                    <a:gd name="connsiteX14" fmla="*/ 288238 w 301349"/>
                    <a:gd name="connsiteY14" fmla="*/ 353752 h 393043"/>
                    <a:gd name="connsiteX15" fmla="*/ 288238 w 301349"/>
                    <a:gd name="connsiteY15" fmla="*/ 39313 h 393043"/>
                    <a:gd name="connsiteX16" fmla="*/ 262036 w 301349"/>
                    <a:gd name="connsiteY16" fmla="*/ 13112 h 393043"/>
                    <a:gd name="connsiteX17" fmla="*/ 39313 w 301349"/>
                    <a:gd name="connsiteY17" fmla="*/ 13112 h 393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1349" h="393043">
                      <a:moveTo>
                        <a:pt x="262036" y="393044"/>
                      </a:moveTo>
                      <a:lnTo>
                        <a:pt x="39313" y="393044"/>
                      </a:lnTo>
                      <a:cubicBezTo>
                        <a:pt x="17633" y="393044"/>
                        <a:pt x="0" y="375410"/>
                        <a:pt x="0" y="353730"/>
                      </a:cubicBezTo>
                      <a:lnTo>
                        <a:pt x="0" y="39313"/>
                      </a:lnTo>
                      <a:cubicBezTo>
                        <a:pt x="0" y="17634"/>
                        <a:pt x="17633" y="0"/>
                        <a:pt x="39313" y="0"/>
                      </a:cubicBezTo>
                      <a:lnTo>
                        <a:pt x="262036" y="0"/>
                      </a:lnTo>
                      <a:cubicBezTo>
                        <a:pt x="283716" y="0"/>
                        <a:pt x="301349" y="17634"/>
                        <a:pt x="301349" y="39313"/>
                      </a:cubicBezTo>
                      <a:lnTo>
                        <a:pt x="301349" y="353752"/>
                      </a:lnTo>
                      <a:cubicBezTo>
                        <a:pt x="301327" y="375410"/>
                        <a:pt x="283694" y="393044"/>
                        <a:pt x="262036" y="393044"/>
                      </a:cubicBezTo>
                      <a:close/>
                      <a:moveTo>
                        <a:pt x="39313" y="13112"/>
                      </a:moveTo>
                      <a:cubicBezTo>
                        <a:pt x="24860" y="13112"/>
                        <a:pt x="13112" y="24860"/>
                        <a:pt x="13112" y="39313"/>
                      </a:cubicBezTo>
                      <a:lnTo>
                        <a:pt x="13112" y="353752"/>
                      </a:lnTo>
                      <a:cubicBezTo>
                        <a:pt x="13112" y="368205"/>
                        <a:pt x="24860" y="379953"/>
                        <a:pt x="39313" y="379953"/>
                      </a:cubicBezTo>
                      <a:lnTo>
                        <a:pt x="262036" y="379953"/>
                      </a:lnTo>
                      <a:cubicBezTo>
                        <a:pt x="276489" y="379953"/>
                        <a:pt x="288238" y="368205"/>
                        <a:pt x="288238" y="353752"/>
                      </a:cubicBezTo>
                      <a:lnTo>
                        <a:pt x="288238" y="39313"/>
                      </a:lnTo>
                      <a:cubicBezTo>
                        <a:pt x="288238" y="24860"/>
                        <a:pt x="276489" y="13112"/>
                        <a:pt x="262036" y="13112"/>
                      </a:cubicBezTo>
                      <a:lnTo>
                        <a:pt x="39313" y="13112"/>
                      </a:lnTo>
                      <a:close/>
                    </a:path>
                  </a:pathLst>
                </a:custGeom>
                <a:grpFill/>
                <a:ln w="2159" cap="flat">
                  <a:noFill/>
                  <a:prstDash val="solid"/>
                  <a:miter/>
                </a:ln>
              </p:spPr>
              <p:txBody>
                <a:bodyPr rtlCol="0" anchor="ctr"/>
                <a:lstStyle/>
                <a:p>
                  <a:endParaRPr lang="en-GB" dirty="0"/>
                </a:p>
              </p:txBody>
            </p:sp>
            <p:sp>
              <p:nvSpPr>
                <p:cNvPr id="171" name="Freihandform: Form 381">
                  <a:extLst>
                    <a:ext uri="{FF2B5EF4-FFF2-40B4-BE49-F238E27FC236}">
                      <a16:creationId xmlns:a16="http://schemas.microsoft.com/office/drawing/2014/main" id="{3FAB2D38-C412-420C-A05A-FCCB74A36586}"/>
                    </a:ext>
                  </a:extLst>
                </p:cNvPr>
                <p:cNvSpPr/>
                <p:nvPr/>
              </p:nvSpPr>
              <p:spPr>
                <a:xfrm>
                  <a:off x="2685055" y="3396600"/>
                  <a:ext cx="235834" cy="294771"/>
                </a:xfrm>
                <a:custGeom>
                  <a:avLst/>
                  <a:gdLst>
                    <a:gd name="connsiteX0" fmla="*/ 229279 w 235834"/>
                    <a:gd name="connsiteY0" fmla="*/ 294772 h 294771"/>
                    <a:gd name="connsiteX1" fmla="*/ 6556 w 235834"/>
                    <a:gd name="connsiteY1" fmla="*/ 294772 h 294771"/>
                    <a:gd name="connsiteX2" fmla="*/ 0 w 235834"/>
                    <a:gd name="connsiteY2" fmla="*/ 288216 h 294771"/>
                    <a:gd name="connsiteX3" fmla="*/ 0 w 235834"/>
                    <a:gd name="connsiteY3" fmla="*/ 6556 h 294771"/>
                    <a:gd name="connsiteX4" fmla="*/ 6556 w 235834"/>
                    <a:gd name="connsiteY4" fmla="*/ 0 h 294771"/>
                    <a:gd name="connsiteX5" fmla="*/ 229279 w 235834"/>
                    <a:gd name="connsiteY5" fmla="*/ 0 h 294771"/>
                    <a:gd name="connsiteX6" fmla="*/ 235835 w 235834"/>
                    <a:gd name="connsiteY6" fmla="*/ 6556 h 294771"/>
                    <a:gd name="connsiteX7" fmla="*/ 235835 w 235834"/>
                    <a:gd name="connsiteY7" fmla="*/ 288238 h 294771"/>
                    <a:gd name="connsiteX8" fmla="*/ 229279 w 235834"/>
                    <a:gd name="connsiteY8" fmla="*/ 294772 h 294771"/>
                    <a:gd name="connsiteX9" fmla="*/ 13090 w 235834"/>
                    <a:gd name="connsiteY9" fmla="*/ 281682 h 294771"/>
                    <a:gd name="connsiteX10" fmla="*/ 222702 w 235834"/>
                    <a:gd name="connsiteY10" fmla="*/ 281682 h 294771"/>
                    <a:gd name="connsiteX11" fmla="*/ 222702 w 235834"/>
                    <a:gd name="connsiteY11" fmla="*/ 13090 h 294771"/>
                    <a:gd name="connsiteX12" fmla="*/ 13090 w 235834"/>
                    <a:gd name="connsiteY12" fmla="*/ 13090 h 294771"/>
                    <a:gd name="connsiteX13" fmla="*/ 13090 w 235834"/>
                    <a:gd name="connsiteY13" fmla="*/ 281682 h 294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5834" h="294771">
                      <a:moveTo>
                        <a:pt x="229279" y="294772"/>
                      </a:moveTo>
                      <a:lnTo>
                        <a:pt x="6556" y="294772"/>
                      </a:lnTo>
                      <a:cubicBezTo>
                        <a:pt x="2943" y="294772"/>
                        <a:pt x="0" y="291851"/>
                        <a:pt x="0" y="288216"/>
                      </a:cubicBezTo>
                      <a:lnTo>
                        <a:pt x="0" y="6556"/>
                      </a:lnTo>
                      <a:cubicBezTo>
                        <a:pt x="0" y="2942"/>
                        <a:pt x="2921" y="0"/>
                        <a:pt x="6556" y="0"/>
                      </a:cubicBezTo>
                      <a:lnTo>
                        <a:pt x="229279" y="0"/>
                      </a:lnTo>
                      <a:cubicBezTo>
                        <a:pt x="232892" y="0"/>
                        <a:pt x="235835" y="2921"/>
                        <a:pt x="235835" y="6556"/>
                      </a:cubicBezTo>
                      <a:lnTo>
                        <a:pt x="235835" y="288238"/>
                      </a:lnTo>
                      <a:cubicBezTo>
                        <a:pt x="235813" y="291851"/>
                        <a:pt x="232892" y="294772"/>
                        <a:pt x="229279" y="294772"/>
                      </a:cubicBezTo>
                      <a:close/>
                      <a:moveTo>
                        <a:pt x="13090" y="281682"/>
                      </a:moveTo>
                      <a:lnTo>
                        <a:pt x="222702" y="281682"/>
                      </a:lnTo>
                      <a:lnTo>
                        <a:pt x="222702" y="13090"/>
                      </a:lnTo>
                      <a:lnTo>
                        <a:pt x="13090" y="13090"/>
                      </a:lnTo>
                      <a:lnTo>
                        <a:pt x="13090" y="281682"/>
                      </a:lnTo>
                      <a:close/>
                    </a:path>
                  </a:pathLst>
                </a:custGeom>
                <a:grpFill/>
                <a:ln w="2159" cap="flat">
                  <a:noFill/>
                  <a:prstDash val="solid"/>
                  <a:miter/>
                </a:ln>
              </p:spPr>
              <p:txBody>
                <a:bodyPr rtlCol="0" anchor="ctr"/>
                <a:lstStyle/>
                <a:p>
                  <a:endParaRPr lang="en-GB" dirty="0"/>
                </a:p>
              </p:txBody>
            </p:sp>
            <p:sp>
              <p:nvSpPr>
                <p:cNvPr id="172" name="Freihandform: Form 382">
                  <a:extLst>
                    <a:ext uri="{FF2B5EF4-FFF2-40B4-BE49-F238E27FC236}">
                      <a16:creationId xmlns:a16="http://schemas.microsoft.com/office/drawing/2014/main" id="{C599B29F-E8E8-4A84-AE68-54D2972BE44D}"/>
                    </a:ext>
                  </a:extLst>
                </p:cNvPr>
                <p:cNvSpPr/>
                <p:nvPr/>
              </p:nvSpPr>
              <p:spPr>
                <a:xfrm>
                  <a:off x="2776749" y="3704461"/>
                  <a:ext cx="45868" cy="13111"/>
                </a:xfrm>
                <a:custGeom>
                  <a:avLst/>
                  <a:gdLst>
                    <a:gd name="connsiteX0" fmla="*/ 39313 w 45868"/>
                    <a:gd name="connsiteY0" fmla="*/ 13112 h 13111"/>
                    <a:gd name="connsiteX1" fmla="*/ 6556 w 45868"/>
                    <a:gd name="connsiteY1" fmla="*/ 13112 h 13111"/>
                    <a:gd name="connsiteX2" fmla="*/ 0 w 45868"/>
                    <a:gd name="connsiteY2" fmla="*/ 6556 h 13111"/>
                    <a:gd name="connsiteX3" fmla="*/ 6556 w 45868"/>
                    <a:gd name="connsiteY3" fmla="*/ 0 h 13111"/>
                    <a:gd name="connsiteX4" fmla="*/ 39313 w 45868"/>
                    <a:gd name="connsiteY4" fmla="*/ 0 h 13111"/>
                    <a:gd name="connsiteX5" fmla="*/ 45869 w 45868"/>
                    <a:gd name="connsiteY5" fmla="*/ 6556 h 13111"/>
                    <a:gd name="connsiteX6" fmla="*/ 39313 w 45868"/>
                    <a:gd name="connsiteY6" fmla="*/ 13112 h 1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68" h="13111">
                      <a:moveTo>
                        <a:pt x="39313" y="13112"/>
                      </a:moveTo>
                      <a:lnTo>
                        <a:pt x="6556" y="13112"/>
                      </a:lnTo>
                      <a:cubicBezTo>
                        <a:pt x="2943" y="13112"/>
                        <a:pt x="0" y="10191"/>
                        <a:pt x="0" y="6556"/>
                      </a:cubicBezTo>
                      <a:cubicBezTo>
                        <a:pt x="0" y="2943"/>
                        <a:pt x="2921" y="0"/>
                        <a:pt x="6556" y="0"/>
                      </a:cubicBezTo>
                      <a:lnTo>
                        <a:pt x="39313" y="0"/>
                      </a:lnTo>
                      <a:cubicBezTo>
                        <a:pt x="42926" y="0"/>
                        <a:pt x="45869" y="2921"/>
                        <a:pt x="45869" y="6556"/>
                      </a:cubicBezTo>
                      <a:cubicBezTo>
                        <a:pt x="45869" y="10191"/>
                        <a:pt x="42926" y="13112"/>
                        <a:pt x="39313" y="13112"/>
                      </a:cubicBezTo>
                      <a:close/>
                    </a:path>
                  </a:pathLst>
                </a:custGeom>
                <a:grpFill/>
                <a:ln w="2159" cap="flat">
                  <a:noFill/>
                  <a:prstDash val="solid"/>
                  <a:miter/>
                </a:ln>
              </p:spPr>
              <p:txBody>
                <a:bodyPr rtlCol="0" anchor="ctr"/>
                <a:lstStyle/>
                <a:p>
                  <a:endParaRPr lang="en-GB" dirty="0"/>
                </a:p>
              </p:txBody>
            </p:sp>
          </p:grpSp>
          <p:sp>
            <p:nvSpPr>
              <p:cNvPr id="167" name="Freihandform: Form 383">
                <a:extLst>
                  <a:ext uri="{FF2B5EF4-FFF2-40B4-BE49-F238E27FC236}">
                    <a16:creationId xmlns:a16="http://schemas.microsoft.com/office/drawing/2014/main" id="{993E3330-B9CE-4906-9FEB-1621C60E16A6}"/>
                  </a:ext>
                </a:extLst>
              </p:cNvPr>
              <p:cNvSpPr/>
              <p:nvPr/>
            </p:nvSpPr>
            <p:spPr>
              <a:xfrm>
                <a:off x="2495067" y="3258993"/>
                <a:ext cx="229300" cy="314460"/>
              </a:xfrm>
              <a:custGeom>
                <a:avLst/>
                <a:gdLst>
                  <a:gd name="connsiteX0" fmla="*/ 163786 w 229300"/>
                  <a:gd name="connsiteY0" fmla="*/ 314461 h 314460"/>
                  <a:gd name="connsiteX1" fmla="*/ 39313 w 229300"/>
                  <a:gd name="connsiteY1" fmla="*/ 314461 h 314460"/>
                  <a:gd name="connsiteX2" fmla="*/ 0 w 229300"/>
                  <a:gd name="connsiteY2" fmla="*/ 275148 h 314460"/>
                  <a:gd name="connsiteX3" fmla="*/ 0 w 229300"/>
                  <a:gd name="connsiteY3" fmla="*/ 39313 h 314460"/>
                  <a:gd name="connsiteX4" fmla="*/ 39313 w 229300"/>
                  <a:gd name="connsiteY4" fmla="*/ 0 h 314460"/>
                  <a:gd name="connsiteX5" fmla="*/ 189988 w 229300"/>
                  <a:gd name="connsiteY5" fmla="*/ 0 h 314460"/>
                  <a:gd name="connsiteX6" fmla="*/ 229301 w 229300"/>
                  <a:gd name="connsiteY6" fmla="*/ 39313 h 314460"/>
                  <a:gd name="connsiteX7" fmla="*/ 229301 w 229300"/>
                  <a:gd name="connsiteY7" fmla="*/ 98272 h 314460"/>
                  <a:gd name="connsiteX8" fmla="*/ 222745 w 229300"/>
                  <a:gd name="connsiteY8" fmla="*/ 104827 h 314460"/>
                  <a:gd name="connsiteX9" fmla="*/ 216189 w 229300"/>
                  <a:gd name="connsiteY9" fmla="*/ 98272 h 314460"/>
                  <a:gd name="connsiteX10" fmla="*/ 216189 w 229300"/>
                  <a:gd name="connsiteY10" fmla="*/ 39313 h 314460"/>
                  <a:gd name="connsiteX11" fmla="*/ 189988 w 229300"/>
                  <a:gd name="connsiteY11" fmla="*/ 13112 h 314460"/>
                  <a:gd name="connsiteX12" fmla="*/ 39313 w 229300"/>
                  <a:gd name="connsiteY12" fmla="*/ 13112 h 314460"/>
                  <a:gd name="connsiteX13" fmla="*/ 13112 w 229300"/>
                  <a:gd name="connsiteY13" fmla="*/ 39313 h 314460"/>
                  <a:gd name="connsiteX14" fmla="*/ 13112 w 229300"/>
                  <a:gd name="connsiteY14" fmla="*/ 275148 h 314460"/>
                  <a:gd name="connsiteX15" fmla="*/ 39313 w 229300"/>
                  <a:gd name="connsiteY15" fmla="*/ 301349 h 314460"/>
                  <a:gd name="connsiteX16" fmla="*/ 163786 w 229300"/>
                  <a:gd name="connsiteY16" fmla="*/ 301349 h 314460"/>
                  <a:gd name="connsiteX17" fmla="*/ 170342 w 229300"/>
                  <a:gd name="connsiteY17" fmla="*/ 307905 h 314460"/>
                  <a:gd name="connsiteX18" fmla="*/ 163786 w 229300"/>
                  <a:gd name="connsiteY18" fmla="*/ 314461 h 314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9300" h="314460">
                    <a:moveTo>
                      <a:pt x="163786" y="314461"/>
                    </a:moveTo>
                    <a:lnTo>
                      <a:pt x="39313" y="314461"/>
                    </a:lnTo>
                    <a:cubicBezTo>
                      <a:pt x="17634" y="314461"/>
                      <a:pt x="0" y="296827"/>
                      <a:pt x="0" y="275148"/>
                    </a:cubicBezTo>
                    <a:lnTo>
                      <a:pt x="0" y="39313"/>
                    </a:lnTo>
                    <a:cubicBezTo>
                      <a:pt x="0" y="17633"/>
                      <a:pt x="17634" y="0"/>
                      <a:pt x="39313" y="0"/>
                    </a:cubicBezTo>
                    <a:lnTo>
                      <a:pt x="189988" y="0"/>
                    </a:lnTo>
                    <a:cubicBezTo>
                      <a:pt x="211667" y="0"/>
                      <a:pt x="229301" y="17633"/>
                      <a:pt x="229301" y="39313"/>
                    </a:cubicBezTo>
                    <a:lnTo>
                      <a:pt x="229301" y="98272"/>
                    </a:lnTo>
                    <a:cubicBezTo>
                      <a:pt x="229301" y="101885"/>
                      <a:pt x="226380" y="104827"/>
                      <a:pt x="222745" y="104827"/>
                    </a:cubicBezTo>
                    <a:cubicBezTo>
                      <a:pt x="219110" y="104827"/>
                      <a:pt x="216189" y="101907"/>
                      <a:pt x="216189" y="98272"/>
                    </a:cubicBezTo>
                    <a:lnTo>
                      <a:pt x="216189" y="39313"/>
                    </a:lnTo>
                    <a:cubicBezTo>
                      <a:pt x="216189" y="24860"/>
                      <a:pt x="204441" y="13112"/>
                      <a:pt x="189988" y="13112"/>
                    </a:cubicBezTo>
                    <a:lnTo>
                      <a:pt x="39313" y="13112"/>
                    </a:lnTo>
                    <a:cubicBezTo>
                      <a:pt x="24860" y="13112"/>
                      <a:pt x="13112" y="24860"/>
                      <a:pt x="13112" y="39313"/>
                    </a:cubicBezTo>
                    <a:lnTo>
                      <a:pt x="13112" y="275148"/>
                    </a:lnTo>
                    <a:cubicBezTo>
                      <a:pt x="13112" y="289601"/>
                      <a:pt x="24860" y="301349"/>
                      <a:pt x="39313" y="301349"/>
                    </a:cubicBezTo>
                    <a:lnTo>
                      <a:pt x="163786" y="301349"/>
                    </a:lnTo>
                    <a:cubicBezTo>
                      <a:pt x="167400" y="301349"/>
                      <a:pt x="170342" y="304270"/>
                      <a:pt x="170342" y="307905"/>
                    </a:cubicBezTo>
                    <a:cubicBezTo>
                      <a:pt x="170342" y="311540"/>
                      <a:pt x="167400" y="314461"/>
                      <a:pt x="163786" y="314461"/>
                    </a:cubicBezTo>
                    <a:close/>
                  </a:path>
                </a:pathLst>
              </a:custGeom>
              <a:grpFill/>
              <a:ln w="2159" cap="flat">
                <a:noFill/>
                <a:prstDash val="solid"/>
                <a:miter/>
              </a:ln>
            </p:spPr>
            <p:txBody>
              <a:bodyPr rtlCol="0" anchor="ctr"/>
              <a:lstStyle/>
              <a:p>
                <a:endParaRPr lang="en-GB" dirty="0"/>
              </a:p>
            </p:txBody>
          </p:sp>
          <p:sp>
            <p:nvSpPr>
              <p:cNvPr id="168" name="Freihandform: Form 384">
                <a:extLst>
                  <a:ext uri="{FF2B5EF4-FFF2-40B4-BE49-F238E27FC236}">
                    <a16:creationId xmlns:a16="http://schemas.microsoft.com/office/drawing/2014/main" id="{883F239E-BF50-4BED-9E41-5E50B56C8FDF}"/>
                  </a:ext>
                </a:extLst>
              </p:cNvPr>
              <p:cNvSpPr/>
              <p:nvPr/>
            </p:nvSpPr>
            <p:spPr>
              <a:xfrm>
                <a:off x="2495089" y="3298328"/>
                <a:ext cx="229279" cy="13111"/>
              </a:xfrm>
              <a:custGeom>
                <a:avLst/>
                <a:gdLst>
                  <a:gd name="connsiteX0" fmla="*/ 222723 w 229279"/>
                  <a:gd name="connsiteY0" fmla="*/ 13112 h 13111"/>
                  <a:gd name="connsiteX1" fmla="*/ 6556 w 229279"/>
                  <a:gd name="connsiteY1" fmla="*/ 13112 h 13111"/>
                  <a:gd name="connsiteX2" fmla="*/ 0 w 229279"/>
                  <a:gd name="connsiteY2" fmla="*/ 6556 h 13111"/>
                  <a:gd name="connsiteX3" fmla="*/ 6556 w 229279"/>
                  <a:gd name="connsiteY3" fmla="*/ 0 h 13111"/>
                  <a:gd name="connsiteX4" fmla="*/ 222723 w 229279"/>
                  <a:gd name="connsiteY4" fmla="*/ 0 h 13111"/>
                  <a:gd name="connsiteX5" fmla="*/ 229279 w 229279"/>
                  <a:gd name="connsiteY5" fmla="*/ 6556 h 13111"/>
                  <a:gd name="connsiteX6" fmla="*/ 222723 w 229279"/>
                  <a:gd name="connsiteY6" fmla="*/ 13112 h 1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279" h="13111">
                    <a:moveTo>
                      <a:pt x="222723" y="13112"/>
                    </a:moveTo>
                    <a:lnTo>
                      <a:pt x="6556" y="13112"/>
                    </a:lnTo>
                    <a:cubicBezTo>
                      <a:pt x="2943" y="13112"/>
                      <a:pt x="0" y="10191"/>
                      <a:pt x="0" y="6556"/>
                    </a:cubicBezTo>
                    <a:cubicBezTo>
                      <a:pt x="0" y="2942"/>
                      <a:pt x="2921" y="0"/>
                      <a:pt x="6556" y="0"/>
                    </a:cubicBezTo>
                    <a:lnTo>
                      <a:pt x="222723" y="0"/>
                    </a:lnTo>
                    <a:cubicBezTo>
                      <a:pt x="226337" y="0"/>
                      <a:pt x="229279" y="2921"/>
                      <a:pt x="229279" y="6556"/>
                    </a:cubicBezTo>
                    <a:cubicBezTo>
                      <a:pt x="229257" y="10169"/>
                      <a:pt x="226337" y="13112"/>
                      <a:pt x="222723" y="13112"/>
                    </a:cubicBezTo>
                    <a:close/>
                  </a:path>
                </a:pathLst>
              </a:custGeom>
              <a:grpFill/>
              <a:ln w="2159" cap="flat">
                <a:noFill/>
                <a:prstDash val="solid"/>
                <a:miter/>
              </a:ln>
            </p:spPr>
            <p:txBody>
              <a:bodyPr rtlCol="0" anchor="ctr"/>
              <a:lstStyle/>
              <a:p>
                <a:endParaRPr lang="en-GB" dirty="0"/>
              </a:p>
            </p:txBody>
          </p:sp>
          <p:sp>
            <p:nvSpPr>
              <p:cNvPr id="169" name="Freihandform: Form 385">
                <a:extLst>
                  <a:ext uri="{FF2B5EF4-FFF2-40B4-BE49-F238E27FC236}">
                    <a16:creationId xmlns:a16="http://schemas.microsoft.com/office/drawing/2014/main" id="{9D0A9251-B1DC-4A81-B526-90FF94A9CD6D}"/>
                  </a:ext>
                </a:extLst>
              </p:cNvPr>
              <p:cNvSpPr/>
              <p:nvPr/>
            </p:nvSpPr>
            <p:spPr>
              <a:xfrm>
                <a:off x="2495089" y="3521051"/>
                <a:ext cx="170320" cy="13111"/>
              </a:xfrm>
              <a:custGeom>
                <a:avLst/>
                <a:gdLst>
                  <a:gd name="connsiteX0" fmla="*/ 163765 w 170320"/>
                  <a:gd name="connsiteY0" fmla="*/ 13112 h 13111"/>
                  <a:gd name="connsiteX1" fmla="*/ 6556 w 170320"/>
                  <a:gd name="connsiteY1" fmla="*/ 13112 h 13111"/>
                  <a:gd name="connsiteX2" fmla="*/ 0 w 170320"/>
                  <a:gd name="connsiteY2" fmla="*/ 6556 h 13111"/>
                  <a:gd name="connsiteX3" fmla="*/ 6556 w 170320"/>
                  <a:gd name="connsiteY3" fmla="*/ 0 h 13111"/>
                  <a:gd name="connsiteX4" fmla="*/ 163765 w 170320"/>
                  <a:gd name="connsiteY4" fmla="*/ 0 h 13111"/>
                  <a:gd name="connsiteX5" fmla="*/ 170320 w 170320"/>
                  <a:gd name="connsiteY5" fmla="*/ 6556 h 13111"/>
                  <a:gd name="connsiteX6" fmla="*/ 163765 w 170320"/>
                  <a:gd name="connsiteY6" fmla="*/ 13112 h 13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320" h="13111">
                    <a:moveTo>
                      <a:pt x="163765" y="13112"/>
                    </a:moveTo>
                    <a:lnTo>
                      <a:pt x="6556" y="13112"/>
                    </a:lnTo>
                    <a:cubicBezTo>
                      <a:pt x="2943" y="13112"/>
                      <a:pt x="0" y="10191"/>
                      <a:pt x="0" y="6556"/>
                    </a:cubicBezTo>
                    <a:cubicBezTo>
                      <a:pt x="0" y="2942"/>
                      <a:pt x="2921" y="0"/>
                      <a:pt x="6556" y="0"/>
                    </a:cubicBezTo>
                    <a:lnTo>
                      <a:pt x="163765" y="0"/>
                    </a:lnTo>
                    <a:cubicBezTo>
                      <a:pt x="167378" y="0"/>
                      <a:pt x="170320" y="2921"/>
                      <a:pt x="170320" y="6556"/>
                    </a:cubicBezTo>
                    <a:cubicBezTo>
                      <a:pt x="170299" y="10169"/>
                      <a:pt x="167378" y="13112"/>
                      <a:pt x="163765" y="13112"/>
                    </a:cubicBezTo>
                    <a:close/>
                  </a:path>
                </a:pathLst>
              </a:custGeom>
              <a:grpFill/>
              <a:ln w="2159" cap="flat">
                <a:noFill/>
                <a:prstDash val="solid"/>
                <a:miter/>
              </a:ln>
            </p:spPr>
            <p:txBody>
              <a:bodyPr rtlCol="0" anchor="ctr"/>
              <a:lstStyle/>
              <a:p>
                <a:endParaRPr lang="en-GB" dirty="0"/>
              </a:p>
            </p:txBody>
          </p:sp>
        </p:grpSp>
        <p:grpSp>
          <p:nvGrpSpPr>
            <p:cNvPr id="159" name="Group 158">
              <a:extLst>
                <a:ext uri="{FF2B5EF4-FFF2-40B4-BE49-F238E27FC236}">
                  <a16:creationId xmlns:a16="http://schemas.microsoft.com/office/drawing/2014/main" id="{7C4804A6-DA03-4C39-A406-6146A6A5059F}"/>
                </a:ext>
              </a:extLst>
            </p:cNvPr>
            <p:cNvGrpSpPr/>
            <p:nvPr/>
          </p:nvGrpSpPr>
          <p:grpSpPr>
            <a:xfrm>
              <a:off x="3813598" y="2414894"/>
              <a:ext cx="263759" cy="326920"/>
              <a:chOff x="2593339" y="3285216"/>
              <a:chExt cx="295984" cy="366863"/>
            </a:xfrm>
            <a:grpFill/>
          </p:grpSpPr>
          <p:grpSp>
            <p:nvGrpSpPr>
              <p:cNvPr id="160" name="Grafik 2">
                <a:extLst>
                  <a:ext uri="{FF2B5EF4-FFF2-40B4-BE49-F238E27FC236}">
                    <a16:creationId xmlns:a16="http://schemas.microsoft.com/office/drawing/2014/main" id="{016F977E-BDE7-47D7-9F85-2457F733F148}"/>
                  </a:ext>
                </a:extLst>
              </p:cNvPr>
              <p:cNvGrpSpPr/>
              <p:nvPr/>
            </p:nvGrpSpPr>
            <p:grpSpPr>
              <a:xfrm>
                <a:off x="2717793" y="3502574"/>
                <a:ext cx="171530" cy="97103"/>
                <a:chOff x="2717793" y="3502574"/>
                <a:chExt cx="171530" cy="97103"/>
              </a:xfrm>
              <a:grpFill/>
            </p:grpSpPr>
            <p:sp>
              <p:nvSpPr>
                <p:cNvPr id="163" name="Freihandform: Form 376">
                  <a:extLst>
                    <a:ext uri="{FF2B5EF4-FFF2-40B4-BE49-F238E27FC236}">
                      <a16:creationId xmlns:a16="http://schemas.microsoft.com/office/drawing/2014/main" id="{A8AC78B2-3809-485A-90D5-B806146AEF9E}"/>
                    </a:ext>
                  </a:extLst>
                </p:cNvPr>
                <p:cNvSpPr/>
                <p:nvPr/>
              </p:nvSpPr>
              <p:spPr>
                <a:xfrm>
                  <a:off x="2717793" y="3502574"/>
                  <a:ext cx="171530" cy="59434"/>
                </a:xfrm>
                <a:custGeom>
                  <a:avLst/>
                  <a:gdLst>
                    <a:gd name="connsiteX0" fmla="*/ 6554 w 171530"/>
                    <a:gd name="connsiteY0" fmla="*/ 59435 h 59434"/>
                    <a:gd name="connsiteX1" fmla="*/ 3330 w 171530"/>
                    <a:gd name="connsiteY1" fmla="*/ 58591 h 59434"/>
                    <a:gd name="connsiteX2" fmla="*/ 842 w 171530"/>
                    <a:gd name="connsiteY2" fmla="*/ 49655 h 59434"/>
                    <a:gd name="connsiteX3" fmla="*/ 85872 w 171530"/>
                    <a:gd name="connsiteY3" fmla="*/ 0 h 59434"/>
                    <a:gd name="connsiteX4" fmla="*/ 170664 w 171530"/>
                    <a:gd name="connsiteY4" fmla="*/ 49266 h 59434"/>
                    <a:gd name="connsiteX5" fmla="*/ 168219 w 171530"/>
                    <a:gd name="connsiteY5" fmla="*/ 58201 h 59434"/>
                    <a:gd name="connsiteX6" fmla="*/ 159284 w 171530"/>
                    <a:gd name="connsiteY6" fmla="*/ 55757 h 59434"/>
                    <a:gd name="connsiteX7" fmla="*/ 85850 w 171530"/>
                    <a:gd name="connsiteY7" fmla="*/ 13090 h 59434"/>
                    <a:gd name="connsiteX8" fmla="*/ 12222 w 171530"/>
                    <a:gd name="connsiteY8" fmla="*/ 56103 h 59434"/>
                    <a:gd name="connsiteX9" fmla="*/ 6554 w 171530"/>
                    <a:gd name="connsiteY9" fmla="*/ 59435 h 59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530" h="59434">
                      <a:moveTo>
                        <a:pt x="6554" y="59435"/>
                      </a:moveTo>
                      <a:cubicBezTo>
                        <a:pt x="5450" y="59435"/>
                        <a:pt x="4368" y="59175"/>
                        <a:pt x="3330" y="58591"/>
                      </a:cubicBezTo>
                      <a:cubicBezTo>
                        <a:pt x="193" y="56817"/>
                        <a:pt x="-933" y="52814"/>
                        <a:pt x="842" y="49655"/>
                      </a:cubicBezTo>
                      <a:cubicBezTo>
                        <a:pt x="18151" y="19018"/>
                        <a:pt x="50735" y="0"/>
                        <a:pt x="85872" y="0"/>
                      </a:cubicBezTo>
                      <a:cubicBezTo>
                        <a:pt x="120836" y="0"/>
                        <a:pt x="153312" y="18889"/>
                        <a:pt x="170664" y="49266"/>
                      </a:cubicBezTo>
                      <a:cubicBezTo>
                        <a:pt x="172460" y="52403"/>
                        <a:pt x="171378" y="56406"/>
                        <a:pt x="168219" y="58201"/>
                      </a:cubicBezTo>
                      <a:cubicBezTo>
                        <a:pt x="165082" y="59997"/>
                        <a:pt x="161058" y="58894"/>
                        <a:pt x="159284" y="55757"/>
                      </a:cubicBezTo>
                      <a:cubicBezTo>
                        <a:pt x="144247" y="29447"/>
                        <a:pt x="116119" y="13090"/>
                        <a:pt x="85850" y="13090"/>
                      </a:cubicBezTo>
                      <a:cubicBezTo>
                        <a:pt x="55430" y="13090"/>
                        <a:pt x="27195" y="29577"/>
                        <a:pt x="12222" y="56103"/>
                      </a:cubicBezTo>
                      <a:cubicBezTo>
                        <a:pt x="11054" y="58223"/>
                        <a:pt x="8847" y="59435"/>
                        <a:pt x="6554" y="59435"/>
                      </a:cubicBezTo>
                      <a:close/>
                    </a:path>
                  </a:pathLst>
                </a:custGeom>
                <a:solidFill>
                  <a:schemeClr val="accent1"/>
                </a:solidFill>
                <a:ln w="2159" cap="flat">
                  <a:noFill/>
                  <a:prstDash val="solid"/>
                  <a:miter/>
                </a:ln>
              </p:spPr>
              <p:txBody>
                <a:bodyPr rtlCol="0" anchor="ctr"/>
                <a:lstStyle/>
                <a:p>
                  <a:endParaRPr lang="en-GB" dirty="0"/>
                </a:p>
              </p:txBody>
            </p:sp>
            <p:sp>
              <p:nvSpPr>
                <p:cNvPr id="164" name="Freihandform: Form 377">
                  <a:extLst>
                    <a:ext uri="{FF2B5EF4-FFF2-40B4-BE49-F238E27FC236}">
                      <a16:creationId xmlns:a16="http://schemas.microsoft.com/office/drawing/2014/main" id="{F8828D4A-BB5F-4249-A393-62FB234B7AC9}"/>
                    </a:ext>
                  </a:extLst>
                </p:cNvPr>
                <p:cNvSpPr/>
                <p:nvPr/>
              </p:nvSpPr>
              <p:spPr>
                <a:xfrm>
                  <a:off x="2752800" y="3543012"/>
                  <a:ext cx="101687" cy="39313"/>
                </a:xfrm>
                <a:custGeom>
                  <a:avLst/>
                  <a:gdLst>
                    <a:gd name="connsiteX0" fmla="*/ 6554 w 101687"/>
                    <a:gd name="connsiteY0" fmla="*/ 39313 h 39313"/>
                    <a:gd name="connsiteX1" fmla="*/ 3395 w 101687"/>
                    <a:gd name="connsiteY1" fmla="*/ 38491 h 39313"/>
                    <a:gd name="connsiteX2" fmla="*/ 820 w 101687"/>
                    <a:gd name="connsiteY2" fmla="*/ 29598 h 39313"/>
                    <a:gd name="connsiteX3" fmla="*/ 50886 w 101687"/>
                    <a:gd name="connsiteY3" fmla="*/ 0 h 39313"/>
                    <a:gd name="connsiteX4" fmla="*/ 100866 w 101687"/>
                    <a:gd name="connsiteY4" fmla="*/ 29447 h 39313"/>
                    <a:gd name="connsiteX5" fmla="*/ 98313 w 101687"/>
                    <a:gd name="connsiteY5" fmla="*/ 38361 h 39313"/>
                    <a:gd name="connsiteX6" fmla="*/ 89399 w 101687"/>
                    <a:gd name="connsiteY6" fmla="*/ 35808 h 39313"/>
                    <a:gd name="connsiteX7" fmla="*/ 50886 w 101687"/>
                    <a:gd name="connsiteY7" fmla="*/ 13112 h 39313"/>
                    <a:gd name="connsiteX8" fmla="*/ 12287 w 101687"/>
                    <a:gd name="connsiteY8" fmla="*/ 35916 h 39313"/>
                    <a:gd name="connsiteX9" fmla="*/ 6554 w 101687"/>
                    <a:gd name="connsiteY9" fmla="*/ 39313 h 3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687" h="39313">
                      <a:moveTo>
                        <a:pt x="6554" y="39313"/>
                      </a:moveTo>
                      <a:cubicBezTo>
                        <a:pt x="5494" y="39313"/>
                        <a:pt x="4390" y="39053"/>
                        <a:pt x="3395" y="38491"/>
                      </a:cubicBezTo>
                      <a:cubicBezTo>
                        <a:pt x="214" y="36738"/>
                        <a:pt x="-932" y="32757"/>
                        <a:pt x="820" y="29598"/>
                      </a:cubicBezTo>
                      <a:cubicBezTo>
                        <a:pt x="10881" y="11337"/>
                        <a:pt x="30072" y="0"/>
                        <a:pt x="50886" y="0"/>
                      </a:cubicBezTo>
                      <a:cubicBezTo>
                        <a:pt x="71636" y="0"/>
                        <a:pt x="90784" y="11273"/>
                        <a:pt x="100866" y="29447"/>
                      </a:cubicBezTo>
                      <a:cubicBezTo>
                        <a:pt x="102619" y="32606"/>
                        <a:pt x="101472" y="36609"/>
                        <a:pt x="98313" y="38361"/>
                      </a:cubicBezTo>
                      <a:cubicBezTo>
                        <a:pt x="95132" y="40135"/>
                        <a:pt x="91151" y="38967"/>
                        <a:pt x="89399" y="35808"/>
                      </a:cubicBezTo>
                      <a:cubicBezTo>
                        <a:pt x="81632" y="21809"/>
                        <a:pt x="66876" y="13112"/>
                        <a:pt x="50886" y="13112"/>
                      </a:cubicBezTo>
                      <a:cubicBezTo>
                        <a:pt x="34832" y="13112"/>
                        <a:pt x="20055" y="21853"/>
                        <a:pt x="12287" y="35916"/>
                      </a:cubicBezTo>
                      <a:cubicBezTo>
                        <a:pt x="11097" y="38101"/>
                        <a:pt x="8847" y="39313"/>
                        <a:pt x="6554" y="39313"/>
                      </a:cubicBezTo>
                      <a:close/>
                    </a:path>
                  </a:pathLst>
                </a:custGeom>
                <a:solidFill>
                  <a:schemeClr val="accent1"/>
                </a:solidFill>
                <a:ln w="2159" cap="flat">
                  <a:noFill/>
                  <a:prstDash val="solid"/>
                  <a:miter/>
                </a:ln>
              </p:spPr>
              <p:txBody>
                <a:bodyPr rtlCol="0" anchor="ctr"/>
                <a:lstStyle/>
                <a:p>
                  <a:endParaRPr lang="en-GB" dirty="0"/>
                </a:p>
              </p:txBody>
            </p:sp>
            <p:sp>
              <p:nvSpPr>
                <p:cNvPr id="165" name="Freihandform: Form 378">
                  <a:extLst>
                    <a:ext uri="{FF2B5EF4-FFF2-40B4-BE49-F238E27FC236}">
                      <a16:creationId xmlns:a16="http://schemas.microsoft.com/office/drawing/2014/main" id="{01116DB0-55DD-419A-88B6-ADF28760773F}"/>
                    </a:ext>
                  </a:extLst>
                </p:cNvPr>
                <p:cNvSpPr/>
                <p:nvPr/>
              </p:nvSpPr>
              <p:spPr>
                <a:xfrm>
                  <a:off x="2783688" y="3578430"/>
                  <a:ext cx="39792" cy="21246"/>
                </a:xfrm>
                <a:custGeom>
                  <a:avLst/>
                  <a:gdLst>
                    <a:gd name="connsiteX0" fmla="*/ 6540 w 39792"/>
                    <a:gd name="connsiteY0" fmla="*/ 21247 h 21246"/>
                    <a:gd name="connsiteX1" fmla="*/ 3511 w 39792"/>
                    <a:gd name="connsiteY1" fmla="*/ 20490 h 21246"/>
                    <a:gd name="connsiteX2" fmla="*/ 742 w 39792"/>
                    <a:gd name="connsiteY2" fmla="*/ 11640 h 21246"/>
                    <a:gd name="connsiteX3" fmla="*/ 19998 w 39792"/>
                    <a:gd name="connsiteY3" fmla="*/ 0 h 21246"/>
                    <a:gd name="connsiteX4" fmla="*/ 38951 w 39792"/>
                    <a:gd name="connsiteY4" fmla="*/ 11099 h 21246"/>
                    <a:gd name="connsiteX5" fmla="*/ 36442 w 39792"/>
                    <a:gd name="connsiteY5" fmla="*/ 20013 h 21246"/>
                    <a:gd name="connsiteX6" fmla="*/ 27527 w 39792"/>
                    <a:gd name="connsiteY6" fmla="*/ 17504 h 21246"/>
                    <a:gd name="connsiteX7" fmla="*/ 19998 w 39792"/>
                    <a:gd name="connsiteY7" fmla="*/ 13090 h 21246"/>
                    <a:gd name="connsiteX8" fmla="*/ 12360 w 39792"/>
                    <a:gd name="connsiteY8" fmla="*/ 17720 h 21246"/>
                    <a:gd name="connsiteX9" fmla="*/ 6540 w 39792"/>
                    <a:gd name="connsiteY9" fmla="*/ 21247 h 21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792" h="21246">
                      <a:moveTo>
                        <a:pt x="6540" y="21247"/>
                      </a:moveTo>
                      <a:cubicBezTo>
                        <a:pt x="5523" y="21247"/>
                        <a:pt x="4485" y="21009"/>
                        <a:pt x="3511" y="20490"/>
                      </a:cubicBezTo>
                      <a:cubicBezTo>
                        <a:pt x="309" y="18824"/>
                        <a:pt x="-924" y="14864"/>
                        <a:pt x="742" y="11640"/>
                      </a:cubicBezTo>
                      <a:cubicBezTo>
                        <a:pt x="4506" y="4457"/>
                        <a:pt x="11884" y="0"/>
                        <a:pt x="19998" y="0"/>
                      </a:cubicBezTo>
                      <a:cubicBezTo>
                        <a:pt x="27852" y="0"/>
                        <a:pt x="35122" y="4262"/>
                        <a:pt x="38951" y="11099"/>
                      </a:cubicBezTo>
                      <a:cubicBezTo>
                        <a:pt x="40725" y="14258"/>
                        <a:pt x="39600" y="18261"/>
                        <a:pt x="36442" y="20013"/>
                      </a:cubicBezTo>
                      <a:cubicBezTo>
                        <a:pt x="33283" y="21788"/>
                        <a:pt x="29301" y="20663"/>
                        <a:pt x="27527" y="17504"/>
                      </a:cubicBezTo>
                      <a:cubicBezTo>
                        <a:pt x="25991" y="14778"/>
                        <a:pt x="23114" y="13090"/>
                        <a:pt x="19998" y="13090"/>
                      </a:cubicBezTo>
                      <a:cubicBezTo>
                        <a:pt x="16774" y="13090"/>
                        <a:pt x="13853" y="14864"/>
                        <a:pt x="12360" y="17720"/>
                      </a:cubicBezTo>
                      <a:cubicBezTo>
                        <a:pt x="11192" y="19949"/>
                        <a:pt x="8899" y="21247"/>
                        <a:pt x="6540" y="21247"/>
                      </a:cubicBezTo>
                      <a:close/>
                    </a:path>
                  </a:pathLst>
                </a:custGeom>
                <a:solidFill>
                  <a:schemeClr val="accent1"/>
                </a:solidFill>
                <a:ln w="2159" cap="flat">
                  <a:noFill/>
                  <a:prstDash val="solid"/>
                  <a:miter/>
                </a:ln>
              </p:spPr>
              <p:txBody>
                <a:bodyPr rtlCol="0" anchor="ctr"/>
                <a:lstStyle/>
                <a:p>
                  <a:endParaRPr lang="en-GB" dirty="0"/>
                </a:p>
              </p:txBody>
            </p:sp>
          </p:grpSp>
          <p:sp>
            <p:nvSpPr>
              <p:cNvPr id="161" name="Freihandform: Form 386">
                <a:extLst>
                  <a:ext uri="{FF2B5EF4-FFF2-40B4-BE49-F238E27FC236}">
                    <a16:creationId xmlns:a16="http://schemas.microsoft.com/office/drawing/2014/main" id="{3FAB54C5-C383-433D-B0A6-909907384E90}"/>
                  </a:ext>
                </a:extLst>
              </p:cNvPr>
              <p:cNvSpPr/>
              <p:nvPr/>
            </p:nvSpPr>
            <p:spPr>
              <a:xfrm>
                <a:off x="2737458" y="3285216"/>
                <a:ext cx="72070" cy="52424"/>
              </a:xfrm>
              <a:custGeom>
                <a:avLst/>
                <a:gdLst>
                  <a:gd name="connsiteX0" fmla="*/ 65514 w 72070"/>
                  <a:gd name="connsiteY0" fmla="*/ 52424 h 52424"/>
                  <a:gd name="connsiteX1" fmla="*/ 58959 w 72070"/>
                  <a:gd name="connsiteY1" fmla="*/ 45869 h 52424"/>
                  <a:gd name="connsiteX2" fmla="*/ 58959 w 72070"/>
                  <a:gd name="connsiteY2" fmla="*/ 13112 h 52424"/>
                  <a:gd name="connsiteX3" fmla="*/ 6556 w 72070"/>
                  <a:gd name="connsiteY3" fmla="*/ 13112 h 52424"/>
                  <a:gd name="connsiteX4" fmla="*/ 0 w 72070"/>
                  <a:gd name="connsiteY4" fmla="*/ 6556 h 52424"/>
                  <a:gd name="connsiteX5" fmla="*/ 6556 w 72070"/>
                  <a:gd name="connsiteY5" fmla="*/ 0 h 52424"/>
                  <a:gd name="connsiteX6" fmla="*/ 65514 w 72070"/>
                  <a:gd name="connsiteY6" fmla="*/ 0 h 52424"/>
                  <a:gd name="connsiteX7" fmla="*/ 72070 w 72070"/>
                  <a:gd name="connsiteY7" fmla="*/ 6556 h 52424"/>
                  <a:gd name="connsiteX8" fmla="*/ 72070 w 72070"/>
                  <a:gd name="connsiteY8" fmla="*/ 45869 h 52424"/>
                  <a:gd name="connsiteX9" fmla="*/ 65514 w 72070"/>
                  <a:gd name="connsiteY9" fmla="*/ 52424 h 5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070" h="52424">
                    <a:moveTo>
                      <a:pt x="65514" y="52424"/>
                    </a:moveTo>
                    <a:cubicBezTo>
                      <a:pt x="61901" y="52424"/>
                      <a:pt x="58959" y="49504"/>
                      <a:pt x="58959" y="45869"/>
                    </a:cubicBezTo>
                    <a:lnTo>
                      <a:pt x="58959" y="13112"/>
                    </a:lnTo>
                    <a:lnTo>
                      <a:pt x="6556" y="13112"/>
                    </a:lnTo>
                    <a:cubicBezTo>
                      <a:pt x="2942" y="13112"/>
                      <a:pt x="0" y="10191"/>
                      <a:pt x="0" y="6556"/>
                    </a:cubicBezTo>
                    <a:cubicBezTo>
                      <a:pt x="0" y="2921"/>
                      <a:pt x="2921" y="0"/>
                      <a:pt x="6556" y="0"/>
                    </a:cubicBezTo>
                    <a:lnTo>
                      <a:pt x="65514" y="0"/>
                    </a:lnTo>
                    <a:cubicBezTo>
                      <a:pt x="69128" y="0"/>
                      <a:pt x="72070" y="2921"/>
                      <a:pt x="72070" y="6556"/>
                    </a:cubicBezTo>
                    <a:lnTo>
                      <a:pt x="72070" y="45869"/>
                    </a:lnTo>
                    <a:cubicBezTo>
                      <a:pt x="72049" y="49504"/>
                      <a:pt x="69128" y="52424"/>
                      <a:pt x="65514" y="52424"/>
                    </a:cubicBezTo>
                    <a:close/>
                  </a:path>
                </a:pathLst>
              </a:custGeom>
              <a:solidFill>
                <a:schemeClr val="accent1"/>
              </a:solidFill>
              <a:ln w="2159" cap="flat">
                <a:noFill/>
                <a:prstDash val="solid"/>
                <a:miter/>
              </a:ln>
            </p:spPr>
            <p:txBody>
              <a:bodyPr rtlCol="0" anchor="ctr"/>
              <a:lstStyle/>
              <a:p>
                <a:endParaRPr lang="en-GB" dirty="0"/>
              </a:p>
            </p:txBody>
          </p:sp>
          <p:sp>
            <p:nvSpPr>
              <p:cNvPr id="162" name="Freihandform: Form 387">
                <a:extLst>
                  <a:ext uri="{FF2B5EF4-FFF2-40B4-BE49-F238E27FC236}">
                    <a16:creationId xmlns:a16="http://schemas.microsoft.com/office/drawing/2014/main" id="{D9BB42BD-513B-4F6F-B7F4-E018133AF44E}"/>
                  </a:ext>
                </a:extLst>
              </p:cNvPr>
              <p:cNvSpPr/>
              <p:nvPr/>
            </p:nvSpPr>
            <p:spPr>
              <a:xfrm>
                <a:off x="2593339" y="3586565"/>
                <a:ext cx="45868" cy="65514"/>
              </a:xfrm>
              <a:custGeom>
                <a:avLst/>
                <a:gdLst>
                  <a:gd name="connsiteX0" fmla="*/ 39313 w 45868"/>
                  <a:gd name="connsiteY0" fmla="*/ 65515 h 65514"/>
                  <a:gd name="connsiteX1" fmla="*/ 6556 w 45868"/>
                  <a:gd name="connsiteY1" fmla="*/ 65515 h 65514"/>
                  <a:gd name="connsiteX2" fmla="*/ 0 w 45868"/>
                  <a:gd name="connsiteY2" fmla="*/ 58959 h 65514"/>
                  <a:gd name="connsiteX3" fmla="*/ 0 w 45868"/>
                  <a:gd name="connsiteY3" fmla="*/ 6556 h 65514"/>
                  <a:gd name="connsiteX4" fmla="*/ 6556 w 45868"/>
                  <a:gd name="connsiteY4" fmla="*/ 0 h 65514"/>
                  <a:gd name="connsiteX5" fmla="*/ 13112 w 45868"/>
                  <a:gd name="connsiteY5" fmla="*/ 6556 h 65514"/>
                  <a:gd name="connsiteX6" fmla="*/ 13112 w 45868"/>
                  <a:gd name="connsiteY6" fmla="*/ 52403 h 65514"/>
                  <a:gd name="connsiteX7" fmla="*/ 39313 w 45868"/>
                  <a:gd name="connsiteY7" fmla="*/ 52403 h 65514"/>
                  <a:gd name="connsiteX8" fmla="*/ 45869 w 45868"/>
                  <a:gd name="connsiteY8" fmla="*/ 58959 h 65514"/>
                  <a:gd name="connsiteX9" fmla="*/ 39313 w 45868"/>
                  <a:gd name="connsiteY9" fmla="*/ 65515 h 6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68" h="65514">
                    <a:moveTo>
                      <a:pt x="39313" y="65515"/>
                    </a:moveTo>
                    <a:lnTo>
                      <a:pt x="6556" y="65515"/>
                    </a:lnTo>
                    <a:cubicBezTo>
                      <a:pt x="2942" y="65515"/>
                      <a:pt x="0" y="62594"/>
                      <a:pt x="0" y="58959"/>
                    </a:cubicBezTo>
                    <a:lnTo>
                      <a:pt x="0" y="6556"/>
                    </a:lnTo>
                    <a:cubicBezTo>
                      <a:pt x="0" y="2942"/>
                      <a:pt x="2921" y="0"/>
                      <a:pt x="6556" y="0"/>
                    </a:cubicBezTo>
                    <a:cubicBezTo>
                      <a:pt x="10169" y="0"/>
                      <a:pt x="13112" y="2921"/>
                      <a:pt x="13112" y="6556"/>
                    </a:cubicBezTo>
                    <a:lnTo>
                      <a:pt x="13112" y="52403"/>
                    </a:lnTo>
                    <a:lnTo>
                      <a:pt x="39313" y="52403"/>
                    </a:lnTo>
                    <a:cubicBezTo>
                      <a:pt x="42926" y="52403"/>
                      <a:pt x="45869" y="55324"/>
                      <a:pt x="45869" y="58959"/>
                    </a:cubicBezTo>
                    <a:cubicBezTo>
                      <a:pt x="45847" y="62572"/>
                      <a:pt x="42926" y="65515"/>
                      <a:pt x="39313" y="65515"/>
                    </a:cubicBezTo>
                    <a:close/>
                  </a:path>
                </a:pathLst>
              </a:custGeom>
              <a:solidFill>
                <a:schemeClr val="accent1"/>
              </a:solidFill>
              <a:ln w="2159" cap="flat">
                <a:noFill/>
                <a:prstDash val="solid"/>
                <a:miter/>
              </a:ln>
            </p:spPr>
            <p:txBody>
              <a:bodyPr rtlCol="0" anchor="ctr"/>
              <a:lstStyle/>
              <a:p>
                <a:endParaRPr lang="en-GB" dirty="0"/>
              </a:p>
            </p:txBody>
          </p:sp>
        </p:grpSp>
      </p:grpSp>
      <p:grpSp>
        <p:nvGrpSpPr>
          <p:cNvPr id="48" name="Group 47">
            <a:extLst>
              <a:ext uri="{FF2B5EF4-FFF2-40B4-BE49-F238E27FC236}">
                <a16:creationId xmlns:a16="http://schemas.microsoft.com/office/drawing/2014/main" id="{8AA332A6-3E7C-C4E2-2CA6-957FB523B6E8}"/>
              </a:ext>
            </a:extLst>
          </p:cNvPr>
          <p:cNvGrpSpPr/>
          <p:nvPr/>
        </p:nvGrpSpPr>
        <p:grpSpPr>
          <a:xfrm>
            <a:off x="565715" y="3197068"/>
            <a:ext cx="456671" cy="432000"/>
            <a:chOff x="565715" y="3197068"/>
            <a:chExt cx="456671" cy="432000"/>
          </a:xfrm>
        </p:grpSpPr>
        <p:grpSp>
          <p:nvGrpSpPr>
            <p:cNvPr id="174" name="Grafik 253">
              <a:extLst>
                <a:ext uri="{FF2B5EF4-FFF2-40B4-BE49-F238E27FC236}">
                  <a16:creationId xmlns:a16="http://schemas.microsoft.com/office/drawing/2014/main" id="{8949A3BD-6604-4C79-BA68-F4135D908688}"/>
                </a:ext>
              </a:extLst>
            </p:cNvPr>
            <p:cNvGrpSpPr/>
            <p:nvPr/>
          </p:nvGrpSpPr>
          <p:grpSpPr>
            <a:xfrm>
              <a:off x="744661" y="3431578"/>
              <a:ext cx="98733" cy="98757"/>
              <a:chOff x="7129396" y="1877714"/>
              <a:chExt cx="104569" cy="104594"/>
            </a:xfrm>
            <a:solidFill>
              <a:schemeClr val="accent1"/>
            </a:solidFill>
          </p:grpSpPr>
          <p:sp>
            <p:nvSpPr>
              <p:cNvPr id="198" name="Freihandform: Form 840">
                <a:extLst>
                  <a:ext uri="{FF2B5EF4-FFF2-40B4-BE49-F238E27FC236}">
                    <a16:creationId xmlns:a16="http://schemas.microsoft.com/office/drawing/2014/main" id="{08AF6927-3EB7-46DE-BE4E-B51099A98D26}"/>
                  </a:ext>
                </a:extLst>
              </p:cNvPr>
              <p:cNvSpPr/>
              <p:nvPr/>
            </p:nvSpPr>
            <p:spPr>
              <a:xfrm>
                <a:off x="7129396" y="1885924"/>
                <a:ext cx="104569" cy="96383"/>
              </a:xfrm>
              <a:custGeom>
                <a:avLst/>
                <a:gdLst>
                  <a:gd name="connsiteX0" fmla="*/ 52285 w 104569"/>
                  <a:gd name="connsiteY0" fmla="*/ 96383 h 96383"/>
                  <a:gd name="connsiteX1" fmla="*/ 0 w 104569"/>
                  <a:gd name="connsiteY1" fmla="*/ 44099 h 96383"/>
                  <a:gd name="connsiteX2" fmla="*/ 22401 w 104569"/>
                  <a:gd name="connsiteY2" fmla="*/ 1187 h 96383"/>
                  <a:gd name="connsiteX3" fmla="*/ 31500 w 104569"/>
                  <a:gd name="connsiteY3" fmla="*/ 2803 h 96383"/>
                  <a:gd name="connsiteX4" fmla="*/ 29884 w 104569"/>
                  <a:gd name="connsiteY4" fmla="*/ 11903 h 96383"/>
                  <a:gd name="connsiteX5" fmla="*/ 13077 w 104569"/>
                  <a:gd name="connsiteY5" fmla="*/ 44099 h 96383"/>
                  <a:gd name="connsiteX6" fmla="*/ 52285 w 104569"/>
                  <a:gd name="connsiteY6" fmla="*/ 83306 h 96383"/>
                  <a:gd name="connsiteX7" fmla="*/ 91492 w 104569"/>
                  <a:gd name="connsiteY7" fmla="*/ 44099 h 96383"/>
                  <a:gd name="connsiteX8" fmla="*/ 74685 w 104569"/>
                  <a:gd name="connsiteY8" fmla="*/ 11903 h 96383"/>
                  <a:gd name="connsiteX9" fmla="*/ 73069 w 104569"/>
                  <a:gd name="connsiteY9" fmla="*/ 2803 h 96383"/>
                  <a:gd name="connsiteX10" fmla="*/ 82169 w 104569"/>
                  <a:gd name="connsiteY10" fmla="*/ 1187 h 96383"/>
                  <a:gd name="connsiteX11" fmla="*/ 104569 w 104569"/>
                  <a:gd name="connsiteY11" fmla="*/ 44099 h 96383"/>
                  <a:gd name="connsiteX12" fmla="*/ 52285 w 104569"/>
                  <a:gd name="connsiteY12" fmla="*/ 96383 h 96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569" h="96383">
                    <a:moveTo>
                      <a:pt x="52285" y="96383"/>
                    </a:moveTo>
                    <a:cubicBezTo>
                      <a:pt x="23445" y="96383"/>
                      <a:pt x="0" y="72914"/>
                      <a:pt x="0" y="44099"/>
                    </a:cubicBezTo>
                    <a:cubicBezTo>
                      <a:pt x="0" y="27019"/>
                      <a:pt x="8378" y="10983"/>
                      <a:pt x="22401" y="1187"/>
                    </a:cubicBezTo>
                    <a:cubicBezTo>
                      <a:pt x="25359" y="-876"/>
                      <a:pt x="29436" y="-155"/>
                      <a:pt x="31500" y="2803"/>
                    </a:cubicBezTo>
                    <a:cubicBezTo>
                      <a:pt x="33564" y="5762"/>
                      <a:pt x="32843" y="9839"/>
                      <a:pt x="29884" y="11903"/>
                    </a:cubicBezTo>
                    <a:cubicBezTo>
                      <a:pt x="19367" y="19237"/>
                      <a:pt x="13077" y="31295"/>
                      <a:pt x="13077" y="44099"/>
                    </a:cubicBezTo>
                    <a:cubicBezTo>
                      <a:pt x="13077" y="65729"/>
                      <a:pt x="30680" y="83306"/>
                      <a:pt x="52285" y="83306"/>
                    </a:cubicBezTo>
                    <a:cubicBezTo>
                      <a:pt x="73890" y="83306"/>
                      <a:pt x="91492" y="65704"/>
                      <a:pt x="91492" y="44099"/>
                    </a:cubicBezTo>
                    <a:cubicBezTo>
                      <a:pt x="91492" y="31295"/>
                      <a:pt x="85202" y="19262"/>
                      <a:pt x="74685" y="11903"/>
                    </a:cubicBezTo>
                    <a:cubicBezTo>
                      <a:pt x="71727" y="9839"/>
                      <a:pt x="71006" y="5762"/>
                      <a:pt x="73069" y="2803"/>
                    </a:cubicBezTo>
                    <a:cubicBezTo>
                      <a:pt x="75133" y="-155"/>
                      <a:pt x="79185" y="-901"/>
                      <a:pt x="82169" y="1187"/>
                    </a:cubicBezTo>
                    <a:cubicBezTo>
                      <a:pt x="96191" y="10983"/>
                      <a:pt x="104569" y="27019"/>
                      <a:pt x="104569" y="44099"/>
                    </a:cubicBezTo>
                    <a:cubicBezTo>
                      <a:pt x="104569" y="72914"/>
                      <a:pt x="81124" y="96383"/>
                      <a:pt x="52285" y="96383"/>
                    </a:cubicBezTo>
                    <a:close/>
                  </a:path>
                </a:pathLst>
              </a:custGeom>
              <a:solidFill>
                <a:schemeClr val="accent1"/>
              </a:solidFill>
              <a:ln w="2482" cap="flat">
                <a:noFill/>
                <a:prstDash val="solid"/>
                <a:miter/>
              </a:ln>
            </p:spPr>
            <p:txBody>
              <a:bodyPr rtlCol="0" anchor="ctr"/>
              <a:lstStyle/>
              <a:p>
                <a:endParaRPr lang="en-GB" dirty="0"/>
              </a:p>
            </p:txBody>
          </p:sp>
          <p:sp>
            <p:nvSpPr>
              <p:cNvPr id="199" name="Freihandform: Form 841">
                <a:extLst>
                  <a:ext uri="{FF2B5EF4-FFF2-40B4-BE49-F238E27FC236}">
                    <a16:creationId xmlns:a16="http://schemas.microsoft.com/office/drawing/2014/main" id="{1B72692B-E566-4B6A-A40E-51B8383B827F}"/>
                  </a:ext>
                </a:extLst>
              </p:cNvPr>
              <p:cNvSpPr/>
              <p:nvPr/>
            </p:nvSpPr>
            <p:spPr>
              <a:xfrm>
                <a:off x="7175142" y="1877714"/>
                <a:ext cx="13077" cy="65361"/>
              </a:xfrm>
              <a:custGeom>
                <a:avLst/>
                <a:gdLst>
                  <a:gd name="connsiteX0" fmla="*/ 6539 w 13077"/>
                  <a:gd name="connsiteY0" fmla="*/ 65362 h 65361"/>
                  <a:gd name="connsiteX1" fmla="*/ 0 w 13077"/>
                  <a:gd name="connsiteY1" fmla="*/ 58823 h 65361"/>
                  <a:gd name="connsiteX2" fmla="*/ 0 w 13077"/>
                  <a:gd name="connsiteY2" fmla="*/ 6539 h 65361"/>
                  <a:gd name="connsiteX3" fmla="*/ 6539 w 13077"/>
                  <a:gd name="connsiteY3" fmla="*/ 0 h 65361"/>
                  <a:gd name="connsiteX4" fmla="*/ 13077 w 13077"/>
                  <a:gd name="connsiteY4" fmla="*/ 6539 h 65361"/>
                  <a:gd name="connsiteX5" fmla="*/ 13077 w 13077"/>
                  <a:gd name="connsiteY5" fmla="*/ 58823 h 65361"/>
                  <a:gd name="connsiteX6" fmla="*/ 6539 w 13077"/>
                  <a:gd name="connsiteY6" fmla="*/ 65362 h 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7" h="65361">
                    <a:moveTo>
                      <a:pt x="6539" y="65362"/>
                    </a:moveTo>
                    <a:cubicBezTo>
                      <a:pt x="2934" y="65362"/>
                      <a:pt x="0" y="62428"/>
                      <a:pt x="0" y="58823"/>
                    </a:cubicBezTo>
                    <a:lnTo>
                      <a:pt x="0" y="6539"/>
                    </a:lnTo>
                    <a:cubicBezTo>
                      <a:pt x="0" y="2934"/>
                      <a:pt x="2934" y="0"/>
                      <a:pt x="6539" y="0"/>
                    </a:cubicBezTo>
                    <a:cubicBezTo>
                      <a:pt x="10144" y="0"/>
                      <a:pt x="13077" y="2934"/>
                      <a:pt x="13077" y="6539"/>
                    </a:cubicBezTo>
                    <a:lnTo>
                      <a:pt x="13077" y="58823"/>
                    </a:lnTo>
                    <a:cubicBezTo>
                      <a:pt x="13077" y="62453"/>
                      <a:pt x="10144" y="65362"/>
                      <a:pt x="6539" y="65362"/>
                    </a:cubicBezTo>
                    <a:close/>
                  </a:path>
                </a:pathLst>
              </a:custGeom>
              <a:solidFill>
                <a:schemeClr val="accent1"/>
              </a:solidFill>
              <a:ln w="2482" cap="flat">
                <a:noFill/>
                <a:prstDash val="solid"/>
                <a:miter/>
              </a:ln>
            </p:spPr>
            <p:txBody>
              <a:bodyPr rtlCol="0" anchor="ctr"/>
              <a:lstStyle/>
              <a:p>
                <a:endParaRPr lang="en-GB" dirty="0"/>
              </a:p>
            </p:txBody>
          </p:sp>
        </p:grpSp>
        <p:grpSp>
          <p:nvGrpSpPr>
            <p:cNvPr id="175" name="Group 174">
              <a:extLst>
                <a:ext uri="{FF2B5EF4-FFF2-40B4-BE49-F238E27FC236}">
                  <a16:creationId xmlns:a16="http://schemas.microsoft.com/office/drawing/2014/main" id="{5291598B-0B89-4149-80BC-FFB6BD4079B0}"/>
                </a:ext>
              </a:extLst>
            </p:cNvPr>
            <p:cNvGrpSpPr/>
            <p:nvPr/>
          </p:nvGrpSpPr>
          <p:grpSpPr>
            <a:xfrm>
              <a:off x="565715" y="3197068"/>
              <a:ext cx="456671" cy="432000"/>
              <a:chOff x="6939874" y="1629343"/>
              <a:chExt cx="483662" cy="457533"/>
            </a:xfrm>
            <a:solidFill>
              <a:schemeClr val="tx2"/>
            </a:solidFill>
          </p:grpSpPr>
          <p:grpSp>
            <p:nvGrpSpPr>
              <p:cNvPr id="176" name="Grafik 253">
                <a:extLst>
                  <a:ext uri="{FF2B5EF4-FFF2-40B4-BE49-F238E27FC236}">
                    <a16:creationId xmlns:a16="http://schemas.microsoft.com/office/drawing/2014/main" id="{C23AB528-6FE4-419C-850A-AD5068630836}"/>
                  </a:ext>
                </a:extLst>
              </p:cNvPr>
              <p:cNvGrpSpPr/>
              <p:nvPr/>
            </p:nvGrpSpPr>
            <p:grpSpPr>
              <a:xfrm>
                <a:off x="7078586" y="1629343"/>
                <a:ext cx="205962" cy="115334"/>
                <a:chOff x="7078586" y="1629343"/>
                <a:chExt cx="205962" cy="115334"/>
              </a:xfrm>
              <a:grpFill/>
            </p:grpSpPr>
            <p:sp>
              <p:nvSpPr>
                <p:cNvPr id="195" name="Freihandform: Form 825">
                  <a:extLst>
                    <a:ext uri="{FF2B5EF4-FFF2-40B4-BE49-F238E27FC236}">
                      <a16:creationId xmlns:a16="http://schemas.microsoft.com/office/drawing/2014/main" id="{67C06A71-DD9C-4448-9EA4-DEBE88B53787}"/>
                    </a:ext>
                  </a:extLst>
                </p:cNvPr>
                <p:cNvSpPr/>
                <p:nvPr/>
              </p:nvSpPr>
              <p:spPr>
                <a:xfrm>
                  <a:off x="7078586" y="1629343"/>
                  <a:ext cx="205962" cy="69489"/>
                </a:xfrm>
                <a:custGeom>
                  <a:avLst/>
                  <a:gdLst>
                    <a:gd name="connsiteX0" fmla="*/ 6531 w 205962"/>
                    <a:gd name="connsiteY0" fmla="*/ 69489 h 69489"/>
                    <a:gd name="connsiteX1" fmla="*/ 3323 w 205962"/>
                    <a:gd name="connsiteY1" fmla="*/ 68644 h 69489"/>
                    <a:gd name="connsiteX2" fmla="*/ 837 w 205962"/>
                    <a:gd name="connsiteY2" fmla="*/ 59743 h 69489"/>
                    <a:gd name="connsiteX3" fmla="*/ 103119 w 205962"/>
                    <a:gd name="connsiteY3" fmla="*/ 0 h 69489"/>
                    <a:gd name="connsiteX4" fmla="*/ 205103 w 205962"/>
                    <a:gd name="connsiteY4" fmla="*/ 59246 h 69489"/>
                    <a:gd name="connsiteX5" fmla="*/ 202666 w 205962"/>
                    <a:gd name="connsiteY5" fmla="*/ 68171 h 69489"/>
                    <a:gd name="connsiteX6" fmla="*/ 193741 w 205962"/>
                    <a:gd name="connsiteY6" fmla="*/ 65735 h 69489"/>
                    <a:gd name="connsiteX7" fmla="*/ 103119 w 205962"/>
                    <a:gd name="connsiteY7" fmla="*/ 13077 h 69489"/>
                    <a:gd name="connsiteX8" fmla="*/ 12224 w 205962"/>
                    <a:gd name="connsiteY8" fmla="*/ 66158 h 69489"/>
                    <a:gd name="connsiteX9" fmla="*/ 6531 w 205962"/>
                    <a:gd name="connsiteY9" fmla="*/ 69489 h 69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5962" h="69489">
                      <a:moveTo>
                        <a:pt x="6531" y="69489"/>
                      </a:moveTo>
                      <a:cubicBezTo>
                        <a:pt x="5437" y="69489"/>
                        <a:pt x="4343" y="69216"/>
                        <a:pt x="3323" y="68644"/>
                      </a:cubicBezTo>
                      <a:cubicBezTo>
                        <a:pt x="191" y="66879"/>
                        <a:pt x="-928" y="62876"/>
                        <a:pt x="837" y="59743"/>
                      </a:cubicBezTo>
                      <a:cubicBezTo>
                        <a:pt x="21647" y="22898"/>
                        <a:pt x="60829" y="0"/>
                        <a:pt x="103119" y="0"/>
                      </a:cubicBezTo>
                      <a:cubicBezTo>
                        <a:pt x="145161" y="0"/>
                        <a:pt x="184243" y="22699"/>
                        <a:pt x="205103" y="59246"/>
                      </a:cubicBezTo>
                      <a:cubicBezTo>
                        <a:pt x="206893" y="62379"/>
                        <a:pt x="205799" y="66381"/>
                        <a:pt x="202666" y="68171"/>
                      </a:cubicBezTo>
                      <a:cubicBezTo>
                        <a:pt x="199509" y="69961"/>
                        <a:pt x="195531" y="68867"/>
                        <a:pt x="193741" y="65735"/>
                      </a:cubicBezTo>
                      <a:cubicBezTo>
                        <a:pt x="175218" y="33265"/>
                        <a:pt x="140486" y="13077"/>
                        <a:pt x="103119" y="13077"/>
                      </a:cubicBezTo>
                      <a:cubicBezTo>
                        <a:pt x="65553" y="13077"/>
                        <a:pt x="30721" y="33414"/>
                        <a:pt x="12224" y="66158"/>
                      </a:cubicBezTo>
                      <a:cubicBezTo>
                        <a:pt x="11031" y="68296"/>
                        <a:pt x="8818" y="69489"/>
                        <a:pt x="6531" y="69489"/>
                      </a:cubicBezTo>
                      <a:close/>
                    </a:path>
                  </a:pathLst>
                </a:custGeom>
                <a:grpFill/>
                <a:ln w="2482" cap="flat">
                  <a:noFill/>
                  <a:prstDash val="solid"/>
                  <a:miter/>
                </a:ln>
              </p:spPr>
              <p:txBody>
                <a:bodyPr rtlCol="0" anchor="ctr"/>
                <a:lstStyle/>
                <a:p>
                  <a:endParaRPr lang="en-GB" dirty="0"/>
                </a:p>
              </p:txBody>
            </p:sp>
            <p:sp>
              <p:nvSpPr>
                <p:cNvPr id="196" name="Freihandform: Form 826">
                  <a:extLst>
                    <a:ext uri="{FF2B5EF4-FFF2-40B4-BE49-F238E27FC236}">
                      <a16:creationId xmlns:a16="http://schemas.microsoft.com/office/drawing/2014/main" id="{4668DB31-5A07-4F59-A5C5-90C0AFA69FA8}"/>
                    </a:ext>
                  </a:extLst>
                </p:cNvPr>
                <p:cNvSpPr/>
                <p:nvPr/>
              </p:nvSpPr>
              <p:spPr>
                <a:xfrm>
                  <a:off x="7121187" y="1678619"/>
                  <a:ext cx="120942" cy="44975"/>
                </a:xfrm>
                <a:custGeom>
                  <a:avLst/>
                  <a:gdLst>
                    <a:gd name="connsiteX0" fmla="*/ 6543 w 120942"/>
                    <a:gd name="connsiteY0" fmla="*/ 44975 h 44975"/>
                    <a:gd name="connsiteX1" fmla="*/ 3385 w 120942"/>
                    <a:gd name="connsiteY1" fmla="*/ 44155 h 44975"/>
                    <a:gd name="connsiteX2" fmla="*/ 824 w 120942"/>
                    <a:gd name="connsiteY2" fmla="*/ 35279 h 44975"/>
                    <a:gd name="connsiteX3" fmla="*/ 60518 w 120942"/>
                    <a:gd name="connsiteY3" fmla="*/ 0 h 44975"/>
                    <a:gd name="connsiteX4" fmla="*/ 120112 w 120942"/>
                    <a:gd name="connsiteY4" fmla="*/ 35105 h 44975"/>
                    <a:gd name="connsiteX5" fmla="*/ 117576 w 120942"/>
                    <a:gd name="connsiteY5" fmla="*/ 44006 h 44975"/>
                    <a:gd name="connsiteX6" fmla="*/ 108700 w 120942"/>
                    <a:gd name="connsiteY6" fmla="*/ 41470 h 44975"/>
                    <a:gd name="connsiteX7" fmla="*/ 60543 w 120942"/>
                    <a:gd name="connsiteY7" fmla="*/ 13102 h 44975"/>
                    <a:gd name="connsiteX8" fmla="*/ 12311 w 120942"/>
                    <a:gd name="connsiteY8" fmla="*/ 41619 h 44975"/>
                    <a:gd name="connsiteX9" fmla="*/ 6543 w 120942"/>
                    <a:gd name="connsiteY9" fmla="*/ 44975 h 44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942" h="44975">
                      <a:moveTo>
                        <a:pt x="6543" y="44975"/>
                      </a:moveTo>
                      <a:cubicBezTo>
                        <a:pt x="5474" y="44975"/>
                        <a:pt x="4380" y="44702"/>
                        <a:pt x="3385" y="44155"/>
                      </a:cubicBezTo>
                      <a:cubicBezTo>
                        <a:pt x="228" y="42414"/>
                        <a:pt x="-941" y="38437"/>
                        <a:pt x="824" y="35279"/>
                      </a:cubicBezTo>
                      <a:cubicBezTo>
                        <a:pt x="12808" y="13525"/>
                        <a:pt x="35706" y="0"/>
                        <a:pt x="60518" y="0"/>
                      </a:cubicBezTo>
                      <a:cubicBezTo>
                        <a:pt x="85255" y="0"/>
                        <a:pt x="108079" y="13450"/>
                        <a:pt x="120112" y="35105"/>
                      </a:cubicBezTo>
                      <a:cubicBezTo>
                        <a:pt x="121877" y="38262"/>
                        <a:pt x="120733" y="42240"/>
                        <a:pt x="117576" y="44006"/>
                      </a:cubicBezTo>
                      <a:cubicBezTo>
                        <a:pt x="114418" y="45746"/>
                        <a:pt x="110441" y="44627"/>
                        <a:pt x="108700" y="41470"/>
                      </a:cubicBezTo>
                      <a:cubicBezTo>
                        <a:pt x="98979" y="23967"/>
                        <a:pt x="80532" y="13102"/>
                        <a:pt x="60543" y="13102"/>
                      </a:cubicBezTo>
                      <a:cubicBezTo>
                        <a:pt x="40479" y="13102"/>
                        <a:pt x="22007" y="24041"/>
                        <a:pt x="12311" y="41619"/>
                      </a:cubicBezTo>
                      <a:cubicBezTo>
                        <a:pt x="11092" y="43732"/>
                        <a:pt x="8855" y="44975"/>
                        <a:pt x="6543" y="44975"/>
                      </a:cubicBezTo>
                      <a:close/>
                    </a:path>
                  </a:pathLst>
                </a:custGeom>
                <a:grpFill/>
                <a:ln w="2482" cap="flat">
                  <a:noFill/>
                  <a:prstDash val="solid"/>
                  <a:miter/>
                </a:ln>
              </p:spPr>
              <p:txBody>
                <a:bodyPr rtlCol="0" anchor="ctr"/>
                <a:lstStyle/>
                <a:p>
                  <a:endParaRPr lang="en-GB" dirty="0"/>
                </a:p>
              </p:txBody>
            </p:sp>
            <p:sp>
              <p:nvSpPr>
                <p:cNvPr id="197" name="Freihandform: Form 827">
                  <a:extLst>
                    <a:ext uri="{FF2B5EF4-FFF2-40B4-BE49-F238E27FC236}">
                      <a16:creationId xmlns:a16="http://schemas.microsoft.com/office/drawing/2014/main" id="{DBBD01D0-3DF5-4EFB-B727-47C15CDE88B5}"/>
                    </a:ext>
                  </a:extLst>
                </p:cNvPr>
                <p:cNvSpPr/>
                <p:nvPr/>
              </p:nvSpPr>
              <p:spPr>
                <a:xfrm>
                  <a:off x="7158784" y="1721705"/>
                  <a:ext cx="45561" cy="22972"/>
                </a:xfrm>
                <a:custGeom>
                  <a:avLst/>
                  <a:gdLst>
                    <a:gd name="connsiteX0" fmla="*/ 6538 w 45561"/>
                    <a:gd name="connsiteY0" fmla="*/ 22972 h 22972"/>
                    <a:gd name="connsiteX1" fmla="*/ 3504 w 45561"/>
                    <a:gd name="connsiteY1" fmla="*/ 22227 h 22972"/>
                    <a:gd name="connsiteX2" fmla="*/ 745 w 45561"/>
                    <a:gd name="connsiteY2" fmla="*/ 13401 h 22972"/>
                    <a:gd name="connsiteX3" fmla="*/ 22897 w 45561"/>
                    <a:gd name="connsiteY3" fmla="*/ 0 h 22972"/>
                    <a:gd name="connsiteX4" fmla="*/ 44725 w 45561"/>
                    <a:gd name="connsiteY4" fmla="*/ 12779 h 22972"/>
                    <a:gd name="connsiteX5" fmla="*/ 42214 w 45561"/>
                    <a:gd name="connsiteY5" fmla="*/ 21680 h 22972"/>
                    <a:gd name="connsiteX6" fmla="*/ 33314 w 45561"/>
                    <a:gd name="connsiteY6" fmla="*/ 19169 h 22972"/>
                    <a:gd name="connsiteX7" fmla="*/ 22897 w 45561"/>
                    <a:gd name="connsiteY7" fmla="*/ 13053 h 22972"/>
                    <a:gd name="connsiteX8" fmla="*/ 12306 w 45561"/>
                    <a:gd name="connsiteY8" fmla="*/ 19467 h 22972"/>
                    <a:gd name="connsiteX9" fmla="*/ 6538 w 45561"/>
                    <a:gd name="connsiteY9" fmla="*/ 22972 h 22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561" h="22972">
                      <a:moveTo>
                        <a:pt x="6538" y="22972"/>
                      </a:moveTo>
                      <a:cubicBezTo>
                        <a:pt x="5518" y="22972"/>
                        <a:pt x="4474" y="22724"/>
                        <a:pt x="3504" y="22227"/>
                      </a:cubicBezTo>
                      <a:cubicBezTo>
                        <a:pt x="297" y="20561"/>
                        <a:pt x="-921" y="16608"/>
                        <a:pt x="745" y="13401"/>
                      </a:cubicBezTo>
                      <a:cubicBezTo>
                        <a:pt x="5096" y="5146"/>
                        <a:pt x="13573" y="0"/>
                        <a:pt x="22897" y="0"/>
                      </a:cubicBezTo>
                      <a:cubicBezTo>
                        <a:pt x="31946" y="0"/>
                        <a:pt x="40300" y="4898"/>
                        <a:pt x="44725" y="12779"/>
                      </a:cubicBezTo>
                      <a:cubicBezTo>
                        <a:pt x="46491" y="15936"/>
                        <a:pt x="45372" y="19914"/>
                        <a:pt x="42214" y="21680"/>
                      </a:cubicBezTo>
                      <a:cubicBezTo>
                        <a:pt x="39032" y="23445"/>
                        <a:pt x="35079" y="22326"/>
                        <a:pt x="33314" y="19169"/>
                      </a:cubicBezTo>
                      <a:cubicBezTo>
                        <a:pt x="31201" y="15414"/>
                        <a:pt x="27223" y="13053"/>
                        <a:pt x="22897" y="13053"/>
                      </a:cubicBezTo>
                      <a:cubicBezTo>
                        <a:pt x="18446" y="13053"/>
                        <a:pt x="14394" y="15514"/>
                        <a:pt x="12306" y="19467"/>
                      </a:cubicBezTo>
                      <a:cubicBezTo>
                        <a:pt x="11187" y="21704"/>
                        <a:pt x="8899" y="22972"/>
                        <a:pt x="6538" y="22972"/>
                      </a:cubicBezTo>
                      <a:close/>
                    </a:path>
                  </a:pathLst>
                </a:custGeom>
                <a:grpFill/>
                <a:ln w="2482" cap="flat">
                  <a:noFill/>
                  <a:prstDash val="solid"/>
                  <a:miter/>
                </a:ln>
              </p:spPr>
              <p:txBody>
                <a:bodyPr rtlCol="0" anchor="ctr"/>
                <a:lstStyle/>
                <a:p>
                  <a:endParaRPr lang="en-GB" dirty="0"/>
                </a:p>
              </p:txBody>
            </p:sp>
          </p:grpSp>
          <p:sp>
            <p:nvSpPr>
              <p:cNvPr id="177" name="Freihandform: Form 828">
                <a:extLst>
                  <a:ext uri="{FF2B5EF4-FFF2-40B4-BE49-F238E27FC236}">
                    <a16:creationId xmlns:a16="http://schemas.microsoft.com/office/drawing/2014/main" id="{1773926D-A028-4D2C-9CB2-959618C28E02}"/>
                  </a:ext>
                </a:extLst>
              </p:cNvPr>
              <p:cNvSpPr/>
              <p:nvPr/>
            </p:nvSpPr>
            <p:spPr>
              <a:xfrm>
                <a:off x="7064034" y="1812352"/>
                <a:ext cx="235292" cy="13077"/>
              </a:xfrm>
              <a:custGeom>
                <a:avLst/>
                <a:gdLst>
                  <a:gd name="connsiteX0" fmla="*/ 228754 w 235292"/>
                  <a:gd name="connsiteY0" fmla="*/ 13077 h 13077"/>
                  <a:gd name="connsiteX1" fmla="*/ 6539 w 235292"/>
                  <a:gd name="connsiteY1" fmla="*/ 13077 h 13077"/>
                  <a:gd name="connsiteX2" fmla="*/ 0 w 235292"/>
                  <a:gd name="connsiteY2" fmla="*/ 6539 h 13077"/>
                  <a:gd name="connsiteX3" fmla="*/ 6539 w 235292"/>
                  <a:gd name="connsiteY3" fmla="*/ 0 h 13077"/>
                  <a:gd name="connsiteX4" fmla="*/ 228754 w 235292"/>
                  <a:gd name="connsiteY4" fmla="*/ 0 h 13077"/>
                  <a:gd name="connsiteX5" fmla="*/ 235293 w 235292"/>
                  <a:gd name="connsiteY5" fmla="*/ 6539 h 13077"/>
                  <a:gd name="connsiteX6" fmla="*/ 228754 w 235292"/>
                  <a:gd name="connsiteY6" fmla="*/ 13077 h 1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292" h="13077">
                    <a:moveTo>
                      <a:pt x="228754" y="13077"/>
                    </a:moveTo>
                    <a:lnTo>
                      <a:pt x="6539" y="13077"/>
                    </a:lnTo>
                    <a:cubicBezTo>
                      <a:pt x="2934" y="13077"/>
                      <a:pt x="0" y="10144"/>
                      <a:pt x="0" y="6539"/>
                    </a:cubicBezTo>
                    <a:cubicBezTo>
                      <a:pt x="0" y="2934"/>
                      <a:pt x="2934" y="0"/>
                      <a:pt x="6539" y="0"/>
                    </a:cubicBezTo>
                    <a:lnTo>
                      <a:pt x="228754" y="0"/>
                    </a:lnTo>
                    <a:cubicBezTo>
                      <a:pt x="232359" y="0"/>
                      <a:pt x="235293" y="2934"/>
                      <a:pt x="235293" y="6539"/>
                    </a:cubicBezTo>
                    <a:cubicBezTo>
                      <a:pt x="235293" y="10144"/>
                      <a:pt x="232384" y="13077"/>
                      <a:pt x="228754" y="13077"/>
                    </a:cubicBezTo>
                    <a:close/>
                  </a:path>
                </a:pathLst>
              </a:custGeom>
              <a:grpFill/>
              <a:ln w="2482" cap="flat">
                <a:noFill/>
                <a:prstDash val="solid"/>
                <a:miter/>
              </a:ln>
            </p:spPr>
            <p:txBody>
              <a:bodyPr rtlCol="0" anchor="ctr"/>
              <a:lstStyle/>
              <a:p>
                <a:endParaRPr lang="en-GB" dirty="0"/>
              </a:p>
            </p:txBody>
          </p:sp>
          <p:sp>
            <p:nvSpPr>
              <p:cNvPr id="178" name="Freihandform: Form 829">
                <a:extLst>
                  <a:ext uri="{FF2B5EF4-FFF2-40B4-BE49-F238E27FC236}">
                    <a16:creationId xmlns:a16="http://schemas.microsoft.com/office/drawing/2014/main" id="{D79BB730-DCA5-40B3-A8B8-D5BCB8051854}"/>
                  </a:ext>
                </a:extLst>
              </p:cNvPr>
              <p:cNvSpPr/>
              <p:nvPr/>
            </p:nvSpPr>
            <p:spPr>
              <a:xfrm>
                <a:off x="7064034" y="2021515"/>
                <a:ext cx="235292" cy="13077"/>
              </a:xfrm>
              <a:custGeom>
                <a:avLst/>
                <a:gdLst>
                  <a:gd name="connsiteX0" fmla="*/ 228754 w 235292"/>
                  <a:gd name="connsiteY0" fmla="*/ 13077 h 13077"/>
                  <a:gd name="connsiteX1" fmla="*/ 6539 w 235292"/>
                  <a:gd name="connsiteY1" fmla="*/ 13077 h 13077"/>
                  <a:gd name="connsiteX2" fmla="*/ 0 w 235292"/>
                  <a:gd name="connsiteY2" fmla="*/ 6539 h 13077"/>
                  <a:gd name="connsiteX3" fmla="*/ 6539 w 235292"/>
                  <a:gd name="connsiteY3" fmla="*/ 0 h 13077"/>
                  <a:gd name="connsiteX4" fmla="*/ 228754 w 235292"/>
                  <a:gd name="connsiteY4" fmla="*/ 0 h 13077"/>
                  <a:gd name="connsiteX5" fmla="*/ 235293 w 235292"/>
                  <a:gd name="connsiteY5" fmla="*/ 6539 h 13077"/>
                  <a:gd name="connsiteX6" fmla="*/ 228754 w 235292"/>
                  <a:gd name="connsiteY6" fmla="*/ 13077 h 1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292" h="13077">
                    <a:moveTo>
                      <a:pt x="228754" y="13077"/>
                    </a:moveTo>
                    <a:lnTo>
                      <a:pt x="6539" y="13077"/>
                    </a:lnTo>
                    <a:cubicBezTo>
                      <a:pt x="2934" y="13077"/>
                      <a:pt x="0" y="10144"/>
                      <a:pt x="0" y="6539"/>
                    </a:cubicBezTo>
                    <a:cubicBezTo>
                      <a:pt x="0" y="2934"/>
                      <a:pt x="2934" y="0"/>
                      <a:pt x="6539" y="0"/>
                    </a:cubicBezTo>
                    <a:lnTo>
                      <a:pt x="228754" y="0"/>
                    </a:lnTo>
                    <a:cubicBezTo>
                      <a:pt x="232359" y="0"/>
                      <a:pt x="235293" y="2934"/>
                      <a:pt x="235293" y="6539"/>
                    </a:cubicBezTo>
                    <a:cubicBezTo>
                      <a:pt x="235293" y="10144"/>
                      <a:pt x="232384" y="13077"/>
                      <a:pt x="228754" y="13077"/>
                    </a:cubicBezTo>
                    <a:close/>
                  </a:path>
                </a:pathLst>
              </a:custGeom>
              <a:grpFill/>
              <a:ln w="2482" cap="flat">
                <a:noFill/>
                <a:prstDash val="solid"/>
                <a:miter/>
              </a:ln>
            </p:spPr>
            <p:txBody>
              <a:bodyPr rtlCol="0" anchor="ctr"/>
              <a:lstStyle/>
              <a:p>
                <a:endParaRPr lang="en-GB" dirty="0"/>
              </a:p>
            </p:txBody>
          </p:sp>
          <p:sp>
            <p:nvSpPr>
              <p:cNvPr id="179" name="Freihandform: Form 830">
                <a:extLst>
                  <a:ext uri="{FF2B5EF4-FFF2-40B4-BE49-F238E27FC236}">
                    <a16:creationId xmlns:a16="http://schemas.microsoft.com/office/drawing/2014/main" id="{67A9F59A-2A62-4AD5-BEB1-9FFAFCDD6469}"/>
                  </a:ext>
                </a:extLst>
              </p:cNvPr>
              <p:cNvSpPr/>
              <p:nvPr/>
            </p:nvSpPr>
            <p:spPr>
              <a:xfrm>
                <a:off x="7064059" y="1760092"/>
                <a:ext cx="235268" cy="326784"/>
              </a:xfrm>
              <a:custGeom>
                <a:avLst/>
                <a:gdLst>
                  <a:gd name="connsiteX0" fmla="*/ 196061 w 235268"/>
                  <a:gd name="connsiteY0" fmla="*/ 326785 h 326784"/>
                  <a:gd name="connsiteX1" fmla="*/ 39207 w 235268"/>
                  <a:gd name="connsiteY1" fmla="*/ 326785 h 326784"/>
                  <a:gd name="connsiteX2" fmla="*/ 0 w 235268"/>
                  <a:gd name="connsiteY2" fmla="*/ 287578 h 326784"/>
                  <a:gd name="connsiteX3" fmla="*/ 0 w 235268"/>
                  <a:gd name="connsiteY3" fmla="*/ 39207 h 326784"/>
                  <a:gd name="connsiteX4" fmla="*/ 39207 w 235268"/>
                  <a:gd name="connsiteY4" fmla="*/ 0 h 326784"/>
                  <a:gd name="connsiteX5" fmla="*/ 196061 w 235268"/>
                  <a:gd name="connsiteY5" fmla="*/ 0 h 326784"/>
                  <a:gd name="connsiteX6" fmla="*/ 235268 w 235268"/>
                  <a:gd name="connsiteY6" fmla="*/ 39207 h 326784"/>
                  <a:gd name="connsiteX7" fmla="*/ 235268 w 235268"/>
                  <a:gd name="connsiteY7" fmla="*/ 287578 h 326784"/>
                  <a:gd name="connsiteX8" fmla="*/ 196061 w 235268"/>
                  <a:gd name="connsiteY8" fmla="*/ 326785 h 326784"/>
                  <a:gd name="connsiteX9" fmla="*/ 39182 w 235268"/>
                  <a:gd name="connsiteY9" fmla="*/ 13053 h 326784"/>
                  <a:gd name="connsiteX10" fmla="*/ 13028 w 235268"/>
                  <a:gd name="connsiteY10" fmla="*/ 39207 h 326784"/>
                  <a:gd name="connsiteX11" fmla="*/ 13028 w 235268"/>
                  <a:gd name="connsiteY11" fmla="*/ 287578 h 326784"/>
                  <a:gd name="connsiteX12" fmla="*/ 39182 w 235268"/>
                  <a:gd name="connsiteY12" fmla="*/ 313732 h 326784"/>
                  <a:gd name="connsiteX13" fmla="*/ 196036 w 235268"/>
                  <a:gd name="connsiteY13" fmla="*/ 313732 h 326784"/>
                  <a:gd name="connsiteX14" fmla="*/ 222191 w 235268"/>
                  <a:gd name="connsiteY14" fmla="*/ 287578 h 326784"/>
                  <a:gd name="connsiteX15" fmla="*/ 222191 w 235268"/>
                  <a:gd name="connsiteY15" fmla="*/ 39207 h 326784"/>
                  <a:gd name="connsiteX16" fmla="*/ 196036 w 235268"/>
                  <a:gd name="connsiteY16" fmla="*/ 13053 h 326784"/>
                  <a:gd name="connsiteX17" fmla="*/ 39182 w 235268"/>
                  <a:gd name="connsiteY17" fmla="*/ 13053 h 326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5268" h="326784">
                    <a:moveTo>
                      <a:pt x="196061" y="326785"/>
                    </a:moveTo>
                    <a:lnTo>
                      <a:pt x="39207" y="326785"/>
                    </a:lnTo>
                    <a:cubicBezTo>
                      <a:pt x="17577" y="326785"/>
                      <a:pt x="0" y="309183"/>
                      <a:pt x="0" y="287578"/>
                    </a:cubicBezTo>
                    <a:lnTo>
                      <a:pt x="0" y="39207"/>
                    </a:lnTo>
                    <a:cubicBezTo>
                      <a:pt x="0" y="17577"/>
                      <a:pt x="17602" y="0"/>
                      <a:pt x="39207" y="0"/>
                    </a:cubicBezTo>
                    <a:lnTo>
                      <a:pt x="196061" y="0"/>
                    </a:lnTo>
                    <a:cubicBezTo>
                      <a:pt x="217691" y="0"/>
                      <a:pt x="235268" y="17602"/>
                      <a:pt x="235268" y="39207"/>
                    </a:cubicBezTo>
                    <a:lnTo>
                      <a:pt x="235268" y="287578"/>
                    </a:lnTo>
                    <a:cubicBezTo>
                      <a:pt x="235268" y="309183"/>
                      <a:pt x="217691" y="326785"/>
                      <a:pt x="196061" y="326785"/>
                    </a:cubicBezTo>
                    <a:close/>
                    <a:moveTo>
                      <a:pt x="39182" y="13053"/>
                    </a:moveTo>
                    <a:cubicBezTo>
                      <a:pt x="24763" y="13053"/>
                      <a:pt x="13028" y="24787"/>
                      <a:pt x="13028" y="39207"/>
                    </a:cubicBezTo>
                    <a:lnTo>
                      <a:pt x="13028" y="287578"/>
                    </a:lnTo>
                    <a:cubicBezTo>
                      <a:pt x="13028" y="301998"/>
                      <a:pt x="24763" y="313732"/>
                      <a:pt x="39182" y="313732"/>
                    </a:cubicBezTo>
                    <a:lnTo>
                      <a:pt x="196036" y="313732"/>
                    </a:lnTo>
                    <a:cubicBezTo>
                      <a:pt x="210456" y="313732"/>
                      <a:pt x="222191" y="301998"/>
                      <a:pt x="222191" y="287578"/>
                    </a:cubicBezTo>
                    <a:lnTo>
                      <a:pt x="222191" y="39207"/>
                    </a:lnTo>
                    <a:cubicBezTo>
                      <a:pt x="222191" y="24787"/>
                      <a:pt x="210456" y="13053"/>
                      <a:pt x="196036" y="13053"/>
                    </a:cubicBezTo>
                    <a:lnTo>
                      <a:pt x="39182" y="13053"/>
                    </a:lnTo>
                    <a:close/>
                  </a:path>
                </a:pathLst>
              </a:custGeom>
              <a:grpFill/>
              <a:ln w="2482" cap="flat">
                <a:noFill/>
                <a:prstDash val="solid"/>
                <a:miter/>
              </a:ln>
            </p:spPr>
            <p:txBody>
              <a:bodyPr rtlCol="0" anchor="ctr"/>
              <a:lstStyle/>
              <a:p>
                <a:endParaRPr lang="en-GB" dirty="0"/>
              </a:p>
            </p:txBody>
          </p:sp>
          <p:grpSp>
            <p:nvGrpSpPr>
              <p:cNvPr id="180" name="Grafik 253">
                <a:extLst>
                  <a:ext uri="{FF2B5EF4-FFF2-40B4-BE49-F238E27FC236}">
                    <a16:creationId xmlns:a16="http://schemas.microsoft.com/office/drawing/2014/main" id="{8831617C-9228-47E0-AF65-158D3DF8059F}"/>
                  </a:ext>
                </a:extLst>
              </p:cNvPr>
              <p:cNvGrpSpPr/>
              <p:nvPr/>
            </p:nvGrpSpPr>
            <p:grpSpPr>
              <a:xfrm>
                <a:off x="7312404" y="1838506"/>
                <a:ext cx="111132" cy="156853"/>
                <a:chOff x="7312404" y="1838506"/>
                <a:chExt cx="111132" cy="156853"/>
              </a:xfrm>
              <a:grpFill/>
            </p:grpSpPr>
            <p:sp>
              <p:nvSpPr>
                <p:cNvPr id="188" name="Freihandform: Form 832">
                  <a:extLst>
                    <a:ext uri="{FF2B5EF4-FFF2-40B4-BE49-F238E27FC236}">
                      <a16:creationId xmlns:a16="http://schemas.microsoft.com/office/drawing/2014/main" id="{0131C54E-F207-4710-A9F7-D430BBAD5052}"/>
                    </a:ext>
                  </a:extLst>
                </p:cNvPr>
                <p:cNvSpPr/>
                <p:nvPr/>
              </p:nvSpPr>
              <p:spPr>
                <a:xfrm>
                  <a:off x="7332020" y="1969205"/>
                  <a:ext cx="13077" cy="26154"/>
                </a:xfrm>
                <a:custGeom>
                  <a:avLst/>
                  <a:gdLst>
                    <a:gd name="connsiteX0" fmla="*/ 6539 w 13077"/>
                    <a:gd name="connsiteY0" fmla="*/ 26155 h 26154"/>
                    <a:gd name="connsiteX1" fmla="*/ 0 w 13077"/>
                    <a:gd name="connsiteY1" fmla="*/ 19616 h 26154"/>
                    <a:gd name="connsiteX2" fmla="*/ 0 w 13077"/>
                    <a:gd name="connsiteY2" fmla="*/ 6539 h 26154"/>
                    <a:gd name="connsiteX3" fmla="*/ 6539 w 13077"/>
                    <a:gd name="connsiteY3" fmla="*/ 0 h 26154"/>
                    <a:gd name="connsiteX4" fmla="*/ 13077 w 13077"/>
                    <a:gd name="connsiteY4" fmla="*/ 6539 h 26154"/>
                    <a:gd name="connsiteX5" fmla="*/ 13077 w 13077"/>
                    <a:gd name="connsiteY5" fmla="*/ 19616 h 26154"/>
                    <a:gd name="connsiteX6" fmla="*/ 6539 w 13077"/>
                    <a:gd name="connsiteY6" fmla="*/ 26155 h 26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7" h="26154">
                      <a:moveTo>
                        <a:pt x="6539" y="26155"/>
                      </a:moveTo>
                      <a:cubicBezTo>
                        <a:pt x="2934" y="26155"/>
                        <a:pt x="0" y="23221"/>
                        <a:pt x="0" y="19616"/>
                      </a:cubicBezTo>
                      <a:lnTo>
                        <a:pt x="0" y="6539"/>
                      </a:lnTo>
                      <a:cubicBezTo>
                        <a:pt x="0" y="2934"/>
                        <a:pt x="2934" y="0"/>
                        <a:pt x="6539" y="0"/>
                      </a:cubicBezTo>
                      <a:cubicBezTo>
                        <a:pt x="10144" y="0"/>
                        <a:pt x="13077" y="2934"/>
                        <a:pt x="13077" y="6539"/>
                      </a:cubicBezTo>
                      <a:lnTo>
                        <a:pt x="13077" y="19616"/>
                      </a:lnTo>
                      <a:cubicBezTo>
                        <a:pt x="13077" y="23246"/>
                        <a:pt x="10144" y="26155"/>
                        <a:pt x="6539" y="26155"/>
                      </a:cubicBezTo>
                      <a:close/>
                    </a:path>
                  </a:pathLst>
                </a:custGeom>
                <a:grpFill/>
                <a:ln w="2482" cap="flat">
                  <a:noFill/>
                  <a:prstDash val="solid"/>
                  <a:miter/>
                </a:ln>
              </p:spPr>
              <p:txBody>
                <a:bodyPr rtlCol="0" anchor="ctr"/>
                <a:lstStyle/>
                <a:p>
                  <a:endParaRPr lang="en-GB" dirty="0"/>
                </a:p>
              </p:txBody>
            </p:sp>
            <p:grpSp>
              <p:nvGrpSpPr>
                <p:cNvPr id="189" name="Grafik 253">
                  <a:extLst>
                    <a:ext uri="{FF2B5EF4-FFF2-40B4-BE49-F238E27FC236}">
                      <a16:creationId xmlns:a16="http://schemas.microsoft.com/office/drawing/2014/main" id="{CDBE33A2-FE59-48DD-87BA-B8BEF3492B9E}"/>
                    </a:ext>
                  </a:extLst>
                </p:cNvPr>
                <p:cNvGrpSpPr/>
                <p:nvPr/>
              </p:nvGrpSpPr>
              <p:grpSpPr>
                <a:xfrm>
                  <a:off x="7312404" y="1838506"/>
                  <a:ext cx="111132" cy="156853"/>
                  <a:chOff x="7312404" y="1838506"/>
                  <a:chExt cx="111132" cy="156853"/>
                </a:xfrm>
                <a:grpFill/>
              </p:grpSpPr>
              <p:sp>
                <p:nvSpPr>
                  <p:cNvPr id="190" name="Freihandform: Form 834">
                    <a:extLst>
                      <a:ext uri="{FF2B5EF4-FFF2-40B4-BE49-F238E27FC236}">
                        <a16:creationId xmlns:a16="http://schemas.microsoft.com/office/drawing/2014/main" id="{C276F9BB-ACF6-4EEF-837B-58D9C75F4629}"/>
                      </a:ext>
                    </a:extLst>
                  </p:cNvPr>
                  <p:cNvSpPr/>
                  <p:nvPr/>
                </p:nvSpPr>
                <p:spPr>
                  <a:xfrm>
                    <a:off x="7332020" y="1838506"/>
                    <a:ext cx="13077" cy="104569"/>
                  </a:xfrm>
                  <a:custGeom>
                    <a:avLst/>
                    <a:gdLst>
                      <a:gd name="connsiteX0" fmla="*/ 6539 w 13077"/>
                      <a:gd name="connsiteY0" fmla="*/ 104569 h 104569"/>
                      <a:gd name="connsiteX1" fmla="*/ 0 w 13077"/>
                      <a:gd name="connsiteY1" fmla="*/ 98031 h 104569"/>
                      <a:gd name="connsiteX2" fmla="*/ 0 w 13077"/>
                      <a:gd name="connsiteY2" fmla="*/ 6539 h 104569"/>
                      <a:gd name="connsiteX3" fmla="*/ 6539 w 13077"/>
                      <a:gd name="connsiteY3" fmla="*/ 0 h 104569"/>
                      <a:gd name="connsiteX4" fmla="*/ 13077 w 13077"/>
                      <a:gd name="connsiteY4" fmla="*/ 6539 h 104569"/>
                      <a:gd name="connsiteX5" fmla="*/ 13077 w 13077"/>
                      <a:gd name="connsiteY5" fmla="*/ 98055 h 104569"/>
                      <a:gd name="connsiteX6" fmla="*/ 6539 w 13077"/>
                      <a:gd name="connsiteY6" fmla="*/ 104569 h 104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7" h="104569">
                        <a:moveTo>
                          <a:pt x="6539" y="104569"/>
                        </a:moveTo>
                        <a:cubicBezTo>
                          <a:pt x="2934" y="104569"/>
                          <a:pt x="0" y="101636"/>
                          <a:pt x="0" y="98031"/>
                        </a:cubicBezTo>
                        <a:lnTo>
                          <a:pt x="0" y="6539"/>
                        </a:lnTo>
                        <a:cubicBezTo>
                          <a:pt x="0" y="2934"/>
                          <a:pt x="2934" y="0"/>
                          <a:pt x="6539" y="0"/>
                        </a:cubicBezTo>
                        <a:cubicBezTo>
                          <a:pt x="10144" y="0"/>
                          <a:pt x="13077" y="2934"/>
                          <a:pt x="13077" y="6539"/>
                        </a:cubicBezTo>
                        <a:lnTo>
                          <a:pt x="13077" y="98055"/>
                        </a:lnTo>
                        <a:cubicBezTo>
                          <a:pt x="13077" y="101660"/>
                          <a:pt x="10144" y="104569"/>
                          <a:pt x="6539" y="104569"/>
                        </a:cubicBezTo>
                        <a:close/>
                      </a:path>
                    </a:pathLst>
                  </a:custGeom>
                  <a:grpFill/>
                  <a:ln w="2482" cap="flat">
                    <a:noFill/>
                    <a:prstDash val="solid"/>
                    <a:miter/>
                  </a:ln>
                </p:spPr>
                <p:txBody>
                  <a:bodyPr rtlCol="0" anchor="ctr"/>
                  <a:lstStyle/>
                  <a:p>
                    <a:endParaRPr lang="en-GB" dirty="0"/>
                  </a:p>
                </p:txBody>
              </p:sp>
              <p:sp>
                <p:nvSpPr>
                  <p:cNvPr id="191" name="Freihandform: Form 835">
                    <a:extLst>
                      <a:ext uri="{FF2B5EF4-FFF2-40B4-BE49-F238E27FC236}">
                        <a16:creationId xmlns:a16="http://schemas.microsoft.com/office/drawing/2014/main" id="{FDB42451-F198-4551-AD08-09F1F314EAE9}"/>
                      </a:ext>
                    </a:extLst>
                  </p:cNvPr>
                  <p:cNvSpPr/>
                  <p:nvPr/>
                </p:nvSpPr>
                <p:spPr>
                  <a:xfrm>
                    <a:off x="7390844" y="1910382"/>
                    <a:ext cx="13077" cy="84977"/>
                  </a:xfrm>
                  <a:custGeom>
                    <a:avLst/>
                    <a:gdLst>
                      <a:gd name="connsiteX0" fmla="*/ 6539 w 13077"/>
                      <a:gd name="connsiteY0" fmla="*/ 84978 h 84977"/>
                      <a:gd name="connsiteX1" fmla="*/ 0 w 13077"/>
                      <a:gd name="connsiteY1" fmla="*/ 78439 h 84977"/>
                      <a:gd name="connsiteX2" fmla="*/ 0 w 13077"/>
                      <a:gd name="connsiteY2" fmla="*/ 6539 h 84977"/>
                      <a:gd name="connsiteX3" fmla="*/ 6539 w 13077"/>
                      <a:gd name="connsiteY3" fmla="*/ 0 h 84977"/>
                      <a:gd name="connsiteX4" fmla="*/ 13077 w 13077"/>
                      <a:gd name="connsiteY4" fmla="*/ 6539 h 84977"/>
                      <a:gd name="connsiteX5" fmla="*/ 13077 w 13077"/>
                      <a:gd name="connsiteY5" fmla="*/ 78439 h 84977"/>
                      <a:gd name="connsiteX6" fmla="*/ 6539 w 13077"/>
                      <a:gd name="connsiteY6" fmla="*/ 84978 h 8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7" h="84977">
                        <a:moveTo>
                          <a:pt x="6539" y="84978"/>
                        </a:moveTo>
                        <a:cubicBezTo>
                          <a:pt x="2934" y="84978"/>
                          <a:pt x="0" y="82044"/>
                          <a:pt x="0" y="78439"/>
                        </a:cubicBezTo>
                        <a:lnTo>
                          <a:pt x="0" y="6539"/>
                        </a:lnTo>
                        <a:cubicBezTo>
                          <a:pt x="0" y="2934"/>
                          <a:pt x="2934" y="0"/>
                          <a:pt x="6539" y="0"/>
                        </a:cubicBezTo>
                        <a:cubicBezTo>
                          <a:pt x="10144" y="0"/>
                          <a:pt x="13077" y="2934"/>
                          <a:pt x="13077" y="6539"/>
                        </a:cubicBezTo>
                        <a:lnTo>
                          <a:pt x="13077" y="78439"/>
                        </a:lnTo>
                        <a:cubicBezTo>
                          <a:pt x="13077" y="82069"/>
                          <a:pt x="10144" y="84978"/>
                          <a:pt x="6539" y="84978"/>
                        </a:cubicBezTo>
                        <a:close/>
                      </a:path>
                    </a:pathLst>
                  </a:custGeom>
                  <a:grpFill/>
                  <a:ln w="2482" cap="flat">
                    <a:noFill/>
                    <a:prstDash val="solid"/>
                    <a:miter/>
                  </a:ln>
                </p:spPr>
                <p:txBody>
                  <a:bodyPr rtlCol="0" anchor="ctr"/>
                  <a:lstStyle/>
                  <a:p>
                    <a:endParaRPr lang="en-GB" dirty="0"/>
                  </a:p>
                </p:txBody>
              </p:sp>
              <p:sp>
                <p:nvSpPr>
                  <p:cNvPr id="192" name="Freihandform: Form 836">
                    <a:extLst>
                      <a:ext uri="{FF2B5EF4-FFF2-40B4-BE49-F238E27FC236}">
                        <a16:creationId xmlns:a16="http://schemas.microsoft.com/office/drawing/2014/main" id="{573FD5AE-5077-4649-9E62-DE0875F4D260}"/>
                      </a:ext>
                    </a:extLst>
                  </p:cNvPr>
                  <p:cNvSpPr/>
                  <p:nvPr/>
                </p:nvSpPr>
                <p:spPr>
                  <a:xfrm>
                    <a:off x="7390844" y="1838506"/>
                    <a:ext cx="13077" cy="45745"/>
                  </a:xfrm>
                  <a:custGeom>
                    <a:avLst/>
                    <a:gdLst>
                      <a:gd name="connsiteX0" fmla="*/ 6539 w 13077"/>
                      <a:gd name="connsiteY0" fmla="*/ 45746 h 45745"/>
                      <a:gd name="connsiteX1" fmla="*/ 0 w 13077"/>
                      <a:gd name="connsiteY1" fmla="*/ 39207 h 45745"/>
                      <a:gd name="connsiteX2" fmla="*/ 0 w 13077"/>
                      <a:gd name="connsiteY2" fmla="*/ 6539 h 45745"/>
                      <a:gd name="connsiteX3" fmla="*/ 6539 w 13077"/>
                      <a:gd name="connsiteY3" fmla="*/ 0 h 45745"/>
                      <a:gd name="connsiteX4" fmla="*/ 13077 w 13077"/>
                      <a:gd name="connsiteY4" fmla="*/ 6539 h 45745"/>
                      <a:gd name="connsiteX5" fmla="*/ 13077 w 13077"/>
                      <a:gd name="connsiteY5" fmla="*/ 39207 h 45745"/>
                      <a:gd name="connsiteX6" fmla="*/ 6539 w 13077"/>
                      <a:gd name="connsiteY6" fmla="*/ 45746 h 4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7" h="45745">
                        <a:moveTo>
                          <a:pt x="6539" y="45746"/>
                        </a:moveTo>
                        <a:cubicBezTo>
                          <a:pt x="2934" y="45746"/>
                          <a:pt x="0" y="42812"/>
                          <a:pt x="0" y="39207"/>
                        </a:cubicBezTo>
                        <a:lnTo>
                          <a:pt x="0" y="6539"/>
                        </a:lnTo>
                        <a:cubicBezTo>
                          <a:pt x="0" y="2934"/>
                          <a:pt x="2934" y="0"/>
                          <a:pt x="6539" y="0"/>
                        </a:cubicBezTo>
                        <a:cubicBezTo>
                          <a:pt x="10144" y="0"/>
                          <a:pt x="13077" y="2934"/>
                          <a:pt x="13077" y="6539"/>
                        </a:cubicBezTo>
                        <a:lnTo>
                          <a:pt x="13077" y="39207"/>
                        </a:lnTo>
                        <a:cubicBezTo>
                          <a:pt x="13077" y="42837"/>
                          <a:pt x="10144" y="45746"/>
                          <a:pt x="6539" y="45746"/>
                        </a:cubicBezTo>
                        <a:close/>
                      </a:path>
                    </a:pathLst>
                  </a:custGeom>
                  <a:grpFill/>
                  <a:ln w="2482" cap="flat">
                    <a:noFill/>
                    <a:prstDash val="solid"/>
                    <a:miter/>
                  </a:ln>
                </p:spPr>
                <p:txBody>
                  <a:bodyPr rtlCol="0" anchor="ctr"/>
                  <a:lstStyle/>
                  <a:p>
                    <a:endParaRPr lang="en-GB" dirty="0"/>
                  </a:p>
                </p:txBody>
              </p:sp>
              <p:sp>
                <p:nvSpPr>
                  <p:cNvPr id="193" name="Freihandform: Form 837">
                    <a:extLst>
                      <a:ext uri="{FF2B5EF4-FFF2-40B4-BE49-F238E27FC236}">
                        <a16:creationId xmlns:a16="http://schemas.microsoft.com/office/drawing/2014/main" id="{18AC9DB5-FC4E-416A-8751-07A40A5F642D}"/>
                      </a:ext>
                    </a:extLst>
                  </p:cNvPr>
                  <p:cNvSpPr/>
                  <p:nvPr/>
                </p:nvSpPr>
                <p:spPr>
                  <a:xfrm>
                    <a:off x="7312404" y="1929998"/>
                    <a:ext cx="52309" cy="52309"/>
                  </a:xfrm>
                  <a:custGeom>
                    <a:avLst/>
                    <a:gdLst>
                      <a:gd name="connsiteX0" fmla="*/ 39207 w 52309"/>
                      <a:gd name="connsiteY0" fmla="*/ 52309 h 52309"/>
                      <a:gd name="connsiteX1" fmla="*/ 13077 w 52309"/>
                      <a:gd name="connsiteY1" fmla="*/ 52309 h 52309"/>
                      <a:gd name="connsiteX2" fmla="*/ 0 w 52309"/>
                      <a:gd name="connsiteY2" fmla="*/ 39232 h 52309"/>
                      <a:gd name="connsiteX3" fmla="*/ 0 w 52309"/>
                      <a:gd name="connsiteY3" fmla="*/ 13077 h 52309"/>
                      <a:gd name="connsiteX4" fmla="*/ 13077 w 52309"/>
                      <a:gd name="connsiteY4" fmla="*/ 0 h 52309"/>
                      <a:gd name="connsiteX5" fmla="*/ 39232 w 52309"/>
                      <a:gd name="connsiteY5" fmla="*/ 0 h 52309"/>
                      <a:gd name="connsiteX6" fmla="*/ 52310 w 52309"/>
                      <a:gd name="connsiteY6" fmla="*/ 13077 h 52309"/>
                      <a:gd name="connsiteX7" fmla="*/ 52310 w 52309"/>
                      <a:gd name="connsiteY7" fmla="*/ 39232 h 52309"/>
                      <a:gd name="connsiteX8" fmla="*/ 39207 w 52309"/>
                      <a:gd name="connsiteY8" fmla="*/ 52309 h 52309"/>
                      <a:gd name="connsiteX9" fmla="*/ 13077 w 52309"/>
                      <a:gd name="connsiteY9" fmla="*/ 13077 h 52309"/>
                      <a:gd name="connsiteX10" fmla="*/ 13077 w 52309"/>
                      <a:gd name="connsiteY10" fmla="*/ 39232 h 52309"/>
                      <a:gd name="connsiteX11" fmla="*/ 39232 w 52309"/>
                      <a:gd name="connsiteY11" fmla="*/ 39232 h 52309"/>
                      <a:gd name="connsiteX12" fmla="*/ 39232 w 52309"/>
                      <a:gd name="connsiteY12" fmla="*/ 13077 h 52309"/>
                      <a:gd name="connsiteX13" fmla="*/ 13077 w 52309"/>
                      <a:gd name="connsiteY13" fmla="*/ 13077 h 5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09" h="52309">
                        <a:moveTo>
                          <a:pt x="39207" y="52309"/>
                        </a:moveTo>
                        <a:lnTo>
                          <a:pt x="13077" y="52309"/>
                        </a:lnTo>
                        <a:cubicBezTo>
                          <a:pt x="5867" y="52309"/>
                          <a:pt x="0" y="46442"/>
                          <a:pt x="0" y="39232"/>
                        </a:cubicBezTo>
                        <a:lnTo>
                          <a:pt x="0" y="13077"/>
                        </a:lnTo>
                        <a:cubicBezTo>
                          <a:pt x="0" y="5867"/>
                          <a:pt x="5867" y="0"/>
                          <a:pt x="13077" y="0"/>
                        </a:cubicBezTo>
                        <a:lnTo>
                          <a:pt x="39232" y="0"/>
                        </a:lnTo>
                        <a:cubicBezTo>
                          <a:pt x="46442" y="0"/>
                          <a:pt x="52310" y="5867"/>
                          <a:pt x="52310" y="13077"/>
                        </a:cubicBezTo>
                        <a:lnTo>
                          <a:pt x="52310" y="39232"/>
                        </a:lnTo>
                        <a:cubicBezTo>
                          <a:pt x="52285" y="46442"/>
                          <a:pt x="46417" y="52309"/>
                          <a:pt x="39207" y="52309"/>
                        </a:cubicBezTo>
                        <a:close/>
                        <a:moveTo>
                          <a:pt x="13077" y="13077"/>
                        </a:moveTo>
                        <a:lnTo>
                          <a:pt x="13077" y="39232"/>
                        </a:lnTo>
                        <a:lnTo>
                          <a:pt x="39232" y="39232"/>
                        </a:lnTo>
                        <a:lnTo>
                          <a:pt x="39232" y="13077"/>
                        </a:lnTo>
                        <a:lnTo>
                          <a:pt x="13077" y="13077"/>
                        </a:lnTo>
                        <a:close/>
                      </a:path>
                    </a:pathLst>
                  </a:custGeom>
                  <a:grpFill/>
                  <a:ln w="2482" cap="flat">
                    <a:noFill/>
                    <a:prstDash val="solid"/>
                    <a:miter/>
                  </a:ln>
                </p:spPr>
                <p:txBody>
                  <a:bodyPr rtlCol="0" anchor="ctr"/>
                  <a:lstStyle/>
                  <a:p>
                    <a:endParaRPr lang="en-GB" dirty="0"/>
                  </a:p>
                </p:txBody>
              </p:sp>
              <p:sp>
                <p:nvSpPr>
                  <p:cNvPr id="194" name="Freihandform: Form 838">
                    <a:extLst>
                      <a:ext uri="{FF2B5EF4-FFF2-40B4-BE49-F238E27FC236}">
                        <a16:creationId xmlns:a16="http://schemas.microsoft.com/office/drawing/2014/main" id="{1E6E6DEC-EA3D-453C-B81E-F6620B633431}"/>
                      </a:ext>
                    </a:extLst>
                  </p:cNvPr>
                  <p:cNvSpPr/>
                  <p:nvPr/>
                </p:nvSpPr>
                <p:spPr>
                  <a:xfrm>
                    <a:off x="7371228" y="1871175"/>
                    <a:ext cx="52309" cy="52309"/>
                  </a:xfrm>
                  <a:custGeom>
                    <a:avLst/>
                    <a:gdLst>
                      <a:gd name="connsiteX0" fmla="*/ 39232 w 52309"/>
                      <a:gd name="connsiteY0" fmla="*/ 52309 h 52309"/>
                      <a:gd name="connsiteX1" fmla="*/ 13077 w 52309"/>
                      <a:gd name="connsiteY1" fmla="*/ 52309 h 52309"/>
                      <a:gd name="connsiteX2" fmla="*/ 0 w 52309"/>
                      <a:gd name="connsiteY2" fmla="*/ 39232 h 52309"/>
                      <a:gd name="connsiteX3" fmla="*/ 0 w 52309"/>
                      <a:gd name="connsiteY3" fmla="*/ 13077 h 52309"/>
                      <a:gd name="connsiteX4" fmla="*/ 13077 w 52309"/>
                      <a:gd name="connsiteY4" fmla="*/ 0 h 52309"/>
                      <a:gd name="connsiteX5" fmla="*/ 39232 w 52309"/>
                      <a:gd name="connsiteY5" fmla="*/ 0 h 52309"/>
                      <a:gd name="connsiteX6" fmla="*/ 52309 w 52309"/>
                      <a:gd name="connsiteY6" fmla="*/ 13077 h 52309"/>
                      <a:gd name="connsiteX7" fmla="*/ 52309 w 52309"/>
                      <a:gd name="connsiteY7" fmla="*/ 39232 h 52309"/>
                      <a:gd name="connsiteX8" fmla="*/ 39232 w 52309"/>
                      <a:gd name="connsiteY8" fmla="*/ 52309 h 52309"/>
                      <a:gd name="connsiteX9" fmla="*/ 13077 w 52309"/>
                      <a:gd name="connsiteY9" fmla="*/ 13077 h 52309"/>
                      <a:gd name="connsiteX10" fmla="*/ 13077 w 52309"/>
                      <a:gd name="connsiteY10" fmla="*/ 39232 h 52309"/>
                      <a:gd name="connsiteX11" fmla="*/ 39232 w 52309"/>
                      <a:gd name="connsiteY11" fmla="*/ 39232 h 52309"/>
                      <a:gd name="connsiteX12" fmla="*/ 39232 w 52309"/>
                      <a:gd name="connsiteY12" fmla="*/ 13077 h 52309"/>
                      <a:gd name="connsiteX13" fmla="*/ 13077 w 52309"/>
                      <a:gd name="connsiteY13" fmla="*/ 13077 h 5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09" h="52309">
                        <a:moveTo>
                          <a:pt x="39232" y="52309"/>
                        </a:moveTo>
                        <a:lnTo>
                          <a:pt x="13077" y="52309"/>
                        </a:lnTo>
                        <a:cubicBezTo>
                          <a:pt x="5867" y="52309"/>
                          <a:pt x="0" y="46442"/>
                          <a:pt x="0" y="39232"/>
                        </a:cubicBezTo>
                        <a:lnTo>
                          <a:pt x="0" y="13077"/>
                        </a:lnTo>
                        <a:cubicBezTo>
                          <a:pt x="0" y="5867"/>
                          <a:pt x="5867" y="0"/>
                          <a:pt x="13077" y="0"/>
                        </a:cubicBezTo>
                        <a:lnTo>
                          <a:pt x="39232" y="0"/>
                        </a:lnTo>
                        <a:cubicBezTo>
                          <a:pt x="46442" y="0"/>
                          <a:pt x="52309" y="5867"/>
                          <a:pt x="52309" y="13077"/>
                        </a:cubicBezTo>
                        <a:lnTo>
                          <a:pt x="52309" y="39232"/>
                        </a:lnTo>
                        <a:cubicBezTo>
                          <a:pt x="52285" y="46442"/>
                          <a:pt x="46417" y="52309"/>
                          <a:pt x="39232" y="52309"/>
                        </a:cubicBezTo>
                        <a:close/>
                        <a:moveTo>
                          <a:pt x="13077" y="13077"/>
                        </a:moveTo>
                        <a:lnTo>
                          <a:pt x="13077" y="39232"/>
                        </a:lnTo>
                        <a:lnTo>
                          <a:pt x="39232" y="39232"/>
                        </a:lnTo>
                        <a:lnTo>
                          <a:pt x="39232" y="13077"/>
                        </a:lnTo>
                        <a:lnTo>
                          <a:pt x="13077" y="13077"/>
                        </a:lnTo>
                        <a:close/>
                      </a:path>
                    </a:pathLst>
                  </a:custGeom>
                  <a:grpFill/>
                  <a:ln w="2482" cap="flat">
                    <a:noFill/>
                    <a:prstDash val="solid"/>
                    <a:miter/>
                  </a:ln>
                </p:spPr>
                <p:txBody>
                  <a:bodyPr rtlCol="0" anchor="ctr"/>
                  <a:lstStyle/>
                  <a:p>
                    <a:endParaRPr lang="en-GB" dirty="0"/>
                  </a:p>
                </p:txBody>
              </p:sp>
            </p:grpSp>
          </p:grpSp>
          <p:sp>
            <p:nvSpPr>
              <p:cNvPr id="181" name="Freihandform: Form 842">
                <a:extLst>
                  <a:ext uri="{FF2B5EF4-FFF2-40B4-BE49-F238E27FC236}">
                    <a16:creationId xmlns:a16="http://schemas.microsoft.com/office/drawing/2014/main" id="{99DD716C-419B-4A91-AD09-2E81D4374866}"/>
                  </a:ext>
                </a:extLst>
              </p:cNvPr>
              <p:cNvSpPr/>
              <p:nvPr/>
            </p:nvSpPr>
            <p:spPr>
              <a:xfrm>
                <a:off x="6992133" y="2001899"/>
                <a:ext cx="52309" cy="52309"/>
              </a:xfrm>
              <a:custGeom>
                <a:avLst/>
                <a:gdLst>
                  <a:gd name="connsiteX0" fmla="*/ 26155 w 52309"/>
                  <a:gd name="connsiteY0" fmla="*/ 52309 h 52309"/>
                  <a:gd name="connsiteX1" fmla="*/ 0 w 52309"/>
                  <a:gd name="connsiteY1" fmla="*/ 26155 h 52309"/>
                  <a:gd name="connsiteX2" fmla="*/ 26155 w 52309"/>
                  <a:gd name="connsiteY2" fmla="*/ 0 h 52309"/>
                  <a:gd name="connsiteX3" fmla="*/ 52310 w 52309"/>
                  <a:gd name="connsiteY3" fmla="*/ 26155 h 52309"/>
                  <a:gd name="connsiteX4" fmla="*/ 26155 w 52309"/>
                  <a:gd name="connsiteY4" fmla="*/ 52309 h 52309"/>
                  <a:gd name="connsiteX5" fmla="*/ 26155 w 52309"/>
                  <a:gd name="connsiteY5" fmla="*/ 13077 h 52309"/>
                  <a:gd name="connsiteX6" fmla="*/ 13077 w 52309"/>
                  <a:gd name="connsiteY6" fmla="*/ 26155 h 52309"/>
                  <a:gd name="connsiteX7" fmla="*/ 26155 w 52309"/>
                  <a:gd name="connsiteY7" fmla="*/ 39232 h 52309"/>
                  <a:gd name="connsiteX8" fmla="*/ 39232 w 52309"/>
                  <a:gd name="connsiteY8" fmla="*/ 26155 h 52309"/>
                  <a:gd name="connsiteX9" fmla="*/ 26155 w 52309"/>
                  <a:gd name="connsiteY9" fmla="*/ 13077 h 5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309" h="52309">
                    <a:moveTo>
                      <a:pt x="26155" y="52309"/>
                    </a:moveTo>
                    <a:cubicBezTo>
                      <a:pt x="11735" y="52309"/>
                      <a:pt x="0" y="40575"/>
                      <a:pt x="0" y="26155"/>
                    </a:cubicBezTo>
                    <a:cubicBezTo>
                      <a:pt x="0" y="11735"/>
                      <a:pt x="11735" y="0"/>
                      <a:pt x="26155" y="0"/>
                    </a:cubicBezTo>
                    <a:cubicBezTo>
                      <a:pt x="40575" y="0"/>
                      <a:pt x="52310" y="11735"/>
                      <a:pt x="52310" y="26155"/>
                    </a:cubicBezTo>
                    <a:cubicBezTo>
                      <a:pt x="52310" y="40575"/>
                      <a:pt x="40575" y="52309"/>
                      <a:pt x="26155" y="52309"/>
                    </a:cubicBezTo>
                    <a:close/>
                    <a:moveTo>
                      <a:pt x="26155" y="13077"/>
                    </a:moveTo>
                    <a:cubicBezTo>
                      <a:pt x="18945" y="13077"/>
                      <a:pt x="13077" y="18945"/>
                      <a:pt x="13077" y="26155"/>
                    </a:cubicBezTo>
                    <a:cubicBezTo>
                      <a:pt x="13077" y="33365"/>
                      <a:pt x="18945" y="39232"/>
                      <a:pt x="26155" y="39232"/>
                    </a:cubicBezTo>
                    <a:cubicBezTo>
                      <a:pt x="33365" y="39232"/>
                      <a:pt x="39232" y="33365"/>
                      <a:pt x="39232" y="26155"/>
                    </a:cubicBezTo>
                    <a:cubicBezTo>
                      <a:pt x="39232" y="18945"/>
                      <a:pt x="33365" y="13077"/>
                      <a:pt x="26155" y="13077"/>
                    </a:cubicBezTo>
                    <a:close/>
                  </a:path>
                </a:pathLst>
              </a:custGeom>
              <a:grpFill/>
              <a:ln w="2482" cap="flat">
                <a:noFill/>
                <a:prstDash val="solid"/>
                <a:miter/>
              </a:ln>
            </p:spPr>
            <p:txBody>
              <a:bodyPr rtlCol="0" anchor="ctr"/>
              <a:lstStyle/>
              <a:p>
                <a:endParaRPr lang="en-GB" dirty="0"/>
              </a:p>
            </p:txBody>
          </p:sp>
          <p:grpSp>
            <p:nvGrpSpPr>
              <p:cNvPr id="182" name="Grafik 253">
                <a:extLst>
                  <a:ext uri="{FF2B5EF4-FFF2-40B4-BE49-F238E27FC236}">
                    <a16:creationId xmlns:a16="http://schemas.microsoft.com/office/drawing/2014/main" id="{332C5B2A-DF64-4DAC-85EF-1A8835987010}"/>
                  </a:ext>
                </a:extLst>
              </p:cNvPr>
              <p:cNvGrpSpPr/>
              <p:nvPr/>
            </p:nvGrpSpPr>
            <p:grpSpPr>
              <a:xfrm>
                <a:off x="6939874" y="1760067"/>
                <a:ext cx="78439" cy="98055"/>
                <a:chOff x="6939874" y="1760067"/>
                <a:chExt cx="78439" cy="98055"/>
              </a:xfrm>
              <a:grpFill/>
            </p:grpSpPr>
            <p:sp>
              <p:nvSpPr>
                <p:cNvPr id="185" name="Freihandform: Form 844">
                  <a:extLst>
                    <a:ext uri="{FF2B5EF4-FFF2-40B4-BE49-F238E27FC236}">
                      <a16:creationId xmlns:a16="http://schemas.microsoft.com/office/drawing/2014/main" id="{122E357D-C191-4576-8E76-B721B3CBCA84}"/>
                    </a:ext>
                  </a:extLst>
                </p:cNvPr>
                <p:cNvSpPr/>
                <p:nvPr/>
              </p:nvSpPr>
              <p:spPr>
                <a:xfrm>
                  <a:off x="6952926" y="1760067"/>
                  <a:ext cx="13077" cy="45770"/>
                </a:xfrm>
                <a:custGeom>
                  <a:avLst/>
                  <a:gdLst>
                    <a:gd name="connsiteX0" fmla="*/ 6539 w 13077"/>
                    <a:gd name="connsiteY0" fmla="*/ 45771 h 45770"/>
                    <a:gd name="connsiteX1" fmla="*/ 0 w 13077"/>
                    <a:gd name="connsiteY1" fmla="*/ 39232 h 45770"/>
                    <a:gd name="connsiteX2" fmla="*/ 0 w 13077"/>
                    <a:gd name="connsiteY2" fmla="*/ 6539 h 45770"/>
                    <a:gd name="connsiteX3" fmla="*/ 6539 w 13077"/>
                    <a:gd name="connsiteY3" fmla="*/ 0 h 45770"/>
                    <a:gd name="connsiteX4" fmla="*/ 13077 w 13077"/>
                    <a:gd name="connsiteY4" fmla="*/ 6539 h 45770"/>
                    <a:gd name="connsiteX5" fmla="*/ 13077 w 13077"/>
                    <a:gd name="connsiteY5" fmla="*/ 39232 h 45770"/>
                    <a:gd name="connsiteX6" fmla="*/ 6539 w 13077"/>
                    <a:gd name="connsiteY6" fmla="*/ 45771 h 45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7" h="45770">
                      <a:moveTo>
                        <a:pt x="6539" y="45771"/>
                      </a:moveTo>
                      <a:cubicBezTo>
                        <a:pt x="2934" y="45771"/>
                        <a:pt x="0" y="42837"/>
                        <a:pt x="0" y="39232"/>
                      </a:cubicBezTo>
                      <a:lnTo>
                        <a:pt x="0" y="6539"/>
                      </a:lnTo>
                      <a:cubicBezTo>
                        <a:pt x="0" y="2934"/>
                        <a:pt x="2934" y="0"/>
                        <a:pt x="6539" y="0"/>
                      </a:cubicBezTo>
                      <a:cubicBezTo>
                        <a:pt x="10144" y="0"/>
                        <a:pt x="13077" y="2934"/>
                        <a:pt x="13077" y="6539"/>
                      </a:cubicBezTo>
                      <a:lnTo>
                        <a:pt x="13077" y="39232"/>
                      </a:lnTo>
                      <a:cubicBezTo>
                        <a:pt x="13077" y="42837"/>
                        <a:pt x="10144" y="45771"/>
                        <a:pt x="6539" y="45771"/>
                      </a:cubicBezTo>
                      <a:close/>
                    </a:path>
                  </a:pathLst>
                </a:custGeom>
                <a:grpFill/>
                <a:ln w="2482" cap="flat">
                  <a:noFill/>
                  <a:prstDash val="solid"/>
                  <a:miter/>
                </a:ln>
              </p:spPr>
              <p:txBody>
                <a:bodyPr rtlCol="0" anchor="ctr"/>
                <a:lstStyle/>
                <a:p>
                  <a:endParaRPr lang="en-GB" dirty="0"/>
                </a:p>
              </p:txBody>
            </p:sp>
            <p:sp>
              <p:nvSpPr>
                <p:cNvPr id="186" name="Freihandform: Form 845">
                  <a:extLst>
                    <a:ext uri="{FF2B5EF4-FFF2-40B4-BE49-F238E27FC236}">
                      <a16:creationId xmlns:a16="http://schemas.microsoft.com/office/drawing/2014/main" id="{AC69814A-0814-4EA7-AA3D-FEE50805BF00}"/>
                    </a:ext>
                  </a:extLst>
                </p:cNvPr>
                <p:cNvSpPr/>
                <p:nvPr/>
              </p:nvSpPr>
              <p:spPr>
                <a:xfrm>
                  <a:off x="6992133" y="1760067"/>
                  <a:ext cx="13077" cy="45770"/>
                </a:xfrm>
                <a:custGeom>
                  <a:avLst/>
                  <a:gdLst>
                    <a:gd name="connsiteX0" fmla="*/ 6539 w 13077"/>
                    <a:gd name="connsiteY0" fmla="*/ 45771 h 45770"/>
                    <a:gd name="connsiteX1" fmla="*/ 0 w 13077"/>
                    <a:gd name="connsiteY1" fmla="*/ 39232 h 45770"/>
                    <a:gd name="connsiteX2" fmla="*/ 0 w 13077"/>
                    <a:gd name="connsiteY2" fmla="*/ 6539 h 45770"/>
                    <a:gd name="connsiteX3" fmla="*/ 6539 w 13077"/>
                    <a:gd name="connsiteY3" fmla="*/ 0 h 45770"/>
                    <a:gd name="connsiteX4" fmla="*/ 13077 w 13077"/>
                    <a:gd name="connsiteY4" fmla="*/ 6539 h 45770"/>
                    <a:gd name="connsiteX5" fmla="*/ 13077 w 13077"/>
                    <a:gd name="connsiteY5" fmla="*/ 39232 h 45770"/>
                    <a:gd name="connsiteX6" fmla="*/ 6539 w 13077"/>
                    <a:gd name="connsiteY6" fmla="*/ 45771 h 45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7" h="45770">
                      <a:moveTo>
                        <a:pt x="6539" y="45771"/>
                      </a:moveTo>
                      <a:cubicBezTo>
                        <a:pt x="2934" y="45771"/>
                        <a:pt x="0" y="42837"/>
                        <a:pt x="0" y="39232"/>
                      </a:cubicBezTo>
                      <a:lnTo>
                        <a:pt x="0" y="6539"/>
                      </a:lnTo>
                      <a:cubicBezTo>
                        <a:pt x="0" y="2934"/>
                        <a:pt x="2934" y="0"/>
                        <a:pt x="6539" y="0"/>
                      </a:cubicBezTo>
                      <a:cubicBezTo>
                        <a:pt x="10144" y="0"/>
                        <a:pt x="13077" y="2934"/>
                        <a:pt x="13077" y="6539"/>
                      </a:cubicBezTo>
                      <a:lnTo>
                        <a:pt x="13077" y="39232"/>
                      </a:lnTo>
                      <a:cubicBezTo>
                        <a:pt x="13077" y="42837"/>
                        <a:pt x="10144" y="45771"/>
                        <a:pt x="6539" y="45771"/>
                      </a:cubicBezTo>
                      <a:close/>
                    </a:path>
                  </a:pathLst>
                </a:custGeom>
                <a:grpFill/>
                <a:ln w="2482" cap="flat">
                  <a:noFill/>
                  <a:prstDash val="solid"/>
                  <a:miter/>
                </a:ln>
              </p:spPr>
              <p:txBody>
                <a:bodyPr rtlCol="0" anchor="ctr"/>
                <a:lstStyle/>
                <a:p>
                  <a:endParaRPr lang="en-GB" dirty="0"/>
                </a:p>
              </p:txBody>
            </p:sp>
            <p:sp>
              <p:nvSpPr>
                <p:cNvPr id="187" name="Freihandform: Form 846">
                  <a:extLst>
                    <a:ext uri="{FF2B5EF4-FFF2-40B4-BE49-F238E27FC236}">
                      <a16:creationId xmlns:a16="http://schemas.microsoft.com/office/drawing/2014/main" id="{1D8FA8B1-C33C-4CA4-86B4-68966CE9923C}"/>
                    </a:ext>
                  </a:extLst>
                </p:cNvPr>
                <p:cNvSpPr/>
                <p:nvPr/>
              </p:nvSpPr>
              <p:spPr>
                <a:xfrm>
                  <a:off x="6939874" y="1792760"/>
                  <a:ext cx="78439" cy="65361"/>
                </a:xfrm>
                <a:custGeom>
                  <a:avLst/>
                  <a:gdLst>
                    <a:gd name="connsiteX0" fmla="*/ 47586 w 78439"/>
                    <a:gd name="connsiteY0" fmla="*/ 65362 h 65361"/>
                    <a:gd name="connsiteX1" fmla="*/ 30829 w 78439"/>
                    <a:gd name="connsiteY1" fmla="*/ 65362 h 65361"/>
                    <a:gd name="connsiteX2" fmla="*/ 0 w 78439"/>
                    <a:gd name="connsiteY2" fmla="*/ 34533 h 65361"/>
                    <a:gd name="connsiteX3" fmla="*/ 0 w 78439"/>
                    <a:gd name="connsiteY3" fmla="*/ 6539 h 65361"/>
                    <a:gd name="connsiteX4" fmla="*/ 6539 w 78439"/>
                    <a:gd name="connsiteY4" fmla="*/ 0 h 65361"/>
                    <a:gd name="connsiteX5" fmla="*/ 71901 w 78439"/>
                    <a:gd name="connsiteY5" fmla="*/ 0 h 65361"/>
                    <a:gd name="connsiteX6" fmla="*/ 78439 w 78439"/>
                    <a:gd name="connsiteY6" fmla="*/ 6539 h 65361"/>
                    <a:gd name="connsiteX7" fmla="*/ 78439 w 78439"/>
                    <a:gd name="connsiteY7" fmla="*/ 34533 h 65361"/>
                    <a:gd name="connsiteX8" fmla="*/ 47586 w 78439"/>
                    <a:gd name="connsiteY8" fmla="*/ 65362 h 65361"/>
                    <a:gd name="connsiteX9" fmla="*/ 13052 w 78439"/>
                    <a:gd name="connsiteY9" fmla="*/ 13077 h 65361"/>
                    <a:gd name="connsiteX10" fmla="*/ 13052 w 78439"/>
                    <a:gd name="connsiteY10" fmla="*/ 34533 h 65361"/>
                    <a:gd name="connsiteX11" fmla="*/ 30804 w 78439"/>
                    <a:gd name="connsiteY11" fmla="*/ 52285 h 65361"/>
                    <a:gd name="connsiteX12" fmla="*/ 47561 w 78439"/>
                    <a:gd name="connsiteY12" fmla="*/ 52285 h 65361"/>
                    <a:gd name="connsiteX13" fmla="*/ 65312 w 78439"/>
                    <a:gd name="connsiteY13" fmla="*/ 34533 h 65361"/>
                    <a:gd name="connsiteX14" fmla="*/ 65312 w 78439"/>
                    <a:gd name="connsiteY14" fmla="*/ 13077 h 65361"/>
                    <a:gd name="connsiteX15" fmla="*/ 13052 w 78439"/>
                    <a:gd name="connsiteY15" fmla="*/ 13077 h 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439" h="65361">
                      <a:moveTo>
                        <a:pt x="47586" y="65362"/>
                      </a:moveTo>
                      <a:lnTo>
                        <a:pt x="30829" y="65362"/>
                      </a:lnTo>
                      <a:cubicBezTo>
                        <a:pt x="13823" y="65362"/>
                        <a:pt x="0" y="51539"/>
                        <a:pt x="0" y="34533"/>
                      </a:cubicBezTo>
                      <a:lnTo>
                        <a:pt x="0" y="6539"/>
                      </a:lnTo>
                      <a:cubicBezTo>
                        <a:pt x="0" y="2934"/>
                        <a:pt x="2934" y="0"/>
                        <a:pt x="6539" y="0"/>
                      </a:cubicBezTo>
                      <a:lnTo>
                        <a:pt x="71901" y="0"/>
                      </a:lnTo>
                      <a:cubicBezTo>
                        <a:pt x="75506" y="0"/>
                        <a:pt x="78439" y="2934"/>
                        <a:pt x="78439" y="6539"/>
                      </a:cubicBezTo>
                      <a:lnTo>
                        <a:pt x="78439" y="34533"/>
                      </a:lnTo>
                      <a:cubicBezTo>
                        <a:pt x="78414" y="51514"/>
                        <a:pt x="64566" y="65362"/>
                        <a:pt x="47586" y="65362"/>
                      </a:cubicBezTo>
                      <a:close/>
                      <a:moveTo>
                        <a:pt x="13052" y="13077"/>
                      </a:moveTo>
                      <a:lnTo>
                        <a:pt x="13052" y="34533"/>
                      </a:lnTo>
                      <a:cubicBezTo>
                        <a:pt x="13052" y="44329"/>
                        <a:pt x="21008" y="52285"/>
                        <a:pt x="30804" y="52285"/>
                      </a:cubicBezTo>
                      <a:lnTo>
                        <a:pt x="47561" y="52285"/>
                      </a:lnTo>
                      <a:cubicBezTo>
                        <a:pt x="57356" y="52285"/>
                        <a:pt x="65312" y="44304"/>
                        <a:pt x="65312" y="34533"/>
                      </a:cubicBezTo>
                      <a:lnTo>
                        <a:pt x="65312" y="13077"/>
                      </a:lnTo>
                      <a:lnTo>
                        <a:pt x="13052" y="13077"/>
                      </a:lnTo>
                      <a:close/>
                    </a:path>
                  </a:pathLst>
                </a:custGeom>
                <a:grpFill/>
                <a:ln w="2482" cap="flat">
                  <a:noFill/>
                  <a:prstDash val="solid"/>
                  <a:miter/>
                </a:ln>
              </p:spPr>
              <p:txBody>
                <a:bodyPr rtlCol="0" anchor="ctr"/>
                <a:lstStyle/>
                <a:p>
                  <a:endParaRPr lang="en-GB" dirty="0"/>
                </a:p>
              </p:txBody>
            </p:sp>
          </p:grpSp>
          <p:sp>
            <p:nvSpPr>
              <p:cNvPr id="183" name="Freihandform: Form 847">
                <a:extLst>
                  <a:ext uri="{FF2B5EF4-FFF2-40B4-BE49-F238E27FC236}">
                    <a16:creationId xmlns:a16="http://schemas.microsoft.com/office/drawing/2014/main" id="{586D4F6E-C927-4F7E-9BD4-E58FE5B438C7}"/>
                  </a:ext>
                </a:extLst>
              </p:cNvPr>
              <p:cNvSpPr/>
              <p:nvPr/>
            </p:nvSpPr>
            <p:spPr>
              <a:xfrm>
                <a:off x="6972542" y="1845045"/>
                <a:ext cx="104594" cy="78439"/>
              </a:xfrm>
              <a:custGeom>
                <a:avLst/>
                <a:gdLst>
                  <a:gd name="connsiteX0" fmla="*/ 98030 w 104594"/>
                  <a:gd name="connsiteY0" fmla="*/ 78439 h 78439"/>
                  <a:gd name="connsiteX1" fmla="*/ 32669 w 104594"/>
                  <a:gd name="connsiteY1" fmla="*/ 78439 h 78439"/>
                  <a:gd name="connsiteX2" fmla="*/ 0 w 104594"/>
                  <a:gd name="connsiteY2" fmla="*/ 45771 h 78439"/>
                  <a:gd name="connsiteX3" fmla="*/ 0 w 104594"/>
                  <a:gd name="connsiteY3" fmla="*/ 6539 h 78439"/>
                  <a:gd name="connsiteX4" fmla="*/ 6539 w 104594"/>
                  <a:gd name="connsiteY4" fmla="*/ 0 h 78439"/>
                  <a:gd name="connsiteX5" fmla="*/ 13077 w 104594"/>
                  <a:gd name="connsiteY5" fmla="*/ 6539 h 78439"/>
                  <a:gd name="connsiteX6" fmla="*/ 13077 w 104594"/>
                  <a:gd name="connsiteY6" fmla="*/ 45746 h 78439"/>
                  <a:gd name="connsiteX7" fmla="*/ 32693 w 104594"/>
                  <a:gd name="connsiteY7" fmla="*/ 65362 h 78439"/>
                  <a:gd name="connsiteX8" fmla="*/ 98055 w 104594"/>
                  <a:gd name="connsiteY8" fmla="*/ 65362 h 78439"/>
                  <a:gd name="connsiteX9" fmla="*/ 104594 w 104594"/>
                  <a:gd name="connsiteY9" fmla="*/ 71901 h 78439"/>
                  <a:gd name="connsiteX10" fmla="*/ 98030 w 104594"/>
                  <a:gd name="connsiteY10" fmla="*/ 78439 h 78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594" h="78439">
                    <a:moveTo>
                      <a:pt x="98030" y="78439"/>
                    </a:moveTo>
                    <a:lnTo>
                      <a:pt x="32669" y="78439"/>
                    </a:lnTo>
                    <a:cubicBezTo>
                      <a:pt x="14644" y="78439"/>
                      <a:pt x="0" y="63771"/>
                      <a:pt x="0" y="45771"/>
                    </a:cubicBezTo>
                    <a:lnTo>
                      <a:pt x="0" y="6539"/>
                    </a:lnTo>
                    <a:cubicBezTo>
                      <a:pt x="0" y="2934"/>
                      <a:pt x="2934" y="0"/>
                      <a:pt x="6539" y="0"/>
                    </a:cubicBezTo>
                    <a:cubicBezTo>
                      <a:pt x="10144" y="0"/>
                      <a:pt x="13077" y="2934"/>
                      <a:pt x="13077" y="6539"/>
                    </a:cubicBezTo>
                    <a:lnTo>
                      <a:pt x="13077" y="45746"/>
                    </a:lnTo>
                    <a:cubicBezTo>
                      <a:pt x="13077" y="56561"/>
                      <a:pt x="21879" y="65362"/>
                      <a:pt x="32693" y="65362"/>
                    </a:cubicBezTo>
                    <a:lnTo>
                      <a:pt x="98055" y="65362"/>
                    </a:lnTo>
                    <a:cubicBezTo>
                      <a:pt x="101660" y="65362"/>
                      <a:pt x="104594" y="68296"/>
                      <a:pt x="104594" y="71901"/>
                    </a:cubicBezTo>
                    <a:cubicBezTo>
                      <a:pt x="104569" y="75506"/>
                      <a:pt x="101635" y="78439"/>
                      <a:pt x="98030" y="78439"/>
                    </a:cubicBezTo>
                    <a:close/>
                  </a:path>
                </a:pathLst>
              </a:custGeom>
              <a:grpFill/>
              <a:ln w="2482" cap="flat">
                <a:noFill/>
                <a:prstDash val="solid"/>
                <a:miter/>
              </a:ln>
            </p:spPr>
            <p:txBody>
              <a:bodyPr rtlCol="0" anchor="ctr"/>
              <a:lstStyle/>
              <a:p>
                <a:endParaRPr lang="en-GB" dirty="0"/>
              </a:p>
            </p:txBody>
          </p:sp>
          <p:sp>
            <p:nvSpPr>
              <p:cNvPr id="184" name="Freihandform: Form 848">
                <a:extLst>
                  <a:ext uri="{FF2B5EF4-FFF2-40B4-BE49-F238E27FC236}">
                    <a16:creationId xmlns:a16="http://schemas.microsoft.com/office/drawing/2014/main" id="{BACEDCB7-43B1-43A7-94DC-A86295562413}"/>
                  </a:ext>
                </a:extLst>
              </p:cNvPr>
              <p:cNvSpPr/>
              <p:nvPr/>
            </p:nvSpPr>
            <p:spPr>
              <a:xfrm>
                <a:off x="7031365" y="2021515"/>
                <a:ext cx="45745" cy="13077"/>
              </a:xfrm>
              <a:custGeom>
                <a:avLst/>
                <a:gdLst>
                  <a:gd name="connsiteX0" fmla="*/ 39207 w 45745"/>
                  <a:gd name="connsiteY0" fmla="*/ 13077 h 13077"/>
                  <a:gd name="connsiteX1" fmla="*/ 6539 w 45745"/>
                  <a:gd name="connsiteY1" fmla="*/ 13077 h 13077"/>
                  <a:gd name="connsiteX2" fmla="*/ 0 w 45745"/>
                  <a:gd name="connsiteY2" fmla="*/ 6539 h 13077"/>
                  <a:gd name="connsiteX3" fmla="*/ 6539 w 45745"/>
                  <a:gd name="connsiteY3" fmla="*/ 0 h 13077"/>
                  <a:gd name="connsiteX4" fmla="*/ 39207 w 45745"/>
                  <a:gd name="connsiteY4" fmla="*/ 0 h 13077"/>
                  <a:gd name="connsiteX5" fmla="*/ 45746 w 45745"/>
                  <a:gd name="connsiteY5" fmla="*/ 6539 h 13077"/>
                  <a:gd name="connsiteX6" fmla="*/ 39207 w 45745"/>
                  <a:gd name="connsiteY6" fmla="*/ 13077 h 1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745" h="13077">
                    <a:moveTo>
                      <a:pt x="39207" y="13077"/>
                    </a:moveTo>
                    <a:lnTo>
                      <a:pt x="6539" y="13077"/>
                    </a:lnTo>
                    <a:cubicBezTo>
                      <a:pt x="2934" y="13077"/>
                      <a:pt x="0" y="10144"/>
                      <a:pt x="0" y="6539"/>
                    </a:cubicBezTo>
                    <a:cubicBezTo>
                      <a:pt x="0" y="2934"/>
                      <a:pt x="2934" y="0"/>
                      <a:pt x="6539" y="0"/>
                    </a:cubicBezTo>
                    <a:lnTo>
                      <a:pt x="39207" y="0"/>
                    </a:lnTo>
                    <a:cubicBezTo>
                      <a:pt x="42812" y="0"/>
                      <a:pt x="45746" y="2934"/>
                      <a:pt x="45746" y="6539"/>
                    </a:cubicBezTo>
                    <a:cubicBezTo>
                      <a:pt x="45746" y="10144"/>
                      <a:pt x="42812" y="13077"/>
                      <a:pt x="39207" y="13077"/>
                    </a:cubicBezTo>
                    <a:close/>
                  </a:path>
                </a:pathLst>
              </a:custGeom>
              <a:grpFill/>
              <a:ln w="2482" cap="flat">
                <a:noFill/>
                <a:prstDash val="solid"/>
                <a:miter/>
              </a:ln>
            </p:spPr>
            <p:txBody>
              <a:bodyPr rtlCol="0" anchor="ctr"/>
              <a:lstStyle/>
              <a:p>
                <a:endParaRPr lang="en-GB" dirty="0"/>
              </a:p>
            </p:txBody>
          </p:sp>
        </p:grpSp>
      </p:grpSp>
      <p:grpSp>
        <p:nvGrpSpPr>
          <p:cNvPr id="32" name="Group 31">
            <a:extLst>
              <a:ext uri="{FF2B5EF4-FFF2-40B4-BE49-F238E27FC236}">
                <a16:creationId xmlns:a16="http://schemas.microsoft.com/office/drawing/2014/main" id="{40AA540B-ED4A-4947-9275-765F31491352}"/>
              </a:ext>
            </a:extLst>
          </p:cNvPr>
          <p:cNvGrpSpPr/>
          <p:nvPr/>
        </p:nvGrpSpPr>
        <p:grpSpPr>
          <a:xfrm>
            <a:off x="1585518" y="3197068"/>
            <a:ext cx="507933" cy="432000"/>
            <a:chOff x="1585518" y="3197068"/>
            <a:chExt cx="507933" cy="432000"/>
          </a:xfrm>
        </p:grpSpPr>
        <p:grpSp>
          <p:nvGrpSpPr>
            <p:cNvPr id="201" name="Group 200">
              <a:extLst>
                <a:ext uri="{FF2B5EF4-FFF2-40B4-BE49-F238E27FC236}">
                  <a16:creationId xmlns:a16="http://schemas.microsoft.com/office/drawing/2014/main" id="{CD69C481-5243-4620-9321-69447F610071}"/>
                </a:ext>
              </a:extLst>
            </p:cNvPr>
            <p:cNvGrpSpPr/>
            <p:nvPr/>
          </p:nvGrpSpPr>
          <p:grpSpPr>
            <a:xfrm>
              <a:off x="1688636" y="3197068"/>
              <a:ext cx="299138" cy="432000"/>
              <a:chOff x="5371336" y="4113073"/>
              <a:chExt cx="298690" cy="431354"/>
            </a:xfrm>
          </p:grpSpPr>
          <p:sp>
            <p:nvSpPr>
              <p:cNvPr id="206" name="Freihandform: Form 1080">
                <a:extLst>
                  <a:ext uri="{FF2B5EF4-FFF2-40B4-BE49-F238E27FC236}">
                    <a16:creationId xmlns:a16="http://schemas.microsoft.com/office/drawing/2014/main" id="{D0C44FA7-BB38-4675-90BD-0055E1828857}"/>
                  </a:ext>
                </a:extLst>
              </p:cNvPr>
              <p:cNvSpPr/>
              <p:nvPr/>
            </p:nvSpPr>
            <p:spPr>
              <a:xfrm>
                <a:off x="5371336" y="4153523"/>
                <a:ext cx="13077" cy="350428"/>
              </a:xfrm>
              <a:custGeom>
                <a:avLst/>
                <a:gdLst>
                  <a:gd name="connsiteX0" fmla="*/ 6539 w 13077"/>
                  <a:gd name="connsiteY0" fmla="*/ 350429 h 350428"/>
                  <a:gd name="connsiteX1" fmla="*/ 0 w 13077"/>
                  <a:gd name="connsiteY1" fmla="*/ 343890 h 350428"/>
                  <a:gd name="connsiteX2" fmla="*/ 0 w 13077"/>
                  <a:gd name="connsiteY2" fmla="*/ 6539 h 350428"/>
                  <a:gd name="connsiteX3" fmla="*/ 6539 w 13077"/>
                  <a:gd name="connsiteY3" fmla="*/ 0 h 350428"/>
                  <a:gd name="connsiteX4" fmla="*/ 13077 w 13077"/>
                  <a:gd name="connsiteY4" fmla="*/ 6539 h 350428"/>
                  <a:gd name="connsiteX5" fmla="*/ 13077 w 13077"/>
                  <a:gd name="connsiteY5" fmla="*/ 343890 h 350428"/>
                  <a:gd name="connsiteX6" fmla="*/ 6539 w 13077"/>
                  <a:gd name="connsiteY6" fmla="*/ 350429 h 35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7" h="350428">
                    <a:moveTo>
                      <a:pt x="6539" y="350429"/>
                    </a:moveTo>
                    <a:cubicBezTo>
                      <a:pt x="2934" y="350429"/>
                      <a:pt x="0" y="347495"/>
                      <a:pt x="0" y="343890"/>
                    </a:cubicBezTo>
                    <a:lnTo>
                      <a:pt x="0" y="6539"/>
                    </a:lnTo>
                    <a:cubicBezTo>
                      <a:pt x="0" y="2934"/>
                      <a:pt x="2934" y="0"/>
                      <a:pt x="6539" y="0"/>
                    </a:cubicBezTo>
                    <a:cubicBezTo>
                      <a:pt x="10144" y="0"/>
                      <a:pt x="13077" y="2934"/>
                      <a:pt x="13077" y="6539"/>
                    </a:cubicBezTo>
                    <a:lnTo>
                      <a:pt x="13077" y="343890"/>
                    </a:lnTo>
                    <a:cubicBezTo>
                      <a:pt x="13077" y="347520"/>
                      <a:pt x="10144" y="350429"/>
                      <a:pt x="6539" y="350429"/>
                    </a:cubicBezTo>
                    <a:close/>
                  </a:path>
                </a:pathLst>
              </a:custGeom>
              <a:solidFill>
                <a:schemeClr val="tx2"/>
              </a:solidFill>
              <a:ln w="2482" cap="flat">
                <a:noFill/>
                <a:prstDash val="solid"/>
                <a:miter/>
              </a:ln>
            </p:spPr>
            <p:txBody>
              <a:bodyPr rtlCol="0" anchor="ctr"/>
              <a:lstStyle/>
              <a:p>
                <a:endParaRPr lang="en-GB" dirty="0"/>
              </a:p>
            </p:txBody>
          </p:sp>
          <p:sp>
            <p:nvSpPr>
              <p:cNvPr id="207" name="Freihandform: Form 1081">
                <a:extLst>
                  <a:ext uri="{FF2B5EF4-FFF2-40B4-BE49-F238E27FC236}">
                    <a16:creationId xmlns:a16="http://schemas.microsoft.com/office/drawing/2014/main" id="{A65F4D37-EDAB-44D9-9123-E7D06597FF32}"/>
                  </a:ext>
                </a:extLst>
              </p:cNvPr>
              <p:cNvSpPr/>
              <p:nvPr/>
            </p:nvSpPr>
            <p:spPr>
              <a:xfrm>
                <a:off x="5656925" y="4153523"/>
                <a:ext cx="13077" cy="350428"/>
              </a:xfrm>
              <a:custGeom>
                <a:avLst/>
                <a:gdLst>
                  <a:gd name="connsiteX0" fmla="*/ 6539 w 13077"/>
                  <a:gd name="connsiteY0" fmla="*/ 350429 h 350428"/>
                  <a:gd name="connsiteX1" fmla="*/ 0 w 13077"/>
                  <a:gd name="connsiteY1" fmla="*/ 343890 h 350428"/>
                  <a:gd name="connsiteX2" fmla="*/ 0 w 13077"/>
                  <a:gd name="connsiteY2" fmla="*/ 6539 h 350428"/>
                  <a:gd name="connsiteX3" fmla="*/ 6539 w 13077"/>
                  <a:gd name="connsiteY3" fmla="*/ 0 h 350428"/>
                  <a:gd name="connsiteX4" fmla="*/ 13077 w 13077"/>
                  <a:gd name="connsiteY4" fmla="*/ 6539 h 350428"/>
                  <a:gd name="connsiteX5" fmla="*/ 13077 w 13077"/>
                  <a:gd name="connsiteY5" fmla="*/ 343890 h 350428"/>
                  <a:gd name="connsiteX6" fmla="*/ 6539 w 13077"/>
                  <a:gd name="connsiteY6" fmla="*/ 350429 h 35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7" h="350428">
                    <a:moveTo>
                      <a:pt x="6539" y="350429"/>
                    </a:moveTo>
                    <a:cubicBezTo>
                      <a:pt x="2934" y="350429"/>
                      <a:pt x="0" y="347495"/>
                      <a:pt x="0" y="343890"/>
                    </a:cubicBezTo>
                    <a:lnTo>
                      <a:pt x="0" y="6539"/>
                    </a:lnTo>
                    <a:cubicBezTo>
                      <a:pt x="0" y="2934"/>
                      <a:pt x="2934" y="0"/>
                      <a:pt x="6539" y="0"/>
                    </a:cubicBezTo>
                    <a:cubicBezTo>
                      <a:pt x="10144" y="0"/>
                      <a:pt x="13077" y="2934"/>
                      <a:pt x="13077" y="6539"/>
                    </a:cubicBezTo>
                    <a:lnTo>
                      <a:pt x="13077" y="343890"/>
                    </a:lnTo>
                    <a:cubicBezTo>
                      <a:pt x="13077" y="347520"/>
                      <a:pt x="10169" y="350429"/>
                      <a:pt x="6539" y="350429"/>
                    </a:cubicBezTo>
                    <a:close/>
                  </a:path>
                </a:pathLst>
              </a:custGeom>
              <a:solidFill>
                <a:schemeClr val="tx2"/>
              </a:solidFill>
              <a:ln w="2482" cap="flat">
                <a:noFill/>
                <a:prstDash val="solid"/>
                <a:miter/>
              </a:ln>
            </p:spPr>
            <p:txBody>
              <a:bodyPr rtlCol="0" anchor="ctr"/>
              <a:lstStyle/>
              <a:p>
                <a:endParaRPr lang="en-GB" dirty="0"/>
              </a:p>
            </p:txBody>
          </p:sp>
          <p:sp>
            <p:nvSpPr>
              <p:cNvPr id="208" name="Freihandform: Form 1082">
                <a:extLst>
                  <a:ext uri="{FF2B5EF4-FFF2-40B4-BE49-F238E27FC236}">
                    <a16:creationId xmlns:a16="http://schemas.microsoft.com/office/drawing/2014/main" id="{6D743872-93DB-40DA-BF22-5CAA9FBAC6B7}"/>
                  </a:ext>
                </a:extLst>
              </p:cNvPr>
              <p:cNvSpPr/>
              <p:nvPr/>
            </p:nvSpPr>
            <p:spPr>
              <a:xfrm>
                <a:off x="5371336" y="4113073"/>
                <a:ext cx="298690" cy="94027"/>
              </a:xfrm>
              <a:custGeom>
                <a:avLst/>
                <a:gdLst>
                  <a:gd name="connsiteX0" fmla="*/ 149345 w 298690"/>
                  <a:gd name="connsiteY0" fmla="*/ 94028 h 94027"/>
                  <a:gd name="connsiteX1" fmla="*/ 0 w 298690"/>
                  <a:gd name="connsiteY1" fmla="*/ 47014 h 94027"/>
                  <a:gd name="connsiteX2" fmla="*/ 149345 w 298690"/>
                  <a:gd name="connsiteY2" fmla="*/ 0 h 94027"/>
                  <a:gd name="connsiteX3" fmla="*/ 298691 w 298690"/>
                  <a:gd name="connsiteY3" fmla="*/ 47014 h 94027"/>
                  <a:gd name="connsiteX4" fmla="*/ 149345 w 298690"/>
                  <a:gd name="connsiteY4" fmla="*/ 94028 h 94027"/>
                  <a:gd name="connsiteX5" fmla="*/ 149345 w 298690"/>
                  <a:gd name="connsiteY5" fmla="*/ 13053 h 94027"/>
                  <a:gd name="connsiteX6" fmla="*/ 13077 w 298690"/>
                  <a:gd name="connsiteY6" fmla="*/ 46989 h 94027"/>
                  <a:gd name="connsiteX7" fmla="*/ 149345 w 298690"/>
                  <a:gd name="connsiteY7" fmla="*/ 80925 h 94027"/>
                  <a:gd name="connsiteX8" fmla="*/ 285614 w 298690"/>
                  <a:gd name="connsiteY8" fmla="*/ 46989 h 94027"/>
                  <a:gd name="connsiteX9" fmla="*/ 149345 w 298690"/>
                  <a:gd name="connsiteY9" fmla="*/ 13053 h 9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690" h="94027">
                    <a:moveTo>
                      <a:pt x="149345" y="94028"/>
                    </a:moveTo>
                    <a:cubicBezTo>
                      <a:pt x="78713" y="94028"/>
                      <a:pt x="0" y="74710"/>
                      <a:pt x="0" y="47014"/>
                    </a:cubicBezTo>
                    <a:cubicBezTo>
                      <a:pt x="0" y="19318"/>
                      <a:pt x="78713" y="0"/>
                      <a:pt x="149345" y="0"/>
                    </a:cubicBezTo>
                    <a:cubicBezTo>
                      <a:pt x="219978" y="0"/>
                      <a:pt x="298691" y="19318"/>
                      <a:pt x="298691" y="47014"/>
                    </a:cubicBezTo>
                    <a:cubicBezTo>
                      <a:pt x="298666" y="74710"/>
                      <a:pt x="219978" y="94028"/>
                      <a:pt x="149345" y="94028"/>
                    </a:cubicBezTo>
                    <a:close/>
                    <a:moveTo>
                      <a:pt x="149345" y="13053"/>
                    </a:moveTo>
                    <a:cubicBezTo>
                      <a:pt x="65959" y="13053"/>
                      <a:pt x="13077" y="36920"/>
                      <a:pt x="13077" y="46989"/>
                    </a:cubicBezTo>
                    <a:cubicBezTo>
                      <a:pt x="13077" y="57058"/>
                      <a:pt x="65959" y="80925"/>
                      <a:pt x="149345" y="80925"/>
                    </a:cubicBezTo>
                    <a:cubicBezTo>
                      <a:pt x="232732" y="80925"/>
                      <a:pt x="285614" y="57058"/>
                      <a:pt x="285614" y="46989"/>
                    </a:cubicBezTo>
                    <a:cubicBezTo>
                      <a:pt x="285614" y="36920"/>
                      <a:pt x="232732" y="13053"/>
                      <a:pt x="149345" y="13053"/>
                    </a:cubicBezTo>
                    <a:close/>
                  </a:path>
                </a:pathLst>
              </a:custGeom>
              <a:solidFill>
                <a:schemeClr val="tx2"/>
              </a:solidFill>
              <a:ln w="2482" cap="flat">
                <a:noFill/>
                <a:prstDash val="solid"/>
                <a:miter/>
              </a:ln>
            </p:spPr>
            <p:txBody>
              <a:bodyPr rtlCol="0" anchor="ctr"/>
              <a:lstStyle/>
              <a:p>
                <a:endParaRPr lang="en-GB" dirty="0"/>
              </a:p>
            </p:txBody>
          </p:sp>
          <p:sp>
            <p:nvSpPr>
              <p:cNvPr id="209" name="Freihandform: Form 1083">
                <a:extLst>
                  <a:ext uri="{FF2B5EF4-FFF2-40B4-BE49-F238E27FC236}">
                    <a16:creationId xmlns:a16="http://schemas.microsoft.com/office/drawing/2014/main" id="{AA1C8968-5EE2-4FC6-A169-DA23F52E086E}"/>
                  </a:ext>
                </a:extLst>
              </p:cNvPr>
              <p:cNvSpPr/>
              <p:nvPr/>
            </p:nvSpPr>
            <p:spPr>
              <a:xfrm>
                <a:off x="5371336" y="4490875"/>
                <a:ext cx="298690" cy="53552"/>
              </a:xfrm>
              <a:custGeom>
                <a:avLst/>
                <a:gdLst>
                  <a:gd name="connsiteX0" fmla="*/ 149345 w 298690"/>
                  <a:gd name="connsiteY0" fmla="*/ 53553 h 53552"/>
                  <a:gd name="connsiteX1" fmla="*/ 0 w 298690"/>
                  <a:gd name="connsiteY1" fmla="*/ 6539 h 53552"/>
                  <a:gd name="connsiteX2" fmla="*/ 6539 w 298690"/>
                  <a:gd name="connsiteY2" fmla="*/ 0 h 53552"/>
                  <a:gd name="connsiteX3" fmla="*/ 13077 w 298690"/>
                  <a:gd name="connsiteY3" fmla="*/ 6539 h 53552"/>
                  <a:gd name="connsiteX4" fmla="*/ 149345 w 298690"/>
                  <a:gd name="connsiteY4" fmla="*/ 40475 h 53552"/>
                  <a:gd name="connsiteX5" fmla="*/ 285614 w 298690"/>
                  <a:gd name="connsiteY5" fmla="*/ 6539 h 53552"/>
                  <a:gd name="connsiteX6" fmla="*/ 292152 w 298690"/>
                  <a:gd name="connsiteY6" fmla="*/ 0 h 53552"/>
                  <a:gd name="connsiteX7" fmla="*/ 298691 w 298690"/>
                  <a:gd name="connsiteY7" fmla="*/ 6539 h 53552"/>
                  <a:gd name="connsiteX8" fmla="*/ 149345 w 298690"/>
                  <a:gd name="connsiteY8" fmla="*/ 53553 h 53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690" h="53552">
                    <a:moveTo>
                      <a:pt x="149345" y="53553"/>
                    </a:moveTo>
                    <a:cubicBezTo>
                      <a:pt x="78713" y="53553"/>
                      <a:pt x="0" y="34235"/>
                      <a:pt x="0" y="6539"/>
                    </a:cubicBezTo>
                    <a:cubicBezTo>
                      <a:pt x="0" y="2934"/>
                      <a:pt x="2934" y="0"/>
                      <a:pt x="6539" y="0"/>
                    </a:cubicBezTo>
                    <a:cubicBezTo>
                      <a:pt x="10144" y="0"/>
                      <a:pt x="13077" y="2934"/>
                      <a:pt x="13077" y="6539"/>
                    </a:cubicBezTo>
                    <a:cubicBezTo>
                      <a:pt x="13077" y="16608"/>
                      <a:pt x="65959" y="40475"/>
                      <a:pt x="149345" y="40475"/>
                    </a:cubicBezTo>
                    <a:cubicBezTo>
                      <a:pt x="232732" y="40475"/>
                      <a:pt x="285614" y="16608"/>
                      <a:pt x="285614" y="6539"/>
                    </a:cubicBezTo>
                    <a:cubicBezTo>
                      <a:pt x="285614" y="2934"/>
                      <a:pt x="288547" y="0"/>
                      <a:pt x="292152" y="0"/>
                    </a:cubicBezTo>
                    <a:cubicBezTo>
                      <a:pt x="295757" y="0"/>
                      <a:pt x="298691" y="2934"/>
                      <a:pt x="298691" y="6539"/>
                    </a:cubicBezTo>
                    <a:cubicBezTo>
                      <a:pt x="298666" y="34260"/>
                      <a:pt x="219978" y="53553"/>
                      <a:pt x="149345" y="53553"/>
                    </a:cubicBezTo>
                    <a:close/>
                  </a:path>
                </a:pathLst>
              </a:custGeom>
              <a:solidFill>
                <a:schemeClr val="tx2"/>
              </a:solidFill>
              <a:ln w="2482" cap="flat">
                <a:noFill/>
                <a:prstDash val="solid"/>
                <a:miter/>
              </a:ln>
            </p:spPr>
            <p:txBody>
              <a:bodyPr rtlCol="0" anchor="ctr"/>
              <a:lstStyle/>
              <a:p>
                <a:endParaRPr lang="en-GB" dirty="0"/>
              </a:p>
            </p:txBody>
          </p:sp>
        </p:grpSp>
        <p:grpSp>
          <p:nvGrpSpPr>
            <p:cNvPr id="202" name="Group 201">
              <a:extLst>
                <a:ext uri="{FF2B5EF4-FFF2-40B4-BE49-F238E27FC236}">
                  <a16:creationId xmlns:a16="http://schemas.microsoft.com/office/drawing/2014/main" id="{8486D76D-3723-4E4B-A1AB-70868D38734E}"/>
                </a:ext>
              </a:extLst>
            </p:cNvPr>
            <p:cNvGrpSpPr/>
            <p:nvPr/>
          </p:nvGrpSpPr>
          <p:grpSpPr>
            <a:xfrm>
              <a:off x="1585518" y="3237531"/>
              <a:ext cx="507933" cy="328443"/>
              <a:chOff x="5268372" y="4153475"/>
              <a:chExt cx="507173" cy="327952"/>
            </a:xfrm>
          </p:grpSpPr>
          <p:sp>
            <p:nvSpPr>
              <p:cNvPr id="203" name="Freihandform: Form 1084">
                <a:extLst>
                  <a:ext uri="{FF2B5EF4-FFF2-40B4-BE49-F238E27FC236}">
                    <a16:creationId xmlns:a16="http://schemas.microsoft.com/office/drawing/2014/main" id="{6FA83C97-559A-4CC8-97A9-C57C21FA5D9D}"/>
                  </a:ext>
                </a:extLst>
              </p:cNvPr>
              <p:cNvSpPr/>
              <p:nvPr/>
            </p:nvSpPr>
            <p:spPr>
              <a:xfrm>
                <a:off x="5543893" y="4347322"/>
                <a:ext cx="228403" cy="134105"/>
              </a:xfrm>
              <a:custGeom>
                <a:avLst/>
                <a:gdLst>
                  <a:gd name="connsiteX0" fmla="*/ 126109 w 228403"/>
                  <a:gd name="connsiteY0" fmla="*/ 0 h 134105"/>
                  <a:gd name="connsiteX1" fmla="*/ 126109 w 228403"/>
                  <a:gd name="connsiteY1" fmla="*/ 16657 h 134105"/>
                  <a:gd name="connsiteX2" fmla="*/ 214891 w 228403"/>
                  <a:gd name="connsiteY2" fmla="*/ 117348 h 134105"/>
                  <a:gd name="connsiteX3" fmla="*/ 9706 w 228403"/>
                  <a:gd name="connsiteY3" fmla="*/ 44329 h 134105"/>
                  <a:gd name="connsiteX4" fmla="*/ 830 w 228403"/>
                  <a:gd name="connsiteY4" fmla="*/ 46865 h 134105"/>
                  <a:gd name="connsiteX5" fmla="*/ 3366 w 228403"/>
                  <a:gd name="connsiteY5" fmla="*/ 55765 h 134105"/>
                  <a:gd name="connsiteX6" fmla="*/ 201366 w 228403"/>
                  <a:gd name="connsiteY6" fmla="*/ 134105 h 134105"/>
                  <a:gd name="connsiteX7" fmla="*/ 226029 w 228403"/>
                  <a:gd name="connsiteY7" fmla="*/ 124210 h 134105"/>
                  <a:gd name="connsiteX8" fmla="*/ 126109 w 228403"/>
                  <a:gd name="connsiteY8" fmla="*/ 0 h 134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8403" h="134105">
                    <a:moveTo>
                      <a:pt x="126109" y="0"/>
                    </a:moveTo>
                    <a:lnTo>
                      <a:pt x="126109" y="16657"/>
                    </a:lnTo>
                    <a:cubicBezTo>
                      <a:pt x="200148" y="75381"/>
                      <a:pt x="220063" y="108970"/>
                      <a:pt x="214891" y="117348"/>
                    </a:cubicBezTo>
                    <a:cubicBezTo>
                      <a:pt x="207234" y="129729"/>
                      <a:pt x="136725" y="115086"/>
                      <a:pt x="9706" y="44329"/>
                    </a:cubicBezTo>
                    <a:cubicBezTo>
                      <a:pt x="6549" y="42588"/>
                      <a:pt x="2571" y="43707"/>
                      <a:pt x="830" y="46865"/>
                    </a:cubicBezTo>
                    <a:cubicBezTo>
                      <a:pt x="-935" y="50022"/>
                      <a:pt x="209" y="54000"/>
                      <a:pt x="3366" y="55765"/>
                    </a:cubicBezTo>
                    <a:cubicBezTo>
                      <a:pt x="30466" y="70856"/>
                      <a:pt x="147317" y="134105"/>
                      <a:pt x="201366" y="134105"/>
                    </a:cubicBezTo>
                    <a:cubicBezTo>
                      <a:pt x="213002" y="134105"/>
                      <a:pt x="221728" y="131171"/>
                      <a:pt x="226029" y="124210"/>
                    </a:cubicBezTo>
                    <a:cubicBezTo>
                      <a:pt x="233289" y="112450"/>
                      <a:pt x="229958" y="80627"/>
                      <a:pt x="126109" y="0"/>
                    </a:cubicBezTo>
                    <a:close/>
                  </a:path>
                </a:pathLst>
              </a:custGeom>
              <a:solidFill>
                <a:schemeClr val="accent1"/>
              </a:solidFill>
              <a:ln w="2482" cap="flat">
                <a:noFill/>
                <a:prstDash val="solid"/>
                <a:miter/>
              </a:ln>
            </p:spPr>
            <p:txBody>
              <a:bodyPr rtlCol="0" anchor="ctr"/>
              <a:lstStyle/>
              <a:p>
                <a:endParaRPr lang="en-GB" dirty="0"/>
              </a:p>
            </p:txBody>
          </p:sp>
          <p:sp>
            <p:nvSpPr>
              <p:cNvPr id="204" name="Freihandform: Form 1085">
                <a:extLst>
                  <a:ext uri="{FF2B5EF4-FFF2-40B4-BE49-F238E27FC236}">
                    <a16:creationId xmlns:a16="http://schemas.microsoft.com/office/drawing/2014/main" id="{9478A39C-CBB8-488E-9C3D-557AF54F437C}"/>
                  </a:ext>
                </a:extLst>
              </p:cNvPr>
              <p:cNvSpPr/>
              <p:nvPr/>
            </p:nvSpPr>
            <p:spPr>
              <a:xfrm>
                <a:off x="5271438" y="4153475"/>
                <a:ext cx="504107" cy="327852"/>
              </a:xfrm>
              <a:custGeom>
                <a:avLst/>
                <a:gdLst>
                  <a:gd name="connsiteX0" fmla="*/ 501542 w 504107"/>
                  <a:gd name="connsiteY0" fmla="*/ 9844 h 327852"/>
                  <a:gd name="connsiteX1" fmla="*/ 398564 w 504107"/>
                  <a:gd name="connsiteY1" fmla="*/ 20410 h 327852"/>
                  <a:gd name="connsiteX2" fmla="*/ 398564 w 504107"/>
                  <a:gd name="connsiteY2" fmla="*/ 34482 h 327852"/>
                  <a:gd name="connsiteX3" fmla="*/ 490429 w 504107"/>
                  <a:gd name="connsiteY3" fmla="*/ 16706 h 327852"/>
                  <a:gd name="connsiteX4" fmla="*/ 440133 w 504107"/>
                  <a:gd name="connsiteY4" fmla="*/ 84902 h 327852"/>
                  <a:gd name="connsiteX5" fmla="*/ 276890 w 504107"/>
                  <a:gd name="connsiteY5" fmla="*/ 204115 h 327852"/>
                  <a:gd name="connsiteX6" fmla="*/ 97213 w 504107"/>
                  <a:gd name="connsiteY6" fmla="*/ 296725 h 327852"/>
                  <a:gd name="connsiteX7" fmla="*/ 13702 w 504107"/>
                  <a:gd name="connsiteY7" fmla="*/ 311170 h 327852"/>
                  <a:gd name="connsiteX8" fmla="*/ 99898 w 504107"/>
                  <a:gd name="connsiteY8" fmla="*/ 212543 h 327852"/>
                  <a:gd name="connsiteX9" fmla="*/ 99898 w 504107"/>
                  <a:gd name="connsiteY9" fmla="*/ 196209 h 327852"/>
                  <a:gd name="connsiteX10" fmla="*/ 98555 w 504107"/>
                  <a:gd name="connsiteY10" fmla="*/ 196880 h 327852"/>
                  <a:gd name="connsiteX11" fmla="*/ 2588 w 504107"/>
                  <a:gd name="connsiteY11" fmla="*/ 318032 h 327852"/>
                  <a:gd name="connsiteX12" fmla="*/ 27102 w 504107"/>
                  <a:gd name="connsiteY12" fmla="*/ 327853 h 327852"/>
                  <a:gd name="connsiteX13" fmla="*/ 101912 w 504107"/>
                  <a:gd name="connsiteY13" fmla="*/ 308908 h 327852"/>
                  <a:gd name="connsiteX14" fmla="*/ 283752 w 504107"/>
                  <a:gd name="connsiteY14" fmla="*/ 215228 h 327852"/>
                  <a:gd name="connsiteX15" fmla="*/ 448909 w 504107"/>
                  <a:gd name="connsiteY15" fmla="*/ 94573 h 327852"/>
                  <a:gd name="connsiteX16" fmla="*/ 501542 w 504107"/>
                  <a:gd name="connsiteY16" fmla="*/ 9844 h 32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04107" h="327852">
                    <a:moveTo>
                      <a:pt x="501542" y="9844"/>
                    </a:moveTo>
                    <a:cubicBezTo>
                      <a:pt x="491647" y="-6192"/>
                      <a:pt x="456989" y="-2612"/>
                      <a:pt x="398564" y="20410"/>
                    </a:cubicBezTo>
                    <a:lnTo>
                      <a:pt x="398564" y="34482"/>
                    </a:lnTo>
                    <a:cubicBezTo>
                      <a:pt x="463478" y="8352"/>
                      <a:pt x="487097" y="11311"/>
                      <a:pt x="490429" y="16706"/>
                    </a:cubicBezTo>
                    <a:cubicBezTo>
                      <a:pt x="493710" y="22026"/>
                      <a:pt x="486824" y="42388"/>
                      <a:pt x="440133" y="84902"/>
                    </a:cubicBezTo>
                    <a:cubicBezTo>
                      <a:pt x="399683" y="121747"/>
                      <a:pt x="341705" y="164062"/>
                      <a:pt x="276890" y="204115"/>
                    </a:cubicBezTo>
                    <a:cubicBezTo>
                      <a:pt x="212075" y="244142"/>
                      <a:pt x="148254" y="277035"/>
                      <a:pt x="97213" y="296725"/>
                    </a:cubicBezTo>
                    <a:cubicBezTo>
                      <a:pt x="38290" y="319449"/>
                      <a:pt x="17008" y="316491"/>
                      <a:pt x="13702" y="311170"/>
                    </a:cubicBezTo>
                    <a:cubicBezTo>
                      <a:pt x="8655" y="303016"/>
                      <a:pt x="27898" y="270098"/>
                      <a:pt x="99898" y="212543"/>
                    </a:cubicBezTo>
                    <a:lnTo>
                      <a:pt x="99898" y="196209"/>
                    </a:lnTo>
                    <a:cubicBezTo>
                      <a:pt x="99450" y="196408"/>
                      <a:pt x="98953" y="196557"/>
                      <a:pt x="98555" y="196880"/>
                    </a:cubicBezTo>
                    <a:cubicBezTo>
                      <a:pt x="46072" y="238051"/>
                      <a:pt x="-13174" y="292499"/>
                      <a:pt x="2588" y="318032"/>
                    </a:cubicBezTo>
                    <a:cubicBezTo>
                      <a:pt x="6616" y="324571"/>
                      <a:pt x="14820" y="327853"/>
                      <a:pt x="27102" y="327853"/>
                    </a:cubicBezTo>
                    <a:cubicBezTo>
                      <a:pt x="44182" y="327853"/>
                      <a:pt x="69193" y="321538"/>
                      <a:pt x="101912" y="308908"/>
                    </a:cubicBezTo>
                    <a:cubicBezTo>
                      <a:pt x="153674" y="288944"/>
                      <a:pt x="218265" y="255678"/>
                      <a:pt x="283752" y="215228"/>
                    </a:cubicBezTo>
                    <a:cubicBezTo>
                      <a:pt x="349238" y="174778"/>
                      <a:pt x="407887" y="131916"/>
                      <a:pt x="448909" y="94573"/>
                    </a:cubicBezTo>
                    <a:cubicBezTo>
                      <a:pt x="493512" y="53999"/>
                      <a:pt x="511213" y="25482"/>
                      <a:pt x="501542" y="9844"/>
                    </a:cubicBezTo>
                    <a:close/>
                  </a:path>
                </a:pathLst>
              </a:custGeom>
              <a:solidFill>
                <a:schemeClr val="accent1"/>
              </a:solidFill>
              <a:ln w="2482" cap="flat">
                <a:noFill/>
                <a:prstDash val="solid"/>
                <a:miter/>
              </a:ln>
            </p:spPr>
            <p:txBody>
              <a:bodyPr rtlCol="0" anchor="ctr"/>
              <a:lstStyle/>
              <a:p>
                <a:endParaRPr lang="en-GB" dirty="0"/>
              </a:p>
            </p:txBody>
          </p:sp>
          <p:sp>
            <p:nvSpPr>
              <p:cNvPr id="205" name="Freihandform: Form 1086">
                <a:extLst>
                  <a:ext uri="{FF2B5EF4-FFF2-40B4-BE49-F238E27FC236}">
                    <a16:creationId xmlns:a16="http://schemas.microsoft.com/office/drawing/2014/main" id="{C2E40FCB-3CAE-4986-B61D-14CE2D8EC95C}"/>
                  </a:ext>
                </a:extLst>
              </p:cNvPr>
              <p:cNvSpPr/>
              <p:nvPr/>
            </p:nvSpPr>
            <p:spPr>
              <a:xfrm>
                <a:off x="5268372" y="4153507"/>
                <a:ext cx="230360" cy="216165"/>
              </a:xfrm>
              <a:custGeom>
                <a:avLst/>
                <a:gdLst>
                  <a:gd name="connsiteX0" fmla="*/ 227249 w 230360"/>
                  <a:gd name="connsiteY0" fmla="*/ 204108 h 216165"/>
                  <a:gd name="connsiteX1" fmla="*/ 64006 w 230360"/>
                  <a:gd name="connsiteY1" fmla="*/ 84895 h 216165"/>
                  <a:gd name="connsiteX2" fmla="*/ 13710 w 230360"/>
                  <a:gd name="connsiteY2" fmla="*/ 16698 h 216165"/>
                  <a:gd name="connsiteX3" fmla="*/ 102989 w 230360"/>
                  <a:gd name="connsiteY3" fmla="*/ 33431 h 216165"/>
                  <a:gd name="connsiteX4" fmla="*/ 102989 w 230360"/>
                  <a:gd name="connsiteY4" fmla="*/ 19383 h 216165"/>
                  <a:gd name="connsiteX5" fmla="*/ 2597 w 230360"/>
                  <a:gd name="connsiteY5" fmla="*/ 9812 h 216165"/>
                  <a:gd name="connsiteX6" fmla="*/ 55230 w 230360"/>
                  <a:gd name="connsiteY6" fmla="*/ 94541 h 216165"/>
                  <a:gd name="connsiteX7" fmla="*/ 220412 w 230360"/>
                  <a:gd name="connsiteY7" fmla="*/ 215196 h 216165"/>
                  <a:gd name="connsiteX8" fmla="*/ 223843 w 230360"/>
                  <a:gd name="connsiteY8" fmla="*/ 216166 h 216165"/>
                  <a:gd name="connsiteX9" fmla="*/ 229412 w 230360"/>
                  <a:gd name="connsiteY9" fmla="*/ 213058 h 216165"/>
                  <a:gd name="connsiteX10" fmla="*/ 227249 w 230360"/>
                  <a:gd name="connsiteY10" fmla="*/ 204108 h 216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360" h="216165">
                    <a:moveTo>
                      <a:pt x="227249" y="204108"/>
                    </a:moveTo>
                    <a:cubicBezTo>
                      <a:pt x="162434" y="164080"/>
                      <a:pt x="104456" y="121740"/>
                      <a:pt x="64006" y="84895"/>
                    </a:cubicBezTo>
                    <a:cubicBezTo>
                      <a:pt x="17315" y="42381"/>
                      <a:pt x="10404" y="22019"/>
                      <a:pt x="13710" y="16698"/>
                    </a:cubicBezTo>
                    <a:cubicBezTo>
                      <a:pt x="17191" y="11055"/>
                      <a:pt x="39989" y="8395"/>
                      <a:pt x="102989" y="33431"/>
                    </a:cubicBezTo>
                    <a:lnTo>
                      <a:pt x="102989" y="19383"/>
                    </a:lnTo>
                    <a:cubicBezTo>
                      <a:pt x="46130" y="-2694"/>
                      <a:pt x="12318" y="-5951"/>
                      <a:pt x="2597" y="9812"/>
                    </a:cubicBezTo>
                    <a:cubicBezTo>
                      <a:pt x="-11947" y="33381"/>
                      <a:pt x="38597" y="79425"/>
                      <a:pt x="55230" y="94541"/>
                    </a:cubicBezTo>
                    <a:cubicBezTo>
                      <a:pt x="96252" y="131909"/>
                      <a:pt x="154926" y="174746"/>
                      <a:pt x="220412" y="215196"/>
                    </a:cubicBezTo>
                    <a:cubicBezTo>
                      <a:pt x="221481" y="215867"/>
                      <a:pt x="222674" y="216166"/>
                      <a:pt x="223843" y="216166"/>
                    </a:cubicBezTo>
                    <a:cubicBezTo>
                      <a:pt x="226031" y="216166"/>
                      <a:pt x="228169" y="215071"/>
                      <a:pt x="229412" y="213058"/>
                    </a:cubicBezTo>
                    <a:cubicBezTo>
                      <a:pt x="231277" y="210025"/>
                      <a:pt x="230307" y="205997"/>
                      <a:pt x="227249" y="204108"/>
                    </a:cubicBezTo>
                    <a:close/>
                  </a:path>
                </a:pathLst>
              </a:custGeom>
              <a:solidFill>
                <a:schemeClr val="accent1"/>
              </a:solidFill>
              <a:ln w="2482" cap="flat">
                <a:noFill/>
                <a:prstDash val="solid"/>
                <a:miter/>
              </a:ln>
            </p:spPr>
            <p:txBody>
              <a:bodyPr rtlCol="0" anchor="ctr"/>
              <a:lstStyle/>
              <a:p>
                <a:endParaRPr lang="en-GB" dirty="0"/>
              </a:p>
            </p:txBody>
          </p:sp>
        </p:grpSp>
      </p:grpSp>
      <p:grpSp>
        <p:nvGrpSpPr>
          <p:cNvPr id="41" name="Group 40">
            <a:extLst>
              <a:ext uri="{FF2B5EF4-FFF2-40B4-BE49-F238E27FC236}">
                <a16:creationId xmlns:a16="http://schemas.microsoft.com/office/drawing/2014/main" id="{E8395788-4AA0-3235-5F99-D021DA5A72AB}"/>
              </a:ext>
            </a:extLst>
          </p:cNvPr>
          <p:cNvGrpSpPr/>
          <p:nvPr/>
        </p:nvGrpSpPr>
        <p:grpSpPr>
          <a:xfrm>
            <a:off x="2774524" y="3197068"/>
            <a:ext cx="220788" cy="432000"/>
            <a:chOff x="2774524" y="3197068"/>
            <a:chExt cx="220788" cy="432000"/>
          </a:xfrm>
        </p:grpSpPr>
        <p:grpSp>
          <p:nvGrpSpPr>
            <p:cNvPr id="213" name="Grafik 179">
              <a:extLst>
                <a:ext uri="{FF2B5EF4-FFF2-40B4-BE49-F238E27FC236}">
                  <a16:creationId xmlns:a16="http://schemas.microsoft.com/office/drawing/2014/main" id="{BAC969FF-58AE-455A-90E2-42F62470A494}"/>
                </a:ext>
              </a:extLst>
            </p:cNvPr>
            <p:cNvGrpSpPr/>
            <p:nvPr/>
          </p:nvGrpSpPr>
          <p:grpSpPr>
            <a:xfrm>
              <a:off x="2815634" y="3490579"/>
              <a:ext cx="138509" cy="138489"/>
              <a:chOff x="1055418" y="2776537"/>
              <a:chExt cx="168467" cy="168442"/>
            </a:xfrm>
            <a:solidFill>
              <a:schemeClr val="accent1"/>
            </a:solidFill>
          </p:grpSpPr>
          <p:sp>
            <p:nvSpPr>
              <p:cNvPr id="221" name="Freihandform: Form 403">
                <a:extLst>
                  <a:ext uri="{FF2B5EF4-FFF2-40B4-BE49-F238E27FC236}">
                    <a16:creationId xmlns:a16="http://schemas.microsoft.com/office/drawing/2014/main" id="{D4622819-F71F-47D1-B961-6AC2584F27DD}"/>
                  </a:ext>
                </a:extLst>
              </p:cNvPr>
              <p:cNvSpPr/>
              <p:nvPr/>
            </p:nvSpPr>
            <p:spPr>
              <a:xfrm>
                <a:off x="1055418" y="2776537"/>
                <a:ext cx="168467" cy="168442"/>
              </a:xfrm>
              <a:custGeom>
                <a:avLst/>
                <a:gdLst>
                  <a:gd name="connsiteX0" fmla="*/ 83107 w 168467"/>
                  <a:gd name="connsiteY0" fmla="*/ 168443 h 168442"/>
                  <a:gd name="connsiteX1" fmla="*/ 52920 w 168467"/>
                  <a:gd name="connsiteY1" fmla="*/ 162425 h 168442"/>
                  <a:gd name="connsiteX2" fmla="*/ 57105 w 168467"/>
                  <a:gd name="connsiteY2" fmla="*/ 141475 h 168442"/>
                  <a:gd name="connsiteX3" fmla="*/ 40712 w 168467"/>
                  <a:gd name="connsiteY3" fmla="*/ 130208 h 168442"/>
                  <a:gd name="connsiteX4" fmla="*/ 22684 w 168467"/>
                  <a:gd name="connsiteY4" fmla="*/ 141698 h 168442"/>
                  <a:gd name="connsiteX5" fmla="*/ 6092 w 168467"/>
                  <a:gd name="connsiteY5" fmla="*/ 115721 h 168442"/>
                  <a:gd name="connsiteX6" fmla="*/ 24145 w 168467"/>
                  <a:gd name="connsiteY6" fmla="*/ 104231 h 168442"/>
                  <a:gd name="connsiteX7" fmla="*/ 20950 w 168467"/>
                  <a:gd name="connsiteY7" fmla="*/ 87243 h 168442"/>
                  <a:gd name="connsiteX8" fmla="*/ 0 w 168467"/>
                  <a:gd name="connsiteY8" fmla="*/ 83033 h 168442"/>
                  <a:gd name="connsiteX9" fmla="*/ 6042 w 168467"/>
                  <a:gd name="connsiteY9" fmla="*/ 52846 h 168442"/>
                  <a:gd name="connsiteX10" fmla="*/ 26992 w 168467"/>
                  <a:gd name="connsiteY10" fmla="*/ 57056 h 168442"/>
                  <a:gd name="connsiteX11" fmla="*/ 36502 w 168467"/>
                  <a:gd name="connsiteY11" fmla="*/ 42569 h 168442"/>
                  <a:gd name="connsiteX12" fmla="*/ 24268 w 168467"/>
                  <a:gd name="connsiteY12" fmla="*/ 25011 h 168442"/>
                  <a:gd name="connsiteX13" fmla="*/ 49527 w 168467"/>
                  <a:gd name="connsiteY13" fmla="*/ 7454 h 168442"/>
                  <a:gd name="connsiteX14" fmla="*/ 61761 w 168467"/>
                  <a:gd name="connsiteY14" fmla="*/ 25011 h 168442"/>
                  <a:gd name="connsiteX15" fmla="*/ 81225 w 168467"/>
                  <a:gd name="connsiteY15" fmla="*/ 20950 h 168442"/>
                  <a:gd name="connsiteX16" fmla="*/ 85410 w 168467"/>
                  <a:gd name="connsiteY16" fmla="*/ 0 h 168442"/>
                  <a:gd name="connsiteX17" fmla="*/ 115597 w 168467"/>
                  <a:gd name="connsiteY17" fmla="*/ 6018 h 168442"/>
                  <a:gd name="connsiteX18" fmla="*/ 111387 w 168467"/>
                  <a:gd name="connsiteY18" fmla="*/ 26993 h 168442"/>
                  <a:gd name="connsiteX19" fmla="*/ 127781 w 168467"/>
                  <a:gd name="connsiteY19" fmla="*/ 38235 h 168442"/>
                  <a:gd name="connsiteX20" fmla="*/ 145809 w 168467"/>
                  <a:gd name="connsiteY20" fmla="*/ 26770 h 168442"/>
                  <a:gd name="connsiteX21" fmla="*/ 162351 w 168467"/>
                  <a:gd name="connsiteY21" fmla="*/ 52722 h 168442"/>
                  <a:gd name="connsiteX22" fmla="*/ 144298 w 168467"/>
                  <a:gd name="connsiteY22" fmla="*/ 64188 h 168442"/>
                  <a:gd name="connsiteX23" fmla="*/ 147493 w 168467"/>
                  <a:gd name="connsiteY23" fmla="*/ 81200 h 168442"/>
                  <a:gd name="connsiteX24" fmla="*/ 168468 w 168467"/>
                  <a:gd name="connsiteY24" fmla="*/ 85361 h 168442"/>
                  <a:gd name="connsiteX25" fmla="*/ 162400 w 168467"/>
                  <a:gd name="connsiteY25" fmla="*/ 115597 h 168442"/>
                  <a:gd name="connsiteX26" fmla="*/ 141426 w 168467"/>
                  <a:gd name="connsiteY26" fmla="*/ 111387 h 168442"/>
                  <a:gd name="connsiteX27" fmla="*/ 131941 w 168467"/>
                  <a:gd name="connsiteY27" fmla="*/ 125849 h 168442"/>
                  <a:gd name="connsiteX28" fmla="*/ 144174 w 168467"/>
                  <a:gd name="connsiteY28" fmla="*/ 143407 h 168442"/>
                  <a:gd name="connsiteX29" fmla="*/ 118915 w 168467"/>
                  <a:gd name="connsiteY29" fmla="*/ 160989 h 168442"/>
                  <a:gd name="connsiteX30" fmla="*/ 106707 w 168467"/>
                  <a:gd name="connsiteY30" fmla="*/ 143431 h 168442"/>
                  <a:gd name="connsiteX31" fmla="*/ 87218 w 168467"/>
                  <a:gd name="connsiteY31" fmla="*/ 147493 h 168442"/>
                  <a:gd name="connsiteX32" fmla="*/ 83107 w 168467"/>
                  <a:gd name="connsiteY32" fmla="*/ 168443 h 168442"/>
                  <a:gd name="connsiteX33" fmla="*/ 67976 w 168467"/>
                  <a:gd name="connsiteY33" fmla="*/ 152371 h 168442"/>
                  <a:gd name="connsiteX34" fmla="*/ 73078 w 168467"/>
                  <a:gd name="connsiteY34" fmla="*/ 153386 h 168442"/>
                  <a:gd name="connsiteX35" fmla="*/ 76842 w 168467"/>
                  <a:gd name="connsiteY35" fmla="*/ 134517 h 168442"/>
                  <a:gd name="connsiteX36" fmla="*/ 82290 w 168467"/>
                  <a:gd name="connsiteY36" fmla="*/ 134715 h 168442"/>
                  <a:gd name="connsiteX37" fmla="*/ 106236 w 168467"/>
                  <a:gd name="connsiteY37" fmla="*/ 129712 h 168442"/>
                  <a:gd name="connsiteX38" fmla="*/ 111164 w 168467"/>
                  <a:gd name="connsiteY38" fmla="*/ 127310 h 168442"/>
                  <a:gd name="connsiteX39" fmla="*/ 122209 w 168467"/>
                  <a:gd name="connsiteY39" fmla="*/ 143159 h 168442"/>
                  <a:gd name="connsiteX40" fmla="*/ 126468 w 168467"/>
                  <a:gd name="connsiteY40" fmla="*/ 140187 h 168442"/>
                  <a:gd name="connsiteX41" fmla="*/ 115448 w 168467"/>
                  <a:gd name="connsiteY41" fmla="*/ 124363 h 168442"/>
                  <a:gd name="connsiteX42" fmla="*/ 119386 w 168467"/>
                  <a:gd name="connsiteY42" fmla="*/ 120575 h 168442"/>
                  <a:gd name="connsiteX43" fmla="*/ 131669 w 168467"/>
                  <a:gd name="connsiteY43" fmla="*/ 101828 h 168442"/>
                  <a:gd name="connsiteX44" fmla="*/ 133576 w 168467"/>
                  <a:gd name="connsiteY44" fmla="*/ 96702 h 168442"/>
                  <a:gd name="connsiteX45" fmla="*/ 152470 w 168467"/>
                  <a:gd name="connsiteY45" fmla="*/ 100491 h 168442"/>
                  <a:gd name="connsiteX46" fmla="*/ 153510 w 168467"/>
                  <a:gd name="connsiteY46" fmla="*/ 95365 h 168442"/>
                  <a:gd name="connsiteX47" fmla="*/ 134640 w 168467"/>
                  <a:gd name="connsiteY47" fmla="*/ 91626 h 168442"/>
                  <a:gd name="connsiteX48" fmla="*/ 134838 w 168467"/>
                  <a:gd name="connsiteY48" fmla="*/ 86178 h 168442"/>
                  <a:gd name="connsiteX49" fmla="*/ 130678 w 168467"/>
                  <a:gd name="connsiteY49" fmla="*/ 64113 h 168442"/>
                  <a:gd name="connsiteX50" fmla="*/ 128474 w 168467"/>
                  <a:gd name="connsiteY50" fmla="*/ 59086 h 168442"/>
                  <a:gd name="connsiteX51" fmla="*/ 144744 w 168467"/>
                  <a:gd name="connsiteY51" fmla="*/ 48735 h 168442"/>
                  <a:gd name="connsiteX52" fmla="*/ 141946 w 168467"/>
                  <a:gd name="connsiteY52" fmla="*/ 44327 h 168442"/>
                  <a:gd name="connsiteX53" fmla="*/ 125701 w 168467"/>
                  <a:gd name="connsiteY53" fmla="*/ 54678 h 168442"/>
                  <a:gd name="connsiteX54" fmla="*/ 122085 w 168467"/>
                  <a:gd name="connsiteY54" fmla="*/ 50592 h 168442"/>
                  <a:gd name="connsiteX55" fmla="*/ 101927 w 168467"/>
                  <a:gd name="connsiteY55" fmla="*/ 36774 h 168442"/>
                  <a:gd name="connsiteX56" fmla="*/ 96801 w 168467"/>
                  <a:gd name="connsiteY56" fmla="*/ 34892 h 168442"/>
                  <a:gd name="connsiteX57" fmla="*/ 100590 w 168467"/>
                  <a:gd name="connsiteY57" fmla="*/ 15997 h 168442"/>
                  <a:gd name="connsiteX58" fmla="*/ 95489 w 168467"/>
                  <a:gd name="connsiteY58" fmla="*/ 14982 h 168442"/>
                  <a:gd name="connsiteX59" fmla="*/ 91725 w 168467"/>
                  <a:gd name="connsiteY59" fmla="*/ 33852 h 168442"/>
                  <a:gd name="connsiteX60" fmla="*/ 86277 w 168467"/>
                  <a:gd name="connsiteY60" fmla="*/ 33654 h 168442"/>
                  <a:gd name="connsiteX61" fmla="*/ 62330 w 168467"/>
                  <a:gd name="connsiteY61" fmla="*/ 38681 h 168442"/>
                  <a:gd name="connsiteX62" fmla="*/ 57402 w 168467"/>
                  <a:gd name="connsiteY62" fmla="*/ 41083 h 168442"/>
                  <a:gd name="connsiteX63" fmla="*/ 46382 w 168467"/>
                  <a:gd name="connsiteY63" fmla="*/ 25234 h 168442"/>
                  <a:gd name="connsiteX64" fmla="*/ 42123 w 168467"/>
                  <a:gd name="connsiteY64" fmla="*/ 28206 h 168442"/>
                  <a:gd name="connsiteX65" fmla="*/ 53143 w 168467"/>
                  <a:gd name="connsiteY65" fmla="*/ 44030 h 168442"/>
                  <a:gd name="connsiteX66" fmla="*/ 49205 w 168467"/>
                  <a:gd name="connsiteY66" fmla="*/ 47819 h 168442"/>
                  <a:gd name="connsiteX67" fmla="*/ 36873 w 168467"/>
                  <a:gd name="connsiteY67" fmla="*/ 66590 h 168442"/>
                  <a:gd name="connsiteX68" fmla="*/ 34966 w 168467"/>
                  <a:gd name="connsiteY68" fmla="*/ 71716 h 168442"/>
                  <a:gd name="connsiteX69" fmla="*/ 16096 w 168467"/>
                  <a:gd name="connsiteY69" fmla="*/ 67927 h 168442"/>
                  <a:gd name="connsiteX70" fmla="*/ 15081 w 168467"/>
                  <a:gd name="connsiteY70" fmla="*/ 73028 h 168442"/>
                  <a:gd name="connsiteX71" fmla="*/ 33951 w 168467"/>
                  <a:gd name="connsiteY71" fmla="*/ 76817 h 168442"/>
                  <a:gd name="connsiteX72" fmla="*/ 33728 w 168467"/>
                  <a:gd name="connsiteY72" fmla="*/ 82265 h 168442"/>
                  <a:gd name="connsiteX73" fmla="*/ 37864 w 168467"/>
                  <a:gd name="connsiteY73" fmla="*/ 104280 h 168442"/>
                  <a:gd name="connsiteX74" fmla="*/ 40043 w 168467"/>
                  <a:gd name="connsiteY74" fmla="*/ 109307 h 168442"/>
                  <a:gd name="connsiteX75" fmla="*/ 23748 w 168467"/>
                  <a:gd name="connsiteY75" fmla="*/ 119658 h 168442"/>
                  <a:gd name="connsiteX76" fmla="*/ 26547 w 168467"/>
                  <a:gd name="connsiteY76" fmla="*/ 124066 h 168442"/>
                  <a:gd name="connsiteX77" fmla="*/ 42792 w 168467"/>
                  <a:gd name="connsiteY77" fmla="*/ 113690 h 168442"/>
                  <a:gd name="connsiteX78" fmla="*/ 46407 w 168467"/>
                  <a:gd name="connsiteY78" fmla="*/ 117776 h 168442"/>
                  <a:gd name="connsiteX79" fmla="*/ 66565 w 168467"/>
                  <a:gd name="connsiteY79" fmla="*/ 131619 h 168442"/>
                  <a:gd name="connsiteX80" fmla="*/ 71666 w 168467"/>
                  <a:gd name="connsiteY80" fmla="*/ 133526 h 168442"/>
                  <a:gd name="connsiteX81" fmla="*/ 67976 w 168467"/>
                  <a:gd name="connsiteY81" fmla="*/ 152371 h 16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68467" h="168442">
                    <a:moveTo>
                      <a:pt x="83107" y="168443"/>
                    </a:moveTo>
                    <a:lnTo>
                      <a:pt x="52920" y="162425"/>
                    </a:lnTo>
                    <a:lnTo>
                      <a:pt x="57105" y="141475"/>
                    </a:lnTo>
                    <a:cubicBezTo>
                      <a:pt x="51088" y="138627"/>
                      <a:pt x="45540" y="134814"/>
                      <a:pt x="40712" y="130208"/>
                    </a:cubicBezTo>
                    <a:lnTo>
                      <a:pt x="22684" y="141698"/>
                    </a:lnTo>
                    <a:lnTo>
                      <a:pt x="6092" y="115721"/>
                    </a:lnTo>
                    <a:lnTo>
                      <a:pt x="24145" y="104231"/>
                    </a:lnTo>
                    <a:cubicBezTo>
                      <a:pt x="22312" y="98758"/>
                      <a:pt x="21223" y="93013"/>
                      <a:pt x="20950" y="87243"/>
                    </a:cubicBezTo>
                    <a:lnTo>
                      <a:pt x="0" y="83033"/>
                    </a:lnTo>
                    <a:lnTo>
                      <a:pt x="6042" y="52846"/>
                    </a:lnTo>
                    <a:lnTo>
                      <a:pt x="26992" y="57056"/>
                    </a:lnTo>
                    <a:cubicBezTo>
                      <a:pt x="29469" y="51806"/>
                      <a:pt x="32663" y="46952"/>
                      <a:pt x="36502" y="42569"/>
                    </a:cubicBezTo>
                    <a:lnTo>
                      <a:pt x="24268" y="25011"/>
                    </a:lnTo>
                    <a:lnTo>
                      <a:pt x="49527" y="7454"/>
                    </a:lnTo>
                    <a:lnTo>
                      <a:pt x="61761" y="25011"/>
                    </a:lnTo>
                    <a:cubicBezTo>
                      <a:pt x="67952" y="22659"/>
                      <a:pt x="74564" y="21272"/>
                      <a:pt x="81225" y="20950"/>
                    </a:cubicBezTo>
                    <a:lnTo>
                      <a:pt x="85410" y="0"/>
                    </a:lnTo>
                    <a:lnTo>
                      <a:pt x="115597" y="6018"/>
                    </a:lnTo>
                    <a:lnTo>
                      <a:pt x="111387" y="26993"/>
                    </a:lnTo>
                    <a:cubicBezTo>
                      <a:pt x="117380" y="29840"/>
                      <a:pt x="122952" y="33629"/>
                      <a:pt x="127781" y="38235"/>
                    </a:cubicBezTo>
                    <a:lnTo>
                      <a:pt x="145809" y="26770"/>
                    </a:lnTo>
                    <a:lnTo>
                      <a:pt x="162351" y="52722"/>
                    </a:lnTo>
                    <a:lnTo>
                      <a:pt x="144298" y="64188"/>
                    </a:lnTo>
                    <a:cubicBezTo>
                      <a:pt x="146155" y="69685"/>
                      <a:pt x="147220" y="75381"/>
                      <a:pt x="147493" y="81200"/>
                    </a:cubicBezTo>
                    <a:lnTo>
                      <a:pt x="168468" y="85361"/>
                    </a:lnTo>
                    <a:lnTo>
                      <a:pt x="162400" y="115597"/>
                    </a:lnTo>
                    <a:lnTo>
                      <a:pt x="141426" y="111387"/>
                    </a:lnTo>
                    <a:cubicBezTo>
                      <a:pt x="138949" y="116612"/>
                      <a:pt x="135730" y="121516"/>
                      <a:pt x="131941" y="125849"/>
                    </a:cubicBezTo>
                    <a:lnTo>
                      <a:pt x="144174" y="143407"/>
                    </a:lnTo>
                    <a:lnTo>
                      <a:pt x="118915" y="160989"/>
                    </a:lnTo>
                    <a:lnTo>
                      <a:pt x="106707" y="143431"/>
                    </a:lnTo>
                    <a:cubicBezTo>
                      <a:pt x="100491" y="145809"/>
                      <a:pt x="93904" y="147171"/>
                      <a:pt x="87218" y="147493"/>
                    </a:cubicBezTo>
                    <a:lnTo>
                      <a:pt x="83107" y="168443"/>
                    </a:lnTo>
                    <a:close/>
                    <a:moveTo>
                      <a:pt x="67976" y="152371"/>
                    </a:moveTo>
                    <a:lnTo>
                      <a:pt x="73078" y="153386"/>
                    </a:lnTo>
                    <a:lnTo>
                      <a:pt x="76842" y="134517"/>
                    </a:lnTo>
                    <a:lnTo>
                      <a:pt x="82290" y="134715"/>
                    </a:lnTo>
                    <a:cubicBezTo>
                      <a:pt x="90635" y="135037"/>
                      <a:pt x="98857" y="133303"/>
                      <a:pt x="106236" y="129712"/>
                    </a:cubicBezTo>
                    <a:lnTo>
                      <a:pt x="111164" y="127310"/>
                    </a:lnTo>
                    <a:lnTo>
                      <a:pt x="122209" y="143159"/>
                    </a:lnTo>
                    <a:lnTo>
                      <a:pt x="126468" y="140187"/>
                    </a:lnTo>
                    <a:lnTo>
                      <a:pt x="115448" y="124363"/>
                    </a:lnTo>
                    <a:lnTo>
                      <a:pt x="119386" y="120575"/>
                    </a:lnTo>
                    <a:cubicBezTo>
                      <a:pt x="124809" y="115374"/>
                      <a:pt x="129044" y="108886"/>
                      <a:pt x="131669" y="101828"/>
                    </a:cubicBezTo>
                    <a:lnTo>
                      <a:pt x="133576" y="96702"/>
                    </a:lnTo>
                    <a:lnTo>
                      <a:pt x="152470" y="100491"/>
                    </a:lnTo>
                    <a:lnTo>
                      <a:pt x="153510" y="95365"/>
                    </a:lnTo>
                    <a:lnTo>
                      <a:pt x="134640" y="91626"/>
                    </a:lnTo>
                    <a:lnTo>
                      <a:pt x="134838" y="86178"/>
                    </a:lnTo>
                    <a:cubicBezTo>
                      <a:pt x="135136" y="78501"/>
                      <a:pt x="133724" y="71097"/>
                      <a:pt x="130678" y="64113"/>
                    </a:cubicBezTo>
                    <a:lnTo>
                      <a:pt x="128474" y="59086"/>
                    </a:lnTo>
                    <a:lnTo>
                      <a:pt x="144744" y="48735"/>
                    </a:lnTo>
                    <a:lnTo>
                      <a:pt x="141946" y="44327"/>
                    </a:lnTo>
                    <a:lnTo>
                      <a:pt x="125701" y="54678"/>
                    </a:lnTo>
                    <a:lnTo>
                      <a:pt x="122085" y="50592"/>
                    </a:lnTo>
                    <a:cubicBezTo>
                      <a:pt x="116588" y="44401"/>
                      <a:pt x="109629" y="39622"/>
                      <a:pt x="101927" y="36774"/>
                    </a:cubicBezTo>
                    <a:lnTo>
                      <a:pt x="96801" y="34892"/>
                    </a:lnTo>
                    <a:lnTo>
                      <a:pt x="100590" y="15997"/>
                    </a:lnTo>
                    <a:lnTo>
                      <a:pt x="95489" y="14982"/>
                    </a:lnTo>
                    <a:lnTo>
                      <a:pt x="91725" y="33852"/>
                    </a:lnTo>
                    <a:lnTo>
                      <a:pt x="86277" y="33654"/>
                    </a:lnTo>
                    <a:cubicBezTo>
                      <a:pt x="78006" y="33332"/>
                      <a:pt x="69685" y="35090"/>
                      <a:pt x="62330" y="38681"/>
                    </a:cubicBezTo>
                    <a:lnTo>
                      <a:pt x="57402" y="41083"/>
                    </a:lnTo>
                    <a:lnTo>
                      <a:pt x="46382" y="25234"/>
                    </a:lnTo>
                    <a:lnTo>
                      <a:pt x="42123" y="28206"/>
                    </a:lnTo>
                    <a:lnTo>
                      <a:pt x="53143" y="44030"/>
                    </a:lnTo>
                    <a:lnTo>
                      <a:pt x="49205" y="47819"/>
                    </a:lnTo>
                    <a:cubicBezTo>
                      <a:pt x="43658" y="53143"/>
                      <a:pt x="39523" y="59458"/>
                      <a:pt x="36873" y="66590"/>
                    </a:cubicBezTo>
                    <a:lnTo>
                      <a:pt x="34966" y="71716"/>
                    </a:lnTo>
                    <a:lnTo>
                      <a:pt x="16096" y="67927"/>
                    </a:lnTo>
                    <a:lnTo>
                      <a:pt x="15081" y="73028"/>
                    </a:lnTo>
                    <a:lnTo>
                      <a:pt x="33951" y="76817"/>
                    </a:lnTo>
                    <a:lnTo>
                      <a:pt x="33728" y="82265"/>
                    </a:lnTo>
                    <a:cubicBezTo>
                      <a:pt x="33431" y="89793"/>
                      <a:pt x="34867" y="97396"/>
                      <a:pt x="37864" y="104280"/>
                    </a:cubicBezTo>
                    <a:lnTo>
                      <a:pt x="40043" y="109307"/>
                    </a:lnTo>
                    <a:lnTo>
                      <a:pt x="23748" y="119658"/>
                    </a:lnTo>
                    <a:lnTo>
                      <a:pt x="26547" y="124066"/>
                    </a:lnTo>
                    <a:lnTo>
                      <a:pt x="42792" y="113690"/>
                    </a:lnTo>
                    <a:lnTo>
                      <a:pt x="46407" y="117776"/>
                    </a:lnTo>
                    <a:cubicBezTo>
                      <a:pt x="51880" y="123967"/>
                      <a:pt x="58863" y="128771"/>
                      <a:pt x="66565" y="131619"/>
                    </a:cubicBezTo>
                    <a:lnTo>
                      <a:pt x="71666" y="133526"/>
                    </a:lnTo>
                    <a:lnTo>
                      <a:pt x="67976" y="152371"/>
                    </a:lnTo>
                    <a:close/>
                  </a:path>
                </a:pathLst>
              </a:custGeom>
              <a:solidFill>
                <a:schemeClr val="accent1"/>
              </a:solidFill>
              <a:ln w="2473" cap="flat">
                <a:noFill/>
                <a:prstDash val="solid"/>
                <a:miter/>
              </a:ln>
            </p:spPr>
            <p:txBody>
              <a:bodyPr rtlCol="0" anchor="ctr"/>
              <a:lstStyle/>
              <a:p>
                <a:endParaRPr lang="en-GB" dirty="0"/>
              </a:p>
            </p:txBody>
          </p:sp>
          <p:sp>
            <p:nvSpPr>
              <p:cNvPr id="222" name="Freihandform: Form 404">
                <a:extLst>
                  <a:ext uri="{FF2B5EF4-FFF2-40B4-BE49-F238E27FC236}">
                    <a16:creationId xmlns:a16="http://schemas.microsoft.com/office/drawing/2014/main" id="{1571BDE0-0D33-48CC-999A-86339A2E0C13}"/>
                  </a:ext>
                </a:extLst>
              </p:cNvPr>
              <p:cNvSpPr/>
              <p:nvPr/>
            </p:nvSpPr>
            <p:spPr>
              <a:xfrm>
                <a:off x="1105119" y="2826139"/>
                <a:ext cx="69140" cy="69165"/>
              </a:xfrm>
              <a:custGeom>
                <a:avLst/>
                <a:gdLst>
                  <a:gd name="connsiteX0" fmla="*/ 34570 w 69140"/>
                  <a:gd name="connsiteY0" fmla="*/ 69165 h 69165"/>
                  <a:gd name="connsiteX1" fmla="*/ 0 w 69140"/>
                  <a:gd name="connsiteY1" fmla="*/ 34595 h 69165"/>
                  <a:gd name="connsiteX2" fmla="*/ 34570 w 69140"/>
                  <a:gd name="connsiteY2" fmla="*/ 0 h 69165"/>
                  <a:gd name="connsiteX3" fmla="*/ 69140 w 69140"/>
                  <a:gd name="connsiteY3" fmla="*/ 34595 h 69165"/>
                  <a:gd name="connsiteX4" fmla="*/ 34570 w 69140"/>
                  <a:gd name="connsiteY4" fmla="*/ 69165 h 69165"/>
                  <a:gd name="connsiteX5" fmla="*/ 34570 w 69140"/>
                  <a:gd name="connsiteY5" fmla="*/ 12803 h 69165"/>
                  <a:gd name="connsiteX6" fmla="*/ 12778 w 69140"/>
                  <a:gd name="connsiteY6" fmla="*/ 34595 h 69165"/>
                  <a:gd name="connsiteX7" fmla="*/ 34570 w 69140"/>
                  <a:gd name="connsiteY7" fmla="*/ 56387 h 69165"/>
                  <a:gd name="connsiteX8" fmla="*/ 56362 w 69140"/>
                  <a:gd name="connsiteY8" fmla="*/ 34595 h 69165"/>
                  <a:gd name="connsiteX9" fmla="*/ 34570 w 69140"/>
                  <a:gd name="connsiteY9" fmla="*/ 12803 h 69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140" h="69165">
                    <a:moveTo>
                      <a:pt x="34570" y="69165"/>
                    </a:moveTo>
                    <a:cubicBezTo>
                      <a:pt x="15502" y="69165"/>
                      <a:pt x="0" y="53663"/>
                      <a:pt x="0" y="34595"/>
                    </a:cubicBezTo>
                    <a:cubicBezTo>
                      <a:pt x="0" y="15527"/>
                      <a:pt x="15502" y="0"/>
                      <a:pt x="34570" y="0"/>
                    </a:cubicBezTo>
                    <a:cubicBezTo>
                      <a:pt x="53638" y="0"/>
                      <a:pt x="69140" y="15527"/>
                      <a:pt x="69140" y="34595"/>
                    </a:cubicBezTo>
                    <a:cubicBezTo>
                      <a:pt x="69140" y="53663"/>
                      <a:pt x="53638" y="69165"/>
                      <a:pt x="34570" y="69165"/>
                    </a:cubicBezTo>
                    <a:close/>
                    <a:moveTo>
                      <a:pt x="34570" y="12803"/>
                    </a:moveTo>
                    <a:cubicBezTo>
                      <a:pt x="22560" y="12803"/>
                      <a:pt x="12778" y="22585"/>
                      <a:pt x="12778" y="34595"/>
                    </a:cubicBezTo>
                    <a:cubicBezTo>
                      <a:pt x="12778" y="46605"/>
                      <a:pt x="22560" y="56387"/>
                      <a:pt x="34570" y="56387"/>
                    </a:cubicBezTo>
                    <a:cubicBezTo>
                      <a:pt x="46581" y="56387"/>
                      <a:pt x="56362" y="46605"/>
                      <a:pt x="56362" y="34595"/>
                    </a:cubicBezTo>
                    <a:cubicBezTo>
                      <a:pt x="56362" y="22560"/>
                      <a:pt x="46581" y="12803"/>
                      <a:pt x="34570" y="12803"/>
                    </a:cubicBezTo>
                    <a:close/>
                  </a:path>
                </a:pathLst>
              </a:custGeom>
              <a:solidFill>
                <a:schemeClr val="accent1"/>
              </a:solidFill>
              <a:ln w="2473" cap="flat">
                <a:noFill/>
                <a:prstDash val="solid"/>
                <a:miter/>
              </a:ln>
            </p:spPr>
            <p:txBody>
              <a:bodyPr rtlCol="0" anchor="ctr"/>
              <a:lstStyle/>
              <a:p>
                <a:endParaRPr lang="en-GB" dirty="0"/>
              </a:p>
            </p:txBody>
          </p:sp>
        </p:grpSp>
        <p:grpSp>
          <p:nvGrpSpPr>
            <p:cNvPr id="214" name="Grafik 179">
              <a:extLst>
                <a:ext uri="{FF2B5EF4-FFF2-40B4-BE49-F238E27FC236}">
                  <a16:creationId xmlns:a16="http://schemas.microsoft.com/office/drawing/2014/main" id="{1E99E2FE-4208-426E-9A4E-8D73DDEF08B9}"/>
                </a:ext>
              </a:extLst>
            </p:cNvPr>
            <p:cNvGrpSpPr/>
            <p:nvPr/>
          </p:nvGrpSpPr>
          <p:grpSpPr>
            <a:xfrm>
              <a:off x="2774524" y="3197068"/>
              <a:ext cx="220788" cy="268101"/>
              <a:chOff x="1005416" y="2419543"/>
              <a:chExt cx="268542" cy="326088"/>
            </a:xfrm>
            <a:solidFill>
              <a:schemeClr val="tx2"/>
            </a:solidFill>
          </p:grpSpPr>
          <p:sp>
            <p:nvSpPr>
              <p:cNvPr id="215" name="Freihandform: Form 406">
                <a:extLst>
                  <a:ext uri="{FF2B5EF4-FFF2-40B4-BE49-F238E27FC236}">
                    <a16:creationId xmlns:a16="http://schemas.microsoft.com/office/drawing/2014/main" id="{59A05DB3-90EC-4C6B-94DC-4E711211E5F0}"/>
                  </a:ext>
                </a:extLst>
              </p:cNvPr>
              <p:cNvSpPr/>
              <p:nvPr/>
            </p:nvSpPr>
            <p:spPr>
              <a:xfrm>
                <a:off x="1184437" y="2566615"/>
                <a:ext cx="89520" cy="134268"/>
              </a:xfrm>
              <a:custGeom>
                <a:avLst/>
                <a:gdLst>
                  <a:gd name="connsiteX0" fmla="*/ 89521 w 89520"/>
                  <a:gd name="connsiteY0" fmla="*/ 134269 h 134268"/>
                  <a:gd name="connsiteX1" fmla="*/ 0 w 89520"/>
                  <a:gd name="connsiteY1" fmla="*/ 134269 h 134268"/>
                  <a:gd name="connsiteX2" fmla="*/ 0 w 89520"/>
                  <a:gd name="connsiteY2" fmla="*/ 0 h 134268"/>
                  <a:gd name="connsiteX3" fmla="*/ 12778 w 89520"/>
                  <a:gd name="connsiteY3" fmla="*/ 0 h 134268"/>
                  <a:gd name="connsiteX4" fmla="*/ 12778 w 89520"/>
                  <a:gd name="connsiteY4" fmla="*/ 2699 h 134268"/>
                  <a:gd name="connsiteX5" fmla="*/ 65376 w 89520"/>
                  <a:gd name="connsiteY5" fmla="*/ 56758 h 134268"/>
                  <a:gd name="connsiteX6" fmla="*/ 89496 w 89520"/>
                  <a:gd name="connsiteY6" fmla="*/ 100813 h 134268"/>
                  <a:gd name="connsiteX7" fmla="*/ 89521 w 89520"/>
                  <a:gd name="connsiteY7" fmla="*/ 134269 h 134268"/>
                  <a:gd name="connsiteX8" fmla="*/ 12778 w 89520"/>
                  <a:gd name="connsiteY8" fmla="*/ 121491 h 134268"/>
                  <a:gd name="connsiteX9" fmla="*/ 76718 w 89520"/>
                  <a:gd name="connsiteY9" fmla="*/ 121491 h 134268"/>
                  <a:gd name="connsiteX10" fmla="*/ 76718 w 89520"/>
                  <a:gd name="connsiteY10" fmla="*/ 100665 h 134268"/>
                  <a:gd name="connsiteX11" fmla="*/ 59978 w 89520"/>
                  <a:gd name="connsiteY11" fmla="*/ 68373 h 134268"/>
                  <a:gd name="connsiteX12" fmla="*/ 12778 w 89520"/>
                  <a:gd name="connsiteY12" fmla="*/ 35041 h 134268"/>
                  <a:gd name="connsiteX13" fmla="*/ 12778 w 89520"/>
                  <a:gd name="connsiteY13" fmla="*/ 121491 h 13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20" h="134268">
                    <a:moveTo>
                      <a:pt x="89521" y="134269"/>
                    </a:moveTo>
                    <a:lnTo>
                      <a:pt x="0" y="134269"/>
                    </a:lnTo>
                    <a:lnTo>
                      <a:pt x="0" y="0"/>
                    </a:lnTo>
                    <a:lnTo>
                      <a:pt x="12778" y="0"/>
                    </a:lnTo>
                    <a:lnTo>
                      <a:pt x="12778" y="2699"/>
                    </a:lnTo>
                    <a:cubicBezTo>
                      <a:pt x="12778" y="27092"/>
                      <a:pt x="41380" y="45565"/>
                      <a:pt x="65376" y="56758"/>
                    </a:cubicBezTo>
                    <a:cubicBezTo>
                      <a:pt x="90066" y="68274"/>
                      <a:pt x="89521" y="99501"/>
                      <a:pt x="89496" y="100813"/>
                    </a:cubicBezTo>
                    <a:lnTo>
                      <a:pt x="89521" y="134269"/>
                    </a:lnTo>
                    <a:close/>
                    <a:moveTo>
                      <a:pt x="12778" y="121491"/>
                    </a:moveTo>
                    <a:lnTo>
                      <a:pt x="76718" y="121491"/>
                    </a:lnTo>
                    <a:lnTo>
                      <a:pt x="76718" y="100665"/>
                    </a:lnTo>
                    <a:cubicBezTo>
                      <a:pt x="76718" y="100268"/>
                      <a:pt x="77015" y="76322"/>
                      <a:pt x="59978" y="68373"/>
                    </a:cubicBezTo>
                    <a:cubicBezTo>
                      <a:pt x="38681" y="58418"/>
                      <a:pt x="22832" y="47200"/>
                      <a:pt x="12778" y="35041"/>
                    </a:cubicBezTo>
                    <a:lnTo>
                      <a:pt x="12778" y="121491"/>
                    </a:lnTo>
                    <a:close/>
                  </a:path>
                </a:pathLst>
              </a:custGeom>
              <a:grpFill/>
              <a:ln w="2473" cap="flat">
                <a:noFill/>
                <a:prstDash val="solid"/>
                <a:miter/>
              </a:ln>
            </p:spPr>
            <p:txBody>
              <a:bodyPr rtlCol="0" anchor="ctr"/>
              <a:lstStyle/>
              <a:p>
                <a:endParaRPr lang="en-GB" dirty="0"/>
              </a:p>
            </p:txBody>
          </p:sp>
          <p:sp>
            <p:nvSpPr>
              <p:cNvPr id="216" name="Freihandform: Form 407">
                <a:extLst>
                  <a:ext uri="{FF2B5EF4-FFF2-40B4-BE49-F238E27FC236}">
                    <a16:creationId xmlns:a16="http://schemas.microsoft.com/office/drawing/2014/main" id="{49F1040E-1374-425E-B508-1866BA30B0EC}"/>
                  </a:ext>
                </a:extLst>
              </p:cNvPr>
              <p:cNvSpPr/>
              <p:nvPr/>
            </p:nvSpPr>
            <p:spPr>
              <a:xfrm>
                <a:off x="1005416" y="2566640"/>
                <a:ext cx="89525" cy="134244"/>
              </a:xfrm>
              <a:custGeom>
                <a:avLst/>
                <a:gdLst>
                  <a:gd name="connsiteX0" fmla="*/ 89525 w 89525"/>
                  <a:gd name="connsiteY0" fmla="*/ 134244 h 134244"/>
                  <a:gd name="connsiteX1" fmla="*/ 5 w 89525"/>
                  <a:gd name="connsiteY1" fmla="*/ 134244 h 134244"/>
                  <a:gd name="connsiteX2" fmla="*/ 5 w 89525"/>
                  <a:gd name="connsiteY2" fmla="*/ 100640 h 134244"/>
                  <a:gd name="connsiteX3" fmla="*/ 24124 w 89525"/>
                  <a:gd name="connsiteY3" fmla="*/ 56758 h 134244"/>
                  <a:gd name="connsiteX4" fmla="*/ 76723 w 89525"/>
                  <a:gd name="connsiteY4" fmla="*/ 2699 h 134244"/>
                  <a:gd name="connsiteX5" fmla="*/ 76723 w 89525"/>
                  <a:gd name="connsiteY5" fmla="*/ 0 h 134244"/>
                  <a:gd name="connsiteX6" fmla="*/ 89501 w 89525"/>
                  <a:gd name="connsiteY6" fmla="*/ 0 h 134244"/>
                  <a:gd name="connsiteX7" fmla="*/ 89501 w 89525"/>
                  <a:gd name="connsiteY7" fmla="*/ 134244 h 134244"/>
                  <a:gd name="connsiteX8" fmla="*/ 12783 w 89525"/>
                  <a:gd name="connsiteY8" fmla="*/ 121466 h 134244"/>
                  <a:gd name="connsiteX9" fmla="*/ 76723 w 89525"/>
                  <a:gd name="connsiteY9" fmla="*/ 121466 h 134244"/>
                  <a:gd name="connsiteX10" fmla="*/ 76723 w 89525"/>
                  <a:gd name="connsiteY10" fmla="*/ 35041 h 134244"/>
                  <a:gd name="connsiteX11" fmla="*/ 29523 w 89525"/>
                  <a:gd name="connsiteY11" fmla="*/ 68373 h 134244"/>
                  <a:gd name="connsiteX12" fmla="*/ 12783 w 89525"/>
                  <a:gd name="connsiteY12" fmla="*/ 100516 h 134244"/>
                  <a:gd name="connsiteX13" fmla="*/ 12783 w 89525"/>
                  <a:gd name="connsiteY13" fmla="*/ 121466 h 134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525" h="134244">
                    <a:moveTo>
                      <a:pt x="89525" y="134244"/>
                    </a:moveTo>
                    <a:lnTo>
                      <a:pt x="5" y="134244"/>
                    </a:lnTo>
                    <a:lnTo>
                      <a:pt x="5" y="100640"/>
                    </a:lnTo>
                    <a:cubicBezTo>
                      <a:pt x="-20" y="99476"/>
                      <a:pt x="-565" y="68274"/>
                      <a:pt x="24124" y="56758"/>
                    </a:cubicBezTo>
                    <a:cubicBezTo>
                      <a:pt x="48120" y="45565"/>
                      <a:pt x="76723" y="27092"/>
                      <a:pt x="76723" y="2699"/>
                    </a:cubicBezTo>
                    <a:lnTo>
                      <a:pt x="76723" y="0"/>
                    </a:lnTo>
                    <a:lnTo>
                      <a:pt x="89501" y="0"/>
                    </a:lnTo>
                    <a:lnTo>
                      <a:pt x="89501" y="134244"/>
                    </a:lnTo>
                    <a:close/>
                    <a:moveTo>
                      <a:pt x="12783" y="121466"/>
                    </a:moveTo>
                    <a:lnTo>
                      <a:pt x="76723" y="121466"/>
                    </a:lnTo>
                    <a:lnTo>
                      <a:pt x="76723" y="35041"/>
                    </a:lnTo>
                    <a:cubicBezTo>
                      <a:pt x="66693" y="47175"/>
                      <a:pt x="50820" y="58418"/>
                      <a:pt x="29523" y="68373"/>
                    </a:cubicBezTo>
                    <a:cubicBezTo>
                      <a:pt x="12485" y="76322"/>
                      <a:pt x="12783" y="100293"/>
                      <a:pt x="12783" y="100516"/>
                    </a:cubicBezTo>
                    <a:lnTo>
                      <a:pt x="12783" y="121466"/>
                    </a:lnTo>
                    <a:close/>
                  </a:path>
                </a:pathLst>
              </a:custGeom>
              <a:grpFill/>
              <a:ln w="2473" cap="flat">
                <a:noFill/>
                <a:prstDash val="solid"/>
                <a:miter/>
              </a:ln>
            </p:spPr>
            <p:txBody>
              <a:bodyPr rtlCol="0" anchor="ctr"/>
              <a:lstStyle/>
              <a:p>
                <a:endParaRPr lang="en-GB" dirty="0"/>
              </a:p>
            </p:txBody>
          </p:sp>
          <p:sp>
            <p:nvSpPr>
              <p:cNvPr id="217" name="Freihandform: Form 408">
                <a:extLst>
                  <a:ext uri="{FF2B5EF4-FFF2-40B4-BE49-F238E27FC236}">
                    <a16:creationId xmlns:a16="http://schemas.microsoft.com/office/drawing/2014/main" id="{DEE5B298-54A5-49CA-B584-F1D976DC5817}"/>
                  </a:ext>
                </a:extLst>
              </p:cNvPr>
              <p:cNvSpPr/>
              <p:nvPr/>
            </p:nvSpPr>
            <p:spPr>
              <a:xfrm>
                <a:off x="1082138" y="2419543"/>
                <a:ext cx="115101" cy="294118"/>
              </a:xfrm>
              <a:custGeom>
                <a:avLst/>
                <a:gdLst>
                  <a:gd name="connsiteX0" fmla="*/ 115077 w 115101"/>
                  <a:gd name="connsiteY0" fmla="*/ 294119 h 294118"/>
                  <a:gd name="connsiteX1" fmla="*/ 0 w 115101"/>
                  <a:gd name="connsiteY1" fmla="*/ 294119 h 294118"/>
                  <a:gd name="connsiteX2" fmla="*/ 0 w 115101"/>
                  <a:gd name="connsiteY2" fmla="*/ 57551 h 294118"/>
                  <a:gd name="connsiteX3" fmla="*/ 57551 w 115101"/>
                  <a:gd name="connsiteY3" fmla="*/ 0 h 294118"/>
                  <a:gd name="connsiteX4" fmla="*/ 115102 w 115101"/>
                  <a:gd name="connsiteY4" fmla="*/ 57551 h 294118"/>
                  <a:gd name="connsiteX5" fmla="*/ 115102 w 115101"/>
                  <a:gd name="connsiteY5" fmla="*/ 294119 h 294118"/>
                  <a:gd name="connsiteX6" fmla="*/ 12803 w 115101"/>
                  <a:gd name="connsiteY6" fmla="*/ 281341 h 294118"/>
                  <a:gd name="connsiteX7" fmla="*/ 102324 w 115101"/>
                  <a:gd name="connsiteY7" fmla="*/ 281341 h 294118"/>
                  <a:gd name="connsiteX8" fmla="*/ 102324 w 115101"/>
                  <a:gd name="connsiteY8" fmla="*/ 57576 h 294118"/>
                  <a:gd name="connsiteX9" fmla="*/ 57576 w 115101"/>
                  <a:gd name="connsiteY9" fmla="*/ 12828 h 294118"/>
                  <a:gd name="connsiteX10" fmla="*/ 12828 w 115101"/>
                  <a:gd name="connsiteY10" fmla="*/ 57576 h 294118"/>
                  <a:gd name="connsiteX11" fmla="*/ 12828 w 115101"/>
                  <a:gd name="connsiteY11" fmla="*/ 281341 h 294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101" h="294118">
                    <a:moveTo>
                      <a:pt x="115077" y="294119"/>
                    </a:moveTo>
                    <a:lnTo>
                      <a:pt x="0" y="294119"/>
                    </a:lnTo>
                    <a:lnTo>
                      <a:pt x="0" y="57551"/>
                    </a:lnTo>
                    <a:cubicBezTo>
                      <a:pt x="0" y="25829"/>
                      <a:pt x="25804" y="0"/>
                      <a:pt x="57551" y="0"/>
                    </a:cubicBezTo>
                    <a:cubicBezTo>
                      <a:pt x="89298" y="0"/>
                      <a:pt x="115102" y="25804"/>
                      <a:pt x="115102" y="57551"/>
                    </a:cubicBezTo>
                    <a:lnTo>
                      <a:pt x="115102" y="294119"/>
                    </a:lnTo>
                    <a:close/>
                    <a:moveTo>
                      <a:pt x="12803" y="281341"/>
                    </a:moveTo>
                    <a:lnTo>
                      <a:pt x="102324" y="281341"/>
                    </a:lnTo>
                    <a:lnTo>
                      <a:pt x="102324" y="57576"/>
                    </a:lnTo>
                    <a:cubicBezTo>
                      <a:pt x="102324" y="32886"/>
                      <a:pt x="82240" y="12828"/>
                      <a:pt x="57576" y="12828"/>
                    </a:cubicBezTo>
                    <a:cubicBezTo>
                      <a:pt x="32911" y="12828"/>
                      <a:pt x="12828" y="32911"/>
                      <a:pt x="12828" y="57576"/>
                    </a:cubicBezTo>
                    <a:lnTo>
                      <a:pt x="12828" y="281341"/>
                    </a:lnTo>
                    <a:close/>
                  </a:path>
                </a:pathLst>
              </a:custGeom>
              <a:grpFill/>
              <a:ln w="2473" cap="flat">
                <a:noFill/>
                <a:prstDash val="solid"/>
                <a:miter/>
              </a:ln>
            </p:spPr>
            <p:txBody>
              <a:bodyPr rtlCol="0" anchor="ctr"/>
              <a:lstStyle/>
              <a:p>
                <a:endParaRPr lang="en-GB" dirty="0"/>
              </a:p>
            </p:txBody>
          </p:sp>
          <p:sp>
            <p:nvSpPr>
              <p:cNvPr id="218" name="Freihandform: Form 409">
                <a:extLst>
                  <a:ext uri="{FF2B5EF4-FFF2-40B4-BE49-F238E27FC236}">
                    <a16:creationId xmlns:a16="http://schemas.microsoft.com/office/drawing/2014/main" id="{5377A34C-1404-420B-9AD6-FDA36702BFC4}"/>
                  </a:ext>
                </a:extLst>
              </p:cNvPr>
              <p:cNvSpPr/>
              <p:nvPr/>
            </p:nvSpPr>
            <p:spPr>
              <a:xfrm>
                <a:off x="1094941" y="2700884"/>
                <a:ext cx="89520" cy="44748"/>
              </a:xfrm>
              <a:custGeom>
                <a:avLst/>
                <a:gdLst>
                  <a:gd name="connsiteX0" fmla="*/ 89496 w 89520"/>
                  <a:gd name="connsiteY0" fmla="*/ 44748 h 44748"/>
                  <a:gd name="connsiteX1" fmla="*/ 0 w 89520"/>
                  <a:gd name="connsiteY1" fmla="*/ 44748 h 44748"/>
                  <a:gd name="connsiteX2" fmla="*/ 0 w 89520"/>
                  <a:gd name="connsiteY2" fmla="*/ 0 h 44748"/>
                  <a:gd name="connsiteX3" fmla="*/ 89521 w 89520"/>
                  <a:gd name="connsiteY3" fmla="*/ 0 h 44748"/>
                  <a:gd name="connsiteX4" fmla="*/ 89521 w 89520"/>
                  <a:gd name="connsiteY4" fmla="*/ 44748 h 44748"/>
                  <a:gd name="connsiteX5" fmla="*/ 12778 w 89520"/>
                  <a:gd name="connsiteY5" fmla="*/ 31970 h 44748"/>
                  <a:gd name="connsiteX6" fmla="*/ 76718 w 89520"/>
                  <a:gd name="connsiteY6" fmla="*/ 31970 h 44748"/>
                  <a:gd name="connsiteX7" fmla="*/ 76718 w 89520"/>
                  <a:gd name="connsiteY7" fmla="*/ 12778 h 44748"/>
                  <a:gd name="connsiteX8" fmla="*/ 12778 w 89520"/>
                  <a:gd name="connsiteY8" fmla="*/ 12778 h 44748"/>
                  <a:gd name="connsiteX9" fmla="*/ 12778 w 89520"/>
                  <a:gd name="connsiteY9" fmla="*/ 31970 h 44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20" h="44748">
                    <a:moveTo>
                      <a:pt x="89496" y="44748"/>
                    </a:moveTo>
                    <a:lnTo>
                      <a:pt x="0" y="44748"/>
                    </a:lnTo>
                    <a:lnTo>
                      <a:pt x="0" y="0"/>
                    </a:lnTo>
                    <a:lnTo>
                      <a:pt x="89521" y="0"/>
                    </a:lnTo>
                    <a:lnTo>
                      <a:pt x="89521" y="44748"/>
                    </a:lnTo>
                    <a:close/>
                    <a:moveTo>
                      <a:pt x="12778" y="31970"/>
                    </a:moveTo>
                    <a:lnTo>
                      <a:pt x="76718" y="31970"/>
                    </a:lnTo>
                    <a:lnTo>
                      <a:pt x="76718" y="12778"/>
                    </a:lnTo>
                    <a:lnTo>
                      <a:pt x="12778" y="12778"/>
                    </a:lnTo>
                    <a:lnTo>
                      <a:pt x="12778" y="31970"/>
                    </a:lnTo>
                    <a:close/>
                  </a:path>
                </a:pathLst>
              </a:custGeom>
              <a:grpFill/>
              <a:ln w="2473" cap="flat">
                <a:noFill/>
                <a:prstDash val="solid"/>
                <a:miter/>
              </a:ln>
            </p:spPr>
            <p:txBody>
              <a:bodyPr rtlCol="0" anchor="ctr"/>
              <a:lstStyle/>
              <a:p>
                <a:endParaRPr lang="en-GB" dirty="0"/>
              </a:p>
            </p:txBody>
          </p:sp>
          <p:sp>
            <p:nvSpPr>
              <p:cNvPr id="219" name="Freihandform: Form 410">
                <a:extLst>
                  <a:ext uri="{FF2B5EF4-FFF2-40B4-BE49-F238E27FC236}">
                    <a16:creationId xmlns:a16="http://schemas.microsoft.com/office/drawing/2014/main" id="{A1C9E0B2-DFE1-4B42-8E83-D7DFAA43B765}"/>
                  </a:ext>
                </a:extLst>
              </p:cNvPr>
              <p:cNvSpPr/>
              <p:nvPr/>
            </p:nvSpPr>
            <p:spPr>
              <a:xfrm>
                <a:off x="1107719" y="2585807"/>
                <a:ext cx="63939" cy="31969"/>
              </a:xfrm>
              <a:custGeom>
                <a:avLst/>
                <a:gdLst>
                  <a:gd name="connsiteX0" fmla="*/ 63940 w 63939"/>
                  <a:gd name="connsiteY0" fmla="*/ 31970 h 31969"/>
                  <a:gd name="connsiteX1" fmla="*/ 51162 w 63939"/>
                  <a:gd name="connsiteY1" fmla="*/ 31970 h 31969"/>
                  <a:gd name="connsiteX2" fmla="*/ 31970 w 63939"/>
                  <a:gd name="connsiteY2" fmla="*/ 12778 h 31969"/>
                  <a:gd name="connsiteX3" fmla="*/ 12778 w 63939"/>
                  <a:gd name="connsiteY3" fmla="*/ 31970 h 31969"/>
                  <a:gd name="connsiteX4" fmla="*/ 0 w 63939"/>
                  <a:gd name="connsiteY4" fmla="*/ 31970 h 31969"/>
                  <a:gd name="connsiteX5" fmla="*/ 31970 w 63939"/>
                  <a:gd name="connsiteY5" fmla="*/ 0 h 31969"/>
                  <a:gd name="connsiteX6" fmla="*/ 63940 w 63939"/>
                  <a:gd name="connsiteY6" fmla="*/ 31970 h 3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39" h="31969">
                    <a:moveTo>
                      <a:pt x="63940" y="31970"/>
                    </a:moveTo>
                    <a:lnTo>
                      <a:pt x="51162" y="31970"/>
                    </a:lnTo>
                    <a:cubicBezTo>
                      <a:pt x="51162" y="21396"/>
                      <a:pt x="42569" y="12778"/>
                      <a:pt x="31970" y="12778"/>
                    </a:cubicBezTo>
                    <a:cubicBezTo>
                      <a:pt x="21396" y="12778"/>
                      <a:pt x="12778" y="21371"/>
                      <a:pt x="12778" y="31970"/>
                    </a:cubicBezTo>
                    <a:lnTo>
                      <a:pt x="0" y="31970"/>
                    </a:lnTo>
                    <a:cubicBezTo>
                      <a:pt x="0" y="14338"/>
                      <a:pt x="14338" y="0"/>
                      <a:pt x="31970" y="0"/>
                    </a:cubicBezTo>
                    <a:cubicBezTo>
                      <a:pt x="49602" y="0"/>
                      <a:pt x="63940" y="14338"/>
                      <a:pt x="63940" y="31970"/>
                    </a:cubicBezTo>
                    <a:close/>
                  </a:path>
                </a:pathLst>
              </a:custGeom>
              <a:grpFill/>
              <a:ln w="2473" cap="flat">
                <a:noFill/>
                <a:prstDash val="solid"/>
                <a:miter/>
              </a:ln>
            </p:spPr>
            <p:txBody>
              <a:bodyPr rtlCol="0" anchor="ctr"/>
              <a:lstStyle/>
              <a:p>
                <a:endParaRPr lang="en-GB" dirty="0"/>
              </a:p>
            </p:txBody>
          </p:sp>
          <p:sp>
            <p:nvSpPr>
              <p:cNvPr id="220" name="Freihandform: Form 411">
                <a:extLst>
                  <a:ext uri="{FF2B5EF4-FFF2-40B4-BE49-F238E27FC236}">
                    <a16:creationId xmlns:a16="http://schemas.microsoft.com/office/drawing/2014/main" id="{ADFB0CF4-F93F-43E4-AFBD-4A0B21B46E86}"/>
                  </a:ext>
                </a:extLst>
              </p:cNvPr>
              <p:cNvSpPr/>
              <p:nvPr/>
            </p:nvSpPr>
            <p:spPr>
              <a:xfrm>
                <a:off x="1114108" y="2483508"/>
                <a:ext cx="51137" cy="12778"/>
              </a:xfrm>
              <a:custGeom>
                <a:avLst/>
                <a:gdLst>
                  <a:gd name="connsiteX0" fmla="*/ 0 w 51137"/>
                  <a:gd name="connsiteY0" fmla="*/ 0 h 12778"/>
                  <a:gd name="connsiteX1" fmla="*/ 51137 w 51137"/>
                  <a:gd name="connsiteY1" fmla="*/ 0 h 12778"/>
                  <a:gd name="connsiteX2" fmla="*/ 51137 w 51137"/>
                  <a:gd name="connsiteY2" fmla="*/ 12778 h 12778"/>
                  <a:gd name="connsiteX3" fmla="*/ 0 w 51137"/>
                  <a:gd name="connsiteY3" fmla="*/ 12778 h 12778"/>
                </a:gdLst>
                <a:ahLst/>
                <a:cxnLst>
                  <a:cxn ang="0">
                    <a:pos x="connsiteX0" y="connsiteY0"/>
                  </a:cxn>
                  <a:cxn ang="0">
                    <a:pos x="connsiteX1" y="connsiteY1"/>
                  </a:cxn>
                  <a:cxn ang="0">
                    <a:pos x="connsiteX2" y="connsiteY2"/>
                  </a:cxn>
                  <a:cxn ang="0">
                    <a:pos x="connsiteX3" y="connsiteY3"/>
                  </a:cxn>
                </a:cxnLst>
                <a:rect l="l" t="t" r="r" b="b"/>
                <a:pathLst>
                  <a:path w="51137" h="12778">
                    <a:moveTo>
                      <a:pt x="0" y="0"/>
                    </a:moveTo>
                    <a:lnTo>
                      <a:pt x="51137" y="0"/>
                    </a:lnTo>
                    <a:lnTo>
                      <a:pt x="51137" y="12778"/>
                    </a:lnTo>
                    <a:lnTo>
                      <a:pt x="0" y="12778"/>
                    </a:lnTo>
                    <a:close/>
                  </a:path>
                </a:pathLst>
              </a:custGeom>
              <a:grpFill/>
              <a:ln w="2473" cap="flat">
                <a:noFill/>
                <a:prstDash val="solid"/>
                <a:miter/>
              </a:ln>
            </p:spPr>
            <p:txBody>
              <a:bodyPr rtlCol="0" anchor="ctr"/>
              <a:lstStyle/>
              <a:p>
                <a:endParaRPr lang="en-GB" dirty="0"/>
              </a:p>
            </p:txBody>
          </p:sp>
        </p:grpSp>
      </p:grpSp>
      <p:grpSp>
        <p:nvGrpSpPr>
          <p:cNvPr id="47" name="Group 46">
            <a:extLst>
              <a:ext uri="{FF2B5EF4-FFF2-40B4-BE49-F238E27FC236}">
                <a16:creationId xmlns:a16="http://schemas.microsoft.com/office/drawing/2014/main" id="{A5327761-20D6-50AC-7FA2-C194F71A0FF5}"/>
              </a:ext>
            </a:extLst>
          </p:cNvPr>
          <p:cNvGrpSpPr/>
          <p:nvPr/>
        </p:nvGrpSpPr>
        <p:grpSpPr>
          <a:xfrm>
            <a:off x="3691006" y="3197068"/>
            <a:ext cx="478691" cy="432000"/>
            <a:chOff x="3691006" y="3197068"/>
            <a:chExt cx="478691" cy="432000"/>
          </a:xfrm>
        </p:grpSpPr>
        <p:grpSp>
          <p:nvGrpSpPr>
            <p:cNvPr id="224" name="Group 223">
              <a:extLst>
                <a:ext uri="{FF2B5EF4-FFF2-40B4-BE49-F238E27FC236}">
                  <a16:creationId xmlns:a16="http://schemas.microsoft.com/office/drawing/2014/main" id="{1AED2C0F-0221-441E-8720-4D4E75C458C2}"/>
                </a:ext>
              </a:extLst>
            </p:cNvPr>
            <p:cNvGrpSpPr/>
            <p:nvPr/>
          </p:nvGrpSpPr>
          <p:grpSpPr>
            <a:xfrm>
              <a:off x="3691006" y="3197068"/>
              <a:ext cx="478691" cy="432000"/>
              <a:chOff x="2501520" y="2445124"/>
              <a:chExt cx="524272" cy="473135"/>
            </a:xfrm>
            <a:solidFill>
              <a:schemeClr val="tx2"/>
            </a:solidFill>
          </p:grpSpPr>
          <p:sp>
            <p:nvSpPr>
              <p:cNvPr id="230" name="Freihandform: Form 305">
                <a:extLst>
                  <a:ext uri="{FF2B5EF4-FFF2-40B4-BE49-F238E27FC236}">
                    <a16:creationId xmlns:a16="http://schemas.microsoft.com/office/drawing/2014/main" id="{731CEDA7-368A-43A2-AF4E-546EE6049C62}"/>
                  </a:ext>
                </a:extLst>
              </p:cNvPr>
              <p:cNvSpPr/>
              <p:nvPr/>
            </p:nvSpPr>
            <p:spPr>
              <a:xfrm>
                <a:off x="2629400" y="2565699"/>
                <a:ext cx="268537" cy="308704"/>
              </a:xfrm>
              <a:custGeom>
                <a:avLst/>
                <a:gdLst>
                  <a:gd name="connsiteX0" fmla="*/ 134269 w 268537"/>
                  <a:gd name="connsiteY0" fmla="*/ 308705 h 308704"/>
                  <a:gd name="connsiteX1" fmla="*/ 0 w 268537"/>
                  <a:gd name="connsiteY1" fmla="*/ 234859 h 308704"/>
                  <a:gd name="connsiteX2" fmla="*/ 0 w 268537"/>
                  <a:gd name="connsiteY2" fmla="*/ 73845 h 308704"/>
                  <a:gd name="connsiteX3" fmla="*/ 134269 w 268537"/>
                  <a:gd name="connsiteY3" fmla="*/ 0 h 308704"/>
                  <a:gd name="connsiteX4" fmla="*/ 268538 w 268537"/>
                  <a:gd name="connsiteY4" fmla="*/ 73845 h 308704"/>
                  <a:gd name="connsiteX5" fmla="*/ 268538 w 268537"/>
                  <a:gd name="connsiteY5" fmla="*/ 234859 h 308704"/>
                  <a:gd name="connsiteX6" fmla="*/ 134269 w 268537"/>
                  <a:gd name="connsiteY6" fmla="*/ 308705 h 308704"/>
                  <a:gd name="connsiteX7" fmla="*/ 12778 w 268537"/>
                  <a:gd name="connsiteY7" fmla="*/ 227306 h 308704"/>
                  <a:gd name="connsiteX8" fmla="*/ 134269 w 268537"/>
                  <a:gd name="connsiteY8" fmla="*/ 294119 h 308704"/>
                  <a:gd name="connsiteX9" fmla="*/ 255760 w 268537"/>
                  <a:gd name="connsiteY9" fmla="*/ 227306 h 308704"/>
                  <a:gd name="connsiteX10" fmla="*/ 255760 w 268537"/>
                  <a:gd name="connsiteY10" fmla="*/ 81423 h 308704"/>
                  <a:gd name="connsiteX11" fmla="*/ 134269 w 268537"/>
                  <a:gd name="connsiteY11" fmla="*/ 14611 h 308704"/>
                  <a:gd name="connsiteX12" fmla="*/ 12778 w 268537"/>
                  <a:gd name="connsiteY12" fmla="*/ 81423 h 308704"/>
                  <a:gd name="connsiteX13" fmla="*/ 12778 w 268537"/>
                  <a:gd name="connsiteY13" fmla="*/ 227306 h 30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8537" h="308704">
                    <a:moveTo>
                      <a:pt x="134269" y="308705"/>
                    </a:moveTo>
                    <a:lnTo>
                      <a:pt x="0" y="234859"/>
                    </a:lnTo>
                    <a:lnTo>
                      <a:pt x="0" y="73845"/>
                    </a:lnTo>
                    <a:lnTo>
                      <a:pt x="134269" y="0"/>
                    </a:lnTo>
                    <a:lnTo>
                      <a:pt x="268538" y="73845"/>
                    </a:lnTo>
                    <a:lnTo>
                      <a:pt x="268538" y="234859"/>
                    </a:lnTo>
                    <a:lnTo>
                      <a:pt x="134269" y="308705"/>
                    </a:lnTo>
                    <a:close/>
                    <a:moveTo>
                      <a:pt x="12778" y="227306"/>
                    </a:moveTo>
                    <a:lnTo>
                      <a:pt x="134269" y="294119"/>
                    </a:lnTo>
                    <a:lnTo>
                      <a:pt x="255760" y="227306"/>
                    </a:lnTo>
                    <a:lnTo>
                      <a:pt x="255760" y="81423"/>
                    </a:lnTo>
                    <a:lnTo>
                      <a:pt x="134269" y="14611"/>
                    </a:lnTo>
                    <a:lnTo>
                      <a:pt x="12778" y="81423"/>
                    </a:lnTo>
                    <a:lnTo>
                      <a:pt x="12778" y="227306"/>
                    </a:lnTo>
                    <a:close/>
                  </a:path>
                </a:pathLst>
              </a:custGeom>
              <a:grpFill/>
              <a:ln w="2473" cap="flat">
                <a:noFill/>
                <a:prstDash val="solid"/>
                <a:miter/>
              </a:ln>
            </p:spPr>
            <p:txBody>
              <a:bodyPr rtlCol="0" anchor="ctr"/>
              <a:lstStyle/>
              <a:p>
                <a:endParaRPr lang="en-GB" dirty="0"/>
              </a:p>
            </p:txBody>
          </p:sp>
          <p:sp>
            <p:nvSpPr>
              <p:cNvPr id="231" name="Freihandform: Form 306">
                <a:extLst>
                  <a:ext uri="{FF2B5EF4-FFF2-40B4-BE49-F238E27FC236}">
                    <a16:creationId xmlns:a16="http://schemas.microsoft.com/office/drawing/2014/main" id="{D2DC3F80-DB8C-4724-9A7E-1B05354B175B}"/>
                  </a:ext>
                </a:extLst>
              </p:cNvPr>
              <p:cNvSpPr/>
              <p:nvPr/>
            </p:nvSpPr>
            <p:spPr>
              <a:xfrm>
                <a:off x="2731699" y="2445124"/>
                <a:ext cx="63939" cy="63939"/>
              </a:xfrm>
              <a:custGeom>
                <a:avLst/>
                <a:gdLst>
                  <a:gd name="connsiteX0" fmla="*/ 31970 w 63939"/>
                  <a:gd name="connsiteY0" fmla="*/ 63940 h 63939"/>
                  <a:gd name="connsiteX1" fmla="*/ 0 w 63939"/>
                  <a:gd name="connsiteY1" fmla="*/ 31970 h 63939"/>
                  <a:gd name="connsiteX2" fmla="*/ 31970 w 63939"/>
                  <a:gd name="connsiteY2" fmla="*/ 0 h 63939"/>
                  <a:gd name="connsiteX3" fmla="*/ 63940 w 63939"/>
                  <a:gd name="connsiteY3" fmla="*/ 31970 h 63939"/>
                  <a:gd name="connsiteX4" fmla="*/ 31970 w 63939"/>
                  <a:gd name="connsiteY4" fmla="*/ 63940 h 63939"/>
                  <a:gd name="connsiteX5" fmla="*/ 31970 w 63939"/>
                  <a:gd name="connsiteY5" fmla="*/ 12803 h 63939"/>
                  <a:gd name="connsiteX6" fmla="*/ 12778 w 63939"/>
                  <a:gd name="connsiteY6" fmla="*/ 31995 h 63939"/>
                  <a:gd name="connsiteX7" fmla="*/ 31970 w 63939"/>
                  <a:gd name="connsiteY7" fmla="*/ 51187 h 63939"/>
                  <a:gd name="connsiteX8" fmla="*/ 51162 w 63939"/>
                  <a:gd name="connsiteY8" fmla="*/ 31995 h 63939"/>
                  <a:gd name="connsiteX9" fmla="*/ 31970 w 63939"/>
                  <a:gd name="connsiteY9" fmla="*/ 12803 h 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39" h="63939">
                    <a:moveTo>
                      <a:pt x="31970" y="63940"/>
                    </a:moveTo>
                    <a:cubicBezTo>
                      <a:pt x="14338" y="63940"/>
                      <a:pt x="0" y="49602"/>
                      <a:pt x="0" y="31970"/>
                    </a:cubicBezTo>
                    <a:cubicBezTo>
                      <a:pt x="0" y="14338"/>
                      <a:pt x="14338" y="0"/>
                      <a:pt x="31970" y="0"/>
                    </a:cubicBezTo>
                    <a:cubicBezTo>
                      <a:pt x="49602" y="0"/>
                      <a:pt x="63940" y="14338"/>
                      <a:pt x="63940" y="31970"/>
                    </a:cubicBezTo>
                    <a:cubicBezTo>
                      <a:pt x="63940" y="49602"/>
                      <a:pt x="49577" y="63940"/>
                      <a:pt x="31970" y="63940"/>
                    </a:cubicBezTo>
                    <a:close/>
                    <a:moveTo>
                      <a:pt x="31970" y="12803"/>
                    </a:moveTo>
                    <a:cubicBezTo>
                      <a:pt x="21396" y="12803"/>
                      <a:pt x="12778" y="21396"/>
                      <a:pt x="12778" y="31995"/>
                    </a:cubicBezTo>
                    <a:cubicBezTo>
                      <a:pt x="12778" y="42594"/>
                      <a:pt x="21371" y="51187"/>
                      <a:pt x="31970" y="51187"/>
                    </a:cubicBezTo>
                    <a:cubicBezTo>
                      <a:pt x="42544" y="51187"/>
                      <a:pt x="51162" y="42594"/>
                      <a:pt x="51162" y="31995"/>
                    </a:cubicBezTo>
                    <a:cubicBezTo>
                      <a:pt x="51162" y="21396"/>
                      <a:pt x="42544" y="12803"/>
                      <a:pt x="31970" y="12803"/>
                    </a:cubicBezTo>
                    <a:close/>
                  </a:path>
                </a:pathLst>
              </a:custGeom>
              <a:grpFill/>
              <a:ln w="2473" cap="flat">
                <a:noFill/>
                <a:prstDash val="solid"/>
                <a:miter/>
              </a:ln>
            </p:spPr>
            <p:txBody>
              <a:bodyPr rtlCol="0" anchor="ctr"/>
              <a:lstStyle/>
              <a:p>
                <a:endParaRPr lang="en-GB" dirty="0"/>
              </a:p>
            </p:txBody>
          </p:sp>
          <p:sp>
            <p:nvSpPr>
              <p:cNvPr id="232" name="Freihandform: Form 307">
                <a:extLst>
                  <a:ext uri="{FF2B5EF4-FFF2-40B4-BE49-F238E27FC236}">
                    <a16:creationId xmlns:a16="http://schemas.microsoft.com/office/drawing/2014/main" id="{C682EA81-C239-4D6A-9F78-DF76FC09C4EC}"/>
                  </a:ext>
                </a:extLst>
              </p:cNvPr>
              <p:cNvSpPr/>
              <p:nvPr/>
            </p:nvSpPr>
            <p:spPr>
              <a:xfrm>
                <a:off x="2757280" y="2502675"/>
                <a:ext cx="12778" cy="76718"/>
              </a:xfrm>
              <a:custGeom>
                <a:avLst/>
                <a:gdLst>
                  <a:gd name="connsiteX0" fmla="*/ 0 w 12778"/>
                  <a:gd name="connsiteY0" fmla="*/ 0 h 76718"/>
                  <a:gd name="connsiteX1" fmla="*/ 12778 w 12778"/>
                  <a:gd name="connsiteY1" fmla="*/ 0 h 76718"/>
                  <a:gd name="connsiteX2" fmla="*/ 12778 w 12778"/>
                  <a:gd name="connsiteY2" fmla="*/ 76718 h 76718"/>
                  <a:gd name="connsiteX3" fmla="*/ 0 w 12778"/>
                  <a:gd name="connsiteY3" fmla="*/ 76718 h 76718"/>
                </a:gdLst>
                <a:ahLst/>
                <a:cxnLst>
                  <a:cxn ang="0">
                    <a:pos x="connsiteX0" y="connsiteY0"/>
                  </a:cxn>
                  <a:cxn ang="0">
                    <a:pos x="connsiteX1" y="connsiteY1"/>
                  </a:cxn>
                  <a:cxn ang="0">
                    <a:pos x="connsiteX2" y="connsiteY2"/>
                  </a:cxn>
                  <a:cxn ang="0">
                    <a:pos x="connsiteX3" y="connsiteY3"/>
                  </a:cxn>
                </a:cxnLst>
                <a:rect l="l" t="t" r="r" b="b"/>
                <a:pathLst>
                  <a:path w="12778" h="76718">
                    <a:moveTo>
                      <a:pt x="0" y="0"/>
                    </a:moveTo>
                    <a:lnTo>
                      <a:pt x="12778" y="0"/>
                    </a:lnTo>
                    <a:lnTo>
                      <a:pt x="12778" y="76718"/>
                    </a:lnTo>
                    <a:lnTo>
                      <a:pt x="0" y="76718"/>
                    </a:lnTo>
                    <a:close/>
                  </a:path>
                </a:pathLst>
              </a:custGeom>
              <a:grpFill/>
              <a:ln w="2473" cap="flat">
                <a:noFill/>
                <a:prstDash val="solid"/>
                <a:miter/>
              </a:ln>
            </p:spPr>
            <p:txBody>
              <a:bodyPr rtlCol="0" anchor="ctr"/>
              <a:lstStyle/>
              <a:p>
                <a:endParaRPr lang="en-GB" dirty="0"/>
              </a:p>
            </p:txBody>
          </p:sp>
          <p:grpSp>
            <p:nvGrpSpPr>
              <p:cNvPr id="233" name="Grafik 179">
                <a:extLst>
                  <a:ext uri="{FF2B5EF4-FFF2-40B4-BE49-F238E27FC236}">
                    <a16:creationId xmlns:a16="http://schemas.microsoft.com/office/drawing/2014/main" id="{A97CA437-4785-4608-95DB-495BFD635BB4}"/>
                  </a:ext>
                </a:extLst>
              </p:cNvPr>
              <p:cNvGrpSpPr/>
              <p:nvPr/>
            </p:nvGrpSpPr>
            <p:grpSpPr>
              <a:xfrm>
                <a:off x="2891524" y="2764824"/>
                <a:ext cx="134268" cy="63939"/>
                <a:chOff x="2891524" y="2764824"/>
                <a:chExt cx="134268" cy="63939"/>
              </a:xfrm>
              <a:grpFill/>
            </p:grpSpPr>
            <p:sp>
              <p:nvSpPr>
                <p:cNvPr id="242" name="Freihandform: Form 309">
                  <a:extLst>
                    <a:ext uri="{FF2B5EF4-FFF2-40B4-BE49-F238E27FC236}">
                      <a16:creationId xmlns:a16="http://schemas.microsoft.com/office/drawing/2014/main" id="{4D4EBCAF-815E-42B2-A01B-6EF2922970A8}"/>
                    </a:ext>
                  </a:extLst>
                </p:cNvPr>
                <p:cNvSpPr/>
                <p:nvPr/>
              </p:nvSpPr>
              <p:spPr>
                <a:xfrm>
                  <a:off x="2961853" y="2764824"/>
                  <a:ext cx="63939" cy="63939"/>
                </a:xfrm>
                <a:custGeom>
                  <a:avLst/>
                  <a:gdLst>
                    <a:gd name="connsiteX0" fmla="*/ 31970 w 63939"/>
                    <a:gd name="connsiteY0" fmla="*/ 63940 h 63939"/>
                    <a:gd name="connsiteX1" fmla="*/ 0 w 63939"/>
                    <a:gd name="connsiteY1" fmla="*/ 31970 h 63939"/>
                    <a:gd name="connsiteX2" fmla="*/ 31970 w 63939"/>
                    <a:gd name="connsiteY2" fmla="*/ 0 h 63939"/>
                    <a:gd name="connsiteX3" fmla="*/ 63940 w 63939"/>
                    <a:gd name="connsiteY3" fmla="*/ 31970 h 63939"/>
                    <a:gd name="connsiteX4" fmla="*/ 31970 w 63939"/>
                    <a:gd name="connsiteY4" fmla="*/ 63940 h 63939"/>
                    <a:gd name="connsiteX5" fmla="*/ 31970 w 63939"/>
                    <a:gd name="connsiteY5" fmla="*/ 12778 h 63939"/>
                    <a:gd name="connsiteX6" fmla="*/ 12778 w 63939"/>
                    <a:gd name="connsiteY6" fmla="*/ 31970 h 63939"/>
                    <a:gd name="connsiteX7" fmla="*/ 31970 w 63939"/>
                    <a:gd name="connsiteY7" fmla="*/ 51162 h 63939"/>
                    <a:gd name="connsiteX8" fmla="*/ 51162 w 63939"/>
                    <a:gd name="connsiteY8" fmla="*/ 31970 h 63939"/>
                    <a:gd name="connsiteX9" fmla="*/ 31970 w 63939"/>
                    <a:gd name="connsiteY9" fmla="*/ 12778 h 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39" h="63939">
                      <a:moveTo>
                        <a:pt x="31970" y="63940"/>
                      </a:moveTo>
                      <a:cubicBezTo>
                        <a:pt x="14338" y="63940"/>
                        <a:pt x="0" y="49602"/>
                        <a:pt x="0" y="31970"/>
                      </a:cubicBezTo>
                      <a:cubicBezTo>
                        <a:pt x="0" y="14338"/>
                        <a:pt x="14338" y="0"/>
                        <a:pt x="31970" y="0"/>
                      </a:cubicBezTo>
                      <a:cubicBezTo>
                        <a:pt x="49602" y="0"/>
                        <a:pt x="63940" y="14338"/>
                        <a:pt x="63940" y="31970"/>
                      </a:cubicBezTo>
                      <a:cubicBezTo>
                        <a:pt x="63940" y="49602"/>
                        <a:pt x="49602" y="63940"/>
                        <a:pt x="31970" y="63940"/>
                      </a:cubicBezTo>
                      <a:close/>
                      <a:moveTo>
                        <a:pt x="31970" y="12778"/>
                      </a:moveTo>
                      <a:cubicBezTo>
                        <a:pt x="21396" y="12778"/>
                        <a:pt x="12778" y="21371"/>
                        <a:pt x="12778" y="31970"/>
                      </a:cubicBezTo>
                      <a:cubicBezTo>
                        <a:pt x="12778" y="42569"/>
                        <a:pt x="21371" y="51162"/>
                        <a:pt x="31970" y="51162"/>
                      </a:cubicBezTo>
                      <a:cubicBezTo>
                        <a:pt x="42544" y="51162"/>
                        <a:pt x="51162" y="42569"/>
                        <a:pt x="51162" y="31970"/>
                      </a:cubicBezTo>
                      <a:cubicBezTo>
                        <a:pt x="51162" y="21371"/>
                        <a:pt x="42544" y="12778"/>
                        <a:pt x="31970" y="12778"/>
                      </a:cubicBezTo>
                      <a:close/>
                    </a:path>
                  </a:pathLst>
                </a:custGeom>
                <a:grpFill/>
                <a:ln w="2473" cap="flat">
                  <a:noFill/>
                  <a:prstDash val="solid"/>
                  <a:miter/>
                </a:ln>
              </p:spPr>
              <p:txBody>
                <a:bodyPr rtlCol="0" anchor="ctr"/>
                <a:lstStyle/>
                <a:p>
                  <a:endParaRPr lang="en-GB" dirty="0"/>
                </a:p>
              </p:txBody>
            </p:sp>
            <p:sp>
              <p:nvSpPr>
                <p:cNvPr id="243" name="Freihandform: Form 310">
                  <a:extLst>
                    <a:ext uri="{FF2B5EF4-FFF2-40B4-BE49-F238E27FC236}">
                      <a16:creationId xmlns:a16="http://schemas.microsoft.com/office/drawing/2014/main" id="{6F756A9A-90C4-4E82-9ED2-FA68D1249EB3}"/>
                    </a:ext>
                  </a:extLst>
                </p:cNvPr>
                <p:cNvSpPr/>
                <p:nvPr/>
              </p:nvSpPr>
              <p:spPr>
                <a:xfrm>
                  <a:off x="2891524" y="2790405"/>
                  <a:ext cx="76717" cy="12778"/>
                </a:xfrm>
                <a:custGeom>
                  <a:avLst/>
                  <a:gdLst>
                    <a:gd name="connsiteX0" fmla="*/ 0 w 76717"/>
                    <a:gd name="connsiteY0" fmla="*/ 0 h 12778"/>
                    <a:gd name="connsiteX1" fmla="*/ 76718 w 76717"/>
                    <a:gd name="connsiteY1" fmla="*/ 0 h 12778"/>
                    <a:gd name="connsiteX2" fmla="*/ 76718 w 76717"/>
                    <a:gd name="connsiteY2" fmla="*/ 12778 h 12778"/>
                    <a:gd name="connsiteX3" fmla="*/ 0 w 76717"/>
                    <a:gd name="connsiteY3" fmla="*/ 12778 h 12778"/>
                  </a:gdLst>
                  <a:ahLst/>
                  <a:cxnLst>
                    <a:cxn ang="0">
                      <a:pos x="connsiteX0" y="connsiteY0"/>
                    </a:cxn>
                    <a:cxn ang="0">
                      <a:pos x="connsiteX1" y="connsiteY1"/>
                    </a:cxn>
                    <a:cxn ang="0">
                      <a:pos x="connsiteX2" y="connsiteY2"/>
                    </a:cxn>
                    <a:cxn ang="0">
                      <a:pos x="connsiteX3" y="connsiteY3"/>
                    </a:cxn>
                  </a:cxnLst>
                  <a:rect l="l" t="t" r="r" b="b"/>
                  <a:pathLst>
                    <a:path w="76717" h="12778">
                      <a:moveTo>
                        <a:pt x="0" y="0"/>
                      </a:moveTo>
                      <a:lnTo>
                        <a:pt x="76718" y="0"/>
                      </a:lnTo>
                      <a:lnTo>
                        <a:pt x="76718" y="12778"/>
                      </a:lnTo>
                      <a:lnTo>
                        <a:pt x="0" y="12778"/>
                      </a:lnTo>
                      <a:close/>
                    </a:path>
                  </a:pathLst>
                </a:custGeom>
                <a:grpFill/>
                <a:ln w="2473" cap="flat">
                  <a:noFill/>
                  <a:prstDash val="solid"/>
                  <a:miter/>
                </a:ln>
              </p:spPr>
              <p:txBody>
                <a:bodyPr rtlCol="0" anchor="ctr"/>
                <a:lstStyle/>
                <a:p>
                  <a:endParaRPr lang="en-GB" dirty="0"/>
                </a:p>
              </p:txBody>
            </p:sp>
          </p:grpSp>
          <p:grpSp>
            <p:nvGrpSpPr>
              <p:cNvPr id="234" name="Grafik 179">
                <a:extLst>
                  <a:ext uri="{FF2B5EF4-FFF2-40B4-BE49-F238E27FC236}">
                    <a16:creationId xmlns:a16="http://schemas.microsoft.com/office/drawing/2014/main" id="{F417D8A9-34EE-4209-B9BB-287307C30966}"/>
                  </a:ext>
                </a:extLst>
              </p:cNvPr>
              <p:cNvGrpSpPr/>
              <p:nvPr/>
            </p:nvGrpSpPr>
            <p:grpSpPr>
              <a:xfrm>
                <a:off x="2501520" y="2611363"/>
                <a:ext cx="134268" cy="63939"/>
                <a:chOff x="2501520" y="2611363"/>
                <a:chExt cx="134268" cy="63939"/>
              </a:xfrm>
              <a:grpFill/>
            </p:grpSpPr>
            <p:sp>
              <p:nvSpPr>
                <p:cNvPr id="240" name="Freihandform: Form 312">
                  <a:extLst>
                    <a:ext uri="{FF2B5EF4-FFF2-40B4-BE49-F238E27FC236}">
                      <a16:creationId xmlns:a16="http://schemas.microsoft.com/office/drawing/2014/main" id="{2A7FB285-8A55-4D61-898D-CA18B68AA54E}"/>
                    </a:ext>
                  </a:extLst>
                </p:cNvPr>
                <p:cNvSpPr/>
                <p:nvPr/>
              </p:nvSpPr>
              <p:spPr>
                <a:xfrm>
                  <a:off x="2501520" y="2611363"/>
                  <a:ext cx="63939" cy="63939"/>
                </a:xfrm>
                <a:custGeom>
                  <a:avLst/>
                  <a:gdLst>
                    <a:gd name="connsiteX0" fmla="*/ 31970 w 63939"/>
                    <a:gd name="connsiteY0" fmla="*/ 63940 h 63939"/>
                    <a:gd name="connsiteX1" fmla="*/ 0 w 63939"/>
                    <a:gd name="connsiteY1" fmla="*/ 31970 h 63939"/>
                    <a:gd name="connsiteX2" fmla="*/ 31970 w 63939"/>
                    <a:gd name="connsiteY2" fmla="*/ 0 h 63939"/>
                    <a:gd name="connsiteX3" fmla="*/ 63940 w 63939"/>
                    <a:gd name="connsiteY3" fmla="*/ 31970 h 63939"/>
                    <a:gd name="connsiteX4" fmla="*/ 31970 w 63939"/>
                    <a:gd name="connsiteY4" fmla="*/ 63940 h 63939"/>
                    <a:gd name="connsiteX5" fmla="*/ 31970 w 63939"/>
                    <a:gd name="connsiteY5" fmla="*/ 12803 h 63939"/>
                    <a:gd name="connsiteX6" fmla="*/ 12778 w 63939"/>
                    <a:gd name="connsiteY6" fmla="*/ 31995 h 63939"/>
                    <a:gd name="connsiteX7" fmla="*/ 31970 w 63939"/>
                    <a:gd name="connsiteY7" fmla="*/ 51187 h 63939"/>
                    <a:gd name="connsiteX8" fmla="*/ 51162 w 63939"/>
                    <a:gd name="connsiteY8" fmla="*/ 31995 h 63939"/>
                    <a:gd name="connsiteX9" fmla="*/ 31970 w 63939"/>
                    <a:gd name="connsiteY9" fmla="*/ 12803 h 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39" h="63939">
                      <a:moveTo>
                        <a:pt x="31970" y="63940"/>
                      </a:moveTo>
                      <a:cubicBezTo>
                        <a:pt x="14338" y="63940"/>
                        <a:pt x="0" y="49602"/>
                        <a:pt x="0" y="31970"/>
                      </a:cubicBezTo>
                      <a:cubicBezTo>
                        <a:pt x="0" y="14338"/>
                        <a:pt x="14338" y="0"/>
                        <a:pt x="31970" y="0"/>
                      </a:cubicBezTo>
                      <a:cubicBezTo>
                        <a:pt x="49602" y="0"/>
                        <a:pt x="63940" y="14338"/>
                        <a:pt x="63940" y="31970"/>
                      </a:cubicBezTo>
                      <a:cubicBezTo>
                        <a:pt x="63940" y="49602"/>
                        <a:pt x="49602" y="63940"/>
                        <a:pt x="31970" y="63940"/>
                      </a:cubicBezTo>
                      <a:close/>
                      <a:moveTo>
                        <a:pt x="31970" y="12803"/>
                      </a:moveTo>
                      <a:cubicBezTo>
                        <a:pt x="21396" y="12803"/>
                        <a:pt x="12778" y="21396"/>
                        <a:pt x="12778" y="31995"/>
                      </a:cubicBezTo>
                      <a:cubicBezTo>
                        <a:pt x="12778" y="42594"/>
                        <a:pt x="21371" y="51187"/>
                        <a:pt x="31970" y="51187"/>
                      </a:cubicBezTo>
                      <a:cubicBezTo>
                        <a:pt x="42544" y="51187"/>
                        <a:pt x="51162" y="42594"/>
                        <a:pt x="51162" y="31995"/>
                      </a:cubicBezTo>
                      <a:cubicBezTo>
                        <a:pt x="51162" y="21396"/>
                        <a:pt x="42544" y="12803"/>
                        <a:pt x="31970" y="12803"/>
                      </a:cubicBezTo>
                      <a:close/>
                    </a:path>
                  </a:pathLst>
                </a:custGeom>
                <a:grpFill/>
                <a:ln w="2473" cap="flat">
                  <a:noFill/>
                  <a:prstDash val="solid"/>
                  <a:miter/>
                </a:ln>
              </p:spPr>
              <p:txBody>
                <a:bodyPr rtlCol="0" anchor="ctr"/>
                <a:lstStyle/>
                <a:p>
                  <a:endParaRPr lang="en-GB" dirty="0"/>
                </a:p>
              </p:txBody>
            </p:sp>
            <p:sp>
              <p:nvSpPr>
                <p:cNvPr id="241" name="Freihandform: Form 313">
                  <a:extLst>
                    <a:ext uri="{FF2B5EF4-FFF2-40B4-BE49-F238E27FC236}">
                      <a16:creationId xmlns:a16="http://schemas.microsoft.com/office/drawing/2014/main" id="{5888AB84-C825-487D-B7AD-BC06922B0B5C}"/>
                    </a:ext>
                  </a:extLst>
                </p:cNvPr>
                <p:cNvSpPr/>
                <p:nvPr/>
              </p:nvSpPr>
              <p:spPr>
                <a:xfrm>
                  <a:off x="2559071" y="2636944"/>
                  <a:ext cx="76717" cy="12778"/>
                </a:xfrm>
                <a:custGeom>
                  <a:avLst/>
                  <a:gdLst>
                    <a:gd name="connsiteX0" fmla="*/ 0 w 76717"/>
                    <a:gd name="connsiteY0" fmla="*/ 0 h 12778"/>
                    <a:gd name="connsiteX1" fmla="*/ 76718 w 76717"/>
                    <a:gd name="connsiteY1" fmla="*/ 0 h 12778"/>
                    <a:gd name="connsiteX2" fmla="*/ 76718 w 76717"/>
                    <a:gd name="connsiteY2" fmla="*/ 12778 h 12778"/>
                    <a:gd name="connsiteX3" fmla="*/ 0 w 76717"/>
                    <a:gd name="connsiteY3" fmla="*/ 12778 h 12778"/>
                  </a:gdLst>
                  <a:ahLst/>
                  <a:cxnLst>
                    <a:cxn ang="0">
                      <a:pos x="connsiteX0" y="connsiteY0"/>
                    </a:cxn>
                    <a:cxn ang="0">
                      <a:pos x="connsiteX1" y="connsiteY1"/>
                    </a:cxn>
                    <a:cxn ang="0">
                      <a:pos x="connsiteX2" y="connsiteY2"/>
                    </a:cxn>
                    <a:cxn ang="0">
                      <a:pos x="connsiteX3" y="connsiteY3"/>
                    </a:cxn>
                  </a:cxnLst>
                  <a:rect l="l" t="t" r="r" b="b"/>
                  <a:pathLst>
                    <a:path w="76717" h="12778">
                      <a:moveTo>
                        <a:pt x="0" y="0"/>
                      </a:moveTo>
                      <a:lnTo>
                        <a:pt x="76718" y="0"/>
                      </a:lnTo>
                      <a:lnTo>
                        <a:pt x="76718" y="12778"/>
                      </a:lnTo>
                      <a:lnTo>
                        <a:pt x="0" y="12778"/>
                      </a:lnTo>
                      <a:close/>
                    </a:path>
                  </a:pathLst>
                </a:custGeom>
                <a:grpFill/>
                <a:ln w="2473" cap="flat">
                  <a:noFill/>
                  <a:prstDash val="solid"/>
                  <a:miter/>
                </a:ln>
              </p:spPr>
              <p:txBody>
                <a:bodyPr rtlCol="0" anchor="ctr"/>
                <a:lstStyle/>
                <a:p>
                  <a:endParaRPr lang="en-GB" dirty="0"/>
                </a:p>
              </p:txBody>
            </p:sp>
          </p:grpSp>
          <p:sp>
            <p:nvSpPr>
              <p:cNvPr id="235" name="Freihandform: Form 314">
                <a:extLst>
                  <a:ext uri="{FF2B5EF4-FFF2-40B4-BE49-F238E27FC236}">
                    <a16:creationId xmlns:a16="http://schemas.microsoft.com/office/drawing/2014/main" id="{D01C6307-4720-41B8-93EF-2F064CE0279F}"/>
                  </a:ext>
                </a:extLst>
              </p:cNvPr>
              <p:cNvSpPr/>
              <p:nvPr/>
            </p:nvSpPr>
            <p:spPr>
              <a:xfrm>
                <a:off x="2936297" y="2534645"/>
                <a:ext cx="63939" cy="63939"/>
              </a:xfrm>
              <a:custGeom>
                <a:avLst/>
                <a:gdLst>
                  <a:gd name="connsiteX0" fmla="*/ 31970 w 63939"/>
                  <a:gd name="connsiteY0" fmla="*/ 63940 h 63939"/>
                  <a:gd name="connsiteX1" fmla="*/ 0 w 63939"/>
                  <a:gd name="connsiteY1" fmla="*/ 31970 h 63939"/>
                  <a:gd name="connsiteX2" fmla="*/ 31970 w 63939"/>
                  <a:gd name="connsiteY2" fmla="*/ 0 h 63939"/>
                  <a:gd name="connsiteX3" fmla="*/ 63940 w 63939"/>
                  <a:gd name="connsiteY3" fmla="*/ 31970 h 63939"/>
                  <a:gd name="connsiteX4" fmla="*/ 31970 w 63939"/>
                  <a:gd name="connsiteY4" fmla="*/ 63940 h 63939"/>
                  <a:gd name="connsiteX5" fmla="*/ 31970 w 63939"/>
                  <a:gd name="connsiteY5" fmla="*/ 12803 h 63939"/>
                  <a:gd name="connsiteX6" fmla="*/ 12778 w 63939"/>
                  <a:gd name="connsiteY6" fmla="*/ 31995 h 63939"/>
                  <a:gd name="connsiteX7" fmla="*/ 31970 w 63939"/>
                  <a:gd name="connsiteY7" fmla="*/ 51187 h 63939"/>
                  <a:gd name="connsiteX8" fmla="*/ 51162 w 63939"/>
                  <a:gd name="connsiteY8" fmla="*/ 31995 h 63939"/>
                  <a:gd name="connsiteX9" fmla="*/ 31970 w 63939"/>
                  <a:gd name="connsiteY9" fmla="*/ 12803 h 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39" h="63939">
                    <a:moveTo>
                      <a:pt x="31970" y="63940"/>
                    </a:moveTo>
                    <a:cubicBezTo>
                      <a:pt x="14338" y="63940"/>
                      <a:pt x="0" y="49602"/>
                      <a:pt x="0" y="31970"/>
                    </a:cubicBezTo>
                    <a:cubicBezTo>
                      <a:pt x="0" y="14338"/>
                      <a:pt x="14338" y="0"/>
                      <a:pt x="31970" y="0"/>
                    </a:cubicBezTo>
                    <a:cubicBezTo>
                      <a:pt x="49602" y="0"/>
                      <a:pt x="63940" y="14338"/>
                      <a:pt x="63940" y="31970"/>
                    </a:cubicBezTo>
                    <a:cubicBezTo>
                      <a:pt x="63940" y="49602"/>
                      <a:pt x="49577" y="63940"/>
                      <a:pt x="31970" y="63940"/>
                    </a:cubicBezTo>
                    <a:close/>
                    <a:moveTo>
                      <a:pt x="31970" y="12803"/>
                    </a:moveTo>
                    <a:cubicBezTo>
                      <a:pt x="21396" y="12803"/>
                      <a:pt x="12778" y="21396"/>
                      <a:pt x="12778" y="31995"/>
                    </a:cubicBezTo>
                    <a:cubicBezTo>
                      <a:pt x="12778" y="42594"/>
                      <a:pt x="21371" y="51187"/>
                      <a:pt x="31970" y="51187"/>
                    </a:cubicBezTo>
                    <a:cubicBezTo>
                      <a:pt x="42569" y="51187"/>
                      <a:pt x="51162" y="42594"/>
                      <a:pt x="51162" y="31995"/>
                    </a:cubicBezTo>
                    <a:cubicBezTo>
                      <a:pt x="51162" y="21396"/>
                      <a:pt x="42544" y="12803"/>
                      <a:pt x="31970" y="12803"/>
                    </a:cubicBezTo>
                    <a:close/>
                  </a:path>
                </a:pathLst>
              </a:custGeom>
              <a:grpFill/>
              <a:ln w="2473" cap="flat">
                <a:noFill/>
                <a:prstDash val="solid"/>
                <a:miter/>
              </a:ln>
            </p:spPr>
            <p:txBody>
              <a:bodyPr rtlCol="0" anchor="ctr"/>
              <a:lstStyle/>
              <a:p>
                <a:endParaRPr lang="en-GB" dirty="0"/>
              </a:p>
            </p:txBody>
          </p:sp>
          <p:sp>
            <p:nvSpPr>
              <p:cNvPr id="236" name="Freihandform: Form 315">
                <a:extLst>
                  <a:ext uri="{FF2B5EF4-FFF2-40B4-BE49-F238E27FC236}">
                    <a16:creationId xmlns:a16="http://schemas.microsoft.com/office/drawing/2014/main" id="{DC65ADCE-0F06-4499-84ED-A53D0436DB79}"/>
                  </a:ext>
                </a:extLst>
              </p:cNvPr>
              <p:cNvSpPr/>
              <p:nvPr/>
            </p:nvSpPr>
            <p:spPr>
              <a:xfrm>
                <a:off x="2891524" y="2592196"/>
                <a:ext cx="83131" cy="57550"/>
              </a:xfrm>
              <a:custGeom>
                <a:avLst/>
                <a:gdLst>
                  <a:gd name="connsiteX0" fmla="*/ 0 w 83131"/>
                  <a:gd name="connsiteY0" fmla="*/ 57551 h 57550"/>
                  <a:gd name="connsiteX1" fmla="*/ 0 w 83131"/>
                  <a:gd name="connsiteY1" fmla="*/ 44748 h 57550"/>
                  <a:gd name="connsiteX2" fmla="*/ 70329 w 83131"/>
                  <a:gd name="connsiteY2" fmla="*/ 44748 h 57550"/>
                  <a:gd name="connsiteX3" fmla="*/ 70329 w 83131"/>
                  <a:gd name="connsiteY3" fmla="*/ 0 h 57550"/>
                  <a:gd name="connsiteX4" fmla="*/ 83132 w 83131"/>
                  <a:gd name="connsiteY4" fmla="*/ 0 h 57550"/>
                  <a:gd name="connsiteX5" fmla="*/ 83132 w 83131"/>
                  <a:gd name="connsiteY5" fmla="*/ 57526 h 5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131" h="57550">
                    <a:moveTo>
                      <a:pt x="0" y="57551"/>
                    </a:moveTo>
                    <a:lnTo>
                      <a:pt x="0" y="44748"/>
                    </a:lnTo>
                    <a:lnTo>
                      <a:pt x="70329" y="44748"/>
                    </a:lnTo>
                    <a:lnTo>
                      <a:pt x="70329" y="0"/>
                    </a:lnTo>
                    <a:lnTo>
                      <a:pt x="83132" y="0"/>
                    </a:lnTo>
                    <a:lnTo>
                      <a:pt x="83132" y="57526"/>
                    </a:lnTo>
                    <a:close/>
                  </a:path>
                </a:pathLst>
              </a:custGeom>
              <a:grpFill/>
              <a:ln w="2473" cap="flat">
                <a:noFill/>
                <a:prstDash val="solid"/>
                <a:miter/>
              </a:ln>
            </p:spPr>
            <p:txBody>
              <a:bodyPr rtlCol="0" anchor="ctr"/>
              <a:lstStyle/>
              <a:p>
                <a:endParaRPr lang="en-GB" dirty="0"/>
              </a:p>
            </p:txBody>
          </p:sp>
          <p:grpSp>
            <p:nvGrpSpPr>
              <p:cNvPr id="237" name="Grafik 179">
                <a:extLst>
                  <a:ext uri="{FF2B5EF4-FFF2-40B4-BE49-F238E27FC236}">
                    <a16:creationId xmlns:a16="http://schemas.microsoft.com/office/drawing/2014/main" id="{6BDC6403-9AE2-4571-8B23-95B553FBBD38}"/>
                  </a:ext>
                </a:extLst>
              </p:cNvPr>
              <p:cNvGrpSpPr/>
              <p:nvPr/>
            </p:nvGrpSpPr>
            <p:grpSpPr>
              <a:xfrm>
                <a:off x="2527101" y="2790380"/>
                <a:ext cx="108687" cy="127879"/>
                <a:chOff x="2527101" y="2790380"/>
                <a:chExt cx="108687" cy="127879"/>
              </a:xfrm>
              <a:grpFill/>
            </p:grpSpPr>
            <p:sp>
              <p:nvSpPr>
                <p:cNvPr id="238" name="Freihandform: Form 317">
                  <a:extLst>
                    <a:ext uri="{FF2B5EF4-FFF2-40B4-BE49-F238E27FC236}">
                      <a16:creationId xmlns:a16="http://schemas.microsoft.com/office/drawing/2014/main" id="{952B426E-48F8-4330-B9C7-E33BCF11F957}"/>
                    </a:ext>
                  </a:extLst>
                </p:cNvPr>
                <p:cNvSpPr/>
                <p:nvPr/>
              </p:nvSpPr>
              <p:spPr>
                <a:xfrm>
                  <a:off x="2527101" y="2854320"/>
                  <a:ext cx="63939" cy="63940"/>
                </a:xfrm>
                <a:custGeom>
                  <a:avLst/>
                  <a:gdLst>
                    <a:gd name="connsiteX0" fmla="*/ 31970 w 63939"/>
                    <a:gd name="connsiteY0" fmla="*/ 63940 h 63940"/>
                    <a:gd name="connsiteX1" fmla="*/ 0 w 63939"/>
                    <a:gd name="connsiteY1" fmla="*/ 31970 h 63940"/>
                    <a:gd name="connsiteX2" fmla="*/ 31970 w 63939"/>
                    <a:gd name="connsiteY2" fmla="*/ 0 h 63940"/>
                    <a:gd name="connsiteX3" fmla="*/ 63940 w 63939"/>
                    <a:gd name="connsiteY3" fmla="*/ 31970 h 63940"/>
                    <a:gd name="connsiteX4" fmla="*/ 31970 w 63939"/>
                    <a:gd name="connsiteY4" fmla="*/ 63940 h 63940"/>
                    <a:gd name="connsiteX5" fmla="*/ 31970 w 63939"/>
                    <a:gd name="connsiteY5" fmla="*/ 12803 h 63940"/>
                    <a:gd name="connsiteX6" fmla="*/ 12778 w 63939"/>
                    <a:gd name="connsiteY6" fmla="*/ 31995 h 63940"/>
                    <a:gd name="connsiteX7" fmla="*/ 31970 w 63939"/>
                    <a:gd name="connsiteY7" fmla="*/ 51187 h 63940"/>
                    <a:gd name="connsiteX8" fmla="*/ 51162 w 63939"/>
                    <a:gd name="connsiteY8" fmla="*/ 31995 h 63940"/>
                    <a:gd name="connsiteX9" fmla="*/ 31970 w 63939"/>
                    <a:gd name="connsiteY9" fmla="*/ 12803 h 6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39" h="63940">
                      <a:moveTo>
                        <a:pt x="31970" y="63940"/>
                      </a:moveTo>
                      <a:cubicBezTo>
                        <a:pt x="14338" y="63940"/>
                        <a:pt x="0" y="49602"/>
                        <a:pt x="0" y="31970"/>
                      </a:cubicBezTo>
                      <a:cubicBezTo>
                        <a:pt x="0" y="14338"/>
                        <a:pt x="14338" y="0"/>
                        <a:pt x="31970" y="0"/>
                      </a:cubicBezTo>
                      <a:cubicBezTo>
                        <a:pt x="49602" y="0"/>
                        <a:pt x="63940" y="14338"/>
                        <a:pt x="63940" y="31970"/>
                      </a:cubicBezTo>
                      <a:cubicBezTo>
                        <a:pt x="63940" y="49602"/>
                        <a:pt x="49602" y="63940"/>
                        <a:pt x="31970" y="63940"/>
                      </a:cubicBezTo>
                      <a:close/>
                      <a:moveTo>
                        <a:pt x="31970" y="12803"/>
                      </a:moveTo>
                      <a:cubicBezTo>
                        <a:pt x="21396" y="12803"/>
                        <a:pt x="12778" y="21396"/>
                        <a:pt x="12778" y="31995"/>
                      </a:cubicBezTo>
                      <a:cubicBezTo>
                        <a:pt x="12778" y="42569"/>
                        <a:pt x="21371" y="51187"/>
                        <a:pt x="31970" y="51187"/>
                      </a:cubicBezTo>
                      <a:cubicBezTo>
                        <a:pt x="42544" y="51187"/>
                        <a:pt x="51162" y="42594"/>
                        <a:pt x="51162" y="31995"/>
                      </a:cubicBezTo>
                      <a:cubicBezTo>
                        <a:pt x="51137" y="21396"/>
                        <a:pt x="42544" y="12803"/>
                        <a:pt x="31970" y="12803"/>
                      </a:cubicBezTo>
                      <a:close/>
                    </a:path>
                  </a:pathLst>
                </a:custGeom>
                <a:grpFill/>
                <a:ln w="2473" cap="flat">
                  <a:noFill/>
                  <a:prstDash val="solid"/>
                  <a:miter/>
                </a:ln>
              </p:spPr>
              <p:txBody>
                <a:bodyPr rtlCol="0" anchor="ctr"/>
                <a:lstStyle/>
                <a:p>
                  <a:endParaRPr lang="en-GB" dirty="0"/>
                </a:p>
              </p:txBody>
            </p:sp>
            <p:sp>
              <p:nvSpPr>
                <p:cNvPr id="239" name="Freihandform: Form 318">
                  <a:extLst>
                    <a:ext uri="{FF2B5EF4-FFF2-40B4-BE49-F238E27FC236}">
                      <a16:creationId xmlns:a16="http://schemas.microsoft.com/office/drawing/2014/main" id="{2BE316A5-B656-44E8-B5F8-CBD30B1FE6B2}"/>
                    </a:ext>
                  </a:extLst>
                </p:cNvPr>
                <p:cNvSpPr/>
                <p:nvPr/>
              </p:nvSpPr>
              <p:spPr>
                <a:xfrm>
                  <a:off x="2552682" y="2790380"/>
                  <a:ext cx="83107" cy="70353"/>
                </a:xfrm>
                <a:custGeom>
                  <a:avLst/>
                  <a:gdLst>
                    <a:gd name="connsiteX0" fmla="*/ 12778 w 83107"/>
                    <a:gd name="connsiteY0" fmla="*/ 70354 h 70353"/>
                    <a:gd name="connsiteX1" fmla="*/ 0 w 83107"/>
                    <a:gd name="connsiteY1" fmla="*/ 70354 h 70353"/>
                    <a:gd name="connsiteX2" fmla="*/ 0 w 83107"/>
                    <a:gd name="connsiteY2" fmla="*/ 0 h 70353"/>
                    <a:gd name="connsiteX3" fmla="*/ 83107 w 83107"/>
                    <a:gd name="connsiteY3" fmla="*/ 25 h 70353"/>
                    <a:gd name="connsiteX4" fmla="*/ 83107 w 83107"/>
                    <a:gd name="connsiteY4" fmla="*/ 12803 h 70353"/>
                    <a:gd name="connsiteX5" fmla="*/ 12778 w 83107"/>
                    <a:gd name="connsiteY5" fmla="*/ 12803 h 70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107" h="70353">
                      <a:moveTo>
                        <a:pt x="12778" y="70354"/>
                      </a:moveTo>
                      <a:lnTo>
                        <a:pt x="0" y="70354"/>
                      </a:lnTo>
                      <a:lnTo>
                        <a:pt x="0" y="0"/>
                      </a:lnTo>
                      <a:lnTo>
                        <a:pt x="83107" y="25"/>
                      </a:lnTo>
                      <a:lnTo>
                        <a:pt x="83107" y="12803"/>
                      </a:lnTo>
                      <a:lnTo>
                        <a:pt x="12778" y="12803"/>
                      </a:lnTo>
                      <a:close/>
                    </a:path>
                  </a:pathLst>
                </a:custGeom>
                <a:grpFill/>
                <a:ln w="2473" cap="flat">
                  <a:noFill/>
                  <a:prstDash val="solid"/>
                  <a:miter/>
                </a:ln>
              </p:spPr>
              <p:txBody>
                <a:bodyPr rtlCol="0" anchor="ctr"/>
                <a:lstStyle/>
                <a:p>
                  <a:endParaRPr lang="en-GB" dirty="0"/>
                </a:p>
              </p:txBody>
            </p:sp>
          </p:grpSp>
        </p:grpSp>
        <p:grpSp>
          <p:nvGrpSpPr>
            <p:cNvPr id="225" name="Grafik 179">
              <a:extLst>
                <a:ext uri="{FF2B5EF4-FFF2-40B4-BE49-F238E27FC236}">
                  <a16:creationId xmlns:a16="http://schemas.microsoft.com/office/drawing/2014/main" id="{1F283D5E-0C21-4164-BCD0-248D922A38D5}"/>
                </a:ext>
              </a:extLst>
            </p:cNvPr>
            <p:cNvGrpSpPr/>
            <p:nvPr/>
          </p:nvGrpSpPr>
          <p:grpSpPr>
            <a:xfrm>
              <a:off x="3877816" y="3383878"/>
              <a:ext cx="105071" cy="128451"/>
              <a:chOff x="2706118" y="2649722"/>
              <a:chExt cx="115076" cy="140682"/>
            </a:xfrm>
            <a:solidFill>
              <a:schemeClr val="accent1"/>
            </a:solidFill>
          </p:grpSpPr>
          <p:sp>
            <p:nvSpPr>
              <p:cNvPr id="226" name="Freihandform: Form 320">
                <a:extLst>
                  <a:ext uri="{FF2B5EF4-FFF2-40B4-BE49-F238E27FC236}">
                    <a16:creationId xmlns:a16="http://schemas.microsoft.com/office/drawing/2014/main" id="{C2595A3F-E97C-4B93-B59B-5BE101BB111B}"/>
                  </a:ext>
                </a:extLst>
              </p:cNvPr>
              <p:cNvSpPr/>
              <p:nvPr/>
            </p:nvSpPr>
            <p:spPr>
              <a:xfrm>
                <a:off x="2808417" y="2649747"/>
                <a:ext cx="12778" cy="140657"/>
              </a:xfrm>
              <a:custGeom>
                <a:avLst/>
                <a:gdLst>
                  <a:gd name="connsiteX0" fmla="*/ 6389 w 12778"/>
                  <a:gd name="connsiteY0" fmla="*/ 140658 h 140657"/>
                  <a:gd name="connsiteX1" fmla="*/ 0 w 12778"/>
                  <a:gd name="connsiteY1" fmla="*/ 134269 h 140657"/>
                  <a:gd name="connsiteX2" fmla="*/ 0 w 12778"/>
                  <a:gd name="connsiteY2" fmla="*/ 6389 h 140657"/>
                  <a:gd name="connsiteX3" fmla="*/ 6389 w 12778"/>
                  <a:gd name="connsiteY3" fmla="*/ 0 h 140657"/>
                  <a:gd name="connsiteX4" fmla="*/ 12778 w 12778"/>
                  <a:gd name="connsiteY4" fmla="*/ 6389 h 140657"/>
                  <a:gd name="connsiteX5" fmla="*/ 12778 w 12778"/>
                  <a:gd name="connsiteY5" fmla="*/ 134269 h 140657"/>
                  <a:gd name="connsiteX6" fmla="*/ 6389 w 12778"/>
                  <a:gd name="connsiteY6" fmla="*/ 140658 h 140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8" h="140657">
                    <a:moveTo>
                      <a:pt x="6389" y="140658"/>
                    </a:moveTo>
                    <a:cubicBezTo>
                      <a:pt x="2848" y="140658"/>
                      <a:pt x="0" y="137785"/>
                      <a:pt x="0" y="134269"/>
                    </a:cubicBezTo>
                    <a:lnTo>
                      <a:pt x="0" y="6389"/>
                    </a:lnTo>
                    <a:cubicBezTo>
                      <a:pt x="0" y="2848"/>
                      <a:pt x="2848" y="0"/>
                      <a:pt x="6389" y="0"/>
                    </a:cubicBezTo>
                    <a:cubicBezTo>
                      <a:pt x="9930" y="0"/>
                      <a:pt x="12778" y="2873"/>
                      <a:pt x="12778" y="6389"/>
                    </a:cubicBezTo>
                    <a:lnTo>
                      <a:pt x="12778" y="134269"/>
                    </a:lnTo>
                    <a:cubicBezTo>
                      <a:pt x="12778" y="137785"/>
                      <a:pt x="9930" y="140658"/>
                      <a:pt x="6389" y="140658"/>
                    </a:cubicBezTo>
                    <a:close/>
                  </a:path>
                </a:pathLst>
              </a:custGeom>
              <a:solidFill>
                <a:schemeClr val="accent1"/>
              </a:solidFill>
              <a:ln w="2473" cap="flat">
                <a:noFill/>
                <a:prstDash val="solid"/>
                <a:miter/>
              </a:ln>
            </p:spPr>
            <p:txBody>
              <a:bodyPr rtlCol="0" anchor="ctr"/>
              <a:lstStyle/>
              <a:p>
                <a:endParaRPr lang="en-GB" dirty="0"/>
              </a:p>
            </p:txBody>
          </p:sp>
          <p:sp>
            <p:nvSpPr>
              <p:cNvPr id="227" name="Freihandform: Form 321">
                <a:extLst>
                  <a:ext uri="{FF2B5EF4-FFF2-40B4-BE49-F238E27FC236}">
                    <a16:creationId xmlns:a16="http://schemas.microsoft.com/office/drawing/2014/main" id="{4558A7A3-112C-4641-9D1B-B0C5D8635061}"/>
                  </a:ext>
                </a:extLst>
              </p:cNvPr>
              <p:cNvSpPr/>
              <p:nvPr/>
            </p:nvSpPr>
            <p:spPr>
              <a:xfrm>
                <a:off x="2706118" y="2649747"/>
                <a:ext cx="12778" cy="140657"/>
              </a:xfrm>
              <a:custGeom>
                <a:avLst/>
                <a:gdLst>
                  <a:gd name="connsiteX0" fmla="*/ 6389 w 12778"/>
                  <a:gd name="connsiteY0" fmla="*/ 140658 h 140657"/>
                  <a:gd name="connsiteX1" fmla="*/ 0 w 12778"/>
                  <a:gd name="connsiteY1" fmla="*/ 134269 h 140657"/>
                  <a:gd name="connsiteX2" fmla="*/ 0 w 12778"/>
                  <a:gd name="connsiteY2" fmla="*/ 6389 h 140657"/>
                  <a:gd name="connsiteX3" fmla="*/ 6389 w 12778"/>
                  <a:gd name="connsiteY3" fmla="*/ 0 h 140657"/>
                  <a:gd name="connsiteX4" fmla="*/ 12778 w 12778"/>
                  <a:gd name="connsiteY4" fmla="*/ 6389 h 140657"/>
                  <a:gd name="connsiteX5" fmla="*/ 12778 w 12778"/>
                  <a:gd name="connsiteY5" fmla="*/ 134269 h 140657"/>
                  <a:gd name="connsiteX6" fmla="*/ 6389 w 12778"/>
                  <a:gd name="connsiteY6" fmla="*/ 140658 h 140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78" h="140657">
                    <a:moveTo>
                      <a:pt x="6389" y="140658"/>
                    </a:moveTo>
                    <a:cubicBezTo>
                      <a:pt x="2848" y="140658"/>
                      <a:pt x="0" y="137785"/>
                      <a:pt x="0" y="134269"/>
                    </a:cubicBezTo>
                    <a:lnTo>
                      <a:pt x="0" y="6389"/>
                    </a:lnTo>
                    <a:cubicBezTo>
                      <a:pt x="0" y="2848"/>
                      <a:pt x="2848" y="0"/>
                      <a:pt x="6389" y="0"/>
                    </a:cubicBezTo>
                    <a:cubicBezTo>
                      <a:pt x="9930" y="0"/>
                      <a:pt x="12778" y="2873"/>
                      <a:pt x="12778" y="6389"/>
                    </a:cubicBezTo>
                    <a:lnTo>
                      <a:pt x="12778" y="134269"/>
                    </a:lnTo>
                    <a:cubicBezTo>
                      <a:pt x="12778" y="137785"/>
                      <a:pt x="9930" y="140658"/>
                      <a:pt x="6389" y="140658"/>
                    </a:cubicBezTo>
                    <a:close/>
                  </a:path>
                </a:pathLst>
              </a:custGeom>
              <a:solidFill>
                <a:schemeClr val="accent1"/>
              </a:solidFill>
              <a:ln w="2473" cap="flat">
                <a:noFill/>
                <a:prstDash val="solid"/>
                <a:miter/>
              </a:ln>
            </p:spPr>
            <p:txBody>
              <a:bodyPr rtlCol="0" anchor="ctr"/>
              <a:lstStyle/>
              <a:p>
                <a:endParaRPr lang="en-GB" dirty="0"/>
              </a:p>
            </p:txBody>
          </p:sp>
          <p:sp>
            <p:nvSpPr>
              <p:cNvPr id="228" name="Freihandform: Form 322">
                <a:extLst>
                  <a:ext uri="{FF2B5EF4-FFF2-40B4-BE49-F238E27FC236}">
                    <a16:creationId xmlns:a16="http://schemas.microsoft.com/office/drawing/2014/main" id="{0ADD4F63-F9AE-436E-9387-02124F346591}"/>
                  </a:ext>
                </a:extLst>
              </p:cNvPr>
              <p:cNvSpPr/>
              <p:nvPr/>
            </p:nvSpPr>
            <p:spPr>
              <a:xfrm>
                <a:off x="2706143" y="2649722"/>
                <a:ext cx="51136" cy="63939"/>
              </a:xfrm>
              <a:custGeom>
                <a:avLst/>
                <a:gdLst>
                  <a:gd name="connsiteX0" fmla="*/ 19167 w 51136"/>
                  <a:gd name="connsiteY0" fmla="*/ 63940 h 63939"/>
                  <a:gd name="connsiteX1" fmla="*/ 6389 w 51136"/>
                  <a:gd name="connsiteY1" fmla="*/ 63940 h 63939"/>
                  <a:gd name="connsiteX2" fmla="*/ 0 w 51136"/>
                  <a:gd name="connsiteY2" fmla="*/ 57551 h 63939"/>
                  <a:gd name="connsiteX3" fmla="*/ 6389 w 51136"/>
                  <a:gd name="connsiteY3" fmla="*/ 51162 h 63939"/>
                  <a:gd name="connsiteX4" fmla="*/ 19167 w 51136"/>
                  <a:gd name="connsiteY4" fmla="*/ 51162 h 63939"/>
                  <a:gd name="connsiteX5" fmla="*/ 38359 w 51136"/>
                  <a:gd name="connsiteY5" fmla="*/ 31970 h 63939"/>
                  <a:gd name="connsiteX6" fmla="*/ 19167 w 51136"/>
                  <a:gd name="connsiteY6" fmla="*/ 12778 h 63939"/>
                  <a:gd name="connsiteX7" fmla="*/ 6389 w 51136"/>
                  <a:gd name="connsiteY7" fmla="*/ 12778 h 63939"/>
                  <a:gd name="connsiteX8" fmla="*/ 0 w 51136"/>
                  <a:gd name="connsiteY8" fmla="*/ 6389 h 63939"/>
                  <a:gd name="connsiteX9" fmla="*/ 6389 w 51136"/>
                  <a:gd name="connsiteY9" fmla="*/ 0 h 63939"/>
                  <a:gd name="connsiteX10" fmla="*/ 19167 w 51136"/>
                  <a:gd name="connsiteY10" fmla="*/ 0 h 63939"/>
                  <a:gd name="connsiteX11" fmla="*/ 51137 w 51136"/>
                  <a:gd name="connsiteY11" fmla="*/ 31970 h 63939"/>
                  <a:gd name="connsiteX12" fmla="*/ 19167 w 51136"/>
                  <a:gd name="connsiteY12" fmla="*/ 63940 h 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136" h="63939">
                    <a:moveTo>
                      <a:pt x="19167" y="63940"/>
                    </a:moveTo>
                    <a:lnTo>
                      <a:pt x="6389" y="63940"/>
                    </a:lnTo>
                    <a:cubicBezTo>
                      <a:pt x="2848" y="63940"/>
                      <a:pt x="0" y="61067"/>
                      <a:pt x="0" y="57551"/>
                    </a:cubicBezTo>
                    <a:cubicBezTo>
                      <a:pt x="0" y="54034"/>
                      <a:pt x="2848" y="51162"/>
                      <a:pt x="6389" y="51162"/>
                    </a:cubicBezTo>
                    <a:lnTo>
                      <a:pt x="19167" y="51162"/>
                    </a:lnTo>
                    <a:cubicBezTo>
                      <a:pt x="29741" y="51162"/>
                      <a:pt x="38359" y="42569"/>
                      <a:pt x="38359" y="31970"/>
                    </a:cubicBezTo>
                    <a:cubicBezTo>
                      <a:pt x="38359" y="21371"/>
                      <a:pt x="29766" y="12778"/>
                      <a:pt x="19167" y="12778"/>
                    </a:cubicBezTo>
                    <a:lnTo>
                      <a:pt x="6389" y="12778"/>
                    </a:lnTo>
                    <a:cubicBezTo>
                      <a:pt x="2848" y="12778"/>
                      <a:pt x="0" y="9905"/>
                      <a:pt x="0" y="6389"/>
                    </a:cubicBezTo>
                    <a:cubicBezTo>
                      <a:pt x="0" y="2848"/>
                      <a:pt x="2848" y="0"/>
                      <a:pt x="6389" y="0"/>
                    </a:cubicBezTo>
                    <a:lnTo>
                      <a:pt x="19167" y="0"/>
                    </a:lnTo>
                    <a:cubicBezTo>
                      <a:pt x="36799" y="0"/>
                      <a:pt x="51137" y="14338"/>
                      <a:pt x="51137" y="31970"/>
                    </a:cubicBezTo>
                    <a:cubicBezTo>
                      <a:pt x="51137" y="49602"/>
                      <a:pt x="36774" y="63940"/>
                      <a:pt x="19167" y="63940"/>
                    </a:cubicBezTo>
                    <a:close/>
                  </a:path>
                </a:pathLst>
              </a:custGeom>
              <a:solidFill>
                <a:schemeClr val="accent1"/>
              </a:solidFill>
              <a:ln w="2473" cap="flat">
                <a:noFill/>
                <a:prstDash val="solid"/>
                <a:miter/>
              </a:ln>
            </p:spPr>
            <p:txBody>
              <a:bodyPr rtlCol="0" anchor="ctr"/>
              <a:lstStyle/>
              <a:p>
                <a:endParaRPr lang="en-GB" dirty="0"/>
              </a:p>
            </p:txBody>
          </p:sp>
          <p:sp>
            <p:nvSpPr>
              <p:cNvPr id="229" name="Freihandform: Form 323">
                <a:extLst>
                  <a:ext uri="{FF2B5EF4-FFF2-40B4-BE49-F238E27FC236}">
                    <a16:creationId xmlns:a16="http://schemas.microsoft.com/office/drawing/2014/main" id="{95872D9E-1EB9-48BF-96C7-A24771210691}"/>
                  </a:ext>
                </a:extLst>
              </p:cNvPr>
              <p:cNvSpPr/>
              <p:nvPr/>
            </p:nvSpPr>
            <p:spPr>
              <a:xfrm>
                <a:off x="2706118" y="2700909"/>
                <a:ext cx="70329" cy="89496"/>
              </a:xfrm>
              <a:custGeom>
                <a:avLst/>
                <a:gdLst>
                  <a:gd name="connsiteX0" fmla="*/ 25581 w 70329"/>
                  <a:gd name="connsiteY0" fmla="*/ 89496 h 89496"/>
                  <a:gd name="connsiteX1" fmla="*/ 6389 w 70329"/>
                  <a:gd name="connsiteY1" fmla="*/ 89496 h 89496"/>
                  <a:gd name="connsiteX2" fmla="*/ 0 w 70329"/>
                  <a:gd name="connsiteY2" fmla="*/ 83107 h 89496"/>
                  <a:gd name="connsiteX3" fmla="*/ 6389 w 70329"/>
                  <a:gd name="connsiteY3" fmla="*/ 76718 h 89496"/>
                  <a:gd name="connsiteX4" fmla="*/ 25581 w 70329"/>
                  <a:gd name="connsiteY4" fmla="*/ 76718 h 89496"/>
                  <a:gd name="connsiteX5" fmla="*/ 57551 w 70329"/>
                  <a:gd name="connsiteY5" fmla="*/ 44748 h 89496"/>
                  <a:gd name="connsiteX6" fmla="*/ 25581 w 70329"/>
                  <a:gd name="connsiteY6" fmla="*/ 12778 h 89496"/>
                  <a:gd name="connsiteX7" fmla="*/ 19192 w 70329"/>
                  <a:gd name="connsiteY7" fmla="*/ 12778 h 89496"/>
                  <a:gd name="connsiteX8" fmla="*/ 12803 w 70329"/>
                  <a:gd name="connsiteY8" fmla="*/ 6389 h 89496"/>
                  <a:gd name="connsiteX9" fmla="*/ 19192 w 70329"/>
                  <a:gd name="connsiteY9" fmla="*/ 0 h 89496"/>
                  <a:gd name="connsiteX10" fmla="*/ 25581 w 70329"/>
                  <a:gd name="connsiteY10" fmla="*/ 0 h 89496"/>
                  <a:gd name="connsiteX11" fmla="*/ 70329 w 70329"/>
                  <a:gd name="connsiteY11" fmla="*/ 44748 h 89496"/>
                  <a:gd name="connsiteX12" fmla="*/ 25581 w 70329"/>
                  <a:gd name="connsiteY12" fmla="*/ 89496 h 89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329" h="89496">
                    <a:moveTo>
                      <a:pt x="25581" y="89496"/>
                    </a:moveTo>
                    <a:lnTo>
                      <a:pt x="6389" y="89496"/>
                    </a:lnTo>
                    <a:cubicBezTo>
                      <a:pt x="2848" y="89496"/>
                      <a:pt x="0" y="86623"/>
                      <a:pt x="0" y="83107"/>
                    </a:cubicBezTo>
                    <a:cubicBezTo>
                      <a:pt x="0" y="79591"/>
                      <a:pt x="2848" y="76718"/>
                      <a:pt x="6389" y="76718"/>
                    </a:cubicBezTo>
                    <a:lnTo>
                      <a:pt x="25581" y="76718"/>
                    </a:lnTo>
                    <a:cubicBezTo>
                      <a:pt x="43213" y="76718"/>
                      <a:pt x="57551" y="62380"/>
                      <a:pt x="57551" y="44748"/>
                    </a:cubicBezTo>
                    <a:cubicBezTo>
                      <a:pt x="57551" y="27116"/>
                      <a:pt x="43213" y="12778"/>
                      <a:pt x="25581" y="12778"/>
                    </a:cubicBezTo>
                    <a:lnTo>
                      <a:pt x="19192" y="12778"/>
                    </a:lnTo>
                    <a:cubicBezTo>
                      <a:pt x="15651" y="12778"/>
                      <a:pt x="12803" y="9905"/>
                      <a:pt x="12803" y="6389"/>
                    </a:cubicBezTo>
                    <a:cubicBezTo>
                      <a:pt x="12803" y="2873"/>
                      <a:pt x="15651" y="0"/>
                      <a:pt x="19192" y="0"/>
                    </a:cubicBezTo>
                    <a:lnTo>
                      <a:pt x="25581" y="0"/>
                    </a:lnTo>
                    <a:cubicBezTo>
                      <a:pt x="50246" y="0"/>
                      <a:pt x="70329" y="20083"/>
                      <a:pt x="70329" y="44748"/>
                    </a:cubicBezTo>
                    <a:cubicBezTo>
                      <a:pt x="70329" y="69413"/>
                      <a:pt x="50246" y="89496"/>
                      <a:pt x="25581" y="89496"/>
                    </a:cubicBezTo>
                    <a:close/>
                  </a:path>
                </a:pathLst>
              </a:custGeom>
              <a:solidFill>
                <a:schemeClr val="accent1"/>
              </a:solidFill>
              <a:ln w="2473" cap="flat">
                <a:noFill/>
                <a:prstDash val="solid"/>
                <a:miter/>
              </a:ln>
            </p:spPr>
            <p:txBody>
              <a:bodyPr rtlCol="0" anchor="ctr"/>
              <a:lstStyle/>
              <a:p>
                <a:endParaRPr lang="en-GB" dirty="0"/>
              </a:p>
            </p:txBody>
          </p:sp>
        </p:grpSp>
      </p:grpSp>
      <p:grpSp>
        <p:nvGrpSpPr>
          <p:cNvPr id="35" name="Group 34">
            <a:extLst>
              <a:ext uri="{FF2B5EF4-FFF2-40B4-BE49-F238E27FC236}">
                <a16:creationId xmlns:a16="http://schemas.microsoft.com/office/drawing/2014/main" id="{18373470-E6FB-4395-AFB7-4142251A0605}"/>
              </a:ext>
            </a:extLst>
          </p:cNvPr>
          <p:cNvGrpSpPr/>
          <p:nvPr/>
        </p:nvGrpSpPr>
        <p:grpSpPr>
          <a:xfrm>
            <a:off x="578042" y="4002611"/>
            <a:ext cx="432016" cy="432000"/>
            <a:chOff x="578042" y="4002611"/>
            <a:chExt cx="432016" cy="432000"/>
          </a:xfrm>
        </p:grpSpPr>
        <p:grpSp>
          <p:nvGrpSpPr>
            <p:cNvPr id="245" name="Group 244">
              <a:extLst>
                <a:ext uri="{FF2B5EF4-FFF2-40B4-BE49-F238E27FC236}">
                  <a16:creationId xmlns:a16="http://schemas.microsoft.com/office/drawing/2014/main" id="{05AC2869-A86F-46EC-92F3-26D738F265B8}"/>
                </a:ext>
              </a:extLst>
            </p:cNvPr>
            <p:cNvGrpSpPr/>
            <p:nvPr/>
          </p:nvGrpSpPr>
          <p:grpSpPr>
            <a:xfrm>
              <a:off x="578042" y="4131045"/>
              <a:ext cx="432016" cy="175136"/>
              <a:chOff x="3332690" y="2585788"/>
              <a:chExt cx="473153" cy="191813"/>
            </a:xfrm>
          </p:grpSpPr>
          <p:grpSp>
            <p:nvGrpSpPr>
              <p:cNvPr id="252" name="Grafik 179">
                <a:extLst>
                  <a:ext uri="{FF2B5EF4-FFF2-40B4-BE49-F238E27FC236}">
                    <a16:creationId xmlns:a16="http://schemas.microsoft.com/office/drawing/2014/main" id="{BBCB70AC-BD4E-47AE-96DF-15D0C8451957}"/>
                  </a:ext>
                </a:extLst>
              </p:cNvPr>
              <p:cNvGrpSpPr/>
              <p:nvPr/>
            </p:nvGrpSpPr>
            <p:grpSpPr>
              <a:xfrm>
                <a:off x="3614005" y="2585788"/>
                <a:ext cx="191838" cy="191813"/>
                <a:chOff x="3614005" y="2585788"/>
                <a:chExt cx="191838" cy="191813"/>
              </a:xfrm>
              <a:solidFill>
                <a:schemeClr val="accent1"/>
              </a:solidFill>
            </p:grpSpPr>
            <p:sp>
              <p:nvSpPr>
                <p:cNvPr id="257" name="Freihandform: Form 415">
                  <a:extLst>
                    <a:ext uri="{FF2B5EF4-FFF2-40B4-BE49-F238E27FC236}">
                      <a16:creationId xmlns:a16="http://schemas.microsoft.com/office/drawing/2014/main" id="{2484FBC2-B597-44C4-AE83-A1BA4DC1A5D6}"/>
                    </a:ext>
                  </a:extLst>
                </p:cNvPr>
                <p:cNvSpPr/>
                <p:nvPr/>
              </p:nvSpPr>
              <p:spPr>
                <a:xfrm>
                  <a:off x="3614005" y="2675303"/>
                  <a:ext cx="191770" cy="102298"/>
                </a:xfrm>
                <a:custGeom>
                  <a:avLst/>
                  <a:gdLst>
                    <a:gd name="connsiteX0" fmla="*/ 95910 w 191770"/>
                    <a:gd name="connsiteY0" fmla="*/ 102299 h 102298"/>
                    <a:gd name="connsiteX1" fmla="*/ 0 w 191770"/>
                    <a:gd name="connsiteY1" fmla="*/ 6389 h 102298"/>
                    <a:gd name="connsiteX2" fmla="*/ 6389 w 191770"/>
                    <a:gd name="connsiteY2" fmla="*/ 0 h 102298"/>
                    <a:gd name="connsiteX3" fmla="*/ 12778 w 191770"/>
                    <a:gd name="connsiteY3" fmla="*/ 6389 h 102298"/>
                    <a:gd name="connsiteX4" fmla="*/ 95885 w 191770"/>
                    <a:gd name="connsiteY4" fmla="*/ 89496 h 102298"/>
                    <a:gd name="connsiteX5" fmla="*/ 178992 w 191770"/>
                    <a:gd name="connsiteY5" fmla="*/ 6389 h 102298"/>
                    <a:gd name="connsiteX6" fmla="*/ 185381 w 191770"/>
                    <a:gd name="connsiteY6" fmla="*/ 0 h 102298"/>
                    <a:gd name="connsiteX7" fmla="*/ 191770 w 191770"/>
                    <a:gd name="connsiteY7" fmla="*/ 6389 h 102298"/>
                    <a:gd name="connsiteX8" fmla="*/ 95910 w 191770"/>
                    <a:gd name="connsiteY8" fmla="*/ 102299 h 10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770" h="102298">
                      <a:moveTo>
                        <a:pt x="95910" y="102299"/>
                      </a:moveTo>
                      <a:cubicBezTo>
                        <a:pt x="43015" y="102299"/>
                        <a:pt x="0" y="59284"/>
                        <a:pt x="0" y="6389"/>
                      </a:cubicBezTo>
                      <a:cubicBezTo>
                        <a:pt x="0" y="2848"/>
                        <a:pt x="2848" y="0"/>
                        <a:pt x="6389" y="0"/>
                      </a:cubicBezTo>
                      <a:cubicBezTo>
                        <a:pt x="9930" y="0"/>
                        <a:pt x="12778" y="2873"/>
                        <a:pt x="12778" y="6389"/>
                      </a:cubicBezTo>
                      <a:cubicBezTo>
                        <a:pt x="12778" y="52227"/>
                        <a:pt x="50072" y="89496"/>
                        <a:pt x="95885" y="89496"/>
                      </a:cubicBezTo>
                      <a:cubicBezTo>
                        <a:pt x="141698" y="89496"/>
                        <a:pt x="178992" y="52202"/>
                        <a:pt x="178992" y="6389"/>
                      </a:cubicBezTo>
                      <a:cubicBezTo>
                        <a:pt x="178992" y="2848"/>
                        <a:pt x="181840" y="0"/>
                        <a:pt x="185381" y="0"/>
                      </a:cubicBezTo>
                      <a:cubicBezTo>
                        <a:pt x="188923" y="0"/>
                        <a:pt x="191770" y="2873"/>
                        <a:pt x="191770" y="6389"/>
                      </a:cubicBezTo>
                      <a:cubicBezTo>
                        <a:pt x="191820" y="59284"/>
                        <a:pt x="148805" y="102299"/>
                        <a:pt x="95910" y="102299"/>
                      </a:cubicBezTo>
                      <a:close/>
                    </a:path>
                  </a:pathLst>
                </a:custGeom>
                <a:solidFill>
                  <a:schemeClr val="accent1"/>
                </a:solidFill>
                <a:ln w="2473" cap="flat">
                  <a:noFill/>
                  <a:prstDash val="solid"/>
                  <a:miter/>
                </a:ln>
              </p:spPr>
              <p:txBody>
                <a:bodyPr rtlCol="0" anchor="ctr"/>
                <a:lstStyle/>
                <a:p>
                  <a:endParaRPr lang="en-GB" dirty="0"/>
                </a:p>
              </p:txBody>
            </p:sp>
            <p:sp>
              <p:nvSpPr>
                <p:cNvPr id="258" name="Freihandform: Form 416">
                  <a:extLst>
                    <a:ext uri="{FF2B5EF4-FFF2-40B4-BE49-F238E27FC236}">
                      <a16:creationId xmlns:a16="http://schemas.microsoft.com/office/drawing/2014/main" id="{6A3AAF72-6394-4C32-AD87-9C41FCD4F636}"/>
                    </a:ext>
                  </a:extLst>
                </p:cNvPr>
                <p:cNvSpPr/>
                <p:nvPr/>
              </p:nvSpPr>
              <p:spPr>
                <a:xfrm>
                  <a:off x="3614012" y="2585788"/>
                  <a:ext cx="191832" cy="102317"/>
                </a:xfrm>
                <a:custGeom>
                  <a:avLst/>
                  <a:gdLst>
                    <a:gd name="connsiteX0" fmla="*/ 185425 w 191832"/>
                    <a:gd name="connsiteY0" fmla="*/ 102318 h 102317"/>
                    <a:gd name="connsiteX1" fmla="*/ 180893 w 191832"/>
                    <a:gd name="connsiteY1" fmla="*/ 100435 h 102317"/>
                    <a:gd name="connsiteX2" fmla="*/ 95904 w 191832"/>
                    <a:gd name="connsiteY2" fmla="*/ 15446 h 102317"/>
                    <a:gd name="connsiteX3" fmla="*/ 10915 w 191832"/>
                    <a:gd name="connsiteY3" fmla="*/ 100435 h 102317"/>
                    <a:gd name="connsiteX4" fmla="*/ 1876 w 191832"/>
                    <a:gd name="connsiteY4" fmla="*/ 100435 h 102317"/>
                    <a:gd name="connsiteX5" fmla="*/ 1876 w 191832"/>
                    <a:gd name="connsiteY5" fmla="*/ 91397 h 102317"/>
                    <a:gd name="connsiteX6" fmla="*/ 91397 w 191832"/>
                    <a:gd name="connsiteY6" fmla="*/ 1876 h 102317"/>
                    <a:gd name="connsiteX7" fmla="*/ 100436 w 191832"/>
                    <a:gd name="connsiteY7" fmla="*/ 1876 h 102317"/>
                    <a:gd name="connsiteX8" fmla="*/ 189956 w 191832"/>
                    <a:gd name="connsiteY8" fmla="*/ 91397 h 102317"/>
                    <a:gd name="connsiteX9" fmla="*/ 189956 w 191832"/>
                    <a:gd name="connsiteY9" fmla="*/ 100435 h 102317"/>
                    <a:gd name="connsiteX10" fmla="*/ 185425 w 191832"/>
                    <a:gd name="connsiteY10" fmla="*/ 102318 h 10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1832" h="102317">
                      <a:moveTo>
                        <a:pt x="185425" y="102318"/>
                      </a:moveTo>
                      <a:cubicBezTo>
                        <a:pt x="183790" y="102318"/>
                        <a:pt x="182156" y="101698"/>
                        <a:pt x="180893" y="100435"/>
                      </a:cubicBezTo>
                      <a:lnTo>
                        <a:pt x="95904" y="15446"/>
                      </a:lnTo>
                      <a:lnTo>
                        <a:pt x="10915" y="100435"/>
                      </a:lnTo>
                      <a:cubicBezTo>
                        <a:pt x="8414" y="102937"/>
                        <a:pt x="4377" y="102937"/>
                        <a:pt x="1876" y="100435"/>
                      </a:cubicBezTo>
                      <a:cubicBezTo>
                        <a:pt x="-625" y="97934"/>
                        <a:pt x="-625" y="93898"/>
                        <a:pt x="1876" y="91397"/>
                      </a:cubicBezTo>
                      <a:lnTo>
                        <a:pt x="91397" y="1876"/>
                      </a:lnTo>
                      <a:cubicBezTo>
                        <a:pt x="93898" y="-625"/>
                        <a:pt x="97934" y="-625"/>
                        <a:pt x="100436" y="1876"/>
                      </a:cubicBezTo>
                      <a:lnTo>
                        <a:pt x="189956" y="91397"/>
                      </a:lnTo>
                      <a:cubicBezTo>
                        <a:pt x="192457" y="93898"/>
                        <a:pt x="192457" y="97934"/>
                        <a:pt x="189956" y="100435"/>
                      </a:cubicBezTo>
                      <a:cubicBezTo>
                        <a:pt x="188693" y="101674"/>
                        <a:pt x="187059" y="102318"/>
                        <a:pt x="185425" y="102318"/>
                      </a:cubicBezTo>
                      <a:close/>
                    </a:path>
                  </a:pathLst>
                </a:custGeom>
                <a:solidFill>
                  <a:schemeClr val="accent1"/>
                </a:solidFill>
                <a:ln w="2473" cap="flat">
                  <a:noFill/>
                  <a:prstDash val="solid"/>
                  <a:miter/>
                </a:ln>
              </p:spPr>
              <p:txBody>
                <a:bodyPr rtlCol="0" anchor="ctr"/>
                <a:lstStyle/>
                <a:p>
                  <a:endParaRPr lang="en-GB" dirty="0"/>
                </a:p>
              </p:txBody>
            </p:sp>
            <p:sp>
              <p:nvSpPr>
                <p:cNvPr id="259" name="Freihandform: Form 417">
                  <a:extLst>
                    <a:ext uri="{FF2B5EF4-FFF2-40B4-BE49-F238E27FC236}">
                      <a16:creationId xmlns:a16="http://schemas.microsoft.com/office/drawing/2014/main" id="{E27E52C8-736F-43FC-B35D-37E3F6EECE04}"/>
                    </a:ext>
                  </a:extLst>
                </p:cNvPr>
                <p:cNvSpPr/>
                <p:nvPr/>
              </p:nvSpPr>
              <p:spPr>
                <a:xfrm>
                  <a:off x="3614030" y="2675328"/>
                  <a:ext cx="191794" cy="12778"/>
                </a:xfrm>
                <a:custGeom>
                  <a:avLst/>
                  <a:gdLst>
                    <a:gd name="connsiteX0" fmla="*/ 185406 w 191794"/>
                    <a:gd name="connsiteY0" fmla="*/ 12778 h 12778"/>
                    <a:gd name="connsiteX1" fmla="*/ 6389 w 191794"/>
                    <a:gd name="connsiteY1" fmla="*/ 12778 h 12778"/>
                    <a:gd name="connsiteX2" fmla="*/ 0 w 191794"/>
                    <a:gd name="connsiteY2" fmla="*/ 6389 h 12778"/>
                    <a:gd name="connsiteX3" fmla="*/ 6389 w 191794"/>
                    <a:gd name="connsiteY3" fmla="*/ 0 h 12778"/>
                    <a:gd name="connsiteX4" fmla="*/ 185406 w 191794"/>
                    <a:gd name="connsiteY4" fmla="*/ 0 h 12778"/>
                    <a:gd name="connsiteX5" fmla="*/ 191795 w 191794"/>
                    <a:gd name="connsiteY5" fmla="*/ 6389 h 12778"/>
                    <a:gd name="connsiteX6" fmla="*/ 185406 w 191794"/>
                    <a:gd name="connsiteY6" fmla="*/ 12778 h 1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794" h="12778">
                      <a:moveTo>
                        <a:pt x="185406" y="12778"/>
                      </a:moveTo>
                      <a:lnTo>
                        <a:pt x="6389" y="12778"/>
                      </a:lnTo>
                      <a:cubicBezTo>
                        <a:pt x="2848" y="12778"/>
                        <a:pt x="0" y="9905"/>
                        <a:pt x="0" y="6389"/>
                      </a:cubicBezTo>
                      <a:cubicBezTo>
                        <a:pt x="0" y="2848"/>
                        <a:pt x="2848" y="0"/>
                        <a:pt x="6389" y="0"/>
                      </a:cubicBezTo>
                      <a:lnTo>
                        <a:pt x="185406" y="0"/>
                      </a:lnTo>
                      <a:cubicBezTo>
                        <a:pt x="188947" y="0"/>
                        <a:pt x="191795" y="2873"/>
                        <a:pt x="191795" y="6389"/>
                      </a:cubicBezTo>
                      <a:cubicBezTo>
                        <a:pt x="191795" y="9905"/>
                        <a:pt x="188923" y="12778"/>
                        <a:pt x="185406" y="12778"/>
                      </a:cubicBezTo>
                      <a:close/>
                    </a:path>
                  </a:pathLst>
                </a:custGeom>
                <a:solidFill>
                  <a:schemeClr val="accent1"/>
                </a:solidFill>
                <a:ln w="2473" cap="flat">
                  <a:noFill/>
                  <a:prstDash val="solid"/>
                  <a:miter/>
                </a:ln>
              </p:spPr>
              <p:txBody>
                <a:bodyPr rtlCol="0" anchor="ctr"/>
                <a:lstStyle/>
                <a:p>
                  <a:endParaRPr lang="en-GB" dirty="0"/>
                </a:p>
              </p:txBody>
            </p:sp>
          </p:grpSp>
          <p:grpSp>
            <p:nvGrpSpPr>
              <p:cNvPr id="253" name="Grafik 179">
                <a:extLst>
                  <a:ext uri="{FF2B5EF4-FFF2-40B4-BE49-F238E27FC236}">
                    <a16:creationId xmlns:a16="http://schemas.microsoft.com/office/drawing/2014/main" id="{98D5A11C-0BE7-4501-A997-D17B7622A1BF}"/>
                  </a:ext>
                </a:extLst>
              </p:cNvPr>
              <p:cNvGrpSpPr/>
              <p:nvPr/>
            </p:nvGrpSpPr>
            <p:grpSpPr>
              <a:xfrm>
                <a:off x="3332690" y="2585788"/>
                <a:ext cx="191838" cy="191813"/>
                <a:chOff x="3332690" y="2585788"/>
                <a:chExt cx="191838" cy="191813"/>
              </a:xfrm>
              <a:solidFill>
                <a:schemeClr val="accent1"/>
              </a:solidFill>
            </p:grpSpPr>
            <p:sp>
              <p:nvSpPr>
                <p:cNvPr id="254" name="Freihandform: Form 419">
                  <a:extLst>
                    <a:ext uri="{FF2B5EF4-FFF2-40B4-BE49-F238E27FC236}">
                      <a16:creationId xmlns:a16="http://schemas.microsoft.com/office/drawing/2014/main" id="{F4494BE8-0F59-46CE-A3C4-34B7871B51E5}"/>
                    </a:ext>
                  </a:extLst>
                </p:cNvPr>
                <p:cNvSpPr/>
                <p:nvPr/>
              </p:nvSpPr>
              <p:spPr>
                <a:xfrm>
                  <a:off x="3332690" y="2675303"/>
                  <a:ext cx="191770" cy="102298"/>
                </a:xfrm>
                <a:custGeom>
                  <a:avLst/>
                  <a:gdLst>
                    <a:gd name="connsiteX0" fmla="*/ 95910 w 191770"/>
                    <a:gd name="connsiteY0" fmla="*/ 102299 h 102298"/>
                    <a:gd name="connsiteX1" fmla="*/ 0 w 191770"/>
                    <a:gd name="connsiteY1" fmla="*/ 6389 h 102298"/>
                    <a:gd name="connsiteX2" fmla="*/ 6389 w 191770"/>
                    <a:gd name="connsiteY2" fmla="*/ 0 h 102298"/>
                    <a:gd name="connsiteX3" fmla="*/ 12778 w 191770"/>
                    <a:gd name="connsiteY3" fmla="*/ 6389 h 102298"/>
                    <a:gd name="connsiteX4" fmla="*/ 95885 w 191770"/>
                    <a:gd name="connsiteY4" fmla="*/ 89496 h 102298"/>
                    <a:gd name="connsiteX5" fmla="*/ 178992 w 191770"/>
                    <a:gd name="connsiteY5" fmla="*/ 6389 h 102298"/>
                    <a:gd name="connsiteX6" fmla="*/ 185381 w 191770"/>
                    <a:gd name="connsiteY6" fmla="*/ 0 h 102298"/>
                    <a:gd name="connsiteX7" fmla="*/ 191770 w 191770"/>
                    <a:gd name="connsiteY7" fmla="*/ 6389 h 102298"/>
                    <a:gd name="connsiteX8" fmla="*/ 95910 w 191770"/>
                    <a:gd name="connsiteY8" fmla="*/ 102299 h 10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770" h="102298">
                      <a:moveTo>
                        <a:pt x="95910" y="102299"/>
                      </a:moveTo>
                      <a:cubicBezTo>
                        <a:pt x="43015" y="102299"/>
                        <a:pt x="0" y="59284"/>
                        <a:pt x="0" y="6389"/>
                      </a:cubicBezTo>
                      <a:cubicBezTo>
                        <a:pt x="0" y="2848"/>
                        <a:pt x="2848" y="0"/>
                        <a:pt x="6389" y="0"/>
                      </a:cubicBezTo>
                      <a:cubicBezTo>
                        <a:pt x="9930" y="0"/>
                        <a:pt x="12778" y="2873"/>
                        <a:pt x="12778" y="6389"/>
                      </a:cubicBezTo>
                      <a:cubicBezTo>
                        <a:pt x="12778" y="52227"/>
                        <a:pt x="50072" y="89496"/>
                        <a:pt x="95885" y="89496"/>
                      </a:cubicBezTo>
                      <a:cubicBezTo>
                        <a:pt x="141723" y="89496"/>
                        <a:pt x="178992" y="52202"/>
                        <a:pt x="178992" y="6389"/>
                      </a:cubicBezTo>
                      <a:cubicBezTo>
                        <a:pt x="178992" y="2848"/>
                        <a:pt x="181840" y="0"/>
                        <a:pt x="185381" y="0"/>
                      </a:cubicBezTo>
                      <a:cubicBezTo>
                        <a:pt x="188922" y="0"/>
                        <a:pt x="191770" y="2873"/>
                        <a:pt x="191770" y="6389"/>
                      </a:cubicBezTo>
                      <a:cubicBezTo>
                        <a:pt x="191820" y="59284"/>
                        <a:pt x="148780" y="102299"/>
                        <a:pt x="95910" y="102299"/>
                      </a:cubicBezTo>
                      <a:close/>
                    </a:path>
                  </a:pathLst>
                </a:custGeom>
                <a:solidFill>
                  <a:schemeClr val="accent1"/>
                </a:solidFill>
                <a:ln w="2473" cap="flat">
                  <a:noFill/>
                  <a:prstDash val="solid"/>
                  <a:miter/>
                </a:ln>
              </p:spPr>
              <p:txBody>
                <a:bodyPr rtlCol="0" anchor="ctr"/>
                <a:lstStyle/>
                <a:p>
                  <a:endParaRPr lang="en-GB" dirty="0"/>
                </a:p>
              </p:txBody>
            </p:sp>
            <p:sp>
              <p:nvSpPr>
                <p:cNvPr id="255" name="Freihandform: Form 420">
                  <a:extLst>
                    <a:ext uri="{FF2B5EF4-FFF2-40B4-BE49-F238E27FC236}">
                      <a16:creationId xmlns:a16="http://schemas.microsoft.com/office/drawing/2014/main" id="{8889BFD2-C585-4A6F-8C9E-00BEF4C31769}"/>
                    </a:ext>
                  </a:extLst>
                </p:cNvPr>
                <p:cNvSpPr/>
                <p:nvPr/>
              </p:nvSpPr>
              <p:spPr>
                <a:xfrm>
                  <a:off x="3332696" y="2585788"/>
                  <a:ext cx="191832" cy="102317"/>
                </a:xfrm>
                <a:custGeom>
                  <a:avLst/>
                  <a:gdLst>
                    <a:gd name="connsiteX0" fmla="*/ 185425 w 191832"/>
                    <a:gd name="connsiteY0" fmla="*/ 102318 h 102317"/>
                    <a:gd name="connsiteX1" fmla="*/ 180893 w 191832"/>
                    <a:gd name="connsiteY1" fmla="*/ 100435 h 102317"/>
                    <a:gd name="connsiteX2" fmla="*/ 95904 w 191832"/>
                    <a:gd name="connsiteY2" fmla="*/ 15446 h 102317"/>
                    <a:gd name="connsiteX3" fmla="*/ 10915 w 191832"/>
                    <a:gd name="connsiteY3" fmla="*/ 100435 h 102317"/>
                    <a:gd name="connsiteX4" fmla="*/ 1876 w 191832"/>
                    <a:gd name="connsiteY4" fmla="*/ 100435 h 102317"/>
                    <a:gd name="connsiteX5" fmla="*/ 1876 w 191832"/>
                    <a:gd name="connsiteY5" fmla="*/ 91397 h 102317"/>
                    <a:gd name="connsiteX6" fmla="*/ 91397 w 191832"/>
                    <a:gd name="connsiteY6" fmla="*/ 1876 h 102317"/>
                    <a:gd name="connsiteX7" fmla="*/ 100435 w 191832"/>
                    <a:gd name="connsiteY7" fmla="*/ 1876 h 102317"/>
                    <a:gd name="connsiteX8" fmla="*/ 189956 w 191832"/>
                    <a:gd name="connsiteY8" fmla="*/ 91397 h 102317"/>
                    <a:gd name="connsiteX9" fmla="*/ 189956 w 191832"/>
                    <a:gd name="connsiteY9" fmla="*/ 100435 h 102317"/>
                    <a:gd name="connsiteX10" fmla="*/ 185425 w 191832"/>
                    <a:gd name="connsiteY10" fmla="*/ 102318 h 10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1832" h="102317">
                      <a:moveTo>
                        <a:pt x="185425" y="102318"/>
                      </a:moveTo>
                      <a:cubicBezTo>
                        <a:pt x="183790" y="102318"/>
                        <a:pt x="182156" y="101698"/>
                        <a:pt x="180893" y="100435"/>
                      </a:cubicBezTo>
                      <a:lnTo>
                        <a:pt x="95904" y="15446"/>
                      </a:lnTo>
                      <a:lnTo>
                        <a:pt x="10915" y="100435"/>
                      </a:lnTo>
                      <a:cubicBezTo>
                        <a:pt x="8413" y="102937"/>
                        <a:pt x="4377" y="102937"/>
                        <a:pt x="1876" y="100435"/>
                      </a:cubicBezTo>
                      <a:cubicBezTo>
                        <a:pt x="-625" y="97934"/>
                        <a:pt x="-625" y="93898"/>
                        <a:pt x="1876" y="91397"/>
                      </a:cubicBezTo>
                      <a:lnTo>
                        <a:pt x="91397" y="1876"/>
                      </a:lnTo>
                      <a:cubicBezTo>
                        <a:pt x="93898" y="-625"/>
                        <a:pt x="97934" y="-625"/>
                        <a:pt x="100435" y="1876"/>
                      </a:cubicBezTo>
                      <a:lnTo>
                        <a:pt x="189956" y="91397"/>
                      </a:lnTo>
                      <a:cubicBezTo>
                        <a:pt x="192457" y="93898"/>
                        <a:pt x="192457" y="97934"/>
                        <a:pt x="189956" y="100435"/>
                      </a:cubicBezTo>
                      <a:cubicBezTo>
                        <a:pt x="188693" y="101674"/>
                        <a:pt x="187059" y="102318"/>
                        <a:pt x="185425" y="102318"/>
                      </a:cubicBezTo>
                      <a:close/>
                    </a:path>
                  </a:pathLst>
                </a:custGeom>
                <a:solidFill>
                  <a:schemeClr val="accent1"/>
                </a:solidFill>
                <a:ln w="2473" cap="flat">
                  <a:noFill/>
                  <a:prstDash val="solid"/>
                  <a:miter/>
                </a:ln>
              </p:spPr>
              <p:txBody>
                <a:bodyPr rtlCol="0" anchor="ctr"/>
                <a:lstStyle/>
                <a:p>
                  <a:endParaRPr lang="en-GB" dirty="0"/>
                </a:p>
              </p:txBody>
            </p:sp>
            <p:sp>
              <p:nvSpPr>
                <p:cNvPr id="256" name="Freihandform: Form 421">
                  <a:extLst>
                    <a:ext uri="{FF2B5EF4-FFF2-40B4-BE49-F238E27FC236}">
                      <a16:creationId xmlns:a16="http://schemas.microsoft.com/office/drawing/2014/main" id="{A52E0003-2442-4823-BF9E-DA888013DA2A}"/>
                    </a:ext>
                  </a:extLst>
                </p:cNvPr>
                <p:cNvSpPr/>
                <p:nvPr/>
              </p:nvSpPr>
              <p:spPr>
                <a:xfrm>
                  <a:off x="3332714" y="2675328"/>
                  <a:ext cx="191795" cy="12778"/>
                </a:xfrm>
                <a:custGeom>
                  <a:avLst/>
                  <a:gdLst>
                    <a:gd name="connsiteX0" fmla="*/ 185406 w 191795"/>
                    <a:gd name="connsiteY0" fmla="*/ 12778 h 12778"/>
                    <a:gd name="connsiteX1" fmla="*/ 6389 w 191795"/>
                    <a:gd name="connsiteY1" fmla="*/ 12778 h 12778"/>
                    <a:gd name="connsiteX2" fmla="*/ 0 w 191795"/>
                    <a:gd name="connsiteY2" fmla="*/ 6389 h 12778"/>
                    <a:gd name="connsiteX3" fmla="*/ 6389 w 191795"/>
                    <a:gd name="connsiteY3" fmla="*/ 0 h 12778"/>
                    <a:gd name="connsiteX4" fmla="*/ 185406 w 191795"/>
                    <a:gd name="connsiteY4" fmla="*/ 0 h 12778"/>
                    <a:gd name="connsiteX5" fmla="*/ 191795 w 191795"/>
                    <a:gd name="connsiteY5" fmla="*/ 6389 h 12778"/>
                    <a:gd name="connsiteX6" fmla="*/ 185406 w 191795"/>
                    <a:gd name="connsiteY6" fmla="*/ 12778 h 1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1795" h="12778">
                      <a:moveTo>
                        <a:pt x="185406" y="12778"/>
                      </a:moveTo>
                      <a:lnTo>
                        <a:pt x="6389" y="12778"/>
                      </a:lnTo>
                      <a:cubicBezTo>
                        <a:pt x="2848" y="12778"/>
                        <a:pt x="0" y="9905"/>
                        <a:pt x="0" y="6389"/>
                      </a:cubicBezTo>
                      <a:cubicBezTo>
                        <a:pt x="0" y="2848"/>
                        <a:pt x="2848" y="0"/>
                        <a:pt x="6389" y="0"/>
                      </a:cubicBezTo>
                      <a:lnTo>
                        <a:pt x="185406" y="0"/>
                      </a:lnTo>
                      <a:cubicBezTo>
                        <a:pt x="188947" y="0"/>
                        <a:pt x="191795" y="2873"/>
                        <a:pt x="191795" y="6389"/>
                      </a:cubicBezTo>
                      <a:cubicBezTo>
                        <a:pt x="191795" y="9905"/>
                        <a:pt x="188922" y="12778"/>
                        <a:pt x="185406" y="12778"/>
                      </a:cubicBezTo>
                      <a:close/>
                    </a:path>
                  </a:pathLst>
                </a:custGeom>
                <a:solidFill>
                  <a:schemeClr val="accent1"/>
                </a:solidFill>
                <a:ln w="2473" cap="flat">
                  <a:noFill/>
                  <a:prstDash val="solid"/>
                  <a:miter/>
                </a:ln>
              </p:spPr>
              <p:txBody>
                <a:bodyPr rtlCol="0" anchor="ctr"/>
                <a:lstStyle/>
                <a:p>
                  <a:endParaRPr lang="en-GB" dirty="0"/>
                </a:p>
              </p:txBody>
            </p:sp>
          </p:grpSp>
        </p:grpSp>
        <p:grpSp>
          <p:nvGrpSpPr>
            <p:cNvPr id="246" name="Group 245">
              <a:extLst>
                <a:ext uri="{FF2B5EF4-FFF2-40B4-BE49-F238E27FC236}">
                  <a16:creationId xmlns:a16="http://schemas.microsoft.com/office/drawing/2014/main" id="{ADB3BC9A-55DC-41CB-92FC-D5A9755E246E}"/>
                </a:ext>
              </a:extLst>
            </p:cNvPr>
            <p:cNvGrpSpPr/>
            <p:nvPr/>
          </p:nvGrpSpPr>
          <p:grpSpPr>
            <a:xfrm>
              <a:off x="665612" y="4002611"/>
              <a:ext cx="262690" cy="432000"/>
              <a:chOff x="3428599" y="2445124"/>
              <a:chExt cx="287704" cy="473136"/>
            </a:xfrm>
          </p:grpSpPr>
          <p:sp>
            <p:nvSpPr>
              <p:cNvPr id="247" name="Freihandform: Form 413">
                <a:extLst>
                  <a:ext uri="{FF2B5EF4-FFF2-40B4-BE49-F238E27FC236}">
                    <a16:creationId xmlns:a16="http://schemas.microsoft.com/office/drawing/2014/main" id="{C8CB045F-7CB1-481B-B897-82B811AF8082}"/>
                  </a:ext>
                </a:extLst>
              </p:cNvPr>
              <p:cNvSpPr/>
              <p:nvPr/>
            </p:nvSpPr>
            <p:spPr>
              <a:xfrm>
                <a:off x="3537288" y="2445124"/>
                <a:ext cx="63939" cy="63939"/>
              </a:xfrm>
              <a:custGeom>
                <a:avLst/>
                <a:gdLst>
                  <a:gd name="connsiteX0" fmla="*/ 31970 w 63939"/>
                  <a:gd name="connsiteY0" fmla="*/ 63940 h 63939"/>
                  <a:gd name="connsiteX1" fmla="*/ 0 w 63939"/>
                  <a:gd name="connsiteY1" fmla="*/ 31970 h 63939"/>
                  <a:gd name="connsiteX2" fmla="*/ 31970 w 63939"/>
                  <a:gd name="connsiteY2" fmla="*/ 0 h 63939"/>
                  <a:gd name="connsiteX3" fmla="*/ 63940 w 63939"/>
                  <a:gd name="connsiteY3" fmla="*/ 31970 h 63939"/>
                  <a:gd name="connsiteX4" fmla="*/ 31970 w 63939"/>
                  <a:gd name="connsiteY4" fmla="*/ 63940 h 63939"/>
                  <a:gd name="connsiteX5" fmla="*/ 31970 w 63939"/>
                  <a:gd name="connsiteY5" fmla="*/ 12803 h 63939"/>
                  <a:gd name="connsiteX6" fmla="*/ 12778 w 63939"/>
                  <a:gd name="connsiteY6" fmla="*/ 31995 h 63939"/>
                  <a:gd name="connsiteX7" fmla="*/ 31970 w 63939"/>
                  <a:gd name="connsiteY7" fmla="*/ 51187 h 63939"/>
                  <a:gd name="connsiteX8" fmla="*/ 51162 w 63939"/>
                  <a:gd name="connsiteY8" fmla="*/ 31995 h 63939"/>
                  <a:gd name="connsiteX9" fmla="*/ 31970 w 63939"/>
                  <a:gd name="connsiteY9" fmla="*/ 12803 h 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39" h="63939">
                    <a:moveTo>
                      <a:pt x="31970" y="63940"/>
                    </a:moveTo>
                    <a:cubicBezTo>
                      <a:pt x="14338" y="63940"/>
                      <a:pt x="0" y="49602"/>
                      <a:pt x="0" y="31970"/>
                    </a:cubicBezTo>
                    <a:cubicBezTo>
                      <a:pt x="0" y="14338"/>
                      <a:pt x="14338" y="0"/>
                      <a:pt x="31970" y="0"/>
                    </a:cubicBezTo>
                    <a:cubicBezTo>
                      <a:pt x="49602" y="0"/>
                      <a:pt x="63940" y="14338"/>
                      <a:pt x="63940" y="31970"/>
                    </a:cubicBezTo>
                    <a:cubicBezTo>
                      <a:pt x="63940" y="49602"/>
                      <a:pt x="49602" y="63940"/>
                      <a:pt x="31970" y="63940"/>
                    </a:cubicBezTo>
                    <a:close/>
                    <a:moveTo>
                      <a:pt x="31970" y="12803"/>
                    </a:moveTo>
                    <a:cubicBezTo>
                      <a:pt x="21396" y="12803"/>
                      <a:pt x="12778" y="21396"/>
                      <a:pt x="12778" y="31995"/>
                    </a:cubicBezTo>
                    <a:cubicBezTo>
                      <a:pt x="12778" y="42594"/>
                      <a:pt x="21371" y="51187"/>
                      <a:pt x="31970" y="51187"/>
                    </a:cubicBezTo>
                    <a:cubicBezTo>
                      <a:pt x="42544" y="51187"/>
                      <a:pt x="51162" y="42594"/>
                      <a:pt x="51162" y="31995"/>
                    </a:cubicBezTo>
                    <a:cubicBezTo>
                      <a:pt x="51162" y="21396"/>
                      <a:pt x="42544" y="12803"/>
                      <a:pt x="31970" y="12803"/>
                    </a:cubicBezTo>
                    <a:close/>
                  </a:path>
                </a:pathLst>
              </a:custGeom>
              <a:solidFill>
                <a:schemeClr val="tx2"/>
              </a:solidFill>
              <a:ln w="2473" cap="flat">
                <a:noFill/>
                <a:prstDash val="solid"/>
                <a:miter/>
              </a:ln>
            </p:spPr>
            <p:txBody>
              <a:bodyPr rtlCol="0" anchor="ctr"/>
              <a:lstStyle/>
              <a:p>
                <a:endParaRPr lang="en-GB" dirty="0"/>
              </a:p>
            </p:txBody>
          </p:sp>
          <p:sp>
            <p:nvSpPr>
              <p:cNvPr id="248" name="Freihandform: Form 422">
                <a:extLst>
                  <a:ext uri="{FF2B5EF4-FFF2-40B4-BE49-F238E27FC236}">
                    <a16:creationId xmlns:a16="http://schemas.microsoft.com/office/drawing/2014/main" id="{58393FCD-01B8-4B4B-B04D-A43ADE235F2A}"/>
                  </a:ext>
                </a:extLst>
              </p:cNvPr>
              <p:cNvSpPr/>
              <p:nvPr/>
            </p:nvSpPr>
            <p:spPr>
              <a:xfrm>
                <a:off x="3562868" y="2502675"/>
                <a:ext cx="12778" cy="383614"/>
              </a:xfrm>
              <a:custGeom>
                <a:avLst/>
                <a:gdLst>
                  <a:gd name="connsiteX0" fmla="*/ 0 w 12778"/>
                  <a:gd name="connsiteY0" fmla="*/ 0 h 383614"/>
                  <a:gd name="connsiteX1" fmla="*/ 12778 w 12778"/>
                  <a:gd name="connsiteY1" fmla="*/ 0 h 383614"/>
                  <a:gd name="connsiteX2" fmla="*/ 12778 w 12778"/>
                  <a:gd name="connsiteY2" fmla="*/ 383615 h 383614"/>
                  <a:gd name="connsiteX3" fmla="*/ 0 w 12778"/>
                  <a:gd name="connsiteY3" fmla="*/ 383615 h 383614"/>
                </a:gdLst>
                <a:ahLst/>
                <a:cxnLst>
                  <a:cxn ang="0">
                    <a:pos x="connsiteX0" y="connsiteY0"/>
                  </a:cxn>
                  <a:cxn ang="0">
                    <a:pos x="connsiteX1" y="connsiteY1"/>
                  </a:cxn>
                  <a:cxn ang="0">
                    <a:pos x="connsiteX2" y="connsiteY2"/>
                  </a:cxn>
                  <a:cxn ang="0">
                    <a:pos x="connsiteX3" y="connsiteY3"/>
                  </a:cxn>
                </a:cxnLst>
                <a:rect l="l" t="t" r="r" b="b"/>
                <a:pathLst>
                  <a:path w="12778" h="383614">
                    <a:moveTo>
                      <a:pt x="0" y="0"/>
                    </a:moveTo>
                    <a:lnTo>
                      <a:pt x="12778" y="0"/>
                    </a:lnTo>
                    <a:lnTo>
                      <a:pt x="12778" y="383615"/>
                    </a:lnTo>
                    <a:lnTo>
                      <a:pt x="0" y="383615"/>
                    </a:lnTo>
                    <a:close/>
                  </a:path>
                </a:pathLst>
              </a:custGeom>
              <a:solidFill>
                <a:schemeClr val="tx2"/>
              </a:solidFill>
              <a:ln w="2473" cap="flat">
                <a:noFill/>
                <a:prstDash val="solid"/>
                <a:miter/>
              </a:ln>
            </p:spPr>
            <p:txBody>
              <a:bodyPr rtlCol="0" anchor="ctr"/>
              <a:lstStyle/>
              <a:p>
                <a:endParaRPr lang="en-GB" dirty="0"/>
              </a:p>
            </p:txBody>
          </p:sp>
          <p:sp>
            <p:nvSpPr>
              <p:cNvPr id="249" name="Freihandform: Form 423">
                <a:extLst>
                  <a:ext uri="{FF2B5EF4-FFF2-40B4-BE49-F238E27FC236}">
                    <a16:creationId xmlns:a16="http://schemas.microsoft.com/office/drawing/2014/main" id="{3FF0600B-0D41-4136-B60C-816D1AEB014B}"/>
                  </a:ext>
                </a:extLst>
              </p:cNvPr>
              <p:cNvSpPr/>
              <p:nvPr/>
            </p:nvSpPr>
            <p:spPr>
              <a:xfrm>
                <a:off x="3505317" y="2879901"/>
                <a:ext cx="127879" cy="12778"/>
              </a:xfrm>
              <a:custGeom>
                <a:avLst/>
                <a:gdLst>
                  <a:gd name="connsiteX0" fmla="*/ 0 w 127879"/>
                  <a:gd name="connsiteY0" fmla="*/ 0 h 12778"/>
                  <a:gd name="connsiteX1" fmla="*/ 127880 w 127879"/>
                  <a:gd name="connsiteY1" fmla="*/ 0 h 12778"/>
                  <a:gd name="connsiteX2" fmla="*/ 127880 w 127879"/>
                  <a:gd name="connsiteY2" fmla="*/ 12778 h 12778"/>
                  <a:gd name="connsiteX3" fmla="*/ 0 w 127879"/>
                  <a:gd name="connsiteY3" fmla="*/ 12778 h 12778"/>
                </a:gdLst>
                <a:ahLst/>
                <a:cxnLst>
                  <a:cxn ang="0">
                    <a:pos x="connsiteX0" y="connsiteY0"/>
                  </a:cxn>
                  <a:cxn ang="0">
                    <a:pos x="connsiteX1" y="connsiteY1"/>
                  </a:cxn>
                  <a:cxn ang="0">
                    <a:pos x="connsiteX2" y="connsiteY2"/>
                  </a:cxn>
                  <a:cxn ang="0">
                    <a:pos x="connsiteX3" y="connsiteY3"/>
                  </a:cxn>
                </a:cxnLst>
                <a:rect l="l" t="t" r="r" b="b"/>
                <a:pathLst>
                  <a:path w="127879" h="12778">
                    <a:moveTo>
                      <a:pt x="0" y="0"/>
                    </a:moveTo>
                    <a:lnTo>
                      <a:pt x="127880" y="0"/>
                    </a:lnTo>
                    <a:lnTo>
                      <a:pt x="127880" y="12778"/>
                    </a:lnTo>
                    <a:lnTo>
                      <a:pt x="0" y="12778"/>
                    </a:lnTo>
                    <a:close/>
                  </a:path>
                </a:pathLst>
              </a:custGeom>
              <a:solidFill>
                <a:schemeClr val="tx2"/>
              </a:solidFill>
              <a:ln w="2473" cap="flat">
                <a:noFill/>
                <a:prstDash val="solid"/>
                <a:miter/>
              </a:ln>
            </p:spPr>
            <p:txBody>
              <a:bodyPr rtlCol="0" anchor="ctr"/>
              <a:lstStyle/>
              <a:p>
                <a:endParaRPr lang="en-GB" dirty="0"/>
              </a:p>
            </p:txBody>
          </p:sp>
          <p:sp>
            <p:nvSpPr>
              <p:cNvPr id="250" name="Freihandform: Form 424">
                <a:extLst>
                  <a:ext uri="{FF2B5EF4-FFF2-40B4-BE49-F238E27FC236}">
                    <a16:creationId xmlns:a16="http://schemas.microsoft.com/office/drawing/2014/main" id="{56D70CF7-146A-4E6A-80B0-31B68A16FE0C}"/>
                  </a:ext>
                </a:extLst>
              </p:cNvPr>
              <p:cNvSpPr/>
              <p:nvPr/>
            </p:nvSpPr>
            <p:spPr>
              <a:xfrm>
                <a:off x="3479737" y="2905482"/>
                <a:ext cx="179016" cy="12778"/>
              </a:xfrm>
              <a:custGeom>
                <a:avLst/>
                <a:gdLst>
                  <a:gd name="connsiteX0" fmla="*/ 0 w 179016"/>
                  <a:gd name="connsiteY0" fmla="*/ 0 h 12778"/>
                  <a:gd name="connsiteX1" fmla="*/ 179017 w 179016"/>
                  <a:gd name="connsiteY1" fmla="*/ 0 h 12778"/>
                  <a:gd name="connsiteX2" fmla="*/ 179017 w 179016"/>
                  <a:gd name="connsiteY2" fmla="*/ 12778 h 12778"/>
                  <a:gd name="connsiteX3" fmla="*/ 0 w 179016"/>
                  <a:gd name="connsiteY3" fmla="*/ 12778 h 12778"/>
                </a:gdLst>
                <a:ahLst/>
                <a:cxnLst>
                  <a:cxn ang="0">
                    <a:pos x="connsiteX0" y="connsiteY0"/>
                  </a:cxn>
                  <a:cxn ang="0">
                    <a:pos x="connsiteX1" y="connsiteY1"/>
                  </a:cxn>
                  <a:cxn ang="0">
                    <a:pos x="connsiteX2" y="connsiteY2"/>
                  </a:cxn>
                  <a:cxn ang="0">
                    <a:pos x="connsiteX3" y="connsiteY3"/>
                  </a:cxn>
                </a:cxnLst>
                <a:rect l="l" t="t" r="r" b="b"/>
                <a:pathLst>
                  <a:path w="179016" h="12778">
                    <a:moveTo>
                      <a:pt x="0" y="0"/>
                    </a:moveTo>
                    <a:lnTo>
                      <a:pt x="179017" y="0"/>
                    </a:lnTo>
                    <a:lnTo>
                      <a:pt x="179017" y="12778"/>
                    </a:lnTo>
                    <a:lnTo>
                      <a:pt x="0" y="12778"/>
                    </a:lnTo>
                    <a:close/>
                  </a:path>
                </a:pathLst>
              </a:custGeom>
              <a:solidFill>
                <a:schemeClr val="tx2"/>
              </a:solidFill>
              <a:ln w="2473" cap="flat">
                <a:noFill/>
                <a:prstDash val="solid"/>
                <a:miter/>
              </a:ln>
            </p:spPr>
            <p:txBody>
              <a:bodyPr rtlCol="0" anchor="ctr"/>
              <a:lstStyle/>
              <a:p>
                <a:endParaRPr lang="en-GB" dirty="0"/>
              </a:p>
            </p:txBody>
          </p:sp>
          <p:sp>
            <p:nvSpPr>
              <p:cNvPr id="251" name="Freihandform: Form 425">
                <a:extLst>
                  <a:ext uri="{FF2B5EF4-FFF2-40B4-BE49-F238E27FC236}">
                    <a16:creationId xmlns:a16="http://schemas.microsoft.com/office/drawing/2014/main" id="{F0814788-EFA0-4807-8924-6D3E7021A39D}"/>
                  </a:ext>
                </a:extLst>
              </p:cNvPr>
              <p:cNvSpPr/>
              <p:nvPr/>
            </p:nvSpPr>
            <p:spPr>
              <a:xfrm>
                <a:off x="3428599" y="2560226"/>
                <a:ext cx="287704" cy="12778"/>
              </a:xfrm>
              <a:custGeom>
                <a:avLst/>
                <a:gdLst>
                  <a:gd name="connsiteX0" fmla="*/ 0 w 287704"/>
                  <a:gd name="connsiteY0" fmla="*/ 0 h 12778"/>
                  <a:gd name="connsiteX1" fmla="*/ 287705 w 287704"/>
                  <a:gd name="connsiteY1" fmla="*/ 0 h 12778"/>
                  <a:gd name="connsiteX2" fmla="*/ 287705 w 287704"/>
                  <a:gd name="connsiteY2" fmla="*/ 12778 h 12778"/>
                  <a:gd name="connsiteX3" fmla="*/ 0 w 287704"/>
                  <a:gd name="connsiteY3" fmla="*/ 12778 h 12778"/>
                </a:gdLst>
                <a:ahLst/>
                <a:cxnLst>
                  <a:cxn ang="0">
                    <a:pos x="connsiteX0" y="connsiteY0"/>
                  </a:cxn>
                  <a:cxn ang="0">
                    <a:pos x="connsiteX1" y="connsiteY1"/>
                  </a:cxn>
                  <a:cxn ang="0">
                    <a:pos x="connsiteX2" y="connsiteY2"/>
                  </a:cxn>
                  <a:cxn ang="0">
                    <a:pos x="connsiteX3" y="connsiteY3"/>
                  </a:cxn>
                </a:cxnLst>
                <a:rect l="l" t="t" r="r" b="b"/>
                <a:pathLst>
                  <a:path w="287704" h="12778">
                    <a:moveTo>
                      <a:pt x="0" y="0"/>
                    </a:moveTo>
                    <a:lnTo>
                      <a:pt x="287705" y="0"/>
                    </a:lnTo>
                    <a:lnTo>
                      <a:pt x="287705" y="12778"/>
                    </a:lnTo>
                    <a:lnTo>
                      <a:pt x="0" y="12778"/>
                    </a:lnTo>
                    <a:close/>
                  </a:path>
                </a:pathLst>
              </a:custGeom>
              <a:solidFill>
                <a:schemeClr val="tx2"/>
              </a:solidFill>
              <a:ln w="2473" cap="flat">
                <a:noFill/>
                <a:prstDash val="solid"/>
                <a:miter/>
              </a:ln>
            </p:spPr>
            <p:txBody>
              <a:bodyPr rtlCol="0" anchor="ctr"/>
              <a:lstStyle/>
              <a:p>
                <a:endParaRPr lang="en-GB" dirty="0"/>
              </a:p>
            </p:txBody>
          </p:sp>
        </p:grpSp>
      </p:grpSp>
      <p:grpSp>
        <p:nvGrpSpPr>
          <p:cNvPr id="42" name="Group 41">
            <a:extLst>
              <a:ext uri="{FF2B5EF4-FFF2-40B4-BE49-F238E27FC236}">
                <a16:creationId xmlns:a16="http://schemas.microsoft.com/office/drawing/2014/main" id="{8D9DEB52-6288-2AE4-D7F6-1AD23D417D26}"/>
              </a:ext>
            </a:extLst>
          </p:cNvPr>
          <p:cNvGrpSpPr/>
          <p:nvPr/>
        </p:nvGrpSpPr>
        <p:grpSpPr>
          <a:xfrm>
            <a:off x="1628512" y="4002611"/>
            <a:ext cx="421944" cy="432000"/>
            <a:chOff x="1628512" y="4002611"/>
            <a:chExt cx="421944" cy="432000"/>
          </a:xfrm>
        </p:grpSpPr>
        <p:grpSp>
          <p:nvGrpSpPr>
            <p:cNvPr id="261" name="Grafik 179">
              <a:extLst>
                <a:ext uri="{FF2B5EF4-FFF2-40B4-BE49-F238E27FC236}">
                  <a16:creationId xmlns:a16="http://schemas.microsoft.com/office/drawing/2014/main" id="{E80633D1-45AA-45D1-AFF6-47B40109AFB2}"/>
                </a:ext>
              </a:extLst>
            </p:cNvPr>
            <p:cNvGrpSpPr/>
            <p:nvPr/>
          </p:nvGrpSpPr>
          <p:grpSpPr>
            <a:xfrm>
              <a:off x="1628512" y="4002611"/>
              <a:ext cx="421944" cy="262042"/>
              <a:chOff x="3339079" y="4109271"/>
              <a:chExt cx="460357" cy="285897"/>
            </a:xfrm>
            <a:solidFill>
              <a:schemeClr val="tx2"/>
            </a:solidFill>
          </p:grpSpPr>
          <p:sp>
            <p:nvSpPr>
              <p:cNvPr id="269" name="Freihandform: Form 531">
                <a:extLst>
                  <a:ext uri="{FF2B5EF4-FFF2-40B4-BE49-F238E27FC236}">
                    <a16:creationId xmlns:a16="http://schemas.microsoft.com/office/drawing/2014/main" id="{777AF64C-9D08-4012-B1D2-C1CE7EE5FAD4}"/>
                  </a:ext>
                </a:extLst>
              </p:cNvPr>
              <p:cNvSpPr/>
              <p:nvPr/>
            </p:nvSpPr>
            <p:spPr>
              <a:xfrm>
                <a:off x="3383851" y="4109271"/>
                <a:ext cx="212571" cy="177234"/>
              </a:xfrm>
              <a:custGeom>
                <a:avLst/>
                <a:gdLst>
                  <a:gd name="connsiteX0" fmla="*/ 46481 w 212571"/>
                  <a:gd name="connsiteY0" fmla="*/ 177234 h 177234"/>
                  <a:gd name="connsiteX1" fmla="*/ 0 w 212571"/>
                  <a:gd name="connsiteY1" fmla="*/ 177234 h 177234"/>
                  <a:gd name="connsiteX2" fmla="*/ 0 w 212571"/>
                  <a:gd name="connsiteY2" fmla="*/ 23798 h 177234"/>
                  <a:gd name="connsiteX3" fmla="*/ 56486 w 212571"/>
                  <a:gd name="connsiteY3" fmla="*/ 23798 h 177234"/>
                  <a:gd name="connsiteX4" fmla="*/ 114879 w 212571"/>
                  <a:gd name="connsiteY4" fmla="*/ 0 h 177234"/>
                  <a:gd name="connsiteX5" fmla="*/ 183945 w 212571"/>
                  <a:gd name="connsiteY5" fmla="*/ 0 h 177234"/>
                  <a:gd name="connsiteX6" fmla="*/ 212572 w 212571"/>
                  <a:gd name="connsiteY6" fmla="*/ 14140 h 177234"/>
                  <a:gd name="connsiteX7" fmla="*/ 201131 w 212571"/>
                  <a:gd name="connsiteY7" fmla="*/ 19861 h 177234"/>
                  <a:gd name="connsiteX8" fmla="*/ 183945 w 212571"/>
                  <a:gd name="connsiteY8" fmla="*/ 12778 h 177234"/>
                  <a:gd name="connsiteX9" fmla="*/ 114879 w 212571"/>
                  <a:gd name="connsiteY9" fmla="*/ 12778 h 177234"/>
                  <a:gd name="connsiteX10" fmla="*/ 63296 w 212571"/>
                  <a:gd name="connsiteY10" fmla="*/ 34867 h 177234"/>
                  <a:gd name="connsiteX11" fmla="*/ 61464 w 212571"/>
                  <a:gd name="connsiteY11" fmla="*/ 36576 h 177234"/>
                  <a:gd name="connsiteX12" fmla="*/ 12778 w 212571"/>
                  <a:gd name="connsiteY12" fmla="*/ 36576 h 177234"/>
                  <a:gd name="connsiteX13" fmla="*/ 12778 w 212571"/>
                  <a:gd name="connsiteY13" fmla="*/ 164456 h 177234"/>
                  <a:gd name="connsiteX14" fmla="*/ 46481 w 212571"/>
                  <a:gd name="connsiteY14" fmla="*/ 164456 h 177234"/>
                  <a:gd name="connsiteX15" fmla="*/ 46481 w 212571"/>
                  <a:gd name="connsiteY15" fmla="*/ 177234 h 17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571" h="177234">
                    <a:moveTo>
                      <a:pt x="46481" y="177234"/>
                    </a:moveTo>
                    <a:lnTo>
                      <a:pt x="0" y="177234"/>
                    </a:lnTo>
                    <a:lnTo>
                      <a:pt x="0" y="23798"/>
                    </a:lnTo>
                    <a:lnTo>
                      <a:pt x="56486" y="23798"/>
                    </a:lnTo>
                    <a:cubicBezTo>
                      <a:pt x="69908" y="11986"/>
                      <a:pt x="91700" y="0"/>
                      <a:pt x="114879" y="0"/>
                    </a:cubicBezTo>
                    <a:lnTo>
                      <a:pt x="183945" y="0"/>
                    </a:lnTo>
                    <a:cubicBezTo>
                      <a:pt x="198432" y="0"/>
                      <a:pt x="207792" y="4631"/>
                      <a:pt x="212572" y="14140"/>
                    </a:cubicBezTo>
                    <a:lnTo>
                      <a:pt x="201131" y="19861"/>
                    </a:lnTo>
                    <a:cubicBezTo>
                      <a:pt x="199472" y="16567"/>
                      <a:pt x="196030" y="12778"/>
                      <a:pt x="183945" y="12778"/>
                    </a:cubicBezTo>
                    <a:lnTo>
                      <a:pt x="114879" y="12778"/>
                    </a:lnTo>
                    <a:cubicBezTo>
                      <a:pt x="88307" y="12778"/>
                      <a:pt x="67258" y="31178"/>
                      <a:pt x="63296" y="34867"/>
                    </a:cubicBezTo>
                    <a:lnTo>
                      <a:pt x="61464" y="36576"/>
                    </a:lnTo>
                    <a:lnTo>
                      <a:pt x="12778" y="36576"/>
                    </a:lnTo>
                    <a:lnTo>
                      <a:pt x="12778" y="164456"/>
                    </a:lnTo>
                    <a:lnTo>
                      <a:pt x="46481" y="164456"/>
                    </a:lnTo>
                    <a:lnTo>
                      <a:pt x="46481" y="177234"/>
                    </a:lnTo>
                    <a:close/>
                  </a:path>
                </a:pathLst>
              </a:custGeom>
              <a:grpFill/>
              <a:ln w="2473" cap="flat">
                <a:noFill/>
                <a:prstDash val="solid"/>
                <a:miter/>
              </a:ln>
            </p:spPr>
            <p:txBody>
              <a:bodyPr rtlCol="0" anchor="ctr"/>
              <a:lstStyle/>
              <a:p>
                <a:endParaRPr lang="en-GB" dirty="0"/>
              </a:p>
            </p:txBody>
          </p:sp>
          <p:sp>
            <p:nvSpPr>
              <p:cNvPr id="270" name="Freihandform: Form 532">
                <a:extLst>
                  <a:ext uri="{FF2B5EF4-FFF2-40B4-BE49-F238E27FC236}">
                    <a16:creationId xmlns:a16="http://schemas.microsoft.com/office/drawing/2014/main" id="{21E9D47A-CF8F-4632-A05A-30FBEEDADC21}"/>
                  </a:ext>
                </a:extLst>
              </p:cNvPr>
              <p:cNvSpPr/>
              <p:nvPr/>
            </p:nvSpPr>
            <p:spPr>
              <a:xfrm>
                <a:off x="3477059" y="4120007"/>
                <a:ext cx="277629" cy="204856"/>
              </a:xfrm>
              <a:custGeom>
                <a:avLst/>
                <a:gdLst>
                  <a:gd name="connsiteX0" fmla="*/ 277604 w 277629"/>
                  <a:gd name="connsiteY0" fmla="*/ 204857 h 204856"/>
                  <a:gd name="connsiteX1" fmla="*/ 210396 w 277629"/>
                  <a:gd name="connsiteY1" fmla="*/ 204857 h 204856"/>
                  <a:gd name="connsiteX2" fmla="*/ 210396 w 277629"/>
                  <a:gd name="connsiteY2" fmla="*/ 192079 h 204856"/>
                  <a:gd name="connsiteX3" fmla="*/ 264826 w 277629"/>
                  <a:gd name="connsiteY3" fmla="*/ 192079 h 204856"/>
                  <a:gd name="connsiteX4" fmla="*/ 264826 w 277629"/>
                  <a:gd name="connsiteY4" fmla="*/ 64199 h 204856"/>
                  <a:gd name="connsiteX5" fmla="*/ 209628 w 277629"/>
                  <a:gd name="connsiteY5" fmla="*/ 64199 h 204856"/>
                  <a:gd name="connsiteX6" fmla="*/ 208662 w 277629"/>
                  <a:gd name="connsiteY6" fmla="*/ 58974 h 204856"/>
                  <a:gd name="connsiteX7" fmla="*/ 136724 w 277629"/>
                  <a:gd name="connsiteY7" fmla="*/ 13186 h 204856"/>
                  <a:gd name="connsiteX8" fmla="*/ 98785 w 277629"/>
                  <a:gd name="connsiteY8" fmla="*/ 12988 h 204856"/>
                  <a:gd name="connsiteX9" fmla="*/ 77885 w 277629"/>
                  <a:gd name="connsiteY9" fmla="*/ 22992 h 204856"/>
                  <a:gd name="connsiteX10" fmla="*/ 13326 w 277629"/>
                  <a:gd name="connsiteY10" fmla="*/ 87477 h 204856"/>
                  <a:gd name="connsiteX11" fmla="*/ 27540 w 277629"/>
                  <a:gd name="connsiteY11" fmla="*/ 95005 h 204856"/>
                  <a:gd name="connsiteX12" fmla="*/ 60947 w 277629"/>
                  <a:gd name="connsiteY12" fmla="*/ 91736 h 204856"/>
                  <a:gd name="connsiteX13" fmla="*/ 103615 w 277629"/>
                  <a:gd name="connsiteY13" fmla="*/ 49291 h 204856"/>
                  <a:gd name="connsiteX14" fmla="*/ 104283 w 277629"/>
                  <a:gd name="connsiteY14" fmla="*/ 48573 h 204856"/>
                  <a:gd name="connsiteX15" fmla="*/ 111663 w 277629"/>
                  <a:gd name="connsiteY15" fmla="*/ 40153 h 204856"/>
                  <a:gd name="connsiteX16" fmla="*/ 115352 w 277629"/>
                  <a:gd name="connsiteY16" fmla="*/ 50579 h 204856"/>
                  <a:gd name="connsiteX17" fmla="*/ 163072 w 277629"/>
                  <a:gd name="connsiteY17" fmla="*/ 74426 h 204856"/>
                  <a:gd name="connsiteX18" fmla="*/ 165177 w 277629"/>
                  <a:gd name="connsiteY18" fmla="*/ 73758 h 204856"/>
                  <a:gd name="connsiteX19" fmla="*/ 175825 w 277629"/>
                  <a:gd name="connsiteY19" fmla="*/ 68854 h 204856"/>
                  <a:gd name="connsiteX20" fmla="*/ 182784 w 277629"/>
                  <a:gd name="connsiteY20" fmla="*/ 79577 h 204856"/>
                  <a:gd name="connsiteX21" fmla="*/ 169238 w 277629"/>
                  <a:gd name="connsiteY21" fmla="*/ 85867 h 204856"/>
                  <a:gd name="connsiteX22" fmla="*/ 166712 w 277629"/>
                  <a:gd name="connsiteY22" fmla="*/ 86660 h 204856"/>
                  <a:gd name="connsiteX23" fmla="*/ 107230 w 277629"/>
                  <a:gd name="connsiteY23" fmla="*/ 63728 h 204856"/>
                  <a:gd name="connsiteX24" fmla="*/ 68871 w 277629"/>
                  <a:gd name="connsiteY24" fmla="*/ 101790 h 204856"/>
                  <a:gd name="connsiteX25" fmla="*/ 3519 w 277629"/>
                  <a:gd name="connsiteY25" fmla="*/ 95673 h 204856"/>
                  <a:gd name="connsiteX26" fmla="*/ 3346 w 277629"/>
                  <a:gd name="connsiteY26" fmla="*/ 79354 h 204856"/>
                  <a:gd name="connsiteX27" fmla="*/ 68896 w 277629"/>
                  <a:gd name="connsiteY27" fmla="*/ 13879 h 204856"/>
                  <a:gd name="connsiteX28" fmla="*/ 96953 w 277629"/>
                  <a:gd name="connsiteY28" fmla="*/ 333 h 204856"/>
                  <a:gd name="connsiteX29" fmla="*/ 137120 w 277629"/>
                  <a:gd name="connsiteY29" fmla="*/ 407 h 204856"/>
                  <a:gd name="connsiteX30" fmla="*/ 220078 w 277629"/>
                  <a:gd name="connsiteY30" fmla="*/ 51421 h 204856"/>
                  <a:gd name="connsiteX31" fmla="*/ 277629 w 277629"/>
                  <a:gd name="connsiteY31" fmla="*/ 51421 h 204856"/>
                  <a:gd name="connsiteX32" fmla="*/ 277629 w 277629"/>
                  <a:gd name="connsiteY32" fmla="*/ 204857 h 204856"/>
                  <a:gd name="connsiteX33" fmla="*/ 12335 w 277629"/>
                  <a:gd name="connsiteY33" fmla="*/ 88443 h 204856"/>
                  <a:gd name="connsiteX34" fmla="*/ 12335 w 277629"/>
                  <a:gd name="connsiteY34" fmla="*/ 88443 h 204856"/>
                  <a:gd name="connsiteX35" fmla="*/ 12335 w 277629"/>
                  <a:gd name="connsiteY35" fmla="*/ 88443 h 20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7629" h="204856">
                    <a:moveTo>
                      <a:pt x="277604" y="204857"/>
                    </a:moveTo>
                    <a:lnTo>
                      <a:pt x="210396" y="204857"/>
                    </a:lnTo>
                    <a:lnTo>
                      <a:pt x="210396" y="192079"/>
                    </a:lnTo>
                    <a:lnTo>
                      <a:pt x="264826" y="192079"/>
                    </a:lnTo>
                    <a:lnTo>
                      <a:pt x="264826" y="64199"/>
                    </a:lnTo>
                    <a:lnTo>
                      <a:pt x="209628" y="64199"/>
                    </a:lnTo>
                    <a:lnTo>
                      <a:pt x="208662" y="58974"/>
                    </a:lnTo>
                    <a:cubicBezTo>
                      <a:pt x="203536" y="30941"/>
                      <a:pt x="178005" y="14795"/>
                      <a:pt x="136724" y="13186"/>
                    </a:cubicBezTo>
                    <a:cubicBezTo>
                      <a:pt x="120231" y="12789"/>
                      <a:pt x="101509" y="12591"/>
                      <a:pt x="98785" y="12988"/>
                    </a:cubicBezTo>
                    <a:cubicBezTo>
                      <a:pt x="88657" y="14449"/>
                      <a:pt x="79717" y="21234"/>
                      <a:pt x="77885" y="22992"/>
                    </a:cubicBezTo>
                    <a:lnTo>
                      <a:pt x="13326" y="87477"/>
                    </a:lnTo>
                    <a:cubicBezTo>
                      <a:pt x="14985" y="89384"/>
                      <a:pt x="19814" y="92727"/>
                      <a:pt x="27540" y="95005"/>
                    </a:cubicBezTo>
                    <a:cubicBezTo>
                      <a:pt x="40269" y="98769"/>
                      <a:pt x="52725" y="97531"/>
                      <a:pt x="60947" y="91736"/>
                    </a:cubicBezTo>
                    <a:lnTo>
                      <a:pt x="103615" y="49291"/>
                    </a:lnTo>
                    <a:cubicBezTo>
                      <a:pt x="103936" y="48969"/>
                      <a:pt x="104110" y="48771"/>
                      <a:pt x="104283" y="48573"/>
                    </a:cubicBezTo>
                    <a:lnTo>
                      <a:pt x="111663" y="40153"/>
                    </a:lnTo>
                    <a:lnTo>
                      <a:pt x="115352" y="50579"/>
                    </a:lnTo>
                    <a:cubicBezTo>
                      <a:pt x="116516" y="54120"/>
                      <a:pt x="127784" y="84802"/>
                      <a:pt x="163072" y="74426"/>
                    </a:cubicBezTo>
                    <a:cubicBezTo>
                      <a:pt x="163765" y="74228"/>
                      <a:pt x="164459" y="74005"/>
                      <a:pt x="165177" y="73758"/>
                    </a:cubicBezTo>
                    <a:cubicBezTo>
                      <a:pt x="169412" y="72346"/>
                      <a:pt x="172978" y="70687"/>
                      <a:pt x="175825" y="68854"/>
                    </a:cubicBezTo>
                    <a:lnTo>
                      <a:pt x="182784" y="79577"/>
                    </a:lnTo>
                    <a:cubicBezTo>
                      <a:pt x="179045" y="82004"/>
                      <a:pt x="174488" y="84134"/>
                      <a:pt x="169238" y="85867"/>
                    </a:cubicBezTo>
                    <a:cubicBezTo>
                      <a:pt x="168371" y="86164"/>
                      <a:pt x="167530" y="86412"/>
                      <a:pt x="166712" y="86660"/>
                    </a:cubicBezTo>
                    <a:cubicBezTo>
                      <a:pt x="138209" y="95054"/>
                      <a:pt x="117235" y="81781"/>
                      <a:pt x="107230" y="63728"/>
                    </a:cubicBezTo>
                    <a:lnTo>
                      <a:pt x="68871" y="101790"/>
                    </a:lnTo>
                    <a:cubicBezTo>
                      <a:pt x="47054" y="117763"/>
                      <a:pt x="13450" y="107362"/>
                      <a:pt x="3519" y="95673"/>
                    </a:cubicBezTo>
                    <a:cubicBezTo>
                      <a:pt x="-2102" y="89037"/>
                      <a:pt x="-96" y="82747"/>
                      <a:pt x="3346" y="79354"/>
                    </a:cubicBezTo>
                    <a:lnTo>
                      <a:pt x="68896" y="13879"/>
                    </a:lnTo>
                    <a:cubicBezTo>
                      <a:pt x="69044" y="13730"/>
                      <a:pt x="80956" y="2636"/>
                      <a:pt x="96953" y="333"/>
                    </a:cubicBezTo>
                    <a:cubicBezTo>
                      <a:pt x="102128" y="-385"/>
                      <a:pt x="131325" y="259"/>
                      <a:pt x="137120" y="407"/>
                    </a:cubicBezTo>
                    <a:cubicBezTo>
                      <a:pt x="196751" y="2735"/>
                      <a:pt x="214779" y="31437"/>
                      <a:pt x="220078" y="51421"/>
                    </a:cubicBezTo>
                    <a:lnTo>
                      <a:pt x="277629" y="51421"/>
                    </a:lnTo>
                    <a:lnTo>
                      <a:pt x="277629" y="204857"/>
                    </a:lnTo>
                    <a:close/>
                    <a:moveTo>
                      <a:pt x="12335" y="88443"/>
                    </a:moveTo>
                    <a:lnTo>
                      <a:pt x="12335" y="88443"/>
                    </a:lnTo>
                    <a:lnTo>
                      <a:pt x="12335" y="88443"/>
                    </a:lnTo>
                    <a:close/>
                  </a:path>
                </a:pathLst>
              </a:custGeom>
              <a:grpFill/>
              <a:ln w="2473" cap="flat">
                <a:noFill/>
                <a:prstDash val="solid"/>
                <a:miter/>
              </a:ln>
            </p:spPr>
            <p:txBody>
              <a:bodyPr rtlCol="0" anchor="ctr"/>
              <a:lstStyle/>
              <a:p>
                <a:endParaRPr lang="en-GB" dirty="0"/>
              </a:p>
            </p:txBody>
          </p:sp>
          <p:sp>
            <p:nvSpPr>
              <p:cNvPr id="271" name="Freihandform: Form 533">
                <a:extLst>
                  <a:ext uri="{FF2B5EF4-FFF2-40B4-BE49-F238E27FC236}">
                    <a16:creationId xmlns:a16="http://schemas.microsoft.com/office/drawing/2014/main" id="{CD6B96BC-F271-4AB2-B33E-28525304ECDE}"/>
                  </a:ext>
                </a:extLst>
              </p:cNvPr>
              <p:cNvSpPr/>
              <p:nvPr/>
            </p:nvSpPr>
            <p:spPr>
              <a:xfrm>
                <a:off x="3572972" y="4196439"/>
                <a:ext cx="148930" cy="187783"/>
              </a:xfrm>
              <a:custGeom>
                <a:avLst/>
                <a:gdLst>
                  <a:gd name="connsiteX0" fmla="*/ 20851 w 148930"/>
                  <a:gd name="connsiteY0" fmla="*/ 187783 h 187783"/>
                  <a:gd name="connsiteX1" fmla="*/ 19340 w 148930"/>
                  <a:gd name="connsiteY1" fmla="*/ 187734 h 187783"/>
                  <a:gd name="connsiteX2" fmla="*/ 5052 w 148930"/>
                  <a:gd name="connsiteY2" fmla="*/ 180948 h 187783"/>
                  <a:gd name="connsiteX3" fmla="*/ 14660 w 148930"/>
                  <a:gd name="connsiteY3" fmla="*/ 172504 h 187783"/>
                  <a:gd name="connsiteX4" fmla="*/ 20157 w 148930"/>
                  <a:gd name="connsiteY4" fmla="*/ 174955 h 187783"/>
                  <a:gd name="connsiteX5" fmla="*/ 31004 w 148930"/>
                  <a:gd name="connsiteY5" fmla="*/ 170820 h 187783"/>
                  <a:gd name="connsiteX6" fmla="*/ 36477 w 148930"/>
                  <a:gd name="connsiteY6" fmla="*/ 160593 h 187783"/>
                  <a:gd name="connsiteX7" fmla="*/ 34743 w 148930"/>
                  <a:gd name="connsiteY7" fmla="*/ 154823 h 187783"/>
                  <a:gd name="connsiteX8" fmla="*/ 0 w 148930"/>
                  <a:gd name="connsiteY8" fmla="*/ 115671 h 187783"/>
                  <a:gd name="connsiteX9" fmla="*/ 9534 w 148930"/>
                  <a:gd name="connsiteY9" fmla="*/ 107152 h 187783"/>
                  <a:gd name="connsiteX10" fmla="*/ 58690 w 148930"/>
                  <a:gd name="connsiteY10" fmla="*/ 161806 h 187783"/>
                  <a:gd name="connsiteX11" fmla="*/ 75083 w 148930"/>
                  <a:gd name="connsiteY11" fmla="*/ 160196 h 187783"/>
                  <a:gd name="connsiteX12" fmla="*/ 78823 w 148930"/>
                  <a:gd name="connsiteY12" fmla="*/ 144199 h 187783"/>
                  <a:gd name="connsiteX13" fmla="*/ 2452 w 148930"/>
                  <a:gd name="connsiteY13" fmla="*/ 58145 h 187783"/>
                  <a:gd name="connsiteX14" fmla="*/ 9856 w 148930"/>
                  <a:gd name="connsiteY14" fmla="*/ 47175 h 187783"/>
                  <a:gd name="connsiteX15" fmla="*/ 15626 w 148930"/>
                  <a:gd name="connsiteY15" fmla="*/ 52945 h 187783"/>
                  <a:gd name="connsiteX16" fmla="*/ 86202 w 148930"/>
                  <a:gd name="connsiteY16" fmla="*/ 133105 h 187783"/>
                  <a:gd name="connsiteX17" fmla="*/ 102546 w 148930"/>
                  <a:gd name="connsiteY17" fmla="*/ 131421 h 187783"/>
                  <a:gd name="connsiteX18" fmla="*/ 106286 w 148930"/>
                  <a:gd name="connsiteY18" fmla="*/ 115424 h 187783"/>
                  <a:gd name="connsiteX19" fmla="*/ 25358 w 148930"/>
                  <a:gd name="connsiteY19" fmla="*/ 24243 h 187783"/>
                  <a:gd name="connsiteX20" fmla="*/ 32812 w 148930"/>
                  <a:gd name="connsiteY20" fmla="*/ 13323 h 187783"/>
                  <a:gd name="connsiteX21" fmla="*/ 38532 w 148930"/>
                  <a:gd name="connsiteY21" fmla="*/ 19093 h 187783"/>
                  <a:gd name="connsiteX22" fmla="*/ 114334 w 148930"/>
                  <a:gd name="connsiteY22" fmla="*/ 105196 h 187783"/>
                  <a:gd name="connsiteX23" fmla="*/ 121045 w 148930"/>
                  <a:gd name="connsiteY23" fmla="*/ 107673 h 187783"/>
                  <a:gd name="connsiteX24" fmla="*/ 130678 w 148930"/>
                  <a:gd name="connsiteY24" fmla="*/ 103512 h 187783"/>
                  <a:gd name="connsiteX25" fmla="*/ 136002 w 148930"/>
                  <a:gd name="connsiteY25" fmla="*/ 94498 h 187783"/>
                  <a:gd name="connsiteX26" fmla="*/ 134392 w 148930"/>
                  <a:gd name="connsiteY26" fmla="*/ 87515 h 187783"/>
                  <a:gd name="connsiteX27" fmla="*/ 64262 w 148930"/>
                  <a:gd name="connsiteY27" fmla="*/ 8494 h 187783"/>
                  <a:gd name="connsiteX28" fmla="*/ 73820 w 148930"/>
                  <a:gd name="connsiteY28" fmla="*/ 0 h 187783"/>
                  <a:gd name="connsiteX29" fmla="*/ 143976 w 148930"/>
                  <a:gd name="connsiteY29" fmla="*/ 79070 h 187783"/>
                  <a:gd name="connsiteX30" fmla="*/ 148582 w 148930"/>
                  <a:gd name="connsiteY30" fmla="*/ 96677 h 187783"/>
                  <a:gd name="connsiteX31" fmla="*/ 139098 w 148930"/>
                  <a:gd name="connsiteY31" fmla="*/ 113145 h 187783"/>
                  <a:gd name="connsiteX32" fmla="*/ 121565 w 148930"/>
                  <a:gd name="connsiteY32" fmla="*/ 120475 h 187783"/>
                  <a:gd name="connsiteX33" fmla="*/ 120772 w 148930"/>
                  <a:gd name="connsiteY33" fmla="*/ 120500 h 187783"/>
                  <a:gd name="connsiteX34" fmla="*/ 110991 w 148930"/>
                  <a:gd name="connsiteY34" fmla="*/ 141054 h 187783"/>
                  <a:gd name="connsiteX35" fmla="*/ 93310 w 148930"/>
                  <a:gd name="connsiteY35" fmla="*/ 148334 h 187783"/>
                  <a:gd name="connsiteX36" fmla="*/ 83553 w 148930"/>
                  <a:gd name="connsiteY36" fmla="*/ 169829 h 187783"/>
                  <a:gd name="connsiteX37" fmla="*/ 49156 w 148930"/>
                  <a:gd name="connsiteY37" fmla="*/ 170349 h 187783"/>
                  <a:gd name="connsiteX38" fmla="*/ 47695 w 148930"/>
                  <a:gd name="connsiteY38" fmla="*/ 168740 h 187783"/>
                  <a:gd name="connsiteX39" fmla="*/ 39473 w 148930"/>
                  <a:gd name="connsiteY39" fmla="*/ 180502 h 187783"/>
                  <a:gd name="connsiteX40" fmla="*/ 20851 w 148930"/>
                  <a:gd name="connsiteY40" fmla="*/ 187783 h 187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8930" h="187783">
                    <a:moveTo>
                      <a:pt x="20851" y="187783"/>
                    </a:moveTo>
                    <a:cubicBezTo>
                      <a:pt x="20356" y="187783"/>
                      <a:pt x="19835" y="187758"/>
                      <a:pt x="19340" y="187734"/>
                    </a:cubicBezTo>
                    <a:cubicBezTo>
                      <a:pt x="13645" y="187362"/>
                      <a:pt x="8568" y="184960"/>
                      <a:pt x="5052" y="180948"/>
                    </a:cubicBezTo>
                    <a:lnTo>
                      <a:pt x="14660" y="172504"/>
                    </a:lnTo>
                    <a:cubicBezTo>
                      <a:pt x="16294" y="174361"/>
                      <a:pt x="18548" y="174857"/>
                      <a:pt x="20157" y="174955"/>
                    </a:cubicBezTo>
                    <a:cubicBezTo>
                      <a:pt x="23724" y="175228"/>
                      <a:pt x="27810" y="173643"/>
                      <a:pt x="31004" y="170820"/>
                    </a:cubicBezTo>
                    <a:cubicBezTo>
                      <a:pt x="34223" y="167997"/>
                      <a:pt x="36254" y="164183"/>
                      <a:pt x="36477" y="160593"/>
                    </a:cubicBezTo>
                    <a:cubicBezTo>
                      <a:pt x="36576" y="158983"/>
                      <a:pt x="36353" y="156655"/>
                      <a:pt x="34743" y="154823"/>
                    </a:cubicBezTo>
                    <a:lnTo>
                      <a:pt x="0" y="115671"/>
                    </a:lnTo>
                    <a:lnTo>
                      <a:pt x="9534" y="107152"/>
                    </a:lnTo>
                    <a:lnTo>
                      <a:pt x="58690" y="161806"/>
                    </a:lnTo>
                    <a:cubicBezTo>
                      <a:pt x="62157" y="165743"/>
                      <a:pt x="69636" y="164976"/>
                      <a:pt x="75083" y="160196"/>
                    </a:cubicBezTo>
                    <a:cubicBezTo>
                      <a:pt x="80507" y="155417"/>
                      <a:pt x="82215" y="148062"/>
                      <a:pt x="78823" y="144199"/>
                    </a:cubicBezTo>
                    <a:lnTo>
                      <a:pt x="2452" y="58145"/>
                    </a:lnTo>
                    <a:lnTo>
                      <a:pt x="9856" y="47175"/>
                    </a:lnTo>
                    <a:lnTo>
                      <a:pt x="15626" y="52945"/>
                    </a:lnTo>
                    <a:lnTo>
                      <a:pt x="86202" y="133105"/>
                    </a:lnTo>
                    <a:cubicBezTo>
                      <a:pt x="89620" y="136993"/>
                      <a:pt x="97098" y="136225"/>
                      <a:pt x="102546" y="131421"/>
                    </a:cubicBezTo>
                    <a:cubicBezTo>
                      <a:pt x="107995" y="126641"/>
                      <a:pt x="109703" y="119311"/>
                      <a:pt x="106286" y="115424"/>
                    </a:cubicBezTo>
                    <a:lnTo>
                      <a:pt x="25358" y="24243"/>
                    </a:lnTo>
                    <a:lnTo>
                      <a:pt x="32812" y="13323"/>
                    </a:lnTo>
                    <a:lnTo>
                      <a:pt x="38532" y="19093"/>
                    </a:lnTo>
                    <a:lnTo>
                      <a:pt x="114334" y="105196"/>
                    </a:lnTo>
                    <a:cubicBezTo>
                      <a:pt x="116365" y="107524"/>
                      <a:pt x="119386" y="107747"/>
                      <a:pt x="121045" y="107673"/>
                    </a:cubicBezTo>
                    <a:cubicBezTo>
                      <a:pt x="124339" y="107524"/>
                      <a:pt x="127855" y="106013"/>
                      <a:pt x="130678" y="103512"/>
                    </a:cubicBezTo>
                    <a:cubicBezTo>
                      <a:pt x="133501" y="101036"/>
                      <a:pt x="135457" y="97742"/>
                      <a:pt x="136002" y="94498"/>
                    </a:cubicBezTo>
                    <a:cubicBezTo>
                      <a:pt x="136275" y="92888"/>
                      <a:pt x="136448" y="89818"/>
                      <a:pt x="134392" y="87515"/>
                    </a:cubicBezTo>
                    <a:lnTo>
                      <a:pt x="64262" y="8494"/>
                    </a:lnTo>
                    <a:lnTo>
                      <a:pt x="73820" y="0"/>
                    </a:lnTo>
                    <a:lnTo>
                      <a:pt x="143976" y="79070"/>
                    </a:lnTo>
                    <a:cubicBezTo>
                      <a:pt x="148037" y="83701"/>
                      <a:pt x="149721" y="90115"/>
                      <a:pt x="148582" y="96677"/>
                    </a:cubicBezTo>
                    <a:cubicBezTo>
                      <a:pt x="147517" y="102844"/>
                      <a:pt x="144150" y="108688"/>
                      <a:pt x="139098" y="113145"/>
                    </a:cubicBezTo>
                    <a:cubicBezTo>
                      <a:pt x="134046" y="117603"/>
                      <a:pt x="127806" y="120203"/>
                      <a:pt x="121565" y="120475"/>
                    </a:cubicBezTo>
                    <a:cubicBezTo>
                      <a:pt x="121293" y="120475"/>
                      <a:pt x="121045" y="120500"/>
                      <a:pt x="120772" y="120500"/>
                    </a:cubicBezTo>
                    <a:cubicBezTo>
                      <a:pt x="120772" y="127731"/>
                      <a:pt x="117405" y="135408"/>
                      <a:pt x="110991" y="141054"/>
                    </a:cubicBezTo>
                    <a:cubicBezTo>
                      <a:pt x="105716" y="145685"/>
                      <a:pt x="99377" y="148112"/>
                      <a:pt x="93310" y="148334"/>
                    </a:cubicBezTo>
                    <a:cubicBezTo>
                      <a:pt x="93631" y="155838"/>
                      <a:pt x="90239" y="163936"/>
                      <a:pt x="83553" y="169829"/>
                    </a:cubicBezTo>
                    <a:cubicBezTo>
                      <a:pt x="72706" y="179363"/>
                      <a:pt x="57278" y="179586"/>
                      <a:pt x="49156" y="170349"/>
                    </a:cubicBezTo>
                    <a:lnTo>
                      <a:pt x="47695" y="168740"/>
                    </a:lnTo>
                    <a:cubicBezTo>
                      <a:pt x="46060" y="173123"/>
                      <a:pt x="43237" y="177209"/>
                      <a:pt x="39473" y="180502"/>
                    </a:cubicBezTo>
                    <a:cubicBezTo>
                      <a:pt x="34099" y="185158"/>
                      <a:pt x="27413" y="187783"/>
                      <a:pt x="20851" y="187783"/>
                    </a:cubicBezTo>
                    <a:close/>
                  </a:path>
                </a:pathLst>
              </a:custGeom>
              <a:grpFill/>
              <a:ln w="2473" cap="flat">
                <a:noFill/>
                <a:prstDash val="solid"/>
                <a:miter/>
              </a:ln>
            </p:spPr>
            <p:txBody>
              <a:bodyPr rtlCol="0" anchor="ctr"/>
              <a:lstStyle/>
              <a:p>
                <a:endParaRPr lang="en-GB" dirty="0"/>
              </a:p>
            </p:txBody>
          </p:sp>
          <p:grpSp>
            <p:nvGrpSpPr>
              <p:cNvPr id="272" name="Grafik 179">
                <a:extLst>
                  <a:ext uri="{FF2B5EF4-FFF2-40B4-BE49-F238E27FC236}">
                    <a16:creationId xmlns:a16="http://schemas.microsoft.com/office/drawing/2014/main" id="{6AD9F975-09E8-43EC-B40B-A9B515B6EAE8}"/>
                  </a:ext>
                </a:extLst>
              </p:cNvPr>
              <p:cNvGrpSpPr/>
              <p:nvPr/>
            </p:nvGrpSpPr>
            <p:grpSpPr>
              <a:xfrm>
                <a:off x="3422720" y="4244370"/>
                <a:ext cx="177703" cy="150798"/>
                <a:chOff x="3422720" y="4244370"/>
                <a:chExt cx="177703" cy="150798"/>
              </a:xfrm>
              <a:grpFill/>
            </p:grpSpPr>
            <p:grpSp>
              <p:nvGrpSpPr>
                <p:cNvPr id="275" name="Grafik 179">
                  <a:extLst>
                    <a:ext uri="{FF2B5EF4-FFF2-40B4-BE49-F238E27FC236}">
                      <a16:creationId xmlns:a16="http://schemas.microsoft.com/office/drawing/2014/main" id="{04758040-799A-4458-9C6B-68E91E68A533}"/>
                    </a:ext>
                  </a:extLst>
                </p:cNvPr>
                <p:cNvGrpSpPr/>
                <p:nvPr/>
              </p:nvGrpSpPr>
              <p:grpSpPr>
                <a:xfrm>
                  <a:off x="3422720" y="4244370"/>
                  <a:ext cx="159516" cy="128585"/>
                  <a:chOff x="3422720" y="4244370"/>
                  <a:chExt cx="159516" cy="128585"/>
                </a:xfrm>
                <a:grpFill/>
              </p:grpSpPr>
              <p:sp>
                <p:nvSpPr>
                  <p:cNvPr id="277" name="Freihandform: Form 536">
                    <a:extLst>
                      <a:ext uri="{FF2B5EF4-FFF2-40B4-BE49-F238E27FC236}">
                        <a16:creationId xmlns:a16="http://schemas.microsoft.com/office/drawing/2014/main" id="{1A3D651B-9BD4-471F-9397-C2B53434EC19}"/>
                      </a:ext>
                    </a:extLst>
                  </p:cNvPr>
                  <p:cNvSpPr/>
                  <p:nvPr/>
                </p:nvSpPr>
                <p:spPr>
                  <a:xfrm>
                    <a:off x="3422720" y="4244370"/>
                    <a:ext cx="70944" cy="76928"/>
                  </a:xfrm>
                  <a:custGeom>
                    <a:avLst/>
                    <a:gdLst>
                      <a:gd name="connsiteX0" fmla="*/ 28439 w 70944"/>
                      <a:gd name="connsiteY0" fmla="*/ 76928 h 76928"/>
                      <a:gd name="connsiteX1" fmla="*/ 11996 w 70944"/>
                      <a:gd name="connsiteY1" fmla="*/ 71629 h 76928"/>
                      <a:gd name="connsiteX2" fmla="*/ 4394 w 70944"/>
                      <a:gd name="connsiteY2" fmla="*/ 35127 h 76928"/>
                      <a:gd name="connsiteX3" fmla="*/ 21976 w 70944"/>
                      <a:gd name="connsiteY3" fmla="*/ 10289 h 76928"/>
                      <a:gd name="connsiteX4" fmla="*/ 39187 w 70944"/>
                      <a:gd name="connsiteY4" fmla="*/ 210 h 76928"/>
                      <a:gd name="connsiteX5" fmla="*/ 58948 w 70944"/>
                      <a:gd name="connsiteY5" fmla="*/ 5336 h 76928"/>
                      <a:gd name="connsiteX6" fmla="*/ 66551 w 70944"/>
                      <a:gd name="connsiteY6" fmla="*/ 41838 h 76928"/>
                      <a:gd name="connsiteX7" fmla="*/ 48968 w 70944"/>
                      <a:gd name="connsiteY7" fmla="*/ 66651 h 76928"/>
                      <a:gd name="connsiteX8" fmla="*/ 28439 w 70944"/>
                      <a:gd name="connsiteY8" fmla="*/ 76928 h 76928"/>
                      <a:gd name="connsiteX9" fmla="*/ 42456 w 70944"/>
                      <a:gd name="connsiteY9" fmla="*/ 12815 h 76928"/>
                      <a:gd name="connsiteX10" fmla="*/ 40722 w 70944"/>
                      <a:gd name="connsiteY10" fmla="*/ 12914 h 76928"/>
                      <a:gd name="connsiteX11" fmla="*/ 32401 w 70944"/>
                      <a:gd name="connsiteY11" fmla="*/ 17694 h 76928"/>
                      <a:gd name="connsiteX12" fmla="*/ 14819 w 70944"/>
                      <a:gd name="connsiteY12" fmla="*/ 42531 h 76928"/>
                      <a:gd name="connsiteX13" fmla="*/ 19376 w 70944"/>
                      <a:gd name="connsiteY13" fmla="*/ 61203 h 76928"/>
                      <a:gd name="connsiteX14" fmla="*/ 38493 w 70944"/>
                      <a:gd name="connsiteY14" fmla="*/ 59296 h 76928"/>
                      <a:gd name="connsiteX15" fmla="*/ 56076 w 70944"/>
                      <a:gd name="connsiteY15" fmla="*/ 34483 h 76928"/>
                      <a:gd name="connsiteX16" fmla="*/ 51519 w 70944"/>
                      <a:gd name="connsiteY16" fmla="*/ 15787 h 76928"/>
                      <a:gd name="connsiteX17" fmla="*/ 42456 w 70944"/>
                      <a:gd name="connsiteY17" fmla="*/ 12815 h 76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0944" h="76928">
                        <a:moveTo>
                          <a:pt x="28439" y="76928"/>
                        </a:moveTo>
                        <a:cubicBezTo>
                          <a:pt x="22818" y="76928"/>
                          <a:pt x="17048" y="75195"/>
                          <a:pt x="11996" y="71629"/>
                        </a:cubicBezTo>
                        <a:cubicBezTo>
                          <a:pt x="-287" y="62937"/>
                          <a:pt x="-3704" y="46568"/>
                          <a:pt x="4394" y="35127"/>
                        </a:cubicBezTo>
                        <a:lnTo>
                          <a:pt x="21976" y="10289"/>
                        </a:lnTo>
                        <a:cubicBezTo>
                          <a:pt x="25963" y="4668"/>
                          <a:pt x="32079" y="1077"/>
                          <a:pt x="39187" y="210"/>
                        </a:cubicBezTo>
                        <a:cubicBezTo>
                          <a:pt x="46071" y="-656"/>
                          <a:pt x="53079" y="1176"/>
                          <a:pt x="58948" y="5336"/>
                        </a:cubicBezTo>
                        <a:cubicBezTo>
                          <a:pt x="71231" y="14053"/>
                          <a:pt x="74648" y="30422"/>
                          <a:pt x="66551" y="41838"/>
                        </a:cubicBezTo>
                        <a:lnTo>
                          <a:pt x="48968" y="66651"/>
                        </a:lnTo>
                        <a:cubicBezTo>
                          <a:pt x="44164" y="73387"/>
                          <a:pt x="36463" y="76928"/>
                          <a:pt x="28439" y="76928"/>
                        </a:cubicBezTo>
                        <a:close/>
                        <a:moveTo>
                          <a:pt x="42456" y="12815"/>
                        </a:moveTo>
                        <a:cubicBezTo>
                          <a:pt x="41886" y="12815"/>
                          <a:pt x="41292" y="12840"/>
                          <a:pt x="40722" y="12914"/>
                        </a:cubicBezTo>
                        <a:cubicBezTo>
                          <a:pt x="37230" y="13335"/>
                          <a:pt x="34283" y="15044"/>
                          <a:pt x="32401" y="17694"/>
                        </a:cubicBezTo>
                        <a:lnTo>
                          <a:pt x="14819" y="42531"/>
                        </a:lnTo>
                        <a:cubicBezTo>
                          <a:pt x="10807" y="48202"/>
                          <a:pt x="12863" y="56573"/>
                          <a:pt x="19376" y="61203"/>
                        </a:cubicBezTo>
                        <a:cubicBezTo>
                          <a:pt x="25888" y="65809"/>
                          <a:pt x="34482" y="64967"/>
                          <a:pt x="38493" y="59296"/>
                        </a:cubicBezTo>
                        <a:lnTo>
                          <a:pt x="56076" y="34483"/>
                        </a:lnTo>
                        <a:cubicBezTo>
                          <a:pt x="60087" y="28812"/>
                          <a:pt x="58032" y="20442"/>
                          <a:pt x="51519" y="15787"/>
                        </a:cubicBezTo>
                        <a:cubicBezTo>
                          <a:pt x="48770" y="13830"/>
                          <a:pt x="45601" y="12815"/>
                          <a:pt x="42456" y="12815"/>
                        </a:cubicBezTo>
                        <a:close/>
                      </a:path>
                    </a:pathLst>
                  </a:custGeom>
                  <a:grpFill/>
                  <a:ln w="2473" cap="flat">
                    <a:noFill/>
                    <a:prstDash val="solid"/>
                    <a:miter/>
                  </a:ln>
                </p:spPr>
                <p:txBody>
                  <a:bodyPr rtlCol="0" anchor="ctr"/>
                  <a:lstStyle/>
                  <a:p>
                    <a:endParaRPr lang="en-GB" dirty="0"/>
                  </a:p>
                </p:txBody>
              </p:sp>
              <p:sp>
                <p:nvSpPr>
                  <p:cNvPr id="278" name="Freihandform: Form 537">
                    <a:extLst>
                      <a:ext uri="{FF2B5EF4-FFF2-40B4-BE49-F238E27FC236}">
                        <a16:creationId xmlns:a16="http://schemas.microsoft.com/office/drawing/2014/main" id="{C63132BD-EEA9-422B-85C5-8503C2CA6124}"/>
                      </a:ext>
                    </a:extLst>
                  </p:cNvPr>
                  <p:cNvSpPr/>
                  <p:nvPr/>
                </p:nvSpPr>
                <p:spPr>
                  <a:xfrm>
                    <a:off x="3458041" y="4251046"/>
                    <a:ext cx="84772" cy="95585"/>
                  </a:xfrm>
                  <a:custGeom>
                    <a:avLst/>
                    <a:gdLst>
                      <a:gd name="connsiteX0" fmla="*/ 29150 w 84772"/>
                      <a:gd name="connsiteY0" fmla="*/ 95585 h 95585"/>
                      <a:gd name="connsiteX1" fmla="*/ 12335 w 84772"/>
                      <a:gd name="connsiteY1" fmla="*/ 90212 h 95585"/>
                      <a:gd name="connsiteX2" fmla="*/ 424 w 84772"/>
                      <a:gd name="connsiteY2" fmla="*/ 71317 h 95585"/>
                      <a:gd name="connsiteX3" fmla="*/ 5377 w 84772"/>
                      <a:gd name="connsiteY3" fmla="*/ 49525 h 95585"/>
                      <a:gd name="connsiteX4" fmla="*/ 31725 w 84772"/>
                      <a:gd name="connsiteY4" fmla="*/ 12305 h 95585"/>
                      <a:gd name="connsiteX5" fmla="*/ 72437 w 84772"/>
                      <a:gd name="connsiteY5" fmla="*/ 5346 h 95585"/>
                      <a:gd name="connsiteX6" fmla="*/ 84348 w 84772"/>
                      <a:gd name="connsiteY6" fmla="*/ 24266 h 95585"/>
                      <a:gd name="connsiteX7" fmla="*/ 79395 w 84772"/>
                      <a:gd name="connsiteY7" fmla="*/ 46058 h 95585"/>
                      <a:gd name="connsiteX8" fmla="*/ 53047 w 84772"/>
                      <a:gd name="connsiteY8" fmla="*/ 83278 h 95585"/>
                      <a:gd name="connsiteX9" fmla="*/ 34128 w 84772"/>
                      <a:gd name="connsiteY9" fmla="*/ 95189 h 95585"/>
                      <a:gd name="connsiteX10" fmla="*/ 29150 w 84772"/>
                      <a:gd name="connsiteY10" fmla="*/ 95585 h 95585"/>
                      <a:gd name="connsiteX11" fmla="*/ 55597 w 84772"/>
                      <a:gd name="connsiteY11" fmla="*/ 12751 h 95585"/>
                      <a:gd name="connsiteX12" fmla="*/ 42176 w 84772"/>
                      <a:gd name="connsiteY12" fmla="*/ 19685 h 95585"/>
                      <a:gd name="connsiteX13" fmla="*/ 15827 w 84772"/>
                      <a:gd name="connsiteY13" fmla="*/ 56904 h 95585"/>
                      <a:gd name="connsiteX14" fmla="*/ 13029 w 84772"/>
                      <a:gd name="connsiteY14" fmla="*/ 69163 h 95585"/>
                      <a:gd name="connsiteX15" fmla="*/ 19715 w 84772"/>
                      <a:gd name="connsiteY15" fmla="*/ 79786 h 95585"/>
                      <a:gd name="connsiteX16" fmla="*/ 31973 w 84772"/>
                      <a:gd name="connsiteY16" fmla="*/ 82560 h 95585"/>
                      <a:gd name="connsiteX17" fmla="*/ 42597 w 84772"/>
                      <a:gd name="connsiteY17" fmla="*/ 75874 h 95585"/>
                      <a:gd name="connsiteX18" fmla="*/ 68945 w 84772"/>
                      <a:gd name="connsiteY18" fmla="*/ 38654 h 95585"/>
                      <a:gd name="connsiteX19" fmla="*/ 71719 w 84772"/>
                      <a:gd name="connsiteY19" fmla="*/ 26420 h 95585"/>
                      <a:gd name="connsiteX20" fmla="*/ 65033 w 84772"/>
                      <a:gd name="connsiteY20" fmla="*/ 15797 h 95585"/>
                      <a:gd name="connsiteX21" fmla="*/ 55597 w 84772"/>
                      <a:gd name="connsiteY21" fmla="*/ 12751 h 95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772" h="95585">
                        <a:moveTo>
                          <a:pt x="29150" y="95585"/>
                        </a:moveTo>
                        <a:cubicBezTo>
                          <a:pt x="23157" y="95585"/>
                          <a:pt x="17313" y="93753"/>
                          <a:pt x="12335" y="90212"/>
                        </a:cubicBezTo>
                        <a:cubicBezTo>
                          <a:pt x="5971" y="85705"/>
                          <a:pt x="1736" y="78994"/>
                          <a:pt x="424" y="71317"/>
                        </a:cubicBezTo>
                        <a:cubicBezTo>
                          <a:pt x="-888" y="63616"/>
                          <a:pt x="870" y="55889"/>
                          <a:pt x="5377" y="49525"/>
                        </a:cubicBezTo>
                        <a:lnTo>
                          <a:pt x="31725" y="12305"/>
                        </a:lnTo>
                        <a:cubicBezTo>
                          <a:pt x="41036" y="-820"/>
                          <a:pt x="59287" y="-3940"/>
                          <a:pt x="72437" y="5346"/>
                        </a:cubicBezTo>
                        <a:cubicBezTo>
                          <a:pt x="78801" y="9853"/>
                          <a:pt x="83036" y="16565"/>
                          <a:pt x="84348" y="24266"/>
                        </a:cubicBezTo>
                        <a:cubicBezTo>
                          <a:pt x="85661" y="31943"/>
                          <a:pt x="83903" y="39694"/>
                          <a:pt x="79395" y="46058"/>
                        </a:cubicBezTo>
                        <a:lnTo>
                          <a:pt x="53047" y="83278"/>
                        </a:lnTo>
                        <a:cubicBezTo>
                          <a:pt x="48540" y="89642"/>
                          <a:pt x="41829" y="93877"/>
                          <a:pt x="34128" y="95189"/>
                        </a:cubicBezTo>
                        <a:cubicBezTo>
                          <a:pt x="32468" y="95437"/>
                          <a:pt x="30809" y="95585"/>
                          <a:pt x="29150" y="95585"/>
                        </a:cubicBezTo>
                        <a:close/>
                        <a:moveTo>
                          <a:pt x="55597" y="12751"/>
                        </a:moveTo>
                        <a:cubicBezTo>
                          <a:pt x="50447" y="12751"/>
                          <a:pt x="45370" y="15153"/>
                          <a:pt x="42176" y="19685"/>
                        </a:cubicBezTo>
                        <a:lnTo>
                          <a:pt x="15827" y="56904"/>
                        </a:lnTo>
                        <a:cubicBezTo>
                          <a:pt x="13276" y="60471"/>
                          <a:pt x="12311" y="64829"/>
                          <a:pt x="13029" y="69163"/>
                        </a:cubicBezTo>
                        <a:cubicBezTo>
                          <a:pt x="13772" y="73471"/>
                          <a:pt x="16149" y="77260"/>
                          <a:pt x="19715" y="79786"/>
                        </a:cubicBezTo>
                        <a:cubicBezTo>
                          <a:pt x="23306" y="82312"/>
                          <a:pt x="27639" y="83327"/>
                          <a:pt x="31973" y="82560"/>
                        </a:cubicBezTo>
                        <a:cubicBezTo>
                          <a:pt x="36307" y="81817"/>
                          <a:pt x="40071" y="79440"/>
                          <a:pt x="42597" y="75874"/>
                        </a:cubicBezTo>
                        <a:lnTo>
                          <a:pt x="68945" y="38654"/>
                        </a:lnTo>
                        <a:cubicBezTo>
                          <a:pt x="71471" y="35088"/>
                          <a:pt x="72462" y="30729"/>
                          <a:pt x="71719" y="26420"/>
                        </a:cubicBezTo>
                        <a:cubicBezTo>
                          <a:pt x="70976" y="22112"/>
                          <a:pt x="68598" y="18323"/>
                          <a:pt x="65033" y="15797"/>
                        </a:cubicBezTo>
                        <a:cubicBezTo>
                          <a:pt x="62185" y="13717"/>
                          <a:pt x="58866" y="12751"/>
                          <a:pt x="55597" y="12751"/>
                        </a:cubicBezTo>
                        <a:close/>
                      </a:path>
                    </a:pathLst>
                  </a:custGeom>
                  <a:grpFill/>
                  <a:ln w="2473" cap="flat">
                    <a:noFill/>
                    <a:prstDash val="solid"/>
                    <a:miter/>
                  </a:ln>
                </p:spPr>
                <p:txBody>
                  <a:bodyPr rtlCol="0" anchor="ctr"/>
                  <a:lstStyle/>
                  <a:p>
                    <a:endParaRPr lang="en-GB" dirty="0"/>
                  </a:p>
                </p:txBody>
              </p:sp>
              <p:sp>
                <p:nvSpPr>
                  <p:cNvPr id="279" name="Freihandform: Form 538">
                    <a:extLst>
                      <a:ext uri="{FF2B5EF4-FFF2-40B4-BE49-F238E27FC236}">
                        <a16:creationId xmlns:a16="http://schemas.microsoft.com/office/drawing/2014/main" id="{ACCBEBED-D8A5-46E0-8138-663FFFD99BA2}"/>
                      </a:ext>
                    </a:extLst>
                  </p:cNvPr>
                  <p:cNvSpPr/>
                  <p:nvPr/>
                </p:nvSpPr>
                <p:spPr>
                  <a:xfrm>
                    <a:off x="3495305" y="4274234"/>
                    <a:ext cx="86931" cy="98720"/>
                  </a:xfrm>
                  <a:custGeom>
                    <a:avLst/>
                    <a:gdLst>
                      <a:gd name="connsiteX0" fmla="*/ 29130 w 86931"/>
                      <a:gd name="connsiteY0" fmla="*/ 98721 h 98720"/>
                      <a:gd name="connsiteX1" fmla="*/ 12316 w 86931"/>
                      <a:gd name="connsiteY1" fmla="*/ 93372 h 98720"/>
                      <a:gd name="connsiteX2" fmla="*/ 5357 w 86931"/>
                      <a:gd name="connsiteY2" fmla="*/ 52660 h 98720"/>
                      <a:gd name="connsiteX3" fmla="*/ 5357 w 86931"/>
                      <a:gd name="connsiteY3" fmla="*/ 52660 h 98720"/>
                      <a:gd name="connsiteX4" fmla="*/ 33910 w 86931"/>
                      <a:gd name="connsiteY4" fmla="*/ 12345 h 98720"/>
                      <a:gd name="connsiteX5" fmla="*/ 52805 w 86931"/>
                      <a:gd name="connsiteY5" fmla="*/ 434 h 98720"/>
                      <a:gd name="connsiteX6" fmla="*/ 74597 w 86931"/>
                      <a:gd name="connsiteY6" fmla="*/ 5387 h 98720"/>
                      <a:gd name="connsiteX7" fmla="*/ 86508 w 86931"/>
                      <a:gd name="connsiteY7" fmla="*/ 24306 h 98720"/>
                      <a:gd name="connsiteX8" fmla="*/ 81555 w 86931"/>
                      <a:gd name="connsiteY8" fmla="*/ 46098 h 98720"/>
                      <a:gd name="connsiteX9" fmla="*/ 53003 w 86931"/>
                      <a:gd name="connsiteY9" fmla="*/ 86438 h 98720"/>
                      <a:gd name="connsiteX10" fmla="*/ 29130 w 86931"/>
                      <a:gd name="connsiteY10" fmla="*/ 98721 h 98720"/>
                      <a:gd name="connsiteX11" fmla="*/ 15783 w 86931"/>
                      <a:gd name="connsiteY11" fmla="*/ 60040 h 98720"/>
                      <a:gd name="connsiteX12" fmla="*/ 19696 w 86931"/>
                      <a:gd name="connsiteY12" fmla="*/ 82946 h 98720"/>
                      <a:gd name="connsiteX13" fmla="*/ 42577 w 86931"/>
                      <a:gd name="connsiteY13" fmla="*/ 79034 h 98720"/>
                      <a:gd name="connsiteX14" fmla="*/ 71130 w 86931"/>
                      <a:gd name="connsiteY14" fmla="*/ 38694 h 98720"/>
                      <a:gd name="connsiteX15" fmla="*/ 73903 w 86931"/>
                      <a:gd name="connsiteY15" fmla="*/ 26436 h 98720"/>
                      <a:gd name="connsiteX16" fmla="*/ 67217 w 86931"/>
                      <a:gd name="connsiteY16" fmla="*/ 15812 h 98720"/>
                      <a:gd name="connsiteX17" fmla="*/ 54984 w 86931"/>
                      <a:gd name="connsiteY17" fmla="*/ 13039 h 98720"/>
                      <a:gd name="connsiteX18" fmla="*/ 44360 w 86931"/>
                      <a:gd name="connsiteY18" fmla="*/ 19725 h 98720"/>
                      <a:gd name="connsiteX19" fmla="*/ 15783 w 86931"/>
                      <a:gd name="connsiteY19" fmla="*/ 60040 h 9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931" h="98720">
                        <a:moveTo>
                          <a:pt x="29130" y="98721"/>
                        </a:moveTo>
                        <a:cubicBezTo>
                          <a:pt x="23311" y="98721"/>
                          <a:pt x="17417" y="96988"/>
                          <a:pt x="12316" y="93372"/>
                        </a:cubicBezTo>
                        <a:cubicBezTo>
                          <a:pt x="-809" y="84061"/>
                          <a:pt x="-3954" y="65810"/>
                          <a:pt x="5357" y="52660"/>
                        </a:cubicBezTo>
                        <a:lnTo>
                          <a:pt x="5357" y="52660"/>
                        </a:lnTo>
                        <a:lnTo>
                          <a:pt x="33910" y="12345"/>
                        </a:lnTo>
                        <a:cubicBezTo>
                          <a:pt x="38417" y="5981"/>
                          <a:pt x="45128" y="1746"/>
                          <a:pt x="52805" y="434"/>
                        </a:cubicBezTo>
                        <a:cubicBezTo>
                          <a:pt x="60506" y="-903"/>
                          <a:pt x="68232" y="879"/>
                          <a:pt x="74597" y="5387"/>
                        </a:cubicBezTo>
                        <a:cubicBezTo>
                          <a:pt x="80961" y="9893"/>
                          <a:pt x="85195" y="16605"/>
                          <a:pt x="86508" y="24306"/>
                        </a:cubicBezTo>
                        <a:cubicBezTo>
                          <a:pt x="87821" y="32008"/>
                          <a:pt x="86062" y="39734"/>
                          <a:pt x="81555" y="46098"/>
                        </a:cubicBezTo>
                        <a:lnTo>
                          <a:pt x="53003" y="86438"/>
                        </a:lnTo>
                        <a:cubicBezTo>
                          <a:pt x="47332" y="94437"/>
                          <a:pt x="38293" y="98721"/>
                          <a:pt x="29130" y="98721"/>
                        </a:cubicBezTo>
                        <a:close/>
                        <a:moveTo>
                          <a:pt x="15783" y="60040"/>
                        </a:moveTo>
                        <a:cubicBezTo>
                          <a:pt x="10558" y="67444"/>
                          <a:pt x="12316" y="77721"/>
                          <a:pt x="19696" y="82946"/>
                        </a:cubicBezTo>
                        <a:cubicBezTo>
                          <a:pt x="27075" y="88196"/>
                          <a:pt x="37352" y="86413"/>
                          <a:pt x="42577" y="79034"/>
                        </a:cubicBezTo>
                        <a:lnTo>
                          <a:pt x="71130" y="38694"/>
                        </a:lnTo>
                        <a:cubicBezTo>
                          <a:pt x="73656" y="35128"/>
                          <a:pt x="74646" y="30769"/>
                          <a:pt x="73903" y="26436"/>
                        </a:cubicBezTo>
                        <a:cubicBezTo>
                          <a:pt x="73160" y="22127"/>
                          <a:pt x="70783" y="18338"/>
                          <a:pt x="67217" y="15812"/>
                        </a:cubicBezTo>
                        <a:cubicBezTo>
                          <a:pt x="63651" y="13286"/>
                          <a:pt x="59293" y="12296"/>
                          <a:pt x="54984" y="13039"/>
                        </a:cubicBezTo>
                        <a:cubicBezTo>
                          <a:pt x="50675" y="13782"/>
                          <a:pt x="46886" y="16159"/>
                          <a:pt x="44360" y="19725"/>
                        </a:cubicBezTo>
                        <a:lnTo>
                          <a:pt x="15783" y="60040"/>
                        </a:lnTo>
                        <a:close/>
                      </a:path>
                    </a:pathLst>
                  </a:custGeom>
                  <a:grpFill/>
                  <a:ln w="2473" cap="flat">
                    <a:noFill/>
                    <a:prstDash val="solid"/>
                    <a:miter/>
                  </a:ln>
                </p:spPr>
                <p:txBody>
                  <a:bodyPr rtlCol="0" anchor="ctr"/>
                  <a:lstStyle/>
                  <a:p>
                    <a:endParaRPr lang="en-GB" dirty="0"/>
                  </a:p>
                </p:txBody>
              </p:sp>
            </p:grpSp>
            <p:sp>
              <p:nvSpPr>
                <p:cNvPr id="276" name="Freihandform: Form 539">
                  <a:extLst>
                    <a:ext uri="{FF2B5EF4-FFF2-40B4-BE49-F238E27FC236}">
                      <a16:creationId xmlns:a16="http://schemas.microsoft.com/office/drawing/2014/main" id="{963EF74F-8419-4A78-BF80-5F2A4EB7D82A}"/>
                    </a:ext>
                  </a:extLst>
                </p:cNvPr>
                <p:cNvSpPr/>
                <p:nvPr/>
              </p:nvSpPr>
              <p:spPr>
                <a:xfrm>
                  <a:off x="3529944" y="4315499"/>
                  <a:ext cx="70479" cy="79668"/>
                </a:xfrm>
                <a:custGeom>
                  <a:avLst/>
                  <a:gdLst>
                    <a:gd name="connsiteX0" fmla="*/ 24281 w 70479"/>
                    <a:gd name="connsiteY0" fmla="*/ 79669 h 79668"/>
                    <a:gd name="connsiteX1" fmla="*/ 10240 w 70479"/>
                    <a:gd name="connsiteY1" fmla="*/ 75162 h 79668"/>
                    <a:gd name="connsiteX2" fmla="*/ 3876 w 70479"/>
                    <a:gd name="connsiteY2" fmla="*/ 43464 h 79668"/>
                    <a:gd name="connsiteX3" fmla="*/ 28244 w 70479"/>
                    <a:gd name="connsiteY3" fmla="*/ 9067 h 79668"/>
                    <a:gd name="connsiteX4" fmla="*/ 43176 w 70479"/>
                    <a:gd name="connsiteY4" fmla="*/ 202 h 79668"/>
                    <a:gd name="connsiteX5" fmla="*/ 60238 w 70479"/>
                    <a:gd name="connsiteY5" fmla="*/ 4535 h 79668"/>
                    <a:gd name="connsiteX6" fmla="*/ 66603 w 70479"/>
                    <a:gd name="connsiteY6" fmla="*/ 36233 h 79668"/>
                    <a:gd name="connsiteX7" fmla="*/ 42235 w 70479"/>
                    <a:gd name="connsiteY7" fmla="*/ 70630 h 79668"/>
                    <a:gd name="connsiteX8" fmla="*/ 24281 w 70479"/>
                    <a:gd name="connsiteY8" fmla="*/ 79669 h 79668"/>
                    <a:gd name="connsiteX9" fmla="*/ 14326 w 70479"/>
                    <a:gd name="connsiteY9" fmla="*/ 50869 h 79668"/>
                    <a:gd name="connsiteX10" fmla="*/ 17620 w 70479"/>
                    <a:gd name="connsiteY10" fmla="*/ 64736 h 79668"/>
                    <a:gd name="connsiteX11" fmla="*/ 31810 w 70479"/>
                    <a:gd name="connsiteY11" fmla="*/ 63250 h 79668"/>
                    <a:gd name="connsiteX12" fmla="*/ 56177 w 70479"/>
                    <a:gd name="connsiteY12" fmla="*/ 28854 h 79668"/>
                    <a:gd name="connsiteX13" fmla="*/ 52859 w 70479"/>
                    <a:gd name="connsiteY13" fmla="*/ 14986 h 79668"/>
                    <a:gd name="connsiteX14" fmla="*/ 44835 w 70479"/>
                    <a:gd name="connsiteY14" fmla="*/ 12906 h 79668"/>
                    <a:gd name="connsiteX15" fmla="*/ 38669 w 70479"/>
                    <a:gd name="connsiteY15" fmla="*/ 16497 h 79668"/>
                    <a:gd name="connsiteX16" fmla="*/ 14326 w 70479"/>
                    <a:gd name="connsiteY16" fmla="*/ 50869 h 7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0479" h="79668">
                      <a:moveTo>
                        <a:pt x="24281" y="79669"/>
                      </a:moveTo>
                      <a:cubicBezTo>
                        <a:pt x="19477" y="79669"/>
                        <a:pt x="14550" y="78208"/>
                        <a:pt x="10240" y="75162"/>
                      </a:cubicBezTo>
                      <a:cubicBezTo>
                        <a:pt x="-334" y="67658"/>
                        <a:pt x="-3181" y="53444"/>
                        <a:pt x="3876" y="43464"/>
                      </a:cubicBezTo>
                      <a:lnTo>
                        <a:pt x="28244" y="9067"/>
                      </a:lnTo>
                      <a:cubicBezTo>
                        <a:pt x="31735" y="4164"/>
                        <a:pt x="37035" y="994"/>
                        <a:pt x="43176" y="202"/>
                      </a:cubicBezTo>
                      <a:cubicBezTo>
                        <a:pt x="49095" y="-590"/>
                        <a:pt x="55187" y="970"/>
                        <a:pt x="60238" y="4535"/>
                      </a:cubicBezTo>
                      <a:cubicBezTo>
                        <a:pt x="70813" y="12014"/>
                        <a:pt x="73661" y="26229"/>
                        <a:pt x="66603" y="36233"/>
                      </a:cubicBezTo>
                      <a:lnTo>
                        <a:pt x="42235" y="70630"/>
                      </a:lnTo>
                      <a:cubicBezTo>
                        <a:pt x="38050" y="76549"/>
                        <a:pt x="31290" y="79669"/>
                        <a:pt x="24281" y="79669"/>
                      </a:cubicBezTo>
                      <a:close/>
                      <a:moveTo>
                        <a:pt x="14326" y="50869"/>
                      </a:moveTo>
                      <a:cubicBezTo>
                        <a:pt x="11330" y="55103"/>
                        <a:pt x="12816" y="61319"/>
                        <a:pt x="17620" y="64736"/>
                      </a:cubicBezTo>
                      <a:cubicBezTo>
                        <a:pt x="22424" y="68129"/>
                        <a:pt x="28813" y="67485"/>
                        <a:pt x="31810" y="63250"/>
                      </a:cubicBezTo>
                      <a:lnTo>
                        <a:pt x="56177" y="28854"/>
                      </a:lnTo>
                      <a:cubicBezTo>
                        <a:pt x="59173" y="24619"/>
                        <a:pt x="57688" y="18379"/>
                        <a:pt x="52859" y="14986"/>
                      </a:cubicBezTo>
                      <a:cubicBezTo>
                        <a:pt x="50457" y="13277"/>
                        <a:pt x="47609" y="12510"/>
                        <a:pt x="44835" y="12906"/>
                      </a:cubicBezTo>
                      <a:cubicBezTo>
                        <a:pt x="42260" y="13252"/>
                        <a:pt x="40081" y="14515"/>
                        <a:pt x="38669" y="16497"/>
                      </a:cubicBezTo>
                      <a:lnTo>
                        <a:pt x="14326" y="50869"/>
                      </a:lnTo>
                      <a:close/>
                    </a:path>
                  </a:pathLst>
                </a:custGeom>
                <a:grpFill/>
                <a:ln w="2473" cap="flat">
                  <a:noFill/>
                  <a:prstDash val="solid"/>
                  <a:miter/>
                </a:ln>
              </p:spPr>
              <p:txBody>
                <a:bodyPr rtlCol="0" anchor="ctr"/>
                <a:lstStyle/>
                <a:p>
                  <a:endParaRPr lang="en-GB" dirty="0"/>
                </a:p>
              </p:txBody>
            </p:sp>
          </p:grpSp>
          <p:sp>
            <p:nvSpPr>
              <p:cNvPr id="273" name="Freihandform: Form 540">
                <a:extLst>
                  <a:ext uri="{FF2B5EF4-FFF2-40B4-BE49-F238E27FC236}">
                    <a16:creationId xmlns:a16="http://schemas.microsoft.com/office/drawing/2014/main" id="{52D62A9A-54D8-4502-909B-C4A9DBA9CB71}"/>
                  </a:ext>
                </a:extLst>
              </p:cNvPr>
              <p:cNvSpPr/>
              <p:nvPr/>
            </p:nvSpPr>
            <p:spPr>
              <a:xfrm>
                <a:off x="3339079" y="4120563"/>
                <a:ext cx="57550" cy="178719"/>
              </a:xfrm>
              <a:custGeom>
                <a:avLst/>
                <a:gdLst>
                  <a:gd name="connsiteX0" fmla="*/ 57551 w 57550"/>
                  <a:gd name="connsiteY0" fmla="*/ 178720 h 178719"/>
                  <a:gd name="connsiteX1" fmla="*/ 0 w 57550"/>
                  <a:gd name="connsiteY1" fmla="*/ 178720 h 178719"/>
                  <a:gd name="connsiteX2" fmla="*/ 0 w 57550"/>
                  <a:gd name="connsiteY2" fmla="*/ 165942 h 178719"/>
                  <a:gd name="connsiteX3" fmla="*/ 44773 w 57550"/>
                  <a:gd name="connsiteY3" fmla="*/ 165942 h 178719"/>
                  <a:gd name="connsiteX4" fmla="*/ 44773 w 57550"/>
                  <a:gd name="connsiteY4" fmla="*/ 12803 h 178719"/>
                  <a:gd name="connsiteX5" fmla="*/ 0 w 57550"/>
                  <a:gd name="connsiteY5" fmla="*/ 12803 h 178719"/>
                  <a:gd name="connsiteX6" fmla="*/ 0 w 57550"/>
                  <a:gd name="connsiteY6" fmla="*/ 0 h 178719"/>
                  <a:gd name="connsiteX7" fmla="*/ 57551 w 57550"/>
                  <a:gd name="connsiteY7" fmla="*/ 0 h 17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50" h="178719">
                    <a:moveTo>
                      <a:pt x="57551" y="178720"/>
                    </a:moveTo>
                    <a:lnTo>
                      <a:pt x="0" y="178720"/>
                    </a:lnTo>
                    <a:lnTo>
                      <a:pt x="0" y="165942"/>
                    </a:lnTo>
                    <a:lnTo>
                      <a:pt x="44773" y="165942"/>
                    </a:lnTo>
                    <a:lnTo>
                      <a:pt x="44773" y="12803"/>
                    </a:lnTo>
                    <a:lnTo>
                      <a:pt x="0" y="12803"/>
                    </a:lnTo>
                    <a:lnTo>
                      <a:pt x="0" y="0"/>
                    </a:lnTo>
                    <a:lnTo>
                      <a:pt x="57551" y="0"/>
                    </a:lnTo>
                    <a:close/>
                  </a:path>
                </a:pathLst>
              </a:custGeom>
              <a:grpFill/>
              <a:ln w="2473" cap="flat">
                <a:noFill/>
                <a:prstDash val="solid"/>
                <a:miter/>
              </a:ln>
            </p:spPr>
            <p:txBody>
              <a:bodyPr rtlCol="0" anchor="ctr"/>
              <a:lstStyle/>
              <a:p>
                <a:endParaRPr lang="en-GB" dirty="0"/>
              </a:p>
            </p:txBody>
          </p:sp>
          <p:sp>
            <p:nvSpPr>
              <p:cNvPr id="274" name="Freihandform: Form 541">
                <a:extLst>
                  <a:ext uri="{FF2B5EF4-FFF2-40B4-BE49-F238E27FC236}">
                    <a16:creationId xmlns:a16="http://schemas.microsoft.com/office/drawing/2014/main" id="{528ABA08-5D24-457B-A4FD-E3659E5C2478}"/>
                  </a:ext>
                </a:extLst>
              </p:cNvPr>
              <p:cNvSpPr/>
              <p:nvPr/>
            </p:nvSpPr>
            <p:spPr>
              <a:xfrm>
                <a:off x="3741885" y="4158625"/>
                <a:ext cx="57550" cy="178719"/>
              </a:xfrm>
              <a:custGeom>
                <a:avLst/>
                <a:gdLst>
                  <a:gd name="connsiteX0" fmla="*/ 57551 w 57550"/>
                  <a:gd name="connsiteY0" fmla="*/ 178720 h 178719"/>
                  <a:gd name="connsiteX1" fmla="*/ 0 w 57550"/>
                  <a:gd name="connsiteY1" fmla="*/ 178720 h 178719"/>
                  <a:gd name="connsiteX2" fmla="*/ 0 w 57550"/>
                  <a:gd name="connsiteY2" fmla="*/ 0 h 178719"/>
                  <a:gd name="connsiteX3" fmla="*/ 57551 w 57550"/>
                  <a:gd name="connsiteY3" fmla="*/ 0 h 178719"/>
                  <a:gd name="connsiteX4" fmla="*/ 57551 w 57550"/>
                  <a:gd name="connsiteY4" fmla="*/ 12778 h 178719"/>
                  <a:gd name="connsiteX5" fmla="*/ 12778 w 57550"/>
                  <a:gd name="connsiteY5" fmla="*/ 12778 h 178719"/>
                  <a:gd name="connsiteX6" fmla="*/ 12778 w 57550"/>
                  <a:gd name="connsiteY6" fmla="*/ 165942 h 178719"/>
                  <a:gd name="connsiteX7" fmla="*/ 57551 w 57550"/>
                  <a:gd name="connsiteY7" fmla="*/ 165942 h 178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50" h="178719">
                    <a:moveTo>
                      <a:pt x="57551" y="178720"/>
                    </a:moveTo>
                    <a:lnTo>
                      <a:pt x="0" y="178720"/>
                    </a:lnTo>
                    <a:lnTo>
                      <a:pt x="0" y="0"/>
                    </a:lnTo>
                    <a:lnTo>
                      <a:pt x="57551" y="0"/>
                    </a:lnTo>
                    <a:lnTo>
                      <a:pt x="57551" y="12778"/>
                    </a:lnTo>
                    <a:lnTo>
                      <a:pt x="12778" y="12778"/>
                    </a:lnTo>
                    <a:lnTo>
                      <a:pt x="12778" y="165942"/>
                    </a:lnTo>
                    <a:lnTo>
                      <a:pt x="57551" y="165942"/>
                    </a:lnTo>
                    <a:close/>
                  </a:path>
                </a:pathLst>
              </a:custGeom>
              <a:grpFill/>
              <a:ln w="2473" cap="flat">
                <a:noFill/>
                <a:prstDash val="solid"/>
                <a:miter/>
              </a:ln>
            </p:spPr>
            <p:txBody>
              <a:bodyPr rtlCol="0" anchor="ctr"/>
              <a:lstStyle/>
              <a:p>
                <a:endParaRPr lang="en-GB" dirty="0"/>
              </a:p>
            </p:txBody>
          </p:sp>
        </p:grpSp>
        <p:grpSp>
          <p:nvGrpSpPr>
            <p:cNvPr id="262" name="Grafik 179">
              <a:extLst>
                <a:ext uri="{FF2B5EF4-FFF2-40B4-BE49-F238E27FC236}">
                  <a16:creationId xmlns:a16="http://schemas.microsoft.com/office/drawing/2014/main" id="{171FB088-6A5C-40D1-AED7-A0D4B3D1822F}"/>
                </a:ext>
              </a:extLst>
            </p:cNvPr>
            <p:cNvGrpSpPr/>
            <p:nvPr/>
          </p:nvGrpSpPr>
          <p:grpSpPr>
            <a:xfrm>
              <a:off x="1734009" y="4229517"/>
              <a:ext cx="210950" cy="205094"/>
              <a:chOff x="3454180" y="4356834"/>
              <a:chExt cx="230154" cy="223765"/>
            </a:xfrm>
            <a:solidFill>
              <a:schemeClr val="accent1"/>
            </a:solidFill>
          </p:grpSpPr>
          <p:sp>
            <p:nvSpPr>
              <p:cNvPr id="263" name="Freihandform: Form 543">
                <a:extLst>
                  <a:ext uri="{FF2B5EF4-FFF2-40B4-BE49-F238E27FC236}">
                    <a16:creationId xmlns:a16="http://schemas.microsoft.com/office/drawing/2014/main" id="{2525428F-78B5-479F-8C02-769AF63A6E88}"/>
                  </a:ext>
                </a:extLst>
              </p:cNvPr>
              <p:cNvSpPr/>
              <p:nvPr/>
            </p:nvSpPr>
            <p:spPr>
              <a:xfrm>
                <a:off x="3454180" y="4356834"/>
                <a:ext cx="230154" cy="223765"/>
              </a:xfrm>
              <a:custGeom>
                <a:avLst/>
                <a:gdLst>
                  <a:gd name="connsiteX0" fmla="*/ 230154 w 230154"/>
                  <a:gd name="connsiteY0" fmla="*/ 223765 h 223765"/>
                  <a:gd name="connsiteX1" fmla="*/ 0 w 230154"/>
                  <a:gd name="connsiteY1" fmla="*/ 223765 h 223765"/>
                  <a:gd name="connsiteX2" fmla="*/ 0 w 230154"/>
                  <a:gd name="connsiteY2" fmla="*/ 0 h 223765"/>
                  <a:gd name="connsiteX3" fmla="*/ 12778 w 230154"/>
                  <a:gd name="connsiteY3" fmla="*/ 0 h 223765"/>
                  <a:gd name="connsiteX4" fmla="*/ 12778 w 230154"/>
                  <a:gd name="connsiteY4" fmla="*/ 210987 h 223765"/>
                  <a:gd name="connsiteX5" fmla="*/ 217376 w 230154"/>
                  <a:gd name="connsiteY5" fmla="*/ 210987 h 223765"/>
                  <a:gd name="connsiteX6" fmla="*/ 217376 w 230154"/>
                  <a:gd name="connsiteY6" fmla="*/ 0 h 223765"/>
                  <a:gd name="connsiteX7" fmla="*/ 230154 w 230154"/>
                  <a:gd name="connsiteY7" fmla="*/ 0 h 223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0154" h="223765">
                    <a:moveTo>
                      <a:pt x="230154" y="223765"/>
                    </a:moveTo>
                    <a:lnTo>
                      <a:pt x="0" y="223765"/>
                    </a:lnTo>
                    <a:lnTo>
                      <a:pt x="0" y="0"/>
                    </a:lnTo>
                    <a:lnTo>
                      <a:pt x="12778" y="0"/>
                    </a:lnTo>
                    <a:lnTo>
                      <a:pt x="12778" y="210987"/>
                    </a:lnTo>
                    <a:lnTo>
                      <a:pt x="217376" y="210987"/>
                    </a:lnTo>
                    <a:lnTo>
                      <a:pt x="217376" y="0"/>
                    </a:lnTo>
                    <a:lnTo>
                      <a:pt x="230154" y="0"/>
                    </a:lnTo>
                    <a:close/>
                  </a:path>
                </a:pathLst>
              </a:custGeom>
              <a:solidFill>
                <a:schemeClr val="accent1"/>
              </a:solidFill>
              <a:ln w="2473" cap="flat">
                <a:noFill/>
                <a:prstDash val="solid"/>
                <a:miter/>
              </a:ln>
            </p:spPr>
            <p:txBody>
              <a:bodyPr rtlCol="0" anchor="ctr"/>
              <a:lstStyle/>
              <a:p>
                <a:endParaRPr lang="en-GB" dirty="0"/>
              </a:p>
            </p:txBody>
          </p:sp>
          <p:sp>
            <p:nvSpPr>
              <p:cNvPr id="264" name="Freihandform: Form 544">
                <a:extLst>
                  <a:ext uri="{FF2B5EF4-FFF2-40B4-BE49-F238E27FC236}">
                    <a16:creationId xmlns:a16="http://schemas.microsoft.com/office/drawing/2014/main" id="{7B072D53-EE44-49BA-8DE2-5071E9B19ACA}"/>
                  </a:ext>
                </a:extLst>
              </p:cNvPr>
              <p:cNvSpPr/>
              <p:nvPr/>
            </p:nvSpPr>
            <p:spPr>
              <a:xfrm>
                <a:off x="3594838" y="4491103"/>
                <a:ext cx="63939" cy="63939"/>
              </a:xfrm>
              <a:custGeom>
                <a:avLst/>
                <a:gdLst>
                  <a:gd name="connsiteX0" fmla="*/ 31970 w 63939"/>
                  <a:gd name="connsiteY0" fmla="*/ 63940 h 63939"/>
                  <a:gd name="connsiteX1" fmla="*/ 0 w 63939"/>
                  <a:gd name="connsiteY1" fmla="*/ 31970 h 63939"/>
                  <a:gd name="connsiteX2" fmla="*/ 31970 w 63939"/>
                  <a:gd name="connsiteY2" fmla="*/ 0 h 63939"/>
                  <a:gd name="connsiteX3" fmla="*/ 63940 w 63939"/>
                  <a:gd name="connsiteY3" fmla="*/ 31970 h 63939"/>
                  <a:gd name="connsiteX4" fmla="*/ 31970 w 63939"/>
                  <a:gd name="connsiteY4" fmla="*/ 63940 h 63939"/>
                  <a:gd name="connsiteX5" fmla="*/ 31970 w 63939"/>
                  <a:gd name="connsiteY5" fmla="*/ 12778 h 63939"/>
                  <a:gd name="connsiteX6" fmla="*/ 12778 w 63939"/>
                  <a:gd name="connsiteY6" fmla="*/ 31970 h 63939"/>
                  <a:gd name="connsiteX7" fmla="*/ 31970 w 63939"/>
                  <a:gd name="connsiteY7" fmla="*/ 51162 h 63939"/>
                  <a:gd name="connsiteX8" fmla="*/ 51162 w 63939"/>
                  <a:gd name="connsiteY8" fmla="*/ 31970 h 63939"/>
                  <a:gd name="connsiteX9" fmla="*/ 31970 w 63939"/>
                  <a:gd name="connsiteY9" fmla="*/ 12778 h 63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939" h="63939">
                    <a:moveTo>
                      <a:pt x="31970" y="63940"/>
                    </a:moveTo>
                    <a:cubicBezTo>
                      <a:pt x="14338" y="63940"/>
                      <a:pt x="0" y="49602"/>
                      <a:pt x="0" y="31970"/>
                    </a:cubicBezTo>
                    <a:cubicBezTo>
                      <a:pt x="0" y="14338"/>
                      <a:pt x="14338" y="0"/>
                      <a:pt x="31970" y="0"/>
                    </a:cubicBezTo>
                    <a:cubicBezTo>
                      <a:pt x="49602" y="0"/>
                      <a:pt x="63940" y="14338"/>
                      <a:pt x="63940" y="31970"/>
                    </a:cubicBezTo>
                    <a:cubicBezTo>
                      <a:pt x="63940" y="49577"/>
                      <a:pt x="49577" y="63940"/>
                      <a:pt x="31970" y="63940"/>
                    </a:cubicBezTo>
                    <a:close/>
                    <a:moveTo>
                      <a:pt x="31970" y="12778"/>
                    </a:moveTo>
                    <a:cubicBezTo>
                      <a:pt x="21396" y="12778"/>
                      <a:pt x="12778" y="21371"/>
                      <a:pt x="12778" y="31970"/>
                    </a:cubicBezTo>
                    <a:cubicBezTo>
                      <a:pt x="12778" y="42544"/>
                      <a:pt x="21371" y="51162"/>
                      <a:pt x="31970" y="51162"/>
                    </a:cubicBezTo>
                    <a:cubicBezTo>
                      <a:pt x="42544" y="51162"/>
                      <a:pt x="51162" y="42569"/>
                      <a:pt x="51162" y="31970"/>
                    </a:cubicBezTo>
                    <a:cubicBezTo>
                      <a:pt x="51137" y="21396"/>
                      <a:pt x="42544" y="12778"/>
                      <a:pt x="31970" y="12778"/>
                    </a:cubicBezTo>
                    <a:close/>
                  </a:path>
                </a:pathLst>
              </a:custGeom>
              <a:solidFill>
                <a:schemeClr val="accent1"/>
              </a:solidFill>
              <a:ln w="2473" cap="flat">
                <a:noFill/>
                <a:prstDash val="solid"/>
                <a:miter/>
              </a:ln>
            </p:spPr>
            <p:txBody>
              <a:bodyPr rtlCol="0" anchor="ctr"/>
              <a:lstStyle/>
              <a:p>
                <a:endParaRPr lang="en-GB" dirty="0"/>
              </a:p>
            </p:txBody>
          </p:sp>
          <p:sp>
            <p:nvSpPr>
              <p:cNvPr id="265" name="Freihandform: Form 545">
                <a:extLst>
                  <a:ext uri="{FF2B5EF4-FFF2-40B4-BE49-F238E27FC236}">
                    <a16:creationId xmlns:a16="http://schemas.microsoft.com/office/drawing/2014/main" id="{DAD03AA0-9A37-4681-B84B-FF8654B9AA5B}"/>
                  </a:ext>
                </a:extLst>
              </p:cNvPr>
              <p:cNvSpPr/>
              <p:nvPr/>
            </p:nvSpPr>
            <p:spPr>
              <a:xfrm>
                <a:off x="3620394" y="4516659"/>
                <a:ext cx="12778" cy="12778"/>
              </a:xfrm>
              <a:custGeom>
                <a:avLst/>
                <a:gdLst>
                  <a:gd name="connsiteX0" fmla="*/ 0 w 12778"/>
                  <a:gd name="connsiteY0" fmla="*/ 0 h 12778"/>
                  <a:gd name="connsiteX1" fmla="*/ 12778 w 12778"/>
                  <a:gd name="connsiteY1" fmla="*/ 0 h 12778"/>
                  <a:gd name="connsiteX2" fmla="*/ 12778 w 12778"/>
                  <a:gd name="connsiteY2" fmla="*/ 12778 h 12778"/>
                  <a:gd name="connsiteX3" fmla="*/ 0 w 12778"/>
                  <a:gd name="connsiteY3" fmla="*/ 12778 h 12778"/>
                </a:gdLst>
                <a:ahLst/>
                <a:cxnLst>
                  <a:cxn ang="0">
                    <a:pos x="connsiteX0" y="connsiteY0"/>
                  </a:cxn>
                  <a:cxn ang="0">
                    <a:pos x="connsiteX1" y="connsiteY1"/>
                  </a:cxn>
                  <a:cxn ang="0">
                    <a:pos x="connsiteX2" y="connsiteY2"/>
                  </a:cxn>
                  <a:cxn ang="0">
                    <a:pos x="connsiteX3" y="connsiteY3"/>
                  </a:cxn>
                </a:cxnLst>
                <a:rect l="l" t="t" r="r" b="b"/>
                <a:pathLst>
                  <a:path w="12778" h="12778">
                    <a:moveTo>
                      <a:pt x="0" y="0"/>
                    </a:moveTo>
                    <a:lnTo>
                      <a:pt x="12778" y="0"/>
                    </a:lnTo>
                    <a:lnTo>
                      <a:pt x="12778" y="12778"/>
                    </a:lnTo>
                    <a:lnTo>
                      <a:pt x="0" y="12778"/>
                    </a:lnTo>
                    <a:close/>
                  </a:path>
                </a:pathLst>
              </a:custGeom>
              <a:solidFill>
                <a:schemeClr val="accent1"/>
              </a:solidFill>
              <a:ln w="2473" cap="flat">
                <a:noFill/>
                <a:prstDash val="solid"/>
                <a:miter/>
              </a:ln>
            </p:spPr>
            <p:txBody>
              <a:bodyPr rtlCol="0" anchor="ctr"/>
              <a:lstStyle/>
              <a:p>
                <a:endParaRPr lang="en-GB" dirty="0"/>
              </a:p>
            </p:txBody>
          </p:sp>
          <p:sp>
            <p:nvSpPr>
              <p:cNvPr id="266" name="Freihandform: Form 546">
                <a:extLst>
                  <a:ext uri="{FF2B5EF4-FFF2-40B4-BE49-F238E27FC236}">
                    <a16:creationId xmlns:a16="http://schemas.microsoft.com/office/drawing/2014/main" id="{2BEC6713-60C5-41C6-8056-860D6A086531}"/>
                  </a:ext>
                </a:extLst>
              </p:cNvPr>
              <p:cNvSpPr/>
              <p:nvPr/>
            </p:nvSpPr>
            <p:spPr>
              <a:xfrm>
                <a:off x="3486150" y="4516659"/>
                <a:ext cx="70328" cy="12778"/>
              </a:xfrm>
              <a:custGeom>
                <a:avLst/>
                <a:gdLst>
                  <a:gd name="connsiteX0" fmla="*/ 0 w 70328"/>
                  <a:gd name="connsiteY0" fmla="*/ 0 h 12778"/>
                  <a:gd name="connsiteX1" fmla="*/ 70329 w 70328"/>
                  <a:gd name="connsiteY1" fmla="*/ 0 h 12778"/>
                  <a:gd name="connsiteX2" fmla="*/ 70329 w 70328"/>
                  <a:gd name="connsiteY2" fmla="*/ 12778 h 12778"/>
                  <a:gd name="connsiteX3" fmla="*/ 0 w 70328"/>
                  <a:gd name="connsiteY3" fmla="*/ 12778 h 12778"/>
                </a:gdLst>
                <a:ahLst/>
                <a:cxnLst>
                  <a:cxn ang="0">
                    <a:pos x="connsiteX0" y="connsiteY0"/>
                  </a:cxn>
                  <a:cxn ang="0">
                    <a:pos x="connsiteX1" y="connsiteY1"/>
                  </a:cxn>
                  <a:cxn ang="0">
                    <a:pos x="connsiteX2" y="connsiteY2"/>
                  </a:cxn>
                  <a:cxn ang="0">
                    <a:pos x="connsiteX3" y="connsiteY3"/>
                  </a:cxn>
                </a:cxnLst>
                <a:rect l="l" t="t" r="r" b="b"/>
                <a:pathLst>
                  <a:path w="70328" h="12778">
                    <a:moveTo>
                      <a:pt x="0" y="0"/>
                    </a:moveTo>
                    <a:lnTo>
                      <a:pt x="70329" y="0"/>
                    </a:lnTo>
                    <a:lnTo>
                      <a:pt x="70329" y="12778"/>
                    </a:lnTo>
                    <a:lnTo>
                      <a:pt x="0" y="12778"/>
                    </a:lnTo>
                    <a:close/>
                  </a:path>
                </a:pathLst>
              </a:custGeom>
              <a:solidFill>
                <a:schemeClr val="accent1"/>
              </a:solidFill>
              <a:ln w="2473" cap="flat">
                <a:noFill/>
                <a:prstDash val="solid"/>
                <a:miter/>
              </a:ln>
            </p:spPr>
            <p:txBody>
              <a:bodyPr rtlCol="0" anchor="ctr"/>
              <a:lstStyle/>
              <a:p>
                <a:endParaRPr lang="en-GB" dirty="0"/>
              </a:p>
            </p:txBody>
          </p:sp>
          <p:sp>
            <p:nvSpPr>
              <p:cNvPr id="267" name="Freihandform: Form 547">
                <a:extLst>
                  <a:ext uri="{FF2B5EF4-FFF2-40B4-BE49-F238E27FC236}">
                    <a16:creationId xmlns:a16="http://schemas.microsoft.com/office/drawing/2014/main" id="{1262668B-70DA-4F91-857D-FE51A97BA311}"/>
                  </a:ext>
                </a:extLst>
              </p:cNvPr>
              <p:cNvSpPr/>
              <p:nvPr/>
            </p:nvSpPr>
            <p:spPr>
              <a:xfrm>
                <a:off x="3486150" y="4459133"/>
                <a:ext cx="166238" cy="12778"/>
              </a:xfrm>
              <a:custGeom>
                <a:avLst/>
                <a:gdLst>
                  <a:gd name="connsiteX0" fmla="*/ 0 w 166238"/>
                  <a:gd name="connsiteY0" fmla="*/ 0 h 12778"/>
                  <a:gd name="connsiteX1" fmla="*/ 166239 w 166238"/>
                  <a:gd name="connsiteY1" fmla="*/ 0 h 12778"/>
                  <a:gd name="connsiteX2" fmla="*/ 166239 w 166238"/>
                  <a:gd name="connsiteY2" fmla="*/ 12778 h 12778"/>
                  <a:gd name="connsiteX3" fmla="*/ 0 w 166238"/>
                  <a:gd name="connsiteY3" fmla="*/ 12778 h 12778"/>
                </a:gdLst>
                <a:ahLst/>
                <a:cxnLst>
                  <a:cxn ang="0">
                    <a:pos x="connsiteX0" y="connsiteY0"/>
                  </a:cxn>
                  <a:cxn ang="0">
                    <a:pos x="connsiteX1" y="connsiteY1"/>
                  </a:cxn>
                  <a:cxn ang="0">
                    <a:pos x="connsiteX2" y="connsiteY2"/>
                  </a:cxn>
                  <a:cxn ang="0">
                    <a:pos x="connsiteX3" y="connsiteY3"/>
                  </a:cxn>
                </a:cxnLst>
                <a:rect l="l" t="t" r="r" b="b"/>
                <a:pathLst>
                  <a:path w="166238" h="12778">
                    <a:moveTo>
                      <a:pt x="0" y="0"/>
                    </a:moveTo>
                    <a:lnTo>
                      <a:pt x="166239" y="0"/>
                    </a:lnTo>
                    <a:lnTo>
                      <a:pt x="166239" y="12778"/>
                    </a:lnTo>
                    <a:lnTo>
                      <a:pt x="0" y="12778"/>
                    </a:lnTo>
                    <a:close/>
                  </a:path>
                </a:pathLst>
              </a:custGeom>
              <a:solidFill>
                <a:schemeClr val="accent1"/>
              </a:solidFill>
              <a:ln w="2473" cap="flat">
                <a:noFill/>
                <a:prstDash val="solid"/>
                <a:miter/>
              </a:ln>
            </p:spPr>
            <p:txBody>
              <a:bodyPr rtlCol="0" anchor="ctr"/>
              <a:lstStyle/>
              <a:p>
                <a:endParaRPr lang="en-GB" dirty="0"/>
              </a:p>
            </p:txBody>
          </p:sp>
          <p:sp>
            <p:nvSpPr>
              <p:cNvPr id="268" name="Freihandform: Form 548">
                <a:extLst>
                  <a:ext uri="{FF2B5EF4-FFF2-40B4-BE49-F238E27FC236}">
                    <a16:creationId xmlns:a16="http://schemas.microsoft.com/office/drawing/2014/main" id="{C3C0BBAD-27AB-43DD-AEDC-D79BC2320BF4}"/>
                  </a:ext>
                </a:extLst>
              </p:cNvPr>
              <p:cNvSpPr/>
              <p:nvPr/>
            </p:nvSpPr>
            <p:spPr>
              <a:xfrm>
                <a:off x="3486150" y="4420774"/>
                <a:ext cx="166238" cy="12778"/>
              </a:xfrm>
              <a:custGeom>
                <a:avLst/>
                <a:gdLst>
                  <a:gd name="connsiteX0" fmla="*/ 0 w 166238"/>
                  <a:gd name="connsiteY0" fmla="*/ 0 h 12778"/>
                  <a:gd name="connsiteX1" fmla="*/ 166239 w 166238"/>
                  <a:gd name="connsiteY1" fmla="*/ 0 h 12778"/>
                  <a:gd name="connsiteX2" fmla="*/ 166239 w 166238"/>
                  <a:gd name="connsiteY2" fmla="*/ 12778 h 12778"/>
                  <a:gd name="connsiteX3" fmla="*/ 0 w 166238"/>
                  <a:gd name="connsiteY3" fmla="*/ 12778 h 12778"/>
                </a:gdLst>
                <a:ahLst/>
                <a:cxnLst>
                  <a:cxn ang="0">
                    <a:pos x="connsiteX0" y="connsiteY0"/>
                  </a:cxn>
                  <a:cxn ang="0">
                    <a:pos x="connsiteX1" y="connsiteY1"/>
                  </a:cxn>
                  <a:cxn ang="0">
                    <a:pos x="connsiteX2" y="connsiteY2"/>
                  </a:cxn>
                  <a:cxn ang="0">
                    <a:pos x="connsiteX3" y="connsiteY3"/>
                  </a:cxn>
                </a:cxnLst>
                <a:rect l="l" t="t" r="r" b="b"/>
                <a:pathLst>
                  <a:path w="166238" h="12778">
                    <a:moveTo>
                      <a:pt x="0" y="0"/>
                    </a:moveTo>
                    <a:lnTo>
                      <a:pt x="166239" y="0"/>
                    </a:lnTo>
                    <a:lnTo>
                      <a:pt x="166239" y="12778"/>
                    </a:lnTo>
                    <a:lnTo>
                      <a:pt x="0" y="12778"/>
                    </a:lnTo>
                    <a:close/>
                  </a:path>
                </a:pathLst>
              </a:custGeom>
              <a:solidFill>
                <a:schemeClr val="accent1"/>
              </a:solidFill>
              <a:ln w="2473" cap="flat">
                <a:noFill/>
                <a:prstDash val="solid"/>
                <a:miter/>
              </a:ln>
            </p:spPr>
            <p:txBody>
              <a:bodyPr rtlCol="0" anchor="ctr"/>
              <a:lstStyle/>
              <a:p>
                <a:endParaRPr lang="en-GB" dirty="0"/>
              </a:p>
            </p:txBody>
          </p:sp>
        </p:grpSp>
      </p:grpSp>
      <p:grpSp>
        <p:nvGrpSpPr>
          <p:cNvPr id="37" name="Group 36">
            <a:extLst>
              <a:ext uri="{FF2B5EF4-FFF2-40B4-BE49-F238E27FC236}">
                <a16:creationId xmlns:a16="http://schemas.microsoft.com/office/drawing/2014/main" id="{41A0E9D1-ECDE-4F15-9678-FB8E54B2DF0D}"/>
              </a:ext>
            </a:extLst>
          </p:cNvPr>
          <p:cNvGrpSpPr/>
          <p:nvPr/>
        </p:nvGrpSpPr>
        <p:grpSpPr>
          <a:xfrm>
            <a:off x="2632819" y="4002611"/>
            <a:ext cx="504199" cy="432000"/>
            <a:chOff x="2632819" y="4002611"/>
            <a:chExt cx="504199" cy="432000"/>
          </a:xfrm>
        </p:grpSpPr>
        <p:sp>
          <p:nvSpPr>
            <p:cNvPr id="281" name="Freihandform: Form 1438">
              <a:extLst>
                <a:ext uri="{FF2B5EF4-FFF2-40B4-BE49-F238E27FC236}">
                  <a16:creationId xmlns:a16="http://schemas.microsoft.com/office/drawing/2014/main" id="{50B7A3C4-F937-4E94-BDB5-DDCCDF7103BC}"/>
                </a:ext>
              </a:extLst>
            </p:cNvPr>
            <p:cNvSpPr/>
            <p:nvPr/>
          </p:nvSpPr>
          <p:spPr>
            <a:xfrm>
              <a:off x="2632819" y="4002611"/>
              <a:ext cx="504199" cy="329781"/>
            </a:xfrm>
            <a:custGeom>
              <a:avLst/>
              <a:gdLst>
                <a:gd name="connsiteX0" fmla="*/ 400560 w 485311"/>
                <a:gd name="connsiteY0" fmla="*/ 317428 h 317427"/>
                <a:gd name="connsiteX1" fmla="*/ 305828 w 485311"/>
                <a:gd name="connsiteY1" fmla="*/ 317428 h 317427"/>
                <a:gd name="connsiteX2" fmla="*/ 305828 w 485311"/>
                <a:gd name="connsiteY2" fmla="*/ 304312 h 317427"/>
                <a:gd name="connsiteX3" fmla="*/ 399959 w 485311"/>
                <a:gd name="connsiteY3" fmla="*/ 304312 h 317427"/>
                <a:gd name="connsiteX4" fmla="*/ 400429 w 485311"/>
                <a:gd name="connsiteY4" fmla="*/ 304286 h 317427"/>
                <a:gd name="connsiteX5" fmla="*/ 472144 w 485311"/>
                <a:gd name="connsiteY5" fmla="*/ 232284 h 317427"/>
                <a:gd name="connsiteX6" fmla="*/ 401004 w 485311"/>
                <a:gd name="connsiteY6" fmla="*/ 160307 h 317427"/>
                <a:gd name="connsiteX7" fmla="*/ 395543 w 485311"/>
                <a:gd name="connsiteY7" fmla="*/ 157068 h 317427"/>
                <a:gd name="connsiteX8" fmla="*/ 395387 w 485311"/>
                <a:gd name="connsiteY8" fmla="*/ 150719 h 317427"/>
                <a:gd name="connsiteX9" fmla="*/ 405942 w 485311"/>
                <a:gd name="connsiteY9" fmla="*/ 107716 h 317427"/>
                <a:gd name="connsiteX10" fmla="*/ 309747 w 485311"/>
                <a:gd name="connsiteY10" fmla="*/ 13141 h 317427"/>
                <a:gd name="connsiteX11" fmla="*/ 224733 w 485311"/>
                <a:gd name="connsiteY11" fmla="*/ 63459 h 317427"/>
                <a:gd name="connsiteX12" fmla="*/ 220214 w 485311"/>
                <a:gd name="connsiteY12" fmla="*/ 66777 h 317427"/>
                <a:gd name="connsiteX13" fmla="*/ 214780 w 485311"/>
                <a:gd name="connsiteY13" fmla="*/ 65393 h 317427"/>
                <a:gd name="connsiteX14" fmla="*/ 157721 w 485311"/>
                <a:gd name="connsiteY14" fmla="*/ 44910 h 317427"/>
                <a:gd name="connsiteX15" fmla="*/ 69181 w 485311"/>
                <a:gd name="connsiteY15" fmla="*/ 131857 h 317427"/>
                <a:gd name="connsiteX16" fmla="*/ 65288 w 485311"/>
                <a:gd name="connsiteY16" fmla="*/ 137839 h 317427"/>
                <a:gd name="connsiteX17" fmla="*/ 13115 w 485311"/>
                <a:gd name="connsiteY17" fmla="*/ 217209 h 317427"/>
                <a:gd name="connsiteX18" fmla="*/ 101681 w 485311"/>
                <a:gd name="connsiteY18" fmla="*/ 304260 h 317427"/>
                <a:gd name="connsiteX19" fmla="*/ 174703 w 485311"/>
                <a:gd name="connsiteY19" fmla="*/ 304260 h 317427"/>
                <a:gd name="connsiteX20" fmla="*/ 174703 w 485311"/>
                <a:gd name="connsiteY20" fmla="*/ 317375 h 317427"/>
                <a:gd name="connsiteX21" fmla="*/ 101681 w 485311"/>
                <a:gd name="connsiteY21" fmla="*/ 317375 h 317427"/>
                <a:gd name="connsiteX22" fmla="*/ 0 w 485311"/>
                <a:gd name="connsiteY22" fmla="*/ 217209 h 317427"/>
                <a:gd name="connsiteX23" fmla="*/ 56144 w 485311"/>
                <a:gd name="connsiteY23" fmla="*/ 127624 h 317427"/>
                <a:gd name="connsiteX24" fmla="*/ 157721 w 485311"/>
                <a:gd name="connsiteY24" fmla="*/ 31769 h 317427"/>
                <a:gd name="connsiteX25" fmla="*/ 217079 w 485311"/>
                <a:gd name="connsiteY25" fmla="*/ 50606 h 317427"/>
                <a:gd name="connsiteX26" fmla="*/ 309773 w 485311"/>
                <a:gd name="connsiteY26" fmla="*/ 0 h 317427"/>
                <a:gd name="connsiteX27" fmla="*/ 419083 w 485311"/>
                <a:gd name="connsiteY27" fmla="*/ 107690 h 317427"/>
                <a:gd name="connsiteX28" fmla="*/ 411141 w 485311"/>
                <a:gd name="connsiteY28" fmla="*/ 147950 h 317427"/>
                <a:gd name="connsiteX29" fmla="*/ 485312 w 485311"/>
                <a:gd name="connsiteY29" fmla="*/ 232232 h 317427"/>
                <a:gd name="connsiteX30" fmla="*/ 401396 w 485311"/>
                <a:gd name="connsiteY30" fmla="*/ 317323 h 317427"/>
                <a:gd name="connsiteX31" fmla="*/ 400560 w 485311"/>
                <a:gd name="connsiteY31" fmla="*/ 317428 h 317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85311" h="317427">
                  <a:moveTo>
                    <a:pt x="400560" y="317428"/>
                  </a:moveTo>
                  <a:lnTo>
                    <a:pt x="305828" y="317428"/>
                  </a:lnTo>
                  <a:lnTo>
                    <a:pt x="305828" y="304312"/>
                  </a:lnTo>
                  <a:lnTo>
                    <a:pt x="399959" y="304312"/>
                  </a:lnTo>
                  <a:cubicBezTo>
                    <a:pt x="400115" y="304286"/>
                    <a:pt x="400272" y="304286"/>
                    <a:pt x="400429" y="304286"/>
                  </a:cubicBezTo>
                  <a:cubicBezTo>
                    <a:pt x="439983" y="303450"/>
                    <a:pt x="472144" y="271159"/>
                    <a:pt x="472144" y="232284"/>
                  </a:cubicBezTo>
                  <a:cubicBezTo>
                    <a:pt x="472144" y="193043"/>
                    <a:pt x="440898" y="161457"/>
                    <a:pt x="401004" y="160307"/>
                  </a:cubicBezTo>
                  <a:cubicBezTo>
                    <a:pt x="398757" y="160255"/>
                    <a:pt x="396693" y="159027"/>
                    <a:pt x="395543" y="157068"/>
                  </a:cubicBezTo>
                  <a:cubicBezTo>
                    <a:pt x="394394" y="155108"/>
                    <a:pt x="394342" y="152731"/>
                    <a:pt x="395387" y="150719"/>
                  </a:cubicBezTo>
                  <a:cubicBezTo>
                    <a:pt x="402388" y="137265"/>
                    <a:pt x="405942" y="122791"/>
                    <a:pt x="405942" y="107716"/>
                  </a:cubicBezTo>
                  <a:cubicBezTo>
                    <a:pt x="405942" y="55569"/>
                    <a:pt x="362782" y="13141"/>
                    <a:pt x="309747" y="13141"/>
                  </a:cubicBezTo>
                  <a:cubicBezTo>
                    <a:pt x="274059" y="13141"/>
                    <a:pt x="241480" y="32422"/>
                    <a:pt x="224733" y="63459"/>
                  </a:cubicBezTo>
                  <a:cubicBezTo>
                    <a:pt x="223793" y="65184"/>
                    <a:pt x="222147" y="66412"/>
                    <a:pt x="220214" y="66777"/>
                  </a:cubicBezTo>
                  <a:cubicBezTo>
                    <a:pt x="218307" y="67169"/>
                    <a:pt x="216295" y="66647"/>
                    <a:pt x="214780" y="65393"/>
                  </a:cubicBezTo>
                  <a:cubicBezTo>
                    <a:pt x="198869" y="52199"/>
                    <a:pt x="178595" y="44910"/>
                    <a:pt x="157721" y="44910"/>
                  </a:cubicBezTo>
                  <a:cubicBezTo>
                    <a:pt x="108944" y="44910"/>
                    <a:pt x="69207" y="83916"/>
                    <a:pt x="69181" y="131857"/>
                  </a:cubicBezTo>
                  <a:cubicBezTo>
                    <a:pt x="69181" y="134443"/>
                    <a:pt x="67666" y="136794"/>
                    <a:pt x="65288" y="137839"/>
                  </a:cubicBezTo>
                  <a:cubicBezTo>
                    <a:pt x="33598" y="151921"/>
                    <a:pt x="13115" y="183063"/>
                    <a:pt x="13115" y="217209"/>
                  </a:cubicBezTo>
                  <a:cubicBezTo>
                    <a:pt x="13115" y="265202"/>
                    <a:pt x="52852" y="304260"/>
                    <a:pt x="101681" y="304260"/>
                  </a:cubicBezTo>
                  <a:lnTo>
                    <a:pt x="174703" y="304260"/>
                  </a:lnTo>
                  <a:lnTo>
                    <a:pt x="174703" y="317375"/>
                  </a:lnTo>
                  <a:lnTo>
                    <a:pt x="101681" y="317375"/>
                  </a:lnTo>
                  <a:cubicBezTo>
                    <a:pt x="45615" y="317375"/>
                    <a:pt x="0" y="272439"/>
                    <a:pt x="0" y="217209"/>
                  </a:cubicBezTo>
                  <a:cubicBezTo>
                    <a:pt x="0" y="179275"/>
                    <a:pt x="21893" y="144554"/>
                    <a:pt x="56144" y="127624"/>
                  </a:cubicBezTo>
                  <a:cubicBezTo>
                    <a:pt x="58443" y="74380"/>
                    <a:pt x="103144" y="31769"/>
                    <a:pt x="157721" y="31769"/>
                  </a:cubicBezTo>
                  <a:cubicBezTo>
                    <a:pt x="179066" y="31769"/>
                    <a:pt x="199862" y="38405"/>
                    <a:pt x="217079" y="50606"/>
                  </a:cubicBezTo>
                  <a:cubicBezTo>
                    <a:pt x="236986" y="19202"/>
                    <a:pt x="271838" y="0"/>
                    <a:pt x="309773" y="0"/>
                  </a:cubicBezTo>
                  <a:cubicBezTo>
                    <a:pt x="370045" y="0"/>
                    <a:pt x="419083" y="48306"/>
                    <a:pt x="419083" y="107690"/>
                  </a:cubicBezTo>
                  <a:cubicBezTo>
                    <a:pt x="419083" y="121668"/>
                    <a:pt x="416418" y="135175"/>
                    <a:pt x="411141" y="147950"/>
                  </a:cubicBezTo>
                  <a:cubicBezTo>
                    <a:pt x="453438" y="153750"/>
                    <a:pt x="485312" y="189098"/>
                    <a:pt x="485312" y="232232"/>
                  </a:cubicBezTo>
                  <a:cubicBezTo>
                    <a:pt x="485312" y="277978"/>
                    <a:pt x="447717" y="316017"/>
                    <a:pt x="401396" y="317323"/>
                  </a:cubicBezTo>
                  <a:cubicBezTo>
                    <a:pt x="401082" y="317428"/>
                    <a:pt x="400821" y="317428"/>
                    <a:pt x="400560" y="317428"/>
                  </a:cubicBezTo>
                  <a:close/>
                </a:path>
              </a:pathLst>
            </a:custGeom>
            <a:solidFill>
              <a:schemeClr val="tx2"/>
            </a:solidFill>
            <a:ln w="2609" cap="flat">
              <a:noFill/>
              <a:prstDash val="solid"/>
              <a:miter/>
            </a:ln>
          </p:spPr>
          <p:txBody>
            <a:bodyPr rtlCol="0" anchor="ctr"/>
            <a:lstStyle/>
            <a:p>
              <a:endParaRPr lang="en-GB" dirty="0"/>
            </a:p>
          </p:txBody>
        </p:sp>
        <p:grpSp>
          <p:nvGrpSpPr>
            <p:cNvPr id="282" name="Group 1127">
              <a:extLst>
                <a:ext uri="{FF2B5EF4-FFF2-40B4-BE49-F238E27FC236}">
                  <a16:creationId xmlns:a16="http://schemas.microsoft.com/office/drawing/2014/main" id="{1D43373C-11C3-43EF-84DA-7DF0DCF2FF49}"/>
                </a:ext>
              </a:extLst>
            </p:cNvPr>
            <p:cNvGrpSpPr/>
            <p:nvPr/>
          </p:nvGrpSpPr>
          <p:grpSpPr>
            <a:xfrm>
              <a:off x="2766578" y="4093918"/>
              <a:ext cx="231660" cy="340693"/>
              <a:chOff x="6280620" y="1777555"/>
              <a:chExt cx="222982" cy="327930"/>
            </a:xfrm>
            <a:solidFill>
              <a:schemeClr val="accent1"/>
            </a:solidFill>
          </p:grpSpPr>
          <p:grpSp>
            <p:nvGrpSpPr>
              <p:cNvPr id="283" name="Grafik 197">
                <a:extLst>
                  <a:ext uri="{FF2B5EF4-FFF2-40B4-BE49-F238E27FC236}">
                    <a16:creationId xmlns:a16="http://schemas.microsoft.com/office/drawing/2014/main" id="{E25CC75C-3838-42EC-B0E1-F63B222ED6EC}"/>
                  </a:ext>
                </a:extLst>
              </p:cNvPr>
              <p:cNvGrpSpPr/>
              <p:nvPr/>
            </p:nvGrpSpPr>
            <p:grpSpPr>
              <a:xfrm>
                <a:off x="6305438" y="1777555"/>
                <a:ext cx="178441" cy="201324"/>
                <a:chOff x="6305438" y="1777555"/>
                <a:chExt cx="178441" cy="201324"/>
              </a:xfrm>
              <a:solidFill>
                <a:schemeClr val="accent1"/>
              </a:solidFill>
            </p:grpSpPr>
            <p:grpSp>
              <p:nvGrpSpPr>
                <p:cNvPr id="291" name="Grafik 197">
                  <a:extLst>
                    <a:ext uri="{FF2B5EF4-FFF2-40B4-BE49-F238E27FC236}">
                      <a16:creationId xmlns:a16="http://schemas.microsoft.com/office/drawing/2014/main" id="{8E7BEA65-44F5-48A2-933B-FF056C1A9944}"/>
                    </a:ext>
                  </a:extLst>
                </p:cNvPr>
                <p:cNvGrpSpPr/>
                <p:nvPr/>
              </p:nvGrpSpPr>
              <p:grpSpPr>
                <a:xfrm>
                  <a:off x="6305438" y="1777555"/>
                  <a:ext cx="178441" cy="201324"/>
                  <a:chOff x="6305438" y="1777555"/>
                  <a:chExt cx="178441" cy="201324"/>
                </a:xfrm>
                <a:solidFill>
                  <a:schemeClr val="accent1"/>
                </a:solidFill>
              </p:grpSpPr>
              <p:sp>
                <p:nvSpPr>
                  <p:cNvPr id="293" name="Freihandform: Form 1450">
                    <a:extLst>
                      <a:ext uri="{FF2B5EF4-FFF2-40B4-BE49-F238E27FC236}">
                        <a16:creationId xmlns:a16="http://schemas.microsoft.com/office/drawing/2014/main" id="{F48A1C2A-8B68-4B56-B6A3-CA9D365CD9C8}"/>
                      </a:ext>
                    </a:extLst>
                  </p:cNvPr>
                  <p:cNvSpPr/>
                  <p:nvPr/>
                </p:nvSpPr>
                <p:spPr>
                  <a:xfrm>
                    <a:off x="6305438" y="1818692"/>
                    <a:ext cx="178414" cy="119040"/>
                  </a:xfrm>
                  <a:custGeom>
                    <a:avLst/>
                    <a:gdLst>
                      <a:gd name="connsiteX0" fmla="*/ 155083 w 178414"/>
                      <a:gd name="connsiteY0" fmla="*/ 119040 h 119040"/>
                      <a:gd name="connsiteX1" fmla="*/ 135411 w 178414"/>
                      <a:gd name="connsiteY1" fmla="*/ 116376 h 119040"/>
                      <a:gd name="connsiteX2" fmla="*/ 71899 w 178414"/>
                      <a:gd name="connsiteY2" fmla="*/ 89518 h 119040"/>
                      <a:gd name="connsiteX3" fmla="*/ 2039 w 178414"/>
                      <a:gd name="connsiteY3" fmla="*/ 9182 h 119040"/>
                      <a:gd name="connsiteX4" fmla="*/ 43030 w 178414"/>
                      <a:gd name="connsiteY4" fmla="*/ 2676 h 119040"/>
                      <a:gd name="connsiteX5" fmla="*/ 106516 w 178414"/>
                      <a:gd name="connsiteY5" fmla="*/ 29534 h 119040"/>
                      <a:gd name="connsiteX6" fmla="*/ 176376 w 178414"/>
                      <a:gd name="connsiteY6" fmla="*/ 109870 h 119040"/>
                      <a:gd name="connsiteX7" fmla="*/ 155083 w 178414"/>
                      <a:gd name="connsiteY7" fmla="*/ 119040 h 119040"/>
                      <a:gd name="connsiteX8" fmla="*/ 23201 w 178414"/>
                      <a:gd name="connsiteY8" fmla="*/ 13127 h 119040"/>
                      <a:gd name="connsiteX9" fmla="*/ 13404 w 178414"/>
                      <a:gd name="connsiteY9" fmla="*/ 15765 h 119040"/>
                      <a:gd name="connsiteX10" fmla="*/ 78457 w 178414"/>
                      <a:gd name="connsiteY10" fmla="*/ 78180 h 119040"/>
                      <a:gd name="connsiteX11" fmla="*/ 138441 w 178414"/>
                      <a:gd name="connsiteY11" fmla="*/ 103626 h 119040"/>
                      <a:gd name="connsiteX12" fmla="*/ 165037 w 178414"/>
                      <a:gd name="connsiteY12" fmla="*/ 103313 h 119040"/>
                      <a:gd name="connsiteX13" fmla="*/ 99984 w 178414"/>
                      <a:gd name="connsiteY13" fmla="*/ 40898 h 119040"/>
                      <a:gd name="connsiteX14" fmla="*/ 40000 w 178414"/>
                      <a:gd name="connsiteY14" fmla="*/ 15452 h 119040"/>
                      <a:gd name="connsiteX15" fmla="*/ 23201 w 178414"/>
                      <a:gd name="connsiteY15" fmla="*/ 13127 h 11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8414" h="119040">
                        <a:moveTo>
                          <a:pt x="155083" y="119040"/>
                        </a:moveTo>
                        <a:cubicBezTo>
                          <a:pt x="149806" y="119040"/>
                          <a:pt x="143327" y="118257"/>
                          <a:pt x="135411" y="116376"/>
                        </a:cubicBezTo>
                        <a:cubicBezTo>
                          <a:pt x="116757" y="111934"/>
                          <a:pt x="94211" y="102398"/>
                          <a:pt x="71899" y="89518"/>
                        </a:cubicBezTo>
                        <a:cubicBezTo>
                          <a:pt x="28583" y="64516"/>
                          <a:pt x="-9326" y="28880"/>
                          <a:pt x="2039" y="9182"/>
                        </a:cubicBezTo>
                        <a:cubicBezTo>
                          <a:pt x="5801" y="2650"/>
                          <a:pt x="15990" y="-3777"/>
                          <a:pt x="43030" y="2676"/>
                        </a:cubicBezTo>
                        <a:cubicBezTo>
                          <a:pt x="61684" y="7118"/>
                          <a:pt x="84231" y="16654"/>
                          <a:pt x="106516" y="29534"/>
                        </a:cubicBezTo>
                        <a:cubicBezTo>
                          <a:pt x="149832" y="54536"/>
                          <a:pt x="187741" y="90171"/>
                          <a:pt x="176376" y="109870"/>
                        </a:cubicBezTo>
                        <a:cubicBezTo>
                          <a:pt x="173737" y="114468"/>
                          <a:pt x="167859" y="119040"/>
                          <a:pt x="155083" y="119040"/>
                        </a:cubicBezTo>
                        <a:close/>
                        <a:moveTo>
                          <a:pt x="23201" y="13127"/>
                        </a:moveTo>
                        <a:cubicBezTo>
                          <a:pt x="17323" y="13127"/>
                          <a:pt x="14187" y="14381"/>
                          <a:pt x="13404" y="15765"/>
                        </a:cubicBezTo>
                        <a:cubicBezTo>
                          <a:pt x="9746" y="22088"/>
                          <a:pt x="29393" y="49859"/>
                          <a:pt x="78457" y="78180"/>
                        </a:cubicBezTo>
                        <a:cubicBezTo>
                          <a:pt x="99697" y="90433"/>
                          <a:pt x="120989" y="99472"/>
                          <a:pt x="138441" y="103626"/>
                        </a:cubicBezTo>
                        <a:cubicBezTo>
                          <a:pt x="155475" y="107676"/>
                          <a:pt x="163679" y="105664"/>
                          <a:pt x="165037" y="103313"/>
                        </a:cubicBezTo>
                        <a:cubicBezTo>
                          <a:pt x="168695" y="96990"/>
                          <a:pt x="149048" y="69219"/>
                          <a:pt x="99984" y="40898"/>
                        </a:cubicBezTo>
                        <a:cubicBezTo>
                          <a:pt x="78744" y="28645"/>
                          <a:pt x="57452" y="19606"/>
                          <a:pt x="40000" y="15452"/>
                        </a:cubicBezTo>
                        <a:cubicBezTo>
                          <a:pt x="32920" y="13754"/>
                          <a:pt x="27381" y="13127"/>
                          <a:pt x="23201" y="13127"/>
                        </a:cubicBezTo>
                        <a:close/>
                      </a:path>
                    </a:pathLst>
                  </a:custGeom>
                  <a:solidFill>
                    <a:schemeClr val="accent1"/>
                  </a:solidFill>
                  <a:ln w="2609" cap="flat">
                    <a:noFill/>
                    <a:prstDash val="solid"/>
                    <a:miter/>
                  </a:ln>
                </p:spPr>
                <p:txBody>
                  <a:bodyPr rtlCol="0" anchor="ctr"/>
                  <a:lstStyle/>
                  <a:p>
                    <a:endParaRPr lang="en-GB" dirty="0"/>
                  </a:p>
                </p:txBody>
              </p:sp>
              <p:sp>
                <p:nvSpPr>
                  <p:cNvPr id="294" name="Freihandform: Form 1451">
                    <a:extLst>
                      <a:ext uri="{FF2B5EF4-FFF2-40B4-BE49-F238E27FC236}">
                        <a16:creationId xmlns:a16="http://schemas.microsoft.com/office/drawing/2014/main" id="{6871FC3E-7144-42F5-AA86-5930DB9E52DD}"/>
                      </a:ext>
                    </a:extLst>
                  </p:cNvPr>
                  <p:cNvSpPr/>
                  <p:nvPr/>
                </p:nvSpPr>
                <p:spPr>
                  <a:xfrm>
                    <a:off x="6305438" y="1818692"/>
                    <a:ext cx="178441" cy="119040"/>
                  </a:xfrm>
                  <a:custGeom>
                    <a:avLst/>
                    <a:gdLst>
                      <a:gd name="connsiteX0" fmla="*/ 23358 w 178441"/>
                      <a:gd name="connsiteY0" fmla="*/ 119040 h 119040"/>
                      <a:gd name="connsiteX1" fmla="*/ 2039 w 178441"/>
                      <a:gd name="connsiteY1" fmla="*/ 109870 h 119040"/>
                      <a:gd name="connsiteX2" fmla="*/ 71899 w 178441"/>
                      <a:gd name="connsiteY2" fmla="*/ 29534 h 119040"/>
                      <a:gd name="connsiteX3" fmla="*/ 135411 w 178441"/>
                      <a:gd name="connsiteY3" fmla="*/ 2676 h 119040"/>
                      <a:gd name="connsiteX4" fmla="*/ 176402 w 178441"/>
                      <a:gd name="connsiteY4" fmla="*/ 9182 h 119040"/>
                      <a:gd name="connsiteX5" fmla="*/ 106542 w 178441"/>
                      <a:gd name="connsiteY5" fmla="*/ 89518 h 119040"/>
                      <a:gd name="connsiteX6" fmla="*/ 43056 w 178441"/>
                      <a:gd name="connsiteY6" fmla="*/ 116376 h 119040"/>
                      <a:gd name="connsiteX7" fmla="*/ 23358 w 178441"/>
                      <a:gd name="connsiteY7" fmla="*/ 119040 h 119040"/>
                      <a:gd name="connsiteX8" fmla="*/ 155240 w 178441"/>
                      <a:gd name="connsiteY8" fmla="*/ 13127 h 119040"/>
                      <a:gd name="connsiteX9" fmla="*/ 138441 w 178441"/>
                      <a:gd name="connsiteY9" fmla="*/ 15452 h 119040"/>
                      <a:gd name="connsiteX10" fmla="*/ 78457 w 178441"/>
                      <a:gd name="connsiteY10" fmla="*/ 40898 h 119040"/>
                      <a:gd name="connsiteX11" fmla="*/ 13404 w 178441"/>
                      <a:gd name="connsiteY11" fmla="*/ 103313 h 119040"/>
                      <a:gd name="connsiteX12" fmla="*/ 40000 w 178441"/>
                      <a:gd name="connsiteY12" fmla="*/ 103626 h 119040"/>
                      <a:gd name="connsiteX13" fmla="*/ 99984 w 178441"/>
                      <a:gd name="connsiteY13" fmla="*/ 78180 h 119040"/>
                      <a:gd name="connsiteX14" fmla="*/ 165037 w 178441"/>
                      <a:gd name="connsiteY14" fmla="*/ 15765 h 119040"/>
                      <a:gd name="connsiteX15" fmla="*/ 155240 w 178441"/>
                      <a:gd name="connsiteY15" fmla="*/ 13127 h 11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8441" h="119040">
                        <a:moveTo>
                          <a:pt x="23358" y="119040"/>
                        </a:moveTo>
                        <a:cubicBezTo>
                          <a:pt x="10582" y="119040"/>
                          <a:pt x="4704" y="114468"/>
                          <a:pt x="2039" y="109870"/>
                        </a:cubicBezTo>
                        <a:cubicBezTo>
                          <a:pt x="-9326" y="90171"/>
                          <a:pt x="28583" y="54562"/>
                          <a:pt x="71899" y="29534"/>
                        </a:cubicBezTo>
                        <a:cubicBezTo>
                          <a:pt x="94211" y="16654"/>
                          <a:pt x="116757" y="7118"/>
                          <a:pt x="135411" y="2676"/>
                        </a:cubicBezTo>
                        <a:cubicBezTo>
                          <a:pt x="162451" y="-3777"/>
                          <a:pt x="172640" y="2650"/>
                          <a:pt x="176402" y="9182"/>
                        </a:cubicBezTo>
                        <a:cubicBezTo>
                          <a:pt x="187767" y="28880"/>
                          <a:pt x="149858" y="64490"/>
                          <a:pt x="106542" y="89518"/>
                        </a:cubicBezTo>
                        <a:cubicBezTo>
                          <a:pt x="84231" y="102398"/>
                          <a:pt x="61684" y="111934"/>
                          <a:pt x="43056" y="116376"/>
                        </a:cubicBezTo>
                        <a:cubicBezTo>
                          <a:pt x="35114" y="118257"/>
                          <a:pt x="28661" y="119040"/>
                          <a:pt x="23358" y="119040"/>
                        </a:cubicBezTo>
                        <a:close/>
                        <a:moveTo>
                          <a:pt x="155240" y="13127"/>
                        </a:moveTo>
                        <a:cubicBezTo>
                          <a:pt x="151060" y="13127"/>
                          <a:pt x="145522" y="13754"/>
                          <a:pt x="138441" y="15452"/>
                        </a:cubicBezTo>
                        <a:cubicBezTo>
                          <a:pt x="120989" y="19606"/>
                          <a:pt x="99697" y="28645"/>
                          <a:pt x="78457" y="40898"/>
                        </a:cubicBezTo>
                        <a:cubicBezTo>
                          <a:pt x="29419" y="69219"/>
                          <a:pt x="9746" y="96990"/>
                          <a:pt x="13404" y="103313"/>
                        </a:cubicBezTo>
                        <a:cubicBezTo>
                          <a:pt x="14762" y="105664"/>
                          <a:pt x="22940" y="107676"/>
                          <a:pt x="40000" y="103626"/>
                        </a:cubicBezTo>
                        <a:cubicBezTo>
                          <a:pt x="57452" y="99472"/>
                          <a:pt x="78744" y="90433"/>
                          <a:pt x="99984" y="78180"/>
                        </a:cubicBezTo>
                        <a:cubicBezTo>
                          <a:pt x="149022" y="49859"/>
                          <a:pt x="168695" y="22088"/>
                          <a:pt x="165037" y="15765"/>
                        </a:cubicBezTo>
                        <a:cubicBezTo>
                          <a:pt x="164227" y="14381"/>
                          <a:pt x="161119" y="13127"/>
                          <a:pt x="155240" y="13127"/>
                        </a:cubicBezTo>
                        <a:close/>
                      </a:path>
                    </a:pathLst>
                  </a:custGeom>
                  <a:solidFill>
                    <a:schemeClr val="accent1"/>
                  </a:solidFill>
                  <a:ln w="2609" cap="flat">
                    <a:noFill/>
                    <a:prstDash val="solid"/>
                    <a:miter/>
                  </a:ln>
                </p:spPr>
                <p:txBody>
                  <a:bodyPr rtlCol="0" anchor="ctr"/>
                  <a:lstStyle/>
                  <a:p>
                    <a:endParaRPr lang="en-GB" dirty="0"/>
                  </a:p>
                </p:txBody>
              </p:sp>
              <p:sp>
                <p:nvSpPr>
                  <p:cNvPr id="295" name="Freihandform: Form 1452">
                    <a:extLst>
                      <a:ext uri="{FF2B5EF4-FFF2-40B4-BE49-F238E27FC236}">
                        <a16:creationId xmlns:a16="http://schemas.microsoft.com/office/drawing/2014/main" id="{0EF929C7-6A94-44E3-B439-DE9BB9089505}"/>
                      </a:ext>
                    </a:extLst>
                  </p:cNvPr>
                  <p:cNvSpPr/>
                  <p:nvPr/>
                </p:nvSpPr>
                <p:spPr>
                  <a:xfrm>
                    <a:off x="6360016" y="1777555"/>
                    <a:ext cx="69285" cy="201324"/>
                  </a:xfrm>
                  <a:custGeom>
                    <a:avLst/>
                    <a:gdLst>
                      <a:gd name="connsiteX0" fmla="*/ 34643 w 69285"/>
                      <a:gd name="connsiteY0" fmla="*/ 201325 h 201324"/>
                      <a:gd name="connsiteX1" fmla="*/ 0 w 69285"/>
                      <a:gd name="connsiteY1" fmla="*/ 100662 h 201324"/>
                      <a:gd name="connsiteX2" fmla="*/ 34643 w 69285"/>
                      <a:gd name="connsiteY2" fmla="*/ 0 h 201324"/>
                      <a:gd name="connsiteX3" fmla="*/ 69285 w 69285"/>
                      <a:gd name="connsiteY3" fmla="*/ 100662 h 201324"/>
                      <a:gd name="connsiteX4" fmla="*/ 34643 w 69285"/>
                      <a:gd name="connsiteY4" fmla="*/ 201325 h 201324"/>
                      <a:gd name="connsiteX5" fmla="*/ 34643 w 69285"/>
                      <a:gd name="connsiteY5" fmla="*/ 13115 h 201324"/>
                      <a:gd name="connsiteX6" fmla="*/ 13115 w 69285"/>
                      <a:gd name="connsiteY6" fmla="*/ 100662 h 201324"/>
                      <a:gd name="connsiteX7" fmla="*/ 34643 w 69285"/>
                      <a:gd name="connsiteY7" fmla="*/ 188210 h 201324"/>
                      <a:gd name="connsiteX8" fmla="*/ 56170 w 69285"/>
                      <a:gd name="connsiteY8" fmla="*/ 100662 h 201324"/>
                      <a:gd name="connsiteX9" fmla="*/ 34643 w 69285"/>
                      <a:gd name="connsiteY9" fmla="*/ 13115 h 20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285" h="201324">
                        <a:moveTo>
                          <a:pt x="34643" y="201325"/>
                        </a:moveTo>
                        <a:cubicBezTo>
                          <a:pt x="11913" y="201325"/>
                          <a:pt x="0" y="150693"/>
                          <a:pt x="0" y="100662"/>
                        </a:cubicBezTo>
                        <a:cubicBezTo>
                          <a:pt x="0" y="50632"/>
                          <a:pt x="11887" y="0"/>
                          <a:pt x="34643" y="0"/>
                        </a:cubicBezTo>
                        <a:cubicBezTo>
                          <a:pt x="57372" y="0"/>
                          <a:pt x="69285" y="50632"/>
                          <a:pt x="69285" y="100662"/>
                        </a:cubicBezTo>
                        <a:cubicBezTo>
                          <a:pt x="69285" y="150693"/>
                          <a:pt x="57372" y="201325"/>
                          <a:pt x="34643" y="201325"/>
                        </a:cubicBezTo>
                        <a:close/>
                        <a:moveTo>
                          <a:pt x="34643" y="13115"/>
                        </a:moveTo>
                        <a:cubicBezTo>
                          <a:pt x="27328" y="13115"/>
                          <a:pt x="13115" y="44022"/>
                          <a:pt x="13115" y="100662"/>
                        </a:cubicBezTo>
                        <a:cubicBezTo>
                          <a:pt x="13115" y="157303"/>
                          <a:pt x="27328" y="188210"/>
                          <a:pt x="34643" y="188210"/>
                        </a:cubicBezTo>
                        <a:cubicBezTo>
                          <a:pt x="41958" y="188210"/>
                          <a:pt x="56170" y="157303"/>
                          <a:pt x="56170" y="100662"/>
                        </a:cubicBezTo>
                        <a:cubicBezTo>
                          <a:pt x="56170" y="44022"/>
                          <a:pt x="41958" y="13115"/>
                          <a:pt x="34643" y="13115"/>
                        </a:cubicBezTo>
                        <a:close/>
                      </a:path>
                    </a:pathLst>
                  </a:custGeom>
                  <a:solidFill>
                    <a:schemeClr val="accent1"/>
                  </a:solidFill>
                  <a:ln w="2609" cap="flat">
                    <a:noFill/>
                    <a:prstDash val="solid"/>
                    <a:miter/>
                  </a:ln>
                </p:spPr>
                <p:txBody>
                  <a:bodyPr rtlCol="0" anchor="ctr"/>
                  <a:lstStyle/>
                  <a:p>
                    <a:endParaRPr lang="en-GB" dirty="0"/>
                  </a:p>
                </p:txBody>
              </p:sp>
            </p:grpSp>
            <p:sp>
              <p:nvSpPr>
                <p:cNvPr id="292" name="Freihandform: Form 1449">
                  <a:extLst>
                    <a:ext uri="{FF2B5EF4-FFF2-40B4-BE49-F238E27FC236}">
                      <a16:creationId xmlns:a16="http://schemas.microsoft.com/office/drawing/2014/main" id="{EAD03FB7-92E8-42DB-9DA4-C0B0B434FB4A}"/>
                    </a:ext>
                  </a:extLst>
                </p:cNvPr>
                <p:cNvSpPr/>
                <p:nvPr/>
              </p:nvSpPr>
              <p:spPr>
                <a:xfrm>
                  <a:off x="6376658" y="1860217"/>
                  <a:ext cx="36001" cy="36001"/>
                </a:xfrm>
                <a:custGeom>
                  <a:avLst/>
                  <a:gdLst>
                    <a:gd name="connsiteX0" fmla="*/ 18001 w 36001"/>
                    <a:gd name="connsiteY0" fmla="*/ 36001 h 36001"/>
                    <a:gd name="connsiteX1" fmla="*/ 0 w 36001"/>
                    <a:gd name="connsiteY1" fmla="*/ 18001 h 36001"/>
                    <a:gd name="connsiteX2" fmla="*/ 18001 w 36001"/>
                    <a:gd name="connsiteY2" fmla="*/ 0 h 36001"/>
                    <a:gd name="connsiteX3" fmla="*/ 36001 w 36001"/>
                    <a:gd name="connsiteY3" fmla="*/ 18001 h 36001"/>
                    <a:gd name="connsiteX4" fmla="*/ 18001 w 36001"/>
                    <a:gd name="connsiteY4" fmla="*/ 36001 h 36001"/>
                    <a:gd name="connsiteX5" fmla="*/ 18001 w 36001"/>
                    <a:gd name="connsiteY5" fmla="*/ 13115 h 36001"/>
                    <a:gd name="connsiteX6" fmla="*/ 13115 w 36001"/>
                    <a:gd name="connsiteY6" fmla="*/ 18001 h 36001"/>
                    <a:gd name="connsiteX7" fmla="*/ 18001 w 36001"/>
                    <a:gd name="connsiteY7" fmla="*/ 22886 h 36001"/>
                    <a:gd name="connsiteX8" fmla="*/ 22886 w 36001"/>
                    <a:gd name="connsiteY8" fmla="*/ 18001 h 36001"/>
                    <a:gd name="connsiteX9" fmla="*/ 18001 w 36001"/>
                    <a:gd name="connsiteY9" fmla="*/ 13115 h 36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1" h="36001">
                      <a:moveTo>
                        <a:pt x="18001" y="36001"/>
                      </a:moveTo>
                      <a:cubicBezTo>
                        <a:pt x="8073" y="36001"/>
                        <a:pt x="0" y="27928"/>
                        <a:pt x="0" y="18001"/>
                      </a:cubicBezTo>
                      <a:cubicBezTo>
                        <a:pt x="0" y="8073"/>
                        <a:pt x="8073" y="0"/>
                        <a:pt x="18001" y="0"/>
                      </a:cubicBezTo>
                      <a:cubicBezTo>
                        <a:pt x="27928" y="0"/>
                        <a:pt x="36001" y="8073"/>
                        <a:pt x="36001" y="18001"/>
                      </a:cubicBezTo>
                      <a:cubicBezTo>
                        <a:pt x="36001" y="27928"/>
                        <a:pt x="27928" y="36001"/>
                        <a:pt x="18001" y="36001"/>
                      </a:cubicBezTo>
                      <a:close/>
                      <a:moveTo>
                        <a:pt x="18001" y="13115"/>
                      </a:moveTo>
                      <a:cubicBezTo>
                        <a:pt x="15310" y="13115"/>
                        <a:pt x="13115" y="15310"/>
                        <a:pt x="13115" y="18001"/>
                      </a:cubicBezTo>
                      <a:cubicBezTo>
                        <a:pt x="13115" y="20692"/>
                        <a:pt x="15310" y="22886"/>
                        <a:pt x="18001" y="22886"/>
                      </a:cubicBezTo>
                      <a:cubicBezTo>
                        <a:pt x="20692" y="22886"/>
                        <a:pt x="22886" y="20692"/>
                        <a:pt x="22886" y="18001"/>
                      </a:cubicBezTo>
                      <a:cubicBezTo>
                        <a:pt x="22886" y="15310"/>
                        <a:pt x="20692" y="13115"/>
                        <a:pt x="18001" y="13115"/>
                      </a:cubicBezTo>
                      <a:close/>
                    </a:path>
                  </a:pathLst>
                </a:custGeom>
                <a:solidFill>
                  <a:schemeClr val="accent1"/>
                </a:solidFill>
                <a:ln w="2609" cap="flat">
                  <a:noFill/>
                  <a:prstDash val="solid"/>
                  <a:miter/>
                </a:ln>
              </p:spPr>
              <p:txBody>
                <a:bodyPr rtlCol="0" anchor="ctr"/>
                <a:lstStyle/>
                <a:p>
                  <a:endParaRPr lang="en-GB" dirty="0"/>
                </a:p>
              </p:txBody>
            </p:sp>
          </p:grpSp>
          <p:sp>
            <p:nvSpPr>
              <p:cNvPr id="284" name="Freihandform: Form 1441">
                <a:extLst>
                  <a:ext uri="{FF2B5EF4-FFF2-40B4-BE49-F238E27FC236}">
                    <a16:creationId xmlns:a16="http://schemas.microsoft.com/office/drawing/2014/main" id="{DEE7696D-6200-4AB8-A536-E8533D222803}"/>
                  </a:ext>
                </a:extLst>
              </p:cNvPr>
              <p:cNvSpPr/>
              <p:nvPr/>
            </p:nvSpPr>
            <p:spPr>
              <a:xfrm>
                <a:off x="6280620" y="2072698"/>
                <a:ext cx="19672" cy="13115"/>
              </a:xfrm>
              <a:custGeom>
                <a:avLst/>
                <a:gdLst>
                  <a:gd name="connsiteX0" fmla="*/ 0 w 19672"/>
                  <a:gd name="connsiteY0" fmla="*/ 0 h 13115"/>
                  <a:gd name="connsiteX1" fmla="*/ 19673 w 19672"/>
                  <a:gd name="connsiteY1" fmla="*/ 0 h 13115"/>
                  <a:gd name="connsiteX2" fmla="*/ 19673 w 19672"/>
                  <a:gd name="connsiteY2" fmla="*/ 13115 h 13115"/>
                  <a:gd name="connsiteX3" fmla="*/ 0 w 19672"/>
                  <a:gd name="connsiteY3" fmla="*/ 13115 h 13115"/>
                </a:gdLst>
                <a:ahLst/>
                <a:cxnLst>
                  <a:cxn ang="0">
                    <a:pos x="connsiteX0" y="connsiteY0"/>
                  </a:cxn>
                  <a:cxn ang="0">
                    <a:pos x="connsiteX1" y="connsiteY1"/>
                  </a:cxn>
                  <a:cxn ang="0">
                    <a:pos x="connsiteX2" y="connsiteY2"/>
                  </a:cxn>
                  <a:cxn ang="0">
                    <a:pos x="connsiteX3" y="connsiteY3"/>
                  </a:cxn>
                </a:cxnLst>
                <a:rect l="l" t="t" r="r" b="b"/>
                <a:pathLst>
                  <a:path w="19672" h="13115">
                    <a:moveTo>
                      <a:pt x="0" y="0"/>
                    </a:moveTo>
                    <a:lnTo>
                      <a:pt x="19673" y="0"/>
                    </a:lnTo>
                    <a:lnTo>
                      <a:pt x="19673" y="13115"/>
                    </a:lnTo>
                    <a:lnTo>
                      <a:pt x="0" y="13115"/>
                    </a:lnTo>
                    <a:close/>
                  </a:path>
                </a:pathLst>
              </a:custGeom>
              <a:solidFill>
                <a:schemeClr val="accent1"/>
              </a:solidFill>
              <a:ln w="2609" cap="flat">
                <a:noFill/>
                <a:prstDash val="solid"/>
                <a:miter/>
              </a:ln>
            </p:spPr>
            <p:txBody>
              <a:bodyPr rtlCol="0" anchor="ctr"/>
              <a:lstStyle/>
              <a:p>
                <a:endParaRPr lang="en-GB" dirty="0"/>
              </a:p>
            </p:txBody>
          </p:sp>
          <p:sp>
            <p:nvSpPr>
              <p:cNvPr id="285" name="Freihandform: Form 1442">
                <a:extLst>
                  <a:ext uri="{FF2B5EF4-FFF2-40B4-BE49-F238E27FC236}">
                    <a16:creationId xmlns:a16="http://schemas.microsoft.com/office/drawing/2014/main" id="{2FD85ED3-E1AC-4D9B-BB86-84B504811AE7}"/>
                  </a:ext>
                </a:extLst>
              </p:cNvPr>
              <p:cNvSpPr/>
              <p:nvPr/>
            </p:nvSpPr>
            <p:spPr>
              <a:xfrm>
                <a:off x="6319965" y="1980892"/>
                <a:ext cx="39345" cy="104920"/>
              </a:xfrm>
              <a:custGeom>
                <a:avLst/>
                <a:gdLst>
                  <a:gd name="connsiteX0" fmla="*/ 32788 w 39345"/>
                  <a:gd name="connsiteY0" fmla="*/ 104921 h 104920"/>
                  <a:gd name="connsiteX1" fmla="*/ 0 w 39345"/>
                  <a:gd name="connsiteY1" fmla="*/ 104921 h 104920"/>
                  <a:gd name="connsiteX2" fmla="*/ 0 w 39345"/>
                  <a:gd name="connsiteY2" fmla="*/ 91806 h 104920"/>
                  <a:gd name="connsiteX3" fmla="*/ 26230 w 39345"/>
                  <a:gd name="connsiteY3" fmla="*/ 91806 h 104920"/>
                  <a:gd name="connsiteX4" fmla="*/ 26230 w 39345"/>
                  <a:gd name="connsiteY4" fmla="*/ 0 h 104920"/>
                  <a:gd name="connsiteX5" fmla="*/ 39345 w 39345"/>
                  <a:gd name="connsiteY5" fmla="*/ 0 h 104920"/>
                  <a:gd name="connsiteX6" fmla="*/ 39345 w 39345"/>
                  <a:gd name="connsiteY6" fmla="*/ 98363 h 104920"/>
                  <a:gd name="connsiteX7" fmla="*/ 32788 w 39345"/>
                  <a:gd name="connsiteY7" fmla="*/ 104921 h 10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5" h="104920">
                    <a:moveTo>
                      <a:pt x="32788" y="104921"/>
                    </a:moveTo>
                    <a:lnTo>
                      <a:pt x="0" y="104921"/>
                    </a:lnTo>
                    <a:lnTo>
                      <a:pt x="0" y="91806"/>
                    </a:lnTo>
                    <a:lnTo>
                      <a:pt x="26230" y="91806"/>
                    </a:lnTo>
                    <a:lnTo>
                      <a:pt x="26230" y="0"/>
                    </a:lnTo>
                    <a:lnTo>
                      <a:pt x="39345" y="0"/>
                    </a:lnTo>
                    <a:lnTo>
                      <a:pt x="39345" y="98363"/>
                    </a:lnTo>
                    <a:cubicBezTo>
                      <a:pt x="39345" y="101969"/>
                      <a:pt x="36419" y="104921"/>
                      <a:pt x="32788" y="104921"/>
                    </a:cubicBezTo>
                    <a:close/>
                  </a:path>
                </a:pathLst>
              </a:custGeom>
              <a:solidFill>
                <a:schemeClr val="accent1"/>
              </a:solidFill>
              <a:ln w="2609" cap="flat">
                <a:noFill/>
                <a:prstDash val="solid"/>
                <a:miter/>
              </a:ln>
            </p:spPr>
            <p:txBody>
              <a:bodyPr rtlCol="0" anchor="ctr"/>
              <a:lstStyle/>
              <a:p>
                <a:endParaRPr lang="en-GB" dirty="0"/>
              </a:p>
            </p:txBody>
          </p:sp>
          <p:sp>
            <p:nvSpPr>
              <p:cNvPr id="286" name="Freihandform: Form 1443">
                <a:extLst>
                  <a:ext uri="{FF2B5EF4-FFF2-40B4-BE49-F238E27FC236}">
                    <a16:creationId xmlns:a16="http://schemas.microsoft.com/office/drawing/2014/main" id="{F94A4751-82D1-459D-A85B-34B37E1F155D}"/>
                  </a:ext>
                </a:extLst>
              </p:cNvPr>
              <p:cNvSpPr/>
              <p:nvPr/>
            </p:nvSpPr>
            <p:spPr>
              <a:xfrm>
                <a:off x="6483930" y="2072698"/>
                <a:ext cx="19672" cy="13115"/>
              </a:xfrm>
              <a:custGeom>
                <a:avLst/>
                <a:gdLst>
                  <a:gd name="connsiteX0" fmla="*/ 0 w 19672"/>
                  <a:gd name="connsiteY0" fmla="*/ 0 h 13115"/>
                  <a:gd name="connsiteX1" fmla="*/ 19673 w 19672"/>
                  <a:gd name="connsiteY1" fmla="*/ 0 h 13115"/>
                  <a:gd name="connsiteX2" fmla="*/ 19673 w 19672"/>
                  <a:gd name="connsiteY2" fmla="*/ 13115 h 13115"/>
                  <a:gd name="connsiteX3" fmla="*/ 0 w 19672"/>
                  <a:gd name="connsiteY3" fmla="*/ 13115 h 13115"/>
                </a:gdLst>
                <a:ahLst/>
                <a:cxnLst>
                  <a:cxn ang="0">
                    <a:pos x="connsiteX0" y="connsiteY0"/>
                  </a:cxn>
                  <a:cxn ang="0">
                    <a:pos x="connsiteX1" y="connsiteY1"/>
                  </a:cxn>
                  <a:cxn ang="0">
                    <a:pos x="connsiteX2" y="connsiteY2"/>
                  </a:cxn>
                  <a:cxn ang="0">
                    <a:pos x="connsiteX3" y="connsiteY3"/>
                  </a:cxn>
                </a:cxnLst>
                <a:rect l="l" t="t" r="r" b="b"/>
                <a:pathLst>
                  <a:path w="19672" h="13115">
                    <a:moveTo>
                      <a:pt x="0" y="0"/>
                    </a:moveTo>
                    <a:lnTo>
                      <a:pt x="19673" y="0"/>
                    </a:lnTo>
                    <a:lnTo>
                      <a:pt x="19673" y="13115"/>
                    </a:lnTo>
                    <a:lnTo>
                      <a:pt x="0" y="13115"/>
                    </a:lnTo>
                    <a:close/>
                  </a:path>
                </a:pathLst>
              </a:custGeom>
              <a:solidFill>
                <a:schemeClr val="accent1"/>
              </a:solidFill>
              <a:ln w="2609" cap="flat">
                <a:noFill/>
                <a:prstDash val="solid"/>
                <a:miter/>
              </a:ln>
            </p:spPr>
            <p:txBody>
              <a:bodyPr rtlCol="0" anchor="ctr"/>
              <a:lstStyle/>
              <a:p>
                <a:endParaRPr lang="en-GB" dirty="0"/>
              </a:p>
            </p:txBody>
          </p:sp>
          <p:sp>
            <p:nvSpPr>
              <p:cNvPr id="287" name="Freihandform: Form 1444">
                <a:extLst>
                  <a:ext uri="{FF2B5EF4-FFF2-40B4-BE49-F238E27FC236}">
                    <a16:creationId xmlns:a16="http://schemas.microsoft.com/office/drawing/2014/main" id="{694578B8-5026-45C3-8E61-72D70F5290C3}"/>
                  </a:ext>
                </a:extLst>
              </p:cNvPr>
              <p:cNvSpPr/>
              <p:nvPr/>
            </p:nvSpPr>
            <p:spPr>
              <a:xfrm>
                <a:off x="6424886" y="1980892"/>
                <a:ext cx="39345" cy="104920"/>
              </a:xfrm>
              <a:custGeom>
                <a:avLst/>
                <a:gdLst>
                  <a:gd name="connsiteX0" fmla="*/ 39345 w 39345"/>
                  <a:gd name="connsiteY0" fmla="*/ 104921 h 104920"/>
                  <a:gd name="connsiteX1" fmla="*/ 6558 w 39345"/>
                  <a:gd name="connsiteY1" fmla="*/ 104921 h 104920"/>
                  <a:gd name="connsiteX2" fmla="*/ 0 w 39345"/>
                  <a:gd name="connsiteY2" fmla="*/ 98363 h 104920"/>
                  <a:gd name="connsiteX3" fmla="*/ 0 w 39345"/>
                  <a:gd name="connsiteY3" fmla="*/ 0 h 104920"/>
                  <a:gd name="connsiteX4" fmla="*/ 13115 w 39345"/>
                  <a:gd name="connsiteY4" fmla="*/ 0 h 104920"/>
                  <a:gd name="connsiteX5" fmla="*/ 13115 w 39345"/>
                  <a:gd name="connsiteY5" fmla="*/ 91806 h 104920"/>
                  <a:gd name="connsiteX6" fmla="*/ 39345 w 39345"/>
                  <a:gd name="connsiteY6" fmla="*/ 91806 h 104920"/>
                  <a:gd name="connsiteX7" fmla="*/ 39345 w 39345"/>
                  <a:gd name="connsiteY7" fmla="*/ 104921 h 10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45" h="104920">
                    <a:moveTo>
                      <a:pt x="39345" y="104921"/>
                    </a:moveTo>
                    <a:lnTo>
                      <a:pt x="6558" y="104921"/>
                    </a:lnTo>
                    <a:cubicBezTo>
                      <a:pt x="2926" y="104921"/>
                      <a:pt x="0" y="101995"/>
                      <a:pt x="0" y="98363"/>
                    </a:cubicBezTo>
                    <a:lnTo>
                      <a:pt x="0" y="0"/>
                    </a:lnTo>
                    <a:lnTo>
                      <a:pt x="13115" y="0"/>
                    </a:lnTo>
                    <a:lnTo>
                      <a:pt x="13115" y="91806"/>
                    </a:lnTo>
                    <a:lnTo>
                      <a:pt x="39345" y="91806"/>
                    </a:lnTo>
                    <a:lnTo>
                      <a:pt x="39345" y="104921"/>
                    </a:lnTo>
                    <a:close/>
                  </a:path>
                </a:pathLst>
              </a:custGeom>
              <a:solidFill>
                <a:schemeClr val="accent1"/>
              </a:solidFill>
              <a:ln w="2609" cap="flat">
                <a:noFill/>
                <a:prstDash val="solid"/>
                <a:miter/>
              </a:ln>
            </p:spPr>
            <p:txBody>
              <a:bodyPr rtlCol="0" anchor="ctr"/>
              <a:lstStyle/>
              <a:p>
                <a:endParaRPr lang="en-GB" dirty="0"/>
              </a:p>
            </p:txBody>
          </p:sp>
          <p:sp>
            <p:nvSpPr>
              <p:cNvPr id="288" name="Freihandform: Form 1445">
                <a:extLst>
                  <a:ext uri="{FF2B5EF4-FFF2-40B4-BE49-F238E27FC236}">
                    <a16:creationId xmlns:a16="http://schemas.microsoft.com/office/drawing/2014/main" id="{DF9EDC28-8A49-4260-A4CE-ECC13286926C}"/>
                  </a:ext>
                </a:extLst>
              </p:cNvPr>
              <p:cNvSpPr/>
              <p:nvPr/>
            </p:nvSpPr>
            <p:spPr>
              <a:xfrm>
                <a:off x="6385541" y="2092370"/>
                <a:ext cx="13115" cy="13115"/>
              </a:xfrm>
              <a:custGeom>
                <a:avLst/>
                <a:gdLst>
                  <a:gd name="connsiteX0" fmla="*/ 0 w 13115"/>
                  <a:gd name="connsiteY0" fmla="*/ 0 h 13115"/>
                  <a:gd name="connsiteX1" fmla="*/ 13115 w 13115"/>
                  <a:gd name="connsiteY1" fmla="*/ 0 h 13115"/>
                  <a:gd name="connsiteX2" fmla="*/ 13115 w 13115"/>
                  <a:gd name="connsiteY2" fmla="*/ 13115 h 13115"/>
                  <a:gd name="connsiteX3" fmla="*/ 0 w 13115"/>
                  <a:gd name="connsiteY3" fmla="*/ 13115 h 13115"/>
                </a:gdLst>
                <a:ahLst/>
                <a:cxnLst>
                  <a:cxn ang="0">
                    <a:pos x="connsiteX0" y="connsiteY0"/>
                  </a:cxn>
                  <a:cxn ang="0">
                    <a:pos x="connsiteX1" y="connsiteY1"/>
                  </a:cxn>
                  <a:cxn ang="0">
                    <a:pos x="connsiteX2" y="connsiteY2"/>
                  </a:cxn>
                  <a:cxn ang="0">
                    <a:pos x="connsiteX3" y="connsiteY3"/>
                  </a:cxn>
                </a:cxnLst>
                <a:rect l="l" t="t" r="r" b="b"/>
                <a:pathLst>
                  <a:path w="13115" h="13115">
                    <a:moveTo>
                      <a:pt x="0" y="0"/>
                    </a:moveTo>
                    <a:lnTo>
                      <a:pt x="13115" y="0"/>
                    </a:lnTo>
                    <a:lnTo>
                      <a:pt x="13115" y="13115"/>
                    </a:lnTo>
                    <a:lnTo>
                      <a:pt x="0" y="13115"/>
                    </a:lnTo>
                    <a:close/>
                  </a:path>
                </a:pathLst>
              </a:custGeom>
              <a:solidFill>
                <a:schemeClr val="accent1"/>
              </a:solidFill>
              <a:ln w="2609" cap="flat">
                <a:noFill/>
                <a:prstDash val="solid"/>
                <a:miter/>
              </a:ln>
            </p:spPr>
            <p:txBody>
              <a:bodyPr rtlCol="0" anchor="ctr"/>
              <a:lstStyle/>
              <a:p>
                <a:endParaRPr lang="en-GB" dirty="0"/>
              </a:p>
            </p:txBody>
          </p:sp>
          <p:sp>
            <p:nvSpPr>
              <p:cNvPr id="289" name="Freihandform: Form 1446">
                <a:extLst>
                  <a:ext uri="{FF2B5EF4-FFF2-40B4-BE49-F238E27FC236}">
                    <a16:creationId xmlns:a16="http://schemas.microsoft.com/office/drawing/2014/main" id="{7BF11173-D746-4A8D-98E5-75C104FF3B0D}"/>
                  </a:ext>
                </a:extLst>
              </p:cNvPr>
              <p:cNvSpPr/>
              <p:nvPr/>
            </p:nvSpPr>
            <p:spPr>
              <a:xfrm>
                <a:off x="6385541" y="2059582"/>
                <a:ext cx="13115" cy="19672"/>
              </a:xfrm>
              <a:custGeom>
                <a:avLst/>
                <a:gdLst>
                  <a:gd name="connsiteX0" fmla="*/ 0 w 13115"/>
                  <a:gd name="connsiteY0" fmla="*/ 0 h 19672"/>
                  <a:gd name="connsiteX1" fmla="*/ 13115 w 13115"/>
                  <a:gd name="connsiteY1" fmla="*/ 0 h 19672"/>
                  <a:gd name="connsiteX2" fmla="*/ 13115 w 13115"/>
                  <a:gd name="connsiteY2" fmla="*/ 19673 h 19672"/>
                  <a:gd name="connsiteX3" fmla="*/ 0 w 13115"/>
                  <a:gd name="connsiteY3" fmla="*/ 19673 h 19672"/>
                </a:gdLst>
                <a:ahLst/>
                <a:cxnLst>
                  <a:cxn ang="0">
                    <a:pos x="connsiteX0" y="connsiteY0"/>
                  </a:cxn>
                  <a:cxn ang="0">
                    <a:pos x="connsiteX1" y="connsiteY1"/>
                  </a:cxn>
                  <a:cxn ang="0">
                    <a:pos x="connsiteX2" y="connsiteY2"/>
                  </a:cxn>
                  <a:cxn ang="0">
                    <a:pos x="connsiteX3" y="connsiteY3"/>
                  </a:cxn>
                </a:cxnLst>
                <a:rect l="l" t="t" r="r" b="b"/>
                <a:pathLst>
                  <a:path w="13115" h="19672">
                    <a:moveTo>
                      <a:pt x="0" y="0"/>
                    </a:moveTo>
                    <a:lnTo>
                      <a:pt x="13115" y="0"/>
                    </a:lnTo>
                    <a:lnTo>
                      <a:pt x="13115" y="19673"/>
                    </a:lnTo>
                    <a:lnTo>
                      <a:pt x="0" y="19673"/>
                    </a:lnTo>
                    <a:close/>
                  </a:path>
                </a:pathLst>
              </a:custGeom>
              <a:solidFill>
                <a:schemeClr val="accent1"/>
              </a:solidFill>
              <a:ln w="2609" cap="flat">
                <a:noFill/>
                <a:prstDash val="solid"/>
                <a:miter/>
              </a:ln>
            </p:spPr>
            <p:txBody>
              <a:bodyPr rtlCol="0" anchor="ctr"/>
              <a:lstStyle/>
              <a:p>
                <a:endParaRPr lang="en-GB" dirty="0"/>
              </a:p>
            </p:txBody>
          </p:sp>
          <p:sp>
            <p:nvSpPr>
              <p:cNvPr id="290" name="Freihandform: Form 1447">
                <a:extLst>
                  <a:ext uri="{FF2B5EF4-FFF2-40B4-BE49-F238E27FC236}">
                    <a16:creationId xmlns:a16="http://schemas.microsoft.com/office/drawing/2014/main" id="{A2A6815E-841A-43C6-B0D2-3489B7310BB4}"/>
                  </a:ext>
                </a:extLst>
              </p:cNvPr>
              <p:cNvSpPr/>
              <p:nvPr/>
            </p:nvSpPr>
            <p:spPr>
              <a:xfrm>
                <a:off x="6385541" y="2000538"/>
                <a:ext cx="13115" cy="45902"/>
              </a:xfrm>
              <a:custGeom>
                <a:avLst/>
                <a:gdLst>
                  <a:gd name="connsiteX0" fmla="*/ 0 w 13115"/>
                  <a:gd name="connsiteY0" fmla="*/ 0 h 45902"/>
                  <a:gd name="connsiteX1" fmla="*/ 13115 w 13115"/>
                  <a:gd name="connsiteY1" fmla="*/ 0 h 45902"/>
                  <a:gd name="connsiteX2" fmla="*/ 13115 w 13115"/>
                  <a:gd name="connsiteY2" fmla="*/ 45903 h 45902"/>
                  <a:gd name="connsiteX3" fmla="*/ 0 w 13115"/>
                  <a:gd name="connsiteY3" fmla="*/ 45903 h 45902"/>
                </a:gdLst>
                <a:ahLst/>
                <a:cxnLst>
                  <a:cxn ang="0">
                    <a:pos x="connsiteX0" y="connsiteY0"/>
                  </a:cxn>
                  <a:cxn ang="0">
                    <a:pos x="connsiteX1" y="connsiteY1"/>
                  </a:cxn>
                  <a:cxn ang="0">
                    <a:pos x="connsiteX2" y="connsiteY2"/>
                  </a:cxn>
                  <a:cxn ang="0">
                    <a:pos x="connsiteX3" y="connsiteY3"/>
                  </a:cxn>
                </a:cxnLst>
                <a:rect l="l" t="t" r="r" b="b"/>
                <a:pathLst>
                  <a:path w="13115" h="45902">
                    <a:moveTo>
                      <a:pt x="0" y="0"/>
                    </a:moveTo>
                    <a:lnTo>
                      <a:pt x="13115" y="0"/>
                    </a:lnTo>
                    <a:lnTo>
                      <a:pt x="13115" y="45903"/>
                    </a:lnTo>
                    <a:lnTo>
                      <a:pt x="0" y="45903"/>
                    </a:lnTo>
                    <a:close/>
                  </a:path>
                </a:pathLst>
              </a:custGeom>
              <a:solidFill>
                <a:schemeClr val="accent1"/>
              </a:solidFill>
              <a:ln w="2609" cap="flat">
                <a:noFill/>
                <a:prstDash val="solid"/>
                <a:miter/>
              </a:ln>
            </p:spPr>
            <p:txBody>
              <a:bodyPr rtlCol="0" anchor="ctr"/>
              <a:lstStyle/>
              <a:p>
                <a:endParaRPr lang="en-GB" dirty="0"/>
              </a:p>
            </p:txBody>
          </p:sp>
        </p:grpSp>
      </p:grpSp>
      <p:grpSp>
        <p:nvGrpSpPr>
          <p:cNvPr id="38" name="Group 37">
            <a:extLst>
              <a:ext uri="{FF2B5EF4-FFF2-40B4-BE49-F238E27FC236}">
                <a16:creationId xmlns:a16="http://schemas.microsoft.com/office/drawing/2014/main" id="{B760BE77-91F7-4CC4-A8D3-176840BA666D}"/>
              </a:ext>
            </a:extLst>
          </p:cNvPr>
          <p:cNvGrpSpPr/>
          <p:nvPr/>
        </p:nvGrpSpPr>
        <p:grpSpPr>
          <a:xfrm>
            <a:off x="3606351" y="4041833"/>
            <a:ext cx="648000" cy="353556"/>
            <a:chOff x="3606351" y="4041833"/>
            <a:chExt cx="648000" cy="353556"/>
          </a:xfrm>
        </p:grpSpPr>
        <p:grpSp>
          <p:nvGrpSpPr>
            <p:cNvPr id="297" name="Group 963">
              <a:extLst>
                <a:ext uri="{FF2B5EF4-FFF2-40B4-BE49-F238E27FC236}">
                  <a16:creationId xmlns:a16="http://schemas.microsoft.com/office/drawing/2014/main" id="{A93151FF-68C9-49BB-B45A-7A76B793B1FA}"/>
                </a:ext>
              </a:extLst>
            </p:cNvPr>
            <p:cNvGrpSpPr/>
            <p:nvPr/>
          </p:nvGrpSpPr>
          <p:grpSpPr>
            <a:xfrm>
              <a:off x="3606351" y="4041833"/>
              <a:ext cx="648000" cy="353556"/>
              <a:chOff x="841640" y="1835039"/>
              <a:chExt cx="673496" cy="367467"/>
            </a:xfrm>
          </p:grpSpPr>
          <p:grpSp>
            <p:nvGrpSpPr>
              <p:cNvPr id="303" name="Grafik 138">
                <a:extLst>
                  <a:ext uri="{FF2B5EF4-FFF2-40B4-BE49-F238E27FC236}">
                    <a16:creationId xmlns:a16="http://schemas.microsoft.com/office/drawing/2014/main" id="{6111214E-642F-4D0C-935A-7CEBE2D65AF2}"/>
                  </a:ext>
                </a:extLst>
              </p:cNvPr>
              <p:cNvGrpSpPr/>
              <p:nvPr/>
            </p:nvGrpSpPr>
            <p:grpSpPr>
              <a:xfrm>
                <a:off x="1079119" y="1835039"/>
                <a:ext cx="374423" cy="367466"/>
                <a:chOff x="1079119" y="1835039"/>
                <a:chExt cx="374423" cy="367466"/>
              </a:xfrm>
              <a:solidFill>
                <a:schemeClr val="tx2"/>
              </a:solidFill>
            </p:grpSpPr>
            <p:grpSp>
              <p:nvGrpSpPr>
                <p:cNvPr id="312" name="Grafik 138">
                  <a:extLst>
                    <a:ext uri="{FF2B5EF4-FFF2-40B4-BE49-F238E27FC236}">
                      <a16:creationId xmlns:a16="http://schemas.microsoft.com/office/drawing/2014/main" id="{ED36AACF-664C-4917-9A29-E4673143363C}"/>
                    </a:ext>
                  </a:extLst>
                </p:cNvPr>
                <p:cNvGrpSpPr/>
                <p:nvPr/>
              </p:nvGrpSpPr>
              <p:grpSpPr>
                <a:xfrm>
                  <a:off x="1079119" y="1835039"/>
                  <a:ext cx="374423" cy="281190"/>
                  <a:chOff x="1079119" y="1835039"/>
                  <a:chExt cx="374423" cy="281190"/>
                </a:xfrm>
                <a:solidFill>
                  <a:schemeClr val="accent1"/>
                </a:solidFill>
              </p:grpSpPr>
              <p:sp>
                <p:nvSpPr>
                  <p:cNvPr id="315" name="Freihandform: Form 252">
                    <a:extLst>
                      <a:ext uri="{FF2B5EF4-FFF2-40B4-BE49-F238E27FC236}">
                        <a16:creationId xmlns:a16="http://schemas.microsoft.com/office/drawing/2014/main" id="{3070ACF4-7B0D-4AD0-9785-2F79B7067247}"/>
                      </a:ext>
                    </a:extLst>
                  </p:cNvPr>
                  <p:cNvSpPr/>
                  <p:nvPr/>
                </p:nvSpPr>
                <p:spPr>
                  <a:xfrm>
                    <a:off x="1157106" y="2106368"/>
                    <a:ext cx="229030" cy="9861"/>
                  </a:xfrm>
                  <a:custGeom>
                    <a:avLst/>
                    <a:gdLst>
                      <a:gd name="connsiteX0" fmla="*/ 224099 w 229030"/>
                      <a:gd name="connsiteY0" fmla="*/ 9862 h 9861"/>
                      <a:gd name="connsiteX1" fmla="*/ 4931 w 229030"/>
                      <a:gd name="connsiteY1" fmla="*/ 9862 h 9861"/>
                      <a:gd name="connsiteX2" fmla="*/ 0 w 229030"/>
                      <a:gd name="connsiteY2" fmla="*/ 4931 h 9861"/>
                      <a:gd name="connsiteX3" fmla="*/ 4931 w 229030"/>
                      <a:gd name="connsiteY3" fmla="*/ 0 h 9861"/>
                      <a:gd name="connsiteX4" fmla="*/ 224099 w 229030"/>
                      <a:gd name="connsiteY4" fmla="*/ 0 h 9861"/>
                      <a:gd name="connsiteX5" fmla="*/ 229030 w 229030"/>
                      <a:gd name="connsiteY5" fmla="*/ 4931 h 9861"/>
                      <a:gd name="connsiteX6" fmla="*/ 224099 w 229030"/>
                      <a:gd name="connsiteY6" fmla="*/ 9862 h 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030" h="9861">
                        <a:moveTo>
                          <a:pt x="224099" y="9862"/>
                        </a:moveTo>
                        <a:lnTo>
                          <a:pt x="4931" y="9862"/>
                        </a:lnTo>
                        <a:cubicBezTo>
                          <a:pt x="2212" y="9862"/>
                          <a:pt x="0" y="7649"/>
                          <a:pt x="0" y="4931"/>
                        </a:cubicBezTo>
                        <a:cubicBezTo>
                          <a:pt x="0" y="2212"/>
                          <a:pt x="2212" y="0"/>
                          <a:pt x="4931" y="0"/>
                        </a:cubicBezTo>
                        <a:lnTo>
                          <a:pt x="224099" y="0"/>
                        </a:lnTo>
                        <a:cubicBezTo>
                          <a:pt x="226818" y="0"/>
                          <a:pt x="229030" y="2212"/>
                          <a:pt x="229030" y="4931"/>
                        </a:cubicBezTo>
                        <a:cubicBezTo>
                          <a:pt x="229057" y="7623"/>
                          <a:pt x="226845" y="9862"/>
                          <a:pt x="224099" y="9862"/>
                        </a:cubicBezTo>
                        <a:close/>
                      </a:path>
                    </a:pathLst>
                  </a:custGeom>
                  <a:solidFill>
                    <a:schemeClr val="accent1"/>
                  </a:solidFill>
                  <a:ln w="2663" cap="flat">
                    <a:noFill/>
                    <a:prstDash val="solid"/>
                    <a:miter/>
                  </a:ln>
                </p:spPr>
                <p:txBody>
                  <a:bodyPr rtlCol="0" anchor="ctr"/>
                  <a:lstStyle/>
                  <a:p>
                    <a:endParaRPr lang="en-GB" dirty="0"/>
                  </a:p>
                </p:txBody>
              </p:sp>
              <p:sp>
                <p:nvSpPr>
                  <p:cNvPr id="316" name="Freihandform: Form 253">
                    <a:extLst>
                      <a:ext uri="{FF2B5EF4-FFF2-40B4-BE49-F238E27FC236}">
                        <a16:creationId xmlns:a16="http://schemas.microsoft.com/office/drawing/2014/main" id="{F2D63DCE-B2D2-4D79-A4DF-21F5F626284B}"/>
                      </a:ext>
                    </a:extLst>
                  </p:cNvPr>
                  <p:cNvSpPr/>
                  <p:nvPr/>
                </p:nvSpPr>
                <p:spPr>
                  <a:xfrm>
                    <a:off x="1079119" y="1835039"/>
                    <a:ext cx="374423" cy="160744"/>
                  </a:xfrm>
                  <a:custGeom>
                    <a:avLst/>
                    <a:gdLst>
                      <a:gd name="connsiteX0" fmla="*/ 4931 w 374423"/>
                      <a:gd name="connsiteY0" fmla="*/ 160745 h 160744"/>
                      <a:gd name="connsiteX1" fmla="*/ 0 w 374423"/>
                      <a:gd name="connsiteY1" fmla="*/ 155814 h 160744"/>
                      <a:gd name="connsiteX2" fmla="*/ 0 w 374423"/>
                      <a:gd name="connsiteY2" fmla="*/ 26520 h 160744"/>
                      <a:gd name="connsiteX3" fmla="*/ 26520 w 374423"/>
                      <a:gd name="connsiteY3" fmla="*/ 0 h 160744"/>
                      <a:gd name="connsiteX4" fmla="*/ 347903 w 374423"/>
                      <a:gd name="connsiteY4" fmla="*/ 0 h 160744"/>
                      <a:gd name="connsiteX5" fmla="*/ 374423 w 374423"/>
                      <a:gd name="connsiteY5" fmla="*/ 26520 h 160744"/>
                      <a:gd name="connsiteX6" fmla="*/ 374423 w 374423"/>
                      <a:gd name="connsiteY6" fmla="*/ 153335 h 160744"/>
                      <a:gd name="connsiteX7" fmla="*/ 369492 w 374423"/>
                      <a:gd name="connsiteY7" fmla="*/ 158266 h 160744"/>
                      <a:gd name="connsiteX8" fmla="*/ 364561 w 374423"/>
                      <a:gd name="connsiteY8" fmla="*/ 153335 h 160744"/>
                      <a:gd name="connsiteX9" fmla="*/ 364561 w 374423"/>
                      <a:gd name="connsiteY9" fmla="*/ 26520 h 160744"/>
                      <a:gd name="connsiteX10" fmla="*/ 347930 w 374423"/>
                      <a:gd name="connsiteY10" fmla="*/ 9888 h 160744"/>
                      <a:gd name="connsiteX11" fmla="*/ 26520 w 374423"/>
                      <a:gd name="connsiteY11" fmla="*/ 9888 h 160744"/>
                      <a:gd name="connsiteX12" fmla="*/ 9888 w 374423"/>
                      <a:gd name="connsiteY12" fmla="*/ 26520 h 160744"/>
                      <a:gd name="connsiteX13" fmla="*/ 9888 w 374423"/>
                      <a:gd name="connsiteY13" fmla="*/ 155814 h 160744"/>
                      <a:gd name="connsiteX14" fmla="*/ 4931 w 374423"/>
                      <a:gd name="connsiteY14" fmla="*/ 160745 h 160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4423" h="160744">
                        <a:moveTo>
                          <a:pt x="4931" y="160745"/>
                        </a:moveTo>
                        <a:cubicBezTo>
                          <a:pt x="2212" y="160745"/>
                          <a:pt x="0" y="158533"/>
                          <a:pt x="0" y="155814"/>
                        </a:cubicBezTo>
                        <a:lnTo>
                          <a:pt x="0" y="26520"/>
                        </a:lnTo>
                        <a:cubicBezTo>
                          <a:pt x="0" y="11887"/>
                          <a:pt x="11887" y="0"/>
                          <a:pt x="26520" y="0"/>
                        </a:cubicBezTo>
                        <a:lnTo>
                          <a:pt x="347903" y="0"/>
                        </a:lnTo>
                        <a:cubicBezTo>
                          <a:pt x="362536" y="0"/>
                          <a:pt x="374423" y="11887"/>
                          <a:pt x="374423" y="26520"/>
                        </a:cubicBezTo>
                        <a:lnTo>
                          <a:pt x="374423" y="153335"/>
                        </a:lnTo>
                        <a:cubicBezTo>
                          <a:pt x="374423" y="156054"/>
                          <a:pt x="372211" y="158266"/>
                          <a:pt x="369492" y="158266"/>
                        </a:cubicBezTo>
                        <a:cubicBezTo>
                          <a:pt x="366774" y="158266"/>
                          <a:pt x="364561" y="156054"/>
                          <a:pt x="364561" y="153335"/>
                        </a:cubicBezTo>
                        <a:lnTo>
                          <a:pt x="364561" y="26520"/>
                        </a:lnTo>
                        <a:cubicBezTo>
                          <a:pt x="364561" y="17351"/>
                          <a:pt x="357099" y="9888"/>
                          <a:pt x="347930" y="9888"/>
                        </a:cubicBezTo>
                        <a:lnTo>
                          <a:pt x="26520" y="9888"/>
                        </a:lnTo>
                        <a:cubicBezTo>
                          <a:pt x="17351" y="9888"/>
                          <a:pt x="9888" y="17351"/>
                          <a:pt x="9888" y="26520"/>
                        </a:cubicBezTo>
                        <a:lnTo>
                          <a:pt x="9888" y="155814"/>
                        </a:lnTo>
                        <a:cubicBezTo>
                          <a:pt x="9862" y="158533"/>
                          <a:pt x="7649" y="160745"/>
                          <a:pt x="4931" y="160745"/>
                        </a:cubicBezTo>
                        <a:close/>
                      </a:path>
                    </a:pathLst>
                  </a:custGeom>
                  <a:solidFill>
                    <a:schemeClr val="accent1"/>
                  </a:solidFill>
                  <a:ln w="2663" cap="flat">
                    <a:noFill/>
                    <a:prstDash val="solid"/>
                    <a:miter/>
                  </a:ln>
                </p:spPr>
                <p:txBody>
                  <a:bodyPr rtlCol="0" anchor="ctr"/>
                  <a:lstStyle/>
                  <a:p>
                    <a:endParaRPr lang="en-GB" dirty="0"/>
                  </a:p>
                </p:txBody>
              </p:sp>
              <p:sp>
                <p:nvSpPr>
                  <p:cNvPr id="317" name="Freihandform: Form 254">
                    <a:extLst>
                      <a:ext uri="{FF2B5EF4-FFF2-40B4-BE49-F238E27FC236}">
                        <a16:creationId xmlns:a16="http://schemas.microsoft.com/office/drawing/2014/main" id="{4EA8AD8D-4FF8-4792-9B48-6EB7F78CC82A}"/>
                      </a:ext>
                    </a:extLst>
                  </p:cNvPr>
                  <p:cNvSpPr/>
                  <p:nvPr/>
                </p:nvSpPr>
                <p:spPr>
                  <a:xfrm>
                    <a:off x="1158225" y="2055487"/>
                    <a:ext cx="229403" cy="9861"/>
                  </a:xfrm>
                  <a:custGeom>
                    <a:avLst/>
                    <a:gdLst>
                      <a:gd name="connsiteX0" fmla="*/ 224473 w 229403"/>
                      <a:gd name="connsiteY0" fmla="*/ 9862 h 9861"/>
                      <a:gd name="connsiteX1" fmla="*/ 4931 w 229403"/>
                      <a:gd name="connsiteY1" fmla="*/ 9862 h 9861"/>
                      <a:gd name="connsiteX2" fmla="*/ 0 w 229403"/>
                      <a:gd name="connsiteY2" fmla="*/ 4931 h 9861"/>
                      <a:gd name="connsiteX3" fmla="*/ 4931 w 229403"/>
                      <a:gd name="connsiteY3" fmla="*/ 0 h 9861"/>
                      <a:gd name="connsiteX4" fmla="*/ 224473 w 229403"/>
                      <a:gd name="connsiteY4" fmla="*/ 0 h 9861"/>
                      <a:gd name="connsiteX5" fmla="*/ 229403 w 229403"/>
                      <a:gd name="connsiteY5" fmla="*/ 4931 h 9861"/>
                      <a:gd name="connsiteX6" fmla="*/ 224473 w 229403"/>
                      <a:gd name="connsiteY6" fmla="*/ 9862 h 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403" h="9861">
                        <a:moveTo>
                          <a:pt x="224473" y="9862"/>
                        </a:moveTo>
                        <a:lnTo>
                          <a:pt x="4931" y="9862"/>
                        </a:lnTo>
                        <a:cubicBezTo>
                          <a:pt x="2212" y="9862"/>
                          <a:pt x="0" y="7649"/>
                          <a:pt x="0" y="4931"/>
                        </a:cubicBezTo>
                        <a:cubicBezTo>
                          <a:pt x="0" y="2212"/>
                          <a:pt x="2212" y="0"/>
                          <a:pt x="4931" y="0"/>
                        </a:cubicBezTo>
                        <a:lnTo>
                          <a:pt x="224473" y="0"/>
                        </a:lnTo>
                        <a:cubicBezTo>
                          <a:pt x="227191" y="0"/>
                          <a:pt x="229403" y="2212"/>
                          <a:pt x="229403" y="4931"/>
                        </a:cubicBezTo>
                        <a:cubicBezTo>
                          <a:pt x="229403" y="7649"/>
                          <a:pt x="227191" y="9862"/>
                          <a:pt x="224473" y="9862"/>
                        </a:cubicBezTo>
                        <a:close/>
                      </a:path>
                    </a:pathLst>
                  </a:custGeom>
                  <a:solidFill>
                    <a:schemeClr val="accent1"/>
                  </a:solidFill>
                  <a:ln w="2663" cap="flat">
                    <a:noFill/>
                    <a:prstDash val="solid"/>
                    <a:miter/>
                  </a:ln>
                </p:spPr>
                <p:txBody>
                  <a:bodyPr rtlCol="0" anchor="ctr"/>
                  <a:lstStyle/>
                  <a:p>
                    <a:endParaRPr lang="en-GB" dirty="0"/>
                  </a:p>
                </p:txBody>
              </p:sp>
              <p:sp>
                <p:nvSpPr>
                  <p:cNvPr id="318" name="Freihandform: Form 255">
                    <a:extLst>
                      <a:ext uri="{FF2B5EF4-FFF2-40B4-BE49-F238E27FC236}">
                        <a16:creationId xmlns:a16="http://schemas.microsoft.com/office/drawing/2014/main" id="{D10F84AB-2AA8-4CF4-B861-7F4E4C9D7C1B}"/>
                      </a:ext>
                    </a:extLst>
                  </p:cNvPr>
                  <p:cNvSpPr/>
                  <p:nvPr/>
                </p:nvSpPr>
                <p:spPr>
                  <a:xfrm>
                    <a:off x="1240210" y="2080914"/>
                    <a:ext cx="52240" cy="9861"/>
                  </a:xfrm>
                  <a:custGeom>
                    <a:avLst/>
                    <a:gdLst>
                      <a:gd name="connsiteX0" fmla="*/ 47309 w 52240"/>
                      <a:gd name="connsiteY0" fmla="*/ 9862 h 9861"/>
                      <a:gd name="connsiteX1" fmla="*/ 4931 w 52240"/>
                      <a:gd name="connsiteY1" fmla="*/ 9862 h 9861"/>
                      <a:gd name="connsiteX2" fmla="*/ 0 w 52240"/>
                      <a:gd name="connsiteY2" fmla="*/ 4931 h 9861"/>
                      <a:gd name="connsiteX3" fmla="*/ 4931 w 52240"/>
                      <a:gd name="connsiteY3" fmla="*/ 0 h 9861"/>
                      <a:gd name="connsiteX4" fmla="*/ 47309 w 52240"/>
                      <a:gd name="connsiteY4" fmla="*/ 0 h 9861"/>
                      <a:gd name="connsiteX5" fmla="*/ 52240 w 52240"/>
                      <a:gd name="connsiteY5" fmla="*/ 4931 h 9861"/>
                      <a:gd name="connsiteX6" fmla="*/ 47309 w 52240"/>
                      <a:gd name="connsiteY6" fmla="*/ 9862 h 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40" h="9861">
                        <a:moveTo>
                          <a:pt x="47309" y="9862"/>
                        </a:moveTo>
                        <a:lnTo>
                          <a:pt x="4931" y="9862"/>
                        </a:lnTo>
                        <a:cubicBezTo>
                          <a:pt x="2212" y="9862"/>
                          <a:pt x="0" y="7649"/>
                          <a:pt x="0" y="4931"/>
                        </a:cubicBezTo>
                        <a:cubicBezTo>
                          <a:pt x="0" y="2212"/>
                          <a:pt x="2212" y="0"/>
                          <a:pt x="4931" y="0"/>
                        </a:cubicBezTo>
                        <a:lnTo>
                          <a:pt x="47309" y="0"/>
                        </a:lnTo>
                        <a:cubicBezTo>
                          <a:pt x="50028" y="0"/>
                          <a:pt x="52240" y="2212"/>
                          <a:pt x="52240" y="4931"/>
                        </a:cubicBezTo>
                        <a:cubicBezTo>
                          <a:pt x="52240" y="7649"/>
                          <a:pt x="50028" y="9862"/>
                          <a:pt x="47309" y="9862"/>
                        </a:cubicBezTo>
                        <a:close/>
                      </a:path>
                    </a:pathLst>
                  </a:custGeom>
                  <a:solidFill>
                    <a:schemeClr val="accent1"/>
                  </a:solidFill>
                  <a:ln w="2663" cap="flat">
                    <a:noFill/>
                    <a:prstDash val="solid"/>
                    <a:miter/>
                  </a:ln>
                </p:spPr>
                <p:txBody>
                  <a:bodyPr rtlCol="0" anchor="ctr"/>
                  <a:lstStyle/>
                  <a:p>
                    <a:endParaRPr lang="en-GB" dirty="0"/>
                  </a:p>
                </p:txBody>
              </p:sp>
            </p:grpSp>
            <p:sp>
              <p:nvSpPr>
                <p:cNvPr id="313" name="Freihandform: Form 250">
                  <a:extLst>
                    <a:ext uri="{FF2B5EF4-FFF2-40B4-BE49-F238E27FC236}">
                      <a16:creationId xmlns:a16="http://schemas.microsoft.com/office/drawing/2014/main" id="{08B71351-15DD-4361-8D16-7F7682F7C018}"/>
                    </a:ext>
                  </a:extLst>
                </p:cNvPr>
                <p:cNvSpPr/>
                <p:nvPr/>
              </p:nvSpPr>
              <p:spPr>
                <a:xfrm>
                  <a:off x="1261400" y="2107274"/>
                  <a:ext cx="9861" cy="95231"/>
                </a:xfrm>
                <a:custGeom>
                  <a:avLst/>
                  <a:gdLst>
                    <a:gd name="connsiteX0" fmla="*/ 4931 w 9861"/>
                    <a:gd name="connsiteY0" fmla="*/ 95232 h 95231"/>
                    <a:gd name="connsiteX1" fmla="*/ 0 w 9861"/>
                    <a:gd name="connsiteY1" fmla="*/ 90301 h 95231"/>
                    <a:gd name="connsiteX2" fmla="*/ 0 w 9861"/>
                    <a:gd name="connsiteY2" fmla="*/ 4931 h 95231"/>
                    <a:gd name="connsiteX3" fmla="*/ 4931 w 9861"/>
                    <a:gd name="connsiteY3" fmla="*/ 0 h 95231"/>
                    <a:gd name="connsiteX4" fmla="*/ 9862 w 9861"/>
                    <a:gd name="connsiteY4" fmla="*/ 4931 h 95231"/>
                    <a:gd name="connsiteX5" fmla="*/ 9862 w 9861"/>
                    <a:gd name="connsiteY5" fmla="*/ 90301 h 95231"/>
                    <a:gd name="connsiteX6" fmla="*/ 4931 w 9861"/>
                    <a:gd name="connsiteY6" fmla="*/ 95232 h 95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61" h="95231">
                      <a:moveTo>
                        <a:pt x="4931" y="95232"/>
                      </a:moveTo>
                      <a:cubicBezTo>
                        <a:pt x="2212" y="95232"/>
                        <a:pt x="0" y="93019"/>
                        <a:pt x="0" y="90301"/>
                      </a:cubicBezTo>
                      <a:lnTo>
                        <a:pt x="0" y="4931"/>
                      </a:lnTo>
                      <a:cubicBezTo>
                        <a:pt x="0" y="2212"/>
                        <a:pt x="2212" y="0"/>
                        <a:pt x="4931" y="0"/>
                      </a:cubicBezTo>
                      <a:cubicBezTo>
                        <a:pt x="7649" y="0"/>
                        <a:pt x="9862" y="2212"/>
                        <a:pt x="9862" y="4931"/>
                      </a:cubicBezTo>
                      <a:lnTo>
                        <a:pt x="9862" y="90301"/>
                      </a:lnTo>
                      <a:cubicBezTo>
                        <a:pt x="9862" y="93019"/>
                        <a:pt x="7649" y="95232"/>
                        <a:pt x="4931" y="95232"/>
                      </a:cubicBezTo>
                      <a:close/>
                    </a:path>
                  </a:pathLst>
                </a:custGeom>
                <a:solidFill>
                  <a:schemeClr val="accent1"/>
                </a:solidFill>
                <a:ln w="2663" cap="flat">
                  <a:noFill/>
                  <a:prstDash val="solid"/>
                  <a:miter/>
                </a:ln>
              </p:spPr>
              <p:txBody>
                <a:bodyPr rtlCol="0" anchor="ctr"/>
                <a:lstStyle/>
                <a:p>
                  <a:endParaRPr lang="en-GB" dirty="0"/>
                </a:p>
              </p:txBody>
            </p:sp>
            <p:sp>
              <p:nvSpPr>
                <p:cNvPr id="314" name="Freihandform: Form 251">
                  <a:extLst>
                    <a:ext uri="{FF2B5EF4-FFF2-40B4-BE49-F238E27FC236}">
                      <a16:creationId xmlns:a16="http://schemas.microsoft.com/office/drawing/2014/main" id="{B21C67C6-F927-4B57-B2A9-CF644FBD8C44}"/>
                    </a:ext>
                  </a:extLst>
                </p:cNvPr>
                <p:cNvSpPr/>
                <p:nvPr/>
              </p:nvSpPr>
              <p:spPr>
                <a:xfrm>
                  <a:off x="1192075" y="2192644"/>
                  <a:ext cx="148511" cy="9861"/>
                </a:xfrm>
                <a:custGeom>
                  <a:avLst/>
                  <a:gdLst>
                    <a:gd name="connsiteX0" fmla="*/ 143580 w 148511"/>
                    <a:gd name="connsiteY0" fmla="*/ 9862 h 9861"/>
                    <a:gd name="connsiteX1" fmla="*/ 4931 w 148511"/>
                    <a:gd name="connsiteY1" fmla="*/ 9862 h 9861"/>
                    <a:gd name="connsiteX2" fmla="*/ 0 w 148511"/>
                    <a:gd name="connsiteY2" fmla="*/ 4931 h 9861"/>
                    <a:gd name="connsiteX3" fmla="*/ 4931 w 148511"/>
                    <a:gd name="connsiteY3" fmla="*/ 0 h 9861"/>
                    <a:gd name="connsiteX4" fmla="*/ 143580 w 148511"/>
                    <a:gd name="connsiteY4" fmla="*/ 0 h 9861"/>
                    <a:gd name="connsiteX5" fmla="*/ 148511 w 148511"/>
                    <a:gd name="connsiteY5" fmla="*/ 4931 h 9861"/>
                    <a:gd name="connsiteX6" fmla="*/ 143580 w 148511"/>
                    <a:gd name="connsiteY6" fmla="*/ 9862 h 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511" h="9861">
                      <a:moveTo>
                        <a:pt x="143580" y="9862"/>
                      </a:moveTo>
                      <a:lnTo>
                        <a:pt x="4931" y="9862"/>
                      </a:lnTo>
                      <a:cubicBezTo>
                        <a:pt x="2212" y="9862"/>
                        <a:pt x="0" y="7649"/>
                        <a:pt x="0" y="4931"/>
                      </a:cubicBezTo>
                      <a:cubicBezTo>
                        <a:pt x="0" y="2212"/>
                        <a:pt x="2212" y="0"/>
                        <a:pt x="4931" y="0"/>
                      </a:cubicBezTo>
                      <a:lnTo>
                        <a:pt x="143580" y="0"/>
                      </a:lnTo>
                      <a:cubicBezTo>
                        <a:pt x="146299" y="0"/>
                        <a:pt x="148511" y="2212"/>
                        <a:pt x="148511" y="4931"/>
                      </a:cubicBezTo>
                      <a:cubicBezTo>
                        <a:pt x="148511" y="7649"/>
                        <a:pt x="146299" y="9862"/>
                        <a:pt x="143580" y="9862"/>
                      </a:cubicBezTo>
                      <a:close/>
                    </a:path>
                  </a:pathLst>
                </a:custGeom>
                <a:solidFill>
                  <a:schemeClr val="accent1"/>
                </a:solidFill>
                <a:ln w="2663" cap="flat">
                  <a:noFill/>
                  <a:prstDash val="solid"/>
                  <a:miter/>
                </a:ln>
              </p:spPr>
              <p:txBody>
                <a:bodyPr rtlCol="0" anchor="ctr"/>
                <a:lstStyle/>
                <a:p>
                  <a:endParaRPr lang="en-GB" dirty="0"/>
                </a:p>
              </p:txBody>
            </p:sp>
          </p:grpSp>
          <p:grpSp>
            <p:nvGrpSpPr>
              <p:cNvPr id="304" name="Grafik 138">
                <a:extLst>
                  <a:ext uri="{FF2B5EF4-FFF2-40B4-BE49-F238E27FC236}">
                    <a16:creationId xmlns:a16="http://schemas.microsoft.com/office/drawing/2014/main" id="{98D75B9D-7D67-460C-82AC-1DF529A83497}"/>
                  </a:ext>
                </a:extLst>
              </p:cNvPr>
              <p:cNvGrpSpPr/>
              <p:nvPr/>
            </p:nvGrpSpPr>
            <p:grpSpPr>
              <a:xfrm>
                <a:off x="1378886" y="1983870"/>
                <a:ext cx="136250" cy="218635"/>
                <a:chOff x="1378886" y="1983870"/>
                <a:chExt cx="136250" cy="218635"/>
              </a:xfrm>
              <a:solidFill>
                <a:schemeClr val="tx2"/>
              </a:solidFill>
            </p:grpSpPr>
            <p:sp>
              <p:nvSpPr>
                <p:cNvPr id="309" name="Freihandform: Form 246">
                  <a:extLst>
                    <a:ext uri="{FF2B5EF4-FFF2-40B4-BE49-F238E27FC236}">
                      <a16:creationId xmlns:a16="http://schemas.microsoft.com/office/drawing/2014/main" id="{D174A7AA-E34F-4D68-B6F5-6876DB1B8493}"/>
                    </a:ext>
                  </a:extLst>
                </p:cNvPr>
                <p:cNvSpPr/>
                <p:nvPr/>
              </p:nvSpPr>
              <p:spPr>
                <a:xfrm>
                  <a:off x="1378886" y="1983870"/>
                  <a:ext cx="136250" cy="218635"/>
                </a:xfrm>
                <a:custGeom>
                  <a:avLst/>
                  <a:gdLst>
                    <a:gd name="connsiteX0" fmla="*/ 118740 w 136250"/>
                    <a:gd name="connsiteY0" fmla="*/ 218636 h 218635"/>
                    <a:gd name="connsiteX1" fmla="*/ 17511 w 136250"/>
                    <a:gd name="connsiteY1" fmla="*/ 218636 h 218635"/>
                    <a:gd name="connsiteX2" fmla="*/ 0 w 136250"/>
                    <a:gd name="connsiteY2" fmla="*/ 201124 h 218635"/>
                    <a:gd name="connsiteX3" fmla="*/ 0 w 136250"/>
                    <a:gd name="connsiteY3" fmla="*/ 17511 h 218635"/>
                    <a:gd name="connsiteX4" fmla="*/ 17511 w 136250"/>
                    <a:gd name="connsiteY4" fmla="*/ 0 h 218635"/>
                    <a:gd name="connsiteX5" fmla="*/ 118740 w 136250"/>
                    <a:gd name="connsiteY5" fmla="*/ 0 h 218635"/>
                    <a:gd name="connsiteX6" fmla="*/ 136251 w 136250"/>
                    <a:gd name="connsiteY6" fmla="*/ 17511 h 218635"/>
                    <a:gd name="connsiteX7" fmla="*/ 136251 w 136250"/>
                    <a:gd name="connsiteY7" fmla="*/ 201124 h 218635"/>
                    <a:gd name="connsiteX8" fmla="*/ 118740 w 136250"/>
                    <a:gd name="connsiteY8" fmla="*/ 218636 h 218635"/>
                    <a:gd name="connsiteX9" fmla="*/ 17538 w 136250"/>
                    <a:gd name="connsiteY9" fmla="*/ 9915 h 218635"/>
                    <a:gd name="connsiteX10" fmla="*/ 9915 w 136250"/>
                    <a:gd name="connsiteY10" fmla="*/ 17538 h 218635"/>
                    <a:gd name="connsiteX11" fmla="*/ 9915 w 136250"/>
                    <a:gd name="connsiteY11" fmla="*/ 201151 h 218635"/>
                    <a:gd name="connsiteX12" fmla="*/ 17538 w 136250"/>
                    <a:gd name="connsiteY12" fmla="*/ 208774 h 218635"/>
                    <a:gd name="connsiteX13" fmla="*/ 118766 w 136250"/>
                    <a:gd name="connsiteY13" fmla="*/ 208774 h 218635"/>
                    <a:gd name="connsiteX14" fmla="*/ 126389 w 136250"/>
                    <a:gd name="connsiteY14" fmla="*/ 201151 h 218635"/>
                    <a:gd name="connsiteX15" fmla="*/ 126389 w 136250"/>
                    <a:gd name="connsiteY15" fmla="*/ 17511 h 218635"/>
                    <a:gd name="connsiteX16" fmla="*/ 118766 w 136250"/>
                    <a:gd name="connsiteY16" fmla="*/ 9888 h 218635"/>
                    <a:gd name="connsiteX17" fmla="*/ 17538 w 136250"/>
                    <a:gd name="connsiteY17" fmla="*/ 9888 h 21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6250" h="218635">
                      <a:moveTo>
                        <a:pt x="118740" y="218636"/>
                      </a:moveTo>
                      <a:lnTo>
                        <a:pt x="17511" y="218636"/>
                      </a:lnTo>
                      <a:cubicBezTo>
                        <a:pt x="7863" y="218636"/>
                        <a:pt x="0" y="210773"/>
                        <a:pt x="0" y="201124"/>
                      </a:cubicBezTo>
                      <a:lnTo>
                        <a:pt x="0" y="17511"/>
                      </a:lnTo>
                      <a:cubicBezTo>
                        <a:pt x="0" y="7863"/>
                        <a:pt x="7863" y="0"/>
                        <a:pt x="17511" y="0"/>
                      </a:cubicBezTo>
                      <a:lnTo>
                        <a:pt x="118740" y="0"/>
                      </a:lnTo>
                      <a:cubicBezTo>
                        <a:pt x="128388" y="0"/>
                        <a:pt x="136251" y="7863"/>
                        <a:pt x="136251" y="17511"/>
                      </a:cubicBezTo>
                      <a:lnTo>
                        <a:pt x="136251" y="201124"/>
                      </a:lnTo>
                      <a:cubicBezTo>
                        <a:pt x="136251" y="210773"/>
                        <a:pt x="128388" y="218636"/>
                        <a:pt x="118740" y="218636"/>
                      </a:cubicBezTo>
                      <a:close/>
                      <a:moveTo>
                        <a:pt x="17538" y="9915"/>
                      </a:moveTo>
                      <a:cubicBezTo>
                        <a:pt x="13327" y="9915"/>
                        <a:pt x="9915" y="13327"/>
                        <a:pt x="9915" y="17538"/>
                      </a:cubicBezTo>
                      <a:lnTo>
                        <a:pt x="9915" y="201151"/>
                      </a:lnTo>
                      <a:cubicBezTo>
                        <a:pt x="9915" y="205362"/>
                        <a:pt x="13327" y="208774"/>
                        <a:pt x="17538" y="208774"/>
                      </a:cubicBezTo>
                      <a:lnTo>
                        <a:pt x="118766" y="208774"/>
                      </a:lnTo>
                      <a:cubicBezTo>
                        <a:pt x="122977" y="208774"/>
                        <a:pt x="126389" y="205362"/>
                        <a:pt x="126389" y="201151"/>
                      </a:cubicBezTo>
                      <a:lnTo>
                        <a:pt x="126389" y="17511"/>
                      </a:lnTo>
                      <a:cubicBezTo>
                        <a:pt x="126389" y="13300"/>
                        <a:pt x="122977" y="9888"/>
                        <a:pt x="118766" y="9888"/>
                      </a:cubicBezTo>
                      <a:lnTo>
                        <a:pt x="17538" y="9888"/>
                      </a:lnTo>
                      <a:close/>
                    </a:path>
                  </a:pathLst>
                </a:custGeom>
                <a:solidFill>
                  <a:schemeClr val="accent1"/>
                </a:solidFill>
                <a:ln w="2663" cap="flat">
                  <a:noFill/>
                  <a:prstDash val="solid"/>
                  <a:miter/>
                </a:ln>
              </p:spPr>
              <p:txBody>
                <a:bodyPr rtlCol="0" anchor="ctr"/>
                <a:lstStyle/>
                <a:p>
                  <a:endParaRPr lang="en-GB" dirty="0"/>
                </a:p>
              </p:txBody>
            </p:sp>
            <p:sp>
              <p:nvSpPr>
                <p:cNvPr id="310" name="Freihandform: Form 247">
                  <a:extLst>
                    <a:ext uri="{FF2B5EF4-FFF2-40B4-BE49-F238E27FC236}">
                      <a16:creationId xmlns:a16="http://schemas.microsoft.com/office/drawing/2014/main" id="{5DF01956-85E7-4998-8AF2-8E4D9063B1E0}"/>
                    </a:ext>
                  </a:extLst>
                </p:cNvPr>
                <p:cNvSpPr/>
                <p:nvPr/>
              </p:nvSpPr>
              <p:spPr>
                <a:xfrm>
                  <a:off x="1378913" y="2015054"/>
                  <a:ext cx="136197" cy="152669"/>
                </a:xfrm>
                <a:custGeom>
                  <a:avLst/>
                  <a:gdLst>
                    <a:gd name="connsiteX0" fmla="*/ 131267 w 136197"/>
                    <a:gd name="connsiteY0" fmla="*/ 152669 h 152669"/>
                    <a:gd name="connsiteX1" fmla="*/ 4931 w 136197"/>
                    <a:gd name="connsiteY1" fmla="*/ 152669 h 152669"/>
                    <a:gd name="connsiteX2" fmla="*/ 0 w 136197"/>
                    <a:gd name="connsiteY2" fmla="*/ 147738 h 152669"/>
                    <a:gd name="connsiteX3" fmla="*/ 0 w 136197"/>
                    <a:gd name="connsiteY3" fmla="*/ 4931 h 152669"/>
                    <a:gd name="connsiteX4" fmla="*/ 4931 w 136197"/>
                    <a:gd name="connsiteY4" fmla="*/ 0 h 152669"/>
                    <a:gd name="connsiteX5" fmla="*/ 131267 w 136197"/>
                    <a:gd name="connsiteY5" fmla="*/ 0 h 152669"/>
                    <a:gd name="connsiteX6" fmla="*/ 136197 w 136197"/>
                    <a:gd name="connsiteY6" fmla="*/ 4931 h 152669"/>
                    <a:gd name="connsiteX7" fmla="*/ 136197 w 136197"/>
                    <a:gd name="connsiteY7" fmla="*/ 147738 h 152669"/>
                    <a:gd name="connsiteX8" fmla="*/ 131267 w 136197"/>
                    <a:gd name="connsiteY8" fmla="*/ 152669 h 152669"/>
                    <a:gd name="connsiteX9" fmla="*/ 9888 w 136197"/>
                    <a:gd name="connsiteY9" fmla="*/ 142781 h 152669"/>
                    <a:gd name="connsiteX10" fmla="*/ 126336 w 136197"/>
                    <a:gd name="connsiteY10" fmla="*/ 142781 h 152669"/>
                    <a:gd name="connsiteX11" fmla="*/ 126336 w 136197"/>
                    <a:gd name="connsiteY11" fmla="*/ 9862 h 152669"/>
                    <a:gd name="connsiteX12" fmla="*/ 9888 w 136197"/>
                    <a:gd name="connsiteY12" fmla="*/ 9862 h 152669"/>
                    <a:gd name="connsiteX13" fmla="*/ 9888 w 136197"/>
                    <a:gd name="connsiteY13" fmla="*/ 142781 h 1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197" h="152669">
                      <a:moveTo>
                        <a:pt x="131267" y="152669"/>
                      </a:moveTo>
                      <a:lnTo>
                        <a:pt x="4931" y="152669"/>
                      </a:lnTo>
                      <a:cubicBezTo>
                        <a:pt x="2212" y="152669"/>
                        <a:pt x="0" y="150457"/>
                        <a:pt x="0" y="147738"/>
                      </a:cubicBezTo>
                      <a:lnTo>
                        <a:pt x="0" y="4931"/>
                      </a:lnTo>
                      <a:cubicBezTo>
                        <a:pt x="0" y="2212"/>
                        <a:pt x="2212" y="0"/>
                        <a:pt x="4931" y="0"/>
                      </a:cubicBezTo>
                      <a:lnTo>
                        <a:pt x="131267" y="0"/>
                      </a:lnTo>
                      <a:cubicBezTo>
                        <a:pt x="133985" y="0"/>
                        <a:pt x="136197" y="2212"/>
                        <a:pt x="136197" y="4931"/>
                      </a:cubicBezTo>
                      <a:lnTo>
                        <a:pt x="136197" y="147738"/>
                      </a:lnTo>
                      <a:cubicBezTo>
                        <a:pt x="136224" y="150457"/>
                        <a:pt x="134012" y="152669"/>
                        <a:pt x="131267" y="152669"/>
                      </a:cubicBezTo>
                      <a:close/>
                      <a:moveTo>
                        <a:pt x="9888" y="142781"/>
                      </a:moveTo>
                      <a:lnTo>
                        <a:pt x="126336" y="142781"/>
                      </a:lnTo>
                      <a:lnTo>
                        <a:pt x="126336" y="9862"/>
                      </a:lnTo>
                      <a:lnTo>
                        <a:pt x="9888" y="9862"/>
                      </a:lnTo>
                      <a:lnTo>
                        <a:pt x="9888" y="142781"/>
                      </a:lnTo>
                      <a:close/>
                    </a:path>
                  </a:pathLst>
                </a:custGeom>
                <a:solidFill>
                  <a:schemeClr val="accent1"/>
                </a:solidFill>
                <a:ln w="2663" cap="flat">
                  <a:noFill/>
                  <a:prstDash val="solid"/>
                  <a:miter/>
                </a:ln>
              </p:spPr>
              <p:txBody>
                <a:bodyPr rtlCol="0" anchor="ctr"/>
                <a:lstStyle/>
                <a:p>
                  <a:endParaRPr lang="en-GB" dirty="0"/>
                </a:p>
              </p:txBody>
            </p:sp>
            <p:sp>
              <p:nvSpPr>
                <p:cNvPr id="311" name="Freihandform: Form 248">
                  <a:extLst>
                    <a:ext uri="{FF2B5EF4-FFF2-40B4-BE49-F238E27FC236}">
                      <a16:creationId xmlns:a16="http://schemas.microsoft.com/office/drawing/2014/main" id="{128A3971-2EC6-441C-9663-64DCAEC65C32}"/>
                    </a:ext>
                  </a:extLst>
                </p:cNvPr>
                <p:cNvSpPr/>
                <p:nvPr/>
              </p:nvSpPr>
              <p:spPr>
                <a:xfrm>
                  <a:off x="1433845" y="2176173"/>
                  <a:ext cx="26333" cy="9861"/>
                </a:xfrm>
                <a:custGeom>
                  <a:avLst/>
                  <a:gdLst>
                    <a:gd name="connsiteX0" fmla="*/ 21402 w 26333"/>
                    <a:gd name="connsiteY0" fmla="*/ 9862 h 9861"/>
                    <a:gd name="connsiteX1" fmla="*/ 4931 w 26333"/>
                    <a:gd name="connsiteY1" fmla="*/ 9862 h 9861"/>
                    <a:gd name="connsiteX2" fmla="*/ 0 w 26333"/>
                    <a:gd name="connsiteY2" fmla="*/ 4931 h 9861"/>
                    <a:gd name="connsiteX3" fmla="*/ 4931 w 26333"/>
                    <a:gd name="connsiteY3" fmla="*/ 0 h 9861"/>
                    <a:gd name="connsiteX4" fmla="*/ 21402 w 26333"/>
                    <a:gd name="connsiteY4" fmla="*/ 0 h 9861"/>
                    <a:gd name="connsiteX5" fmla="*/ 26333 w 26333"/>
                    <a:gd name="connsiteY5" fmla="*/ 4931 h 9861"/>
                    <a:gd name="connsiteX6" fmla="*/ 21402 w 26333"/>
                    <a:gd name="connsiteY6" fmla="*/ 9862 h 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3" h="9861">
                      <a:moveTo>
                        <a:pt x="21402" y="9862"/>
                      </a:moveTo>
                      <a:lnTo>
                        <a:pt x="4931" y="9862"/>
                      </a:lnTo>
                      <a:cubicBezTo>
                        <a:pt x="2212" y="9862"/>
                        <a:pt x="0" y="7649"/>
                        <a:pt x="0" y="4931"/>
                      </a:cubicBezTo>
                      <a:cubicBezTo>
                        <a:pt x="0" y="2212"/>
                        <a:pt x="2212" y="0"/>
                        <a:pt x="4931" y="0"/>
                      </a:cubicBezTo>
                      <a:lnTo>
                        <a:pt x="21402" y="0"/>
                      </a:lnTo>
                      <a:cubicBezTo>
                        <a:pt x="24121" y="0"/>
                        <a:pt x="26333" y="2212"/>
                        <a:pt x="26333" y="4931"/>
                      </a:cubicBezTo>
                      <a:cubicBezTo>
                        <a:pt x="26360" y="7623"/>
                        <a:pt x="24148" y="9862"/>
                        <a:pt x="21402" y="9862"/>
                      </a:cubicBezTo>
                      <a:close/>
                    </a:path>
                  </a:pathLst>
                </a:custGeom>
                <a:solidFill>
                  <a:schemeClr val="accent1"/>
                </a:solidFill>
                <a:ln w="2663" cap="flat">
                  <a:noFill/>
                  <a:prstDash val="solid"/>
                  <a:miter/>
                </a:ln>
              </p:spPr>
              <p:txBody>
                <a:bodyPr rtlCol="0" anchor="ctr"/>
                <a:lstStyle/>
                <a:p>
                  <a:endParaRPr lang="en-GB" dirty="0"/>
                </a:p>
              </p:txBody>
            </p:sp>
          </p:grpSp>
          <p:grpSp>
            <p:nvGrpSpPr>
              <p:cNvPr id="305" name="Grafik 138">
                <a:extLst>
                  <a:ext uri="{FF2B5EF4-FFF2-40B4-BE49-F238E27FC236}">
                    <a16:creationId xmlns:a16="http://schemas.microsoft.com/office/drawing/2014/main" id="{26209D0C-5602-42D3-BCC8-46FAEA199E1B}"/>
                  </a:ext>
                </a:extLst>
              </p:cNvPr>
              <p:cNvGrpSpPr/>
              <p:nvPr/>
            </p:nvGrpSpPr>
            <p:grpSpPr>
              <a:xfrm>
                <a:off x="841640" y="1987069"/>
                <a:ext cx="368346" cy="215437"/>
                <a:chOff x="841640" y="1987069"/>
                <a:chExt cx="368346" cy="215437"/>
              </a:xfrm>
              <a:solidFill>
                <a:schemeClr val="tx2"/>
              </a:solidFill>
            </p:grpSpPr>
            <p:sp>
              <p:nvSpPr>
                <p:cNvPr id="306" name="Freihandform: Form 243">
                  <a:extLst>
                    <a:ext uri="{FF2B5EF4-FFF2-40B4-BE49-F238E27FC236}">
                      <a16:creationId xmlns:a16="http://schemas.microsoft.com/office/drawing/2014/main" id="{BC444444-C500-4E25-831C-12C06D3B5D17}"/>
                    </a:ext>
                  </a:extLst>
                </p:cNvPr>
                <p:cNvSpPr/>
                <p:nvPr/>
              </p:nvSpPr>
              <p:spPr>
                <a:xfrm>
                  <a:off x="841640" y="2163566"/>
                  <a:ext cx="368346" cy="38940"/>
                </a:xfrm>
                <a:custGeom>
                  <a:avLst/>
                  <a:gdLst>
                    <a:gd name="connsiteX0" fmla="*/ 334577 w 368346"/>
                    <a:gd name="connsiteY0" fmla="*/ 38940 h 38940"/>
                    <a:gd name="connsiteX1" fmla="*/ 26013 w 368346"/>
                    <a:gd name="connsiteY1" fmla="*/ 38754 h 38940"/>
                    <a:gd name="connsiteX2" fmla="*/ 27 w 368346"/>
                    <a:gd name="connsiteY2" fmla="*/ 11168 h 38940"/>
                    <a:gd name="connsiteX3" fmla="*/ 0 w 368346"/>
                    <a:gd name="connsiteY3" fmla="*/ 4931 h 38940"/>
                    <a:gd name="connsiteX4" fmla="*/ 1439 w 368346"/>
                    <a:gd name="connsiteY4" fmla="*/ 1439 h 38940"/>
                    <a:gd name="connsiteX5" fmla="*/ 4931 w 368346"/>
                    <a:gd name="connsiteY5" fmla="*/ 0 h 38940"/>
                    <a:gd name="connsiteX6" fmla="*/ 4931 w 368346"/>
                    <a:gd name="connsiteY6" fmla="*/ 0 h 38940"/>
                    <a:gd name="connsiteX7" fmla="*/ 363415 w 368346"/>
                    <a:gd name="connsiteY7" fmla="*/ 187 h 38940"/>
                    <a:gd name="connsiteX8" fmla="*/ 366907 w 368346"/>
                    <a:gd name="connsiteY8" fmla="*/ 1626 h 38940"/>
                    <a:gd name="connsiteX9" fmla="*/ 368346 w 368346"/>
                    <a:gd name="connsiteY9" fmla="*/ 5117 h 38940"/>
                    <a:gd name="connsiteX10" fmla="*/ 368319 w 368346"/>
                    <a:gd name="connsiteY10" fmla="*/ 11381 h 38940"/>
                    <a:gd name="connsiteX11" fmla="*/ 342306 w 368346"/>
                    <a:gd name="connsiteY11" fmla="*/ 38940 h 38940"/>
                    <a:gd name="connsiteX12" fmla="*/ 334577 w 368346"/>
                    <a:gd name="connsiteY12" fmla="*/ 38940 h 38940"/>
                    <a:gd name="connsiteX13" fmla="*/ 9888 w 368346"/>
                    <a:gd name="connsiteY13" fmla="*/ 9862 h 38940"/>
                    <a:gd name="connsiteX14" fmla="*/ 9888 w 368346"/>
                    <a:gd name="connsiteY14" fmla="*/ 11088 h 38940"/>
                    <a:gd name="connsiteX15" fmla="*/ 26093 w 368346"/>
                    <a:gd name="connsiteY15" fmla="*/ 28865 h 38940"/>
                    <a:gd name="connsiteX16" fmla="*/ 342253 w 368346"/>
                    <a:gd name="connsiteY16" fmla="*/ 29025 h 38940"/>
                    <a:gd name="connsiteX17" fmla="*/ 358431 w 368346"/>
                    <a:gd name="connsiteY17" fmla="*/ 11274 h 38940"/>
                    <a:gd name="connsiteX18" fmla="*/ 358431 w 368346"/>
                    <a:gd name="connsiteY18" fmla="*/ 10048 h 38940"/>
                    <a:gd name="connsiteX19" fmla="*/ 9888 w 368346"/>
                    <a:gd name="connsiteY19" fmla="*/ 9862 h 38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8346" h="38940">
                      <a:moveTo>
                        <a:pt x="334577" y="38940"/>
                      </a:moveTo>
                      <a:cubicBezTo>
                        <a:pt x="286201" y="38940"/>
                        <a:pt x="29372" y="38807"/>
                        <a:pt x="26013" y="38754"/>
                      </a:cubicBezTo>
                      <a:cubicBezTo>
                        <a:pt x="2239" y="38540"/>
                        <a:pt x="160" y="26147"/>
                        <a:pt x="27" y="11168"/>
                      </a:cubicBezTo>
                      <a:lnTo>
                        <a:pt x="0" y="4931"/>
                      </a:lnTo>
                      <a:cubicBezTo>
                        <a:pt x="0" y="3625"/>
                        <a:pt x="533" y="2372"/>
                        <a:pt x="1439" y="1439"/>
                      </a:cubicBezTo>
                      <a:cubicBezTo>
                        <a:pt x="2372" y="506"/>
                        <a:pt x="3625" y="0"/>
                        <a:pt x="4931" y="0"/>
                      </a:cubicBezTo>
                      <a:lnTo>
                        <a:pt x="4931" y="0"/>
                      </a:lnTo>
                      <a:lnTo>
                        <a:pt x="363415" y="187"/>
                      </a:lnTo>
                      <a:cubicBezTo>
                        <a:pt x="364721" y="187"/>
                        <a:pt x="365974" y="720"/>
                        <a:pt x="366907" y="1626"/>
                      </a:cubicBezTo>
                      <a:cubicBezTo>
                        <a:pt x="367840" y="2559"/>
                        <a:pt x="368346" y="3811"/>
                        <a:pt x="368346" y="5117"/>
                      </a:cubicBezTo>
                      <a:lnTo>
                        <a:pt x="368319" y="11381"/>
                      </a:lnTo>
                      <a:cubicBezTo>
                        <a:pt x="368186" y="26333"/>
                        <a:pt x="366161" y="38754"/>
                        <a:pt x="342306" y="38940"/>
                      </a:cubicBezTo>
                      <a:cubicBezTo>
                        <a:pt x="341880" y="38940"/>
                        <a:pt x="339161" y="38940"/>
                        <a:pt x="334577" y="38940"/>
                      </a:cubicBezTo>
                      <a:close/>
                      <a:moveTo>
                        <a:pt x="9888" y="9862"/>
                      </a:moveTo>
                      <a:lnTo>
                        <a:pt x="9888" y="11088"/>
                      </a:lnTo>
                      <a:cubicBezTo>
                        <a:pt x="10022" y="24468"/>
                        <a:pt x="10795" y="28732"/>
                        <a:pt x="26093" y="28865"/>
                      </a:cubicBezTo>
                      <a:cubicBezTo>
                        <a:pt x="29772" y="28892"/>
                        <a:pt x="337082" y="29079"/>
                        <a:pt x="342253" y="29025"/>
                      </a:cubicBezTo>
                      <a:cubicBezTo>
                        <a:pt x="357552" y="28892"/>
                        <a:pt x="358325" y="24654"/>
                        <a:pt x="358431" y="11274"/>
                      </a:cubicBezTo>
                      <a:lnTo>
                        <a:pt x="358431" y="10048"/>
                      </a:lnTo>
                      <a:lnTo>
                        <a:pt x="9888" y="9862"/>
                      </a:lnTo>
                      <a:close/>
                    </a:path>
                  </a:pathLst>
                </a:custGeom>
                <a:solidFill>
                  <a:schemeClr val="accent1"/>
                </a:solidFill>
                <a:ln w="2663" cap="flat">
                  <a:noFill/>
                  <a:prstDash val="solid"/>
                  <a:miter/>
                </a:ln>
              </p:spPr>
              <p:txBody>
                <a:bodyPr rtlCol="0" anchor="ctr"/>
                <a:lstStyle/>
                <a:p>
                  <a:endParaRPr lang="en-GB" dirty="0"/>
                </a:p>
              </p:txBody>
            </p:sp>
            <p:sp>
              <p:nvSpPr>
                <p:cNvPr id="307" name="Freihandform: Form 244">
                  <a:extLst>
                    <a:ext uri="{FF2B5EF4-FFF2-40B4-BE49-F238E27FC236}">
                      <a16:creationId xmlns:a16="http://schemas.microsoft.com/office/drawing/2014/main" id="{263FD4EB-2667-4796-A8BA-BCE08C01270C}"/>
                    </a:ext>
                  </a:extLst>
                </p:cNvPr>
                <p:cNvSpPr/>
                <p:nvPr/>
              </p:nvSpPr>
              <p:spPr>
                <a:xfrm>
                  <a:off x="885271" y="1987069"/>
                  <a:ext cx="281190" cy="186358"/>
                </a:xfrm>
                <a:custGeom>
                  <a:avLst/>
                  <a:gdLst>
                    <a:gd name="connsiteX0" fmla="*/ 276206 w 281190"/>
                    <a:gd name="connsiteY0" fmla="*/ 186359 h 186358"/>
                    <a:gd name="connsiteX1" fmla="*/ 271275 w 281190"/>
                    <a:gd name="connsiteY1" fmla="*/ 181428 h 186358"/>
                    <a:gd name="connsiteX2" fmla="*/ 271275 w 281190"/>
                    <a:gd name="connsiteY2" fmla="*/ 14633 h 186358"/>
                    <a:gd name="connsiteX3" fmla="*/ 266478 w 281190"/>
                    <a:gd name="connsiteY3" fmla="*/ 9888 h 186358"/>
                    <a:gd name="connsiteX4" fmla="*/ 14606 w 281190"/>
                    <a:gd name="connsiteY4" fmla="*/ 9888 h 186358"/>
                    <a:gd name="connsiteX5" fmla="*/ 9862 w 281190"/>
                    <a:gd name="connsiteY5" fmla="*/ 14633 h 186358"/>
                    <a:gd name="connsiteX6" fmla="*/ 9862 w 281190"/>
                    <a:gd name="connsiteY6" fmla="*/ 178283 h 186358"/>
                    <a:gd name="connsiteX7" fmla="*/ 4931 w 281190"/>
                    <a:gd name="connsiteY7" fmla="*/ 183214 h 186358"/>
                    <a:gd name="connsiteX8" fmla="*/ 0 w 281190"/>
                    <a:gd name="connsiteY8" fmla="*/ 178283 h 186358"/>
                    <a:gd name="connsiteX9" fmla="*/ 0 w 281190"/>
                    <a:gd name="connsiteY9" fmla="*/ 14633 h 186358"/>
                    <a:gd name="connsiteX10" fmla="*/ 14633 w 281190"/>
                    <a:gd name="connsiteY10" fmla="*/ 0 h 186358"/>
                    <a:gd name="connsiteX11" fmla="*/ 266558 w 281190"/>
                    <a:gd name="connsiteY11" fmla="*/ 0 h 186358"/>
                    <a:gd name="connsiteX12" fmla="*/ 281190 w 281190"/>
                    <a:gd name="connsiteY12" fmla="*/ 14633 h 186358"/>
                    <a:gd name="connsiteX13" fmla="*/ 281190 w 281190"/>
                    <a:gd name="connsiteY13" fmla="*/ 181428 h 186358"/>
                    <a:gd name="connsiteX14" fmla="*/ 276206 w 281190"/>
                    <a:gd name="connsiteY14" fmla="*/ 186359 h 18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1190" h="186358">
                      <a:moveTo>
                        <a:pt x="276206" y="186359"/>
                      </a:moveTo>
                      <a:cubicBezTo>
                        <a:pt x="273488" y="186359"/>
                        <a:pt x="271275" y="184146"/>
                        <a:pt x="271275" y="181428"/>
                      </a:cubicBezTo>
                      <a:lnTo>
                        <a:pt x="271275" y="14633"/>
                      </a:lnTo>
                      <a:cubicBezTo>
                        <a:pt x="271275" y="10795"/>
                        <a:pt x="268663" y="9942"/>
                        <a:pt x="266478" y="9888"/>
                      </a:cubicBezTo>
                      <a:lnTo>
                        <a:pt x="14606" y="9888"/>
                      </a:lnTo>
                      <a:cubicBezTo>
                        <a:pt x="12474" y="9942"/>
                        <a:pt x="9862" y="10821"/>
                        <a:pt x="9862" y="14633"/>
                      </a:cubicBezTo>
                      <a:lnTo>
                        <a:pt x="9862" y="178283"/>
                      </a:lnTo>
                      <a:cubicBezTo>
                        <a:pt x="9862" y="181001"/>
                        <a:pt x="7649" y="183214"/>
                        <a:pt x="4931" y="183214"/>
                      </a:cubicBezTo>
                      <a:cubicBezTo>
                        <a:pt x="2212" y="183214"/>
                        <a:pt x="0" y="181001"/>
                        <a:pt x="0" y="178283"/>
                      </a:cubicBezTo>
                      <a:lnTo>
                        <a:pt x="0" y="14633"/>
                      </a:lnTo>
                      <a:cubicBezTo>
                        <a:pt x="0" y="3891"/>
                        <a:pt x="8742" y="0"/>
                        <a:pt x="14633" y="0"/>
                      </a:cubicBezTo>
                      <a:lnTo>
                        <a:pt x="266558" y="0"/>
                      </a:lnTo>
                      <a:cubicBezTo>
                        <a:pt x="272448" y="0"/>
                        <a:pt x="281190" y="3891"/>
                        <a:pt x="281190" y="14633"/>
                      </a:cubicBezTo>
                      <a:lnTo>
                        <a:pt x="281190" y="181428"/>
                      </a:lnTo>
                      <a:cubicBezTo>
                        <a:pt x="281137" y="184146"/>
                        <a:pt x="278925" y="186359"/>
                        <a:pt x="276206" y="186359"/>
                      </a:cubicBezTo>
                      <a:close/>
                    </a:path>
                  </a:pathLst>
                </a:custGeom>
                <a:solidFill>
                  <a:schemeClr val="accent1"/>
                </a:solidFill>
                <a:ln w="2663" cap="flat">
                  <a:noFill/>
                  <a:prstDash val="solid"/>
                  <a:miter/>
                </a:ln>
              </p:spPr>
              <p:txBody>
                <a:bodyPr rtlCol="0" anchor="ctr"/>
                <a:lstStyle/>
                <a:p>
                  <a:endParaRPr lang="en-GB" dirty="0"/>
                </a:p>
              </p:txBody>
            </p:sp>
            <p:sp>
              <p:nvSpPr>
                <p:cNvPr id="308" name="Freihandform: Form 245">
                  <a:extLst>
                    <a:ext uri="{FF2B5EF4-FFF2-40B4-BE49-F238E27FC236}">
                      <a16:creationId xmlns:a16="http://schemas.microsoft.com/office/drawing/2014/main" id="{224F6979-E6BD-481C-B600-1426A2E534CC}"/>
                    </a:ext>
                  </a:extLst>
                </p:cNvPr>
                <p:cNvSpPr/>
                <p:nvPr/>
              </p:nvSpPr>
              <p:spPr>
                <a:xfrm>
                  <a:off x="907046" y="2008631"/>
                  <a:ext cx="239424" cy="144992"/>
                </a:xfrm>
                <a:custGeom>
                  <a:avLst/>
                  <a:gdLst>
                    <a:gd name="connsiteX0" fmla="*/ 234494 w 239424"/>
                    <a:gd name="connsiteY0" fmla="*/ 144993 h 144992"/>
                    <a:gd name="connsiteX1" fmla="*/ 229563 w 239424"/>
                    <a:gd name="connsiteY1" fmla="*/ 140062 h 144992"/>
                    <a:gd name="connsiteX2" fmla="*/ 229563 w 239424"/>
                    <a:gd name="connsiteY2" fmla="*/ 9888 h 144992"/>
                    <a:gd name="connsiteX3" fmla="*/ 9862 w 239424"/>
                    <a:gd name="connsiteY3" fmla="*/ 9888 h 144992"/>
                    <a:gd name="connsiteX4" fmla="*/ 9862 w 239424"/>
                    <a:gd name="connsiteY4" fmla="*/ 137130 h 144992"/>
                    <a:gd name="connsiteX5" fmla="*/ 4931 w 239424"/>
                    <a:gd name="connsiteY5" fmla="*/ 142061 h 144992"/>
                    <a:gd name="connsiteX6" fmla="*/ 0 w 239424"/>
                    <a:gd name="connsiteY6" fmla="*/ 137130 h 144992"/>
                    <a:gd name="connsiteX7" fmla="*/ 0 w 239424"/>
                    <a:gd name="connsiteY7" fmla="*/ 4931 h 144992"/>
                    <a:gd name="connsiteX8" fmla="*/ 4931 w 239424"/>
                    <a:gd name="connsiteY8" fmla="*/ 0 h 144992"/>
                    <a:gd name="connsiteX9" fmla="*/ 234494 w 239424"/>
                    <a:gd name="connsiteY9" fmla="*/ 0 h 144992"/>
                    <a:gd name="connsiteX10" fmla="*/ 239425 w 239424"/>
                    <a:gd name="connsiteY10" fmla="*/ 4931 h 144992"/>
                    <a:gd name="connsiteX11" fmla="*/ 239425 w 239424"/>
                    <a:gd name="connsiteY11" fmla="*/ 140062 h 144992"/>
                    <a:gd name="connsiteX12" fmla="*/ 234494 w 239424"/>
                    <a:gd name="connsiteY12" fmla="*/ 144993 h 144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9424" h="144992">
                      <a:moveTo>
                        <a:pt x="234494" y="144993"/>
                      </a:moveTo>
                      <a:cubicBezTo>
                        <a:pt x="231776" y="144993"/>
                        <a:pt x="229563" y="142781"/>
                        <a:pt x="229563" y="140062"/>
                      </a:cubicBezTo>
                      <a:lnTo>
                        <a:pt x="229563" y="9888"/>
                      </a:lnTo>
                      <a:lnTo>
                        <a:pt x="9862" y="9888"/>
                      </a:lnTo>
                      <a:lnTo>
                        <a:pt x="9862" y="137130"/>
                      </a:lnTo>
                      <a:cubicBezTo>
                        <a:pt x="9862" y="139849"/>
                        <a:pt x="7649" y="142061"/>
                        <a:pt x="4931" y="142061"/>
                      </a:cubicBezTo>
                      <a:cubicBezTo>
                        <a:pt x="2212" y="142061"/>
                        <a:pt x="0" y="139849"/>
                        <a:pt x="0" y="137130"/>
                      </a:cubicBezTo>
                      <a:lnTo>
                        <a:pt x="0" y="4931"/>
                      </a:lnTo>
                      <a:cubicBezTo>
                        <a:pt x="0" y="2212"/>
                        <a:pt x="2212" y="0"/>
                        <a:pt x="4931" y="0"/>
                      </a:cubicBezTo>
                      <a:lnTo>
                        <a:pt x="234494" y="0"/>
                      </a:lnTo>
                      <a:cubicBezTo>
                        <a:pt x="237213" y="0"/>
                        <a:pt x="239425" y="2212"/>
                        <a:pt x="239425" y="4931"/>
                      </a:cubicBezTo>
                      <a:lnTo>
                        <a:pt x="239425" y="140062"/>
                      </a:lnTo>
                      <a:cubicBezTo>
                        <a:pt x="239425" y="142754"/>
                        <a:pt x="237213" y="144993"/>
                        <a:pt x="234494" y="144993"/>
                      </a:cubicBezTo>
                      <a:close/>
                    </a:path>
                  </a:pathLst>
                </a:custGeom>
                <a:solidFill>
                  <a:schemeClr val="accent1"/>
                </a:solidFill>
                <a:ln w="2663" cap="flat">
                  <a:noFill/>
                  <a:prstDash val="solid"/>
                  <a:miter/>
                </a:ln>
              </p:spPr>
              <p:txBody>
                <a:bodyPr rtlCol="0" anchor="ctr"/>
                <a:lstStyle/>
                <a:p>
                  <a:endParaRPr lang="en-GB" dirty="0"/>
                </a:p>
              </p:txBody>
            </p:sp>
          </p:grpSp>
        </p:grpSp>
        <p:grpSp>
          <p:nvGrpSpPr>
            <p:cNvPr id="298" name="Grafik 138">
              <a:extLst>
                <a:ext uri="{FF2B5EF4-FFF2-40B4-BE49-F238E27FC236}">
                  <a16:creationId xmlns:a16="http://schemas.microsoft.com/office/drawing/2014/main" id="{61B41E92-92F2-4849-ABD3-86A12B919469}"/>
                </a:ext>
              </a:extLst>
            </p:cNvPr>
            <p:cNvGrpSpPr/>
            <p:nvPr/>
          </p:nvGrpSpPr>
          <p:grpSpPr>
            <a:xfrm>
              <a:off x="3899080" y="4079171"/>
              <a:ext cx="230155" cy="138477"/>
              <a:chOff x="1145887" y="1873846"/>
              <a:chExt cx="239211" cy="143926"/>
            </a:xfrm>
            <a:solidFill>
              <a:schemeClr val="accent1"/>
            </a:solidFill>
          </p:grpSpPr>
          <p:sp>
            <p:nvSpPr>
              <p:cNvPr id="299" name="Freihandform: Form 236">
                <a:extLst>
                  <a:ext uri="{FF2B5EF4-FFF2-40B4-BE49-F238E27FC236}">
                    <a16:creationId xmlns:a16="http://schemas.microsoft.com/office/drawing/2014/main" id="{927E975F-897D-4407-AEC7-DD14B1C0D7F2}"/>
                  </a:ext>
                </a:extLst>
              </p:cNvPr>
              <p:cNvSpPr/>
              <p:nvPr/>
            </p:nvSpPr>
            <p:spPr>
              <a:xfrm>
                <a:off x="1206877" y="1956951"/>
                <a:ext cx="117348" cy="36461"/>
              </a:xfrm>
              <a:custGeom>
                <a:avLst/>
                <a:gdLst>
                  <a:gd name="connsiteX0" fmla="*/ 112386 w 117348"/>
                  <a:gd name="connsiteY0" fmla="*/ 36461 h 36461"/>
                  <a:gd name="connsiteX1" fmla="*/ 108468 w 117348"/>
                  <a:gd name="connsiteY1" fmla="*/ 34516 h 36461"/>
                  <a:gd name="connsiteX2" fmla="*/ 58653 w 117348"/>
                  <a:gd name="connsiteY2" fmla="*/ 9888 h 36461"/>
                  <a:gd name="connsiteX3" fmla="*/ 8865 w 117348"/>
                  <a:gd name="connsiteY3" fmla="*/ 34516 h 36461"/>
                  <a:gd name="connsiteX4" fmla="*/ 1936 w 117348"/>
                  <a:gd name="connsiteY4" fmla="*/ 35422 h 36461"/>
                  <a:gd name="connsiteX5" fmla="*/ 1029 w 117348"/>
                  <a:gd name="connsiteY5" fmla="*/ 28492 h 36461"/>
                  <a:gd name="connsiteX6" fmla="*/ 58680 w 117348"/>
                  <a:gd name="connsiteY6" fmla="*/ 0 h 36461"/>
                  <a:gd name="connsiteX7" fmla="*/ 116331 w 117348"/>
                  <a:gd name="connsiteY7" fmla="*/ 28492 h 36461"/>
                  <a:gd name="connsiteX8" fmla="*/ 115425 w 117348"/>
                  <a:gd name="connsiteY8" fmla="*/ 35422 h 36461"/>
                  <a:gd name="connsiteX9" fmla="*/ 112386 w 117348"/>
                  <a:gd name="connsiteY9" fmla="*/ 36461 h 3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348" h="36461">
                    <a:moveTo>
                      <a:pt x="112386" y="36461"/>
                    </a:moveTo>
                    <a:cubicBezTo>
                      <a:pt x="110893" y="36461"/>
                      <a:pt x="109428" y="35795"/>
                      <a:pt x="108468" y="34516"/>
                    </a:cubicBezTo>
                    <a:cubicBezTo>
                      <a:pt x="96634" y="19084"/>
                      <a:pt x="78004" y="9888"/>
                      <a:pt x="58653" y="9888"/>
                    </a:cubicBezTo>
                    <a:cubicBezTo>
                      <a:pt x="39303" y="9888"/>
                      <a:pt x="20699" y="19084"/>
                      <a:pt x="8865" y="34516"/>
                    </a:cubicBezTo>
                    <a:cubicBezTo>
                      <a:pt x="7186" y="36675"/>
                      <a:pt x="4094" y="37074"/>
                      <a:pt x="1936" y="35422"/>
                    </a:cubicBezTo>
                    <a:cubicBezTo>
                      <a:pt x="-223" y="33770"/>
                      <a:pt x="-650" y="30651"/>
                      <a:pt x="1029" y="28492"/>
                    </a:cubicBezTo>
                    <a:cubicBezTo>
                      <a:pt x="14729" y="10635"/>
                      <a:pt x="36265" y="0"/>
                      <a:pt x="58680" y="0"/>
                    </a:cubicBezTo>
                    <a:cubicBezTo>
                      <a:pt x="81095" y="0"/>
                      <a:pt x="102631" y="10661"/>
                      <a:pt x="116331" y="28492"/>
                    </a:cubicBezTo>
                    <a:cubicBezTo>
                      <a:pt x="117983" y="30651"/>
                      <a:pt x="117583" y="33770"/>
                      <a:pt x="115425" y="35422"/>
                    </a:cubicBezTo>
                    <a:cubicBezTo>
                      <a:pt x="114492" y="36115"/>
                      <a:pt x="113426" y="36461"/>
                      <a:pt x="112386" y="36461"/>
                    </a:cubicBezTo>
                    <a:close/>
                  </a:path>
                </a:pathLst>
              </a:custGeom>
              <a:solidFill>
                <a:schemeClr val="accent1"/>
              </a:solidFill>
              <a:ln w="2663" cap="flat">
                <a:noFill/>
                <a:prstDash val="solid"/>
                <a:miter/>
              </a:ln>
            </p:spPr>
            <p:txBody>
              <a:bodyPr rtlCol="0" anchor="ctr"/>
              <a:lstStyle/>
              <a:p>
                <a:endParaRPr lang="en-GB" dirty="0"/>
              </a:p>
            </p:txBody>
          </p:sp>
          <p:sp>
            <p:nvSpPr>
              <p:cNvPr id="300" name="Freihandform: Form 237">
                <a:extLst>
                  <a:ext uri="{FF2B5EF4-FFF2-40B4-BE49-F238E27FC236}">
                    <a16:creationId xmlns:a16="http://schemas.microsoft.com/office/drawing/2014/main" id="{8DFA61E9-469D-4065-8320-5A450616356E}"/>
                  </a:ext>
                </a:extLst>
              </p:cNvPr>
              <p:cNvSpPr/>
              <p:nvPr/>
            </p:nvSpPr>
            <p:spPr>
              <a:xfrm>
                <a:off x="1234111" y="1993066"/>
                <a:ext cx="62864" cy="24707"/>
              </a:xfrm>
              <a:custGeom>
                <a:avLst/>
                <a:gdLst>
                  <a:gd name="connsiteX0" fmla="*/ 4926 w 62864"/>
                  <a:gd name="connsiteY0" fmla="*/ 24707 h 24707"/>
                  <a:gd name="connsiteX1" fmla="*/ 2341 w 62864"/>
                  <a:gd name="connsiteY1" fmla="*/ 23961 h 24707"/>
                  <a:gd name="connsiteX2" fmla="*/ 742 w 62864"/>
                  <a:gd name="connsiteY2" fmla="*/ 17165 h 24707"/>
                  <a:gd name="connsiteX3" fmla="*/ 31420 w 62864"/>
                  <a:gd name="connsiteY3" fmla="*/ 0 h 24707"/>
                  <a:gd name="connsiteX4" fmla="*/ 62124 w 62864"/>
                  <a:gd name="connsiteY4" fmla="*/ 17165 h 24707"/>
                  <a:gd name="connsiteX5" fmla="*/ 60498 w 62864"/>
                  <a:gd name="connsiteY5" fmla="*/ 23961 h 24707"/>
                  <a:gd name="connsiteX6" fmla="*/ 53702 w 62864"/>
                  <a:gd name="connsiteY6" fmla="*/ 22335 h 24707"/>
                  <a:gd name="connsiteX7" fmla="*/ 31420 w 62864"/>
                  <a:gd name="connsiteY7" fmla="*/ 9862 h 24707"/>
                  <a:gd name="connsiteX8" fmla="*/ 9138 w 62864"/>
                  <a:gd name="connsiteY8" fmla="*/ 22335 h 24707"/>
                  <a:gd name="connsiteX9" fmla="*/ 4926 w 62864"/>
                  <a:gd name="connsiteY9" fmla="*/ 24707 h 24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864" h="24707">
                    <a:moveTo>
                      <a:pt x="4926" y="24707"/>
                    </a:moveTo>
                    <a:cubicBezTo>
                      <a:pt x="4047" y="24707"/>
                      <a:pt x="3141" y="24468"/>
                      <a:pt x="2341" y="23961"/>
                    </a:cubicBezTo>
                    <a:cubicBezTo>
                      <a:pt x="22" y="22522"/>
                      <a:pt x="-697" y="19483"/>
                      <a:pt x="742" y="17165"/>
                    </a:cubicBezTo>
                    <a:cubicBezTo>
                      <a:pt x="7272" y="6583"/>
                      <a:pt x="19026" y="0"/>
                      <a:pt x="31420" y="0"/>
                    </a:cubicBezTo>
                    <a:cubicBezTo>
                      <a:pt x="43840" y="0"/>
                      <a:pt x="55594" y="6583"/>
                      <a:pt x="62124" y="17165"/>
                    </a:cubicBezTo>
                    <a:cubicBezTo>
                      <a:pt x="63563" y="19483"/>
                      <a:pt x="62844" y="22549"/>
                      <a:pt x="60498" y="23961"/>
                    </a:cubicBezTo>
                    <a:cubicBezTo>
                      <a:pt x="58179" y="25374"/>
                      <a:pt x="55114" y="24681"/>
                      <a:pt x="53702" y="22335"/>
                    </a:cubicBezTo>
                    <a:cubicBezTo>
                      <a:pt x="48957" y="14633"/>
                      <a:pt x="40428" y="9862"/>
                      <a:pt x="31420" y="9862"/>
                    </a:cubicBezTo>
                    <a:cubicBezTo>
                      <a:pt x="22437" y="9862"/>
                      <a:pt x="13882" y="14633"/>
                      <a:pt x="9138" y="22335"/>
                    </a:cubicBezTo>
                    <a:cubicBezTo>
                      <a:pt x="8205" y="23881"/>
                      <a:pt x="6579" y="24707"/>
                      <a:pt x="4926" y="24707"/>
                    </a:cubicBezTo>
                    <a:close/>
                  </a:path>
                </a:pathLst>
              </a:custGeom>
              <a:solidFill>
                <a:schemeClr val="accent1"/>
              </a:solidFill>
              <a:ln w="2663" cap="flat">
                <a:noFill/>
                <a:prstDash val="solid"/>
                <a:miter/>
              </a:ln>
            </p:spPr>
            <p:txBody>
              <a:bodyPr rtlCol="0" anchor="ctr"/>
              <a:lstStyle/>
              <a:p>
                <a:endParaRPr lang="en-GB" dirty="0"/>
              </a:p>
            </p:txBody>
          </p:sp>
          <p:sp>
            <p:nvSpPr>
              <p:cNvPr id="301" name="Freihandform: Form 238">
                <a:extLst>
                  <a:ext uri="{FF2B5EF4-FFF2-40B4-BE49-F238E27FC236}">
                    <a16:creationId xmlns:a16="http://schemas.microsoft.com/office/drawing/2014/main" id="{9D72E63C-7BAA-4317-A0B9-0440D44A3650}"/>
                  </a:ext>
                </a:extLst>
              </p:cNvPr>
              <p:cNvSpPr/>
              <p:nvPr/>
            </p:nvSpPr>
            <p:spPr>
              <a:xfrm>
                <a:off x="1174794" y="1913666"/>
                <a:ext cx="181513" cy="50854"/>
              </a:xfrm>
              <a:custGeom>
                <a:avLst/>
                <a:gdLst>
                  <a:gd name="connsiteX0" fmla="*/ 176559 w 181513"/>
                  <a:gd name="connsiteY0" fmla="*/ 50854 h 50854"/>
                  <a:gd name="connsiteX1" fmla="*/ 172721 w 181513"/>
                  <a:gd name="connsiteY1" fmla="*/ 49042 h 50854"/>
                  <a:gd name="connsiteX2" fmla="*/ 90550 w 181513"/>
                  <a:gd name="connsiteY2" fmla="*/ 9888 h 50854"/>
                  <a:gd name="connsiteX3" fmla="*/ 8751 w 181513"/>
                  <a:gd name="connsiteY3" fmla="*/ 48589 h 50854"/>
                  <a:gd name="connsiteX4" fmla="*/ 1795 w 181513"/>
                  <a:gd name="connsiteY4" fmla="*/ 49255 h 50854"/>
                  <a:gd name="connsiteX5" fmla="*/ 1129 w 181513"/>
                  <a:gd name="connsiteY5" fmla="*/ 42299 h 50854"/>
                  <a:gd name="connsiteX6" fmla="*/ 90550 w 181513"/>
                  <a:gd name="connsiteY6" fmla="*/ 0 h 50854"/>
                  <a:gd name="connsiteX7" fmla="*/ 90550 w 181513"/>
                  <a:gd name="connsiteY7" fmla="*/ 0 h 50854"/>
                  <a:gd name="connsiteX8" fmla="*/ 180397 w 181513"/>
                  <a:gd name="connsiteY8" fmla="*/ 42805 h 50854"/>
                  <a:gd name="connsiteX9" fmla="*/ 179678 w 181513"/>
                  <a:gd name="connsiteY9" fmla="*/ 49761 h 50854"/>
                  <a:gd name="connsiteX10" fmla="*/ 176559 w 181513"/>
                  <a:gd name="connsiteY10" fmla="*/ 50854 h 5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13" h="50854">
                    <a:moveTo>
                      <a:pt x="176559" y="50854"/>
                    </a:moveTo>
                    <a:cubicBezTo>
                      <a:pt x="175120" y="50854"/>
                      <a:pt x="173708" y="50241"/>
                      <a:pt x="172721" y="49042"/>
                    </a:cubicBezTo>
                    <a:cubicBezTo>
                      <a:pt x="152465" y="24148"/>
                      <a:pt x="122507" y="9888"/>
                      <a:pt x="90550" y="9888"/>
                    </a:cubicBezTo>
                    <a:cubicBezTo>
                      <a:pt x="58806" y="9888"/>
                      <a:pt x="29008" y="23988"/>
                      <a:pt x="8751" y="48589"/>
                    </a:cubicBezTo>
                    <a:cubicBezTo>
                      <a:pt x="7019" y="50694"/>
                      <a:pt x="3900" y="50987"/>
                      <a:pt x="1795" y="49255"/>
                    </a:cubicBezTo>
                    <a:cubicBezTo>
                      <a:pt x="-311" y="47523"/>
                      <a:pt x="-604" y="44404"/>
                      <a:pt x="1129" y="42299"/>
                    </a:cubicBezTo>
                    <a:cubicBezTo>
                      <a:pt x="23277" y="15432"/>
                      <a:pt x="55874" y="0"/>
                      <a:pt x="90550" y="0"/>
                    </a:cubicBezTo>
                    <a:cubicBezTo>
                      <a:pt x="90550" y="0"/>
                      <a:pt x="90550" y="0"/>
                      <a:pt x="90550" y="0"/>
                    </a:cubicBezTo>
                    <a:cubicBezTo>
                      <a:pt x="125519" y="0"/>
                      <a:pt x="158249" y="15619"/>
                      <a:pt x="180397" y="42805"/>
                    </a:cubicBezTo>
                    <a:cubicBezTo>
                      <a:pt x="182130" y="44910"/>
                      <a:pt x="181810" y="48029"/>
                      <a:pt x="179678" y="49761"/>
                    </a:cubicBezTo>
                    <a:cubicBezTo>
                      <a:pt x="178745" y="50481"/>
                      <a:pt x="177652" y="50854"/>
                      <a:pt x="176559" y="50854"/>
                    </a:cubicBezTo>
                    <a:close/>
                  </a:path>
                </a:pathLst>
              </a:custGeom>
              <a:solidFill>
                <a:schemeClr val="accent1"/>
              </a:solidFill>
              <a:ln w="2663" cap="flat">
                <a:noFill/>
                <a:prstDash val="solid"/>
                <a:miter/>
              </a:ln>
            </p:spPr>
            <p:txBody>
              <a:bodyPr rtlCol="0" anchor="ctr"/>
              <a:lstStyle/>
              <a:p>
                <a:endParaRPr lang="en-GB" dirty="0"/>
              </a:p>
            </p:txBody>
          </p:sp>
          <p:sp>
            <p:nvSpPr>
              <p:cNvPr id="302" name="Freihandform: Form 239">
                <a:extLst>
                  <a:ext uri="{FF2B5EF4-FFF2-40B4-BE49-F238E27FC236}">
                    <a16:creationId xmlns:a16="http://schemas.microsoft.com/office/drawing/2014/main" id="{A3C35CB5-C1B1-457B-97BE-04A0BC9E1D3C}"/>
                  </a:ext>
                </a:extLst>
              </p:cNvPr>
              <p:cNvSpPr/>
              <p:nvPr/>
            </p:nvSpPr>
            <p:spPr>
              <a:xfrm>
                <a:off x="1145887" y="1873846"/>
                <a:ext cx="239211" cy="63007"/>
              </a:xfrm>
              <a:custGeom>
                <a:avLst/>
                <a:gdLst>
                  <a:gd name="connsiteX0" fmla="*/ 234305 w 239211"/>
                  <a:gd name="connsiteY0" fmla="*/ 63008 h 63007"/>
                  <a:gd name="connsiteX1" fmla="*/ 230547 w 239211"/>
                  <a:gd name="connsiteY1" fmla="*/ 61276 h 63007"/>
                  <a:gd name="connsiteX2" fmla="*/ 119430 w 239211"/>
                  <a:gd name="connsiteY2" fmla="*/ 9915 h 63007"/>
                  <a:gd name="connsiteX3" fmla="*/ 8713 w 239211"/>
                  <a:gd name="connsiteY3" fmla="*/ 60796 h 63007"/>
                  <a:gd name="connsiteX4" fmla="*/ 1730 w 239211"/>
                  <a:gd name="connsiteY4" fmla="*/ 61329 h 63007"/>
                  <a:gd name="connsiteX5" fmla="*/ 1197 w 239211"/>
                  <a:gd name="connsiteY5" fmla="*/ 54346 h 63007"/>
                  <a:gd name="connsiteX6" fmla="*/ 119404 w 239211"/>
                  <a:gd name="connsiteY6" fmla="*/ 0 h 63007"/>
                  <a:gd name="connsiteX7" fmla="*/ 238037 w 239211"/>
                  <a:gd name="connsiteY7" fmla="*/ 54852 h 63007"/>
                  <a:gd name="connsiteX8" fmla="*/ 237477 w 239211"/>
                  <a:gd name="connsiteY8" fmla="*/ 61835 h 63007"/>
                  <a:gd name="connsiteX9" fmla="*/ 234305 w 239211"/>
                  <a:gd name="connsiteY9" fmla="*/ 63008 h 63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211" h="63007">
                    <a:moveTo>
                      <a:pt x="234305" y="63008"/>
                    </a:moveTo>
                    <a:cubicBezTo>
                      <a:pt x="232893" y="63008"/>
                      <a:pt x="231507" y="62422"/>
                      <a:pt x="230547" y="61276"/>
                    </a:cubicBezTo>
                    <a:cubicBezTo>
                      <a:pt x="202775" y="28625"/>
                      <a:pt x="162262" y="9915"/>
                      <a:pt x="119430" y="9915"/>
                    </a:cubicBezTo>
                    <a:cubicBezTo>
                      <a:pt x="76839" y="9915"/>
                      <a:pt x="36486" y="28466"/>
                      <a:pt x="8713" y="60796"/>
                    </a:cubicBezTo>
                    <a:cubicBezTo>
                      <a:pt x="6928" y="62875"/>
                      <a:pt x="3809" y="63088"/>
                      <a:pt x="1730" y="61329"/>
                    </a:cubicBezTo>
                    <a:cubicBezTo>
                      <a:pt x="-349" y="59543"/>
                      <a:pt x="-589" y="56425"/>
                      <a:pt x="1197" y="54346"/>
                    </a:cubicBezTo>
                    <a:cubicBezTo>
                      <a:pt x="30835" y="19803"/>
                      <a:pt x="73934" y="0"/>
                      <a:pt x="119404" y="0"/>
                    </a:cubicBezTo>
                    <a:cubicBezTo>
                      <a:pt x="165141" y="0"/>
                      <a:pt x="208372" y="19990"/>
                      <a:pt x="238037" y="54852"/>
                    </a:cubicBezTo>
                    <a:cubicBezTo>
                      <a:pt x="239796" y="56931"/>
                      <a:pt x="239556" y="60049"/>
                      <a:pt x="237477" y="61835"/>
                    </a:cubicBezTo>
                    <a:cubicBezTo>
                      <a:pt x="236598" y="62608"/>
                      <a:pt x="235451" y="63008"/>
                      <a:pt x="234305" y="63008"/>
                    </a:cubicBezTo>
                    <a:close/>
                  </a:path>
                </a:pathLst>
              </a:custGeom>
              <a:solidFill>
                <a:schemeClr val="accent1"/>
              </a:solidFill>
              <a:ln w="2663" cap="flat">
                <a:noFill/>
                <a:prstDash val="solid"/>
                <a:miter/>
              </a:ln>
            </p:spPr>
            <p:txBody>
              <a:bodyPr rtlCol="0" anchor="ctr"/>
              <a:lstStyle/>
              <a:p>
                <a:endParaRPr lang="en-GB" dirty="0"/>
              </a:p>
            </p:txBody>
          </p:sp>
        </p:grpSp>
      </p:grpSp>
      <p:grpSp>
        <p:nvGrpSpPr>
          <p:cNvPr id="23" name="Group 22">
            <a:extLst>
              <a:ext uri="{FF2B5EF4-FFF2-40B4-BE49-F238E27FC236}">
                <a16:creationId xmlns:a16="http://schemas.microsoft.com/office/drawing/2014/main" id="{EE68A52B-EE0F-40B0-AC5C-E925587EFE2B}"/>
              </a:ext>
            </a:extLst>
          </p:cNvPr>
          <p:cNvGrpSpPr/>
          <p:nvPr/>
        </p:nvGrpSpPr>
        <p:grpSpPr>
          <a:xfrm>
            <a:off x="452872" y="1585984"/>
            <a:ext cx="682357" cy="432000"/>
            <a:chOff x="452872" y="1585984"/>
            <a:chExt cx="682357" cy="432000"/>
          </a:xfrm>
        </p:grpSpPr>
        <p:grpSp>
          <p:nvGrpSpPr>
            <p:cNvPr id="50" name="Group 49">
              <a:extLst>
                <a:ext uri="{FF2B5EF4-FFF2-40B4-BE49-F238E27FC236}">
                  <a16:creationId xmlns:a16="http://schemas.microsoft.com/office/drawing/2014/main" id="{0A547785-CB03-4702-98F8-4A8EF36B40A7}"/>
                </a:ext>
              </a:extLst>
            </p:cNvPr>
            <p:cNvGrpSpPr/>
            <p:nvPr/>
          </p:nvGrpSpPr>
          <p:grpSpPr>
            <a:xfrm>
              <a:off x="664715" y="1585984"/>
              <a:ext cx="361509" cy="415478"/>
              <a:chOff x="7900744" y="1676969"/>
              <a:chExt cx="288688" cy="331785"/>
            </a:xfrm>
          </p:grpSpPr>
          <p:sp>
            <p:nvSpPr>
              <p:cNvPr id="56" name="Freihandform: Form 700">
                <a:extLst>
                  <a:ext uri="{FF2B5EF4-FFF2-40B4-BE49-F238E27FC236}">
                    <a16:creationId xmlns:a16="http://schemas.microsoft.com/office/drawing/2014/main" id="{562123EA-F0C5-4D53-8D03-520D876A4EE6}"/>
                  </a:ext>
                </a:extLst>
              </p:cNvPr>
              <p:cNvSpPr/>
              <p:nvPr/>
            </p:nvSpPr>
            <p:spPr>
              <a:xfrm>
                <a:off x="7900744" y="1676969"/>
                <a:ext cx="288688" cy="331785"/>
              </a:xfrm>
              <a:custGeom>
                <a:avLst/>
                <a:gdLst>
                  <a:gd name="connsiteX0" fmla="*/ 144331 w 288688"/>
                  <a:gd name="connsiteY0" fmla="*/ 331786 h 331785"/>
                  <a:gd name="connsiteX1" fmla="*/ 141835 w 288688"/>
                  <a:gd name="connsiteY1" fmla="*/ 331122 h 331785"/>
                  <a:gd name="connsiteX2" fmla="*/ 2495 w 288688"/>
                  <a:gd name="connsiteY2" fmla="*/ 250688 h 331785"/>
                  <a:gd name="connsiteX3" fmla="*/ 0 w 288688"/>
                  <a:gd name="connsiteY3" fmla="*/ 246361 h 331785"/>
                  <a:gd name="connsiteX4" fmla="*/ 0 w 288688"/>
                  <a:gd name="connsiteY4" fmla="*/ 85438 h 331785"/>
                  <a:gd name="connsiteX5" fmla="*/ 2495 w 288688"/>
                  <a:gd name="connsiteY5" fmla="*/ 81111 h 331785"/>
                  <a:gd name="connsiteX6" fmla="*/ 141835 w 288688"/>
                  <a:gd name="connsiteY6" fmla="*/ 677 h 331785"/>
                  <a:gd name="connsiteX7" fmla="*/ 146853 w 288688"/>
                  <a:gd name="connsiteY7" fmla="*/ 677 h 331785"/>
                  <a:gd name="connsiteX8" fmla="*/ 286193 w 288688"/>
                  <a:gd name="connsiteY8" fmla="*/ 81111 h 331785"/>
                  <a:gd name="connsiteX9" fmla="*/ 288688 w 288688"/>
                  <a:gd name="connsiteY9" fmla="*/ 85438 h 331785"/>
                  <a:gd name="connsiteX10" fmla="*/ 288688 w 288688"/>
                  <a:gd name="connsiteY10" fmla="*/ 115568 h 331785"/>
                  <a:gd name="connsiteX11" fmla="*/ 283671 w 288688"/>
                  <a:gd name="connsiteY11" fmla="*/ 120585 h 331785"/>
                  <a:gd name="connsiteX12" fmla="*/ 278654 w 288688"/>
                  <a:gd name="connsiteY12" fmla="*/ 115568 h 331785"/>
                  <a:gd name="connsiteX13" fmla="*/ 278654 w 288688"/>
                  <a:gd name="connsiteY13" fmla="*/ 88332 h 331785"/>
                  <a:gd name="connsiteX14" fmla="*/ 144331 w 288688"/>
                  <a:gd name="connsiteY14" fmla="*/ 10791 h 331785"/>
                  <a:gd name="connsiteX15" fmla="*/ 10008 w 288688"/>
                  <a:gd name="connsiteY15" fmla="*/ 88332 h 331785"/>
                  <a:gd name="connsiteX16" fmla="*/ 10008 w 288688"/>
                  <a:gd name="connsiteY16" fmla="*/ 243440 h 331785"/>
                  <a:gd name="connsiteX17" fmla="*/ 144331 w 288688"/>
                  <a:gd name="connsiteY17" fmla="*/ 320981 h 331785"/>
                  <a:gd name="connsiteX18" fmla="*/ 211970 w 288688"/>
                  <a:gd name="connsiteY18" fmla="*/ 281932 h 331785"/>
                  <a:gd name="connsiteX19" fmla="*/ 218819 w 288688"/>
                  <a:gd name="connsiteY19" fmla="*/ 283764 h 331785"/>
                  <a:gd name="connsiteX20" fmla="*/ 216987 w 288688"/>
                  <a:gd name="connsiteY20" fmla="*/ 290613 h 331785"/>
                  <a:gd name="connsiteX21" fmla="*/ 146826 w 288688"/>
                  <a:gd name="connsiteY21" fmla="*/ 331122 h 331785"/>
                  <a:gd name="connsiteX22" fmla="*/ 144331 w 288688"/>
                  <a:gd name="connsiteY22" fmla="*/ 331786 h 33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8688" h="331785">
                    <a:moveTo>
                      <a:pt x="144331" y="331786"/>
                    </a:moveTo>
                    <a:cubicBezTo>
                      <a:pt x="143455" y="331786"/>
                      <a:pt x="142605" y="331573"/>
                      <a:pt x="141835" y="331122"/>
                    </a:cubicBezTo>
                    <a:lnTo>
                      <a:pt x="2495" y="250688"/>
                    </a:lnTo>
                    <a:cubicBezTo>
                      <a:pt x="956" y="249785"/>
                      <a:pt x="0" y="248139"/>
                      <a:pt x="0" y="246361"/>
                    </a:cubicBezTo>
                    <a:lnTo>
                      <a:pt x="0" y="85438"/>
                    </a:lnTo>
                    <a:cubicBezTo>
                      <a:pt x="0" y="83660"/>
                      <a:pt x="956" y="81987"/>
                      <a:pt x="2495" y="81111"/>
                    </a:cubicBezTo>
                    <a:lnTo>
                      <a:pt x="141835" y="677"/>
                    </a:lnTo>
                    <a:cubicBezTo>
                      <a:pt x="143402" y="-226"/>
                      <a:pt x="145287" y="-226"/>
                      <a:pt x="146853" y="677"/>
                    </a:cubicBezTo>
                    <a:lnTo>
                      <a:pt x="286193" y="81111"/>
                    </a:lnTo>
                    <a:cubicBezTo>
                      <a:pt x="287732" y="82014"/>
                      <a:pt x="288688" y="83660"/>
                      <a:pt x="288688" y="85438"/>
                    </a:cubicBezTo>
                    <a:lnTo>
                      <a:pt x="288688" y="115568"/>
                    </a:lnTo>
                    <a:cubicBezTo>
                      <a:pt x="288688" y="118329"/>
                      <a:pt x="286432" y="120585"/>
                      <a:pt x="283671" y="120585"/>
                    </a:cubicBezTo>
                    <a:cubicBezTo>
                      <a:pt x="280910" y="120585"/>
                      <a:pt x="278654" y="118329"/>
                      <a:pt x="278654" y="115568"/>
                    </a:cubicBezTo>
                    <a:lnTo>
                      <a:pt x="278654" y="88332"/>
                    </a:lnTo>
                    <a:lnTo>
                      <a:pt x="144331" y="10791"/>
                    </a:lnTo>
                    <a:lnTo>
                      <a:pt x="10008" y="88332"/>
                    </a:lnTo>
                    <a:lnTo>
                      <a:pt x="10008" y="243440"/>
                    </a:lnTo>
                    <a:lnTo>
                      <a:pt x="144331" y="320981"/>
                    </a:lnTo>
                    <a:lnTo>
                      <a:pt x="211970" y="281932"/>
                    </a:lnTo>
                    <a:cubicBezTo>
                      <a:pt x="214386" y="280525"/>
                      <a:pt x="217439" y="281375"/>
                      <a:pt x="218819" y="283764"/>
                    </a:cubicBezTo>
                    <a:cubicBezTo>
                      <a:pt x="220199" y="286153"/>
                      <a:pt x="219376" y="289232"/>
                      <a:pt x="216987" y="290613"/>
                    </a:cubicBezTo>
                    <a:lnTo>
                      <a:pt x="146826" y="331122"/>
                    </a:lnTo>
                    <a:cubicBezTo>
                      <a:pt x="146056" y="331547"/>
                      <a:pt x="145207" y="331786"/>
                      <a:pt x="144331" y="331786"/>
                    </a:cubicBezTo>
                    <a:close/>
                  </a:path>
                </a:pathLst>
              </a:custGeom>
              <a:solidFill>
                <a:schemeClr val="tx2"/>
              </a:solidFill>
              <a:ln w="2653" cap="flat">
                <a:noFill/>
                <a:prstDash val="solid"/>
                <a:miter/>
              </a:ln>
            </p:spPr>
            <p:txBody>
              <a:bodyPr rtlCol="0" anchor="ctr"/>
              <a:lstStyle/>
              <a:p>
                <a:endParaRPr lang="en-GB" dirty="0"/>
              </a:p>
            </p:txBody>
          </p:sp>
          <p:grpSp>
            <p:nvGrpSpPr>
              <p:cNvPr id="57" name="Grafik 78">
                <a:extLst>
                  <a:ext uri="{FF2B5EF4-FFF2-40B4-BE49-F238E27FC236}">
                    <a16:creationId xmlns:a16="http://schemas.microsoft.com/office/drawing/2014/main" id="{B4F7EF85-841F-4D33-8AC7-3FDE4062B357}"/>
                  </a:ext>
                </a:extLst>
              </p:cNvPr>
              <p:cNvGrpSpPr/>
              <p:nvPr/>
            </p:nvGrpSpPr>
            <p:grpSpPr>
              <a:xfrm>
                <a:off x="7963472" y="1762093"/>
                <a:ext cx="163204" cy="161528"/>
                <a:chOff x="7963472" y="1762093"/>
                <a:chExt cx="163204" cy="161528"/>
              </a:xfrm>
              <a:solidFill>
                <a:schemeClr val="tx2"/>
              </a:solidFill>
            </p:grpSpPr>
            <p:sp>
              <p:nvSpPr>
                <p:cNvPr id="58" name="Freihandform: Form 702">
                  <a:extLst>
                    <a:ext uri="{FF2B5EF4-FFF2-40B4-BE49-F238E27FC236}">
                      <a16:creationId xmlns:a16="http://schemas.microsoft.com/office/drawing/2014/main" id="{049559D5-5996-4B4D-B519-D1A2BD1541B4}"/>
                    </a:ext>
                  </a:extLst>
                </p:cNvPr>
                <p:cNvSpPr/>
                <p:nvPr/>
              </p:nvSpPr>
              <p:spPr>
                <a:xfrm>
                  <a:off x="7963472" y="1762093"/>
                  <a:ext cx="163204" cy="161528"/>
                </a:xfrm>
                <a:custGeom>
                  <a:avLst/>
                  <a:gdLst>
                    <a:gd name="connsiteX0" fmla="*/ 102468 w 163204"/>
                    <a:gd name="connsiteY0" fmla="*/ 161529 h 161528"/>
                    <a:gd name="connsiteX1" fmla="*/ 97822 w 163204"/>
                    <a:gd name="connsiteY1" fmla="*/ 158397 h 161528"/>
                    <a:gd name="connsiteX2" fmla="*/ 91610 w 163204"/>
                    <a:gd name="connsiteY2" fmla="*/ 143106 h 161528"/>
                    <a:gd name="connsiteX3" fmla="*/ 69444 w 163204"/>
                    <a:gd name="connsiteY3" fmla="*/ 142734 h 161528"/>
                    <a:gd name="connsiteX4" fmla="*/ 62728 w 163204"/>
                    <a:gd name="connsiteY4" fmla="*/ 157786 h 161528"/>
                    <a:gd name="connsiteX5" fmla="*/ 56118 w 163204"/>
                    <a:gd name="connsiteY5" fmla="*/ 160334 h 161528"/>
                    <a:gd name="connsiteX6" fmla="*/ 39341 w 163204"/>
                    <a:gd name="connsiteY6" fmla="*/ 152875 h 161528"/>
                    <a:gd name="connsiteX7" fmla="*/ 36686 w 163204"/>
                    <a:gd name="connsiteY7" fmla="*/ 150088 h 161528"/>
                    <a:gd name="connsiteX8" fmla="*/ 36793 w 163204"/>
                    <a:gd name="connsiteY8" fmla="*/ 146265 h 161528"/>
                    <a:gd name="connsiteX9" fmla="*/ 43509 w 163204"/>
                    <a:gd name="connsiteY9" fmla="*/ 131187 h 161528"/>
                    <a:gd name="connsiteX10" fmla="*/ 28457 w 163204"/>
                    <a:gd name="connsiteY10" fmla="*/ 114941 h 161528"/>
                    <a:gd name="connsiteX11" fmla="*/ 12901 w 163204"/>
                    <a:gd name="connsiteY11" fmla="*/ 120515 h 161528"/>
                    <a:gd name="connsiteX12" fmla="*/ 6504 w 163204"/>
                    <a:gd name="connsiteY12" fmla="*/ 117489 h 161528"/>
                    <a:gd name="connsiteX13" fmla="*/ 292 w 163204"/>
                    <a:gd name="connsiteY13" fmla="*/ 100181 h 161528"/>
                    <a:gd name="connsiteX14" fmla="*/ 478 w 163204"/>
                    <a:gd name="connsiteY14" fmla="*/ 96358 h 161528"/>
                    <a:gd name="connsiteX15" fmla="*/ 3318 w 163204"/>
                    <a:gd name="connsiteY15" fmla="*/ 93783 h 161528"/>
                    <a:gd name="connsiteX16" fmla="*/ 18848 w 163204"/>
                    <a:gd name="connsiteY16" fmla="*/ 88209 h 161528"/>
                    <a:gd name="connsiteX17" fmla="*/ 19564 w 163204"/>
                    <a:gd name="connsiteY17" fmla="*/ 68644 h 161528"/>
                    <a:gd name="connsiteX18" fmla="*/ 4513 w 163204"/>
                    <a:gd name="connsiteY18" fmla="*/ 61902 h 161528"/>
                    <a:gd name="connsiteX19" fmla="*/ 1991 w 163204"/>
                    <a:gd name="connsiteY19" fmla="*/ 55292 h 161528"/>
                    <a:gd name="connsiteX20" fmla="*/ 9477 w 163204"/>
                    <a:gd name="connsiteY20" fmla="*/ 38515 h 161528"/>
                    <a:gd name="connsiteX21" fmla="*/ 12264 w 163204"/>
                    <a:gd name="connsiteY21" fmla="*/ 35887 h 161528"/>
                    <a:gd name="connsiteX22" fmla="*/ 16113 w 163204"/>
                    <a:gd name="connsiteY22" fmla="*/ 35993 h 161528"/>
                    <a:gd name="connsiteX23" fmla="*/ 31165 w 163204"/>
                    <a:gd name="connsiteY23" fmla="*/ 42709 h 161528"/>
                    <a:gd name="connsiteX24" fmla="*/ 45287 w 163204"/>
                    <a:gd name="connsiteY24" fmla="*/ 29091 h 161528"/>
                    <a:gd name="connsiteX25" fmla="*/ 39076 w 163204"/>
                    <a:gd name="connsiteY25" fmla="*/ 13800 h 161528"/>
                    <a:gd name="connsiteX26" fmla="*/ 39102 w 163204"/>
                    <a:gd name="connsiteY26" fmla="*/ 9951 h 161528"/>
                    <a:gd name="connsiteX27" fmla="*/ 41836 w 163204"/>
                    <a:gd name="connsiteY27" fmla="*/ 7270 h 161528"/>
                    <a:gd name="connsiteX28" fmla="*/ 58879 w 163204"/>
                    <a:gd name="connsiteY28" fmla="*/ 368 h 161528"/>
                    <a:gd name="connsiteX29" fmla="*/ 65409 w 163204"/>
                    <a:gd name="connsiteY29" fmla="*/ 3129 h 161528"/>
                    <a:gd name="connsiteX30" fmla="*/ 71621 w 163204"/>
                    <a:gd name="connsiteY30" fmla="*/ 18419 h 161528"/>
                    <a:gd name="connsiteX31" fmla="*/ 93787 w 163204"/>
                    <a:gd name="connsiteY31" fmla="*/ 18791 h 161528"/>
                    <a:gd name="connsiteX32" fmla="*/ 100530 w 163204"/>
                    <a:gd name="connsiteY32" fmla="*/ 3713 h 161528"/>
                    <a:gd name="connsiteX33" fmla="*/ 107140 w 163204"/>
                    <a:gd name="connsiteY33" fmla="*/ 1191 h 161528"/>
                    <a:gd name="connsiteX34" fmla="*/ 123890 w 163204"/>
                    <a:gd name="connsiteY34" fmla="*/ 8677 h 161528"/>
                    <a:gd name="connsiteX35" fmla="*/ 126518 w 163204"/>
                    <a:gd name="connsiteY35" fmla="*/ 11464 h 161528"/>
                    <a:gd name="connsiteX36" fmla="*/ 126412 w 163204"/>
                    <a:gd name="connsiteY36" fmla="*/ 15287 h 161528"/>
                    <a:gd name="connsiteX37" fmla="*/ 119696 w 163204"/>
                    <a:gd name="connsiteY37" fmla="*/ 30338 h 161528"/>
                    <a:gd name="connsiteX38" fmla="*/ 134747 w 163204"/>
                    <a:gd name="connsiteY38" fmla="*/ 46585 h 161528"/>
                    <a:gd name="connsiteX39" fmla="*/ 150304 w 163204"/>
                    <a:gd name="connsiteY39" fmla="*/ 41037 h 161528"/>
                    <a:gd name="connsiteX40" fmla="*/ 156701 w 163204"/>
                    <a:gd name="connsiteY40" fmla="*/ 44063 h 161528"/>
                    <a:gd name="connsiteX41" fmla="*/ 162913 w 163204"/>
                    <a:gd name="connsiteY41" fmla="*/ 61318 h 161528"/>
                    <a:gd name="connsiteX42" fmla="*/ 162727 w 163204"/>
                    <a:gd name="connsiteY42" fmla="*/ 65140 h 161528"/>
                    <a:gd name="connsiteX43" fmla="*/ 159887 w 163204"/>
                    <a:gd name="connsiteY43" fmla="*/ 67715 h 161528"/>
                    <a:gd name="connsiteX44" fmla="*/ 144331 w 163204"/>
                    <a:gd name="connsiteY44" fmla="*/ 73290 h 161528"/>
                    <a:gd name="connsiteX45" fmla="*/ 143614 w 163204"/>
                    <a:gd name="connsiteY45" fmla="*/ 92881 h 161528"/>
                    <a:gd name="connsiteX46" fmla="*/ 158692 w 163204"/>
                    <a:gd name="connsiteY46" fmla="*/ 99597 h 161528"/>
                    <a:gd name="connsiteX47" fmla="*/ 161320 w 163204"/>
                    <a:gd name="connsiteY47" fmla="*/ 102384 h 161528"/>
                    <a:gd name="connsiteX48" fmla="*/ 161214 w 163204"/>
                    <a:gd name="connsiteY48" fmla="*/ 106234 h 161528"/>
                    <a:gd name="connsiteX49" fmla="*/ 153701 w 163204"/>
                    <a:gd name="connsiteY49" fmla="*/ 123011 h 161528"/>
                    <a:gd name="connsiteX50" fmla="*/ 147091 w 163204"/>
                    <a:gd name="connsiteY50" fmla="*/ 125533 h 161528"/>
                    <a:gd name="connsiteX51" fmla="*/ 132040 w 163204"/>
                    <a:gd name="connsiteY51" fmla="*/ 118816 h 161528"/>
                    <a:gd name="connsiteX52" fmla="*/ 117944 w 163204"/>
                    <a:gd name="connsiteY52" fmla="*/ 132435 h 161528"/>
                    <a:gd name="connsiteX53" fmla="*/ 124156 w 163204"/>
                    <a:gd name="connsiteY53" fmla="*/ 147725 h 161528"/>
                    <a:gd name="connsiteX54" fmla="*/ 124129 w 163204"/>
                    <a:gd name="connsiteY54" fmla="*/ 151548 h 161528"/>
                    <a:gd name="connsiteX55" fmla="*/ 121395 w 163204"/>
                    <a:gd name="connsiteY55" fmla="*/ 154229 h 161528"/>
                    <a:gd name="connsiteX56" fmla="*/ 104352 w 163204"/>
                    <a:gd name="connsiteY56" fmla="*/ 161131 h 161528"/>
                    <a:gd name="connsiteX57" fmla="*/ 102468 w 163204"/>
                    <a:gd name="connsiteY57" fmla="*/ 161529 h 161528"/>
                    <a:gd name="connsiteX58" fmla="*/ 94716 w 163204"/>
                    <a:gd name="connsiteY58" fmla="*/ 132408 h 161528"/>
                    <a:gd name="connsiteX59" fmla="*/ 99362 w 163204"/>
                    <a:gd name="connsiteY59" fmla="*/ 135540 h 161528"/>
                    <a:gd name="connsiteX60" fmla="*/ 105228 w 163204"/>
                    <a:gd name="connsiteY60" fmla="*/ 150008 h 161528"/>
                    <a:gd name="connsiteX61" fmla="*/ 112980 w 163204"/>
                    <a:gd name="connsiteY61" fmla="*/ 146876 h 161528"/>
                    <a:gd name="connsiteX62" fmla="*/ 107087 w 163204"/>
                    <a:gd name="connsiteY62" fmla="*/ 132381 h 161528"/>
                    <a:gd name="connsiteX63" fmla="*/ 109131 w 163204"/>
                    <a:gd name="connsiteY63" fmla="*/ 126196 h 161528"/>
                    <a:gd name="connsiteX64" fmla="*/ 126093 w 163204"/>
                    <a:gd name="connsiteY64" fmla="*/ 109817 h 161528"/>
                    <a:gd name="connsiteX65" fmla="*/ 132332 w 163204"/>
                    <a:gd name="connsiteY65" fmla="*/ 107986 h 161528"/>
                    <a:gd name="connsiteX66" fmla="*/ 146587 w 163204"/>
                    <a:gd name="connsiteY66" fmla="*/ 114357 h 161528"/>
                    <a:gd name="connsiteX67" fmla="*/ 150011 w 163204"/>
                    <a:gd name="connsiteY67" fmla="*/ 106711 h 161528"/>
                    <a:gd name="connsiteX68" fmla="*/ 135756 w 163204"/>
                    <a:gd name="connsiteY68" fmla="*/ 100340 h 161528"/>
                    <a:gd name="connsiteX69" fmla="*/ 132969 w 163204"/>
                    <a:gd name="connsiteY69" fmla="*/ 94474 h 161528"/>
                    <a:gd name="connsiteX70" fmla="*/ 133845 w 163204"/>
                    <a:gd name="connsiteY70" fmla="*/ 70927 h 161528"/>
                    <a:gd name="connsiteX71" fmla="*/ 137083 w 163204"/>
                    <a:gd name="connsiteY71" fmla="*/ 65273 h 161528"/>
                    <a:gd name="connsiteX72" fmla="*/ 151790 w 163204"/>
                    <a:gd name="connsiteY72" fmla="*/ 59990 h 161528"/>
                    <a:gd name="connsiteX73" fmla="*/ 148950 w 163204"/>
                    <a:gd name="connsiteY73" fmla="*/ 52133 h 161528"/>
                    <a:gd name="connsiteX74" fmla="*/ 134243 w 163204"/>
                    <a:gd name="connsiteY74" fmla="*/ 57389 h 161528"/>
                    <a:gd name="connsiteX75" fmla="*/ 128164 w 163204"/>
                    <a:gd name="connsiteY75" fmla="*/ 55079 h 161528"/>
                    <a:gd name="connsiteX76" fmla="*/ 110697 w 163204"/>
                    <a:gd name="connsiteY76" fmla="*/ 36232 h 161528"/>
                    <a:gd name="connsiteX77" fmla="*/ 108838 w 163204"/>
                    <a:gd name="connsiteY77" fmla="*/ 29993 h 161528"/>
                    <a:gd name="connsiteX78" fmla="*/ 115210 w 163204"/>
                    <a:gd name="connsiteY78" fmla="*/ 15738 h 161528"/>
                    <a:gd name="connsiteX79" fmla="*/ 107591 w 163204"/>
                    <a:gd name="connsiteY79" fmla="*/ 12340 h 161528"/>
                    <a:gd name="connsiteX80" fmla="*/ 101220 w 163204"/>
                    <a:gd name="connsiteY80" fmla="*/ 26595 h 161528"/>
                    <a:gd name="connsiteX81" fmla="*/ 95353 w 163204"/>
                    <a:gd name="connsiteY81" fmla="*/ 29383 h 161528"/>
                    <a:gd name="connsiteX82" fmla="*/ 69657 w 163204"/>
                    <a:gd name="connsiteY82" fmla="*/ 28958 h 161528"/>
                    <a:gd name="connsiteX83" fmla="*/ 63870 w 163204"/>
                    <a:gd name="connsiteY83" fmla="*/ 25958 h 161528"/>
                    <a:gd name="connsiteX84" fmla="*/ 58003 w 163204"/>
                    <a:gd name="connsiteY84" fmla="*/ 11491 h 161528"/>
                    <a:gd name="connsiteX85" fmla="*/ 50251 w 163204"/>
                    <a:gd name="connsiteY85" fmla="*/ 14623 h 161528"/>
                    <a:gd name="connsiteX86" fmla="*/ 56145 w 163204"/>
                    <a:gd name="connsiteY86" fmla="*/ 29091 h 161528"/>
                    <a:gd name="connsiteX87" fmla="*/ 54101 w 163204"/>
                    <a:gd name="connsiteY87" fmla="*/ 35276 h 161528"/>
                    <a:gd name="connsiteX88" fmla="*/ 37138 w 163204"/>
                    <a:gd name="connsiteY88" fmla="*/ 51655 h 161528"/>
                    <a:gd name="connsiteX89" fmla="*/ 30899 w 163204"/>
                    <a:gd name="connsiteY89" fmla="*/ 53487 h 161528"/>
                    <a:gd name="connsiteX90" fmla="*/ 16644 w 163204"/>
                    <a:gd name="connsiteY90" fmla="*/ 47116 h 161528"/>
                    <a:gd name="connsiteX91" fmla="*/ 13246 w 163204"/>
                    <a:gd name="connsiteY91" fmla="*/ 54761 h 161528"/>
                    <a:gd name="connsiteX92" fmla="*/ 27502 w 163204"/>
                    <a:gd name="connsiteY92" fmla="*/ 61132 h 161528"/>
                    <a:gd name="connsiteX93" fmla="*/ 30289 w 163204"/>
                    <a:gd name="connsiteY93" fmla="*/ 66999 h 161528"/>
                    <a:gd name="connsiteX94" fmla="*/ 29413 w 163204"/>
                    <a:gd name="connsiteY94" fmla="*/ 90545 h 161528"/>
                    <a:gd name="connsiteX95" fmla="*/ 26174 w 163204"/>
                    <a:gd name="connsiteY95" fmla="*/ 96199 h 161528"/>
                    <a:gd name="connsiteX96" fmla="*/ 11468 w 163204"/>
                    <a:gd name="connsiteY96" fmla="*/ 101482 h 161528"/>
                    <a:gd name="connsiteX97" fmla="*/ 14281 w 163204"/>
                    <a:gd name="connsiteY97" fmla="*/ 109339 h 161528"/>
                    <a:gd name="connsiteX98" fmla="*/ 28988 w 163204"/>
                    <a:gd name="connsiteY98" fmla="*/ 104083 h 161528"/>
                    <a:gd name="connsiteX99" fmla="*/ 35067 w 163204"/>
                    <a:gd name="connsiteY99" fmla="*/ 106366 h 161528"/>
                    <a:gd name="connsiteX100" fmla="*/ 52561 w 163204"/>
                    <a:gd name="connsiteY100" fmla="*/ 125214 h 161528"/>
                    <a:gd name="connsiteX101" fmla="*/ 54393 w 163204"/>
                    <a:gd name="connsiteY101" fmla="*/ 131452 h 161528"/>
                    <a:gd name="connsiteX102" fmla="*/ 48048 w 163204"/>
                    <a:gd name="connsiteY102" fmla="*/ 145708 h 161528"/>
                    <a:gd name="connsiteX103" fmla="*/ 55667 w 163204"/>
                    <a:gd name="connsiteY103" fmla="*/ 149105 h 161528"/>
                    <a:gd name="connsiteX104" fmla="*/ 62038 w 163204"/>
                    <a:gd name="connsiteY104" fmla="*/ 134877 h 161528"/>
                    <a:gd name="connsiteX105" fmla="*/ 67905 w 163204"/>
                    <a:gd name="connsiteY105" fmla="*/ 132089 h 161528"/>
                    <a:gd name="connsiteX106" fmla="*/ 93628 w 163204"/>
                    <a:gd name="connsiteY106" fmla="*/ 132514 h 161528"/>
                    <a:gd name="connsiteX107" fmla="*/ 94716 w 163204"/>
                    <a:gd name="connsiteY107" fmla="*/ 132408 h 161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63204" h="161528">
                      <a:moveTo>
                        <a:pt x="102468" y="161529"/>
                      </a:moveTo>
                      <a:cubicBezTo>
                        <a:pt x="100503" y="161529"/>
                        <a:pt x="98618" y="160361"/>
                        <a:pt x="97822" y="158397"/>
                      </a:cubicBezTo>
                      <a:lnTo>
                        <a:pt x="91610" y="143106"/>
                      </a:lnTo>
                      <a:cubicBezTo>
                        <a:pt x="84310" y="144274"/>
                        <a:pt x="76744" y="144141"/>
                        <a:pt x="69444" y="142734"/>
                      </a:cubicBezTo>
                      <a:lnTo>
                        <a:pt x="62728" y="157786"/>
                      </a:lnTo>
                      <a:cubicBezTo>
                        <a:pt x="61613" y="160308"/>
                        <a:pt x="58614" y="161423"/>
                        <a:pt x="56118" y="160334"/>
                      </a:cubicBezTo>
                      <a:lnTo>
                        <a:pt x="39341" y="152875"/>
                      </a:lnTo>
                      <a:cubicBezTo>
                        <a:pt x="38120" y="152344"/>
                        <a:pt x="37164" y="151335"/>
                        <a:pt x="36686" y="150088"/>
                      </a:cubicBezTo>
                      <a:cubicBezTo>
                        <a:pt x="36209" y="148840"/>
                        <a:pt x="36262" y="147460"/>
                        <a:pt x="36793" y="146265"/>
                      </a:cubicBezTo>
                      <a:lnTo>
                        <a:pt x="43509" y="131187"/>
                      </a:lnTo>
                      <a:cubicBezTo>
                        <a:pt x="37589" y="126727"/>
                        <a:pt x="32466" y="121206"/>
                        <a:pt x="28457" y="114941"/>
                      </a:cubicBezTo>
                      <a:lnTo>
                        <a:pt x="12901" y="120515"/>
                      </a:lnTo>
                      <a:cubicBezTo>
                        <a:pt x="10273" y="121444"/>
                        <a:pt x="7433" y="120091"/>
                        <a:pt x="6504" y="117489"/>
                      </a:cubicBezTo>
                      <a:lnTo>
                        <a:pt x="292" y="100181"/>
                      </a:lnTo>
                      <a:cubicBezTo>
                        <a:pt x="-159" y="98933"/>
                        <a:pt x="-80" y="97553"/>
                        <a:pt x="478" y="96358"/>
                      </a:cubicBezTo>
                      <a:cubicBezTo>
                        <a:pt x="1035" y="95164"/>
                        <a:pt x="2070" y="94235"/>
                        <a:pt x="3318" y="93783"/>
                      </a:cubicBezTo>
                      <a:lnTo>
                        <a:pt x="18848" y="88209"/>
                      </a:lnTo>
                      <a:cubicBezTo>
                        <a:pt x="18078" y="81705"/>
                        <a:pt x="18317" y="75069"/>
                        <a:pt x="19564" y="68644"/>
                      </a:cubicBezTo>
                      <a:lnTo>
                        <a:pt x="4513" y="61902"/>
                      </a:lnTo>
                      <a:cubicBezTo>
                        <a:pt x="1991" y="60760"/>
                        <a:pt x="849" y="57814"/>
                        <a:pt x="1991" y="55292"/>
                      </a:cubicBezTo>
                      <a:lnTo>
                        <a:pt x="9477" y="38515"/>
                      </a:lnTo>
                      <a:cubicBezTo>
                        <a:pt x="10008" y="37294"/>
                        <a:pt x="11016" y="36364"/>
                        <a:pt x="12264" y="35887"/>
                      </a:cubicBezTo>
                      <a:cubicBezTo>
                        <a:pt x="13512" y="35409"/>
                        <a:pt x="14892" y="35462"/>
                        <a:pt x="16113" y="35993"/>
                      </a:cubicBezTo>
                      <a:lnTo>
                        <a:pt x="31165" y="42709"/>
                      </a:lnTo>
                      <a:cubicBezTo>
                        <a:pt x="35120" y="37453"/>
                        <a:pt x="39845" y="32887"/>
                        <a:pt x="45287" y="29091"/>
                      </a:cubicBezTo>
                      <a:lnTo>
                        <a:pt x="39076" y="13800"/>
                      </a:lnTo>
                      <a:cubicBezTo>
                        <a:pt x="38571" y="12579"/>
                        <a:pt x="38571" y="11199"/>
                        <a:pt x="39102" y="9951"/>
                      </a:cubicBezTo>
                      <a:cubicBezTo>
                        <a:pt x="39606" y="8730"/>
                        <a:pt x="40615" y="7748"/>
                        <a:pt x="41836" y="7270"/>
                      </a:cubicBezTo>
                      <a:lnTo>
                        <a:pt x="58879" y="368"/>
                      </a:lnTo>
                      <a:cubicBezTo>
                        <a:pt x="61427" y="-667"/>
                        <a:pt x="64348" y="554"/>
                        <a:pt x="65409" y="3129"/>
                      </a:cubicBezTo>
                      <a:lnTo>
                        <a:pt x="71621" y="18419"/>
                      </a:lnTo>
                      <a:cubicBezTo>
                        <a:pt x="78921" y="17251"/>
                        <a:pt x="86460" y="17357"/>
                        <a:pt x="93787" y="18791"/>
                      </a:cubicBezTo>
                      <a:lnTo>
                        <a:pt x="100530" y="3713"/>
                      </a:lnTo>
                      <a:cubicBezTo>
                        <a:pt x="101645" y="1191"/>
                        <a:pt x="104618" y="76"/>
                        <a:pt x="107140" y="1191"/>
                      </a:cubicBezTo>
                      <a:lnTo>
                        <a:pt x="123890" y="8677"/>
                      </a:lnTo>
                      <a:cubicBezTo>
                        <a:pt x="125111" y="9234"/>
                        <a:pt x="126067" y="10217"/>
                        <a:pt x="126518" y="11464"/>
                      </a:cubicBezTo>
                      <a:cubicBezTo>
                        <a:pt x="126996" y="12712"/>
                        <a:pt x="126943" y="14092"/>
                        <a:pt x="126412" y="15287"/>
                      </a:cubicBezTo>
                      <a:lnTo>
                        <a:pt x="119696" y="30338"/>
                      </a:lnTo>
                      <a:cubicBezTo>
                        <a:pt x="125616" y="34798"/>
                        <a:pt x="130713" y="40320"/>
                        <a:pt x="134747" y="46585"/>
                      </a:cubicBezTo>
                      <a:lnTo>
                        <a:pt x="150304" y="41037"/>
                      </a:lnTo>
                      <a:cubicBezTo>
                        <a:pt x="152879" y="40107"/>
                        <a:pt x="155772" y="41461"/>
                        <a:pt x="156701" y="44063"/>
                      </a:cubicBezTo>
                      <a:lnTo>
                        <a:pt x="162913" y="61318"/>
                      </a:lnTo>
                      <a:cubicBezTo>
                        <a:pt x="163364" y="62565"/>
                        <a:pt x="163284" y="63946"/>
                        <a:pt x="162727" y="65140"/>
                      </a:cubicBezTo>
                      <a:cubicBezTo>
                        <a:pt x="162170" y="66335"/>
                        <a:pt x="161134" y="67264"/>
                        <a:pt x="159887" y="67715"/>
                      </a:cubicBezTo>
                      <a:lnTo>
                        <a:pt x="144331" y="73290"/>
                      </a:lnTo>
                      <a:cubicBezTo>
                        <a:pt x="145100" y="79794"/>
                        <a:pt x="144862" y="86430"/>
                        <a:pt x="143614" y="92881"/>
                      </a:cubicBezTo>
                      <a:lnTo>
                        <a:pt x="158692" y="99597"/>
                      </a:lnTo>
                      <a:cubicBezTo>
                        <a:pt x="159913" y="100128"/>
                        <a:pt x="160842" y="101137"/>
                        <a:pt x="161320" y="102384"/>
                      </a:cubicBezTo>
                      <a:cubicBezTo>
                        <a:pt x="161798" y="103632"/>
                        <a:pt x="161745" y="105012"/>
                        <a:pt x="161214" y="106234"/>
                      </a:cubicBezTo>
                      <a:lnTo>
                        <a:pt x="153701" y="123011"/>
                      </a:lnTo>
                      <a:cubicBezTo>
                        <a:pt x="152560" y="125533"/>
                        <a:pt x="149587" y="126647"/>
                        <a:pt x="147091" y="125533"/>
                      </a:cubicBezTo>
                      <a:lnTo>
                        <a:pt x="132040" y="118816"/>
                      </a:lnTo>
                      <a:cubicBezTo>
                        <a:pt x="128084" y="124046"/>
                        <a:pt x="123306" y="128665"/>
                        <a:pt x="117944" y="132435"/>
                      </a:cubicBezTo>
                      <a:lnTo>
                        <a:pt x="124156" y="147725"/>
                      </a:lnTo>
                      <a:cubicBezTo>
                        <a:pt x="124660" y="148946"/>
                        <a:pt x="124634" y="150327"/>
                        <a:pt x="124129" y="151548"/>
                      </a:cubicBezTo>
                      <a:cubicBezTo>
                        <a:pt x="123625" y="152769"/>
                        <a:pt x="122643" y="153751"/>
                        <a:pt x="121395" y="154229"/>
                      </a:cubicBezTo>
                      <a:lnTo>
                        <a:pt x="104352" y="161131"/>
                      </a:lnTo>
                      <a:cubicBezTo>
                        <a:pt x="103742" y="161423"/>
                        <a:pt x="103105" y="161529"/>
                        <a:pt x="102468" y="161529"/>
                      </a:cubicBezTo>
                      <a:close/>
                      <a:moveTo>
                        <a:pt x="94716" y="132408"/>
                      </a:moveTo>
                      <a:cubicBezTo>
                        <a:pt x="96707" y="132408"/>
                        <a:pt x="98565" y="133603"/>
                        <a:pt x="99362" y="135540"/>
                      </a:cubicBezTo>
                      <a:lnTo>
                        <a:pt x="105228" y="150008"/>
                      </a:lnTo>
                      <a:lnTo>
                        <a:pt x="112980" y="146876"/>
                      </a:lnTo>
                      <a:lnTo>
                        <a:pt x="107087" y="132381"/>
                      </a:lnTo>
                      <a:cubicBezTo>
                        <a:pt x="106158" y="130098"/>
                        <a:pt x="107033" y="127470"/>
                        <a:pt x="109131" y="126196"/>
                      </a:cubicBezTo>
                      <a:cubicBezTo>
                        <a:pt x="115900" y="122108"/>
                        <a:pt x="121767" y="116454"/>
                        <a:pt x="126093" y="109817"/>
                      </a:cubicBezTo>
                      <a:cubicBezTo>
                        <a:pt x="127447" y="107747"/>
                        <a:pt x="130102" y="106977"/>
                        <a:pt x="132332" y="107986"/>
                      </a:cubicBezTo>
                      <a:lnTo>
                        <a:pt x="146587" y="114357"/>
                      </a:lnTo>
                      <a:lnTo>
                        <a:pt x="150011" y="106711"/>
                      </a:lnTo>
                      <a:lnTo>
                        <a:pt x="135756" y="100340"/>
                      </a:lnTo>
                      <a:cubicBezTo>
                        <a:pt x="133500" y="99332"/>
                        <a:pt x="132332" y="96836"/>
                        <a:pt x="132969" y="94474"/>
                      </a:cubicBezTo>
                      <a:cubicBezTo>
                        <a:pt x="135040" y="86802"/>
                        <a:pt x="135332" y="78652"/>
                        <a:pt x="133845" y="70927"/>
                      </a:cubicBezTo>
                      <a:cubicBezTo>
                        <a:pt x="133367" y="68512"/>
                        <a:pt x="134747" y="66096"/>
                        <a:pt x="137083" y="65273"/>
                      </a:cubicBezTo>
                      <a:lnTo>
                        <a:pt x="151790" y="59990"/>
                      </a:lnTo>
                      <a:lnTo>
                        <a:pt x="148950" y="52133"/>
                      </a:lnTo>
                      <a:lnTo>
                        <a:pt x="134243" y="57389"/>
                      </a:lnTo>
                      <a:cubicBezTo>
                        <a:pt x="131934" y="58238"/>
                        <a:pt x="129359" y="57256"/>
                        <a:pt x="128164" y="55079"/>
                      </a:cubicBezTo>
                      <a:cubicBezTo>
                        <a:pt x="123970" y="47434"/>
                        <a:pt x="117917" y="40930"/>
                        <a:pt x="110697" y="36232"/>
                      </a:cubicBezTo>
                      <a:cubicBezTo>
                        <a:pt x="108626" y="34878"/>
                        <a:pt x="107856" y="32250"/>
                        <a:pt x="108838" y="29993"/>
                      </a:cubicBezTo>
                      <a:lnTo>
                        <a:pt x="115210" y="15738"/>
                      </a:lnTo>
                      <a:lnTo>
                        <a:pt x="107591" y="12340"/>
                      </a:lnTo>
                      <a:lnTo>
                        <a:pt x="101220" y="26595"/>
                      </a:lnTo>
                      <a:cubicBezTo>
                        <a:pt x="100211" y="28825"/>
                        <a:pt x="97769" y="30020"/>
                        <a:pt x="95353" y="29383"/>
                      </a:cubicBezTo>
                      <a:cubicBezTo>
                        <a:pt x="86938" y="27126"/>
                        <a:pt x="78045" y="26994"/>
                        <a:pt x="69657" y="28958"/>
                      </a:cubicBezTo>
                      <a:cubicBezTo>
                        <a:pt x="67241" y="29516"/>
                        <a:pt x="64799" y="28241"/>
                        <a:pt x="63870" y="25958"/>
                      </a:cubicBezTo>
                      <a:lnTo>
                        <a:pt x="58003" y="11491"/>
                      </a:lnTo>
                      <a:lnTo>
                        <a:pt x="50251" y="14623"/>
                      </a:lnTo>
                      <a:lnTo>
                        <a:pt x="56145" y="29091"/>
                      </a:lnTo>
                      <a:cubicBezTo>
                        <a:pt x="57074" y="31374"/>
                        <a:pt x="56198" y="34002"/>
                        <a:pt x="54101" y="35276"/>
                      </a:cubicBezTo>
                      <a:cubicBezTo>
                        <a:pt x="47199" y="39444"/>
                        <a:pt x="41491" y="44965"/>
                        <a:pt x="37138" y="51655"/>
                      </a:cubicBezTo>
                      <a:cubicBezTo>
                        <a:pt x="35784" y="53726"/>
                        <a:pt x="33129" y="54495"/>
                        <a:pt x="30899" y="53487"/>
                      </a:cubicBezTo>
                      <a:lnTo>
                        <a:pt x="16644" y="47116"/>
                      </a:lnTo>
                      <a:lnTo>
                        <a:pt x="13246" y="54761"/>
                      </a:lnTo>
                      <a:lnTo>
                        <a:pt x="27502" y="61132"/>
                      </a:lnTo>
                      <a:cubicBezTo>
                        <a:pt x="29758" y="62141"/>
                        <a:pt x="30926" y="64636"/>
                        <a:pt x="30289" y="66999"/>
                      </a:cubicBezTo>
                      <a:cubicBezTo>
                        <a:pt x="28218" y="74644"/>
                        <a:pt x="27926" y="82793"/>
                        <a:pt x="29413" y="90545"/>
                      </a:cubicBezTo>
                      <a:cubicBezTo>
                        <a:pt x="29891" y="92961"/>
                        <a:pt x="28510" y="95376"/>
                        <a:pt x="26174" y="96199"/>
                      </a:cubicBezTo>
                      <a:lnTo>
                        <a:pt x="11468" y="101482"/>
                      </a:lnTo>
                      <a:lnTo>
                        <a:pt x="14281" y="109339"/>
                      </a:lnTo>
                      <a:lnTo>
                        <a:pt x="28988" y="104083"/>
                      </a:lnTo>
                      <a:cubicBezTo>
                        <a:pt x="31324" y="103260"/>
                        <a:pt x="33872" y="104243"/>
                        <a:pt x="35067" y="106366"/>
                      </a:cubicBezTo>
                      <a:cubicBezTo>
                        <a:pt x="39261" y="113985"/>
                        <a:pt x="45314" y="120515"/>
                        <a:pt x="52561" y="125214"/>
                      </a:cubicBezTo>
                      <a:cubicBezTo>
                        <a:pt x="54632" y="126568"/>
                        <a:pt x="55402" y="129196"/>
                        <a:pt x="54393" y="131452"/>
                      </a:cubicBezTo>
                      <a:lnTo>
                        <a:pt x="48048" y="145708"/>
                      </a:lnTo>
                      <a:lnTo>
                        <a:pt x="55667" y="149105"/>
                      </a:lnTo>
                      <a:lnTo>
                        <a:pt x="62038" y="134877"/>
                      </a:lnTo>
                      <a:cubicBezTo>
                        <a:pt x="63047" y="132647"/>
                        <a:pt x="65489" y="131452"/>
                        <a:pt x="67905" y="132089"/>
                      </a:cubicBezTo>
                      <a:cubicBezTo>
                        <a:pt x="76320" y="134346"/>
                        <a:pt x="85213" y="134479"/>
                        <a:pt x="93628" y="132514"/>
                      </a:cubicBezTo>
                      <a:cubicBezTo>
                        <a:pt x="93973" y="132435"/>
                        <a:pt x="94344" y="132408"/>
                        <a:pt x="94716" y="132408"/>
                      </a:cubicBezTo>
                      <a:close/>
                    </a:path>
                  </a:pathLst>
                </a:custGeom>
                <a:solidFill>
                  <a:schemeClr val="tx2"/>
                </a:solidFill>
                <a:ln w="2653" cap="flat">
                  <a:noFill/>
                  <a:prstDash val="solid"/>
                  <a:miter/>
                </a:ln>
              </p:spPr>
              <p:txBody>
                <a:bodyPr rtlCol="0" anchor="ctr"/>
                <a:lstStyle/>
                <a:p>
                  <a:endParaRPr lang="en-GB" dirty="0"/>
                </a:p>
              </p:txBody>
            </p:sp>
            <p:sp>
              <p:nvSpPr>
                <p:cNvPr id="59" name="Freihandform: Form 703">
                  <a:extLst>
                    <a:ext uri="{FF2B5EF4-FFF2-40B4-BE49-F238E27FC236}">
                      <a16:creationId xmlns:a16="http://schemas.microsoft.com/office/drawing/2014/main" id="{CE3E181A-0AB9-41F9-BA8B-DC9AFA1B6C08}"/>
                    </a:ext>
                  </a:extLst>
                </p:cNvPr>
                <p:cNvSpPr/>
                <p:nvPr/>
              </p:nvSpPr>
              <p:spPr>
                <a:xfrm>
                  <a:off x="8016644" y="1814411"/>
                  <a:ext cx="56861" cy="56861"/>
                </a:xfrm>
                <a:custGeom>
                  <a:avLst/>
                  <a:gdLst>
                    <a:gd name="connsiteX0" fmla="*/ 28431 w 56861"/>
                    <a:gd name="connsiteY0" fmla="*/ 56862 h 56861"/>
                    <a:gd name="connsiteX1" fmla="*/ 0 w 56861"/>
                    <a:gd name="connsiteY1" fmla="*/ 28431 h 56861"/>
                    <a:gd name="connsiteX2" fmla="*/ 28431 w 56861"/>
                    <a:gd name="connsiteY2" fmla="*/ 0 h 56861"/>
                    <a:gd name="connsiteX3" fmla="*/ 56862 w 56861"/>
                    <a:gd name="connsiteY3" fmla="*/ 28431 h 56861"/>
                    <a:gd name="connsiteX4" fmla="*/ 28431 w 56861"/>
                    <a:gd name="connsiteY4" fmla="*/ 56862 h 56861"/>
                    <a:gd name="connsiteX5" fmla="*/ 28431 w 56861"/>
                    <a:gd name="connsiteY5" fmla="*/ 10008 h 56861"/>
                    <a:gd name="connsiteX6" fmla="*/ 10034 w 56861"/>
                    <a:gd name="connsiteY6" fmla="*/ 28431 h 56861"/>
                    <a:gd name="connsiteX7" fmla="*/ 28431 w 56861"/>
                    <a:gd name="connsiteY7" fmla="*/ 46854 h 56861"/>
                    <a:gd name="connsiteX8" fmla="*/ 46854 w 56861"/>
                    <a:gd name="connsiteY8" fmla="*/ 28431 h 56861"/>
                    <a:gd name="connsiteX9" fmla="*/ 28431 w 56861"/>
                    <a:gd name="connsiteY9" fmla="*/ 10008 h 5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861" h="56861">
                      <a:moveTo>
                        <a:pt x="28431" y="56862"/>
                      </a:moveTo>
                      <a:cubicBezTo>
                        <a:pt x="12769" y="56862"/>
                        <a:pt x="0" y="44120"/>
                        <a:pt x="0" y="28431"/>
                      </a:cubicBezTo>
                      <a:cubicBezTo>
                        <a:pt x="0" y="12742"/>
                        <a:pt x="12742" y="0"/>
                        <a:pt x="28431" y="0"/>
                      </a:cubicBezTo>
                      <a:cubicBezTo>
                        <a:pt x="44120" y="0"/>
                        <a:pt x="56862" y="12769"/>
                        <a:pt x="56862" y="28431"/>
                      </a:cubicBezTo>
                      <a:cubicBezTo>
                        <a:pt x="56862" y="44120"/>
                        <a:pt x="44120" y="56862"/>
                        <a:pt x="28431" y="56862"/>
                      </a:cubicBezTo>
                      <a:close/>
                      <a:moveTo>
                        <a:pt x="28431" y="10008"/>
                      </a:moveTo>
                      <a:cubicBezTo>
                        <a:pt x="18290" y="10008"/>
                        <a:pt x="10034" y="18264"/>
                        <a:pt x="10034" y="28431"/>
                      </a:cubicBezTo>
                      <a:cubicBezTo>
                        <a:pt x="10034" y="38598"/>
                        <a:pt x="18290" y="46854"/>
                        <a:pt x="28431" y="46854"/>
                      </a:cubicBezTo>
                      <a:cubicBezTo>
                        <a:pt x="38598" y="46854"/>
                        <a:pt x="46854" y="38598"/>
                        <a:pt x="46854" y="28431"/>
                      </a:cubicBezTo>
                      <a:cubicBezTo>
                        <a:pt x="46854" y="18264"/>
                        <a:pt x="38598" y="10008"/>
                        <a:pt x="28431" y="10008"/>
                      </a:cubicBezTo>
                      <a:close/>
                    </a:path>
                  </a:pathLst>
                </a:custGeom>
                <a:solidFill>
                  <a:schemeClr val="tx2"/>
                </a:solidFill>
                <a:ln w="2653" cap="flat">
                  <a:noFill/>
                  <a:prstDash val="solid"/>
                  <a:miter/>
                </a:ln>
              </p:spPr>
              <p:txBody>
                <a:bodyPr rtlCol="0" anchor="ctr"/>
                <a:lstStyle/>
                <a:p>
                  <a:endParaRPr lang="en-GB" dirty="0"/>
                </a:p>
              </p:txBody>
            </p:sp>
          </p:grpSp>
        </p:grpSp>
        <p:grpSp>
          <p:nvGrpSpPr>
            <p:cNvPr id="51" name="Group 50">
              <a:extLst>
                <a:ext uri="{FF2B5EF4-FFF2-40B4-BE49-F238E27FC236}">
                  <a16:creationId xmlns:a16="http://schemas.microsoft.com/office/drawing/2014/main" id="{DC0BBB90-7AE3-4C04-8C9F-EF370DBE8B71}"/>
                </a:ext>
              </a:extLst>
            </p:cNvPr>
            <p:cNvGrpSpPr/>
            <p:nvPr/>
          </p:nvGrpSpPr>
          <p:grpSpPr>
            <a:xfrm>
              <a:off x="452872" y="1604600"/>
              <a:ext cx="682357" cy="413384"/>
              <a:chOff x="7731574" y="1691835"/>
              <a:chExt cx="544905" cy="330113"/>
            </a:xfrm>
          </p:grpSpPr>
          <p:sp>
            <p:nvSpPr>
              <p:cNvPr id="52" name="Freihandform: Form 704">
                <a:extLst>
                  <a:ext uri="{FF2B5EF4-FFF2-40B4-BE49-F238E27FC236}">
                    <a16:creationId xmlns:a16="http://schemas.microsoft.com/office/drawing/2014/main" id="{F4E1B16F-A963-413A-BFF4-9BA96D03CFF1}"/>
                  </a:ext>
                </a:extLst>
              </p:cNvPr>
              <p:cNvSpPr/>
              <p:nvPr/>
            </p:nvSpPr>
            <p:spPr>
              <a:xfrm>
                <a:off x="8110639" y="1802834"/>
                <a:ext cx="165840" cy="219114"/>
              </a:xfrm>
              <a:custGeom>
                <a:avLst/>
                <a:gdLst>
                  <a:gd name="connsiteX0" fmla="*/ 28993 w 165840"/>
                  <a:gd name="connsiteY0" fmla="*/ 219115 h 219114"/>
                  <a:gd name="connsiteX1" fmla="*/ 22701 w 165840"/>
                  <a:gd name="connsiteY1" fmla="*/ 217389 h 219114"/>
                  <a:gd name="connsiteX2" fmla="*/ 6030 w 165840"/>
                  <a:gd name="connsiteY2" fmla="*/ 207461 h 219114"/>
                  <a:gd name="connsiteX3" fmla="*/ 376 w 165840"/>
                  <a:gd name="connsiteY3" fmla="*/ 199895 h 219114"/>
                  <a:gd name="connsiteX4" fmla="*/ 1730 w 165840"/>
                  <a:gd name="connsiteY4" fmla="*/ 190551 h 219114"/>
                  <a:gd name="connsiteX5" fmla="*/ 55591 w 165840"/>
                  <a:gd name="connsiteY5" fmla="*/ 100109 h 219114"/>
                  <a:gd name="connsiteX6" fmla="*/ 50972 w 165840"/>
                  <a:gd name="connsiteY6" fmla="*/ 30160 h 219114"/>
                  <a:gd name="connsiteX7" fmla="*/ 111789 w 165840"/>
                  <a:gd name="connsiteY7" fmla="*/ 481 h 219114"/>
                  <a:gd name="connsiteX8" fmla="*/ 115665 w 165840"/>
                  <a:gd name="connsiteY8" fmla="*/ 3242 h 219114"/>
                  <a:gd name="connsiteX9" fmla="*/ 115479 w 165840"/>
                  <a:gd name="connsiteY9" fmla="*/ 7994 h 219114"/>
                  <a:gd name="connsiteX10" fmla="*/ 92836 w 165840"/>
                  <a:gd name="connsiteY10" fmla="*/ 46034 h 219114"/>
                  <a:gd name="connsiteX11" fmla="*/ 98994 w 165840"/>
                  <a:gd name="connsiteY11" fmla="*/ 70297 h 219114"/>
                  <a:gd name="connsiteX12" fmla="*/ 123258 w 165840"/>
                  <a:gd name="connsiteY12" fmla="*/ 64139 h 219114"/>
                  <a:gd name="connsiteX13" fmla="*/ 145901 w 165840"/>
                  <a:gd name="connsiteY13" fmla="*/ 26098 h 219114"/>
                  <a:gd name="connsiteX14" fmla="*/ 149989 w 165840"/>
                  <a:gd name="connsiteY14" fmla="*/ 23656 h 219114"/>
                  <a:gd name="connsiteX15" fmla="*/ 154263 w 165840"/>
                  <a:gd name="connsiteY15" fmla="*/ 25753 h 219114"/>
                  <a:gd name="connsiteX16" fmla="*/ 157157 w 165840"/>
                  <a:gd name="connsiteY16" fmla="*/ 93366 h 219114"/>
                  <a:gd name="connsiteX17" fmla="*/ 93473 w 165840"/>
                  <a:gd name="connsiteY17" fmla="*/ 122620 h 219114"/>
                  <a:gd name="connsiteX18" fmla="*/ 39611 w 165840"/>
                  <a:gd name="connsiteY18" fmla="*/ 213062 h 219114"/>
                  <a:gd name="connsiteX19" fmla="*/ 28993 w 165840"/>
                  <a:gd name="connsiteY19" fmla="*/ 219115 h 219114"/>
                  <a:gd name="connsiteX20" fmla="*/ 102631 w 165840"/>
                  <a:gd name="connsiteY20" fmla="*/ 10011 h 219114"/>
                  <a:gd name="connsiteX21" fmla="*/ 59600 w 165840"/>
                  <a:gd name="connsiteY21" fmla="*/ 35257 h 219114"/>
                  <a:gd name="connsiteX22" fmla="*/ 65467 w 165840"/>
                  <a:gd name="connsiteY22" fmla="*/ 96233 h 219114"/>
                  <a:gd name="connsiteX23" fmla="*/ 66024 w 165840"/>
                  <a:gd name="connsiteY23" fmla="*/ 102126 h 219114"/>
                  <a:gd name="connsiteX24" fmla="*/ 10331 w 165840"/>
                  <a:gd name="connsiteY24" fmla="*/ 195621 h 219114"/>
                  <a:gd name="connsiteX25" fmla="*/ 10065 w 165840"/>
                  <a:gd name="connsiteY25" fmla="*/ 197373 h 219114"/>
                  <a:gd name="connsiteX26" fmla="*/ 11127 w 165840"/>
                  <a:gd name="connsiteY26" fmla="*/ 198807 h 219114"/>
                  <a:gd name="connsiteX27" fmla="*/ 27798 w 165840"/>
                  <a:gd name="connsiteY27" fmla="*/ 208735 h 219114"/>
                  <a:gd name="connsiteX28" fmla="*/ 30983 w 165840"/>
                  <a:gd name="connsiteY28" fmla="*/ 207939 h 219114"/>
                  <a:gd name="connsiteX29" fmla="*/ 86677 w 165840"/>
                  <a:gd name="connsiteY29" fmla="*/ 114443 h 219114"/>
                  <a:gd name="connsiteX30" fmla="*/ 92145 w 165840"/>
                  <a:gd name="connsiteY30" fmla="*/ 112134 h 219114"/>
                  <a:gd name="connsiteX31" fmla="*/ 148556 w 165840"/>
                  <a:gd name="connsiteY31" fmla="*/ 88243 h 219114"/>
                  <a:gd name="connsiteX32" fmla="*/ 150255 w 165840"/>
                  <a:gd name="connsiteY32" fmla="*/ 38389 h 219114"/>
                  <a:gd name="connsiteX33" fmla="*/ 130797 w 165840"/>
                  <a:gd name="connsiteY33" fmla="*/ 71067 h 219114"/>
                  <a:gd name="connsiteX34" fmla="*/ 127717 w 165840"/>
                  <a:gd name="connsiteY34" fmla="*/ 73350 h 219114"/>
                  <a:gd name="connsiteX35" fmla="*/ 96579 w 165840"/>
                  <a:gd name="connsiteY35" fmla="*/ 81234 h 219114"/>
                  <a:gd name="connsiteX36" fmla="*/ 90499 w 165840"/>
                  <a:gd name="connsiteY36" fmla="*/ 77598 h 219114"/>
                  <a:gd name="connsiteX37" fmla="*/ 82615 w 165840"/>
                  <a:gd name="connsiteY37" fmla="*/ 46459 h 219114"/>
                  <a:gd name="connsiteX38" fmla="*/ 83173 w 165840"/>
                  <a:gd name="connsiteY38" fmla="*/ 42663 h 219114"/>
                  <a:gd name="connsiteX39" fmla="*/ 102631 w 165840"/>
                  <a:gd name="connsiteY39" fmla="*/ 10011 h 219114"/>
                  <a:gd name="connsiteX40" fmla="*/ 126496 w 165840"/>
                  <a:gd name="connsiteY40" fmla="*/ 68492 h 219114"/>
                  <a:gd name="connsiteX41" fmla="*/ 126549 w 165840"/>
                  <a:gd name="connsiteY41" fmla="*/ 68492 h 219114"/>
                  <a:gd name="connsiteX42" fmla="*/ 126496 w 165840"/>
                  <a:gd name="connsiteY42" fmla="*/ 68492 h 21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5840" h="219114">
                    <a:moveTo>
                      <a:pt x="28993" y="219115"/>
                    </a:moveTo>
                    <a:cubicBezTo>
                      <a:pt x="26842" y="219115"/>
                      <a:pt x="24666" y="218557"/>
                      <a:pt x="22701" y="217389"/>
                    </a:cubicBezTo>
                    <a:lnTo>
                      <a:pt x="6030" y="207461"/>
                    </a:lnTo>
                    <a:cubicBezTo>
                      <a:pt x="3190" y="205762"/>
                      <a:pt x="1199" y="203081"/>
                      <a:pt x="376" y="199895"/>
                    </a:cubicBezTo>
                    <a:cubicBezTo>
                      <a:pt x="-421" y="196710"/>
                      <a:pt x="57" y="193391"/>
                      <a:pt x="1730" y="190551"/>
                    </a:cubicBezTo>
                    <a:lnTo>
                      <a:pt x="55591" y="100109"/>
                    </a:lnTo>
                    <a:cubicBezTo>
                      <a:pt x="39690" y="80066"/>
                      <a:pt x="37726" y="52405"/>
                      <a:pt x="50972" y="30160"/>
                    </a:cubicBezTo>
                    <a:cubicBezTo>
                      <a:pt x="63529" y="9082"/>
                      <a:pt x="87394" y="-2571"/>
                      <a:pt x="111789" y="481"/>
                    </a:cubicBezTo>
                    <a:cubicBezTo>
                      <a:pt x="113462" y="694"/>
                      <a:pt x="114922" y="1729"/>
                      <a:pt x="115665" y="3242"/>
                    </a:cubicBezTo>
                    <a:cubicBezTo>
                      <a:pt x="116408" y="4755"/>
                      <a:pt x="116329" y="6560"/>
                      <a:pt x="115479" y="7994"/>
                    </a:cubicBezTo>
                    <a:lnTo>
                      <a:pt x="92836" y="46034"/>
                    </a:lnTo>
                    <a:lnTo>
                      <a:pt x="98994" y="70297"/>
                    </a:lnTo>
                    <a:lnTo>
                      <a:pt x="123258" y="64139"/>
                    </a:lnTo>
                    <a:lnTo>
                      <a:pt x="145901" y="26098"/>
                    </a:lnTo>
                    <a:cubicBezTo>
                      <a:pt x="146777" y="24638"/>
                      <a:pt x="148317" y="23736"/>
                      <a:pt x="149989" y="23656"/>
                    </a:cubicBezTo>
                    <a:cubicBezTo>
                      <a:pt x="151582" y="23630"/>
                      <a:pt x="153281" y="24373"/>
                      <a:pt x="154263" y="25753"/>
                    </a:cubicBezTo>
                    <a:cubicBezTo>
                      <a:pt x="168571" y="45742"/>
                      <a:pt x="169713" y="72262"/>
                      <a:pt x="157157" y="93366"/>
                    </a:cubicBezTo>
                    <a:cubicBezTo>
                      <a:pt x="143910" y="115612"/>
                      <a:pt x="118691" y="127053"/>
                      <a:pt x="93473" y="122620"/>
                    </a:cubicBezTo>
                    <a:lnTo>
                      <a:pt x="39611" y="213062"/>
                    </a:lnTo>
                    <a:cubicBezTo>
                      <a:pt x="37301" y="216964"/>
                      <a:pt x="33213" y="219115"/>
                      <a:pt x="28993" y="219115"/>
                    </a:cubicBezTo>
                    <a:close/>
                    <a:moveTo>
                      <a:pt x="102631" y="10011"/>
                    </a:moveTo>
                    <a:cubicBezTo>
                      <a:pt x="85084" y="10516"/>
                      <a:pt x="68758" y="19887"/>
                      <a:pt x="59600" y="35257"/>
                    </a:cubicBezTo>
                    <a:cubicBezTo>
                      <a:pt x="47973" y="54795"/>
                      <a:pt x="50335" y="79297"/>
                      <a:pt x="65467" y="96233"/>
                    </a:cubicBezTo>
                    <a:cubicBezTo>
                      <a:pt x="66927" y="97879"/>
                      <a:pt x="67166" y="100241"/>
                      <a:pt x="66024" y="102126"/>
                    </a:cubicBezTo>
                    <a:lnTo>
                      <a:pt x="10331" y="195621"/>
                    </a:lnTo>
                    <a:cubicBezTo>
                      <a:pt x="9906" y="196338"/>
                      <a:pt x="9985" y="197028"/>
                      <a:pt x="10065" y="197373"/>
                    </a:cubicBezTo>
                    <a:cubicBezTo>
                      <a:pt x="10145" y="197718"/>
                      <a:pt x="10410" y="198356"/>
                      <a:pt x="11127" y="198807"/>
                    </a:cubicBezTo>
                    <a:lnTo>
                      <a:pt x="27798" y="208735"/>
                    </a:lnTo>
                    <a:cubicBezTo>
                      <a:pt x="28913" y="209372"/>
                      <a:pt x="30320" y="209027"/>
                      <a:pt x="30983" y="207939"/>
                    </a:cubicBezTo>
                    <a:lnTo>
                      <a:pt x="86677" y="114443"/>
                    </a:lnTo>
                    <a:cubicBezTo>
                      <a:pt x="87792" y="112559"/>
                      <a:pt x="90022" y="111630"/>
                      <a:pt x="92145" y="112134"/>
                    </a:cubicBezTo>
                    <a:cubicBezTo>
                      <a:pt x="114258" y="117364"/>
                      <a:pt x="136902" y="107780"/>
                      <a:pt x="148556" y="88243"/>
                    </a:cubicBezTo>
                    <a:cubicBezTo>
                      <a:pt x="157714" y="72872"/>
                      <a:pt x="158192" y="54051"/>
                      <a:pt x="150255" y="38389"/>
                    </a:cubicBezTo>
                    <a:lnTo>
                      <a:pt x="130797" y="71067"/>
                    </a:lnTo>
                    <a:cubicBezTo>
                      <a:pt x="130106" y="72209"/>
                      <a:pt x="129018" y="73032"/>
                      <a:pt x="127717" y="73350"/>
                    </a:cubicBezTo>
                    <a:lnTo>
                      <a:pt x="96579" y="81234"/>
                    </a:lnTo>
                    <a:cubicBezTo>
                      <a:pt x="93897" y="81898"/>
                      <a:pt x="91163" y="80305"/>
                      <a:pt x="90499" y="77598"/>
                    </a:cubicBezTo>
                    <a:lnTo>
                      <a:pt x="82615" y="46459"/>
                    </a:lnTo>
                    <a:cubicBezTo>
                      <a:pt x="82270" y="45185"/>
                      <a:pt x="82483" y="43804"/>
                      <a:pt x="83173" y="42663"/>
                    </a:cubicBezTo>
                    <a:lnTo>
                      <a:pt x="102631" y="10011"/>
                    </a:lnTo>
                    <a:close/>
                    <a:moveTo>
                      <a:pt x="126496" y="68492"/>
                    </a:moveTo>
                    <a:lnTo>
                      <a:pt x="126549" y="68492"/>
                    </a:lnTo>
                    <a:lnTo>
                      <a:pt x="126496" y="68492"/>
                    </a:lnTo>
                    <a:close/>
                  </a:path>
                </a:pathLst>
              </a:custGeom>
              <a:solidFill>
                <a:schemeClr val="accent1"/>
              </a:solidFill>
              <a:ln w="2653" cap="flat">
                <a:noFill/>
                <a:prstDash val="solid"/>
                <a:miter/>
              </a:ln>
            </p:spPr>
            <p:txBody>
              <a:bodyPr rtlCol="0" anchor="ctr"/>
              <a:lstStyle/>
              <a:p>
                <a:endParaRPr lang="en-GB" dirty="0"/>
              </a:p>
            </p:txBody>
          </p:sp>
          <p:sp>
            <p:nvSpPr>
              <p:cNvPr id="53" name="Freihandform: Form 705">
                <a:extLst>
                  <a:ext uri="{FF2B5EF4-FFF2-40B4-BE49-F238E27FC236}">
                    <a16:creationId xmlns:a16="http://schemas.microsoft.com/office/drawing/2014/main" id="{6BC8212B-DE0B-4132-9AB3-80316F284427}"/>
                  </a:ext>
                </a:extLst>
              </p:cNvPr>
              <p:cNvSpPr/>
              <p:nvPr/>
            </p:nvSpPr>
            <p:spPr>
              <a:xfrm>
                <a:off x="7731574" y="1881288"/>
                <a:ext cx="152836" cy="29352"/>
              </a:xfrm>
              <a:custGeom>
                <a:avLst/>
                <a:gdLst>
                  <a:gd name="connsiteX0" fmla="*/ 5036 w 152836"/>
                  <a:gd name="connsiteY0" fmla="*/ 29352 h 29352"/>
                  <a:gd name="connsiteX1" fmla="*/ 948 w 152836"/>
                  <a:gd name="connsiteY1" fmla="*/ 27255 h 29352"/>
                  <a:gd name="connsiteX2" fmla="*/ 2089 w 152836"/>
                  <a:gd name="connsiteY2" fmla="*/ 20274 h 29352"/>
                  <a:gd name="connsiteX3" fmla="*/ 28954 w 152836"/>
                  <a:gd name="connsiteY3" fmla="*/ 948 h 29352"/>
                  <a:gd name="connsiteX4" fmla="*/ 34661 w 152836"/>
                  <a:gd name="connsiteY4" fmla="*/ 842 h 29352"/>
                  <a:gd name="connsiteX5" fmla="*/ 60889 w 152836"/>
                  <a:gd name="connsiteY5" fmla="*/ 18309 h 29352"/>
                  <a:gd name="connsiteX6" fmla="*/ 87090 w 152836"/>
                  <a:gd name="connsiteY6" fmla="*/ 842 h 29352"/>
                  <a:gd name="connsiteX7" fmla="*/ 92638 w 152836"/>
                  <a:gd name="connsiteY7" fmla="*/ 842 h 29352"/>
                  <a:gd name="connsiteX8" fmla="*/ 118839 w 152836"/>
                  <a:gd name="connsiteY8" fmla="*/ 18309 h 29352"/>
                  <a:gd name="connsiteX9" fmla="*/ 145040 w 152836"/>
                  <a:gd name="connsiteY9" fmla="*/ 842 h 29352"/>
                  <a:gd name="connsiteX10" fmla="*/ 151995 w 152836"/>
                  <a:gd name="connsiteY10" fmla="*/ 2222 h 29352"/>
                  <a:gd name="connsiteX11" fmla="*/ 150614 w 152836"/>
                  <a:gd name="connsiteY11" fmla="*/ 9177 h 29352"/>
                  <a:gd name="connsiteX12" fmla="*/ 121626 w 152836"/>
                  <a:gd name="connsiteY12" fmla="*/ 28503 h 29352"/>
                  <a:gd name="connsiteX13" fmla="*/ 116078 w 152836"/>
                  <a:gd name="connsiteY13" fmla="*/ 28503 h 29352"/>
                  <a:gd name="connsiteX14" fmla="*/ 89877 w 152836"/>
                  <a:gd name="connsiteY14" fmla="*/ 11036 h 29352"/>
                  <a:gd name="connsiteX15" fmla="*/ 63676 w 152836"/>
                  <a:gd name="connsiteY15" fmla="*/ 28503 h 29352"/>
                  <a:gd name="connsiteX16" fmla="*/ 58128 w 152836"/>
                  <a:gd name="connsiteY16" fmla="*/ 28503 h 29352"/>
                  <a:gd name="connsiteX17" fmla="*/ 32033 w 152836"/>
                  <a:gd name="connsiteY17" fmla="*/ 11089 h 29352"/>
                  <a:gd name="connsiteX18" fmla="*/ 7956 w 152836"/>
                  <a:gd name="connsiteY18" fmla="*/ 28397 h 29352"/>
                  <a:gd name="connsiteX19" fmla="*/ 5036 w 152836"/>
                  <a:gd name="connsiteY19" fmla="*/ 29352 h 2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836" h="29352">
                    <a:moveTo>
                      <a:pt x="5036" y="29352"/>
                    </a:moveTo>
                    <a:cubicBezTo>
                      <a:pt x="3470" y="29352"/>
                      <a:pt x="1956" y="28636"/>
                      <a:pt x="948" y="27255"/>
                    </a:cubicBezTo>
                    <a:cubicBezTo>
                      <a:pt x="-672" y="24999"/>
                      <a:pt x="-167" y="21866"/>
                      <a:pt x="2089" y="20274"/>
                    </a:cubicBezTo>
                    <a:lnTo>
                      <a:pt x="28954" y="948"/>
                    </a:lnTo>
                    <a:cubicBezTo>
                      <a:pt x="30653" y="-273"/>
                      <a:pt x="32936" y="-300"/>
                      <a:pt x="34661" y="842"/>
                    </a:cubicBezTo>
                    <a:lnTo>
                      <a:pt x="60889" y="18309"/>
                    </a:lnTo>
                    <a:lnTo>
                      <a:pt x="87090" y="842"/>
                    </a:lnTo>
                    <a:cubicBezTo>
                      <a:pt x="88762" y="-273"/>
                      <a:pt x="90965" y="-273"/>
                      <a:pt x="92638" y="842"/>
                    </a:cubicBezTo>
                    <a:lnTo>
                      <a:pt x="118839" y="18309"/>
                    </a:lnTo>
                    <a:lnTo>
                      <a:pt x="145040" y="842"/>
                    </a:lnTo>
                    <a:cubicBezTo>
                      <a:pt x="147349" y="-698"/>
                      <a:pt x="150455" y="-61"/>
                      <a:pt x="151995" y="2222"/>
                    </a:cubicBezTo>
                    <a:cubicBezTo>
                      <a:pt x="153534" y="4532"/>
                      <a:pt x="152897" y="7638"/>
                      <a:pt x="150614" y="9177"/>
                    </a:cubicBezTo>
                    <a:lnTo>
                      <a:pt x="121626" y="28503"/>
                    </a:lnTo>
                    <a:cubicBezTo>
                      <a:pt x="119954" y="29618"/>
                      <a:pt x="117750" y="29618"/>
                      <a:pt x="116078" y="28503"/>
                    </a:cubicBezTo>
                    <a:lnTo>
                      <a:pt x="89877" y="11036"/>
                    </a:lnTo>
                    <a:lnTo>
                      <a:pt x="63676" y="28503"/>
                    </a:lnTo>
                    <a:cubicBezTo>
                      <a:pt x="62004" y="29618"/>
                      <a:pt x="59800" y="29618"/>
                      <a:pt x="58128" y="28503"/>
                    </a:cubicBezTo>
                    <a:lnTo>
                      <a:pt x="32033" y="11089"/>
                    </a:lnTo>
                    <a:lnTo>
                      <a:pt x="7956" y="28397"/>
                    </a:lnTo>
                    <a:cubicBezTo>
                      <a:pt x="7080" y="29060"/>
                      <a:pt x="6071" y="29352"/>
                      <a:pt x="5036" y="29352"/>
                    </a:cubicBezTo>
                    <a:close/>
                  </a:path>
                </a:pathLst>
              </a:custGeom>
              <a:solidFill>
                <a:schemeClr val="accent1"/>
              </a:solidFill>
              <a:ln w="2653" cap="flat">
                <a:noFill/>
                <a:prstDash val="solid"/>
                <a:miter/>
              </a:ln>
            </p:spPr>
            <p:txBody>
              <a:bodyPr rtlCol="0" anchor="ctr"/>
              <a:lstStyle/>
              <a:p>
                <a:endParaRPr lang="en-GB" dirty="0"/>
              </a:p>
            </p:txBody>
          </p:sp>
          <p:sp>
            <p:nvSpPr>
              <p:cNvPr id="54" name="Freihandform: Form 706">
                <a:extLst>
                  <a:ext uri="{FF2B5EF4-FFF2-40B4-BE49-F238E27FC236}">
                    <a16:creationId xmlns:a16="http://schemas.microsoft.com/office/drawing/2014/main" id="{E8E43186-7DDA-4DAD-A36F-8ED2190A4389}"/>
                  </a:ext>
                </a:extLst>
              </p:cNvPr>
              <p:cNvSpPr/>
              <p:nvPr/>
            </p:nvSpPr>
            <p:spPr>
              <a:xfrm>
                <a:off x="7807814" y="1949937"/>
                <a:ext cx="123874" cy="29352"/>
              </a:xfrm>
              <a:custGeom>
                <a:avLst/>
                <a:gdLst>
                  <a:gd name="connsiteX0" fmla="*/ 31874 w 123874"/>
                  <a:gd name="connsiteY0" fmla="*/ 29352 h 29352"/>
                  <a:gd name="connsiteX1" fmla="*/ 28954 w 123874"/>
                  <a:gd name="connsiteY1" fmla="*/ 28397 h 29352"/>
                  <a:gd name="connsiteX2" fmla="*/ 2089 w 123874"/>
                  <a:gd name="connsiteY2" fmla="*/ 9071 h 29352"/>
                  <a:gd name="connsiteX3" fmla="*/ 948 w 123874"/>
                  <a:gd name="connsiteY3" fmla="*/ 2090 h 29352"/>
                  <a:gd name="connsiteX4" fmla="*/ 7929 w 123874"/>
                  <a:gd name="connsiteY4" fmla="*/ 948 h 29352"/>
                  <a:gd name="connsiteX5" fmla="*/ 32007 w 123874"/>
                  <a:gd name="connsiteY5" fmla="*/ 18256 h 29352"/>
                  <a:gd name="connsiteX6" fmla="*/ 58101 w 123874"/>
                  <a:gd name="connsiteY6" fmla="*/ 842 h 29352"/>
                  <a:gd name="connsiteX7" fmla="*/ 63650 w 123874"/>
                  <a:gd name="connsiteY7" fmla="*/ 842 h 29352"/>
                  <a:gd name="connsiteX8" fmla="*/ 89851 w 123874"/>
                  <a:gd name="connsiteY8" fmla="*/ 18309 h 29352"/>
                  <a:gd name="connsiteX9" fmla="*/ 116078 w 123874"/>
                  <a:gd name="connsiteY9" fmla="*/ 842 h 29352"/>
                  <a:gd name="connsiteX10" fmla="*/ 123033 w 123874"/>
                  <a:gd name="connsiteY10" fmla="*/ 2222 h 29352"/>
                  <a:gd name="connsiteX11" fmla="*/ 121653 w 123874"/>
                  <a:gd name="connsiteY11" fmla="*/ 9177 h 29352"/>
                  <a:gd name="connsiteX12" fmla="*/ 92664 w 123874"/>
                  <a:gd name="connsiteY12" fmla="*/ 28503 h 29352"/>
                  <a:gd name="connsiteX13" fmla="*/ 87116 w 123874"/>
                  <a:gd name="connsiteY13" fmla="*/ 28503 h 29352"/>
                  <a:gd name="connsiteX14" fmla="*/ 60915 w 123874"/>
                  <a:gd name="connsiteY14" fmla="*/ 11036 h 29352"/>
                  <a:gd name="connsiteX15" fmla="*/ 34714 w 123874"/>
                  <a:gd name="connsiteY15" fmla="*/ 28503 h 29352"/>
                  <a:gd name="connsiteX16" fmla="*/ 31874 w 123874"/>
                  <a:gd name="connsiteY16" fmla="*/ 29352 h 29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874" h="29352">
                    <a:moveTo>
                      <a:pt x="31874" y="29352"/>
                    </a:moveTo>
                    <a:cubicBezTo>
                      <a:pt x="30839" y="29352"/>
                      <a:pt x="29830" y="29034"/>
                      <a:pt x="28954" y="28397"/>
                    </a:cubicBezTo>
                    <a:lnTo>
                      <a:pt x="2089" y="9071"/>
                    </a:lnTo>
                    <a:cubicBezTo>
                      <a:pt x="-167" y="7452"/>
                      <a:pt x="-672" y="4319"/>
                      <a:pt x="948" y="2090"/>
                    </a:cubicBezTo>
                    <a:cubicBezTo>
                      <a:pt x="2567" y="-140"/>
                      <a:pt x="5700" y="-671"/>
                      <a:pt x="7929" y="948"/>
                    </a:cubicBezTo>
                    <a:lnTo>
                      <a:pt x="32007" y="18256"/>
                    </a:lnTo>
                    <a:lnTo>
                      <a:pt x="58101" y="842"/>
                    </a:lnTo>
                    <a:cubicBezTo>
                      <a:pt x="59774" y="-273"/>
                      <a:pt x="61977" y="-273"/>
                      <a:pt x="63650" y="842"/>
                    </a:cubicBezTo>
                    <a:lnTo>
                      <a:pt x="89851" y="18309"/>
                    </a:lnTo>
                    <a:lnTo>
                      <a:pt x="116078" y="842"/>
                    </a:lnTo>
                    <a:cubicBezTo>
                      <a:pt x="118388" y="-698"/>
                      <a:pt x="121493" y="-61"/>
                      <a:pt x="123033" y="2222"/>
                    </a:cubicBezTo>
                    <a:cubicBezTo>
                      <a:pt x="124573" y="4532"/>
                      <a:pt x="123936" y="7638"/>
                      <a:pt x="121653" y="9177"/>
                    </a:cubicBezTo>
                    <a:lnTo>
                      <a:pt x="92664" y="28503"/>
                    </a:lnTo>
                    <a:cubicBezTo>
                      <a:pt x="90992" y="29618"/>
                      <a:pt x="88789" y="29618"/>
                      <a:pt x="87116" y="28503"/>
                    </a:cubicBezTo>
                    <a:lnTo>
                      <a:pt x="60915" y="11036"/>
                    </a:lnTo>
                    <a:lnTo>
                      <a:pt x="34714" y="28503"/>
                    </a:lnTo>
                    <a:cubicBezTo>
                      <a:pt x="33812" y="29060"/>
                      <a:pt x="32830" y="29352"/>
                      <a:pt x="31874" y="29352"/>
                    </a:cubicBezTo>
                    <a:close/>
                  </a:path>
                </a:pathLst>
              </a:custGeom>
              <a:solidFill>
                <a:schemeClr val="accent1"/>
              </a:solidFill>
              <a:ln w="2653" cap="flat">
                <a:noFill/>
                <a:prstDash val="solid"/>
                <a:miter/>
              </a:ln>
            </p:spPr>
            <p:txBody>
              <a:bodyPr rtlCol="0" anchor="ctr"/>
              <a:lstStyle/>
              <a:p>
                <a:endParaRPr lang="en-GB" dirty="0"/>
              </a:p>
            </p:txBody>
          </p:sp>
          <p:sp>
            <p:nvSpPr>
              <p:cNvPr id="55" name="Freihandform: Form 707">
                <a:extLst>
                  <a:ext uri="{FF2B5EF4-FFF2-40B4-BE49-F238E27FC236}">
                    <a16:creationId xmlns:a16="http://schemas.microsoft.com/office/drawing/2014/main" id="{95B407A6-BAEB-4C43-8D29-61665937BFEA}"/>
                  </a:ext>
                </a:extLst>
              </p:cNvPr>
              <p:cNvSpPr/>
              <p:nvPr/>
            </p:nvSpPr>
            <p:spPr>
              <a:xfrm>
                <a:off x="8147524" y="1691835"/>
                <a:ext cx="123828" cy="29346"/>
              </a:xfrm>
              <a:custGeom>
                <a:avLst/>
                <a:gdLst>
                  <a:gd name="connsiteX0" fmla="*/ 118812 w 123828"/>
                  <a:gd name="connsiteY0" fmla="*/ 29347 h 29346"/>
                  <a:gd name="connsiteX1" fmla="*/ 116051 w 123828"/>
                  <a:gd name="connsiteY1" fmla="*/ 28497 h 29346"/>
                  <a:gd name="connsiteX2" fmla="*/ 89850 w 123828"/>
                  <a:gd name="connsiteY2" fmla="*/ 11030 h 29346"/>
                  <a:gd name="connsiteX3" fmla="*/ 63649 w 123828"/>
                  <a:gd name="connsiteY3" fmla="*/ 28497 h 29346"/>
                  <a:gd name="connsiteX4" fmla="*/ 58101 w 123828"/>
                  <a:gd name="connsiteY4" fmla="*/ 28497 h 29346"/>
                  <a:gd name="connsiteX5" fmla="*/ 32006 w 123828"/>
                  <a:gd name="connsiteY5" fmla="*/ 11083 h 29346"/>
                  <a:gd name="connsiteX6" fmla="*/ 7929 w 123828"/>
                  <a:gd name="connsiteY6" fmla="*/ 28391 h 29346"/>
                  <a:gd name="connsiteX7" fmla="*/ 948 w 123828"/>
                  <a:gd name="connsiteY7" fmla="*/ 27250 h 29346"/>
                  <a:gd name="connsiteX8" fmla="*/ 2089 w 123828"/>
                  <a:gd name="connsiteY8" fmla="*/ 20268 h 29346"/>
                  <a:gd name="connsiteX9" fmla="*/ 28954 w 123828"/>
                  <a:gd name="connsiteY9" fmla="*/ 942 h 29346"/>
                  <a:gd name="connsiteX10" fmla="*/ 34661 w 123828"/>
                  <a:gd name="connsiteY10" fmla="*/ 836 h 29346"/>
                  <a:gd name="connsiteX11" fmla="*/ 60862 w 123828"/>
                  <a:gd name="connsiteY11" fmla="*/ 18303 h 29346"/>
                  <a:gd name="connsiteX12" fmla="*/ 87063 w 123828"/>
                  <a:gd name="connsiteY12" fmla="*/ 836 h 29346"/>
                  <a:gd name="connsiteX13" fmla="*/ 92611 w 123828"/>
                  <a:gd name="connsiteY13" fmla="*/ 836 h 29346"/>
                  <a:gd name="connsiteX14" fmla="*/ 121599 w 123828"/>
                  <a:gd name="connsiteY14" fmla="*/ 20162 h 29346"/>
                  <a:gd name="connsiteX15" fmla="*/ 122980 w 123828"/>
                  <a:gd name="connsiteY15" fmla="*/ 27117 h 29346"/>
                  <a:gd name="connsiteX16" fmla="*/ 118812 w 123828"/>
                  <a:gd name="connsiteY16" fmla="*/ 29347 h 2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828" h="29346">
                    <a:moveTo>
                      <a:pt x="118812" y="29347"/>
                    </a:moveTo>
                    <a:cubicBezTo>
                      <a:pt x="117857" y="29347"/>
                      <a:pt x="116901" y="29081"/>
                      <a:pt x="116051" y="28497"/>
                    </a:cubicBezTo>
                    <a:lnTo>
                      <a:pt x="89850" y="11030"/>
                    </a:lnTo>
                    <a:lnTo>
                      <a:pt x="63649" y="28497"/>
                    </a:lnTo>
                    <a:cubicBezTo>
                      <a:pt x="61977" y="29612"/>
                      <a:pt x="59774" y="29612"/>
                      <a:pt x="58101" y="28497"/>
                    </a:cubicBezTo>
                    <a:lnTo>
                      <a:pt x="32006" y="11083"/>
                    </a:lnTo>
                    <a:lnTo>
                      <a:pt x="7929" y="28391"/>
                    </a:lnTo>
                    <a:cubicBezTo>
                      <a:pt x="5700" y="30010"/>
                      <a:pt x="2567" y="29506"/>
                      <a:pt x="948" y="27250"/>
                    </a:cubicBezTo>
                    <a:cubicBezTo>
                      <a:pt x="-672" y="24993"/>
                      <a:pt x="-167" y="21861"/>
                      <a:pt x="2089" y="20268"/>
                    </a:cubicBezTo>
                    <a:lnTo>
                      <a:pt x="28954" y="942"/>
                    </a:lnTo>
                    <a:cubicBezTo>
                      <a:pt x="30653" y="-279"/>
                      <a:pt x="32909" y="-305"/>
                      <a:pt x="34661" y="836"/>
                    </a:cubicBezTo>
                    <a:lnTo>
                      <a:pt x="60862" y="18303"/>
                    </a:lnTo>
                    <a:lnTo>
                      <a:pt x="87063" y="836"/>
                    </a:lnTo>
                    <a:cubicBezTo>
                      <a:pt x="88735" y="-279"/>
                      <a:pt x="90939" y="-279"/>
                      <a:pt x="92611" y="836"/>
                    </a:cubicBezTo>
                    <a:lnTo>
                      <a:pt x="121599" y="20162"/>
                    </a:lnTo>
                    <a:cubicBezTo>
                      <a:pt x="123909" y="21701"/>
                      <a:pt x="124520" y="24807"/>
                      <a:pt x="122980" y="27117"/>
                    </a:cubicBezTo>
                    <a:cubicBezTo>
                      <a:pt x="122024" y="28577"/>
                      <a:pt x="120431" y="29347"/>
                      <a:pt x="118812" y="29347"/>
                    </a:cubicBezTo>
                    <a:close/>
                  </a:path>
                </a:pathLst>
              </a:custGeom>
              <a:solidFill>
                <a:schemeClr val="accent1"/>
              </a:solidFill>
              <a:ln w="2653" cap="flat">
                <a:noFill/>
                <a:prstDash val="solid"/>
                <a:miter/>
              </a:ln>
            </p:spPr>
            <p:txBody>
              <a:bodyPr rtlCol="0" anchor="ctr"/>
              <a:lstStyle/>
              <a:p>
                <a:endParaRPr lang="en-GB" dirty="0"/>
              </a:p>
            </p:txBody>
          </p:sp>
        </p:grpSp>
      </p:grpSp>
      <p:grpSp>
        <p:nvGrpSpPr>
          <p:cNvPr id="24" name="Group 23">
            <a:extLst>
              <a:ext uri="{FF2B5EF4-FFF2-40B4-BE49-F238E27FC236}">
                <a16:creationId xmlns:a16="http://schemas.microsoft.com/office/drawing/2014/main" id="{09368E74-D4FF-4D80-A6A1-0914871C03CE}"/>
              </a:ext>
            </a:extLst>
          </p:cNvPr>
          <p:cNvGrpSpPr/>
          <p:nvPr/>
        </p:nvGrpSpPr>
        <p:grpSpPr>
          <a:xfrm>
            <a:off x="1558834" y="1585984"/>
            <a:ext cx="561300" cy="432000"/>
            <a:chOff x="1558834" y="1585984"/>
            <a:chExt cx="561300" cy="432000"/>
          </a:xfrm>
        </p:grpSpPr>
        <p:grpSp>
          <p:nvGrpSpPr>
            <p:cNvPr id="61" name="Group 60">
              <a:extLst>
                <a:ext uri="{FF2B5EF4-FFF2-40B4-BE49-F238E27FC236}">
                  <a16:creationId xmlns:a16="http://schemas.microsoft.com/office/drawing/2014/main" id="{81E2FC2F-8C27-4516-B69B-D69A981FAAFA}"/>
                </a:ext>
              </a:extLst>
            </p:cNvPr>
            <p:cNvGrpSpPr/>
            <p:nvPr/>
          </p:nvGrpSpPr>
          <p:grpSpPr>
            <a:xfrm>
              <a:off x="1604327" y="1644796"/>
              <a:ext cx="471482" cy="314400"/>
              <a:chOff x="7741834" y="3353153"/>
              <a:chExt cx="535870" cy="357336"/>
            </a:xfrm>
          </p:grpSpPr>
          <p:sp>
            <p:nvSpPr>
              <p:cNvPr id="68" name="Freihandform: Form 690">
                <a:extLst>
                  <a:ext uri="{FF2B5EF4-FFF2-40B4-BE49-F238E27FC236}">
                    <a16:creationId xmlns:a16="http://schemas.microsoft.com/office/drawing/2014/main" id="{EA039CDE-50AD-4677-8D5A-87811843B4D1}"/>
                  </a:ext>
                </a:extLst>
              </p:cNvPr>
              <p:cNvSpPr/>
              <p:nvPr/>
            </p:nvSpPr>
            <p:spPr>
              <a:xfrm>
                <a:off x="8050831" y="3353153"/>
                <a:ext cx="90159" cy="150277"/>
              </a:xfrm>
              <a:custGeom>
                <a:avLst/>
                <a:gdLst>
                  <a:gd name="connsiteX0" fmla="*/ 85190 w 90159"/>
                  <a:gd name="connsiteY0" fmla="*/ 150277 h 150277"/>
                  <a:gd name="connsiteX1" fmla="*/ 5021 w 90159"/>
                  <a:gd name="connsiteY1" fmla="*/ 150277 h 150277"/>
                  <a:gd name="connsiteX2" fmla="*/ 1013 w 90159"/>
                  <a:gd name="connsiteY2" fmla="*/ 148286 h 150277"/>
                  <a:gd name="connsiteX3" fmla="*/ 190 w 90159"/>
                  <a:gd name="connsiteY3" fmla="*/ 143906 h 150277"/>
                  <a:gd name="connsiteX4" fmla="*/ 40275 w 90159"/>
                  <a:gd name="connsiteY4" fmla="*/ 3637 h 150277"/>
                  <a:gd name="connsiteX5" fmla="*/ 45079 w 90159"/>
                  <a:gd name="connsiteY5" fmla="*/ 0 h 150277"/>
                  <a:gd name="connsiteX6" fmla="*/ 49884 w 90159"/>
                  <a:gd name="connsiteY6" fmla="*/ 3637 h 150277"/>
                  <a:gd name="connsiteX7" fmla="*/ 89969 w 90159"/>
                  <a:gd name="connsiteY7" fmla="*/ 143906 h 150277"/>
                  <a:gd name="connsiteX8" fmla="*/ 89146 w 90159"/>
                  <a:gd name="connsiteY8" fmla="*/ 148286 h 150277"/>
                  <a:gd name="connsiteX9" fmla="*/ 85190 w 90159"/>
                  <a:gd name="connsiteY9" fmla="*/ 150277 h 150277"/>
                  <a:gd name="connsiteX10" fmla="*/ 11685 w 90159"/>
                  <a:gd name="connsiteY10" fmla="*/ 140243 h 150277"/>
                  <a:gd name="connsiteX11" fmla="*/ 78554 w 90159"/>
                  <a:gd name="connsiteY11" fmla="*/ 140243 h 150277"/>
                  <a:gd name="connsiteX12" fmla="*/ 45106 w 90159"/>
                  <a:gd name="connsiteY12" fmla="*/ 23201 h 150277"/>
                  <a:gd name="connsiteX13" fmla="*/ 11685 w 90159"/>
                  <a:gd name="connsiteY13" fmla="*/ 140243 h 15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159" h="150277">
                    <a:moveTo>
                      <a:pt x="85190" y="150277"/>
                    </a:moveTo>
                    <a:lnTo>
                      <a:pt x="5021" y="150277"/>
                    </a:lnTo>
                    <a:cubicBezTo>
                      <a:pt x="3455" y="150277"/>
                      <a:pt x="1969" y="149534"/>
                      <a:pt x="1013" y="148286"/>
                    </a:cubicBezTo>
                    <a:cubicBezTo>
                      <a:pt x="57" y="147038"/>
                      <a:pt x="-235" y="145419"/>
                      <a:pt x="190" y="143906"/>
                    </a:cubicBezTo>
                    <a:lnTo>
                      <a:pt x="40275" y="3637"/>
                    </a:lnTo>
                    <a:cubicBezTo>
                      <a:pt x="40885" y="1487"/>
                      <a:pt x="42850" y="0"/>
                      <a:pt x="45079" y="0"/>
                    </a:cubicBezTo>
                    <a:cubicBezTo>
                      <a:pt x="47309" y="0"/>
                      <a:pt x="49274" y="1487"/>
                      <a:pt x="49884" y="3637"/>
                    </a:cubicBezTo>
                    <a:lnTo>
                      <a:pt x="89969" y="143906"/>
                    </a:lnTo>
                    <a:cubicBezTo>
                      <a:pt x="90394" y="145419"/>
                      <a:pt x="90102" y="147038"/>
                      <a:pt x="89146" y="148286"/>
                    </a:cubicBezTo>
                    <a:cubicBezTo>
                      <a:pt x="88243" y="149534"/>
                      <a:pt x="86757" y="150277"/>
                      <a:pt x="85190" y="150277"/>
                    </a:cubicBezTo>
                    <a:close/>
                    <a:moveTo>
                      <a:pt x="11685" y="140243"/>
                    </a:moveTo>
                    <a:lnTo>
                      <a:pt x="78554" y="140243"/>
                    </a:lnTo>
                    <a:lnTo>
                      <a:pt x="45106" y="23201"/>
                    </a:lnTo>
                    <a:lnTo>
                      <a:pt x="11685" y="140243"/>
                    </a:lnTo>
                    <a:close/>
                  </a:path>
                </a:pathLst>
              </a:custGeom>
              <a:solidFill>
                <a:schemeClr val="accent1"/>
              </a:solidFill>
              <a:ln w="2653" cap="flat">
                <a:noFill/>
                <a:prstDash val="solid"/>
                <a:miter/>
              </a:ln>
            </p:spPr>
            <p:txBody>
              <a:bodyPr rtlCol="0" anchor="ctr"/>
              <a:lstStyle/>
              <a:p>
                <a:endParaRPr lang="en-GB" dirty="0"/>
              </a:p>
            </p:txBody>
          </p:sp>
          <p:sp>
            <p:nvSpPr>
              <p:cNvPr id="69" name="Freihandform: Form 691">
                <a:extLst>
                  <a:ext uri="{FF2B5EF4-FFF2-40B4-BE49-F238E27FC236}">
                    <a16:creationId xmlns:a16="http://schemas.microsoft.com/office/drawing/2014/main" id="{EC39E6D7-8038-4003-ADD1-C674587A6A5D}"/>
                  </a:ext>
                </a:extLst>
              </p:cNvPr>
              <p:cNvSpPr/>
              <p:nvPr/>
            </p:nvSpPr>
            <p:spPr>
              <a:xfrm>
                <a:off x="8164420" y="3413465"/>
                <a:ext cx="90203" cy="89964"/>
              </a:xfrm>
              <a:custGeom>
                <a:avLst/>
                <a:gdLst>
                  <a:gd name="connsiteX0" fmla="*/ 85165 w 90203"/>
                  <a:gd name="connsiteY0" fmla="*/ 89965 h 89964"/>
                  <a:gd name="connsiteX1" fmla="*/ 4996 w 90203"/>
                  <a:gd name="connsiteY1" fmla="*/ 89965 h 89964"/>
                  <a:gd name="connsiteX2" fmla="*/ 749 w 90203"/>
                  <a:gd name="connsiteY2" fmla="*/ 87602 h 89964"/>
                  <a:gd name="connsiteX3" fmla="*/ 536 w 90203"/>
                  <a:gd name="connsiteY3" fmla="*/ 82717 h 89964"/>
                  <a:gd name="connsiteX4" fmla="*/ 40621 w 90203"/>
                  <a:gd name="connsiteY4" fmla="*/ 2548 h 89964"/>
                  <a:gd name="connsiteX5" fmla="*/ 49593 w 90203"/>
                  <a:gd name="connsiteY5" fmla="*/ 2548 h 89964"/>
                  <a:gd name="connsiteX6" fmla="*/ 89678 w 90203"/>
                  <a:gd name="connsiteY6" fmla="*/ 82717 h 89964"/>
                  <a:gd name="connsiteX7" fmla="*/ 89466 w 90203"/>
                  <a:gd name="connsiteY7" fmla="*/ 87602 h 89964"/>
                  <a:gd name="connsiteX8" fmla="*/ 85165 w 90203"/>
                  <a:gd name="connsiteY8" fmla="*/ 89965 h 89964"/>
                  <a:gd name="connsiteX9" fmla="*/ 13119 w 90203"/>
                  <a:gd name="connsiteY9" fmla="*/ 79930 h 89964"/>
                  <a:gd name="connsiteX10" fmla="*/ 77069 w 90203"/>
                  <a:gd name="connsiteY10" fmla="*/ 79930 h 89964"/>
                  <a:gd name="connsiteX11" fmla="*/ 45107 w 90203"/>
                  <a:gd name="connsiteY11" fmla="*/ 15981 h 89964"/>
                  <a:gd name="connsiteX12" fmla="*/ 13119 w 90203"/>
                  <a:gd name="connsiteY12" fmla="*/ 79930 h 89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203" h="89964">
                    <a:moveTo>
                      <a:pt x="85165" y="89965"/>
                    </a:moveTo>
                    <a:lnTo>
                      <a:pt x="4996" y="89965"/>
                    </a:lnTo>
                    <a:cubicBezTo>
                      <a:pt x="3271" y="89965"/>
                      <a:pt x="1651" y="89062"/>
                      <a:pt x="749" y="87602"/>
                    </a:cubicBezTo>
                    <a:cubicBezTo>
                      <a:pt x="-154" y="86115"/>
                      <a:pt x="-260" y="84284"/>
                      <a:pt x="536" y="82717"/>
                    </a:cubicBezTo>
                    <a:lnTo>
                      <a:pt x="40621" y="2548"/>
                    </a:lnTo>
                    <a:cubicBezTo>
                      <a:pt x="42320" y="-849"/>
                      <a:pt x="47895" y="-849"/>
                      <a:pt x="49593" y="2548"/>
                    </a:cubicBezTo>
                    <a:lnTo>
                      <a:pt x="89678" y="82717"/>
                    </a:lnTo>
                    <a:cubicBezTo>
                      <a:pt x="90448" y="84284"/>
                      <a:pt x="90368" y="86115"/>
                      <a:pt x="89466" y="87602"/>
                    </a:cubicBezTo>
                    <a:cubicBezTo>
                      <a:pt x="88510" y="89062"/>
                      <a:pt x="86891" y="89965"/>
                      <a:pt x="85165" y="89965"/>
                    </a:cubicBezTo>
                    <a:close/>
                    <a:moveTo>
                      <a:pt x="13119" y="79930"/>
                    </a:moveTo>
                    <a:lnTo>
                      <a:pt x="77069" y="79930"/>
                    </a:lnTo>
                    <a:lnTo>
                      <a:pt x="45107" y="15981"/>
                    </a:lnTo>
                    <a:lnTo>
                      <a:pt x="13119" y="79930"/>
                    </a:lnTo>
                    <a:close/>
                  </a:path>
                </a:pathLst>
              </a:custGeom>
              <a:solidFill>
                <a:schemeClr val="accent1"/>
              </a:solidFill>
              <a:ln w="2653" cap="flat">
                <a:noFill/>
                <a:prstDash val="solid"/>
                <a:miter/>
              </a:ln>
            </p:spPr>
            <p:txBody>
              <a:bodyPr rtlCol="0" anchor="ctr"/>
              <a:lstStyle/>
              <a:p>
                <a:endParaRPr lang="en-GB" dirty="0"/>
              </a:p>
            </p:txBody>
          </p:sp>
          <p:grpSp>
            <p:nvGrpSpPr>
              <p:cNvPr id="70" name="Grafik 78">
                <a:extLst>
                  <a:ext uri="{FF2B5EF4-FFF2-40B4-BE49-F238E27FC236}">
                    <a16:creationId xmlns:a16="http://schemas.microsoft.com/office/drawing/2014/main" id="{930DBA6A-1D3E-4231-9D8F-469EB16B1C04}"/>
                  </a:ext>
                </a:extLst>
              </p:cNvPr>
              <p:cNvGrpSpPr/>
              <p:nvPr/>
            </p:nvGrpSpPr>
            <p:grpSpPr>
              <a:xfrm>
                <a:off x="7797029" y="3566875"/>
                <a:ext cx="143614" cy="143614"/>
                <a:chOff x="7797029" y="3566875"/>
                <a:chExt cx="143614" cy="143614"/>
              </a:xfrm>
              <a:solidFill>
                <a:schemeClr val="accent1"/>
              </a:solidFill>
            </p:grpSpPr>
            <p:sp>
              <p:nvSpPr>
                <p:cNvPr id="73" name="Freihandform: Form 693">
                  <a:extLst>
                    <a:ext uri="{FF2B5EF4-FFF2-40B4-BE49-F238E27FC236}">
                      <a16:creationId xmlns:a16="http://schemas.microsoft.com/office/drawing/2014/main" id="{0002632D-016D-402F-922E-869052667F11}"/>
                    </a:ext>
                  </a:extLst>
                </p:cNvPr>
                <p:cNvSpPr/>
                <p:nvPr/>
              </p:nvSpPr>
              <p:spPr>
                <a:xfrm>
                  <a:off x="7797029" y="3566875"/>
                  <a:ext cx="143614" cy="143614"/>
                </a:xfrm>
                <a:custGeom>
                  <a:avLst/>
                  <a:gdLst>
                    <a:gd name="connsiteX0" fmla="*/ 71807 w 143614"/>
                    <a:gd name="connsiteY0" fmla="*/ 143614 h 143614"/>
                    <a:gd name="connsiteX1" fmla="*/ 0 w 143614"/>
                    <a:gd name="connsiteY1" fmla="*/ 71807 h 143614"/>
                    <a:gd name="connsiteX2" fmla="*/ 71807 w 143614"/>
                    <a:gd name="connsiteY2" fmla="*/ 0 h 143614"/>
                    <a:gd name="connsiteX3" fmla="*/ 143614 w 143614"/>
                    <a:gd name="connsiteY3" fmla="*/ 71807 h 143614"/>
                    <a:gd name="connsiteX4" fmla="*/ 71807 w 143614"/>
                    <a:gd name="connsiteY4" fmla="*/ 143614 h 143614"/>
                    <a:gd name="connsiteX5" fmla="*/ 71807 w 143614"/>
                    <a:gd name="connsiteY5" fmla="*/ 10034 h 143614"/>
                    <a:gd name="connsiteX6" fmla="*/ 10008 w 143614"/>
                    <a:gd name="connsiteY6" fmla="*/ 71834 h 143614"/>
                    <a:gd name="connsiteX7" fmla="*/ 71807 w 143614"/>
                    <a:gd name="connsiteY7" fmla="*/ 133633 h 143614"/>
                    <a:gd name="connsiteX8" fmla="*/ 133606 w 143614"/>
                    <a:gd name="connsiteY8" fmla="*/ 71834 h 143614"/>
                    <a:gd name="connsiteX9" fmla="*/ 71807 w 143614"/>
                    <a:gd name="connsiteY9" fmla="*/ 10034 h 14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614" h="143614">
                      <a:moveTo>
                        <a:pt x="71807" y="143614"/>
                      </a:moveTo>
                      <a:cubicBezTo>
                        <a:pt x="32200" y="143614"/>
                        <a:pt x="0" y="111414"/>
                        <a:pt x="0" y="71807"/>
                      </a:cubicBezTo>
                      <a:cubicBezTo>
                        <a:pt x="0" y="32200"/>
                        <a:pt x="32200" y="0"/>
                        <a:pt x="71807" y="0"/>
                      </a:cubicBezTo>
                      <a:cubicBezTo>
                        <a:pt x="111414" y="0"/>
                        <a:pt x="143614" y="32200"/>
                        <a:pt x="143614" y="71807"/>
                      </a:cubicBezTo>
                      <a:cubicBezTo>
                        <a:pt x="143614" y="111414"/>
                        <a:pt x="111387" y="143614"/>
                        <a:pt x="71807" y="143614"/>
                      </a:cubicBezTo>
                      <a:close/>
                      <a:moveTo>
                        <a:pt x="71807" y="10034"/>
                      </a:moveTo>
                      <a:cubicBezTo>
                        <a:pt x="37722" y="10034"/>
                        <a:pt x="10008" y="37749"/>
                        <a:pt x="10008" y="71834"/>
                      </a:cubicBezTo>
                      <a:cubicBezTo>
                        <a:pt x="10008" y="105919"/>
                        <a:pt x="37722" y="133633"/>
                        <a:pt x="71807" y="133633"/>
                      </a:cubicBezTo>
                      <a:cubicBezTo>
                        <a:pt x="105866" y="133633"/>
                        <a:pt x="133606" y="105919"/>
                        <a:pt x="133606" y="71834"/>
                      </a:cubicBezTo>
                      <a:cubicBezTo>
                        <a:pt x="133580" y="37749"/>
                        <a:pt x="105866" y="10034"/>
                        <a:pt x="71807" y="10034"/>
                      </a:cubicBezTo>
                      <a:close/>
                    </a:path>
                  </a:pathLst>
                </a:custGeom>
                <a:solidFill>
                  <a:schemeClr val="accent1"/>
                </a:solidFill>
                <a:ln w="2653" cap="flat">
                  <a:noFill/>
                  <a:prstDash val="solid"/>
                  <a:miter/>
                </a:ln>
              </p:spPr>
              <p:txBody>
                <a:bodyPr rtlCol="0" anchor="ctr"/>
                <a:lstStyle/>
                <a:p>
                  <a:endParaRPr lang="en-GB" dirty="0"/>
                </a:p>
              </p:txBody>
            </p:sp>
            <p:sp>
              <p:nvSpPr>
                <p:cNvPr id="74" name="Freihandform: Form 694">
                  <a:extLst>
                    <a:ext uri="{FF2B5EF4-FFF2-40B4-BE49-F238E27FC236}">
                      <a16:creationId xmlns:a16="http://schemas.microsoft.com/office/drawing/2014/main" id="{68A3919F-B6FB-4D47-B73F-1C0FBEF59646}"/>
                    </a:ext>
                  </a:extLst>
                </p:cNvPr>
                <p:cNvSpPr/>
                <p:nvPr/>
              </p:nvSpPr>
              <p:spPr>
                <a:xfrm>
                  <a:off x="7863818" y="3566875"/>
                  <a:ext cx="43422" cy="130261"/>
                </a:xfrm>
                <a:custGeom>
                  <a:avLst/>
                  <a:gdLst>
                    <a:gd name="connsiteX0" fmla="*/ 38412 w 43422"/>
                    <a:gd name="connsiteY0" fmla="*/ 130261 h 130261"/>
                    <a:gd name="connsiteX1" fmla="*/ 34165 w 43422"/>
                    <a:gd name="connsiteY1" fmla="*/ 127899 h 130261"/>
                    <a:gd name="connsiteX2" fmla="*/ 770 w 43422"/>
                    <a:gd name="connsiteY2" fmla="*/ 74462 h 130261"/>
                    <a:gd name="connsiteX3" fmla="*/ 0 w 43422"/>
                    <a:gd name="connsiteY3" fmla="*/ 71807 h 130261"/>
                    <a:gd name="connsiteX4" fmla="*/ 0 w 43422"/>
                    <a:gd name="connsiteY4" fmla="*/ 5017 h 130261"/>
                    <a:gd name="connsiteX5" fmla="*/ 5017 w 43422"/>
                    <a:gd name="connsiteY5" fmla="*/ 0 h 130261"/>
                    <a:gd name="connsiteX6" fmla="*/ 10034 w 43422"/>
                    <a:gd name="connsiteY6" fmla="*/ 5017 h 130261"/>
                    <a:gd name="connsiteX7" fmla="*/ 10034 w 43422"/>
                    <a:gd name="connsiteY7" fmla="*/ 70374 h 130261"/>
                    <a:gd name="connsiteX8" fmla="*/ 42659 w 43422"/>
                    <a:gd name="connsiteY8" fmla="*/ 122590 h 130261"/>
                    <a:gd name="connsiteX9" fmla="*/ 41067 w 43422"/>
                    <a:gd name="connsiteY9" fmla="*/ 129492 h 130261"/>
                    <a:gd name="connsiteX10" fmla="*/ 38412 w 43422"/>
                    <a:gd name="connsiteY10" fmla="*/ 130261 h 130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422" h="130261">
                      <a:moveTo>
                        <a:pt x="38412" y="130261"/>
                      </a:moveTo>
                      <a:cubicBezTo>
                        <a:pt x="36740" y="130261"/>
                        <a:pt x="35094" y="129439"/>
                        <a:pt x="34165" y="127899"/>
                      </a:cubicBezTo>
                      <a:lnTo>
                        <a:pt x="770" y="74462"/>
                      </a:lnTo>
                      <a:cubicBezTo>
                        <a:pt x="265" y="73665"/>
                        <a:pt x="0" y="72736"/>
                        <a:pt x="0" y="71807"/>
                      </a:cubicBezTo>
                      <a:lnTo>
                        <a:pt x="0" y="5017"/>
                      </a:lnTo>
                      <a:cubicBezTo>
                        <a:pt x="0" y="2257"/>
                        <a:pt x="2256" y="0"/>
                        <a:pt x="5017" y="0"/>
                      </a:cubicBezTo>
                      <a:cubicBezTo>
                        <a:pt x="7778" y="0"/>
                        <a:pt x="10034" y="2257"/>
                        <a:pt x="10034" y="5017"/>
                      </a:cubicBezTo>
                      <a:lnTo>
                        <a:pt x="10034" y="70374"/>
                      </a:lnTo>
                      <a:lnTo>
                        <a:pt x="42659" y="122590"/>
                      </a:lnTo>
                      <a:cubicBezTo>
                        <a:pt x="44120" y="124926"/>
                        <a:pt x="43429" y="128032"/>
                        <a:pt x="41067" y="129492"/>
                      </a:cubicBezTo>
                      <a:cubicBezTo>
                        <a:pt x="40244" y="130023"/>
                        <a:pt x="39315" y="130261"/>
                        <a:pt x="38412" y="130261"/>
                      </a:cubicBezTo>
                      <a:close/>
                    </a:path>
                  </a:pathLst>
                </a:custGeom>
                <a:solidFill>
                  <a:schemeClr val="accent1"/>
                </a:solidFill>
                <a:ln w="2653" cap="flat">
                  <a:noFill/>
                  <a:prstDash val="solid"/>
                  <a:miter/>
                </a:ln>
              </p:spPr>
              <p:txBody>
                <a:bodyPr rtlCol="0" anchor="ctr"/>
                <a:lstStyle/>
                <a:p>
                  <a:endParaRPr lang="en-GB" dirty="0"/>
                </a:p>
              </p:txBody>
            </p:sp>
          </p:grpSp>
          <p:sp>
            <p:nvSpPr>
              <p:cNvPr id="71" name="Freihandform: Form 695">
                <a:extLst>
                  <a:ext uri="{FF2B5EF4-FFF2-40B4-BE49-F238E27FC236}">
                    <a16:creationId xmlns:a16="http://schemas.microsoft.com/office/drawing/2014/main" id="{B76C1423-765D-4BFE-85BC-DC67BCAEE8B9}"/>
                  </a:ext>
                </a:extLst>
              </p:cNvPr>
              <p:cNvSpPr/>
              <p:nvPr/>
            </p:nvSpPr>
            <p:spPr>
              <a:xfrm>
                <a:off x="8026879" y="3560362"/>
                <a:ext cx="250825" cy="144976"/>
              </a:xfrm>
              <a:custGeom>
                <a:avLst/>
                <a:gdLst>
                  <a:gd name="connsiteX0" fmla="*/ 95975 w 250825"/>
                  <a:gd name="connsiteY0" fmla="*/ 144977 h 144976"/>
                  <a:gd name="connsiteX1" fmla="*/ 91144 w 250825"/>
                  <a:gd name="connsiteY1" fmla="*/ 141287 h 144976"/>
                  <a:gd name="connsiteX2" fmla="*/ 76331 w 250825"/>
                  <a:gd name="connsiteY2" fmla="*/ 85699 h 144976"/>
                  <a:gd name="connsiteX3" fmla="*/ 5347 w 250825"/>
                  <a:gd name="connsiteY3" fmla="*/ 113759 h 144976"/>
                  <a:gd name="connsiteX4" fmla="*/ 11 w 250825"/>
                  <a:gd name="connsiteY4" fmla="*/ 109087 h 144976"/>
                  <a:gd name="connsiteX5" fmla="*/ 4684 w 250825"/>
                  <a:gd name="connsiteY5" fmla="*/ 103751 h 144976"/>
                  <a:gd name="connsiteX6" fmla="*/ 72270 w 250825"/>
                  <a:gd name="connsiteY6" fmla="*/ 68153 h 144976"/>
                  <a:gd name="connsiteX7" fmla="*/ 76916 w 250825"/>
                  <a:gd name="connsiteY7" fmla="*/ 63719 h 144976"/>
                  <a:gd name="connsiteX8" fmla="*/ 82092 w 250825"/>
                  <a:gd name="connsiteY8" fmla="*/ 67516 h 144976"/>
                  <a:gd name="connsiteX9" fmla="*/ 94781 w 250825"/>
                  <a:gd name="connsiteY9" fmla="*/ 116493 h 144976"/>
                  <a:gd name="connsiteX10" fmla="*/ 113496 w 250825"/>
                  <a:gd name="connsiteY10" fmla="*/ 4177 h 144976"/>
                  <a:gd name="connsiteX11" fmla="*/ 118062 w 250825"/>
                  <a:gd name="connsiteY11" fmla="*/ 9 h 144976"/>
                  <a:gd name="connsiteX12" fmla="*/ 123212 w 250825"/>
                  <a:gd name="connsiteY12" fmla="*/ 3433 h 144976"/>
                  <a:gd name="connsiteX13" fmla="*/ 150634 w 250825"/>
                  <a:gd name="connsiteY13" fmla="*/ 85699 h 144976"/>
                  <a:gd name="connsiteX14" fmla="*/ 167384 w 250825"/>
                  <a:gd name="connsiteY14" fmla="*/ 68949 h 144976"/>
                  <a:gd name="connsiteX15" fmla="*/ 171738 w 250825"/>
                  <a:gd name="connsiteY15" fmla="*/ 67542 h 144976"/>
                  <a:gd name="connsiteX16" fmla="*/ 175428 w 250825"/>
                  <a:gd name="connsiteY16" fmla="*/ 70250 h 144976"/>
                  <a:gd name="connsiteX17" fmla="*/ 194461 w 250825"/>
                  <a:gd name="connsiteY17" fmla="*/ 108290 h 144976"/>
                  <a:gd name="connsiteX18" fmla="*/ 206725 w 250825"/>
                  <a:gd name="connsiteY18" fmla="*/ 93265 h 144976"/>
                  <a:gd name="connsiteX19" fmla="*/ 213468 w 250825"/>
                  <a:gd name="connsiteY19" fmla="*/ 92309 h 144976"/>
                  <a:gd name="connsiteX20" fmla="*/ 213468 w 250825"/>
                  <a:gd name="connsiteY20" fmla="*/ 92309 h 144976"/>
                  <a:gd name="connsiteX21" fmla="*/ 246385 w 250825"/>
                  <a:gd name="connsiteY21" fmla="*/ 99769 h 144976"/>
                  <a:gd name="connsiteX22" fmla="*/ 250792 w 250825"/>
                  <a:gd name="connsiteY22" fmla="*/ 105317 h 144976"/>
                  <a:gd name="connsiteX23" fmla="*/ 245244 w 250825"/>
                  <a:gd name="connsiteY23" fmla="*/ 109724 h 144976"/>
                  <a:gd name="connsiteX24" fmla="*/ 212035 w 250825"/>
                  <a:gd name="connsiteY24" fmla="*/ 102636 h 144976"/>
                  <a:gd name="connsiteX25" fmla="*/ 197355 w 250825"/>
                  <a:gd name="connsiteY25" fmla="*/ 120634 h 144976"/>
                  <a:gd name="connsiteX26" fmla="*/ 192922 w 250825"/>
                  <a:gd name="connsiteY26" fmla="*/ 122439 h 144976"/>
                  <a:gd name="connsiteX27" fmla="*/ 188993 w 250825"/>
                  <a:gd name="connsiteY27" fmla="*/ 119705 h 144976"/>
                  <a:gd name="connsiteX28" fmla="*/ 169614 w 250825"/>
                  <a:gd name="connsiteY28" fmla="*/ 80948 h 144976"/>
                  <a:gd name="connsiteX29" fmla="*/ 152041 w 250825"/>
                  <a:gd name="connsiteY29" fmla="*/ 98521 h 144976"/>
                  <a:gd name="connsiteX30" fmla="*/ 147342 w 250825"/>
                  <a:gd name="connsiteY30" fmla="*/ 99849 h 144976"/>
                  <a:gd name="connsiteX31" fmla="*/ 143732 w 250825"/>
                  <a:gd name="connsiteY31" fmla="*/ 96557 h 144976"/>
                  <a:gd name="connsiteX32" fmla="*/ 120132 w 250825"/>
                  <a:gd name="connsiteY32" fmla="*/ 25732 h 144976"/>
                  <a:gd name="connsiteX33" fmla="*/ 100966 w 250825"/>
                  <a:gd name="connsiteY33" fmla="*/ 140783 h 144976"/>
                  <a:gd name="connsiteX34" fmla="*/ 96294 w 250825"/>
                  <a:gd name="connsiteY34" fmla="*/ 144977 h 144976"/>
                  <a:gd name="connsiteX35" fmla="*/ 95975 w 250825"/>
                  <a:gd name="connsiteY35" fmla="*/ 144977 h 144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50825" h="144976">
                    <a:moveTo>
                      <a:pt x="95975" y="144977"/>
                    </a:moveTo>
                    <a:cubicBezTo>
                      <a:pt x="93719" y="144977"/>
                      <a:pt x="91755" y="143490"/>
                      <a:pt x="91144" y="141287"/>
                    </a:cubicBezTo>
                    <a:cubicBezTo>
                      <a:pt x="91038" y="140942"/>
                      <a:pt x="83234" y="112591"/>
                      <a:pt x="76331" y="85699"/>
                    </a:cubicBezTo>
                    <a:cubicBezTo>
                      <a:pt x="63297" y="105450"/>
                      <a:pt x="32000" y="111980"/>
                      <a:pt x="5347" y="113759"/>
                    </a:cubicBezTo>
                    <a:cubicBezTo>
                      <a:pt x="2613" y="113918"/>
                      <a:pt x="197" y="111847"/>
                      <a:pt x="11" y="109087"/>
                    </a:cubicBezTo>
                    <a:cubicBezTo>
                      <a:pt x="-174" y="106326"/>
                      <a:pt x="1923" y="103937"/>
                      <a:pt x="4684" y="103751"/>
                    </a:cubicBezTo>
                    <a:cubicBezTo>
                      <a:pt x="28575" y="102158"/>
                      <a:pt x="69111" y="95415"/>
                      <a:pt x="72270" y="68153"/>
                    </a:cubicBezTo>
                    <a:cubicBezTo>
                      <a:pt x="72562" y="65737"/>
                      <a:pt x="74500" y="63879"/>
                      <a:pt x="76916" y="63719"/>
                    </a:cubicBezTo>
                    <a:cubicBezTo>
                      <a:pt x="79437" y="63374"/>
                      <a:pt x="81535" y="65179"/>
                      <a:pt x="82092" y="67516"/>
                    </a:cubicBezTo>
                    <a:cubicBezTo>
                      <a:pt x="85994" y="83390"/>
                      <a:pt x="90958" y="102211"/>
                      <a:pt x="94781" y="116493"/>
                    </a:cubicBezTo>
                    <a:lnTo>
                      <a:pt x="113496" y="4177"/>
                    </a:lnTo>
                    <a:cubicBezTo>
                      <a:pt x="113867" y="1894"/>
                      <a:pt x="115752" y="195"/>
                      <a:pt x="118062" y="9"/>
                    </a:cubicBezTo>
                    <a:cubicBezTo>
                      <a:pt x="120371" y="-124"/>
                      <a:pt x="122468" y="1230"/>
                      <a:pt x="123212" y="3433"/>
                    </a:cubicBezTo>
                    <a:lnTo>
                      <a:pt x="150634" y="85699"/>
                    </a:lnTo>
                    <a:lnTo>
                      <a:pt x="167384" y="68949"/>
                    </a:lnTo>
                    <a:cubicBezTo>
                      <a:pt x="168526" y="67807"/>
                      <a:pt x="170145" y="67277"/>
                      <a:pt x="171738" y="67542"/>
                    </a:cubicBezTo>
                    <a:cubicBezTo>
                      <a:pt x="173331" y="67807"/>
                      <a:pt x="174685" y="68816"/>
                      <a:pt x="175428" y="70250"/>
                    </a:cubicBezTo>
                    <a:lnTo>
                      <a:pt x="194461" y="108290"/>
                    </a:lnTo>
                    <a:lnTo>
                      <a:pt x="206725" y="93265"/>
                    </a:lnTo>
                    <a:cubicBezTo>
                      <a:pt x="208371" y="91248"/>
                      <a:pt x="211318" y="90849"/>
                      <a:pt x="213468" y="92309"/>
                    </a:cubicBezTo>
                    <a:lnTo>
                      <a:pt x="213468" y="92309"/>
                    </a:lnTo>
                    <a:cubicBezTo>
                      <a:pt x="213468" y="92309"/>
                      <a:pt x="220954" y="96796"/>
                      <a:pt x="246385" y="99769"/>
                    </a:cubicBezTo>
                    <a:cubicBezTo>
                      <a:pt x="249146" y="100087"/>
                      <a:pt x="251111" y="102583"/>
                      <a:pt x="250792" y="105317"/>
                    </a:cubicBezTo>
                    <a:cubicBezTo>
                      <a:pt x="250474" y="108078"/>
                      <a:pt x="247925" y="109989"/>
                      <a:pt x="245244" y="109724"/>
                    </a:cubicBezTo>
                    <a:cubicBezTo>
                      <a:pt x="226927" y="107573"/>
                      <a:pt x="216999" y="104600"/>
                      <a:pt x="212035" y="102636"/>
                    </a:cubicBezTo>
                    <a:lnTo>
                      <a:pt x="197355" y="120634"/>
                    </a:lnTo>
                    <a:cubicBezTo>
                      <a:pt x="196266" y="121935"/>
                      <a:pt x="194674" y="122625"/>
                      <a:pt x="192922" y="122439"/>
                    </a:cubicBezTo>
                    <a:cubicBezTo>
                      <a:pt x="191223" y="122253"/>
                      <a:pt x="189763" y="121218"/>
                      <a:pt x="188993" y="119705"/>
                    </a:cubicBezTo>
                    <a:lnTo>
                      <a:pt x="169614" y="80948"/>
                    </a:lnTo>
                    <a:lnTo>
                      <a:pt x="152041" y="98521"/>
                    </a:lnTo>
                    <a:cubicBezTo>
                      <a:pt x="150820" y="99742"/>
                      <a:pt x="149014" y="100247"/>
                      <a:pt x="147342" y="99849"/>
                    </a:cubicBezTo>
                    <a:cubicBezTo>
                      <a:pt x="145643" y="99450"/>
                      <a:pt x="144289" y="98203"/>
                      <a:pt x="143732" y="96557"/>
                    </a:cubicBezTo>
                    <a:lnTo>
                      <a:pt x="120132" y="25732"/>
                    </a:lnTo>
                    <a:lnTo>
                      <a:pt x="100966" y="140783"/>
                    </a:lnTo>
                    <a:cubicBezTo>
                      <a:pt x="100568" y="143092"/>
                      <a:pt x="98630" y="144844"/>
                      <a:pt x="96294" y="144977"/>
                    </a:cubicBezTo>
                    <a:cubicBezTo>
                      <a:pt x="96135" y="144977"/>
                      <a:pt x="96055" y="144977"/>
                      <a:pt x="95975" y="144977"/>
                    </a:cubicBezTo>
                    <a:close/>
                  </a:path>
                </a:pathLst>
              </a:custGeom>
              <a:solidFill>
                <a:schemeClr val="accent1"/>
              </a:solidFill>
              <a:ln w="2653" cap="flat">
                <a:noFill/>
                <a:prstDash val="solid"/>
                <a:miter/>
              </a:ln>
            </p:spPr>
            <p:txBody>
              <a:bodyPr rtlCol="0" anchor="ctr"/>
              <a:lstStyle/>
              <a:p>
                <a:endParaRPr lang="en-GB" dirty="0"/>
              </a:p>
            </p:txBody>
          </p:sp>
          <p:sp>
            <p:nvSpPr>
              <p:cNvPr id="72" name="Freihandform: Form 696">
                <a:extLst>
                  <a:ext uri="{FF2B5EF4-FFF2-40B4-BE49-F238E27FC236}">
                    <a16:creationId xmlns:a16="http://schemas.microsoft.com/office/drawing/2014/main" id="{E2A1B13A-549C-4632-A57F-92E66123CF4C}"/>
                  </a:ext>
                </a:extLst>
              </p:cNvPr>
              <p:cNvSpPr/>
              <p:nvPr/>
            </p:nvSpPr>
            <p:spPr>
              <a:xfrm>
                <a:off x="7741834" y="3387397"/>
                <a:ext cx="251223" cy="88769"/>
              </a:xfrm>
              <a:custGeom>
                <a:avLst/>
                <a:gdLst>
                  <a:gd name="connsiteX0" fmla="*/ 246246 w 251223"/>
                  <a:gd name="connsiteY0" fmla="*/ 88770 h 88769"/>
                  <a:gd name="connsiteX1" fmla="*/ 244096 w 251223"/>
                  <a:gd name="connsiteY1" fmla="*/ 88292 h 88769"/>
                  <a:gd name="connsiteX2" fmla="*/ 234433 w 251223"/>
                  <a:gd name="connsiteY2" fmla="*/ 76638 h 88769"/>
                  <a:gd name="connsiteX3" fmla="*/ 224292 w 251223"/>
                  <a:gd name="connsiteY3" fmla="*/ 65330 h 88769"/>
                  <a:gd name="connsiteX4" fmla="*/ 202206 w 251223"/>
                  <a:gd name="connsiteY4" fmla="*/ 73241 h 88769"/>
                  <a:gd name="connsiteX5" fmla="*/ 187367 w 251223"/>
                  <a:gd name="connsiteY5" fmla="*/ 74727 h 88769"/>
                  <a:gd name="connsiteX6" fmla="*/ 175050 w 251223"/>
                  <a:gd name="connsiteY6" fmla="*/ 61029 h 88769"/>
                  <a:gd name="connsiteX7" fmla="*/ 163051 w 251223"/>
                  <a:gd name="connsiteY7" fmla="*/ 44996 h 88769"/>
                  <a:gd name="connsiteX8" fmla="*/ 152910 w 251223"/>
                  <a:gd name="connsiteY8" fmla="*/ 56782 h 88769"/>
                  <a:gd name="connsiteX9" fmla="*/ 134779 w 251223"/>
                  <a:gd name="connsiteY9" fmla="*/ 71143 h 88769"/>
                  <a:gd name="connsiteX10" fmla="*/ 122117 w 251223"/>
                  <a:gd name="connsiteY10" fmla="*/ 65144 h 88769"/>
                  <a:gd name="connsiteX11" fmla="*/ 101730 w 251223"/>
                  <a:gd name="connsiteY11" fmla="*/ 28404 h 88769"/>
                  <a:gd name="connsiteX12" fmla="*/ 95677 w 251223"/>
                  <a:gd name="connsiteY12" fmla="*/ 16060 h 88769"/>
                  <a:gd name="connsiteX13" fmla="*/ 89651 w 251223"/>
                  <a:gd name="connsiteY13" fmla="*/ 10008 h 88769"/>
                  <a:gd name="connsiteX14" fmla="*/ 89625 w 251223"/>
                  <a:gd name="connsiteY14" fmla="*/ 10008 h 88769"/>
                  <a:gd name="connsiteX15" fmla="*/ 83758 w 251223"/>
                  <a:gd name="connsiteY15" fmla="*/ 15662 h 88769"/>
                  <a:gd name="connsiteX16" fmla="*/ 83439 w 251223"/>
                  <a:gd name="connsiteY16" fmla="*/ 16352 h 88769"/>
                  <a:gd name="connsiteX17" fmla="*/ 43434 w 251223"/>
                  <a:gd name="connsiteY17" fmla="*/ 63180 h 88769"/>
                  <a:gd name="connsiteX18" fmla="*/ 40249 w 251223"/>
                  <a:gd name="connsiteY18" fmla="*/ 61613 h 88769"/>
                  <a:gd name="connsiteX19" fmla="*/ 25781 w 251223"/>
                  <a:gd name="connsiteY19" fmla="*/ 63764 h 88769"/>
                  <a:gd name="connsiteX20" fmla="*/ 22463 w 251223"/>
                  <a:gd name="connsiteY20" fmla="*/ 68595 h 88769"/>
                  <a:gd name="connsiteX21" fmla="*/ 7889 w 251223"/>
                  <a:gd name="connsiteY21" fmla="*/ 85797 h 88769"/>
                  <a:gd name="connsiteX22" fmla="*/ 908 w 251223"/>
                  <a:gd name="connsiteY22" fmla="*/ 84549 h 88769"/>
                  <a:gd name="connsiteX23" fmla="*/ 2155 w 251223"/>
                  <a:gd name="connsiteY23" fmla="*/ 77568 h 88769"/>
                  <a:gd name="connsiteX24" fmla="*/ 13942 w 251223"/>
                  <a:gd name="connsiteY24" fmla="*/ 63312 h 88769"/>
                  <a:gd name="connsiteX25" fmla="*/ 18614 w 251223"/>
                  <a:gd name="connsiteY25" fmla="*/ 56729 h 88769"/>
                  <a:gd name="connsiteX26" fmla="*/ 45001 w 251223"/>
                  <a:gd name="connsiteY26" fmla="*/ 52800 h 88769"/>
                  <a:gd name="connsiteX27" fmla="*/ 47018 w 251223"/>
                  <a:gd name="connsiteY27" fmla="*/ 53835 h 88769"/>
                  <a:gd name="connsiteX28" fmla="*/ 74334 w 251223"/>
                  <a:gd name="connsiteY28" fmla="*/ 12052 h 88769"/>
                  <a:gd name="connsiteX29" fmla="*/ 74732 w 251223"/>
                  <a:gd name="connsiteY29" fmla="*/ 11229 h 88769"/>
                  <a:gd name="connsiteX30" fmla="*/ 89704 w 251223"/>
                  <a:gd name="connsiteY30" fmla="*/ 0 h 88769"/>
                  <a:gd name="connsiteX31" fmla="*/ 104596 w 251223"/>
                  <a:gd name="connsiteY31" fmla="*/ 11574 h 88769"/>
                  <a:gd name="connsiteX32" fmla="*/ 110755 w 251223"/>
                  <a:gd name="connsiteY32" fmla="*/ 24104 h 88769"/>
                  <a:gd name="connsiteX33" fmla="*/ 129550 w 251223"/>
                  <a:gd name="connsiteY33" fmla="*/ 58454 h 88769"/>
                  <a:gd name="connsiteX34" fmla="*/ 133930 w 251223"/>
                  <a:gd name="connsiteY34" fmla="*/ 61162 h 88769"/>
                  <a:gd name="connsiteX35" fmla="*/ 144150 w 251223"/>
                  <a:gd name="connsiteY35" fmla="*/ 51897 h 88769"/>
                  <a:gd name="connsiteX36" fmla="*/ 163184 w 251223"/>
                  <a:gd name="connsiteY36" fmla="*/ 34988 h 88769"/>
                  <a:gd name="connsiteX37" fmla="*/ 184421 w 251223"/>
                  <a:gd name="connsiteY37" fmla="*/ 57525 h 88769"/>
                  <a:gd name="connsiteX38" fmla="*/ 190871 w 251223"/>
                  <a:gd name="connsiteY38" fmla="*/ 65356 h 88769"/>
                  <a:gd name="connsiteX39" fmla="*/ 197057 w 251223"/>
                  <a:gd name="connsiteY39" fmla="*/ 64666 h 88769"/>
                  <a:gd name="connsiteX40" fmla="*/ 226682 w 251223"/>
                  <a:gd name="connsiteY40" fmla="*/ 55614 h 88769"/>
                  <a:gd name="connsiteX41" fmla="*/ 243220 w 251223"/>
                  <a:gd name="connsiteY41" fmla="*/ 71913 h 88769"/>
                  <a:gd name="connsiteX42" fmla="*/ 248370 w 251223"/>
                  <a:gd name="connsiteY42" fmla="*/ 79266 h 88769"/>
                  <a:gd name="connsiteX43" fmla="*/ 250733 w 251223"/>
                  <a:gd name="connsiteY43" fmla="*/ 85956 h 88769"/>
                  <a:gd name="connsiteX44" fmla="*/ 246246 w 251223"/>
                  <a:gd name="connsiteY44" fmla="*/ 88770 h 88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1223" h="88769">
                    <a:moveTo>
                      <a:pt x="246246" y="88770"/>
                    </a:moveTo>
                    <a:cubicBezTo>
                      <a:pt x="245529" y="88770"/>
                      <a:pt x="244786" y="88611"/>
                      <a:pt x="244096" y="88292"/>
                    </a:cubicBezTo>
                    <a:cubicBezTo>
                      <a:pt x="239530" y="86115"/>
                      <a:pt x="236955" y="81311"/>
                      <a:pt x="234433" y="76638"/>
                    </a:cubicBezTo>
                    <a:cubicBezTo>
                      <a:pt x="231619" y="71409"/>
                      <a:pt x="228965" y="66498"/>
                      <a:pt x="224292" y="65330"/>
                    </a:cubicBezTo>
                    <a:cubicBezTo>
                      <a:pt x="219355" y="64082"/>
                      <a:pt x="211922" y="66763"/>
                      <a:pt x="202206" y="73241"/>
                    </a:cubicBezTo>
                    <a:cubicBezTo>
                      <a:pt x="197057" y="75975"/>
                      <a:pt x="191933" y="76426"/>
                      <a:pt x="187367" y="74727"/>
                    </a:cubicBezTo>
                    <a:cubicBezTo>
                      <a:pt x="183624" y="73320"/>
                      <a:pt x="178421" y="69816"/>
                      <a:pt x="175050" y="61029"/>
                    </a:cubicBezTo>
                    <a:cubicBezTo>
                      <a:pt x="172793" y="54871"/>
                      <a:pt x="166422" y="45075"/>
                      <a:pt x="163051" y="44996"/>
                    </a:cubicBezTo>
                    <a:cubicBezTo>
                      <a:pt x="160529" y="44996"/>
                      <a:pt x="157078" y="48951"/>
                      <a:pt x="152910" y="56782"/>
                    </a:cubicBezTo>
                    <a:cubicBezTo>
                      <a:pt x="151503" y="59171"/>
                      <a:pt x="144495" y="70347"/>
                      <a:pt x="134779" y="71143"/>
                    </a:cubicBezTo>
                    <a:cubicBezTo>
                      <a:pt x="131488" y="71382"/>
                      <a:pt x="126656" y="70586"/>
                      <a:pt x="122117" y="65144"/>
                    </a:cubicBezTo>
                    <a:cubicBezTo>
                      <a:pt x="116994" y="59888"/>
                      <a:pt x="109853" y="45394"/>
                      <a:pt x="101730" y="28404"/>
                    </a:cubicBezTo>
                    <a:cubicBezTo>
                      <a:pt x="99287" y="23307"/>
                      <a:pt x="97164" y="18874"/>
                      <a:pt x="95677" y="16060"/>
                    </a:cubicBezTo>
                    <a:cubicBezTo>
                      <a:pt x="93872" y="12264"/>
                      <a:pt x="91589" y="10008"/>
                      <a:pt x="89651" y="10008"/>
                    </a:cubicBezTo>
                    <a:cubicBezTo>
                      <a:pt x="89651" y="10008"/>
                      <a:pt x="89651" y="10008"/>
                      <a:pt x="89625" y="10008"/>
                    </a:cubicBezTo>
                    <a:cubicBezTo>
                      <a:pt x="87713" y="10008"/>
                      <a:pt x="85483" y="12158"/>
                      <a:pt x="83758" y="15662"/>
                    </a:cubicBezTo>
                    <a:lnTo>
                      <a:pt x="83439" y="16352"/>
                    </a:lnTo>
                    <a:cubicBezTo>
                      <a:pt x="58645" y="68648"/>
                      <a:pt x="47576" y="64666"/>
                      <a:pt x="43434" y="63180"/>
                    </a:cubicBezTo>
                    <a:cubicBezTo>
                      <a:pt x="42320" y="62728"/>
                      <a:pt x="41337" y="62197"/>
                      <a:pt x="40249" y="61613"/>
                    </a:cubicBezTo>
                    <a:cubicBezTo>
                      <a:pt x="35656" y="59118"/>
                      <a:pt x="32020" y="57154"/>
                      <a:pt x="25781" y="63764"/>
                    </a:cubicBezTo>
                    <a:cubicBezTo>
                      <a:pt x="24958" y="64587"/>
                      <a:pt x="23631" y="66710"/>
                      <a:pt x="22463" y="68595"/>
                    </a:cubicBezTo>
                    <a:cubicBezTo>
                      <a:pt x="19224" y="73825"/>
                      <a:pt x="14818" y="80965"/>
                      <a:pt x="7889" y="85797"/>
                    </a:cubicBezTo>
                    <a:cubicBezTo>
                      <a:pt x="5633" y="87390"/>
                      <a:pt x="2501" y="86832"/>
                      <a:pt x="908" y="84549"/>
                    </a:cubicBezTo>
                    <a:cubicBezTo>
                      <a:pt x="-685" y="82266"/>
                      <a:pt x="-128" y="79160"/>
                      <a:pt x="2155" y="77568"/>
                    </a:cubicBezTo>
                    <a:cubicBezTo>
                      <a:pt x="7385" y="73931"/>
                      <a:pt x="11022" y="68038"/>
                      <a:pt x="13942" y="63312"/>
                    </a:cubicBezTo>
                    <a:cubicBezTo>
                      <a:pt x="15694" y="60499"/>
                      <a:pt x="17074" y="58269"/>
                      <a:pt x="18614" y="56729"/>
                    </a:cubicBezTo>
                    <a:cubicBezTo>
                      <a:pt x="30002" y="44677"/>
                      <a:pt x="40116" y="50146"/>
                      <a:pt x="45001" y="52800"/>
                    </a:cubicBezTo>
                    <a:cubicBezTo>
                      <a:pt x="45744" y="53198"/>
                      <a:pt x="46408" y="53570"/>
                      <a:pt x="47018" y="53835"/>
                    </a:cubicBezTo>
                    <a:cubicBezTo>
                      <a:pt x="48717" y="53650"/>
                      <a:pt x="58327" y="45845"/>
                      <a:pt x="74334" y="12052"/>
                    </a:cubicBezTo>
                    <a:lnTo>
                      <a:pt x="74732" y="11229"/>
                    </a:lnTo>
                    <a:cubicBezTo>
                      <a:pt x="78289" y="4035"/>
                      <a:pt x="83917" y="0"/>
                      <a:pt x="89704" y="0"/>
                    </a:cubicBezTo>
                    <a:cubicBezTo>
                      <a:pt x="95704" y="53"/>
                      <a:pt x="101146" y="4274"/>
                      <a:pt x="104596" y="11574"/>
                    </a:cubicBezTo>
                    <a:cubicBezTo>
                      <a:pt x="106030" y="14255"/>
                      <a:pt x="108233" y="18848"/>
                      <a:pt x="110755" y="24104"/>
                    </a:cubicBezTo>
                    <a:cubicBezTo>
                      <a:pt x="116383" y="35864"/>
                      <a:pt x="124878" y="53650"/>
                      <a:pt x="129550" y="58454"/>
                    </a:cubicBezTo>
                    <a:cubicBezTo>
                      <a:pt x="131939" y="61321"/>
                      <a:pt x="133452" y="61215"/>
                      <a:pt x="133930" y="61162"/>
                    </a:cubicBezTo>
                    <a:cubicBezTo>
                      <a:pt x="137408" y="60870"/>
                      <a:pt x="142000" y="55561"/>
                      <a:pt x="144150" y="51897"/>
                    </a:cubicBezTo>
                    <a:cubicBezTo>
                      <a:pt x="148557" y="43615"/>
                      <a:pt x="154370" y="34988"/>
                      <a:pt x="163184" y="34988"/>
                    </a:cubicBezTo>
                    <a:cubicBezTo>
                      <a:pt x="175952" y="35359"/>
                      <a:pt x="184341" y="57313"/>
                      <a:pt x="184421" y="57525"/>
                    </a:cubicBezTo>
                    <a:cubicBezTo>
                      <a:pt x="186013" y="61640"/>
                      <a:pt x="188243" y="64374"/>
                      <a:pt x="190871" y="65356"/>
                    </a:cubicBezTo>
                    <a:cubicBezTo>
                      <a:pt x="193234" y="66259"/>
                      <a:pt x="195570" y="65489"/>
                      <a:pt x="197057" y="64666"/>
                    </a:cubicBezTo>
                    <a:cubicBezTo>
                      <a:pt x="208949" y="56702"/>
                      <a:pt x="218771" y="53650"/>
                      <a:pt x="226682" y="55614"/>
                    </a:cubicBezTo>
                    <a:cubicBezTo>
                      <a:pt x="235654" y="57844"/>
                      <a:pt x="239849" y="65648"/>
                      <a:pt x="243220" y="71913"/>
                    </a:cubicBezTo>
                    <a:cubicBezTo>
                      <a:pt x="244866" y="74993"/>
                      <a:pt x="246751" y="78497"/>
                      <a:pt x="248370" y="79266"/>
                    </a:cubicBezTo>
                    <a:cubicBezTo>
                      <a:pt x="250865" y="80461"/>
                      <a:pt x="251927" y="83461"/>
                      <a:pt x="250733" y="85956"/>
                    </a:cubicBezTo>
                    <a:cubicBezTo>
                      <a:pt x="249936" y="87708"/>
                      <a:pt x="248131" y="88770"/>
                      <a:pt x="246246" y="88770"/>
                    </a:cubicBezTo>
                    <a:close/>
                  </a:path>
                </a:pathLst>
              </a:custGeom>
              <a:solidFill>
                <a:schemeClr val="accent1"/>
              </a:solidFill>
              <a:ln w="2653" cap="flat">
                <a:noFill/>
                <a:prstDash val="solid"/>
                <a:miter/>
              </a:ln>
            </p:spPr>
            <p:txBody>
              <a:bodyPr rtlCol="0" anchor="ctr"/>
              <a:lstStyle/>
              <a:p>
                <a:endParaRPr lang="en-GB" dirty="0"/>
              </a:p>
            </p:txBody>
          </p:sp>
        </p:grpSp>
        <p:grpSp>
          <p:nvGrpSpPr>
            <p:cNvPr id="62" name="Group 61">
              <a:extLst>
                <a:ext uri="{FF2B5EF4-FFF2-40B4-BE49-F238E27FC236}">
                  <a16:creationId xmlns:a16="http://schemas.microsoft.com/office/drawing/2014/main" id="{4B2A5A34-BD2D-4BBA-BF11-81BEC99AAA28}"/>
                </a:ext>
              </a:extLst>
            </p:cNvPr>
            <p:cNvGrpSpPr/>
            <p:nvPr/>
          </p:nvGrpSpPr>
          <p:grpSpPr>
            <a:xfrm>
              <a:off x="1558834" y="1585984"/>
              <a:ext cx="561300" cy="432000"/>
              <a:chOff x="7690128" y="3286309"/>
              <a:chExt cx="637954" cy="490996"/>
            </a:xfrm>
          </p:grpSpPr>
          <p:sp>
            <p:nvSpPr>
              <p:cNvPr id="63" name="Freihandform: Form 687">
                <a:extLst>
                  <a:ext uri="{FF2B5EF4-FFF2-40B4-BE49-F238E27FC236}">
                    <a16:creationId xmlns:a16="http://schemas.microsoft.com/office/drawing/2014/main" id="{3FD849B7-8B9B-424F-91DC-C69FF65967ED}"/>
                  </a:ext>
                </a:extLst>
              </p:cNvPr>
              <p:cNvSpPr/>
              <p:nvPr/>
            </p:nvSpPr>
            <p:spPr>
              <a:xfrm>
                <a:off x="7716859" y="3319731"/>
                <a:ext cx="584464" cy="424179"/>
              </a:xfrm>
              <a:custGeom>
                <a:avLst/>
                <a:gdLst>
                  <a:gd name="connsiteX0" fmla="*/ 554866 w 584464"/>
                  <a:gd name="connsiteY0" fmla="*/ 424179 h 424179"/>
                  <a:gd name="connsiteX1" fmla="*/ 29625 w 584464"/>
                  <a:gd name="connsiteY1" fmla="*/ 424179 h 424179"/>
                  <a:gd name="connsiteX2" fmla="*/ 0 w 584464"/>
                  <a:gd name="connsiteY2" fmla="*/ 394554 h 424179"/>
                  <a:gd name="connsiteX3" fmla="*/ 0 w 584464"/>
                  <a:gd name="connsiteY3" fmla="*/ 29625 h 424179"/>
                  <a:gd name="connsiteX4" fmla="*/ 29625 w 584464"/>
                  <a:gd name="connsiteY4" fmla="*/ 0 h 424179"/>
                  <a:gd name="connsiteX5" fmla="*/ 554839 w 584464"/>
                  <a:gd name="connsiteY5" fmla="*/ 0 h 424179"/>
                  <a:gd name="connsiteX6" fmla="*/ 584464 w 584464"/>
                  <a:gd name="connsiteY6" fmla="*/ 29625 h 424179"/>
                  <a:gd name="connsiteX7" fmla="*/ 584464 w 584464"/>
                  <a:gd name="connsiteY7" fmla="*/ 394527 h 424179"/>
                  <a:gd name="connsiteX8" fmla="*/ 554866 w 584464"/>
                  <a:gd name="connsiteY8" fmla="*/ 424179 h 424179"/>
                  <a:gd name="connsiteX9" fmla="*/ 29625 w 584464"/>
                  <a:gd name="connsiteY9" fmla="*/ 10008 h 424179"/>
                  <a:gd name="connsiteX10" fmla="*/ 10008 w 584464"/>
                  <a:gd name="connsiteY10" fmla="*/ 29625 h 424179"/>
                  <a:gd name="connsiteX11" fmla="*/ 10008 w 584464"/>
                  <a:gd name="connsiteY11" fmla="*/ 394527 h 424179"/>
                  <a:gd name="connsiteX12" fmla="*/ 29625 w 584464"/>
                  <a:gd name="connsiteY12" fmla="*/ 414145 h 424179"/>
                  <a:gd name="connsiteX13" fmla="*/ 554839 w 584464"/>
                  <a:gd name="connsiteY13" fmla="*/ 414145 h 424179"/>
                  <a:gd name="connsiteX14" fmla="*/ 574456 w 584464"/>
                  <a:gd name="connsiteY14" fmla="*/ 394527 h 424179"/>
                  <a:gd name="connsiteX15" fmla="*/ 574456 w 584464"/>
                  <a:gd name="connsiteY15" fmla="*/ 29625 h 424179"/>
                  <a:gd name="connsiteX16" fmla="*/ 554839 w 584464"/>
                  <a:gd name="connsiteY16" fmla="*/ 10008 h 424179"/>
                  <a:gd name="connsiteX17" fmla="*/ 29625 w 584464"/>
                  <a:gd name="connsiteY17" fmla="*/ 10008 h 42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4464" h="424179">
                    <a:moveTo>
                      <a:pt x="554866" y="424179"/>
                    </a:moveTo>
                    <a:lnTo>
                      <a:pt x="29625" y="424179"/>
                    </a:lnTo>
                    <a:cubicBezTo>
                      <a:pt x="13273" y="424179"/>
                      <a:pt x="0" y="410880"/>
                      <a:pt x="0" y="394554"/>
                    </a:cubicBezTo>
                    <a:lnTo>
                      <a:pt x="0" y="29625"/>
                    </a:lnTo>
                    <a:cubicBezTo>
                      <a:pt x="0" y="13273"/>
                      <a:pt x="13300" y="0"/>
                      <a:pt x="29625" y="0"/>
                    </a:cubicBezTo>
                    <a:lnTo>
                      <a:pt x="554839" y="0"/>
                    </a:lnTo>
                    <a:cubicBezTo>
                      <a:pt x="571191" y="0"/>
                      <a:pt x="584464" y="13300"/>
                      <a:pt x="584464" y="29625"/>
                    </a:cubicBezTo>
                    <a:lnTo>
                      <a:pt x="584464" y="394527"/>
                    </a:lnTo>
                    <a:cubicBezTo>
                      <a:pt x="584491" y="410880"/>
                      <a:pt x="571191" y="424179"/>
                      <a:pt x="554866" y="424179"/>
                    </a:cubicBezTo>
                    <a:close/>
                    <a:moveTo>
                      <a:pt x="29625" y="10008"/>
                    </a:moveTo>
                    <a:cubicBezTo>
                      <a:pt x="18821" y="10008"/>
                      <a:pt x="10008" y="18821"/>
                      <a:pt x="10008" y="29625"/>
                    </a:cubicBezTo>
                    <a:lnTo>
                      <a:pt x="10008" y="394527"/>
                    </a:lnTo>
                    <a:cubicBezTo>
                      <a:pt x="10008" y="405331"/>
                      <a:pt x="18821" y="414145"/>
                      <a:pt x="29625" y="414145"/>
                    </a:cubicBezTo>
                    <a:lnTo>
                      <a:pt x="554839" y="414145"/>
                    </a:lnTo>
                    <a:cubicBezTo>
                      <a:pt x="565643" y="414145"/>
                      <a:pt x="574456" y="405331"/>
                      <a:pt x="574456" y="394527"/>
                    </a:cubicBezTo>
                    <a:lnTo>
                      <a:pt x="574456" y="29625"/>
                    </a:lnTo>
                    <a:cubicBezTo>
                      <a:pt x="574456" y="18821"/>
                      <a:pt x="565643" y="10008"/>
                      <a:pt x="554839" y="10008"/>
                    </a:cubicBezTo>
                    <a:lnTo>
                      <a:pt x="29625" y="10008"/>
                    </a:lnTo>
                    <a:close/>
                  </a:path>
                </a:pathLst>
              </a:custGeom>
              <a:solidFill>
                <a:schemeClr val="tx2"/>
              </a:solidFill>
              <a:ln w="2653" cap="flat">
                <a:noFill/>
                <a:prstDash val="solid"/>
                <a:miter/>
              </a:ln>
            </p:spPr>
            <p:txBody>
              <a:bodyPr rtlCol="0" anchor="ctr"/>
              <a:lstStyle/>
              <a:p>
                <a:endParaRPr lang="en-GB" dirty="0"/>
              </a:p>
            </p:txBody>
          </p:sp>
          <p:sp>
            <p:nvSpPr>
              <p:cNvPr id="64" name="Freihandform: Form 688">
                <a:extLst>
                  <a:ext uri="{FF2B5EF4-FFF2-40B4-BE49-F238E27FC236}">
                    <a16:creationId xmlns:a16="http://schemas.microsoft.com/office/drawing/2014/main" id="{60124843-1835-48C1-9A83-3B66519E2109}"/>
                  </a:ext>
                </a:extLst>
              </p:cNvPr>
              <p:cNvSpPr/>
              <p:nvPr/>
            </p:nvSpPr>
            <p:spPr>
              <a:xfrm>
                <a:off x="8004088" y="3319704"/>
                <a:ext cx="10034" cy="424205"/>
              </a:xfrm>
              <a:custGeom>
                <a:avLst/>
                <a:gdLst>
                  <a:gd name="connsiteX0" fmla="*/ 5017 w 10034"/>
                  <a:gd name="connsiteY0" fmla="*/ 424206 h 424205"/>
                  <a:gd name="connsiteX1" fmla="*/ 0 w 10034"/>
                  <a:gd name="connsiteY1" fmla="*/ 419189 h 424205"/>
                  <a:gd name="connsiteX2" fmla="*/ 0 w 10034"/>
                  <a:gd name="connsiteY2" fmla="*/ 5017 h 424205"/>
                  <a:gd name="connsiteX3" fmla="*/ 5017 w 10034"/>
                  <a:gd name="connsiteY3" fmla="*/ 0 h 424205"/>
                  <a:gd name="connsiteX4" fmla="*/ 10034 w 10034"/>
                  <a:gd name="connsiteY4" fmla="*/ 5017 h 424205"/>
                  <a:gd name="connsiteX5" fmla="*/ 10034 w 10034"/>
                  <a:gd name="connsiteY5" fmla="*/ 419162 h 424205"/>
                  <a:gd name="connsiteX6" fmla="*/ 5017 w 10034"/>
                  <a:gd name="connsiteY6" fmla="*/ 424206 h 42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4" h="424205">
                    <a:moveTo>
                      <a:pt x="5017" y="424206"/>
                    </a:moveTo>
                    <a:cubicBezTo>
                      <a:pt x="2256" y="424206"/>
                      <a:pt x="0" y="421949"/>
                      <a:pt x="0" y="419189"/>
                    </a:cubicBezTo>
                    <a:lnTo>
                      <a:pt x="0" y="5017"/>
                    </a:lnTo>
                    <a:cubicBezTo>
                      <a:pt x="0" y="2257"/>
                      <a:pt x="2256" y="0"/>
                      <a:pt x="5017" y="0"/>
                    </a:cubicBezTo>
                    <a:cubicBezTo>
                      <a:pt x="7778" y="0"/>
                      <a:pt x="10034" y="2257"/>
                      <a:pt x="10034" y="5017"/>
                    </a:cubicBezTo>
                    <a:lnTo>
                      <a:pt x="10034" y="419162"/>
                    </a:lnTo>
                    <a:cubicBezTo>
                      <a:pt x="10034" y="421949"/>
                      <a:pt x="7778" y="424206"/>
                      <a:pt x="5017" y="424206"/>
                    </a:cubicBezTo>
                    <a:close/>
                  </a:path>
                </a:pathLst>
              </a:custGeom>
              <a:solidFill>
                <a:schemeClr val="tx2"/>
              </a:solidFill>
              <a:ln w="2653" cap="flat">
                <a:noFill/>
                <a:prstDash val="solid"/>
                <a:miter/>
              </a:ln>
            </p:spPr>
            <p:txBody>
              <a:bodyPr rtlCol="0" anchor="ctr"/>
              <a:lstStyle/>
              <a:p>
                <a:endParaRPr lang="en-GB" dirty="0"/>
              </a:p>
            </p:txBody>
          </p:sp>
          <p:sp>
            <p:nvSpPr>
              <p:cNvPr id="65" name="Freihandform: Form 689">
                <a:extLst>
                  <a:ext uri="{FF2B5EF4-FFF2-40B4-BE49-F238E27FC236}">
                    <a16:creationId xmlns:a16="http://schemas.microsoft.com/office/drawing/2014/main" id="{AF85F426-B3ED-4FDE-B8D5-A0EB2097D681}"/>
                  </a:ext>
                </a:extLst>
              </p:cNvPr>
              <p:cNvSpPr/>
              <p:nvPr/>
            </p:nvSpPr>
            <p:spPr>
              <a:xfrm>
                <a:off x="7716859" y="3526790"/>
                <a:ext cx="584517" cy="10034"/>
              </a:xfrm>
              <a:custGeom>
                <a:avLst/>
                <a:gdLst>
                  <a:gd name="connsiteX0" fmla="*/ 579473 w 584517"/>
                  <a:gd name="connsiteY0" fmla="*/ 10034 h 10034"/>
                  <a:gd name="connsiteX1" fmla="*/ 5017 w 584517"/>
                  <a:gd name="connsiteY1" fmla="*/ 10034 h 10034"/>
                  <a:gd name="connsiteX2" fmla="*/ 0 w 584517"/>
                  <a:gd name="connsiteY2" fmla="*/ 5017 h 10034"/>
                  <a:gd name="connsiteX3" fmla="*/ 5017 w 584517"/>
                  <a:gd name="connsiteY3" fmla="*/ 0 h 10034"/>
                  <a:gd name="connsiteX4" fmla="*/ 579500 w 584517"/>
                  <a:gd name="connsiteY4" fmla="*/ 0 h 10034"/>
                  <a:gd name="connsiteX5" fmla="*/ 584517 w 584517"/>
                  <a:gd name="connsiteY5" fmla="*/ 5017 h 10034"/>
                  <a:gd name="connsiteX6" fmla="*/ 579473 w 584517"/>
                  <a:gd name="connsiteY6" fmla="*/ 10034 h 1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4517" h="10034">
                    <a:moveTo>
                      <a:pt x="579473" y="10034"/>
                    </a:moveTo>
                    <a:lnTo>
                      <a:pt x="5017" y="10034"/>
                    </a:lnTo>
                    <a:cubicBezTo>
                      <a:pt x="2257" y="10034"/>
                      <a:pt x="0" y="7778"/>
                      <a:pt x="0" y="5017"/>
                    </a:cubicBezTo>
                    <a:cubicBezTo>
                      <a:pt x="0" y="2256"/>
                      <a:pt x="2257" y="0"/>
                      <a:pt x="5017" y="0"/>
                    </a:cubicBezTo>
                    <a:lnTo>
                      <a:pt x="579500" y="0"/>
                    </a:lnTo>
                    <a:cubicBezTo>
                      <a:pt x="582261" y="0"/>
                      <a:pt x="584517" y="2256"/>
                      <a:pt x="584517" y="5017"/>
                    </a:cubicBezTo>
                    <a:cubicBezTo>
                      <a:pt x="584491" y="7778"/>
                      <a:pt x="582261" y="10034"/>
                      <a:pt x="579473" y="10034"/>
                    </a:cubicBezTo>
                    <a:close/>
                  </a:path>
                </a:pathLst>
              </a:custGeom>
              <a:solidFill>
                <a:schemeClr val="tx2"/>
              </a:solidFill>
              <a:ln w="2653" cap="flat">
                <a:noFill/>
                <a:prstDash val="solid"/>
                <a:miter/>
              </a:ln>
            </p:spPr>
            <p:txBody>
              <a:bodyPr rtlCol="0" anchor="ctr"/>
              <a:lstStyle/>
              <a:p>
                <a:endParaRPr lang="en-GB" dirty="0"/>
              </a:p>
            </p:txBody>
          </p:sp>
          <p:sp>
            <p:nvSpPr>
              <p:cNvPr id="66" name="Freihandform: Form 697">
                <a:extLst>
                  <a:ext uri="{FF2B5EF4-FFF2-40B4-BE49-F238E27FC236}">
                    <a16:creationId xmlns:a16="http://schemas.microsoft.com/office/drawing/2014/main" id="{7E576B29-D49F-4B5F-9DA8-FDF9DE21DA38}"/>
                  </a:ext>
                </a:extLst>
              </p:cNvPr>
              <p:cNvSpPr/>
              <p:nvPr/>
            </p:nvSpPr>
            <p:spPr>
              <a:xfrm>
                <a:off x="7690128" y="3286309"/>
                <a:ext cx="637954" cy="10034"/>
              </a:xfrm>
              <a:custGeom>
                <a:avLst/>
                <a:gdLst>
                  <a:gd name="connsiteX0" fmla="*/ 632937 w 637954"/>
                  <a:gd name="connsiteY0" fmla="*/ 10034 h 10034"/>
                  <a:gd name="connsiteX1" fmla="*/ 5017 w 637954"/>
                  <a:gd name="connsiteY1" fmla="*/ 10034 h 10034"/>
                  <a:gd name="connsiteX2" fmla="*/ 0 w 637954"/>
                  <a:gd name="connsiteY2" fmla="*/ 5017 h 10034"/>
                  <a:gd name="connsiteX3" fmla="*/ 5017 w 637954"/>
                  <a:gd name="connsiteY3" fmla="*/ 0 h 10034"/>
                  <a:gd name="connsiteX4" fmla="*/ 632937 w 637954"/>
                  <a:gd name="connsiteY4" fmla="*/ 0 h 10034"/>
                  <a:gd name="connsiteX5" fmla="*/ 637955 w 637954"/>
                  <a:gd name="connsiteY5" fmla="*/ 5017 h 10034"/>
                  <a:gd name="connsiteX6" fmla="*/ 632937 w 637954"/>
                  <a:gd name="connsiteY6" fmla="*/ 10034 h 1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954" h="10034">
                    <a:moveTo>
                      <a:pt x="632937" y="10034"/>
                    </a:moveTo>
                    <a:lnTo>
                      <a:pt x="5017" y="10034"/>
                    </a:lnTo>
                    <a:cubicBezTo>
                      <a:pt x="2257" y="10034"/>
                      <a:pt x="0" y="7778"/>
                      <a:pt x="0" y="5017"/>
                    </a:cubicBezTo>
                    <a:cubicBezTo>
                      <a:pt x="0" y="2257"/>
                      <a:pt x="2257" y="0"/>
                      <a:pt x="5017" y="0"/>
                    </a:cubicBezTo>
                    <a:lnTo>
                      <a:pt x="632937" y="0"/>
                    </a:lnTo>
                    <a:cubicBezTo>
                      <a:pt x="635698" y="0"/>
                      <a:pt x="637955" y="2257"/>
                      <a:pt x="637955" y="5017"/>
                    </a:cubicBezTo>
                    <a:cubicBezTo>
                      <a:pt x="637955" y="7778"/>
                      <a:pt x="635698" y="10034"/>
                      <a:pt x="632937" y="10034"/>
                    </a:cubicBezTo>
                    <a:close/>
                  </a:path>
                </a:pathLst>
              </a:custGeom>
              <a:solidFill>
                <a:schemeClr val="tx2"/>
              </a:solidFill>
              <a:ln w="2653" cap="flat">
                <a:noFill/>
                <a:prstDash val="solid"/>
                <a:miter/>
              </a:ln>
            </p:spPr>
            <p:txBody>
              <a:bodyPr rtlCol="0" anchor="ctr"/>
              <a:lstStyle/>
              <a:p>
                <a:endParaRPr lang="en-GB" dirty="0"/>
              </a:p>
            </p:txBody>
          </p:sp>
          <p:sp>
            <p:nvSpPr>
              <p:cNvPr id="67" name="Freihandform: Form 698">
                <a:extLst>
                  <a:ext uri="{FF2B5EF4-FFF2-40B4-BE49-F238E27FC236}">
                    <a16:creationId xmlns:a16="http://schemas.microsoft.com/office/drawing/2014/main" id="{622B50A3-70D0-4B16-ABD8-8110C515F18E}"/>
                  </a:ext>
                </a:extLst>
              </p:cNvPr>
              <p:cNvSpPr/>
              <p:nvPr/>
            </p:nvSpPr>
            <p:spPr>
              <a:xfrm>
                <a:off x="7690128" y="3767271"/>
                <a:ext cx="637954" cy="10034"/>
              </a:xfrm>
              <a:custGeom>
                <a:avLst/>
                <a:gdLst>
                  <a:gd name="connsiteX0" fmla="*/ 632937 w 637954"/>
                  <a:gd name="connsiteY0" fmla="*/ 10034 h 10034"/>
                  <a:gd name="connsiteX1" fmla="*/ 5017 w 637954"/>
                  <a:gd name="connsiteY1" fmla="*/ 10034 h 10034"/>
                  <a:gd name="connsiteX2" fmla="*/ 0 w 637954"/>
                  <a:gd name="connsiteY2" fmla="*/ 5017 h 10034"/>
                  <a:gd name="connsiteX3" fmla="*/ 5017 w 637954"/>
                  <a:gd name="connsiteY3" fmla="*/ 0 h 10034"/>
                  <a:gd name="connsiteX4" fmla="*/ 632937 w 637954"/>
                  <a:gd name="connsiteY4" fmla="*/ 0 h 10034"/>
                  <a:gd name="connsiteX5" fmla="*/ 637955 w 637954"/>
                  <a:gd name="connsiteY5" fmla="*/ 5017 h 10034"/>
                  <a:gd name="connsiteX6" fmla="*/ 632937 w 637954"/>
                  <a:gd name="connsiteY6" fmla="*/ 10034 h 1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7954" h="10034">
                    <a:moveTo>
                      <a:pt x="632937" y="10034"/>
                    </a:moveTo>
                    <a:lnTo>
                      <a:pt x="5017" y="10034"/>
                    </a:lnTo>
                    <a:cubicBezTo>
                      <a:pt x="2257" y="10034"/>
                      <a:pt x="0" y="7778"/>
                      <a:pt x="0" y="5017"/>
                    </a:cubicBezTo>
                    <a:cubicBezTo>
                      <a:pt x="0" y="2256"/>
                      <a:pt x="2257" y="0"/>
                      <a:pt x="5017" y="0"/>
                    </a:cubicBezTo>
                    <a:lnTo>
                      <a:pt x="632937" y="0"/>
                    </a:lnTo>
                    <a:cubicBezTo>
                      <a:pt x="635698" y="0"/>
                      <a:pt x="637955" y="2256"/>
                      <a:pt x="637955" y="5017"/>
                    </a:cubicBezTo>
                    <a:cubicBezTo>
                      <a:pt x="637955" y="7778"/>
                      <a:pt x="635698" y="10034"/>
                      <a:pt x="632937" y="10034"/>
                    </a:cubicBezTo>
                    <a:close/>
                  </a:path>
                </a:pathLst>
              </a:custGeom>
              <a:solidFill>
                <a:schemeClr val="tx2"/>
              </a:solidFill>
              <a:ln w="2653" cap="flat">
                <a:noFill/>
                <a:prstDash val="solid"/>
                <a:miter/>
              </a:ln>
            </p:spPr>
            <p:txBody>
              <a:bodyPr rtlCol="0" anchor="ctr"/>
              <a:lstStyle/>
              <a:p>
                <a:endParaRPr lang="en-GB" dirty="0"/>
              </a:p>
            </p:txBody>
          </p:sp>
        </p:grpSp>
      </p:grpSp>
      <p:grpSp>
        <p:nvGrpSpPr>
          <p:cNvPr id="43" name="Group 42">
            <a:extLst>
              <a:ext uri="{FF2B5EF4-FFF2-40B4-BE49-F238E27FC236}">
                <a16:creationId xmlns:a16="http://schemas.microsoft.com/office/drawing/2014/main" id="{46EB9D02-C282-678E-B860-A8A209F23565}"/>
              </a:ext>
            </a:extLst>
          </p:cNvPr>
          <p:cNvGrpSpPr/>
          <p:nvPr/>
        </p:nvGrpSpPr>
        <p:grpSpPr>
          <a:xfrm>
            <a:off x="2548186" y="1585984"/>
            <a:ext cx="673464" cy="432000"/>
            <a:chOff x="2548186" y="1585984"/>
            <a:chExt cx="673464" cy="432000"/>
          </a:xfrm>
        </p:grpSpPr>
        <p:grpSp>
          <p:nvGrpSpPr>
            <p:cNvPr id="76" name="Group 75">
              <a:extLst>
                <a:ext uri="{FF2B5EF4-FFF2-40B4-BE49-F238E27FC236}">
                  <a16:creationId xmlns:a16="http://schemas.microsoft.com/office/drawing/2014/main" id="{8ADAF097-00F2-484B-BAAC-454BC7247E60}"/>
                </a:ext>
              </a:extLst>
            </p:cNvPr>
            <p:cNvGrpSpPr/>
            <p:nvPr/>
          </p:nvGrpSpPr>
          <p:grpSpPr>
            <a:xfrm>
              <a:off x="2794733" y="1752250"/>
              <a:ext cx="210534" cy="265734"/>
              <a:chOff x="7104283" y="4316156"/>
              <a:chExt cx="182917" cy="230877"/>
            </a:xfrm>
          </p:grpSpPr>
          <p:sp>
            <p:nvSpPr>
              <p:cNvPr id="86" name="Freihandform: Form 611">
                <a:extLst>
                  <a:ext uri="{FF2B5EF4-FFF2-40B4-BE49-F238E27FC236}">
                    <a16:creationId xmlns:a16="http://schemas.microsoft.com/office/drawing/2014/main" id="{32FA8EBD-2C39-47B9-B8CB-50ADECA3CAE3}"/>
                  </a:ext>
                </a:extLst>
              </p:cNvPr>
              <p:cNvSpPr/>
              <p:nvPr/>
            </p:nvSpPr>
            <p:spPr>
              <a:xfrm>
                <a:off x="7104283" y="4390014"/>
                <a:ext cx="156993" cy="157019"/>
              </a:xfrm>
              <a:custGeom>
                <a:avLst/>
                <a:gdLst>
                  <a:gd name="connsiteX0" fmla="*/ 78496 w 156993"/>
                  <a:gd name="connsiteY0" fmla="*/ 157020 h 157019"/>
                  <a:gd name="connsiteX1" fmla="*/ 0 w 156993"/>
                  <a:gd name="connsiteY1" fmla="*/ 78496 h 157019"/>
                  <a:gd name="connsiteX2" fmla="*/ 78496 w 156993"/>
                  <a:gd name="connsiteY2" fmla="*/ 0 h 157019"/>
                  <a:gd name="connsiteX3" fmla="*/ 87363 w 156993"/>
                  <a:gd name="connsiteY3" fmla="*/ 504 h 157019"/>
                  <a:gd name="connsiteX4" fmla="*/ 91770 w 156993"/>
                  <a:gd name="connsiteY4" fmla="*/ 6052 h 157019"/>
                  <a:gd name="connsiteX5" fmla="*/ 86221 w 156993"/>
                  <a:gd name="connsiteY5" fmla="*/ 10459 h 157019"/>
                  <a:gd name="connsiteX6" fmla="*/ 78470 w 156993"/>
                  <a:gd name="connsiteY6" fmla="*/ 10034 h 157019"/>
                  <a:gd name="connsiteX7" fmla="*/ 9981 w 156993"/>
                  <a:gd name="connsiteY7" fmla="*/ 78523 h 157019"/>
                  <a:gd name="connsiteX8" fmla="*/ 78470 w 156993"/>
                  <a:gd name="connsiteY8" fmla="*/ 147038 h 157019"/>
                  <a:gd name="connsiteX9" fmla="*/ 146959 w 156993"/>
                  <a:gd name="connsiteY9" fmla="*/ 78523 h 157019"/>
                  <a:gd name="connsiteX10" fmla="*/ 137641 w 156993"/>
                  <a:gd name="connsiteY10" fmla="*/ 44013 h 157019"/>
                  <a:gd name="connsiteX11" fmla="*/ 139446 w 156993"/>
                  <a:gd name="connsiteY11" fmla="*/ 37164 h 157019"/>
                  <a:gd name="connsiteX12" fmla="*/ 146295 w 156993"/>
                  <a:gd name="connsiteY12" fmla="*/ 38969 h 157019"/>
                  <a:gd name="connsiteX13" fmla="*/ 156993 w 156993"/>
                  <a:gd name="connsiteY13" fmla="*/ 78523 h 157019"/>
                  <a:gd name="connsiteX14" fmla="*/ 78496 w 156993"/>
                  <a:gd name="connsiteY14" fmla="*/ 157020 h 157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993" h="157019">
                    <a:moveTo>
                      <a:pt x="78496" y="157020"/>
                    </a:moveTo>
                    <a:cubicBezTo>
                      <a:pt x="35200" y="157020"/>
                      <a:pt x="0" y="121793"/>
                      <a:pt x="0" y="78496"/>
                    </a:cubicBezTo>
                    <a:cubicBezTo>
                      <a:pt x="0" y="35200"/>
                      <a:pt x="35226" y="0"/>
                      <a:pt x="78496" y="0"/>
                    </a:cubicBezTo>
                    <a:cubicBezTo>
                      <a:pt x="81470" y="0"/>
                      <a:pt x="84443" y="159"/>
                      <a:pt x="87363" y="504"/>
                    </a:cubicBezTo>
                    <a:cubicBezTo>
                      <a:pt x="90097" y="823"/>
                      <a:pt x="92088" y="3292"/>
                      <a:pt x="91770" y="6052"/>
                    </a:cubicBezTo>
                    <a:cubicBezTo>
                      <a:pt x="91451" y="8787"/>
                      <a:pt x="88929" y="10778"/>
                      <a:pt x="86221" y="10459"/>
                    </a:cubicBezTo>
                    <a:cubicBezTo>
                      <a:pt x="83673" y="10167"/>
                      <a:pt x="81072" y="10034"/>
                      <a:pt x="78470" y="10034"/>
                    </a:cubicBezTo>
                    <a:cubicBezTo>
                      <a:pt x="40695" y="10034"/>
                      <a:pt x="9981" y="40748"/>
                      <a:pt x="9981" y="78523"/>
                    </a:cubicBezTo>
                    <a:cubicBezTo>
                      <a:pt x="9981" y="116298"/>
                      <a:pt x="40695" y="147038"/>
                      <a:pt x="78470" y="147038"/>
                    </a:cubicBezTo>
                    <a:cubicBezTo>
                      <a:pt x="116245" y="147038"/>
                      <a:pt x="146959" y="116298"/>
                      <a:pt x="146959" y="78523"/>
                    </a:cubicBezTo>
                    <a:cubicBezTo>
                      <a:pt x="146959" y="66391"/>
                      <a:pt x="143747" y="54446"/>
                      <a:pt x="137641" y="44013"/>
                    </a:cubicBezTo>
                    <a:cubicBezTo>
                      <a:pt x="136234" y="41624"/>
                      <a:pt x="137057" y="38571"/>
                      <a:pt x="139446" y="37164"/>
                    </a:cubicBezTo>
                    <a:cubicBezTo>
                      <a:pt x="141809" y="35757"/>
                      <a:pt x="144888" y="36580"/>
                      <a:pt x="146295" y="38969"/>
                    </a:cubicBezTo>
                    <a:cubicBezTo>
                      <a:pt x="153277" y="50915"/>
                      <a:pt x="156993" y="64613"/>
                      <a:pt x="156993" y="78523"/>
                    </a:cubicBezTo>
                    <a:cubicBezTo>
                      <a:pt x="157020" y="121793"/>
                      <a:pt x="121793" y="157020"/>
                      <a:pt x="78496" y="157020"/>
                    </a:cubicBezTo>
                    <a:close/>
                  </a:path>
                </a:pathLst>
              </a:custGeom>
              <a:solidFill>
                <a:schemeClr val="accent1"/>
              </a:solidFill>
              <a:ln w="2653" cap="flat">
                <a:noFill/>
                <a:prstDash val="solid"/>
                <a:miter/>
              </a:ln>
            </p:spPr>
            <p:txBody>
              <a:bodyPr rtlCol="0" anchor="ctr"/>
              <a:lstStyle/>
              <a:p>
                <a:endParaRPr lang="en-GB" dirty="0"/>
              </a:p>
            </p:txBody>
          </p:sp>
          <p:sp>
            <p:nvSpPr>
              <p:cNvPr id="87" name="Freihandform: Form 612">
                <a:extLst>
                  <a:ext uri="{FF2B5EF4-FFF2-40B4-BE49-F238E27FC236}">
                    <a16:creationId xmlns:a16="http://schemas.microsoft.com/office/drawing/2014/main" id="{A629B552-B0F4-4851-96D1-1785AFDC90D1}"/>
                  </a:ext>
                </a:extLst>
              </p:cNvPr>
              <p:cNvSpPr/>
              <p:nvPr/>
            </p:nvSpPr>
            <p:spPr>
              <a:xfrm>
                <a:off x="7153871" y="4316156"/>
                <a:ext cx="133329" cy="181263"/>
              </a:xfrm>
              <a:custGeom>
                <a:avLst/>
                <a:gdLst>
                  <a:gd name="connsiteX0" fmla="*/ 28909 w 133329"/>
                  <a:gd name="connsiteY0" fmla="*/ 181264 h 181263"/>
                  <a:gd name="connsiteX1" fmla="*/ 0 w 133329"/>
                  <a:gd name="connsiteY1" fmla="*/ 152355 h 181263"/>
                  <a:gd name="connsiteX2" fmla="*/ 16299 w 133329"/>
                  <a:gd name="connsiteY2" fmla="*/ 126366 h 181263"/>
                  <a:gd name="connsiteX3" fmla="*/ 115396 w 133329"/>
                  <a:gd name="connsiteY3" fmla="*/ 3803 h 181263"/>
                  <a:gd name="connsiteX4" fmla="*/ 128828 w 133329"/>
                  <a:gd name="connsiteY4" fmla="*/ 1786 h 181263"/>
                  <a:gd name="connsiteX5" fmla="*/ 132013 w 133329"/>
                  <a:gd name="connsiteY5" fmla="*/ 15006 h 181263"/>
                  <a:gd name="connsiteX6" fmla="*/ 57631 w 133329"/>
                  <a:gd name="connsiteY6" fmla="*/ 149355 h 181263"/>
                  <a:gd name="connsiteX7" fmla="*/ 57791 w 133329"/>
                  <a:gd name="connsiteY7" fmla="*/ 152382 h 181263"/>
                  <a:gd name="connsiteX8" fmla="*/ 28909 w 133329"/>
                  <a:gd name="connsiteY8" fmla="*/ 181264 h 181263"/>
                  <a:gd name="connsiteX9" fmla="*/ 123200 w 133329"/>
                  <a:gd name="connsiteY9" fmla="*/ 10095 h 181263"/>
                  <a:gd name="connsiteX10" fmla="*/ 123200 w 133329"/>
                  <a:gd name="connsiteY10" fmla="*/ 10095 h 181263"/>
                  <a:gd name="connsiteX11" fmla="*/ 23360 w 133329"/>
                  <a:gd name="connsiteY11" fmla="*/ 133561 h 181263"/>
                  <a:gd name="connsiteX12" fmla="*/ 21449 w 133329"/>
                  <a:gd name="connsiteY12" fmla="*/ 135020 h 181263"/>
                  <a:gd name="connsiteX13" fmla="*/ 10008 w 133329"/>
                  <a:gd name="connsiteY13" fmla="*/ 152355 h 181263"/>
                  <a:gd name="connsiteX14" fmla="*/ 28882 w 133329"/>
                  <a:gd name="connsiteY14" fmla="*/ 171229 h 181263"/>
                  <a:gd name="connsiteX15" fmla="*/ 47756 w 133329"/>
                  <a:gd name="connsiteY15" fmla="*/ 152355 h 181263"/>
                  <a:gd name="connsiteX16" fmla="*/ 47278 w 133329"/>
                  <a:gd name="connsiteY16" fmla="*/ 148294 h 181263"/>
                  <a:gd name="connsiteX17" fmla="*/ 49084 w 133329"/>
                  <a:gd name="connsiteY17" fmla="*/ 143276 h 181263"/>
                  <a:gd name="connsiteX18" fmla="*/ 49747 w 133329"/>
                  <a:gd name="connsiteY18" fmla="*/ 142852 h 181263"/>
                  <a:gd name="connsiteX19" fmla="*/ 123227 w 133329"/>
                  <a:gd name="connsiteY19" fmla="*/ 10148 h 181263"/>
                  <a:gd name="connsiteX20" fmla="*/ 123227 w 133329"/>
                  <a:gd name="connsiteY20" fmla="*/ 10148 h 181263"/>
                  <a:gd name="connsiteX21" fmla="*/ 123200 w 133329"/>
                  <a:gd name="connsiteY21" fmla="*/ 10095 h 181263"/>
                  <a:gd name="connsiteX22" fmla="*/ 119298 w 133329"/>
                  <a:gd name="connsiteY22" fmla="*/ 6936 h 181263"/>
                  <a:gd name="connsiteX23" fmla="*/ 119351 w 133329"/>
                  <a:gd name="connsiteY23" fmla="*/ 6936 h 181263"/>
                  <a:gd name="connsiteX24" fmla="*/ 119298 w 133329"/>
                  <a:gd name="connsiteY24" fmla="*/ 6936 h 181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3329" h="181263">
                    <a:moveTo>
                      <a:pt x="28909" y="181264"/>
                    </a:moveTo>
                    <a:cubicBezTo>
                      <a:pt x="12981" y="181264"/>
                      <a:pt x="0" y="168283"/>
                      <a:pt x="0" y="152355"/>
                    </a:cubicBezTo>
                    <a:cubicBezTo>
                      <a:pt x="0" y="141233"/>
                      <a:pt x="6371" y="131171"/>
                      <a:pt x="16299" y="126366"/>
                    </a:cubicBezTo>
                    <a:lnTo>
                      <a:pt x="115396" y="3803"/>
                    </a:lnTo>
                    <a:cubicBezTo>
                      <a:pt x="118740" y="-364"/>
                      <a:pt x="124395" y="-1214"/>
                      <a:pt x="128828" y="1786"/>
                    </a:cubicBezTo>
                    <a:cubicBezTo>
                      <a:pt x="133261" y="4759"/>
                      <a:pt x="134615" y="10334"/>
                      <a:pt x="132013" y="15006"/>
                    </a:cubicBezTo>
                    <a:lnTo>
                      <a:pt x="57631" y="149355"/>
                    </a:lnTo>
                    <a:cubicBezTo>
                      <a:pt x="57738" y="150364"/>
                      <a:pt x="57791" y="151373"/>
                      <a:pt x="57791" y="152382"/>
                    </a:cubicBezTo>
                    <a:cubicBezTo>
                      <a:pt x="57817" y="168283"/>
                      <a:pt x="44863" y="181264"/>
                      <a:pt x="28909" y="181264"/>
                    </a:cubicBezTo>
                    <a:close/>
                    <a:moveTo>
                      <a:pt x="123200" y="10095"/>
                    </a:moveTo>
                    <a:lnTo>
                      <a:pt x="123200" y="10095"/>
                    </a:lnTo>
                    <a:lnTo>
                      <a:pt x="23360" y="133561"/>
                    </a:lnTo>
                    <a:cubicBezTo>
                      <a:pt x="22856" y="134198"/>
                      <a:pt x="22192" y="134702"/>
                      <a:pt x="21449" y="135020"/>
                    </a:cubicBezTo>
                    <a:cubicBezTo>
                      <a:pt x="14521" y="138020"/>
                      <a:pt x="10008" y="144816"/>
                      <a:pt x="10008" y="152355"/>
                    </a:cubicBezTo>
                    <a:cubicBezTo>
                      <a:pt x="10008" y="162761"/>
                      <a:pt x="18476" y="171229"/>
                      <a:pt x="28882" y="171229"/>
                    </a:cubicBezTo>
                    <a:cubicBezTo>
                      <a:pt x="39288" y="171229"/>
                      <a:pt x="47756" y="162761"/>
                      <a:pt x="47756" y="152355"/>
                    </a:cubicBezTo>
                    <a:cubicBezTo>
                      <a:pt x="47756" y="151054"/>
                      <a:pt x="47597" y="149727"/>
                      <a:pt x="47278" y="148294"/>
                    </a:cubicBezTo>
                    <a:cubicBezTo>
                      <a:pt x="46854" y="146409"/>
                      <a:pt x="47570" y="144471"/>
                      <a:pt x="49084" y="143276"/>
                    </a:cubicBezTo>
                    <a:cubicBezTo>
                      <a:pt x="49296" y="143117"/>
                      <a:pt x="49508" y="142958"/>
                      <a:pt x="49747" y="142852"/>
                    </a:cubicBezTo>
                    <a:lnTo>
                      <a:pt x="123227" y="10148"/>
                    </a:lnTo>
                    <a:lnTo>
                      <a:pt x="123227" y="10148"/>
                    </a:lnTo>
                    <a:cubicBezTo>
                      <a:pt x="123280" y="10148"/>
                      <a:pt x="123200" y="10095"/>
                      <a:pt x="123200" y="10095"/>
                    </a:cubicBezTo>
                    <a:close/>
                    <a:moveTo>
                      <a:pt x="119298" y="6936"/>
                    </a:moveTo>
                    <a:lnTo>
                      <a:pt x="119351" y="6936"/>
                    </a:lnTo>
                    <a:lnTo>
                      <a:pt x="119298" y="6936"/>
                    </a:lnTo>
                    <a:close/>
                  </a:path>
                </a:pathLst>
              </a:custGeom>
              <a:solidFill>
                <a:schemeClr val="accent1"/>
              </a:solidFill>
              <a:ln w="2653" cap="flat">
                <a:noFill/>
                <a:prstDash val="solid"/>
                <a:miter/>
              </a:ln>
            </p:spPr>
            <p:txBody>
              <a:bodyPr rtlCol="0" anchor="ctr"/>
              <a:lstStyle/>
              <a:p>
                <a:endParaRPr lang="en-GB" dirty="0"/>
              </a:p>
            </p:txBody>
          </p:sp>
        </p:grpSp>
        <p:grpSp>
          <p:nvGrpSpPr>
            <p:cNvPr id="77" name="Group 76">
              <a:extLst>
                <a:ext uri="{FF2B5EF4-FFF2-40B4-BE49-F238E27FC236}">
                  <a16:creationId xmlns:a16="http://schemas.microsoft.com/office/drawing/2014/main" id="{FDB7CBC1-34C6-47DC-A6B2-1ADB427E7DE0}"/>
                </a:ext>
              </a:extLst>
            </p:cNvPr>
            <p:cNvGrpSpPr/>
            <p:nvPr/>
          </p:nvGrpSpPr>
          <p:grpSpPr>
            <a:xfrm>
              <a:off x="2548186" y="1585984"/>
              <a:ext cx="673464" cy="285954"/>
              <a:chOff x="6890077" y="4171700"/>
              <a:chExt cx="585123" cy="248444"/>
            </a:xfrm>
            <a:solidFill>
              <a:schemeClr val="tx2"/>
            </a:solidFill>
          </p:grpSpPr>
          <p:sp>
            <p:nvSpPr>
              <p:cNvPr id="78" name="Freihandform: Form 610">
                <a:extLst>
                  <a:ext uri="{FF2B5EF4-FFF2-40B4-BE49-F238E27FC236}">
                    <a16:creationId xmlns:a16="http://schemas.microsoft.com/office/drawing/2014/main" id="{FC86E76E-BD6F-4BCD-894B-A81F79A34397}"/>
                  </a:ext>
                </a:extLst>
              </p:cNvPr>
              <p:cNvSpPr/>
              <p:nvPr/>
            </p:nvSpPr>
            <p:spPr>
              <a:xfrm>
                <a:off x="6890077" y="4171753"/>
                <a:ext cx="585123" cy="248391"/>
              </a:xfrm>
              <a:custGeom>
                <a:avLst/>
                <a:gdLst>
                  <a:gd name="connsiteX0" fmla="*/ 112588 w 585123"/>
                  <a:gd name="connsiteY0" fmla="*/ 248365 h 248391"/>
                  <a:gd name="connsiteX1" fmla="*/ 109057 w 585123"/>
                  <a:gd name="connsiteY1" fmla="*/ 246905 h 248391"/>
                  <a:gd name="connsiteX2" fmla="*/ 1466 w 585123"/>
                  <a:gd name="connsiteY2" fmla="*/ 139314 h 248391"/>
                  <a:gd name="connsiteX3" fmla="*/ 1227 w 585123"/>
                  <a:gd name="connsiteY3" fmla="*/ 132465 h 248391"/>
                  <a:gd name="connsiteX4" fmla="*/ 292597 w 585123"/>
                  <a:gd name="connsiteY4" fmla="*/ 0 h 248391"/>
                  <a:gd name="connsiteX5" fmla="*/ 583886 w 585123"/>
                  <a:gd name="connsiteY5" fmla="*/ 132359 h 248391"/>
                  <a:gd name="connsiteX6" fmla="*/ 583648 w 585123"/>
                  <a:gd name="connsiteY6" fmla="*/ 139207 h 248391"/>
                  <a:gd name="connsiteX7" fmla="*/ 476056 w 585123"/>
                  <a:gd name="connsiteY7" fmla="*/ 246799 h 248391"/>
                  <a:gd name="connsiteX8" fmla="*/ 472234 w 585123"/>
                  <a:gd name="connsiteY8" fmla="*/ 248258 h 248391"/>
                  <a:gd name="connsiteX9" fmla="*/ 468597 w 585123"/>
                  <a:gd name="connsiteY9" fmla="*/ 246374 h 248391"/>
                  <a:gd name="connsiteX10" fmla="*/ 398595 w 585123"/>
                  <a:gd name="connsiteY10" fmla="*/ 188079 h 248391"/>
                  <a:gd name="connsiteX11" fmla="*/ 396551 w 585123"/>
                  <a:gd name="connsiteY11" fmla="*/ 181309 h 248391"/>
                  <a:gd name="connsiteX12" fmla="*/ 403320 w 585123"/>
                  <a:gd name="connsiteY12" fmla="*/ 179265 h 248391"/>
                  <a:gd name="connsiteX13" fmla="*/ 472871 w 585123"/>
                  <a:gd name="connsiteY13" fmla="*/ 235809 h 248391"/>
                  <a:gd name="connsiteX14" fmla="*/ 573215 w 585123"/>
                  <a:gd name="connsiteY14" fmla="*/ 135464 h 248391"/>
                  <a:gd name="connsiteX15" fmla="*/ 292570 w 585123"/>
                  <a:gd name="connsiteY15" fmla="*/ 10034 h 248391"/>
                  <a:gd name="connsiteX16" fmla="*/ 11846 w 585123"/>
                  <a:gd name="connsiteY16" fmla="*/ 135544 h 248391"/>
                  <a:gd name="connsiteX17" fmla="*/ 112190 w 585123"/>
                  <a:gd name="connsiteY17" fmla="*/ 235888 h 248391"/>
                  <a:gd name="connsiteX18" fmla="*/ 292544 w 585123"/>
                  <a:gd name="connsiteY18" fmla="*/ 151604 h 248391"/>
                  <a:gd name="connsiteX19" fmla="*/ 347574 w 585123"/>
                  <a:gd name="connsiteY19" fmla="*/ 158082 h 248391"/>
                  <a:gd name="connsiteX20" fmla="*/ 351290 w 585123"/>
                  <a:gd name="connsiteY20" fmla="*/ 164134 h 248391"/>
                  <a:gd name="connsiteX21" fmla="*/ 345238 w 585123"/>
                  <a:gd name="connsiteY21" fmla="*/ 167851 h 248391"/>
                  <a:gd name="connsiteX22" fmla="*/ 292544 w 585123"/>
                  <a:gd name="connsiteY22" fmla="*/ 161665 h 248391"/>
                  <a:gd name="connsiteX23" fmla="*/ 116464 w 585123"/>
                  <a:gd name="connsiteY23" fmla="*/ 246506 h 248391"/>
                  <a:gd name="connsiteX24" fmla="*/ 112827 w 585123"/>
                  <a:gd name="connsiteY24" fmla="*/ 248391 h 248391"/>
                  <a:gd name="connsiteX25" fmla="*/ 112588 w 585123"/>
                  <a:gd name="connsiteY25" fmla="*/ 248365 h 248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85123" h="248391">
                    <a:moveTo>
                      <a:pt x="112588" y="248365"/>
                    </a:moveTo>
                    <a:cubicBezTo>
                      <a:pt x="111261" y="248365"/>
                      <a:pt x="109987" y="247834"/>
                      <a:pt x="109057" y="246905"/>
                    </a:cubicBezTo>
                    <a:lnTo>
                      <a:pt x="1466" y="139314"/>
                    </a:lnTo>
                    <a:cubicBezTo>
                      <a:pt x="-392" y="137455"/>
                      <a:pt x="-498" y="134456"/>
                      <a:pt x="1227" y="132465"/>
                    </a:cubicBezTo>
                    <a:cubicBezTo>
                      <a:pt x="74733" y="48287"/>
                      <a:pt x="180944" y="0"/>
                      <a:pt x="292597" y="0"/>
                    </a:cubicBezTo>
                    <a:cubicBezTo>
                      <a:pt x="404196" y="0"/>
                      <a:pt x="510354" y="48234"/>
                      <a:pt x="583886" y="132359"/>
                    </a:cubicBezTo>
                    <a:cubicBezTo>
                      <a:pt x="585612" y="134349"/>
                      <a:pt x="585532" y="137323"/>
                      <a:pt x="583648" y="139207"/>
                    </a:cubicBezTo>
                    <a:lnTo>
                      <a:pt x="476056" y="246799"/>
                    </a:lnTo>
                    <a:cubicBezTo>
                      <a:pt x="475048" y="247807"/>
                      <a:pt x="473667" y="248338"/>
                      <a:pt x="472234" y="248258"/>
                    </a:cubicBezTo>
                    <a:cubicBezTo>
                      <a:pt x="470800" y="248179"/>
                      <a:pt x="469500" y="247488"/>
                      <a:pt x="468597" y="246374"/>
                    </a:cubicBezTo>
                    <a:cubicBezTo>
                      <a:pt x="449325" y="222244"/>
                      <a:pt x="425778" y="202626"/>
                      <a:pt x="398595" y="188079"/>
                    </a:cubicBezTo>
                    <a:cubicBezTo>
                      <a:pt x="396153" y="186778"/>
                      <a:pt x="395224" y="183752"/>
                      <a:pt x="396551" y="181309"/>
                    </a:cubicBezTo>
                    <a:cubicBezTo>
                      <a:pt x="397852" y="178867"/>
                      <a:pt x="400878" y="177938"/>
                      <a:pt x="403320" y="179265"/>
                    </a:cubicBezTo>
                    <a:cubicBezTo>
                      <a:pt x="430052" y="193574"/>
                      <a:pt x="453439" y="212554"/>
                      <a:pt x="472871" y="235809"/>
                    </a:cubicBezTo>
                    <a:lnTo>
                      <a:pt x="573215" y="135464"/>
                    </a:lnTo>
                    <a:cubicBezTo>
                      <a:pt x="501727" y="55694"/>
                      <a:pt x="399710" y="10034"/>
                      <a:pt x="292570" y="10034"/>
                    </a:cubicBezTo>
                    <a:cubicBezTo>
                      <a:pt x="185377" y="10034"/>
                      <a:pt x="83334" y="55720"/>
                      <a:pt x="11846" y="135544"/>
                    </a:cubicBezTo>
                    <a:lnTo>
                      <a:pt x="112190" y="235888"/>
                    </a:lnTo>
                    <a:cubicBezTo>
                      <a:pt x="157053" y="182265"/>
                      <a:pt x="222462" y="151604"/>
                      <a:pt x="292544" y="151604"/>
                    </a:cubicBezTo>
                    <a:cubicBezTo>
                      <a:pt x="311153" y="151604"/>
                      <a:pt x="329655" y="153781"/>
                      <a:pt x="347574" y="158082"/>
                    </a:cubicBezTo>
                    <a:cubicBezTo>
                      <a:pt x="350281" y="158719"/>
                      <a:pt x="351927" y="161426"/>
                      <a:pt x="351290" y="164134"/>
                    </a:cubicBezTo>
                    <a:cubicBezTo>
                      <a:pt x="350626" y="166815"/>
                      <a:pt x="347919" y="168461"/>
                      <a:pt x="345238" y="167851"/>
                    </a:cubicBezTo>
                    <a:cubicBezTo>
                      <a:pt x="328089" y="163736"/>
                      <a:pt x="310383" y="161665"/>
                      <a:pt x="292544" y="161665"/>
                    </a:cubicBezTo>
                    <a:cubicBezTo>
                      <a:pt x="223657" y="161665"/>
                      <a:pt x="159495" y="192591"/>
                      <a:pt x="116464" y="246506"/>
                    </a:cubicBezTo>
                    <a:cubicBezTo>
                      <a:pt x="115588" y="247621"/>
                      <a:pt x="114261" y="248312"/>
                      <a:pt x="112827" y="248391"/>
                    </a:cubicBezTo>
                    <a:cubicBezTo>
                      <a:pt x="112774" y="248365"/>
                      <a:pt x="112668" y="248365"/>
                      <a:pt x="112588" y="248365"/>
                    </a:cubicBezTo>
                    <a:close/>
                  </a:path>
                </a:pathLst>
              </a:custGeom>
              <a:grpFill/>
              <a:ln w="2653" cap="flat">
                <a:noFill/>
                <a:prstDash val="solid"/>
                <a:miter/>
              </a:ln>
            </p:spPr>
            <p:txBody>
              <a:bodyPr rtlCol="0" anchor="ctr"/>
              <a:lstStyle/>
              <a:p>
                <a:endParaRPr lang="en-GB" dirty="0"/>
              </a:p>
            </p:txBody>
          </p:sp>
          <p:grpSp>
            <p:nvGrpSpPr>
              <p:cNvPr id="79" name="Grafik 78">
                <a:extLst>
                  <a:ext uri="{FF2B5EF4-FFF2-40B4-BE49-F238E27FC236}">
                    <a16:creationId xmlns:a16="http://schemas.microsoft.com/office/drawing/2014/main" id="{4C98B1B3-E0B0-4C42-B4FD-D71B2364FF07}"/>
                  </a:ext>
                </a:extLst>
              </p:cNvPr>
              <p:cNvGrpSpPr/>
              <p:nvPr/>
            </p:nvGrpSpPr>
            <p:grpSpPr>
              <a:xfrm>
                <a:off x="6956704" y="4171700"/>
                <a:ext cx="231172" cy="132916"/>
                <a:chOff x="6956704" y="4171700"/>
                <a:chExt cx="231172" cy="132916"/>
              </a:xfrm>
              <a:grpFill/>
            </p:grpSpPr>
            <p:sp>
              <p:nvSpPr>
                <p:cNvPr id="83" name="Freihandform: Form 614">
                  <a:extLst>
                    <a:ext uri="{FF2B5EF4-FFF2-40B4-BE49-F238E27FC236}">
                      <a16:creationId xmlns:a16="http://schemas.microsoft.com/office/drawing/2014/main" id="{7EA59D45-E0AF-4C79-AB0E-97551467E121}"/>
                    </a:ext>
                  </a:extLst>
                </p:cNvPr>
                <p:cNvSpPr/>
                <p:nvPr/>
              </p:nvSpPr>
              <p:spPr>
                <a:xfrm>
                  <a:off x="7177842" y="4171700"/>
                  <a:ext cx="10034" cy="63099"/>
                </a:xfrm>
                <a:custGeom>
                  <a:avLst/>
                  <a:gdLst>
                    <a:gd name="connsiteX0" fmla="*/ 5017 w 10034"/>
                    <a:gd name="connsiteY0" fmla="*/ 63100 h 63099"/>
                    <a:gd name="connsiteX1" fmla="*/ 0 w 10034"/>
                    <a:gd name="connsiteY1" fmla="*/ 58083 h 63099"/>
                    <a:gd name="connsiteX2" fmla="*/ 0 w 10034"/>
                    <a:gd name="connsiteY2" fmla="*/ 5017 h 63099"/>
                    <a:gd name="connsiteX3" fmla="*/ 5017 w 10034"/>
                    <a:gd name="connsiteY3" fmla="*/ 0 h 63099"/>
                    <a:gd name="connsiteX4" fmla="*/ 10034 w 10034"/>
                    <a:gd name="connsiteY4" fmla="*/ 5017 h 63099"/>
                    <a:gd name="connsiteX5" fmla="*/ 10034 w 10034"/>
                    <a:gd name="connsiteY5" fmla="*/ 58083 h 63099"/>
                    <a:gd name="connsiteX6" fmla="*/ 5017 w 10034"/>
                    <a:gd name="connsiteY6" fmla="*/ 63100 h 63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4" h="63099">
                      <a:moveTo>
                        <a:pt x="5017" y="63100"/>
                      </a:moveTo>
                      <a:cubicBezTo>
                        <a:pt x="2257" y="63100"/>
                        <a:pt x="0" y="60843"/>
                        <a:pt x="0" y="58083"/>
                      </a:cubicBezTo>
                      <a:lnTo>
                        <a:pt x="0" y="5017"/>
                      </a:lnTo>
                      <a:cubicBezTo>
                        <a:pt x="0" y="2256"/>
                        <a:pt x="2257" y="0"/>
                        <a:pt x="5017" y="0"/>
                      </a:cubicBezTo>
                      <a:cubicBezTo>
                        <a:pt x="7778" y="0"/>
                        <a:pt x="10034" y="2256"/>
                        <a:pt x="10034" y="5017"/>
                      </a:cubicBezTo>
                      <a:lnTo>
                        <a:pt x="10034" y="58083"/>
                      </a:lnTo>
                      <a:cubicBezTo>
                        <a:pt x="10034" y="60843"/>
                        <a:pt x="7805" y="63100"/>
                        <a:pt x="5017" y="63100"/>
                      </a:cubicBezTo>
                      <a:close/>
                    </a:path>
                  </a:pathLst>
                </a:custGeom>
                <a:grpFill/>
                <a:ln w="2653" cap="flat">
                  <a:noFill/>
                  <a:prstDash val="solid"/>
                  <a:miter/>
                </a:ln>
              </p:spPr>
              <p:txBody>
                <a:bodyPr rtlCol="0" anchor="ctr"/>
                <a:lstStyle/>
                <a:p>
                  <a:endParaRPr lang="en-GB" dirty="0"/>
                </a:p>
              </p:txBody>
            </p:sp>
            <p:sp>
              <p:nvSpPr>
                <p:cNvPr id="84" name="Freihandform: Form 615">
                  <a:extLst>
                    <a:ext uri="{FF2B5EF4-FFF2-40B4-BE49-F238E27FC236}">
                      <a16:creationId xmlns:a16="http://schemas.microsoft.com/office/drawing/2014/main" id="{264C6437-6E8E-41A3-A395-72413DB2B6BB}"/>
                    </a:ext>
                  </a:extLst>
                </p:cNvPr>
                <p:cNvSpPr/>
                <p:nvPr/>
              </p:nvSpPr>
              <p:spPr>
                <a:xfrm>
                  <a:off x="7064239" y="4189515"/>
                  <a:ext cx="30871" cy="64264"/>
                </a:xfrm>
                <a:custGeom>
                  <a:avLst/>
                  <a:gdLst>
                    <a:gd name="connsiteX0" fmla="*/ 25842 w 30871"/>
                    <a:gd name="connsiteY0" fmla="*/ 64265 h 64264"/>
                    <a:gd name="connsiteX1" fmla="*/ 21170 w 30871"/>
                    <a:gd name="connsiteY1" fmla="*/ 61053 h 64264"/>
                    <a:gd name="connsiteX2" fmla="*/ 331 w 30871"/>
                    <a:gd name="connsiteY2" fmla="*/ 6819 h 64264"/>
                    <a:gd name="connsiteX3" fmla="*/ 3224 w 30871"/>
                    <a:gd name="connsiteY3" fmla="*/ 342 h 64264"/>
                    <a:gd name="connsiteX4" fmla="*/ 9702 w 30871"/>
                    <a:gd name="connsiteY4" fmla="*/ 3235 h 64264"/>
                    <a:gd name="connsiteX5" fmla="*/ 30540 w 30871"/>
                    <a:gd name="connsiteY5" fmla="*/ 57469 h 64264"/>
                    <a:gd name="connsiteX6" fmla="*/ 27647 w 30871"/>
                    <a:gd name="connsiteY6" fmla="*/ 63946 h 64264"/>
                    <a:gd name="connsiteX7" fmla="*/ 25842 w 30871"/>
                    <a:gd name="connsiteY7" fmla="*/ 64265 h 64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71" h="64264">
                      <a:moveTo>
                        <a:pt x="25842" y="64265"/>
                      </a:moveTo>
                      <a:cubicBezTo>
                        <a:pt x="23824" y="64265"/>
                        <a:pt x="21939" y="63044"/>
                        <a:pt x="21170" y="61053"/>
                      </a:cubicBezTo>
                      <a:lnTo>
                        <a:pt x="331" y="6819"/>
                      </a:lnTo>
                      <a:cubicBezTo>
                        <a:pt x="-651" y="4244"/>
                        <a:pt x="623" y="1350"/>
                        <a:pt x="3224" y="342"/>
                      </a:cubicBezTo>
                      <a:cubicBezTo>
                        <a:pt x="5773" y="-667"/>
                        <a:pt x="8693" y="634"/>
                        <a:pt x="9702" y="3235"/>
                      </a:cubicBezTo>
                      <a:lnTo>
                        <a:pt x="30540" y="57469"/>
                      </a:lnTo>
                      <a:cubicBezTo>
                        <a:pt x="31523" y="60044"/>
                        <a:pt x="30248" y="62937"/>
                        <a:pt x="27647" y="63946"/>
                      </a:cubicBezTo>
                      <a:cubicBezTo>
                        <a:pt x="27063" y="64158"/>
                        <a:pt x="26452" y="64265"/>
                        <a:pt x="25842" y="64265"/>
                      </a:cubicBezTo>
                      <a:close/>
                    </a:path>
                  </a:pathLst>
                </a:custGeom>
                <a:grpFill/>
                <a:ln w="2653" cap="flat">
                  <a:noFill/>
                  <a:prstDash val="solid"/>
                  <a:miter/>
                </a:ln>
              </p:spPr>
              <p:txBody>
                <a:bodyPr rtlCol="0" anchor="ctr"/>
                <a:lstStyle/>
                <a:p>
                  <a:endParaRPr lang="en-GB" dirty="0"/>
                </a:p>
              </p:txBody>
            </p:sp>
            <p:sp>
              <p:nvSpPr>
                <p:cNvPr id="85" name="Freihandform: Form 616">
                  <a:extLst>
                    <a:ext uri="{FF2B5EF4-FFF2-40B4-BE49-F238E27FC236}">
                      <a16:creationId xmlns:a16="http://schemas.microsoft.com/office/drawing/2014/main" id="{9D56921A-9DC4-46AB-BFA6-4224ED521907}"/>
                    </a:ext>
                  </a:extLst>
                </p:cNvPr>
                <p:cNvSpPr/>
                <p:nvPr/>
              </p:nvSpPr>
              <p:spPr>
                <a:xfrm>
                  <a:off x="6956704" y="4243152"/>
                  <a:ext cx="44020" cy="61463"/>
                </a:xfrm>
                <a:custGeom>
                  <a:avLst/>
                  <a:gdLst>
                    <a:gd name="connsiteX0" fmla="*/ 39032 w 44020"/>
                    <a:gd name="connsiteY0" fmla="*/ 61464 h 61463"/>
                    <a:gd name="connsiteX1" fmla="*/ 34838 w 44020"/>
                    <a:gd name="connsiteY1" fmla="*/ 59207 h 61463"/>
                    <a:gd name="connsiteX2" fmla="*/ 832 w 44020"/>
                    <a:gd name="connsiteY2" fmla="*/ 7761 h 61463"/>
                    <a:gd name="connsiteX3" fmla="*/ 2266 w 44020"/>
                    <a:gd name="connsiteY3" fmla="*/ 832 h 61463"/>
                    <a:gd name="connsiteX4" fmla="*/ 9195 w 44020"/>
                    <a:gd name="connsiteY4" fmla="*/ 2266 h 61463"/>
                    <a:gd name="connsiteX5" fmla="*/ 43200 w 44020"/>
                    <a:gd name="connsiteY5" fmla="*/ 53712 h 61463"/>
                    <a:gd name="connsiteX6" fmla="*/ 41766 w 44020"/>
                    <a:gd name="connsiteY6" fmla="*/ 60641 h 61463"/>
                    <a:gd name="connsiteX7" fmla="*/ 39032 w 44020"/>
                    <a:gd name="connsiteY7" fmla="*/ 61464 h 6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20" h="61463">
                      <a:moveTo>
                        <a:pt x="39032" y="61464"/>
                      </a:moveTo>
                      <a:cubicBezTo>
                        <a:pt x="37413" y="61464"/>
                        <a:pt x="35820" y="60667"/>
                        <a:pt x="34838" y="59207"/>
                      </a:cubicBezTo>
                      <a:lnTo>
                        <a:pt x="832" y="7761"/>
                      </a:lnTo>
                      <a:cubicBezTo>
                        <a:pt x="-707" y="5451"/>
                        <a:pt x="-44" y="2346"/>
                        <a:pt x="2266" y="832"/>
                      </a:cubicBezTo>
                      <a:cubicBezTo>
                        <a:pt x="4575" y="-707"/>
                        <a:pt x="7681" y="-44"/>
                        <a:pt x="9195" y="2266"/>
                      </a:cubicBezTo>
                      <a:lnTo>
                        <a:pt x="43200" y="53712"/>
                      </a:lnTo>
                      <a:cubicBezTo>
                        <a:pt x="44713" y="56022"/>
                        <a:pt x="44076" y="59128"/>
                        <a:pt x="41766" y="60641"/>
                      </a:cubicBezTo>
                      <a:cubicBezTo>
                        <a:pt x="40944" y="61198"/>
                        <a:pt x="39988" y="61464"/>
                        <a:pt x="39032" y="61464"/>
                      </a:cubicBezTo>
                      <a:close/>
                    </a:path>
                  </a:pathLst>
                </a:custGeom>
                <a:grpFill/>
                <a:ln w="2653" cap="flat">
                  <a:noFill/>
                  <a:prstDash val="solid"/>
                  <a:miter/>
                </a:ln>
              </p:spPr>
              <p:txBody>
                <a:bodyPr rtlCol="0" anchor="ctr"/>
                <a:lstStyle/>
                <a:p>
                  <a:endParaRPr lang="en-GB" dirty="0"/>
                </a:p>
              </p:txBody>
            </p:sp>
          </p:grpSp>
          <p:grpSp>
            <p:nvGrpSpPr>
              <p:cNvPr id="80" name="Grafik 78">
                <a:extLst>
                  <a:ext uri="{FF2B5EF4-FFF2-40B4-BE49-F238E27FC236}">
                    <a16:creationId xmlns:a16="http://schemas.microsoft.com/office/drawing/2014/main" id="{6C99CC30-2B47-4EEF-A49F-B9857AF6F5F2}"/>
                  </a:ext>
                </a:extLst>
              </p:cNvPr>
              <p:cNvGrpSpPr/>
              <p:nvPr/>
            </p:nvGrpSpPr>
            <p:grpSpPr>
              <a:xfrm>
                <a:off x="7270346" y="4189500"/>
                <a:ext cx="138311" cy="115115"/>
                <a:chOff x="7270346" y="4189500"/>
                <a:chExt cx="138311" cy="115115"/>
              </a:xfrm>
              <a:grpFill/>
            </p:grpSpPr>
            <p:sp>
              <p:nvSpPr>
                <p:cNvPr id="81" name="Freihandform: Form 618">
                  <a:extLst>
                    <a:ext uri="{FF2B5EF4-FFF2-40B4-BE49-F238E27FC236}">
                      <a16:creationId xmlns:a16="http://schemas.microsoft.com/office/drawing/2014/main" id="{ABEB2497-CB60-4C77-9F08-94E1D444A2B5}"/>
                    </a:ext>
                  </a:extLst>
                </p:cNvPr>
                <p:cNvSpPr/>
                <p:nvPr/>
              </p:nvSpPr>
              <p:spPr>
                <a:xfrm>
                  <a:off x="7270346" y="4189500"/>
                  <a:ext cx="30864" cy="64280"/>
                </a:xfrm>
                <a:custGeom>
                  <a:avLst/>
                  <a:gdLst>
                    <a:gd name="connsiteX0" fmla="*/ 5026 w 30864"/>
                    <a:gd name="connsiteY0" fmla="*/ 64280 h 64280"/>
                    <a:gd name="connsiteX1" fmla="*/ 3221 w 30864"/>
                    <a:gd name="connsiteY1" fmla="*/ 63935 h 64280"/>
                    <a:gd name="connsiteX2" fmla="*/ 328 w 30864"/>
                    <a:gd name="connsiteY2" fmla="*/ 57458 h 64280"/>
                    <a:gd name="connsiteX3" fmla="*/ 21166 w 30864"/>
                    <a:gd name="connsiteY3" fmla="*/ 3224 h 64280"/>
                    <a:gd name="connsiteX4" fmla="*/ 27644 w 30864"/>
                    <a:gd name="connsiteY4" fmla="*/ 331 h 64280"/>
                    <a:gd name="connsiteX5" fmla="*/ 30537 w 30864"/>
                    <a:gd name="connsiteY5" fmla="*/ 6808 h 64280"/>
                    <a:gd name="connsiteX6" fmla="*/ 9698 w 30864"/>
                    <a:gd name="connsiteY6" fmla="*/ 61042 h 64280"/>
                    <a:gd name="connsiteX7" fmla="*/ 5026 w 30864"/>
                    <a:gd name="connsiteY7" fmla="*/ 64280 h 6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64" h="64280">
                      <a:moveTo>
                        <a:pt x="5026" y="64280"/>
                      </a:moveTo>
                      <a:cubicBezTo>
                        <a:pt x="4416" y="64280"/>
                        <a:pt x="3832" y="64174"/>
                        <a:pt x="3221" y="63935"/>
                      </a:cubicBezTo>
                      <a:cubicBezTo>
                        <a:pt x="646" y="62953"/>
                        <a:pt x="-654" y="60033"/>
                        <a:pt x="328" y="57458"/>
                      </a:cubicBezTo>
                      <a:lnTo>
                        <a:pt x="21166" y="3224"/>
                      </a:lnTo>
                      <a:cubicBezTo>
                        <a:pt x="22149" y="623"/>
                        <a:pt x="25095" y="-651"/>
                        <a:pt x="27644" y="331"/>
                      </a:cubicBezTo>
                      <a:cubicBezTo>
                        <a:pt x="30218" y="1313"/>
                        <a:pt x="31519" y="4233"/>
                        <a:pt x="30537" y="6808"/>
                      </a:cubicBezTo>
                      <a:lnTo>
                        <a:pt x="9698" y="61042"/>
                      </a:lnTo>
                      <a:cubicBezTo>
                        <a:pt x="8929" y="63059"/>
                        <a:pt x="7017" y="64280"/>
                        <a:pt x="5026" y="64280"/>
                      </a:cubicBezTo>
                      <a:close/>
                    </a:path>
                  </a:pathLst>
                </a:custGeom>
                <a:grpFill/>
                <a:ln w="2653" cap="flat">
                  <a:noFill/>
                  <a:prstDash val="solid"/>
                  <a:miter/>
                </a:ln>
              </p:spPr>
              <p:txBody>
                <a:bodyPr rtlCol="0" anchor="ctr"/>
                <a:lstStyle/>
                <a:p>
                  <a:endParaRPr lang="en-GB" dirty="0"/>
                </a:p>
              </p:txBody>
            </p:sp>
            <p:sp>
              <p:nvSpPr>
                <p:cNvPr id="82" name="Freihandform: Form 619">
                  <a:extLst>
                    <a:ext uri="{FF2B5EF4-FFF2-40B4-BE49-F238E27FC236}">
                      <a16:creationId xmlns:a16="http://schemas.microsoft.com/office/drawing/2014/main" id="{F68BED24-1CD4-4547-8C8D-445AFA6AC09F}"/>
                    </a:ext>
                  </a:extLst>
                </p:cNvPr>
                <p:cNvSpPr/>
                <p:nvPr/>
              </p:nvSpPr>
              <p:spPr>
                <a:xfrm>
                  <a:off x="7364675" y="4243164"/>
                  <a:ext cx="43982" cy="61451"/>
                </a:xfrm>
                <a:custGeom>
                  <a:avLst/>
                  <a:gdLst>
                    <a:gd name="connsiteX0" fmla="*/ 5015 w 43982"/>
                    <a:gd name="connsiteY0" fmla="*/ 61452 h 61451"/>
                    <a:gd name="connsiteX1" fmla="*/ 2254 w 43982"/>
                    <a:gd name="connsiteY1" fmla="*/ 60629 h 61451"/>
                    <a:gd name="connsiteX2" fmla="*/ 821 w 43982"/>
                    <a:gd name="connsiteY2" fmla="*/ 53701 h 61451"/>
                    <a:gd name="connsiteX3" fmla="*/ 34800 w 43982"/>
                    <a:gd name="connsiteY3" fmla="*/ 2254 h 61451"/>
                    <a:gd name="connsiteX4" fmla="*/ 41728 w 43982"/>
                    <a:gd name="connsiteY4" fmla="*/ 821 h 61451"/>
                    <a:gd name="connsiteX5" fmla="*/ 43162 w 43982"/>
                    <a:gd name="connsiteY5" fmla="*/ 7749 h 61451"/>
                    <a:gd name="connsiteX6" fmla="*/ 9183 w 43982"/>
                    <a:gd name="connsiteY6" fmla="*/ 59195 h 61451"/>
                    <a:gd name="connsiteX7" fmla="*/ 5015 w 43982"/>
                    <a:gd name="connsiteY7" fmla="*/ 61452 h 61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982" h="61451">
                      <a:moveTo>
                        <a:pt x="5015" y="61452"/>
                      </a:moveTo>
                      <a:cubicBezTo>
                        <a:pt x="4059" y="61452"/>
                        <a:pt x="3104" y="61186"/>
                        <a:pt x="2254" y="60629"/>
                      </a:cubicBezTo>
                      <a:cubicBezTo>
                        <a:pt x="-55" y="59089"/>
                        <a:pt x="-692" y="56010"/>
                        <a:pt x="821" y="53701"/>
                      </a:cubicBezTo>
                      <a:lnTo>
                        <a:pt x="34800" y="2254"/>
                      </a:lnTo>
                      <a:cubicBezTo>
                        <a:pt x="36339" y="-55"/>
                        <a:pt x="39445" y="-692"/>
                        <a:pt x="41728" y="821"/>
                      </a:cubicBezTo>
                      <a:cubicBezTo>
                        <a:pt x="44038" y="2334"/>
                        <a:pt x="44675" y="5440"/>
                        <a:pt x="43162" y="7749"/>
                      </a:cubicBezTo>
                      <a:lnTo>
                        <a:pt x="9183" y="59195"/>
                      </a:lnTo>
                      <a:cubicBezTo>
                        <a:pt x="8254" y="60656"/>
                        <a:pt x="6661" y="61452"/>
                        <a:pt x="5015" y="61452"/>
                      </a:cubicBezTo>
                      <a:close/>
                    </a:path>
                  </a:pathLst>
                </a:custGeom>
                <a:grpFill/>
                <a:ln w="2653" cap="flat">
                  <a:noFill/>
                  <a:prstDash val="solid"/>
                  <a:miter/>
                </a:ln>
              </p:spPr>
              <p:txBody>
                <a:bodyPr rtlCol="0" anchor="ctr"/>
                <a:lstStyle/>
                <a:p>
                  <a:endParaRPr lang="en-GB" dirty="0"/>
                </a:p>
              </p:txBody>
            </p:sp>
          </p:grpSp>
        </p:grpSp>
      </p:grpSp>
      <p:grpSp>
        <p:nvGrpSpPr>
          <p:cNvPr id="26" name="Group 25">
            <a:extLst>
              <a:ext uri="{FF2B5EF4-FFF2-40B4-BE49-F238E27FC236}">
                <a16:creationId xmlns:a16="http://schemas.microsoft.com/office/drawing/2014/main" id="{679F3466-6BCC-4B99-9438-D85449486E4C}"/>
              </a:ext>
            </a:extLst>
          </p:cNvPr>
          <p:cNvGrpSpPr/>
          <p:nvPr/>
        </p:nvGrpSpPr>
        <p:grpSpPr>
          <a:xfrm>
            <a:off x="3798141" y="1585984"/>
            <a:ext cx="264420" cy="432000"/>
            <a:chOff x="3798141" y="1585984"/>
            <a:chExt cx="264420" cy="432000"/>
          </a:xfrm>
        </p:grpSpPr>
        <p:sp>
          <p:nvSpPr>
            <p:cNvPr id="89" name="Freihandform: Form 603">
              <a:extLst>
                <a:ext uri="{FF2B5EF4-FFF2-40B4-BE49-F238E27FC236}">
                  <a16:creationId xmlns:a16="http://schemas.microsoft.com/office/drawing/2014/main" id="{7DF4BBEE-995A-4D4B-BE2B-816629FA8366}"/>
                </a:ext>
              </a:extLst>
            </p:cNvPr>
            <p:cNvSpPr/>
            <p:nvPr/>
          </p:nvSpPr>
          <p:spPr>
            <a:xfrm>
              <a:off x="3798141" y="1585984"/>
              <a:ext cx="264420" cy="432000"/>
            </a:xfrm>
            <a:custGeom>
              <a:avLst/>
              <a:gdLst>
                <a:gd name="connsiteX0" fmla="*/ 116243 w 217060"/>
                <a:gd name="connsiteY0" fmla="*/ 354625 h 354625"/>
                <a:gd name="connsiteX1" fmla="*/ 106372 w 217060"/>
                <a:gd name="connsiteY1" fmla="*/ 354625 h 354625"/>
                <a:gd name="connsiteX2" fmla="*/ 106372 w 217060"/>
                <a:gd name="connsiteY2" fmla="*/ 314193 h 354625"/>
                <a:gd name="connsiteX3" fmla="*/ 117191 w 217060"/>
                <a:gd name="connsiteY3" fmla="*/ 314167 h 354625"/>
                <a:gd name="connsiteX4" fmla="*/ 163625 w 217060"/>
                <a:gd name="connsiteY4" fmla="*/ 265785 h 354625"/>
                <a:gd name="connsiteX5" fmla="*/ 163625 w 217060"/>
                <a:gd name="connsiteY5" fmla="*/ 204557 h 354625"/>
                <a:gd name="connsiteX6" fmla="*/ 207163 w 217060"/>
                <a:gd name="connsiteY6" fmla="*/ 204557 h 354625"/>
                <a:gd name="connsiteX7" fmla="*/ 207163 w 217060"/>
                <a:gd name="connsiteY7" fmla="*/ 101765 h 354625"/>
                <a:gd name="connsiteX8" fmla="*/ 115296 w 217060"/>
                <a:gd name="connsiteY8" fmla="*/ 9898 h 354625"/>
                <a:gd name="connsiteX9" fmla="*/ 101739 w 217060"/>
                <a:gd name="connsiteY9" fmla="*/ 9898 h 354625"/>
                <a:gd name="connsiteX10" fmla="*/ 9871 w 217060"/>
                <a:gd name="connsiteY10" fmla="*/ 101765 h 354625"/>
                <a:gd name="connsiteX11" fmla="*/ 9871 w 217060"/>
                <a:gd name="connsiteY11" fmla="*/ 222299 h 354625"/>
                <a:gd name="connsiteX12" fmla="*/ 9950 w 217060"/>
                <a:gd name="connsiteY12" fmla="*/ 224089 h 354625"/>
                <a:gd name="connsiteX13" fmla="*/ 10240 w 217060"/>
                <a:gd name="connsiteY13" fmla="*/ 230775 h 354625"/>
                <a:gd name="connsiteX14" fmla="*/ 9871 w 217060"/>
                <a:gd name="connsiteY14" fmla="*/ 230775 h 354625"/>
                <a:gd name="connsiteX15" fmla="*/ 9871 w 217060"/>
                <a:gd name="connsiteY15" fmla="*/ 354599 h 354625"/>
                <a:gd name="connsiteX16" fmla="*/ 0 w 217060"/>
                <a:gd name="connsiteY16" fmla="*/ 354599 h 354625"/>
                <a:gd name="connsiteX17" fmla="*/ 0 w 217060"/>
                <a:gd name="connsiteY17" fmla="*/ 101765 h 354625"/>
                <a:gd name="connsiteX18" fmla="*/ 101765 w 217060"/>
                <a:gd name="connsiteY18" fmla="*/ 0 h 354625"/>
                <a:gd name="connsiteX19" fmla="*/ 115322 w 217060"/>
                <a:gd name="connsiteY19" fmla="*/ 0 h 354625"/>
                <a:gd name="connsiteX20" fmla="*/ 217061 w 217060"/>
                <a:gd name="connsiteY20" fmla="*/ 101765 h 354625"/>
                <a:gd name="connsiteX21" fmla="*/ 217061 w 217060"/>
                <a:gd name="connsiteY21" fmla="*/ 214428 h 354625"/>
                <a:gd name="connsiteX22" fmla="*/ 173522 w 217060"/>
                <a:gd name="connsiteY22" fmla="*/ 214428 h 354625"/>
                <a:gd name="connsiteX23" fmla="*/ 173522 w 217060"/>
                <a:gd name="connsiteY23" fmla="*/ 265785 h 354625"/>
                <a:gd name="connsiteX24" fmla="*/ 117401 w 217060"/>
                <a:gd name="connsiteY24" fmla="*/ 324038 h 354625"/>
                <a:gd name="connsiteX25" fmla="*/ 116243 w 217060"/>
                <a:gd name="connsiteY25" fmla="*/ 324064 h 354625"/>
                <a:gd name="connsiteX26" fmla="*/ 116243 w 217060"/>
                <a:gd name="connsiteY26" fmla="*/ 354625 h 35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7060" h="354625">
                  <a:moveTo>
                    <a:pt x="116243" y="354625"/>
                  </a:moveTo>
                  <a:lnTo>
                    <a:pt x="106372" y="354625"/>
                  </a:lnTo>
                  <a:lnTo>
                    <a:pt x="106372" y="314193"/>
                  </a:lnTo>
                  <a:lnTo>
                    <a:pt x="117191" y="314167"/>
                  </a:lnTo>
                  <a:cubicBezTo>
                    <a:pt x="142803" y="313640"/>
                    <a:pt x="163625" y="291950"/>
                    <a:pt x="163625" y="265785"/>
                  </a:cubicBezTo>
                  <a:lnTo>
                    <a:pt x="163625" y="204557"/>
                  </a:lnTo>
                  <a:lnTo>
                    <a:pt x="207163" y="204557"/>
                  </a:lnTo>
                  <a:lnTo>
                    <a:pt x="207163" y="101765"/>
                  </a:lnTo>
                  <a:cubicBezTo>
                    <a:pt x="207163" y="51093"/>
                    <a:pt x="165941" y="9898"/>
                    <a:pt x="115296" y="9898"/>
                  </a:cubicBezTo>
                  <a:lnTo>
                    <a:pt x="101739" y="9898"/>
                  </a:lnTo>
                  <a:cubicBezTo>
                    <a:pt x="51067" y="9898"/>
                    <a:pt x="9871" y="51120"/>
                    <a:pt x="9871" y="101765"/>
                  </a:cubicBezTo>
                  <a:lnTo>
                    <a:pt x="9871" y="222299"/>
                  </a:lnTo>
                  <a:cubicBezTo>
                    <a:pt x="9871" y="222904"/>
                    <a:pt x="9924" y="223484"/>
                    <a:pt x="9950" y="224089"/>
                  </a:cubicBezTo>
                  <a:lnTo>
                    <a:pt x="10240" y="230775"/>
                  </a:lnTo>
                  <a:lnTo>
                    <a:pt x="9871" y="230775"/>
                  </a:lnTo>
                  <a:lnTo>
                    <a:pt x="9871" y="354599"/>
                  </a:lnTo>
                  <a:lnTo>
                    <a:pt x="0" y="354599"/>
                  </a:lnTo>
                  <a:lnTo>
                    <a:pt x="0" y="101765"/>
                  </a:lnTo>
                  <a:cubicBezTo>
                    <a:pt x="0" y="45671"/>
                    <a:pt x="45644" y="0"/>
                    <a:pt x="101765" y="0"/>
                  </a:cubicBezTo>
                  <a:lnTo>
                    <a:pt x="115322" y="0"/>
                  </a:lnTo>
                  <a:cubicBezTo>
                    <a:pt x="171417" y="0"/>
                    <a:pt x="217061" y="45644"/>
                    <a:pt x="217061" y="101765"/>
                  </a:cubicBezTo>
                  <a:lnTo>
                    <a:pt x="217061" y="214428"/>
                  </a:lnTo>
                  <a:lnTo>
                    <a:pt x="173522" y="214428"/>
                  </a:lnTo>
                  <a:lnTo>
                    <a:pt x="173522" y="265785"/>
                  </a:lnTo>
                  <a:cubicBezTo>
                    <a:pt x="173522" y="297267"/>
                    <a:pt x="148357" y="323406"/>
                    <a:pt x="117401" y="324038"/>
                  </a:cubicBezTo>
                  <a:lnTo>
                    <a:pt x="116243" y="324064"/>
                  </a:lnTo>
                  <a:lnTo>
                    <a:pt x="116243" y="354625"/>
                  </a:lnTo>
                  <a:close/>
                </a:path>
              </a:pathLst>
            </a:custGeom>
            <a:solidFill>
              <a:schemeClr val="tx2"/>
            </a:solidFill>
            <a:ln w="2631" cap="flat">
              <a:noFill/>
              <a:prstDash val="solid"/>
              <a:miter/>
            </a:ln>
          </p:spPr>
          <p:txBody>
            <a:bodyPr rtlCol="0" anchor="ctr"/>
            <a:lstStyle/>
            <a:p>
              <a:endParaRPr lang="en-GB" dirty="0"/>
            </a:p>
          </p:txBody>
        </p:sp>
        <p:grpSp>
          <p:nvGrpSpPr>
            <p:cNvPr id="90" name="Grafik 84">
              <a:extLst>
                <a:ext uri="{FF2B5EF4-FFF2-40B4-BE49-F238E27FC236}">
                  <a16:creationId xmlns:a16="http://schemas.microsoft.com/office/drawing/2014/main" id="{A2A2A92D-B78E-4D8A-ABC6-CBA4C5B8094D}"/>
                </a:ext>
              </a:extLst>
            </p:cNvPr>
            <p:cNvGrpSpPr/>
            <p:nvPr/>
          </p:nvGrpSpPr>
          <p:grpSpPr>
            <a:xfrm>
              <a:off x="3846497" y="1644313"/>
              <a:ext cx="136282" cy="271891"/>
              <a:chOff x="2719510" y="3411151"/>
              <a:chExt cx="111873" cy="223193"/>
            </a:xfrm>
            <a:solidFill>
              <a:schemeClr val="accent1"/>
            </a:solidFill>
          </p:grpSpPr>
          <p:sp>
            <p:nvSpPr>
              <p:cNvPr id="91" name="Freihandform: Form 605">
                <a:extLst>
                  <a:ext uri="{FF2B5EF4-FFF2-40B4-BE49-F238E27FC236}">
                    <a16:creationId xmlns:a16="http://schemas.microsoft.com/office/drawing/2014/main" id="{8178D32B-5C9E-43CE-8A9E-22A17AEDC6D5}"/>
                  </a:ext>
                </a:extLst>
              </p:cNvPr>
              <p:cNvSpPr/>
              <p:nvPr/>
            </p:nvSpPr>
            <p:spPr>
              <a:xfrm>
                <a:off x="2753520" y="3411151"/>
                <a:ext cx="39010" cy="39010"/>
              </a:xfrm>
              <a:custGeom>
                <a:avLst/>
                <a:gdLst>
                  <a:gd name="connsiteX0" fmla="*/ 19506 w 39010"/>
                  <a:gd name="connsiteY0" fmla="*/ 39011 h 39010"/>
                  <a:gd name="connsiteX1" fmla="*/ 0 w 39010"/>
                  <a:gd name="connsiteY1" fmla="*/ 19505 h 39010"/>
                  <a:gd name="connsiteX2" fmla="*/ 19506 w 39010"/>
                  <a:gd name="connsiteY2" fmla="*/ 0 h 39010"/>
                  <a:gd name="connsiteX3" fmla="*/ 39011 w 39010"/>
                  <a:gd name="connsiteY3" fmla="*/ 19505 h 39010"/>
                  <a:gd name="connsiteX4" fmla="*/ 19506 w 39010"/>
                  <a:gd name="connsiteY4" fmla="*/ 39011 h 39010"/>
                  <a:gd name="connsiteX5" fmla="*/ 19506 w 39010"/>
                  <a:gd name="connsiteY5" fmla="*/ 9871 h 39010"/>
                  <a:gd name="connsiteX6" fmla="*/ 9871 w 39010"/>
                  <a:gd name="connsiteY6" fmla="*/ 19505 h 39010"/>
                  <a:gd name="connsiteX7" fmla="*/ 19506 w 39010"/>
                  <a:gd name="connsiteY7" fmla="*/ 29140 h 39010"/>
                  <a:gd name="connsiteX8" fmla="*/ 29140 w 39010"/>
                  <a:gd name="connsiteY8" fmla="*/ 19505 h 39010"/>
                  <a:gd name="connsiteX9" fmla="*/ 19506 w 39010"/>
                  <a:gd name="connsiteY9" fmla="*/ 9871 h 39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10" h="39010">
                    <a:moveTo>
                      <a:pt x="19506" y="39011"/>
                    </a:moveTo>
                    <a:cubicBezTo>
                      <a:pt x="8739" y="39011"/>
                      <a:pt x="0" y="30272"/>
                      <a:pt x="0" y="19505"/>
                    </a:cubicBezTo>
                    <a:cubicBezTo>
                      <a:pt x="0" y="8739"/>
                      <a:pt x="8739" y="0"/>
                      <a:pt x="19506" y="0"/>
                    </a:cubicBezTo>
                    <a:cubicBezTo>
                      <a:pt x="30272" y="0"/>
                      <a:pt x="39011" y="8739"/>
                      <a:pt x="39011" y="19505"/>
                    </a:cubicBezTo>
                    <a:cubicBezTo>
                      <a:pt x="39011" y="30272"/>
                      <a:pt x="30272" y="39011"/>
                      <a:pt x="19506" y="39011"/>
                    </a:cubicBezTo>
                    <a:close/>
                    <a:moveTo>
                      <a:pt x="19506" y="9871"/>
                    </a:moveTo>
                    <a:cubicBezTo>
                      <a:pt x="14188" y="9871"/>
                      <a:pt x="9871" y="14188"/>
                      <a:pt x="9871" y="19505"/>
                    </a:cubicBezTo>
                    <a:cubicBezTo>
                      <a:pt x="9871" y="24823"/>
                      <a:pt x="14188" y="29140"/>
                      <a:pt x="19506" y="29140"/>
                    </a:cubicBezTo>
                    <a:cubicBezTo>
                      <a:pt x="24823" y="29140"/>
                      <a:pt x="29140" y="24823"/>
                      <a:pt x="29140" y="19505"/>
                    </a:cubicBezTo>
                    <a:cubicBezTo>
                      <a:pt x="29140" y="14188"/>
                      <a:pt x="24823" y="9871"/>
                      <a:pt x="19506" y="9871"/>
                    </a:cubicBezTo>
                    <a:close/>
                  </a:path>
                </a:pathLst>
              </a:custGeom>
              <a:solidFill>
                <a:schemeClr val="accent1"/>
              </a:solidFill>
              <a:ln w="2631" cap="flat">
                <a:noFill/>
                <a:prstDash val="solid"/>
                <a:miter/>
              </a:ln>
            </p:spPr>
            <p:txBody>
              <a:bodyPr rtlCol="0" anchor="ctr"/>
              <a:lstStyle/>
              <a:p>
                <a:endParaRPr lang="en-GB" dirty="0"/>
              </a:p>
            </p:txBody>
          </p:sp>
          <p:sp>
            <p:nvSpPr>
              <p:cNvPr id="92" name="Freihandform: Form 606">
                <a:extLst>
                  <a:ext uri="{FF2B5EF4-FFF2-40B4-BE49-F238E27FC236}">
                    <a16:creationId xmlns:a16="http://schemas.microsoft.com/office/drawing/2014/main" id="{C365CEB2-9FB5-4DCE-A6FF-6EE8DBF62322}"/>
                  </a:ext>
                </a:extLst>
              </p:cNvPr>
              <p:cNvSpPr/>
              <p:nvPr/>
            </p:nvSpPr>
            <p:spPr>
              <a:xfrm>
                <a:off x="2792373" y="3466983"/>
                <a:ext cx="39010" cy="39010"/>
              </a:xfrm>
              <a:custGeom>
                <a:avLst/>
                <a:gdLst>
                  <a:gd name="connsiteX0" fmla="*/ 19506 w 39010"/>
                  <a:gd name="connsiteY0" fmla="*/ 39011 h 39010"/>
                  <a:gd name="connsiteX1" fmla="*/ 0 w 39010"/>
                  <a:gd name="connsiteY1" fmla="*/ 19505 h 39010"/>
                  <a:gd name="connsiteX2" fmla="*/ 19506 w 39010"/>
                  <a:gd name="connsiteY2" fmla="*/ 0 h 39010"/>
                  <a:gd name="connsiteX3" fmla="*/ 39011 w 39010"/>
                  <a:gd name="connsiteY3" fmla="*/ 19505 h 39010"/>
                  <a:gd name="connsiteX4" fmla="*/ 19506 w 39010"/>
                  <a:gd name="connsiteY4" fmla="*/ 39011 h 39010"/>
                  <a:gd name="connsiteX5" fmla="*/ 19506 w 39010"/>
                  <a:gd name="connsiteY5" fmla="*/ 9871 h 39010"/>
                  <a:gd name="connsiteX6" fmla="*/ 9871 w 39010"/>
                  <a:gd name="connsiteY6" fmla="*/ 19505 h 39010"/>
                  <a:gd name="connsiteX7" fmla="*/ 19506 w 39010"/>
                  <a:gd name="connsiteY7" fmla="*/ 29140 h 39010"/>
                  <a:gd name="connsiteX8" fmla="*/ 29140 w 39010"/>
                  <a:gd name="connsiteY8" fmla="*/ 19505 h 39010"/>
                  <a:gd name="connsiteX9" fmla="*/ 19506 w 39010"/>
                  <a:gd name="connsiteY9" fmla="*/ 9871 h 39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10" h="39010">
                    <a:moveTo>
                      <a:pt x="19506" y="39011"/>
                    </a:moveTo>
                    <a:cubicBezTo>
                      <a:pt x="8739" y="39011"/>
                      <a:pt x="0" y="30272"/>
                      <a:pt x="0" y="19505"/>
                    </a:cubicBezTo>
                    <a:cubicBezTo>
                      <a:pt x="0" y="8739"/>
                      <a:pt x="8739" y="0"/>
                      <a:pt x="19506" y="0"/>
                    </a:cubicBezTo>
                    <a:cubicBezTo>
                      <a:pt x="30272" y="0"/>
                      <a:pt x="39011" y="8739"/>
                      <a:pt x="39011" y="19505"/>
                    </a:cubicBezTo>
                    <a:cubicBezTo>
                      <a:pt x="39037" y="30272"/>
                      <a:pt x="30272" y="39011"/>
                      <a:pt x="19506" y="39011"/>
                    </a:cubicBezTo>
                    <a:close/>
                    <a:moveTo>
                      <a:pt x="19506" y="9871"/>
                    </a:moveTo>
                    <a:cubicBezTo>
                      <a:pt x="14188" y="9871"/>
                      <a:pt x="9871" y="14188"/>
                      <a:pt x="9871" y="19505"/>
                    </a:cubicBezTo>
                    <a:cubicBezTo>
                      <a:pt x="9871" y="24823"/>
                      <a:pt x="14188" y="29140"/>
                      <a:pt x="19506" y="29140"/>
                    </a:cubicBezTo>
                    <a:cubicBezTo>
                      <a:pt x="24823" y="29140"/>
                      <a:pt x="29140" y="24823"/>
                      <a:pt x="29140" y="19505"/>
                    </a:cubicBezTo>
                    <a:cubicBezTo>
                      <a:pt x="29140" y="14188"/>
                      <a:pt x="24823" y="9871"/>
                      <a:pt x="19506" y="9871"/>
                    </a:cubicBezTo>
                    <a:close/>
                  </a:path>
                </a:pathLst>
              </a:custGeom>
              <a:solidFill>
                <a:schemeClr val="accent1"/>
              </a:solidFill>
              <a:ln w="2631" cap="flat">
                <a:noFill/>
                <a:prstDash val="solid"/>
                <a:miter/>
              </a:ln>
            </p:spPr>
            <p:txBody>
              <a:bodyPr rtlCol="0" anchor="ctr"/>
              <a:lstStyle/>
              <a:p>
                <a:endParaRPr lang="en-GB" dirty="0"/>
              </a:p>
            </p:txBody>
          </p:sp>
          <p:sp>
            <p:nvSpPr>
              <p:cNvPr id="93" name="Freihandform: Form 607">
                <a:extLst>
                  <a:ext uri="{FF2B5EF4-FFF2-40B4-BE49-F238E27FC236}">
                    <a16:creationId xmlns:a16="http://schemas.microsoft.com/office/drawing/2014/main" id="{808123C6-9585-4D65-88E0-62D511C1AFB4}"/>
                  </a:ext>
                </a:extLst>
              </p:cNvPr>
              <p:cNvSpPr/>
              <p:nvPr/>
            </p:nvSpPr>
            <p:spPr>
              <a:xfrm>
                <a:off x="2719510" y="3457269"/>
                <a:ext cx="39010" cy="39010"/>
              </a:xfrm>
              <a:custGeom>
                <a:avLst/>
                <a:gdLst>
                  <a:gd name="connsiteX0" fmla="*/ 19506 w 39010"/>
                  <a:gd name="connsiteY0" fmla="*/ 39011 h 39010"/>
                  <a:gd name="connsiteX1" fmla="*/ 0 w 39010"/>
                  <a:gd name="connsiteY1" fmla="*/ 19505 h 39010"/>
                  <a:gd name="connsiteX2" fmla="*/ 19506 w 39010"/>
                  <a:gd name="connsiteY2" fmla="*/ 0 h 39010"/>
                  <a:gd name="connsiteX3" fmla="*/ 39011 w 39010"/>
                  <a:gd name="connsiteY3" fmla="*/ 19505 h 39010"/>
                  <a:gd name="connsiteX4" fmla="*/ 19506 w 39010"/>
                  <a:gd name="connsiteY4" fmla="*/ 39011 h 39010"/>
                  <a:gd name="connsiteX5" fmla="*/ 19506 w 39010"/>
                  <a:gd name="connsiteY5" fmla="*/ 9871 h 39010"/>
                  <a:gd name="connsiteX6" fmla="*/ 9871 w 39010"/>
                  <a:gd name="connsiteY6" fmla="*/ 19505 h 39010"/>
                  <a:gd name="connsiteX7" fmla="*/ 19506 w 39010"/>
                  <a:gd name="connsiteY7" fmla="*/ 29140 h 39010"/>
                  <a:gd name="connsiteX8" fmla="*/ 29140 w 39010"/>
                  <a:gd name="connsiteY8" fmla="*/ 19505 h 39010"/>
                  <a:gd name="connsiteX9" fmla="*/ 19506 w 39010"/>
                  <a:gd name="connsiteY9" fmla="*/ 9871 h 39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010" h="39010">
                    <a:moveTo>
                      <a:pt x="19506" y="39011"/>
                    </a:moveTo>
                    <a:cubicBezTo>
                      <a:pt x="8739" y="39011"/>
                      <a:pt x="0" y="30272"/>
                      <a:pt x="0" y="19505"/>
                    </a:cubicBezTo>
                    <a:cubicBezTo>
                      <a:pt x="0" y="8739"/>
                      <a:pt x="8739" y="0"/>
                      <a:pt x="19506" y="0"/>
                    </a:cubicBezTo>
                    <a:cubicBezTo>
                      <a:pt x="30272" y="0"/>
                      <a:pt x="39011" y="8739"/>
                      <a:pt x="39011" y="19505"/>
                    </a:cubicBezTo>
                    <a:cubicBezTo>
                      <a:pt x="39011" y="30245"/>
                      <a:pt x="30272" y="39011"/>
                      <a:pt x="19506" y="39011"/>
                    </a:cubicBezTo>
                    <a:close/>
                    <a:moveTo>
                      <a:pt x="19506" y="9871"/>
                    </a:moveTo>
                    <a:cubicBezTo>
                      <a:pt x="14188" y="9871"/>
                      <a:pt x="9871" y="14188"/>
                      <a:pt x="9871" y="19505"/>
                    </a:cubicBezTo>
                    <a:cubicBezTo>
                      <a:pt x="9871" y="24823"/>
                      <a:pt x="14188" y="29140"/>
                      <a:pt x="19506" y="29140"/>
                    </a:cubicBezTo>
                    <a:cubicBezTo>
                      <a:pt x="24823" y="29140"/>
                      <a:pt x="29140" y="24823"/>
                      <a:pt x="29140" y="19505"/>
                    </a:cubicBezTo>
                    <a:cubicBezTo>
                      <a:pt x="29140" y="14188"/>
                      <a:pt x="24823" y="9871"/>
                      <a:pt x="19506" y="9871"/>
                    </a:cubicBezTo>
                    <a:close/>
                  </a:path>
                </a:pathLst>
              </a:custGeom>
              <a:solidFill>
                <a:schemeClr val="accent1"/>
              </a:solidFill>
              <a:ln w="2631" cap="flat">
                <a:noFill/>
                <a:prstDash val="solid"/>
                <a:miter/>
              </a:ln>
            </p:spPr>
            <p:txBody>
              <a:bodyPr rtlCol="0" anchor="ctr"/>
              <a:lstStyle/>
              <a:p>
                <a:endParaRPr lang="en-GB" dirty="0"/>
              </a:p>
            </p:txBody>
          </p:sp>
          <p:sp>
            <p:nvSpPr>
              <p:cNvPr id="94" name="Freihandform: Form 608">
                <a:extLst>
                  <a:ext uri="{FF2B5EF4-FFF2-40B4-BE49-F238E27FC236}">
                    <a16:creationId xmlns:a16="http://schemas.microsoft.com/office/drawing/2014/main" id="{9D408299-83A0-404E-8CBF-1C366DB72527}"/>
                  </a:ext>
                </a:extLst>
              </p:cNvPr>
              <p:cNvSpPr/>
              <p:nvPr/>
            </p:nvSpPr>
            <p:spPr>
              <a:xfrm>
                <a:off x="2768077" y="3445240"/>
                <a:ext cx="9871" cy="131141"/>
              </a:xfrm>
              <a:custGeom>
                <a:avLst/>
                <a:gdLst>
                  <a:gd name="connsiteX0" fmla="*/ 0 w 9871"/>
                  <a:gd name="connsiteY0" fmla="*/ 0 h 131141"/>
                  <a:gd name="connsiteX1" fmla="*/ 9871 w 9871"/>
                  <a:gd name="connsiteY1" fmla="*/ 0 h 131141"/>
                  <a:gd name="connsiteX2" fmla="*/ 9871 w 9871"/>
                  <a:gd name="connsiteY2" fmla="*/ 131142 h 131141"/>
                  <a:gd name="connsiteX3" fmla="*/ 0 w 9871"/>
                  <a:gd name="connsiteY3" fmla="*/ 131142 h 131141"/>
                </a:gdLst>
                <a:ahLst/>
                <a:cxnLst>
                  <a:cxn ang="0">
                    <a:pos x="connsiteX0" y="connsiteY0"/>
                  </a:cxn>
                  <a:cxn ang="0">
                    <a:pos x="connsiteX1" y="connsiteY1"/>
                  </a:cxn>
                  <a:cxn ang="0">
                    <a:pos x="connsiteX2" y="connsiteY2"/>
                  </a:cxn>
                  <a:cxn ang="0">
                    <a:pos x="connsiteX3" y="connsiteY3"/>
                  </a:cxn>
                </a:cxnLst>
                <a:rect l="l" t="t" r="r" b="b"/>
                <a:pathLst>
                  <a:path w="9871" h="131141">
                    <a:moveTo>
                      <a:pt x="0" y="0"/>
                    </a:moveTo>
                    <a:lnTo>
                      <a:pt x="9871" y="0"/>
                    </a:lnTo>
                    <a:lnTo>
                      <a:pt x="9871" y="131142"/>
                    </a:lnTo>
                    <a:lnTo>
                      <a:pt x="0" y="131142"/>
                    </a:lnTo>
                    <a:close/>
                  </a:path>
                </a:pathLst>
              </a:custGeom>
              <a:solidFill>
                <a:schemeClr val="accent1"/>
              </a:solidFill>
              <a:ln w="2631" cap="flat">
                <a:noFill/>
                <a:prstDash val="solid"/>
                <a:miter/>
              </a:ln>
            </p:spPr>
            <p:txBody>
              <a:bodyPr rtlCol="0" anchor="ctr"/>
              <a:lstStyle/>
              <a:p>
                <a:endParaRPr lang="en-GB" dirty="0"/>
              </a:p>
            </p:txBody>
          </p:sp>
          <p:sp>
            <p:nvSpPr>
              <p:cNvPr id="95" name="Freihandform: Form 609">
                <a:extLst>
                  <a:ext uri="{FF2B5EF4-FFF2-40B4-BE49-F238E27FC236}">
                    <a16:creationId xmlns:a16="http://schemas.microsoft.com/office/drawing/2014/main" id="{24169B65-8CDC-4BB0-A89B-90D0D2F39B1F}"/>
                  </a:ext>
                </a:extLst>
              </p:cNvPr>
              <p:cNvSpPr/>
              <p:nvPr/>
            </p:nvSpPr>
            <p:spPr>
              <a:xfrm>
                <a:off x="2770814" y="3501045"/>
                <a:ext cx="46012" cy="53014"/>
              </a:xfrm>
              <a:custGeom>
                <a:avLst/>
                <a:gdLst>
                  <a:gd name="connsiteX0" fmla="*/ 4422 w 46012"/>
                  <a:gd name="connsiteY0" fmla="*/ 53015 h 53014"/>
                  <a:gd name="connsiteX1" fmla="*/ 0 w 46012"/>
                  <a:gd name="connsiteY1" fmla="*/ 44170 h 53014"/>
                  <a:gd name="connsiteX2" fmla="*/ 36142 w 46012"/>
                  <a:gd name="connsiteY2" fmla="*/ 26113 h 53014"/>
                  <a:gd name="connsiteX3" fmla="*/ 36142 w 46012"/>
                  <a:gd name="connsiteY3" fmla="*/ 0 h 53014"/>
                  <a:gd name="connsiteX4" fmla="*/ 46013 w 46012"/>
                  <a:gd name="connsiteY4" fmla="*/ 0 h 53014"/>
                  <a:gd name="connsiteX5" fmla="*/ 46013 w 46012"/>
                  <a:gd name="connsiteY5" fmla="*/ 32220 h 5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012" h="53014">
                    <a:moveTo>
                      <a:pt x="4422" y="53015"/>
                    </a:moveTo>
                    <a:lnTo>
                      <a:pt x="0" y="44170"/>
                    </a:lnTo>
                    <a:lnTo>
                      <a:pt x="36142" y="26113"/>
                    </a:lnTo>
                    <a:lnTo>
                      <a:pt x="36142" y="0"/>
                    </a:lnTo>
                    <a:lnTo>
                      <a:pt x="46013" y="0"/>
                    </a:lnTo>
                    <a:lnTo>
                      <a:pt x="46013" y="32220"/>
                    </a:lnTo>
                    <a:close/>
                  </a:path>
                </a:pathLst>
              </a:custGeom>
              <a:solidFill>
                <a:schemeClr val="accent1"/>
              </a:solidFill>
              <a:ln w="2631" cap="flat">
                <a:noFill/>
                <a:prstDash val="solid"/>
                <a:miter/>
              </a:ln>
            </p:spPr>
            <p:txBody>
              <a:bodyPr rtlCol="0" anchor="ctr"/>
              <a:lstStyle/>
              <a:p>
                <a:endParaRPr lang="en-GB" dirty="0"/>
              </a:p>
            </p:txBody>
          </p:sp>
          <p:sp>
            <p:nvSpPr>
              <p:cNvPr id="96" name="Freihandform: Form 610">
                <a:extLst>
                  <a:ext uri="{FF2B5EF4-FFF2-40B4-BE49-F238E27FC236}">
                    <a16:creationId xmlns:a16="http://schemas.microsoft.com/office/drawing/2014/main" id="{7944C7E6-B291-4225-AB4A-7CD00F4E46CB}"/>
                  </a:ext>
                </a:extLst>
              </p:cNvPr>
              <p:cNvSpPr/>
              <p:nvPr/>
            </p:nvSpPr>
            <p:spPr>
              <a:xfrm>
                <a:off x="2734094" y="3491331"/>
                <a:ext cx="40300" cy="38747"/>
              </a:xfrm>
              <a:custGeom>
                <a:avLst/>
                <a:gdLst>
                  <a:gd name="connsiteX0" fmla="*/ 37563 w 40300"/>
                  <a:gd name="connsiteY0" fmla="*/ 38748 h 38747"/>
                  <a:gd name="connsiteX1" fmla="*/ 0 w 40300"/>
                  <a:gd name="connsiteY1" fmla="*/ 28034 h 38747"/>
                  <a:gd name="connsiteX2" fmla="*/ 0 w 40300"/>
                  <a:gd name="connsiteY2" fmla="*/ 0 h 38747"/>
                  <a:gd name="connsiteX3" fmla="*/ 9871 w 40300"/>
                  <a:gd name="connsiteY3" fmla="*/ 0 h 38747"/>
                  <a:gd name="connsiteX4" fmla="*/ 9871 w 40300"/>
                  <a:gd name="connsiteY4" fmla="*/ 20585 h 38747"/>
                  <a:gd name="connsiteX5" fmla="*/ 40301 w 40300"/>
                  <a:gd name="connsiteY5" fmla="*/ 29271 h 38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00" h="38747">
                    <a:moveTo>
                      <a:pt x="37563" y="38748"/>
                    </a:moveTo>
                    <a:lnTo>
                      <a:pt x="0" y="28034"/>
                    </a:lnTo>
                    <a:lnTo>
                      <a:pt x="0" y="0"/>
                    </a:lnTo>
                    <a:lnTo>
                      <a:pt x="9871" y="0"/>
                    </a:lnTo>
                    <a:lnTo>
                      <a:pt x="9871" y="20585"/>
                    </a:lnTo>
                    <a:lnTo>
                      <a:pt x="40301" y="29271"/>
                    </a:lnTo>
                    <a:close/>
                  </a:path>
                </a:pathLst>
              </a:custGeom>
              <a:solidFill>
                <a:schemeClr val="accent1"/>
              </a:solidFill>
              <a:ln w="2631" cap="flat">
                <a:noFill/>
                <a:prstDash val="solid"/>
                <a:miter/>
              </a:ln>
            </p:spPr>
            <p:txBody>
              <a:bodyPr rtlCol="0" anchor="ctr"/>
              <a:lstStyle/>
              <a:p>
                <a:endParaRPr lang="en-GB" dirty="0"/>
              </a:p>
            </p:txBody>
          </p:sp>
          <p:grpSp>
            <p:nvGrpSpPr>
              <p:cNvPr id="97" name="Grafik 84">
                <a:extLst>
                  <a:ext uri="{FF2B5EF4-FFF2-40B4-BE49-F238E27FC236}">
                    <a16:creationId xmlns:a16="http://schemas.microsoft.com/office/drawing/2014/main" id="{D4FBCB7F-CBF8-4071-8D6E-869B3F13CA2D}"/>
                  </a:ext>
                </a:extLst>
              </p:cNvPr>
              <p:cNvGrpSpPr/>
              <p:nvPr/>
            </p:nvGrpSpPr>
            <p:grpSpPr>
              <a:xfrm>
                <a:off x="2768077" y="3589964"/>
                <a:ext cx="9871" cy="44380"/>
                <a:chOff x="2768077" y="3589964"/>
                <a:chExt cx="9871" cy="44380"/>
              </a:xfrm>
              <a:solidFill>
                <a:schemeClr val="accent1"/>
              </a:solidFill>
            </p:grpSpPr>
            <p:sp>
              <p:nvSpPr>
                <p:cNvPr id="98" name="Freihandform: Form 612">
                  <a:extLst>
                    <a:ext uri="{FF2B5EF4-FFF2-40B4-BE49-F238E27FC236}">
                      <a16:creationId xmlns:a16="http://schemas.microsoft.com/office/drawing/2014/main" id="{1CCA5A78-A4BB-48DA-8A58-C7B8ADD83189}"/>
                    </a:ext>
                  </a:extLst>
                </p:cNvPr>
                <p:cNvSpPr/>
                <p:nvPr/>
              </p:nvSpPr>
              <p:spPr>
                <a:xfrm>
                  <a:off x="2768077" y="3589964"/>
                  <a:ext cx="9871" cy="16451"/>
                </a:xfrm>
                <a:custGeom>
                  <a:avLst/>
                  <a:gdLst>
                    <a:gd name="connsiteX0" fmla="*/ 0 w 9871"/>
                    <a:gd name="connsiteY0" fmla="*/ 0 h 16451"/>
                    <a:gd name="connsiteX1" fmla="*/ 9871 w 9871"/>
                    <a:gd name="connsiteY1" fmla="*/ 0 h 16451"/>
                    <a:gd name="connsiteX2" fmla="*/ 9871 w 9871"/>
                    <a:gd name="connsiteY2" fmla="*/ 16452 h 16451"/>
                    <a:gd name="connsiteX3" fmla="*/ 0 w 9871"/>
                    <a:gd name="connsiteY3" fmla="*/ 16452 h 16451"/>
                  </a:gdLst>
                  <a:ahLst/>
                  <a:cxnLst>
                    <a:cxn ang="0">
                      <a:pos x="connsiteX0" y="connsiteY0"/>
                    </a:cxn>
                    <a:cxn ang="0">
                      <a:pos x="connsiteX1" y="connsiteY1"/>
                    </a:cxn>
                    <a:cxn ang="0">
                      <a:pos x="connsiteX2" y="connsiteY2"/>
                    </a:cxn>
                    <a:cxn ang="0">
                      <a:pos x="connsiteX3" y="connsiteY3"/>
                    </a:cxn>
                  </a:cxnLst>
                  <a:rect l="l" t="t" r="r" b="b"/>
                  <a:pathLst>
                    <a:path w="9871" h="16451">
                      <a:moveTo>
                        <a:pt x="0" y="0"/>
                      </a:moveTo>
                      <a:lnTo>
                        <a:pt x="9871" y="0"/>
                      </a:lnTo>
                      <a:lnTo>
                        <a:pt x="9871" y="16452"/>
                      </a:lnTo>
                      <a:lnTo>
                        <a:pt x="0" y="16452"/>
                      </a:lnTo>
                      <a:close/>
                    </a:path>
                  </a:pathLst>
                </a:custGeom>
                <a:solidFill>
                  <a:schemeClr val="accent1"/>
                </a:solidFill>
                <a:ln w="2631" cap="flat">
                  <a:noFill/>
                  <a:prstDash val="solid"/>
                  <a:miter/>
                </a:ln>
              </p:spPr>
              <p:txBody>
                <a:bodyPr rtlCol="0" anchor="ctr"/>
                <a:lstStyle/>
                <a:p>
                  <a:endParaRPr lang="en-GB" dirty="0"/>
                </a:p>
              </p:txBody>
            </p:sp>
            <p:sp>
              <p:nvSpPr>
                <p:cNvPr id="99" name="Freihandform: Form 613">
                  <a:extLst>
                    <a:ext uri="{FF2B5EF4-FFF2-40B4-BE49-F238E27FC236}">
                      <a16:creationId xmlns:a16="http://schemas.microsoft.com/office/drawing/2014/main" id="{B0CCA5AE-EEC7-4144-8390-A04D0D6163F2}"/>
                    </a:ext>
                  </a:extLst>
                </p:cNvPr>
                <p:cNvSpPr/>
                <p:nvPr/>
              </p:nvSpPr>
              <p:spPr>
                <a:xfrm>
                  <a:off x="2768077" y="3617893"/>
                  <a:ext cx="9871" cy="16451"/>
                </a:xfrm>
                <a:custGeom>
                  <a:avLst/>
                  <a:gdLst>
                    <a:gd name="connsiteX0" fmla="*/ 0 w 9871"/>
                    <a:gd name="connsiteY0" fmla="*/ 0 h 16451"/>
                    <a:gd name="connsiteX1" fmla="*/ 9871 w 9871"/>
                    <a:gd name="connsiteY1" fmla="*/ 0 h 16451"/>
                    <a:gd name="connsiteX2" fmla="*/ 9871 w 9871"/>
                    <a:gd name="connsiteY2" fmla="*/ 16452 h 16451"/>
                    <a:gd name="connsiteX3" fmla="*/ 0 w 9871"/>
                    <a:gd name="connsiteY3" fmla="*/ 16452 h 16451"/>
                  </a:gdLst>
                  <a:ahLst/>
                  <a:cxnLst>
                    <a:cxn ang="0">
                      <a:pos x="connsiteX0" y="connsiteY0"/>
                    </a:cxn>
                    <a:cxn ang="0">
                      <a:pos x="connsiteX1" y="connsiteY1"/>
                    </a:cxn>
                    <a:cxn ang="0">
                      <a:pos x="connsiteX2" y="connsiteY2"/>
                    </a:cxn>
                    <a:cxn ang="0">
                      <a:pos x="connsiteX3" y="connsiteY3"/>
                    </a:cxn>
                  </a:cxnLst>
                  <a:rect l="l" t="t" r="r" b="b"/>
                  <a:pathLst>
                    <a:path w="9871" h="16451">
                      <a:moveTo>
                        <a:pt x="0" y="0"/>
                      </a:moveTo>
                      <a:lnTo>
                        <a:pt x="9871" y="0"/>
                      </a:lnTo>
                      <a:lnTo>
                        <a:pt x="9871" y="16452"/>
                      </a:lnTo>
                      <a:lnTo>
                        <a:pt x="0" y="16452"/>
                      </a:lnTo>
                      <a:close/>
                    </a:path>
                  </a:pathLst>
                </a:custGeom>
                <a:solidFill>
                  <a:schemeClr val="accent1"/>
                </a:solidFill>
                <a:ln w="2631" cap="flat">
                  <a:noFill/>
                  <a:prstDash val="solid"/>
                  <a:miter/>
                </a:ln>
              </p:spPr>
              <p:txBody>
                <a:bodyPr rtlCol="0" anchor="ctr"/>
                <a:lstStyle/>
                <a:p>
                  <a:endParaRPr lang="en-GB" dirty="0"/>
                </a:p>
              </p:txBody>
            </p:sp>
          </p:grpSp>
        </p:grpSp>
      </p:grpSp>
      <p:sp>
        <p:nvSpPr>
          <p:cNvPr id="21" name="TextBox 20">
            <a:extLst>
              <a:ext uri="{FF2B5EF4-FFF2-40B4-BE49-F238E27FC236}">
                <a16:creationId xmlns:a16="http://schemas.microsoft.com/office/drawing/2014/main" id="{666B9E0C-A9F7-4AB3-89E2-ADCED745E706}"/>
              </a:ext>
            </a:extLst>
          </p:cNvPr>
          <p:cNvSpPr txBox="1"/>
          <p:nvPr/>
        </p:nvSpPr>
        <p:spPr>
          <a:xfrm>
            <a:off x="487133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Resource distribution</a:t>
            </a:r>
          </a:p>
        </p:txBody>
      </p:sp>
      <p:grpSp>
        <p:nvGrpSpPr>
          <p:cNvPr id="44" name="Group 43">
            <a:extLst>
              <a:ext uri="{FF2B5EF4-FFF2-40B4-BE49-F238E27FC236}">
                <a16:creationId xmlns:a16="http://schemas.microsoft.com/office/drawing/2014/main" id="{C531C3DE-3F61-5846-8E2B-0E406747A1E7}"/>
              </a:ext>
            </a:extLst>
          </p:cNvPr>
          <p:cNvGrpSpPr/>
          <p:nvPr/>
        </p:nvGrpSpPr>
        <p:grpSpPr>
          <a:xfrm>
            <a:off x="4889268" y="1601029"/>
            <a:ext cx="648000" cy="401910"/>
            <a:chOff x="4888856" y="1601029"/>
            <a:chExt cx="648000" cy="401910"/>
          </a:xfrm>
        </p:grpSpPr>
        <p:grpSp>
          <p:nvGrpSpPr>
            <p:cNvPr id="320" name="Grafik 138">
              <a:extLst>
                <a:ext uri="{FF2B5EF4-FFF2-40B4-BE49-F238E27FC236}">
                  <a16:creationId xmlns:a16="http://schemas.microsoft.com/office/drawing/2014/main" id="{F7C69B0B-5B57-4C2D-9E24-D1C6617B7838}"/>
                </a:ext>
              </a:extLst>
            </p:cNvPr>
            <p:cNvGrpSpPr/>
            <p:nvPr/>
          </p:nvGrpSpPr>
          <p:grpSpPr>
            <a:xfrm>
              <a:off x="5109802" y="1691504"/>
              <a:ext cx="203894" cy="230267"/>
              <a:chOff x="1143740" y="3455282"/>
              <a:chExt cx="161757" cy="182680"/>
            </a:xfrm>
            <a:solidFill>
              <a:schemeClr val="accent1"/>
            </a:solidFill>
          </p:grpSpPr>
          <p:grpSp>
            <p:nvGrpSpPr>
              <p:cNvPr id="340" name="Grafik 138">
                <a:extLst>
                  <a:ext uri="{FF2B5EF4-FFF2-40B4-BE49-F238E27FC236}">
                    <a16:creationId xmlns:a16="http://schemas.microsoft.com/office/drawing/2014/main" id="{951650B0-EB97-4CD0-9FD1-4908DCCAB235}"/>
                  </a:ext>
                </a:extLst>
              </p:cNvPr>
              <p:cNvGrpSpPr/>
              <p:nvPr/>
            </p:nvGrpSpPr>
            <p:grpSpPr>
              <a:xfrm>
                <a:off x="1143740" y="3455282"/>
                <a:ext cx="161757" cy="182680"/>
                <a:chOff x="1143740" y="3455282"/>
                <a:chExt cx="161757" cy="182680"/>
              </a:xfrm>
              <a:solidFill>
                <a:schemeClr val="accent1"/>
              </a:solidFill>
            </p:grpSpPr>
            <p:sp>
              <p:nvSpPr>
                <p:cNvPr id="342" name="Freihandform: Form 362">
                  <a:extLst>
                    <a:ext uri="{FF2B5EF4-FFF2-40B4-BE49-F238E27FC236}">
                      <a16:creationId xmlns:a16="http://schemas.microsoft.com/office/drawing/2014/main" id="{10572D0E-E625-4104-9CF7-91B2323D9D36}"/>
                    </a:ext>
                  </a:extLst>
                </p:cNvPr>
                <p:cNvSpPr/>
                <p:nvPr/>
              </p:nvSpPr>
              <p:spPr>
                <a:xfrm>
                  <a:off x="1143760" y="3493081"/>
                  <a:ext cx="161736" cy="107114"/>
                </a:xfrm>
                <a:custGeom>
                  <a:avLst/>
                  <a:gdLst>
                    <a:gd name="connsiteX0" fmla="*/ 141360 w 161736"/>
                    <a:gd name="connsiteY0" fmla="*/ 107114 h 107114"/>
                    <a:gd name="connsiteX1" fmla="*/ 123503 w 161736"/>
                    <a:gd name="connsiteY1" fmla="*/ 104689 h 107114"/>
                    <a:gd name="connsiteX2" fmla="*/ 65506 w 161736"/>
                    <a:gd name="connsiteY2" fmla="*/ 80168 h 107114"/>
                    <a:gd name="connsiteX3" fmla="*/ 1778 w 161736"/>
                    <a:gd name="connsiteY3" fmla="*/ 7885 h 107114"/>
                    <a:gd name="connsiteX4" fmla="*/ 96237 w 161736"/>
                    <a:gd name="connsiteY4" fmla="*/ 26942 h 107114"/>
                    <a:gd name="connsiteX5" fmla="*/ 146478 w 161736"/>
                    <a:gd name="connsiteY5" fmla="*/ 64922 h 107114"/>
                    <a:gd name="connsiteX6" fmla="*/ 159964 w 161736"/>
                    <a:gd name="connsiteY6" fmla="*/ 99225 h 107114"/>
                    <a:gd name="connsiteX7" fmla="*/ 141360 w 161736"/>
                    <a:gd name="connsiteY7" fmla="*/ 107114 h 107114"/>
                    <a:gd name="connsiteX8" fmla="*/ 19929 w 161736"/>
                    <a:gd name="connsiteY8" fmla="*/ 9750 h 107114"/>
                    <a:gd name="connsiteX9" fmla="*/ 10307 w 161736"/>
                    <a:gd name="connsiteY9" fmla="*/ 12816 h 107114"/>
                    <a:gd name="connsiteX10" fmla="*/ 70436 w 161736"/>
                    <a:gd name="connsiteY10" fmla="*/ 71586 h 107114"/>
                    <a:gd name="connsiteX11" fmla="*/ 125795 w 161736"/>
                    <a:gd name="connsiteY11" fmla="*/ 95067 h 107114"/>
                    <a:gd name="connsiteX12" fmla="*/ 151409 w 161736"/>
                    <a:gd name="connsiteY12" fmla="*/ 94267 h 107114"/>
                    <a:gd name="connsiteX13" fmla="*/ 151409 w 161736"/>
                    <a:gd name="connsiteY13" fmla="*/ 94267 h 107114"/>
                    <a:gd name="connsiteX14" fmla="*/ 139281 w 161736"/>
                    <a:gd name="connsiteY14" fmla="*/ 71692 h 107114"/>
                    <a:gd name="connsiteX15" fmla="*/ 91279 w 161736"/>
                    <a:gd name="connsiteY15" fmla="*/ 35497 h 107114"/>
                    <a:gd name="connsiteX16" fmla="*/ 19929 w 161736"/>
                    <a:gd name="connsiteY16" fmla="*/ 9750 h 10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736" h="107114">
                      <a:moveTo>
                        <a:pt x="141360" y="107114"/>
                      </a:moveTo>
                      <a:cubicBezTo>
                        <a:pt x="136270" y="107114"/>
                        <a:pt x="130299" y="106315"/>
                        <a:pt x="123503" y="104689"/>
                      </a:cubicBezTo>
                      <a:cubicBezTo>
                        <a:pt x="106471" y="100637"/>
                        <a:pt x="85895" y="91922"/>
                        <a:pt x="65506" y="80168"/>
                      </a:cubicBezTo>
                      <a:cubicBezTo>
                        <a:pt x="26192" y="57459"/>
                        <a:pt x="-8324" y="25342"/>
                        <a:pt x="1778" y="7885"/>
                      </a:cubicBezTo>
                      <a:cubicBezTo>
                        <a:pt x="11853" y="-9573"/>
                        <a:pt x="56950" y="4260"/>
                        <a:pt x="96237" y="26942"/>
                      </a:cubicBezTo>
                      <a:cubicBezTo>
                        <a:pt x="116626" y="38696"/>
                        <a:pt x="134484" y="52182"/>
                        <a:pt x="146478" y="64922"/>
                      </a:cubicBezTo>
                      <a:cubicBezTo>
                        <a:pt x="159991" y="79235"/>
                        <a:pt x="164655" y="91096"/>
                        <a:pt x="159964" y="99225"/>
                      </a:cubicBezTo>
                      <a:cubicBezTo>
                        <a:pt x="156926" y="104475"/>
                        <a:pt x="150609" y="107114"/>
                        <a:pt x="141360" y="107114"/>
                      </a:cubicBezTo>
                      <a:close/>
                      <a:moveTo>
                        <a:pt x="19929" y="9750"/>
                      </a:moveTo>
                      <a:cubicBezTo>
                        <a:pt x="14811" y="9750"/>
                        <a:pt x="11480" y="10817"/>
                        <a:pt x="10307" y="12816"/>
                      </a:cubicBezTo>
                      <a:cubicBezTo>
                        <a:pt x="6069" y="20172"/>
                        <a:pt x="27365" y="46718"/>
                        <a:pt x="70436" y="71586"/>
                      </a:cubicBezTo>
                      <a:cubicBezTo>
                        <a:pt x="90026" y="82886"/>
                        <a:pt x="109670" y="91229"/>
                        <a:pt x="125795" y="95067"/>
                      </a:cubicBezTo>
                      <a:cubicBezTo>
                        <a:pt x="141067" y="98692"/>
                        <a:pt x="149676" y="97279"/>
                        <a:pt x="151409" y="94267"/>
                      </a:cubicBezTo>
                      <a:lnTo>
                        <a:pt x="151409" y="94267"/>
                      </a:lnTo>
                      <a:cubicBezTo>
                        <a:pt x="153141" y="91256"/>
                        <a:pt x="150076" y="83100"/>
                        <a:pt x="139281" y="71692"/>
                      </a:cubicBezTo>
                      <a:cubicBezTo>
                        <a:pt x="127900" y="59645"/>
                        <a:pt x="110842" y="46798"/>
                        <a:pt x="91279" y="35497"/>
                      </a:cubicBezTo>
                      <a:cubicBezTo>
                        <a:pt x="59935" y="17426"/>
                        <a:pt x="33602" y="9750"/>
                        <a:pt x="19929" y="9750"/>
                      </a:cubicBezTo>
                      <a:close/>
                    </a:path>
                  </a:pathLst>
                </a:custGeom>
                <a:solidFill>
                  <a:schemeClr val="accent1"/>
                </a:solidFill>
                <a:ln w="2663" cap="flat">
                  <a:noFill/>
                  <a:prstDash val="solid"/>
                  <a:miter/>
                </a:ln>
              </p:spPr>
              <p:txBody>
                <a:bodyPr rtlCol="0" anchor="ctr"/>
                <a:lstStyle/>
                <a:p>
                  <a:endParaRPr lang="en-GB" dirty="0"/>
                </a:p>
              </p:txBody>
            </p:sp>
            <p:sp>
              <p:nvSpPr>
                <p:cNvPr id="343" name="Freihandform: Form 363">
                  <a:extLst>
                    <a:ext uri="{FF2B5EF4-FFF2-40B4-BE49-F238E27FC236}">
                      <a16:creationId xmlns:a16="http://schemas.microsoft.com/office/drawing/2014/main" id="{E7215A83-C4E3-4EDB-9A0D-A510B78E01A7}"/>
                    </a:ext>
                  </a:extLst>
                </p:cNvPr>
                <p:cNvSpPr/>
                <p:nvPr/>
              </p:nvSpPr>
              <p:spPr>
                <a:xfrm>
                  <a:off x="1143740" y="3493064"/>
                  <a:ext cx="161727" cy="107131"/>
                </a:xfrm>
                <a:custGeom>
                  <a:avLst/>
                  <a:gdLst>
                    <a:gd name="connsiteX0" fmla="*/ 20349 w 161727"/>
                    <a:gd name="connsiteY0" fmla="*/ 107131 h 107131"/>
                    <a:gd name="connsiteX1" fmla="*/ 1772 w 161727"/>
                    <a:gd name="connsiteY1" fmla="*/ 99242 h 107131"/>
                    <a:gd name="connsiteX2" fmla="*/ 15259 w 161727"/>
                    <a:gd name="connsiteY2" fmla="*/ 64940 h 107131"/>
                    <a:gd name="connsiteX3" fmla="*/ 65500 w 161727"/>
                    <a:gd name="connsiteY3" fmla="*/ 26959 h 107131"/>
                    <a:gd name="connsiteX4" fmla="*/ 159958 w 161727"/>
                    <a:gd name="connsiteY4" fmla="*/ 7902 h 107131"/>
                    <a:gd name="connsiteX5" fmla="*/ 159958 w 161727"/>
                    <a:gd name="connsiteY5" fmla="*/ 7902 h 107131"/>
                    <a:gd name="connsiteX6" fmla="*/ 96231 w 161727"/>
                    <a:gd name="connsiteY6" fmla="*/ 80185 h 107131"/>
                    <a:gd name="connsiteX7" fmla="*/ 38234 w 161727"/>
                    <a:gd name="connsiteY7" fmla="*/ 104706 h 107131"/>
                    <a:gd name="connsiteX8" fmla="*/ 20349 w 161727"/>
                    <a:gd name="connsiteY8" fmla="*/ 107131 h 107131"/>
                    <a:gd name="connsiteX9" fmla="*/ 141808 w 161727"/>
                    <a:gd name="connsiteY9" fmla="*/ 9768 h 107131"/>
                    <a:gd name="connsiteX10" fmla="*/ 70457 w 161727"/>
                    <a:gd name="connsiteY10" fmla="*/ 35514 h 107131"/>
                    <a:gd name="connsiteX11" fmla="*/ 22455 w 161727"/>
                    <a:gd name="connsiteY11" fmla="*/ 71709 h 107131"/>
                    <a:gd name="connsiteX12" fmla="*/ 10354 w 161727"/>
                    <a:gd name="connsiteY12" fmla="*/ 94285 h 107131"/>
                    <a:gd name="connsiteX13" fmla="*/ 35968 w 161727"/>
                    <a:gd name="connsiteY13" fmla="*/ 95084 h 107131"/>
                    <a:gd name="connsiteX14" fmla="*/ 91327 w 161727"/>
                    <a:gd name="connsiteY14" fmla="*/ 71603 h 107131"/>
                    <a:gd name="connsiteX15" fmla="*/ 151456 w 161727"/>
                    <a:gd name="connsiteY15" fmla="*/ 12833 h 107131"/>
                    <a:gd name="connsiteX16" fmla="*/ 151456 w 161727"/>
                    <a:gd name="connsiteY16" fmla="*/ 12833 h 107131"/>
                    <a:gd name="connsiteX17" fmla="*/ 141808 w 161727"/>
                    <a:gd name="connsiteY17" fmla="*/ 9768 h 10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1727" h="107131">
                      <a:moveTo>
                        <a:pt x="20349" y="107131"/>
                      </a:moveTo>
                      <a:cubicBezTo>
                        <a:pt x="11101" y="107131"/>
                        <a:pt x="4784" y="104493"/>
                        <a:pt x="1772" y="99242"/>
                      </a:cubicBezTo>
                      <a:cubicBezTo>
                        <a:pt x="-2919" y="91113"/>
                        <a:pt x="1746" y="79252"/>
                        <a:pt x="15259" y="64940"/>
                      </a:cubicBezTo>
                      <a:cubicBezTo>
                        <a:pt x="27279" y="52226"/>
                        <a:pt x="45110" y="38740"/>
                        <a:pt x="65500" y="26959"/>
                      </a:cubicBezTo>
                      <a:cubicBezTo>
                        <a:pt x="104813" y="4250"/>
                        <a:pt x="149857" y="-9583"/>
                        <a:pt x="159958" y="7902"/>
                      </a:cubicBezTo>
                      <a:lnTo>
                        <a:pt x="159958" y="7902"/>
                      </a:lnTo>
                      <a:cubicBezTo>
                        <a:pt x="170033" y="25360"/>
                        <a:pt x="135518" y="57477"/>
                        <a:pt x="96231" y="80185"/>
                      </a:cubicBezTo>
                      <a:cubicBezTo>
                        <a:pt x="75841" y="91966"/>
                        <a:pt x="55238" y="100655"/>
                        <a:pt x="38234" y="104706"/>
                      </a:cubicBezTo>
                      <a:cubicBezTo>
                        <a:pt x="31437" y="106332"/>
                        <a:pt x="25440" y="107131"/>
                        <a:pt x="20349" y="107131"/>
                      </a:cubicBezTo>
                      <a:close/>
                      <a:moveTo>
                        <a:pt x="141808" y="9768"/>
                      </a:moveTo>
                      <a:cubicBezTo>
                        <a:pt x="128135" y="9768"/>
                        <a:pt x="101801" y="17444"/>
                        <a:pt x="70457" y="35514"/>
                      </a:cubicBezTo>
                      <a:cubicBezTo>
                        <a:pt x="50867" y="46815"/>
                        <a:pt x="33836" y="59662"/>
                        <a:pt x="22455" y="71709"/>
                      </a:cubicBezTo>
                      <a:cubicBezTo>
                        <a:pt x="11660" y="83117"/>
                        <a:pt x="8595" y="91273"/>
                        <a:pt x="10354" y="94285"/>
                      </a:cubicBezTo>
                      <a:cubicBezTo>
                        <a:pt x="12087" y="97296"/>
                        <a:pt x="20696" y="98709"/>
                        <a:pt x="35968" y="95084"/>
                      </a:cubicBezTo>
                      <a:cubicBezTo>
                        <a:pt x="52093" y="91246"/>
                        <a:pt x="71737" y="82904"/>
                        <a:pt x="91327" y="71603"/>
                      </a:cubicBezTo>
                      <a:cubicBezTo>
                        <a:pt x="134371" y="46735"/>
                        <a:pt x="155694" y="20189"/>
                        <a:pt x="151456" y="12833"/>
                      </a:cubicBezTo>
                      <a:lnTo>
                        <a:pt x="151456" y="12833"/>
                      </a:lnTo>
                      <a:cubicBezTo>
                        <a:pt x="150257" y="10834"/>
                        <a:pt x="146925" y="9768"/>
                        <a:pt x="141808" y="9768"/>
                      </a:cubicBezTo>
                      <a:close/>
                    </a:path>
                  </a:pathLst>
                </a:custGeom>
                <a:solidFill>
                  <a:schemeClr val="accent1"/>
                </a:solidFill>
                <a:ln w="2663" cap="flat">
                  <a:noFill/>
                  <a:prstDash val="solid"/>
                  <a:miter/>
                </a:ln>
              </p:spPr>
              <p:txBody>
                <a:bodyPr rtlCol="0" anchor="ctr"/>
                <a:lstStyle/>
                <a:p>
                  <a:endParaRPr lang="en-GB" dirty="0"/>
                </a:p>
              </p:txBody>
            </p:sp>
            <p:sp>
              <p:nvSpPr>
                <p:cNvPr id="344" name="Freihandform: Form 364">
                  <a:extLst>
                    <a:ext uri="{FF2B5EF4-FFF2-40B4-BE49-F238E27FC236}">
                      <a16:creationId xmlns:a16="http://schemas.microsoft.com/office/drawing/2014/main" id="{16136B96-033E-4FED-9CD1-77139D325D07}"/>
                    </a:ext>
                  </a:extLst>
                </p:cNvPr>
                <p:cNvSpPr/>
                <p:nvPr/>
              </p:nvSpPr>
              <p:spPr>
                <a:xfrm>
                  <a:off x="1193887" y="3455282"/>
                  <a:ext cx="61462" cy="182680"/>
                </a:xfrm>
                <a:custGeom>
                  <a:avLst/>
                  <a:gdLst>
                    <a:gd name="connsiteX0" fmla="*/ 30731 w 61462"/>
                    <a:gd name="connsiteY0" fmla="*/ 182681 h 182680"/>
                    <a:gd name="connsiteX1" fmla="*/ 0 w 61462"/>
                    <a:gd name="connsiteY1" fmla="*/ 91340 h 182680"/>
                    <a:gd name="connsiteX2" fmla="*/ 30731 w 61462"/>
                    <a:gd name="connsiteY2" fmla="*/ 0 h 182680"/>
                    <a:gd name="connsiteX3" fmla="*/ 61462 w 61462"/>
                    <a:gd name="connsiteY3" fmla="*/ 91340 h 182680"/>
                    <a:gd name="connsiteX4" fmla="*/ 30731 w 61462"/>
                    <a:gd name="connsiteY4" fmla="*/ 182681 h 182680"/>
                    <a:gd name="connsiteX5" fmla="*/ 30731 w 61462"/>
                    <a:gd name="connsiteY5" fmla="*/ 9888 h 182680"/>
                    <a:gd name="connsiteX6" fmla="*/ 9888 w 61462"/>
                    <a:gd name="connsiteY6" fmla="*/ 91340 h 182680"/>
                    <a:gd name="connsiteX7" fmla="*/ 30731 w 61462"/>
                    <a:gd name="connsiteY7" fmla="*/ 172792 h 182680"/>
                    <a:gd name="connsiteX8" fmla="*/ 51574 w 61462"/>
                    <a:gd name="connsiteY8" fmla="*/ 91340 h 182680"/>
                    <a:gd name="connsiteX9" fmla="*/ 30731 w 61462"/>
                    <a:gd name="connsiteY9" fmla="*/ 9888 h 182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2" h="182680">
                      <a:moveTo>
                        <a:pt x="30731" y="182681"/>
                      </a:moveTo>
                      <a:cubicBezTo>
                        <a:pt x="10555" y="182681"/>
                        <a:pt x="0" y="136731"/>
                        <a:pt x="0" y="91340"/>
                      </a:cubicBezTo>
                      <a:cubicBezTo>
                        <a:pt x="0" y="45950"/>
                        <a:pt x="10555" y="0"/>
                        <a:pt x="30731" y="0"/>
                      </a:cubicBezTo>
                      <a:cubicBezTo>
                        <a:pt x="50907" y="0"/>
                        <a:pt x="61462" y="45950"/>
                        <a:pt x="61462" y="91340"/>
                      </a:cubicBezTo>
                      <a:cubicBezTo>
                        <a:pt x="61435" y="136731"/>
                        <a:pt x="50907" y="182681"/>
                        <a:pt x="30731" y="182681"/>
                      </a:cubicBezTo>
                      <a:close/>
                      <a:moveTo>
                        <a:pt x="30731" y="9888"/>
                      </a:moveTo>
                      <a:cubicBezTo>
                        <a:pt x="22229" y="9888"/>
                        <a:pt x="9888" y="41606"/>
                        <a:pt x="9888" y="91340"/>
                      </a:cubicBezTo>
                      <a:cubicBezTo>
                        <a:pt x="9888" y="141075"/>
                        <a:pt x="22229" y="172792"/>
                        <a:pt x="30731" y="172792"/>
                      </a:cubicBezTo>
                      <a:cubicBezTo>
                        <a:pt x="39233" y="172792"/>
                        <a:pt x="51574" y="141075"/>
                        <a:pt x="51574" y="91340"/>
                      </a:cubicBezTo>
                      <a:cubicBezTo>
                        <a:pt x="51574" y="41632"/>
                        <a:pt x="39233" y="9888"/>
                        <a:pt x="30731" y="9888"/>
                      </a:cubicBezTo>
                      <a:close/>
                    </a:path>
                  </a:pathLst>
                </a:custGeom>
                <a:solidFill>
                  <a:schemeClr val="accent1"/>
                </a:solidFill>
                <a:ln w="2663" cap="flat">
                  <a:noFill/>
                  <a:prstDash val="solid"/>
                  <a:miter/>
                </a:ln>
              </p:spPr>
              <p:txBody>
                <a:bodyPr rtlCol="0" anchor="ctr"/>
                <a:lstStyle/>
                <a:p>
                  <a:endParaRPr lang="en-GB" dirty="0"/>
                </a:p>
              </p:txBody>
            </p:sp>
          </p:grpSp>
          <p:sp>
            <p:nvSpPr>
              <p:cNvPr id="341" name="Freihandform: Form 361">
                <a:extLst>
                  <a:ext uri="{FF2B5EF4-FFF2-40B4-BE49-F238E27FC236}">
                    <a16:creationId xmlns:a16="http://schemas.microsoft.com/office/drawing/2014/main" id="{EB7F7C46-6FED-4A58-9459-23F02361195D}"/>
                  </a:ext>
                </a:extLst>
              </p:cNvPr>
              <p:cNvSpPr/>
              <p:nvPr/>
            </p:nvSpPr>
            <p:spPr>
              <a:xfrm>
                <a:off x="1209159" y="3531164"/>
                <a:ext cx="30917" cy="30917"/>
              </a:xfrm>
              <a:custGeom>
                <a:avLst/>
                <a:gdLst>
                  <a:gd name="connsiteX0" fmla="*/ 15459 w 30917"/>
                  <a:gd name="connsiteY0" fmla="*/ 30918 h 30917"/>
                  <a:gd name="connsiteX1" fmla="*/ 0 w 30917"/>
                  <a:gd name="connsiteY1" fmla="*/ 15459 h 30917"/>
                  <a:gd name="connsiteX2" fmla="*/ 15459 w 30917"/>
                  <a:gd name="connsiteY2" fmla="*/ 0 h 30917"/>
                  <a:gd name="connsiteX3" fmla="*/ 30918 w 30917"/>
                  <a:gd name="connsiteY3" fmla="*/ 15459 h 30917"/>
                  <a:gd name="connsiteX4" fmla="*/ 15459 w 30917"/>
                  <a:gd name="connsiteY4" fmla="*/ 30918 h 30917"/>
                  <a:gd name="connsiteX5" fmla="*/ 15459 w 30917"/>
                  <a:gd name="connsiteY5" fmla="*/ 9888 h 30917"/>
                  <a:gd name="connsiteX6" fmla="*/ 9888 w 30917"/>
                  <a:gd name="connsiteY6" fmla="*/ 15459 h 30917"/>
                  <a:gd name="connsiteX7" fmla="*/ 15459 w 30917"/>
                  <a:gd name="connsiteY7" fmla="*/ 21029 h 30917"/>
                  <a:gd name="connsiteX8" fmla="*/ 21029 w 30917"/>
                  <a:gd name="connsiteY8" fmla="*/ 15459 h 30917"/>
                  <a:gd name="connsiteX9" fmla="*/ 15459 w 30917"/>
                  <a:gd name="connsiteY9" fmla="*/ 9888 h 3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17" h="30917">
                    <a:moveTo>
                      <a:pt x="15459" y="30918"/>
                    </a:moveTo>
                    <a:cubicBezTo>
                      <a:pt x="6930" y="30918"/>
                      <a:pt x="0" y="23988"/>
                      <a:pt x="0" y="15459"/>
                    </a:cubicBezTo>
                    <a:cubicBezTo>
                      <a:pt x="0" y="6930"/>
                      <a:pt x="6930" y="0"/>
                      <a:pt x="15459" y="0"/>
                    </a:cubicBezTo>
                    <a:cubicBezTo>
                      <a:pt x="23988" y="0"/>
                      <a:pt x="30918" y="6930"/>
                      <a:pt x="30918" y="15459"/>
                    </a:cubicBezTo>
                    <a:cubicBezTo>
                      <a:pt x="30918" y="23988"/>
                      <a:pt x="23988" y="30918"/>
                      <a:pt x="15459" y="30918"/>
                    </a:cubicBezTo>
                    <a:close/>
                    <a:moveTo>
                      <a:pt x="15459" y="9888"/>
                    </a:moveTo>
                    <a:cubicBezTo>
                      <a:pt x="12394" y="9888"/>
                      <a:pt x="9888" y="12394"/>
                      <a:pt x="9888" y="15459"/>
                    </a:cubicBezTo>
                    <a:cubicBezTo>
                      <a:pt x="9888" y="18524"/>
                      <a:pt x="12394" y="21029"/>
                      <a:pt x="15459" y="21029"/>
                    </a:cubicBezTo>
                    <a:cubicBezTo>
                      <a:pt x="18524" y="21029"/>
                      <a:pt x="21029" y="18524"/>
                      <a:pt x="21029" y="15459"/>
                    </a:cubicBezTo>
                    <a:cubicBezTo>
                      <a:pt x="21029" y="12394"/>
                      <a:pt x="18524" y="9888"/>
                      <a:pt x="15459" y="9888"/>
                    </a:cubicBezTo>
                    <a:close/>
                  </a:path>
                </a:pathLst>
              </a:custGeom>
              <a:solidFill>
                <a:schemeClr val="accent1"/>
              </a:solidFill>
              <a:ln w="2663" cap="flat">
                <a:noFill/>
                <a:prstDash val="solid"/>
                <a:miter/>
              </a:ln>
            </p:spPr>
            <p:txBody>
              <a:bodyPr rtlCol="0" anchor="ctr"/>
              <a:lstStyle/>
              <a:p>
                <a:endParaRPr lang="en-GB" dirty="0"/>
              </a:p>
            </p:txBody>
          </p:sp>
        </p:grpSp>
        <p:grpSp>
          <p:nvGrpSpPr>
            <p:cNvPr id="321" name="Group 982">
              <a:extLst>
                <a:ext uri="{FF2B5EF4-FFF2-40B4-BE49-F238E27FC236}">
                  <a16:creationId xmlns:a16="http://schemas.microsoft.com/office/drawing/2014/main" id="{125379F7-12A8-47E9-82E7-C27A81C2B116}"/>
                </a:ext>
              </a:extLst>
            </p:cNvPr>
            <p:cNvGrpSpPr/>
            <p:nvPr/>
          </p:nvGrpSpPr>
          <p:grpSpPr>
            <a:xfrm>
              <a:off x="4888856" y="1601029"/>
              <a:ext cx="648000" cy="401910"/>
              <a:chOff x="968455" y="3383505"/>
              <a:chExt cx="514084" cy="318851"/>
            </a:xfrm>
            <a:solidFill>
              <a:schemeClr val="tx2"/>
            </a:solidFill>
          </p:grpSpPr>
          <p:sp>
            <p:nvSpPr>
              <p:cNvPr id="322" name="Freihandform: Form 342">
                <a:extLst>
                  <a:ext uri="{FF2B5EF4-FFF2-40B4-BE49-F238E27FC236}">
                    <a16:creationId xmlns:a16="http://schemas.microsoft.com/office/drawing/2014/main" id="{0A11ED81-386B-4563-9147-4CABC1D8BC71}"/>
                  </a:ext>
                </a:extLst>
              </p:cNvPr>
              <p:cNvSpPr/>
              <p:nvPr/>
            </p:nvSpPr>
            <p:spPr>
              <a:xfrm>
                <a:off x="1425689" y="3386970"/>
                <a:ext cx="55864" cy="55864"/>
              </a:xfrm>
              <a:custGeom>
                <a:avLst/>
                <a:gdLst>
                  <a:gd name="connsiteX0" fmla="*/ 27932 w 55864"/>
                  <a:gd name="connsiteY0" fmla="*/ 55865 h 55864"/>
                  <a:gd name="connsiteX1" fmla="*/ 0 w 55864"/>
                  <a:gd name="connsiteY1" fmla="*/ 27933 h 55864"/>
                  <a:gd name="connsiteX2" fmla="*/ 27932 w 55864"/>
                  <a:gd name="connsiteY2" fmla="*/ 0 h 55864"/>
                  <a:gd name="connsiteX3" fmla="*/ 55865 w 55864"/>
                  <a:gd name="connsiteY3" fmla="*/ 27933 h 55864"/>
                  <a:gd name="connsiteX4" fmla="*/ 27932 w 55864"/>
                  <a:gd name="connsiteY4" fmla="*/ 55865 h 55864"/>
                  <a:gd name="connsiteX5" fmla="*/ 27932 w 55864"/>
                  <a:gd name="connsiteY5" fmla="*/ 9888 h 55864"/>
                  <a:gd name="connsiteX6" fmla="*/ 9888 w 55864"/>
                  <a:gd name="connsiteY6" fmla="*/ 27933 h 55864"/>
                  <a:gd name="connsiteX7" fmla="*/ 27932 w 55864"/>
                  <a:gd name="connsiteY7" fmla="*/ 45977 h 55864"/>
                  <a:gd name="connsiteX8" fmla="*/ 45977 w 55864"/>
                  <a:gd name="connsiteY8" fmla="*/ 27933 h 55864"/>
                  <a:gd name="connsiteX9" fmla="*/ 27932 w 55864"/>
                  <a:gd name="connsiteY9" fmla="*/ 9888 h 5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864" h="55864">
                    <a:moveTo>
                      <a:pt x="27932" y="55865"/>
                    </a:moveTo>
                    <a:cubicBezTo>
                      <a:pt x="12527" y="55865"/>
                      <a:pt x="0" y="43338"/>
                      <a:pt x="0" y="27933"/>
                    </a:cubicBezTo>
                    <a:cubicBezTo>
                      <a:pt x="0" y="12527"/>
                      <a:pt x="12527" y="0"/>
                      <a:pt x="27932" y="0"/>
                    </a:cubicBezTo>
                    <a:cubicBezTo>
                      <a:pt x="43338" y="0"/>
                      <a:pt x="55865" y="12527"/>
                      <a:pt x="55865" y="27933"/>
                    </a:cubicBezTo>
                    <a:cubicBezTo>
                      <a:pt x="55865" y="43338"/>
                      <a:pt x="43338" y="55865"/>
                      <a:pt x="27932" y="55865"/>
                    </a:cubicBezTo>
                    <a:close/>
                    <a:moveTo>
                      <a:pt x="27932" y="9888"/>
                    </a:moveTo>
                    <a:cubicBezTo>
                      <a:pt x="17991" y="9888"/>
                      <a:pt x="9888" y="17991"/>
                      <a:pt x="9888" y="27933"/>
                    </a:cubicBezTo>
                    <a:cubicBezTo>
                      <a:pt x="9888" y="37874"/>
                      <a:pt x="17991" y="45977"/>
                      <a:pt x="27932" y="45977"/>
                    </a:cubicBezTo>
                    <a:cubicBezTo>
                      <a:pt x="37874" y="45977"/>
                      <a:pt x="45977" y="37874"/>
                      <a:pt x="45977" y="27933"/>
                    </a:cubicBezTo>
                    <a:cubicBezTo>
                      <a:pt x="45977" y="17964"/>
                      <a:pt x="37901" y="9888"/>
                      <a:pt x="27932" y="9888"/>
                    </a:cubicBezTo>
                    <a:close/>
                  </a:path>
                </a:pathLst>
              </a:custGeom>
              <a:grpFill/>
              <a:ln w="2663" cap="flat">
                <a:noFill/>
                <a:prstDash val="solid"/>
                <a:miter/>
              </a:ln>
            </p:spPr>
            <p:txBody>
              <a:bodyPr rtlCol="0" anchor="ctr"/>
              <a:lstStyle/>
              <a:p>
                <a:endParaRPr lang="en-GB" dirty="0"/>
              </a:p>
            </p:txBody>
          </p:sp>
          <p:sp>
            <p:nvSpPr>
              <p:cNvPr id="323" name="Freihandform: Form 343">
                <a:extLst>
                  <a:ext uri="{FF2B5EF4-FFF2-40B4-BE49-F238E27FC236}">
                    <a16:creationId xmlns:a16="http://schemas.microsoft.com/office/drawing/2014/main" id="{40592E26-CE20-418B-8453-DCE56C193EFA}"/>
                  </a:ext>
                </a:extLst>
              </p:cNvPr>
              <p:cNvSpPr/>
              <p:nvPr/>
            </p:nvSpPr>
            <p:spPr>
              <a:xfrm>
                <a:off x="969441" y="3383505"/>
                <a:ext cx="55864" cy="55864"/>
              </a:xfrm>
              <a:custGeom>
                <a:avLst/>
                <a:gdLst>
                  <a:gd name="connsiteX0" fmla="*/ 27932 w 55864"/>
                  <a:gd name="connsiteY0" fmla="*/ 55865 h 55864"/>
                  <a:gd name="connsiteX1" fmla="*/ 0 w 55864"/>
                  <a:gd name="connsiteY1" fmla="*/ 27933 h 55864"/>
                  <a:gd name="connsiteX2" fmla="*/ 27932 w 55864"/>
                  <a:gd name="connsiteY2" fmla="*/ 0 h 55864"/>
                  <a:gd name="connsiteX3" fmla="*/ 55865 w 55864"/>
                  <a:gd name="connsiteY3" fmla="*/ 27933 h 55864"/>
                  <a:gd name="connsiteX4" fmla="*/ 27932 w 55864"/>
                  <a:gd name="connsiteY4" fmla="*/ 55865 h 55864"/>
                  <a:gd name="connsiteX5" fmla="*/ 27932 w 55864"/>
                  <a:gd name="connsiteY5" fmla="*/ 9888 h 55864"/>
                  <a:gd name="connsiteX6" fmla="*/ 9888 w 55864"/>
                  <a:gd name="connsiteY6" fmla="*/ 27933 h 55864"/>
                  <a:gd name="connsiteX7" fmla="*/ 27932 w 55864"/>
                  <a:gd name="connsiteY7" fmla="*/ 45977 h 55864"/>
                  <a:gd name="connsiteX8" fmla="*/ 45977 w 55864"/>
                  <a:gd name="connsiteY8" fmla="*/ 27933 h 55864"/>
                  <a:gd name="connsiteX9" fmla="*/ 27932 w 55864"/>
                  <a:gd name="connsiteY9" fmla="*/ 9888 h 5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864" h="55864">
                    <a:moveTo>
                      <a:pt x="27932" y="55865"/>
                    </a:moveTo>
                    <a:cubicBezTo>
                      <a:pt x="12527" y="55865"/>
                      <a:pt x="0" y="43338"/>
                      <a:pt x="0" y="27933"/>
                    </a:cubicBezTo>
                    <a:cubicBezTo>
                      <a:pt x="0" y="12527"/>
                      <a:pt x="12527" y="0"/>
                      <a:pt x="27932" y="0"/>
                    </a:cubicBezTo>
                    <a:cubicBezTo>
                      <a:pt x="43338" y="0"/>
                      <a:pt x="55865" y="12527"/>
                      <a:pt x="55865" y="27933"/>
                    </a:cubicBezTo>
                    <a:cubicBezTo>
                      <a:pt x="55865" y="43338"/>
                      <a:pt x="43338" y="55865"/>
                      <a:pt x="27932" y="55865"/>
                    </a:cubicBezTo>
                    <a:close/>
                    <a:moveTo>
                      <a:pt x="27932" y="9888"/>
                    </a:moveTo>
                    <a:cubicBezTo>
                      <a:pt x="17991" y="9888"/>
                      <a:pt x="9888" y="17991"/>
                      <a:pt x="9888" y="27933"/>
                    </a:cubicBezTo>
                    <a:cubicBezTo>
                      <a:pt x="9888" y="37901"/>
                      <a:pt x="17991" y="45977"/>
                      <a:pt x="27932" y="45977"/>
                    </a:cubicBezTo>
                    <a:cubicBezTo>
                      <a:pt x="37874" y="45977"/>
                      <a:pt x="45977" y="37874"/>
                      <a:pt x="45977" y="27933"/>
                    </a:cubicBezTo>
                    <a:cubicBezTo>
                      <a:pt x="45977" y="17991"/>
                      <a:pt x="37874" y="9888"/>
                      <a:pt x="27932" y="9888"/>
                    </a:cubicBezTo>
                    <a:close/>
                  </a:path>
                </a:pathLst>
              </a:custGeom>
              <a:grpFill/>
              <a:ln w="2663" cap="flat">
                <a:noFill/>
                <a:prstDash val="solid"/>
                <a:miter/>
              </a:ln>
            </p:spPr>
            <p:txBody>
              <a:bodyPr rtlCol="0" anchor="ctr"/>
              <a:lstStyle/>
              <a:p>
                <a:endParaRPr lang="en-GB" dirty="0"/>
              </a:p>
            </p:txBody>
          </p:sp>
          <p:sp>
            <p:nvSpPr>
              <p:cNvPr id="324" name="Freihandform: Form 344">
                <a:extLst>
                  <a:ext uri="{FF2B5EF4-FFF2-40B4-BE49-F238E27FC236}">
                    <a16:creationId xmlns:a16="http://schemas.microsoft.com/office/drawing/2014/main" id="{46B5E59D-EF3C-4EDF-8103-B5185A87BF74}"/>
                  </a:ext>
                </a:extLst>
              </p:cNvPr>
              <p:cNvSpPr/>
              <p:nvPr/>
            </p:nvSpPr>
            <p:spPr>
              <a:xfrm>
                <a:off x="968455" y="3645745"/>
                <a:ext cx="55864" cy="55864"/>
              </a:xfrm>
              <a:custGeom>
                <a:avLst/>
                <a:gdLst>
                  <a:gd name="connsiteX0" fmla="*/ 27932 w 55864"/>
                  <a:gd name="connsiteY0" fmla="*/ 55865 h 55864"/>
                  <a:gd name="connsiteX1" fmla="*/ 0 w 55864"/>
                  <a:gd name="connsiteY1" fmla="*/ 27932 h 55864"/>
                  <a:gd name="connsiteX2" fmla="*/ 27932 w 55864"/>
                  <a:gd name="connsiteY2" fmla="*/ 0 h 55864"/>
                  <a:gd name="connsiteX3" fmla="*/ 55865 w 55864"/>
                  <a:gd name="connsiteY3" fmla="*/ 27932 h 55864"/>
                  <a:gd name="connsiteX4" fmla="*/ 27932 w 55864"/>
                  <a:gd name="connsiteY4" fmla="*/ 55865 h 55864"/>
                  <a:gd name="connsiteX5" fmla="*/ 27932 w 55864"/>
                  <a:gd name="connsiteY5" fmla="*/ 9862 h 55864"/>
                  <a:gd name="connsiteX6" fmla="*/ 9888 w 55864"/>
                  <a:gd name="connsiteY6" fmla="*/ 27906 h 55864"/>
                  <a:gd name="connsiteX7" fmla="*/ 27932 w 55864"/>
                  <a:gd name="connsiteY7" fmla="*/ 45950 h 55864"/>
                  <a:gd name="connsiteX8" fmla="*/ 45977 w 55864"/>
                  <a:gd name="connsiteY8" fmla="*/ 27906 h 55864"/>
                  <a:gd name="connsiteX9" fmla="*/ 27932 w 55864"/>
                  <a:gd name="connsiteY9" fmla="*/ 9862 h 5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864" h="55864">
                    <a:moveTo>
                      <a:pt x="27932" y="55865"/>
                    </a:moveTo>
                    <a:cubicBezTo>
                      <a:pt x="12527" y="55865"/>
                      <a:pt x="0" y="43338"/>
                      <a:pt x="0" y="27932"/>
                    </a:cubicBezTo>
                    <a:cubicBezTo>
                      <a:pt x="0" y="12527"/>
                      <a:pt x="12527" y="0"/>
                      <a:pt x="27932" y="0"/>
                    </a:cubicBezTo>
                    <a:cubicBezTo>
                      <a:pt x="43338" y="0"/>
                      <a:pt x="55865" y="12527"/>
                      <a:pt x="55865" y="27932"/>
                    </a:cubicBezTo>
                    <a:cubicBezTo>
                      <a:pt x="55865" y="43338"/>
                      <a:pt x="43338" y="55865"/>
                      <a:pt x="27932" y="55865"/>
                    </a:cubicBezTo>
                    <a:close/>
                    <a:moveTo>
                      <a:pt x="27932" y="9862"/>
                    </a:moveTo>
                    <a:cubicBezTo>
                      <a:pt x="17991" y="9862"/>
                      <a:pt x="9888" y="17964"/>
                      <a:pt x="9888" y="27906"/>
                    </a:cubicBezTo>
                    <a:cubicBezTo>
                      <a:pt x="9888" y="37847"/>
                      <a:pt x="17991" y="45950"/>
                      <a:pt x="27932" y="45950"/>
                    </a:cubicBezTo>
                    <a:cubicBezTo>
                      <a:pt x="37874" y="45950"/>
                      <a:pt x="45977" y="37847"/>
                      <a:pt x="45977" y="27906"/>
                    </a:cubicBezTo>
                    <a:cubicBezTo>
                      <a:pt x="45977" y="17964"/>
                      <a:pt x="37874" y="9862"/>
                      <a:pt x="27932" y="9862"/>
                    </a:cubicBezTo>
                    <a:close/>
                  </a:path>
                </a:pathLst>
              </a:custGeom>
              <a:grpFill/>
              <a:ln w="2663" cap="flat">
                <a:noFill/>
                <a:prstDash val="solid"/>
                <a:miter/>
              </a:ln>
            </p:spPr>
            <p:txBody>
              <a:bodyPr rtlCol="0" anchor="ctr"/>
              <a:lstStyle/>
              <a:p>
                <a:endParaRPr lang="en-GB" dirty="0"/>
              </a:p>
            </p:txBody>
          </p:sp>
          <p:sp>
            <p:nvSpPr>
              <p:cNvPr id="325" name="Freihandform: Form 345">
                <a:extLst>
                  <a:ext uri="{FF2B5EF4-FFF2-40B4-BE49-F238E27FC236}">
                    <a16:creationId xmlns:a16="http://schemas.microsoft.com/office/drawing/2014/main" id="{A9B89AF7-4A0B-4B2A-938C-5652EE73EB48}"/>
                  </a:ext>
                </a:extLst>
              </p:cNvPr>
              <p:cNvSpPr/>
              <p:nvPr/>
            </p:nvSpPr>
            <p:spPr>
              <a:xfrm>
                <a:off x="1426675" y="3645985"/>
                <a:ext cx="55864" cy="55864"/>
              </a:xfrm>
              <a:custGeom>
                <a:avLst/>
                <a:gdLst>
                  <a:gd name="connsiteX0" fmla="*/ 27932 w 55864"/>
                  <a:gd name="connsiteY0" fmla="*/ 55865 h 55864"/>
                  <a:gd name="connsiteX1" fmla="*/ 0 w 55864"/>
                  <a:gd name="connsiteY1" fmla="*/ 27932 h 55864"/>
                  <a:gd name="connsiteX2" fmla="*/ 27932 w 55864"/>
                  <a:gd name="connsiteY2" fmla="*/ 0 h 55864"/>
                  <a:gd name="connsiteX3" fmla="*/ 55865 w 55864"/>
                  <a:gd name="connsiteY3" fmla="*/ 27932 h 55864"/>
                  <a:gd name="connsiteX4" fmla="*/ 27932 w 55864"/>
                  <a:gd name="connsiteY4" fmla="*/ 55865 h 55864"/>
                  <a:gd name="connsiteX5" fmla="*/ 27932 w 55864"/>
                  <a:gd name="connsiteY5" fmla="*/ 9888 h 55864"/>
                  <a:gd name="connsiteX6" fmla="*/ 9888 w 55864"/>
                  <a:gd name="connsiteY6" fmla="*/ 27932 h 55864"/>
                  <a:gd name="connsiteX7" fmla="*/ 27932 w 55864"/>
                  <a:gd name="connsiteY7" fmla="*/ 45977 h 55864"/>
                  <a:gd name="connsiteX8" fmla="*/ 45977 w 55864"/>
                  <a:gd name="connsiteY8" fmla="*/ 27932 h 55864"/>
                  <a:gd name="connsiteX9" fmla="*/ 27932 w 55864"/>
                  <a:gd name="connsiteY9" fmla="*/ 9888 h 55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864" h="55864">
                    <a:moveTo>
                      <a:pt x="27932" y="55865"/>
                    </a:moveTo>
                    <a:cubicBezTo>
                      <a:pt x="12527" y="55865"/>
                      <a:pt x="0" y="43338"/>
                      <a:pt x="0" y="27932"/>
                    </a:cubicBezTo>
                    <a:cubicBezTo>
                      <a:pt x="0" y="12527"/>
                      <a:pt x="12527" y="0"/>
                      <a:pt x="27932" y="0"/>
                    </a:cubicBezTo>
                    <a:cubicBezTo>
                      <a:pt x="43338" y="0"/>
                      <a:pt x="55865" y="12527"/>
                      <a:pt x="55865" y="27932"/>
                    </a:cubicBezTo>
                    <a:cubicBezTo>
                      <a:pt x="55865" y="43338"/>
                      <a:pt x="43338" y="55865"/>
                      <a:pt x="27932" y="55865"/>
                    </a:cubicBezTo>
                    <a:close/>
                    <a:moveTo>
                      <a:pt x="27932" y="9888"/>
                    </a:moveTo>
                    <a:cubicBezTo>
                      <a:pt x="17991" y="9888"/>
                      <a:pt x="9888" y="17991"/>
                      <a:pt x="9888" y="27932"/>
                    </a:cubicBezTo>
                    <a:cubicBezTo>
                      <a:pt x="9888" y="37901"/>
                      <a:pt x="17991" y="45977"/>
                      <a:pt x="27932" y="45977"/>
                    </a:cubicBezTo>
                    <a:cubicBezTo>
                      <a:pt x="37874" y="45977"/>
                      <a:pt x="45977" y="37874"/>
                      <a:pt x="45977" y="27932"/>
                    </a:cubicBezTo>
                    <a:cubicBezTo>
                      <a:pt x="46003" y="17991"/>
                      <a:pt x="37901" y="9888"/>
                      <a:pt x="27932" y="9888"/>
                    </a:cubicBezTo>
                    <a:close/>
                  </a:path>
                </a:pathLst>
              </a:custGeom>
              <a:grpFill/>
              <a:ln w="2663" cap="flat">
                <a:noFill/>
                <a:prstDash val="solid"/>
                <a:miter/>
              </a:ln>
            </p:spPr>
            <p:txBody>
              <a:bodyPr rtlCol="0" anchor="ctr"/>
              <a:lstStyle/>
              <a:p>
                <a:endParaRPr lang="en-GB" dirty="0"/>
              </a:p>
            </p:txBody>
          </p:sp>
          <p:sp>
            <p:nvSpPr>
              <p:cNvPr id="326" name="Freihandform: Form 346">
                <a:extLst>
                  <a:ext uri="{FF2B5EF4-FFF2-40B4-BE49-F238E27FC236}">
                    <a16:creationId xmlns:a16="http://schemas.microsoft.com/office/drawing/2014/main" id="{CFE4E96C-5E41-40E4-96AB-F597AB4A2BF8}"/>
                  </a:ext>
                </a:extLst>
              </p:cNvPr>
              <p:cNvSpPr/>
              <p:nvPr/>
            </p:nvSpPr>
            <p:spPr>
              <a:xfrm>
                <a:off x="1089087" y="3390868"/>
                <a:ext cx="271035" cy="311488"/>
              </a:xfrm>
              <a:custGeom>
                <a:avLst/>
                <a:gdLst>
                  <a:gd name="connsiteX0" fmla="*/ 135531 w 271035"/>
                  <a:gd name="connsiteY0" fmla="*/ 311488 h 311488"/>
                  <a:gd name="connsiteX1" fmla="*/ 133052 w 271035"/>
                  <a:gd name="connsiteY1" fmla="*/ 310822 h 311488"/>
                  <a:gd name="connsiteX2" fmla="*/ 2479 w 271035"/>
                  <a:gd name="connsiteY2" fmla="*/ 235420 h 311488"/>
                  <a:gd name="connsiteX3" fmla="*/ 0 w 271035"/>
                  <a:gd name="connsiteY3" fmla="*/ 231129 h 311488"/>
                  <a:gd name="connsiteX4" fmla="*/ 0 w 271035"/>
                  <a:gd name="connsiteY4" fmla="*/ 80353 h 311488"/>
                  <a:gd name="connsiteX5" fmla="*/ 2479 w 271035"/>
                  <a:gd name="connsiteY5" fmla="*/ 76061 h 311488"/>
                  <a:gd name="connsiteX6" fmla="*/ 133052 w 271035"/>
                  <a:gd name="connsiteY6" fmla="*/ 660 h 311488"/>
                  <a:gd name="connsiteX7" fmla="*/ 137983 w 271035"/>
                  <a:gd name="connsiteY7" fmla="*/ 660 h 311488"/>
                  <a:gd name="connsiteX8" fmla="*/ 268557 w 271035"/>
                  <a:gd name="connsiteY8" fmla="*/ 76061 h 311488"/>
                  <a:gd name="connsiteX9" fmla="*/ 271036 w 271035"/>
                  <a:gd name="connsiteY9" fmla="*/ 80353 h 311488"/>
                  <a:gd name="connsiteX10" fmla="*/ 271036 w 271035"/>
                  <a:gd name="connsiteY10" fmla="*/ 231129 h 311488"/>
                  <a:gd name="connsiteX11" fmla="*/ 268557 w 271035"/>
                  <a:gd name="connsiteY11" fmla="*/ 235420 h 311488"/>
                  <a:gd name="connsiteX12" fmla="*/ 137983 w 271035"/>
                  <a:gd name="connsiteY12" fmla="*/ 310822 h 311488"/>
                  <a:gd name="connsiteX13" fmla="*/ 135531 w 271035"/>
                  <a:gd name="connsiteY13" fmla="*/ 311488 h 311488"/>
                  <a:gd name="connsiteX14" fmla="*/ 9888 w 271035"/>
                  <a:gd name="connsiteY14" fmla="*/ 228304 h 311488"/>
                  <a:gd name="connsiteX15" fmla="*/ 135531 w 271035"/>
                  <a:gd name="connsiteY15" fmla="*/ 300827 h 311488"/>
                  <a:gd name="connsiteX16" fmla="*/ 261174 w 271035"/>
                  <a:gd name="connsiteY16" fmla="*/ 228304 h 311488"/>
                  <a:gd name="connsiteX17" fmla="*/ 261174 w 271035"/>
                  <a:gd name="connsiteY17" fmla="*/ 83231 h 311488"/>
                  <a:gd name="connsiteX18" fmla="*/ 135531 w 271035"/>
                  <a:gd name="connsiteY18" fmla="*/ 10681 h 311488"/>
                  <a:gd name="connsiteX19" fmla="*/ 9888 w 271035"/>
                  <a:gd name="connsiteY19" fmla="*/ 83231 h 311488"/>
                  <a:gd name="connsiteX20" fmla="*/ 9888 w 271035"/>
                  <a:gd name="connsiteY20" fmla="*/ 228304 h 311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71035" h="311488">
                    <a:moveTo>
                      <a:pt x="135531" y="311488"/>
                    </a:moveTo>
                    <a:cubicBezTo>
                      <a:pt x="134678" y="311488"/>
                      <a:pt x="133825" y="311275"/>
                      <a:pt x="133052" y="310822"/>
                    </a:cubicBezTo>
                    <a:lnTo>
                      <a:pt x="2479" y="235420"/>
                    </a:lnTo>
                    <a:cubicBezTo>
                      <a:pt x="960" y="234541"/>
                      <a:pt x="0" y="232915"/>
                      <a:pt x="0" y="231129"/>
                    </a:cubicBezTo>
                    <a:lnTo>
                      <a:pt x="0" y="80353"/>
                    </a:lnTo>
                    <a:cubicBezTo>
                      <a:pt x="0" y="78593"/>
                      <a:pt x="933" y="76941"/>
                      <a:pt x="2479" y="76061"/>
                    </a:cubicBezTo>
                    <a:lnTo>
                      <a:pt x="133052" y="660"/>
                    </a:lnTo>
                    <a:cubicBezTo>
                      <a:pt x="134572" y="-220"/>
                      <a:pt x="136464" y="-220"/>
                      <a:pt x="137983" y="660"/>
                    </a:cubicBezTo>
                    <a:lnTo>
                      <a:pt x="268557" y="76061"/>
                    </a:lnTo>
                    <a:cubicBezTo>
                      <a:pt x="270076" y="76941"/>
                      <a:pt x="271036" y="78567"/>
                      <a:pt x="271036" y="80353"/>
                    </a:cubicBezTo>
                    <a:lnTo>
                      <a:pt x="271036" y="231129"/>
                    </a:lnTo>
                    <a:cubicBezTo>
                      <a:pt x="271036" y="232888"/>
                      <a:pt x="270103" y="234541"/>
                      <a:pt x="268557" y="235420"/>
                    </a:cubicBezTo>
                    <a:lnTo>
                      <a:pt x="137983" y="310822"/>
                    </a:lnTo>
                    <a:cubicBezTo>
                      <a:pt x="137237" y="311275"/>
                      <a:pt x="136384" y="311488"/>
                      <a:pt x="135531" y="311488"/>
                    </a:cubicBezTo>
                    <a:close/>
                    <a:moveTo>
                      <a:pt x="9888" y="228304"/>
                    </a:moveTo>
                    <a:lnTo>
                      <a:pt x="135531" y="300827"/>
                    </a:lnTo>
                    <a:lnTo>
                      <a:pt x="261174" y="228304"/>
                    </a:lnTo>
                    <a:lnTo>
                      <a:pt x="261174" y="83231"/>
                    </a:lnTo>
                    <a:lnTo>
                      <a:pt x="135531" y="10681"/>
                    </a:lnTo>
                    <a:lnTo>
                      <a:pt x="9888" y="83231"/>
                    </a:lnTo>
                    <a:lnTo>
                      <a:pt x="9888" y="228304"/>
                    </a:lnTo>
                    <a:close/>
                  </a:path>
                </a:pathLst>
              </a:custGeom>
              <a:grpFill/>
              <a:ln w="2663" cap="flat">
                <a:noFill/>
                <a:prstDash val="solid"/>
                <a:miter/>
              </a:ln>
            </p:spPr>
            <p:txBody>
              <a:bodyPr rtlCol="0" anchor="ctr"/>
              <a:lstStyle/>
              <a:p>
                <a:endParaRPr lang="en-GB" dirty="0"/>
              </a:p>
            </p:txBody>
          </p:sp>
          <p:grpSp>
            <p:nvGrpSpPr>
              <p:cNvPr id="327" name="Grafik 138">
                <a:extLst>
                  <a:ext uri="{FF2B5EF4-FFF2-40B4-BE49-F238E27FC236}">
                    <a16:creationId xmlns:a16="http://schemas.microsoft.com/office/drawing/2014/main" id="{80306A2A-1556-42FC-801A-FAD8527FB728}"/>
                  </a:ext>
                </a:extLst>
              </p:cNvPr>
              <p:cNvGrpSpPr/>
              <p:nvPr/>
            </p:nvGrpSpPr>
            <p:grpSpPr>
              <a:xfrm>
                <a:off x="1012659" y="3419820"/>
                <a:ext cx="425127" cy="249167"/>
                <a:chOff x="1012659" y="3419820"/>
                <a:chExt cx="425127" cy="249167"/>
              </a:xfrm>
              <a:grpFill/>
            </p:grpSpPr>
            <p:grpSp>
              <p:nvGrpSpPr>
                <p:cNvPr id="328" name="Grafik 138">
                  <a:extLst>
                    <a:ext uri="{FF2B5EF4-FFF2-40B4-BE49-F238E27FC236}">
                      <a16:creationId xmlns:a16="http://schemas.microsoft.com/office/drawing/2014/main" id="{D49903C8-5DCF-4221-BBCF-6C8281B2AAA8}"/>
                    </a:ext>
                  </a:extLst>
                </p:cNvPr>
                <p:cNvGrpSpPr/>
                <p:nvPr/>
              </p:nvGrpSpPr>
              <p:grpSpPr>
                <a:xfrm>
                  <a:off x="1350806" y="3614245"/>
                  <a:ext cx="86980" cy="53755"/>
                  <a:chOff x="1350806" y="3614245"/>
                  <a:chExt cx="86980" cy="53755"/>
                </a:xfrm>
                <a:grpFill/>
              </p:grpSpPr>
              <p:sp>
                <p:nvSpPr>
                  <p:cNvPr id="338" name="Freihandform: Form 358">
                    <a:extLst>
                      <a:ext uri="{FF2B5EF4-FFF2-40B4-BE49-F238E27FC236}">
                        <a16:creationId xmlns:a16="http://schemas.microsoft.com/office/drawing/2014/main" id="{A3B1F7C6-9359-465D-B4C4-A54069D2C88C}"/>
                      </a:ext>
                    </a:extLst>
                  </p:cNvPr>
                  <p:cNvSpPr/>
                  <p:nvPr/>
                </p:nvSpPr>
                <p:spPr>
                  <a:xfrm>
                    <a:off x="1350806" y="3614245"/>
                    <a:ext cx="32813" cy="22918"/>
                  </a:xfrm>
                  <a:custGeom>
                    <a:avLst/>
                    <a:gdLst>
                      <a:gd name="connsiteX0" fmla="*/ 27868 w 32813"/>
                      <a:gd name="connsiteY0" fmla="*/ 22918 h 22918"/>
                      <a:gd name="connsiteX1" fmla="*/ 25416 w 32813"/>
                      <a:gd name="connsiteY1" fmla="*/ 22279 h 22918"/>
                      <a:gd name="connsiteX2" fmla="*/ 2494 w 32813"/>
                      <a:gd name="connsiteY2" fmla="*/ 9245 h 22918"/>
                      <a:gd name="connsiteX3" fmla="*/ 655 w 32813"/>
                      <a:gd name="connsiteY3" fmla="*/ 2502 h 22918"/>
                      <a:gd name="connsiteX4" fmla="*/ 7398 w 32813"/>
                      <a:gd name="connsiteY4" fmla="*/ 636 h 22918"/>
                      <a:gd name="connsiteX5" fmla="*/ 30320 w 32813"/>
                      <a:gd name="connsiteY5" fmla="*/ 13670 h 22918"/>
                      <a:gd name="connsiteX6" fmla="*/ 32159 w 32813"/>
                      <a:gd name="connsiteY6" fmla="*/ 20413 h 22918"/>
                      <a:gd name="connsiteX7" fmla="*/ 27868 w 32813"/>
                      <a:gd name="connsiteY7" fmla="*/ 22918 h 2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13" h="22918">
                        <a:moveTo>
                          <a:pt x="27868" y="22918"/>
                        </a:moveTo>
                        <a:cubicBezTo>
                          <a:pt x="27041" y="22918"/>
                          <a:pt x="26188" y="22705"/>
                          <a:pt x="25416" y="22279"/>
                        </a:cubicBezTo>
                        <a:lnTo>
                          <a:pt x="2494" y="9245"/>
                        </a:lnTo>
                        <a:cubicBezTo>
                          <a:pt x="122" y="7886"/>
                          <a:pt x="-705" y="4874"/>
                          <a:pt x="655" y="2502"/>
                        </a:cubicBezTo>
                        <a:cubicBezTo>
                          <a:pt x="2014" y="130"/>
                          <a:pt x="5026" y="-696"/>
                          <a:pt x="7398" y="636"/>
                        </a:cubicBezTo>
                        <a:lnTo>
                          <a:pt x="30320" y="13670"/>
                        </a:lnTo>
                        <a:cubicBezTo>
                          <a:pt x="32692" y="15029"/>
                          <a:pt x="33518" y="18041"/>
                          <a:pt x="32159" y="20413"/>
                        </a:cubicBezTo>
                        <a:cubicBezTo>
                          <a:pt x="31253" y="22012"/>
                          <a:pt x="29573" y="22918"/>
                          <a:pt x="27868" y="22918"/>
                        </a:cubicBezTo>
                        <a:close/>
                      </a:path>
                    </a:pathLst>
                  </a:custGeom>
                  <a:grpFill/>
                  <a:ln w="2663" cap="flat">
                    <a:noFill/>
                    <a:prstDash val="solid"/>
                    <a:miter/>
                  </a:ln>
                </p:spPr>
                <p:txBody>
                  <a:bodyPr rtlCol="0" anchor="ctr"/>
                  <a:lstStyle/>
                  <a:p>
                    <a:endParaRPr lang="en-GB" dirty="0"/>
                  </a:p>
                </p:txBody>
              </p:sp>
              <p:sp>
                <p:nvSpPr>
                  <p:cNvPr id="339" name="Freihandform: Form 359">
                    <a:extLst>
                      <a:ext uri="{FF2B5EF4-FFF2-40B4-BE49-F238E27FC236}">
                        <a16:creationId xmlns:a16="http://schemas.microsoft.com/office/drawing/2014/main" id="{4DE6EB3C-6190-49CF-AE9F-EEDD1D33ACAD}"/>
                      </a:ext>
                    </a:extLst>
                  </p:cNvPr>
                  <p:cNvSpPr/>
                  <p:nvPr/>
                </p:nvSpPr>
                <p:spPr>
                  <a:xfrm>
                    <a:off x="1404983" y="3645082"/>
                    <a:ext cx="32803" cy="22918"/>
                  </a:xfrm>
                  <a:custGeom>
                    <a:avLst/>
                    <a:gdLst>
                      <a:gd name="connsiteX0" fmla="*/ 27876 w 32803"/>
                      <a:gd name="connsiteY0" fmla="*/ 22918 h 22918"/>
                      <a:gd name="connsiteX1" fmla="*/ 25424 w 32803"/>
                      <a:gd name="connsiteY1" fmla="*/ 22279 h 22918"/>
                      <a:gd name="connsiteX2" fmla="*/ 2502 w 32803"/>
                      <a:gd name="connsiteY2" fmla="*/ 9245 h 22918"/>
                      <a:gd name="connsiteX3" fmla="*/ 636 w 32803"/>
                      <a:gd name="connsiteY3" fmla="*/ 2502 h 22918"/>
                      <a:gd name="connsiteX4" fmla="*/ 7380 w 32803"/>
                      <a:gd name="connsiteY4" fmla="*/ 636 h 22918"/>
                      <a:gd name="connsiteX5" fmla="*/ 30301 w 32803"/>
                      <a:gd name="connsiteY5" fmla="*/ 13670 h 22918"/>
                      <a:gd name="connsiteX6" fmla="*/ 32167 w 32803"/>
                      <a:gd name="connsiteY6" fmla="*/ 20413 h 22918"/>
                      <a:gd name="connsiteX7" fmla="*/ 27876 w 32803"/>
                      <a:gd name="connsiteY7" fmla="*/ 22918 h 2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03" h="22918">
                        <a:moveTo>
                          <a:pt x="27876" y="22918"/>
                        </a:moveTo>
                        <a:cubicBezTo>
                          <a:pt x="27050" y="22918"/>
                          <a:pt x="26197" y="22705"/>
                          <a:pt x="25424" y="22279"/>
                        </a:cubicBezTo>
                        <a:lnTo>
                          <a:pt x="2502" y="9245"/>
                        </a:lnTo>
                        <a:cubicBezTo>
                          <a:pt x="130" y="7886"/>
                          <a:pt x="-696" y="4874"/>
                          <a:pt x="636" y="2502"/>
                        </a:cubicBezTo>
                        <a:cubicBezTo>
                          <a:pt x="1996" y="130"/>
                          <a:pt x="5007" y="-696"/>
                          <a:pt x="7380" y="636"/>
                        </a:cubicBezTo>
                        <a:lnTo>
                          <a:pt x="30301" y="13670"/>
                        </a:lnTo>
                        <a:cubicBezTo>
                          <a:pt x="32673" y="15029"/>
                          <a:pt x="33500" y="18041"/>
                          <a:pt x="32167" y="20413"/>
                        </a:cubicBezTo>
                        <a:cubicBezTo>
                          <a:pt x="31261" y="22012"/>
                          <a:pt x="29608" y="22918"/>
                          <a:pt x="27876" y="22918"/>
                        </a:cubicBezTo>
                        <a:close/>
                      </a:path>
                    </a:pathLst>
                  </a:custGeom>
                  <a:grpFill/>
                  <a:ln w="2663" cap="flat">
                    <a:noFill/>
                    <a:prstDash val="solid"/>
                    <a:miter/>
                  </a:ln>
                </p:spPr>
                <p:txBody>
                  <a:bodyPr rtlCol="0" anchor="ctr"/>
                  <a:lstStyle/>
                  <a:p>
                    <a:endParaRPr lang="en-GB" dirty="0"/>
                  </a:p>
                </p:txBody>
              </p:sp>
            </p:grpSp>
            <p:grpSp>
              <p:nvGrpSpPr>
                <p:cNvPr id="329" name="Grafik 138">
                  <a:extLst>
                    <a:ext uri="{FF2B5EF4-FFF2-40B4-BE49-F238E27FC236}">
                      <a16:creationId xmlns:a16="http://schemas.microsoft.com/office/drawing/2014/main" id="{9FA9F757-CBA3-49B6-BDAE-C6778F15E1F2}"/>
                    </a:ext>
                  </a:extLst>
                </p:cNvPr>
                <p:cNvGrpSpPr/>
                <p:nvPr/>
              </p:nvGrpSpPr>
              <p:grpSpPr>
                <a:xfrm>
                  <a:off x="1012659" y="3419820"/>
                  <a:ext cx="87396" cy="54892"/>
                  <a:chOff x="1012659" y="3419820"/>
                  <a:chExt cx="87396" cy="54892"/>
                </a:xfrm>
                <a:grpFill/>
              </p:grpSpPr>
              <p:sp>
                <p:nvSpPr>
                  <p:cNvPr id="336" name="Freihandform: Form 356">
                    <a:extLst>
                      <a:ext uri="{FF2B5EF4-FFF2-40B4-BE49-F238E27FC236}">
                        <a16:creationId xmlns:a16="http://schemas.microsoft.com/office/drawing/2014/main" id="{D8588F0B-B5D6-4859-85EA-795127400C7B}"/>
                      </a:ext>
                    </a:extLst>
                  </p:cNvPr>
                  <p:cNvSpPr/>
                  <p:nvPr/>
                </p:nvSpPr>
                <p:spPr>
                  <a:xfrm>
                    <a:off x="1012659" y="3419820"/>
                    <a:ext cx="32704" cy="23148"/>
                  </a:xfrm>
                  <a:custGeom>
                    <a:avLst/>
                    <a:gdLst>
                      <a:gd name="connsiteX0" fmla="*/ 27760 w 32704"/>
                      <a:gd name="connsiteY0" fmla="*/ 23149 h 23148"/>
                      <a:gd name="connsiteX1" fmla="*/ 25281 w 32704"/>
                      <a:gd name="connsiteY1" fmla="*/ 22482 h 23148"/>
                      <a:gd name="connsiteX2" fmla="*/ 2466 w 32704"/>
                      <a:gd name="connsiteY2" fmla="*/ 9236 h 23148"/>
                      <a:gd name="connsiteX3" fmla="*/ 680 w 32704"/>
                      <a:gd name="connsiteY3" fmla="*/ 2466 h 23148"/>
                      <a:gd name="connsiteX4" fmla="*/ 7423 w 32704"/>
                      <a:gd name="connsiteY4" fmla="*/ 680 h 23148"/>
                      <a:gd name="connsiteX5" fmla="*/ 30238 w 32704"/>
                      <a:gd name="connsiteY5" fmla="*/ 13927 h 23148"/>
                      <a:gd name="connsiteX6" fmla="*/ 32024 w 32704"/>
                      <a:gd name="connsiteY6" fmla="*/ 20697 h 23148"/>
                      <a:gd name="connsiteX7" fmla="*/ 27760 w 32704"/>
                      <a:gd name="connsiteY7" fmla="*/ 23149 h 23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4" h="23148">
                        <a:moveTo>
                          <a:pt x="27760" y="23149"/>
                        </a:moveTo>
                        <a:cubicBezTo>
                          <a:pt x="26907" y="23149"/>
                          <a:pt x="26054" y="22936"/>
                          <a:pt x="25281" y="22482"/>
                        </a:cubicBezTo>
                        <a:lnTo>
                          <a:pt x="2466" y="9236"/>
                        </a:lnTo>
                        <a:cubicBezTo>
                          <a:pt x="94" y="7877"/>
                          <a:pt x="-706" y="4838"/>
                          <a:pt x="680" y="2466"/>
                        </a:cubicBezTo>
                        <a:cubicBezTo>
                          <a:pt x="2066" y="94"/>
                          <a:pt x="5078" y="-706"/>
                          <a:pt x="7423" y="680"/>
                        </a:cubicBezTo>
                        <a:lnTo>
                          <a:pt x="30238" y="13927"/>
                        </a:lnTo>
                        <a:cubicBezTo>
                          <a:pt x="32611" y="15286"/>
                          <a:pt x="33410" y="18325"/>
                          <a:pt x="32024" y="20697"/>
                        </a:cubicBezTo>
                        <a:cubicBezTo>
                          <a:pt x="31145" y="22269"/>
                          <a:pt x="29466" y="23149"/>
                          <a:pt x="27760" y="23149"/>
                        </a:cubicBezTo>
                        <a:close/>
                      </a:path>
                    </a:pathLst>
                  </a:custGeom>
                  <a:grpFill/>
                  <a:ln w="2663" cap="flat">
                    <a:noFill/>
                    <a:prstDash val="solid"/>
                    <a:miter/>
                  </a:ln>
                </p:spPr>
                <p:txBody>
                  <a:bodyPr rtlCol="0" anchor="ctr"/>
                  <a:lstStyle/>
                  <a:p>
                    <a:endParaRPr lang="en-GB" dirty="0"/>
                  </a:p>
                </p:txBody>
              </p:sp>
              <p:sp>
                <p:nvSpPr>
                  <p:cNvPr id="337" name="Freihandform: Form 357">
                    <a:extLst>
                      <a:ext uri="{FF2B5EF4-FFF2-40B4-BE49-F238E27FC236}">
                        <a16:creationId xmlns:a16="http://schemas.microsoft.com/office/drawing/2014/main" id="{D77BDE0F-1E61-4765-A492-0864A844ED76}"/>
                      </a:ext>
                    </a:extLst>
                  </p:cNvPr>
                  <p:cNvSpPr/>
                  <p:nvPr/>
                </p:nvSpPr>
                <p:spPr>
                  <a:xfrm>
                    <a:off x="1067351" y="3451569"/>
                    <a:ext cx="32704" cy="23142"/>
                  </a:xfrm>
                  <a:custGeom>
                    <a:avLst/>
                    <a:gdLst>
                      <a:gd name="connsiteX0" fmla="*/ 27760 w 32704"/>
                      <a:gd name="connsiteY0" fmla="*/ 23143 h 23142"/>
                      <a:gd name="connsiteX1" fmla="*/ 25281 w 32704"/>
                      <a:gd name="connsiteY1" fmla="*/ 22477 h 23142"/>
                      <a:gd name="connsiteX2" fmla="*/ 2466 w 32704"/>
                      <a:gd name="connsiteY2" fmla="*/ 9230 h 23142"/>
                      <a:gd name="connsiteX3" fmla="*/ 680 w 32704"/>
                      <a:gd name="connsiteY3" fmla="*/ 2460 h 23142"/>
                      <a:gd name="connsiteX4" fmla="*/ 7423 w 32704"/>
                      <a:gd name="connsiteY4" fmla="*/ 674 h 23142"/>
                      <a:gd name="connsiteX5" fmla="*/ 30238 w 32704"/>
                      <a:gd name="connsiteY5" fmla="*/ 13921 h 23142"/>
                      <a:gd name="connsiteX6" fmla="*/ 32024 w 32704"/>
                      <a:gd name="connsiteY6" fmla="*/ 20691 h 23142"/>
                      <a:gd name="connsiteX7" fmla="*/ 27760 w 32704"/>
                      <a:gd name="connsiteY7" fmla="*/ 23143 h 23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04" h="23142">
                        <a:moveTo>
                          <a:pt x="27760" y="23143"/>
                        </a:moveTo>
                        <a:cubicBezTo>
                          <a:pt x="26907" y="23143"/>
                          <a:pt x="26054" y="22930"/>
                          <a:pt x="25281" y="22477"/>
                        </a:cubicBezTo>
                        <a:lnTo>
                          <a:pt x="2466" y="9230"/>
                        </a:lnTo>
                        <a:cubicBezTo>
                          <a:pt x="94" y="7871"/>
                          <a:pt x="-706" y="4832"/>
                          <a:pt x="680" y="2460"/>
                        </a:cubicBezTo>
                        <a:cubicBezTo>
                          <a:pt x="2039" y="115"/>
                          <a:pt x="5078" y="-712"/>
                          <a:pt x="7423" y="674"/>
                        </a:cubicBezTo>
                        <a:lnTo>
                          <a:pt x="30238" y="13921"/>
                        </a:lnTo>
                        <a:cubicBezTo>
                          <a:pt x="32611" y="15280"/>
                          <a:pt x="33410" y="18319"/>
                          <a:pt x="32024" y="20691"/>
                        </a:cubicBezTo>
                        <a:cubicBezTo>
                          <a:pt x="31118" y="22263"/>
                          <a:pt x="29466" y="23143"/>
                          <a:pt x="27760" y="23143"/>
                        </a:cubicBezTo>
                        <a:close/>
                      </a:path>
                    </a:pathLst>
                  </a:custGeom>
                  <a:grpFill/>
                  <a:ln w="2663" cap="flat">
                    <a:noFill/>
                    <a:prstDash val="solid"/>
                    <a:miter/>
                  </a:ln>
                </p:spPr>
                <p:txBody>
                  <a:bodyPr rtlCol="0" anchor="ctr"/>
                  <a:lstStyle/>
                  <a:p>
                    <a:endParaRPr lang="en-GB" dirty="0"/>
                  </a:p>
                </p:txBody>
              </p:sp>
            </p:grpSp>
            <p:grpSp>
              <p:nvGrpSpPr>
                <p:cNvPr id="330" name="Grafik 138">
                  <a:extLst>
                    <a:ext uri="{FF2B5EF4-FFF2-40B4-BE49-F238E27FC236}">
                      <a16:creationId xmlns:a16="http://schemas.microsoft.com/office/drawing/2014/main" id="{A6F567DB-9FCF-47D5-A1E6-4FE591B05552}"/>
                    </a:ext>
                  </a:extLst>
                </p:cNvPr>
                <p:cNvGrpSpPr/>
                <p:nvPr/>
              </p:nvGrpSpPr>
              <p:grpSpPr>
                <a:xfrm>
                  <a:off x="1349679" y="3420825"/>
                  <a:ext cx="88105" cy="55007"/>
                  <a:chOff x="1349679" y="3420825"/>
                  <a:chExt cx="88105" cy="55007"/>
                </a:xfrm>
                <a:grpFill/>
              </p:grpSpPr>
              <p:sp>
                <p:nvSpPr>
                  <p:cNvPr id="334" name="Freihandform: Form 354">
                    <a:extLst>
                      <a:ext uri="{FF2B5EF4-FFF2-40B4-BE49-F238E27FC236}">
                        <a16:creationId xmlns:a16="http://schemas.microsoft.com/office/drawing/2014/main" id="{C18A7E6B-87BC-49A7-8E3C-6AF488556F9A}"/>
                      </a:ext>
                    </a:extLst>
                  </p:cNvPr>
                  <p:cNvSpPr/>
                  <p:nvPr/>
                </p:nvSpPr>
                <p:spPr>
                  <a:xfrm>
                    <a:off x="1349679" y="3452782"/>
                    <a:ext cx="32720" cy="23050"/>
                  </a:xfrm>
                  <a:custGeom>
                    <a:avLst/>
                    <a:gdLst>
                      <a:gd name="connsiteX0" fmla="*/ 4953 w 32720"/>
                      <a:gd name="connsiteY0" fmla="*/ 23050 h 23050"/>
                      <a:gd name="connsiteX1" fmla="*/ 661 w 32720"/>
                      <a:gd name="connsiteY1" fmla="*/ 20571 h 23050"/>
                      <a:gd name="connsiteX2" fmla="*/ 2474 w 32720"/>
                      <a:gd name="connsiteY2" fmla="*/ 13828 h 23050"/>
                      <a:gd name="connsiteX3" fmla="*/ 25316 w 32720"/>
                      <a:gd name="connsiteY3" fmla="*/ 661 h 23050"/>
                      <a:gd name="connsiteX4" fmla="*/ 32059 w 32720"/>
                      <a:gd name="connsiteY4" fmla="*/ 2474 h 23050"/>
                      <a:gd name="connsiteX5" fmla="*/ 30246 w 32720"/>
                      <a:gd name="connsiteY5" fmla="*/ 9217 h 23050"/>
                      <a:gd name="connsiteX6" fmla="*/ 7405 w 32720"/>
                      <a:gd name="connsiteY6" fmla="*/ 22384 h 23050"/>
                      <a:gd name="connsiteX7" fmla="*/ 4953 w 32720"/>
                      <a:gd name="connsiteY7" fmla="*/ 23050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20" h="23050">
                        <a:moveTo>
                          <a:pt x="4953" y="23050"/>
                        </a:moveTo>
                        <a:cubicBezTo>
                          <a:pt x="3247" y="23050"/>
                          <a:pt x="1594" y="22170"/>
                          <a:pt x="661" y="20571"/>
                        </a:cubicBezTo>
                        <a:cubicBezTo>
                          <a:pt x="-698" y="18199"/>
                          <a:pt x="102" y="15187"/>
                          <a:pt x="2474" y="13828"/>
                        </a:cubicBezTo>
                        <a:lnTo>
                          <a:pt x="25316" y="661"/>
                        </a:lnTo>
                        <a:cubicBezTo>
                          <a:pt x="27661" y="-698"/>
                          <a:pt x="30700" y="102"/>
                          <a:pt x="32059" y="2474"/>
                        </a:cubicBezTo>
                        <a:cubicBezTo>
                          <a:pt x="33418" y="4846"/>
                          <a:pt x="32619" y="7858"/>
                          <a:pt x="30246" y="9217"/>
                        </a:cubicBezTo>
                        <a:lnTo>
                          <a:pt x="7405" y="22384"/>
                        </a:lnTo>
                        <a:cubicBezTo>
                          <a:pt x="6658" y="22837"/>
                          <a:pt x="5806" y="23050"/>
                          <a:pt x="4953" y="23050"/>
                        </a:cubicBezTo>
                        <a:close/>
                      </a:path>
                    </a:pathLst>
                  </a:custGeom>
                  <a:grpFill/>
                  <a:ln w="2663" cap="flat">
                    <a:noFill/>
                    <a:prstDash val="solid"/>
                    <a:miter/>
                  </a:ln>
                </p:spPr>
                <p:txBody>
                  <a:bodyPr rtlCol="0" anchor="ctr"/>
                  <a:lstStyle/>
                  <a:p>
                    <a:endParaRPr lang="en-GB" dirty="0"/>
                  </a:p>
                </p:txBody>
              </p:sp>
              <p:sp>
                <p:nvSpPr>
                  <p:cNvPr id="335" name="Freihandform: Form 355">
                    <a:extLst>
                      <a:ext uri="{FF2B5EF4-FFF2-40B4-BE49-F238E27FC236}">
                        <a16:creationId xmlns:a16="http://schemas.microsoft.com/office/drawing/2014/main" id="{826B2C05-FD72-4357-BF54-92B54AB6BCF5}"/>
                      </a:ext>
                    </a:extLst>
                  </p:cNvPr>
                  <p:cNvSpPr/>
                  <p:nvPr/>
                </p:nvSpPr>
                <p:spPr>
                  <a:xfrm>
                    <a:off x="1405065" y="3420825"/>
                    <a:ext cx="32720" cy="23050"/>
                  </a:xfrm>
                  <a:custGeom>
                    <a:avLst/>
                    <a:gdLst>
                      <a:gd name="connsiteX0" fmla="*/ 4953 w 32720"/>
                      <a:gd name="connsiteY0" fmla="*/ 23050 h 23050"/>
                      <a:gd name="connsiteX1" fmla="*/ 661 w 32720"/>
                      <a:gd name="connsiteY1" fmla="*/ 20571 h 23050"/>
                      <a:gd name="connsiteX2" fmla="*/ 2474 w 32720"/>
                      <a:gd name="connsiteY2" fmla="*/ 13828 h 23050"/>
                      <a:gd name="connsiteX3" fmla="*/ 25316 w 32720"/>
                      <a:gd name="connsiteY3" fmla="*/ 661 h 23050"/>
                      <a:gd name="connsiteX4" fmla="*/ 32059 w 32720"/>
                      <a:gd name="connsiteY4" fmla="*/ 2474 h 23050"/>
                      <a:gd name="connsiteX5" fmla="*/ 30246 w 32720"/>
                      <a:gd name="connsiteY5" fmla="*/ 9217 h 23050"/>
                      <a:gd name="connsiteX6" fmla="*/ 7405 w 32720"/>
                      <a:gd name="connsiteY6" fmla="*/ 22384 h 23050"/>
                      <a:gd name="connsiteX7" fmla="*/ 4953 w 32720"/>
                      <a:gd name="connsiteY7" fmla="*/ 23050 h 2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20" h="23050">
                        <a:moveTo>
                          <a:pt x="4953" y="23050"/>
                        </a:moveTo>
                        <a:cubicBezTo>
                          <a:pt x="3247" y="23050"/>
                          <a:pt x="1594" y="22171"/>
                          <a:pt x="661" y="20571"/>
                        </a:cubicBezTo>
                        <a:cubicBezTo>
                          <a:pt x="-698" y="18199"/>
                          <a:pt x="102" y="15187"/>
                          <a:pt x="2474" y="13828"/>
                        </a:cubicBezTo>
                        <a:lnTo>
                          <a:pt x="25316" y="661"/>
                        </a:lnTo>
                        <a:cubicBezTo>
                          <a:pt x="27661" y="-698"/>
                          <a:pt x="30700" y="102"/>
                          <a:pt x="32059" y="2474"/>
                        </a:cubicBezTo>
                        <a:cubicBezTo>
                          <a:pt x="33418" y="4846"/>
                          <a:pt x="32619" y="7858"/>
                          <a:pt x="30246" y="9217"/>
                        </a:cubicBezTo>
                        <a:lnTo>
                          <a:pt x="7405" y="22384"/>
                        </a:lnTo>
                        <a:cubicBezTo>
                          <a:pt x="6658" y="22864"/>
                          <a:pt x="5806" y="23050"/>
                          <a:pt x="4953" y="23050"/>
                        </a:cubicBezTo>
                        <a:close/>
                      </a:path>
                    </a:pathLst>
                  </a:custGeom>
                  <a:grpFill/>
                  <a:ln w="2663" cap="flat">
                    <a:noFill/>
                    <a:prstDash val="solid"/>
                    <a:miter/>
                  </a:ln>
                </p:spPr>
                <p:txBody>
                  <a:bodyPr rtlCol="0" anchor="ctr"/>
                  <a:lstStyle/>
                  <a:p>
                    <a:endParaRPr lang="en-GB" dirty="0"/>
                  </a:p>
                </p:txBody>
              </p:sp>
            </p:grpSp>
            <p:grpSp>
              <p:nvGrpSpPr>
                <p:cNvPr id="331" name="Grafik 138">
                  <a:extLst>
                    <a:ext uri="{FF2B5EF4-FFF2-40B4-BE49-F238E27FC236}">
                      <a16:creationId xmlns:a16="http://schemas.microsoft.com/office/drawing/2014/main" id="{689050D3-2959-41CC-815D-E2C2C7E4F3E7}"/>
                    </a:ext>
                  </a:extLst>
                </p:cNvPr>
                <p:cNvGrpSpPr/>
                <p:nvPr/>
              </p:nvGrpSpPr>
              <p:grpSpPr>
                <a:xfrm>
                  <a:off x="1012683" y="3615153"/>
                  <a:ext cx="86520" cy="53833"/>
                  <a:chOff x="1012683" y="3615153"/>
                  <a:chExt cx="86520" cy="53833"/>
                </a:xfrm>
                <a:grpFill/>
              </p:grpSpPr>
              <p:sp>
                <p:nvSpPr>
                  <p:cNvPr id="332" name="Freihandform: Form 352">
                    <a:extLst>
                      <a:ext uri="{FF2B5EF4-FFF2-40B4-BE49-F238E27FC236}">
                        <a16:creationId xmlns:a16="http://schemas.microsoft.com/office/drawing/2014/main" id="{48515027-9652-4F8A-B36F-6B13F628B18A}"/>
                      </a:ext>
                    </a:extLst>
                  </p:cNvPr>
                  <p:cNvSpPr/>
                  <p:nvPr/>
                </p:nvSpPr>
                <p:spPr>
                  <a:xfrm>
                    <a:off x="1012683" y="3645991"/>
                    <a:ext cx="32735" cy="22995"/>
                  </a:xfrm>
                  <a:custGeom>
                    <a:avLst/>
                    <a:gdLst>
                      <a:gd name="connsiteX0" fmla="*/ 4947 w 32735"/>
                      <a:gd name="connsiteY0" fmla="*/ 22996 h 22995"/>
                      <a:gd name="connsiteX1" fmla="*/ 656 w 32735"/>
                      <a:gd name="connsiteY1" fmla="*/ 20517 h 22995"/>
                      <a:gd name="connsiteX2" fmla="*/ 2468 w 32735"/>
                      <a:gd name="connsiteY2" fmla="*/ 13774 h 22995"/>
                      <a:gd name="connsiteX3" fmla="*/ 25336 w 32735"/>
                      <a:gd name="connsiteY3" fmla="*/ 661 h 22995"/>
                      <a:gd name="connsiteX4" fmla="*/ 32080 w 32735"/>
                      <a:gd name="connsiteY4" fmla="*/ 2500 h 22995"/>
                      <a:gd name="connsiteX5" fmla="*/ 30267 w 32735"/>
                      <a:gd name="connsiteY5" fmla="*/ 9243 h 22995"/>
                      <a:gd name="connsiteX6" fmla="*/ 7399 w 32735"/>
                      <a:gd name="connsiteY6" fmla="*/ 22356 h 22995"/>
                      <a:gd name="connsiteX7" fmla="*/ 4947 w 32735"/>
                      <a:gd name="connsiteY7" fmla="*/ 22996 h 2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35" h="22995">
                        <a:moveTo>
                          <a:pt x="4947" y="22996"/>
                        </a:moveTo>
                        <a:cubicBezTo>
                          <a:pt x="3241" y="22996"/>
                          <a:pt x="1562" y="22116"/>
                          <a:pt x="656" y="20517"/>
                        </a:cubicBezTo>
                        <a:cubicBezTo>
                          <a:pt x="-704" y="18145"/>
                          <a:pt x="123" y="15133"/>
                          <a:pt x="2468" y="13774"/>
                        </a:cubicBezTo>
                        <a:lnTo>
                          <a:pt x="25336" y="661"/>
                        </a:lnTo>
                        <a:cubicBezTo>
                          <a:pt x="27709" y="-699"/>
                          <a:pt x="30720" y="101"/>
                          <a:pt x="32080" y="2500"/>
                        </a:cubicBezTo>
                        <a:cubicBezTo>
                          <a:pt x="33439" y="4872"/>
                          <a:pt x="32613" y="7883"/>
                          <a:pt x="30267" y="9243"/>
                        </a:cubicBezTo>
                        <a:lnTo>
                          <a:pt x="7399" y="22356"/>
                        </a:lnTo>
                        <a:cubicBezTo>
                          <a:pt x="6626" y="22783"/>
                          <a:pt x="5800" y="22996"/>
                          <a:pt x="4947" y="22996"/>
                        </a:cubicBezTo>
                        <a:close/>
                      </a:path>
                    </a:pathLst>
                  </a:custGeom>
                  <a:grpFill/>
                  <a:ln w="2663" cap="flat">
                    <a:noFill/>
                    <a:prstDash val="solid"/>
                    <a:miter/>
                  </a:ln>
                </p:spPr>
                <p:txBody>
                  <a:bodyPr rtlCol="0" anchor="ctr"/>
                  <a:lstStyle/>
                  <a:p>
                    <a:endParaRPr lang="en-GB" dirty="0"/>
                  </a:p>
                </p:txBody>
              </p:sp>
              <p:sp>
                <p:nvSpPr>
                  <p:cNvPr id="333" name="Freihandform: Form 353">
                    <a:extLst>
                      <a:ext uri="{FF2B5EF4-FFF2-40B4-BE49-F238E27FC236}">
                        <a16:creationId xmlns:a16="http://schemas.microsoft.com/office/drawing/2014/main" id="{19D15AD8-579B-43D4-910A-38C0C1A3C697}"/>
                      </a:ext>
                    </a:extLst>
                  </p:cNvPr>
                  <p:cNvSpPr/>
                  <p:nvPr/>
                </p:nvSpPr>
                <p:spPr>
                  <a:xfrm>
                    <a:off x="1066443" y="3615153"/>
                    <a:ext cx="32760" cy="22995"/>
                  </a:xfrm>
                  <a:custGeom>
                    <a:avLst/>
                    <a:gdLst>
                      <a:gd name="connsiteX0" fmla="*/ 4946 w 32760"/>
                      <a:gd name="connsiteY0" fmla="*/ 22996 h 22995"/>
                      <a:gd name="connsiteX1" fmla="*/ 655 w 32760"/>
                      <a:gd name="connsiteY1" fmla="*/ 20517 h 22995"/>
                      <a:gd name="connsiteX2" fmla="*/ 2494 w 32760"/>
                      <a:gd name="connsiteY2" fmla="*/ 13774 h 22995"/>
                      <a:gd name="connsiteX3" fmla="*/ 25362 w 32760"/>
                      <a:gd name="connsiteY3" fmla="*/ 661 h 22995"/>
                      <a:gd name="connsiteX4" fmla="*/ 32105 w 32760"/>
                      <a:gd name="connsiteY4" fmla="*/ 2500 h 22995"/>
                      <a:gd name="connsiteX5" fmla="*/ 30266 w 32760"/>
                      <a:gd name="connsiteY5" fmla="*/ 9243 h 22995"/>
                      <a:gd name="connsiteX6" fmla="*/ 7398 w 32760"/>
                      <a:gd name="connsiteY6" fmla="*/ 22356 h 22995"/>
                      <a:gd name="connsiteX7" fmla="*/ 4946 w 32760"/>
                      <a:gd name="connsiteY7" fmla="*/ 22996 h 22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60" h="22995">
                        <a:moveTo>
                          <a:pt x="4946" y="22996"/>
                        </a:moveTo>
                        <a:cubicBezTo>
                          <a:pt x="3240" y="22996"/>
                          <a:pt x="1561" y="22116"/>
                          <a:pt x="655" y="20517"/>
                        </a:cubicBezTo>
                        <a:cubicBezTo>
                          <a:pt x="-705" y="18145"/>
                          <a:pt x="122" y="15133"/>
                          <a:pt x="2494" y="13774"/>
                        </a:cubicBezTo>
                        <a:lnTo>
                          <a:pt x="25362" y="661"/>
                        </a:lnTo>
                        <a:cubicBezTo>
                          <a:pt x="27734" y="-699"/>
                          <a:pt x="30746" y="101"/>
                          <a:pt x="32105" y="2500"/>
                        </a:cubicBezTo>
                        <a:cubicBezTo>
                          <a:pt x="33465" y="4872"/>
                          <a:pt x="32638" y="7883"/>
                          <a:pt x="30266" y="9243"/>
                        </a:cubicBezTo>
                        <a:lnTo>
                          <a:pt x="7398" y="22356"/>
                        </a:lnTo>
                        <a:cubicBezTo>
                          <a:pt x="6625" y="22783"/>
                          <a:pt x="5772" y="22996"/>
                          <a:pt x="4946" y="22996"/>
                        </a:cubicBezTo>
                        <a:close/>
                      </a:path>
                    </a:pathLst>
                  </a:custGeom>
                  <a:grpFill/>
                  <a:ln w="2663" cap="flat">
                    <a:noFill/>
                    <a:prstDash val="solid"/>
                    <a:miter/>
                  </a:ln>
                </p:spPr>
                <p:txBody>
                  <a:bodyPr rtlCol="0" anchor="ctr"/>
                  <a:lstStyle/>
                  <a:p>
                    <a:endParaRPr lang="en-GB" dirty="0"/>
                  </a:p>
                </p:txBody>
              </p:sp>
            </p:grpSp>
          </p:grpSp>
        </p:grpSp>
      </p:grpSp>
      <p:grpSp>
        <p:nvGrpSpPr>
          <p:cNvPr id="4" name="Group 3">
            <a:extLst>
              <a:ext uri="{FF2B5EF4-FFF2-40B4-BE49-F238E27FC236}">
                <a16:creationId xmlns:a16="http://schemas.microsoft.com/office/drawing/2014/main" id="{EE2EA4F9-C0F3-036F-DB94-67DE223462B1}"/>
              </a:ext>
            </a:extLst>
          </p:cNvPr>
          <p:cNvGrpSpPr/>
          <p:nvPr/>
        </p:nvGrpSpPr>
        <p:grpSpPr>
          <a:xfrm>
            <a:off x="5055243" y="2391526"/>
            <a:ext cx="316051" cy="432000"/>
            <a:chOff x="5054831" y="2391526"/>
            <a:chExt cx="316051" cy="432000"/>
          </a:xfrm>
        </p:grpSpPr>
        <p:grpSp>
          <p:nvGrpSpPr>
            <p:cNvPr id="346" name="Grafik 138">
              <a:extLst>
                <a:ext uri="{FF2B5EF4-FFF2-40B4-BE49-F238E27FC236}">
                  <a16:creationId xmlns:a16="http://schemas.microsoft.com/office/drawing/2014/main" id="{B8981CE0-E33E-4745-933C-5EF1BC570CF0}"/>
                </a:ext>
              </a:extLst>
            </p:cNvPr>
            <p:cNvGrpSpPr/>
            <p:nvPr/>
          </p:nvGrpSpPr>
          <p:grpSpPr>
            <a:xfrm>
              <a:off x="5189810" y="2598986"/>
              <a:ext cx="109323" cy="125043"/>
              <a:chOff x="3574544" y="3533009"/>
              <a:chExt cx="140834" cy="161084"/>
            </a:xfrm>
            <a:solidFill>
              <a:schemeClr val="accent1"/>
            </a:solidFill>
          </p:grpSpPr>
          <p:sp>
            <p:nvSpPr>
              <p:cNvPr id="360" name="Freihandform: Form 404">
                <a:extLst>
                  <a:ext uri="{FF2B5EF4-FFF2-40B4-BE49-F238E27FC236}">
                    <a16:creationId xmlns:a16="http://schemas.microsoft.com/office/drawing/2014/main" id="{CD28A014-0CEC-4961-98E4-8900A015F757}"/>
                  </a:ext>
                </a:extLst>
              </p:cNvPr>
              <p:cNvSpPr/>
              <p:nvPr/>
            </p:nvSpPr>
            <p:spPr>
              <a:xfrm>
                <a:off x="3574544" y="3533009"/>
                <a:ext cx="140834" cy="161084"/>
              </a:xfrm>
              <a:custGeom>
                <a:avLst/>
                <a:gdLst>
                  <a:gd name="connsiteX0" fmla="*/ 70418 w 140834"/>
                  <a:gd name="connsiteY0" fmla="*/ 161085 h 161084"/>
                  <a:gd name="connsiteX1" fmla="*/ 67939 w 140834"/>
                  <a:gd name="connsiteY1" fmla="*/ 160418 h 161084"/>
                  <a:gd name="connsiteX2" fmla="*/ 2479 w 140834"/>
                  <a:gd name="connsiteY2" fmla="*/ 122624 h 161084"/>
                  <a:gd name="connsiteX3" fmla="*/ 0 w 140834"/>
                  <a:gd name="connsiteY3" fmla="*/ 118333 h 161084"/>
                  <a:gd name="connsiteX4" fmla="*/ 0 w 140834"/>
                  <a:gd name="connsiteY4" fmla="*/ 42745 h 161084"/>
                  <a:gd name="connsiteX5" fmla="*/ 2479 w 140834"/>
                  <a:gd name="connsiteY5" fmla="*/ 38454 h 161084"/>
                  <a:gd name="connsiteX6" fmla="*/ 67939 w 140834"/>
                  <a:gd name="connsiteY6" fmla="*/ 660 h 161084"/>
                  <a:gd name="connsiteX7" fmla="*/ 72870 w 140834"/>
                  <a:gd name="connsiteY7" fmla="*/ 660 h 161084"/>
                  <a:gd name="connsiteX8" fmla="*/ 138356 w 140834"/>
                  <a:gd name="connsiteY8" fmla="*/ 38454 h 161084"/>
                  <a:gd name="connsiteX9" fmla="*/ 140835 w 140834"/>
                  <a:gd name="connsiteY9" fmla="*/ 42745 h 161084"/>
                  <a:gd name="connsiteX10" fmla="*/ 140835 w 140834"/>
                  <a:gd name="connsiteY10" fmla="*/ 118333 h 161084"/>
                  <a:gd name="connsiteX11" fmla="*/ 138356 w 140834"/>
                  <a:gd name="connsiteY11" fmla="*/ 122624 h 161084"/>
                  <a:gd name="connsiteX12" fmla="*/ 72870 w 140834"/>
                  <a:gd name="connsiteY12" fmla="*/ 160418 h 161084"/>
                  <a:gd name="connsiteX13" fmla="*/ 70418 w 140834"/>
                  <a:gd name="connsiteY13" fmla="*/ 161085 h 161084"/>
                  <a:gd name="connsiteX14" fmla="*/ 9915 w 140834"/>
                  <a:gd name="connsiteY14" fmla="*/ 115508 h 161084"/>
                  <a:gd name="connsiteX15" fmla="*/ 70444 w 140834"/>
                  <a:gd name="connsiteY15" fmla="*/ 150450 h 161084"/>
                  <a:gd name="connsiteX16" fmla="*/ 130973 w 140834"/>
                  <a:gd name="connsiteY16" fmla="*/ 115508 h 161084"/>
                  <a:gd name="connsiteX17" fmla="*/ 130973 w 140834"/>
                  <a:gd name="connsiteY17" fmla="*/ 45623 h 161084"/>
                  <a:gd name="connsiteX18" fmla="*/ 70444 w 140834"/>
                  <a:gd name="connsiteY18" fmla="*/ 10681 h 161084"/>
                  <a:gd name="connsiteX19" fmla="*/ 9915 w 140834"/>
                  <a:gd name="connsiteY19" fmla="*/ 45623 h 161084"/>
                  <a:gd name="connsiteX20" fmla="*/ 9915 w 140834"/>
                  <a:gd name="connsiteY20" fmla="*/ 115508 h 161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0834" h="161084">
                    <a:moveTo>
                      <a:pt x="70418" y="161085"/>
                    </a:moveTo>
                    <a:cubicBezTo>
                      <a:pt x="69565" y="161085"/>
                      <a:pt x="68712" y="160872"/>
                      <a:pt x="67939" y="160418"/>
                    </a:cubicBezTo>
                    <a:lnTo>
                      <a:pt x="2479" y="122624"/>
                    </a:lnTo>
                    <a:cubicBezTo>
                      <a:pt x="959" y="121745"/>
                      <a:pt x="0" y="120119"/>
                      <a:pt x="0" y="118333"/>
                    </a:cubicBezTo>
                    <a:lnTo>
                      <a:pt x="0" y="42745"/>
                    </a:lnTo>
                    <a:cubicBezTo>
                      <a:pt x="0" y="40986"/>
                      <a:pt x="933" y="39333"/>
                      <a:pt x="2479" y="38454"/>
                    </a:cubicBezTo>
                    <a:lnTo>
                      <a:pt x="67939" y="660"/>
                    </a:lnTo>
                    <a:cubicBezTo>
                      <a:pt x="69485" y="-220"/>
                      <a:pt x="71350" y="-220"/>
                      <a:pt x="72870" y="660"/>
                    </a:cubicBezTo>
                    <a:lnTo>
                      <a:pt x="138356" y="38454"/>
                    </a:lnTo>
                    <a:cubicBezTo>
                      <a:pt x="139876" y="39333"/>
                      <a:pt x="140835" y="40959"/>
                      <a:pt x="140835" y="42745"/>
                    </a:cubicBezTo>
                    <a:lnTo>
                      <a:pt x="140835" y="118333"/>
                    </a:lnTo>
                    <a:cubicBezTo>
                      <a:pt x="140835" y="120092"/>
                      <a:pt x="139902" y="121745"/>
                      <a:pt x="138356" y="122624"/>
                    </a:cubicBezTo>
                    <a:lnTo>
                      <a:pt x="72870" y="160418"/>
                    </a:lnTo>
                    <a:cubicBezTo>
                      <a:pt x="72124" y="160872"/>
                      <a:pt x="71297" y="161085"/>
                      <a:pt x="70418" y="161085"/>
                    </a:cubicBezTo>
                    <a:close/>
                    <a:moveTo>
                      <a:pt x="9915" y="115508"/>
                    </a:moveTo>
                    <a:lnTo>
                      <a:pt x="70444" y="150450"/>
                    </a:lnTo>
                    <a:lnTo>
                      <a:pt x="130973" y="115508"/>
                    </a:lnTo>
                    <a:lnTo>
                      <a:pt x="130973" y="45623"/>
                    </a:lnTo>
                    <a:lnTo>
                      <a:pt x="70444" y="10681"/>
                    </a:lnTo>
                    <a:lnTo>
                      <a:pt x="9915" y="45623"/>
                    </a:lnTo>
                    <a:lnTo>
                      <a:pt x="9915" y="115508"/>
                    </a:lnTo>
                    <a:close/>
                  </a:path>
                </a:pathLst>
              </a:custGeom>
              <a:solidFill>
                <a:schemeClr val="accent1"/>
              </a:solidFill>
              <a:ln w="2663" cap="flat">
                <a:noFill/>
                <a:prstDash val="solid"/>
                <a:miter/>
              </a:ln>
            </p:spPr>
            <p:txBody>
              <a:bodyPr rtlCol="0" anchor="ctr"/>
              <a:lstStyle/>
              <a:p>
                <a:endParaRPr lang="en-GB" dirty="0"/>
              </a:p>
            </p:txBody>
          </p:sp>
          <p:sp>
            <p:nvSpPr>
              <p:cNvPr id="361" name="Freihandform: Form 405">
                <a:extLst>
                  <a:ext uri="{FF2B5EF4-FFF2-40B4-BE49-F238E27FC236}">
                    <a16:creationId xmlns:a16="http://schemas.microsoft.com/office/drawing/2014/main" id="{F07C752B-2C6E-43AF-AAD8-F6AAE22D03A7}"/>
                  </a:ext>
                </a:extLst>
              </p:cNvPr>
              <p:cNvSpPr/>
              <p:nvPr/>
            </p:nvSpPr>
            <p:spPr>
              <a:xfrm>
                <a:off x="3574982" y="3570394"/>
                <a:ext cx="74856" cy="122474"/>
              </a:xfrm>
              <a:custGeom>
                <a:avLst/>
                <a:gdLst>
                  <a:gd name="connsiteX0" fmla="*/ 69899 w 74856"/>
                  <a:gd name="connsiteY0" fmla="*/ 122474 h 122474"/>
                  <a:gd name="connsiteX1" fmla="*/ 64969 w 74856"/>
                  <a:gd name="connsiteY1" fmla="*/ 117543 h 122474"/>
                  <a:gd name="connsiteX2" fmla="*/ 64969 w 74856"/>
                  <a:gd name="connsiteY2" fmla="*/ 48219 h 122474"/>
                  <a:gd name="connsiteX3" fmla="*/ 2334 w 74856"/>
                  <a:gd name="connsiteY3" fmla="*/ 9145 h 122474"/>
                  <a:gd name="connsiteX4" fmla="*/ 761 w 74856"/>
                  <a:gd name="connsiteY4" fmla="*/ 2322 h 122474"/>
                  <a:gd name="connsiteX5" fmla="*/ 7584 w 74856"/>
                  <a:gd name="connsiteY5" fmla="*/ 749 h 122474"/>
                  <a:gd name="connsiteX6" fmla="*/ 72538 w 74856"/>
                  <a:gd name="connsiteY6" fmla="*/ 41262 h 122474"/>
                  <a:gd name="connsiteX7" fmla="*/ 74857 w 74856"/>
                  <a:gd name="connsiteY7" fmla="*/ 45447 h 122474"/>
                  <a:gd name="connsiteX8" fmla="*/ 74857 w 74856"/>
                  <a:gd name="connsiteY8" fmla="*/ 117517 h 122474"/>
                  <a:gd name="connsiteX9" fmla="*/ 69899 w 74856"/>
                  <a:gd name="connsiteY9" fmla="*/ 122474 h 122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856" h="122474">
                    <a:moveTo>
                      <a:pt x="69899" y="122474"/>
                    </a:moveTo>
                    <a:cubicBezTo>
                      <a:pt x="67181" y="122474"/>
                      <a:pt x="64969" y="120262"/>
                      <a:pt x="64969" y="117543"/>
                    </a:cubicBezTo>
                    <a:lnTo>
                      <a:pt x="64969" y="48219"/>
                    </a:lnTo>
                    <a:lnTo>
                      <a:pt x="2334" y="9145"/>
                    </a:lnTo>
                    <a:cubicBezTo>
                      <a:pt x="15" y="7706"/>
                      <a:pt x="-705" y="4641"/>
                      <a:pt x="761" y="2322"/>
                    </a:cubicBezTo>
                    <a:cubicBezTo>
                      <a:pt x="2200" y="3"/>
                      <a:pt x="5265" y="-690"/>
                      <a:pt x="7584" y="749"/>
                    </a:cubicBezTo>
                    <a:lnTo>
                      <a:pt x="72538" y="41262"/>
                    </a:lnTo>
                    <a:cubicBezTo>
                      <a:pt x="73977" y="42168"/>
                      <a:pt x="74857" y="43741"/>
                      <a:pt x="74857" y="45447"/>
                    </a:cubicBezTo>
                    <a:lnTo>
                      <a:pt x="74857" y="117517"/>
                    </a:lnTo>
                    <a:cubicBezTo>
                      <a:pt x="74830" y="120262"/>
                      <a:pt x="72618" y="122474"/>
                      <a:pt x="69899" y="122474"/>
                    </a:cubicBezTo>
                    <a:close/>
                  </a:path>
                </a:pathLst>
              </a:custGeom>
              <a:solidFill>
                <a:schemeClr val="accent1"/>
              </a:solidFill>
              <a:ln w="2663" cap="flat">
                <a:noFill/>
                <a:prstDash val="solid"/>
                <a:miter/>
              </a:ln>
            </p:spPr>
            <p:txBody>
              <a:bodyPr rtlCol="0" anchor="ctr"/>
              <a:lstStyle/>
              <a:p>
                <a:endParaRPr lang="en-GB" dirty="0"/>
              </a:p>
            </p:txBody>
          </p:sp>
          <p:sp>
            <p:nvSpPr>
              <p:cNvPr id="362" name="Freihandform: Form 406">
                <a:extLst>
                  <a:ext uri="{FF2B5EF4-FFF2-40B4-BE49-F238E27FC236}">
                    <a16:creationId xmlns:a16="http://schemas.microsoft.com/office/drawing/2014/main" id="{98128397-64D3-48C5-BB67-C7E758F85D98}"/>
                  </a:ext>
                </a:extLst>
              </p:cNvPr>
              <p:cNvSpPr/>
              <p:nvPr/>
            </p:nvSpPr>
            <p:spPr>
              <a:xfrm>
                <a:off x="3640701" y="3571627"/>
                <a:ext cx="72994" cy="48850"/>
              </a:xfrm>
              <a:custGeom>
                <a:avLst/>
                <a:gdLst>
                  <a:gd name="connsiteX0" fmla="*/ 4953 w 72994"/>
                  <a:gd name="connsiteY0" fmla="*/ 48851 h 48850"/>
                  <a:gd name="connsiteX1" fmla="*/ 742 w 72994"/>
                  <a:gd name="connsiteY1" fmla="*/ 46505 h 48850"/>
                  <a:gd name="connsiteX2" fmla="*/ 2341 w 72994"/>
                  <a:gd name="connsiteY2" fmla="*/ 39709 h 48850"/>
                  <a:gd name="connsiteX3" fmla="*/ 65456 w 72994"/>
                  <a:gd name="connsiteY3" fmla="*/ 742 h 48850"/>
                  <a:gd name="connsiteX4" fmla="*/ 72252 w 72994"/>
                  <a:gd name="connsiteY4" fmla="*/ 2341 h 48850"/>
                  <a:gd name="connsiteX5" fmla="*/ 70653 w 72994"/>
                  <a:gd name="connsiteY5" fmla="*/ 9138 h 48850"/>
                  <a:gd name="connsiteX6" fmla="*/ 7538 w 72994"/>
                  <a:gd name="connsiteY6" fmla="*/ 48104 h 48850"/>
                  <a:gd name="connsiteX7" fmla="*/ 4953 w 72994"/>
                  <a:gd name="connsiteY7" fmla="*/ 48851 h 4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994" h="48850">
                    <a:moveTo>
                      <a:pt x="4953" y="48851"/>
                    </a:moveTo>
                    <a:cubicBezTo>
                      <a:pt x="3301" y="48851"/>
                      <a:pt x="1675" y="48025"/>
                      <a:pt x="742" y="46505"/>
                    </a:cubicBezTo>
                    <a:cubicBezTo>
                      <a:pt x="-697" y="44186"/>
                      <a:pt x="22" y="41121"/>
                      <a:pt x="2341" y="39709"/>
                    </a:cubicBezTo>
                    <a:lnTo>
                      <a:pt x="65456" y="742"/>
                    </a:lnTo>
                    <a:cubicBezTo>
                      <a:pt x="67801" y="-697"/>
                      <a:pt x="70840" y="22"/>
                      <a:pt x="72252" y="2341"/>
                    </a:cubicBezTo>
                    <a:cubicBezTo>
                      <a:pt x="73691" y="4660"/>
                      <a:pt x="72972" y="7725"/>
                      <a:pt x="70653" y="9138"/>
                    </a:cubicBezTo>
                    <a:lnTo>
                      <a:pt x="7538" y="48104"/>
                    </a:lnTo>
                    <a:cubicBezTo>
                      <a:pt x="6739" y="48611"/>
                      <a:pt x="5833" y="48851"/>
                      <a:pt x="4953" y="48851"/>
                    </a:cubicBezTo>
                    <a:close/>
                  </a:path>
                </a:pathLst>
              </a:custGeom>
              <a:solidFill>
                <a:schemeClr val="accent1"/>
              </a:solidFill>
              <a:ln w="2663" cap="flat">
                <a:noFill/>
                <a:prstDash val="solid"/>
                <a:miter/>
              </a:ln>
            </p:spPr>
            <p:txBody>
              <a:bodyPr rtlCol="0" anchor="ctr"/>
              <a:lstStyle/>
              <a:p>
                <a:endParaRPr lang="en-GB" dirty="0"/>
              </a:p>
            </p:txBody>
          </p:sp>
        </p:grpSp>
        <p:grpSp>
          <p:nvGrpSpPr>
            <p:cNvPr id="347" name="Group 990">
              <a:extLst>
                <a:ext uri="{FF2B5EF4-FFF2-40B4-BE49-F238E27FC236}">
                  <a16:creationId xmlns:a16="http://schemas.microsoft.com/office/drawing/2014/main" id="{430450C1-9B46-439F-8E45-81D8608176E5}"/>
                </a:ext>
              </a:extLst>
            </p:cNvPr>
            <p:cNvGrpSpPr/>
            <p:nvPr/>
          </p:nvGrpSpPr>
          <p:grpSpPr>
            <a:xfrm>
              <a:off x="5054831" y="2391526"/>
              <a:ext cx="316051" cy="432000"/>
              <a:chOff x="3400659" y="3265752"/>
              <a:chExt cx="407148" cy="556517"/>
            </a:xfrm>
            <a:solidFill>
              <a:schemeClr val="tx2"/>
            </a:solidFill>
          </p:grpSpPr>
          <p:grpSp>
            <p:nvGrpSpPr>
              <p:cNvPr id="348" name="Grafik 138">
                <a:extLst>
                  <a:ext uri="{FF2B5EF4-FFF2-40B4-BE49-F238E27FC236}">
                    <a16:creationId xmlns:a16="http://schemas.microsoft.com/office/drawing/2014/main" id="{9613178D-D191-4039-A979-8C2D056DD551}"/>
                  </a:ext>
                </a:extLst>
              </p:cNvPr>
              <p:cNvGrpSpPr/>
              <p:nvPr/>
            </p:nvGrpSpPr>
            <p:grpSpPr>
              <a:xfrm>
                <a:off x="3400659" y="3682980"/>
                <a:ext cx="407148" cy="139289"/>
                <a:chOff x="3400659" y="3682980"/>
                <a:chExt cx="407148" cy="139289"/>
              </a:xfrm>
              <a:grpFill/>
            </p:grpSpPr>
            <p:sp>
              <p:nvSpPr>
                <p:cNvPr id="355" name="Freihandform: Form 399">
                  <a:extLst>
                    <a:ext uri="{FF2B5EF4-FFF2-40B4-BE49-F238E27FC236}">
                      <a16:creationId xmlns:a16="http://schemas.microsoft.com/office/drawing/2014/main" id="{A4F1E72C-CED8-4213-B01C-1ADDE0B9DD0B}"/>
                    </a:ext>
                  </a:extLst>
                </p:cNvPr>
                <p:cNvSpPr/>
                <p:nvPr/>
              </p:nvSpPr>
              <p:spPr>
                <a:xfrm>
                  <a:off x="3470087" y="3739195"/>
                  <a:ext cx="337720" cy="80622"/>
                </a:xfrm>
                <a:custGeom>
                  <a:avLst/>
                  <a:gdLst>
                    <a:gd name="connsiteX0" fmla="*/ 173835 w 337720"/>
                    <a:gd name="connsiteY0" fmla="*/ 80622 h 80622"/>
                    <a:gd name="connsiteX1" fmla="*/ 85986 w 337720"/>
                    <a:gd name="connsiteY1" fmla="*/ 69455 h 80622"/>
                    <a:gd name="connsiteX2" fmla="*/ 6880 w 337720"/>
                    <a:gd name="connsiteY2" fmla="*/ 63271 h 80622"/>
                    <a:gd name="connsiteX3" fmla="*/ 403 w 337720"/>
                    <a:gd name="connsiteY3" fmla="*/ 60686 h 80622"/>
                    <a:gd name="connsiteX4" fmla="*/ 2935 w 337720"/>
                    <a:gd name="connsiteY4" fmla="*/ 54209 h 80622"/>
                    <a:gd name="connsiteX5" fmla="*/ 88705 w 337720"/>
                    <a:gd name="connsiteY5" fmla="*/ 59939 h 80622"/>
                    <a:gd name="connsiteX6" fmla="*/ 327170 w 337720"/>
                    <a:gd name="connsiteY6" fmla="*/ 13856 h 80622"/>
                    <a:gd name="connsiteX7" fmla="*/ 327650 w 337720"/>
                    <a:gd name="connsiteY7" fmla="*/ 13376 h 80622"/>
                    <a:gd name="connsiteX8" fmla="*/ 324852 w 337720"/>
                    <a:gd name="connsiteY8" fmla="*/ 11591 h 80622"/>
                    <a:gd name="connsiteX9" fmla="*/ 297292 w 337720"/>
                    <a:gd name="connsiteY9" fmla="*/ 13883 h 80622"/>
                    <a:gd name="connsiteX10" fmla="*/ 280901 w 337720"/>
                    <a:gd name="connsiteY10" fmla="*/ 21239 h 80622"/>
                    <a:gd name="connsiteX11" fmla="*/ 222157 w 337720"/>
                    <a:gd name="connsiteY11" fmla="*/ 34965 h 80622"/>
                    <a:gd name="connsiteX12" fmla="*/ 217573 w 337720"/>
                    <a:gd name="connsiteY12" fmla="*/ 29688 h 80622"/>
                    <a:gd name="connsiteX13" fmla="*/ 222850 w 337720"/>
                    <a:gd name="connsiteY13" fmla="*/ 25104 h 80622"/>
                    <a:gd name="connsiteX14" fmla="*/ 276449 w 337720"/>
                    <a:gd name="connsiteY14" fmla="*/ 12443 h 80622"/>
                    <a:gd name="connsiteX15" fmla="*/ 293934 w 337720"/>
                    <a:gd name="connsiteY15" fmla="*/ 4607 h 80622"/>
                    <a:gd name="connsiteX16" fmla="*/ 336259 w 337720"/>
                    <a:gd name="connsiteY16" fmla="*/ 8499 h 80622"/>
                    <a:gd name="connsiteX17" fmla="*/ 334447 w 337720"/>
                    <a:gd name="connsiteY17" fmla="*/ 20599 h 80622"/>
                    <a:gd name="connsiteX18" fmla="*/ 173835 w 337720"/>
                    <a:gd name="connsiteY18" fmla="*/ 80622 h 8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7720" h="80622">
                      <a:moveTo>
                        <a:pt x="173835" y="80622"/>
                      </a:moveTo>
                      <a:cubicBezTo>
                        <a:pt x="136920" y="80622"/>
                        <a:pt x="104324" y="74732"/>
                        <a:pt x="85986" y="69455"/>
                      </a:cubicBezTo>
                      <a:cubicBezTo>
                        <a:pt x="30414" y="53863"/>
                        <a:pt x="7093" y="63191"/>
                        <a:pt x="6880" y="63271"/>
                      </a:cubicBezTo>
                      <a:cubicBezTo>
                        <a:pt x="4401" y="64337"/>
                        <a:pt x="1469" y="63164"/>
                        <a:pt x="403" y="60686"/>
                      </a:cubicBezTo>
                      <a:cubicBezTo>
                        <a:pt x="-663" y="58207"/>
                        <a:pt x="456" y="55302"/>
                        <a:pt x="2935" y="54209"/>
                      </a:cubicBezTo>
                      <a:cubicBezTo>
                        <a:pt x="3974" y="53756"/>
                        <a:pt x="29055" y="43201"/>
                        <a:pt x="88705" y="59939"/>
                      </a:cubicBezTo>
                      <a:cubicBezTo>
                        <a:pt x="132656" y="72626"/>
                        <a:pt x="261124" y="89045"/>
                        <a:pt x="327170" y="13856"/>
                      </a:cubicBezTo>
                      <a:cubicBezTo>
                        <a:pt x="327330" y="13696"/>
                        <a:pt x="327490" y="13536"/>
                        <a:pt x="327650" y="13376"/>
                      </a:cubicBezTo>
                      <a:cubicBezTo>
                        <a:pt x="327570" y="13296"/>
                        <a:pt x="326744" y="12443"/>
                        <a:pt x="324852" y="11591"/>
                      </a:cubicBezTo>
                      <a:cubicBezTo>
                        <a:pt x="319787" y="9378"/>
                        <a:pt x="309872" y="8792"/>
                        <a:pt x="297292" y="13883"/>
                      </a:cubicBezTo>
                      <a:cubicBezTo>
                        <a:pt x="291588" y="15775"/>
                        <a:pt x="286391" y="18440"/>
                        <a:pt x="280901" y="21239"/>
                      </a:cubicBezTo>
                      <a:cubicBezTo>
                        <a:pt x="266561" y="28569"/>
                        <a:pt x="250302" y="36885"/>
                        <a:pt x="222157" y="34965"/>
                      </a:cubicBezTo>
                      <a:cubicBezTo>
                        <a:pt x="219438" y="34779"/>
                        <a:pt x="217386" y="32433"/>
                        <a:pt x="217573" y="29688"/>
                      </a:cubicBezTo>
                      <a:cubicBezTo>
                        <a:pt x="217759" y="26969"/>
                        <a:pt x="220185" y="24970"/>
                        <a:pt x="222850" y="25104"/>
                      </a:cubicBezTo>
                      <a:cubicBezTo>
                        <a:pt x="248277" y="26810"/>
                        <a:pt x="262590" y="19507"/>
                        <a:pt x="276449" y="12443"/>
                      </a:cubicBezTo>
                      <a:cubicBezTo>
                        <a:pt x="282286" y="9458"/>
                        <a:pt x="287804" y="6633"/>
                        <a:pt x="293934" y="4607"/>
                      </a:cubicBezTo>
                      <a:cubicBezTo>
                        <a:pt x="314590" y="-3761"/>
                        <a:pt x="331248" y="316"/>
                        <a:pt x="336259" y="8499"/>
                      </a:cubicBezTo>
                      <a:cubicBezTo>
                        <a:pt x="338738" y="12577"/>
                        <a:pt x="338018" y="17294"/>
                        <a:pt x="334447" y="20599"/>
                      </a:cubicBezTo>
                      <a:cubicBezTo>
                        <a:pt x="292894" y="67669"/>
                        <a:pt x="228607" y="80622"/>
                        <a:pt x="173835" y="80622"/>
                      </a:cubicBezTo>
                      <a:close/>
                    </a:path>
                  </a:pathLst>
                </a:custGeom>
                <a:grpFill/>
                <a:ln w="2663" cap="flat">
                  <a:noFill/>
                  <a:prstDash val="solid"/>
                  <a:miter/>
                </a:ln>
              </p:spPr>
              <p:txBody>
                <a:bodyPr rtlCol="0" anchor="ctr"/>
                <a:lstStyle/>
                <a:p>
                  <a:endParaRPr lang="en-GB" dirty="0"/>
                </a:p>
              </p:txBody>
            </p:sp>
            <p:sp>
              <p:nvSpPr>
                <p:cNvPr id="356" name="Freihandform: Form 400">
                  <a:extLst>
                    <a:ext uri="{FF2B5EF4-FFF2-40B4-BE49-F238E27FC236}">
                      <a16:creationId xmlns:a16="http://schemas.microsoft.com/office/drawing/2014/main" id="{09D480C8-34FF-4B8B-AE42-FAA95F622B7D}"/>
                    </a:ext>
                  </a:extLst>
                </p:cNvPr>
                <p:cNvSpPr/>
                <p:nvPr/>
              </p:nvSpPr>
              <p:spPr>
                <a:xfrm>
                  <a:off x="3469279" y="3685405"/>
                  <a:ext cx="231367" cy="97603"/>
                </a:xfrm>
                <a:custGeom>
                  <a:avLst/>
                  <a:gdLst>
                    <a:gd name="connsiteX0" fmla="*/ 174190 w 231367"/>
                    <a:gd name="connsiteY0" fmla="*/ 97604 h 97603"/>
                    <a:gd name="connsiteX1" fmla="*/ 114300 w 231367"/>
                    <a:gd name="connsiteY1" fmla="*/ 82491 h 97603"/>
                    <a:gd name="connsiteX2" fmla="*/ 113208 w 231367"/>
                    <a:gd name="connsiteY2" fmla="*/ 75588 h 97603"/>
                    <a:gd name="connsiteX3" fmla="*/ 120111 w 231367"/>
                    <a:gd name="connsiteY3" fmla="*/ 74495 h 97603"/>
                    <a:gd name="connsiteX4" fmla="*/ 206307 w 231367"/>
                    <a:gd name="connsiteY4" fmla="*/ 85450 h 97603"/>
                    <a:gd name="connsiteX5" fmla="*/ 220833 w 231367"/>
                    <a:gd name="connsiteY5" fmla="*/ 77321 h 97603"/>
                    <a:gd name="connsiteX6" fmla="*/ 218994 w 231367"/>
                    <a:gd name="connsiteY6" fmla="*/ 66873 h 97603"/>
                    <a:gd name="connsiteX7" fmla="*/ 215369 w 231367"/>
                    <a:gd name="connsiteY7" fmla="*/ 64767 h 97603"/>
                    <a:gd name="connsiteX8" fmla="*/ 211158 w 231367"/>
                    <a:gd name="connsiteY8" fmla="*/ 65060 h 97603"/>
                    <a:gd name="connsiteX9" fmla="*/ 156972 w 231367"/>
                    <a:gd name="connsiteY9" fmla="*/ 53306 h 97603"/>
                    <a:gd name="connsiteX10" fmla="*/ 70563 w 231367"/>
                    <a:gd name="connsiteY10" fmla="*/ 9862 h 97603"/>
                    <a:gd name="connsiteX11" fmla="*/ 49187 w 231367"/>
                    <a:gd name="connsiteY11" fmla="*/ 15086 h 97603"/>
                    <a:gd name="connsiteX12" fmla="*/ 5289 w 231367"/>
                    <a:gd name="connsiteY12" fmla="*/ 25720 h 97603"/>
                    <a:gd name="connsiteX13" fmla="*/ 12 w 231367"/>
                    <a:gd name="connsiteY13" fmla="*/ 21136 h 97603"/>
                    <a:gd name="connsiteX14" fmla="*/ 4596 w 231367"/>
                    <a:gd name="connsiteY14" fmla="*/ 15859 h 97603"/>
                    <a:gd name="connsiteX15" fmla="*/ 44842 w 231367"/>
                    <a:gd name="connsiteY15" fmla="*/ 6210 h 97603"/>
                    <a:gd name="connsiteX16" fmla="*/ 70536 w 231367"/>
                    <a:gd name="connsiteY16" fmla="*/ 0 h 97603"/>
                    <a:gd name="connsiteX17" fmla="*/ 163982 w 231367"/>
                    <a:gd name="connsiteY17" fmla="*/ 46376 h 97603"/>
                    <a:gd name="connsiteX18" fmla="*/ 164702 w 231367"/>
                    <a:gd name="connsiteY18" fmla="*/ 47176 h 97603"/>
                    <a:gd name="connsiteX19" fmla="*/ 210358 w 231367"/>
                    <a:gd name="connsiteY19" fmla="*/ 55199 h 97603"/>
                    <a:gd name="connsiteX20" fmla="*/ 214063 w 231367"/>
                    <a:gd name="connsiteY20" fmla="*/ 54959 h 97603"/>
                    <a:gd name="connsiteX21" fmla="*/ 226670 w 231367"/>
                    <a:gd name="connsiteY21" fmla="*/ 60636 h 97603"/>
                    <a:gd name="connsiteX22" fmla="*/ 230028 w 231367"/>
                    <a:gd name="connsiteY22" fmla="*/ 80999 h 97603"/>
                    <a:gd name="connsiteX23" fmla="*/ 207586 w 231367"/>
                    <a:gd name="connsiteY23" fmla="*/ 95285 h 97603"/>
                    <a:gd name="connsiteX24" fmla="*/ 174190 w 231367"/>
                    <a:gd name="connsiteY24" fmla="*/ 97604 h 97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1367" h="97603">
                      <a:moveTo>
                        <a:pt x="174190" y="97604"/>
                      </a:moveTo>
                      <a:cubicBezTo>
                        <a:pt x="148230" y="97604"/>
                        <a:pt x="128160" y="92540"/>
                        <a:pt x="114300" y="82491"/>
                      </a:cubicBezTo>
                      <a:cubicBezTo>
                        <a:pt x="112088" y="80892"/>
                        <a:pt x="111608" y="77800"/>
                        <a:pt x="113208" y="75588"/>
                      </a:cubicBezTo>
                      <a:cubicBezTo>
                        <a:pt x="114807" y="73376"/>
                        <a:pt x="117898" y="72896"/>
                        <a:pt x="120111" y="74495"/>
                      </a:cubicBezTo>
                      <a:cubicBezTo>
                        <a:pt x="137062" y="86809"/>
                        <a:pt x="166834" y="90594"/>
                        <a:pt x="206307" y="85450"/>
                      </a:cubicBezTo>
                      <a:cubicBezTo>
                        <a:pt x="214090" y="84437"/>
                        <a:pt x="219127" y="81612"/>
                        <a:pt x="220833" y="77321"/>
                      </a:cubicBezTo>
                      <a:cubicBezTo>
                        <a:pt x="222352" y="73509"/>
                        <a:pt x="221020" y="69325"/>
                        <a:pt x="218994" y="66873"/>
                      </a:cubicBezTo>
                      <a:cubicBezTo>
                        <a:pt x="217821" y="65407"/>
                        <a:pt x="216382" y="64607"/>
                        <a:pt x="215369" y="64767"/>
                      </a:cubicBezTo>
                      <a:cubicBezTo>
                        <a:pt x="214463" y="64927"/>
                        <a:pt x="213423" y="64900"/>
                        <a:pt x="211158" y="65060"/>
                      </a:cubicBezTo>
                      <a:cubicBezTo>
                        <a:pt x="198231" y="66073"/>
                        <a:pt x="168166" y="68445"/>
                        <a:pt x="156972" y="53306"/>
                      </a:cubicBezTo>
                      <a:cubicBezTo>
                        <a:pt x="109450" y="9862"/>
                        <a:pt x="82210" y="9862"/>
                        <a:pt x="70563" y="9862"/>
                      </a:cubicBezTo>
                      <a:cubicBezTo>
                        <a:pt x="59955" y="9862"/>
                        <a:pt x="55450" y="12047"/>
                        <a:pt x="49187" y="15086"/>
                      </a:cubicBezTo>
                      <a:cubicBezTo>
                        <a:pt x="41058" y="19030"/>
                        <a:pt x="30956" y="23934"/>
                        <a:pt x="5289" y="25720"/>
                      </a:cubicBezTo>
                      <a:cubicBezTo>
                        <a:pt x="2624" y="25907"/>
                        <a:pt x="198" y="23855"/>
                        <a:pt x="12" y="21136"/>
                      </a:cubicBezTo>
                      <a:cubicBezTo>
                        <a:pt x="-175" y="18417"/>
                        <a:pt x="1878" y="16045"/>
                        <a:pt x="4596" y="15859"/>
                      </a:cubicBezTo>
                      <a:cubicBezTo>
                        <a:pt x="28344" y="14206"/>
                        <a:pt x="37113" y="9942"/>
                        <a:pt x="44842" y="6210"/>
                      </a:cubicBezTo>
                      <a:cubicBezTo>
                        <a:pt x="51426" y="3012"/>
                        <a:pt x="57662" y="0"/>
                        <a:pt x="70536" y="0"/>
                      </a:cubicBezTo>
                      <a:cubicBezTo>
                        <a:pt x="83356" y="0"/>
                        <a:pt x="113421" y="0"/>
                        <a:pt x="163982" y="46376"/>
                      </a:cubicBezTo>
                      <a:cubicBezTo>
                        <a:pt x="164248" y="46616"/>
                        <a:pt x="164488" y="46883"/>
                        <a:pt x="164702" y="47176"/>
                      </a:cubicBezTo>
                      <a:cubicBezTo>
                        <a:pt x="172404" y="58210"/>
                        <a:pt x="200976" y="55945"/>
                        <a:pt x="210358" y="55199"/>
                      </a:cubicBezTo>
                      <a:cubicBezTo>
                        <a:pt x="211984" y="55065"/>
                        <a:pt x="213237" y="54985"/>
                        <a:pt x="214063" y="54959"/>
                      </a:cubicBezTo>
                      <a:cubicBezTo>
                        <a:pt x="218594" y="54346"/>
                        <a:pt x="223258" y="56451"/>
                        <a:pt x="226670" y="60636"/>
                      </a:cubicBezTo>
                      <a:cubicBezTo>
                        <a:pt x="231334" y="66366"/>
                        <a:pt x="232667" y="74362"/>
                        <a:pt x="230028" y="80999"/>
                      </a:cubicBezTo>
                      <a:cubicBezTo>
                        <a:pt x="227869" y="86463"/>
                        <a:pt x="222192" y="93366"/>
                        <a:pt x="207586" y="95285"/>
                      </a:cubicBezTo>
                      <a:cubicBezTo>
                        <a:pt x="195539" y="96804"/>
                        <a:pt x="184398" y="97604"/>
                        <a:pt x="174190" y="97604"/>
                      </a:cubicBezTo>
                      <a:close/>
                    </a:path>
                  </a:pathLst>
                </a:custGeom>
                <a:grpFill/>
                <a:ln w="2663" cap="flat">
                  <a:noFill/>
                  <a:prstDash val="solid"/>
                  <a:miter/>
                </a:ln>
              </p:spPr>
              <p:txBody>
                <a:bodyPr rtlCol="0" anchor="ctr"/>
                <a:lstStyle/>
                <a:p>
                  <a:endParaRPr lang="en-GB" dirty="0"/>
                </a:p>
              </p:txBody>
            </p:sp>
            <p:sp>
              <p:nvSpPr>
                <p:cNvPr id="357" name="Freihandform: Form 401">
                  <a:extLst>
                    <a:ext uri="{FF2B5EF4-FFF2-40B4-BE49-F238E27FC236}">
                      <a16:creationId xmlns:a16="http://schemas.microsoft.com/office/drawing/2014/main" id="{ED4542DB-D694-4B4E-980F-95834F83E754}"/>
                    </a:ext>
                  </a:extLst>
                </p:cNvPr>
                <p:cNvSpPr/>
                <p:nvPr/>
              </p:nvSpPr>
              <p:spPr>
                <a:xfrm>
                  <a:off x="3400659" y="3682980"/>
                  <a:ext cx="78280" cy="139289"/>
                </a:xfrm>
                <a:custGeom>
                  <a:avLst/>
                  <a:gdLst>
                    <a:gd name="connsiteX0" fmla="*/ 73349 w 78280"/>
                    <a:gd name="connsiteY0" fmla="*/ 139289 h 139289"/>
                    <a:gd name="connsiteX1" fmla="*/ 4931 w 78280"/>
                    <a:gd name="connsiteY1" fmla="*/ 139289 h 139289"/>
                    <a:gd name="connsiteX2" fmla="*/ 0 w 78280"/>
                    <a:gd name="connsiteY2" fmla="*/ 134358 h 139289"/>
                    <a:gd name="connsiteX3" fmla="*/ 4931 w 78280"/>
                    <a:gd name="connsiteY3" fmla="*/ 129428 h 139289"/>
                    <a:gd name="connsiteX4" fmla="*/ 68419 w 78280"/>
                    <a:gd name="connsiteY4" fmla="*/ 129428 h 139289"/>
                    <a:gd name="connsiteX5" fmla="*/ 68419 w 78280"/>
                    <a:gd name="connsiteY5" fmla="*/ 9862 h 139289"/>
                    <a:gd name="connsiteX6" fmla="*/ 4931 w 78280"/>
                    <a:gd name="connsiteY6" fmla="*/ 9862 h 139289"/>
                    <a:gd name="connsiteX7" fmla="*/ 0 w 78280"/>
                    <a:gd name="connsiteY7" fmla="*/ 4931 h 139289"/>
                    <a:gd name="connsiteX8" fmla="*/ 4931 w 78280"/>
                    <a:gd name="connsiteY8" fmla="*/ 0 h 139289"/>
                    <a:gd name="connsiteX9" fmla="*/ 73349 w 78280"/>
                    <a:gd name="connsiteY9" fmla="*/ 0 h 139289"/>
                    <a:gd name="connsiteX10" fmla="*/ 78280 w 78280"/>
                    <a:gd name="connsiteY10" fmla="*/ 4931 h 139289"/>
                    <a:gd name="connsiteX11" fmla="*/ 78280 w 78280"/>
                    <a:gd name="connsiteY11" fmla="*/ 134385 h 139289"/>
                    <a:gd name="connsiteX12" fmla="*/ 73349 w 78280"/>
                    <a:gd name="connsiteY12" fmla="*/ 139289 h 13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280" h="139289">
                      <a:moveTo>
                        <a:pt x="73349" y="139289"/>
                      </a:moveTo>
                      <a:lnTo>
                        <a:pt x="4931" y="139289"/>
                      </a:lnTo>
                      <a:cubicBezTo>
                        <a:pt x="2212" y="139289"/>
                        <a:pt x="0" y="137077"/>
                        <a:pt x="0" y="134358"/>
                      </a:cubicBezTo>
                      <a:cubicBezTo>
                        <a:pt x="0" y="131640"/>
                        <a:pt x="2212" y="129428"/>
                        <a:pt x="4931" y="129428"/>
                      </a:cubicBezTo>
                      <a:lnTo>
                        <a:pt x="68419" y="129428"/>
                      </a:lnTo>
                      <a:lnTo>
                        <a:pt x="68419" y="9862"/>
                      </a:lnTo>
                      <a:lnTo>
                        <a:pt x="4931" y="9862"/>
                      </a:lnTo>
                      <a:cubicBezTo>
                        <a:pt x="2212" y="9862"/>
                        <a:pt x="0" y="7650"/>
                        <a:pt x="0" y="4931"/>
                      </a:cubicBezTo>
                      <a:cubicBezTo>
                        <a:pt x="0" y="2212"/>
                        <a:pt x="2212" y="0"/>
                        <a:pt x="4931" y="0"/>
                      </a:cubicBezTo>
                      <a:lnTo>
                        <a:pt x="73349" y="0"/>
                      </a:lnTo>
                      <a:cubicBezTo>
                        <a:pt x="76068" y="0"/>
                        <a:pt x="78280" y="2212"/>
                        <a:pt x="78280" y="4931"/>
                      </a:cubicBezTo>
                      <a:lnTo>
                        <a:pt x="78280" y="134385"/>
                      </a:lnTo>
                      <a:cubicBezTo>
                        <a:pt x="78307" y="137077"/>
                        <a:pt x="76068" y="139289"/>
                        <a:pt x="73349" y="139289"/>
                      </a:cubicBezTo>
                      <a:close/>
                    </a:path>
                  </a:pathLst>
                </a:custGeom>
                <a:grpFill/>
                <a:ln w="2663" cap="flat">
                  <a:noFill/>
                  <a:prstDash val="solid"/>
                  <a:miter/>
                </a:ln>
              </p:spPr>
              <p:txBody>
                <a:bodyPr rtlCol="0" anchor="ctr"/>
                <a:lstStyle/>
                <a:p>
                  <a:endParaRPr lang="en-GB" dirty="0"/>
                </a:p>
              </p:txBody>
            </p:sp>
            <p:sp>
              <p:nvSpPr>
                <p:cNvPr id="358" name="Freihandform: Form 402">
                  <a:extLst>
                    <a:ext uri="{FF2B5EF4-FFF2-40B4-BE49-F238E27FC236}">
                      <a16:creationId xmlns:a16="http://schemas.microsoft.com/office/drawing/2014/main" id="{629482FA-94A9-4C44-85B3-F82EE44279F9}"/>
                    </a:ext>
                  </a:extLst>
                </p:cNvPr>
                <p:cNvSpPr/>
                <p:nvPr/>
              </p:nvSpPr>
              <p:spPr>
                <a:xfrm>
                  <a:off x="3690768" y="3724473"/>
                  <a:ext cx="90570" cy="35987"/>
                </a:xfrm>
                <a:custGeom>
                  <a:avLst/>
                  <a:gdLst>
                    <a:gd name="connsiteX0" fmla="*/ 4940 w 90570"/>
                    <a:gd name="connsiteY0" fmla="*/ 35987 h 35987"/>
                    <a:gd name="connsiteX1" fmla="*/ 410 w 90570"/>
                    <a:gd name="connsiteY1" fmla="*/ 33002 h 35987"/>
                    <a:gd name="connsiteX2" fmla="*/ 2995 w 90570"/>
                    <a:gd name="connsiteY2" fmla="*/ 26525 h 35987"/>
                    <a:gd name="connsiteX3" fmla="*/ 57714 w 90570"/>
                    <a:gd name="connsiteY3" fmla="*/ 2990 h 35987"/>
                    <a:gd name="connsiteX4" fmla="*/ 89431 w 90570"/>
                    <a:gd name="connsiteY4" fmla="*/ 9680 h 35987"/>
                    <a:gd name="connsiteX5" fmla="*/ 88818 w 90570"/>
                    <a:gd name="connsiteY5" fmla="*/ 22687 h 35987"/>
                    <a:gd name="connsiteX6" fmla="*/ 82234 w 90570"/>
                    <a:gd name="connsiteY6" fmla="*/ 25033 h 35987"/>
                    <a:gd name="connsiteX7" fmla="*/ 79889 w 90570"/>
                    <a:gd name="connsiteY7" fmla="*/ 18449 h 35987"/>
                    <a:gd name="connsiteX8" fmla="*/ 80369 w 90570"/>
                    <a:gd name="connsiteY8" fmla="*/ 13599 h 35987"/>
                    <a:gd name="connsiteX9" fmla="*/ 61605 w 90570"/>
                    <a:gd name="connsiteY9" fmla="*/ 12079 h 35987"/>
                    <a:gd name="connsiteX10" fmla="*/ 6886 w 90570"/>
                    <a:gd name="connsiteY10" fmla="*/ 35614 h 35987"/>
                    <a:gd name="connsiteX11" fmla="*/ 4940 w 90570"/>
                    <a:gd name="connsiteY11" fmla="*/ 35987 h 35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570" h="35987">
                      <a:moveTo>
                        <a:pt x="4940" y="35987"/>
                      </a:moveTo>
                      <a:cubicBezTo>
                        <a:pt x="3021" y="35987"/>
                        <a:pt x="1209" y="34868"/>
                        <a:pt x="410" y="33002"/>
                      </a:cubicBezTo>
                      <a:cubicBezTo>
                        <a:pt x="-683" y="30496"/>
                        <a:pt x="490" y="27591"/>
                        <a:pt x="2995" y="26525"/>
                      </a:cubicBezTo>
                      <a:lnTo>
                        <a:pt x="57714" y="2990"/>
                      </a:lnTo>
                      <a:cubicBezTo>
                        <a:pt x="71333" y="-2847"/>
                        <a:pt x="85273" y="112"/>
                        <a:pt x="89431" y="9680"/>
                      </a:cubicBezTo>
                      <a:cubicBezTo>
                        <a:pt x="91137" y="13625"/>
                        <a:pt x="90923" y="18236"/>
                        <a:pt x="88818" y="22687"/>
                      </a:cubicBezTo>
                      <a:cubicBezTo>
                        <a:pt x="87645" y="25166"/>
                        <a:pt x="84713" y="26205"/>
                        <a:pt x="82234" y="25033"/>
                      </a:cubicBezTo>
                      <a:cubicBezTo>
                        <a:pt x="79756" y="23860"/>
                        <a:pt x="78716" y="20928"/>
                        <a:pt x="79889" y="18449"/>
                      </a:cubicBezTo>
                      <a:cubicBezTo>
                        <a:pt x="80502" y="17143"/>
                        <a:pt x="81089" y="15251"/>
                        <a:pt x="80369" y="13599"/>
                      </a:cubicBezTo>
                      <a:cubicBezTo>
                        <a:pt x="78716" y="9814"/>
                        <a:pt x="70347" y="8348"/>
                        <a:pt x="61605" y="12079"/>
                      </a:cubicBezTo>
                      <a:lnTo>
                        <a:pt x="6886" y="35614"/>
                      </a:lnTo>
                      <a:cubicBezTo>
                        <a:pt x="6273" y="35854"/>
                        <a:pt x="5607" y="35987"/>
                        <a:pt x="4940" y="35987"/>
                      </a:cubicBezTo>
                      <a:close/>
                    </a:path>
                  </a:pathLst>
                </a:custGeom>
                <a:grpFill/>
                <a:ln w="2663" cap="flat">
                  <a:noFill/>
                  <a:prstDash val="solid"/>
                  <a:miter/>
                </a:ln>
              </p:spPr>
              <p:txBody>
                <a:bodyPr rtlCol="0" anchor="ctr"/>
                <a:lstStyle/>
                <a:p>
                  <a:endParaRPr lang="en-GB" dirty="0"/>
                </a:p>
              </p:txBody>
            </p:sp>
            <p:sp>
              <p:nvSpPr>
                <p:cNvPr id="359" name="Freihandform: Form 403">
                  <a:extLst>
                    <a:ext uri="{FF2B5EF4-FFF2-40B4-BE49-F238E27FC236}">
                      <a16:creationId xmlns:a16="http://schemas.microsoft.com/office/drawing/2014/main" id="{9628FDE8-90F0-4BE7-A6CB-6FB636B09042}"/>
                    </a:ext>
                  </a:extLst>
                </p:cNvPr>
                <p:cNvSpPr/>
                <p:nvPr/>
              </p:nvSpPr>
              <p:spPr>
                <a:xfrm>
                  <a:off x="3652510" y="3721047"/>
                  <a:ext cx="74256" cy="29391"/>
                </a:xfrm>
                <a:custGeom>
                  <a:avLst/>
                  <a:gdLst>
                    <a:gd name="connsiteX0" fmla="*/ 65481 w 74256"/>
                    <a:gd name="connsiteY0" fmla="*/ 29392 h 29391"/>
                    <a:gd name="connsiteX1" fmla="*/ 62336 w 74256"/>
                    <a:gd name="connsiteY1" fmla="*/ 28272 h 29391"/>
                    <a:gd name="connsiteX2" fmla="*/ 61669 w 74256"/>
                    <a:gd name="connsiteY2" fmla="*/ 21316 h 29391"/>
                    <a:gd name="connsiteX3" fmla="*/ 64015 w 74256"/>
                    <a:gd name="connsiteY3" fmla="*/ 13587 h 29391"/>
                    <a:gd name="connsiteX4" fmla="*/ 45251 w 74256"/>
                    <a:gd name="connsiteY4" fmla="*/ 12067 h 29391"/>
                    <a:gd name="connsiteX5" fmla="*/ 6871 w 74256"/>
                    <a:gd name="connsiteY5" fmla="*/ 28406 h 29391"/>
                    <a:gd name="connsiteX6" fmla="*/ 394 w 74256"/>
                    <a:gd name="connsiteY6" fmla="*/ 25794 h 29391"/>
                    <a:gd name="connsiteX7" fmla="*/ 3006 w 74256"/>
                    <a:gd name="connsiteY7" fmla="*/ 19317 h 29391"/>
                    <a:gd name="connsiteX8" fmla="*/ 41386 w 74256"/>
                    <a:gd name="connsiteY8" fmla="*/ 2979 h 29391"/>
                    <a:gd name="connsiteX9" fmla="*/ 73104 w 74256"/>
                    <a:gd name="connsiteY9" fmla="*/ 9669 h 29391"/>
                    <a:gd name="connsiteX10" fmla="*/ 69319 w 74256"/>
                    <a:gd name="connsiteY10" fmla="*/ 27606 h 29391"/>
                    <a:gd name="connsiteX11" fmla="*/ 65481 w 74256"/>
                    <a:gd name="connsiteY11" fmla="*/ 29392 h 2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4256" h="29391">
                      <a:moveTo>
                        <a:pt x="65481" y="29392"/>
                      </a:moveTo>
                      <a:cubicBezTo>
                        <a:pt x="64361" y="29392"/>
                        <a:pt x="63269" y="29019"/>
                        <a:pt x="62336" y="28272"/>
                      </a:cubicBezTo>
                      <a:cubicBezTo>
                        <a:pt x="60230" y="26540"/>
                        <a:pt x="59937" y="23422"/>
                        <a:pt x="61669" y="21316"/>
                      </a:cubicBezTo>
                      <a:cubicBezTo>
                        <a:pt x="64015" y="18464"/>
                        <a:pt x="64894" y="15586"/>
                        <a:pt x="64015" y="13587"/>
                      </a:cubicBezTo>
                      <a:cubicBezTo>
                        <a:pt x="62362" y="9802"/>
                        <a:pt x="53993" y="8336"/>
                        <a:pt x="45251" y="12067"/>
                      </a:cubicBezTo>
                      <a:lnTo>
                        <a:pt x="6871" y="28406"/>
                      </a:lnTo>
                      <a:cubicBezTo>
                        <a:pt x="4392" y="29445"/>
                        <a:pt x="1460" y="28299"/>
                        <a:pt x="394" y="25794"/>
                      </a:cubicBezTo>
                      <a:cubicBezTo>
                        <a:pt x="-672" y="23288"/>
                        <a:pt x="501" y="20383"/>
                        <a:pt x="3006" y="19317"/>
                      </a:cubicBezTo>
                      <a:lnTo>
                        <a:pt x="41386" y="2979"/>
                      </a:lnTo>
                      <a:cubicBezTo>
                        <a:pt x="55006" y="-2832"/>
                        <a:pt x="68946" y="100"/>
                        <a:pt x="73104" y="9669"/>
                      </a:cubicBezTo>
                      <a:cubicBezTo>
                        <a:pt x="75502" y="15239"/>
                        <a:pt x="74117" y="21769"/>
                        <a:pt x="69319" y="27606"/>
                      </a:cubicBezTo>
                      <a:cubicBezTo>
                        <a:pt x="68306" y="28779"/>
                        <a:pt x="66893" y="29392"/>
                        <a:pt x="65481" y="29392"/>
                      </a:cubicBezTo>
                      <a:close/>
                    </a:path>
                  </a:pathLst>
                </a:custGeom>
                <a:grpFill/>
                <a:ln w="2663" cap="flat">
                  <a:noFill/>
                  <a:prstDash val="solid"/>
                  <a:miter/>
                </a:ln>
              </p:spPr>
              <p:txBody>
                <a:bodyPr rtlCol="0" anchor="ctr"/>
                <a:lstStyle/>
                <a:p>
                  <a:endParaRPr lang="en-GB" dirty="0"/>
                </a:p>
              </p:txBody>
            </p:sp>
          </p:grpSp>
          <p:grpSp>
            <p:nvGrpSpPr>
              <p:cNvPr id="349" name="Grafik 138">
                <a:extLst>
                  <a:ext uri="{FF2B5EF4-FFF2-40B4-BE49-F238E27FC236}">
                    <a16:creationId xmlns:a16="http://schemas.microsoft.com/office/drawing/2014/main" id="{A7B56265-D2BA-4E78-A258-82EE827E49D9}"/>
                  </a:ext>
                </a:extLst>
              </p:cNvPr>
              <p:cNvGrpSpPr/>
              <p:nvPr/>
            </p:nvGrpSpPr>
            <p:grpSpPr>
              <a:xfrm>
                <a:off x="3529607" y="3265752"/>
                <a:ext cx="232291" cy="279431"/>
                <a:chOff x="3529607" y="3265752"/>
                <a:chExt cx="232291" cy="279431"/>
              </a:xfrm>
              <a:grpFill/>
            </p:grpSpPr>
            <p:sp>
              <p:nvSpPr>
                <p:cNvPr id="350" name="Freihandform: Form 394">
                  <a:extLst>
                    <a:ext uri="{FF2B5EF4-FFF2-40B4-BE49-F238E27FC236}">
                      <a16:creationId xmlns:a16="http://schemas.microsoft.com/office/drawing/2014/main" id="{A8FFBE05-885C-47F1-9E08-E7320F5FC468}"/>
                    </a:ext>
                  </a:extLst>
                </p:cNvPr>
                <p:cNvSpPr/>
                <p:nvPr/>
              </p:nvSpPr>
              <p:spPr>
                <a:xfrm>
                  <a:off x="3529607" y="3265752"/>
                  <a:ext cx="128521" cy="73136"/>
                </a:xfrm>
                <a:custGeom>
                  <a:avLst/>
                  <a:gdLst>
                    <a:gd name="connsiteX0" fmla="*/ 123617 w 128521"/>
                    <a:gd name="connsiteY0" fmla="*/ 73136 h 73136"/>
                    <a:gd name="connsiteX1" fmla="*/ 4931 w 128521"/>
                    <a:gd name="connsiteY1" fmla="*/ 73136 h 73136"/>
                    <a:gd name="connsiteX2" fmla="*/ 0 w 128521"/>
                    <a:gd name="connsiteY2" fmla="*/ 68205 h 73136"/>
                    <a:gd name="connsiteX3" fmla="*/ 0 w 128521"/>
                    <a:gd name="connsiteY3" fmla="*/ 4931 h 73136"/>
                    <a:gd name="connsiteX4" fmla="*/ 4931 w 128521"/>
                    <a:gd name="connsiteY4" fmla="*/ 0 h 73136"/>
                    <a:gd name="connsiteX5" fmla="*/ 9862 w 128521"/>
                    <a:gd name="connsiteY5" fmla="*/ 4931 h 73136"/>
                    <a:gd name="connsiteX6" fmla="*/ 9862 w 128521"/>
                    <a:gd name="connsiteY6" fmla="*/ 63248 h 73136"/>
                    <a:gd name="connsiteX7" fmla="*/ 118660 w 128521"/>
                    <a:gd name="connsiteY7" fmla="*/ 63248 h 73136"/>
                    <a:gd name="connsiteX8" fmla="*/ 118660 w 128521"/>
                    <a:gd name="connsiteY8" fmla="*/ 4931 h 73136"/>
                    <a:gd name="connsiteX9" fmla="*/ 123591 w 128521"/>
                    <a:gd name="connsiteY9" fmla="*/ 0 h 73136"/>
                    <a:gd name="connsiteX10" fmla="*/ 128521 w 128521"/>
                    <a:gd name="connsiteY10" fmla="*/ 4931 h 73136"/>
                    <a:gd name="connsiteX11" fmla="*/ 128521 w 128521"/>
                    <a:gd name="connsiteY11" fmla="*/ 68205 h 73136"/>
                    <a:gd name="connsiteX12" fmla="*/ 123617 w 128521"/>
                    <a:gd name="connsiteY12" fmla="*/ 73136 h 73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8521" h="73136">
                      <a:moveTo>
                        <a:pt x="123617" y="73136"/>
                      </a:moveTo>
                      <a:lnTo>
                        <a:pt x="4931" y="73136"/>
                      </a:lnTo>
                      <a:cubicBezTo>
                        <a:pt x="2212" y="73136"/>
                        <a:pt x="0" y="70924"/>
                        <a:pt x="0" y="68205"/>
                      </a:cubicBezTo>
                      <a:lnTo>
                        <a:pt x="0" y="4931"/>
                      </a:lnTo>
                      <a:cubicBezTo>
                        <a:pt x="0" y="2212"/>
                        <a:pt x="2212" y="0"/>
                        <a:pt x="4931" y="0"/>
                      </a:cubicBezTo>
                      <a:cubicBezTo>
                        <a:pt x="7649" y="0"/>
                        <a:pt x="9862" y="2212"/>
                        <a:pt x="9862" y="4931"/>
                      </a:cubicBezTo>
                      <a:lnTo>
                        <a:pt x="9862" y="63248"/>
                      </a:lnTo>
                      <a:lnTo>
                        <a:pt x="118660" y="63248"/>
                      </a:lnTo>
                      <a:lnTo>
                        <a:pt x="118660" y="4931"/>
                      </a:lnTo>
                      <a:cubicBezTo>
                        <a:pt x="118660" y="2212"/>
                        <a:pt x="120872" y="0"/>
                        <a:pt x="123591" y="0"/>
                      </a:cubicBezTo>
                      <a:cubicBezTo>
                        <a:pt x="126309" y="0"/>
                        <a:pt x="128521" y="2212"/>
                        <a:pt x="128521" y="4931"/>
                      </a:cubicBezTo>
                      <a:lnTo>
                        <a:pt x="128521" y="68205"/>
                      </a:lnTo>
                      <a:cubicBezTo>
                        <a:pt x="128548" y="70924"/>
                        <a:pt x="126336" y="73136"/>
                        <a:pt x="123617" y="73136"/>
                      </a:cubicBezTo>
                      <a:close/>
                    </a:path>
                  </a:pathLst>
                </a:custGeom>
                <a:grpFill/>
                <a:ln w="2663" cap="flat">
                  <a:noFill/>
                  <a:prstDash val="solid"/>
                  <a:miter/>
                </a:ln>
              </p:spPr>
              <p:txBody>
                <a:bodyPr rtlCol="0" anchor="ctr"/>
                <a:lstStyle/>
                <a:p>
                  <a:endParaRPr lang="en-GB" dirty="0"/>
                </a:p>
              </p:txBody>
            </p:sp>
            <p:sp>
              <p:nvSpPr>
                <p:cNvPr id="351" name="Freihandform: Form 395">
                  <a:extLst>
                    <a:ext uri="{FF2B5EF4-FFF2-40B4-BE49-F238E27FC236}">
                      <a16:creationId xmlns:a16="http://schemas.microsoft.com/office/drawing/2014/main" id="{B5F893AC-1EE5-46A3-914F-1AC17A329954}"/>
                    </a:ext>
                  </a:extLst>
                </p:cNvPr>
                <p:cNvSpPr/>
                <p:nvPr/>
              </p:nvSpPr>
              <p:spPr>
                <a:xfrm>
                  <a:off x="3717322" y="3408210"/>
                  <a:ext cx="32835" cy="80308"/>
                </a:xfrm>
                <a:custGeom>
                  <a:avLst/>
                  <a:gdLst>
                    <a:gd name="connsiteX0" fmla="*/ 12583 w 32835"/>
                    <a:gd name="connsiteY0" fmla="*/ 80308 h 80308"/>
                    <a:gd name="connsiteX1" fmla="*/ 9624 w 32835"/>
                    <a:gd name="connsiteY1" fmla="*/ 79322 h 80308"/>
                    <a:gd name="connsiteX2" fmla="*/ 8638 w 32835"/>
                    <a:gd name="connsiteY2" fmla="*/ 72392 h 80308"/>
                    <a:gd name="connsiteX3" fmla="*/ 22178 w 32835"/>
                    <a:gd name="connsiteY3" fmla="*/ 54348 h 80308"/>
                    <a:gd name="connsiteX4" fmla="*/ 455 w 32835"/>
                    <a:gd name="connsiteY4" fmla="*/ 7012 h 80308"/>
                    <a:gd name="connsiteX5" fmla="*/ 2881 w 32835"/>
                    <a:gd name="connsiteY5" fmla="*/ 455 h 80308"/>
                    <a:gd name="connsiteX6" fmla="*/ 9437 w 32835"/>
                    <a:gd name="connsiteY6" fmla="*/ 2881 h 80308"/>
                    <a:gd name="connsiteX7" fmla="*/ 32386 w 32835"/>
                    <a:gd name="connsiteY7" fmla="*/ 52882 h 80308"/>
                    <a:gd name="connsiteX8" fmla="*/ 31853 w 32835"/>
                    <a:gd name="connsiteY8" fmla="*/ 57920 h 80308"/>
                    <a:gd name="connsiteX9" fmla="*/ 16554 w 32835"/>
                    <a:gd name="connsiteY9" fmla="*/ 78336 h 80308"/>
                    <a:gd name="connsiteX10" fmla="*/ 12583 w 32835"/>
                    <a:gd name="connsiteY10" fmla="*/ 80308 h 8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35" h="80308">
                      <a:moveTo>
                        <a:pt x="12583" y="80308"/>
                      </a:moveTo>
                      <a:cubicBezTo>
                        <a:pt x="11543" y="80308"/>
                        <a:pt x="10504" y="79988"/>
                        <a:pt x="9624" y="79322"/>
                      </a:cubicBezTo>
                      <a:cubicBezTo>
                        <a:pt x="7439" y="77696"/>
                        <a:pt x="6986" y="74578"/>
                        <a:pt x="8638" y="72392"/>
                      </a:cubicBezTo>
                      <a:lnTo>
                        <a:pt x="22178" y="54348"/>
                      </a:lnTo>
                      <a:lnTo>
                        <a:pt x="455" y="7012"/>
                      </a:lnTo>
                      <a:cubicBezTo>
                        <a:pt x="-690" y="4533"/>
                        <a:pt x="402" y="1602"/>
                        <a:pt x="2881" y="455"/>
                      </a:cubicBezTo>
                      <a:cubicBezTo>
                        <a:pt x="5306" y="-691"/>
                        <a:pt x="8292" y="402"/>
                        <a:pt x="9437" y="2881"/>
                      </a:cubicBezTo>
                      <a:lnTo>
                        <a:pt x="32386" y="52882"/>
                      </a:lnTo>
                      <a:cubicBezTo>
                        <a:pt x="33132" y="54535"/>
                        <a:pt x="32946" y="56454"/>
                        <a:pt x="31853" y="57920"/>
                      </a:cubicBezTo>
                      <a:lnTo>
                        <a:pt x="16554" y="78336"/>
                      </a:lnTo>
                      <a:cubicBezTo>
                        <a:pt x="15568" y="79642"/>
                        <a:pt x="14075" y="80308"/>
                        <a:pt x="12583" y="80308"/>
                      </a:cubicBezTo>
                      <a:close/>
                    </a:path>
                  </a:pathLst>
                </a:custGeom>
                <a:grpFill/>
                <a:ln w="2663" cap="flat">
                  <a:noFill/>
                  <a:prstDash val="solid"/>
                  <a:miter/>
                </a:ln>
              </p:spPr>
              <p:txBody>
                <a:bodyPr rtlCol="0" anchor="ctr"/>
                <a:lstStyle/>
                <a:p>
                  <a:endParaRPr lang="en-GB" dirty="0"/>
                </a:p>
              </p:txBody>
            </p:sp>
            <p:sp>
              <p:nvSpPr>
                <p:cNvPr id="352" name="Freihandform: Form 396">
                  <a:extLst>
                    <a:ext uri="{FF2B5EF4-FFF2-40B4-BE49-F238E27FC236}">
                      <a16:creationId xmlns:a16="http://schemas.microsoft.com/office/drawing/2014/main" id="{5D9CCD86-E96E-41EF-93C4-69E3A2F3CCC4}"/>
                    </a:ext>
                  </a:extLst>
                </p:cNvPr>
                <p:cNvSpPr/>
                <p:nvPr/>
              </p:nvSpPr>
              <p:spPr>
                <a:xfrm>
                  <a:off x="3724445" y="3391159"/>
                  <a:ext cx="33855" cy="68281"/>
                </a:xfrm>
                <a:custGeom>
                  <a:avLst/>
                  <a:gdLst>
                    <a:gd name="connsiteX0" fmla="*/ 18200 w 33855"/>
                    <a:gd name="connsiteY0" fmla="*/ 68281 h 68281"/>
                    <a:gd name="connsiteX1" fmla="*/ 15908 w 33855"/>
                    <a:gd name="connsiteY1" fmla="*/ 67722 h 68281"/>
                    <a:gd name="connsiteX2" fmla="*/ 13829 w 33855"/>
                    <a:gd name="connsiteY2" fmla="*/ 61058 h 68281"/>
                    <a:gd name="connsiteX3" fmla="*/ 23211 w 33855"/>
                    <a:gd name="connsiteY3" fmla="*/ 43174 h 68281"/>
                    <a:gd name="connsiteX4" fmla="*/ 769 w 33855"/>
                    <a:gd name="connsiteY4" fmla="*/ 7592 h 68281"/>
                    <a:gd name="connsiteX5" fmla="*/ 2315 w 33855"/>
                    <a:gd name="connsiteY5" fmla="*/ 769 h 68281"/>
                    <a:gd name="connsiteX6" fmla="*/ 9138 w 33855"/>
                    <a:gd name="connsiteY6" fmla="*/ 2315 h 68281"/>
                    <a:gd name="connsiteX7" fmla="*/ 33099 w 33855"/>
                    <a:gd name="connsiteY7" fmla="*/ 40322 h 68281"/>
                    <a:gd name="connsiteX8" fmla="*/ 33286 w 33855"/>
                    <a:gd name="connsiteY8" fmla="*/ 45253 h 68281"/>
                    <a:gd name="connsiteX9" fmla="*/ 22571 w 33855"/>
                    <a:gd name="connsiteY9" fmla="*/ 65669 h 68281"/>
                    <a:gd name="connsiteX10" fmla="*/ 18200 w 33855"/>
                    <a:gd name="connsiteY10" fmla="*/ 68281 h 6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855" h="68281">
                      <a:moveTo>
                        <a:pt x="18200" y="68281"/>
                      </a:moveTo>
                      <a:cubicBezTo>
                        <a:pt x="17427" y="68281"/>
                        <a:pt x="16654" y="68095"/>
                        <a:pt x="15908" y="67722"/>
                      </a:cubicBezTo>
                      <a:cubicBezTo>
                        <a:pt x="13483" y="66442"/>
                        <a:pt x="12550" y="63457"/>
                        <a:pt x="13829" y="61058"/>
                      </a:cubicBezTo>
                      <a:lnTo>
                        <a:pt x="23211" y="43174"/>
                      </a:lnTo>
                      <a:lnTo>
                        <a:pt x="769" y="7592"/>
                      </a:lnTo>
                      <a:cubicBezTo>
                        <a:pt x="-697" y="5273"/>
                        <a:pt x="-4" y="2235"/>
                        <a:pt x="2315" y="769"/>
                      </a:cubicBezTo>
                      <a:cubicBezTo>
                        <a:pt x="4607" y="-697"/>
                        <a:pt x="7672" y="-4"/>
                        <a:pt x="9138" y="2315"/>
                      </a:cubicBezTo>
                      <a:lnTo>
                        <a:pt x="33099" y="40322"/>
                      </a:lnTo>
                      <a:cubicBezTo>
                        <a:pt x="34032" y="41815"/>
                        <a:pt x="34112" y="43707"/>
                        <a:pt x="33286" y="45253"/>
                      </a:cubicBezTo>
                      <a:lnTo>
                        <a:pt x="22571" y="65669"/>
                      </a:lnTo>
                      <a:cubicBezTo>
                        <a:pt x="21692" y="67322"/>
                        <a:pt x="19986" y="68281"/>
                        <a:pt x="18200" y="68281"/>
                      </a:cubicBezTo>
                      <a:close/>
                    </a:path>
                  </a:pathLst>
                </a:custGeom>
                <a:grpFill/>
                <a:ln w="2663" cap="flat">
                  <a:noFill/>
                  <a:prstDash val="solid"/>
                  <a:miter/>
                </a:ln>
              </p:spPr>
              <p:txBody>
                <a:bodyPr rtlCol="0" anchor="ctr"/>
                <a:lstStyle/>
                <a:p>
                  <a:endParaRPr lang="en-GB" dirty="0"/>
                </a:p>
              </p:txBody>
            </p:sp>
            <p:sp>
              <p:nvSpPr>
                <p:cNvPr id="353" name="Freihandform: Form 397">
                  <a:extLst>
                    <a:ext uri="{FF2B5EF4-FFF2-40B4-BE49-F238E27FC236}">
                      <a16:creationId xmlns:a16="http://schemas.microsoft.com/office/drawing/2014/main" id="{0CE4622F-990D-4FC2-921F-9EAA18095456}"/>
                    </a:ext>
                  </a:extLst>
                </p:cNvPr>
                <p:cNvSpPr/>
                <p:nvPr/>
              </p:nvSpPr>
              <p:spPr>
                <a:xfrm>
                  <a:off x="3531974" y="3329663"/>
                  <a:ext cx="205510" cy="215520"/>
                </a:xfrm>
                <a:custGeom>
                  <a:avLst/>
                  <a:gdLst>
                    <a:gd name="connsiteX0" fmla="*/ 173383 w 205510"/>
                    <a:gd name="connsiteY0" fmla="*/ 215521 h 215520"/>
                    <a:gd name="connsiteX1" fmla="*/ 166613 w 205510"/>
                    <a:gd name="connsiteY1" fmla="*/ 212482 h 215520"/>
                    <a:gd name="connsiteX2" fmla="*/ 166107 w 205510"/>
                    <a:gd name="connsiteY2" fmla="*/ 158243 h 215520"/>
                    <a:gd name="connsiteX3" fmla="*/ 144944 w 205510"/>
                    <a:gd name="connsiteY3" fmla="*/ 132923 h 215520"/>
                    <a:gd name="connsiteX4" fmla="*/ 72981 w 205510"/>
                    <a:gd name="connsiteY4" fmla="*/ 132363 h 215520"/>
                    <a:gd name="connsiteX5" fmla="*/ 66744 w 205510"/>
                    <a:gd name="connsiteY5" fmla="*/ 139772 h 215520"/>
                    <a:gd name="connsiteX6" fmla="*/ 70609 w 205510"/>
                    <a:gd name="connsiteY6" fmla="*/ 192865 h 215520"/>
                    <a:gd name="connsiteX7" fmla="*/ 54643 w 205510"/>
                    <a:gd name="connsiteY7" fmla="*/ 207525 h 215520"/>
                    <a:gd name="connsiteX8" fmla="*/ 50752 w 205510"/>
                    <a:gd name="connsiteY8" fmla="*/ 207258 h 215520"/>
                    <a:gd name="connsiteX9" fmla="*/ 48273 w 205510"/>
                    <a:gd name="connsiteY9" fmla="*/ 204246 h 215520"/>
                    <a:gd name="connsiteX10" fmla="*/ 19728 w 205510"/>
                    <a:gd name="connsiteY10" fmla="*/ 149527 h 215520"/>
                    <a:gd name="connsiteX11" fmla="*/ 10079 w 205510"/>
                    <a:gd name="connsiteY11" fmla="*/ 3575 h 215520"/>
                    <a:gd name="connsiteX12" fmla="*/ 16210 w 205510"/>
                    <a:gd name="connsiteY12" fmla="*/ 190 h 215520"/>
                    <a:gd name="connsiteX13" fmla="*/ 19595 w 205510"/>
                    <a:gd name="connsiteY13" fmla="*/ 6320 h 215520"/>
                    <a:gd name="connsiteX14" fmla="*/ 27404 w 205510"/>
                    <a:gd name="connsiteY14" fmla="*/ 143291 h 215520"/>
                    <a:gd name="connsiteX15" fmla="*/ 55923 w 205510"/>
                    <a:gd name="connsiteY15" fmla="*/ 195851 h 215520"/>
                    <a:gd name="connsiteX16" fmla="*/ 61733 w 205510"/>
                    <a:gd name="connsiteY16" fmla="*/ 188681 h 215520"/>
                    <a:gd name="connsiteX17" fmla="*/ 57602 w 205510"/>
                    <a:gd name="connsiteY17" fmla="*/ 143371 h 215520"/>
                    <a:gd name="connsiteX18" fmla="*/ 67250 w 205510"/>
                    <a:gd name="connsiteY18" fmla="*/ 124367 h 215520"/>
                    <a:gd name="connsiteX19" fmla="*/ 151714 w 205510"/>
                    <a:gd name="connsiteY19" fmla="*/ 125646 h 215520"/>
                    <a:gd name="connsiteX20" fmla="*/ 175356 w 205510"/>
                    <a:gd name="connsiteY20" fmla="*/ 153925 h 215520"/>
                    <a:gd name="connsiteX21" fmla="*/ 176315 w 205510"/>
                    <a:gd name="connsiteY21" fmla="*/ 157950 h 215520"/>
                    <a:gd name="connsiteX22" fmla="*/ 173090 w 205510"/>
                    <a:gd name="connsiteY22" fmla="*/ 204166 h 215520"/>
                    <a:gd name="connsiteX23" fmla="*/ 195398 w 205510"/>
                    <a:gd name="connsiteY23" fmla="*/ 162214 h 215520"/>
                    <a:gd name="connsiteX24" fmla="*/ 175995 w 205510"/>
                    <a:gd name="connsiteY24" fmla="*/ 107096 h 215520"/>
                    <a:gd name="connsiteX25" fmla="*/ 179007 w 205510"/>
                    <a:gd name="connsiteY25" fmla="*/ 100779 h 215520"/>
                    <a:gd name="connsiteX26" fmla="*/ 185324 w 205510"/>
                    <a:gd name="connsiteY26" fmla="*/ 103791 h 215520"/>
                    <a:gd name="connsiteX27" fmla="*/ 205260 w 205510"/>
                    <a:gd name="connsiteY27" fmla="*/ 160509 h 215520"/>
                    <a:gd name="connsiteX28" fmla="*/ 205420 w 205510"/>
                    <a:gd name="connsiteY28" fmla="*/ 163041 h 215520"/>
                    <a:gd name="connsiteX29" fmla="*/ 177541 w 205510"/>
                    <a:gd name="connsiteY29" fmla="*/ 214028 h 215520"/>
                    <a:gd name="connsiteX30" fmla="*/ 174583 w 205510"/>
                    <a:gd name="connsiteY30" fmla="*/ 215441 h 215520"/>
                    <a:gd name="connsiteX31" fmla="*/ 173383 w 205510"/>
                    <a:gd name="connsiteY31" fmla="*/ 215521 h 215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05510" h="215520">
                      <a:moveTo>
                        <a:pt x="173383" y="215521"/>
                      </a:moveTo>
                      <a:cubicBezTo>
                        <a:pt x="170798" y="215521"/>
                        <a:pt x="168425" y="214454"/>
                        <a:pt x="166613" y="212482"/>
                      </a:cubicBezTo>
                      <a:cubicBezTo>
                        <a:pt x="158378" y="203447"/>
                        <a:pt x="163601" y="171116"/>
                        <a:pt x="166107" y="158243"/>
                      </a:cubicBezTo>
                      <a:cubicBezTo>
                        <a:pt x="162055" y="153099"/>
                        <a:pt x="150195" y="138173"/>
                        <a:pt x="144944" y="132923"/>
                      </a:cubicBezTo>
                      <a:cubicBezTo>
                        <a:pt x="122182" y="113626"/>
                        <a:pt x="88493" y="121142"/>
                        <a:pt x="72981" y="132363"/>
                      </a:cubicBezTo>
                      <a:cubicBezTo>
                        <a:pt x="67597" y="136254"/>
                        <a:pt x="66504" y="139213"/>
                        <a:pt x="66744" y="139772"/>
                      </a:cubicBezTo>
                      <a:cubicBezTo>
                        <a:pt x="75140" y="162694"/>
                        <a:pt x="76419" y="180498"/>
                        <a:pt x="70609" y="192865"/>
                      </a:cubicBezTo>
                      <a:cubicBezTo>
                        <a:pt x="66184" y="202274"/>
                        <a:pt x="58695" y="206085"/>
                        <a:pt x="54643" y="207525"/>
                      </a:cubicBezTo>
                      <a:cubicBezTo>
                        <a:pt x="53364" y="207978"/>
                        <a:pt x="51951" y="207898"/>
                        <a:pt x="50752" y="207258"/>
                      </a:cubicBezTo>
                      <a:cubicBezTo>
                        <a:pt x="49553" y="206645"/>
                        <a:pt x="48647" y="205552"/>
                        <a:pt x="48273" y="204246"/>
                      </a:cubicBezTo>
                      <a:cubicBezTo>
                        <a:pt x="42330" y="183963"/>
                        <a:pt x="23326" y="153579"/>
                        <a:pt x="19728" y="149527"/>
                      </a:cubicBezTo>
                      <a:cubicBezTo>
                        <a:pt x="-17293" y="100379"/>
                        <a:pt x="8933" y="7493"/>
                        <a:pt x="10079" y="3575"/>
                      </a:cubicBezTo>
                      <a:cubicBezTo>
                        <a:pt x="10826" y="963"/>
                        <a:pt x="13571" y="-556"/>
                        <a:pt x="16210" y="190"/>
                      </a:cubicBezTo>
                      <a:cubicBezTo>
                        <a:pt x="18822" y="963"/>
                        <a:pt x="20341" y="3681"/>
                        <a:pt x="19595" y="6320"/>
                      </a:cubicBezTo>
                      <a:cubicBezTo>
                        <a:pt x="19328" y="7226"/>
                        <a:pt x="-6392" y="98380"/>
                        <a:pt x="27404" y="143291"/>
                      </a:cubicBezTo>
                      <a:cubicBezTo>
                        <a:pt x="31615" y="148008"/>
                        <a:pt x="48380" y="175168"/>
                        <a:pt x="55923" y="195851"/>
                      </a:cubicBezTo>
                      <a:cubicBezTo>
                        <a:pt x="58028" y="194305"/>
                        <a:pt x="60161" y="192039"/>
                        <a:pt x="61733" y="188681"/>
                      </a:cubicBezTo>
                      <a:cubicBezTo>
                        <a:pt x="66318" y="178926"/>
                        <a:pt x="64905" y="163280"/>
                        <a:pt x="57602" y="143371"/>
                      </a:cubicBezTo>
                      <a:cubicBezTo>
                        <a:pt x="55230" y="137534"/>
                        <a:pt x="58721" y="130550"/>
                        <a:pt x="67250" y="124367"/>
                      </a:cubicBezTo>
                      <a:cubicBezTo>
                        <a:pt x="85295" y="111307"/>
                        <a:pt x="124608" y="102645"/>
                        <a:pt x="151714" y="125646"/>
                      </a:cubicBezTo>
                      <a:cubicBezTo>
                        <a:pt x="158777" y="132683"/>
                        <a:pt x="174689" y="153072"/>
                        <a:pt x="175356" y="153925"/>
                      </a:cubicBezTo>
                      <a:cubicBezTo>
                        <a:pt x="176262" y="155071"/>
                        <a:pt x="176582" y="156537"/>
                        <a:pt x="176315" y="157950"/>
                      </a:cubicBezTo>
                      <a:cubicBezTo>
                        <a:pt x="172237" y="177940"/>
                        <a:pt x="170958" y="197929"/>
                        <a:pt x="173090" y="204166"/>
                      </a:cubicBezTo>
                      <a:cubicBezTo>
                        <a:pt x="182898" y="192252"/>
                        <a:pt x="193346" y="168504"/>
                        <a:pt x="195398" y="162214"/>
                      </a:cubicBezTo>
                      <a:cubicBezTo>
                        <a:pt x="191107" y="149554"/>
                        <a:pt x="176155" y="107522"/>
                        <a:pt x="175995" y="107096"/>
                      </a:cubicBezTo>
                      <a:cubicBezTo>
                        <a:pt x="175089" y="104537"/>
                        <a:pt x="176421" y="101712"/>
                        <a:pt x="179007" y="100779"/>
                      </a:cubicBezTo>
                      <a:cubicBezTo>
                        <a:pt x="181592" y="99873"/>
                        <a:pt x="184417" y="101205"/>
                        <a:pt x="185324" y="103791"/>
                      </a:cubicBezTo>
                      <a:cubicBezTo>
                        <a:pt x="185990" y="105656"/>
                        <a:pt x="201715" y="149874"/>
                        <a:pt x="205260" y="160509"/>
                      </a:cubicBezTo>
                      <a:cubicBezTo>
                        <a:pt x="205527" y="161335"/>
                        <a:pt x="205580" y="162188"/>
                        <a:pt x="205420" y="163041"/>
                      </a:cubicBezTo>
                      <a:cubicBezTo>
                        <a:pt x="204247" y="168904"/>
                        <a:pt x="189988" y="201608"/>
                        <a:pt x="177541" y="214028"/>
                      </a:cubicBezTo>
                      <a:cubicBezTo>
                        <a:pt x="176741" y="214828"/>
                        <a:pt x="175702" y="215334"/>
                        <a:pt x="174583" y="215441"/>
                      </a:cubicBezTo>
                      <a:cubicBezTo>
                        <a:pt x="174129" y="215494"/>
                        <a:pt x="173756" y="215521"/>
                        <a:pt x="173383" y="215521"/>
                      </a:cubicBezTo>
                      <a:close/>
                    </a:path>
                  </a:pathLst>
                </a:custGeom>
                <a:grpFill/>
                <a:ln w="2663" cap="flat">
                  <a:noFill/>
                  <a:prstDash val="solid"/>
                  <a:miter/>
                </a:ln>
              </p:spPr>
              <p:txBody>
                <a:bodyPr rtlCol="0" anchor="ctr"/>
                <a:lstStyle/>
                <a:p>
                  <a:endParaRPr lang="en-GB" dirty="0"/>
                </a:p>
              </p:txBody>
            </p:sp>
            <p:sp>
              <p:nvSpPr>
                <p:cNvPr id="354" name="Freihandform: Form 398">
                  <a:extLst>
                    <a:ext uri="{FF2B5EF4-FFF2-40B4-BE49-F238E27FC236}">
                      <a16:creationId xmlns:a16="http://schemas.microsoft.com/office/drawing/2014/main" id="{83D5A7F7-8A46-4B01-AAE7-C4E9454DA5AB}"/>
                    </a:ext>
                  </a:extLst>
                </p:cNvPr>
                <p:cNvSpPr/>
                <p:nvPr/>
              </p:nvSpPr>
              <p:spPr>
                <a:xfrm>
                  <a:off x="3638414" y="3330688"/>
                  <a:ext cx="123484" cy="102738"/>
                </a:xfrm>
                <a:custGeom>
                  <a:avLst/>
                  <a:gdLst>
                    <a:gd name="connsiteX0" fmla="*/ 112414 w 123484"/>
                    <a:gd name="connsiteY0" fmla="*/ 102739 h 102738"/>
                    <a:gd name="connsiteX1" fmla="*/ 111481 w 123484"/>
                    <a:gd name="connsiteY1" fmla="*/ 102659 h 102738"/>
                    <a:gd name="connsiteX2" fmla="*/ 107563 w 123484"/>
                    <a:gd name="connsiteY2" fmla="*/ 96875 h 102738"/>
                    <a:gd name="connsiteX3" fmla="*/ 113027 w 123484"/>
                    <a:gd name="connsiteY3" fmla="*/ 68196 h 102738"/>
                    <a:gd name="connsiteX4" fmla="*/ 77818 w 123484"/>
                    <a:gd name="connsiteY4" fmla="*/ 48020 h 102738"/>
                    <a:gd name="connsiteX5" fmla="*/ 70542 w 123484"/>
                    <a:gd name="connsiteY5" fmla="*/ 44635 h 102738"/>
                    <a:gd name="connsiteX6" fmla="*/ 1270 w 123484"/>
                    <a:gd name="connsiteY6" fmla="*/ 8253 h 102738"/>
                    <a:gd name="connsiteX7" fmla="*/ 1643 w 123484"/>
                    <a:gd name="connsiteY7" fmla="*/ 1270 h 102738"/>
                    <a:gd name="connsiteX8" fmla="*/ 8627 w 123484"/>
                    <a:gd name="connsiteY8" fmla="*/ 1643 h 102738"/>
                    <a:gd name="connsiteX9" fmla="*/ 74113 w 123484"/>
                    <a:gd name="connsiteY9" fmla="*/ 35413 h 102738"/>
                    <a:gd name="connsiteX10" fmla="*/ 82376 w 123484"/>
                    <a:gd name="connsiteY10" fmla="*/ 39224 h 102738"/>
                    <a:gd name="connsiteX11" fmla="*/ 120996 w 123484"/>
                    <a:gd name="connsiteY11" fmla="*/ 61346 h 102738"/>
                    <a:gd name="connsiteX12" fmla="*/ 123395 w 123484"/>
                    <a:gd name="connsiteY12" fmla="*/ 66570 h 102738"/>
                    <a:gd name="connsiteX13" fmla="*/ 117264 w 123484"/>
                    <a:gd name="connsiteY13" fmla="*/ 98714 h 102738"/>
                    <a:gd name="connsiteX14" fmla="*/ 112414 w 123484"/>
                    <a:gd name="connsiteY14" fmla="*/ 102739 h 10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484" h="102738">
                      <a:moveTo>
                        <a:pt x="112414" y="102739"/>
                      </a:moveTo>
                      <a:cubicBezTo>
                        <a:pt x="112094" y="102739"/>
                        <a:pt x="111801" y="102712"/>
                        <a:pt x="111481" y="102659"/>
                      </a:cubicBezTo>
                      <a:cubicBezTo>
                        <a:pt x="108816" y="102152"/>
                        <a:pt x="107030" y="99567"/>
                        <a:pt x="107563" y="96875"/>
                      </a:cubicBezTo>
                      <a:lnTo>
                        <a:pt x="113027" y="68196"/>
                      </a:lnTo>
                      <a:lnTo>
                        <a:pt x="77818" y="48020"/>
                      </a:lnTo>
                      <a:lnTo>
                        <a:pt x="70542" y="44635"/>
                      </a:lnTo>
                      <a:cubicBezTo>
                        <a:pt x="69049" y="44208"/>
                        <a:pt x="19448" y="28483"/>
                        <a:pt x="1270" y="8253"/>
                      </a:cubicBezTo>
                      <a:cubicBezTo>
                        <a:pt x="-569" y="6228"/>
                        <a:pt x="-382" y="3109"/>
                        <a:pt x="1643" y="1270"/>
                      </a:cubicBezTo>
                      <a:cubicBezTo>
                        <a:pt x="3669" y="-569"/>
                        <a:pt x="6787" y="-382"/>
                        <a:pt x="8627" y="1643"/>
                      </a:cubicBezTo>
                      <a:cubicBezTo>
                        <a:pt x="24991" y="19847"/>
                        <a:pt x="73633" y="35280"/>
                        <a:pt x="74113" y="35413"/>
                      </a:cubicBezTo>
                      <a:lnTo>
                        <a:pt x="82376" y="39224"/>
                      </a:lnTo>
                      <a:lnTo>
                        <a:pt x="120996" y="61346"/>
                      </a:lnTo>
                      <a:cubicBezTo>
                        <a:pt x="122835" y="62386"/>
                        <a:pt x="123795" y="64491"/>
                        <a:pt x="123395" y="66570"/>
                      </a:cubicBezTo>
                      <a:lnTo>
                        <a:pt x="117264" y="98714"/>
                      </a:lnTo>
                      <a:cubicBezTo>
                        <a:pt x="116812" y="101086"/>
                        <a:pt x="114733" y="102739"/>
                        <a:pt x="112414" y="102739"/>
                      </a:cubicBezTo>
                      <a:close/>
                    </a:path>
                  </a:pathLst>
                </a:custGeom>
                <a:grpFill/>
                <a:ln w="2663" cap="flat">
                  <a:noFill/>
                  <a:prstDash val="solid"/>
                  <a:miter/>
                </a:ln>
              </p:spPr>
              <p:txBody>
                <a:bodyPr rtlCol="0" anchor="ctr"/>
                <a:lstStyle/>
                <a:p>
                  <a:endParaRPr lang="en-GB" dirty="0"/>
                </a:p>
              </p:txBody>
            </p:sp>
          </p:grpSp>
        </p:grpSp>
      </p:grpSp>
      <p:sp>
        <p:nvSpPr>
          <p:cNvPr id="368" name="TextBox 367">
            <a:extLst>
              <a:ext uri="{FF2B5EF4-FFF2-40B4-BE49-F238E27FC236}">
                <a16:creationId xmlns:a16="http://schemas.microsoft.com/office/drawing/2014/main" id="{CAE7F8F4-4898-4FD1-B7E5-F8986085B967}"/>
              </a:ext>
            </a:extLst>
          </p:cNvPr>
          <p:cNvSpPr txBox="1"/>
          <p:nvPr/>
        </p:nvSpPr>
        <p:spPr>
          <a:xfrm>
            <a:off x="487133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Obtainer</a:t>
            </a:r>
          </a:p>
        </p:txBody>
      </p:sp>
    </p:spTree>
    <p:extLst>
      <p:ext uri="{BB962C8B-B14F-4D97-AF65-F5344CB8AC3E}">
        <p14:creationId xmlns:p14="http://schemas.microsoft.com/office/powerpoint/2010/main" val="365650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4B5C094-A80B-43BD-84EE-18E90BD3DA0A}"/>
              </a:ext>
            </a:extLst>
          </p:cNvPr>
          <p:cNvGraphicFramePr>
            <a:graphicFrameLocks noChangeAspect="1"/>
          </p:cNvGraphicFramePr>
          <p:nvPr>
            <p:custDataLst>
              <p:tags r:id="rId1"/>
            </p:custDataLst>
            <p:extLst>
              <p:ext uri="{D42A27DB-BD31-4B8C-83A1-F6EECF244321}">
                <p14:modId xmlns:p14="http://schemas.microsoft.com/office/powerpoint/2010/main" val="1142552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84B5C094-A80B-43BD-84EE-18E90BD3DA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83C39E1-AB46-45AA-870F-BFEF16627C89}"/>
              </a:ext>
            </a:extLst>
          </p:cNvPr>
          <p:cNvSpPr>
            <a:spLocks noGrp="1"/>
          </p:cNvSpPr>
          <p:nvPr>
            <p:ph type="sldNum" sz="quarter" idx="11"/>
          </p:nvPr>
        </p:nvSpPr>
        <p:spPr/>
        <p:txBody>
          <a:bodyPr/>
          <a:lstStyle/>
          <a:p>
            <a:fld id="{D56DB8AA-803C-49D2-90AA-1140CE72DCD7}" type="slidenum">
              <a:rPr lang="en-GB" smtClean="0"/>
              <a:pPr/>
              <a:t>18</a:t>
            </a:fld>
            <a:endParaRPr lang="en-GB" dirty="0"/>
          </a:p>
        </p:txBody>
      </p:sp>
      <p:sp>
        <p:nvSpPr>
          <p:cNvPr id="3" name="Title 2">
            <a:extLst>
              <a:ext uri="{FF2B5EF4-FFF2-40B4-BE49-F238E27FC236}">
                <a16:creationId xmlns:a16="http://schemas.microsoft.com/office/drawing/2014/main" id="{5C170D20-5478-9175-3AA5-15A8DE6BE95C}"/>
              </a:ext>
            </a:extLst>
          </p:cNvPr>
          <p:cNvSpPr>
            <a:spLocks noGrp="1"/>
          </p:cNvSpPr>
          <p:nvPr>
            <p:ph type="title"/>
          </p:nvPr>
        </p:nvSpPr>
        <p:spPr>
          <a:xfrm>
            <a:off x="252000" y="252000"/>
            <a:ext cx="6748875" cy="576000"/>
          </a:xfrm>
        </p:spPr>
        <p:txBody>
          <a:bodyPr/>
          <a:lstStyle/>
          <a:p>
            <a:r>
              <a:rPr lang="en-US" dirty="0"/>
              <a:t>Energy 1/2</a:t>
            </a:r>
          </a:p>
        </p:txBody>
      </p:sp>
      <p:sp>
        <p:nvSpPr>
          <p:cNvPr id="17" name="TextBox 16">
            <a:extLst>
              <a:ext uri="{FF2B5EF4-FFF2-40B4-BE49-F238E27FC236}">
                <a16:creationId xmlns:a16="http://schemas.microsoft.com/office/drawing/2014/main" id="{7120AAAE-7C3E-4B2F-AC85-E6DB338BAFF4}"/>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anitation</a:t>
            </a:r>
          </a:p>
        </p:txBody>
      </p:sp>
      <p:sp>
        <p:nvSpPr>
          <p:cNvPr id="18" name="TextBox 17">
            <a:extLst>
              <a:ext uri="{FF2B5EF4-FFF2-40B4-BE49-F238E27FC236}">
                <a16:creationId xmlns:a16="http://schemas.microsoft.com/office/drawing/2014/main" id="{C938135A-25E5-4A25-926A-02403FD3FABE}"/>
              </a:ext>
            </a:extLst>
          </p:cNvPr>
          <p:cNvSpPr txBox="1"/>
          <p:nvPr/>
        </p:nvSpPr>
        <p:spPr>
          <a:xfrm>
            <a:off x="3588420"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telligent power</a:t>
            </a:r>
          </a:p>
        </p:txBody>
      </p:sp>
      <p:sp>
        <p:nvSpPr>
          <p:cNvPr id="19" name="TextBox 18">
            <a:extLst>
              <a:ext uri="{FF2B5EF4-FFF2-40B4-BE49-F238E27FC236}">
                <a16:creationId xmlns:a16="http://schemas.microsoft.com/office/drawing/2014/main" id="{34D9F2FC-FB70-4E52-9888-52BA9682059D}"/>
              </a:ext>
            </a:extLst>
          </p:cNvPr>
          <p:cNvSpPr txBox="1"/>
          <p:nvPr/>
        </p:nvSpPr>
        <p:spPr>
          <a:xfrm>
            <a:off x="254298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lectric vehicles</a:t>
            </a:r>
          </a:p>
        </p:txBody>
      </p:sp>
      <p:sp>
        <p:nvSpPr>
          <p:cNvPr id="20" name="TextBox 19">
            <a:extLst>
              <a:ext uri="{FF2B5EF4-FFF2-40B4-BE49-F238E27FC236}">
                <a16:creationId xmlns:a16="http://schemas.microsoft.com/office/drawing/2014/main" id="{6692DD3A-2BEE-4D3E-9862-542271AA6924}"/>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oft energy</a:t>
            </a:r>
          </a:p>
        </p:txBody>
      </p:sp>
      <p:sp>
        <p:nvSpPr>
          <p:cNvPr id="21" name="TextBox 20">
            <a:extLst>
              <a:ext uri="{FF2B5EF4-FFF2-40B4-BE49-F238E27FC236}">
                <a16:creationId xmlns:a16="http://schemas.microsoft.com/office/drawing/2014/main" id="{E3F7CFA9-0CED-4598-B291-C4B852C15D32}"/>
              </a:ext>
            </a:extLst>
          </p:cNvPr>
          <p:cNvSpPr txBox="1"/>
          <p:nvPr/>
        </p:nvSpPr>
        <p:spPr>
          <a:xfrm>
            <a:off x="452119"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Recharge</a:t>
            </a:r>
            <a:br>
              <a:rPr lang="en-GB" sz="700" dirty="0">
                <a:solidFill>
                  <a:schemeClr val="tx2"/>
                </a:solidFill>
              </a:rPr>
            </a:br>
            <a:r>
              <a:rPr lang="en-GB" sz="700" dirty="0">
                <a:solidFill>
                  <a:schemeClr val="tx2"/>
                </a:solidFill>
              </a:rPr>
              <a:t>networks</a:t>
            </a:r>
          </a:p>
        </p:txBody>
      </p:sp>
      <p:sp>
        <p:nvSpPr>
          <p:cNvPr id="22" name="TextBox 21">
            <a:extLst>
              <a:ext uri="{FF2B5EF4-FFF2-40B4-BE49-F238E27FC236}">
                <a16:creationId xmlns:a16="http://schemas.microsoft.com/office/drawing/2014/main" id="{A459397A-02B2-4741-BD53-706AEBB9750C}"/>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olar heating</a:t>
            </a:r>
          </a:p>
        </p:txBody>
      </p:sp>
      <p:sp>
        <p:nvSpPr>
          <p:cNvPr id="23" name="TextBox 22">
            <a:extLst>
              <a:ext uri="{FF2B5EF4-FFF2-40B4-BE49-F238E27FC236}">
                <a16:creationId xmlns:a16="http://schemas.microsoft.com/office/drawing/2014/main" id="{72B99F04-22CA-4C70-9564-53695F4FA604}"/>
              </a:ext>
            </a:extLst>
          </p:cNvPr>
          <p:cNvSpPr txBox="1"/>
          <p:nvPr/>
        </p:nvSpPr>
        <p:spPr>
          <a:xfrm>
            <a:off x="254298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Energy storage</a:t>
            </a:r>
            <a:br>
              <a:rPr lang="en-GB" sz="700" dirty="0">
                <a:solidFill>
                  <a:schemeClr val="tx2"/>
                </a:solidFill>
              </a:rPr>
            </a:br>
            <a:r>
              <a:rPr lang="en-GB" sz="700" dirty="0">
                <a:solidFill>
                  <a:schemeClr val="tx2"/>
                </a:solidFill>
              </a:rPr>
              <a:t>technologies</a:t>
            </a:r>
          </a:p>
        </p:txBody>
      </p:sp>
      <p:sp>
        <p:nvSpPr>
          <p:cNvPr id="24" name="TextBox 23">
            <a:extLst>
              <a:ext uri="{FF2B5EF4-FFF2-40B4-BE49-F238E27FC236}">
                <a16:creationId xmlns:a16="http://schemas.microsoft.com/office/drawing/2014/main" id="{0B7F0AB1-B4EE-4C7F-953D-CCEA387E9EE7}"/>
              </a:ext>
            </a:extLst>
          </p:cNvPr>
          <p:cNvSpPr txBox="1"/>
          <p:nvPr/>
        </p:nvSpPr>
        <p:spPr>
          <a:xfrm>
            <a:off x="1497553"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limate control</a:t>
            </a:r>
            <a:br>
              <a:rPr lang="en-GB" sz="700" dirty="0">
                <a:solidFill>
                  <a:schemeClr val="tx2"/>
                </a:solidFill>
              </a:rPr>
            </a:br>
            <a:r>
              <a:rPr lang="en-GB" sz="700" dirty="0">
                <a:solidFill>
                  <a:schemeClr val="tx2"/>
                </a:solidFill>
              </a:rPr>
              <a:t>systems</a:t>
            </a:r>
          </a:p>
        </p:txBody>
      </p:sp>
      <p:sp>
        <p:nvSpPr>
          <p:cNvPr id="25" name="TextBox 24">
            <a:extLst>
              <a:ext uri="{FF2B5EF4-FFF2-40B4-BE49-F238E27FC236}">
                <a16:creationId xmlns:a16="http://schemas.microsoft.com/office/drawing/2014/main" id="{5026B089-898C-4283-8766-F6382CC389FD}"/>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mart meter</a:t>
            </a:r>
          </a:p>
        </p:txBody>
      </p:sp>
      <p:sp>
        <p:nvSpPr>
          <p:cNvPr id="26" name="TextBox 25">
            <a:extLst>
              <a:ext uri="{FF2B5EF4-FFF2-40B4-BE49-F238E27FC236}">
                <a16:creationId xmlns:a16="http://schemas.microsoft.com/office/drawing/2014/main" id="{ACFDD00A-27BC-474E-9A93-F459CB6141ED}"/>
              </a:ext>
            </a:extLst>
          </p:cNvPr>
          <p:cNvSpPr txBox="1"/>
          <p:nvPr/>
        </p:nvSpPr>
        <p:spPr>
          <a:xfrm>
            <a:off x="3588420"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Urban development</a:t>
            </a:r>
          </a:p>
        </p:txBody>
      </p:sp>
      <p:sp>
        <p:nvSpPr>
          <p:cNvPr id="27" name="TextBox 26">
            <a:extLst>
              <a:ext uri="{FF2B5EF4-FFF2-40B4-BE49-F238E27FC236}">
                <a16:creationId xmlns:a16="http://schemas.microsoft.com/office/drawing/2014/main" id="{9F8EBAD0-C4AC-495D-9F8B-ED9AA25AD8E5}"/>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ublic safety</a:t>
            </a:r>
          </a:p>
        </p:txBody>
      </p:sp>
      <p:sp>
        <p:nvSpPr>
          <p:cNvPr id="28" name="TextBox 27">
            <a:extLst>
              <a:ext uri="{FF2B5EF4-FFF2-40B4-BE49-F238E27FC236}">
                <a16:creationId xmlns:a16="http://schemas.microsoft.com/office/drawing/2014/main" id="{1C467E11-73B1-42FA-AA62-9876C2C70EC9}"/>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mart grids</a:t>
            </a:r>
          </a:p>
        </p:txBody>
      </p:sp>
      <p:sp>
        <p:nvSpPr>
          <p:cNvPr id="29" name="TextBox 28">
            <a:extLst>
              <a:ext uri="{FF2B5EF4-FFF2-40B4-BE49-F238E27FC236}">
                <a16:creationId xmlns:a16="http://schemas.microsoft.com/office/drawing/2014/main" id="{7EDCF568-9BD5-43D0-9399-BBFF660A8C41}"/>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Zero emission</a:t>
            </a:r>
          </a:p>
        </p:txBody>
      </p:sp>
      <p:sp>
        <p:nvSpPr>
          <p:cNvPr id="30" name="TextBox 29">
            <a:extLst>
              <a:ext uri="{FF2B5EF4-FFF2-40B4-BE49-F238E27FC236}">
                <a16:creationId xmlns:a16="http://schemas.microsoft.com/office/drawing/2014/main" id="{5D00D12B-FC51-4385-A62E-9B16C43238DF}"/>
              </a:ext>
            </a:extLst>
          </p:cNvPr>
          <p:cNvSpPr txBox="1"/>
          <p:nvPr/>
        </p:nvSpPr>
        <p:spPr>
          <a:xfrm>
            <a:off x="3441104" y="4547732"/>
            <a:ext cx="978496" cy="215444"/>
          </a:xfrm>
          <a:prstGeom prst="rect">
            <a:avLst/>
          </a:prstGeom>
          <a:noFill/>
          <a:effectLst/>
        </p:spPr>
        <p:txBody>
          <a:bodyPr wrap="square" lIns="0" tIns="0" rIns="0" bIns="0" rtlCol="0" anchor="t">
            <a:spAutoFit/>
          </a:bodyPr>
          <a:lstStyle/>
          <a:p>
            <a:pPr algn="ctr"/>
            <a:r>
              <a:rPr lang="en-GB" sz="700" dirty="0">
                <a:solidFill>
                  <a:schemeClr val="tx2"/>
                </a:solidFill>
              </a:rPr>
              <a:t>Resource conservation/</a:t>
            </a:r>
            <a:br>
              <a:rPr lang="en-GB" sz="700" dirty="0">
                <a:solidFill>
                  <a:schemeClr val="tx2"/>
                </a:solidFill>
              </a:rPr>
            </a:br>
            <a:r>
              <a:rPr lang="en-GB" sz="700" dirty="0">
                <a:solidFill>
                  <a:schemeClr val="tx2"/>
                </a:solidFill>
              </a:rPr>
              <a:t>Sustainability</a:t>
            </a:r>
          </a:p>
        </p:txBody>
      </p:sp>
      <p:sp>
        <p:nvSpPr>
          <p:cNvPr id="31" name="TextBox 30">
            <a:extLst>
              <a:ext uri="{FF2B5EF4-FFF2-40B4-BE49-F238E27FC236}">
                <a16:creationId xmlns:a16="http://schemas.microsoft.com/office/drawing/2014/main" id="{D30BC742-FF5C-4ED3-94ED-EFFB877C78A5}"/>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co-city</a:t>
            </a:r>
          </a:p>
        </p:txBody>
      </p:sp>
      <p:sp>
        <p:nvSpPr>
          <p:cNvPr id="32" name="TextBox 31">
            <a:extLst>
              <a:ext uri="{FF2B5EF4-FFF2-40B4-BE49-F238E27FC236}">
                <a16:creationId xmlns:a16="http://schemas.microsoft.com/office/drawing/2014/main" id="{145F2BA7-E48C-418B-936D-E4BF79EFD349}"/>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Green roof</a:t>
            </a:r>
          </a:p>
        </p:txBody>
      </p:sp>
      <p:grpSp>
        <p:nvGrpSpPr>
          <p:cNvPr id="6" name="Group 5">
            <a:extLst>
              <a:ext uri="{FF2B5EF4-FFF2-40B4-BE49-F238E27FC236}">
                <a16:creationId xmlns:a16="http://schemas.microsoft.com/office/drawing/2014/main" id="{1C4C11B8-E946-4F17-A2A5-E49F3C9143F5}"/>
              </a:ext>
            </a:extLst>
          </p:cNvPr>
          <p:cNvGrpSpPr/>
          <p:nvPr/>
        </p:nvGrpSpPr>
        <p:grpSpPr>
          <a:xfrm>
            <a:off x="584694" y="1585984"/>
            <a:ext cx="418712" cy="432000"/>
            <a:chOff x="584694" y="1585984"/>
            <a:chExt cx="418712" cy="432000"/>
          </a:xfrm>
        </p:grpSpPr>
        <p:grpSp>
          <p:nvGrpSpPr>
            <p:cNvPr id="50" name="Group 49">
              <a:extLst>
                <a:ext uri="{FF2B5EF4-FFF2-40B4-BE49-F238E27FC236}">
                  <a16:creationId xmlns:a16="http://schemas.microsoft.com/office/drawing/2014/main" id="{A7BCD9AB-5523-4251-9B86-14AB060DA081}"/>
                </a:ext>
              </a:extLst>
            </p:cNvPr>
            <p:cNvGrpSpPr/>
            <p:nvPr/>
          </p:nvGrpSpPr>
          <p:grpSpPr>
            <a:xfrm>
              <a:off x="669246" y="1903658"/>
              <a:ext cx="334160" cy="114326"/>
              <a:chOff x="1816560" y="1984986"/>
              <a:chExt cx="376819" cy="128921"/>
            </a:xfrm>
          </p:grpSpPr>
          <p:sp>
            <p:nvSpPr>
              <p:cNvPr id="61" name="Freihandform: Form 273">
                <a:extLst>
                  <a:ext uri="{FF2B5EF4-FFF2-40B4-BE49-F238E27FC236}">
                    <a16:creationId xmlns:a16="http://schemas.microsoft.com/office/drawing/2014/main" id="{D976FE7F-23C8-402A-9F84-6E65D1F1BAA3}"/>
                  </a:ext>
                </a:extLst>
              </p:cNvPr>
              <p:cNvSpPr/>
              <p:nvPr/>
            </p:nvSpPr>
            <p:spPr>
              <a:xfrm>
                <a:off x="1816560" y="2033735"/>
                <a:ext cx="303432" cy="77072"/>
              </a:xfrm>
              <a:custGeom>
                <a:avLst/>
                <a:gdLst>
                  <a:gd name="connsiteX0" fmla="*/ 149258 w 303432"/>
                  <a:gd name="connsiteY0" fmla="*/ 77072 h 77072"/>
                  <a:gd name="connsiteX1" fmla="*/ 3528 w 303432"/>
                  <a:gd name="connsiteY1" fmla="*/ 22136 h 77072"/>
                  <a:gd name="connsiteX2" fmla="*/ 1651 w 303432"/>
                  <a:gd name="connsiteY2" fmla="*/ 8585 h 77072"/>
                  <a:gd name="connsiteX3" fmla="*/ 42514 w 303432"/>
                  <a:gd name="connsiteY3" fmla="*/ 4363 h 77072"/>
                  <a:gd name="connsiteX4" fmla="*/ 58098 w 303432"/>
                  <a:gd name="connsiteY4" fmla="*/ 11426 h 77072"/>
                  <a:gd name="connsiteX5" fmla="*/ 105060 w 303432"/>
                  <a:gd name="connsiteY5" fmla="*/ 22658 h 77072"/>
                  <a:gd name="connsiteX6" fmla="*/ 105972 w 303432"/>
                  <a:gd name="connsiteY6" fmla="*/ 35792 h 77072"/>
                  <a:gd name="connsiteX7" fmla="*/ 52104 w 303432"/>
                  <a:gd name="connsiteY7" fmla="*/ 23127 h 77072"/>
                  <a:gd name="connsiteX8" fmla="*/ 37980 w 303432"/>
                  <a:gd name="connsiteY8" fmla="*/ 16690 h 77072"/>
                  <a:gd name="connsiteX9" fmla="*/ 14369 w 303432"/>
                  <a:gd name="connsiteY9" fmla="*/ 14501 h 77072"/>
                  <a:gd name="connsiteX10" fmla="*/ 224964 w 303432"/>
                  <a:gd name="connsiteY10" fmla="*/ 54243 h 77072"/>
                  <a:gd name="connsiteX11" fmla="*/ 303433 w 303432"/>
                  <a:gd name="connsiteY11" fmla="*/ 49135 h 77072"/>
                  <a:gd name="connsiteX12" fmla="*/ 298090 w 303432"/>
                  <a:gd name="connsiteY12" fmla="*/ 61149 h 77072"/>
                  <a:gd name="connsiteX13" fmla="*/ 300748 w 303432"/>
                  <a:gd name="connsiteY13" fmla="*/ 55129 h 77072"/>
                  <a:gd name="connsiteX14" fmla="*/ 298168 w 303432"/>
                  <a:gd name="connsiteY14" fmla="*/ 61175 h 77072"/>
                  <a:gd name="connsiteX15" fmla="*/ 228587 w 303432"/>
                  <a:gd name="connsiteY15" fmla="*/ 66856 h 77072"/>
                  <a:gd name="connsiteX16" fmla="*/ 149258 w 303432"/>
                  <a:gd name="connsiteY16" fmla="*/ 77072 h 7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3432" h="77072">
                    <a:moveTo>
                      <a:pt x="149258" y="77072"/>
                    </a:moveTo>
                    <a:cubicBezTo>
                      <a:pt x="99639" y="77072"/>
                      <a:pt x="41289" y="65215"/>
                      <a:pt x="3528" y="22136"/>
                    </a:cubicBezTo>
                    <a:cubicBezTo>
                      <a:pt x="-355" y="18462"/>
                      <a:pt x="-1111" y="13093"/>
                      <a:pt x="1651" y="8585"/>
                    </a:cubicBezTo>
                    <a:cubicBezTo>
                      <a:pt x="6629" y="480"/>
                      <a:pt x="22656" y="-3742"/>
                      <a:pt x="42514" y="4363"/>
                    </a:cubicBezTo>
                    <a:cubicBezTo>
                      <a:pt x="47752" y="6109"/>
                      <a:pt x="52782" y="8689"/>
                      <a:pt x="58098" y="11426"/>
                    </a:cubicBezTo>
                    <a:cubicBezTo>
                      <a:pt x="70269" y="17706"/>
                      <a:pt x="82830" y="24169"/>
                      <a:pt x="105060" y="22658"/>
                    </a:cubicBezTo>
                    <a:lnTo>
                      <a:pt x="105972" y="35792"/>
                    </a:lnTo>
                    <a:cubicBezTo>
                      <a:pt x="80146" y="37538"/>
                      <a:pt x="64561" y="29564"/>
                      <a:pt x="52104" y="23127"/>
                    </a:cubicBezTo>
                    <a:cubicBezTo>
                      <a:pt x="47257" y="20625"/>
                      <a:pt x="42671" y="18253"/>
                      <a:pt x="37980" y="16690"/>
                    </a:cubicBezTo>
                    <a:cubicBezTo>
                      <a:pt x="25731" y="11712"/>
                      <a:pt x="17652" y="13015"/>
                      <a:pt x="14369" y="14501"/>
                    </a:cubicBezTo>
                    <a:cubicBezTo>
                      <a:pt x="73240" y="80173"/>
                      <a:pt x="186160" y="65527"/>
                      <a:pt x="224964" y="54243"/>
                    </a:cubicBezTo>
                    <a:cubicBezTo>
                      <a:pt x="279275" y="38867"/>
                      <a:pt x="302468" y="48718"/>
                      <a:pt x="303433" y="49135"/>
                    </a:cubicBezTo>
                    <a:lnTo>
                      <a:pt x="298090" y="61149"/>
                    </a:lnTo>
                    <a:lnTo>
                      <a:pt x="300748" y="55129"/>
                    </a:lnTo>
                    <a:lnTo>
                      <a:pt x="298168" y="61175"/>
                    </a:lnTo>
                    <a:cubicBezTo>
                      <a:pt x="297986" y="61097"/>
                      <a:pt x="277476" y="53018"/>
                      <a:pt x="228587" y="66856"/>
                    </a:cubicBezTo>
                    <a:cubicBezTo>
                      <a:pt x="212038" y="71730"/>
                      <a:pt x="182616" y="77072"/>
                      <a:pt x="149258" y="77072"/>
                    </a:cubicBezTo>
                    <a:close/>
                  </a:path>
                </a:pathLst>
              </a:custGeom>
              <a:solidFill>
                <a:schemeClr val="tx2"/>
              </a:solidFill>
              <a:ln w="2604" cap="flat">
                <a:noFill/>
                <a:prstDash val="solid"/>
                <a:miter/>
              </a:ln>
            </p:spPr>
            <p:txBody>
              <a:bodyPr rtlCol="0" anchor="ctr"/>
              <a:lstStyle/>
              <a:p>
                <a:endParaRPr lang="en-GB" dirty="0"/>
              </a:p>
            </p:txBody>
          </p:sp>
          <p:sp>
            <p:nvSpPr>
              <p:cNvPr id="62" name="Freihandform: Form 274">
                <a:extLst>
                  <a:ext uri="{FF2B5EF4-FFF2-40B4-BE49-F238E27FC236}">
                    <a16:creationId xmlns:a16="http://schemas.microsoft.com/office/drawing/2014/main" id="{7811DCD8-066B-44B8-B9EC-3CBB28B57C84}"/>
                  </a:ext>
                </a:extLst>
              </p:cNvPr>
              <p:cNvSpPr/>
              <p:nvPr/>
            </p:nvSpPr>
            <p:spPr>
              <a:xfrm>
                <a:off x="1912736" y="1984986"/>
                <a:ext cx="205797" cy="92541"/>
              </a:xfrm>
              <a:custGeom>
                <a:avLst/>
                <a:gdLst>
                  <a:gd name="connsiteX0" fmla="*/ 53395 w 205797"/>
                  <a:gd name="connsiteY0" fmla="*/ 92541 h 92541"/>
                  <a:gd name="connsiteX1" fmla="*/ 23191 w 205797"/>
                  <a:gd name="connsiteY1" fmla="*/ 90404 h 92541"/>
                  <a:gd name="connsiteX2" fmla="*/ 1352 w 205797"/>
                  <a:gd name="connsiteY2" fmla="*/ 76175 h 92541"/>
                  <a:gd name="connsiteX3" fmla="*/ 4740 w 205797"/>
                  <a:gd name="connsiteY3" fmla="*/ 55587 h 92541"/>
                  <a:gd name="connsiteX4" fmla="*/ 17849 w 205797"/>
                  <a:gd name="connsiteY4" fmla="*/ 49750 h 92541"/>
                  <a:gd name="connsiteX5" fmla="*/ 21184 w 205797"/>
                  <a:gd name="connsiteY5" fmla="*/ 49984 h 92541"/>
                  <a:gd name="connsiteX6" fmla="*/ 60171 w 205797"/>
                  <a:gd name="connsiteY6" fmla="*/ 43625 h 92541"/>
                  <a:gd name="connsiteX7" fmla="*/ 61109 w 205797"/>
                  <a:gd name="connsiteY7" fmla="*/ 42531 h 92541"/>
                  <a:gd name="connsiteX8" fmla="*/ 146457 w 205797"/>
                  <a:gd name="connsiteY8" fmla="*/ 0 h 92541"/>
                  <a:gd name="connsiteX9" fmla="*/ 170459 w 205797"/>
                  <a:gd name="connsiteY9" fmla="*/ 5838 h 92541"/>
                  <a:gd name="connsiteX10" fmla="*/ 205797 w 205797"/>
                  <a:gd name="connsiteY10" fmla="*/ 14359 h 92541"/>
                  <a:gd name="connsiteX11" fmla="*/ 204885 w 205797"/>
                  <a:gd name="connsiteY11" fmla="*/ 27494 h 92541"/>
                  <a:gd name="connsiteX12" fmla="*/ 164700 w 205797"/>
                  <a:gd name="connsiteY12" fmla="*/ 17669 h 92541"/>
                  <a:gd name="connsiteX13" fmla="*/ 146483 w 205797"/>
                  <a:gd name="connsiteY13" fmla="*/ 13161 h 92541"/>
                  <a:gd name="connsiteX14" fmla="*/ 70543 w 205797"/>
                  <a:gd name="connsiteY14" fmla="*/ 51756 h 92541"/>
                  <a:gd name="connsiteX15" fmla="*/ 20168 w 205797"/>
                  <a:gd name="connsiteY15" fmla="*/ 63093 h 92541"/>
                  <a:gd name="connsiteX16" fmla="*/ 16129 w 205797"/>
                  <a:gd name="connsiteY16" fmla="*/ 62780 h 92541"/>
                  <a:gd name="connsiteX17" fmla="*/ 13184 w 205797"/>
                  <a:gd name="connsiteY17" fmla="*/ 69243 h 92541"/>
                  <a:gd name="connsiteX18" fmla="*/ 24937 w 205797"/>
                  <a:gd name="connsiteY18" fmla="*/ 77348 h 92541"/>
                  <a:gd name="connsiteX19" fmla="*/ 100721 w 205797"/>
                  <a:gd name="connsiteY19" fmla="*/ 67836 h 92541"/>
                  <a:gd name="connsiteX20" fmla="*/ 108487 w 205797"/>
                  <a:gd name="connsiteY20" fmla="*/ 78442 h 92541"/>
                  <a:gd name="connsiteX21" fmla="*/ 53395 w 205797"/>
                  <a:gd name="connsiteY21" fmla="*/ 92541 h 92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797" h="92541">
                    <a:moveTo>
                      <a:pt x="53395" y="92541"/>
                    </a:moveTo>
                    <a:cubicBezTo>
                      <a:pt x="44118" y="92541"/>
                      <a:pt x="34058" y="91837"/>
                      <a:pt x="23191" y="90404"/>
                    </a:cubicBezTo>
                    <a:cubicBezTo>
                      <a:pt x="8310" y="88450"/>
                      <a:pt x="3124" y="80657"/>
                      <a:pt x="1352" y="76175"/>
                    </a:cubicBezTo>
                    <a:cubicBezTo>
                      <a:pt x="-1306" y="69451"/>
                      <a:pt x="23" y="61373"/>
                      <a:pt x="4740" y="55587"/>
                    </a:cubicBezTo>
                    <a:cubicBezTo>
                      <a:pt x="8258" y="51287"/>
                      <a:pt x="13105" y="49150"/>
                      <a:pt x="17849" y="49750"/>
                    </a:cubicBezTo>
                    <a:cubicBezTo>
                      <a:pt x="18630" y="49776"/>
                      <a:pt x="19751" y="49854"/>
                      <a:pt x="21184" y="49984"/>
                    </a:cubicBezTo>
                    <a:cubicBezTo>
                      <a:pt x="42945" y="51704"/>
                      <a:pt x="56079" y="49567"/>
                      <a:pt x="60171" y="43625"/>
                    </a:cubicBezTo>
                    <a:cubicBezTo>
                      <a:pt x="60432" y="43234"/>
                      <a:pt x="60770" y="42870"/>
                      <a:pt x="61109" y="42531"/>
                    </a:cubicBezTo>
                    <a:cubicBezTo>
                      <a:pt x="107106" y="0"/>
                      <a:pt x="134678" y="0"/>
                      <a:pt x="146457" y="0"/>
                    </a:cubicBezTo>
                    <a:cubicBezTo>
                      <a:pt x="158523" y="0"/>
                      <a:pt x="164309" y="2841"/>
                      <a:pt x="170459" y="5838"/>
                    </a:cubicBezTo>
                    <a:cubicBezTo>
                      <a:pt x="177235" y="9147"/>
                      <a:pt x="184897" y="12900"/>
                      <a:pt x="205797" y="14359"/>
                    </a:cubicBezTo>
                    <a:lnTo>
                      <a:pt x="204885" y="27494"/>
                    </a:lnTo>
                    <a:cubicBezTo>
                      <a:pt x="181431" y="25852"/>
                      <a:pt x="172153" y="21291"/>
                      <a:pt x="164700" y="17669"/>
                    </a:cubicBezTo>
                    <a:cubicBezTo>
                      <a:pt x="159149" y="14959"/>
                      <a:pt x="155474" y="13161"/>
                      <a:pt x="146483" y="13161"/>
                    </a:cubicBezTo>
                    <a:cubicBezTo>
                      <a:pt x="136294" y="13161"/>
                      <a:pt x="112474" y="13161"/>
                      <a:pt x="70543" y="51756"/>
                    </a:cubicBezTo>
                    <a:cubicBezTo>
                      <a:pt x="59702" y="66220"/>
                      <a:pt x="32051" y="64031"/>
                      <a:pt x="20168" y="63093"/>
                    </a:cubicBezTo>
                    <a:cubicBezTo>
                      <a:pt x="17849" y="62910"/>
                      <a:pt x="17041" y="62962"/>
                      <a:pt x="16129" y="62780"/>
                    </a:cubicBezTo>
                    <a:cubicBezTo>
                      <a:pt x="15347" y="62988"/>
                      <a:pt x="13053" y="65777"/>
                      <a:pt x="13184" y="69243"/>
                    </a:cubicBezTo>
                    <a:cubicBezTo>
                      <a:pt x="13418" y="74976"/>
                      <a:pt x="20637" y="76774"/>
                      <a:pt x="24937" y="77348"/>
                    </a:cubicBezTo>
                    <a:cubicBezTo>
                      <a:pt x="59754" y="81908"/>
                      <a:pt x="85971" y="78625"/>
                      <a:pt x="100721" y="67836"/>
                    </a:cubicBezTo>
                    <a:lnTo>
                      <a:pt x="108487" y="78442"/>
                    </a:lnTo>
                    <a:cubicBezTo>
                      <a:pt x="95639" y="87824"/>
                      <a:pt x="77188" y="92541"/>
                      <a:pt x="53395" y="92541"/>
                    </a:cubicBezTo>
                    <a:close/>
                  </a:path>
                </a:pathLst>
              </a:custGeom>
              <a:solidFill>
                <a:schemeClr val="tx2"/>
              </a:solidFill>
              <a:ln w="2604" cap="flat">
                <a:noFill/>
                <a:prstDash val="solid"/>
                <a:miter/>
              </a:ln>
            </p:spPr>
            <p:txBody>
              <a:bodyPr rtlCol="0" anchor="ctr"/>
              <a:lstStyle/>
              <a:p>
                <a:endParaRPr lang="en-GB" dirty="0"/>
              </a:p>
            </p:txBody>
          </p:sp>
          <p:sp>
            <p:nvSpPr>
              <p:cNvPr id="63" name="Freihandform: Form 275">
                <a:extLst>
                  <a:ext uri="{FF2B5EF4-FFF2-40B4-BE49-F238E27FC236}">
                    <a16:creationId xmlns:a16="http://schemas.microsoft.com/office/drawing/2014/main" id="{AAC74C6E-554E-40A3-A40A-C38CCB6308A2}"/>
                  </a:ext>
                </a:extLst>
              </p:cNvPr>
              <p:cNvSpPr/>
              <p:nvPr/>
            </p:nvSpPr>
            <p:spPr>
              <a:xfrm>
                <a:off x="2111654" y="1988817"/>
                <a:ext cx="81725" cy="125090"/>
              </a:xfrm>
              <a:custGeom>
                <a:avLst/>
                <a:gdLst>
                  <a:gd name="connsiteX0" fmla="*/ 81726 w 81725"/>
                  <a:gd name="connsiteY0" fmla="*/ 125091 h 125090"/>
                  <a:gd name="connsiteX1" fmla="*/ 6567 w 81725"/>
                  <a:gd name="connsiteY1" fmla="*/ 125091 h 125090"/>
                  <a:gd name="connsiteX2" fmla="*/ 0 w 81725"/>
                  <a:gd name="connsiteY2" fmla="*/ 118524 h 125090"/>
                  <a:gd name="connsiteX3" fmla="*/ 0 w 81725"/>
                  <a:gd name="connsiteY3" fmla="*/ 6567 h 125090"/>
                  <a:gd name="connsiteX4" fmla="*/ 6567 w 81725"/>
                  <a:gd name="connsiteY4" fmla="*/ 0 h 125090"/>
                  <a:gd name="connsiteX5" fmla="*/ 81726 w 81725"/>
                  <a:gd name="connsiteY5" fmla="*/ 0 h 125090"/>
                  <a:gd name="connsiteX6" fmla="*/ 81726 w 81725"/>
                  <a:gd name="connsiteY6" fmla="*/ 13161 h 125090"/>
                  <a:gd name="connsiteX7" fmla="*/ 13161 w 81725"/>
                  <a:gd name="connsiteY7" fmla="*/ 13161 h 125090"/>
                  <a:gd name="connsiteX8" fmla="*/ 13161 w 81725"/>
                  <a:gd name="connsiteY8" fmla="*/ 111982 h 125090"/>
                  <a:gd name="connsiteX9" fmla="*/ 81726 w 81725"/>
                  <a:gd name="connsiteY9" fmla="*/ 111982 h 125090"/>
                  <a:gd name="connsiteX10" fmla="*/ 81726 w 81725"/>
                  <a:gd name="connsiteY10" fmla="*/ 125091 h 125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725" h="125090">
                    <a:moveTo>
                      <a:pt x="81726" y="125091"/>
                    </a:moveTo>
                    <a:lnTo>
                      <a:pt x="6567" y="125091"/>
                    </a:lnTo>
                    <a:cubicBezTo>
                      <a:pt x="2945" y="125091"/>
                      <a:pt x="0" y="122146"/>
                      <a:pt x="0" y="118524"/>
                    </a:cubicBezTo>
                    <a:lnTo>
                      <a:pt x="0" y="6567"/>
                    </a:lnTo>
                    <a:cubicBezTo>
                      <a:pt x="0" y="2945"/>
                      <a:pt x="2945" y="0"/>
                      <a:pt x="6567" y="0"/>
                    </a:cubicBezTo>
                    <a:lnTo>
                      <a:pt x="81726" y="0"/>
                    </a:lnTo>
                    <a:lnTo>
                      <a:pt x="81726" y="13161"/>
                    </a:lnTo>
                    <a:lnTo>
                      <a:pt x="13161" y="13161"/>
                    </a:lnTo>
                    <a:lnTo>
                      <a:pt x="13161" y="111982"/>
                    </a:lnTo>
                    <a:lnTo>
                      <a:pt x="81726" y="111982"/>
                    </a:lnTo>
                    <a:lnTo>
                      <a:pt x="81726" y="125091"/>
                    </a:lnTo>
                    <a:close/>
                  </a:path>
                </a:pathLst>
              </a:custGeom>
              <a:solidFill>
                <a:schemeClr val="tx2"/>
              </a:solidFill>
              <a:ln w="2604" cap="flat">
                <a:noFill/>
                <a:prstDash val="solid"/>
                <a:miter/>
              </a:ln>
            </p:spPr>
            <p:txBody>
              <a:bodyPr rtlCol="0" anchor="ctr"/>
              <a:lstStyle/>
              <a:p>
                <a:endParaRPr lang="en-GB" dirty="0"/>
              </a:p>
            </p:txBody>
          </p:sp>
          <p:sp>
            <p:nvSpPr>
              <p:cNvPr id="64" name="Freihandform: Form 276">
                <a:extLst>
                  <a:ext uri="{FF2B5EF4-FFF2-40B4-BE49-F238E27FC236}">
                    <a16:creationId xmlns:a16="http://schemas.microsoft.com/office/drawing/2014/main" id="{CFABD40B-0252-4F9E-B9F5-C4A6E848FDEA}"/>
                  </a:ext>
                </a:extLst>
              </p:cNvPr>
              <p:cNvSpPr/>
              <p:nvPr/>
            </p:nvSpPr>
            <p:spPr>
              <a:xfrm>
                <a:off x="1840264" y="2020329"/>
                <a:ext cx="81616" cy="36245"/>
              </a:xfrm>
              <a:custGeom>
                <a:avLst/>
                <a:gdLst>
                  <a:gd name="connsiteX0" fmla="*/ 76379 w 81616"/>
                  <a:gd name="connsiteY0" fmla="*/ 36246 h 36245"/>
                  <a:gd name="connsiteX1" fmla="*/ 27281 w 81616"/>
                  <a:gd name="connsiteY1" fmla="*/ 14954 h 36245"/>
                  <a:gd name="connsiteX2" fmla="*/ 13286 w 81616"/>
                  <a:gd name="connsiteY2" fmla="*/ 15241 h 36245"/>
                  <a:gd name="connsiteX3" fmla="*/ 13677 w 81616"/>
                  <a:gd name="connsiteY3" fmla="*/ 17925 h 36245"/>
                  <a:gd name="connsiteX4" fmla="*/ 1767 w 81616"/>
                  <a:gd name="connsiteY4" fmla="*/ 23502 h 36245"/>
                  <a:gd name="connsiteX5" fmla="*/ 1194 w 81616"/>
                  <a:gd name="connsiteY5" fmla="*/ 10029 h 36245"/>
                  <a:gd name="connsiteX6" fmla="*/ 32493 w 81616"/>
                  <a:gd name="connsiteY6" fmla="*/ 2862 h 36245"/>
                  <a:gd name="connsiteX7" fmla="*/ 81617 w 81616"/>
                  <a:gd name="connsiteY7" fmla="*/ 24154 h 36245"/>
                  <a:gd name="connsiteX8" fmla="*/ 76379 w 81616"/>
                  <a:gd name="connsiteY8" fmla="*/ 36246 h 3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1616" h="36245">
                    <a:moveTo>
                      <a:pt x="76379" y="36246"/>
                    </a:moveTo>
                    <a:lnTo>
                      <a:pt x="27281" y="14954"/>
                    </a:lnTo>
                    <a:cubicBezTo>
                      <a:pt x="20036" y="11827"/>
                      <a:pt x="14120" y="13365"/>
                      <a:pt x="13286" y="15241"/>
                    </a:cubicBezTo>
                    <a:cubicBezTo>
                      <a:pt x="12921" y="16075"/>
                      <a:pt x="13390" y="17274"/>
                      <a:pt x="13677" y="17925"/>
                    </a:cubicBezTo>
                    <a:lnTo>
                      <a:pt x="1767" y="23502"/>
                    </a:lnTo>
                    <a:cubicBezTo>
                      <a:pt x="-370" y="18942"/>
                      <a:pt x="-578" y="14147"/>
                      <a:pt x="1194" y="10029"/>
                    </a:cubicBezTo>
                    <a:cubicBezTo>
                      <a:pt x="5390" y="256"/>
                      <a:pt x="19150" y="-2871"/>
                      <a:pt x="32493" y="2862"/>
                    </a:cubicBezTo>
                    <a:lnTo>
                      <a:pt x="81617" y="24154"/>
                    </a:lnTo>
                    <a:lnTo>
                      <a:pt x="76379" y="36246"/>
                    </a:lnTo>
                    <a:close/>
                  </a:path>
                </a:pathLst>
              </a:custGeom>
              <a:solidFill>
                <a:schemeClr val="tx2"/>
              </a:solidFill>
              <a:ln w="2604" cap="flat">
                <a:noFill/>
                <a:prstDash val="solid"/>
                <a:miter/>
              </a:ln>
            </p:spPr>
            <p:txBody>
              <a:bodyPr rtlCol="0" anchor="ctr"/>
              <a:lstStyle/>
              <a:p>
                <a:endParaRPr lang="en-GB" dirty="0"/>
              </a:p>
            </p:txBody>
          </p:sp>
          <p:sp>
            <p:nvSpPr>
              <p:cNvPr id="65" name="Freihandform: Form 277">
                <a:extLst>
                  <a:ext uri="{FF2B5EF4-FFF2-40B4-BE49-F238E27FC236}">
                    <a16:creationId xmlns:a16="http://schemas.microsoft.com/office/drawing/2014/main" id="{4A790880-D187-47A8-9339-B8C0365816FD}"/>
                  </a:ext>
                </a:extLst>
              </p:cNvPr>
              <p:cNvSpPr/>
              <p:nvPr/>
            </p:nvSpPr>
            <p:spPr>
              <a:xfrm>
                <a:off x="1889291" y="2017253"/>
                <a:ext cx="66963" cy="29730"/>
              </a:xfrm>
              <a:custGeom>
                <a:avLst/>
                <a:gdLst>
                  <a:gd name="connsiteX0" fmla="*/ 61751 w 66963"/>
                  <a:gd name="connsiteY0" fmla="*/ 29731 h 29730"/>
                  <a:gd name="connsiteX1" fmla="*/ 27299 w 66963"/>
                  <a:gd name="connsiteY1" fmla="*/ 14954 h 29730"/>
                  <a:gd name="connsiteX2" fmla="*/ 13279 w 66963"/>
                  <a:gd name="connsiteY2" fmla="*/ 15241 h 29730"/>
                  <a:gd name="connsiteX3" fmla="*/ 15103 w 66963"/>
                  <a:gd name="connsiteY3" fmla="*/ 20088 h 29730"/>
                  <a:gd name="connsiteX4" fmla="*/ 4913 w 66963"/>
                  <a:gd name="connsiteY4" fmla="*/ 28402 h 29730"/>
                  <a:gd name="connsiteX5" fmla="*/ 1213 w 66963"/>
                  <a:gd name="connsiteY5" fmla="*/ 10029 h 29730"/>
                  <a:gd name="connsiteX6" fmla="*/ 32511 w 66963"/>
                  <a:gd name="connsiteY6" fmla="*/ 2862 h 29730"/>
                  <a:gd name="connsiteX7" fmla="*/ 66963 w 66963"/>
                  <a:gd name="connsiteY7" fmla="*/ 17639 h 29730"/>
                  <a:gd name="connsiteX8" fmla="*/ 61751 w 66963"/>
                  <a:gd name="connsiteY8" fmla="*/ 29731 h 2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963" h="29730">
                    <a:moveTo>
                      <a:pt x="61751" y="29731"/>
                    </a:moveTo>
                    <a:lnTo>
                      <a:pt x="27299" y="14954"/>
                    </a:lnTo>
                    <a:cubicBezTo>
                      <a:pt x="20028" y="11827"/>
                      <a:pt x="14087" y="13365"/>
                      <a:pt x="13279" y="15241"/>
                    </a:cubicBezTo>
                    <a:cubicBezTo>
                      <a:pt x="12914" y="16101"/>
                      <a:pt x="13331" y="17925"/>
                      <a:pt x="15103" y="20088"/>
                    </a:cubicBezTo>
                    <a:lnTo>
                      <a:pt x="4913" y="28402"/>
                    </a:lnTo>
                    <a:cubicBezTo>
                      <a:pt x="92" y="22486"/>
                      <a:pt x="-1263" y="15788"/>
                      <a:pt x="1213" y="10029"/>
                    </a:cubicBezTo>
                    <a:cubicBezTo>
                      <a:pt x="5408" y="256"/>
                      <a:pt x="19142" y="-2871"/>
                      <a:pt x="32511" y="2862"/>
                    </a:cubicBezTo>
                    <a:lnTo>
                      <a:pt x="66963" y="17639"/>
                    </a:lnTo>
                    <a:lnTo>
                      <a:pt x="61751" y="29731"/>
                    </a:lnTo>
                    <a:close/>
                  </a:path>
                </a:pathLst>
              </a:custGeom>
              <a:solidFill>
                <a:schemeClr val="tx2"/>
              </a:solidFill>
              <a:ln w="2604" cap="flat">
                <a:noFill/>
                <a:prstDash val="solid"/>
                <a:miter/>
              </a:ln>
            </p:spPr>
            <p:txBody>
              <a:bodyPr rtlCol="0" anchor="ctr"/>
              <a:lstStyle/>
              <a:p>
                <a:endParaRPr lang="en-GB" dirty="0"/>
              </a:p>
            </p:txBody>
          </p:sp>
        </p:grpSp>
        <p:grpSp>
          <p:nvGrpSpPr>
            <p:cNvPr id="51" name="Group 50">
              <a:extLst>
                <a:ext uri="{FF2B5EF4-FFF2-40B4-BE49-F238E27FC236}">
                  <a16:creationId xmlns:a16="http://schemas.microsoft.com/office/drawing/2014/main" id="{A51C6358-7FAA-4A6B-92FE-506DB921561B}"/>
                </a:ext>
              </a:extLst>
            </p:cNvPr>
            <p:cNvGrpSpPr/>
            <p:nvPr/>
          </p:nvGrpSpPr>
          <p:grpSpPr>
            <a:xfrm>
              <a:off x="584694" y="1585984"/>
              <a:ext cx="274250" cy="332256"/>
              <a:chOff x="1721214" y="1626758"/>
              <a:chExt cx="309261" cy="374672"/>
            </a:xfrm>
          </p:grpSpPr>
          <p:sp>
            <p:nvSpPr>
              <p:cNvPr id="52" name="Freihandform: Form 263">
                <a:extLst>
                  <a:ext uri="{FF2B5EF4-FFF2-40B4-BE49-F238E27FC236}">
                    <a16:creationId xmlns:a16="http://schemas.microsoft.com/office/drawing/2014/main" id="{FB1FB880-2878-4C33-9CD9-F6F8CDB51A33}"/>
                  </a:ext>
                </a:extLst>
              </p:cNvPr>
              <p:cNvSpPr/>
              <p:nvPr/>
            </p:nvSpPr>
            <p:spPr>
              <a:xfrm>
                <a:off x="1721214" y="1685967"/>
                <a:ext cx="72344" cy="105258"/>
              </a:xfrm>
              <a:custGeom>
                <a:avLst/>
                <a:gdLst>
                  <a:gd name="connsiteX0" fmla="*/ 65777 w 72344"/>
                  <a:gd name="connsiteY0" fmla="*/ 105259 h 105258"/>
                  <a:gd name="connsiteX1" fmla="*/ 0 w 72344"/>
                  <a:gd name="connsiteY1" fmla="*/ 105259 h 105258"/>
                  <a:gd name="connsiteX2" fmla="*/ 0 w 72344"/>
                  <a:gd name="connsiteY2" fmla="*/ 92098 h 105258"/>
                  <a:gd name="connsiteX3" fmla="*/ 59210 w 72344"/>
                  <a:gd name="connsiteY3" fmla="*/ 92098 h 105258"/>
                  <a:gd name="connsiteX4" fmla="*/ 59210 w 72344"/>
                  <a:gd name="connsiteY4" fmla="*/ 13161 h 105258"/>
                  <a:gd name="connsiteX5" fmla="*/ 0 w 72344"/>
                  <a:gd name="connsiteY5" fmla="*/ 13161 h 105258"/>
                  <a:gd name="connsiteX6" fmla="*/ 0 w 72344"/>
                  <a:gd name="connsiteY6" fmla="*/ 0 h 105258"/>
                  <a:gd name="connsiteX7" fmla="*/ 65777 w 72344"/>
                  <a:gd name="connsiteY7" fmla="*/ 0 h 105258"/>
                  <a:gd name="connsiteX8" fmla="*/ 72344 w 72344"/>
                  <a:gd name="connsiteY8" fmla="*/ 6567 h 105258"/>
                  <a:gd name="connsiteX9" fmla="*/ 72344 w 72344"/>
                  <a:gd name="connsiteY9" fmla="*/ 98665 h 105258"/>
                  <a:gd name="connsiteX10" fmla="*/ 65777 w 72344"/>
                  <a:gd name="connsiteY10" fmla="*/ 105259 h 10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344" h="105258">
                    <a:moveTo>
                      <a:pt x="65777" y="105259"/>
                    </a:moveTo>
                    <a:lnTo>
                      <a:pt x="0" y="105259"/>
                    </a:lnTo>
                    <a:lnTo>
                      <a:pt x="0" y="92098"/>
                    </a:lnTo>
                    <a:lnTo>
                      <a:pt x="59210" y="92098"/>
                    </a:lnTo>
                    <a:lnTo>
                      <a:pt x="59210" y="13161"/>
                    </a:lnTo>
                    <a:lnTo>
                      <a:pt x="0" y="13161"/>
                    </a:lnTo>
                    <a:lnTo>
                      <a:pt x="0" y="0"/>
                    </a:lnTo>
                    <a:lnTo>
                      <a:pt x="65777" y="0"/>
                    </a:lnTo>
                    <a:cubicBezTo>
                      <a:pt x="69399" y="0"/>
                      <a:pt x="72344" y="2945"/>
                      <a:pt x="72344" y="6567"/>
                    </a:cubicBezTo>
                    <a:lnTo>
                      <a:pt x="72344" y="98665"/>
                    </a:lnTo>
                    <a:cubicBezTo>
                      <a:pt x="72370" y="102314"/>
                      <a:pt x="69425" y="105259"/>
                      <a:pt x="65777" y="105259"/>
                    </a:cubicBezTo>
                    <a:close/>
                  </a:path>
                </a:pathLst>
              </a:custGeom>
              <a:solidFill>
                <a:schemeClr val="accent1"/>
              </a:solidFill>
              <a:ln w="2604" cap="flat">
                <a:noFill/>
                <a:prstDash val="solid"/>
                <a:miter/>
              </a:ln>
            </p:spPr>
            <p:txBody>
              <a:bodyPr rtlCol="0" anchor="ctr"/>
              <a:lstStyle/>
              <a:p>
                <a:endParaRPr lang="en-GB" dirty="0"/>
              </a:p>
            </p:txBody>
          </p:sp>
          <p:sp>
            <p:nvSpPr>
              <p:cNvPr id="53" name="Freihandform: Form 265">
                <a:extLst>
                  <a:ext uri="{FF2B5EF4-FFF2-40B4-BE49-F238E27FC236}">
                    <a16:creationId xmlns:a16="http://schemas.microsoft.com/office/drawing/2014/main" id="{31D1AF9C-F49C-4E9A-A477-387598C7E432}"/>
                  </a:ext>
                </a:extLst>
              </p:cNvPr>
              <p:cNvSpPr/>
              <p:nvPr/>
            </p:nvSpPr>
            <p:spPr>
              <a:xfrm>
                <a:off x="1813312" y="1646485"/>
                <a:ext cx="13160" cy="32888"/>
              </a:xfrm>
              <a:custGeom>
                <a:avLst/>
                <a:gdLst>
                  <a:gd name="connsiteX0" fmla="*/ 0 w 13160"/>
                  <a:gd name="connsiteY0" fmla="*/ 0 h 32888"/>
                  <a:gd name="connsiteX1" fmla="*/ 13161 w 13160"/>
                  <a:gd name="connsiteY1" fmla="*/ 0 h 32888"/>
                  <a:gd name="connsiteX2" fmla="*/ 13161 w 13160"/>
                  <a:gd name="connsiteY2" fmla="*/ 32888 h 32888"/>
                  <a:gd name="connsiteX3" fmla="*/ 0 w 13160"/>
                  <a:gd name="connsiteY3" fmla="*/ 32888 h 32888"/>
                </a:gdLst>
                <a:ahLst/>
                <a:cxnLst>
                  <a:cxn ang="0">
                    <a:pos x="connsiteX0" y="connsiteY0"/>
                  </a:cxn>
                  <a:cxn ang="0">
                    <a:pos x="connsiteX1" y="connsiteY1"/>
                  </a:cxn>
                  <a:cxn ang="0">
                    <a:pos x="connsiteX2" y="connsiteY2"/>
                  </a:cxn>
                  <a:cxn ang="0">
                    <a:pos x="connsiteX3" y="connsiteY3"/>
                  </a:cxn>
                </a:cxnLst>
                <a:rect l="l" t="t" r="r" b="b"/>
                <a:pathLst>
                  <a:path w="13160" h="32888">
                    <a:moveTo>
                      <a:pt x="0" y="0"/>
                    </a:moveTo>
                    <a:lnTo>
                      <a:pt x="13161" y="0"/>
                    </a:lnTo>
                    <a:lnTo>
                      <a:pt x="13161" y="32888"/>
                    </a:lnTo>
                    <a:lnTo>
                      <a:pt x="0" y="32888"/>
                    </a:lnTo>
                    <a:close/>
                  </a:path>
                </a:pathLst>
              </a:custGeom>
              <a:solidFill>
                <a:schemeClr val="accent1"/>
              </a:solidFill>
              <a:ln w="2604" cap="flat">
                <a:noFill/>
                <a:prstDash val="solid"/>
                <a:miter/>
              </a:ln>
            </p:spPr>
            <p:txBody>
              <a:bodyPr rtlCol="0" anchor="ctr"/>
              <a:lstStyle/>
              <a:p>
                <a:endParaRPr lang="en-GB" dirty="0"/>
              </a:p>
            </p:txBody>
          </p:sp>
          <p:sp>
            <p:nvSpPr>
              <p:cNvPr id="54" name="Freihandform: Form 266">
                <a:extLst>
                  <a:ext uri="{FF2B5EF4-FFF2-40B4-BE49-F238E27FC236}">
                    <a16:creationId xmlns:a16="http://schemas.microsoft.com/office/drawing/2014/main" id="{40F37B7A-9C7B-467B-A57F-1CD8769768FE}"/>
                  </a:ext>
                </a:extLst>
              </p:cNvPr>
              <p:cNvSpPr/>
              <p:nvPr/>
            </p:nvSpPr>
            <p:spPr>
              <a:xfrm>
                <a:off x="1760670" y="1639918"/>
                <a:ext cx="118419" cy="13160"/>
              </a:xfrm>
              <a:custGeom>
                <a:avLst/>
                <a:gdLst>
                  <a:gd name="connsiteX0" fmla="*/ 0 w 118419"/>
                  <a:gd name="connsiteY0" fmla="*/ 0 h 13160"/>
                  <a:gd name="connsiteX1" fmla="*/ 118419 w 118419"/>
                  <a:gd name="connsiteY1" fmla="*/ 0 h 13160"/>
                  <a:gd name="connsiteX2" fmla="*/ 118419 w 118419"/>
                  <a:gd name="connsiteY2" fmla="*/ 13161 h 13160"/>
                  <a:gd name="connsiteX3" fmla="*/ 0 w 118419"/>
                  <a:gd name="connsiteY3" fmla="*/ 13161 h 13160"/>
                </a:gdLst>
                <a:ahLst/>
                <a:cxnLst>
                  <a:cxn ang="0">
                    <a:pos x="connsiteX0" y="connsiteY0"/>
                  </a:cxn>
                  <a:cxn ang="0">
                    <a:pos x="connsiteX1" y="connsiteY1"/>
                  </a:cxn>
                  <a:cxn ang="0">
                    <a:pos x="connsiteX2" y="connsiteY2"/>
                  </a:cxn>
                  <a:cxn ang="0">
                    <a:pos x="connsiteX3" y="connsiteY3"/>
                  </a:cxn>
                </a:cxnLst>
                <a:rect l="l" t="t" r="r" b="b"/>
                <a:pathLst>
                  <a:path w="118419" h="13160">
                    <a:moveTo>
                      <a:pt x="0" y="0"/>
                    </a:moveTo>
                    <a:lnTo>
                      <a:pt x="118419" y="0"/>
                    </a:lnTo>
                    <a:lnTo>
                      <a:pt x="118419" y="13161"/>
                    </a:lnTo>
                    <a:lnTo>
                      <a:pt x="0" y="13161"/>
                    </a:lnTo>
                    <a:close/>
                  </a:path>
                </a:pathLst>
              </a:custGeom>
              <a:solidFill>
                <a:schemeClr val="accent1"/>
              </a:solidFill>
              <a:ln w="2604" cap="flat">
                <a:noFill/>
                <a:prstDash val="solid"/>
                <a:miter/>
              </a:ln>
            </p:spPr>
            <p:txBody>
              <a:bodyPr rtlCol="0" anchor="ctr"/>
              <a:lstStyle/>
              <a:p>
                <a:endParaRPr lang="en-GB" dirty="0"/>
              </a:p>
            </p:txBody>
          </p:sp>
          <p:sp>
            <p:nvSpPr>
              <p:cNvPr id="55" name="Freihandform: Form 267">
                <a:extLst>
                  <a:ext uri="{FF2B5EF4-FFF2-40B4-BE49-F238E27FC236}">
                    <a16:creationId xmlns:a16="http://schemas.microsoft.com/office/drawing/2014/main" id="{0A165EFC-FCF5-477F-87D8-6A3E78985324}"/>
                  </a:ext>
                </a:extLst>
              </p:cNvPr>
              <p:cNvSpPr/>
              <p:nvPr/>
            </p:nvSpPr>
            <p:spPr>
              <a:xfrm>
                <a:off x="1872522" y="1626758"/>
                <a:ext cx="46048" cy="39481"/>
              </a:xfrm>
              <a:custGeom>
                <a:avLst/>
                <a:gdLst>
                  <a:gd name="connsiteX0" fmla="*/ 29631 w 46048"/>
                  <a:gd name="connsiteY0" fmla="*/ 39482 h 39481"/>
                  <a:gd name="connsiteX1" fmla="*/ 16418 w 46048"/>
                  <a:gd name="connsiteY1" fmla="*/ 39482 h 39481"/>
                  <a:gd name="connsiteX2" fmla="*/ 0 w 46048"/>
                  <a:gd name="connsiteY2" fmla="*/ 23064 h 39481"/>
                  <a:gd name="connsiteX3" fmla="*/ 0 w 46048"/>
                  <a:gd name="connsiteY3" fmla="*/ 16418 h 39481"/>
                  <a:gd name="connsiteX4" fmla="*/ 16418 w 46048"/>
                  <a:gd name="connsiteY4" fmla="*/ 0 h 39481"/>
                  <a:gd name="connsiteX5" fmla="*/ 29631 w 46048"/>
                  <a:gd name="connsiteY5" fmla="*/ 0 h 39481"/>
                  <a:gd name="connsiteX6" fmla="*/ 46049 w 46048"/>
                  <a:gd name="connsiteY6" fmla="*/ 16418 h 39481"/>
                  <a:gd name="connsiteX7" fmla="*/ 46049 w 46048"/>
                  <a:gd name="connsiteY7" fmla="*/ 23038 h 39481"/>
                  <a:gd name="connsiteX8" fmla="*/ 29631 w 46048"/>
                  <a:gd name="connsiteY8" fmla="*/ 39482 h 39481"/>
                  <a:gd name="connsiteX9" fmla="*/ 16418 w 46048"/>
                  <a:gd name="connsiteY9" fmla="*/ 13161 h 39481"/>
                  <a:gd name="connsiteX10" fmla="*/ 13161 w 46048"/>
                  <a:gd name="connsiteY10" fmla="*/ 16418 h 39481"/>
                  <a:gd name="connsiteX11" fmla="*/ 13161 w 46048"/>
                  <a:gd name="connsiteY11" fmla="*/ 23038 h 39481"/>
                  <a:gd name="connsiteX12" fmla="*/ 16418 w 46048"/>
                  <a:gd name="connsiteY12" fmla="*/ 26295 h 39481"/>
                  <a:gd name="connsiteX13" fmla="*/ 29631 w 46048"/>
                  <a:gd name="connsiteY13" fmla="*/ 26295 h 39481"/>
                  <a:gd name="connsiteX14" fmla="*/ 32888 w 46048"/>
                  <a:gd name="connsiteY14" fmla="*/ 23038 h 39481"/>
                  <a:gd name="connsiteX15" fmla="*/ 32888 w 46048"/>
                  <a:gd name="connsiteY15" fmla="*/ 16418 h 39481"/>
                  <a:gd name="connsiteX16" fmla="*/ 29631 w 46048"/>
                  <a:gd name="connsiteY16" fmla="*/ 13161 h 39481"/>
                  <a:gd name="connsiteX17" fmla="*/ 16418 w 46048"/>
                  <a:gd name="connsiteY17" fmla="*/ 13161 h 3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048" h="39481">
                    <a:moveTo>
                      <a:pt x="29631" y="39482"/>
                    </a:moveTo>
                    <a:lnTo>
                      <a:pt x="16418" y="39482"/>
                    </a:lnTo>
                    <a:cubicBezTo>
                      <a:pt x="7375" y="39482"/>
                      <a:pt x="0" y="32107"/>
                      <a:pt x="0" y="23064"/>
                    </a:cubicBezTo>
                    <a:lnTo>
                      <a:pt x="0" y="16418"/>
                    </a:lnTo>
                    <a:cubicBezTo>
                      <a:pt x="0" y="7375"/>
                      <a:pt x="7375" y="0"/>
                      <a:pt x="16418" y="0"/>
                    </a:cubicBezTo>
                    <a:lnTo>
                      <a:pt x="29631" y="0"/>
                    </a:lnTo>
                    <a:cubicBezTo>
                      <a:pt x="38674" y="0"/>
                      <a:pt x="46049" y="7375"/>
                      <a:pt x="46049" y="16418"/>
                    </a:cubicBezTo>
                    <a:lnTo>
                      <a:pt x="46049" y="23038"/>
                    </a:lnTo>
                    <a:cubicBezTo>
                      <a:pt x="46049" y="32107"/>
                      <a:pt x="38674" y="39482"/>
                      <a:pt x="29631" y="39482"/>
                    </a:cubicBezTo>
                    <a:close/>
                    <a:moveTo>
                      <a:pt x="16418" y="13161"/>
                    </a:moveTo>
                    <a:cubicBezTo>
                      <a:pt x="14620" y="13161"/>
                      <a:pt x="13161" y="14620"/>
                      <a:pt x="13161" y="16418"/>
                    </a:cubicBezTo>
                    <a:lnTo>
                      <a:pt x="13161" y="23038"/>
                    </a:lnTo>
                    <a:cubicBezTo>
                      <a:pt x="13161" y="24836"/>
                      <a:pt x="14620" y="26295"/>
                      <a:pt x="16418" y="26295"/>
                    </a:cubicBezTo>
                    <a:lnTo>
                      <a:pt x="29631" y="26295"/>
                    </a:lnTo>
                    <a:cubicBezTo>
                      <a:pt x="31429" y="26295"/>
                      <a:pt x="32888" y="24836"/>
                      <a:pt x="32888" y="23038"/>
                    </a:cubicBezTo>
                    <a:lnTo>
                      <a:pt x="32888" y="16418"/>
                    </a:lnTo>
                    <a:cubicBezTo>
                      <a:pt x="32888" y="14620"/>
                      <a:pt x="31429" y="13161"/>
                      <a:pt x="29631" y="13161"/>
                    </a:cubicBezTo>
                    <a:lnTo>
                      <a:pt x="16418" y="13161"/>
                    </a:lnTo>
                    <a:close/>
                  </a:path>
                </a:pathLst>
              </a:custGeom>
              <a:solidFill>
                <a:schemeClr val="accent1"/>
              </a:solidFill>
              <a:ln w="2604" cap="flat">
                <a:noFill/>
                <a:prstDash val="solid"/>
                <a:miter/>
              </a:ln>
            </p:spPr>
            <p:txBody>
              <a:bodyPr rtlCol="0" anchor="ctr"/>
              <a:lstStyle/>
              <a:p>
                <a:endParaRPr lang="en-GB" dirty="0"/>
              </a:p>
            </p:txBody>
          </p:sp>
          <p:sp>
            <p:nvSpPr>
              <p:cNvPr id="56" name="Freihandform: Form 268">
                <a:extLst>
                  <a:ext uri="{FF2B5EF4-FFF2-40B4-BE49-F238E27FC236}">
                    <a16:creationId xmlns:a16="http://schemas.microsoft.com/office/drawing/2014/main" id="{7715C18E-9203-4192-9269-55DD4B0CA1B9}"/>
                  </a:ext>
                </a:extLst>
              </p:cNvPr>
              <p:cNvSpPr/>
              <p:nvPr/>
            </p:nvSpPr>
            <p:spPr>
              <a:xfrm>
                <a:off x="1721214" y="1626758"/>
                <a:ext cx="46048" cy="39481"/>
              </a:xfrm>
              <a:custGeom>
                <a:avLst/>
                <a:gdLst>
                  <a:gd name="connsiteX0" fmla="*/ 29631 w 46048"/>
                  <a:gd name="connsiteY0" fmla="*/ 39482 h 39481"/>
                  <a:gd name="connsiteX1" fmla="*/ 16418 w 46048"/>
                  <a:gd name="connsiteY1" fmla="*/ 39482 h 39481"/>
                  <a:gd name="connsiteX2" fmla="*/ 0 w 46048"/>
                  <a:gd name="connsiteY2" fmla="*/ 23064 h 39481"/>
                  <a:gd name="connsiteX3" fmla="*/ 0 w 46048"/>
                  <a:gd name="connsiteY3" fmla="*/ 16418 h 39481"/>
                  <a:gd name="connsiteX4" fmla="*/ 16418 w 46048"/>
                  <a:gd name="connsiteY4" fmla="*/ 0 h 39481"/>
                  <a:gd name="connsiteX5" fmla="*/ 29631 w 46048"/>
                  <a:gd name="connsiteY5" fmla="*/ 0 h 39481"/>
                  <a:gd name="connsiteX6" fmla="*/ 46049 w 46048"/>
                  <a:gd name="connsiteY6" fmla="*/ 16418 h 39481"/>
                  <a:gd name="connsiteX7" fmla="*/ 46049 w 46048"/>
                  <a:gd name="connsiteY7" fmla="*/ 23038 h 39481"/>
                  <a:gd name="connsiteX8" fmla="*/ 29631 w 46048"/>
                  <a:gd name="connsiteY8" fmla="*/ 39482 h 39481"/>
                  <a:gd name="connsiteX9" fmla="*/ 16418 w 46048"/>
                  <a:gd name="connsiteY9" fmla="*/ 13161 h 39481"/>
                  <a:gd name="connsiteX10" fmla="*/ 13161 w 46048"/>
                  <a:gd name="connsiteY10" fmla="*/ 16418 h 39481"/>
                  <a:gd name="connsiteX11" fmla="*/ 13161 w 46048"/>
                  <a:gd name="connsiteY11" fmla="*/ 23038 h 39481"/>
                  <a:gd name="connsiteX12" fmla="*/ 16418 w 46048"/>
                  <a:gd name="connsiteY12" fmla="*/ 26295 h 39481"/>
                  <a:gd name="connsiteX13" fmla="*/ 29631 w 46048"/>
                  <a:gd name="connsiteY13" fmla="*/ 26295 h 39481"/>
                  <a:gd name="connsiteX14" fmla="*/ 32888 w 46048"/>
                  <a:gd name="connsiteY14" fmla="*/ 23038 h 39481"/>
                  <a:gd name="connsiteX15" fmla="*/ 32888 w 46048"/>
                  <a:gd name="connsiteY15" fmla="*/ 16418 h 39481"/>
                  <a:gd name="connsiteX16" fmla="*/ 29631 w 46048"/>
                  <a:gd name="connsiteY16" fmla="*/ 13161 h 39481"/>
                  <a:gd name="connsiteX17" fmla="*/ 16418 w 46048"/>
                  <a:gd name="connsiteY17" fmla="*/ 13161 h 3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048" h="39481">
                    <a:moveTo>
                      <a:pt x="29631" y="39482"/>
                    </a:moveTo>
                    <a:lnTo>
                      <a:pt x="16418" y="39482"/>
                    </a:lnTo>
                    <a:cubicBezTo>
                      <a:pt x="7375" y="39482"/>
                      <a:pt x="0" y="32107"/>
                      <a:pt x="0" y="23064"/>
                    </a:cubicBezTo>
                    <a:lnTo>
                      <a:pt x="0" y="16418"/>
                    </a:lnTo>
                    <a:cubicBezTo>
                      <a:pt x="0" y="7375"/>
                      <a:pt x="7375" y="0"/>
                      <a:pt x="16418" y="0"/>
                    </a:cubicBezTo>
                    <a:lnTo>
                      <a:pt x="29631" y="0"/>
                    </a:lnTo>
                    <a:cubicBezTo>
                      <a:pt x="38674" y="0"/>
                      <a:pt x="46049" y="7375"/>
                      <a:pt x="46049" y="16418"/>
                    </a:cubicBezTo>
                    <a:lnTo>
                      <a:pt x="46049" y="23038"/>
                    </a:lnTo>
                    <a:cubicBezTo>
                      <a:pt x="46049" y="32107"/>
                      <a:pt x="38674" y="39482"/>
                      <a:pt x="29631" y="39482"/>
                    </a:cubicBezTo>
                    <a:close/>
                    <a:moveTo>
                      <a:pt x="16418" y="13161"/>
                    </a:moveTo>
                    <a:cubicBezTo>
                      <a:pt x="14620" y="13161"/>
                      <a:pt x="13161" y="14620"/>
                      <a:pt x="13161" y="16418"/>
                    </a:cubicBezTo>
                    <a:lnTo>
                      <a:pt x="13161" y="23038"/>
                    </a:lnTo>
                    <a:cubicBezTo>
                      <a:pt x="13161" y="24836"/>
                      <a:pt x="14620" y="26295"/>
                      <a:pt x="16418" y="26295"/>
                    </a:cubicBezTo>
                    <a:lnTo>
                      <a:pt x="29631" y="26295"/>
                    </a:lnTo>
                    <a:cubicBezTo>
                      <a:pt x="31429" y="26295"/>
                      <a:pt x="32888" y="24836"/>
                      <a:pt x="32888" y="23038"/>
                    </a:cubicBezTo>
                    <a:lnTo>
                      <a:pt x="32888" y="16418"/>
                    </a:lnTo>
                    <a:cubicBezTo>
                      <a:pt x="32888" y="14620"/>
                      <a:pt x="31429" y="13161"/>
                      <a:pt x="29631" y="13161"/>
                    </a:cubicBezTo>
                    <a:lnTo>
                      <a:pt x="16418" y="13161"/>
                    </a:lnTo>
                    <a:close/>
                  </a:path>
                </a:pathLst>
              </a:custGeom>
              <a:solidFill>
                <a:schemeClr val="accent1"/>
              </a:solidFill>
              <a:ln w="2604" cap="flat">
                <a:noFill/>
                <a:prstDash val="solid"/>
                <a:miter/>
              </a:ln>
            </p:spPr>
            <p:txBody>
              <a:bodyPr rtlCol="0" anchor="ctr"/>
              <a:lstStyle/>
              <a:p>
                <a:endParaRPr lang="en-GB" dirty="0"/>
              </a:p>
            </p:txBody>
          </p:sp>
          <p:sp>
            <p:nvSpPr>
              <p:cNvPr id="57" name="Freihandform: Form 269">
                <a:extLst>
                  <a:ext uri="{FF2B5EF4-FFF2-40B4-BE49-F238E27FC236}">
                    <a16:creationId xmlns:a16="http://schemas.microsoft.com/office/drawing/2014/main" id="{840BDE36-AC55-4CCB-86A2-F1B651C46733}"/>
                  </a:ext>
                </a:extLst>
              </p:cNvPr>
              <p:cNvSpPr/>
              <p:nvPr/>
            </p:nvSpPr>
            <p:spPr>
              <a:xfrm>
                <a:off x="1846227" y="1685967"/>
                <a:ext cx="184248" cy="197356"/>
              </a:xfrm>
              <a:custGeom>
                <a:avLst/>
                <a:gdLst>
                  <a:gd name="connsiteX0" fmla="*/ 177603 w 184248"/>
                  <a:gd name="connsiteY0" fmla="*/ 197357 h 197356"/>
                  <a:gd name="connsiteX1" fmla="*/ 52616 w 184248"/>
                  <a:gd name="connsiteY1" fmla="*/ 197357 h 197356"/>
                  <a:gd name="connsiteX2" fmla="*/ 46049 w 184248"/>
                  <a:gd name="connsiteY2" fmla="*/ 190789 h 197356"/>
                  <a:gd name="connsiteX3" fmla="*/ 52616 w 184248"/>
                  <a:gd name="connsiteY3" fmla="*/ 184222 h 197356"/>
                  <a:gd name="connsiteX4" fmla="*/ 65777 w 184248"/>
                  <a:gd name="connsiteY4" fmla="*/ 157250 h 197356"/>
                  <a:gd name="connsiteX5" fmla="*/ 65777 w 184248"/>
                  <a:gd name="connsiteY5" fmla="*/ 98665 h 197356"/>
                  <a:gd name="connsiteX6" fmla="*/ 6567 w 184248"/>
                  <a:gd name="connsiteY6" fmla="*/ 98665 h 197356"/>
                  <a:gd name="connsiteX7" fmla="*/ 0 w 184248"/>
                  <a:gd name="connsiteY7" fmla="*/ 92098 h 197356"/>
                  <a:gd name="connsiteX8" fmla="*/ 0 w 184248"/>
                  <a:gd name="connsiteY8" fmla="*/ 6567 h 197356"/>
                  <a:gd name="connsiteX9" fmla="*/ 6567 w 184248"/>
                  <a:gd name="connsiteY9" fmla="*/ 0 h 197356"/>
                  <a:gd name="connsiteX10" fmla="*/ 99525 w 184248"/>
                  <a:gd name="connsiteY10" fmla="*/ 0 h 197356"/>
                  <a:gd name="connsiteX11" fmla="*/ 164468 w 184248"/>
                  <a:gd name="connsiteY11" fmla="*/ 64943 h 197356"/>
                  <a:gd name="connsiteX12" fmla="*/ 164468 w 184248"/>
                  <a:gd name="connsiteY12" fmla="*/ 157067 h 197356"/>
                  <a:gd name="connsiteX13" fmla="*/ 177681 w 184248"/>
                  <a:gd name="connsiteY13" fmla="*/ 184222 h 197356"/>
                  <a:gd name="connsiteX14" fmla="*/ 178228 w 184248"/>
                  <a:gd name="connsiteY14" fmla="*/ 184248 h 197356"/>
                  <a:gd name="connsiteX15" fmla="*/ 184248 w 184248"/>
                  <a:gd name="connsiteY15" fmla="*/ 190789 h 197356"/>
                  <a:gd name="connsiteX16" fmla="*/ 177603 w 184248"/>
                  <a:gd name="connsiteY16" fmla="*/ 197357 h 197356"/>
                  <a:gd name="connsiteX17" fmla="*/ 70129 w 184248"/>
                  <a:gd name="connsiteY17" fmla="*/ 184196 h 197356"/>
                  <a:gd name="connsiteX18" fmla="*/ 160820 w 184248"/>
                  <a:gd name="connsiteY18" fmla="*/ 184196 h 197356"/>
                  <a:gd name="connsiteX19" fmla="*/ 151464 w 184248"/>
                  <a:gd name="connsiteY19" fmla="*/ 159491 h 197356"/>
                  <a:gd name="connsiteX20" fmla="*/ 151256 w 184248"/>
                  <a:gd name="connsiteY20" fmla="*/ 157875 h 197356"/>
                  <a:gd name="connsiteX21" fmla="*/ 151256 w 184248"/>
                  <a:gd name="connsiteY21" fmla="*/ 64943 h 197356"/>
                  <a:gd name="connsiteX22" fmla="*/ 99473 w 184248"/>
                  <a:gd name="connsiteY22" fmla="*/ 13161 h 197356"/>
                  <a:gd name="connsiteX23" fmla="*/ 13108 w 184248"/>
                  <a:gd name="connsiteY23" fmla="*/ 13161 h 197356"/>
                  <a:gd name="connsiteX24" fmla="*/ 13108 w 184248"/>
                  <a:gd name="connsiteY24" fmla="*/ 85531 h 197356"/>
                  <a:gd name="connsiteX25" fmla="*/ 72318 w 184248"/>
                  <a:gd name="connsiteY25" fmla="*/ 85531 h 197356"/>
                  <a:gd name="connsiteX26" fmla="*/ 78885 w 184248"/>
                  <a:gd name="connsiteY26" fmla="*/ 92098 h 197356"/>
                  <a:gd name="connsiteX27" fmla="*/ 78885 w 184248"/>
                  <a:gd name="connsiteY27" fmla="*/ 157875 h 197356"/>
                  <a:gd name="connsiteX28" fmla="*/ 78755 w 184248"/>
                  <a:gd name="connsiteY28" fmla="*/ 159178 h 197356"/>
                  <a:gd name="connsiteX29" fmla="*/ 70129 w 184248"/>
                  <a:gd name="connsiteY29" fmla="*/ 184196 h 19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4248" h="197356">
                    <a:moveTo>
                      <a:pt x="177603" y="197357"/>
                    </a:moveTo>
                    <a:lnTo>
                      <a:pt x="52616" y="197357"/>
                    </a:lnTo>
                    <a:cubicBezTo>
                      <a:pt x="48994" y="197357"/>
                      <a:pt x="46049" y="194412"/>
                      <a:pt x="46049" y="190789"/>
                    </a:cubicBezTo>
                    <a:cubicBezTo>
                      <a:pt x="46049" y="187167"/>
                      <a:pt x="48994" y="184222"/>
                      <a:pt x="52616" y="184222"/>
                    </a:cubicBezTo>
                    <a:cubicBezTo>
                      <a:pt x="56447" y="184222"/>
                      <a:pt x="62910" y="170957"/>
                      <a:pt x="65777" y="157250"/>
                    </a:cubicBezTo>
                    <a:lnTo>
                      <a:pt x="65777" y="98665"/>
                    </a:lnTo>
                    <a:lnTo>
                      <a:pt x="6567" y="98665"/>
                    </a:lnTo>
                    <a:cubicBezTo>
                      <a:pt x="2945" y="98665"/>
                      <a:pt x="0" y="95720"/>
                      <a:pt x="0" y="92098"/>
                    </a:cubicBezTo>
                    <a:lnTo>
                      <a:pt x="0" y="6567"/>
                    </a:lnTo>
                    <a:cubicBezTo>
                      <a:pt x="0" y="2945"/>
                      <a:pt x="2945" y="0"/>
                      <a:pt x="6567" y="0"/>
                    </a:cubicBezTo>
                    <a:lnTo>
                      <a:pt x="99525" y="0"/>
                    </a:lnTo>
                    <a:cubicBezTo>
                      <a:pt x="135333" y="0"/>
                      <a:pt x="164468" y="29136"/>
                      <a:pt x="164468" y="64943"/>
                    </a:cubicBezTo>
                    <a:lnTo>
                      <a:pt x="164468" y="157067"/>
                    </a:lnTo>
                    <a:cubicBezTo>
                      <a:pt x="168169" y="171270"/>
                      <a:pt x="174632" y="183440"/>
                      <a:pt x="177681" y="184222"/>
                    </a:cubicBezTo>
                    <a:cubicBezTo>
                      <a:pt x="177863" y="184222"/>
                      <a:pt x="178046" y="184222"/>
                      <a:pt x="178228" y="184248"/>
                    </a:cubicBezTo>
                    <a:cubicBezTo>
                      <a:pt x="181616" y="184509"/>
                      <a:pt x="184248" y="187349"/>
                      <a:pt x="184248" y="190789"/>
                    </a:cubicBezTo>
                    <a:cubicBezTo>
                      <a:pt x="184222" y="194412"/>
                      <a:pt x="181225" y="197357"/>
                      <a:pt x="177603" y="197357"/>
                    </a:cubicBezTo>
                    <a:close/>
                    <a:moveTo>
                      <a:pt x="70129" y="184196"/>
                    </a:moveTo>
                    <a:lnTo>
                      <a:pt x="160820" y="184196"/>
                    </a:lnTo>
                    <a:cubicBezTo>
                      <a:pt x="156051" y="175857"/>
                      <a:pt x="153002" y="165537"/>
                      <a:pt x="151464" y="159491"/>
                    </a:cubicBezTo>
                    <a:cubicBezTo>
                      <a:pt x="151334" y="158970"/>
                      <a:pt x="151256" y="158422"/>
                      <a:pt x="151256" y="157875"/>
                    </a:cubicBezTo>
                    <a:lnTo>
                      <a:pt x="151256" y="64943"/>
                    </a:lnTo>
                    <a:cubicBezTo>
                      <a:pt x="151256" y="36407"/>
                      <a:pt x="128036" y="13161"/>
                      <a:pt x="99473" y="13161"/>
                    </a:cubicBezTo>
                    <a:lnTo>
                      <a:pt x="13108" y="13161"/>
                    </a:lnTo>
                    <a:lnTo>
                      <a:pt x="13108" y="85531"/>
                    </a:lnTo>
                    <a:lnTo>
                      <a:pt x="72318" y="85531"/>
                    </a:lnTo>
                    <a:cubicBezTo>
                      <a:pt x="75940" y="85531"/>
                      <a:pt x="78885" y="88476"/>
                      <a:pt x="78885" y="92098"/>
                    </a:cubicBezTo>
                    <a:lnTo>
                      <a:pt x="78885" y="157875"/>
                    </a:lnTo>
                    <a:cubicBezTo>
                      <a:pt x="78885" y="158318"/>
                      <a:pt x="78833" y="158735"/>
                      <a:pt x="78755" y="159178"/>
                    </a:cubicBezTo>
                    <a:cubicBezTo>
                      <a:pt x="77791" y="164129"/>
                      <a:pt x="75185" y="175231"/>
                      <a:pt x="70129" y="184196"/>
                    </a:cubicBezTo>
                    <a:close/>
                  </a:path>
                </a:pathLst>
              </a:custGeom>
              <a:solidFill>
                <a:schemeClr val="accent1"/>
              </a:solidFill>
              <a:ln w="2604" cap="flat">
                <a:noFill/>
                <a:prstDash val="solid"/>
                <a:miter/>
              </a:ln>
            </p:spPr>
            <p:txBody>
              <a:bodyPr rtlCol="0" anchor="ctr"/>
              <a:lstStyle/>
              <a:p>
                <a:endParaRPr lang="en-GB" dirty="0"/>
              </a:p>
            </p:txBody>
          </p:sp>
          <p:sp>
            <p:nvSpPr>
              <p:cNvPr id="58" name="Freihandform: Form 270">
                <a:extLst>
                  <a:ext uri="{FF2B5EF4-FFF2-40B4-BE49-F238E27FC236}">
                    <a16:creationId xmlns:a16="http://schemas.microsoft.com/office/drawing/2014/main" id="{E57BB5E6-BF34-4FA1-809C-A36DCB7C2ECB}"/>
                  </a:ext>
                </a:extLst>
              </p:cNvPr>
              <p:cNvSpPr/>
              <p:nvPr/>
            </p:nvSpPr>
            <p:spPr>
              <a:xfrm>
                <a:off x="1902934" y="1909645"/>
                <a:ext cx="55068" cy="91785"/>
              </a:xfrm>
              <a:custGeom>
                <a:avLst/>
                <a:gdLst>
                  <a:gd name="connsiteX0" fmla="*/ 27547 w 55068"/>
                  <a:gd name="connsiteY0" fmla="*/ 91785 h 91785"/>
                  <a:gd name="connsiteX1" fmla="*/ 0 w 55068"/>
                  <a:gd name="connsiteY1" fmla="*/ 64317 h 91785"/>
                  <a:gd name="connsiteX2" fmla="*/ 21527 w 55068"/>
                  <a:gd name="connsiteY2" fmla="*/ 3909 h 91785"/>
                  <a:gd name="connsiteX3" fmla="*/ 27547 w 55068"/>
                  <a:gd name="connsiteY3" fmla="*/ 0 h 91785"/>
                  <a:gd name="connsiteX4" fmla="*/ 27547 w 55068"/>
                  <a:gd name="connsiteY4" fmla="*/ 0 h 91785"/>
                  <a:gd name="connsiteX5" fmla="*/ 33541 w 55068"/>
                  <a:gd name="connsiteY5" fmla="*/ 3909 h 91785"/>
                  <a:gd name="connsiteX6" fmla="*/ 55066 w 55068"/>
                  <a:gd name="connsiteY6" fmla="*/ 64161 h 91785"/>
                  <a:gd name="connsiteX7" fmla="*/ 47170 w 55068"/>
                  <a:gd name="connsiteY7" fmla="*/ 83576 h 91785"/>
                  <a:gd name="connsiteX8" fmla="*/ 27547 w 55068"/>
                  <a:gd name="connsiteY8" fmla="*/ 91785 h 91785"/>
                  <a:gd name="connsiteX9" fmla="*/ 27547 w 55068"/>
                  <a:gd name="connsiteY9" fmla="*/ 23194 h 91785"/>
                  <a:gd name="connsiteX10" fmla="*/ 13161 w 55068"/>
                  <a:gd name="connsiteY10" fmla="*/ 64187 h 91785"/>
                  <a:gd name="connsiteX11" fmla="*/ 27547 w 55068"/>
                  <a:gd name="connsiteY11" fmla="*/ 78651 h 91785"/>
                  <a:gd name="connsiteX12" fmla="*/ 37840 w 55068"/>
                  <a:gd name="connsiteY12" fmla="*/ 74351 h 91785"/>
                  <a:gd name="connsiteX13" fmla="*/ 41932 w 55068"/>
                  <a:gd name="connsiteY13" fmla="*/ 64317 h 91785"/>
                  <a:gd name="connsiteX14" fmla="*/ 27547 w 55068"/>
                  <a:gd name="connsiteY14" fmla="*/ 23194 h 9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068" h="91785">
                    <a:moveTo>
                      <a:pt x="27547" y="91785"/>
                    </a:moveTo>
                    <a:cubicBezTo>
                      <a:pt x="12510" y="91785"/>
                      <a:pt x="157" y="79459"/>
                      <a:pt x="0" y="64317"/>
                    </a:cubicBezTo>
                    <a:cubicBezTo>
                      <a:pt x="-104" y="53346"/>
                      <a:pt x="16445" y="15298"/>
                      <a:pt x="21527" y="3909"/>
                    </a:cubicBezTo>
                    <a:cubicBezTo>
                      <a:pt x="22595" y="1538"/>
                      <a:pt x="24940" y="0"/>
                      <a:pt x="27547" y="0"/>
                    </a:cubicBezTo>
                    <a:lnTo>
                      <a:pt x="27547" y="0"/>
                    </a:lnTo>
                    <a:cubicBezTo>
                      <a:pt x="30153" y="0"/>
                      <a:pt x="32498" y="1538"/>
                      <a:pt x="33541" y="3909"/>
                    </a:cubicBezTo>
                    <a:cubicBezTo>
                      <a:pt x="37111" y="11988"/>
                      <a:pt x="54962" y="52799"/>
                      <a:pt x="55066" y="64161"/>
                    </a:cubicBezTo>
                    <a:cubicBezTo>
                      <a:pt x="55145" y="71458"/>
                      <a:pt x="52330" y="78364"/>
                      <a:pt x="47170" y="83576"/>
                    </a:cubicBezTo>
                    <a:cubicBezTo>
                      <a:pt x="41984" y="88867"/>
                      <a:pt x="35000" y="91785"/>
                      <a:pt x="27547" y="91785"/>
                    </a:cubicBezTo>
                    <a:close/>
                    <a:moveTo>
                      <a:pt x="27547" y="23194"/>
                    </a:moveTo>
                    <a:cubicBezTo>
                      <a:pt x="19833" y="41593"/>
                      <a:pt x="13109" y="59783"/>
                      <a:pt x="13161" y="64187"/>
                    </a:cubicBezTo>
                    <a:cubicBezTo>
                      <a:pt x="13239" y="72162"/>
                      <a:pt x="19702" y="78651"/>
                      <a:pt x="27547" y="78651"/>
                    </a:cubicBezTo>
                    <a:cubicBezTo>
                      <a:pt x="31456" y="78651"/>
                      <a:pt x="35104" y="77113"/>
                      <a:pt x="37840" y="74351"/>
                    </a:cubicBezTo>
                    <a:cubicBezTo>
                      <a:pt x="40525" y="71640"/>
                      <a:pt x="41958" y="68096"/>
                      <a:pt x="41932" y="64317"/>
                    </a:cubicBezTo>
                    <a:cubicBezTo>
                      <a:pt x="41906" y="59679"/>
                      <a:pt x="35287" y="41723"/>
                      <a:pt x="27547" y="23194"/>
                    </a:cubicBezTo>
                    <a:close/>
                  </a:path>
                </a:pathLst>
              </a:custGeom>
              <a:solidFill>
                <a:schemeClr val="accent1"/>
              </a:solidFill>
              <a:ln w="2604" cap="flat">
                <a:noFill/>
                <a:prstDash val="solid"/>
                <a:miter/>
              </a:ln>
            </p:spPr>
            <p:txBody>
              <a:bodyPr rtlCol="0" anchor="ctr"/>
              <a:lstStyle/>
              <a:p>
                <a:endParaRPr lang="en-GB" dirty="0"/>
              </a:p>
            </p:txBody>
          </p:sp>
          <p:sp>
            <p:nvSpPr>
              <p:cNvPr id="59" name="Freihandform: Form 271">
                <a:extLst>
                  <a:ext uri="{FF2B5EF4-FFF2-40B4-BE49-F238E27FC236}">
                    <a16:creationId xmlns:a16="http://schemas.microsoft.com/office/drawing/2014/main" id="{E70D0606-9B16-4E4C-8A6F-6F68CD506439}"/>
                  </a:ext>
                </a:extLst>
              </p:cNvPr>
              <p:cNvSpPr/>
              <p:nvPr/>
            </p:nvSpPr>
            <p:spPr>
              <a:xfrm>
                <a:off x="1972698" y="1897579"/>
                <a:ext cx="44147" cy="71275"/>
              </a:xfrm>
              <a:custGeom>
                <a:avLst/>
                <a:gdLst>
                  <a:gd name="connsiteX0" fmla="*/ 22074 w 44147"/>
                  <a:gd name="connsiteY0" fmla="*/ 71276 h 71275"/>
                  <a:gd name="connsiteX1" fmla="*/ 0 w 44147"/>
                  <a:gd name="connsiteY1" fmla="*/ 49281 h 71275"/>
                  <a:gd name="connsiteX2" fmla="*/ 16054 w 44147"/>
                  <a:gd name="connsiteY2" fmla="*/ 3909 h 71275"/>
                  <a:gd name="connsiteX3" fmla="*/ 22074 w 44147"/>
                  <a:gd name="connsiteY3" fmla="*/ 0 h 71275"/>
                  <a:gd name="connsiteX4" fmla="*/ 22074 w 44147"/>
                  <a:gd name="connsiteY4" fmla="*/ 0 h 71275"/>
                  <a:gd name="connsiteX5" fmla="*/ 28094 w 44147"/>
                  <a:gd name="connsiteY5" fmla="*/ 3909 h 71275"/>
                  <a:gd name="connsiteX6" fmla="*/ 44147 w 44147"/>
                  <a:gd name="connsiteY6" fmla="*/ 49124 h 71275"/>
                  <a:gd name="connsiteX7" fmla="*/ 37814 w 44147"/>
                  <a:gd name="connsiteY7" fmla="*/ 64708 h 71275"/>
                  <a:gd name="connsiteX8" fmla="*/ 22074 w 44147"/>
                  <a:gd name="connsiteY8" fmla="*/ 71276 h 71275"/>
                  <a:gd name="connsiteX9" fmla="*/ 22048 w 44147"/>
                  <a:gd name="connsiteY9" fmla="*/ 23350 h 71275"/>
                  <a:gd name="connsiteX10" fmla="*/ 13135 w 44147"/>
                  <a:gd name="connsiteY10" fmla="*/ 49150 h 71275"/>
                  <a:gd name="connsiteX11" fmla="*/ 22048 w 44147"/>
                  <a:gd name="connsiteY11" fmla="*/ 58115 h 71275"/>
                  <a:gd name="connsiteX12" fmla="*/ 28433 w 44147"/>
                  <a:gd name="connsiteY12" fmla="*/ 55457 h 71275"/>
                  <a:gd name="connsiteX13" fmla="*/ 30960 w 44147"/>
                  <a:gd name="connsiteY13" fmla="*/ 49281 h 71275"/>
                  <a:gd name="connsiteX14" fmla="*/ 22048 w 44147"/>
                  <a:gd name="connsiteY14" fmla="*/ 23350 h 7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147" h="71275">
                    <a:moveTo>
                      <a:pt x="22074" y="71276"/>
                    </a:moveTo>
                    <a:cubicBezTo>
                      <a:pt x="10034" y="71276"/>
                      <a:pt x="131" y="61399"/>
                      <a:pt x="0" y="49281"/>
                    </a:cubicBezTo>
                    <a:cubicBezTo>
                      <a:pt x="-78" y="41071"/>
                      <a:pt x="11206" y="14828"/>
                      <a:pt x="16054" y="3909"/>
                    </a:cubicBezTo>
                    <a:cubicBezTo>
                      <a:pt x="17122" y="1538"/>
                      <a:pt x="19468" y="0"/>
                      <a:pt x="22074" y="0"/>
                    </a:cubicBezTo>
                    <a:cubicBezTo>
                      <a:pt x="22074" y="0"/>
                      <a:pt x="22074" y="0"/>
                      <a:pt x="22074" y="0"/>
                    </a:cubicBezTo>
                    <a:cubicBezTo>
                      <a:pt x="24680" y="0"/>
                      <a:pt x="27025" y="1538"/>
                      <a:pt x="28094" y="3909"/>
                    </a:cubicBezTo>
                    <a:cubicBezTo>
                      <a:pt x="31846" y="12353"/>
                      <a:pt x="44069" y="40602"/>
                      <a:pt x="44147" y="49124"/>
                    </a:cubicBezTo>
                    <a:cubicBezTo>
                      <a:pt x="44199" y="54988"/>
                      <a:pt x="41958" y="60513"/>
                      <a:pt x="37814" y="64708"/>
                    </a:cubicBezTo>
                    <a:cubicBezTo>
                      <a:pt x="33619" y="68930"/>
                      <a:pt x="28042" y="71276"/>
                      <a:pt x="22074" y="71276"/>
                    </a:cubicBezTo>
                    <a:close/>
                    <a:moveTo>
                      <a:pt x="22048" y="23350"/>
                    </a:moveTo>
                    <a:cubicBezTo>
                      <a:pt x="17174" y="35208"/>
                      <a:pt x="13213" y="46179"/>
                      <a:pt x="13135" y="49150"/>
                    </a:cubicBezTo>
                    <a:cubicBezTo>
                      <a:pt x="13187" y="54180"/>
                      <a:pt x="17096" y="58115"/>
                      <a:pt x="22048" y="58115"/>
                    </a:cubicBezTo>
                    <a:cubicBezTo>
                      <a:pt x="24471" y="58115"/>
                      <a:pt x="26739" y="57177"/>
                      <a:pt x="28433" y="55457"/>
                    </a:cubicBezTo>
                    <a:cubicBezTo>
                      <a:pt x="30074" y="53789"/>
                      <a:pt x="30986" y="51600"/>
                      <a:pt x="30960" y="49281"/>
                    </a:cubicBezTo>
                    <a:cubicBezTo>
                      <a:pt x="30908" y="46310"/>
                      <a:pt x="26921" y="35260"/>
                      <a:pt x="22048" y="23350"/>
                    </a:cubicBezTo>
                    <a:close/>
                  </a:path>
                </a:pathLst>
              </a:custGeom>
              <a:solidFill>
                <a:schemeClr val="accent1"/>
              </a:solidFill>
              <a:ln w="2604" cap="flat">
                <a:noFill/>
                <a:prstDash val="solid"/>
                <a:miter/>
              </a:ln>
            </p:spPr>
            <p:txBody>
              <a:bodyPr rtlCol="0" anchor="ctr"/>
              <a:lstStyle/>
              <a:p>
                <a:endParaRPr lang="en-GB" dirty="0"/>
              </a:p>
            </p:txBody>
          </p:sp>
          <p:sp>
            <p:nvSpPr>
              <p:cNvPr id="60" name="Freihandform: Form 278">
                <a:extLst>
                  <a:ext uri="{FF2B5EF4-FFF2-40B4-BE49-F238E27FC236}">
                    <a16:creationId xmlns:a16="http://schemas.microsoft.com/office/drawing/2014/main" id="{CF2C56B4-75EA-4E9C-95F0-E610DC7A1496}"/>
                  </a:ext>
                </a:extLst>
              </p:cNvPr>
              <p:cNvSpPr/>
              <p:nvPr/>
            </p:nvSpPr>
            <p:spPr>
              <a:xfrm>
                <a:off x="1780398" y="1672833"/>
                <a:ext cx="78911" cy="131553"/>
              </a:xfrm>
              <a:custGeom>
                <a:avLst/>
                <a:gdLst>
                  <a:gd name="connsiteX0" fmla="*/ 62728 w 78911"/>
                  <a:gd name="connsiteY0" fmla="*/ 131554 h 131553"/>
                  <a:gd name="connsiteX1" fmla="*/ 16236 w 78911"/>
                  <a:gd name="connsiteY1" fmla="*/ 131554 h 131553"/>
                  <a:gd name="connsiteX2" fmla="*/ 0 w 78911"/>
                  <a:gd name="connsiteY2" fmla="*/ 115318 h 131553"/>
                  <a:gd name="connsiteX3" fmla="*/ 0 w 78911"/>
                  <a:gd name="connsiteY3" fmla="*/ 6567 h 131553"/>
                  <a:gd name="connsiteX4" fmla="*/ 6567 w 78911"/>
                  <a:gd name="connsiteY4" fmla="*/ 0 h 131553"/>
                  <a:gd name="connsiteX5" fmla="*/ 72344 w 78911"/>
                  <a:gd name="connsiteY5" fmla="*/ 0 h 131553"/>
                  <a:gd name="connsiteX6" fmla="*/ 78911 w 78911"/>
                  <a:gd name="connsiteY6" fmla="*/ 6567 h 131553"/>
                  <a:gd name="connsiteX7" fmla="*/ 78911 w 78911"/>
                  <a:gd name="connsiteY7" fmla="*/ 115344 h 131553"/>
                  <a:gd name="connsiteX8" fmla="*/ 62728 w 78911"/>
                  <a:gd name="connsiteY8" fmla="*/ 131554 h 131553"/>
                  <a:gd name="connsiteX9" fmla="*/ 13187 w 78911"/>
                  <a:gd name="connsiteY9" fmla="*/ 13135 h 131553"/>
                  <a:gd name="connsiteX10" fmla="*/ 13187 w 78911"/>
                  <a:gd name="connsiteY10" fmla="*/ 115318 h 131553"/>
                  <a:gd name="connsiteX11" fmla="*/ 16262 w 78911"/>
                  <a:gd name="connsiteY11" fmla="*/ 118393 h 131553"/>
                  <a:gd name="connsiteX12" fmla="*/ 62754 w 78911"/>
                  <a:gd name="connsiteY12" fmla="*/ 118393 h 131553"/>
                  <a:gd name="connsiteX13" fmla="*/ 65829 w 78911"/>
                  <a:gd name="connsiteY13" fmla="*/ 115318 h 131553"/>
                  <a:gd name="connsiteX14" fmla="*/ 65829 w 78911"/>
                  <a:gd name="connsiteY14" fmla="*/ 13135 h 131553"/>
                  <a:gd name="connsiteX15" fmla="*/ 13187 w 78911"/>
                  <a:gd name="connsiteY15" fmla="*/ 13135 h 131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911" h="131553">
                    <a:moveTo>
                      <a:pt x="62728" y="131554"/>
                    </a:moveTo>
                    <a:lnTo>
                      <a:pt x="16236" y="131554"/>
                    </a:lnTo>
                    <a:cubicBezTo>
                      <a:pt x="7297" y="131554"/>
                      <a:pt x="0" y="124283"/>
                      <a:pt x="0" y="115318"/>
                    </a:cubicBezTo>
                    <a:lnTo>
                      <a:pt x="0" y="6567"/>
                    </a:lnTo>
                    <a:cubicBezTo>
                      <a:pt x="0" y="2945"/>
                      <a:pt x="2945" y="0"/>
                      <a:pt x="6567" y="0"/>
                    </a:cubicBezTo>
                    <a:lnTo>
                      <a:pt x="72344" y="0"/>
                    </a:lnTo>
                    <a:cubicBezTo>
                      <a:pt x="75967" y="0"/>
                      <a:pt x="78911" y="2945"/>
                      <a:pt x="78911" y="6567"/>
                    </a:cubicBezTo>
                    <a:lnTo>
                      <a:pt x="78911" y="115344"/>
                    </a:lnTo>
                    <a:cubicBezTo>
                      <a:pt x="78964" y="124257"/>
                      <a:pt x="71693" y="131554"/>
                      <a:pt x="62728" y="131554"/>
                    </a:cubicBezTo>
                    <a:close/>
                    <a:moveTo>
                      <a:pt x="13187" y="13135"/>
                    </a:moveTo>
                    <a:lnTo>
                      <a:pt x="13187" y="115318"/>
                    </a:lnTo>
                    <a:cubicBezTo>
                      <a:pt x="13187" y="117012"/>
                      <a:pt x="14568" y="118393"/>
                      <a:pt x="16262" y="118393"/>
                    </a:cubicBezTo>
                    <a:lnTo>
                      <a:pt x="62754" y="118393"/>
                    </a:lnTo>
                    <a:cubicBezTo>
                      <a:pt x="64448" y="118393"/>
                      <a:pt x="65829" y="117012"/>
                      <a:pt x="65829" y="115318"/>
                    </a:cubicBezTo>
                    <a:lnTo>
                      <a:pt x="65829" y="13135"/>
                    </a:lnTo>
                    <a:lnTo>
                      <a:pt x="13187" y="13135"/>
                    </a:lnTo>
                    <a:close/>
                  </a:path>
                </a:pathLst>
              </a:custGeom>
              <a:solidFill>
                <a:schemeClr val="accent1"/>
              </a:solidFill>
              <a:ln w="2604" cap="flat">
                <a:noFill/>
                <a:prstDash val="solid"/>
                <a:miter/>
              </a:ln>
            </p:spPr>
            <p:txBody>
              <a:bodyPr rtlCol="0" anchor="ctr"/>
              <a:lstStyle/>
              <a:p>
                <a:endParaRPr lang="en-GB" dirty="0"/>
              </a:p>
            </p:txBody>
          </p:sp>
        </p:grpSp>
      </p:grpSp>
      <p:grpSp>
        <p:nvGrpSpPr>
          <p:cNvPr id="8" name="Group 7">
            <a:extLst>
              <a:ext uri="{FF2B5EF4-FFF2-40B4-BE49-F238E27FC236}">
                <a16:creationId xmlns:a16="http://schemas.microsoft.com/office/drawing/2014/main" id="{423DF833-309A-4C7A-ACBD-9D443A48E129}"/>
              </a:ext>
            </a:extLst>
          </p:cNvPr>
          <p:cNvGrpSpPr/>
          <p:nvPr/>
        </p:nvGrpSpPr>
        <p:grpSpPr>
          <a:xfrm>
            <a:off x="2560918" y="1613733"/>
            <a:ext cx="648000" cy="376503"/>
            <a:chOff x="2560918" y="1613733"/>
            <a:chExt cx="648000" cy="376503"/>
          </a:xfrm>
        </p:grpSpPr>
        <p:grpSp>
          <p:nvGrpSpPr>
            <p:cNvPr id="67" name="Group 66">
              <a:extLst>
                <a:ext uri="{FF2B5EF4-FFF2-40B4-BE49-F238E27FC236}">
                  <a16:creationId xmlns:a16="http://schemas.microsoft.com/office/drawing/2014/main" id="{CACC747C-0008-42E0-A045-ADB35C6CEF32}"/>
                </a:ext>
              </a:extLst>
            </p:cNvPr>
            <p:cNvGrpSpPr/>
            <p:nvPr/>
          </p:nvGrpSpPr>
          <p:grpSpPr>
            <a:xfrm>
              <a:off x="2595957" y="1718882"/>
              <a:ext cx="612961" cy="271354"/>
              <a:chOff x="3405327" y="1909723"/>
              <a:chExt cx="460464" cy="203845"/>
            </a:xfrm>
          </p:grpSpPr>
          <p:sp>
            <p:nvSpPr>
              <p:cNvPr id="72" name="Freihandform: Form 301">
                <a:extLst>
                  <a:ext uri="{FF2B5EF4-FFF2-40B4-BE49-F238E27FC236}">
                    <a16:creationId xmlns:a16="http://schemas.microsoft.com/office/drawing/2014/main" id="{A0951371-9BBD-4C95-810F-7D57606C76F2}"/>
                  </a:ext>
                </a:extLst>
              </p:cNvPr>
              <p:cNvSpPr/>
              <p:nvPr/>
            </p:nvSpPr>
            <p:spPr>
              <a:xfrm>
                <a:off x="3405327" y="1922806"/>
                <a:ext cx="78937" cy="138147"/>
              </a:xfrm>
              <a:custGeom>
                <a:avLst/>
                <a:gdLst>
                  <a:gd name="connsiteX0" fmla="*/ 78938 w 78937"/>
                  <a:gd name="connsiteY0" fmla="*/ 138147 h 138147"/>
                  <a:gd name="connsiteX1" fmla="*/ 25227 w 78937"/>
                  <a:gd name="connsiteY1" fmla="*/ 138147 h 138147"/>
                  <a:gd name="connsiteX2" fmla="*/ 0 w 78937"/>
                  <a:gd name="connsiteY2" fmla="*/ 112920 h 138147"/>
                  <a:gd name="connsiteX3" fmla="*/ 0 w 78937"/>
                  <a:gd name="connsiteY3" fmla="*/ 0 h 138147"/>
                  <a:gd name="connsiteX4" fmla="*/ 13161 w 78937"/>
                  <a:gd name="connsiteY4" fmla="*/ 0 h 138147"/>
                  <a:gd name="connsiteX5" fmla="*/ 13161 w 78937"/>
                  <a:gd name="connsiteY5" fmla="*/ 112920 h 138147"/>
                  <a:gd name="connsiteX6" fmla="*/ 25227 w 78937"/>
                  <a:gd name="connsiteY6" fmla="*/ 124987 h 138147"/>
                  <a:gd name="connsiteX7" fmla="*/ 78938 w 78937"/>
                  <a:gd name="connsiteY7" fmla="*/ 124987 h 138147"/>
                  <a:gd name="connsiteX8" fmla="*/ 78938 w 78937"/>
                  <a:gd name="connsiteY8" fmla="*/ 138147 h 138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937" h="138147">
                    <a:moveTo>
                      <a:pt x="78938" y="138147"/>
                    </a:moveTo>
                    <a:lnTo>
                      <a:pt x="25227" y="138147"/>
                    </a:lnTo>
                    <a:cubicBezTo>
                      <a:pt x="11310" y="138147"/>
                      <a:pt x="0" y="126837"/>
                      <a:pt x="0" y="112920"/>
                    </a:cubicBezTo>
                    <a:lnTo>
                      <a:pt x="0" y="0"/>
                    </a:lnTo>
                    <a:lnTo>
                      <a:pt x="13161" y="0"/>
                    </a:lnTo>
                    <a:lnTo>
                      <a:pt x="13161" y="112920"/>
                    </a:lnTo>
                    <a:cubicBezTo>
                      <a:pt x="13161" y="119566"/>
                      <a:pt x="18581" y="124987"/>
                      <a:pt x="25227" y="124987"/>
                    </a:cubicBezTo>
                    <a:lnTo>
                      <a:pt x="78938" y="124987"/>
                    </a:lnTo>
                    <a:lnTo>
                      <a:pt x="78938" y="138147"/>
                    </a:lnTo>
                    <a:close/>
                  </a:path>
                </a:pathLst>
              </a:custGeom>
              <a:solidFill>
                <a:schemeClr val="tx2"/>
              </a:solidFill>
              <a:ln w="2604" cap="flat">
                <a:noFill/>
                <a:prstDash val="solid"/>
                <a:miter/>
              </a:ln>
            </p:spPr>
            <p:txBody>
              <a:bodyPr rtlCol="0" anchor="ctr"/>
              <a:lstStyle/>
              <a:p>
                <a:endParaRPr lang="en-GB" dirty="0"/>
              </a:p>
            </p:txBody>
          </p:sp>
          <p:sp>
            <p:nvSpPr>
              <p:cNvPr id="73" name="Freihandform: Form 302">
                <a:extLst>
                  <a:ext uri="{FF2B5EF4-FFF2-40B4-BE49-F238E27FC236}">
                    <a16:creationId xmlns:a16="http://schemas.microsoft.com/office/drawing/2014/main" id="{E723BF7D-5950-4F77-81DB-1658BB206C0C}"/>
                  </a:ext>
                </a:extLst>
              </p:cNvPr>
              <p:cNvSpPr/>
              <p:nvPr/>
            </p:nvSpPr>
            <p:spPr>
              <a:xfrm>
                <a:off x="3530313" y="2034605"/>
                <a:ext cx="78963" cy="78963"/>
              </a:xfrm>
              <a:custGeom>
                <a:avLst/>
                <a:gdLst>
                  <a:gd name="connsiteX0" fmla="*/ 39482 w 78963"/>
                  <a:gd name="connsiteY0" fmla="*/ 78964 h 78963"/>
                  <a:gd name="connsiteX1" fmla="*/ 0 w 78963"/>
                  <a:gd name="connsiteY1" fmla="*/ 39482 h 78963"/>
                  <a:gd name="connsiteX2" fmla="*/ 39482 w 78963"/>
                  <a:gd name="connsiteY2" fmla="*/ 0 h 78963"/>
                  <a:gd name="connsiteX3" fmla="*/ 78964 w 78963"/>
                  <a:gd name="connsiteY3" fmla="*/ 39482 h 78963"/>
                  <a:gd name="connsiteX4" fmla="*/ 39482 w 78963"/>
                  <a:gd name="connsiteY4" fmla="*/ 78964 h 78963"/>
                  <a:gd name="connsiteX5" fmla="*/ 39482 w 78963"/>
                  <a:gd name="connsiteY5" fmla="*/ 13187 h 78963"/>
                  <a:gd name="connsiteX6" fmla="*/ 13161 w 78963"/>
                  <a:gd name="connsiteY6" fmla="*/ 39508 h 78963"/>
                  <a:gd name="connsiteX7" fmla="*/ 39482 w 78963"/>
                  <a:gd name="connsiteY7" fmla="*/ 65829 h 78963"/>
                  <a:gd name="connsiteX8" fmla="*/ 65803 w 78963"/>
                  <a:gd name="connsiteY8" fmla="*/ 39508 h 78963"/>
                  <a:gd name="connsiteX9" fmla="*/ 39482 w 78963"/>
                  <a:gd name="connsiteY9" fmla="*/ 13187 h 7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3" h="78963">
                    <a:moveTo>
                      <a:pt x="39482" y="78964"/>
                    </a:moveTo>
                    <a:cubicBezTo>
                      <a:pt x="17721" y="78964"/>
                      <a:pt x="0" y="61268"/>
                      <a:pt x="0" y="39482"/>
                    </a:cubicBezTo>
                    <a:cubicBezTo>
                      <a:pt x="0" y="17695"/>
                      <a:pt x="17695" y="0"/>
                      <a:pt x="39482" y="0"/>
                    </a:cubicBezTo>
                    <a:cubicBezTo>
                      <a:pt x="61242" y="0"/>
                      <a:pt x="78964" y="17695"/>
                      <a:pt x="78964" y="39482"/>
                    </a:cubicBezTo>
                    <a:cubicBezTo>
                      <a:pt x="78964" y="61268"/>
                      <a:pt x="61242" y="78964"/>
                      <a:pt x="39482" y="78964"/>
                    </a:cubicBezTo>
                    <a:close/>
                    <a:moveTo>
                      <a:pt x="39482" y="13187"/>
                    </a:moveTo>
                    <a:cubicBezTo>
                      <a:pt x="24966" y="13187"/>
                      <a:pt x="13161" y="24992"/>
                      <a:pt x="13161" y="39508"/>
                    </a:cubicBezTo>
                    <a:cubicBezTo>
                      <a:pt x="13161" y="54024"/>
                      <a:pt x="24966" y="65829"/>
                      <a:pt x="39482" y="65829"/>
                    </a:cubicBezTo>
                    <a:cubicBezTo>
                      <a:pt x="53997" y="65829"/>
                      <a:pt x="65803" y="54024"/>
                      <a:pt x="65803" y="39508"/>
                    </a:cubicBezTo>
                    <a:cubicBezTo>
                      <a:pt x="65803" y="24992"/>
                      <a:pt x="53997" y="13187"/>
                      <a:pt x="39482" y="13187"/>
                    </a:cubicBezTo>
                    <a:close/>
                  </a:path>
                </a:pathLst>
              </a:custGeom>
              <a:solidFill>
                <a:schemeClr val="tx2"/>
              </a:solidFill>
              <a:ln w="2604" cap="flat">
                <a:noFill/>
                <a:prstDash val="solid"/>
                <a:miter/>
              </a:ln>
            </p:spPr>
            <p:txBody>
              <a:bodyPr rtlCol="0" anchor="ctr"/>
              <a:lstStyle/>
              <a:p>
                <a:endParaRPr lang="en-GB" dirty="0"/>
              </a:p>
            </p:txBody>
          </p:sp>
          <p:sp>
            <p:nvSpPr>
              <p:cNvPr id="74" name="Freihandform: Form 303">
                <a:extLst>
                  <a:ext uri="{FF2B5EF4-FFF2-40B4-BE49-F238E27FC236}">
                    <a16:creationId xmlns:a16="http://schemas.microsoft.com/office/drawing/2014/main" id="{3D1D03C3-34EA-4006-B1B2-62A7B153D4AC}"/>
                  </a:ext>
                </a:extLst>
              </p:cNvPr>
              <p:cNvSpPr/>
              <p:nvPr/>
            </p:nvSpPr>
            <p:spPr>
              <a:xfrm>
                <a:off x="3727670" y="2034605"/>
                <a:ext cx="78963" cy="78963"/>
              </a:xfrm>
              <a:custGeom>
                <a:avLst/>
                <a:gdLst>
                  <a:gd name="connsiteX0" fmla="*/ 39482 w 78963"/>
                  <a:gd name="connsiteY0" fmla="*/ 78964 h 78963"/>
                  <a:gd name="connsiteX1" fmla="*/ 0 w 78963"/>
                  <a:gd name="connsiteY1" fmla="*/ 39482 h 78963"/>
                  <a:gd name="connsiteX2" fmla="*/ 39482 w 78963"/>
                  <a:gd name="connsiteY2" fmla="*/ 0 h 78963"/>
                  <a:gd name="connsiteX3" fmla="*/ 78964 w 78963"/>
                  <a:gd name="connsiteY3" fmla="*/ 39482 h 78963"/>
                  <a:gd name="connsiteX4" fmla="*/ 39482 w 78963"/>
                  <a:gd name="connsiteY4" fmla="*/ 78964 h 78963"/>
                  <a:gd name="connsiteX5" fmla="*/ 39482 w 78963"/>
                  <a:gd name="connsiteY5" fmla="*/ 13187 h 78963"/>
                  <a:gd name="connsiteX6" fmla="*/ 13161 w 78963"/>
                  <a:gd name="connsiteY6" fmla="*/ 39508 h 78963"/>
                  <a:gd name="connsiteX7" fmla="*/ 39482 w 78963"/>
                  <a:gd name="connsiteY7" fmla="*/ 65829 h 78963"/>
                  <a:gd name="connsiteX8" fmla="*/ 65803 w 78963"/>
                  <a:gd name="connsiteY8" fmla="*/ 39508 h 78963"/>
                  <a:gd name="connsiteX9" fmla="*/ 39482 w 78963"/>
                  <a:gd name="connsiteY9" fmla="*/ 13187 h 7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3" h="78963">
                    <a:moveTo>
                      <a:pt x="39482" y="78964"/>
                    </a:moveTo>
                    <a:cubicBezTo>
                      <a:pt x="17721" y="78964"/>
                      <a:pt x="0" y="61268"/>
                      <a:pt x="0" y="39482"/>
                    </a:cubicBezTo>
                    <a:cubicBezTo>
                      <a:pt x="0" y="17695"/>
                      <a:pt x="17695" y="0"/>
                      <a:pt x="39482" y="0"/>
                    </a:cubicBezTo>
                    <a:cubicBezTo>
                      <a:pt x="61268" y="0"/>
                      <a:pt x="78964" y="17695"/>
                      <a:pt x="78964" y="39482"/>
                    </a:cubicBezTo>
                    <a:cubicBezTo>
                      <a:pt x="78964" y="61268"/>
                      <a:pt x="61242" y="78964"/>
                      <a:pt x="39482" y="78964"/>
                    </a:cubicBezTo>
                    <a:close/>
                    <a:moveTo>
                      <a:pt x="39482" y="13187"/>
                    </a:moveTo>
                    <a:cubicBezTo>
                      <a:pt x="24966" y="13187"/>
                      <a:pt x="13161" y="24992"/>
                      <a:pt x="13161" y="39508"/>
                    </a:cubicBezTo>
                    <a:cubicBezTo>
                      <a:pt x="13161" y="54024"/>
                      <a:pt x="24966" y="65829"/>
                      <a:pt x="39482" y="65829"/>
                    </a:cubicBezTo>
                    <a:cubicBezTo>
                      <a:pt x="53998" y="65829"/>
                      <a:pt x="65803" y="54024"/>
                      <a:pt x="65803" y="39508"/>
                    </a:cubicBezTo>
                    <a:cubicBezTo>
                      <a:pt x="65803" y="24992"/>
                      <a:pt x="53998" y="13187"/>
                      <a:pt x="39482" y="13187"/>
                    </a:cubicBezTo>
                    <a:close/>
                  </a:path>
                </a:pathLst>
              </a:custGeom>
              <a:solidFill>
                <a:schemeClr val="tx2"/>
              </a:solidFill>
              <a:ln w="2604" cap="flat">
                <a:noFill/>
                <a:prstDash val="solid"/>
                <a:miter/>
              </a:ln>
            </p:spPr>
            <p:txBody>
              <a:bodyPr rtlCol="0" anchor="ctr"/>
              <a:lstStyle/>
              <a:p>
                <a:endParaRPr lang="en-GB" dirty="0"/>
              </a:p>
            </p:txBody>
          </p:sp>
          <p:sp>
            <p:nvSpPr>
              <p:cNvPr id="75" name="Freihandform: Form 304">
                <a:extLst>
                  <a:ext uri="{FF2B5EF4-FFF2-40B4-BE49-F238E27FC236}">
                    <a16:creationId xmlns:a16="http://schemas.microsoft.com/office/drawing/2014/main" id="{06B57C52-264B-4B59-9717-85C544FDB6DC}"/>
                  </a:ext>
                </a:extLst>
              </p:cNvPr>
              <p:cNvSpPr/>
              <p:nvPr/>
            </p:nvSpPr>
            <p:spPr>
              <a:xfrm>
                <a:off x="3477671" y="1909723"/>
                <a:ext cx="388120" cy="171009"/>
              </a:xfrm>
              <a:custGeom>
                <a:avLst/>
                <a:gdLst>
                  <a:gd name="connsiteX0" fmla="*/ 381579 w 388120"/>
                  <a:gd name="connsiteY0" fmla="*/ 170957 h 171009"/>
                  <a:gd name="connsiteX1" fmla="*/ 322369 w 388120"/>
                  <a:gd name="connsiteY1" fmla="*/ 170957 h 171009"/>
                  <a:gd name="connsiteX2" fmla="*/ 322369 w 388120"/>
                  <a:gd name="connsiteY2" fmla="*/ 157797 h 171009"/>
                  <a:gd name="connsiteX3" fmla="*/ 374986 w 388120"/>
                  <a:gd name="connsiteY3" fmla="*/ 157797 h 171009"/>
                  <a:gd name="connsiteX4" fmla="*/ 374986 w 388120"/>
                  <a:gd name="connsiteY4" fmla="*/ 118445 h 171009"/>
                  <a:gd name="connsiteX5" fmla="*/ 360678 w 388120"/>
                  <a:gd name="connsiteY5" fmla="*/ 99473 h 171009"/>
                  <a:gd name="connsiteX6" fmla="*/ 333705 w 388120"/>
                  <a:gd name="connsiteY6" fmla="*/ 91785 h 171009"/>
                  <a:gd name="connsiteX7" fmla="*/ 330240 w 388120"/>
                  <a:gd name="connsiteY7" fmla="*/ 89414 h 171009"/>
                  <a:gd name="connsiteX8" fmla="*/ 288204 w 388120"/>
                  <a:gd name="connsiteY8" fmla="*/ 33358 h 171009"/>
                  <a:gd name="connsiteX9" fmla="*/ 247679 w 388120"/>
                  <a:gd name="connsiteY9" fmla="*/ 13108 h 171009"/>
                  <a:gd name="connsiteX10" fmla="*/ 47508 w 388120"/>
                  <a:gd name="connsiteY10" fmla="*/ 13108 h 171009"/>
                  <a:gd name="connsiteX11" fmla="*/ 34973 w 388120"/>
                  <a:gd name="connsiteY11" fmla="*/ 22438 h 171009"/>
                  <a:gd name="connsiteX12" fmla="*/ 19441 w 388120"/>
                  <a:gd name="connsiteY12" fmla="*/ 74221 h 171009"/>
                  <a:gd name="connsiteX13" fmla="*/ 13134 w 388120"/>
                  <a:gd name="connsiteY13" fmla="*/ 93141 h 171009"/>
                  <a:gd name="connsiteX14" fmla="*/ 13134 w 388120"/>
                  <a:gd name="connsiteY14" fmla="*/ 157849 h 171009"/>
                  <a:gd name="connsiteX15" fmla="*/ 39456 w 388120"/>
                  <a:gd name="connsiteY15" fmla="*/ 157849 h 171009"/>
                  <a:gd name="connsiteX16" fmla="*/ 39456 w 388120"/>
                  <a:gd name="connsiteY16" fmla="*/ 171009 h 171009"/>
                  <a:gd name="connsiteX17" fmla="*/ 6567 w 388120"/>
                  <a:gd name="connsiteY17" fmla="*/ 171009 h 171009"/>
                  <a:gd name="connsiteX18" fmla="*/ 0 w 388120"/>
                  <a:gd name="connsiteY18" fmla="*/ 164442 h 171009"/>
                  <a:gd name="connsiteX19" fmla="*/ 0 w 388120"/>
                  <a:gd name="connsiteY19" fmla="*/ 92072 h 171009"/>
                  <a:gd name="connsiteX20" fmla="*/ 339 w 388120"/>
                  <a:gd name="connsiteY20" fmla="*/ 89987 h 171009"/>
                  <a:gd name="connsiteX21" fmla="*/ 6906 w 388120"/>
                  <a:gd name="connsiteY21" fmla="*/ 70259 h 171009"/>
                  <a:gd name="connsiteX22" fmla="*/ 22386 w 388120"/>
                  <a:gd name="connsiteY22" fmla="*/ 18685 h 171009"/>
                  <a:gd name="connsiteX23" fmla="*/ 47508 w 388120"/>
                  <a:gd name="connsiteY23" fmla="*/ 0 h 171009"/>
                  <a:gd name="connsiteX24" fmla="*/ 247679 w 388120"/>
                  <a:gd name="connsiteY24" fmla="*/ 0 h 171009"/>
                  <a:gd name="connsiteX25" fmla="*/ 298706 w 388120"/>
                  <a:gd name="connsiteY25" fmla="*/ 25513 h 171009"/>
                  <a:gd name="connsiteX26" fmla="*/ 339413 w 388120"/>
                  <a:gd name="connsiteY26" fmla="*/ 79797 h 171009"/>
                  <a:gd name="connsiteX27" fmla="*/ 364249 w 388120"/>
                  <a:gd name="connsiteY27" fmla="*/ 86886 h 171009"/>
                  <a:gd name="connsiteX28" fmla="*/ 388120 w 388120"/>
                  <a:gd name="connsiteY28" fmla="*/ 118523 h 171009"/>
                  <a:gd name="connsiteX29" fmla="*/ 388120 w 388120"/>
                  <a:gd name="connsiteY29" fmla="*/ 164468 h 171009"/>
                  <a:gd name="connsiteX30" fmla="*/ 381579 w 388120"/>
                  <a:gd name="connsiteY30" fmla="*/ 170957 h 17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88120" h="171009">
                    <a:moveTo>
                      <a:pt x="381579" y="170957"/>
                    </a:moveTo>
                    <a:lnTo>
                      <a:pt x="322369" y="170957"/>
                    </a:lnTo>
                    <a:lnTo>
                      <a:pt x="322369" y="157797"/>
                    </a:lnTo>
                    <a:lnTo>
                      <a:pt x="374986" y="157797"/>
                    </a:lnTo>
                    <a:lnTo>
                      <a:pt x="374986" y="118445"/>
                    </a:lnTo>
                    <a:cubicBezTo>
                      <a:pt x="374986" y="109689"/>
                      <a:pt x="369096" y="101871"/>
                      <a:pt x="360678" y="99473"/>
                    </a:cubicBezTo>
                    <a:lnTo>
                      <a:pt x="333705" y="91785"/>
                    </a:lnTo>
                    <a:cubicBezTo>
                      <a:pt x="332325" y="91394"/>
                      <a:pt x="331099" y="90560"/>
                      <a:pt x="330240" y="89414"/>
                    </a:cubicBezTo>
                    <a:lnTo>
                      <a:pt x="288204" y="33358"/>
                    </a:lnTo>
                    <a:cubicBezTo>
                      <a:pt x="278692" y="20666"/>
                      <a:pt x="263551" y="13108"/>
                      <a:pt x="247679" y="13108"/>
                    </a:cubicBezTo>
                    <a:lnTo>
                      <a:pt x="47508" y="13108"/>
                    </a:lnTo>
                    <a:cubicBezTo>
                      <a:pt x="41697" y="13108"/>
                      <a:pt x="36641" y="16861"/>
                      <a:pt x="34973" y="22438"/>
                    </a:cubicBezTo>
                    <a:lnTo>
                      <a:pt x="19441" y="74221"/>
                    </a:lnTo>
                    <a:lnTo>
                      <a:pt x="13134" y="93141"/>
                    </a:lnTo>
                    <a:lnTo>
                      <a:pt x="13134" y="157849"/>
                    </a:lnTo>
                    <a:lnTo>
                      <a:pt x="39456" y="157849"/>
                    </a:lnTo>
                    <a:lnTo>
                      <a:pt x="39456" y="171009"/>
                    </a:lnTo>
                    <a:lnTo>
                      <a:pt x="6567" y="171009"/>
                    </a:lnTo>
                    <a:cubicBezTo>
                      <a:pt x="2919" y="171009"/>
                      <a:pt x="0" y="168065"/>
                      <a:pt x="0" y="164442"/>
                    </a:cubicBezTo>
                    <a:lnTo>
                      <a:pt x="0" y="92072"/>
                    </a:lnTo>
                    <a:cubicBezTo>
                      <a:pt x="0" y="91368"/>
                      <a:pt x="104" y="90665"/>
                      <a:pt x="339" y="89987"/>
                    </a:cubicBezTo>
                    <a:lnTo>
                      <a:pt x="6906" y="70259"/>
                    </a:lnTo>
                    <a:lnTo>
                      <a:pt x="22386" y="18685"/>
                    </a:lnTo>
                    <a:cubicBezTo>
                      <a:pt x="25748" y="7505"/>
                      <a:pt x="35833" y="0"/>
                      <a:pt x="47508" y="0"/>
                    </a:cubicBezTo>
                    <a:lnTo>
                      <a:pt x="247679" y="0"/>
                    </a:lnTo>
                    <a:cubicBezTo>
                      <a:pt x="267642" y="0"/>
                      <a:pt x="286745" y="9538"/>
                      <a:pt x="298706" y="25513"/>
                    </a:cubicBezTo>
                    <a:lnTo>
                      <a:pt x="339413" y="79797"/>
                    </a:lnTo>
                    <a:lnTo>
                      <a:pt x="364249" y="86886"/>
                    </a:lnTo>
                    <a:cubicBezTo>
                      <a:pt x="378295" y="90899"/>
                      <a:pt x="388120" y="103903"/>
                      <a:pt x="388120" y="118523"/>
                    </a:cubicBezTo>
                    <a:lnTo>
                      <a:pt x="388120" y="164468"/>
                    </a:lnTo>
                    <a:cubicBezTo>
                      <a:pt x="388146" y="168013"/>
                      <a:pt x="385201" y="170957"/>
                      <a:pt x="381579" y="170957"/>
                    </a:cubicBezTo>
                    <a:close/>
                  </a:path>
                </a:pathLst>
              </a:custGeom>
              <a:solidFill>
                <a:schemeClr val="tx2"/>
              </a:solidFill>
              <a:ln w="2604" cap="flat">
                <a:noFill/>
                <a:prstDash val="solid"/>
                <a:miter/>
              </a:ln>
            </p:spPr>
            <p:txBody>
              <a:bodyPr rtlCol="0" anchor="ctr"/>
              <a:lstStyle/>
              <a:p>
                <a:endParaRPr lang="en-GB" dirty="0"/>
              </a:p>
            </p:txBody>
          </p:sp>
          <p:sp>
            <p:nvSpPr>
              <p:cNvPr id="76" name="Freihandform: Form 305">
                <a:extLst>
                  <a:ext uri="{FF2B5EF4-FFF2-40B4-BE49-F238E27FC236}">
                    <a16:creationId xmlns:a16="http://schemas.microsoft.com/office/drawing/2014/main" id="{7DBA8067-008C-4E06-B901-B0A33623F7D2}"/>
                  </a:ext>
                </a:extLst>
              </p:cNvPr>
              <p:cNvSpPr/>
              <p:nvPr/>
            </p:nvSpPr>
            <p:spPr>
              <a:xfrm>
                <a:off x="3602683" y="2067520"/>
                <a:ext cx="111825" cy="13160"/>
              </a:xfrm>
              <a:custGeom>
                <a:avLst/>
                <a:gdLst>
                  <a:gd name="connsiteX0" fmla="*/ 0 w 111825"/>
                  <a:gd name="connsiteY0" fmla="*/ 0 h 13160"/>
                  <a:gd name="connsiteX1" fmla="*/ 111826 w 111825"/>
                  <a:gd name="connsiteY1" fmla="*/ 0 h 13160"/>
                  <a:gd name="connsiteX2" fmla="*/ 111826 w 111825"/>
                  <a:gd name="connsiteY2" fmla="*/ 13161 h 13160"/>
                  <a:gd name="connsiteX3" fmla="*/ 0 w 111825"/>
                  <a:gd name="connsiteY3" fmla="*/ 13161 h 13160"/>
                </a:gdLst>
                <a:ahLst/>
                <a:cxnLst>
                  <a:cxn ang="0">
                    <a:pos x="connsiteX0" y="connsiteY0"/>
                  </a:cxn>
                  <a:cxn ang="0">
                    <a:pos x="connsiteX1" y="connsiteY1"/>
                  </a:cxn>
                  <a:cxn ang="0">
                    <a:pos x="connsiteX2" y="connsiteY2"/>
                  </a:cxn>
                  <a:cxn ang="0">
                    <a:pos x="connsiteX3" y="connsiteY3"/>
                  </a:cxn>
                </a:cxnLst>
                <a:rect l="l" t="t" r="r" b="b"/>
                <a:pathLst>
                  <a:path w="111825" h="13160">
                    <a:moveTo>
                      <a:pt x="0" y="0"/>
                    </a:moveTo>
                    <a:lnTo>
                      <a:pt x="111826" y="0"/>
                    </a:lnTo>
                    <a:lnTo>
                      <a:pt x="111826"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77" name="Freihandform: Form 306">
                <a:extLst>
                  <a:ext uri="{FF2B5EF4-FFF2-40B4-BE49-F238E27FC236}">
                    <a16:creationId xmlns:a16="http://schemas.microsoft.com/office/drawing/2014/main" id="{1E2E950D-31B8-40DE-9F60-E1CBA777CF91}"/>
                  </a:ext>
                </a:extLst>
              </p:cNvPr>
              <p:cNvSpPr/>
              <p:nvPr/>
            </p:nvSpPr>
            <p:spPr>
              <a:xfrm>
                <a:off x="3707942" y="1916238"/>
                <a:ext cx="105258" cy="85504"/>
              </a:xfrm>
              <a:custGeom>
                <a:avLst/>
                <a:gdLst>
                  <a:gd name="connsiteX0" fmla="*/ 105259 w 105258"/>
                  <a:gd name="connsiteY0" fmla="*/ 85505 h 85504"/>
                  <a:gd name="connsiteX1" fmla="*/ 6567 w 105258"/>
                  <a:gd name="connsiteY1" fmla="*/ 85505 h 85504"/>
                  <a:gd name="connsiteX2" fmla="*/ 0 w 105258"/>
                  <a:gd name="connsiteY2" fmla="*/ 78937 h 85504"/>
                  <a:gd name="connsiteX3" fmla="*/ 0 w 105258"/>
                  <a:gd name="connsiteY3" fmla="*/ 0 h 85504"/>
                  <a:gd name="connsiteX4" fmla="*/ 13160 w 105258"/>
                  <a:gd name="connsiteY4" fmla="*/ 0 h 85504"/>
                  <a:gd name="connsiteX5" fmla="*/ 13160 w 105258"/>
                  <a:gd name="connsiteY5" fmla="*/ 72370 h 85504"/>
                  <a:gd name="connsiteX6" fmla="*/ 105259 w 105258"/>
                  <a:gd name="connsiteY6" fmla="*/ 72370 h 85504"/>
                  <a:gd name="connsiteX7" fmla="*/ 105259 w 105258"/>
                  <a:gd name="connsiteY7" fmla="*/ 85505 h 85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258" h="85504">
                    <a:moveTo>
                      <a:pt x="105259" y="85505"/>
                    </a:moveTo>
                    <a:lnTo>
                      <a:pt x="6567" y="85505"/>
                    </a:lnTo>
                    <a:cubicBezTo>
                      <a:pt x="2919" y="85505"/>
                      <a:pt x="0" y="82560"/>
                      <a:pt x="0" y="78937"/>
                    </a:cubicBezTo>
                    <a:lnTo>
                      <a:pt x="0" y="0"/>
                    </a:lnTo>
                    <a:lnTo>
                      <a:pt x="13160" y="0"/>
                    </a:lnTo>
                    <a:lnTo>
                      <a:pt x="13160" y="72370"/>
                    </a:lnTo>
                    <a:lnTo>
                      <a:pt x="105259" y="72370"/>
                    </a:lnTo>
                    <a:lnTo>
                      <a:pt x="105259" y="85505"/>
                    </a:lnTo>
                    <a:close/>
                  </a:path>
                </a:pathLst>
              </a:custGeom>
              <a:solidFill>
                <a:schemeClr val="tx2"/>
              </a:solidFill>
              <a:ln w="2604" cap="flat">
                <a:noFill/>
                <a:prstDash val="solid"/>
                <a:miter/>
              </a:ln>
            </p:spPr>
            <p:txBody>
              <a:bodyPr rtlCol="0" anchor="ctr"/>
              <a:lstStyle/>
              <a:p>
                <a:endParaRPr lang="en-GB" dirty="0"/>
              </a:p>
            </p:txBody>
          </p:sp>
          <p:sp>
            <p:nvSpPr>
              <p:cNvPr id="78" name="Freihandform: Form 307">
                <a:extLst>
                  <a:ext uri="{FF2B5EF4-FFF2-40B4-BE49-F238E27FC236}">
                    <a16:creationId xmlns:a16="http://schemas.microsoft.com/office/drawing/2014/main" id="{C5A54EFE-FF51-4A9B-A6E6-1CD049D723A9}"/>
                  </a:ext>
                </a:extLst>
              </p:cNvPr>
              <p:cNvSpPr/>
              <p:nvPr/>
            </p:nvSpPr>
            <p:spPr>
              <a:xfrm>
                <a:off x="3517153" y="1988582"/>
                <a:ext cx="203949" cy="13160"/>
              </a:xfrm>
              <a:custGeom>
                <a:avLst/>
                <a:gdLst>
                  <a:gd name="connsiteX0" fmla="*/ 203950 w 203949"/>
                  <a:gd name="connsiteY0" fmla="*/ 13161 h 13160"/>
                  <a:gd name="connsiteX1" fmla="*/ 0 w 203949"/>
                  <a:gd name="connsiteY1" fmla="*/ 13161 h 13160"/>
                  <a:gd name="connsiteX2" fmla="*/ 6593 w 203949"/>
                  <a:gd name="connsiteY2" fmla="*/ 0 h 13160"/>
                  <a:gd name="connsiteX3" fmla="*/ 203950 w 203949"/>
                  <a:gd name="connsiteY3" fmla="*/ 0 h 13160"/>
                </a:gdLst>
                <a:ahLst/>
                <a:cxnLst>
                  <a:cxn ang="0">
                    <a:pos x="connsiteX0" y="connsiteY0"/>
                  </a:cxn>
                  <a:cxn ang="0">
                    <a:pos x="connsiteX1" y="connsiteY1"/>
                  </a:cxn>
                  <a:cxn ang="0">
                    <a:pos x="connsiteX2" y="connsiteY2"/>
                  </a:cxn>
                  <a:cxn ang="0">
                    <a:pos x="connsiteX3" y="connsiteY3"/>
                  </a:cxn>
                </a:cxnLst>
                <a:rect l="l" t="t" r="r" b="b"/>
                <a:pathLst>
                  <a:path w="203949" h="13160">
                    <a:moveTo>
                      <a:pt x="203950" y="13161"/>
                    </a:moveTo>
                    <a:lnTo>
                      <a:pt x="0" y="13161"/>
                    </a:lnTo>
                    <a:lnTo>
                      <a:pt x="6593" y="0"/>
                    </a:lnTo>
                    <a:lnTo>
                      <a:pt x="203950" y="0"/>
                    </a:lnTo>
                    <a:close/>
                  </a:path>
                </a:pathLst>
              </a:custGeom>
              <a:solidFill>
                <a:schemeClr val="tx2"/>
              </a:solidFill>
              <a:ln w="2604" cap="flat">
                <a:noFill/>
                <a:prstDash val="solid"/>
                <a:miter/>
              </a:ln>
            </p:spPr>
            <p:txBody>
              <a:bodyPr rtlCol="0" anchor="ctr"/>
              <a:lstStyle/>
              <a:p>
                <a:endParaRPr lang="en-GB" dirty="0"/>
              </a:p>
            </p:txBody>
          </p:sp>
          <p:sp>
            <p:nvSpPr>
              <p:cNvPr id="79" name="Freihandform: Form 308">
                <a:extLst>
                  <a:ext uri="{FF2B5EF4-FFF2-40B4-BE49-F238E27FC236}">
                    <a16:creationId xmlns:a16="http://schemas.microsoft.com/office/drawing/2014/main" id="{2647EAE0-8515-40F1-B2E9-D8ED36CD195B}"/>
                  </a:ext>
                </a:extLst>
              </p:cNvPr>
              <p:cNvSpPr/>
              <p:nvPr/>
            </p:nvSpPr>
            <p:spPr>
              <a:xfrm>
                <a:off x="3589523" y="1916212"/>
                <a:ext cx="13160" cy="111851"/>
              </a:xfrm>
              <a:custGeom>
                <a:avLst/>
                <a:gdLst>
                  <a:gd name="connsiteX0" fmla="*/ 13161 w 13160"/>
                  <a:gd name="connsiteY0" fmla="*/ 111852 h 111851"/>
                  <a:gd name="connsiteX1" fmla="*/ 0 w 13160"/>
                  <a:gd name="connsiteY1" fmla="*/ 105259 h 111851"/>
                  <a:gd name="connsiteX2" fmla="*/ 0 w 13160"/>
                  <a:gd name="connsiteY2" fmla="*/ 0 h 111851"/>
                  <a:gd name="connsiteX3" fmla="*/ 13161 w 13160"/>
                  <a:gd name="connsiteY3" fmla="*/ 0 h 111851"/>
                </a:gdLst>
                <a:ahLst/>
                <a:cxnLst>
                  <a:cxn ang="0">
                    <a:pos x="connsiteX0" y="connsiteY0"/>
                  </a:cxn>
                  <a:cxn ang="0">
                    <a:pos x="connsiteX1" y="connsiteY1"/>
                  </a:cxn>
                  <a:cxn ang="0">
                    <a:pos x="connsiteX2" y="connsiteY2"/>
                  </a:cxn>
                  <a:cxn ang="0">
                    <a:pos x="connsiteX3" y="connsiteY3"/>
                  </a:cxn>
                </a:cxnLst>
                <a:rect l="l" t="t" r="r" b="b"/>
                <a:pathLst>
                  <a:path w="13160" h="111851">
                    <a:moveTo>
                      <a:pt x="13161" y="111852"/>
                    </a:moveTo>
                    <a:lnTo>
                      <a:pt x="0" y="105259"/>
                    </a:lnTo>
                    <a:lnTo>
                      <a:pt x="0" y="0"/>
                    </a:lnTo>
                    <a:lnTo>
                      <a:pt x="13161" y="0"/>
                    </a:lnTo>
                    <a:close/>
                  </a:path>
                </a:pathLst>
              </a:custGeom>
              <a:solidFill>
                <a:schemeClr val="tx2"/>
              </a:solidFill>
              <a:ln w="2604" cap="flat">
                <a:noFill/>
                <a:prstDash val="solid"/>
                <a:miter/>
              </a:ln>
            </p:spPr>
            <p:txBody>
              <a:bodyPr rtlCol="0" anchor="ctr"/>
              <a:lstStyle/>
              <a:p>
                <a:endParaRPr lang="en-GB" dirty="0"/>
              </a:p>
            </p:txBody>
          </p:sp>
          <p:sp>
            <p:nvSpPr>
              <p:cNvPr id="80" name="Freihandform: Form 309">
                <a:extLst>
                  <a:ext uri="{FF2B5EF4-FFF2-40B4-BE49-F238E27FC236}">
                    <a16:creationId xmlns:a16="http://schemas.microsoft.com/office/drawing/2014/main" id="{50C56A93-D3E5-4F82-AEC7-5B8116742546}"/>
                  </a:ext>
                </a:extLst>
              </p:cNvPr>
              <p:cNvSpPr/>
              <p:nvPr/>
            </p:nvSpPr>
            <p:spPr>
              <a:xfrm>
                <a:off x="3826361" y="2034632"/>
                <a:ext cx="13160" cy="13160"/>
              </a:xfrm>
              <a:custGeom>
                <a:avLst/>
                <a:gdLst>
                  <a:gd name="connsiteX0" fmla="*/ 0 w 13160"/>
                  <a:gd name="connsiteY0" fmla="*/ 0 h 13160"/>
                  <a:gd name="connsiteX1" fmla="*/ 13161 w 13160"/>
                  <a:gd name="connsiteY1" fmla="*/ 0 h 13160"/>
                  <a:gd name="connsiteX2" fmla="*/ 13161 w 13160"/>
                  <a:gd name="connsiteY2" fmla="*/ 13161 h 13160"/>
                  <a:gd name="connsiteX3" fmla="*/ 0 w 13160"/>
                  <a:gd name="connsiteY3" fmla="*/ 13161 h 13160"/>
                </a:gdLst>
                <a:ahLst/>
                <a:cxnLst>
                  <a:cxn ang="0">
                    <a:pos x="connsiteX0" y="connsiteY0"/>
                  </a:cxn>
                  <a:cxn ang="0">
                    <a:pos x="connsiteX1" y="connsiteY1"/>
                  </a:cxn>
                  <a:cxn ang="0">
                    <a:pos x="connsiteX2" y="connsiteY2"/>
                  </a:cxn>
                  <a:cxn ang="0">
                    <a:pos x="connsiteX3" y="connsiteY3"/>
                  </a:cxn>
                </a:cxnLst>
                <a:rect l="l" t="t" r="r" b="b"/>
                <a:pathLst>
                  <a:path w="13160" h="13160">
                    <a:moveTo>
                      <a:pt x="0" y="0"/>
                    </a:moveTo>
                    <a:lnTo>
                      <a:pt x="13161" y="0"/>
                    </a:lnTo>
                    <a:lnTo>
                      <a:pt x="13161" y="13161"/>
                    </a:lnTo>
                    <a:lnTo>
                      <a:pt x="0" y="13161"/>
                    </a:lnTo>
                    <a:close/>
                  </a:path>
                </a:pathLst>
              </a:custGeom>
              <a:solidFill>
                <a:schemeClr val="tx2"/>
              </a:solidFill>
              <a:ln w="2604" cap="flat">
                <a:noFill/>
                <a:prstDash val="solid"/>
                <a:miter/>
              </a:ln>
            </p:spPr>
            <p:txBody>
              <a:bodyPr rtlCol="0" anchor="ctr"/>
              <a:lstStyle/>
              <a:p>
                <a:endParaRPr lang="en-GB" dirty="0"/>
              </a:p>
            </p:txBody>
          </p:sp>
        </p:grpSp>
        <p:grpSp>
          <p:nvGrpSpPr>
            <p:cNvPr id="68" name="Group 67">
              <a:extLst>
                <a:ext uri="{FF2B5EF4-FFF2-40B4-BE49-F238E27FC236}">
                  <a16:creationId xmlns:a16="http://schemas.microsoft.com/office/drawing/2014/main" id="{44229FE7-9CE0-4858-8E10-8092AE5C974E}"/>
                </a:ext>
              </a:extLst>
            </p:cNvPr>
            <p:cNvGrpSpPr/>
            <p:nvPr/>
          </p:nvGrpSpPr>
          <p:grpSpPr>
            <a:xfrm>
              <a:off x="2560918" y="1613733"/>
              <a:ext cx="87525" cy="131305"/>
              <a:chOff x="3379005" y="1830734"/>
              <a:chExt cx="65750" cy="98638"/>
            </a:xfrm>
          </p:grpSpPr>
          <p:sp>
            <p:nvSpPr>
              <p:cNvPr id="69" name="Freihandform: Form 298">
                <a:extLst>
                  <a:ext uri="{FF2B5EF4-FFF2-40B4-BE49-F238E27FC236}">
                    <a16:creationId xmlns:a16="http://schemas.microsoft.com/office/drawing/2014/main" id="{90FB4340-D502-4451-A646-8AC3F2B1E21D}"/>
                  </a:ext>
                </a:extLst>
              </p:cNvPr>
              <p:cNvSpPr/>
              <p:nvPr/>
            </p:nvSpPr>
            <p:spPr>
              <a:xfrm>
                <a:off x="3379005" y="1863596"/>
                <a:ext cx="65750" cy="65776"/>
              </a:xfrm>
              <a:custGeom>
                <a:avLst/>
                <a:gdLst>
                  <a:gd name="connsiteX0" fmla="*/ 34530 w 65750"/>
                  <a:gd name="connsiteY0" fmla="*/ 65777 h 65776"/>
                  <a:gd name="connsiteX1" fmla="*/ 31273 w 65750"/>
                  <a:gd name="connsiteY1" fmla="*/ 65777 h 65776"/>
                  <a:gd name="connsiteX2" fmla="*/ 0 w 65750"/>
                  <a:gd name="connsiteY2" fmla="*/ 34504 h 65776"/>
                  <a:gd name="connsiteX3" fmla="*/ 0 w 65750"/>
                  <a:gd name="connsiteY3" fmla="*/ 6567 h 65776"/>
                  <a:gd name="connsiteX4" fmla="*/ 6567 w 65750"/>
                  <a:gd name="connsiteY4" fmla="*/ 0 h 65776"/>
                  <a:gd name="connsiteX5" fmla="*/ 59184 w 65750"/>
                  <a:gd name="connsiteY5" fmla="*/ 0 h 65776"/>
                  <a:gd name="connsiteX6" fmla="*/ 65751 w 65750"/>
                  <a:gd name="connsiteY6" fmla="*/ 6567 h 65776"/>
                  <a:gd name="connsiteX7" fmla="*/ 65751 w 65750"/>
                  <a:gd name="connsiteY7" fmla="*/ 34504 h 65776"/>
                  <a:gd name="connsiteX8" fmla="*/ 34530 w 65750"/>
                  <a:gd name="connsiteY8" fmla="*/ 65777 h 65776"/>
                  <a:gd name="connsiteX9" fmla="*/ 13161 w 65750"/>
                  <a:gd name="connsiteY9" fmla="*/ 13161 h 65776"/>
                  <a:gd name="connsiteX10" fmla="*/ 13161 w 65750"/>
                  <a:gd name="connsiteY10" fmla="*/ 34530 h 65776"/>
                  <a:gd name="connsiteX11" fmla="*/ 31273 w 65750"/>
                  <a:gd name="connsiteY11" fmla="*/ 52642 h 65776"/>
                  <a:gd name="connsiteX12" fmla="*/ 34530 w 65750"/>
                  <a:gd name="connsiteY12" fmla="*/ 52642 h 65776"/>
                  <a:gd name="connsiteX13" fmla="*/ 52642 w 65750"/>
                  <a:gd name="connsiteY13" fmla="*/ 34530 h 65776"/>
                  <a:gd name="connsiteX14" fmla="*/ 52642 w 65750"/>
                  <a:gd name="connsiteY14" fmla="*/ 13161 h 65776"/>
                  <a:gd name="connsiteX15" fmla="*/ 13161 w 65750"/>
                  <a:gd name="connsiteY15" fmla="*/ 13161 h 65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750" h="65776">
                    <a:moveTo>
                      <a:pt x="34530" y="65777"/>
                    </a:moveTo>
                    <a:lnTo>
                      <a:pt x="31273" y="65777"/>
                    </a:lnTo>
                    <a:cubicBezTo>
                      <a:pt x="14047" y="65777"/>
                      <a:pt x="0" y="51756"/>
                      <a:pt x="0" y="34504"/>
                    </a:cubicBezTo>
                    <a:lnTo>
                      <a:pt x="0" y="6567"/>
                    </a:lnTo>
                    <a:cubicBezTo>
                      <a:pt x="0" y="2945"/>
                      <a:pt x="2945" y="0"/>
                      <a:pt x="6567" y="0"/>
                    </a:cubicBezTo>
                    <a:lnTo>
                      <a:pt x="59184" y="0"/>
                    </a:lnTo>
                    <a:cubicBezTo>
                      <a:pt x="62832" y="0"/>
                      <a:pt x="65751" y="2945"/>
                      <a:pt x="65751" y="6567"/>
                    </a:cubicBezTo>
                    <a:lnTo>
                      <a:pt x="65751" y="34504"/>
                    </a:lnTo>
                    <a:cubicBezTo>
                      <a:pt x="65777" y="51756"/>
                      <a:pt x="51756" y="65777"/>
                      <a:pt x="34530" y="65777"/>
                    </a:cubicBezTo>
                    <a:close/>
                    <a:moveTo>
                      <a:pt x="13161" y="13161"/>
                    </a:moveTo>
                    <a:lnTo>
                      <a:pt x="13161" y="34530"/>
                    </a:lnTo>
                    <a:cubicBezTo>
                      <a:pt x="13161" y="44511"/>
                      <a:pt x="21292" y="52642"/>
                      <a:pt x="31273" y="52642"/>
                    </a:cubicBezTo>
                    <a:lnTo>
                      <a:pt x="34530" y="52642"/>
                    </a:lnTo>
                    <a:cubicBezTo>
                      <a:pt x="44512" y="52642"/>
                      <a:pt x="52642" y="44511"/>
                      <a:pt x="52642" y="34530"/>
                    </a:cubicBezTo>
                    <a:lnTo>
                      <a:pt x="52642" y="13161"/>
                    </a:lnTo>
                    <a:lnTo>
                      <a:pt x="13161" y="13161"/>
                    </a:lnTo>
                    <a:close/>
                  </a:path>
                </a:pathLst>
              </a:custGeom>
              <a:solidFill>
                <a:schemeClr val="accent1"/>
              </a:solidFill>
              <a:ln w="2604" cap="flat">
                <a:noFill/>
                <a:prstDash val="solid"/>
                <a:miter/>
              </a:ln>
            </p:spPr>
            <p:txBody>
              <a:bodyPr rtlCol="0" anchor="ctr"/>
              <a:lstStyle/>
              <a:p>
                <a:endParaRPr lang="en-GB" dirty="0"/>
              </a:p>
            </p:txBody>
          </p:sp>
          <p:sp>
            <p:nvSpPr>
              <p:cNvPr id="70" name="Freihandform: Form 299">
                <a:extLst>
                  <a:ext uri="{FF2B5EF4-FFF2-40B4-BE49-F238E27FC236}">
                    <a16:creationId xmlns:a16="http://schemas.microsoft.com/office/drawing/2014/main" id="{B1A810D8-FC2D-44D5-9C3D-B7D2A4B137E1}"/>
                  </a:ext>
                </a:extLst>
              </p:cNvPr>
              <p:cNvSpPr/>
              <p:nvPr/>
            </p:nvSpPr>
            <p:spPr>
              <a:xfrm>
                <a:off x="3385599" y="1830734"/>
                <a:ext cx="13134" cy="46022"/>
              </a:xfrm>
              <a:custGeom>
                <a:avLst/>
                <a:gdLst>
                  <a:gd name="connsiteX0" fmla="*/ 6567 w 13134"/>
                  <a:gd name="connsiteY0" fmla="*/ 46023 h 46022"/>
                  <a:gd name="connsiteX1" fmla="*/ 6567 w 13134"/>
                  <a:gd name="connsiteY1" fmla="*/ 46023 h 46022"/>
                  <a:gd name="connsiteX2" fmla="*/ 0 w 13134"/>
                  <a:gd name="connsiteY2" fmla="*/ 39456 h 46022"/>
                  <a:gd name="connsiteX3" fmla="*/ 0 w 13134"/>
                  <a:gd name="connsiteY3" fmla="*/ 6567 h 46022"/>
                  <a:gd name="connsiteX4" fmla="*/ 6567 w 13134"/>
                  <a:gd name="connsiteY4" fmla="*/ 0 h 46022"/>
                  <a:gd name="connsiteX5" fmla="*/ 6567 w 13134"/>
                  <a:gd name="connsiteY5" fmla="*/ 0 h 46022"/>
                  <a:gd name="connsiteX6" fmla="*/ 13134 w 13134"/>
                  <a:gd name="connsiteY6" fmla="*/ 6567 h 46022"/>
                  <a:gd name="connsiteX7" fmla="*/ 13134 w 13134"/>
                  <a:gd name="connsiteY7" fmla="*/ 39456 h 46022"/>
                  <a:gd name="connsiteX8" fmla="*/ 6567 w 13134"/>
                  <a:gd name="connsiteY8" fmla="*/ 46023 h 4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4" h="46022">
                    <a:moveTo>
                      <a:pt x="6567" y="46023"/>
                    </a:moveTo>
                    <a:lnTo>
                      <a:pt x="6567" y="46023"/>
                    </a:lnTo>
                    <a:cubicBezTo>
                      <a:pt x="2919" y="46023"/>
                      <a:pt x="0" y="43078"/>
                      <a:pt x="0" y="39456"/>
                    </a:cubicBezTo>
                    <a:lnTo>
                      <a:pt x="0" y="6567"/>
                    </a:lnTo>
                    <a:cubicBezTo>
                      <a:pt x="0" y="2945"/>
                      <a:pt x="2945" y="0"/>
                      <a:pt x="6567" y="0"/>
                    </a:cubicBezTo>
                    <a:lnTo>
                      <a:pt x="6567" y="0"/>
                    </a:lnTo>
                    <a:cubicBezTo>
                      <a:pt x="10216" y="0"/>
                      <a:pt x="13134" y="2945"/>
                      <a:pt x="13134" y="6567"/>
                    </a:cubicBezTo>
                    <a:lnTo>
                      <a:pt x="13134" y="39456"/>
                    </a:lnTo>
                    <a:cubicBezTo>
                      <a:pt x="13134" y="43078"/>
                      <a:pt x="10190" y="46023"/>
                      <a:pt x="6567" y="46023"/>
                    </a:cubicBezTo>
                    <a:close/>
                  </a:path>
                </a:pathLst>
              </a:custGeom>
              <a:solidFill>
                <a:schemeClr val="accent1"/>
              </a:solidFill>
              <a:ln w="2604" cap="flat">
                <a:noFill/>
                <a:prstDash val="solid"/>
                <a:miter/>
              </a:ln>
            </p:spPr>
            <p:txBody>
              <a:bodyPr rtlCol="0" anchor="ctr"/>
              <a:lstStyle/>
              <a:p>
                <a:endParaRPr lang="en-GB" dirty="0"/>
              </a:p>
            </p:txBody>
          </p:sp>
          <p:sp>
            <p:nvSpPr>
              <p:cNvPr id="71" name="Freihandform: Form 300">
                <a:extLst>
                  <a:ext uri="{FF2B5EF4-FFF2-40B4-BE49-F238E27FC236}">
                    <a16:creationId xmlns:a16="http://schemas.microsoft.com/office/drawing/2014/main" id="{C941ED6E-2681-421D-A305-A0CD83B9C5F5}"/>
                  </a:ext>
                </a:extLst>
              </p:cNvPr>
              <p:cNvSpPr/>
              <p:nvPr/>
            </p:nvSpPr>
            <p:spPr>
              <a:xfrm>
                <a:off x="3425080" y="1830734"/>
                <a:ext cx="13134" cy="46022"/>
              </a:xfrm>
              <a:custGeom>
                <a:avLst/>
                <a:gdLst>
                  <a:gd name="connsiteX0" fmla="*/ 6567 w 13134"/>
                  <a:gd name="connsiteY0" fmla="*/ 46023 h 46022"/>
                  <a:gd name="connsiteX1" fmla="*/ 6567 w 13134"/>
                  <a:gd name="connsiteY1" fmla="*/ 46023 h 46022"/>
                  <a:gd name="connsiteX2" fmla="*/ 0 w 13134"/>
                  <a:gd name="connsiteY2" fmla="*/ 39456 h 46022"/>
                  <a:gd name="connsiteX3" fmla="*/ 0 w 13134"/>
                  <a:gd name="connsiteY3" fmla="*/ 6567 h 46022"/>
                  <a:gd name="connsiteX4" fmla="*/ 6567 w 13134"/>
                  <a:gd name="connsiteY4" fmla="*/ 0 h 46022"/>
                  <a:gd name="connsiteX5" fmla="*/ 6567 w 13134"/>
                  <a:gd name="connsiteY5" fmla="*/ 0 h 46022"/>
                  <a:gd name="connsiteX6" fmla="*/ 13135 w 13134"/>
                  <a:gd name="connsiteY6" fmla="*/ 6567 h 46022"/>
                  <a:gd name="connsiteX7" fmla="*/ 13135 w 13134"/>
                  <a:gd name="connsiteY7" fmla="*/ 39456 h 46022"/>
                  <a:gd name="connsiteX8" fmla="*/ 6567 w 13134"/>
                  <a:gd name="connsiteY8" fmla="*/ 46023 h 4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34" h="46022">
                    <a:moveTo>
                      <a:pt x="6567" y="46023"/>
                    </a:moveTo>
                    <a:lnTo>
                      <a:pt x="6567" y="46023"/>
                    </a:lnTo>
                    <a:cubicBezTo>
                      <a:pt x="2919" y="46023"/>
                      <a:pt x="0" y="43078"/>
                      <a:pt x="0" y="39456"/>
                    </a:cubicBezTo>
                    <a:lnTo>
                      <a:pt x="0" y="6567"/>
                    </a:lnTo>
                    <a:cubicBezTo>
                      <a:pt x="0" y="2945"/>
                      <a:pt x="2945" y="0"/>
                      <a:pt x="6567" y="0"/>
                    </a:cubicBezTo>
                    <a:lnTo>
                      <a:pt x="6567" y="0"/>
                    </a:lnTo>
                    <a:cubicBezTo>
                      <a:pt x="10216" y="0"/>
                      <a:pt x="13135" y="2945"/>
                      <a:pt x="13135" y="6567"/>
                    </a:cubicBezTo>
                    <a:lnTo>
                      <a:pt x="13135" y="39456"/>
                    </a:lnTo>
                    <a:cubicBezTo>
                      <a:pt x="13135" y="43078"/>
                      <a:pt x="10190" y="46023"/>
                      <a:pt x="6567" y="46023"/>
                    </a:cubicBezTo>
                    <a:close/>
                  </a:path>
                </a:pathLst>
              </a:custGeom>
              <a:solidFill>
                <a:schemeClr val="accent1"/>
              </a:solidFill>
              <a:ln w="2604" cap="flat">
                <a:noFill/>
                <a:prstDash val="solid"/>
                <a:miter/>
              </a:ln>
            </p:spPr>
            <p:txBody>
              <a:bodyPr rtlCol="0" anchor="ctr"/>
              <a:lstStyle/>
              <a:p>
                <a:endParaRPr lang="en-GB" dirty="0"/>
              </a:p>
            </p:txBody>
          </p:sp>
        </p:grpSp>
      </p:grpSp>
      <p:grpSp>
        <p:nvGrpSpPr>
          <p:cNvPr id="7" name="Group 6">
            <a:extLst>
              <a:ext uri="{FF2B5EF4-FFF2-40B4-BE49-F238E27FC236}">
                <a16:creationId xmlns:a16="http://schemas.microsoft.com/office/drawing/2014/main" id="{13643972-6F7C-41B2-A298-894676EE15F2}"/>
              </a:ext>
            </a:extLst>
          </p:cNvPr>
          <p:cNvGrpSpPr/>
          <p:nvPr/>
        </p:nvGrpSpPr>
        <p:grpSpPr>
          <a:xfrm>
            <a:off x="1574475" y="1585984"/>
            <a:ext cx="530018" cy="432000"/>
            <a:chOff x="1574475" y="1585984"/>
            <a:chExt cx="530018" cy="432000"/>
          </a:xfrm>
        </p:grpSpPr>
        <p:grpSp>
          <p:nvGrpSpPr>
            <p:cNvPr id="82" name="Group 81">
              <a:extLst>
                <a:ext uri="{FF2B5EF4-FFF2-40B4-BE49-F238E27FC236}">
                  <a16:creationId xmlns:a16="http://schemas.microsoft.com/office/drawing/2014/main" id="{572CD444-18AE-4F63-BD3F-7CAE0FFB3A56}"/>
                </a:ext>
              </a:extLst>
            </p:cNvPr>
            <p:cNvGrpSpPr/>
            <p:nvPr/>
          </p:nvGrpSpPr>
          <p:grpSpPr>
            <a:xfrm>
              <a:off x="1574475" y="1710346"/>
              <a:ext cx="388498" cy="307638"/>
              <a:chOff x="2530362" y="1804386"/>
              <a:chExt cx="390448" cy="309183"/>
            </a:xfrm>
          </p:grpSpPr>
          <p:sp>
            <p:nvSpPr>
              <p:cNvPr id="92" name="Freihandform: Form 281">
                <a:extLst>
                  <a:ext uri="{FF2B5EF4-FFF2-40B4-BE49-F238E27FC236}">
                    <a16:creationId xmlns:a16="http://schemas.microsoft.com/office/drawing/2014/main" id="{7E0E8EE6-E9A4-4E6D-86CC-8AAD07A62912}"/>
                  </a:ext>
                </a:extLst>
              </p:cNvPr>
              <p:cNvSpPr/>
              <p:nvPr/>
            </p:nvSpPr>
            <p:spPr>
              <a:xfrm>
                <a:off x="2868189" y="1883115"/>
                <a:ext cx="52621" cy="230453"/>
              </a:xfrm>
              <a:custGeom>
                <a:avLst/>
                <a:gdLst>
                  <a:gd name="connsiteX0" fmla="*/ 46052 w 52621"/>
                  <a:gd name="connsiteY0" fmla="*/ 230454 h 230453"/>
                  <a:gd name="connsiteX1" fmla="*/ 6570 w 52621"/>
                  <a:gd name="connsiteY1" fmla="*/ 230454 h 230453"/>
                  <a:gd name="connsiteX2" fmla="*/ 1853 w 52621"/>
                  <a:gd name="connsiteY2" fmla="*/ 228447 h 230453"/>
                  <a:gd name="connsiteX3" fmla="*/ 3 w 52621"/>
                  <a:gd name="connsiteY3" fmla="*/ 223678 h 230453"/>
                  <a:gd name="connsiteX4" fmla="*/ 6570 w 52621"/>
                  <a:gd name="connsiteY4" fmla="*/ 0 h 230453"/>
                  <a:gd name="connsiteX5" fmla="*/ 19731 w 52621"/>
                  <a:gd name="connsiteY5" fmla="*/ 391 h 230453"/>
                  <a:gd name="connsiteX6" fmla="*/ 13346 w 52621"/>
                  <a:gd name="connsiteY6" fmla="*/ 217293 h 230453"/>
                  <a:gd name="connsiteX7" fmla="*/ 39250 w 52621"/>
                  <a:gd name="connsiteY7" fmla="*/ 217293 h 230453"/>
                  <a:gd name="connsiteX8" fmla="*/ 32865 w 52621"/>
                  <a:gd name="connsiteY8" fmla="*/ 391 h 230453"/>
                  <a:gd name="connsiteX9" fmla="*/ 46026 w 52621"/>
                  <a:gd name="connsiteY9" fmla="*/ 0 h 230453"/>
                  <a:gd name="connsiteX10" fmla="*/ 52619 w 52621"/>
                  <a:gd name="connsiteY10" fmla="*/ 223678 h 230453"/>
                  <a:gd name="connsiteX11" fmla="*/ 50769 w 52621"/>
                  <a:gd name="connsiteY11" fmla="*/ 228447 h 230453"/>
                  <a:gd name="connsiteX12" fmla="*/ 46052 w 52621"/>
                  <a:gd name="connsiteY12" fmla="*/ 230454 h 23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21" h="230453">
                    <a:moveTo>
                      <a:pt x="46052" y="230454"/>
                    </a:moveTo>
                    <a:lnTo>
                      <a:pt x="6570" y="230454"/>
                    </a:lnTo>
                    <a:cubicBezTo>
                      <a:pt x="4798" y="230454"/>
                      <a:pt x="3078" y="229724"/>
                      <a:pt x="1853" y="228447"/>
                    </a:cubicBezTo>
                    <a:cubicBezTo>
                      <a:pt x="628" y="227170"/>
                      <a:pt x="-49" y="225450"/>
                      <a:pt x="3" y="223678"/>
                    </a:cubicBezTo>
                    <a:lnTo>
                      <a:pt x="6570" y="0"/>
                    </a:lnTo>
                    <a:lnTo>
                      <a:pt x="19731" y="391"/>
                    </a:lnTo>
                    <a:lnTo>
                      <a:pt x="13346" y="217293"/>
                    </a:lnTo>
                    <a:lnTo>
                      <a:pt x="39250" y="217293"/>
                    </a:lnTo>
                    <a:lnTo>
                      <a:pt x="32865" y="391"/>
                    </a:lnTo>
                    <a:lnTo>
                      <a:pt x="46026" y="0"/>
                    </a:lnTo>
                    <a:lnTo>
                      <a:pt x="52619" y="223678"/>
                    </a:lnTo>
                    <a:cubicBezTo>
                      <a:pt x="52671" y="225450"/>
                      <a:pt x="51994" y="227170"/>
                      <a:pt x="50769" y="228447"/>
                    </a:cubicBezTo>
                    <a:cubicBezTo>
                      <a:pt x="49518" y="229750"/>
                      <a:pt x="47824" y="230454"/>
                      <a:pt x="46052" y="230454"/>
                    </a:cubicBezTo>
                    <a:close/>
                  </a:path>
                </a:pathLst>
              </a:custGeom>
              <a:solidFill>
                <a:schemeClr val="tx2"/>
              </a:solidFill>
              <a:ln w="2604" cap="flat">
                <a:noFill/>
                <a:prstDash val="solid"/>
                <a:miter/>
              </a:ln>
            </p:spPr>
            <p:txBody>
              <a:bodyPr rtlCol="0" anchor="ctr"/>
              <a:lstStyle/>
              <a:p>
                <a:endParaRPr lang="en-GB" dirty="0"/>
              </a:p>
            </p:txBody>
          </p:sp>
          <p:sp>
            <p:nvSpPr>
              <p:cNvPr id="93" name="Freihandform: Form 282">
                <a:extLst>
                  <a:ext uri="{FF2B5EF4-FFF2-40B4-BE49-F238E27FC236}">
                    <a16:creationId xmlns:a16="http://schemas.microsoft.com/office/drawing/2014/main" id="{9729AADB-86A0-4C8B-A8C9-96B8E972E39A}"/>
                  </a:ext>
                </a:extLst>
              </p:cNvPr>
              <p:cNvSpPr/>
              <p:nvPr/>
            </p:nvSpPr>
            <p:spPr>
              <a:xfrm>
                <a:off x="2868166" y="1843842"/>
                <a:ext cx="52642" cy="52642"/>
              </a:xfrm>
              <a:custGeom>
                <a:avLst/>
                <a:gdLst>
                  <a:gd name="connsiteX0" fmla="*/ 26321 w 52642"/>
                  <a:gd name="connsiteY0" fmla="*/ 52642 h 52642"/>
                  <a:gd name="connsiteX1" fmla="*/ 0 w 52642"/>
                  <a:gd name="connsiteY1" fmla="*/ 26321 h 52642"/>
                  <a:gd name="connsiteX2" fmla="*/ 26321 w 52642"/>
                  <a:gd name="connsiteY2" fmla="*/ 0 h 52642"/>
                  <a:gd name="connsiteX3" fmla="*/ 52642 w 52642"/>
                  <a:gd name="connsiteY3" fmla="*/ 26321 h 52642"/>
                  <a:gd name="connsiteX4" fmla="*/ 26321 w 52642"/>
                  <a:gd name="connsiteY4" fmla="*/ 52642 h 52642"/>
                  <a:gd name="connsiteX5" fmla="*/ 26321 w 52642"/>
                  <a:gd name="connsiteY5" fmla="*/ 13161 h 52642"/>
                  <a:gd name="connsiteX6" fmla="*/ 13161 w 52642"/>
                  <a:gd name="connsiteY6" fmla="*/ 26321 h 52642"/>
                  <a:gd name="connsiteX7" fmla="*/ 26321 w 52642"/>
                  <a:gd name="connsiteY7" fmla="*/ 39482 h 52642"/>
                  <a:gd name="connsiteX8" fmla="*/ 39482 w 52642"/>
                  <a:gd name="connsiteY8" fmla="*/ 26321 h 52642"/>
                  <a:gd name="connsiteX9" fmla="*/ 26321 w 52642"/>
                  <a:gd name="connsiteY9" fmla="*/ 13161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42" h="52642">
                    <a:moveTo>
                      <a:pt x="26321" y="52642"/>
                    </a:moveTo>
                    <a:cubicBezTo>
                      <a:pt x="11805" y="52642"/>
                      <a:pt x="0" y="40837"/>
                      <a:pt x="0" y="26321"/>
                    </a:cubicBezTo>
                    <a:cubicBezTo>
                      <a:pt x="0" y="11805"/>
                      <a:pt x="11805" y="0"/>
                      <a:pt x="26321" y="0"/>
                    </a:cubicBezTo>
                    <a:cubicBezTo>
                      <a:pt x="40837" y="0"/>
                      <a:pt x="52642" y="11805"/>
                      <a:pt x="52642" y="26321"/>
                    </a:cubicBezTo>
                    <a:cubicBezTo>
                      <a:pt x="52642" y="40837"/>
                      <a:pt x="40837" y="52642"/>
                      <a:pt x="26321" y="52642"/>
                    </a:cubicBezTo>
                    <a:close/>
                    <a:moveTo>
                      <a:pt x="26321" y="13161"/>
                    </a:moveTo>
                    <a:cubicBezTo>
                      <a:pt x="19076" y="13161"/>
                      <a:pt x="13161" y="19050"/>
                      <a:pt x="13161" y="26321"/>
                    </a:cubicBezTo>
                    <a:cubicBezTo>
                      <a:pt x="13161" y="33566"/>
                      <a:pt x="19076" y="39482"/>
                      <a:pt x="26321" y="39482"/>
                    </a:cubicBezTo>
                    <a:cubicBezTo>
                      <a:pt x="33566" y="39482"/>
                      <a:pt x="39482" y="33592"/>
                      <a:pt x="39482" y="26321"/>
                    </a:cubicBezTo>
                    <a:cubicBezTo>
                      <a:pt x="39482" y="19076"/>
                      <a:pt x="33592" y="13161"/>
                      <a:pt x="26321" y="13161"/>
                    </a:cubicBezTo>
                    <a:close/>
                  </a:path>
                </a:pathLst>
              </a:custGeom>
              <a:solidFill>
                <a:schemeClr val="tx2"/>
              </a:solidFill>
              <a:ln w="2604" cap="flat">
                <a:noFill/>
                <a:prstDash val="solid"/>
                <a:miter/>
              </a:ln>
            </p:spPr>
            <p:txBody>
              <a:bodyPr rtlCol="0" anchor="ctr"/>
              <a:lstStyle/>
              <a:p>
                <a:endParaRPr lang="en-GB" dirty="0"/>
              </a:p>
            </p:txBody>
          </p:sp>
          <p:sp>
            <p:nvSpPr>
              <p:cNvPr id="94" name="Freihandform: Form 287">
                <a:extLst>
                  <a:ext uri="{FF2B5EF4-FFF2-40B4-BE49-F238E27FC236}">
                    <a16:creationId xmlns:a16="http://schemas.microsoft.com/office/drawing/2014/main" id="{C04D322D-9598-415C-A775-91745D40CFA8}"/>
                  </a:ext>
                </a:extLst>
              </p:cNvPr>
              <p:cNvSpPr/>
              <p:nvPr/>
            </p:nvSpPr>
            <p:spPr>
              <a:xfrm>
                <a:off x="2530362" y="1804386"/>
                <a:ext cx="296993" cy="157874"/>
              </a:xfrm>
              <a:custGeom>
                <a:avLst/>
                <a:gdLst>
                  <a:gd name="connsiteX0" fmla="*/ 171042 w 296993"/>
                  <a:gd name="connsiteY0" fmla="*/ 157875 h 157874"/>
                  <a:gd name="connsiteX1" fmla="*/ 6574 w 296993"/>
                  <a:gd name="connsiteY1" fmla="*/ 157875 h 157874"/>
                  <a:gd name="connsiteX2" fmla="*/ 1440 w 296993"/>
                  <a:gd name="connsiteY2" fmla="*/ 155399 h 157874"/>
                  <a:gd name="connsiteX3" fmla="*/ 163 w 296993"/>
                  <a:gd name="connsiteY3" fmla="*/ 149848 h 157874"/>
                  <a:gd name="connsiteX4" fmla="*/ 33052 w 296993"/>
                  <a:gd name="connsiteY4" fmla="*/ 5108 h 157874"/>
                  <a:gd name="connsiteX5" fmla="*/ 39463 w 296993"/>
                  <a:gd name="connsiteY5" fmla="*/ 0 h 157874"/>
                  <a:gd name="connsiteX6" fmla="*/ 276301 w 296993"/>
                  <a:gd name="connsiteY6" fmla="*/ 0 h 157874"/>
                  <a:gd name="connsiteX7" fmla="*/ 282712 w 296993"/>
                  <a:gd name="connsiteY7" fmla="*/ 5108 h 157874"/>
                  <a:gd name="connsiteX8" fmla="*/ 296993 w 296993"/>
                  <a:gd name="connsiteY8" fmla="*/ 66376 h 157874"/>
                  <a:gd name="connsiteX9" fmla="*/ 284145 w 296993"/>
                  <a:gd name="connsiteY9" fmla="*/ 69295 h 157874"/>
                  <a:gd name="connsiteX10" fmla="*/ 271037 w 296993"/>
                  <a:gd name="connsiteY10" fmla="*/ 13161 h 157874"/>
                  <a:gd name="connsiteX11" fmla="*/ 44701 w 296993"/>
                  <a:gd name="connsiteY11" fmla="*/ 13161 h 157874"/>
                  <a:gd name="connsiteX12" fmla="*/ 14809 w 296993"/>
                  <a:gd name="connsiteY12" fmla="*/ 144740 h 157874"/>
                  <a:gd name="connsiteX13" fmla="*/ 177610 w 296993"/>
                  <a:gd name="connsiteY13" fmla="*/ 144740 h 157874"/>
                  <a:gd name="connsiteX14" fmla="*/ 171042 w 296993"/>
                  <a:gd name="connsiteY14" fmla="*/ 157875 h 15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6993" h="157874">
                    <a:moveTo>
                      <a:pt x="171042" y="157875"/>
                    </a:moveTo>
                    <a:lnTo>
                      <a:pt x="6574" y="157875"/>
                    </a:lnTo>
                    <a:cubicBezTo>
                      <a:pt x="4568" y="157875"/>
                      <a:pt x="2691" y="156963"/>
                      <a:pt x="1440" y="155399"/>
                    </a:cubicBezTo>
                    <a:cubicBezTo>
                      <a:pt x="189" y="153836"/>
                      <a:pt x="-280" y="151777"/>
                      <a:pt x="163" y="149848"/>
                    </a:cubicBezTo>
                    <a:lnTo>
                      <a:pt x="33052" y="5108"/>
                    </a:lnTo>
                    <a:cubicBezTo>
                      <a:pt x="33729" y="2111"/>
                      <a:pt x="36387" y="0"/>
                      <a:pt x="39463" y="0"/>
                    </a:cubicBezTo>
                    <a:lnTo>
                      <a:pt x="276301" y="0"/>
                    </a:lnTo>
                    <a:cubicBezTo>
                      <a:pt x="279376" y="0"/>
                      <a:pt x="282034" y="2137"/>
                      <a:pt x="282712" y="5108"/>
                    </a:cubicBezTo>
                    <a:lnTo>
                      <a:pt x="296993" y="66376"/>
                    </a:lnTo>
                    <a:lnTo>
                      <a:pt x="284145" y="69295"/>
                    </a:lnTo>
                    <a:lnTo>
                      <a:pt x="271037" y="13161"/>
                    </a:lnTo>
                    <a:lnTo>
                      <a:pt x="44701" y="13161"/>
                    </a:lnTo>
                    <a:lnTo>
                      <a:pt x="14809" y="144740"/>
                    </a:lnTo>
                    <a:lnTo>
                      <a:pt x="177610" y="144740"/>
                    </a:lnTo>
                    <a:lnTo>
                      <a:pt x="171042" y="157875"/>
                    </a:lnTo>
                    <a:close/>
                  </a:path>
                </a:pathLst>
              </a:custGeom>
              <a:solidFill>
                <a:schemeClr val="tx2"/>
              </a:solidFill>
              <a:ln w="2604" cap="flat">
                <a:noFill/>
                <a:prstDash val="solid"/>
                <a:miter/>
              </a:ln>
            </p:spPr>
            <p:txBody>
              <a:bodyPr rtlCol="0" anchor="ctr"/>
              <a:lstStyle/>
              <a:p>
                <a:endParaRPr lang="en-GB" dirty="0"/>
              </a:p>
            </p:txBody>
          </p:sp>
          <p:sp>
            <p:nvSpPr>
              <p:cNvPr id="95" name="Freihandform: Form 288">
                <a:extLst>
                  <a:ext uri="{FF2B5EF4-FFF2-40B4-BE49-F238E27FC236}">
                    <a16:creationId xmlns:a16="http://schemas.microsoft.com/office/drawing/2014/main" id="{D6B01505-3ECB-49FF-A5F6-343F2C6DB0D1}"/>
                  </a:ext>
                </a:extLst>
              </p:cNvPr>
              <p:cNvSpPr/>
              <p:nvPr/>
            </p:nvSpPr>
            <p:spPr>
              <a:xfrm>
                <a:off x="2793503" y="1924135"/>
                <a:ext cx="52642" cy="38126"/>
              </a:xfrm>
              <a:custGeom>
                <a:avLst/>
                <a:gdLst>
                  <a:gd name="connsiteX0" fmla="*/ 46075 w 52642"/>
                  <a:gd name="connsiteY0" fmla="*/ 38127 h 38126"/>
                  <a:gd name="connsiteX1" fmla="*/ 0 w 52642"/>
                  <a:gd name="connsiteY1" fmla="*/ 38127 h 38126"/>
                  <a:gd name="connsiteX2" fmla="*/ 13161 w 52642"/>
                  <a:gd name="connsiteY2" fmla="*/ 24966 h 38126"/>
                  <a:gd name="connsiteX3" fmla="*/ 37684 w 52642"/>
                  <a:gd name="connsiteY3" fmla="*/ 24966 h 38126"/>
                  <a:gd name="connsiteX4" fmla="*/ 34113 w 52642"/>
                  <a:gd name="connsiteY4" fmla="*/ 9668 h 38126"/>
                  <a:gd name="connsiteX5" fmla="*/ 46909 w 52642"/>
                  <a:gd name="connsiteY5" fmla="*/ 0 h 38126"/>
                  <a:gd name="connsiteX6" fmla="*/ 52460 w 52642"/>
                  <a:gd name="connsiteY6" fmla="*/ 30022 h 38126"/>
                  <a:gd name="connsiteX7" fmla="*/ 51235 w 52642"/>
                  <a:gd name="connsiteY7" fmla="*/ 35651 h 38126"/>
                  <a:gd name="connsiteX8" fmla="*/ 46075 w 52642"/>
                  <a:gd name="connsiteY8" fmla="*/ 38127 h 3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642" h="38126">
                    <a:moveTo>
                      <a:pt x="46075" y="38127"/>
                    </a:moveTo>
                    <a:lnTo>
                      <a:pt x="0" y="38127"/>
                    </a:lnTo>
                    <a:lnTo>
                      <a:pt x="13161" y="24966"/>
                    </a:lnTo>
                    <a:lnTo>
                      <a:pt x="37684" y="24966"/>
                    </a:lnTo>
                    <a:lnTo>
                      <a:pt x="34113" y="9668"/>
                    </a:lnTo>
                    <a:lnTo>
                      <a:pt x="46909" y="0"/>
                    </a:lnTo>
                    <a:lnTo>
                      <a:pt x="52460" y="30022"/>
                    </a:lnTo>
                    <a:cubicBezTo>
                      <a:pt x="52929" y="31976"/>
                      <a:pt x="52486" y="34061"/>
                      <a:pt x="51235" y="35651"/>
                    </a:cubicBezTo>
                    <a:cubicBezTo>
                      <a:pt x="49984" y="37214"/>
                      <a:pt x="48082" y="38127"/>
                      <a:pt x="46075" y="38127"/>
                    </a:cubicBezTo>
                    <a:close/>
                  </a:path>
                </a:pathLst>
              </a:custGeom>
              <a:solidFill>
                <a:schemeClr val="tx2"/>
              </a:solidFill>
              <a:ln w="2604" cap="flat">
                <a:noFill/>
                <a:prstDash val="solid"/>
                <a:miter/>
              </a:ln>
            </p:spPr>
            <p:txBody>
              <a:bodyPr rtlCol="0" anchor="ctr"/>
              <a:lstStyle/>
              <a:p>
                <a:endParaRPr lang="en-GB" dirty="0"/>
              </a:p>
            </p:txBody>
          </p:sp>
          <p:sp>
            <p:nvSpPr>
              <p:cNvPr id="96" name="Freihandform: Form 294">
                <a:extLst>
                  <a:ext uri="{FF2B5EF4-FFF2-40B4-BE49-F238E27FC236}">
                    <a16:creationId xmlns:a16="http://schemas.microsoft.com/office/drawing/2014/main" id="{C2F44813-9677-4A62-989F-C49A196F7A08}"/>
                  </a:ext>
                </a:extLst>
              </p:cNvPr>
              <p:cNvSpPr/>
              <p:nvPr/>
            </p:nvSpPr>
            <p:spPr>
              <a:xfrm>
                <a:off x="2530369" y="1975422"/>
                <a:ext cx="315775" cy="13160"/>
              </a:xfrm>
              <a:custGeom>
                <a:avLst/>
                <a:gdLst>
                  <a:gd name="connsiteX0" fmla="*/ 0 w 315775"/>
                  <a:gd name="connsiteY0" fmla="*/ 0 h 13160"/>
                  <a:gd name="connsiteX1" fmla="*/ 315776 w 315775"/>
                  <a:gd name="connsiteY1" fmla="*/ 0 h 13160"/>
                  <a:gd name="connsiteX2" fmla="*/ 315776 w 315775"/>
                  <a:gd name="connsiteY2" fmla="*/ 13161 h 13160"/>
                  <a:gd name="connsiteX3" fmla="*/ 0 w 315775"/>
                  <a:gd name="connsiteY3" fmla="*/ 13161 h 13160"/>
                </a:gdLst>
                <a:ahLst/>
                <a:cxnLst>
                  <a:cxn ang="0">
                    <a:pos x="connsiteX0" y="connsiteY0"/>
                  </a:cxn>
                  <a:cxn ang="0">
                    <a:pos x="connsiteX1" y="connsiteY1"/>
                  </a:cxn>
                  <a:cxn ang="0">
                    <a:pos x="connsiteX2" y="connsiteY2"/>
                  </a:cxn>
                  <a:cxn ang="0">
                    <a:pos x="connsiteX3" y="connsiteY3"/>
                  </a:cxn>
                </a:cxnLst>
                <a:rect l="l" t="t" r="r" b="b"/>
                <a:pathLst>
                  <a:path w="315775" h="13160">
                    <a:moveTo>
                      <a:pt x="0" y="0"/>
                    </a:moveTo>
                    <a:lnTo>
                      <a:pt x="315776" y="0"/>
                    </a:lnTo>
                    <a:lnTo>
                      <a:pt x="315776"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97" name="Freihandform: Form 295">
                <a:extLst>
                  <a:ext uri="{FF2B5EF4-FFF2-40B4-BE49-F238E27FC236}">
                    <a16:creationId xmlns:a16="http://schemas.microsoft.com/office/drawing/2014/main" id="{B6E3F9D0-1FA8-477C-A04D-743EB2C6B873}"/>
                  </a:ext>
                </a:extLst>
              </p:cNvPr>
              <p:cNvSpPr/>
              <p:nvPr/>
            </p:nvSpPr>
            <p:spPr>
              <a:xfrm>
                <a:off x="2661949" y="1975448"/>
                <a:ext cx="52616" cy="138121"/>
              </a:xfrm>
              <a:custGeom>
                <a:avLst/>
                <a:gdLst>
                  <a:gd name="connsiteX0" fmla="*/ 46049 w 52616"/>
                  <a:gd name="connsiteY0" fmla="*/ 138121 h 138121"/>
                  <a:gd name="connsiteX1" fmla="*/ 6567 w 52616"/>
                  <a:gd name="connsiteY1" fmla="*/ 138121 h 138121"/>
                  <a:gd name="connsiteX2" fmla="*/ 0 w 52616"/>
                  <a:gd name="connsiteY2" fmla="*/ 131554 h 138121"/>
                  <a:gd name="connsiteX3" fmla="*/ 0 w 52616"/>
                  <a:gd name="connsiteY3" fmla="*/ 6567 h 138121"/>
                  <a:gd name="connsiteX4" fmla="*/ 6567 w 52616"/>
                  <a:gd name="connsiteY4" fmla="*/ 0 h 138121"/>
                  <a:gd name="connsiteX5" fmla="*/ 46049 w 52616"/>
                  <a:gd name="connsiteY5" fmla="*/ 0 h 138121"/>
                  <a:gd name="connsiteX6" fmla="*/ 52616 w 52616"/>
                  <a:gd name="connsiteY6" fmla="*/ 6567 h 138121"/>
                  <a:gd name="connsiteX7" fmla="*/ 52616 w 52616"/>
                  <a:gd name="connsiteY7" fmla="*/ 131554 h 138121"/>
                  <a:gd name="connsiteX8" fmla="*/ 46049 w 52616"/>
                  <a:gd name="connsiteY8" fmla="*/ 138121 h 138121"/>
                  <a:gd name="connsiteX9" fmla="*/ 13161 w 52616"/>
                  <a:gd name="connsiteY9" fmla="*/ 124960 h 138121"/>
                  <a:gd name="connsiteX10" fmla="*/ 39482 w 52616"/>
                  <a:gd name="connsiteY10" fmla="*/ 124960 h 138121"/>
                  <a:gd name="connsiteX11" fmla="*/ 39482 w 52616"/>
                  <a:gd name="connsiteY11" fmla="*/ 13135 h 138121"/>
                  <a:gd name="connsiteX12" fmla="*/ 13161 w 52616"/>
                  <a:gd name="connsiteY12" fmla="*/ 13135 h 138121"/>
                  <a:gd name="connsiteX13" fmla="*/ 13161 w 52616"/>
                  <a:gd name="connsiteY13" fmla="*/ 124960 h 138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616" h="138121">
                    <a:moveTo>
                      <a:pt x="46049" y="138121"/>
                    </a:moveTo>
                    <a:lnTo>
                      <a:pt x="6567" y="138121"/>
                    </a:lnTo>
                    <a:cubicBezTo>
                      <a:pt x="2919" y="138121"/>
                      <a:pt x="0" y="135176"/>
                      <a:pt x="0" y="131554"/>
                    </a:cubicBezTo>
                    <a:lnTo>
                      <a:pt x="0" y="6567"/>
                    </a:lnTo>
                    <a:cubicBezTo>
                      <a:pt x="0" y="2945"/>
                      <a:pt x="2945" y="0"/>
                      <a:pt x="6567" y="0"/>
                    </a:cubicBezTo>
                    <a:lnTo>
                      <a:pt x="46049" y="0"/>
                    </a:lnTo>
                    <a:cubicBezTo>
                      <a:pt x="49698" y="0"/>
                      <a:pt x="52616" y="2945"/>
                      <a:pt x="52616" y="6567"/>
                    </a:cubicBezTo>
                    <a:lnTo>
                      <a:pt x="52616" y="131554"/>
                    </a:lnTo>
                    <a:cubicBezTo>
                      <a:pt x="52616" y="135176"/>
                      <a:pt x="49671" y="138121"/>
                      <a:pt x="46049" y="138121"/>
                    </a:cubicBezTo>
                    <a:close/>
                    <a:moveTo>
                      <a:pt x="13161" y="124960"/>
                    </a:moveTo>
                    <a:lnTo>
                      <a:pt x="39482" y="124960"/>
                    </a:lnTo>
                    <a:lnTo>
                      <a:pt x="39482" y="13135"/>
                    </a:lnTo>
                    <a:lnTo>
                      <a:pt x="13161" y="13135"/>
                    </a:lnTo>
                    <a:lnTo>
                      <a:pt x="13161" y="124960"/>
                    </a:lnTo>
                    <a:close/>
                  </a:path>
                </a:pathLst>
              </a:custGeom>
              <a:solidFill>
                <a:schemeClr val="tx2"/>
              </a:solidFill>
              <a:ln w="2604" cap="flat">
                <a:noFill/>
                <a:prstDash val="solid"/>
                <a:miter/>
              </a:ln>
            </p:spPr>
            <p:txBody>
              <a:bodyPr rtlCol="0" anchor="ctr"/>
              <a:lstStyle/>
              <a:p>
                <a:endParaRPr lang="en-GB" dirty="0"/>
              </a:p>
            </p:txBody>
          </p:sp>
          <p:sp>
            <p:nvSpPr>
              <p:cNvPr id="98" name="Freihandform: Form 296">
                <a:extLst>
                  <a:ext uri="{FF2B5EF4-FFF2-40B4-BE49-F238E27FC236}">
                    <a16:creationId xmlns:a16="http://schemas.microsoft.com/office/drawing/2014/main" id="{6C254D00-2C8D-4786-BD47-4A88D930172F}"/>
                  </a:ext>
                </a:extLst>
              </p:cNvPr>
              <p:cNvSpPr/>
              <p:nvPr/>
            </p:nvSpPr>
            <p:spPr>
              <a:xfrm>
                <a:off x="2635628" y="2100408"/>
                <a:ext cx="105258" cy="13160"/>
              </a:xfrm>
              <a:custGeom>
                <a:avLst/>
                <a:gdLst>
                  <a:gd name="connsiteX0" fmla="*/ 0 w 105258"/>
                  <a:gd name="connsiteY0" fmla="*/ 0 h 13160"/>
                  <a:gd name="connsiteX1" fmla="*/ 105259 w 105258"/>
                  <a:gd name="connsiteY1" fmla="*/ 0 h 13160"/>
                  <a:gd name="connsiteX2" fmla="*/ 105259 w 105258"/>
                  <a:gd name="connsiteY2" fmla="*/ 13161 h 13160"/>
                  <a:gd name="connsiteX3" fmla="*/ 0 w 105258"/>
                  <a:gd name="connsiteY3" fmla="*/ 13161 h 13160"/>
                </a:gdLst>
                <a:ahLst/>
                <a:cxnLst>
                  <a:cxn ang="0">
                    <a:pos x="connsiteX0" y="connsiteY0"/>
                  </a:cxn>
                  <a:cxn ang="0">
                    <a:pos x="connsiteX1" y="connsiteY1"/>
                  </a:cxn>
                  <a:cxn ang="0">
                    <a:pos x="connsiteX2" y="connsiteY2"/>
                  </a:cxn>
                  <a:cxn ang="0">
                    <a:pos x="connsiteX3" y="connsiteY3"/>
                  </a:cxn>
                </a:cxnLst>
                <a:rect l="l" t="t" r="r" b="b"/>
                <a:pathLst>
                  <a:path w="105258" h="13160">
                    <a:moveTo>
                      <a:pt x="0" y="0"/>
                    </a:moveTo>
                    <a:lnTo>
                      <a:pt x="105259" y="0"/>
                    </a:lnTo>
                    <a:lnTo>
                      <a:pt x="105259" y="13161"/>
                    </a:lnTo>
                    <a:lnTo>
                      <a:pt x="0" y="13161"/>
                    </a:lnTo>
                    <a:close/>
                  </a:path>
                </a:pathLst>
              </a:custGeom>
              <a:solidFill>
                <a:schemeClr val="tx2"/>
              </a:solidFill>
              <a:ln w="2604" cap="flat">
                <a:noFill/>
                <a:prstDash val="solid"/>
                <a:miter/>
              </a:ln>
            </p:spPr>
            <p:txBody>
              <a:bodyPr rtlCol="0" anchor="ctr"/>
              <a:lstStyle/>
              <a:p>
                <a:endParaRPr lang="en-GB" dirty="0"/>
              </a:p>
            </p:txBody>
          </p:sp>
        </p:grpSp>
        <p:grpSp>
          <p:nvGrpSpPr>
            <p:cNvPr id="83" name="Group 82">
              <a:extLst>
                <a:ext uri="{FF2B5EF4-FFF2-40B4-BE49-F238E27FC236}">
                  <a16:creationId xmlns:a16="http://schemas.microsoft.com/office/drawing/2014/main" id="{BDCDE460-E3DD-408E-98FF-1663C70AD78C}"/>
                </a:ext>
              </a:extLst>
            </p:cNvPr>
            <p:cNvGrpSpPr/>
            <p:nvPr/>
          </p:nvGrpSpPr>
          <p:grpSpPr>
            <a:xfrm>
              <a:off x="1617151" y="1585984"/>
              <a:ext cx="487342" cy="316220"/>
              <a:chOff x="2573252" y="1679400"/>
              <a:chExt cx="489789" cy="317808"/>
            </a:xfrm>
          </p:grpSpPr>
          <p:sp>
            <p:nvSpPr>
              <p:cNvPr id="84" name="Freihandform: Form 283">
                <a:extLst>
                  <a:ext uri="{FF2B5EF4-FFF2-40B4-BE49-F238E27FC236}">
                    <a16:creationId xmlns:a16="http://schemas.microsoft.com/office/drawing/2014/main" id="{D7F6720E-583F-4C4F-89DF-4883A96C1BC8}"/>
                  </a:ext>
                </a:extLst>
              </p:cNvPr>
              <p:cNvSpPr/>
              <p:nvPr/>
            </p:nvSpPr>
            <p:spPr>
              <a:xfrm>
                <a:off x="2868166" y="1679400"/>
                <a:ext cx="39455" cy="157874"/>
              </a:xfrm>
              <a:custGeom>
                <a:avLst/>
                <a:gdLst>
                  <a:gd name="connsiteX0" fmla="*/ 32915 w 39455"/>
                  <a:gd name="connsiteY0" fmla="*/ 157875 h 157874"/>
                  <a:gd name="connsiteX1" fmla="*/ 19754 w 39455"/>
                  <a:gd name="connsiteY1" fmla="*/ 157875 h 157874"/>
                  <a:gd name="connsiteX2" fmla="*/ 13369 w 39455"/>
                  <a:gd name="connsiteY2" fmla="*/ 152897 h 157874"/>
                  <a:gd name="connsiteX3" fmla="*/ 208 w 39455"/>
                  <a:gd name="connsiteY3" fmla="*/ 100281 h 157874"/>
                  <a:gd name="connsiteX4" fmla="*/ 0 w 39455"/>
                  <a:gd name="connsiteY4" fmla="*/ 98691 h 157874"/>
                  <a:gd name="connsiteX5" fmla="*/ 0 w 39455"/>
                  <a:gd name="connsiteY5" fmla="*/ 6567 h 157874"/>
                  <a:gd name="connsiteX6" fmla="*/ 6567 w 39455"/>
                  <a:gd name="connsiteY6" fmla="*/ 0 h 157874"/>
                  <a:gd name="connsiteX7" fmla="*/ 32888 w 39455"/>
                  <a:gd name="connsiteY7" fmla="*/ 0 h 157874"/>
                  <a:gd name="connsiteX8" fmla="*/ 39456 w 39455"/>
                  <a:gd name="connsiteY8" fmla="*/ 6567 h 157874"/>
                  <a:gd name="connsiteX9" fmla="*/ 39456 w 39455"/>
                  <a:gd name="connsiteY9" fmla="*/ 151308 h 157874"/>
                  <a:gd name="connsiteX10" fmla="*/ 32915 w 39455"/>
                  <a:gd name="connsiteY10" fmla="*/ 157875 h 157874"/>
                  <a:gd name="connsiteX11" fmla="*/ 24888 w 39455"/>
                  <a:gd name="connsiteY11" fmla="*/ 144714 h 157874"/>
                  <a:gd name="connsiteX12" fmla="*/ 26321 w 39455"/>
                  <a:gd name="connsiteY12" fmla="*/ 144714 h 157874"/>
                  <a:gd name="connsiteX13" fmla="*/ 26321 w 39455"/>
                  <a:gd name="connsiteY13" fmla="*/ 13135 h 157874"/>
                  <a:gd name="connsiteX14" fmla="*/ 13161 w 39455"/>
                  <a:gd name="connsiteY14" fmla="*/ 13135 h 157874"/>
                  <a:gd name="connsiteX15" fmla="*/ 13161 w 39455"/>
                  <a:gd name="connsiteY15" fmla="*/ 97857 h 157874"/>
                  <a:gd name="connsiteX16" fmla="*/ 24888 w 39455"/>
                  <a:gd name="connsiteY16" fmla="*/ 144714 h 15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55" h="157874">
                    <a:moveTo>
                      <a:pt x="32915" y="157875"/>
                    </a:moveTo>
                    <a:lnTo>
                      <a:pt x="19754" y="157875"/>
                    </a:lnTo>
                    <a:cubicBezTo>
                      <a:pt x="16731" y="157875"/>
                      <a:pt x="14099" y="155816"/>
                      <a:pt x="13369" y="152897"/>
                    </a:cubicBezTo>
                    <a:lnTo>
                      <a:pt x="208" y="100281"/>
                    </a:lnTo>
                    <a:cubicBezTo>
                      <a:pt x="78" y="99760"/>
                      <a:pt x="0" y="99213"/>
                      <a:pt x="0" y="98691"/>
                    </a:cubicBezTo>
                    <a:lnTo>
                      <a:pt x="0" y="6567"/>
                    </a:lnTo>
                    <a:cubicBezTo>
                      <a:pt x="0" y="2945"/>
                      <a:pt x="2945" y="0"/>
                      <a:pt x="6567" y="0"/>
                    </a:cubicBezTo>
                    <a:lnTo>
                      <a:pt x="32888" y="0"/>
                    </a:lnTo>
                    <a:cubicBezTo>
                      <a:pt x="36537" y="0"/>
                      <a:pt x="39456" y="2945"/>
                      <a:pt x="39456" y="6567"/>
                    </a:cubicBezTo>
                    <a:lnTo>
                      <a:pt x="39456" y="151308"/>
                    </a:lnTo>
                    <a:cubicBezTo>
                      <a:pt x="39482" y="154930"/>
                      <a:pt x="36537" y="157875"/>
                      <a:pt x="32915" y="157875"/>
                    </a:cubicBezTo>
                    <a:close/>
                    <a:moveTo>
                      <a:pt x="24888" y="144714"/>
                    </a:moveTo>
                    <a:lnTo>
                      <a:pt x="26321" y="144714"/>
                    </a:lnTo>
                    <a:lnTo>
                      <a:pt x="26321" y="13135"/>
                    </a:lnTo>
                    <a:lnTo>
                      <a:pt x="13161" y="13135"/>
                    </a:lnTo>
                    <a:lnTo>
                      <a:pt x="13161" y="97857"/>
                    </a:lnTo>
                    <a:lnTo>
                      <a:pt x="24888" y="144714"/>
                    </a:lnTo>
                    <a:close/>
                  </a:path>
                </a:pathLst>
              </a:custGeom>
              <a:solidFill>
                <a:schemeClr val="accent1"/>
              </a:solidFill>
              <a:ln w="2604" cap="flat">
                <a:noFill/>
                <a:prstDash val="solid"/>
                <a:miter/>
              </a:ln>
            </p:spPr>
            <p:txBody>
              <a:bodyPr rtlCol="0" anchor="ctr"/>
              <a:lstStyle/>
              <a:p>
                <a:endParaRPr lang="en-GB" dirty="0"/>
              </a:p>
            </p:txBody>
          </p:sp>
          <p:sp>
            <p:nvSpPr>
              <p:cNvPr id="85" name="Freihandform: Form 284">
                <a:extLst>
                  <a:ext uri="{FF2B5EF4-FFF2-40B4-BE49-F238E27FC236}">
                    <a16:creationId xmlns:a16="http://schemas.microsoft.com/office/drawing/2014/main" id="{E3932BFC-E8B8-41B6-BA70-797217F68F37}"/>
                  </a:ext>
                </a:extLst>
              </p:cNvPr>
              <p:cNvSpPr/>
              <p:nvPr/>
            </p:nvSpPr>
            <p:spPr>
              <a:xfrm>
                <a:off x="2925637" y="1876892"/>
                <a:ext cx="137404" cy="120316"/>
              </a:xfrm>
              <a:custGeom>
                <a:avLst/>
                <a:gdLst>
                  <a:gd name="connsiteX0" fmla="*/ 115180 w 137404"/>
                  <a:gd name="connsiteY0" fmla="*/ 120317 h 120316"/>
                  <a:gd name="connsiteX1" fmla="*/ 111271 w 137404"/>
                  <a:gd name="connsiteY1" fmla="*/ 119040 h 120316"/>
                  <a:gd name="connsiteX2" fmla="*/ 37181 w 137404"/>
                  <a:gd name="connsiteY2" fmla="*/ 64312 h 120316"/>
                  <a:gd name="connsiteX3" fmla="*/ 36008 w 137404"/>
                  <a:gd name="connsiteY3" fmla="*/ 63218 h 120316"/>
                  <a:gd name="connsiteX4" fmla="*/ 1504 w 137404"/>
                  <a:gd name="connsiteY4" fmla="*/ 21365 h 120316"/>
                  <a:gd name="connsiteX5" fmla="*/ 1295 w 137404"/>
                  <a:gd name="connsiteY5" fmla="*/ 13260 h 120316"/>
                  <a:gd name="connsiteX6" fmla="*/ 9114 w 137404"/>
                  <a:gd name="connsiteY6" fmla="*/ 2679 h 120316"/>
                  <a:gd name="connsiteX7" fmla="*/ 13440 w 137404"/>
                  <a:gd name="connsiteY7" fmla="*/ 73 h 120316"/>
                  <a:gd name="connsiteX8" fmla="*/ 18313 w 137404"/>
                  <a:gd name="connsiteY8" fmla="*/ 1298 h 120316"/>
                  <a:gd name="connsiteX9" fmla="*/ 134726 w 137404"/>
                  <a:gd name="connsiteY9" fmla="*/ 87298 h 120316"/>
                  <a:gd name="connsiteX10" fmla="*/ 137332 w 137404"/>
                  <a:gd name="connsiteY10" fmla="*/ 91624 h 120316"/>
                  <a:gd name="connsiteX11" fmla="*/ 136107 w 137404"/>
                  <a:gd name="connsiteY11" fmla="*/ 96497 h 120316"/>
                  <a:gd name="connsiteX12" fmla="*/ 120470 w 137404"/>
                  <a:gd name="connsiteY12" fmla="*/ 117658 h 120316"/>
                  <a:gd name="connsiteX13" fmla="*/ 115180 w 137404"/>
                  <a:gd name="connsiteY13" fmla="*/ 120317 h 120316"/>
                  <a:gd name="connsiteX14" fmla="*/ 45650 w 137404"/>
                  <a:gd name="connsiteY14" fmla="*/ 54201 h 120316"/>
                  <a:gd name="connsiteX15" fmla="*/ 113799 w 137404"/>
                  <a:gd name="connsiteY15" fmla="*/ 104524 h 120316"/>
                  <a:gd name="connsiteX16" fmla="*/ 121617 w 137404"/>
                  <a:gd name="connsiteY16" fmla="*/ 93943 h 120316"/>
                  <a:gd name="connsiteX17" fmla="*/ 15785 w 137404"/>
                  <a:gd name="connsiteY17" fmla="*/ 15762 h 120316"/>
                  <a:gd name="connsiteX18" fmla="*/ 14925 w 137404"/>
                  <a:gd name="connsiteY18" fmla="*/ 16934 h 120316"/>
                  <a:gd name="connsiteX19" fmla="*/ 45650 w 137404"/>
                  <a:gd name="connsiteY19" fmla="*/ 54201 h 12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404" h="120316">
                    <a:moveTo>
                      <a:pt x="115180" y="120317"/>
                    </a:moveTo>
                    <a:cubicBezTo>
                      <a:pt x="113825" y="120317"/>
                      <a:pt x="112444" y="119900"/>
                      <a:pt x="111271" y="119040"/>
                    </a:cubicBezTo>
                    <a:lnTo>
                      <a:pt x="37181" y="64312"/>
                    </a:lnTo>
                    <a:cubicBezTo>
                      <a:pt x="36738" y="64000"/>
                      <a:pt x="36347" y="63609"/>
                      <a:pt x="36008" y="63218"/>
                    </a:cubicBezTo>
                    <a:lnTo>
                      <a:pt x="1504" y="21365"/>
                    </a:lnTo>
                    <a:cubicBezTo>
                      <a:pt x="-425" y="19045"/>
                      <a:pt x="-503" y="15709"/>
                      <a:pt x="1295" y="13260"/>
                    </a:cubicBezTo>
                    <a:lnTo>
                      <a:pt x="9114" y="2679"/>
                    </a:lnTo>
                    <a:cubicBezTo>
                      <a:pt x="10156" y="1272"/>
                      <a:pt x="11693" y="334"/>
                      <a:pt x="13440" y="73"/>
                    </a:cubicBezTo>
                    <a:cubicBezTo>
                      <a:pt x="15160" y="-188"/>
                      <a:pt x="16932" y="255"/>
                      <a:pt x="18313" y="1298"/>
                    </a:cubicBezTo>
                    <a:lnTo>
                      <a:pt x="134726" y="87298"/>
                    </a:lnTo>
                    <a:cubicBezTo>
                      <a:pt x="136133" y="88340"/>
                      <a:pt x="137071" y="89878"/>
                      <a:pt x="137332" y="91624"/>
                    </a:cubicBezTo>
                    <a:cubicBezTo>
                      <a:pt x="137592" y="93344"/>
                      <a:pt x="137149" y="95116"/>
                      <a:pt x="136107" y="96497"/>
                    </a:cubicBezTo>
                    <a:lnTo>
                      <a:pt x="120470" y="117658"/>
                    </a:lnTo>
                    <a:cubicBezTo>
                      <a:pt x="119167" y="119378"/>
                      <a:pt x="117187" y="120317"/>
                      <a:pt x="115180" y="120317"/>
                    </a:cubicBezTo>
                    <a:close/>
                    <a:moveTo>
                      <a:pt x="45650" y="54201"/>
                    </a:moveTo>
                    <a:lnTo>
                      <a:pt x="113799" y="104524"/>
                    </a:lnTo>
                    <a:lnTo>
                      <a:pt x="121617" y="93943"/>
                    </a:lnTo>
                    <a:lnTo>
                      <a:pt x="15785" y="15762"/>
                    </a:lnTo>
                    <a:lnTo>
                      <a:pt x="14925" y="16934"/>
                    </a:lnTo>
                    <a:lnTo>
                      <a:pt x="45650" y="54201"/>
                    </a:lnTo>
                    <a:close/>
                  </a:path>
                </a:pathLst>
              </a:custGeom>
              <a:solidFill>
                <a:schemeClr val="accent1"/>
              </a:solidFill>
              <a:ln w="2604" cap="flat">
                <a:noFill/>
                <a:prstDash val="solid"/>
                <a:miter/>
              </a:ln>
            </p:spPr>
            <p:txBody>
              <a:bodyPr rtlCol="0" anchor="ctr"/>
              <a:lstStyle/>
              <a:p>
                <a:endParaRPr lang="en-GB" dirty="0"/>
              </a:p>
            </p:txBody>
          </p:sp>
          <p:sp>
            <p:nvSpPr>
              <p:cNvPr id="86" name="Freihandform: Form 285">
                <a:extLst>
                  <a:ext uri="{FF2B5EF4-FFF2-40B4-BE49-F238E27FC236}">
                    <a16:creationId xmlns:a16="http://schemas.microsoft.com/office/drawing/2014/main" id="{F0B89B97-CB86-4863-97F7-4FB8415CD4F7}"/>
                  </a:ext>
                </a:extLst>
              </p:cNvPr>
              <p:cNvSpPr/>
              <p:nvPr/>
            </p:nvSpPr>
            <p:spPr>
              <a:xfrm>
                <a:off x="2714569" y="1876871"/>
                <a:ext cx="144238" cy="111372"/>
              </a:xfrm>
              <a:custGeom>
                <a:avLst/>
                <a:gdLst>
                  <a:gd name="connsiteX0" fmla="*/ 22538 w 144238"/>
                  <a:gd name="connsiteY0" fmla="*/ 111373 h 111372"/>
                  <a:gd name="connsiteX1" fmla="*/ 21652 w 144238"/>
                  <a:gd name="connsiteY1" fmla="*/ 111321 h 111372"/>
                  <a:gd name="connsiteX2" fmla="*/ 17300 w 144238"/>
                  <a:gd name="connsiteY2" fmla="*/ 108793 h 111372"/>
                  <a:gd name="connsiteX3" fmla="*/ 1351 w 144238"/>
                  <a:gd name="connsiteY3" fmla="*/ 87866 h 111372"/>
                  <a:gd name="connsiteX4" fmla="*/ 2602 w 144238"/>
                  <a:gd name="connsiteY4" fmla="*/ 78641 h 111372"/>
                  <a:gd name="connsiteX5" fmla="*/ 75858 w 144238"/>
                  <a:gd name="connsiteY5" fmla="*/ 22793 h 111372"/>
                  <a:gd name="connsiteX6" fmla="*/ 77239 w 144238"/>
                  <a:gd name="connsiteY6" fmla="*/ 21985 h 111372"/>
                  <a:gd name="connsiteX7" fmla="*/ 127067 w 144238"/>
                  <a:gd name="connsiteY7" fmla="*/ 537 h 111372"/>
                  <a:gd name="connsiteX8" fmla="*/ 134911 w 144238"/>
                  <a:gd name="connsiteY8" fmla="*/ 2596 h 111372"/>
                  <a:gd name="connsiteX9" fmla="*/ 142886 w 144238"/>
                  <a:gd name="connsiteY9" fmla="*/ 13046 h 111372"/>
                  <a:gd name="connsiteX10" fmla="*/ 144189 w 144238"/>
                  <a:gd name="connsiteY10" fmla="*/ 17920 h 111372"/>
                  <a:gd name="connsiteX11" fmla="*/ 141661 w 144238"/>
                  <a:gd name="connsiteY11" fmla="*/ 22272 h 111372"/>
                  <a:gd name="connsiteX12" fmla="*/ 26551 w 144238"/>
                  <a:gd name="connsiteY12" fmla="*/ 110018 h 111372"/>
                  <a:gd name="connsiteX13" fmla="*/ 22538 w 144238"/>
                  <a:gd name="connsiteY13" fmla="*/ 111373 h 111372"/>
                  <a:gd name="connsiteX14" fmla="*/ 15788 w 144238"/>
                  <a:gd name="connsiteY14" fmla="*/ 85130 h 111372"/>
                  <a:gd name="connsiteX15" fmla="*/ 23763 w 144238"/>
                  <a:gd name="connsiteY15" fmla="*/ 95580 h 111372"/>
                  <a:gd name="connsiteX16" fmla="*/ 128396 w 144238"/>
                  <a:gd name="connsiteY16" fmla="*/ 15809 h 111372"/>
                  <a:gd name="connsiteX17" fmla="*/ 127510 w 144238"/>
                  <a:gd name="connsiteY17" fmla="*/ 14662 h 111372"/>
                  <a:gd name="connsiteX18" fmla="*/ 83155 w 144238"/>
                  <a:gd name="connsiteY18" fmla="*/ 33764 h 111372"/>
                  <a:gd name="connsiteX19" fmla="*/ 15788 w 144238"/>
                  <a:gd name="connsiteY19" fmla="*/ 85130 h 11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238" h="111372">
                    <a:moveTo>
                      <a:pt x="22538" y="111373"/>
                    </a:moveTo>
                    <a:cubicBezTo>
                      <a:pt x="22251" y="111373"/>
                      <a:pt x="21965" y="111347"/>
                      <a:pt x="21652" y="111321"/>
                    </a:cubicBezTo>
                    <a:cubicBezTo>
                      <a:pt x="19932" y="111086"/>
                      <a:pt x="18368" y="110174"/>
                      <a:pt x="17300" y="108793"/>
                    </a:cubicBezTo>
                    <a:lnTo>
                      <a:pt x="1351" y="87866"/>
                    </a:lnTo>
                    <a:cubicBezTo>
                      <a:pt x="-864" y="84973"/>
                      <a:pt x="-291" y="80856"/>
                      <a:pt x="2602" y="78641"/>
                    </a:cubicBezTo>
                    <a:lnTo>
                      <a:pt x="75858" y="22793"/>
                    </a:lnTo>
                    <a:cubicBezTo>
                      <a:pt x="76301" y="22480"/>
                      <a:pt x="76744" y="22193"/>
                      <a:pt x="77239" y="21985"/>
                    </a:cubicBezTo>
                    <a:lnTo>
                      <a:pt x="127067" y="537"/>
                    </a:lnTo>
                    <a:cubicBezTo>
                      <a:pt x="129829" y="-662"/>
                      <a:pt x="133061" y="198"/>
                      <a:pt x="134911" y="2596"/>
                    </a:cubicBezTo>
                    <a:lnTo>
                      <a:pt x="142886" y="13046"/>
                    </a:lnTo>
                    <a:cubicBezTo>
                      <a:pt x="143954" y="14427"/>
                      <a:pt x="144397" y="16173"/>
                      <a:pt x="144189" y="17920"/>
                    </a:cubicBezTo>
                    <a:cubicBezTo>
                      <a:pt x="143954" y="19640"/>
                      <a:pt x="143042" y="21203"/>
                      <a:pt x="141661" y="22272"/>
                    </a:cubicBezTo>
                    <a:lnTo>
                      <a:pt x="26551" y="110018"/>
                    </a:lnTo>
                    <a:cubicBezTo>
                      <a:pt x="25379" y="110904"/>
                      <a:pt x="23971" y="111373"/>
                      <a:pt x="22538" y="111373"/>
                    </a:cubicBezTo>
                    <a:close/>
                    <a:moveTo>
                      <a:pt x="15788" y="85130"/>
                    </a:moveTo>
                    <a:lnTo>
                      <a:pt x="23763" y="95580"/>
                    </a:lnTo>
                    <a:lnTo>
                      <a:pt x="128396" y="15809"/>
                    </a:lnTo>
                    <a:lnTo>
                      <a:pt x="127510" y="14662"/>
                    </a:lnTo>
                    <a:lnTo>
                      <a:pt x="83155" y="33764"/>
                    </a:lnTo>
                    <a:lnTo>
                      <a:pt x="15788" y="85130"/>
                    </a:lnTo>
                    <a:close/>
                  </a:path>
                </a:pathLst>
              </a:custGeom>
              <a:solidFill>
                <a:schemeClr val="accent1"/>
              </a:solidFill>
              <a:ln w="2604" cap="flat">
                <a:noFill/>
                <a:prstDash val="solid"/>
                <a:miter/>
              </a:ln>
            </p:spPr>
            <p:txBody>
              <a:bodyPr rtlCol="0" anchor="ctr"/>
              <a:lstStyle/>
              <a:p>
                <a:endParaRPr lang="en-GB" dirty="0"/>
              </a:p>
            </p:txBody>
          </p:sp>
          <p:sp>
            <p:nvSpPr>
              <p:cNvPr id="87" name="Freihandform: Form 289">
                <a:extLst>
                  <a:ext uri="{FF2B5EF4-FFF2-40B4-BE49-F238E27FC236}">
                    <a16:creationId xmlns:a16="http://schemas.microsoft.com/office/drawing/2014/main" id="{7F1DA49D-8563-477D-9AF1-CAB90B09E60F}"/>
                  </a:ext>
                </a:extLst>
              </p:cNvPr>
              <p:cNvSpPr/>
              <p:nvPr/>
            </p:nvSpPr>
            <p:spPr>
              <a:xfrm>
                <a:off x="2573252" y="1837275"/>
                <a:ext cx="101857" cy="92098"/>
              </a:xfrm>
              <a:custGeom>
                <a:avLst/>
                <a:gdLst>
                  <a:gd name="connsiteX0" fmla="*/ 79654 w 101857"/>
                  <a:gd name="connsiteY0" fmla="*/ 92098 h 92098"/>
                  <a:gd name="connsiteX1" fmla="*/ 22190 w 101857"/>
                  <a:gd name="connsiteY1" fmla="*/ 92098 h 92098"/>
                  <a:gd name="connsiteX2" fmla="*/ 5042 w 101857"/>
                  <a:gd name="connsiteY2" fmla="*/ 83993 h 92098"/>
                  <a:gd name="connsiteX3" fmla="*/ 430 w 101857"/>
                  <a:gd name="connsiteY3" fmla="*/ 65594 h 92098"/>
                  <a:gd name="connsiteX4" fmla="*/ 9864 w 101857"/>
                  <a:gd name="connsiteY4" fmla="*/ 17904 h 92098"/>
                  <a:gd name="connsiteX5" fmla="*/ 31650 w 101857"/>
                  <a:gd name="connsiteY5" fmla="*/ 0 h 92098"/>
                  <a:gd name="connsiteX6" fmla="*/ 79654 w 101857"/>
                  <a:gd name="connsiteY6" fmla="*/ 0 h 92098"/>
                  <a:gd name="connsiteX7" fmla="*/ 101858 w 101857"/>
                  <a:gd name="connsiteY7" fmla="*/ 22204 h 92098"/>
                  <a:gd name="connsiteX8" fmla="*/ 101858 w 101857"/>
                  <a:gd name="connsiteY8" fmla="*/ 69894 h 92098"/>
                  <a:gd name="connsiteX9" fmla="*/ 79654 w 101857"/>
                  <a:gd name="connsiteY9" fmla="*/ 92098 h 92098"/>
                  <a:gd name="connsiteX10" fmla="*/ 31624 w 101857"/>
                  <a:gd name="connsiteY10" fmla="*/ 13161 h 92098"/>
                  <a:gd name="connsiteX11" fmla="*/ 22738 w 101857"/>
                  <a:gd name="connsiteY11" fmla="*/ 20458 h 92098"/>
                  <a:gd name="connsiteX12" fmla="*/ 13304 w 101857"/>
                  <a:gd name="connsiteY12" fmla="*/ 68148 h 92098"/>
                  <a:gd name="connsiteX13" fmla="*/ 15180 w 101857"/>
                  <a:gd name="connsiteY13" fmla="*/ 75654 h 92098"/>
                  <a:gd name="connsiteX14" fmla="*/ 22164 w 101857"/>
                  <a:gd name="connsiteY14" fmla="*/ 78964 h 92098"/>
                  <a:gd name="connsiteX15" fmla="*/ 79628 w 101857"/>
                  <a:gd name="connsiteY15" fmla="*/ 78964 h 92098"/>
                  <a:gd name="connsiteX16" fmla="*/ 88671 w 101857"/>
                  <a:gd name="connsiteY16" fmla="*/ 69921 h 92098"/>
                  <a:gd name="connsiteX17" fmla="*/ 88671 w 101857"/>
                  <a:gd name="connsiteY17" fmla="*/ 22204 h 92098"/>
                  <a:gd name="connsiteX18" fmla="*/ 79628 w 101857"/>
                  <a:gd name="connsiteY18" fmla="*/ 13161 h 92098"/>
                  <a:gd name="connsiteX19" fmla="*/ 31624 w 101857"/>
                  <a:gd name="connsiteY19" fmla="*/ 13161 h 9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857" h="92098">
                    <a:moveTo>
                      <a:pt x="79654" y="92098"/>
                    </a:moveTo>
                    <a:lnTo>
                      <a:pt x="22190" y="92098"/>
                    </a:lnTo>
                    <a:cubicBezTo>
                      <a:pt x="15519" y="92098"/>
                      <a:pt x="9264" y="89127"/>
                      <a:pt x="5042" y="83993"/>
                    </a:cubicBezTo>
                    <a:cubicBezTo>
                      <a:pt x="821" y="78833"/>
                      <a:pt x="-873" y="72136"/>
                      <a:pt x="430" y="65594"/>
                    </a:cubicBezTo>
                    <a:lnTo>
                      <a:pt x="9864" y="17904"/>
                    </a:lnTo>
                    <a:cubicBezTo>
                      <a:pt x="11923" y="7532"/>
                      <a:pt x="21096" y="0"/>
                      <a:pt x="31650" y="0"/>
                    </a:cubicBezTo>
                    <a:lnTo>
                      <a:pt x="79654" y="0"/>
                    </a:lnTo>
                    <a:cubicBezTo>
                      <a:pt x="91902" y="0"/>
                      <a:pt x="101858" y="9955"/>
                      <a:pt x="101858" y="22204"/>
                    </a:cubicBezTo>
                    <a:lnTo>
                      <a:pt x="101858" y="69894"/>
                    </a:lnTo>
                    <a:cubicBezTo>
                      <a:pt x="101858" y="82143"/>
                      <a:pt x="91902" y="92098"/>
                      <a:pt x="79654" y="92098"/>
                    </a:cubicBezTo>
                    <a:close/>
                    <a:moveTo>
                      <a:pt x="31624" y="13161"/>
                    </a:moveTo>
                    <a:cubicBezTo>
                      <a:pt x="27324" y="13161"/>
                      <a:pt x="23598" y="16236"/>
                      <a:pt x="22738" y="20458"/>
                    </a:cubicBezTo>
                    <a:lnTo>
                      <a:pt x="13304" y="68148"/>
                    </a:lnTo>
                    <a:cubicBezTo>
                      <a:pt x="12783" y="70807"/>
                      <a:pt x="13460" y="73543"/>
                      <a:pt x="15180" y="75654"/>
                    </a:cubicBezTo>
                    <a:cubicBezTo>
                      <a:pt x="16900" y="77765"/>
                      <a:pt x="19454" y="78964"/>
                      <a:pt x="22164" y="78964"/>
                    </a:cubicBezTo>
                    <a:lnTo>
                      <a:pt x="79628" y="78964"/>
                    </a:lnTo>
                    <a:cubicBezTo>
                      <a:pt x="84605" y="78964"/>
                      <a:pt x="88671" y="74898"/>
                      <a:pt x="88671" y="69921"/>
                    </a:cubicBezTo>
                    <a:lnTo>
                      <a:pt x="88671" y="22204"/>
                    </a:lnTo>
                    <a:cubicBezTo>
                      <a:pt x="88671" y="17226"/>
                      <a:pt x="84605" y="13161"/>
                      <a:pt x="79628" y="13161"/>
                    </a:cubicBezTo>
                    <a:lnTo>
                      <a:pt x="31624" y="13161"/>
                    </a:lnTo>
                    <a:close/>
                  </a:path>
                </a:pathLst>
              </a:custGeom>
              <a:solidFill>
                <a:schemeClr val="accent1"/>
              </a:solidFill>
              <a:ln w="2604" cap="flat">
                <a:noFill/>
                <a:prstDash val="solid"/>
                <a:miter/>
              </a:ln>
            </p:spPr>
            <p:txBody>
              <a:bodyPr rtlCol="0" anchor="ctr"/>
              <a:lstStyle/>
              <a:p>
                <a:endParaRPr lang="en-GB" dirty="0"/>
              </a:p>
            </p:txBody>
          </p:sp>
          <p:sp>
            <p:nvSpPr>
              <p:cNvPr id="88" name="Freihandform: Form 290">
                <a:extLst>
                  <a:ext uri="{FF2B5EF4-FFF2-40B4-BE49-F238E27FC236}">
                    <a16:creationId xmlns:a16="http://schemas.microsoft.com/office/drawing/2014/main" id="{9A36B15F-0225-43F1-8E71-BE945C341ACC}"/>
                  </a:ext>
                </a:extLst>
              </p:cNvPr>
              <p:cNvSpPr/>
              <p:nvPr/>
            </p:nvSpPr>
            <p:spPr>
              <a:xfrm>
                <a:off x="2583011" y="1876757"/>
                <a:ext cx="92072" cy="13134"/>
              </a:xfrm>
              <a:custGeom>
                <a:avLst/>
                <a:gdLst>
                  <a:gd name="connsiteX0" fmla="*/ 85505 w 92072"/>
                  <a:gd name="connsiteY0" fmla="*/ 13135 h 13134"/>
                  <a:gd name="connsiteX1" fmla="*/ 6567 w 92072"/>
                  <a:gd name="connsiteY1" fmla="*/ 13135 h 13134"/>
                  <a:gd name="connsiteX2" fmla="*/ 0 w 92072"/>
                  <a:gd name="connsiteY2" fmla="*/ 6567 h 13134"/>
                  <a:gd name="connsiteX3" fmla="*/ 6567 w 92072"/>
                  <a:gd name="connsiteY3" fmla="*/ 0 h 13134"/>
                  <a:gd name="connsiteX4" fmla="*/ 85505 w 92072"/>
                  <a:gd name="connsiteY4" fmla="*/ 0 h 13134"/>
                  <a:gd name="connsiteX5" fmla="*/ 92072 w 92072"/>
                  <a:gd name="connsiteY5" fmla="*/ 6567 h 13134"/>
                  <a:gd name="connsiteX6" fmla="*/ 85505 w 92072"/>
                  <a:gd name="connsiteY6" fmla="*/ 13135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072" h="13134">
                    <a:moveTo>
                      <a:pt x="85505" y="13135"/>
                    </a:moveTo>
                    <a:lnTo>
                      <a:pt x="6567" y="13135"/>
                    </a:lnTo>
                    <a:cubicBezTo>
                      <a:pt x="2919" y="13135"/>
                      <a:pt x="0" y="10190"/>
                      <a:pt x="0" y="6567"/>
                    </a:cubicBezTo>
                    <a:cubicBezTo>
                      <a:pt x="0" y="2945"/>
                      <a:pt x="2945" y="0"/>
                      <a:pt x="6567" y="0"/>
                    </a:cubicBezTo>
                    <a:lnTo>
                      <a:pt x="85505" y="0"/>
                    </a:lnTo>
                    <a:cubicBezTo>
                      <a:pt x="89153" y="0"/>
                      <a:pt x="92072" y="2945"/>
                      <a:pt x="92072" y="6567"/>
                    </a:cubicBezTo>
                    <a:cubicBezTo>
                      <a:pt x="92072" y="10190"/>
                      <a:pt x="89153" y="13135"/>
                      <a:pt x="85505" y="13135"/>
                    </a:cubicBezTo>
                    <a:close/>
                  </a:path>
                </a:pathLst>
              </a:custGeom>
              <a:solidFill>
                <a:schemeClr val="accent1"/>
              </a:solidFill>
              <a:ln w="2604" cap="flat">
                <a:noFill/>
                <a:prstDash val="solid"/>
                <a:miter/>
              </a:ln>
            </p:spPr>
            <p:txBody>
              <a:bodyPr rtlCol="0" anchor="ctr"/>
              <a:lstStyle/>
              <a:p>
                <a:endParaRPr lang="en-GB" dirty="0"/>
              </a:p>
            </p:txBody>
          </p:sp>
          <p:sp>
            <p:nvSpPr>
              <p:cNvPr id="89" name="Freihandform: Form 291">
                <a:extLst>
                  <a:ext uri="{FF2B5EF4-FFF2-40B4-BE49-F238E27FC236}">
                    <a16:creationId xmlns:a16="http://schemas.microsoft.com/office/drawing/2014/main" id="{D75DED44-D173-40B9-88B3-86E7A1188943}"/>
                  </a:ext>
                </a:extLst>
              </p:cNvPr>
              <p:cNvSpPr/>
              <p:nvPr/>
            </p:nvSpPr>
            <p:spPr>
              <a:xfrm>
                <a:off x="2701404" y="1837275"/>
                <a:ext cx="98065" cy="92098"/>
              </a:xfrm>
              <a:custGeom>
                <a:avLst/>
                <a:gdLst>
                  <a:gd name="connsiteX0" fmla="*/ 98066 w 98065"/>
                  <a:gd name="connsiteY0" fmla="*/ 51391 h 92098"/>
                  <a:gd name="connsiteX1" fmla="*/ 97128 w 98065"/>
                  <a:gd name="connsiteY1" fmla="*/ 43808 h 92098"/>
                  <a:gd name="connsiteX2" fmla="*/ 91994 w 98065"/>
                  <a:gd name="connsiteY2" fmla="*/ 17878 h 92098"/>
                  <a:gd name="connsiteX3" fmla="*/ 70207 w 98065"/>
                  <a:gd name="connsiteY3" fmla="*/ 0 h 92098"/>
                  <a:gd name="connsiteX4" fmla="*/ 22204 w 98065"/>
                  <a:gd name="connsiteY4" fmla="*/ 0 h 92098"/>
                  <a:gd name="connsiteX5" fmla="*/ 0 w 98065"/>
                  <a:gd name="connsiteY5" fmla="*/ 22204 h 92098"/>
                  <a:gd name="connsiteX6" fmla="*/ 0 w 98065"/>
                  <a:gd name="connsiteY6" fmla="*/ 69894 h 92098"/>
                  <a:gd name="connsiteX7" fmla="*/ 22204 w 98065"/>
                  <a:gd name="connsiteY7" fmla="*/ 92098 h 92098"/>
                  <a:gd name="connsiteX8" fmla="*/ 30856 w 98065"/>
                  <a:gd name="connsiteY8" fmla="*/ 92098 h 92098"/>
                  <a:gd name="connsiteX9" fmla="*/ 44016 w 98065"/>
                  <a:gd name="connsiteY9" fmla="*/ 78937 h 92098"/>
                  <a:gd name="connsiteX10" fmla="*/ 22230 w 98065"/>
                  <a:gd name="connsiteY10" fmla="*/ 78937 h 92098"/>
                  <a:gd name="connsiteX11" fmla="*/ 13187 w 98065"/>
                  <a:gd name="connsiteY11" fmla="*/ 69894 h 92098"/>
                  <a:gd name="connsiteX12" fmla="*/ 13187 w 98065"/>
                  <a:gd name="connsiteY12" fmla="*/ 52616 h 92098"/>
                  <a:gd name="connsiteX13" fmla="*/ 98066 w 98065"/>
                  <a:gd name="connsiteY13" fmla="*/ 51391 h 92098"/>
                  <a:gd name="connsiteX14" fmla="*/ 22204 w 98065"/>
                  <a:gd name="connsiteY14" fmla="*/ 13161 h 92098"/>
                  <a:gd name="connsiteX15" fmla="*/ 70207 w 98065"/>
                  <a:gd name="connsiteY15" fmla="*/ 13161 h 92098"/>
                  <a:gd name="connsiteX16" fmla="*/ 79068 w 98065"/>
                  <a:gd name="connsiteY16" fmla="*/ 20458 h 92098"/>
                  <a:gd name="connsiteX17" fmla="*/ 82821 w 98065"/>
                  <a:gd name="connsiteY17" fmla="*/ 39482 h 92098"/>
                  <a:gd name="connsiteX18" fmla="*/ 13135 w 98065"/>
                  <a:gd name="connsiteY18" fmla="*/ 39482 h 92098"/>
                  <a:gd name="connsiteX19" fmla="*/ 13135 w 98065"/>
                  <a:gd name="connsiteY19" fmla="*/ 22204 h 92098"/>
                  <a:gd name="connsiteX20" fmla="*/ 22204 w 98065"/>
                  <a:gd name="connsiteY20" fmla="*/ 13161 h 92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065" h="92098">
                    <a:moveTo>
                      <a:pt x="98066" y="51391"/>
                    </a:moveTo>
                    <a:lnTo>
                      <a:pt x="97128" y="43808"/>
                    </a:lnTo>
                    <a:lnTo>
                      <a:pt x="91994" y="17878"/>
                    </a:lnTo>
                    <a:cubicBezTo>
                      <a:pt x="89935" y="7505"/>
                      <a:pt x="80788" y="0"/>
                      <a:pt x="70207" y="0"/>
                    </a:cubicBezTo>
                    <a:lnTo>
                      <a:pt x="22204" y="0"/>
                    </a:lnTo>
                    <a:cubicBezTo>
                      <a:pt x="9955" y="0"/>
                      <a:pt x="0" y="9955"/>
                      <a:pt x="0" y="22204"/>
                    </a:cubicBezTo>
                    <a:lnTo>
                      <a:pt x="0" y="69894"/>
                    </a:lnTo>
                    <a:cubicBezTo>
                      <a:pt x="0" y="82143"/>
                      <a:pt x="9955" y="92098"/>
                      <a:pt x="22204" y="92098"/>
                    </a:cubicBezTo>
                    <a:lnTo>
                      <a:pt x="30856" y="92098"/>
                    </a:lnTo>
                    <a:lnTo>
                      <a:pt x="44016" y="78937"/>
                    </a:lnTo>
                    <a:lnTo>
                      <a:pt x="22230" y="78937"/>
                    </a:lnTo>
                    <a:cubicBezTo>
                      <a:pt x="17252" y="78937"/>
                      <a:pt x="13187" y="74872"/>
                      <a:pt x="13187" y="69894"/>
                    </a:cubicBezTo>
                    <a:lnTo>
                      <a:pt x="13187" y="52616"/>
                    </a:lnTo>
                    <a:lnTo>
                      <a:pt x="98066" y="51391"/>
                    </a:lnTo>
                    <a:close/>
                    <a:moveTo>
                      <a:pt x="22204" y="13161"/>
                    </a:moveTo>
                    <a:lnTo>
                      <a:pt x="70207" y="13161"/>
                    </a:lnTo>
                    <a:cubicBezTo>
                      <a:pt x="74507" y="13161"/>
                      <a:pt x="78234" y="16236"/>
                      <a:pt x="79068" y="20458"/>
                    </a:cubicBezTo>
                    <a:lnTo>
                      <a:pt x="82821" y="39482"/>
                    </a:lnTo>
                    <a:lnTo>
                      <a:pt x="13135" y="39482"/>
                    </a:lnTo>
                    <a:lnTo>
                      <a:pt x="13135" y="22204"/>
                    </a:lnTo>
                    <a:cubicBezTo>
                      <a:pt x="13161" y="17200"/>
                      <a:pt x="17226" y="13161"/>
                      <a:pt x="22204" y="13161"/>
                    </a:cubicBezTo>
                    <a:close/>
                  </a:path>
                </a:pathLst>
              </a:custGeom>
              <a:solidFill>
                <a:schemeClr val="accent1"/>
              </a:solidFill>
              <a:ln w="2604" cap="flat">
                <a:noFill/>
                <a:prstDash val="solid"/>
                <a:miter/>
              </a:ln>
            </p:spPr>
            <p:txBody>
              <a:bodyPr rtlCol="0" anchor="ctr"/>
              <a:lstStyle/>
              <a:p>
                <a:endParaRPr lang="en-GB" dirty="0"/>
              </a:p>
            </p:txBody>
          </p:sp>
          <p:sp>
            <p:nvSpPr>
              <p:cNvPr id="90" name="Freihandform: Form 292">
                <a:extLst>
                  <a:ext uri="{FF2B5EF4-FFF2-40B4-BE49-F238E27FC236}">
                    <a16:creationId xmlns:a16="http://schemas.microsoft.com/office/drawing/2014/main" id="{B3EF3AD6-8342-43DC-AA0F-51A86D564104}"/>
                  </a:ext>
                </a:extLst>
              </p:cNvPr>
              <p:cNvSpPr/>
              <p:nvPr/>
            </p:nvSpPr>
            <p:spPr>
              <a:xfrm rot="16485676">
                <a:off x="2586086" y="1876803"/>
                <a:ext cx="79220" cy="13159"/>
              </a:xfrm>
              <a:custGeom>
                <a:avLst/>
                <a:gdLst>
                  <a:gd name="connsiteX0" fmla="*/ 0 w 79220"/>
                  <a:gd name="connsiteY0" fmla="*/ 0 h 13159"/>
                  <a:gd name="connsiteX1" fmla="*/ 79220 w 79220"/>
                  <a:gd name="connsiteY1" fmla="*/ 0 h 13159"/>
                  <a:gd name="connsiteX2" fmla="*/ 79220 w 79220"/>
                  <a:gd name="connsiteY2" fmla="*/ 13160 h 13159"/>
                  <a:gd name="connsiteX3" fmla="*/ 0 w 79220"/>
                  <a:gd name="connsiteY3" fmla="*/ 13160 h 13159"/>
                </a:gdLst>
                <a:ahLst/>
                <a:cxnLst>
                  <a:cxn ang="0">
                    <a:pos x="connsiteX0" y="connsiteY0"/>
                  </a:cxn>
                  <a:cxn ang="0">
                    <a:pos x="connsiteX1" y="connsiteY1"/>
                  </a:cxn>
                  <a:cxn ang="0">
                    <a:pos x="connsiteX2" y="connsiteY2"/>
                  </a:cxn>
                  <a:cxn ang="0">
                    <a:pos x="connsiteX3" y="connsiteY3"/>
                  </a:cxn>
                </a:cxnLst>
                <a:rect l="l" t="t" r="r" b="b"/>
                <a:pathLst>
                  <a:path w="79220" h="13159">
                    <a:moveTo>
                      <a:pt x="0" y="0"/>
                    </a:moveTo>
                    <a:lnTo>
                      <a:pt x="79220" y="0"/>
                    </a:lnTo>
                    <a:lnTo>
                      <a:pt x="79220" y="13160"/>
                    </a:lnTo>
                    <a:lnTo>
                      <a:pt x="0" y="13160"/>
                    </a:lnTo>
                    <a:close/>
                  </a:path>
                </a:pathLst>
              </a:custGeom>
              <a:solidFill>
                <a:schemeClr val="accent1"/>
              </a:solidFill>
              <a:ln w="2604" cap="flat">
                <a:noFill/>
                <a:prstDash val="solid"/>
                <a:miter/>
              </a:ln>
            </p:spPr>
            <p:txBody>
              <a:bodyPr rtlCol="0" anchor="ctr"/>
              <a:lstStyle/>
              <a:p>
                <a:endParaRPr lang="en-GB" dirty="0"/>
              </a:p>
            </p:txBody>
          </p:sp>
          <p:sp>
            <p:nvSpPr>
              <p:cNvPr id="91" name="Freihandform: Form 293">
                <a:extLst>
                  <a:ext uri="{FF2B5EF4-FFF2-40B4-BE49-F238E27FC236}">
                    <a16:creationId xmlns:a16="http://schemas.microsoft.com/office/drawing/2014/main" id="{F4E458F3-9451-4570-8C56-ABE529003CBE}"/>
                  </a:ext>
                </a:extLst>
              </p:cNvPr>
              <p:cNvSpPr/>
              <p:nvPr/>
            </p:nvSpPr>
            <p:spPr>
              <a:xfrm>
                <a:off x="2740912" y="1843138"/>
                <a:ext cx="19675" cy="66819"/>
              </a:xfrm>
              <a:custGeom>
                <a:avLst/>
                <a:gdLst>
                  <a:gd name="connsiteX0" fmla="*/ 6593 w 19675"/>
                  <a:gd name="connsiteY0" fmla="*/ 66819 h 66819"/>
                  <a:gd name="connsiteX1" fmla="*/ 0 w 19675"/>
                  <a:gd name="connsiteY1" fmla="*/ 1433 h 66819"/>
                  <a:gd name="connsiteX2" fmla="*/ 13082 w 19675"/>
                  <a:gd name="connsiteY2" fmla="*/ 0 h 66819"/>
                  <a:gd name="connsiteX3" fmla="*/ 19676 w 19675"/>
                  <a:gd name="connsiteY3" fmla="*/ 65360 h 66819"/>
                </a:gdLst>
                <a:ahLst/>
                <a:cxnLst>
                  <a:cxn ang="0">
                    <a:pos x="connsiteX0" y="connsiteY0"/>
                  </a:cxn>
                  <a:cxn ang="0">
                    <a:pos x="connsiteX1" y="connsiteY1"/>
                  </a:cxn>
                  <a:cxn ang="0">
                    <a:pos x="connsiteX2" y="connsiteY2"/>
                  </a:cxn>
                  <a:cxn ang="0">
                    <a:pos x="connsiteX3" y="connsiteY3"/>
                  </a:cxn>
                </a:cxnLst>
                <a:rect l="l" t="t" r="r" b="b"/>
                <a:pathLst>
                  <a:path w="19675" h="66819">
                    <a:moveTo>
                      <a:pt x="6593" y="66819"/>
                    </a:moveTo>
                    <a:lnTo>
                      <a:pt x="0" y="1433"/>
                    </a:lnTo>
                    <a:lnTo>
                      <a:pt x="13082" y="0"/>
                    </a:lnTo>
                    <a:lnTo>
                      <a:pt x="19676" y="65360"/>
                    </a:lnTo>
                    <a:close/>
                  </a:path>
                </a:pathLst>
              </a:custGeom>
              <a:solidFill>
                <a:schemeClr val="accent1"/>
              </a:solidFill>
              <a:ln w="2604" cap="flat">
                <a:noFill/>
                <a:prstDash val="solid"/>
                <a:miter/>
              </a:ln>
            </p:spPr>
            <p:txBody>
              <a:bodyPr rtlCol="0" anchor="ctr"/>
              <a:lstStyle/>
              <a:p>
                <a:endParaRPr lang="en-GB" dirty="0"/>
              </a:p>
            </p:txBody>
          </p:sp>
        </p:grpSp>
      </p:grpSp>
      <p:grpSp>
        <p:nvGrpSpPr>
          <p:cNvPr id="9" name="Group 8">
            <a:extLst>
              <a:ext uri="{FF2B5EF4-FFF2-40B4-BE49-F238E27FC236}">
                <a16:creationId xmlns:a16="http://schemas.microsoft.com/office/drawing/2014/main" id="{DEA5793E-0B1A-4461-8C84-3193A0A13585}"/>
              </a:ext>
            </a:extLst>
          </p:cNvPr>
          <p:cNvGrpSpPr/>
          <p:nvPr/>
        </p:nvGrpSpPr>
        <p:grpSpPr>
          <a:xfrm>
            <a:off x="3725277" y="1585984"/>
            <a:ext cx="464150" cy="432000"/>
            <a:chOff x="3725277" y="1585984"/>
            <a:chExt cx="464150" cy="432000"/>
          </a:xfrm>
        </p:grpSpPr>
        <p:sp>
          <p:nvSpPr>
            <p:cNvPr id="100" name="Freihandform: Form 311">
              <a:extLst>
                <a:ext uri="{FF2B5EF4-FFF2-40B4-BE49-F238E27FC236}">
                  <a16:creationId xmlns:a16="http://schemas.microsoft.com/office/drawing/2014/main" id="{F2FFAC33-1B62-4D3B-BFF9-6BD427E55077}"/>
                </a:ext>
              </a:extLst>
            </p:cNvPr>
            <p:cNvSpPr/>
            <p:nvPr/>
          </p:nvSpPr>
          <p:spPr>
            <a:xfrm>
              <a:off x="3751684" y="1585984"/>
              <a:ext cx="437743" cy="432000"/>
            </a:xfrm>
            <a:custGeom>
              <a:avLst/>
              <a:gdLst>
                <a:gd name="connsiteX0" fmla="*/ 260710 w 434167"/>
                <a:gd name="connsiteY0" fmla="*/ 428471 h 428471"/>
                <a:gd name="connsiteX1" fmla="*/ 230271 w 434167"/>
                <a:gd name="connsiteY1" fmla="*/ 418099 h 428471"/>
                <a:gd name="connsiteX2" fmla="*/ 210622 w 434167"/>
                <a:gd name="connsiteY2" fmla="*/ 378279 h 428471"/>
                <a:gd name="connsiteX3" fmla="*/ 199389 w 434167"/>
                <a:gd name="connsiteY3" fmla="*/ 323343 h 428471"/>
                <a:gd name="connsiteX4" fmla="*/ 187297 w 434167"/>
                <a:gd name="connsiteY4" fmla="*/ 313049 h 428471"/>
                <a:gd name="connsiteX5" fmla="*/ 176873 w 434167"/>
                <a:gd name="connsiteY5" fmla="*/ 294676 h 428471"/>
                <a:gd name="connsiteX6" fmla="*/ 132753 w 434167"/>
                <a:gd name="connsiteY6" fmla="*/ 279796 h 428471"/>
                <a:gd name="connsiteX7" fmla="*/ 123188 w 434167"/>
                <a:gd name="connsiteY7" fmla="*/ 261006 h 428471"/>
                <a:gd name="connsiteX8" fmla="*/ 83159 w 434167"/>
                <a:gd name="connsiteY8" fmla="*/ 232496 h 428471"/>
                <a:gd name="connsiteX9" fmla="*/ 80319 w 434167"/>
                <a:gd name="connsiteY9" fmla="*/ 189079 h 428471"/>
                <a:gd name="connsiteX10" fmla="*/ 90170 w 434167"/>
                <a:gd name="connsiteY10" fmla="*/ 146261 h 428471"/>
                <a:gd name="connsiteX11" fmla="*/ 125612 w 434167"/>
                <a:gd name="connsiteY11" fmla="*/ 125152 h 428471"/>
                <a:gd name="connsiteX12" fmla="*/ 151464 w 434167"/>
                <a:gd name="connsiteY12" fmla="*/ 103053 h 428471"/>
                <a:gd name="connsiteX13" fmla="*/ 191702 w 434167"/>
                <a:gd name="connsiteY13" fmla="*/ 99326 h 428471"/>
                <a:gd name="connsiteX14" fmla="*/ 282054 w 434167"/>
                <a:gd name="connsiteY14" fmla="*/ 117803 h 428471"/>
                <a:gd name="connsiteX15" fmla="*/ 314942 w 434167"/>
                <a:gd name="connsiteY15" fmla="*/ 133049 h 428471"/>
                <a:gd name="connsiteX16" fmla="*/ 325028 w 434167"/>
                <a:gd name="connsiteY16" fmla="*/ 151916 h 428471"/>
                <a:gd name="connsiteX17" fmla="*/ 346580 w 434167"/>
                <a:gd name="connsiteY17" fmla="*/ 201692 h 428471"/>
                <a:gd name="connsiteX18" fmla="*/ 353564 w 434167"/>
                <a:gd name="connsiteY18" fmla="*/ 255768 h 428471"/>
                <a:gd name="connsiteX19" fmla="*/ 319190 w 434167"/>
                <a:gd name="connsiteY19" fmla="*/ 298611 h 428471"/>
                <a:gd name="connsiteX20" fmla="*/ 313092 w 434167"/>
                <a:gd name="connsiteY20" fmla="*/ 318939 h 428471"/>
                <a:gd name="connsiteX21" fmla="*/ 255758 w 434167"/>
                <a:gd name="connsiteY21" fmla="*/ 341116 h 428471"/>
                <a:gd name="connsiteX22" fmla="*/ 250234 w 434167"/>
                <a:gd name="connsiteY22" fmla="*/ 337833 h 428471"/>
                <a:gd name="connsiteX23" fmla="*/ 252579 w 434167"/>
                <a:gd name="connsiteY23" fmla="*/ 328998 h 428471"/>
                <a:gd name="connsiteX24" fmla="*/ 252970 w 434167"/>
                <a:gd name="connsiteY24" fmla="*/ 328764 h 428471"/>
                <a:gd name="connsiteX25" fmla="*/ 257322 w 434167"/>
                <a:gd name="connsiteY25" fmla="*/ 328034 h 428471"/>
                <a:gd name="connsiteX26" fmla="*/ 302537 w 434167"/>
                <a:gd name="connsiteY26" fmla="*/ 311042 h 428471"/>
                <a:gd name="connsiteX27" fmla="*/ 305951 w 434167"/>
                <a:gd name="connsiteY27" fmla="*/ 294650 h 428471"/>
                <a:gd name="connsiteX28" fmla="*/ 305925 w 434167"/>
                <a:gd name="connsiteY28" fmla="*/ 293973 h 428471"/>
                <a:gd name="connsiteX29" fmla="*/ 305951 w 434167"/>
                <a:gd name="connsiteY29" fmla="*/ 292774 h 428471"/>
                <a:gd name="connsiteX30" fmla="*/ 308010 w 434167"/>
                <a:gd name="connsiteY30" fmla="*/ 288161 h 428471"/>
                <a:gd name="connsiteX31" fmla="*/ 312727 w 434167"/>
                <a:gd name="connsiteY31" fmla="*/ 286363 h 428471"/>
                <a:gd name="connsiteX32" fmla="*/ 340742 w 434167"/>
                <a:gd name="connsiteY32" fmla="*/ 252589 h 428471"/>
                <a:gd name="connsiteX33" fmla="*/ 334904 w 434167"/>
                <a:gd name="connsiteY33" fmla="*/ 208077 h 428471"/>
                <a:gd name="connsiteX34" fmla="*/ 333237 w 434167"/>
                <a:gd name="connsiteY34" fmla="*/ 203308 h 428471"/>
                <a:gd name="connsiteX35" fmla="*/ 333367 w 434167"/>
                <a:gd name="connsiteY35" fmla="*/ 201249 h 428471"/>
                <a:gd name="connsiteX36" fmla="*/ 315854 w 434167"/>
                <a:gd name="connsiteY36" fmla="*/ 162002 h 428471"/>
                <a:gd name="connsiteX37" fmla="*/ 311971 w 434167"/>
                <a:gd name="connsiteY37" fmla="*/ 155513 h 428471"/>
                <a:gd name="connsiteX38" fmla="*/ 305586 w 434167"/>
                <a:gd name="connsiteY38" fmla="*/ 142326 h 428471"/>
                <a:gd name="connsiteX39" fmla="*/ 280073 w 434167"/>
                <a:gd name="connsiteY39" fmla="*/ 130964 h 428471"/>
                <a:gd name="connsiteX40" fmla="*/ 277701 w 434167"/>
                <a:gd name="connsiteY40" fmla="*/ 130703 h 428471"/>
                <a:gd name="connsiteX41" fmla="*/ 273949 w 434167"/>
                <a:gd name="connsiteY41" fmla="*/ 128410 h 428471"/>
                <a:gd name="connsiteX42" fmla="*/ 194256 w 434167"/>
                <a:gd name="connsiteY42" fmla="*/ 112461 h 428471"/>
                <a:gd name="connsiteX43" fmla="*/ 188262 w 434167"/>
                <a:gd name="connsiteY43" fmla="*/ 112096 h 428471"/>
                <a:gd name="connsiteX44" fmla="*/ 156207 w 434167"/>
                <a:gd name="connsiteY44" fmla="*/ 115275 h 428471"/>
                <a:gd name="connsiteX45" fmla="*/ 136714 w 434167"/>
                <a:gd name="connsiteY45" fmla="*/ 132814 h 428471"/>
                <a:gd name="connsiteX46" fmla="*/ 131163 w 434167"/>
                <a:gd name="connsiteY46" fmla="*/ 137479 h 428471"/>
                <a:gd name="connsiteX47" fmla="*/ 100542 w 434167"/>
                <a:gd name="connsiteY47" fmla="*/ 154262 h 428471"/>
                <a:gd name="connsiteX48" fmla="*/ 93531 w 434167"/>
                <a:gd name="connsiteY48" fmla="*/ 189131 h 428471"/>
                <a:gd name="connsiteX49" fmla="*/ 92567 w 434167"/>
                <a:gd name="connsiteY49" fmla="*/ 193639 h 428471"/>
                <a:gd name="connsiteX50" fmla="*/ 95564 w 434167"/>
                <a:gd name="connsiteY50" fmla="*/ 228065 h 428471"/>
                <a:gd name="connsiteX51" fmla="*/ 128974 w 434167"/>
                <a:gd name="connsiteY51" fmla="*/ 248549 h 428471"/>
                <a:gd name="connsiteX52" fmla="*/ 134577 w 434167"/>
                <a:gd name="connsiteY52" fmla="*/ 253605 h 428471"/>
                <a:gd name="connsiteX53" fmla="*/ 134733 w 434167"/>
                <a:gd name="connsiteY53" fmla="*/ 254282 h 428471"/>
                <a:gd name="connsiteX54" fmla="*/ 142447 w 434167"/>
                <a:gd name="connsiteY54" fmla="*/ 271013 h 428471"/>
                <a:gd name="connsiteX55" fmla="*/ 180886 w 434167"/>
                <a:gd name="connsiteY55" fmla="*/ 281281 h 428471"/>
                <a:gd name="connsiteX56" fmla="*/ 182346 w 434167"/>
                <a:gd name="connsiteY56" fmla="*/ 281359 h 428471"/>
                <a:gd name="connsiteX57" fmla="*/ 188470 w 434167"/>
                <a:gd name="connsiteY57" fmla="*/ 287614 h 428471"/>
                <a:gd name="connsiteX58" fmla="*/ 196601 w 434167"/>
                <a:gd name="connsiteY58" fmla="*/ 303850 h 428471"/>
                <a:gd name="connsiteX59" fmla="*/ 207833 w 434167"/>
                <a:gd name="connsiteY59" fmla="*/ 313362 h 428471"/>
                <a:gd name="connsiteX60" fmla="*/ 223652 w 434167"/>
                <a:gd name="connsiteY60" fmla="*/ 378279 h 428471"/>
                <a:gd name="connsiteX61" fmla="*/ 238168 w 434167"/>
                <a:gd name="connsiteY61" fmla="*/ 407649 h 428471"/>
                <a:gd name="connsiteX62" fmla="*/ 270405 w 434167"/>
                <a:gd name="connsiteY62" fmla="*/ 414008 h 428471"/>
                <a:gd name="connsiteX63" fmla="*/ 420513 w 434167"/>
                <a:gd name="connsiteY63" fmla="*/ 202630 h 428471"/>
                <a:gd name="connsiteX64" fmla="*/ 231548 w 434167"/>
                <a:gd name="connsiteY64" fmla="*/ 13665 h 428471"/>
                <a:gd name="connsiteX65" fmla="*/ 77947 w 434167"/>
                <a:gd name="connsiteY65" fmla="*/ 67975 h 428471"/>
                <a:gd name="connsiteX66" fmla="*/ 13135 w 434167"/>
                <a:gd name="connsiteY66" fmla="*/ 217094 h 428471"/>
                <a:gd name="connsiteX67" fmla="*/ 6567 w 434167"/>
                <a:gd name="connsiteY67" fmla="*/ 223661 h 428471"/>
                <a:gd name="connsiteX68" fmla="*/ 0 w 434167"/>
                <a:gd name="connsiteY68" fmla="*/ 217094 h 428471"/>
                <a:gd name="connsiteX69" fmla="*/ 68982 w 434167"/>
                <a:gd name="connsiteY69" fmla="*/ 58359 h 428471"/>
                <a:gd name="connsiteX70" fmla="*/ 232460 w 434167"/>
                <a:gd name="connsiteY70" fmla="*/ 531 h 428471"/>
                <a:gd name="connsiteX71" fmla="*/ 433648 w 434167"/>
                <a:gd name="connsiteY71" fmla="*/ 201718 h 428471"/>
                <a:gd name="connsiteX72" fmla="*/ 273845 w 434167"/>
                <a:gd name="connsiteY72" fmla="*/ 426699 h 428471"/>
                <a:gd name="connsiteX73" fmla="*/ 260710 w 434167"/>
                <a:gd name="connsiteY73" fmla="*/ 428471 h 42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34167" h="428471">
                  <a:moveTo>
                    <a:pt x="260710" y="428471"/>
                  </a:moveTo>
                  <a:cubicBezTo>
                    <a:pt x="249817" y="428471"/>
                    <a:pt x="239184" y="424927"/>
                    <a:pt x="230271" y="418099"/>
                  </a:cubicBezTo>
                  <a:cubicBezTo>
                    <a:pt x="217788" y="408535"/>
                    <a:pt x="210622" y="394019"/>
                    <a:pt x="210622" y="378279"/>
                  </a:cubicBezTo>
                  <a:cubicBezTo>
                    <a:pt x="210622" y="333897"/>
                    <a:pt x="204393" y="328060"/>
                    <a:pt x="199389" y="323343"/>
                  </a:cubicBezTo>
                  <a:cubicBezTo>
                    <a:pt x="198868" y="322952"/>
                    <a:pt x="190555" y="316385"/>
                    <a:pt x="187297" y="313049"/>
                  </a:cubicBezTo>
                  <a:cubicBezTo>
                    <a:pt x="184483" y="310182"/>
                    <a:pt x="179375" y="301843"/>
                    <a:pt x="176873" y="294676"/>
                  </a:cubicBezTo>
                  <a:cubicBezTo>
                    <a:pt x="155790" y="295380"/>
                    <a:pt x="142734" y="290924"/>
                    <a:pt x="132753" y="279796"/>
                  </a:cubicBezTo>
                  <a:cubicBezTo>
                    <a:pt x="128296" y="274792"/>
                    <a:pt x="124882" y="266010"/>
                    <a:pt x="123188" y="261006"/>
                  </a:cubicBezTo>
                  <a:cubicBezTo>
                    <a:pt x="99369" y="256810"/>
                    <a:pt x="88293" y="243363"/>
                    <a:pt x="83159" y="232496"/>
                  </a:cubicBezTo>
                  <a:cubicBezTo>
                    <a:pt x="75445" y="216156"/>
                    <a:pt x="77035" y="197392"/>
                    <a:pt x="80319" y="189079"/>
                  </a:cubicBezTo>
                  <a:cubicBezTo>
                    <a:pt x="78182" y="171957"/>
                    <a:pt x="81491" y="157572"/>
                    <a:pt x="90170" y="146261"/>
                  </a:cubicBezTo>
                  <a:cubicBezTo>
                    <a:pt x="101193" y="131902"/>
                    <a:pt x="117924" y="126794"/>
                    <a:pt x="125612" y="125152"/>
                  </a:cubicBezTo>
                  <a:cubicBezTo>
                    <a:pt x="129834" y="115666"/>
                    <a:pt x="138668" y="108083"/>
                    <a:pt x="151464" y="103053"/>
                  </a:cubicBezTo>
                  <a:cubicBezTo>
                    <a:pt x="165328" y="97606"/>
                    <a:pt x="182216" y="96173"/>
                    <a:pt x="191702" y="99326"/>
                  </a:cubicBezTo>
                  <a:cubicBezTo>
                    <a:pt x="239940" y="79807"/>
                    <a:pt x="273584" y="109177"/>
                    <a:pt x="282054" y="117803"/>
                  </a:cubicBezTo>
                  <a:cubicBezTo>
                    <a:pt x="292895" y="118116"/>
                    <a:pt x="306003" y="124110"/>
                    <a:pt x="314942" y="133049"/>
                  </a:cubicBezTo>
                  <a:cubicBezTo>
                    <a:pt x="320728" y="138860"/>
                    <a:pt x="324220" y="145401"/>
                    <a:pt x="325028" y="151916"/>
                  </a:cubicBezTo>
                  <a:cubicBezTo>
                    <a:pt x="348873" y="165546"/>
                    <a:pt x="347101" y="196219"/>
                    <a:pt x="346580" y="201692"/>
                  </a:cubicBezTo>
                  <a:cubicBezTo>
                    <a:pt x="354450" y="213263"/>
                    <a:pt x="357864" y="238229"/>
                    <a:pt x="353564" y="255768"/>
                  </a:cubicBezTo>
                  <a:cubicBezTo>
                    <a:pt x="349081" y="274114"/>
                    <a:pt x="334331" y="294077"/>
                    <a:pt x="319190" y="298611"/>
                  </a:cubicBezTo>
                  <a:cubicBezTo>
                    <a:pt x="318929" y="305622"/>
                    <a:pt x="317079" y="313648"/>
                    <a:pt x="313092" y="318939"/>
                  </a:cubicBezTo>
                  <a:cubicBezTo>
                    <a:pt x="308140" y="325584"/>
                    <a:pt x="289403" y="346745"/>
                    <a:pt x="255758" y="341116"/>
                  </a:cubicBezTo>
                  <a:cubicBezTo>
                    <a:pt x="253517" y="341012"/>
                    <a:pt x="251380" y="339865"/>
                    <a:pt x="250234" y="337833"/>
                  </a:cubicBezTo>
                  <a:cubicBezTo>
                    <a:pt x="248462" y="334653"/>
                    <a:pt x="249400" y="330770"/>
                    <a:pt x="252579" y="328998"/>
                  </a:cubicBezTo>
                  <a:lnTo>
                    <a:pt x="252970" y="328764"/>
                  </a:lnTo>
                  <a:cubicBezTo>
                    <a:pt x="254299" y="328034"/>
                    <a:pt x="255811" y="327773"/>
                    <a:pt x="257322" y="328034"/>
                  </a:cubicBezTo>
                  <a:cubicBezTo>
                    <a:pt x="283252" y="332647"/>
                    <a:pt x="297586" y="317688"/>
                    <a:pt x="302537" y="311042"/>
                  </a:cubicBezTo>
                  <a:cubicBezTo>
                    <a:pt x="304909" y="307889"/>
                    <a:pt x="306420" y="300696"/>
                    <a:pt x="305951" y="294650"/>
                  </a:cubicBezTo>
                  <a:cubicBezTo>
                    <a:pt x="305925" y="294416"/>
                    <a:pt x="305925" y="294207"/>
                    <a:pt x="305925" y="293973"/>
                  </a:cubicBezTo>
                  <a:lnTo>
                    <a:pt x="305951" y="292774"/>
                  </a:lnTo>
                  <a:cubicBezTo>
                    <a:pt x="306003" y="291028"/>
                    <a:pt x="306733" y="289360"/>
                    <a:pt x="308010" y="288161"/>
                  </a:cubicBezTo>
                  <a:cubicBezTo>
                    <a:pt x="309287" y="286962"/>
                    <a:pt x="310981" y="286285"/>
                    <a:pt x="312727" y="286363"/>
                  </a:cubicBezTo>
                  <a:cubicBezTo>
                    <a:pt x="321353" y="286780"/>
                    <a:pt x="336390" y="270284"/>
                    <a:pt x="340742" y="252589"/>
                  </a:cubicBezTo>
                  <a:cubicBezTo>
                    <a:pt x="344781" y="236066"/>
                    <a:pt x="340091" y="213836"/>
                    <a:pt x="334904" y="208077"/>
                  </a:cubicBezTo>
                  <a:cubicBezTo>
                    <a:pt x="333732" y="206774"/>
                    <a:pt x="333132" y="205054"/>
                    <a:pt x="333237" y="203308"/>
                  </a:cubicBezTo>
                  <a:lnTo>
                    <a:pt x="333367" y="201249"/>
                  </a:lnTo>
                  <a:cubicBezTo>
                    <a:pt x="333549" y="199633"/>
                    <a:pt x="336703" y="171306"/>
                    <a:pt x="315854" y="162002"/>
                  </a:cubicBezTo>
                  <a:cubicBezTo>
                    <a:pt x="313326" y="160855"/>
                    <a:pt x="311763" y="158275"/>
                    <a:pt x="311971" y="155513"/>
                  </a:cubicBezTo>
                  <a:cubicBezTo>
                    <a:pt x="312284" y="151447"/>
                    <a:pt x="309991" y="146756"/>
                    <a:pt x="305586" y="142326"/>
                  </a:cubicBezTo>
                  <a:cubicBezTo>
                    <a:pt x="298576" y="135316"/>
                    <a:pt x="287631" y="130338"/>
                    <a:pt x="280073" y="130964"/>
                  </a:cubicBezTo>
                  <a:cubicBezTo>
                    <a:pt x="279291" y="131016"/>
                    <a:pt x="278483" y="130938"/>
                    <a:pt x="277701" y="130703"/>
                  </a:cubicBezTo>
                  <a:cubicBezTo>
                    <a:pt x="276451" y="130338"/>
                    <a:pt x="274783" y="129426"/>
                    <a:pt x="273949" y="128410"/>
                  </a:cubicBezTo>
                  <a:cubicBezTo>
                    <a:pt x="272698" y="126898"/>
                    <a:pt x="242311" y="91430"/>
                    <a:pt x="194256" y="112461"/>
                  </a:cubicBezTo>
                  <a:cubicBezTo>
                    <a:pt x="192327" y="113321"/>
                    <a:pt x="190086" y="113164"/>
                    <a:pt x="188262" y="112096"/>
                  </a:cubicBezTo>
                  <a:cubicBezTo>
                    <a:pt x="184874" y="110089"/>
                    <a:pt x="170149" y="109777"/>
                    <a:pt x="156207" y="115275"/>
                  </a:cubicBezTo>
                  <a:cubicBezTo>
                    <a:pt x="148832" y="118168"/>
                    <a:pt x="139450" y="123563"/>
                    <a:pt x="136714" y="132814"/>
                  </a:cubicBezTo>
                  <a:cubicBezTo>
                    <a:pt x="135958" y="135342"/>
                    <a:pt x="133769" y="137192"/>
                    <a:pt x="131163" y="137479"/>
                  </a:cubicBezTo>
                  <a:cubicBezTo>
                    <a:pt x="130954" y="137505"/>
                    <a:pt x="111565" y="139877"/>
                    <a:pt x="100542" y="154262"/>
                  </a:cubicBezTo>
                  <a:cubicBezTo>
                    <a:pt x="93792" y="163070"/>
                    <a:pt x="91420" y="174798"/>
                    <a:pt x="93531" y="189131"/>
                  </a:cubicBezTo>
                  <a:cubicBezTo>
                    <a:pt x="93766" y="190695"/>
                    <a:pt x="93427" y="192284"/>
                    <a:pt x="92567" y="193639"/>
                  </a:cubicBezTo>
                  <a:cubicBezTo>
                    <a:pt x="91316" y="195959"/>
                    <a:pt x="87876" y="213159"/>
                    <a:pt x="95564" y="228065"/>
                  </a:cubicBezTo>
                  <a:cubicBezTo>
                    <a:pt x="101558" y="239688"/>
                    <a:pt x="112816" y="246595"/>
                    <a:pt x="128974" y="248549"/>
                  </a:cubicBezTo>
                  <a:cubicBezTo>
                    <a:pt x="131710" y="248888"/>
                    <a:pt x="133951" y="250895"/>
                    <a:pt x="134577" y="253605"/>
                  </a:cubicBezTo>
                  <a:lnTo>
                    <a:pt x="134733" y="254282"/>
                  </a:lnTo>
                  <a:cubicBezTo>
                    <a:pt x="136401" y="259938"/>
                    <a:pt x="139763" y="267990"/>
                    <a:pt x="142447" y="271013"/>
                  </a:cubicBezTo>
                  <a:cubicBezTo>
                    <a:pt x="150239" y="279691"/>
                    <a:pt x="161002" y="282584"/>
                    <a:pt x="180886" y="281281"/>
                  </a:cubicBezTo>
                  <a:cubicBezTo>
                    <a:pt x="181382" y="281255"/>
                    <a:pt x="181851" y="281281"/>
                    <a:pt x="182346" y="281359"/>
                  </a:cubicBezTo>
                  <a:cubicBezTo>
                    <a:pt x="185421" y="281828"/>
                    <a:pt x="188314" y="284513"/>
                    <a:pt x="188470" y="287614"/>
                  </a:cubicBezTo>
                  <a:cubicBezTo>
                    <a:pt x="188626" y="290819"/>
                    <a:pt x="194073" y="301270"/>
                    <a:pt x="196601" y="303850"/>
                  </a:cubicBezTo>
                  <a:cubicBezTo>
                    <a:pt x="198868" y="306169"/>
                    <a:pt x="205488" y="311511"/>
                    <a:pt x="207833" y="313362"/>
                  </a:cubicBezTo>
                  <a:cubicBezTo>
                    <a:pt x="217006" y="321936"/>
                    <a:pt x="223652" y="331891"/>
                    <a:pt x="223652" y="378279"/>
                  </a:cubicBezTo>
                  <a:cubicBezTo>
                    <a:pt x="223652" y="389876"/>
                    <a:pt x="228942" y="400586"/>
                    <a:pt x="238168" y="407649"/>
                  </a:cubicBezTo>
                  <a:cubicBezTo>
                    <a:pt x="247419" y="414737"/>
                    <a:pt x="259172" y="417057"/>
                    <a:pt x="270405" y="414008"/>
                  </a:cubicBezTo>
                  <a:cubicBezTo>
                    <a:pt x="364092" y="388703"/>
                    <a:pt x="427211" y="299810"/>
                    <a:pt x="420513" y="202630"/>
                  </a:cubicBezTo>
                  <a:cubicBezTo>
                    <a:pt x="413555" y="101854"/>
                    <a:pt x="332324" y="20623"/>
                    <a:pt x="231548" y="13665"/>
                  </a:cubicBezTo>
                  <a:cubicBezTo>
                    <a:pt x="174267" y="9730"/>
                    <a:pt x="119722" y="29015"/>
                    <a:pt x="77947" y="67975"/>
                  </a:cubicBezTo>
                  <a:cubicBezTo>
                    <a:pt x="36745" y="106415"/>
                    <a:pt x="13135" y="160777"/>
                    <a:pt x="13135" y="217094"/>
                  </a:cubicBezTo>
                  <a:cubicBezTo>
                    <a:pt x="13135" y="220716"/>
                    <a:pt x="10190" y="223661"/>
                    <a:pt x="6567" y="223661"/>
                  </a:cubicBezTo>
                  <a:cubicBezTo>
                    <a:pt x="2945" y="223661"/>
                    <a:pt x="0" y="220716"/>
                    <a:pt x="0" y="217094"/>
                  </a:cubicBezTo>
                  <a:cubicBezTo>
                    <a:pt x="0" y="157129"/>
                    <a:pt x="25148" y="99274"/>
                    <a:pt x="68982" y="58359"/>
                  </a:cubicBezTo>
                  <a:cubicBezTo>
                    <a:pt x="113442" y="16871"/>
                    <a:pt x="171479" y="-3639"/>
                    <a:pt x="232460" y="531"/>
                  </a:cubicBezTo>
                  <a:cubicBezTo>
                    <a:pt x="339752" y="7932"/>
                    <a:pt x="426247" y="94401"/>
                    <a:pt x="433648" y="201718"/>
                  </a:cubicBezTo>
                  <a:cubicBezTo>
                    <a:pt x="440789" y="305127"/>
                    <a:pt x="373578" y="399752"/>
                    <a:pt x="273845" y="426699"/>
                  </a:cubicBezTo>
                  <a:cubicBezTo>
                    <a:pt x="269571" y="427872"/>
                    <a:pt x="265114" y="428471"/>
                    <a:pt x="260710" y="428471"/>
                  </a:cubicBezTo>
                  <a:close/>
                </a:path>
              </a:pathLst>
            </a:custGeom>
            <a:solidFill>
              <a:schemeClr val="tx2"/>
            </a:solidFill>
            <a:ln w="2604" cap="flat">
              <a:noFill/>
              <a:prstDash val="solid"/>
              <a:miter/>
            </a:ln>
          </p:spPr>
          <p:txBody>
            <a:bodyPr rtlCol="0" anchor="ctr"/>
            <a:lstStyle/>
            <a:p>
              <a:endParaRPr lang="en-GB" dirty="0"/>
            </a:p>
          </p:txBody>
        </p:sp>
        <p:grpSp>
          <p:nvGrpSpPr>
            <p:cNvPr id="101" name="Group 100">
              <a:extLst>
                <a:ext uri="{FF2B5EF4-FFF2-40B4-BE49-F238E27FC236}">
                  <a16:creationId xmlns:a16="http://schemas.microsoft.com/office/drawing/2014/main" id="{182E7EAF-D658-47AC-92BD-B1664765BEF3}"/>
                </a:ext>
              </a:extLst>
            </p:cNvPr>
            <p:cNvGrpSpPr/>
            <p:nvPr/>
          </p:nvGrpSpPr>
          <p:grpSpPr>
            <a:xfrm>
              <a:off x="3725277" y="1751811"/>
              <a:ext cx="271892" cy="145911"/>
              <a:chOff x="879171" y="2593808"/>
              <a:chExt cx="269671" cy="144719"/>
            </a:xfrm>
          </p:grpSpPr>
          <p:sp>
            <p:nvSpPr>
              <p:cNvPr id="102" name="Freihandform: Form 312">
                <a:extLst>
                  <a:ext uri="{FF2B5EF4-FFF2-40B4-BE49-F238E27FC236}">
                    <a16:creationId xmlns:a16="http://schemas.microsoft.com/office/drawing/2014/main" id="{D30C09EA-A035-4879-B6B1-8EE7B04F5FC1}"/>
                  </a:ext>
                </a:extLst>
              </p:cNvPr>
              <p:cNvSpPr/>
              <p:nvPr/>
            </p:nvSpPr>
            <p:spPr>
              <a:xfrm>
                <a:off x="1089651" y="2593808"/>
                <a:ext cx="59191" cy="105263"/>
              </a:xfrm>
              <a:custGeom>
                <a:avLst/>
                <a:gdLst>
                  <a:gd name="connsiteX0" fmla="*/ 32900 w 59191"/>
                  <a:gd name="connsiteY0" fmla="*/ 105264 h 105263"/>
                  <a:gd name="connsiteX1" fmla="*/ 30580 w 59191"/>
                  <a:gd name="connsiteY1" fmla="*/ 104847 h 105263"/>
                  <a:gd name="connsiteX2" fmla="*/ 26723 w 59191"/>
                  <a:gd name="connsiteY2" fmla="*/ 96377 h 105263"/>
                  <a:gd name="connsiteX3" fmla="*/ 42568 w 59191"/>
                  <a:gd name="connsiteY3" fmla="*/ 54133 h 105263"/>
                  <a:gd name="connsiteX4" fmla="*/ 7517 w 59191"/>
                  <a:gd name="connsiteY4" fmla="*/ 59137 h 105263"/>
                  <a:gd name="connsiteX5" fmla="*/ 1132 w 59191"/>
                  <a:gd name="connsiteY5" fmla="*/ 56322 h 105263"/>
                  <a:gd name="connsiteX6" fmla="*/ 871 w 59191"/>
                  <a:gd name="connsiteY6" fmla="*/ 49364 h 105263"/>
                  <a:gd name="connsiteX7" fmla="*/ 27192 w 59191"/>
                  <a:gd name="connsiteY7" fmla="*/ 3315 h 105263"/>
                  <a:gd name="connsiteX8" fmla="*/ 36157 w 59191"/>
                  <a:gd name="connsiteY8" fmla="*/ 865 h 105263"/>
                  <a:gd name="connsiteX9" fmla="*/ 38607 w 59191"/>
                  <a:gd name="connsiteY9" fmla="*/ 9830 h 105263"/>
                  <a:gd name="connsiteX10" fmla="*/ 18957 w 59191"/>
                  <a:gd name="connsiteY10" fmla="*/ 44204 h 105263"/>
                  <a:gd name="connsiteX11" fmla="*/ 51689 w 59191"/>
                  <a:gd name="connsiteY11" fmla="*/ 39539 h 105263"/>
                  <a:gd name="connsiteX12" fmla="*/ 57735 w 59191"/>
                  <a:gd name="connsiteY12" fmla="*/ 41937 h 105263"/>
                  <a:gd name="connsiteX13" fmla="*/ 58778 w 59191"/>
                  <a:gd name="connsiteY13" fmla="*/ 48374 h 105263"/>
                  <a:gd name="connsiteX14" fmla="*/ 39050 w 59191"/>
                  <a:gd name="connsiteY14" fmla="*/ 100990 h 105263"/>
                  <a:gd name="connsiteX15" fmla="*/ 32900 w 59191"/>
                  <a:gd name="connsiteY15" fmla="*/ 105264 h 10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191" h="105263">
                    <a:moveTo>
                      <a:pt x="32900" y="105264"/>
                    </a:moveTo>
                    <a:cubicBezTo>
                      <a:pt x="32144" y="105264"/>
                      <a:pt x="31362" y="105134"/>
                      <a:pt x="30580" y="104847"/>
                    </a:cubicBezTo>
                    <a:cubicBezTo>
                      <a:pt x="27166" y="103570"/>
                      <a:pt x="25446" y="99765"/>
                      <a:pt x="26723" y="96377"/>
                    </a:cubicBezTo>
                    <a:lnTo>
                      <a:pt x="42568" y="54133"/>
                    </a:lnTo>
                    <a:lnTo>
                      <a:pt x="7517" y="59137"/>
                    </a:lnTo>
                    <a:cubicBezTo>
                      <a:pt x="5015" y="59475"/>
                      <a:pt x="2565" y="58407"/>
                      <a:pt x="1132" y="56322"/>
                    </a:cubicBezTo>
                    <a:cubicBezTo>
                      <a:pt x="-275" y="54237"/>
                      <a:pt x="-380" y="51553"/>
                      <a:pt x="871" y="49364"/>
                    </a:cubicBezTo>
                    <a:lnTo>
                      <a:pt x="27192" y="3315"/>
                    </a:lnTo>
                    <a:cubicBezTo>
                      <a:pt x="28991" y="162"/>
                      <a:pt x="33004" y="-933"/>
                      <a:pt x="36157" y="865"/>
                    </a:cubicBezTo>
                    <a:cubicBezTo>
                      <a:pt x="39311" y="2663"/>
                      <a:pt x="40405" y="6677"/>
                      <a:pt x="38607" y="9830"/>
                    </a:cubicBezTo>
                    <a:lnTo>
                      <a:pt x="18957" y="44204"/>
                    </a:lnTo>
                    <a:lnTo>
                      <a:pt x="51689" y="39539"/>
                    </a:lnTo>
                    <a:cubicBezTo>
                      <a:pt x="53983" y="39200"/>
                      <a:pt x="56302" y="40112"/>
                      <a:pt x="57735" y="41937"/>
                    </a:cubicBezTo>
                    <a:cubicBezTo>
                      <a:pt x="59195" y="43761"/>
                      <a:pt x="59586" y="46185"/>
                      <a:pt x="58778" y="48374"/>
                    </a:cubicBezTo>
                    <a:lnTo>
                      <a:pt x="39050" y="100990"/>
                    </a:lnTo>
                    <a:cubicBezTo>
                      <a:pt x="38086" y="103622"/>
                      <a:pt x="35584" y="105264"/>
                      <a:pt x="32900" y="105264"/>
                    </a:cubicBezTo>
                    <a:close/>
                  </a:path>
                </a:pathLst>
              </a:custGeom>
              <a:solidFill>
                <a:schemeClr val="accent1"/>
              </a:solidFill>
              <a:ln w="2604" cap="flat">
                <a:noFill/>
                <a:prstDash val="solid"/>
                <a:miter/>
              </a:ln>
            </p:spPr>
            <p:txBody>
              <a:bodyPr rtlCol="0" anchor="ctr"/>
              <a:lstStyle/>
              <a:p>
                <a:endParaRPr lang="en-GB" dirty="0"/>
              </a:p>
            </p:txBody>
          </p:sp>
          <p:sp>
            <p:nvSpPr>
              <p:cNvPr id="103" name="Freihandform: Form 313">
                <a:extLst>
                  <a:ext uri="{FF2B5EF4-FFF2-40B4-BE49-F238E27FC236}">
                    <a16:creationId xmlns:a16="http://schemas.microsoft.com/office/drawing/2014/main" id="{F58DAB3A-763D-4F64-A80D-E77AD7CFEBB6}"/>
                  </a:ext>
                </a:extLst>
              </p:cNvPr>
              <p:cNvSpPr/>
              <p:nvPr/>
            </p:nvSpPr>
            <p:spPr>
              <a:xfrm>
                <a:off x="879171" y="2639862"/>
                <a:ext cx="65776" cy="65776"/>
              </a:xfrm>
              <a:custGeom>
                <a:avLst/>
                <a:gdLst>
                  <a:gd name="connsiteX0" fmla="*/ 59184 w 65776"/>
                  <a:gd name="connsiteY0" fmla="*/ 65777 h 65776"/>
                  <a:gd name="connsiteX1" fmla="*/ 6567 w 65776"/>
                  <a:gd name="connsiteY1" fmla="*/ 65777 h 65776"/>
                  <a:gd name="connsiteX2" fmla="*/ 0 w 65776"/>
                  <a:gd name="connsiteY2" fmla="*/ 59210 h 65776"/>
                  <a:gd name="connsiteX3" fmla="*/ 0 w 65776"/>
                  <a:gd name="connsiteY3" fmla="*/ 32888 h 65776"/>
                  <a:gd name="connsiteX4" fmla="*/ 32888 w 65776"/>
                  <a:gd name="connsiteY4" fmla="*/ 0 h 65776"/>
                  <a:gd name="connsiteX5" fmla="*/ 65777 w 65776"/>
                  <a:gd name="connsiteY5" fmla="*/ 32888 h 65776"/>
                  <a:gd name="connsiteX6" fmla="*/ 65777 w 65776"/>
                  <a:gd name="connsiteY6" fmla="*/ 59210 h 65776"/>
                  <a:gd name="connsiteX7" fmla="*/ 59184 w 65776"/>
                  <a:gd name="connsiteY7" fmla="*/ 65777 h 65776"/>
                  <a:gd name="connsiteX8" fmla="*/ 13135 w 65776"/>
                  <a:gd name="connsiteY8" fmla="*/ 52616 h 65776"/>
                  <a:gd name="connsiteX9" fmla="*/ 52616 w 65776"/>
                  <a:gd name="connsiteY9" fmla="*/ 52616 h 65776"/>
                  <a:gd name="connsiteX10" fmla="*/ 52616 w 65776"/>
                  <a:gd name="connsiteY10" fmla="*/ 32888 h 65776"/>
                  <a:gd name="connsiteX11" fmla="*/ 32888 w 65776"/>
                  <a:gd name="connsiteY11" fmla="*/ 13161 h 65776"/>
                  <a:gd name="connsiteX12" fmla="*/ 13161 w 65776"/>
                  <a:gd name="connsiteY12" fmla="*/ 32888 h 65776"/>
                  <a:gd name="connsiteX13" fmla="*/ 13161 w 65776"/>
                  <a:gd name="connsiteY13" fmla="*/ 52616 h 65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776" h="65776">
                    <a:moveTo>
                      <a:pt x="59184" y="65777"/>
                    </a:moveTo>
                    <a:lnTo>
                      <a:pt x="6567" y="65777"/>
                    </a:lnTo>
                    <a:cubicBezTo>
                      <a:pt x="2945" y="65777"/>
                      <a:pt x="0" y="62832"/>
                      <a:pt x="0" y="59210"/>
                    </a:cubicBezTo>
                    <a:lnTo>
                      <a:pt x="0" y="32888"/>
                    </a:lnTo>
                    <a:cubicBezTo>
                      <a:pt x="0" y="14750"/>
                      <a:pt x="14750" y="0"/>
                      <a:pt x="32888" y="0"/>
                    </a:cubicBezTo>
                    <a:cubicBezTo>
                      <a:pt x="51027" y="0"/>
                      <a:pt x="65777" y="14750"/>
                      <a:pt x="65777" y="32888"/>
                    </a:cubicBezTo>
                    <a:lnTo>
                      <a:pt x="65777" y="59210"/>
                    </a:lnTo>
                    <a:cubicBezTo>
                      <a:pt x="65777" y="62832"/>
                      <a:pt x="62832" y="65777"/>
                      <a:pt x="59184" y="65777"/>
                    </a:cubicBezTo>
                    <a:close/>
                    <a:moveTo>
                      <a:pt x="13135" y="52616"/>
                    </a:moveTo>
                    <a:lnTo>
                      <a:pt x="52616" y="52616"/>
                    </a:lnTo>
                    <a:lnTo>
                      <a:pt x="52616" y="32888"/>
                    </a:lnTo>
                    <a:cubicBezTo>
                      <a:pt x="52616" y="21995"/>
                      <a:pt x="43756" y="13161"/>
                      <a:pt x="32888" y="13161"/>
                    </a:cubicBezTo>
                    <a:cubicBezTo>
                      <a:pt x="22021" y="13161"/>
                      <a:pt x="13161" y="22021"/>
                      <a:pt x="13161" y="32888"/>
                    </a:cubicBezTo>
                    <a:lnTo>
                      <a:pt x="13161" y="52616"/>
                    </a:lnTo>
                    <a:close/>
                  </a:path>
                </a:pathLst>
              </a:custGeom>
              <a:solidFill>
                <a:schemeClr val="accent1"/>
              </a:solidFill>
              <a:ln w="2604" cap="flat">
                <a:noFill/>
                <a:prstDash val="solid"/>
                <a:miter/>
              </a:ln>
            </p:spPr>
            <p:txBody>
              <a:bodyPr rtlCol="0" anchor="ctr"/>
              <a:lstStyle/>
              <a:p>
                <a:endParaRPr lang="en-GB" dirty="0"/>
              </a:p>
            </p:txBody>
          </p:sp>
          <p:sp>
            <p:nvSpPr>
              <p:cNvPr id="104" name="Freihandform: Form 314">
                <a:extLst>
                  <a:ext uri="{FF2B5EF4-FFF2-40B4-BE49-F238E27FC236}">
                    <a16:creationId xmlns:a16="http://schemas.microsoft.com/office/drawing/2014/main" id="{9DFFD89B-1532-437B-AC82-A7DDF4FEF96F}"/>
                  </a:ext>
                </a:extLst>
              </p:cNvPr>
              <p:cNvSpPr/>
              <p:nvPr/>
            </p:nvSpPr>
            <p:spPr>
              <a:xfrm>
                <a:off x="885738" y="2692505"/>
                <a:ext cx="13134" cy="46022"/>
              </a:xfrm>
              <a:custGeom>
                <a:avLst/>
                <a:gdLst>
                  <a:gd name="connsiteX0" fmla="*/ 6567 w 13134"/>
                  <a:gd name="connsiteY0" fmla="*/ 46023 h 46022"/>
                  <a:gd name="connsiteX1" fmla="*/ 0 w 13134"/>
                  <a:gd name="connsiteY1" fmla="*/ 39456 h 46022"/>
                  <a:gd name="connsiteX2" fmla="*/ 0 w 13134"/>
                  <a:gd name="connsiteY2" fmla="*/ 6567 h 46022"/>
                  <a:gd name="connsiteX3" fmla="*/ 6567 w 13134"/>
                  <a:gd name="connsiteY3" fmla="*/ 0 h 46022"/>
                  <a:gd name="connsiteX4" fmla="*/ 13135 w 13134"/>
                  <a:gd name="connsiteY4" fmla="*/ 6567 h 46022"/>
                  <a:gd name="connsiteX5" fmla="*/ 13135 w 13134"/>
                  <a:gd name="connsiteY5" fmla="*/ 39456 h 46022"/>
                  <a:gd name="connsiteX6" fmla="*/ 6567 w 13134"/>
                  <a:gd name="connsiteY6" fmla="*/ 46023 h 4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4" h="46022">
                    <a:moveTo>
                      <a:pt x="6567" y="46023"/>
                    </a:moveTo>
                    <a:cubicBezTo>
                      <a:pt x="2945" y="46023"/>
                      <a:pt x="0" y="43078"/>
                      <a:pt x="0" y="39456"/>
                    </a:cubicBezTo>
                    <a:lnTo>
                      <a:pt x="0" y="6567"/>
                    </a:lnTo>
                    <a:cubicBezTo>
                      <a:pt x="0" y="2945"/>
                      <a:pt x="2945" y="0"/>
                      <a:pt x="6567" y="0"/>
                    </a:cubicBezTo>
                    <a:cubicBezTo>
                      <a:pt x="10190" y="0"/>
                      <a:pt x="13135" y="2945"/>
                      <a:pt x="13135" y="6567"/>
                    </a:cubicBezTo>
                    <a:lnTo>
                      <a:pt x="13135" y="39456"/>
                    </a:lnTo>
                    <a:cubicBezTo>
                      <a:pt x="13161" y="43078"/>
                      <a:pt x="10216" y="46023"/>
                      <a:pt x="6567" y="46023"/>
                    </a:cubicBezTo>
                    <a:close/>
                  </a:path>
                </a:pathLst>
              </a:custGeom>
              <a:solidFill>
                <a:schemeClr val="accent1"/>
              </a:solidFill>
              <a:ln w="2604" cap="flat">
                <a:noFill/>
                <a:prstDash val="solid"/>
                <a:miter/>
              </a:ln>
            </p:spPr>
            <p:txBody>
              <a:bodyPr rtlCol="0" anchor="ctr"/>
              <a:lstStyle/>
              <a:p>
                <a:endParaRPr lang="en-GB" dirty="0"/>
              </a:p>
            </p:txBody>
          </p:sp>
          <p:sp>
            <p:nvSpPr>
              <p:cNvPr id="105" name="Freihandform: Form 315">
                <a:extLst>
                  <a:ext uri="{FF2B5EF4-FFF2-40B4-BE49-F238E27FC236}">
                    <a16:creationId xmlns:a16="http://schemas.microsoft.com/office/drawing/2014/main" id="{6543623E-EEA2-4639-9440-60A596064427}"/>
                  </a:ext>
                </a:extLst>
              </p:cNvPr>
              <p:cNvSpPr/>
              <p:nvPr/>
            </p:nvSpPr>
            <p:spPr>
              <a:xfrm>
                <a:off x="925220" y="2692505"/>
                <a:ext cx="13134" cy="46022"/>
              </a:xfrm>
              <a:custGeom>
                <a:avLst/>
                <a:gdLst>
                  <a:gd name="connsiteX0" fmla="*/ 6567 w 13134"/>
                  <a:gd name="connsiteY0" fmla="*/ 46023 h 46022"/>
                  <a:gd name="connsiteX1" fmla="*/ 0 w 13134"/>
                  <a:gd name="connsiteY1" fmla="*/ 39456 h 46022"/>
                  <a:gd name="connsiteX2" fmla="*/ 0 w 13134"/>
                  <a:gd name="connsiteY2" fmla="*/ 6567 h 46022"/>
                  <a:gd name="connsiteX3" fmla="*/ 6567 w 13134"/>
                  <a:gd name="connsiteY3" fmla="*/ 0 h 46022"/>
                  <a:gd name="connsiteX4" fmla="*/ 13135 w 13134"/>
                  <a:gd name="connsiteY4" fmla="*/ 6567 h 46022"/>
                  <a:gd name="connsiteX5" fmla="*/ 13135 w 13134"/>
                  <a:gd name="connsiteY5" fmla="*/ 39456 h 46022"/>
                  <a:gd name="connsiteX6" fmla="*/ 6567 w 13134"/>
                  <a:gd name="connsiteY6" fmla="*/ 46023 h 4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4" h="46022">
                    <a:moveTo>
                      <a:pt x="6567" y="46023"/>
                    </a:moveTo>
                    <a:cubicBezTo>
                      <a:pt x="2945" y="46023"/>
                      <a:pt x="0" y="43078"/>
                      <a:pt x="0" y="39456"/>
                    </a:cubicBezTo>
                    <a:lnTo>
                      <a:pt x="0" y="6567"/>
                    </a:lnTo>
                    <a:cubicBezTo>
                      <a:pt x="0" y="2945"/>
                      <a:pt x="2945" y="0"/>
                      <a:pt x="6567" y="0"/>
                    </a:cubicBezTo>
                    <a:cubicBezTo>
                      <a:pt x="10190" y="0"/>
                      <a:pt x="13135" y="2945"/>
                      <a:pt x="13135" y="6567"/>
                    </a:cubicBezTo>
                    <a:lnTo>
                      <a:pt x="13135" y="39456"/>
                    </a:lnTo>
                    <a:cubicBezTo>
                      <a:pt x="13135" y="43078"/>
                      <a:pt x="10190" y="46023"/>
                      <a:pt x="6567" y="46023"/>
                    </a:cubicBezTo>
                    <a:close/>
                  </a:path>
                </a:pathLst>
              </a:custGeom>
              <a:solidFill>
                <a:schemeClr val="accent1"/>
              </a:solidFill>
              <a:ln w="2604" cap="flat">
                <a:noFill/>
                <a:prstDash val="solid"/>
                <a:miter/>
              </a:ln>
            </p:spPr>
            <p:txBody>
              <a:bodyPr rtlCol="0" anchor="ctr"/>
              <a:lstStyle/>
              <a:p>
                <a:endParaRPr lang="en-GB" dirty="0"/>
              </a:p>
            </p:txBody>
          </p:sp>
        </p:grpSp>
      </p:grpSp>
      <p:grpSp>
        <p:nvGrpSpPr>
          <p:cNvPr id="13" name="Group 12">
            <a:extLst>
              <a:ext uri="{FF2B5EF4-FFF2-40B4-BE49-F238E27FC236}">
                <a16:creationId xmlns:a16="http://schemas.microsoft.com/office/drawing/2014/main" id="{D7825794-91E5-4753-BB63-03B6295CDC65}"/>
              </a:ext>
            </a:extLst>
          </p:cNvPr>
          <p:cNvGrpSpPr/>
          <p:nvPr/>
        </p:nvGrpSpPr>
        <p:grpSpPr>
          <a:xfrm>
            <a:off x="470050" y="2423911"/>
            <a:ext cx="648000" cy="367230"/>
            <a:chOff x="470050" y="2423911"/>
            <a:chExt cx="648000" cy="367230"/>
          </a:xfrm>
        </p:grpSpPr>
        <p:grpSp>
          <p:nvGrpSpPr>
            <p:cNvPr id="107" name="Group 106">
              <a:extLst>
                <a:ext uri="{FF2B5EF4-FFF2-40B4-BE49-F238E27FC236}">
                  <a16:creationId xmlns:a16="http://schemas.microsoft.com/office/drawing/2014/main" id="{676FEB02-BB27-49C0-BBFD-A54843835F4A}"/>
                </a:ext>
              </a:extLst>
            </p:cNvPr>
            <p:cNvGrpSpPr/>
            <p:nvPr/>
          </p:nvGrpSpPr>
          <p:grpSpPr>
            <a:xfrm>
              <a:off x="717224" y="2543677"/>
              <a:ext cx="400826" cy="181848"/>
              <a:chOff x="1897138" y="2574069"/>
              <a:chExt cx="330328" cy="149864"/>
            </a:xfrm>
          </p:grpSpPr>
          <p:sp>
            <p:nvSpPr>
              <p:cNvPr id="118" name="Freihandform: Form 317">
                <a:extLst>
                  <a:ext uri="{FF2B5EF4-FFF2-40B4-BE49-F238E27FC236}">
                    <a16:creationId xmlns:a16="http://schemas.microsoft.com/office/drawing/2014/main" id="{234B1711-6E45-41C6-A549-7D1D75DDF54D}"/>
                  </a:ext>
                </a:extLst>
              </p:cNvPr>
              <p:cNvSpPr/>
              <p:nvPr/>
            </p:nvSpPr>
            <p:spPr>
              <a:xfrm>
                <a:off x="2063337" y="2574069"/>
                <a:ext cx="164129" cy="149864"/>
              </a:xfrm>
              <a:custGeom>
                <a:avLst/>
                <a:gdLst>
                  <a:gd name="connsiteX0" fmla="*/ 58897 w 164129"/>
                  <a:gd name="connsiteY0" fmla="*/ 149865 h 149864"/>
                  <a:gd name="connsiteX1" fmla="*/ 52799 w 164129"/>
                  <a:gd name="connsiteY1" fmla="*/ 145747 h 149864"/>
                  <a:gd name="connsiteX2" fmla="*/ 26451 w 164129"/>
                  <a:gd name="connsiteY2" fmla="*/ 79215 h 149864"/>
                  <a:gd name="connsiteX3" fmla="*/ 21787 w 164129"/>
                  <a:gd name="connsiteY3" fmla="*/ 79215 h 149864"/>
                  <a:gd name="connsiteX4" fmla="*/ 6567 w 164129"/>
                  <a:gd name="connsiteY4" fmla="*/ 79110 h 149864"/>
                  <a:gd name="connsiteX5" fmla="*/ 0 w 164129"/>
                  <a:gd name="connsiteY5" fmla="*/ 72543 h 149864"/>
                  <a:gd name="connsiteX6" fmla="*/ 6567 w 164129"/>
                  <a:gd name="connsiteY6" fmla="*/ 65976 h 149864"/>
                  <a:gd name="connsiteX7" fmla="*/ 22073 w 164129"/>
                  <a:gd name="connsiteY7" fmla="*/ 66080 h 149864"/>
                  <a:gd name="connsiteX8" fmla="*/ 30830 w 164129"/>
                  <a:gd name="connsiteY8" fmla="*/ 65976 h 149864"/>
                  <a:gd name="connsiteX9" fmla="*/ 37110 w 164129"/>
                  <a:gd name="connsiteY9" fmla="*/ 70198 h 149864"/>
                  <a:gd name="connsiteX10" fmla="*/ 56760 w 164129"/>
                  <a:gd name="connsiteY10" fmla="*/ 120234 h 149864"/>
                  <a:gd name="connsiteX11" fmla="*/ 79354 w 164129"/>
                  <a:gd name="connsiteY11" fmla="*/ 5307 h 149864"/>
                  <a:gd name="connsiteX12" fmla="*/ 85322 w 164129"/>
                  <a:gd name="connsiteY12" fmla="*/ 17 h 149864"/>
                  <a:gd name="connsiteX13" fmla="*/ 91994 w 164129"/>
                  <a:gd name="connsiteY13" fmla="*/ 4395 h 149864"/>
                  <a:gd name="connsiteX14" fmla="*/ 122198 w 164129"/>
                  <a:gd name="connsiteY14" fmla="*/ 89665 h 149864"/>
                  <a:gd name="connsiteX15" fmla="*/ 135150 w 164129"/>
                  <a:gd name="connsiteY15" fmla="*/ 61572 h 149864"/>
                  <a:gd name="connsiteX16" fmla="*/ 141118 w 164129"/>
                  <a:gd name="connsiteY16" fmla="*/ 57741 h 149864"/>
                  <a:gd name="connsiteX17" fmla="*/ 157562 w 164129"/>
                  <a:gd name="connsiteY17" fmla="*/ 57741 h 149864"/>
                  <a:gd name="connsiteX18" fmla="*/ 164129 w 164129"/>
                  <a:gd name="connsiteY18" fmla="*/ 64308 h 149864"/>
                  <a:gd name="connsiteX19" fmla="*/ 157562 w 164129"/>
                  <a:gd name="connsiteY19" fmla="*/ 70875 h 149864"/>
                  <a:gd name="connsiteX20" fmla="*/ 145314 w 164129"/>
                  <a:gd name="connsiteY20" fmla="*/ 70875 h 149864"/>
                  <a:gd name="connsiteX21" fmla="*/ 127332 w 164129"/>
                  <a:gd name="connsiteY21" fmla="*/ 109810 h 149864"/>
                  <a:gd name="connsiteX22" fmla="*/ 121051 w 164129"/>
                  <a:gd name="connsiteY22" fmla="*/ 113615 h 149864"/>
                  <a:gd name="connsiteX23" fmla="*/ 115162 w 164129"/>
                  <a:gd name="connsiteY23" fmla="*/ 109236 h 149864"/>
                  <a:gd name="connsiteX24" fmla="*/ 87563 w 164129"/>
                  <a:gd name="connsiteY24" fmla="*/ 31367 h 149864"/>
                  <a:gd name="connsiteX25" fmla="*/ 65308 w 164129"/>
                  <a:gd name="connsiteY25" fmla="*/ 144496 h 149864"/>
                  <a:gd name="connsiteX26" fmla="*/ 59470 w 164129"/>
                  <a:gd name="connsiteY26" fmla="*/ 149787 h 149864"/>
                  <a:gd name="connsiteX27" fmla="*/ 58897 w 164129"/>
                  <a:gd name="connsiteY27" fmla="*/ 149865 h 14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4129" h="149864">
                    <a:moveTo>
                      <a:pt x="58897" y="149865"/>
                    </a:moveTo>
                    <a:cubicBezTo>
                      <a:pt x="56239" y="149865"/>
                      <a:pt x="53815" y="148249"/>
                      <a:pt x="52799" y="145747"/>
                    </a:cubicBezTo>
                    <a:cubicBezTo>
                      <a:pt x="52642" y="145356"/>
                      <a:pt x="37710" y="108533"/>
                      <a:pt x="26451" y="79215"/>
                    </a:cubicBezTo>
                    <a:cubicBezTo>
                      <a:pt x="23689" y="79267"/>
                      <a:pt x="23142" y="79241"/>
                      <a:pt x="21787" y="79215"/>
                    </a:cubicBezTo>
                    <a:cubicBezTo>
                      <a:pt x="20093" y="79189"/>
                      <a:pt x="17096" y="79110"/>
                      <a:pt x="6567" y="79110"/>
                    </a:cubicBezTo>
                    <a:cubicBezTo>
                      <a:pt x="2945" y="79110"/>
                      <a:pt x="0" y="76166"/>
                      <a:pt x="0" y="72543"/>
                    </a:cubicBezTo>
                    <a:cubicBezTo>
                      <a:pt x="0" y="68921"/>
                      <a:pt x="2945" y="65976"/>
                      <a:pt x="6567" y="65976"/>
                    </a:cubicBezTo>
                    <a:cubicBezTo>
                      <a:pt x="17278" y="65976"/>
                      <a:pt x="20353" y="66028"/>
                      <a:pt x="22073" y="66080"/>
                    </a:cubicBezTo>
                    <a:cubicBezTo>
                      <a:pt x="23871" y="66106"/>
                      <a:pt x="24184" y="66132"/>
                      <a:pt x="30830" y="65976"/>
                    </a:cubicBezTo>
                    <a:cubicBezTo>
                      <a:pt x="33566" y="66028"/>
                      <a:pt x="36120" y="67618"/>
                      <a:pt x="37110" y="70198"/>
                    </a:cubicBezTo>
                    <a:cubicBezTo>
                      <a:pt x="43313" y="86433"/>
                      <a:pt x="51001" y="105875"/>
                      <a:pt x="56760" y="120234"/>
                    </a:cubicBezTo>
                    <a:lnTo>
                      <a:pt x="79354" y="5307"/>
                    </a:lnTo>
                    <a:cubicBezTo>
                      <a:pt x="79928" y="2388"/>
                      <a:pt x="82377" y="225"/>
                      <a:pt x="85322" y="17"/>
                    </a:cubicBezTo>
                    <a:cubicBezTo>
                      <a:pt x="88319" y="-192"/>
                      <a:pt x="91003" y="1580"/>
                      <a:pt x="91994" y="4395"/>
                    </a:cubicBezTo>
                    <a:lnTo>
                      <a:pt x="122198" y="89665"/>
                    </a:lnTo>
                    <a:lnTo>
                      <a:pt x="135150" y="61572"/>
                    </a:lnTo>
                    <a:cubicBezTo>
                      <a:pt x="136219" y="59252"/>
                      <a:pt x="138564" y="57741"/>
                      <a:pt x="141118" y="57741"/>
                    </a:cubicBezTo>
                    <a:lnTo>
                      <a:pt x="157562" y="57741"/>
                    </a:lnTo>
                    <a:cubicBezTo>
                      <a:pt x="161185" y="57741"/>
                      <a:pt x="164129" y="60686"/>
                      <a:pt x="164129" y="64308"/>
                    </a:cubicBezTo>
                    <a:cubicBezTo>
                      <a:pt x="164129" y="67930"/>
                      <a:pt x="161185" y="70875"/>
                      <a:pt x="157562" y="70875"/>
                    </a:cubicBezTo>
                    <a:lnTo>
                      <a:pt x="145314" y="70875"/>
                    </a:lnTo>
                    <a:lnTo>
                      <a:pt x="127332" y="109810"/>
                    </a:lnTo>
                    <a:cubicBezTo>
                      <a:pt x="126211" y="112233"/>
                      <a:pt x="123709" y="113719"/>
                      <a:pt x="121051" y="113615"/>
                    </a:cubicBezTo>
                    <a:cubicBezTo>
                      <a:pt x="118367" y="113484"/>
                      <a:pt x="116048" y="111764"/>
                      <a:pt x="115162" y="109236"/>
                    </a:cubicBezTo>
                    <a:lnTo>
                      <a:pt x="87563" y="31367"/>
                    </a:lnTo>
                    <a:lnTo>
                      <a:pt x="65308" y="144496"/>
                    </a:lnTo>
                    <a:cubicBezTo>
                      <a:pt x="64761" y="147363"/>
                      <a:pt x="62389" y="149500"/>
                      <a:pt x="59470" y="149787"/>
                    </a:cubicBezTo>
                    <a:cubicBezTo>
                      <a:pt x="59314" y="149839"/>
                      <a:pt x="59105" y="149865"/>
                      <a:pt x="58897" y="149865"/>
                    </a:cubicBezTo>
                    <a:close/>
                  </a:path>
                </a:pathLst>
              </a:custGeom>
              <a:solidFill>
                <a:schemeClr val="accent1"/>
              </a:solidFill>
              <a:ln w="2604" cap="flat">
                <a:noFill/>
                <a:prstDash val="solid"/>
                <a:miter/>
              </a:ln>
            </p:spPr>
            <p:txBody>
              <a:bodyPr rtlCol="0" anchor="ctr"/>
              <a:lstStyle/>
              <a:p>
                <a:endParaRPr lang="en-GB" dirty="0"/>
              </a:p>
            </p:txBody>
          </p:sp>
          <p:sp>
            <p:nvSpPr>
              <p:cNvPr id="119" name="Freihandform: Form 319">
                <a:extLst>
                  <a:ext uri="{FF2B5EF4-FFF2-40B4-BE49-F238E27FC236}">
                    <a16:creationId xmlns:a16="http://schemas.microsoft.com/office/drawing/2014/main" id="{764A02AD-22A9-4581-AF08-552D4D03BD82}"/>
                  </a:ext>
                </a:extLst>
              </p:cNvPr>
              <p:cNvSpPr/>
              <p:nvPr/>
            </p:nvSpPr>
            <p:spPr>
              <a:xfrm>
                <a:off x="1897138" y="2580647"/>
                <a:ext cx="59191" cy="105263"/>
              </a:xfrm>
              <a:custGeom>
                <a:avLst/>
                <a:gdLst>
                  <a:gd name="connsiteX0" fmla="*/ 32900 w 59191"/>
                  <a:gd name="connsiteY0" fmla="*/ 105264 h 105263"/>
                  <a:gd name="connsiteX1" fmla="*/ 30580 w 59191"/>
                  <a:gd name="connsiteY1" fmla="*/ 104847 h 105263"/>
                  <a:gd name="connsiteX2" fmla="*/ 26723 w 59191"/>
                  <a:gd name="connsiteY2" fmla="*/ 96377 h 105263"/>
                  <a:gd name="connsiteX3" fmla="*/ 42568 w 59191"/>
                  <a:gd name="connsiteY3" fmla="*/ 54133 h 105263"/>
                  <a:gd name="connsiteX4" fmla="*/ 7517 w 59191"/>
                  <a:gd name="connsiteY4" fmla="*/ 59137 h 105263"/>
                  <a:gd name="connsiteX5" fmla="*/ 1132 w 59191"/>
                  <a:gd name="connsiteY5" fmla="*/ 56322 h 105263"/>
                  <a:gd name="connsiteX6" fmla="*/ 871 w 59191"/>
                  <a:gd name="connsiteY6" fmla="*/ 49364 h 105263"/>
                  <a:gd name="connsiteX7" fmla="*/ 27192 w 59191"/>
                  <a:gd name="connsiteY7" fmla="*/ 3315 h 105263"/>
                  <a:gd name="connsiteX8" fmla="*/ 36157 w 59191"/>
                  <a:gd name="connsiteY8" fmla="*/ 865 h 105263"/>
                  <a:gd name="connsiteX9" fmla="*/ 38607 w 59191"/>
                  <a:gd name="connsiteY9" fmla="*/ 9830 h 105263"/>
                  <a:gd name="connsiteX10" fmla="*/ 18957 w 59191"/>
                  <a:gd name="connsiteY10" fmla="*/ 44204 h 105263"/>
                  <a:gd name="connsiteX11" fmla="*/ 51689 w 59191"/>
                  <a:gd name="connsiteY11" fmla="*/ 39539 h 105263"/>
                  <a:gd name="connsiteX12" fmla="*/ 57735 w 59191"/>
                  <a:gd name="connsiteY12" fmla="*/ 41937 h 105263"/>
                  <a:gd name="connsiteX13" fmla="*/ 58778 w 59191"/>
                  <a:gd name="connsiteY13" fmla="*/ 48374 h 105263"/>
                  <a:gd name="connsiteX14" fmla="*/ 39050 w 59191"/>
                  <a:gd name="connsiteY14" fmla="*/ 100990 h 105263"/>
                  <a:gd name="connsiteX15" fmla="*/ 32900 w 59191"/>
                  <a:gd name="connsiteY15" fmla="*/ 105264 h 10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191" h="105263">
                    <a:moveTo>
                      <a:pt x="32900" y="105264"/>
                    </a:moveTo>
                    <a:cubicBezTo>
                      <a:pt x="32144" y="105264"/>
                      <a:pt x="31362" y="105134"/>
                      <a:pt x="30580" y="104847"/>
                    </a:cubicBezTo>
                    <a:cubicBezTo>
                      <a:pt x="27166" y="103570"/>
                      <a:pt x="25446" y="99765"/>
                      <a:pt x="26723" y="96377"/>
                    </a:cubicBezTo>
                    <a:lnTo>
                      <a:pt x="42568" y="54133"/>
                    </a:lnTo>
                    <a:lnTo>
                      <a:pt x="7517" y="59137"/>
                    </a:lnTo>
                    <a:cubicBezTo>
                      <a:pt x="5041" y="59475"/>
                      <a:pt x="2565" y="58407"/>
                      <a:pt x="1132" y="56322"/>
                    </a:cubicBezTo>
                    <a:cubicBezTo>
                      <a:pt x="-275" y="54237"/>
                      <a:pt x="-380" y="51553"/>
                      <a:pt x="871" y="49364"/>
                    </a:cubicBezTo>
                    <a:lnTo>
                      <a:pt x="27192" y="3315"/>
                    </a:lnTo>
                    <a:cubicBezTo>
                      <a:pt x="28991" y="162"/>
                      <a:pt x="33004" y="-933"/>
                      <a:pt x="36157" y="865"/>
                    </a:cubicBezTo>
                    <a:cubicBezTo>
                      <a:pt x="39311" y="2663"/>
                      <a:pt x="40405" y="6677"/>
                      <a:pt x="38607" y="9830"/>
                    </a:cubicBezTo>
                    <a:lnTo>
                      <a:pt x="18957" y="44204"/>
                    </a:lnTo>
                    <a:lnTo>
                      <a:pt x="51689" y="39539"/>
                    </a:lnTo>
                    <a:cubicBezTo>
                      <a:pt x="53983" y="39200"/>
                      <a:pt x="56302" y="40112"/>
                      <a:pt x="57735" y="41937"/>
                    </a:cubicBezTo>
                    <a:cubicBezTo>
                      <a:pt x="59195" y="43761"/>
                      <a:pt x="59586" y="46185"/>
                      <a:pt x="58778" y="48374"/>
                    </a:cubicBezTo>
                    <a:lnTo>
                      <a:pt x="39050" y="100990"/>
                    </a:lnTo>
                    <a:cubicBezTo>
                      <a:pt x="38060" y="103622"/>
                      <a:pt x="35558" y="105264"/>
                      <a:pt x="32900" y="105264"/>
                    </a:cubicBezTo>
                    <a:close/>
                  </a:path>
                </a:pathLst>
              </a:custGeom>
              <a:solidFill>
                <a:schemeClr val="accent1"/>
              </a:solidFill>
              <a:ln w="2604" cap="flat">
                <a:noFill/>
                <a:prstDash val="solid"/>
                <a:miter/>
              </a:ln>
            </p:spPr>
            <p:txBody>
              <a:bodyPr rtlCol="0" anchor="ctr"/>
              <a:lstStyle/>
              <a:p>
                <a:endParaRPr lang="en-GB" dirty="0"/>
              </a:p>
            </p:txBody>
          </p:sp>
        </p:grpSp>
        <p:grpSp>
          <p:nvGrpSpPr>
            <p:cNvPr id="108" name="Group 107">
              <a:extLst>
                <a:ext uri="{FF2B5EF4-FFF2-40B4-BE49-F238E27FC236}">
                  <a16:creationId xmlns:a16="http://schemas.microsoft.com/office/drawing/2014/main" id="{F8E57867-4DC1-475F-BBDA-6CFED9992721}"/>
                </a:ext>
              </a:extLst>
            </p:cNvPr>
            <p:cNvGrpSpPr/>
            <p:nvPr/>
          </p:nvGrpSpPr>
          <p:grpSpPr>
            <a:xfrm>
              <a:off x="470050" y="2423911"/>
              <a:ext cx="424840" cy="367230"/>
              <a:chOff x="1693438" y="2475368"/>
              <a:chExt cx="350118" cy="302641"/>
            </a:xfrm>
          </p:grpSpPr>
          <p:sp>
            <p:nvSpPr>
              <p:cNvPr id="109" name="Freihandform: Form 320">
                <a:extLst>
                  <a:ext uri="{FF2B5EF4-FFF2-40B4-BE49-F238E27FC236}">
                    <a16:creationId xmlns:a16="http://schemas.microsoft.com/office/drawing/2014/main" id="{A4A9C69B-8E60-4637-8BD6-20A5143EE9FC}"/>
                  </a:ext>
                </a:extLst>
              </p:cNvPr>
              <p:cNvSpPr/>
              <p:nvPr/>
            </p:nvSpPr>
            <p:spPr>
              <a:xfrm>
                <a:off x="1977780" y="2541171"/>
                <a:ext cx="65776" cy="52642"/>
              </a:xfrm>
              <a:custGeom>
                <a:avLst/>
                <a:gdLst>
                  <a:gd name="connsiteX0" fmla="*/ 46049 w 65776"/>
                  <a:gd name="connsiteY0" fmla="*/ 52642 h 52642"/>
                  <a:gd name="connsiteX1" fmla="*/ 26321 w 65776"/>
                  <a:gd name="connsiteY1" fmla="*/ 52642 h 52642"/>
                  <a:gd name="connsiteX2" fmla="*/ 0 w 65776"/>
                  <a:gd name="connsiteY2" fmla="*/ 26321 h 52642"/>
                  <a:gd name="connsiteX3" fmla="*/ 26321 w 65776"/>
                  <a:gd name="connsiteY3" fmla="*/ 0 h 52642"/>
                  <a:gd name="connsiteX4" fmla="*/ 46049 w 65776"/>
                  <a:gd name="connsiteY4" fmla="*/ 0 h 52642"/>
                  <a:gd name="connsiteX5" fmla="*/ 65777 w 65776"/>
                  <a:gd name="connsiteY5" fmla="*/ 26321 h 52642"/>
                  <a:gd name="connsiteX6" fmla="*/ 46049 w 65776"/>
                  <a:gd name="connsiteY6" fmla="*/ 52642 h 52642"/>
                  <a:gd name="connsiteX7" fmla="*/ 26295 w 65776"/>
                  <a:gd name="connsiteY7" fmla="*/ 13161 h 52642"/>
                  <a:gd name="connsiteX8" fmla="*/ 13135 w 65776"/>
                  <a:gd name="connsiteY8" fmla="*/ 26321 h 52642"/>
                  <a:gd name="connsiteX9" fmla="*/ 26295 w 65776"/>
                  <a:gd name="connsiteY9" fmla="*/ 39482 h 52642"/>
                  <a:gd name="connsiteX10" fmla="*/ 46023 w 65776"/>
                  <a:gd name="connsiteY10" fmla="*/ 39482 h 52642"/>
                  <a:gd name="connsiteX11" fmla="*/ 52590 w 65776"/>
                  <a:gd name="connsiteY11" fmla="*/ 26321 h 52642"/>
                  <a:gd name="connsiteX12" fmla="*/ 46023 w 65776"/>
                  <a:gd name="connsiteY12" fmla="*/ 13161 h 52642"/>
                  <a:gd name="connsiteX13" fmla="*/ 26295 w 65776"/>
                  <a:gd name="connsiteY13" fmla="*/ 13161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776" h="52642">
                    <a:moveTo>
                      <a:pt x="46049" y="52642"/>
                    </a:moveTo>
                    <a:lnTo>
                      <a:pt x="26321" y="52642"/>
                    </a:lnTo>
                    <a:cubicBezTo>
                      <a:pt x="11805" y="52642"/>
                      <a:pt x="0" y="40837"/>
                      <a:pt x="0" y="26321"/>
                    </a:cubicBezTo>
                    <a:cubicBezTo>
                      <a:pt x="0" y="11805"/>
                      <a:pt x="11805" y="0"/>
                      <a:pt x="26321" y="0"/>
                    </a:cubicBezTo>
                    <a:lnTo>
                      <a:pt x="46049" y="0"/>
                    </a:lnTo>
                    <a:cubicBezTo>
                      <a:pt x="59158" y="0"/>
                      <a:pt x="65777" y="8861"/>
                      <a:pt x="65777" y="26321"/>
                    </a:cubicBezTo>
                    <a:cubicBezTo>
                      <a:pt x="65777" y="43782"/>
                      <a:pt x="59131" y="52642"/>
                      <a:pt x="46049" y="52642"/>
                    </a:cubicBezTo>
                    <a:close/>
                    <a:moveTo>
                      <a:pt x="26295" y="13161"/>
                    </a:moveTo>
                    <a:cubicBezTo>
                      <a:pt x="19050" y="13161"/>
                      <a:pt x="13135" y="19050"/>
                      <a:pt x="13135" y="26321"/>
                    </a:cubicBezTo>
                    <a:cubicBezTo>
                      <a:pt x="13135" y="33592"/>
                      <a:pt x="19024" y="39482"/>
                      <a:pt x="26295" y="39482"/>
                    </a:cubicBezTo>
                    <a:lnTo>
                      <a:pt x="46023" y="39482"/>
                    </a:lnTo>
                    <a:cubicBezTo>
                      <a:pt x="48942" y="39482"/>
                      <a:pt x="52590" y="39482"/>
                      <a:pt x="52590" y="26321"/>
                    </a:cubicBezTo>
                    <a:cubicBezTo>
                      <a:pt x="52590" y="13161"/>
                      <a:pt x="48942" y="13161"/>
                      <a:pt x="46023" y="13161"/>
                    </a:cubicBezTo>
                    <a:lnTo>
                      <a:pt x="26295" y="13161"/>
                    </a:lnTo>
                    <a:close/>
                  </a:path>
                </a:pathLst>
              </a:custGeom>
              <a:solidFill>
                <a:schemeClr val="tx2"/>
              </a:solidFill>
              <a:ln w="2604" cap="flat">
                <a:noFill/>
                <a:prstDash val="solid"/>
                <a:miter/>
              </a:ln>
            </p:spPr>
            <p:txBody>
              <a:bodyPr rtlCol="0" anchor="ctr"/>
              <a:lstStyle/>
              <a:p>
                <a:endParaRPr lang="en-GB" dirty="0"/>
              </a:p>
            </p:txBody>
          </p:sp>
          <p:sp>
            <p:nvSpPr>
              <p:cNvPr id="110" name="Freihandform: Form 321">
                <a:extLst>
                  <a:ext uri="{FF2B5EF4-FFF2-40B4-BE49-F238E27FC236}">
                    <a16:creationId xmlns:a16="http://schemas.microsoft.com/office/drawing/2014/main" id="{4A44A4AB-ECF9-4F84-ADA3-23B1A275A540}"/>
                  </a:ext>
                </a:extLst>
              </p:cNvPr>
              <p:cNvSpPr/>
              <p:nvPr/>
            </p:nvSpPr>
            <p:spPr>
              <a:xfrm>
                <a:off x="1977780" y="2580627"/>
                <a:ext cx="65776" cy="52642"/>
              </a:xfrm>
              <a:custGeom>
                <a:avLst/>
                <a:gdLst>
                  <a:gd name="connsiteX0" fmla="*/ 46049 w 65776"/>
                  <a:gd name="connsiteY0" fmla="*/ 52642 h 52642"/>
                  <a:gd name="connsiteX1" fmla="*/ 26321 w 65776"/>
                  <a:gd name="connsiteY1" fmla="*/ 52642 h 52642"/>
                  <a:gd name="connsiteX2" fmla="*/ 0 w 65776"/>
                  <a:gd name="connsiteY2" fmla="*/ 26321 h 52642"/>
                  <a:gd name="connsiteX3" fmla="*/ 26321 w 65776"/>
                  <a:gd name="connsiteY3" fmla="*/ 0 h 52642"/>
                  <a:gd name="connsiteX4" fmla="*/ 46049 w 65776"/>
                  <a:gd name="connsiteY4" fmla="*/ 0 h 52642"/>
                  <a:gd name="connsiteX5" fmla="*/ 65777 w 65776"/>
                  <a:gd name="connsiteY5" fmla="*/ 26321 h 52642"/>
                  <a:gd name="connsiteX6" fmla="*/ 46049 w 65776"/>
                  <a:gd name="connsiteY6" fmla="*/ 52642 h 52642"/>
                  <a:gd name="connsiteX7" fmla="*/ 26295 w 65776"/>
                  <a:gd name="connsiteY7" fmla="*/ 13187 h 52642"/>
                  <a:gd name="connsiteX8" fmla="*/ 13135 w 65776"/>
                  <a:gd name="connsiteY8" fmla="*/ 26347 h 52642"/>
                  <a:gd name="connsiteX9" fmla="*/ 26295 w 65776"/>
                  <a:gd name="connsiteY9" fmla="*/ 39508 h 52642"/>
                  <a:gd name="connsiteX10" fmla="*/ 46023 w 65776"/>
                  <a:gd name="connsiteY10" fmla="*/ 39508 h 52642"/>
                  <a:gd name="connsiteX11" fmla="*/ 52590 w 65776"/>
                  <a:gd name="connsiteY11" fmla="*/ 26347 h 52642"/>
                  <a:gd name="connsiteX12" fmla="*/ 46023 w 65776"/>
                  <a:gd name="connsiteY12" fmla="*/ 13187 h 52642"/>
                  <a:gd name="connsiteX13" fmla="*/ 26295 w 65776"/>
                  <a:gd name="connsiteY13" fmla="*/ 13187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776" h="52642">
                    <a:moveTo>
                      <a:pt x="46049" y="52642"/>
                    </a:moveTo>
                    <a:lnTo>
                      <a:pt x="26321" y="52642"/>
                    </a:lnTo>
                    <a:cubicBezTo>
                      <a:pt x="11805" y="52642"/>
                      <a:pt x="0" y="40837"/>
                      <a:pt x="0" y="26321"/>
                    </a:cubicBezTo>
                    <a:cubicBezTo>
                      <a:pt x="0" y="11805"/>
                      <a:pt x="11805" y="0"/>
                      <a:pt x="26321" y="0"/>
                    </a:cubicBezTo>
                    <a:lnTo>
                      <a:pt x="46049" y="0"/>
                    </a:lnTo>
                    <a:cubicBezTo>
                      <a:pt x="59158" y="0"/>
                      <a:pt x="65777" y="8861"/>
                      <a:pt x="65777" y="26321"/>
                    </a:cubicBezTo>
                    <a:cubicBezTo>
                      <a:pt x="65777" y="43782"/>
                      <a:pt x="59131" y="52642"/>
                      <a:pt x="46049" y="52642"/>
                    </a:cubicBezTo>
                    <a:close/>
                    <a:moveTo>
                      <a:pt x="26295" y="13187"/>
                    </a:moveTo>
                    <a:cubicBezTo>
                      <a:pt x="19050" y="13187"/>
                      <a:pt x="13135" y="19076"/>
                      <a:pt x="13135" y="26347"/>
                    </a:cubicBezTo>
                    <a:cubicBezTo>
                      <a:pt x="13135" y="33592"/>
                      <a:pt x="19024" y="39508"/>
                      <a:pt x="26295" y="39508"/>
                    </a:cubicBezTo>
                    <a:lnTo>
                      <a:pt x="46023" y="39508"/>
                    </a:lnTo>
                    <a:cubicBezTo>
                      <a:pt x="48942" y="39508"/>
                      <a:pt x="52590" y="39508"/>
                      <a:pt x="52590" y="26347"/>
                    </a:cubicBezTo>
                    <a:cubicBezTo>
                      <a:pt x="52590" y="13187"/>
                      <a:pt x="48942" y="13187"/>
                      <a:pt x="46023" y="13187"/>
                    </a:cubicBezTo>
                    <a:lnTo>
                      <a:pt x="26295" y="13187"/>
                    </a:lnTo>
                    <a:close/>
                  </a:path>
                </a:pathLst>
              </a:custGeom>
              <a:solidFill>
                <a:schemeClr val="tx2"/>
              </a:solidFill>
              <a:ln w="2604" cap="flat">
                <a:noFill/>
                <a:prstDash val="solid"/>
                <a:miter/>
              </a:ln>
            </p:spPr>
            <p:txBody>
              <a:bodyPr rtlCol="0" anchor="ctr"/>
              <a:lstStyle/>
              <a:p>
                <a:endParaRPr lang="en-GB" dirty="0"/>
              </a:p>
            </p:txBody>
          </p:sp>
          <p:sp>
            <p:nvSpPr>
              <p:cNvPr id="111" name="Freihandform: Form 322">
                <a:extLst>
                  <a:ext uri="{FF2B5EF4-FFF2-40B4-BE49-F238E27FC236}">
                    <a16:creationId xmlns:a16="http://schemas.microsoft.com/office/drawing/2014/main" id="{BB64B912-7693-4C73-B145-0940D9494F3F}"/>
                  </a:ext>
                </a:extLst>
              </p:cNvPr>
              <p:cNvSpPr/>
              <p:nvPr/>
            </p:nvSpPr>
            <p:spPr>
              <a:xfrm>
                <a:off x="1977780" y="2620108"/>
                <a:ext cx="65776" cy="52642"/>
              </a:xfrm>
              <a:custGeom>
                <a:avLst/>
                <a:gdLst>
                  <a:gd name="connsiteX0" fmla="*/ 46049 w 65776"/>
                  <a:gd name="connsiteY0" fmla="*/ 52642 h 52642"/>
                  <a:gd name="connsiteX1" fmla="*/ 26321 w 65776"/>
                  <a:gd name="connsiteY1" fmla="*/ 52642 h 52642"/>
                  <a:gd name="connsiteX2" fmla="*/ 0 w 65776"/>
                  <a:gd name="connsiteY2" fmla="*/ 26321 h 52642"/>
                  <a:gd name="connsiteX3" fmla="*/ 26321 w 65776"/>
                  <a:gd name="connsiteY3" fmla="*/ 0 h 52642"/>
                  <a:gd name="connsiteX4" fmla="*/ 46049 w 65776"/>
                  <a:gd name="connsiteY4" fmla="*/ 0 h 52642"/>
                  <a:gd name="connsiteX5" fmla="*/ 65777 w 65776"/>
                  <a:gd name="connsiteY5" fmla="*/ 26321 h 52642"/>
                  <a:gd name="connsiteX6" fmla="*/ 46049 w 65776"/>
                  <a:gd name="connsiteY6" fmla="*/ 52642 h 52642"/>
                  <a:gd name="connsiteX7" fmla="*/ 26295 w 65776"/>
                  <a:gd name="connsiteY7" fmla="*/ 13161 h 52642"/>
                  <a:gd name="connsiteX8" fmla="*/ 13135 w 65776"/>
                  <a:gd name="connsiteY8" fmla="*/ 26321 h 52642"/>
                  <a:gd name="connsiteX9" fmla="*/ 26295 w 65776"/>
                  <a:gd name="connsiteY9" fmla="*/ 39482 h 52642"/>
                  <a:gd name="connsiteX10" fmla="*/ 46023 w 65776"/>
                  <a:gd name="connsiteY10" fmla="*/ 39482 h 52642"/>
                  <a:gd name="connsiteX11" fmla="*/ 52590 w 65776"/>
                  <a:gd name="connsiteY11" fmla="*/ 26321 h 52642"/>
                  <a:gd name="connsiteX12" fmla="*/ 46023 w 65776"/>
                  <a:gd name="connsiteY12" fmla="*/ 13161 h 52642"/>
                  <a:gd name="connsiteX13" fmla="*/ 26295 w 65776"/>
                  <a:gd name="connsiteY13" fmla="*/ 13161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776" h="52642">
                    <a:moveTo>
                      <a:pt x="46049" y="52642"/>
                    </a:moveTo>
                    <a:lnTo>
                      <a:pt x="26321" y="52642"/>
                    </a:lnTo>
                    <a:cubicBezTo>
                      <a:pt x="11805" y="52642"/>
                      <a:pt x="0" y="40837"/>
                      <a:pt x="0" y="26321"/>
                    </a:cubicBezTo>
                    <a:cubicBezTo>
                      <a:pt x="0" y="11805"/>
                      <a:pt x="11805" y="0"/>
                      <a:pt x="26321" y="0"/>
                    </a:cubicBezTo>
                    <a:lnTo>
                      <a:pt x="46049" y="0"/>
                    </a:lnTo>
                    <a:cubicBezTo>
                      <a:pt x="59158" y="0"/>
                      <a:pt x="65777" y="8861"/>
                      <a:pt x="65777" y="26321"/>
                    </a:cubicBezTo>
                    <a:cubicBezTo>
                      <a:pt x="65777" y="43782"/>
                      <a:pt x="59131" y="52642"/>
                      <a:pt x="46049" y="52642"/>
                    </a:cubicBezTo>
                    <a:close/>
                    <a:moveTo>
                      <a:pt x="26295" y="13161"/>
                    </a:moveTo>
                    <a:cubicBezTo>
                      <a:pt x="19050" y="13161"/>
                      <a:pt x="13135" y="19050"/>
                      <a:pt x="13135" y="26321"/>
                    </a:cubicBezTo>
                    <a:cubicBezTo>
                      <a:pt x="13135" y="33566"/>
                      <a:pt x="19024" y="39482"/>
                      <a:pt x="26295" y="39482"/>
                    </a:cubicBezTo>
                    <a:lnTo>
                      <a:pt x="46023" y="39482"/>
                    </a:lnTo>
                    <a:cubicBezTo>
                      <a:pt x="48942" y="39482"/>
                      <a:pt x="52590" y="39482"/>
                      <a:pt x="52590" y="26321"/>
                    </a:cubicBezTo>
                    <a:cubicBezTo>
                      <a:pt x="52590" y="13161"/>
                      <a:pt x="48942" y="13161"/>
                      <a:pt x="46023" y="13161"/>
                    </a:cubicBezTo>
                    <a:lnTo>
                      <a:pt x="26295" y="13161"/>
                    </a:lnTo>
                    <a:close/>
                  </a:path>
                </a:pathLst>
              </a:custGeom>
              <a:solidFill>
                <a:schemeClr val="tx2"/>
              </a:solidFill>
              <a:ln w="2604" cap="flat">
                <a:noFill/>
                <a:prstDash val="solid"/>
                <a:miter/>
              </a:ln>
            </p:spPr>
            <p:txBody>
              <a:bodyPr rtlCol="0" anchor="ctr"/>
              <a:lstStyle/>
              <a:p>
                <a:endParaRPr lang="en-GB" dirty="0"/>
              </a:p>
            </p:txBody>
          </p:sp>
          <p:sp>
            <p:nvSpPr>
              <p:cNvPr id="112" name="Freihandform: Form 323">
                <a:extLst>
                  <a:ext uri="{FF2B5EF4-FFF2-40B4-BE49-F238E27FC236}">
                    <a16:creationId xmlns:a16="http://schemas.microsoft.com/office/drawing/2014/main" id="{39524E46-B77C-4BEE-A8E6-1F9413FF6243}"/>
                  </a:ext>
                </a:extLst>
              </p:cNvPr>
              <p:cNvSpPr/>
              <p:nvPr/>
            </p:nvSpPr>
            <p:spPr>
              <a:xfrm>
                <a:off x="1977780" y="2659590"/>
                <a:ext cx="65776" cy="52642"/>
              </a:xfrm>
              <a:custGeom>
                <a:avLst/>
                <a:gdLst>
                  <a:gd name="connsiteX0" fmla="*/ 46049 w 65776"/>
                  <a:gd name="connsiteY0" fmla="*/ 52642 h 52642"/>
                  <a:gd name="connsiteX1" fmla="*/ 26321 w 65776"/>
                  <a:gd name="connsiteY1" fmla="*/ 52642 h 52642"/>
                  <a:gd name="connsiteX2" fmla="*/ 0 w 65776"/>
                  <a:gd name="connsiteY2" fmla="*/ 26321 h 52642"/>
                  <a:gd name="connsiteX3" fmla="*/ 26321 w 65776"/>
                  <a:gd name="connsiteY3" fmla="*/ 0 h 52642"/>
                  <a:gd name="connsiteX4" fmla="*/ 46049 w 65776"/>
                  <a:gd name="connsiteY4" fmla="*/ 0 h 52642"/>
                  <a:gd name="connsiteX5" fmla="*/ 65777 w 65776"/>
                  <a:gd name="connsiteY5" fmla="*/ 26321 h 52642"/>
                  <a:gd name="connsiteX6" fmla="*/ 46049 w 65776"/>
                  <a:gd name="connsiteY6" fmla="*/ 52642 h 52642"/>
                  <a:gd name="connsiteX7" fmla="*/ 26295 w 65776"/>
                  <a:gd name="connsiteY7" fmla="*/ 13161 h 52642"/>
                  <a:gd name="connsiteX8" fmla="*/ 13135 w 65776"/>
                  <a:gd name="connsiteY8" fmla="*/ 26321 h 52642"/>
                  <a:gd name="connsiteX9" fmla="*/ 26295 w 65776"/>
                  <a:gd name="connsiteY9" fmla="*/ 39482 h 52642"/>
                  <a:gd name="connsiteX10" fmla="*/ 46023 w 65776"/>
                  <a:gd name="connsiteY10" fmla="*/ 39482 h 52642"/>
                  <a:gd name="connsiteX11" fmla="*/ 52590 w 65776"/>
                  <a:gd name="connsiteY11" fmla="*/ 26321 h 52642"/>
                  <a:gd name="connsiteX12" fmla="*/ 46023 w 65776"/>
                  <a:gd name="connsiteY12" fmla="*/ 13161 h 52642"/>
                  <a:gd name="connsiteX13" fmla="*/ 26295 w 65776"/>
                  <a:gd name="connsiteY13" fmla="*/ 13161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776" h="52642">
                    <a:moveTo>
                      <a:pt x="46049" y="52642"/>
                    </a:moveTo>
                    <a:lnTo>
                      <a:pt x="26321" y="52642"/>
                    </a:lnTo>
                    <a:cubicBezTo>
                      <a:pt x="11805" y="52642"/>
                      <a:pt x="0" y="40837"/>
                      <a:pt x="0" y="26321"/>
                    </a:cubicBezTo>
                    <a:cubicBezTo>
                      <a:pt x="0" y="11805"/>
                      <a:pt x="11805" y="0"/>
                      <a:pt x="26321" y="0"/>
                    </a:cubicBezTo>
                    <a:lnTo>
                      <a:pt x="46049" y="0"/>
                    </a:lnTo>
                    <a:cubicBezTo>
                      <a:pt x="59158" y="0"/>
                      <a:pt x="65777" y="8861"/>
                      <a:pt x="65777" y="26321"/>
                    </a:cubicBezTo>
                    <a:cubicBezTo>
                      <a:pt x="65777" y="43782"/>
                      <a:pt x="59131" y="52642"/>
                      <a:pt x="46049" y="52642"/>
                    </a:cubicBezTo>
                    <a:close/>
                    <a:moveTo>
                      <a:pt x="26295" y="13161"/>
                    </a:moveTo>
                    <a:cubicBezTo>
                      <a:pt x="19050" y="13161"/>
                      <a:pt x="13135" y="19050"/>
                      <a:pt x="13135" y="26321"/>
                    </a:cubicBezTo>
                    <a:cubicBezTo>
                      <a:pt x="13135" y="33566"/>
                      <a:pt x="19024" y="39482"/>
                      <a:pt x="26295" y="39482"/>
                    </a:cubicBezTo>
                    <a:lnTo>
                      <a:pt x="46023" y="39482"/>
                    </a:lnTo>
                    <a:cubicBezTo>
                      <a:pt x="48942" y="39482"/>
                      <a:pt x="52590" y="39482"/>
                      <a:pt x="52590" y="26321"/>
                    </a:cubicBezTo>
                    <a:cubicBezTo>
                      <a:pt x="52590" y="13161"/>
                      <a:pt x="48942" y="13161"/>
                      <a:pt x="46023" y="13161"/>
                    </a:cubicBezTo>
                    <a:lnTo>
                      <a:pt x="26295" y="13161"/>
                    </a:lnTo>
                    <a:close/>
                  </a:path>
                </a:pathLst>
              </a:custGeom>
              <a:solidFill>
                <a:schemeClr val="tx2"/>
              </a:solidFill>
              <a:ln w="2604" cap="flat">
                <a:noFill/>
                <a:prstDash val="solid"/>
                <a:miter/>
              </a:ln>
            </p:spPr>
            <p:txBody>
              <a:bodyPr rtlCol="0" anchor="ctr"/>
              <a:lstStyle/>
              <a:p>
                <a:endParaRPr lang="en-GB" dirty="0"/>
              </a:p>
            </p:txBody>
          </p:sp>
          <p:sp>
            <p:nvSpPr>
              <p:cNvPr id="113" name="Freihandform: Form 324">
                <a:extLst>
                  <a:ext uri="{FF2B5EF4-FFF2-40B4-BE49-F238E27FC236}">
                    <a16:creationId xmlns:a16="http://schemas.microsoft.com/office/drawing/2014/main" id="{92F8538D-90C8-44C9-8296-6F8745742A43}"/>
                  </a:ext>
                </a:extLst>
              </p:cNvPr>
              <p:cNvSpPr/>
              <p:nvPr/>
            </p:nvSpPr>
            <p:spPr>
              <a:xfrm>
                <a:off x="1826447" y="2475368"/>
                <a:ext cx="197382" cy="52642"/>
              </a:xfrm>
              <a:custGeom>
                <a:avLst/>
                <a:gdLst>
                  <a:gd name="connsiteX0" fmla="*/ 197383 w 197382"/>
                  <a:gd name="connsiteY0" fmla="*/ 52642 h 52642"/>
                  <a:gd name="connsiteX1" fmla="*/ 184222 w 197382"/>
                  <a:gd name="connsiteY1" fmla="*/ 52642 h 52642"/>
                  <a:gd name="connsiteX2" fmla="*/ 184222 w 197382"/>
                  <a:gd name="connsiteY2" fmla="*/ 26321 h 52642"/>
                  <a:gd name="connsiteX3" fmla="*/ 171062 w 197382"/>
                  <a:gd name="connsiteY3" fmla="*/ 13161 h 52642"/>
                  <a:gd name="connsiteX4" fmla="*/ 26321 w 197382"/>
                  <a:gd name="connsiteY4" fmla="*/ 13161 h 52642"/>
                  <a:gd name="connsiteX5" fmla="*/ 13161 w 197382"/>
                  <a:gd name="connsiteY5" fmla="*/ 26321 h 52642"/>
                  <a:gd name="connsiteX6" fmla="*/ 13161 w 197382"/>
                  <a:gd name="connsiteY6" fmla="*/ 46049 h 52642"/>
                  <a:gd name="connsiteX7" fmla="*/ 0 w 197382"/>
                  <a:gd name="connsiteY7" fmla="*/ 46049 h 52642"/>
                  <a:gd name="connsiteX8" fmla="*/ 0 w 197382"/>
                  <a:gd name="connsiteY8" fmla="*/ 26321 h 52642"/>
                  <a:gd name="connsiteX9" fmla="*/ 26321 w 197382"/>
                  <a:gd name="connsiteY9" fmla="*/ 0 h 52642"/>
                  <a:gd name="connsiteX10" fmla="*/ 171062 w 197382"/>
                  <a:gd name="connsiteY10" fmla="*/ 0 h 52642"/>
                  <a:gd name="connsiteX11" fmla="*/ 197383 w 197382"/>
                  <a:gd name="connsiteY11" fmla="*/ 26321 h 52642"/>
                  <a:gd name="connsiteX12" fmla="*/ 197383 w 197382"/>
                  <a:gd name="connsiteY12" fmla="*/ 52642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7382" h="52642">
                    <a:moveTo>
                      <a:pt x="197383" y="52642"/>
                    </a:moveTo>
                    <a:lnTo>
                      <a:pt x="184222" y="52642"/>
                    </a:lnTo>
                    <a:lnTo>
                      <a:pt x="184222" y="26321"/>
                    </a:lnTo>
                    <a:cubicBezTo>
                      <a:pt x="184222" y="19076"/>
                      <a:pt x="178333" y="13161"/>
                      <a:pt x="171062" y="13161"/>
                    </a:cubicBezTo>
                    <a:lnTo>
                      <a:pt x="26321" y="13161"/>
                    </a:lnTo>
                    <a:cubicBezTo>
                      <a:pt x="19076" y="13161"/>
                      <a:pt x="13161" y="19050"/>
                      <a:pt x="13161" y="26321"/>
                    </a:cubicBezTo>
                    <a:lnTo>
                      <a:pt x="13161" y="46049"/>
                    </a:lnTo>
                    <a:lnTo>
                      <a:pt x="0" y="46049"/>
                    </a:lnTo>
                    <a:lnTo>
                      <a:pt x="0" y="26321"/>
                    </a:lnTo>
                    <a:cubicBezTo>
                      <a:pt x="0" y="11805"/>
                      <a:pt x="11805" y="0"/>
                      <a:pt x="26321" y="0"/>
                    </a:cubicBezTo>
                    <a:lnTo>
                      <a:pt x="171062" y="0"/>
                    </a:lnTo>
                    <a:cubicBezTo>
                      <a:pt x="185577" y="0"/>
                      <a:pt x="197383" y="11805"/>
                      <a:pt x="197383" y="26321"/>
                    </a:cubicBezTo>
                    <a:lnTo>
                      <a:pt x="197383" y="52642"/>
                    </a:lnTo>
                    <a:close/>
                  </a:path>
                </a:pathLst>
              </a:custGeom>
              <a:solidFill>
                <a:schemeClr val="tx2"/>
              </a:solidFill>
              <a:ln w="2604" cap="flat">
                <a:noFill/>
                <a:prstDash val="solid"/>
                <a:miter/>
              </a:ln>
            </p:spPr>
            <p:txBody>
              <a:bodyPr rtlCol="0" anchor="ctr"/>
              <a:lstStyle/>
              <a:p>
                <a:endParaRPr lang="en-GB" dirty="0"/>
              </a:p>
            </p:txBody>
          </p:sp>
          <p:sp>
            <p:nvSpPr>
              <p:cNvPr id="114" name="Freihandform: Form 325">
                <a:extLst>
                  <a:ext uri="{FF2B5EF4-FFF2-40B4-BE49-F238E27FC236}">
                    <a16:creationId xmlns:a16="http://schemas.microsoft.com/office/drawing/2014/main" id="{7040E16B-556A-4D37-B3EC-9B1C7E70789B}"/>
                  </a:ext>
                </a:extLst>
              </p:cNvPr>
              <p:cNvSpPr/>
              <p:nvPr/>
            </p:nvSpPr>
            <p:spPr>
              <a:xfrm>
                <a:off x="1826447" y="2600381"/>
                <a:ext cx="197382" cy="177628"/>
              </a:xfrm>
              <a:custGeom>
                <a:avLst/>
                <a:gdLst>
                  <a:gd name="connsiteX0" fmla="*/ 171062 w 197382"/>
                  <a:gd name="connsiteY0" fmla="*/ 177629 h 177628"/>
                  <a:gd name="connsiteX1" fmla="*/ 26321 w 197382"/>
                  <a:gd name="connsiteY1" fmla="*/ 177629 h 177628"/>
                  <a:gd name="connsiteX2" fmla="*/ 0 w 197382"/>
                  <a:gd name="connsiteY2" fmla="*/ 151308 h 177628"/>
                  <a:gd name="connsiteX3" fmla="*/ 0 w 197382"/>
                  <a:gd name="connsiteY3" fmla="*/ 13161 h 177628"/>
                  <a:gd name="connsiteX4" fmla="*/ 13161 w 197382"/>
                  <a:gd name="connsiteY4" fmla="*/ 0 h 177628"/>
                  <a:gd name="connsiteX5" fmla="*/ 13161 w 197382"/>
                  <a:gd name="connsiteY5" fmla="*/ 151308 h 177628"/>
                  <a:gd name="connsiteX6" fmla="*/ 26321 w 197382"/>
                  <a:gd name="connsiteY6" fmla="*/ 164468 h 177628"/>
                  <a:gd name="connsiteX7" fmla="*/ 171062 w 197382"/>
                  <a:gd name="connsiteY7" fmla="*/ 164468 h 177628"/>
                  <a:gd name="connsiteX8" fmla="*/ 184222 w 197382"/>
                  <a:gd name="connsiteY8" fmla="*/ 151308 h 177628"/>
                  <a:gd name="connsiteX9" fmla="*/ 184222 w 197382"/>
                  <a:gd name="connsiteY9" fmla="*/ 124986 h 177628"/>
                  <a:gd name="connsiteX10" fmla="*/ 197383 w 197382"/>
                  <a:gd name="connsiteY10" fmla="*/ 124986 h 177628"/>
                  <a:gd name="connsiteX11" fmla="*/ 197383 w 197382"/>
                  <a:gd name="connsiteY11" fmla="*/ 151308 h 177628"/>
                  <a:gd name="connsiteX12" fmla="*/ 171062 w 197382"/>
                  <a:gd name="connsiteY12" fmla="*/ 177629 h 177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7382" h="177628">
                    <a:moveTo>
                      <a:pt x="171062" y="177629"/>
                    </a:moveTo>
                    <a:lnTo>
                      <a:pt x="26321" y="177629"/>
                    </a:lnTo>
                    <a:cubicBezTo>
                      <a:pt x="11805" y="177629"/>
                      <a:pt x="0" y="165823"/>
                      <a:pt x="0" y="151308"/>
                    </a:cubicBezTo>
                    <a:lnTo>
                      <a:pt x="0" y="13161"/>
                    </a:lnTo>
                    <a:lnTo>
                      <a:pt x="13161" y="0"/>
                    </a:lnTo>
                    <a:lnTo>
                      <a:pt x="13161" y="151308"/>
                    </a:lnTo>
                    <a:cubicBezTo>
                      <a:pt x="13161" y="158553"/>
                      <a:pt x="19050" y="164468"/>
                      <a:pt x="26321" y="164468"/>
                    </a:cubicBezTo>
                    <a:lnTo>
                      <a:pt x="171062" y="164468"/>
                    </a:lnTo>
                    <a:cubicBezTo>
                      <a:pt x="178306" y="164468"/>
                      <a:pt x="184222" y="158579"/>
                      <a:pt x="184222" y="151308"/>
                    </a:cubicBezTo>
                    <a:lnTo>
                      <a:pt x="184222" y="124986"/>
                    </a:lnTo>
                    <a:lnTo>
                      <a:pt x="197383" y="124986"/>
                    </a:lnTo>
                    <a:lnTo>
                      <a:pt x="197383" y="151308"/>
                    </a:lnTo>
                    <a:cubicBezTo>
                      <a:pt x="197383" y="165823"/>
                      <a:pt x="185577" y="177629"/>
                      <a:pt x="171062" y="177629"/>
                    </a:cubicBezTo>
                    <a:close/>
                  </a:path>
                </a:pathLst>
              </a:custGeom>
              <a:solidFill>
                <a:schemeClr val="tx2"/>
              </a:solidFill>
              <a:ln w="2604" cap="flat">
                <a:noFill/>
                <a:prstDash val="solid"/>
                <a:miter/>
              </a:ln>
            </p:spPr>
            <p:txBody>
              <a:bodyPr rtlCol="0" anchor="ctr"/>
              <a:lstStyle/>
              <a:p>
                <a:endParaRPr lang="en-GB" dirty="0"/>
              </a:p>
            </p:txBody>
          </p:sp>
          <p:sp>
            <p:nvSpPr>
              <p:cNvPr id="115" name="Freihandform: Form 326">
                <a:extLst>
                  <a:ext uri="{FF2B5EF4-FFF2-40B4-BE49-F238E27FC236}">
                    <a16:creationId xmlns:a16="http://schemas.microsoft.com/office/drawing/2014/main" id="{FAD1A3D6-61FA-404D-B48B-B0E9528174EC}"/>
                  </a:ext>
                </a:extLst>
              </p:cNvPr>
              <p:cNvSpPr/>
              <p:nvPr/>
            </p:nvSpPr>
            <p:spPr>
              <a:xfrm>
                <a:off x="1826473" y="2725393"/>
                <a:ext cx="197330" cy="13134"/>
              </a:xfrm>
              <a:custGeom>
                <a:avLst/>
                <a:gdLst>
                  <a:gd name="connsiteX0" fmla="*/ 190763 w 197330"/>
                  <a:gd name="connsiteY0" fmla="*/ 13134 h 13134"/>
                  <a:gd name="connsiteX1" fmla="*/ 6567 w 197330"/>
                  <a:gd name="connsiteY1" fmla="*/ 13134 h 13134"/>
                  <a:gd name="connsiteX2" fmla="*/ 0 w 197330"/>
                  <a:gd name="connsiteY2" fmla="*/ 6567 h 13134"/>
                  <a:gd name="connsiteX3" fmla="*/ 6567 w 197330"/>
                  <a:gd name="connsiteY3" fmla="*/ 0 h 13134"/>
                  <a:gd name="connsiteX4" fmla="*/ 190763 w 197330"/>
                  <a:gd name="connsiteY4" fmla="*/ 0 h 13134"/>
                  <a:gd name="connsiteX5" fmla="*/ 197331 w 197330"/>
                  <a:gd name="connsiteY5" fmla="*/ 6567 h 13134"/>
                  <a:gd name="connsiteX6" fmla="*/ 190763 w 197330"/>
                  <a:gd name="connsiteY6" fmla="*/ 13134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330" h="13134">
                    <a:moveTo>
                      <a:pt x="190763" y="13134"/>
                    </a:moveTo>
                    <a:lnTo>
                      <a:pt x="6567" y="13134"/>
                    </a:lnTo>
                    <a:cubicBezTo>
                      <a:pt x="2945" y="13134"/>
                      <a:pt x="0" y="10190"/>
                      <a:pt x="0" y="6567"/>
                    </a:cubicBezTo>
                    <a:cubicBezTo>
                      <a:pt x="0" y="2945"/>
                      <a:pt x="2945" y="0"/>
                      <a:pt x="6567" y="0"/>
                    </a:cubicBezTo>
                    <a:lnTo>
                      <a:pt x="190763" y="0"/>
                    </a:lnTo>
                    <a:cubicBezTo>
                      <a:pt x="194386" y="0"/>
                      <a:pt x="197331" y="2945"/>
                      <a:pt x="197331" y="6567"/>
                    </a:cubicBezTo>
                    <a:cubicBezTo>
                      <a:pt x="197357" y="10190"/>
                      <a:pt x="194412" y="13134"/>
                      <a:pt x="190763" y="13134"/>
                    </a:cubicBezTo>
                    <a:close/>
                  </a:path>
                </a:pathLst>
              </a:custGeom>
              <a:solidFill>
                <a:schemeClr val="tx2"/>
              </a:solidFill>
              <a:ln w="2604" cap="flat">
                <a:noFill/>
                <a:prstDash val="solid"/>
                <a:miter/>
              </a:ln>
            </p:spPr>
            <p:txBody>
              <a:bodyPr rtlCol="0" anchor="ctr"/>
              <a:lstStyle/>
              <a:p>
                <a:endParaRPr lang="en-GB" dirty="0"/>
              </a:p>
            </p:txBody>
          </p:sp>
          <p:sp>
            <p:nvSpPr>
              <p:cNvPr id="116" name="Freihandform: Form 327">
                <a:extLst>
                  <a:ext uri="{FF2B5EF4-FFF2-40B4-BE49-F238E27FC236}">
                    <a16:creationId xmlns:a16="http://schemas.microsoft.com/office/drawing/2014/main" id="{7A30FDCA-2BCE-426D-869A-49E4079E16EB}"/>
                  </a:ext>
                </a:extLst>
              </p:cNvPr>
              <p:cNvSpPr/>
              <p:nvPr/>
            </p:nvSpPr>
            <p:spPr>
              <a:xfrm>
                <a:off x="1826473" y="2514876"/>
                <a:ext cx="197330" cy="13134"/>
              </a:xfrm>
              <a:custGeom>
                <a:avLst/>
                <a:gdLst>
                  <a:gd name="connsiteX0" fmla="*/ 190763 w 197330"/>
                  <a:gd name="connsiteY0" fmla="*/ 13134 h 13134"/>
                  <a:gd name="connsiteX1" fmla="*/ 6567 w 197330"/>
                  <a:gd name="connsiteY1" fmla="*/ 13134 h 13134"/>
                  <a:gd name="connsiteX2" fmla="*/ 0 w 197330"/>
                  <a:gd name="connsiteY2" fmla="*/ 6567 h 13134"/>
                  <a:gd name="connsiteX3" fmla="*/ 6567 w 197330"/>
                  <a:gd name="connsiteY3" fmla="*/ 0 h 13134"/>
                  <a:gd name="connsiteX4" fmla="*/ 190763 w 197330"/>
                  <a:gd name="connsiteY4" fmla="*/ 0 h 13134"/>
                  <a:gd name="connsiteX5" fmla="*/ 197331 w 197330"/>
                  <a:gd name="connsiteY5" fmla="*/ 6567 h 13134"/>
                  <a:gd name="connsiteX6" fmla="*/ 190763 w 197330"/>
                  <a:gd name="connsiteY6" fmla="*/ 13134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330" h="13134">
                    <a:moveTo>
                      <a:pt x="190763" y="13134"/>
                    </a:moveTo>
                    <a:lnTo>
                      <a:pt x="6567" y="13134"/>
                    </a:lnTo>
                    <a:cubicBezTo>
                      <a:pt x="2945" y="13134"/>
                      <a:pt x="0" y="10190"/>
                      <a:pt x="0" y="6567"/>
                    </a:cubicBezTo>
                    <a:cubicBezTo>
                      <a:pt x="0" y="2945"/>
                      <a:pt x="2945" y="0"/>
                      <a:pt x="6567" y="0"/>
                    </a:cubicBezTo>
                    <a:lnTo>
                      <a:pt x="190763" y="0"/>
                    </a:lnTo>
                    <a:cubicBezTo>
                      <a:pt x="194386" y="0"/>
                      <a:pt x="197331" y="2945"/>
                      <a:pt x="197331" y="6567"/>
                    </a:cubicBezTo>
                    <a:cubicBezTo>
                      <a:pt x="197357" y="10190"/>
                      <a:pt x="194412" y="13134"/>
                      <a:pt x="190763" y="13134"/>
                    </a:cubicBezTo>
                    <a:close/>
                  </a:path>
                </a:pathLst>
              </a:custGeom>
              <a:solidFill>
                <a:schemeClr val="tx2"/>
              </a:solidFill>
              <a:ln w="2604" cap="flat">
                <a:noFill/>
                <a:prstDash val="solid"/>
                <a:miter/>
              </a:ln>
            </p:spPr>
            <p:txBody>
              <a:bodyPr rtlCol="0" anchor="ctr"/>
              <a:lstStyle/>
              <a:p>
                <a:endParaRPr lang="en-GB" dirty="0"/>
              </a:p>
            </p:txBody>
          </p:sp>
          <p:sp>
            <p:nvSpPr>
              <p:cNvPr id="117" name="Freihandform: Form 328">
                <a:extLst>
                  <a:ext uri="{FF2B5EF4-FFF2-40B4-BE49-F238E27FC236}">
                    <a16:creationId xmlns:a16="http://schemas.microsoft.com/office/drawing/2014/main" id="{8F9DC8AF-2A7C-415E-8AFB-23FA6A6AFDA6}"/>
                  </a:ext>
                </a:extLst>
              </p:cNvPr>
              <p:cNvSpPr/>
              <p:nvPr/>
            </p:nvSpPr>
            <p:spPr>
              <a:xfrm>
                <a:off x="1693438" y="2514872"/>
                <a:ext cx="211950" cy="223681"/>
              </a:xfrm>
              <a:custGeom>
                <a:avLst/>
                <a:gdLst>
                  <a:gd name="connsiteX0" fmla="*/ 90973 w 211950"/>
                  <a:gd name="connsiteY0" fmla="*/ 223682 h 223681"/>
                  <a:gd name="connsiteX1" fmla="*/ 22 w 211950"/>
                  <a:gd name="connsiteY1" fmla="*/ 139506 h 223681"/>
                  <a:gd name="connsiteX2" fmla="*/ 57746 w 211950"/>
                  <a:gd name="connsiteY2" fmla="*/ 44984 h 223681"/>
                  <a:gd name="connsiteX3" fmla="*/ 58684 w 211950"/>
                  <a:gd name="connsiteY3" fmla="*/ 44672 h 223681"/>
                  <a:gd name="connsiteX4" fmla="*/ 78177 w 211950"/>
                  <a:gd name="connsiteY4" fmla="*/ 39929 h 223681"/>
                  <a:gd name="connsiteX5" fmla="*/ 135511 w 211950"/>
                  <a:gd name="connsiteY5" fmla="*/ 1124 h 223681"/>
                  <a:gd name="connsiteX6" fmla="*/ 142755 w 211950"/>
                  <a:gd name="connsiteY6" fmla="*/ 1046 h 223681"/>
                  <a:gd name="connsiteX7" fmla="*/ 208949 w 211950"/>
                  <a:gd name="connsiteY7" fmla="*/ 43812 h 223681"/>
                  <a:gd name="connsiteX8" fmla="*/ 211477 w 211950"/>
                  <a:gd name="connsiteY8" fmla="*/ 51786 h 223681"/>
                  <a:gd name="connsiteX9" fmla="*/ 210200 w 211950"/>
                  <a:gd name="connsiteY9" fmla="*/ 54966 h 223681"/>
                  <a:gd name="connsiteX10" fmla="*/ 159695 w 211950"/>
                  <a:gd name="connsiteY10" fmla="*/ 79045 h 223681"/>
                  <a:gd name="connsiteX11" fmla="*/ 141088 w 211950"/>
                  <a:gd name="connsiteY11" fmla="*/ 73286 h 223681"/>
                  <a:gd name="connsiteX12" fmla="*/ 118467 w 211950"/>
                  <a:gd name="connsiteY12" fmla="*/ 96689 h 223681"/>
                  <a:gd name="connsiteX13" fmla="*/ 109163 w 211950"/>
                  <a:gd name="connsiteY13" fmla="*/ 96845 h 223681"/>
                  <a:gd name="connsiteX14" fmla="*/ 109007 w 211950"/>
                  <a:gd name="connsiteY14" fmla="*/ 87541 h 223681"/>
                  <a:gd name="connsiteX15" fmla="*/ 134442 w 211950"/>
                  <a:gd name="connsiteY15" fmla="*/ 61220 h 223681"/>
                  <a:gd name="connsiteX16" fmla="*/ 141114 w 211950"/>
                  <a:gd name="connsiteY16" fmla="*/ 59500 h 223681"/>
                  <a:gd name="connsiteX17" fmla="*/ 163578 w 211950"/>
                  <a:gd name="connsiteY17" fmla="*/ 66458 h 223681"/>
                  <a:gd name="connsiteX18" fmla="*/ 197170 w 211950"/>
                  <a:gd name="connsiteY18" fmla="*/ 51864 h 223681"/>
                  <a:gd name="connsiteX19" fmla="*/ 139237 w 211950"/>
                  <a:gd name="connsiteY19" fmla="*/ 14441 h 223681"/>
                  <a:gd name="connsiteX20" fmla="*/ 84510 w 211950"/>
                  <a:gd name="connsiteY20" fmla="*/ 51473 h 223681"/>
                  <a:gd name="connsiteX21" fmla="*/ 82373 w 211950"/>
                  <a:gd name="connsiteY21" fmla="*/ 52412 h 223681"/>
                  <a:gd name="connsiteX22" fmla="*/ 62228 w 211950"/>
                  <a:gd name="connsiteY22" fmla="*/ 57337 h 223681"/>
                  <a:gd name="connsiteX23" fmla="*/ 13130 w 211950"/>
                  <a:gd name="connsiteY23" fmla="*/ 139219 h 223681"/>
                  <a:gd name="connsiteX24" fmla="*/ 93136 w 211950"/>
                  <a:gd name="connsiteY24" fmla="*/ 210495 h 223681"/>
                  <a:gd name="connsiteX25" fmla="*/ 119588 w 211950"/>
                  <a:gd name="connsiteY25" fmla="*/ 210495 h 223681"/>
                  <a:gd name="connsiteX26" fmla="*/ 126155 w 211950"/>
                  <a:gd name="connsiteY26" fmla="*/ 217062 h 223681"/>
                  <a:gd name="connsiteX27" fmla="*/ 119588 w 211950"/>
                  <a:gd name="connsiteY27" fmla="*/ 223630 h 223681"/>
                  <a:gd name="connsiteX28" fmla="*/ 93266 w 211950"/>
                  <a:gd name="connsiteY28" fmla="*/ 223630 h 223681"/>
                  <a:gd name="connsiteX29" fmla="*/ 90973 w 211950"/>
                  <a:gd name="connsiteY29" fmla="*/ 223682 h 223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1950" h="223681">
                    <a:moveTo>
                      <a:pt x="90973" y="223682"/>
                    </a:moveTo>
                    <a:cubicBezTo>
                      <a:pt x="38305" y="223682"/>
                      <a:pt x="986" y="189334"/>
                      <a:pt x="22" y="139506"/>
                    </a:cubicBezTo>
                    <a:cubicBezTo>
                      <a:pt x="-812" y="97418"/>
                      <a:pt x="22408" y="59448"/>
                      <a:pt x="57746" y="44984"/>
                    </a:cubicBezTo>
                    <a:cubicBezTo>
                      <a:pt x="58059" y="44854"/>
                      <a:pt x="58371" y="44750"/>
                      <a:pt x="58684" y="44672"/>
                    </a:cubicBezTo>
                    <a:lnTo>
                      <a:pt x="78177" y="39929"/>
                    </a:lnTo>
                    <a:lnTo>
                      <a:pt x="135511" y="1124"/>
                    </a:lnTo>
                    <a:cubicBezTo>
                      <a:pt x="137700" y="-335"/>
                      <a:pt x="140566" y="-387"/>
                      <a:pt x="142755" y="1046"/>
                    </a:cubicBezTo>
                    <a:lnTo>
                      <a:pt x="208949" y="43812"/>
                    </a:lnTo>
                    <a:cubicBezTo>
                      <a:pt x="211581" y="45506"/>
                      <a:pt x="212650" y="48867"/>
                      <a:pt x="211477" y="51786"/>
                    </a:cubicBezTo>
                    <a:lnTo>
                      <a:pt x="210200" y="54966"/>
                    </a:lnTo>
                    <a:cubicBezTo>
                      <a:pt x="202278" y="74798"/>
                      <a:pt x="180100" y="85378"/>
                      <a:pt x="159695" y="79045"/>
                    </a:cubicBezTo>
                    <a:lnTo>
                      <a:pt x="141088" y="73286"/>
                    </a:lnTo>
                    <a:lnTo>
                      <a:pt x="118467" y="96689"/>
                    </a:lnTo>
                    <a:cubicBezTo>
                      <a:pt x="115939" y="99295"/>
                      <a:pt x="111769" y="99373"/>
                      <a:pt x="109163" y="96845"/>
                    </a:cubicBezTo>
                    <a:cubicBezTo>
                      <a:pt x="106557" y="94317"/>
                      <a:pt x="106479" y="90147"/>
                      <a:pt x="109007" y="87541"/>
                    </a:cubicBezTo>
                    <a:lnTo>
                      <a:pt x="134442" y="61220"/>
                    </a:lnTo>
                    <a:cubicBezTo>
                      <a:pt x="136162" y="59422"/>
                      <a:pt x="138742" y="58770"/>
                      <a:pt x="141114" y="59500"/>
                    </a:cubicBezTo>
                    <a:lnTo>
                      <a:pt x="163578" y="66458"/>
                    </a:lnTo>
                    <a:cubicBezTo>
                      <a:pt x="176817" y="70576"/>
                      <a:pt x="191202" y="64191"/>
                      <a:pt x="197170" y="51864"/>
                    </a:cubicBezTo>
                    <a:lnTo>
                      <a:pt x="139237" y="14441"/>
                    </a:lnTo>
                    <a:lnTo>
                      <a:pt x="84510" y="51473"/>
                    </a:lnTo>
                    <a:cubicBezTo>
                      <a:pt x="83859" y="51916"/>
                      <a:pt x="83129" y="52229"/>
                      <a:pt x="82373" y="52412"/>
                    </a:cubicBezTo>
                    <a:lnTo>
                      <a:pt x="62228" y="57337"/>
                    </a:lnTo>
                    <a:cubicBezTo>
                      <a:pt x="32128" y="69898"/>
                      <a:pt x="12401" y="102735"/>
                      <a:pt x="13130" y="139219"/>
                    </a:cubicBezTo>
                    <a:cubicBezTo>
                      <a:pt x="14094" y="189204"/>
                      <a:pt x="55322" y="211251"/>
                      <a:pt x="93136" y="210495"/>
                    </a:cubicBezTo>
                    <a:lnTo>
                      <a:pt x="119588" y="210495"/>
                    </a:lnTo>
                    <a:cubicBezTo>
                      <a:pt x="123210" y="210495"/>
                      <a:pt x="126155" y="213440"/>
                      <a:pt x="126155" y="217062"/>
                    </a:cubicBezTo>
                    <a:cubicBezTo>
                      <a:pt x="126155" y="220685"/>
                      <a:pt x="123210" y="223630"/>
                      <a:pt x="119588" y="223630"/>
                    </a:cubicBezTo>
                    <a:lnTo>
                      <a:pt x="93266" y="223630"/>
                    </a:lnTo>
                    <a:cubicBezTo>
                      <a:pt x="92511" y="223682"/>
                      <a:pt x="91729" y="223682"/>
                      <a:pt x="90973" y="223682"/>
                    </a:cubicBezTo>
                    <a:close/>
                  </a:path>
                </a:pathLst>
              </a:custGeom>
              <a:solidFill>
                <a:schemeClr val="tx2"/>
              </a:solidFill>
              <a:ln w="2604" cap="flat">
                <a:noFill/>
                <a:prstDash val="solid"/>
                <a:miter/>
              </a:ln>
            </p:spPr>
            <p:txBody>
              <a:bodyPr rtlCol="0" anchor="ctr"/>
              <a:lstStyle/>
              <a:p>
                <a:endParaRPr lang="en-GB" dirty="0"/>
              </a:p>
            </p:txBody>
          </p:sp>
        </p:grpSp>
      </p:grpSp>
      <p:grpSp>
        <p:nvGrpSpPr>
          <p:cNvPr id="12" name="Group 11">
            <a:extLst>
              <a:ext uri="{FF2B5EF4-FFF2-40B4-BE49-F238E27FC236}">
                <a16:creationId xmlns:a16="http://schemas.microsoft.com/office/drawing/2014/main" id="{0A5AC701-F5B2-4E9D-8BC7-0D5DFF3F20DF}"/>
              </a:ext>
            </a:extLst>
          </p:cNvPr>
          <p:cNvGrpSpPr/>
          <p:nvPr/>
        </p:nvGrpSpPr>
        <p:grpSpPr>
          <a:xfrm>
            <a:off x="1612251" y="2391526"/>
            <a:ext cx="454466" cy="432000"/>
            <a:chOff x="1612251" y="2391526"/>
            <a:chExt cx="454466" cy="432000"/>
          </a:xfrm>
        </p:grpSpPr>
        <p:sp>
          <p:nvSpPr>
            <p:cNvPr id="121" name="Freihandform: Form 346">
              <a:extLst>
                <a:ext uri="{FF2B5EF4-FFF2-40B4-BE49-F238E27FC236}">
                  <a16:creationId xmlns:a16="http://schemas.microsoft.com/office/drawing/2014/main" id="{FF033F12-CDF2-4307-9F5A-AB35379ED026}"/>
                </a:ext>
              </a:extLst>
            </p:cNvPr>
            <p:cNvSpPr/>
            <p:nvPr/>
          </p:nvSpPr>
          <p:spPr>
            <a:xfrm>
              <a:off x="1623702" y="2391526"/>
              <a:ext cx="432007" cy="432000"/>
            </a:xfrm>
            <a:custGeom>
              <a:avLst/>
              <a:gdLst>
                <a:gd name="connsiteX0" fmla="*/ 6574 w 434208"/>
                <a:gd name="connsiteY0" fmla="*/ 434202 h 434201"/>
                <a:gd name="connsiteX1" fmla="*/ 1935 w 434208"/>
                <a:gd name="connsiteY1" fmla="*/ 432273 h 434201"/>
                <a:gd name="connsiteX2" fmla="*/ 1935 w 434208"/>
                <a:gd name="connsiteY2" fmla="*/ 422970 h 434201"/>
                <a:gd name="connsiteX3" fmla="*/ 422969 w 434208"/>
                <a:gd name="connsiteY3" fmla="*/ 1935 h 434201"/>
                <a:gd name="connsiteX4" fmla="*/ 432273 w 434208"/>
                <a:gd name="connsiteY4" fmla="*/ 1935 h 434201"/>
                <a:gd name="connsiteX5" fmla="*/ 432273 w 434208"/>
                <a:gd name="connsiteY5" fmla="*/ 11239 h 434201"/>
                <a:gd name="connsiteX6" fmla="*/ 11239 w 434208"/>
                <a:gd name="connsiteY6" fmla="*/ 432273 h 434201"/>
                <a:gd name="connsiteX7" fmla="*/ 6574 w 434208"/>
                <a:gd name="connsiteY7" fmla="*/ 434202 h 43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4208" h="434201">
                  <a:moveTo>
                    <a:pt x="6574" y="434202"/>
                  </a:moveTo>
                  <a:cubicBezTo>
                    <a:pt x="4880" y="434202"/>
                    <a:pt x="3212" y="433550"/>
                    <a:pt x="1935" y="432273"/>
                  </a:cubicBezTo>
                  <a:cubicBezTo>
                    <a:pt x="-645" y="429693"/>
                    <a:pt x="-645" y="425550"/>
                    <a:pt x="1935" y="422970"/>
                  </a:cubicBezTo>
                  <a:lnTo>
                    <a:pt x="422969" y="1935"/>
                  </a:lnTo>
                  <a:cubicBezTo>
                    <a:pt x="425550" y="-645"/>
                    <a:pt x="429693" y="-645"/>
                    <a:pt x="432273" y="1935"/>
                  </a:cubicBezTo>
                  <a:cubicBezTo>
                    <a:pt x="434853" y="4515"/>
                    <a:pt x="434853" y="8659"/>
                    <a:pt x="432273" y="11239"/>
                  </a:cubicBezTo>
                  <a:lnTo>
                    <a:pt x="11239" y="432273"/>
                  </a:lnTo>
                  <a:cubicBezTo>
                    <a:pt x="9936" y="433550"/>
                    <a:pt x="8268" y="434202"/>
                    <a:pt x="6574" y="434202"/>
                  </a:cubicBezTo>
                  <a:close/>
                </a:path>
              </a:pathLst>
            </a:custGeom>
            <a:solidFill>
              <a:schemeClr val="accent1"/>
            </a:solidFill>
            <a:ln w="2604" cap="flat">
              <a:noFill/>
              <a:prstDash val="solid"/>
              <a:miter/>
            </a:ln>
          </p:spPr>
          <p:txBody>
            <a:bodyPr rtlCol="0" anchor="ctr"/>
            <a:lstStyle/>
            <a:p>
              <a:endParaRPr lang="en-GB" dirty="0"/>
            </a:p>
          </p:txBody>
        </p:sp>
        <p:grpSp>
          <p:nvGrpSpPr>
            <p:cNvPr id="122" name="Group 121">
              <a:extLst>
                <a:ext uri="{FF2B5EF4-FFF2-40B4-BE49-F238E27FC236}">
                  <a16:creationId xmlns:a16="http://schemas.microsoft.com/office/drawing/2014/main" id="{A5B395FD-5222-402B-B976-EB40680A0234}"/>
                </a:ext>
              </a:extLst>
            </p:cNvPr>
            <p:cNvGrpSpPr/>
            <p:nvPr/>
          </p:nvGrpSpPr>
          <p:grpSpPr>
            <a:xfrm>
              <a:off x="1612251" y="2392927"/>
              <a:ext cx="454466" cy="423236"/>
              <a:chOff x="3392169" y="2431554"/>
              <a:chExt cx="456781" cy="425392"/>
            </a:xfrm>
          </p:grpSpPr>
          <p:sp>
            <p:nvSpPr>
              <p:cNvPr id="123" name="Freihandform: Form 339">
                <a:extLst>
                  <a:ext uri="{FF2B5EF4-FFF2-40B4-BE49-F238E27FC236}">
                    <a16:creationId xmlns:a16="http://schemas.microsoft.com/office/drawing/2014/main" id="{FFF98C2C-1F9E-4CB2-AA85-5EA6610EC576}"/>
                  </a:ext>
                </a:extLst>
              </p:cNvPr>
              <p:cNvSpPr/>
              <p:nvPr/>
            </p:nvSpPr>
            <p:spPr>
              <a:xfrm>
                <a:off x="3392169" y="2585364"/>
                <a:ext cx="71246" cy="44751"/>
              </a:xfrm>
              <a:custGeom>
                <a:avLst/>
                <a:gdLst>
                  <a:gd name="connsiteX0" fmla="*/ 49955 w 71246"/>
                  <a:gd name="connsiteY0" fmla="*/ 44751 h 44751"/>
                  <a:gd name="connsiteX1" fmla="*/ 492 w 71246"/>
                  <a:gd name="connsiteY1" fmla="*/ 24867 h 44751"/>
                  <a:gd name="connsiteX2" fmla="*/ 466 w 71246"/>
                  <a:gd name="connsiteY2" fmla="*/ 19942 h 44751"/>
                  <a:gd name="connsiteX3" fmla="*/ 54490 w 71246"/>
                  <a:gd name="connsiteY3" fmla="*/ 370 h 44751"/>
                  <a:gd name="connsiteX4" fmla="*/ 71220 w 71246"/>
                  <a:gd name="connsiteY4" fmla="*/ 21505 h 44751"/>
                  <a:gd name="connsiteX5" fmla="*/ 71246 w 71246"/>
                  <a:gd name="connsiteY5" fmla="*/ 22209 h 44751"/>
                  <a:gd name="connsiteX6" fmla="*/ 71220 w 71246"/>
                  <a:gd name="connsiteY6" fmla="*/ 22756 h 44751"/>
                  <a:gd name="connsiteX7" fmla="*/ 54620 w 71246"/>
                  <a:gd name="connsiteY7" fmla="*/ 44334 h 44751"/>
                  <a:gd name="connsiteX8" fmla="*/ 49955 w 71246"/>
                  <a:gd name="connsiteY8" fmla="*/ 44751 h 44751"/>
                  <a:gd name="connsiteX9" fmla="*/ 19933 w 71246"/>
                  <a:gd name="connsiteY9" fmla="*/ 22391 h 44751"/>
                  <a:gd name="connsiteX10" fmla="*/ 54620 w 71246"/>
                  <a:gd name="connsiteY10" fmla="*/ 30652 h 44751"/>
                  <a:gd name="connsiteX11" fmla="*/ 58060 w 71246"/>
                  <a:gd name="connsiteY11" fmla="*/ 22417 h 44751"/>
                  <a:gd name="connsiteX12" fmla="*/ 58060 w 71246"/>
                  <a:gd name="connsiteY12" fmla="*/ 22391 h 44751"/>
                  <a:gd name="connsiteX13" fmla="*/ 54620 w 71246"/>
                  <a:gd name="connsiteY13" fmla="*/ 14156 h 44751"/>
                  <a:gd name="connsiteX14" fmla="*/ 19933 w 71246"/>
                  <a:gd name="connsiteY14" fmla="*/ 22391 h 4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246" h="44751">
                    <a:moveTo>
                      <a:pt x="49955" y="44751"/>
                    </a:moveTo>
                    <a:cubicBezTo>
                      <a:pt x="31817" y="44751"/>
                      <a:pt x="2525" y="29871"/>
                      <a:pt x="492" y="24867"/>
                    </a:cubicBezTo>
                    <a:cubicBezTo>
                      <a:pt x="-160" y="23303"/>
                      <a:pt x="-160" y="21531"/>
                      <a:pt x="466" y="19942"/>
                    </a:cubicBezTo>
                    <a:cubicBezTo>
                      <a:pt x="2629" y="14521"/>
                      <a:pt x="37081" y="-2731"/>
                      <a:pt x="54490" y="370"/>
                    </a:cubicBezTo>
                    <a:cubicBezTo>
                      <a:pt x="60510" y="1465"/>
                      <a:pt x="70621" y="5634"/>
                      <a:pt x="71220" y="21505"/>
                    </a:cubicBezTo>
                    <a:cubicBezTo>
                      <a:pt x="71246" y="21740"/>
                      <a:pt x="71246" y="21974"/>
                      <a:pt x="71246" y="22209"/>
                    </a:cubicBezTo>
                    <a:cubicBezTo>
                      <a:pt x="71246" y="22391"/>
                      <a:pt x="71246" y="22574"/>
                      <a:pt x="71220" y="22756"/>
                    </a:cubicBezTo>
                    <a:cubicBezTo>
                      <a:pt x="70830" y="38914"/>
                      <a:pt x="60640" y="43214"/>
                      <a:pt x="54620" y="44334"/>
                    </a:cubicBezTo>
                    <a:cubicBezTo>
                      <a:pt x="53160" y="44621"/>
                      <a:pt x="51597" y="44751"/>
                      <a:pt x="49955" y="44751"/>
                    </a:cubicBezTo>
                    <a:close/>
                    <a:moveTo>
                      <a:pt x="19933" y="22391"/>
                    </a:moveTo>
                    <a:cubicBezTo>
                      <a:pt x="31426" y="28099"/>
                      <a:pt x="47792" y="34223"/>
                      <a:pt x="54620" y="30652"/>
                    </a:cubicBezTo>
                    <a:cubicBezTo>
                      <a:pt x="55454" y="30235"/>
                      <a:pt x="57930" y="28932"/>
                      <a:pt x="58060" y="22417"/>
                    </a:cubicBezTo>
                    <a:cubicBezTo>
                      <a:pt x="58060" y="22391"/>
                      <a:pt x="58060" y="22391"/>
                      <a:pt x="58060" y="22391"/>
                    </a:cubicBezTo>
                    <a:cubicBezTo>
                      <a:pt x="57930" y="15876"/>
                      <a:pt x="55428" y="14573"/>
                      <a:pt x="54620" y="14156"/>
                    </a:cubicBezTo>
                    <a:cubicBezTo>
                      <a:pt x="47766" y="10560"/>
                      <a:pt x="31426" y="16684"/>
                      <a:pt x="19933" y="22391"/>
                    </a:cubicBezTo>
                    <a:close/>
                  </a:path>
                </a:pathLst>
              </a:custGeom>
              <a:solidFill>
                <a:schemeClr val="tx2"/>
              </a:solidFill>
              <a:ln w="2604" cap="flat">
                <a:noFill/>
                <a:prstDash val="solid"/>
                <a:miter/>
              </a:ln>
            </p:spPr>
            <p:txBody>
              <a:bodyPr rtlCol="0" anchor="ctr"/>
              <a:lstStyle/>
              <a:p>
                <a:endParaRPr lang="en-GB" dirty="0"/>
              </a:p>
            </p:txBody>
          </p:sp>
          <p:grpSp>
            <p:nvGrpSpPr>
              <p:cNvPr id="124" name="Grafik 234">
                <a:extLst>
                  <a:ext uri="{FF2B5EF4-FFF2-40B4-BE49-F238E27FC236}">
                    <a16:creationId xmlns:a16="http://schemas.microsoft.com/office/drawing/2014/main" id="{B2F83078-CB6B-418E-AD3D-940BAC23EA90}"/>
                  </a:ext>
                </a:extLst>
              </p:cNvPr>
              <p:cNvGrpSpPr/>
              <p:nvPr/>
            </p:nvGrpSpPr>
            <p:grpSpPr>
              <a:xfrm>
                <a:off x="3439007" y="2431554"/>
                <a:ext cx="264945" cy="107767"/>
                <a:chOff x="3439007" y="2431554"/>
                <a:chExt cx="264945" cy="107767"/>
              </a:xfrm>
              <a:solidFill>
                <a:schemeClr val="tx2"/>
              </a:solidFill>
            </p:grpSpPr>
            <p:sp>
              <p:nvSpPr>
                <p:cNvPr id="157" name="Freihandform: Form 341">
                  <a:extLst>
                    <a:ext uri="{FF2B5EF4-FFF2-40B4-BE49-F238E27FC236}">
                      <a16:creationId xmlns:a16="http://schemas.microsoft.com/office/drawing/2014/main" id="{BECB5491-6A3E-4109-BBC4-D3C8F0C2E185}"/>
                    </a:ext>
                  </a:extLst>
                </p:cNvPr>
                <p:cNvSpPr/>
                <p:nvPr/>
              </p:nvSpPr>
              <p:spPr>
                <a:xfrm>
                  <a:off x="3549198" y="2431554"/>
                  <a:ext cx="44660" cy="71256"/>
                </a:xfrm>
                <a:custGeom>
                  <a:avLst/>
                  <a:gdLst>
                    <a:gd name="connsiteX0" fmla="*/ 22500 w 44660"/>
                    <a:gd name="connsiteY0" fmla="*/ 71256 h 71256"/>
                    <a:gd name="connsiteX1" fmla="*/ 21666 w 44660"/>
                    <a:gd name="connsiteY1" fmla="*/ 71230 h 71256"/>
                    <a:gd name="connsiteX2" fmla="*/ 322 w 44660"/>
                    <a:gd name="connsiteY2" fmla="*/ 54421 h 71256"/>
                    <a:gd name="connsiteX3" fmla="*/ 19946 w 44660"/>
                    <a:gd name="connsiteY3" fmla="*/ 450 h 71256"/>
                    <a:gd name="connsiteX4" fmla="*/ 24715 w 44660"/>
                    <a:gd name="connsiteY4" fmla="*/ 450 h 71256"/>
                    <a:gd name="connsiteX5" fmla="*/ 44338 w 44660"/>
                    <a:gd name="connsiteY5" fmla="*/ 54421 h 71256"/>
                    <a:gd name="connsiteX6" fmla="*/ 23203 w 44660"/>
                    <a:gd name="connsiteY6" fmla="*/ 71230 h 71256"/>
                    <a:gd name="connsiteX7" fmla="*/ 22500 w 44660"/>
                    <a:gd name="connsiteY7" fmla="*/ 71256 h 71256"/>
                    <a:gd name="connsiteX8" fmla="*/ 22343 w 44660"/>
                    <a:gd name="connsiteY8" fmla="*/ 19917 h 71256"/>
                    <a:gd name="connsiteX9" fmla="*/ 14082 w 44660"/>
                    <a:gd name="connsiteY9" fmla="*/ 54603 h 71256"/>
                    <a:gd name="connsiteX10" fmla="*/ 22317 w 44660"/>
                    <a:gd name="connsiteY10" fmla="*/ 58069 h 71256"/>
                    <a:gd name="connsiteX11" fmla="*/ 22343 w 44660"/>
                    <a:gd name="connsiteY11" fmla="*/ 58069 h 71256"/>
                    <a:gd name="connsiteX12" fmla="*/ 30578 w 44660"/>
                    <a:gd name="connsiteY12" fmla="*/ 54603 h 71256"/>
                    <a:gd name="connsiteX13" fmla="*/ 22343 w 44660"/>
                    <a:gd name="connsiteY13" fmla="*/ 19917 h 71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4660" h="71256">
                      <a:moveTo>
                        <a:pt x="22500" y="71256"/>
                      </a:moveTo>
                      <a:cubicBezTo>
                        <a:pt x="22213" y="71256"/>
                        <a:pt x="21952" y="71230"/>
                        <a:pt x="21666" y="71230"/>
                      </a:cubicBezTo>
                      <a:cubicBezTo>
                        <a:pt x="5586" y="70735"/>
                        <a:pt x="1391" y="60493"/>
                        <a:pt x="322" y="54421"/>
                      </a:cubicBezTo>
                      <a:cubicBezTo>
                        <a:pt x="-2414" y="38941"/>
                        <a:pt x="12987" y="3186"/>
                        <a:pt x="19946" y="450"/>
                      </a:cubicBezTo>
                      <a:cubicBezTo>
                        <a:pt x="21483" y="-150"/>
                        <a:pt x="23177" y="-150"/>
                        <a:pt x="24715" y="450"/>
                      </a:cubicBezTo>
                      <a:cubicBezTo>
                        <a:pt x="31673" y="3160"/>
                        <a:pt x="47075" y="38915"/>
                        <a:pt x="44338" y="54421"/>
                      </a:cubicBezTo>
                      <a:cubicBezTo>
                        <a:pt x="43270" y="60467"/>
                        <a:pt x="39100" y="70631"/>
                        <a:pt x="23203" y="71230"/>
                      </a:cubicBezTo>
                      <a:cubicBezTo>
                        <a:pt x="22995" y="71230"/>
                        <a:pt x="22760" y="71256"/>
                        <a:pt x="22500" y="71256"/>
                      </a:cubicBezTo>
                      <a:close/>
                      <a:moveTo>
                        <a:pt x="22343" y="19917"/>
                      </a:moveTo>
                      <a:cubicBezTo>
                        <a:pt x="16636" y="31409"/>
                        <a:pt x="10512" y="47776"/>
                        <a:pt x="14082" y="54603"/>
                      </a:cubicBezTo>
                      <a:cubicBezTo>
                        <a:pt x="14499" y="55411"/>
                        <a:pt x="15802" y="57913"/>
                        <a:pt x="22317" y="58069"/>
                      </a:cubicBezTo>
                      <a:cubicBezTo>
                        <a:pt x="22343" y="58069"/>
                        <a:pt x="22343" y="58069"/>
                        <a:pt x="22343" y="58069"/>
                      </a:cubicBezTo>
                      <a:cubicBezTo>
                        <a:pt x="28859" y="57913"/>
                        <a:pt x="30162" y="55437"/>
                        <a:pt x="30578" y="54603"/>
                      </a:cubicBezTo>
                      <a:cubicBezTo>
                        <a:pt x="34175" y="47776"/>
                        <a:pt x="28051" y="31409"/>
                        <a:pt x="22343" y="19917"/>
                      </a:cubicBezTo>
                      <a:close/>
                    </a:path>
                  </a:pathLst>
                </a:custGeom>
                <a:solidFill>
                  <a:schemeClr val="accent1"/>
                </a:solidFill>
                <a:ln w="2604" cap="flat">
                  <a:noFill/>
                  <a:prstDash val="solid"/>
                  <a:miter/>
                </a:ln>
              </p:spPr>
              <p:txBody>
                <a:bodyPr rtlCol="0" anchor="ctr"/>
                <a:lstStyle/>
                <a:p>
                  <a:endParaRPr lang="en-GB" dirty="0"/>
                </a:p>
              </p:txBody>
            </p:sp>
            <p:sp>
              <p:nvSpPr>
                <p:cNvPr id="158" name="Freihandform: Form 342">
                  <a:extLst>
                    <a:ext uri="{FF2B5EF4-FFF2-40B4-BE49-F238E27FC236}">
                      <a16:creationId xmlns:a16="http://schemas.microsoft.com/office/drawing/2014/main" id="{E09D66D9-7773-4996-B956-428ED3898536}"/>
                    </a:ext>
                  </a:extLst>
                </p:cNvPr>
                <p:cNvSpPr/>
                <p:nvPr/>
              </p:nvSpPr>
              <p:spPr>
                <a:xfrm>
                  <a:off x="3439007" y="2479753"/>
                  <a:ext cx="59686" cy="59567"/>
                </a:xfrm>
                <a:custGeom>
                  <a:avLst/>
                  <a:gdLst>
                    <a:gd name="connsiteX0" fmla="*/ 36161 w 59686"/>
                    <a:gd name="connsiteY0" fmla="*/ 59568 h 59567"/>
                    <a:gd name="connsiteX1" fmla="*/ 24669 w 59686"/>
                    <a:gd name="connsiteY1" fmla="*/ 55685 h 59567"/>
                    <a:gd name="connsiteX2" fmla="*/ 406 w 59686"/>
                    <a:gd name="connsiteY2" fmla="*/ 3668 h 59567"/>
                    <a:gd name="connsiteX3" fmla="*/ 3794 w 59686"/>
                    <a:gd name="connsiteY3" fmla="*/ 280 h 59567"/>
                    <a:gd name="connsiteX4" fmla="*/ 55837 w 59686"/>
                    <a:gd name="connsiteY4" fmla="*/ 24595 h 59567"/>
                    <a:gd name="connsiteX5" fmla="*/ 52788 w 59686"/>
                    <a:gd name="connsiteY5" fmla="*/ 51359 h 59567"/>
                    <a:gd name="connsiteX6" fmla="*/ 52059 w 59686"/>
                    <a:gd name="connsiteY6" fmla="*/ 52141 h 59567"/>
                    <a:gd name="connsiteX7" fmla="*/ 51668 w 59686"/>
                    <a:gd name="connsiteY7" fmla="*/ 52505 h 59567"/>
                    <a:gd name="connsiteX8" fmla="*/ 36161 w 59686"/>
                    <a:gd name="connsiteY8" fmla="*/ 59568 h 59567"/>
                    <a:gd name="connsiteX9" fmla="*/ 15861 w 59686"/>
                    <a:gd name="connsiteY9" fmla="*/ 15760 h 59567"/>
                    <a:gd name="connsiteX10" fmla="*/ 34546 w 59686"/>
                    <a:gd name="connsiteY10" fmla="*/ 46121 h 59567"/>
                    <a:gd name="connsiteX11" fmla="*/ 42755 w 59686"/>
                    <a:gd name="connsiteY11" fmla="*/ 42785 h 59567"/>
                    <a:gd name="connsiteX12" fmla="*/ 42807 w 59686"/>
                    <a:gd name="connsiteY12" fmla="*/ 42707 h 59567"/>
                    <a:gd name="connsiteX13" fmla="*/ 46195 w 59686"/>
                    <a:gd name="connsiteY13" fmla="*/ 34445 h 59567"/>
                    <a:gd name="connsiteX14" fmla="*/ 15861 w 59686"/>
                    <a:gd name="connsiteY14" fmla="*/ 15760 h 59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686" h="59567">
                      <a:moveTo>
                        <a:pt x="36161" y="59568"/>
                      </a:moveTo>
                      <a:cubicBezTo>
                        <a:pt x="31288" y="59568"/>
                        <a:pt x="27275" y="57535"/>
                        <a:pt x="24669" y="55685"/>
                      </a:cubicBezTo>
                      <a:cubicBezTo>
                        <a:pt x="11795" y="46668"/>
                        <a:pt x="-2617" y="10496"/>
                        <a:pt x="406" y="3668"/>
                      </a:cubicBezTo>
                      <a:cubicBezTo>
                        <a:pt x="1058" y="2156"/>
                        <a:pt x="2283" y="958"/>
                        <a:pt x="3794" y="280"/>
                      </a:cubicBezTo>
                      <a:cubicBezTo>
                        <a:pt x="9111" y="-2013"/>
                        <a:pt x="45700" y="10105"/>
                        <a:pt x="55837" y="24595"/>
                      </a:cubicBezTo>
                      <a:cubicBezTo>
                        <a:pt x="59355" y="29624"/>
                        <a:pt x="63577" y="39736"/>
                        <a:pt x="52788" y="51359"/>
                      </a:cubicBezTo>
                      <a:cubicBezTo>
                        <a:pt x="52580" y="51645"/>
                        <a:pt x="52319" y="51906"/>
                        <a:pt x="52059" y="52141"/>
                      </a:cubicBezTo>
                      <a:cubicBezTo>
                        <a:pt x="51928" y="52271"/>
                        <a:pt x="51798" y="52375"/>
                        <a:pt x="51668" y="52505"/>
                      </a:cubicBezTo>
                      <a:cubicBezTo>
                        <a:pt x="45986" y="57796"/>
                        <a:pt x="40696" y="59568"/>
                        <a:pt x="36161" y="59568"/>
                      </a:cubicBezTo>
                      <a:close/>
                      <a:moveTo>
                        <a:pt x="15861" y="15760"/>
                      </a:moveTo>
                      <a:cubicBezTo>
                        <a:pt x="19952" y="27904"/>
                        <a:pt x="27197" y="43827"/>
                        <a:pt x="34546" y="46121"/>
                      </a:cubicBezTo>
                      <a:cubicBezTo>
                        <a:pt x="35432" y="46381"/>
                        <a:pt x="38090" y="47215"/>
                        <a:pt x="42755" y="42785"/>
                      </a:cubicBezTo>
                      <a:cubicBezTo>
                        <a:pt x="42781" y="42759"/>
                        <a:pt x="42807" y="42733"/>
                        <a:pt x="42807" y="42707"/>
                      </a:cubicBezTo>
                      <a:cubicBezTo>
                        <a:pt x="47315" y="37990"/>
                        <a:pt x="46482" y="35332"/>
                        <a:pt x="46195" y="34445"/>
                      </a:cubicBezTo>
                      <a:cubicBezTo>
                        <a:pt x="43902" y="27096"/>
                        <a:pt x="28005" y="19852"/>
                        <a:pt x="15861" y="15760"/>
                      </a:cubicBezTo>
                      <a:close/>
                    </a:path>
                  </a:pathLst>
                </a:custGeom>
                <a:solidFill>
                  <a:schemeClr val="accent1"/>
                </a:solidFill>
                <a:ln w="2604" cap="flat">
                  <a:noFill/>
                  <a:prstDash val="solid"/>
                  <a:miter/>
                </a:ln>
              </p:spPr>
              <p:txBody>
                <a:bodyPr rtlCol="0" anchor="ctr"/>
                <a:lstStyle/>
                <a:p>
                  <a:endParaRPr lang="en-GB" dirty="0"/>
                </a:p>
              </p:txBody>
            </p:sp>
            <p:sp>
              <p:nvSpPr>
                <p:cNvPr id="159" name="Freihandform: Form 343">
                  <a:extLst>
                    <a:ext uri="{FF2B5EF4-FFF2-40B4-BE49-F238E27FC236}">
                      <a16:creationId xmlns:a16="http://schemas.microsoft.com/office/drawing/2014/main" id="{ADC98926-79B8-41A7-8482-33A811978C88}"/>
                    </a:ext>
                  </a:extLst>
                </p:cNvPr>
                <p:cNvSpPr/>
                <p:nvPr/>
              </p:nvSpPr>
              <p:spPr>
                <a:xfrm>
                  <a:off x="3644417" y="2479727"/>
                  <a:ext cx="59535" cy="59593"/>
                </a:xfrm>
                <a:custGeom>
                  <a:avLst/>
                  <a:gdLst>
                    <a:gd name="connsiteX0" fmla="*/ 23522 w 59535"/>
                    <a:gd name="connsiteY0" fmla="*/ 59594 h 59593"/>
                    <a:gd name="connsiteX1" fmla="*/ 8172 w 59535"/>
                    <a:gd name="connsiteY1" fmla="*/ 52662 h 59593"/>
                    <a:gd name="connsiteX2" fmla="*/ 7833 w 59535"/>
                    <a:gd name="connsiteY2" fmla="*/ 52375 h 59593"/>
                    <a:gd name="connsiteX3" fmla="*/ 7573 w 59535"/>
                    <a:gd name="connsiteY3" fmla="*/ 52115 h 59593"/>
                    <a:gd name="connsiteX4" fmla="*/ 7416 w 59535"/>
                    <a:gd name="connsiteY4" fmla="*/ 51958 h 59593"/>
                    <a:gd name="connsiteX5" fmla="*/ 6921 w 59535"/>
                    <a:gd name="connsiteY5" fmla="*/ 51411 h 59593"/>
                    <a:gd name="connsiteX6" fmla="*/ 3846 w 59535"/>
                    <a:gd name="connsiteY6" fmla="*/ 24595 h 59593"/>
                    <a:gd name="connsiteX7" fmla="*/ 55863 w 59535"/>
                    <a:gd name="connsiteY7" fmla="*/ 280 h 59593"/>
                    <a:gd name="connsiteX8" fmla="*/ 59251 w 59535"/>
                    <a:gd name="connsiteY8" fmla="*/ 3694 h 59593"/>
                    <a:gd name="connsiteX9" fmla="*/ 34910 w 59535"/>
                    <a:gd name="connsiteY9" fmla="*/ 55737 h 59593"/>
                    <a:gd name="connsiteX10" fmla="*/ 23522 w 59535"/>
                    <a:gd name="connsiteY10" fmla="*/ 59594 h 59593"/>
                    <a:gd name="connsiteX11" fmla="*/ 16850 w 59535"/>
                    <a:gd name="connsiteY11" fmla="*/ 42759 h 59593"/>
                    <a:gd name="connsiteX12" fmla="*/ 16850 w 59535"/>
                    <a:gd name="connsiteY12" fmla="*/ 42759 h 59593"/>
                    <a:gd name="connsiteX13" fmla="*/ 25137 w 59535"/>
                    <a:gd name="connsiteY13" fmla="*/ 46147 h 59593"/>
                    <a:gd name="connsiteX14" fmla="*/ 43823 w 59535"/>
                    <a:gd name="connsiteY14" fmla="*/ 15786 h 59593"/>
                    <a:gd name="connsiteX15" fmla="*/ 13462 w 59535"/>
                    <a:gd name="connsiteY15" fmla="*/ 34472 h 59593"/>
                    <a:gd name="connsiteX16" fmla="*/ 16850 w 59535"/>
                    <a:gd name="connsiteY16" fmla="*/ 42759 h 59593"/>
                    <a:gd name="connsiteX17" fmla="*/ 16850 w 59535"/>
                    <a:gd name="connsiteY17" fmla="*/ 42759 h 59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535" h="59593">
                      <a:moveTo>
                        <a:pt x="23522" y="59594"/>
                      </a:moveTo>
                      <a:cubicBezTo>
                        <a:pt x="19013" y="59594"/>
                        <a:pt x="13775" y="57874"/>
                        <a:pt x="8172" y="52662"/>
                      </a:cubicBezTo>
                      <a:cubicBezTo>
                        <a:pt x="8068" y="52558"/>
                        <a:pt x="7938" y="52479"/>
                        <a:pt x="7833" y="52375"/>
                      </a:cubicBezTo>
                      <a:cubicBezTo>
                        <a:pt x="7755" y="52297"/>
                        <a:pt x="7677" y="52219"/>
                        <a:pt x="7573" y="52115"/>
                      </a:cubicBezTo>
                      <a:cubicBezTo>
                        <a:pt x="7520" y="52062"/>
                        <a:pt x="7468" y="52010"/>
                        <a:pt x="7416" y="51958"/>
                      </a:cubicBezTo>
                      <a:cubicBezTo>
                        <a:pt x="7234" y="51776"/>
                        <a:pt x="7077" y="51619"/>
                        <a:pt x="6921" y="51411"/>
                      </a:cubicBezTo>
                      <a:cubicBezTo>
                        <a:pt x="-3894" y="39762"/>
                        <a:pt x="328" y="29650"/>
                        <a:pt x="3846" y="24595"/>
                      </a:cubicBezTo>
                      <a:cubicBezTo>
                        <a:pt x="13957" y="10105"/>
                        <a:pt x="50573" y="-2013"/>
                        <a:pt x="55863" y="280"/>
                      </a:cubicBezTo>
                      <a:cubicBezTo>
                        <a:pt x="57374" y="958"/>
                        <a:pt x="58599" y="2156"/>
                        <a:pt x="59251" y="3694"/>
                      </a:cubicBezTo>
                      <a:cubicBezTo>
                        <a:pt x="61570" y="9036"/>
                        <a:pt x="49400" y="45652"/>
                        <a:pt x="34910" y="55737"/>
                      </a:cubicBezTo>
                      <a:cubicBezTo>
                        <a:pt x="32356" y="57587"/>
                        <a:pt x="28369" y="59594"/>
                        <a:pt x="23522" y="59594"/>
                      </a:cubicBezTo>
                      <a:close/>
                      <a:moveTo>
                        <a:pt x="16850" y="42759"/>
                      </a:moveTo>
                      <a:cubicBezTo>
                        <a:pt x="16850" y="42759"/>
                        <a:pt x="16850" y="42759"/>
                        <a:pt x="16850" y="42759"/>
                      </a:cubicBezTo>
                      <a:cubicBezTo>
                        <a:pt x="21567" y="47267"/>
                        <a:pt x="24251" y="46433"/>
                        <a:pt x="25137" y="46147"/>
                      </a:cubicBezTo>
                      <a:cubicBezTo>
                        <a:pt x="32512" y="43827"/>
                        <a:pt x="39757" y="27930"/>
                        <a:pt x="43823" y="15786"/>
                      </a:cubicBezTo>
                      <a:cubicBezTo>
                        <a:pt x="31679" y="19878"/>
                        <a:pt x="15781" y="27122"/>
                        <a:pt x="13462" y="34472"/>
                      </a:cubicBezTo>
                      <a:cubicBezTo>
                        <a:pt x="13175" y="35358"/>
                        <a:pt x="12342" y="38042"/>
                        <a:pt x="16850" y="42759"/>
                      </a:cubicBezTo>
                      <a:cubicBezTo>
                        <a:pt x="16850" y="42759"/>
                        <a:pt x="16850" y="42759"/>
                        <a:pt x="16850" y="42759"/>
                      </a:cubicBezTo>
                      <a:close/>
                    </a:path>
                  </a:pathLst>
                </a:custGeom>
                <a:solidFill>
                  <a:schemeClr val="accent1"/>
                </a:solidFill>
                <a:ln w="2604" cap="flat">
                  <a:noFill/>
                  <a:prstDash val="solid"/>
                  <a:miter/>
                </a:ln>
              </p:spPr>
              <p:txBody>
                <a:bodyPr rtlCol="0" anchor="ctr"/>
                <a:lstStyle/>
                <a:p>
                  <a:endParaRPr lang="en-GB" dirty="0"/>
                </a:p>
              </p:txBody>
            </p:sp>
          </p:grpSp>
          <p:sp>
            <p:nvSpPr>
              <p:cNvPr id="125" name="Freihandform: Form 344">
                <a:extLst>
                  <a:ext uri="{FF2B5EF4-FFF2-40B4-BE49-F238E27FC236}">
                    <a16:creationId xmlns:a16="http://schemas.microsoft.com/office/drawing/2014/main" id="{5CAB0FDA-4468-4E74-B933-9CAC9FA625BC}"/>
                  </a:ext>
                </a:extLst>
              </p:cNvPr>
              <p:cNvSpPr/>
              <p:nvPr/>
            </p:nvSpPr>
            <p:spPr>
              <a:xfrm>
                <a:off x="3438981" y="2690512"/>
                <a:ext cx="59676" cy="59560"/>
              </a:xfrm>
              <a:custGeom>
                <a:avLst/>
                <a:gdLst>
                  <a:gd name="connsiteX0" fmla="*/ 5749 w 59676"/>
                  <a:gd name="connsiteY0" fmla="*/ 59561 h 59560"/>
                  <a:gd name="connsiteX1" fmla="*/ 3794 w 59676"/>
                  <a:gd name="connsiteY1" fmla="*/ 59274 h 59560"/>
                  <a:gd name="connsiteX2" fmla="*/ 406 w 59676"/>
                  <a:gd name="connsiteY2" fmla="*/ 55886 h 59560"/>
                  <a:gd name="connsiteX3" fmla="*/ 24669 w 59676"/>
                  <a:gd name="connsiteY3" fmla="*/ 3869 h 59560"/>
                  <a:gd name="connsiteX4" fmla="*/ 51511 w 59676"/>
                  <a:gd name="connsiteY4" fmla="*/ 6918 h 59560"/>
                  <a:gd name="connsiteX5" fmla="*/ 52215 w 59676"/>
                  <a:gd name="connsiteY5" fmla="*/ 7570 h 59560"/>
                  <a:gd name="connsiteX6" fmla="*/ 52945 w 59676"/>
                  <a:gd name="connsiteY6" fmla="*/ 8352 h 59560"/>
                  <a:gd name="connsiteX7" fmla="*/ 55811 w 59676"/>
                  <a:gd name="connsiteY7" fmla="*/ 34959 h 59560"/>
                  <a:gd name="connsiteX8" fmla="*/ 5749 w 59676"/>
                  <a:gd name="connsiteY8" fmla="*/ 59561 h 59560"/>
                  <a:gd name="connsiteX9" fmla="*/ 36057 w 59676"/>
                  <a:gd name="connsiteY9" fmla="*/ 13199 h 59560"/>
                  <a:gd name="connsiteX10" fmla="*/ 34572 w 59676"/>
                  <a:gd name="connsiteY10" fmla="*/ 13433 h 59560"/>
                  <a:gd name="connsiteX11" fmla="*/ 15886 w 59676"/>
                  <a:gd name="connsiteY11" fmla="*/ 43794 h 59560"/>
                  <a:gd name="connsiteX12" fmla="*/ 46247 w 59676"/>
                  <a:gd name="connsiteY12" fmla="*/ 25108 h 59560"/>
                  <a:gd name="connsiteX13" fmla="*/ 42859 w 59676"/>
                  <a:gd name="connsiteY13" fmla="*/ 16847 h 59560"/>
                  <a:gd name="connsiteX14" fmla="*/ 42833 w 59676"/>
                  <a:gd name="connsiteY14" fmla="*/ 16795 h 59560"/>
                  <a:gd name="connsiteX15" fmla="*/ 36057 w 59676"/>
                  <a:gd name="connsiteY15" fmla="*/ 13199 h 5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676" h="59560">
                    <a:moveTo>
                      <a:pt x="5749" y="59561"/>
                    </a:moveTo>
                    <a:cubicBezTo>
                      <a:pt x="4889" y="59561"/>
                      <a:pt x="4237" y="59456"/>
                      <a:pt x="3794" y="59274"/>
                    </a:cubicBezTo>
                    <a:cubicBezTo>
                      <a:pt x="2283" y="58622"/>
                      <a:pt x="1058" y="57397"/>
                      <a:pt x="406" y="55886"/>
                    </a:cubicBezTo>
                    <a:cubicBezTo>
                      <a:pt x="-2617" y="49058"/>
                      <a:pt x="11795" y="12886"/>
                      <a:pt x="24669" y="3869"/>
                    </a:cubicBezTo>
                    <a:cubicBezTo>
                      <a:pt x="29724" y="325"/>
                      <a:pt x="39862" y="-3897"/>
                      <a:pt x="51511" y="6918"/>
                    </a:cubicBezTo>
                    <a:cubicBezTo>
                      <a:pt x="51772" y="7127"/>
                      <a:pt x="52006" y="7335"/>
                      <a:pt x="52215" y="7570"/>
                    </a:cubicBezTo>
                    <a:cubicBezTo>
                      <a:pt x="52475" y="7804"/>
                      <a:pt x="52710" y="8065"/>
                      <a:pt x="52945" y="8352"/>
                    </a:cubicBezTo>
                    <a:cubicBezTo>
                      <a:pt x="63525" y="19896"/>
                      <a:pt x="59329" y="29956"/>
                      <a:pt x="55811" y="34959"/>
                    </a:cubicBezTo>
                    <a:cubicBezTo>
                      <a:pt x="46560" y="48250"/>
                      <a:pt x="15053" y="59561"/>
                      <a:pt x="5749" y="59561"/>
                    </a:cubicBezTo>
                    <a:close/>
                    <a:moveTo>
                      <a:pt x="36057" y="13199"/>
                    </a:moveTo>
                    <a:cubicBezTo>
                      <a:pt x="35354" y="13199"/>
                      <a:pt x="34859" y="13355"/>
                      <a:pt x="34572" y="13433"/>
                    </a:cubicBezTo>
                    <a:cubicBezTo>
                      <a:pt x="27223" y="15753"/>
                      <a:pt x="19952" y="31650"/>
                      <a:pt x="15886" y="43794"/>
                    </a:cubicBezTo>
                    <a:cubicBezTo>
                      <a:pt x="28031" y="39702"/>
                      <a:pt x="43928" y="32458"/>
                      <a:pt x="46247" y="25108"/>
                    </a:cubicBezTo>
                    <a:cubicBezTo>
                      <a:pt x="46534" y="24222"/>
                      <a:pt x="47368" y="21564"/>
                      <a:pt x="42859" y="16847"/>
                    </a:cubicBezTo>
                    <a:cubicBezTo>
                      <a:pt x="42859" y="16821"/>
                      <a:pt x="42833" y="16821"/>
                      <a:pt x="42833" y="16795"/>
                    </a:cubicBezTo>
                    <a:cubicBezTo>
                      <a:pt x="39680" y="13824"/>
                      <a:pt x="37465" y="13199"/>
                      <a:pt x="36057" y="13199"/>
                    </a:cubicBezTo>
                    <a:close/>
                  </a:path>
                </a:pathLst>
              </a:custGeom>
              <a:solidFill>
                <a:schemeClr val="tx2"/>
              </a:solidFill>
              <a:ln w="2604" cap="flat">
                <a:noFill/>
                <a:prstDash val="solid"/>
                <a:miter/>
              </a:ln>
            </p:spPr>
            <p:txBody>
              <a:bodyPr rtlCol="0" anchor="ctr"/>
              <a:lstStyle/>
              <a:p>
                <a:endParaRPr lang="en-GB" dirty="0"/>
              </a:p>
            </p:txBody>
          </p:sp>
          <p:sp>
            <p:nvSpPr>
              <p:cNvPr id="126" name="Freihandform: Form 345">
                <a:extLst>
                  <a:ext uri="{FF2B5EF4-FFF2-40B4-BE49-F238E27FC236}">
                    <a16:creationId xmlns:a16="http://schemas.microsoft.com/office/drawing/2014/main" id="{5C58B21D-1F7D-47F5-B16D-1C9BBE8E5327}"/>
                  </a:ext>
                </a:extLst>
              </p:cNvPr>
              <p:cNvSpPr/>
              <p:nvPr/>
            </p:nvSpPr>
            <p:spPr>
              <a:xfrm>
                <a:off x="3474856" y="2514824"/>
                <a:ext cx="181888" cy="181954"/>
              </a:xfrm>
              <a:custGeom>
                <a:avLst/>
                <a:gdLst>
                  <a:gd name="connsiteX0" fmla="*/ 49698 w 181888"/>
                  <a:gd name="connsiteY0" fmla="*/ 181955 h 181954"/>
                  <a:gd name="connsiteX1" fmla="*/ 46231 w 181888"/>
                  <a:gd name="connsiteY1" fmla="*/ 180965 h 181954"/>
                  <a:gd name="connsiteX2" fmla="*/ 0 w 181888"/>
                  <a:gd name="connsiteY2" fmla="*/ 97831 h 181954"/>
                  <a:gd name="connsiteX3" fmla="*/ 97832 w 181888"/>
                  <a:gd name="connsiteY3" fmla="*/ 0 h 181954"/>
                  <a:gd name="connsiteX4" fmla="*/ 180887 w 181888"/>
                  <a:gd name="connsiteY4" fmla="*/ 46101 h 181954"/>
                  <a:gd name="connsiteX5" fmla="*/ 178776 w 181888"/>
                  <a:gd name="connsiteY5" fmla="*/ 55170 h 181954"/>
                  <a:gd name="connsiteX6" fmla="*/ 169706 w 181888"/>
                  <a:gd name="connsiteY6" fmla="*/ 53059 h 181954"/>
                  <a:gd name="connsiteX7" fmla="*/ 97805 w 181888"/>
                  <a:gd name="connsiteY7" fmla="*/ 13161 h 181954"/>
                  <a:gd name="connsiteX8" fmla="*/ 13109 w 181888"/>
                  <a:gd name="connsiteY8" fmla="*/ 97858 h 181954"/>
                  <a:gd name="connsiteX9" fmla="*/ 53138 w 181888"/>
                  <a:gd name="connsiteY9" fmla="*/ 169811 h 181954"/>
                  <a:gd name="connsiteX10" fmla="*/ 55249 w 181888"/>
                  <a:gd name="connsiteY10" fmla="*/ 178880 h 181954"/>
                  <a:gd name="connsiteX11" fmla="*/ 49698 w 181888"/>
                  <a:gd name="connsiteY11" fmla="*/ 181955 h 18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888" h="181954">
                    <a:moveTo>
                      <a:pt x="49698" y="181955"/>
                    </a:moveTo>
                    <a:cubicBezTo>
                      <a:pt x="48499" y="181955"/>
                      <a:pt x="47300" y="181642"/>
                      <a:pt x="46231" y="180965"/>
                    </a:cubicBezTo>
                    <a:cubicBezTo>
                      <a:pt x="17278" y="162957"/>
                      <a:pt x="0" y="131867"/>
                      <a:pt x="0" y="97831"/>
                    </a:cubicBezTo>
                    <a:cubicBezTo>
                      <a:pt x="0" y="43886"/>
                      <a:pt x="43886" y="0"/>
                      <a:pt x="97832" y="0"/>
                    </a:cubicBezTo>
                    <a:cubicBezTo>
                      <a:pt x="131815" y="0"/>
                      <a:pt x="162879" y="17226"/>
                      <a:pt x="180887" y="46101"/>
                    </a:cubicBezTo>
                    <a:cubicBezTo>
                      <a:pt x="182815" y="49176"/>
                      <a:pt x="181877" y="53242"/>
                      <a:pt x="178776" y="55170"/>
                    </a:cubicBezTo>
                    <a:cubicBezTo>
                      <a:pt x="175701" y="57099"/>
                      <a:pt x="171635" y="56161"/>
                      <a:pt x="169706" y="53059"/>
                    </a:cubicBezTo>
                    <a:cubicBezTo>
                      <a:pt x="154096" y="28067"/>
                      <a:pt x="127228" y="13161"/>
                      <a:pt x="97805" y="13161"/>
                    </a:cubicBezTo>
                    <a:cubicBezTo>
                      <a:pt x="51105" y="13161"/>
                      <a:pt x="13109" y="51157"/>
                      <a:pt x="13109" y="97858"/>
                    </a:cubicBezTo>
                    <a:cubicBezTo>
                      <a:pt x="13109" y="127332"/>
                      <a:pt x="28067" y="154227"/>
                      <a:pt x="53138" y="169811"/>
                    </a:cubicBezTo>
                    <a:cubicBezTo>
                      <a:pt x="56213" y="171739"/>
                      <a:pt x="57177" y="175779"/>
                      <a:pt x="55249" y="178880"/>
                    </a:cubicBezTo>
                    <a:cubicBezTo>
                      <a:pt x="54050" y="180860"/>
                      <a:pt x="51887" y="181955"/>
                      <a:pt x="49698" y="181955"/>
                    </a:cubicBezTo>
                    <a:close/>
                  </a:path>
                </a:pathLst>
              </a:custGeom>
              <a:solidFill>
                <a:schemeClr val="tx2"/>
              </a:solidFill>
              <a:ln w="2604" cap="flat">
                <a:noFill/>
                <a:prstDash val="solid"/>
                <a:miter/>
              </a:ln>
            </p:spPr>
            <p:txBody>
              <a:bodyPr rtlCol="0" anchor="ctr"/>
              <a:lstStyle/>
              <a:p>
                <a:endParaRPr lang="en-GB" dirty="0"/>
              </a:p>
            </p:txBody>
          </p:sp>
          <p:grpSp>
            <p:nvGrpSpPr>
              <p:cNvPr id="127" name="Grafik 234">
                <a:extLst>
                  <a:ext uri="{FF2B5EF4-FFF2-40B4-BE49-F238E27FC236}">
                    <a16:creationId xmlns:a16="http://schemas.microsoft.com/office/drawing/2014/main" id="{EA67E8C3-B1B3-45C3-84E4-36D173FA52C8}"/>
                  </a:ext>
                </a:extLst>
              </p:cNvPr>
              <p:cNvGrpSpPr/>
              <p:nvPr/>
            </p:nvGrpSpPr>
            <p:grpSpPr>
              <a:xfrm>
                <a:off x="3653234" y="2626102"/>
                <a:ext cx="73373" cy="230844"/>
                <a:chOff x="3653234" y="2626102"/>
                <a:chExt cx="73373" cy="230844"/>
              </a:xfrm>
              <a:solidFill>
                <a:schemeClr val="tx2"/>
              </a:solidFill>
            </p:grpSpPr>
            <p:sp>
              <p:nvSpPr>
                <p:cNvPr id="150" name="Freihandform: Form 349">
                  <a:extLst>
                    <a:ext uri="{FF2B5EF4-FFF2-40B4-BE49-F238E27FC236}">
                      <a16:creationId xmlns:a16="http://schemas.microsoft.com/office/drawing/2014/main" id="{B8650112-3173-414C-AB7D-6A2ACCEF7351}"/>
                    </a:ext>
                  </a:extLst>
                </p:cNvPr>
                <p:cNvSpPr/>
                <p:nvPr/>
              </p:nvSpPr>
              <p:spPr>
                <a:xfrm>
                  <a:off x="3683497" y="2626102"/>
                  <a:ext cx="13134" cy="230844"/>
                </a:xfrm>
                <a:custGeom>
                  <a:avLst/>
                  <a:gdLst>
                    <a:gd name="connsiteX0" fmla="*/ 6567 w 13134"/>
                    <a:gd name="connsiteY0" fmla="*/ 230845 h 230844"/>
                    <a:gd name="connsiteX1" fmla="*/ 0 w 13134"/>
                    <a:gd name="connsiteY1" fmla="*/ 224277 h 230844"/>
                    <a:gd name="connsiteX2" fmla="*/ 0 w 13134"/>
                    <a:gd name="connsiteY2" fmla="*/ 6567 h 230844"/>
                    <a:gd name="connsiteX3" fmla="*/ 6567 w 13134"/>
                    <a:gd name="connsiteY3" fmla="*/ 0 h 230844"/>
                    <a:gd name="connsiteX4" fmla="*/ 13135 w 13134"/>
                    <a:gd name="connsiteY4" fmla="*/ 6567 h 230844"/>
                    <a:gd name="connsiteX5" fmla="*/ 13135 w 13134"/>
                    <a:gd name="connsiteY5" fmla="*/ 224277 h 230844"/>
                    <a:gd name="connsiteX6" fmla="*/ 6567 w 13134"/>
                    <a:gd name="connsiteY6" fmla="*/ 230845 h 230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4" h="230844">
                      <a:moveTo>
                        <a:pt x="6567" y="230845"/>
                      </a:moveTo>
                      <a:cubicBezTo>
                        <a:pt x="2919" y="230845"/>
                        <a:pt x="0" y="227900"/>
                        <a:pt x="0" y="224277"/>
                      </a:cubicBezTo>
                      <a:lnTo>
                        <a:pt x="0" y="6567"/>
                      </a:lnTo>
                      <a:cubicBezTo>
                        <a:pt x="0" y="2945"/>
                        <a:pt x="2945" y="0"/>
                        <a:pt x="6567" y="0"/>
                      </a:cubicBezTo>
                      <a:cubicBezTo>
                        <a:pt x="10216" y="0"/>
                        <a:pt x="13135" y="2945"/>
                        <a:pt x="13135" y="6567"/>
                      </a:cubicBezTo>
                      <a:lnTo>
                        <a:pt x="13135" y="224277"/>
                      </a:lnTo>
                      <a:cubicBezTo>
                        <a:pt x="13161" y="227900"/>
                        <a:pt x="10216" y="230845"/>
                        <a:pt x="6567" y="230845"/>
                      </a:cubicBezTo>
                      <a:close/>
                    </a:path>
                  </a:pathLst>
                </a:custGeom>
                <a:solidFill>
                  <a:schemeClr val="accent1"/>
                </a:solidFill>
                <a:ln w="2604" cap="flat">
                  <a:noFill/>
                  <a:prstDash val="solid"/>
                  <a:miter/>
                </a:ln>
              </p:spPr>
              <p:txBody>
                <a:bodyPr rtlCol="0" anchor="ctr"/>
                <a:lstStyle/>
                <a:p>
                  <a:endParaRPr lang="en-GB" dirty="0"/>
                </a:p>
              </p:txBody>
            </p:sp>
            <p:grpSp>
              <p:nvGrpSpPr>
                <p:cNvPr id="151" name="Grafik 234">
                  <a:extLst>
                    <a:ext uri="{FF2B5EF4-FFF2-40B4-BE49-F238E27FC236}">
                      <a16:creationId xmlns:a16="http://schemas.microsoft.com/office/drawing/2014/main" id="{9AD1F754-C95F-4B0F-97A3-458A123AA8C6}"/>
                    </a:ext>
                  </a:extLst>
                </p:cNvPr>
                <p:cNvGrpSpPr/>
                <p:nvPr/>
              </p:nvGrpSpPr>
              <p:grpSpPr>
                <a:xfrm>
                  <a:off x="3653234" y="2801744"/>
                  <a:ext cx="73373" cy="43110"/>
                  <a:chOff x="3653234" y="2801744"/>
                  <a:chExt cx="73373" cy="43110"/>
                </a:xfrm>
                <a:solidFill>
                  <a:schemeClr val="accent1"/>
                </a:solidFill>
              </p:grpSpPr>
              <p:sp>
                <p:nvSpPr>
                  <p:cNvPr id="155" name="Freihandform: Form 351">
                    <a:extLst>
                      <a:ext uri="{FF2B5EF4-FFF2-40B4-BE49-F238E27FC236}">
                        <a16:creationId xmlns:a16="http://schemas.microsoft.com/office/drawing/2014/main" id="{316BA335-B036-4956-91E1-26D5A6687A83}"/>
                      </a:ext>
                    </a:extLst>
                  </p:cNvPr>
                  <p:cNvSpPr/>
                  <p:nvPr/>
                </p:nvSpPr>
                <p:spPr>
                  <a:xfrm>
                    <a:off x="3683491" y="2801744"/>
                    <a:ext cx="43117" cy="43110"/>
                  </a:xfrm>
                  <a:custGeom>
                    <a:avLst/>
                    <a:gdLst>
                      <a:gd name="connsiteX0" fmla="*/ 36517 w 43117"/>
                      <a:gd name="connsiteY0" fmla="*/ 43111 h 43110"/>
                      <a:gd name="connsiteX1" fmla="*/ 31879 w 43117"/>
                      <a:gd name="connsiteY1" fmla="*/ 41182 h 43110"/>
                      <a:gd name="connsiteX2" fmla="*/ 1935 w 43117"/>
                      <a:gd name="connsiteY2" fmla="*/ 11239 h 43110"/>
                      <a:gd name="connsiteX3" fmla="*/ 1935 w 43117"/>
                      <a:gd name="connsiteY3" fmla="*/ 1935 h 43110"/>
                      <a:gd name="connsiteX4" fmla="*/ 11238 w 43117"/>
                      <a:gd name="connsiteY4" fmla="*/ 1935 h 43110"/>
                      <a:gd name="connsiteX5" fmla="*/ 41182 w 43117"/>
                      <a:gd name="connsiteY5" fmla="*/ 31879 h 43110"/>
                      <a:gd name="connsiteX6" fmla="*/ 41182 w 43117"/>
                      <a:gd name="connsiteY6" fmla="*/ 41182 h 43110"/>
                      <a:gd name="connsiteX7" fmla="*/ 36517 w 43117"/>
                      <a:gd name="connsiteY7" fmla="*/ 43111 h 4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17" h="43110">
                        <a:moveTo>
                          <a:pt x="36517" y="43111"/>
                        </a:moveTo>
                        <a:cubicBezTo>
                          <a:pt x="34823" y="43111"/>
                          <a:pt x="33155" y="42459"/>
                          <a:pt x="31879" y="41182"/>
                        </a:cubicBezTo>
                        <a:lnTo>
                          <a:pt x="1935" y="11239"/>
                        </a:lnTo>
                        <a:cubicBezTo>
                          <a:pt x="-645" y="8659"/>
                          <a:pt x="-645" y="4515"/>
                          <a:pt x="1935" y="1935"/>
                        </a:cubicBezTo>
                        <a:cubicBezTo>
                          <a:pt x="4515" y="-645"/>
                          <a:pt x="8658" y="-645"/>
                          <a:pt x="11238" y="1935"/>
                        </a:cubicBezTo>
                        <a:lnTo>
                          <a:pt x="41182" y="31879"/>
                        </a:lnTo>
                        <a:cubicBezTo>
                          <a:pt x="43762" y="34459"/>
                          <a:pt x="43762" y="38602"/>
                          <a:pt x="41182" y="41182"/>
                        </a:cubicBezTo>
                        <a:cubicBezTo>
                          <a:pt x="39879" y="42459"/>
                          <a:pt x="38185" y="43111"/>
                          <a:pt x="36517" y="43111"/>
                        </a:cubicBezTo>
                        <a:close/>
                      </a:path>
                    </a:pathLst>
                  </a:custGeom>
                  <a:solidFill>
                    <a:schemeClr val="accent1"/>
                  </a:solidFill>
                  <a:ln w="2604" cap="flat">
                    <a:noFill/>
                    <a:prstDash val="solid"/>
                    <a:miter/>
                  </a:ln>
                </p:spPr>
                <p:txBody>
                  <a:bodyPr rtlCol="0" anchor="ctr"/>
                  <a:lstStyle/>
                  <a:p>
                    <a:endParaRPr lang="en-GB" dirty="0"/>
                  </a:p>
                </p:txBody>
              </p:sp>
              <p:sp>
                <p:nvSpPr>
                  <p:cNvPr id="156" name="Freihandform: Form 352">
                    <a:extLst>
                      <a:ext uri="{FF2B5EF4-FFF2-40B4-BE49-F238E27FC236}">
                        <a16:creationId xmlns:a16="http://schemas.microsoft.com/office/drawing/2014/main" id="{4F9A6C15-D396-4E34-958A-20F5382D19EA}"/>
                      </a:ext>
                    </a:extLst>
                  </p:cNvPr>
                  <p:cNvSpPr/>
                  <p:nvPr/>
                </p:nvSpPr>
                <p:spPr>
                  <a:xfrm>
                    <a:off x="3653234" y="2801744"/>
                    <a:ext cx="43117" cy="43110"/>
                  </a:xfrm>
                  <a:custGeom>
                    <a:avLst/>
                    <a:gdLst>
                      <a:gd name="connsiteX0" fmla="*/ 6600 w 43117"/>
                      <a:gd name="connsiteY0" fmla="*/ 43111 h 43110"/>
                      <a:gd name="connsiteX1" fmla="*/ 1935 w 43117"/>
                      <a:gd name="connsiteY1" fmla="*/ 41182 h 43110"/>
                      <a:gd name="connsiteX2" fmla="*/ 1935 w 43117"/>
                      <a:gd name="connsiteY2" fmla="*/ 31879 h 43110"/>
                      <a:gd name="connsiteX3" fmla="*/ 31879 w 43117"/>
                      <a:gd name="connsiteY3" fmla="*/ 1935 h 43110"/>
                      <a:gd name="connsiteX4" fmla="*/ 41182 w 43117"/>
                      <a:gd name="connsiteY4" fmla="*/ 1935 h 43110"/>
                      <a:gd name="connsiteX5" fmla="*/ 41182 w 43117"/>
                      <a:gd name="connsiteY5" fmla="*/ 11239 h 43110"/>
                      <a:gd name="connsiteX6" fmla="*/ 11238 w 43117"/>
                      <a:gd name="connsiteY6" fmla="*/ 41182 h 43110"/>
                      <a:gd name="connsiteX7" fmla="*/ 6600 w 43117"/>
                      <a:gd name="connsiteY7" fmla="*/ 43111 h 4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17" h="43110">
                        <a:moveTo>
                          <a:pt x="6600" y="43111"/>
                        </a:moveTo>
                        <a:cubicBezTo>
                          <a:pt x="4906" y="43111"/>
                          <a:pt x="3238" y="42459"/>
                          <a:pt x="1935" y="41182"/>
                        </a:cubicBezTo>
                        <a:cubicBezTo>
                          <a:pt x="-645" y="38602"/>
                          <a:pt x="-645" y="34459"/>
                          <a:pt x="1935" y="31879"/>
                        </a:cubicBezTo>
                        <a:lnTo>
                          <a:pt x="31879" y="1935"/>
                        </a:lnTo>
                        <a:cubicBezTo>
                          <a:pt x="34459" y="-645"/>
                          <a:pt x="38602" y="-645"/>
                          <a:pt x="41182" y="1935"/>
                        </a:cubicBezTo>
                        <a:cubicBezTo>
                          <a:pt x="43762" y="4515"/>
                          <a:pt x="43762" y="8659"/>
                          <a:pt x="41182" y="11239"/>
                        </a:cubicBezTo>
                        <a:lnTo>
                          <a:pt x="11238" y="41182"/>
                        </a:lnTo>
                        <a:cubicBezTo>
                          <a:pt x="9962" y="42459"/>
                          <a:pt x="8294" y="43111"/>
                          <a:pt x="6600" y="43111"/>
                        </a:cubicBezTo>
                        <a:close/>
                      </a:path>
                    </a:pathLst>
                  </a:custGeom>
                  <a:solidFill>
                    <a:schemeClr val="accent1"/>
                  </a:solidFill>
                  <a:ln w="2604" cap="flat">
                    <a:noFill/>
                    <a:prstDash val="solid"/>
                    <a:miter/>
                  </a:ln>
                </p:spPr>
                <p:txBody>
                  <a:bodyPr rtlCol="0" anchor="ctr"/>
                  <a:lstStyle/>
                  <a:p>
                    <a:endParaRPr lang="en-GB" dirty="0"/>
                  </a:p>
                </p:txBody>
              </p:sp>
            </p:grpSp>
            <p:grpSp>
              <p:nvGrpSpPr>
                <p:cNvPr id="152" name="Grafik 234">
                  <a:extLst>
                    <a:ext uri="{FF2B5EF4-FFF2-40B4-BE49-F238E27FC236}">
                      <a16:creationId xmlns:a16="http://schemas.microsoft.com/office/drawing/2014/main" id="{AE4BBF0E-4668-4995-92D8-A9ACC967F700}"/>
                    </a:ext>
                  </a:extLst>
                </p:cNvPr>
                <p:cNvGrpSpPr/>
                <p:nvPr/>
              </p:nvGrpSpPr>
              <p:grpSpPr>
                <a:xfrm>
                  <a:off x="3653234" y="2753662"/>
                  <a:ext cx="73373" cy="43110"/>
                  <a:chOff x="3653234" y="2753662"/>
                  <a:chExt cx="73373" cy="43110"/>
                </a:xfrm>
                <a:solidFill>
                  <a:schemeClr val="accent1"/>
                </a:solidFill>
              </p:grpSpPr>
              <p:sp>
                <p:nvSpPr>
                  <p:cNvPr id="153" name="Freihandform: Form 354">
                    <a:extLst>
                      <a:ext uri="{FF2B5EF4-FFF2-40B4-BE49-F238E27FC236}">
                        <a16:creationId xmlns:a16="http://schemas.microsoft.com/office/drawing/2014/main" id="{1E6D425A-04D1-46CB-A319-40F2A4B8BA4D}"/>
                      </a:ext>
                    </a:extLst>
                  </p:cNvPr>
                  <p:cNvSpPr/>
                  <p:nvPr/>
                </p:nvSpPr>
                <p:spPr>
                  <a:xfrm>
                    <a:off x="3683491" y="2753662"/>
                    <a:ext cx="43117" cy="43110"/>
                  </a:xfrm>
                  <a:custGeom>
                    <a:avLst/>
                    <a:gdLst>
                      <a:gd name="connsiteX0" fmla="*/ 36517 w 43117"/>
                      <a:gd name="connsiteY0" fmla="*/ 43111 h 43110"/>
                      <a:gd name="connsiteX1" fmla="*/ 31879 w 43117"/>
                      <a:gd name="connsiteY1" fmla="*/ 41182 h 43110"/>
                      <a:gd name="connsiteX2" fmla="*/ 1935 w 43117"/>
                      <a:gd name="connsiteY2" fmla="*/ 11239 h 43110"/>
                      <a:gd name="connsiteX3" fmla="*/ 1935 w 43117"/>
                      <a:gd name="connsiteY3" fmla="*/ 1935 h 43110"/>
                      <a:gd name="connsiteX4" fmla="*/ 11238 w 43117"/>
                      <a:gd name="connsiteY4" fmla="*/ 1935 h 43110"/>
                      <a:gd name="connsiteX5" fmla="*/ 41182 w 43117"/>
                      <a:gd name="connsiteY5" fmla="*/ 31879 h 43110"/>
                      <a:gd name="connsiteX6" fmla="*/ 41182 w 43117"/>
                      <a:gd name="connsiteY6" fmla="*/ 41182 h 43110"/>
                      <a:gd name="connsiteX7" fmla="*/ 36517 w 43117"/>
                      <a:gd name="connsiteY7" fmla="*/ 43111 h 4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17" h="43110">
                        <a:moveTo>
                          <a:pt x="36517" y="43111"/>
                        </a:moveTo>
                        <a:cubicBezTo>
                          <a:pt x="34823" y="43111"/>
                          <a:pt x="33155" y="42459"/>
                          <a:pt x="31879" y="41182"/>
                        </a:cubicBezTo>
                        <a:lnTo>
                          <a:pt x="1935" y="11239"/>
                        </a:lnTo>
                        <a:cubicBezTo>
                          <a:pt x="-645" y="8659"/>
                          <a:pt x="-645" y="4515"/>
                          <a:pt x="1935" y="1935"/>
                        </a:cubicBezTo>
                        <a:cubicBezTo>
                          <a:pt x="4515" y="-645"/>
                          <a:pt x="8658" y="-645"/>
                          <a:pt x="11238" y="1935"/>
                        </a:cubicBezTo>
                        <a:lnTo>
                          <a:pt x="41182" y="31879"/>
                        </a:lnTo>
                        <a:cubicBezTo>
                          <a:pt x="43762" y="34459"/>
                          <a:pt x="43762" y="38602"/>
                          <a:pt x="41182" y="41182"/>
                        </a:cubicBezTo>
                        <a:cubicBezTo>
                          <a:pt x="39879" y="42485"/>
                          <a:pt x="38185" y="43111"/>
                          <a:pt x="36517" y="43111"/>
                        </a:cubicBezTo>
                        <a:close/>
                      </a:path>
                    </a:pathLst>
                  </a:custGeom>
                  <a:solidFill>
                    <a:schemeClr val="accent1"/>
                  </a:solidFill>
                  <a:ln w="2604" cap="flat">
                    <a:noFill/>
                    <a:prstDash val="solid"/>
                    <a:miter/>
                  </a:ln>
                </p:spPr>
                <p:txBody>
                  <a:bodyPr rtlCol="0" anchor="ctr"/>
                  <a:lstStyle/>
                  <a:p>
                    <a:endParaRPr lang="en-GB" dirty="0"/>
                  </a:p>
                </p:txBody>
              </p:sp>
              <p:sp>
                <p:nvSpPr>
                  <p:cNvPr id="154" name="Freihandform: Form 355">
                    <a:extLst>
                      <a:ext uri="{FF2B5EF4-FFF2-40B4-BE49-F238E27FC236}">
                        <a16:creationId xmlns:a16="http://schemas.microsoft.com/office/drawing/2014/main" id="{AC6CC503-741F-4573-B8E0-2D723ACF7D45}"/>
                      </a:ext>
                    </a:extLst>
                  </p:cNvPr>
                  <p:cNvSpPr/>
                  <p:nvPr/>
                </p:nvSpPr>
                <p:spPr>
                  <a:xfrm>
                    <a:off x="3653234" y="2753662"/>
                    <a:ext cx="43117" cy="43110"/>
                  </a:xfrm>
                  <a:custGeom>
                    <a:avLst/>
                    <a:gdLst>
                      <a:gd name="connsiteX0" fmla="*/ 6600 w 43117"/>
                      <a:gd name="connsiteY0" fmla="*/ 43111 h 43110"/>
                      <a:gd name="connsiteX1" fmla="*/ 1935 w 43117"/>
                      <a:gd name="connsiteY1" fmla="*/ 41182 h 43110"/>
                      <a:gd name="connsiteX2" fmla="*/ 1935 w 43117"/>
                      <a:gd name="connsiteY2" fmla="*/ 31879 h 43110"/>
                      <a:gd name="connsiteX3" fmla="*/ 31879 w 43117"/>
                      <a:gd name="connsiteY3" fmla="*/ 1935 h 43110"/>
                      <a:gd name="connsiteX4" fmla="*/ 41182 w 43117"/>
                      <a:gd name="connsiteY4" fmla="*/ 1935 h 43110"/>
                      <a:gd name="connsiteX5" fmla="*/ 41182 w 43117"/>
                      <a:gd name="connsiteY5" fmla="*/ 11239 h 43110"/>
                      <a:gd name="connsiteX6" fmla="*/ 11238 w 43117"/>
                      <a:gd name="connsiteY6" fmla="*/ 41182 h 43110"/>
                      <a:gd name="connsiteX7" fmla="*/ 6600 w 43117"/>
                      <a:gd name="connsiteY7" fmla="*/ 43111 h 43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17" h="43110">
                        <a:moveTo>
                          <a:pt x="6600" y="43111"/>
                        </a:moveTo>
                        <a:cubicBezTo>
                          <a:pt x="4906" y="43111"/>
                          <a:pt x="3238" y="42459"/>
                          <a:pt x="1935" y="41182"/>
                        </a:cubicBezTo>
                        <a:cubicBezTo>
                          <a:pt x="-645" y="38602"/>
                          <a:pt x="-645" y="34459"/>
                          <a:pt x="1935" y="31879"/>
                        </a:cubicBezTo>
                        <a:lnTo>
                          <a:pt x="31879" y="1935"/>
                        </a:lnTo>
                        <a:cubicBezTo>
                          <a:pt x="34459" y="-645"/>
                          <a:pt x="38602" y="-645"/>
                          <a:pt x="41182" y="1935"/>
                        </a:cubicBezTo>
                        <a:cubicBezTo>
                          <a:pt x="43762" y="4515"/>
                          <a:pt x="43762" y="8659"/>
                          <a:pt x="41182" y="11239"/>
                        </a:cubicBezTo>
                        <a:lnTo>
                          <a:pt x="11238" y="41182"/>
                        </a:lnTo>
                        <a:cubicBezTo>
                          <a:pt x="9962" y="42485"/>
                          <a:pt x="8294" y="43111"/>
                          <a:pt x="6600" y="43111"/>
                        </a:cubicBezTo>
                        <a:close/>
                      </a:path>
                    </a:pathLst>
                  </a:custGeom>
                  <a:solidFill>
                    <a:schemeClr val="accent1"/>
                  </a:solidFill>
                  <a:ln w="2604" cap="flat">
                    <a:noFill/>
                    <a:prstDash val="solid"/>
                    <a:miter/>
                  </a:ln>
                </p:spPr>
                <p:txBody>
                  <a:bodyPr rtlCol="0" anchor="ctr"/>
                  <a:lstStyle/>
                  <a:p>
                    <a:endParaRPr lang="en-GB" dirty="0"/>
                  </a:p>
                </p:txBody>
              </p:sp>
            </p:grpSp>
          </p:grpSp>
          <p:grpSp>
            <p:nvGrpSpPr>
              <p:cNvPr id="128" name="Grafik 234">
                <a:extLst>
                  <a:ext uri="{FF2B5EF4-FFF2-40B4-BE49-F238E27FC236}">
                    <a16:creationId xmlns:a16="http://schemas.microsoft.com/office/drawing/2014/main" id="{2C098833-135F-4887-8E47-9AFF703618E1}"/>
                  </a:ext>
                </a:extLst>
              </p:cNvPr>
              <p:cNvGrpSpPr/>
              <p:nvPr/>
            </p:nvGrpSpPr>
            <p:grpSpPr>
              <a:xfrm>
                <a:off x="3654710" y="2649332"/>
                <a:ext cx="187074" cy="147727"/>
                <a:chOff x="3654710" y="2649332"/>
                <a:chExt cx="187074" cy="147727"/>
              </a:xfrm>
              <a:solidFill>
                <a:schemeClr val="tx2"/>
              </a:solidFill>
            </p:grpSpPr>
            <p:sp>
              <p:nvSpPr>
                <p:cNvPr id="143" name="Freihandform: Form 357">
                  <a:extLst>
                    <a:ext uri="{FF2B5EF4-FFF2-40B4-BE49-F238E27FC236}">
                      <a16:creationId xmlns:a16="http://schemas.microsoft.com/office/drawing/2014/main" id="{FDE30DCD-E4CA-4969-A4CA-2E55CF2261E8}"/>
                    </a:ext>
                  </a:extLst>
                </p:cNvPr>
                <p:cNvSpPr/>
                <p:nvPr/>
              </p:nvSpPr>
              <p:spPr>
                <a:xfrm>
                  <a:off x="3654710" y="2649332"/>
                  <a:ext cx="179824" cy="129876"/>
                </a:xfrm>
                <a:custGeom>
                  <a:avLst/>
                  <a:gdLst>
                    <a:gd name="connsiteX0" fmla="*/ 173215 w 179824"/>
                    <a:gd name="connsiteY0" fmla="*/ 129876 h 129876"/>
                    <a:gd name="connsiteX1" fmla="*/ 169462 w 179824"/>
                    <a:gd name="connsiteY1" fmla="*/ 128678 h 129876"/>
                    <a:gd name="connsiteX2" fmla="*/ 2805 w 179824"/>
                    <a:gd name="connsiteY2" fmla="*/ 11978 h 129876"/>
                    <a:gd name="connsiteX3" fmla="*/ 1189 w 179824"/>
                    <a:gd name="connsiteY3" fmla="*/ 2805 h 129876"/>
                    <a:gd name="connsiteX4" fmla="*/ 10362 w 179824"/>
                    <a:gd name="connsiteY4" fmla="*/ 1189 h 129876"/>
                    <a:gd name="connsiteX5" fmla="*/ 177020 w 179824"/>
                    <a:gd name="connsiteY5" fmla="*/ 117888 h 129876"/>
                    <a:gd name="connsiteX6" fmla="*/ 178636 w 179824"/>
                    <a:gd name="connsiteY6" fmla="*/ 127062 h 129876"/>
                    <a:gd name="connsiteX7" fmla="*/ 173215 w 179824"/>
                    <a:gd name="connsiteY7" fmla="*/ 129876 h 129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824" h="129876">
                      <a:moveTo>
                        <a:pt x="173215" y="129876"/>
                      </a:moveTo>
                      <a:cubicBezTo>
                        <a:pt x="171912" y="129876"/>
                        <a:pt x="170583" y="129485"/>
                        <a:pt x="169462" y="128678"/>
                      </a:cubicBezTo>
                      <a:lnTo>
                        <a:pt x="2805" y="11978"/>
                      </a:lnTo>
                      <a:cubicBezTo>
                        <a:pt x="-166" y="9893"/>
                        <a:pt x="-896" y="5802"/>
                        <a:pt x="1189" y="2805"/>
                      </a:cubicBezTo>
                      <a:cubicBezTo>
                        <a:pt x="3274" y="-166"/>
                        <a:pt x="7392" y="-896"/>
                        <a:pt x="10362" y="1189"/>
                      </a:cubicBezTo>
                      <a:lnTo>
                        <a:pt x="177020" y="117888"/>
                      </a:lnTo>
                      <a:cubicBezTo>
                        <a:pt x="179991" y="119973"/>
                        <a:pt x="180721" y="124065"/>
                        <a:pt x="178636" y="127062"/>
                      </a:cubicBezTo>
                      <a:cubicBezTo>
                        <a:pt x="177333" y="128912"/>
                        <a:pt x="175300" y="129876"/>
                        <a:pt x="173215" y="129876"/>
                      </a:cubicBezTo>
                      <a:close/>
                    </a:path>
                  </a:pathLst>
                </a:custGeom>
                <a:solidFill>
                  <a:schemeClr val="accent1"/>
                </a:solidFill>
                <a:ln w="2604" cap="flat">
                  <a:noFill/>
                  <a:prstDash val="solid"/>
                  <a:miter/>
                </a:ln>
              </p:spPr>
              <p:txBody>
                <a:bodyPr rtlCol="0" anchor="ctr"/>
                <a:lstStyle/>
                <a:p>
                  <a:endParaRPr lang="en-GB" dirty="0"/>
                </a:p>
              </p:txBody>
            </p:sp>
            <p:grpSp>
              <p:nvGrpSpPr>
                <p:cNvPr id="144" name="Grafik 234">
                  <a:extLst>
                    <a:ext uri="{FF2B5EF4-FFF2-40B4-BE49-F238E27FC236}">
                      <a16:creationId xmlns:a16="http://schemas.microsoft.com/office/drawing/2014/main" id="{152F2236-69DB-40A8-9D3C-170AE1261328}"/>
                    </a:ext>
                  </a:extLst>
                </p:cNvPr>
                <p:cNvGrpSpPr/>
                <p:nvPr/>
              </p:nvGrpSpPr>
              <p:grpSpPr>
                <a:xfrm>
                  <a:off x="3786780" y="2734590"/>
                  <a:ext cx="55005" cy="62469"/>
                  <a:chOff x="3786780" y="2734590"/>
                  <a:chExt cx="55005" cy="62469"/>
                </a:xfrm>
                <a:solidFill>
                  <a:schemeClr val="accent1"/>
                </a:solidFill>
              </p:grpSpPr>
              <p:sp>
                <p:nvSpPr>
                  <p:cNvPr id="148" name="Freihandform: Form 359">
                    <a:extLst>
                      <a:ext uri="{FF2B5EF4-FFF2-40B4-BE49-F238E27FC236}">
                        <a16:creationId xmlns:a16="http://schemas.microsoft.com/office/drawing/2014/main" id="{7C5D8E71-00FC-4A12-B667-404E43692983}"/>
                      </a:ext>
                    </a:extLst>
                  </p:cNvPr>
                  <p:cNvSpPr/>
                  <p:nvPr/>
                </p:nvSpPr>
                <p:spPr>
                  <a:xfrm>
                    <a:off x="3786936" y="2734590"/>
                    <a:ext cx="54848" cy="20512"/>
                  </a:xfrm>
                  <a:custGeom>
                    <a:avLst/>
                    <a:gdLst>
                      <a:gd name="connsiteX0" fmla="*/ 6563 w 54848"/>
                      <a:gd name="connsiteY0" fmla="*/ 20512 h 20512"/>
                      <a:gd name="connsiteX1" fmla="*/ 100 w 54848"/>
                      <a:gd name="connsiteY1" fmla="*/ 15066 h 20512"/>
                      <a:gd name="connsiteX2" fmla="*/ 5443 w 54848"/>
                      <a:gd name="connsiteY2" fmla="*/ 7456 h 20512"/>
                      <a:gd name="connsiteX3" fmla="*/ 47139 w 54848"/>
                      <a:gd name="connsiteY3" fmla="*/ 107 h 20512"/>
                      <a:gd name="connsiteX4" fmla="*/ 54749 w 54848"/>
                      <a:gd name="connsiteY4" fmla="*/ 5449 h 20512"/>
                      <a:gd name="connsiteX5" fmla="*/ 49407 w 54848"/>
                      <a:gd name="connsiteY5" fmla="*/ 13059 h 20512"/>
                      <a:gd name="connsiteX6" fmla="*/ 7710 w 54848"/>
                      <a:gd name="connsiteY6" fmla="*/ 20408 h 20512"/>
                      <a:gd name="connsiteX7" fmla="*/ 6563 w 54848"/>
                      <a:gd name="connsiteY7" fmla="*/ 20512 h 20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48" h="20512">
                        <a:moveTo>
                          <a:pt x="6563" y="20512"/>
                        </a:moveTo>
                        <a:cubicBezTo>
                          <a:pt x="3436" y="20512"/>
                          <a:pt x="647" y="18271"/>
                          <a:pt x="100" y="15066"/>
                        </a:cubicBezTo>
                        <a:cubicBezTo>
                          <a:pt x="-525" y="11495"/>
                          <a:pt x="1846" y="8081"/>
                          <a:pt x="5443" y="7456"/>
                        </a:cubicBezTo>
                        <a:lnTo>
                          <a:pt x="47139" y="107"/>
                        </a:lnTo>
                        <a:cubicBezTo>
                          <a:pt x="50710" y="-545"/>
                          <a:pt x="54124" y="1853"/>
                          <a:pt x="54749" y="5449"/>
                        </a:cubicBezTo>
                        <a:cubicBezTo>
                          <a:pt x="55374" y="9019"/>
                          <a:pt x="53003" y="12433"/>
                          <a:pt x="49407" y="13059"/>
                        </a:cubicBezTo>
                        <a:lnTo>
                          <a:pt x="7710" y="20408"/>
                        </a:lnTo>
                        <a:cubicBezTo>
                          <a:pt x="7345" y="20486"/>
                          <a:pt x="6954" y="20512"/>
                          <a:pt x="6563" y="20512"/>
                        </a:cubicBezTo>
                        <a:close/>
                      </a:path>
                    </a:pathLst>
                  </a:custGeom>
                  <a:solidFill>
                    <a:schemeClr val="accent1"/>
                  </a:solidFill>
                  <a:ln w="2604" cap="flat">
                    <a:noFill/>
                    <a:prstDash val="solid"/>
                    <a:miter/>
                  </a:ln>
                </p:spPr>
                <p:txBody>
                  <a:bodyPr rtlCol="0" anchor="ctr"/>
                  <a:lstStyle/>
                  <a:p>
                    <a:endParaRPr lang="en-GB" dirty="0"/>
                  </a:p>
                </p:txBody>
              </p:sp>
              <p:sp>
                <p:nvSpPr>
                  <p:cNvPr id="149" name="Freihandform: Form 360">
                    <a:extLst>
                      <a:ext uri="{FF2B5EF4-FFF2-40B4-BE49-F238E27FC236}">
                        <a16:creationId xmlns:a16="http://schemas.microsoft.com/office/drawing/2014/main" id="{C851E69A-D812-4EF9-A97C-AD08E44509AD}"/>
                      </a:ext>
                    </a:extLst>
                  </p:cNvPr>
                  <p:cNvSpPr/>
                  <p:nvPr/>
                </p:nvSpPr>
                <p:spPr>
                  <a:xfrm>
                    <a:off x="3786780" y="2742207"/>
                    <a:ext cx="20501" cy="54852"/>
                  </a:xfrm>
                  <a:custGeom>
                    <a:avLst/>
                    <a:gdLst>
                      <a:gd name="connsiteX0" fmla="*/ 13912 w 20501"/>
                      <a:gd name="connsiteY0" fmla="*/ 54852 h 54852"/>
                      <a:gd name="connsiteX1" fmla="*/ 7449 w 20501"/>
                      <a:gd name="connsiteY1" fmla="*/ 49406 h 54852"/>
                      <a:gd name="connsiteX2" fmla="*/ 100 w 20501"/>
                      <a:gd name="connsiteY2" fmla="*/ 7709 h 54852"/>
                      <a:gd name="connsiteX3" fmla="*/ 5442 w 20501"/>
                      <a:gd name="connsiteY3" fmla="*/ 99 h 54852"/>
                      <a:gd name="connsiteX4" fmla="*/ 13052 w 20501"/>
                      <a:gd name="connsiteY4" fmla="*/ 5442 h 54852"/>
                      <a:gd name="connsiteX5" fmla="*/ 20401 w 20501"/>
                      <a:gd name="connsiteY5" fmla="*/ 47139 h 54852"/>
                      <a:gd name="connsiteX6" fmla="*/ 15059 w 20501"/>
                      <a:gd name="connsiteY6" fmla="*/ 54748 h 54852"/>
                      <a:gd name="connsiteX7" fmla="*/ 13912 w 20501"/>
                      <a:gd name="connsiteY7" fmla="*/ 54852 h 5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01" h="54852">
                        <a:moveTo>
                          <a:pt x="13912" y="54852"/>
                        </a:moveTo>
                        <a:cubicBezTo>
                          <a:pt x="10785" y="54852"/>
                          <a:pt x="7996" y="52611"/>
                          <a:pt x="7449" y="49406"/>
                        </a:cubicBezTo>
                        <a:lnTo>
                          <a:pt x="100" y="7709"/>
                        </a:lnTo>
                        <a:cubicBezTo>
                          <a:pt x="-526" y="4139"/>
                          <a:pt x="1846" y="725"/>
                          <a:pt x="5442" y="99"/>
                        </a:cubicBezTo>
                        <a:cubicBezTo>
                          <a:pt x="9013" y="-526"/>
                          <a:pt x="12427" y="1871"/>
                          <a:pt x="13052" y="5442"/>
                        </a:cubicBezTo>
                        <a:lnTo>
                          <a:pt x="20401" y="47139"/>
                        </a:lnTo>
                        <a:cubicBezTo>
                          <a:pt x="21026" y="50709"/>
                          <a:pt x="18655" y="54123"/>
                          <a:pt x="15059" y="54748"/>
                        </a:cubicBezTo>
                        <a:cubicBezTo>
                          <a:pt x="14668" y="54800"/>
                          <a:pt x="14277" y="54852"/>
                          <a:pt x="13912" y="54852"/>
                        </a:cubicBezTo>
                        <a:close/>
                      </a:path>
                    </a:pathLst>
                  </a:custGeom>
                  <a:solidFill>
                    <a:schemeClr val="accent1"/>
                  </a:solidFill>
                  <a:ln w="2604" cap="flat">
                    <a:noFill/>
                    <a:prstDash val="solid"/>
                    <a:miter/>
                  </a:ln>
                </p:spPr>
                <p:txBody>
                  <a:bodyPr rtlCol="0" anchor="ctr"/>
                  <a:lstStyle/>
                  <a:p>
                    <a:endParaRPr lang="en-GB" dirty="0"/>
                  </a:p>
                </p:txBody>
              </p:sp>
            </p:grpSp>
            <p:grpSp>
              <p:nvGrpSpPr>
                <p:cNvPr id="145" name="Grafik 234">
                  <a:extLst>
                    <a:ext uri="{FF2B5EF4-FFF2-40B4-BE49-F238E27FC236}">
                      <a16:creationId xmlns:a16="http://schemas.microsoft.com/office/drawing/2014/main" id="{05E80960-9042-4DDF-BC5F-65A93D731ADE}"/>
                    </a:ext>
                  </a:extLst>
                </p:cNvPr>
                <p:cNvGrpSpPr/>
                <p:nvPr/>
              </p:nvGrpSpPr>
              <p:grpSpPr>
                <a:xfrm>
                  <a:off x="3747402" y="2707019"/>
                  <a:ext cx="54979" cy="62468"/>
                  <a:chOff x="3747402" y="2707019"/>
                  <a:chExt cx="54979" cy="62468"/>
                </a:xfrm>
                <a:solidFill>
                  <a:schemeClr val="accent1"/>
                </a:solidFill>
              </p:grpSpPr>
              <p:sp>
                <p:nvSpPr>
                  <p:cNvPr id="146" name="Freihandform: Form 362">
                    <a:extLst>
                      <a:ext uri="{FF2B5EF4-FFF2-40B4-BE49-F238E27FC236}">
                        <a16:creationId xmlns:a16="http://schemas.microsoft.com/office/drawing/2014/main" id="{5702A283-9223-4A27-9647-25B969DEC8C1}"/>
                      </a:ext>
                    </a:extLst>
                  </p:cNvPr>
                  <p:cNvSpPr/>
                  <p:nvPr/>
                </p:nvSpPr>
                <p:spPr>
                  <a:xfrm>
                    <a:off x="3747558" y="2707019"/>
                    <a:ext cx="54822" cy="20511"/>
                  </a:xfrm>
                  <a:custGeom>
                    <a:avLst/>
                    <a:gdLst>
                      <a:gd name="connsiteX0" fmla="*/ 6563 w 54822"/>
                      <a:gd name="connsiteY0" fmla="*/ 20511 h 20511"/>
                      <a:gd name="connsiteX1" fmla="*/ 100 w 54822"/>
                      <a:gd name="connsiteY1" fmla="*/ 15065 h 20511"/>
                      <a:gd name="connsiteX2" fmla="*/ 5443 w 54822"/>
                      <a:gd name="connsiteY2" fmla="*/ 7455 h 20511"/>
                      <a:gd name="connsiteX3" fmla="*/ 47113 w 54822"/>
                      <a:gd name="connsiteY3" fmla="*/ 106 h 20511"/>
                      <a:gd name="connsiteX4" fmla="*/ 54723 w 54822"/>
                      <a:gd name="connsiteY4" fmla="*/ 5448 h 20511"/>
                      <a:gd name="connsiteX5" fmla="*/ 49381 w 54822"/>
                      <a:gd name="connsiteY5" fmla="*/ 13058 h 20511"/>
                      <a:gd name="connsiteX6" fmla="*/ 7710 w 54822"/>
                      <a:gd name="connsiteY6" fmla="*/ 20407 h 20511"/>
                      <a:gd name="connsiteX7" fmla="*/ 6563 w 54822"/>
                      <a:gd name="connsiteY7" fmla="*/ 20511 h 20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22" h="20511">
                        <a:moveTo>
                          <a:pt x="6563" y="20511"/>
                        </a:moveTo>
                        <a:cubicBezTo>
                          <a:pt x="3436" y="20511"/>
                          <a:pt x="647" y="18270"/>
                          <a:pt x="100" y="15065"/>
                        </a:cubicBezTo>
                        <a:cubicBezTo>
                          <a:pt x="-525" y="11494"/>
                          <a:pt x="1846" y="8080"/>
                          <a:pt x="5443" y="7455"/>
                        </a:cubicBezTo>
                        <a:lnTo>
                          <a:pt x="47113" y="106"/>
                        </a:lnTo>
                        <a:cubicBezTo>
                          <a:pt x="50658" y="-546"/>
                          <a:pt x="54097" y="1878"/>
                          <a:pt x="54723" y="5448"/>
                        </a:cubicBezTo>
                        <a:cubicBezTo>
                          <a:pt x="55348" y="9019"/>
                          <a:pt x="52977" y="12433"/>
                          <a:pt x="49381" y="13058"/>
                        </a:cubicBezTo>
                        <a:lnTo>
                          <a:pt x="7710" y="20407"/>
                        </a:lnTo>
                        <a:cubicBezTo>
                          <a:pt x="7345" y="20485"/>
                          <a:pt x="6954" y="20511"/>
                          <a:pt x="6563" y="20511"/>
                        </a:cubicBezTo>
                        <a:close/>
                      </a:path>
                    </a:pathLst>
                  </a:custGeom>
                  <a:solidFill>
                    <a:schemeClr val="accent1"/>
                  </a:solidFill>
                  <a:ln w="2604" cap="flat">
                    <a:noFill/>
                    <a:prstDash val="solid"/>
                    <a:miter/>
                  </a:ln>
                </p:spPr>
                <p:txBody>
                  <a:bodyPr rtlCol="0" anchor="ctr"/>
                  <a:lstStyle/>
                  <a:p>
                    <a:endParaRPr lang="en-GB" dirty="0"/>
                  </a:p>
                </p:txBody>
              </p:sp>
              <p:sp>
                <p:nvSpPr>
                  <p:cNvPr id="147" name="Freihandform: Form 363">
                    <a:extLst>
                      <a:ext uri="{FF2B5EF4-FFF2-40B4-BE49-F238E27FC236}">
                        <a16:creationId xmlns:a16="http://schemas.microsoft.com/office/drawing/2014/main" id="{0B3AFAD2-5F8D-41D5-9C2E-8EDD7513C0AB}"/>
                      </a:ext>
                    </a:extLst>
                  </p:cNvPr>
                  <p:cNvSpPr/>
                  <p:nvPr/>
                </p:nvSpPr>
                <p:spPr>
                  <a:xfrm>
                    <a:off x="3747402" y="2714635"/>
                    <a:ext cx="20501" cy="54852"/>
                  </a:xfrm>
                  <a:custGeom>
                    <a:avLst/>
                    <a:gdLst>
                      <a:gd name="connsiteX0" fmla="*/ 13912 w 20501"/>
                      <a:gd name="connsiteY0" fmla="*/ 54852 h 54852"/>
                      <a:gd name="connsiteX1" fmla="*/ 7449 w 20501"/>
                      <a:gd name="connsiteY1" fmla="*/ 49406 h 54852"/>
                      <a:gd name="connsiteX2" fmla="*/ 100 w 20501"/>
                      <a:gd name="connsiteY2" fmla="*/ 7709 h 54852"/>
                      <a:gd name="connsiteX3" fmla="*/ 5443 w 20501"/>
                      <a:gd name="connsiteY3" fmla="*/ 99 h 54852"/>
                      <a:gd name="connsiteX4" fmla="*/ 13052 w 20501"/>
                      <a:gd name="connsiteY4" fmla="*/ 5442 h 54852"/>
                      <a:gd name="connsiteX5" fmla="*/ 20401 w 20501"/>
                      <a:gd name="connsiteY5" fmla="*/ 47139 h 54852"/>
                      <a:gd name="connsiteX6" fmla="*/ 15059 w 20501"/>
                      <a:gd name="connsiteY6" fmla="*/ 54748 h 54852"/>
                      <a:gd name="connsiteX7" fmla="*/ 13912 w 20501"/>
                      <a:gd name="connsiteY7" fmla="*/ 54852 h 5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01" h="54852">
                        <a:moveTo>
                          <a:pt x="13912" y="54852"/>
                        </a:moveTo>
                        <a:cubicBezTo>
                          <a:pt x="10785" y="54852"/>
                          <a:pt x="7996" y="52611"/>
                          <a:pt x="7449" y="49406"/>
                        </a:cubicBezTo>
                        <a:lnTo>
                          <a:pt x="100" y="7709"/>
                        </a:lnTo>
                        <a:cubicBezTo>
                          <a:pt x="-525" y="4139"/>
                          <a:pt x="1846" y="725"/>
                          <a:pt x="5443" y="99"/>
                        </a:cubicBezTo>
                        <a:cubicBezTo>
                          <a:pt x="9013" y="-526"/>
                          <a:pt x="12427" y="1871"/>
                          <a:pt x="13052" y="5442"/>
                        </a:cubicBezTo>
                        <a:lnTo>
                          <a:pt x="20401" y="47139"/>
                        </a:lnTo>
                        <a:cubicBezTo>
                          <a:pt x="21027" y="50709"/>
                          <a:pt x="18655" y="54123"/>
                          <a:pt x="15059" y="54748"/>
                        </a:cubicBezTo>
                        <a:cubicBezTo>
                          <a:pt x="14668" y="54800"/>
                          <a:pt x="14277" y="54852"/>
                          <a:pt x="13912" y="54852"/>
                        </a:cubicBezTo>
                        <a:close/>
                      </a:path>
                    </a:pathLst>
                  </a:custGeom>
                  <a:solidFill>
                    <a:schemeClr val="accent1"/>
                  </a:solidFill>
                  <a:ln w="2604" cap="flat">
                    <a:noFill/>
                    <a:prstDash val="solid"/>
                    <a:miter/>
                  </a:ln>
                </p:spPr>
                <p:txBody>
                  <a:bodyPr rtlCol="0" anchor="ctr"/>
                  <a:lstStyle/>
                  <a:p>
                    <a:endParaRPr lang="en-GB" dirty="0"/>
                  </a:p>
                </p:txBody>
              </p:sp>
            </p:grpSp>
          </p:grpSp>
          <p:grpSp>
            <p:nvGrpSpPr>
              <p:cNvPr id="129" name="Grafik 234">
                <a:extLst>
                  <a:ext uri="{FF2B5EF4-FFF2-40B4-BE49-F238E27FC236}">
                    <a16:creationId xmlns:a16="http://schemas.microsoft.com/office/drawing/2014/main" id="{997D45E1-A3DB-48D0-9265-095FA40A7659}"/>
                  </a:ext>
                </a:extLst>
              </p:cNvPr>
              <p:cNvGrpSpPr/>
              <p:nvPr/>
            </p:nvGrpSpPr>
            <p:grpSpPr>
              <a:xfrm>
                <a:off x="3541320" y="2550115"/>
                <a:ext cx="307630" cy="249577"/>
                <a:chOff x="3541320" y="2550115"/>
                <a:chExt cx="307630" cy="249577"/>
              </a:xfrm>
              <a:solidFill>
                <a:schemeClr val="tx2"/>
              </a:solidFill>
            </p:grpSpPr>
            <p:sp>
              <p:nvSpPr>
                <p:cNvPr id="130" name="Freihandform: Form 365">
                  <a:extLst>
                    <a:ext uri="{FF2B5EF4-FFF2-40B4-BE49-F238E27FC236}">
                      <a16:creationId xmlns:a16="http://schemas.microsoft.com/office/drawing/2014/main" id="{B37AB9A1-8B9E-4A7E-927F-55818D2A54D8}"/>
                    </a:ext>
                  </a:extLst>
                </p:cNvPr>
                <p:cNvSpPr/>
                <p:nvPr/>
              </p:nvSpPr>
              <p:spPr>
                <a:xfrm>
                  <a:off x="3541320" y="2567528"/>
                  <a:ext cx="300459" cy="214338"/>
                </a:xfrm>
                <a:custGeom>
                  <a:avLst/>
                  <a:gdLst>
                    <a:gd name="connsiteX0" fmla="*/ 6584 w 300459"/>
                    <a:gd name="connsiteY0" fmla="*/ 214339 h 214338"/>
                    <a:gd name="connsiteX1" fmla="*/ 1189 w 300459"/>
                    <a:gd name="connsiteY1" fmla="*/ 211524 h 214338"/>
                    <a:gd name="connsiteX2" fmla="*/ 2805 w 300459"/>
                    <a:gd name="connsiteY2" fmla="*/ 202351 h 214338"/>
                    <a:gd name="connsiteX3" fmla="*/ 290097 w 300459"/>
                    <a:gd name="connsiteY3" fmla="*/ 1189 h 214338"/>
                    <a:gd name="connsiteX4" fmla="*/ 299270 w 300459"/>
                    <a:gd name="connsiteY4" fmla="*/ 2805 h 214338"/>
                    <a:gd name="connsiteX5" fmla="*/ 297654 w 300459"/>
                    <a:gd name="connsiteY5" fmla="*/ 11978 h 214338"/>
                    <a:gd name="connsiteX6" fmla="*/ 10363 w 300459"/>
                    <a:gd name="connsiteY6" fmla="*/ 213140 h 214338"/>
                    <a:gd name="connsiteX7" fmla="*/ 6584 w 300459"/>
                    <a:gd name="connsiteY7" fmla="*/ 214339 h 214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459" h="214338">
                      <a:moveTo>
                        <a:pt x="6584" y="214339"/>
                      </a:moveTo>
                      <a:cubicBezTo>
                        <a:pt x="4499" y="214339"/>
                        <a:pt x="2466" y="213374"/>
                        <a:pt x="1189" y="211524"/>
                      </a:cubicBezTo>
                      <a:cubicBezTo>
                        <a:pt x="-896" y="208553"/>
                        <a:pt x="-166" y="204436"/>
                        <a:pt x="2805" y="202351"/>
                      </a:cubicBezTo>
                      <a:lnTo>
                        <a:pt x="290097" y="1189"/>
                      </a:lnTo>
                      <a:cubicBezTo>
                        <a:pt x="293068" y="-896"/>
                        <a:pt x="297185" y="-166"/>
                        <a:pt x="299270" y="2805"/>
                      </a:cubicBezTo>
                      <a:cubicBezTo>
                        <a:pt x="301355" y="5776"/>
                        <a:pt x="300625" y="9893"/>
                        <a:pt x="297654" y="11978"/>
                      </a:cubicBezTo>
                      <a:lnTo>
                        <a:pt x="10363" y="213140"/>
                      </a:lnTo>
                      <a:cubicBezTo>
                        <a:pt x="9190" y="213948"/>
                        <a:pt x="7887" y="214339"/>
                        <a:pt x="6584" y="214339"/>
                      </a:cubicBezTo>
                      <a:close/>
                    </a:path>
                  </a:pathLst>
                </a:custGeom>
                <a:solidFill>
                  <a:schemeClr val="accent1"/>
                </a:solidFill>
                <a:ln w="2604" cap="flat">
                  <a:noFill/>
                  <a:prstDash val="solid"/>
                  <a:miter/>
                </a:ln>
              </p:spPr>
              <p:txBody>
                <a:bodyPr rtlCol="0" anchor="ctr"/>
                <a:lstStyle/>
                <a:p>
                  <a:endParaRPr lang="en-GB" dirty="0"/>
                </a:p>
              </p:txBody>
            </p:sp>
            <p:grpSp>
              <p:nvGrpSpPr>
                <p:cNvPr id="131" name="Grafik 234">
                  <a:extLst>
                    <a:ext uri="{FF2B5EF4-FFF2-40B4-BE49-F238E27FC236}">
                      <a16:creationId xmlns:a16="http://schemas.microsoft.com/office/drawing/2014/main" id="{40A39BC1-4AD5-4CDD-82D9-DA663404B01C}"/>
                    </a:ext>
                  </a:extLst>
                </p:cNvPr>
                <p:cNvGrpSpPr/>
                <p:nvPr/>
              </p:nvGrpSpPr>
              <p:grpSpPr>
                <a:xfrm>
                  <a:off x="3793947" y="2550115"/>
                  <a:ext cx="55003" cy="62462"/>
                  <a:chOff x="3793947" y="2550115"/>
                  <a:chExt cx="55003" cy="62462"/>
                </a:xfrm>
                <a:solidFill>
                  <a:schemeClr val="accent1"/>
                </a:solidFill>
              </p:grpSpPr>
              <p:sp>
                <p:nvSpPr>
                  <p:cNvPr id="141" name="Freihandform: Form 367">
                    <a:extLst>
                      <a:ext uri="{FF2B5EF4-FFF2-40B4-BE49-F238E27FC236}">
                        <a16:creationId xmlns:a16="http://schemas.microsoft.com/office/drawing/2014/main" id="{F178D9C2-242E-4D4F-9670-378EAD2A7B1E}"/>
                      </a:ext>
                    </a:extLst>
                  </p:cNvPr>
                  <p:cNvSpPr/>
                  <p:nvPr/>
                </p:nvSpPr>
                <p:spPr>
                  <a:xfrm>
                    <a:off x="3794103" y="2592072"/>
                    <a:ext cx="54847" cy="20504"/>
                  </a:xfrm>
                  <a:custGeom>
                    <a:avLst/>
                    <a:gdLst>
                      <a:gd name="connsiteX0" fmla="*/ 48285 w 54847"/>
                      <a:gd name="connsiteY0" fmla="*/ 20505 h 20504"/>
                      <a:gd name="connsiteX1" fmla="*/ 47139 w 54847"/>
                      <a:gd name="connsiteY1" fmla="*/ 20400 h 20504"/>
                      <a:gd name="connsiteX2" fmla="*/ 5442 w 54847"/>
                      <a:gd name="connsiteY2" fmla="*/ 13051 h 20504"/>
                      <a:gd name="connsiteX3" fmla="*/ 99 w 54847"/>
                      <a:gd name="connsiteY3" fmla="*/ 5442 h 20504"/>
                      <a:gd name="connsiteX4" fmla="*/ 7709 w 54847"/>
                      <a:gd name="connsiteY4" fmla="*/ 99 h 20504"/>
                      <a:gd name="connsiteX5" fmla="*/ 49406 w 54847"/>
                      <a:gd name="connsiteY5" fmla="*/ 7448 h 20504"/>
                      <a:gd name="connsiteX6" fmla="*/ 54748 w 54847"/>
                      <a:gd name="connsiteY6" fmla="*/ 15058 h 20504"/>
                      <a:gd name="connsiteX7" fmla="*/ 48285 w 54847"/>
                      <a:gd name="connsiteY7" fmla="*/ 20505 h 20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47" h="20504">
                        <a:moveTo>
                          <a:pt x="48285" y="20505"/>
                        </a:moveTo>
                        <a:cubicBezTo>
                          <a:pt x="47894" y="20505"/>
                          <a:pt x="47529" y="20479"/>
                          <a:pt x="47139" y="20400"/>
                        </a:cubicBezTo>
                        <a:lnTo>
                          <a:pt x="5442" y="13051"/>
                        </a:lnTo>
                        <a:cubicBezTo>
                          <a:pt x="1871" y="12426"/>
                          <a:pt x="-526" y="9012"/>
                          <a:pt x="99" y="5442"/>
                        </a:cubicBezTo>
                        <a:cubicBezTo>
                          <a:pt x="725" y="1871"/>
                          <a:pt x="4139" y="-526"/>
                          <a:pt x="7709" y="99"/>
                        </a:cubicBezTo>
                        <a:lnTo>
                          <a:pt x="49406" y="7448"/>
                        </a:lnTo>
                        <a:cubicBezTo>
                          <a:pt x="52976" y="8074"/>
                          <a:pt x="55374" y="11488"/>
                          <a:pt x="54748" y="15058"/>
                        </a:cubicBezTo>
                        <a:cubicBezTo>
                          <a:pt x="54201" y="18263"/>
                          <a:pt x="51413" y="20505"/>
                          <a:pt x="48285" y="20505"/>
                        </a:cubicBezTo>
                        <a:close/>
                      </a:path>
                    </a:pathLst>
                  </a:custGeom>
                  <a:solidFill>
                    <a:schemeClr val="accent1"/>
                  </a:solidFill>
                  <a:ln w="2604" cap="flat">
                    <a:noFill/>
                    <a:prstDash val="solid"/>
                    <a:miter/>
                  </a:ln>
                </p:spPr>
                <p:txBody>
                  <a:bodyPr rtlCol="0" anchor="ctr"/>
                  <a:lstStyle/>
                  <a:p>
                    <a:endParaRPr lang="en-GB" dirty="0"/>
                  </a:p>
                </p:txBody>
              </p:sp>
              <p:sp>
                <p:nvSpPr>
                  <p:cNvPr id="142" name="Freihandform: Form 368">
                    <a:extLst>
                      <a:ext uri="{FF2B5EF4-FFF2-40B4-BE49-F238E27FC236}">
                        <a16:creationId xmlns:a16="http://schemas.microsoft.com/office/drawing/2014/main" id="{2521562D-17FB-44B2-A069-9DCB114AEB38}"/>
                      </a:ext>
                    </a:extLst>
                  </p:cNvPr>
                  <p:cNvSpPr/>
                  <p:nvPr/>
                </p:nvSpPr>
                <p:spPr>
                  <a:xfrm>
                    <a:off x="3793947" y="2550115"/>
                    <a:ext cx="20499" cy="54852"/>
                  </a:xfrm>
                  <a:custGeom>
                    <a:avLst/>
                    <a:gdLst>
                      <a:gd name="connsiteX0" fmla="*/ 6588 w 20499"/>
                      <a:gd name="connsiteY0" fmla="*/ 54852 h 54852"/>
                      <a:gd name="connsiteX1" fmla="*/ 5442 w 20499"/>
                      <a:gd name="connsiteY1" fmla="*/ 54748 h 54852"/>
                      <a:gd name="connsiteX2" fmla="*/ 99 w 20499"/>
                      <a:gd name="connsiteY2" fmla="*/ 47139 h 54852"/>
                      <a:gd name="connsiteX3" fmla="*/ 7448 w 20499"/>
                      <a:gd name="connsiteY3" fmla="*/ 5442 h 54852"/>
                      <a:gd name="connsiteX4" fmla="*/ 15058 w 20499"/>
                      <a:gd name="connsiteY4" fmla="*/ 99 h 54852"/>
                      <a:gd name="connsiteX5" fmla="*/ 20400 w 20499"/>
                      <a:gd name="connsiteY5" fmla="*/ 7709 h 54852"/>
                      <a:gd name="connsiteX6" fmla="*/ 13051 w 20499"/>
                      <a:gd name="connsiteY6" fmla="*/ 49406 h 54852"/>
                      <a:gd name="connsiteX7" fmla="*/ 6588 w 20499"/>
                      <a:gd name="connsiteY7" fmla="*/ 54852 h 5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99" h="54852">
                        <a:moveTo>
                          <a:pt x="6588" y="54852"/>
                        </a:moveTo>
                        <a:cubicBezTo>
                          <a:pt x="6197" y="54852"/>
                          <a:pt x="5832" y="54826"/>
                          <a:pt x="5442" y="54748"/>
                        </a:cubicBezTo>
                        <a:cubicBezTo>
                          <a:pt x="1871" y="54123"/>
                          <a:pt x="-526" y="50709"/>
                          <a:pt x="99" y="47139"/>
                        </a:cubicBezTo>
                        <a:lnTo>
                          <a:pt x="7448" y="5442"/>
                        </a:lnTo>
                        <a:cubicBezTo>
                          <a:pt x="8074" y="1871"/>
                          <a:pt x="11488" y="-526"/>
                          <a:pt x="15058" y="99"/>
                        </a:cubicBezTo>
                        <a:cubicBezTo>
                          <a:pt x="18628" y="725"/>
                          <a:pt x="21026" y="4139"/>
                          <a:pt x="20400" y="7709"/>
                        </a:cubicBezTo>
                        <a:lnTo>
                          <a:pt x="13051" y="49406"/>
                        </a:lnTo>
                        <a:cubicBezTo>
                          <a:pt x="12504" y="52611"/>
                          <a:pt x="9715" y="54852"/>
                          <a:pt x="6588" y="54852"/>
                        </a:cubicBezTo>
                        <a:close/>
                      </a:path>
                    </a:pathLst>
                  </a:custGeom>
                  <a:solidFill>
                    <a:schemeClr val="accent1"/>
                  </a:solidFill>
                  <a:ln w="2604" cap="flat">
                    <a:noFill/>
                    <a:prstDash val="solid"/>
                    <a:miter/>
                  </a:ln>
                </p:spPr>
                <p:txBody>
                  <a:bodyPr rtlCol="0" anchor="ctr"/>
                  <a:lstStyle/>
                  <a:p>
                    <a:endParaRPr lang="en-GB" dirty="0"/>
                  </a:p>
                </p:txBody>
              </p:sp>
            </p:grpSp>
            <p:grpSp>
              <p:nvGrpSpPr>
                <p:cNvPr id="132" name="Grafik 234">
                  <a:extLst>
                    <a:ext uri="{FF2B5EF4-FFF2-40B4-BE49-F238E27FC236}">
                      <a16:creationId xmlns:a16="http://schemas.microsoft.com/office/drawing/2014/main" id="{5BC58CA6-AC2C-402E-B21D-E4CAF7460D4E}"/>
                    </a:ext>
                  </a:extLst>
                </p:cNvPr>
                <p:cNvGrpSpPr/>
                <p:nvPr/>
              </p:nvGrpSpPr>
              <p:grpSpPr>
                <a:xfrm>
                  <a:off x="3754569" y="2577693"/>
                  <a:ext cx="55003" cy="62455"/>
                  <a:chOff x="3754569" y="2577693"/>
                  <a:chExt cx="55003" cy="62455"/>
                </a:xfrm>
                <a:solidFill>
                  <a:schemeClr val="accent1"/>
                </a:solidFill>
              </p:grpSpPr>
              <p:sp>
                <p:nvSpPr>
                  <p:cNvPr id="139" name="Freihandform: Form 370">
                    <a:extLst>
                      <a:ext uri="{FF2B5EF4-FFF2-40B4-BE49-F238E27FC236}">
                        <a16:creationId xmlns:a16="http://schemas.microsoft.com/office/drawing/2014/main" id="{DE0571F0-1812-4951-98F0-B109518304F9}"/>
                      </a:ext>
                    </a:extLst>
                  </p:cNvPr>
                  <p:cNvSpPr/>
                  <p:nvPr/>
                </p:nvSpPr>
                <p:spPr>
                  <a:xfrm>
                    <a:off x="3754726" y="2619644"/>
                    <a:ext cx="54847" cy="20504"/>
                  </a:xfrm>
                  <a:custGeom>
                    <a:avLst/>
                    <a:gdLst>
                      <a:gd name="connsiteX0" fmla="*/ 48285 w 54847"/>
                      <a:gd name="connsiteY0" fmla="*/ 20505 h 20504"/>
                      <a:gd name="connsiteX1" fmla="*/ 47139 w 54847"/>
                      <a:gd name="connsiteY1" fmla="*/ 20400 h 20504"/>
                      <a:gd name="connsiteX2" fmla="*/ 5442 w 54847"/>
                      <a:gd name="connsiteY2" fmla="*/ 13051 h 20504"/>
                      <a:gd name="connsiteX3" fmla="*/ 99 w 54847"/>
                      <a:gd name="connsiteY3" fmla="*/ 5442 h 20504"/>
                      <a:gd name="connsiteX4" fmla="*/ 7709 w 54847"/>
                      <a:gd name="connsiteY4" fmla="*/ 99 h 20504"/>
                      <a:gd name="connsiteX5" fmla="*/ 49406 w 54847"/>
                      <a:gd name="connsiteY5" fmla="*/ 7448 h 20504"/>
                      <a:gd name="connsiteX6" fmla="*/ 54748 w 54847"/>
                      <a:gd name="connsiteY6" fmla="*/ 15058 h 20504"/>
                      <a:gd name="connsiteX7" fmla="*/ 48285 w 54847"/>
                      <a:gd name="connsiteY7" fmla="*/ 20505 h 20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47" h="20504">
                        <a:moveTo>
                          <a:pt x="48285" y="20505"/>
                        </a:moveTo>
                        <a:cubicBezTo>
                          <a:pt x="47894" y="20505"/>
                          <a:pt x="47529" y="20479"/>
                          <a:pt x="47139" y="20400"/>
                        </a:cubicBezTo>
                        <a:lnTo>
                          <a:pt x="5442" y="13051"/>
                        </a:lnTo>
                        <a:cubicBezTo>
                          <a:pt x="1871" y="12426"/>
                          <a:pt x="-526" y="9012"/>
                          <a:pt x="99" y="5442"/>
                        </a:cubicBezTo>
                        <a:cubicBezTo>
                          <a:pt x="725" y="1871"/>
                          <a:pt x="4164" y="-526"/>
                          <a:pt x="7709" y="99"/>
                        </a:cubicBezTo>
                        <a:lnTo>
                          <a:pt x="49406" y="7448"/>
                        </a:lnTo>
                        <a:cubicBezTo>
                          <a:pt x="52976" y="8074"/>
                          <a:pt x="55374" y="11488"/>
                          <a:pt x="54748" y="15058"/>
                        </a:cubicBezTo>
                        <a:cubicBezTo>
                          <a:pt x="54201" y="18263"/>
                          <a:pt x="51412" y="20505"/>
                          <a:pt x="48285" y="20505"/>
                        </a:cubicBezTo>
                        <a:close/>
                      </a:path>
                    </a:pathLst>
                  </a:custGeom>
                  <a:solidFill>
                    <a:schemeClr val="accent1"/>
                  </a:solidFill>
                  <a:ln w="2604" cap="flat">
                    <a:noFill/>
                    <a:prstDash val="solid"/>
                    <a:miter/>
                  </a:ln>
                </p:spPr>
                <p:txBody>
                  <a:bodyPr rtlCol="0" anchor="ctr"/>
                  <a:lstStyle/>
                  <a:p>
                    <a:endParaRPr lang="en-GB" dirty="0"/>
                  </a:p>
                </p:txBody>
              </p:sp>
              <p:sp>
                <p:nvSpPr>
                  <p:cNvPr id="140" name="Freihandform: Form 371">
                    <a:extLst>
                      <a:ext uri="{FF2B5EF4-FFF2-40B4-BE49-F238E27FC236}">
                        <a16:creationId xmlns:a16="http://schemas.microsoft.com/office/drawing/2014/main" id="{14A29083-7944-4978-9C1E-DDB84CC44F04}"/>
                      </a:ext>
                    </a:extLst>
                  </p:cNvPr>
                  <p:cNvSpPr/>
                  <p:nvPr/>
                </p:nvSpPr>
                <p:spPr>
                  <a:xfrm>
                    <a:off x="3754569" y="2577693"/>
                    <a:ext cx="20499" cy="54845"/>
                  </a:xfrm>
                  <a:custGeom>
                    <a:avLst/>
                    <a:gdLst>
                      <a:gd name="connsiteX0" fmla="*/ 6589 w 20499"/>
                      <a:gd name="connsiteY0" fmla="*/ 54846 h 54845"/>
                      <a:gd name="connsiteX1" fmla="*/ 5442 w 20499"/>
                      <a:gd name="connsiteY1" fmla="*/ 54742 h 54845"/>
                      <a:gd name="connsiteX2" fmla="*/ 99 w 20499"/>
                      <a:gd name="connsiteY2" fmla="*/ 47132 h 54845"/>
                      <a:gd name="connsiteX3" fmla="*/ 7448 w 20499"/>
                      <a:gd name="connsiteY3" fmla="*/ 5435 h 54845"/>
                      <a:gd name="connsiteX4" fmla="*/ 15058 w 20499"/>
                      <a:gd name="connsiteY4" fmla="*/ 93 h 54845"/>
                      <a:gd name="connsiteX5" fmla="*/ 20400 w 20499"/>
                      <a:gd name="connsiteY5" fmla="*/ 7702 h 54845"/>
                      <a:gd name="connsiteX6" fmla="*/ 13052 w 20499"/>
                      <a:gd name="connsiteY6" fmla="*/ 49399 h 54845"/>
                      <a:gd name="connsiteX7" fmla="*/ 6589 w 20499"/>
                      <a:gd name="connsiteY7" fmla="*/ 54846 h 5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99" h="54845">
                        <a:moveTo>
                          <a:pt x="6589" y="54846"/>
                        </a:moveTo>
                        <a:cubicBezTo>
                          <a:pt x="6198" y="54846"/>
                          <a:pt x="5833" y="54820"/>
                          <a:pt x="5442" y="54742"/>
                        </a:cubicBezTo>
                        <a:cubicBezTo>
                          <a:pt x="1871" y="54116"/>
                          <a:pt x="-526" y="50702"/>
                          <a:pt x="99" y="47132"/>
                        </a:cubicBezTo>
                        <a:lnTo>
                          <a:pt x="7448" y="5435"/>
                        </a:lnTo>
                        <a:cubicBezTo>
                          <a:pt x="8074" y="1865"/>
                          <a:pt x="11488" y="-507"/>
                          <a:pt x="15058" y="93"/>
                        </a:cubicBezTo>
                        <a:cubicBezTo>
                          <a:pt x="18629" y="718"/>
                          <a:pt x="21026" y="4132"/>
                          <a:pt x="20400" y="7702"/>
                        </a:cubicBezTo>
                        <a:lnTo>
                          <a:pt x="13052" y="49399"/>
                        </a:lnTo>
                        <a:cubicBezTo>
                          <a:pt x="12478" y="52605"/>
                          <a:pt x="9716" y="54846"/>
                          <a:pt x="6589" y="54846"/>
                        </a:cubicBezTo>
                        <a:close/>
                      </a:path>
                    </a:pathLst>
                  </a:custGeom>
                  <a:solidFill>
                    <a:schemeClr val="accent1"/>
                  </a:solidFill>
                  <a:ln w="2604" cap="flat">
                    <a:noFill/>
                    <a:prstDash val="solid"/>
                    <a:miter/>
                  </a:ln>
                </p:spPr>
                <p:txBody>
                  <a:bodyPr rtlCol="0" anchor="ctr"/>
                  <a:lstStyle/>
                  <a:p>
                    <a:endParaRPr lang="en-GB" dirty="0"/>
                  </a:p>
                </p:txBody>
              </p:sp>
            </p:grpSp>
            <p:grpSp>
              <p:nvGrpSpPr>
                <p:cNvPr id="133" name="Grafik 234">
                  <a:extLst>
                    <a:ext uri="{FF2B5EF4-FFF2-40B4-BE49-F238E27FC236}">
                      <a16:creationId xmlns:a16="http://schemas.microsoft.com/office/drawing/2014/main" id="{71997049-5C44-4A68-B7CD-5D559ABF569F}"/>
                    </a:ext>
                  </a:extLst>
                </p:cNvPr>
                <p:cNvGrpSpPr/>
                <p:nvPr/>
              </p:nvGrpSpPr>
              <p:grpSpPr>
                <a:xfrm>
                  <a:off x="3562555" y="2741972"/>
                  <a:ext cx="26493" cy="57719"/>
                  <a:chOff x="3562555" y="2741972"/>
                  <a:chExt cx="26493" cy="57719"/>
                </a:xfrm>
                <a:solidFill>
                  <a:schemeClr val="accent1"/>
                </a:solidFill>
              </p:grpSpPr>
              <p:sp>
                <p:nvSpPr>
                  <p:cNvPr id="137" name="Freihandform: Form 373">
                    <a:extLst>
                      <a:ext uri="{FF2B5EF4-FFF2-40B4-BE49-F238E27FC236}">
                        <a16:creationId xmlns:a16="http://schemas.microsoft.com/office/drawing/2014/main" id="{DD7153F6-E731-4F87-A624-5790C3E34791}"/>
                      </a:ext>
                    </a:extLst>
                  </p:cNvPr>
                  <p:cNvSpPr/>
                  <p:nvPr/>
                </p:nvSpPr>
                <p:spPr>
                  <a:xfrm>
                    <a:off x="3562555" y="2741972"/>
                    <a:ext cx="26364" cy="15788"/>
                  </a:xfrm>
                  <a:custGeom>
                    <a:avLst/>
                    <a:gdLst>
                      <a:gd name="connsiteX0" fmla="*/ 19775 w 26364"/>
                      <a:gd name="connsiteY0" fmla="*/ 15788 h 15788"/>
                      <a:gd name="connsiteX1" fmla="*/ 18498 w 26364"/>
                      <a:gd name="connsiteY1" fmla="*/ 15658 h 15788"/>
                      <a:gd name="connsiteX2" fmla="*/ 5312 w 26364"/>
                      <a:gd name="connsiteY2" fmla="*/ 13052 h 15788"/>
                      <a:gd name="connsiteX3" fmla="*/ 126 w 26364"/>
                      <a:gd name="connsiteY3" fmla="*/ 5312 h 15788"/>
                      <a:gd name="connsiteX4" fmla="*/ 7866 w 26364"/>
                      <a:gd name="connsiteY4" fmla="*/ 126 h 15788"/>
                      <a:gd name="connsiteX5" fmla="*/ 21053 w 26364"/>
                      <a:gd name="connsiteY5" fmla="*/ 2732 h 15788"/>
                      <a:gd name="connsiteX6" fmla="*/ 26239 w 26364"/>
                      <a:gd name="connsiteY6" fmla="*/ 10472 h 15788"/>
                      <a:gd name="connsiteX7" fmla="*/ 19775 w 26364"/>
                      <a:gd name="connsiteY7" fmla="*/ 15788 h 15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64" h="15788">
                        <a:moveTo>
                          <a:pt x="19775" y="15788"/>
                        </a:moveTo>
                        <a:cubicBezTo>
                          <a:pt x="19359" y="15788"/>
                          <a:pt x="18915" y="15762"/>
                          <a:pt x="18498" y="15658"/>
                        </a:cubicBezTo>
                        <a:lnTo>
                          <a:pt x="5312" y="13052"/>
                        </a:lnTo>
                        <a:cubicBezTo>
                          <a:pt x="1742" y="12348"/>
                          <a:pt x="-578" y="8882"/>
                          <a:pt x="126" y="5312"/>
                        </a:cubicBezTo>
                        <a:cubicBezTo>
                          <a:pt x="829" y="1742"/>
                          <a:pt x="4295" y="-578"/>
                          <a:pt x="7866" y="126"/>
                        </a:cubicBezTo>
                        <a:lnTo>
                          <a:pt x="21053" y="2732"/>
                        </a:lnTo>
                        <a:cubicBezTo>
                          <a:pt x="24623" y="3435"/>
                          <a:pt x="26942" y="6901"/>
                          <a:pt x="26239" y="10472"/>
                        </a:cubicBezTo>
                        <a:cubicBezTo>
                          <a:pt x="25587" y="13625"/>
                          <a:pt x="22851" y="15788"/>
                          <a:pt x="19775" y="15788"/>
                        </a:cubicBezTo>
                        <a:close/>
                      </a:path>
                    </a:pathLst>
                  </a:custGeom>
                  <a:solidFill>
                    <a:schemeClr val="accent1"/>
                  </a:solidFill>
                  <a:ln w="2604" cap="flat">
                    <a:noFill/>
                    <a:prstDash val="solid"/>
                    <a:miter/>
                  </a:ln>
                </p:spPr>
                <p:txBody>
                  <a:bodyPr rtlCol="0" anchor="ctr"/>
                  <a:lstStyle/>
                  <a:p>
                    <a:endParaRPr lang="en-GB" dirty="0"/>
                  </a:p>
                </p:txBody>
              </p:sp>
              <p:sp>
                <p:nvSpPr>
                  <p:cNvPr id="138" name="Freihandform: Form 374">
                    <a:extLst>
                      <a:ext uri="{FF2B5EF4-FFF2-40B4-BE49-F238E27FC236}">
                        <a16:creationId xmlns:a16="http://schemas.microsoft.com/office/drawing/2014/main" id="{067D9B3A-40BA-428C-AF75-47B4A30FCC7E}"/>
                      </a:ext>
                    </a:extLst>
                  </p:cNvPr>
                  <p:cNvSpPr/>
                  <p:nvPr/>
                </p:nvSpPr>
                <p:spPr>
                  <a:xfrm>
                    <a:off x="3568549" y="2744839"/>
                    <a:ext cx="20499" cy="54852"/>
                  </a:xfrm>
                  <a:custGeom>
                    <a:avLst/>
                    <a:gdLst>
                      <a:gd name="connsiteX0" fmla="*/ 6589 w 20499"/>
                      <a:gd name="connsiteY0" fmla="*/ 54852 h 54852"/>
                      <a:gd name="connsiteX1" fmla="*/ 5442 w 20499"/>
                      <a:gd name="connsiteY1" fmla="*/ 54748 h 54852"/>
                      <a:gd name="connsiteX2" fmla="*/ 99 w 20499"/>
                      <a:gd name="connsiteY2" fmla="*/ 47139 h 54852"/>
                      <a:gd name="connsiteX3" fmla="*/ 7448 w 20499"/>
                      <a:gd name="connsiteY3" fmla="*/ 5442 h 54852"/>
                      <a:gd name="connsiteX4" fmla="*/ 15058 w 20499"/>
                      <a:gd name="connsiteY4" fmla="*/ 99 h 54852"/>
                      <a:gd name="connsiteX5" fmla="*/ 20400 w 20499"/>
                      <a:gd name="connsiteY5" fmla="*/ 7709 h 54852"/>
                      <a:gd name="connsiteX6" fmla="*/ 13052 w 20499"/>
                      <a:gd name="connsiteY6" fmla="*/ 49406 h 54852"/>
                      <a:gd name="connsiteX7" fmla="*/ 6589 w 20499"/>
                      <a:gd name="connsiteY7" fmla="*/ 54852 h 5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99" h="54852">
                        <a:moveTo>
                          <a:pt x="6589" y="54852"/>
                        </a:moveTo>
                        <a:cubicBezTo>
                          <a:pt x="6198" y="54852"/>
                          <a:pt x="5833" y="54826"/>
                          <a:pt x="5442" y="54748"/>
                        </a:cubicBezTo>
                        <a:cubicBezTo>
                          <a:pt x="1871" y="54123"/>
                          <a:pt x="-526" y="50709"/>
                          <a:pt x="99" y="47139"/>
                        </a:cubicBezTo>
                        <a:lnTo>
                          <a:pt x="7448" y="5442"/>
                        </a:lnTo>
                        <a:cubicBezTo>
                          <a:pt x="8074" y="1871"/>
                          <a:pt x="11488" y="-526"/>
                          <a:pt x="15058" y="99"/>
                        </a:cubicBezTo>
                        <a:cubicBezTo>
                          <a:pt x="18629" y="725"/>
                          <a:pt x="21026" y="4139"/>
                          <a:pt x="20400" y="7709"/>
                        </a:cubicBezTo>
                        <a:lnTo>
                          <a:pt x="13052" y="49406"/>
                        </a:lnTo>
                        <a:cubicBezTo>
                          <a:pt x="12504" y="52611"/>
                          <a:pt x="9742" y="54852"/>
                          <a:pt x="6589" y="54852"/>
                        </a:cubicBezTo>
                        <a:close/>
                      </a:path>
                    </a:pathLst>
                  </a:custGeom>
                  <a:solidFill>
                    <a:schemeClr val="accent1"/>
                  </a:solidFill>
                  <a:ln w="2604" cap="flat">
                    <a:noFill/>
                    <a:prstDash val="solid"/>
                    <a:miter/>
                  </a:ln>
                </p:spPr>
                <p:txBody>
                  <a:bodyPr rtlCol="0" anchor="ctr"/>
                  <a:lstStyle/>
                  <a:p>
                    <a:endParaRPr lang="en-GB" dirty="0"/>
                  </a:p>
                </p:txBody>
              </p:sp>
            </p:grpSp>
            <p:grpSp>
              <p:nvGrpSpPr>
                <p:cNvPr id="134" name="Grafik 234">
                  <a:extLst>
                    <a:ext uri="{FF2B5EF4-FFF2-40B4-BE49-F238E27FC236}">
                      <a16:creationId xmlns:a16="http://schemas.microsoft.com/office/drawing/2014/main" id="{BA32669D-4BD8-4A96-A128-5B762155F904}"/>
                    </a:ext>
                  </a:extLst>
                </p:cNvPr>
                <p:cNvGrpSpPr/>
                <p:nvPr/>
              </p:nvGrpSpPr>
              <p:grpSpPr>
                <a:xfrm>
                  <a:off x="3592281" y="2712794"/>
                  <a:ext cx="36145" cy="59325"/>
                  <a:chOff x="3592281" y="2712794"/>
                  <a:chExt cx="36145" cy="59325"/>
                </a:xfrm>
                <a:solidFill>
                  <a:schemeClr val="accent1"/>
                </a:solidFill>
              </p:grpSpPr>
              <p:sp>
                <p:nvSpPr>
                  <p:cNvPr id="135" name="Freihandform: Form 376">
                    <a:extLst>
                      <a:ext uri="{FF2B5EF4-FFF2-40B4-BE49-F238E27FC236}">
                        <a16:creationId xmlns:a16="http://schemas.microsoft.com/office/drawing/2014/main" id="{96691980-D201-4F24-8361-EE9C0E7D8371}"/>
                      </a:ext>
                    </a:extLst>
                  </p:cNvPr>
                  <p:cNvSpPr/>
                  <p:nvPr/>
                </p:nvSpPr>
                <p:spPr>
                  <a:xfrm>
                    <a:off x="3592281" y="2712794"/>
                    <a:ext cx="35998" cy="17393"/>
                  </a:xfrm>
                  <a:custGeom>
                    <a:avLst/>
                    <a:gdLst>
                      <a:gd name="connsiteX0" fmla="*/ 29427 w 35998"/>
                      <a:gd name="connsiteY0" fmla="*/ 17394 h 17393"/>
                      <a:gd name="connsiteX1" fmla="*/ 28202 w 35998"/>
                      <a:gd name="connsiteY1" fmla="*/ 17290 h 17393"/>
                      <a:gd name="connsiteX2" fmla="*/ 5373 w 35998"/>
                      <a:gd name="connsiteY2" fmla="*/ 13042 h 17393"/>
                      <a:gd name="connsiteX3" fmla="*/ 109 w 35998"/>
                      <a:gd name="connsiteY3" fmla="*/ 5380 h 17393"/>
                      <a:gd name="connsiteX4" fmla="*/ 7796 w 35998"/>
                      <a:gd name="connsiteY4" fmla="*/ 116 h 17393"/>
                      <a:gd name="connsiteX5" fmla="*/ 30625 w 35998"/>
                      <a:gd name="connsiteY5" fmla="*/ 4363 h 17393"/>
                      <a:gd name="connsiteX6" fmla="*/ 35890 w 35998"/>
                      <a:gd name="connsiteY6" fmla="*/ 12025 h 17393"/>
                      <a:gd name="connsiteX7" fmla="*/ 29427 w 35998"/>
                      <a:gd name="connsiteY7" fmla="*/ 17394 h 1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98" h="17393">
                        <a:moveTo>
                          <a:pt x="29427" y="17394"/>
                        </a:moveTo>
                        <a:cubicBezTo>
                          <a:pt x="29036" y="17394"/>
                          <a:pt x="28619" y="17368"/>
                          <a:pt x="28202" y="17290"/>
                        </a:cubicBezTo>
                        <a:lnTo>
                          <a:pt x="5373" y="13042"/>
                        </a:lnTo>
                        <a:cubicBezTo>
                          <a:pt x="1802" y="12364"/>
                          <a:pt x="-543" y="8950"/>
                          <a:pt x="109" y="5380"/>
                        </a:cubicBezTo>
                        <a:cubicBezTo>
                          <a:pt x="786" y="1810"/>
                          <a:pt x="4148" y="-562"/>
                          <a:pt x="7796" y="116"/>
                        </a:cubicBezTo>
                        <a:lnTo>
                          <a:pt x="30625" y="4363"/>
                        </a:lnTo>
                        <a:cubicBezTo>
                          <a:pt x="34196" y="5041"/>
                          <a:pt x="36541" y="8455"/>
                          <a:pt x="35890" y="12025"/>
                        </a:cubicBezTo>
                        <a:cubicBezTo>
                          <a:pt x="35290" y="15179"/>
                          <a:pt x="32528" y="17394"/>
                          <a:pt x="29427" y="17394"/>
                        </a:cubicBezTo>
                        <a:close/>
                      </a:path>
                    </a:pathLst>
                  </a:custGeom>
                  <a:solidFill>
                    <a:schemeClr val="accent1"/>
                  </a:solidFill>
                  <a:ln w="2604" cap="flat">
                    <a:noFill/>
                    <a:prstDash val="solid"/>
                    <a:miter/>
                  </a:ln>
                </p:spPr>
                <p:txBody>
                  <a:bodyPr rtlCol="0" anchor="ctr"/>
                  <a:lstStyle/>
                  <a:p>
                    <a:endParaRPr lang="en-GB" dirty="0"/>
                  </a:p>
                </p:txBody>
              </p:sp>
              <p:sp>
                <p:nvSpPr>
                  <p:cNvPr id="136" name="Freihandform: Form 377">
                    <a:extLst>
                      <a:ext uri="{FF2B5EF4-FFF2-40B4-BE49-F238E27FC236}">
                        <a16:creationId xmlns:a16="http://schemas.microsoft.com/office/drawing/2014/main" id="{B7EC5185-8E41-49A7-BFF7-A97363FE04A2}"/>
                      </a:ext>
                    </a:extLst>
                  </p:cNvPr>
                  <p:cNvSpPr/>
                  <p:nvPr/>
                </p:nvSpPr>
                <p:spPr>
                  <a:xfrm>
                    <a:off x="3607927" y="2717267"/>
                    <a:ext cx="20499" cy="54852"/>
                  </a:xfrm>
                  <a:custGeom>
                    <a:avLst/>
                    <a:gdLst>
                      <a:gd name="connsiteX0" fmla="*/ 6588 w 20499"/>
                      <a:gd name="connsiteY0" fmla="*/ 54852 h 54852"/>
                      <a:gd name="connsiteX1" fmla="*/ 5441 w 20499"/>
                      <a:gd name="connsiteY1" fmla="*/ 54748 h 54852"/>
                      <a:gd name="connsiteX2" fmla="*/ 99 w 20499"/>
                      <a:gd name="connsiteY2" fmla="*/ 47139 h 54852"/>
                      <a:gd name="connsiteX3" fmla="*/ 7448 w 20499"/>
                      <a:gd name="connsiteY3" fmla="*/ 5442 h 54852"/>
                      <a:gd name="connsiteX4" fmla="*/ 15058 w 20499"/>
                      <a:gd name="connsiteY4" fmla="*/ 99 h 54852"/>
                      <a:gd name="connsiteX5" fmla="*/ 20400 w 20499"/>
                      <a:gd name="connsiteY5" fmla="*/ 7709 h 54852"/>
                      <a:gd name="connsiteX6" fmla="*/ 13051 w 20499"/>
                      <a:gd name="connsiteY6" fmla="*/ 49406 h 54852"/>
                      <a:gd name="connsiteX7" fmla="*/ 6588 w 20499"/>
                      <a:gd name="connsiteY7" fmla="*/ 54852 h 5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99" h="54852">
                        <a:moveTo>
                          <a:pt x="6588" y="54852"/>
                        </a:moveTo>
                        <a:cubicBezTo>
                          <a:pt x="6197" y="54852"/>
                          <a:pt x="5832" y="54826"/>
                          <a:pt x="5441" y="54748"/>
                        </a:cubicBezTo>
                        <a:cubicBezTo>
                          <a:pt x="1871" y="54123"/>
                          <a:pt x="-526" y="50709"/>
                          <a:pt x="99" y="47139"/>
                        </a:cubicBezTo>
                        <a:lnTo>
                          <a:pt x="7448" y="5442"/>
                        </a:lnTo>
                        <a:cubicBezTo>
                          <a:pt x="8074" y="1871"/>
                          <a:pt x="11488" y="-526"/>
                          <a:pt x="15058" y="99"/>
                        </a:cubicBezTo>
                        <a:cubicBezTo>
                          <a:pt x="18628" y="725"/>
                          <a:pt x="21026" y="4139"/>
                          <a:pt x="20400" y="7709"/>
                        </a:cubicBezTo>
                        <a:lnTo>
                          <a:pt x="13051" y="49406"/>
                        </a:lnTo>
                        <a:cubicBezTo>
                          <a:pt x="12504" y="52611"/>
                          <a:pt x="9741" y="54852"/>
                          <a:pt x="6588" y="54852"/>
                        </a:cubicBezTo>
                        <a:close/>
                      </a:path>
                    </a:pathLst>
                  </a:custGeom>
                  <a:solidFill>
                    <a:schemeClr val="accent1"/>
                  </a:solidFill>
                  <a:ln w="2604" cap="flat">
                    <a:noFill/>
                    <a:prstDash val="solid"/>
                    <a:miter/>
                  </a:ln>
                </p:spPr>
                <p:txBody>
                  <a:bodyPr rtlCol="0" anchor="ctr"/>
                  <a:lstStyle/>
                  <a:p>
                    <a:endParaRPr lang="en-GB" dirty="0"/>
                  </a:p>
                </p:txBody>
              </p:sp>
            </p:grpSp>
          </p:grpSp>
        </p:grpSp>
      </p:grpSp>
      <p:grpSp>
        <p:nvGrpSpPr>
          <p:cNvPr id="688" name="Group 687">
            <a:extLst>
              <a:ext uri="{FF2B5EF4-FFF2-40B4-BE49-F238E27FC236}">
                <a16:creationId xmlns:a16="http://schemas.microsoft.com/office/drawing/2014/main" id="{11393907-080E-4CBB-A33E-3D7937D4D0D7}"/>
              </a:ext>
            </a:extLst>
          </p:cNvPr>
          <p:cNvGrpSpPr/>
          <p:nvPr/>
        </p:nvGrpSpPr>
        <p:grpSpPr>
          <a:xfrm>
            <a:off x="3678188" y="2391526"/>
            <a:ext cx="558328" cy="432000"/>
            <a:chOff x="3678188" y="2391526"/>
            <a:chExt cx="558328" cy="432000"/>
          </a:xfrm>
        </p:grpSpPr>
        <p:grpSp>
          <p:nvGrpSpPr>
            <p:cNvPr id="161" name="Group 160">
              <a:extLst>
                <a:ext uri="{FF2B5EF4-FFF2-40B4-BE49-F238E27FC236}">
                  <a16:creationId xmlns:a16="http://schemas.microsoft.com/office/drawing/2014/main" id="{D0050D68-94B4-4921-9303-B1F5A35C84F3}"/>
                </a:ext>
              </a:extLst>
            </p:cNvPr>
            <p:cNvGrpSpPr/>
            <p:nvPr/>
          </p:nvGrpSpPr>
          <p:grpSpPr>
            <a:xfrm>
              <a:off x="3678188" y="2517806"/>
              <a:ext cx="332313" cy="279153"/>
              <a:chOff x="1688326" y="3422722"/>
              <a:chExt cx="328910" cy="276294"/>
            </a:xfrm>
          </p:grpSpPr>
          <p:sp>
            <p:nvSpPr>
              <p:cNvPr id="168" name="Freihandform: Form 399">
                <a:extLst>
                  <a:ext uri="{FF2B5EF4-FFF2-40B4-BE49-F238E27FC236}">
                    <a16:creationId xmlns:a16="http://schemas.microsoft.com/office/drawing/2014/main" id="{2C0C75CC-731E-49F3-86AA-4224C312F8A2}"/>
                  </a:ext>
                </a:extLst>
              </p:cNvPr>
              <p:cNvSpPr/>
              <p:nvPr/>
            </p:nvSpPr>
            <p:spPr>
              <a:xfrm>
                <a:off x="1694912" y="3422722"/>
                <a:ext cx="315763" cy="157874"/>
              </a:xfrm>
              <a:custGeom>
                <a:avLst/>
                <a:gdLst>
                  <a:gd name="connsiteX0" fmla="*/ 309164 w 315763"/>
                  <a:gd name="connsiteY0" fmla="*/ 157875 h 157874"/>
                  <a:gd name="connsiteX1" fmla="*/ 6574 w 315763"/>
                  <a:gd name="connsiteY1" fmla="*/ 157875 h 157874"/>
                  <a:gd name="connsiteX2" fmla="*/ 1440 w 315763"/>
                  <a:gd name="connsiteY2" fmla="*/ 155399 h 157874"/>
                  <a:gd name="connsiteX3" fmla="*/ 163 w 315763"/>
                  <a:gd name="connsiteY3" fmla="*/ 149848 h 157874"/>
                  <a:gd name="connsiteX4" fmla="*/ 33052 w 315763"/>
                  <a:gd name="connsiteY4" fmla="*/ 5108 h 157874"/>
                  <a:gd name="connsiteX5" fmla="*/ 39463 w 315763"/>
                  <a:gd name="connsiteY5" fmla="*/ 0 h 157874"/>
                  <a:gd name="connsiteX6" fmla="*/ 276301 w 315763"/>
                  <a:gd name="connsiteY6" fmla="*/ 0 h 157874"/>
                  <a:gd name="connsiteX7" fmla="*/ 282712 w 315763"/>
                  <a:gd name="connsiteY7" fmla="*/ 5108 h 157874"/>
                  <a:gd name="connsiteX8" fmla="*/ 315600 w 315763"/>
                  <a:gd name="connsiteY8" fmla="*/ 149848 h 157874"/>
                  <a:gd name="connsiteX9" fmla="*/ 314324 w 315763"/>
                  <a:gd name="connsiteY9" fmla="*/ 155399 h 157874"/>
                  <a:gd name="connsiteX10" fmla="*/ 309164 w 315763"/>
                  <a:gd name="connsiteY10" fmla="*/ 157875 h 157874"/>
                  <a:gd name="connsiteX11" fmla="*/ 14809 w 315763"/>
                  <a:gd name="connsiteY11" fmla="*/ 144714 h 157874"/>
                  <a:gd name="connsiteX12" fmla="*/ 300928 w 315763"/>
                  <a:gd name="connsiteY12" fmla="*/ 144714 h 157874"/>
                  <a:gd name="connsiteX13" fmla="*/ 271037 w 315763"/>
                  <a:gd name="connsiteY13" fmla="*/ 13134 h 157874"/>
                  <a:gd name="connsiteX14" fmla="*/ 44701 w 315763"/>
                  <a:gd name="connsiteY14" fmla="*/ 13134 h 157874"/>
                  <a:gd name="connsiteX15" fmla="*/ 14809 w 315763"/>
                  <a:gd name="connsiteY15" fmla="*/ 144714 h 157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15763" h="157874">
                    <a:moveTo>
                      <a:pt x="309164" y="157875"/>
                    </a:moveTo>
                    <a:lnTo>
                      <a:pt x="6574" y="157875"/>
                    </a:lnTo>
                    <a:cubicBezTo>
                      <a:pt x="4568" y="157875"/>
                      <a:pt x="2691" y="156963"/>
                      <a:pt x="1440" y="155399"/>
                    </a:cubicBezTo>
                    <a:cubicBezTo>
                      <a:pt x="189" y="153835"/>
                      <a:pt x="-280" y="151777"/>
                      <a:pt x="163" y="149848"/>
                    </a:cubicBezTo>
                    <a:lnTo>
                      <a:pt x="33052" y="5108"/>
                    </a:lnTo>
                    <a:cubicBezTo>
                      <a:pt x="33729" y="2111"/>
                      <a:pt x="36388" y="0"/>
                      <a:pt x="39463" y="0"/>
                    </a:cubicBezTo>
                    <a:lnTo>
                      <a:pt x="276301" y="0"/>
                    </a:lnTo>
                    <a:cubicBezTo>
                      <a:pt x="279376" y="0"/>
                      <a:pt x="282035" y="2137"/>
                      <a:pt x="282712" y="5108"/>
                    </a:cubicBezTo>
                    <a:lnTo>
                      <a:pt x="315600" y="149848"/>
                    </a:lnTo>
                    <a:cubicBezTo>
                      <a:pt x="316044" y="151803"/>
                      <a:pt x="315574" y="153835"/>
                      <a:pt x="314324" y="155399"/>
                    </a:cubicBezTo>
                    <a:cubicBezTo>
                      <a:pt x="313073" y="156963"/>
                      <a:pt x="311170" y="157875"/>
                      <a:pt x="309164" y="157875"/>
                    </a:cubicBezTo>
                    <a:close/>
                    <a:moveTo>
                      <a:pt x="14809" y="144714"/>
                    </a:moveTo>
                    <a:lnTo>
                      <a:pt x="300928" y="144714"/>
                    </a:lnTo>
                    <a:lnTo>
                      <a:pt x="271037" y="13134"/>
                    </a:lnTo>
                    <a:lnTo>
                      <a:pt x="44701" y="13134"/>
                    </a:lnTo>
                    <a:lnTo>
                      <a:pt x="14809" y="144714"/>
                    </a:lnTo>
                    <a:close/>
                  </a:path>
                </a:pathLst>
              </a:custGeom>
              <a:solidFill>
                <a:schemeClr val="tx2"/>
              </a:solidFill>
              <a:ln w="2604" cap="flat">
                <a:noFill/>
                <a:prstDash val="solid"/>
                <a:miter/>
              </a:ln>
            </p:spPr>
            <p:txBody>
              <a:bodyPr rtlCol="0" anchor="ctr"/>
              <a:lstStyle/>
              <a:p>
                <a:endParaRPr lang="en-GB" dirty="0"/>
              </a:p>
            </p:txBody>
          </p:sp>
          <p:sp>
            <p:nvSpPr>
              <p:cNvPr id="169" name="Freihandform: Form 400">
                <a:extLst>
                  <a:ext uri="{FF2B5EF4-FFF2-40B4-BE49-F238E27FC236}">
                    <a16:creationId xmlns:a16="http://schemas.microsoft.com/office/drawing/2014/main" id="{2E3E608C-7DAC-4274-9BAA-908C0E702327}"/>
                  </a:ext>
                </a:extLst>
              </p:cNvPr>
              <p:cNvSpPr/>
              <p:nvPr/>
            </p:nvSpPr>
            <p:spPr>
              <a:xfrm>
                <a:off x="1737750" y="3455610"/>
                <a:ext cx="101857" cy="92097"/>
              </a:xfrm>
              <a:custGeom>
                <a:avLst/>
                <a:gdLst>
                  <a:gd name="connsiteX0" fmla="*/ 79680 w 101857"/>
                  <a:gd name="connsiteY0" fmla="*/ 92098 h 92097"/>
                  <a:gd name="connsiteX1" fmla="*/ 22217 w 101857"/>
                  <a:gd name="connsiteY1" fmla="*/ 92098 h 92097"/>
                  <a:gd name="connsiteX2" fmla="*/ 5043 w 101857"/>
                  <a:gd name="connsiteY2" fmla="*/ 83993 h 92097"/>
                  <a:gd name="connsiteX3" fmla="*/ 430 w 101857"/>
                  <a:gd name="connsiteY3" fmla="*/ 65594 h 92097"/>
                  <a:gd name="connsiteX4" fmla="*/ 9864 w 101857"/>
                  <a:gd name="connsiteY4" fmla="*/ 17904 h 92097"/>
                  <a:gd name="connsiteX5" fmla="*/ 31650 w 101857"/>
                  <a:gd name="connsiteY5" fmla="*/ 0 h 92097"/>
                  <a:gd name="connsiteX6" fmla="*/ 79654 w 101857"/>
                  <a:gd name="connsiteY6" fmla="*/ 0 h 92097"/>
                  <a:gd name="connsiteX7" fmla="*/ 101858 w 101857"/>
                  <a:gd name="connsiteY7" fmla="*/ 22204 h 92097"/>
                  <a:gd name="connsiteX8" fmla="*/ 101858 w 101857"/>
                  <a:gd name="connsiteY8" fmla="*/ 69894 h 92097"/>
                  <a:gd name="connsiteX9" fmla="*/ 79680 w 101857"/>
                  <a:gd name="connsiteY9" fmla="*/ 92098 h 92097"/>
                  <a:gd name="connsiteX10" fmla="*/ 31650 w 101857"/>
                  <a:gd name="connsiteY10" fmla="*/ 13134 h 92097"/>
                  <a:gd name="connsiteX11" fmla="*/ 22764 w 101857"/>
                  <a:gd name="connsiteY11" fmla="*/ 20431 h 92097"/>
                  <a:gd name="connsiteX12" fmla="*/ 13330 w 101857"/>
                  <a:gd name="connsiteY12" fmla="*/ 68122 h 92097"/>
                  <a:gd name="connsiteX13" fmla="*/ 15206 w 101857"/>
                  <a:gd name="connsiteY13" fmla="*/ 75602 h 92097"/>
                  <a:gd name="connsiteX14" fmla="*/ 22190 w 101857"/>
                  <a:gd name="connsiteY14" fmla="*/ 78911 h 92097"/>
                  <a:gd name="connsiteX15" fmla="*/ 79654 w 101857"/>
                  <a:gd name="connsiteY15" fmla="*/ 78911 h 92097"/>
                  <a:gd name="connsiteX16" fmla="*/ 88697 w 101857"/>
                  <a:gd name="connsiteY16" fmla="*/ 69868 h 92097"/>
                  <a:gd name="connsiteX17" fmla="*/ 88697 w 101857"/>
                  <a:gd name="connsiteY17" fmla="*/ 22178 h 92097"/>
                  <a:gd name="connsiteX18" fmla="*/ 79654 w 101857"/>
                  <a:gd name="connsiteY18" fmla="*/ 13134 h 92097"/>
                  <a:gd name="connsiteX19" fmla="*/ 31650 w 101857"/>
                  <a:gd name="connsiteY19" fmla="*/ 13134 h 9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857" h="92097">
                    <a:moveTo>
                      <a:pt x="79680" y="92098"/>
                    </a:moveTo>
                    <a:lnTo>
                      <a:pt x="22217" y="92098"/>
                    </a:lnTo>
                    <a:cubicBezTo>
                      <a:pt x="15545" y="92098"/>
                      <a:pt x="9290" y="89153"/>
                      <a:pt x="5043" y="83993"/>
                    </a:cubicBezTo>
                    <a:cubicBezTo>
                      <a:pt x="821" y="78833"/>
                      <a:pt x="-873" y="72136"/>
                      <a:pt x="430" y="65594"/>
                    </a:cubicBezTo>
                    <a:lnTo>
                      <a:pt x="9864" y="17904"/>
                    </a:lnTo>
                    <a:cubicBezTo>
                      <a:pt x="11923" y="7531"/>
                      <a:pt x="21070" y="0"/>
                      <a:pt x="31650" y="0"/>
                    </a:cubicBezTo>
                    <a:lnTo>
                      <a:pt x="79654" y="0"/>
                    </a:lnTo>
                    <a:cubicBezTo>
                      <a:pt x="91902" y="0"/>
                      <a:pt x="101858" y="9955"/>
                      <a:pt x="101858" y="22204"/>
                    </a:cubicBezTo>
                    <a:lnTo>
                      <a:pt x="101858" y="69894"/>
                    </a:lnTo>
                    <a:cubicBezTo>
                      <a:pt x="101884" y="82143"/>
                      <a:pt x="91902" y="92098"/>
                      <a:pt x="79680" y="92098"/>
                    </a:cubicBezTo>
                    <a:close/>
                    <a:moveTo>
                      <a:pt x="31650" y="13134"/>
                    </a:moveTo>
                    <a:cubicBezTo>
                      <a:pt x="27350" y="13134"/>
                      <a:pt x="23598" y="16210"/>
                      <a:pt x="22764" y="20431"/>
                    </a:cubicBezTo>
                    <a:lnTo>
                      <a:pt x="13330" y="68122"/>
                    </a:lnTo>
                    <a:cubicBezTo>
                      <a:pt x="12809" y="70780"/>
                      <a:pt x="13486" y="73517"/>
                      <a:pt x="15206" y="75602"/>
                    </a:cubicBezTo>
                    <a:cubicBezTo>
                      <a:pt x="16926" y="77713"/>
                      <a:pt x="19480" y="78911"/>
                      <a:pt x="22190" y="78911"/>
                    </a:cubicBezTo>
                    <a:lnTo>
                      <a:pt x="79654" y="78911"/>
                    </a:lnTo>
                    <a:cubicBezTo>
                      <a:pt x="84632" y="78911"/>
                      <a:pt x="88697" y="74846"/>
                      <a:pt x="88697" y="69868"/>
                    </a:cubicBezTo>
                    <a:lnTo>
                      <a:pt x="88697" y="22178"/>
                    </a:lnTo>
                    <a:cubicBezTo>
                      <a:pt x="88697" y="17200"/>
                      <a:pt x="84632" y="13134"/>
                      <a:pt x="79654" y="13134"/>
                    </a:cubicBezTo>
                    <a:lnTo>
                      <a:pt x="31650" y="13134"/>
                    </a:lnTo>
                    <a:close/>
                  </a:path>
                </a:pathLst>
              </a:custGeom>
              <a:solidFill>
                <a:schemeClr val="tx2"/>
              </a:solidFill>
              <a:ln w="2604" cap="flat">
                <a:noFill/>
                <a:prstDash val="solid"/>
                <a:miter/>
              </a:ln>
            </p:spPr>
            <p:txBody>
              <a:bodyPr rtlCol="0" anchor="ctr"/>
              <a:lstStyle/>
              <a:p>
                <a:endParaRPr lang="en-GB" dirty="0"/>
              </a:p>
            </p:txBody>
          </p:sp>
          <p:sp>
            <p:nvSpPr>
              <p:cNvPr id="170" name="Freihandform: Form 401">
                <a:extLst>
                  <a:ext uri="{FF2B5EF4-FFF2-40B4-BE49-F238E27FC236}">
                    <a16:creationId xmlns:a16="http://schemas.microsoft.com/office/drawing/2014/main" id="{8162E68F-32DB-467D-81DD-03CC76E340E9}"/>
                  </a:ext>
                </a:extLst>
              </p:cNvPr>
              <p:cNvSpPr/>
              <p:nvPr/>
            </p:nvSpPr>
            <p:spPr>
              <a:xfrm>
                <a:off x="1865928" y="3455610"/>
                <a:ext cx="101857" cy="92097"/>
              </a:xfrm>
              <a:custGeom>
                <a:avLst/>
                <a:gdLst>
                  <a:gd name="connsiteX0" fmla="*/ 79667 w 101857"/>
                  <a:gd name="connsiteY0" fmla="*/ 92098 h 92097"/>
                  <a:gd name="connsiteX1" fmla="*/ 22204 w 101857"/>
                  <a:gd name="connsiteY1" fmla="*/ 92098 h 92097"/>
                  <a:gd name="connsiteX2" fmla="*/ 0 w 101857"/>
                  <a:gd name="connsiteY2" fmla="*/ 69894 h 92097"/>
                  <a:gd name="connsiteX3" fmla="*/ 0 w 101857"/>
                  <a:gd name="connsiteY3" fmla="*/ 22204 h 92097"/>
                  <a:gd name="connsiteX4" fmla="*/ 22204 w 101857"/>
                  <a:gd name="connsiteY4" fmla="*/ 0 h 92097"/>
                  <a:gd name="connsiteX5" fmla="*/ 70207 w 101857"/>
                  <a:gd name="connsiteY5" fmla="*/ 0 h 92097"/>
                  <a:gd name="connsiteX6" fmla="*/ 91994 w 101857"/>
                  <a:gd name="connsiteY6" fmla="*/ 17904 h 92097"/>
                  <a:gd name="connsiteX7" fmla="*/ 101428 w 101857"/>
                  <a:gd name="connsiteY7" fmla="*/ 65594 h 92097"/>
                  <a:gd name="connsiteX8" fmla="*/ 96815 w 101857"/>
                  <a:gd name="connsiteY8" fmla="*/ 83993 h 92097"/>
                  <a:gd name="connsiteX9" fmla="*/ 79667 w 101857"/>
                  <a:gd name="connsiteY9" fmla="*/ 92098 h 92097"/>
                  <a:gd name="connsiteX10" fmla="*/ 22204 w 101857"/>
                  <a:gd name="connsiteY10" fmla="*/ 13134 h 92097"/>
                  <a:gd name="connsiteX11" fmla="*/ 13161 w 101857"/>
                  <a:gd name="connsiteY11" fmla="*/ 22178 h 92097"/>
                  <a:gd name="connsiteX12" fmla="*/ 13161 w 101857"/>
                  <a:gd name="connsiteY12" fmla="*/ 69868 h 92097"/>
                  <a:gd name="connsiteX13" fmla="*/ 22204 w 101857"/>
                  <a:gd name="connsiteY13" fmla="*/ 78911 h 92097"/>
                  <a:gd name="connsiteX14" fmla="*/ 79667 w 101857"/>
                  <a:gd name="connsiteY14" fmla="*/ 78911 h 92097"/>
                  <a:gd name="connsiteX15" fmla="*/ 86651 w 101857"/>
                  <a:gd name="connsiteY15" fmla="*/ 75602 h 92097"/>
                  <a:gd name="connsiteX16" fmla="*/ 88528 w 101857"/>
                  <a:gd name="connsiteY16" fmla="*/ 68122 h 92097"/>
                  <a:gd name="connsiteX17" fmla="*/ 79094 w 101857"/>
                  <a:gd name="connsiteY17" fmla="*/ 20431 h 92097"/>
                  <a:gd name="connsiteX18" fmla="*/ 70207 w 101857"/>
                  <a:gd name="connsiteY18" fmla="*/ 13134 h 92097"/>
                  <a:gd name="connsiteX19" fmla="*/ 22204 w 101857"/>
                  <a:gd name="connsiteY19" fmla="*/ 13134 h 9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857" h="92097">
                    <a:moveTo>
                      <a:pt x="79667" y="92098"/>
                    </a:moveTo>
                    <a:lnTo>
                      <a:pt x="22204" y="92098"/>
                    </a:lnTo>
                    <a:cubicBezTo>
                      <a:pt x="9955" y="92098"/>
                      <a:pt x="0" y="82143"/>
                      <a:pt x="0" y="69894"/>
                    </a:cubicBezTo>
                    <a:lnTo>
                      <a:pt x="0" y="22204"/>
                    </a:lnTo>
                    <a:cubicBezTo>
                      <a:pt x="0" y="9955"/>
                      <a:pt x="9955" y="0"/>
                      <a:pt x="22204" y="0"/>
                    </a:cubicBezTo>
                    <a:lnTo>
                      <a:pt x="70207" y="0"/>
                    </a:lnTo>
                    <a:cubicBezTo>
                      <a:pt x="80788" y="0"/>
                      <a:pt x="89935" y="7531"/>
                      <a:pt x="91994" y="17904"/>
                    </a:cubicBezTo>
                    <a:lnTo>
                      <a:pt x="101428" y="65594"/>
                    </a:lnTo>
                    <a:cubicBezTo>
                      <a:pt x="102731" y="72136"/>
                      <a:pt x="101037" y="78833"/>
                      <a:pt x="96815" y="83993"/>
                    </a:cubicBezTo>
                    <a:cubicBezTo>
                      <a:pt x="92593" y="89127"/>
                      <a:pt x="86339" y="92098"/>
                      <a:pt x="79667" y="92098"/>
                    </a:cubicBezTo>
                    <a:close/>
                    <a:moveTo>
                      <a:pt x="22204" y="13134"/>
                    </a:moveTo>
                    <a:cubicBezTo>
                      <a:pt x="17226" y="13134"/>
                      <a:pt x="13161" y="17200"/>
                      <a:pt x="13161" y="22178"/>
                    </a:cubicBezTo>
                    <a:lnTo>
                      <a:pt x="13161" y="69868"/>
                    </a:lnTo>
                    <a:cubicBezTo>
                      <a:pt x="13161" y="74846"/>
                      <a:pt x="17226" y="78911"/>
                      <a:pt x="22204" y="78911"/>
                    </a:cubicBezTo>
                    <a:lnTo>
                      <a:pt x="79667" y="78911"/>
                    </a:lnTo>
                    <a:cubicBezTo>
                      <a:pt x="82377" y="78911"/>
                      <a:pt x="84931" y="77713"/>
                      <a:pt x="86651" y="75602"/>
                    </a:cubicBezTo>
                    <a:cubicBezTo>
                      <a:pt x="88371" y="73517"/>
                      <a:pt x="89049" y="70780"/>
                      <a:pt x="88528" y="68122"/>
                    </a:cubicBezTo>
                    <a:lnTo>
                      <a:pt x="79094" y="20431"/>
                    </a:lnTo>
                    <a:cubicBezTo>
                      <a:pt x="78260" y="16210"/>
                      <a:pt x="74533" y="13134"/>
                      <a:pt x="70207" y="13134"/>
                    </a:cubicBezTo>
                    <a:lnTo>
                      <a:pt x="22204" y="13134"/>
                    </a:lnTo>
                    <a:close/>
                  </a:path>
                </a:pathLst>
              </a:custGeom>
              <a:solidFill>
                <a:schemeClr val="tx2"/>
              </a:solidFill>
              <a:ln w="2604" cap="flat">
                <a:noFill/>
                <a:prstDash val="solid"/>
                <a:miter/>
              </a:ln>
            </p:spPr>
            <p:txBody>
              <a:bodyPr rtlCol="0" anchor="ctr"/>
              <a:lstStyle/>
              <a:p>
                <a:endParaRPr lang="en-GB" dirty="0"/>
              </a:p>
            </p:txBody>
          </p:sp>
          <p:sp>
            <p:nvSpPr>
              <p:cNvPr id="171" name="Freihandform: Form 402">
                <a:extLst>
                  <a:ext uri="{FF2B5EF4-FFF2-40B4-BE49-F238E27FC236}">
                    <a16:creationId xmlns:a16="http://schemas.microsoft.com/office/drawing/2014/main" id="{E550AF66-57E8-4733-9B81-A2815CC22EF0}"/>
                  </a:ext>
                </a:extLst>
              </p:cNvPr>
              <p:cNvSpPr/>
              <p:nvPr/>
            </p:nvSpPr>
            <p:spPr>
              <a:xfrm>
                <a:off x="1747535" y="3495092"/>
                <a:ext cx="92071" cy="13134"/>
              </a:xfrm>
              <a:custGeom>
                <a:avLst/>
                <a:gdLst>
                  <a:gd name="connsiteX0" fmla="*/ 85505 w 92071"/>
                  <a:gd name="connsiteY0" fmla="*/ 13135 h 13134"/>
                  <a:gd name="connsiteX1" fmla="*/ 6567 w 92071"/>
                  <a:gd name="connsiteY1" fmla="*/ 13135 h 13134"/>
                  <a:gd name="connsiteX2" fmla="*/ 0 w 92071"/>
                  <a:gd name="connsiteY2" fmla="*/ 6567 h 13134"/>
                  <a:gd name="connsiteX3" fmla="*/ 6567 w 92071"/>
                  <a:gd name="connsiteY3" fmla="*/ 0 h 13134"/>
                  <a:gd name="connsiteX4" fmla="*/ 85505 w 92071"/>
                  <a:gd name="connsiteY4" fmla="*/ 0 h 13134"/>
                  <a:gd name="connsiteX5" fmla="*/ 92072 w 92071"/>
                  <a:gd name="connsiteY5" fmla="*/ 6567 h 13134"/>
                  <a:gd name="connsiteX6" fmla="*/ 85505 w 92071"/>
                  <a:gd name="connsiteY6" fmla="*/ 13135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071" h="13134">
                    <a:moveTo>
                      <a:pt x="85505" y="13135"/>
                    </a:moveTo>
                    <a:lnTo>
                      <a:pt x="6567" y="13135"/>
                    </a:lnTo>
                    <a:cubicBezTo>
                      <a:pt x="2945" y="13135"/>
                      <a:pt x="0" y="10190"/>
                      <a:pt x="0" y="6567"/>
                    </a:cubicBezTo>
                    <a:cubicBezTo>
                      <a:pt x="0" y="2945"/>
                      <a:pt x="2945" y="0"/>
                      <a:pt x="6567" y="0"/>
                    </a:cubicBezTo>
                    <a:lnTo>
                      <a:pt x="85505" y="0"/>
                    </a:lnTo>
                    <a:cubicBezTo>
                      <a:pt x="89127" y="0"/>
                      <a:pt x="92072" y="2945"/>
                      <a:pt x="92072" y="6567"/>
                    </a:cubicBezTo>
                    <a:cubicBezTo>
                      <a:pt x="92072" y="10190"/>
                      <a:pt x="89153" y="13135"/>
                      <a:pt x="85505" y="13135"/>
                    </a:cubicBezTo>
                    <a:close/>
                  </a:path>
                </a:pathLst>
              </a:custGeom>
              <a:solidFill>
                <a:schemeClr val="tx2"/>
              </a:solidFill>
              <a:ln w="2604" cap="flat">
                <a:noFill/>
                <a:prstDash val="solid"/>
                <a:miter/>
              </a:ln>
            </p:spPr>
            <p:txBody>
              <a:bodyPr rtlCol="0" anchor="ctr"/>
              <a:lstStyle/>
              <a:p>
                <a:endParaRPr lang="en-GB" dirty="0"/>
              </a:p>
            </p:txBody>
          </p:sp>
          <p:sp>
            <p:nvSpPr>
              <p:cNvPr id="172" name="Freihandform: Form 403">
                <a:extLst>
                  <a:ext uri="{FF2B5EF4-FFF2-40B4-BE49-F238E27FC236}">
                    <a16:creationId xmlns:a16="http://schemas.microsoft.com/office/drawing/2014/main" id="{EA5A19E1-6543-411A-AE6F-BD5A48F25D28}"/>
                  </a:ext>
                </a:extLst>
              </p:cNvPr>
              <p:cNvSpPr/>
              <p:nvPr/>
            </p:nvSpPr>
            <p:spPr>
              <a:xfrm>
                <a:off x="1865954" y="3495092"/>
                <a:ext cx="92072" cy="13134"/>
              </a:xfrm>
              <a:custGeom>
                <a:avLst/>
                <a:gdLst>
                  <a:gd name="connsiteX0" fmla="*/ 85505 w 92072"/>
                  <a:gd name="connsiteY0" fmla="*/ 13135 h 13134"/>
                  <a:gd name="connsiteX1" fmla="*/ 6567 w 92072"/>
                  <a:gd name="connsiteY1" fmla="*/ 13135 h 13134"/>
                  <a:gd name="connsiteX2" fmla="*/ 0 w 92072"/>
                  <a:gd name="connsiteY2" fmla="*/ 6567 h 13134"/>
                  <a:gd name="connsiteX3" fmla="*/ 6567 w 92072"/>
                  <a:gd name="connsiteY3" fmla="*/ 0 h 13134"/>
                  <a:gd name="connsiteX4" fmla="*/ 85505 w 92072"/>
                  <a:gd name="connsiteY4" fmla="*/ 0 h 13134"/>
                  <a:gd name="connsiteX5" fmla="*/ 92072 w 92072"/>
                  <a:gd name="connsiteY5" fmla="*/ 6567 h 13134"/>
                  <a:gd name="connsiteX6" fmla="*/ 85505 w 92072"/>
                  <a:gd name="connsiteY6" fmla="*/ 13135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072" h="13134">
                    <a:moveTo>
                      <a:pt x="85505" y="13135"/>
                    </a:moveTo>
                    <a:lnTo>
                      <a:pt x="6567" y="13135"/>
                    </a:lnTo>
                    <a:cubicBezTo>
                      <a:pt x="2945" y="13135"/>
                      <a:pt x="0" y="10190"/>
                      <a:pt x="0" y="6567"/>
                    </a:cubicBezTo>
                    <a:cubicBezTo>
                      <a:pt x="0" y="2945"/>
                      <a:pt x="2945" y="0"/>
                      <a:pt x="6567" y="0"/>
                    </a:cubicBezTo>
                    <a:lnTo>
                      <a:pt x="85505" y="0"/>
                    </a:lnTo>
                    <a:cubicBezTo>
                      <a:pt x="89127" y="0"/>
                      <a:pt x="92072" y="2945"/>
                      <a:pt x="92072" y="6567"/>
                    </a:cubicBezTo>
                    <a:cubicBezTo>
                      <a:pt x="92072" y="10190"/>
                      <a:pt x="89127" y="13135"/>
                      <a:pt x="85505" y="13135"/>
                    </a:cubicBezTo>
                    <a:close/>
                  </a:path>
                </a:pathLst>
              </a:custGeom>
              <a:solidFill>
                <a:schemeClr val="tx2"/>
              </a:solidFill>
              <a:ln w="2604" cap="flat">
                <a:noFill/>
                <a:prstDash val="solid"/>
                <a:miter/>
              </a:ln>
            </p:spPr>
            <p:txBody>
              <a:bodyPr rtlCol="0" anchor="ctr"/>
              <a:lstStyle/>
              <a:p>
                <a:endParaRPr lang="en-GB" dirty="0"/>
              </a:p>
            </p:txBody>
          </p:sp>
          <p:sp>
            <p:nvSpPr>
              <p:cNvPr id="173" name="Freihandform: Form 404">
                <a:extLst>
                  <a:ext uri="{FF2B5EF4-FFF2-40B4-BE49-F238E27FC236}">
                    <a16:creationId xmlns:a16="http://schemas.microsoft.com/office/drawing/2014/main" id="{CB31A04E-2DB0-4D05-BA82-88696B8CCE1A}"/>
                  </a:ext>
                </a:extLst>
              </p:cNvPr>
              <p:cNvSpPr/>
              <p:nvPr/>
            </p:nvSpPr>
            <p:spPr>
              <a:xfrm rot="16485676">
                <a:off x="1750583" y="3495119"/>
                <a:ext cx="79220" cy="13159"/>
              </a:xfrm>
              <a:custGeom>
                <a:avLst/>
                <a:gdLst>
                  <a:gd name="connsiteX0" fmla="*/ 0 w 79220"/>
                  <a:gd name="connsiteY0" fmla="*/ 0 h 13159"/>
                  <a:gd name="connsiteX1" fmla="*/ 79220 w 79220"/>
                  <a:gd name="connsiteY1" fmla="*/ 0 h 13159"/>
                  <a:gd name="connsiteX2" fmla="*/ 79220 w 79220"/>
                  <a:gd name="connsiteY2" fmla="*/ 13160 h 13159"/>
                  <a:gd name="connsiteX3" fmla="*/ 0 w 79220"/>
                  <a:gd name="connsiteY3" fmla="*/ 13160 h 13159"/>
                </a:gdLst>
                <a:ahLst/>
                <a:cxnLst>
                  <a:cxn ang="0">
                    <a:pos x="connsiteX0" y="connsiteY0"/>
                  </a:cxn>
                  <a:cxn ang="0">
                    <a:pos x="connsiteX1" y="connsiteY1"/>
                  </a:cxn>
                  <a:cxn ang="0">
                    <a:pos x="connsiteX2" y="connsiteY2"/>
                  </a:cxn>
                  <a:cxn ang="0">
                    <a:pos x="connsiteX3" y="connsiteY3"/>
                  </a:cxn>
                </a:cxnLst>
                <a:rect l="l" t="t" r="r" b="b"/>
                <a:pathLst>
                  <a:path w="79220" h="13159">
                    <a:moveTo>
                      <a:pt x="0" y="0"/>
                    </a:moveTo>
                    <a:lnTo>
                      <a:pt x="79220" y="0"/>
                    </a:lnTo>
                    <a:lnTo>
                      <a:pt x="79220" y="13160"/>
                    </a:lnTo>
                    <a:lnTo>
                      <a:pt x="0" y="13160"/>
                    </a:lnTo>
                    <a:close/>
                  </a:path>
                </a:pathLst>
              </a:custGeom>
              <a:solidFill>
                <a:schemeClr val="tx2"/>
              </a:solidFill>
              <a:ln w="2604" cap="flat">
                <a:noFill/>
                <a:prstDash val="solid"/>
                <a:miter/>
              </a:ln>
            </p:spPr>
            <p:txBody>
              <a:bodyPr rtlCol="0" anchor="ctr"/>
              <a:lstStyle/>
              <a:p>
                <a:endParaRPr lang="en-GB" dirty="0"/>
              </a:p>
            </p:txBody>
          </p:sp>
          <p:sp>
            <p:nvSpPr>
              <p:cNvPr id="174" name="Freihandform: Form 405">
                <a:extLst>
                  <a:ext uri="{FF2B5EF4-FFF2-40B4-BE49-F238E27FC236}">
                    <a16:creationId xmlns:a16="http://schemas.microsoft.com/office/drawing/2014/main" id="{CE380640-7448-4D45-93AD-16F8849737E6}"/>
                  </a:ext>
                </a:extLst>
              </p:cNvPr>
              <p:cNvSpPr/>
              <p:nvPr/>
            </p:nvSpPr>
            <p:spPr>
              <a:xfrm rot="21314324">
                <a:off x="1908559" y="3462014"/>
                <a:ext cx="13159" cy="79220"/>
              </a:xfrm>
              <a:custGeom>
                <a:avLst/>
                <a:gdLst>
                  <a:gd name="connsiteX0" fmla="*/ 0 w 13159"/>
                  <a:gd name="connsiteY0" fmla="*/ 0 h 79220"/>
                  <a:gd name="connsiteX1" fmla="*/ 13160 w 13159"/>
                  <a:gd name="connsiteY1" fmla="*/ 0 h 79220"/>
                  <a:gd name="connsiteX2" fmla="*/ 13160 w 13159"/>
                  <a:gd name="connsiteY2" fmla="*/ 79220 h 79220"/>
                  <a:gd name="connsiteX3" fmla="*/ 0 w 13159"/>
                  <a:gd name="connsiteY3" fmla="*/ 79220 h 79220"/>
                </a:gdLst>
                <a:ahLst/>
                <a:cxnLst>
                  <a:cxn ang="0">
                    <a:pos x="connsiteX0" y="connsiteY0"/>
                  </a:cxn>
                  <a:cxn ang="0">
                    <a:pos x="connsiteX1" y="connsiteY1"/>
                  </a:cxn>
                  <a:cxn ang="0">
                    <a:pos x="connsiteX2" y="connsiteY2"/>
                  </a:cxn>
                  <a:cxn ang="0">
                    <a:pos x="connsiteX3" y="connsiteY3"/>
                  </a:cxn>
                </a:cxnLst>
                <a:rect l="l" t="t" r="r" b="b"/>
                <a:pathLst>
                  <a:path w="13159" h="79220">
                    <a:moveTo>
                      <a:pt x="0" y="0"/>
                    </a:moveTo>
                    <a:lnTo>
                      <a:pt x="13160" y="0"/>
                    </a:lnTo>
                    <a:lnTo>
                      <a:pt x="13160" y="79220"/>
                    </a:lnTo>
                    <a:lnTo>
                      <a:pt x="0" y="79220"/>
                    </a:lnTo>
                    <a:close/>
                  </a:path>
                </a:pathLst>
              </a:custGeom>
              <a:solidFill>
                <a:schemeClr val="tx2"/>
              </a:solidFill>
              <a:ln w="2604" cap="flat">
                <a:noFill/>
                <a:prstDash val="solid"/>
                <a:miter/>
              </a:ln>
            </p:spPr>
            <p:txBody>
              <a:bodyPr rtlCol="0" anchor="ctr"/>
              <a:lstStyle/>
              <a:p>
                <a:endParaRPr lang="en-GB" dirty="0"/>
              </a:p>
            </p:txBody>
          </p:sp>
          <p:sp>
            <p:nvSpPr>
              <p:cNvPr id="175" name="Freihandform: Form 406">
                <a:extLst>
                  <a:ext uri="{FF2B5EF4-FFF2-40B4-BE49-F238E27FC236}">
                    <a16:creationId xmlns:a16="http://schemas.microsoft.com/office/drawing/2014/main" id="{C4B7112E-DE7A-4FB2-8097-E2D54B4123F9}"/>
                  </a:ext>
                </a:extLst>
              </p:cNvPr>
              <p:cNvSpPr/>
              <p:nvPr/>
            </p:nvSpPr>
            <p:spPr>
              <a:xfrm>
                <a:off x="1688326" y="3593783"/>
                <a:ext cx="328910" cy="13134"/>
              </a:xfrm>
              <a:custGeom>
                <a:avLst/>
                <a:gdLst>
                  <a:gd name="connsiteX0" fmla="*/ 322343 w 328910"/>
                  <a:gd name="connsiteY0" fmla="*/ 13135 h 13134"/>
                  <a:gd name="connsiteX1" fmla="*/ 6567 w 328910"/>
                  <a:gd name="connsiteY1" fmla="*/ 13135 h 13134"/>
                  <a:gd name="connsiteX2" fmla="*/ 0 w 328910"/>
                  <a:gd name="connsiteY2" fmla="*/ 6567 h 13134"/>
                  <a:gd name="connsiteX3" fmla="*/ 6567 w 328910"/>
                  <a:gd name="connsiteY3" fmla="*/ 0 h 13134"/>
                  <a:gd name="connsiteX4" fmla="*/ 322343 w 328910"/>
                  <a:gd name="connsiteY4" fmla="*/ 0 h 13134"/>
                  <a:gd name="connsiteX5" fmla="*/ 328911 w 328910"/>
                  <a:gd name="connsiteY5" fmla="*/ 6567 h 13134"/>
                  <a:gd name="connsiteX6" fmla="*/ 322343 w 328910"/>
                  <a:gd name="connsiteY6" fmla="*/ 13135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910" h="13134">
                    <a:moveTo>
                      <a:pt x="322343" y="13135"/>
                    </a:moveTo>
                    <a:lnTo>
                      <a:pt x="6567" y="13135"/>
                    </a:lnTo>
                    <a:cubicBezTo>
                      <a:pt x="2945" y="13135"/>
                      <a:pt x="0" y="10190"/>
                      <a:pt x="0" y="6567"/>
                    </a:cubicBezTo>
                    <a:cubicBezTo>
                      <a:pt x="0" y="2945"/>
                      <a:pt x="2945" y="0"/>
                      <a:pt x="6567" y="0"/>
                    </a:cubicBezTo>
                    <a:lnTo>
                      <a:pt x="322343" y="0"/>
                    </a:lnTo>
                    <a:cubicBezTo>
                      <a:pt x="325966" y="0"/>
                      <a:pt x="328911" y="2945"/>
                      <a:pt x="328911" y="6567"/>
                    </a:cubicBezTo>
                    <a:cubicBezTo>
                      <a:pt x="328911" y="10190"/>
                      <a:pt x="325966" y="13135"/>
                      <a:pt x="322343" y="13135"/>
                    </a:cubicBezTo>
                    <a:close/>
                  </a:path>
                </a:pathLst>
              </a:custGeom>
              <a:solidFill>
                <a:schemeClr val="tx2"/>
              </a:solidFill>
              <a:ln w="2604" cap="flat">
                <a:noFill/>
                <a:prstDash val="solid"/>
                <a:miter/>
              </a:ln>
            </p:spPr>
            <p:txBody>
              <a:bodyPr rtlCol="0" anchor="ctr"/>
              <a:lstStyle/>
              <a:p>
                <a:endParaRPr lang="en-GB" dirty="0"/>
              </a:p>
            </p:txBody>
          </p:sp>
          <p:sp>
            <p:nvSpPr>
              <p:cNvPr id="176" name="Freihandform: Form 407">
                <a:extLst>
                  <a:ext uri="{FF2B5EF4-FFF2-40B4-BE49-F238E27FC236}">
                    <a16:creationId xmlns:a16="http://schemas.microsoft.com/office/drawing/2014/main" id="{19449816-2B01-4F77-8159-259C0DA8818A}"/>
                  </a:ext>
                </a:extLst>
              </p:cNvPr>
              <p:cNvSpPr/>
              <p:nvPr/>
            </p:nvSpPr>
            <p:spPr>
              <a:xfrm>
                <a:off x="1826473" y="3593758"/>
                <a:ext cx="52616" cy="105258"/>
              </a:xfrm>
              <a:custGeom>
                <a:avLst/>
                <a:gdLst>
                  <a:gd name="connsiteX0" fmla="*/ 46049 w 52616"/>
                  <a:gd name="connsiteY0" fmla="*/ 105259 h 105258"/>
                  <a:gd name="connsiteX1" fmla="*/ 6567 w 52616"/>
                  <a:gd name="connsiteY1" fmla="*/ 105259 h 105258"/>
                  <a:gd name="connsiteX2" fmla="*/ 0 w 52616"/>
                  <a:gd name="connsiteY2" fmla="*/ 98691 h 105258"/>
                  <a:gd name="connsiteX3" fmla="*/ 0 w 52616"/>
                  <a:gd name="connsiteY3" fmla="*/ 6567 h 105258"/>
                  <a:gd name="connsiteX4" fmla="*/ 6567 w 52616"/>
                  <a:gd name="connsiteY4" fmla="*/ 0 h 105258"/>
                  <a:gd name="connsiteX5" fmla="*/ 46049 w 52616"/>
                  <a:gd name="connsiteY5" fmla="*/ 0 h 105258"/>
                  <a:gd name="connsiteX6" fmla="*/ 52616 w 52616"/>
                  <a:gd name="connsiteY6" fmla="*/ 6567 h 105258"/>
                  <a:gd name="connsiteX7" fmla="*/ 52616 w 52616"/>
                  <a:gd name="connsiteY7" fmla="*/ 98665 h 105258"/>
                  <a:gd name="connsiteX8" fmla="*/ 46049 w 52616"/>
                  <a:gd name="connsiteY8" fmla="*/ 105259 h 105258"/>
                  <a:gd name="connsiteX9" fmla="*/ 13161 w 52616"/>
                  <a:gd name="connsiteY9" fmla="*/ 92098 h 105258"/>
                  <a:gd name="connsiteX10" fmla="*/ 39482 w 52616"/>
                  <a:gd name="connsiteY10" fmla="*/ 92098 h 105258"/>
                  <a:gd name="connsiteX11" fmla="*/ 39482 w 52616"/>
                  <a:gd name="connsiteY11" fmla="*/ 13161 h 105258"/>
                  <a:gd name="connsiteX12" fmla="*/ 13161 w 52616"/>
                  <a:gd name="connsiteY12" fmla="*/ 13161 h 105258"/>
                  <a:gd name="connsiteX13" fmla="*/ 13161 w 52616"/>
                  <a:gd name="connsiteY13" fmla="*/ 92098 h 105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616" h="105258">
                    <a:moveTo>
                      <a:pt x="46049" y="105259"/>
                    </a:moveTo>
                    <a:lnTo>
                      <a:pt x="6567" y="105259"/>
                    </a:lnTo>
                    <a:cubicBezTo>
                      <a:pt x="2945" y="105259"/>
                      <a:pt x="0" y="102314"/>
                      <a:pt x="0" y="98691"/>
                    </a:cubicBezTo>
                    <a:lnTo>
                      <a:pt x="0" y="6567"/>
                    </a:lnTo>
                    <a:cubicBezTo>
                      <a:pt x="0" y="2919"/>
                      <a:pt x="2945" y="0"/>
                      <a:pt x="6567" y="0"/>
                    </a:cubicBezTo>
                    <a:lnTo>
                      <a:pt x="46049" y="0"/>
                    </a:lnTo>
                    <a:cubicBezTo>
                      <a:pt x="49671" y="0"/>
                      <a:pt x="52616" y="2945"/>
                      <a:pt x="52616" y="6567"/>
                    </a:cubicBezTo>
                    <a:lnTo>
                      <a:pt x="52616" y="98665"/>
                    </a:lnTo>
                    <a:cubicBezTo>
                      <a:pt x="52616" y="102314"/>
                      <a:pt x="49671" y="105259"/>
                      <a:pt x="46049" y="105259"/>
                    </a:cubicBezTo>
                    <a:close/>
                    <a:moveTo>
                      <a:pt x="13161" y="92098"/>
                    </a:moveTo>
                    <a:lnTo>
                      <a:pt x="39482" y="92098"/>
                    </a:lnTo>
                    <a:lnTo>
                      <a:pt x="39482" y="13161"/>
                    </a:lnTo>
                    <a:lnTo>
                      <a:pt x="13161" y="13161"/>
                    </a:lnTo>
                    <a:lnTo>
                      <a:pt x="13161" y="92098"/>
                    </a:lnTo>
                    <a:close/>
                  </a:path>
                </a:pathLst>
              </a:custGeom>
              <a:solidFill>
                <a:schemeClr val="tx2"/>
              </a:solidFill>
              <a:ln w="2604" cap="flat">
                <a:noFill/>
                <a:prstDash val="solid"/>
                <a:miter/>
              </a:ln>
            </p:spPr>
            <p:txBody>
              <a:bodyPr rtlCol="0" anchor="ctr"/>
              <a:lstStyle/>
              <a:p>
                <a:endParaRPr lang="en-GB" dirty="0"/>
              </a:p>
            </p:txBody>
          </p:sp>
          <p:sp>
            <p:nvSpPr>
              <p:cNvPr id="177" name="Freihandform: Form 408">
                <a:extLst>
                  <a:ext uri="{FF2B5EF4-FFF2-40B4-BE49-F238E27FC236}">
                    <a16:creationId xmlns:a16="http://schemas.microsoft.com/office/drawing/2014/main" id="{5A23BE99-7E9F-4520-9F32-DE79487BCAB2}"/>
                  </a:ext>
                </a:extLst>
              </p:cNvPr>
              <p:cNvSpPr/>
              <p:nvPr/>
            </p:nvSpPr>
            <p:spPr>
              <a:xfrm>
                <a:off x="1813312" y="3685882"/>
                <a:ext cx="78911" cy="13134"/>
              </a:xfrm>
              <a:custGeom>
                <a:avLst/>
                <a:gdLst>
                  <a:gd name="connsiteX0" fmla="*/ 72370 w 78911"/>
                  <a:gd name="connsiteY0" fmla="*/ 13134 h 13134"/>
                  <a:gd name="connsiteX1" fmla="*/ 6567 w 78911"/>
                  <a:gd name="connsiteY1" fmla="*/ 13134 h 13134"/>
                  <a:gd name="connsiteX2" fmla="*/ 0 w 78911"/>
                  <a:gd name="connsiteY2" fmla="*/ 6567 h 13134"/>
                  <a:gd name="connsiteX3" fmla="*/ 6567 w 78911"/>
                  <a:gd name="connsiteY3" fmla="*/ 0 h 13134"/>
                  <a:gd name="connsiteX4" fmla="*/ 72344 w 78911"/>
                  <a:gd name="connsiteY4" fmla="*/ 0 h 13134"/>
                  <a:gd name="connsiteX5" fmla="*/ 78911 w 78911"/>
                  <a:gd name="connsiteY5" fmla="*/ 6567 h 13134"/>
                  <a:gd name="connsiteX6" fmla="*/ 72370 w 78911"/>
                  <a:gd name="connsiteY6" fmla="*/ 13134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911" h="13134">
                    <a:moveTo>
                      <a:pt x="72370" y="13134"/>
                    </a:moveTo>
                    <a:lnTo>
                      <a:pt x="6567" y="13134"/>
                    </a:lnTo>
                    <a:cubicBezTo>
                      <a:pt x="2945" y="13134"/>
                      <a:pt x="0" y="10190"/>
                      <a:pt x="0" y="6567"/>
                    </a:cubicBezTo>
                    <a:cubicBezTo>
                      <a:pt x="0" y="2945"/>
                      <a:pt x="2945" y="0"/>
                      <a:pt x="6567" y="0"/>
                    </a:cubicBezTo>
                    <a:lnTo>
                      <a:pt x="72344" y="0"/>
                    </a:lnTo>
                    <a:cubicBezTo>
                      <a:pt x="75967" y="0"/>
                      <a:pt x="78911" y="2945"/>
                      <a:pt x="78911" y="6567"/>
                    </a:cubicBezTo>
                    <a:cubicBezTo>
                      <a:pt x="78911" y="10190"/>
                      <a:pt x="75993" y="13134"/>
                      <a:pt x="72370" y="13134"/>
                    </a:cubicBezTo>
                    <a:close/>
                  </a:path>
                </a:pathLst>
              </a:custGeom>
              <a:solidFill>
                <a:schemeClr val="tx2"/>
              </a:solidFill>
              <a:ln w="2604" cap="flat">
                <a:noFill/>
                <a:prstDash val="solid"/>
                <a:miter/>
              </a:ln>
            </p:spPr>
            <p:txBody>
              <a:bodyPr rtlCol="0" anchor="ctr"/>
              <a:lstStyle/>
              <a:p>
                <a:endParaRPr lang="en-GB" dirty="0"/>
              </a:p>
            </p:txBody>
          </p:sp>
        </p:grpSp>
        <p:grpSp>
          <p:nvGrpSpPr>
            <p:cNvPr id="162" name="Group 161">
              <a:extLst>
                <a:ext uri="{FF2B5EF4-FFF2-40B4-BE49-F238E27FC236}">
                  <a16:creationId xmlns:a16="http://schemas.microsoft.com/office/drawing/2014/main" id="{DA055A9C-10D9-4BFD-94A1-E7341ED5F943}"/>
                </a:ext>
              </a:extLst>
            </p:cNvPr>
            <p:cNvGrpSpPr/>
            <p:nvPr/>
          </p:nvGrpSpPr>
          <p:grpSpPr>
            <a:xfrm>
              <a:off x="3784535" y="2391526"/>
              <a:ext cx="451981" cy="432000"/>
              <a:chOff x="1793584" y="3297735"/>
              <a:chExt cx="447352" cy="427576"/>
            </a:xfrm>
          </p:grpSpPr>
          <p:sp>
            <p:nvSpPr>
              <p:cNvPr id="163" name="Freihandform: Form 410">
                <a:extLst>
                  <a:ext uri="{FF2B5EF4-FFF2-40B4-BE49-F238E27FC236}">
                    <a16:creationId xmlns:a16="http://schemas.microsoft.com/office/drawing/2014/main" id="{6FA4DFAE-0364-4EAF-B151-1D39ACB6882D}"/>
                  </a:ext>
                </a:extLst>
              </p:cNvPr>
              <p:cNvSpPr/>
              <p:nvPr/>
            </p:nvSpPr>
            <p:spPr>
              <a:xfrm>
                <a:off x="1793584" y="3402994"/>
                <a:ext cx="381526" cy="322317"/>
              </a:xfrm>
              <a:custGeom>
                <a:avLst/>
                <a:gdLst>
                  <a:gd name="connsiteX0" fmla="*/ 328911 w 381526"/>
                  <a:gd name="connsiteY0" fmla="*/ 322317 h 322317"/>
                  <a:gd name="connsiteX1" fmla="*/ 6567 w 381526"/>
                  <a:gd name="connsiteY1" fmla="*/ 322317 h 322317"/>
                  <a:gd name="connsiteX2" fmla="*/ 0 w 381526"/>
                  <a:gd name="connsiteY2" fmla="*/ 315750 h 322317"/>
                  <a:gd name="connsiteX3" fmla="*/ 6567 w 381526"/>
                  <a:gd name="connsiteY3" fmla="*/ 309183 h 322317"/>
                  <a:gd name="connsiteX4" fmla="*/ 322343 w 381526"/>
                  <a:gd name="connsiteY4" fmla="*/ 309183 h 322317"/>
                  <a:gd name="connsiteX5" fmla="*/ 322343 w 381526"/>
                  <a:gd name="connsiteY5" fmla="*/ 164442 h 322317"/>
                  <a:gd name="connsiteX6" fmla="*/ 328911 w 381526"/>
                  <a:gd name="connsiteY6" fmla="*/ 157875 h 322317"/>
                  <a:gd name="connsiteX7" fmla="*/ 368392 w 381526"/>
                  <a:gd name="connsiteY7" fmla="*/ 157875 h 322317"/>
                  <a:gd name="connsiteX8" fmla="*/ 368392 w 381526"/>
                  <a:gd name="connsiteY8" fmla="*/ 131554 h 322317"/>
                  <a:gd name="connsiteX9" fmla="*/ 282862 w 381526"/>
                  <a:gd name="connsiteY9" fmla="*/ 131554 h 322317"/>
                  <a:gd name="connsiteX10" fmla="*/ 276294 w 381526"/>
                  <a:gd name="connsiteY10" fmla="*/ 124986 h 322317"/>
                  <a:gd name="connsiteX11" fmla="*/ 276294 w 381526"/>
                  <a:gd name="connsiteY11" fmla="*/ 85505 h 322317"/>
                  <a:gd name="connsiteX12" fmla="*/ 282862 w 381526"/>
                  <a:gd name="connsiteY12" fmla="*/ 78937 h 322317"/>
                  <a:gd name="connsiteX13" fmla="*/ 368392 w 381526"/>
                  <a:gd name="connsiteY13" fmla="*/ 78937 h 322317"/>
                  <a:gd name="connsiteX14" fmla="*/ 368392 w 381526"/>
                  <a:gd name="connsiteY14" fmla="*/ 52616 h 322317"/>
                  <a:gd name="connsiteX15" fmla="*/ 282862 w 381526"/>
                  <a:gd name="connsiteY15" fmla="*/ 52616 h 322317"/>
                  <a:gd name="connsiteX16" fmla="*/ 276294 w 381526"/>
                  <a:gd name="connsiteY16" fmla="*/ 46049 h 322317"/>
                  <a:gd name="connsiteX17" fmla="*/ 276294 w 381526"/>
                  <a:gd name="connsiteY17" fmla="*/ 6567 h 322317"/>
                  <a:gd name="connsiteX18" fmla="*/ 282862 w 381526"/>
                  <a:gd name="connsiteY18" fmla="*/ 0 h 322317"/>
                  <a:gd name="connsiteX19" fmla="*/ 374960 w 381526"/>
                  <a:gd name="connsiteY19" fmla="*/ 0 h 322317"/>
                  <a:gd name="connsiteX20" fmla="*/ 381527 w 381526"/>
                  <a:gd name="connsiteY20" fmla="*/ 6567 h 322317"/>
                  <a:gd name="connsiteX21" fmla="*/ 374960 w 381526"/>
                  <a:gd name="connsiteY21" fmla="*/ 13134 h 322317"/>
                  <a:gd name="connsiteX22" fmla="*/ 289429 w 381526"/>
                  <a:gd name="connsiteY22" fmla="*/ 13134 h 322317"/>
                  <a:gd name="connsiteX23" fmla="*/ 289429 w 381526"/>
                  <a:gd name="connsiteY23" fmla="*/ 39456 h 322317"/>
                  <a:gd name="connsiteX24" fmla="*/ 374960 w 381526"/>
                  <a:gd name="connsiteY24" fmla="*/ 39456 h 322317"/>
                  <a:gd name="connsiteX25" fmla="*/ 381527 w 381526"/>
                  <a:gd name="connsiteY25" fmla="*/ 46023 h 322317"/>
                  <a:gd name="connsiteX26" fmla="*/ 381527 w 381526"/>
                  <a:gd name="connsiteY26" fmla="*/ 85505 h 322317"/>
                  <a:gd name="connsiteX27" fmla="*/ 374960 w 381526"/>
                  <a:gd name="connsiteY27" fmla="*/ 92072 h 322317"/>
                  <a:gd name="connsiteX28" fmla="*/ 289429 w 381526"/>
                  <a:gd name="connsiteY28" fmla="*/ 92072 h 322317"/>
                  <a:gd name="connsiteX29" fmla="*/ 289429 w 381526"/>
                  <a:gd name="connsiteY29" fmla="*/ 118393 h 322317"/>
                  <a:gd name="connsiteX30" fmla="*/ 374960 w 381526"/>
                  <a:gd name="connsiteY30" fmla="*/ 118393 h 322317"/>
                  <a:gd name="connsiteX31" fmla="*/ 381527 w 381526"/>
                  <a:gd name="connsiteY31" fmla="*/ 124960 h 322317"/>
                  <a:gd name="connsiteX32" fmla="*/ 381527 w 381526"/>
                  <a:gd name="connsiteY32" fmla="*/ 164442 h 322317"/>
                  <a:gd name="connsiteX33" fmla="*/ 374960 w 381526"/>
                  <a:gd name="connsiteY33" fmla="*/ 171009 h 322317"/>
                  <a:gd name="connsiteX34" fmla="*/ 335478 w 381526"/>
                  <a:gd name="connsiteY34" fmla="*/ 171009 h 322317"/>
                  <a:gd name="connsiteX35" fmla="*/ 335478 w 381526"/>
                  <a:gd name="connsiteY35" fmla="*/ 315750 h 322317"/>
                  <a:gd name="connsiteX36" fmla="*/ 328911 w 381526"/>
                  <a:gd name="connsiteY36" fmla="*/ 322317 h 32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81526" h="322317">
                    <a:moveTo>
                      <a:pt x="328911" y="322317"/>
                    </a:moveTo>
                    <a:lnTo>
                      <a:pt x="6567" y="322317"/>
                    </a:lnTo>
                    <a:cubicBezTo>
                      <a:pt x="2945" y="322317"/>
                      <a:pt x="0" y="319372"/>
                      <a:pt x="0" y="315750"/>
                    </a:cubicBezTo>
                    <a:cubicBezTo>
                      <a:pt x="0" y="312101"/>
                      <a:pt x="2945" y="309183"/>
                      <a:pt x="6567" y="309183"/>
                    </a:cubicBezTo>
                    <a:lnTo>
                      <a:pt x="322343" y="309183"/>
                    </a:lnTo>
                    <a:lnTo>
                      <a:pt x="322343" y="164442"/>
                    </a:lnTo>
                    <a:cubicBezTo>
                      <a:pt x="322343" y="160794"/>
                      <a:pt x="325288" y="157875"/>
                      <a:pt x="328911" y="157875"/>
                    </a:cubicBezTo>
                    <a:lnTo>
                      <a:pt x="368392" y="157875"/>
                    </a:lnTo>
                    <a:lnTo>
                      <a:pt x="368392" y="131554"/>
                    </a:lnTo>
                    <a:lnTo>
                      <a:pt x="282862" y="131554"/>
                    </a:lnTo>
                    <a:cubicBezTo>
                      <a:pt x="279239" y="131554"/>
                      <a:pt x="276294" y="128609"/>
                      <a:pt x="276294" y="124986"/>
                    </a:cubicBezTo>
                    <a:lnTo>
                      <a:pt x="276294" y="85505"/>
                    </a:lnTo>
                    <a:cubicBezTo>
                      <a:pt x="276294" y="81856"/>
                      <a:pt x="279239" y="78937"/>
                      <a:pt x="282862" y="78937"/>
                    </a:cubicBezTo>
                    <a:lnTo>
                      <a:pt x="368392" y="78937"/>
                    </a:lnTo>
                    <a:lnTo>
                      <a:pt x="368392" y="52616"/>
                    </a:lnTo>
                    <a:lnTo>
                      <a:pt x="282862" y="52616"/>
                    </a:lnTo>
                    <a:cubicBezTo>
                      <a:pt x="279239" y="52616"/>
                      <a:pt x="276294" y="49671"/>
                      <a:pt x="276294" y="46049"/>
                    </a:cubicBezTo>
                    <a:lnTo>
                      <a:pt x="276294" y="6567"/>
                    </a:lnTo>
                    <a:cubicBezTo>
                      <a:pt x="276294" y="2919"/>
                      <a:pt x="279239" y="0"/>
                      <a:pt x="282862" y="0"/>
                    </a:cubicBezTo>
                    <a:lnTo>
                      <a:pt x="374960" y="0"/>
                    </a:lnTo>
                    <a:cubicBezTo>
                      <a:pt x="378582" y="0"/>
                      <a:pt x="381527" y="2945"/>
                      <a:pt x="381527" y="6567"/>
                    </a:cubicBezTo>
                    <a:cubicBezTo>
                      <a:pt x="381527" y="10190"/>
                      <a:pt x="378582" y="13134"/>
                      <a:pt x="374960" y="13134"/>
                    </a:cubicBezTo>
                    <a:lnTo>
                      <a:pt x="289429" y="13134"/>
                    </a:lnTo>
                    <a:lnTo>
                      <a:pt x="289429" y="39456"/>
                    </a:lnTo>
                    <a:lnTo>
                      <a:pt x="374960" y="39456"/>
                    </a:lnTo>
                    <a:cubicBezTo>
                      <a:pt x="378582" y="39456"/>
                      <a:pt x="381527" y="42400"/>
                      <a:pt x="381527" y="46023"/>
                    </a:cubicBezTo>
                    <a:lnTo>
                      <a:pt x="381527" y="85505"/>
                    </a:lnTo>
                    <a:cubicBezTo>
                      <a:pt x="381527" y="89153"/>
                      <a:pt x="378582" y="92072"/>
                      <a:pt x="374960" y="92072"/>
                    </a:cubicBezTo>
                    <a:lnTo>
                      <a:pt x="289429" y="92072"/>
                    </a:lnTo>
                    <a:lnTo>
                      <a:pt x="289429" y="118393"/>
                    </a:lnTo>
                    <a:lnTo>
                      <a:pt x="374960" y="118393"/>
                    </a:lnTo>
                    <a:cubicBezTo>
                      <a:pt x="378582" y="118393"/>
                      <a:pt x="381527" y="121338"/>
                      <a:pt x="381527" y="124960"/>
                    </a:cubicBezTo>
                    <a:lnTo>
                      <a:pt x="381527" y="164442"/>
                    </a:lnTo>
                    <a:cubicBezTo>
                      <a:pt x="381527" y="168091"/>
                      <a:pt x="378582" y="171009"/>
                      <a:pt x="374960" y="171009"/>
                    </a:cubicBezTo>
                    <a:lnTo>
                      <a:pt x="335478" y="171009"/>
                    </a:lnTo>
                    <a:lnTo>
                      <a:pt x="335478" y="315750"/>
                    </a:lnTo>
                    <a:cubicBezTo>
                      <a:pt x="335504" y="319372"/>
                      <a:pt x="332559" y="322317"/>
                      <a:pt x="328911" y="322317"/>
                    </a:cubicBezTo>
                    <a:close/>
                  </a:path>
                </a:pathLst>
              </a:custGeom>
              <a:solidFill>
                <a:schemeClr val="accent1"/>
              </a:solidFill>
              <a:ln w="2604" cap="flat">
                <a:noFill/>
                <a:prstDash val="solid"/>
                <a:miter/>
              </a:ln>
            </p:spPr>
            <p:txBody>
              <a:bodyPr rtlCol="0" anchor="ctr"/>
              <a:lstStyle/>
              <a:p>
                <a:endParaRPr lang="en-GB" dirty="0"/>
              </a:p>
            </p:txBody>
          </p:sp>
          <p:sp>
            <p:nvSpPr>
              <p:cNvPr id="164" name="Freihandform: Form 411">
                <a:extLst>
                  <a:ext uri="{FF2B5EF4-FFF2-40B4-BE49-F238E27FC236}">
                    <a16:creationId xmlns:a16="http://schemas.microsoft.com/office/drawing/2014/main" id="{C1EDE421-C793-41ED-A3F7-0C244B4741A3}"/>
                  </a:ext>
                </a:extLst>
              </p:cNvPr>
              <p:cNvSpPr/>
              <p:nvPr/>
            </p:nvSpPr>
            <p:spPr>
              <a:xfrm>
                <a:off x="2043557" y="3370080"/>
                <a:ext cx="157901" cy="236838"/>
              </a:xfrm>
              <a:custGeom>
                <a:avLst/>
                <a:gdLst>
                  <a:gd name="connsiteX0" fmla="*/ 136245 w 157901"/>
                  <a:gd name="connsiteY0" fmla="*/ 236839 h 236838"/>
                  <a:gd name="connsiteX1" fmla="*/ 98691 w 157901"/>
                  <a:gd name="connsiteY1" fmla="*/ 236839 h 236838"/>
                  <a:gd name="connsiteX2" fmla="*/ 98691 w 157901"/>
                  <a:gd name="connsiteY2" fmla="*/ 223678 h 236838"/>
                  <a:gd name="connsiteX3" fmla="*/ 136245 w 157901"/>
                  <a:gd name="connsiteY3" fmla="*/ 223678 h 236838"/>
                  <a:gd name="connsiteX4" fmla="*/ 144740 w 157901"/>
                  <a:gd name="connsiteY4" fmla="*/ 215182 h 236838"/>
                  <a:gd name="connsiteX5" fmla="*/ 144740 w 157901"/>
                  <a:gd name="connsiteY5" fmla="*/ 21656 h 236838"/>
                  <a:gd name="connsiteX6" fmla="*/ 136245 w 157901"/>
                  <a:gd name="connsiteY6" fmla="*/ 13161 h 236838"/>
                  <a:gd name="connsiteX7" fmla="*/ 21656 w 157901"/>
                  <a:gd name="connsiteY7" fmla="*/ 13161 h 236838"/>
                  <a:gd name="connsiteX8" fmla="*/ 13161 w 157901"/>
                  <a:gd name="connsiteY8" fmla="*/ 21656 h 236838"/>
                  <a:gd name="connsiteX9" fmla="*/ 13161 w 157901"/>
                  <a:gd name="connsiteY9" fmla="*/ 215182 h 236838"/>
                  <a:gd name="connsiteX10" fmla="*/ 21656 w 157901"/>
                  <a:gd name="connsiteY10" fmla="*/ 223678 h 236838"/>
                  <a:gd name="connsiteX11" fmla="*/ 59210 w 157901"/>
                  <a:gd name="connsiteY11" fmla="*/ 223678 h 236838"/>
                  <a:gd name="connsiteX12" fmla="*/ 59210 w 157901"/>
                  <a:gd name="connsiteY12" fmla="*/ 236839 h 236838"/>
                  <a:gd name="connsiteX13" fmla="*/ 21656 w 157901"/>
                  <a:gd name="connsiteY13" fmla="*/ 236839 h 236838"/>
                  <a:gd name="connsiteX14" fmla="*/ 0 w 157901"/>
                  <a:gd name="connsiteY14" fmla="*/ 215182 h 236838"/>
                  <a:gd name="connsiteX15" fmla="*/ 0 w 157901"/>
                  <a:gd name="connsiteY15" fmla="*/ 21656 h 236838"/>
                  <a:gd name="connsiteX16" fmla="*/ 21656 w 157901"/>
                  <a:gd name="connsiteY16" fmla="*/ 0 h 236838"/>
                  <a:gd name="connsiteX17" fmla="*/ 136245 w 157901"/>
                  <a:gd name="connsiteY17" fmla="*/ 0 h 236838"/>
                  <a:gd name="connsiteX18" fmla="*/ 157901 w 157901"/>
                  <a:gd name="connsiteY18" fmla="*/ 21656 h 236838"/>
                  <a:gd name="connsiteX19" fmla="*/ 157901 w 157901"/>
                  <a:gd name="connsiteY19" fmla="*/ 215182 h 236838"/>
                  <a:gd name="connsiteX20" fmla="*/ 136245 w 157901"/>
                  <a:gd name="connsiteY20" fmla="*/ 236839 h 23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901" h="236838">
                    <a:moveTo>
                      <a:pt x="136245" y="236839"/>
                    </a:moveTo>
                    <a:lnTo>
                      <a:pt x="98691" y="236839"/>
                    </a:lnTo>
                    <a:lnTo>
                      <a:pt x="98691" y="223678"/>
                    </a:lnTo>
                    <a:lnTo>
                      <a:pt x="136245" y="223678"/>
                    </a:lnTo>
                    <a:cubicBezTo>
                      <a:pt x="140936" y="223678"/>
                      <a:pt x="144740" y="219873"/>
                      <a:pt x="144740" y="215182"/>
                    </a:cubicBezTo>
                    <a:lnTo>
                      <a:pt x="144740" y="21656"/>
                    </a:lnTo>
                    <a:cubicBezTo>
                      <a:pt x="144740" y="16965"/>
                      <a:pt x="140936" y="13161"/>
                      <a:pt x="136245" y="13161"/>
                    </a:cubicBezTo>
                    <a:lnTo>
                      <a:pt x="21656" y="13161"/>
                    </a:lnTo>
                    <a:cubicBezTo>
                      <a:pt x="16965" y="13161"/>
                      <a:pt x="13161" y="16965"/>
                      <a:pt x="13161" y="21656"/>
                    </a:cubicBezTo>
                    <a:lnTo>
                      <a:pt x="13161" y="215182"/>
                    </a:lnTo>
                    <a:cubicBezTo>
                      <a:pt x="13161" y="219873"/>
                      <a:pt x="16965" y="223678"/>
                      <a:pt x="21656" y="223678"/>
                    </a:cubicBezTo>
                    <a:lnTo>
                      <a:pt x="59210" y="223678"/>
                    </a:lnTo>
                    <a:lnTo>
                      <a:pt x="59210" y="236839"/>
                    </a:lnTo>
                    <a:lnTo>
                      <a:pt x="21656" y="236839"/>
                    </a:lnTo>
                    <a:cubicBezTo>
                      <a:pt x="9721" y="236839"/>
                      <a:pt x="0" y="227118"/>
                      <a:pt x="0" y="215182"/>
                    </a:cubicBezTo>
                    <a:lnTo>
                      <a:pt x="0" y="21656"/>
                    </a:lnTo>
                    <a:cubicBezTo>
                      <a:pt x="0" y="9721"/>
                      <a:pt x="9721" y="0"/>
                      <a:pt x="21656" y="0"/>
                    </a:cubicBezTo>
                    <a:lnTo>
                      <a:pt x="136245" y="0"/>
                    </a:lnTo>
                    <a:cubicBezTo>
                      <a:pt x="148180" y="0"/>
                      <a:pt x="157901" y="9721"/>
                      <a:pt x="157901" y="21656"/>
                    </a:cubicBezTo>
                    <a:lnTo>
                      <a:pt x="157901" y="215182"/>
                    </a:lnTo>
                    <a:cubicBezTo>
                      <a:pt x="157875" y="227118"/>
                      <a:pt x="148180" y="236839"/>
                      <a:pt x="136245" y="236839"/>
                    </a:cubicBezTo>
                    <a:close/>
                  </a:path>
                </a:pathLst>
              </a:custGeom>
              <a:solidFill>
                <a:schemeClr val="accent1"/>
              </a:solidFill>
              <a:ln w="2604" cap="flat">
                <a:noFill/>
                <a:prstDash val="solid"/>
                <a:miter/>
              </a:ln>
            </p:spPr>
            <p:txBody>
              <a:bodyPr rtlCol="0" anchor="ctr"/>
              <a:lstStyle/>
              <a:p>
                <a:endParaRPr lang="en-GB" dirty="0"/>
              </a:p>
            </p:txBody>
          </p:sp>
          <p:sp>
            <p:nvSpPr>
              <p:cNvPr id="165" name="Freihandform: Form 412">
                <a:extLst>
                  <a:ext uri="{FF2B5EF4-FFF2-40B4-BE49-F238E27FC236}">
                    <a16:creationId xmlns:a16="http://schemas.microsoft.com/office/drawing/2014/main" id="{AF7B7700-7557-40F2-A153-95609019C876}"/>
                  </a:ext>
                </a:extLst>
              </p:cNvPr>
              <p:cNvSpPr/>
              <p:nvPr/>
            </p:nvSpPr>
            <p:spPr>
              <a:xfrm>
                <a:off x="2009004" y="3308554"/>
                <a:ext cx="63945" cy="42840"/>
              </a:xfrm>
              <a:custGeom>
                <a:avLst/>
                <a:gdLst>
                  <a:gd name="connsiteX0" fmla="*/ 57382 w 63945"/>
                  <a:gd name="connsiteY0" fmla="*/ 42840 h 42840"/>
                  <a:gd name="connsiteX1" fmla="*/ 51857 w 63945"/>
                  <a:gd name="connsiteY1" fmla="*/ 39843 h 42840"/>
                  <a:gd name="connsiteX2" fmla="*/ 44664 w 63945"/>
                  <a:gd name="connsiteY2" fmla="*/ 28820 h 42840"/>
                  <a:gd name="connsiteX3" fmla="*/ 35569 w 63945"/>
                  <a:gd name="connsiteY3" fmla="*/ 26917 h 42840"/>
                  <a:gd name="connsiteX4" fmla="*/ 8258 w 63945"/>
                  <a:gd name="connsiteY4" fmla="*/ 21184 h 42840"/>
                  <a:gd name="connsiteX5" fmla="*/ 1065 w 63945"/>
                  <a:gd name="connsiteY5" fmla="*/ 10160 h 42840"/>
                  <a:gd name="connsiteX6" fmla="*/ 2994 w 63945"/>
                  <a:gd name="connsiteY6" fmla="*/ 1065 h 42840"/>
                  <a:gd name="connsiteX7" fmla="*/ 12089 w 63945"/>
                  <a:gd name="connsiteY7" fmla="*/ 2994 h 42840"/>
                  <a:gd name="connsiteX8" fmla="*/ 19281 w 63945"/>
                  <a:gd name="connsiteY8" fmla="*/ 14017 h 42840"/>
                  <a:gd name="connsiteX9" fmla="*/ 28377 w 63945"/>
                  <a:gd name="connsiteY9" fmla="*/ 15920 h 42840"/>
                  <a:gd name="connsiteX10" fmla="*/ 55688 w 63945"/>
                  <a:gd name="connsiteY10" fmla="*/ 21679 h 42840"/>
                  <a:gd name="connsiteX11" fmla="*/ 62881 w 63945"/>
                  <a:gd name="connsiteY11" fmla="*/ 32703 h 42840"/>
                  <a:gd name="connsiteX12" fmla="*/ 60952 w 63945"/>
                  <a:gd name="connsiteY12" fmla="*/ 41798 h 42840"/>
                  <a:gd name="connsiteX13" fmla="*/ 57382 w 63945"/>
                  <a:gd name="connsiteY13" fmla="*/ 42840 h 42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945" h="42840">
                    <a:moveTo>
                      <a:pt x="57382" y="42840"/>
                    </a:moveTo>
                    <a:cubicBezTo>
                      <a:pt x="55245" y="42840"/>
                      <a:pt x="53134" y="41798"/>
                      <a:pt x="51857" y="39843"/>
                    </a:cubicBezTo>
                    <a:lnTo>
                      <a:pt x="44664" y="28820"/>
                    </a:lnTo>
                    <a:cubicBezTo>
                      <a:pt x="42684" y="25797"/>
                      <a:pt x="38592" y="24937"/>
                      <a:pt x="35569" y="26917"/>
                    </a:cubicBezTo>
                    <a:cubicBezTo>
                      <a:pt x="26474" y="32859"/>
                      <a:pt x="14200" y="30279"/>
                      <a:pt x="8258" y="21184"/>
                    </a:cubicBezTo>
                    <a:lnTo>
                      <a:pt x="1065" y="10160"/>
                    </a:lnTo>
                    <a:cubicBezTo>
                      <a:pt x="-915" y="7111"/>
                      <a:pt x="-55" y="3046"/>
                      <a:pt x="2994" y="1065"/>
                    </a:cubicBezTo>
                    <a:cubicBezTo>
                      <a:pt x="6043" y="-915"/>
                      <a:pt x="10108" y="-55"/>
                      <a:pt x="12089" y="2994"/>
                    </a:cubicBezTo>
                    <a:lnTo>
                      <a:pt x="19281" y="14017"/>
                    </a:lnTo>
                    <a:cubicBezTo>
                      <a:pt x="21262" y="17040"/>
                      <a:pt x="25328" y="17926"/>
                      <a:pt x="28377" y="15920"/>
                    </a:cubicBezTo>
                    <a:cubicBezTo>
                      <a:pt x="37498" y="10004"/>
                      <a:pt x="49746" y="12558"/>
                      <a:pt x="55688" y="21679"/>
                    </a:cubicBezTo>
                    <a:lnTo>
                      <a:pt x="62881" y="32703"/>
                    </a:lnTo>
                    <a:cubicBezTo>
                      <a:pt x="64861" y="35752"/>
                      <a:pt x="64001" y="39817"/>
                      <a:pt x="60952" y="41798"/>
                    </a:cubicBezTo>
                    <a:cubicBezTo>
                      <a:pt x="59858" y="42502"/>
                      <a:pt x="58607" y="42840"/>
                      <a:pt x="57382" y="42840"/>
                    </a:cubicBezTo>
                    <a:close/>
                  </a:path>
                </a:pathLst>
              </a:custGeom>
              <a:solidFill>
                <a:schemeClr val="accent1"/>
              </a:solidFill>
              <a:ln w="2604" cap="flat">
                <a:noFill/>
                <a:prstDash val="solid"/>
                <a:miter/>
              </a:ln>
            </p:spPr>
            <p:txBody>
              <a:bodyPr rtlCol="0" anchor="ctr"/>
              <a:lstStyle/>
              <a:p>
                <a:endParaRPr lang="en-GB" dirty="0"/>
              </a:p>
            </p:txBody>
          </p:sp>
          <p:sp>
            <p:nvSpPr>
              <p:cNvPr id="166" name="Freihandform: Form 413">
                <a:extLst>
                  <a:ext uri="{FF2B5EF4-FFF2-40B4-BE49-F238E27FC236}">
                    <a16:creationId xmlns:a16="http://schemas.microsoft.com/office/drawing/2014/main" id="{B86EFFC9-D882-43C3-9028-4CF4D81E02C0}"/>
                  </a:ext>
                </a:extLst>
              </p:cNvPr>
              <p:cNvSpPr/>
              <p:nvPr/>
            </p:nvSpPr>
            <p:spPr>
              <a:xfrm>
                <a:off x="2178007" y="3306637"/>
                <a:ext cx="62929" cy="44548"/>
              </a:xfrm>
              <a:custGeom>
                <a:avLst/>
                <a:gdLst>
                  <a:gd name="connsiteX0" fmla="*/ 6564 w 62929"/>
                  <a:gd name="connsiteY0" fmla="*/ 44549 h 44548"/>
                  <a:gd name="connsiteX1" fmla="*/ 3176 w 62929"/>
                  <a:gd name="connsiteY1" fmla="*/ 43611 h 44548"/>
                  <a:gd name="connsiteX2" fmla="*/ 961 w 62929"/>
                  <a:gd name="connsiteY2" fmla="*/ 34568 h 44548"/>
                  <a:gd name="connsiteX3" fmla="*/ 7763 w 62929"/>
                  <a:gd name="connsiteY3" fmla="*/ 23309 h 44548"/>
                  <a:gd name="connsiteX4" fmla="*/ 34866 w 62929"/>
                  <a:gd name="connsiteY4" fmla="*/ 16638 h 44548"/>
                  <a:gd name="connsiteX5" fmla="*/ 39843 w 62929"/>
                  <a:gd name="connsiteY5" fmla="*/ 17394 h 44548"/>
                  <a:gd name="connsiteX6" fmla="*/ 43909 w 62929"/>
                  <a:gd name="connsiteY6" fmla="*/ 14423 h 44548"/>
                  <a:gd name="connsiteX7" fmla="*/ 50711 w 62929"/>
                  <a:gd name="connsiteY7" fmla="*/ 3165 h 44548"/>
                  <a:gd name="connsiteX8" fmla="*/ 59754 w 62929"/>
                  <a:gd name="connsiteY8" fmla="*/ 949 h 44548"/>
                  <a:gd name="connsiteX9" fmla="*/ 61969 w 62929"/>
                  <a:gd name="connsiteY9" fmla="*/ 9993 h 44548"/>
                  <a:gd name="connsiteX10" fmla="*/ 55167 w 62929"/>
                  <a:gd name="connsiteY10" fmla="*/ 21251 h 44548"/>
                  <a:gd name="connsiteX11" fmla="*/ 42997 w 62929"/>
                  <a:gd name="connsiteY11" fmla="*/ 30189 h 44548"/>
                  <a:gd name="connsiteX12" fmla="*/ 28064 w 62929"/>
                  <a:gd name="connsiteY12" fmla="*/ 27896 h 44548"/>
                  <a:gd name="connsiteX13" fmla="*/ 19021 w 62929"/>
                  <a:gd name="connsiteY13" fmla="*/ 30137 h 44548"/>
                  <a:gd name="connsiteX14" fmla="*/ 12219 w 62929"/>
                  <a:gd name="connsiteY14" fmla="*/ 41395 h 44548"/>
                  <a:gd name="connsiteX15" fmla="*/ 6564 w 62929"/>
                  <a:gd name="connsiteY15" fmla="*/ 44549 h 4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929" h="44548">
                    <a:moveTo>
                      <a:pt x="6564" y="44549"/>
                    </a:moveTo>
                    <a:cubicBezTo>
                      <a:pt x="5417" y="44549"/>
                      <a:pt x="4219" y="44236"/>
                      <a:pt x="3176" y="43611"/>
                    </a:cubicBezTo>
                    <a:cubicBezTo>
                      <a:pt x="75" y="41734"/>
                      <a:pt x="-941" y="37695"/>
                      <a:pt x="961" y="34568"/>
                    </a:cubicBezTo>
                    <a:lnTo>
                      <a:pt x="7763" y="23309"/>
                    </a:lnTo>
                    <a:cubicBezTo>
                      <a:pt x="13392" y="14006"/>
                      <a:pt x="25536" y="10983"/>
                      <a:pt x="34866" y="16638"/>
                    </a:cubicBezTo>
                    <a:cubicBezTo>
                      <a:pt x="36377" y="17550"/>
                      <a:pt x="38150" y="17837"/>
                      <a:pt x="39843" y="17394"/>
                    </a:cubicBezTo>
                    <a:cubicBezTo>
                      <a:pt x="41537" y="16977"/>
                      <a:pt x="42997" y="15908"/>
                      <a:pt x="43909" y="14423"/>
                    </a:cubicBezTo>
                    <a:lnTo>
                      <a:pt x="50711" y="3165"/>
                    </a:lnTo>
                    <a:cubicBezTo>
                      <a:pt x="52587" y="63"/>
                      <a:pt x="56626" y="-927"/>
                      <a:pt x="59754" y="949"/>
                    </a:cubicBezTo>
                    <a:cubicBezTo>
                      <a:pt x="62855" y="2826"/>
                      <a:pt x="63871" y="6865"/>
                      <a:pt x="61969" y="9993"/>
                    </a:cubicBezTo>
                    <a:lnTo>
                      <a:pt x="55167" y="21251"/>
                    </a:lnTo>
                    <a:cubicBezTo>
                      <a:pt x="52431" y="25759"/>
                      <a:pt x="48105" y="28939"/>
                      <a:pt x="42997" y="30189"/>
                    </a:cubicBezTo>
                    <a:cubicBezTo>
                      <a:pt x="37863" y="31440"/>
                      <a:pt x="32573" y="30632"/>
                      <a:pt x="28064" y="27896"/>
                    </a:cubicBezTo>
                    <a:cubicBezTo>
                      <a:pt x="24963" y="26020"/>
                      <a:pt x="20897" y="27010"/>
                      <a:pt x="19021" y="30137"/>
                    </a:cubicBezTo>
                    <a:lnTo>
                      <a:pt x="12219" y="41395"/>
                    </a:lnTo>
                    <a:cubicBezTo>
                      <a:pt x="10968" y="43428"/>
                      <a:pt x="8805" y="44549"/>
                      <a:pt x="6564" y="44549"/>
                    </a:cubicBezTo>
                    <a:close/>
                  </a:path>
                </a:pathLst>
              </a:custGeom>
              <a:solidFill>
                <a:schemeClr val="accent1"/>
              </a:solidFill>
              <a:ln w="2604" cap="flat">
                <a:noFill/>
                <a:prstDash val="solid"/>
                <a:miter/>
              </a:ln>
            </p:spPr>
            <p:txBody>
              <a:bodyPr rtlCol="0" anchor="ctr"/>
              <a:lstStyle/>
              <a:p>
                <a:endParaRPr lang="en-GB" dirty="0"/>
              </a:p>
            </p:txBody>
          </p:sp>
          <p:sp>
            <p:nvSpPr>
              <p:cNvPr id="167" name="Freihandform: Form 414">
                <a:extLst>
                  <a:ext uri="{FF2B5EF4-FFF2-40B4-BE49-F238E27FC236}">
                    <a16:creationId xmlns:a16="http://schemas.microsoft.com/office/drawing/2014/main" id="{18BB29CD-43B6-420C-B0D3-12F1C1283F75}"/>
                  </a:ext>
                </a:extLst>
              </p:cNvPr>
              <p:cNvSpPr/>
              <p:nvPr/>
            </p:nvSpPr>
            <p:spPr>
              <a:xfrm>
                <a:off x="2115928" y="3297735"/>
                <a:ext cx="32862" cy="52616"/>
              </a:xfrm>
              <a:custGeom>
                <a:avLst/>
                <a:gdLst>
                  <a:gd name="connsiteX0" fmla="*/ 6567 w 32862"/>
                  <a:gd name="connsiteY0" fmla="*/ 52616 h 52616"/>
                  <a:gd name="connsiteX1" fmla="*/ 0 w 32862"/>
                  <a:gd name="connsiteY1" fmla="*/ 46049 h 52616"/>
                  <a:gd name="connsiteX2" fmla="*/ 0 w 32862"/>
                  <a:gd name="connsiteY2" fmla="*/ 36172 h 52616"/>
                  <a:gd name="connsiteX3" fmla="*/ 16444 w 32862"/>
                  <a:gd name="connsiteY3" fmla="*/ 19728 h 52616"/>
                  <a:gd name="connsiteX4" fmla="*/ 19728 w 32862"/>
                  <a:gd name="connsiteY4" fmla="*/ 16444 h 52616"/>
                  <a:gd name="connsiteX5" fmla="*/ 19728 w 32862"/>
                  <a:gd name="connsiteY5" fmla="*/ 6567 h 52616"/>
                  <a:gd name="connsiteX6" fmla="*/ 26295 w 32862"/>
                  <a:gd name="connsiteY6" fmla="*/ 0 h 52616"/>
                  <a:gd name="connsiteX7" fmla="*/ 32862 w 32862"/>
                  <a:gd name="connsiteY7" fmla="*/ 6567 h 52616"/>
                  <a:gd name="connsiteX8" fmla="*/ 32862 w 32862"/>
                  <a:gd name="connsiteY8" fmla="*/ 16444 h 52616"/>
                  <a:gd name="connsiteX9" fmla="*/ 16418 w 32862"/>
                  <a:gd name="connsiteY9" fmla="*/ 32888 h 52616"/>
                  <a:gd name="connsiteX10" fmla="*/ 13135 w 32862"/>
                  <a:gd name="connsiteY10" fmla="*/ 36172 h 52616"/>
                  <a:gd name="connsiteX11" fmla="*/ 13135 w 32862"/>
                  <a:gd name="connsiteY11" fmla="*/ 46049 h 52616"/>
                  <a:gd name="connsiteX12" fmla="*/ 6567 w 32862"/>
                  <a:gd name="connsiteY12" fmla="*/ 52616 h 52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862" h="52616">
                    <a:moveTo>
                      <a:pt x="6567" y="52616"/>
                    </a:moveTo>
                    <a:cubicBezTo>
                      <a:pt x="2945" y="52616"/>
                      <a:pt x="0" y="49671"/>
                      <a:pt x="0" y="46049"/>
                    </a:cubicBezTo>
                    <a:lnTo>
                      <a:pt x="0" y="36172"/>
                    </a:lnTo>
                    <a:cubicBezTo>
                      <a:pt x="0" y="27103"/>
                      <a:pt x="7375" y="19728"/>
                      <a:pt x="16444" y="19728"/>
                    </a:cubicBezTo>
                    <a:cubicBezTo>
                      <a:pt x="18268" y="19728"/>
                      <a:pt x="19728" y="18242"/>
                      <a:pt x="19728" y="16444"/>
                    </a:cubicBezTo>
                    <a:lnTo>
                      <a:pt x="19728" y="6567"/>
                    </a:lnTo>
                    <a:cubicBezTo>
                      <a:pt x="19728" y="2919"/>
                      <a:pt x="22673" y="0"/>
                      <a:pt x="26295" y="0"/>
                    </a:cubicBezTo>
                    <a:cubicBezTo>
                      <a:pt x="29917" y="0"/>
                      <a:pt x="32862" y="2945"/>
                      <a:pt x="32862" y="6567"/>
                    </a:cubicBezTo>
                    <a:lnTo>
                      <a:pt x="32862" y="16444"/>
                    </a:lnTo>
                    <a:cubicBezTo>
                      <a:pt x="32862" y="25513"/>
                      <a:pt x="25487" y="32888"/>
                      <a:pt x="16418" y="32888"/>
                    </a:cubicBezTo>
                    <a:cubicBezTo>
                      <a:pt x="14594" y="32888"/>
                      <a:pt x="13135" y="34374"/>
                      <a:pt x="13135" y="36172"/>
                    </a:cubicBezTo>
                    <a:lnTo>
                      <a:pt x="13135" y="46049"/>
                    </a:lnTo>
                    <a:cubicBezTo>
                      <a:pt x="13161" y="49671"/>
                      <a:pt x="10216" y="52616"/>
                      <a:pt x="6567" y="52616"/>
                    </a:cubicBezTo>
                    <a:close/>
                  </a:path>
                </a:pathLst>
              </a:custGeom>
              <a:solidFill>
                <a:schemeClr val="accent1"/>
              </a:solidFill>
              <a:ln w="2604" cap="flat">
                <a:noFill/>
                <a:prstDash val="solid"/>
                <a:miter/>
              </a:ln>
            </p:spPr>
            <p:txBody>
              <a:bodyPr rtlCol="0" anchor="ctr"/>
              <a:lstStyle/>
              <a:p>
                <a:endParaRPr lang="en-GB" dirty="0"/>
              </a:p>
            </p:txBody>
          </p:sp>
        </p:grpSp>
      </p:grpSp>
      <p:grpSp>
        <p:nvGrpSpPr>
          <p:cNvPr id="11" name="Group 10">
            <a:extLst>
              <a:ext uri="{FF2B5EF4-FFF2-40B4-BE49-F238E27FC236}">
                <a16:creationId xmlns:a16="http://schemas.microsoft.com/office/drawing/2014/main" id="{94EDD918-2E11-4A69-9DF3-45C87DC6D2B1}"/>
              </a:ext>
            </a:extLst>
          </p:cNvPr>
          <p:cNvGrpSpPr/>
          <p:nvPr/>
        </p:nvGrpSpPr>
        <p:grpSpPr>
          <a:xfrm>
            <a:off x="2629626" y="2391526"/>
            <a:ext cx="510585" cy="432000"/>
            <a:chOff x="2629626" y="2391526"/>
            <a:chExt cx="510585" cy="432000"/>
          </a:xfrm>
        </p:grpSpPr>
        <p:grpSp>
          <p:nvGrpSpPr>
            <p:cNvPr id="179" name="Group 178">
              <a:extLst>
                <a:ext uri="{FF2B5EF4-FFF2-40B4-BE49-F238E27FC236}">
                  <a16:creationId xmlns:a16="http://schemas.microsoft.com/office/drawing/2014/main" id="{888D4158-4386-43AA-BCA5-85662037FF24}"/>
                </a:ext>
              </a:extLst>
            </p:cNvPr>
            <p:cNvGrpSpPr/>
            <p:nvPr/>
          </p:nvGrpSpPr>
          <p:grpSpPr>
            <a:xfrm>
              <a:off x="2675422" y="2391526"/>
              <a:ext cx="464789" cy="432000"/>
              <a:chOff x="925194" y="3291168"/>
              <a:chExt cx="467095" cy="434143"/>
            </a:xfrm>
          </p:grpSpPr>
          <p:grpSp>
            <p:nvGrpSpPr>
              <p:cNvPr id="186" name="Grafik 234">
                <a:extLst>
                  <a:ext uri="{FF2B5EF4-FFF2-40B4-BE49-F238E27FC236}">
                    <a16:creationId xmlns:a16="http://schemas.microsoft.com/office/drawing/2014/main" id="{5608B197-3485-4716-9EA6-99E2D78E8793}"/>
                  </a:ext>
                </a:extLst>
              </p:cNvPr>
              <p:cNvGrpSpPr/>
              <p:nvPr/>
            </p:nvGrpSpPr>
            <p:grpSpPr>
              <a:xfrm>
                <a:off x="1043837" y="3291168"/>
                <a:ext cx="348452" cy="434143"/>
                <a:chOff x="1043837" y="3291168"/>
                <a:chExt cx="348452" cy="434143"/>
              </a:xfrm>
              <a:solidFill>
                <a:schemeClr val="tx2"/>
              </a:solidFill>
            </p:grpSpPr>
            <p:sp>
              <p:nvSpPr>
                <p:cNvPr id="194" name="Freihandform: Form 381">
                  <a:extLst>
                    <a:ext uri="{FF2B5EF4-FFF2-40B4-BE49-F238E27FC236}">
                      <a16:creationId xmlns:a16="http://schemas.microsoft.com/office/drawing/2014/main" id="{618D938F-66A8-4B94-A4C7-8737475AE68A}"/>
                    </a:ext>
                  </a:extLst>
                </p:cNvPr>
                <p:cNvSpPr/>
                <p:nvPr/>
              </p:nvSpPr>
              <p:spPr>
                <a:xfrm>
                  <a:off x="1197420" y="3494858"/>
                  <a:ext cx="52648" cy="230453"/>
                </a:xfrm>
                <a:custGeom>
                  <a:avLst/>
                  <a:gdLst>
                    <a:gd name="connsiteX0" fmla="*/ 46052 w 52648"/>
                    <a:gd name="connsiteY0" fmla="*/ 230454 h 230453"/>
                    <a:gd name="connsiteX1" fmla="*/ 6570 w 52648"/>
                    <a:gd name="connsiteY1" fmla="*/ 230454 h 230453"/>
                    <a:gd name="connsiteX2" fmla="*/ 1853 w 52648"/>
                    <a:gd name="connsiteY2" fmla="*/ 228447 h 230453"/>
                    <a:gd name="connsiteX3" fmla="*/ 3 w 52648"/>
                    <a:gd name="connsiteY3" fmla="*/ 223678 h 230453"/>
                    <a:gd name="connsiteX4" fmla="*/ 6570 w 52648"/>
                    <a:gd name="connsiteY4" fmla="*/ 0 h 230453"/>
                    <a:gd name="connsiteX5" fmla="*/ 19731 w 52648"/>
                    <a:gd name="connsiteY5" fmla="*/ 391 h 230453"/>
                    <a:gd name="connsiteX6" fmla="*/ 13346 w 52648"/>
                    <a:gd name="connsiteY6" fmla="*/ 217293 h 230453"/>
                    <a:gd name="connsiteX7" fmla="*/ 39276 w 52648"/>
                    <a:gd name="connsiteY7" fmla="*/ 217293 h 230453"/>
                    <a:gd name="connsiteX8" fmla="*/ 32891 w 52648"/>
                    <a:gd name="connsiteY8" fmla="*/ 391 h 230453"/>
                    <a:gd name="connsiteX9" fmla="*/ 46052 w 52648"/>
                    <a:gd name="connsiteY9" fmla="*/ 0 h 230453"/>
                    <a:gd name="connsiteX10" fmla="*/ 52645 w 52648"/>
                    <a:gd name="connsiteY10" fmla="*/ 223678 h 230453"/>
                    <a:gd name="connsiteX11" fmla="*/ 50795 w 52648"/>
                    <a:gd name="connsiteY11" fmla="*/ 228447 h 230453"/>
                    <a:gd name="connsiteX12" fmla="*/ 46052 w 52648"/>
                    <a:gd name="connsiteY12" fmla="*/ 230454 h 230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648" h="230453">
                      <a:moveTo>
                        <a:pt x="46052" y="230454"/>
                      </a:moveTo>
                      <a:lnTo>
                        <a:pt x="6570" y="230454"/>
                      </a:lnTo>
                      <a:cubicBezTo>
                        <a:pt x="4798" y="230454"/>
                        <a:pt x="3078" y="229724"/>
                        <a:pt x="1853" y="228447"/>
                      </a:cubicBezTo>
                      <a:cubicBezTo>
                        <a:pt x="602" y="227170"/>
                        <a:pt x="-49" y="225450"/>
                        <a:pt x="3" y="223678"/>
                      </a:cubicBezTo>
                      <a:lnTo>
                        <a:pt x="6570" y="0"/>
                      </a:lnTo>
                      <a:lnTo>
                        <a:pt x="19731" y="391"/>
                      </a:lnTo>
                      <a:lnTo>
                        <a:pt x="13346" y="217293"/>
                      </a:lnTo>
                      <a:lnTo>
                        <a:pt x="39276" y="217293"/>
                      </a:lnTo>
                      <a:lnTo>
                        <a:pt x="32891" y="391"/>
                      </a:lnTo>
                      <a:lnTo>
                        <a:pt x="46052" y="0"/>
                      </a:lnTo>
                      <a:lnTo>
                        <a:pt x="52645" y="223678"/>
                      </a:lnTo>
                      <a:cubicBezTo>
                        <a:pt x="52697" y="225450"/>
                        <a:pt x="52020" y="227170"/>
                        <a:pt x="50795" y="228447"/>
                      </a:cubicBezTo>
                      <a:cubicBezTo>
                        <a:pt x="49544" y="229750"/>
                        <a:pt x="47850" y="230454"/>
                        <a:pt x="46052" y="230454"/>
                      </a:cubicBezTo>
                      <a:close/>
                    </a:path>
                  </a:pathLst>
                </a:custGeom>
                <a:solidFill>
                  <a:schemeClr val="accent1"/>
                </a:solidFill>
                <a:ln w="2604" cap="flat">
                  <a:noFill/>
                  <a:prstDash val="solid"/>
                  <a:miter/>
                </a:ln>
              </p:spPr>
              <p:txBody>
                <a:bodyPr rtlCol="0" anchor="ctr"/>
                <a:lstStyle/>
                <a:p>
                  <a:endParaRPr lang="en-GB" dirty="0"/>
                </a:p>
              </p:txBody>
            </p:sp>
            <p:sp>
              <p:nvSpPr>
                <p:cNvPr id="195" name="Freihandform: Form 382">
                  <a:extLst>
                    <a:ext uri="{FF2B5EF4-FFF2-40B4-BE49-F238E27FC236}">
                      <a16:creationId xmlns:a16="http://schemas.microsoft.com/office/drawing/2014/main" id="{D0C65278-A919-4F42-AF46-0D194E5E35B8}"/>
                    </a:ext>
                  </a:extLst>
                </p:cNvPr>
                <p:cNvSpPr/>
                <p:nvPr/>
              </p:nvSpPr>
              <p:spPr>
                <a:xfrm>
                  <a:off x="1197423" y="3455584"/>
                  <a:ext cx="52642" cy="52642"/>
                </a:xfrm>
                <a:custGeom>
                  <a:avLst/>
                  <a:gdLst>
                    <a:gd name="connsiteX0" fmla="*/ 26321 w 52642"/>
                    <a:gd name="connsiteY0" fmla="*/ 52642 h 52642"/>
                    <a:gd name="connsiteX1" fmla="*/ 0 w 52642"/>
                    <a:gd name="connsiteY1" fmla="*/ 26321 h 52642"/>
                    <a:gd name="connsiteX2" fmla="*/ 26321 w 52642"/>
                    <a:gd name="connsiteY2" fmla="*/ 0 h 52642"/>
                    <a:gd name="connsiteX3" fmla="*/ 52642 w 52642"/>
                    <a:gd name="connsiteY3" fmla="*/ 26321 h 52642"/>
                    <a:gd name="connsiteX4" fmla="*/ 26321 w 52642"/>
                    <a:gd name="connsiteY4" fmla="*/ 52642 h 52642"/>
                    <a:gd name="connsiteX5" fmla="*/ 26321 w 52642"/>
                    <a:gd name="connsiteY5" fmla="*/ 13161 h 52642"/>
                    <a:gd name="connsiteX6" fmla="*/ 13161 w 52642"/>
                    <a:gd name="connsiteY6" fmla="*/ 26321 h 52642"/>
                    <a:gd name="connsiteX7" fmla="*/ 26321 w 52642"/>
                    <a:gd name="connsiteY7" fmla="*/ 39482 h 52642"/>
                    <a:gd name="connsiteX8" fmla="*/ 39482 w 52642"/>
                    <a:gd name="connsiteY8" fmla="*/ 26321 h 52642"/>
                    <a:gd name="connsiteX9" fmla="*/ 26321 w 52642"/>
                    <a:gd name="connsiteY9" fmla="*/ 13161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642" h="52642">
                      <a:moveTo>
                        <a:pt x="26321" y="52642"/>
                      </a:moveTo>
                      <a:cubicBezTo>
                        <a:pt x="11805" y="52642"/>
                        <a:pt x="0" y="40837"/>
                        <a:pt x="0" y="26321"/>
                      </a:cubicBezTo>
                      <a:cubicBezTo>
                        <a:pt x="0" y="11805"/>
                        <a:pt x="11805" y="0"/>
                        <a:pt x="26321" y="0"/>
                      </a:cubicBezTo>
                      <a:cubicBezTo>
                        <a:pt x="40837" y="0"/>
                        <a:pt x="52642" y="11805"/>
                        <a:pt x="52642" y="26321"/>
                      </a:cubicBezTo>
                      <a:cubicBezTo>
                        <a:pt x="52642" y="40837"/>
                        <a:pt x="40837" y="52642"/>
                        <a:pt x="26321" y="52642"/>
                      </a:cubicBezTo>
                      <a:close/>
                      <a:moveTo>
                        <a:pt x="26321" y="13161"/>
                      </a:moveTo>
                      <a:cubicBezTo>
                        <a:pt x="19076" y="13161"/>
                        <a:pt x="13161" y="19076"/>
                        <a:pt x="13161" y="26321"/>
                      </a:cubicBezTo>
                      <a:cubicBezTo>
                        <a:pt x="13161" y="33566"/>
                        <a:pt x="19050" y="39482"/>
                        <a:pt x="26321" y="39482"/>
                      </a:cubicBezTo>
                      <a:cubicBezTo>
                        <a:pt x="33566" y="39482"/>
                        <a:pt x="39482" y="33566"/>
                        <a:pt x="39482" y="26321"/>
                      </a:cubicBezTo>
                      <a:cubicBezTo>
                        <a:pt x="39482" y="19076"/>
                        <a:pt x="33566" y="13161"/>
                        <a:pt x="26321" y="13161"/>
                      </a:cubicBezTo>
                      <a:close/>
                    </a:path>
                  </a:pathLst>
                </a:custGeom>
                <a:solidFill>
                  <a:schemeClr val="accent1"/>
                </a:solidFill>
                <a:ln w="2604" cap="flat">
                  <a:noFill/>
                  <a:prstDash val="solid"/>
                  <a:miter/>
                </a:ln>
              </p:spPr>
              <p:txBody>
                <a:bodyPr rtlCol="0" anchor="ctr"/>
                <a:lstStyle/>
                <a:p>
                  <a:endParaRPr lang="en-GB" dirty="0"/>
                </a:p>
              </p:txBody>
            </p:sp>
            <p:sp>
              <p:nvSpPr>
                <p:cNvPr id="196" name="Freihandform: Form 383">
                  <a:extLst>
                    <a:ext uri="{FF2B5EF4-FFF2-40B4-BE49-F238E27FC236}">
                      <a16:creationId xmlns:a16="http://schemas.microsoft.com/office/drawing/2014/main" id="{B20650EB-3D85-4AED-8C4E-E1992256C0BB}"/>
                    </a:ext>
                  </a:extLst>
                </p:cNvPr>
                <p:cNvSpPr/>
                <p:nvPr/>
              </p:nvSpPr>
              <p:spPr>
                <a:xfrm>
                  <a:off x="1197423" y="3291168"/>
                  <a:ext cx="39455" cy="157848"/>
                </a:xfrm>
                <a:custGeom>
                  <a:avLst/>
                  <a:gdLst>
                    <a:gd name="connsiteX0" fmla="*/ 32888 w 39455"/>
                    <a:gd name="connsiteY0" fmla="*/ 157849 h 157848"/>
                    <a:gd name="connsiteX1" fmla="*/ 19728 w 39455"/>
                    <a:gd name="connsiteY1" fmla="*/ 157849 h 157848"/>
                    <a:gd name="connsiteX2" fmla="*/ 13343 w 39455"/>
                    <a:gd name="connsiteY2" fmla="*/ 152871 h 157848"/>
                    <a:gd name="connsiteX3" fmla="*/ 182 w 39455"/>
                    <a:gd name="connsiteY3" fmla="*/ 100255 h 157848"/>
                    <a:gd name="connsiteX4" fmla="*/ 0 w 39455"/>
                    <a:gd name="connsiteY4" fmla="*/ 98665 h 157848"/>
                    <a:gd name="connsiteX5" fmla="*/ 0 w 39455"/>
                    <a:gd name="connsiteY5" fmla="*/ 6567 h 157848"/>
                    <a:gd name="connsiteX6" fmla="*/ 6567 w 39455"/>
                    <a:gd name="connsiteY6" fmla="*/ 0 h 157848"/>
                    <a:gd name="connsiteX7" fmla="*/ 32888 w 39455"/>
                    <a:gd name="connsiteY7" fmla="*/ 0 h 157848"/>
                    <a:gd name="connsiteX8" fmla="*/ 39456 w 39455"/>
                    <a:gd name="connsiteY8" fmla="*/ 6567 h 157848"/>
                    <a:gd name="connsiteX9" fmla="*/ 39456 w 39455"/>
                    <a:gd name="connsiteY9" fmla="*/ 151308 h 157848"/>
                    <a:gd name="connsiteX10" fmla="*/ 32888 w 39455"/>
                    <a:gd name="connsiteY10" fmla="*/ 157849 h 157848"/>
                    <a:gd name="connsiteX11" fmla="*/ 24888 w 39455"/>
                    <a:gd name="connsiteY11" fmla="*/ 144688 h 157848"/>
                    <a:gd name="connsiteX12" fmla="*/ 26321 w 39455"/>
                    <a:gd name="connsiteY12" fmla="*/ 144688 h 157848"/>
                    <a:gd name="connsiteX13" fmla="*/ 26321 w 39455"/>
                    <a:gd name="connsiteY13" fmla="*/ 13109 h 157848"/>
                    <a:gd name="connsiteX14" fmla="*/ 13161 w 39455"/>
                    <a:gd name="connsiteY14" fmla="*/ 13109 h 157848"/>
                    <a:gd name="connsiteX15" fmla="*/ 13161 w 39455"/>
                    <a:gd name="connsiteY15" fmla="*/ 97831 h 157848"/>
                    <a:gd name="connsiteX16" fmla="*/ 24888 w 39455"/>
                    <a:gd name="connsiteY16" fmla="*/ 144688 h 15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55" h="157848">
                      <a:moveTo>
                        <a:pt x="32888" y="157849"/>
                      </a:moveTo>
                      <a:lnTo>
                        <a:pt x="19728" y="157849"/>
                      </a:lnTo>
                      <a:cubicBezTo>
                        <a:pt x="16705" y="157849"/>
                        <a:pt x="14073" y="155790"/>
                        <a:pt x="13343" y="152871"/>
                      </a:cubicBezTo>
                      <a:lnTo>
                        <a:pt x="182" y="100255"/>
                      </a:lnTo>
                      <a:cubicBezTo>
                        <a:pt x="52" y="99734"/>
                        <a:pt x="0" y="99213"/>
                        <a:pt x="0" y="98665"/>
                      </a:cubicBezTo>
                      <a:lnTo>
                        <a:pt x="0" y="6567"/>
                      </a:lnTo>
                      <a:cubicBezTo>
                        <a:pt x="0" y="2919"/>
                        <a:pt x="2945" y="0"/>
                        <a:pt x="6567" y="0"/>
                      </a:cubicBezTo>
                      <a:lnTo>
                        <a:pt x="32888" y="0"/>
                      </a:lnTo>
                      <a:cubicBezTo>
                        <a:pt x="36511" y="0"/>
                        <a:pt x="39456" y="2945"/>
                        <a:pt x="39456" y="6567"/>
                      </a:cubicBezTo>
                      <a:lnTo>
                        <a:pt x="39456" y="151308"/>
                      </a:lnTo>
                      <a:cubicBezTo>
                        <a:pt x="39482" y="154904"/>
                        <a:pt x="36537" y="157849"/>
                        <a:pt x="32888" y="157849"/>
                      </a:cubicBezTo>
                      <a:close/>
                      <a:moveTo>
                        <a:pt x="24888" y="144688"/>
                      </a:moveTo>
                      <a:lnTo>
                        <a:pt x="26321" y="144688"/>
                      </a:lnTo>
                      <a:lnTo>
                        <a:pt x="26321" y="13109"/>
                      </a:lnTo>
                      <a:lnTo>
                        <a:pt x="13161" y="13109"/>
                      </a:lnTo>
                      <a:lnTo>
                        <a:pt x="13161" y="97831"/>
                      </a:lnTo>
                      <a:lnTo>
                        <a:pt x="24888" y="144688"/>
                      </a:lnTo>
                      <a:close/>
                    </a:path>
                  </a:pathLst>
                </a:custGeom>
                <a:solidFill>
                  <a:schemeClr val="accent1"/>
                </a:solidFill>
                <a:ln w="2604" cap="flat">
                  <a:noFill/>
                  <a:prstDash val="solid"/>
                  <a:miter/>
                </a:ln>
              </p:spPr>
              <p:txBody>
                <a:bodyPr rtlCol="0" anchor="ctr"/>
                <a:lstStyle/>
                <a:p>
                  <a:endParaRPr lang="en-GB" dirty="0"/>
                </a:p>
              </p:txBody>
            </p:sp>
            <p:sp>
              <p:nvSpPr>
                <p:cNvPr id="197" name="Freihandform: Form 384">
                  <a:extLst>
                    <a:ext uri="{FF2B5EF4-FFF2-40B4-BE49-F238E27FC236}">
                      <a16:creationId xmlns:a16="http://schemas.microsoft.com/office/drawing/2014/main" id="{ABDAF1C1-93BD-4E09-B19F-E1BEE74A2164}"/>
                    </a:ext>
                  </a:extLst>
                </p:cNvPr>
                <p:cNvSpPr/>
                <p:nvPr/>
              </p:nvSpPr>
              <p:spPr>
                <a:xfrm>
                  <a:off x="1254894" y="3488617"/>
                  <a:ext cx="137395" cy="120333"/>
                </a:xfrm>
                <a:custGeom>
                  <a:avLst/>
                  <a:gdLst>
                    <a:gd name="connsiteX0" fmla="*/ 115180 w 137395"/>
                    <a:gd name="connsiteY0" fmla="*/ 120334 h 120333"/>
                    <a:gd name="connsiteX1" fmla="*/ 111271 w 137395"/>
                    <a:gd name="connsiteY1" fmla="*/ 119057 h 120333"/>
                    <a:gd name="connsiteX2" fmla="*/ 37181 w 137395"/>
                    <a:gd name="connsiteY2" fmla="*/ 64329 h 120333"/>
                    <a:gd name="connsiteX3" fmla="*/ 36008 w 137395"/>
                    <a:gd name="connsiteY3" fmla="*/ 63209 h 120333"/>
                    <a:gd name="connsiteX4" fmla="*/ 1504 w 137395"/>
                    <a:gd name="connsiteY4" fmla="*/ 21356 h 120333"/>
                    <a:gd name="connsiteX5" fmla="*/ 1295 w 137395"/>
                    <a:gd name="connsiteY5" fmla="*/ 13251 h 120333"/>
                    <a:gd name="connsiteX6" fmla="*/ 9114 w 137395"/>
                    <a:gd name="connsiteY6" fmla="*/ 2670 h 120333"/>
                    <a:gd name="connsiteX7" fmla="*/ 18313 w 137395"/>
                    <a:gd name="connsiteY7" fmla="*/ 1289 h 120333"/>
                    <a:gd name="connsiteX8" fmla="*/ 134725 w 137395"/>
                    <a:gd name="connsiteY8" fmla="*/ 87289 h 120333"/>
                    <a:gd name="connsiteX9" fmla="*/ 136107 w 137395"/>
                    <a:gd name="connsiteY9" fmla="*/ 96488 h 120333"/>
                    <a:gd name="connsiteX10" fmla="*/ 120470 w 137395"/>
                    <a:gd name="connsiteY10" fmla="*/ 117649 h 120333"/>
                    <a:gd name="connsiteX11" fmla="*/ 116144 w 137395"/>
                    <a:gd name="connsiteY11" fmla="*/ 120255 h 120333"/>
                    <a:gd name="connsiteX12" fmla="*/ 115180 w 137395"/>
                    <a:gd name="connsiteY12" fmla="*/ 120334 h 120333"/>
                    <a:gd name="connsiteX13" fmla="*/ 45650 w 137395"/>
                    <a:gd name="connsiteY13" fmla="*/ 54218 h 120333"/>
                    <a:gd name="connsiteX14" fmla="*/ 113773 w 137395"/>
                    <a:gd name="connsiteY14" fmla="*/ 104541 h 120333"/>
                    <a:gd name="connsiteX15" fmla="*/ 121591 w 137395"/>
                    <a:gd name="connsiteY15" fmla="*/ 93960 h 120333"/>
                    <a:gd name="connsiteX16" fmla="*/ 15759 w 137395"/>
                    <a:gd name="connsiteY16" fmla="*/ 15779 h 120333"/>
                    <a:gd name="connsiteX17" fmla="*/ 14899 w 137395"/>
                    <a:gd name="connsiteY17" fmla="*/ 16925 h 120333"/>
                    <a:gd name="connsiteX18" fmla="*/ 45650 w 137395"/>
                    <a:gd name="connsiteY18" fmla="*/ 54218 h 120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7395" h="120333">
                      <a:moveTo>
                        <a:pt x="115180" y="120334"/>
                      </a:moveTo>
                      <a:cubicBezTo>
                        <a:pt x="113773" y="120334"/>
                        <a:pt x="112418" y="119891"/>
                        <a:pt x="111271" y="119057"/>
                      </a:cubicBezTo>
                      <a:lnTo>
                        <a:pt x="37181" y="64329"/>
                      </a:lnTo>
                      <a:cubicBezTo>
                        <a:pt x="36738" y="64017"/>
                        <a:pt x="36347" y="63626"/>
                        <a:pt x="36008" y="63209"/>
                      </a:cubicBezTo>
                      <a:lnTo>
                        <a:pt x="1504" y="21356"/>
                      </a:lnTo>
                      <a:cubicBezTo>
                        <a:pt x="-425" y="19036"/>
                        <a:pt x="-503" y="15700"/>
                        <a:pt x="1295" y="13251"/>
                      </a:cubicBezTo>
                      <a:lnTo>
                        <a:pt x="9114" y="2670"/>
                      </a:lnTo>
                      <a:cubicBezTo>
                        <a:pt x="11276" y="-249"/>
                        <a:pt x="15394" y="-874"/>
                        <a:pt x="18313" y="1289"/>
                      </a:cubicBezTo>
                      <a:lnTo>
                        <a:pt x="134725" y="87289"/>
                      </a:lnTo>
                      <a:cubicBezTo>
                        <a:pt x="137644" y="89452"/>
                        <a:pt x="138270" y="93569"/>
                        <a:pt x="136107" y="96488"/>
                      </a:cubicBezTo>
                      <a:lnTo>
                        <a:pt x="120470" y="117649"/>
                      </a:lnTo>
                      <a:cubicBezTo>
                        <a:pt x="119428" y="119057"/>
                        <a:pt x="117890" y="119995"/>
                        <a:pt x="116144" y="120255"/>
                      </a:cubicBezTo>
                      <a:cubicBezTo>
                        <a:pt x="115832" y="120307"/>
                        <a:pt x="115493" y="120334"/>
                        <a:pt x="115180" y="120334"/>
                      </a:cubicBezTo>
                      <a:close/>
                      <a:moveTo>
                        <a:pt x="45650" y="54218"/>
                      </a:moveTo>
                      <a:lnTo>
                        <a:pt x="113773" y="104541"/>
                      </a:lnTo>
                      <a:lnTo>
                        <a:pt x="121591" y="93960"/>
                      </a:lnTo>
                      <a:lnTo>
                        <a:pt x="15759" y="15779"/>
                      </a:lnTo>
                      <a:lnTo>
                        <a:pt x="14899" y="16925"/>
                      </a:lnTo>
                      <a:lnTo>
                        <a:pt x="45650" y="54218"/>
                      </a:lnTo>
                      <a:close/>
                    </a:path>
                  </a:pathLst>
                </a:custGeom>
                <a:solidFill>
                  <a:schemeClr val="accent1"/>
                </a:solidFill>
                <a:ln w="2604" cap="flat">
                  <a:noFill/>
                  <a:prstDash val="solid"/>
                  <a:miter/>
                </a:ln>
              </p:spPr>
              <p:txBody>
                <a:bodyPr rtlCol="0" anchor="ctr"/>
                <a:lstStyle/>
                <a:p>
                  <a:endParaRPr lang="en-GB" dirty="0"/>
                </a:p>
              </p:txBody>
            </p:sp>
            <p:sp>
              <p:nvSpPr>
                <p:cNvPr id="198" name="Freihandform: Form 385">
                  <a:extLst>
                    <a:ext uri="{FF2B5EF4-FFF2-40B4-BE49-F238E27FC236}">
                      <a16:creationId xmlns:a16="http://schemas.microsoft.com/office/drawing/2014/main" id="{770F36A5-FDC4-4402-A472-B19AB5DA9EFB}"/>
                    </a:ext>
                  </a:extLst>
                </p:cNvPr>
                <p:cNvSpPr/>
                <p:nvPr/>
              </p:nvSpPr>
              <p:spPr>
                <a:xfrm>
                  <a:off x="1043837" y="3488665"/>
                  <a:ext cx="144201" cy="111346"/>
                </a:xfrm>
                <a:custGeom>
                  <a:avLst/>
                  <a:gdLst>
                    <a:gd name="connsiteX0" fmla="*/ 22527 w 144201"/>
                    <a:gd name="connsiteY0" fmla="*/ 111347 h 111346"/>
                    <a:gd name="connsiteX1" fmla="*/ 21641 w 144201"/>
                    <a:gd name="connsiteY1" fmla="*/ 111295 h 111346"/>
                    <a:gd name="connsiteX2" fmla="*/ 17289 w 144201"/>
                    <a:gd name="connsiteY2" fmla="*/ 108767 h 111346"/>
                    <a:gd name="connsiteX3" fmla="*/ 1340 w 144201"/>
                    <a:gd name="connsiteY3" fmla="*/ 87840 h 111346"/>
                    <a:gd name="connsiteX4" fmla="*/ 2591 w 144201"/>
                    <a:gd name="connsiteY4" fmla="*/ 78615 h 111346"/>
                    <a:gd name="connsiteX5" fmla="*/ 75847 w 144201"/>
                    <a:gd name="connsiteY5" fmla="*/ 22793 h 111346"/>
                    <a:gd name="connsiteX6" fmla="*/ 77228 w 144201"/>
                    <a:gd name="connsiteY6" fmla="*/ 21985 h 111346"/>
                    <a:gd name="connsiteX7" fmla="*/ 127056 w 144201"/>
                    <a:gd name="connsiteY7" fmla="*/ 537 h 111346"/>
                    <a:gd name="connsiteX8" fmla="*/ 134874 w 144201"/>
                    <a:gd name="connsiteY8" fmla="*/ 2596 h 111346"/>
                    <a:gd name="connsiteX9" fmla="*/ 142849 w 144201"/>
                    <a:gd name="connsiteY9" fmla="*/ 13046 h 111346"/>
                    <a:gd name="connsiteX10" fmla="*/ 144152 w 144201"/>
                    <a:gd name="connsiteY10" fmla="*/ 17920 h 111346"/>
                    <a:gd name="connsiteX11" fmla="*/ 141624 w 144201"/>
                    <a:gd name="connsiteY11" fmla="*/ 22272 h 111346"/>
                    <a:gd name="connsiteX12" fmla="*/ 26540 w 144201"/>
                    <a:gd name="connsiteY12" fmla="*/ 110018 h 111346"/>
                    <a:gd name="connsiteX13" fmla="*/ 22527 w 144201"/>
                    <a:gd name="connsiteY13" fmla="*/ 111347 h 111346"/>
                    <a:gd name="connsiteX14" fmla="*/ 15777 w 144201"/>
                    <a:gd name="connsiteY14" fmla="*/ 85078 h 111346"/>
                    <a:gd name="connsiteX15" fmla="*/ 23752 w 144201"/>
                    <a:gd name="connsiteY15" fmla="*/ 95554 h 111346"/>
                    <a:gd name="connsiteX16" fmla="*/ 128385 w 144201"/>
                    <a:gd name="connsiteY16" fmla="*/ 15783 h 111346"/>
                    <a:gd name="connsiteX17" fmla="*/ 127499 w 144201"/>
                    <a:gd name="connsiteY17" fmla="*/ 14636 h 111346"/>
                    <a:gd name="connsiteX18" fmla="*/ 83144 w 144201"/>
                    <a:gd name="connsiteY18" fmla="*/ 33738 h 111346"/>
                    <a:gd name="connsiteX19" fmla="*/ 15777 w 144201"/>
                    <a:gd name="connsiteY19" fmla="*/ 85078 h 11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4201" h="111346">
                      <a:moveTo>
                        <a:pt x="22527" y="111347"/>
                      </a:moveTo>
                      <a:cubicBezTo>
                        <a:pt x="22240" y="111347"/>
                        <a:pt x="21954" y="111321"/>
                        <a:pt x="21641" y="111295"/>
                      </a:cubicBezTo>
                      <a:cubicBezTo>
                        <a:pt x="19921" y="111060"/>
                        <a:pt x="18357" y="110148"/>
                        <a:pt x="17289" y="108767"/>
                      </a:cubicBezTo>
                      <a:lnTo>
                        <a:pt x="1340" y="87840"/>
                      </a:lnTo>
                      <a:cubicBezTo>
                        <a:pt x="-849" y="84947"/>
                        <a:pt x="-302" y="80830"/>
                        <a:pt x="2591" y="78615"/>
                      </a:cubicBezTo>
                      <a:lnTo>
                        <a:pt x="75847" y="22793"/>
                      </a:lnTo>
                      <a:cubicBezTo>
                        <a:pt x="76290" y="22454"/>
                        <a:pt x="76733" y="22193"/>
                        <a:pt x="77228" y="21985"/>
                      </a:cubicBezTo>
                      <a:lnTo>
                        <a:pt x="127056" y="537"/>
                      </a:lnTo>
                      <a:cubicBezTo>
                        <a:pt x="129818" y="-662"/>
                        <a:pt x="133050" y="198"/>
                        <a:pt x="134874" y="2596"/>
                      </a:cubicBezTo>
                      <a:lnTo>
                        <a:pt x="142849" y="13046"/>
                      </a:lnTo>
                      <a:cubicBezTo>
                        <a:pt x="143917" y="14427"/>
                        <a:pt x="144360" y="16173"/>
                        <a:pt x="144152" y="17920"/>
                      </a:cubicBezTo>
                      <a:cubicBezTo>
                        <a:pt x="143917" y="19640"/>
                        <a:pt x="143005" y="21203"/>
                        <a:pt x="141624" y="22272"/>
                      </a:cubicBezTo>
                      <a:lnTo>
                        <a:pt x="26540" y="110018"/>
                      </a:lnTo>
                      <a:cubicBezTo>
                        <a:pt x="25367" y="110878"/>
                        <a:pt x="23960" y="111347"/>
                        <a:pt x="22527" y="111347"/>
                      </a:cubicBezTo>
                      <a:close/>
                      <a:moveTo>
                        <a:pt x="15777" y="85078"/>
                      </a:moveTo>
                      <a:lnTo>
                        <a:pt x="23752" y="95554"/>
                      </a:lnTo>
                      <a:lnTo>
                        <a:pt x="128385" y="15783"/>
                      </a:lnTo>
                      <a:lnTo>
                        <a:pt x="127499" y="14636"/>
                      </a:lnTo>
                      <a:lnTo>
                        <a:pt x="83144" y="33738"/>
                      </a:lnTo>
                      <a:lnTo>
                        <a:pt x="15777" y="85078"/>
                      </a:lnTo>
                      <a:close/>
                    </a:path>
                  </a:pathLst>
                </a:custGeom>
                <a:solidFill>
                  <a:schemeClr val="accent1"/>
                </a:solidFill>
                <a:ln w="2604" cap="flat">
                  <a:noFill/>
                  <a:prstDash val="solid"/>
                  <a:miter/>
                </a:ln>
              </p:spPr>
              <p:txBody>
                <a:bodyPr rtlCol="0" anchor="ctr"/>
                <a:lstStyle/>
                <a:p>
                  <a:endParaRPr lang="en-GB" dirty="0"/>
                </a:p>
              </p:txBody>
            </p:sp>
          </p:grpSp>
          <p:sp>
            <p:nvSpPr>
              <p:cNvPr id="187" name="Freihandform: Form 386">
                <a:extLst>
                  <a:ext uri="{FF2B5EF4-FFF2-40B4-BE49-F238E27FC236}">
                    <a16:creationId xmlns:a16="http://schemas.microsoft.com/office/drawing/2014/main" id="{738C89CF-DCAF-4549-840D-1237ACFE9802}"/>
                  </a:ext>
                </a:extLst>
              </p:cNvPr>
              <p:cNvSpPr/>
              <p:nvPr/>
            </p:nvSpPr>
            <p:spPr>
              <a:xfrm>
                <a:off x="1122831" y="3567430"/>
                <a:ext cx="72353" cy="47723"/>
              </a:xfrm>
              <a:custGeom>
                <a:avLst/>
                <a:gdLst>
                  <a:gd name="connsiteX0" fmla="*/ 65757 w 72353"/>
                  <a:gd name="connsiteY0" fmla="*/ 47723 h 47723"/>
                  <a:gd name="connsiteX1" fmla="*/ 63985 w 72353"/>
                  <a:gd name="connsiteY1" fmla="*/ 47489 h 47723"/>
                  <a:gd name="connsiteX2" fmla="*/ 1935 w 72353"/>
                  <a:gd name="connsiteY2" fmla="*/ 11239 h 47723"/>
                  <a:gd name="connsiteX3" fmla="*/ 1935 w 72353"/>
                  <a:gd name="connsiteY3" fmla="*/ 1935 h 47723"/>
                  <a:gd name="connsiteX4" fmla="*/ 11239 w 72353"/>
                  <a:gd name="connsiteY4" fmla="*/ 1935 h 47723"/>
                  <a:gd name="connsiteX5" fmla="*/ 67529 w 72353"/>
                  <a:gd name="connsiteY5" fmla="*/ 34797 h 47723"/>
                  <a:gd name="connsiteX6" fmla="*/ 72116 w 72353"/>
                  <a:gd name="connsiteY6" fmla="*/ 42902 h 47723"/>
                  <a:gd name="connsiteX7" fmla="*/ 65757 w 72353"/>
                  <a:gd name="connsiteY7" fmla="*/ 47723 h 4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353" h="47723">
                    <a:moveTo>
                      <a:pt x="65757" y="47723"/>
                    </a:moveTo>
                    <a:cubicBezTo>
                      <a:pt x="65184" y="47723"/>
                      <a:pt x="64585" y="47645"/>
                      <a:pt x="63985" y="47489"/>
                    </a:cubicBezTo>
                    <a:cubicBezTo>
                      <a:pt x="40635" y="41000"/>
                      <a:pt x="19161" y="28465"/>
                      <a:pt x="1935" y="11239"/>
                    </a:cubicBezTo>
                    <a:cubicBezTo>
                      <a:pt x="-645" y="8685"/>
                      <a:pt x="-645" y="4515"/>
                      <a:pt x="1935" y="1935"/>
                    </a:cubicBezTo>
                    <a:cubicBezTo>
                      <a:pt x="4515" y="-645"/>
                      <a:pt x="8659" y="-645"/>
                      <a:pt x="11239" y="1935"/>
                    </a:cubicBezTo>
                    <a:cubicBezTo>
                      <a:pt x="26875" y="17571"/>
                      <a:pt x="46342" y="28934"/>
                      <a:pt x="67529" y="34797"/>
                    </a:cubicBezTo>
                    <a:cubicBezTo>
                      <a:pt x="71022" y="35762"/>
                      <a:pt x="73080" y="39410"/>
                      <a:pt x="72116" y="42902"/>
                    </a:cubicBezTo>
                    <a:cubicBezTo>
                      <a:pt x="71282" y="45821"/>
                      <a:pt x="68624" y="47723"/>
                      <a:pt x="65757" y="47723"/>
                    </a:cubicBezTo>
                    <a:close/>
                  </a:path>
                </a:pathLst>
              </a:custGeom>
              <a:solidFill>
                <a:schemeClr val="tx2"/>
              </a:solidFill>
              <a:ln w="2604" cap="flat">
                <a:noFill/>
                <a:prstDash val="solid"/>
                <a:miter/>
              </a:ln>
            </p:spPr>
            <p:txBody>
              <a:bodyPr rtlCol="0" anchor="ctr"/>
              <a:lstStyle/>
              <a:p>
                <a:endParaRPr lang="en-GB" dirty="0"/>
              </a:p>
            </p:txBody>
          </p:sp>
          <p:sp>
            <p:nvSpPr>
              <p:cNvPr id="188" name="Freihandform: Form 387">
                <a:extLst>
                  <a:ext uri="{FF2B5EF4-FFF2-40B4-BE49-F238E27FC236}">
                    <a16:creationId xmlns:a16="http://schemas.microsoft.com/office/drawing/2014/main" id="{B53D82A1-4A88-4104-B148-4CCECCC95290}"/>
                  </a:ext>
                </a:extLst>
              </p:cNvPr>
              <p:cNvSpPr/>
              <p:nvPr/>
            </p:nvSpPr>
            <p:spPr>
              <a:xfrm>
                <a:off x="1083303" y="3391715"/>
                <a:ext cx="39659" cy="116512"/>
              </a:xfrm>
              <a:custGeom>
                <a:avLst/>
                <a:gdLst>
                  <a:gd name="connsiteX0" fmla="*/ 8522 w 39659"/>
                  <a:gd name="connsiteY0" fmla="*/ 116512 h 116512"/>
                  <a:gd name="connsiteX1" fmla="*/ 2059 w 39659"/>
                  <a:gd name="connsiteY1" fmla="*/ 111039 h 116512"/>
                  <a:gd name="connsiteX2" fmla="*/ 0 w 39659"/>
                  <a:gd name="connsiteY2" fmla="*/ 86881 h 116512"/>
                  <a:gd name="connsiteX3" fmla="*/ 27807 w 39659"/>
                  <a:gd name="connsiteY3" fmla="*/ 2653 h 116512"/>
                  <a:gd name="connsiteX4" fmla="*/ 37006 w 39659"/>
                  <a:gd name="connsiteY4" fmla="*/ 1298 h 116512"/>
                  <a:gd name="connsiteX5" fmla="*/ 38361 w 39659"/>
                  <a:gd name="connsiteY5" fmla="*/ 10498 h 116512"/>
                  <a:gd name="connsiteX6" fmla="*/ 13161 w 39659"/>
                  <a:gd name="connsiteY6" fmla="*/ 86881 h 116512"/>
                  <a:gd name="connsiteX7" fmla="*/ 15011 w 39659"/>
                  <a:gd name="connsiteY7" fmla="*/ 108798 h 116512"/>
                  <a:gd name="connsiteX8" fmla="*/ 9642 w 39659"/>
                  <a:gd name="connsiteY8" fmla="*/ 116408 h 116512"/>
                  <a:gd name="connsiteX9" fmla="*/ 8522 w 39659"/>
                  <a:gd name="connsiteY9" fmla="*/ 116512 h 11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59" h="116512">
                    <a:moveTo>
                      <a:pt x="8522" y="116512"/>
                    </a:moveTo>
                    <a:cubicBezTo>
                      <a:pt x="5368" y="116512"/>
                      <a:pt x="2606" y="114245"/>
                      <a:pt x="2059" y="111039"/>
                    </a:cubicBezTo>
                    <a:cubicBezTo>
                      <a:pt x="704" y="103117"/>
                      <a:pt x="0" y="94986"/>
                      <a:pt x="0" y="86881"/>
                    </a:cubicBezTo>
                    <a:cubicBezTo>
                      <a:pt x="0" y="56286"/>
                      <a:pt x="9616" y="27176"/>
                      <a:pt x="27807" y="2653"/>
                    </a:cubicBezTo>
                    <a:cubicBezTo>
                      <a:pt x="29970" y="-265"/>
                      <a:pt x="34087" y="-865"/>
                      <a:pt x="37006" y="1298"/>
                    </a:cubicBezTo>
                    <a:cubicBezTo>
                      <a:pt x="39925" y="3461"/>
                      <a:pt x="40524" y="7579"/>
                      <a:pt x="38361" y="10498"/>
                    </a:cubicBezTo>
                    <a:cubicBezTo>
                      <a:pt x="21865" y="32727"/>
                      <a:pt x="13161" y="59127"/>
                      <a:pt x="13161" y="86881"/>
                    </a:cubicBezTo>
                    <a:cubicBezTo>
                      <a:pt x="13161" y="94230"/>
                      <a:pt x="13786" y="101605"/>
                      <a:pt x="15011" y="108798"/>
                    </a:cubicBezTo>
                    <a:cubicBezTo>
                      <a:pt x="15636" y="112394"/>
                      <a:pt x="13213" y="115782"/>
                      <a:pt x="9642" y="116408"/>
                    </a:cubicBezTo>
                    <a:cubicBezTo>
                      <a:pt x="9278" y="116486"/>
                      <a:pt x="8887" y="116512"/>
                      <a:pt x="8522" y="116512"/>
                    </a:cubicBezTo>
                    <a:close/>
                  </a:path>
                </a:pathLst>
              </a:custGeom>
              <a:solidFill>
                <a:schemeClr val="tx2"/>
              </a:solidFill>
              <a:ln w="2604" cap="flat">
                <a:noFill/>
                <a:prstDash val="solid"/>
                <a:miter/>
              </a:ln>
            </p:spPr>
            <p:txBody>
              <a:bodyPr rtlCol="0" anchor="ctr"/>
              <a:lstStyle/>
              <a:p>
                <a:endParaRPr lang="en-GB" dirty="0"/>
              </a:p>
            </p:txBody>
          </p:sp>
          <p:sp>
            <p:nvSpPr>
              <p:cNvPr id="189" name="Freihandform: Form 388">
                <a:extLst>
                  <a:ext uri="{FF2B5EF4-FFF2-40B4-BE49-F238E27FC236}">
                    <a16:creationId xmlns:a16="http://schemas.microsoft.com/office/drawing/2014/main" id="{3BCFA88A-161A-4CBB-9CC1-A9AA7F17E8EA}"/>
                  </a:ext>
                </a:extLst>
              </p:cNvPr>
              <p:cNvSpPr/>
              <p:nvPr/>
            </p:nvSpPr>
            <p:spPr>
              <a:xfrm>
                <a:off x="1133796" y="3350360"/>
                <a:ext cx="39356" cy="29623"/>
              </a:xfrm>
              <a:custGeom>
                <a:avLst/>
                <a:gdLst>
                  <a:gd name="connsiteX0" fmla="*/ 6580 w 39356"/>
                  <a:gd name="connsiteY0" fmla="*/ 29623 h 29623"/>
                  <a:gd name="connsiteX1" fmla="*/ 1446 w 39356"/>
                  <a:gd name="connsiteY1" fmla="*/ 27173 h 29623"/>
                  <a:gd name="connsiteX2" fmla="*/ 2463 w 39356"/>
                  <a:gd name="connsiteY2" fmla="*/ 17922 h 29623"/>
                  <a:gd name="connsiteX3" fmla="*/ 29930 w 39356"/>
                  <a:gd name="connsiteY3" fmla="*/ 644 h 29623"/>
                  <a:gd name="connsiteX4" fmla="*/ 38713 w 39356"/>
                  <a:gd name="connsiteY4" fmla="*/ 3745 h 29623"/>
                  <a:gd name="connsiteX5" fmla="*/ 35612 w 39356"/>
                  <a:gd name="connsiteY5" fmla="*/ 12527 h 29623"/>
                  <a:gd name="connsiteX6" fmla="*/ 10698 w 39356"/>
                  <a:gd name="connsiteY6" fmla="*/ 28216 h 29623"/>
                  <a:gd name="connsiteX7" fmla="*/ 6580 w 39356"/>
                  <a:gd name="connsiteY7" fmla="*/ 29623 h 29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56" h="29623">
                    <a:moveTo>
                      <a:pt x="6580" y="29623"/>
                    </a:moveTo>
                    <a:cubicBezTo>
                      <a:pt x="4652" y="29623"/>
                      <a:pt x="2749" y="28789"/>
                      <a:pt x="1446" y="27173"/>
                    </a:cubicBezTo>
                    <a:cubicBezTo>
                      <a:pt x="-821" y="24333"/>
                      <a:pt x="-378" y="20189"/>
                      <a:pt x="2463" y="17922"/>
                    </a:cubicBezTo>
                    <a:cubicBezTo>
                      <a:pt x="10958" y="11120"/>
                      <a:pt x="20184" y="5308"/>
                      <a:pt x="29930" y="644"/>
                    </a:cubicBezTo>
                    <a:cubicBezTo>
                      <a:pt x="33188" y="-920"/>
                      <a:pt x="37123" y="461"/>
                      <a:pt x="38713" y="3745"/>
                    </a:cubicBezTo>
                    <a:cubicBezTo>
                      <a:pt x="40276" y="7029"/>
                      <a:pt x="38895" y="10964"/>
                      <a:pt x="35612" y="12527"/>
                    </a:cubicBezTo>
                    <a:cubicBezTo>
                      <a:pt x="26777" y="16749"/>
                      <a:pt x="18386" y="22039"/>
                      <a:pt x="10698" y="28216"/>
                    </a:cubicBezTo>
                    <a:cubicBezTo>
                      <a:pt x="9473" y="29154"/>
                      <a:pt x="8014" y="29623"/>
                      <a:pt x="6580" y="29623"/>
                    </a:cubicBezTo>
                    <a:close/>
                  </a:path>
                </a:pathLst>
              </a:custGeom>
              <a:solidFill>
                <a:schemeClr val="tx2"/>
              </a:solidFill>
              <a:ln w="2604" cap="flat">
                <a:noFill/>
                <a:prstDash val="solid"/>
                <a:miter/>
              </a:ln>
            </p:spPr>
            <p:txBody>
              <a:bodyPr rtlCol="0" anchor="ctr"/>
              <a:lstStyle/>
              <a:p>
                <a:endParaRPr lang="en-GB" dirty="0"/>
              </a:p>
            </p:txBody>
          </p:sp>
          <p:sp>
            <p:nvSpPr>
              <p:cNvPr id="190" name="Freihandform: Form 389">
                <a:extLst>
                  <a:ext uri="{FF2B5EF4-FFF2-40B4-BE49-F238E27FC236}">
                    <a16:creationId xmlns:a16="http://schemas.microsoft.com/office/drawing/2014/main" id="{66B7AF46-A0B4-4215-BB5E-0B41895D0B25}"/>
                  </a:ext>
                </a:extLst>
              </p:cNvPr>
              <p:cNvSpPr/>
              <p:nvPr/>
            </p:nvSpPr>
            <p:spPr>
              <a:xfrm>
                <a:off x="1254336" y="3342096"/>
                <a:ext cx="107456" cy="108796"/>
              </a:xfrm>
              <a:custGeom>
                <a:avLst/>
                <a:gdLst>
                  <a:gd name="connsiteX0" fmla="*/ 100857 w 107456"/>
                  <a:gd name="connsiteY0" fmla="*/ 108797 h 108796"/>
                  <a:gd name="connsiteX1" fmla="*/ 94499 w 107456"/>
                  <a:gd name="connsiteY1" fmla="*/ 103898 h 108796"/>
                  <a:gd name="connsiteX2" fmla="*/ 4824 w 107456"/>
                  <a:gd name="connsiteY2" fmla="*/ 12920 h 108796"/>
                  <a:gd name="connsiteX3" fmla="*/ 238 w 107456"/>
                  <a:gd name="connsiteY3" fmla="*/ 4815 h 108796"/>
                  <a:gd name="connsiteX4" fmla="*/ 8342 w 107456"/>
                  <a:gd name="connsiteY4" fmla="*/ 229 h 108796"/>
                  <a:gd name="connsiteX5" fmla="*/ 107242 w 107456"/>
                  <a:gd name="connsiteY5" fmla="*/ 100536 h 108796"/>
                  <a:gd name="connsiteX6" fmla="*/ 102551 w 107456"/>
                  <a:gd name="connsiteY6" fmla="*/ 108562 h 108796"/>
                  <a:gd name="connsiteX7" fmla="*/ 100857 w 107456"/>
                  <a:gd name="connsiteY7" fmla="*/ 108797 h 108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456" h="108796">
                    <a:moveTo>
                      <a:pt x="100857" y="108797"/>
                    </a:moveTo>
                    <a:cubicBezTo>
                      <a:pt x="97939" y="108797"/>
                      <a:pt x="95280" y="106842"/>
                      <a:pt x="94499" y="103898"/>
                    </a:cubicBezTo>
                    <a:cubicBezTo>
                      <a:pt x="82980" y="59933"/>
                      <a:pt x="48606" y="25090"/>
                      <a:pt x="4824" y="12920"/>
                    </a:cubicBezTo>
                    <a:cubicBezTo>
                      <a:pt x="1332" y="11956"/>
                      <a:pt x="-727" y="8307"/>
                      <a:pt x="238" y="4815"/>
                    </a:cubicBezTo>
                    <a:cubicBezTo>
                      <a:pt x="1202" y="1323"/>
                      <a:pt x="4850" y="-710"/>
                      <a:pt x="8342" y="229"/>
                    </a:cubicBezTo>
                    <a:cubicBezTo>
                      <a:pt x="56633" y="13624"/>
                      <a:pt x="94525" y="52063"/>
                      <a:pt x="107242" y="100536"/>
                    </a:cubicBezTo>
                    <a:cubicBezTo>
                      <a:pt x="108154" y="104054"/>
                      <a:pt x="106070" y="107650"/>
                      <a:pt x="102551" y="108562"/>
                    </a:cubicBezTo>
                    <a:cubicBezTo>
                      <a:pt x="101952" y="108719"/>
                      <a:pt x="101405" y="108797"/>
                      <a:pt x="100857" y="108797"/>
                    </a:cubicBezTo>
                    <a:close/>
                  </a:path>
                </a:pathLst>
              </a:custGeom>
              <a:solidFill>
                <a:schemeClr val="tx2"/>
              </a:solidFill>
              <a:ln w="2604" cap="flat">
                <a:noFill/>
                <a:prstDash val="solid"/>
                <a:miter/>
              </a:ln>
            </p:spPr>
            <p:txBody>
              <a:bodyPr rtlCol="0" anchor="ctr"/>
              <a:lstStyle/>
              <a:p>
                <a:endParaRPr lang="en-GB" dirty="0"/>
              </a:p>
            </p:txBody>
          </p:sp>
          <p:sp>
            <p:nvSpPr>
              <p:cNvPr id="191" name="Freihandform: Form 390">
                <a:extLst>
                  <a:ext uri="{FF2B5EF4-FFF2-40B4-BE49-F238E27FC236}">
                    <a16:creationId xmlns:a16="http://schemas.microsoft.com/office/drawing/2014/main" id="{453E97E1-F73D-453E-AF85-52F5EC9A8640}"/>
                  </a:ext>
                </a:extLst>
              </p:cNvPr>
              <p:cNvSpPr/>
              <p:nvPr/>
            </p:nvSpPr>
            <p:spPr>
              <a:xfrm>
                <a:off x="1346087" y="3472055"/>
                <a:ext cx="20051" cy="55899"/>
              </a:xfrm>
              <a:custGeom>
                <a:avLst/>
                <a:gdLst>
                  <a:gd name="connsiteX0" fmla="*/ 6578 w 20051"/>
                  <a:gd name="connsiteY0" fmla="*/ 55900 h 55899"/>
                  <a:gd name="connsiteX1" fmla="*/ 4493 w 20051"/>
                  <a:gd name="connsiteY1" fmla="*/ 55561 h 55899"/>
                  <a:gd name="connsiteX2" fmla="*/ 350 w 20051"/>
                  <a:gd name="connsiteY2" fmla="*/ 47248 h 55899"/>
                  <a:gd name="connsiteX3" fmla="*/ 6917 w 20051"/>
                  <a:gd name="connsiteY3" fmla="*/ 6567 h 55899"/>
                  <a:gd name="connsiteX4" fmla="*/ 13484 w 20051"/>
                  <a:gd name="connsiteY4" fmla="*/ 0 h 55899"/>
                  <a:gd name="connsiteX5" fmla="*/ 20051 w 20051"/>
                  <a:gd name="connsiteY5" fmla="*/ 6567 h 55899"/>
                  <a:gd name="connsiteX6" fmla="*/ 12781 w 20051"/>
                  <a:gd name="connsiteY6" fmla="*/ 51417 h 55899"/>
                  <a:gd name="connsiteX7" fmla="*/ 6578 w 20051"/>
                  <a:gd name="connsiteY7" fmla="*/ 55900 h 55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51" h="55899">
                    <a:moveTo>
                      <a:pt x="6578" y="55900"/>
                    </a:moveTo>
                    <a:cubicBezTo>
                      <a:pt x="5875" y="55900"/>
                      <a:pt x="5197" y="55796"/>
                      <a:pt x="4493" y="55561"/>
                    </a:cubicBezTo>
                    <a:cubicBezTo>
                      <a:pt x="1053" y="54414"/>
                      <a:pt x="-823" y="50688"/>
                      <a:pt x="350" y="47248"/>
                    </a:cubicBezTo>
                    <a:cubicBezTo>
                      <a:pt x="4702" y="34191"/>
                      <a:pt x="6917" y="20510"/>
                      <a:pt x="6917" y="6567"/>
                    </a:cubicBezTo>
                    <a:cubicBezTo>
                      <a:pt x="6917" y="2919"/>
                      <a:pt x="9862" y="0"/>
                      <a:pt x="13484" y="0"/>
                    </a:cubicBezTo>
                    <a:cubicBezTo>
                      <a:pt x="17107" y="0"/>
                      <a:pt x="20051" y="2945"/>
                      <a:pt x="20051" y="6567"/>
                    </a:cubicBezTo>
                    <a:cubicBezTo>
                      <a:pt x="20051" y="21917"/>
                      <a:pt x="17602" y="37006"/>
                      <a:pt x="12781" y="51417"/>
                    </a:cubicBezTo>
                    <a:cubicBezTo>
                      <a:pt x="11895" y="54180"/>
                      <a:pt x="9341" y="55900"/>
                      <a:pt x="6578" y="55900"/>
                    </a:cubicBezTo>
                    <a:close/>
                  </a:path>
                </a:pathLst>
              </a:custGeom>
              <a:solidFill>
                <a:schemeClr val="tx2"/>
              </a:solidFill>
              <a:ln w="2604" cap="flat">
                <a:noFill/>
                <a:prstDash val="solid"/>
                <a:miter/>
              </a:ln>
            </p:spPr>
            <p:txBody>
              <a:bodyPr rtlCol="0" anchor="ctr"/>
              <a:lstStyle/>
              <a:p>
                <a:endParaRPr lang="en-GB" dirty="0"/>
              </a:p>
            </p:txBody>
          </p:sp>
          <p:sp>
            <p:nvSpPr>
              <p:cNvPr id="192" name="Freihandform: Form 391">
                <a:extLst>
                  <a:ext uri="{FF2B5EF4-FFF2-40B4-BE49-F238E27FC236}">
                    <a16:creationId xmlns:a16="http://schemas.microsoft.com/office/drawing/2014/main" id="{7659EE21-01EF-4F0F-9A27-1C011ABD4FEC}"/>
                  </a:ext>
                </a:extLst>
              </p:cNvPr>
              <p:cNvSpPr/>
              <p:nvPr/>
            </p:nvSpPr>
            <p:spPr>
              <a:xfrm>
                <a:off x="1254334" y="3578929"/>
                <a:ext cx="59203" cy="36224"/>
              </a:xfrm>
              <a:custGeom>
                <a:avLst/>
                <a:gdLst>
                  <a:gd name="connsiteX0" fmla="*/ 6572 w 59203"/>
                  <a:gd name="connsiteY0" fmla="*/ 36224 h 36224"/>
                  <a:gd name="connsiteX1" fmla="*/ 239 w 59203"/>
                  <a:gd name="connsiteY1" fmla="*/ 31403 h 36224"/>
                  <a:gd name="connsiteX2" fmla="*/ 4826 w 59203"/>
                  <a:gd name="connsiteY2" fmla="*/ 23298 h 36224"/>
                  <a:gd name="connsiteX3" fmla="*/ 48608 w 59203"/>
                  <a:gd name="connsiteY3" fmla="*/ 1381 h 36224"/>
                  <a:gd name="connsiteX4" fmla="*/ 57833 w 59203"/>
                  <a:gd name="connsiteY4" fmla="*/ 2580 h 36224"/>
                  <a:gd name="connsiteX5" fmla="*/ 56634 w 59203"/>
                  <a:gd name="connsiteY5" fmla="*/ 11805 h 36224"/>
                  <a:gd name="connsiteX6" fmla="*/ 8318 w 59203"/>
                  <a:gd name="connsiteY6" fmla="*/ 35990 h 36224"/>
                  <a:gd name="connsiteX7" fmla="*/ 6572 w 59203"/>
                  <a:gd name="connsiteY7" fmla="*/ 36224 h 36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03" h="36224">
                    <a:moveTo>
                      <a:pt x="6572" y="36224"/>
                    </a:moveTo>
                    <a:cubicBezTo>
                      <a:pt x="3679" y="36224"/>
                      <a:pt x="1047" y="34322"/>
                      <a:pt x="239" y="31403"/>
                    </a:cubicBezTo>
                    <a:cubicBezTo>
                      <a:pt x="-725" y="27911"/>
                      <a:pt x="1308" y="24288"/>
                      <a:pt x="4826" y="23298"/>
                    </a:cubicBezTo>
                    <a:cubicBezTo>
                      <a:pt x="20749" y="18868"/>
                      <a:pt x="35473" y="11493"/>
                      <a:pt x="48608" y="1381"/>
                    </a:cubicBezTo>
                    <a:cubicBezTo>
                      <a:pt x="51474" y="-860"/>
                      <a:pt x="55618" y="-313"/>
                      <a:pt x="57833" y="2580"/>
                    </a:cubicBezTo>
                    <a:cubicBezTo>
                      <a:pt x="60048" y="5447"/>
                      <a:pt x="59527" y="9590"/>
                      <a:pt x="56634" y="11805"/>
                    </a:cubicBezTo>
                    <a:cubicBezTo>
                      <a:pt x="42145" y="22959"/>
                      <a:pt x="25909" y="31116"/>
                      <a:pt x="8318" y="35990"/>
                    </a:cubicBezTo>
                    <a:cubicBezTo>
                      <a:pt x="7745" y="36146"/>
                      <a:pt x="7172" y="36224"/>
                      <a:pt x="6572" y="36224"/>
                    </a:cubicBezTo>
                    <a:close/>
                  </a:path>
                </a:pathLst>
              </a:custGeom>
              <a:solidFill>
                <a:schemeClr val="tx2"/>
              </a:solidFill>
              <a:ln w="2604" cap="flat">
                <a:noFill/>
                <a:prstDash val="solid"/>
                <a:miter/>
              </a:ln>
            </p:spPr>
            <p:txBody>
              <a:bodyPr rtlCol="0" anchor="ctr"/>
              <a:lstStyle/>
              <a:p>
                <a:endParaRPr lang="en-GB" dirty="0"/>
              </a:p>
            </p:txBody>
          </p:sp>
          <p:sp>
            <p:nvSpPr>
              <p:cNvPr id="193" name="Freihandform: Form 397">
                <a:extLst>
                  <a:ext uri="{FF2B5EF4-FFF2-40B4-BE49-F238E27FC236}">
                    <a16:creationId xmlns:a16="http://schemas.microsoft.com/office/drawing/2014/main" id="{FFD05CA3-F701-4586-9064-EA2159D58537}"/>
                  </a:ext>
                </a:extLst>
              </p:cNvPr>
              <p:cNvSpPr/>
              <p:nvPr/>
            </p:nvSpPr>
            <p:spPr>
              <a:xfrm>
                <a:off x="925194" y="3475338"/>
                <a:ext cx="256566" cy="210517"/>
              </a:xfrm>
              <a:custGeom>
                <a:avLst/>
                <a:gdLst>
                  <a:gd name="connsiteX0" fmla="*/ 256566 w 256566"/>
                  <a:gd name="connsiteY0" fmla="*/ 210517 h 210517"/>
                  <a:gd name="connsiteX1" fmla="*/ 110679 w 256566"/>
                  <a:gd name="connsiteY1" fmla="*/ 210517 h 210517"/>
                  <a:gd name="connsiteX2" fmla="*/ 85531 w 256566"/>
                  <a:gd name="connsiteY2" fmla="*/ 185369 h 210517"/>
                  <a:gd name="connsiteX3" fmla="*/ 85531 w 256566"/>
                  <a:gd name="connsiteY3" fmla="*/ 25148 h 210517"/>
                  <a:gd name="connsiteX4" fmla="*/ 73543 w 256566"/>
                  <a:gd name="connsiteY4" fmla="*/ 13161 h 210517"/>
                  <a:gd name="connsiteX5" fmla="*/ 25148 w 256566"/>
                  <a:gd name="connsiteY5" fmla="*/ 13161 h 210517"/>
                  <a:gd name="connsiteX6" fmla="*/ 13161 w 256566"/>
                  <a:gd name="connsiteY6" fmla="*/ 25148 h 210517"/>
                  <a:gd name="connsiteX7" fmla="*/ 13161 w 256566"/>
                  <a:gd name="connsiteY7" fmla="*/ 59210 h 210517"/>
                  <a:gd name="connsiteX8" fmla="*/ 0 w 256566"/>
                  <a:gd name="connsiteY8" fmla="*/ 59210 h 210517"/>
                  <a:gd name="connsiteX9" fmla="*/ 0 w 256566"/>
                  <a:gd name="connsiteY9" fmla="*/ 25148 h 210517"/>
                  <a:gd name="connsiteX10" fmla="*/ 25148 w 256566"/>
                  <a:gd name="connsiteY10" fmla="*/ 0 h 210517"/>
                  <a:gd name="connsiteX11" fmla="*/ 73543 w 256566"/>
                  <a:gd name="connsiteY11" fmla="*/ 0 h 210517"/>
                  <a:gd name="connsiteX12" fmla="*/ 98691 w 256566"/>
                  <a:gd name="connsiteY12" fmla="*/ 25148 h 210517"/>
                  <a:gd name="connsiteX13" fmla="*/ 98691 w 256566"/>
                  <a:gd name="connsiteY13" fmla="*/ 185369 h 210517"/>
                  <a:gd name="connsiteX14" fmla="*/ 110679 w 256566"/>
                  <a:gd name="connsiteY14" fmla="*/ 197357 h 210517"/>
                  <a:gd name="connsiteX15" fmla="*/ 256566 w 256566"/>
                  <a:gd name="connsiteY15" fmla="*/ 197357 h 210517"/>
                  <a:gd name="connsiteX16" fmla="*/ 256566 w 256566"/>
                  <a:gd name="connsiteY16" fmla="*/ 210517 h 210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6566" h="210517">
                    <a:moveTo>
                      <a:pt x="256566" y="210517"/>
                    </a:moveTo>
                    <a:lnTo>
                      <a:pt x="110679" y="210517"/>
                    </a:lnTo>
                    <a:cubicBezTo>
                      <a:pt x="96815" y="210517"/>
                      <a:pt x="85531" y="199233"/>
                      <a:pt x="85531" y="185369"/>
                    </a:cubicBezTo>
                    <a:lnTo>
                      <a:pt x="85531" y="25148"/>
                    </a:lnTo>
                    <a:cubicBezTo>
                      <a:pt x="85531" y="18529"/>
                      <a:pt x="80162" y="13161"/>
                      <a:pt x="73543" y="13161"/>
                    </a:cubicBezTo>
                    <a:lnTo>
                      <a:pt x="25148" y="13161"/>
                    </a:lnTo>
                    <a:cubicBezTo>
                      <a:pt x="18529" y="13161"/>
                      <a:pt x="13161" y="18529"/>
                      <a:pt x="13161" y="25148"/>
                    </a:cubicBezTo>
                    <a:lnTo>
                      <a:pt x="13161" y="59210"/>
                    </a:lnTo>
                    <a:lnTo>
                      <a:pt x="0" y="59210"/>
                    </a:lnTo>
                    <a:lnTo>
                      <a:pt x="0" y="25148"/>
                    </a:lnTo>
                    <a:cubicBezTo>
                      <a:pt x="0" y="11284"/>
                      <a:pt x="11284" y="0"/>
                      <a:pt x="25148" y="0"/>
                    </a:cubicBezTo>
                    <a:lnTo>
                      <a:pt x="73543" y="0"/>
                    </a:lnTo>
                    <a:cubicBezTo>
                      <a:pt x="87407" y="0"/>
                      <a:pt x="98691" y="11284"/>
                      <a:pt x="98691" y="25148"/>
                    </a:cubicBezTo>
                    <a:lnTo>
                      <a:pt x="98691" y="185369"/>
                    </a:lnTo>
                    <a:cubicBezTo>
                      <a:pt x="98691" y="191988"/>
                      <a:pt x="104060" y="197357"/>
                      <a:pt x="110679" y="197357"/>
                    </a:cubicBezTo>
                    <a:lnTo>
                      <a:pt x="256566" y="197357"/>
                    </a:lnTo>
                    <a:lnTo>
                      <a:pt x="256566" y="210517"/>
                    </a:lnTo>
                    <a:close/>
                  </a:path>
                </a:pathLst>
              </a:custGeom>
              <a:solidFill>
                <a:schemeClr val="tx2"/>
              </a:solidFill>
              <a:ln w="2604" cap="flat">
                <a:noFill/>
                <a:prstDash val="solid"/>
                <a:miter/>
              </a:ln>
            </p:spPr>
            <p:txBody>
              <a:bodyPr rtlCol="0" anchor="ctr"/>
              <a:lstStyle/>
              <a:p>
                <a:endParaRPr lang="en-GB" dirty="0"/>
              </a:p>
            </p:txBody>
          </p:sp>
        </p:grpSp>
        <p:grpSp>
          <p:nvGrpSpPr>
            <p:cNvPr id="180" name="Group 179">
              <a:extLst>
                <a:ext uri="{FF2B5EF4-FFF2-40B4-BE49-F238E27FC236}">
                  <a16:creationId xmlns:a16="http://schemas.microsoft.com/office/drawing/2014/main" id="{9EB970D2-D189-435F-AE05-F250E4922DD8}"/>
                </a:ext>
              </a:extLst>
            </p:cNvPr>
            <p:cNvGrpSpPr/>
            <p:nvPr/>
          </p:nvGrpSpPr>
          <p:grpSpPr>
            <a:xfrm>
              <a:off x="2629626" y="2627170"/>
              <a:ext cx="104713" cy="196356"/>
              <a:chOff x="879171" y="3527981"/>
              <a:chExt cx="105232" cy="197330"/>
            </a:xfrm>
          </p:grpSpPr>
          <p:sp>
            <p:nvSpPr>
              <p:cNvPr id="181" name="Freihandform: Form 392">
                <a:extLst>
                  <a:ext uri="{FF2B5EF4-FFF2-40B4-BE49-F238E27FC236}">
                    <a16:creationId xmlns:a16="http://schemas.microsoft.com/office/drawing/2014/main" id="{35E92635-B4EC-4925-A8D5-2AB5E602A49C}"/>
                  </a:ext>
                </a:extLst>
              </p:cNvPr>
              <p:cNvSpPr/>
              <p:nvPr/>
            </p:nvSpPr>
            <p:spPr>
              <a:xfrm>
                <a:off x="879171" y="3554302"/>
                <a:ext cx="105232" cy="171009"/>
              </a:xfrm>
              <a:custGeom>
                <a:avLst/>
                <a:gdLst>
                  <a:gd name="connsiteX0" fmla="*/ 98665 w 105232"/>
                  <a:gd name="connsiteY0" fmla="*/ 171009 h 171009"/>
                  <a:gd name="connsiteX1" fmla="*/ 6567 w 105232"/>
                  <a:gd name="connsiteY1" fmla="*/ 171009 h 171009"/>
                  <a:gd name="connsiteX2" fmla="*/ 0 w 105232"/>
                  <a:gd name="connsiteY2" fmla="*/ 164442 h 171009"/>
                  <a:gd name="connsiteX3" fmla="*/ 0 w 105232"/>
                  <a:gd name="connsiteY3" fmla="*/ 6567 h 171009"/>
                  <a:gd name="connsiteX4" fmla="*/ 6567 w 105232"/>
                  <a:gd name="connsiteY4" fmla="*/ 0 h 171009"/>
                  <a:gd name="connsiteX5" fmla="*/ 98665 w 105232"/>
                  <a:gd name="connsiteY5" fmla="*/ 0 h 171009"/>
                  <a:gd name="connsiteX6" fmla="*/ 105233 w 105232"/>
                  <a:gd name="connsiteY6" fmla="*/ 6567 h 171009"/>
                  <a:gd name="connsiteX7" fmla="*/ 105233 w 105232"/>
                  <a:gd name="connsiteY7" fmla="*/ 164442 h 171009"/>
                  <a:gd name="connsiteX8" fmla="*/ 98665 w 105232"/>
                  <a:gd name="connsiteY8" fmla="*/ 171009 h 171009"/>
                  <a:gd name="connsiteX9" fmla="*/ 13135 w 105232"/>
                  <a:gd name="connsiteY9" fmla="*/ 157875 h 171009"/>
                  <a:gd name="connsiteX10" fmla="*/ 92072 w 105232"/>
                  <a:gd name="connsiteY10" fmla="*/ 157875 h 171009"/>
                  <a:gd name="connsiteX11" fmla="*/ 92072 w 105232"/>
                  <a:gd name="connsiteY11" fmla="*/ 13134 h 171009"/>
                  <a:gd name="connsiteX12" fmla="*/ 13135 w 105232"/>
                  <a:gd name="connsiteY12" fmla="*/ 13134 h 171009"/>
                  <a:gd name="connsiteX13" fmla="*/ 13135 w 105232"/>
                  <a:gd name="connsiteY13" fmla="*/ 157875 h 17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232" h="171009">
                    <a:moveTo>
                      <a:pt x="98665" y="171009"/>
                    </a:moveTo>
                    <a:lnTo>
                      <a:pt x="6567" y="171009"/>
                    </a:lnTo>
                    <a:cubicBezTo>
                      <a:pt x="2945" y="171009"/>
                      <a:pt x="0" y="168065"/>
                      <a:pt x="0" y="164442"/>
                    </a:cubicBezTo>
                    <a:lnTo>
                      <a:pt x="0" y="6567"/>
                    </a:lnTo>
                    <a:cubicBezTo>
                      <a:pt x="0" y="2919"/>
                      <a:pt x="2945" y="0"/>
                      <a:pt x="6567" y="0"/>
                    </a:cubicBezTo>
                    <a:lnTo>
                      <a:pt x="98665" y="0"/>
                    </a:lnTo>
                    <a:cubicBezTo>
                      <a:pt x="102288" y="0"/>
                      <a:pt x="105233" y="2945"/>
                      <a:pt x="105233" y="6567"/>
                    </a:cubicBezTo>
                    <a:lnTo>
                      <a:pt x="105233" y="164442"/>
                    </a:lnTo>
                    <a:cubicBezTo>
                      <a:pt x="105233" y="168065"/>
                      <a:pt x="102288" y="171009"/>
                      <a:pt x="98665" y="171009"/>
                    </a:cubicBezTo>
                    <a:close/>
                    <a:moveTo>
                      <a:pt x="13135" y="157875"/>
                    </a:moveTo>
                    <a:lnTo>
                      <a:pt x="92072" y="157875"/>
                    </a:lnTo>
                    <a:lnTo>
                      <a:pt x="92072" y="13134"/>
                    </a:lnTo>
                    <a:lnTo>
                      <a:pt x="13135" y="13134"/>
                    </a:lnTo>
                    <a:lnTo>
                      <a:pt x="13135" y="157875"/>
                    </a:lnTo>
                    <a:close/>
                  </a:path>
                </a:pathLst>
              </a:custGeom>
              <a:solidFill>
                <a:schemeClr val="accent1"/>
              </a:solidFill>
              <a:ln w="2604" cap="flat">
                <a:noFill/>
                <a:prstDash val="solid"/>
                <a:miter/>
              </a:ln>
            </p:spPr>
            <p:txBody>
              <a:bodyPr rtlCol="0" anchor="ctr"/>
              <a:lstStyle/>
              <a:p>
                <a:endParaRPr lang="en-GB" dirty="0"/>
              </a:p>
            </p:txBody>
          </p:sp>
          <p:sp>
            <p:nvSpPr>
              <p:cNvPr id="182" name="Freihandform: Form 393">
                <a:extLst>
                  <a:ext uri="{FF2B5EF4-FFF2-40B4-BE49-F238E27FC236}">
                    <a16:creationId xmlns:a16="http://schemas.microsoft.com/office/drawing/2014/main" id="{761CB416-8297-4B51-91D1-BBB79EFFC3AD}"/>
                  </a:ext>
                </a:extLst>
              </p:cNvPr>
              <p:cNvSpPr/>
              <p:nvPr/>
            </p:nvSpPr>
            <p:spPr>
              <a:xfrm>
                <a:off x="898899" y="3527981"/>
                <a:ext cx="65776" cy="39455"/>
              </a:xfrm>
              <a:custGeom>
                <a:avLst/>
                <a:gdLst>
                  <a:gd name="connsiteX0" fmla="*/ 59210 w 65776"/>
                  <a:gd name="connsiteY0" fmla="*/ 39456 h 39455"/>
                  <a:gd name="connsiteX1" fmla="*/ 6567 w 65776"/>
                  <a:gd name="connsiteY1" fmla="*/ 39456 h 39455"/>
                  <a:gd name="connsiteX2" fmla="*/ 0 w 65776"/>
                  <a:gd name="connsiteY2" fmla="*/ 32888 h 39455"/>
                  <a:gd name="connsiteX3" fmla="*/ 0 w 65776"/>
                  <a:gd name="connsiteY3" fmla="*/ 13056 h 39455"/>
                  <a:gd name="connsiteX4" fmla="*/ 13056 w 65776"/>
                  <a:gd name="connsiteY4" fmla="*/ 0 h 39455"/>
                  <a:gd name="connsiteX5" fmla="*/ 52721 w 65776"/>
                  <a:gd name="connsiteY5" fmla="*/ 0 h 39455"/>
                  <a:gd name="connsiteX6" fmla="*/ 65777 w 65776"/>
                  <a:gd name="connsiteY6" fmla="*/ 13056 h 39455"/>
                  <a:gd name="connsiteX7" fmla="*/ 65777 w 65776"/>
                  <a:gd name="connsiteY7" fmla="*/ 32888 h 39455"/>
                  <a:gd name="connsiteX8" fmla="*/ 59210 w 65776"/>
                  <a:gd name="connsiteY8" fmla="*/ 39456 h 39455"/>
                  <a:gd name="connsiteX9" fmla="*/ 13108 w 65776"/>
                  <a:gd name="connsiteY9" fmla="*/ 26295 h 39455"/>
                  <a:gd name="connsiteX10" fmla="*/ 52616 w 65776"/>
                  <a:gd name="connsiteY10" fmla="*/ 26295 h 39455"/>
                  <a:gd name="connsiteX11" fmla="*/ 52616 w 65776"/>
                  <a:gd name="connsiteY11" fmla="*/ 13135 h 39455"/>
                  <a:gd name="connsiteX12" fmla="*/ 13056 w 65776"/>
                  <a:gd name="connsiteY12" fmla="*/ 13135 h 39455"/>
                  <a:gd name="connsiteX13" fmla="*/ 13108 w 65776"/>
                  <a:gd name="connsiteY13" fmla="*/ 26295 h 39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776" h="39455">
                    <a:moveTo>
                      <a:pt x="59210" y="39456"/>
                    </a:moveTo>
                    <a:lnTo>
                      <a:pt x="6567" y="39456"/>
                    </a:lnTo>
                    <a:cubicBezTo>
                      <a:pt x="2945" y="39456"/>
                      <a:pt x="0" y="36511"/>
                      <a:pt x="0" y="32888"/>
                    </a:cubicBezTo>
                    <a:lnTo>
                      <a:pt x="0" y="13056"/>
                    </a:lnTo>
                    <a:cubicBezTo>
                      <a:pt x="0" y="5864"/>
                      <a:pt x="5864" y="0"/>
                      <a:pt x="13056" y="0"/>
                    </a:cubicBezTo>
                    <a:lnTo>
                      <a:pt x="52721" y="0"/>
                    </a:lnTo>
                    <a:cubicBezTo>
                      <a:pt x="59913" y="0"/>
                      <a:pt x="65777" y="5864"/>
                      <a:pt x="65777" y="13056"/>
                    </a:cubicBezTo>
                    <a:lnTo>
                      <a:pt x="65777" y="32888"/>
                    </a:lnTo>
                    <a:cubicBezTo>
                      <a:pt x="65777" y="36511"/>
                      <a:pt x="62832" y="39456"/>
                      <a:pt x="59210" y="39456"/>
                    </a:cubicBezTo>
                    <a:close/>
                    <a:moveTo>
                      <a:pt x="13108" y="26295"/>
                    </a:moveTo>
                    <a:lnTo>
                      <a:pt x="52616" y="26295"/>
                    </a:lnTo>
                    <a:lnTo>
                      <a:pt x="52616" y="13135"/>
                    </a:lnTo>
                    <a:lnTo>
                      <a:pt x="13056" y="13135"/>
                    </a:lnTo>
                    <a:lnTo>
                      <a:pt x="13108" y="26295"/>
                    </a:lnTo>
                    <a:close/>
                  </a:path>
                </a:pathLst>
              </a:custGeom>
              <a:solidFill>
                <a:schemeClr val="accent1"/>
              </a:solidFill>
              <a:ln w="2604" cap="flat">
                <a:noFill/>
                <a:prstDash val="solid"/>
                <a:miter/>
              </a:ln>
            </p:spPr>
            <p:txBody>
              <a:bodyPr rtlCol="0" anchor="ctr"/>
              <a:lstStyle/>
              <a:p>
                <a:endParaRPr lang="en-GB" dirty="0"/>
              </a:p>
            </p:txBody>
          </p:sp>
          <p:sp>
            <p:nvSpPr>
              <p:cNvPr id="183" name="Freihandform: Form 394">
                <a:extLst>
                  <a:ext uri="{FF2B5EF4-FFF2-40B4-BE49-F238E27FC236}">
                    <a16:creationId xmlns:a16="http://schemas.microsoft.com/office/drawing/2014/main" id="{D0F0C6B2-8A71-4F06-807A-5FBE83600891}"/>
                  </a:ext>
                </a:extLst>
              </p:cNvPr>
              <p:cNvSpPr/>
              <p:nvPr/>
            </p:nvSpPr>
            <p:spPr>
              <a:xfrm>
                <a:off x="905466" y="3685856"/>
                <a:ext cx="52616" cy="13160"/>
              </a:xfrm>
              <a:custGeom>
                <a:avLst/>
                <a:gdLst>
                  <a:gd name="connsiteX0" fmla="*/ 0 w 52616"/>
                  <a:gd name="connsiteY0" fmla="*/ 0 h 13160"/>
                  <a:gd name="connsiteX1" fmla="*/ 52616 w 52616"/>
                  <a:gd name="connsiteY1" fmla="*/ 0 h 13160"/>
                  <a:gd name="connsiteX2" fmla="*/ 52616 w 52616"/>
                  <a:gd name="connsiteY2" fmla="*/ 13161 h 13160"/>
                  <a:gd name="connsiteX3" fmla="*/ 0 w 52616"/>
                  <a:gd name="connsiteY3" fmla="*/ 13161 h 13160"/>
                </a:gdLst>
                <a:ahLst/>
                <a:cxnLst>
                  <a:cxn ang="0">
                    <a:pos x="connsiteX0" y="connsiteY0"/>
                  </a:cxn>
                  <a:cxn ang="0">
                    <a:pos x="connsiteX1" y="connsiteY1"/>
                  </a:cxn>
                  <a:cxn ang="0">
                    <a:pos x="connsiteX2" y="connsiteY2"/>
                  </a:cxn>
                  <a:cxn ang="0">
                    <a:pos x="connsiteX3" y="connsiteY3"/>
                  </a:cxn>
                </a:cxnLst>
                <a:rect l="l" t="t" r="r" b="b"/>
                <a:pathLst>
                  <a:path w="52616" h="13160">
                    <a:moveTo>
                      <a:pt x="0" y="0"/>
                    </a:moveTo>
                    <a:lnTo>
                      <a:pt x="52616" y="0"/>
                    </a:lnTo>
                    <a:lnTo>
                      <a:pt x="52616" y="13161"/>
                    </a:lnTo>
                    <a:lnTo>
                      <a:pt x="0" y="13161"/>
                    </a:lnTo>
                    <a:close/>
                  </a:path>
                </a:pathLst>
              </a:custGeom>
              <a:solidFill>
                <a:schemeClr val="accent1"/>
              </a:solidFill>
              <a:ln w="2604" cap="flat">
                <a:noFill/>
                <a:prstDash val="solid"/>
                <a:miter/>
              </a:ln>
            </p:spPr>
            <p:txBody>
              <a:bodyPr rtlCol="0" anchor="ctr"/>
              <a:lstStyle/>
              <a:p>
                <a:endParaRPr lang="en-GB" dirty="0"/>
              </a:p>
            </p:txBody>
          </p:sp>
          <p:sp>
            <p:nvSpPr>
              <p:cNvPr id="184" name="Freihandform: Form 395">
                <a:extLst>
                  <a:ext uri="{FF2B5EF4-FFF2-40B4-BE49-F238E27FC236}">
                    <a16:creationId xmlns:a16="http://schemas.microsoft.com/office/drawing/2014/main" id="{38E2BF0D-F803-4A51-AF71-0CD9CA708A13}"/>
                  </a:ext>
                </a:extLst>
              </p:cNvPr>
              <p:cNvSpPr/>
              <p:nvPr/>
            </p:nvSpPr>
            <p:spPr>
              <a:xfrm>
                <a:off x="905466" y="3652967"/>
                <a:ext cx="52616" cy="13160"/>
              </a:xfrm>
              <a:custGeom>
                <a:avLst/>
                <a:gdLst>
                  <a:gd name="connsiteX0" fmla="*/ 0 w 52616"/>
                  <a:gd name="connsiteY0" fmla="*/ 0 h 13160"/>
                  <a:gd name="connsiteX1" fmla="*/ 52616 w 52616"/>
                  <a:gd name="connsiteY1" fmla="*/ 0 h 13160"/>
                  <a:gd name="connsiteX2" fmla="*/ 52616 w 52616"/>
                  <a:gd name="connsiteY2" fmla="*/ 13161 h 13160"/>
                  <a:gd name="connsiteX3" fmla="*/ 0 w 52616"/>
                  <a:gd name="connsiteY3" fmla="*/ 13161 h 13160"/>
                </a:gdLst>
                <a:ahLst/>
                <a:cxnLst>
                  <a:cxn ang="0">
                    <a:pos x="connsiteX0" y="connsiteY0"/>
                  </a:cxn>
                  <a:cxn ang="0">
                    <a:pos x="connsiteX1" y="connsiteY1"/>
                  </a:cxn>
                  <a:cxn ang="0">
                    <a:pos x="connsiteX2" y="connsiteY2"/>
                  </a:cxn>
                  <a:cxn ang="0">
                    <a:pos x="connsiteX3" y="connsiteY3"/>
                  </a:cxn>
                </a:cxnLst>
                <a:rect l="l" t="t" r="r" b="b"/>
                <a:pathLst>
                  <a:path w="52616" h="13160">
                    <a:moveTo>
                      <a:pt x="0" y="0"/>
                    </a:moveTo>
                    <a:lnTo>
                      <a:pt x="52616" y="0"/>
                    </a:lnTo>
                    <a:lnTo>
                      <a:pt x="52616" y="13161"/>
                    </a:lnTo>
                    <a:lnTo>
                      <a:pt x="0" y="13161"/>
                    </a:lnTo>
                    <a:close/>
                  </a:path>
                </a:pathLst>
              </a:custGeom>
              <a:solidFill>
                <a:schemeClr val="accent1"/>
              </a:solidFill>
              <a:ln w="2604" cap="flat">
                <a:noFill/>
                <a:prstDash val="solid"/>
                <a:miter/>
              </a:ln>
            </p:spPr>
            <p:txBody>
              <a:bodyPr rtlCol="0" anchor="ctr"/>
              <a:lstStyle/>
              <a:p>
                <a:endParaRPr lang="en-GB" dirty="0"/>
              </a:p>
            </p:txBody>
          </p:sp>
          <p:sp>
            <p:nvSpPr>
              <p:cNvPr id="185" name="Freihandform: Form 396">
                <a:extLst>
                  <a:ext uri="{FF2B5EF4-FFF2-40B4-BE49-F238E27FC236}">
                    <a16:creationId xmlns:a16="http://schemas.microsoft.com/office/drawing/2014/main" id="{0C585437-21A0-4DEA-98ED-6E64BF892B78}"/>
                  </a:ext>
                </a:extLst>
              </p:cNvPr>
              <p:cNvSpPr/>
              <p:nvPr/>
            </p:nvSpPr>
            <p:spPr>
              <a:xfrm>
                <a:off x="905466" y="3620053"/>
                <a:ext cx="52616" cy="13160"/>
              </a:xfrm>
              <a:custGeom>
                <a:avLst/>
                <a:gdLst>
                  <a:gd name="connsiteX0" fmla="*/ 0 w 52616"/>
                  <a:gd name="connsiteY0" fmla="*/ 0 h 13160"/>
                  <a:gd name="connsiteX1" fmla="*/ 52616 w 52616"/>
                  <a:gd name="connsiteY1" fmla="*/ 0 h 13160"/>
                  <a:gd name="connsiteX2" fmla="*/ 52616 w 52616"/>
                  <a:gd name="connsiteY2" fmla="*/ 13161 h 13160"/>
                  <a:gd name="connsiteX3" fmla="*/ 0 w 52616"/>
                  <a:gd name="connsiteY3" fmla="*/ 13161 h 13160"/>
                </a:gdLst>
                <a:ahLst/>
                <a:cxnLst>
                  <a:cxn ang="0">
                    <a:pos x="connsiteX0" y="connsiteY0"/>
                  </a:cxn>
                  <a:cxn ang="0">
                    <a:pos x="connsiteX1" y="connsiteY1"/>
                  </a:cxn>
                  <a:cxn ang="0">
                    <a:pos x="connsiteX2" y="connsiteY2"/>
                  </a:cxn>
                  <a:cxn ang="0">
                    <a:pos x="connsiteX3" y="connsiteY3"/>
                  </a:cxn>
                </a:cxnLst>
                <a:rect l="l" t="t" r="r" b="b"/>
                <a:pathLst>
                  <a:path w="52616" h="13160">
                    <a:moveTo>
                      <a:pt x="0" y="0"/>
                    </a:moveTo>
                    <a:lnTo>
                      <a:pt x="52616" y="0"/>
                    </a:lnTo>
                    <a:lnTo>
                      <a:pt x="52616" y="13161"/>
                    </a:lnTo>
                    <a:lnTo>
                      <a:pt x="0" y="13161"/>
                    </a:lnTo>
                    <a:close/>
                  </a:path>
                </a:pathLst>
              </a:custGeom>
              <a:solidFill>
                <a:schemeClr val="accent1"/>
              </a:solidFill>
              <a:ln w="2604" cap="flat">
                <a:noFill/>
                <a:prstDash val="solid"/>
                <a:miter/>
              </a:ln>
            </p:spPr>
            <p:txBody>
              <a:bodyPr rtlCol="0" anchor="ctr"/>
              <a:lstStyle/>
              <a:p>
                <a:endParaRPr lang="en-GB" dirty="0"/>
              </a:p>
            </p:txBody>
          </p:sp>
        </p:grpSp>
      </p:grpSp>
      <p:grpSp>
        <p:nvGrpSpPr>
          <p:cNvPr id="14" name="Group 13">
            <a:extLst>
              <a:ext uri="{FF2B5EF4-FFF2-40B4-BE49-F238E27FC236}">
                <a16:creationId xmlns:a16="http://schemas.microsoft.com/office/drawing/2014/main" id="{1ECA1130-07C4-4523-990A-F7CC9CABB32E}"/>
              </a:ext>
            </a:extLst>
          </p:cNvPr>
          <p:cNvGrpSpPr/>
          <p:nvPr/>
        </p:nvGrpSpPr>
        <p:grpSpPr>
          <a:xfrm>
            <a:off x="542006" y="3215511"/>
            <a:ext cx="504088" cy="395114"/>
            <a:chOff x="542006" y="3215511"/>
            <a:chExt cx="504088" cy="395114"/>
          </a:xfrm>
        </p:grpSpPr>
        <p:grpSp>
          <p:nvGrpSpPr>
            <p:cNvPr id="200" name="Grafik 234">
              <a:extLst>
                <a:ext uri="{FF2B5EF4-FFF2-40B4-BE49-F238E27FC236}">
                  <a16:creationId xmlns:a16="http://schemas.microsoft.com/office/drawing/2014/main" id="{7C1383C9-7208-4059-BDF6-CDE2A9B89348}"/>
                </a:ext>
              </a:extLst>
            </p:cNvPr>
            <p:cNvGrpSpPr/>
            <p:nvPr/>
          </p:nvGrpSpPr>
          <p:grpSpPr>
            <a:xfrm>
              <a:off x="671435" y="3317710"/>
              <a:ext cx="245257" cy="149858"/>
              <a:chOff x="2675109" y="3363512"/>
              <a:chExt cx="236838" cy="144714"/>
            </a:xfrm>
            <a:solidFill>
              <a:schemeClr val="accent1"/>
            </a:solidFill>
          </p:grpSpPr>
          <p:sp>
            <p:nvSpPr>
              <p:cNvPr id="213" name="Freihandform: Form 425">
                <a:extLst>
                  <a:ext uri="{FF2B5EF4-FFF2-40B4-BE49-F238E27FC236}">
                    <a16:creationId xmlns:a16="http://schemas.microsoft.com/office/drawing/2014/main" id="{781FCF58-E177-4763-B7AE-6EB95076F81B}"/>
                  </a:ext>
                </a:extLst>
              </p:cNvPr>
              <p:cNvSpPr/>
              <p:nvPr/>
            </p:nvSpPr>
            <p:spPr>
              <a:xfrm>
                <a:off x="2717755" y="3363512"/>
                <a:ext cx="151489" cy="65387"/>
              </a:xfrm>
              <a:custGeom>
                <a:avLst/>
                <a:gdLst>
                  <a:gd name="connsiteX0" fmla="*/ 116741 w 151489"/>
                  <a:gd name="connsiteY0" fmla="*/ 65386 h 65387"/>
                  <a:gd name="connsiteX1" fmla="*/ 113014 w 151489"/>
                  <a:gd name="connsiteY1" fmla="*/ 64213 h 65387"/>
                  <a:gd name="connsiteX2" fmla="*/ 38481 w 151489"/>
                  <a:gd name="connsiteY2" fmla="*/ 64213 h 65387"/>
                  <a:gd name="connsiteX3" fmla="*/ 30089 w 151489"/>
                  <a:gd name="connsiteY3" fmla="*/ 63458 h 65387"/>
                  <a:gd name="connsiteX4" fmla="*/ 1918 w 151489"/>
                  <a:gd name="connsiteY4" fmla="*/ 35286 h 65387"/>
                  <a:gd name="connsiteX5" fmla="*/ 15 w 151489"/>
                  <a:gd name="connsiteY5" fmla="*/ 30256 h 65387"/>
                  <a:gd name="connsiteX6" fmla="*/ 2517 w 151489"/>
                  <a:gd name="connsiteY6" fmla="*/ 25487 h 65387"/>
                  <a:gd name="connsiteX7" fmla="*/ 75747 w 151489"/>
                  <a:gd name="connsiteY7" fmla="*/ 0 h 65387"/>
                  <a:gd name="connsiteX8" fmla="*/ 148978 w 151489"/>
                  <a:gd name="connsiteY8" fmla="*/ 25487 h 65387"/>
                  <a:gd name="connsiteX9" fmla="*/ 151479 w 151489"/>
                  <a:gd name="connsiteY9" fmla="*/ 30256 h 65387"/>
                  <a:gd name="connsiteX10" fmla="*/ 149577 w 151489"/>
                  <a:gd name="connsiteY10" fmla="*/ 35286 h 65387"/>
                  <a:gd name="connsiteX11" fmla="*/ 121406 w 151489"/>
                  <a:gd name="connsiteY11" fmla="*/ 63458 h 65387"/>
                  <a:gd name="connsiteX12" fmla="*/ 116741 w 151489"/>
                  <a:gd name="connsiteY12" fmla="*/ 65386 h 65387"/>
                  <a:gd name="connsiteX13" fmla="*/ 75747 w 151489"/>
                  <a:gd name="connsiteY13" fmla="*/ 39456 h 65387"/>
                  <a:gd name="connsiteX14" fmla="*/ 115829 w 151489"/>
                  <a:gd name="connsiteY14" fmla="*/ 50401 h 65387"/>
                  <a:gd name="connsiteX15" fmla="*/ 134853 w 151489"/>
                  <a:gd name="connsiteY15" fmla="*/ 31377 h 65387"/>
                  <a:gd name="connsiteX16" fmla="*/ 75747 w 151489"/>
                  <a:gd name="connsiteY16" fmla="*/ 13134 h 65387"/>
                  <a:gd name="connsiteX17" fmla="*/ 16642 w 151489"/>
                  <a:gd name="connsiteY17" fmla="*/ 31377 h 65387"/>
                  <a:gd name="connsiteX18" fmla="*/ 35666 w 151489"/>
                  <a:gd name="connsiteY18" fmla="*/ 50401 h 65387"/>
                  <a:gd name="connsiteX19" fmla="*/ 75747 w 151489"/>
                  <a:gd name="connsiteY19" fmla="*/ 39456 h 65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1489" h="65387">
                    <a:moveTo>
                      <a:pt x="116741" y="65386"/>
                    </a:moveTo>
                    <a:cubicBezTo>
                      <a:pt x="115438" y="65386"/>
                      <a:pt x="114135" y="64995"/>
                      <a:pt x="113014" y="64213"/>
                    </a:cubicBezTo>
                    <a:cubicBezTo>
                      <a:pt x="90993" y="49046"/>
                      <a:pt x="60502" y="49046"/>
                      <a:pt x="38481" y="64213"/>
                    </a:cubicBezTo>
                    <a:cubicBezTo>
                      <a:pt x="35875" y="66038"/>
                      <a:pt x="32356" y="65699"/>
                      <a:pt x="30089" y="63458"/>
                    </a:cubicBezTo>
                    <a:lnTo>
                      <a:pt x="1918" y="35286"/>
                    </a:lnTo>
                    <a:cubicBezTo>
                      <a:pt x="589" y="33957"/>
                      <a:pt x="-115" y="32133"/>
                      <a:pt x="15" y="30256"/>
                    </a:cubicBezTo>
                    <a:cubicBezTo>
                      <a:pt x="120" y="28380"/>
                      <a:pt x="1032" y="26634"/>
                      <a:pt x="2517" y="25487"/>
                    </a:cubicBezTo>
                    <a:cubicBezTo>
                      <a:pt x="23652" y="8808"/>
                      <a:pt x="48957" y="0"/>
                      <a:pt x="75747" y="0"/>
                    </a:cubicBezTo>
                    <a:cubicBezTo>
                      <a:pt x="102538" y="0"/>
                      <a:pt x="127869" y="8808"/>
                      <a:pt x="148978" y="25487"/>
                    </a:cubicBezTo>
                    <a:cubicBezTo>
                      <a:pt x="150463" y="26660"/>
                      <a:pt x="151349" y="28380"/>
                      <a:pt x="151479" y="30256"/>
                    </a:cubicBezTo>
                    <a:cubicBezTo>
                      <a:pt x="151584" y="32133"/>
                      <a:pt x="150906" y="33957"/>
                      <a:pt x="149577" y="35286"/>
                    </a:cubicBezTo>
                    <a:lnTo>
                      <a:pt x="121406" y="63458"/>
                    </a:lnTo>
                    <a:cubicBezTo>
                      <a:pt x="120129" y="64708"/>
                      <a:pt x="118461" y="65386"/>
                      <a:pt x="116741" y="65386"/>
                    </a:cubicBezTo>
                    <a:close/>
                    <a:moveTo>
                      <a:pt x="75747" y="39456"/>
                    </a:moveTo>
                    <a:cubicBezTo>
                      <a:pt x="89950" y="39456"/>
                      <a:pt x="103684" y="43235"/>
                      <a:pt x="115829" y="50401"/>
                    </a:cubicBezTo>
                    <a:lnTo>
                      <a:pt x="134853" y="31377"/>
                    </a:lnTo>
                    <a:cubicBezTo>
                      <a:pt x="117366" y="19415"/>
                      <a:pt x="97065" y="13134"/>
                      <a:pt x="75747" y="13134"/>
                    </a:cubicBezTo>
                    <a:cubicBezTo>
                      <a:pt x="54430" y="13134"/>
                      <a:pt x="34155" y="19415"/>
                      <a:pt x="16642" y="31377"/>
                    </a:cubicBezTo>
                    <a:lnTo>
                      <a:pt x="35666" y="50401"/>
                    </a:lnTo>
                    <a:cubicBezTo>
                      <a:pt x="47811" y="43235"/>
                      <a:pt x="61570" y="39456"/>
                      <a:pt x="75747" y="39456"/>
                    </a:cubicBezTo>
                    <a:close/>
                  </a:path>
                </a:pathLst>
              </a:custGeom>
              <a:solidFill>
                <a:schemeClr val="accent1"/>
              </a:solidFill>
              <a:ln w="2604" cap="flat">
                <a:noFill/>
                <a:prstDash val="solid"/>
                <a:miter/>
              </a:ln>
            </p:spPr>
            <p:txBody>
              <a:bodyPr rtlCol="0" anchor="ctr"/>
              <a:lstStyle/>
              <a:p>
                <a:endParaRPr lang="en-GB" dirty="0"/>
              </a:p>
            </p:txBody>
          </p:sp>
          <p:sp>
            <p:nvSpPr>
              <p:cNvPr id="214" name="Freihandform: Form 426">
                <a:extLst>
                  <a:ext uri="{FF2B5EF4-FFF2-40B4-BE49-F238E27FC236}">
                    <a16:creationId xmlns:a16="http://schemas.microsoft.com/office/drawing/2014/main" id="{7C53AB2B-F21D-40B0-BF5E-26CCE0FB12D7}"/>
                  </a:ext>
                </a:extLst>
              </p:cNvPr>
              <p:cNvSpPr/>
              <p:nvPr/>
            </p:nvSpPr>
            <p:spPr>
              <a:xfrm>
                <a:off x="2675109" y="3406163"/>
                <a:ext cx="65376" cy="102063"/>
              </a:xfrm>
              <a:custGeom>
                <a:avLst/>
                <a:gdLst>
                  <a:gd name="connsiteX0" fmla="*/ 48837 w 65376"/>
                  <a:gd name="connsiteY0" fmla="*/ 102064 h 102063"/>
                  <a:gd name="connsiteX1" fmla="*/ 8418 w 65376"/>
                  <a:gd name="connsiteY1" fmla="*/ 102064 h 102063"/>
                  <a:gd name="connsiteX2" fmla="*/ 1955 w 65376"/>
                  <a:gd name="connsiteY2" fmla="*/ 96643 h 102063"/>
                  <a:gd name="connsiteX3" fmla="*/ 0 w 65376"/>
                  <a:gd name="connsiteY3" fmla="*/ 75742 h 102063"/>
                  <a:gd name="connsiteX4" fmla="*/ 25487 w 65376"/>
                  <a:gd name="connsiteY4" fmla="*/ 2512 h 102063"/>
                  <a:gd name="connsiteX5" fmla="*/ 30256 w 65376"/>
                  <a:gd name="connsiteY5" fmla="*/ 10 h 102063"/>
                  <a:gd name="connsiteX6" fmla="*/ 35286 w 65376"/>
                  <a:gd name="connsiteY6" fmla="*/ 1913 h 102063"/>
                  <a:gd name="connsiteX7" fmla="*/ 63457 w 65376"/>
                  <a:gd name="connsiteY7" fmla="*/ 30084 h 102063"/>
                  <a:gd name="connsiteX8" fmla="*/ 64213 w 65376"/>
                  <a:gd name="connsiteY8" fmla="*/ 38476 h 102063"/>
                  <a:gd name="connsiteX9" fmla="*/ 52616 w 65376"/>
                  <a:gd name="connsiteY9" fmla="*/ 75742 h 102063"/>
                  <a:gd name="connsiteX10" fmla="*/ 55170 w 65376"/>
                  <a:gd name="connsiteY10" fmla="*/ 93698 h 102063"/>
                  <a:gd name="connsiteX11" fmla="*/ 54102 w 65376"/>
                  <a:gd name="connsiteY11" fmla="*/ 99458 h 102063"/>
                  <a:gd name="connsiteX12" fmla="*/ 48837 w 65376"/>
                  <a:gd name="connsiteY12" fmla="*/ 102064 h 102063"/>
                  <a:gd name="connsiteX13" fmla="*/ 14047 w 65376"/>
                  <a:gd name="connsiteY13" fmla="*/ 88903 h 102063"/>
                  <a:gd name="connsiteX14" fmla="*/ 40602 w 65376"/>
                  <a:gd name="connsiteY14" fmla="*/ 88903 h 102063"/>
                  <a:gd name="connsiteX15" fmla="*/ 39456 w 65376"/>
                  <a:gd name="connsiteY15" fmla="*/ 75742 h 102063"/>
                  <a:gd name="connsiteX16" fmla="*/ 50401 w 65376"/>
                  <a:gd name="connsiteY16" fmla="*/ 35661 h 102063"/>
                  <a:gd name="connsiteX17" fmla="*/ 31377 w 65376"/>
                  <a:gd name="connsiteY17" fmla="*/ 16637 h 102063"/>
                  <a:gd name="connsiteX18" fmla="*/ 13134 w 65376"/>
                  <a:gd name="connsiteY18" fmla="*/ 75742 h 102063"/>
                  <a:gd name="connsiteX19" fmla="*/ 14047 w 65376"/>
                  <a:gd name="connsiteY19" fmla="*/ 88903 h 102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376" h="102063">
                    <a:moveTo>
                      <a:pt x="48837" y="102064"/>
                    </a:moveTo>
                    <a:lnTo>
                      <a:pt x="8418" y="102064"/>
                    </a:lnTo>
                    <a:cubicBezTo>
                      <a:pt x="5238" y="102064"/>
                      <a:pt x="2502" y="99770"/>
                      <a:pt x="1955" y="96643"/>
                    </a:cubicBezTo>
                    <a:cubicBezTo>
                      <a:pt x="652" y="89294"/>
                      <a:pt x="0" y="82466"/>
                      <a:pt x="0" y="75742"/>
                    </a:cubicBezTo>
                    <a:cubicBezTo>
                      <a:pt x="0" y="48952"/>
                      <a:pt x="8808" y="23621"/>
                      <a:pt x="25487" y="2512"/>
                    </a:cubicBezTo>
                    <a:cubicBezTo>
                      <a:pt x="26660" y="1027"/>
                      <a:pt x="28380" y="141"/>
                      <a:pt x="30256" y="10"/>
                    </a:cubicBezTo>
                    <a:cubicBezTo>
                      <a:pt x="32107" y="-94"/>
                      <a:pt x="33957" y="584"/>
                      <a:pt x="35286" y="1913"/>
                    </a:cubicBezTo>
                    <a:lnTo>
                      <a:pt x="63457" y="30084"/>
                    </a:lnTo>
                    <a:cubicBezTo>
                      <a:pt x="65699" y="32326"/>
                      <a:pt x="66011" y="35844"/>
                      <a:pt x="64213" y="38476"/>
                    </a:cubicBezTo>
                    <a:cubicBezTo>
                      <a:pt x="56630" y="49499"/>
                      <a:pt x="52616" y="62373"/>
                      <a:pt x="52616" y="75742"/>
                    </a:cubicBezTo>
                    <a:cubicBezTo>
                      <a:pt x="52616" y="81684"/>
                      <a:pt x="53476" y="87730"/>
                      <a:pt x="55170" y="93698"/>
                    </a:cubicBezTo>
                    <a:cubicBezTo>
                      <a:pt x="55744" y="95679"/>
                      <a:pt x="55327" y="97816"/>
                      <a:pt x="54102" y="99458"/>
                    </a:cubicBezTo>
                    <a:cubicBezTo>
                      <a:pt x="52851" y="101100"/>
                      <a:pt x="50896" y="102064"/>
                      <a:pt x="48837" y="102064"/>
                    </a:cubicBezTo>
                    <a:close/>
                    <a:moveTo>
                      <a:pt x="14047" y="88903"/>
                    </a:moveTo>
                    <a:lnTo>
                      <a:pt x="40602" y="88903"/>
                    </a:lnTo>
                    <a:cubicBezTo>
                      <a:pt x="39847" y="84525"/>
                      <a:pt x="39456" y="80121"/>
                      <a:pt x="39456" y="75742"/>
                    </a:cubicBezTo>
                    <a:cubicBezTo>
                      <a:pt x="39456" y="61539"/>
                      <a:pt x="43234" y="47806"/>
                      <a:pt x="50401" y="35661"/>
                    </a:cubicBezTo>
                    <a:lnTo>
                      <a:pt x="31377" y="16637"/>
                    </a:lnTo>
                    <a:cubicBezTo>
                      <a:pt x="19415" y="34124"/>
                      <a:pt x="13134" y="54425"/>
                      <a:pt x="13134" y="75742"/>
                    </a:cubicBezTo>
                    <a:cubicBezTo>
                      <a:pt x="13161" y="80016"/>
                      <a:pt x="13447" y="84369"/>
                      <a:pt x="14047" y="88903"/>
                    </a:cubicBezTo>
                    <a:close/>
                  </a:path>
                </a:pathLst>
              </a:custGeom>
              <a:solidFill>
                <a:schemeClr val="accent1"/>
              </a:solidFill>
              <a:ln w="2604" cap="flat">
                <a:noFill/>
                <a:prstDash val="solid"/>
                <a:miter/>
              </a:ln>
            </p:spPr>
            <p:txBody>
              <a:bodyPr rtlCol="0" anchor="ctr"/>
              <a:lstStyle/>
              <a:p>
                <a:endParaRPr lang="en-GB" dirty="0"/>
              </a:p>
            </p:txBody>
          </p:sp>
          <p:sp>
            <p:nvSpPr>
              <p:cNvPr id="215" name="Freihandform: Form 427">
                <a:extLst>
                  <a:ext uri="{FF2B5EF4-FFF2-40B4-BE49-F238E27FC236}">
                    <a16:creationId xmlns:a16="http://schemas.microsoft.com/office/drawing/2014/main" id="{A977703A-3981-4610-9ED5-79370D1F409B}"/>
                  </a:ext>
                </a:extLst>
              </p:cNvPr>
              <p:cNvSpPr/>
              <p:nvPr/>
            </p:nvSpPr>
            <p:spPr>
              <a:xfrm>
                <a:off x="2846571" y="3406167"/>
                <a:ext cx="65376" cy="102059"/>
              </a:xfrm>
              <a:custGeom>
                <a:avLst/>
                <a:gdLst>
                  <a:gd name="connsiteX0" fmla="*/ 56933 w 65376"/>
                  <a:gd name="connsiteY0" fmla="*/ 102060 h 102059"/>
                  <a:gd name="connsiteX1" fmla="*/ 16513 w 65376"/>
                  <a:gd name="connsiteY1" fmla="*/ 102060 h 102059"/>
                  <a:gd name="connsiteX2" fmla="*/ 11275 w 65376"/>
                  <a:gd name="connsiteY2" fmla="*/ 99454 h 102059"/>
                  <a:gd name="connsiteX3" fmla="*/ 10206 w 65376"/>
                  <a:gd name="connsiteY3" fmla="*/ 93694 h 102059"/>
                  <a:gd name="connsiteX4" fmla="*/ 12760 w 65376"/>
                  <a:gd name="connsiteY4" fmla="*/ 75738 h 102059"/>
                  <a:gd name="connsiteX5" fmla="*/ 1163 w 65376"/>
                  <a:gd name="connsiteY5" fmla="*/ 38472 h 102059"/>
                  <a:gd name="connsiteX6" fmla="*/ 1919 w 65376"/>
                  <a:gd name="connsiteY6" fmla="*/ 30080 h 102059"/>
                  <a:gd name="connsiteX7" fmla="*/ 30091 w 65376"/>
                  <a:gd name="connsiteY7" fmla="*/ 1909 h 102059"/>
                  <a:gd name="connsiteX8" fmla="*/ 35120 w 65376"/>
                  <a:gd name="connsiteY8" fmla="*/ 6 h 102059"/>
                  <a:gd name="connsiteX9" fmla="*/ 39889 w 65376"/>
                  <a:gd name="connsiteY9" fmla="*/ 2508 h 102059"/>
                  <a:gd name="connsiteX10" fmla="*/ 65377 w 65376"/>
                  <a:gd name="connsiteY10" fmla="*/ 75738 h 102059"/>
                  <a:gd name="connsiteX11" fmla="*/ 63422 w 65376"/>
                  <a:gd name="connsiteY11" fmla="*/ 96639 h 102059"/>
                  <a:gd name="connsiteX12" fmla="*/ 56933 w 65376"/>
                  <a:gd name="connsiteY12" fmla="*/ 102060 h 102059"/>
                  <a:gd name="connsiteX13" fmla="*/ 24748 w 65376"/>
                  <a:gd name="connsiteY13" fmla="*/ 88899 h 102059"/>
                  <a:gd name="connsiteX14" fmla="*/ 51304 w 65376"/>
                  <a:gd name="connsiteY14" fmla="*/ 88899 h 102059"/>
                  <a:gd name="connsiteX15" fmla="*/ 52216 w 65376"/>
                  <a:gd name="connsiteY15" fmla="*/ 75738 h 102059"/>
                  <a:gd name="connsiteX16" fmla="*/ 33974 w 65376"/>
                  <a:gd name="connsiteY16" fmla="*/ 16633 h 102059"/>
                  <a:gd name="connsiteX17" fmla="*/ 14949 w 65376"/>
                  <a:gd name="connsiteY17" fmla="*/ 35657 h 102059"/>
                  <a:gd name="connsiteX18" fmla="*/ 25895 w 65376"/>
                  <a:gd name="connsiteY18" fmla="*/ 75738 h 102059"/>
                  <a:gd name="connsiteX19" fmla="*/ 24748 w 65376"/>
                  <a:gd name="connsiteY19" fmla="*/ 88899 h 10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376" h="102059">
                    <a:moveTo>
                      <a:pt x="56933" y="102060"/>
                    </a:moveTo>
                    <a:lnTo>
                      <a:pt x="16513" y="102060"/>
                    </a:lnTo>
                    <a:cubicBezTo>
                      <a:pt x="14454" y="102060"/>
                      <a:pt x="12500" y="101095"/>
                      <a:pt x="11275" y="99454"/>
                    </a:cubicBezTo>
                    <a:cubicBezTo>
                      <a:pt x="10024" y="97812"/>
                      <a:pt x="9633" y="95675"/>
                      <a:pt x="10206" y="93694"/>
                    </a:cubicBezTo>
                    <a:cubicBezTo>
                      <a:pt x="11900" y="87726"/>
                      <a:pt x="12760" y="81706"/>
                      <a:pt x="12760" y="75738"/>
                    </a:cubicBezTo>
                    <a:cubicBezTo>
                      <a:pt x="12760" y="62369"/>
                      <a:pt x="8747" y="49495"/>
                      <a:pt x="1163" y="38472"/>
                    </a:cubicBezTo>
                    <a:cubicBezTo>
                      <a:pt x="-635" y="35866"/>
                      <a:pt x="-322" y="32321"/>
                      <a:pt x="1919" y="30080"/>
                    </a:cubicBezTo>
                    <a:lnTo>
                      <a:pt x="30091" y="1909"/>
                    </a:lnTo>
                    <a:cubicBezTo>
                      <a:pt x="31420" y="580"/>
                      <a:pt x="33296" y="-72"/>
                      <a:pt x="35120" y="6"/>
                    </a:cubicBezTo>
                    <a:cubicBezTo>
                      <a:pt x="36997" y="111"/>
                      <a:pt x="38743" y="1023"/>
                      <a:pt x="39889" y="2508"/>
                    </a:cubicBezTo>
                    <a:cubicBezTo>
                      <a:pt x="56568" y="23643"/>
                      <a:pt x="65377" y="48948"/>
                      <a:pt x="65377" y="75738"/>
                    </a:cubicBezTo>
                    <a:cubicBezTo>
                      <a:pt x="65377" y="82436"/>
                      <a:pt x="64751" y="89290"/>
                      <a:pt x="63422" y="96639"/>
                    </a:cubicBezTo>
                    <a:cubicBezTo>
                      <a:pt x="62849" y="99766"/>
                      <a:pt x="60112" y="102060"/>
                      <a:pt x="56933" y="102060"/>
                    </a:cubicBezTo>
                    <a:close/>
                    <a:moveTo>
                      <a:pt x="24748" y="88899"/>
                    </a:moveTo>
                    <a:lnTo>
                      <a:pt x="51304" y="88899"/>
                    </a:lnTo>
                    <a:cubicBezTo>
                      <a:pt x="51903" y="84338"/>
                      <a:pt x="52216" y="80012"/>
                      <a:pt x="52216" y="75738"/>
                    </a:cubicBezTo>
                    <a:cubicBezTo>
                      <a:pt x="52216" y="54421"/>
                      <a:pt x="45935" y="34146"/>
                      <a:pt x="33974" y="16633"/>
                    </a:cubicBezTo>
                    <a:lnTo>
                      <a:pt x="14949" y="35657"/>
                    </a:lnTo>
                    <a:cubicBezTo>
                      <a:pt x="22116" y="47801"/>
                      <a:pt x="25895" y="61535"/>
                      <a:pt x="25895" y="75738"/>
                    </a:cubicBezTo>
                    <a:cubicBezTo>
                      <a:pt x="25895" y="80116"/>
                      <a:pt x="25504" y="84521"/>
                      <a:pt x="24748" y="88899"/>
                    </a:cubicBezTo>
                    <a:close/>
                  </a:path>
                </a:pathLst>
              </a:custGeom>
              <a:solidFill>
                <a:schemeClr val="accent1"/>
              </a:solidFill>
              <a:ln w="2604" cap="flat">
                <a:noFill/>
                <a:prstDash val="solid"/>
                <a:miter/>
              </a:ln>
            </p:spPr>
            <p:txBody>
              <a:bodyPr rtlCol="0" anchor="ctr"/>
              <a:lstStyle/>
              <a:p>
                <a:endParaRPr lang="en-GB" dirty="0"/>
              </a:p>
            </p:txBody>
          </p:sp>
        </p:grpSp>
        <p:grpSp>
          <p:nvGrpSpPr>
            <p:cNvPr id="201" name="Group 200">
              <a:extLst>
                <a:ext uri="{FF2B5EF4-FFF2-40B4-BE49-F238E27FC236}">
                  <a16:creationId xmlns:a16="http://schemas.microsoft.com/office/drawing/2014/main" id="{C1525324-A1E0-4DED-85E3-A83DFF005A03}"/>
                </a:ext>
              </a:extLst>
            </p:cNvPr>
            <p:cNvGrpSpPr/>
            <p:nvPr/>
          </p:nvGrpSpPr>
          <p:grpSpPr>
            <a:xfrm>
              <a:off x="542006" y="3215511"/>
              <a:ext cx="504088" cy="395114"/>
              <a:chOff x="2550123" y="3264821"/>
              <a:chExt cx="486785" cy="381552"/>
            </a:xfrm>
          </p:grpSpPr>
          <p:sp>
            <p:nvSpPr>
              <p:cNvPr id="202" name="Freihandform: Form 416">
                <a:extLst>
                  <a:ext uri="{FF2B5EF4-FFF2-40B4-BE49-F238E27FC236}">
                    <a16:creationId xmlns:a16="http://schemas.microsoft.com/office/drawing/2014/main" id="{46FC029A-6B6C-4FE5-AFB0-51BF96263455}"/>
                  </a:ext>
                </a:extLst>
              </p:cNvPr>
              <p:cNvSpPr/>
              <p:nvPr/>
            </p:nvSpPr>
            <p:spPr>
              <a:xfrm>
                <a:off x="2550123" y="3264821"/>
                <a:ext cx="486785" cy="381552"/>
              </a:xfrm>
              <a:custGeom>
                <a:avLst/>
                <a:gdLst>
                  <a:gd name="connsiteX0" fmla="*/ 434169 w 486785"/>
                  <a:gd name="connsiteY0" fmla="*/ 381553 h 381552"/>
                  <a:gd name="connsiteX1" fmla="*/ 52616 w 486785"/>
                  <a:gd name="connsiteY1" fmla="*/ 381553 h 381552"/>
                  <a:gd name="connsiteX2" fmla="*/ 0 w 486785"/>
                  <a:gd name="connsiteY2" fmla="*/ 328937 h 381552"/>
                  <a:gd name="connsiteX3" fmla="*/ 0 w 486785"/>
                  <a:gd name="connsiteY3" fmla="*/ 52616 h 381552"/>
                  <a:gd name="connsiteX4" fmla="*/ 52616 w 486785"/>
                  <a:gd name="connsiteY4" fmla="*/ 0 h 381552"/>
                  <a:gd name="connsiteX5" fmla="*/ 434169 w 486785"/>
                  <a:gd name="connsiteY5" fmla="*/ 0 h 381552"/>
                  <a:gd name="connsiteX6" fmla="*/ 486786 w 486785"/>
                  <a:gd name="connsiteY6" fmla="*/ 52616 h 381552"/>
                  <a:gd name="connsiteX7" fmla="*/ 486786 w 486785"/>
                  <a:gd name="connsiteY7" fmla="*/ 328911 h 381552"/>
                  <a:gd name="connsiteX8" fmla="*/ 434169 w 486785"/>
                  <a:gd name="connsiteY8" fmla="*/ 381553 h 381552"/>
                  <a:gd name="connsiteX9" fmla="*/ 52616 w 486785"/>
                  <a:gd name="connsiteY9" fmla="*/ 13161 h 381552"/>
                  <a:gd name="connsiteX10" fmla="*/ 13135 w 486785"/>
                  <a:gd name="connsiteY10" fmla="*/ 52642 h 381552"/>
                  <a:gd name="connsiteX11" fmla="*/ 13135 w 486785"/>
                  <a:gd name="connsiteY11" fmla="*/ 328937 h 381552"/>
                  <a:gd name="connsiteX12" fmla="*/ 52616 w 486785"/>
                  <a:gd name="connsiteY12" fmla="*/ 368418 h 381552"/>
                  <a:gd name="connsiteX13" fmla="*/ 434169 w 486785"/>
                  <a:gd name="connsiteY13" fmla="*/ 368418 h 381552"/>
                  <a:gd name="connsiteX14" fmla="*/ 473651 w 486785"/>
                  <a:gd name="connsiteY14" fmla="*/ 328937 h 381552"/>
                  <a:gd name="connsiteX15" fmla="*/ 473651 w 486785"/>
                  <a:gd name="connsiteY15" fmla="*/ 52616 h 381552"/>
                  <a:gd name="connsiteX16" fmla="*/ 434169 w 486785"/>
                  <a:gd name="connsiteY16" fmla="*/ 13134 h 381552"/>
                  <a:gd name="connsiteX17" fmla="*/ 52616 w 486785"/>
                  <a:gd name="connsiteY17" fmla="*/ 13134 h 38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6785" h="381552">
                    <a:moveTo>
                      <a:pt x="434169" y="381553"/>
                    </a:moveTo>
                    <a:lnTo>
                      <a:pt x="52616" y="381553"/>
                    </a:lnTo>
                    <a:cubicBezTo>
                      <a:pt x="23585" y="381553"/>
                      <a:pt x="0" y="357942"/>
                      <a:pt x="0" y="328937"/>
                    </a:cubicBezTo>
                    <a:lnTo>
                      <a:pt x="0" y="52616"/>
                    </a:lnTo>
                    <a:cubicBezTo>
                      <a:pt x="0" y="23585"/>
                      <a:pt x="23611" y="0"/>
                      <a:pt x="52616" y="0"/>
                    </a:cubicBezTo>
                    <a:lnTo>
                      <a:pt x="434169" y="0"/>
                    </a:lnTo>
                    <a:cubicBezTo>
                      <a:pt x="463201" y="0"/>
                      <a:pt x="486786" y="23611"/>
                      <a:pt x="486786" y="52616"/>
                    </a:cubicBezTo>
                    <a:lnTo>
                      <a:pt x="486786" y="328911"/>
                    </a:lnTo>
                    <a:cubicBezTo>
                      <a:pt x="486812" y="357942"/>
                      <a:pt x="463201" y="381553"/>
                      <a:pt x="434169" y="381553"/>
                    </a:cubicBezTo>
                    <a:close/>
                    <a:moveTo>
                      <a:pt x="52616" y="13161"/>
                    </a:moveTo>
                    <a:cubicBezTo>
                      <a:pt x="30856" y="13161"/>
                      <a:pt x="13135" y="30856"/>
                      <a:pt x="13135" y="52642"/>
                    </a:cubicBezTo>
                    <a:lnTo>
                      <a:pt x="13135" y="328937"/>
                    </a:lnTo>
                    <a:cubicBezTo>
                      <a:pt x="13135" y="350697"/>
                      <a:pt x="30830" y="368418"/>
                      <a:pt x="52616" y="368418"/>
                    </a:cubicBezTo>
                    <a:lnTo>
                      <a:pt x="434169" y="368418"/>
                    </a:lnTo>
                    <a:cubicBezTo>
                      <a:pt x="455930" y="368418"/>
                      <a:pt x="473651" y="350723"/>
                      <a:pt x="473651" y="328937"/>
                    </a:cubicBezTo>
                    <a:lnTo>
                      <a:pt x="473651" y="52616"/>
                    </a:lnTo>
                    <a:cubicBezTo>
                      <a:pt x="473651" y="30856"/>
                      <a:pt x="455956" y="13134"/>
                      <a:pt x="434169" y="13134"/>
                    </a:cubicBezTo>
                    <a:lnTo>
                      <a:pt x="52616" y="13134"/>
                    </a:lnTo>
                    <a:close/>
                  </a:path>
                </a:pathLst>
              </a:custGeom>
              <a:solidFill>
                <a:schemeClr val="tx2"/>
              </a:solidFill>
              <a:ln w="2604" cap="flat">
                <a:noFill/>
                <a:prstDash val="solid"/>
                <a:miter/>
              </a:ln>
            </p:spPr>
            <p:txBody>
              <a:bodyPr rtlCol="0" anchor="ctr"/>
              <a:lstStyle/>
              <a:p>
                <a:endParaRPr lang="en-GB" dirty="0"/>
              </a:p>
            </p:txBody>
          </p:sp>
          <p:sp>
            <p:nvSpPr>
              <p:cNvPr id="203" name="Freihandform: Form 417">
                <a:extLst>
                  <a:ext uri="{FF2B5EF4-FFF2-40B4-BE49-F238E27FC236}">
                    <a16:creationId xmlns:a16="http://schemas.microsoft.com/office/drawing/2014/main" id="{4C87BD5F-7A9E-4808-9E20-30D1FB344534}"/>
                  </a:ext>
                </a:extLst>
              </p:cNvPr>
              <p:cNvSpPr/>
              <p:nvPr/>
            </p:nvSpPr>
            <p:spPr>
              <a:xfrm>
                <a:off x="2596172" y="3310896"/>
                <a:ext cx="394687" cy="230219"/>
              </a:xfrm>
              <a:custGeom>
                <a:avLst/>
                <a:gdLst>
                  <a:gd name="connsiteX0" fmla="*/ 388120 w 394687"/>
                  <a:gd name="connsiteY0" fmla="*/ 230219 h 230219"/>
                  <a:gd name="connsiteX1" fmla="*/ 6567 w 394687"/>
                  <a:gd name="connsiteY1" fmla="*/ 230219 h 230219"/>
                  <a:gd name="connsiteX2" fmla="*/ 0 w 394687"/>
                  <a:gd name="connsiteY2" fmla="*/ 223652 h 230219"/>
                  <a:gd name="connsiteX3" fmla="*/ 0 w 394687"/>
                  <a:gd name="connsiteY3" fmla="*/ 6567 h 230219"/>
                  <a:gd name="connsiteX4" fmla="*/ 6567 w 394687"/>
                  <a:gd name="connsiteY4" fmla="*/ 0 h 230219"/>
                  <a:gd name="connsiteX5" fmla="*/ 388120 w 394687"/>
                  <a:gd name="connsiteY5" fmla="*/ 0 h 230219"/>
                  <a:gd name="connsiteX6" fmla="*/ 394687 w 394687"/>
                  <a:gd name="connsiteY6" fmla="*/ 6567 h 230219"/>
                  <a:gd name="connsiteX7" fmla="*/ 394687 w 394687"/>
                  <a:gd name="connsiteY7" fmla="*/ 223652 h 230219"/>
                  <a:gd name="connsiteX8" fmla="*/ 388120 w 394687"/>
                  <a:gd name="connsiteY8" fmla="*/ 230219 h 230219"/>
                  <a:gd name="connsiteX9" fmla="*/ 13134 w 394687"/>
                  <a:gd name="connsiteY9" fmla="*/ 217059 h 230219"/>
                  <a:gd name="connsiteX10" fmla="*/ 381527 w 394687"/>
                  <a:gd name="connsiteY10" fmla="*/ 217059 h 230219"/>
                  <a:gd name="connsiteX11" fmla="*/ 381527 w 394687"/>
                  <a:gd name="connsiteY11" fmla="*/ 13135 h 230219"/>
                  <a:gd name="connsiteX12" fmla="*/ 13134 w 394687"/>
                  <a:gd name="connsiteY12" fmla="*/ 13135 h 230219"/>
                  <a:gd name="connsiteX13" fmla="*/ 13134 w 394687"/>
                  <a:gd name="connsiteY13" fmla="*/ 217059 h 23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4687" h="230219">
                    <a:moveTo>
                      <a:pt x="388120" y="230219"/>
                    </a:moveTo>
                    <a:lnTo>
                      <a:pt x="6567" y="230219"/>
                    </a:lnTo>
                    <a:cubicBezTo>
                      <a:pt x="2919" y="230219"/>
                      <a:pt x="0" y="227274"/>
                      <a:pt x="0" y="223652"/>
                    </a:cubicBezTo>
                    <a:lnTo>
                      <a:pt x="0" y="6567"/>
                    </a:lnTo>
                    <a:cubicBezTo>
                      <a:pt x="0" y="2919"/>
                      <a:pt x="2945" y="0"/>
                      <a:pt x="6567" y="0"/>
                    </a:cubicBezTo>
                    <a:lnTo>
                      <a:pt x="388120" y="0"/>
                    </a:lnTo>
                    <a:cubicBezTo>
                      <a:pt x="391769" y="0"/>
                      <a:pt x="394687" y="2945"/>
                      <a:pt x="394687" y="6567"/>
                    </a:cubicBezTo>
                    <a:lnTo>
                      <a:pt x="394687" y="223652"/>
                    </a:lnTo>
                    <a:cubicBezTo>
                      <a:pt x="394687" y="227274"/>
                      <a:pt x="391769" y="230219"/>
                      <a:pt x="388120" y="230219"/>
                    </a:cubicBezTo>
                    <a:close/>
                    <a:moveTo>
                      <a:pt x="13134" y="217059"/>
                    </a:moveTo>
                    <a:lnTo>
                      <a:pt x="381527" y="217059"/>
                    </a:lnTo>
                    <a:lnTo>
                      <a:pt x="381527" y="13135"/>
                    </a:lnTo>
                    <a:lnTo>
                      <a:pt x="13134" y="13135"/>
                    </a:lnTo>
                    <a:lnTo>
                      <a:pt x="13134" y="217059"/>
                    </a:lnTo>
                    <a:close/>
                  </a:path>
                </a:pathLst>
              </a:custGeom>
              <a:solidFill>
                <a:schemeClr val="tx2"/>
              </a:solidFill>
              <a:ln w="2604" cap="flat">
                <a:noFill/>
                <a:prstDash val="solid"/>
                <a:miter/>
              </a:ln>
            </p:spPr>
            <p:txBody>
              <a:bodyPr rtlCol="0" anchor="ctr"/>
              <a:lstStyle/>
              <a:p>
                <a:endParaRPr lang="en-GB" dirty="0"/>
              </a:p>
            </p:txBody>
          </p:sp>
          <p:sp>
            <p:nvSpPr>
              <p:cNvPr id="204" name="Freihandform: Form 418">
                <a:extLst>
                  <a:ext uri="{FF2B5EF4-FFF2-40B4-BE49-F238E27FC236}">
                    <a16:creationId xmlns:a16="http://schemas.microsoft.com/office/drawing/2014/main" id="{6153FF6F-19A6-46C7-B519-EBEE30BC5BA1}"/>
                  </a:ext>
                </a:extLst>
              </p:cNvPr>
              <p:cNvSpPr/>
              <p:nvPr/>
            </p:nvSpPr>
            <p:spPr>
              <a:xfrm>
                <a:off x="2609306" y="3560843"/>
                <a:ext cx="65802" cy="52642"/>
              </a:xfrm>
              <a:custGeom>
                <a:avLst/>
                <a:gdLst>
                  <a:gd name="connsiteX0" fmla="*/ 48968 w 65802"/>
                  <a:gd name="connsiteY0" fmla="*/ 52642 h 52642"/>
                  <a:gd name="connsiteX1" fmla="*/ 16835 w 65802"/>
                  <a:gd name="connsiteY1" fmla="*/ 52642 h 52642"/>
                  <a:gd name="connsiteX2" fmla="*/ 0 w 65802"/>
                  <a:gd name="connsiteY2" fmla="*/ 35807 h 52642"/>
                  <a:gd name="connsiteX3" fmla="*/ 0 w 65802"/>
                  <a:gd name="connsiteY3" fmla="*/ 16835 h 52642"/>
                  <a:gd name="connsiteX4" fmla="*/ 16835 w 65802"/>
                  <a:gd name="connsiteY4" fmla="*/ 0 h 52642"/>
                  <a:gd name="connsiteX5" fmla="*/ 48968 w 65802"/>
                  <a:gd name="connsiteY5" fmla="*/ 0 h 52642"/>
                  <a:gd name="connsiteX6" fmla="*/ 65803 w 65802"/>
                  <a:gd name="connsiteY6" fmla="*/ 16835 h 52642"/>
                  <a:gd name="connsiteX7" fmla="*/ 65803 w 65802"/>
                  <a:gd name="connsiteY7" fmla="*/ 35807 h 52642"/>
                  <a:gd name="connsiteX8" fmla="*/ 48968 w 65802"/>
                  <a:gd name="connsiteY8" fmla="*/ 52642 h 52642"/>
                  <a:gd name="connsiteX9" fmla="*/ 16835 w 65802"/>
                  <a:gd name="connsiteY9" fmla="*/ 13161 h 52642"/>
                  <a:gd name="connsiteX10" fmla="*/ 13161 w 65802"/>
                  <a:gd name="connsiteY10" fmla="*/ 16835 h 52642"/>
                  <a:gd name="connsiteX11" fmla="*/ 13161 w 65802"/>
                  <a:gd name="connsiteY11" fmla="*/ 35807 h 52642"/>
                  <a:gd name="connsiteX12" fmla="*/ 16835 w 65802"/>
                  <a:gd name="connsiteY12" fmla="*/ 39482 h 52642"/>
                  <a:gd name="connsiteX13" fmla="*/ 48968 w 65802"/>
                  <a:gd name="connsiteY13" fmla="*/ 39482 h 52642"/>
                  <a:gd name="connsiteX14" fmla="*/ 52642 w 65802"/>
                  <a:gd name="connsiteY14" fmla="*/ 35807 h 52642"/>
                  <a:gd name="connsiteX15" fmla="*/ 52642 w 65802"/>
                  <a:gd name="connsiteY15" fmla="*/ 16835 h 52642"/>
                  <a:gd name="connsiteX16" fmla="*/ 48968 w 65802"/>
                  <a:gd name="connsiteY16" fmla="*/ 13161 h 52642"/>
                  <a:gd name="connsiteX17" fmla="*/ 16835 w 65802"/>
                  <a:gd name="connsiteY17" fmla="*/ 13161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802" h="52642">
                    <a:moveTo>
                      <a:pt x="48968" y="52642"/>
                    </a:moveTo>
                    <a:lnTo>
                      <a:pt x="16835" y="52642"/>
                    </a:lnTo>
                    <a:cubicBezTo>
                      <a:pt x="7557" y="52642"/>
                      <a:pt x="0" y="45085"/>
                      <a:pt x="0" y="35807"/>
                    </a:cubicBezTo>
                    <a:lnTo>
                      <a:pt x="0" y="16835"/>
                    </a:lnTo>
                    <a:cubicBezTo>
                      <a:pt x="0" y="7557"/>
                      <a:pt x="7557" y="0"/>
                      <a:pt x="16835" y="0"/>
                    </a:cubicBezTo>
                    <a:lnTo>
                      <a:pt x="48968" y="0"/>
                    </a:lnTo>
                    <a:cubicBezTo>
                      <a:pt x="58245" y="0"/>
                      <a:pt x="65803" y="7557"/>
                      <a:pt x="65803" y="16835"/>
                    </a:cubicBezTo>
                    <a:lnTo>
                      <a:pt x="65803" y="35807"/>
                    </a:lnTo>
                    <a:cubicBezTo>
                      <a:pt x="65803" y="45085"/>
                      <a:pt x="58245" y="52642"/>
                      <a:pt x="48968" y="52642"/>
                    </a:cubicBezTo>
                    <a:close/>
                    <a:moveTo>
                      <a:pt x="16835" y="13161"/>
                    </a:moveTo>
                    <a:cubicBezTo>
                      <a:pt x="14802" y="13161"/>
                      <a:pt x="13161" y="14802"/>
                      <a:pt x="13161" y="16835"/>
                    </a:cubicBezTo>
                    <a:lnTo>
                      <a:pt x="13161" y="35807"/>
                    </a:lnTo>
                    <a:cubicBezTo>
                      <a:pt x="13161" y="37840"/>
                      <a:pt x="14802" y="39482"/>
                      <a:pt x="16835" y="39482"/>
                    </a:cubicBezTo>
                    <a:lnTo>
                      <a:pt x="48968" y="39482"/>
                    </a:lnTo>
                    <a:cubicBezTo>
                      <a:pt x="51001" y="39482"/>
                      <a:pt x="52642" y="37840"/>
                      <a:pt x="52642" y="35807"/>
                    </a:cubicBezTo>
                    <a:lnTo>
                      <a:pt x="52642" y="16835"/>
                    </a:lnTo>
                    <a:cubicBezTo>
                      <a:pt x="52642" y="14802"/>
                      <a:pt x="51001" y="13161"/>
                      <a:pt x="48968" y="13161"/>
                    </a:cubicBezTo>
                    <a:lnTo>
                      <a:pt x="16835" y="13161"/>
                    </a:lnTo>
                    <a:close/>
                  </a:path>
                </a:pathLst>
              </a:custGeom>
              <a:solidFill>
                <a:schemeClr val="tx2"/>
              </a:solidFill>
              <a:ln w="2604" cap="flat">
                <a:noFill/>
                <a:prstDash val="solid"/>
                <a:miter/>
              </a:ln>
            </p:spPr>
            <p:txBody>
              <a:bodyPr rtlCol="0" anchor="ctr"/>
              <a:lstStyle/>
              <a:p>
                <a:endParaRPr lang="en-GB" dirty="0"/>
              </a:p>
            </p:txBody>
          </p:sp>
          <p:sp>
            <p:nvSpPr>
              <p:cNvPr id="205" name="Freihandform: Form 419">
                <a:extLst>
                  <a:ext uri="{FF2B5EF4-FFF2-40B4-BE49-F238E27FC236}">
                    <a16:creationId xmlns:a16="http://schemas.microsoft.com/office/drawing/2014/main" id="{353025A8-8908-4901-BD3C-02CFF6A150C0}"/>
                  </a:ext>
                </a:extLst>
              </p:cNvPr>
              <p:cNvSpPr/>
              <p:nvPr/>
            </p:nvSpPr>
            <p:spPr>
              <a:xfrm>
                <a:off x="2701404" y="3560843"/>
                <a:ext cx="65802" cy="52642"/>
              </a:xfrm>
              <a:custGeom>
                <a:avLst/>
                <a:gdLst>
                  <a:gd name="connsiteX0" fmla="*/ 48968 w 65802"/>
                  <a:gd name="connsiteY0" fmla="*/ 52642 h 52642"/>
                  <a:gd name="connsiteX1" fmla="*/ 16835 w 65802"/>
                  <a:gd name="connsiteY1" fmla="*/ 52642 h 52642"/>
                  <a:gd name="connsiteX2" fmla="*/ 0 w 65802"/>
                  <a:gd name="connsiteY2" fmla="*/ 35807 h 52642"/>
                  <a:gd name="connsiteX3" fmla="*/ 0 w 65802"/>
                  <a:gd name="connsiteY3" fmla="*/ 16835 h 52642"/>
                  <a:gd name="connsiteX4" fmla="*/ 16835 w 65802"/>
                  <a:gd name="connsiteY4" fmla="*/ 0 h 52642"/>
                  <a:gd name="connsiteX5" fmla="*/ 48968 w 65802"/>
                  <a:gd name="connsiteY5" fmla="*/ 0 h 52642"/>
                  <a:gd name="connsiteX6" fmla="*/ 65803 w 65802"/>
                  <a:gd name="connsiteY6" fmla="*/ 16835 h 52642"/>
                  <a:gd name="connsiteX7" fmla="*/ 65803 w 65802"/>
                  <a:gd name="connsiteY7" fmla="*/ 35807 h 52642"/>
                  <a:gd name="connsiteX8" fmla="*/ 48968 w 65802"/>
                  <a:gd name="connsiteY8" fmla="*/ 52642 h 52642"/>
                  <a:gd name="connsiteX9" fmla="*/ 16835 w 65802"/>
                  <a:gd name="connsiteY9" fmla="*/ 13161 h 52642"/>
                  <a:gd name="connsiteX10" fmla="*/ 13161 w 65802"/>
                  <a:gd name="connsiteY10" fmla="*/ 16835 h 52642"/>
                  <a:gd name="connsiteX11" fmla="*/ 13161 w 65802"/>
                  <a:gd name="connsiteY11" fmla="*/ 35807 h 52642"/>
                  <a:gd name="connsiteX12" fmla="*/ 16835 w 65802"/>
                  <a:gd name="connsiteY12" fmla="*/ 39482 h 52642"/>
                  <a:gd name="connsiteX13" fmla="*/ 48968 w 65802"/>
                  <a:gd name="connsiteY13" fmla="*/ 39482 h 52642"/>
                  <a:gd name="connsiteX14" fmla="*/ 52642 w 65802"/>
                  <a:gd name="connsiteY14" fmla="*/ 35807 h 52642"/>
                  <a:gd name="connsiteX15" fmla="*/ 52642 w 65802"/>
                  <a:gd name="connsiteY15" fmla="*/ 16835 h 52642"/>
                  <a:gd name="connsiteX16" fmla="*/ 48968 w 65802"/>
                  <a:gd name="connsiteY16" fmla="*/ 13161 h 52642"/>
                  <a:gd name="connsiteX17" fmla="*/ 16835 w 65802"/>
                  <a:gd name="connsiteY17" fmla="*/ 13161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802" h="52642">
                    <a:moveTo>
                      <a:pt x="48968" y="52642"/>
                    </a:moveTo>
                    <a:lnTo>
                      <a:pt x="16835" y="52642"/>
                    </a:lnTo>
                    <a:cubicBezTo>
                      <a:pt x="7558" y="52642"/>
                      <a:pt x="0" y="45085"/>
                      <a:pt x="0" y="35807"/>
                    </a:cubicBezTo>
                    <a:lnTo>
                      <a:pt x="0" y="16835"/>
                    </a:lnTo>
                    <a:cubicBezTo>
                      <a:pt x="0" y="7557"/>
                      <a:pt x="7558" y="0"/>
                      <a:pt x="16835" y="0"/>
                    </a:cubicBezTo>
                    <a:lnTo>
                      <a:pt x="48968" y="0"/>
                    </a:lnTo>
                    <a:cubicBezTo>
                      <a:pt x="58245" y="0"/>
                      <a:pt x="65803" y="7557"/>
                      <a:pt x="65803" y="16835"/>
                    </a:cubicBezTo>
                    <a:lnTo>
                      <a:pt x="65803" y="35807"/>
                    </a:lnTo>
                    <a:cubicBezTo>
                      <a:pt x="65803" y="45085"/>
                      <a:pt x="58245" y="52642"/>
                      <a:pt x="48968" y="52642"/>
                    </a:cubicBezTo>
                    <a:close/>
                    <a:moveTo>
                      <a:pt x="16835" y="13161"/>
                    </a:moveTo>
                    <a:cubicBezTo>
                      <a:pt x="14803" y="13161"/>
                      <a:pt x="13161" y="14802"/>
                      <a:pt x="13161" y="16835"/>
                    </a:cubicBezTo>
                    <a:lnTo>
                      <a:pt x="13161" y="35807"/>
                    </a:lnTo>
                    <a:cubicBezTo>
                      <a:pt x="13161" y="37840"/>
                      <a:pt x="14803" y="39482"/>
                      <a:pt x="16835" y="39482"/>
                    </a:cubicBezTo>
                    <a:lnTo>
                      <a:pt x="48968" y="39482"/>
                    </a:lnTo>
                    <a:cubicBezTo>
                      <a:pt x="51001" y="39482"/>
                      <a:pt x="52642" y="37840"/>
                      <a:pt x="52642" y="35807"/>
                    </a:cubicBezTo>
                    <a:lnTo>
                      <a:pt x="52642" y="16835"/>
                    </a:lnTo>
                    <a:cubicBezTo>
                      <a:pt x="52642" y="14802"/>
                      <a:pt x="51001" y="13161"/>
                      <a:pt x="48968" y="13161"/>
                    </a:cubicBezTo>
                    <a:lnTo>
                      <a:pt x="16835" y="13161"/>
                    </a:lnTo>
                    <a:close/>
                  </a:path>
                </a:pathLst>
              </a:custGeom>
              <a:solidFill>
                <a:schemeClr val="tx2"/>
              </a:solidFill>
              <a:ln w="2604" cap="flat">
                <a:noFill/>
                <a:prstDash val="solid"/>
                <a:miter/>
              </a:ln>
            </p:spPr>
            <p:txBody>
              <a:bodyPr rtlCol="0" anchor="ctr"/>
              <a:lstStyle/>
              <a:p>
                <a:endParaRPr lang="en-GB" dirty="0"/>
              </a:p>
            </p:txBody>
          </p:sp>
          <p:sp>
            <p:nvSpPr>
              <p:cNvPr id="206" name="Freihandform: Form 420">
                <a:extLst>
                  <a:ext uri="{FF2B5EF4-FFF2-40B4-BE49-F238E27FC236}">
                    <a16:creationId xmlns:a16="http://schemas.microsoft.com/office/drawing/2014/main" id="{4A75DD6C-925B-4CB0-B0CE-FF78A677F5E4}"/>
                  </a:ext>
                </a:extLst>
              </p:cNvPr>
              <p:cNvSpPr/>
              <p:nvPr/>
            </p:nvSpPr>
            <p:spPr>
              <a:xfrm>
                <a:off x="2819824" y="3560843"/>
                <a:ext cx="65802" cy="52642"/>
              </a:xfrm>
              <a:custGeom>
                <a:avLst/>
                <a:gdLst>
                  <a:gd name="connsiteX0" fmla="*/ 48968 w 65802"/>
                  <a:gd name="connsiteY0" fmla="*/ 52642 h 52642"/>
                  <a:gd name="connsiteX1" fmla="*/ 16835 w 65802"/>
                  <a:gd name="connsiteY1" fmla="*/ 52642 h 52642"/>
                  <a:gd name="connsiteX2" fmla="*/ 0 w 65802"/>
                  <a:gd name="connsiteY2" fmla="*/ 35807 h 52642"/>
                  <a:gd name="connsiteX3" fmla="*/ 0 w 65802"/>
                  <a:gd name="connsiteY3" fmla="*/ 16835 h 52642"/>
                  <a:gd name="connsiteX4" fmla="*/ 16835 w 65802"/>
                  <a:gd name="connsiteY4" fmla="*/ 0 h 52642"/>
                  <a:gd name="connsiteX5" fmla="*/ 48968 w 65802"/>
                  <a:gd name="connsiteY5" fmla="*/ 0 h 52642"/>
                  <a:gd name="connsiteX6" fmla="*/ 65803 w 65802"/>
                  <a:gd name="connsiteY6" fmla="*/ 16835 h 52642"/>
                  <a:gd name="connsiteX7" fmla="*/ 65803 w 65802"/>
                  <a:gd name="connsiteY7" fmla="*/ 35807 h 52642"/>
                  <a:gd name="connsiteX8" fmla="*/ 48968 w 65802"/>
                  <a:gd name="connsiteY8" fmla="*/ 52642 h 52642"/>
                  <a:gd name="connsiteX9" fmla="*/ 16835 w 65802"/>
                  <a:gd name="connsiteY9" fmla="*/ 13161 h 52642"/>
                  <a:gd name="connsiteX10" fmla="*/ 13161 w 65802"/>
                  <a:gd name="connsiteY10" fmla="*/ 16835 h 52642"/>
                  <a:gd name="connsiteX11" fmla="*/ 13161 w 65802"/>
                  <a:gd name="connsiteY11" fmla="*/ 35807 h 52642"/>
                  <a:gd name="connsiteX12" fmla="*/ 16835 w 65802"/>
                  <a:gd name="connsiteY12" fmla="*/ 39482 h 52642"/>
                  <a:gd name="connsiteX13" fmla="*/ 48968 w 65802"/>
                  <a:gd name="connsiteY13" fmla="*/ 39482 h 52642"/>
                  <a:gd name="connsiteX14" fmla="*/ 52642 w 65802"/>
                  <a:gd name="connsiteY14" fmla="*/ 35807 h 52642"/>
                  <a:gd name="connsiteX15" fmla="*/ 52642 w 65802"/>
                  <a:gd name="connsiteY15" fmla="*/ 16835 h 52642"/>
                  <a:gd name="connsiteX16" fmla="*/ 48968 w 65802"/>
                  <a:gd name="connsiteY16" fmla="*/ 13161 h 52642"/>
                  <a:gd name="connsiteX17" fmla="*/ 16835 w 65802"/>
                  <a:gd name="connsiteY17" fmla="*/ 13161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802" h="52642">
                    <a:moveTo>
                      <a:pt x="48968" y="52642"/>
                    </a:moveTo>
                    <a:lnTo>
                      <a:pt x="16835" y="52642"/>
                    </a:lnTo>
                    <a:cubicBezTo>
                      <a:pt x="7558" y="52642"/>
                      <a:pt x="0" y="45085"/>
                      <a:pt x="0" y="35807"/>
                    </a:cubicBezTo>
                    <a:lnTo>
                      <a:pt x="0" y="16835"/>
                    </a:lnTo>
                    <a:cubicBezTo>
                      <a:pt x="0" y="7557"/>
                      <a:pt x="7558" y="0"/>
                      <a:pt x="16835" y="0"/>
                    </a:cubicBezTo>
                    <a:lnTo>
                      <a:pt x="48968" y="0"/>
                    </a:lnTo>
                    <a:cubicBezTo>
                      <a:pt x="58245" y="0"/>
                      <a:pt x="65803" y="7557"/>
                      <a:pt x="65803" y="16835"/>
                    </a:cubicBezTo>
                    <a:lnTo>
                      <a:pt x="65803" y="35807"/>
                    </a:lnTo>
                    <a:cubicBezTo>
                      <a:pt x="65803" y="45085"/>
                      <a:pt x="58245" y="52642"/>
                      <a:pt x="48968" y="52642"/>
                    </a:cubicBezTo>
                    <a:close/>
                    <a:moveTo>
                      <a:pt x="16835" y="13161"/>
                    </a:moveTo>
                    <a:cubicBezTo>
                      <a:pt x="14803" y="13161"/>
                      <a:pt x="13161" y="14802"/>
                      <a:pt x="13161" y="16835"/>
                    </a:cubicBezTo>
                    <a:lnTo>
                      <a:pt x="13161" y="35807"/>
                    </a:lnTo>
                    <a:cubicBezTo>
                      <a:pt x="13161" y="37840"/>
                      <a:pt x="14803" y="39482"/>
                      <a:pt x="16835" y="39482"/>
                    </a:cubicBezTo>
                    <a:lnTo>
                      <a:pt x="48968" y="39482"/>
                    </a:lnTo>
                    <a:cubicBezTo>
                      <a:pt x="51001" y="39482"/>
                      <a:pt x="52642" y="37840"/>
                      <a:pt x="52642" y="35807"/>
                    </a:cubicBezTo>
                    <a:lnTo>
                      <a:pt x="52642" y="16835"/>
                    </a:lnTo>
                    <a:cubicBezTo>
                      <a:pt x="52642" y="14802"/>
                      <a:pt x="51001" y="13161"/>
                      <a:pt x="48968" y="13161"/>
                    </a:cubicBezTo>
                    <a:lnTo>
                      <a:pt x="16835" y="13161"/>
                    </a:lnTo>
                    <a:close/>
                  </a:path>
                </a:pathLst>
              </a:custGeom>
              <a:solidFill>
                <a:schemeClr val="tx2"/>
              </a:solidFill>
              <a:ln w="2604" cap="flat">
                <a:noFill/>
                <a:prstDash val="solid"/>
                <a:miter/>
              </a:ln>
            </p:spPr>
            <p:txBody>
              <a:bodyPr rtlCol="0" anchor="ctr"/>
              <a:lstStyle/>
              <a:p>
                <a:endParaRPr lang="en-GB" dirty="0"/>
              </a:p>
            </p:txBody>
          </p:sp>
          <p:sp>
            <p:nvSpPr>
              <p:cNvPr id="207" name="Freihandform: Form 421">
                <a:extLst>
                  <a:ext uri="{FF2B5EF4-FFF2-40B4-BE49-F238E27FC236}">
                    <a16:creationId xmlns:a16="http://schemas.microsoft.com/office/drawing/2014/main" id="{8C4C128B-96BE-4ED8-8777-695ABD124490}"/>
                  </a:ext>
                </a:extLst>
              </p:cNvPr>
              <p:cNvSpPr/>
              <p:nvPr/>
            </p:nvSpPr>
            <p:spPr>
              <a:xfrm>
                <a:off x="2911922" y="3560843"/>
                <a:ext cx="65802" cy="52642"/>
              </a:xfrm>
              <a:custGeom>
                <a:avLst/>
                <a:gdLst>
                  <a:gd name="connsiteX0" fmla="*/ 48968 w 65802"/>
                  <a:gd name="connsiteY0" fmla="*/ 52642 h 52642"/>
                  <a:gd name="connsiteX1" fmla="*/ 16835 w 65802"/>
                  <a:gd name="connsiteY1" fmla="*/ 52642 h 52642"/>
                  <a:gd name="connsiteX2" fmla="*/ 0 w 65802"/>
                  <a:gd name="connsiteY2" fmla="*/ 35807 h 52642"/>
                  <a:gd name="connsiteX3" fmla="*/ 0 w 65802"/>
                  <a:gd name="connsiteY3" fmla="*/ 16835 h 52642"/>
                  <a:gd name="connsiteX4" fmla="*/ 16835 w 65802"/>
                  <a:gd name="connsiteY4" fmla="*/ 0 h 52642"/>
                  <a:gd name="connsiteX5" fmla="*/ 48968 w 65802"/>
                  <a:gd name="connsiteY5" fmla="*/ 0 h 52642"/>
                  <a:gd name="connsiteX6" fmla="*/ 65803 w 65802"/>
                  <a:gd name="connsiteY6" fmla="*/ 16835 h 52642"/>
                  <a:gd name="connsiteX7" fmla="*/ 65803 w 65802"/>
                  <a:gd name="connsiteY7" fmla="*/ 35807 h 52642"/>
                  <a:gd name="connsiteX8" fmla="*/ 48968 w 65802"/>
                  <a:gd name="connsiteY8" fmla="*/ 52642 h 52642"/>
                  <a:gd name="connsiteX9" fmla="*/ 16835 w 65802"/>
                  <a:gd name="connsiteY9" fmla="*/ 13161 h 52642"/>
                  <a:gd name="connsiteX10" fmla="*/ 13161 w 65802"/>
                  <a:gd name="connsiteY10" fmla="*/ 16835 h 52642"/>
                  <a:gd name="connsiteX11" fmla="*/ 13161 w 65802"/>
                  <a:gd name="connsiteY11" fmla="*/ 35807 h 52642"/>
                  <a:gd name="connsiteX12" fmla="*/ 16835 w 65802"/>
                  <a:gd name="connsiteY12" fmla="*/ 39482 h 52642"/>
                  <a:gd name="connsiteX13" fmla="*/ 48968 w 65802"/>
                  <a:gd name="connsiteY13" fmla="*/ 39482 h 52642"/>
                  <a:gd name="connsiteX14" fmla="*/ 52642 w 65802"/>
                  <a:gd name="connsiteY14" fmla="*/ 35807 h 52642"/>
                  <a:gd name="connsiteX15" fmla="*/ 52642 w 65802"/>
                  <a:gd name="connsiteY15" fmla="*/ 16835 h 52642"/>
                  <a:gd name="connsiteX16" fmla="*/ 48968 w 65802"/>
                  <a:gd name="connsiteY16" fmla="*/ 13161 h 52642"/>
                  <a:gd name="connsiteX17" fmla="*/ 16835 w 65802"/>
                  <a:gd name="connsiteY17" fmla="*/ 13161 h 5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802" h="52642">
                    <a:moveTo>
                      <a:pt x="48968" y="52642"/>
                    </a:moveTo>
                    <a:lnTo>
                      <a:pt x="16835" y="52642"/>
                    </a:lnTo>
                    <a:cubicBezTo>
                      <a:pt x="7558" y="52642"/>
                      <a:pt x="0" y="45085"/>
                      <a:pt x="0" y="35807"/>
                    </a:cubicBezTo>
                    <a:lnTo>
                      <a:pt x="0" y="16835"/>
                    </a:lnTo>
                    <a:cubicBezTo>
                      <a:pt x="0" y="7557"/>
                      <a:pt x="7558" y="0"/>
                      <a:pt x="16835" y="0"/>
                    </a:cubicBezTo>
                    <a:lnTo>
                      <a:pt x="48968" y="0"/>
                    </a:lnTo>
                    <a:cubicBezTo>
                      <a:pt x="58245" y="0"/>
                      <a:pt x="65803" y="7557"/>
                      <a:pt x="65803" y="16835"/>
                    </a:cubicBezTo>
                    <a:lnTo>
                      <a:pt x="65803" y="35807"/>
                    </a:lnTo>
                    <a:cubicBezTo>
                      <a:pt x="65803" y="45085"/>
                      <a:pt x="58245" y="52642"/>
                      <a:pt x="48968" y="52642"/>
                    </a:cubicBezTo>
                    <a:close/>
                    <a:moveTo>
                      <a:pt x="16835" y="13161"/>
                    </a:moveTo>
                    <a:cubicBezTo>
                      <a:pt x="14802" y="13161"/>
                      <a:pt x="13161" y="14802"/>
                      <a:pt x="13161" y="16835"/>
                    </a:cubicBezTo>
                    <a:lnTo>
                      <a:pt x="13161" y="35807"/>
                    </a:lnTo>
                    <a:cubicBezTo>
                      <a:pt x="13161" y="37840"/>
                      <a:pt x="14802" y="39482"/>
                      <a:pt x="16835" y="39482"/>
                    </a:cubicBezTo>
                    <a:lnTo>
                      <a:pt x="48968" y="39482"/>
                    </a:lnTo>
                    <a:cubicBezTo>
                      <a:pt x="51001" y="39482"/>
                      <a:pt x="52642" y="37840"/>
                      <a:pt x="52642" y="35807"/>
                    </a:cubicBezTo>
                    <a:lnTo>
                      <a:pt x="52642" y="16835"/>
                    </a:lnTo>
                    <a:cubicBezTo>
                      <a:pt x="52642" y="14802"/>
                      <a:pt x="51001" y="13161"/>
                      <a:pt x="48968" y="13161"/>
                    </a:cubicBezTo>
                    <a:lnTo>
                      <a:pt x="16835" y="13161"/>
                    </a:lnTo>
                    <a:close/>
                  </a:path>
                </a:pathLst>
              </a:custGeom>
              <a:solidFill>
                <a:schemeClr val="tx2"/>
              </a:solidFill>
              <a:ln w="2604" cap="flat">
                <a:noFill/>
                <a:prstDash val="solid"/>
                <a:miter/>
              </a:ln>
            </p:spPr>
            <p:txBody>
              <a:bodyPr rtlCol="0" anchor="ctr"/>
              <a:lstStyle/>
              <a:p>
                <a:endParaRPr lang="en-GB" dirty="0"/>
              </a:p>
            </p:txBody>
          </p:sp>
          <p:sp>
            <p:nvSpPr>
              <p:cNvPr id="208" name="Freihandform: Form 423">
                <a:extLst>
                  <a:ext uri="{FF2B5EF4-FFF2-40B4-BE49-F238E27FC236}">
                    <a16:creationId xmlns:a16="http://schemas.microsoft.com/office/drawing/2014/main" id="{B272E346-79F1-4FAA-B4BD-DFFA5E85A169}"/>
                  </a:ext>
                </a:extLst>
              </p:cNvPr>
              <p:cNvSpPr/>
              <p:nvPr/>
            </p:nvSpPr>
            <p:spPr>
              <a:xfrm>
                <a:off x="2767978" y="3433364"/>
                <a:ext cx="49314" cy="85547"/>
              </a:xfrm>
              <a:custGeom>
                <a:avLst/>
                <a:gdLst>
                  <a:gd name="connsiteX0" fmla="*/ 27271 w 49314"/>
                  <a:gd name="connsiteY0" fmla="*/ 85548 h 85547"/>
                  <a:gd name="connsiteX1" fmla="*/ 24951 w 49314"/>
                  <a:gd name="connsiteY1" fmla="*/ 85131 h 85547"/>
                  <a:gd name="connsiteX2" fmla="*/ 21094 w 49314"/>
                  <a:gd name="connsiteY2" fmla="*/ 76661 h 85547"/>
                  <a:gd name="connsiteX3" fmla="*/ 32717 w 49314"/>
                  <a:gd name="connsiteY3" fmla="*/ 45701 h 85547"/>
                  <a:gd name="connsiteX4" fmla="*/ 7517 w 49314"/>
                  <a:gd name="connsiteY4" fmla="*/ 49297 h 85547"/>
                  <a:gd name="connsiteX5" fmla="*/ 1132 w 49314"/>
                  <a:gd name="connsiteY5" fmla="*/ 46483 h 85547"/>
                  <a:gd name="connsiteX6" fmla="*/ 871 w 49314"/>
                  <a:gd name="connsiteY6" fmla="*/ 39525 h 85547"/>
                  <a:gd name="connsiteX7" fmla="*/ 21537 w 49314"/>
                  <a:gd name="connsiteY7" fmla="*/ 3327 h 85547"/>
                  <a:gd name="connsiteX8" fmla="*/ 30502 w 49314"/>
                  <a:gd name="connsiteY8" fmla="*/ 877 h 85547"/>
                  <a:gd name="connsiteX9" fmla="*/ 32952 w 49314"/>
                  <a:gd name="connsiteY9" fmla="*/ 9842 h 85547"/>
                  <a:gd name="connsiteX10" fmla="*/ 18957 w 49314"/>
                  <a:gd name="connsiteY10" fmla="*/ 34339 h 85547"/>
                  <a:gd name="connsiteX11" fmla="*/ 41812 w 49314"/>
                  <a:gd name="connsiteY11" fmla="*/ 31081 h 85547"/>
                  <a:gd name="connsiteX12" fmla="*/ 47858 w 49314"/>
                  <a:gd name="connsiteY12" fmla="*/ 33479 h 85547"/>
                  <a:gd name="connsiteX13" fmla="*/ 48901 w 49314"/>
                  <a:gd name="connsiteY13" fmla="*/ 39916 h 85547"/>
                  <a:gd name="connsiteX14" fmla="*/ 33395 w 49314"/>
                  <a:gd name="connsiteY14" fmla="*/ 81274 h 85547"/>
                  <a:gd name="connsiteX15" fmla="*/ 27271 w 49314"/>
                  <a:gd name="connsiteY15" fmla="*/ 85548 h 85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314" h="85547">
                    <a:moveTo>
                      <a:pt x="27271" y="85548"/>
                    </a:moveTo>
                    <a:cubicBezTo>
                      <a:pt x="26489" y="85548"/>
                      <a:pt x="25733" y="85417"/>
                      <a:pt x="24951" y="85131"/>
                    </a:cubicBezTo>
                    <a:cubicBezTo>
                      <a:pt x="21563" y="83854"/>
                      <a:pt x="19843" y="80075"/>
                      <a:pt x="21094" y="76661"/>
                    </a:cubicBezTo>
                    <a:lnTo>
                      <a:pt x="32717" y="45701"/>
                    </a:lnTo>
                    <a:lnTo>
                      <a:pt x="7517" y="49297"/>
                    </a:lnTo>
                    <a:cubicBezTo>
                      <a:pt x="5015" y="49662"/>
                      <a:pt x="2539" y="48568"/>
                      <a:pt x="1132" y="46483"/>
                    </a:cubicBezTo>
                    <a:cubicBezTo>
                      <a:pt x="-275" y="44398"/>
                      <a:pt x="-380" y="41714"/>
                      <a:pt x="871" y="39525"/>
                    </a:cubicBezTo>
                    <a:lnTo>
                      <a:pt x="21537" y="3327"/>
                    </a:lnTo>
                    <a:cubicBezTo>
                      <a:pt x="23335" y="173"/>
                      <a:pt x="27349" y="-947"/>
                      <a:pt x="30502" y="877"/>
                    </a:cubicBezTo>
                    <a:cubicBezTo>
                      <a:pt x="33655" y="2675"/>
                      <a:pt x="34750" y="6688"/>
                      <a:pt x="32952" y="9842"/>
                    </a:cubicBezTo>
                    <a:lnTo>
                      <a:pt x="18957" y="34339"/>
                    </a:lnTo>
                    <a:lnTo>
                      <a:pt x="41812" y="31081"/>
                    </a:lnTo>
                    <a:cubicBezTo>
                      <a:pt x="44158" y="30768"/>
                      <a:pt x="46425" y="31654"/>
                      <a:pt x="47858" y="33479"/>
                    </a:cubicBezTo>
                    <a:cubicBezTo>
                      <a:pt x="49318" y="35277"/>
                      <a:pt x="49709" y="37727"/>
                      <a:pt x="48901" y="39916"/>
                    </a:cubicBezTo>
                    <a:lnTo>
                      <a:pt x="33395" y="81274"/>
                    </a:lnTo>
                    <a:cubicBezTo>
                      <a:pt x="32457" y="83906"/>
                      <a:pt x="29929" y="85548"/>
                      <a:pt x="27271" y="85548"/>
                    </a:cubicBezTo>
                    <a:close/>
                  </a:path>
                </a:pathLst>
              </a:custGeom>
              <a:solidFill>
                <a:schemeClr val="tx2"/>
              </a:solidFill>
              <a:ln w="2604" cap="flat">
                <a:noFill/>
                <a:prstDash val="solid"/>
                <a:miter/>
              </a:ln>
            </p:spPr>
            <p:txBody>
              <a:bodyPr rtlCol="0" anchor="ctr"/>
              <a:lstStyle/>
              <a:p>
                <a:endParaRPr lang="en-GB" dirty="0"/>
              </a:p>
            </p:txBody>
          </p:sp>
          <p:sp>
            <p:nvSpPr>
              <p:cNvPr id="209" name="Freihandform: Form 429">
                <a:extLst>
                  <a:ext uri="{FF2B5EF4-FFF2-40B4-BE49-F238E27FC236}">
                    <a16:creationId xmlns:a16="http://schemas.microsoft.com/office/drawing/2014/main" id="{D6D6BEB3-AA8D-4C1C-9631-E5FF40A1C66D}"/>
                  </a:ext>
                </a:extLst>
              </p:cNvPr>
              <p:cNvSpPr/>
              <p:nvPr/>
            </p:nvSpPr>
            <p:spPr>
              <a:xfrm>
                <a:off x="2898787" y="3343784"/>
                <a:ext cx="59183" cy="13134"/>
              </a:xfrm>
              <a:custGeom>
                <a:avLst/>
                <a:gdLst>
                  <a:gd name="connsiteX0" fmla="*/ 52616 w 59183"/>
                  <a:gd name="connsiteY0" fmla="*/ 13135 h 13134"/>
                  <a:gd name="connsiteX1" fmla="*/ 6567 w 59183"/>
                  <a:gd name="connsiteY1" fmla="*/ 13135 h 13134"/>
                  <a:gd name="connsiteX2" fmla="*/ 0 w 59183"/>
                  <a:gd name="connsiteY2" fmla="*/ 6567 h 13134"/>
                  <a:gd name="connsiteX3" fmla="*/ 6567 w 59183"/>
                  <a:gd name="connsiteY3" fmla="*/ 0 h 13134"/>
                  <a:gd name="connsiteX4" fmla="*/ 52616 w 59183"/>
                  <a:gd name="connsiteY4" fmla="*/ 0 h 13134"/>
                  <a:gd name="connsiteX5" fmla="*/ 59183 w 59183"/>
                  <a:gd name="connsiteY5" fmla="*/ 6567 h 13134"/>
                  <a:gd name="connsiteX6" fmla="*/ 52616 w 59183"/>
                  <a:gd name="connsiteY6" fmla="*/ 13135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83" h="13134">
                    <a:moveTo>
                      <a:pt x="52616" y="13135"/>
                    </a:moveTo>
                    <a:lnTo>
                      <a:pt x="6567" y="13135"/>
                    </a:lnTo>
                    <a:cubicBezTo>
                      <a:pt x="2919" y="13135"/>
                      <a:pt x="0" y="10190"/>
                      <a:pt x="0" y="6567"/>
                    </a:cubicBezTo>
                    <a:cubicBezTo>
                      <a:pt x="0" y="2945"/>
                      <a:pt x="2945" y="0"/>
                      <a:pt x="6567" y="0"/>
                    </a:cubicBezTo>
                    <a:lnTo>
                      <a:pt x="52616" y="0"/>
                    </a:lnTo>
                    <a:cubicBezTo>
                      <a:pt x="56265" y="0"/>
                      <a:pt x="59183" y="2945"/>
                      <a:pt x="59183" y="6567"/>
                    </a:cubicBezTo>
                    <a:cubicBezTo>
                      <a:pt x="59183" y="10190"/>
                      <a:pt x="56239" y="13135"/>
                      <a:pt x="52616" y="13135"/>
                    </a:cubicBezTo>
                    <a:close/>
                  </a:path>
                </a:pathLst>
              </a:custGeom>
              <a:solidFill>
                <a:schemeClr val="tx2"/>
              </a:solidFill>
              <a:ln w="2604" cap="flat">
                <a:noFill/>
                <a:prstDash val="solid"/>
                <a:miter/>
              </a:ln>
            </p:spPr>
            <p:txBody>
              <a:bodyPr rtlCol="0" anchor="ctr"/>
              <a:lstStyle/>
              <a:p>
                <a:endParaRPr lang="en-GB" dirty="0"/>
              </a:p>
            </p:txBody>
          </p:sp>
          <p:sp>
            <p:nvSpPr>
              <p:cNvPr id="210" name="Freihandform: Form 430">
                <a:extLst>
                  <a:ext uri="{FF2B5EF4-FFF2-40B4-BE49-F238E27FC236}">
                    <a16:creationId xmlns:a16="http://schemas.microsoft.com/office/drawing/2014/main" id="{EFD3BEF9-5C91-4824-A554-8731BCC2AE62}"/>
                  </a:ext>
                </a:extLst>
              </p:cNvPr>
              <p:cNvSpPr/>
              <p:nvPr/>
            </p:nvSpPr>
            <p:spPr>
              <a:xfrm>
                <a:off x="2898787" y="3376673"/>
                <a:ext cx="59183" cy="13134"/>
              </a:xfrm>
              <a:custGeom>
                <a:avLst/>
                <a:gdLst>
                  <a:gd name="connsiteX0" fmla="*/ 52616 w 59183"/>
                  <a:gd name="connsiteY0" fmla="*/ 13135 h 13134"/>
                  <a:gd name="connsiteX1" fmla="*/ 6567 w 59183"/>
                  <a:gd name="connsiteY1" fmla="*/ 13135 h 13134"/>
                  <a:gd name="connsiteX2" fmla="*/ 0 w 59183"/>
                  <a:gd name="connsiteY2" fmla="*/ 6567 h 13134"/>
                  <a:gd name="connsiteX3" fmla="*/ 6567 w 59183"/>
                  <a:gd name="connsiteY3" fmla="*/ 0 h 13134"/>
                  <a:gd name="connsiteX4" fmla="*/ 52616 w 59183"/>
                  <a:gd name="connsiteY4" fmla="*/ 0 h 13134"/>
                  <a:gd name="connsiteX5" fmla="*/ 59183 w 59183"/>
                  <a:gd name="connsiteY5" fmla="*/ 6567 h 13134"/>
                  <a:gd name="connsiteX6" fmla="*/ 52616 w 59183"/>
                  <a:gd name="connsiteY6" fmla="*/ 13135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83" h="13134">
                    <a:moveTo>
                      <a:pt x="52616" y="13135"/>
                    </a:moveTo>
                    <a:lnTo>
                      <a:pt x="6567" y="13135"/>
                    </a:lnTo>
                    <a:cubicBezTo>
                      <a:pt x="2919" y="13135"/>
                      <a:pt x="0" y="10190"/>
                      <a:pt x="0" y="6567"/>
                    </a:cubicBezTo>
                    <a:cubicBezTo>
                      <a:pt x="0" y="2945"/>
                      <a:pt x="2945" y="0"/>
                      <a:pt x="6567" y="0"/>
                    </a:cubicBezTo>
                    <a:lnTo>
                      <a:pt x="52616" y="0"/>
                    </a:lnTo>
                    <a:cubicBezTo>
                      <a:pt x="56265" y="0"/>
                      <a:pt x="59183" y="2945"/>
                      <a:pt x="59183" y="6567"/>
                    </a:cubicBezTo>
                    <a:cubicBezTo>
                      <a:pt x="59183" y="10190"/>
                      <a:pt x="56239" y="13135"/>
                      <a:pt x="52616" y="13135"/>
                    </a:cubicBezTo>
                    <a:close/>
                  </a:path>
                </a:pathLst>
              </a:custGeom>
              <a:solidFill>
                <a:schemeClr val="tx2"/>
              </a:solidFill>
              <a:ln w="2604" cap="flat">
                <a:noFill/>
                <a:prstDash val="solid"/>
                <a:miter/>
              </a:ln>
            </p:spPr>
            <p:txBody>
              <a:bodyPr rtlCol="0" anchor="ctr"/>
              <a:lstStyle/>
              <a:p>
                <a:endParaRPr lang="en-GB" dirty="0"/>
              </a:p>
            </p:txBody>
          </p:sp>
          <p:sp>
            <p:nvSpPr>
              <p:cNvPr id="211" name="Freihandform: Form 432">
                <a:extLst>
                  <a:ext uri="{FF2B5EF4-FFF2-40B4-BE49-F238E27FC236}">
                    <a16:creationId xmlns:a16="http://schemas.microsoft.com/office/drawing/2014/main" id="{D647CDFB-107D-4FDA-875E-F7689B404D65}"/>
                  </a:ext>
                </a:extLst>
              </p:cNvPr>
              <p:cNvSpPr/>
              <p:nvPr/>
            </p:nvSpPr>
            <p:spPr>
              <a:xfrm>
                <a:off x="2629060" y="3343784"/>
                <a:ext cx="59183" cy="13134"/>
              </a:xfrm>
              <a:custGeom>
                <a:avLst/>
                <a:gdLst>
                  <a:gd name="connsiteX0" fmla="*/ 52616 w 59183"/>
                  <a:gd name="connsiteY0" fmla="*/ 13135 h 13134"/>
                  <a:gd name="connsiteX1" fmla="*/ 6567 w 59183"/>
                  <a:gd name="connsiteY1" fmla="*/ 13135 h 13134"/>
                  <a:gd name="connsiteX2" fmla="*/ 0 w 59183"/>
                  <a:gd name="connsiteY2" fmla="*/ 6567 h 13134"/>
                  <a:gd name="connsiteX3" fmla="*/ 6567 w 59183"/>
                  <a:gd name="connsiteY3" fmla="*/ 0 h 13134"/>
                  <a:gd name="connsiteX4" fmla="*/ 52616 w 59183"/>
                  <a:gd name="connsiteY4" fmla="*/ 0 h 13134"/>
                  <a:gd name="connsiteX5" fmla="*/ 59183 w 59183"/>
                  <a:gd name="connsiteY5" fmla="*/ 6567 h 13134"/>
                  <a:gd name="connsiteX6" fmla="*/ 52616 w 59183"/>
                  <a:gd name="connsiteY6" fmla="*/ 13135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83" h="13134">
                    <a:moveTo>
                      <a:pt x="52616" y="13135"/>
                    </a:moveTo>
                    <a:lnTo>
                      <a:pt x="6567" y="13135"/>
                    </a:lnTo>
                    <a:cubicBezTo>
                      <a:pt x="2919" y="13135"/>
                      <a:pt x="0" y="10190"/>
                      <a:pt x="0" y="6567"/>
                    </a:cubicBezTo>
                    <a:cubicBezTo>
                      <a:pt x="0" y="2945"/>
                      <a:pt x="2945" y="0"/>
                      <a:pt x="6567" y="0"/>
                    </a:cubicBezTo>
                    <a:lnTo>
                      <a:pt x="52616" y="0"/>
                    </a:lnTo>
                    <a:cubicBezTo>
                      <a:pt x="56265" y="0"/>
                      <a:pt x="59183" y="2945"/>
                      <a:pt x="59183" y="6567"/>
                    </a:cubicBezTo>
                    <a:cubicBezTo>
                      <a:pt x="59183" y="10190"/>
                      <a:pt x="56265" y="13135"/>
                      <a:pt x="52616" y="13135"/>
                    </a:cubicBezTo>
                    <a:close/>
                  </a:path>
                </a:pathLst>
              </a:custGeom>
              <a:solidFill>
                <a:schemeClr val="tx2"/>
              </a:solidFill>
              <a:ln w="2604" cap="flat">
                <a:noFill/>
                <a:prstDash val="solid"/>
                <a:miter/>
              </a:ln>
            </p:spPr>
            <p:txBody>
              <a:bodyPr rtlCol="0" anchor="ctr"/>
              <a:lstStyle/>
              <a:p>
                <a:endParaRPr lang="en-GB" dirty="0"/>
              </a:p>
            </p:txBody>
          </p:sp>
          <p:sp>
            <p:nvSpPr>
              <p:cNvPr id="212" name="Freihandform: Form 433">
                <a:extLst>
                  <a:ext uri="{FF2B5EF4-FFF2-40B4-BE49-F238E27FC236}">
                    <a16:creationId xmlns:a16="http://schemas.microsoft.com/office/drawing/2014/main" id="{56D3F4E5-73D0-4C01-A689-8FA14809FF34}"/>
                  </a:ext>
                </a:extLst>
              </p:cNvPr>
              <p:cNvSpPr/>
              <p:nvPr/>
            </p:nvSpPr>
            <p:spPr>
              <a:xfrm>
                <a:off x="2629060" y="3376673"/>
                <a:ext cx="59183" cy="13134"/>
              </a:xfrm>
              <a:custGeom>
                <a:avLst/>
                <a:gdLst>
                  <a:gd name="connsiteX0" fmla="*/ 52616 w 59183"/>
                  <a:gd name="connsiteY0" fmla="*/ 13135 h 13134"/>
                  <a:gd name="connsiteX1" fmla="*/ 6567 w 59183"/>
                  <a:gd name="connsiteY1" fmla="*/ 13135 h 13134"/>
                  <a:gd name="connsiteX2" fmla="*/ 0 w 59183"/>
                  <a:gd name="connsiteY2" fmla="*/ 6567 h 13134"/>
                  <a:gd name="connsiteX3" fmla="*/ 6567 w 59183"/>
                  <a:gd name="connsiteY3" fmla="*/ 0 h 13134"/>
                  <a:gd name="connsiteX4" fmla="*/ 52616 w 59183"/>
                  <a:gd name="connsiteY4" fmla="*/ 0 h 13134"/>
                  <a:gd name="connsiteX5" fmla="*/ 59183 w 59183"/>
                  <a:gd name="connsiteY5" fmla="*/ 6567 h 13134"/>
                  <a:gd name="connsiteX6" fmla="*/ 52616 w 59183"/>
                  <a:gd name="connsiteY6" fmla="*/ 13135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83" h="13134">
                    <a:moveTo>
                      <a:pt x="52616" y="13135"/>
                    </a:moveTo>
                    <a:lnTo>
                      <a:pt x="6567" y="13135"/>
                    </a:lnTo>
                    <a:cubicBezTo>
                      <a:pt x="2919" y="13135"/>
                      <a:pt x="0" y="10190"/>
                      <a:pt x="0" y="6567"/>
                    </a:cubicBezTo>
                    <a:cubicBezTo>
                      <a:pt x="0" y="2945"/>
                      <a:pt x="2945" y="0"/>
                      <a:pt x="6567" y="0"/>
                    </a:cubicBezTo>
                    <a:lnTo>
                      <a:pt x="52616" y="0"/>
                    </a:lnTo>
                    <a:cubicBezTo>
                      <a:pt x="56265" y="0"/>
                      <a:pt x="59183" y="2945"/>
                      <a:pt x="59183" y="6567"/>
                    </a:cubicBezTo>
                    <a:cubicBezTo>
                      <a:pt x="59183" y="10190"/>
                      <a:pt x="56265" y="13135"/>
                      <a:pt x="52616" y="13135"/>
                    </a:cubicBezTo>
                    <a:close/>
                  </a:path>
                </a:pathLst>
              </a:custGeom>
              <a:solidFill>
                <a:schemeClr val="tx2"/>
              </a:solidFill>
              <a:ln w="2604" cap="flat">
                <a:noFill/>
                <a:prstDash val="solid"/>
                <a:miter/>
              </a:ln>
            </p:spPr>
            <p:txBody>
              <a:bodyPr rtlCol="0" anchor="ctr"/>
              <a:lstStyle/>
              <a:p>
                <a:endParaRPr lang="en-GB" dirty="0"/>
              </a:p>
            </p:txBody>
          </p:sp>
        </p:grpSp>
      </p:grpSp>
      <p:grpSp>
        <p:nvGrpSpPr>
          <p:cNvPr id="689" name="Group 688">
            <a:extLst>
              <a:ext uri="{FF2B5EF4-FFF2-40B4-BE49-F238E27FC236}">
                <a16:creationId xmlns:a16="http://schemas.microsoft.com/office/drawing/2014/main" id="{8DCA3582-066C-428E-8BB6-3506A1A9A58E}"/>
              </a:ext>
            </a:extLst>
          </p:cNvPr>
          <p:cNvGrpSpPr/>
          <p:nvPr/>
        </p:nvGrpSpPr>
        <p:grpSpPr>
          <a:xfrm>
            <a:off x="1574850" y="3197068"/>
            <a:ext cx="529272" cy="431999"/>
            <a:chOff x="1574850" y="3197068"/>
            <a:chExt cx="529272" cy="431999"/>
          </a:xfrm>
        </p:grpSpPr>
        <p:grpSp>
          <p:nvGrpSpPr>
            <p:cNvPr id="217" name="Group 216">
              <a:extLst>
                <a:ext uri="{FF2B5EF4-FFF2-40B4-BE49-F238E27FC236}">
                  <a16:creationId xmlns:a16="http://schemas.microsoft.com/office/drawing/2014/main" id="{4675CA5C-A974-4AE9-9928-5B9BE9CF0FE5}"/>
                </a:ext>
              </a:extLst>
            </p:cNvPr>
            <p:cNvGrpSpPr/>
            <p:nvPr/>
          </p:nvGrpSpPr>
          <p:grpSpPr>
            <a:xfrm>
              <a:off x="1582419" y="3357694"/>
              <a:ext cx="521703" cy="271373"/>
              <a:chOff x="3352710" y="3416181"/>
              <a:chExt cx="539428" cy="280593"/>
            </a:xfrm>
          </p:grpSpPr>
          <p:sp>
            <p:nvSpPr>
              <p:cNvPr id="235" name="Freihandform: Form 444">
                <a:extLst>
                  <a:ext uri="{FF2B5EF4-FFF2-40B4-BE49-F238E27FC236}">
                    <a16:creationId xmlns:a16="http://schemas.microsoft.com/office/drawing/2014/main" id="{78B3805F-94C7-4121-8B34-B710F80A6E23}"/>
                  </a:ext>
                </a:extLst>
              </p:cNvPr>
              <p:cNvSpPr/>
              <p:nvPr/>
            </p:nvSpPr>
            <p:spPr>
              <a:xfrm>
                <a:off x="3701375" y="3416181"/>
                <a:ext cx="190763" cy="85478"/>
              </a:xfrm>
              <a:custGeom>
                <a:avLst/>
                <a:gdLst>
                  <a:gd name="connsiteX0" fmla="*/ 95382 w 190763"/>
                  <a:gd name="connsiteY0" fmla="*/ 85479 h 85478"/>
                  <a:gd name="connsiteX1" fmla="*/ 0 w 190763"/>
                  <a:gd name="connsiteY1" fmla="*/ 42739 h 85478"/>
                  <a:gd name="connsiteX2" fmla="*/ 95382 w 190763"/>
                  <a:gd name="connsiteY2" fmla="*/ 0 h 85478"/>
                  <a:gd name="connsiteX3" fmla="*/ 190763 w 190763"/>
                  <a:gd name="connsiteY3" fmla="*/ 42739 h 85478"/>
                  <a:gd name="connsiteX4" fmla="*/ 95382 w 190763"/>
                  <a:gd name="connsiteY4" fmla="*/ 85479 h 85478"/>
                  <a:gd name="connsiteX5" fmla="*/ 95382 w 190763"/>
                  <a:gd name="connsiteY5" fmla="*/ 13134 h 85478"/>
                  <a:gd name="connsiteX6" fmla="*/ 13161 w 190763"/>
                  <a:gd name="connsiteY6" fmla="*/ 42713 h 85478"/>
                  <a:gd name="connsiteX7" fmla="*/ 95382 w 190763"/>
                  <a:gd name="connsiteY7" fmla="*/ 72292 h 85478"/>
                  <a:gd name="connsiteX8" fmla="*/ 177603 w 190763"/>
                  <a:gd name="connsiteY8" fmla="*/ 42713 h 85478"/>
                  <a:gd name="connsiteX9" fmla="*/ 95382 w 190763"/>
                  <a:gd name="connsiteY9" fmla="*/ 13134 h 8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763" h="85478">
                    <a:moveTo>
                      <a:pt x="95382" y="85479"/>
                    </a:moveTo>
                    <a:cubicBezTo>
                      <a:pt x="40993" y="85479"/>
                      <a:pt x="0" y="67106"/>
                      <a:pt x="0" y="42739"/>
                    </a:cubicBezTo>
                    <a:cubicBezTo>
                      <a:pt x="0" y="18373"/>
                      <a:pt x="41019" y="0"/>
                      <a:pt x="95382" y="0"/>
                    </a:cubicBezTo>
                    <a:cubicBezTo>
                      <a:pt x="149744" y="0"/>
                      <a:pt x="190763" y="18373"/>
                      <a:pt x="190763" y="42739"/>
                    </a:cubicBezTo>
                    <a:cubicBezTo>
                      <a:pt x="190763" y="67106"/>
                      <a:pt x="149744" y="85479"/>
                      <a:pt x="95382" y="85479"/>
                    </a:cubicBezTo>
                    <a:close/>
                    <a:moveTo>
                      <a:pt x="95382" y="13134"/>
                    </a:moveTo>
                    <a:cubicBezTo>
                      <a:pt x="48316" y="13134"/>
                      <a:pt x="13161" y="28745"/>
                      <a:pt x="13161" y="42713"/>
                    </a:cubicBezTo>
                    <a:cubicBezTo>
                      <a:pt x="13161" y="56682"/>
                      <a:pt x="48316" y="72292"/>
                      <a:pt x="95382" y="72292"/>
                    </a:cubicBezTo>
                    <a:cubicBezTo>
                      <a:pt x="142447" y="72292"/>
                      <a:pt x="177603" y="56656"/>
                      <a:pt x="177603" y="42713"/>
                    </a:cubicBezTo>
                    <a:cubicBezTo>
                      <a:pt x="177603" y="28745"/>
                      <a:pt x="142447" y="13134"/>
                      <a:pt x="95382" y="13134"/>
                    </a:cubicBezTo>
                    <a:close/>
                  </a:path>
                </a:pathLst>
              </a:custGeom>
              <a:solidFill>
                <a:schemeClr val="accent1"/>
              </a:solidFill>
              <a:ln w="2604" cap="flat">
                <a:noFill/>
                <a:prstDash val="solid"/>
                <a:miter/>
              </a:ln>
            </p:spPr>
            <p:txBody>
              <a:bodyPr rtlCol="0" anchor="ctr"/>
              <a:lstStyle/>
              <a:p>
                <a:endParaRPr lang="en-GB" dirty="0"/>
              </a:p>
            </p:txBody>
          </p:sp>
          <p:sp>
            <p:nvSpPr>
              <p:cNvPr id="236" name="Freihandform: Form 445">
                <a:extLst>
                  <a:ext uri="{FF2B5EF4-FFF2-40B4-BE49-F238E27FC236}">
                    <a16:creationId xmlns:a16="http://schemas.microsoft.com/office/drawing/2014/main" id="{313A4448-F8FD-41BD-9A64-744E00B4E5AD}"/>
                  </a:ext>
                </a:extLst>
              </p:cNvPr>
              <p:cNvSpPr/>
              <p:nvPr/>
            </p:nvSpPr>
            <p:spPr>
              <a:xfrm>
                <a:off x="3352710" y="3416697"/>
                <a:ext cx="190737" cy="84962"/>
              </a:xfrm>
              <a:custGeom>
                <a:avLst/>
                <a:gdLst>
                  <a:gd name="connsiteX0" fmla="*/ 95382 w 190737"/>
                  <a:gd name="connsiteY0" fmla="*/ 84962 h 84962"/>
                  <a:gd name="connsiteX1" fmla="*/ 0 w 190737"/>
                  <a:gd name="connsiteY1" fmla="*/ 42223 h 84962"/>
                  <a:gd name="connsiteX2" fmla="*/ 80110 w 190737"/>
                  <a:gd name="connsiteY2" fmla="*/ 5 h 84962"/>
                  <a:gd name="connsiteX3" fmla="*/ 87120 w 190737"/>
                  <a:gd name="connsiteY3" fmla="*/ 6129 h 84962"/>
                  <a:gd name="connsiteX4" fmla="*/ 80996 w 190737"/>
                  <a:gd name="connsiteY4" fmla="*/ 13139 h 84962"/>
                  <a:gd name="connsiteX5" fmla="*/ 13134 w 190737"/>
                  <a:gd name="connsiteY5" fmla="*/ 42223 h 84962"/>
                  <a:gd name="connsiteX6" fmla="*/ 95356 w 190737"/>
                  <a:gd name="connsiteY6" fmla="*/ 71801 h 84962"/>
                  <a:gd name="connsiteX7" fmla="*/ 177577 w 190737"/>
                  <a:gd name="connsiteY7" fmla="*/ 42223 h 84962"/>
                  <a:gd name="connsiteX8" fmla="*/ 112686 w 190737"/>
                  <a:gd name="connsiteY8" fmla="*/ 13348 h 84962"/>
                  <a:gd name="connsiteX9" fmla="*/ 106692 w 190737"/>
                  <a:gd name="connsiteY9" fmla="*/ 6259 h 84962"/>
                  <a:gd name="connsiteX10" fmla="*/ 113780 w 190737"/>
                  <a:gd name="connsiteY10" fmla="*/ 265 h 84962"/>
                  <a:gd name="connsiteX11" fmla="*/ 190737 w 190737"/>
                  <a:gd name="connsiteY11" fmla="*/ 42249 h 84962"/>
                  <a:gd name="connsiteX12" fmla="*/ 95382 w 190737"/>
                  <a:gd name="connsiteY12" fmla="*/ 84962 h 84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737" h="84962">
                    <a:moveTo>
                      <a:pt x="95382" y="84962"/>
                    </a:moveTo>
                    <a:cubicBezTo>
                      <a:pt x="40993" y="84962"/>
                      <a:pt x="0" y="66589"/>
                      <a:pt x="0" y="42223"/>
                    </a:cubicBezTo>
                    <a:cubicBezTo>
                      <a:pt x="0" y="20592"/>
                      <a:pt x="32940" y="3210"/>
                      <a:pt x="80110" y="5"/>
                    </a:cubicBezTo>
                    <a:cubicBezTo>
                      <a:pt x="83889" y="-126"/>
                      <a:pt x="86886" y="2506"/>
                      <a:pt x="87120" y="6129"/>
                    </a:cubicBezTo>
                    <a:cubicBezTo>
                      <a:pt x="87355" y="9751"/>
                      <a:pt x="84619" y="12904"/>
                      <a:pt x="80996" y="13139"/>
                    </a:cubicBezTo>
                    <a:cubicBezTo>
                      <a:pt x="39065" y="16006"/>
                      <a:pt x="13134" y="30469"/>
                      <a:pt x="13134" y="42223"/>
                    </a:cubicBezTo>
                    <a:cubicBezTo>
                      <a:pt x="13134" y="56191"/>
                      <a:pt x="48290" y="71801"/>
                      <a:pt x="95356" y="71801"/>
                    </a:cubicBezTo>
                    <a:cubicBezTo>
                      <a:pt x="142421" y="71801"/>
                      <a:pt x="177577" y="56165"/>
                      <a:pt x="177577" y="42223"/>
                    </a:cubicBezTo>
                    <a:cubicBezTo>
                      <a:pt x="177577" y="30939"/>
                      <a:pt x="152767" y="16683"/>
                      <a:pt x="112686" y="13348"/>
                    </a:cubicBezTo>
                    <a:cubicBezTo>
                      <a:pt x="109063" y="13035"/>
                      <a:pt x="106379" y="9882"/>
                      <a:pt x="106692" y="6259"/>
                    </a:cubicBezTo>
                    <a:cubicBezTo>
                      <a:pt x="106979" y="2637"/>
                      <a:pt x="110132" y="-152"/>
                      <a:pt x="113780" y="265"/>
                    </a:cubicBezTo>
                    <a:cubicBezTo>
                      <a:pt x="159803" y="4096"/>
                      <a:pt x="190737" y="20983"/>
                      <a:pt x="190737" y="42249"/>
                    </a:cubicBezTo>
                    <a:cubicBezTo>
                      <a:pt x="190763" y="66563"/>
                      <a:pt x="149744" y="84962"/>
                      <a:pt x="95382" y="84962"/>
                    </a:cubicBezTo>
                    <a:close/>
                  </a:path>
                </a:pathLst>
              </a:custGeom>
              <a:solidFill>
                <a:schemeClr val="accent1"/>
              </a:solidFill>
              <a:ln w="2604" cap="flat">
                <a:noFill/>
                <a:prstDash val="solid"/>
                <a:miter/>
              </a:ln>
            </p:spPr>
            <p:txBody>
              <a:bodyPr rtlCol="0" anchor="ctr"/>
              <a:lstStyle/>
              <a:p>
                <a:endParaRPr lang="en-GB" dirty="0"/>
              </a:p>
            </p:txBody>
          </p:sp>
          <p:sp>
            <p:nvSpPr>
              <p:cNvPr id="237" name="Freihandform: Form 443">
                <a:extLst>
                  <a:ext uri="{FF2B5EF4-FFF2-40B4-BE49-F238E27FC236}">
                    <a16:creationId xmlns:a16="http://schemas.microsoft.com/office/drawing/2014/main" id="{5D020DCF-4469-4BC3-92D5-E9727743259B}"/>
                  </a:ext>
                </a:extLst>
              </p:cNvPr>
              <p:cNvSpPr/>
              <p:nvPr/>
            </p:nvSpPr>
            <p:spPr>
              <a:xfrm>
                <a:off x="3490831" y="3589594"/>
                <a:ext cx="263185" cy="107180"/>
              </a:xfrm>
              <a:custGeom>
                <a:avLst/>
                <a:gdLst>
                  <a:gd name="connsiteX0" fmla="*/ 131580 w 263185"/>
                  <a:gd name="connsiteY0" fmla="*/ 107181 h 107180"/>
                  <a:gd name="connsiteX1" fmla="*/ 0 w 263185"/>
                  <a:gd name="connsiteY1" fmla="*/ 49691 h 107180"/>
                  <a:gd name="connsiteX2" fmla="*/ 63119 w 263185"/>
                  <a:gd name="connsiteY2" fmla="*/ 280 h 107180"/>
                  <a:gd name="connsiteX3" fmla="*/ 71146 w 263185"/>
                  <a:gd name="connsiteY3" fmla="*/ 4997 h 107180"/>
                  <a:gd name="connsiteX4" fmla="*/ 66428 w 263185"/>
                  <a:gd name="connsiteY4" fmla="*/ 13024 h 107180"/>
                  <a:gd name="connsiteX5" fmla="*/ 13187 w 263185"/>
                  <a:gd name="connsiteY5" fmla="*/ 49691 h 107180"/>
                  <a:gd name="connsiteX6" fmla="*/ 131606 w 263185"/>
                  <a:gd name="connsiteY6" fmla="*/ 94020 h 107180"/>
                  <a:gd name="connsiteX7" fmla="*/ 250025 w 263185"/>
                  <a:gd name="connsiteY7" fmla="*/ 49691 h 107180"/>
                  <a:gd name="connsiteX8" fmla="*/ 196392 w 263185"/>
                  <a:gd name="connsiteY8" fmla="*/ 12946 h 107180"/>
                  <a:gd name="connsiteX9" fmla="*/ 191650 w 263185"/>
                  <a:gd name="connsiteY9" fmla="*/ 4945 h 107180"/>
                  <a:gd name="connsiteX10" fmla="*/ 199650 w 263185"/>
                  <a:gd name="connsiteY10" fmla="*/ 202 h 107180"/>
                  <a:gd name="connsiteX11" fmla="*/ 263186 w 263185"/>
                  <a:gd name="connsiteY11" fmla="*/ 49691 h 107180"/>
                  <a:gd name="connsiteX12" fmla="*/ 131580 w 263185"/>
                  <a:gd name="connsiteY12" fmla="*/ 107181 h 10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185" h="107180">
                    <a:moveTo>
                      <a:pt x="131580" y="107181"/>
                    </a:moveTo>
                    <a:cubicBezTo>
                      <a:pt x="57802" y="107181"/>
                      <a:pt x="0" y="81928"/>
                      <a:pt x="0" y="49691"/>
                    </a:cubicBezTo>
                    <a:cubicBezTo>
                      <a:pt x="0" y="28660"/>
                      <a:pt x="23012" y="10652"/>
                      <a:pt x="63119" y="280"/>
                    </a:cubicBezTo>
                    <a:cubicBezTo>
                      <a:pt x="66637" y="-632"/>
                      <a:pt x="70233" y="1479"/>
                      <a:pt x="71146" y="4997"/>
                    </a:cubicBezTo>
                    <a:cubicBezTo>
                      <a:pt x="72058" y="8515"/>
                      <a:pt x="69947" y="12112"/>
                      <a:pt x="66428" y="13024"/>
                    </a:cubicBezTo>
                    <a:cubicBezTo>
                      <a:pt x="34087" y="21363"/>
                      <a:pt x="13187" y="35749"/>
                      <a:pt x="13187" y="49691"/>
                    </a:cubicBezTo>
                    <a:cubicBezTo>
                      <a:pt x="13187" y="70644"/>
                      <a:pt x="61816" y="94020"/>
                      <a:pt x="131606" y="94020"/>
                    </a:cubicBezTo>
                    <a:cubicBezTo>
                      <a:pt x="201396" y="94020"/>
                      <a:pt x="250025" y="70670"/>
                      <a:pt x="250025" y="49691"/>
                    </a:cubicBezTo>
                    <a:cubicBezTo>
                      <a:pt x="250025" y="35696"/>
                      <a:pt x="228968" y="21285"/>
                      <a:pt x="196392" y="12946"/>
                    </a:cubicBezTo>
                    <a:cubicBezTo>
                      <a:pt x="192874" y="12033"/>
                      <a:pt x="190764" y="8463"/>
                      <a:pt x="191650" y="4945"/>
                    </a:cubicBezTo>
                    <a:cubicBezTo>
                      <a:pt x="192536" y="1427"/>
                      <a:pt x="196132" y="-684"/>
                      <a:pt x="199650" y="202"/>
                    </a:cubicBezTo>
                    <a:cubicBezTo>
                      <a:pt x="240018" y="10548"/>
                      <a:pt x="263186" y="28582"/>
                      <a:pt x="263186" y="49691"/>
                    </a:cubicBezTo>
                    <a:cubicBezTo>
                      <a:pt x="263160" y="81928"/>
                      <a:pt x="205357" y="107181"/>
                      <a:pt x="131580" y="107181"/>
                    </a:cubicBezTo>
                    <a:close/>
                  </a:path>
                </a:pathLst>
              </a:custGeom>
              <a:solidFill>
                <a:schemeClr val="accent1"/>
              </a:solidFill>
              <a:ln w="2604" cap="flat">
                <a:noFill/>
                <a:prstDash val="solid"/>
                <a:miter/>
              </a:ln>
            </p:spPr>
            <p:txBody>
              <a:bodyPr rtlCol="0" anchor="ctr"/>
              <a:lstStyle/>
              <a:p>
                <a:endParaRPr lang="en-GB" dirty="0"/>
              </a:p>
            </p:txBody>
          </p:sp>
          <p:sp>
            <p:nvSpPr>
              <p:cNvPr id="238" name="Freihandform: Form 446">
                <a:extLst>
                  <a:ext uri="{FF2B5EF4-FFF2-40B4-BE49-F238E27FC236}">
                    <a16:creationId xmlns:a16="http://schemas.microsoft.com/office/drawing/2014/main" id="{D13C2906-F269-4F54-A4BC-A155DE9C1DFC}"/>
                  </a:ext>
                </a:extLst>
              </p:cNvPr>
              <p:cNvSpPr/>
              <p:nvPr/>
            </p:nvSpPr>
            <p:spPr>
              <a:xfrm>
                <a:off x="3438216" y="3488500"/>
                <a:ext cx="92096" cy="124985"/>
              </a:xfrm>
              <a:custGeom>
                <a:avLst/>
                <a:gdLst>
                  <a:gd name="connsiteX0" fmla="*/ 85530 w 92096"/>
                  <a:gd name="connsiteY0" fmla="*/ 124986 h 124985"/>
                  <a:gd name="connsiteX1" fmla="*/ 80135 w 92096"/>
                  <a:gd name="connsiteY1" fmla="*/ 122197 h 124985"/>
                  <a:gd name="connsiteX2" fmla="*/ 1198 w 92096"/>
                  <a:gd name="connsiteY2" fmla="*/ 10371 h 124985"/>
                  <a:gd name="connsiteX3" fmla="*/ 2788 w 92096"/>
                  <a:gd name="connsiteY3" fmla="*/ 1198 h 124985"/>
                  <a:gd name="connsiteX4" fmla="*/ 11961 w 92096"/>
                  <a:gd name="connsiteY4" fmla="*/ 2788 h 124985"/>
                  <a:gd name="connsiteX5" fmla="*/ 90898 w 92096"/>
                  <a:gd name="connsiteY5" fmla="*/ 114613 h 124985"/>
                  <a:gd name="connsiteX6" fmla="*/ 89309 w 92096"/>
                  <a:gd name="connsiteY6" fmla="*/ 123787 h 124985"/>
                  <a:gd name="connsiteX7" fmla="*/ 85530 w 92096"/>
                  <a:gd name="connsiteY7" fmla="*/ 124986 h 124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096" h="124985">
                    <a:moveTo>
                      <a:pt x="85530" y="124986"/>
                    </a:moveTo>
                    <a:cubicBezTo>
                      <a:pt x="83471" y="124986"/>
                      <a:pt x="81438" y="124021"/>
                      <a:pt x="80135" y="122197"/>
                    </a:cubicBezTo>
                    <a:lnTo>
                      <a:pt x="1198" y="10371"/>
                    </a:lnTo>
                    <a:cubicBezTo>
                      <a:pt x="-887" y="7400"/>
                      <a:pt x="-183" y="3309"/>
                      <a:pt x="2788" y="1198"/>
                    </a:cubicBezTo>
                    <a:cubicBezTo>
                      <a:pt x="5758" y="-887"/>
                      <a:pt x="9850" y="-183"/>
                      <a:pt x="11961" y="2788"/>
                    </a:cubicBezTo>
                    <a:lnTo>
                      <a:pt x="90898" y="114613"/>
                    </a:lnTo>
                    <a:cubicBezTo>
                      <a:pt x="92983" y="117584"/>
                      <a:pt x="92280" y="121676"/>
                      <a:pt x="89309" y="123787"/>
                    </a:cubicBezTo>
                    <a:cubicBezTo>
                      <a:pt x="88162" y="124595"/>
                      <a:pt x="86833" y="124986"/>
                      <a:pt x="85530" y="124986"/>
                    </a:cubicBezTo>
                    <a:close/>
                  </a:path>
                </a:pathLst>
              </a:custGeom>
              <a:solidFill>
                <a:schemeClr val="accent1"/>
              </a:solidFill>
              <a:ln w="2604" cap="flat">
                <a:noFill/>
                <a:prstDash val="solid"/>
                <a:miter/>
              </a:ln>
            </p:spPr>
            <p:txBody>
              <a:bodyPr rtlCol="0" anchor="ctr"/>
              <a:lstStyle/>
              <a:p>
                <a:endParaRPr lang="en-GB" dirty="0"/>
              </a:p>
            </p:txBody>
          </p:sp>
        </p:grpSp>
        <p:grpSp>
          <p:nvGrpSpPr>
            <p:cNvPr id="218" name="Group 217">
              <a:extLst>
                <a:ext uri="{FF2B5EF4-FFF2-40B4-BE49-F238E27FC236}">
                  <a16:creationId xmlns:a16="http://schemas.microsoft.com/office/drawing/2014/main" id="{EDA9FA2D-F9FA-44EA-B62A-2B73E887FA8A}"/>
                </a:ext>
              </a:extLst>
            </p:cNvPr>
            <p:cNvGrpSpPr/>
            <p:nvPr/>
          </p:nvGrpSpPr>
          <p:grpSpPr>
            <a:xfrm>
              <a:off x="1574850" y="3197068"/>
              <a:ext cx="519963" cy="376904"/>
              <a:chOff x="3344885" y="3250097"/>
              <a:chExt cx="537629" cy="389709"/>
            </a:xfrm>
          </p:grpSpPr>
          <p:sp>
            <p:nvSpPr>
              <p:cNvPr id="219" name="Freihandform: Form 436">
                <a:extLst>
                  <a:ext uri="{FF2B5EF4-FFF2-40B4-BE49-F238E27FC236}">
                    <a16:creationId xmlns:a16="http://schemas.microsoft.com/office/drawing/2014/main" id="{5FBF0DBB-96C1-41DB-A1EC-1A4956A188FB}"/>
                  </a:ext>
                </a:extLst>
              </p:cNvPr>
              <p:cNvSpPr/>
              <p:nvPr/>
            </p:nvSpPr>
            <p:spPr>
              <a:xfrm>
                <a:off x="3344885" y="3294191"/>
                <a:ext cx="207560" cy="106092"/>
              </a:xfrm>
              <a:custGeom>
                <a:avLst/>
                <a:gdLst>
                  <a:gd name="connsiteX0" fmla="*/ 200960 w 207560"/>
                  <a:gd name="connsiteY0" fmla="*/ 106092 h 106092"/>
                  <a:gd name="connsiteX1" fmla="*/ 6574 w 207560"/>
                  <a:gd name="connsiteY1" fmla="*/ 106092 h 106092"/>
                  <a:gd name="connsiteX2" fmla="*/ 1440 w 207560"/>
                  <a:gd name="connsiteY2" fmla="*/ 103617 h 106092"/>
                  <a:gd name="connsiteX3" fmla="*/ 163 w 207560"/>
                  <a:gd name="connsiteY3" fmla="*/ 98066 h 106092"/>
                  <a:gd name="connsiteX4" fmla="*/ 21298 w 207560"/>
                  <a:gd name="connsiteY4" fmla="*/ 5108 h 106092"/>
                  <a:gd name="connsiteX5" fmla="*/ 27709 w 207560"/>
                  <a:gd name="connsiteY5" fmla="*/ 0 h 106092"/>
                  <a:gd name="connsiteX6" fmla="*/ 179851 w 207560"/>
                  <a:gd name="connsiteY6" fmla="*/ 0 h 106092"/>
                  <a:gd name="connsiteX7" fmla="*/ 186262 w 207560"/>
                  <a:gd name="connsiteY7" fmla="*/ 5108 h 106092"/>
                  <a:gd name="connsiteX8" fmla="*/ 207397 w 207560"/>
                  <a:gd name="connsiteY8" fmla="*/ 98066 h 106092"/>
                  <a:gd name="connsiteX9" fmla="*/ 206120 w 207560"/>
                  <a:gd name="connsiteY9" fmla="*/ 103617 h 106092"/>
                  <a:gd name="connsiteX10" fmla="*/ 200960 w 207560"/>
                  <a:gd name="connsiteY10" fmla="*/ 106092 h 106092"/>
                  <a:gd name="connsiteX11" fmla="*/ 14835 w 207560"/>
                  <a:gd name="connsiteY11" fmla="*/ 92932 h 106092"/>
                  <a:gd name="connsiteX12" fmla="*/ 192751 w 207560"/>
                  <a:gd name="connsiteY12" fmla="*/ 92932 h 106092"/>
                  <a:gd name="connsiteX13" fmla="*/ 174613 w 207560"/>
                  <a:gd name="connsiteY13" fmla="*/ 13134 h 106092"/>
                  <a:gd name="connsiteX14" fmla="*/ 32974 w 207560"/>
                  <a:gd name="connsiteY14" fmla="*/ 13134 h 106092"/>
                  <a:gd name="connsiteX15" fmla="*/ 14835 w 207560"/>
                  <a:gd name="connsiteY15" fmla="*/ 92932 h 10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7560" h="106092">
                    <a:moveTo>
                      <a:pt x="200960" y="106092"/>
                    </a:moveTo>
                    <a:lnTo>
                      <a:pt x="6574" y="106092"/>
                    </a:lnTo>
                    <a:cubicBezTo>
                      <a:pt x="4568" y="106092"/>
                      <a:pt x="2691" y="105180"/>
                      <a:pt x="1440" y="103617"/>
                    </a:cubicBezTo>
                    <a:cubicBezTo>
                      <a:pt x="189" y="102053"/>
                      <a:pt x="-280" y="99994"/>
                      <a:pt x="163" y="98066"/>
                    </a:cubicBezTo>
                    <a:lnTo>
                      <a:pt x="21298" y="5108"/>
                    </a:lnTo>
                    <a:cubicBezTo>
                      <a:pt x="21976" y="2111"/>
                      <a:pt x="24634" y="0"/>
                      <a:pt x="27709" y="0"/>
                    </a:cubicBezTo>
                    <a:lnTo>
                      <a:pt x="179851" y="0"/>
                    </a:lnTo>
                    <a:cubicBezTo>
                      <a:pt x="182926" y="0"/>
                      <a:pt x="185584" y="2137"/>
                      <a:pt x="186262" y="5108"/>
                    </a:cubicBezTo>
                    <a:lnTo>
                      <a:pt x="207397" y="98066"/>
                    </a:lnTo>
                    <a:cubicBezTo>
                      <a:pt x="207840" y="100020"/>
                      <a:pt x="207371" y="102053"/>
                      <a:pt x="206120" y="103617"/>
                    </a:cubicBezTo>
                    <a:cubicBezTo>
                      <a:pt x="204869" y="105180"/>
                      <a:pt x="202967" y="106092"/>
                      <a:pt x="200960" y="106092"/>
                    </a:cubicBezTo>
                    <a:close/>
                    <a:moveTo>
                      <a:pt x="14835" y="92932"/>
                    </a:moveTo>
                    <a:lnTo>
                      <a:pt x="192751" y="92932"/>
                    </a:lnTo>
                    <a:lnTo>
                      <a:pt x="174613" y="13134"/>
                    </a:lnTo>
                    <a:lnTo>
                      <a:pt x="32974" y="13134"/>
                    </a:lnTo>
                    <a:lnTo>
                      <a:pt x="14835" y="92932"/>
                    </a:lnTo>
                    <a:close/>
                  </a:path>
                </a:pathLst>
              </a:custGeom>
              <a:solidFill>
                <a:schemeClr val="tx2"/>
              </a:solidFill>
              <a:ln w="2604" cap="flat">
                <a:noFill/>
                <a:prstDash val="solid"/>
                <a:miter/>
              </a:ln>
            </p:spPr>
            <p:txBody>
              <a:bodyPr rtlCol="0" anchor="ctr"/>
              <a:lstStyle/>
              <a:p>
                <a:endParaRPr lang="en-GB" dirty="0"/>
              </a:p>
            </p:txBody>
          </p:sp>
          <p:sp>
            <p:nvSpPr>
              <p:cNvPr id="220" name="Freihandform: Form 437">
                <a:extLst>
                  <a:ext uri="{FF2B5EF4-FFF2-40B4-BE49-F238E27FC236}">
                    <a16:creationId xmlns:a16="http://schemas.microsoft.com/office/drawing/2014/main" id="{9026763D-C408-43C6-957F-1588C9E071DA}"/>
                  </a:ext>
                </a:extLst>
              </p:cNvPr>
              <p:cNvSpPr/>
              <p:nvPr/>
            </p:nvSpPr>
            <p:spPr>
              <a:xfrm>
                <a:off x="3356698" y="3339250"/>
                <a:ext cx="184274" cy="13134"/>
              </a:xfrm>
              <a:custGeom>
                <a:avLst/>
                <a:gdLst>
                  <a:gd name="connsiteX0" fmla="*/ 177707 w 184274"/>
                  <a:gd name="connsiteY0" fmla="*/ 13134 h 13134"/>
                  <a:gd name="connsiteX1" fmla="*/ 6567 w 184274"/>
                  <a:gd name="connsiteY1" fmla="*/ 13134 h 13134"/>
                  <a:gd name="connsiteX2" fmla="*/ 0 w 184274"/>
                  <a:gd name="connsiteY2" fmla="*/ 6567 h 13134"/>
                  <a:gd name="connsiteX3" fmla="*/ 6567 w 184274"/>
                  <a:gd name="connsiteY3" fmla="*/ 0 h 13134"/>
                  <a:gd name="connsiteX4" fmla="*/ 177707 w 184274"/>
                  <a:gd name="connsiteY4" fmla="*/ 0 h 13134"/>
                  <a:gd name="connsiteX5" fmla="*/ 184274 w 184274"/>
                  <a:gd name="connsiteY5" fmla="*/ 6567 h 13134"/>
                  <a:gd name="connsiteX6" fmla="*/ 177707 w 184274"/>
                  <a:gd name="connsiteY6" fmla="*/ 13134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274" h="13134">
                    <a:moveTo>
                      <a:pt x="177707" y="13134"/>
                    </a:moveTo>
                    <a:lnTo>
                      <a:pt x="6567" y="13134"/>
                    </a:lnTo>
                    <a:cubicBezTo>
                      <a:pt x="2919" y="13134"/>
                      <a:pt x="0" y="10190"/>
                      <a:pt x="0" y="6567"/>
                    </a:cubicBezTo>
                    <a:cubicBezTo>
                      <a:pt x="0" y="2919"/>
                      <a:pt x="2945" y="0"/>
                      <a:pt x="6567" y="0"/>
                    </a:cubicBezTo>
                    <a:lnTo>
                      <a:pt x="177707" y="0"/>
                    </a:lnTo>
                    <a:cubicBezTo>
                      <a:pt x="181355" y="0"/>
                      <a:pt x="184274" y="2945"/>
                      <a:pt x="184274" y="6567"/>
                    </a:cubicBezTo>
                    <a:cubicBezTo>
                      <a:pt x="184300" y="10190"/>
                      <a:pt x="181355" y="13134"/>
                      <a:pt x="177707" y="13134"/>
                    </a:cubicBezTo>
                    <a:close/>
                  </a:path>
                </a:pathLst>
              </a:custGeom>
              <a:solidFill>
                <a:schemeClr val="tx2"/>
              </a:solidFill>
              <a:ln w="2604" cap="flat">
                <a:noFill/>
                <a:prstDash val="solid"/>
                <a:miter/>
              </a:ln>
            </p:spPr>
            <p:txBody>
              <a:bodyPr rtlCol="0" anchor="ctr"/>
              <a:lstStyle/>
              <a:p>
                <a:endParaRPr lang="en-GB" dirty="0"/>
              </a:p>
            </p:txBody>
          </p:sp>
          <p:sp>
            <p:nvSpPr>
              <p:cNvPr id="221" name="Freihandform: Form 438">
                <a:extLst>
                  <a:ext uri="{FF2B5EF4-FFF2-40B4-BE49-F238E27FC236}">
                    <a16:creationId xmlns:a16="http://schemas.microsoft.com/office/drawing/2014/main" id="{F67DA970-6DE6-432F-9A83-8A81B92D8261}"/>
                  </a:ext>
                </a:extLst>
              </p:cNvPr>
              <p:cNvSpPr/>
              <p:nvPr/>
            </p:nvSpPr>
            <p:spPr>
              <a:xfrm rot="16516023">
                <a:off x="3361778" y="3339925"/>
                <a:ext cx="91943" cy="13160"/>
              </a:xfrm>
              <a:custGeom>
                <a:avLst/>
                <a:gdLst>
                  <a:gd name="connsiteX0" fmla="*/ 0 w 91943"/>
                  <a:gd name="connsiteY0" fmla="*/ 0 h 13160"/>
                  <a:gd name="connsiteX1" fmla="*/ 91944 w 91943"/>
                  <a:gd name="connsiteY1" fmla="*/ 0 h 13160"/>
                  <a:gd name="connsiteX2" fmla="*/ 91944 w 91943"/>
                  <a:gd name="connsiteY2" fmla="*/ 13161 h 13160"/>
                  <a:gd name="connsiteX3" fmla="*/ 0 w 91943"/>
                  <a:gd name="connsiteY3" fmla="*/ 13161 h 13160"/>
                </a:gdLst>
                <a:ahLst/>
                <a:cxnLst>
                  <a:cxn ang="0">
                    <a:pos x="connsiteX0" y="connsiteY0"/>
                  </a:cxn>
                  <a:cxn ang="0">
                    <a:pos x="connsiteX1" y="connsiteY1"/>
                  </a:cxn>
                  <a:cxn ang="0">
                    <a:pos x="connsiteX2" y="connsiteY2"/>
                  </a:cxn>
                  <a:cxn ang="0">
                    <a:pos x="connsiteX3" y="connsiteY3"/>
                  </a:cxn>
                </a:cxnLst>
                <a:rect l="l" t="t" r="r" b="b"/>
                <a:pathLst>
                  <a:path w="91943" h="13160">
                    <a:moveTo>
                      <a:pt x="0" y="0"/>
                    </a:moveTo>
                    <a:lnTo>
                      <a:pt x="91944" y="0"/>
                    </a:lnTo>
                    <a:lnTo>
                      <a:pt x="91944"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22" name="Freihandform: Form 439">
                <a:extLst>
                  <a:ext uri="{FF2B5EF4-FFF2-40B4-BE49-F238E27FC236}">
                    <a16:creationId xmlns:a16="http://schemas.microsoft.com/office/drawing/2014/main" id="{7F7EE985-602B-469E-BA69-50C0519AB236}"/>
                  </a:ext>
                </a:extLst>
              </p:cNvPr>
              <p:cNvSpPr/>
              <p:nvPr/>
            </p:nvSpPr>
            <p:spPr>
              <a:xfrm rot="21283635">
                <a:off x="3481368" y="3300696"/>
                <a:ext cx="13161" cy="91944"/>
              </a:xfrm>
              <a:custGeom>
                <a:avLst/>
                <a:gdLst>
                  <a:gd name="connsiteX0" fmla="*/ 0 w 13161"/>
                  <a:gd name="connsiteY0" fmla="*/ 0 h 91944"/>
                  <a:gd name="connsiteX1" fmla="*/ 13161 w 13161"/>
                  <a:gd name="connsiteY1" fmla="*/ 0 h 91944"/>
                  <a:gd name="connsiteX2" fmla="*/ 13161 w 13161"/>
                  <a:gd name="connsiteY2" fmla="*/ 91945 h 91944"/>
                  <a:gd name="connsiteX3" fmla="*/ 0 w 13161"/>
                  <a:gd name="connsiteY3" fmla="*/ 91945 h 91944"/>
                </a:gdLst>
                <a:ahLst/>
                <a:cxnLst>
                  <a:cxn ang="0">
                    <a:pos x="connsiteX0" y="connsiteY0"/>
                  </a:cxn>
                  <a:cxn ang="0">
                    <a:pos x="connsiteX1" y="connsiteY1"/>
                  </a:cxn>
                  <a:cxn ang="0">
                    <a:pos x="connsiteX2" y="connsiteY2"/>
                  </a:cxn>
                  <a:cxn ang="0">
                    <a:pos x="connsiteX3" y="connsiteY3"/>
                  </a:cxn>
                </a:cxnLst>
                <a:rect l="l" t="t" r="r" b="b"/>
                <a:pathLst>
                  <a:path w="13161" h="91944">
                    <a:moveTo>
                      <a:pt x="0" y="0"/>
                    </a:moveTo>
                    <a:lnTo>
                      <a:pt x="13161" y="0"/>
                    </a:lnTo>
                    <a:lnTo>
                      <a:pt x="13161" y="91945"/>
                    </a:lnTo>
                    <a:lnTo>
                      <a:pt x="0" y="91945"/>
                    </a:lnTo>
                    <a:close/>
                  </a:path>
                </a:pathLst>
              </a:custGeom>
              <a:solidFill>
                <a:schemeClr val="tx2"/>
              </a:solidFill>
              <a:ln w="2604" cap="flat">
                <a:noFill/>
                <a:prstDash val="solid"/>
                <a:miter/>
              </a:ln>
            </p:spPr>
            <p:txBody>
              <a:bodyPr rtlCol="0" anchor="ctr"/>
              <a:lstStyle/>
              <a:p>
                <a:endParaRPr lang="en-GB" dirty="0"/>
              </a:p>
            </p:txBody>
          </p:sp>
          <p:sp>
            <p:nvSpPr>
              <p:cNvPr id="223" name="Freihandform: Form 440">
                <a:extLst>
                  <a:ext uri="{FF2B5EF4-FFF2-40B4-BE49-F238E27FC236}">
                    <a16:creationId xmlns:a16="http://schemas.microsoft.com/office/drawing/2014/main" id="{58086515-6241-4479-8D5E-F065C4833CD1}"/>
                  </a:ext>
                </a:extLst>
              </p:cNvPr>
              <p:cNvSpPr/>
              <p:nvPr/>
            </p:nvSpPr>
            <p:spPr>
              <a:xfrm>
                <a:off x="3429407" y="3387149"/>
                <a:ext cx="38491" cy="72292"/>
              </a:xfrm>
              <a:custGeom>
                <a:avLst/>
                <a:gdLst>
                  <a:gd name="connsiteX0" fmla="*/ 31924 w 38491"/>
                  <a:gd name="connsiteY0" fmla="*/ 72292 h 72292"/>
                  <a:gd name="connsiteX1" fmla="*/ 6567 w 38491"/>
                  <a:gd name="connsiteY1" fmla="*/ 72292 h 72292"/>
                  <a:gd name="connsiteX2" fmla="*/ 0 w 38491"/>
                  <a:gd name="connsiteY2" fmla="*/ 65725 h 72292"/>
                  <a:gd name="connsiteX3" fmla="*/ 0 w 38491"/>
                  <a:gd name="connsiteY3" fmla="*/ 6567 h 72292"/>
                  <a:gd name="connsiteX4" fmla="*/ 6567 w 38491"/>
                  <a:gd name="connsiteY4" fmla="*/ 0 h 72292"/>
                  <a:gd name="connsiteX5" fmla="*/ 31924 w 38491"/>
                  <a:gd name="connsiteY5" fmla="*/ 0 h 72292"/>
                  <a:gd name="connsiteX6" fmla="*/ 38492 w 38491"/>
                  <a:gd name="connsiteY6" fmla="*/ 6567 h 72292"/>
                  <a:gd name="connsiteX7" fmla="*/ 38492 w 38491"/>
                  <a:gd name="connsiteY7" fmla="*/ 65725 h 72292"/>
                  <a:gd name="connsiteX8" fmla="*/ 31924 w 38491"/>
                  <a:gd name="connsiteY8" fmla="*/ 72292 h 72292"/>
                  <a:gd name="connsiteX9" fmla="*/ 13161 w 38491"/>
                  <a:gd name="connsiteY9" fmla="*/ 59131 h 72292"/>
                  <a:gd name="connsiteX10" fmla="*/ 25357 w 38491"/>
                  <a:gd name="connsiteY10" fmla="*/ 59131 h 72292"/>
                  <a:gd name="connsiteX11" fmla="*/ 25357 w 38491"/>
                  <a:gd name="connsiteY11" fmla="*/ 13134 h 72292"/>
                  <a:gd name="connsiteX12" fmla="*/ 13161 w 38491"/>
                  <a:gd name="connsiteY12" fmla="*/ 13134 h 72292"/>
                  <a:gd name="connsiteX13" fmla="*/ 13161 w 38491"/>
                  <a:gd name="connsiteY13" fmla="*/ 59131 h 7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491" h="72292">
                    <a:moveTo>
                      <a:pt x="31924" y="72292"/>
                    </a:moveTo>
                    <a:lnTo>
                      <a:pt x="6567" y="72292"/>
                    </a:lnTo>
                    <a:cubicBezTo>
                      <a:pt x="2919" y="72292"/>
                      <a:pt x="0" y="69347"/>
                      <a:pt x="0" y="65725"/>
                    </a:cubicBezTo>
                    <a:lnTo>
                      <a:pt x="0" y="6567"/>
                    </a:lnTo>
                    <a:cubicBezTo>
                      <a:pt x="0" y="2919"/>
                      <a:pt x="2945" y="0"/>
                      <a:pt x="6567" y="0"/>
                    </a:cubicBezTo>
                    <a:lnTo>
                      <a:pt x="31924" y="0"/>
                    </a:lnTo>
                    <a:cubicBezTo>
                      <a:pt x="35573" y="0"/>
                      <a:pt x="38492" y="2945"/>
                      <a:pt x="38492" y="6567"/>
                    </a:cubicBezTo>
                    <a:lnTo>
                      <a:pt x="38492" y="65725"/>
                    </a:lnTo>
                    <a:cubicBezTo>
                      <a:pt x="38518" y="69347"/>
                      <a:pt x="35573" y="72292"/>
                      <a:pt x="31924" y="72292"/>
                    </a:cubicBezTo>
                    <a:close/>
                    <a:moveTo>
                      <a:pt x="13161" y="59131"/>
                    </a:moveTo>
                    <a:lnTo>
                      <a:pt x="25357" y="59131"/>
                    </a:lnTo>
                    <a:lnTo>
                      <a:pt x="25357" y="13134"/>
                    </a:lnTo>
                    <a:lnTo>
                      <a:pt x="13161" y="13134"/>
                    </a:lnTo>
                    <a:lnTo>
                      <a:pt x="13161" y="59131"/>
                    </a:lnTo>
                    <a:close/>
                  </a:path>
                </a:pathLst>
              </a:custGeom>
              <a:solidFill>
                <a:schemeClr val="tx2"/>
              </a:solidFill>
              <a:ln w="2604" cap="flat">
                <a:noFill/>
                <a:prstDash val="solid"/>
                <a:miter/>
              </a:ln>
            </p:spPr>
            <p:txBody>
              <a:bodyPr rtlCol="0" anchor="ctr"/>
              <a:lstStyle/>
              <a:p>
                <a:endParaRPr lang="en-GB" dirty="0"/>
              </a:p>
            </p:txBody>
          </p:sp>
          <p:sp>
            <p:nvSpPr>
              <p:cNvPr id="224" name="Freihandform: Form 441">
                <a:extLst>
                  <a:ext uri="{FF2B5EF4-FFF2-40B4-BE49-F238E27FC236}">
                    <a16:creationId xmlns:a16="http://schemas.microsoft.com/office/drawing/2014/main" id="{D42242A8-FC3D-481A-BEF2-3178BBD45312}"/>
                  </a:ext>
                </a:extLst>
              </p:cNvPr>
              <p:cNvSpPr/>
              <p:nvPr/>
            </p:nvSpPr>
            <p:spPr>
              <a:xfrm>
                <a:off x="3420963" y="3446307"/>
                <a:ext cx="55404" cy="13134"/>
              </a:xfrm>
              <a:custGeom>
                <a:avLst/>
                <a:gdLst>
                  <a:gd name="connsiteX0" fmla="*/ 48837 w 55404"/>
                  <a:gd name="connsiteY0" fmla="*/ 13134 h 13134"/>
                  <a:gd name="connsiteX1" fmla="*/ 6567 w 55404"/>
                  <a:gd name="connsiteY1" fmla="*/ 13134 h 13134"/>
                  <a:gd name="connsiteX2" fmla="*/ 0 w 55404"/>
                  <a:gd name="connsiteY2" fmla="*/ 6567 h 13134"/>
                  <a:gd name="connsiteX3" fmla="*/ 6567 w 55404"/>
                  <a:gd name="connsiteY3" fmla="*/ 0 h 13134"/>
                  <a:gd name="connsiteX4" fmla="*/ 48837 w 55404"/>
                  <a:gd name="connsiteY4" fmla="*/ 0 h 13134"/>
                  <a:gd name="connsiteX5" fmla="*/ 55405 w 55404"/>
                  <a:gd name="connsiteY5" fmla="*/ 6567 h 13134"/>
                  <a:gd name="connsiteX6" fmla="*/ 48837 w 55404"/>
                  <a:gd name="connsiteY6" fmla="*/ 13134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04" h="13134">
                    <a:moveTo>
                      <a:pt x="48837" y="13134"/>
                    </a:moveTo>
                    <a:lnTo>
                      <a:pt x="6567" y="13134"/>
                    </a:lnTo>
                    <a:cubicBezTo>
                      <a:pt x="2919" y="13134"/>
                      <a:pt x="0" y="10190"/>
                      <a:pt x="0" y="6567"/>
                    </a:cubicBezTo>
                    <a:cubicBezTo>
                      <a:pt x="0" y="2919"/>
                      <a:pt x="2945" y="0"/>
                      <a:pt x="6567" y="0"/>
                    </a:cubicBezTo>
                    <a:lnTo>
                      <a:pt x="48837" y="0"/>
                    </a:lnTo>
                    <a:cubicBezTo>
                      <a:pt x="52486" y="0"/>
                      <a:pt x="55405" y="2945"/>
                      <a:pt x="55405" y="6567"/>
                    </a:cubicBezTo>
                    <a:cubicBezTo>
                      <a:pt x="55405" y="10190"/>
                      <a:pt x="52460" y="13134"/>
                      <a:pt x="48837" y="13134"/>
                    </a:cubicBezTo>
                    <a:close/>
                  </a:path>
                </a:pathLst>
              </a:custGeom>
              <a:solidFill>
                <a:schemeClr val="tx2"/>
              </a:solidFill>
              <a:ln w="2604" cap="flat">
                <a:noFill/>
                <a:prstDash val="solid"/>
                <a:miter/>
              </a:ln>
            </p:spPr>
            <p:txBody>
              <a:bodyPr rtlCol="0" anchor="ctr"/>
              <a:lstStyle/>
              <a:p>
                <a:endParaRPr lang="en-GB" dirty="0"/>
              </a:p>
            </p:txBody>
          </p:sp>
          <p:sp>
            <p:nvSpPr>
              <p:cNvPr id="225" name="Freihandform: Form 442">
                <a:extLst>
                  <a:ext uri="{FF2B5EF4-FFF2-40B4-BE49-F238E27FC236}">
                    <a16:creationId xmlns:a16="http://schemas.microsoft.com/office/drawing/2014/main" id="{6006904B-E77E-4B17-A9CF-269DE9164100}"/>
                  </a:ext>
                </a:extLst>
              </p:cNvPr>
              <p:cNvSpPr/>
              <p:nvPr/>
            </p:nvSpPr>
            <p:spPr>
              <a:xfrm>
                <a:off x="3596209" y="3533697"/>
                <a:ext cx="47463" cy="81847"/>
              </a:xfrm>
              <a:custGeom>
                <a:avLst/>
                <a:gdLst>
                  <a:gd name="connsiteX0" fmla="*/ 26202 w 47463"/>
                  <a:gd name="connsiteY0" fmla="*/ 81847 h 81847"/>
                  <a:gd name="connsiteX1" fmla="*/ 23909 w 47463"/>
                  <a:gd name="connsiteY1" fmla="*/ 81430 h 81847"/>
                  <a:gd name="connsiteX2" fmla="*/ 20052 w 47463"/>
                  <a:gd name="connsiteY2" fmla="*/ 72960 h 81847"/>
                  <a:gd name="connsiteX3" fmla="*/ 30867 w 47463"/>
                  <a:gd name="connsiteY3" fmla="*/ 44111 h 81847"/>
                  <a:gd name="connsiteX4" fmla="*/ 7517 w 47463"/>
                  <a:gd name="connsiteY4" fmla="*/ 47447 h 81847"/>
                  <a:gd name="connsiteX5" fmla="*/ 1132 w 47463"/>
                  <a:gd name="connsiteY5" fmla="*/ 44632 h 81847"/>
                  <a:gd name="connsiteX6" fmla="*/ 871 w 47463"/>
                  <a:gd name="connsiteY6" fmla="*/ 37674 h 81847"/>
                  <a:gd name="connsiteX7" fmla="*/ 20495 w 47463"/>
                  <a:gd name="connsiteY7" fmla="*/ 3327 h 81847"/>
                  <a:gd name="connsiteX8" fmla="*/ 29460 w 47463"/>
                  <a:gd name="connsiteY8" fmla="*/ 877 h 81847"/>
                  <a:gd name="connsiteX9" fmla="*/ 31909 w 47463"/>
                  <a:gd name="connsiteY9" fmla="*/ 9842 h 81847"/>
                  <a:gd name="connsiteX10" fmla="*/ 18957 w 47463"/>
                  <a:gd name="connsiteY10" fmla="*/ 32488 h 81847"/>
                  <a:gd name="connsiteX11" fmla="*/ 39962 w 47463"/>
                  <a:gd name="connsiteY11" fmla="*/ 29491 h 81847"/>
                  <a:gd name="connsiteX12" fmla="*/ 46008 w 47463"/>
                  <a:gd name="connsiteY12" fmla="*/ 31889 h 81847"/>
                  <a:gd name="connsiteX13" fmla="*/ 47050 w 47463"/>
                  <a:gd name="connsiteY13" fmla="*/ 38326 h 81847"/>
                  <a:gd name="connsiteX14" fmla="*/ 32326 w 47463"/>
                  <a:gd name="connsiteY14" fmla="*/ 77573 h 81847"/>
                  <a:gd name="connsiteX15" fmla="*/ 26202 w 47463"/>
                  <a:gd name="connsiteY15" fmla="*/ 81847 h 8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463" h="81847">
                    <a:moveTo>
                      <a:pt x="26202" y="81847"/>
                    </a:moveTo>
                    <a:cubicBezTo>
                      <a:pt x="25420" y="81847"/>
                      <a:pt x="24664" y="81717"/>
                      <a:pt x="23909" y="81430"/>
                    </a:cubicBezTo>
                    <a:cubicBezTo>
                      <a:pt x="20495" y="80153"/>
                      <a:pt x="18775" y="76374"/>
                      <a:pt x="20052" y="72960"/>
                    </a:cubicBezTo>
                    <a:lnTo>
                      <a:pt x="30867" y="44111"/>
                    </a:lnTo>
                    <a:lnTo>
                      <a:pt x="7517" y="47447"/>
                    </a:lnTo>
                    <a:cubicBezTo>
                      <a:pt x="4989" y="47812"/>
                      <a:pt x="2565" y="46691"/>
                      <a:pt x="1132" y="44632"/>
                    </a:cubicBezTo>
                    <a:cubicBezTo>
                      <a:pt x="-275" y="42548"/>
                      <a:pt x="-380" y="39864"/>
                      <a:pt x="871" y="37674"/>
                    </a:cubicBezTo>
                    <a:lnTo>
                      <a:pt x="20495" y="3327"/>
                    </a:lnTo>
                    <a:cubicBezTo>
                      <a:pt x="22293" y="173"/>
                      <a:pt x="26306" y="-947"/>
                      <a:pt x="29460" y="877"/>
                    </a:cubicBezTo>
                    <a:cubicBezTo>
                      <a:pt x="32613" y="2675"/>
                      <a:pt x="33707" y="6688"/>
                      <a:pt x="31909" y="9842"/>
                    </a:cubicBezTo>
                    <a:lnTo>
                      <a:pt x="18957" y="32488"/>
                    </a:lnTo>
                    <a:lnTo>
                      <a:pt x="39962" y="29491"/>
                    </a:lnTo>
                    <a:cubicBezTo>
                      <a:pt x="42308" y="29152"/>
                      <a:pt x="44575" y="30065"/>
                      <a:pt x="46008" y="31889"/>
                    </a:cubicBezTo>
                    <a:cubicBezTo>
                      <a:pt x="47467" y="33713"/>
                      <a:pt x="47858" y="36137"/>
                      <a:pt x="47050" y="38326"/>
                    </a:cubicBezTo>
                    <a:lnTo>
                      <a:pt x="32326" y="77573"/>
                    </a:lnTo>
                    <a:cubicBezTo>
                      <a:pt x="31362" y="80231"/>
                      <a:pt x="28860" y="81847"/>
                      <a:pt x="26202" y="81847"/>
                    </a:cubicBezTo>
                    <a:close/>
                  </a:path>
                </a:pathLst>
              </a:custGeom>
              <a:solidFill>
                <a:schemeClr val="tx2"/>
              </a:solidFill>
              <a:ln w="2604" cap="flat">
                <a:noFill/>
                <a:prstDash val="solid"/>
                <a:miter/>
              </a:ln>
            </p:spPr>
            <p:txBody>
              <a:bodyPr rtlCol="0" anchor="ctr"/>
              <a:lstStyle/>
              <a:p>
                <a:endParaRPr lang="en-GB" dirty="0"/>
              </a:p>
            </p:txBody>
          </p:sp>
          <p:sp>
            <p:nvSpPr>
              <p:cNvPr id="226" name="Freihandform: Form 447">
                <a:extLst>
                  <a:ext uri="{FF2B5EF4-FFF2-40B4-BE49-F238E27FC236}">
                    <a16:creationId xmlns:a16="http://schemas.microsoft.com/office/drawing/2014/main" id="{9C3130AC-56F7-417A-9F7A-247948EFCD06}"/>
                  </a:ext>
                </a:extLst>
              </p:cNvPr>
              <p:cNvSpPr/>
              <p:nvPr/>
            </p:nvSpPr>
            <p:spPr>
              <a:xfrm>
                <a:off x="3716992" y="3488495"/>
                <a:ext cx="89633" cy="124990"/>
              </a:xfrm>
              <a:custGeom>
                <a:avLst/>
                <a:gdLst>
                  <a:gd name="connsiteX0" fmla="*/ 6560 w 89633"/>
                  <a:gd name="connsiteY0" fmla="*/ 124991 h 124990"/>
                  <a:gd name="connsiteX1" fmla="*/ 2859 w 89633"/>
                  <a:gd name="connsiteY1" fmla="*/ 123844 h 124990"/>
                  <a:gd name="connsiteX2" fmla="*/ 1139 w 89633"/>
                  <a:gd name="connsiteY2" fmla="*/ 114697 h 124990"/>
                  <a:gd name="connsiteX3" fmla="*/ 77627 w 89633"/>
                  <a:gd name="connsiteY3" fmla="*/ 2871 h 124990"/>
                  <a:gd name="connsiteX4" fmla="*/ 86774 w 89633"/>
                  <a:gd name="connsiteY4" fmla="*/ 1151 h 124990"/>
                  <a:gd name="connsiteX5" fmla="*/ 88494 w 89633"/>
                  <a:gd name="connsiteY5" fmla="*/ 10298 h 124990"/>
                  <a:gd name="connsiteX6" fmla="*/ 12006 w 89633"/>
                  <a:gd name="connsiteY6" fmla="*/ 122124 h 124990"/>
                  <a:gd name="connsiteX7" fmla="*/ 6560 w 89633"/>
                  <a:gd name="connsiteY7" fmla="*/ 124991 h 124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33" h="124990">
                    <a:moveTo>
                      <a:pt x="6560" y="124991"/>
                    </a:moveTo>
                    <a:cubicBezTo>
                      <a:pt x="5283" y="124991"/>
                      <a:pt x="3980" y="124626"/>
                      <a:pt x="2859" y="123844"/>
                    </a:cubicBezTo>
                    <a:cubicBezTo>
                      <a:pt x="-138" y="121785"/>
                      <a:pt x="-893" y="117694"/>
                      <a:pt x="1139" y="114697"/>
                    </a:cubicBezTo>
                    <a:lnTo>
                      <a:pt x="77627" y="2871"/>
                    </a:lnTo>
                    <a:cubicBezTo>
                      <a:pt x="79686" y="-126"/>
                      <a:pt x="83751" y="-908"/>
                      <a:pt x="86774" y="1151"/>
                    </a:cubicBezTo>
                    <a:cubicBezTo>
                      <a:pt x="89771" y="3210"/>
                      <a:pt x="90527" y="7301"/>
                      <a:pt x="88494" y="10298"/>
                    </a:cubicBezTo>
                    <a:lnTo>
                      <a:pt x="12006" y="122124"/>
                    </a:lnTo>
                    <a:cubicBezTo>
                      <a:pt x="10730" y="124000"/>
                      <a:pt x="8671" y="124991"/>
                      <a:pt x="6560" y="124991"/>
                    </a:cubicBezTo>
                    <a:close/>
                  </a:path>
                </a:pathLst>
              </a:custGeom>
              <a:solidFill>
                <a:schemeClr val="accent1"/>
              </a:solidFill>
              <a:ln w="2604" cap="flat">
                <a:noFill/>
                <a:prstDash val="solid"/>
                <a:miter/>
              </a:ln>
            </p:spPr>
            <p:txBody>
              <a:bodyPr rtlCol="0" anchor="ctr"/>
              <a:lstStyle/>
              <a:p>
                <a:endParaRPr lang="en-GB" dirty="0"/>
              </a:p>
            </p:txBody>
          </p:sp>
          <p:sp>
            <p:nvSpPr>
              <p:cNvPr id="227" name="Freihandform: Form 448">
                <a:extLst>
                  <a:ext uri="{FF2B5EF4-FFF2-40B4-BE49-F238E27FC236}">
                    <a16:creationId xmlns:a16="http://schemas.microsoft.com/office/drawing/2014/main" id="{093A3F50-FFA4-410F-9CB3-6D73F681AB03}"/>
                  </a:ext>
                </a:extLst>
              </p:cNvPr>
              <p:cNvSpPr/>
              <p:nvPr/>
            </p:nvSpPr>
            <p:spPr>
              <a:xfrm>
                <a:off x="3550041" y="3495073"/>
                <a:ext cx="144714" cy="144733"/>
              </a:xfrm>
              <a:custGeom>
                <a:avLst/>
                <a:gdLst>
                  <a:gd name="connsiteX0" fmla="*/ 138147 w 144714"/>
                  <a:gd name="connsiteY0" fmla="*/ 144734 h 144733"/>
                  <a:gd name="connsiteX1" fmla="*/ 6567 w 144714"/>
                  <a:gd name="connsiteY1" fmla="*/ 144734 h 144733"/>
                  <a:gd name="connsiteX2" fmla="*/ 0 w 144714"/>
                  <a:gd name="connsiteY2" fmla="*/ 138167 h 144733"/>
                  <a:gd name="connsiteX3" fmla="*/ 0 w 144714"/>
                  <a:gd name="connsiteY3" fmla="*/ 52636 h 144733"/>
                  <a:gd name="connsiteX4" fmla="*/ 2814 w 144714"/>
                  <a:gd name="connsiteY4" fmla="*/ 47241 h 144733"/>
                  <a:gd name="connsiteX5" fmla="*/ 68591 w 144714"/>
                  <a:gd name="connsiteY5" fmla="*/ 1192 h 144733"/>
                  <a:gd name="connsiteX6" fmla="*/ 76123 w 144714"/>
                  <a:gd name="connsiteY6" fmla="*/ 1192 h 144733"/>
                  <a:gd name="connsiteX7" fmla="*/ 141900 w 144714"/>
                  <a:gd name="connsiteY7" fmla="*/ 47241 h 144733"/>
                  <a:gd name="connsiteX8" fmla="*/ 144714 w 144714"/>
                  <a:gd name="connsiteY8" fmla="*/ 52636 h 144733"/>
                  <a:gd name="connsiteX9" fmla="*/ 144714 w 144714"/>
                  <a:gd name="connsiteY9" fmla="*/ 138167 h 144733"/>
                  <a:gd name="connsiteX10" fmla="*/ 138147 w 144714"/>
                  <a:gd name="connsiteY10" fmla="*/ 144734 h 144733"/>
                  <a:gd name="connsiteX11" fmla="*/ 13160 w 144714"/>
                  <a:gd name="connsiteY11" fmla="*/ 131573 h 144733"/>
                  <a:gd name="connsiteX12" fmla="*/ 131580 w 144714"/>
                  <a:gd name="connsiteY12" fmla="*/ 131573 h 144733"/>
                  <a:gd name="connsiteX13" fmla="*/ 131580 w 144714"/>
                  <a:gd name="connsiteY13" fmla="*/ 56050 h 144733"/>
                  <a:gd name="connsiteX14" fmla="*/ 72370 w 144714"/>
                  <a:gd name="connsiteY14" fmla="*/ 14614 h 144733"/>
                  <a:gd name="connsiteX15" fmla="*/ 13160 w 144714"/>
                  <a:gd name="connsiteY15" fmla="*/ 56050 h 144733"/>
                  <a:gd name="connsiteX16" fmla="*/ 13160 w 144714"/>
                  <a:gd name="connsiteY16" fmla="*/ 131573 h 144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4714" h="144733">
                    <a:moveTo>
                      <a:pt x="138147" y="144734"/>
                    </a:moveTo>
                    <a:lnTo>
                      <a:pt x="6567" y="144734"/>
                    </a:lnTo>
                    <a:cubicBezTo>
                      <a:pt x="2919" y="144734"/>
                      <a:pt x="0" y="141789"/>
                      <a:pt x="0" y="138167"/>
                    </a:cubicBezTo>
                    <a:lnTo>
                      <a:pt x="0" y="52636"/>
                    </a:lnTo>
                    <a:cubicBezTo>
                      <a:pt x="0" y="50499"/>
                      <a:pt x="1042" y="48492"/>
                      <a:pt x="2814" y="47241"/>
                    </a:cubicBezTo>
                    <a:lnTo>
                      <a:pt x="68591" y="1192"/>
                    </a:lnTo>
                    <a:cubicBezTo>
                      <a:pt x="70859" y="-397"/>
                      <a:pt x="73882" y="-397"/>
                      <a:pt x="76123" y="1192"/>
                    </a:cubicBezTo>
                    <a:lnTo>
                      <a:pt x="141900" y="47241"/>
                    </a:lnTo>
                    <a:cubicBezTo>
                      <a:pt x="143672" y="48466"/>
                      <a:pt x="144714" y="50473"/>
                      <a:pt x="144714" y="52636"/>
                    </a:cubicBezTo>
                    <a:lnTo>
                      <a:pt x="144714" y="138167"/>
                    </a:lnTo>
                    <a:cubicBezTo>
                      <a:pt x="144740" y="141789"/>
                      <a:pt x="141795" y="144734"/>
                      <a:pt x="138147" y="144734"/>
                    </a:cubicBezTo>
                    <a:close/>
                    <a:moveTo>
                      <a:pt x="13160" y="131573"/>
                    </a:moveTo>
                    <a:lnTo>
                      <a:pt x="131580" y="131573"/>
                    </a:lnTo>
                    <a:lnTo>
                      <a:pt x="131580" y="56050"/>
                    </a:lnTo>
                    <a:lnTo>
                      <a:pt x="72370" y="14614"/>
                    </a:lnTo>
                    <a:lnTo>
                      <a:pt x="13160" y="56050"/>
                    </a:lnTo>
                    <a:lnTo>
                      <a:pt x="13160" y="131573"/>
                    </a:lnTo>
                    <a:close/>
                  </a:path>
                </a:pathLst>
              </a:custGeom>
              <a:solidFill>
                <a:schemeClr val="tx2"/>
              </a:solidFill>
              <a:ln w="2604" cap="flat">
                <a:noFill/>
                <a:prstDash val="solid"/>
                <a:miter/>
              </a:ln>
            </p:spPr>
            <p:txBody>
              <a:bodyPr rtlCol="0" anchor="ctr"/>
              <a:lstStyle/>
              <a:p>
                <a:endParaRPr lang="en-GB" dirty="0"/>
              </a:p>
            </p:txBody>
          </p:sp>
          <p:sp>
            <p:nvSpPr>
              <p:cNvPr id="228" name="Freihandform: Form 449">
                <a:extLst>
                  <a:ext uri="{FF2B5EF4-FFF2-40B4-BE49-F238E27FC236}">
                    <a16:creationId xmlns:a16="http://schemas.microsoft.com/office/drawing/2014/main" id="{3A9E202B-6DB2-4F19-8CDC-2E76346112EE}"/>
                  </a:ext>
                </a:extLst>
              </p:cNvPr>
              <p:cNvSpPr/>
              <p:nvPr/>
            </p:nvSpPr>
            <p:spPr>
              <a:xfrm>
                <a:off x="3522088" y="3455591"/>
                <a:ext cx="201090" cy="78957"/>
              </a:xfrm>
              <a:custGeom>
                <a:avLst/>
                <a:gdLst>
                  <a:gd name="connsiteX0" fmla="*/ 6584 w 201090"/>
                  <a:gd name="connsiteY0" fmla="*/ 78957 h 78957"/>
                  <a:gd name="connsiteX1" fmla="*/ 1189 w 201090"/>
                  <a:gd name="connsiteY1" fmla="*/ 76142 h 78957"/>
                  <a:gd name="connsiteX2" fmla="*/ 2805 w 201090"/>
                  <a:gd name="connsiteY2" fmla="*/ 66969 h 78957"/>
                  <a:gd name="connsiteX3" fmla="*/ 96779 w 201090"/>
                  <a:gd name="connsiteY3" fmla="*/ 1192 h 78957"/>
                  <a:gd name="connsiteX4" fmla="*/ 104311 w 201090"/>
                  <a:gd name="connsiteY4" fmla="*/ 1192 h 78957"/>
                  <a:gd name="connsiteX5" fmla="*/ 198285 w 201090"/>
                  <a:gd name="connsiteY5" fmla="*/ 66969 h 78957"/>
                  <a:gd name="connsiteX6" fmla="*/ 199901 w 201090"/>
                  <a:gd name="connsiteY6" fmla="*/ 76142 h 78957"/>
                  <a:gd name="connsiteX7" fmla="*/ 190728 w 201090"/>
                  <a:gd name="connsiteY7" fmla="*/ 77758 h 78957"/>
                  <a:gd name="connsiteX8" fmla="*/ 100532 w 201090"/>
                  <a:gd name="connsiteY8" fmla="*/ 14614 h 78957"/>
                  <a:gd name="connsiteX9" fmla="*/ 10310 w 201090"/>
                  <a:gd name="connsiteY9" fmla="*/ 77758 h 78957"/>
                  <a:gd name="connsiteX10" fmla="*/ 6584 w 201090"/>
                  <a:gd name="connsiteY10" fmla="*/ 78957 h 78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090" h="78957">
                    <a:moveTo>
                      <a:pt x="6584" y="78957"/>
                    </a:moveTo>
                    <a:cubicBezTo>
                      <a:pt x="4499" y="78957"/>
                      <a:pt x="2466" y="77993"/>
                      <a:pt x="1189" y="76142"/>
                    </a:cubicBezTo>
                    <a:cubicBezTo>
                      <a:pt x="-896" y="73172"/>
                      <a:pt x="-166" y="69054"/>
                      <a:pt x="2805" y="66969"/>
                    </a:cubicBezTo>
                    <a:lnTo>
                      <a:pt x="96779" y="1192"/>
                    </a:lnTo>
                    <a:cubicBezTo>
                      <a:pt x="99047" y="-397"/>
                      <a:pt x="102070" y="-397"/>
                      <a:pt x="104311" y="1192"/>
                    </a:cubicBezTo>
                    <a:lnTo>
                      <a:pt x="198285" y="66969"/>
                    </a:lnTo>
                    <a:cubicBezTo>
                      <a:pt x="201256" y="69054"/>
                      <a:pt x="201986" y="73146"/>
                      <a:pt x="199901" y="76142"/>
                    </a:cubicBezTo>
                    <a:cubicBezTo>
                      <a:pt x="197816" y="79113"/>
                      <a:pt x="193725" y="79843"/>
                      <a:pt x="190728" y="77758"/>
                    </a:cubicBezTo>
                    <a:lnTo>
                      <a:pt x="100532" y="14614"/>
                    </a:lnTo>
                    <a:lnTo>
                      <a:pt x="10310" y="77758"/>
                    </a:lnTo>
                    <a:cubicBezTo>
                      <a:pt x="9190" y="78566"/>
                      <a:pt x="7887" y="78957"/>
                      <a:pt x="6584" y="78957"/>
                    </a:cubicBezTo>
                    <a:close/>
                  </a:path>
                </a:pathLst>
              </a:custGeom>
              <a:solidFill>
                <a:schemeClr val="tx2"/>
              </a:solidFill>
              <a:ln w="2604" cap="flat">
                <a:noFill/>
                <a:prstDash val="solid"/>
                <a:miter/>
              </a:ln>
            </p:spPr>
            <p:txBody>
              <a:bodyPr rtlCol="0" anchor="ctr"/>
              <a:lstStyle/>
              <a:p>
                <a:endParaRPr lang="en-GB" dirty="0"/>
              </a:p>
            </p:txBody>
          </p:sp>
          <p:grpSp>
            <p:nvGrpSpPr>
              <p:cNvPr id="229" name="Grafik 234">
                <a:extLst>
                  <a:ext uri="{FF2B5EF4-FFF2-40B4-BE49-F238E27FC236}">
                    <a16:creationId xmlns:a16="http://schemas.microsoft.com/office/drawing/2014/main" id="{B8B5A7A0-40C2-4FC9-BDAD-BB760B97F04D}"/>
                  </a:ext>
                </a:extLst>
              </p:cNvPr>
              <p:cNvGrpSpPr/>
              <p:nvPr/>
            </p:nvGrpSpPr>
            <p:grpSpPr>
              <a:xfrm>
                <a:off x="3708644" y="3250097"/>
                <a:ext cx="173870" cy="155674"/>
                <a:chOff x="3708644" y="3250097"/>
                <a:chExt cx="173870" cy="155674"/>
              </a:xfrm>
              <a:solidFill>
                <a:schemeClr val="tx2"/>
              </a:solidFill>
            </p:grpSpPr>
            <p:sp>
              <p:nvSpPr>
                <p:cNvPr id="231" name="Freihandform: Form 452">
                  <a:extLst>
                    <a:ext uri="{FF2B5EF4-FFF2-40B4-BE49-F238E27FC236}">
                      <a16:creationId xmlns:a16="http://schemas.microsoft.com/office/drawing/2014/main" id="{B946E8B4-93CF-4052-877E-7AF0B65C3BD0}"/>
                    </a:ext>
                  </a:extLst>
                </p:cNvPr>
                <p:cNvSpPr/>
                <p:nvPr/>
              </p:nvSpPr>
              <p:spPr>
                <a:xfrm>
                  <a:off x="3779322" y="3328591"/>
                  <a:ext cx="32627" cy="32627"/>
                </a:xfrm>
                <a:custGeom>
                  <a:avLst/>
                  <a:gdLst>
                    <a:gd name="connsiteX0" fmla="*/ 16314 w 32627"/>
                    <a:gd name="connsiteY0" fmla="*/ 32628 h 32627"/>
                    <a:gd name="connsiteX1" fmla="*/ 0 w 32627"/>
                    <a:gd name="connsiteY1" fmla="*/ 16314 h 32627"/>
                    <a:gd name="connsiteX2" fmla="*/ 16314 w 32627"/>
                    <a:gd name="connsiteY2" fmla="*/ 0 h 32627"/>
                    <a:gd name="connsiteX3" fmla="*/ 32628 w 32627"/>
                    <a:gd name="connsiteY3" fmla="*/ 16314 h 32627"/>
                    <a:gd name="connsiteX4" fmla="*/ 16314 w 32627"/>
                    <a:gd name="connsiteY4" fmla="*/ 32628 h 32627"/>
                    <a:gd name="connsiteX5" fmla="*/ 16314 w 32627"/>
                    <a:gd name="connsiteY5" fmla="*/ 13161 h 32627"/>
                    <a:gd name="connsiteX6" fmla="*/ 13160 w 32627"/>
                    <a:gd name="connsiteY6" fmla="*/ 16314 h 32627"/>
                    <a:gd name="connsiteX7" fmla="*/ 16314 w 32627"/>
                    <a:gd name="connsiteY7" fmla="*/ 19467 h 32627"/>
                    <a:gd name="connsiteX8" fmla="*/ 19467 w 32627"/>
                    <a:gd name="connsiteY8" fmla="*/ 16314 h 32627"/>
                    <a:gd name="connsiteX9" fmla="*/ 16314 w 32627"/>
                    <a:gd name="connsiteY9" fmla="*/ 13161 h 3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27" h="32627">
                      <a:moveTo>
                        <a:pt x="16314" y="32628"/>
                      </a:moveTo>
                      <a:cubicBezTo>
                        <a:pt x="7323" y="32628"/>
                        <a:pt x="0" y="25305"/>
                        <a:pt x="0" y="16314"/>
                      </a:cubicBezTo>
                      <a:cubicBezTo>
                        <a:pt x="0" y="7323"/>
                        <a:pt x="7323" y="0"/>
                        <a:pt x="16314" y="0"/>
                      </a:cubicBezTo>
                      <a:cubicBezTo>
                        <a:pt x="25305" y="0"/>
                        <a:pt x="32628" y="7323"/>
                        <a:pt x="32628" y="16314"/>
                      </a:cubicBezTo>
                      <a:cubicBezTo>
                        <a:pt x="32628" y="25305"/>
                        <a:pt x="25305" y="32628"/>
                        <a:pt x="16314" y="32628"/>
                      </a:cubicBezTo>
                      <a:close/>
                      <a:moveTo>
                        <a:pt x="16314" y="13161"/>
                      </a:moveTo>
                      <a:cubicBezTo>
                        <a:pt x="14568" y="13161"/>
                        <a:pt x="13160" y="14568"/>
                        <a:pt x="13160" y="16314"/>
                      </a:cubicBezTo>
                      <a:cubicBezTo>
                        <a:pt x="13160" y="18060"/>
                        <a:pt x="14568" y="19467"/>
                        <a:pt x="16314" y="19467"/>
                      </a:cubicBezTo>
                      <a:cubicBezTo>
                        <a:pt x="18060" y="19467"/>
                        <a:pt x="19467" y="18060"/>
                        <a:pt x="19467" y="16314"/>
                      </a:cubicBezTo>
                      <a:cubicBezTo>
                        <a:pt x="19467" y="14568"/>
                        <a:pt x="18060" y="13161"/>
                        <a:pt x="16314" y="13161"/>
                      </a:cubicBezTo>
                      <a:close/>
                    </a:path>
                  </a:pathLst>
                </a:custGeom>
                <a:solidFill>
                  <a:schemeClr val="accent1"/>
                </a:solidFill>
                <a:ln w="2604" cap="flat">
                  <a:noFill/>
                  <a:prstDash val="solid"/>
                  <a:miter/>
                </a:ln>
              </p:spPr>
              <p:txBody>
                <a:bodyPr rtlCol="0" anchor="ctr"/>
                <a:lstStyle/>
                <a:p>
                  <a:endParaRPr lang="en-GB" dirty="0"/>
                </a:p>
              </p:txBody>
            </p:sp>
            <p:sp>
              <p:nvSpPr>
                <p:cNvPr id="232" name="Freihandform: Form 453">
                  <a:extLst>
                    <a:ext uri="{FF2B5EF4-FFF2-40B4-BE49-F238E27FC236}">
                      <a16:creationId xmlns:a16="http://schemas.microsoft.com/office/drawing/2014/main" id="{CC2E658B-747E-4557-B554-2F132A6209C5}"/>
                    </a:ext>
                  </a:extLst>
                </p:cNvPr>
                <p:cNvSpPr/>
                <p:nvPr/>
              </p:nvSpPr>
              <p:spPr>
                <a:xfrm>
                  <a:off x="3790971" y="3250097"/>
                  <a:ext cx="13160" cy="71953"/>
                </a:xfrm>
                <a:custGeom>
                  <a:avLst/>
                  <a:gdLst>
                    <a:gd name="connsiteX0" fmla="*/ 0 w 13160"/>
                    <a:gd name="connsiteY0" fmla="*/ 0 h 71953"/>
                    <a:gd name="connsiteX1" fmla="*/ 13161 w 13160"/>
                    <a:gd name="connsiteY1" fmla="*/ 0 h 71953"/>
                    <a:gd name="connsiteX2" fmla="*/ 13161 w 13160"/>
                    <a:gd name="connsiteY2" fmla="*/ 71953 h 71953"/>
                    <a:gd name="connsiteX3" fmla="*/ 0 w 13160"/>
                    <a:gd name="connsiteY3" fmla="*/ 71953 h 71953"/>
                  </a:gdLst>
                  <a:ahLst/>
                  <a:cxnLst>
                    <a:cxn ang="0">
                      <a:pos x="connsiteX0" y="connsiteY0"/>
                    </a:cxn>
                    <a:cxn ang="0">
                      <a:pos x="connsiteX1" y="connsiteY1"/>
                    </a:cxn>
                    <a:cxn ang="0">
                      <a:pos x="connsiteX2" y="connsiteY2"/>
                    </a:cxn>
                    <a:cxn ang="0">
                      <a:pos x="connsiteX3" y="connsiteY3"/>
                    </a:cxn>
                  </a:cxnLst>
                  <a:rect l="l" t="t" r="r" b="b"/>
                  <a:pathLst>
                    <a:path w="13160" h="71953">
                      <a:moveTo>
                        <a:pt x="0" y="0"/>
                      </a:moveTo>
                      <a:lnTo>
                        <a:pt x="13161" y="0"/>
                      </a:lnTo>
                      <a:lnTo>
                        <a:pt x="13161" y="71953"/>
                      </a:lnTo>
                      <a:lnTo>
                        <a:pt x="0" y="71953"/>
                      </a:lnTo>
                      <a:close/>
                    </a:path>
                  </a:pathLst>
                </a:custGeom>
                <a:solidFill>
                  <a:schemeClr val="accent1"/>
                </a:solidFill>
                <a:ln w="2604" cap="flat">
                  <a:noFill/>
                  <a:prstDash val="solid"/>
                  <a:miter/>
                </a:ln>
              </p:spPr>
              <p:txBody>
                <a:bodyPr rtlCol="0" anchor="ctr"/>
                <a:lstStyle/>
                <a:p>
                  <a:endParaRPr lang="en-GB" dirty="0"/>
                </a:p>
              </p:txBody>
            </p:sp>
            <p:sp>
              <p:nvSpPr>
                <p:cNvPr id="233" name="Freihandform: Form 454">
                  <a:extLst>
                    <a:ext uri="{FF2B5EF4-FFF2-40B4-BE49-F238E27FC236}">
                      <a16:creationId xmlns:a16="http://schemas.microsoft.com/office/drawing/2014/main" id="{CE8A4E15-85EC-4677-AFFE-7F4660E72C7B}"/>
                    </a:ext>
                  </a:extLst>
                </p:cNvPr>
                <p:cNvSpPr/>
                <p:nvPr/>
              </p:nvSpPr>
              <p:spPr>
                <a:xfrm rot="-3212627">
                  <a:off x="3843319" y="3341533"/>
                  <a:ext cx="13160" cy="71378"/>
                </a:xfrm>
                <a:custGeom>
                  <a:avLst/>
                  <a:gdLst>
                    <a:gd name="connsiteX0" fmla="*/ 0 w 13160"/>
                    <a:gd name="connsiteY0" fmla="*/ 0 h 71378"/>
                    <a:gd name="connsiteX1" fmla="*/ 13160 w 13160"/>
                    <a:gd name="connsiteY1" fmla="*/ 0 h 71378"/>
                    <a:gd name="connsiteX2" fmla="*/ 13160 w 13160"/>
                    <a:gd name="connsiteY2" fmla="*/ 71379 h 71378"/>
                    <a:gd name="connsiteX3" fmla="*/ 0 w 13160"/>
                    <a:gd name="connsiteY3" fmla="*/ 71379 h 71378"/>
                  </a:gdLst>
                  <a:ahLst/>
                  <a:cxnLst>
                    <a:cxn ang="0">
                      <a:pos x="connsiteX0" y="connsiteY0"/>
                    </a:cxn>
                    <a:cxn ang="0">
                      <a:pos x="connsiteX1" y="connsiteY1"/>
                    </a:cxn>
                    <a:cxn ang="0">
                      <a:pos x="connsiteX2" y="connsiteY2"/>
                    </a:cxn>
                    <a:cxn ang="0">
                      <a:pos x="connsiteX3" y="connsiteY3"/>
                    </a:cxn>
                  </a:cxnLst>
                  <a:rect l="l" t="t" r="r" b="b"/>
                  <a:pathLst>
                    <a:path w="13160" h="71378">
                      <a:moveTo>
                        <a:pt x="0" y="0"/>
                      </a:moveTo>
                      <a:lnTo>
                        <a:pt x="13160" y="0"/>
                      </a:lnTo>
                      <a:lnTo>
                        <a:pt x="13160" y="71379"/>
                      </a:lnTo>
                      <a:lnTo>
                        <a:pt x="0" y="71379"/>
                      </a:lnTo>
                      <a:close/>
                    </a:path>
                  </a:pathLst>
                </a:custGeom>
                <a:solidFill>
                  <a:schemeClr val="accent1"/>
                </a:solidFill>
                <a:ln w="2604" cap="flat">
                  <a:noFill/>
                  <a:prstDash val="solid"/>
                  <a:miter/>
                </a:ln>
              </p:spPr>
              <p:txBody>
                <a:bodyPr rtlCol="0" anchor="ctr"/>
                <a:lstStyle/>
                <a:p>
                  <a:endParaRPr lang="en-GB" dirty="0"/>
                </a:p>
              </p:txBody>
            </p:sp>
            <p:sp>
              <p:nvSpPr>
                <p:cNvPr id="234" name="Freihandform: Form 455">
                  <a:extLst>
                    <a:ext uri="{FF2B5EF4-FFF2-40B4-BE49-F238E27FC236}">
                      <a16:creationId xmlns:a16="http://schemas.microsoft.com/office/drawing/2014/main" id="{1963EF1E-F8A6-47FA-AF75-E83C67F0E73D}"/>
                    </a:ext>
                  </a:extLst>
                </p:cNvPr>
                <p:cNvSpPr/>
                <p:nvPr/>
              </p:nvSpPr>
              <p:spPr>
                <a:xfrm rot="-2240659">
                  <a:off x="3705319" y="3372310"/>
                  <a:ext cx="71379" cy="13160"/>
                </a:xfrm>
                <a:custGeom>
                  <a:avLst/>
                  <a:gdLst>
                    <a:gd name="connsiteX0" fmla="*/ 0 w 71379"/>
                    <a:gd name="connsiteY0" fmla="*/ 0 h 13160"/>
                    <a:gd name="connsiteX1" fmla="*/ 71380 w 71379"/>
                    <a:gd name="connsiteY1" fmla="*/ 0 h 13160"/>
                    <a:gd name="connsiteX2" fmla="*/ 71380 w 71379"/>
                    <a:gd name="connsiteY2" fmla="*/ 13160 h 13160"/>
                    <a:gd name="connsiteX3" fmla="*/ 0 w 71379"/>
                    <a:gd name="connsiteY3" fmla="*/ 13160 h 13160"/>
                  </a:gdLst>
                  <a:ahLst/>
                  <a:cxnLst>
                    <a:cxn ang="0">
                      <a:pos x="connsiteX0" y="connsiteY0"/>
                    </a:cxn>
                    <a:cxn ang="0">
                      <a:pos x="connsiteX1" y="connsiteY1"/>
                    </a:cxn>
                    <a:cxn ang="0">
                      <a:pos x="connsiteX2" y="connsiteY2"/>
                    </a:cxn>
                    <a:cxn ang="0">
                      <a:pos x="connsiteX3" y="connsiteY3"/>
                    </a:cxn>
                  </a:cxnLst>
                  <a:rect l="l" t="t" r="r" b="b"/>
                  <a:pathLst>
                    <a:path w="71379" h="13160">
                      <a:moveTo>
                        <a:pt x="0" y="0"/>
                      </a:moveTo>
                      <a:lnTo>
                        <a:pt x="71380" y="0"/>
                      </a:lnTo>
                      <a:lnTo>
                        <a:pt x="71380" y="13160"/>
                      </a:lnTo>
                      <a:lnTo>
                        <a:pt x="0" y="13160"/>
                      </a:lnTo>
                      <a:close/>
                    </a:path>
                  </a:pathLst>
                </a:custGeom>
                <a:solidFill>
                  <a:schemeClr val="accent1"/>
                </a:solidFill>
                <a:ln w="2604" cap="flat">
                  <a:noFill/>
                  <a:prstDash val="solid"/>
                  <a:miter/>
                </a:ln>
              </p:spPr>
              <p:txBody>
                <a:bodyPr rtlCol="0" anchor="ctr"/>
                <a:lstStyle/>
                <a:p>
                  <a:endParaRPr lang="en-GB" dirty="0"/>
                </a:p>
              </p:txBody>
            </p:sp>
          </p:grpSp>
          <p:sp>
            <p:nvSpPr>
              <p:cNvPr id="230" name="Freihandform: Form 456">
                <a:extLst>
                  <a:ext uri="{FF2B5EF4-FFF2-40B4-BE49-F238E27FC236}">
                    <a16:creationId xmlns:a16="http://schemas.microsoft.com/office/drawing/2014/main" id="{8E292ABA-FD64-41F3-A2EA-492E10C2DDE6}"/>
                  </a:ext>
                </a:extLst>
              </p:cNvPr>
              <p:cNvSpPr/>
              <p:nvPr/>
            </p:nvSpPr>
            <p:spPr>
              <a:xfrm>
                <a:off x="3788521" y="3348658"/>
                <a:ext cx="13160" cy="105258"/>
              </a:xfrm>
              <a:custGeom>
                <a:avLst/>
                <a:gdLst>
                  <a:gd name="connsiteX0" fmla="*/ 0 w 13160"/>
                  <a:gd name="connsiteY0" fmla="*/ 0 h 105258"/>
                  <a:gd name="connsiteX1" fmla="*/ 13161 w 13160"/>
                  <a:gd name="connsiteY1" fmla="*/ 0 h 105258"/>
                  <a:gd name="connsiteX2" fmla="*/ 13161 w 13160"/>
                  <a:gd name="connsiteY2" fmla="*/ 105259 h 105258"/>
                  <a:gd name="connsiteX3" fmla="*/ 0 w 13160"/>
                  <a:gd name="connsiteY3" fmla="*/ 105259 h 105258"/>
                </a:gdLst>
                <a:ahLst/>
                <a:cxnLst>
                  <a:cxn ang="0">
                    <a:pos x="connsiteX0" y="connsiteY0"/>
                  </a:cxn>
                  <a:cxn ang="0">
                    <a:pos x="connsiteX1" y="connsiteY1"/>
                  </a:cxn>
                  <a:cxn ang="0">
                    <a:pos x="connsiteX2" y="connsiteY2"/>
                  </a:cxn>
                  <a:cxn ang="0">
                    <a:pos x="connsiteX3" y="connsiteY3"/>
                  </a:cxn>
                </a:cxnLst>
                <a:rect l="l" t="t" r="r" b="b"/>
                <a:pathLst>
                  <a:path w="13160" h="105258">
                    <a:moveTo>
                      <a:pt x="0" y="0"/>
                    </a:moveTo>
                    <a:lnTo>
                      <a:pt x="13161" y="0"/>
                    </a:lnTo>
                    <a:lnTo>
                      <a:pt x="13161" y="105259"/>
                    </a:lnTo>
                    <a:lnTo>
                      <a:pt x="0" y="105259"/>
                    </a:lnTo>
                    <a:close/>
                  </a:path>
                </a:pathLst>
              </a:custGeom>
              <a:solidFill>
                <a:schemeClr val="tx2"/>
              </a:solidFill>
              <a:ln w="2604" cap="flat">
                <a:noFill/>
                <a:prstDash val="solid"/>
                <a:miter/>
              </a:ln>
            </p:spPr>
            <p:txBody>
              <a:bodyPr rtlCol="0" anchor="ctr"/>
              <a:lstStyle/>
              <a:p>
                <a:endParaRPr lang="en-GB" dirty="0"/>
              </a:p>
            </p:txBody>
          </p:sp>
        </p:grpSp>
      </p:grpSp>
      <p:grpSp>
        <p:nvGrpSpPr>
          <p:cNvPr id="691" name="Group 690">
            <a:extLst>
              <a:ext uri="{FF2B5EF4-FFF2-40B4-BE49-F238E27FC236}">
                <a16:creationId xmlns:a16="http://schemas.microsoft.com/office/drawing/2014/main" id="{22CF4846-6E19-467A-8CC7-45D6968CE11B}"/>
              </a:ext>
            </a:extLst>
          </p:cNvPr>
          <p:cNvGrpSpPr/>
          <p:nvPr/>
        </p:nvGrpSpPr>
        <p:grpSpPr>
          <a:xfrm>
            <a:off x="3743986" y="3197069"/>
            <a:ext cx="426733" cy="432006"/>
            <a:chOff x="3743986" y="3197069"/>
            <a:chExt cx="426733" cy="432006"/>
          </a:xfrm>
        </p:grpSpPr>
        <p:grpSp>
          <p:nvGrpSpPr>
            <p:cNvPr id="240" name="Group 239">
              <a:extLst>
                <a:ext uri="{FF2B5EF4-FFF2-40B4-BE49-F238E27FC236}">
                  <a16:creationId xmlns:a16="http://schemas.microsoft.com/office/drawing/2014/main" id="{218A3E6C-1E18-415B-BE47-C5CF03B0FF33}"/>
                </a:ext>
              </a:extLst>
            </p:cNvPr>
            <p:cNvGrpSpPr/>
            <p:nvPr/>
          </p:nvGrpSpPr>
          <p:grpSpPr>
            <a:xfrm>
              <a:off x="3755599" y="3197069"/>
              <a:ext cx="411366" cy="290840"/>
              <a:chOff x="2563283" y="4079240"/>
              <a:chExt cx="467091" cy="330239"/>
            </a:xfrm>
          </p:grpSpPr>
          <p:sp>
            <p:nvSpPr>
              <p:cNvPr id="245" name="Freihandform: Form 488">
                <a:extLst>
                  <a:ext uri="{FF2B5EF4-FFF2-40B4-BE49-F238E27FC236}">
                    <a16:creationId xmlns:a16="http://schemas.microsoft.com/office/drawing/2014/main" id="{B8ACB785-6ED2-4CA5-9109-B5543E9961A4}"/>
                  </a:ext>
                </a:extLst>
              </p:cNvPr>
              <p:cNvSpPr/>
              <p:nvPr/>
            </p:nvSpPr>
            <p:spPr>
              <a:xfrm>
                <a:off x="2822814" y="4245063"/>
                <a:ext cx="207560" cy="106092"/>
              </a:xfrm>
              <a:custGeom>
                <a:avLst/>
                <a:gdLst>
                  <a:gd name="connsiteX0" fmla="*/ 200960 w 207560"/>
                  <a:gd name="connsiteY0" fmla="*/ 106093 h 106092"/>
                  <a:gd name="connsiteX1" fmla="*/ 6574 w 207560"/>
                  <a:gd name="connsiteY1" fmla="*/ 106093 h 106092"/>
                  <a:gd name="connsiteX2" fmla="*/ 1440 w 207560"/>
                  <a:gd name="connsiteY2" fmla="*/ 103617 h 106092"/>
                  <a:gd name="connsiteX3" fmla="*/ 163 w 207560"/>
                  <a:gd name="connsiteY3" fmla="*/ 98066 h 106092"/>
                  <a:gd name="connsiteX4" fmla="*/ 21298 w 207560"/>
                  <a:gd name="connsiteY4" fmla="*/ 5108 h 106092"/>
                  <a:gd name="connsiteX5" fmla="*/ 27709 w 207560"/>
                  <a:gd name="connsiteY5" fmla="*/ 0 h 106092"/>
                  <a:gd name="connsiteX6" fmla="*/ 179851 w 207560"/>
                  <a:gd name="connsiteY6" fmla="*/ 0 h 106092"/>
                  <a:gd name="connsiteX7" fmla="*/ 186262 w 207560"/>
                  <a:gd name="connsiteY7" fmla="*/ 5108 h 106092"/>
                  <a:gd name="connsiteX8" fmla="*/ 207397 w 207560"/>
                  <a:gd name="connsiteY8" fmla="*/ 98066 h 106092"/>
                  <a:gd name="connsiteX9" fmla="*/ 206120 w 207560"/>
                  <a:gd name="connsiteY9" fmla="*/ 103617 h 106092"/>
                  <a:gd name="connsiteX10" fmla="*/ 200960 w 207560"/>
                  <a:gd name="connsiteY10" fmla="*/ 106093 h 106092"/>
                  <a:gd name="connsiteX11" fmla="*/ 14809 w 207560"/>
                  <a:gd name="connsiteY11" fmla="*/ 92932 h 106092"/>
                  <a:gd name="connsiteX12" fmla="*/ 192725 w 207560"/>
                  <a:gd name="connsiteY12" fmla="*/ 92932 h 106092"/>
                  <a:gd name="connsiteX13" fmla="*/ 174587 w 207560"/>
                  <a:gd name="connsiteY13" fmla="*/ 13134 h 106092"/>
                  <a:gd name="connsiteX14" fmla="*/ 32948 w 207560"/>
                  <a:gd name="connsiteY14" fmla="*/ 13134 h 106092"/>
                  <a:gd name="connsiteX15" fmla="*/ 14809 w 207560"/>
                  <a:gd name="connsiteY15" fmla="*/ 92932 h 10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7560" h="106092">
                    <a:moveTo>
                      <a:pt x="200960" y="106093"/>
                    </a:moveTo>
                    <a:lnTo>
                      <a:pt x="6574" y="106093"/>
                    </a:lnTo>
                    <a:cubicBezTo>
                      <a:pt x="4568" y="106093"/>
                      <a:pt x="2691" y="105181"/>
                      <a:pt x="1440" y="103617"/>
                    </a:cubicBezTo>
                    <a:cubicBezTo>
                      <a:pt x="189" y="102053"/>
                      <a:pt x="-280" y="99994"/>
                      <a:pt x="163" y="98066"/>
                    </a:cubicBezTo>
                    <a:lnTo>
                      <a:pt x="21298" y="5108"/>
                    </a:lnTo>
                    <a:cubicBezTo>
                      <a:pt x="21976" y="2111"/>
                      <a:pt x="24634" y="0"/>
                      <a:pt x="27709" y="0"/>
                    </a:cubicBezTo>
                    <a:lnTo>
                      <a:pt x="179851" y="0"/>
                    </a:lnTo>
                    <a:cubicBezTo>
                      <a:pt x="182926" y="0"/>
                      <a:pt x="185584" y="2137"/>
                      <a:pt x="186262" y="5108"/>
                    </a:cubicBezTo>
                    <a:lnTo>
                      <a:pt x="207397" y="98066"/>
                    </a:lnTo>
                    <a:cubicBezTo>
                      <a:pt x="207840" y="100020"/>
                      <a:pt x="207371" y="102053"/>
                      <a:pt x="206120" y="103617"/>
                    </a:cubicBezTo>
                    <a:cubicBezTo>
                      <a:pt x="204843" y="105181"/>
                      <a:pt x="202941" y="106093"/>
                      <a:pt x="200960" y="106093"/>
                    </a:cubicBezTo>
                    <a:close/>
                    <a:moveTo>
                      <a:pt x="14809" y="92932"/>
                    </a:moveTo>
                    <a:lnTo>
                      <a:pt x="192725" y="92932"/>
                    </a:lnTo>
                    <a:lnTo>
                      <a:pt x="174587" y="13134"/>
                    </a:lnTo>
                    <a:lnTo>
                      <a:pt x="32948" y="13134"/>
                    </a:lnTo>
                    <a:lnTo>
                      <a:pt x="14809" y="92932"/>
                    </a:lnTo>
                    <a:close/>
                  </a:path>
                </a:pathLst>
              </a:custGeom>
              <a:solidFill>
                <a:schemeClr val="tx2"/>
              </a:solidFill>
              <a:ln w="2604" cap="flat">
                <a:noFill/>
                <a:prstDash val="solid"/>
                <a:miter/>
              </a:ln>
            </p:spPr>
            <p:txBody>
              <a:bodyPr rtlCol="0" anchor="ctr"/>
              <a:lstStyle/>
              <a:p>
                <a:endParaRPr lang="en-GB" dirty="0"/>
              </a:p>
            </p:txBody>
          </p:sp>
          <p:sp>
            <p:nvSpPr>
              <p:cNvPr id="246" name="Freihandform: Form 489">
                <a:extLst>
                  <a:ext uri="{FF2B5EF4-FFF2-40B4-BE49-F238E27FC236}">
                    <a16:creationId xmlns:a16="http://schemas.microsoft.com/office/drawing/2014/main" id="{459E056D-3491-438E-A997-96B1184A9A3C}"/>
                  </a:ext>
                </a:extLst>
              </p:cNvPr>
              <p:cNvSpPr/>
              <p:nvPr/>
            </p:nvSpPr>
            <p:spPr>
              <a:xfrm>
                <a:off x="2834600" y="4290122"/>
                <a:ext cx="184274" cy="13134"/>
              </a:xfrm>
              <a:custGeom>
                <a:avLst/>
                <a:gdLst>
                  <a:gd name="connsiteX0" fmla="*/ 177707 w 184274"/>
                  <a:gd name="connsiteY0" fmla="*/ 13135 h 13134"/>
                  <a:gd name="connsiteX1" fmla="*/ 6567 w 184274"/>
                  <a:gd name="connsiteY1" fmla="*/ 13135 h 13134"/>
                  <a:gd name="connsiteX2" fmla="*/ 0 w 184274"/>
                  <a:gd name="connsiteY2" fmla="*/ 6567 h 13134"/>
                  <a:gd name="connsiteX3" fmla="*/ 6567 w 184274"/>
                  <a:gd name="connsiteY3" fmla="*/ 0 h 13134"/>
                  <a:gd name="connsiteX4" fmla="*/ 177707 w 184274"/>
                  <a:gd name="connsiteY4" fmla="*/ 0 h 13134"/>
                  <a:gd name="connsiteX5" fmla="*/ 184274 w 184274"/>
                  <a:gd name="connsiteY5" fmla="*/ 6567 h 13134"/>
                  <a:gd name="connsiteX6" fmla="*/ 177707 w 184274"/>
                  <a:gd name="connsiteY6" fmla="*/ 13135 h 1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274" h="13134">
                    <a:moveTo>
                      <a:pt x="177707" y="13135"/>
                    </a:moveTo>
                    <a:lnTo>
                      <a:pt x="6567" y="13135"/>
                    </a:lnTo>
                    <a:cubicBezTo>
                      <a:pt x="2919" y="13135"/>
                      <a:pt x="0" y="10190"/>
                      <a:pt x="0" y="6567"/>
                    </a:cubicBezTo>
                    <a:cubicBezTo>
                      <a:pt x="0" y="2919"/>
                      <a:pt x="2945" y="0"/>
                      <a:pt x="6567" y="0"/>
                    </a:cubicBezTo>
                    <a:lnTo>
                      <a:pt x="177707" y="0"/>
                    </a:lnTo>
                    <a:cubicBezTo>
                      <a:pt x="181355" y="0"/>
                      <a:pt x="184274" y="2945"/>
                      <a:pt x="184274" y="6567"/>
                    </a:cubicBezTo>
                    <a:cubicBezTo>
                      <a:pt x="184300" y="10190"/>
                      <a:pt x="181355" y="13135"/>
                      <a:pt x="177707" y="13135"/>
                    </a:cubicBezTo>
                    <a:close/>
                  </a:path>
                </a:pathLst>
              </a:custGeom>
              <a:solidFill>
                <a:schemeClr val="tx2"/>
              </a:solidFill>
              <a:ln w="2604" cap="flat">
                <a:noFill/>
                <a:prstDash val="solid"/>
                <a:miter/>
              </a:ln>
            </p:spPr>
            <p:txBody>
              <a:bodyPr rtlCol="0" anchor="ctr"/>
              <a:lstStyle/>
              <a:p>
                <a:endParaRPr lang="en-GB" dirty="0"/>
              </a:p>
            </p:txBody>
          </p:sp>
          <p:sp>
            <p:nvSpPr>
              <p:cNvPr id="247" name="Freihandform: Form 490">
                <a:extLst>
                  <a:ext uri="{FF2B5EF4-FFF2-40B4-BE49-F238E27FC236}">
                    <a16:creationId xmlns:a16="http://schemas.microsoft.com/office/drawing/2014/main" id="{54F5082E-40BD-4189-A89A-D17598115686}"/>
                  </a:ext>
                </a:extLst>
              </p:cNvPr>
              <p:cNvSpPr/>
              <p:nvPr/>
            </p:nvSpPr>
            <p:spPr>
              <a:xfrm rot="16516023">
                <a:off x="2839681" y="4290833"/>
                <a:ext cx="91943" cy="13160"/>
              </a:xfrm>
              <a:custGeom>
                <a:avLst/>
                <a:gdLst>
                  <a:gd name="connsiteX0" fmla="*/ 0 w 91943"/>
                  <a:gd name="connsiteY0" fmla="*/ 0 h 13160"/>
                  <a:gd name="connsiteX1" fmla="*/ 91944 w 91943"/>
                  <a:gd name="connsiteY1" fmla="*/ 0 h 13160"/>
                  <a:gd name="connsiteX2" fmla="*/ 91944 w 91943"/>
                  <a:gd name="connsiteY2" fmla="*/ 13161 h 13160"/>
                  <a:gd name="connsiteX3" fmla="*/ 0 w 91943"/>
                  <a:gd name="connsiteY3" fmla="*/ 13161 h 13160"/>
                </a:gdLst>
                <a:ahLst/>
                <a:cxnLst>
                  <a:cxn ang="0">
                    <a:pos x="connsiteX0" y="connsiteY0"/>
                  </a:cxn>
                  <a:cxn ang="0">
                    <a:pos x="connsiteX1" y="connsiteY1"/>
                  </a:cxn>
                  <a:cxn ang="0">
                    <a:pos x="connsiteX2" y="connsiteY2"/>
                  </a:cxn>
                  <a:cxn ang="0">
                    <a:pos x="connsiteX3" y="connsiteY3"/>
                  </a:cxn>
                </a:cxnLst>
                <a:rect l="l" t="t" r="r" b="b"/>
                <a:pathLst>
                  <a:path w="91943" h="13160">
                    <a:moveTo>
                      <a:pt x="0" y="0"/>
                    </a:moveTo>
                    <a:lnTo>
                      <a:pt x="91944" y="0"/>
                    </a:lnTo>
                    <a:lnTo>
                      <a:pt x="91944"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48" name="Freihandform: Form 491">
                <a:extLst>
                  <a:ext uri="{FF2B5EF4-FFF2-40B4-BE49-F238E27FC236}">
                    <a16:creationId xmlns:a16="http://schemas.microsoft.com/office/drawing/2014/main" id="{3E0B1073-ABD0-43B5-B8FB-208010CA54F6}"/>
                  </a:ext>
                </a:extLst>
              </p:cNvPr>
              <p:cNvSpPr/>
              <p:nvPr/>
            </p:nvSpPr>
            <p:spPr>
              <a:xfrm rot="21283635">
                <a:off x="2959212" y="4251609"/>
                <a:ext cx="13161" cy="91944"/>
              </a:xfrm>
              <a:custGeom>
                <a:avLst/>
                <a:gdLst>
                  <a:gd name="connsiteX0" fmla="*/ 0 w 13161"/>
                  <a:gd name="connsiteY0" fmla="*/ 0 h 91944"/>
                  <a:gd name="connsiteX1" fmla="*/ 13161 w 13161"/>
                  <a:gd name="connsiteY1" fmla="*/ 0 h 91944"/>
                  <a:gd name="connsiteX2" fmla="*/ 13161 w 13161"/>
                  <a:gd name="connsiteY2" fmla="*/ 91945 h 91944"/>
                  <a:gd name="connsiteX3" fmla="*/ 0 w 13161"/>
                  <a:gd name="connsiteY3" fmla="*/ 91945 h 91944"/>
                </a:gdLst>
                <a:ahLst/>
                <a:cxnLst>
                  <a:cxn ang="0">
                    <a:pos x="connsiteX0" y="connsiteY0"/>
                  </a:cxn>
                  <a:cxn ang="0">
                    <a:pos x="connsiteX1" y="connsiteY1"/>
                  </a:cxn>
                  <a:cxn ang="0">
                    <a:pos x="connsiteX2" y="connsiteY2"/>
                  </a:cxn>
                  <a:cxn ang="0">
                    <a:pos x="connsiteX3" y="connsiteY3"/>
                  </a:cxn>
                </a:cxnLst>
                <a:rect l="l" t="t" r="r" b="b"/>
                <a:pathLst>
                  <a:path w="13161" h="91944">
                    <a:moveTo>
                      <a:pt x="0" y="0"/>
                    </a:moveTo>
                    <a:lnTo>
                      <a:pt x="13161" y="0"/>
                    </a:lnTo>
                    <a:lnTo>
                      <a:pt x="13161" y="91945"/>
                    </a:lnTo>
                    <a:lnTo>
                      <a:pt x="0" y="91945"/>
                    </a:lnTo>
                    <a:close/>
                  </a:path>
                </a:pathLst>
              </a:custGeom>
              <a:solidFill>
                <a:schemeClr val="tx2"/>
              </a:solidFill>
              <a:ln w="2604" cap="flat">
                <a:noFill/>
                <a:prstDash val="solid"/>
                <a:miter/>
              </a:ln>
            </p:spPr>
            <p:txBody>
              <a:bodyPr rtlCol="0" anchor="ctr"/>
              <a:lstStyle/>
              <a:p>
                <a:endParaRPr lang="en-GB" dirty="0"/>
              </a:p>
            </p:txBody>
          </p:sp>
          <p:sp>
            <p:nvSpPr>
              <p:cNvPr id="249" name="Freihandform: Form 492">
                <a:extLst>
                  <a:ext uri="{FF2B5EF4-FFF2-40B4-BE49-F238E27FC236}">
                    <a16:creationId xmlns:a16="http://schemas.microsoft.com/office/drawing/2014/main" id="{B7DDFD7F-5CEE-4EBF-BDB5-EFA41F916402}"/>
                  </a:ext>
                </a:extLst>
              </p:cNvPr>
              <p:cNvSpPr/>
              <p:nvPr/>
            </p:nvSpPr>
            <p:spPr>
              <a:xfrm>
                <a:off x="2905354" y="4363430"/>
                <a:ext cx="39481" cy="46049"/>
              </a:xfrm>
              <a:custGeom>
                <a:avLst/>
                <a:gdLst>
                  <a:gd name="connsiteX0" fmla="*/ 32888 w 39481"/>
                  <a:gd name="connsiteY0" fmla="*/ 46049 h 46049"/>
                  <a:gd name="connsiteX1" fmla="*/ 6567 w 39481"/>
                  <a:gd name="connsiteY1" fmla="*/ 46049 h 46049"/>
                  <a:gd name="connsiteX2" fmla="*/ 0 w 39481"/>
                  <a:gd name="connsiteY2" fmla="*/ 39482 h 46049"/>
                  <a:gd name="connsiteX3" fmla="*/ 0 w 39481"/>
                  <a:gd name="connsiteY3" fmla="*/ 0 h 46049"/>
                  <a:gd name="connsiteX4" fmla="*/ 13161 w 39481"/>
                  <a:gd name="connsiteY4" fmla="*/ 0 h 46049"/>
                  <a:gd name="connsiteX5" fmla="*/ 13161 w 39481"/>
                  <a:gd name="connsiteY5" fmla="*/ 32888 h 46049"/>
                  <a:gd name="connsiteX6" fmla="*/ 26321 w 39481"/>
                  <a:gd name="connsiteY6" fmla="*/ 32888 h 46049"/>
                  <a:gd name="connsiteX7" fmla="*/ 26321 w 39481"/>
                  <a:gd name="connsiteY7" fmla="*/ 0 h 46049"/>
                  <a:gd name="connsiteX8" fmla="*/ 39482 w 39481"/>
                  <a:gd name="connsiteY8" fmla="*/ 0 h 46049"/>
                  <a:gd name="connsiteX9" fmla="*/ 39482 w 39481"/>
                  <a:gd name="connsiteY9" fmla="*/ 39482 h 46049"/>
                  <a:gd name="connsiteX10" fmla="*/ 32888 w 39481"/>
                  <a:gd name="connsiteY10" fmla="*/ 46049 h 46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481" h="46049">
                    <a:moveTo>
                      <a:pt x="32888" y="46049"/>
                    </a:moveTo>
                    <a:lnTo>
                      <a:pt x="6567" y="46049"/>
                    </a:lnTo>
                    <a:cubicBezTo>
                      <a:pt x="2919" y="46049"/>
                      <a:pt x="0" y="43104"/>
                      <a:pt x="0" y="39482"/>
                    </a:cubicBezTo>
                    <a:lnTo>
                      <a:pt x="0" y="0"/>
                    </a:lnTo>
                    <a:lnTo>
                      <a:pt x="13161" y="0"/>
                    </a:lnTo>
                    <a:lnTo>
                      <a:pt x="13161" y="32888"/>
                    </a:lnTo>
                    <a:lnTo>
                      <a:pt x="26321" y="32888"/>
                    </a:lnTo>
                    <a:lnTo>
                      <a:pt x="26321" y="0"/>
                    </a:lnTo>
                    <a:lnTo>
                      <a:pt x="39482" y="0"/>
                    </a:lnTo>
                    <a:lnTo>
                      <a:pt x="39482" y="39482"/>
                    </a:lnTo>
                    <a:cubicBezTo>
                      <a:pt x="39456" y="43130"/>
                      <a:pt x="36537" y="46049"/>
                      <a:pt x="32888" y="46049"/>
                    </a:cubicBezTo>
                    <a:close/>
                  </a:path>
                </a:pathLst>
              </a:custGeom>
              <a:solidFill>
                <a:schemeClr val="tx2"/>
              </a:solidFill>
              <a:ln w="2604" cap="flat">
                <a:noFill/>
                <a:prstDash val="solid"/>
                <a:miter/>
              </a:ln>
            </p:spPr>
            <p:txBody>
              <a:bodyPr rtlCol="0" anchor="ctr"/>
              <a:lstStyle/>
              <a:p>
                <a:endParaRPr lang="en-GB" dirty="0"/>
              </a:p>
            </p:txBody>
          </p:sp>
          <p:sp>
            <p:nvSpPr>
              <p:cNvPr id="250" name="Freihandform: Form 493">
                <a:extLst>
                  <a:ext uri="{FF2B5EF4-FFF2-40B4-BE49-F238E27FC236}">
                    <a16:creationId xmlns:a16="http://schemas.microsoft.com/office/drawing/2014/main" id="{EE4215A6-F71C-46A6-A5A3-29A063ABE8D8}"/>
                  </a:ext>
                </a:extLst>
              </p:cNvPr>
              <p:cNvSpPr/>
              <p:nvPr/>
            </p:nvSpPr>
            <p:spPr>
              <a:xfrm>
                <a:off x="2629243" y="4079240"/>
                <a:ext cx="13134" cy="46413"/>
              </a:xfrm>
              <a:custGeom>
                <a:avLst/>
                <a:gdLst>
                  <a:gd name="connsiteX0" fmla="*/ 6567 w 13134"/>
                  <a:gd name="connsiteY0" fmla="*/ 46414 h 46413"/>
                  <a:gd name="connsiteX1" fmla="*/ 0 w 13134"/>
                  <a:gd name="connsiteY1" fmla="*/ 39847 h 46413"/>
                  <a:gd name="connsiteX2" fmla="*/ 0 w 13134"/>
                  <a:gd name="connsiteY2" fmla="*/ 6567 h 46413"/>
                  <a:gd name="connsiteX3" fmla="*/ 6567 w 13134"/>
                  <a:gd name="connsiteY3" fmla="*/ 0 h 46413"/>
                  <a:gd name="connsiteX4" fmla="*/ 13135 w 13134"/>
                  <a:gd name="connsiteY4" fmla="*/ 6567 h 46413"/>
                  <a:gd name="connsiteX5" fmla="*/ 13135 w 13134"/>
                  <a:gd name="connsiteY5" fmla="*/ 39847 h 46413"/>
                  <a:gd name="connsiteX6" fmla="*/ 6567 w 13134"/>
                  <a:gd name="connsiteY6" fmla="*/ 46414 h 4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4" h="46413">
                    <a:moveTo>
                      <a:pt x="6567" y="46414"/>
                    </a:moveTo>
                    <a:cubicBezTo>
                      <a:pt x="2919" y="46414"/>
                      <a:pt x="0" y="43469"/>
                      <a:pt x="0" y="39847"/>
                    </a:cubicBezTo>
                    <a:lnTo>
                      <a:pt x="0" y="6567"/>
                    </a:lnTo>
                    <a:cubicBezTo>
                      <a:pt x="0" y="2919"/>
                      <a:pt x="2945" y="0"/>
                      <a:pt x="6567" y="0"/>
                    </a:cubicBezTo>
                    <a:cubicBezTo>
                      <a:pt x="10216" y="0"/>
                      <a:pt x="13135" y="2945"/>
                      <a:pt x="13135" y="6567"/>
                    </a:cubicBezTo>
                    <a:lnTo>
                      <a:pt x="13135" y="39847"/>
                    </a:lnTo>
                    <a:cubicBezTo>
                      <a:pt x="13135" y="43469"/>
                      <a:pt x="10216" y="46414"/>
                      <a:pt x="6567" y="46414"/>
                    </a:cubicBezTo>
                    <a:close/>
                  </a:path>
                </a:pathLst>
              </a:custGeom>
              <a:solidFill>
                <a:schemeClr val="tx2"/>
              </a:solidFill>
              <a:ln w="2604" cap="flat">
                <a:noFill/>
                <a:prstDash val="solid"/>
                <a:miter/>
              </a:ln>
            </p:spPr>
            <p:txBody>
              <a:bodyPr rtlCol="0" anchor="ctr"/>
              <a:lstStyle/>
              <a:p>
                <a:endParaRPr lang="en-GB" dirty="0"/>
              </a:p>
            </p:txBody>
          </p:sp>
          <p:sp>
            <p:nvSpPr>
              <p:cNvPr id="251" name="Freihandform: Form 494">
                <a:extLst>
                  <a:ext uri="{FF2B5EF4-FFF2-40B4-BE49-F238E27FC236}">
                    <a16:creationId xmlns:a16="http://schemas.microsoft.com/office/drawing/2014/main" id="{60C8CE10-1E74-448C-A6E0-EAF24F04F5C7}"/>
                  </a:ext>
                </a:extLst>
              </p:cNvPr>
              <p:cNvSpPr/>
              <p:nvPr/>
            </p:nvSpPr>
            <p:spPr>
              <a:xfrm>
                <a:off x="2570961" y="4154950"/>
                <a:ext cx="47686" cy="33744"/>
              </a:xfrm>
              <a:custGeom>
                <a:avLst/>
                <a:gdLst>
                  <a:gd name="connsiteX0" fmla="*/ 6578 w 47686"/>
                  <a:gd name="connsiteY0" fmla="*/ 33745 h 33744"/>
                  <a:gd name="connsiteX1" fmla="*/ 923 w 47686"/>
                  <a:gd name="connsiteY1" fmla="*/ 30539 h 33744"/>
                  <a:gd name="connsiteX2" fmla="*/ 3216 w 47686"/>
                  <a:gd name="connsiteY2" fmla="*/ 21522 h 33744"/>
                  <a:gd name="connsiteX3" fmla="*/ 37747 w 47686"/>
                  <a:gd name="connsiteY3" fmla="*/ 934 h 33744"/>
                  <a:gd name="connsiteX4" fmla="*/ 46763 w 47686"/>
                  <a:gd name="connsiteY4" fmla="*/ 3228 h 33744"/>
                  <a:gd name="connsiteX5" fmla="*/ 44470 w 47686"/>
                  <a:gd name="connsiteY5" fmla="*/ 12245 h 33744"/>
                  <a:gd name="connsiteX6" fmla="*/ 9940 w 47686"/>
                  <a:gd name="connsiteY6" fmla="*/ 32833 h 33744"/>
                  <a:gd name="connsiteX7" fmla="*/ 6578 w 47686"/>
                  <a:gd name="connsiteY7" fmla="*/ 33745 h 3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86" h="33744">
                    <a:moveTo>
                      <a:pt x="6578" y="33745"/>
                    </a:moveTo>
                    <a:cubicBezTo>
                      <a:pt x="4337" y="33745"/>
                      <a:pt x="2148" y="32598"/>
                      <a:pt x="923" y="30539"/>
                    </a:cubicBezTo>
                    <a:cubicBezTo>
                      <a:pt x="-927" y="27412"/>
                      <a:pt x="89" y="23373"/>
                      <a:pt x="3216" y="21522"/>
                    </a:cubicBezTo>
                    <a:lnTo>
                      <a:pt x="37747" y="934"/>
                    </a:lnTo>
                    <a:cubicBezTo>
                      <a:pt x="40874" y="-942"/>
                      <a:pt x="44913" y="100"/>
                      <a:pt x="46763" y="3228"/>
                    </a:cubicBezTo>
                    <a:cubicBezTo>
                      <a:pt x="48614" y="6355"/>
                      <a:pt x="47597" y="10394"/>
                      <a:pt x="44470" y="12245"/>
                    </a:cubicBezTo>
                    <a:lnTo>
                      <a:pt x="9940" y="32833"/>
                    </a:lnTo>
                    <a:cubicBezTo>
                      <a:pt x="8871" y="33458"/>
                      <a:pt x="7699" y="33745"/>
                      <a:pt x="6578" y="33745"/>
                    </a:cubicBezTo>
                    <a:close/>
                  </a:path>
                </a:pathLst>
              </a:custGeom>
              <a:solidFill>
                <a:schemeClr val="tx2"/>
              </a:solidFill>
              <a:ln w="2604" cap="flat">
                <a:noFill/>
                <a:prstDash val="solid"/>
                <a:miter/>
              </a:ln>
            </p:spPr>
            <p:txBody>
              <a:bodyPr rtlCol="0" anchor="ctr"/>
              <a:lstStyle/>
              <a:p>
                <a:endParaRPr lang="en-GB" dirty="0"/>
              </a:p>
            </p:txBody>
          </p:sp>
          <p:sp>
            <p:nvSpPr>
              <p:cNvPr id="252" name="Freihandform: Form 495">
                <a:extLst>
                  <a:ext uri="{FF2B5EF4-FFF2-40B4-BE49-F238E27FC236}">
                    <a16:creationId xmlns:a16="http://schemas.microsoft.com/office/drawing/2014/main" id="{72C7C946-1944-498A-8F47-A12C7BCFAF49}"/>
                  </a:ext>
                </a:extLst>
              </p:cNvPr>
              <p:cNvSpPr/>
              <p:nvPr/>
            </p:nvSpPr>
            <p:spPr>
              <a:xfrm>
                <a:off x="2651774" y="4155248"/>
                <a:ext cx="47712" cy="33733"/>
              </a:xfrm>
              <a:custGeom>
                <a:avLst/>
                <a:gdLst>
                  <a:gd name="connsiteX0" fmla="*/ 41134 w 47712"/>
                  <a:gd name="connsiteY0" fmla="*/ 33733 h 33733"/>
                  <a:gd name="connsiteX1" fmla="*/ 37773 w 47712"/>
                  <a:gd name="connsiteY1" fmla="*/ 32821 h 33733"/>
                  <a:gd name="connsiteX2" fmla="*/ 3216 w 47712"/>
                  <a:gd name="connsiteY2" fmla="*/ 12233 h 33733"/>
                  <a:gd name="connsiteX3" fmla="*/ 923 w 47712"/>
                  <a:gd name="connsiteY3" fmla="*/ 3216 h 33733"/>
                  <a:gd name="connsiteX4" fmla="*/ 9940 w 47712"/>
                  <a:gd name="connsiteY4" fmla="*/ 923 h 33733"/>
                  <a:gd name="connsiteX5" fmla="*/ 44496 w 47712"/>
                  <a:gd name="connsiteY5" fmla="*/ 21511 h 33733"/>
                  <a:gd name="connsiteX6" fmla="*/ 46790 w 47712"/>
                  <a:gd name="connsiteY6" fmla="*/ 30528 h 33733"/>
                  <a:gd name="connsiteX7" fmla="*/ 41134 w 47712"/>
                  <a:gd name="connsiteY7" fmla="*/ 33733 h 33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12" h="33733">
                    <a:moveTo>
                      <a:pt x="41134" y="33733"/>
                    </a:moveTo>
                    <a:cubicBezTo>
                      <a:pt x="39988" y="33733"/>
                      <a:pt x="38815" y="33446"/>
                      <a:pt x="37773" y="32821"/>
                    </a:cubicBezTo>
                    <a:lnTo>
                      <a:pt x="3216" y="12233"/>
                    </a:lnTo>
                    <a:cubicBezTo>
                      <a:pt x="89" y="10383"/>
                      <a:pt x="-927" y="6317"/>
                      <a:pt x="923" y="3216"/>
                    </a:cubicBezTo>
                    <a:cubicBezTo>
                      <a:pt x="2773" y="89"/>
                      <a:pt x="6839" y="-927"/>
                      <a:pt x="9940" y="923"/>
                    </a:cubicBezTo>
                    <a:lnTo>
                      <a:pt x="44496" y="21511"/>
                    </a:lnTo>
                    <a:cubicBezTo>
                      <a:pt x="47623" y="23361"/>
                      <a:pt x="48640" y="27426"/>
                      <a:pt x="46790" y="30528"/>
                    </a:cubicBezTo>
                    <a:cubicBezTo>
                      <a:pt x="45565" y="32586"/>
                      <a:pt x="43376" y="33733"/>
                      <a:pt x="41134" y="33733"/>
                    </a:cubicBezTo>
                    <a:close/>
                  </a:path>
                </a:pathLst>
              </a:custGeom>
              <a:solidFill>
                <a:schemeClr val="tx2"/>
              </a:solidFill>
              <a:ln w="2604" cap="flat">
                <a:noFill/>
                <a:prstDash val="solid"/>
                <a:miter/>
              </a:ln>
            </p:spPr>
            <p:txBody>
              <a:bodyPr rtlCol="0" anchor="ctr"/>
              <a:lstStyle/>
              <a:p>
                <a:endParaRPr lang="en-GB" dirty="0"/>
              </a:p>
            </p:txBody>
          </p:sp>
          <p:sp>
            <p:nvSpPr>
              <p:cNvPr id="253" name="Freihandform: Form 496">
                <a:extLst>
                  <a:ext uri="{FF2B5EF4-FFF2-40B4-BE49-F238E27FC236}">
                    <a16:creationId xmlns:a16="http://schemas.microsoft.com/office/drawing/2014/main" id="{458B9AC5-BE6A-409D-8AFA-97A03938A16E}"/>
                  </a:ext>
                </a:extLst>
              </p:cNvPr>
              <p:cNvSpPr/>
              <p:nvPr/>
            </p:nvSpPr>
            <p:spPr>
              <a:xfrm>
                <a:off x="2629243" y="4160731"/>
                <a:ext cx="13160" cy="57984"/>
              </a:xfrm>
              <a:custGeom>
                <a:avLst/>
                <a:gdLst>
                  <a:gd name="connsiteX0" fmla="*/ 0 w 13160"/>
                  <a:gd name="connsiteY0" fmla="*/ 0 h 57984"/>
                  <a:gd name="connsiteX1" fmla="*/ 13160 w 13160"/>
                  <a:gd name="connsiteY1" fmla="*/ 0 h 57984"/>
                  <a:gd name="connsiteX2" fmla="*/ 13160 w 13160"/>
                  <a:gd name="connsiteY2" fmla="*/ 57985 h 57984"/>
                  <a:gd name="connsiteX3" fmla="*/ 0 w 13160"/>
                  <a:gd name="connsiteY3" fmla="*/ 57985 h 57984"/>
                </a:gdLst>
                <a:ahLst/>
                <a:cxnLst>
                  <a:cxn ang="0">
                    <a:pos x="connsiteX0" y="connsiteY0"/>
                  </a:cxn>
                  <a:cxn ang="0">
                    <a:pos x="connsiteX1" y="connsiteY1"/>
                  </a:cxn>
                  <a:cxn ang="0">
                    <a:pos x="connsiteX2" y="connsiteY2"/>
                  </a:cxn>
                  <a:cxn ang="0">
                    <a:pos x="connsiteX3" y="connsiteY3"/>
                  </a:cxn>
                </a:cxnLst>
                <a:rect l="l" t="t" r="r" b="b"/>
                <a:pathLst>
                  <a:path w="13160" h="57984">
                    <a:moveTo>
                      <a:pt x="0" y="0"/>
                    </a:moveTo>
                    <a:lnTo>
                      <a:pt x="13160" y="0"/>
                    </a:lnTo>
                    <a:lnTo>
                      <a:pt x="13160" y="57985"/>
                    </a:lnTo>
                    <a:lnTo>
                      <a:pt x="0" y="57985"/>
                    </a:lnTo>
                    <a:close/>
                  </a:path>
                </a:pathLst>
              </a:custGeom>
              <a:solidFill>
                <a:schemeClr val="tx2"/>
              </a:solidFill>
              <a:ln w="2604" cap="flat">
                <a:noFill/>
                <a:prstDash val="solid"/>
                <a:miter/>
              </a:ln>
            </p:spPr>
            <p:txBody>
              <a:bodyPr rtlCol="0" anchor="ctr"/>
              <a:lstStyle/>
              <a:p>
                <a:endParaRPr lang="en-GB" dirty="0"/>
              </a:p>
            </p:txBody>
          </p:sp>
          <p:sp>
            <p:nvSpPr>
              <p:cNvPr id="254" name="Freihandform: Form 497">
                <a:extLst>
                  <a:ext uri="{FF2B5EF4-FFF2-40B4-BE49-F238E27FC236}">
                    <a16:creationId xmlns:a16="http://schemas.microsoft.com/office/drawing/2014/main" id="{768E0FE4-9282-4A66-84FA-9185516DA26D}"/>
                  </a:ext>
                </a:extLst>
              </p:cNvPr>
              <p:cNvSpPr/>
              <p:nvPr/>
            </p:nvSpPr>
            <p:spPr>
              <a:xfrm>
                <a:off x="2629137" y="4133205"/>
                <a:ext cx="13320" cy="19733"/>
              </a:xfrm>
              <a:custGeom>
                <a:avLst/>
                <a:gdLst>
                  <a:gd name="connsiteX0" fmla="*/ 6595 w 13320"/>
                  <a:gd name="connsiteY0" fmla="*/ 19734 h 19733"/>
                  <a:gd name="connsiteX1" fmla="*/ 6439 w 13320"/>
                  <a:gd name="connsiteY1" fmla="*/ 19734 h 19733"/>
                  <a:gd name="connsiteX2" fmla="*/ 2 w 13320"/>
                  <a:gd name="connsiteY2" fmla="*/ 13010 h 19733"/>
                  <a:gd name="connsiteX3" fmla="*/ 158 w 13320"/>
                  <a:gd name="connsiteY3" fmla="*/ 6443 h 19733"/>
                  <a:gd name="connsiteX4" fmla="*/ 6882 w 13320"/>
                  <a:gd name="connsiteY4" fmla="*/ 6 h 19733"/>
                  <a:gd name="connsiteX5" fmla="*/ 13318 w 13320"/>
                  <a:gd name="connsiteY5" fmla="*/ 6729 h 19733"/>
                  <a:gd name="connsiteX6" fmla="*/ 13162 w 13320"/>
                  <a:gd name="connsiteY6" fmla="*/ 13297 h 19733"/>
                  <a:gd name="connsiteX7" fmla="*/ 6595 w 13320"/>
                  <a:gd name="connsiteY7" fmla="*/ 19734 h 19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20" h="19733">
                    <a:moveTo>
                      <a:pt x="6595" y="19734"/>
                    </a:moveTo>
                    <a:cubicBezTo>
                      <a:pt x="6543" y="19734"/>
                      <a:pt x="6491" y="19734"/>
                      <a:pt x="6439" y="19734"/>
                    </a:cubicBezTo>
                    <a:cubicBezTo>
                      <a:pt x="2816" y="19656"/>
                      <a:pt x="-77" y="16632"/>
                      <a:pt x="2" y="13010"/>
                    </a:cubicBezTo>
                    <a:lnTo>
                      <a:pt x="158" y="6443"/>
                    </a:lnTo>
                    <a:cubicBezTo>
                      <a:pt x="236" y="2794"/>
                      <a:pt x="3259" y="-151"/>
                      <a:pt x="6882" y="6"/>
                    </a:cubicBezTo>
                    <a:cubicBezTo>
                      <a:pt x="10504" y="84"/>
                      <a:pt x="13397" y="3107"/>
                      <a:pt x="13318" y="6729"/>
                    </a:cubicBezTo>
                    <a:lnTo>
                      <a:pt x="13162" y="13297"/>
                    </a:lnTo>
                    <a:cubicBezTo>
                      <a:pt x="13084" y="16867"/>
                      <a:pt x="10165" y="19734"/>
                      <a:pt x="6595" y="19734"/>
                    </a:cubicBezTo>
                    <a:close/>
                  </a:path>
                </a:pathLst>
              </a:custGeom>
              <a:solidFill>
                <a:schemeClr val="tx2"/>
              </a:solidFill>
              <a:ln w="2604" cap="flat">
                <a:noFill/>
                <a:prstDash val="solid"/>
                <a:miter/>
              </a:ln>
            </p:spPr>
            <p:txBody>
              <a:bodyPr rtlCol="0" anchor="ctr"/>
              <a:lstStyle/>
              <a:p>
                <a:endParaRPr lang="en-GB" dirty="0"/>
              </a:p>
            </p:txBody>
          </p:sp>
          <p:sp>
            <p:nvSpPr>
              <p:cNvPr id="255" name="Freihandform: Form 501">
                <a:extLst>
                  <a:ext uri="{FF2B5EF4-FFF2-40B4-BE49-F238E27FC236}">
                    <a16:creationId xmlns:a16="http://schemas.microsoft.com/office/drawing/2014/main" id="{00E66A99-7ECD-4FE3-A4A4-67B9857FBB48}"/>
                  </a:ext>
                </a:extLst>
              </p:cNvPr>
              <p:cNvSpPr/>
              <p:nvPr/>
            </p:nvSpPr>
            <p:spPr>
              <a:xfrm>
                <a:off x="2563283" y="4212149"/>
                <a:ext cx="105232" cy="197330"/>
              </a:xfrm>
              <a:custGeom>
                <a:avLst/>
                <a:gdLst>
                  <a:gd name="connsiteX0" fmla="*/ 98665 w 105232"/>
                  <a:gd name="connsiteY0" fmla="*/ 197331 h 197330"/>
                  <a:gd name="connsiteX1" fmla="*/ 6567 w 105232"/>
                  <a:gd name="connsiteY1" fmla="*/ 197331 h 197330"/>
                  <a:gd name="connsiteX2" fmla="*/ 0 w 105232"/>
                  <a:gd name="connsiteY2" fmla="*/ 190763 h 197330"/>
                  <a:gd name="connsiteX3" fmla="*/ 0 w 105232"/>
                  <a:gd name="connsiteY3" fmla="*/ 6567 h 197330"/>
                  <a:gd name="connsiteX4" fmla="*/ 6567 w 105232"/>
                  <a:gd name="connsiteY4" fmla="*/ 0 h 197330"/>
                  <a:gd name="connsiteX5" fmla="*/ 98665 w 105232"/>
                  <a:gd name="connsiteY5" fmla="*/ 0 h 197330"/>
                  <a:gd name="connsiteX6" fmla="*/ 105233 w 105232"/>
                  <a:gd name="connsiteY6" fmla="*/ 6567 h 197330"/>
                  <a:gd name="connsiteX7" fmla="*/ 105233 w 105232"/>
                  <a:gd name="connsiteY7" fmla="*/ 52616 h 197330"/>
                  <a:gd name="connsiteX8" fmla="*/ 92072 w 105232"/>
                  <a:gd name="connsiteY8" fmla="*/ 52616 h 197330"/>
                  <a:gd name="connsiteX9" fmla="*/ 92072 w 105232"/>
                  <a:gd name="connsiteY9" fmla="*/ 13134 h 197330"/>
                  <a:gd name="connsiteX10" fmla="*/ 13135 w 105232"/>
                  <a:gd name="connsiteY10" fmla="*/ 13134 h 197330"/>
                  <a:gd name="connsiteX11" fmla="*/ 13135 w 105232"/>
                  <a:gd name="connsiteY11" fmla="*/ 184170 h 197330"/>
                  <a:gd name="connsiteX12" fmla="*/ 98665 w 105232"/>
                  <a:gd name="connsiteY12" fmla="*/ 184170 h 197330"/>
                  <a:gd name="connsiteX13" fmla="*/ 98665 w 105232"/>
                  <a:gd name="connsiteY13" fmla="*/ 197331 h 19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232" h="197330">
                    <a:moveTo>
                      <a:pt x="98665" y="197331"/>
                    </a:moveTo>
                    <a:lnTo>
                      <a:pt x="6567" y="197331"/>
                    </a:lnTo>
                    <a:cubicBezTo>
                      <a:pt x="2919" y="197331"/>
                      <a:pt x="0" y="194386"/>
                      <a:pt x="0" y="190763"/>
                    </a:cubicBezTo>
                    <a:lnTo>
                      <a:pt x="0" y="6567"/>
                    </a:lnTo>
                    <a:cubicBezTo>
                      <a:pt x="0" y="2919"/>
                      <a:pt x="2945" y="0"/>
                      <a:pt x="6567" y="0"/>
                    </a:cubicBezTo>
                    <a:lnTo>
                      <a:pt x="98665" y="0"/>
                    </a:lnTo>
                    <a:cubicBezTo>
                      <a:pt x="102314" y="0"/>
                      <a:pt x="105233" y="2945"/>
                      <a:pt x="105233" y="6567"/>
                    </a:cubicBezTo>
                    <a:lnTo>
                      <a:pt x="105233" y="52616"/>
                    </a:lnTo>
                    <a:lnTo>
                      <a:pt x="92072" y="52616"/>
                    </a:lnTo>
                    <a:lnTo>
                      <a:pt x="92072" y="13134"/>
                    </a:lnTo>
                    <a:lnTo>
                      <a:pt x="13135" y="13134"/>
                    </a:lnTo>
                    <a:lnTo>
                      <a:pt x="13135" y="184170"/>
                    </a:lnTo>
                    <a:lnTo>
                      <a:pt x="98665" y="184170"/>
                    </a:lnTo>
                    <a:lnTo>
                      <a:pt x="98665" y="197331"/>
                    </a:lnTo>
                    <a:close/>
                  </a:path>
                </a:pathLst>
              </a:custGeom>
              <a:solidFill>
                <a:schemeClr val="tx2"/>
              </a:solidFill>
              <a:ln w="2604" cap="flat">
                <a:noFill/>
                <a:prstDash val="solid"/>
                <a:miter/>
              </a:ln>
            </p:spPr>
            <p:txBody>
              <a:bodyPr rtlCol="0" anchor="ctr"/>
              <a:lstStyle/>
              <a:p>
                <a:endParaRPr lang="en-GB" dirty="0"/>
              </a:p>
            </p:txBody>
          </p:sp>
          <p:sp>
            <p:nvSpPr>
              <p:cNvPr id="256" name="Freihandform: Form 502">
                <a:extLst>
                  <a:ext uri="{FF2B5EF4-FFF2-40B4-BE49-F238E27FC236}">
                    <a16:creationId xmlns:a16="http://schemas.microsoft.com/office/drawing/2014/main" id="{6BF9B8AD-F099-4A20-A8E2-A2A45F7BA5F0}"/>
                  </a:ext>
                </a:extLst>
              </p:cNvPr>
              <p:cNvSpPr/>
              <p:nvPr/>
            </p:nvSpPr>
            <p:spPr>
              <a:xfrm>
                <a:off x="2615900" y="4277926"/>
                <a:ext cx="144714" cy="131553"/>
              </a:xfrm>
              <a:custGeom>
                <a:avLst/>
                <a:gdLst>
                  <a:gd name="connsiteX0" fmla="*/ 138147 w 144714"/>
                  <a:gd name="connsiteY0" fmla="*/ 131554 h 131553"/>
                  <a:gd name="connsiteX1" fmla="*/ 6567 w 144714"/>
                  <a:gd name="connsiteY1" fmla="*/ 131554 h 131553"/>
                  <a:gd name="connsiteX2" fmla="*/ 0 w 144714"/>
                  <a:gd name="connsiteY2" fmla="*/ 124987 h 131553"/>
                  <a:gd name="connsiteX3" fmla="*/ 0 w 144714"/>
                  <a:gd name="connsiteY3" fmla="*/ 6567 h 131553"/>
                  <a:gd name="connsiteX4" fmla="*/ 6567 w 144714"/>
                  <a:gd name="connsiteY4" fmla="*/ 0 h 131553"/>
                  <a:gd name="connsiteX5" fmla="*/ 138147 w 144714"/>
                  <a:gd name="connsiteY5" fmla="*/ 0 h 131553"/>
                  <a:gd name="connsiteX6" fmla="*/ 144714 w 144714"/>
                  <a:gd name="connsiteY6" fmla="*/ 6567 h 131553"/>
                  <a:gd name="connsiteX7" fmla="*/ 144714 w 144714"/>
                  <a:gd name="connsiteY7" fmla="*/ 124987 h 131553"/>
                  <a:gd name="connsiteX8" fmla="*/ 138147 w 144714"/>
                  <a:gd name="connsiteY8" fmla="*/ 131554 h 131553"/>
                  <a:gd name="connsiteX9" fmla="*/ 13161 w 144714"/>
                  <a:gd name="connsiteY9" fmla="*/ 118419 h 131553"/>
                  <a:gd name="connsiteX10" fmla="*/ 131580 w 144714"/>
                  <a:gd name="connsiteY10" fmla="*/ 118419 h 131553"/>
                  <a:gd name="connsiteX11" fmla="*/ 131580 w 144714"/>
                  <a:gd name="connsiteY11" fmla="*/ 13161 h 131553"/>
                  <a:gd name="connsiteX12" fmla="*/ 13161 w 144714"/>
                  <a:gd name="connsiteY12" fmla="*/ 13161 h 131553"/>
                  <a:gd name="connsiteX13" fmla="*/ 13161 w 144714"/>
                  <a:gd name="connsiteY13" fmla="*/ 118419 h 131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714" h="131553">
                    <a:moveTo>
                      <a:pt x="138147" y="131554"/>
                    </a:moveTo>
                    <a:lnTo>
                      <a:pt x="6567" y="131554"/>
                    </a:lnTo>
                    <a:cubicBezTo>
                      <a:pt x="2919" y="131554"/>
                      <a:pt x="0" y="128609"/>
                      <a:pt x="0" y="124987"/>
                    </a:cubicBezTo>
                    <a:lnTo>
                      <a:pt x="0" y="6567"/>
                    </a:lnTo>
                    <a:cubicBezTo>
                      <a:pt x="0" y="2919"/>
                      <a:pt x="2945" y="0"/>
                      <a:pt x="6567" y="0"/>
                    </a:cubicBezTo>
                    <a:lnTo>
                      <a:pt x="138147" y="0"/>
                    </a:lnTo>
                    <a:cubicBezTo>
                      <a:pt x="141796" y="0"/>
                      <a:pt x="144714" y="2945"/>
                      <a:pt x="144714" y="6567"/>
                    </a:cubicBezTo>
                    <a:lnTo>
                      <a:pt x="144714" y="124987"/>
                    </a:lnTo>
                    <a:cubicBezTo>
                      <a:pt x="144714" y="128635"/>
                      <a:pt x="141770" y="131554"/>
                      <a:pt x="138147" y="131554"/>
                    </a:cubicBezTo>
                    <a:close/>
                    <a:moveTo>
                      <a:pt x="13161" y="118419"/>
                    </a:moveTo>
                    <a:lnTo>
                      <a:pt x="131580" y="118419"/>
                    </a:lnTo>
                    <a:lnTo>
                      <a:pt x="131580" y="13161"/>
                    </a:lnTo>
                    <a:lnTo>
                      <a:pt x="13161" y="13161"/>
                    </a:lnTo>
                    <a:lnTo>
                      <a:pt x="13161" y="118419"/>
                    </a:lnTo>
                    <a:close/>
                  </a:path>
                </a:pathLst>
              </a:custGeom>
              <a:solidFill>
                <a:schemeClr val="tx2"/>
              </a:solidFill>
              <a:ln w="2604" cap="flat">
                <a:noFill/>
                <a:prstDash val="solid"/>
                <a:miter/>
              </a:ln>
            </p:spPr>
            <p:txBody>
              <a:bodyPr rtlCol="0" anchor="ctr"/>
              <a:lstStyle/>
              <a:p>
                <a:endParaRPr lang="en-GB" dirty="0"/>
              </a:p>
            </p:txBody>
          </p:sp>
          <p:sp>
            <p:nvSpPr>
              <p:cNvPr id="257" name="Freihandform: Form 503">
                <a:extLst>
                  <a:ext uri="{FF2B5EF4-FFF2-40B4-BE49-F238E27FC236}">
                    <a16:creationId xmlns:a16="http://schemas.microsoft.com/office/drawing/2014/main" id="{817D5A52-3E56-430D-9E63-32F244FF7411}"/>
                  </a:ext>
                </a:extLst>
              </p:cNvPr>
              <p:cNvSpPr/>
              <p:nvPr/>
            </p:nvSpPr>
            <p:spPr>
              <a:xfrm>
                <a:off x="2747480" y="4080569"/>
                <a:ext cx="118393" cy="328910"/>
              </a:xfrm>
              <a:custGeom>
                <a:avLst/>
                <a:gdLst>
                  <a:gd name="connsiteX0" fmla="*/ 111826 w 118393"/>
                  <a:gd name="connsiteY0" fmla="*/ 328911 h 328910"/>
                  <a:gd name="connsiteX1" fmla="*/ 6567 w 118393"/>
                  <a:gd name="connsiteY1" fmla="*/ 328911 h 328910"/>
                  <a:gd name="connsiteX2" fmla="*/ 0 w 118393"/>
                  <a:gd name="connsiteY2" fmla="*/ 322343 h 328910"/>
                  <a:gd name="connsiteX3" fmla="*/ 0 w 118393"/>
                  <a:gd name="connsiteY3" fmla="*/ 6567 h 328910"/>
                  <a:gd name="connsiteX4" fmla="*/ 6567 w 118393"/>
                  <a:gd name="connsiteY4" fmla="*/ 0 h 328910"/>
                  <a:gd name="connsiteX5" fmla="*/ 111826 w 118393"/>
                  <a:gd name="connsiteY5" fmla="*/ 0 h 328910"/>
                  <a:gd name="connsiteX6" fmla="*/ 118393 w 118393"/>
                  <a:gd name="connsiteY6" fmla="*/ 6567 h 328910"/>
                  <a:gd name="connsiteX7" fmla="*/ 118393 w 118393"/>
                  <a:gd name="connsiteY7" fmla="*/ 151308 h 328910"/>
                  <a:gd name="connsiteX8" fmla="*/ 105232 w 118393"/>
                  <a:gd name="connsiteY8" fmla="*/ 151308 h 328910"/>
                  <a:gd name="connsiteX9" fmla="*/ 105232 w 118393"/>
                  <a:gd name="connsiteY9" fmla="*/ 13161 h 328910"/>
                  <a:gd name="connsiteX10" fmla="*/ 13134 w 118393"/>
                  <a:gd name="connsiteY10" fmla="*/ 13161 h 328910"/>
                  <a:gd name="connsiteX11" fmla="*/ 13134 w 118393"/>
                  <a:gd name="connsiteY11" fmla="*/ 315776 h 328910"/>
                  <a:gd name="connsiteX12" fmla="*/ 105232 w 118393"/>
                  <a:gd name="connsiteY12" fmla="*/ 315776 h 328910"/>
                  <a:gd name="connsiteX13" fmla="*/ 105232 w 118393"/>
                  <a:gd name="connsiteY13" fmla="*/ 269727 h 328910"/>
                  <a:gd name="connsiteX14" fmla="*/ 118393 w 118393"/>
                  <a:gd name="connsiteY14" fmla="*/ 269727 h 328910"/>
                  <a:gd name="connsiteX15" fmla="*/ 118393 w 118393"/>
                  <a:gd name="connsiteY15" fmla="*/ 322343 h 328910"/>
                  <a:gd name="connsiteX16" fmla="*/ 111826 w 118393"/>
                  <a:gd name="connsiteY16" fmla="*/ 328911 h 328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393" h="328910">
                    <a:moveTo>
                      <a:pt x="111826" y="328911"/>
                    </a:moveTo>
                    <a:lnTo>
                      <a:pt x="6567" y="328911"/>
                    </a:lnTo>
                    <a:cubicBezTo>
                      <a:pt x="2919" y="328911"/>
                      <a:pt x="0" y="325966"/>
                      <a:pt x="0" y="322343"/>
                    </a:cubicBezTo>
                    <a:lnTo>
                      <a:pt x="0" y="6567"/>
                    </a:lnTo>
                    <a:cubicBezTo>
                      <a:pt x="0" y="2919"/>
                      <a:pt x="2945" y="0"/>
                      <a:pt x="6567" y="0"/>
                    </a:cubicBezTo>
                    <a:lnTo>
                      <a:pt x="111826" y="0"/>
                    </a:lnTo>
                    <a:cubicBezTo>
                      <a:pt x="115474" y="0"/>
                      <a:pt x="118393" y="2945"/>
                      <a:pt x="118393" y="6567"/>
                    </a:cubicBezTo>
                    <a:lnTo>
                      <a:pt x="118393" y="151308"/>
                    </a:lnTo>
                    <a:lnTo>
                      <a:pt x="105232" y="151308"/>
                    </a:lnTo>
                    <a:lnTo>
                      <a:pt x="105232" y="13161"/>
                    </a:lnTo>
                    <a:lnTo>
                      <a:pt x="13134" y="13161"/>
                    </a:lnTo>
                    <a:lnTo>
                      <a:pt x="13134" y="315776"/>
                    </a:lnTo>
                    <a:lnTo>
                      <a:pt x="105232" y="315776"/>
                    </a:lnTo>
                    <a:lnTo>
                      <a:pt x="105232" y="269727"/>
                    </a:lnTo>
                    <a:lnTo>
                      <a:pt x="118393" y="269727"/>
                    </a:lnTo>
                    <a:lnTo>
                      <a:pt x="118393" y="322343"/>
                    </a:lnTo>
                    <a:cubicBezTo>
                      <a:pt x="118393" y="325992"/>
                      <a:pt x="115448" y="328911"/>
                      <a:pt x="111826" y="328911"/>
                    </a:cubicBezTo>
                    <a:close/>
                  </a:path>
                </a:pathLst>
              </a:custGeom>
              <a:solidFill>
                <a:schemeClr val="tx2"/>
              </a:solidFill>
              <a:ln w="2604" cap="flat">
                <a:noFill/>
                <a:prstDash val="solid"/>
                <a:miter/>
              </a:ln>
            </p:spPr>
            <p:txBody>
              <a:bodyPr rtlCol="0" anchor="ctr"/>
              <a:lstStyle/>
              <a:p>
                <a:endParaRPr lang="en-GB" dirty="0"/>
              </a:p>
            </p:txBody>
          </p:sp>
          <p:sp>
            <p:nvSpPr>
              <p:cNvPr id="258" name="Freihandform: Form 504">
                <a:extLst>
                  <a:ext uri="{FF2B5EF4-FFF2-40B4-BE49-F238E27FC236}">
                    <a16:creationId xmlns:a16="http://schemas.microsoft.com/office/drawing/2014/main" id="{C8FEBB13-A34D-4591-B269-DF311A7C94D1}"/>
                  </a:ext>
                </a:extLst>
              </p:cNvPr>
              <p:cNvSpPr/>
              <p:nvPr/>
            </p:nvSpPr>
            <p:spPr>
              <a:xfrm>
                <a:off x="2648788" y="4310814"/>
                <a:ext cx="26321" cy="13160"/>
              </a:xfrm>
              <a:custGeom>
                <a:avLst/>
                <a:gdLst>
                  <a:gd name="connsiteX0" fmla="*/ 0 w 26321"/>
                  <a:gd name="connsiteY0" fmla="*/ 0 h 13160"/>
                  <a:gd name="connsiteX1" fmla="*/ 26321 w 26321"/>
                  <a:gd name="connsiteY1" fmla="*/ 0 h 13160"/>
                  <a:gd name="connsiteX2" fmla="*/ 26321 w 26321"/>
                  <a:gd name="connsiteY2" fmla="*/ 13161 h 13160"/>
                  <a:gd name="connsiteX3" fmla="*/ 0 w 26321"/>
                  <a:gd name="connsiteY3" fmla="*/ 13161 h 13160"/>
                </a:gdLst>
                <a:ahLst/>
                <a:cxnLst>
                  <a:cxn ang="0">
                    <a:pos x="connsiteX0" y="connsiteY0"/>
                  </a:cxn>
                  <a:cxn ang="0">
                    <a:pos x="connsiteX1" y="connsiteY1"/>
                  </a:cxn>
                  <a:cxn ang="0">
                    <a:pos x="connsiteX2" y="connsiteY2"/>
                  </a:cxn>
                  <a:cxn ang="0">
                    <a:pos x="connsiteX3" y="connsiteY3"/>
                  </a:cxn>
                </a:cxnLst>
                <a:rect l="l" t="t" r="r" b="b"/>
                <a:pathLst>
                  <a:path w="26321" h="13160">
                    <a:moveTo>
                      <a:pt x="0" y="0"/>
                    </a:moveTo>
                    <a:lnTo>
                      <a:pt x="26321" y="0"/>
                    </a:lnTo>
                    <a:lnTo>
                      <a:pt x="26321"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59" name="Freihandform: Form 505">
                <a:extLst>
                  <a:ext uri="{FF2B5EF4-FFF2-40B4-BE49-F238E27FC236}">
                    <a16:creationId xmlns:a16="http://schemas.microsoft.com/office/drawing/2014/main" id="{98E2A57D-888A-4203-A876-3199B75B8114}"/>
                  </a:ext>
                </a:extLst>
              </p:cNvPr>
              <p:cNvSpPr/>
              <p:nvPr/>
            </p:nvSpPr>
            <p:spPr>
              <a:xfrm>
                <a:off x="2701404" y="4310814"/>
                <a:ext cx="26321" cy="13160"/>
              </a:xfrm>
              <a:custGeom>
                <a:avLst/>
                <a:gdLst>
                  <a:gd name="connsiteX0" fmla="*/ 0 w 26321"/>
                  <a:gd name="connsiteY0" fmla="*/ 0 h 13160"/>
                  <a:gd name="connsiteX1" fmla="*/ 26321 w 26321"/>
                  <a:gd name="connsiteY1" fmla="*/ 0 h 13160"/>
                  <a:gd name="connsiteX2" fmla="*/ 26321 w 26321"/>
                  <a:gd name="connsiteY2" fmla="*/ 13161 h 13160"/>
                  <a:gd name="connsiteX3" fmla="*/ 0 w 26321"/>
                  <a:gd name="connsiteY3" fmla="*/ 13161 h 13160"/>
                </a:gdLst>
                <a:ahLst/>
                <a:cxnLst>
                  <a:cxn ang="0">
                    <a:pos x="connsiteX0" y="connsiteY0"/>
                  </a:cxn>
                  <a:cxn ang="0">
                    <a:pos x="connsiteX1" y="connsiteY1"/>
                  </a:cxn>
                  <a:cxn ang="0">
                    <a:pos x="connsiteX2" y="connsiteY2"/>
                  </a:cxn>
                  <a:cxn ang="0">
                    <a:pos x="connsiteX3" y="connsiteY3"/>
                  </a:cxn>
                </a:cxnLst>
                <a:rect l="l" t="t" r="r" b="b"/>
                <a:pathLst>
                  <a:path w="26321" h="13160">
                    <a:moveTo>
                      <a:pt x="0" y="0"/>
                    </a:moveTo>
                    <a:lnTo>
                      <a:pt x="26321" y="0"/>
                    </a:lnTo>
                    <a:lnTo>
                      <a:pt x="26321"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60" name="Freihandform: Form 506">
                <a:extLst>
                  <a:ext uri="{FF2B5EF4-FFF2-40B4-BE49-F238E27FC236}">
                    <a16:creationId xmlns:a16="http://schemas.microsoft.com/office/drawing/2014/main" id="{33BCD77B-A103-4FFB-8318-5268F6BFDB78}"/>
                  </a:ext>
                </a:extLst>
              </p:cNvPr>
              <p:cNvSpPr/>
              <p:nvPr/>
            </p:nvSpPr>
            <p:spPr>
              <a:xfrm>
                <a:off x="2648788" y="4343703"/>
                <a:ext cx="26321" cy="13160"/>
              </a:xfrm>
              <a:custGeom>
                <a:avLst/>
                <a:gdLst>
                  <a:gd name="connsiteX0" fmla="*/ 0 w 26321"/>
                  <a:gd name="connsiteY0" fmla="*/ 0 h 13160"/>
                  <a:gd name="connsiteX1" fmla="*/ 26321 w 26321"/>
                  <a:gd name="connsiteY1" fmla="*/ 0 h 13160"/>
                  <a:gd name="connsiteX2" fmla="*/ 26321 w 26321"/>
                  <a:gd name="connsiteY2" fmla="*/ 13161 h 13160"/>
                  <a:gd name="connsiteX3" fmla="*/ 0 w 26321"/>
                  <a:gd name="connsiteY3" fmla="*/ 13161 h 13160"/>
                </a:gdLst>
                <a:ahLst/>
                <a:cxnLst>
                  <a:cxn ang="0">
                    <a:pos x="connsiteX0" y="connsiteY0"/>
                  </a:cxn>
                  <a:cxn ang="0">
                    <a:pos x="connsiteX1" y="connsiteY1"/>
                  </a:cxn>
                  <a:cxn ang="0">
                    <a:pos x="connsiteX2" y="connsiteY2"/>
                  </a:cxn>
                  <a:cxn ang="0">
                    <a:pos x="connsiteX3" y="connsiteY3"/>
                  </a:cxn>
                </a:cxnLst>
                <a:rect l="l" t="t" r="r" b="b"/>
                <a:pathLst>
                  <a:path w="26321" h="13160">
                    <a:moveTo>
                      <a:pt x="0" y="0"/>
                    </a:moveTo>
                    <a:lnTo>
                      <a:pt x="26321" y="0"/>
                    </a:lnTo>
                    <a:lnTo>
                      <a:pt x="26321"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61" name="Freihandform: Form 507">
                <a:extLst>
                  <a:ext uri="{FF2B5EF4-FFF2-40B4-BE49-F238E27FC236}">
                    <a16:creationId xmlns:a16="http://schemas.microsoft.com/office/drawing/2014/main" id="{5B1B917B-3999-4335-9619-87341148BD46}"/>
                  </a:ext>
                </a:extLst>
              </p:cNvPr>
              <p:cNvSpPr/>
              <p:nvPr/>
            </p:nvSpPr>
            <p:spPr>
              <a:xfrm>
                <a:off x="2701404" y="4343703"/>
                <a:ext cx="26321" cy="13160"/>
              </a:xfrm>
              <a:custGeom>
                <a:avLst/>
                <a:gdLst>
                  <a:gd name="connsiteX0" fmla="*/ 0 w 26321"/>
                  <a:gd name="connsiteY0" fmla="*/ 0 h 13160"/>
                  <a:gd name="connsiteX1" fmla="*/ 26321 w 26321"/>
                  <a:gd name="connsiteY1" fmla="*/ 0 h 13160"/>
                  <a:gd name="connsiteX2" fmla="*/ 26321 w 26321"/>
                  <a:gd name="connsiteY2" fmla="*/ 13161 h 13160"/>
                  <a:gd name="connsiteX3" fmla="*/ 0 w 26321"/>
                  <a:gd name="connsiteY3" fmla="*/ 13161 h 13160"/>
                </a:gdLst>
                <a:ahLst/>
                <a:cxnLst>
                  <a:cxn ang="0">
                    <a:pos x="connsiteX0" y="connsiteY0"/>
                  </a:cxn>
                  <a:cxn ang="0">
                    <a:pos x="connsiteX1" y="connsiteY1"/>
                  </a:cxn>
                  <a:cxn ang="0">
                    <a:pos x="connsiteX2" y="connsiteY2"/>
                  </a:cxn>
                  <a:cxn ang="0">
                    <a:pos x="connsiteX3" y="connsiteY3"/>
                  </a:cxn>
                </a:cxnLst>
                <a:rect l="l" t="t" r="r" b="b"/>
                <a:pathLst>
                  <a:path w="26321" h="13160">
                    <a:moveTo>
                      <a:pt x="0" y="0"/>
                    </a:moveTo>
                    <a:lnTo>
                      <a:pt x="26321" y="0"/>
                    </a:lnTo>
                    <a:lnTo>
                      <a:pt x="26321"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62" name="Freihandform: Form 508">
                <a:extLst>
                  <a:ext uri="{FF2B5EF4-FFF2-40B4-BE49-F238E27FC236}">
                    <a16:creationId xmlns:a16="http://schemas.microsoft.com/office/drawing/2014/main" id="{13350D59-BEC0-4428-AD62-1EFFE042D3BB}"/>
                  </a:ext>
                </a:extLst>
              </p:cNvPr>
              <p:cNvSpPr/>
              <p:nvPr/>
            </p:nvSpPr>
            <p:spPr>
              <a:xfrm>
                <a:off x="2596146" y="4245037"/>
                <a:ext cx="39481" cy="13160"/>
              </a:xfrm>
              <a:custGeom>
                <a:avLst/>
                <a:gdLst>
                  <a:gd name="connsiteX0" fmla="*/ 0 w 39481"/>
                  <a:gd name="connsiteY0" fmla="*/ 0 h 13160"/>
                  <a:gd name="connsiteX1" fmla="*/ 39482 w 39481"/>
                  <a:gd name="connsiteY1" fmla="*/ 0 h 13160"/>
                  <a:gd name="connsiteX2" fmla="*/ 39482 w 39481"/>
                  <a:gd name="connsiteY2" fmla="*/ 13161 h 13160"/>
                  <a:gd name="connsiteX3" fmla="*/ 0 w 39481"/>
                  <a:gd name="connsiteY3" fmla="*/ 13161 h 13160"/>
                </a:gdLst>
                <a:ahLst/>
                <a:cxnLst>
                  <a:cxn ang="0">
                    <a:pos x="connsiteX0" y="connsiteY0"/>
                  </a:cxn>
                  <a:cxn ang="0">
                    <a:pos x="connsiteX1" y="connsiteY1"/>
                  </a:cxn>
                  <a:cxn ang="0">
                    <a:pos x="connsiteX2" y="connsiteY2"/>
                  </a:cxn>
                  <a:cxn ang="0">
                    <a:pos x="connsiteX3" y="connsiteY3"/>
                  </a:cxn>
                </a:cxnLst>
                <a:rect l="l" t="t" r="r" b="b"/>
                <a:pathLst>
                  <a:path w="39481" h="13160">
                    <a:moveTo>
                      <a:pt x="0" y="0"/>
                    </a:moveTo>
                    <a:lnTo>
                      <a:pt x="39482" y="0"/>
                    </a:lnTo>
                    <a:lnTo>
                      <a:pt x="39482"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63" name="Freihandform: Form 509">
                <a:extLst>
                  <a:ext uri="{FF2B5EF4-FFF2-40B4-BE49-F238E27FC236}">
                    <a16:creationId xmlns:a16="http://schemas.microsoft.com/office/drawing/2014/main" id="{0267124E-11DB-4199-BC5C-0E32D66A4918}"/>
                  </a:ext>
                </a:extLst>
              </p:cNvPr>
              <p:cNvSpPr/>
              <p:nvPr/>
            </p:nvSpPr>
            <p:spPr>
              <a:xfrm>
                <a:off x="2596146" y="4277926"/>
                <a:ext cx="39481" cy="13160"/>
              </a:xfrm>
              <a:custGeom>
                <a:avLst/>
                <a:gdLst>
                  <a:gd name="connsiteX0" fmla="*/ 0 w 39481"/>
                  <a:gd name="connsiteY0" fmla="*/ 0 h 13160"/>
                  <a:gd name="connsiteX1" fmla="*/ 39482 w 39481"/>
                  <a:gd name="connsiteY1" fmla="*/ 0 h 13160"/>
                  <a:gd name="connsiteX2" fmla="*/ 39482 w 39481"/>
                  <a:gd name="connsiteY2" fmla="*/ 13161 h 13160"/>
                  <a:gd name="connsiteX3" fmla="*/ 0 w 39481"/>
                  <a:gd name="connsiteY3" fmla="*/ 13161 h 13160"/>
                </a:gdLst>
                <a:ahLst/>
                <a:cxnLst>
                  <a:cxn ang="0">
                    <a:pos x="connsiteX0" y="connsiteY0"/>
                  </a:cxn>
                  <a:cxn ang="0">
                    <a:pos x="connsiteX1" y="connsiteY1"/>
                  </a:cxn>
                  <a:cxn ang="0">
                    <a:pos x="connsiteX2" y="connsiteY2"/>
                  </a:cxn>
                  <a:cxn ang="0">
                    <a:pos x="connsiteX3" y="connsiteY3"/>
                  </a:cxn>
                </a:cxnLst>
                <a:rect l="l" t="t" r="r" b="b"/>
                <a:pathLst>
                  <a:path w="39481" h="13160">
                    <a:moveTo>
                      <a:pt x="0" y="0"/>
                    </a:moveTo>
                    <a:lnTo>
                      <a:pt x="39482" y="0"/>
                    </a:lnTo>
                    <a:lnTo>
                      <a:pt x="39482"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64" name="Freihandform: Form 510">
                <a:extLst>
                  <a:ext uri="{FF2B5EF4-FFF2-40B4-BE49-F238E27FC236}">
                    <a16:creationId xmlns:a16="http://schemas.microsoft.com/office/drawing/2014/main" id="{A8126B69-DE56-47E1-8AFB-A0B311FD6C72}"/>
                  </a:ext>
                </a:extLst>
              </p:cNvPr>
              <p:cNvSpPr/>
              <p:nvPr/>
            </p:nvSpPr>
            <p:spPr>
              <a:xfrm>
                <a:off x="2596146" y="4310814"/>
                <a:ext cx="26321" cy="13160"/>
              </a:xfrm>
              <a:custGeom>
                <a:avLst/>
                <a:gdLst>
                  <a:gd name="connsiteX0" fmla="*/ 0 w 26321"/>
                  <a:gd name="connsiteY0" fmla="*/ 0 h 13160"/>
                  <a:gd name="connsiteX1" fmla="*/ 26321 w 26321"/>
                  <a:gd name="connsiteY1" fmla="*/ 0 h 13160"/>
                  <a:gd name="connsiteX2" fmla="*/ 26321 w 26321"/>
                  <a:gd name="connsiteY2" fmla="*/ 13161 h 13160"/>
                  <a:gd name="connsiteX3" fmla="*/ 0 w 26321"/>
                  <a:gd name="connsiteY3" fmla="*/ 13161 h 13160"/>
                </a:gdLst>
                <a:ahLst/>
                <a:cxnLst>
                  <a:cxn ang="0">
                    <a:pos x="connsiteX0" y="connsiteY0"/>
                  </a:cxn>
                  <a:cxn ang="0">
                    <a:pos x="connsiteX1" y="connsiteY1"/>
                  </a:cxn>
                  <a:cxn ang="0">
                    <a:pos x="connsiteX2" y="connsiteY2"/>
                  </a:cxn>
                  <a:cxn ang="0">
                    <a:pos x="connsiteX3" y="connsiteY3"/>
                  </a:cxn>
                </a:cxnLst>
                <a:rect l="l" t="t" r="r" b="b"/>
                <a:pathLst>
                  <a:path w="26321" h="13160">
                    <a:moveTo>
                      <a:pt x="0" y="0"/>
                    </a:moveTo>
                    <a:lnTo>
                      <a:pt x="26321" y="0"/>
                    </a:lnTo>
                    <a:lnTo>
                      <a:pt x="26321"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65" name="Freihandform: Form 511">
                <a:extLst>
                  <a:ext uri="{FF2B5EF4-FFF2-40B4-BE49-F238E27FC236}">
                    <a16:creationId xmlns:a16="http://schemas.microsoft.com/office/drawing/2014/main" id="{B16112A8-6F7A-4152-98DB-091EA920E37F}"/>
                  </a:ext>
                </a:extLst>
              </p:cNvPr>
              <p:cNvSpPr/>
              <p:nvPr/>
            </p:nvSpPr>
            <p:spPr>
              <a:xfrm>
                <a:off x="2596146" y="4343703"/>
                <a:ext cx="26321" cy="13160"/>
              </a:xfrm>
              <a:custGeom>
                <a:avLst/>
                <a:gdLst>
                  <a:gd name="connsiteX0" fmla="*/ 0 w 26321"/>
                  <a:gd name="connsiteY0" fmla="*/ 0 h 13160"/>
                  <a:gd name="connsiteX1" fmla="*/ 26321 w 26321"/>
                  <a:gd name="connsiteY1" fmla="*/ 0 h 13160"/>
                  <a:gd name="connsiteX2" fmla="*/ 26321 w 26321"/>
                  <a:gd name="connsiteY2" fmla="*/ 13161 h 13160"/>
                  <a:gd name="connsiteX3" fmla="*/ 0 w 26321"/>
                  <a:gd name="connsiteY3" fmla="*/ 13161 h 13160"/>
                </a:gdLst>
                <a:ahLst/>
                <a:cxnLst>
                  <a:cxn ang="0">
                    <a:pos x="connsiteX0" y="connsiteY0"/>
                  </a:cxn>
                  <a:cxn ang="0">
                    <a:pos x="connsiteX1" y="connsiteY1"/>
                  </a:cxn>
                  <a:cxn ang="0">
                    <a:pos x="connsiteX2" y="connsiteY2"/>
                  </a:cxn>
                  <a:cxn ang="0">
                    <a:pos x="connsiteX3" y="connsiteY3"/>
                  </a:cxn>
                </a:cxnLst>
                <a:rect l="l" t="t" r="r" b="b"/>
                <a:pathLst>
                  <a:path w="26321" h="13160">
                    <a:moveTo>
                      <a:pt x="0" y="0"/>
                    </a:moveTo>
                    <a:lnTo>
                      <a:pt x="26321" y="0"/>
                    </a:lnTo>
                    <a:lnTo>
                      <a:pt x="26321"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66" name="Freihandform: Form 512">
                <a:extLst>
                  <a:ext uri="{FF2B5EF4-FFF2-40B4-BE49-F238E27FC236}">
                    <a16:creationId xmlns:a16="http://schemas.microsoft.com/office/drawing/2014/main" id="{F3555A8C-C09B-494D-8165-5525A67701EE}"/>
                  </a:ext>
                </a:extLst>
              </p:cNvPr>
              <p:cNvSpPr/>
              <p:nvPr/>
            </p:nvSpPr>
            <p:spPr>
              <a:xfrm>
                <a:off x="2780368" y="4113457"/>
                <a:ext cx="52616" cy="13160"/>
              </a:xfrm>
              <a:custGeom>
                <a:avLst/>
                <a:gdLst>
                  <a:gd name="connsiteX0" fmla="*/ 0 w 52616"/>
                  <a:gd name="connsiteY0" fmla="*/ 0 h 13160"/>
                  <a:gd name="connsiteX1" fmla="*/ 52616 w 52616"/>
                  <a:gd name="connsiteY1" fmla="*/ 0 h 13160"/>
                  <a:gd name="connsiteX2" fmla="*/ 52616 w 52616"/>
                  <a:gd name="connsiteY2" fmla="*/ 13161 h 13160"/>
                  <a:gd name="connsiteX3" fmla="*/ 0 w 52616"/>
                  <a:gd name="connsiteY3" fmla="*/ 13161 h 13160"/>
                </a:gdLst>
                <a:ahLst/>
                <a:cxnLst>
                  <a:cxn ang="0">
                    <a:pos x="connsiteX0" y="connsiteY0"/>
                  </a:cxn>
                  <a:cxn ang="0">
                    <a:pos x="connsiteX1" y="connsiteY1"/>
                  </a:cxn>
                  <a:cxn ang="0">
                    <a:pos x="connsiteX2" y="connsiteY2"/>
                  </a:cxn>
                  <a:cxn ang="0">
                    <a:pos x="connsiteX3" y="connsiteY3"/>
                  </a:cxn>
                </a:cxnLst>
                <a:rect l="l" t="t" r="r" b="b"/>
                <a:pathLst>
                  <a:path w="52616" h="13160">
                    <a:moveTo>
                      <a:pt x="0" y="0"/>
                    </a:moveTo>
                    <a:lnTo>
                      <a:pt x="52616" y="0"/>
                    </a:lnTo>
                    <a:lnTo>
                      <a:pt x="52616"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67" name="Freihandform: Form 513">
                <a:extLst>
                  <a:ext uri="{FF2B5EF4-FFF2-40B4-BE49-F238E27FC236}">
                    <a16:creationId xmlns:a16="http://schemas.microsoft.com/office/drawing/2014/main" id="{B0B5DD4B-462A-4720-A89E-AD3C1D141FCA}"/>
                  </a:ext>
                </a:extLst>
              </p:cNvPr>
              <p:cNvSpPr/>
              <p:nvPr/>
            </p:nvSpPr>
            <p:spPr>
              <a:xfrm>
                <a:off x="2780368" y="4152939"/>
                <a:ext cx="52616" cy="13160"/>
              </a:xfrm>
              <a:custGeom>
                <a:avLst/>
                <a:gdLst>
                  <a:gd name="connsiteX0" fmla="*/ 0 w 52616"/>
                  <a:gd name="connsiteY0" fmla="*/ 0 h 13160"/>
                  <a:gd name="connsiteX1" fmla="*/ 52616 w 52616"/>
                  <a:gd name="connsiteY1" fmla="*/ 0 h 13160"/>
                  <a:gd name="connsiteX2" fmla="*/ 52616 w 52616"/>
                  <a:gd name="connsiteY2" fmla="*/ 13160 h 13160"/>
                  <a:gd name="connsiteX3" fmla="*/ 0 w 52616"/>
                  <a:gd name="connsiteY3" fmla="*/ 13160 h 13160"/>
                </a:gdLst>
                <a:ahLst/>
                <a:cxnLst>
                  <a:cxn ang="0">
                    <a:pos x="connsiteX0" y="connsiteY0"/>
                  </a:cxn>
                  <a:cxn ang="0">
                    <a:pos x="connsiteX1" y="connsiteY1"/>
                  </a:cxn>
                  <a:cxn ang="0">
                    <a:pos x="connsiteX2" y="connsiteY2"/>
                  </a:cxn>
                  <a:cxn ang="0">
                    <a:pos x="connsiteX3" y="connsiteY3"/>
                  </a:cxn>
                </a:cxnLst>
                <a:rect l="l" t="t" r="r" b="b"/>
                <a:pathLst>
                  <a:path w="52616" h="13160">
                    <a:moveTo>
                      <a:pt x="0" y="0"/>
                    </a:moveTo>
                    <a:lnTo>
                      <a:pt x="52616" y="0"/>
                    </a:lnTo>
                    <a:lnTo>
                      <a:pt x="52616" y="13160"/>
                    </a:lnTo>
                    <a:lnTo>
                      <a:pt x="0" y="13160"/>
                    </a:lnTo>
                    <a:close/>
                  </a:path>
                </a:pathLst>
              </a:custGeom>
              <a:solidFill>
                <a:schemeClr val="tx2"/>
              </a:solidFill>
              <a:ln w="2604" cap="flat">
                <a:noFill/>
                <a:prstDash val="solid"/>
                <a:miter/>
              </a:ln>
            </p:spPr>
            <p:txBody>
              <a:bodyPr rtlCol="0" anchor="ctr"/>
              <a:lstStyle/>
              <a:p>
                <a:endParaRPr lang="en-GB" dirty="0"/>
              </a:p>
            </p:txBody>
          </p:sp>
          <p:sp>
            <p:nvSpPr>
              <p:cNvPr id="268" name="Freihandform: Form 514">
                <a:extLst>
                  <a:ext uri="{FF2B5EF4-FFF2-40B4-BE49-F238E27FC236}">
                    <a16:creationId xmlns:a16="http://schemas.microsoft.com/office/drawing/2014/main" id="{62635309-6617-4FF6-ABC9-E1CA4416D295}"/>
                  </a:ext>
                </a:extLst>
              </p:cNvPr>
              <p:cNvSpPr/>
              <p:nvPr/>
            </p:nvSpPr>
            <p:spPr>
              <a:xfrm>
                <a:off x="2780368" y="4231877"/>
                <a:ext cx="52616" cy="13160"/>
              </a:xfrm>
              <a:custGeom>
                <a:avLst/>
                <a:gdLst>
                  <a:gd name="connsiteX0" fmla="*/ 0 w 52616"/>
                  <a:gd name="connsiteY0" fmla="*/ 0 h 13160"/>
                  <a:gd name="connsiteX1" fmla="*/ 52616 w 52616"/>
                  <a:gd name="connsiteY1" fmla="*/ 0 h 13160"/>
                  <a:gd name="connsiteX2" fmla="*/ 52616 w 52616"/>
                  <a:gd name="connsiteY2" fmla="*/ 13161 h 13160"/>
                  <a:gd name="connsiteX3" fmla="*/ 0 w 52616"/>
                  <a:gd name="connsiteY3" fmla="*/ 13161 h 13160"/>
                </a:gdLst>
                <a:ahLst/>
                <a:cxnLst>
                  <a:cxn ang="0">
                    <a:pos x="connsiteX0" y="connsiteY0"/>
                  </a:cxn>
                  <a:cxn ang="0">
                    <a:pos x="connsiteX1" y="connsiteY1"/>
                  </a:cxn>
                  <a:cxn ang="0">
                    <a:pos x="connsiteX2" y="connsiteY2"/>
                  </a:cxn>
                  <a:cxn ang="0">
                    <a:pos x="connsiteX3" y="connsiteY3"/>
                  </a:cxn>
                </a:cxnLst>
                <a:rect l="l" t="t" r="r" b="b"/>
                <a:pathLst>
                  <a:path w="52616" h="13160">
                    <a:moveTo>
                      <a:pt x="0" y="0"/>
                    </a:moveTo>
                    <a:lnTo>
                      <a:pt x="52616" y="0"/>
                    </a:lnTo>
                    <a:lnTo>
                      <a:pt x="52616"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69" name="Freihandform: Form 515">
                <a:extLst>
                  <a:ext uri="{FF2B5EF4-FFF2-40B4-BE49-F238E27FC236}">
                    <a16:creationId xmlns:a16="http://schemas.microsoft.com/office/drawing/2014/main" id="{D432F396-F506-4DFC-8445-EDF9DF4B5463}"/>
                  </a:ext>
                </a:extLst>
              </p:cNvPr>
              <p:cNvSpPr/>
              <p:nvPr/>
            </p:nvSpPr>
            <p:spPr>
              <a:xfrm>
                <a:off x="2780368" y="4192395"/>
                <a:ext cx="52616" cy="13160"/>
              </a:xfrm>
              <a:custGeom>
                <a:avLst/>
                <a:gdLst>
                  <a:gd name="connsiteX0" fmla="*/ 0 w 52616"/>
                  <a:gd name="connsiteY0" fmla="*/ 0 h 13160"/>
                  <a:gd name="connsiteX1" fmla="*/ 52616 w 52616"/>
                  <a:gd name="connsiteY1" fmla="*/ 0 h 13160"/>
                  <a:gd name="connsiteX2" fmla="*/ 52616 w 52616"/>
                  <a:gd name="connsiteY2" fmla="*/ 13161 h 13160"/>
                  <a:gd name="connsiteX3" fmla="*/ 0 w 52616"/>
                  <a:gd name="connsiteY3" fmla="*/ 13161 h 13160"/>
                </a:gdLst>
                <a:ahLst/>
                <a:cxnLst>
                  <a:cxn ang="0">
                    <a:pos x="connsiteX0" y="connsiteY0"/>
                  </a:cxn>
                  <a:cxn ang="0">
                    <a:pos x="connsiteX1" y="connsiteY1"/>
                  </a:cxn>
                  <a:cxn ang="0">
                    <a:pos x="connsiteX2" y="connsiteY2"/>
                  </a:cxn>
                  <a:cxn ang="0">
                    <a:pos x="connsiteX3" y="connsiteY3"/>
                  </a:cxn>
                </a:cxnLst>
                <a:rect l="l" t="t" r="r" b="b"/>
                <a:pathLst>
                  <a:path w="52616" h="13160">
                    <a:moveTo>
                      <a:pt x="0" y="0"/>
                    </a:moveTo>
                    <a:lnTo>
                      <a:pt x="52616" y="0"/>
                    </a:lnTo>
                    <a:lnTo>
                      <a:pt x="52616"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70" name="Freihandform: Form 516">
                <a:extLst>
                  <a:ext uri="{FF2B5EF4-FFF2-40B4-BE49-F238E27FC236}">
                    <a16:creationId xmlns:a16="http://schemas.microsoft.com/office/drawing/2014/main" id="{3B71A9CC-3D5B-400E-A670-3D70FE36BF0A}"/>
                  </a:ext>
                </a:extLst>
              </p:cNvPr>
              <p:cNvSpPr/>
              <p:nvPr/>
            </p:nvSpPr>
            <p:spPr>
              <a:xfrm>
                <a:off x="2780368" y="4271332"/>
                <a:ext cx="46049" cy="13160"/>
              </a:xfrm>
              <a:custGeom>
                <a:avLst/>
                <a:gdLst>
                  <a:gd name="connsiteX0" fmla="*/ 0 w 46049"/>
                  <a:gd name="connsiteY0" fmla="*/ 0 h 13160"/>
                  <a:gd name="connsiteX1" fmla="*/ 46049 w 46049"/>
                  <a:gd name="connsiteY1" fmla="*/ 0 h 13160"/>
                  <a:gd name="connsiteX2" fmla="*/ 46049 w 46049"/>
                  <a:gd name="connsiteY2" fmla="*/ 13161 h 13160"/>
                  <a:gd name="connsiteX3" fmla="*/ 0 w 46049"/>
                  <a:gd name="connsiteY3" fmla="*/ 13161 h 13160"/>
                </a:gdLst>
                <a:ahLst/>
                <a:cxnLst>
                  <a:cxn ang="0">
                    <a:pos x="connsiteX0" y="connsiteY0"/>
                  </a:cxn>
                  <a:cxn ang="0">
                    <a:pos x="connsiteX1" y="connsiteY1"/>
                  </a:cxn>
                  <a:cxn ang="0">
                    <a:pos x="connsiteX2" y="connsiteY2"/>
                  </a:cxn>
                  <a:cxn ang="0">
                    <a:pos x="connsiteX3" y="connsiteY3"/>
                  </a:cxn>
                </a:cxnLst>
                <a:rect l="l" t="t" r="r" b="b"/>
                <a:pathLst>
                  <a:path w="46049" h="13160">
                    <a:moveTo>
                      <a:pt x="0" y="0"/>
                    </a:moveTo>
                    <a:lnTo>
                      <a:pt x="46049" y="0"/>
                    </a:lnTo>
                    <a:lnTo>
                      <a:pt x="46049"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71" name="Freihandform: Form 517">
                <a:extLst>
                  <a:ext uri="{FF2B5EF4-FFF2-40B4-BE49-F238E27FC236}">
                    <a16:creationId xmlns:a16="http://schemas.microsoft.com/office/drawing/2014/main" id="{EB7753A3-3C2F-457A-BA7F-F9E325AB502F}"/>
                  </a:ext>
                </a:extLst>
              </p:cNvPr>
              <p:cNvSpPr/>
              <p:nvPr/>
            </p:nvSpPr>
            <p:spPr>
              <a:xfrm>
                <a:off x="2780368" y="4310814"/>
                <a:ext cx="39481" cy="13160"/>
              </a:xfrm>
              <a:custGeom>
                <a:avLst/>
                <a:gdLst>
                  <a:gd name="connsiteX0" fmla="*/ 0 w 39481"/>
                  <a:gd name="connsiteY0" fmla="*/ 0 h 13160"/>
                  <a:gd name="connsiteX1" fmla="*/ 39482 w 39481"/>
                  <a:gd name="connsiteY1" fmla="*/ 0 h 13160"/>
                  <a:gd name="connsiteX2" fmla="*/ 39482 w 39481"/>
                  <a:gd name="connsiteY2" fmla="*/ 13161 h 13160"/>
                  <a:gd name="connsiteX3" fmla="*/ 0 w 39481"/>
                  <a:gd name="connsiteY3" fmla="*/ 13161 h 13160"/>
                </a:gdLst>
                <a:ahLst/>
                <a:cxnLst>
                  <a:cxn ang="0">
                    <a:pos x="connsiteX0" y="connsiteY0"/>
                  </a:cxn>
                  <a:cxn ang="0">
                    <a:pos x="connsiteX1" y="connsiteY1"/>
                  </a:cxn>
                  <a:cxn ang="0">
                    <a:pos x="connsiteX2" y="connsiteY2"/>
                  </a:cxn>
                  <a:cxn ang="0">
                    <a:pos x="connsiteX3" y="connsiteY3"/>
                  </a:cxn>
                </a:cxnLst>
                <a:rect l="l" t="t" r="r" b="b"/>
                <a:pathLst>
                  <a:path w="39481" h="13160">
                    <a:moveTo>
                      <a:pt x="0" y="0"/>
                    </a:moveTo>
                    <a:lnTo>
                      <a:pt x="39482" y="0"/>
                    </a:lnTo>
                    <a:lnTo>
                      <a:pt x="39482" y="13161"/>
                    </a:lnTo>
                    <a:lnTo>
                      <a:pt x="0" y="13161"/>
                    </a:lnTo>
                    <a:close/>
                  </a:path>
                </a:pathLst>
              </a:custGeom>
              <a:solidFill>
                <a:schemeClr val="tx2"/>
              </a:solidFill>
              <a:ln w="2604" cap="flat">
                <a:noFill/>
                <a:prstDash val="solid"/>
                <a:miter/>
              </a:ln>
            </p:spPr>
            <p:txBody>
              <a:bodyPr rtlCol="0" anchor="ctr"/>
              <a:lstStyle/>
              <a:p>
                <a:endParaRPr lang="en-GB" dirty="0"/>
              </a:p>
            </p:txBody>
          </p:sp>
          <p:sp>
            <p:nvSpPr>
              <p:cNvPr id="272" name="Freihandform: Form 518">
                <a:extLst>
                  <a:ext uri="{FF2B5EF4-FFF2-40B4-BE49-F238E27FC236}">
                    <a16:creationId xmlns:a16="http://schemas.microsoft.com/office/drawing/2014/main" id="{53A7115B-32FD-49D1-8CB7-0A162036188A}"/>
                  </a:ext>
                </a:extLst>
              </p:cNvPr>
              <p:cNvSpPr/>
              <p:nvPr/>
            </p:nvSpPr>
            <p:spPr>
              <a:xfrm>
                <a:off x="2780368" y="4343703"/>
                <a:ext cx="32888" cy="13160"/>
              </a:xfrm>
              <a:custGeom>
                <a:avLst/>
                <a:gdLst>
                  <a:gd name="connsiteX0" fmla="*/ 0 w 32888"/>
                  <a:gd name="connsiteY0" fmla="*/ 0 h 13160"/>
                  <a:gd name="connsiteX1" fmla="*/ 32888 w 32888"/>
                  <a:gd name="connsiteY1" fmla="*/ 0 h 13160"/>
                  <a:gd name="connsiteX2" fmla="*/ 32888 w 32888"/>
                  <a:gd name="connsiteY2" fmla="*/ 13161 h 13160"/>
                  <a:gd name="connsiteX3" fmla="*/ 0 w 32888"/>
                  <a:gd name="connsiteY3" fmla="*/ 13161 h 13160"/>
                </a:gdLst>
                <a:ahLst/>
                <a:cxnLst>
                  <a:cxn ang="0">
                    <a:pos x="connsiteX0" y="connsiteY0"/>
                  </a:cxn>
                  <a:cxn ang="0">
                    <a:pos x="connsiteX1" y="connsiteY1"/>
                  </a:cxn>
                  <a:cxn ang="0">
                    <a:pos x="connsiteX2" y="connsiteY2"/>
                  </a:cxn>
                  <a:cxn ang="0">
                    <a:pos x="connsiteX3" y="connsiteY3"/>
                  </a:cxn>
                </a:cxnLst>
                <a:rect l="l" t="t" r="r" b="b"/>
                <a:pathLst>
                  <a:path w="32888" h="13160">
                    <a:moveTo>
                      <a:pt x="0" y="0"/>
                    </a:moveTo>
                    <a:lnTo>
                      <a:pt x="32888" y="0"/>
                    </a:lnTo>
                    <a:lnTo>
                      <a:pt x="32888" y="13161"/>
                    </a:lnTo>
                    <a:lnTo>
                      <a:pt x="0" y="13161"/>
                    </a:lnTo>
                    <a:close/>
                  </a:path>
                </a:pathLst>
              </a:custGeom>
              <a:solidFill>
                <a:schemeClr val="tx2"/>
              </a:solidFill>
              <a:ln w="2604" cap="flat">
                <a:noFill/>
                <a:prstDash val="solid"/>
                <a:miter/>
              </a:ln>
            </p:spPr>
            <p:txBody>
              <a:bodyPr rtlCol="0" anchor="ctr"/>
              <a:lstStyle/>
              <a:p>
                <a:endParaRPr lang="en-GB" dirty="0"/>
              </a:p>
            </p:txBody>
          </p:sp>
        </p:grpSp>
        <p:grpSp>
          <p:nvGrpSpPr>
            <p:cNvPr id="241" name="Group 240">
              <a:extLst>
                <a:ext uri="{FF2B5EF4-FFF2-40B4-BE49-F238E27FC236}">
                  <a16:creationId xmlns:a16="http://schemas.microsoft.com/office/drawing/2014/main" id="{3A1F1AF1-6903-401B-BAAA-6615059F0BD8}"/>
                </a:ext>
              </a:extLst>
            </p:cNvPr>
            <p:cNvGrpSpPr/>
            <p:nvPr/>
          </p:nvGrpSpPr>
          <p:grpSpPr>
            <a:xfrm>
              <a:off x="3743986" y="3478422"/>
              <a:ext cx="426733" cy="150653"/>
              <a:chOff x="2550097" y="4398700"/>
              <a:chExt cx="484540" cy="171061"/>
            </a:xfrm>
          </p:grpSpPr>
          <p:sp>
            <p:nvSpPr>
              <p:cNvPr id="242" name="Freihandform: Form 498">
                <a:extLst>
                  <a:ext uri="{FF2B5EF4-FFF2-40B4-BE49-F238E27FC236}">
                    <a16:creationId xmlns:a16="http://schemas.microsoft.com/office/drawing/2014/main" id="{2088AA55-EAFA-4289-A8D0-B282C5B2A88E}"/>
                  </a:ext>
                </a:extLst>
              </p:cNvPr>
              <p:cNvSpPr/>
              <p:nvPr/>
            </p:nvSpPr>
            <p:spPr>
              <a:xfrm>
                <a:off x="2550097" y="4398700"/>
                <a:ext cx="484540" cy="171061"/>
              </a:xfrm>
              <a:custGeom>
                <a:avLst/>
                <a:gdLst>
                  <a:gd name="connsiteX0" fmla="*/ 243406 w 484540"/>
                  <a:gd name="connsiteY0" fmla="*/ 171062 h 171061"/>
                  <a:gd name="connsiteX1" fmla="*/ 163296 w 484540"/>
                  <a:gd name="connsiteY1" fmla="*/ 124205 h 171061"/>
                  <a:gd name="connsiteX2" fmla="*/ 131580 w 484540"/>
                  <a:gd name="connsiteY2" fmla="*/ 131580 h 171061"/>
                  <a:gd name="connsiteX3" fmla="*/ 59210 w 484540"/>
                  <a:gd name="connsiteY3" fmla="*/ 59210 h 171061"/>
                  <a:gd name="connsiteX4" fmla="*/ 59236 w 484540"/>
                  <a:gd name="connsiteY4" fmla="*/ 57229 h 171061"/>
                  <a:gd name="connsiteX5" fmla="*/ 46153 w 484540"/>
                  <a:gd name="connsiteY5" fmla="*/ 59210 h 171061"/>
                  <a:gd name="connsiteX6" fmla="*/ 45372 w 484540"/>
                  <a:gd name="connsiteY6" fmla="*/ 59210 h 171061"/>
                  <a:gd name="connsiteX7" fmla="*/ 15636 w 484540"/>
                  <a:gd name="connsiteY7" fmla="*/ 47743 h 171061"/>
                  <a:gd name="connsiteX8" fmla="*/ 0 w 484540"/>
                  <a:gd name="connsiteY8" fmla="*/ 6567 h 171061"/>
                  <a:gd name="connsiteX9" fmla="*/ 6567 w 484540"/>
                  <a:gd name="connsiteY9" fmla="*/ 0 h 171061"/>
                  <a:gd name="connsiteX10" fmla="*/ 477951 w 484540"/>
                  <a:gd name="connsiteY10" fmla="*/ 0 h 171061"/>
                  <a:gd name="connsiteX11" fmla="*/ 482955 w 484540"/>
                  <a:gd name="connsiteY11" fmla="*/ 2293 h 171061"/>
                  <a:gd name="connsiteX12" fmla="*/ 484466 w 484540"/>
                  <a:gd name="connsiteY12" fmla="*/ 7584 h 171061"/>
                  <a:gd name="connsiteX13" fmla="*/ 440789 w 484540"/>
                  <a:gd name="connsiteY13" fmla="*/ 59210 h 171061"/>
                  <a:gd name="connsiteX14" fmla="*/ 427602 w 484540"/>
                  <a:gd name="connsiteY14" fmla="*/ 57281 h 171061"/>
                  <a:gd name="connsiteX15" fmla="*/ 427628 w 484540"/>
                  <a:gd name="connsiteY15" fmla="*/ 59210 h 171061"/>
                  <a:gd name="connsiteX16" fmla="*/ 355258 w 484540"/>
                  <a:gd name="connsiteY16" fmla="*/ 131580 h 171061"/>
                  <a:gd name="connsiteX17" fmla="*/ 323542 w 484540"/>
                  <a:gd name="connsiteY17" fmla="*/ 124205 h 171061"/>
                  <a:gd name="connsiteX18" fmla="*/ 243406 w 484540"/>
                  <a:gd name="connsiteY18" fmla="*/ 171062 h 171061"/>
                  <a:gd name="connsiteX19" fmla="*/ 166032 w 484540"/>
                  <a:gd name="connsiteY19" fmla="*/ 108595 h 171061"/>
                  <a:gd name="connsiteX20" fmla="*/ 167908 w 484540"/>
                  <a:gd name="connsiteY20" fmla="*/ 108881 h 171061"/>
                  <a:gd name="connsiteX21" fmla="*/ 172000 w 484540"/>
                  <a:gd name="connsiteY21" fmla="*/ 112399 h 171061"/>
                  <a:gd name="connsiteX22" fmla="*/ 243432 w 484540"/>
                  <a:gd name="connsiteY22" fmla="*/ 157901 h 171061"/>
                  <a:gd name="connsiteX23" fmla="*/ 314864 w 484540"/>
                  <a:gd name="connsiteY23" fmla="*/ 112399 h 171061"/>
                  <a:gd name="connsiteX24" fmla="*/ 318955 w 484540"/>
                  <a:gd name="connsiteY24" fmla="*/ 108881 h 171061"/>
                  <a:gd name="connsiteX25" fmla="*/ 324298 w 484540"/>
                  <a:gd name="connsiteY25" fmla="*/ 109585 h 171061"/>
                  <a:gd name="connsiteX26" fmla="*/ 355284 w 484540"/>
                  <a:gd name="connsiteY26" fmla="*/ 118419 h 171061"/>
                  <a:gd name="connsiteX27" fmla="*/ 414494 w 484540"/>
                  <a:gd name="connsiteY27" fmla="*/ 59210 h 171061"/>
                  <a:gd name="connsiteX28" fmla="*/ 413373 w 484540"/>
                  <a:gd name="connsiteY28" fmla="*/ 47821 h 171061"/>
                  <a:gd name="connsiteX29" fmla="*/ 416109 w 484540"/>
                  <a:gd name="connsiteY29" fmla="*/ 41124 h 171061"/>
                  <a:gd name="connsiteX30" fmla="*/ 423328 w 484540"/>
                  <a:gd name="connsiteY30" fmla="*/ 40967 h 171061"/>
                  <a:gd name="connsiteX31" fmla="*/ 440815 w 484540"/>
                  <a:gd name="connsiteY31" fmla="*/ 46049 h 171061"/>
                  <a:gd name="connsiteX32" fmla="*/ 470081 w 484540"/>
                  <a:gd name="connsiteY32" fmla="*/ 13161 h 171061"/>
                  <a:gd name="connsiteX33" fmla="*/ 13760 w 484540"/>
                  <a:gd name="connsiteY33" fmla="*/ 13161 h 171061"/>
                  <a:gd name="connsiteX34" fmla="*/ 24940 w 484540"/>
                  <a:gd name="connsiteY34" fmla="*/ 38413 h 171061"/>
                  <a:gd name="connsiteX35" fmla="*/ 45971 w 484540"/>
                  <a:gd name="connsiteY35" fmla="*/ 46049 h 171061"/>
                  <a:gd name="connsiteX36" fmla="*/ 63536 w 484540"/>
                  <a:gd name="connsiteY36" fmla="*/ 40967 h 171061"/>
                  <a:gd name="connsiteX37" fmla="*/ 70755 w 484540"/>
                  <a:gd name="connsiteY37" fmla="*/ 41124 h 171061"/>
                  <a:gd name="connsiteX38" fmla="*/ 73491 w 484540"/>
                  <a:gd name="connsiteY38" fmla="*/ 47821 h 171061"/>
                  <a:gd name="connsiteX39" fmla="*/ 72370 w 484540"/>
                  <a:gd name="connsiteY39" fmla="*/ 59210 h 171061"/>
                  <a:gd name="connsiteX40" fmla="*/ 131580 w 484540"/>
                  <a:gd name="connsiteY40" fmla="*/ 118419 h 171061"/>
                  <a:gd name="connsiteX41" fmla="*/ 162566 w 484540"/>
                  <a:gd name="connsiteY41" fmla="*/ 109585 h 171061"/>
                  <a:gd name="connsiteX42" fmla="*/ 166032 w 484540"/>
                  <a:gd name="connsiteY42" fmla="*/ 108595 h 17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84540" h="171061">
                    <a:moveTo>
                      <a:pt x="243406" y="171062"/>
                    </a:moveTo>
                    <a:cubicBezTo>
                      <a:pt x="210231" y="171062"/>
                      <a:pt x="179505" y="152898"/>
                      <a:pt x="163296" y="124205"/>
                    </a:cubicBezTo>
                    <a:cubicBezTo>
                      <a:pt x="153419" y="129052"/>
                      <a:pt x="142577" y="131580"/>
                      <a:pt x="131580" y="131580"/>
                    </a:cubicBezTo>
                    <a:cubicBezTo>
                      <a:pt x="91681" y="131580"/>
                      <a:pt x="59210" y="99108"/>
                      <a:pt x="59210" y="59210"/>
                    </a:cubicBezTo>
                    <a:cubicBezTo>
                      <a:pt x="59210" y="58558"/>
                      <a:pt x="59210" y="57880"/>
                      <a:pt x="59236" y="57229"/>
                    </a:cubicBezTo>
                    <a:cubicBezTo>
                      <a:pt x="55040" y="58480"/>
                      <a:pt x="50636" y="59157"/>
                      <a:pt x="46153" y="59210"/>
                    </a:cubicBezTo>
                    <a:cubicBezTo>
                      <a:pt x="45893" y="59210"/>
                      <a:pt x="45632" y="59210"/>
                      <a:pt x="45372" y="59210"/>
                    </a:cubicBezTo>
                    <a:cubicBezTo>
                      <a:pt x="33358" y="59210"/>
                      <a:pt x="23376" y="55353"/>
                      <a:pt x="15636" y="47743"/>
                    </a:cubicBezTo>
                    <a:cubicBezTo>
                      <a:pt x="182" y="32497"/>
                      <a:pt x="0" y="7636"/>
                      <a:pt x="0" y="6567"/>
                    </a:cubicBezTo>
                    <a:cubicBezTo>
                      <a:pt x="0" y="2919"/>
                      <a:pt x="2945" y="0"/>
                      <a:pt x="6567" y="0"/>
                    </a:cubicBezTo>
                    <a:lnTo>
                      <a:pt x="477951" y="0"/>
                    </a:lnTo>
                    <a:cubicBezTo>
                      <a:pt x="479879" y="0"/>
                      <a:pt x="481704" y="834"/>
                      <a:pt x="482955" y="2293"/>
                    </a:cubicBezTo>
                    <a:cubicBezTo>
                      <a:pt x="484206" y="3753"/>
                      <a:pt x="484753" y="5681"/>
                      <a:pt x="484466" y="7584"/>
                    </a:cubicBezTo>
                    <a:cubicBezTo>
                      <a:pt x="479176" y="41827"/>
                      <a:pt x="464478" y="59210"/>
                      <a:pt x="440789" y="59210"/>
                    </a:cubicBezTo>
                    <a:cubicBezTo>
                      <a:pt x="436306" y="59210"/>
                      <a:pt x="431876" y="58558"/>
                      <a:pt x="427602" y="57281"/>
                    </a:cubicBezTo>
                    <a:cubicBezTo>
                      <a:pt x="427628" y="57933"/>
                      <a:pt x="427628" y="58584"/>
                      <a:pt x="427628" y="59210"/>
                    </a:cubicBezTo>
                    <a:cubicBezTo>
                      <a:pt x="427628" y="99108"/>
                      <a:pt x="395157" y="131580"/>
                      <a:pt x="355258" y="131580"/>
                    </a:cubicBezTo>
                    <a:cubicBezTo>
                      <a:pt x="344260" y="131580"/>
                      <a:pt x="333419" y="129052"/>
                      <a:pt x="323542" y="124205"/>
                    </a:cubicBezTo>
                    <a:cubicBezTo>
                      <a:pt x="307306" y="152871"/>
                      <a:pt x="276581" y="171062"/>
                      <a:pt x="243406" y="171062"/>
                    </a:cubicBezTo>
                    <a:close/>
                    <a:moveTo>
                      <a:pt x="166032" y="108595"/>
                    </a:moveTo>
                    <a:cubicBezTo>
                      <a:pt x="166657" y="108595"/>
                      <a:pt x="167283" y="108672"/>
                      <a:pt x="167908" y="108881"/>
                    </a:cubicBezTo>
                    <a:cubicBezTo>
                      <a:pt x="169706" y="109402"/>
                      <a:pt x="171192" y="110705"/>
                      <a:pt x="172000" y="112399"/>
                    </a:cubicBezTo>
                    <a:cubicBezTo>
                      <a:pt x="184952" y="140050"/>
                      <a:pt x="212993" y="157901"/>
                      <a:pt x="243432" y="157901"/>
                    </a:cubicBezTo>
                    <a:cubicBezTo>
                      <a:pt x="273871" y="157901"/>
                      <a:pt x="301886" y="140023"/>
                      <a:pt x="314864" y="112399"/>
                    </a:cubicBezTo>
                    <a:cubicBezTo>
                      <a:pt x="315672" y="110705"/>
                      <a:pt x="317157" y="109428"/>
                      <a:pt x="318955" y="108881"/>
                    </a:cubicBezTo>
                    <a:cubicBezTo>
                      <a:pt x="320728" y="108334"/>
                      <a:pt x="322682" y="108595"/>
                      <a:pt x="324298" y="109585"/>
                    </a:cubicBezTo>
                    <a:cubicBezTo>
                      <a:pt x="333654" y="115370"/>
                      <a:pt x="344391" y="118419"/>
                      <a:pt x="355284" y="118419"/>
                    </a:cubicBezTo>
                    <a:cubicBezTo>
                      <a:pt x="387938" y="118419"/>
                      <a:pt x="414494" y="91864"/>
                      <a:pt x="414494" y="59210"/>
                    </a:cubicBezTo>
                    <a:cubicBezTo>
                      <a:pt x="414494" y="55457"/>
                      <a:pt x="414103" y="51626"/>
                      <a:pt x="413373" y="47821"/>
                    </a:cubicBezTo>
                    <a:cubicBezTo>
                      <a:pt x="412878" y="45241"/>
                      <a:pt x="413946" y="42609"/>
                      <a:pt x="416109" y="41124"/>
                    </a:cubicBezTo>
                    <a:cubicBezTo>
                      <a:pt x="418272" y="39638"/>
                      <a:pt x="421113" y="39586"/>
                      <a:pt x="423328" y="40967"/>
                    </a:cubicBezTo>
                    <a:cubicBezTo>
                      <a:pt x="428592" y="44277"/>
                      <a:pt x="434638" y="46049"/>
                      <a:pt x="440815" y="46049"/>
                    </a:cubicBezTo>
                    <a:cubicBezTo>
                      <a:pt x="450509" y="46049"/>
                      <a:pt x="463722" y="42453"/>
                      <a:pt x="470081" y="13161"/>
                    </a:cubicBezTo>
                    <a:lnTo>
                      <a:pt x="13760" y="13161"/>
                    </a:lnTo>
                    <a:cubicBezTo>
                      <a:pt x="14776" y="20145"/>
                      <a:pt x="17513" y="31142"/>
                      <a:pt x="24940" y="38413"/>
                    </a:cubicBezTo>
                    <a:cubicBezTo>
                      <a:pt x="30282" y="43678"/>
                      <a:pt x="36902" y="46258"/>
                      <a:pt x="45971" y="46049"/>
                    </a:cubicBezTo>
                    <a:cubicBezTo>
                      <a:pt x="52330" y="45971"/>
                      <a:pt x="58402" y="44199"/>
                      <a:pt x="63536" y="40967"/>
                    </a:cubicBezTo>
                    <a:cubicBezTo>
                      <a:pt x="65751" y="39586"/>
                      <a:pt x="68591" y="39612"/>
                      <a:pt x="70755" y="41124"/>
                    </a:cubicBezTo>
                    <a:cubicBezTo>
                      <a:pt x="72918" y="42609"/>
                      <a:pt x="73986" y="45241"/>
                      <a:pt x="73491" y="47821"/>
                    </a:cubicBezTo>
                    <a:cubicBezTo>
                      <a:pt x="72735" y="51626"/>
                      <a:pt x="72370" y="55457"/>
                      <a:pt x="72370" y="59210"/>
                    </a:cubicBezTo>
                    <a:cubicBezTo>
                      <a:pt x="72370" y="91864"/>
                      <a:pt x="98926" y="118419"/>
                      <a:pt x="131580" y="118419"/>
                    </a:cubicBezTo>
                    <a:cubicBezTo>
                      <a:pt x="142499" y="118419"/>
                      <a:pt x="153210" y="115370"/>
                      <a:pt x="162566" y="109585"/>
                    </a:cubicBezTo>
                    <a:cubicBezTo>
                      <a:pt x="163634" y="108933"/>
                      <a:pt x="164833" y="108595"/>
                      <a:pt x="166032" y="108595"/>
                    </a:cubicBezTo>
                    <a:close/>
                  </a:path>
                </a:pathLst>
              </a:custGeom>
              <a:solidFill>
                <a:schemeClr val="accent1"/>
              </a:solidFill>
              <a:ln w="2604" cap="flat">
                <a:noFill/>
                <a:prstDash val="solid"/>
                <a:miter/>
              </a:ln>
            </p:spPr>
            <p:txBody>
              <a:bodyPr rtlCol="0" anchor="ctr"/>
              <a:lstStyle/>
              <a:p>
                <a:endParaRPr lang="en-GB" dirty="0"/>
              </a:p>
            </p:txBody>
          </p:sp>
          <p:sp>
            <p:nvSpPr>
              <p:cNvPr id="243" name="Freihandform: Form 499">
                <a:extLst>
                  <a:ext uri="{FF2B5EF4-FFF2-40B4-BE49-F238E27FC236}">
                    <a16:creationId xmlns:a16="http://schemas.microsoft.com/office/drawing/2014/main" id="{3FAC12E4-FE13-4709-9982-15364082C4AF}"/>
                  </a:ext>
                </a:extLst>
              </p:cNvPr>
              <p:cNvSpPr/>
              <p:nvPr/>
            </p:nvSpPr>
            <p:spPr>
              <a:xfrm>
                <a:off x="2707998" y="4429259"/>
                <a:ext cx="59183" cy="59183"/>
              </a:xfrm>
              <a:custGeom>
                <a:avLst/>
                <a:gdLst>
                  <a:gd name="connsiteX0" fmla="*/ 52616 w 59183"/>
                  <a:gd name="connsiteY0" fmla="*/ 59183 h 59183"/>
                  <a:gd name="connsiteX1" fmla="*/ 0 w 59183"/>
                  <a:gd name="connsiteY1" fmla="*/ 6567 h 59183"/>
                  <a:gd name="connsiteX2" fmla="*/ 6567 w 59183"/>
                  <a:gd name="connsiteY2" fmla="*/ 0 h 59183"/>
                  <a:gd name="connsiteX3" fmla="*/ 13134 w 59183"/>
                  <a:gd name="connsiteY3" fmla="*/ 6567 h 59183"/>
                  <a:gd name="connsiteX4" fmla="*/ 52616 w 59183"/>
                  <a:gd name="connsiteY4" fmla="*/ 46049 h 59183"/>
                  <a:gd name="connsiteX5" fmla="*/ 59184 w 59183"/>
                  <a:gd name="connsiteY5" fmla="*/ 52616 h 59183"/>
                  <a:gd name="connsiteX6" fmla="*/ 52616 w 59183"/>
                  <a:gd name="connsiteY6" fmla="*/ 59183 h 59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183" h="59183">
                    <a:moveTo>
                      <a:pt x="52616" y="59183"/>
                    </a:moveTo>
                    <a:cubicBezTo>
                      <a:pt x="23585" y="59183"/>
                      <a:pt x="0" y="35573"/>
                      <a:pt x="0" y="6567"/>
                    </a:cubicBezTo>
                    <a:cubicBezTo>
                      <a:pt x="0" y="2919"/>
                      <a:pt x="2945" y="0"/>
                      <a:pt x="6567" y="0"/>
                    </a:cubicBezTo>
                    <a:cubicBezTo>
                      <a:pt x="10216" y="0"/>
                      <a:pt x="13134" y="2945"/>
                      <a:pt x="13134" y="6567"/>
                    </a:cubicBezTo>
                    <a:cubicBezTo>
                      <a:pt x="13134" y="28328"/>
                      <a:pt x="30830" y="46049"/>
                      <a:pt x="52616" y="46049"/>
                    </a:cubicBezTo>
                    <a:cubicBezTo>
                      <a:pt x="56265" y="46049"/>
                      <a:pt x="59184" y="48994"/>
                      <a:pt x="59184" y="52616"/>
                    </a:cubicBezTo>
                    <a:cubicBezTo>
                      <a:pt x="59184" y="56239"/>
                      <a:pt x="56265" y="59183"/>
                      <a:pt x="52616" y="59183"/>
                    </a:cubicBezTo>
                    <a:close/>
                  </a:path>
                </a:pathLst>
              </a:custGeom>
              <a:solidFill>
                <a:schemeClr val="accent1"/>
              </a:solidFill>
              <a:ln w="2604" cap="flat">
                <a:noFill/>
                <a:prstDash val="solid"/>
                <a:miter/>
              </a:ln>
            </p:spPr>
            <p:txBody>
              <a:bodyPr rtlCol="0" anchor="ctr"/>
              <a:lstStyle/>
              <a:p>
                <a:endParaRPr lang="en-GB" dirty="0"/>
              </a:p>
            </p:txBody>
          </p:sp>
          <p:sp>
            <p:nvSpPr>
              <p:cNvPr id="244" name="Freihandform: Form 500">
                <a:extLst>
                  <a:ext uri="{FF2B5EF4-FFF2-40B4-BE49-F238E27FC236}">
                    <a16:creationId xmlns:a16="http://schemas.microsoft.com/office/drawing/2014/main" id="{F103176D-A70A-4FD7-A1C6-771F8824FF9B}"/>
                  </a:ext>
                </a:extLst>
              </p:cNvPr>
              <p:cNvSpPr/>
              <p:nvPr/>
            </p:nvSpPr>
            <p:spPr>
              <a:xfrm>
                <a:off x="2892194" y="4435853"/>
                <a:ext cx="39429" cy="39429"/>
              </a:xfrm>
              <a:custGeom>
                <a:avLst/>
                <a:gdLst>
                  <a:gd name="connsiteX0" fmla="*/ 6567 w 39429"/>
                  <a:gd name="connsiteY0" fmla="*/ 39430 h 39429"/>
                  <a:gd name="connsiteX1" fmla="*/ 0 w 39429"/>
                  <a:gd name="connsiteY1" fmla="*/ 32862 h 39429"/>
                  <a:gd name="connsiteX2" fmla="*/ 6567 w 39429"/>
                  <a:gd name="connsiteY2" fmla="*/ 26295 h 39429"/>
                  <a:gd name="connsiteX3" fmla="*/ 26295 w 39429"/>
                  <a:gd name="connsiteY3" fmla="*/ 6567 h 39429"/>
                  <a:gd name="connsiteX4" fmla="*/ 32862 w 39429"/>
                  <a:gd name="connsiteY4" fmla="*/ 0 h 39429"/>
                  <a:gd name="connsiteX5" fmla="*/ 39430 w 39429"/>
                  <a:gd name="connsiteY5" fmla="*/ 6567 h 39429"/>
                  <a:gd name="connsiteX6" fmla="*/ 6567 w 39429"/>
                  <a:gd name="connsiteY6" fmla="*/ 39430 h 39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29" h="39429">
                    <a:moveTo>
                      <a:pt x="6567" y="39430"/>
                    </a:moveTo>
                    <a:cubicBezTo>
                      <a:pt x="2919" y="39430"/>
                      <a:pt x="0" y="36485"/>
                      <a:pt x="0" y="32862"/>
                    </a:cubicBezTo>
                    <a:cubicBezTo>
                      <a:pt x="0" y="29214"/>
                      <a:pt x="2945" y="26295"/>
                      <a:pt x="6567" y="26295"/>
                    </a:cubicBezTo>
                    <a:cubicBezTo>
                      <a:pt x="17461" y="26295"/>
                      <a:pt x="26295" y="17434"/>
                      <a:pt x="26295" y="6567"/>
                    </a:cubicBezTo>
                    <a:cubicBezTo>
                      <a:pt x="26295" y="2919"/>
                      <a:pt x="29240" y="0"/>
                      <a:pt x="32862" y="0"/>
                    </a:cubicBezTo>
                    <a:cubicBezTo>
                      <a:pt x="36485" y="0"/>
                      <a:pt x="39430" y="2945"/>
                      <a:pt x="39430" y="6567"/>
                    </a:cubicBezTo>
                    <a:cubicBezTo>
                      <a:pt x="39482" y="24679"/>
                      <a:pt x="24705" y="39430"/>
                      <a:pt x="6567" y="39430"/>
                    </a:cubicBezTo>
                    <a:close/>
                  </a:path>
                </a:pathLst>
              </a:custGeom>
              <a:solidFill>
                <a:schemeClr val="accent1"/>
              </a:solidFill>
              <a:ln w="2604" cap="flat">
                <a:noFill/>
                <a:prstDash val="solid"/>
                <a:miter/>
              </a:ln>
            </p:spPr>
            <p:txBody>
              <a:bodyPr rtlCol="0" anchor="ctr"/>
              <a:lstStyle/>
              <a:p>
                <a:endParaRPr lang="en-GB" dirty="0"/>
              </a:p>
            </p:txBody>
          </p:sp>
        </p:grpSp>
      </p:grpSp>
      <p:grpSp>
        <p:nvGrpSpPr>
          <p:cNvPr id="690" name="Group 689">
            <a:extLst>
              <a:ext uri="{FF2B5EF4-FFF2-40B4-BE49-F238E27FC236}">
                <a16:creationId xmlns:a16="http://schemas.microsoft.com/office/drawing/2014/main" id="{904FD9EA-55FC-4E5F-BF30-37EAE7011A03}"/>
              </a:ext>
            </a:extLst>
          </p:cNvPr>
          <p:cNvGrpSpPr/>
          <p:nvPr/>
        </p:nvGrpSpPr>
        <p:grpSpPr>
          <a:xfrm>
            <a:off x="2638378" y="3215610"/>
            <a:ext cx="493080" cy="394921"/>
            <a:chOff x="2638378" y="3215610"/>
            <a:chExt cx="493080" cy="394921"/>
          </a:xfrm>
        </p:grpSpPr>
        <p:grpSp>
          <p:nvGrpSpPr>
            <p:cNvPr id="274" name="Group 273">
              <a:extLst>
                <a:ext uri="{FF2B5EF4-FFF2-40B4-BE49-F238E27FC236}">
                  <a16:creationId xmlns:a16="http://schemas.microsoft.com/office/drawing/2014/main" id="{A605B262-2ABB-4505-8CEA-8EDDBAD8349E}"/>
                </a:ext>
              </a:extLst>
            </p:cNvPr>
            <p:cNvGrpSpPr/>
            <p:nvPr/>
          </p:nvGrpSpPr>
          <p:grpSpPr>
            <a:xfrm>
              <a:off x="2638378" y="3215610"/>
              <a:ext cx="493080" cy="384815"/>
              <a:chOff x="852850" y="4139805"/>
              <a:chExt cx="539454" cy="421008"/>
            </a:xfrm>
          </p:grpSpPr>
          <p:sp>
            <p:nvSpPr>
              <p:cNvPr id="278" name="Freihandform: Form 462">
                <a:extLst>
                  <a:ext uri="{FF2B5EF4-FFF2-40B4-BE49-F238E27FC236}">
                    <a16:creationId xmlns:a16="http://schemas.microsoft.com/office/drawing/2014/main" id="{60AC6251-6114-421C-B28D-3E2598CC007C}"/>
                  </a:ext>
                </a:extLst>
              </p:cNvPr>
              <p:cNvSpPr/>
              <p:nvPr/>
            </p:nvSpPr>
            <p:spPr>
              <a:xfrm>
                <a:off x="1063341" y="4521331"/>
                <a:ext cx="13160" cy="39481"/>
              </a:xfrm>
              <a:custGeom>
                <a:avLst/>
                <a:gdLst>
                  <a:gd name="connsiteX0" fmla="*/ 0 w 13160"/>
                  <a:gd name="connsiteY0" fmla="*/ 0 h 39481"/>
                  <a:gd name="connsiteX1" fmla="*/ 13161 w 13160"/>
                  <a:gd name="connsiteY1" fmla="*/ 0 h 39481"/>
                  <a:gd name="connsiteX2" fmla="*/ 13161 w 13160"/>
                  <a:gd name="connsiteY2" fmla="*/ 39482 h 39481"/>
                  <a:gd name="connsiteX3" fmla="*/ 0 w 13160"/>
                  <a:gd name="connsiteY3" fmla="*/ 39482 h 39481"/>
                </a:gdLst>
                <a:ahLst/>
                <a:cxnLst>
                  <a:cxn ang="0">
                    <a:pos x="connsiteX0" y="connsiteY0"/>
                  </a:cxn>
                  <a:cxn ang="0">
                    <a:pos x="connsiteX1" y="connsiteY1"/>
                  </a:cxn>
                  <a:cxn ang="0">
                    <a:pos x="connsiteX2" y="connsiteY2"/>
                  </a:cxn>
                  <a:cxn ang="0">
                    <a:pos x="connsiteX3" y="connsiteY3"/>
                  </a:cxn>
                </a:cxnLst>
                <a:rect l="l" t="t" r="r" b="b"/>
                <a:pathLst>
                  <a:path w="13160" h="39481">
                    <a:moveTo>
                      <a:pt x="0" y="0"/>
                    </a:moveTo>
                    <a:lnTo>
                      <a:pt x="13161" y="0"/>
                    </a:lnTo>
                    <a:lnTo>
                      <a:pt x="13161" y="39482"/>
                    </a:lnTo>
                    <a:lnTo>
                      <a:pt x="0" y="39482"/>
                    </a:lnTo>
                    <a:close/>
                  </a:path>
                </a:pathLst>
              </a:custGeom>
              <a:solidFill>
                <a:schemeClr val="tx2"/>
              </a:solidFill>
              <a:ln w="2604" cap="flat">
                <a:noFill/>
                <a:prstDash val="solid"/>
                <a:miter/>
              </a:ln>
            </p:spPr>
            <p:txBody>
              <a:bodyPr rtlCol="0" anchor="ctr"/>
              <a:lstStyle/>
              <a:p>
                <a:endParaRPr lang="en-GB" dirty="0"/>
              </a:p>
            </p:txBody>
          </p:sp>
          <p:sp>
            <p:nvSpPr>
              <p:cNvPr id="279" name="Freihandform: Form 463">
                <a:extLst>
                  <a:ext uri="{FF2B5EF4-FFF2-40B4-BE49-F238E27FC236}">
                    <a16:creationId xmlns:a16="http://schemas.microsoft.com/office/drawing/2014/main" id="{D6262B11-DAAD-4CEE-9AAC-DA32A8DB639B}"/>
                  </a:ext>
                </a:extLst>
              </p:cNvPr>
              <p:cNvSpPr/>
              <p:nvPr/>
            </p:nvSpPr>
            <p:spPr>
              <a:xfrm>
                <a:off x="1168600" y="4521331"/>
                <a:ext cx="13160" cy="39481"/>
              </a:xfrm>
              <a:custGeom>
                <a:avLst/>
                <a:gdLst>
                  <a:gd name="connsiteX0" fmla="*/ 0 w 13160"/>
                  <a:gd name="connsiteY0" fmla="*/ 0 h 39481"/>
                  <a:gd name="connsiteX1" fmla="*/ 13161 w 13160"/>
                  <a:gd name="connsiteY1" fmla="*/ 0 h 39481"/>
                  <a:gd name="connsiteX2" fmla="*/ 13161 w 13160"/>
                  <a:gd name="connsiteY2" fmla="*/ 39482 h 39481"/>
                  <a:gd name="connsiteX3" fmla="*/ 0 w 13160"/>
                  <a:gd name="connsiteY3" fmla="*/ 39482 h 39481"/>
                </a:gdLst>
                <a:ahLst/>
                <a:cxnLst>
                  <a:cxn ang="0">
                    <a:pos x="connsiteX0" y="connsiteY0"/>
                  </a:cxn>
                  <a:cxn ang="0">
                    <a:pos x="connsiteX1" y="connsiteY1"/>
                  </a:cxn>
                  <a:cxn ang="0">
                    <a:pos x="connsiteX2" y="connsiteY2"/>
                  </a:cxn>
                  <a:cxn ang="0">
                    <a:pos x="connsiteX3" y="connsiteY3"/>
                  </a:cxn>
                </a:cxnLst>
                <a:rect l="l" t="t" r="r" b="b"/>
                <a:pathLst>
                  <a:path w="13160" h="39481">
                    <a:moveTo>
                      <a:pt x="0" y="0"/>
                    </a:moveTo>
                    <a:lnTo>
                      <a:pt x="13161" y="0"/>
                    </a:lnTo>
                    <a:lnTo>
                      <a:pt x="13161" y="39482"/>
                    </a:lnTo>
                    <a:lnTo>
                      <a:pt x="0" y="39482"/>
                    </a:lnTo>
                    <a:close/>
                  </a:path>
                </a:pathLst>
              </a:custGeom>
              <a:solidFill>
                <a:schemeClr val="tx2"/>
              </a:solidFill>
              <a:ln w="2604" cap="flat">
                <a:noFill/>
                <a:prstDash val="solid"/>
                <a:miter/>
              </a:ln>
            </p:spPr>
            <p:txBody>
              <a:bodyPr rtlCol="0" anchor="ctr"/>
              <a:lstStyle/>
              <a:p>
                <a:endParaRPr lang="en-GB" dirty="0"/>
              </a:p>
            </p:txBody>
          </p:sp>
          <p:sp>
            <p:nvSpPr>
              <p:cNvPr id="280" name="Freihandform: Form 464">
                <a:extLst>
                  <a:ext uri="{FF2B5EF4-FFF2-40B4-BE49-F238E27FC236}">
                    <a16:creationId xmlns:a16="http://schemas.microsoft.com/office/drawing/2014/main" id="{61A4C1ED-B0BB-492B-A8C2-CEC8D4B92463}"/>
                  </a:ext>
                </a:extLst>
              </p:cNvPr>
              <p:cNvSpPr/>
              <p:nvPr/>
            </p:nvSpPr>
            <p:spPr>
              <a:xfrm>
                <a:off x="1026257" y="4258198"/>
                <a:ext cx="192744" cy="64265"/>
              </a:xfrm>
              <a:custGeom>
                <a:avLst/>
                <a:gdLst>
                  <a:gd name="connsiteX0" fmla="*/ 177029 w 192744"/>
                  <a:gd name="connsiteY0" fmla="*/ 57099 h 64265"/>
                  <a:gd name="connsiteX1" fmla="*/ 116048 w 192744"/>
                  <a:gd name="connsiteY1" fmla="*/ 13161 h 64265"/>
                  <a:gd name="connsiteX2" fmla="*/ 76566 w 192744"/>
                  <a:gd name="connsiteY2" fmla="*/ 13161 h 64265"/>
                  <a:gd name="connsiteX3" fmla="*/ 15532 w 192744"/>
                  <a:gd name="connsiteY3" fmla="*/ 57229 h 64265"/>
                  <a:gd name="connsiteX4" fmla="*/ 0 w 192744"/>
                  <a:gd name="connsiteY4" fmla="*/ 63692 h 64265"/>
                  <a:gd name="connsiteX5" fmla="*/ 76566 w 192744"/>
                  <a:gd name="connsiteY5" fmla="*/ 0 h 64265"/>
                  <a:gd name="connsiteX6" fmla="*/ 116048 w 192744"/>
                  <a:gd name="connsiteY6" fmla="*/ 0 h 64265"/>
                  <a:gd name="connsiteX7" fmla="*/ 192744 w 192744"/>
                  <a:gd name="connsiteY7" fmla="*/ 64265 h 64265"/>
                  <a:gd name="connsiteX8" fmla="*/ 177029 w 192744"/>
                  <a:gd name="connsiteY8" fmla="*/ 57099 h 64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744" h="64265">
                    <a:moveTo>
                      <a:pt x="177029" y="57099"/>
                    </a:moveTo>
                    <a:cubicBezTo>
                      <a:pt x="167361" y="30100"/>
                      <a:pt x="144350" y="13161"/>
                      <a:pt x="116048" y="13161"/>
                    </a:cubicBezTo>
                    <a:lnTo>
                      <a:pt x="76566" y="13161"/>
                    </a:lnTo>
                    <a:cubicBezTo>
                      <a:pt x="48264" y="13161"/>
                      <a:pt x="25175" y="30152"/>
                      <a:pt x="15532" y="57229"/>
                    </a:cubicBezTo>
                    <a:lnTo>
                      <a:pt x="0" y="63692"/>
                    </a:lnTo>
                    <a:cubicBezTo>
                      <a:pt x="8678" y="24992"/>
                      <a:pt x="38752" y="0"/>
                      <a:pt x="76566" y="0"/>
                    </a:cubicBezTo>
                    <a:lnTo>
                      <a:pt x="116048" y="0"/>
                    </a:lnTo>
                    <a:cubicBezTo>
                      <a:pt x="154122" y="0"/>
                      <a:pt x="184222" y="25227"/>
                      <a:pt x="192744" y="64265"/>
                    </a:cubicBezTo>
                    <a:lnTo>
                      <a:pt x="177029" y="57099"/>
                    </a:lnTo>
                    <a:close/>
                  </a:path>
                </a:pathLst>
              </a:custGeom>
              <a:solidFill>
                <a:schemeClr val="tx2"/>
              </a:solidFill>
              <a:ln w="2604" cap="flat">
                <a:noFill/>
                <a:prstDash val="solid"/>
                <a:miter/>
              </a:ln>
            </p:spPr>
            <p:txBody>
              <a:bodyPr rtlCol="0" anchor="ctr"/>
              <a:lstStyle/>
              <a:p>
                <a:endParaRPr lang="en-GB" dirty="0"/>
              </a:p>
            </p:txBody>
          </p:sp>
          <p:sp>
            <p:nvSpPr>
              <p:cNvPr id="281" name="Freihandform: Form 465">
                <a:extLst>
                  <a:ext uri="{FF2B5EF4-FFF2-40B4-BE49-F238E27FC236}">
                    <a16:creationId xmlns:a16="http://schemas.microsoft.com/office/drawing/2014/main" id="{2EFBE3EA-CFEE-410C-96E3-9EADAADD64F7}"/>
                  </a:ext>
                </a:extLst>
              </p:cNvPr>
              <p:cNvSpPr/>
              <p:nvPr/>
            </p:nvSpPr>
            <p:spPr>
              <a:xfrm>
                <a:off x="1076502" y="4139805"/>
                <a:ext cx="92098" cy="105232"/>
              </a:xfrm>
              <a:custGeom>
                <a:avLst/>
                <a:gdLst>
                  <a:gd name="connsiteX0" fmla="*/ 46049 w 92098"/>
                  <a:gd name="connsiteY0" fmla="*/ 105233 h 105232"/>
                  <a:gd name="connsiteX1" fmla="*/ 0 w 92098"/>
                  <a:gd name="connsiteY1" fmla="*/ 52616 h 105232"/>
                  <a:gd name="connsiteX2" fmla="*/ 46049 w 92098"/>
                  <a:gd name="connsiteY2" fmla="*/ 0 h 105232"/>
                  <a:gd name="connsiteX3" fmla="*/ 92098 w 92098"/>
                  <a:gd name="connsiteY3" fmla="*/ 52616 h 105232"/>
                  <a:gd name="connsiteX4" fmla="*/ 46049 w 92098"/>
                  <a:gd name="connsiteY4" fmla="*/ 105233 h 105232"/>
                  <a:gd name="connsiteX5" fmla="*/ 46049 w 92098"/>
                  <a:gd name="connsiteY5" fmla="*/ 13134 h 105232"/>
                  <a:gd name="connsiteX6" fmla="*/ 13161 w 92098"/>
                  <a:gd name="connsiteY6" fmla="*/ 52616 h 105232"/>
                  <a:gd name="connsiteX7" fmla="*/ 46049 w 92098"/>
                  <a:gd name="connsiteY7" fmla="*/ 92098 h 105232"/>
                  <a:gd name="connsiteX8" fmla="*/ 78937 w 92098"/>
                  <a:gd name="connsiteY8" fmla="*/ 52616 h 105232"/>
                  <a:gd name="connsiteX9" fmla="*/ 46049 w 92098"/>
                  <a:gd name="connsiteY9" fmla="*/ 13134 h 10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98" h="105232">
                    <a:moveTo>
                      <a:pt x="46049" y="105233"/>
                    </a:moveTo>
                    <a:cubicBezTo>
                      <a:pt x="18503" y="105233"/>
                      <a:pt x="0" y="84071"/>
                      <a:pt x="0" y="52616"/>
                    </a:cubicBezTo>
                    <a:cubicBezTo>
                      <a:pt x="0" y="21135"/>
                      <a:pt x="18503" y="0"/>
                      <a:pt x="46049" y="0"/>
                    </a:cubicBezTo>
                    <a:cubicBezTo>
                      <a:pt x="73595" y="0"/>
                      <a:pt x="92098" y="21161"/>
                      <a:pt x="92098" y="52616"/>
                    </a:cubicBezTo>
                    <a:cubicBezTo>
                      <a:pt x="92098" y="84071"/>
                      <a:pt x="73595" y="105233"/>
                      <a:pt x="46049" y="105233"/>
                    </a:cubicBezTo>
                    <a:close/>
                    <a:moveTo>
                      <a:pt x="46049" y="13134"/>
                    </a:moveTo>
                    <a:cubicBezTo>
                      <a:pt x="21761" y="13134"/>
                      <a:pt x="13161" y="34400"/>
                      <a:pt x="13161" y="52616"/>
                    </a:cubicBezTo>
                    <a:cubicBezTo>
                      <a:pt x="13161" y="70833"/>
                      <a:pt x="21787" y="92098"/>
                      <a:pt x="46049" y="92098"/>
                    </a:cubicBezTo>
                    <a:cubicBezTo>
                      <a:pt x="70311" y="92098"/>
                      <a:pt x="78937" y="70833"/>
                      <a:pt x="78937" y="52616"/>
                    </a:cubicBezTo>
                    <a:cubicBezTo>
                      <a:pt x="78964" y="34400"/>
                      <a:pt x="70337" y="13134"/>
                      <a:pt x="46049" y="13134"/>
                    </a:cubicBezTo>
                    <a:close/>
                  </a:path>
                </a:pathLst>
              </a:custGeom>
              <a:solidFill>
                <a:schemeClr val="tx2"/>
              </a:solidFill>
              <a:ln w="2604" cap="flat">
                <a:noFill/>
                <a:prstDash val="solid"/>
                <a:miter/>
              </a:ln>
            </p:spPr>
            <p:txBody>
              <a:bodyPr rtlCol="0" anchor="ctr"/>
              <a:lstStyle/>
              <a:p>
                <a:endParaRPr lang="en-GB" dirty="0"/>
              </a:p>
            </p:txBody>
          </p:sp>
          <p:sp>
            <p:nvSpPr>
              <p:cNvPr id="282" name="Freihandform: Form 467">
                <a:extLst>
                  <a:ext uri="{FF2B5EF4-FFF2-40B4-BE49-F238E27FC236}">
                    <a16:creationId xmlns:a16="http://schemas.microsoft.com/office/drawing/2014/main" id="{224105FA-D767-43AC-BBA8-B3672417E3AE}"/>
                  </a:ext>
                </a:extLst>
              </p:cNvPr>
              <p:cNvSpPr/>
              <p:nvPr/>
            </p:nvSpPr>
            <p:spPr>
              <a:xfrm>
                <a:off x="1234403" y="4448961"/>
                <a:ext cx="13160" cy="111826"/>
              </a:xfrm>
              <a:custGeom>
                <a:avLst/>
                <a:gdLst>
                  <a:gd name="connsiteX0" fmla="*/ 13161 w 13160"/>
                  <a:gd name="connsiteY0" fmla="*/ 111826 h 111826"/>
                  <a:gd name="connsiteX1" fmla="*/ 0 w 13160"/>
                  <a:gd name="connsiteY1" fmla="*/ 111826 h 111826"/>
                  <a:gd name="connsiteX2" fmla="*/ 0 w 13160"/>
                  <a:gd name="connsiteY2" fmla="*/ 19728 h 111826"/>
                  <a:gd name="connsiteX3" fmla="*/ 13161 w 13160"/>
                  <a:gd name="connsiteY3" fmla="*/ 0 h 111826"/>
                </a:gdLst>
                <a:ahLst/>
                <a:cxnLst>
                  <a:cxn ang="0">
                    <a:pos x="connsiteX0" y="connsiteY0"/>
                  </a:cxn>
                  <a:cxn ang="0">
                    <a:pos x="connsiteX1" y="connsiteY1"/>
                  </a:cxn>
                  <a:cxn ang="0">
                    <a:pos x="connsiteX2" y="connsiteY2"/>
                  </a:cxn>
                  <a:cxn ang="0">
                    <a:pos x="connsiteX3" y="connsiteY3"/>
                  </a:cxn>
                </a:cxnLst>
                <a:rect l="l" t="t" r="r" b="b"/>
                <a:pathLst>
                  <a:path w="13160" h="111826">
                    <a:moveTo>
                      <a:pt x="13161" y="111826"/>
                    </a:moveTo>
                    <a:lnTo>
                      <a:pt x="0" y="111826"/>
                    </a:lnTo>
                    <a:lnTo>
                      <a:pt x="0" y="19728"/>
                    </a:lnTo>
                    <a:lnTo>
                      <a:pt x="13161" y="0"/>
                    </a:lnTo>
                    <a:close/>
                  </a:path>
                </a:pathLst>
              </a:custGeom>
              <a:solidFill>
                <a:schemeClr val="tx2"/>
              </a:solidFill>
              <a:ln w="2604" cap="flat">
                <a:noFill/>
                <a:prstDash val="solid"/>
                <a:miter/>
              </a:ln>
            </p:spPr>
            <p:txBody>
              <a:bodyPr rtlCol="0" anchor="ctr"/>
              <a:lstStyle/>
              <a:p>
                <a:endParaRPr lang="en-GB" dirty="0"/>
              </a:p>
            </p:txBody>
          </p:sp>
          <p:sp>
            <p:nvSpPr>
              <p:cNvPr id="283" name="Freihandform: Form 468">
                <a:extLst>
                  <a:ext uri="{FF2B5EF4-FFF2-40B4-BE49-F238E27FC236}">
                    <a16:creationId xmlns:a16="http://schemas.microsoft.com/office/drawing/2014/main" id="{6C2ACC99-6F49-4B65-9478-77DBDA1A256B}"/>
                  </a:ext>
                </a:extLst>
              </p:cNvPr>
              <p:cNvSpPr/>
              <p:nvPr/>
            </p:nvSpPr>
            <p:spPr>
              <a:xfrm>
                <a:off x="1339661" y="4356863"/>
                <a:ext cx="19727" cy="203923"/>
              </a:xfrm>
              <a:custGeom>
                <a:avLst/>
                <a:gdLst>
                  <a:gd name="connsiteX0" fmla="*/ 13161 w 19727"/>
                  <a:gd name="connsiteY0" fmla="*/ 203924 h 203923"/>
                  <a:gd name="connsiteX1" fmla="*/ 0 w 19727"/>
                  <a:gd name="connsiteY1" fmla="*/ 203924 h 203923"/>
                  <a:gd name="connsiteX2" fmla="*/ 0 w 19727"/>
                  <a:gd name="connsiteY2" fmla="*/ 6567 h 203923"/>
                  <a:gd name="connsiteX3" fmla="*/ 6567 w 19727"/>
                  <a:gd name="connsiteY3" fmla="*/ 0 h 203923"/>
                  <a:gd name="connsiteX4" fmla="*/ 19728 w 19727"/>
                  <a:gd name="connsiteY4" fmla="*/ 0 h 203923"/>
                  <a:gd name="connsiteX5" fmla="*/ 19728 w 19727"/>
                  <a:gd name="connsiteY5" fmla="*/ 13161 h 203923"/>
                  <a:gd name="connsiteX6" fmla="*/ 13161 w 19727"/>
                  <a:gd name="connsiteY6" fmla="*/ 13161 h 203923"/>
                  <a:gd name="connsiteX7" fmla="*/ 13161 w 19727"/>
                  <a:gd name="connsiteY7" fmla="*/ 203924 h 203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27" h="203923">
                    <a:moveTo>
                      <a:pt x="13161" y="203924"/>
                    </a:moveTo>
                    <a:lnTo>
                      <a:pt x="0" y="203924"/>
                    </a:lnTo>
                    <a:lnTo>
                      <a:pt x="0" y="6567"/>
                    </a:lnTo>
                    <a:cubicBezTo>
                      <a:pt x="0" y="2919"/>
                      <a:pt x="2945" y="0"/>
                      <a:pt x="6567" y="0"/>
                    </a:cubicBezTo>
                    <a:lnTo>
                      <a:pt x="19728" y="0"/>
                    </a:lnTo>
                    <a:lnTo>
                      <a:pt x="19728" y="13161"/>
                    </a:lnTo>
                    <a:lnTo>
                      <a:pt x="13161" y="13161"/>
                    </a:lnTo>
                    <a:lnTo>
                      <a:pt x="13161" y="203924"/>
                    </a:lnTo>
                    <a:close/>
                  </a:path>
                </a:pathLst>
              </a:custGeom>
              <a:solidFill>
                <a:schemeClr val="tx2"/>
              </a:solidFill>
              <a:ln w="2604" cap="flat">
                <a:noFill/>
                <a:prstDash val="solid"/>
                <a:miter/>
              </a:ln>
            </p:spPr>
            <p:txBody>
              <a:bodyPr rtlCol="0" anchor="ctr"/>
              <a:lstStyle/>
              <a:p>
                <a:endParaRPr lang="en-GB" dirty="0"/>
              </a:p>
            </p:txBody>
          </p:sp>
          <p:sp>
            <p:nvSpPr>
              <p:cNvPr id="284" name="Freihandform: Form 469">
                <a:extLst>
                  <a:ext uri="{FF2B5EF4-FFF2-40B4-BE49-F238E27FC236}">
                    <a16:creationId xmlns:a16="http://schemas.microsoft.com/office/drawing/2014/main" id="{64B94968-19AD-405A-BE06-A3115B7B5715}"/>
                  </a:ext>
                </a:extLst>
              </p:cNvPr>
              <p:cNvSpPr/>
              <p:nvPr/>
            </p:nvSpPr>
            <p:spPr>
              <a:xfrm>
                <a:off x="1287019" y="4462122"/>
                <a:ext cx="13160" cy="98691"/>
              </a:xfrm>
              <a:custGeom>
                <a:avLst/>
                <a:gdLst>
                  <a:gd name="connsiteX0" fmla="*/ 0 w 13160"/>
                  <a:gd name="connsiteY0" fmla="*/ 0 h 98691"/>
                  <a:gd name="connsiteX1" fmla="*/ 13161 w 13160"/>
                  <a:gd name="connsiteY1" fmla="*/ 0 h 98691"/>
                  <a:gd name="connsiteX2" fmla="*/ 13161 w 13160"/>
                  <a:gd name="connsiteY2" fmla="*/ 98691 h 98691"/>
                  <a:gd name="connsiteX3" fmla="*/ 0 w 13160"/>
                  <a:gd name="connsiteY3" fmla="*/ 98691 h 98691"/>
                </a:gdLst>
                <a:ahLst/>
                <a:cxnLst>
                  <a:cxn ang="0">
                    <a:pos x="connsiteX0" y="connsiteY0"/>
                  </a:cxn>
                  <a:cxn ang="0">
                    <a:pos x="connsiteX1" y="connsiteY1"/>
                  </a:cxn>
                  <a:cxn ang="0">
                    <a:pos x="connsiteX2" y="connsiteY2"/>
                  </a:cxn>
                  <a:cxn ang="0">
                    <a:pos x="connsiteX3" y="connsiteY3"/>
                  </a:cxn>
                </a:cxnLst>
                <a:rect l="l" t="t" r="r" b="b"/>
                <a:pathLst>
                  <a:path w="13160" h="98691">
                    <a:moveTo>
                      <a:pt x="0" y="0"/>
                    </a:moveTo>
                    <a:lnTo>
                      <a:pt x="13161" y="0"/>
                    </a:lnTo>
                    <a:lnTo>
                      <a:pt x="13161" y="98691"/>
                    </a:lnTo>
                    <a:lnTo>
                      <a:pt x="0" y="98691"/>
                    </a:lnTo>
                    <a:close/>
                  </a:path>
                </a:pathLst>
              </a:custGeom>
              <a:solidFill>
                <a:schemeClr val="tx2"/>
              </a:solidFill>
              <a:ln w="2604" cap="flat">
                <a:noFill/>
                <a:prstDash val="solid"/>
                <a:miter/>
              </a:ln>
            </p:spPr>
            <p:txBody>
              <a:bodyPr rtlCol="0" anchor="ctr"/>
              <a:lstStyle/>
              <a:p>
                <a:endParaRPr lang="en-GB" dirty="0"/>
              </a:p>
            </p:txBody>
          </p:sp>
          <p:sp>
            <p:nvSpPr>
              <p:cNvPr id="285" name="Freihandform: Form 470">
                <a:extLst>
                  <a:ext uri="{FF2B5EF4-FFF2-40B4-BE49-F238E27FC236}">
                    <a16:creationId xmlns:a16="http://schemas.microsoft.com/office/drawing/2014/main" id="{93524A05-8B95-422F-8351-B542FB49BF61}"/>
                  </a:ext>
                </a:extLst>
              </p:cNvPr>
              <p:cNvSpPr/>
              <p:nvPr/>
            </p:nvSpPr>
            <p:spPr>
              <a:xfrm>
                <a:off x="1216317" y="4258172"/>
                <a:ext cx="175987" cy="217110"/>
              </a:xfrm>
              <a:custGeom>
                <a:avLst/>
                <a:gdLst>
                  <a:gd name="connsiteX0" fmla="*/ 169394 w 175987"/>
                  <a:gd name="connsiteY0" fmla="*/ 217111 h 217110"/>
                  <a:gd name="connsiteX1" fmla="*/ 149666 w 175987"/>
                  <a:gd name="connsiteY1" fmla="*/ 217111 h 217110"/>
                  <a:gd name="connsiteX2" fmla="*/ 149666 w 175987"/>
                  <a:gd name="connsiteY2" fmla="*/ 203950 h 217110"/>
                  <a:gd name="connsiteX3" fmla="*/ 162826 w 175987"/>
                  <a:gd name="connsiteY3" fmla="*/ 203950 h 217110"/>
                  <a:gd name="connsiteX4" fmla="*/ 162826 w 175987"/>
                  <a:gd name="connsiteY4" fmla="*/ 85531 h 217110"/>
                  <a:gd name="connsiteX5" fmla="*/ 97050 w 175987"/>
                  <a:gd name="connsiteY5" fmla="*/ 13161 h 217110"/>
                  <a:gd name="connsiteX6" fmla="*/ 57568 w 175987"/>
                  <a:gd name="connsiteY6" fmla="*/ 13161 h 217110"/>
                  <a:gd name="connsiteX7" fmla="*/ 9877 w 175987"/>
                  <a:gd name="connsiteY7" fmla="*/ 34296 h 217110"/>
                  <a:gd name="connsiteX8" fmla="*/ 0 w 175987"/>
                  <a:gd name="connsiteY8" fmla="*/ 25618 h 217110"/>
                  <a:gd name="connsiteX9" fmla="*/ 57568 w 175987"/>
                  <a:gd name="connsiteY9" fmla="*/ 0 h 217110"/>
                  <a:gd name="connsiteX10" fmla="*/ 97050 w 175987"/>
                  <a:gd name="connsiteY10" fmla="*/ 0 h 217110"/>
                  <a:gd name="connsiteX11" fmla="*/ 175987 w 175987"/>
                  <a:gd name="connsiteY11" fmla="*/ 85531 h 217110"/>
                  <a:gd name="connsiteX12" fmla="*/ 175987 w 175987"/>
                  <a:gd name="connsiteY12" fmla="*/ 210517 h 217110"/>
                  <a:gd name="connsiteX13" fmla="*/ 169394 w 175987"/>
                  <a:gd name="connsiteY13" fmla="*/ 217111 h 21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987" h="217110">
                    <a:moveTo>
                      <a:pt x="169394" y="217111"/>
                    </a:moveTo>
                    <a:lnTo>
                      <a:pt x="149666" y="217111"/>
                    </a:lnTo>
                    <a:lnTo>
                      <a:pt x="149666" y="203950"/>
                    </a:lnTo>
                    <a:lnTo>
                      <a:pt x="162826" y="203950"/>
                    </a:lnTo>
                    <a:lnTo>
                      <a:pt x="162826" y="85531"/>
                    </a:lnTo>
                    <a:cubicBezTo>
                      <a:pt x="162826" y="43599"/>
                      <a:pt x="135150" y="13161"/>
                      <a:pt x="97050" y="13161"/>
                    </a:cubicBezTo>
                    <a:lnTo>
                      <a:pt x="57568" y="13161"/>
                    </a:lnTo>
                    <a:cubicBezTo>
                      <a:pt x="38518" y="13161"/>
                      <a:pt x="22047" y="20484"/>
                      <a:pt x="9877" y="34296"/>
                    </a:cubicBezTo>
                    <a:lnTo>
                      <a:pt x="0" y="25618"/>
                    </a:lnTo>
                    <a:cubicBezTo>
                      <a:pt x="14516" y="9095"/>
                      <a:pt x="34973" y="0"/>
                      <a:pt x="57568" y="0"/>
                    </a:cubicBezTo>
                    <a:lnTo>
                      <a:pt x="97050" y="0"/>
                    </a:lnTo>
                    <a:cubicBezTo>
                      <a:pt x="142056" y="0"/>
                      <a:pt x="175987" y="36772"/>
                      <a:pt x="175987" y="85531"/>
                    </a:cubicBezTo>
                    <a:lnTo>
                      <a:pt x="175987" y="210517"/>
                    </a:lnTo>
                    <a:cubicBezTo>
                      <a:pt x="175961" y="214166"/>
                      <a:pt x="173016" y="217111"/>
                      <a:pt x="169394" y="217111"/>
                    </a:cubicBezTo>
                    <a:close/>
                  </a:path>
                </a:pathLst>
              </a:custGeom>
              <a:solidFill>
                <a:schemeClr val="tx2"/>
              </a:solidFill>
              <a:ln w="2604" cap="flat">
                <a:noFill/>
                <a:prstDash val="solid"/>
                <a:miter/>
              </a:ln>
            </p:spPr>
            <p:txBody>
              <a:bodyPr rtlCol="0" anchor="ctr"/>
              <a:lstStyle/>
              <a:p>
                <a:endParaRPr lang="en-GB" dirty="0"/>
              </a:p>
            </p:txBody>
          </p:sp>
          <p:sp>
            <p:nvSpPr>
              <p:cNvPr id="286" name="Freihandform: Form 471">
                <a:extLst>
                  <a:ext uri="{FF2B5EF4-FFF2-40B4-BE49-F238E27FC236}">
                    <a16:creationId xmlns:a16="http://schemas.microsoft.com/office/drawing/2014/main" id="{7AE35C6A-5B1D-4D71-B6D4-B8FA94DEA389}"/>
                  </a:ext>
                </a:extLst>
              </p:cNvPr>
              <p:cNvSpPr/>
              <p:nvPr/>
            </p:nvSpPr>
            <p:spPr>
              <a:xfrm>
                <a:off x="1247563" y="4139805"/>
                <a:ext cx="92098" cy="105232"/>
              </a:xfrm>
              <a:custGeom>
                <a:avLst/>
                <a:gdLst>
                  <a:gd name="connsiteX0" fmla="*/ 46049 w 92098"/>
                  <a:gd name="connsiteY0" fmla="*/ 105233 h 105232"/>
                  <a:gd name="connsiteX1" fmla="*/ 0 w 92098"/>
                  <a:gd name="connsiteY1" fmla="*/ 52616 h 105232"/>
                  <a:gd name="connsiteX2" fmla="*/ 46049 w 92098"/>
                  <a:gd name="connsiteY2" fmla="*/ 0 h 105232"/>
                  <a:gd name="connsiteX3" fmla="*/ 92098 w 92098"/>
                  <a:gd name="connsiteY3" fmla="*/ 52616 h 105232"/>
                  <a:gd name="connsiteX4" fmla="*/ 46049 w 92098"/>
                  <a:gd name="connsiteY4" fmla="*/ 105233 h 105232"/>
                  <a:gd name="connsiteX5" fmla="*/ 46049 w 92098"/>
                  <a:gd name="connsiteY5" fmla="*/ 13134 h 105232"/>
                  <a:gd name="connsiteX6" fmla="*/ 13161 w 92098"/>
                  <a:gd name="connsiteY6" fmla="*/ 52616 h 105232"/>
                  <a:gd name="connsiteX7" fmla="*/ 46049 w 92098"/>
                  <a:gd name="connsiteY7" fmla="*/ 92098 h 105232"/>
                  <a:gd name="connsiteX8" fmla="*/ 78938 w 92098"/>
                  <a:gd name="connsiteY8" fmla="*/ 52616 h 105232"/>
                  <a:gd name="connsiteX9" fmla="*/ 46049 w 92098"/>
                  <a:gd name="connsiteY9" fmla="*/ 13134 h 10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98" h="105232">
                    <a:moveTo>
                      <a:pt x="46049" y="105233"/>
                    </a:moveTo>
                    <a:cubicBezTo>
                      <a:pt x="18503" y="105233"/>
                      <a:pt x="0" y="84071"/>
                      <a:pt x="0" y="52616"/>
                    </a:cubicBezTo>
                    <a:cubicBezTo>
                      <a:pt x="0" y="21135"/>
                      <a:pt x="18503" y="0"/>
                      <a:pt x="46049" y="0"/>
                    </a:cubicBezTo>
                    <a:cubicBezTo>
                      <a:pt x="73595" y="0"/>
                      <a:pt x="92098" y="21161"/>
                      <a:pt x="92098" y="52616"/>
                    </a:cubicBezTo>
                    <a:cubicBezTo>
                      <a:pt x="92098" y="84071"/>
                      <a:pt x="73595" y="105233"/>
                      <a:pt x="46049" y="105233"/>
                    </a:cubicBezTo>
                    <a:close/>
                    <a:moveTo>
                      <a:pt x="46049" y="13134"/>
                    </a:moveTo>
                    <a:cubicBezTo>
                      <a:pt x="21761" y="13134"/>
                      <a:pt x="13161" y="34400"/>
                      <a:pt x="13161" y="52616"/>
                    </a:cubicBezTo>
                    <a:cubicBezTo>
                      <a:pt x="13161" y="70833"/>
                      <a:pt x="21787" y="92098"/>
                      <a:pt x="46049" y="92098"/>
                    </a:cubicBezTo>
                    <a:cubicBezTo>
                      <a:pt x="70311" y="92098"/>
                      <a:pt x="78938" y="70833"/>
                      <a:pt x="78938" y="52616"/>
                    </a:cubicBezTo>
                    <a:cubicBezTo>
                      <a:pt x="78938" y="34400"/>
                      <a:pt x="70311" y="13134"/>
                      <a:pt x="46049" y="13134"/>
                    </a:cubicBezTo>
                    <a:close/>
                  </a:path>
                </a:pathLst>
              </a:custGeom>
              <a:solidFill>
                <a:schemeClr val="tx2"/>
              </a:solidFill>
              <a:ln w="2604" cap="flat">
                <a:noFill/>
                <a:prstDash val="solid"/>
                <a:miter/>
              </a:ln>
            </p:spPr>
            <p:txBody>
              <a:bodyPr rtlCol="0" anchor="ctr"/>
              <a:lstStyle/>
              <a:p>
                <a:endParaRPr lang="en-GB" dirty="0"/>
              </a:p>
            </p:txBody>
          </p:sp>
          <p:grpSp>
            <p:nvGrpSpPr>
              <p:cNvPr id="287" name="Grafik 234">
                <a:extLst>
                  <a:ext uri="{FF2B5EF4-FFF2-40B4-BE49-F238E27FC236}">
                    <a16:creationId xmlns:a16="http://schemas.microsoft.com/office/drawing/2014/main" id="{0C0E745F-D8A0-46E4-B15E-800625AC2381}"/>
                  </a:ext>
                </a:extLst>
              </p:cNvPr>
              <p:cNvGrpSpPr/>
              <p:nvPr/>
            </p:nvGrpSpPr>
            <p:grpSpPr>
              <a:xfrm>
                <a:off x="1287019" y="4317381"/>
                <a:ext cx="13160" cy="92124"/>
                <a:chOff x="1287019" y="4317381"/>
                <a:chExt cx="13160" cy="92124"/>
              </a:xfrm>
              <a:solidFill>
                <a:schemeClr val="tx2"/>
              </a:solidFill>
            </p:grpSpPr>
            <p:sp>
              <p:nvSpPr>
                <p:cNvPr id="297" name="Freihandform: Form 473">
                  <a:extLst>
                    <a:ext uri="{FF2B5EF4-FFF2-40B4-BE49-F238E27FC236}">
                      <a16:creationId xmlns:a16="http://schemas.microsoft.com/office/drawing/2014/main" id="{82346E3D-6917-4BBF-AF2C-1C2580E4CF60}"/>
                    </a:ext>
                  </a:extLst>
                </p:cNvPr>
                <p:cNvSpPr/>
                <p:nvPr/>
              </p:nvSpPr>
              <p:spPr>
                <a:xfrm>
                  <a:off x="1287019" y="4317381"/>
                  <a:ext cx="13160" cy="13160"/>
                </a:xfrm>
                <a:custGeom>
                  <a:avLst/>
                  <a:gdLst>
                    <a:gd name="connsiteX0" fmla="*/ 0 w 13160"/>
                    <a:gd name="connsiteY0" fmla="*/ 0 h 13160"/>
                    <a:gd name="connsiteX1" fmla="*/ 13161 w 13160"/>
                    <a:gd name="connsiteY1" fmla="*/ 0 h 13160"/>
                    <a:gd name="connsiteX2" fmla="*/ 13161 w 13160"/>
                    <a:gd name="connsiteY2" fmla="*/ 13161 h 13160"/>
                    <a:gd name="connsiteX3" fmla="*/ 0 w 13160"/>
                    <a:gd name="connsiteY3" fmla="*/ 13161 h 13160"/>
                  </a:gdLst>
                  <a:ahLst/>
                  <a:cxnLst>
                    <a:cxn ang="0">
                      <a:pos x="connsiteX0" y="connsiteY0"/>
                    </a:cxn>
                    <a:cxn ang="0">
                      <a:pos x="connsiteX1" y="connsiteY1"/>
                    </a:cxn>
                    <a:cxn ang="0">
                      <a:pos x="connsiteX2" y="connsiteY2"/>
                    </a:cxn>
                    <a:cxn ang="0">
                      <a:pos x="connsiteX3" y="connsiteY3"/>
                    </a:cxn>
                  </a:cxnLst>
                  <a:rect l="l" t="t" r="r" b="b"/>
                  <a:pathLst>
                    <a:path w="13160" h="13160">
                      <a:moveTo>
                        <a:pt x="0" y="0"/>
                      </a:moveTo>
                      <a:lnTo>
                        <a:pt x="13161" y="0"/>
                      </a:lnTo>
                      <a:lnTo>
                        <a:pt x="13161" y="13161"/>
                      </a:lnTo>
                      <a:lnTo>
                        <a:pt x="0" y="13161"/>
                      </a:lnTo>
                      <a:close/>
                    </a:path>
                  </a:pathLst>
                </a:custGeom>
                <a:solidFill>
                  <a:schemeClr val="accent1"/>
                </a:solidFill>
                <a:ln w="2604" cap="flat">
                  <a:noFill/>
                  <a:prstDash val="solid"/>
                  <a:miter/>
                </a:ln>
              </p:spPr>
              <p:txBody>
                <a:bodyPr rtlCol="0" anchor="ctr"/>
                <a:lstStyle/>
                <a:p>
                  <a:endParaRPr lang="en-GB" dirty="0"/>
                </a:p>
              </p:txBody>
            </p:sp>
            <p:sp>
              <p:nvSpPr>
                <p:cNvPr id="298" name="Freihandform: Form 474">
                  <a:extLst>
                    <a:ext uri="{FF2B5EF4-FFF2-40B4-BE49-F238E27FC236}">
                      <a16:creationId xmlns:a16="http://schemas.microsoft.com/office/drawing/2014/main" id="{CA3CD049-408D-461D-84D6-2329C72A9092}"/>
                    </a:ext>
                  </a:extLst>
                </p:cNvPr>
                <p:cNvSpPr/>
                <p:nvPr/>
              </p:nvSpPr>
              <p:spPr>
                <a:xfrm>
                  <a:off x="1287019" y="4356863"/>
                  <a:ext cx="13160" cy="13160"/>
                </a:xfrm>
                <a:custGeom>
                  <a:avLst/>
                  <a:gdLst>
                    <a:gd name="connsiteX0" fmla="*/ 0 w 13160"/>
                    <a:gd name="connsiteY0" fmla="*/ 0 h 13160"/>
                    <a:gd name="connsiteX1" fmla="*/ 13161 w 13160"/>
                    <a:gd name="connsiteY1" fmla="*/ 0 h 13160"/>
                    <a:gd name="connsiteX2" fmla="*/ 13161 w 13160"/>
                    <a:gd name="connsiteY2" fmla="*/ 13161 h 13160"/>
                    <a:gd name="connsiteX3" fmla="*/ 0 w 13160"/>
                    <a:gd name="connsiteY3" fmla="*/ 13161 h 13160"/>
                  </a:gdLst>
                  <a:ahLst/>
                  <a:cxnLst>
                    <a:cxn ang="0">
                      <a:pos x="connsiteX0" y="connsiteY0"/>
                    </a:cxn>
                    <a:cxn ang="0">
                      <a:pos x="connsiteX1" y="connsiteY1"/>
                    </a:cxn>
                    <a:cxn ang="0">
                      <a:pos x="connsiteX2" y="connsiteY2"/>
                    </a:cxn>
                    <a:cxn ang="0">
                      <a:pos x="connsiteX3" y="connsiteY3"/>
                    </a:cxn>
                  </a:cxnLst>
                  <a:rect l="l" t="t" r="r" b="b"/>
                  <a:pathLst>
                    <a:path w="13160" h="13160">
                      <a:moveTo>
                        <a:pt x="0" y="0"/>
                      </a:moveTo>
                      <a:lnTo>
                        <a:pt x="13161" y="0"/>
                      </a:lnTo>
                      <a:lnTo>
                        <a:pt x="13161" y="13161"/>
                      </a:lnTo>
                      <a:lnTo>
                        <a:pt x="0" y="13161"/>
                      </a:lnTo>
                      <a:close/>
                    </a:path>
                  </a:pathLst>
                </a:custGeom>
                <a:solidFill>
                  <a:schemeClr val="accent1"/>
                </a:solidFill>
                <a:ln w="2604" cap="flat">
                  <a:noFill/>
                  <a:prstDash val="solid"/>
                  <a:miter/>
                </a:ln>
              </p:spPr>
              <p:txBody>
                <a:bodyPr rtlCol="0" anchor="ctr"/>
                <a:lstStyle/>
                <a:p>
                  <a:endParaRPr lang="en-GB" dirty="0"/>
                </a:p>
              </p:txBody>
            </p:sp>
            <p:sp>
              <p:nvSpPr>
                <p:cNvPr id="299" name="Freihandform: Form 475">
                  <a:extLst>
                    <a:ext uri="{FF2B5EF4-FFF2-40B4-BE49-F238E27FC236}">
                      <a16:creationId xmlns:a16="http://schemas.microsoft.com/office/drawing/2014/main" id="{359A29D4-3274-4A6B-92FE-F579EFEA5EC3}"/>
                    </a:ext>
                  </a:extLst>
                </p:cNvPr>
                <p:cNvSpPr/>
                <p:nvPr/>
              </p:nvSpPr>
              <p:spPr>
                <a:xfrm>
                  <a:off x="1287019" y="4396345"/>
                  <a:ext cx="13160" cy="13160"/>
                </a:xfrm>
                <a:custGeom>
                  <a:avLst/>
                  <a:gdLst>
                    <a:gd name="connsiteX0" fmla="*/ 0 w 13160"/>
                    <a:gd name="connsiteY0" fmla="*/ 0 h 13160"/>
                    <a:gd name="connsiteX1" fmla="*/ 13161 w 13160"/>
                    <a:gd name="connsiteY1" fmla="*/ 0 h 13160"/>
                    <a:gd name="connsiteX2" fmla="*/ 13161 w 13160"/>
                    <a:gd name="connsiteY2" fmla="*/ 13161 h 13160"/>
                    <a:gd name="connsiteX3" fmla="*/ 0 w 13160"/>
                    <a:gd name="connsiteY3" fmla="*/ 13161 h 13160"/>
                  </a:gdLst>
                  <a:ahLst/>
                  <a:cxnLst>
                    <a:cxn ang="0">
                      <a:pos x="connsiteX0" y="connsiteY0"/>
                    </a:cxn>
                    <a:cxn ang="0">
                      <a:pos x="connsiteX1" y="connsiteY1"/>
                    </a:cxn>
                    <a:cxn ang="0">
                      <a:pos x="connsiteX2" y="connsiteY2"/>
                    </a:cxn>
                    <a:cxn ang="0">
                      <a:pos x="connsiteX3" y="connsiteY3"/>
                    </a:cxn>
                  </a:cxnLst>
                  <a:rect l="l" t="t" r="r" b="b"/>
                  <a:pathLst>
                    <a:path w="13160" h="13160">
                      <a:moveTo>
                        <a:pt x="0" y="0"/>
                      </a:moveTo>
                      <a:lnTo>
                        <a:pt x="13161" y="0"/>
                      </a:lnTo>
                      <a:lnTo>
                        <a:pt x="13161" y="13161"/>
                      </a:lnTo>
                      <a:lnTo>
                        <a:pt x="0" y="13161"/>
                      </a:lnTo>
                      <a:close/>
                    </a:path>
                  </a:pathLst>
                </a:custGeom>
                <a:solidFill>
                  <a:schemeClr val="accent1"/>
                </a:solidFill>
                <a:ln w="2604" cap="flat">
                  <a:noFill/>
                  <a:prstDash val="solid"/>
                  <a:miter/>
                </a:ln>
              </p:spPr>
              <p:txBody>
                <a:bodyPr rtlCol="0" anchor="ctr"/>
                <a:lstStyle/>
                <a:p>
                  <a:endParaRPr lang="en-GB" dirty="0"/>
                </a:p>
              </p:txBody>
            </p:sp>
          </p:grpSp>
          <p:sp>
            <p:nvSpPr>
              <p:cNvPr id="288" name="Freihandform: Form 477">
                <a:extLst>
                  <a:ext uri="{FF2B5EF4-FFF2-40B4-BE49-F238E27FC236}">
                    <a16:creationId xmlns:a16="http://schemas.microsoft.com/office/drawing/2014/main" id="{2B955B6E-2C3F-40C4-9AA2-B46BE6FACA61}"/>
                  </a:ext>
                </a:extLst>
              </p:cNvPr>
              <p:cNvSpPr/>
              <p:nvPr/>
            </p:nvSpPr>
            <p:spPr>
              <a:xfrm>
                <a:off x="997564" y="4442394"/>
                <a:ext cx="13160" cy="118393"/>
              </a:xfrm>
              <a:custGeom>
                <a:avLst/>
                <a:gdLst>
                  <a:gd name="connsiteX0" fmla="*/ 13161 w 13160"/>
                  <a:gd name="connsiteY0" fmla="*/ 118393 h 118393"/>
                  <a:gd name="connsiteX1" fmla="*/ 0 w 13160"/>
                  <a:gd name="connsiteY1" fmla="*/ 118393 h 118393"/>
                  <a:gd name="connsiteX2" fmla="*/ 0 w 13160"/>
                  <a:gd name="connsiteY2" fmla="*/ 0 h 118393"/>
                  <a:gd name="connsiteX3" fmla="*/ 13161 w 13160"/>
                  <a:gd name="connsiteY3" fmla="*/ 19728 h 118393"/>
                </a:gdLst>
                <a:ahLst/>
                <a:cxnLst>
                  <a:cxn ang="0">
                    <a:pos x="connsiteX0" y="connsiteY0"/>
                  </a:cxn>
                  <a:cxn ang="0">
                    <a:pos x="connsiteX1" y="connsiteY1"/>
                  </a:cxn>
                  <a:cxn ang="0">
                    <a:pos x="connsiteX2" y="connsiteY2"/>
                  </a:cxn>
                  <a:cxn ang="0">
                    <a:pos x="connsiteX3" y="connsiteY3"/>
                  </a:cxn>
                </a:cxnLst>
                <a:rect l="l" t="t" r="r" b="b"/>
                <a:pathLst>
                  <a:path w="13160" h="118393">
                    <a:moveTo>
                      <a:pt x="13161" y="118393"/>
                    </a:moveTo>
                    <a:lnTo>
                      <a:pt x="0" y="118393"/>
                    </a:lnTo>
                    <a:lnTo>
                      <a:pt x="0" y="0"/>
                    </a:lnTo>
                    <a:lnTo>
                      <a:pt x="13161" y="19728"/>
                    </a:lnTo>
                    <a:close/>
                  </a:path>
                </a:pathLst>
              </a:custGeom>
              <a:solidFill>
                <a:schemeClr val="tx2"/>
              </a:solidFill>
              <a:ln w="2604" cap="flat">
                <a:noFill/>
                <a:prstDash val="solid"/>
                <a:miter/>
              </a:ln>
            </p:spPr>
            <p:txBody>
              <a:bodyPr rtlCol="0" anchor="ctr"/>
              <a:lstStyle/>
              <a:p>
                <a:endParaRPr lang="en-GB" dirty="0"/>
              </a:p>
            </p:txBody>
          </p:sp>
          <p:sp>
            <p:nvSpPr>
              <p:cNvPr id="289" name="Freihandform: Form 478">
                <a:extLst>
                  <a:ext uri="{FF2B5EF4-FFF2-40B4-BE49-F238E27FC236}">
                    <a16:creationId xmlns:a16="http://schemas.microsoft.com/office/drawing/2014/main" id="{38B3F6ED-6EC0-4AE6-A2D9-31031DA40067}"/>
                  </a:ext>
                </a:extLst>
              </p:cNvPr>
              <p:cNvSpPr/>
              <p:nvPr/>
            </p:nvSpPr>
            <p:spPr>
              <a:xfrm>
                <a:off x="885738" y="4356837"/>
                <a:ext cx="19727" cy="203950"/>
              </a:xfrm>
              <a:custGeom>
                <a:avLst/>
                <a:gdLst>
                  <a:gd name="connsiteX0" fmla="*/ 19728 w 19727"/>
                  <a:gd name="connsiteY0" fmla="*/ 203950 h 203950"/>
                  <a:gd name="connsiteX1" fmla="*/ 6567 w 19727"/>
                  <a:gd name="connsiteY1" fmla="*/ 203950 h 203950"/>
                  <a:gd name="connsiteX2" fmla="*/ 6567 w 19727"/>
                  <a:gd name="connsiteY2" fmla="*/ 13161 h 203950"/>
                  <a:gd name="connsiteX3" fmla="*/ 0 w 19727"/>
                  <a:gd name="connsiteY3" fmla="*/ 13161 h 203950"/>
                  <a:gd name="connsiteX4" fmla="*/ 0 w 19727"/>
                  <a:gd name="connsiteY4" fmla="*/ 0 h 203950"/>
                  <a:gd name="connsiteX5" fmla="*/ 13161 w 19727"/>
                  <a:gd name="connsiteY5" fmla="*/ 0 h 203950"/>
                  <a:gd name="connsiteX6" fmla="*/ 19728 w 19727"/>
                  <a:gd name="connsiteY6" fmla="*/ 6567 h 203950"/>
                  <a:gd name="connsiteX7" fmla="*/ 19728 w 19727"/>
                  <a:gd name="connsiteY7" fmla="*/ 203950 h 203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27" h="203950">
                    <a:moveTo>
                      <a:pt x="19728" y="203950"/>
                    </a:moveTo>
                    <a:lnTo>
                      <a:pt x="6567" y="203950"/>
                    </a:lnTo>
                    <a:lnTo>
                      <a:pt x="6567" y="13161"/>
                    </a:lnTo>
                    <a:lnTo>
                      <a:pt x="0" y="13161"/>
                    </a:lnTo>
                    <a:lnTo>
                      <a:pt x="0" y="0"/>
                    </a:lnTo>
                    <a:lnTo>
                      <a:pt x="13161" y="0"/>
                    </a:lnTo>
                    <a:cubicBezTo>
                      <a:pt x="16783" y="0"/>
                      <a:pt x="19728" y="2945"/>
                      <a:pt x="19728" y="6567"/>
                    </a:cubicBezTo>
                    <a:lnTo>
                      <a:pt x="19728" y="203950"/>
                    </a:lnTo>
                    <a:close/>
                  </a:path>
                </a:pathLst>
              </a:custGeom>
              <a:solidFill>
                <a:schemeClr val="tx2"/>
              </a:solidFill>
              <a:ln w="2604" cap="flat">
                <a:noFill/>
                <a:prstDash val="solid"/>
                <a:miter/>
              </a:ln>
            </p:spPr>
            <p:txBody>
              <a:bodyPr rtlCol="0" anchor="ctr"/>
              <a:lstStyle/>
              <a:p>
                <a:endParaRPr lang="en-GB" dirty="0"/>
              </a:p>
            </p:txBody>
          </p:sp>
          <p:sp>
            <p:nvSpPr>
              <p:cNvPr id="290" name="Freihandform: Form 479">
                <a:extLst>
                  <a:ext uri="{FF2B5EF4-FFF2-40B4-BE49-F238E27FC236}">
                    <a16:creationId xmlns:a16="http://schemas.microsoft.com/office/drawing/2014/main" id="{DEE65206-2EA9-4F1B-B211-C174CA277BB1}"/>
                  </a:ext>
                </a:extLst>
              </p:cNvPr>
              <p:cNvSpPr/>
              <p:nvPr/>
            </p:nvSpPr>
            <p:spPr>
              <a:xfrm>
                <a:off x="944948" y="4462122"/>
                <a:ext cx="13160" cy="98691"/>
              </a:xfrm>
              <a:custGeom>
                <a:avLst/>
                <a:gdLst>
                  <a:gd name="connsiteX0" fmla="*/ 0 w 13160"/>
                  <a:gd name="connsiteY0" fmla="*/ 0 h 98691"/>
                  <a:gd name="connsiteX1" fmla="*/ 13161 w 13160"/>
                  <a:gd name="connsiteY1" fmla="*/ 0 h 98691"/>
                  <a:gd name="connsiteX2" fmla="*/ 13161 w 13160"/>
                  <a:gd name="connsiteY2" fmla="*/ 98691 h 98691"/>
                  <a:gd name="connsiteX3" fmla="*/ 0 w 13160"/>
                  <a:gd name="connsiteY3" fmla="*/ 98691 h 98691"/>
                </a:gdLst>
                <a:ahLst/>
                <a:cxnLst>
                  <a:cxn ang="0">
                    <a:pos x="connsiteX0" y="connsiteY0"/>
                  </a:cxn>
                  <a:cxn ang="0">
                    <a:pos x="connsiteX1" y="connsiteY1"/>
                  </a:cxn>
                  <a:cxn ang="0">
                    <a:pos x="connsiteX2" y="connsiteY2"/>
                  </a:cxn>
                  <a:cxn ang="0">
                    <a:pos x="connsiteX3" y="connsiteY3"/>
                  </a:cxn>
                </a:cxnLst>
                <a:rect l="l" t="t" r="r" b="b"/>
                <a:pathLst>
                  <a:path w="13160" h="98691">
                    <a:moveTo>
                      <a:pt x="0" y="0"/>
                    </a:moveTo>
                    <a:lnTo>
                      <a:pt x="13161" y="0"/>
                    </a:lnTo>
                    <a:lnTo>
                      <a:pt x="13161" y="98691"/>
                    </a:lnTo>
                    <a:lnTo>
                      <a:pt x="0" y="98691"/>
                    </a:lnTo>
                    <a:close/>
                  </a:path>
                </a:pathLst>
              </a:custGeom>
              <a:solidFill>
                <a:schemeClr val="tx2"/>
              </a:solidFill>
              <a:ln w="2604" cap="flat">
                <a:noFill/>
                <a:prstDash val="solid"/>
                <a:miter/>
              </a:ln>
            </p:spPr>
            <p:txBody>
              <a:bodyPr rtlCol="0" anchor="ctr"/>
              <a:lstStyle/>
              <a:p>
                <a:endParaRPr lang="en-GB" dirty="0"/>
              </a:p>
            </p:txBody>
          </p:sp>
          <p:sp>
            <p:nvSpPr>
              <p:cNvPr id="291" name="Freihandform: Form 480">
                <a:extLst>
                  <a:ext uri="{FF2B5EF4-FFF2-40B4-BE49-F238E27FC236}">
                    <a16:creationId xmlns:a16="http://schemas.microsoft.com/office/drawing/2014/main" id="{EF1DBB1D-0E31-499A-AE00-79D2F0719E0B}"/>
                  </a:ext>
                </a:extLst>
              </p:cNvPr>
              <p:cNvSpPr/>
              <p:nvPr/>
            </p:nvSpPr>
            <p:spPr>
              <a:xfrm>
                <a:off x="852850" y="4258198"/>
                <a:ext cx="175987" cy="217084"/>
              </a:xfrm>
              <a:custGeom>
                <a:avLst/>
                <a:gdLst>
                  <a:gd name="connsiteX0" fmla="*/ 26295 w 175987"/>
                  <a:gd name="connsiteY0" fmla="*/ 217085 h 217084"/>
                  <a:gd name="connsiteX1" fmla="*/ 6567 w 175987"/>
                  <a:gd name="connsiteY1" fmla="*/ 217085 h 217084"/>
                  <a:gd name="connsiteX2" fmla="*/ 0 w 175987"/>
                  <a:gd name="connsiteY2" fmla="*/ 210517 h 217084"/>
                  <a:gd name="connsiteX3" fmla="*/ 0 w 175987"/>
                  <a:gd name="connsiteY3" fmla="*/ 85531 h 217084"/>
                  <a:gd name="connsiteX4" fmla="*/ 78937 w 175987"/>
                  <a:gd name="connsiteY4" fmla="*/ 0 h 217084"/>
                  <a:gd name="connsiteX5" fmla="*/ 118419 w 175987"/>
                  <a:gd name="connsiteY5" fmla="*/ 0 h 217084"/>
                  <a:gd name="connsiteX6" fmla="*/ 175987 w 175987"/>
                  <a:gd name="connsiteY6" fmla="*/ 25618 h 217084"/>
                  <a:gd name="connsiteX7" fmla="*/ 166110 w 175987"/>
                  <a:gd name="connsiteY7" fmla="*/ 34296 h 217084"/>
                  <a:gd name="connsiteX8" fmla="*/ 118419 w 175987"/>
                  <a:gd name="connsiteY8" fmla="*/ 13161 h 217084"/>
                  <a:gd name="connsiteX9" fmla="*/ 78937 w 175987"/>
                  <a:gd name="connsiteY9" fmla="*/ 13161 h 217084"/>
                  <a:gd name="connsiteX10" fmla="*/ 13161 w 175987"/>
                  <a:gd name="connsiteY10" fmla="*/ 85531 h 217084"/>
                  <a:gd name="connsiteX11" fmla="*/ 13161 w 175987"/>
                  <a:gd name="connsiteY11" fmla="*/ 203950 h 217084"/>
                  <a:gd name="connsiteX12" fmla="*/ 26321 w 175987"/>
                  <a:gd name="connsiteY12" fmla="*/ 203950 h 217084"/>
                  <a:gd name="connsiteX13" fmla="*/ 26321 w 175987"/>
                  <a:gd name="connsiteY13" fmla="*/ 217085 h 217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987" h="217084">
                    <a:moveTo>
                      <a:pt x="26295" y="217085"/>
                    </a:moveTo>
                    <a:lnTo>
                      <a:pt x="6567" y="217085"/>
                    </a:lnTo>
                    <a:cubicBezTo>
                      <a:pt x="2945" y="217085"/>
                      <a:pt x="0" y="214140"/>
                      <a:pt x="0" y="210517"/>
                    </a:cubicBezTo>
                    <a:lnTo>
                      <a:pt x="0" y="85531"/>
                    </a:lnTo>
                    <a:cubicBezTo>
                      <a:pt x="0" y="36771"/>
                      <a:pt x="33931" y="0"/>
                      <a:pt x="78937" y="0"/>
                    </a:cubicBezTo>
                    <a:lnTo>
                      <a:pt x="118419" y="0"/>
                    </a:lnTo>
                    <a:cubicBezTo>
                      <a:pt x="141014" y="0"/>
                      <a:pt x="161471" y="9095"/>
                      <a:pt x="175987" y="25618"/>
                    </a:cubicBezTo>
                    <a:lnTo>
                      <a:pt x="166110" y="34296"/>
                    </a:lnTo>
                    <a:cubicBezTo>
                      <a:pt x="153940" y="20458"/>
                      <a:pt x="137470" y="13161"/>
                      <a:pt x="118419" y="13161"/>
                    </a:cubicBezTo>
                    <a:lnTo>
                      <a:pt x="78937" y="13161"/>
                    </a:lnTo>
                    <a:cubicBezTo>
                      <a:pt x="40811" y="13161"/>
                      <a:pt x="13161" y="43599"/>
                      <a:pt x="13161" y="85531"/>
                    </a:cubicBezTo>
                    <a:lnTo>
                      <a:pt x="13161" y="203950"/>
                    </a:lnTo>
                    <a:lnTo>
                      <a:pt x="26321" y="203950"/>
                    </a:lnTo>
                    <a:lnTo>
                      <a:pt x="26321" y="217085"/>
                    </a:lnTo>
                    <a:close/>
                  </a:path>
                </a:pathLst>
              </a:custGeom>
              <a:solidFill>
                <a:schemeClr val="tx2"/>
              </a:solidFill>
              <a:ln w="2604" cap="flat">
                <a:noFill/>
                <a:prstDash val="solid"/>
                <a:miter/>
              </a:ln>
            </p:spPr>
            <p:txBody>
              <a:bodyPr rtlCol="0" anchor="ctr"/>
              <a:lstStyle/>
              <a:p>
                <a:endParaRPr lang="en-GB" dirty="0"/>
              </a:p>
            </p:txBody>
          </p:sp>
          <p:sp>
            <p:nvSpPr>
              <p:cNvPr id="292" name="Freihandform: Form 481">
                <a:extLst>
                  <a:ext uri="{FF2B5EF4-FFF2-40B4-BE49-F238E27FC236}">
                    <a16:creationId xmlns:a16="http://schemas.microsoft.com/office/drawing/2014/main" id="{7E9E82E8-D07D-4580-AD38-D59FF4785E18}"/>
                  </a:ext>
                </a:extLst>
              </p:cNvPr>
              <p:cNvSpPr/>
              <p:nvPr/>
            </p:nvSpPr>
            <p:spPr>
              <a:xfrm>
                <a:off x="905466" y="4139805"/>
                <a:ext cx="92098" cy="105232"/>
              </a:xfrm>
              <a:custGeom>
                <a:avLst/>
                <a:gdLst>
                  <a:gd name="connsiteX0" fmla="*/ 46049 w 92098"/>
                  <a:gd name="connsiteY0" fmla="*/ 105233 h 105232"/>
                  <a:gd name="connsiteX1" fmla="*/ 0 w 92098"/>
                  <a:gd name="connsiteY1" fmla="*/ 52616 h 105232"/>
                  <a:gd name="connsiteX2" fmla="*/ 46049 w 92098"/>
                  <a:gd name="connsiteY2" fmla="*/ 0 h 105232"/>
                  <a:gd name="connsiteX3" fmla="*/ 92098 w 92098"/>
                  <a:gd name="connsiteY3" fmla="*/ 52616 h 105232"/>
                  <a:gd name="connsiteX4" fmla="*/ 46049 w 92098"/>
                  <a:gd name="connsiteY4" fmla="*/ 105233 h 105232"/>
                  <a:gd name="connsiteX5" fmla="*/ 46049 w 92098"/>
                  <a:gd name="connsiteY5" fmla="*/ 13134 h 105232"/>
                  <a:gd name="connsiteX6" fmla="*/ 13161 w 92098"/>
                  <a:gd name="connsiteY6" fmla="*/ 52616 h 105232"/>
                  <a:gd name="connsiteX7" fmla="*/ 46049 w 92098"/>
                  <a:gd name="connsiteY7" fmla="*/ 92098 h 105232"/>
                  <a:gd name="connsiteX8" fmla="*/ 78937 w 92098"/>
                  <a:gd name="connsiteY8" fmla="*/ 52616 h 105232"/>
                  <a:gd name="connsiteX9" fmla="*/ 46049 w 92098"/>
                  <a:gd name="connsiteY9" fmla="*/ 13134 h 10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98" h="105232">
                    <a:moveTo>
                      <a:pt x="46049" y="105233"/>
                    </a:moveTo>
                    <a:cubicBezTo>
                      <a:pt x="18503" y="105233"/>
                      <a:pt x="0" y="84071"/>
                      <a:pt x="0" y="52616"/>
                    </a:cubicBezTo>
                    <a:cubicBezTo>
                      <a:pt x="0" y="21135"/>
                      <a:pt x="18503" y="0"/>
                      <a:pt x="46049" y="0"/>
                    </a:cubicBezTo>
                    <a:cubicBezTo>
                      <a:pt x="73595" y="0"/>
                      <a:pt x="92098" y="21161"/>
                      <a:pt x="92098" y="52616"/>
                    </a:cubicBezTo>
                    <a:cubicBezTo>
                      <a:pt x="92098" y="84071"/>
                      <a:pt x="73595" y="105233"/>
                      <a:pt x="46049" y="105233"/>
                    </a:cubicBezTo>
                    <a:close/>
                    <a:moveTo>
                      <a:pt x="46049" y="13134"/>
                    </a:moveTo>
                    <a:cubicBezTo>
                      <a:pt x="21761" y="13134"/>
                      <a:pt x="13161" y="34400"/>
                      <a:pt x="13161" y="52616"/>
                    </a:cubicBezTo>
                    <a:cubicBezTo>
                      <a:pt x="13161" y="70833"/>
                      <a:pt x="21787" y="92098"/>
                      <a:pt x="46049" y="92098"/>
                    </a:cubicBezTo>
                    <a:cubicBezTo>
                      <a:pt x="70311" y="92098"/>
                      <a:pt x="78937" y="70833"/>
                      <a:pt x="78937" y="52616"/>
                    </a:cubicBezTo>
                    <a:cubicBezTo>
                      <a:pt x="78937" y="34400"/>
                      <a:pt x="70338" y="13134"/>
                      <a:pt x="46049" y="13134"/>
                    </a:cubicBezTo>
                    <a:close/>
                  </a:path>
                </a:pathLst>
              </a:custGeom>
              <a:solidFill>
                <a:schemeClr val="tx2"/>
              </a:solidFill>
              <a:ln w="2604" cap="flat">
                <a:noFill/>
                <a:prstDash val="solid"/>
                <a:miter/>
              </a:ln>
            </p:spPr>
            <p:txBody>
              <a:bodyPr rtlCol="0" anchor="ctr"/>
              <a:lstStyle/>
              <a:p>
                <a:endParaRPr lang="en-GB" dirty="0"/>
              </a:p>
            </p:txBody>
          </p:sp>
          <p:grpSp>
            <p:nvGrpSpPr>
              <p:cNvPr id="293" name="Grafik 234">
                <a:extLst>
                  <a:ext uri="{FF2B5EF4-FFF2-40B4-BE49-F238E27FC236}">
                    <a16:creationId xmlns:a16="http://schemas.microsoft.com/office/drawing/2014/main" id="{CD392FDF-1923-462B-AF13-78565ACEC928}"/>
                  </a:ext>
                </a:extLst>
              </p:cNvPr>
              <p:cNvGrpSpPr/>
              <p:nvPr/>
            </p:nvGrpSpPr>
            <p:grpSpPr>
              <a:xfrm>
                <a:off x="944948" y="4317381"/>
                <a:ext cx="13160" cy="92124"/>
                <a:chOff x="944948" y="4317381"/>
                <a:chExt cx="13160" cy="92124"/>
              </a:xfrm>
              <a:solidFill>
                <a:schemeClr val="tx2"/>
              </a:solidFill>
            </p:grpSpPr>
            <p:sp>
              <p:nvSpPr>
                <p:cNvPr id="294" name="Freihandform: Form 483">
                  <a:extLst>
                    <a:ext uri="{FF2B5EF4-FFF2-40B4-BE49-F238E27FC236}">
                      <a16:creationId xmlns:a16="http://schemas.microsoft.com/office/drawing/2014/main" id="{577EE46F-0666-40A3-B907-821CF343BFC2}"/>
                    </a:ext>
                  </a:extLst>
                </p:cNvPr>
                <p:cNvSpPr/>
                <p:nvPr/>
              </p:nvSpPr>
              <p:spPr>
                <a:xfrm>
                  <a:off x="944948" y="4317381"/>
                  <a:ext cx="13160" cy="13160"/>
                </a:xfrm>
                <a:custGeom>
                  <a:avLst/>
                  <a:gdLst>
                    <a:gd name="connsiteX0" fmla="*/ 0 w 13160"/>
                    <a:gd name="connsiteY0" fmla="*/ 0 h 13160"/>
                    <a:gd name="connsiteX1" fmla="*/ 13161 w 13160"/>
                    <a:gd name="connsiteY1" fmla="*/ 0 h 13160"/>
                    <a:gd name="connsiteX2" fmla="*/ 13161 w 13160"/>
                    <a:gd name="connsiteY2" fmla="*/ 13161 h 13160"/>
                    <a:gd name="connsiteX3" fmla="*/ 0 w 13160"/>
                    <a:gd name="connsiteY3" fmla="*/ 13161 h 13160"/>
                  </a:gdLst>
                  <a:ahLst/>
                  <a:cxnLst>
                    <a:cxn ang="0">
                      <a:pos x="connsiteX0" y="connsiteY0"/>
                    </a:cxn>
                    <a:cxn ang="0">
                      <a:pos x="connsiteX1" y="connsiteY1"/>
                    </a:cxn>
                    <a:cxn ang="0">
                      <a:pos x="connsiteX2" y="connsiteY2"/>
                    </a:cxn>
                    <a:cxn ang="0">
                      <a:pos x="connsiteX3" y="connsiteY3"/>
                    </a:cxn>
                  </a:cxnLst>
                  <a:rect l="l" t="t" r="r" b="b"/>
                  <a:pathLst>
                    <a:path w="13160" h="13160">
                      <a:moveTo>
                        <a:pt x="0" y="0"/>
                      </a:moveTo>
                      <a:lnTo>
                        <a:pt x="13161" y="0"/>
                      </a:lnTo>
                      <a:lnTo>
                        <a:pt x="13161" y="13161"/>
                      </a:lnTo>
                      <a:lnTo>
                        <a:pt x="0" y="13161"/>
                      </a:lnTo>
                      <a:close/>
                    </a:path>
                  </a:pathLst>
                </a:custGeom>
                <a:solidFill>
                  <a:schemeClr val="accent1"/>
                </a:solidFill>
                <a:ln w="2604" cap="flat">
                  <a:noFill/>
                  <a:prstDash val="solid"/>
                  <a:miter/>
                </a:ln>
              </p:spPr>
              <p:txBody>
                <a:bodyPr rtlCol="0" anchor="ctr"/>
                <a:lstStyle/>
                <a:p>
                  <a:endParaRPr lang="en-GB" dirty="0"/>
                </a:p>
              </p:txBody>
            </p:sp>
            <p:sp>
              <p:nvSpPr>
                <p:cNvPr id="295" name="Freihandform: Form 484">
                  <a:extLst>
                    <a:ext uri="{FF2B5EF4-FFF2-40B4-BE49-F238E27FC236}">
                      <a16:creationId xmlns:a16="http://schemas.microsoft.com/office/drawing/2014/main" id="{D228E245-58F4-418E-9581-F679A331B4D4}"/>
                    </a:ext>
                  </a:extLst>
                </p:cNvPr>
                <p:cNvSpPr/>
                <p:nvPr/>
              </p:nvSpPr>
              <p:spPr>
                <a:xfrm>
                  <a:off x="944948" y="4356863"/>
                  <a:ext cx="13160" cy="13160"/>
                </a:xfrm>
                <a:custGeom>
                  <a:avLst/>
                  <a:gdLst>
                    <a:gd name="connsiteX0" fmla="*/ 0 w 13160"/>
                    <a:gd name="connsiteY0" fmla="*/ 0 h 13160"/>
                    <a:gd name="connsiteX1" fmla="*/ 13161 w 13160"/>
                    <a:gd name="connsiteY1" fmla="*/ 0 h 13160"/>
                    <a:gd name="connsiteX2" fmla="*/ 13161 w 13160"/>
                    <a:gd name="connsiteY2" fmla="*/ 13161 h 13160"/>
                    <a:gd name="connsiteX3" fmla="*/ 0 w 13160"/>
                    <a:gd name="connsiteY3" fmla="*/ 13161 h 13160"/>
                  </a:gdLst>
                  <a:ahLst/>
                  <a:cxnLst>
                    <a:cxn ang="0">
                      <a:pos x="connsiteX0" y="connsiteY0"/>
                    </a:cxn>
                    <a:cxn ang="0">
                      <a:pos x="connsiteX1" y="connsiteY1"/>
                    </a:cxn>
                    <a:cxn ang="0">
                      <a:pos x="connsiteX2" y="connsiteY2"/>
                    </a:cxn>
                    <a:cxn ang="0">
                      <a:pos x="connsiteX3" y="connsiteY3"/>
                    </a:cxn>
                  </a:cxnLst>
                  <a:rect l="l" t="t" r="r" b="b"/>
                  <a:pathLst>
                    <a:path w="13160" h="13160">
                      <a:moveTo>
                        <a:pt x="0" y="0"/>
                      </a:moveTo>
                      <a:lnTo>
                        <a:pt x="13161" y="0"/>
                      </a:lnTo>
                      <a:lnTo>
                        <a:pt x="13161" y="13161"/>
                      </a:lnTo>
                      <a:lnTo>
                        <a:pt x="0" y="13161"/>
                      </a:lnTo>
                      <a:close/>
                    </a:path>
                  </a:pathLst>
                </a:custGeom>
                <a:solidFill>
                  <a:schemeClr val="accent1"/>
                </a:solidFill>
                <a:ln w="2604" cap="flat">
                  <a:noFill/>
                  <a:prstDash val="solid"/>
                  <a:miter/>
                </a:ln>
              </p:spPr>
              <p:txBody>
                <a:bodyPr rtlCol="0" anchor="ctr"/>
                <a:lstStyle/>
                <a:p>
                  <a:endParaRPr lang="en-GB" dirty="0"/>
                </a:p>
              </p:txBody>
            </p:sp>
            <p:sp>
              <p:nvSpPr>
                <p:cNvPr id="296" name="Freihandform: Form 485">
                  <a:extLst>
                    <a:ext uri="{FF2B5EF4-FFF2-40B4-BE49-F238E27FC236}">
                      <a16:creationId xmlns:a16="http://schemas.microsoft.com/office/drawing/2014/main" id="{29ECB3F3-D38C-439A-BC39-E67CDFD16D82}"/>
                    </a:ext>
                  </a:extLst>
                </p:cNvPr>
                <p:cNvSpPr/>
                <p:nvPr/>
              </p:nvSpPr>
              <p:spPr>
                <a:xfrm>
                  <a:off x="944948" y="4396345"/>
                  <a:ext cx="13160" cy="13160"/>
                </a:xfrm>
                <a:custGeom>
                  <a:avLst/>
                  <a:gdLst>
                    <a:gd name="connsiteX0" fmla="*/ 0 w 13160"/>
                    <a:gd name="connsiteY0" fmla="*/ 0 h 13160"/>
                    <a:gd name="connsiteX1" fmla="*/ 13161 w 13160"/>
                    <a:gd name="connsiteY1" fmla="*/ 0 h 13160"/>
                    <a:gd name="connsiteX2" fmla="*/ 13161 w 13160"/>
                    <a:gd name="connsiteY2" fmla="*/ 13161 h 13160"/>
                    <a:gd name="connsiteX3" fmla="*/ 0 w 13160"/>
                    <a:gd name="connsiteY3" fmla="*/ 13161 h 13160"/>
                  </a:gdLst>
                  <a:ahLst/>
                  <a:cxnLst>
                    <a:cxn ang="0">
                      <a:pos x="connsiteX0" y="connsiteY0"/>
                    </a:cxn>
                    <a:cxn ang="0">
                      <a:pos x="connsiteX1" y="connsiteY1"/>
                    </a:cxn>
                    <a:cxn ang="0">
                      <a:pos x="connsiteX2" y="connsiteY2"/>
                    </a:cxn>
                    <a:cxn ang="0">
                      <a:pos x="connsiteX3" y="connsiteY3"/>
                    </a:cxn>
                  </a:cxnLst>
                  <a:rect l="l" t="t" r="r" b="b"/>
                  <a:pathLst>
                    <a:path w="13160" h="13160">
                      <a:moveTo>
                        <a:pt x="0" y="0"/>
                      </a:moveTo>
                      <a:lnTo>
                        <a:pt x="13161" y="0"/>
                      </a:lnTo>
                      <a:lnTo>
                        <a:pt x="13161" y="13161"/>
                      </a:lnTo>
                      <a:lnTo>
                        <a:pt x="0" y="13161"/>
                      </a:lnTo>
                      <a:close/>
                    </a:path>
                  </a:pathLst>
                </a:custGeom>
                <a:solidFill>
                  <a:schemeClr val="accent1"/>
                </a:solidFill>
                <a:ln w="2604" cap="flat">
                  <a:noFill/>
                  <a:prstDash val="solid"/>
                  <a:miter/>
                </a:ln>
              </p:spPr>
              <p:txBody>
                <a:bodyPr rtlCol="0" anchor="ctr"/>
                <a:lstStyle/>
                <a:p>
                  <a:endParaRPr lang="en-GB" dirty="0"/>
                </a:p>
              </p:txBody>
            </p:sp>
          </p:grpSp>
        </p:grpSp>
        <p:grpSp>
          <p:nvGrpSpPr>
            <p:cNvPr id="275" name="Group 274">
              <a:extLst>
                <a:ext uri="{FF2B5EF4-FFF2-40B4-BE49-F238E27FC236}">
                  <a16:creationId xmlns:a16="http://schemas.microsoft.com/office/drawing/2014/main" id="{B233DCFD-CD71-4339-A32E-007931434789}"/>
                </a:ext>
              </a:extLst>
            </p:cNvPr>
            <p:cNvGrpSpPr/>
            <p:nvPr/>
          </p:nvGrpSpPr>
          <p:grpSpPr>
            <a:xfrm>
              <a:off x="2764043" y="3359913"/>
              <a:ext cx="244191" cy="250618"/>
              <a:chOff x="990334" y="4297673"/>
              <a:chExt cx="267157" cy="274189"/>
            </a:xfrm>
          </p:grpSpPr>
          <p:sp>
            <p:nvSpPr>
              <p:cNvPr id="276" name="Freihandform: Form 458">
                <a:extLst>
                  <a:ext uri="{FF2B5EF4-FFF2-40B4-BE49-F238E27FC236}">
                    <a16:creationId xmlns:a16="http://schemas.microsoft.com/office/drawing/2014/main" id="{6C6D7C9C-F82E-45AE-A230-F8AF0F753B6A}"/>
                  </a:ext>
                </a:extLst>
              </p:cNvPr>
              <p:cNvSpPr/>
              <p:nvPr/>
            </p:nvSpPr>
            <p:spPr>
              <a:xfrm>
                <a:off x="990334" y="4297673"/>
                <a:ext cx="267157" cy="274189"/>
              </a:xfrm>
              <a:custGeom>
                <a:avLst/>
                <a:gdLst>
                  <a:gd name="connsiteX0" fmla="*/ 133754 w 267157"/>
                  <a:gd name="connsiteY0" fmla="*/ 274164 h 274189"/>
                  <a:gd name="connsiteX1" fmla="*/ 133337 w 267157"/>
                  <a:gd name="connsiteY1" fmla="*/ 274164 h 274189"/>
                  <a:gd name="connsiteX2" fmla="*/ 127187 w 267157"/>
                  <a:gd name="connsiteY2" fmla="*/ 272079 h 274189"/>
                  <a:gd name="connsiteX3" fmla="*/ 246 w 267157"/>
                  <a:gd name="connsiteY3" fmla="*/ 66722 h 274189"/>
                  <a:gd name="connsiteX4" fmla="*/ 167 w 267157"/>
                  <a:gd name="connsiteY4" fmla="*/ 66227 h 274189"/>
                  <a:gd name="connsiteX5" fmla="*/ 428 w 267157"/>
                  <a:gd name="connsiteY5" fmla="*/ 62448 h 274189"/>
                  <a:gd name="connsiteX6" fmla="*/ 5562 w 267157"/>
                  <a:gd name="connsiteY6" fmla="*/ 58278 h 274189"/>
                  <a:gd name="connsiteX7" fmla="*/ 37825 w 267157"/>
                  <a:gd name="connsiteY7" fmla="*/ 52414 h 274189"/>
                  <a:gd name="connsiteX8" fmla="*/ 47989 w 267157"/>
                  <a:gd name="connsiteY8" fmla="*/ 34485 h 274189"/>
                  <a:gd name="connsiteX9" fmla="*/ 51324 w 267157"/>
                  <a:gd name="connsiteY9" fmla="*/ 31592 h 274189"/>
                  <a:gd name="connsiteX10" fmla="*/ 131513 w 267157"/>
                  <a:gd name="connsiteY10" fmla="*/ 450 h 274189"/>
                  <a:gd name="connsiteX11" fmla="*/ 136282 w 267157"/>
                  <a:gd name="connsiteY11" fmla="*/ 450 h 274189"/>
                  <a:gd name="connsiteX12" fmla="*/ 215845 w 267157"/>
                  <a:gd name="connsiteY12" fmla="*/ 31592 h 274189"/>
                  <a:gd name="connsiteX13" fmla="*/ 219154 w 267157"/>
                  <a:gd name="connsiteY13" fmla="*/ 34485 h 274189"/>
                  <a:gd name="connsiteX14" fmla="*/ 229318 w 267157"/>
                  <a:gd name="connsiteY14" fmla="*/ 52414 h 274189"/>
                  <a:gd name="connsiteX15" fmla="*/ 261320 w 267157"/>
                  <a:gd name="connsiteY15" fmla="*/ 58252 h 274189"/>
                  <a:gd name="connsiteX16" fmla="*/ 267158 w 267157"/>
                  <a:gd name="connsiteY16" fmla="*/ 64793 h 274189"/>
                  <a:gd name="connsiteX17" fmla="*/ 267054 w 267157"/>
                  <a:gd name="connsiteY17" fmla="*/ 65992 h 274189"/>
                  <a:gd name="connsiteX18" fmla="*/ 266897 w 267157"/>
                  <a:gd name="connsiteY18" fmla="*/ 66826 h 274189"/>
                  <a:gd name="connsiteX19" fmla="*/ 139904 w 267157"/>
                  <a:gd name="connsiteY19" fmla="*/ 272131 h 274189"/>
                  <a:gd name="connsiteX20" fmla="*/ 134015 w 267157"/>
                  <a:gd name="connsiteY20" fmla="*/ 274190 h 274189"/>
                  <a:gd name="connsiteX21" fmla="*/ 133754 w 267157"/>
                  <a:gd name="connsiteY21" fmla="*/ 274164 h 274189"/>
                  <a:gd name="connsiteX22" fmla="*/ 14240 w 267157"/>
                  <a:gd name="connsiteY22" fmla="*/ 70057 h 274189"/>
                  <a:gd name="connsiteX23" fmla="*/ 133624 w 267157"/>
                  <a:gd name="connsiteY23" fmla="*/ 260508 h 274189"/>
                  <a:gd name="connsiteX24" fmla="*/ 253007 w 267157"/>
                  <a:gd name="connsiteY24" fmla="*/ 70084 h 274189"/>
                  <a:gd name="connsiteX25" fmla="*/ 223976 w 267157"/>
                  <a:gd name="connsiteY25" fmla="*/ 64767 h 274189"/>
                  <a:gd name="connsiteX26" fmla="*/ 219441 w 267157"/>
                  <a:gd name="connsiteY26" fmla="*/ 61536 h 274189"/>
                  <a:gd name="connsiteX27" fmla="*/ 208913 w 267157"/>
                  <a:gd name="connsiteY27" fmla="*/ 42980 h 274189"/>
                  <a:gd name="connsiteX28" fmla="*/ 133910 w 267157"/>
                  <a:gd name="connsiteY28" fmla="*/ 13610 h 274189"/>
                  <a:gd name="connsiteX29" fmla="*/ 58282 w 267157"/>
                  <a:gd name="connsiteY29" fmla="*/ 42980 h 274189"/>
                  <a:gd name="connsiteX30" fmla="*/ 47754 w 267157"/>
                  <a:gd name="connsiteY30" fmla="*/ 61536 h 274189"/>
                  <a:gd name="connsiteX31" fmla="*/ 43219 w 267157"/>
                  <a:gd name="connsiteY31" fmla="*/ 64767 h 274189"/>
                  <a:gd name="connsiteX32" fmla="*/ 14240 w 267157"/>
                  <a:gd name="connsiteY32" fmla="*/ 70057 h 27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67157" h="274189">
                    <a:moveTo>
                      <a:pt x="133754" y="274164"/>
                    </a:moveTo>
                    <a:cubicBezTo>
                      <a:pt x="133598" y="274164"/>
                      <a:pt x="133441" y="274164"/>
                      <a:pt x="133337" y="274164"/>
                    </a:cubicBezTo>
                    <a:cubicBezTo>
                      <a:pt x="131747" y="274112"/>
                      <a:pt x="129715" y="273825"/>
                      <a:pt x="127187" y="272079"/>
                    </a:cubicBezTo>
                    <a:cubicBezTo>
                      <a:pt x="33421" y="208257"/>
                      <a:pt x="7178" y="107194"/>
                      <a:pt x="246" y="66722"/>
                    </a:cubicBezTo>
                    <a:lnTo>
                      <a:pt x="167" y="66227"/>
                    </a:lnTo>
                    <a:cubicBezTo>
                      <a:pt x="-119" y="64975"/>
                      <a:pt x="-41" y="63672"/>
                      <a:pt x="428" y="62448"/>
                    </a:cubicBezTo>
                    <a:cubicBezTo>
                      <a:pt x="1262" y="60233"/>
                      <a:pt x="3243" y="58643"/>
                      <a:pt x="5562" y="58278"/>
                    </a:cubicBezTo>
                    <a:cubicBezTo>
                      <a:pt x="7047" y="58044"/>
                      <a:pt x="23231" y="55099"/>
                      <a:pt x="37825" y="52414"/>
                    </a:cubicBezTo>
                    <a:lnTo>
                      <a:pt x="47989" y="34485"/>
                    </a:lnTo>
                    <a:cubicBezTo>
                      <a:pt x="48744" y="33156"/>
                      <a:pt x="49917" y="32139"/>
                      <a:pt x="51324" y="31592"/>
                    </a:cubicBezTo>
                    <a:lnTo>
                      <a:pt x="131513" y="450"/>
                    </a:lnTo>
                    <a:cubicBezTo>
                      <a:pt x="133050" y="-150"/>
                      <a:pt x="134770" y="-150"/>
                      <a:pt x="136282" y="450"/>
                    </a:cubicBezTo>
                    <a:lnTo>
                      <a:pt x="215845" y="31592"/>
                    </a:lnTo>
                    <a:cubicBezTo>
                      <a:pt x="217252" y="32139"/>
                      <a:pt x="218425" y="33156"/>
                      <a:pt x="219154" y="34485"/>
                    </a:cubicBezTo>
                    <a:lnTo>
                      <a:pt x="229318" y="52414"/>
                    </a:lnTo>
                    <a:cubicBezTo>
                      <a:pt x="239534" y="54291"/>
                      <a:pt x="258610" y="57783"/>
                      <a:pt x="261320" y="58252"/>
                    </a:cubicBezTo>
                    <a:cubicBezTo>
                      <a:pt x="264604" y="58617"/>
                      <a:pt x="267158" y="61405"/>
                      <a:pt x="267158" y="64793"/>
                    </a:cubicBezTo>
                    <a:cubicBezTo>
                      <a:pt x="267158" y="65184"/>
                      <a:pt x="267132" y="65601"/>
                      <a:pt x="267054" y="65992"/>
                    </a:cubicBezTo>
                    <a:lnTo>
                      <a:pt x="266897" y="66826"/>
                    </a:lnTo>
                    <a:cubicBezTo>
                      <a:pt x="259965" y="107246"/>
                      <a:pt x="233696" y="208309"/>
                      <a:pt x="139904" y="272131"/>
                    </a:cubicBezTo>
                    <a:cubicBezTo>
                      <a:pt x="138054" y="273408"/>
                      <a:pt x="136073" y="274112"/>
                      <a:pt x="134015" y="274190"/>
                    </a:cubicBezTo>
                    <a:cubicBezTo>
                      <a:pt x="134015" y="274164"/>
                      <a:pt x="133910" y="274164"/>
                      <a:pt x="133754" y="274164"/>
                    </a:cubicBezTo>
                    <a:close/>
                    <a:moveTo>
                      <a:pt x="14240" y="70057"/>
                    </a:moveTo>
                    <a:cubicBezTo>
                      <a:pt x="22241" y="111780"/>
                      <a:pt x="48822" y="202211"/>
                      <a:pt x="133624" y="260508"/>
                    </a:cubicBezTo>
                    <a:cubicBezTo>
                      <a:pt x="218425" y="202158"/>
                      <a:pt x="245007" y="111754"/>
                      <a:pt x="253007" y="70084"/>
                    </a:cubicBezTo>
                    <a:cubicBezTo>
                      <a:pt x="244251" y="68494"/>
                      <a:pt x="229370" y="65783"/>
                      <a:pt x="223976" y="64767"/>
                    </a:cubicBezTo>
                    <a:cubicBezTo>
                      <a:pt x="222073" y="64402"/>
                      <a:pt x="220405" y="63230"/>
                      <a:pt x="219441" y="61536"/>
                    </a:cubicBezTo>
                    <a:lnTo>
                      <a:pt x="208913" y="42980"/>
                    </a:lnTo>
                    <a:lnTo>
                      <a:pt x="133910" y="13610"/>
                    </a:lnTo>
                    <a:lnTo>
                      <a:pt x="58282" y="42980"/>
                    </a:lnTo>
                    <a:lnTo>
                      <a:pt x="47754" y="61536"/>
                    </a:lnTo>
                    <a:cubicBezTo>
                      <a:pt x="46790" y="63230"/>
                      <a:pt x="45148" y="64402"/>
                      <a:pt x="43219" y="64767"/>
                    </a:cubicBezTo>
                    <a:cubicBezTo>
                      <a:pt x="37669" y="65810"/>
                      <a:pt x="22970" y="68494"/>
                      <a:pt x="14240" y="70057"/>
                    </a:cubicBezTo>
                    <a:close/>
                  </a:path>
                </a:pathLst>
              </a:custGeom>
              <a:solidFill>
                <a:schemeClr val="accent1"/>
              </a:solidFill>
              <a:ln w="2604" cap="flat">
                <a:noFill/>
                <a:prstDash val="solid"/>
                <a:miter/>
              </a:ln>
            </p:spPr>
            <p:txBody>
              <a:bodyPr rtlCol="0" anchor="ctr"/>
              <a:lstStyle/>
              <a:p>
                <a:endParaRPr lang="en-GB" dirty="0"/>
              </a:p>
            </p:txBody>
          </p:sp>
          <p:sp>
            <p:nvSpPr>
              <p:cNvPr id="277" name="Freihandform: Form 459">
                <a:extLst>
                  <a:ext uri="{FF2B5EF4-FFF2-40B4-BE49-F238E27FC236}">
                    <a16:creationId xmlns:a16="http://schemas.microsoft.com/office/drawing/2014/main" id="{8093559D-C225-4F39-8B13-3DD66A5DF1AE}"/>
                  </a:ext>
                </a:extLst>
              </p:cNvPr>
              <p:cNvSpPr/>
              <p:nvPr/>
            </p:nvSpPr>
            <p:spPr>
              <a:xfrm>
                <a:off x="1031797" y="4335409"/>
                <a:ext cx="184311" cy="191160"/>
              </a:xfrm>
              <a:custGeom>
                <a:avLst/>
                <a:gdLst>
                  <a:gd name="connsiteX0" fmla="*/ 92318 w 184311"/>
                  <a:gd name="connsiteY0" fmla="*/ 191161 h 191160"/>
                  <a:gd name="connsiteX1" fmla="*/ 91640 w 184311"/>
                  <a:gd name="connsiteY1" fmla="*/ 191135 h 191160"/>
                  <a:gd name="connsiteX2" fmla="*/ 86636 w 184311"/>
                  <a:gd name="connsiteY2" fmla="*/ 189389 h 191160"/>
                  <a:gd name="connsiteX3" fmla="*/ 167 w 184311"/>
                  <a:gd name="connsiteY3" fmla="*/ 49600 h 191160"/>
                  <a:gd name="connsiteX4" fmla="*/ 63 w 184311"/>
                  <a:gd name="connsiteY4" fmla="*/ 48896 h 191160"/>
                  <a:gd name="connsiteX5" fmla="*/ 63 w 184311"/>
                  <a:gd name="connsiteY5" fmla="*/ 48896 h 191160"/>
                  <a:gd name="connsiteX6" fmla="*/ 741 w 184311"/>
                  <a:gd name="connsiteY6" fmla="*/ 44909 h 191160"/>
                  <a:gd name="connsiteX7" fmla="*/ 5588 w 184311"/>
                  <a:gd name="connsiteY7" fmla="*/ 41417 h 191160"/>
                  <a:gd name="connsiteX8" fmla="*/ 25863 w 184311"/>
                  <a:gd name="connsiteY8" fmla="*/ 37742 h 191160"/>
                  <a:gd name="connsiteX9" fmla="*/ 31075 w 184311"/>
                  <a:gd name="connsiteY9" fmla="*/ 25806 h 191160"/>
                  <a:gd name="connsiteX10" fmla="*/ 31779 w 184311"/>
                  <a:gd name="connsiteY10" fmla="*/ 24399 h 191160"/>
                  <a:gd name="connsiteX11" fmla="*/ 89972 w 184311"/>
                  <a:gd name="connsiteY11" fmla="*/ 450 h 191160"/>
                  <a:gd name="connsiteX12" fmla="*/ 94767 w 184311"/>
                  <a:gd name="connsiteY12" fmla="*/ 450 h 191160"/>
                  <a:gd name="connsiteX13" fmla="*/ 149260 w 184311"/>
                  <a:gd name="connsiteY13" fmla="*/ 21767 h 191160"/>
                  <a:gd name="connsiteX14" fmla="*/ 149260 w 184311"/>
                  <a:gd name="connsiteY14" fmla="*/ 21767 h 191160"/>
                  <a:gd name="connsiteX15" fmla="*/ 153013 w 184311"/>
                  <a:gd name="connsiteY15" fmla="*/ 25311 h 191160"/>
                  <a:gd name="connsiteX16" fmla="*/ 158485 w 184311"/>
                  <a:gd name="connsiteY16" fmla="*/ 37742 h 191160"/>
                  <a:gd name="connsiteX17" fmla="*/ 178735 w 184311"/>
                  <a:gd name="connsiteY17" fmla="*/ 41417 h 191160"/>
                  <a:gd name="connsiteX18" fmla="*/ 183608 w 184311"/>
                  <a:gd name="connsiteY18" fmla="*/ 44987 h 191160"/>
                  <a:gd name="connsiteX19" fmla="*/ 183608 w 184311"/>
                  <a:gd name="connsiteY19" fmla="*/ 45013 h 191160"/>
                  <a:gd name="connsiteX20" fmla="*/ 184233 w 184311"/>
                  <a:gd name="connsiteY20" fmla="*/ 49000 h 191160"/>
                  <a:gd name="connsiteX21" fmla="*/ 97660 w 184311"/>
                  <a:gd name="connsiteY21" fmla="*/ 189415 h 191160"/>
                  <a:gd name="connsiteX22" fmla="*/ 92682 w 184311"/>
                  <a:gd name="connsiteY22" fmla="*/ 191161 h 191160"/>
                  <a:gd name="connsiteX23" fmla="*/ 92318 w 184311"/>
                  <a:gd name="connsiteY23" fmla="*/ 191161 h 191160"/>
                  <a:gd name="connsiteX24" fmla="*/ 94064 w 184311"/>
                  <a:gd name="connsiteY24" fmla="*/ 178521 h 191160"/>
                  <a:gd name="connsiteX25" fmla="*/ 94064 w 184311"/>
                  <a:gd name="connsiteY25" fmla="*/ 178521 h 191160"/>
                  <a:gd name="connsiteX26" fmla="*/ 94064 w 184311"/>
                  <a:gd name="connsiteY26" fmla="*/ 178521 h 191160"/>
                  <a:gd name="connsiteX27" fmla="*/ 14266 w 184311"/>
                  <a:gd name="connsiteY27" fmla="*/ 53248 h 191160"/>
                  <a:gd name="connsiteX28" fmla="*/ 92161 w 184311"/>
                  <a:gd name="connsiteY28" fmla="*/ 177244 h 191160"/>
                  <a:gd name="connsiteX29" fmla="*/ 170082 w 184311"/>
                  <a:gd name="connsiteY29" fmla="*/ 53248 h 191160"/>
                  <a:gd name="connsiteX30" fmla="*/ 152674 w 184311"/>
                  <a:gd name="connsiteY30" fmla="*/ 50069 h 191160"/>
                  <a:gd name="connsiteX31" fmla="*/ 147853 w 184311"/>
                  <a:gd name="connsiteY31" fmla="*/ 46264 h 191160"/>
                  <a:gd name="connsiteX32" fmla="*/ 142015 w 184311"/>
                  <a:gd name="connsiteY32" fmla="*/ 33025 h 191160"/>
                  <a:gd name="connsiteX33" fmla="*/ 92370 w 184311"/>
                  <a:gd name="connsiteY33" fmla="*/ 13662 h 191160"/>
                  <a:gd name="connsiteX34" fmla="*/ 42255 w 184311"/>
                  <a:gd name="connsiteY34" fmla="*/ 33181 h 191160"/>
                  <a:gd name="connsiteX35" fmla="*/ 36496 w 184311"/>
                  <a:gd name="connsiteY35" fmla="*/ 46290 h 191160"/>
                  <a:gd name="connsiteX36" fmla="*/ 31675 w 184311"/>
                  <a:gd name="connsiteY36" fmla="*/ 50069 h 191160"/>
                  <a:gd name="connsiteX37" fmla="*/ 28964 w 184311"/>
                  <a:gd name="connsiteY37" fmla="*/ 50564 h 191160"/>
                  <a:gd name="connsiteX38" fmla="*/ 14266 w 184311"/>
                  <a:gd name="connsiteY38" fmla="*/ 53248 h 191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84311" h="191160">
                    <a:moveTo>
                      <a:pt x="92318" y="191161"/>
                    </a:moveTo>
                    <a:cubicBezTo>
                      <a:pt x="92083" y="191161"/>
                      <a:pt x="91849" y="191161"/>
                      <a:pt x="91640" y="191135"/>
                    </a:cubicBezTo>
                    <a:cubicBezTo>
                      <a:pt x="90702" y="191135"/>
                      <a:pt x="88852" y="190900"/>
                      <a:pt x="86636" y="189389"/>
                    </a:cubicBezTo>
                    <a:cubicBezTo>
                      <a:pt x="22788" y="145919"/>
                      <a:pt x="4910" y="77146"/>
                      <a:pt x="167" y="49600"/>
                    </a:cubicBezTo>
                    <a:cubicBezTo>
                      <a:pt x="167" y="49548"/>
                      <a:pt x="63" y="48948"/>
                      <a:pt x="63" y="48896"/>
                    </a:cubicBezTo>
                    <a:lnTo>
                      <a:pt x="63" y="48896"/>
                    </a:lnTo>
                    <a:cubicBezTo>
                      <a:pt x="-119" y="47541"/>
                      <a:pt x="89" y="46160"/>
                      <a:pt x="741" y="44909"/>
                    </a:cubicBezTo>
                    <a:cubicBezTo>
                      <a:pt x="1705" y="43058"/>
                      <a:pt x="3503" y="41729"/>
                      <a:pt x="5588" y="41417"/>
                    </a:cubicBezTo>
                    <a:cubicBezTo>
                      <a:pt x="6813" y="41234"/>
                      <a:pt x="18957" y="38993"/>
                      <a:pt x="25863" y="37742"/>
                    </a:cubicBezTo>
                    <a:cubicBezTo>
                      <a:pt x="28365" y="32113"/>
                      <a:pt x="30737" y="26666"/>
                      <a:pt x="31075" y="25806"/>
                    </a:cubicBezTo>
                    <a:cubicBezTo>
                      <a:pt x="31258" y="25337"/>
                      <a:pt x="31518" y="24816"/>
                      <a:pt x="31779" y="24399"/>
                    </a:cubicBezTo>
                    <a:cubicBezTo>
                      <a:pt x="32952" y="22653"/>
                      <a:pt x="32952" y="22653"/>
                      <a:pt x="89972" y="450"/>
                    </a:cubicBezTo>
                    <a:cubicBezTo>
                      <a:pt x="91510" y="-150"/>
                      <a:pt x="93230" y="-150"/>
                      <a:pt x="94767" y="450"/>
                    </a:cubicBezTo>
                    <a:cubicBezTo>
                      <a:pt x="94767" y="450"/>
                      <a:pt x="147618" y="21168"/>
                      <a:pt x="149260" y="21767"/>
                    </a:cubicBezTo>
                    <a:lnTo>
                      <a:pt x="149260" y="21767"/>
                    </a:lnTo>
                    <a:cubicBezTo>
                      <a:pt x="150902" y="22366"/>
                      <a:pt x="152283" y="23643"/>
                      <a:pt x="153013" y="25311"/>
                    </a:cubicBezTo>
                    <a:lnTo>
                      <a:pt x="158485" y="37742"/>
                    </a:lnTo>
                    <a:cubicBezTo>
                      <a:pt x="164766" y="38889"/>
                      <a:pt x="177562" y="41234"/>
                      <a:pt x="178735" y="41417"/>
                    </a:cubicBezTo>
                    <a:cubicBezTo>
                      <a:pt x="180819" y="41755"/>
                      <a:pt x="182670" y="43085"/>
                      <a:pt x="183608" y="44987"/>
                    </a:cubicBezTo>
                    <a:lnTo>
                      <a:pt x="183608" y="45013"/>
                    </a:lnTo>
                    <a:cubicBezTo>
                      <a:pt x="184233" y="46238"/>
                      <a:pt x="184442" y="47645"/>
                      <a:pt x="184233" y="49000"/>
                    </a:cubicBezTo>
                    <a:cubicBezTo>
                      <a:pt x="179412" y="77172"/>
                      <a:pt x="161535" y="145919"/>
                      <a:pt x="97660" y="189415"/>
                    </a:cubicBezTo>
                    <a:cubicBezTo>
                      <a:pt x="96070" y="190483"/>
                      <a:pt x="94402" y="191082"/>
                      <a:pt x="92682" y="191161"/>
                    </a:cubicBezTo>
                    <a:cubicBezTo>
                      <a:pt x="92552" y="191161"/>
                      <a:pt x="92448" y="191161"/>
                      <a:pt x="92318" y="191161"/>
                    </a:cubicBezTo>
                    <a:close/>
                    <a:moveTo>
                      <a:pt x="94064" y="178521"/>
                    </a:moveTo>
                    <a:cubicBezTo>
                      <a:pt x="94064" y="178521"/>
                      <a:pt x="94064" y="178521"/>
                      <a:pt x="94064" y="178521"/>
                    </a:cubicBezTo>
                    <a:cubicBezTo>
                      <a:pt x="94064" y="178521"/>
                      <a:pt x="94064" y="178521"/>
                      <a:pt x="94064" y="178521"/>
                    </a:cubicBezTo>
                    <a:close/>
                    <a:moveTo>
                      <a:pt x="14266" y="53248"/>
                    </a:moveTo>
                    <a:cubicBezTo>
                      <a:pt x="20156" y="82097"/>
                      <a:pt x="38216" y="139483"/>
                      <a:pt x="92161" y="177244"/>
                    </a:cubicBezTo>
                    <a:cubicBezTo>
                      <a:pt x="146315" y="139352"/>
                      <a:pt x="164297" y="81706"/>
                      <a:pt x="170082" y="53248"/>
                    </a:cubicBezTo>
                    <a:cubicBezTo>
                      <a:pt x="162942" y="51945"/>
                      <a:pt x="152674" y="50069"/>
                      <a:pt x="152674" y="50069"/>
                    </a:cubicBezTo>
                    <a:cubicBezTo>
                      <a:pt x="150537" y="49678"/>
                      <a:pt x="148739" y="48245"/>
                      <a:pt x="147853" y="46264"/>
                    </a:cubicBezTo>
                    <a:cubicBezTo>
                      <a:pt x="147853" y="46264"/>
                      <a:pt x="143944" y="37429"/>
                      <a:pt x="142015" y="33025"/>
                    </a:cubicBezTo>
                    <a:cubicBezTo>
                      <a:pt x="136308" y="30888"/>
                      <a:pt x="123330" y="25806"/>
                      <a:pt x="92370" y="13662"/>
                    </a:cubicBezTo>
                    <a:cubicBezTo>
                      <a:pt x="83353" y="17180"/>
                      <a:pt x="51533" y="29559"/>
                      <a:pt x="42255" y="33181"/>
                    </a:cubicBezTo>
                    <a:cubicBezTo>
                      <a:pt x="40640" y="36934"/>
                      <a:pt x="37877" y="43163"/>
                      <a:pt x="36496" y="46290"/>
                    </a:cubicBezTo>
                    <a:cubicBezTo>
                      <a:pt x="35610" y="48271"/>
                      <a:pt x="33812" y="49678"/>
                      <a:pt x="31675" y="50069"/>
                    </a:cubicBezTo>
                    <a:lnTo>
                      <a:pt x="28964" y="50564"/>
                    </a:lnTo>
                    <a:cubicBezTo>
                      <a:pt x="25003" y="51294"/>
                      <a:pt x="18931" y="52388"/>
                      <a:pt x="14266" y="53248"/>
                    </a:cubicBezTo>
                    <a:close/>
                  </a:path>
                </a:pathLst>
              </a:custGeom>
              <a:solidFill>
                <a:schemeClr val="accent1"/>
              </a:solidFill>
              <a:ln w="2604" cap="flat">
                <a:noFill/>
                <a:prstDash val="solid"/>
                <a:miter/>
              </a:ln>
            </p:spPr>
            <p:txBody>
              <a:bodyPr rtlCol="0" anchor="ctr"/>
              <a:lstStyle/>
              <a:p>
                <a:endParaRPr lang="en-GB" dirty="0"/>
              </a:p>
            </p:txBody>
          </p:sp>
        </p:grpSp>
      </p:grpSp>
      <p:grpSp>
        <p:nvGrpSpPr>
          <p:cNvPr id="679" name="Group 678">
            <a:extLst>
              <a:ext uri="{FF2B5EF4-FFF2-40B4-BE49-F238E27FC236}">
                <a16:creationId xmlns:a16="http://schemas.microsoft.com/office/drawing/2014/main" id="{77017659-66A7-467F-AD01-F5EF52E2C093}"/>
              </a:ext>
            </a:extLst>
          </p:cNvPr>
          <p:cNvGrpSpPr/>
          <p:nvPr/>
        </p:nvGrpSpPr>
        <p:grpSpPr>
          <a:xfrm>
            <a:off x="565275" y="4002611"/>
            <a:ext cx="457551" cy="432000"/>
            <a:chOff x="565275" y="4002611"/>
            <a:chExt cx="457551" cy="432000"/>
          </a:xfrm>
        </p:grpSpPr>
        <p:grpSp>
          <p:nvGrpSpPr>
            <p:cNvPr id="301" name="Group 300">
              <a:extLst>
                <a:ext uri="{FF2B5EF4-FFF2-40B4-BE49-F238E27FC236}">
                  <a16:creationId xmlns:a16="http://schemas.microsoft.com/office/drawing/2014/main" id="{EC0CAED0-C01C-49B1-937A-679D5620CFD0}"/>
                </a:ext>
              </a:extLst>
            </p:cNvPr>
            <p:cNvGrpSpPr/>
            <p:nvPr/>
          </p:nvGrpSpPr>
          <p:grpSpPr>
            <a:xfrm>
              <a:off x="565275" y="4002611"/>
              <a:ext cx="457551" cy="432000"/>
              <a:chOff x="3378971" y="4079891"/>
              <a:chExt cx="486843" cy="459656"/>
            </a:xfrm>
          </p:grpSpPr>
          <p:sp>
            <p:nvSpPr>
              <p:cNvPr id="305" name="Freihandform: Form 520">
                <a:extLst>
                  <a:ext uri="{FF2B5EF4-FFF2-40B4-BE49-F238E27FC236}">
                    <a16:creationId xmlns:a16="http://schemas.microsoft.com/office/drawing/2014/main" id="{10698DBB-180D-4FFC-B6DA-F43ED7C0B524}"/>
                  </a:ext>
                </a:extLst>
              </p:cNvPr>
              <p:cNvSpPr/>
              <p:nvPr/>
            </p:nvSpPr>
            <p:spPr>
              <a:xfrm>
                <a:off x="3503429" y="4079891"/>
                <a:ext cx="244568" cy="142733"/>
              </a:xfrm>
              <a:custGeom>
                <a:avLst/>
                <a:gdLst>
                  <a:gd name="connsiteX0" fmla="*/ 212774 w 244568"/>
                  <a:gd name="connsiteY0" fmla="*/ 142734 h 142733"/>
                  <a:gd name="connsiteX1" fmla="*/ 209412 w 244568"/>
                  <a:gd name="connsiteY1" fmla="*/ 142213 h 142733"/>
                  <a:gd name="connsiteX2" fmla="*/ 190597 w 244568"/>
                  <a:gd name="connsiteY2" fmla="*/ 136219 h 142733"/>
                  <a:gd name="connsiteX3" fmla="*/ 125393 w 244568"/>
                  <a:gd name="connsiteY3" fmla="*/ 115579 h 142733"/>
                  <a:gd name="connsiteX4" fmla="*/ 117757 w 244568"/>
                  <a:gd name="connsiteY4" fmla="*/ 108151 h 142733"/>
                  <a:gd name="connsiteX5" fmla="*/ 124976 w 244568"/>
                  <a:gd name="connsiteY5" fmla="*/ 98248 h 142733"/>
                  <a:gd name="connsiteX6" fmla="*/ 135765 w 244568"/>
                  <a:gd name="connsiteY6" fmla="*/ 92411 h 142733"/>
                  <a:gd name="connsiteX7" fmla="*/ 138345 w 244568"/>
                  <a:gd name="connsiteY7" fmla="*/ 91003 h 142733"/>
                  <a:gd name="connsiteX8" fmla="*/ 117809 w 244568"/>
                  <a:gd name="connsiteY8" fmla="*/ 55066 h 142733"/>
                  <a:gd name="connsiteX9" fmla="*/ 81533 w 244568"/>
                  <a:gd name="connsiteY9" fmla="*/ 124960 h 142733"/>
                  <a:gd name="connsiteX10" fmla="*/ 72673 w 244568"/>
                  <a:gd name="connsiteY10" fmla="*/ 127775 h 142733"/>
                  <a:gd name="connsiteX11" fmla="*/ 3534 w 244568"/>
                  <a:gd name="connsiteY11" fmla="*/ 91890 h 142733"/>
                  <a:gd name="connsiteX12" fmla="*/ 302 w 244568"/>
                  <a:gd name="connsiteY12" fmla="*/ 88033 h 142733"/>
                  <a:gd name="connsiteX13" fmla="*/ 745 w 244568"/>
                  <a:gd name="connsiteY13" fmla="*/ 83003 h 142733"/>
                  <a:gd name="connsiteX14" fmla="*/ 41191 w 244568"/>
                  <a:gd name="connsiteY14" fmla="*/ 5447 h 142733"/>
                  <a:gd name="connsiteX15" fmla="*/ 46951 w 244568"/>
                  <a:gd name="connsiteY15" fmla="*/ 1902 h 142733"/>
                  <a:gd name="connsiteX16" fmla="*/ 185567 w 244568"/>
                  <a:gd name="connsiteY16" fmla="*/ 0 h 142733"/>
                  <a:gd name="connsiteX17" fmla="*/ 191483 w 244568"/>
                  <a:gd name="connsiteY17" fmla="*/ 3518 h 142733"/>
                  <a:gd name="connsiteX18" fmla="*/ 206389 w 244568"/>
                  <a:gd name="connsiteY18" fmla="*/ 32211 h 142733"/>
                  <a:gd name="connsiteX19" fmla="*/ 215328 w 244568"/>
                  <a:gd name="connsiteY19" fmla="*/ 49437 h 142733"/>
                  <a:gd name="connsiteX20" fmla="*/ 228593 w 244568"/>
                  <a:gd name="connsiteY20" fmla="*/ 42270 h 142733"/>
                  <a:gd name="connsiteX21" fmla="*/ 241754 w 244568"/>
                  <a:gd name="connsiteY21" fmla="*/ 41723 h 142733"/>
                  <a:gd name="connsiteX22" fmla="*/ 243682 w 244568"/>
                  <a:gd name="connsiteY22" fmla="*/ 52825 h 142733"/>
                  <a:gd name="connsiteX23" fmla="*/ 223980 w 244568"/>
                  <a:gd name="connsiteY23" fmla="*/ 129860 h 142733"/>
                  <a:gd name="connsiteX24" fmla="*/ 222808 w 244568"/>
                  <a:gd name="connsiteY24" fmla="*/ 134811 h 142733"/>
                  <a:gd name="connsiteX25" fmla="*/ 217752 w 244568"/>
                  <a:gd name="connsiteY25" fmla="*/ 141405 h 142733"/>
                  <a:gd name="connsiteX26" fmla="*/ 212774 w 244568"/>
                  <a:gd name="connsiteY26" fmla="*/ 142734 h 142733"/>
                  <a:gd name="connsiteX27" fmla="*/ 213139 w 244568"/>
                  <a:gd name="connsiteY27" fmla="*/ 129599 h 142733"/>
                  <a:gd name="connsiteX28" fmla="*/ 213165 w 244568"/>
                  <a:gd name="connsiteY28" fmla="*/ 129599 h 142733"/>
                  <a:gd name="connsiteX29" fmla="*/ 213139 w 244568"/>
                  <a:gd name="connsiteY29" fmla="*/ 129599 h 142733"/>
                  <a:gd name="connsiteX30" fmla="*/ 138580 w 244568"/>
                  <a:gd name="connsiteY30" fmla="*/ 105832 h 142733"/>
                  <a:gd name="connsiteX31" fmla="*/ 194610 w 244568"/>
                  <a:gd name="connsiteY31" fmla="*/ 123684 h 142733"/>
                  <a:gd name="connsiteX32" fmla="*/ 210689 w 244568"/>
                  <a:gd name="connsiteY32" fmla="*/ 128843 h 142733"/>
                  <a:gd name="connsiteX33" fmla="*/ 211132 w 244568"/>
                  <a:gd name="connsiteY33" fmla="*/ 126941 h 142733"/>
                  <a:gd name="connsiteX34" fmla="*/ 228515 w 244568"/>
                  <a:gd name="connsiteY34" fmla="*/ 57281 h 142733"/>
                  <a:gd name="connsiteX35" fmla="*/ 215667 w 244568"/>
                  <a:gd name="connsiteY35" fmla="*/ 64213 h 142733"/>
                  <a:gd name="connsiteX36" fmla="*/ 210611 w 244568"/>
                  <a:gd name="connsiteY36" fmla="*/ 64708 h 142733"/>
                  <a:gd name="connsiteX37" fmla="*/ 206702 w 244568"/>
                  <a:gd name="connsiteY37" fmla="*/ 61477 h 142733"/>
                  <a:gd name="connsiteX38" fmla="*/ 194636 w 244568"/>
                  <a:gd name="connsiteY38" fmla="*/ 38283 h 142733"/>
                  <a:gd name="connsiteX39" fmla="*/ 181632 w 244568"/>
                  <a:gd name="connsiteY39" fmla="*/ 13239 h 142733"/>
                  <a:gd name="connsiteX40" fmla="*/ 109027 w 244568"/>
                  <a:gd name="connsiteY40" fmla="*/ 14229 h 142733"/>
                  <a:gd name="connsiteX41" fmla="*/ 153043 w 244568"/>
                  <a:gd name="connsiteY41" fmla="*/ 90560 h 142733"/>
                  <a:gd name="connsiteX42" fmla="*/ 150359 w 244568"/>
                  <a:gd name="connsiteY42" fmla="*/ 99421 h 142733"/>
                  <a:gd name="connsiteX43" fmla="*/ 141994 w 244568"/>
                  <a:gd name="connsiteY43" fmla="*/ 103956 h 142733"/>
                  <a:gd name="connsiteX44" fmla="*/ 138580 w 244568"/>
                  <a:gd name="connsiteY44" fmla="*/ 105832 h 142733"/>
                  <a:gd name="connsiteX45" fmla="*/ 15391 w 244568"/>
                  <a:gd name="connsiteY45" fmla="*/ 83264 h 142733"/>
                  <a:gd name="connsiteX46" fmla="*/ 72855 w 244568"/>
                  <a:gd name="connsiteY46" fmla="*/ 113077 h 142733"/>
                  <a:gd name="connsiteX47" fmla="*/ 109079 w 244568"/>
                  <a:gd name="connsiteY47" fmla="*/ 43260 h 142733"/>
                  <a:gd name="connsiteX48" fmla="*/ 110043 w 244568"/>
                  <a:gd name="connsiteY48" fmla="*/ 41879 h 142733"/>
                  <a:gd name="connsiteX49" fmla="*/ 94303 w 244568"/>
                  <a:gd name="connsiteY49" fmla="*/ 15350 h 142733"/>
                  <a:gd name="connsiteX50" fmla="*/ 93860 w 244568"/>
                  <a:gd name="connsiteY50" fmla="*/ 14490 h 142733"/>
                  <a:gd name="connsiteX51" fmla="*/ 50964 w 244568"/>
                  <a:gd name="connsiteY51" fmla="*/ 15063 h 142733"/>
                  <a:gd name="connsiteX52" fmla="*/ 15391 w 244568"/>
                  <a:gd name="connsiteY52" fmla="*/ 83264 h 142733"/>
                  <a:gd name="connsiteX53" fmla="*/ 129511 w 244568"/>
                  <a:gd name="connsiteY53" fmla="*/ 110888 h 142733"/>
                  <a:gd name="connsiteX54" fmla="*/ 129511 w 244568"/>
                  <a:gd name="connsiteY54" fmla="*/ 110888 h 142733"/>
                  <a:gd name="connsiteX55" fmla="*/ 129511 w 244568"/>
                  <a:gd name="connsiteY55" fmla="*/ 110888 h 142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4568" h="142733">
                    <a:moveTo>
                      <a:pt x="212774" y="142734"/>
                    </a:moveTo>
                    <a:cubicBezTo>
                      <a:pt x="211654" y="142734"/>
                      <a:pt x="210533" y="142551"/>
                      <a:pt x="209412" y="142213"/>
                    </a:cubicBezTo>
                    <a:cubicBezTo>
                      <a:pt x="208500" y="141952"/>
                      <a:pt x="200917" y="139528"/>
                      <a:pt x="190597" y="136219"/>
                    </a:cubicBezTo>
                    <a:cubicBezTo>
                      <a:pt x="169748" y="129521"/>
                      <a:pt x="138241" y="119383"/>
                      <a:pt x="125393" y="115579"/>
                    </a:cubicBezTo>
                    <a:cubicBezTo>
                      <a:pt x="120728" y="114224"/>
                      <a:pt x="118148" y="111722"/>
                      <a:pt x="117757" y="108151"/>
                    </a:cubicBezTo>
                    <a:cubicBezTo>
                      <a:pt x="117132" y="102548"/>
                      <a:pt x="122448" y="99656"/>
                      <a:pt x="124976" y="98248"/>
                    </a:cubicBezTo>
                    <a:cubicBezTo>
                      <a:pt x="125654" y="97857"/>
                      <a:pt x="129693" y="95668"/>
                      <a:pt x="135765" y="92411"/>
                    </a:cubicBezTo>
                    <a:lnTo>
                      <a:pt x="138345" y="91003"/>
                    </a:lnTo>
                    <a:cubicBezTo>
                      <a:pt x="133472" y="82195"/>
                      <a:pt x="125601" y="68513"/>
                      <a:pt x="117809" y="55066"/>
                    </a:cubicBezTo>
                    <a:lnTo>
                      <a:pt x="81533" y="124960"/>
                    </a:lnTo>
                    <a:cubicBezTo>
                      <a:pt x="79865" y="128192"/>
                      <a:pt x="75878" y="129443"/>
                      <a:pt x="72673" y="127775"/>
                    </a:cubicBezTo>
                    <a:lnTo>
                      <a:pt x="3534" y="91890"/>
                    </a:lnTo>
                    <a:cubicBezTo>
                      <a:pt x="1996" y="91082"/>
                      <a:pt x="823" y="89700"/>
                      <a:pt x="302" y="88033"/>
                    </a:cubicBezTo>
                    <a:cubicBezTo>
                      <a:pt x="-219" y="86365"/>
                      <a:pt x="-63" y="84567"/>
                      <a:pt x="745" y="83003"/>
                    </a:cubicBezTo>
                    <a:lnTo>
                      <a:pt x="41191" y="5447"/>
                    </a:lnTo>
                    <a:cubicBezTo>
                      <a:pt x="42312" y="3310"/>
                      <a:pt x="44527" y="1955"/>
                      <a:pt x="46951" y="1902"/>
                    </a:cubicBezTo>
                    <a:cubicBezTo>
                      <a:pt x="58027" y="1772"/>
                      <a:pt x="185567" y="0"/>
                      <a:pt x="185567" y="0"/>
                    </a:cubicBezTo>
                    <a:cubicBezTo>
                      <a:pt x="188095" y="0"/>
                      <a:pt x="190336" y="1329"/>
                      <a:pt x="191483" y="3518"/>
                    </a:cubicBezTo>
                    <a:cubicBezTo>
                      <a:pt x="196226" y="12561"/>
                      <a:pt x="201490" y="22699"/>
                      <a:pt x="206389" y="32211"/>
                    </a:cubicBezTo>
                    <a:cubicBezTo>
                      <a:pt x="209569" y="38361"/>
                      <a:pt x="212618" y="44251"/>
                      <a:pt x="215328" y="49437"/>
                    </a:cubicBezTo>
                    <a:cubicBezTo>
                      <a:pt x="222781" y="45397"/>
                      <a:pt x="227811" y="42687"/>
                      <a:pt x="228593" y="42270"/>
                    </a:cubicBezTo>
                    <a:cubicBezTo>
                      <a:pt x="230652" y="41150"/>
                      <a:pt x="237010" y="37684"/>
                      <a:pt x="241754" y="41723"/>
                    </a:cubicBezTo>
                    <a:cubicBezTo>
                      <a:pt x="243786" y="43443"/>
                      <a:pt x="245767" y="46779"/>
                      <a:pt x="243682" y="52825"/>
                    </a:cubicBezTo>
                    <a:cubicBezTo>
                      <a:pt x="238157" y="68982"/>
                      <a:pt x="227498" y="114797"/>
                      <a:pt x="223980" y="129860"/>
                    </a:cubicBezTo>
                    <a:cubicBezTo>
                      <a:pt x="223329" y="132700"/>
                      <a:pt x="222912" y="134473"/>
                      <a:pt x="222808" y="134811"/>
                    </a:cubicBezTo>
                    <a:cubicBezTo>
                      <a:pt x="222026" y="137704"/>
                      <a:pt x="220254" y="140050"/>
                      <a:pt x="217752" y="141405"/>
                    </a:cubicBezTo>
                    <a:cubicBezTo>
                      <a:pt x="216214" y="142317"/>
                      <a:pt x="214520" y="142734"/>
                      <a:pt x="212774" y="142734"/>
                    </a:cubicBezTo>
                    <a:close/>
                    <a:moveTo>
                      <a:pt x="213139" y="129599"/>
                    </a:moveTo>
                    <a:cubicBezTo>
                      <a:pt x="213165" y="129599"/>
                      <a:pt x="213165" y="129599"/>
                      <a:pt x="213165" y="129599"/>
                    </a:cubicBezTo>
                    <a:cubicBezTo>
                      <a:pt x="213165" y="129599"/>
                      <a:pt x="213139" y="129599"/>
                      <a:pt x="213139" y="129599"/>
                    </a:cubicBezTo>
                    <a:close/>
                    <a:moveTo>
                      <a:pt x="138580" y="105832"/>
                    </a:moveTo>
                    <a:cubicBezTo>
                      <a:pt x="154008" y="110601"/>
                      <a:pt x="177775" y="118263"/>
                      <a:pt x="194610" y="123684"/>
                    </a:cubicBezTo>
                    <a:cubicBezTo>
                      <a:pt x="201750" y="125977"/>
                      <a:pt x="207536" y="127853"/>
                      <a:pt x="210689" y="128843"/>
                    </a:cubicBezTo>
                    <a:cubicBezTo>
                      <a:pt x="210820" y="128296"/>
                      <a:pt x="210976" y="127645"/>
                      <a:pt x="211132" y="126941"/>
                    </a:cubicBezTo>
                    <a:cubicBezTo>
                      <a:pt x="214181" y="113859"/>
                      <a:pt x="222547" y="77843"/>
                      <a:pt x="228515" y="57281"/>
                    </a:cubicBezTo>
                    <a:lnTo>
                      <a:pt x="215667" y="64213"/>
                    </a:lnTo>
                    <a:cubicBezTo>
                      <a:pt x="214129" y="65047"/>
                      <a:pt x="212305" y="65230"/>
                      <a:pt x="210611" y="64708"/>
                    </a:cubicBezTo>
                    <a:cubicBezTo>
                      <a:pt x="208917" y="64187"/>
                      <a:pt x="207536" y="63041"/>
                      <a:pt x="206702" y="61477"/>
                    </a:cubicBezTo>
                    <a:cubicBezTo>
                      <a:pt x="203340" y="55092"/>
                      <a:pt x="199118" y="46935"/>
                      <a:pt x="194636" y="38283"/>
                    </a:cubicBezTo>
                    <a:cubicBezTo>
                      <a:pt x="190362" y="30022"/>
                      <a:pt x="185853" y="21291"/>
                      <a:pt x="181632" y="13239"/>
                    </a:cubicBezTo>
                    <a:cubicBezTo>
                      <a:pt x="170634" y="13395"/>
                      <a:pt x="138971" y="13812"/>
                      <a:pt x="109027" y="14229"/>
                    </a:cubicBezTo>
                    <a:cubicBezTo>
                      <a:pt x="119920" y="32472"/>
                      <a:pt x="145903" y="76983"/>
                      <a:pt x="153043" y="90560"/>
                    </a:cubicBezTo>
                    <a:cubicBezTo>
                      <a:pt x="154711" y="93740"/>
                      <a:pt x="153512" y="97701"/>
                      <a:pt x="150359" y="99421"/>
                    </a:cubicBezTo>
                    <a:lnTo>
                      <a:pt x="141994" y="103956"/>
                    </a:lnTo>
                    <a:cubicBezTo>
                      <a:pt x="140769" y="104633"/>
                      <a:pt x="139622" y="105259"/>
                      <a:pt x="138580" y="105832"/>
                    </a:cubicBezTo>
                    <a:close/>
                    <a:moveTo>
                      <a:pt x="15391" y="83264"/>
                    </a:moveTo>
                    <a:lnTo>
                      <a:pt x="72855" y="113077"/>
                    </a:lnTo>
                    <a:lnTo>
                      <a:pt x="109079" y="43260"/>
                    </a:lnTo>
                    <a:cubicBezTo>
                      <a:pt x="109340" y="42739"/>
                      <a:pt x="109678" y="42270"/>
                      <a:pt x="110043" y="41879"/>
                    </a:cubicBezTo>
                    <a:cubicBezTo>
                      <a:pt x="103007" y="29865"/>
                      <a:pt x="96909" y="19598"/>
                      <a:pt x="94303" y="15350"/>
                    </a:cubicBezTo>
                    <a:cubicBezTo>
                      <a:pt x="94120" y="15063"/>
                      <a:pt x="93990" y="14802"/>
                      <a:pt x="93860" y="14490"/>
                    </a:cubicBezTo>
                    <a:cubicBezTo>
                      <a:pt x="75070" y="14750"/>
                      <a:pt x="58678" y="14959"/>
                      <a:pt x="50964" y="15063"/>
                    </a:cubicBezTo>
                    <a:lnTo>
                      <a:pt x="15391" y="83264"/>
                    </a:lnTo>
                    <a:close/>
                    <a:moveTo>
                      <a:pt x="129511" y="110888"/>
                    </a:moveTo>
                    <a:cubicBezTo>
                      <a:pt x="129511" y="110888"/>
                      <a:pt x="129511" y="110888"/>
                      <a:pt x="129511" y="110888"/>
                    </a:cubicBezTo>
                    <a:cubicBezTo>
                      <a:pt x="129511" y="110888"/>
                      <a:pt x="129511" y="110888"/>
                      <a:pt x="129511" y="110888"/>
                    </a:cubicBezTo>
                    <a:close/>
                  </a:path>
                </a:pathLst>
              </a:custGeom>
              <a:solidFill>
                <a:schemeClr val="tx2"/>
              </a:solidFill>
              <a:ln w="2604" cap="flat">
                <a:noFill/>
                <a:prstDash val="solid"/>
                <a:miter/>
              </a:ln>
            </p:spPr>
            <p:txBody>
              <a:bodyPr rtlCol="0" anchor="ctr"/>
              <a:lstStyle/>
              <a:p>
                <a:endParaRPr lang="en-GB" dirty="0"/>
              </a:p>
            </p:txBody>
          </p:sp>
          <p:sp>
            <p:nvSpPr>
              <p:cNvPr id="306" name="Freihandform: Form 521">
                <a:extLst>
                  <a:ext uri="{FF2B5EF4-FFF2-40B4-BE49-F238E27FC236}">
                    <a16:creationId xmlns:a16="http://schemas.microsoft.com/office/drawing/2014/main" id="{63723478-F5CF-45AB-BC2D-633D82A05E3F}"/>
                  </a:ext>
                </a:extLst>
              </p:cNvPr>
              <p:cNvSpPr/>
              <p:nvPr/>
            </p:nvSpPr>
            <p:spPr>
              <a:xfrm>
                <a:off x="3378971" y="4294655"/>
                <a:ext cx="165467" cy="222063"/>
              </a:xfrm>
              <a:custGeom>
                <a:avLst/>
                <a:gdLst>
                  <a:gd name="connsiteX0" fmla="*/ 157753 w 165467"/>
                  <a:gd name="connsiteY0" fmla="*/ 222064 h 222063"/>
                  <a:gd name="connsiteX1" fmla="*/ 157649 w 165467"/>
                  <a:gd name="connsiteY1" fmla="*/ 222064 h 222063"/>
                  <a:gd name="connsiteX2" fmla="*/ 70189 w 165467"/>
                  <a:gd name="connsiteY2" fmla="*/ 220605 h 222063"/>
                  <a:gd name="connsiteX3" fmla="*/ 64456 w 165467"/>
                  <a:gd name="connsiteY3" fmla="*/ 217034 h 222063"/>
                  <a:gd name="connsiteX4" fmla="*/ 738 w 165467"/>
                  <a:gd name="connsiteY4" fmla="*/ 93898 h 222063"/>
                  <a:gd name="connsiteX5" fmla="*/ 1233 w 165467"/>
                  <a:gd name="connsiteY5" fmla="*/ 87044 h 222063"/>
                  <a:gd name="connsiteX6" fmla="*/ 20205 w 165467"/>
                  <a:gd name="connsiteY6" fmla="*/ 60879 h 222063"/>
                  <a:gd name="connsiteX7" fmla="*/ 31646 w 165467"/>
                  <a:gd name="connsiteY7" fmla="*/ 45165 h 222063"/>
                  <a:gd name="connsiteX8" fmla="*/ 19293 w 165467"/>
                  <a:gd name="connsiteY8" fmla="*/ 36513 h 222063"/>
                  <a:gd name="connsiteX9" fmla="*/ 12908 w 165467"/>
                  <a:gd name="connsiteY9" fmla="*/ 24968 h 222063"/>
                  <a:gd name="connsiteX10" fmla="*/ 21977 w 165467"/>
                  <a:gd name="connsiteY10" fmla="*/ 18270 h 222063"/>
                  <a:gd name="connsiteX11" fmla="*/ 99898 w 165467"/>
                  <a:gd name="connsiteY11" fmla="*/ 1357 h 222063"/>
                  <a:gd name="connsiteX12" fmla="*/ 104615 w 165467"/>
                  <a:gd name="connsiteY12" fmla="*/ 236 h 222063"/>
                  <a:gd name="connsiteX13" fmla="*/ 112798 w 165467"/>
                  <a:gd name="connsiteY13" fmla="*/ 1800 h 222063"/>
                  <a:gd name="connsiteX14" fmla="*/ 117176 w 165467"/>
                  <a:gd name="connsiteY14" fmla="*/ 8941 h 222063"/>
                  <a:gd name="connsiteX15" fmla="*/ 120174 w 165467"/>
                  <a:gd name="connsiteY15" fmla="*/ 28199 h 222063"/>
                  <a:gd name="connsiteX16" fmla="*/ 130937 w 165467"/>
                  <a:gd name="connsiteY16" fmla="*/ 95983 h 222063"/>
                  <a:gd name="connsiteX17" fmla="*/ 127705 w 165467"/>
                  <a:gd name="connsiteY17" fmla="*/ 106120 h 222063"/>
                  <a:gd name="connsiteX18" fmla="*/ 115613 w 165467"/>
                  <a:gd name="connsiteY18" fmla="*/ 104088 h 222063"/>
                  <a:gd name="connsiteX19" fmla="*/ 106049 w 165467"/>
                  <a:gd name="connsiteY19" fmla="*/ 97416 h 222063"/>
                  <a:gd name="connsiteX20" fmla="*/ 103182 w 165467"/>
                  <a:gd name="connsiteY20" fmla="*/ 95409 h 222063"/>
                  <a:gd name="connsiteX21" fmla="*/ 80249 w 165467"/>
                  <a:gd name="connsiteY21" fmla="*/ 129862 h 222063"/>
                  <a:gd name="connsiteX22" fmla="*/ 158978 w 165467"/>
                  <a:gd name="connsiteY22" fmla="*/ 131008 h 222063"/>
                  <a:gd name="connsiteX23" fmla="*/ 165467 w 165467"/>
                  <a:gd name="connsiteY23" fmla="*/ 137680 h 222063"/>
                  <a:gd name="connsiteX24" fmla="*/ 164320 w 165467"/>
                  <a:gd name="connsiteY24" fmla="*/ 215575 h 222063"/>
                  <a:gd name="connsiteX25" fmla="*/ 162313 w 165467"/>
                  <a:gd name="connsiteY25" fmla="*/ 220188 h 222063"/>
                  <a:gd name="connsiteX26" fmla="*/ 157753 w 165467"/>
                  <a:gd name="connsiteY26" fmla="*/ 222064 h 222063"/>
                  <a:gd name="connsiteX27" fmla="*/ 74333 w 165467"/>
                  <a:gd name="connsiteY27" fmla="*/ 207496 h 222063"/>
                  <a:gd name="connsiteX28" fmla="*/ 151264 w 165467"/>
                  <a:gd name="connsiteY28" fmla="*/ 208799 h 222063"/>
                  <a:gd name="connsiteX29" fmla="*/ 152202 w 165467"/>
                  <a:gd name="connsiteY29" fmla="*/ 144065 h 222063"/>
                  <a:gd name="connsiteX30" fmla="*/ 73551 w 165467"/>
                  <a:gd name="connsiteY30" fmla="*/ 142918 h 222063"/>
                  <a:gd name="connsiteX31" fmla="*/ 71857 w 165467"/>
                  <a:gd name="connsiteY31" fmla="*/ 142683 h 222063"/>
                  <a:gd name="connsiteX32" fmla="*/ 55178 w 165467"/>
                  <a:gd name="connsiteY32" fmla="*/ 168640 h 222063"/>
                  <a:gd name="connsiteX33" fmla="*/ 54631 w 165467"/>
                  <a:gd name="connsiteY33" fmla="*/ 169422 h 222063"/>
                  <a:gd name="connsiteX34" fmla="*/ 74333 w 165467"/>
                  <a:gd name="connsiteY34" fmla="*/ 207496 h 222063"/>
                  <a:gd name="connsiteX35" fmla="*/ 14263 w 165467"/>
                  <a:gd name="connsiteY35" fmla="*/ 91448 h 222063"/>
                  <a:gd name="connsiteX36" fmla="*/ 47647 w 165467"/>
                  <a:gd name="connsiteY36" fmla="*/ 155922 h 222063"/>
                  <a:gd name="connsiteX37" fmla="*/ 96224 w 165467"/>
                  <a:gd name="connsiteY37" fmla="*/ 82405 h 222063"/>
                  <a:gd name="connsiteX38" fmla="*/ 105345 w 165467"/>
                  <a:gd name="connsiteY38" fmla="*/ 80842 h 222063"/>
                  <a:gd name="connsiteX39" fmla="*/ 113632 w 165467"/>
                  <a:gd name="connsiteY39" fmla="*/ 86653 h 222063"/>
                  <a:gd name="connsiteX40" fmla="*/ 116369 w 165467"/>
                  <a:gd name="connsiteY40" fmla="*/ 88556 h 222063"/>
                  <a:gd name="connsiteX41" fmla="*/ 107195 w 165467"/>
                  <a:gd name="connsiteY41" fmla="*/ 30206 h 222063"/>
                  <a:gd name="connsiteX42" fmla="*/ 104642 w 165467"/>
                  <a:gd name="connsiteY42" fmla="*/ 13736 h 222063"/>
                  <a:gd name="connsiteX43" fmla="*/ 102948 w 165467"/>
                  <a:gd name="connsiteY43" fmla="*/ 14153 h 222063"/>
                  <a:gd name="connsiteX44" fmla="*/ 32688 w 165467"/>
                  <a:gd name="connsiteY44" fmla="*/ 29841 h 222063"/>
                  <a:gd name="connsiteX45" fmla="*/ 44650 w 165467"/>
                  <a:gd name="connsiteY45" fmla="*/ 38233 h 222063"/>
                  <a:gd name="connsiteX46" fmla="*/ 47360 w 165467"/>
                  <a:gd name="connsiteY46" fmla="*/ 42507 h 222063"/>
                  <a:gd name="connsiteX47" fmla="*/ 46214 w 165467"/>
                  <a:gd name="connsiteY47" fmla="*/ 47432 h 222063"/>
                  <a:gd name="connsiteX48" fmla="*/ 30838 w 165467"/>
                  <a:gd name="connsiteY48" fmla="*/ 68645 h 222063"/>
                  <a:gd name="connsiteX49" fmla="*/ 14263 w 165467"/>
                  <a:gd name="connsiteY49" fmla="*/ 91448 h 222063"/>
                  <a:gd name="connsiteX50" fmla="*/ 124916 w 165467"/>
                  <a:gd name="connsiteY50" fmla="*/ 94393 h 222063"/>
                  <a:gd name="connsiteX51" fmla="*/ 124916 w 165467"/>
                  <a:gd name="connsiteY51" fmla="*/ 94393 h 222063"/>
                  <a:gd name="connsiteX52" fmla="*/ 124916 w 165467"/>
                  <a:gd name="connsiteY52" fmla="*/ 94393 h 222063"/>
                  <a:gd name="connsiteX53" fmla="*/ 104198 w 165467"/>
                  <a:gd name="connsiteY53" fmla="*/ 11208 h 222063"/>
                  <a:gd name="connsiteX54" fmla="*/ 104198 w 165467"/>
                  <a:gd name="connsiteY54" fmla="*/ 11234 h 222063"/>
                  <a:gd name="connsiteX55" fmla="*/ 104198 w 165467"/>
                  <a:gd name="connsiteY55" fmla="*/ 11208 h 222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5467" h="222063">
                    <a:moveTo>
                      <a:pt x="157753" y="222064"/>
                    </a:moveTo>
                    <a:cubicBezTo>
                      <a:pt x="157727" y="222064"/>
                      <a:pt x="157675" y="222064"/>
                      <a:pt x="157649" y="222064"/>
                    </a:cubicBezTo>
                    <a:lnTo>
                      <a:pt x="70189" y="220605"/>
                    </a:lnTo>
                    <a:cubicBezTo>
                      <a:pt x="67766" y="220579"/>
                      <a:pt x="65577" y="219197"/>
                      <a:pt x="64456" y="217034"/>
                    </a:cubicBezTo>
                    <a:cubicBezTo>
                      <a:pt x="59374" y="207209"/>
                      <a:pt x="738" y="93898"/>
                      <a:pt x="738" y="93898"/>
                    </a:cubicBezTo>
                    <a:cubicBezTo>
                      <a:pt x="-409" y="91709"/>
                      <a:pt x="-200" y="89051"/>
                      <a:pt x="1233" y="87044"/>
                    </a:cubicBezTo>
                    <a:cubicBezTo>
                      <a:pt x="7175" y="78757"/>
                      <a:pt x="13898" y="69558"/>
                      <a:pt x="20205" y="60879"/>
                    </a:cubicBezTo>
                    <a:cubicBezTo>
                      <a:pt x="24297" y="55276"/>
                      <a:pt x="28206" y="49882"/>
                      <a:pt x="31646" y="45165"/>
                    </a:cubicBezTo>
                    <a:lnTo>
                      <a:pt x="19293" y="36513"/>
                    </a:lnTo>
                    <a:cubicBezTo>
                      <a:pt x="17365" y="35157"/>
                      <a:pt x="11423" y="30988"/>
                      <a:pt x="12908" y="24968"/>
                    </a:cubicBezTo>
                    <a:cubicBezTo>
                      <a:pt x="13534" y="22388"/>
                      <a:pt x="15644" y="19104"/>
                      <a:pt x="21977" y="18270"/>
                    </a:cubicBezTo>
                    <a:cubicBezTo>
                      <a:pt x="38969" y="15977"/>
                      <a:pt x="84809" y="4953"/>
                      <a:pt x="99898" y="1357"/>
                    </a:cubicBezTo>
                    <a:cubicBezTo>
                      <a:pt x="102609" y="705"/>
                      <a:pt x="104303" y="314"/>
                      <a:pt x="104615" y="236"/>
                    </a:cubicBezTo>
                    <a:cubicBezTo>
                      <a:pt x="107586" y="-363"/>
                      <a:pt x="110479" y="184"/>
                      <a:pt x="112798" y="1800"/>
                    </a:cubicBezTo>
                    <a:cubicBezTo>
                      <a:pt x="115144" y="3416"/>
                      <a:pt x="116707" y="5944"/>
                      <a:pt x="117176" y="8941"/>
                    </a:cubicBezTo>
                    <a:cubicBezTo>
                      <a:pt x="117359" y="9879"/>
                      <a:pt x="118558" y="17619"/>
                      <a:pt x="120174" y="28199"/>
                    </a:cubicBezTo>
                    <a:cubicBezTo>
                      <a:pt x="123509" y="49908"/>
                      <a:pt x="128591" y="82744"/>
                      <a:pt x="130937" y="95983"/>
                    </a:cubicBezTo>
                    <a:cubicBezTo>
                      <a:pt x="131796" y="100778"/>
                      <a:pt x="130702" y="104192"/>
                      <a:pt x="127705" y="106120"/>
                    </a:cubicBezTo>
                    <a:cubicBezTo>
                      <a:pt x="122962" y="109170"/>
                      <a:pt x="118010" y="105730"/>
                      <a:pt x="115613" y="104088"/>
                    </a:cubicBezTo>
                    <a:cubicBezTo>
                      <a:pt x="114961" y="103645"/>
                      <a:pt x="111417" y="101169"/>
                      <a:pt x="106049" y="97416"/>
                    </a:cubicBezTo>
                    <a:lnTo>
                      <a:pt x="103182" y="95409"/>
                    </a:lnTo>
                    <a:cubicBezTo>
                      <a:pt x="97501" y="103697"/>
                      <a:pt x="88770" y="116857"/>
                      <a:pt x="80249" y="129862"/>
                    </a:cubicBezTo>
                    <a:lnTo>
                      <a:pt x="158978" y="131008"/>
                    </a:lnTo>
                    <a:cubicBezTo>
                      <a:pt x="162626" y="131061"/>
                      <a:pt x="165519" y="134058"/>
                      <a:pt x="165467" y="137680"/>
                    </a:cubicBezTo>
                    <a:lnTo>
                      <a:pt x="164320" y="215575"/>
                    </a:lnTo>
                    <a:cubicBezTo>
                      <a:pt x="164294" y="217321"/>
                      <a:pt x="163564" y="218989"/>
                      <a:pt x="162313" y="220188"/>
                    </a:cubicBezTo>
                    <a:cubicBezTo>
                      <a:pt x="161089" y="221412"/>
                      <a:pt x="159447" y="222064"/>
                      <a:pt x="157753" y="222064"/>
                    </a:cubicBezTo>
                    <a:close/>
                    <a:moveTo>
                      <a:pt x="74333" y="207496"/>
                    </a:moveTo>
                    <a:lnTo>
                      <a:pt x="151264" y="208799"/>
                    </a:lnTo>
                    <a:lnTo>
                      <a:pt x="152202" y="144065"/>
                    </a:lnTo>
                    <a:lnTo>
                      <a:pt x="73551" y="142918"/>
                    </a:lnTo>
                    <a:cubicBezTo>
                      <a:pt x="72978" y="142918"/>
                      <a:pt x="72404" y="142840"/>
                      <a:pt x="71857" y="142683"/>
                    </a:cubicBezTo>
                    <a:cubicBezTo>
                      <a:pt x="64274" y="154332"/>
                      <a:pt x="57811" y="164392"/>
                      <a:pt x="55178" y="168640"/>
                    </a:cubicBezTo>
                    <a:cubicBezTo>
                      <a:pt x="54996" y="168927"/>
                      <a:pt x="54814" y="169161"/>
                      <a:pt x="54631" y="169422"/>
                    </a:cubicBezTo>
                    <a:cubicBezTo>
                      <a:pt x="63257" y="186074"/>
                      <a:pt x="70789" y="200642"/>
                      <a:pt x="74333" y="207496"/>
                    </a:cubicBezTo>
                    <a:close/>
                    <a:moveTo>
                      <a:pt x="14263" y="91448"/>
                    </a:moveTo>
                    <a:cubicBezTo>
                      <a:pt x="19319" y="101221"/>
                      <a:pt x="33887" y="129340"/>
                      <a:pt x="47647" y="155922"/>
                    </a:cubicBezTo>
                    <a:cubicBezTo>
                      <a:pt x="59140" y="137914"/>
                      <a:pt x="87103" y="95097"/>
                      <a:pt x="96224" y="82405"/>
                    </a:cubicBezTo>
                    <a:cubicBezTo>
                      <a:pt x="98335" y="79487"/>
                      <a:pt x="102400" y="78783"/>
                      <a:pt x="105345" y="80842"/>
                    </a:cubicBezTo>
                    <a:lnTo>
                      <a:pt x="113632" y="86653"/>
                    </a:lnTo>
                    <a:cubicBezTo>
                      <a:pt x="114597" y="87331"/>
                      <a:pt x="115509" y="87956"/>
                      <a:pt x="116369" y="88556"/>
                    </a:cubicBezTo>
                    <a:cubicBezTo>
                      <a:pt x="113737" y="72580"/>
                      <a:pt x="109905" y="47771"/>
                      <a:pt x="107195" y="30206"/>
                    </a:cubicBezTo>
                    <a:cubicBezTo>
                      <a:pt x="106075" y="22883"/>
                      <a:pt x="105163" y="16967"/>
                      <a:pt x="104642" y="13736"/>
                    </a:cubicBezTo>
                    <a:cubicBezTo>
                      <a:pt x="104146" y="13866"/>
                      <a:pt x="103573" y="13996"/>
                      <a:pt x="102948" y="14153"/>
                    </a:cubicBezTo>
                    <a:cubicBezTo>
                      <a:pt x="89865" y="17306"/>
                      <a:pt x="53771" y="25958"/>
                      <a:pt x="32688" y="29841"/>
                    </a:cubicBezTo>
                    <a:lnTo>
                      <a:pt x="44650" y="38233"/>
                    </a:lnTo>
                    <a:cubicBezTo>
                      <a:pt x="46083" y="39249"/>
                      <a:pt x="47073" y="40787"/>
                      <a:pt x="47360" y="42507"/>
                    </a:cubicBezTo>
                    <a:cubicBezTo>
                      <a:pt x="47647" y="44226"/>
                      <a:pt x="47256" y="46025"/>
                      <a:pt x="46214" y="47432"/>
                    </a:cubicBezTo>
                    <a:cubicBezTo>
                      <a:pt x="42018" y="53296"/>
                      <a:pt x="36597" y="60749"/>
                      <a:pt x="30838" y="68645"/>
                    </a:cubicBezTo>
                    <a:cubicBezTo>
                      <a:pt x="25339" y="76151"/>
                      <a:pt x="19554" y="84073"/>
                      <a:pt x="14263" y="91448"/>
                    </a:cubicBezTo>
                    <a:close/>
                    <a:moveTo>
                      <a:pt x="124916" y="94393"/>
                    </a:moveTo>
                    <a:lnTo>
                      <a:pt x="124916" y="94393"/>
                    </a:lnTo>
                    <a:lnTo>
                      <a:pt x="124916" y="94393"/>
                    </a:lnTo>
                    <a:close/>
                    <a:moveTo>
                      <a:pt x="104198" y="11208"/>
                    </a:moveTo>
                    <a:cubicBezTo>
                      <a:pt x="104198" y="11208"/>
                      <a:pt x="104198" y="11234"/>
                      <a:pt x="104198" y="11234"/>
                    </a:cubicBezTo>
                    <a:cubicBezTo>
                      <a:pt x="104198" y="11234"/>
                      <a:pt x="104198" y="11208"/>
                      <a:pt x="104198" y="11208"/>
                    </a:cubicBezTo>
                    <a:close/>
                  </a:path>
                </a:pathLst>
              </a:custGeom>
              <a:solidFill>
                <a:schemeClr val="tx2"/>
              </a:solidFill>
              <a:ln w="2604" cap="flat">
                <a:noFill/>
                <a:prstDash val="solid"/>
                <a:miter/>
              </a:ln>
            </p:spPr>
            <p:txBody>
              <a:bodyPr rtlCol="0" anchor="ctr"/>
              <a:lstStyle/>
              <a:p>
                <a:endParaRPr lang="en-GB" dirty="0"/>
              </a:p>
            </p:txBody>
          </p:sp>
          <p:sp>
            <p:nvSpPr>
              <p:cNvPr id="307" name="Freihandform: Form 522">
                <a:extLst>
                  <a:ext uri="{FF2B5EF4-FFF2-40B4-BE49-F238E27FC236}">
                    <a16:creationId xmlns:a16="http://schemas.microsoft.com/office/drawing/2014/main" id="{1D181288-0CA2-4490-884E-C69318AD4ED3}"/>
                  </a:ext>
                </a:extLst>
              </p:cNvPr>
              <p:cNvSpPr/>
              <p:nvPr/>
            </p:nvSpPr>
            <p:spPr>
              <a:xfrm>
                <a:off x="3678974" y="4294630"/>
                <a:ext cx="186840" cy="244917"/>
              </a:xfrm>
              <a:custGeom>
                <a:avLst/>
                <a:gdLst>
                  <a:gd name="connsiteX0" fmla="*/ 83122 w 186840"/>
                  <a:gd name="connsiteY0" fmla="*/ 244917 h 244917"/>
                  <a:gd name="connsiteX1" fmla="*/ 76033 w 186840"/>
                  <a:gd name="connsiteY1" fmla="*/ 242077 h 244917"/>
                  <a:gd name="connsiteX2" fmla="*/ 9240 w 186840"/>
                  <a:gd name="connsiteY2" fmla="*/ 199103 h 244917"/>
                  <a:gd name="connsiteX3" fmla="*/ 4836 w 186840"/>
                  <a:gd name="connsiteY3" fmla="*/ 196366 h 244917"/>
                  <a:gd name="connsiteX4" fmla="*/ 171 w 186840"/>
                  <a:gd name="connsiteY4" fmla="*/ 189487 h 244917"/>
                  <a:gd name="connsiteX5" fmla="*/ 2099 w 186840"/>
                  <a:gd name="connsiteY5" fmla="*/ 181330 h 244917"/>
                  <a:gd name="connsiteX6" fmla="*/ 13644 w 186840"/>
                  <a:gd name="connsiteY6" fmla="*/ 165511 h 244917"/>
                  <a:gd name="connsiteX7" fmla="*/ 53908 w 186840"/>
                  <a:gd name="connsiteY7" fmla="*/ 110028 h 244917"/>
                  <a:gd name="connsiteX8" fmla="*/ 63368 w 186840"/>
                  <a:gd name="connsiteY8" fmla="*/ 105129 h 244917"/>
                  <a:gd name="connsiteX9" fmla="*/ 70482 w 186840"/>
                  <a:gd name="connsiteY9" fmla="*/ 115110 h 244917"/>
                  <a:gd name="connsiteX10" fmla="*/ 72698 w 186840"/>
                  <a:gd name="connsiteY10" fmla="*/ 127515 h 244917"/>
                  <a:gd name="connsiteX11" fmla="*/ 73141 w 186840"/>
                  <a:gd name="connsiteY11" fmla="*/ 130068 h 244917"/>
                  <a:gd name="connsiteX12" fmla="*/ 113717 w 186840"/>
                  <a:gd name="connsiteY12" fmla="*/ 121938 h 244917"/>
                  <a:gd name="connsiteX13" fmla="*/ 58859 w 186840"/>
                  <a:gd name="connsiteY13" fmla="*/ 65438 h 244917"/>
                  <a:gd name="connsiteX14" fmla="*/ 58990 w 186840"/>
                  <a:gd name="connsiteY14" fmla="*/ 56135 h 244917"/>
                  <a:gd name="connsiteX15" fmla="*/ 114864 w 186840"/>
                  <a:gd name="connsiteY15" fmla="*/ 1851 h 244917"/>
                  <a:gd name="connsiteX16" fmla="*/ 119555 w 186840"/>
                  <a:gd name="connsiteY16" fmla="*/ 0 h 244917"/>
                  <a:gd name="connsiteX17" fmla="*/ 124193 w 186840"/>
                  <a:gd name="connsiteY17" fmla="*/ 2007 h 244917"/>
                  <a:gd name="connsiteX18" fmla="*/ 184993 w 186840"/>
                  <a:gd name="connsiteY18" fmla="*/ 64891 h 244917"/>
                  <a:gd name="connsiteX19" fmla="*/ 186530 w 186840"/>
                  <a:gd name="connsiteY19" fmla="*/ 71458 h 244917"/>
                  <a:gd name="connsiteX20" fmla="*/ 144521 w 186840"/>
                  <a:gd name="connsiteY20" fmla="*/ 203585 h 244917"/>
                  <a:gd name="connsiteX21" fmla="*/ 139308 w 186840"/>
                  <a:gd name="connsiteY21" fmla="*/ 208094 h 244917"/>
                  <a:gd name="connsiteX22" fmla="*/ 106967 w 186840"/>
                  <a:gd name="connsiteY22" fmla="*/ 213254 h 244917"/>
                  <a:gd name="connsiteX23" fmla="*/ 88204 w 186840"/>
                  <a:gd name="connsiteY23" fmla="*/ 216225 h 244917"/>
                  <a:gd name="connsiteX24" fmla="*/ 90810 w 186840"/>
                  <a:gd name="connsiteY24" fmla="*/ 231079 h 244917"/>
                  <a:gd name="connsiteX25" fmla="*/ 87161 w 186840"/>
                  <a:gd name="connsiteY25" fmla="*/ 243771 h 244917"/>
                  <a:gd name="connsiteX26" fmla="*/ 83122 w 186840"/>
                  <a:gd name="connsiteY26" fmla="*/ 244917 h 244917"/>
                  <a:gd name="connsiteX27" fmla="*/ 14374 w 186840"/>
                  <a:gd name="connsiteY27" fmla="*/ 186802 h 244917"/>
                  <a:gd name="connsiteX28" fmla="*/ 16120 w 186840"/>
                  <a:gd name="connsiteY28" fmla="*/ 187871 h 244917"/>
                  <a:gd name="connsiteX29" fmla="*/ 76633 w 186840"/>
                  <a:gd name="connsiteY29" fmla="*/ 226310 h 244917"/>
                  <a:gd name="connsiteX30" fmla="*/ 74105 w 186840"/>
                  <a:gd name="connsiteY30" fmla="*/ 211925 h 244917"/>
                  <a:gd name="connsiteX31" fmla="*/ 75226 w 186840"/>
                  <a:gd name="connsiteY31" fmla="*/ 206973 h 244917"/>
                  <a:gd name="connsiteX32" fmla="*/ 79526 w 186840"/>
                  <a:gd name="connsiteY32" fmla="*/ 204289 h 244917"/>
                  <a:gd name="connsiteX33" fmla="*/ 104935 w 186840"/>
                  <a:gd name="connsiteY33" fmla="*/ 200250 h 244917"/>
                  <a:gd name="connsiteX34" fmla="*/ 133210 w 186840"/>
                  <a:gd name="connsiteY34" fmla="*/ 195767 h 244917"/>
                  <a:gd name="connsiteX35" fmla="*/ 155205 w 186840"/>
                  <a:gd name="connsiteY35" fmla="*/ 126576 h 244917"/>
                  <a:gd name="connsiteX36" fmla="*/ 68867 w 186840"/>
                  <a:gd name="connsiteY36" fmla="*/ 144219 h 244917"/>
                  <a:gd name="connsiteX37" fmla="*/ 61335 w 186840"/>
                  <a:gd name="connsiteY37" fmla="*/ 138877 h 244917"/>
                  <a:gd name="connsiteX38" fmla="*/ 59745 w 186840"/>
                  <a:gd name="connsiteY38" fmla="*/ 129834 h 244917"/>
                  <a:gd name="connsiteX39" fmla="*/ 59016 w 186840"/>
                  <a:gd name="connsiteY39" fmla="*/ 125638 h 244917"/>
                  <a:gd name="connsiteX40" fmla="*/ 24277 w 186840"/>
                  <a:gd name="connsiteY40" fmla="*/ 173303 h 244917"/>
                  <a:gd name="connsiteX41" fmla="*/ 14374 w 186840"/>
                  <a:gd name="connsiteY41" fmla="*/ 186802 h 244917"/>
                  <a:gd name="connsiteX42" fmla="*/ 12889 w 186840"/>
                  <a:gd name="connsiteY42" fmla="*/ 188887 h 244917"/>
                  <a:gd name="connsiteX43" fmla="*/ 12889 w 186840"/>
                  <a:gd name="connsiteY43" fmla="*/ 188887 h 244917"/>
                  <a:gd name="connsiteX44" fmla="*/ 12889 w 186840"/>
                  <a:gd name="connsiteY44" fmla="*/ 188887 h 244917"/>
                  <a:gd name="connsiteX45" fmla="*/ 72880 w 186840"/>
                  <a:gd name="connsiteY45" fmla="*/ 61008 h 244917"/>
                  <a:gd name="connsiteX46" fmla="*/ 127686 w 186840"/>
                  <a:gd name="connsiteY46" fmla="*/ 117455 h 244917"/>
                  <a:gd name="connsiteX47" fmla="*/ 128702 w 186840"/>
                  <a:gd name="connsiteY47" fmla="*/ 118810 h 244917"/>
                  <a:gd name="connsiteX48" fmla="*/ 158854 w 186840"/>
                  <a:gd name="connsiteY48" fmla="*/ 112269 h 244917"/>
                  <a:gd name="connsiteX49" fmla="*/ 159792 w 186840"/>
                  <a:gd name="connsiteY49" fmla="*/ 112113 h 244917"/>
                  <a:gd name="connsiteX50" fmla="*/ 172796 w 186840"/>
                  <a:gd name="connsiteY50" fmla="*/ 71224 h 244917"/>
                  <a:gd name="connsiteX51" fmla="*/ 119320 w 186840"/>
                  <a:gd name="connsiteY51" fmla="*/ 15923 h 244917"/>
                  <a:gd name="connsiteX52" fmla="*/ 72880 w 186840"/>
                  <a:gd name="connsiteY52" fmla="*/ 61008 h 24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86840" h="244917">
                    <a:moveTo>
                      <a:pt x="83122" y="244917"/>
                    </a:moveTo>
                    <a:cubicBezTo>
                      <a:pt x="81167" y="244917"/>
                      <a:pt x="78796" y="244188"/>
                      <a:pt x="76033" y="242077"/>
                    </a:cubicBezTo>
                    <a:cubicBezTo>
                      <a:pt x="62482" y="231757"/>
                      <a:pt x="22427" y="207182"/>
                      <a:pt x="9240" y="199103"/>
                    </a:cubicBezTo>
                    <a:cubicBezTo>
                      <a:pt x="6686" y="197539"/>
                      <a:pt x="5123" y="196575"/>
                      <a:pt x="4836" y="196366"/>
                    </a:cubicBezTo>
                    <a:cubicBezTo>
                      <a:pt x="2334" y="194725"/>
                      <a:pt x="692" y="192275"/>
                      <a:pt x="171" y="189487"/>
                    </a:cubicBezTo>
                    <a:cubicBezTo>
                      <a:pt x="-350" y="186698"/>
                      <a:pt x="327" y="183779"/>
                      <a:pt x="2099" y="181330"/>
                    </a:cubicBezTo>
                    <a:cubicBezTo>
                      <a:pt x="2647" y="180522"/>
                      <a:pt x="7285" y="174189"/>
                      <a:pt x="13644" y="165511"/>
                    </a:cubicBezTo>
                    <a:cubicBezTo>
                      <a:pt x="26623" y="147816"/>
                      <a:pt x="46246" y="121052"/>
                      <a:pt x="53908" y="110028"/>
                    </a:cubicBezTo>
                    <a:cubicBezTo>
                      <a:pt x="56697" y="106015"/>
                      <a:pt x="59876" y="104373"/>
                      <a:pt x="63368" y="105129"/>
                    </a:cubicBezTo>
                    <a:cubicBezTo>
                      <a:pt x="68867" y="106327"/>
                      <a:pt x="69961" y="112243"/>
                      <a:pt x="70482" y="115110"/>
                    </a:cubicBezTo>
                    <a:cubicBezTo>
                      <a:pt x="70639" y="115943"/>
                      <a:pt x="71447" y="120582"/>
                      <a:pt x="72698" y="127515"/>
                    </a:cubicBezTo>
                    <a:lnTo>
                      <a:pt x="73141" y="130068"/>
                    </a:lnTo>
                    <a:cubicBezTo>
                      <a:pt x="83044" y="128218"/>
                      <a:pt x="98497" y="125091"/>
                      <a:pt x="113717" y="121938"/>
                    </a:cubicBezTo>
                    <a:lnTo>
                      <a:pt x="58859" y="65438"/>
                    </a:lnTo>
                    <a:cubicBezTo>
                      <a:pt x="56332" y="62832"/>
                      <a:pt x="56384" y="58662"/>
                      <a:pt x="58990" y="56135"/>
                    </a:cubicBezTo>
                    <a:lnTo>
                      <a:pt x="114864" y="1851"/>
                    </a:lnTo>
                    <a:cubicBezTo>
                      <a:pt x="116114" y="652"/>
                      <a:pt x="117835" y="104"/>
                      <a:pt x="119555" y="0"/>
                    </a:cubicBezTo>
                    <a:cubicBezTo>
                      <a:pt x="121300" y="26"/>
                      <a:pt x="122968" y="756"/>
                      <a:pt x="124193" y="2007"/>
                    </a:cubicBezTo>
                    <a:lnTo>
                      <a:pt x="184993" y="64891"/>
                    </a:lnTo>
                    <a:cubicBezTo>
                      <a:pt x="186687" y="66637"/>
                      <a:pt x="187260" y="69165"/>
                      <a:pt x="186530" y="71458"/>
                    </a:cubicBezTo>
                    <a:cubicBezTo>
                      <a:pt x="183169" y="82013"/>
                      <a:pt x="144521" y="203585"/>
                      <a:pt x="144521" y="203585"/>
                    </a:cubicBezTo>
                    <a:cubicBezTo>
                      <a:pt x="143765" y="205931"/>
                      <a:pt x="141758" y="207677"/>
                      <a:pt x="139308" y="208094"/>
                    </a:cubicBezTo>
                    <a:cubicBezTo>
                      <a:pt x="129119" y="209788"/>
                      <a:pt x="117678" y="211560"/>
                      <a:pt x="106967" y="213254"/>
                    </a:cubicBezTo>
                    <a:cubicBezTo>
                      <a:pt x="100270" y="214296"/>
                      <a:pt x="93859" y="215312"/>
                      <a:pt x="88204" y="216225"/>
                    </a:cubicBezTo>
                    <a:lnTo>
                      <a:pt x="90810" y="231079"/>
                    </a:lnTo>
                    <a:cubicBezTo>
                      <a:pt x="91227" y="233399"/>
                      <a:pt x="92478" y="240539"/>
                      <a:pt x="87161" y="243771"/>
                    </a:cubicBezTo>
                    <a:cubicBezTo>
                      <a:pt x="86145" y="244396"/>
                      <a:pt x="84764" y="244917"/>
                      <a:pt x="83122" y="244917"/>
                    </a:cubicBezTo>
                    <a:close/>
                    <a:moveTo>
                      <a:pt x="14374" y="186802"/>
                    </a:moveTo>
                    <a:cubicBezTo>
                      <a:pt x="14895" y="187115"/>
                      <a:pt x="15469" y="187480"/>
                      <a:pt x="16120" y="187871"/>
                    </a:cubicBezTo>
                    <a:cubicBezTo>
                      <a:pt x="27561" y="194881"/>
                      <a:pt x="59042" y="214192"/>
                      <a:pt x="76633" y="226310"/>
                    </a:cubicBezTo>
                    <a:lnTo>
                      <a:pt x="74105" y="211925"/>
                    </a:lnTo>
                    <a:cubicBezTo>
                      <a:pt x="73792" y="210205"/>
                      <a:pt x="74209" y="208406"/>
                      <a:pt x="75226" y="206973"/>
                    </a:cubicBezTo>
                    <a:cubicBezTo>
                      <a:pt x="76242" y="205540"/>
                      <a:pt x="77779" y="204576"/>
                      <a:pt x="79526" y="204289"/>
                    </a:cubicBezTo>
                    <a:cubicBezTo>
                      <a:pt x="86536" y="203142"/>
                      <a:pt x="95449" y="201735"/>
                      <a:pt x="104935" y="200250"/>
                    </a:cubicBezTo>
                    <a:cubicBezTo>
                      <a:pt x="114238" y="198790"/>
                      <a:pt x="124089" y="197253"/>
                      <a:pt x="133210" y="195767"/>
                    </a:cubicBezTo>
                    <a:cubicBezTo>
                      <a:pt x="136546" y="185291"/>
                      <a:pt x="146136" y="155113"/>
                      <a:pt x="155205" y="126576"/>
                    </a:cubicBezTo>
                    <a:cubicBezTo>
                      <a:pt x="134409" y="131163"/>
                      <a:pt x="83930" y="141744"/>
                      <a:pt x="68867" y="144219"/>
                    </a:cubicBezTo>
                    <a:cubicBezTo>
                      <a:pt x="65322" y="144871"/>
                      <a:pt x="61935" y="142421"/>
                      <a:pt x="61335" y="138877"/>
                    </a:cubicBezTo>
                    <a:lnTo>
                      <a:pt x="59745" y="129834"/>
                    </a:lnTo>
                    <a:cubicBezTo>
                      <a:pt x="59485" y="128322"/>
                      <a:pt x="59224" y="126915"/>
                      <a:pt x="59016" y="125638"/>
                    </a:cubicBezTo>
                    <a:cubicBezTo>
                      <a:pt x="49582" y="138799"/>
                      <a:pt x="34780" y="158996"/>
                      <a:pt x="24277" y="173303"/>
                    </a:cubicBezTo>
                    <a:cubicBezTo>
                      <a:pt x="19873" y="179297"/>
                      <a:pt x="16303" y="184170"/>
                      <a:pt x="14374" y="186802"/>
                    </a:cubicBezTo>
                    <a:close/>
                    <a:moveTo>
                      <a:pt x="12889" y="188887"/>
                    </a:moveTo>
                    <a:cubicBezTo>
                      <a:pt x="12889" y="188887"/>
                      <a:pt x="12889" y="188887"/>
                      <a:pt x="12889" y="188887"/>
                    </a:cubicBezTo>
                    <a:cubicBezTo>
                      <a:pt x="12889" y="188887"/>
                      <a:pt x="12889" y="188887"/>
                      <a:pt x="12889" y="188887"/>
                    </a:cubicBezTo>
                    <a:close/>
                    <a:moveTo>
                      <a:pt x="72880" y="61008"/>
                    </a:moveTo>
                    <a:lnTo>
                      <a:pt x="127686" y="117455"/>
                    </a:lnTo>
                    <a:cubicBezTo>
                      <a:pt x="128103" y="117872"/>
                      <a:pt x="128415" y="118341"/>
                      <a:pt x="128702" y="118810"/>
                    </a:cubicBezTo>
                    <a:cubicBezTo>
                      <a:pt x="142305" y="115943"/>
                      <a:pt x="153981" y="113390"/>
                      <a:pt x="158854" y="112269"/>
                    </a:cubicBezTo>
                    <a:cubicBezTo>
                      <a:pt x="159167" y="112191"/>
                      <a:pt x="159479" y="112139"/>
                      <a:pt x="159792" y="112113"/>
                    </a:cubicBezTo>
                    <a:cubicBezTo>
                      <a:pt x="165473" y="94209"/>
                      <a:pt x="170451" y="78573"/>
                      <a:pt x="172796" y="71224"/>
                    </a:cubicBezTo>
                    <a:lnTo>
                      <a:pt x="119320" y="15923"/>
                    </a:lnTo>
                    <a:lnTo>
                      <a:pt x="72880" y="61008"/>
                    </a:lnTo>
                    <a:close/>
                  </a:path>
                </a:pathLst>
              </a:custGeom>
              <a:solidFill>
                <a:schemeClr val="tx2"/>
              </a:solidFill>
              <a:ln w="2604" cap="flat">
                <a:noFill/>
                <a:prstDash val="solid"/>
                <a:miter/>
              </a:ln>
            </p:spPr>
            <p:txBody>
              <a:bodyPr rtlCol="0" anchor="ctr"/>
              <a:lstStyle/>
              <a:p>
                <a:endParaRPr lang="en-GB" dirty="0"/>
              </a:p>
            </p:txBody>
          </p:sp>
        </p:grpSp>
        <p:grpSp>
          <p:nvGrpSpPr>
            <p:cNvPr id="302" name="Group 301">
              <a:extLst>
                <a:ext uri="{FF2B5EF4-FFF2-40B4-BE49-F238E27FC236}">
                  <a16:creationId xmlns:a16="http://schemas.microsoft.com/office/drawing/2014/main" id="{ED03A55A-D136-44C5-8CFA-F160236A1679}"/>
                </a:ext>
              </a:extLst>
            </p:cNvPr>
            <p:cNvGrpSpPr/>
            <p:nvPr/>
          </p:nvGrpSpPr>
          <p:grpSpPr>
            <a:xfrm>
              <a:off x="744618" y="4139236"/>
              <a:ext cx="105098" cy="216412"/>
              <a:chOff x="3569795" y="4225262"/>
              <a:chExt cx="111826" cy="230266"/>
            </a:xfrm>
          </p:grpSpPr>
          <p:sp>
            <p:nvSpPr>
              <p:cNvPr id="303" name="Freihandform: Form 524">
                <a:extLst>
                  <a:ext uri="{FF2B5EF4-FFF2-40B4-BE49-F238E27FC236}">
                    <a16:creationId xmlns:a16="http://schemas.microsoft.com/office/drawing/2014/main" id="{B42E3201-E8F3-4510-BA9C-477FA72D2307}"/>
                  </a:ext>
                </a:extLst>
              </p:cNvPr>
              <p:cNvSpPr/>
              <p:nvPr/>
            </p:nvSpPr>
            <p:spPr>
              <a:xfrm>
                <a:off x="3569795" y="4225262"/>
                <a:ext cx="111826" cy="197377"/>
              </a:xfrm>
              <a:custGeom>
                <a:avLst/>
                <a:gdLst>
                  <a:gd name="connsiteX0" fmla="*/ 52616 w 111826"/>
                  <a:gd name="connsiteY0" fmla="*/ 197378 h 197377"/>
                  <a:gd name="connsiteX1" fmla="*/ 48316 w 111826"/>
                  <a:gd name="connsiteY1" fmla="*/ 195762 h 197377"/>
                  <a:gd name="connsiteX2" fmla="*/ 32888 w 111826"/>
                  <a:gd name="connsiteY2" fmla="*/ 183670 h 197377"/>
                  <a:gd name="connsiteX3" fmla="*/ 0 w 111826"/>
                  <a:gd name="connsiteY3" fmla="*/ 128291 h 197377"/>
                  <a:gd name="connsiteX4" fmla="*/ 21917 w 111826"/>
                  <a:gd name="connsiteY4" fmla="*/ 71141 h 197377"/>
                  <a:gd name="connsiteX5" fmla="*/ 46049 w 111826"/>
                  <a:gd name="connsiteY5" fmla="*/ 6589 h 197377"/>
                  <a:gd name="connsiteX6" fmla="*/ 49906 w 111826"/>
                  <a:gd name="connsiteY6" fmla="*/ 595 h 197377"/>
                  <a:gd name="connsiteX7" fmla="*/ 56942 w 111826"/>
                  <a:gd name="connsiteY7" fmla="*/ 1611 h 197377"/>
                  <a:gd name="connsiteX8" fmla="*/ 111826 w 111826"/>
                  <a:gd name="connsiteY8" fmla="*/ 128291 h 197377"/>
                  <a:gd name="connsiteX9" fmla="*/ 76071 w 111826"/>
                  <a:gd name="connsiteY9" fmla="*/ 181794 h 197377"/>
                  <a:gd name="connsiteX10" fmla="*/ 56942 w 111826"/>
                  <a:gd name="connsiteY10" fmla="*/ 195736 h 197377"/>
                  <a:gd name="connsiteX11" fmla="*/ 52616 w 111826"/>
                  <a:gd name="connsiteY11" fmla="*/ 197378 h 197377"/>
                  <a:gd name="connsiteX12" fmla="*/ 57698 w 111826"/>
                  <a:gd name="connsiteY12" fmla="*/ 21730 h 197377"/>
                  <a:gd name="connsiteX13" fmla="*/ 33332 w 111826"/>
                  <a:gd name="connsiteY13" fmla="*/ 77682 h 197377"/>
                  <a:gd name="connsiteX14" fmla="*/ 13161 w 111826"/>
                  <a:gd name="connsiteY14" fmla="*/ 128317 h 197377"/>
                  <a:gd name="connsiteX15" fmla="*/ 40707 w 111826"/>
                  <a:gd name="connsiteY15" fmla="*/ 173116 h 197377"/>
                  <a:gd name="connsiteX16" fmla="*/ 52668 w 111826"/>
                  <a:gd name="connsiteY16" fmla="*/ 182263 h 197377"/>
                  <a:gd name="connsiteX17" fmla="*/ 68800 w 111826"/>
                  <a:gd name="connsiteY17" fmla="*/ 170875 h 197377"/>
                  <a:gd name="connsiteX18" fmla="*/ 98691 w 111826"/>
                  <a:gd name="connsiteY18" fmla="*/ 128343 h 197377"/>
                  <a:gd name="connsiteX19" fmla="*/ 57698 w 111826"/>
                  <a:gd name="connsiteY19" fmla="*/ 21730 h 197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826" h="197377">
                    <a:moveTo>
                      <a:pt x="52616" y="197378"/>
                    </a:moveTo>
                    <a:cubicBezTo>
                      <a:pt x="51079" y="197378"/>
                      <a:pt x="49541" y="196831"/>
                      <a:pt x="48316" y="195762"/>
                    </a:cubicBezTo>
                    <a:cubicBezTo>
                      <a:pt x="43052" y="191202"/>
                      <a:pt x="37866" y="187371"/>
                      <a:pt x="32888" y="183670"/>
                    </a:cubicBezTo>
                    <a:cubicBezTo>
                      <a:pt x="15245" y="170640"/>
                      <a:pt x="0" y="159382"/>
                      <a:pt x="0" y="128291"/>
                    </a:cubicBezTo>
                    <a:cubicBezTo>
                      <a:pt x="0" y="109606"/>
                      <a:pt x="10633" y="90921"/>
                      <a:pt x="21917" y="71141"/>
                    </a:cubicBezTo>
                    <a:cubicBezTo>
                      <a:pt x="33774" y="50292"/>
                      <a:pt x="46049" y="28740"/>
                      <a:pt x="46049" y="6589"/>
                    </a:cubicBezTo>
                    <a:cubicBezTo>
                      <a:pt x="46049" y="4009"/>
                      <a:pt x="47561" y="1663"/>
                      <a:pt x="49906" y="595"/>
                    </a:cubicBezTo>
                    <a:cubicBezTo>
                      <a:pt x="52252" y="-474"/>
                      <a:pt x="54988" y="-83"/>
                      <a:pt x="56942" y="1611"/>
                    </a:cubicBezTo>
                    <a:cubicBezTo>
                      <a:pt x="82586" y="23867"/>
                      <a:pt x="111826" y="91364"/>
                      <a:pt x="111826" y="128291"/>
                    </a:cubicBezTo>
                    <a:cubicBezTo>
                      <a:pt x="111826" y="158053"/>
                      <a:pt x="93636" y="170119"/>
                      <a:pt x="76071" y="181794"/>
                    </a:cubicBezTo>
                    <a:cubicBezTo>
                      <a:pt x="69686" y="186016"/>
                      <a:pt x="63119" y="190394"/>
                      <a:pt x="56942" y="195736"/>
                    </a:cubicBezTo>
                    <a:cubicBezTo>
                      <a:pt x="55691" y="196857"/>
                      <a:pt x="54154" y="197378"/>
                      <a:pt x="52616" y="197378"/>
                    </a:cubicBezTo>
                    <a:close/>
                    <a:moveTo>
                      <a:pt x="57698" y="21730"/>
                    </a:moveTo>
                    <a:cubicBezTo>
                      <a:pt x="53815" y="41744"/>
                      <a:pt x="43052" y="60638"/>
                      <a:pt x="33332" y="77682"/>
                    </a:cubicBezTo>
                    <a:cubicBezTo>
                      <a:pt x="22959" y="95898"/>
                      <a:pt x="13161" y="113124"/>
                      <a:pt x="13161" y="128317"/>
                    </a:cubicBezTo>
                    <a:cubicBezTo>
                      <a:pt x="13161" y="152762"/>
                      <a:pt x="24106" y="160867"/>
                      <a:pt x="40707" y="173116"/>
                    </a:cubicBezTo>
                    <a:cubicBezTo>
                      <a:pt x="44407" y="175852"/>
                      <a:pt x="48499" y="178875"/>
                      <a:pt x="52668" y="182263"/>
                    </a:cubicBezTo>
                    <a:cubicBezTo>
                      <a:pt x="58063" y="177989"/>
                      <a:pt x="63510" y="174393"/>
                      <a:pt x="68800" y="170875"/>
                    </a:cubicBezTo>
                    <a:cubicBezTo>
                      <a:pt x="86156" y="159356"/>
                      <a:pt x="98691" y="151042"/>
                      <a:pt x="98691" y="128343"/>
                    </a:cubicBezTo>
                    <a:cubicBezTo>
                      <a:pt x="98665" y="99338"/>
                      <a:pt x="78182" y="47947"/>
                      <a:pt x="57698" y="21730"/>
                    </a:cubicBezTo>
                    <a:close/>
                  </a:path>
                </a:pathLst>
              </a:custGeom>
              <a:solidFill>
                <a:schemeClr val="accent1"/>
              </a:solidFill>
              <a:ln w="2604" cap="flat">
                <a:noFill/>
                <a:prstDash val="solid"/>
                <a:miter/>
              </a:ln>
            </p:spPr>
            <p:txBody>
              <a:bodyPr rtlCol="0" anchor="ctr"/>
              <a:lstStyle/>
              <a:p>
                <a:endParaRPr lang="en-GB" dirty="0"/>
              </a:p>
            </p:txBody>
          </p:sp>
          <p:sp>
            <p:nvSpPr>
              <p:cNvPr id="304" name="Freihandform: Form 525">
                <a:extLst>
                  <a:ext uri="{FF2B5EF4-FFF2-40B4-BE49-F238E27FC236}">
                    <a16:creationId xmlns:a16="http://schemas.microsoft.com/office/drawing/2014/main" id="{B3DBCC7A-8F37-4345-BD01-4620E54943A4}"/>
                  </a:ext>
                </a:extLst>
              </p:cNvPr>
              <p:cNvSpPr/>
              <p:nvPr/>
            </p:nvSpPr>
            <p:spPr>
              <a:xfrm>
                <a:off x="3615844" y="4350296"/>
                <a:ext cx="13134" cy="105232"/>
              </a:xfrm>
              <a:custGeom>
                <a:avLst/>
                <a:gdLst>
                  <a:gd name="connsiteX0" fmla="*/ 6567 w 13134"/>
                  <a:gd name="connsiteY0" fmla="*/ 105233 h 105232"/>
                  <a:gd name="connsiteX1" fmla="*/ 0 w 13134"/>
                  <a:gd name="connsiteY1" fmla="*/ 98665 h 105232"/>
                  <a:gd name="connsiteX2" fmla="*/ 0 w 13134"/>
                  <a:gd name="connsiteY2" fmla="*/ 6567 h 105232"/>
                  <a:gd name="connsiteX3" fmla="*/ 6567 w 13134"/>
                  <a:gd name="connsiteY3" fmla="*/ 0 h 105232"/>
                  <a:gd name="connsiteX4" fmla="*/ 13134 w 13134"/>
                  <a:gd name="connsiteY4" fmla="*/ 6567 h 105232"/>
                  <a:gd name="connsiteX5" fmla="*/ 13134 w 13134"/>
                  <a:gd name="connsiteY5" fmla="*/ 98665 h 105232"/>
                  <a:gd name="connsiteX6" fmla="*/ 6567 w 13134"/>
                  <a:gd name="connsiteY6" fmla="*/ 105233 h 105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4" h="105232">
                    <a:moveTo>
                      <a:pt x="6567" y="105233"/>
                    </a:moveTo>
                    <a:cubicBezTo>
                      <a:pt x="2919" y="105233"/>
                      <a:pt x="0" y="102288"/>
                      <a:pt x="0" y="98665"/>
                    </a:cubicBezTo>
                    <a:lnTo>
                      <a:pt x="0" y="6567"/>
                    </a:lnTo>
                    <a:cubicBezTo>
                      <a:pt x="0" y="2919"/>
                      <a:pt x="2945" y="0"/>
                      <a:pt x="6567" y="0"/>
                    </a:cubicBezTo>
                    <a:cubicBezTo>
                      <a:pt x="10216" y="0"/>
                      <a:pt x="13134" y="2945"/>
                      <a:pt x="13134" y="6567"/>
                    </a:cubicBezTo>
                    <a:lnTo>
                      <a:pt x="13134" y="98665"/>
                    </a:lnTo>
                    <a:cubicBezTo>
                      <a:pt x="13160" y="102314"/>
                      <a:pt x="10216" y="105233"/>
                      <a:pt x="6567" y="105233"/>
                    </a:cubicBezTo>
                    <a:close/>
                  </a:path>
                </a:pathLst>
              </a:custGeom>
              <a:solidFill>
                <a:schemeClr val="accent1"/>
              </a:solidFill>
              <a:ln w="2604" cap="flat">
                <a:noFill/>
                <a:prstDash val="solid"/>
                <a:miter/>
              </a:ln>
            </p:spPr>
            <p:txBody>
              <a:bodyPr rtlCol="0" anchor="ctr"/>
              <a:lstStyle/>
              <a:p>
                <a:endParaRPr lang="en-GB" dirty="0"/>
              </a:p>
            </p:txBody>
          </p:sp>
        </p:grpSp>
      </p:grpSp>
      <p:grpSp>
        <p:nvGrpSpPr>
          <p:cNvPr id="678" name="Group 677">
            <a:extLst>
              <a:ext uri="{FF2B5EF4-FFF2-40B4-BE49-F238E27FC236}">
                <a16:creationId xmlns:a16="http://schemas.microsoft.com/office/drawing/2014/main" id="{1C271EC5-571D-46C5-9C67-53E32D754833}"/>
              </a:ext>
            </a:extLst>
          </p:cNvPr>
          <p:cNvGrpSpPr/>
          <p:nvPr/>
        </p:nvGrpSpPr>
        <p:grpSpPr>
          <a:xfrm>
            <a:off x="1623484" y="4002611"/>
            <a:ext cx="432000" cy="432000"/>
            <a:chOff x="1623484" y="4002611"/>
            <a:chExt cx="432000" cy="432000"/>
          </a:xfrm>
        </p:grpSpPr>
        <p:grpSp>
          <p:nvGrpSpPr>
            <p:cNvPr id="309" name="Group 308">
              <a:extLst>
                <a:ext uri="{FF2B5EF4-FFF2-40B4-BE49-F238E27FC236}">
                  <a16:creationId xmlns:a16="http://schemas.microsoft.com/office/drawing/2014/main" id="{6EF158B8-D380-4E8A-B147-934AA4B5E129}"/>
                </a:ext>
              </a:extLst>
            </p:cNvPr>
            <p:cNvGrpSpPr/>
            <p:nvPr/>
          </p:nvGrpSpPr>
          <p:grpSpPr>
            <a:xfrm>
              <a:off x="1658483" y="4002611"/>
              <a:ext cx="315290" cy="233510"/>
              <a:chOff x="5333503" y="1626758"/>
              <a:chExt cx="353960" cy="262150"/>
            </a:xfrm>
          </p:grpSpPr>
          <p:sp>
            <p:nvSpPr>
              <p:cNvPr id="331" name="Freihandform: Form 816">
                <a:extLst>
                  <a:ext uri="{FF2B5EF4-FFF2-40B4-BE49-F238E27FC236}">
                    <a16:creationId xmlns:a16="http://schemas.microsoft.com/office/drawing/2014/main" id="{E1070D24-2774-454B-B388-86AB19A1D560}"/>
                  </a:ext>
                </a:extLst>
              </p:cNvPr>
              <p:cNvSpPr/>
              <p:nvPr/>
            </p:nvSpPr>
            <p:spPr>
              <a:xfrm>
                <a:off x="5589131" y="1692295"/>
                <a:ext cx="13097" cy="65537"/>
              </a:xfrm>
              <a:custGeom>
                <a:avLst/>
                <a:gdLst>
                  <a:gd name="connsiteX0" fmla="*/ 6549 w 13097"/>
                  <a:gd name="connsiteY0" fmla="*/ 65538 h 65537"/>
                  <a:gd name="connsiteX1" fmla="*/ 0 w 13097"/>
                  <a:gd name="connsiteY1" fmla="*/ 58989 h 65537"/>
                  <a:gd name="connsiteX2" fmla="*/ 0 w 13097"/>
                  <a:gd name="connsiteY2" fmla="*/ 6549 h 65537"/>
                  <a:gd name="connsiteX3" fmla="*/ 6549 w 13097"/>
                  <a:gd name="connsiteY3" fmla="*/ 0 h 65537"/>
                  <a:gd name="connsiteX4" fmla="*/ 13097 w 13097"/>
                  <a:gd name="connsiteY4" fmla="*/ 6549 h 65537"/>
                  <a:gd name="connsiteX5" fmla="*/ 13097 w 13097"/>
                  <a:gd name="connsiteY5" fmla="*/ 58989 h 65537"/>
                  <a:gd name="connsiteX6" fmla="*/ 6549 w 13097"/>
                  <a:gd name="connsiteY6" fmla="*/ 65538 h 6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65537">
                    <a:moveTo>
                      <a:pt x="6549" y="65538"/>
                    </a:moveTo>
                    <a:cubicBezTo>
                      <a:pt x="2939" y="65538"/>
                      <a:pt x="0" y="62599"/>
                      <a:pt x="0" y="58989"/>
                    </a:cubicBezTo>
                    <a:lnTo>
                      <a:pt x="0" y="6549"/>
                    </a:lnTo>
                    <a:cubicBezTo>
                      <a:pt x="0" y="2939"/>
                      <a:pt x="2939" y="0"/>
                      <a:pt x="6549" y="0"/>
                    </a:cubicBezTo>
                    <a:cubicBezTo>
                      <a:pt x="10158" y="0"/>
                      <a:pt x="13097" y="2939"/>
                      <a:pt x="13097" y="6549"/>
                    </a:cubicBezTo>
                    <a:lnTo>
                      <a:pt x="13097" y="58989"/>
                    </a:lnTo>
                    <a:cubicBezTo>
                      <a:pt x="13097" y="62599"/>
                      <a:pt x="10184" y="65538"/>
                      <a:pt x="6549" y="65538"/>
                    </a:cubicBezTo>
                    <a:close/>
                  </a:path>
                </a:pathLst>
              </a:custGeom>
              <a:solidFill>
                <a:schemeClr val="accent1"/>
              </a:solidFill>
              <a:ln w="2573" cap="flat">
                <a:noFill/>
                <a:prstDash val="solid"/>
                <a:miter/>
              </a:ln>
            </p:spPr>
            <p:txBody>
              <a:bodyPr rtlCol="0" anchor="ctr"/>
              <a:lstStyle/>
              <a:p>
                <a:endParaRPr lang="en-GB" dirty="0"/>
              </a:p>
            </p:txBody>
          </p:sp>
          <p:sp>
            <p:nvSpPr>
              <p:cNvPr id="332" name="Freihandform: Form 817">
                <a:extLst>
                  <a:ext uri="{FF2B5EF4-FFF2-40B4-BE49-F238E27FC236}">
                    <a16:creationId xmlns:a16="http://schemas.microsoft.com/office/drawing/2014/main" id="{07FADE12-A511-4564-BBDA-B1B24E9C7D05}"/>
                  </a:ext>
                </a:extLst>
              </p:cNvPr>
              <p:cNvSpPr/>
              <p:nvPr/>
            </p:nvSpPr>
            <p:spPr>
              <a:xfrm>
                <a:off x="5562911" y="1626758"/>
                <a:ext cx="65537" cy="98306"/>
              </a:xfrm>
              <a:custGeom>
                <a:avLst/>
                <a:gdLst>
                  <a:gd name="connsiteX0" fmla="*/ 32769 w 65537"/>
                  <a:gd name="connsiteY0" fmla="*/ 98307 h 98306"/>
                  <a:gd name="connsiteX1" fmla="*/ 0 w 65537"/>
                  <a:gd name="connsiteY1" fmla="*/ 65538 h 98306"/>
                  <a:gd name="connsiteX2" fmla="*/ 0 w 65537"/>
                  <a:gd name="connsiteY2" fmla="*/ 32769 h 98306"/>
                  <a:gd name="connsiteX3" fmla="*/ 32769 w 65537"/>
                  <a:gd name="connsiteY3" fmla="*/ 0 h 98306"/>
                  <a:gd name="connsiteX4" fmla="*/ 65538 w 65537"/>
                  <a:gd name="connsiteY4" fmla="*/ 32769 h 98306"/>
                  <a:gd name="connsiteX5" fmla="*/ 65538 w 65537"/>
                  <a:gd name="connsiteY5" fmla="*/ 65538 h 98306"/>
                  <a:gd name="connsiteX6" fmla="*/ 32769 w 65537"/>
                  <a:gd name="connsiteY6" fmla="*/ 98307 h 98306"/>
                  <a:gd name="connsiteX7" fmla="*/ 32769 w 65537"/>
                  <a:gd name="connsiteY7" fmla="*/ 13097 h 98306"/>
                  <a:gd name="connsiteX8" fmla="*/ 13097 w 65537"/>
                  <a:gd name="connsiteY8" fmla="*/ 32769 h 98306"/>
                  <a:gd name="connsiteX9" fmla="*/ 13097 w 65537"/>
                  <a:gd name="connsiteY9" fmla="*/ 65538 h 98306"/>
                  <a:gd name="connsiteX10" fmla="*/ 32769 w 65537"/>
                  <a:gd name="connsiteY10" fmla="*/ 85209 h 98306"/>
                  <a:gd name="connsiteX11" fmla="*/ 52441 w 65537"/>
                  <a:gd name="connsiteY11" fmla="*/ 65538 h 98306"/>
                  <a:gd name="connsiteX12" fmla="*/ 52441 w 65537"/>
                  <a:gd name="connsiteY12" fmla="*/ 32769 h 98306"/>
                  <a:gd name="connsiteX13" fmla="*/ 32769 w 65537"/>
                  <a:gd name="connsiteY13" fmla="*/ 13097 h 9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537" h="98306">
                    <a:moveTo>
                      <a:pt x="32769" y="98307"/>
                    </a:moveTo>
                    <a:cubicBezTo>
                      <a:pt x="14696" y="98307"/>
                      <a:pt x="0" y="83611"/>
                      <a:pt x="0" y="65538"/>
                    </a:cubicBezTo>
                    <a:lnTo>
                      <a:pt x="0" y="32769"/>
                    </a:lnTo>
                    <a:cubicBezTo>
                      <a:pt x="0" y="14696"/>
                      <a:pt x="14696" y="0"/>
                      <a:pt x="32769" y="0"/>
                    </a:cubicBezTo>
                    <a:cubicBezTo>
                      <a:pt x="50842" y="0"/>
                      <a:pt x="65538" y="14696"/>
                      <a:pt x="65538" y="32769"/>
                    </a:cubicBezTo>
                    <a:lnTo>
                      <a:pt x="65538" y="65538"/>
                    </a:lnTo>
                    <a:cubicBezTo>
                      <a:pt x="65538" y="83611"/>
                      <a:pt x="50842" y="98307"/>
                      <a:pt x="32769" y="98307"/>
                    </a:cubicBezTo>
                    <a:close/>
                    <a:moveTo>
                      <a:pt x="32769" y="13097"/>
                    </a:moveTo>
                    <a:cubicBezTo>
                      <a:pt x="21915" y="13097"/>
                      <a:pt x="13097" y="21915"/>
                      <a:pt x="13097" y="32769"/>
                    </a:cubicBezTo>
                    <a:lnTo>
                      <a:pt x="13097" y="65538"/>
                    </a:lnTo>
                    <a:cubicBezTo>
                      <a:pt x="13097" y="76392"/>
                      <a:pt x="21915" y="85209"/>
                      <a:pt x="32769" y="85209"/>
                    </a:cubicBezTo>
                    <a:cubicBezTo>
                      <a:pt x="43623" y="85209"/>
                      <a:pt x="52441" y="76392"/>
                      <a:pt x="52441" y="65538"/>
                    </a:cubicBezTo>
                    <a:lnTo>
                      <a:pt x="52441" y="32769"/>
                    </a:lnTo>
                    <a:cubicBezTo>
                      <a:pt x="52441" y="21940"/>
                      <a:pt x="43623" y="13097"/>
                      <a:pt x="32769" y="13097"/>
                    </a:cubicBezTo>
                    <a:close/>
                  </a:path>
                </a:pathLst>
              </a:custGeom>
              <a:solidFill>
                <a:schemeClr val="accent1"/>
              </a:solidFill>
              <a:ln w="2573" cap="flat">
                <a:noFill/>
                <a:prstDash val="solid"/>
                <a:miter/>
              </a:ln>
            </p:spPr>
            <p:txBody>
              <a:bodyPr rtlCol="0" anchor="ctr"/>
              <a:lstStyle/>
              <a:p>
                <a:endParaRPr lang="en-GB" dirty="0"/>
              </a:p>
            </p:txBody>
          </p:sp>
          <p:sp>
            <p:nvSpPr>
              <p:cNvPr id="333" name="Freihandform: Form 818">
                <a:extLst>
                  <a:ext uri="{FF2B5EF4-FFF2-40B4-BE49-F238E27FC236}">
                    <a16:creationId xmlns:a16="http://schemas.microsoft.com/office/drawing/2014/main" id="{61849A3E-7E29-4BB4-9383-F6FAC8D41B33}"/>
                  </a:ext>
                </a:extLst>
              </p:cNvPr>
              <p:cNvSpPr/>
              <p:nvPr/>
            </p:nvSpPr>
            <p:spPr>
              <a:xfrm>
                <a:off x="5641572" y="1698844"/>
                <a:ext cx="13097" cy="58989"/>
              </a:xfrm>
              <a:custGeom>
                <a:avLst/>
                <a:gdLst>
                  <a:gd name="connsiteX0" fmla="*/ 6549 w 13097"/>
                  <a:gd name="connsiteY0" fmla="*/ 58989 h 58989"/>
                  <a:gd name="connsiteX1" fmla="*/ 0 w 13097"/>
                  <a:gd name="connsiteY1" fmla="*/ 52441 h 58989"/>
                  <a:gd name="connsiteX2" fmla="*/ 0 w 13097"/>
                  <a:gd name="connsiteY2" fmla="*/ 6549 h 58989"/>
                  <a:gd name="connsiteX3" fmla="*/ 6549 w 13097"/>
                  <a:gd name="connsiteY3" fmla="*/ 0 h 58989"/>
                  <a:gd name="connsiteX4" fmla="*/ 13097 w 13097"/>
                  <a:gd name="connsiteY4" fmla="*/ 6549 h 58989"/>
                  <a:gd name="connsiteX5" fmla="*/ 13097 w 13097"/>
                  <a:gd name="connsiteY5" fmla="*/ 52441 h 58989"/>
                  <a:gd name="connsiteX6" fmla="*/ 6549 w 13097"/>
                  <a:gd name="connsiteY6" fmla="*/ 58989 h 5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58989">
                    <a:moveTo>
                      <a:pt x="6549" y="58989"/>
                    </a:moveTo>
                    <a:cubicBezTo>
                      <a:pt x="2939" y="58989"/>
                      <a:pt x="0" y="56050"/>
                      <a:pt x="0" y="52441"/>
                    </a:cubicBezTo>
                    <a:lnTo>
                      <a:pt x="0" y="6549"/>
                    </a:lnTo>
                    <a:cubicBezTo>
                      <a:pt x="0" y="2939"/>
                      <a:pt x="2939" y="0"/>
                      <a:pt x="6549" y="0"/>
                    </a:cubicBezTo>
                    <a:cubicBezTo>
                      <a:pt x="10158" y="0"/>
                      <a:pt x="13097" y="2939"/>
                      <a:pt x="13097" y="6549"/>
                    </a:cubicBezTo>
                    <a:lnTo>
                      <a:pt x="13097" y="52441"/>
                    </a:lnTo>
                    <a:cubicBezTo>
                      <a:pt x="13097" y="56050"/>
                      <a:pt x="10158" y="58989"/>
                      <a:pt x="6549" y="58989"/>
                    </a:cubicBezTo>
                    <a:close/>
                  </a:path>
                </a:pathLst>
              </a:custGeom>
              <a:solidFill>
                <a:schemeClr val="accent1"/>
              </a:solidFill>
              <a:ln w="2573" cap="flat">
                <a:noFill/>
                <a:prstDash val="solid"/>
                <a:miter/>
              </a:ln>
            </p:spPr>
            <p:txBody>
              <a:bodyPr rtlCol="0" anchor="ctr"/>
              <a:lstStyle/>
              <a:p>
                <a:endParaRPr lang="en-GB" dirty="0"/>
              </a:p>
            </p:txBody>
          </p:sp>
          <p:sp>
            <p:nvSpPr>
              <p:cNvPr id="334" name="Freihandform: Form 819">
                <a:extLst>
                  <a:ext uri="{FF2B5EF4-FFF2-40B4-BE49-F238E27FC236}">
                    <a16:creationId xmlns:a16="http://schemas.microsoft.com/office/drawing/2014/main" id="{B0BDF2EF-594B-4F5E-8AD0-4F74CFEE8402}"/>
                  </a:ext>
                </a:extLst>
              </p:cNvPr>
              <p:cNvSpPr/>
              <p:nvPr/>
            </p:nvSpPr>
            <p:spPr>
              <a:xfrm>
                <a:off x="5612064" y="1652926"/>
                <a:ext cx="75399" cy="78686"/>
              </a:xfrm>
              <a:custGeom>
                <a:avLst/>
                <a:gdLst>
                  <a:gd name="connsiteX0" fmla="*/ 36056 w 75399"/>
                  <a:gd name="connsiteY0" fmla="*/ 78687 h 78686"/>
                  <a:gd name="connsiteX1" fmla="*/ 657 w 75399"/>
                  <a:gd name="connsiteY1" fmla="*/ 56514 h 78686"/>
                  <a:gd name="connsiteX2" fmla="*/ 3700 w 75399"/>
                  <a:gd name="connsiteY2" fmla="*/ 47748 h 78686"/>
                  <a:gd name="connsiteX3" fmla="*/ 12466 w 75399"/>
                  <a:gd name="connsiteY3" fmla="*/ 50790 h 78686"/>
                  <a:gd name="connsiteX4" fmla="*/ 36056 w 75399"/>
                  <a:gd name="connsiteY4" fmla="*/ 65564 h 78686"/>
                  <a:gd name="connsiteX5" fmla="*/ 62276 w 75399"/>
                  <a:gd name="connsiteY5" fmla="*/ 39343 h 78686"/>
                  <a:gd name="connsiteX6" fmla="*/ 36056 w 75399"/>
                  <a:gd name="connsiteY6" fmla="*/ 13123 h 78686"/>
                  <a:gd name="connsiteX7" fmla="*/ 15972 w 75399"/>
                  <a:gd name="connsiteY7" fmla="*/ 22482 h 78686"/>
                  <a:gd name="connsiteX8" fmla="*/ 6742 w 75399"/>
                  <a:gd name="connsiteY8" fmla="*/ 23281 h 78686"/>
                  <a:gd name="connsiteX9" fmla="*/ 5943 w 75399"/>
                  <a:gd name="connsiteY9" fmla="*/ 14051 h 78686"/>
                  <a:gd name="connsiteX10" fmla="*/ 36082 w 75399"/>
                  <a:gd name="connsiteY10" fmla="*/ 0 h 78686"/>
                  <a:gd name="connsiteX11" fmla="*/ 75399 w 75399"/>
                  <a:gd name="connsiteY11" fmla="*/ 39317 h 78686"/>
                  <a:gd name="connsiteX12" fmla="*/ 36056 w 75399"/>
                  <a:gd name="connsiteY12" fmla="*/ 78687 h 78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399" h="78686">
                    <a:moveTo>
                      <a:pt x="36056" y="78687"/>
                    </a:moveTo>
                    <a:cubicBezTo>
                      <a:pt x="21103" y="78687"/>
                      <a:pt x="7206" y="69998"/>
                      <a:pt x="657" y="56514"/>
                    </a:cubicBezTo>
                    <a:cubicBezTo>
                      <a:pt x="-915" y="53266"/>
                      <a:pt x="425" y="49347"/>
                      <a:pt x="3700" y="47748"/>
                    </a:cubicBezTo>
                    <a:cubicBezTo>
                      <a:pt x="6948" y="46176"/>
                      <a:pt x="10867" y="47516"/>
                      <a:pt x="12466" y="50790"/>
                    </a:cubicBezTo>
                    <a:cubicBezTo>
                      <a:pt x="16900" y="59917"/>
                      <a:pt x="25950" y="65564"/>
                      <a:pt x="36056" y="65564"/>
                    </a:cubicBezTo>
                    <a:cubicBezTo>
                      <a:pt x="50520" y="65564"/>
                      <a:pt x="62276" y="53807"/>
                      <a:pt x="62276" y="39343"/>
                    </a:cubicBezTo>
                    <a:cubicBezTo>
                      <a:pt x="62276" y="24880"/>
                      <a:pt x="50520" y="13123"/>
                      <a:pt x="36056" y="13123"/>
                    </a:cubicBezTo>
                    <a:cubicBezTo>
                      <a:pt x="28296" y="13123"/>
                      <a:pt x="20974" y="16526"/>
                      <a:pt x="15972" y="22482"/>
                    </a:cubicBezTo>
                    <a:cubicBezTo>
                      <a:pt x="13652" y="25266"/>
                      <a:pt x="9501" y="25601"/>
                      <a:pt x="6742" y="23281"/>
                    </a:cubicBezTo>
                    <a:cubicBezTo>
                      <a:pt x="3958" y="20961"/>
                      <a:pt x="3597" y="16810"/>
                      <a:pt x="5943" y="14051"/>
                    </a:cubicBezTo>
                    <a:cubicBezTo>
                      <a:pt x="13445" y="5131"/>
                      <a:pt x="24428" y="0"/>
                      <a:pt x="36082" y="0"/>
                    </a:cubicBezTo>
                    <a:cubicBezTo>
                      <a:pt x="57764" y="0"/>
                      <a:pt x="75399" y="17635"/>
                      <a:pt x="75399" y="39317"/>
                    </a:cubicBezTo>
                    <a:cubicBezTo>
                      <a:pt x="75399" y="61000"/>
                      <a:pt x="57739" y="78687"/>
                      <a:pt x="36056" y="78687"/>
                    </a:cubicBezTo>
                    <a:close/>
                  </a:path>
                </a:pathLst>
              </a:custGeom>
              <a:solidFill>
                <a:schemeClr val="accent1"/>
              </a:solidFill>
              <a:ln w="2573" cap="flat">
                <a:noFill/>
                <a:prstDash val="solid"/>
                <a:miter/>
              </a:ln>
            </p:spPr>
            <p:txBody>
              <a:bodyPr rtlCol="0" anchor="ctr"/>
              <a:lstStyle/>
              <a:p>
                <a:endParaRPr lang="en-GB" dirty="0"/>
              </a:p>
            </p:txBody>
          </p:sp>
          <p:sp>
            <p:nvSpPr>
              <p:cNvPr id="335" name="Freihandform: Form 811">
                <a:extLst>
                  <a:ext uri="{FF2B5EF4-FFF2-40B4-BE49-F238E27FC236}">
                    <a16:creationId xmlns:a16="http://schemas.microsoft.com/office/drawing/2014/main" id="{51C31CE9-0BF6-49EA-8FBD-9D1CE722B7A9}"/>
                  </a:ext>
                </a:extLst>
              </p:cNvPr>
              <p:cNvSpPr/>
              <p:nvPr/>
            </p:nvSpPr>
            <p:spPr>
              <a:xfrm>
                <a:off x="5379421" y="1816822"/>
                <a:ext cx="13097" cy="72086"/>
              </a:xfrm>
              <a:custGeom>
                <a:avLst/>
                <a:gdLst>
                  <a:gd name="connsiteX0" fmla="*/ 6549 w 13097"/>
                  <a:gd name="connsiteY0" fmla="*/ 72086 h 72086"/>
                  <a:gd name="connsiteX1" fmla="*/ 0 w 13097"/>
                  <a:gd name="connsiteY1" fmla="*/ 65538 h 72086"/>
                  <a:gd name="connsiteX2" fmla="*/ 0 w 13097"/>
                  <a:gd name="connsiteY2" fmla="*/ 6549 h 72086"/>
                  <a:gd name="connsiteX3" fmla="*/ 6549 w 13097"/>
                  <a:gd name="connsiteY3" fmla="*/ 0 h 72086"/>
                  <a:gd name="connsiteX4" fmla="*/ 13097 w 13097"/>
                  <a:gd name="connsiteY4" fmla="*/ 6549 h 72086"/>
                  <a:gd name="connsiteX5" fmla="*/ 13097 w 13097"/>
                  <a:gd name="connsiteY5" fmla="*/ 65538 h 72086"/>
                  <a:gd name="connsiteX6" fmla="*/ 6549 w 13097"/>
                  <a:gd name="connsiteY6" fmla="*/ 72086 h 7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72086">
                    <a:moveTo>
                      <a:pt x="6549" y="72086"/>
                    </a:moveTo>
                    <a:cubicBezTo>
                      <a:pt x="2939" y="72086"/>
                      <a:pt x="0" y="69147"/>
                      <a:pt x="0" y="65538"/>
                    </a:cubicBezTo>
                    <a:lnTo>
                      <a:pt x="0" y="6549"/>
                    </a:lnTo>
                    <a:cubicBezTo>
                      <a:pt x="0" y="2939"/>
                      <a:pt x="2939" y="0"/>
                      <a:pt x="6549" y="0"/>
                    </a:cubicBezTo>
                    <a:cubicBezTo>
                      <a:pt x="10158" y="0"/>
                      <a:pt x="13097" y="2939"/>
                      <a:pt x="13097" y="6549"/>
                    </a:cubicBezTo>
                    <a:lnTo>
                      <a:pt x="13097" y="65538"/>
                    </a:lnTo>
                    <a:cubicBezTo>
                      <a:pt x="13097" y="69147"/>
                      <a:pt x="10158" y="72086"/>
                      <a:pt x="6549" y="72086"/>
                    </a:cubicBezTo>
                    <a:close/>
                  </a:path>
                </a:pathLst>
              </a:custGeom>
              <a:solidFill>
                <a:schemeClr val="accent1"/>
              </a:solidFill>
              <a:ln w="2573" cap="flat">
                <a:noFill/>
                <a:prstDash val="solid"/>
                <a:miter/>
              </a:ln>
            </p:spPr>
            <p:txBody>
              <a:bodyPr rtlCol="0" anchor="ctr"/>
              <a:lstStyle/>
              <a:p>
                <a:endParaRPr lang="en-GB" dirty="0"/>
              </a:p>
            </p:txBody>
          </p:sp>
          <p:sp>
            <p:nvSpPr>
              <p:cNvPr id="336" name="Freihandform: Form 812">
                <a:extLst>
                  <a:ext uri="{FF2B5EF4-FFF2-40B4-BE49-F238E27FC236}">
                    <a16:creationId xmlns:a16="http://schemas.microsoft.com/office/drawing/2014/main" id="{EB6CCA92-57DE-480E-B81D-3E39E5F2B2E7}"/>
                  </a:ext>
                </a:extLst>
              </p:cNvPr>
              <p:cNvSpPr/>
              <p:nvPr/>
            </p:nvSpPr>
            <p:spPr>
              <a:xfrm>
                <a:off x="5333503" y="1757807"/>
                <a:ext cx="104881" cy="98332"/>
              </a:xfrm>
              <a:custGeom>
                <a:avLst/>
                <a:gdLst>
                  <a:gd name="connsiteX0" fmla="*/ 72112 w 104881"/>
                  <a:gd name="connsiteY0" fmla="*/ 98332 h 98332"/>
                  <a:gd name="connsiteX1" fmla="*/ 52441 w 104881"/>
                  <a:gd name="connsiteY1" fmla="*/ 91655 h 98332"/>
                  <a:gd name="connsiteX2" fmla="*/ 32769 w 104881"/>
                  <a:gd name="connsiteY2" fmla="*/ 98332 h 98332"/>
                  <a:gd name="connsiteX3" fmla="*/ 0 w 104881"/>
                  <a:gd name="connsiteY3" fmla="*/ 65564 h 98332"/>
                  <a:gd name="connsiteX4" fmla="*/ 27174 w 104881"/>
                  <a:gd name="connsiteY4" fmla="*/ 33259 h 98332"/>
                  <a:gd name="connsiteX5" fmla="*/ 26220 w 104881"/>
                  <a:gd name="connsiteY5" fmla="*/ 26220 h 98332"/>
                  <a:gd name="connsiteX6" fmla="*/ 52441 w 104881"/>
                  <a:gd name="connsiteY6" fmla="*/ 0 h 98332"/>
                  <a:gd name="connsiteX7" fmla="*/ 78661 w 104881"/>
                  <a:gd name="connsiteY7" fmla="*/ 26220 h 98332"/>
                  <a:gd name="connsiteX8" fmla="*/ 77707 w 104881"/>
                  <a:gd name="connsiteY8" fmla="*/ 33259 h 98332"/>
                  <a:gd name="connsiteX9" fmla="*/ 104881 w 104881"/>
                  <a:gd name="connsiteY9" fmla="*/ 65564 h 98332"/>
                  <a:gd name="connsiteX10" fmla="*/ 72112 w 104881"/>
                  <a:gd name="connsiteY10" fmla="*/ 98332 h 98332"/>
                  <a:gd name="connsiteX11" fmla="*/ 52466 w 104881"/>
                  <a:gd name="connsiteY11" fmla="*/ 76186 h 98332"/>
                  <a:gd name="connsiteX12" fmla="*/ 57391 w 104881"/>
                  <a:gd name="connsiteY12" fmla="*/ 78429 h 98332"/>
                  <a:gd name="connsiteX13" fmla="*/ 72112 w 104881"/>
                  <a:gd name="connsiteY13" fmla="*/ 85235 h 98332"/>
                  <a:gd name="connsiteX14" fmla="*/ 91784 w 104881"/>
                  <a:gd name="connsiteY14" fmla="*/ 65564 h 98332"/>
                  <a:gd name="connsiteX15" fmla="*/ 67935 w 104881"/>
                  <a:gd name="connsiteY15" fmla="*/ 46382 h 98332"/>
                  <a:gd name="connsiteX16" fmla="*/ 60768 w 104881"/>
                  <a:gd name="connsiteY16" fmla="*/ 43159 h 98332"/>
                  <a:gd name="connsiteX17" fmla="*/ 61825 w 104881"/>
                  <a:gd name="connsiteY17" fmla="*/ 35399 h 98332"/>
                  <a:gd name="connsiteX18" fmla="*/ 65564 w 104881"/>
                  <a:gd name="connsiteY18" fmla="*/ 26246 h 98332"/>
                  <a:gd name="connsiteX19" fmla="*/ 52466 w 104881"/>
                  <a:gd name="connsiteY19" fmla="*/ 13149 h 98332"/>
                  <a:gd name="connsiteX20" fmla="*/ 39369 w 104881"/>
                  <a:gd name="connsiteY20" fmla="*/ 26246 h 98332"/>
                  <a:gd name="connsiteX21" fmla="*/ 43107 w 104881"/>
                  <a:gd name="connsiteY21" fmla="*/ 35399 h 98332"/>
                  <a:gd name="connsiteX22" fmla="*/ 44165 w 104881"/>
                  <a:gd name="connsiteY22" fmla="*/ 43159 h 98332"/>
                  <a:gd name="connsiteX23" fmla="*/ 36997 w 104881"/>
                  <a:gd name="connsiteY23" fmla="*/ 46382 h 98332"/>
                  <a:gd name="connsiteX24" fmla="*/ 13149 w 104881"/>
                  <a:gd name="connsiteY24" fmla="*/ 65564 h 98332"/>
                  <a:gd name="connsiteX25" fmla="*/ 32820 w 104881"/>
                  <a:gd name="connsiteY25" fmla="*/ 85235 h 98332"/>
                  <a:gd name="connsiteX26" fmla="*/ 47542 w 104881"/>
                  <a:gd name="connsiteY26" fmla="*/ 78429 h 98332"/>
                  <a:gd name="connsiteX27" fmla="*/ 52466 w 104881"/>
                  <a:gd name="connsiteY27" fmla="*/ 76186 h 9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4881" h="98332">
                    <a:moveTo>
                      <a:pt x="72112" y="98332"/>
                    </a:moveTo>
                    <a:cubicBezTo>
                      <a:pt x="64996" y="98332"/>
                      <a:pt x="58113" y="95960"/>
                      <a:pt x="52441" y="91655"/>
                    </a:cubicBezTo>
                    <a:cubicBezTo>
                      <a:pt x="46794" y="95960"/>
                      <a:pt x="39910" y="98332"/>
                      <a:pt x="32769" y="98332"/>
                    </a:cubicBezTo>
                    <a:cubicBezTo>
                      <a:pt x="14696" y="98332"/>
                      <a:pt x="0" y="83637"/>
                      <a:pt x="0" y="65564"/>
                    </a:cubicBezTo>
                    <a:cubicBezTo>
                      <a:pt x="0" y="49398"/>
                      <a:pt x="11757" y="35940"/>
                      <a:pt x="27174" y="33259"/>
                    </a:cubicBezTo>
                    <a:cubicBezTo>
                      <a:pt x="26555" y="30990"/>
                      <a:pt x="26220" y="28644"/>
                      <a:pt x="26220" y="26220"/>
                    </a:cubicBezTo>
                    <a:cubicBezTo>
                      <a:pt x="26220" y="11757"/>
                      <a:pt x="37977" y="0"/>
                      <a:pt x="52441" y="0"/>
                    </a:cubicBezTo>
                    <a:cubicBezTo>
                      <a:pt x="66904" y="0"/>
                      <a:pt x="78661" y="11757"/>
                      <a:pt x="78661" y="26220"/>
                    </a:cubicBezTo>
                    <a:cubicBezTo>
                      <a:pt x="78661" y="28618"/>
                      <a:pt x="78326" y="30990"/>
                      <a:pt x="77707" y="33259"/>
                    </a:cubicBezTo>
                    <a:cubicBezTo>
                      <a:pt x="93124" y="35914"/>
                      <a:pt x="104881" y="49398"/>
                      <a:pt x="104881" y="65564"/>
                    </a:cubicBezTo>
                    <a:cubicBezTo>
                      <a:pt x="104881" y="83637"/>
                      <a:pt x="90185" y="98332"/>
                      <a:pt x="72112" y="98332"/>
                    </a:cubicBezTo>
                    <a:close/>
                    <a:moveTo>
                      <a:pt x="52466" y="76186"/>
                    </a:moveTo>
                    <a:cubicBezTo>
                      <a:pt x="54348" y="76186"/>
                      <a:pt x="56153" y="77011"/>
                      <a:pt x="57391" y="78429"/>
                    </a:cubicBezTo>
                    <a:cubicBezTo>
                      <a:pt x="61232" y="82812"/>
                      <a:pt x="66466" y="85235"/>
                      <a:pt x="72112" y="85235"/>
                    </a:cubicBezTo>
                    <a:cubicBezTo>
                      <a:pt x="82966" y="85235"/>
                      <a:pt x="91784" y="76418"/>
                      <a:pt x="91784" y="65564"/>
                    </a:cubicBezTo>
                    <a:cubicBezTo>
                      <a:pt x="91784" y="53343"/>
                      <a:pt x="80259" y="43597"/>
                      <a:pt x="67935" y="46382"/>
                    </a:cubicBezTo>
                    <a:cubicBezTo>
                      <a:pt x="65099" y="47001"/>
                      <a:pt x="62186" y="45711"/>
                      <a:pt x="60768" y="43159"/>
                    </a:cubicBezTo>
                    <a:cubicBezTo>
                      <a:pt x="59350" y="40632"/>
                      <a:pt x="59788" y="37461"/>
                      <a:pt x="61825" y="35399"/>
                    </a:cubicBezTo>
                    <a:cubicBezTo>
                      <a:pt x="64249" y="32924"/>
                      <a:pt x="65564" y="29675"/>
                      <a:pt x="65564" y="26246"/>
                    </a:cubicBezTo>
                    <a:cubicBezTo>
                      <a:pt x="65564" y="19027"/>
                      <a:pt x="59685" y="13149"/>
                      <a:pt x="52466" y="13149"/>
                    </a:cubicBezTo>
                    <a:cubicBezTo>
                      <a:pt x="45247" y="13149"/>
                      <a:pt x="39369" y="19027"/>
                      <a:pt x="39369" y="26246"/>
                    </a:cubicBezTo>
                    <a:cubicBezTo>
                      <a:pt x="39369" y="29675"/>
                      <a:pt x="40710" y="32924"/>
                      <a:pt x="43107" y="35399"/>
                    </a:cubicBezTo>
                    <a:cubicBezTo>
                      <a:pt x="45144" y="37461"/>
                      <a:pt x="45557" y="40632"/>
                      <a:pt x="44165" y="43159"/>
                    </a:cubicBezTo>
                    <a:cubicBezTo>
                      <a:pt x="42747" y="45686"/>
                      <a:pt x="39859" y="46975"/>
                      <a:pt x="36997" y="46382"/>
                    </a:cubicBezTo>
                    <a:cubicBezTo>
                      <a:pt x="24673" y="43597"/>
                      <a:pt x="13149" y="53343"/>
                      <a:pt x="13149" y="65564"/>
                    </a:cubicBezTo>
                    <a:cubicBezTo>
                      <a:pt x="13149" y="76418"/>
                      <a:pt x="21966" y="85235"/>
                      <a:pt x="32820" y="85235"/>
                    </a:cubicBezTo>
                    <a:cubicBezTo>
                      <a:pt x="38492" y="85235"/>
                      <a:pt x="43726" y="82812"/>
                      <a:pt x="47542" y="78429"/>
                    </a:cubicBezTo>
                    <a:cubicBezTo>
                      <a:pt x="48754" y="77011"/>
                      <a:pt x="50558" y="76186"/>
                      <a:pt x="52466" y="76186"/>
                    </a:cubicBezTo>
                    <a:close/>
                  </a:path>
                </a:pathLst>
              </a:custGeom>
              <a:solidFill>
                <a:schemeClr val="accent1"/>
              </a:solidFill>
              <a:ln w="2573" cap="flat">
                <a:noFill/>
                <a:prstDash val="solid"/>
                <a:miter/>
              </a:ln>
            </p:spPr>
            <p:txBody>
              <a:bodyPr rtlCol="0" anchor="ctr"/>
              <a:lstStyle/>
              <a:p>
                <a:endParaRPr lang="en-GB" dirty="0"/>
              </a:p>
            </p:txBody>
          </p:sp>
        </p:grpSp>
        <p:grpSp>
          <p:nvGrpSpPr>
            <p:cNvPr id="310" name="Group 309">
              <a:extLst>
                <a:ext uri="{FF2B5EF4-FFF2-40B4-BE49-F238E27FC236}">
                  <a16:creationId xmlns:a16="http://schemas.microsoft.com/office/drawing/2014/main" id="{2A2C230E-9C23-4DE5-BD65-8E664A9DBFB0}"/>
                </a:ext>
              </a:extLst>
            </p:cNvPr>
            <p:cNvGrpSpPr/>
            <p:nvPr/>
          </p:nvGrpSpPr>
          <p:grpSpPr>
            <a:xfrm>
              <a:off x="1623484" y="4107700"/>
              <a:ext cx="432000" cy="326911"/>
              <a:chOff x="5294211" y="1744736"/>
              <a:chExt cx="484984" cy="367006"/>
            </a:xfrm>
          </p:grpSpPr>
          <p:sp>
            <p:nvSpPr>
              <p:cNvPr id="311" name="Freihandform: Form 809">
                <a:extLst>
                  <a:ext uri="{FF2B5EF4-FFF2-40B4-BE49-F238E27FC236}">
                    <a16:creationId xmlns:a16="http://schemas.microsoft.com/office/drawing/2014/main" id="{84493427-F53A-4543-A163-F68C4D67550D}"/>
                  </a:ext>
                </a:extLst>
              </p:cNvPr>
              <p:cNvSpPr/>
              <p:nvPr/>
            </p:nvSpPr>
            <p:spPr>
              <a:xfrm>
                <a:off x="5320432" y="1875811"/>
                <a:ext cx="196613" cy="235930"/>
              </a:xfrm>
              <a:custGeom>
                <a:avLst/>
                <a:gdLst>
                  <a:gd name="connsiteX0" fmla="*/ 190065 w 196613"/>
                  <a:gd name="connsiteY0" fmla="*/ 235931 h 235930"/>
                  <a:gd name="connsiteX1" fmla="*/ 6549 w 196613"/>
                  <a:gd name="connsiteY1" fmla="*/ 235931 h 235930"/>
                  <a:gd name="connsiteX2" fmla="*/ 0 w 196613"/>
                  <a:gd name="connsiteY2" fmla="*/ 229382 h 235930"/>
                  <a:gd name="connsiteX3" fmla="*/ 0 w 196613"/>
                  <a:gd name="connsiteY3" fmla="*/ 6549 h 235930"/>
                  <a:gd name="connsiteX4" fmla="*/ 6549 w 196613"/>
                  <a:gd name="connsiteY4" fmla="*/ 0 h 235930"/>
                  <a:gd name="connsiteX5" fmla="*/ 190065 w 196613"/>
                  <a:gd name="connsiteY5" fmla="*/ 0 h 235930"/>
                  <a:gd name="connsiteX6" fmla="*/ 196613 w 196613"/>
                  <a:gd name="connsiteY6" fmla="*/ 6549 h 235930"/>
                  <a:gd name="connsiteX7" fmla="*/ 196613 w 196613"/>
                  <a:gd name="connsiteY7" fmla="*/ 229382 h 235930"/>
                  <a:gd name="connsiteX8" fmla="*/ 190065 w 196613"/>
                  <a:gd name="connsiteY8" fmla="*/ 235931 h 235930"/>
                  <a:gd name="connsiteX9" fmla="*/ 13097 w 196613"/>
                  <a:gd name="connsiteY9" fmla="*/ 222834 h 235930"/>
                  <a:gd name="connsiteX10" fmla="*/ 183490 w 196613"/>
                  <a:gd name="connsiteY10" fmla="*/ 222834 h 235930"/>
                  <a:gd name="connsiteX11" fmla="*/ 183490 w 196613"/>
                  <a:gd name="connsiteY11" fmla="*/ 13097 h 235930"/>
                  <a:gd name="connsiteX12" fmla="*/ 13097 w 196613"/>
                  <a:gd name="connsiteY12" fmla="*/ 13097 h 235930"/>
                  <a:gd name="connsiteX13" fmla="*/ 13097 w 196613"/>
                  <a:gd name="connsiteY13" fmla="*/ 222834 h 23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613" h="235930">
                    <a:moveTo>
                      <a:pt x="190065" y="235931"/>
                    </a:moveTo>
                    <a:lnTo>
                      <a:pt x="6549" y="235931"/>
                    </a:lnTo>
                    <a:cubicBezTo>
                      <a:pt x="2939" y="235931"/>
                      <a:pt x="0" y="232992"/>
                      <a:pt x="0" y="229382"/>
                    </a:cubicBezTo>
                    <a:lnTo>
                      <a:pt x="0" y="6549"/>
                    </a:lnTo>
                    <a:cubicBezTo>
                      <a:pt x="0" y="2939"/>
                      <a:pt x="2939" y="0"/>
                      <a:pt x="6549" y="0"/>
                    </a:cubicBezTo>
                    <a:lnTo>
                      <a:pt x="190065" y="0"/>
                    </a:lnTo>
                    <a:cubicBezTo>
                      <a:pt x="193674" y="0"/>
                      <a:pt x="196613" y="2939"/>
                      <a:pt x="196613" y="6549"/>
                    </a:cubicBezTo>
                    <a:lnTo>
                      <a:pt x="196613" y="229382"/>
                    </a:lnTo>
                    <a:cubicBezTo>
                      <a:pt x="196613" y="233017"/>
                      <a:pt x="193674" y="235931"/>
                      <a:pt x="190065" y="235931"/>
                    </a:cubicBezTo>
                    <a:close/>
                    <a:moveTo>
                      <a:pt x="13097" y="222834"/>
                    </a:moveTo>
                    <a:lnTo>
                      <a:pt x="183490" y="222834"/>
                    </a:lnTo>
                    <a:lnTo>
                      <a:pt x="183490" y="13097"/>
                    </a:lnTo>
                    <a:lnTo>
                      <a:pt x="13097" y="13097"/>
                    </a:lnTo>
                    <a:lnTo>
                      <a:pt x="13097" y="222834"/>
                    </a:lnTo>
                    <a:close/>
                  </a:path>
                </a:pathLst>
              </a:custGeom>
              <a:solidFill>
                <a:schemeClr val="tx2"/>
              </a:solidFill>
              <a:ln w="2573" cap="flat">
                <a:noFill/>
                <a:prstDash val="solid"/>
                <a:miter/>
              </a:ln>
            </p:spPr>
            <p:txBody>
              <a:bodyPr rtlCol="0" anchor="ctr"/>
              <a:lstStyle/>
              <a:p>
                <a:endParaRPr lang="en-GB" dirty="0"/>
              </a:p>
            </p:txBody>
          </p:sp>
          <p:sp>
            <p:nvSpPr>
              <p:cNvPr id="312" name="Freihandform: Form 810">
                <a:extLst>
                  <a:ext uri="{FF2B5EF4-FFF2-40B4-BE49-F238E27FC236}">
                    <a16:creationId xmlns:a16="http://schemas.microsoft.com/office/drawing/2014/main" id="{C830DEA3-ACEA-4BAC-AB9C-744A9D64A0EB}"/>
                  </a:ext>
                </a:extLst>
              </p:cNvPr>
              <p:cNvSpPr/>
              <p:nvPr/>
            </p:nvSpPr>
            <p:spPr>
              <a:xfrm>
                <a:off x="5503948" y="1744736"/>
                <a:ext cx="249028" cy="367006"/>
              </a:xfrm>
              <a:custGeom>
                <a:avLst/>
                <a:gdLst>
                  <a:gd name="connsiteX0" fmla="*/ 242479 w 249028"/>
                  <a:gd name="connsiteY0" fmla="*/ 367006 h 367006"/>
                  <a:gd name="connsiteX1" fmla="*/ 6549 w 249028"/>
                  <a:gd name="connsiteY1" fmla="*/ 367006 h 367006"/>
                  <a:gd name="connsiteX2" fmla="*/ 0 w 249028"/>
                  <a:gd name="connsiteY2" fmla="*/ 360458 h 367006"/>
                  <a:gd name="connsiteX3" fmla="*/ 0 w 249028"/>
                  <a:gd name="connsiteY3" fmla="*/ 6549 h 367006"/>
                  <a:gd name="connsiteX4" fmla="*/ 6549 w 249028"/>
                  <a:gd name="connsiteY4" fmla="*/ 0 h 367006"/>
                  <a:gd name="connsiteX5" fmla="*/ 242479 w 249028"/>
                  <a:gd name="connsiteY5" fmla="*/ 0 h 367006"/>
                  <a:gd name="connsiteX6" fmla="*/ 249028 w 249028"/>
                  <a:gd name="connsiteY6" fmla="*/ 6549 h 367006"/>
                  <a:gd name="connsiteX7" fmla="*/ 249028 w 249028"/>
                  <a:gd name="connsiteY7" fmla="*/ 360458 h 367006"/>
                  <a:gd name="connsiteX8" fmla="*/ 242479 w 249028"/>
                  <a:gd name="connsiteY8" fmla="*/ 367006 h 367006"/>
                  <a:gd name="connsiteX9" fmla="*/ 13097 w 249028"/>
                  <a:gd name="connsiteY9" fmla="*/ 353909 h 367006"/>
                  <a:gd name="connsiteX10" fmla="*/ 235931 w 249028"/>
                  <a:gd name="connsiteY10" fmla="*/ 353909 h 367006"/>
                  <a:gd name="connsiteX11" fmla="*/ 235931 w 249028"/>
                  <a:gd name="connsiteY11" fmla="*/ 13097 h 367006"/>
                  <a:gd name="connsiteX12" fmla="*/ 13097 w 249028"/>
                  <a:gd name="connsiteY12" fmla="*/ 13097 h 367006"/>
                  <a:gd name="connsiteX13" fmla="*/ 13097 w 249028"/>
                  <a:gd name="connsiteY13" fmla="*/ 353909 h 36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028" h="367006">
                    <a:moveTo>
                      <a:pt x="242479" y="367006"/>
                    </a:moveTo>
                    <a:lnTo>
                      <a:pt x="6549" y="367006"/>
                    </a:lnTo>
                    <a:cubicBezTo>
                      <a:pt x="2939" y="367006"/>
                      <a:pt x="0" y="364067"/>
                      <a:pt x="0" y="360458"/>
                    </a:cubicBezTo>
                    <a:lnTo>
                      <a:pt x="0" y="6549"/>
                    </a:lnTo>
                    <a:cubicBezTo>
                      <a:pt x="0" y="2939"/>
                      <a:pt x="2939" y="0"/>
                      <a:pt x="6549" y="0"/>
                    </a:cubicBezTo>
                    <a:lnTo>
                      <a:pt x="242479" y="0"/>
                    </a:lnTo>
                    <a:cubicBezTo>
                      <a:pt x="246089" y="0"/>
                      <a:pt x="249028" y="2939"/>
                      <a:pt x="249028" y="6549"/>
                    </a:cubicBezTo>
                    <a:lnTo>
                      <a:pt x="249028" y="360458"/>
                    </a:lnTo>
                    <a:cubicBezTo>
                      <a:pt x="249028" y="364093"/>
                      <a:pt x="246089" y="367006"/>
                      <a:pt x="242479" y="367006"/>
                    </a:cubicBezTo>
                    <a:close/>
                    <a:moveTo>
                      <a:pt x="13097" y="353909"/>
                    </a:moveTo>
                    <a:lnTo>
                      <a:pt x="235931" y="353909"/>
                    </a:lnTo>
                    <a:lnTo>
                      <a:pt x="235931" y="13097"/>
                    </a:lnTo>
                    <a:lnTo>
                      <a:pt x="13097" y="13097"/>
                    </a:lnTo>
                    <a:lnTo>
                      <a:pt x="13097" y="353909"/>
                    </a:lnTo>
                    <a:close/>
                  </a:path>
                </a:pathLst>
              </a:custGeom>
              <a:solidFill>
                <a:schemeClr val="tx2"/>
              </a:solidFill>
              <a:ln w="2573" cap="flat">
                <a:noFill/>
                <a:prstDash val="solid"/>
                <a:miter/>
              </a:ln>
            </p:spPr>
            <p:txBody>
              <a:bodyPr rtlCol="0" anchor="ctr"/>
              <a:lstStyle/>
              <a:p>
                <a:endParaRPr lang="en-GB" dirty="0"/>
              </a:p>
            </p:txBody>
          </p:sp>
          <p:sp>
            <p:nvSpPr>
              <p:cNvPr id="313" name="Freihandform: Form 813">
                <a:extLst>
                  <a:ext uri="{FF2B5EF4-FFF2-40B4-BE49-F238E27FC236}">
                    <a16:creationId xmlns:a16="http://schemas.microsoft.com/office/drawing/2014/main" id="{6EA48FFA-B4CF-40C6-9B62-01746A31C1EB}"/>
                  </a:ext>
                </a:extLst>
              </p:cNvPr>
              <p:cNvSpPr/>
              <p:nvPr/>
            </p:nvSpPr>
            <p:spPr>
              <a:xfrm>
                <a:off x="5490825" y="1744736"/>
                <a:ext cx="275274" cy="13097"/>
              </a:xfrm>
              <a:custGeom>
                <a:avLst/>
                <a:gdLst>
                  <a:gd name="connsiteX0" fmla="*/ 0 w 275274"/>
                  <a:gd name="connsiteY0" fmla="*/ 0 h 13097"/>
                  <a:gd name="connsiteX1" fmla="*/ 275274 w 275274"/>
                  <a:gd name="connsiteY1" fmla="*/ 0 h 13097"/>
                  <a:gd name="connsiteX2" fmla="*/ 275274 w 275274"/>
                  <a:gd name="connsiteY2" fmla="*/ 13097 h 13097"/>
                  <a:gd name="connsiteX3" fmla="*/ 0 w 275274"/>
                  <a:gd name="connsiteY3" fmla="*/ 13097 h 13097"/>
                </a:gdLst>
                <a:ahLst/>
                <a:cxnLst>
                  <a:cxn ang="0">
                    <a:pos x="connsiteX0" y="connsiteY0"/>
                  </a:cxn>
                  <a:cxn ang="0">
                    <a:pos x="connsiteX1" y="connsiteY1"/>
                  </a:cxn>
                  <a:cxn ang="0">
                    <a:pos x="connsiteX2" y="connsiteY2"/>
                  </a:cxn>
                  <a:cxn ang="0">
                    <a:pos x="connsiteX3" y="connsiteY3"/>
                  </a:cxn>
                </a:cxnLst>
                <a:rect l="l" t="t" r="r" b="b"/>
                <a:pathLst>
                  <a:path w="275274" h="13097">
                    <a:moveTo>
                      <a:pt x="0" y="0"/>
                    </a:moveTo>
                    <a:lnTo>
                      <a:pt x="275274" y="0"/>
                    </a:lnTo>
                    <a:lnTo>
                      <a:pt x="275274"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14" name="Freihandform: Form 814">
                <a:extLst>
                  <a:ext uri="{FF2B5EF4-FFF2-40B4-BE49-F238E27FC236}">
                    <a16:creationId xmlns:a16="http://schemas.microsoft.com/office/drawing/2014/main" id="{A4CE3440-8D8C-4099-B858-196B5A89A979}"/>
                  </a:ext>
                </a:extLst>
              </p:cNvPr>
              <p:cNvSpPr/>
              <p:nvPr/>
            </p:nvSpPr>
            <p:spPr>
              <a:xfrm>
                <a:off x="5307309" y="1875811"/>
                <a:ext cx="203161" cy="13097"/>
              </a:xfrm>
              <a:custGeom>
                <a:avLst/>
                <a:gdLst>
                  <a:gd name="connsiteX0" fmla="*/ 0 w 203161"/>
                  <a:gd name="connsiteY0" fmla="*/ 0 h 13097"/>
                  <a:gd name="connsiteX1" fmla="*/ 203162 w 203161"/>
                  <a:gd name="connsiteY1" fmla="*/ 0 h 13097"/>
                  <a:gd name="connsiteX2" fmla="*/ 203162 w 203161"/>
                  <a:gd name="connsiteY2" fmla="*/ 13097 h 13097"/>
                  <a:gd name="connsiteX3" fmla="*/ 0 w 203161"/>
                  <a:gd name="connsiteY3" fmla="*/ 13097 h 13097"/>
                </a:gdLst>
                <a:ahLst/>
                <a:cxnLst>
                  <a:cxn ang="0">
                    <a:pos x="connsiteX0" y="connsiteY0"/>
                  </a:cxn>
                  <a:cxn ang="0">
                    <a:pos x="connsiteX1" y="connsiteY1"/>
                  </a:cxn>
                  <a:cxn ang="0">
                    <a:pos x="connsiteX2" y="connsiteY2"/>
                  </a:cxn>
                  <a:cxn ang="0">
                    <a:pos x="connsiteX3" y="connsiteY3"/>
                  </a:cxn>
                </a:cxnLst>
                <a:rect l="l" t="t" r="r" b="b"/>
                <a:pathLst>
                  <a:path w="203161" h="13097">
                    <a:moveTo>
                      <a:pt x="0" y="0"/>
                    </a:moveTo>
                    <a:lnTo>
                      <a:pt x="203162" y="0"/>
                    </a:lnTo>
                    <a:lnTo>
                      <a:pt x="203162"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15" name="Freihandform: Form 820">
                <a:extLst>
                  <a:ext uri="{FF2B5EF4-FFF2-40B4-BE49-F238E27FC236}">
                    <a16:creationId xmlns:a16="http://schemas.microsoft.com/office/drawing/2014/main" id="{6ACE6FD5-22B2-4936-8B9A-E6D8892EAAD8}"/>
                  </a:ext>
                </a:extLst>
              </p:cNvPr>
              <p:cNvSpPr/>
              <p:nvPr/>
            </p:nvSpPr>
            <p:spPr>
              <a:xfrm>
                <a:off x="5359749" y="1915155"/>
                <a:ext cx="39317" cy="13097"/>
              </a:xfrm>
              <a:custGeom>
                <a:avLst/>
                <a:gdLst>
                  <a:gd name="connsiteX0" fmla="*/ 32769 w 39317"/>
                  <a:gd name="connsiteY0" fmla="*/ 13097 h 13097"/>
                  <a:gd name="connsiteX1" fmla="*/ 6549 w 39317"/>
                  <a:gd name="connsiteY1" fmla="*/ 13097 h 13097"/>
                  <a:gd name="connsiteX2" fmla="*/ 0 w 39317"/>
                  <a:gd name="connsiteY2" fmla="*/ 6549 h 13097"/>
                  <a:gd name="connsiteX3" fmla="*/ 6549 w 39317"/>
                  <a:gd name="connsiteY3" fmla="*/ 0 h 13097"/>
                  <a:gd name="connsiteX4" fmla="*/ 32769 w 39317"/>
                  <a:gd name="connsiteY4" fmla="*/ 0 h 13097"/>
                  <a:gd name="connsiteX5" fmla="*/ 39318 w 39317"/>
                  <a:gd name="connsiteY5" fmla="*/ 6549 h 13097"/>
                  <a:gd name="connsiteX6" fmla="*/ 32769 w 39317"/>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7" h="13097">
                    <a:moveTo>
                      <a:pt x="32769" y="13097"/>
                    </a:moveTo>
                    <a:lnTo>
                      <a:pt x="6549" y="13097"/>
                    </a:lnTo>
                    <a:cubicBezTo>
                      <a:pt x="2939" y="13097"/>
                      <a:pt x="0" y="10158"/>
                      <a:pt x="0" y="6549"/>
                    </a:cubicBezTo>
                    <a:cubicBezTo>
                      <a:pt x="0" y="2939"/>
                      <a:pt x="2939" y="0"/>
                      <a:pt x="6549" y="0"/>
                    </a:cubicBezTo>
                    <a:lnTo>
                      <a:pt x="32769" y="0"/>
                    </a:lnTo>
                    <a:cubicBezTo>
                      <a:pt x="36378" y="0"/>
                      <a:pt x="39318" y="2939"/>
                      <a:pt x="39318" y="6549"/>
                    </a:cubicBezTo>
                    <a:cubicBezTo>
                      <a:pt x="39318" y="10158"/>
                      <a:pt x="36378" y="13097"/>
                      <a:pt x="32769" y="13097"/>
                    </a:cubicBezTo>
                    <a:close/>
                  </a:path>
                </a:pathLst>
              </a:custGeom>
              <a:solidFill>
                <a:schemeClr val="tx2"/>
              </a:solidFill>
              <a:ln w="2573" cap="flat">
                <a:noFill/>
                <a:prstDash val="solid"/>
                <a:miter/>
              </a:ln>
            </p:spPr>
            <p:txBody>
              <a:bodyPr rtlCol="0" anchor="ctr"/>
              <a:lstStyle/>
              <a:p>
                <a:endParaRPr lang="en-GB" dirty="0"/>
              </a:p>
            </p:txBody>
          </p:sp>
          <p:sp>
            <p:nvSpPr>
              <p:cNvPr id="316" name="Freihandform: Form 821">
                <a:extLst>
                  <a:ext uri="{FF2B5EF4-FFF2-40B4-BE49-F238E27FC236}">
                    <a16:creationId xmlns:a16="http://schemas.microsoft.com/office/drawing/2014/main" id="{E2FBBD8D-F153-45DB-A00E-CF82564AD921}"/>
                  </a:ext>
                </a:extLst>
              </p:cNvPr>
              <p:cNvSpPr/>
              <p:nvPr/>
            </p:nvSpPr>
            <p:spPr>
              <a:xfrm>
                <a:off x="5438384" y="1915155"/>
                <a:ext cx="39317" cy="13097"/>
              </a:xfrm>
              <a:custGeom>
                <a:avLst/>
                <a:gdLst>
                  <a:gd name="connsiteX0" fmla="*/ 32769 w 39317"/>
                  <a:gd name="connsiteY0" fmla="*/ 13097 h 13097"/>
                  <a:gd name="connsiteX1" fmla="*/ 6549 w 39317"/>
                  <a:gd name="connsiteY1" fmla="*/ 13097 h 13097"/>
                  <a:gd name="connsiteX2" fmla="*/ 0 w 39317"/>
                  <a:gd name="connsiteY2" fmla="*/ 6549 h 13097"/>
                  <a:gd name="connsiteX3" fmla="*/ 6549 w 39317"/>
                  <a:gd name="connsiteY3" fmla="*/ 0 h 13097"/>
                  <a:gd name="connsiteX4" fmla="*/ 32769 w 39317"/>
                  <a:gd name="connsiteY4" fmla="*/ 0 h 13097"/>
                  <a:gd name="connsiteX5" fmla="*/ 39318 w 39317"/>
                  <a:gd name="connsiteY5" fmla="*/ 6549 h 13097"/>
                  <a:gd name="connsiteX6" fmla="*/ 32769 w 39317"/>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7" h="13097">
                    <a:moveTo>
                      <a:pt x="32769" y="13097"/>
                    </a:moveTo>
                    <a:lnTo>
                      <a:pt x="6549" y="13097"/>
                    </a:lnTo>
                    <a:cubicBezTo>
                      <a:pt x="2939" y="13097"/>
                      <a:pt x="0" y="10158"/>
                      <a:pt x="0" y="6549"/>
                    </a:cubicBezTo>
                    <a:cubicBezTo>
                      <a:pt x="0" y="2939"/>
                      <a:pt x="2939" y="0"/>
                      <a:pt x="6549" y="0"/>
                    </a:cubicBezTo>
                    <a:lnTo>
                      <a:pt x="32769" y="0"/>
                    </a:lnTo>
                    <a:cubicBezTo>
                      <a:pt x="36378" y="0"/>
                      <a:pt x="39318" y="2939"/>
                      <a:pt x="39318" y="6549"/>
                    </a:cubicBezTo>
                    <a:cubicBezTo>
                      <a:pt x="39343" y="10158"/>
                      <a:pt x="36404" y="13097"/>
                      <a:pt x="32769" y="13097"/>
                    </a:cubicBezTo>
                    <a:close/>
                  </a:path>
                </a:pathLst>
              </a:custGeom>
              <a:solidFill>
                <a:schemeClr val="tx2"/>
              </a:solidFill>
              <a:ln w="2573" cap="flat">
                <a:noFill/>
                <a:prstDash val="solid"/>
                <a:miter/>
              </a:ln>
            </p:spPr>
            <p:txBody>
              <a:bodyPr rtlCol="0" anchor="ctr"/>
              <a:lstStyle/>
              <a:p>
                <a:endParaRPr lang="en-GB" dirty="0"/>
              </a:p>
            </p:txBody>
          </p:sp>
          <p:sp>
            <p:nvSpPr>
              <p:cNvPr id="317" name="Freihandform: Form 822">
                <a:extLst>
                  <a:ext uri="{FF2B5EF4-FFF2-40B4-BE49-F238E27FC236}">
                    <a16:creationId xmlns:a16="http://schemas.microsoft.com/office/drawing/2014/main" id="{9A192090-61F0-4B4F-8F5C-9017AF9DB9D5}"/>
                  </a:ext>
                </a:extLst>
              </p:cNvPr>
              <p:cNvSpPr/>
              <p:nvPr/>
            </p:nvSpPr>
            <p:spPr>
              <a:xfrm>
                <a:off x="5359749" y="1954472"/>
                <a:ext cx="39317" cy="13097"/>
              </a:xfrm>
              <a:custGeom>
                <a:avLst/>
                <a:gdLst>
                  <a:gd name="connsiteX0" fmla="*/ 32769 w 39317"/>
                  <a:gd name="connsiteY0" fmla="*/ 13097 h 13097"/>
                  <a:gd name="connsiteX1" fmla="*/ 6549 w 39317"/>
                  <a:gd name="connsiteY1" fmla="*/ 13097 h 13097"/>
                  <a:gd name="connsiteX2" fmla="*/ 0 w 39317"/>
                  <a:gd name="connsiteY2" fmla="*/ 6549 h 13097"/>
                  <a:gd name="connsiteX3" fmla="*/ 6549 w 39317"/>
                  <a:gd name="connsiteY3" fmla="*/ 0 h 13097"/>
                  <a:gd name="connsiteX4" fmla="*/ 32769 w 39317"/>
                  <a:gd name="connsiteY4" fmla="*/ 0 h 13097"/>
                  <a:gd name="connsiteX5" fmla="*/ 39318 w 39317"/>
                  <a:gd name="connsiteY5" fmla="*/ 6549 h 13097"/>
                  <a:gd name="connsiteX6" fmla="*/ 32769 w 39317"/>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7" h="13097">
                    <a:moveTo>
                      <a:pt x="32769" y="13097"/>
                    </a:moveTo>
                    <a:lnTo>
                      <a:pt x="6549" y="13097"/>
                    </a:lnTo>
                    <a:cubicBezTo>
                      <a:pt x="2939" y="13097"/>
                      <a:pt x="0" y="10158"/>
                      <a:pt x="0" y="6549"/>
                    </a:cubicBezTo>
                    <a:cubicBezTo>
                      <a:pt x="0" y="2939"/>
                      <a:pt x="2939" y="0"/>
                      <a:pt x="6549" y="0"/>
                    </a:cubicBezTo>
                    <a:lnTo>
                      <a:pt x="32769" y="0"/>
                    </a:lnTo>
                    <a:cubicBezTo>
                      <a:pt x="36378" y="0"/>
                      <a:pt x="39318" y="2939"/>
                      <a:pt x="39318" y="6549"/>
                    </a:cubicBezTo>
                    <a:cubicBezTo>
                      <a:pt x="39318" y="10158"/>
                      <a:pt x="36378" y="13097"/>
                      <a:pt x="32769" y="13097"/>
                    </a:cubicBezTo>
                    <a:close/>
                  </a:path>
                </a:pathLst>
              </a:custGeom>
              <a:solidFill>
                <a:schemeClr val="tx2"/>
              </a:solidFill>
              <a:ln w="2573" cap="flat">
                <a:noFill/>
                <a:prstDash val="solid"/>
                <a:miter/>
              </a:ln>
            </p:spPr>
            <p:txBody>
              <a:bodyPr rtlCol="0" anchor="ctr"/>
              <a:lstStyle/>
              <a:p>
                <a:endParaRPr lang="en-GB" dirty="0"/>
              </a:p>
            </p:txBody>
          </p:sp>
          <p:sp>
            <p:nvSpPr>
              <p:cNvPr id="318" name="Freihandform: Form 823">
                <a:extLst>
                  <a:ext uri="{FF2B5EF4-FFF2-40B4-BE49-F238E27FC236}">
                    <a16:creationId xmlns:a16="http://schemas.microsoft.com/office/drawing/2014/main" id="{849A4467-8E73-48F1-AB18-2C2EA20F8F27}"/>
                  </a:ext>
                </a:extLst>
              </p:cNvPr>
              <p:cNvSpPr/>
              <p:nvPr/>
            </p:nvSpPr>
            <p:spPr>
              <a:xfrm>
                <a:off x="5438384" y="1954472"/>
                <a:ext cx="39317" cy="13097"/>
              </a:xfrm>
              <a:custGeom>
                <a:avLst/>
                <a:gdLst>
                  <a:gd name="connsiteX0" fmla="*/ 32769 w 39317"/>
                  <a:gd name="connsiteY0" fmla="*/ 13097 h 13097"/>
                  <a:gd name="connsiteX1" fmla="*/ 6549 w 39317"/>
                  <a:gd name="connsiteY1" fmla="*/ 13097 h 13097"/>
                  <a:gd name="connsiteX2" fmla="*/ 0 w 39317"/>
                  <a:gd name="connsiteY2" fmla="*/ 6549 h 13097"/>
                  <a:gd name="connsiteX3" fmla="*/ 6549 w 39317"/>
                  <a:gd name="connsiteY3" fmla="*/ 0 h 13097"/>
                  <a:gd name="connsiteX4" fmla="*/ 32769 w 39317"/>
                  <a:gd name="connsiteY4" fmla="*/ 0 h 13097"/>
                  <a:gd name="connsiteX5" fmla="*/ 39318 w 39317"/>
                  <a:gd name="connsiteY5" fmla="*/ 6549 h 13097"/>
                  <a:gd name="connsiteX6" fmla="*/ 32769 w 39317"/>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7" h="13097">
                    <a:moveTo>
                      <a:pt x="32769" y="13097"/>
                    </a:moveTo>
                    <a:lnTo>
                      <a:pt x="6549" y="13097"/>
                    </a:lnTo>
                    <a:cubicBezTo>
                      <a:pt x="2939" y="13097"/>
                      <a:pt x="0" y="10158"/>
                      <a:pt x="0" y="6549"/>
                    </a:cubicBezTo>
                    <a:cubicBezTo>
                      <a:pt x="0" y="2939"/>
                      <a:pt x="2939" y="0"/>
                      <a:pt x="6549" y="0"/>
                    </a:cubicBezTo>
                    <a:lnTo>
                      <a:pt x="32769" y="0"/>
                    </a:lnTo>
                    <a:cubicBezTo>
                      <a:pt x="36378" y="0"/>
                      <a:pt x="39318" y="2939"/>
                      <a:pt x="39318" y="6549"/>
                    </a:cubicBezTo>
                    <a:cubicBezTo>
                      <a:pt x="39318" y="10158"/>
                      <a:pt x="36404" y="13097"/>
                      <a:pt x="32769" y="13097"/>
                    </a:cubicBezTo>
                    <a:close/>
                  </a:path>
                </a:pathLst>
              </a:custGeom>
              <a:solidFill>
                <a:schemeClr val="tx2"/>
              </a:solidFill>
              <a:ln w="2573" cap="flat">
                <a:noFill/>
                <a:prstDash val="solid"/>
                <a:miter/>
              </a:ln>
            </p:spPr>
            <p:txBody>
              <a:bodyPr rtlCol="0" anchor="ctr"/>
              <a:lstStyle/>
              <a:p>
                <a:endParaRPr lang="en-GB" dirty="0"/>
              </a:p>
            </p:txBody>
          </p:sp>
          <p:sp>
            <p:nvSpPr>
              <p:cNvPr id="319" name="Freihandform: Form 824">
                <a:extLst>
                  <a:ext uri="{FF2B5EF4-FFF2-40B4-BE49-F238E27FC236}">
                    <a16:creationId xmlns:a16="http://schemas.microsoft.com/office/drawing/2014/main" id="{FB19F5E4-C167-46CD-9624-751F64CCDF2D}"/>
                  </a:ext>
                </a:extLst>
              </p:cNvPr>
              <p:cNvSpPr/>
              <p:nvPr/>
            </p:nvSpPr>
            <p:spPr>
              <a:xfrm>
                <a:off x="5359749" y="1993790"/>
                <a:ext cx="39317" cy="13097"/>
              </a:xfrm>
              <a:custGeom>
                <a:avLst/>
                <a:gdLst>
                  <a:gd name="connsiteX0" fmla="*/ 32769 w 39317"/>
                  <a:gd name="connsiteY0" fmla="*/ 13097 h 13097"/>
                  <a:gd name="connsiteX1" fmla="*/ 6549 w 39317"/>
                  <a:gd name="connsiteY1" fmla="*/ 13097 h 13097"/>
                  <a:gd name="connsiteX2" fmla="*/ 0 w 39317"/>
                  <a:gd name="connsiteY2" fmla="*/ 6549 h 13097"/>
                  <a:gd name="connsiteX3" fmla="*/ 6549 w 39317"/>
                  <a:gd name="connsiteY3" fmla="*/ 0 h 13097"/>
                  <a:gd name="connsiteX4" fmla="*/ 32769 w 39317"/>
                  <a:gd name="connsiteY4" fmla="*/ 0 h 13097"/>
                  <a:gd name="connsiteX5" fmla="*/ 39318 w 39317"/>
                  <a:gd name="connsiteY5" fmla="*/ 6549 h 13097"/>
                  <a:gd name="connsiteX6" fmla="*/ 32769 w 39317"/>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7" h="13097">
                    <a:moveTo>
                      <a:pt x="32769" y="13097"/>
                    </a:moveTo>
                    <a:lnTo>
                      <a:pt x="6549" y="13097"/>
                    </a:lnTo>
                    <a:cubicBezTo>
                      <a:pt x="2939" y="13097"/>
                      <a:pt x="0" y="10158"/>
                      <a:pt x="0" y="6549"/>
                    </a:cubicBezTo>
                    <a:cubicBezTo>
                      <a:pt x="0" y="2939"/>
                      <a:pt x="2939" y="0"/>
                      <a:pt x="6549" y="0"/>
                    </a:cubicBezTo>
                    <a:lnTo>
                      <a:pt x="32769" y="0"/>
                    </a:lnTo>
                    <a:cubicBezTo>
                      <a:pt x="36378" y="0"/>
                      <a:pt x="39318" y="2939"/>
                      <a:pt x="39318" y="6549"/>
                    </a:cubicBezTo>
                    <a:cubicBezTo>
                      <a:pt x="39318" y="10158"/>
                      <a:pt x="36378" y="13097"/>
                      <a:pt x="32769" y="13097"/>
                    </a:cubicBezTo>
                    <a:close/>
                  </a:path>
                </a:pathLst>
              </a:custGeom>
              <a:solidFill>
                <a:schemeClr val="tx2"/>
              </a:solidFill>
              <a:ln w="2573" cap="flat">
                <a:noFill/>
                <a:prstDash val="solid"/>
                <a:miter/>
              </a:ln>
            </p:spPr>
            <p:txBody>
              <a:bodyPr rtlCol="0" anchor="ctr"/>
              <a:lstStyle/>
              <a:p>
                <a:endParaRPr lang="en-GB" dirty="0"/>
              </a:p>
            </p:txBody>
          </p:sp>
          <p:sp>
            <p:nvSpPr>
              <p:cNvPr id="320" name="Freihandform: Form 825">
                <a:extLst>
                  <a:ext uri="{FF2B5EF4-FFF2-40B4-BE49-F238E27FC236}">
                    <a16:creationId xmlns:a16="http://schemas.microsoft.com/office/drawing/2014/main" id="{76F7B748-D455-4C23-B355-122D49DE15AA}"/>
                  </a:ext>
                </a:extLst>
              </p:cNvPr>
              <p:cNvSpPr/>
              <p:nvPr/>
            </p:nvSpPr>
            <p:spPr>
              <a:xfrm>
                <a:off x="5438384" y="1993790"/>
                <a:ext cx="39317" cy="13097"/>
              </a:xfrm>
              <a:custGeom>
                <a:avLst/>
                <a:gdLst>
                  <a:gd name="connsiteX0" fmla="*/ 32769 w 39317"/>
                  <a:gd name="connsiteY0" fmla="*/ 13097 h 13097"/>
                  <a:gd name="connsiteX1" fmla="*/ 6549 w 39317"/>
                  <a:gd name="connsiteY1" fmla="*/ 13097 h 13097"/>
                  <a:gd name="connsiteX2" fmla="*/ 0 w 39317"/>
                  <a:gd name="connsiteY2" fmla="*/ 6549 h 13097"/>
                  <a:gd name="connsiteX3" fmla="*/ 6549 w 39317"/>
                  <a:gd name="connsiteY3" fmla="*/ 0 h 13097"/>
                  <a:gd name="connsiteX4" fmla="*/ 32769 w 39317"/>
                  <a:gd name="connsiteY4" fmla="*/ 0 h 13097"/>
                  <a:gd name="connsiteX5" fmla="*/ 39318 w 39317"/>
                  <a:gd name="connsiteY5" fmla="*/ 6549 h 13097"/>
                  <a:gd name="connsiteX6" fmla="*/ 32769 w 39317"/>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7" h="13097">
                    <a:moveTo>
                      <a:pt x="32769" y="13097"/>
                    </a:moveTo>
                    <a:lnTo>
                      <a:pt x="6549" y="13097"/>
                    </a:lnTo>
                    <a:cubicBezTo>
                      <a:pt x="2939" y="13097"/>
                      <a:pt x="0" y="10158"/>
                      <a:pt x="0" y="6549"/>
                    </a:cubicBezTo>
                    <a:cubicBezTo>
                      <a:pt x="0" y="2939"/>
                      <a:pt x="2939" y="0"/>
                      <a:pt x="6549" y="0"/>
                    </a:cubicBezTo>
                    <a:lnTo>
                      <a:pt x="32769" y="0"/>
                    </a:lnTo>
                    <a:cubicBezTo>
                      <a:pt x="36378" y="0"/>
                      <a:pt x="39318" y="2939"/>
                      <a:pt x="39318" y="6549"/>
                    </a:cubicBezTo>
                    <a:cubicBezTo>
                      <a:pt x="39318" y="10158"/>
                      <a:pt x="36404" y="13097"/>
                      <a:pt x="32769" y="13097"/>
                    </a:cubicBezTo>
                    <a:close/>
                  </a:path>
                </a:pathLst>
              </a:custGeom>
              <a:solidFill>
                <a:schemeClr val="tx2"/>
              </a:solidFill>
              <a:ln w="2573" cap="flat">
                <a:noFill/>
                <a:prstDash val="solid"/>
                <a:miter/>
              </a:ln>
            </p:spPr>
            <p:txBody>
              <a:bodyPr rtlCol="0" anchor="ctr"/>
              <a:lstStyle/>
              <a:p>
                <a:endParaRPr lang="en-GB" dirty="0"/>
              </a:p>
            </p:txBody>
          </p:sp>
          <p:sp>
            <p:nvSpPr>
              <p:cNvPr id="321" name="Freihandform: Form 826">
                <a:extLst>
                  <a:ext uri="{FF2B5EF4-FFF2-40B4-BE49-F238E27FC236}">
                    <a16:creationId xmlns:a16="http://schemas.microsoft.com/office/drawing/2014/main" id="{69E6BF42-E9C2-4657-A6D0-73172F709218}"/>
                  </a:ext>
                </a:extLst>
              </p:cNvPr>
              <p:cNvSpPr/>
              <p:nvPr/>
            </p:nvSpPr>
            <p:spPr>
              <a:xfrm>
                <a:off x="5359749" y="2033107"/>
                <a:ext cx="39317" cy="13097"/>
              </a:xfrm>
              <a:custGeom>
                <a:avLst/>
                <a:gdLst>
                  <a:gd name="connsiteX0" fmla="*/ 32769 w 39317"/>
                  <a:gd name="connsiteY0" fmla="*/ 13097 h 13097"/>
                  <a:gd name="connsiteX1" fmla="*/ 6549 w 39317"/>
                  <a:gd name="connsiteY1" fmla="*/ 13097 h 13097"/>
                  <a:gd name="connsiteX2" fmla="*/ 0 w 39317"/>
                  <a:gd name="connsiteY2" fmla="*/ 6549 h 13097"/>
                  <a:gd name="connsiteX3" fmla="*/ 6549 w 39317"/>
                  <a:gd name="connsiteY3" fmla="*/ 0 h 13097"/>
                  <a:gd name="connsiteX4" fmla="*/ 32769 w 39317"/>
                  <a:gd name="connsiteY4" fmla="*/ 0 h 13097"/>
                  <a:gd name="connsiteX5" fmla="*/ 39318 w 39317"/>
                  <a:gd name="connsiteY5" fmla="*/ 6549 h 13097"/>
                  <a:gd name="connsiteX6" fmla="*/ 32769 w 39317"/>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7" h="13097">
                    <a:moveTo>
                      <a:pt x="32769" y="13097"/>
                    </a:moveTo>
                    <a:lnTo>
                      <a:pt x="6549" y="13097"/>
                    </a:lnTo>
                    <a:cubicBezTo>
                      <a:pt x="2939" y="13097"/>
                      <a:pt x="0" y="10158"/>
                      <a:pt x="0" y="6549"/>
                    </a:cubicBezTo>
                    <a:cubicBezTo>
                      <a:pt x="0" y="2939"/>
                      <a:pt x="2939" y="0"/>
                      <a:pt x="6549" y="0"/>
                    </a:cubicBezTo>
                    <a:lnTo>
                      <a:pt x="32769" y="0"/>
                    </a:lnTo>
                    <a:cubicBezTo>
                      <a:pt x="36378" y="0"/>
                      <a:pt x="39318" y="2939"/>
                      <a:pt x="39318" y="6549"/>
                    </a:cubicBezTo>
                    <a:cubicBezTo>
                      <a:pt x="39318" y="10158"/>
                      <a:pt x="36378" y="13097"/>
                      <a:pt x="32769" y="13097"/>
                    </a:cubicBezTo>
                    <a:close/>
                  </a:path>
                </a:pathLst>
              </a:custGeom>
              <a:solidFill>
                <a:schemeClr val="tx2"/>
              </a:solidFill>
              <a:ln w="2573" cap="flat">
                <a:noFill/>
                <a:prstDash val="solid"/>
                <a:miter/>
              </a:ln>
            </p:spPr>
            <p:txBody>
              <a:bodyPr rtlCol="0" anchor="ctr"/>
              <a:lstStyle/>
              <a:p>
                <a:endParaRPr lang="en-GB" dirty="0"/>
              </a:p>
            </p:txBody>
          </p:sp>
          <p:sp>
            <p:nvSpPr>
              <p:cNvPr id="322" name="Freihandform: Form 827">
                <a:extLst>
                  <a:ext uri="{FF2B5EF4-FFF2-40B4-BE49-F238E27FC236}">
                    <a16:creationId xmlns:a16="http://schemas.microsoft.com/office/drawing/2014/main" id="{D8108BA8-A910-419F-A64F-E2379E129DB7}"/>
                  </a:ext>
                </a:extLst>
              </p:cNvPr>
              <p:cNvSpPr/>
              <p:nvPr/>
            </p:nvSpPr>
            <p:spPr>
              <a:xfrm>
                <a:off x="5438384" y="2033107"/>
                <a:ext cx="39317" cy="13097"/>
              </a:xfrm>
              <a:custGeom>
                <a:avLst/>
                <a:gdLst>
                  <a:gd name="connsiteX0" fmla="*/ 32769 w 39317"/>
                  <a:gd name="connsiteY0" fmla="*/ 13097 h 13097"/>
                  <a:gd name="connsiteX1" fmla="*/ 6549 w 39317"/>
                  <a:gd name="connsiteY1" fmla="*/ 13097 h 13097"/>
                  <a:gd name="connsiteX2" fmla="*/ 0 w 39317"/>
                  <a:gd name="connsiteY2" fmla="*/ 6549 h 13097"/>
                  <a:gd name="connsiteX3" fmla="*/ 6549 w 39317"/>
                  <a:gd name="connsiteY3" fmla="*/ 0 h 13097"/>
                  <a:gd name="connsiteX4" fmla="*/ 32769 w 39317"/>
                  <a:gd name="connsiteY4" fmla="*/ 0 h 13097"/>
                  <a:gd name="connsiteX5" fmla="*/ 39318 w 39317"/>
                  <a:gd name="connsiteY5" fmla="*/ 6549 h 13097"/>
                  <a:gd name="connsiteX6" fmla="*/ 32769 w 39317"/>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7" h="13097">
                    <a:moveTo>
                      <a:pt x="32769" y="13097"/>
                    </a:moveTo>
                    <a:lnTo>
                      <a:pt x="6549" y="13097"/>
                    </a:lnTo>
                    <a:cubicBezTo>
                      <a:pt x="2939" y="13097"/>
                      <a:pt x="0" y="10158"/>
                      <a:pt x="0" y="6549"/>
                    </a:cubicBezTo>
                    <a:cubicBezTo>
                      <a:pt x="0" y="2939"/>
                      <a:pt x="2939" y="0"/>
                      <a:pt x="6549" y="0"/>
                    </a:cubicBezTo>
                    <a:lnTo>
                      <a:pt x="32769" y="0"/>
                    </a:lnTo>
                    <a:cubicBezTo>
                      <a:pt x="36378" y="0"/>
                      <a:pt x="39318" y="2939"/>
                      <a:pt x="39318" y="6549"/>
                    </a:cubicBezTo>
                    <a:cubicBezTo>
                      <a:pt x="39343" y="10158"/>
                      <a:pt x="36404" y="13097"/>
                      <a:pt x="32769" y="13097"/>
                    </a:cubicBezTo>
                    <a:close/>
                  </a:path>
                </a:pathLst>
              </a:custGeom>
              <a:solidFill>
                <a:schemeClr val="tx2"/>
              </a:solidFill>
              <a:ln w="2573" cap="flat">
                <a:noFill/>
                <a:prstDash val="solid"/>
                <a:miter/>
              </a:ln>
            </p:spPr>
            <p:txBody>
              <a:bodyPr rtlCol="0" anchor="ctr"/>
              <a:lstStyle/>
              <a:p>
                <a:endParaRPr lang="en-GB" dirty="0"/>
              </a:p>
            </p:txBody>
          </p:sp>
          <p:sp>
            <p:nvSpPr>
              <p:cNvPr id="323" name="Freihandform: Form 828">
                <a:extLst>
                  <a:ext uri="{FF2B5EF4-FFF2-40B4-BE49-F238E27FC236}">
                    <a16:creationId xmlns:a16="http://schemas.microsoft.com/office/drawing/2014/main" id="{EDFF2C57-5E85-403C-94F0-D5D3064B20A6}"/>
                  </a:ext>
                </a:extLst>
              </p:cNvPr>
              <p:cNvSpPr/>
              <p:nvPr/>
            </p:nvSpPr>
            <p:spPr>
              <a:xfrm>
                <a:off x="5543265" y="1784079"/>
                <a:ext cx="52414" cy="52414"/>
              </a:xfrm>
              <a:custGeom>
                <a:avLst/>
                <a:gdLst>
                  <a:gd name="connsiteX0" fmla="*/ 45866 w 52414"/>
                  <a:gd name="connsiteY0" fmla="*/ 52415 h 52414"/>
                  <a:gd name="connsiteX1" fmla="*/ 6549 w 52414"/>
                  <a:gd name="connsiteY1" fmla="*/ 52415 h 52414"/>
                  <a:gd name="connsiteX2" fmla="*/ 0 w 52414"/>
                  <a:gd name="connsiteY2" fmla="*/ 45866 h 52414"/>
                  <a:gd name="connsiteX3" fmla="*/ 0 w 52414"/>
                  <a:gd name="connsiteY3" fmla="*/ 22508 h 52414"/>
                  <a:gd name="connsiteX4" fmla="*/ 22508 w 52414"/>
                  <a:gd name="connsiteY4" fmla="*/ 0 h 52414"/>
                  <a:gd name="connsiteX5" fmla="*/ 29907 w 52414"/>
                  <a:gd name="connsiteY5" fmla="*/ 0 h 52414"/>
                  <a:gd name="connsiteX6" fmla="*/ 52415 w 52414"/>
                  <a:gd name="connsiteY6" fmla="*/ 22508 h 52414"/>
                  <a:gd name="connsiteX7" fmla="*/ 52415 w 52414"/>
                  <a:gd name="connsiteY7" fmla="*/ 45866 h 52414"/>
                  <a:gd name="connsiteX8" fmla="*/ 45866 w 52414"/>
                  <a:gd name="connsiteY8" fmla="*/ 52415 h 52414"/>
                  <a:gd name="connsiteX9" fmla="*/ 13097 w 52414"/>
                  <a:gd name="connsiteY9" fmla="*/ 39292 h 52414"/>
                  <a:gd name="connsiteX10" fmla="*/ 39318 w 52414"/>
                  <a:gd name="connsiteY10" fmla="*/ 39292 h 52414"/>
                  <a:gd name="connsiteX11" fmla="*/ 39318 w 52414"/>
                  <a:gd name="connsiteY11" fmla="*/ 22482 h 52414"/>
                  <a:gd name="connsiteX12" fmla="*/ 29907 w 52414"/>
                  <a:gd name="connsiteY12" fmla="*/ 13071 h 52414"/>
                  <a:gd name="connsiteX13" fmla="*/ 22508 w 52414"/>
                  <a:gd name="connsiteY13" fmla="*/ 13071 h 52414"/>
                  <a:gd name="connsiteX14" fmla="*/ 13097 w 52414"/>
                  <a:gd name="connsiteY14" fmla="*/ 22482 h 52414"/>
                  <a:gd name="connsiteX15" fmla="*/ 13097 w 52414"/>
                  <a:gd name="connsiteY15" fmla="*/ 39292 h 5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414" h="52414">
                    <a:moveTo>
                      <a:pt x="45866" y="52415"/>
                    </a:moveTo>
                    <a:lnTo>
                      <a:pt x="6549" y="52415"/>
                    </a:lnTo>
                    <a:cubicBezTo>
                      <a:pt x="2939" y="52415"/>
                      <a:pt x="0" y="49476"/>
                      <a:pt x="0" y="45866"/>
                    </a:cubicBezTo>
                    <a:lnTo>
                      <a:pt x="0" y="22508"/>
                    </a:lnTo>
                    <a:cubicBezTo>
                      <a:pt x="0" y="10107"/>
                      <a:pt x="10107" y="0"/>
                      <a:pt x="22508" y="0"/>
                    </a:cubicBezTo>
                    <a:lnTo>
                      <a:pt x="29907" y="0"/>
                    </a:lnTo>
                    <a:cubicBezTo>
                      <a:pt x="42308" y="0"/>
                      <a:pt x="52415" y="10107"/>
                      <a:pt x="52415" y="22508"/>
                    </a:cubicBezTo>
                    <a:lnTo>
                      <a:pt x="52415" y="45866"/>
                    </a:lnTo>
                    <a:cubicBezTo>
                      <a:pt x="52415" y="49476"/>
                      <a:pt x="49476" y="52415"/>
                      <a:pt x="45866" y="52415"/>
                    </a:cubicBezTo>
                    <a:close/>
                    <a:moveTo>
                      <a:pt x="13097" y="39292"/>
                    </a:moveTo>
                    <a:lnTo>
                      <a:pt x="39318" y="39292"/>
                    </a:lnTo>
                    <a:lnTo>
                      <a:pt x="39318" y="22482"/>
                    </a:lnTo>
                    <a:cubicBezTo>
                      <a:pt x="39318" y="17300"/>
                      <a:pt x="35089" y="13071"/>
                      <a:pt x="29907" y="13071"/>
                    </a:cubicBezTo>
                    <a:lnTo>
                      <a:pt x="22508" y="13071"/>
                    </a:lnTo>
                    <a:cubicBezTo>
                      <a:pt x="17325" y="13071"/>
                      <a:pt x="13097" y="17300"/>
                      <a:pt x="13097" y="22482"/>
                    </a:cubicBezTo>
                    <a:lnTo>
                      <a:pt x="13097" y="39292"/>
                    </a:lnTo>
                    <a:close/>
                  </a:path>
                </a:pathLst>
              </a:custGeom>
              <a:solidFill>
                <a:schemeClr val="tx2"/>
              </a:solidFill>
              <a:ln w="2573" cap="flat">
                <a:noFill/>
                <a:prstDash val="solid"/>
                <a:miter/>
              </a:ln>
            </p:spPr>
            <p:txBody>
              <a:bodyPr rtlCol="0" anchor="ctr"/>
              <a:lstStyle/>
              <a:p>
                <a:endParaRPr lang="en-GB" dirty="0"/>
              </a:p>
            </p:txBody>
          </p:sp>
          <p:sp>
            <p:nvSpPr>
              <p:cNvPr id="324" name="Freihandform: Form 829">
                <a:extLst>
                  <a:ext uri="{FF2B5EF4-FFF2-40B4-BE49-F238E27FC236}">
                    <a16:creationId xmlns:a16="http://schemas.microsoft.com/office/drawing/2014/main" id="{9FE99F76-6A89-479A-9800-A35C4C7A3F41}"/>
                  </a:ext>
                </a:extLst>
              </p:cNvPr>
              <p:cNvSpPr/>
              <p:nvPr/>
            </p:nvSpPr>
            <p:spPr>
              <a:xfrm>
                <a:off x="5661243" y="1784079"/>
                <a:ext cx="52414" cy="52414"/>
              </a:xfrm>
              <a:custGeom>
                <a:avLst/>
                <a:gdLst>
                  <a:gd name="connsiteX0" fmla="*/ 45866 w 52414"/>
                  <a:gd name="connsiteY0" fmla="*/ 52415 h 52414"/>
                  <a:gd name="connsiteX1" fmla="*/ 6549 w 52414"/>
                  <a:gd name="connsiteY1" fmla="*/ 52415 h 52414"/>
                  <a:gd name="connsiteX2" fmla="*/ 0 w 52414"/>
                  <a:gd name="connsiteY2" fmla="*/ 45866 h 52414"/>
                  <a:gd name="connsiteX3" fmla="*/ 0 w 52414"/>
                  <a:gd name="connsiteY3" fmla="*/ 22508 h 52414"/>
                  <a:gd name="connsiteX4" fmla="*/ 22508 w 52414"/>
                  <a:gd name="connsiteY4" fmla="*/ 0 h 52414"/>
                  <a:gd name="connsiteX5" fmla="*/ 29907 w 52414"/>
                  <a:gd name="connsiteY5" fmla="*/ 0 h 52414"/>
                  <a:gd name="connsiteX6" fmla="*/ 52415 w 52414"/>
                  <a:gd name="connsiteY6" fmla="*/ 22508 h 52414"/>
                  <a:gd name="connsiteX7" fmla="*/ 52415 w 52414"/>
                  <a:gd name="connsiteY7" fmla="*/ 45866 h 52414"/>
                  <a:gd name="connsiteX8" fmla="*/ 45866 w 52414"/>
                  <a:gd name="connsiteY8" fmla="*/ 52415 h 52414"/>
                  <a:gd name="connsiteX9" fmla="*/ 13097 w 52414"/>
                  <a:gd name="connsiteY9" fmla="*/ 39292 h 52414"/>
                  <a:gd name="connsiteX10" fmla="*/ 39318 w 52414"/>
                  <a:gd name="connsiteY10" fmla="*/ 39292 h 52414"/>
                  <a:gd name="connsiteX11" fmla="*/ 39318 w 52414"/>
                  <a:gd name="connsiteY11" fmla="*/ 22482 h 52414"/>
                  <a:gd name="connsiteX12" fmla="*/ 29907 w 52414"/>
                  <a:gd name="connsiteY12" fmla="*/ 13071 h 52414"/>
                  <a:gd name="connsiteX13" fmla="*/ 22508 w 52414"/>
                  <a:gd name="connsiteY13" fmla="*/ 13071 h 52414"/>
                  <a:gd name="connsiteX14" fmla="*/ 13097 w 52414"/>
                  <a:gd name="connsiteY14" fmla="*/ 22482 h 52414"/>
                  <a:gd name="connsiteX15" fmla="*/ 13097 w 52414"/>
                  <a:gd name="connsiteY15" fmla="*/ 39292 h 5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414" h="52414">
                    <a:moveTo>
                      <a:pt x="45866" y="52415"/>
                    </a:moveTo>
                    <a:lnTo>
                      <a:pt x="6549" y="52415"/>
                    </a:lnTo>
                    <a:cubicBezTo>
                      <a:pt x="2939" y="52415"/>
                      <a:pt x="0" y="49476"/>
                      <a:pt x="0" y="45866"/>
                    </a:cubicBezTo>
                    <a:lnTo>
                      <a:pt x="0" y="22508"/>
                    </a:lnTo>
                    <a:cubicBezTo>
                      <a:pt x="0" y="10107"/>
                      <a:pt x="10107" y="0"/>
                      <a:pt x="22508" y="0"/>
                    </a:cubicBezTo>
                    <a:lnTo>
                      <a:pt x="29907" y="0"/>
                    </a:lnTo>
                    <a:cubicBezTo>
                      <a:pt x="42308" y="0"/>
                      <a:pt x="52415" y="10107"/>
                      <a:pt x="52415" y="22508"/>
                    </a:cubicBezTo>
                    <a:lnTo>
                      <a:pt x="52415" y="45866"/>
                    </a:lnTo>
                    <a:cubicBezTo>
                      <a:pt x="52415" y="49476"/>
                      <a:pt x="49476" y="52415"/>
                      <a:pt x="45866" y="52415"/>
                    </a:cubicBezTo>
                    <a:close/>
                    <a:moveTo>
                      <a:pt x="13097" y="39292"/>
                    </a:moveTo>
                    <a:lnTo>
                      <a:pt x="39318" y="39292"/>
                    </a:lnTo>
                    <a:lnTo>
                      <a:pt x="39318" y="22482"/>
                    </a:lnTo>
                    <a:cubicBezTo>
                      <a:pt x="39318" y="17300"/>
                      <a:pt x="35089" y="13071"/>
                      <a:pt x="29907" y="13071"/>
                    </a:cubicBezTo>
                    <a:lnTo>
                      <a:pt x="22508" y="13071"/>
                    </a:lnTo>
                    <a:cubicBezTo>
                      <a:pt x="17325" y="13071"/>
                      <a:pt x="13097" y="17300"/>
                      <a:pt x="13097" y="22482"/>
                    </a:cubicBezTo>
                    <a:lnTo>
                      <a:pt x="13097" y="39292"/>
                    </a:lnTo>
                    <a:close/>
                  </a:path>
                </a:pathLst>
              </a:custGeom>
              <a:solidFill>
                <a:schemeClr val="tx2"/>
              </a:solidFill>
              <a:ln w="2573" cap="flat">
                <a:noFill/>
                <a:prstDash val="solid"/>
                <a:miter/>
              </a:ln>
            </p:spPr>
            <p:txBody>
              <a:bodyPr rtlCol="0" anchor="ctr"/>
              <a:lstStyle/>
              <a:p>
                <a:endParaRPr lang="en-GB" dirty="0"/>
              </a:p>
            </p:txBody>
          </p:sp>
          <p:sp>
            <p:nvSpPr>
              <p:cNvPr id="325" name="Freihandform: Form 830">
                <a:extLst>
                  <a:ext uri="{FF2B5EF4-FFF2-40B4-BE49-F238E27FC236}">
                    <a16:creationId xmlns:a16="http://schemas.microsoft.com/office/drawing/2014/main" id="{A326D4FE-E9E9-4A2B-B5C5-93C615399378}"/>
                  </a:ext>
                </a:extLst>
              </p:cNvPr>
              <p:cNvSpPr/>
              <p:nvPr/>
            </p:nvSpPr>
            <p:spPr>
              <a:xfrm>
                <a:off x="5543265" y="1862714"/>
                <a:ext cx="52414" cy="52414"/>
              </a:xfrm>
              <a:custGeom>
                <a:avLst/>
                <a:gdLst>
                  <a:gd name="connsiteX0" fmla="*/ 45866 w 52414"/>
                  <a:gd name="connsiteY0" fmla="*/ 52415 h 52414"/>
                  <a:gd name="connsiteX1" fmla="*/ 6549 w 52414"/>
                  <a:gd name="connsiteY1" fmla="*/ 52415 h 52414"/>
                  <a:gd name="connsiteX2" fmla="*/ 0 w 52414"/>
                  <a:gd name="connsiteY2" fmla="*/ 45866 h 52414"/>
                  <a:gd name="connsiteX3" fmla="*/ 0 w 52414"/>
                  <a:gd name="connsiteY3" fmla="*/ 22508 h 52414"/>
                  <a:gd name="connsiteX4" fmla="*/ 22508 w 52414"/>
                  <a:gd name="connsiteY4" fmla="*/ 0 h 52414"/>
                  <a:gd name="connsiteX5" fmla="*/ 29907 w 52414"/>
                  <a:gd name="connsiteY5" fmla="*/ 0 h 52414"/>
                  <a:gd name="connsiteX6" fmla="*/ 52415 w 52414"/>
                  <a:gd name="connsiteY6" fmla="*/ 22508 h 52414"/>
                  <a:gd name="connsiteX7" fmla="*/ 52415 w 52414"/>
                  <a:gd name="connsiteY7" fmla="*/ 45866 h 52414"/>
                  <a:gd name="connsiteX8" fmla="*/ 45866 w 52414"/>
                  <a:gd name="connsiteY8" fmla="*/ 52415 h 52414"/>
                  <a:gd name="connsiteX9" fmla="*/ 13097 w 52414"/>
                  <a:gd name="connsiteY9" fmla="*/ 39317 h 52414"/>
                  <a:gd name="connsiteX10" fmla="*/ 39318 w 52414"/>
                  <a:gd name="connsiteY10" fmla="*/ 39317 h 52414"/>
                  <a:gd name="connsiteX11" fmla="*/ 39318 w 52414"/>
                  <a:gd name="connsiteY11" fmla="*/ 22508 h 52414"/>
                  <a:gd name="connsiteX12" fmla="*/ 29907 w 52414"/>
                  <a:gd name="connsiteY12" fmla="*/ 13097 h 52414"/>
                  <a:gd name="connsiteX13" fmla="*/ 22508 w 52414"/>
                  <a:gd name="connsiteY13" fmla="*/ 13097 h 52414"/>
                  <a:gd name="connsiteX14" fmla="*/ 13097 w 52414"/>
                  <a:gd name="connsiteY14" fmla="*/ 22508 h 52414"/>
                  <a:gd name="connsiteX15" fmla="*/ 13097 w 52414"/>
                  <a:gd name="connsiteY15" fmla="*/ 39317 h 5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414" h="52414">
                    <a:moveTo>
                      <a:pt x="45866" y="52415"/>
                    </a:moveTo>
                    <a:lnTo>
                      <a:pt x="6549" y="52415"/>
                    </a:lnTo>
                    <a:cubicBezTo>
                      <a:pt x="2939" y="52415"/>
                      <a:pt x="0" y="49476"/>
                      <a:pt x="0" y="45866"/>
                    </a:cubicBezTo>
                    <a:lnTo>
                      <a:pt x="0" y="22508"/>
                    </a:lnTo>
                    <a:cubicBezTo>
                      <a:pt x="0" y="10107"/>
                      <a:pt x="10107" y="0"/>
                      <a:pt x="22508" y="0"/>
                    </a:cubicBezTo>
                    <a:lnTo>
                      <a:pt x="29907" y="0"/>
                    </a:lnTo>
                    <a:cubicBezTo>
                      <a:pt x="42308" y="0"/>
                      <a:pt x="52415" y="10107"/>
                      <a:pt x="52415" y="22508"/>
                    </a:cubicBezTo>
                    <a:lnTo>
                      <a:pt x="52415" y="45866"/>
                    </a:lnTo>
                    <a:cubicBezTo>
                      <a:pt x="52415" y="49476"/>
                      <a:pt x="49476" y="52415"/>
                      <a:pt x="45866" y="52415"/>
                    </a:cubicBezTo>
                    <a:close/>
                    <a:moveTo>
                      <a:pt x="13097" y="39317"/>
                    </a:moveTo>
                    <a:lnTo>
                      <a:pt x="39318" y="39317"/>
                    </a:lnTo>
                    <a:lnTo>
                      <a:pt x="39318" y="22508"/>
                    </a:lnTo>
                    <a:cubicBezTo>
                      <a:pt x="39318" y="17325"/>
                      <a:pt x="35089" y="13097"/>
                      <a:pt x="29907" y="13097"/>
                    </a:cubicBezTo>
                    <a:lnTo>
                      <a:pt x="22508" y="13097"/>
                    </a:lnTo>
                    <a:cubicBezTo>
                      <a:pt x="17325" y="13097"/>
                      <a:pt x="13097" y="17325"/>
                      <a:pt x="13097" y="22508"/>
                    </a:cubicBezTo>
                    <a:lnTo>
                      <a:pt x="13097" y="39317"/>
                    </a:lnTo>
                    <a:close/>
                  </a:path>
                </a:pathLst>
              </a:custGeom>
              <a:solidFill>
                <a:schemeClr val="tx2"/>
              </a:solidFill>
              <a:ln w="2573" cap="flat">
                <a:noFill/>
                <a:prstDash val="solid"/>
                <a:miter/>
              </a:ln>
            </p:spPr>
            <p:txBody>
              <a:bodyPr rtlCol="0" anchor="ctr"/>
              <a:lstStyle/>
              <a:p>
                <a:endParaRPr lang="en-GB" dirty="0"/>
              </a:p>
            </p:txBody>
          </p:sp>
          <p:sp>
            <p:nvSpPr>
              <p:cNvPr id="326" name="Freihandform: Form 831">
                <a:extLst>
                  <a:ext uri="{FF2B5EF4-FFF2-40B4-BE49-F238E27FC236}">
                    <a16:creationId xmlns:a16="http://schemas.microsoft.com/office/drawing/2014/main" id="{9799BA1C-2509-4595-8771-25CE50F89501}"/>
                  </a:ext>
                </a:extLst>
              </p:cNvPr>
              <p:cNvSpPr/>
              <p:nvPr/>
            </p:nvSpPr>
            <p:spPr>
              <a:xfrm>
                <a:off x="5661243" y="1862714"/>
                <a:ext cx="52414" cy="52414"/>
              </a:xfrm>
              <a:custGeom>
                <a:avLst/>
                <a:gdLst>
                  <a:gd name="connsiteX0" fmla="*/ 45866 w 52414"/>
                  <a:gd name="connsiteY0" fmla="*/ 52415 h 52414"/>
                  <a:gd name="connsiteX1" fmla="*/ 6549 w 52414"/>
                  <a:gd name="connsiteY1" fmla="*/ 52415 h 52414"/>
                  <a:gd name="connsiteX2" fmla="*/ 0 w 52414"/>
                  <a:gd name="connsiteY2" fmla="*/ 45866 h 52414"/>
                  <a:gd name="connsiteX3" fmla="*/ 0 w 52414"/>
                  <a:gd name="connsiteY3" fmla="*/ 22508 h 52414"/>
                  <a:gd name="connsiteX4" fmla="*/ 22508 w 52414"/>
                  <a:gd name="connsiteY4" fmla="*/ 0 h 52414"/>
                  <a:gd name="connsiteX5" fmla="*/ 29907 w 52414"/>
                  <a:gd name="connsiteY5" fmla="*/ 0 h 52414"/>
                  <a:gd name="connsiteX6" fmla="*/ 52415 w 52414"/>
                  <a:gd name="connsiteY6" fmla="*/ 22508 h 52414"/>
                  <a:gd name="connsiteX7" fmla="*/ 52415 w 52414"/>
                  <a:gd name="connsiteY7" fmla="*/ 45866 h 52414"/>
                  <a:gd name="connsiteX8" fmla="*/ 45866 w 52414"/>
                  <a:gd name="connsiteY8" fmla="*/ 52415 h 52414"/>
                  <a:gd name="connsiteX9" fmla="*/ 13097 w 52414"/>
                  <a:gd name="connsiteY9" fmla="*/ 39317 h 52414"/>
                  <a:gd name="connsiteX10" fmla="*/ 39318 w 52414"/>
                  <a:gd name="connsiteY10" fmla="*/ 39317 h 52414"/>
                  <a:gd name="connsiteX11" fmla="*/ 39318 w 52414"/>
                  <a:gd name="connsiteY11" fmla="*/ 22508 h 52414"/>
                  <a:gd name="connsiteX12" fmla="*/ 29907 w 52414"/>
                  <a:gd name="connsiteY12" fmla="*/ 13097 h 52414"/>
                  <a:gd name="connsiteX13" fmla="*/ 22508 w 52414"/>
                  <a:gd name="connsiteY13" fmla="*/ 13097 h 52414"/>
                  <a:gd name="connsiteX14" fmla="*/ 13097 w 52414"/>
                  <a:gd name="connsiteY14" fmla="*/ 22508 h 52414"/>
                  <a:gd name="connsiteX15" fmla="*/ 13097 w 52414"/>
                  <a:gd name="connsiteY15" fmla="*/ 39317 h 5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414" h="52414">
                    <a:moveTo>
                      <a:pt x="45866" y="52415"/>
                    </a:moveTo>
                    <a:lnTo>
                      <a:pt x="6549" y="52415"/>
                    </a:lnTo>
                    <a:cubicBezTo>
                      <a:pt x="2939" y="52415"/>
                      <a:pt x="0" y="49476"/>
                      <a:pt x="0" y="45866"/>
                    </a:cubicBezTo>
                    <a:lnTo>
                      <a:pt x="0" y="22508"/>
                    </a:lnTo>
                    <a:cubicBezTo>
                      <a:pt x="0" y="10107"/>
                      <a:pt x="10107" y="0"/>
                      <a:pt x="22508" y="0"/>
                    </a:cubicBezTo>
                    <a:lnTo>
                      <a:pt x="29907" y="0"/>
                    </a:lnTo>
                    <a:cubicBezTo>
                      <a:pt x="42308" y="0"/>
                      <a:pt x="52415" y="10107"/>
                      <a:pt x="52415" y="22508"/>
                    </a:cubicBezTo>
                    <a:lnTo>
                      <a:pt x="52415" y="45866"/>
                    </a:lnTo>
                    <a:cubicBezTo>
                      <a:pt x="52415" y="49476"/>
                      <a:pt x="49476" y="52415"/>
                      <a:pt x="45866" y="52415"/>
                    </a:cubicBezTo>
                    <a:close/>
                    <a:moveTo>
                      <a:pt x="13097" y="39317"/>
                    </a:moveTo>
                    <a:lnTo>
                      <a:pt x="39318" y="39317"/>
                    </a:lnTo>
                    <a:lnTo>
                      <a:pt x="39318" y="22508"/>
                    </a:lnTo>
                    <a:cubicBezTo>
                      <a:pt x="39318" y="17325"/>
                      <a:pt x="35089" y="13097"/>
                      <a:pt x="29907" y="13097"/>
                    </a:cubicBezTo>
                    <a:lnTo>
                      <a:pt x="22508" y="13097"/>
                    </a:lnTo>
                    <a:cubicBezTo>
                      <a:pt x="17325" y="13097"/>
                      <a:pt x="13097" y="17325"/>
                      <a:pt x="13097" y="22508"/>
                    </a:cubicBezTo>
                    <a:lnTo>
                      <a:pt x="13097" y="39317"/>
                    </a:lnTo>
                    <a:close/>
                  </a:path>
                </a:pathLst>
              </a:custGeom>
              <a:solidFill>
                <a:schemeClr val="tx2"/>
              </a:solidFill>
              <a:ln w="2573" cap="flat">
                <a:noFill/>
                <a:prstDash val="solid"/>
                <a:miter/>
              </a:ln>
            </p:spPr>
            <p:txBody>
              <a:bodyPr rtlCol="0" anchor="ctr"/>
              <a:lstStyle/>
              <a:p>
                <a:endParaRPr lang="en-GB" dirty="0"/>
              </a:p>
            </p:txBody>
          </p:sp>
          <p:sp>
            <p:nvSpPr>
              <p:cNvPr id="327" name="Freihandform: Form 832">
                <a:extLst>
                  <a:ext uri="{FF2B5EF4-FFF2-40B4-BE49-F238E27FC236}">
                    <a16:creationId xmlns:a16="http://schemas.microsoft.com/office/drawing/2014/main" id="{6630DEC7-7985-4518-8E1A-5DC9CAF311AD}"/>
                  </a:ext>
                </a:extLst>
              </p:cNvPr>
              <p:cNvSpPr/>
              <p:nvPr/>
            </p:nvSpPr>
            <p:spPr>
              <a:xfrm>
                <a:off x="5543265" y="1941375"/>
                <a:ext cx="52414" cy="52414"/>
              </a:xfrm>
              <a:custGeom>
                <a:avLst/>
                <a:gdLst>
                  <a:gd name="connsiteX0" fmla="*/ 45866 w 52414"/>
                  <a:gd name="connsiteY0" fmla="*/ 52415 h 52414"/>
                  <a:gd name="connsiteX1" fmla="*/ 6549 w 52414"/>
                  <a:gd name="connsiteY1" fmla="*/ 52415 h 52414"/>
                  <a:gd name="connsiteX2" fmla="*/ 0 w 52414"/>
                  <a:gd name="connsiteY2" fmla="*/ 45866 h 52414"/>
                  <a:gd name="connsiteX3" fmla="*/ 0 w 52414"/>
                  <a:gd name="connsiteY3" fmla="*/ 22508 h 52414"/>
                  <a:gd name="connsiteX4" fmla="*/ 22508 w 52414"/>
                  <a:gd name="connsiteY4" fmla="*/ 0 h 52414"/>
                  <a:gd name="connsiteX5" fmla="*/ 29907 w 52414"/>
                  <a:gd name="connsiteY5" fmla="*/ 0 h 52414"/>
                  <a:gd name="connsiteX6" fmla="*/ 52415 w 52414"/>
                  <a:gd name="connsiteY6" fmla="*/ 22508 h 52414"/>
                  <a:gd name="connsiteX7" fmla="*/ 52415 w 52414"/>
                  <a:gd name="connsiteY7" fmla="*/ 45866 h 52414"/>
                  <a:gd name="connsiteX8" fmla="*/ 45866 w 52414"/>
                  <a:gd name="connsiteY8" fmla="*/ 52415 h 52414"/>
                  <a:gd name="connsiteX9" fmla="*/ 13097 w 52414"/>
                  <a:gd name="connsiteY9" fmla="*/ 39292 h 52414"/>
                  <a:gd name="connsiteX10" fmla="*/ 39318 w 52414"/>
                  <a:gd name="connsiteY10" fmla="*/ 39292 h 52414"/>
                  <a:gd name="connsiteX11" fmla="*/ 39318 w 52414"/>
                  <a:gd name="connsiteY11" fmla="*/ 22482 h 52414"/>
                  <a:gd name="connsiteX12" fmla="*/ 29907 w 52414"/>
                  <a:gd name="connsiteY12" fmla="*/ 13071 h 52414"/>
                  <a:gd name="connsiteX13" fmla="*/ 22508 w 52414"/>
                  <a:gd name="connsiteY13" fmla="*/ 13071 h 52414"/>
                  <a:gd name="connsiteX14" fmla="*/ 13097 w 52414"/>
                  <a:gd name="connsiteY14" fmla="*/ 22482 h 52414"/>
                  <a:gd name="connsiteX15" fmla="*/ 13097 w 52414"/>
                  <a:gd name="connsiteY15" fmla="*/ 39292 h 5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414" h="52414">
                    <a:moveTo>
                      <a:pt x="45866" y="52415"/>
                    </a:moveTo>
                    <a:lnTo>
                      <a:pt x="6549" y="52415"/>
                    </a:lnTo>
                    <a:cubicBezTo>
                      <a:pt x="2939" y="52415"/>
                      <a:pt x="0" y="49476"/>
                      <a:pt x="0" y="45866"/>
                    </a:cubicBezTo>
                    <a:lnTo>
                      <a:pt x="0" y="22508"/>
                    </a:lnTo>
                    <a:cubicBezTo>
                      <a:pt x="0" y="10107"/>
                      <a:pt x="10107" y="0"/>
                      <a:pt x="22508" y="0"/>
                    </a:cubicBezTo>
                    <a:lnTo>
                      <a:pt x="29907" y="0"/>
                    </a:lnTo>
                    <a:cubicBezTo>
                      <a:pt x="42308" y="0"/>
                      <a:pt x="52415" y="10107"/>
                      <a:pt x="52415" y="22508"/>
                    </a:cubicBezTo>
                    <a:lnTo>
                      <a:pt x="52415" y="45866"/>
                    </a:lnTo>
                    <a:cubicBezTo>
                      <a:pt x="52415" y="49476"/>
                      <a:pt x="49476" y="52415"/>
                      <a:pt x="45866" y="52415"/>
                    </a:cubicBezTo>
                    <a:close/>
                    <a:moveTo>
                      <a:pt x="13097" y="39292"/>
                    </a:moveTo>
                    <a:lnTo>
                      <a:pt x="39318" y="39292"/>
                    </a:lnTo>
                    <a:lnTo>
                      <a:pt x="39318" y="22482"/>
                    </a:lnTo>
                    <a:cubicBezTo>
                      <a:pt x="39318" y="17300"/>
                      <a:pt x="35089" y="13071"/>
                      <a:pt x="29907" y="13071"/>
                    </a:cubicBezTo>
                    <a:lnTo>
                      <a:pt x="22508" y="13071"/>
                    </a:lnTo>
                    <a:cubicBezTo>
                      <a:pt x="17325" y="13071"/>
                      <a:pt x="13097" y="17300"/>
                      <a:pt x="13097" y="22482"/>
                    </a:cubicBezTo>
                    <a:lnTo>
                      <a:pt x="13097" y="39292"/>
                    </a:lnTo>
                    <a:close/>
                  </a:path>
                </a:pathLst>
              </a:custGeom>
              <a:solidFill>
                <a:schemeClr val="tx2"/>
              </a:solidFill>
              <a:ln w="2573" cap="flat">
                <a:noFill/>
                <a:prstDash val="solid"/>
                <a:miter/>
              </a:ln>
            </p:spPr>
            <p:txBody>
              <a:bodyPr rtlCol="0" anchor="ctr"/>
              <a:lstStyle/>
              <a:p>
                <a:endParaRPr lang="en-GB" dirty="0"/>
              </a:p>
            </p:txBody>
          </p:sp>
          <p:sp>
            <p:nvSpPr>
              <p:cNvPr id="328" name="Freihandform: Form 833">
                <a:extLst>
                  <a:ext uri="{FF2B5EF4-FFF2-40B4-BE49-F238E27FC236}">
                    <a16:creationId xmlns:a16="http://schemas.microsoft.com/office/drawing/2014/main" id="{53E7DA18-F3E1-4EA6-9CEE-6D684E289C7F}"/>
                  </a:ext>
                </a:extLst>
              </p:cNvPr>
              <p:cNvSpPr/>
              <p:nvPr/>
            </p:nvSpPr>
            <p:spPr>
              <a:xfrm>
                <a:off x="5661243" y="1941375"/>
                <a:ext cx="52414" cy="52414"/>
              </a:xfrm>
              <a:custGeom>
                <a:avLst/>
                <a:gdLst>
                  <a:gd name="connsiteX0" fmla="*/ 45866 w 52414"/>
                  <a:gd name="connsiteY0" fmla="*/ 52415 h 52414"/>
                  <a:gd name="connsiteX1" fmla="*/ 6549 w 52414"/>
                  <a:gd name="connsiteY1" fmla="*/ 52415 h 52414"/>
                  <a:gd name="connsiteX2" fmla="*/ 0 w 52414"/>
                  <a:gd name="connsiteY2" fmla="*/ 45866 h 52414"/>
                  <a:gd name="connsiteX3" fmla="*/ 0 w 52414"/>
                  <a:gd name="connsiteY3" fmla="*/ 22508 h 52414"/>
                  <a:gd name="connsiteX4" fmla="*/ 22508 w 52414"/>
                  <a:gd name="connsiteY4" fmla="*/ 0 h 52414"/>
                  <a:gd name="connsiteX5" fmla="*/ 29907 w 52414"/>
                  <a:gd name="connsiteY5" fmla="*/ 0 h 52414"/>
                  <a:gd name="connsiteX6" fmla="*/ 52415 w 52414"/>
                  <a:gd name="connsiteY6" fmla="*/ 22508 h 52414"/>
                  <a:gd name="connsiteX7" fmla="*/ 52415 w 52414"/>
                  <a:gd name="connsiteY7" fmla="*/ 45866 h 52414"/>
                  <a:gd name="connsiteX8" fmla="*/ 45866 w 52414"/>
                  <a:gd name="connsiteY8" fmla="*/ 52415 h 52414"/>
                  <a:gd name="connsiteX9" fmla="*/ 13097 w 52414"/>
                  <a:gd name="connsiteY9" fmla="*/ 39292 h 52414"/>
                  <a:gd name="connsiteX10" fmla="*/ 39318 w 52414"/>
                  <a:gd name="connsiteY10" fmla="*/ 39292 h 52414"/>
                  <a:gd name="connsiteX11" fmla="*/ 39318 w 52414"/>
                  <a:gd name="connsiteY11" fmla="*/ 22482 h 52414"/>
                  <a:gd name="connsiteX12" fmla="*/ 29907 w 52414"/>
                  <a:gd name="connsiteY12" fmla="*/ 13071 h 52414"/>
                  <a:gd name="connsiteX13" fmla="*/ 22508 w 52414"/>
                  <a:gd name="connsiteY13" fmla="*/ 13071 h 52414"/>
                  <a:gd name="connsiteX14" fmla="*/ 13097 w 52414"/>
                  <a:gd name="connsiteY14" fmla="*/ 22482 h 52414"/>
                  <a:gd name="connsiteX15" fmla="*/ 13097 w 52414"/>
                  <a:gd name="connsiteY15" fmla="*/ 39292 h 5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414" h="52414">
                    <a:moveTo>
                      <a:pt x="45866" y="52415"/>
                    </a:moveTo>
                    <a:lnTo>
                      <a:pt x="6549" y="52415"/>
                    </a:lnTo>
                    <a:cubicBezTo>
                      <a:pt x="2939" y="52415"/>
                      <a:pt x="0" y="49476"/>
                      <a:pt x="0" y="45866"/>
                    </a:cubicBezTo>
                    <a:lnTo>
                      <a:pt x="0" y="22508"/>
                    </a:lnTo>
                    <a:cubicBezTo>
                      <a:pt x="0" y="10107"/>
                      <a:pt x="10107" y="0"/>
                      <a:pt x="22508" y="0"/>
                    </a:cubicBezTo>
                    <a:lnTo>
                      <a:pt x="29907" y="0"/>
                    </a:lnTo>
                    <a:cubicBezTo>
                      <a:pt x="42308" y="0"/>
                      <a:pt x="52415" y="10107"/>
                      <a:pt x="52415" y="22508"/>
                    </a:cubicBezTo>
                    <a:lnTo>
                      <a:pt x="52415" y="45866"/>
                    </a:lnTo>
                    <a:cubicBezTo>
                      <a:pt x="52415" y="49476"/>
                      <a:pt x="49476" y="52415"/>
                      <a:pt x="45866" y="52415"/>
                    </a:cubicBezTo>
                    <a:close/>
                    <a:moveTo>
                      <a:pt x="13097" y="39292"/>
                    </a:moveTo>
                    <a:lnTo>
                      <a:pt x="39318" y="39292"/>
                    </a:lnTo>
                    <a:lnTo>
                      <a:pt x="39318" y="22482"/>
                    </a:lnTo>
                    <a:cubicBezTo>
                      <a:pt x="39318" y="17300"/>
                      <a:pt x="35089" y="13071"/>
                      <a:pt x="29907" y="13071"/>
                    </a:cubicBezTo>
                    <a:lnTo>
                      <a:pt x="22508" y="13071"/>
                    </a:lnTo>
                    <a:cubicBezTo>
                      <a:pt x="17325" y="13071"/>
                      <a:pt x="13097" y="17300"/>
                      <a:pt x="13097" y="22482"/>
                    </a:cubicBezTo>
                    <a:lnTo>
                      <a:pt x="13097" y="39292"/>
                    </a:lnTo>
                    <a:close/>
                  </a:path>
                </a:pathLst>
              </a:custGeom>
              <a:solidFill>
                <a:schemeClr val="tx2"/>
              </a:solidFill>
              <a:ln w="2573" cap="flat">
                <a:noFill/>
                <a:prstDash val="solid"/>
                <a:miter/>
              </a:ln>
            </p:spPr>
            <p:txBody>
              <a:bodyPr rtlCol="0" anchor="ctr"/>
              <a:lstStyle/>
              <a:p>
                <a:endParaRPr lang="en-GB" dirty="0"/>
              </a:p>
            </p:txBody>
          </p:sp>
          <p:sp>
            <p:nvSpPr>
              <p:cNvPr id="329" name="Freihandform: Form 834">
                <a:extLst>
                  <a:ext uri="{FF2B5EF4-FFF2-40B4-BE49-F238E27FC236}">
                    <a16:creationId xmlns:a16="http://schemas.microsoft.com/office/drawing/2014/main" id="{E7F8D4EF-45A3-48A7-AAE0-4C1C679795AF}"/>
                  </a:ext>
                </a:extLst>
              </p:cNvPr>
              <p:cNvSpPr/>
              <p:nvPr/>
            </p:nvSpPr>
            <p:spPr>
              <a:xfrm>
                <a:off x="5595680" y="2046204"/>
                <a:ext cx="65563" cy="65537"/>
              </a:xfrm>
              <a:custGeom>
                <a:avLst/>
                <a:gdLst>
                  <a:gd name="connsiteX0" fmla="*/ 58989 w 65563"/>
                  <a:gd name="connsiteY0" fmla="*/ 65538 h 65537"/>
                  <a:gd name="connsiteX1" fmla="*/ 6549 w 65563"/>
                  <a:gd name="connsiteY1" fmla="*/ 65538 h 65537"/>
                  <a:gd name="connsiteX2" fmla="*/ 0 w 65563"/>
                  <a:gd name="connsiteY2" fmla="*/ 58989 h 65537"/>
                  <a:gd name="connsiteX3" fmla="*/ 0 w 65563"/>
                  <a:gd name="connsiteY3" fmla="*/ 13097 h 65537"/>
                  <a:gd name="connsiteX4" fmla="*/ 13097 w 65563"/>
                  <a:gd name="connsiteY4" fmla="*/ 0 h 65537"/>
                  <a:gd name="connsiteX5" fmla="*/ 52466 w 65563"/>
                  <a:gd name="connsiteY5" fmla="*/ 0 h 65537"/>
                  <a:gd name="connsiteX6" fmla="*/ 65564 w 65563"/>
                  <a:gd name="connsiteY6" fmla="*/ 13097 h 65537"/>
                  <a:gd name="connsiteX7" fmla="*/ 65564 w 65563"/>
                  <a:gd name="connsiteY7" fmla="*/ 58989 h 65537"/>
                  <a:gd name="connsiteX8" fmla="*/ 58989 w 65563"/>
                  <a:gd name="connsiteY8" fmla="*/ 65538 h 65537"/>
                  <a:gd name="connsiteX9" fmla="*/ 13123 w 65563"/>
                  <a:gd name="connsiteY9" fmla="*/ 52441 h 65537"/>
                  <a:gd name="connsiteX10" fmla="*/ 52441 w 65563"/>
                  <a:gd name="connsiteY10" fmla="*/ 52441 h 65537"/>
                  <a:gd name="connsiteX11" fmla="*/ 52441 w 65563"/>
                  <a:gd name="connsiteY11" fmla="*/ 13123 h 65537"/>
                  <a:gd name="connsiteX12" fmla="*/ 13097 w 65563"/>
                  <a:gd name="connsiteY12" fmla="*/ 13123 h 65537"/>
                  <a:gd name="connsiteX13" fmla="*/ 13123 w 65563"/>
                  <a:gd name="connsiteY13" fmla="*/ 52441 h 65537"/>
                  <a:gd name="connsiteX14" fmla="*/ 52466 w 65563"/>
                  <a:gd name="connsiteY14" fmla="*/ 13123 h 65537"/>
                  <a:gd name="connsiteX15" fmla="*/ 52518 w 65563"/>
                  <a:gd name="connsiteY15" fmla="*/ 13123 h 65537"/>
                  <a:gd name="connsiteX16" fmla="*/ 52466 w 65563"/>
                  <a:gd name="connsiteY16" fmla="*/ 13123 h 6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563" h="65537">
                    <a:moveTo>
                      <a:pt x="58989" y="65538"/>
                    </a:moveTo>
                    <a:lnTo>
                      <a:pt x="6549" y="65538"/>
                    </a:lnTo>
                    <a:cubicBezTo>
                      <a:pt x="2939" y="65538"/>
                      <a:pt x="0" y="62599"/>
                      <a:pt x="0" y="58989"/>
                    </a:cubicBezTo>
                    <a:lnTo>
                      <a:pt x="0" y="13097"/>
                    </a:lnTo>
                    <a:cubicBezTo>
                      <a:pt x="0" y="5878"/>
                      <a:pt x="5878" y="0"/>
                      <a:pt x="13097" y="0"/>
                    </a:cubicBezTo>
                    <a:lnTo>
                      <a:pt x="52466" y="0"/>
                    </a:lnTo>
                    <a:cubicBezTo>
                      <a:pt x="59685" y="0"/>
                      <a:pt x="65564" y="5878"/>
                      <a:pt x="65564" y="13097"/>
                    </a:cubicBezTo>
                    <a:lnTo>
                      <a:pt x="65564" y="58989"/>
                    </a:lnTo>
                    <a:cubicBezTo>
                      <a:pt x="65538" y="62624"/>
                      <a:pt x="62599" y="65538"/>
                      <a:pt x="58989" y="65538"/>
                    </a:cubicBezTo>
                    <a:close/>
                    <a:moveTo>
                      <a:pt x="13123" y="52441"/>
                    </a:moveTo>
                    <a:lnTo>
                      <a:pt x="52441" y="52441"/>
                    </a:lnTo>
                    <a:lnTo>
                      <a:pt x="52441" y="13123"/>
                    </a:lnTo>
                    <a:lnTo>
                      <a:pt x="13097" y="13123"/>
                    </a:lnTo>
                    <a:lnTo>
                      <a:pt x="13123" y="52441"/>
                    </a:lnTo>
                    <a:close/>
                    <a:moveTo>
                      <a:pt x="52466" y="13123"/>
                    </a:moveTo>
                    <a:lnTo>
                      <a:pt x="52518" y="13123"/>
                    </a:lnTo>
                    <a:lnTo>
                      <a:pt x="52466" y="13123"/>
                    </a:lnTo>
                    <a:close/>
                  </a:path>
                </a:pathLst>
              </a:custGeom>
              <a:solidFill>
                <a:schemeClr val="tx2"/>
              </a:solidFill>
              <a:ln w="2573" cap="flat">
                <a:noFill/>
                <a:prstDash val="solid"/>
                <a:miter/>
              </a:ln>
            </p:spPr>
            <p:txBody>
              <a:bodyPr rtlCol="0" anchor="ctr"/>
              <a:lstStyle/>
              <a:p>
                <a:endParaRPr lang="en-GB" dirty="0"/>
              </a:p>
            </p:txBody>
          </p:sp>
          <p:sp>
            <p:nvSpPr>
              <p:cNvPr id="330" name="Freihandform: Form 835">
                <a:extLst>
                  <a:ext uri="{FF2B5EF4-FFF2-40B4-BE49-F238E27FC236}">
                    <a16:creationId xmlns:a16="http://schemas.microsoft.com/office/drawing/2014/main" id="{8894B189-CAB4-4F22-AB9E-91197D8C3B05}"/>
                  </a:ext>
                </a:extLst>
              </p:cNvPr>
              <p:cNvSpPr/>
              <p:nvPr/>
            </p:nvSpPr>
            <p:spPr>
              <a:xfrm>
                <a:off x="5294211" y="2098645"/>
                <a:ext cx="484984" cy="13097"/>
              </a:xfrm>
              <a:custGeom>
                <a:avLst/>
                <a:gdLst>
                  <a:gd name="connsiteX0" fmla="*/ 478436 w 484984"/>
                  <a:gd name="connsiteY0" fmla="*/ 13097 h 13097"/>
                  <a:gd name="connsiteX1" fmla="*/ 6549 w 484984"/>
                  <a:gd name="connsiteY1" fmla="*/ 13097 h 13097"/>
                  <a:gd name="connsiteX2" fmla="*/ 0 w 484984"/>
                  <a:gd name="connsiteY2" fmla="*/ 6549 h 13097"/>
                  <a:gd name="connsiteX3" fmla="*/ 6549 w 484984"/>
                  <a:gd name="connsiteY3" fmla="*/ 0 h 13097"/>
                  <a:gd name="connsiteX4" fmla="*/ 478436 w 484984"/>
                  <a:gd name="connsiteY4" fmla="*/ 0 h 13097"/>
                  <a:gd name="connsiteX5" fmla="*/ 484985 w 484984"/>
                  <a:gd name="connsiteY5" fmla="*/ 6549 h 13097"/>
                  <a:gd name="connsiteX6" fmla="*/ 478436 w 484984"/>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4984" h="13097">
                    <a:moveTo>
                      <a:pt x="478436" y="13097"/>
                    </a:moveTo>
                    <a:lnTo>
                      <a:pt x="6549" y="13097"/>
                    </a:lnTo>
                    <a:cubicBezTo>
                      <a:pt x="2939" y="13097"/>
                      <a:pt x="0" y="10158"/>
                      <a:pt x="0" y="6549"/>
                    </a:cubicBezTo>
                    <a:cubicBezTo>
                      <a:pt x="0" y="2939"/>
                      <a:pt x="2939" y="0"/>
                      <a:pt x="6549" y="0"/>
                    </a:cubicBezTo>
                    <a:lnTo>
                      <a:pt x="478436" y="0"/>
                    </a:lnTo>
                    <a:cubicBezTo>
                      <a:pt x="482045" y="0"/>
                      <a:pt x="484985" y="2939"/>
                      <a:pt x="484985" y="6549"/>
                    </a:cubicBezTo>
                    <a:cubicBezTo>
                      <a:pt x="484985" y="10184"/>
                      <a:pt x="482045" y="13097"/>
                      <a:pt x="478436" y="13097"/>
                    </a:cubicBezTo>
                    <a:close/>
                  </a:path>
                </a:pathLst>
              </a:custGeom>
              <a:solidFill>
                <a:schemeClr val="tx2"/>
              </a:solidFill>
              <a:ln w="2573" cap="flat">
                <a:noFill/>
                <a:prstDash val="solid"/>
                <a:miter/>
              </a:ln>
            </p:spPr>
            <p:txBody>
              <a:bodyPr rtlCol="0" anchor="ctr"/>
              <a:lstStyle/>
              <a:p>
                <a:endParaRPr lang="en-GB" dirty="0"/>
              </a:p>
            </p:txBody>
          </p:sp>
        </p:grpSp>
      </p:grpSp>
      <p:grpSp>
        <p:nvGrpSpPr>
          <p:cNvPr id="4" name="Group 3">
            <a:extLst>
              <a:ext uri="{FF2B5EF4-FFF2-40B4-BE49-F238E27FC236}">
                <a16:creationId xmlns:a16="http://schemas.microsoft.com/office/drawing/2014/main" id="{CD2658EA-EF86-A3FE-EC1E-6DF0090F55A2}"/>
              </a:ext>
            </a:extLst>
          </p:cNvPr>
          <p:cNvGrpSpPr/>
          <p:nvPr/>
        </p:nvGrpSpPr>
        <p:grpSpPr>
          <a:xfrm>
            <a:off x="3732892" y="4002611"/>
            <a:ext cx="448920" cy="432000"/>
            <a:chOff x="3732892" y="4002611"/>
            <a:chExt cx="448920" cy="432000"/>
          </a:xfrm>
        </p:grpSpPr>
        <p:grpSp>
          <p:nvGrpSpPr>
            <p:cNvPr id="338" name="Group 337">
              <a:extLst>
                <a:ext uri="{FF2B5EF4-FFF2-40B4-BE49-F238E27FC236}">
                  <a16:creationId xmlns:a16="http://schemas.microsoft.com/office/drawing/2014/main" id="{A1E5C495-3184-4390-89BD-38F0DAC9E772}"/>
                </a:ext>
              </a:extLst>
            </p:cNvPr>
            <p:cNvGrpSpPr/>
            <p:nvPr/>
          </p:nvGrpSpPr>
          <p:grpSpPr>
            <a:xfrm>
              <a:off x="3732892" y="4002611"/>
              <a:ext cx="448920" cy="432000"/>
              <a:chOff x="6957845" y="1644238"/>
              <a:chExt cx="484984" cy="466705"/>
            </a:xfrm>
            <a:solidFill>
              <a:schemeClr val="tx2"/>
            </a:solidFill>
          </p:grpSpPr>
          <p:grpSp>
            <p:nvGrpSpPr>
              <p:cNvPr id="348" name="Grafik 235">
                <a:extLst>
                  <a:ext uri="{FF2B5EF4-FFF2-40B4-BE49-F238E27FC236}">
                    <a16:creationId xmlns:a16="http://schemas.microsoft.com/office/drawing/2014/main" id="{FCDBAAAC-811A-4693-BC60-72931885A605}"/>
                  </a:ext>
                </a:extLst>
              </p:cNvPr>
              <p:cNvGrpSpPr/>
              <p:nvPr/>
            </p:nvGrpSpPr>
            <p:grpSpPr>
              <a:xfrm>
                <a:off x="6957845" y="1644238"/>
                <a:ext cx="248897" cy="466705"/>
                <a:chOff x="6957845" y="1644238"/>
                <a:chExt cx="248897" cy="466705"/>
              </a:xfrm>
              <a:grpFill/>
            </p:grpSpPr>
            <p:sp>
              <p:nvSpPr>
                <p:cNvPr id="356" name="Freihandform: Form 873">
                  <a:extLst>
                    <a:ext uri="{FF2B5EF4-FFF2-40B4-BE49-F238E27FC236}">
                      <a16:creationId xmlns:a16="http://schemas.microsoft.com/office/drawing/2014/main" id="{1668E054-63C4-4811-A39C-40040DF13FC8}"/>
                    </a:ext>
                  </a:extLst>
                </p:cNvPr>
                <p:cNvSpPr/>
                <p:nvPr/>
              </p:nvSpPr>
              <p:spPr>
                <a:xfrm>
                  <a:off x="7013508" y="1676723"/>
                  <a:ext cx="57596" cy="151855"/>
                </a:xfrm>
                <a:custGeom>
                  <a:avLst/>
                  <a:gdLst>
                    <a:gd name="connsiteX0" fmla="*/ 50997 w 57596"/>
                    <a:gd name="connsiteY0" fmla="*/ 151856 h 151855"/>
                    <a:gd name="connsiteX1" fmla="*/ 44448 w 57596"/>
                    <a:gd name="connsiteY1" fmla="*/ 145307 h 151855"/>
                    <a:gd name="connsiteX2" fmla="*/ 44448 w 57596"/>
                    <a:gd name="connsiteY2" fmla="*/ 27097 h 151855"/>
                    <a:gd name="connsiteX3" fmla="*/ 28773 w 57596"/>
                    <a:gd name="connsiteY3" fmla="*/ 13097 h 151855"/>
                    <a:gd name="connsiteX4" fmla="*/ 13097 w 57596"/>
                    <a:gd name="connsiteY4" fmla="*/ 27097 h 151855"/>
                    <a:gd name="connsiteX5" fmla="*/ 13097 w 57596"/>
                    <a:gd name="connsiteY5" fmla="*/ 145281 h 151855"/>
                    <a:gd name="connsiteX6" fmla="*/ 6549 w 57596"/>
                    <a:gd name="connsiteY6" fmla="*/ 151830 h 151855"/>
                    <a:gd name="connsiteX7" fmla="*/ 0 w 57596"/>
                    <a:gd name="connsiteY7" fmla="*/ 145281 h 151855"/>
                    <a:gd name="connsiteX8" fmla="*/ 0 w 57596"/>
                    <a:gd name="connsiteY8" fmla="*/ 27097 h 151855"/>
                    <a:gd name="connsiteX9" fmla="*/ 28798 w 57596"/>
                    <a:gd name="connsiteY9" fmla="*/ 0 h 151855"/>
                    <a:gd name="connsiteX10" fmla="*/ 57597 w 57596"/>
                    <a:gd name="connsiteY10" fmla="*/ 27097 h 151855"/>
                    <a:gd name="connsiteX11" fmla="*/ 57597 w 57596"/>
                    <a:gd name="connsiteY11" fmla="*/ 145281 h 151855"/>
                    <a:gd name="connsiteX12" fmla="*/ 50997 w 57596"/>
                    <a:gd name="connsiteY12" fmla="*/ 151856 h 15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96" h="151855">
                      <a:moveTo>
                        <a:pt x="50997" y="151856"/>
                      </a:moveTo>
                      <a:cubicBezTo>
                        <a:pt x="47361" y="151856"/>
                        <a:pt x="44448" y="148917"/>
                        <a:pt x="44448" y="145307"/>
                      </a:cubicBezTo>
                      <a:lnTo>
                        <a:pt x="44448" y="27097"/>
                      </a:lnTo>
                      <a:cubicBezTo>
                        <a:pt x="44448" y="19388"/>
                        <a:pt x="37410" y="13097"/>
                        <a:pt x="28773" y="13097"/>
                      </a:cubicBezTo>
                      <a:cubicBezTo>
                        <a:pt x="20136" y="13097"/>
                        <a:pt x="13097" y="19362"/>
                        <a:pt x="13097" y="27097"/>
                      </a:cubicBezTo>
                      <a:lnTo>
                        <a:pt x="13097" y="145281"/>
                      </a:lnTo>
                      <a:cubicBezTo>
                        <a:pt x="13097" y="148891"/>
                        <a:pt x="10158" y="151830"/>
                        <a:pt x="6549" y="151830"/>
                      </a:cubicBezTo>
                      <a:cubicBezTo>
                        <a:pt x="2913" y="151830"/>
                        <a:pt x="0" y="148891"/>
                        <a:pt x="0" y="145281"/>
                      </a:cubicBezTo>
                      <a:lnTo>
                        <a:pt x="0" y="27097"/>
                      </a:lnTo>
                      <a:cubicBezTo>
                        <a:pt x="0" y="12143"/>
                        <a:pt x="12917" y="0"/>
                        <a:pt x="28798" y="0"/>
                      </a:cubicBezTo>
                      <a:cubicBezTo>
                        <a:pt x="44680" y="0"/>
                        <a:pt x="57597" y="12169"/>
                        <a:pt x="57597" y="27097"/>
                      </a:cubicBezTo>
                      <a:lnTo>
                        <a:pt x="57597" y="145281"/>
                      </a:lnTo>
                      <a:cubicBezTo>
                        <a:pt x="57571" y="148917"/>
                        <a:pt x="54632" y="151856"/>
                        <a:pt x="50997" y="151856"/>
                      </a:cubicBezTo>
                      <a:close/>
                    </a:path>
                  </a:pathLst>
                </a:custGeom>
                <a:grpFill/>
                <a:ln w="2573" cap="flat">
                  <a:noFill/>
                  <a:prstDash val="solid"/>
                  <a:miter/>
                </a:ln>
              </p:spPr>
              <p:txBody>
                <a:bodyPr rtlCol="0" anchor="ctr"/>
                <a:lstStyle/>
                <a:p>
                  <a:endParaRPr lang="en-GB" dirty="0"/>
                </a:p>
              </p:txBody>
            </p:sp>
            <p:sp>
              <p:nvSpPr>
                <p:cNvPr id="357" name="Freihandform: Form 874">
                  <a:extLst>
                    <a:ext uri="{FF2B5EF4-FFF2-40B4-BE49-F238E27FC236}">
                      <a16:creationId xmlns:a16="http://schemas.microsoft.com/office/drawing/2014/main" id="{58BFFBCA-FAA1-4D37-9CE5-FBF79F125984}"/>
                    </a:ext>
                  </a:extLst>
                </p:cNvPr>
                <p:cNvSpPr/>
                <p:nvPr/>
              </p:nvSpPr>
              <p:spPr>
                <a:xfrm>
                  <a:off x="7058291" y="1644238"/>
                  <a:ext cx="57571" cy="184341"/>
                </a:xfrm>
                <a:custGeom>
                  <a:avLst/>
                  <a:gdLst>
                    <a:gd name="connsiteX0" fmla="*/ 6549 w 57571"/>
                    <a:gd name="connsiteY0" fmla="*/ 184341 h 184341"/>
                    <a:gd name="connsiteX1" fmla="*/ 0 w 57571"/>
                    <a:gd name="connsiteY1" fmla="*/ 177792 h 184341"/>
                    <a:gd name="connsiteX2" fmla="*/ 0 w 57571"/>
                    <a:gd name="connsiteY2" fmla="*/ 27097 h 184341"/>
                    <a:gd name="connsiteX3" fmla="*/ 28773 w 57571"/>
                    <a:gd name="connsiteY3" fmla="*/ 0 h 184341"/>
                    <a:gd name="connsiteX4" fmla="*/ 57571 w 57571"/>
                    <a:gd name="connsiteY4" fmla="*/ 27097 h 184341"/>
                    <a:gd name="connsiteX5" fmla="*/ 57571 w 57571"/>
                    <a:gd name="connsiteY5" fmla="*/ 110527 h 184341"/>
                    <a:gd name="connsiteX6" fmla="*/ 51023 w 57571"/>
                    <a:gd name="connsiteY6" fmla="*/ 117076 h 184341"/>
                    <a:gd name="connsiteX7" fmla="*/ 44474 w 57571"/>
                    <a:gd name="connsiteY7" fmla="*/ 110527 h 184341"/>
                    <a:gd name="connsiteX8" fmla="*/ 44474 w 57571"/>
                    <a:gd name="connsiteY8" fmla="*/ 27097 h 184341"/>
                    <a:gd name="connsiteX9" fmla="*/ 28798 w 57571"/>
                    <a:gd name="connsiteY9" fmla="*/ 13097 h 184341"/>
                    <a:gd name="connsiteX10" fmla="*/ 13123 w 57571"/>
                    <a:gd name="connsiteY10" fmla="*/ 27097 h 184341"/>
                    <a:gd name="connsiteX11" fmla="*/ 13123 w 57571"/>
                    <a:gd name="connsiteY11" fmla="*/ 177792 h 184341"/>
                    <a:gd name="connsiteX12" fmla="*/ 6549 w 57571"/>
                    <a:gd name="connsiteY12" fmla="*/ 184341 h 18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71" h="184341">
                      <a:moveTo>
                        <a:pt x="6549" y="184341"/>
                      </a:moveTo>
                      <a:cubicBezTo>
                        <a:pt x="2913" y="184341"/>
                        <a:pt x="0" y="181402"/>
                        <a:pt x="0" y="177792"/>
                      </a:cubicBezTo>
                      <a:lnTo>
                        <a:pt x="0" y="27097"/>
                      </a:lnTo>
                      <a:cubicBezTo>
                        <a:pt x="0" y="12143"/>
                        <a:pt x="12917" y="0"/>
                        <a:pt x="28773" y="0"/>
                      </a:cubicBezTo>
                      <a:cubicBezTo>
                        <a:pt x="44654" y="0"/>
                        <a:pt x="57571" y="12169"/>
                        <a:pt x="57571" y="27097"/>
                      </a:cubicBezTo>
                      <a:lnTo>
                        <a:pt x="57571" y="110527"/>
                      </a:lnTo>
                      <a:cubicBezTo>
                        <a:pt x="57571" y="114137"/>
                        <a:pt x="54632" y="117076"/>
                        <a:pt x="51023" y="117076"/>
                      </a:cubicBezTo>
                      <a:cubicBezTo>
                        <a:pt x="47387" y="117076"/>
                        <a:pt x="44474" y="114137"/>
                        <a:pt x="44474" y="110527"/>
                      </a:cubicBezTo>
                      <a:lnTo>
                        <a:pt x="44474" y="27097"/>
                      </a:lnTo>
                      <a:cubicBezTo>
                        <a:pt x="44474" y="19388"/>
                        <a:pt x="37435" y="13097"/>
                        <a:pt x="28798" y="13097"/>
                      </a:cubicBezTo>
                      <a:cubicBezTo>
                        <a:pt x="20162" y="13097"/>
                        <a:pt x="13123" y="19388"/>
                        <a:pt x="13123" y="27097"/>
                      </a:cubicBezTo>
                      <a:lnTo>
                        <a:pt x="13123" y="177792"/>
                      </a:lnTo>
                      <a:cubicBezTo>
                        <a:pt x="13123" y="181402"/>
                        <a:pt x="10184" y="184341"/>
                        <a:pt x="6549" y="184341"/>
                      </a:cubicBezTo>
                      <a:close/>
                    </a:path>
                  </a:pathLst>
                </a:custGeom>
                <a:grpFill/>
                <a:ln w="2573" cap="flat">
                  <a:noFill/>
                  <a:prstDash val="solid"/>
                  <a:miter/>
                </a:ln>
              </p:spPr>
              <p:txBody>
                <a:bodyPr rtlCol="0" anchor="ctr"/>
                <a:lstStyle/>
                <a:p>
                  <a:endParaRPr lang="en-GB" dirty="0"/>
                </a:p>
              </p:txBody>
            </p:sp>
            <p:sp>
              <p:nvSpPr>
                <p:cNvPr id="358" name="Freihandform: Form 875">
                  <a:extLst>
                    <a:ext uri="{FF2B5EF4-FFF2-40B4-BE49-F238E27FC236}">
                      <a16:creationId xmlns:a16="http://schemas.microsoft.com/office/drawing/2014/main" id="{2E60BB95-3BF1-432F-837A-F796CA7D6610}"/>
                    </a:ext>
                  </a:extLst>
                </p:cNvPr>
                <p:cNvSpPr/>
                <p:nvPr/>
              </p:nvSpPr>
              <p:spPr>
                <a:xfrm>
                  <a:off x="7102945" y="1676723"/>
                  <a:ext cx="57571" cy="33645"/>
                </a:xfrm>
                <a:custGeom>
                  <a:avLst/>
                  <a:gdLst>
                    <a:gd name="connsiteX0" fmla="*/ 50997 w 57571"/>
                    <a:gd name="connsiteY0" fmla="*/ 33645 h 33645"/>
                    <a:gd name="connsiteX1" fmla="*/ 44448 w 57571"/>
                    <a:gd name="connsiteY1" fmla="*/ 27097 h 33645"/>
                    <a:gd name="connsiteX2" fmla="*/ 28773 w 57571"/>
                    <a:gd name="connsiteY2" fmla="*/ 13097 h 33645"/>
                    <a:gd name="connsiteX3" fmla="*/ 13097 w 57571"/>
                    <a:gd name="connsiteY3" fmla="*/ 27097 h 33645"/>
                    <a:gd name="connsiteX4" fmla="*/ 6549 w 57571"/>
                    <a:gd name="connsiteY4" fmla="*/ 33645 h 33645"/>
                    <a:gd name="connsiteX5" fmla="*/ 0 w 57571"/>
                    <a:gd name="connsiteY5" fmla="*/ 27097 h 33645"/>
                    <a:gd name="connsiteX6" fmla="*/ 28798 w 57571"/>
                    <a:gd name="connsiteY6" fmla="*/ 0 h 33645"/>
                    <a:gd name="connsiteX7" fmla="*/ 57571 w 57571"/>
                    <a:gd name="connsiteY7" fmla="*/ 27097 h 33645"/>
                    <a:gd name="connsiteX8" fmla="*/ 50997 w 57571"/>
                    <a:gd name="connsiteY8" fmla="*/ 33645 h 3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71" h="33645">
                      <a:moveTo>
                        <a:pt x="50997" y="33645"/>
                      </a:moveTo>
                      <a:cubicBezTo>
                        <a:pt x="47361" y="33645"/>
                        <a:pt x="44448" y="30706"/>
                        <a:pt x="44448" y="27097"/>
                      </a:cubicBezTo>
                      <a:cubicBezTo>
                        <a:pt x="44448" y="19388"/>
                        <a:pt x="37410" y="13097"/>
                        <a:pt x="28773" y="13097"/>
                      </a:cubicBezTo>
                      <a:cubicBezTo>
                        <a:pt x="20136" y="13097"/>
                        <a:pt x="13097" y="19362"/>
                        <a:pt x="13097" y="27097"/>
                      </a:cubicBezTo>
                      <a:cubicBezTo>
                        <a:pt x="13097" y="30706"/>
                        <a:pt x="10158" y="33645"/>
                        <a:pt x="6549" y="33645"/>
                      </a:cubicBezTo>
                      <a:cubicBezTo>
                        <a:pt x="2939" y="33645"/>
                        <a:pt x="0" y="30706"/>
                        <a:pt x="0" y="27097"/>
                      </a:cubicBezTo>
                      <a:cubicBezTo>
                        <a:pt x="0" y="12143"/>
                        <a:pt x="12917" y="0"/>
                        <a:pt x="28798" y="0"/>
                      </a:cubicBezTo>
                      <a:cubicBezTo>
                        <a:pt x="44680" y="0"/>
                        <a:pt x="57571" y="12169"/>
                        <a:pt x="57571" y="27097"/>
                      </a:cubicBezTo>
                      <a:cubicBezTo>
                        <a:pt x="57545" y="30732"/>
                        <a:pt x="54632" y="33645"/>
                        <a:pt x="50997" y="33645"/>
                      </a:cubicBezTo>
                      <a:close/>
                    </a:path>
                  </a:pathLst>
                </a:custGeom>
                <a:grpFill/>
                <a:ln w="2573" cap="flat">
                  <a:noFill/>
                  <a:prstDash val="solid"/>
                  <a:miter/>
                </a:ln>
              </p:spPr>
              <p:txBody>
                <a:bodyPr rtlCol="0" anchor="ctr"/>
                <a:lstStyle/>
                <a:p>
                  <a:endParaRPr lang="en-GB" dirty="0"/>
                </a:p>
              </p:txBody>
            </p:sp>
            <p:sp>
              <p:nvSpPr>
                <p:cNvPr id="359" name="Freihandform: Form 876">
                  <a:extLst>
                    <a:ext uri="{FF2B5EF4-FFF2-40B4-BE49-F238E27FC236}">
                      <a16:creationId xmlns:a16="http://schemas.microsoft.com/office/drawing/2014/main" id="{12BAA55C-560D-4310-9E93-F50F6CE84B94}"/>
                    </a:ext>
                  </a:extLst>
                </p:cNvPr>
                <p:cNvSpPr/>
                <p:nvPr/>
              </p:nvSpPr>
              <p:spPr>
                <a:xfrm>
                  <a:off x="7151914" y="1967835"/>
                  <a:ext cx="54828" cy="67746"/>
                </a:xfrm>
                <a:custGeom>
                  <a:avLst/>
                  <a:gdLst>
                    <a:gd name="connsiteX0" fmla="*/ 6540 w 54828"/>
                    <a:gd name="connsiteY0" fmla="*/ 67747 h 67746"/>
                    <a:gd name="connsiteX1" fmla="*/ 43 w 54828"/>
                    <a:gd name="connsiteY1" fmla="*/ 61946 h 67746"/>
                    <a:gd name="connsiteX2" fmla="*/ 5793 w 54828"/>
                    <a:gd name="connsiteY2" fmla="*/ 54675 h 67746"/>
                    <a:gd name="connsiteX3" fmla="*/ 23324 w 54828"/>
                    <a:gd name="connsiteY3" fmla="*/ 48952 h 67746"/>
                    <a:gd name="connsiteX4" fmla="*/ 41733 w 54828"/>
                    <a:gd name="connsiteY4" fmla="*/ 5973 h 67746"/>
                    <a:gd name="connsiteX5" fmla="*/ 48849 w 54828"/>
                    <a:gd name="connsiteY5" fmla="*/ 18 h 67746"/>
                    <a:gd name="connsiteX6" fmla="*/ 54804 w 54828"/>
                    <a:gd name="connsiteY6" fmla="*/ 7133 h 67746"/>
                    <a:gd name="connsiteX7" fmla="*/ 32554 w 54828"/>
                    <a:gd name="connsiteY7" fmla="*/ 58259 h 67746"/>
                    <a:gd name="connsiteX8" fmla="*/ 7288 w 54828"/>
                    <a:gd name="connsiteY8" fmla="*/ 67695 h 67746"/>
                    <a:gd name="connsiteX9" fmla="*/ 6540 w 54828"/>
                    <a:gd name="connsiteY9" fmla="*/ 67747 h 6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28" h="67746">
                      <a:moveTo>
                        <a:pt x="6540" y="67747"/>
                      </a:moveTo>
                      <a:cubicBezTo>
                        <a:pt x="3266" y="67747"/>
                        <a:pt x="430" y="65298"/>
                        <a:pt x="43" y="61946"/>
                      </a:cubicBezTo>
                      <a:cubicBezTo>
                        <a:pt x="-369" y="58362"/>
                        <a:pt x="2209" y="55114"/>
                        <a:pt x="5793" y="54675"/>
                      </a:cubicBezTo>
                      <a:cubicBezTo>
                        <a:pt x="11155" y="54057"/>
                        <a:pt x="20463" y="51788"/>
                        <a:pt x="23324" y="48952"/>
                      </a:cubicBezTo>
                      <a:cubicBezTo>
                        <a:pt x="33483" y="38897"/>
                        <a:pt x="40212" y="23221"/>
                        <a:pt x="41733" y="5973"/>
                      </a:cubicBezTo>
                      <a:cubicBezTo>
                        <a:pt x="42068" y="2364"/>
                        <a:pt x="45213" y="-240"/>
                        <a:pt x="48849" y="18"/>
                      </a:cubicBezTo>
                      <a:cubicBezTo>
                        <a:pt x="52458" y="353"/>
                        <a:pt x="55114" y="3524"/>
                        <a:pt x="54804" y="7133"/>
                      </a:cubicBezTo>
                      <a:cubicBezTo>
                        <a:pt x="52974" y="27707"/>
                        <a:pt x="45059" y="45884"/>
                        <a:pt x="32554" y="58259"/>
                      </a:cubicBezTo>
                      <a:cubicBezTo>
                        <a:pt x="25439" y="65298"/>
                        <a:pt x="10253" y="67360"/>
                        <a:pt x="7288" y="67695"/>
                      </a:cubicBezTo>
                      <a:cubicBezTo>
                        <a:pt x="7056" y="67747"/>
                        <a:pt x="6798" y="67747"/>
                        <a:pt x="6540" y="67747"/>
                      </a:cubicBezTo>
                      <a:close/>
                    </a:path>
                  </a:pathLst>
                </a:custGeom>
                <a:grpFill/>
                <a:ln w="2573" cap="flat">
                  <a:noFill/>
                  <a:prstDash val="solid"/>
                  <a:miter/>
                </a:ln>
              </p:spPr>
              <p:txBody>
                <a:bodyPr rtlCol="0" anchor="ctr"/>
                <a:lstStyle/>
                <a:p>
                  <a:endParaRPr lang="en-GB" dirty="0"/>
                </a:p>
              </p:txBody>
            </p:sp>
            <p:sp>
              <p:nvSpPr>
                <p:cNvPr id="360" name="Freihandform: Form 877">
                  <a:extLst>
                    <a:ext uri="{FF2B5EF4-FFF2-40B4-BE49-F238E27FC236}">
                      <a16:creationId xmlns:a16="http://schemas.microsoft.com/office/drawing/2014/main" id="{44A9728E-12E9-4C0A-956D-788547FDD9F2}"/>
                    </a:ext>
                  </a:extLst>
                </p:cNvPr>
                <p:cNvSpPr/>
                <p:nvPr/>
              </p:nvSpPr>
              <p:spPr>
                <a:xfrm>
                  <a:off x="7172969" y="2016555"/>
                  <a:ext cx="13097" cy="94387"/>
                </a:xfrm>
                <a:custGeom>
                  <a:avLst/>
                  <a:gdLst>
                    <a:gd name="connsiteX0" fmla="*/ 6549 w 13097"/>
                    <a:gd name="connsiteY0" fmla="*/ 94388 h 94387"/>
                    <a:gd name="connsiteX1" fmla="*/ 0 w 13097"/>
                    <a:gd name="connsiteY1" fmla="*/ 87839 h 94387"/>
                    <a:gd name="connsiteX2" fmla="*/ 0 w 13097"/>
                    <a:gd name="connsiteY2" fmla="*/ 6549 h 94387"/>
                    <a:gd name="connsiteX3" fmla="*/ 6549 w 13097"/>
                    <a:gd name="connsiteY3" fmla="*/ 0 h 94387"/>
                    <a:gd name="connsiteX4" fmla="*/ 13097 w 13097"/>
                    <a:gd name="connsiteY4" fmla="*/ 6549 h 94387"/>
                    <a:gd name="connsiteX5" fmla="*/ 13097 w 13097"/>
                    <a:gd name="connsiteY5" fmla="*/ 87839 h 94387"/>
                    <a:gd name="connsiteX6" fmla="*/ 6549 w 13097"/>
                    <a:gd name="connsiteY6" fmla="*/ 94388 h 9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94387">
                      <a:moveTo>
                        <a:pt x="6549" y="94388"/>
                      </a:moveTo>
                      <a:cubicBezTo>
                        <a:pt x="2913" y="94388"/>
                        <a:pt x="0" y="91449"/>
                        <a:pt x="0" y="87839"/>
                      </a:cubicBezTo>
                      <a:lnTo>
                        <a:pt x="0" y="6549"/>
                      </a:lnTo>
                      <a:cubicBezTo>
                        <a:pt x="0" y="2939"/>
                        <a:pt x="2939" y="0"/>
                        <a:pt x="6549" y="0"/>
                      </a:cubicBezTo>
                      <a:cubicBezTo>
                        <a:pt x="10184" y="0"/>
                        <a:pt x="13097" y="2939"/>
                        <a:pt x="13097" y="6549"/>
                      </a:cubicBezTo>
                      <a:lnTo>
                        <a:pt x="13097" y="87839"/>
                      </a:lnTo>
                      <a:cubicBezTo>
                        <a:pt x="13123" y="91449"/>
                        <a:pt x="10184" y="94388"/>
                        <a:pt x="6549" y="94388"/>
                      </a:cubicBezTo>
                      <a:close/>
                    </a:path>
                  </a:pathLst>
                </a:custGeom>
                <a:grpFill/>
                <a:ln w="2573" cap="flat">
                  <a:noFill/>
                  <a:prstDash val="solid"/>
                  <a:miter/>
                </a:ln>
              </p:spPr>
              <p:txBody>
                <a:bodyPr rtlCol="0" anchor="ctr"/>
                <a:lstStyle/>
                <a:p>
                  <a:endParaRPr lang="en-GB" dirty="0"/>
                </a:p>
              </p:txBody>
            </p:sp>
            <p:sp>
              <p:nvSpPr>
                <p:cNvPr id="361" name="Freihandform: Form 878">
                  <a:extLst>
                    <a:ext uri="{FF2B5EF4-FFF2-40B4-BE49-F238E27FC236}">
                      <a16:creationId xmlns:a16="http://schemas.microsoft.com/office/drawing/2014/main" id="{7E7FDDD1-6EF8-4C20-87B3-7E91B2B30947}"/>
                    </a:ext>
                  </a:extLst>
                </p:cNvPr>
                <p:cNvSpPr/>
                <p:nvPr/>
              </p:nvSpPr>
              <p:spPr>
                <a:xfrm>
                  <a:off x="6957845" y="1775339"/>
                  <a:ext cx="134504" cy="335603"/>
                </a:xfrm>
                <a:custGeom>
                  <a:avLst/>
                  <a:gdLst>
                    <a:gd name="connsiteX0" fmla="*/ 68399 w 134504"/>
                    <a:gd name="connsiteY0" fmla="*/ 335604 h 335603"/>
                    <a:gd name="connsiteX1" fmla="*/ 61851 w 134504"/>
                    <a:gd name="connsiteY1" fmla="*/ 329055 h 335603"/>
                    <a:gd name="connsiteX2" fmla="*/ 61851 w 134504"/>
                    <a:gd name="connsiteY2" fmla="*/ 245779 h 335603"/>
                    <a:gd name="connsiteX3" fmla="*/ 0 w 134504"/>
                    <a:gd name="connsiteY3" fmla="*/ 178411 h 335603"/>
                    <a:gd name="connsiteX4" fmla="*/ 0 w 134504"/>
                    <a:gd name="connsiteY4" fmla="*/ 37693 h 335603"/>
                    <a:gd name="connsiteX5" fmla="*/ 34419 w 134504"/>
                    <a:gd name="connsiteY5" fmla="*/ 0 h 335603"/>
                    <a:gd name="connsiteX6" fmla="*/ 68838 w 134504"/>
                    <a:gd name="connsiteY6" fmla="*/ 37693 h 335603"/>
                    <a:gd name="connsiteX7" fmla="*/ 68838 w 134504"/>
                    <a:gd name="connsiteY7" fmla="*/ 99647 h 335603"/>
                    <a:gd name="connsiteX8" fmla="*/ 134504 w 134504"/>
                    <a:gd name="connsiteY8" fmla="*/ 167196 h 335603"/>
                    <a:gd name="connsiteX9" fmla="*/ 127956 w 134504"/>
                    <a:gd name="connsiteY9" fmla="*/ 173745 h 335603"/>
                    <a:gd name="connsiteX10" fmla="*/ 121407 w 134504"/>
                    <a:gd name="connsiteY10" fmla="*/ 167196 h 335603"/>
                    <a:gd name="connsiteX11" fmla="*/ 67265 w 134504"/>
                    <a:gd name="connsiteY11" fmla="*/ 112719 h 335603"/>
                    <a:gd name="connsiteX12" fmla="*/ 62856 w 134504"/>
                    <a:gd name="connsiteY12" fmla="*/ 112951 h 335603"/>
                    <a:gd name="connsiteX13" fmla="*/ 57880 w 134504"/>
                    <a:gd name="connsiteY13" fmla="*/ 111249 h 335603"/>
                    <a:gd name="connsiteX14" fmla="*/ 55766 w 134504"/>
                    <a:gd name="connsiteY14" fmla="*/ 106428 h 335603"/>
                    <a:gd name="connsiteX15" fmla="*/ 55766 w 134504"/>
                    <a:gd name="connsiteY15" fmla="*/ 37693 h 335603"/>
                    <a:gd name="connsiteX16" fmla="*/ 34445 w 134504"/>
                    <a:gd name="connsiteY16" fmla="*/ 13123 h 335603"/>
                    <a:gd name="connsiteX17" fmla="*/ 13123 w 134504"/>
                    <a:gd name="connsiteY17" fmla="*/ 37693 h 335603"/>
                    <a:gd name="connsiteX18" fmla="*/ 13123 w 134504"/>
                    <a:gd name="connsiteY18" fmla="*/ 178411 h 335603"/>
                    <a:gd name="connsiteX19" fmla="*/ 67265 w 134504"/>
                    <a:gd name="connsiteY19" fmla="*/ 232889 h 335603"/>
                    <a:gd name="connsiteX20" fmla="*/ 73633 w 134504"/>
                    <a:gd name="connsiteY20" fmla="*/ 237839 h 335603"/>
                    <a:gd name="connsiteX21" fmla="*/ 74793 w 134504"/>
                    <a:gd name="connsiteY21" fmla="*/ 242454 h 335603"/>
                    <a:gd name="connsiteX22" fmla="*/ 75000 w 134504"/>
                    <a:gd name="connsiteY22" fmla="*/ 244052 h 335603"/>
                    <a:gd name="connsiteX23" fmla="*/ 75000 w 134504"/>
                    <a:gd name="connsiteY23" fmla="*/ 329055 h 335603"/>
                    <a:gd name="connsiteX24" fmla="*/ 68399 w 134504"/>
                    <a:gd name="connsiteY24" fmla="*/ 335604 h 33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504" h="335603">
                      <a:moveTo>
                        <a:pt x="68399" y="335604"/>
                      </a:moveTo>
                      <a:cubicBezTo>
                        <a:pt x="64764" y="335604"/>
                        <a:pt x="61851" y="332665"/>
                        <a:pt x="61851" y="329055"/>
                      </a:cubicBezTo>
                      <a:lnTo>
                        <a:pt x="61851" y="245779"/>
                      </a:lnTo>
                      <a:cubicBezTo>
                        <a:pt x="27277" y="243021"/>
                        <a:pt x="0" y="213861"/>
                        <a:pt x="0" y="178411"/>
                      </a:cubicBezTo>
                      <a:lnTo>
                        <a:pt x="0" y="37693"/>
                      </a:lnTo>
                      <a:cubicBezTo>
                        <a:pt x="0" y="16913"/>
                        <a:pt x="15443" y="0"/>
                        <a:pt x="34419" y="0"/>
                      </a:cubicBezTo>
                      <a:cubicBezTo>
                        <a:pt x="53394" y="0"/>
                        <a:pt x="68838" y="16913"/>
                        <a:pt x="68838" y="37693"/>
                      </a:cubicBezTo>
                      <a:lnTo>
                        <a:pt x="68838" y="99647"/>
                      </a:lnTo>
                      <a:cubicBezTo>
                        <a:pt x="105190" y="100498"/>
                        <a:pt x="134504" y="130483"/>
                        <a:pt x="134504" y="167196"/>
                      </a:cubicBezTo>
                      <a:cubicBezTo>
                        <a:pt x="134504" y="170806"/>
                        <a:pt x="131565" y="173745"/>
                        <a:pt x="127956" y="173745"/>
                      </a:cubicBezTo>
                      <a:cubicBezTo>
                        <a:pt x="124321" y="173745"/>
                        <a:pt x="121407" y="170806"/>
                        <a:pt x="121407" y="167196"/>
                      </a:cubicBezTo>
                      <a:cubicBezTo>
                        <a:pt x="121407" y="137160"/>
                        <a:pt x="97121" y="112719"/>
                        <a:pt x="67265" y="112719"/>
                      </a:cubicBezTo>
                      <a:cubicBezTo>
                        <a:pt x="65770" y="112719"/>
                        <a:pt x="64326" y="112822"/>
                        <a:pt x="62856" y="112951"/>
                      </a:cubicBezTo>
                      <a:cubicBezTo>
                        <a:pt x="60974" y="113131"/>
                        <a:pt x="59221" y="112487"/>
                        <a:pt x="57880" y="111249"/>
                      </a:cubicBezTo>
                      <a:cubicBezTo>
                        <a:pt x="56540" y="110012"/>
                        <a:pt x="55766" y="108258"/>
                        <a:pt x="55766" y="106428"/>
                      </a:cubicBezTo>
                      <a:lnTo>
                        <a:pt x="55766" y="37693"/>
                      </a:lnTo>
                      <a:cubicBezTo>
                        <a:pt x="55766" y="24132"/>
                        <a:pt x="46201" y="13123"/>
                        <a:pt x="34445" y="13123"/>
                      </a:cubicBezTo>
                      <a:cubicBezTo>
                        <a:pt x="22688" y="13123"/>
                        <a:pt x="13123" y="24158"/>
                        <a:pt x="13123" y="37693"/>
                      </a:cubicBezTo>
                      <a:lnTo>
                        <a:pt x="13123" y="178411"/>
                      </a:lnTo>
                      <a:cubicBezTo>
                        <a:pt x="13123" y="208447"/>
                        <a:pt x="37410" y="232889"/>
                        <a:pt x="67265" y="232889"/>
                      </a:cubicBezTo>
                      <a:cubicBezTo>
                        <a:pt x="70282" y="232889"/>
                        <a:pt x="72886" y="234925"/>
                        <a:pt x="73633" y="237839"/>
                      </a:cubicBezTo>
                      <a:lnTo>
                        <a:pt x="74793" y="242454"/>
                      </a:lnTo>
                      <a:cubicBezTo>
                        <a:pt x="74922" y="242969"/>
                        <a:pt x="75000" y="243511"/>
                        <a:pt x="75000" y="244052"/>
                      </a:cubicBezTo>
                      <a:lnTo>
                        <a:pt x="75000" y="329055"/>
                      </a:lnTo>
                      <a:cubicBezTo>
                        <a:pt x="74948" y="332665"/>
                        <a:pt x="72009" y="335604"/>
                        <a:pt x="68399" y="335604"/>
                      </a:cubicBezTo>
                      <a:close/>
                    </a:path>
                  </a:pathLst>
                </a:custGeom>
                <a:grpFill/>
                <a:ln w="2573" cap="flat">
                  <a:noFill/>
                  <a:prstDash val="solid"/>
                  <a:miter/>
                </a:ln>
              </p:spPr>
              <p:txBody>
                <a:bodyPr rtlCol="0" anchor="ctr"/>
                <a:lstStyle/>
                <a:p>
                  <a:endParaRPr lang="en-GB" dirty="0"/>
                </a:p>
              </p:txBody>
            </p:sp>
          </p:grpSp>
          <p:grpSp>
            <p:nvGrpSpPr>
              <p:cNvPr id="349" name="Group 348">
                <a:extLst>
                  <a:ext uri="{FF2B5EF4-FFF2-40B4-BE49-F238E27FC236}">
                    <a16:creationId xmlns:a16="http://schemas.microsoft.com/office/drawing/2014/main" id="{ACBEF21E-A9F6-4D46-8EDF-51E0099D8CC5}"/>
                  </a:ext>
                </a:extLst>
              </p:cNvPr>
              <p:cNvGrpSpPr/>
              <p:nvPr/>
            </p:nvGrpSpPr>
            <p:grpSpPr>
              <a:xfrm>
                <a:off x="7193412" y="1644238"/>
                <a:ext cx="249417" cy="466704"/>
                <a:chOff x="7193412" y="1644238"/>
                <a:chExt cx="249417" cy="466704"/>
              </a:xfrm>
              <a:grpFill/>
            </p:grpSpPr>
            <p:sp>
              <p:nvSpPr>
                <p:cNvPr id="350" name="Freihandform: Form 879">
                  <a:extLst>
                    <a:ext uri="{FF2B5EF4-FFF2-40B4-BE49-F238E27FC236}">
                      <a16:creationId xmlns:a16="http://schemas.microsoft.com/office/drawing/2014/main" id="{93A03378-359C-4676-94B7-225ECC9FB84C}"/>
                    </a:ext>
                  </a:extLst>
                </p:cNvPr>
                <p:cNvSpPr/>
                <p:nvPr/>
              </p:nvSpPr>
              <p:spPr>
                <a:xfrm>
                  <a:off x="7329595" y="1676723"/>
                  <a:ext cx="57571" cy="151855"/>
                </a:xfrm>
                <a:custGeom>
                  <a:avLst/>
                  <a:gdLst>
                    <a:gd name="connsiteX0" fmla="*/ 50997 w 57571"/>
                    <a:gd name="connsiteY0" fmla="*/ 151856 h 151855"/>
                    <a:gd name="connsiteX1" fmla="*/ 44448 w 57571"/>
                    <a:gd name="connsiteY1" fmla="*/ 145307 h 151855"/>
                    <a:gd name="connsiteX2" fmla="*/ 44448 w 57571"/>
                    <a:gd name="connsiteY2" fmla="*/ 27097 h 151855"/>
                    <a:gd name="connsiteX3" fmla="*/ 28773 w 57571"/>
                    <a:gd name="connsiteY3" fmla="*/ 13097 h 151855"/>
                    <a:gd name="connsiteX4" fmla="*/ 13097 w 57571"/>
                    <a:gd name="connsiteY4" fmla="*/ 27097 h 151855"/>
                    <a:gd name="connsiteX5" fmla="*/ 13097 w 57571"/>
                    <a:gd name="connsiteY5" fmla="*/ 145281 h 151855"/>
                    <a:gd name="connsiteX6" fmla="*/ 6549 w 57571"/>
                    <a:gd name="connsiteY6" fmla="*/ 151830 h 151855"/>
                    <a:gd name="connsiteX7" fmla="*/ 0 w 57571"/>
                    <a:gd name="connsiteY7" fmla="*/ 145281 h 151855"/>
                    <a:gd name="connsiteX8" fmla="*/ 0 w 57571"/>
                    <a:gd name="connsiteY8" fmla="*/ 27097 h 151855"/>
                    <a:gd name="connsiteX9" fmla="*/ 28798 w 57571"/>
                    <a:gd name="connsiteY9" fmla="*/ 0 h 151855"/>
                    <a:gd name="connsiteX10" fmla="*/ 57571 w 57571"/>
                    <a:gd name="connsiteY10" fmla="*/ 27097 h 151855"/>
                    <a:gd name="connsiteX11" fmla="*/ 57571 w 57571"/>
                    <a:gd name="connsiteY11" fmla="*/ 145281 h 151855"/>
                    <a:gd name="connsiteX12" fmla="*/ 50997 w 57571"/>
                    <a:gd name="connsiteY12" fmla="*/ 151856 h 151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71" h="151855">
                      <a:moveTo>
                        <a:pt x="50997" y="151856"/>
                      </a:moveTo>
                      <a:cubicBezTo>
                        <a:pt x="47361" y="151856"/>
                        <a:pt x="44448" y="148917"/>
                        <a:pt x="44448" y="145307"/>
                      </a:cubicBezTo>
                      <a:lnTo>
                        <a:pt x="44448" y="27097"/>
                      </a:lnTo>
                      <a:cubicBezTo>
                        <a:pt x="44448" y="19388"/>
                        <a:pt x="37410" y="13097"/>
                        <a:pt x="28773" y="13097"/>
                      </a:cubicBezTo>
                      <a:cubicBezTo>
                        <a:pt x="20136" y="13097"/>
                        <a:pt x="13097" y="19362"/>
                        <a:pt x="13097" y="27097"/>
                      </a:cubicBezTo>
                      <a:lnTo>
                        <a:pt x="13097" y="145281"/>
                      </a:lnTo>
                      <a:cubicBezTo>
                        <a:pt x="13097" y="148891"/>
                        <a:pt x="10158" y="151830"/>
                        <a:pt x="6549" y="151830"/>
                      </a:cubicBezTo>
                      <a:cubicBezTo>
                        <a:pt x="2939" y="151830"/>
                        <a:pt x="0" y="148891"/>
                        <a:pt x="0" y="145281"/>
                      </a:cubicBezTo>
                      <a:lnTo>
                        <a:pt x="0" y="27097"/>
                      </a:lnTo>
                      <a:cubicBezTo>
                        <a:pt x="0" y="12143"/>
                        <a:pt x="12917" y="0"/>
                        <a:pt x="28798" y="0"/>
                      </a:cubicBezTo>
                      <a:cubicBezTo>
                        <a:pt x="44680" y="0"/>
                        <a:pt x="57571" y="12169"/>
                        <a:pt x="57571" y="27097"/>
                      </a:cubicBezTo>
                      <a:lnTo>
                        <a:pt x="57571" y="145281"/>
                      </a:lnTo>
                      <a:cubicBezTo>
                        <a:pt x="57545" y="148917"/>
                        <a:pt x="54632" y="151856"/>
                        <a:pt x="50997" y="151856"/>
                      </a:cubicBezTo>
                      <a:close/>
                    </a:path>
                  </a:pathLst>
                </a:custGeom>
                <a:grpFill/>
                <a:ln w="2573" cap="flat">
                  <a:noFill/>
                  <a:prstDash val="solid"/>
                  <a:miter/>
                </a:ln>
              </p:spPr>
              <p:txBody>
                <a:bodyPr rtlCol="0" anchor="ctr"/>
                <a:lstStyle/>
                <a:p>
                  <a:endParaRPr lang="en-GB" dirty="0"/>
                </a:p>
              </p:txBody>
            </p:sp>
            <p:sp>
              <p:nvSpPr>
                <p:cNvPr id="351" name="Freihandform: Form 880">
                  <a:extLst>
                    <a:ext uri="{FF2B5EF4-FFF2-40B4-BE49-F238E27FC236}">
                      <a16:creationId xmlns:a16="http://schemas.microsoft.com/office/drawing/2014/main" id="{9C5C0EBA-59F9-43C9-9A79-DD0EFB9017B0}"/>
                    </a:ext>
                  </a:extLst>
                </p:cNvPr>
                <p:cNvSpPr/>
                <p:nvPr/>
              </p:nvSpPr>
              <p:spPr>
                <a:xfrm>
                  <a:off x="7284786" y="1644238"/>
                  <a:ext cx="57571" cy="184341"/>
                </a:xfrm>
                <a:custGeom>
                  <a:avLst/>
                  <a:gdLst>
                    <a:gd name="connsiteX0" fmla="*/ 50997 w 57571"/>
                    <a:gd name="connsiteY0" fmla="*/ 184341 h 184341"/>
                    <a:gd name="connsiteX1" fmla="*/ 44448 w 57571"/>
                    <a:gd name="connsiteY1" fmla="*/ 177792 h 184341"/>
                    <a:gd name="connsiteX2" fmla="*/ 44448 w 57571"/>
                    <a:gd name="connsiteY2" fmla="*/ 27097 h 184341"/>
                    <a:gd name="connsiteX3" fmla="*/ 28773 w 57571"/>
                    <a:gd name="connsiteY3" fmla="*/ 13097 h 184341"/>
                    <a:gd name="connsiteX4" fmla="*/ 13097 w 57571"/>
                    <a:gd name="connsiteY4" fmla="*/ 27097 h 184341"/>
                    <a:gd name="connsiteX5" fmla="*/ 13097 w 57571"/>
                    <a:gd name="connsiteY5" fmla="*/ 118004 h 184341"/>
                    <a:gd name="connsiteX6" fmla="*/ 6549 w 57571"/>
                    <a:gd name="connsiteY6" fmla="*/ 124553 h 184341"/>
                    <a:gd name="connsiteX7" fmla="*/ 0 w 57571"/>
                    <a:gd name="connsiteY7" fmla="*/ 118004 h 184341"/>
                    <a:gd name="connsiteX8" fmla="*/ 0 w 57571"/>
                    <a:gd name="connsiteY8" fmla="*/ 27097 h 184341"/>
                    <a:gd name="connsiteX9" fmla="*/ 28798 w 57571"/>
                    <a:gd name="connsiteY9" fmla="*/ 0 h 184341"/>
                    <a:gd name="connsiteX10" fmla="*/ 57571 w 57571"/>
                    <a:gd name="connsiteY10" fmla="*/ 27097 h 184341"/>
                    <a:gd name="connsiteX11" fmla="*/ 57571 w 57571"/>
                    <a:gd name="connsiteY11" fmla="*/ 177792 h 184341"/>
                    <a:gd name="connsiteX12" fmla="*/ 50997 w 57571"/>
                    <a:gd name="connsiteY12" fmla="*/ 184341 h 18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71" h="184341">
                      <a:moveTo>
                        <a:pt x="50997" y="184341"/>
                      </a:moveTo>
                      <a:cubicBezTo>
                        <a:pt x="47387" y="184341"/>
                        <a:pt x="44448" y="181402"/>
                        <a:pt x="44448" y="177792"/>
                      </a:cubicBezTo>
                      <a:lnTo>
                        <a:pt x="44448" y="27097"/>
                      </a:lnTo>
                      <a:cubicBezTo>
                        <a:pt x="44448" y="19388"/>
                        <a:pt x="37410" y="13097"/>
                        <a:pt x="28773" y="13097"/>
                      </a:cubicBezTo>
                      <a:cubicBezTo>
                        <a:pt x="20136" y="13097"/>
                        <a:pt x="13097" y="19388"/>
                        <a:pt x="13097" y="27097"/>
                      </a:cubicBezTo>
                      <a:lnTo>
                        <a:pt x="13097" y="118004"/>
                      </a:lnTo>
                      <a:cubicBezTo>
                        <a:pt x="13097" y="121614"/>
                        <a:pt x="10158" y="124553"/>
                        <a:pt x="6549" y="124553"/>
                      </a:cubicBezTo>
                      <a:cubicBezTo>
                        <a:pt x="2939" y="124553"/>
                        <a:pt x="0" y="121614"/>
                        <a:pt x="0" y="118004"/>
                      </a:cubicBezTo>
                      <a:lnTo>
                        <a:pt x="0" y="27097"/>
                      </a:lnTo>
                      <a:cubicBezTo>
                        <a:pt x="0" y="12143"/>
                        <a:pt x="12917" y="0"/>
                        <a:pt x="28798" y="0"/>
                      </a:cubicBezTo>
                      <a:cubicBezTo>
                        <a:pt x="44680" y="0"/>
                        <a:pt x="57571" y="12169"/>
                        <a:pt x="57571" y="27097"/>
                      </a:cubicBezTo>
                      <a:lnTo>
                        <a:pt x="57571" y="177792"/>
                      </a:lnTo>
                      <a:cubicBezTo>
                        <a:pt x="57571" y="181402"/>
                        <a:pt x="54632" y="184341"/>
                        <a:pt x="50997" y="184341"/>
                      </a:cubicBezTo>
                      <a:close/>
                    </a:path>
                  </a:pathLst>
                </a:custGeom>
                <a:grpFill/>
                <a:ln w="2573" cap="flat">
                  <a:noFill/>
                  <a:prstDash val="solid"/>
                  <a:miter/>
                </a:ln>
              </p:spPr>
              <p:txBody>
                <a:bodyPr rtlCol="0" anchor="ctr"/>
                <a:lstStyle/>
                <a:p>
                  <a:endParaRPr lang="en-GB" dirty="0"/>
                </a:p>
              </p:txBody>
            </p:sp>
            <p:sp>
              <p:nvSpPr>
                <p:cNvPr id="352" name="Freihandform: Form 881">
                  <a:extLst>
                    <a:ext uri="{FF2B5EF4-FFF2-40B4-BE49-F238E27FC236}">
                      <a16:creationId xmlns:a16="http://schemas.microsoft.com/office/drawing/2014/main" id="{840C8AFE-AB62-4709-BA30-6F58DB600FBE}"/>
                    </a:ext>
                  </a:extLst>
                </p:cNvPr>
                <p:cNvSpPr/>
                <p:nvPr/>
              </p:nvSpPr>
              <p:spPr>
                <a:xfrm>
                  <a:off x="7240157" y="1676723"/>
                  <a:ext cx="57571" cy="33645"/>
                </a:xfrm>
                <a:custGeom>
                  <a:avLst/>
                  <a:gdLst>
                    <a:gd name="connsiteX0" fmla="*/ 50997 w 57571"/>
                    <a:gd name="connsiteY0" fmla="*/ 33645 h 33645"/>
                    <a:gd name="connsiteX1" fmla="*/ 44448 w 57571"/>
                    <a:gd name="connsiteY1" fmla="*/ 27097 h 33645"/>
                    <a:gd name="connsiteX2" fmla="*/ 28773 w 57571"/>
                    <a:gd name="connsiteY2" fmla="*/ 13097 h 33645"/>
                    <a:gd name="connsiteX3" fmla="*/ 13097 w 57571"/>
                    <a:gd name="connsiteY3" fmla="*/ 27097 h 33645"/>
                    <a:gd name="connsiteX4" fmla="*/ 6549 w 57571"/>
                    <a:gd name="connsiteY4" fmla="*/ 33645 h 33645"/>
                    <a:gd name="connsiteX5" fmla="*/ 0 w 57571"/>
                    <a:gd name="connsiteY5" fmla="*/ 27097 h 33645"/>
                    <a:gd name="connsiteX6" fmla="*/ 28798 w 57571"/>
                    <a:gd name="connsiteY6" fmla="*/ 0 h 33645"/>
                    <a:gd name="connsiteX7" fmla="*/ 57571 w 57571"/>
                    <a:gd name="connsiteY7" fmla="*/ 27097 h 33645"/>
                    <a:gd name="connsiteX8" fmla="*/ 50997 w 57571"/>
                    <a:gd name="connsiteY8" fmla="*/ 33645 h 3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71" h="33645">
                      <a:moveTo>
                        <a:pt x="50997" y="33645"/>
                      </a:moveTo>
                      <a:cubicBezTo>
                        <a:pt x="47361" y="33645"/>
                        <a:pt x="44448" y="30706"/>
                        <a:pt x="44448" y="27097"/>
                      </a:cubicBezTo>
                      <a:cubicBezTo>
                        <a:pt x="44448" y="19388"/>
                        <a:pt x="37410" y="13097"/>
                        <a:pt x="28773" y="13097"/>
                      </a:cubicBezTo>
                      <a:cubicBezTo>
                        <a:pt x="20136" y="13097"/>
                        <a:pt x="13097" y="19362"/>
                        <a:pt x="13097" y="27097"/>
                      </a:cubicBezTo>
                      <a:cubicBezTo>
                        <a:pt x="13097" y="30706"/>
                        <a:pt x="10158" y="33645"/>
                        <a:pt x="6549" y="33645"/>
                      </a:cubicBezTo>
                      <a:cubicBezTo>
                        <a:pt x="2939" y="33645"/>
                        <a:pt x="0" y="30706"/>
                        <a:pt x="0" y="27097"/>
                      </a:cubicBezTo>
                      <a:cubicBezTo>
                        <a:pt x="0" y="12143"/>
                        <a:pt x="12917" y="0"/>
                        <a:pt x="28798" y="0"/>
                      </a:cubicBezTo>
                      <a:cubicBezTo>
                        <a:pt x="44680" y="0"/>
                        <a:pt x="57571" y="12169"/>
                        <a:pt x="57571" y="27097"/>
                      </a:cubicBezTo>
                      <a:cubicBezTo>
                        <a:pt x="57545" y="30732"/>
                        <a:pt x="54606" y="33645"/>
                        <a:pt x="50997" y="33645"/>
                      </a:cubicBezTo>
                      <a:close/>
                    </a:path>
                  </a:pathLst>
                </a:custGeom>
                <a:grpFill/>
                <a:ln w="2573" cap="flat">
                  <a:noFill/>
                  <a:prstDash val="solid"/>
                  <a:miter/>
                </a:ln>
              </p:spPr>
              <p:txBody>
                <a:bodyPr rtlCol="0" anchor="ctr"/>
                <a:lstStyle/>
                <a:p>
                  <a:endParaRPr lang="en-GB" dirty="0"/>
                </a:p>
              </p:txBody>
            </p:sp>
            <p:sp>
              <p:nvSpPr>
                <p:cNvPr id="353" name="Freihandform: Form 882">
                  <a:extLst>
                    <a:ext uri="{FF2B5EF4-FFF2-40B4-BE49-F238E27FC236}">
                      <a16:creationId xmlns:a16="http://schemas.microsoft.com/office/drawing/2014/main" id="{F4E96585-DB44-4D27-BFBC-BFD5D4E1D48D}"/>
                    </a:ext>
                  </a:extLst>
                </p:cNvPr>
                <p:cNvSpPr/>
                <p:nvPr/>
              </p:nvSpPr>
              <p:spPr>
                <a:xfrm>
                  <a:off x="7193412" y="1967567"/>
                  <a:ext cx="55302" cy="68015"/>
                </a:xfrm>
                <a:custGeom>
                  <a:avLst/>
                  <a:gdLst>
                    <a:gd name="connsiteX0" fmla="*/ 48757 w 55302"/>
                    <a:gd name="connsiteY0" fmla="*/ 68016 h 68015"/>
                    <a:gd name="connsiteX1" fmla="*/ 48009 w 55302"/>
                    <a:gd name="connsiteY1" fmla="*/ 67964 h 68015"/>
                    <a:gd name="connsiteX2" fmla="*/ 22743 w 55302"/>
                    <a:gd name="connsiteY2" fmla="*/ 58528 h 68015"/>
                    <a:gd name="connsiteX3" fmla="*/ 29 w 55302"/>
                    <a:gd name="connsiteY3" fmla="*/ 7170 h 68015"/>
                    <a:gd name="connsiteX4" fmla="*/ 5958 w 55302"/>
                    <a:gd name="connsiteY4" fmla="*/ 29 h 68015"/>
                    <a:gd name="connsiteX5" fmla="*/ 13100 w 55302"/>
                    <a:gd name="connsiteY5" fmla="*/ 5958 h 68015"/>
                    <a:gd name="connsiteX6" fmla="*/ 31972 w 55302"/>
                    <a:gd name="connsiteY6" fmla="*/ 49195 h 68015"/>
                    <a:gd name="connsiteX7" fmla="*/ 49504 w 55302"/>
                    <a:gd name="connsiteY7" fmla="*/ 54918 h 68015"/>
                    <a:gd name="connsiteX8" fmla="*/ 55254 w 55302"/>
                    <a:gd name="connsiteY8" fmla="*/ 62189 h 68015"/>
                    <a:gd name="connsiteX9" fmla="*/ 48757 w 55302"/>
                    <a:gd name="connsiteY9" fmla="*/ 68016 h 68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02" h="68015">
                      <a:moveTo>
                        <a:pt x="48757" y="68016"/>
                      </a:moveTo>
                      <a:cubicBezTo>
                        <a:pt x="48499" y="68016"/>
                        <a:pt x="48267" y="67990"/>
                        <a:pt x="48009" y="67964"/>
                      </a:cubicBezTo>
                      <a:cubicBezTo>
                        <a:pt x="45044" y="67629"/>
                        <a:pt x="29833" y="65566"/>
                        <a:pt x="22743" y="58528"/>
                      </a:cubicBezTo>
                      <a:cubicBezTo>
                        <a:pt x="10367" y="46256"/>
                        <a:pt x="1885" y="27048"/>
                        <a:pt x="29" y="7170"/>
                      </a:cubicBezTo>
                      <a:cubicBezTo>
                        <a:pt x="-307" y="3561"/>
                        <a:pt x="2349" y="364"/>
                        <a:pt x="5958" y="29"/>
                      </a:cubicBezTo>
                      <a:cubicBezTo>
                        <a:pt x="9723" y="-307"/>
                        <a:pt x="12765" y="2349"/>
                        <a:pt x="13100" y="5958"/>
                      </a:cubicBezTo>
                      <a:cubicBezTo>
                        <a:pt x="14673" y="22871"/>
                        <a:pt x="21737" y="39037"/>
                        <a:pt x="31972" y="49195"/>
                      </a:cubicBezTo>
                      <a:cubicBezTo>
                        <a:pt x="34834" y="52031"/>
                        <a:pt x="44142" y="54300"/>
                        <a:pt x="49504" y="54918"/>
                      </a:cubicBezTo>
                      <a:cubicBezTo>
                        <a:pt x="53114" y="55331"/>
                        <a:pt x="55692" y="58579"/>
                        <a:pt x="55254" y="62189"/>
                      </a:cubicBezTo>
                      <a:cubicBezTo>
                        <a:pt x="54893" y="65566"/>
                        <a:pt x="52057" y="68016"/>
                        <a:pt x="48757" y="68016"/>
                      </a:cubicBezTo>
                      <a:close/>
                    </a:path>
                  </a:pathLst>
                </a:custGeom>
                <a:grpFill/>
                <a:ln w="2573" cap="flat">
                  <a:noFill/>
                  <a:prstDash val="solid"/>
                  <a:miter/>
                </a:ln>
              </p:spPr>
              <p:txBody>
                <a:bodyPr rtlCol="0" anchor="ctr"/>
                <a:lstStyle/>
                <a:p>
                  <a:endParaRPr lang="en-GB" dirty="0"/>
                </a:p>
              </p:txBody>
            </p:sp>
            <p:sp>
              <p:nvSpPr>
                <p:cNvPr id="354" name="Freihandform: Form 883">
                  <a:extLst>
                    <a:ext uri="{FF2B5EF4-FFF2-40B4-BE49-F238E27FC236}">
                      <a16:creationId xmlns:a16="http://schemas.microsoft.com/office/drawing/2014/main" id="{3157EE1A-CC46-43E0-9DDB-E8F796F70107}"/>
                    </a:ext>
                  </a:extLst>
                </p:cNvPr>
                <p:cNvSpPr/>
                <p:nvPr/>
              </p:nvSpPr>
              <p:spPr>
                <a:xfrm>
                  <a:off x="7214556" y="2016555"/>
                  <a:ext cx="13097" cy="94387"/>
                </a:xfrm>
                <a:custGeom>
                  <a:avLst/>
                  <a:gdLst>
                    <a:gd name="connsiteX0" fmla="*/ 6549 w 13097"/>
                    <a:gd name="connsiteY0" fmla="*/ 94388 h 94387"/>
                    <a:gd name="connsiteX1" fmla="*/ 0 w 13097"/>
                    <a:gd name="connsiteY1" fmla="*/ 87839 h 94387"/>
                    <a:gd name="connsiteX2" fmla="*/ 0 w 13097"/>
                    <a:gd name="connsiteY2" fmla="*/ 6549 h 94387"/>
                    <a:gd name="connsiteX3" fmla="*/ 6549 w 13097"/>
                    <a:gd name="connsiteY3" fmla="*/ 0 h 94387"/>
                    <a:gd name="connsiteX4" fmla="*/ 13097 w 13097"/>
                    <a:gd name="connsiteY4" fmla="*/ 6549 h 94387"/>
                    <a:gd name="connsiteX5" fmla="*/ 13097 w 13097"/>
                    <a:gd name="connsiteY5" fmla="*/ 87839 h 94387"/>
                    <a:gd name="connsiteX6" fmla="*/ 6549 w 13097"/>
                    <a:gd name="connsiteY6" fmla="*/ 94388 h 9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94387">
                      <a:moveTo>
                        <a:pt x="6549" y="94388"/>
                      </a:moveTo>
                      <a:cubicBezTo>
                        <a:pt x="2913" y="94388"/>
                        <a:pt x="0" y="91449"/>
                        <a:pt x="0" y="87839"/>
                      </a:cubicBezTo>
                      <a:lnTo>
                        <a:pt x="0" y="6549"/>
                      </a:lnTo>
                      <a:cubicBezTo>
                        <a:pt x="0" y="2939"/>
                        <a:pt x="2939" y="0"/>
                        <a:pt x="6549" y="0"/>
                      </a:cubicBezTo>
                      <a:cubicBezTo>
                        <a:pt x="10184" y="0"/>
                        <a:pt x="13097" y="2939"/>
                        <a:pt x="13097" y="6549"/>
                      </a:cubicBezTo>
                      <a:lnTo>
                        <a:pt x="13097" y="87839"/>
                      </a:lnTo>
                      <a:cubicBezTo>
                        <a:pt x="13123" y="91449"/>
                        <a:pt x="10184" y="94388"/>
                        <a:pt x="6549" y="94388"/>
                      </a:cubicBezTo>
                      <a:close/>
                    </a:path>
                  </a:pathLst>
                </a:custGeom>
                <a:grpFill/>
                <a:ln w="2573" cap="flat">
                  <a:noFill/>
                  <a:prstDash val="solid"/>
                  <a:miter/>
                </a:ln>
              </p:spPr>
              <p:txBody>
                <a:bodyPr rtlCol="0" anchor="ctr"/>
                <a:lstStyle/>
                <a:p>
                  <a:endParaRPr lang="en-GB" dirty="0"/>
                </a:p>
              </p:txBody>
            </p:sp>
            <p:sp>
              <p:nvSpPr>
                <p:cNvPr id="355" name="Freihandform: Form 884">
                  <a:extLst>
                    <a:ext uri="{FF2B5EF4-FFF2-40B4-BE49-F238E27FC236}">
                      <a16:creationId xmlns:a16="http://schemas.microsoft.com/office/drawing/2014/main" id="{74D529D0-1DB0-474E-A9B8-94BF24C5DDC9}"/>
                    </a:ext>
                  </a:extLst>
                </p:cNvPr>
                <p:cNvSpPr/>
                <p:nvPr/>
              </p:nvSpPr>
              <p:spPr>
                <a:xfrm>
                  <a:off x="7308325" y="1775339"/>
                  <a:ext cx="134504" cy="335603"/>
                </a:xfrm>
                <a:custGeom>
                  <a:avLst/>
                  <a:gdLst>
                    <a:gd name="connsiteX0" fmla="*/ 66079 w 134504"/>
                    <a:gd name="connsiteY0" fmla="*/ 335604 h 335603"/>
                    <a:gd name="connsiteX1" fmla="*/ 59530 w 134504"/>
                    <a:gd name="connsiteY1" fmla="*/ 329055 h 335603"/>
                    <a:gd name="connsiteX2" fmla="*/ 59530 w 134504"/>
                    <a:gd name="connsiteY2" fmla="*/ 244052 h 335603"/>
                    <a:gd name="connsiteX3" fmla="*/ 59711 w 134504"/>
                    <a:gd name="connsiteY3" fmla="*/ 242479 h 335603"/>
                    <a:gd name="connsiteX4" fmla="*/ 60871 w 134504"/>
                    <a:gd name="connsiteY4" fmla="*/ 237864 h 335603"/>
                    <a:gd name="connsiteX5" fmla="*/ 67239 w 134504"/>
                    <a:gd name="connsiteY5" fmla="*/ 232889 h 335603"/>
                    <a:gd name="connsiteX6" fmla="*/ 121381 w 134504"/>
                    <a:gd name="connsiteY6" fmla="*/ 178411 h 335603"/>
                    <a:gd name="connsiteX7" fmla="*/ 121381 w 134504"/>
                    <a:gd name="connsiteY7" fmla="*/ 37693 h 335603"/>
                    <a:gd name="connsiteX8" fmla="*/ 100060 w 134504"/>
                    <a:gd name="connsiteY8" fmla="*/ 13123 h 335603"/>
                    <a:gd name="connsiteX9" fmla="*/ 78738 w 134504"/>
                    <a:gd name="connsiteY9" fmla="*/ 37693 h 335603"/>
                    <a:gd name="connsiteX10" fmla="*/ 78738 w 134504"/>
                    <a:gd name="connsiteY10" fmla="*/ 106428 h 335603"/>
                    <a:gd name="connsiteX11" fmla="*/ 76624 w 134504"/>
                    <a:gd name="connsiteY11" fmla="*/ 111249 h 335603"/>
                    <a:gd name="connsiteX12" fmla="*/ 71648 w 134504"/>
                    <a:gd name="connsiteY12" fmla="*/ 112951 h 335603"/>
                    <a:gd name="connsiteX13" fmla="*/ 67239 w 134504"/>
                    <a:gd name="connsiteY13" fmla="*/ 112719 h 335603"/>
                    <a:gd name="connsiteX14" fmla="*/ 13097 w 134504"/>
                    <a:gd name="connsiteY14" fmla="*/ 167196 h 335603"/>
                    <a:gd name="connsiteX15" fmla="*/ 6549 w 134504"/>
                    <a:gd name="connsiteY15" fmla="*/ 173745 h 335603"/>
                    <a:gd name="connsiteX16" fmla="*/ 0 w 134504"/>
                    <a:gd name="connsiteY16" fmla="*/ 167196 h 335603"/>
                    <a:gd name="connsiteX17" fmla="*/ 65667 w 134504"/>
                    <a:gd name="connsiteY17" fmla="*/ 99647 h 335603"/>
                    <a:gd name="connsiteX18" fmla="*/ 65667 w 134504"/>
                    <a:gd name="connsiteY18" fmla="*/ 37693 h 335603"/>
                    <a:gd name="connsiteX19" fmla="*/ 100085 w 134504"/>
                    <a:gd name="connsiteY19" fmla="*/ 0 h 335603"/>
                    <a:gd name="connsiteX20" fmla="*/ 134504 w 134504"/>
                    <a:gd name="connsiteY20" fmla="*/ 37693 h 335603"/>
                    <a:gd name="connsiteX21" fmla="*/ 134504 w 134504"/>
                    <a:gd name="connsiteY21" fmla="*/ 178411 h 335603"/>
                    <a:gd name="connsiteX22" fmla="*/ 72654 w 134504"/>
                    <a:gd name="connsiteY22" fmla="*/ 245779 h 335603"/>
                    <a:gd name="connsiteX23" fmla="*/ 72654 w 134504"/>
                    <a:gd name="connsiteY23" fmla="*/ 329055 h 335603"/>
                    <a:gd name="connsiteX24" fmla="*/ 66079 w 134504"/>
                    <a:gd name="connsiteY24" fmla="*/ 335604 h 33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504" h="335603">
                      <a:moveTo>
                        <a:pt x="66079" y="335604"/>
                      </a:moveTo>
                      <a:cubicBezTo>
                        <a:pt x="62470" y="335604"/>
                        <a:pt x="59530" y="332665"/>
                        <a:pt x="59530" y="329055"/>
                      </a:cubicBezTo>
                      <a:lnTo>
                        <a:pt x="59530" y="244052"/>
                      </a:lnTo>
                      <a:cubicBezTo>
                        <a:pt x="59530" y="243511"/>
                        <a:pt x="59582" y="242995"/>
                        <a:pt x="59711" y="242479"/>
                      </a:cubicBezTo>
                      <a:lnTo>
                        <a:pt x="60871" y="237864"/>
                      </a:lnTo>
                      <a:cubicBezTo>
                        <a:pt x="61593" y="234951"/>
                        <a:pt x="64223" y="232889"/>
                        <a:pt x="67239" y="232889"/>
                      </a:cubicBezTo>
                      <a:cubicBezTo>
                        <a:pt x="97095" y="232889"/>
                        <a:pt x="121381" y="208447"/>
                        <a:pt x="121381" y="178411"/>
                      </a:cubicBezTo>
                      <a:lnTo>
                        <a:pt x="121381" y="37693"/>
                      </a:lnTo>
                      <a:cubicBezTo>
                        <a:pt x="121381" y="24132"/>
                        <a:pt x="111816" y="13123"/>
                        <a:pt x="100060" y="13123"/>
                      </a:cubicBezTo>
                      <a:cubicBezTo>
                        <a:pt x="88303" y="13123"/>
                        <a:pt x="78738" y="24158"/>
                        <a:pt x="78738" y="37693"/>
                      </a:cubicBezTo>
                      <a:lnTo>
                        <a:pt x="78738" y="106428"/>
                      </a:lnTo>
                      <a:cubicBezTo>
                        <a:pt x="78738" y="108258"/>
                        <a:pt x="77965" y="110012"/>
                        <a:pt x="76624" y="111249"/>
                      </a:cubicBezTo>
                      <a:cubicBezTo>
                        <a:pt x="75283" y="112487"/>
                        <a:pt x="73530" y="113131"/>
                        <a:pt x="71648" y="112951"/>
                      </a:cubicBezTo>
                      <a:cubicBezTo>
                        <a:pt x="70204" y="112822"/>
                        <a:pt x="68735" y="112719"/>
                        <a:pt x="67239" y="112719"/>
                      </a:cubicBezTo>
                      <a:cubicBezTo>
                        <a:pt x="37384" y="112719"/>
                        <a:pt x="13097" y="137160"/>
                        <a:pt x="13097" y="167196"/>
                      </a:cubicBezTo>
                      <a:cubicBezTo>
                        <a:pt x="13097" y="170806"/>
                        <a:pt x="10158" y="173745"/>
                        <a:pt x="6549" y="173745"/>
                      </a:cubicBezTo>
                      <a:cubicBezTo>
                        <a:pt x="2913" y="173745"/>
                        <a:pt x="0" y="170806"/>
                        <a:pt x="0" y="167196"/>
                      </a:cubicBezTo>
                      <a:cubicBezTo>
                        <a:pt x="0" y="130483"/>
                        <a:pt x="29314" y="100498"/>
                        <a:pt x="65667" y="99647"/>
                      </a:cubicBezTo>
                      <a:lnTo>
                        <a:pt x="65667" y="37693"/>
                      </a:lnTo>
                      <a:cubicBezTo>
                        <a:pt x="65667" y="16913"/>
                        <a:pt x="81110" y="0"/>
                        <a:pt x="100085" y="0"/>
                      </a:cubicBezTo>
                      <a:cubicBezTo>
                        <a:pt x="119061" y="0"/>
                        <a:pt x="134504" y="16913"/>
                        <a:pt x="134504" y="37693"/>
                      </a:cubicBezTo>
                      <a:lnTo>
                        <a:pt x="134504" y="178411"/>
                      </a:lnTo>
                      <a:cubicBezTo>
                        <a:pt x="134504" y="213836"/>
                        <a:pt x="107227" y="242995"/>
                        <a:pt x="72654" y="245779"/>
                      </a:cubicBezTo>
                      <a:lnTo>
                        <a:pt x="72654" y="329055"/>
                      </a:lnTo>
                      <a:cubicBezTo>
                        <a:pt x="72628" y="332665"/>
                        <a:pt x="69714" y="335604"/>
                        <a:pt x="66079" y="335604"/>
                      </a:cubicBezTo>
                      <a:close/>
                    </a:path>
                  </a:pathLst>
                </a:custGeom>
                <a:grpFill/>
                <a:ln w="2573" cap="flat">
                  <a:noFill/>
                  <a:prstDash val="solid"/>
                  <a:miter/>
                </a:ln>
              </p:spPr>
              <p:txBody>
                <a:bodyPr rtlCol="0" anchor="ctr"/>
                <a:lstStyle/>
                <a:p>
                  <a:endParaRPr lang="en-GB" dirty="0"/>
                </a:p>
              </p:txBody>
            </p:sp>
          </p:grpSp>
        </p:grpSp>
        <p:grpSp>
          <p:nvGrpSpPr>
            <p:cNvPr id="339" name="Group 338">
              <a:extLst>
                <a:ext uri="{FF2B5EF4-FFF2-40B4-BE49-F238E27FC236}">
                  <a16:creationId xmlns:a16="http://schemas.microsoft.com/office/drawing/2014/main" id="{9A65025F-2F47-4130-AEF3-0EC8EFC635AD}"/>
                </a:ext>
              </a:extLst>
            </p:cNvPr>
            <p:cNvGrpSpPr/>
            <p:nvPr/>
          </p:nvGrpSpPr>
          <p:grpSpPr>
            <a:xfrm>
              <a:off x="3848602" y="4052029"/>
              <a:ext cx="218691" cy="230753"/>
              <a:chOff x="7082851" y="1697626"/>
              <a:chExt cx="236260" cy="249291"/>
            </a:xfrm>
          </p:grpSpPr>
          <p:sp>
            <p:nvSpPr>
              <p:cNvPr id="340" name="Freihandform: Form 886">
                <a:extLst>
                  <a:ext uri="{FF2B5EF4-FFF2-40B4-BE49-F238E27FC236}">
                    <a16:creationId xmlns:a16="http://schemas.microsoft.com/office/drawing/2014/main" id="{EEBF7AF2-08DD-49BA-A5D3-2282530542E5}"/>
                  </a:ext>
                </a:extLst>
              </p:cNvPr>
              <p:cNvSpPr/>
              <p:nvPr/>
            </p:nvSpPr>
            <p:spPr>
              <a:xfrm>
                <a:off x="7167349" y="1697626"/>
                <a:ext cx="67007" cy="134382"/>
              </a:xfrm>
              <a:custGeom>
                <a:avLst/>
                <a:gdLst>
                  <a:gd name="connsiteX0" fmla="*/ 33517 w 67007"/>
                  <a:gd name="connsiteY0" fmla="*/ 134382 h 134382"/>
                  <a:gd name="connsiteX1" fmla="*/ 29211 w 67007"/>
                  <a:gd name="connsiteY1" fmla="*/ 132784 h 134382"/>
                  <a:gd name="connsiteX2" fmla="*/ 0 w 67007"/>
                  <a:gd name="connsiteY2" fmla="*/ 67194 h 134382"/>
                  <a:gd name="connsiteX3" fmla="*/ 29211 w 67007"/>
                  <a:gd name="connsiteY3" fmla="*/ 1605 h 134382"/>
                  <a:gd name="connsiteX4" fmla="*/ 37796 w 67007"/>
                  <a:gd name="connsiteY4" fmla="*/ 1605 h 134382"/>
                  <a:gd name="connsiteX5" fmla="*/ 67007 w 67007"/>
                  <a:gd name="connsiteY5" fmla="*/ 67194 h 134382"/>
                  <a:gd name="connsiteX6" fmla="*/ 37796 w 67007"/>
                  <a:gd name="connsiteY6" fmla="*/ 132784 h 134382"/>
                  <a:gd name="connsiteX7" fmla="*/ 33517 w 67007"/>
                  <a:gd name="connsiteY7" fmla="*/ 134382 h 134382"/>
                  <a:gd name="connsiteX8" fmla="*/ 33517 w 67007"/>
                  <a:gd name="connsiteY8" fmla="*/ 15553 h 134382"/>
                  <a:gd name="connsiteX9" fmla="*/ 13123 w 67007"/>
                  <a:gd name="connsiteY9" fmla="*/ 67168 h 134382"/>
                  <a:gd name="connsiteX10" fmla="*/ 33517 w 67007"/>
                  <a:gd name="connsiteY10" fmla="*/ 118784 h 134382"/>
                  <a:gd name="connsiteX11" fmla="*/ 53910 w 67007"/>
                  <a:gd name="connsiteY11" fmla="*/ 67168 h 134382"/>
                  <a:gd name="connsiteX12" fmla="*/ 33517 w 67007"/>
                  <a:gd name="connsiteY12" fmla="*/ 15553 h 13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007" h="134382">
                    <a:moveTo>
                      <a:pt x="33517" y="134382"/>
                    </a:moveTo>
                    <a:cubicBezTo>
                      <a:pt x="31996" y="134382"/>
                      <a:pt x="30449" y="133841"/>
                      <a:pt x="29211" y="132784"/>
                    </a:cubicBezTo>
                    <a:cubicBezTo>
                      <a:pt x="10648" y="116670"/>
                      <a:pt x="0" y="92770"/>
                      <a:pt x="0" y="67194"/>
                    </a:cubicBezTo>
                    <a:cubicBezTo>
                      <a:pt x="0" y="41619"/>
                      <a:pt x="10648" y="17719"/>
                      <a:pt x="29211" y="1605"/>
                    </a:cubicBezTo>
                    <a:cubicBezTo>
                      <a:pt x="31660" y="-535"/>
                      <a:pt x="35347" y="-535"/>
                      <a:pt x="37796" y="1605"/>
                    </a:cubicBezTo>
                    <a:cubicBezTo>
                      <a:pt x="56360" y="17719"/>
                      <a:pt x="67007" y="41619"/>
                      <a:pt x="67007" y="67194"/>
                    </a:cubicBezTo>
                    <a:cubicBezTo>
                      <a:pt x="67007" y="92770"/>
                      <a:pt x="56360" y="116670"/>
                      <a:pt x="37796" y="132784"/>
                    </a:cubicBezTo>
                    <a:cubicBezTo>
                      <a:pt x="36585" y="133841"/>
                      <a:pt x="35038" y="134382"/>
                      <a:pt x="33517" y="134382"/>
                    </a:cubicBezTo>
                    <a:close/>
                    <a:moveTo>
                      <a:pt x="33517" y="15553"/>
                    </a:moveTo>
                    <a:cubicBezTo>
                      <a:pt x="20497" y="28985"/>
                      <a:pt x="13123" y="47471"/>
                      <a:pt x="13123" y="67168"/>
                    </a:cubicBezTo>
                    <a:cubicBezTo>
                      <a:pt x="13123" y="86866"/>
                      <a:pt x="20497" y="105352"/>
                      <a:pt x="33517" y="118784"/>
                    </a:cubicBezTo>
                    <a:cubicBezTo>
                      <a:pt x="46537" y="105352"/>
                      <a:pt x="53910" y="86866"/>
                      <a:pt x="53910" y="67168"/>
                    </a:cubicBezTo>
                    <a:cubicBezTo>
                      <a:pt x="53910" y="47497"/>
                      <a:pt x="46537" y="29011"/>
                      <a:pt x="33517" y="15553"/>
                    </a:cubicBezTo>
                    <a:close/>
                  </a:path>
                </a:pathLst>
              </a:custGeom>
              <a:solidFill>
                <a:schemeClr val="accent1"/>
              </a:solidFill>
              <a:ln w="2573" cap="flat">
                <a:noFill/>
                <a:prstDash val="solid"/>
                <a:miter/>
              </a:ln>
            </p:spPr>
            <p:txBody>
              <a:bodyPr rtlCol="0" anchor="ctr"/>
              <a:lstStyle/>
              <a:p>
                <a:endParaRPr lang="en-GB" dirty="0"/>
              </a:p>
            </p:txBody>
          </p:sp>
          <p:sp>
            <p:nvSpPr>
              <p:cNvPr id="341" name="Freihandform: Form 887">
                <a:extLst>
                  <a:ext uri="{FF2B5EF4-FFF2-40B4-BE49-F238E27FC236}">
                    <a16:creationId xmlns:a16="http://schemas.microsoft.com/office/drawing/2014/main" id="{A5C713C2-80AE-4A4A-9CBD-A4D49A829F30}"/>
                  </a:ext>
                </a:extLst>
              </p:cNvPr>
              <p:cNvSpPr/>
              <p:nvPr/>
            </p:nvSpPr>
            <p:spPr>
              <a:xfrm>
                <a:off x="7194317" y="1765000"/>
                <a:ext cx="13097" cy="181917"/>
              </a:xfrm>
              <a:custGeom>
                <a:avLst/>
                <a:gdLst>
                  <a:gd name="connsiteX0" fmla="*/ 6549 w 13097"/>
                  <a:gd name="connsiteY0" fmla="*/ 181918 h 181917"/>
                  <a:gd name="connsiteX1" fmla="*/ 0 w 13097"/>
                  <a:gd name="connsiteY1" fmla="*/ 175369 h 181917"/>
                  <a:gd name="connsiteX2" fmla="*/ 0 w 13097"/>
                  <a:gd name="connsiteY2" fmla="*/ 6549 h 181917"/>
                  <a:gd name="connsiteX3" fmla="*/ 6549 w 13097"/>
                  <a:gd name="connsiteY3" fmla="*/ 0 h 181917"/>
                  <a:gd name="connsiteX4" fmla="*/ 13097 w 13097"/>
                  <a:gd name="connsiteY4" fmla="*/ 6549 h 181917"/>
                  <a:gd name="connsiteX5" fmla="*/ 13097 w 13097"/>
                  <a:gd name="connsiteY5" fmla="*/ 175369 h 181917"/>
                  <a:gd name="connsiteX6" fmla="*/ 6549 w 13097"/>
                  <a:gd name="connsiteY6" fmla="*/ 181918 h 18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181917">
                    <a:moveTo>
                      <a:pt x="6549" y="181918"/>
                    </a:moveTo>
                    <a:cubicBezTo>
                      <a:pt x="2913" y="181918"/>
                      <a:pt x="0" y="178978"/>
                      <a:pt x="0" y="175369"/>
                    </a:cubicBezTo>
                    <a:lnTo>
                      <a:pt x="0" y="6549"/>
                    </a:lnTo>
                    <a:cubicBezTo>
                      <a:pt x="0" y="2939"/>
                      <a:pt x="2939" y="0"/>
                      <a:pt x="6549" y="0"/>
                    </a:cubicBezTo>
                    <a:cubicBezTo>
                      <a:pt x="10184" y="0"/>
                      <a:pt x="13097" y="2939"/>
                      <a:pt x="13097" y="6549"/>
                    </a:cubicBezTo>
                    <a:lnTo>
                      <a:pt x="13097" y="175369"/>
                    </a:lnTo>
                    <a:cubicBezTo>
                      <a:pt x="13097" y="178978"/>
                      <a:pt x="10158" y="181918"/>
                      <a:pt x="6549" y="181918"/>
                    </a:cubicBezTo>
                    <a:close/>
                  </a:path>
                </a:pathLst>
              </a:custGeom>
              <a:solidFill>
                <a:schemeClr val="accent1"/>
              </a:solidFill>
              <a:ln w="2573" cap="flat">
                <a:noFill/>
                <a:prstDash val="solid"/>
                <a:miter/>
              </a:ln>
            </p:spPr>
            <p:txBody>
              <a:bodyPr rtlCol="0" anchor="ctr"/>
              <a:lstStyle/>
              <a:p>
                <a:endParaRPr lang="en-GB" dirty="0"/>
              </a:p>
            </p:txBody>
          </p:sp>
          <p:grpSp>
            <p:nvGrpSpPr>
              <p:cNvPr id="342" name="Grafik 235">
                <a:extLst>
                  <a:ext uri="{FF2B5EF4-FFF2-40B4-BE49-F238E27FC236}">
                    <a16:creationId xmlns:a16="http://schemas.microsoft.com/office/drawing/2014/main" id="{ACABB3D6-EBC8-466D-9B6D-269074D9EB79}"/>
                  </a:ext>
                </a:extLst>
              </p:cNvPr>
              <p:cNvGrpSpPr/>
              <p:nvPr/>
            </p:nvGrpSpPr>
            <p:grpSpPr>
              <a:xfrm>
                <a:off x="7082851" y="1796896"/>
                <a:ext cx="125085" cy="130608"/>
                <a:chOff x="7082851" y="1796896"/>
                <a:chExt cx="125085" cy="130608"/>
              </a:xfrm>
              <a:solidFill>
                <a:schemeClr val="accent1"/>
              </a:solidFill>
            </p:grpSpPr>
            <p:sp>
              <p:nvSpPr>
                <p:cNvPr id="346" name="Freihandform: Form 889">
                  <a:extLst>
                    <a:ext uri="{FF2B5EF4-FFF2-40B4-BE49-F238E27FC236}">
                      <a16:creationId xmlns:a16="http://schemas.microsoft.com/office/drawing/2014/main" id="{7DA4B313-B2E4-4F3C-A77F-0E9F48B71148}"/>
                    </a:ext>
                  </a:extLst>
                </p:cNvPr>
                <p:cNvSpPr/>
                <p:nvPr/>
              </p:nvSpPr>
              <p:spPr>
                <a:xfrm>
                  <a:off x="7082851" y="1796896"/>
                  <a:ext cx="98481" cy="100004"/>
                </a:xfrm>
                <a:custGeom>
                  <a:avLst/>
                  <a:gdLst>
                    <a:gd name="connsiteX0" fmla="*/ 87127 w 98481"/>
                    <a:gd name="connsiteY0" fmla="*/ 100005 h 100004"/>
                    <a:gd name="connsiteX1" fmla="*/ 25302 w 98481"/>
                    <a:gd name="connsiteY1" fmla="*/ 73449 h 100004"/>
                    <a:gd name="connsiteX2" fmla="*/ 268 w 98481"/>
                    <a:gd name="connsiteY2" fmla="*/ 6159 h 100004"/>
                    <a:gd name="connsiteX3" fmla="*/ 6404 w 98481"/>
                    <a:gd name="connsiteY3" fmla="*/ 151 h 100004"/>
                    <a:gd name="connsiteX4" fmla="*/ 73179 w 98481"/>
                    <a:gd name="connsiteY4" fmla="*/ 26552 h 100004"/>
                    <a:gd name="connsiteX5" fmla="*/ 98213 w 98481"/>
                    <a:gd name="connsiteY5" fmla="*/ 93843 h 100004"/>
                    <a:gd name="connsiteX6" fmla="*/ 92077 w 98481"/>
                    <a:gd name="connsiteY6" fmla="*/ 99850 h 100004"/>
                    <a:gd name="connsiteX7" fmla="*/ 87127 w 98481"/>
                    <a:gd name="connsiteY7" fmla="*/ 100005 h 100004"/>
                    <a:gd name="connsiteX8" fmla="*/ 13107 w 98481"/>
                    <a:gd name="connsiteY8" fmla="*/ 13120 h 100004"/>
                    <a:gd name="connsiteX9" fmla="*/ 34661 w 98481"/>
                    <a:gd name="connsiteY9" fmla="*/ 64271 h 100004"/>
                    <a:gd name="connsiteX10" fmla="*/ 34661 w 98481"/>
                    <a:gd name="connsiteY10" fmla="*/ 64271 h 100004"/>
                    <a:gd name="connsiteX11" fmla="*/ 85348 w 98481"/>
                    <a:gd name="connsiteY11" fmla="*/ 86882 h 100004"/>
                    <a:gd name="connsiteX12" fmla="*/ 63795 w 98481"/>
                    <a:gd name="connsiteY12" fmla="*/ 35730 h 100004"/>
                    <a:gd name="connsiteX13" fmla="*/ 13107 w 98481"/>
                    <a:gd name="connsiteY13" fmla="*/ 13120 h 10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481" h="100004">
                      <a:moveTo>
                        <a:pt x="87127" y="100005"/>
                      </a:moveTo>
                      <a:cubicBezTo>
                        <a:pt x="64284" y="100005"/>
                        <a:pt x="41983" y="90491"/>
                        <a:pt x="25302" y="73449"/>
                      </a:cubicBezTo>
                      <a:cubicBezTo>
                        <a:pt x="7409" y="55170"/>
                        <a:pt x="-1718" y="30651"/>
                        <a:pt x="268" y="6159"/>
                      </a:cubicBezTo>
                      <a:cubicBezTo>
                        <a:pt x="526" y="2910"/>
                        <a:pt x="3155" y="332"/>
                        <a:pt x="6404" y="151"/>
                      </a:cubicBezTo>
                      <a:cubicBezTo>
                        <a:pt x="30845" y="-1344"/>
                        <a:pt x="55287" y="8298"/>
                        <a:pt x="73179" y="26552"/>
                      </a:cubicBezTo>
                      <a:cubicBezTo>
                        <a:pt x="91072" y="44806"/>
                        <a:pt x="100199" y="69350"/>
                        <a:pt x="98213" y="93843"/>
                      </a:cubicBezTo>
                      <a:cubicBezTo>
                        <a:pt x="97956" y="97092"/>
                        <a:pt x="95326" y="99670"/>
                        <a:pt x="92077" y="99850"/>
                      </a:cubicBezTo>
                      <a:cubicBezTo>
                        <a:pt x="90427" y="99953"/>
                        <a:pt x="88777" y="100005"/>
                        <a:pt x="87127" y="100005"/>
                      </a:cubicBezTo>
                      <a:close/>
                      <a:moveTo>
                        <a:pt x="13107" y="13120"/>
                      </a:moveTo>
                      <a:cubicBezTo>
                        <a:pt x="13210" y="31837"/>
                        <a:pt x="20867" y="50194"/>
                        <a:pt x="34661" y="64271"/>
                      </a:cubicBezTo>
                      <a:cubicBezTo>
                        <a:pt x="34661" y="64271"/>
                        <a:pt x="34661" y="64271"/>
                        <a:pt x="34661" y="64271"/>
                      </a:cubicBezTo>
                      <a:cubicBezTo>
                        <a:pt x="48428" y="78348"/>
                        <a:pt x="66656" y="86392"/>
                        <a:pt x="85348" y="86882"/>
                      </a:cubicBezTo>
                      <a:cubicBezTo>
                        <a:pt x="85271" y="68164"/>
                        <a:pt x="77588" y="49807"/>
                        <a:pt x="63795" y="35730"/>
                      </a:cubicBezTo>
                      <a:cubicBezTo>
                        <a:pt x="50027" y="21653"/>
                        <a:pt x="31825" y="13584"/>
                        <a:pt x="13107" y="13120"/>
                      </a:cubicBezTo>
                      <a:close/>
                    </a:path>
                  </a:pathLst>
                </a:custGeom>
                <a:solidFill>
                  <a:schemeClr val="accent1"/>
                </a:solidFill>
                <a:ln w="2573" cap="flat">
                  <a:noFill/>
                  <a:prstDash val="solid"/>
                  <a:miter/>
                </a:ln>
              </p:spPr>
              <p:txBody>
                <a:bodyPr rtlCol="0" anchor="ctr"/>
                <a:lstStyle/>
                <a:p>
                  <a:endParaRPr lang="en-GB" dirty="0"/>
                </a:p>
              </p:txBody>
            </p:sp>
            <p:sp>
              <p:nvSpPr>
                <p:cNvPr id="347" name="Freihandform: Form 890">
                  <a:extLst>
                    <a:ext uri="{FF2B5EF4-FFF2-40B4-BE49-F238E27FC236}">
                      <a16:creationId xmlns:a16="http://schemas.microsoft.com/office/drawing/2014/main" id="{31A8C45A-4071-4E39-8A7D-8109528B07B0}"/>
                    </a:ext>
                  </a:extLst>
                </p:cNvPr>
                <p:cNvSpPr/>
                <p:nvPr/>
              </p:nvSpPr>
              <p:spPr>
                <a:xfrm>
                  <a:off x="7130241" y="1845149"/>
                  <a:ext cx="77696" cy="82355"/>
                </a:xfrm>
                <a:custGeom>
                  <a:avLst/>
                  <a:gdLst>
                    <a:gd name="connsiteX0" fmla="*/ 71140 w 77696"/>
                    <a:gd name="connsiteY0" fmla="*/ 82355 h 82355"/>
                    <a:gd name="connsiteX1" fmla="*/ 66345 w 77696"/>
                    <a:gd name="connsiteY1" fmla="*/ 80267 h 82355"/>
                    <a:gd name="connsiteX2" fmla="*/ 1761 w 77696"/>
                    <a:gd name="connsiteY2" fmla="*/ 11017 h 82355"/>
                    <a:gd name="connsiteX3" fmla="*/ 2096 w 77696"/>
                    <a:gd name="connsiteY3" fmla="*/ 1761 h 82355"/>
                    <a:gd name="connsiteX4" fmla="*/ 11352 w 77696"/>
                    <a:gd name="connsiteY4" fmla="*/ 2096 h 82355"/>
                    <a:gd name="connsiteX5" fmla="*/ 75935 w 77696"/>
                    <a:gd name="connsiteY5" fmla="*/ 71346 h 82355"/>
                    <a:gd name="connsiteX6" fmla="*/ 75600 w 77696"/>
                    <a:gd name="connsiteY6" fmla="*/ 80602 h 82355"/>
                    <a:gd name="connsiteX7" fmla="*/ 71140 w 77696"/>
                    <a:gd name="connsiteY7" fmla="*/ 82355 h 8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96" h="82355">
                      <a:moveTo>
                        <a:pt x="71140" y="82355"/>
                      </a:moveTo>
                      <a:cubicBezTo>
                        <a:pt x="69387" y="82355"/>
                        <a:pt x="67634" y="81659"/>
                        <a:pt x="66345" y="80267"/>
                      </a:cubicBezTo>
                      <a:lnTo>
                        <a:pt x="1761" y="11017"/>
                      </a:lnTo>
                      <a:cubicBezTo>
                        <a:pt x="-714" y="8361"/>
                        <a:pt x="-560" y="4210"/>
                        <a:pt x="2096" y="1761"/>
                      </a:cubicBezTo>
                      <a:cubicBezTo>
                        <a:pt x="4751" y="-714"/>
                        <a:pt x="8877" y="-560"/>
                        <a:pt x="11352" y="2096"/>
                      </a:cubicBezTo>
                      <a:lnTo>
                        <a:pt x="75935" y="71346"/>
                      </a:lnTo>
                      <a:cubicBezTo>
                        <a:pt x="78411" y="74002"/>
                        <a:pt x="78256" y="78153"/>
                        <a:pt x="75600" y="80602"/>
                      </a:cubicBezTo>
                      <a:cubicBezTo>
                        <a:pt x="74337" y="81762"/>
                        <a:pt x="72739" y="82355"/>
                        <a:pt x="71140" y="82355"/>
                      </a:cubicBezTo>
                      <a:close/>
                    </a:path>
                  </a:pathLst>
                </a:custGeom>
                <a:solidFill>
                  <a:schemeClr val="accent1"/>
                </a:solidFill>
                <a:ln w="2573" cap="flat">
                  <a:noFill/>
                  <a:prstDash val="solid"/>
                  <a:miter/>
                </a:ln>
              </p:spPr>
              <p:txBody>
                <a:bodyPr rtlCol="0" anchor="ctr"/>
                <a:lstStyle/>
                <a:p>
                  <a:endParaRPr lang="en-GB" dirty="0"/>
                </a:p>
              </p:txBody>
            </p:sp>
          </p:grpSp>
          <p:grpSp>
            <p:nvGrpSpPr>
              <p:cNvPr id="343" name="Grafik 235">
                <a:extLst>
                  <a:ext uri="{FF2B5EF4-FFF2-40B4-BE49-F238E27FC236}">
                    <a16:creationId xmlns:a16="http://schemas.microsoft.com/office/drawing/2014/main" id="{E6477832-9C3D-40F8-8385-F8BB25429D1D}"/>
                  </a:ext>
                </a:extLst>
              </p:cNvPr>
              <p:cNvGrpSpPr/>
              <p:nvPr/>
            </p:nvGrpSpPr>
            <p:grpSpPr>
              <a:xfrm>
                <a:off x="7194036" y="1796896"/>
                <a:ext cx="125075" cy="130608"/>
                <a:chOff x="7194036" y="1796896"/>
                <a:chExt cx="125075" cy="130608"/>
              </a:xfrm>
              <a:solidFill>
                <a:schemeClr val="accent1"/>
              </a:solidFill>
            </p:grpSpPr>
            <p:sp>
              <p:nvSpPr>
                <p:cNvPr id="344" name="Freihandform: Form 892">
                  <a:extLst>
                    <a:ext uri="{FF2B5EF4-FFF2-40B4-BE49-F238E27FC236}">
                      <a16:creationId xmlns:a16="http://schemas.microsoft.com/office/drawing/2014/main" id="{9C5156E5-DBE4-4ED6-A4F2-8B2922D28FF5}"/>
                    </a:ext>
                  </a:extLst>
                </p:cNvPr>
                <p:cNvSpPr/>
                <p:nvPr/>
              </p:nvSpPr>
              <p:spPr>
                <a:xfrm>
                  <a:off x="7220630" y="1796896"/>
                  <a:ext cx="98481" cy="100005"/>
                </a:xfrm>
                <a:custGeom>
                  <a:avLst/>
                  <a:gdLst>
                    <a:gd name="connsiteX0" fmla="*/ 11354 w 98481"/>
                    <a:gd name="connsiteY0" fmla="*/ 100005 h 100005"/>
                    <a:gd name="connsiteX1" fmla="*/ 6404 w 98481"/>
                    <a:gd name="connsiteY1" fmla="*/ 99851 h 100005"/>
                    <a:gd name="connsiteX2" fmla="*/ 268 w 98481"/>
                    <a:gd name="connsiteY2" fmla="*/ 93843 h 100005"/>
                    <a:gd name="connsiteX3" fmla="*/ 25302 w 98481"/>
                    <a:gd name="connsiteY3" fmla="*/ 26552 h 100005"/>
                    <a:gd name="connsiteX4" fmla="*/ 92077 w 98481"/>
                    <a:gd name="connsiteY4" fmla="*/ 152 h 100005"/>
                    <a:gd name="connsiteX5" fmla="*/ 98213 w 98481"/>
                    <a:gd name="connsiteY5" fmla="*/ 6159 h 100005"/>
                    <a:gd name="connsiteX6" fmla="*/ 73179 w 98481"/>
                    <a:gd name="connsiteY6" fmla="*/ 73450 h 100005"/>
                    <a:gd name="connsiteX7" fmla="*/ 73179 w 98481"/>
                    <a:gd name="connsiteY7" fmla="*/ 73450 h 100005"/>
                    <a:gd name="connsiteX8" fmla="*/ 11354 w 98481"/>
                    <a:gd name="connsiteY8" fmla="*/ 100005 h 100005"/>
                    <a:gd name="connsiteX9" fmla="*/ 85374 w 98481"/>
                    <a:gd name="connsiteY9" fmla="*/ 13120 h 100005"/>
                    <a:gd name="connsiteX10" fmla="*/ 34687 w 98481"/>
                    <a:gd name="connsiteY10" fmla="*/ 35731 h 100005"/>
                    <a:gd name="connsiteX11" fmla="*/ 13133 w 98481"/>
                    <a:gd name="connsiteY11" fmla="*/ 86882 h 100005"/>
                    <a:gd name="connsiteX12" fmla="*/ 63820 w 98481"/>
                    <a:gd name="connsiteY12" fmla="*/ 64271 h 100005"/>
                    <a:gd name="connsiteX13" fmla="*/ 63820 w 98481"/>
                    <a:gd name="connsiteY13" fmla="*/ 64271 h 100005"/>
                    <a:gd name="connsiteX14" fmla="*/ 85374 w 98481"/>
                    <a:gd name="connsiteY14" fmla="*/ 13120 h 100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8481" h="100005">
                      <a:moveTo>
                        <a:pt x="11354" y="100005"/>
                      </a:moveTo>
                      <a:cubicBezTo>
                        <a:pt x="9704" y="100005"/>
                        <a:pt x="8054" y="99954"/>
                        <a:pt x="6404" y="99851"/>
                      </a:cubicBezTo>
                      <a:cubicBezTo>
                        <a:pt x="3155" y="99644"/>
                        <a:pt x="525" y="97092"/>
                        <a:pt x="268" y="93843"/>
                      </a:cubicBezTo>
                      <a:cubicBezTo>
                        <a:pt x="-1718" y="69350"/>
                        <a:pt x="7409" y="44806"/>
                        <a:pt x="25302" y="26552"/>
                      </a:cubicBezTo>
                      <a:cubicBezTo>
                        <a:pt x="43195" y="8273"/>
                        <a:pt x="67481" y="-1344"/>
                        <a:pt x="92077" y="152"/>
                      </a:cubicBezTo>
                      <a:cubicBezTo>
                        <a:pt x="95326" y="358"/>
                        <a:pt x="97956" y="2910"/>
                        <a:pt x="98213" y="6159"/>
                      </a:cubicBezTo>
                      <a:cubicBezTo>
                        <a:pt x="100199" y="30652"/>
                        <a:pt x="91072" y="55196"/>
                        <a:pt x="73179" y="73450"/>
                      </a:cubicBezTo>
                      <a:lnTo>
                        <a:pt x="73179" y="73450"/>
                      </a:lnTo>
                      <a:cubicBezTo>
                        <a:pt x="56498" y="90466"/>
                        <a:pt x="34197" y="100005"/>
                        <a:pt x="11354" y="100005"/>
                      </a:cubicBezTo>
                      <a:close/>
                      <a:moveTo>
                        <a:pt x="85374" y="13120"/>
                      </a:moveTo>
                      <a:cubicBezTo>
                        <a:pt x="66656" y="13584"/>
                        <a:pt x="48454" y="21654"/>
                        <a:pt x="34687" y="35731"/>
                      </a:cubicBezTo>
                      <a:cubicBezTo>
                        <a:pt x="20893" y="49808"/>
                        <a:pt x="13210" y="68165"/>
                        <a:pt x="13133" y="86882"/>
                      </a:cubicBezTo>
                      <a:cubicBezTo>
                        <a:pt x="31851" y="86392"/>
                        <a:pt x="50053" y="78348"/>
                        <a:pt x="63820" y="64271"/>
                      </a:cubicBezTo>
                      <a:cubicBezTo>
                        <a:pt x="63820" y="64271"/>
                        <a:pt x="63820" y="64271"/>
                        <a:pt x="63820" y="64271"/>
                      </a:cubicBezTo>
                      <a:cubicBezTo>
                        <a:pt x="77588" y="50194"/>
                        <a:pt x="85271" y="31812"/>
                        <a:pt x="85374" y="13120"/>
                      </a:cubicBezTo>
                      <a:close/>
                    </a:path>
                  </a:pathLst>
                </a:custGeom>
                <a:solidFill>
                  <a:schemeClr val="accent1"/>
                </a:solidFill>
                <a:ln w="2573" cap="flat">
                  <a:noFill/>
                  <a:prstDash val="solid"/>
                  <a:miter/>
                </a:ln>
              </p:spPr>
              <p:txBody>
                <a:bodyPr rtlCol="0" anchor="ctr"/>
                <a:lstStyle/>
                <a:p>
                  <a:endParaRPr lang="en-GB" dirty="0"/>
                </a:p>
              </p:txBody>
            </p:sp>
            <p:sp>
              <p:nvSpPr>
                <p:cNvPr id="345" name="Freihandform: Form 893">
                  <a:extLst>
                    <a:ext uri="{FF2B5EF4-FFF2-40B4-BE49-F238E27FC236}">
                      <a16:creationId xmlns:a16="http://schemas.microsoft.com/office/drawing/2014/main" id="{22A8976C-E2FD-4211-800F-FC9184B7314D}"/>
                    </a:ext>
                  </a:extLst>
                </p:cNvPr>
                <p:cNvSpPr/>
                <p:nvPr/>
              </p:nvSpPr>
              <p:spPr>
                <a:xfrm>
                  <a:off x="7194036" y="1845159"/>
                  <a:ext cx="77660" cy="82345"/>
                </a:xfrm>
                <a:custGeom>
                  <a:avLst/>
                  <a:gdLst>
                    <a:gd name="connsiteX0" fmla="*/ 6546 w 77660"/>
                    <a:gd name="connsiteY0" fmla="*/ 82345 h 82345"/>
                    <a:gd name="connsiteX1" fmla="*/ 2086 w 77660"/>
                    <a:gd name="connsiteY1" fmla="*/ 80592 h 82345"/>
                    <a:gd name="connsiteX2" fmla="*/ 1751 w 77660"/>
                    <a:gd name="connsiteY2" fmla="*/ 71336 h 82345"/>
                    <a:gd name="connsiteX3" fmla="*/ 66309 w 77660"/>
                    <a:gd name="connsiteY3" fmla="*/ 2086 h 82345"/>
                    <a:gd name="connsiteX4" fmla="*/ 75565 w 77660"/>
                    <a:gd name="connsiteY4" fmla="*/ 1751 h 82345"/>
                    <a:gd name="connsiteX5" fmla="*/ 75900 w 77660"/>
                    <a:gd name="connsiteY5" fmla="*/ 11006 h 82345"/>
                    <a:gd name="connsiteX6" fmla="*/ 11342 w 77660"/>
                    <a:gd name="connsiteY6" fmla="*/ 80257 h 82345"/>
                    <a:gd name="connsiteX7" fmla="*/ 6546 w 77660"/>
                    <a:gd name="connsiteY7" fmla="*/ 82345 h 82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660" h="82345">
                      <a:moveTo>
                        <a:pt x="6546" y="82345"/>
                      </a:moveTo>
                      <a:cubicBezTo>
                        <a:pt x="4948" y="82345"/>
                        <a:pt x="3349" y="81752"/>
                        <a:pt x="2086" y="80592"/>
                      </a:cubicBezTo>
                      <a:cubicBezTo>
                        <a:pt x="-570" y="78117"/>
                        <a:pt x="-699" y="73966"/>
                        <a:pt x="1751" y="71336"/>
                      </a:cubicBezTo>
                      <a:lnTo>
                        <a:pt x="66309" y="2086"/>
                      </a:lnTo>
                      <a:cubicBezTo>
                        <a:pt x="68784" y="-570"/>
                        <a:pt x="72935" y="-699"/>
                        <a:pt x="75565" y="1751"/>
                      </a:cubicBezTo>
                      <a:cubicBezTo>
                        <a:pt x="78220" y="4226"/>
                        <a:pt x="78375" y="8377"/>
                        <a:pt x="75900" y="11006"/>
                      </a:cubicBezTo>
                      <a:lnTo>
                        <a:pt x="11342" y="80257"/>
                      </a:lnTo>
                      <a:cubicBezTo>
                        <a:pt x="10052" y="81649"/>
                        <a:pt x="8299" y="82345"/>
                        <a:pt x="6546" y="82345"/>
                      </a:cubicBezTo>
                      <a:close/>
                    </a:path>
                  </a:pathLst>
                </a:custGeom>
                <a:solidFill>
                  <a:schemeClr val="accent1"/>
                </a:solidFill>
                <a:ln w="2573" cap="flat">
                  <a:noFill/>
                  <a:prstDash val="solid"/>
                  <a:miter/>
                </a:ln>
              </p:spPr>
              <p:txBody>
                <a:bodyPr rtlCol="0" anchor="ctr"/>
                <a:lstStyle/>
                <a:p>
                  <a:endParaRPr lang="en-GB" dirty="0"/>
                </a:p>
              </p:txBody>
            </p:sp>
          </p:grpSp>
        </p:grpSp>
      </p:grpSp>
      <p:grpSp>
        <p:nvGrpSpPr>
          <p:cNvPr id="693" name="Group 692">
            <a:extLst>
              <a:ext uri="{FF2B5EF4-FFF2-40B4-BE49-F238E27FC236}">
                <a16:creationId xmlns:a16="http://schemas.microsoft.com/office/drawing/2014/main" id="{31CCAC54-F383-498F-9DB4-1D4D9D0D40ED}"/>
              </a:ext>
            </a:extLst>
          </p:cNvPr>
          <p:cNvGrpSpPr/>
          <p:nvPr/>
        </p:nvGrpSpPr>
        <p:grpSpPr>
          <a:xfrm>
            <a:off x="2668929" y="4002611"/>
            <a:ext cx="431978" cy="432000"/>
            <a:chOff x="2668929" y="4002611"/>
            <a:chExt cx="431978" cy="432000"/>
          </a:xfrm>
        </p:grpSpPr>
        <p:grpSp>
          <p:nvGrpSpPr>
            <p:cNvPr id="363" name="Group 362">
              <a:extLst>
                <a:ext uri="{FF2B5EF4-FFF2-40B4-BE49-F238E27FC236}">
                  <a16:creationId xmlns:a16="http://schemas.microsoft.com/office/drawing/2014/main" id="{AB084931-AF35-4B8D-9EBA-B878097631F5}"/>
                </a:ext>
              </a:extLst>
            </p:cNvPr>
            <p:cNvGrpSpPr/>
            <p:nvPr/>
          </p:nvGrpSpPr>
          <p:grpSpPr>
            <a:xfrm>
              <a:off x="2668929" y="4002611"/>
              <a:ext cx="321062" cy="432000"/>
              <a:chOff x="6126556" y="1626758"/>
              <a:chExt cx="360439" cy="484984"/>
            </a:xfrm>
          </p:grpSpPr>
          <p:sp>
            <p:nvSpPr>
              <p:cNvPr id="370" name="Freihandform: Form 843">
                <a:extLst>
                  <a:ext uri="{FF2B5EF4-FFF2-40B4-BE49-F238E27FC236}">
                    <a16:creationId xmlns:a16="http://schemas.microsoft.com/office/drawing/2014/main" id="{BB6E9254-AE0C-46DB-87BC-C95A7F16B620}"/>
                  </a:ext>
                </a:extLst>
              </p:cNvPr>
              <p:cNvSpPr/>
              <p:nvPr/>
            </p:nvSpPr>
            <p:spPr>
              <a:xfrm>
                <a:off x="6280236" y="1947073"/>
                <a:ext cx="206759" cy="105731"/>
              </a:xfrm>
              <a:custGeom>
                <a:avLst/>
                <a:gdLst>
                  <a:gd name="connsiteX0" fmla="*/ 200230 w 206759"/>
                  <a:gd name="connsiteY0" fmla="*/ 105732 h 105731"/>
                  <a:gd name="connsiteX1" fmla="*/ 6555 w 206759"/>
                  <a:gd name="connsiteY1" fmla="*/ 105732 h 105731"/>
                  <a:gd name="connsiteX2" fmla="*/ 1425 w 206759"/>
                  <a:gd name="connsiteY2" fmla="*/ 103257 h 105731"/>
                  <a:gd name="connsiteX3" fmla="*/ 162 w 206759"/>
                  <a:gd name="connsiteY3" fmla="*/ 97714 h 105731"/>
                  <a:gd name="connsiteX4" fmla="*/ 21200 w 206759"/>
                  <a:gd name="connsiteY4" fmla="*/ 5105 h 105731"/>
                  <a:gd name="connsiteX5" fmla="*/ 27594 w 206759"/>
                  <a:gd name="connsiteY5" fmla="*/ 0 h 105731"/>
                  <a:gd name="connsiteX6" fmla="*/ 179166 w 206759"/>
                  <a:gd name="connsiteY6" fmla="*/ 0 h 105731"/>
                  <a:gd name="connsiteX7" fmla="*/ 185560 w 206759"/>
                  <a:gd name="connsiteY7" fmla="*/ 5105 h 105731"/>
                  <a:gd name="connsiteX8" fmla="*/ 206598 w 206759"/>
                  <a:gd name="connsiteY8" fmla="*/ 97714 h 105731"/>
                  <a:gd name="connsiteX9" fmla="*/ 205335 w 206759"/>
                  <a:gd name="connsiteY9" fmla="*/ 103257 h 105731"/>
                  <a:gd name="connsiteX10" fmla="*/ 200230 w 206759"/>
                  <a:gd name="connsiteY10" fmla="*/ 105732 h 105731"/>
                  <a:gd name="connsiteX11" fmla="*/ 14780 w 206759"/>
                  <a:gd name="connsiteY11" fmla="*/ 92635 h 105731"/>
                  <a:gd name="connsiteX12" fmla="*/ 192031 w 206759"/>
                  <a:gd name="connsiteY12" fmla="*/ 92635 h 105731"/>
                  <a:gd name="connsiteX13" fmla="*/ 173958 w 206759"/>
                  <a:gd name="connsiteY13" fmla="*/ 13123 h 105731"/>
                  <a:gd name="connsiteX14" fmla="*/ 32853 w 206759"/>
                  <a:gd name="connsiteY14" fmla="*/ 13123 h 105731"/>
                  <a:gd name="connsiteX15" fmla="*/ 14780 w 206759"/>
                  <a:gd name="connsiteY15" fmla="*/ 92635 h 10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759" h="105731">
                    <a:moveTo>
                      <a:pt x="200230" y="105732"/>
                    </a:moveTo>
                    <a:lnTo>
                      <a:pt x="6555" y="105732"/>
                    </a:lnTo>
                    <a:cubicBezTo>
                      <a:pt x="4570" y="105732"/>
                      <a:pt x="2688" y="104829"/>
                      <a:pt x="1425" y="103257"/>
                    </a:cubicBezTo>
                    <a:cubicBezTo>
                      <a:pt x="187" y="101710"/>
                      <a:pt x="-277" y="99647"/>
                      <a:pt x="162" y="97714"/>
                    </a:cubicBezTo>
                    <a:lnTo>
                      <a:pt x="21200" y="5105"/>
                    </a:lnTo>
                    <a:cubicBezTo>
                      <a:pt x="21870" y="2114"/>
                      <a:pt x="24526" y="0"/>
                      <a:pt x="27594" y="0"/>
                    </a:cubicBezTo>
                    <a:lnTo>
                      <a:pt x="179166" y="0"/>
                    </a:lnTo>
                    <a:cubicBezTo>
                      <a:pt x="182234" y="0"/>
                      <a:pt x="184889" y="2114"/>
                      <a:pt x="185560" y="5105"/>
                    </a:cubicBezTo>
                    <a:lnTo>
                      <a:pt x="206598" y="97714"/>
                    </a:lnTo>
                    <a:cubicBezTo>
                      <a:pt x="207036" y="99647"/>
                      <a:pt x="206572" y="101710"/>
                      <a:pt x="205335" y="103257"/>
                    </a:cubicBezTo>
                    <a:cubicBezTo>
                      <a:pt x="204123" y="104829"/>
                      <a:pt x="202241" y="105732"/>
                      <a:pt x="200230" y="105732"/>
                    </a:cubicBezTo>
                    <a:close/>
                    <a:moveTo>
                      <a:pt x="14780" y="92635"/>
                    </a:moveTo>
                    <a:lnTo>
                      <a:pt x="192031" y="92635"/>
                    </a:lnTo>
                    <a:lnTo>
                      <a:pt x="173958" y="13123"/>
                    </a:lnTo>
                    <a:lnTo>
                      <a:pt x="32853" y="13123"/>
                    </a:lnTo>
                    <a:lnTo>
                      <a:pt x="14780" y="92635"/>
                    </a:lnTo>
                    <a:close/>
                  </a:path>
                </a:pathLst>
              </a:custGeom>
              <a:solidFill>
                <a:schemeClr val="tx2"/>
              </a:solidFill>
              <a:ln w="2573" cap="flat">
                <a:noFill/>
                <a:prstDash val="solid"/>
                <a:miter/>
              </a:ln>
            </p:spPr>
            <p:txBody>
              <a:bodyPr rtlCol="0" anchor="ctr"/>
              <a:lstStyle/>
              <a:p>
                <a:endParaRPr lang="en-GB" dirty="0"/>
              </a:p>
            </p:txBody>
          </p:sp>
          <p:sp>
            <p:nvSpPr>
              <p:cNvPr id="371" name="Freihandform: Form 844">
                <a:extLst>
                  <a:ext uri="{FF2B5EF4-FFF2-40B4-BE49-F238E27FC236}">
                    <a16:creationId xmlns:a16="http://schemas.microsoft.com/office/drawing/2014/main" id="{47A48E3E-2A3F-4D67-B0DC-6744547DF2D3}"/>
                  </a:ext>
                </a:extLst>
              </p:cNvPr>
              <p:cNvSpPr/>
              <p:nvPr/>
            </p:nvSpPr>
            <p:spPr>
              <a:xfrm>
                <a:off x="6292025" y="1992011"/>
                <a:ext cx="183593" cy="13097"/>
              </a:xfrm>
              <a:custGeom>
                <a:avLst/>
                <a:gdLst>
                  <a:gd name="connsiteX0" fmla="*/ 177045 w 183593"/>
                  <a:gd name="connsiteY0" fmla="*/ 13097 h 13097"/>
                  <a:gd name="connsiteX1" fmla="*/ 6549 w 183593"/>
                  <a:gd name="connsiteY1" fmla="*/ 13097 h 13097"/>
                  <a:gd name="connsiteX2" fmla="*/ 0 w 183593"/>
                  <a:gd name="connsiteY2" fmla="*/ 6549 h 13097"/>
                  <a:gd name="connsiteX3" fmla="*/ 6549 w 183593"/>
                  <a:gd name="connsiteY3" fmla="*/ 0 h 13097"/>
                  <a:gd name="connsiteX4" fmla="*/ 177045 w 183593"/>
                  <a:gd name="connsiteY4" fmla="*/ 0 h 13097"/>
                  <a:gd name="connsiteX5" fmla="*/ 183593 w 183593"/>
                  <a:gd name="connsiteY5" fmla="*/ 6549 h 13097"/>
                  <a:gd name="connsiteX6" fmla="*/ 177045 w 183593"/>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93" h="13097">
                    <a:moveTo>
                      <a:pt x="177045" y="13097"/>
                    </a:moveTo>
                    <a:lnTo>
                      <a:pt x="6549" y="13097"/>
                    </a:lnTo>
                    <a:cubicBezTo>
                      <a:pt x="2939" y="13097"/>
                      <a:pt x="0" y="10158"/>
                      <a:pt x="0" y="6549"/>
                    </a:cubicBezTo>
                    <a:cubicBezTo>
                      <a:pt x="0" y="2939"/>
                      <a:pt x="2939" y="0"/>
                      <a:pt x="6549" y="0"/>
                    </a:cubicBezTo>
                    <a:lnTo>
                      <a:pt x="177045" y="0"/>
                    </a:lnTo>
                    <a:cubicBezTo>
                      <a:pt x="180654" y="0"/>
                      <a:pt x="183593" y="2939"/>
                      <a:pt x="183593" y="6549"/>
                    </a:cubicBezTo>
                    <a:cubicBezTo>
                      <a:pt x="183593" y="10158"/>
                      <a:pt x="180654" y="13097"/>
                      <a:pt x="177045" y="13097"/>
                    </a:cubicBezTo>
                    <a:close/>
                  </a:path>
                </a:pathLst>
              </a:custGeom>
              <a:solidFill>
                <a:schemeClr val="tx2"/>
              </a:solidFill>
              <a:ln w="2573" cap="flat">
                <a:noFill/>
                <a:prstDash val="solid"/>
                <a:miter/>
              </a:ln>
            </p:spPr>
            <p:txBody>
              <a:bodyPr rtlCol="0" anchor="ctr"/>
              <a:lstStyle/>
              <a:p>
                <a:endParaRPr lang="en-GB" dirty="0"/>
              </a:p>
            </p:txBody>
          </p:sp>
          <p:sp>
            <p:nvSpPr>
              <p:cNvPr id="372" name="Freihandform: Form 845">
                <a:extLst>
                  <a:ext uri="{FF2B5EF4-FFF2-40B4-BE49-F238E27FC236}">
                    <a16:creationId xmlns:a16="http://schemas.microsoft.com/office/drawing/2014/main" id="{DA183A91-C535-49F1-B013-C8AF5EAF33F2}"/>
                  </a:ext>
                </a:extLst>
              </p:cNvPr>
              <p:cNvSpPr/>
              <p:nvPr/>
            </p:nvSpPr>
            <p:spPr>
              <a:xfrm rot="16516023">
                <a:off x="6296941" y="1992655"/>
                <a:ext cx="91605" cy="13097"/>
              </a:xfrm>
              <a:custGeom>
                <a:avLst/>
                <a:gdLst>
                  <a:gd name="connsiteX0" fmla="*/ 0 w 91605"/>
                  <a:gd name="connsiteY0" fmla="*/ 0 h 13097"/>
                  <a:gd name="connsiteX1" fmla="*/ 91605 w 91605"/>
                  <a:gd name="connsiteY1" fmla="*/ 0 h 13097"/>
                  <a:gd name="connsiteX2" fmla="*/ 91605 w 91605"/>
                  <a:gd name="connsiteY2" fmla="*/ 13098 h 13097"/>
                  <a:gd name="connsiteX3" fmla="*/ 0 w 91605"/>
                  <a:gd name="connsiteY3" fmla="*/ 13098 h 13097"/>
                </a:gdLst>
                <a:ahLst/>
                <a:cxnLst>
                  <a:cxn ang="0">
                    <a:pos x="connsiteX0" y="connsiteY0"/>
                  </a:cxn>
                  <a:cxn ang="0">
                    <a:pos x="connsiteX1" y="connsiteY1"/>
                  </a:cxn>
                  <a:cxn ang="0">
                    <a:pos x="connsiteX2" y="connsiteY2"/>
                  </a:cxn>
                  <a:cxn ang="0">
                    <a:pos x="connsiteX3" y="connsiteY3"/>
                  </a:cxn>
                </a:cxnLst>
                <a:rect l="l" t="t" r="r" b="b"/>
                <a:pathLst>
                  <a:path w="91605" h="13097">
                    <a:moveTo>
                      <a:pt x="0" y="0"/>
                    </a:moveTo>
                    <a:lnTo>
                      <a:pt x="91605" y="0"/>
                    </a:lnTo>
                    <a:lnTo>
                      <a:pt x="91605" y="13098"/>
                    </a:lnTo>
                    <a:lnTo>
                      <a:pt x="0" y="13098"/>
                    </a:lnTo>
                    <a:close/>
                  </a:path>
                </a:pathLst>
              </a:custGeom>
              <a:solidFill>
                <a:schemeClr val="tx2"/>
              </a:solidFill>
              <a:ln w="2573" cap="flat">
                <a:noFill/>
                <a:prstDash val="solid"/>
                <a:miter/>
              </a:ln>
            </p:spPr>
            <p:txBody>
              <a:bodyPr rtlCol="0" anchor="ctr"/>
              <a:lstStyle/>
              <a:p>
                <a:endParaRPr lang="en-GB" dirty="0"/>
              </a:p>
            </p:txBody>
          </p:sp>
          <p:sp>
            <p:nvSpPr>
              <p:cNvPr id="373" name="Freihandform: Form 846">
                <a:extLst>
                  <a:ext uri="{FF2B5EF4-FFF2-40B4-BE49-F238E27FC236}">
                    <a16:creationId xmlns:a16="http://schemas.microsoft.com/office/drawing/2014/main" id="{BC378784-7040-49D6-9F6C-9E6501411D40}"/>
                  </a:ext>
                </a:extLst>
              </p:cNvPr>
              <p:cNvSpPr/>
              <p:nvPr/>
            </p:nvSpPr>
            <p:spPr>
              <a:xfrm rot="21283635">
                <a:off x="6416254" y="1953460"/>
                <a:ext cx="13097" cy="91606"/>
              </a:xfrm>
              <a:custGeom>
                <a:avLst/>
                <a:gdLst>
                  <a:gd name="connsiteX0" fmla="*/ 0 w 13097"/>
                  <a:gd name="connsiteY0" fmla="*/ 0 h 91606"/>
                  <a:gd name="connsiteX1" fmla="*/ 13098 w 13097"/>
                  <a:gd name="connsiteY1" fmla="*/ 0 h 91606"/>
                  <a:gd name="connsiteX2" fmla="*/ 13098 w 13097"/>
                  <a:gd name="connsiteY2" fmla="*/ 91606 h 91606"/>
                  <a:gd name="connsiteX3" fmla="*/ 0 w 13097"/>
                  <a:gd name="connsiteY3" fmla="*/ 91606 h 91606"/>
                </a:gdLst>
                <a:ahLst/>
                <a:cxnLst>
                  <a:cxn ang="0">
                    <a:pos x="connsiteX0" y="connsiteY0"/>
                  </a:cxn>
                  <a:cxn ang="0">
                    <a:pos x="connsiteX1" y="connsiteY1"/>
                  </a:cxn>
                  <a:cxn ang="0">
                    <a:pos x="connsiteX2" y="connsiteY2"/>
                  </a:cxn>
                  <a:cxn ang="0">
                    <a:pos x="connsiteX3" y="connsiteY3"/>
                  </a:cxn>
                </a:cxnLst>
                <a:rect l="l" t="t" r="r" b="b"/>
                <a:pathLst>
                  <a:path w="13097" h="91606">
                    <a:moveTo>
                      <a:pt x="0" y="0"/>
                    </a:moveTo>
                    <a:lnTo>
                      <a:pt x="13098" y="0"/>
                    </a:lnTo>
                    <a:lnTo>
                      <a:pt x="13098" y="91606"/>
                    </a:lnTo>
                    <a:lnTo>
                      <a:pt x="0" y="91606"/>
                    </a:lnTo>
                    <a:close/>
                  </a:path>
                </a:pathLst>
              </a:custGeom>
              <a:solidFill>
                <a:schemeClr val="tx2"/>
              </a:solidFill>
              <a:ln w="2573" cap="flat">
                <a:noFill/>
                <a:prstDash val="solid"/>
                <a:miter/>
              </a:ln>
            </p:spPr>
            <p:txBody>
              <a:bodyPr rtlCol="0" anchor="ctr"/>
              <a:lstStyle/>
              <a:p>
                <a:endParaRPr lang="en-GB" dirty="0"/>
              </a:p>
            </p:txBody>
          </p:sp>
          <p:sp>
            <p:nvSpPr>
              <p:cNvPr id="374" name="Freihandform: Form 847">
                <a:extLst>
                  <a:ext uri="{FF2B5EF4-FFF2-40B4-BE49-F238E27FC236}">
                    <a16:creationId xmlns:a16="http://schemas.microsoft.com/office/drawing/2014/main" id="{D440D7C8-9DE1-4CF2-9457-108C12A99342}"/>
                  </a:ext>
                </a:extLst>
              </p:cNvPr>
              <p:cNvSpPr/>
              <p:nvPr/>
            </p:nvSpPr>
            <p:spPr>
              <a:xfrm>
                <a:off x="6362513" y="2065051"/>
                <a:ext cx="39291" cy="45891"/>
              </a:xfrm>
              <a:custGeom>
                <a:avLst/>
                <a:gdLst>
                  <a:gd name="connsiteX0" fmla="*/ 32769 w 39291"/>
                  <a:gd name="connsiteY0" fmla="*/ 45892 h 45891"/>
                  <a:gd name="connsiteX1" fmla="*/ 6549 w 39291"/>
                  <a:gd name="connsiteY1" fmla="*/ 45892 h 45891"/>
                  <a:gd name="connsiteX2" fmla="*/ 0 w 39291"/>
                  <a:gd name="connsiteY2" fmla="*/ 39343 h 45891"/>
                  <a:gd name="connsiteX3" fmla="*/ 0 w 39291"/>
                  <a:gd name="connsiteY3" fmla="*/ 0 h 45891"/>
                  <a:gd name="connsiteX4" fmla="*/ 13097 w 39291"/>
                  <a:gd name="connsiteY4" fmla="*/ 0 h 45891"/>
                  <a:gd name="connsiteX5" fmla="*/ 13097 w 39291"/>
                  <a:gd name="connsiteY5" fmla="*/ 32769 h 45891"/>
                  <a:gd name="connsiteX6" fmla="*/ 26194 w 39291"/>
                  <a:gd name="connsiteY6" fmla="*/ 32769 h 45891"/>
                  <a:gd name="connsiteX7" fmla="*/ 26194 w 39291"/>
                  <a:gd name="connsiteY7" fmla="*/ 0 h 45891"/>
                  <a:gd name="connsiteX8" fmla="*/ 39292 w 39291"/>
                  <a:gd name="connsiteY8" fmla="*/ 0 h 45891"/>
                  <a:gd name="connsiteX9" fmla="*/ 39292 w 39291"/>
                  <a:gd name="connsiteY9" fmla="*/ 39317 h 45891"/>
                  <a:gd name="connsiteX10" fmla="*/ 32769 w 39291"/>
                  <a:gd name="connsiteY10" fmla="*/ 45892 h 45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291" h="45891">
                    <a:moveTo>
                      <a:pt x="32769" y="45892"/>
                    </a:moveTo>
                    <a:lnTo>
                      <a:pt x="6549" y="45892"/>
                    </a:lnTo>
                    <a:cubicBezTo>
                      <a:pt x="2939" y="45892"/>
                      <a:pt x="0" y="42953"/>
                      <a:pt x="0" y="39343"/>
                    </a:cubicBezTo>
                    <a:lnTo>
                      <a:pt x="0" y="0"/>
                    </a:lnTo>
                    <a:lnTo>
                      <a:pt x="13097" y="0"/>
                    </a:lnTo>
                    <a:lnTo>
                      <a:pt x="13097" y="32769"/>
                    </a:lnTo>
                    <a:lnTo>
                      <a:pt x="26194" y="32769"/>
                    </a:lnTo>
                    <a:lnTo>
                      <a:pt x="26194" y="0"/>
                    </a:lnTo>
                    <a:lnTo>
                      <a:pt x="39292" y="0"/>
                    </a:lnTo>
                    <a:lnTo>
                      <a:pt x="39292" y="39317"/>
                    </a:lnTo>
                    <a:cubicBezTo>
                      <a:pt x="39318" y="42953"/>
                      <a:pt x="36378" y="45892"/>
                      <a:pt x="32769" y="45892"/>
                    </a:cubicBezTo>
                    <a:close/>
                  </a:path>
                </a:pathLst>
              </a:custGeom>
              <a:solidFill>
                <a:schemeClr val="tx2"/>
              </a:solidFill>
              <a:ln w="2573" cap="flat">
                <a:noFill/>
                <a:prstDash val="solid"/>
                <a:miter/>
              </a:ln>
            </p:spPr>
            <p:txBody>
              <a:bodyPr rtlCol="0" anchor="ctr"/>
              <a:lstStyle/>
              <a:p>
                <a:endParaRPr lang="en-GB" dirty="0"/>
              </a:p>
            </p:txBody>
          </p:sp>
          <p:sp>
            <p:nvSpPr>
              <p:cNvPr id="375" name="Freihandform: Form 848">
                <a:extLst>
                  <a:ext uri="{FF2B5EF4-FFF2-40B4-BE49-F238E27FC236}">
                    <a16:creationId xmlns:a16="http://schemas.microsoft.com/office/drawing/2014/main" id="{3FF9B7DC-9560-402C-8C4C-5273A569B0FD}"/>
                  </a:ext>
                </a:extLst>
              </p:cNvPr>
              <p:cNvSpPr/>
              <p:nvPr/>
            </p:nvSpPr>
            <p:spPr>
              <a:xfrm>
                <a:off x="6356042" y="2098645"/>
                <a:ext cx="55199" cy="13097"/>
              </a:xfrm>
              <a:custGeom>
                <a:avLst/>
                <a:gdLst>
                  <a:gd name="connsiteX0" fmla="*/ 48651 w 55199"/>
                  <a:gd name="connsiteY0" fmla="*/ 13097 h 13097"/>
                  <a:gd name="connsiteX1" fmla="*/ 6549 w 55199"/>
                  <a:gd name="connsiteY1" fmla="*/ 13097 h 13097"/>
                  <a:gd name="connsiteX2" fmla="*/ 0 w 55199"/>
                  <a:gd name="connsiteY2" fmla="*/ 6549 h 13097"/>
                  <a:gd name="connsiteX3" fmla="*/ 6549 w 55199"/>
                  <a:gd name="connsiteY3" fmla="*/ 0 h 13097"/>
                  <a:gd name="connsiteX4" fmla="*/ 48651 w 55199"/>
                  <a:gd name="connsiteY4" fmla="*/ 0 h 13097"/>
                  <a:gd name="connsiteX5" fmla="*/ 55199 w 55199"/>
                  <a:gd name="connsiteY5" fmla="*/ 6549 h 13097"/>
                  <a:gd name="connsiteX6" fmla="*/ 48651 w 55199"/>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99" h="13097">
                    <a:moveTo>
                      <a:pt x="48651" y="13097"/>
                    </a:moveTo>
                    <a:lnTo>
                      <a:pt x="6549" y="13097"/>
                    </a:lnTo>
                    <a:cubicBezTo>
                      <a:pt x="2939" y="13097"/>
                      <a:pt x="0" y="10158"/>
                      <a:pt x="0" y="6549"/>
                    </a:cubicBezTo>
                    <a:cubicBezTo>
                      <a:pt x="0" y="2939"/>
                      <a:pt x="2939" y="0"/>
                      <a:pt x="6549" y="0"/>
                    </a:cubicBezTo>
                    <a:lnTo>
                      <a:pt x="48651" y="0"/>
                    </a:lnTo>
                    <a:cubicBezTo>
                      <a:pt x="52260" y="0"/>
                      <a:pt x="55199" y="2939"/>
                      <a:pt x="55199" y="6549"/>
                    </a:cubicBezTo>
                    <a:cubicBezTo>
                      <a:pt x="55199" y="10184"/>
                      <a:pt x="52260" y="13097"/>
                      <a:pt x="48651" y="13097"/>
                    </a:cubicBezTo>
                    <a:close/>
                  </a:path>
                </a:pathLst>
              </a:custGeom>
              <a:solidFill>
                <a:schemeClr val="tx2"/>
              </a:solidFill>
              <a:ln w="2573" cap="flat">
                <a:noFill/>
                <a:prstDash val="solid"/>
                <a:miter/>
              </a:ln>
            </p:spPr>
            <p:txBody>
              <a:bodyPr rtlCol="0" anchor="ctr"/>
              <a:lstStyle/>
              <a:p>
                <a:endParaRPr lang="en-GB" dirty="0"/>
              </a:p>
            </p:txBody>
          </p:sp>
          <p:sp>
            <p:nvSpPr>
              <p:cNvPr id="376" name="Freihandform: Form 850">
                <a:extLst>
                  <a:ext uri="{FF2B5EF4-FFF2-40B4-BE49-F238E27FC236}">
                    <a16:creationId xmlns:a16="http://schemas.microsoft.com/office/drawing/2014/main" id="{2B711E78-01CF-4459-9B80-D82A62A4B2B9}"/>
                  </a:ext>
                </a:extLst>
              </p:cNvPr>
              <p:cNvSpPr/>
              <p:nvPr/>
            </p:nvSpPr>
            <p:spPr>
              <a:xfrm>
                <a:off x="6204702" y="1626758"/>
                <a:ext cx="13097" cy="46278"/>
              </a:xfrm>
              <a:custGeom>
                <a:avLst/>
                <a:gdLst>
                  <a:gd name="connsiteX0" fmla="*/ 6549 w 13097"/>
                  <a:gd name="connsiteY0" fmla="*/ 46279 h 46278"/>
                  <a:gd name="connsiteX1" fmla="*/ 0 w 13097"/>
                  <a:gd name="connsiteY1" fmla="*/ 39730 h 46278"/>
                  <a:gd name="connsiteX2" fmla="*/ 0 w 13097"/>
                  <a:gd name="connsiteY2" fmla="*/ 6549 h 46278"/>
                  <a:gd name="connsiteX3" fmla="*/ 6549 w 13097"/>
                  <a:gd name="connsiteY3" fmla="*/ 0 h 46278"/>
                  <a:gd name="connsiteX4" fmla="*/ 13097 w 13097"/>
                  <a:gd name="connsiteY4" fmla="*/ 6549 h 46278"/>
                  <a:gd name="connsiteX5" fmla="*/ 13097 w 13097"/>
                  <a:gd name="connsiteY5" fmla="*/ 39704 h 46278"/>
                  <a:gd name="connsiteX6" fmla="*/ 6549 w 13097"/>
                  <a:gd name="connsiteY6" fmla="*/ 46279 h 46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46278">
                    <a:moveTo>
                      <a:pt x="6549" y="46279"/>
                    </a:moveTo>
                    <a:cubicBezTo>
                      <a:pt x="2939" y="46279"/>
                      <a:pt x="0" y="43339"/>
                      <a:pt x="0" y="39730"/>
                    </a:cubicBezTo>
                    <a:lnTo>
                      <a:pt x="0" y="6549"/>
                    </a:lnTo>
                    <a:cubicBezTo>
                      <a:pt x="0" y="2939"/>
                      <a:pt x="2939" y="0"/>
                      <a:pt x="6549" y="0"/>
                    </a:cubicBezTo>
                    <a:cubicBezTo>
                      <a:pt x="10158" y="0"/>
                      <a:pt x="13097" y="2939"/>
                      <a:pt x="13097" y="6549"/>
                    </a:cubicBezTo>
                    <a:lnTo>
                      <a:pt x="13097" y="39704"/>
                    </a:lnTo>
                    <a:cubicBezTo>
                      <a:pt x="13123" y="43339"/>
                      <a:pt x="10184" y="46279"/>
                      <a:pt x="6549" y="46279"/>
                    </a:cubicBezTo>
                    <a:close/>
                  </a:path>
                </a:pathLst>
              </a:custGeom>
              <a:solidFill>
                <a:schemeClr val="tx2"/>
              </a:solidFill>
              <a:ln w="2573" cap="flat">
                <a:noFill/>
                <a:prstDash val="solid"/>
                <a:miter/>
              </a:ln>
            </p:spPr>
            <p:txBody>
              <a:bodyPr rtlCol="0" anchor="ctr"/>
              <a:lstStyle/>
              <a:p>
                <a:endParaRPr lang="en-GB" dirty="0"/>
              </a:p>
            </p:txBody>
          </p:sp>
          <p:sp>
            <p:nvSpPr>
              <p:cNvPr id="377" name="Freihandform: Form 851">
                <a:extLst>
                  <a:ext uri="{FF2B5EF4-FFF2-40B4-BE49-F238E27FC236}">
                    <a16:creationId xmlns:a16="http://schemas.microsoft.com/office/drawing/2014/main" id="{D6A3BC9E-FBF6-47E7-B611-3771D45828B9}"/>
                  </a:ext>
                </a:extLst>
              </p:cNvPr>
              <p:cNvSpPr/>
              <p:nvPr/>
            </p:nvSpPr>
            <p:spPr>
              <a:xfrm>
                <a:off x="6148521" y="1699332"/>
                <a:ext cx="47546" cy="33647"/>
              </a:xfrm>
              <a:custGeom>
                <a:avLst/>
                <a:gdLst>
                  <a:gd name="connsiteX0" fmla="*/ 6577 w 47546"/>
                  <a:gd name="connsiteY0" fmla="*/ 33648 h 33647"/>
                  <a:gd name="connsiteX1" fmla="*/ 930 w 47546"/>
                  <a:gd name="connsiteY1" fmla="*/ 30451 h 33647"/>
                  <a:gd name="connsiteX2" fmla="*/ 3199 w 47546"/>
                  <a:gd name="connsiteY2" fmla="*/ 21453 h 33647"/>
                  <a:gd name="connsiteX3" fmla="*/ 37618 w 47546"/>
                  <a:gd name="connsiteY3" fmla="*/ 930 h 33647"/>
                  <a:gd name="connsiteX4" fmla="*/ 46616 w 47546"/>
                  <a:gd name="connsiteY4" fmla="*/ 3199 h 33647"/>
                  <a:gd name="connsiteX5" fmla="*/ 44347 w 47546"/>
                  <a:gd name="connsiteY5" fmla="*/ 12197 h 33647"/>
                  <a:gd name="connsiteX6" fmla="*/ 9928 w 47546"/>
                  <a:gd name="connsiteY6" fmla="*/ 32720 h 33647"/>
                  <a:gd name="connsiteX7" fmla="*/ 6577 w 47546"/>
                  <a:gd name="connsiteY7" fmla="*/ 33648 h 3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46" h="33647">
                    <a:moveTo>
                      <a:pt x="6577" y="33648"/>
                    </a:moveTo>
                    <a:cubicBezTo>
                      <a:pt x="4334" y="33648"/>
                      <a:pt x="2168" y="32513"/>
                      <a:pt x="930" y="30451"/>
                    </a:cubicBezTo>
                    <a:cubicBezTo>
                      <a:pt x="-926" y="27331"/>
                      <a:pt x="80" y="23309"/>
                      <a:pt x="3199" y="21453"/>
                    </a:cubicBezTo>
                    <a:lnTo>
                      <a:pt x="37618" y="930"/>
                    </a:lnTo>
                    <a:cubicBezTo>
                      <a:pt x="40738" y="-926"/>
                      <a:pt x="44760" y="80"/>
                      <a:pt x="46616" y="3199"/>
                    </a:cubicBezTo>
                    <a:cubicBezTo>
                      <a:pt x="48472" y="6319"/>
                      <a:pt x="47467" y="10341"/>
                      <a:pt x="44347" y="12197"/>
                    </a:cubicBezTo>
                    <a:lnTo>
                      <a:pt x="9928" y="32720"/>
                    </a:lnTo>
                    <a:cubicBezTo>
                      <a:pt x="8871" y="33364"/>
                      <a:pt x="7711" y="33648"/>
                      <a:pt x="6577" y="33648"/>
                    </a:cubicBezTo>
                    <a:close/>
                  </a:path>
                </a:pathLst>
              </a:custGeom>
              <a:solidFill>
                <a:schemeClr val="tx2"/>
              </a:solidFill>
              <a:ln w="2573" cap="flat">
                <a:noFill/>
                <a:prstDash val="solid"/>
                <a:miter/>
              </a:ln>
            </p:spPr>
            <p:txBody>
              <a:bodyPr rtlCol="0" anchor="ctr"/>
              <a:lstStyle/>
              <a:p>
                <a:endParaRPr lang="en-GB" dirty="0"/>
              </a:p>
            </p:txBody>
          </p:sp>
          <p:sp>
            <p:nvSpPr>
              <p:cNvPr id="378" name="Freihandform: Form 852">
                <a:extLst>
                  <a:ext uri="{FF2B5EF4-FFF2-40B4-BE49-F238E27FC236}">
                    <a16:creationId xmlns:a16="http://schemas.microsoft.com/office/drawing/2014/main" id="{43972A91-FA03-4E51-B00A-D1852ED7146D}"/>
                  </a:ext>
                </a:extLst>
              </p:cNvPr>
              <p:cNvSpPr/>
              <p:nvPr/>
            </p:nvSpPr>
            <p:spPr>
              <a:xfrm>
                <a:off x="6224448" y="1699332"/>
                <a:ext cx="47546" cy="33647"/>
              </a:xfrm>
              <a:custGeom>
                <a:avLst/>
                <a:gdLst>
                  <a:gd name="connsiteX0" fmla="*/ 40970 w 47546"/>
                  <a:gd name="connsiteY0" fmla="*/ 33648 h 33647"/>
                  <a:gd name="connsiteX1" fmla="*/ 37618 w 47546"/>
                  <a:gd name="connsiteY1" fmla="*/ 32720 h 33647"/>
                  <a:gd name="connsiteX2" fmla="*/ 3199 w 47546"/>
                  <a:gd name="connsiteY2" fmla="*/ 12197 h 33647"/>
                  <a:gd name="connsiteX3" fmla="*/ 930 w 47546"/>
                  <a:gd name="connsiteY3" fmla="*/ 3199 h 33647"/>
                  <a:gd name="connsiteX4" fmla="*/ 9928 w 47546"/>
                  <a:gd name="connsiteY4" fmla="*/ 930 h 33647"/>
                  <a:gd name="connsiteX5" fmla="*/ 44347 w 47546"/>
                  <a:gd name="connsiteY5" fmla="*/ 21453 h 33647"/>
                  <a:gd name="connsiteX6" fmla="*/ 46616 w 47546"/>
                  <a:gd name="connsiteY6" fmla="*/ 30451 h 33647"/>
                  <a:gd name="connsiteX7" fmla="*/ 40970 w 47546"/>
                  <a:gd name="connsiteY7" fmla="*/ 33648 h 3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46" h="33647">
                    <a:moveTo>
                      <a:pt x="40970" y="33648"/>
                    </a:moveTo>
                    <a:cubicBezTo>
                      <a:pt x="39835" y="33648"/>
                      <a:pt x="38675" y="33338"/>
                      <a:pt x="37618" y="32720"/>
                    </a:cubicBezTo>
                    <a:lnTo>
                      <a:pt x="3199" y="12197"/>
                    </a:lnTo>
                    <a:cubicBezTo>
                      <a:pt x="80" y="10341"/>
                      <a:pt x="-926" y="6319"/>
                      <a:pt x="930" y="3199"/>
                    </a:cubicBezTo>
                    <a:cubicBezTo>
                      <a:pt x="2787" y="80"/>
                      <a:pt x="6809" y="-926"/>
                      <a:pt x="9928" y="930"/>
                    </a:cubicBezTo>
                    <a:lnTo>
                      <a:pt x="44347" y="21453"/>
                    </a:lnTo>
                    <a:cubicBezTo>
                      <a:pt x="47467" y="23309"/>
                      <a:pt x="48472" y="27331"/>
                      <a:pt x="46616" y="30451"/>
                    </a:cubicBezTo>
                    <a:cubicBezTo>
                      <a:pt x="45379" y="32513"/>
                      <a:pt x="43213" y="33648"/>
                      <a:pt x="40970" y="33648"/>
                    </a:cubicBezTo>
                    <a:close/>
                  </a:path>
                </a:pathLst>
              </a:custGeom>
              <a:solidFill>
                <a:schemeClr val="tx2"/>
              </a:solidFill>
              <a:ln w="2573" cap="flat">
                <a:noFill/>
                <a:prstDash val="solid"/>
                <a:miter/>
              </a:ln>
            </p:spPr>
            <p:txBody>
              <a:bodyPr rtlCol="0" anchor="ctr"/>
              <a:lstStyle/>
              <a:p>
                <a:endParaRPr lang="en-GB" dirty="0"/>
              </a:p>
            </p:txBody>
          </p:sp>
          <p:sp>
            <p:nvSpPr>
              <p:cNvPr id="379" name="Freihandform: Form 853">
                <a:extLst>
                  <a:ext uri="{FF2B5EF4-FFF2-40B4-BE49-F238E27FC236}">
                    <a16:creationId xmlns:a16="http://schemas.microsoft.com/office/drawing/2014/main" id="{8468AC53-6AAC-43DD-98D1-9FCF790B8495}"/>
                  </a:ext>
                </a:extLst>
              </p:cNvPr>
              <p:cNvSpPr/>
              <p:nvPr/>
            </p:nvSpPr>
            <p:spPr>
              <a:xfrm>
                <a:off x="6204702" y="1706218"/>
                <a:ext cx="13097" cy="57751"/>
              </a:xfrm>
              <a:custGeom>
                <a:avLst/>
                <a:gdLst>
                  <a:gd name="connsiteX0" fmla="*/ 0 w 13097"/>
                  <a:gd name="connsiteY0" fmla="*/ 0 h 57751"/>
                  <a:gd name="connsiteX1" fmla="*/ 13097 w 13097"/>
                  <a:gd name="connsiteY1" fmla="*/ 0 h 57751"/>
                  <a:gd name="connsiteX2" fmla="*/ 13097 w 13097"/>
                  <a:gd name="connsiteY2" fmla="*/ 57752 h 57751"/>
                  <a:gd name="connsiteX3" fmla="*/ 0 w 13097"/>
                  <a:gd name="connsiteY3" fmla="*/ 57752 h 57751"/>
                </a:gdLst>
                <a:ahLst/>
                <a:cxnLst>
                  <a:cxn ang="0">
                    <a:pos x="connsiteX0" y="connsiteY0"/>
                  </a:cxn>
                  <a:cxn ang="0">
                    <a:pos x="connsiteX1" y="connsiteY1"/>
                  </a:cxn>
                  <a:cxn ang="0">
                    <a:pos x="connsiteX2" y="connsiteY2"/>
                  </a:cxn>
                  <a:cxn ang="0">
                    <a:pos x="connsiteX3" y="connsiteY3"/>
                  </a:cxn>
                </a:cxnLst>
                <a:rect l="l" t="t" r="r" b="b"/>
                <a:pathLst>
                  <a:path w="13097" h="57751">
                    <a:moveTo>
                      <a:pt x="0" y="0"/>
                    </a:moveTo>
                    <a:lnTo>
                      <a:pt x="13097" y="0"/>
                    </a:lnTo>
                    <a:lnTo>
                      <a:pt x="13097" y="57752"/>
                    </a:lnTo>
                    <a:lnTo>
                      <a:pt x="0" y="57752"/>
                    </a:lnTo>
                    <a:close/>
                  </a:path>
                </a:pathLst>
              </a:custGeom>
              <a:solidFill>
                <a:schemeClr val="tx2"/>
              </a:solidFill>
              <a:ln w="2573" cap="flat">
                <a:noFill/>
                <a:prstDash val="solid"/>
                <a:miter/>
              </a:ln>
            </p:spPr>
            <p:txBody>
              <a:bodyPr rtlCol="0" anchor="ctr"/>
              <a:lstStyle/>
              <a:p>
                <a:endParaRPr lang="en-GB" dirty="0"/>
              </a:p>
            </p:txBody>
          </p:sp>
          <p:sp>
            <p:nvSpPr>
              <p:cNvPr id="380" name="Freihandform: Form 854">
                <a:extLst>
                  <a:ext uri="{FF2B5EF4-FFF2-40B4-BE49-F238E27FC236}">
                    <a16:creationId xmlns:a16="http://schemas.microsoft.com/office/drawing/2014/main" id="{FD882558-D2C3-4853-9ABB-4C43458117A9}"/>
                  </a:ext>
                </a:extLst>
              </p:cNvPr>
              <p:cNvSpPr/>
              <p:nvPr/>
            </p:nvSpPr>
            <p:spPr>
              <a:xfrm>
                <a:off x="6204623" y="1678780"/>
                <a:ext cx="13254" cy="19651"/>
              </a:xfrm>
              <a:custGeom>
                <a:avLst/>
                <a:gdLst>
                  <a:gd name="connsiteX0" fmla="*/ 6550 w 13254"/>
                  <a:gd name="connsiteY0" fmla="*/ 19652 h 19651"/>
                  <a:gd name="connsiteX1" fmla="*/ 6395 w 13254"/>
                  <a:gd name="connsiteY1" fmla="*/ 19652 h 19651"/>
                  <a:gd name="connsiteX2" fmla="*/ 2 w 13254"/>
                  <a:gd name="connsiteY2" fmla="*/ 12948 h 19651"/>
                  <a:gd name="connsiteX3" fmla="*/ 156 w 13254"/>
                  <a:gd name="connsiteY3" fmla="*/ 6400 h 19651"/>
                  <a:gd name="connsiteX4" fmla="*/ 6860 w 13254"/>
                  <a:gd name="connsiteY4" fmla="*/ 6 h 19651"/>
                  <a:gd name="connsiteX5" fmla="*/ 13253 w 13254"/>
                  <a:gd name="connsiteY5" fmla="*/ 6709 h 19651"/>
                  <a:gd name="connsiteX6" fmla="*/ 13099 w 13254"/>
                  <a:gd name="connsiteY6" fmla="*/ 13258 h 19651"/>
                  <a:gd name="connsiteX7" fmla="*/ 6550 w 13254"/>
                  <a:gd name="connsiteY7" fmla="*/ 19652 h 1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54" h="19651">
                    <a:moveTo>
                      <a:pt x="6550" y="19652"/>
                    </a:moveTo>
                    <a:cubicBezTo>
                      <a:pt x="6499" y="19652"/>
                      <a:pt x="6447" y="19652"/>
                      <a:pt x="6395" y="19652"/>
                    </a:cubicBezTo>
                    <a:cubicBezTo>
                      <a:pt x="2786" y="19574"/>
                      <a:pt x="-76" y="16558"/>
                      <a:pt x="2" y="12948"/>
                    </a:cubicBezTo>
                    <a:lnTo>
                      <a:pt x="156" y="6400"/>
                    </a:lnTo>
                    <a:cubicBezTo>
                      <a:pt x="234" y="2790"/>
                      <a:pt x="3302" y="-149"/>
                      <a:pt x="6860" y="6"/>
                    </a:cubicBezTo>
                    <a:cubicBezTo>
                      <a:pt x="10469" y="83"/>
                      <a:pt x="13331" y="3100"/>
                      <a:pt x="13253" y="6709"/>
                    </a:cubicBezTo>
                    <a:lnTo>
                      <a:pt x="13099" y="13258"/>
                    </a:lnTo>
                    <a:cubicBezTo>
                      <a:pt x="13021" y="16841"/>
                      <a:pt x="10108" y="19652"/>
                      <a:pt x="6550" y="19652"/>
                    </a:cubicBezTo>
                    <a:close/>
                  </a:path>
                </a:pathLst>
              </a:custGeom>
              <a:solidFill>
                <a:schemeClr val="tx2"/>
              </a:solidFill>
              <a:ln w="2573" cap="flat">
                <a:noFill/>
                <a:prstDash val="solid"/>
                <a:miter/>
              </a:ln>
            </p:spPr>
            <p:txBody>
              <a:bodyPr rtlCol="0" anchor="ctr"/>
              <a:lstStyle/>
              <a:p>
                <a:endParaRPr lang="en-GB" dirty="0"/>
              </a:p>
            </p:txBody>
          </p:sp>
          <p:sp>
            <p:nvSpPr>
              <p:cNvPr id="381" name="Freihandform: Form 855">
                <a:extLst>
                  <a:ext uri="{FF2B5EF4-FFF2-40B4-BE49-F238E27FC236}">
                    <a16:creationId xmlns:a16="http://schemas.microsoft.com/office/drawing/2014/main" id="{FE2A15CE-309C-47BB-8397-7963FAF10535}"/>
                  </a:ext>
                </a:extLst>
              </p:cNvPr>
              <p:cNvSpPr/>
              <p:nvPr/>
            </p:nvSpPr>
            <p:spPr>
              <a:xfrm>
                <a:off x="6218315" y="1875811"/>
                <a:ext cx="170393" cy="235930"/>
              </a:xfrm>
              <a:custGeom>
                <a:avLst/>
                <a:gdLst>
                  <a:gd name="connsiteX0" fmla="*/ 163844 w 170393"/>
                  <a:gd name="connsiteY0" fmla="*/ 235931 h 235930"/>
                  <a:gd name="connsiteX1" fmla="*/ 6549 w 170393"/>
                  <a:gd name="connsiteY1" fmla="*/ 235931 h 235930"/>
                  <a:gd name="connsiteX2" fmla="*/ 0 w 170393"/>
                  <a:gd name="connsiteY2" fmla="*/ 229382 h 235930"/>
                  <a:gd name="connsiteX3" fmla="*/ 0 w 170393"/>
                  <a:gd name="connsiteY3" fmla="*/ 6549 h 235930"/>
                  <a:gd name="connsiteX4" fmla="*/ 6549 w 170393"/>
                  <a:gd name="connsiteY4" fmla="*/ 0 h 235930"/>
                  <a:gd name="connsiteX5" fmla="*/ 163844 w 170393"/>
                  <a:gd name="connsiteY5" fmla="*/ 0 h 235930"/>
                  <a:gd name="connsiteX6" fmla="*/ 170393 w 170393"/>
                  <a:gd name="connsiteY6" fmla="*/ 6549 h 235930"/>
                  <a:gd name="connsiteX7" fmla="*/ 170393 w 170393"/>
                  <a:gd name="connsiteY7" fmla="*/ 58989 h 235930"/>
                  <a:gd name="connsiteX8" fmla="*/ 157296 w 170393"/>
                  <a:gd name="connsiteY8" fmla="*/ 58989 h 235930"/>
                  <a:gd name="connsiteX9" fmla="*/ 157296 w 170393"/>
                  <a:gd name="connsiteY9" fmla="*/ 13123 h 235930"/>
                  <a:gd name="connsiteX10" fmla="*/ 13097 w 170393"/>
                  <a:gd name="connsiteY10" fmla="*/ 13123 h 235930"/>
                  <a:gd name="connsiteX11" fmla="*/ 13097 w 170393"/>
                  <a:gd name="connsiteY11" fmla="*/ 222859 h 235930"/>
                  <a:gd name="connsiteX12" fmla="*/ 163844 w 170393"/>
                  <a:gd name="connsiteY12" fmla="*/ 222859 h 235930"/>
                  <a:gd name="connsiteX13" fmla="*/ 163844 w 170393"/>
                  <a:gd name="connsiteY13" fmla="*/ 235931 h 23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393" h="235930">
                    <a:moveTo>
                      <a:pt x="163844" y="235931"/>
                    </a:moveTo>
                    <a:lnTo>
                      <a:pt x="6549" y="235931"/>
                    </a:lnTo>
                    <a:cubicBezTo>
                      <a:pt x="2939" y="235931"/>
                      <a:pt x="0" y="232992"/>
                      <a:pt x="0" y="229382"/>
                    </a:cubicBezTo>
                    <a:lnTo>
                      <a:pt x="0" y="6549"/>
                    </a:lnTo>
                    <a:cubicBezTo>
                      <a:pt x="0" y="2939"/>
                      <a:pt x="2939" y="0"/>
                      <a:pt x="6549" y="0"/>
                    </a:cubicBezTo>
                    <a:lnTo>
                      <a:pt x="163844" y="0"/>
                    </a:lnTo>
                    <a:cubicBezTo>
                      <a:pt x="167454" y="0"/>
                      <a:pt x="170393" y="2939"/>
                      <a:pt x="170393" y="6549"/>
                    </a:cubicBezTo>
                    <a:lnTo>
                      <a:pt x="170393" y="58989"/>
                    </a:lnTo>
                    <a:lnTo>
                      <a:pt x="157296" y="58989"/>
                    </a:lnTo>
                    <a:lnTo>
                      <a:pt x="157296" y="13123"/>
                    </a:lnTo>
                    <a:lnTo>
                      <a:pt x="13097" y="13123"/>
                    </a:lnTo>
                    <a:lnTo>
                      <a:pt x="13097" y="222859"/>
                    </a:lnTo>
                    <a:lnTo>
                      <a:pt x="163844" y="222859"/>
                    </a:lnTo>
                    <a:lnTo>
                      <a:pt x="163844" y="235931"/>
                    </a:lnTo>
                    <a:close/>
                  </a:path>
                </a:pathLst>
              </a:custGeom>
              <a:solidFill>
                <a:schemeClr val="tx2"/>
              </a:solidFill>
              <a:ln w="2573" cap="flat">
                <a:noFill/>
                <a:prstDash val="solid"/>
                <a:miter/>
              </a:ln>
            </p:spPr>
            <p:txBody>
              <a:bodyPr rtlCol="0" anchor="ctr"/>
              <a:lstStyle/>
              <a:p>
                <a:endParaRPr lang="en-GB" dirty="0"/>
              </a:p>
            </p:txBody>
          </p:sp>
          <p:sp>
            <p:nvSpPr>
              <p:cNvPr id="382" name="Freihandform: Form 856">
                <a:extLst>
                  <a:ext uri="{FF2B5EF4-FFF2-40B4-BE49-F238E27FC236}">
                    <a16:creationId xmlns:a16="http://schemas.microsoft.com/office/drawing/2014/main" id="{D2F1CDF5-BE89-4E89-AC3B-AFAD6D9A0699}"/>
                  </a:ext>
                </a:extLst>
              </p:cNvPr>
              <p:cNvSpPr/>
              <p:nvPr/>
            </p:nvSpPr>
            <p:spPr>
              <a:xfrm>
                <a:off x="6126556" y="1757833"/>
                <a:ext cx="222833" cy="353909"/>
              </a:xfrm>
              <a:custGeom>
                <a:avLst/>
                <a:gdLst>
                  <a:gd name="connsiteX0" fmla="*/ 216285 w 222833"/>
                  <a:gd name="connsiteY0" fmla="*/ 353909 h 353909"/>
                  <a:gd name="connsiteX1" fmla="*/ 6549 w 222833"/>
                  <a:gd name="connsiteY1" fmla="*/ 353909 h 353909"/>
                  <a:gd name="connsiteX2" fmla="*/ 0 w 222833"/>
                  <a:gd name="connsiteY2" fmla="*/ 347360 h 353909"/>
                  <a:gd name="connsiteX3" fmla="*/ 0 w 222833"/>
                  <a:gd name="connsiteY3" fmla="*/ 6549 h 353909"/>
                  <a:gd name="connsiteX4" fmla="*/ 6549 w 222833"/>
                  <a:gd name="connsiteY4" fmla="*/ 0 h 353909"/>
                  <a:gd name="connsiteX5" fmla="*/ 216285 w 222833"/>
                  <a:gd name="connsiteY5" fmla="*/ 0 h 353909"/>
                  <a:gd name="connsiteX6" fmla="*/ 222834 w 222833"/>
                  <a:gd name="connsiteY6" fmla="*/ 6549 h 353909"/>
                  <a:gd name="connsiteX7" fmla="*/ 222834 w 222833"/>
                  <a:gd name="connsiteY7" fmla="*/ 91758 h 353909"/>
                  <a:gd name="connsiteX8" fmla="*/ 209736 w 222833"/>
                  <a:gd name="connsiteY8" fmla="*/ 91758 h 353909"/>
                  <a:gd name="connsiteX9" fmla="*/ 209736 w 222833"/>
                  <a:gd name="connsiteY9" fmla="*/ 13123 h 353909"/>
                  <a:gd name="connsiteX10" fmla="*/ 13123 w 222833"/>
                  <a:gd name="connsiteY10" fmla="*/ 13123 h 353909"/>
                  <a:gd name="connsiteX11" fmla="*/ 13123 w 222833"/>
                  <a:gd name="connsiteY11" fmla="*/ 340812 h 353909"/>
                  <a:gd name="connsiteX12" fmla="*/ 216285 w 222833"/>
                  <a:gd name="connsiteY12" fmla="*/ 340812 h 353909"/>
                  <a:gd name="connsiteX13" fmla="*/ 216285 w 222833"/>
                  <a:gd name="connsiteY13" fmla="*/ 353909 h 353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2833" h="353909">
                    <a:moveTo>
                      <a:pt x="216285" y="353909"/>
                    </a:moveTo>
                    <a:lnTo>
                      <a:pt x="6549" y="353909"/>
                    </a:lnTo>
                    <a:cubicBezTo>
                      <a:pt x="2939" y="353909"/>
                      <a:pt x="0" y="350970"/>
                      <a:pt x="0" y="347360"/>
                    </a:cubicBezTo>
                    <a:lnTo>
                      <a:pt x="0" y="6549"/>
                    </a:lnTo>
                    <a:cubicBezTo>
                      <a:pt x="0" y="2939"/>
                      <a:pt x="2939" y="0"/>
                      <a:pt x="6549" y="0"/>
                    </a:cubicBezTo>
                    <a:lnTo>
                      <a:pt x="216285" y="0"/>
                    </a:lnTo>
                    <a:cubicBezTo>
                      <a:pt x="219894" y="0"/>
                      <a:pt x="222834" y="2939"/>
                      <a:pt x="222834" y="6549"/>
                    </a:cubicBezTo>
                    <a:lnTo>
                      <a:pt x="222834" y="91758"/>
                    </a:lnTo>
                    <a:lnTo>
                      <a:pt x="209736" y="91758"/>
                    </a:lnTo>
                    <a:lnTo>
                      <a:pt x="209736" y="13123"/>
                    </a:lnTo>
                    <a:lnTo>
                      <a:pt x="13123" y="13123"/>
                    </a:lnTo>
                    <a:lnTo>
                      <a:pt x="13123" y="340812"/>
                    </a:lnTo>
                    <a:lnTo>
                      <a:pt x="216285" y="340812"/>
                    </a:lnTo>
                    <a:lnTo>
                      <a:pt x="216285" y="353909"/>
                    </a:lnTo>
                    <a:close/>
                  </a:path>
                </a:pathLst>
              </a:custGeom>
              <a:solidFill>
                <a:schemeClr val="tx2"/>
              </a:solidFill>
              <a:ln w="2573" cap="flat">
                <a:noFill/>
                <a:prstDash val="solid"/>
                <a:miter/>
              </a:ln>
            </p:spPr>
            <p:txBody>
              <a:bodyPr rtlCol="0" anchor="ctr"/>
              <a:lstStyle/>
              <a:p>
                <a:endParaRPr lang="en-GB" dirty="0"/>
              </a:p>
            </p:txBody>
          </p:sp>
          <p:sp>
            <p:nvSpPr>
              <p:cNvPr id="383" name="Freihandform: Form 857">
                <a:extLst>
                  <a:ext uri="{FF2B5EF4-FFF2-40B4-BE49-F238E27FC236}">
                    <a16:creationId xmlns:a16="http://schemas.microsoft.com/office/drawing/2014/main" id="{86FA298A-378F-415C-98D8-0F6585707355}"/>
                  </a:ext>
                </a:extLst>
              </p:cNvPr>
              <p:cNvSpPr/>
              <p:nvPr/>
            </p:nvSpPr>
            <p:spPr>
              <a:xfrm>
                <a:off x="6165874" y="1797151"/>
                <a:ext cx="39317" cy="13097"/>
              </a:xfrm>
              <a:custGeom>
                <a:avLst/>
                <a:gdLst>
                  <a:gd name="connsiteX0" fmla="*/ 0 w 39317"/>
                  <a:gd name="connsiteY0" fmla="*/ 0 h 13097"/>
                  <a:gd name="connsiteX1" fmla="*/ 39318 w 39317"/>
                  <a:gd name="connsiteY1" fmla="*/ 0 h 13097"/>
                  <a:gd name="connsiteX2" fmla="*/ 39318 w 39317"/>
                  <a:gd name="connsiteY2" fmla="*/ 13097 h 13097"/>
                  <a:gd name="connsiteX3" fmla="*/ 0 w 39317"/>
                  <a:gd name="connsiteY3" fmla="*/ 13097 h 13097"/>
                </a:gdLst>
                <a:ahLst/>
                <a:cxnLst>
                  <a:cxn ang="0">
                    <a:pos x="connsiteX0" y="connsiteY0"/>
                  </a:cxn>
                  <a:cxn ang="0">
                    <a:pos x="connsiteX1" y="connsiteY1"/>
                  </a:cxn>
                  <a:cxn ang="0">
                    <a:pos x="connsiteX2" y="connsiteY2"/>
                  </a:cxn>
                  <a:cxn ang="0">
                    <a:pos x="connsiteX3" y="connsiteY3"/>
                  </a:cxn>
                </a:cxnLst>
                <a:rect l="l" t="t" r="r" b="b"/>
                <a:pathLst>
                  <a:path w="39317" h="13097">
                    <a:moveTo>
                      <a:pt x="0" y="0"/>
                    </a:moveTo>
                    <a:lnTo>
                      <a:pt x="39318" y="0"/>
                    </a:lnTo>
                    <a:lnTo>
                      <a:pt x="39318"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84" name="Freihandform: Form 858">
                <a:extLst>
                  <a:ext uri="{FF2B5EF4-FFF2-40B4-BE49-F238E27FC236}">
                    <a16:creationId xmlns:a16="http://schemas.microsoft.com/office/drawing/2014/main" id="{17E3A2C2-7BDC-4B70-885B-AB09972B6E96}"/>
                  </a:ext>
                </a:extLst>
              </p:cNvPr>
              <p:cNvSpPr/>
              <p:nvPr/>
            </p:nvSpPr>
            <p:spPr>
              <a:xfrm>
                <a:off x="6270755" y="1797151"/>
                <a:ext cx="39317" cy="13097"/>
              </a:xfrm>
              <a:custGeom>
                <a:avLst/>
                <a:gdLst>
                  <a:gd name="connsiteX0" fmla="*/ 0 w 39317"/>
                  <a:gd name="connsiteY0" fmla="*/ 0 h 13097"/>
                  <a:gd name="connsiteX1" fmla="*/ 39317 w 39317"/>
                  <a:gd name="connsiteY1" fmla="*/ 0 h 13097"/>
                  <a:gd name="connsiteX2" fmla="*/ 39317 w 39317"/>
                  <a:gd name="connsiteY2" fmla="*/ 13097 h 13097"/>
                  <a:gd name="connsiteX3" fmla="*/ 0 w 39317"/>
                  <a:gd name="connsiteY3" fmla="*/ 13097 h 13097"/>
                </a:gdLst>
                <a:ahLst/>
                <a:cxnLst>
                  <a:cxn ang="0">
                    <a:pos x="connsiteX0" y="connsiteY0"/>
                  </a:cxn>
                  <a:cxn ang="0">
                    <a:pos x="connsiteX1" y="connsiteY1"/>
                  </a:cxn>
                  <a:cxn ang="0">
                    <a:pos x="connsiteX2" y="connsiteY2"/>
                  </a:cxn>
                  <a:cxn ang="0">
                    <a:pos x="connsiteX3" y="connsiteY3"/>
                  </a:cxn>
                </a:cxnLst>
                <a:rect l="l" t="t" r="r" b="b"/>
                <a:pathLst>
                  <a:path w="39317" h="13097">
                    <a:moveTo>
                      <a:pt x="0" y="0"/>
                    </a:moveTo>
                    <a:lnTo>
                      <a:pt x="39317" y="0"/>
                    </a:lnTo>
                    <a:lnTo>
                      <a:pt x="39317"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85" name="Freihandform: Form 859">
                <a:extLst>
                  <a:ext uri="{FF2B5EF4-FFF2-40B4-BE49-F238E27FC236}">
                    <a16:creationId xmlns:a16="http://schemas.microsoft.com/office/drawing/2014/main" id="{C86B8FE7-460E-4A98-9956-CCCA7AC09A93}"/>
                  </a:ext>
                </a:extLst>
              </p:cNvPr>
              <p:cNvSpPr/>
              <p:nvPr/>
            </p:nvSpPr>
            <p:spPr>
              <a:xfrm>
                <a:off x="6165874" y="1836494"/>
                <a:ext cx="39317" cy="13097"/>
              </a:xfrm>
              <a:custGeom>
                <a:avLst/>
                <a:gdLst>
                  <a:gd name="connsiteX0" fmla="*/ 0 w 39317"/>
                  <a:gd name="connsiteY0" fmla="*/ 0 h 13097"/>
                  <a:gd name="connsiteX1" fmla="*/ 39318 w 39317"/>
                  <a:gd name="connsiteY1" fmla="*/ 0 h 13097"/>
                  <a:gd name="connsiteX2" fmla="*/ 39318 w 39317"/>
                  <a:gd name="connsiteY2" fmla="*/ 13097 h 13097"/>
                  <a:gd name="connsiteX3" fmla="*/ 0 w 39317"/>
                  <a:gd name="connsiteY3" fmla="*/ 13097 h 13097"/>
                </a:gdLst>
                <a:ahLst/>
                <a:cxnLst>
                  <a:cxn ang="0">
                    <a:pos x="connsiteX0" y="connsiteY0"/>
                  </a:cxn>
                  <a:cxn ang="0">
                    <a:pos x="connsiteX1" y="connsiteY1"/>
                  </a:cxn>
                  <a:cxn ang="0">
                    <a:pos x="connsiteX2" y="connsiteY2"/>
                  </a:cxn>
                  <a:cxn ang="0">
                    <a:pos x="connsiteX3" y="connsiteY3"/>
                  </a:cxn>
                </a:cxnLst>
                <a:rect l="l" t="t" r="r" b="b"/>
                <a:pathLst>
                  <a:path w="39317" h="13097">
                    <a:moveTo>
                      <a:pt x="0" y="0"/>
                    </a:moveTo>
                    <a:lnTo>
                      <a:pt x="39318" y="0"/>
                    </a:lnTo>
                    <a:lnTo>
                      <a:pt x="39318"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86" name="Freihandform: Form 860">
                <a:extLst>
                  <a:ext uri="{FF2B5EF4-FFF2-40B4-BE49-F238E27FC236}">
                    <a16:creationId xmlns:a16="http://schemas.microsoft.com/office/drawing/2014/main" id="{B66346AB-DDE9-4846-AAE7-C36D87421E88}"/>
                  </a:ext>
                </a:extLst>
              </p:cNvPr>
              <p:cNvSpPr/>
              <p:nvPr/>
            </p:nvSpPr>
            <p:spPr>
              <a:xfrm>
                <a:off x="6165874" y="1875811"/>
                <a:ext cx="39317" cy="13097"/>
              </a:xfrm>
              <a:custGeom>
                <a:avLst/>
                <a:gdLst>
                  <a:gd name="connsiteX0" fmla="*/ 0 w 39317"/>
                  <a:gd name="connsiteY0" fmla="*/ 0 h 13097"/>
                  <a:gd name="connsiteX1" fmla="*/ 39318 w 39317"/>
                  <a:gd name="connsiteY1" fmla="*/ 0 h 13097"/>
                  <a:gd name="connsiteX2" fmla="*/ 39318 w 39317"/>
                  <a:gd name="connsiteY2" fmla="*/ 13097 h 13097"/>
                  <a:gd name="connsiteX3" fmla="*/ 0 w 39317"/>
                  <a:gd name="connsiteY3" fmla="*/ 13097 h 13097"/>
                </a:gdLst>
                <a:ahLst/>
                <a:cxnLst>
                  <a:cxn ang="0">
                    <a:pos x="connsiteX0" y="connsiteY0"/>
                  </a:cxn>
                  <a:cxn ang="0">
                    <a:pos x="connsiteX1" y="connsiteY1"/>
                  </a:cxn>
                  <a:cxn ang="0">
                    <a:pos x="connsiteX2" y="connsiteY2"/>
                  </a:cxn>
                  <a:cxn ang="0">
                    <a:pos x="connsiteX3" y="connsiteY3"/>
                  </a:cxn>
                </a:cxnLst>
                <a:rect l="l" t="t" r="r" b="b"/>
                <a:pathLst>
                  <a:path w="39317" h="13097">
                    <a:moveTo>
                      <a:pt x="0" y="0"/>
                    </a:moveTo>
                    <a:lnTo>
                      <a:pt x="39318" y="0"/>
                    </a:lnTo>
                    <a:lnTo>
                      <a:pt x="39318"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87" name="Freihandform: Form 862">
                <a:extLst>
                  <a:ext uri="{FF2B5EF4-FFF2-40B4-BE49-F238E27FC236}">
                    <a16:creationId xmlns:a16="http://schemas.microsoft.com/office/drawing/2014/main" id="{519B2CBC-6823-4B47-83D6-60632809807A}"/>
                  </a:ext>
                </a:extLst>
              </p:cNvPr>
              <p:cNvSpPr/>
              <p:nvPr/>
            </p:nvSpPr>
            <p:spPr>
              <a:xfrm>
                <a:off x="6165874" y="1947898"/>
                <a:ext cx="39317" cy="13097"/>
              </a:xfrm>
              <a:custGeom>
                <a:avLst/>
                <a:gdLst>
                  <a:gd name="connsiteX0" fmla="*/ 0 w 39317"/>
                  <a:gd name="connsiteY0" fmla="*/ 0 h 13097"/>
                  <a:gd name="connsiteX1" fmla="*/ 39318 w 39317"/>
                  <a:gd name="connsiteY1" fmla="*/ 0 h 13097"/>
                  <a:gd name="connsiteX2" fmla="*/ 39318 w 39317"/>
                  <a:gd name="connsiteY2" fmla="*/ 13097 h 13097"/>
                  <a:gd name="connsiteX3" fmla="*/ 0 w 39317"/>
                  <a:gd name="connsiteY3" fmla="*/ 13097 h 13097"/>
                </a:gdLst>
                <a:ahLst/>
                <a:cxnLst>
                  <a:cxn ang="0">
                    <a:pos x="connsiteX0" y="connsiteY0"/>
                  </a:cxn>
                  <a:cxn ang="0">
                    <a:pos x="connsiteX1" y="connsiteY1"/>
                  </a:cxn>
                  <a:cxn ang="0">
                    <a:pos x="connsiteX2" y="connsiteY2"/>
                  </a:cxn>
                  <a:cxn ang="0">
                    <a:pos x="connsiteX3" y="connsiteY3"/>
                  </a:cxn>
                </a:cxnLst>
                <a:rect l="l" t="t" r="r" b="b"/>
                <a:pathLst>
                  <a:path w="39317" h="13097">
                    <a:moveTo>
                      <a:pt x="0" y="0"/>
                    </a:moveTo>
                    <a:lnTo>
                      <a:pt x="39318" y="0"/>
                    </a:lnTo>
                    <a:lnTo>
                      <a:pt x="39318"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88" name="Freihandform: Form 863">
                <a:extLst>
                  <a:ext uri="{FF2B5EF4-FFF2-40B4-BE49-F238E27FC236}">
                    <a16:creationId xmlns:a16="http://schemas.microsoft.com/office/drawing/2014/main" id="{FE378257-3A09-4A2D-AC91-E2FA9C73656F}"/>
                  </a:ext>
                </a:extLst>
              </p:cNvPr>
              <p:cNvSpPr/>
              <p:nvPr/>
            </p:nvSpPr>
            <p:spPr>
              <a:xfrm>
                <a:off x="6165874" y="1987215"/>
                <a:ext cx="39317" cy="13097"/>
              </a:xfrm>
              <a:custGeom>
                <a:avLst/>
                <a:gdLst>
                  <a:gd name="connsiteX0" fmla="*/ 0 w 39317"/>
                  <a:gd name="connsiteY0" fmla="*/ 0 h 13097"/>
                  <a:gd name="connsiteX1" fmla="*/ 39318 w 39317"/>
                  <a:gd name="connsiteY1" fmla="*/ 0 h 13097"/>
                  <a:gd name="connsiteX2" fmla="*/ 39318 w 39317"/>
                  <a:gd name="connsiteY2" fmla="*/ 13097 h 13097"/>
                  <a:gd name="connsiteX3" fmla="*/ 0 w 39317"/>
                  <a:gd name="connsiteY3" fmla="*/ 13097 h 13097"/>
                </a:gdLst>
                <a:ahLst/>
                <a:cxnLst>
                  <a:cxn ang="0">
                    <a:pos x="connsiteX0" y="connsiteY0"/>
                  </a:cxn>
                  <a:cxn ang="0">
                    <a:pos x="connsiteX1" y="connsiteY1"/>
                  </a:cxn>
                  <a:cxn ang="0">
                    <a:pos x="connsiteX2" y="connsiteY2"/>
                  </a:cxn>
                  <a:cxn ang="0">
                    <a:pos x="connsiteX3" y="connsiteY3"/>
                  </a:cxn>
                </a:cxnLst>
                <a:rect l="l" t="t" r="r" b="b"/>
                <a:pathLst>
                  <a:path w="39317" h="13097">
                    <a:moveTo>
                      <a:pt x="0" y="0"/>
                    </a:moveTo>
                    <a:lnTo>
                      <a:pt x="39318" y="0"/>
                    </a:lnTo>
                    <a:lnTo>
                      <a:pt x="39318"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89" name="Freihandform: Form 864">
                <a:extLst>
                  <a:ext uri="{FF2B5EF4-FFF2-40B4-BE49-F238E27FC236}">
                    <a16:creationId xmlns:a16="http://schemas.microsoft.com/office/drawing/2014/main" id="{E17F1CE9-0E56-47CD-88FF-BECBDCDA3F35}"/>
                  </a:ext>
                </a:extLst>
              </p:cNvPr>
              <p:cNvSpPr/>
              <p:nvPr/>
            </p:nvSpPr>
            <p:spPr>
              <a:xfrm>
                <a:off x="6165874" y="2026558"/>
                <a:ext cx="39317" cy="13097"/>
              </a:xfrm>
              <a:custGeom>
                <a:avLst/>
                <a:gdLst>
                  <a:gd name="connsiteX0" fmla="*/ 0 w 39317"/>
                  <a:gd name="connsiteY0" fmla="*/ 0 h 13097"/>
                  <a:gd name="connsiteX1" fmla="*/ 39318 w 39317"/>
                  <a:gd name="connsiteY1" fmla="*/ 0 h 13097"/>
                  <a:gd name="connsiteX2" fmla="*/ 39318 w 39317"/>
                  <a:gd name="connsiteY2" fmla="*/ 13097 h 13097"/>
                  <a:gd name="connsiteX3" fmla="*/ 0 w 39317"/>
                  <a:gd name="connsiteY3" fmla="*/ 13097 h 13097"/>
                </a:gdLst>
                <a:ahLst/>
                <a:cxnLst>
                  <a:cxn ang="0">
                    <a:pos x="connsiteX0" y="connsiteY0"/>
                  </a:cxn>
                  <a:cxn ang="0">
                    <a:pos x="connsiteX1" y="connsiteY1"/>
                  </a:cxn>
                  <a:cxn ang="0">
                    <a:pos x="connsiteX2" y="connsiteY2"/>
                  </a:cxn>
                  <a:cxn ang="0">
                    <a:pos x="connsiteX3" y="connsiteY3"/>
                  </a:cxn>
                </a:cxnLst>
                <a:rect l="l" t="t" r="r" b="b"/>
                <a:pathLst>
                  <a:path w="39317" h="13097">
                    <a:moveTo>
                      <a:pt x="0" y="0"/>
                    </a:moveTo>
                    <a:lnTo>
                      <a:pt x="39318" y="0"/>
                    </a:lnTo>
                    <a:lnTo>
                      <a:pt x="39318"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90" name="Freihandform: Form 865">
                <a:extLst>
                  <a:ext uri="{FF2B5EF4-FFF2-40B4-BE49-F238E27FC236}">
                    <a16:creationId xmlns:a16="http://schemas.microsoft.com/office/drawing/2014/main" id="{A762C291-C36C-4DF9-BB07-F26EEF28E40B}"/>
                  </a:ext>
                </a:extLst>
              </p:cNvPr>
              <p:cNvSpPr/>
              <p:nvPr/>
            </p:nvSpPr>
            <p:spPr>
              <a:xfrm>
                <a:off x="6270755" y="1836494"/>
                <a:ext cx="39317" cy="13097"/>
              </a:xfrm>
              <a:custGeom>
                <a:avLst/>
                <a:gdLst>
                  <a:gd name="connsiteX0" fmla="*/ 0 w 39317"/>
                  <a:gd name="connsiteY0" fmla="*/ 0 h 13097"/>
                  <a:gd name="connsiteX1" fmla="*/ 39317 w 39317"/>
                  <a:gd name="connsiteY1" fmla="*/ 0 h 13097"/>
                  <a:gd name="connsiteX2" fmla="*/ 39317 w 39317"/>
                  <a:gd name="connsiteY2" fmla="*/ 13097 h 13097"/>
                  <a:gd name="connsiteX3" fmla="*/ 0 w 39317"/>
                  <a:gd name="connsiteY3" fmla="*/ 13097 h 13097"/>
                </a:gdLst>
                <a:ahLst/>
                <a:cxnLst>
                  <a:cxn ang="0">
                    <a:pos x="connsiteX0" y="connsiteY0"/>
                  </a:cxn>
                  <a:cxn ang="0">
                    <a:pos x="connsiteX1" y="connsiteY1"/>
                  </a:cxn>
                  <a:cxn ang="0">
                    <a:pos x="connsiteX2" y="connsiteY2"/>
                  </a:cxn>
                  <a:cxn ang="0">
                    <a:pos x="connsiteX3" y="connsiteY3"/>
                  </a:cxn>
                </a:cxnLst>
                <a:rect l="l" t="t" r="r" b="b"/>
                <a:pathLst>
                  <a:path w="39317" h="13097">
                    <a:moveTo>
                      <a:pt x="0" y="0"/>
                    </a:moveTo>
                    <a:lnTo>
                      <a:pt x="39317" y="0"/>
                    </a:lnTo>
                    <a:lnTo>
                      <a:pt x="39317"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91" name="Freihandform: Form 866">
                <a:extLst>
                  <a:ext uri="{FF2B5EF4-FFF2-40B4-BE49-F238E27FC236}">
                    <a16:creationId xmlns:a16="http://schemas.microsoft.com/office/drawing/2014/main" id="{85064385-CCC9-46FC-8784-25B3352494A7}"/>
                  </a:ext>
                </a:extLst>
              </p:cNvPr>
              <p:cNvSpPr/>
              <p:nvPr/>
            </p:nvSpPr>
            <p:spPr>
              <a:xfrm>
                <a:off x="6257632" y="1908580"/>
                <a:ext cx="91758" cy="13097"/>
              </a:xfrm>
              <a:custGeom>
                <a:avLst/>
                <a:gdLst>
                  <a:gd name="connsiteX0" fmla="*/ 0 w 91758"/>
                  <a:gd name="connsiteY0" fmla="*/ 0 h 13097"/>
                  <a:gd name="connsiteX1" fmla="*/ 91758 w 91758"/>
                  <a:gd name="connsiteY1" fmla="*/ 0 h 13097"/>
                  <a:gd name="connsiteX2" fmla="*/ 91758 w 91758"/>
                  <a:gd name="connsiteY2" fmla="*/ 13097 h 13097"/>
                  <a:gd name="connsiteX3" fmla="*/ 0 w 91758"/>
                  <a:gd name="connsiteY3" fmla="*/ 13097 h 13097"/>
                </a:gdLst>
                <a:ahLst/>
                <a:cxnLst>
                  <a:cxn ang="0">
                    <a:pos x="connsiteX0" y="connsiteY0"/>
                  </a:cxn>
                  <a:cxn ang="0">
                    <a:pos x="connsiteX1" y="connsiteY1"/>
                  </a:cxn>
                  <a:cxn ang="0">
                    <a:pos x="connsiteX2" y="connsiteY2"/>
                  </a:cxn>
                  <a:cxn ang="0">
                    <a:pos x="connsiteX3" y="connsiteY3"/>
                  </a:cxn>
                </a:cxnLst>
                <a:rect l="l" t="t" r="r" b="b"/>
                <a:pathLst>
                  <a:path w="91758" h="13097">
                    <a:moveTo>
                      <a:pt x="0" y="0"/>
                    </a:moveTo>
                    <a:lnTo>
                      <a:pt x="91758" y="0"/>
                    </a:lnTo>
                    <a:lnTo>
                      <a:pt x="91758"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92" name="Freihandform: Form 867">
                <a:extLst>
                  <a:ext uri="{FF2B5EF4-FFF2-40B4-BE49-F238E27FC236}">
                    <a16:creationId xmlns:a16="http://schemas.microsoft.com/office/drawing/2014/main" id="{F903BC57-41C8-4059-8F26-9E590C24AC7A}"/>
                  </a:ext>
                </a:extLst>
              </p:cNvPr>
              <p:cNvSpPr/>
              <p:nvPr/>
            </p:nvSpPr>
            <p:spPr>
              <a:xfrm>
                <a:off x="6257632" y="1947898"/>
                <a:ext cx="32768" cy="13097"/>
              </a:xfrm>
              <a:custGeom>
                <a:avLst/>
                <a:gdLst>
                  <a:gd name="connsiteX0" fmla="*/ 0 w 32768"/>
                  <a:gd name="connsiteY0" fmla="*/ 0 h 13097"/>
                  <a:gd name="connsiteX1" fmla="*/ 32769 w 32768"/>
                  <a:gd name="connsiteY1" fmla="*/ 0 h 13097"/>
                  <a:gd name="connsiteX2" fmla="*/ 32769 w 32768"/>
                  <a:gd name="connsiteY2" fmla="*/ 13097 h 13097"/>
                  <a:gd name="connsiteX3" fmla="*/ 0 w 32768"/>
                  <a:gd name="connsiteY3" fmla="*/ 13097 h 13097"/>
                </a:gdLst>
                <a:ahLst/>
                <a:cxnLst>
                  <a:cxn ang="0">
                    <a:pos x="connsiteX0" y="connsiteY0"/>
                  </a:cxn>
                  <a:cxn ang="0">
                    <a:pos x="connsiteX1" y="connsiteY1"/>
                  </a:cxn>
                  <a:cxn ang="0">
                    <a:pos x="connsiteX2" y="connsiteY2"/>
                  </a:cxn>
                  <a:cxn ang="0">
                    <a:pos x="connsiteX3" y="connsiteY3"/>
                  </a:cxn>
                </a:cxnLst>
                <a:rect l="l" t="t" r="r" b="b"/>
                <a:pathLst>
                  <a:path w="32768" h="13097">
                    <a:moveTo>
                      <a:pt x="0" y="0"/>
                    </a:moveTo>
                    <a:lnTo>
                      <a:pt x="32769" y="0"/>
                    </a:lnTo>
                    <a:lnTo>
                      <a:pt x="32769"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93" name="Freihandform: Form 868">
                <a:extLst>
                  <a:ext uri="{FF2B5EF4-FFF2-40B4-BE49-F238E27FC236}">
                    <a16:creationId xmlns:a16="http://schemas.microsoft.com/office/drawing/2014/main" id="{B143C9BF-2BA1-41A3-8CFB-AD572A936979}"/>
                  </a:ext>
                </a:extLst>
              </p:cNvPr>
              <p:cNvSpPr/>
              <p:nvPr/>
            </p:nvSpPr>
            <p:spPr>
              <a:xfrm>
                <a:off x="6257632" y="1987215"/>
                <a:ext cx="26220" cy="13097"/>
              </a:xfrm>
              <a:custGeom>
                <a:avLst/>
                <a:gdLst>
                  <a:gd name="connsiteX0" fmla="*/ 0 w 26220"/>
                  <a:gd name="connsiteY0" fmla="*/ 0 h 13097"/>
                  <a:gd name="connsiteX1" fmla="*/ 26220 w 26220"/>
                  <a:gd name="connsiteY1" fmla="*/ 0 h 13097"/>
                  <a:gd name="connsiteX2" fmla="*/ 26220 w 26220"/>
                  <a:gd name="connsiteY2" fmla="*/ 13097 h 13097"/>
                  <a:gd name="connsiteX3" fmla="*/ 0 w 26220"/>
                  <a:gd name="connsiteY3" fmla="*/ 13097 h 13097"/>
                </a:gdLst>
                <a:ahLst/>
                <a:cxnLst>
                  <a:cxn ang="0">
                    <a:pos x="connsiteX0" y="connsiteY0"/>
                  </a:cxn>
                  <a:cxn ang="0">
                    <a:pos x="connsiteX1" y="connsiteY1"/>
                  </a:cxn>
                  <a:cxn ang="0">
                    <a:pos x="connsiteX2" y="connsiteY2"/>
                  </a:cxn>
                  <a:cxn ang="0">
                    <a:pos x="connsiteX3" y="connsiteY3"/>
                  </a:cxn>
                </a:cxnLst>
                <a:rect l="l" t="t" r="r" b="b"/>
                <a:pathLst>
                  <a:path w="26220" h="13097">
                    <a:moveTo>
                      <a:pt x="0" y="0"/>
                    </a:moveTo>
                    <a:lnTo>
                      <a:pt x="26220" y="0"/>
                    </a:lnTo>
                    <a:lnTo>
                      <a:pt x="26220"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394" name="Freihandform: Form 869">
                <a:extLst>
                  <a:ext uri="{FF2B5EF4-FFF2-40B4-BE49-F238E27FC236}">
                    <a16:creationId xmlns:a16="http://schemas.microsoft.com/office/drawing/2014/main" id="{DFDF5C35-6FD9-4210-B447-136E4FC06F75}"/>
                  </a:ext>
                </a:extLst>
              </p:cNvPr>
              <p:cNvSpPr/>
              <p:nvPr/>
            </p:nvSpPr>
            <p:spPr>
              <a:xfrm>
                <a:off x="6257632" y="2026558"/>
                <a:ext cx="13097" cy="13097"/>
              </a:xfrm>
              <a:custGeom>
                <a:avLst/>
                <a:gdLst>
                  <a:gd name="connsiteX0" fmla="*/ 0 w 13097"/>
                  <a:gd name="connsiteY0" fmla="*/ 0 h 13097"/>
                  <a:gd name="connsiteX1" fmla="*/ 13097 w 13097"/>
                  <a:gd name="connsiteY1" fmla="*/ 0 h 13097"/>
                  <a:gd name="connsiteX2" fmla="*/ 13097 w 13097"/>
                  <a:gd name="connsiteY2" fmla="*/ 13097 h 13097"/>
                  <a:gd name="connsiteX3" fmla="*/ 0 w 13097"/>
                  <a:gd name="connsiteY3" fmla="*/ 13097 h 13097"/>
                </a:gdLst>
                <a:ahLst/>
                <a:cxnLst>
                  <a:cxn ang="0">
                    <a:pos x="connsiteX0" y="connsiteY0"/>
                  </a:cxn>
                  <a:cxn ang="0">
                    <a:pos x="connsiteX1" y="connsiteY1"/>
                  </a:cxn>
                  <a:cxn ang="0">
                    <a:pos x="connsiteX2" y="connsiteY2"/>
                  </a:cxn>
                  <a:cxn ang="0">
                    <a:pos x="connsiteX3" y="connsiteY3"/>
                  </a:cxn>
                </a:cxnLst>
                <a:rect l="l" t="t" r="r" b="b"/>
                <a:pathLst>
                  <a:path w="13097" h="13097">
                    <a:moveTo>
                      <a:pt x="0" y="0"/>
                    </a:moveTo>
                    <a:lnTo>
                      <a:pt x="13097" y="0"/>
                    </a:lnTo>
                    <a:lnTo>
                      <a:pt x="13097" y="13097"/>
                    </a:lnTo>
                    <a:lnTo>
                      <a:pt x="0" y="13097"/>
                    </a:lnTo>
                    <a:close/>
                  </a:path>
                </a:pathLst>
              </a:custGeom>
              <a:solidFill>
                <a:schemeClr val="tx2"/>
              </a:solidFill>
              <a:ln w="2573" cap="flat">
                <a:noFill/>
                <a:prstDash val="solid"/>
                <a:miter/>
              </a:ln>
            </p:spPr>
            <p:txBody>
              <a:bodyPr rtlCol="0" anchor="ctr"/>
              <a:lstStyle/>
              <a:p>
                <a:endParaRPr lang="en-GB" dirty="0"/>
              </a:p>
            </p:txBody>
          </p:sp>
        </p:grpSp>
        <p:grpSp>
          <p:nvGrpSpPr>
            <p:cNvPr id="364" name="Group 363">
              <a:extLst>
                <a:ext uri="{FF2B5EF4-FFF2-40B4-BE49-F238E27FC236}">
                  <a16:creationId xmlns:a16="http://schemas.microsoft.com/office/drawing/2014/main" id="{B26B3A67-2219-46AC-81C0-420B39F82D17}"/>
                </a:ext>
              </a:extLst>
            </p:cNvPr>
            <p:cNvGrpSpPr/>
            <p:nvPr/>
          </p:nvGrpSpPr>
          <p:grpSpPr>
            <a:xfrm>
              <a:off x="2668929" y="4113527"/>
              <a:ext cx="431978" cy="321084"/>
              <a:chOff x="6126556" y="1751278"/>
              <a:chExt cx="484959" cy="360464"/>
            </a:xfrm>
          </p:grpSpPr>
          <p:grpSp>
            <p:nvGrpSpPr>
              <p:cNvPr id="365" name="Group 364">
                <a:extLst>
                  <a:ext uri="{FF2B5EF4-FFF2-40B4-BE49-F238E27FC236}">
                    <a16:creationId xmlns:a16="http://schemas.microsoft.com/office/drawing/2014/main" id="{DD11D8CC-25B0-4FE3-8119-182A620FF260}"/>
                  </a:ext>
                </a:extLst>
              </p:cNvPr>
              <p:cNvGrpSpPr/>
              <p:nvPr/>
            </p:nvGrpSpPr>
            <p:grpSpPr>
              <a:xfrm>
                <a:off x="6463292" y="1751278"/>
                <a:ext cx="148223" cy="235937"/>
                <a:chOff x="6463292" y="1751278"/>
                <a:chExt cx="148223" cy="235937"/>
              </a:xfrm>
            </p:grpSpPr>
            <p:sp>
              <p:nvSpPr>
                <p:cNvPr id="367" name="Freihandform: Form 838">
                  <a:extLst>
                    <a:ext uri="{FF2B5EF4-FFF2-40B4-BE49-F238E27FC236}">
                      <a16:creationId xmlns:a16="http://schemas.microsoft.com/office/drawing/2014/main" id="{FF1219B3-BA1C-4B5C-8FAC-C583226A7361}"/>
                    </a:ext>
                  </a:extLst>
                </p:cNvPr>
                <p:cNvSpPr/>
                <p:nvPr/>
              </p:nvSpPr>
              <p:spPr>
                <a:xfrm>
                  <a:off x="6546003" y="1751278"/>
                  <a:ext cx="65512" cy="131081"/>
                </a:xfrm>
                <a:custGeom>
                  <a:avLst/>
                  <a:gdLst>
                    <a:gd name="connsiteX0" fmla="*/ 32769 w 65512"/>
                    <a:gd name="connsiteY0" fmla="*/ 131082 h 131081"/>
                    <a:gd name="connsiteX1" fmla="*/ 28463 w 65512"/>
                    <a:gd name="connsiteY1" fmla="*/ 129483 h 131081"/>
                    <a:gd name="connsiteX2" fmla="*/ 0 w 65512"/>
                    <a:gd name="connsiteY2" fmla="*/ 65544 h 131081"/>
                    <a:gd name="connsiteX3" fmla="*/ 28463 w 65512"/>
                    <a:gd name="connsiteY3" fmla="*/ 1605 h 131081"/>
                    <a:gd name="connsiteX4" fmla="*/ 37049 w 65512"/>
                    <a:gd name="connsiteY4" fmla="*/ 1605 h 131081"/>
                    <a:gd name="connsiteX5" fmla="*/ 65512 w 65512"/>
                    <a:gd name="connsiteY5" fmla="*/ 65544 h 131081"/>
                    <a:gd name="connsiteX6" fmla="*/ 37049 w 65512"/>
                    <a:gd name="connsiteY6" fmla="*/ 129483 h 131081"/>
                    <a:gd name="connsiteX7" fmla="*/ 32769 w 65512"/>
                    <a:gd name="connsiteY7" fmla="*/ 131082 h 131081"/>
                    <a:gd name="connsiteX8" fmla="*/ 32769 w 65512"/>
                    <a:gd name="connsiteY8" fmla="*/ 15579 h 131081"/>
                    <a:gd name="connsiteX9" fmla="*/ 13097 w 65512"/>
                    <a:gd name="connsiteY9" fmla="*/ 65544 h 131081"/>
                    <a:gd name="connsiteX10" fmla="*/ 32769 w 65512"/>
                    <a:gd name="connsiteY10" fmla="*/ 115510 h 131081"/>
                    <a:gd name="connsiteX11" fmla="*/ 52441 w 65512"/>
                    <a:gd name="connsiteY11" fmla="*/ 65544 h 131081"/>
                    <a:gd name="connsiteX12" fmla="*/ 32769 w 65512"/>
                    <a:gd name="connsiteY12" fmla="*/ 15579 h 131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512" h="131081">
                      <a:moveTo>
                        <a:pt x="32769" y="131082"/>
                      </a:moveTo>
                      <a:cubicBezTo>
                        <a:pt x="31248" y="131082"/>
                        <a:pt x="29701" y="130541"/>
                        <a:pt x="28463" y="129483"/>
                      </a:cubicBezTo>
                      <a:cubicBezTo>
                        <a:pt x="10364" y="113782"/>
                        <a:pt x="0" y="90475"/>
                        <a:pt x="0" y="65544"/>
                      </a:cubicBezTo>
                      <a:cubicBezTo>
                        <a:pt x="0" y="40613"/>
                        <a:pt x="10390" y="17306"/>
                        <a:pt x="28463" y="1605"/>
                      </a:cubicBezTo>
                      <a:cubicBezTo>
                        <a:pt x="30938" y="-535"/>
                        <a:pt x="34600" y="-535"/>
                        <a:pt x="37049" y="1605"/>
                      </a:cubicBezTo>
                      <a:cubicBezTo>
                        <a:pt x="55148" y="17306"/>
                        <a:pt x="65512" y="40613"/>
                        <a:pt x="65512" y="65544"/>
                      </a:cubicBezTo>
                      <a:cubicBezTo>
                        <a:pt x="65512" y="90475"/>
                        <a:pt x="55122" y="113782"/>
                        <a:pt x="37049" y="129483"/>
                      </a:cubicBezTo>
                      <a:cubicBezTo>
                        <a:pt x="35837" y="130541"/>
                        <a:pt x="34316" y="131082"/>
                        <a:pt x="32769" y="131082"/>
                      </a:cubicBezTo>
                      <a:close/>
                      <a:moveTo>
                        <a:pt x="32769" y="15579"/>
                      </a:moveTo>
                      <a:cubicBezTo>
                        <a:pt x="20213" y="28599"/>
                        <a:pt x="13097" y="46491"/>
                        <a:pt x="13097" y="65544"/>
                      </a:cubicBezTo>
                      <a:cubicBezTo>
                        <a:pt x="13097" y="84597"/>
                        <a:pt x="20187" y="102490"/>
                        <a:pt x="32769" y="115510"/>
                      </a:cubicBezTo>
                      <a:cubicBezTo>
                        <a:pt x="45325" y="102490"/>
                        <a:pt x="52441" y="84597"/>
                        <a:pt x="52441" y="65544"/>
                      </a:cubicBezTo>
                      <a:cubicBezTo>
                        <a:pt x="52441" y="46491"/>
                        <a:pt x="45351" y="28599"/>
                        <a:pt x="32769" y="15579"/>
                      </a:cubicBezTo>
                      <a:close/>
                    </a:path>
                  </a:pathLst>
                </a:custGeom>
                <a:solidFill>
                  <a:schemeClr val="accent1"/>
                </a:solidFill>
                <a:ln w="2573" cap="flat">
                  <a:noFill/>
                  <a:prstDash val="solid"/>
                  <a:miter/>
                </a:ln>
              </p:spPr>
              <p:txBody>
                <a:bodyPr rtlCol="0" anchor="ctr"/>
                <a:lstStyle/>
                <a:p>
                  <a:endParaRPr lang="en-GB" dirty="0"/>
                </a:p>
              </p:txBody>
            </p:sp>
            <p:sp>
              <p:nvSpPr>
                <p:cNvPr id="368" name="Freihandform: Form 840">
                  <a:extLst>
                    <a:ext uri="{FF2B5EF4-FFF2-40B4-BE49-F238E27FC236}">
                      <a16:creationId xmlns:a16="http://schemas.microsoft.com/office/drawing/2014/main" id="{C7A8D4AB-A37A-4B2F-92A3-DD39C61875B8}"/>
                    </a:ext>
                  </a:extLst>
                </p:cNvPr>
                <p:cNvSpPr/>
                <p:nvPr/>
              </p:nvSpPr>
              <p:spPr>
                <a:xfrm>
                  <a:off x="6463292" y="1859832"/>
                  <a:ext cx="96146" cy="97631"/>
                </a:xfrm>
                <a:custGeom>
                  <a:avLst/>
                  <a:gdLst>
                    <a:gd name="connsiteX0" fmla="*/ 84954 w 96146"/>
                    <a:gd name="connsiteY0" fmla="*/ 97631 h 97631"/>
                    <a:gd name="connsiteX1" fmla="*/ 24676 w 96146"/>
                    <a:gd name="connsiteY1" fmla="*/ 71746 h 97631"/>
                    <a:gd name="connsiteX2" fmla="*/ 261 w 96146"/>
                    <a:gd name="connsiteY2" fmla="*/ 6157 h 97631"/>
                    <a:gd name="connsiteX3" fmla="*/ 6397 w 96146"/>
                    <a:gd name="connsiteY3" fmla="*/ 150 h 97631"/>
                    <a:gd name="connsiteX4" fmla="*/ 71470 w 96146"/>
                    <a:gd name="connsiteY4" fmla="*/ 25880 h 97631"/>
                    <a:gd name="connsiteX5" fmla="*/ 95886 w 96146"/>
                    <a:gd name="connsiteY5" fmla="*/ 91469 h 97631"/>
                    <a:gd name="connsiteX6" fmla="*/ 89750 w 96146"/>
                    <a:gd name="connsiteY6" fmla="*/ 97477 h 97631"/>
                    <a:gd name="connsiteX7" fmla="*/ 84954 w 96146"/>
                    <a:gd name="connsiteY7" fmla="*/ 97631 h 97631"/>
                    <a:gd name="connsiteX8" fmla="*/ 13126 w 96146"/>
                    <a:gd name="connsiteY8" fmla="*/ 13118 h 97631"/>
                    <a:gd name="connsiteX9" fmla="*/ 34035 w 96146"/>
                    <a:gd name="connsiteY9" fmla="*/ 62568 h 97631"/>
                    <a:gd name="connsiteX10" fmla="*/ 34035 w 96146"/>
                    <a:gd name="connsiteY10" fmla="*/ 62568 h 97631"/>
                    <a:gd name="connsiteX11" fmla="*/ 83046 w 96146"/>
                    <a:gd name="connsiteY11" fmla="*/ 84508 h 97631"/>
                    <a:gd name="connsiteX12" fmla="*/ 62137 w 96146"/>
                    <a:gd name="connsiteY12" fmla="*/ 35058 h 97631"/>
                    <a:gd name="connsiteX13" fmla="*/ 13126 w 96146"/>
                    <a:gd name="connsiteY13" fmla="*/ 13118 h 9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6146" h="97631">
                      <a:moveTo>
                        <a:pt x="84954" y="97631"/>
                      </a:moveTo>
                      <a:cubicBezTo>
                        <a:pt x="62679" y="97631"/>
                        <a:pt x="40945" y="88350"/>
                        <a:pt x="24676" y="71746"/>
                      </a:cubicBezTo>
                      <a:cubicBezTo>
                        <a:pt x="7222" y="53931"/>
                        <a:pt x="-1673" y="30031"/>
                        <a:pt x="261" y="6157"/>
                      </a:cubicBezTo>
                      <a:cubicBezTo>
                        <a:pt x="518" y="2908"/>
                        <a:pt x="3148" y="330"/>
                        <a:pt x="6397" y="150"/>
                      </a:cubicBezTo>
                      <a:cubicBezTo>
                        <a:pt x="30245" y="-1320"/>
                        <a:pt x="54042" y="8091"/>
                        <a:pt x="71470" y="25880"/>
                      </a:cubicBezTo>
                      <a:cubicBezTo>
                        <a:pt x="88925" y="43695"/>
                        <a:pt x="97820" y="67595"/>
                        <a:pt x="95886" y="91469"/>
                      </a:cubicBezTo>
                      <a:cubicBezTo>
                        <a:pt x="95628" y="94718"/>
                        <a:pt x="92998" y="97296"/>
                        <a:pt x="89750" y="97477"/>
                      </a:cubicBezTo>
                      <a:cubicBezTo>
                        <a:pt x="88177" y="97580"/>
                        <a:pt x="86553" y="97631"/>
                        <a:pt x="84954" y="97631"/>
                      </a:cubicBezTo>
                      <a:close/>
                      <a:moveTo>
                        <a:pt x="13126" y="13118"/>
                      </a:moveTo>
                      <a:cubicBezTo>
                        <a:pt x="13255" y="31217"/>
                        <a:pt x="20706" y="48955"/>
                        <a:pt x="34035" y="62568"/>
                      </a:cubicBezTo>
                      <a:lnTo>
                        <a:pt x="34035" y="62568"/>
                      </a:lnTo>
                      <a:cubicBezTo>
                        <a:pt x="47364" y="76181"/>
                        <a:pt x="64948" y="83993"/>
                        <a:pt x="83046" y="84508"/>
                      </a:cubicBezTo>
                      <a:cubicBezTo>
                        <a:pt x="82918" y="66409"/>
                        <a:pt x="75467" y="48671"/>
                        <a:pt x="62137" y="35058"/>
                      </a:cubicBezTo>
                      <a:cubicBezTo>
                        <a:pt x="48808" y="21420"/>
                        <a:pt x="31225" y="13634"/>
                        <a:pt x="13126" y="13118"/>
                      </a:cubicBezTo>
                      <a:close/>
                    </a:path>
                  </a:pathLst>
                </a:custGeom>
                <a:solidFill>
                  <a:schemeClr val="accent1"/>
                </a:solidFill>
                <a:ln w="2573" cap="flat">
                  <a:noFill/>
                  <a:prstDash val="solid"/>
                  <a:miter/>
                </a:ln>
              </p:spPr>
              <p:txBody>
                <a:bodyPr rtlCol="0" anchor="ctr"/>
                <a:lstStyle/>
                <a:p>
                  <a:endParaRPr lang="en-GB" dirty="0"/>
                </a:p>
              </p:txBody>
            </p:sp>
            <p:sp>
              <p:nvSpPr>
                <p:cNvPr id="369" name="Freihandform: Form 841">
                  <a:extLst>
                    <a:ext uri="{FF2B5EF4-FFF2-40B4-BE49-F238E27FC236}">
                      <a16:creationId xmlns:a16="http://schemas.microsoft.com/office/drawing/2014/main" id="{4AA6A287-40DB-4DFB-BBA1-92C66F1B13EC}"/>
                    </a:ext>
                  </a:extLst>
                </p:cNvPr>
                <p:cNvSpPr/>
                <p:nvPr/>
              </p:nvSpPr>
              <p:spPr>
                <a:xfrm>
                  <a:off x="6509411" y="1906742"/>
                  <a:ext cx="75917" cy="80473"/>
                </a:xfrm>
                <a:custGeom>
                  <a:avLst/>
                  <a:gdLst>
                    <a:gd name="connsiteX0" fmla="*/ 69361 w 75917"/>
                    <a:gd name="connsiteY0" fmla="*/ 80473 h 80473"/>
                    <a:gd name="connsiteX1" fmla="*/ 64566 w 75917"/>
                    <a:gd name="connsiteY1" fmla="*/ 78385 h 80473"/>
                    <a:gd name="connsiteX2" fmla="*/ 1761 w 75917"/>
                    <a:gd name="connsiteY2" fmla="*/ 11017 h 80473"/>
                    <a:gd name="connsiteX3" fmla="*/ 2096 w 75917"/>
                    <a:gd name="connsiteY3" fmla="*/ 1761 h 80473"/>
                    <a:gd name="connsiteX4" fmla="*/ 11352 w 75917"/>
                    <a:gd name="connsiteY4" fmla="*/ 2096 h 80473"/>
                    <a:gd name="connsiteX5" fmla="*/ 74157 w 75917"/>
                    <a:gd name="connsiteY5" fmla="*/ 69464 h 80473"/>
                    <a:gd name="connsiteX6" fmla="*/ 73821 w 75917"/>
                    <a:gd name="connsiteY6" fmla="*/ 78720 h 80473"/>
                    <a:gd name="connsiteX7" fmla="*/ 69361 w 75917"/>
                    <a:gd name="connsiteY7" fmla="*/ 80473 h 80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917" h="80473">
                      <a:moveTo>
                        <a:pt x="69361" y="80473"/>
                      </a:moveTo>
                      <a:cubicBezTo>
                        <a:pt x="67608" y="80473"/>
                        <a:pt x="65855" y="79777"/>
                        <a:pt x="64566" y="78385"/>
                      </a:cubicBezTo>
                      <a:lnTo>
                        <a:pt x="1761" y="11017"/>
                      </a:lnTo>
                      <a:cubicBezTo>
                        <a:pt x="-714" y="8361"/>
                        <a:pt x="-560" y="4210"/>
                        <a:pt x="2096" y="1761"/>
                      </a:cubicBezTo>
                      <a:cubicBezTo>
                        <a:pt x="4751" y="-714"/>
                        <a:pt x="8877" y="-560"/>
                        <a:pt x="11352" y="2096"/>
                      </a:cubicBezTo>
                      <a:lnTo>
                        <a:pt x="74157" y="69464"/>
                      </a:lnTo>
                      <a:cubicBezTo>
                        <a:pt x="76632" y="72120"/>
                        <a:pt x="76477" y="76271"/>
                        <a:pt x="73821" y="78720"/>
                      </a:cubicBezTo>
                      <a:cubicBezTo>
                        <a:pt x="72584" y="79906"/>
                        <a:pt x="70985" y="80473"/>
                        <a:pt x="69361" y="80473"/>
                      </a:cubicBezTo>
                      <a:close/>
                    </a:path>
                  </a:pathLst>
                </a:custGeom>
                <a:solidFill>
                  <a:schemeClr val="accent1"/>
                </a:solidFill>
                <a:ln w="2573" cap="flat">
                  <a:noFill/>
                  <a:prstDash val="solid"/>
                  <a:miter/>
                </a:ln>
              </p:spPr>
              <p:txBody>
                <a:bodyPr rtlCol="0" anchor="ctr"/>
                <a:lstStyle/>
                <a:p>
                  <a:endParaRPr lang="en-GB" dirty="0"/>
                </a:p>
              </p:txBody>
            </p:sp>
          </p:grpSp>
          <p:sp>
            <p:nvSpPr>
              <p:cNvPr id="366" name="Freihandform: Form 837">
                <a:extLst>
                  <a:ext uri="{FF2B5EF4-FFF2-40B4-BE49-F238E27FC236}">
                    <a16:creationId xmlns:a16="http://schemas.microsoft.com/office/drawing/2014/main" id="{3AE115F8-A0E4-47A0-A96C-E3E1614DAB53}"/>
                  </a:ext>
                </a:extLst>
              </p:cNvPr>
              <p:cNvSpPr/>
              <p:nvPr/>
            </p:nvSpPr>
            <p:spPr>
              <a:xfrm>
                <a:off x="6126556" y="1823371"/>
                <a:ext cx="458764" cy="288371"/>
              </a:xfrm>
              <a:custGeom>
                <a:avLst/>
                <a:gdLst>
                  <a:gd name="connsiteX0" fmla="*/ 452216 w 458764"/>
                  <a:gd name="connsiteY0" fmla="*/ 288371 h 288371"/>
                  <a:gd name="connsiteX1" fmla="*/ 6549 w 458764"/>
                  <a:gd name="connsiteY1" fmla="*/ 288371 h 288371"/>
                  <a:gd name="connsiteX2" fmla="*/ 0 w 458764"/>
                  <a:gd name="connsiteY2" fmla="*/ 281823 h 288371"/>
                  <a:gd name="connsiteX3" fmla="*/ 6549 w 458764"/>
                  <a:gd name="connsiteY3" fmla="*/ 275274 h 288371"/>
                  <a:gd name="connsiteX4" fmla="*/ 445667 w 458764"/>
                  <a:gd name="connsiteY4" fmla="*/ 275274 h 288371"/>
                  <a:gd name="connsiteX5" fmla="*/ 445667 w 458764"/>
                  <a:gd name="connsiteY5" fmla="*/ 6549 h 288371"/>
                  <a:gd name="connsiteX6" fmla="*/ 452216 w 458764"/>
                  <a:gd name="connsiteY6" fmla="*/ 0 h 288371"/>
                  <a:gd name="connsiteX7" fmla="*/ 458764 w 458764"/>
                  <a:gd name="connsiteY7" fmla="*/ 6549 h 288371"/>
                  <a:gd name="connsiteX8" fmla="*/ 458764 w 458764"/>
                  <a:gd name="connsiteY8" fmla="*/ 281823 h 288371"/>
                  <a:gd name="connsiteX9" fmla="*/ 452216 w 458764"/>
                  <a:gd name="connsiteY9" fmla="*/ 288371 h 288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764" h="288371">
                    <a:moveTo>
                      <a:pt x="452216" y="288371"/>
                    </a:moveTo>
                    <a:lnTo>
                      <a:pt x="6549" y="288371"/>
                    </a:lnTo>
                    <a:cubicBezTo>
                      <a:pt x="2939" y="288371"/>
                      <a:pt x="0" y="285432"/>
                      <a:pt x="0" y="281823"/>
                    </a:cubicBezTo>
                    <a:cubicBezTo>
                      <a:pt x="0" y="278213"/>
                      <a:pt x="2939" y="275274"/>
                      <a:pt x="6549" y="275274"/>
                    </a:cubicBezTo>
                    <a:lnTo>
                      <a:pt x="445667" y="275274"/>
                    </a:lnTo>
                    <a:lnTo>
                      <a:pt x="445667" y="6549"/>
                    </a:lnTo>
                    <a:cubicBezTo>
                      <a:pt x="445667" y="2939"/>
                      <a:pt x="448606" y="0"/>
                      <a:pt x="452216" y="0"/>
                    </a:cubicBezTo>
                    <a:cubicBezTo>
                      <a:pt x="455825" y="0"/>
                      <a:pt x="458764" y="2939"/>
                      <a:pt x="458764" y="6549"/>
                    </a:cubicBezTo>
                    <a:lnTo>
                      <a:pt x="458764" y="281823"/>
                    </a:lnTo>
                    <a:cubicBezTo>
                      <a:pt x="458790" y="285458"/>
                      <a:pt x="455851" y="288371"/>
                      <a:pt x="452216" y="288371"/>
                    </a:cubicBezTo>
                    <a:close/>
                  </a:path>
                </a:pathLst>
              </a:custGeom>
              <a:solidFill>
                <a:schemeClr val="accent1"/>
              </a:solidFill>
              <a:ln w="2573" cap="flat">
                <a:noFill/>
                <a:prstDash val="solid"/>
                <a:miter/>
              </a:ln>
            </p:spPr>
            <p:txBody>
              <a:bodyPr rtlCol="0" anchor="ctr"/>
              <a:lstStyle/>
              <a:p>
                <a:endParaRPr lang="en-GB" dirty="0"/>
              </a:p>
            </p:txBody>
          </p:sp>
        </p:grpSp>
      </p:grpSp>
      <p:sp>
        <p:nvSpPr>
          <p:cNvPr id="33" name="TextBox 32">
            <a:extLst>
              <a:ext uri="{FF2B5EF4-FFF2-40B4-BE49-F238E27FC236}">
                <a16:creationId xmlns:a16="http://schemas.microsoft.com/office/drawing/2014/main" id="{870890D1-16A6-41AD-A578-A90907221DF2}"/>
              </a:ext>
            </a:extLst>
          </p:cNvPr>
          <p:cNvSpPr txBox="1"/>
          <p:nvPr/>
        </p:nvSpPr>
        <p:spPr>
          <a:xfrm>
            <a:off x="487133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cycle</a:t>
            </a:r>
          </a:p>
        </p:txBody>
      </p:sp>
      <p:sp>
        <p:nvSpPr>
          <p:cNvPr id="34" name="TextBox 33">
            <a:extLst>
              <a:ext uri="{FF2B5EF4-FFF2-40B4-BE49-F238E27FC236}">
                <a16:creationId xmlns:a16="http://schemas.microsoft.com/office/drawing/2014/main" id="{AA062D9E-2E9C-47FA-A21F-1FAD484E23E1}"/>
              </a:ext>
            </a:extLst>
          </p:cNvPr>
          <p:cNvSpPr txBox="1"/>
          <p:nvPr/>
        </p:nvSpPr>
        <p:spPr>
          <a:xfrm>
            <a:off x="8007638"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Renewable energy</a:t>
            </a:r>
          </a:p>
        </p:txBody>
      </p:sp>
      <p:sp>
        <p:nvSpPr>
          <p:cNvPr id="35" name="TextBox 34">
            <a:extLst>
              <a:ext uri="{FF2B5EF4-FFF2-40B4-BE49-F238E27FC236}">
                <a16:creationId xmlns:a16="http://schemas.microsoft.com/office/drawing/2014/main" id="{FCB980D4-308E-48BF-B65C-58A7000AEB7A}"/>
              </a:ext>
            </a:extLst>
          </p:cNvPr>
          <p:cNvSpPr txBox="1"/>
          <p:nvPr/>
        </p:nvSpPr>
        <p:spPr>
          <a:xfrm>
            <a:off x="6962205"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Zero-waste</a:t>
            </a:r>
          </a:p>
        </p:txBody>
      </p:sp>
      <p:sp>
        <p:nvSpPr>
          <p:cNvPr id="36" name="TextBox 35">
            <a:extLst>
              <a:ext uri="{FF2B5EF4-FFF2-40B4-BE49-F238E27FC236}">
                <a16:creationId xmlns:a16="http://schemas.microsoft.com/office/drawing/2014/main" id="{83FC892F-0592-460E-B528-9FF2885D4502}"/>
              </a:ext>
            </a:extLst>
          </p:cNvPr>
          <p:cNvSpPr txBox="1"/>
          <p:nvPr/>
        </p:nvSpPr>
        <p:spPr>
          <a:xfrm>
            <a:off x="5916771"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ind turbines</a:t>
            </a:r>
          </a:p>
        </p:txBody>
      </p:sp>
      <p:sp>
        <p:nvSpPr>
          <p:cNvPr id="37" name="TextBox 36">
            <a:extLst>
              <a:ext uri="{FF2B5EF4-FFF2-40B4-BE49-F238E27FC236}">
                <a16:creationId xmlns:a16="http://schemas.microsoft.com/office/drawing/2014/main" id="{D014C924-0D4B-4BA7-A239-8F8FAF91B5E2}"/>
              </a:ext>
            </a:extLst>
          </p:cNvPr>
          <p:cNvSpPr txBox="1"/>
          <p:nvPr/>
        </p:nvSpPr>
        <p:spPr>
          <a:xfrm>
            <a:off x="487133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Water</a:t>
            </a:r>
            <a:br>
              <a:rPr lang="en-GB" sz="700" dirty="0">
                <a:solidFill>
                  <a:schemeClr val="tx2"/>
                </a:solidFill>
              </a:rPr>
            </a:br>
            <a:r>
              <a:rPr lang="en-GB" sz="700" dirty="0">
                <a:solidFill>
                  <a:schemeClr val="tx2"/>
                </a:solidFill>
              </a:rPr>
              <a:t>purification</a:t>
            </a:r>
          </a:p>
        </p:txBody>
      </p:sp>
      <p:sp>
        <p:nvSpPr>
          <p:cNvPr id="38" name="TextBox 37">
            <a:extLst>
              <a:ext uri="{FF2B5EF4-FFF2-40B4-BE49-F238E27FC236}">
                <a16:creationId xmlns:a16="http://schemas.microsoft.com/office/drawing/2014/main" id="{47DF3DE7-EEB5-43CC-BED9-5393CEF4C89B}"/>
              </a:ext>
            </a:extLst>
          </p:cNvPr>
          <p:cNvSpPr txBox="1"/>
          <p:nvPr/>
        </p:nvSpPr>
        <p:spPr>
          <a:xfrm>
            <a:off x="8007638"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olar panels</a:t>
            </a:r>
          </a:p>
        </p:txBody>
      </p:sp>
      <p:sp>
        <p:nvSpPr>
          <p:cNvPr id="39" name="TextBox 38">
            <a:extLst>
              <a:ext uri="{FF2B5EF4-FFF2-40B4-BE49-F238E27FC236}">
                <a16:creationId xmlns:a16="http://schemas.microsoft.com/office/drawing/2014/main" id="{902F714B-5804-4472-A9A7-579F0133E468}"/>
              </a:ext>
            </a:extLst>
          </p:cNvPr>
          <p:cNvSpPr txBox="1"/>
          <p:nvPr/>
        </p:nvSpPr>
        <p:spPr>
          <a:xfrm>
            <a:off x="6962205"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iogas</a:t>
            </a:r>
          </a:p>
        </p:txBody>
      </p:sp>
      <p:sp>
        <p:nvSpPr>
          <p:cNvPr id="40" name="TextBox 39">
            <a:extLst>
              <a:ext uri="{FF2B5EF4-FFF2-40B4-BE49-F238E27FC236}">
                <a16:creationId xmlns:a16="http://schemas.microsoft.com/office/drawing/2014/main" id="{ED04A3FF-6C6E-49DB-9724-C6FE3C12579D}"/>
              </a:ext>
            </a:extLst>
          </p:cNvPr>
          <p:cNvSpPr txBox="1"/>
          <p:nvPr/>
        </p:nvSpPr>
        <p:spPr>
          <a:xfrm>
            <a:off x="5916771"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Green infrastructure</a:t>
            </a:r>
          </a:p>
        </p:txBody>
      </p:sp>
      <p:sp>
        <p:nvSpPr>
          <p:cNvPr id="41" name="TextBox 40">
            <a:extLst>
              <a:ext uri="{FF2B5EF4-FFF2-40B4-BE49-F238E27FC236}">
                <a16:creationId xmlns:a16="http://schemas.microsoft.com/office/drawing/2014/main" id="{C8B20B0D-C9E3-45EB-B1A7-D7721C9DCECA}"/>
              </a:ext>
            </a:extLst>
          </p:cNvPr>
          <p:cNvSpPr txBox="1"/>
          <p:nvPr/>
        </p:nvSpPr>
        <p:spPr>
          <a:xfrm>
            <a:off x="4813995" y="3723675"/>
            <a:ext cx="798548" cy="215444"/>
          </a:xfrm>
          <a:prstGeom prst="rect">
            <a:avLst/>
          </a:prstGeom>
          <a:noFill/>
          <a:effectLst/>
        </p:spPr>
        <p:txBody>
          <a:bodyPr wrap="square" lIns="0" tIns="0" rIns="0" bIns="0" rtlCol="0" anchor="t">
            <a:spAutoFit/>
          </a:bodyPr>
          <a:lstStyle/>
          <a:p>
            <a:pPr algn="ctr"/>
            <a:r>
              <a:rPr lang="en-GB" sz="700" dirty="0">
                <a:solidFill>
                  <a:schemeClr val="tx2"/>
                </a:solidFill>
              </a:rPr>
              <a:t>Convert waste</a:t>
            </a:r>
            <a:br>
              <a:rPr lang="en-GB" sz="700" dirty="0">
                <a:solidFill>
                  <a:schemeClr val="tx2"/>
                </a:solidFill>
              </a:rPr>
            </a:br>
            <a:r>
              <a:rPr lang="en-GB" sz="700" dirty="0">
                <a:solidFill>
                  <a:schemeClr val="tx2"/>
                </a:solidFill>
              </a:rPr>
              <a:t>to energy</a:t>
            </a:r>
          </a:p>
        </p:txBody>
      </p:sp>
      <p:sp>
        <p:nvSpPr>
          <p:cNvPr id="42" name="TextBox 41">
            <a:extLst>
              <a:ext uri="{FF2B5EF4-FFF2-40B4-BE49-F238E27FC236}">
                <a16:creationId xmlns:a16="http://schemas.microsoft.com/office/drawing/2014/main" id="{152AFF06-1093-41AD-B866-CAC4171C1260}"/>
              </a:ext>
            </a:extLst>
          </p:cNvPr>
          <p:cNvSpPr txBox="1"/>
          <p:nvPr/>
        </p:nvSpPr>
        <p:spPr>
          <a:xfrm>
            <a:off x="8007638"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ir</a:t>
            </a:r>
            <a:br>
              <a:rPr lang="en-GB" sz="700" dirty="0">
                <a:solidFill>
                  <a:schemeClr val="tx2"/>
                </a:solidFill>
              </a:rPr>
            </a:br>
            <a:r>
              <a:rPr lang="en-GB" sz="700" dirty="0">
                <a:solidFill>
                  <a:schemeClr val="tx2"/>
                </a:solidFill>
              </a:rPr>
              <a:t>purification</a:t>
            </a:r>
          </a:p>
        </p:txBody>
      </p:sp>
      <p:sp>
        <p:nvSpPr>
          <p:cNvPr id="43" name="TextBox 42">
            <a:extLst>
              <a:ext uri="{FF2B5EF4-FFF2-40B4-BE49-F238E27FC236}">
                <a16:creationId xmlns:a16="http://schemas.microsoft.com/office/drawing/2014/main" id="{FF0DB05E-2513-42B0-8318-B6C4A6647073}"/>
              </a:ext>
            </a:extLst>
          </p:cNvPr>
          <p:cNvSpPr txBox="1"/>
          <p:nvPr/>
        </p:nvSpPr>
        <p:spPr>
          <a:xfrm>
            <a:off x="6962205"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Zero-energy</a:t>
            </a:r>
            <a:br>
              <a:rPr lang="en-GB" sz="700" dirty="0">
                <a:solidFill>
                  <a:schemeClr val="tx2"/>
                </a:solidFill>
              </a:rPr>
            </a:br>
            <a:r>
              <a:rPr lang="en-GB" sz="700" dirty="0">
                <a:solidFill>
                  <a:schemeClr val="tx2"/>
                </a:solidFill>
              </a:rPr>
              <a:t>building</a:t>
            </a:r>
          </a:p>
        </p:txBody>
      </p:sp>
      <p:sp>
        <p:nvSpPr>
          <p:cNvPr id="44" name="TextBox 43">
            <a:extLst>
              <a:ext uri="{FF2B5EF4-FFF2-40B4-BE49-F238E27FC236}">
                <a16:creationId xmlns:a16="http://schemas.microsoft.com/office/drawing/2014/main" id="{BA1365AF-46DD-4640-B42A-6E4658B53A2B}"/>
              </a:ext>
            </a:extLst>
          </p:cNvPr>
          <p:cNvSpPr txBox="1"/>
          <p:nvPr/>
        </p:nvSpPr>
        <p:spPr>
          <a:xfrm>
            <a:off x="5916771"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utonomous </a:t>
            </a:r>
            <a:br>
              <a:rPr lang="en-GB" sz="700" dirty="0">
                <a:solidFill>
                  <a:schemeClr val="tx2"/>
                </a:solidFill>
              </a:rPr>
            </a:br>
            <a:r>
              <a:rPr lang="en-GB" sz="700" dirty="0">
                <a:solidFill>
                  <a:schemeClr val="tx2"/>
                </a:solidFill>
              </a:rPr>
              <a:t>building</a:t>
            </a:r>
          </a:p>
        </p:txBody>
      </p:sp>
      <p:sp>
        <p:nvSpPr>
          <p:cNvPr id="45" name="TextBox 44">
            <a:extLst>
              <a:ext uri="{FF2B5EF4-FFF2-40B4-BE49-F238E27FC236}">
                <a16:creationId xmlns:a16="http://schemas.microsoft.com/office/drawing/2014/main" id="{3817F39F-D559-4FFB-BAC7-D5C9B9A5D7DD}"/>
              </a:ext>
            </a:extLst>
          </p:cNvPr>
          <p:cNvSpPr txBox="1"/>
          <p:nvPr/>
        </p:nvSpPr>
        <p:spPr>
          <a:xfrm>
            <a:off x="487133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Energy</a:t>
            </a:r>
            <a:br>
              <a:rPr lang="en-GB" sz="700" dirty="0">
                <a:solidFill>
                  <a:schemeClr val="tx2"/>
                </a:solidFill>
              </a:rPr>
            </a:br>
            <a:r>
              <a:rPr lang="en-GB" sz="700" dirty="0">
                <a:solidFill>
                  <a:schemeClr val="tx2"/>
                </a:solidFill>
              </a:rPr>
              <a:t>conservation</a:t>
            </a:r>
          </a:p>
        </p:txBody>
      </p:sp>
      <p:sp>
        <p:nvSpPr>
          <p:cNvPr id="46" name="TextBox 45">
            <a:extLst>
              <a:ext uri="{FF2B5EF4-FFF2-40B4-BE49-F238E27FC236}">
                <a16:creationId xmlns:a16="http://schemas.microsoft.com/office/drawing/2014/main" id="{36A3BEC3-8598-4338-8420-60EBC9FE224A}"/>
              </a:ext>
            </a:extLst>
          </p:cNvPr>
          <p:cNvSpPr txBox="1"/>
          <p:nvPr/>
        </p:nvSpPr>
        <p:spPr>
          <a:xfrm>
            <a:off x="8007638"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Environmental sustainability</a:t>
            </a:r>
          </a:p>
        </p:txBody>
      </p:sp>
      <p:sp>
        <p:nvSpPr>
          <p:cNvPr id="47" name="TextBox 46">
            <a:extLst>
              <a:ext uri="{FF2B5EF4-FFF2-40B4-BE49-F238E27FC236}">
                <a16:creationId xmlns:a16="http://schemas.microsoft.com/office/drawing/2014/main" id="{A10DC8B0-CE6D-4282-BAFC-DCF69B3F1377}"/>
              </a:ext>
            </a:extLst>
          </p:cNvPr>
          <p:cNvSpPr txBox="1"/>
          <p:nvPr/>
        </p:nvSpPr>
        <p:spPr>
          <a:xfrm>
            <a:off x="6962205"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telligent urbanism</a:t>
            </a:r>
          </a:p>
        </p:txBody>
      </p:sp>
      <p:sp>
        <p:nvSpPr>
          <p:cNvPr id="48" name="TextBox 47">
            <a:extLst>
              <a:ext uri="{FF2B5EF4-FFF2-40B4-BE49-F238E27FC236}">
                <a16:creationId xmlns:a16="http://schemas.microsoft.com/office/drawing/2014/main" id="{B87F6339-F8B6-405A-A3AB-A1598595C95B}"/>
              </a:ext>
            </a:extLst>
          </p:cNvPr>
          <p:cNvSpPr txBox="1"/>
          <p:nvPr/>
        </p:nvSpPr>
        <p:spPr>
          <a:xfrm>
            <a:off x="5916771"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lacemaking</a:t>
            </a:r>
          </a:p>
        </p:txBody>
      </p:sp>
      <p:grpSp>
        <p:nvGrpSpPr>
          <p:cNvPr id="680" name="Group 679">
            <a:extLst>
              <a:ext uri="{FF2B5EF4-FFF2-40B4-BE49-F238E27FC236}">
                <a16:creationId xmlns:a16="http://schemas.microsoft.com/office/drawing/2014/main" id="{2D44A8FD-8CFD-4993-B6AA-950B2AA146B3}"/>
              </a:ext>
            </a:extLst>
          </p:cNvPr>
          <p:cNvGrpSpPr/>
          <p:nvPr/>
        </p:nvGrpSpPr>
        <p:grpSpPr>
          <a:xfrm>
            <a:off x="5009071" y="1585984"/>
            <a:ext cx="414309" cy="432000"/>
            <a:chOff x="5008659" y="1585984"/>
            <a:chExt cx="414309" cy="432000"/>
          </a:xfrm>
        </p:grpSpPr>
        <p:grpSp>
          <p:nvGrpSpPr>
            <p:cNvPr id="396" name="Group 395">
              <a:extLst>
                <a:ext uri="{FF2B5EF4-FFF2-40B4-BE49-F238E27FC236}">
                  <a16:creationId xmlns:a16="http://schemas.microsoft.com/office/drawing/2014/main" id="{4FBF2D3D-CD7B-44EA-9441-838657FD1FDD}"/>
                </a:ext>
              </a:extLst>
            </p:cNvPr>
            <p:cNvGrpSpPr/>
            <p:nvPr/>
          </p:nvGrpSpPr>
          <p:grpSpPr>
            <a:xfrm>
              <a:off x="5168014" y="1685470"/>
              <a:ext cx="105719" cy="217622"/>
              <a:chOff x="7974763" y="1757838"/>
              <a:chExt cx="111429" cy="229377"/>
            </a:xfrm>
          </p:grpSpPr>
          <p:sp>
            <p:nvSpPr>
              <p:cNvPr id="404" name="Freihandform: Form 896">
                <a:extLst>
                  <a:ext uri="{FF2B5EF4-FFF2-40B4-BE49-F238E27FC236}">
                    <a16:creationId xmlns:a16="http://schemas.microsoft.com/office/drawing/2014/main" id="{005799C2-A743-43DF-88E2-484C63DA94D4}"/>
                  </a:ext>
                </a:extLst>
              </p:cNvPr>
              <p:cNvSpPr/>
              <p:nvPr/>
            </p:nvSpPr>
            <p:spPr>
              <a:xfrm>
                <a:off x="7974763" y="1757838"/>
                <a:ext cx="111429" cy="196608"/>
              </a:xfrm>
              <a:custGeom>
                <a:avLst/>
                <a:gdLst>
                  <a:gd name="connsiteX0" fmla="*/ 52440 w 111429"/>
                  <a:gd name="connsiteY0" fmla="*/ 196609 h 196608"/>
                  <a:gd name="connsiteX1" fmla="*/ 48135 w 111429"/>
                  <a:gd name="connsiteY1" fmla="*/ 195010 h 196608"/>
                  <a:gd name="connsiteX2" fmla="*/ 32743 w 111429"/>
                  <a:gd name="connsiteY2" fmla="*/ 182970 h 196608"/>
                  <a:gd name="connsiteX3" fmla="*/ 0 w 111429"/>
                  <a:gd name="connsiteY3" fmla="*/ 127796 h 196608"/>
                  <a:gd name="connsiteX4" fmla="*/ 21837 w 111429"/>
                  <a:gd name="connsiteY4" fmla="*/ 70870 h 196608"/>
                  <a:gd name="connsiteX5" fmla="*/ 45892 w 111429"/>
                  <a:gd name="connsiteY5" fmla="*/ 6544 h 196608"/>
                  <a:gd name="connsiteX6" fmla="*/ 49734 w 111429"/>
                  <a:gd name="connsiteY6" fmla="*/ 588 h 196608"/>
                  <a:gd name="connsiteX7" fmla="*/ 56746 w 111429"/>
                  <a:gd name="connsiteY7" fmla="*/ 1594 h 196608"/>
                  <a:gd name="connsiteX8" fmla="*/ 111430 w 111429"/>
                  <a:gd name="connsiteY8" fmla="*/ 127796 h 196608"/>
                  <a:gd name="connsiteX9" fmla="*/ 75799 w 111429"/>
                  <a:gd name="connsiteY9" fmla="*/ 181088 h 196608"/>
                  <a:gd name="connsiteX10" fmla="*/ 56720 w 111429"/>
                  <a:gd name="connsiteY10" fmla="*/ 195010 h 196608"/>
                  <a:gd name="connsiteX11" fmla="*/ 52440 w 111429"/>
                  <a:gd name="connsiteY11" fmla="*/ 196609 h 196608"/>
                  <a:gd name="connsiteX12" fmla="*/ 57494 w 111429"/>
                  <a:gd name="connsiteY12" fmla="*/ 21626 h 196608"/>
                  <a:gd name="connsiteX13" fmla="*/ 33233 w 111429"/>
                  <a:gd name="connsiteY13" fmla="*/ 77367 h 196608"/>
                  <a:gd name="connsiteX14" fmla="*/ 13123 w 111429"/>
                  <a:gd name="connsiteY14" fmla="*/ 127822 h 196608"/>
                  <a:gd name="connsiteX15" fmla="*/ 40555 w 111429"/>
                  <a:gd name="connsiteY15" fmla="*/ 172451 h 196608"/>
                  <a:gd name="connsiteX16" fmla="*/ 52492 w 111429"/>
                  <a:gd name="connsiteY16" fmla="*/ 181552 h 196608"/>
                  <a:gd name="connsiteX17" fmla="*/ 68580 w 111429"/>
                  <a:gd name="connsiteY17" fmla="*/ 170208 h 196608"/>
                  <a:gd name="connsiteX18" fmla="*/ 98358 w 111429"/>
                  <a:gd name="connsiteY18" fmla="*/ 127822 h 196608"/>
                  <a:gd name="connsiteX19" fmla="*/ 57494 w 111429"/>
                  <a:gd name="connsiteY19" fmla="*/ 21626 h 19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429" h="196608">
                    <a:moveTo>
                      <a:pt x="52440" y="196609"/>
                    </a:moveTo>
                    <a:cubicBezTo>
                      <a:pt x="50919" y="196609"/>
                      <a:pt x="49373" y="196067"/>
                      <a:pt x="48135" y="195010"/>
                    </a:cubicBezTo>
                    <a:cubicBezTo>
                      <a:pt x="42875" y="190447"/>
                      <a:pt x="37745" y="186657"/>
                      <a:pt x="32743" y="182970"/>
                    </a:cubicBezTo>
                    <a:cubicBezTo>
                      <a:pt x="15160" y="169976"/>
                      <a:pt x="0" y="158786"/>
                      <a:pt x="0" y="127796"/>
                    </a:cubicBezTo>
                    <a:cubicBezTo>
                      <a:pt x="0" y="109182"/>
                      <a:pt x="10596" y="90567"/>
                      <a:pt x="21837" y="70870"/>
                    </a:cubicBezTo>
                    <a:cubicBezTo>
                      <a:pt x="33671" y="50115"/>
                      <a:pt x="45892" y="28639"/>
                      <a:pt x="45892" y="6544"/>
                    </a:cubicBezTo>
                    <a:cubicBezTo>
                      <a:pt x="45892" y="3966"/>
                      <a:pt x="47387" y="1645"/>
                      <a:pt x="49734" y="588"/>
                    </a:cubicBezTo>
                    <a:cubicBezTo>
                      <a:pt x="52079" y="-469"/>
                      <a:pt x="54812" y="-82"/>
                      <a:pt x="56746" y="1594"/>
                    </a:cubicBezTo>
                    <a:cubicBezTo>
                      <a:pt x="82296" y="23792"/>
                      <a:pt x="111430" y="91006"/>
                      <a:pt x="111430" y="127796"/>
                    </a:cubicBezTo>
                    <a:cubicBezTo>
                      <a:pt x="111430" y="157446"/>
                      <a:pt x="93305" y="169486"/>
                      <a:pt x="75799" y="181088"/>
                    </a:cubicBezTo>
                    <a:cubicBezTo>
                      <a:pt x="69456" y="185290"/>
                      <a:pt x="62882" y="189673"/>
                      <a:pt x="56720" y="195010"/>
                    </a:cubicBezTo>
                    <a:cubicBezTo>
                      <a:pt x="55509" y="196093"/>
                      <a:pt x="53987" y="196609"/>
                      <a:pt x="52440" y="196609"/>
                    </a:cubicBezTo>
                    <a:close/>
                    <a:moveTo>
                      <a:pt x="57494" y="21626"/>
                    </a:moveTo>
                    <a:cubicBezTo>
                      <a:pt x="53626" y="41582"/>
                      <a:pt x="42901" y="60377"/>
                      <a:pt x="33233" y="77367"/>
                    </a:cubicBezTo>
                    <a:cubicBezTo>
                      <a:pt x="22894" y="95517"/>
                      <a:pt x="13123" y="112662"/>
                      <a:pt x="13123" y="127822"/>
                    </a:cubicBezTo>
                    <a:cubicBezTo>
                      <a:pt x="13123" y="152186"/>
                      <a:pt x="24029" y="160256"/>
                      <a:pt x="40555" y="172451"/>
                    </a:cubicBezTo>
                    <a:cubicBezTo>
                      <a:pt x="44242" y="175184"/>
                      <a:pt x="48315" y="178174"/>
                      <a:pt x="52492" y="181552"/>
                    </a:cubicBezTo>
                    <a:cubicBezTo>
                      <a:pt x="57880" y="177298"/>
                      <a:pt x="63295" y="173714"/>
                      <a:pt x="68580" y="170208"/>
                    </a:cubicBezTo>
                    <a:cubicBezTo>
                      <a:pt x="85854" y="158735"/>
                      <a:pt x="98358" y="150459"/>
                      <a:pt x="98358" y="127822"/>
                    </a:cubicBezTo>
                    <a:cubicBezTo>
                      <a:pt x="98332" y="98946"/>
                      <a:pt x="77913" y="47743"/>
                      <a:pt x="57494" y="21626"/>
                    </a:cubicBezTo>
                    <a:close/>
                  </a:path>
                </a:pathLst>
              </a:custGeom>
              <a:solidFill>
                <a:schemeClr val="tx2"/>
              </a:solidFill>
              <a:ln w="2573" cap="flat">
                <a:noFill/>
                <a:prstDash val="solid"/>
                <a:miter/>
              </a:ln>
            </p:spPr>
            <p:txBody>
              <a:bodyPr rtlCol="0" anchor="ctr"/>
              <a:lstStyle/>
              <a:p>
                <a:endParaRPr lang="en-GB" dirty="0"/>
              </a:p>
            </p:txBody>
          </p:sp>
          <p:sp>
            <p:nvSpPr>
              <p:cNvPr id="405" name="Freihandform: Form 897">
                <a:extLst>
                  <a:ext uri="{FF2B5EF4-FFF2-40B4-BE49-F238E27FC236}">
                    <a16:creationId xmlns:a16="http://schemas.microsoft.com/office/drawing/2014/main" id="{1E5D71F3-FCEE-4118-ABB2-5B146AD61ED7}"/>
                  </a:ext>
                </a:extLst>
              </p:cNvPr>
              <p:cNvSpPr/>
              <p:nvPr/>
            </p:nvSpPr>
            <p:spPr>
              <a:xfrm>
                <a:off x="8020655" y="1882360"/>
                <a:ext cx="13097" cy="104855"/>
              </a:xfrm>
              <a:custGeom>
                <a:avLst/>
                <a:gdLst>
                  <a:gd name="connsiteX0" fmla="*/ 6549 w 13097"/>
                  <a:gd name="connsiteY0" fmla="*/ 104855 h 104855"/>
                  <a:gd name="connsiteX1" fmla="*/ 0 w 13097"/>
                  <a:gd name="connsiteY1" fmla="*/ 98307 h 104855"/>
                  <a:gd name="connsiteX2" fmla="*/ 0 w 13097"/>
                  <a:gd name="connsiteY2" fmla="*/ 6549 h 104855"/>
                  <a:gd name="connsiteX3" fmla="*/ 6549 w 13097"/>
                  <a:gd name="connsiteY3" fmla="*/ 0 h 104855"/>
                  <a:gd name="connsiteX4" fmla="*/ 13097 w 13097"/>
                  <a:gd name="connsiteY4" fmla="*/ 6549 h 104855"/>
                  <a:gd name="connsiteX5" fmla="*/ 13097 w 13097"/>
                  <a:gd name="connsiteY5" fmla="*/ 98307 h 104855"/>
                  <a:gd name="connsiteX6" fmla="*/ 6549 w 13097"/>
                  <a:gd name="connsiteY6" fmla="*/ 104855 h 10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104855">
                    <a:moveTo>
                      <a:pt x="6549" y="104855"/>
                    </a:moveTo>
                    <a:cubicBezTo>
                      <a:pt x="2913" y="104855"/>
                      <a:pt x="0" y="101916"/>
                      <a:pt x="0" y="98307"/>
                    </a:cubicBezTo>
                    <a:lnTo>
                      <a:pt x="0" y="6549"/>
                    </a:lnTo>
                    <a:cubicBezTo>
                      <a:pt x="0" y="2939"/>
                      <a:pt x="2939" y="0"/>
                      <a:pt x="6549" y="0"/>
                    </a:cubicBezTo>
                    <a:cubicBezTo>
                      <a:pt x="10158" y="0"/>
                      <a:pt x="13097" y="2939"/>
                      <a:pt x="13097" y="6549"/>
                    </a:cubicBezTo>
                    <a:lnTo>
                      <a:pt x="13097" y="98307"/>
                    </a:lnTo>
                    <a:cubicBezTo>
                      <a:pt x="13123" y="101942"/>
                      <a:pt x="10184" y="104855"/>
                      <a:pt x="6549" y="104855"/>
                    </a:cubicBezTo>
                    <a:close/>
                  </a:path>
                </a:pathLst>
              </a:custGeom>
              <a:solidFill>
                <a:schemeClr val="tx2"/>
              </a:solidFill>
              <a:ln w="2573" cap="flat">
                <a:noFill/>
                <a:prstDash val="solid"/>
                <a:miter/>
              </a:ln>
            </p:spPr>
            <p:txBody>
              <a:bodyPr rtlCol="0" anchor="ctr"/>
              <a:lstStyle/>
              <a:p>
                <a:endParaRPr lang="en-GB" dirty="0"/>
              </a:p>
            </p:txBody>
          </p:sp>
        </p:grpSp>
        <p:grpSp>
          <p:nvGrpSpPr>
            <p:cNvPr id="397" name="Group 396">
              <a:extLst>
                <a:ext uri="{FF2B5EF4-FFF2-40B4-BE49-F238E27FC236}">
                  <a16:creationId xmlns:a16="http://schemas.microsoft.com/office/drawing/2014/main" id="{71159736-A10B-40A4-8058-7016C8E61CA6}"/>
                </a:ext>
              </a:extLst>
            </p:cNvPr>
            <p:cNvGrpSpPr/>
            <p:nvPr/>
          </p:nvGrpSpPr>
          <p:grpSpPr>
            <a:xfrm>
              <a:off x="5008659" y="1585984"/>
              <a:ext cx="414309" cy="432000"/>
              <a:chOff x="7806800" y="1652978"/>
              <a:chExt cx="436688" cy="455335"/>
            </a:xfrm>
          </p:grpSpPr>
          <p:sp>
            <p:nvSpPr>
              <p:cNvPr id="398" name="Freihandform: Form 898">
                <a:extLst>
                  <a:ext uri="{FF2B5EF4-FFF2-40B4-BE49-F238E27FC236}">
                    <a16:creationId xmlns:a16="http://schemas.microsoft.com/office/drawing/2014/main" id="{879C8A49-19CE-4878-BB15-7EEB91CF091B}"/>
                  </a:ext>
                </a:extLst>
              </p:cNvPr>
              <p:cNvSpPr/>
              <p:nvPr/>
            </p:nvSpPr>
            <p:spPr>
              <a:xfrm>
                <a:off x="7869916" y="1652978"/>
                <a:ext cx="309675" cy="77010"/>
              </a:xfrm>
              <a:custGeom>
                <a:avLst/>
                <a:gdLst>
                  <a:gd name="connsiteX0" fmla="*/ 6566 w 309675"/>
                  <a:gd name="connsiteY0" fmla="*/ 77011 h 77010"/>
                  <a:gd name="connsiteX1" fmla="*/ 2002 w 309675"/>
                  <a:gd name="connsiteY1" fmla="*/ 75154 h 77010"/>
                  <a:gd name="connsiteX2" fmla="*/ 1848 w 309675"/>
                  <a:gd name="connsiteY2" fmla="*/ 65899 h 77010"/>
                  <a:gd name="connsiteX3" fmla="*/ 157287 w 309675"/>
                  <a:gd name="connsiteY3" fmla="*/ 0 h 77010"/>
                  <a:gd name="connsiteX4" fmla="*/ 307673 w 309675"/>
                  <a:gd name="connsiteY4" fmla="*/ 60820 h 77010"/>
                  <a:gd name="connsiteX5" fmla="*/ 307828 w 309675"/>
                  <a:gd name="connsiteY5" fmla="*/ 70075 h 77010"/>
                  <a:gd name="connsiteX6" fmla="*/ 298572 w 309675"/>
                  <a:gd name="connsiteY6" fmla="*/ 70230 h 77010"/>
                  <a:gd name="connsiteX7" fmla="*/ 157313 w 309675"/>
                  <a:gd name="connsiteY7" fmla="*/ 13097 h 77010"/>
                  <a:gd name="connsiteX8" fmla="*/ 11284 w 309675"/>
                  <a:gd name="connsiteY8" fmla="*/ 75026 h 77010"/>
                  <a:gd name="connsiteX9" fmla="*/ 6566 w 309675"/>
                  <a:gd name="connsiteY9" fmla="*/ 77011 h 77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675" h="77010">
                    <a:moveTo>
                      <a:pt x="6566" y="77011"/>
                    </a:moveTo>
                    <a:cubicBezTo>
                      <a:pt x="4916" y="77011"/>
                      <a:pt x="3291" y="76392"/>
                      <a:pt x="2002" y="75154"/>
                    </a:cubicBezTo>
                    <a:cubicBezTo>
                      <a:pt x="-602" y="72628"/>
                      <a:pt x="-679" y="68477"/>
                      <a:pt x="1848" y="65899"/>
                    </a:cubicBezTo>
                    <a:cubicBezTo>
                      <a:pt x="42970" y="23384"/>
                      <a:pt x="98169" y="0"/>
                      <a:pt x="157287" y="0"/>
                    </a:cubicBezTo>
                    <a:cubicBezTo>
                      <a:pt x="213724" y="0"/>
                      <a:pt x="267118" y="21605"/>
                      <a:pt x="307673" y="60820"/>
                    </a:cubicBezTo>
                    <a:cubicBezTo>
                      <a:pt x="310277" y="63346"/>
                      <a:pt x="310355" y="67497"/>
                      <a:pt x="307828" y="70075"/>
                    </a:cubicBezTo>
                    <a:cubicBezTo>
                      <a:pt x="305302" y="72679"/>
                      <a:pt x="301176" y="72757"/>
                      <a:pt x="298572" y="70230"/>
                    </a:cubicBezTo>
                    <a:cubicBezTo>
                      <a:pt x="260492" y="33388"/>
                      <a:pt x="210321" y="13097"/>
                      <a:pt x="157313" y="13097"/>
                    </a:cubicBezTo>
                    <a:cubicBezTo>
                      <a:pt x="101778" y="13097"/>
                      <a:pt x="49905" y="35089"/>
                      <a:pt x="11284" y="75026"/>
                    </a:cubicBezTo>
                    <a:cubicBezTo>
                      <a:pt x="9969" y="76340"/>
                      <a:pt x="8268" y="77011"/>
                      <a:pt x="6566" y="77011"/>
                    </a:cubicBezTo>
                    <a:close/>
                  </a:path>
                </a:pathLst>
              </a:custGeom>
              <a:solidFill>
                <a:schemeClr val="accent1"/>
              </a:solidFill>
              <a:ln w="2573" cap="flat">
                <a:noFill/>
                <a:prstDash val="solid"/>
                <a:miter/>
              </a:ln>
            </p:spPr>
            <p:txBody>
              <a:bodyPr rtlCol="0" anchor="ctr"/>
              <a:lstStyle/>
              <a:p>
                <a:endParaRPr lang="en-GB" dirty="0"/>
              </a:p>
            </p:txBody>
          </p:sp>
          <p:sp>
            <p:nvSpPr>
              <p:cNvPr id="399" name="Freihandform: Form 899">
                <a:extLst>
                  <a:ext uri="{FF2B5EF4-FFF2-40B4-BE49-F238E27FC236}">
                    <a16:creationId xmlns:a16="http://schemas.microsoft.com/office/drawing/2014/main" id="{14E6D407-18BC-4620-BFAF-6BECCB3DB11B}"/>
                  </a:ext>
                </a:extLst>
              </p:cNvPr>
              <p:cNvSpPr/>
              <p:nvPr/>
            </p:nvSpPr>
            <p:spPr>
              <a:xfrm>
                <a:off x="8020655" y="1784110"/>
                <a:ext cx="222833" cy="301437"/>
              </a:xfrm>
              <a:custGeom>
                <a:avLst/>
                <a:gdLst>
                  <a:gd name="connsiteX0" fmla="*/ 6549 w 222833"/>
                  <a:gd name="connsiteY0" fmla="*/ 301437 h 301437"/>
                  <a:gd name="connsiteX1" fmla="*/ 0 w 222833"/>
                  <a:gd name="connsiteY1" fmla="*/ 294889 h 301437"/>
                  <a:gd name="connsiteX2" fmla="*/ 6549 w 222833"/>
                  <a:gd name="connsiteY2" fmla="*/ 288340 h 301437"/>
                  <a:gd name="connsiteX3" fmla="*/ 209711 w 222833"/>
                  <a:gd name="connsiteY3" fmla="*/ 85178 h 301437"/>
                  <a:gd name="connsiteX4" fmla="*/ 194963 w 222833"/>
                  <a:gd name="connsiteY4" fmla="*/ 9018 h 301437"/>
                  <a:gd name="connsiteX5" fmla="*/ 198573 w 222833"/>
                  <a:gd name="connsiteY5" fmla="*/ 485 h 301437"/>
                  <a:gd name="connsiteX6" fmla="*/ 207107 w 222833"/>
                  <a:gd name="connsiteY6" fmla="*/ 4094 h 301437"/>
                  <a:gd name="connsiteX7" fmla="*/ 222834 w 222833"/>
                  <a:gd name="connsiteY7" fmla="*/ 85178 h 301437"/>
                  <a:gd name="connsiteX8" fmla="*/ 6549 w 222833"/>
                  <a:gd name="connsiteY8" fmla="*/ 301437 h 30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833" h="301437">
                    <a:moveTo>
                      <a:pt x="6549" y="301437"/>
                    </a:moveTo>
                    <a:cubicBezTo>
                      <a:pt x="2913" y="301437"/>
                      <a:pt x="0" y="298498"/>
                      <a:pt x="0" y="294889"/>
                    </a:cubicBezTo>
                    <a:cubicBezTo>
                      <a:pt x="0" y="291279"/>
                      <a:pt x="2939" y="288340"/>
                      <a:pt x="6549" y="288340"/>
                    </a:cubicBezTo>
                    <a:cubicBezTo>
                      <a:pt x="118572" y="288340"/>
                      <a:pt x="209711" y="197201"/>
                      <a:pt x="209711" y="85178"/>
                    </a:cubicBezTo>
                    <a:cubicBezTo>
                      <a:pt x="209711" y="58829"/>
                      <a:pt x="204735" y="33202"/>
                      <a:pt x="194963" y="9018"/>
                    </a:cubicBezTo>
                    <a:cubicBezTo>
                      <a:pt x="193597" y="5667"/>
                      <a:pt x="195221" y="1851"/>
                      <a:pt x="198573" y="485"/>
                    </a:cubicBezTo>
                    <a:cubicBezTo>
                      <a:pt x="201925" y="-882"/>
                      <a:pt x="205740" y="742"/>
                      <a:pt x="207107" y="4094"/>
                    </a:cubicBezTo>
                    <a:cubicBezTo>
                      <a:pt x="217548" y="29850"/>
                      <a:pt x="222834" y="57127"/>
                      <a:pt x="222834" y="85178"/>
                    </a:cubicBezTo>
                    <a:cubicBezTo>
                      <a:pt x="222834" y="204394"/>
                      <a:pt x="125816" y="301437"/>
                      <a:pt x="6549" y="301437"/>
                    </a:cubicBezTo>
                    <a:close/>
                  </a:path>
                </a:pathLst>
              </a:custGeom>
              <a:solidFill>
                <a:schemeClr val="accent1"/>
              </a:solidFill>
              <a:ln w="2573" cap="flat">
                <a:noFill/>
                <a:prstDash val="solid"/>
                <a:miter/>
              </a:ln>
            </p:spPr>
            <p:txBody>
              <a:bodyPr rtlCol="0" anchor="ctr"/>
              <a:lstStyle/>
              <a:p>
                <a:endParaRPr lang="en-GB" dirty="0"/>
              </a:p>
            </p:txBody>
          </p:sp>
          <p:sp>
            <p:nvSpPr>
              <p:cNvPr id="400" name="Freihandform: Form 900">
                <a:extLst>
                  <a:ext uri="{FF2B5EF4-FFF2-40B4-BE49-F238E27FC236}">
                    <a16:creationId xmlns:a16="http://schemas.microsoft.com/office/drawing/2014/main" id="{6835C390-395F-43F3-844B-69DAAA5E54B2}"/>
                  </a:ext>
                </a:extLst>
              </p:cNvPr>
              <p:cNvSpPr/>
              <p:nvPr/>
            </p:nvSpPr>
            <p:spPr>
              <a:xfrm>
                <a:off x="7810944" y="1761108"/>
                <a:ext cx="157316" cy="313997"/>
              </a:xfrm>
              <a:custGeom>
                <a:avLst/>
                <a:gdLst>
                  <a:gd name="connsiteX0" fmla="*/ 150747 w 157316"/>
                  <a:gd name="connsiteY0" fmla="*/ 313997 h 313997"/>
                  <a:gd name="connsiteX1" fmla="*/ 148711 w 157316"/>
                  <a:gd name="connsiteY1" fmla="*/ 313662 h 313997"/>
                  <a:gd name="connsiteX2" fmla="*/ 0 w 157316"/>
                  <a:gd name="connsiteY2" fmla="*/ 108154 h 313997"/>
                  <a:gd name="connsiteX3" fmla="*/ 27045 w 157316"/>
                  <a:gd name="connsiteY3" fmla="*/ 3376 h 313997"/>
                  <a:gd name="connsiteX4" fmla="*/ 35966 w 157316"/>
                  <a:gd name="connsiteY4" fmla="*/ 824 h 313997"/>
                  <a:gd name="connsiteX5" fmla="*/ 38518 w 157316"/>
                  <a:gd name="connsiteY5" fmla="*/ 9744 h 313997"/>
                  <a:gd name="connsiteX6" fmla="*/ 13123 w 157316"/>
                  <a:gd name="connsiteY6" fmla="*/ 108180 h 313997"/>
                  <a:gd name="connsiteX7" fmla="*/ 152810 w 157316"/>
                  <a:gd name="connsiteY7" fmla="*/ 301235 h 313997"/>
                  <a:gd name="connsiteX8" fmla="*/ 156986 w 157316"/>
                  <a:gd name="connsiteY8" fmla="*/ 309511 h 313997"/>
                  <a:gd name="connsiteX9" fmla="*/ 150747 w 157316"/>
                  <a:gd name="connsiteY9" fmla="*/ 313997 h 31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316" h="313997">
                    <a:moveTo>
                      <a:pt x="150747" y="313997"/>
                    </a:moveTo>
                    <a:cubicBezTo>
                      <a:pt x="150077" y="313997"/>
                      <a:pt x="149381" y="313894"/>
                      <a:pt x="148711" y="313662"/>
                    </a:cubicBezTo>
                    <a:cubicBezTo>
                      <a:pt x="59763" y="284425"/>
                      <a:pt x="0" y="201846"/>
                      <a:pt x="0" y="108154"/>
                    </a:cubicBezTo>
                    <a:cubicBezTo>
                      <a:pt x="0" y="71492"/>
                      <a:pt x="9333" y="35243"/>
                      <a:pt x="27045" y="3376"/>
                    </a:cubicBezTo>
                    <a:cubicBezTo>
                      <a:pt x="28799" y="205"/>
                      <a:pt x="32769" y="-929"/>
                      <a:pt x="35966" y="824"/>
                    </a:cubicBezTo>
                    <a:cubicBezTo>
                      <a:pt x="39137" y="2577"/>
                      <a:pt x="40271" y="6573"/>
                      <a:pt x="38518" y="9744"/>
                    </a:cubicBezTo>
                    <a:cubicBezTo>
                      <a:pt x="21915" y="39677"/>
                      <a:pt x="13123" y="73709"/>
                      <a:pt x="13123" y="108180"/>
                    </a:cubicBezTo>
                    <a:cubicBezTo>
                      <a:pt x="13123" y="196200"/>
                      <a:pt x="69250" y="273778"/>
                      <a:pt x="152810" y="301235"/>
                    </a:cubicBezTo>
                    <a:cubicBezTo>
                      <a:pt x="156239" y="302370"/>
                      <a:pt x="158121" y="306082"/>
                      <a:pt x="156986" y="309511"/>
                    </a:cubicBezTo>
                    <a:cubicBezTo>
                      <a:pt x="156058" y="312244"/>
                      <a:pt x="153506" y="313997"/>
                      <a:pt x="150747" y="313997"/>
                    </a:cubicBezTo>
                    <a:close/>
                  </a:path>
                </a:pathLst>
              </a:custGeom>
              <a:solidFill>
                <a:schemeClr val="accent1"/>
              </a:solidFill>
              <a:ln w="2573" cap="flat">
                <a:noFill/>
                <a:prstDash val="solid"/>
                <a:miter/>
              </a:ln>
            </p:spPr>
            <p:txBody>
              <a:bodyPr rtlCol="0" anchor="ctr"/>
              <a:lstStyle/>
              <a:p>
                <a:endParaRPr lang="en-GB" dirty="0"/>
              </a:p>
            </p:txBody>
          </p:sp>
          <p:sp>
            <p:nvSpPr>
              <p:cNvPr id="401" name="Freihandform: Form 901">
                <a:extLst>
                  <a:ext uri="{FF2B5EF4-FFF2-40B4-BE49-F238E27FC236}">
                    <a16:creationId xmlns:a16="http://schemas.microsoft.com/office/drawing/2014/main" id="{BC19B1A7-61E2-49F1-B26D-8B03176E8C63}"/>
                  </a:ext>
                </a:extLst>
              </p:cNvPr>
              <p:cNvSpPr/>
              <p:nvPr/>
            </p:nvSpPr>
            <p:spPr>
              <a:xfrm>
                <a:off x="7806800" y="1760254"/>
                <a:ext cx="52504" cy="45018"/>
              </a:xfrm>
              <a:custGeom>
                <a:avLst/>
                <a:gdLst>
                  <a:gd name="connsiteX0" fmla="*/ 45963 w 52504"/>
                  <a:gd name="connsiteY0" fmla="*/ 45018 h 45018"/>
                  <a:gd name="connsiteX1" fmla="*/ 39594 w 52504"/>
                  <a:gd name="connsiteY1" fmla="*/ 39965 h 45018"/>
                  <a:gd name="connsiteX2" fmla="*/ 33587 w 52504"/>
                  <a:gd name="connsiteY2" fmla="*/ 14441 h 45018"/>
                  <a:gd name="connsiteX3" fmla="*/ 8063 w 52504"/>
                  <a:gd name="connsiteY3" fmla="*/ 20448 h 45018"/>
                  <a:gd name="connsiteX4" fmla="*/ 174 w 52504"/>
                  <a:gd name="connsiteY4" fmla="*/ 15575 h 45018"/>
                  <a:gd name="connsiteX5" fmla="*/ 5047 w 52504"/>
                  <a:gd name="connsiteY5" fmla="*/ 7686 h 45018"/>
                  <a:gd name="connsiteX6" fmla="*/ 36939 w 52504"/>
                  <a:gd name="connsiteY6" fmla="*/ 183 h 45018"/>
                  <a:gd name="connsiteX7" fmla="*/ 44828 w 52504"/>
                  <a:gd name="connsiteY7" fmla="*/ 5056 h 45018"/>
                  <a:gd name="connsiteX8" fmla="*/ 52331 w 52504"/>
                  <a:gd name="connsiteY8" fmla="*/ 36948 h 45018"/>
                  <a:gd name="connsiteX9" fmla="*/ 47458 w 52504"/>
                  <a:gd name="connsiteY9" fmla="*/ 44838 h 45018"/>
                  <a:gd name="connsiteX10" fmla="*/ 45963 w 52504"/>
                  <a:gd name="connsiteY10" fmla="*/ 45018 h 45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504" h="45018">
                    <a:moveTo>
                      <a:pt x="45963" y="45018"/>
                    </a:moveTo>
                    <a:cubicBezTo>
                      <a:pt x="42998" y="45018"/>
                      <a:pt x="40291" y="42981"/>
                      <a:pt x="39594" y="39965"/>
                    </a:cubicBezTo>
                    <a:lnTo>
                      <a:pt x="33587" y="14441"/>
                    </a:lnTo>
                    <a:lnTo>
                      <a:pt x="8063" y="20448"/>
                    </a:lnTo>
                    <a:cubicBezTo>
                      <a:pt x="4531" y="21273"/>
                      <a:pt x="999" y="19107"/>
                      <a:pt x="174" y="15575"/>
                    </a:cubicBezTo>
                    <a:cubicBezTo>
                      <a:pt x="-651" y="12043"/>
                      <a:pt x="1540" y="8537"/>
                      <a:pt x="5047" y="7686"/>
                    </a:cubicBezTo>
                    <a:lnTo>
                      <a:pt x="36939" y="183"/>
                    </a:lnTo>
                    <a:cubicBezTo>
                      <a:pt x="40445" y="-667"/>
                      <a:pt x="44003" y="1524"/>
                      <a:pt x="44828" y="5056"/>
                    </a:cubicBezTo>
                    <a:lnTo>
                      <a:pt x="52331" y="36948"/>
                    </a:lnTo>
                    <a:cubicBezTo>
                      <a:pt x="53156" y="40481"/>
                      <a:pt x="50964" y="44013"/>
                      <a:pt x="47458" y="44838"/>
                    </a:cubicBezTo>
                    <a:cubicBezTo>
                      <a:pt x="46968" y="44941"/>
                      <a:pt x="46453" y="45018"/>
                      <a:pt x="45963" y="45018"/>
                    </a:cubicBezTo>
                    <a:close/>
                  </a:path>
                </a:pathLst>
              </a:custGeom>
              <a:solidFill>
                <a:schemeClr val="accent1"/>
              </a:solidFill>
              <a:ln w="2573" cap="flat">
                <a:noFill/>
                <a:prstDash val="solid"/>
                <a:miter/>
              </a:ln>
            </p:spPr>
            <p:txBody>
              <a:bodyPr rtlCol="0" anchor="ctr"/>
              <a:lstStyle/>
              <a:p>
                <a:endParaRPr lang="en-GB" dirty="0"/>
              </a:p>
            </p:txBody>
          </p:sp>
          <p:sp>
            <p:nvSpPr>
              <p:cNvPr id="402" name="Freihandform: Form 902">
                <a:extLst>
                  <a:ext uri="{FF2B5EF4-FFF2-40B4-BE49-F238E27FC236}">
                    <a16:creationId xmlns:a16="http://schemas.microsoft.com/office/drawing/2014/main" id="{359F84DB-6BE6-4591-9F7E-68EA6440084A}"/>
                  </a:ext>
                </a:extLst>
              </p:cNvPr>
              <p:cNvSpPr/>
              <p:nvPr/>
            </p:nvSpPr>
            <p:spPr>
              <a:xfrm>
                <a:off x="8133803" y="1682446"/>
                <a:ext cx="47352" cy="45815"/>
              </a:xfrm>
              <a:custGeom>
                <a:avLst/>
                <a:gdLst>
                  <a:gd name="connsiteX0" fmla="*/ 39300 w 47352"/>
                  <a:gd name="connsiteY0" fmla="*/ 45815 h 45815"/>
                  <a:gd name="connsiteX1" fmla="*/ 38991 w 47352"/>
                  <a:gd name="connsiteY1" fmla="*/ 45815 h 45815"/>
                  <a:gd name="connsiteX2" fmla="*/ 6248 w 47352"/>
                  <a:gd name="connsiteY2" fmla="*/ 44320 h 45815"/>
                  <a:gd name="connsiteX3" fmla="*/ 8 w 47352"/>
                  <a:gd name="connsiteY3" fmla="*/ 37488 h 45815"/>
                  <a:gd name="connsiteX4" fmla="*/ 6866 w 47352"/>
                  <a:gd name="connsiteY4" fmla="*/ 31248 h 45815"/>
                  <a:gd name="connsiteX5" fmla="*/ 33061 w 47352"/>
                  <a:gd name="connsiteY5" fmla="*/ 32434 h 45815"/>
                  <a:gd name="connsiteX6" fmla="*/ 34247 w 47352"/>
                  <a:gd name="connsiteY6" fmla="*/ 6240 h 45815"/>
                  <a:gd name="connsiteX7" fmla="*/ 41105 w 47352"/>
                  <a:gd name="connsiteY7" fmla="*/ 1 h 45815"/>
                  <a:gd name="connsiteX8" fmla="*/ 47344 w 47352"/>
                  <a:gd name="connsiteY8" fmla="*/ 6833 h 45815"/>
                  <a:gd name="connsiteX9" fmla="*/ 45849 w 47352"/>
                  <a:gd name="connsiteY9" fmla="*/ 39576 h 45815"/>
                  <a:gd name="connsiteX10" fmla="*/ 39300 w 47352"/>
                  <a:gd name="connsiteY10" fmla="*/ 45815 h 45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352" h="45815">
                    <a:moveTo>
                      <a:pt x="39300" y="45815"/>
                    </a:moveTo>
                    <a:cubicBezTo>
                      <a:pt x="39197" y="45815"/>
                      <a:pt x="39094" y="45815"/>
                      <a:pt x="38991" y="45815"/>
                    </a:cubicBezTo>
                    <a:lnTo>
                      <a:pt x="6248" y="44320"/>
                    </a:lnTo>
                    <a:cubicBezTo>
                      <a:pt x="2638" y="44165"/>
                      <a:pt x="-172" y="41097"/>
                      <a:pt x="8" y="37488"/>
                    </a:cubicBezTo>
                    <a:cubicBezTo>
                      <a:pt x="163" y="33878"/>
                      <a:pt x="3283" y="31094"/>
                      <a:pt x="6866" y="31248"/>
                    </a:cubicBezTo>
                    <a:lnTo>
                      <a:pt x="33061" y="32434"/>
                    </a:lnTo>
                    <a:lnTo>
                      <a:pt x="34247" y="6240"/>
                    </a:lnTo>
                    <a:cubicBezTo>
                      <a:pt x="34402" y="2630"/>
                      <a:pt x="37573" y="-51"/>
                      <a:pt x="41105" y="1"/>
                    </a:cubicBezTo>
                    <a:cubicBezTo>
                      <a:pt x="44714" y="155"/>
                      <a:pt x="47525" y="3223"/>
                      <a:pt x="47344" y="6833"/>
                    </a:cubicBezTo>
                    <a:lnTo>
                      <a:pt x="45849" y="39576"/>
                    </a:lnTo>
                    <a:cubicBezTo>
                      <a:pt x="45694" y="43057"/>
                      <a:pt x="42781" y="45815"/>
                      <a:pt x="39300" y="45815"/>
                    </a:cubicBezTo>
                    <a:close/>
                  </a:path>
                </a:pathLst>
              </a:custGeom>
              <a:solidFill>
                <a:schemeClr val="accent1"/>
              </a:solidFill>
              <a:ln w="2573" cap="flat">
                <a:noFill/>
                <a:prstDash val="solid"/>
                <a:miter/>
              </a:ln>
            </p:spPr>
            <p:txBody>
              <a:bodyPr rtlCol="0" anchor="ctr"/>
              <a:lstStyle/>
              <a:p>
                <a:endParaRPr lang="en-GB" dirty="0"/>
              </a:p>
            </p:txBody>
          </p:sp>
          <p:sp>
            <p:nvSpPr>
              <p:cNvPr id="403" name="Freihandform: Form 903">
                <a:extLst>
                  <a:ext uri="{FF2B5EF4-FFF2-40B4-BE49-F238E27FC236}">
                    <a16:creationId xmlns:a16="http://schemas.microsoft.com/office/drawing/2014/main" id="{3B9A65B0-FF23-44FA-B038-B5A86398CB41}"/>
                  </a:ext>
                </a:extLst>
              </p:cNvPr>
              <p:cNvSpPr/>
              <p:nvPr/>
            </p:nvSpPr>
            <p:spPr>
              <a:xfrm>
                <a:off x="8020319" y="2048856"/>
                <a:ext cx="36589" cy="59457"/>
              </a:xfrm>
              <a:custGeom>
                <a:avLst/>
                <a:gdLst>
                  <a:gd name="connsiteX0" fmla="*/ 30037 w 36589"/>
                  <a:gd name="connsiteY0" fmla="*/ 59457 h 59457"/>
                  <a:gd name="connsiteX1" fmla="*/ 25473 w 36589"/>
                  <a:gd name="connsiteY1" fmla="*/ 57601 h 59457"/>
                  <a:gd name="connsiteX2" fmla="*/ 1986 w 36589"/>
                  <a:gd name="connsiteY2" fmla="*/ 34758 h 59457"/>
                  <a:gd name="connsiteX3" fmla="*/ 1 w 36589"/>
                  <a:gd name="connsiteY3" fmla="*/ 30143 h 59457"/>
                  <a:gd name="connsiteX4" fmla="*/ 1857 w 36589"/>
                  <a:gd name="connsiteY4" fmla="*/ 25476 h 59457"/>
                  <a:gd name="connsiteX5" fmla="*/ 24700 w 36589"/>
                  <a:gd name="connsiteY5" fmla="*/ 1989 h 59457"/>
                  <a:gd name="connsiteX6" fmla="*/ 33956 w 36589"/>
                  <a:gd name="connsiteY6" fmla="*/ 1860 h 59457"/>
                  <a:gd name="connsiteX7" fmla="*/ 34085 w 36589"/>
                  <a:gd name="connsiteY7" fmla="*/ 11116 h 59457"/>
                  <a:gd name="connsiteX8" fmla="*/ 15805 w 36589"/>
                  <a:gd name="connsiteY8" fmla="*/ 29911 h 59457"/>
                  <a:gd name="connsiteX9" fmla="*/ 34600 w 36589"/>
                  <a:gd name="connsiteY9" fmla="*/ 48190 h 59457"/>
                  <a:gd name="connsiteX10" fmla="*/ 34729 w 36589"/>
                  <a:gd name="connsiteY10" fmla="*/ 57446 h 59457"/>
                  <a:gd name="connsiteX11" fmla="*/ 30037 w 36589"/>
                  <a:gd name="connsiteY11" fmla="*/ 59457 h 5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589" h="59457">
                    <a:moveTo>
                      <a:pt x="30037" y="59457"/>
                    </a:moveTo>
                    <a:cubicBezTo>
                      <a:pt x="28387" y="59457"/>
                      <a:pt x="26737" y="58838"/>
                      <a:pt x="25473" y="57601"/>
                    </a:cubicBezTo>
                    <a:lnTo>
                      <a:pt x="1986" y="34758"/>
                    </a:lnTo>
                    <a:cubicBezTo>
                      <a:pt x="748" y="33546"/>
                      <a:pt x="27" y="31896"/>
                      <a:pt x="1" y="30143"/>
                    </a:cubicBezTo>
                    <a:cubicBezTo>
                      <a:pt x="-25" y="28390"/>
                      <a:pt x="645" y="26740"/>
                      <a:pt x="1857" y="25476"/>
                    </a:cubicBezTo>
                    <a:lnTo>
                      <a:pt x="24700" y="1989"/>
                    </a:lnTo>
                    <a:cubicBezTo>
                      <a:pt x="27227" y="-615"/>
                      <a:pt x="31377" y="-667"/>
                      <a:pt x="33956" y="1860"/>
                    </a:cubicBezTo>
                    <a:cubicBezTo>
                      <a:pt x="36560" y="4387"/>
                      <a:pt x="36611" y="8538"/>
                      <a:pt x="34085" y="11116"/>
                    </a:cubicBezTo>
                    <a:lnTo>
                      <a:pt x="15805" y="29911"/>
                    </a:lnTo>
                    <a:lnTo>
                      <a:pt x="34600" y="48190"/>
                    </a:lnTo>
                    <a:cubicBezTo>
                      <a:pt x="37204" y="50717"/>
                      <a:pt x="37256" y="54868"/>
                      <a:pt x="34729" y="57446"/>
                    </a:cubicBezTo>
                    <a:cubicBezTo>
                      <a:pt x="33440" y="58787"/>
                      <a:pt x="31738" y="59457"/>
                      <a:pt x="30037" y="59457"/>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681" name="Group 680">
            <a:extLst>
              <a:ext uri="{FF2B5EF4-FFF2-40B4-BE49-F238E27FC236}">
                <a16:creationId xmlns:a16="http://schemas.microsoft.com/office/drawing/2014/main" id="{C375A602-9B75-45F0-A028-0633AE7ED2BC}"/>
              </a:ext>
            </a:extLst>
          </p:cNvPr>
          <p:cNvGrpSpPr/>
          <p:nvPr/>
        </p:nvGrpSpPr>
        <p:grpSpPr>
          <a:xfrm>
            <a:off x="6050635" y="1585984"/>
            <a:ext cx="330603" cy="432000"/>
            <a:chOff x="6050223" y="1585984"/>
            <a:chExt cx="330603" cy="432000"/>
          </a:xfrm>
        </p:grpSpPr>
        <p:grpSp>
          <p:nvGrpSpPr>
            <p:cNvPr id="407" name="Group 406">
              <a:extLst>
                <a:ext uri="{FF2B5EF4-FFF2-40B4-BE49-F238E27FC236}">
                  <a16:creationId xmlns:a16="http://schemas.microsoft.com/office/drawing/2014/main" id="{0EA5A4DF-0733-44E6-AC45-975D6C39EFB5}"/>
                </a:ext>
              </a:extLst>
            </p:cNvPr>
            <p:cNvGrpSpPr/>
            <p:nvPr/>
          </p:nvGrpSpPr>
          <p:grpSpPr>
            <a:xfrm>
              <a:off x="6050223" y="1585984"/>
              <a:ext cx="330603" cy="263420"/>
              <a:chOff x="5340899" y="2413202"/>
              <a:chExt cx="391243" cy="311738"/>
            </a:xfrm>
          </p:grpSpPr>
          <p:sp>
            <p:nvSpPr>
              <p:cNvPr id="419" name="Freihandform: Form 911">
                <a:extLst>
                  <a:ext uri="{FF2B5EF4-FFF2-40B4-BE49-F238E27FC236}">
                    <a16:creationId xmlns:a16="http://schemas.microsoft.com/office/drawing/2014/main" id="{90C7F1CA-DD4A-455C-9975-E1D8DBC8691D}"/>
                  </a:ext>
                </a:extLst>
              </p:cNvPr>
              <p:cNvSpPr/>
              <p:nvPr/>
            </p:nvSpPr>
            <p:spPr>
              <a:xfrm>
                <a:off x="5503928" y="2413202"/>
                <a:ext cx="43436" cy="170427"/>
              </a:xfrm>
              <a:custGeom>
                <a:avLst/>
                <a:gdLst>
                  <a:gd name="connsiteX0" fmla="*/ 36863 w 43436"/>
                  <a:gd name="connsiteY0" fmla="*/ 170427 h 170427"/>
                  <a:gd name="connsiteX1" fmla="*/ 33201 w 43436"/>
                  <a:gd name="connsiteY1" fmla="*/ 169293 h 170427"/>
                  <a:gd name="connsiteX2" fmla="*/ 2882 w 43436"/>
                  <a:gd name="connsiteY2" fmla="*/ 148822 h 170427"/>
                  <a:gd name="connsiteX3" fmla="*/ 149 w 43436"/>
                  <a:gd name="connsiteY3" fmla="*/ 141964 h 170427"/>
                  <a:gd name="connsiteX4" fmla="*/ 30469 w 43436"/>
                  <a:gd name="connsiteY4" fmla="*/ 5139 h 170427"/>
                  <a:gd name="connsiteX5" fmla="*/ 37584 w 43436"/>
                  <a:gd name="connsiteY5" fmla="*/ 34 h 170427"/>
                  <a:gd name="connsiteX6" fmla="*/ 43437 w 43436"/>
                  <a:gd name="connsiteY6" fmla="*/ 6557 h 170427"/>
                  <a:gd name="connsiteX7" fmla="*/ 43437 w 43436"/>
                  <a:gd name="connsiteY7" fmla="*/ 163853 h 170427"/>
                  <a:gd name="connsiteX8" fmla="*/ 39956 w 43436"/>
                  <a:gd name="connsiteY8" fmla="*/ 169654 h 170427"/>
                  <a:gd name="connsiteX9" fmla="*/ 36863 w 43436"/>
                  <a:gd name="connsiteY9" fmla="*/ 170427 h 170427"/>
                  <a:gd name="connsiteX10" fmla="*/ 13917 w 43436"/>
                  <a:gd name="connsiteY10" fmla="*/ 140468 h 170427"/>
                  <a:gd name="connsiteX11" fmla="*/ 30314 w 43436"/>
                  <a:gd name="connsiteY11" fmla="*/ 151555 h 170427"/>
                  <a:gd name="connsiteX12" fmla="*/ 30314 w 43436"/>
                  <a:gd name="connsiteY12" fmla="*/ 66474 h 170427"/>
                  <a:gd name="connsiteX13" fmla="*/ 13917 w 43436"/>
                  <a:gd name="connsiteY13" fmla="*/ 140468 h 170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436" h="170427">
                    <a:moveTo>
                      <a:pt x="36863" y="170427"/>
                    </a:moveTo>
                    <a:cubicBezTo>
                      <a:pt x="35573" y="170427"/>
                      <a:pt x="34284" y="170040"/>
                      <a:pt x="33201" y="169293"/>
                    </a:cubicBezTo>
                    <a:lnTo>
                      <a:pt x="2882" y="148822"/>
                    </a:lnTo>
                    <a:cubicBezTo>
                      <a:pt x="665" y="147326"/>
                      <a:pt x="-418" y="144594"/>
                      <a:pt x="149" y="141964"/>
                    </a:cubicBezTo>
                    <a:lnTo>
                      <a:pt x="30469" y="5139"/>
                    </a:lnTo>
                    <a:cubicBezTo>
                      <a:pt x="31190" y="1865"/>
                      <a:pt x="34259" y="-301"/>
                      <a:pt x="37584" y="34"/>
                    </a:cubicBezTo>
                    <a:cubicBezTo>
                      <a:pt x="40910" y="395"/>
                      <a:pt x="43437" y="3205"/>
                      <a:pt x="43437" y="6557"/>
                    </a:cubicBezTo>
                    <a:lnTo>
                      <a:pt x="43437" y="163853"/>
                    </a:lnTo>
                    <a:cubicBezTo>
                      <a:pt x="43437" y="166276"/>
                      <a:pt x="42096" y="168494"/>
                      <a:pt x="39956" y="169654"/>
                    </a:cubicBezTo>
                    <a:cubicBezTo>
                      <a:pt x="38977" y="170195"/>
                      <a:pt x="37920" y="170427"/>
                      <a:pt x="36863" y="170427"/>
                    </a:cubicBezTo>
                    <a:close/>
                    <a:moveTo>
                      <a:pt x="13917" y="140468"/>
                    </a:moveTo>
                    <a:lnTo>
                      <a:pt x="30314" y="151555"/>
                    </a:lnTo>
                    <a:lnTo>
                      <a:pt x="30314" y="66474"/>
                    </a:lnTo>
                    <a:lnTo>
                      <a:pt x="13917" y="140468"/>
                    </a:lnTo>
                    <a:close/>
                  </a:path>
                </a:pathLst>
              </a:custGeom>
              <a:solidFill>
                <a:schemeClr val="accent1"/>
              </a:solidFill>
              <a:ln w="2573" cap="flat">
                <a:noFill/>
                <a:prstDash val="solid"/>
                <a:miter/>
              </a:ln>
            </p:spPr>
            <p:txBody>
              <a:bodyPr rtlCol="0" anchor="ctr"/>
              <a:lstStyle/>
              <a:p>
                <a:endParaRPr lang="en-GB" dirty="0"/>
              </a:p>
            </p:txBody>
          </p:sp>
          <p:sp>
            <p:nvSpPr>
              <p:cNvPr id="420" name="Freihandform: Form 912">
                <a:extLst>
                  <a:ext uri="{FF2B5EF4-FFF2-40B4-BE49-F238E27FC236}">
                    <a16:creationId xmlns:a16="http://schemas.microsoft.com/office/drawing/2014/main" id="{87A4E40B-2B47-47D4-B361-F6E44288845B}"/>
                  </a:ext>
                </a:extLst>
              </p:cNvPr>
              <p:cNvSpPr/>
              <p:nvPr/>
            </p:nvSpPr>
            <p:spPr>
              <a:xfrm>
                <a:off x="5572741" y="2633379"/>
                <a:ext cx="159401" cy="91561"/>
              </a:xfrm>
              <a:custGeom>
                <a:avLst/>
                <a:gdLst>
                  <a:gd name="connsiteX0" fmla="*/ 152829 w 159401"/>
                  <a:gd name="connsiteY0" fmla="*/ 91561 h 91561"/>
                  <a:gd name="connsiteX1" fmla="*/ 150431 w 159401"/>
                  <a:gd name="connsiteY1" fmla="*/ 91097 h 91561"/>
                  <a:gd name="connsiteX2" fmla="*/ 4144 w 159401"/>
                  <a:gd name="connsiteY2" fmla="*/ 33294 h 91561"/>
                  <a:gd name="connsiteX3" fmla="*/ 45 w 159401"/>
                  <a:gd name="connsiteY3" fmla="*/ 27932 h 91561"/>
                  <a:gd name="connsiteX4" fmla="*/ 2855 w 159401"/>
                  <a:gd name="connsiteY4" fmla="*/ 21795 h 91561"/>
                  <a:gd name="connsiteX5" fmla="*/ 33046 w 159401"/>
                  <a:gd name="connsiteY5" fmla="*/ 1144 h 91561"/>
                  <a:gd name="connsiteX6" fmla="*/ 40419 w 159401"/>
                  <a:gd name="connsiteY6" fmla="*/ 1118 h 91561"/>
                  <a:gd name="connsiteX7" fmla="*/ 156515 w 159401"/>
                  <a:gd name="connsiteY7" fmla="*/ 79573 h 91561"/>
                  <a:gd name="connsiteX8" fmla="*/ 158655 w 159401"/>
                  <a:gd name="connsiteY8" fmla="*/ 88055 h 91561"/>
                  <a:gd name="connsiteX9" fmla="*/ 152829 w 159401"/>
                  <a:gd name="connsiteY9" fmla="*/ 91561 h 91561"/>
                  <a:gd name="connsiteX10" fmla="*/ 20438 w 159401"/>
                  <a:gd name="connsiteY10" fmla="*/ 25663 h 91561"/>
                  <a:gd name="connsiteX11" fmla="*/ 99563 w 159401"/>
                  <a:gd name="connsiteY11" fmla="*/ 56936 h 91561"/>
                  <a:gd name="connsiteX12" fmla="*/ 36758 w 159401"/>
                  <a:gd name="connsiteY12" fmla="*/ 14499 h 91561"/>
                  <a:gd name="connsiteX13" fmla="*/ 20438 w 159401"/>
                  <a:gd name="connsiteY13" fmla="*/ 25663 h 9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401" h="91561">
                    <a:moveTo>
                      <a:pt x="152829" y="91561"/>
                    </a:moveTo>
                    <a:cubicBezTo>
                      <a:pt x="152029" y="91561"/>
                      <a:pt x="151204" y="91407"/>
                      <a:pt x="150431" y="91097"/>
                    </a:cubicBezTo>
                    <a:lnTo>
                      <a:pt x="4144" y="33294"/>
                    </a:lnTo>
                    <a:cubicBezTo>
                      <a:pt x="1901" y="32392"/>
                      <a:pt x="302" y="30329"/>
                      <a:pt x="45" y="27932"/>
                    </a:cubicBezTo>
                    <a:cubicBezTo>
                      <a:pt x="-239" y="25534"/>
                      <a:pt x="844" y="23162"/>
                      <a:pt x="2855" y="21795"/>
                    </a:cubicBezTo>
                    <a:lnTo>
                      <a:pt x="33046" y="1144"/>
                    </a:lnTo>
                    <a:cubicBezTo>
                      <a:pt x="35263" y="-377"/>
                      <a:pt x="38176" y="-377"/>
                      <a:pt x="40419" y="1118"/>
                    </a:cubicBezTo>
                    <a:lnTo>
                      <a:pt x="156515" y="79573"/>
                    </a:lnTo>
                    <a:cubicBezTo>
                      <a:pt x="159274" y="81455"/>
                      <a:pt x="160202" y="85090"/>
                      <a:pt x="158655" y="88055"/>
                    </a:cubicBezTo>
                    <a:cubicBezTo>
                      <a:pt x="157469" y="90272"/>
                      <a:pt x="155201" y="91561"/>
                      <a:pt x="152829" y="91561"/>
                    </a:cubicBezTo>
                    <a:close/>
                    <a:moveTo>
                      <a:pt x="20438" y="25663"/>
                    </a:moveTo>
                    <a:lnTo>
                      <a:pt x="99563" y="56936"/>
                    </a:lnTo>
                    <a:lnTo>
                      <a:pt x="36758" y="14499"/>
                    </a:lnTo>
                    <a:lnTo>
                      <a:pt x="20438" y="25663"/>
                    </a:lnTo>
                    <a:close/>
                  </a:path>
                </a:pathLst>
              </a:custGeom>
              <a:solidFill>
                <a:schemeClr val="accent1"/>
              </a:solidFill>
              <a:ln w="2573" cap="flat">
                <a:noFill/>
                <a:prstDash val="solid"/>
                <a:miter/>
              </a:ln>
            </p:spPr>
            <p:txBody>
              <a:bodyPr rtlCol="0" anchor="ctr"/>
              <a:lstStyle/>
              <a:p>
                <a:endParaRPr lang="en-GB" dirty="0"/>
              </a:p>
            </p:txBody>
          </p:sp>
          <p:sp>
            <p:nvSpPr>
              <p:cNvPr id="421" name="Freihandform: Form 913">
                <a:extLst>
                  <a:ext uri="{FF2B5EF4-FFF2-40B4-BE49-F238E27FC236}">
                    <a16:creationId xmlns:a16="http://schemas.microsoft.com/office/drawing/2014/main" id="{CF3DE732-2C6F-4ADD-8600-812680625446}"/>
                  </a:ext>
                </a:extLst>
              </p:cNvPr>
              <p:cNvSpPr/>
              <p:nvPr/>
            </p:nvSpPr>
            <p:spPr>
              <a:xfrm>
                <a:off x="5340899" y="2633379"/>
                <a:ext cx="159406" cy="91561"/>
              </a:xfrm>
              <a:custGeom>
                <a:avLst/>
                <a:gdLst>
                  <a:gd name="connsiteX0" fmla="*/ 6553 w 159406"/>
                  <a:gd name="connsiteY0" fmla="*/ 91561 h 91561"/>
                  <a:gd name="connsiteX1" fmla="*/ 752 w 159406"/>
                  <a:gd name="connsiteY1" fmla="*/ 88055 h 91561"/>
                  <a:gd name="connsiteX2" fmla="*/ 2892 w 159406"/>
                  <a:gd name="connsiteY2" fmla="*/ 79573 h 91561"/>
                  <a:gd name="connsiteX3" fmla="*/ 118988 w 159406"/>
                  <a:gd name="connsiteY3" fmla="*/ 1118 h 91561"/>
                  <a:gd name="connsiteX4" fmla="*/ 126361 w 159406"/>
                  <a:gd name="connsiteY4" fmla="*/ 1144 h 91561"/>
                  <a:gd name="connsiteX5" fmla="*/ 156552 w 159406"/>
                  <a:gd name="connsiteY5" fmla="*/ 21795 h 91561"/>
                  <a:gd name="connsiteX6" fmla="*/ 159362 w 159406"/>
                  <a:gd name="connsiteY6" fmla="*/ 27932 h 91561"/>
                  <a:gd name="connsiteX7" fmla="*/ 155263 w 159406"/>
                  <a:gd name="connsiteY7" fmla="*/ 33294 h 91561"/>
                  <a:gd name="connsiteX8" fmla="*/ 8950 w 159406"/>
                  <a:gd name="connsiteY8" fmla="*/ 91123 h 91561"/>
                  <a:gd name="connsiteX9" fmla="*/ 6553 w 159406"/>
                  <a:gd name="connsiteY9" fmla="*/ 91561 h 91561"/>
                  <a:gd name="connsiteX10" fmla="*/ 122623 w 159406"/>
                  <a:gd name="connsiteY10" fmla="*/ 14473 h 91561"/>
                  <a:gd name="connsiteX11" fmla="*/ 59818 w 159406"/>
                  <a:gd name="connsiteY11" fmla="*/ 56910 h 91561"/>
                  <a:gd name="connsiteX12" fmla="*/ 138943 w 159406"/>
                  <a:gd name="connsiteY12" fmla="*/ 25637 h 91561"/>
                  <a:gd name="connsiteX13" fmla="*/ 122623 w 159406"/>
                  <a:gd name="connsiteY13" fmla="*/ 14473 h 9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406" h="91561">
                    <a:moveTo>
                      <a:pt x="6553" y="91561"/>
                    </a:moveTo>
                    <a:cubicBezTo>
                      <a:pt x="4181" y="91561"/>
                      <a:pt x="1912" y="90272"/>
                      <a:pt x="752" y="88055"/>
                    </a:cubicBezTo>
                    <a:cubicBezTo>
                      <a:pt x="-795" y="85090"/>
                      <a:pt x="107" y="81429"/>
                      <a:pt x="2892" y="79573"/>
                    </a:cubicBezTo>
                    <a:lnTo>
                      <a:pt x="118988" y="1118"/>
                    </a:lnTo>
                    <a:cubicBezTo>
                      <a:pt x="121231" y="-377"/>
                      <a:pt x="124144" y="-377"/>
                      <a:pt x="126361" y="1144"/>
                    </a:cubicBezTo>
                    <a:lnTo>
                      <a:pt x="156552" y="21795"/>
                    </a:lnTo>
                    <a:cubicBezTo>
                      <a:pt x="158563" y="23162"/>
                      <a:pt x="159646" y="25534"/>
                      <a:pt x="159362" y="27932"/>
                    </a:cubicBezTo>
                    <a:cubicBezTo>
                      <a:pt x="159105" y="30329"/>
                      <a:pt x="157506" y="32392"/>
                      <a:pt x="155263" y="33294"/>
                    </a:cubicBezTo>
                    <a:lnTo>
                      <a:pt x="8950" y="91123"/>
                    </a:lnTo>
                    <a:cubicBezTo>
                      <a:pt x="8151" y="91433"/>
                      <a:pt x="7352" y="91561"/>
                      <a:pt x="6553" y="91561"/>
                    </a:cubicBezTo>
                    <a:close/>
                    <a:moveTo>
                      <a:pt x="122623" y="14473"/>
                    </a:moveTo>
                    <a:lnTo>
                      <a:pt x="59818" y="56910"/>
                    </a:lnTo>
                    <a:lnTo>
                      <a:pt x="138943" y="25637"/>
                    </a:lnTo>
                    <a:lnTo>
                      <a:pt x="122623" y="14473"/>
                    </a:lnTo>
                    <a:close/>
                  </a:path>
                </a:pathLst>
              </a:custGeom>
              <a:solidFill>
                <a:schemeClr val="accent1"/>
              </a:solidFill>
              <a:ln w="2573" cap="flat">
                <a:noFill/>
                <a:prstDash val="solid"/>
                <a:miter/>
              </a:ln>
            </p:spPr>
            <p:txBody>
              <a:bodyPr rtlCol="0" anchor="ctr"/>
              <a:lstStyle/>
              <a:p>
                <a:endParaRPr lang="en-GB" dirty="0"/>
              </a:p>
            </p:txBody>
          </p:sp>
        </p:grpSp>
        <p:grpSp>
          <p:nvGrpSpPr>
            <p:cNvPr id="408" name="Group 407">
              <a:extLst>
                <a:ext uri="{FF2B5EF4-FFF2-40B4-BE49-F238E27FC236}">
                  <a16:creationId xmlns:a16="http://schemas.microsoft.com/office/drawing/2014/main" id="{4354AE29-E6F4-46E7-AC44-0FE82EAC5D6A}"/>
                </a:ext>
              </a:extLst>
            </p:cNvPr>
            <p:cNvGrpSpPr/>
            <p:nvPr/>
          </p:nvGrpSpPr>
          <p:grpSpPr>
            <a:xfrm>
              <a:off x="6077240" y="1635845"/>
              <a:ext cx="276899" cy="382139"/>
              <a:chOff x="5372872" y="2472209"/>
              <a:chExt cx="327688" cy="452232"/>
            </a:xfrm>
          </p:grpSpPr>
          <p:sp>
            <p:nvSpPr>
              <p:cNvPr id="409" name="Freihandform: Form 905">
                <a:extLst>
                  <a:ext uri="{FF2B5EF4-FFF2-40B4-BE49-F238E27FC236}">
                    <a16:creationId xmlns:a16="http://schemas.microsoft.com/office/drawing/2014/main" id="{33FEAFAC-DD7D-4A10-842A-B2D9D577CAC1}"/>
                  </a:ext>
                </a:extLst>
              </p:cNvPr>
              <p:cNvSpPr/>
              <p:nvPr/>
            </p:nvSpPr>
            <p:spPr>
              <a:xfrm>
                <a:off x="5503941" y="2754022"/>
                <a:ext cx="65524" cy="170418"/>
              </a:xfrm>
              <a:custGeom>
                <a:avLst/>
                <a:gdLst>
                  <a:gd name="connsiteX0" fmla="*/ 58970 w 65524"/>
                  <a:gd name="connsiteY0" fmla="*/ 170419 h 170418"/>
                  <a:gd name="connsiteX1" fmla="*/ 6529 w 65524"/>
                  <a:gd name="connsiteY1" fmla="*/ 170419 h 170418"/>
                  <a:gd name="connsiteX2" fmla="*/ 1811 w 65524"/>
                  <a:gd name="connsiteY2" fmla="*/ 168408 h 170418"/>
                  <a:gd name="connsiteX3" fmla="*/ 6 w 65524"/>
                  <a:gd name="connsiteY3" fmla="*/ 163587 h 170418"/>
                  <a:gd name="connsiteX4" fmla="*/ 6555 w 65524"/>
                  <a:gd name="connsiteY4" fmla="*/ 6291 h 170418"/>
                  <a:gd name="connsiteX5" fmla="*/ 13103 w 65524"/>
                  <a:gd name="connsiteY5" fmla="*/ 0 h 170418"/>
                  <a:gd name="connsiteX6" fmla="*/ 52421 w 65524"/>
                  <a:gd name="connsiteY6" fmla="*/ 0 h 170418"/>
                  <a:gd name="connsiteX7" fmla="*/ 58970 w 65524"/>
                  <a:gd name="connsiteY7" fmla="*/ 6291 h 170418"/>
                  <a:gd name="connsiteX8" fmla="*/ 65518 w 65524"/>
                  <a:gd name="connsiteY8" fmla="*/ 163587 h 170418"/>
                  <a:gd name="connsiteX9" fmla="*/ 63714 w 65524"/>
                  <a:gd name="connsiteY9" fmla="*/ 168408 h 170418"/>
                  <a:gd name="connsiteX10" fmla="*/ 58970 w 65524"/>
                  <a:gd name="connsiteY10" fmla="*/ 170419 h 170418"/>
                  <a:gd name="connsiteX11" fmla="*/ 13387 w 65524"/>
                  <a:gd name="connsiteY11" fmla="*/ 157322 h 170418"/>
                  <a:gd name="connsiteX12" fmla="*/ 52163 w 65524"/>
                  <a:gd name="connsiteY12" fmla="*/ 157322 h 170418"/>
                  <a:gd name="connsiteX13" fmla="*/ 46156 w 65524"/>
                  <a:gd name="connsiteY13" fmla="*/ 13123 h 170418"/>
                  <a:gd name="connsiteX14" fmla="*/ 19394 w 65524"/>
                  <a:gd name="connsiteY14" fmla="*/ 13123 h 170418"/>
                  <a:gd name="connsiteX15" fmla="*/ 13387 w 65524"/>
                  <a:gd name="connsiteY15" fmla="*/ 157322 h 17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524" h="170418">
                    <a:moveTo>
                      <a:pt x="58970" y="170419"/>
                    </a:moveTo>
                    <a:lnTo>
                      <a:pt x="6529" y="170419"/>
                    </a:lnTo>
                    <a:cubicBezTo>
                      <a:pt x="4750" y="170419"/>
                      <a:pt x="3023" y="169697"/>
                      <a:pt x="1811" y="168408"/>
                    </a:cubicBezTo>
                    <a:cubicBezTo>
                      <a:pt x="573" y="167119"/>
                      <a:pt x="-71" y="165391"/>
                      <a:pt x="6" y="163587"/>
                    </a:cubicBezTo>
                    <a:lnTo>
                      <a:pt x="6555" y="6291"/>
                    </a:lnTo>
                    <a:cubicBezTo>
                      <a:pt x="6710" y="2784"/>
                      <a:pt x="9597" y="0"/>
                      <a:pt x="13103" y="0"/>
                    </a:cubicBezTo>
                    <a:lnTo>
                      <a:pt x="52421" y="0"/>
                    </a:lnTo>
                    <a:cubicBezTo>
                      <a:pt x="55927" y="0"/>
                      <a:pt x="58815" y="2784"/>
                      <a:pt x="58970" y="6291"/>
                    </a:cubicBezTo>
                    <a:lnTo>
                      <a:pt x="65518" y="163587"/>
                    </a:lnTo>
                    <a:cubicBezTo>
                      <a:pt x="65596" y="165365"/>
                      <a:pt x="64925" y="167119"/>
                      <a:pt x="63714" y="168408"/>
                    </a:cubicBezTo>
                    <a:cubicBezTo>
                      <a:pt x="62476" y="169697"/>
                      <a:pt x="60749" y="170419"/>
                      <a:pt x="58970" y="170419"/>
                    </a:cubicBezTo>
                    <a:close/>
                    <a:moveTo>
                      <a:pt x="13387" y="157322"/>
                    </a:moveTo>
                    <a:lnTo>
                      <a:pt x="52163" y="157322"/>
                    </a:lnTo>
                    <a:lnTo>
                      <a:pt x="46156" y="13123"/>
                    </a:lnTo>
                    <a:lnTo>
                      <a:pt x="19394" y="13123"/>
                    </a:lnTo>
                    <a:lnTo>
                      <a:pt x="13387" y="157322"/>
                    </a:lnTo>
                    <a:close/>
                  </a:path>
                </a:pathLst>
              </a:custGeom>
              <a:solidFill>
                <a:schemeClr val="tx2"/>
              </a:solidFill>
              <a:ln w="2573" cap="flat">
                <a:noFill/>
                <a:prstDash val="solid"/>
                <a:miter/>
              </a:ln>
            </p:spPr>
            <p:txBody>
              <a:bodyPr rtlCol="0" anchor="ctr"/>
              <a:lstStyle/>
              <a:p>
                <a:endParaRPr lang="en-GB" dirty="0"/>
              </a:p>
            </p:txBody>
          </p:sp>
          <p:sp>
            <p:nvSpPr>
              <p:cNvPr id="410" name="Freihandform: Form 906">
                <a:extLst>
                  <a:ext uri="{FF2B5EF4-FFF2-40B4-BE49-F238E27FC236}">
                    <a16:creationId xmlns:a16="http://schemas.microsoft.com/office/drawing/2014/main" id="{C5CA38D3-06E7-4076-B1C5-7740DF3E8CC2}"/>
                  </a:ext>
                </a:extLst>
              </p:cNvPr>
              <p:cNvSpPr/>
              <p:nvPr/>
            </p:nvSpPr>
            <p:spPr>
              <a:xfrm>
                <a:off x="5510486" y="2642592"/>
                <a:ext cx="52461" cy="124553"/>
              </a:xfrm>
              <a:custGeom>
                <a:avLst/>
                <a:gdLst>
                  <a:gd name="connsiteX0" fmla="*/ 45877 w 52461"/>
                  <a:gd name="connsiteY0" fmla="*/ 124553 h 124553"/>
                  <a:gd name="connsiteX1" fmla="*/ 6559 w 52461"/>
                  <a:gd name="connsiteY1" fmla="*/ 124553 h 124553"/>
                  <a:gd name="connsiteX2" fmla="*/ 1790 w 52461"/>
                  <a:gd name="connsiteY2" fmla="*/ 122491 h 124553"/>
                  <a:gd name="connsiteX3" fmla="*/ 11 w 52461"/>
                  <a:gd name="connsiteY3" fmla="*/ 117618 h 124553"/>
                  <a:gd name="connsiteX4" fmla="*/ 6559 w 52461"/>
                  <a:gd name="connsiteY4" fmla="*/ 6188 h 124553"/>
                  <a:gd name="connsiteX5" fmla="*/ 13495 w 52461"/>
                  <a:gd name="connsiteY5" fmla="*/ 26 h 124553"/>
                  <a:gd name="connsiteX6" fmla="*/ 19657 w 52461"/>
                  <a:gd name="connsiteY6" fmla="*/ 6962 h 124553"/>
                  <a:gd name="connsiteX7" fmla="*/ 13520 w 52461"/>
                  <a:gd name="connsiteY7" fmla="*/ 111430 h 124553"/>
                  <a:gd name="connsiteX8" fmla="*/ 38941 w 52461"/>
                  <a:gd name="connsiteY8" fmla="*/ 111430 h 124553"/>
                  <a:gd name="connsiteX9" fmla="*/ 32805 w 52461"/>
                  <a:gd name="connsiteY9" fmla="*/ 6962 h 124553"/>
                  <a:gd name="connsiteX10" fmla="*/ 38967 w 52461"/>
                  <a:gd name="connsiteY10" fmla="*/ 26 h 124553"/>
                  <a:gd name="connsiteX11" fmla="*/ 45903 w 52461"/>
                  <a:gd name="connsiteY11" fmla="*/ 6188 h 124553"/>
                  <a:gd name="connsiteX12" fmla="*/ 52451 w 52461"/>
                  <a:gd name="connsiteY12" fmla="*/ 117618 h 124553"/>
                  <a:gd name="connsiteX13" fmla="*/ 50672 w 52461"/>
                  <a:gd name="connsiteY13" fmla="*/ 122491 h 124553"/>
                  <a:gd name="connsiteX14" fmla="*/ 45877 w 52461"/>
                  <a:gd name="connsiteY14" fmla="*/ 124553 h 124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461" h="124553">
                    <a:moveTo>
                      <a:pt x="45877" y="124553"/>
                    </a:moveTo>
                    <a:lnTo>
                      <a:pt x="6559" y="124553"/>
                    </a:lnTo>
                    <a:cubicBezTo>
                      <a:pt x="4755" y="124553"/>
                      <a:pt x="3027" y="123806"/>
                      <a:pt x="1790" y="122491"/>
                    </a:cubicBezTo>
                    <a:cubicBezTo>
                      <a:pt x="552" y="121176"/>
                      <a:pt x="-92" y="119423"/>
                      <a:pt x="11" y="117618"/>
                    </a:cubicBezTo>
                    <a:lnTo>
                      <a:pt x="6559" y="6188"/>
                    </a:lnTo>
                    <a:cubicBezTo>
                      <a:pt x="6766" y="2579"/>
                      <a:pt x="9859" y="-309"/>
                      <a:pt x="13495" y="26"/>
                    </a:cubicBezTo>
                    <a:cubicBezTo>
                      <a:pt x="17104" y="233"/>
                      <a:pt x="19863" y="3327"/>
                      <a:pt x="19657" y="6962"/>
                    </a:cubicBezTo>
                    <a:lnTo>
                      <a:pt x="13520" y="111430"/>
                    </a:lnTo>
                    <a:lnTo>
                      <a:pt x="38941" y="111430"/>
                    </a:lnTo>
                    <a:lnTo>
                      <a:pt x="32805" y="6962"/>
                    </a:lnTo>
                    <a:cubicBezTo>
                      <a:pt x="32599" y="3352"/>
                      <a:pt x="35358" y="259"/>
                      <a:pt x="38967" y="26"/>
                    </a:cubicBezTo>
                    <a:cubicBezTo>
                      <a:pt x="42499" y="-309"/>
                      <a:pt x="45671" y="2579"/>
                      <a:pt x="45903" y="6188"/>
                    </a:cubicBezTo>
                    <a:lnTo>
                      <a:pt x="52451" y="117618"/>
                    </a:lnTo>
                    <a:cubicBezTo>
                      <a:pt x="52554" y="119423"/>
                      <a:pt x="51910" y="121176"/>
                      <a:pt x="50672" y="122491"/>
                    </a:cubicBezTo>
                    <a:cubicBezTo>
                      <a:pt x="49409" y="123806"/>
                      <a:pt x="47682" y="124553"/>
                      <a:pt x="45877" y="124553"/>
                    </a:cubicBezTo>
                    <a:close/>
                  </a:path>
                </a:pathLst>
              </a:custGeom>
              <a:solidFill>
                <a:schemeClr val="tx2"/>
              </a:solidFill>
              <a:ln w="2573" cap="flat">
                <a:noFill/>
                <a:prstDash val="solid"/>
                <a:miter/>
              </a:ln>
            </p:spPr>
            <p:txBody>
              <a:bodyPr rtlCol="0" anchor="ctr"/>
              <a:lstStyle/>
              <a:p>
                <a:endParaRPr lang="en-GB" dirty="0"/>
              </a:p>
            </p:txBody>
          </p:sp>
          <p:sp>
            <p:nvSpPr>
              <p:cNvPr id="411" name="Freihandform: Form 907">
                <a:extLst>
                  <a:ext uri="{FF2B5EF4-FFF2-40B4-BE49-F238E27FC236}">
                    <a16:creationId xmlns:a16="http://schemas.microsoft.com/office/drawing/2014/main" id="{F304FDDE-2714-488E-A31D-651BEBE2931E}"/>
                  </a:ext>
                </a:extLst>
              </p:cNvPr>
              <p:cNvSpPr/>
              <p:nvPr/>
            </p:nvSpPr>
            <p:spPr>
              <a:xfrm>
                <a:off x="5510496" y="2786817"/>
                <a:ext cx="52414" cy="13097"/>
              </a:xfrm>
              <a:custGeom>
                <a:avLst/>
                <a:gdLst>
                  <a:gd name="connsiteX0" fmla="*/ 45866 w 52414"/>
                  <a:gd name="connsiteY0" fmla="*/ 13097 h 13097"/>
                  <a:gd name="connsiteX1" fmla="*/ 6549 w 52414"/>
                  <a:gd name="connsiteY1" fmla="*/ 13097 h 13097"/>
                  <a:gd name="connsiteX2" fmla="*/ 0 w 52414"/>
                  <a:gd name="connsiteY2" fmla="*/ 6549 h 13097"/>
                  <a:gd name="connsiteX3" fmla="*/ 6549 w 52414"/>
                  <a:gd name="connsiteY3" fmla="*/ 0 h 13097"/>
                  <a:gd name="connsiteX4" fmla="*/ 45866 w 52414"/>
                  <a:gd name="connsiteY4" fmla="*/ 0 h 13097"/>
                  <a:gd name="connsiteX5" fmla="*/ 52415 w 52414"/>
                  <a:gd name="connsiteY5" fmla="*/ 6549 h 13097"/>
                  <a:gd name="connsiteX6" fmla="*/ 45866 w 52414"/>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414" h="13097">
                    <a:moveTo>
                      <a:pt x="45866" y="13097"/>
                    </a:moveTo>
                    <a:lnTo>
                      <a:pt x="6549" y="13097"/>
                    </a:lnTo>
                    <a:cubicBezTo>
                      <a:pt x="2939" y="13097"/>
                      <a:pt x="0" y="10158"/>
                      <a:pt x="0" y="6549"/>
                    </a:cubicBezTo>
                    <a:cubicBezTo>
                      <a:pt x="0" y="2939"/>
                      <a:pt x="2939" y="0"/>
                      <a:pt x="6549" y="0"/>
                    </a:cubicBezTo>
                    <a:lnTo>
                      <a:pt x="45866" y="0"/>
                    </a:lnTo>
                    <a:cubicBezTo>
                      <a:pt x="49476" y="0"/>
                      <a:pt x="52415" y="2939"/>
                      <a:pt x="52415" y="6549"/>
                    </a:cubicBezTo>
                    <a:cubicBezTo>
                      <a:pt x="52415" y="10158"/>
                      <a:pt x="49476" y="13097"/>
                      <a:pt x="45866" y="13097"/>
                    </a:cubicBezTo>
                    <a:close/>
                  </a:path>
                </a:pathLst>
              </a:custGeom>
              <a:solidFill>
                <a:schemeClr val="tx2"/>
              </a:solidFill>
              <a:ln w="2573" cap="flat">
                <a:noFill/>
                <a:prstDash val="solid"/>
                <a:miter/>
              </a:ln>
            </p:spPr>
            <p:txBody>
              <a:bodyPr rtlCol="0" anchor="ctr"/>
              <a:lstStyle/>
              <a:p>
                <a:endParaRPr lang="en-GB" dirty="0"/>
              </a:p>
            </p:txBody>
          </p:sp>
          <p:sp>
            <p:nvSpPr>
              <p:cNvPr id="412" name="Freihandform: Form 909">
                <a:extLst>
                  <a:ext uri="{FF2B5EF4-FFF2-40B4-BE49-F238E27FC236}">
                    <a16:creationId xmlns:a16="http://schemas.microsoft.com/office/drawing/2014/main" id="{A4519633-7AD6-40E1-8171-52A1EE46CA9A}"/>
                  </a:ext>
                </a:extLst>
              </p:cNvPr>
              <p:cNvSpPr/>
              <p:nvPr/>
            </p:nvSpPr>
            <p:spPr>
              <a:xfrm>
                <a:off x="5503509" y="2593323"/>
                <a:ext cx="65537" cy="65537"/>
              </a:xfrm>
              <a:custGeom>
                <a:avLst/>
                <a:gdLst>
                  <a:gd name="connsiteX0" fmla="*/ 32769 w 65537"/>
                  <a:gd name="connsiteY0" fmla="*/ 65538 h 65537"/>
                  <a:gd name="connsiteX1" fmla="*/ 0 w 65537"/>
                  <a:gd name="connsiteY1" fmla="*/ 32769 h 65537"/>
                  <a:gd name="connsiteX2" fmla="*/ 32769 w 65537"/>
                  <a:gd name="connsiteY2" fmla="*/ 0 h 65537"/>
                  <a:gd name="connsiteX3" fmla="*/ 65538 w 65537"/>
                  <a:gd name="connsiteY3" fmla="*/ 32769 h 65537"/>
                  <a:gd name="connsiteX4" fmla="*/ 32769 w 65537"/>
                  <a:gd name="connsiteY4" fmla="*/ 65538 h 65537"/>
                  <a:gd name="connsiteX5" fmla="*/ 32769 w 65537"/>
                  <a:gd name="connsiteY5" fmla="*/ 13123 h 65537"/>
                  <a:gd name="connsiteX6" fmla="*/ 13097 w 65537"/>
                  <a:gd name="connsiteY6" fmla="*/ 32795 h 65537"/>
                  <a:gd name="connsiteX7" fmla="*/ 32769 w 65537"/>
                  <a:gd name="connsiteY7" fmla="*/ 52466 h 65537"/>
                  <a:gd name="connsiteX8" fmla="*/ 52441 w 65537"/>
                  <a:gd name="connsiteY8" fmla="*/ 32795 h 65537"/>
                  <a:gd name="connsiteX9" fmla="*/ 32769 w 65537"/>
                  <a:gd name="connsiteY9" fmla="*/ 13123 h 6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37" h="65537">
                    <a:moveTo>
                      <a:pt x="32769" y="65538"/>
                    </a:moveTo>
                    <a:cubicBezTo>
                      <a:pt x="14696" y="65538"/>
                      <a:pt x="0" y="50842"/>
                      <a:pt x="0" y="32769"/>
                    </a:cubicBezTo>
                    <a:cubicBezTo>
                      <a:pt x="0" y="14696"/>
                      <a:pt x="14696" y="0"/>
                      <a:pt x="32769" y="0"/>
                    </a:cubicBezTo>
                    <a:cubicBezTo>
                      <a:pt x="50842" y="0"/>
                      <a:pt x="65538" y="14696"/>
                      <a:pt x="65538" y="32769"/>
                    </a:cubicBezTo>
                    <a:cubicBezTo>
                      <a:pt x="65538" y="50842"/>
                      <a:pt x="50842" y="65538"/>
                      <a:pt x="32769" y="65538"/>
                    </a:cubicBezTo>
                    <a:close/>
                    <a:moveTo>
                      <a:pt x="32769" y="13123"/>
                    </a:moveTo>
                    <a:cubicBezTo>
                      <a:pt x="21915" y="13123"/>
                      <a:pt x="13097" y="21940"/>
                      <a:pt x="13097" y="32795"/>
                    </a:cubicBezTo>
                    <a:cubicBezTo>
                      <a:pt x="13097" y="43649"/>
                      <a:pt x="21915" y="52466"/>
                      <a:pt x="32769" y="52466"/>
                    </a:cubicBezTo>
                    <a:cubicBezTo>
                      <a:pt x="43623" y="52466"/>
                      <a:pt x="52441" y="43649"/>
                      <a:pt x="52441" y="32795"/>
                    </a:cubicBezTo>
                    <a:cubicBezTo>
                      <a:pt x="52441" y="21940"/>
                      <a:pt x="43623" y="13123"/>
                      <a:pt x="32769" y="13123"/>
                    </a:cubicBezTo>
                    <a:close/>
                  </a:path>
                </a:pathLst>
              </a:custGeom>
              <a:solidFill>
                <a:schemeClr val="tx2"/>
              </a:solidFill>
              <a:ln w="2573" cap="flat">
                <a:noFill/>
                <a:prstDash val="solid"/>
                <a:miter/>
              </a:ln>
            </p:spPr>
            <p:txBody>
              <a:bodyPr rtlCol="0" anchor="ctr"/>
              <a:lstStyle/>
              <a:p>
                <a:endParaRPr lang="en-GB" dirty="0"/>
              </a:p>
            </p:txBody>
          </p:sp>
          <p:sp>
            <p:nvSpPr>
              <p:cNvPr id="413" name="Freihandform: Form 910">
                <a:extLst>
                  <a:ext uri="{FF2B5EF4-FFF2-40B4-BE49-F238E27FC236}">
                    <a16:creationId xmlns:a16="http://schemas.microsoft.com/office/drawing/2014/main" id="{57FA9CA7-D2BD-4C6F-9D04-4E2DDF38FEE0}"/>
                  </a:ext>
                </a:extLst>
              </p:cNvPr>
              <p:cNvSpPr/>
              <p:nvPr/>
            </p:nvSpPr>
            <p:spPr>
              <a:xfrm>
                <a:off x="5526481" y="2619569"/>
                <a:ext cx="19645" cy="13097"/>
              </a:xfrm>
              <a:custGeom>
                <a:avLst/>
                <a:gdLst>
                  <a:gd name="connsiteX0" fmla="*/ 13097 w 19645"/>
                  <a:gd name="connsiteY0" fmla="*/ 13097 h 13097"/>
                  <a:gd name="connsiteX1" fmla="*/ 6549 w 19645"/>
                  <a:gd name="connsiteY1" fmla="*/ 13097 h 13097"/>
                  <a:gd name="connsiteX2" fmla="*/ 0 w 19645"/>
                  <a:gd name="connsiteY2" fmla="*/ 6549 h 13097"/>
                  <a:gd name="connsiteX3" fmla="*/ 6549 w 19645"/>
                  <a:gd name="connsiteY3" fmla="*/ 0 h 13097"/>
                  <a:gd name="connsiteX4" fmla="*/ 13097 w 19645"/>
                  <a:gd name="connsiteY4" fmla="*/ 0 h 13097"/>
                  <a:gd name="connsiteX5" fmla="*/ 19646 w 19645"/>
                  <a:gd name="connsiteY5" fmla="*/ 6549 h 13097"/>
                  <a:gd name="connsiteX6" fmla="*/ 13097 w 19645"/>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45" h="13097">
                    <a:moveTo>
                      <a:pt x="13097" y="13097"/>
                    </a:moveTo>
                    <a:lnTo>
                      <a:pt x="6549" y="13097"/>
                    </a:lnTo>
                    <a:cubicBezTo>
                      <a:pt x="2939" y="13097"/>
                      <a:pt x="0" y="10158"/>
                      <a:pt x="0" y="6549"/>
                    </a:cubicBezTo>
                    <a:cubicBezTo>
                      <a:pt x="0" y="2939"/>
                      <a:pt x="2939" y="0"/>
                      <a:pt x="6549" y="0"/>
                    </a:cubicBezTo>
                    <a:lnTo>
                      <a:pt x="13097" y="0"/>
                    </a:lnTo>
                    <a:cubicBezTo>
                      <a:pt x="16707" y="0"/>
                      <a:pt x="19646" y="2939"/>
                      <a:pt x="19646" y="6549"/>
                    </a:cubicBezTo>
                    <a:cubicBezTo>
                      <a:pt x="19646" y="10158"/>
                      <a:pt x="16707" y="13097"/>
                      <a:pt x="13097" y="13097"/>
                    </a:cubicBezTo>
                    <a:close/>
                  </a:path>
                </a:pathLst>
              </a:custGeom>
              <a:solidFill>
                <a:schemeClr val="tx2"/>
              </a:solidFill>
              <a:ln w="2573" cap="flat">
                <a:noFill/>
                <a:prstDash val="solid"/>
                <a:miter/>
              </a:ln>
            </p:spPr>
            <p:txBody>
              <a:bodyPr rtlCol="0" anchor="ctr"/>
              <a:lstStyle/>
              <a:p>
                <a:endParaRPr lang="en-GB" dirty="0"/>
              </a:p>
            </p:txBody>
          </p:sp>
          <p:sp>
            <p:nvSpPr>
              <p:cNvPr id="414" name="Freihandform: Form 914">
                <a:extLst>
                  <a:ext uri="{FF2B5EF4-FFF2-40B4-BE49-F238E27FC236}">
                    <a16:creationId xmlns:a16="http://schemas.microsoft.com/office/drawing/2014/main" id="{2A2C2C40-F1C5-4EE8-A45C-CB839047611B}"/>
                  </a:ext>
                </a:extLst>
              </p:cNvPr>
              <p:cNvSpPr/>
              <p:nvPr/>
            </p:nvSpPr>
            <p:spPr>
              <a:xfrm>
                <a:off x="5575192" y="2472209"/>
                <a:ext cx="125368" cy="190081"/>
              </a:xfrm>
              <a:custGeom>
                <a:avLst/>
                <a:gdLst>
                  <a:gd name="connsiteX0" fmla="*/ 116629 w 125368"/>
                  <a:gd name="connsiteY0" fmla="*/ 190082 h 190081"/>
                  <a:gd name="connsiteX1" fmla="*/ 115546 w 125368"/>
                  <a:gd name="connsiteY1" fmla="*/ 190004 h 190081"/>
                  <a:gd name="connsiteX2" fmla="*/ 110158 w 125368"/>
                  <a:gd name="connsiteY2" fmla="*/ 182450 h 190081"/>
                  <a:gd name="connsiteX3" fmla="*/ 112246 w 125368"/>
                  <a:gd name="connsiteY3" fmla="*/ 157313 h 190081"/>
                  <a:gd name="connsiteX4" fmla="*/ 4683 w 125368"/>
                  <a:gd name="connsiteY4" fmla="*/ 12831 h 190081"/>
                  <a:gd name="connsiteX5" fmla="*/ 275 w 125368"/>
                  <a:gd name="connsiteY5" fmla="*/ 4683 h 190081"/>
                  <a:gd name="connsiteX6" fmla="*/ 8422 w 125368"/>
                  <a:gd name="connsiteY6" fmla="*/ 275 h 190081"/>
                  <a:gd name="connsiteX7" fmla="*/ 125369 w 125368"/>
                  <a:gd name="connsiteY7" fmla="*/ 157313 h 190081"/>
                  <a:gd name="connsiteX8" fmla="*/ 123100 w 125368"/>
                  <a:gd name="connsiteY8" fmla="*/ 184616 h 190081"/>
                  <a:gd name="connsiteX9" fmla="*/ 116629 w 125368"/>
                  <a:gd name="connsiteY9" fmla="*/ 190082 h 19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68" h="190081">
                    <a:moveTo>
                      <a:pt x="116629" y="190082"/>
                    </a:moveTo>
                    <a:cubicBezTo>
                      <a:pt x="116268" y="190082"/>
                      <a:pt x="115907" y="190056"/>
                      <a:pt x="115546" y="190004"/>
                    </a:cubicBezTo>
                    <a:cubicBezTo>
                      <a:pt x="111988" y="189411"/>
                      <a:pt x="109565" y="186034"/>
                      <a:pt x="110158" y="182450"/>
                    </a:cubicBezTo>
                    <a:cubicBezTo>
                      <a:pt x="111550" y="174200"/>
                      <a:pt x="112246" y="165743"/>
                      <a:pt x="112246" y="157313"/>
                    </a:cubicBezTo>
                    <a:cubicBezTo>
                      <a:pt x="112246" y="91156"/>
                      <a:pt x="68004" y="31729"/>
                      <a:pt x="4683" y="12831"/>
                    </a:cubicBezTo>
                    <a:cubicBezTo>
                      <a:pt x="1203" y="11799"/>
                      <a:pt x="-757" y="8138"/>
                      <a:pt x="275" y="4683"/>
                    </a:cubicBezTo>
                    <a:cubicBezTo>
                      <a:pt x="1306" y="1203"/>
                      <a:pt x="4967" y="-757"/>
                      <a:pt x="8422" y="275"/>
                    </a:cubicBezTo>
                    <a:cubicBezTo>
                      <a:pt x="77286" y="20823"/>
                      <a:pt x="125369" y="85381"/>
                      <a:pt x="125369" y="157313"/>
                    </a:cubicBezTo>
                    <a:cubicBezTo>
                      <a:pt x="125369" y="166465"/>
                      <a:pt x="124595" y="175644"/>
                      <a:pt x="123100" y="184616"/>
                    </a:cubicBezTo>
                    <a:cubicBezTo>
                      <a:pt x="122559" y="187813"/>
                      <a:pt x="119774" y="190082"/>
                      <a:pt x="116629" y="190082"/>
                    </a:cubicBezTo>
                    <a:close/>
                  </a:path>
                </a:pathLst>
              </a:custGeom>
              <a:solidFill>
                <a:schemeClr val="tx2"/>
              </a:solidFill>
              <a:ln w="2573" cap="flat">
                <a:noFill/>
                <a:prstDash val="solid"/>
                <a:miter/>
              </a:ln>
            </p:spPr>
            <p:txBody>
              <a:bodyPr rtlCol="0" anchor="ctr"/>
              <a:lstStyle/>
              <a:p>
                <a:endParaRPr lang="en-GB" dirty="0"/>
              </a:p>
            </p:txBody>
          </p:sp>
          <p:sp>
            <p:nvSpPr>
              <p:cNvPr id="415" name="Freihandform: Form 915">
                <a:extLst>
                  <a:ext uri="{FF2B5EF4-FFF2-40B4-BE49-F238E27FC236}">
                    <a16:creationId xmlns:a16="http://schemas.microsoft.com/office/drawing/2014/main" id="{1680156A-CC5F-4F90-9616-7B1337E0CD33}"/>
                  </a:ext>
                </a:extLst>
              </p:cNvPr>
              <p:cNvSpPr/>
              <p:nvPr/>
            </p:nvSpPr>
            <p:spPr>
              <a:xfrm>
                <a:off x="5582566" y="2719062"/>
                <a:ext cx="85200" cy="65357"/>
              </a:xfrm>
              <a:custGeom>
                <a:avLst/>
                <a:gdLst>
                  <a:gd name="connsiteX0" fmla="*/ 6565 w 85200"/>
                  <a:gd name="connsiteY0" fmla="*/ 65357 h 65357"/>
                  <a:gd name="connsiteX1" fmla="*/ 377 w 85200"/>
                  <a:gd name="connsiteY1" fmla="*/ 60974 h 65357"/>
                  <a:gd name="connsiteX2" fmla="*/ 4374 w 85200"/>
                  <a:gd name="connsiteY2" fmla="*/ 52621 h 65357"/>
                  <a:gd name="connsiteX3" fmla="*/ 73469 w 85200"/>
                  <a:gd name="connsiteY3" fmla="*/ 2552 h 65357"/>
                  <a:gd name="connsiteX4" fmla="*/ 82648 w 85200"/>
                  <a:gd name="connsiteY4" fmla="*/ 1367 h 65357"/>
                  <a:gd name="connsiteX5" fmla="*/ 83834 w 85200"/>
                  <a:gd name="connsiteY5" fmla="*/ 10571 h 65357"/>
                  <a:gd name="connsiteX6" fmla="*/ 8731 w 85200"/>
                  <a:gd name="connsiteY6" fmla="*/ 64971 h 65357"/>
                  <a:gd name="connsiteX7" fmla="*/ 6565 w 85200"/>
                  <a:gd name="connsiteY7" fmla="*/ 65357 h 65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200" h="65357">
                    <a:moveTo>
                      <a:pt x="6565" y="65357"/>
                    </a:moveTo>
                    <a:cubicBezTo>
                      <a:pt x="3858" y="65357"/>
                      <a:pt x="1331" y="63681"/>
                      <a:pt x="377" y="60974"/>
                    </a:cubicBezTo>
                    <a:cubicBezTo>
                      <a:pt x="-834" y="57571"/>
                      <a:pt x="970" y="53807"/>
                      <a:pt x="4374" y="52621"/>
                    </a:cubicBezTo>
                    <a:cubicBezTo>
                      <a:pt x="31728" y="42953"/>
                      <a:pt x="55628" y="25627"/>
                      <a:pt x="73469" y="2552"/>
                    </a:cubicBezTo>
                    <a:cubicBezTo>
                      <a:pt x="75687" y="-309"/>
                      <a:pt x="79812" y="-851"/>
                      <a:pt x="82648" y="1367"/>
                    </a:cubicBezTo>
                    <a:cubicBezTo>
                      <a:pt x="85510" y="3584"/>
                      <a:pt x="86051" y="7709"/>
                      <a:pt x="83834" y="10571"/>
                    </a:cubicBezTo>
                    <a:cubicBezTo>
                      <a:pt x="64446" y="35656"/>
                      <a:pt x="38483" y="54477"/>
                      <a:pt x="8731" y="64971"/>
                    </a:cubicBezTo>
                    <a:cubicBezTo>
                      <a:pt x="8035" y="65228"/>
                      <a:pt x="7287" y="65357"/>
                      <a:pt x="6565" y="65357"/>
                    </a:cubicBezTo>
                    <a:close/>
                  </a:path>
                </a:pathLst>
              </a:custGeom>
              <a:solidFill>
                <a:schemeClr val="tx2"/>
              </a:solidFill>
              <a:ln w="2573" cap="flat">
                <a:noFill/>
                <a:prstDash val="solid"/>
                <a:miter/>
              </a:ln>
            </p:spPr>
            <p:txBody>
              <a:bodyPr rtlCol="0" anchor="ctr"/>
              <a:lstStyle/>
              <a:p>
                <a:endParaRPr lang="en-GB" dirty="0"/>
              </a:p>
            </p:txBody>
          </p:sp>
          <p:sp>
            <p:nvSpPr>
              <p:cNvPr id="416" name="Freihandform: Form 916">
                <a:extLst>
                  <a:ext uri="{FF2B5EF4-FFF2-40B4-BE49-F238E27FC236}">
                    <a16:creationId xmlns:a16="http://schemas.microsoft.com/office/drawing/2014/main" id="{102F72D1-1FF3-4485-A254-CF7B8BE425C2}"/>
                  </a:ext>
                </a:extLst>
              </p:cNvPr>
              <p:cNvSpPr/>
              <p:nvPr/>
            </p:nvSpPr>
            <p:spPr>
              <a:xfrm>
                <a:off x="5405615" y="2719054"/>
                <a:ext cx="78681" cy="62890"/>
              </a:xfrm>
              <a:custGeom>
                <a:avLst/>
                <a:gdLst>
                  <a:gd name="connsiteX0" fmla="*/ 72112 w 78681"/>
                  <a:gd name="connsiteY0" fmla="*/ 62890 h 62890"/>
                  <a:gd name="connsiteX1" fmla="*/ 69663 w 78681"/>
                  <a:gd name="connsiteY1" fmla="*/ 62400 h 62890"/>
                  <a:gd name="connsiteX2" fmla="*/ 1366 w 78681"/>
                  <a:gd name="connsiteY2" fmla="*/ 10553 h 62890"/>
                  <a:gd name="connsiteX3" fmla="*/ 2552 w 78681"/>
                  <a:gd name="connsiteY3" fmla="*/ 1374 h 62890"/>
                  <a:gd name="connsiteX4" fmla="*/ 11731 w 78681"/>
                  <a:gd name="connsiteY4" fmla="*/ 2560 h 62890"/>
                  <a:gd name="connsiteX5" fmla="*/ 74587 w 78681"/>
                  <a:gd name="connsiteY5" fmla="*/ 50257 h 62890"/>
                  <a:gd name="connsiteX6" fmla="*/ 78197 w 78681"/>
                  <a:gd name="connsiteY6" fmla="*/ 58791 h 62890"/>
                  <a:gd name="connsiteX7" fmla="*/ 72112 w 78681"/>
                  <a:gd name="connsiteY7" fmla="*/ 62890 h 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1" h="62890">
                    <a:moveTo>
                      <a:pt x="72112" y="62890"/>
                    </a:moveTo>
                    <a:cubicBezTo>
                      <a:pt x="71287" y="62890"/>
                      <a:pt x="70462" y="62735"/>
                      <a:pt x="69663" y="62400"/>
                    </a:cubicBezTo>
                    <a:cubicBezTo>
                      <a:pt x="42772" y="51520"/>
                      <a:pt x="19156" y="33602"/>
                      <a:pt x="1366" y="10553"/>
                    </a:cubicBezTo>
                    <a:cubicBezTo>
                      <a:pt x="-851" y="7691"/>
                      <a:pt x="-309" y="3566"/>
                      <a:pt x="2552" y="1374"/>
                    </a:cubicBezTo>
                    <a:cubicBezTo>
                      <a:pt x="5414" y="-843"/>
                      <a:pt x="9539" y="-327"/>
                      <a:pt x="11731" y="2560"/>
                    </a:cubicBezTo>
                    <a:cubicBezTo>
                      <a:pt x="28128" y="23753"/>
                      <a:pt x="49862" y="40253"/>
                      <a:pt x="74587" y="50257"/>
                    </a:cubicBezTo>
                    <a:cubicBezTo>
                      <a:pt x="77939" y="51623"/>
                      <a:pt x="79563" y="55439"/>
                      <a:pt x="78197" y="58791"/>
                    </a:cubicBezTo>
                    <a:cubicBezTo>
                      <a:pt x="77165" y="61343"/>
                      <a:pt x="74716" y="62890"/>
                      <a:pt x="72112" y="62890"/>
                    </a:cubicBezTo>
                    <a:close/>
                  </a:path>
                </a:pathLst>
              </a:custGeom>
              <a:solidFill>
                <a:schemeClr val="tx2"/>
              </a:solidFill>
              <a:ln w="2573" cap="flat">
                <a:noFill/>
                <a:prstDash val="solid"/>
                <a:miter/>
              </a:ln>
            </p:spPr>
            <p:txBody>
              <a:bodyPr rtlCol="0" anchor="ctr"/>
              <a:lstStyle/>
              <a:p>
                <a:endParaRPr lang="en-GB" dirty="0"/>
              </a:p>
            </p:txBody>
          </p:sp>
          <p:sp>
            <p:nvSpPr>
              <p:cNvPr id="417" name="Freihandform: Form 917">
                <a:extLst>
                  <a:ext uri="{FF2B5EF4-FFF2-40B4-BE49-F238E27FC236}">
                    <a16:creationId xmlns:a16="http://schemas.microsoft.com/office/drawing/2014/main" id="{8996D197-299E-417F-ACFF-4DF94A8F7181}"/>
                  </a:ext>
                </a:extLst>
              </p:cNvPr>
              <p:cNvSpPr/>
              <p:nvPr/>
            </p:nvSpPr>
            <p:spPr>
              <a:xfrm>
                <a:off x="5372872" y="2472225"/>
                <a:ext cx="125317" cy="190065"/>
              </a:xfrm>
              <a:custGeom>
                <a:avLst/>
                <a:gdLst>
                  <a:gd name="connsiteX0" fmla="*/ 8714 w 125317"/>
                  <a:gd name="connsiteY0" fmla="*/ 190065 h 190065"/>
                  <a:gd name="connsiteX1" fmla="*/ 2269 w 125317"/>
                  <a:gd name="connsiteY1" fmla="*/ 184599 h 190065"/>
                  <a:gd name="connsiteX2" fmla="*/ 0 w 125317"/>
                  <a:gd name="connsiteY2" fmla="*/ 157296 h 190065"/>
                  <a:gd name="connsiteX3" fmla="*/ 116895 w 125317"/>
                  <a:gd name="connsiteY3" fmla="*/ 284 h 190065"/>
                  <a:gd name="connsiteX4" fmla="*/ 125043 w 125317"/>
                  <a:gd name="connsiteY4" fmla="*/ 4693 h 190065"/>
                  <a:gd name="connsiteX5" fmla="*/ 120634 w 125317"/>
                  <a:gd name="connsiteY5" fmla="*/ 12840 h 190065"/>
                  <a:gd name="connsiteX6" fmla="*/ 13097 w 125317"/>
                  <a:gd name="connsiteY6" fmla="*/ 157296 h 190065"/>
                  <a:gd name="connsiteX7" fmla="*/ 15186 w 125317"/>
                  <a:gd name="connsiteY7" fmla="*/ 182434 h 190065"/>
                  <a:gd name="connsiteX8" fmla="*/ 9797 w 125317"/>
                  <a:gd name="connsiteY8" fmla="*/ 189988 h 190065"/>
                  <a:gd name="connsiteX9" fmla="*/ 8714 w 125317"/>
                  <a:gd name="connsiteY9" fmla="*/ 190065 h 190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5317" h="190065">
                    <a:moveTo>
                      <a:pt x="8714" y="190065"/>
                    </a:moveTo>
                    <a:cubicBezTo>
                      <a:pt x="5569" y="190065"/>
                      <a:pt x="2784" y="187796"/>
                      <a:pt x="2269" y="184599"/>
                    </a:cubicBezTo>
                    <a:cubicBezTo>
                      <a:pt x="773" y="175627"/>
                      <a:pt x="0" y="166449"/>
                      <a:pt x="0" y="157296"/>
                    </a:cubicBezTo>
                    <a:cubicBezTo>
                      <a:pt x="0" y="85390"/>
                      <a:pt x="48058" y="20832"/>
                      <a:pt x="116895" y="284"/>
                    </a:cubicBezTo>
                    <a:cubicBezTo>
                      <a:pt x="120376" y="-773"/>
                      <a:pt x="124011" y="1212"/>
                      <a:pt x="125043" y="4693"/>
                    </a:cubicBezTo>
                    <a:cubicBezTo>
                      <a:pt x="126074" y="8173"/>
                      <a:pt x="124114" y="11809"/>
                      <a:pt x="120634" y="12840"/>
                    </a:cubicBezTo>
                    <a:cubicBezTo>
                      <a:pt x="57313" y="31738"/>
                      <a:pt x="13097" y="91140"/>
                      <a:pt x="13097" y="157296"/>
                    </a:cubicBezTo>
                    <a:cubicBezTo>
                      <a:pt x="13097" y="165727"/>
                      <a:pt x="13793" y="174183"/>
                      <a:pt x="15186" y="182434"/>
                    </a:cubicBezTo>
                    <a:cubicBezTo>
                      <a:pt x="15779" y="186017"/>
                      <a:pt x="13381" y="189395"/>
                      <a:pt x="9797" y="189988"/>
                    </a:cubicBezTo>
                    <a:cubicBezTo>
                      <a:pt x="9436" y="190039"/>
                      <a:pt x="9049" y="190065"/>
                      <a:pt x="8714" y="190065"/>
                    </a:cubicBezTo>
                    <a:close/>
                  </a:path>
                </a:pathLst>
              </a:custGeom>
              <a:solidFill>
                <a:schemeClr val="tx2"/>
              </a:solidFill>
              <a:ln w="2573" cap="flat">
                <a:noFill/>
                <a:prstDash val="solid"/>
                <a:miter/>
              </a:ln>
            </p:spPr>
            <p:txBody>
              <a:bodyPr rtlCol="0" anchor="ctr"/>
              <a:lstStyle/>
              <a:p>
                <a:endParaRPr lang="en-GB" dirty="0"/>
              </a:p>
            </p:txBody>
          </p:sp>
          <p:sp>
            <p:nvSpPr>
              <p:cNvPr id="418" name="Freihandform: Form 918">
                <a:extLst>
                  <a:ext uri="{FF2B5EF4-FFF2-40B4-BE49-F238E27FC236}">
                    <a16:creationId xmlns:a16="http://schemas.microsoft.com/office/drawing/2014/main" id="{C6A71478-2CE8-427E-B449-70B3C634FB3A}"/>
                  </a:ext>
                </a:extLst>
              </p:cNvPr>
              <p:cNvSpPr/>
              <p:nvPr/>
            </p:nvSpPr>
            <p:spPr>
              <a:xfrm>
                <a:off x="5405615" y="2911344"/>
                <a:ext cx="262151" cy="13097"/>
              </a:xfrm>
              <a:custGeom>
                <a:avLst/>
                <a:gdLst>
                  <a:gd name="connsiteX0" fmla="*/ 255602 w 262151"/>
                  <a:gd name="connsiteY0" fmla="*/ 13097 h 13097"/>
                  <a:gd name="connsiteX1" fmla="*/ 6549 w 262151"/>
                  <a:gd name="connsiteY1" fmla="*/ 13097 h 13097"/>
                  <a:gd name="connsiteX2" fmla="*/ 0 w 262151"/>
                  <a:gd name="connsiteY2" fmla="*/ 6549 h 13097"/>
                  <a:gd name="connsiteX3" fmla="*/ 6549 w 262151"/>
                  <a:gd name="connsiteY3" fmla="*/ 0 h 13097"/>
                  <a:gd name="connsiteX4" fmla="*/ 255602 w 262151"/>
                  <a:gd name="connsiteY4" fmla="*/ 0 h 13097"/>
                  <a:gd name="connsiteX5" fmla="*/ 262151 w 262151"/>
                  <a:gd name="connsiteY5" fmla="*/ 6549 h 13097"/>
                  <a:gd name="connsiteX6" fmla="*/ 255602 w 262151"/>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151" h="13097">
                    <a:moveTo>
                      <a:pt x="255602" y="13097"/>
                    </a:moveTo>
                    <a:lnTo>
                      <a:pt x="6549" y="13097"/>
                    </a:lnTo>
                    <a:cubicBezTo>
                      <a:pt x="2939" y="13097"/>
                      <a:pt x="0" y="10158"/>
                      <a:pt x="0" y="6549"/>
                    </a:cubicBezTo>
                    <a:cubicBezTo>
                      <a:pt x="0" y="2939"/>
                      <a:pt x="2939" y="0"/>
                      <a:pt x="6549" y="0"/>
                    </a:cubicBezTo>
                    <a:lnTo>
                      <a:pt x="255602" y="0"/>
                    </a:lnTo>
                    <a:cubicBezTo>
                      <a:pt x="259212" y="0"/>
                      <a:pt x="262151" y="2939"/>
                      <a:pt x="262151" y="6549"/>
                    </a:cubicBezTo>
                    <a:cubicBezTo>
                      <a:pt x="262151" y="10158"/>
                      <a:pt x="259238" y="13097"/>
                      <a:pt x="255602" y="13097"/>
                    </a:cubicBezTo>
                    <a:close/>
                  </a:path>
                </a:pathLst>
              </a:custGeom>
              <a:solidFill>
                <a:schemeClr val="tx2"/>
              </a:solidFill>
              <a:ln w="2573" cap="flat">
                <a:noFill/>
                <a:prstDash val="solid"/>
                <a:miter/>
              </a:ln>
            </p:spPr>
            <p:txBody>
              <a:bodyPr rtlCol="0" anchor="ctr"/>
              <a:lstStyle/>
              <a:p>
                <a:endParaRPr lang="en-GB" dirty="0"/>
              </a:p>
            </p:txBody>
          </p:sp>
        </p:grpSp>
      </p:grpSp>
      <p:grpSp>
        <p:nvGrpSpPr>
          <p:cNvPr id="16" name="Group 15">
            <a:extLst>
              <a:ext uri="{FF2B5EF4-FFF2-40B4-BE49-F238E27FC236}">
                <a16:creationId xmlns:a16="http://schemas.microsoft.com/office/drawing/2014/main" id="{4F1CAB6C-40D0-7851-5460-F97240BF2F47}"/>
              </a:ext>
            </a:extLst>
          </p:cNvPr>
          <p:cNvGrpSpPr/>
          <p:nvPr/>
        </p:nvGrpSpPr>
        <p:grpSpPr>
          <a:xfrm>
            <a:off x="8099690" y="1585984"/>
            <a:ext cx="414228" cy="432000"/>
            <a:chOff x="8099278" y="1585984"/>
            <a:chExt cx="414228" cy="432000"/>
          </a:xfrm>
        </p:grpSpPr>
        <p:grpSp>
          <p:nvGrpSpPr>
            <p:cNvPr id="423" name="Grafik 235">
              <a:extLst>
                <a:ext uri="{FF2B5EF4-FFF2-40B4-BE49-F238E27FC236}">
                  <a16:creationId xmlns:a16="http://schemas.microsoft.com/office/drawing/2014/main" id="{EC45B907-A6A0-4A00-AA3E-2533125531FD}"/>
                </a:ext>
              </a:extLst>
            </p:cNvPr>
            <p:cNvGrpSpPr/>
            <p:nvPr/>
          </p:nvGrpSpPr>
          <p:grpSpPr>
            <a:xfrm>
              <a:off x="8099278" y="1585984"/>
              <a:ext cx="414228" cy="432000"/>
              <a:chOff x="6950039" y="2434042"/>
              <a:chExt cx="492918" cy="514066"/>
            </a:xfrm>
            <a:solidFill>
              <a:schemeClr val="tx2"/>
            </a:solidFill>
          </p:grpSpPr>
          <p:sp>
            <p:nvSpPr>
              <p:cNvPr id="433" name="Freihandform: Form 921">
                <a:extLst>
                  <a:ext uri="{FF2B5EF4-FFF2-40B4-BE49-F238E27FC236}">
                    <a16:creationId xmlns:a16="http://schemas.microsoft.com/office/drawing/2014/main" id="{1CA7C2CE-C660-4814-9A58-FF0E718CB4B1}"/>
                  </a:ext>
                </a:extLst>
              </p:cNvPr>
              <p:cNvSpPr/>
              <p:nvPr/>
            </p:nvSpPr>
            <p:spPr>
              <a:xfrm>
                <a:off x="7021535" y="2434042"/>
                <a:ext cx="349070" cy="85518"/>
              </a:xfrm>
              <a:custGeom>
                <a:avLst/>
                <a:gdLst>
                  <a:gd name="connsiteX0" fmla="*/ 6566 w 349070"/>
                  <a:gd name="connsiteY0" fmla="*/ 85519 h 85518"/>
                  <a:gd name="connsiteX1" fmla="*/ 2002 w 349070"/>
                  <a:gd name="connsiteY1" fmla="*/ 83663 h 85518"/>
                  <a:gd name="connsiteX2" fmla="*/ 1848 w 349070"/>
                  <a:gd name="connsiteY2" fmla="*/ 74407 h 85518"/>
                  <a:gd name="connsiteX3" fmla="*/ 177320 w 349070"/>
                  <a:gd name="connsiteY3" fmla="*/ 0 h 85518"/>
                  <a:gd name="connsiteX4" fmla="*/ 347068 w 349070"/>
                  <a:gd name="connsiteY4" fmla="*/ 68657 h 85518"/>
                  <a:gd name="connsiteX5" fmla="*/ 347223 w 349070"/>
                  <a:gd name="connsiteY5" fmla="*/ 77913 h 85518"/>
                  <a:gd name="connsiteX6" fmla="*/ 337967 w 349070"/>
                  <a:gd name="connsiteY6" fmla="*/ 78068 h 85518"/>
                  <a:gd name="connsiteX7" fmla="*/ 177346 w 349070"/>
                  <a:gd name="connsiteY7" fmla="*/ 13097 h 85518"/>
                  <a:gd name="connsiteX8" fmla="*/ 11310 w 349070"/>
                  <a:gd name="connsiteY8" fmla="*/ 83508 h 85518"/>
                  <a:gd name="connsiteX9" fmla="*/ 6566 w 349070"/>
                  <a:gd name="connsiteY9" fmla="*/ 85519 h 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9070" h="85518">
                    <a:moveTo>
                      <a:pt x="6566" y="85519"/>
                    </a:moveTo>
                    <a:cubicBezTo>
                      <a:pt x="4916" y="85519"/>
                      <a:pt x="3291" y="84900"/>
                      <a:pt x="2002" y="83663"/>
                    </a:cubicBezTo>
                    <a:cubicBezTo>
                      <a:pt x="-602" y="81136"/>
                      <a:pt x="-679" y="76985"/>
                      <a:pt x="1848" y="74407"/>
                    </a:cubicBezTo>
                    <a:cubicBezTo>
                      <a:pt x="48255" y="26427"/>
                      <a:pt x="110570" y="0"/>
                      <a:pt x="177320" y="0"/>
                    </a:cubicBezTo>
                    <a:cubicBezTo>
                      <a:pt x="241001" y="0"/>
                      <a:pt x="301305" y="24390"/>
                      <a:pt x="347068" y="68657"/>
                    </a:cubicBezTo>
                    <a:cubicBezTo>
                      <a:pt x="349672" y="71184"/>
                      <a:pt x="349750" y="75335"/>
                      <a:pt x="347223" y="77913"/>
                    </a:cubicBezTo>
                    <a:cubicBezTo>
                      <a:pt x="344696" y="80517"/>
                      <a:pt x="340571" y="80594"/>
                      <a:pt x="337967" y="78068"/>
                    </a:cubicBezTo>
                    <a:cubicBezTo>
                      <a:pt x="294653" y="36172"/>
                      <a:pt x="237624" y="13097"/>
                      <a:pt x="177346" y="13097"/>
                    </a:cubicBezTo>
                    <a:cubicBezTo>
                      <a:pt x="114180" y="13097"/>
                      <a:pt x="55216" y="38106"/>
                      <a:pt x="11310" y="83508"/>
                    </a:cubicBezTo>
                    <a:cubicBezTo>
                      <a:pt x="9995" y="84848"/>
                      <a:pt x="8293" y="85519"/>
                      <a:pt x="6566" y="85519"/>
                    </a:cubicBezTo>
                    <a:close/>
                  </a:path>
                </a:pathLst>
              </a:custGeom>
              <a:grpFill/>
              <a:ln w="2573" cap="flat">
                <a:noFill/>
                <a:prstDash val="solid"/>
                <a:miter/>
              </a:ln>
            </p:spPr>
            <p:txBody>
              <a:bodyPr rtlCol="0" anchor="ctr"/>
              <a:lstStyle/>
              <a:p>
                <a:endParaRPr lang="en-GB" dirty="0"/>
              </a:p>
            </p:txBody>
          </p:sp>
          <p:sp>
            <p:nvSpPr>
              <p:cNvPr id="434" name="Freihandform: Form 922">
                <a:extLst>
                  <a:ext uri="{FF2B5EF4-FFF2-40B4-BE49-F238E27FC236}">
                    <a16:creationId xmlns:a16="http://schemas.microsoft.com/office/drawing/2014/main" id="{C5AC082B-CFC2-494D-95B4-61792157CF60}"/>
                  </a:ext>
                </a:extLst>
              </p:cNvPr>
              <p:cNvSpPr/>
              <p:nvPr/>
            </p:nvSpPr>
            <p:spPr>
              <a:xfrm>
                <a:off x="7192306" y="2582578"/>
                <a:ext cx="250652" cy="339723"/>
              </a:xfrm>
              <a:custGeom>
                <a:avLst/>
                <a:gdLst>
                  <a:gd name="connsiteX0" fmla="*/ 6549 w 250652"/>
                  <a:gd name="connsiteY0" fmla="*/ 339724 h 339723"/>
                  <a:gd name="connsiteX1" fmla="*/ 0 w 250652"/>
                  <a:gd name="connsiteY1" fmla="*/ 333175 h 339723"/>
                  <a:gd name="connsiteX2" fmla="*/ 6549 w 250652"/>
                  <a:gd name="connsiteY2" fmla="*/ 326626 h 339723"/>
                  <a:gd name="connsiteX3" fmla="*/ 237555 w 250652"/>
                  <a:gd name="connsiteY3" fmla="*/ 95620 h 339723"/>
                  <a:gd name="connsiteX4" fmla="*/ 220771 w 250652"/>
                  <a:gd name="connsiteY4" fmla="*/ 9018 h 339723"/>
                  <a:gd name="connsiteX5" fmla="*/ 224380 w 250652"/>
                  <a:gd name="connsiteY5" fmla="*/ 485 h 339723"/>
                  <a:gd name="connsiteX6" fmla="*/ 232914 w 250652"/>
                  <a:gd name="connsiteY6" fmla="*/ 4094 h 339723"/>
                  <a:gd name="connsiteX7" fmla="*/ 250652 w 250652"/>
                  <a:gd name="connsiteY7" fmla="*/ 95620 h 339723"/>
                  <a:gd name="connsiteX8" fmla="*/ 6549 w 250652"/>
                  <a:gd name="connsiteY8" fmla="*/ 339724 h 339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652" h="339723">
                    <a:moveTo>
                      <a:pt x="6549" y="339724"/>
                    </a:moveTo>
                    <a:cubicBezTo>
                      <a:pt x="2913" y="339724"/>
                      <a:pt x="0" y="336784"/>
                      <a:pt x="0" y="333175"/>
                    </a:cubicBezTo>
                    <a:cubicBezTo>
                      <a:pt x="0" y="329566"/>
                      <a:pt x="2939" y="326626"/>
                      <a:pt x="6549" y="326626"/>
                    </a:cubicBezTo>
                    <a:cubicBezTo>
                      <a:pt x="133937" y="326626"/>
                      <a:pt x="237555" y="222983"/>
                      <a:pt x="237555" y="95620"/>
                    </a:cubicBezTo>
                    <a:cubicBezTo>
                      <a:pt x="237555" y="65661"/>
                      <a:pt x="231909" y="36528"/>
                      <a:pt x="220771" y="9018"/>
                    </a:cubicBezTo>
                    <a:cubicBezTo>
                      <a:pt x="219405" y="5667"/>
                      <a:pt x="221029" y="1851"/>
                      <a:pt x="224380" y="485"/>
                    </a:cubicBezTo>
                    <a:cubicBezTo>
                      <a:pt x="227732" y="-882"/>
                      <a:pt x="231548" y="742"/>
                      <a:pt x="232914" y="4094"/>
                    </a:cubicBezTo>
                    <a:cubicBezTo>
                      <a:pt x="244697" y="33176"/>
                      <a:pt x="250652" y="63960"/>
                      <a:pt x="250652" y="95620"/>
                    </a:cubicBezTo>
                    <a:cubicBezTo>
                      <a:pt x="250678" y="230202"/>
                      <a:pt x="141156" y="339724"/>
                      <a:pt x="6549" y="339724"/>
                    </a:cubicBezTo>
                    <a:close/>
                  </a:path>
                </a:pathLst>
              </a:custGeom>
              <a:grpFill/>
              <a:ln w="2573" cap="flat">
                <a:noFill/>
                <a:prstDash val="solid"/>
                <a:miter/>
              </a:ln>
            </p:spPr>
            <p:txBody>
              <a:bodyPr rtlCol="0" anchor="ctr"/>
              <a:lstStyle/>
              <a:p>
                <a:endParaRPr lang="en-GB" dirty="0"/>
              </a:p>
            </p:txBody>
          </p:sp>
          <p:sp>
            <p:nvSpPr>
              <p:cNvPr id="435" name="Freihandform: Form 923">
                <a:extLst>
                  <a:ext uri="{FF2B5EF4-FFF2-40B4-BE49-F238E27FC236}">
                    <a16:creationId xmlns:a16="http://schemas.microsoft.com/office/drawing/2014/main" id="{8E699A8E-9596-49A3-9193-74361C85799B}"/>
                  </a:ext>
                </a:extLst>
              </p:cNvPr>
              <p:cNvSpPr/>
              <p:nvPr/>
            </p:nvSpPr>
            <p:spPr>
              <a:xfrm>
                <a:off x="6954751" y="2556508"/>
                <a:ext cx="176472" cy="353985"/>
              </a:xfrm>
              <a:custGeom>
                <a:avLst/>
                <a:gdLst>
                  <a:gd name="connsiteX0" fmla="*/ 169877 w 176472"/>
                  <a:gd name="connsiteY0" fmla="*/ 353985 h 353985"/>
                  <a:gd name="connsiteX1" fmla="*/ 167841 w 176472"/>
                  <a:gd name="connsiteY1" fmla="*/ 353650 h 353985"/>
                  <a:gd name="connsiteX2" fmla="*/ 0 w 176472"/>
                  <a:gd name="connsiteY2" fmla="*/ 121664 h 353985"/>
                  <a:gd name="connsiteX3" fmla="*/ 30526 w 176472"/>
                  <a:gd name="connsiteY3" fmla="*/ 3376 h 353985"/>
                  <a:gd name="connsiteX4" fmla="*/ 39446 w 176472"/>
                  <a:gd name="connsiteY4" fmla="*/ 824 h 353985"/>
                  <a:gd name="connsiteX5" fmla="*/ 41999 w 176472"/>
                  <a:gd name="connsiteY5" fmla="*/ 9744 h 353985"/>
                  <a:gd name="connsiteX6" fmla="*/ 13123 w 176472"/>
                  <a:gd name="connsiteY6" fmla="*/ 121664 h 353985"/>
                  <a:gd name="connsiteX7" fmla="*/ 171966 w 176472"/>
                  <a:gd name="connsiteY7" fmla="*/ 341172 h 353985"/>
                  <a:gd name="connsiteX8" fmla="*/ 176142 w 176472"/>
                  <a:gd name="connsiteY8" fmla="*/ 349448 h 353985"/>
                  <a:gd name="connsiteX9" fmla="*/ 169877 w 176472"/>
                  <a:gd name="connsiteY9" fmla="*/ 353985 h 353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6472" h="353985">
                    <a:moveTo>
                      <a:pt x="169877" y="353985"/>
                    </a:moveTo>
                    <a:cubicBezTo>
                      <a:pt x="169207" y="353985"/>
                      <a:pt x="168511" y="353882"/>
                      <a:pt x="167841" y="353650"/>
                    </a:cubicBezTo>
                    <a:cubicBezTo>
                      <a:pt x="67446" y="320649"/>
                      <a:pt x="0" y="227422"/>
                      <a:pt x="0" y="121664"/>
                    </a:cubicBezTo>
                    <a:cubicBezTo>
                      <a:pt x="0" y="80258"/>
                      <a:pt x="10545" y="39368"/>
                      <a:pt x="30526" y="3376"/>
                    </a:cubicBezTo>
                    <a:cubicBezTo>
                      <a:pt x="32279" y="205"/>
                      <a:pt x="36249" y="-929"/>
                      <a:pt x="39446" y="824"/>
                    </a:cubicBezTo>
                    <a:cubicBezTo>
                      <a:pt x="42618" y="2577"/>
                      <a:pt x="43752" y="6573"/>
                      <a:pt x="41999" y="9744"/>
                    </a:cubicBezTo>
                    <a:cubicBezTo>
                      <a:pt x="23101" y="43777"/>
                      <a:pt x="13123" y="82475"/>
                      <a:pt x="13123" y="121664"/>
                    </a:cubicBezTo>
                    <a:cubicBezTo>
                      <a:pt x="13123" y="221750"/>
                      <a:pt x="76959" y="309975"/>
                      <a:pt x="171966" y="341172"/>
                    </a:cubicBezTo>
                    <a:cubicBezTo>
                      <a:pt x="175395" y="342306"/>
                      <a:pt x="177277" y="346019"/>
                      <a:pt x="176142" y="349448"/>
                    </a:cubicBezTo>
                    <a:cubicBezTo>
                      <a:pt x="175189" y="352232"/>
                      <a:pt x="172636" y="353985"/>
                      <a:pt x="169877" y="353985"/>
                    </a:cubicBezTo>
                    <a:close/>
                  </a:path>
                </a:pathLst>
              </a:custGeom>
              <a:grpFill/>
              <a:ln w="2573" cap="flat">
                <a:noFill/>
                <a:prstDash val="solid"/>
                <a:miter/>
              </a:ln>
            </p:spPr>
            <p:txBody>
              <a:bodyPr rtlCol="0" anchor="ctr"/>
              <a:lstStyle/>
              <a:p>
                <a:endParaRPr lang="en-GB" dirty="0"/>
              </a:p>
            </p:txBody>
          </p:sp>
          <p:sp>
            <p:nvSpPr>
              <p:cNvPr id="436" name="Freihandform: Form 924">
                <a:extLst>
                  <a:ext uri="{FF2B5EF4-FFF2-40B4-BE49-F238E27FC236}">
                    <a16:creationId xmlns:a16="http://schemas.microsoft.com/office/drawing/2014/main" id="{D0D12B21-307D-4CFD-8716-88725347B5A7}"/>
                  </a:ext>
                </a:extLst>
              </p:cNvPr>
              <p:cNvSpPr/>
              <p:nvPr/>
            </p:nvSpPr>
            <p:spPr>
              <a:xfrm>
                <a:off x="6950039" y="2555576"/>
                <a:ext cx="57738" cy="49246"/>
              </a:xfrm>
              <a:custGeom>
                <a:avLst/>
                <a:gdLst>
                  <a:gd name="connsiteX0" fmla="*/ 51196 w 57738"/>
                  <a:gd name="connsiteY0" fmla="*/ 49246 h 49246"/>
                  <a:gd name="connsiteX1" fmla="*/ 44828 w 57738"/>
                  <a:gd name="connsiteY1" fmla="*/ 44193 h 49246"/>
                  <a:gd name="connsiteX2" fmla="*/ 37815 w 57738"/>
                  <a:gd name="connsiteY2" fmla="*/ 14441 h 49246"/>
                  <a:gd name="connsiteX3" fmla="*/ 8063 w 57738"/>
                  <a:gd name="connsiteY3" fmla="*/ 21454 h 49246"/>
                  <a:gd name="connsiteX4" fmla="*/ 174 w 57738"/>
                  <a:gd name="connsiteY4" fmla="*/ 16581 h 49246"/>
                  <a:gd name="connsiteX5" fmla="*/ 5047 w 57738"/>
                  <a:gd name="connsiteY5" fmla="*/ 8691 h 49246"/>
                  <a:gd name="connsiteX6" fmla="*/ 41167 w 57738"/>
                  <a:gd name="connsiteY6" fmla="*/ 183 h 49246"/>
                  <a:gd name="connsiteX7" fmla="*/ 49057 w 57738"/>
                  <a:gd name="connsiteY7" fmla="*/ 5056 h 49246"/>
                  <a:gd name="connsiteX8" fmla="*/ 57565 w 57738"/>
                  <a:gd name="connsiteY8" fmla="*/ 41177 h 49246"/>
                  <a:gd name="connsiteX9" fmla="*/ 52692 w 57738"/>
                  <a:gd name="connsiteY9" fmla="*/ 49066 h 49246"/>
                  <a:gd name="connsiteX10" fmla="*/ 51196 w 57738"/>
                  <a:gd name="connsiteY10" fmla="*/ 49246 h 4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738" h="49246">
                    <a:moveTo>
                      <a:pt x="51196" y="49246"/>
                    </a:moveTo>
                    <a:cubicBezTo>
                      <a:pt x="48232" y="49246"/>
                      <a:pt x="45524" y="47210"/>
                      <a:pt x="44828" y="44193"/>
                    </a:cubicBezTo>
                    <a:lnTo>
                      <a:pt x="37815" y="14441"/>
                    </a:lnTo>
                    <a:lnTo>
                      <a:pt x="8063" y="21454"/>
                    </a:lnTo>
                    <a:cubicBezTo>
                      <a:pt x="4531" y="22279"/>
                      <a:pt x="999" y="20113"/>
                      <a:pt x="174" y="16581"/>
                    </a:cubicBezTo>
                    <a:cubicBezTo>
                      <a:pt x="-651" y="13049"/>
                      <a:pt x="1540" y="9542"/>
                      <a:pt x="5047" y="8691"/>
                    </a:cubicBezTo>
                    <a:lnTo>
                      <a:pt x="41167" y="183"/>
                    </a:lnTo>
                    <a:cubicBezTo>
                      <a:pt x="44674" y="-667"/>
                      <a:pt x="48232" y="1524"/>
                      <a:pt x="49057" y="5056"/>
                    </a:cubicBezTo>
                    <a:lnTo>
                      <a:pt x="57565" y="41177"/>
                    </a:lnTo>
                    <a:cubicBezTo>
                      <a:pt x="58390" y="44709"/>
                      <a:pt x="56198" y="48241"/>
                      <a:pt x="52692" y="49066"/>
                    </a:cubicBezTo>
                    <a:cubicBezTo>
                      <a:pt x="52202" y="49195"/>
                      <a:pt x="51686" y="49246"/>
                      <a:pt x="51196" y="49246"/>
                    </a:cubicBezTo>
                    <a:close/>
                  </a:path>
                </a:pathLst>
              </a:custGeom>
              <a:grpFill/>
              <a:ln w="2573" cap="flat">
                <a:noFill/>
                <a:prstDash val="solid"/>
                <a:miter/>
              </a:ln>
            </p:spPr>
            <p:txBody>
              <a:bodyPr rtlCol="0" anchor="ctr"/>
              <a:lstStyle/>
              <a:p>
                <a:endParaRPr lang="en-GB" dirty="0"/>
              </a:p>
            </p:txBody>
          </p:sp>
          <p:sp>
            <p:nvSpPr>
              <p:cNvPr id="437" name="Freihandform: Form 925">
                <a:extLst>
                  <a:ext uri="{FF2B5EF4-FFF2-40B4-BE49-F238E27FC236}">
                    <a16:creationId xmlns:a16="http://schemas.microsoft.com/office/drawing/2014/main" id="{F4C35732-2FCD-4200-9489-1B6D3A570548}"/>
                  </a:ext>
                </a:extLst>
              </p:cNvPr>
              <p:cNvSpPr/>
              <p:nvPr/>
            </p:nvSpPr>
            <p:spPr>
              <a:xfrm>
                <a:off x="7320485" y="2467427"/>
                <a:ext cx="51889" cy="50148"/>
              </a:xfrm>
              <a:custGeom>
                <a:avLst/>
                <a:gdLst>
                  <a:gd name="connsiteX0" fmla="*/ 43631 w 51889"/>
                  <a:gd name="connsiteY0" fmla="*/ 50149 h 50148"/>
                  <a:gd name="connsiteX1" fmla="*/ 43322 w 51889"/>
                  <a:gd name="connsiteY1" fmla="*/ 50149 h 50148"/>
                  <a:gd name="connsiteX2" fmla="*/ 6247 w 51889"/>
                  <a:gd name="connsiteY2" fmla="*/ 48447 h 50148"/>
                  <a:gd name="connsiteX3" fmla="*/ 8 w 51889"/>
                  <a:gd name="connsiteY3" fmla="*/ 41615 h 50148"/>
                  <a:gd name="connsiteX4" fmla="*/ 6866 w 51889"/>
                  <a:gd name="connsiteY4" fmla="*/ 35376 h 50148"/>
                  <a:gd name="connsiteX5" fmla="*/ 37392 w 51889"/>
                  <a:gd name="connsiteY5" fmla="*/ 36768 h 50148"/>
                  <a:gd name="connsiteX6" fmla="*/ 38784 w 51889"/>
                  <a:gd name="connsiteY6" fmla="*/ 6242 h 50148"/>
                  <a:gd name="connsiteX7" fmla="*/ 45642 w 51889"/>
                  <a:gd name="connsiteY7" fmla="*/ 3 h 50148"/>
                  <a:gd name="connsiteX8" fmla="*/ 51882 w 51889"/>
                  <a:gd name="connsiteY8" fmla="*/ 6861 h 50148"/>
                  <a:gd name="connsiteX9" fmla="*/ 50180 w 51889"/>
                  <a:gd name="connsiteY9" fmla="*/ 43935 h 50148"/>
                  <a:gd name="connsiteX10" fmla="*/ 43631 w 51889"/>
                  <a:gd name="connsiteY10" fmla="*/ 50149 h 50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889" h="50148">
                    <a:moveTo>
                      <a:pt x="43631" y="50149"/>
                    </a:moveTo>
                    <a:cubicBezTo>
                      <a:pt x="43528" y="50149"/>
                      <a:pt x="43425" y="50149"/>
                      <a:pt x="43322" y="50149"/>
                    </a:cubicBezTo>
                    <a:lnTo>
                      <a:pt x="6247" y="48447"/>
                    </a:lnTo>
                    <a:cubicBezTo>
                      <a:pt x="2638" y="48292"/>
                      <a:pt x="-172" y="45224"/>
                      <a:pt x="8" y="41615"/>
                    </a:cubicBezTo>
                    <a:cubicBezTo>
                      <a:pt x="163" y="38005"/>
                      <a:pt x="3334" y="35273"/>
                      <a:pt x="6866" y="35376"/>
                    </a:cubicBezTo>
                    <a:lnTo>
                      <a:pt x="37392" y="36768"/>
                    </a:lnTo>
                    <a:lnTo>
                      <a:pt x="38784" y="6242"/>
                    </a:lnTo>
                    <a:cubicBezTo>
                      <a:pt x="38939" y="2633"/>
                      <a:pt x="42084" y="-100"/>
                      <a:pt x="45642" y="3"/>
                    </a:cubicBezTo>
                    <a:cubicBezTo>
                      <a:pt x="49252" y="158"/>
                      <a:pt x="52062" y="3226"/>
                      <a:pt x="51882" y="6861"/>
                    </a:cubicBezTo>
                    <a:lnTo>
                      <a:pt x="50180" y="43935"/>
                    </a:lnTo>
                    <a:cubicBezTo>
                      <a:pt x="50000" y="47416"/>
                      <a:pt x="47112" y="50149"/>
                      <a:pt x="43631" y="50149"/>
                    </a:cubicBezTo>
                    <a:close/>
                  </a:path>
                </a:pathLst>
              </a:custGeom>
              <a:grpFill/>
              <a:ln w="2573" cap="flat">
                <a:noFill/>
                <a:prstDash val="solid"/>
                <a:miter/>
              </a:ln>
            </p:spPr>
            <p:txBody>
              <a:bodyPr rtlCol="0" anchor="ctr"/>
              <a:lstStyle/>
              <a:p>
                <a:endParaRPr lang="en-GB" dirty="0"/>
              </a:p>
            </p:txBody>
          </p:sp>
          <p:sp>
            <p:nvSpPr>
              <p:cNvPr id="438" name="Freihandform: Form 926">
                <a:extLst>
                  <a:ext uri="{FF2B5EF4-FFF2-40B4-BE49-F238E27FC236}">
                    <a16:creationId xmlns:a16="http://schemas.microsoft.com/office/drawing/2014/main" id="{03B915A3-EF7B-434A-93DF-4A17EFCD211C}"/>
                  </a:ext>
                </a:extLst>
              </p:cNvPr>
              <p:cNvSpPr/>
              <p:nvPr/>
            </p:nvSpPr>
            <p:spPr>
              <a:xfrm>
                <a:off x="7191915" y="2882516"/>
                <a:ext cx="39737" cy="65593"/>
              </a:xfrm>
              <a:custGeom>
                <a:avLst/>
                <a:gdLst>
                  <a:gd name="connsiteX0" fmla="*/ 33159 w 39737"/>
                  <a:gd name="connsiteY0" fmla="*/ 65593 h 65593"/>
                  <a:gd name="connsiteX1" fmla="*/ 28596 w 39737"/>
                  <a:gd name="connsiteY1" fmla="*/ 63737 h 65593"/>
                  <a:gd name="connsiteX2" fmla="*/ 1989 w 39737"/>
                  <a:gd name="connsiteY2" fmla="*/ 37852 h 65593"/>
                  <a:gd name="connsiteX3" fmla="*/ 1860 w 39737"/>
                  <a:gd name="connsiteY3" fmla="*/ 28596 h 65593"/>
                  <a:gd name="connsiteX4" fmla="*/ 27745 w 39737"/>
                  <a:gd name="connsiteY4" fmla="*/ 1989 h 65593"/>
                  <a:gd name="connsiteX5" fmla="*/ 37001 w 39737"/>
                  <a:gd name="connsiteY5" fmla="*/ 1860 h 65593"/>
                  <a:gd name="connsiteX6" fmla="*/ 37130 w 39737"/>
                  <a:gd name="connsiteY6" fmla="*/ 11116 h 65593"/>
                  <a:gd name="connsiteX7" fmla="*/ 15834 w 39737"/>
                  <a:gd name="connsiteY7" fmla="*/ 33031 h 65593"/>
                  <a:gd name="connsiteX8" fmla="*/ 37749 w 39737"/>
                  <a:gd name="connsiteY8" fmla="*/ 54352 h 65593"/>
                  <a:gd name="connsiteX9" fmla="*/ 37878 w 39737"/>
                  <a:gd name="connsiteY9" fmla="*/ 63608 h 65593"/>
                  <a:gd name="connsiteX10" fmla="*/ 33159 w 39737"/>
                  <a:gd name="connsiteY10" fmla="*/ 65593 h 6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737" h="65593">
                    <a:moveTo>
                      <a:pt x="33159" y="65593"/>
                    </a:moveTo>
                    <a:cubicBezTo>
                      <a:pt x="31509" y="65593"/>
                      <a:pt x="29859" y="64974"/>
                      <a:pt x="28596" y="63737"/>
                    </a:cubicBezTo>
                    <a:lnTo>
                      <a:pt x="1989" y="37852"/>
                    </a:lnTo>
                    <a:cubicBezTo>
                      <a:pt x="-615" y="35325"/>
                      <a:pt x="-667" y="31174"/>
                      <a:pt x="1860" y="28596"/>
                    </a:cubicBezTo>
                    <a:lnTo>
                      <a:pt x="27745" y="1989"/>
                    </a:lnTo>
                    <a:cubicBezTo>
                      <a:pt x="30272" y="-615"/>
                      <a:pt x="34423" y="-667"/>
                      <a:pt x="37001" y="1860"/>
                    </a:cubicBezTo>
                    <a:cubicBezTo>
                      <a:pt x="39605" y="4387"/>
                      <a:pt x="39657" y="8538"/>
                      <a:pt x="37130" y="11116"/>
                    </a:cubicBezTo>
                    <a:lnTo>
                      <a:pt x="15834" y="33031"/>
                    </a:lnTo>
                    <a:lnTo>
                      <a:pt x="37749" y="54352"/>
                    </a:lnTo>
                    <a:cubicBezTo>
                      <a:pt x="40353" y="56879"/>
                      <a:pt x="40404" y="61030"/>
                      <a:pt x="37878" y="63608"/>
                    </a:cubicBezTo>
                    <a:cubicBezTo>
                      <a:pt x="36563" y="64923"/>
                      <a:pt x="34861" y="65593"/>
                      <a:pt x="33159" y="65593"/>
                    </a:cubicBezTo>
                    <a:close/>
                  </a:path>
                </a:pathLst>
              </a:custGeom>
              <a:grpFill/>
              <a:ln w="2573" cap="flat">
                <a:noFill/>
                <a:prstDash val="solid"/>
                <a:miter/>
              </a:ln>
            </p:spPr>
            <p:txBody>
              <a:bodyPr rtlCol="0" anchor="ctr"/>
              <a:lstStyle/>
              <a:p>
                <a:endParaRPr lang="en-GB" dirty="0"/>
              </a:p>
            </p:txBody>
          </p:sp>
        </p:grpSp>
        <p:grpSp>
          <p:nvGrpSpPr>
            <p:cNvPr id="424" name="Grafik 235">
              <a:extLst>
                <a:ext uri="{FF2B5EF4-FFF2-40B4-BE49-F238E27FC236}">
                  <a16:creationId xmlns:a16="http://schemas.microsoft.com/office/drawing/2014/main" id="{A19C9136-B53C-4296-BAC6-B107CC125655}"/>
                </a:ext>
              </a:extLst>
            </p:cNvPr>
            <p:cNvGrpSpPr/>
            <p:nvPr/>
          </p:nvGrpSpPr>
          <p:grpSpPr>
            <a:xfrm>
              <a:off x="8168846" y="1626131"/>
              <a:ext cx="272882" cy="333939"/>
              <a:chOff x="7032823" y="2481816"/>
              <a:chExt cx="324721" cy="397377"/>
            </a:xfrm>
            <a:solidFill>
              <a:schemeClr val="accent1"/>
            </a:solidFill>
          </p:grpSpPr>
          <p:sp>
            <p:nvSpPr>
              <p:cNvPr id="425" name="Freihandform: Form 928">
                <a:extLst>
                  <a:ext uri="{FF2B5EF4-FFF2-40B4-BE49-F238E27FC236}">
                    <a16:creationId xmlns:a16="http://schemas.microsoft.com/office/drawing/2014/main" id="{16D0C3C8-09D7-47DC-8AF2-2989E838C4E3}"/>
                  </a:ext>
                </a:extLst>
              </p:cNvPr>
              <p:cNvSpPr/>
              <p:nvPr/>
            </p:nvSpPr>
            <p:spPr>
              <a:xfrm>
                <a:off x="7153214" y="2714460"/>
                <a:ext cx="80397" cy="164734"/>
              </a:xfrm>
              <a:custGeom>
                <a:avLst/>
                <a:gdLst>
                  <a:gd name="connsiteX0" fmla="*/ 41773 w 80397"/>
                  <a:gd name="connsiteY0" fmla="*/ 164734 h 164734"/>
                  <a:gd name="connsiteX1" fmla="*/ 6 w 80397"/>
                  <a:gd name="connsiteY1" fmla="*/ 6819 h 164734"/>
                  <a:gd name="connsiteX2" fmla="*/ 6297 w 80397"/>
                  <a:gd name="connsiteY2" fmla="*/ 13 h 164734"/>
                  <a:gd name="connsiteX3" fmla="*/ 13103 w 80397"/>
                  <a:gd name="connsiteY3" fmla="*/ 6304 h 164734"/>
                  <a:gd name="connsiteX4" fmla="*/ 41773 w 80397"/>
                  <a:gd name="connsiteY4" fmla="*/ 151637 h 164734"/>
                  <a:gd name="connsiteX5" fmla="*/ 67323 w 80397"/>
                  <a:gd name="connsiteY5" fmla="*/ 52995 h 164734"/>
                  <a:gd name="connsiteX6" fmla="*/ 74464 w 80397"/>
                  <a:gd name="connsiteY6" fmla="*/ 47091 h 164734"/>
                  <a:gd name="connsiteX7" fmla="*/ 80368 w 80397"/>
                  <a:gd name="connsiteY7" fmla="*/ 54233 h 164734"/>
                  <a:gd name="connsiteX8" fmla="*/ 41773 w 80397"/>
                  <a:gd name="connsiteY8" fmla="*/ 164734 h 16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397" h="164734">
                    <a:moveTo>
                      <a:pt x="41773" y="164734"/>
                    </a:moveTo>
                    <a:cubicBezTo>
                      <a:pt x="8901" y="164734"/>
                      <a:pt x="1501" y="43868"/>
                      <a:pt x="6" y="6819"/>
                    </a:cubicBezTo>
                    <a:cubicBezTo>
                      <a:pt x="-149" y="3210"/>
                      <a:pt x="2687" y="142"/>
                      <a:pt x="6297" y="13"/>
                    </a:cubicBezTo>
                    <a:cubicBezTo>
                      <a:pt x="9803" y="-219"/>
                      <a:pt x="12949" y="2669"/>
                      <a:pt x="13103" y="6304"/>
                    </a:cubicBezTo>
                    <a:cubicBezTo>
                      <a:pt x="17280" y="109818"/>
                      <a:pt x="35069" y="151637"/>
                      <a:pt x="41773" y="151637"/>
                    </a:cubicBezTo>
                    <a:cubicBezTo>
                      <a:pt x="44970" y="151637"/>
                      <a:pt x="59511" y="134079"/>
                      <a:pt x="67323" y="52995"/>
                    </a:cubicBezTo>
                    <a:cubicBezTo>
                      <a:pt x="67658" y="49386"/>
                      <a:pt x="70906" y="46756"/>
                      <a:pt x="74464" y="47091"/>
                    </a:cubicBezTo>
                    <a:cubicBezTo>
                      <a:pt x="78074" y="47452"/>
                      <a:pt x="80704" y="50649"/>
                      <a:pt x="80368" y="54233"/>
                    </a:cubicBezTo>
                    <a:cubicBezTo>
                      <a:pt x="75521" y="104662"/>
                      <a:pt x="64899" y="164734"/>
                      <a:pt x="41773" y="164734"/>
                    </a:cubicBezTo>
                    <a:close/>
                  </a:path>
                </a:pathLst>
              </a:custGeom>
              <a:solidFill>
                <a:schemeClr val="accent1"/>
              </a:solidFill>
              <a:ln w="2573" cap="flat">
                <a:noFill/>
                <a:prstDash val="solid"/>
                <a:miter/>
              </a:ln>
            </p:spPr>
            <p:txBody>
              <a:bodyPr rtlCol="0" anchor="ctr"/>
              <a:lstStyle/>
              <a:p>
                <a:endParaRPr lang="en-GB" dirty="0"/>
              </a:p>
            </p:txBody>
          </p:sp>
          <p:sp>
            <p:nvSpPr>
              <p:cNvPr id="426" name="Freihandform: Form 929">
                <a:extLst>
                  <a:ext uri="{FF2B5EF4-FFF2-40B4-BE49-F238E27FC236}">
                    <a16:creationId xmlns:a16="http://schemas.microsoft.com/office/drawing/2014/main" id="{37EE7637-8CE0-46A9-8EB0-0ABB2234DCCB}"/>
                  </a:ext>
                </a:extLst>
              </p:cNvPr>
              <p:cNvSpPr/>
              <p:nvPr/>
            </p:nvSpPr>
            <p:spPr>
              <a:xfrm>
                <a:off x="7152395" y="2481816"/>
                <a:ext cx="85157" cy="271303"/>
              </a:xfrm>
              <a:custGeom>
                <a:avLst/>
                <a:gdLst>
                  <a:gd name="connsiteX0" fmla="*/ 76444 w 85157"/>
                  <a:gd name="connsiteY0" fmla="*/ 271304 h 271303"/>
                  <a:gd name="connsiteX1" fmla="*/ 75980 w 85157"/>
                  <a:gd name="connsiteY1" fmla="*/ 271278 h 271303"/>
                  <a:gd name="connsiteX2" fmla="*/ 69895 w 85157"/>
                  <a:gd name="connsiteY2" fmla="*/ 264291 h 271303"/>
                  <a:gd name="connsiteX3" fmla="*/ 72061 w 85157"/>
                  <a:gd name="connsiteY3" fmla="*/ 198702 h 271303"/>
                  <a:gd name="connsiteX4" fmla="*/ 42592 w 85157"/>
                  <a:gd name="connsiteY4" fmla="*/ 13123 h 271303"/>
                  <a:gd name="connsiteX5" fmla="*/ 13123 w 85157"/>
                  <a:gd name="connsiteY5" fmla="*/ 198702 h 271303"/>
                  <a:gd name="connsiteX6" fmla="*/ 13252 w 85157"/>
                  <a:gd name="connsiteY6" fmla="*/ 208550 h 271303"/>
                  <a:gd name="connsiteX7" fmla="*/ 13355 w 85157"/>
                  <a:gd name="connsiteY7" fmla="*/ 213861 h 271303"/>
                  <a:gd name="connsiteX8" fmla="*/ 6910 w 85157"/>
                  <a:gd name="connsiteY8" fmla="*/ 220539 h 271303"/>
                  <a:gd name="connsiteX9" fmla="*/ 232 w 85157"/>
                  <a:gd name="connsiteY9" fmla="*/ 214093 h 271303"/>
                  <a:gd name="connsiteX10" fmla="*/ 129 w 85157"/>
                  <a:gd name="connsiteY10" fmla="*/ 208860 h 271303"/>
                  <a:gd name="connsiteX11" fmla="*/ 0 w 85157"/>
                  <a:gd name="connsiteY11" fmla="*/ 198702 h 271303"/>
                  <a:gd name="connsiteX12" fmla="*/ 42592 w 85157"/>
                  <a:gd name="connsiteY12" fmla="*/ 0 h 271303"/>
                  <a:gd name="connsiteX13" fmla="*/ 85158 w 85157"/>
                  <a:gd name="connsiteY13" fmla="*/ 198702 h 271303"/>
                  <a:gd name="connsiteX14" fmla="*/ 82966 w 85157"/>
                  <a:gd name="connsiteY14" fmla="*/ 265193 h 271303"/>
                  <a:gd name="connsiteX15" fmla="*/ 76444 w 85157"/>
                  <a:gd name="connsiteY15" fmla="*/ 271304 h 2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157" h="271303">
                    <a:moveTo>
                      <a:pt x="76444" y="271304"/>
                    </a:moveTo>
                    <a:cubicBezTo>
                      <a:pt x="76289" y="271304"/>
                      <a:pt x="76134" y="271304"/>
                      <a:pt x="75980" y="271278"/>
                    </a:cubicBezTo>
                    <a:cubicBezTo>
                      <a:pt x="72370" y="271020"/>
                      <a:pt x="69637" y="267900"/>
                      <a:pt x="69895" y="264291"/>
                    </a:cubicBezTo>
                    <a:cubicBezTo>
                      <a:pt x="71339" y="243356"/>
                      <a:pt x="72061" y="221287"/>
                      <a:pt x="72061" y="198702"/>
                    </a:cubicBezTo>
                    <a:cubicBezTo>
                      <a:pt x="72061" y="78635"/>
                      <a:pt x="52595" y="13123"/>
                      <a:pt x="42592" y="13123"/>
                    </a:cubicBezTo>
                    <a:cubicBezTo>
                      <a:pt x="32588" y="13123"/>
                      <a:pt x="13123" y="78635"/>
                      <a:pt x="13123" y="198702"/>
                    </a:cubicBezTo>
                    <a:cubicBezTo>
                      <a:pt x="13123" y="202672"/>
                      <a:pt x="13175" y="205431"/>
                      <a:pt x="13252" y="208550"/>
                    </a:cubicBezTo>
                    <a:lnTo>
                      <a:pt x="13355" y="213861"/>
                    </a:lnTo>
                    <a:cubicBezTo>
                      <a:pt x="13407" y="217471"/>
                      <a:pt x="10545" y="220462"/>
                      <a:pt x="6910" y="220539"/>
                    </a:cubicBezTo>
                    <a:cubicBezTo>
                      <a:pt x="3377" y="220668"/>
                      <a:pt x="309" y="217729"/>
                      <a:pt x="232" y="214093"/>
                    </a:cubicBezTo>
                    <a:lnTo>
                      <a:pt x="129" y="208860"/>
                    </a:lnTo>
                    <a:cubicBezTo>
                      <a:pt x="52" y="205637"/>
                      <a:pt x="0" y="202801"/>
                      <a:pt x="0" y="198702"/>
                    </a:cubicBezTo>
                    <a:cubicBezTo>
                      <a:pt x="0" y="129967"/>
                      <a:pt x="8895" y="0"/>
                      <a:pt x="42592" y="0"/>
                    </a:cubicBezTo>
                    <a:cubicBezTo>
                      <a:pt x="76263" y="0"/>
                      <a:pt x="85158" y="129967"/>
                      <a:pt x="85158" y="198702"/>
                    </a:cubicBezTo>
                    <a:cubicBezTo>
                      <a:pt x="85158" y="221596"/>
                      <a:pt x="84410" y="243949"/>
                      <a:pt x="82966" y="265193"/>
                    </a:cubicBezTo>
                    <a:cubicBezTo>
                      <a:pt x="82734" y="268648"/>
                      <a:pt x="79873" y="271304"/>
                      <a:pt x="76444" y="271304"/>
                    </a:cubicBezTo>
                    <a:close/>
                  </a:path>
                </a:pathLst>
              </a:custGeom>
              <a:solidFill>
                <a:schemeClr val="accent1"/>
              </a:solidFill>
              <a:ln w="2573" cap="flat">
                <a:noFill/>
                <a:prstDash val="solid"/>
                <a:miter/>
              </a:ln>
            </p:spPr>
            <p:txBody>
              <a:bodyPr rtlCol="0" anchor="ctr"/>
              <a:lstStyle/>
              <a:p>
                <a:endParaRPr lang="en-GB" dirty="0"/>
              </a:p>
            </p:txBody>
          </p:sp>
          <p:sp>
            <p:nvSpPr>
              <p:cNvPr id="427" name="Freihandform: Form 930">
                <a:extLst>
                  <a:ext uri="{FF2B5EF4-FFF2-40B4-BE49-F238E27FC236}">
                    <a16:creationId xmlns:a16="http://schemas.microsoft.com/office/drawing/2014/main" id="{0EB7471D-F092-4398-9617-260B802C5776}"/>
                  </a:ext>
                </a:extLst>
              </p:cNvPr>
              <p:cNvSpPr/>
              <p:nvPr/>
            </p:nvSpPr>
            <p:spPr>
              <a:xfrm>
                <a:off x="7225970" y="2554814"/>
                <a:ext cx="129455" cy="147773"/>
              </a:xfrm>
              <a:custGeom>
                <a:avLst/>
                <a:gdLst>
                  <a:gd name="connsiteX0" fmla="*/ 6555 w 129455"/>
                  <a:gd name="connsiteY0" fmla="*/ 147773 h 147773"/>
                  <a:gd name="connsiteX1" fmla="*/ 1399 w 129455"/>
                  <a:gd name="connsiteY1" fmla="*/ 145272 h 147773"/>
                  <a:gd name="connsiteX2" fmla="*/ 2507 w 129455"/>
                  <a:gd name="connsiteY2" fmla="*/ 136068 h 147773"/>
                  <a:gd name="connsiteX3" fmla="*/ 116206 w 129455"/>
                  <a:gd name="connsiteY3" fmla="*/ 13836 h 147773"/>
                  <a:gd name="connsiteX4" fmla="*/ 28083 w 129455"/>
                  <a:gd name="connsiteY4" fmla="*/ 49260 h 147773"/>
                  <a:gd name="connsiteX5" fmla="*/ 19085 w 129455"/>
                  <a:gd name="connsiteY5" fmla="*/ 47017 h 147773"/>
                  <a:gd name="connsiteX6" fmla="*/ 21328 w 129455"/>
                  <a:gd name="connsiteY6" fmla="*/ 38019 h 147773"/>
                  <a:gd name="connsiteX7" fmla="*/ 126673 w 129455"/>
                  <a:gd name="connsiteY7" fmla="*/ 5921 h 147773"/>
                  <a:gd name="connsiteX8" fmla="*/ 10603 w 129455"/>
                  <a:gd name="connsiteY8" fmla="*/ 146355 h 147773"/>
                  <a:gd name="connsiteX9" fmla="*/ 6555 w 129455"/>
                  <a:gd name="connsiteY9" fmla="*/ 147773 h 147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455" h="147773">
                    <a:moveTo>
                      <a:pt x="6555" y="147773"/>
                    </a:moveTo>
                    <a:cubicBezTo>
                      <a:pt x="4622" y="147773"/>
                      <a:pt x="2688" y="146923"/>
                      <a:pt x="1399" y="145272"/>
                    </a:cubicBezTo>
                    <a:cubicBezTo>
                      <a:pt x="-844" y="142436"/>
                      <a:pt x="-329" y="138311"/>
                      <a:pt x="2507" y="136068"/>
                    </a:cubicBezTo>
                    <a:cubicBezTo>
                      <a:pt x="94704" y="63853"/>
                      <a:pt x="120847" y="19972"/>
                      <a:pt x="116206" y="13836"/>
                    </a:cubicBezTo>
                    <a:cubicBezTo>
                      <a:pt x="114401" y="11464"/>
                      <a:pt x="93054" y="10227"/>
                      <a:pt x="28083" y="49260"/>
                    </a:cubicBezTo>
                    <a:cubicBezTo>
                      <a:pt x="24964" y="51142"/>
                      <a:pt x="20942" y="50111"/>
                      <a:pt x="19085" y="47017"/>
                    </a:cubicBezTo>
                    <a:cubicBezTo>
                      <a:pt x="17229" y="43924"/>
                      <a:pt x="18234" y="39876"/>
                      <a:pt x="21328" y="38019"/>
                    </a:cubicBezTo>
                    <a:cubicBezTo>
                      <a:pt x="61986" y="13578"/>
                      <a:pt x="113267" y="-11791"/>
                      <a:pt x="126673" y="5921"/>
                    </a:cubicBezTo>
                    <a:cubicBezTo>
                      <a:pt x="149490" y="36137"/>
                      <a:pt x="24886" y="135166"/>
                      <a:pt x="10603" y="146355"/>
                    </a:cubicBezTo>
                    <a:cubicBezTo>
                      <a:pt x="9391" y="147309"/>
                      <a:pt x="7973" y="147773"/>
                      <a:pt x="6555" y="147773"/>
                    </a:cubicBezTo>
                    <a:close/>
                  </a:path>
                </a:pathLst>
              </a:custGeom>
              <a:solidFill>
                <a:schemeClr val="accent1"/>
              </a:solidFill>
              <a:ln w="2573" cap="flat">
                <a:noFill/>
                <a:prstDash val="solid"/>
                <a:miter/>
              </a:ln>
            </p:spPr>
            <p:txBody>
              <a:bodyPr rtlCol="0" anchor="ctr"/>
              <a:lstStyle/>
              <a:p>
                <a:endParaRPr lang="en-GB" dirty="0"/>
              </a:p>
            </p:txBody>
          </p:sp>
          <p:sp>
            <p:nvSpPr>
              <p:cNvPr id="428" name="Freihandform: Form 931">
                <a:extLst>
                  <a:ext uri="{FF2B5EF4-FFF2-40B4-BE49-F238E27FC236}">
                    <a16:creationId xmlns:a16="http://schemas.microsoft.com/office/drawing/2014/main" id="{7FE744B9-DC2C-4695-A225-EA15DA11463D}"/>
                  </a:ext>
                </a:extLst>
              </p:cNvPr>
              <p:cNvSpPr/>
              <p:nvPr/>
            </p:nvSpPr>
            <p:spPr>
              <a:xfrm>
                <a:off x="7155442" y="2706978"/>
                <a:ext cx="60902" cy="47147"/>
              </a:xfrm>
              <a:custGeom>
                <a:avLst/>
                <a:gdLst>
                  <a:gd name="connsiteX0" fmla="*/ 6544 w 60902"/>
                  <a:gd name="connsiteY0" fmla="*/ 47147 h 47147"/>
                  <a:gd name="connsiteX1" fmla="*/ 1053 w 60902"/>
                  <a:gd name="connsiteY1" fmla="*/ 44157 h 47147"/>
                  <a:gd name="connsiteX2" fmla="*/ 2986 w 60902"/>
                  <a:gd name="connsiteY2" fmla="*/ 35081 h 47147"/>
                  <a:gd name="connsiteX3" fmla="*/ 50399 w 60902"/>
                  <a:gd name="connsiteY3" fmla="*/ 1333 h 47147"/>
                  <a:gd name="connsiteX4" fmla="*/ 59578 w 60902"/>
                  <a:gd name="connsiteY4" fmla="*/ 2622 h 47147"/>
                  <a:gd name="connsiteX5" fmla="*/ 58289 w 60902"/>
                  <a:gd name="connsiteY5" fmla="*/ 11800 h 47147"/>
                  <a:gd name="connsiteX6" fmla="*/ 10128 w 60902"/>
                  <a:gd name="connsiteY6" fmla="*/ 46090 h 47147"/>
                  <a:gd name="connsiteX7" fmla="*/ 6544 w 60902"/>
                  <a:gd name="connsiteY7" fmla="*/ 47147 h 4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02" h="47147">
                    <a:moveTo>
                      <a:pt x="6544" y="47147"/>
                    </a:moveTo>
                    <a:cubicBezTo>
                      <a:pt x="4404" y="47147"/>
                      <a:pt x="2290" y="46090"/>
                      <a:pt x="1053" y="44157"/>
                    </a:cubicBezTo>
                    <a:cubicBezTo>
                      <a:pt x="-907" y="41114"/>
                      <a:pt x="-56" y="37067"/>
                      <a:pt x="2986" y="35081"/>
                    </a:cubicBezTo>
                    <a:cubicBezTo>
                      <a:pt x="20518" y="23686"/>
                      <a:pt x="31398" y="15668"/>
                      <a:pt x="50399" y="1333"/>
                    </a:cubicBezTo>
                    <a:cubicBezTo>
                      <a:pt x="53287" y="-859"/>
                      <a:pt x="57386" y="-292"/>
                      <a:pt x="59578" y="2622"/>
                    </a:cubicBezTo>
                    <a:cubicBezTo>
                      <a:pt x="61769" y="5509"/>
                      <a:pt x="61176" y="9609"/>
                      <a:pt x="58289" y="11800"/>
                    </a:cubicBezTo>
                    <a:cubicBezTo>
                      <a:pt x="39055" y="26341"/>
                      <a:pt x="28020" y="34463"/>
                      <a:pt x="10128" y="46090"/>
                    </a:cubicBezTo>
                    <a:cubicBezTo>
                      <a:pt x="8993" y="46786"/>
                      <a:pt x="7756" y="47147"/>
                      <a:pt x="6544" y="47147"/>
                    </a:cubicBezTo>
                    <a:close/>
                  </a:path>
                </a:pathLst>
              </a:custGeom>
              <a:solidFill>
                <a:schemeClr val="accent1"/>
              </a:solidFill>
              <a:ln w="2573" cap="flat">
                <a:noFill/>
                <a:prstDash val="solid"/>
                <a:miter/>
              </a:ln>
            </p:spPr>
            <p:txBody>
              <a:bodyPr rtlCol="0" anchor="ctr"/>
              <a:lstStyle/>
              <a:p>
                <a:endParaRPr lang="en-GB" dirty="0"/>
              </a:p>
            </p:txBody>
          </p:sp>
          <p:sp>
            <p:nvSpPr>
              <p:cNvPr id="429" name="Freihandform: Form 932">
                <a:extLst>
                  <a:ext uri="{FF2B5EF4-FFF2-40B4-BE49-F238E27FC236}">
                    <a16:creationId xmlns:a16="http://schemas.microsoft.com/office/drawing/2014/main" id="{1443CF9C-5579-4FFD-9E71-D2456AD8E9E4}"/>
                  </a:ext>
                </a:extLst>
              </p:cNvPr>
              <p:cNvSpPr/>
              <p:nvPr/>
            </p:nvSpPr>
            <p:spPr>
              <a:xfrm>
                <a:off x="7032823" y="2674231"/>
                <a:ext cx="113534" cy="131947"/>
              </a:xfrm>
              <a:custGeom>
                <a:avLst/>
                <a:gdLst>
                  <a:gd name="connsiteX0" fmla="*/ 17707 w 113534"/>
                  <a:gd name="connsiteY0" fmla="*/ 131948 h 131947"/>
                  <a:gd name="connsiteX1" fmla="*/ 2728 w 113534"/>
                  <a:gd name="connsiteY1" fmla="*/ 125992 h 131947"/>
                  <a:gd name="connsiteX2" fmla="*/ 98689 w 113534"/>
                  <a:gd name="connsiteY2" fmla="*/ 1517 h 131947"/>
                  <a:gd name="connsiteX3" fmla="*/ 107919 w 113534"/>
                  <a:gd name="connsiteY3" fmla="*/ 2368 h 131947"/>
                  <a:gd name="connsiteX4" fmla="*/ 107068 w 113534"/>
                  <a:gd name="connsiteY4" fmla="*/ 11598 h 131947"/>
                  <a:gd name="connsiteX5" fmla="*/ 13170 w 113534"/>
                  <a:gd name="connsiteY5" fmla="*/ 118103 h 131947"/>
                  <a:gd name="connsiteX6" fmla="*/ 103587 w 113534"/>
                  <a:gd name="connsiteY6" fmla="*/ 81312 h 131947"/>
                  <a:gd name="connsiteX7" fmla="*/ 112585 w 113534"/>
                  <a:gd name="connsiteY7" fmla="*/ 83529 h 131947"/>
                  <a:gd name="connsiteX8" fmla="*/ 110368 w 113534"/>
                  <a:gd name="connsiteY8" fmla="*/ 92527 h 131947"/>
                  <a:gd name="connsiteX9" fmla="*/ 17707 w 113534"/>
                  <a:gd name="connsiteY9" fmla="*/ 131948 h 131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3534" h="131947">
                    <a:moveTo>
                      <a:pt x="17707" y="131948"/>
                    </a:moveTo>
                    <a:cubicBezTo>
                      <a:pt x="11056" y="131948"/>
                      <a:pt x="5848" y="130143"/>
                      <a:pt x="2728" y="125992"/>
                    </a:cubicBezTo>
                    <a:cubicBezTo>
                      <a:pt x="-16505" y="100520"/>
                      <a:pt x="71308" y="24282"/>
                      <a:pt x="98689" y="1517"/>
                    </a:cubicBezTo>
                    <a:cubicBezTo>
                      <a:pt x="101473" y="-803"/>
                      <a:pt x="105624" y="-417"/>
                      <a:pt x="107919" y="2368"/>
                    </a:cubicBezTo>
                    <a:cubicBezTo>
                      <a:pt x="110239" y="5152"/>
                      <a:pt x="109852" y="9277"/>
                      <a:pt x="107068" y="11598"/>
                    </a:cubicBezTo>
                    <a:cubicBezTo>
                      <a:pt x="26345" y="78708"/>
                      <a:pt x="9792" y="113617"/>
                      <a:pt x="13170" y="118103"/>
                    </a:cubicBezTo>
                    <a:cubicBezTo>
                      <a:pt x="15026" y="120527"/>
                      <a:pt x="36941" y="121687"/>
                      <a:pt x="103587" y="81312"/>
                    </a:cubicBezTo>
                    <a:cubicBezTo>
                      <a:pt x="106681" y="79430"/>
                      <a:pt x="110703" y="80436"/>
                      <a:pt x="112585" y="83529"/>
                    </a:cubicBezTo>
                    <a:cubicBezTo>
                      <a:pt x="114467" y="86623"/>
                      <a:pt x="113462" y="90645"/>
                      <a:pt x="110368" y="92527"/>
                    </a:cubicBezTo>
                    <a:cubicBezTo>
                      <a:pt x="78373" y="111915"/>
                      <a:pt x="39932" y="131948"/>
                      <a:pt x="17707" y="131948"/>
                    </a:cubicBezTo>
                    <a:close/>
                  </a:path>
                </a:pathLst>
              </a:custGeom>
              <a:solidFill>
                <a:schemeClr val="accent1"/>
              </a:solidFill>
              <a:ln w="2573" cap="flat">
                <a:noFill/>
                <a:prstDash val="solid"/>
                <a:miter/>
              </a:ln>
            </p:spPr>
            <p:txBody>
              <a:bodyPr rtlCol="0" anchor="ctr"/>
              <a:lstStyle/>
              <a:p>
                <a:endParaRPr lang="en-GB" dirty="0"/>
              </a:p>
            </p:txBody>
          </p:sp>
          <p:sp>
            <p:nvSpPr>
              <p:cNvPr id="430" name="Freihandform: Form 933">
                <a:extLst>
                  <a:ext uri="{FF2B5EF4-FFF2-40B4-BE49-F238E27FC236}">
                    <a16:creationId xmlns:a16="http://schemas.microsoft.com/office/drawing/2014/main" id="{576ACC96-909D-4CA8-A99D-03D6915E733B}"/>
                  </a:ext>
                </a:extLst>
              </p:cNvPr>
              <p:cNvSpPr/>
              <p:nvPr/>
            </p:nvSpPr>
            <p:spPr>
              <a:xfrm>
                <a:off x="7153407" y="2606104"/>
                <a:ext cx="81125" cy="61703"/>
              </a:xfrm>
              <a:custGeom>
                <a:avLst/>
                <a:gdLst>
                  <a:gd name="connsiteX0" fmla="*/ 6568 w 81125"/>
                  <a:gd name="connsiteY0" fmla="*/ 61703 h 61703"/>
                  <a:gd name="connsiteX1" fmla="*/ 1386 w 81125"/>
                  <a:gd name="connsiteY1" fmla="*/ 59176 h 61703"/>
                  <a:gd name="connsiteX2" fmla="*/ 2520 w 81125"/>
                  <a:gd name="connsiteY2" fmla="*/ 49972 h 61703"/>
                  <a:gd name="connsiteX3" fmla="*/ 15025 w 81125"/>
                  <a:gd name="connsiteY3" fmla="*/ 40407 h 61703"/>
                  <a:gd name="connsiteX4" fmla="*/ 70997 w 81125"/>
                  <a:gd name="connsiteY4" fmla="*/ 1064 h 61703"/>
                  <a:gd name="connsiteX5" fmla="*/ 80073 w 81125"/>
                  <a:gd name="connsiteY5" fmla="*/ 2998 h 61703"/>
                  <a:gd name="connsiteX6" fmla="*/ 78139 w 81125"/>
                  <a:gd name="connsiteY6" fmla="*/ 12073 h 61703"/>
                  <a:gd name="connsiteX7" fmla="*/ 22914 w 81125"/>
                  <a:gd name="connsiteY7" fmla="*/ 50900 h 61703"/>
                  <a:gd name="connsiteX8" fmla="*/ 10590 w 81125"/>
                  <a:gd name="connsiteY8" fmla="*/ 60337 h 61703"/>
                  <a:gd name="connsiteX9" fmla="*/ 6568 w 81125"/>
                  <a:gd name="connsiteY9" fmla="*/ 61703 h 6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125" h="61703">
                    <a:moveTo>
                      <a:pt x="6568" y="61703"/>
                    </a:moveTo>
                    <a:cubicBezTo>
                      <a:pt x="4609" y="61703"/>
                      <a:pt x="2701" y="60827"/>
                      <a:pt x="1386" y="59176"/>
                    </a:cubicBezTo>
                    <a:cubicBezTo>
                      <a:pt x="-831" y="56315"/>
                      <a:pt x="-341" y="52215"/>
                      <a:pt x="2520" y="49972"/>
                    </a:cubicBezTo>
                    <a:cubicBezTo>
                      <a:pt x="7084" y="46414"/>
                      <a:pt x="10307" y="43965"/>
                      <a:pt x="15025" y="40407"/>
                    </a:cubicBezTo>
                    <a:cubicBezTo>
                      <a:pt x="33871" y="26176"/>
                      <a:pt x="52692" y="12949"/>
                      <a:pt x="70997" y="1064"/>
                    </a:cubicBezTo>
                    <a:cubicBezTo>
                      <a:pt x="74014" y="-921"/>
                      <a:pt x="78113" y="-45"/>
                      <a:pt x="80073" y="2998"/>
                    </a:cubicBezTo>
                    <a:cubicBezTo>
                      <a:pt x="82032" y="6040"/>
                      <a:pt x="81181" y="10088"/>
                      <a:pt x="78139" y="12073"/>
                    </a:cubicBezTo>
                    <a:cubicBezTo>
                      <a:pt x="60092" y="23804"/>
                      <a:pt x="41503" y="36875"/>
                      <a:pt x="22914" y="50900"/>
                    </a:cubicBezTo>
                    <a:cubicBezTo>
                      <a:pt x="18273" y="54407"/>
                      <a:pt x="15076" y="56830"/>
                      <a:pt x="10590" y="60337"/>
                    </a:cubicBezTo>
                    <a:cubicBezTo>
                      <a:pt x="9404" y="61239"/>
                      <a:pt x="7986" y="61703"/>
                      <a:pt x="6568" y="61703"/>
                    </a:cubicBezTo>
                    <a:close/>
                  </a:path>
                </a:pathLst>
              </a:custGeom>
              <a:solidFill>
                <a:schemeClr val="accent1"/>
              </a:solidFill>
              <a:ln w="2573" cap="flat">
                <a:noFill/>
                <a:prstDash val="solid"/>
                <a:miter/>
              </a:ln>
            </p:spPr>
            <p:txBody>
              <a:bodyPr rtlCol="0" anchor="ctr"/>
              <a:lstStyle/>
              <a:p>
                <a:endParaRPr lang="en-GB" dirty="0"/>
              </a:p>
            </p:txBody>
          </p:sp>
          <p:sp>
            <p:nvSpPr>
              <p:cNvPr id="431" name="Freihandform: Form 934">
                <a:extLst>
                  <a:ext uri="{FF2B5EF4-FFF2-40B4-BE49-F238E27FC236}">
                    <a16:creationId xmlns:a16="http://schemas.microsoft.com/office/drawing/2014/main" id="{DAD01FF0-B868-478E-BCDD-82A8330E2613}"/>
                  </a:ext>
                </a:extLst>
              </p:cNvPr>
              <p:cNvSpPr/>
              <p:nvPr/>
            </p:nvSpPr>
            <p:spPr>
              <a:xfrm>
                <a:off x="7034855" y="2554824"/>
                <a:ext cx="322689" cy="251329"/>
              </a:xfrm>
              <a:custGeom>
                <a:avLst/>
                <a:gdLst>
                  <a:gd name="connsiteX0" fmla="*/ 305026 w 322689"/>
                  <a:gd name="connsiteY0" fmla="*/ 251329 h 251329"/>
                  <a:gd name="connsiteX1" fmla="*/ 135716 w 322689"/>
                  <a:gd name="connsiteY1" fmla="*/ 159648 h 251329"/>
                  <a:gd name="connsiteX2" fmla="*/ 32769 w 322689"/>
                  <a:gd name="connsiteY2" fmla="*/ 68535 h 251329"/>
                  <a:gd name="connsiteX3" fmla="*/ 2836 w 322689"/>
                  <a:gd name="connsiteY3" fmla="*/ 5936 h 251329"/>
                  <a:gd name="connsiteX4" fmla="*/ 108800 w 322689"/>
                  <a:gd name="connsiteY4" fmla="*/ 38396 h 251329"/>
                  <a:gd name="connsiteX5" fmla="*/ 111043 w 322689"/>
                  <a:gd name="connsiteY5" fmla="*/ 47394 h 251329"/>
                  <a:gd name="connsiteX6" fmla="*/ 102045 w 322689"/>
                  <a:gd name="connsiteY6" fmla="*/ 49637 h 251329"/>
                  <a:gd name="connsiteX7" fmla="*/ 13303 w 322689"/>
                  <a:gd name="connsiteY7" fmla="*/ 13851 h 251329"/>
                  <a:gd name="connsiteX8" fmla="*/ 42489 w 322689"/>
                  <a:gd name="connsiteY8" fmla="*/ 59743 h 251329"/>
                  <a:gd name="connsiteX9" fmla="*/ 143631 w 322689"/>
                  <a:gd name="connsiteY9" fmla="*/ 149232 h 251329"/>
                  <a:gd name="connsiteX10" fmla="*/ 309487 w 322689"/>
                  <a:gd name="connsiteY10" fmla="*/ 237561 h 251329"/>
                  <a:gd name="connsiteX11" fmla="*/ 214145 w 322689"/>
                  <a:gd name="connsiteY11" fmla="*/ 129844 h 251329"/>
                  <a:gd name="connsiteX12" fmla="*/ 213268 w 322689"/>
                  <a:gd name="connsiteY12" fmla="*/ 120614 h 251329"/>
                  <a:gd name="connsiteX13" fmla="*/ 222498 w 322689"/>
                  <a:gd name="connsiteY13" fmla="*/ 119738 h 251329"/>
                  <a:gd name="connsiteX14" fmla="*/ 319954 w 322689"/>
                  <a:gd name="connsiteY14" fmla="*/ 245451 h 251329"/>
                  <a:gd name="connsiteX15" fmla="*/ 305026 w 322689"/>
                  <a:gd name="connsiteY15" fmla="*/ 251329 h 25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2689" h="251329">
                    <a:moveTo>
                      <a:pt x="305026" y="251329"/>
                    </a:moveTo>
                    <a:cubicBezTo>
                      <a:pt x="267720" y="251329"/>
                      <a:pt x="182227" y="194763"/>
                      <a:pt x="135716" y="159648"/>
                    </a:cubicBezTo>
                    <a:cubicBezTo>
                      <a:pt x="94439" y="128478"/>
                      <a:pt x="57880" y="96122"/>
                      <a:pt x="32769" y="68535"/>
                    </a:cubicBezTo>
                    <a:cubicBezTo>
                      <a:pt x="4357" y="37339"/>
                      <a:pt x="-5440" y="16868"/>
                      <a:pt x="2836" y="5936"/>
                    </a:cubicBezTo>
                    <a:cubicBezTo>
                      <a:pt x="16294" y="-11879"/>
                      <a:pt x="67884" y="13774"/>
                      <a:pt x="108800" y="38396"/>
                    </a:cubicBezTo>
                    <a:cubicBezTo>
                      <a:pt x="111894" y="40252"/>
                      <a:pt x="112899" y="44300"/>
                      <a:pt x="111043" y="47394"/>
                    </a:cubicBezTo>
                    <a:cubicBezTo>
                      <a:pt x="109186" y="50487"/>
                      <a:pt x="105139" y="51493"/>
                      <a:pt x="102045" y="49637"/>
                    </a:cubicBezTo>
                    <a:cubicBezTo>
                      <a:pt x="36610" y="10242"/>
                      <a:pt x="15108" y="11402"/>
                      <a:pt x="13303" y="13851"/>
                    </a:cubicBezTo>
                    <a:cubicBezTo>
                      <a:pt x="12092" y="15450"/>
                      <a:pt x="13510" y="27928"/>
                      <a:pt x="42489" y="59743"/>
                    </a:cubicBezTo>
                    <a:cubicBezTo>
                      <a:pt x="67084" y="86763"/>
                      <a:pt x="102999" y="118526"/>
                      <a:pt x="143631" y="149232"/>
                    </a:cubicBezTo>
                    <a:cubicBezTo>
                      <a:pt x="239488" y="221628"/>
                      <a:pt x="303479" y="245528"/>
                      <a:pt x="309487" y="237561"/>
                    </a:cubicBezTo>
                    <a:cubicBezTo>
                      <a:pt x="312916" y="233024"/>
                      <a:pt x="296080" y="197703"/>
                      <a:pt x="214145" y="129844"/>
                    </a:cubicBezTo>
                    <a:cubicBezTo>
                      <a:pt x="211360" y="127524"/>
                      <a:pt x="210974" y="123399"/>
                      <a:pt x="213268" y="120614"/>
                    </a:cubicBezTo>
                    <a:cubicBezTo>
                      <a:pt x="215589" y="117830"/>
                      <a:pt x="219714" y="117443"/>
                      <a:pt x="222498" y="119738"/>
                    </a:cubicBezTo>
                    <a:cubicBezTo>
                      <a:pt x="250265" y="142735"/>
                      <a:pt x="339342" y="219746"/>
                      <a:pt x="319954" y="245451"/>
                    </a:cubicBezTo>
                    <a:cubicBezTo>
                      <a:pt x="316860" y="249499"/>
                      <a:pt x="311704" y="251329"/>
                      <a:pt x="305026" y="251329"/>
                    </a:cubicBezTo>
                    <a:close/>
                  </a:path>
                </a:pathLst>
              </a:custGeom>
              <a:solidFill>
                <a:schemeClr val="accent1"/>
              </a:solidFill>
              <a:ln w="2573" cap="flat">
                <a:noFill/>
                <a:prstDash val="solid"/>
                <a:miter/>
              </a:ln>
            </p:spPr>
            <p:txBody>
              <a:bodyPr rtlCol="0" anchor="ctr"/>
              <a:lstStyle/>
              <a:p>
                <a:endParaRPr lang="en-GB" dirty="0"/>
              </a:p>
            </p:txBody>
          </p:sp>
          <p:sp>
            <p:nvSpPr>
              <p:cNvPr id="432" name="Freihandform: Form 935">
                <a:extLst>
                  <a:ext uri="{FF2B5EF4-FFF2-40B4-BE49-F238E27FC236}">
                    <a16:creationId xmlns:a16="http://schemas.microsoft.com/office/drawing/2014/main" id="{4C3132BE-6D0A-42DC-A073-A5D6F413FC74}"/>
                  </a:ext>
                </a:extLst>
              </p:cNvPr>
              <p:cNvSpPr/>
              <p:nvPr/>
            </p:nvSpPr>
            <p:spPr>
              <a:xfrm>
                <a:off x="7155663" y="2605382"/>
                <a:ext cx="81121" cy="62296"/>
              </a:xfrm>
              <a:custGeom>
                <a:avLst/>
                <a:gdLst>
                  <a:gd name="connsiteX0" fmla="*/ 74517 w 81121"/>
                  <a:gd name="connsiteY0" fmla="*/ 62296 h 62296"/>
                  <a:gd name="connsiteX1" fmla="*/ 70495 w 81121"/>
                  <a:gd name="connsiteY1" fmla="*/ 60904 h 62296"/>
                  <a:gd name="connsiteX2" fmla="*/ 58326 w 81121"/>
                  <a:gd name="connsiteY2" fmla="*/ 51571 h 62296"/>
                  <a:gd name="connsiteX3" fmla="*/ 2997 w 81121"/>
                  <a:gd name="connsiteY3" fmla="*/ 12073 h 62296"/>
                  <a:gd name="connsiteX4" fmla="*/ 1064 w 81121"/>
                  <a:gd name="connsiteY4" fmla="*/ 2998 h 62296"/>
                  <a:gd name="connsiteX5" fmla="*/ 10139 w 81121"/>
                  <a:gd name="connsiteY5" fmla="*/ 1064 h 62296"/>
                  <a:gd name="connsiteX6" fmla="*/ 66267 w 81121"/>
                  <a:gd name="connsiteY6" fmla="*/ 41103 h 62296"/>
                  <a:gd name="connsiteX7" fmla="*/ 78590 w 81121"/>
                  <a:gd name="connsiteY7" fmla="*/ 50539 h 62296"/>
                  <a:gd name="connsiteX8" fmla="*/ 79725 w 81121"/>
                  <a:gd name="connsiteY8" fmla="*/ 59744 h 62296"/>
                  <a:gd name="connsiteX9" fmla="*/ 74517 w 81121"/>
                  <a:gd name="connsiteY9" fmla="*/ 62296 h 6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121" h="62296">
                    <a:moveTo>
                      <a:pt x="74517" y="62296"/>
                    </a:moveTo>
                    <a:cubicBezTo>
                      <a:pt x="73099" y="62296"/>
                      <a:pt x="71707" y="61858"/>
                      <a:pt x="70495" y="60904"/>
                    </a:cubicBezTo>
                    <a:cubicBezTo>
                      <a:pt x="66499" y="57784"/>
                      <a:pt x="62451" y="54690"/>
                      <a:pt x="58326" y="51571"/>
                    </a:cubicBezTo>
                    <a:cubicBezTo>
                      <a:pt x="37803" y="36076"/>
                      <a:pt x="20555" y="23417"/>
                      <a:pt x="2997" y="12073"/>
                    </a:cubicBezTo>
                    <a:cubicBezTo>
                      <a:pt x="-45" y="10113"/>
                      <a:pt x="-921" y="6040"/>
                      <a:pt x="1064" y="2998"/>
                    </a:cubicBezTo>
                    <a:cubicBezTo>
                      <a:pt x="3023" y="-45"/>
                      <a:pt x="7097" y="-921"/>
                      <a:pt x="10139" y="1064"/>
                    </a:cubicBezTo>
                    <a:cubicBezTo>
                      <a:pt x="28032" y="12640"/>
                      <a:pt x="45512" y="25454"/>
                      <a:pt x="66267" y="41103"/>
                    </a:cubicBezTo>
                    <a:cubicBezTo>
                      <a:pt x="70443" y="44249"/>
                      <a:pt x="74542" y="47394"/>
                      <a:pt x="78590" y="50539"/>
                    </a:cubicBezTo>
                    <a:cubicBezTo>
                      <a:pt x="81452" y="52757"/>
                      <a:pt x="81968" y="56882"/>
                      <a:pt x="79725" y="59744"/>
                    </a:cubicBezTo>
                    <a:cubicBezTo>
                      <a:pt x="78410" y="61445"/>
                      <a:pt x="76476" y="62296"/>
                      <a:pt x="74517" y="62296"/>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682" name="Group 681">
            <a:extLst>
              <a:ext uri="{FF2B5EF4-FFF2-40B4-BE49-F238E27FC236}">
                <a16:creationId xmlns:a16="http://schemas.microsoft.com/office/drawing/2014/main" id="{8A958678-6E87-4413-B000-D6FEF58F637F}"/>
              </a:ext>
            </a:extLst>
          </p:cNvPr>
          <p:cNvGrpSpPr/>
          <p:nvPr/>
        </p:nvGrpSpPr>
        <p:grpSpPr>
          <a:xfrm>
            <a:off x="7044867" y="1585984"/>
            <a:ext cx="433006" cy="432000"/>
            <a:chOff x="7044455" y="1585984"/>
            <a:chExt cx="433006" cy="432000"/>
          </a:xfrm>
        </p:grpSpPr>
        <p:grpSp>
          <p:nvGrpSpPr>
            <p:cNvPr id="440" name="Group 439">
              <a:extLst>
                <a:ext uri="{FF2B5EF4-FFF2-40B4-BE49-F238E27FC236}">
                  <a16:creationId xmlns:a16="http://schemas.microsoft.com/office/drawing/2014/main" id="{057C9BA1-7073-42FC-AF58-487DF77138F0}"/>
                </a:ext>
              </a:extLst>
            </p:cNvPr>
            <p:cNvGrpSpPr/>
            <p:nvPr/>
          </p:nvGrpSpPr>
          <p:grpSpPr>
            <a:xfrm>
              <a:off x="7200166" y="1739874"/>
              <a:ext cx="127076" cy="142936"/>
              <a:chOff x="6299907" y="2612402"/>
              <a:chExt cx="142662" cy="160467"/>
            </a:xfrm>
          </p:grpSpPr>
          <p:sp>
            <p:nvSpPr>
              <p:cNvPr id="448" name="Freihandform: Form 1034">
                <a:extLst>
                  <a:ext uri="{FF2B5EF4-FFF2-40B4-BE49-F238E27FC236}">
                    <a16:creationId xmlns:a16="http://schemas.microsoft.com/office/drawing/2014/main" id="{EE983E4D-7E04-4A6B-AB31-4BF7FCD29380}"/>
                  </a:ext>
                </a:extLst>
              </p:cNvPr>
              <p:cNvSpPr/>
              <p:nvPr/>
            </p:nvSpPr>
            <p:spPr>
              <a:xfrm>
                <a:off x="6299907" y="2644636"/>
                <a:ext cx="142590" cy="96056"/>
              </a:xfrm>
              <a:custGeom>
                <a:avLst/>
                <a:gdLst>
                  <a:gd name="connsiteX0" fmla="*/ 123065 w 142590"/>
                  <a:gd name="connsiteY0" fmla="*/ 96057 h 96056"/>
                  <a:gd name="connsiteX1" fmla="*/ 107132 w 142590"/>
                  <a:gd name="connsiteY1" fmla="*/ 93891 h 96056"/>
                  <a:gd name="connsiteX2" fmla="*/ 57038 w 142590"/>
                  <a:gd name="connsiteY2" fmla="*/ 72724 h 96056"/>
                  <a:gd name="connsiteX3" fmla="*/ 1813 w 142590"/>
                  <a:gd name="connsiteY3" fmla="*/ 7882 h 96056"/>
                  <a:gd name="connsiteX4" fmla="*/ 51830 w 142590"/>
                  <a:gd name="connsiteY4" fmla="*/ 7186 h 96056"/>
                  <a:gd name="connsiteX5" fmla="*/ 55671 w 142590"/>
                  <a:gd name="connsiteY5" fmla="*/ 15617 h 96056"/>
                  <a:gd name="connsiteX6" fmla="*/ 47240 w 142590"/>
                  <a:gd name="connsiteY6" fmla="*/ 19459 h 96056"/>
                  <a:gd name="connsiteX7" fmla="*/ 13157 w 142590"/>
                  <a:gd name="connsiteY7" fmla="*/ 14431 h 96056"/>
                  <a:gd name="connsiteX8" fmla="*/ 63586 w 142590"/>
                  <a:gd name="connsiteY8" fmla="*/ 61354 h 96056"/>
                  <a:gd name="connsiteX9" fmla="*/ 110174 w 142590"/>
                  <a:gd name="connsiteY9" fmla="*/ 81129 h 96056"/>
                  <a:gd name="connsiteX10" fmla="*/ 129433 w 142590"/>
                  <a:gd name="connsiteY10" fmla="*/ 81542 h 96056"/>
                  <a:gd name="connsiteX11" fmla="*/ 91302 w 142590"/>
                  <a:gd name="connsiteY11" fmla="*/ 42224 h 96056"/>
                  <a:gd name="connsiteX12" fmla="*/ 89446 w 142590"/>
                  <a:gd name="connsiteY12" fmla="*/ 33149 h 96056"/>
                  <a:gd name="connsiteX13" fmla="*/ 98521 w 142590"/>
                  <a:gd name="connsiteY13" fmla="*/ 31293 h 96056"/>
                  <a:gd name="connsiteX14" fmla="*/ 140752 w 142590"/>
                  <a:gd name="connsiteY14" fmla="*/ 88116 h 96056"/>
                  <a:gd name="connsiteX15" fmla="*/ 123065 w 142590"/>
                  <a:gd name="connsiteY15" fmla="*/ 96057 h 96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2590" h="96056">
                    <a:moveTo>
                      <a:pt x="123065" y="96057"/>
                    </a:moveTo>
                    <a:cubicBezTo>
                      <a:pt x="118502" y="96057"/>
                      <a:pt x="113191" y="95335"/>
                      <a:pt x="107132" y="93891"/>
                    </a:cubicBezTo>
                    <a:cubicBezTo>
                      <a:pt x="92410" y="90385"/>
                      <a:pt x="74621" y="82856"/>
                      <a:pt x="57038" y="72724"/>
                    </a:cubicBezTo>
                    <a:cubicBezTo>
                      <a:pt x="23573" y="53388"/>
                      <a:pt x="-7985" y="24873"/>
                      <a:pt x="1813" y="7882"/>
                    </a:cubicBezTo>
                    <a:cubicBezTo>
                      <a:pt x="9805" y="-5962"/>
                      <a:pt x="36567" y="1489"/>
                      <a:pt x="51830" y="7186"/>
                    </a:cubicBezTo>
                    <a:cubicBezTo>
                      <a:pt x="55233" y="8450"/>
                      <a:pt x="56934" y="12214"/>
                      <a:pt x="55671" y="15617"/>
                    </a:cubicBezTo>
                    <a:cubicBezTo>
                      <a:pt x="54408" y="19020"/>
                      <a:pt x="50644" y="20722"/>
                      <a:pt x="47240" y="19459"/>
                    </a:cubicBezTo>
                    <a:cubicBezTo>
                      <a:pt x="24295" y="10899"/>
                      <a:pt x="14085" y="12833"/>
                      <a:pt x="13157" y="14431"/>
                    </a:cubicBezTo>
                    <a:cubicBezTo>
                      <a:pt x="10914" y="18298"/>
                      <a:pt x="25816" y="39569"/>
                      <a:pt x="63586" y="61354"/>
                    </a:cubicBezTo>
                    <a:cubicBezTo>
                      <a:pt x="80087" y="70894"/>
                      <a:pt x="96639" y="77906"/>
                      <a:pt x="110174" y="81129"/>
                    </a:cubicBezTo>
                    <a:cubicBezTo>
                      <a:pt x="124354" y="84506"/>
                      <a:pt x="129098" y="82160"/>
                      <a:pt x="129433" y="81542"/>
                    </a:cubicBezTo>
                    <a:cubicBezTo>
                      <a:pt x="131058" y="78731"/>
                      <a:pt x="121802" y="62386"/>
                      <a:pt x="91302" y="42224"/>
                    </a:cubicBezTo>
                    <a:cubicBezTo>
                      <a:pt x="88285" y="40239"/>
                      <a:pt x="87460" y="36165"/>
                      <a:pt x="89446" y="33149"/>
                    </a:cubicBezTo>
                    <a:cubicBezTo>
                      <a:pt x="91431" y="30132"/>
                      <a:pt x="95504" y="29307"/>
                      <a:pt x="98521" y="31293"/>
                    </a:cubicBezTo>
                    <a:cubicBezTo>
                      <a:pt x="124767" y="48670"/>
                      <a:pt x="149646" y="72698"/>
                      <a:pt x="140752" y="88116"/>
                    </a:cubicBezTo>
                    <a:cubicBezTo>
                      <a:pt x="137735" y="93401"/>
                      <a:pt x="131805" y="96057"/>
                      <a:pt x="123065" y="96057"/>
                    </a:cubicBezTo>
                    <a:close/>
                  </a:path>
                </a:pathLst>
              </a:custGeom>
              <a:solidFill>
                <a:schemeClr val="accent1"/>
              </a:solidFill>
              <a:ln w="2573" cap="flat">
                <a:noFill/>
                <a:prstDash val="solid"/>
                <a:miter/>
              </a:ln>
            </p:spPr>
            <p:txBody>
              <a:bodyPr rtlCol="0" anchor="ctr"/>
              <a:lstStyle/>
              <a:p>
                <a:endParaRPr lang="en-GB" dirty="0"/>
              </a:p>
            </p:txBody>
          </p:sp>
          <p:sp>
            <p:nvSpPr>
              <p:cNvPr id="449" name="Freihandform: Form 1035">
                <a:extLst>
                  <a:ext uri="{FF2B5EF4-FFF2-40B4-BE49-F238E27FC236}">
                    <a16:creationId xmlns:a16="http://schemas.microsoft.com/office/drawing/2014/main" id="{EF6A6F75-D346-404B-BDD0-D04B9B5E05DB}"/>
                  </a:ext>
                </a:extLst>
              </p:cNvPr>
              <p:cNvSpPr/>
              <p:nvPr/>
            </p:nvSpPr>
            <p:spPr>
              <a:xfrm>
                <a:off x="6299907" y="2644610"/>
                <a:ext cx="142662" cy="96057"/>
              </a:xfrm>
              <a:custGeom>
                <a:avLst/>
                <a:gdLst>
                  <a:gd name="connsiteX0" fmla="*/ 19628 w 142662"/>
                  <a:gd name="connsiteY0" fmla="*/ 96058 h 96057"/>
                  <a:gd name="connsiteX1" fmla="*/ 1813 w 142662"/>
                  <a:gd name="connsiteY1" fmla="*/ 88168 h 96057"/>
                  <a:gd name="connsiteX2" fmla="*/ 57038 w 142662"/>
                  <a:gd name="connsiteY2" fmla="*/ 23327 h 96057"/>
                  <a:gd name="connsiteX3" fmla="*/ 107132 w 142662"/>
                  <a:gd name="connsiteY3" fmla="*/ 2160 h 96057"/>
                  <a:gd name="connsiteX4" fmla="*/ 140803 w 142662"/>
                  <a:gd name="connsiteY4" fmla="*/ 7935 h 96057"/>
                  <a:gd name="connsiteX5" fmla="*/ 96793 w 142662"/>
                  <a:gd name="connsiteY5" fmla="*/ 65583 h 96057"/>
                  <a:gd name="connsiteX6" fmla="*/ 87744 w 142662"/>
                  <a:gd name="connsiteY6" fmla="*/ 63624 h 96057"/>
                  <a:gd name="connsiteX7" fmla="*/ 89703 w 142662"/>
                  <a:gd name="connsiteY7" fmla="*/ 54574 h 96057"/>
                  <a:gd name="connsiteX8" fmla="*/ 129433 w 142662"/>
                  <a:gd name="connsiteY8" fmla="*/ 14509 h 96057"/>
                  <a:gd name="connsiteX9" fmla="*/ 110174 w 142662"/>
                  <a:gd name="connsiteY9" fmla="*/ 14922 h 96057"/>
                  <a:gd name="connsiteX10" fmla="*/ 63586 w 142662"/>
                  <a:gd name="connsiteY10" fmla="*/ 34696 h 96057"/>
                  <a:gd name="connsiteX11" fmla="*/ 13157 w 142662"/>
                  <a:gd name="connsiteY11" fmla="*/ 81620 h 96057"/>
                  <a:gd name="connsiteX12" fmla="*/ 48220 w 142662"/>
                  <a:gd name="connsiteY12" fmla="*/ 76231 h 96057"/>
                  <a:gd name="connsiteX13" fmla="*/ 56677 w 142662"/>
                  <a:gd name="connsiteY13" fmla="*/ 80021 h 96057"/>
                  <a:gd name="connsiteX14" fmla="*/ 52887 w 142662"/>
                  <a:gd name="connsiteY14" fmla="*/ 88478 h 96057"/>
                  <a:gd name="connsiteX15" fmla="*/ 19628 w 142662"/>
                  <a:gd name="connsiteY15" fmla="*/ 96058 h 96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2662" h="96057">
                    <a:moveTo>
                      <a:pt x="19628" y="96058"/>
                    </a:moveTo>
                    <a:cubicBezTo>
                      <a:pt x="11868" y="96058"/>
                      <a:pt x="5190" y="93995"/>
                      <a:pt x="1813" y="88168"/>
                    </a:cubicBezTo>
                    <a:cubicBezTo>
                      <a:pt x="-7985" y="71178"/>
                      <a:pt x="23573" y="42663"/>
                      <a:pt x="57038" y="23327"/>
                    </a:cubicBezTo>
                    <a:cubicBezTo>
                      <a:pt x="74621" y="13169"/>
                      <a:pt x="92410" y="5666"/>
                      <a:pt x="107132" y="2160"/>
                    </a:cubicBezTo>
                    <a:cubicBezTo>
                      <a:pt x="124844" y="-2043"/>
                      <a:pt x="136162" y="-109"/>
                      <a:pt x="140803" y="7935"/>
                    </a:cubicBezTo>
                    <a:cubicBezTo>
                      <a:pt x="149904" y="23688"/>
                      <a:pt x="124045" y="48052"/>
                      <a:pt x="96793" y="65583"/>
                    </a:cubicBezTo>
                    <a:cubicBezTo>
                      <a:pt x="93751" y="67543"/>
                      <a:pt x="89703" y="66666"/>
                      <a:pt x="87744" y="63624"/>
                    </a:cubicBezTo>
                    <a:cubicBezTo>
                      <a:pt x="85785" y="60582"/>
                      <a:pt x="86661" y="56534"/>
                      <a:pt x="89703" y="54574"/>
                    </a:cubicBezTo>
                    <a:cubicBezTo>
                      <a:pt x="121905" y="33846"/>
                      <a:pt x="131187" y="17526"/>
                      <a:pt x="129433" y="14509"/>
                    </a:cubicBezTo>
                    <a:cubicBezTo>
                      <a:pt x="129072" y="13916"/>
                      <a:pt x="124329" y="11570"/>
                      <a:pt x="110174" y="14922"/>
                    </a:cubicBezTo>
                    <a:cubicBezTo>
                      <a:pt x="96639" y="18144"/>
                      <a:pt x="80112" y="25157"/>
                      <a:pt x="63586" y="34696"/>
                    </a:cubicBezTo>
                    <a:cubicBezTo>
                      <a:pt x="25816" y="56508"/>
                      <a:pt x="10939" y="77752"/>
                      <a:pt x="13157" y="81620"/>
                    </a:cubicBezTo>
                    <a:cubicBezTo>
                      <a:pt x="14111" y="83296"/>
                      <a:pt x="24604" y="85203"/>
                      <a:pt x="48220" y="76231"/>
                    </a:cubicBezTo>
                    <a:cubicBezTo>
                      <a:pt x="51598" y="74968"/>
                      <a:pt x="55388" y="76644"/>
                      <a:pt x="56677" y="80021"/>
                    </a:cubicBezTo>
                    <a:cubicBezTo>
                      <a:pt x="57966" y="83399"/>
                      <a:pt x="56264" y="87189"/>
                      <a:pt x="52887" y="88478"/>
                    </a:cubicBezTo>
                    <a:cubicBezTo>
                      <a:pt x="43760" y="91932"/>
                      <a:pt x="30611" y="96058"/>
                      <a:pt x="19628" y="96058"/>
                    </a:cubicBezTo>
                    <a:close/>
                  </a:path>
                </a:pathLst>
              </a:custGeom>
              <a:solidFill>
                <a:schemeClr val="accent1"/>
              </a:solidFill>
              <a:ln w="2573" cap="flat">
                <a:noFill/>
                <a:prstDash val="solid"/>
                <a:miter/>
              </a:ln>
            </p:spPr>
            <p:txBody>
              <a:bodyPr rtlCol="0" anchor="ctr"/>
              <a:lstStyle/>
              <a:p>
                <a:endParaRPr lang="en-GB" dirty="0"/>
              </a:p>
            </p:txBody>
          </p:sp>
          <p:sp>
            <p:nvSpPr>
              <p:cNvPr id="450" name="Freihandform: Form 1036">
                <a:extLst>
                  <a:ext uri="{FF2B5EF4-FFF2-40B4-BE49-F238E27FC236}">
                    <a16:creationId xmlns:a16="http://schemas.microsoft.com/office/drawing/2014/main" id="{99D555A6-4F12-4CEC-A461-01CF474BC0E2}"/>
                  </a:ext>
                </a:extLst>
              </p:cNvPr>
              <p:cNvSpPr/>
              <p:nvPr/>
            </p:nvSpPr>
            <p:spPr>
              <a:xfrm>
                <a:off x="6342661" y="2612402"/>
                <a:ext cx="57081" cy="160467"/>
              </a:xfrm>
              <a:custGeom>
                <a:avLst/>
                <a:gdLst>
                  <a:gd name="connsiteX0" fmla="*/ 28541 w 57081"/>
                  <a:gd name="connsiteY0" fmla="*/ 160467 h 160467"/>
                  <a:gd name="connsiteX1" fmla="*/ 0 w 57081"/>
                  <a:gd name="connsiteY1" fmla="*/ 80234 h 160467"/>
                  <a:gd name="connsiteX2" fmla="*/ 28541 w 57081"/>
                  <a:gd name="connsiteY2" fmla="*/ 0 h 160467"/>
                  <a:gd name="connsiteX3" fmla="*/ 57081 w 57081"/>
                  <a:gd name="connsiteY3" fmla="*/ 80234 h 160467"/>
                  <a:gd name="connsiteX4" fmla="*/ 28541 w 57081"/>
                  <a:gd name="connsiteY4" fmla="*/ 160467 h 160467"/>
                  <a:gd name="connsiteX5" fmla="*/ 28541 w 57081"/>
                  <a:gd name="connsiteY5" fmla="*/ 13123 h 160467"/>
                  <a:gd name="connsiteX6" fmla="*/ 13097 w 57081"/>
                  <a:gd name="connsiteY6" fmla="*/ 80259 h 160467"/>
                  <a:gd name="connsiteX7" fmla="*/ 28541 w 57081"/>
                  <a:gd name="connsiteY7" fmla="*/ 147396 h 160467"/>
                  <a:gd name="connsiteX8" fmla="*/ 43984 w 57081"/>
                  <a:gd name="connsiteY8" fmla="*/ 80259 h 160467"/>
                  <a:gd name="connsiteX9" fmla="*/ 28541 w 57081"/>
                  <a:gd name="connsiteY9" fmla="*/ 13123 h 160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081" h="160467">
                    <a:moveTo>
                      <a:pt x="28541" y="160467"/>
                    </a:moveTo>
                    <a:cubicBezTo>
                      <a:pt x="8921" y="160467"/>
                      <a:pt x="0" y="118881"/>
                      <a:pt x="0" y="80234"/>
                    </a:cubicBezTo>
                    <a:cubicBezTo>
                      <a:pt x="0" y="41586"/>
                      <a:pt x="8921" y="0"/>
                      <a:pt x="28541" y="0"/>
                    </a:cubicBezTo>
                    <a:cubicBezTo>
                      <a:pt x="48161" y="0"/>
                      <a:pt x="57081" y="41586"/>
                      <a:pt x="57081" y="80234"/>
                    </a:cubicBezTo>
                    <a:cubicBezTo>
                      <a:pt x="57081" y="118881"/>
                      <a:pt x="48161" y="160467"/>
                      <a:pt x="28541" y="160467"/>
                    </a:cubicBezTo>
                    <a:close/>
                    <a:moveTo>
                      <a:pt x="28541" y="13123"/>
                    </a:moveTo>
                    <a:cubicBezTo>
                      <a:pt x="24055" y="13123"/>
                      <a:pt x="13097" y="36636"/>
                      <a:pt x="13097" y="80259"/>
                    </a:cubicBezTo>
                    <a:cubicBezTo>
                      <a:pt x="13097" y="123857"/>
                      <a:pt x="24055" y="147396"/>
                      <a:pt x="28541" y="147396"/>
                    </a:cubicBezTo>
                    <a:cubicBezTo>
                      <a:pt x="33027" y="147396"/>
                      <a:pt x="43984" y="123882"/>
                      <a:pt x="43984" y="80259"/>
                    </a:cubicBezTo>
                    <a:cubicBezTo>
                      <a:pt x="43984" y="36636"/>
                      <a:pt x="33027" y="13123"/>
                      <a:pt x="28541" y="13123"/>
                    </a:cubicBezTo>
                    <a:close/>
                  </a:path>
                </a:pathLst>
              </a:custGeom>
              <a:solidFill>
                <a:schemeClr val="accent1"/>
              </a:solidFill>
              <a:ln w="2573" cap="flat">
                <a:noFill/>
                <a:prstDash val="solid"/>
                <a:miter/>
              </a:ln>
            </p:spPr>
            <p:txBody>
              <a:bodyPr rtlCol="0" anchor="ctr"/>
              <a:lstStyle/>
              <a:p>
                <a:endParaRPr lang="en-GB" dirty="0"/>
              </a:p>
            </p:txBody>
          </p:sp>
        </p:grpSp>
        <p:grpSp>
          <p:nvGrpSpPr>
            <p:cNvPr id="441" name="Group 440">
              <a:extLst>
                <a:ext uri="{FF2B5EF4-FFF2-40B4-BE49-F238E27FC236}">
                  <a16:creationId xmlns:a16="http://schemas.microsoft.com/office/drawing/2014/main" id="{76DB7E20-CEC6-436F-A27B-0389C079C3A1}"/>
                </a:ext>
              </a:extLst>
            </p:cNvPr>
            <p:cNvGrpSpPr/>
            <p:nvPr/>
          </p:nvGrpSpPr>
          <p:grpSpPr>
            <a:xfrm>
              <a:off x="7044455" y="1585984"/>
              <a:ext cx="433006" cy="432000"/>
              <a:chOff x="6125098" y="2439637"/>
              <a:chExt cx="486114" cy="484985"/>
            </a:xfrm>
          </p:grpSpPr>
          <p:sp>
            <p:nvSpPr>
              <p:cNvPr id="442" name="Freihandform: Form 1038">
                <a:extLst>
                  <a:ext uri="{FF2B5EF4-FFF2-40B4-BE49-F238E27FC236}">
                    <a16:creationId xmlns:a16="http://schemas.microsoft.com/office/drawing/2014/main" id="{049FAF7B-4780-4C0D-AC55-473EAF5A3E0C}"/>
                  </a:ext>
                </a:extLst>
              </p:cNvPr>
              <p:cNvSpPr/>
              <p:nvPr/>
            </p:nvSpPr>
            <p:spPr>
              <a:xfrm>
                <a:off x="6397275" y="2478929"/>
                <a:ext cx="149500" cy="163638"/>
              </a:xfrm>
              <a:custGeom>
                <a:avLst/>
                <a:gdLst>
                  <a:gd name="connsiteX0" fmla="*/ 142953 w 149500"/>
                  <a:gd name="connsiteY0" fmla="*/ 163638 h 163638"/>
                  <a:gd name="connsiteX1" fmla="*/ 142798 w 149500"/>
                  <a:gd name="connsiteY1" fmla="*/ 163638 h 163638"/>
                  <a:gd name="connsiteX2" fmla="*/ 12290 w 149500"/>
                  <a:gd name="connsiteY2" fmla="*/ 108026 h 163638"/>
                  <a:gd name="connsiteX3" fmla="*/ 12290 w 149500"/>
                  <a:gd name="connsiteY3" fmla="*/ 108026 h 163638"/>
                  <a:gd name="connsiteX4" fmla="*/ 12342 w 149500"/>
                  <a:gd name="connsiteY4" fmla="*/ 22869 h 163638"/>
                  <a:gd name="connsiteX5" fmla="*/ 16879 w 149500"/>
                  <a:gd name="connsiteY5" fmla="*/ 10467 h 163638"/>
                  <a:gd name="connsiteX6" fmla="*/ 21623 w 149500"/>
                  <a:gd name="connsiteY6" fmla="*/ 5981 h 163638"/>
                  <a:gd name="connsiteX7" fmla="*/ 113742 w 149500"/>
                  <a:gd name="connsiteY7" fmla="*/ 24029 h 163638"/>
                  <a:gd name="connsiteX8" fmla="*/ 129598 w 149500"/>
                  <a:gd name="connsiteY8" fmla="*/ 83405 h 163638"/>
                  <a:gd name="connsiteX9" fmla="*/ 148238 w 149500"/>
                  <a:gd name="connsiteY9" fmla="*/ 153196 h 163638"/>
                  <a:gd name="connsiteX10" fmla="*/ 148754 w 149500"/>
                  <a:gd name="connsiteY10" fmla="*/ 160106 h 163638"/>
                  <a:gd name="connsiteX11" fmla="*/ 142953 w 149500"/>
                  <a:gd name="connsiteY11" fmla="*/ 163638 h 163638"/>
                  <a:gd name="connsiteX12" fmla="*/ 22371 w 149500"/>
                  <a:gd name="connsiteY12" fmla="*/ 99647 h 163638"/>
                  <a:gd name="connsiteX13" fmla="*/ 130475 w 149500"/>
                  <a:gd name="connsiteY13" fmla="*/ 149355 h 163638"/>
                  <a:gd name="connsiteX14" fmla="*/ 116526 w 149500"/>
                  <a:gd name="connsiteY14" fmla="*/ 84281 h 163638"/>
                  <a:gd name="connsiteX15" fmla="*/ 103661 w 149500"/>
                  <a:gd name="connsiteY15" fmla="*/ 32356 h 163638"/>
                  <a:gd name="connsiteX16" fmla="*/ 28249 w 149500"/>
                  <a:gd name="connsiteY16" fmla="*/ 17867 h 163638"/>
                  <a:gd name="connsiteX17" fmla="*/ 24588 w 149500"/>
                  <a:gd name="connsiteY17" fmla="*/ 27587 h 163638"/>
                  <a:gd name="connsiteX18" fmla="*/ 22371 w 149500"/>
                  <a:gd name="connsiteY18" fmla="*/ 99647 h 163638"/>
                  <a:gd name="connsiteX19" fmla="*/ 22371 w 149500"/>
                  <a:gd name="connsiteY19" fmla="*/ 99647 h 163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9500" h="163638">
                    <a:moveTo>
                      <a:pt x="142953" y="163638"/>
                    </a:moveTo>
                    <a:cubicBezTo>
                      <a:pt x="142901" y="163638"/>
                      <a:pt x="142850" y="163638"/>
                      <a:pt x="142798" y="163638"/>
                    </a:cubicBezTo>
                    <a:cubicBezTo>
                      <a:pt x="108508" y="162839"/>
                      <a:pt x="38948" y="140254"/>
                      <a:pt x="12290" y="108026"/>
                    </a:cubicBezTo>
                    <a:lnTo>
                      <a:pt x="12290" y="108026"/>
                    </a:lnTo>
                    <a:cubicBezTo>
                      <a:pt x="-10218" y="80852"/>
                      <a:pt x="3369" y="45969"/>
                      <a:pt x="12342" y="22869"/>
                    </a:cubicBezTo>
                    <a:cubicBezTo>
                      <a:pt x="14224" y="18047"/>
                      <a:pt x="15848" y="13871"/>
                      <a:pt x="16879" y="10467"/>
                    </a:cubicBezTo>
                    <a:cubicBezTo>
                      <a:pt x="17549" y="8224"/>
                      <a:pt x="19354" y="6523"/>
                      <a:pt x="21623" y="5981"/>
                    </a:cubicBezTo>
                    <a:cubicBezTo>
                      <a:pt x="47302" y="-129"/>
                      <a:pt x="86078" y="-9359"/>
                      <a:pt x="113742" y="24029"/>
                    </a:cubicBezTo>
                    <a:cubicBezTo>
                      <a:pt x="126633" y="39601"/>
                      <a:pt x="128077" y="60871"/>
                      <a:pt x="129598" y="83405"/>
                    </a:cubicBezTo>
                    <a:cubicBezTo>
                      <a:pt x="131222" y="107433"/>
                      <a:pt x="132898" y="132313"/>
                      <a:pt x="148238" y="153196"/>
                    </a:cubicBezTo>
                    <a:cubicBezTo>
                      <a:pt x="149708" y="155207"/>
                      <a:pt x="149914" y="157889"/>
                      <a:pt x="148754" y="160106"/>
                    </a:cubicBezTo>
                    <a:cubicBezTo>
                      <a:pt x="147645" y="162272"/>
                      <a:pt x="145402" y="163638"/>
                      <a:pt x="142953" y="163638"/>
                    </a:cubicBezTo>
                    <a:close/>
                    <a:moveTo>
                      <a:pt x="22371" y="99647"/>
                    </a:moveTo>
                    <a:cubicBezTo>
                      <a:pt x="42764" y="124269"/>
                      <a:pt x="96416" y="144405"/>
                      <a:pt x="130475" y="149355"/>
                    </a:cubicBezTo>
                    <a:cubicBezTo>
                      <a:pt x="119491" y="128239"/>
                      <a:pt x="117919" y="105087"/>
                      <a:pt x="116526" y="84281"/>
                    </a:cubicBezTo>
                    <a:cubicBezTo>
                      <a:pt x="115083" y="63037"/>
                      <a:pt x="113845" y="44680"/>
                      <a:pt x="103661" y="32356"/>
                    </a:cubicBezTo>
                    <a:cubicBezTo>
                      <a:pt x="83706" y="8250"/>
                      <a:pt x="57718" y="11060"/>
                      <a:pt x="28249" y="17867"/>
                    </a:cubicBezTo>
                    <a:cubicBezTo>
                      <a:pt x="27218" y="20806"/>
                      <a:pt x="25954" y="24029"/>
                      <a:pt x="24588" y="27587"/>
                    </a:cubicBezTo>
                    <a:cubicBezTo>
                      <a:pt x="16209" y="49037"/>
                      <a:pt x="4787" y="78403"/>
                      <a:pt x="22371" y="99647"/>
                    </a:cubicBezTo>
                    <a:lnTo>
                      <a:pt x="22371" y="99647"/>
                    </a:lnTo>
                    <a:close/>
                  </a:path>
                </a:pathLst>
              </a:custGeom>
              <a:solidFill>
                <a:schemeClr val="tx2"/>
              </a:solidFill>
              <a:ln w="2573" cap="flat">
                <a:noFill/>
                <a:prstDash val="solid"/>
                <a:miter/>
              </a:ln>
            </p:spPr>
            <p:txBody>
              <a:bodyPr rtlCol="0" anchor="ctr"/>
              <a:lstStyle/>
              <a:p>
                <a:endParaRPr lang="en-GB" dirty="0"/>
              </a:p>
            </p:txBody>
          </p:sp>
          <p:sp>
            <p:nvSpPr>
              <p:cNvPr id="443" name="Freihandform: Form 1039">
                <a:extLst>
                  <a:ext uri="{FF2B5EF4-FFF2-40B4-BE49-F238E27FC236}">
                    <a16:creationId xmlns:a16="http://schemas.microsoft.com/office/drawing/2014/main" id="{E0751D34-B22C-409D-AE94-45C6EE51134B}"/>
                  </a:ext>
                </a:extLst>
              </p:cNvPr>
              <p:cNvSpPr/>
              <p:nvPr/>
            </p:nvSpPr>
            <p:spPr>
              <a:xfrm>
                <a:off x="6309355" y="2439637"/>
                <a:ext cx="169740" cy="128729"/>
              </a:xfrm>
              <a:custGeom>
                <a:avLst/>
                <a:gdLst>
                  <a:gd name="connsiteX0" fmla="*/ 163196 w 169740"/>
                  <a:gd name="connsiteY0" fmla="*/ 128729 h 128729"/>
                  <a:gd name="connsiteX1" fmla="*/ 157859 w 169740"/>
                  <a:gd name="connsiteY1" fmla="*/ 125996 h 128729"/>
                  <a:gd name="connsiteX2" fmla="*/ 84999 w 169740"/>
                  <a:gd name="connsiteY2" fmla="*/ 24390 h 128729"/>
                  <a:gd name="connsiteX3" fmla="*/ 63085 w 169740"/>
                  <a:gd name="connsiteY3" fmla="*/ 13123 h 128729"/>
                  <a:gd name="connsiteX4" fmla="*/ 41170 w 169740"/>
                  <a:gd name="connsiteY4" fmla="*/ 24390 h 128729"/>
                  <a:gd name="connsiteX5" fmla="*/ 11882 w 169740"/>
                  <a:gd name="connsiteY5" fmla="*/ 65254 h 128729"/>
                  <a:gd name="connsiteX6" fmla="*/ 2729 w 169740"/>
                  <a:gd name="connsiteY6" fmla="*/ 66749 h 128729"/>
                  <a:gd name="connsiteX7" fmla="*/ 1234 w 169740"/>
                  <a:gd name="connsiteY7" fmla="*/ 57597 h 128729"/>
                  <a:gd name="connsiteX8" fmla="*/ 30522 w 169740"/>
                  <a:gd name="connsiteY8" fmla="*/ 16732 h 128729"/>
                  <a:gd name="connsiteX9" fmla="*/ 63085 w 169740"/>
                  <a:gd name="connsiteY9" fmla="*/ 0 h 128729"/>
                  <a:gd name="connsiteX10" fmla="*/ 95647 w 169740"/>
                  <a:gd name="connsiteY10" fmla="*/ 16732 h 128729"/>
                  <a:gd name="connsiteX11" fmla="*/ 168507 w 169740"/>
                  <a:gd name="connsiteY11" fmla="*/ 118339 h 128729"/>
                  <a:gd name="connsiteX12" fmla="*/ 167012 w 169740"/>
                  <a:gd name="connsiteY12" fmla="*/ 127492 h 128729"/>
                  <a:gd name="connsiteX13" fmla="*/ 163196 w 169740"/>
                  <a:gd name="connsiteY13" fmla="*/ 128729 h 1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9740" h="128729">
                    <a:moveTo>
                      <a:pt x="163196" y="128729"/>
                    </a:moveTo>
                    <a:cubicBezTo>
                      <a:pt x="161159" y="128729"/>
                      <a:pt x="159148" y="127775"/>
                      <a:pt x="157859" y="125996"/>
                    </a:cubicBezTo>
                    <a:lnTo>
                      <a:pt x="84999" y="24390"/>
                    </a:lnTo>
                    <a:cubicBezTo>
                      <a:pt x="79869" y="17248"/>
                      <a:pt x="71876" y="13123"/>
                      <a:pt x="63085" y="13123"/>
                    </a:cubicBezTo>
                    <a:cubicBezTo>
                      <a:pt x="54293" y="13123"/>
                      <a:pt x="46301" y="17222"/>
                      <a:pt x="41170" y="24390"/>
                    </a:cubicBezTo>
                    <a:lnTo>
                      <a:pt x="11882" y="65254"/>
                    </a:lnTo>
                    <a:cubicBezTo>
                      <a:pt x="9768" y="68193"/>
                      <a:pt x="5668" y="68889"/>
                      <a:pt x="2729" y="66749"/>
                    </a:cubicBezTo>
                    <a:cubicBezTo>
                      <a:pt x="-210" y="64635"/>
                      <a:pt x="-880" y="60536"/>
                      <a:pt x="1234" y="57597"/>
                    </a:cubicBezTo>
                    <a:lnTo>
                      <a:pt x="30522" y="16732"/>
                    </a:lnTo>
                    <a:cubicBezTo>
                      <a:pt x="38153" y="6110"/>
                      <a:pt x="50013" y="0"/>
                      <a:pt x="63085" y="0"/>
                    </a:cubicBezTo>
                    <a:cubicBezTo>
                      <a:pt x="76156" y="0"/>
                      <a:pt x="88042" y="6085"/>
                      <a:pt x="95647" y="16732"/>
                    </a:cubicBezTo>
                    <a:lnTo>
                      <a:pt x="168507" y="118339"/>
                    </a:lnTo>
                    <a:cubicBezTo>
                      <a:pt x="170621" y="121278"/>
                      <a:pt x="169951" y="125378"/>
                      <a:pt x="167012" y="127492"/>
                    </a:cubicBezTo>
                    <a:cubicBezTo>
                      <a:pt x="165852" y="128343"/>
                      <a:pt x="164511" y="128729"/>
                      <a:pt x="163196" y="128729"/>
                    </a:cubicBezTo>
                    <a:close/>
                  </a:path>
                </a:pathLst>
              </a:custGeom>
              <a:solidFill>
                <a:schemeClr val="tx2"/>
              </a:solidFill>
              <a:ln w="2573" cap="flat">
                <a:noFill/>
                <a:prstDash val="solid"/>
                <a:miter/>
              </a:ln>
            </p:spPr>
            <p:txBody>
              <a:bodyPr rtlCol="0" anchor="ctr"/>
              <a:lstStyle/>
              <a:p>
                <a:endParaRPr lang="en-GB" dirty="0"/>
              </a:p>
            </p:txBody>
          </p:sp>
          <p:sp>
            <p:nvSpPr>
              <p:cNvPr id="444" name="Freihandform: Form 1041">
                <a:extLst>
                  <a:ext uri="{FF2B5EF4-FFF2-40B4-BE49-F238E27FC236}">
                    <a16:creationId xmlns:a16="http://schemas.microsoft.com/office/drawing/2014/main" id="{ED3DE7A1-B556-49DC-9458-9F498E4D39A6}"/>
                  </a:ext>
                </a:extLst>
              </p:cNvPr>
              <p:cNvSpPr/>
              <p:nvPr/>
            </p:nvSpPr>
            <p:spPr>
              <a:xfrm>
                <a:off x="6308435" y="2792904"/>
                <a:ext cx="200931" cy="131718"/>
              </a:xfrm>
              <a:custGeom>
                <a:avLst/>
                <a:gdLst>
                  <a:gd name="connsiteX0" fmla="*/ 128021 w 200931"/>
                  <a:gd name="connsiteY0" fmla="*/ 131718 h 131718"/>
                  <a:gd name="connsiteX1" fmla="*/ 126190 w 200931"/>
                  <a:gd name="connsiteY1" fmla="*/ 131692 h 131718"/>
                  <a:gd name="connsiteX2" fmla="*/ 70940 w 200931"/>
                  <a:gd name="connsiteY2" fmla="*/ 104724 h 131718"/>
                  <a:gd name="connsiteX3" fmla="*/ 6021 w 200931"/>
                  <a:gd name="connsiteY3" fmla="*/ 73038 h 131718"/>
                  <a:gd name="connsiteX4" fmla="*/ 452 w 200931"/>
                  <a:gd name="connsiteY4" fmla="*/ 68913 h 131718"/>
                  <a:gd name="connsiteX5" fmla="*/ 1715 w 200931"/>
                  <a:gd name="connsiteY5" fmla="*/ 62107 h 131718"/>
                  <a:gd name="connsiteX6" fmla="*/ 129284 w 200931"/>
                  <a:gd name="connsiteY6" fmla="*/ 24 h 131718"/>
                  <a:gd name="connsiteX7" fmla="*/ 193533 w 200931"/>
                  <a:gd name="connsiteY7" fmla="*/ 55893 h 131718"/>
                  <a:gd name="connsiteX8" fmla="*/ 199927 w 200931"/>
                  <a:gd name="connsiteY8" fmla="*/ 67444 h 131718"/>
                  <a:gd name="connsiteX9" fmla="*/ 200185 w 200931"/>
                  <a:gd name="connsiteY9" fmla="*/ 73966 h 131718"/>
                  <a:gd name="connsiteX10" fmla="*/ 128021 w 200931"/>
                  <a:gd name="connsiteY10" fmla="*/ 131718 h 131718"/>
                  <a:gd name="connsiteX11" fmla="*/ 20562 w 200931"/>
                  <a:gd name="connsiteY11" fmla="*/ 62133 h 131718"/>
                  <a:gd name="connsiteX12" fmla="*/ 78855 w 200931"/>
                  <a:gd name="connsiteY12" fmla="*/ 94257 h 131718"/>
                  <a:gd name="connsiteX13" fmla="*/ 126500 w 200931"/>
                  <a:gd name="connsiteY13" fmla="*/ 118569 h 131718"/>
                  <a:gd name="connsiteX14" fmla="*/ 186907 w 200931"/>
                  <a:gd name="connsiteY14" fmla="*/ 71130 h 131718"/>
                  <a:gd name="connsiteX15" fmla="*/ 181957 w 200931"/>
                  <a:gd name="connsiteY15" fmla="*/ 61978 h 131718"/>
                  <a:gd name="connsiteX16" fmla="*/ 129001 w 200931"/>
                  <a:gd name="connsiteY16" fmla="*/ 13095 h 131718"/>
                  <a:gd name="connsiteX17" fmla="*/ 129001 w 200931"/>
                  <a:gd name="connsiteY17" fmla="*/ 13095 h 131718"/>
                  <a:gd name="connsiteX18" fmla="*/ 20562 w 200931"/>
                  <a:gd name="connsiteY18" fmla="*/ 62133 h 13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0931" h="131718">
                    <a:moveTo>
                      <a:pt x="128021" y="131718"/>
                    </a:moveTo>
                    <a:cubicBezTo>
                      <a:pt x="127428" y="131718"/>
                      <a:pt x="126809" y="131718"/>
                      <a:pt x="126190" y="131692"/>
                    </a:cubicBezTo>
                    <a:cubicBezTo>
                      <a:pt x="105977" y="131202"/>
                      <a:pt x="88961" y="118337"/>
                      <a:pt x="70940" y="104724"/>
                    </a:cubicBezTo>
                    <a:cubicBezTo>
                      <a:pt x="51732" y="90183"/>
                      <a:pt x="31854" y="75152"/>
                      <a:pt x="6021" y="73038"/>
                    </a:cubicBezTo>
                    <a:cubicBezTo>
                      <a:pt x="3520" y="72832"/>
                      <a:pt x="1380" y="71234"/>
                      <a:pt x="452" y="68913"/>
                    </a:cubicBezTo>
                    <a:cubicBezTo>
                      <a:pt x="-451" y="66593"/>
                      <a:pt x="13" y="63937"/>
                      <a:pt x="1715" y="62107"/>
                    </a:cubicBezTo>
                    <a:cubicBezTo>
                      <a:pt x="24790" y="36737"/>
                      <a:pt x="87363" y="-1085"/>
                      <a:pt x="129284" y="24"/>
                    </a:cubicBezTo>
                    <a:cubicBezTo>
                      <a:pt x="164554" y="849"/>
                      <a:pt x="182008" y="33979"/>
                      <a:pt x="193533" y="55893"/>
                    </a:cubicBezTo>
                    <a:cubicBezTo>
                      <a:pt x="195956" y="60482"/>
                      <a:pt x="198045" y="64427"/>
                      <a:pt x="199927" y="67444"/>
                    </a:cubicBezTo>
                    <a:cubicBezTo>
                      <a:pt x="201164" y="69429"/>
                      <a:pt x="201268" y="71904"/>
                      <a:pt x="200185" y="73966"/>
                    </a:cubicBezTo>
                    <a:cubicBezTo>
                      <a:pt x="188170" y="97041"/>
                      <a:pt x="170071" y="131718"/>
                      <a:pt x="128021" y="131718"/>
                    </a:cubicBezTo>
                    <a:close/>
                    <a:moveTo>
                      <a:pt x="20562" y="62133"/>
                    </a:moveTo>
                    <a:cubicBezTo>
                      <a:pt x="43714" y="67676"/>
                      <a:pt x="62199" y="81675"/>
                      <a:pt x="78855" y="94257"/>
                    </a:cubicBezTo>
                    <a:cubicBezTo>
                      <a:pt x="95845" y="107096"/>
                      <a:pt x="110515" y="118183"/>
                      <a:pt x="126500" y="118569"/>
                    </a:cubicBezTo>
                    <a:cubicBezTo>
                      <a:pt x="158057" y="119162"/>
                      <a:pt x="172727" y="97841"/>
                      <a:pt x="186907" y="71130"/>
                    </a:cubicBezTo>
                    <a:cubicBezTo>
                      <a:pt x="185360" y="68423"/>
                      <a:pt x="183736" y="65355"/>
                      <a:pt x="181957" y="61978"/>
                    </a:cubicBezTo>
                    <a:cubicBezTo>
                      <a:pt x="171231" y="41636"/>
                      <a:pt x="156561" y="13766"/>
                      <a:pt x="129001" y="13095"/>
                    </a:cubicBezTo>
                    <a:lnTo>
                      <a:pt x="129001" y="13095"/>
                    </a:lnTo>
                    <a:cubicBezTo>
                      <a:pt x="97160" y="12528"/>
                      <a:pt x="46627" y="39677"/>
                      <a:pt x="20562" y="62133"/>
                    </a:cubicBezTo>
                    <a:close/>
                  </a:path>
                </a:pathLst>
              </a:custGeom>
              <a:solidFill>
                <a:schemeClr val="tx2"/>
              </a:solidFill>
              <a:ln w="2573" cap="flat">
                <a:noFill/>
                <a:prstDash val="solid"/>
                <a:miter/>
              </a:ln>
            </p:spPr>
            <p:txBody>
              <a:bodyPr rtlCol="0" anchor="ctr"/>
              <a:lstStyle/>
              <a:p>
                <a:endParaRPr lang="en-GB" dirty="0"/>
              </a:p>
            </p:txBody>
          </p:sp>
          <p:sp>
            <p:nvSpPr>
              <p:cNvPr id="445" name="Freihandform: Form 1042">
                <a:extLst>
                  <a:ext uri="{FF2B5EF4-FFF2-40B4-BE49-F238E27FC236}">
                    <a16:creationId xmlns:a16="http://schemas.microsoft.com/office/drawing/2014/main" id="{C2B435E2-2A59-4030-AE03-3411CBF10B18}"/>
                  </a:ext>
                </a:extLst>
              </p:cNvPr>
              <p:cNvSpPr/>
              <p:nvPr/>
            </p:nvSpPr>
            <p:spPr>
              <a:xfrm>
                <a:off x="6402424" y="2764030"/>
                <a:ext cx="208788" cy="107352"/>
              </a:xfrm>
              <a:custGeom>
                <a:avLst/>
                <a:gdLst>
                  <a:gd name="connsiteX0" fmla="*/ 168666 w 208788"/>
                  <a:gd name="connsiteY0" fmla="*/ 107352 h 107352"/>
                  <a:gd name="connsiteX1" fmla="*/ 6549 w 208788"/>
                  <a:gd name="connsiteY1" fmla="*/ 107352 h 107352"/>
                  <a:gd name="connsiteX2" fmla="*/ 0 w 208788"/>
                  <a:gd name="connsiteY2" fmla="*/ 100804 h 107352"/>
                  <a:gd name="connsiteX3" fmla="*/ 6549 w 208788"/>
                  <a:gd name="connsiteY3" fmla="*/ 94255 h 107352"/>
                  <a:gd name="connsiteX4" fmla="*/ 168666 w 208788"/>
                  <a:gd name="connsiteY4" fmla="*/ 94255 h 107352"/>
                  <a:gd name="connsiteX5" fmla="*/ 192669 w 208788"/>
                  <a:gd name="connsiteY5" fmla="*/ 79611 h 107352"/>
                  <a:gd name="connsiteX6" fmla="*/ 190606 w 208788"/>
                  <a:gd name="connsiteY6" fmla="*/ 51586 h 107352"/>
                  <a:gd name="connsiteX7" fmla="*/ 161060 w 208788"/>
                  <a:gd name="connsiteY7" fmla="*/ 10386 h 107352"/>
                  <a:gd name="connsiteX8" fmla="*/ 162555 w 208788"/>
                  <a:gd name="connsiteY8" fmla="*/ 1234 h 107352"/>
                  <a:gd name="connsiteX9" fmla="*/ 171708 w 208788"/>
                  <a:gd name="connsiteY9" fmla="*/ 2729 h 107352"/>
                  <a:gd name="connsiteX10" fmla="*/ 201254 w 208788"/>
                  <a:gd name="connsiteY10" fmla="*/ 43929 h 107352"/>
                  <a:gd name="connsiteX11" fmla="*/ 204348 w 208788"/>
                  <a:gd name="connsiteY11" fmla="*/ 85592 h 107352"/>
                  <a:gd name="connsiteX12" fmla="*/ 168666 w 208788"/>
                  <a:gd name="connsiteY12" fmla="*/ 107352 h 107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788" h="107352">
                    <a:moveTo>
                      <a:pt x="168666" y="107352"/>
                    </a:moveTo>
                    <a:lnTo>
                      <a:pt x="6549" y="107352"/>
                    </a:lnTo>
                    <a:cubicBezTo>
                      <a:pt x="2939" y="107352"/>
                      <a:pt x="0" y="104413"/>
                      <a:pt x="0" y="100804"/>
                    </a:cubicBezTo>
                    <a:cubicBezTo>
                      <a:pt x="0" y="97194"/>
                      <a:pt x="2939" y="94255"/>
                      <a:pt x="6549" y="94255"/>
                    </a:cubicBezTo>
                    <a:lnTo>
                      <a:pt x="168666" y="94255"/>
                    </a:lnTo>
                    <a:cubicBezTo>
                      <a:pt x="178978" y="94255"/>
                      <a:pt x="187951" y="88789"/>
                      <a:pt x="192669" y="79611"/>
                    </a:cubicBezTo>
                    <a:cubicBezTo>
                      <a:pt x="197387" y="70432"/>
                      <a:pt x="196613" y="59965"/>
                      <a:pt x="190606" y="51586"/>
                    </a:cubicBezTo>
                    <a:lnTo>
                      <a:pt x="161060" y="10386"/>
                    </a:lnTo>
                    <a:cubicBezTo>
                      <a:pt x="158946" y="7447"/>
                      <a:pt x="159616" y="3348"/>
                      <a:pt x="162555" y="1234"/>
                    </a:cubicBezTo>
                    <a:cubicBezTo>
                      <a:pt x="165494" y="-880"/>
                      <a:pt x="169594" y="-210"/>
                      <a:pt x="171708" y="2729"/>
                    </a:cubicBezTo>
                    <a:lnTo>
                      <a:pt x="201254" y="43929"/>
                    </a:lnTo>
                    <a:cubicBezTo>
                      <a:pt x="210046" y="56201"/>
                      <a:pt x="211232" y="72160"/>
                      <a:pt x="204348" y="85592"/>
                    </a:cubicBezTo>
                    <a:cubicBezTo>
                      <a:pt x="197412" y="98999"/>
                      <a:pt x="183748" y="107352"/>
                      <a:pt x="168666" y="107352"/>
                    </a:cubicBezTo>
                    <a:close/>
                  </a:path>
                </a:pathLst>
              </a:custGeom>
              <a:solidFill>
                <a:schemeClr val="tx2"/>
              </a:solidFill>
              <a:ln w="2573" cap="flat">
                <a:noFill/>
                <a:prstDash val="solid"/>
                <a:miter/>
              </a:ln>
            </p:spPr>
            <p:txBody>
              <a:bodyPr rtlCol="0" anchor="ctr"/>
              <a:lstStyle/>
              <a:p>
                <a:endParaRPr lang="en-GB" dirty="0"/>
              </a:p>
            </p:txBody>
          </p:sp>
          <p:sp>
            <p:nvSpPr>
              <p:cNvPr id="446" name="Freihandform: Form 1044">
                <a:extLst>
                  <a:ext uri="{FF2B5EF4-FFF2-40B4-BE49-F238E27FC236}">
                    <a16:creationId xmlns:a16="http://schemas.microsoft.com/office/drawing/2014/main" id="{59494F8D-4614-407B-B2AD-E418B108C130}"/>
                  </a:ext>
                </a:extLst>
              </p:cNvPr>
              <p:cNvSpPr/>
              <p:nvPr/>
            </p:nvSpPr>
            <p:spPr>
              <a:xfrm>
                <a:off x="6129728" y="2617880"/>
                <a:ext cx="138662" cy="175666"/>
              </a:xfrm>
              <a:custGeom>
                <a:avLst/>
                <a:gdLst>
                  <a:gd name="connsiteX0" fmla="*/ 53084 w 138662"/>
                  <a:gd name="connsiteY0" fmla="*/ 175666 h 175666"/>
                  <a:gd name="connsiteX1" fmla="*/ 43107 w 138662"/>
                  <a:gd name="connsiteY1" fmla="*/ 175537 h 175666"/>
                  <a:gd name="connsiteX2" fmla="*/ 29906 w 138662"/>
                  <a:gd name="connsiteY2" fmla="*/ 175563 h 175666"/>
                  <a:gd name="connsiteX3" fmla="*/ 24054 w 138662"/>
                  <a:gd name="connsiteY3" fmla="*/ 172650 h 175666"/>
                  <a:gd name="connsiteX4" fmla="*/ 9152 w 138662"/>
                  <a:gd name="connsiteY4" fmla="*/ 79964 h 175666"/>
                  <a:gd name="connsiteX5" fmla="*/ 59401 w 138662"/>
                  <a:gd name="connsiteY5" fmla="*/ 44565 h 175666"/>
                  <a:gd name="connsiteX6" fmla="*/ 118442 w 138662"/>
                  <a:gd name="connsiteY6" fmla="*/ 2953 h 175666"/>
                  <a:gd name="connsiteX7" fmla="*/ 124732 w 138662"/>
                  <a:gd name="connsiteY7" fmla="*/ 65 h 175666"/>
                  <a:gd name="connsiteX8" fmla="*/ 130095 w 138662"/>
                  <a:gd name="connsiteY8" fmla="*/ 4448 h 175666"/>
                  <a:gd name="connsiteX9" fmla="*/ 123031 w 138662"/>
                  <a:gd name="connsiteY9" fmla="*/ 146146 h 175666"/>
                  <a:gd name="connsiteX10" fmla="*/ 123031 w 138662"/>
                  <a:gd name="connsiteY10" fmla="*/ 146146 h 175666"/>
                  <a:gd name="connsiteX11" fmla="*/ 53084 w 138662"/>
                  <a:gd name="connsiteY11" fmla="*/ 175666 h 175666"/>
                  <a:gd name="connsiteX12" fmla="*/ 35449 w 138662"/>
                  <a:gd name="connsiteY12" fmla="*/ 162337 h 175666"/>
                  <a:gd name="connsiteX13" fmla="*/ 43339 w 138662"/>
                  <a:gd name="connsiteY13" fmla="*/ 162440 h 175666"/>
                  <a:gd name="connsiteX14" fmla="*/ 111687 w 138662"/>
                  <a:gd name="connsiteY14" fmla="*/ 139571 h 175666"/>
                  <a:gd name="connsiteX15" fmla="*/ 120968 w 138662"/>
                  <a:gd name="connsiteY15" fmla="*/ 20949 h 175666"/>
                  <a:gd name="connsiteX16" fmla="*/ 64738 w 138662"/>
                  <a:gd name="connsiteY16" fmla="*/ 56553 h 175666"/>
                  <a:gd name="connsiteX17" fmla="*/ 20470 w 138662"/>
                  <a:gd name="connsiteY17" fmla="*/ 86590 h 175666"/>
                  <a:gd name="connsiteX18" fmla="*/ 32949 w 138662"/>
                  <a:gd name="connsiteY18" fmla="*/ 162363 h 175666"/>
                  <a:gd name="connsiteX19" fmla="*/ 35449 w 138662"/>
                  <a:gd name="connsiteY19" fmla="*/ 162337 h 175666"/>
                  <a:gd name="connsiteX20" fmla="*/ 117359 w 138662"/>
                  <a:gd name="connsiteY20" fmla="*/ 142872 h 175666"/>
                  <a:gd name="connsiteX21" fmla="*/ 117410 w 138662"/>
                  <a:gd name="connsiteY21" fmla="*/ 142872 h 175666"/>
                  <a:gd name="connsiteX22" fmla="*/ 117359 w 138662"/>
                  <a:gd name="connsiteY22" fmla="*/ 142872 h 175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8662" h="175666">
                    <a:moveTo>
                      <a:pt x="53084" y="175666"/>
                    </a:moveTo>
                    <a:cubicBezTo>
                      <a:pt x="49604" y="175666"/>
                      <a:pt x="46252" y="175615"/>
                      <a:pt x="43107" y="175537"/>
                    </a:cubicBezTo>
                    <a:cubicBezTo>
                      <a:pt x="37924" y="175434"/>
                      <a:pt x="33464" y="175357"/>
                      <a:pt x="29906" y="175563"/>
                    </a:cubicBezTo>
                    <a:cubicBezTo>
                      <a:pt x="27560" y="175718"/>
                      <a:pt x="25343" y="174583"/>
                      <a:pt x="24054" y="172650"/>
                    </a:cubicBezTo>
                    <a:cubicBezTo>
                      <a:pt x="9435" y="150683"/>
                      <a:pt x="-12634" y="117476"/>
                      <a:pt x="9152" y="79964"/>
                    </a:cubicBezTo>
                    <a:cubicBezTo>
                      <a:pt x="19310" y="62483"/>
                      <a:pt x="38775" y="53769"/>
                      <a:pt x="59401" y="44565"/>
                    </a:cubicBezTo>
                    <a:cubicBezTo>
                      <a:pt x="81393" y="34716"/>
                      <a:pt x="104133" y="24558"/>
                      <a:pt x="118442" y="2953"/>
                    </a:cubicBezTo>
                    <a:cubicBezTo>
                      <a:pt x="119834" y="865"/>
                      <a:pt x="122231" y="-296"/>
                      <a:pt x="124732" y="65"/>
                    </a:cubicBezTo>
                    <a:cubicBezTo>
                      <a:pt x="127207" y="375"/>
                      <a:pt x="129296" y="2076"/>
                      <a:pt x="130095" y="4448"/>
                    </a:cubicBezTo>
                    <a:cubicBezTo>
                      <a:pt x="141207" y="36908"/>
                      <a:pt x="144043" y="109974"/>
                      <a:pt x="123031" y="146146"/>
                    </a:cubicBezTo>
                    <a:lnTo>
                      <a:pt x="123031" y="146146"/>
                    </a:lnTo>
                    <a:cubicBezTo>
                      <a:pt x="107562" y="172804"/>
                      <a:pt x="77062" y="175666"/>
                      <a:pt x="53084" y="175666"/>
                    </a:cubicBezTo>
                    <a:close/>
                    <a:moveTo>
                      <a:pt x="35449" y="162337"/>
                    </a:moveTo>
                    <a:cubicBezTo>
                      <a:pt x="37873" y="162337"/>
                      <a:pt x="40503" y="162389"/>
                      <a:pt x="43339" y="162440"/>
                    </a:cubicBezTo>
                    <a:cubicBezTo>
                      <a:pt x="66336" y="162878"/>
                      <a:pt x="97842" y="163420"/>
                      <a:pt x="111687" y="139571"/>
                    </a:cubicBezTo>
                    <a:cubicBezTo>
                      <a:pt x="127749" y="111933"/>
                      <a:pt x="128084" y="54620"/>
                      <a:pt x="120968" y="20949"/>
                    </a:cubicBezTo>
                    <a:cubicBezTo>
                      <a:pt x="104958" y="38558"/>
                      <a:pt x="83765" y="48020"/>
                      <a:pt x="64738" y="56553"/>
                    </a:cubicBezTo>
                    <a:cubicBezTo>
                      <a:pt x="45298" y="65242"/>
                      <a:pt x="28514" y="72770"/>
                      <a:pt x="20470" y="86590"/>
                    </a:cubicBezTo>
                    <a:cubicBezTo>
                      <a:pt x="4743" y="113661"/>
                      <a:pt x="16371" y="137071"/>
                      <a:pt x="32949" y="162363"/>
                    </a:cubicBezTo>
                    <a:cubicBezTo>
                      <a:pt x="33774" y="162363"/>
                      <a:pt x="34599" y="162337"/>
                      <a:pt x="35449" y="162337"/>
                    </a:cubicBezTo>
                    <a:close/>
                    <a:moveTo>
                      <a:pt x="117359" y="142872"/>
                    </a:moveTo>
                    <a:lnTo>
                      <a:pt x="117410" y="142872"/>
                    </a:lnTo>
                    <a:lnTo>
                      <a:pt x="117359" y="142872"/>
                    </a:lnTo>
                    <a:close/>
                  </a:path>
                </a:pathLst>
              </a:custGeom>
              <a:solidFill>
                <a:schemeClr val="tx2"/>
              </a:solidFill>
              <a:ln w="2573" cap="flat">
                <a:noFill/>
                <a:prstDash val="solid"/>
                <a:miter/>
              </a:ln>
            </p:spPr>
            <p:txBody>
              <a:bodyPr rtlCol="0" anchor="ctr"/>
              <a:lstStyle/>
              <a:p>
                <a:endParaRPr lang="en-GB" dirty="0"/>
              </a:p>
            </p:txBody>
          </p:sp>
          <p:sp>
            <p:nvSpPr>
              <p:cNvPr id="447" name="Freihandform: Form 1045">
                <a:extLst>
                  <a:ext uri="{FF2B5EF4-FFF2-40B4-BE49-F238E27FC236}">
                    <a16:creationId xmlns:a16="http://schemas.microsoft.com/office/drawing/2014/main" id="{110F0303-143C-4B3A-8738-FE549FEEA8FB}"/>
                  </a:ext>
                </a:extLst>
              </p:cNvPr>
              <p:cNvSpPr/>
              <p:nvPr/>
            </p:nvSpPr>
            <p:spPr>
              <a:xfrm>
                <a:off x="6125098" y="2696624"/>
                <a:ext cx="100818" cy="179681"/>
              </a:xfrm>
              <a:custGeom>
                <a:avLst/>
                <a:gdLst>
                  <a:gd name="connsiteX0" fmla="*/ 92159 w 100818"/>
                  <a:gd name="connsiteY0" fmla="*/ 179682 h 179681"/>
                  <a:gd name="connsiteX1" fmla="*/ 40105 w 100818"/>
                  <a:gd name="connsiteY1" fmla="*/ 179682 h 179681"/>
                  <a:gd name="connsiteX2" fmla="*/ 4449 w 100818"/>
                  <a:gd name="connsiteY2" fmla="*/ 157922 h 179681"/>
                  <a:gd name="connsiteX3" fmla="*/ 7543 w 100818"/>
                  <a:gd name="connsiteY3" fmla="*/ 116258 h 179681"/>
                  <a:gd name="connsiteX4" fmla="*/ 88936 w 100818"/>
                  <a:gd name="connsiteY4" fmla="*/ 2740 h 179681"/>
                  <a:gd name="connsiteX5" fmla="*/ 98089 w 100818"/>
                  <a:gd name="connsiteY5" fmla="*/ 1245 h 179681"/>
                  <a:gd name="connsiteX6" fmla="*/ 99584 w 100818"/>
                  <a:gd name="connsiteY6" fmla="*/ 10397 h 179681"/>
                  <a:gd name="connsiteX7" fmla="*/ 18191 w 100818"/>
                  <a:gd name="connsiteY7" fmla="*/ 123915 h 179681"/>
                  <a:gd name="connsiteX8" fmla="*/ 16128 w 100818"/>
                  <a:gd name="connsiteY8" fmla="*/ 151940 h 179681"/>
                  <a:gd name="connsiteX9" fmla="*/ 40105 w 100818"/>
                  <a:gd name="connsiteY9" fmla="*/ 166585 h 179681"/>
                  <a:gd name="connsiteX10" fmla="*/ 92159 w 100818"/>
                  <a:gd name="connsiteY10" fmla="*/ 166585 h 179681"/>
                  <a:gd name="connsiteX11" fmla="*/ 98708 w 100818"/>
                  <a:gd name="connsiteY11" fmla="*/ 173133 h 179681"/>
                  <a:gd name="connsiteX12" fmla="*/ 92159 w 100818"/>
                  <a:gd name="connsiteY12" fmla="*/ 179682 h 179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818" h="179681">
                    <a:moveTo>
                      <a:pt x="92159" y="179682"/>
                    </a:moveTo>
                    <a:lnTo>
                      <a:pt x="40105" y="179682"/>
                    </a:lnTo>
                    <a:cubicBezTo>
                      <a:pt x="25023" y="179682"/>
                      <a:pt x="11359" y="171329"/>
                      <a:pt x="4449" y="157922"/>
                    </a:cubicBezTo>
                    <a:cubicBezTo>
                      <a:pt x="-2435" y="144490"/>
                      <a:pt x="-1275" y="128530"/>
                      <a:pt x="7543" y="116258"/>
                    </a:cubicBezTo>
                    <a:lnTo>
                      <a:pt x="88936" y="2740"/>
                    </a:lnTo>
                    <a:cubicBezTo>
                      <a:pt x="91051" y="-199"/>
                      <a:pt x="95124" y="-895"/>
                      <a:pt x="98089" y="1245"/>
                    </a:cubicBezTo>
                    <a:cubicBezTo>
                      <a:pt x="101028" y="3359"/>
                      <a:pt x="101699" y="7458"/>
                      <a:pt x="99584" y="10397"/>
                    </a:cubicBezTo>
                    <a:lnTo>
                      <a:pt x="18191" y="123915"/>
                    </a:lnTo>
                    <a:cubicBezTo>
                      <a:pt x="12184" y="132295"/>
                      <a:pt x="11410" y="142788"/>
                      <a:pt x="16128" y="151940"/>
                    </a:cubicBezTo>
                    <a:cubicBezTo>
                      <a:pt x="20846" y="161119"/>
                      <a:pt x="29818" y="166585"/>
                      <a:pt x="40105" y="166585"/>
                    </a:cubicBezTo>
                    <a:lnTo>
                      <a:pt x="92159" y="166585"/>
                    </a:lnTo>
                    <a:cubicBezTo>
                      <a:pt x="95769" y="166585"/>
                      <a:pt x="98708" y="169524"/>
                      <a:pt x="98708" y="173133"/>
                    </a:cubicBezTo>
                    <a:cubicBezTo>
                      <a:pt x="98708" y="176743"/>
                      <a:pt x="95794" y="179682"/>
                      <a:pt x="92159" y="179682"/>
                    </a:cubicBezTo>
                    <a:close/>
                  </a:path>
                </a:pathLst>
              </a:custGeom>
              <a:solidFill>
                <a:schemeClr val="tx2"/>
              </a:solidFill>
              <a:ln w="2573" cap="flat">
                <a:noFill/>
                <a:prstDash val="solid"/>
                <a:miter/>
              </a:ln>
            </p:spPr>
            <p:txBody>
              <a:bodyPr rtlCol="0" anchor="ctr"/>
              <a:lstStyle/>
              <a:p>
                <a:endParaRPr lang="en-GB" dirty="0"/>
              </a:p>
            </p:txBody>
          </p:sp>
        </p:grpSp>
      </p:grpSp>
      <p:grpSp>
        <p:nvGrpSpPr>
          <p:cNvPr id="687" name="Group 686">
            <a:extLst>
              <a:ext uri="{FF2B5EF4-FFF2-40B4-BE49-F238E27FC236}">
                <a16:creationId xmlns:a16="http://schemas.microsoft.com/office/drawing/2014/main" id="{E8B9C456-CC4F-4645-B5CB-5D4B3C674351}"/>
              </a:ext>
            </a:extLst>
          </p:cNvPr>
          <p:cNvGrpSpPr/>
          <p:nvPr/>
        </p:nvGrpSpPr>
        <p:grpSpPr>
          <a:xfrm>
            <a:off x="4993667" y="2391526"/>
            <a:ext cx="371965" cy="432000"/>
            <a:chOff x="4993255" y="2391526"/>
            <a:chExt cx="371965" cy="432000"/>
          </a:xfrm>
        </p:grpSpPr>
        <p:grpSp>
          <p:nvGrpSpPr>
            <p:cNvPr id="452" name="Group 451">
              <a:extLst>
                <a:ext uri="{FF2B5EF4-FFF2-40B4-BE49-F238E27FC236}">
                  <a16:creationId xmlns:a16="http://schemas.microsoft.com/office/drawing/2014/main" id="{F61882F1-B81E-4BF2-B88D-2A6C0586F28E}"/>
                </a:ext>
              </a:extLst>
            </p:cNvPr>
            <p:cNvGrpSpPr/>
            <p:nvPr/>
          </p:nvGrpSpPr>
          <p:grpSpPr>
            <a:xfrm>
              <a:off x="4993255" y="2408419"/>
              <a:ext cx="371965" cy="415107"/>
              <a:chOff x="7810918" y="2439457"/>
              <a:chExt cx="432570" cy="482741"/>
            </a:xfrm>
          </p:grpSpPr>
          <p:sp>
            <p:nvSpPr>
              <p:cNvPr id="461" name="Freihandform: Form 937">
                <a:extLst>
                  <a:ext uri="{FF2B5EF4-FFF2-40B4-BE49-F238E27FC236}">
                    <a16:creationId xmlns:a16="http://schemas.microsoft.com/office/drawing/2014/main" id="{D44DB468-1196-4778-AD9B-B5D610645F50}"/>
                  </a:ext>
                </a:extLst>
              </p:cNvPr>
              <p:cNvSpPr/>
              <p:nvPr/>
            </p:nvSpPr>
            <p:spPr>
              <a:xfrm>
                <a:off x="7810918" y="2439457"/>
                <a:ext cx="157295" cy="13097"/>
              </a:xfrm>
              <a:custGeom>
                <a:avLst/>
                <a:gdLst>
                  <a:gd name="connsiteX0" fmla="*/ 150747 w 157295"/>
                  <a:gd name="connsiteY0" fmla="*/ 13097 h 13097"/>
                  <a:gd name="connsiteX1" fmla="*/ 6549 w 157295"/>
                  <a:gd name="connsiteY1" fmla="*/ 13097 h 13097"/>
                  <a:gd name="connsiteX2" fmla="*/ 0 w 157295"/>
                  <a:gd name="connsiteY2" fmla="*/ 6549 h 13097"/>
                  <a:gd name="connsiteX3" fmla="*/ 6549 w 157295"/>
                  <a:gd name="connsiteY3" fmla="*/ 0 h 13097"/>
                  <a:gd name="connsiteX4" fmla="*/ 150747 w 157295"/>
                  <a:gd name="connsiteY4" fmla="*/ 0 h 13097"/>
                  <a:gd name="connsiteX5" fmla="*/ 157296 w 157295"/>
                  <a:gd name="connsiteY5" fmla="*/ 6549 h 13097"/>
                  <a:gd name="connsiteX6" fmla="*/ 150747 w 157295"/>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295" h="13097">
                    <a:moveTo>
                      <a:pt x="150747" y="13097"/>
                    </a:moveTo>
                    <a:lnTo>
                      <a:pt x="6549" y="13097"/>
                    </a:lnTo>
                    <a:cubicBezTo>
                      <a:pt x="2913" y="13097"/>
                      <a:pt x="0" y="10158"/>
                      <a:pt x="0" y="6549"/>
                    </a:cubicBezTo>
                    <a:cubicBezTo>
                      <a:pt x="0" y="2939"/>
                      <a:pt x="2939" y="0"/>
                      <a:pt x="6549" y="0"/>
                    </a:cubicBezTo>
                    <a:lnTo>
                      <a:pt x="150747" y="0"/>
                    </a:lnTo>
                    <a:cubicBezTo>
                      <a:pt x="154357" y="0"/>
                      <a:pt x="157296" y="2939"/>
                      <a:pt x="157296" y="6549"/>
                    </a:cubicBezTo>
                    <a:cubicBezTo>
                      <a:pt x="157322" y="10158"/>
                      <a:pt x="154382" y="13097"/>
                      <a:pt x="150747" y="13097"/>
                    </a:cubicBezTo>
                    <a:close/>
                  </a:path>
                </a:pathLst>
              </a:custGeom>
              <a:solidFill>
                <a:schemeClr val="tx2"/>
              </a:solidFill>
              <a:ln w="2573" cap="flat">
                <a:noFill/>
                <a:prstDash val="solid"/>
                <a:miter/>
              </a:ln>
            </p:spPr>
            <p:txBody>
              <a:bodyPr rtlCol="0" anchor="ctr"/>
              <a:lstStyle/>
              <a:p>
                <a:endParaRPr lang="en-GB" dirty="0"/>
              </a:p>
            </p:txBody>
          </p:sp>
          <p:sp>
            <p:nvSpPr>
              <p:cNvPr id="462" name="Freihandform: Form 938">
                <a:extLst>
                  <a:ext uri="{FF2B5EF4-FFF2-40B4-BE49-F238E27FC236}">
                    <a16:creationId xmlns:a16="http://schemas.microsoft.com/office/drawing/2014/main" id="{FC2292A6-6670-448C-8E11-2618290464BE}"/>
                  </a:ext>
                </a:extLst>
              </p:cNvPr>
              <p:cNvSpPr/>
              <p:nvPr/>
            </p:nvSpPr>
            <p:spPr>
              <a:xfrm>
                <a:off x="8086192" y="2439457"/>
                <a:ext cx="157295" cy="209710"/>
              </a:xfrm>
              <a:custGeom>
                <a:avLst/>
                <a:gdLst>
                  <a:gd name="connsiteX0" fmla="*/ 117978 w 157295"/>
                  <a:gd name="connsiteY0" fmla="*/ 209711 h 209710"/>
                  <a:gd name="connsiteX1" fmla="*/ 6549 w 157295"/>
                  <a:gd name="connsiteY1" fmla="*/ 209711 h 209710"/>
                  <a:gd name="connsiteX2" fmla="*/ 0 w 157295"/>
                  <a:gd name="connsiteY2" fmla="*/ 203162 h 209710"/>
                  <a:gd name="connsiteX3" fmla="*/ 6549 w 157295"/>
                  <a:gd name="connsiteY3" fmla="*/ 196613 h 209710"/>
                  <a:gd name="connsiteX4" fmla="*/ 117978 w 157295"/>
                  <a:gd name="connsiteY4" fmla="*/ 196613 h 209710"/>
                  <a:gd name="connsiteX5" fmla="*/ 144199 w 157295"/>
                  <a:gd name="connsiteY5" fmla="*/ 170393 h 209710"/>
                  <a:gd name="connsiteX6" fmla="*/ 144199 w 157295"/>
                  <a:gd name="connsiteY6" fmla="*/ 39317 h 209710"/>
                  <a:gd name="connsiteX7" fmla="*/ 117978 w 157295"/>
                  <a:gd name="connsiteY7" fmla="*/ 13097 h 209710"/>
                  <a:gd name="connsiteX8" fmla="*/ 6549 w 157295"/>
                  <a:gd name="connsiteY8" fmla="*/ 13097 h 209710"/>
                  <a:gd name="connsiteX9" fmla="*/ 0 w 157295"/>
                  <a:gd name="connsiteY9" fmla="*/ 6549 h 209710"/>
                  <a:gd name="connsiteX10" fmla="*/ 6549 w 157295"/>
                  <a:gd name="connsiteY10" fmla="*/ 0 h 209710"/>
                  <a:gd name="connsiteX11" fmla="*/ 117978 w 157295"/>
                  <a:gd name="connsiteY11" fmla="*/ 0 h 209710"/>
                  <a:gd name="connsiteX12" fmla="*/ 157296 w 157295"/>
                  <a:gd name="connsiteY12" fmla="*/ 39317 h 209710"/>
                  <a:gd name="connsiteX13" fmla="*/ 157296 w 157295"/>
                  <a:gd name="connsiteY13" fmla="*/ 170393 h 209710"/>
                  <a:gd name="connsiteX14" fmla="*/ 117978 w 157295"/>
                  <a:gd name="connsiteY14" fmla="*/ 209711 h 2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295" h="209710">
                    <a:moveTo>
                      <a:pt x="117978" y="209711"/>
                    </a:moveTo>
                    <a:lnTo>
                      <a:pt x="6549" y="209711"/>
                    </a:lnTo>
                    <a:cubicBezTo>
                      <a:pt x="2913" y="209711"/>
                      <a:pt x="0" y="206771"/>
                      <a:pt x="0" y="203162"/>
                    </a:cubicBezTo>
                    <a:cubicBezTo>
                      <a:pt x="0" y="199552"/>
                      <a:pt x="2939" y="196613"/>
                      <a:pt x="6549" y="196613"/>
                    </a:cubicBezTo>
                    <a:lnTo>
                      <a:pt x="117978" y="196613"/>
                    </a:lnTo>
                    <a:cubicBezTo>
                      <a:pt x="132442" y="196613"/>
                      <a:pt x="144199" y="184857"/>
                      <a:pt x="144199" y="170393"/>
                    </a:cubicBezTo>
                    <a:lnTo>
                      <a:pt x="144199" y="39317"/>
                    </a:lnTo>
                    <a:cubicBezTo>
                      <a:pt x="144199" y="24854"/>
                      <a:pt x="132442" y="13097"/>
                      <a:pt x="117978" y="13097"/>
                    </a:cubicBezTo>
                    <a:lnTo>
                      <a:pt x="6549" y="13097"/>
                    </a:lnTo>
                    <a:cubicBezTo>
                      <a:pt x="2913" y="13097"/>
                      <a:pt x="0" y="10158"/>
                      <a:pt x="0" y="6549"/>
                    </a:cubicBezTo>
                    <a:cubicBezTo>
                      <a:pt x="0" y="2939"/>
                      <a:pt x="2939" y="0"/>
                      <a:pt x="6549" y="0"/>
                    </a:cubicBezTo>
                    <a:lnTo>
                      <a:pt x="117978" y="0"/>
                    </a:lnTo>
                    <a:cubicBezTo>
                      <a:pt x="139661" y="0"/>
                      <a:pt x="157296" y="17635"/>
                      <a:pt x="157296" y="39317"/>
                    </a:cubicBezTo>
                    <a:lnTo>
                      <a:pt x="157296" y="170393"/>
                    </a:lnTo>
                    <a:cubicBezTo>
                      <a:pt x="157296" y="192076"/>
                      <a:pt x="139661" y="209711"/>
                      <a:pt x="117978" y="209711"/>
                    </a:cubicBezTo>
                    <a:close/>
                  </a:path>
                </a:pathLst>
              </a:custGeom>
              <a:solidFill>
                <a:schemeClr val="tx2"/>
              </a:solidFill>
              <a:ln w="2573" cap="flat">
                <a:noFill/>
                <a:prstDash val="solid"/>
                <a:miter/>
              </a:ln>
            </p:spPr>
            <p:txBody>
              <a:bodyPr rtlCol="0" anchor="ctr"/>
              <a:lstStyle/>
              <a:p>
                <a:endParaRPr lang="en-GB" dirty="0"/>
              </a:p>
            </p:txBody>
          </p:sp>
          <p:sp>
            <p:nvSpPr>
              <p:cNvPr id="463" name="Freihandform: Form 939">
                <a:extLst>
                  <a:ext uri="{FF2B5EF4-FFF2-40B4-BE49-F238E27FC236}">
                    <a16:creationId xmlns:a16="http://schemas.microsoft.com/office/drawing/2014/main" id="{B39B7A97-DB02-4AB6-9019-5FC05059D090}"/>
                  </a:ext>
                </a:extLst>
              </p:cNvPr>
              <p:cNvSpPr/>
              <p:nvPr/>
            </p:nvSpPr>
            <p:spPr>
              <a:xfrm>
                <a:off x="7863359" y="2636070"/>
                <a:ext cx="124501" cy="98306"/>
              </a:xfrm>
              <a:custGeom>
                <a:avLst/>
                <a:gdLst>
                  <a:gd name="connsiteX0" fmla="*/ 117978 w 124501"/>
                  <a:gd name="connsiteY0" fmla="*/ 98307 h 98306"/>
                  <a:gd name="connsiteX1" fmla="*/ 6548 w 124501"/>
                  <a:gd name="connsiteY1" fmla="*/ 98307 h 98306"/>
                  <a:gd name="connsiteX2" fmla="*/ 0 w 124501"/>
                  <a:gd name="connsiteY2" fmla="*/ 91758 h 98306"/>
                  <a:gd name="connsiteX3" fmla="*/ 0 w 124501"/>
                  <a:gd name="connsiteY3" fmla="*/ 6549 h 98306"/>
                  <a:gd name="connsiteX4" fmla="*/ 6548 w 124501"/>
                  <a:gd name="connsiteY4" fmla="*/ 0 h 98306"/>
                  <a:gd name="connsiteX5" fmla="*/ 98306 w 124501"/>
                  <a:gd name="connsiteY5" fmla="*/ 0 h 98306"/>
                  <a:gd name="connsiteX6" fmla="*/ 104855 w 124501"/>
                  <a:gd name="connsiteY6" fmla="*/ 6549 h 98306"/>
                  <a:gd name="connsiteX7" fmla="*/ 98306 w 124501"/>
                  <a:gd name="connsiteY7" fmla="*/ 13097 h 98306"/>
                  <a:gd name="connsiteX8" fmla="*/ 13097 w 124501"/>
                  <a:gd name="connsiteY8" fmla="*/ 13097 h 98306"/>
                  <a:gd name="connsiteX9" fmla="*/ 13097 w 124501"/>
                  <a:gd name="connsiteY9" fmla="*/ 85184 h 98306"/>
                  <a:gd name="connsiteX10" fmla="*/ 117953 w 124501"/>
                  <a:gd name="connsiteY10" fmla="*/ 85184 h 98306"/>
                  <a:gd name="connsiteX11" fmla="*/ 124501 w 124501"/>
                  <a:gd name="connsiteY11" fmla="*/ 91732 h 98306"/>
                  <a:gd name="connsiteX12" fmla="*/ 117978 w 124501"/>
                  <a:gd name="connsiteY12" fmla="*/ 98307 h 98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4501" h="98306">
                    <a:moveTo>
                      <a:pt x="117978" y="98307"/>
                    </a:moveTo>
                    <a:lnTo>
                      <a:pt x="6548" y="98307"/>
                    </a:lnTo>
                    <a:cubicBezTo>
                      <a:pt x="2913" y="98307"/>
                      <a:pt x="0" y="95367"/>
                      <a:pt x="0" y="91758"/>
                    </a:cubicBezTo>
                    <a:lnTo>
                      <a:pt x="0" y="6549"/>
                    </a:lnTo>
                    <a:cubicBezTo>
                      <a:pt x="0" y="2939"/>
                      <a:pt x="2939" y="0"/>
                      <a:pt x="6548" y="0"/>
                    </a:cubicBezTo>
                    <a:lnTo>
                      <a:pt x="98306" y="0"/>
                    </a:lnTo>
                    <a:cubicBezTo>
                      <a:pt x="101916" y="0"/>
                      <a:pt x="104855" y="2939"/>
                      <a:pt x="104855" y="6549"/>
                    </a:cubicBezTo>
                    <a:cubicBezTo>
                      <a:pt x="104855" y="10158"/>
                      <a:pt x="101916" y="13097"/>
                      <a:pt x="98306" y="13097"/>
                    </a:cubicBezTo>
                    <a:lnTo>
                      <a:pt x="13097" y="13097"/>
                    </a:lnTo>
                    <a:lnTo>
                      <a:pt x="13097" y="85184"/>
                    </a:lnTo>
                    <a:lnTo>
                      <a:pt x="117953" y="85184"/>
                    </a:lnTo>
                    <a:cubicBezTo>
                      <a:pt x="121562" y="85184"/>
                      <a:pt x="124501" y="88123"/>
                      <a:pt x="124501" y="91732"/>
                    </a:cubicBezTo>
                    <a:cubicBezTo>
                      <a:pt x="124527" y="95367"/>
                      <a:pt x="121588" y="98307"/>
                      <a:pt x="117978" y="98307"/>
                    </a:cubicBezTo>
                    <a:close/>
                  </a:path>
                </a:pathLst>
              </a:custGeom>
              <a:solidFill>
                <a:schemeClr val="tx2"/>
              </a:solidFill>
              <a:ln w="2573" cap="flat">
                <a:noFill/>
                <a:prstDash val="solid"/>
                <a:miter/>
              </a:ln>
            </p:spPr>
            <p:txBody>
              <a:bodyPr rtlCol="0" anchor="ctr"/>
              <a:lstStyle/>
              <a:p>
                <a:endParaRPr lang="en-GB" dirty="0"/>
              </a:p>
            </p:txBody>
          </p:sp>
          <p:sp>
            <p:nvSpPr>
              <p:cNvPr id="464" name="Freihandform: Form 940">
                <a:extLst>
                  <a:ext uri="{FF2B5EF4-FFF2-40B4-BE49-F238E27FC236}">
                    <a16:creationId xmlns:a16="http://schemas.microsoft.com/office/drawing/2014/main" id="{16ECA841-A40C-4F09-B65F-9400BE529937}"/>
                  </a:ext>
                </a:extLst>
              </p:cNvPr>
              <p:cNvSpPr/>
              <p:nvPr/>
            </p:nvSpPr>
            <p:spPr>
              <a:xfrm>
                <a:off x="8066547" y="2721279"/>
                <a:ext cx="176941" cy="111403"/>
              </a:xfrm>
              <a:custGeom>
                <a:avLst/>
                <a:gdLst>
                  <a:gd name="connsiteX0" fmla="*/ 170393 w 176941"/>
                  <a:gd name="connsiteY0" fmla="*/ 111404 h 111403"/>
                  <a:gd name="connsiteX1" fmla="*/ 117953 w 176941"/>
                  <a:gd name="connsiteY1" fmla="*/ 111404 h 111403"/>
                  <a:gd name="connsiteX2" fmla="*/ 111404 w 176941"/>
                  <a:gd name="connsiteY2" fmla="*/ 104855 h 111403"/>
                  <a:gd name="connsiteX3" fmla="*/ 111404 w 176941"/>
                  <a:gd name="connsiteY3" fmla="*/ 65538 h 111403"/>
                  <a:gd name="connsiteX4" fmla="*/ 6549 w 176941"/>
                  <a:gd name="connsiteY4" fmla="*/ 65538 h 111403"/>
                  <a:gd name="connsiteX5" fmla="*/ 0 w 176941"/>
                  <a:gd name="connsiteY5" fmla="*/ 58989 h 111403"/>
                  <a:gd name="connsiteX6" fmla="*/ 6549 w 176941"/>
                  <a:gd name="connsiteY6" fmla="*/ 52441 h 111403"/>
                  <a:gd name="connsiteX7" fmla="*/ 117978 w 176941"/>
                  <a:gd name="connsiteY7" fmla="*/ 52441 h 111403"/>
                  <a:gd name="connsiteX8" fmla="*/ 124527 w 176941"/>
                  <a:gd name="connsiteY8" fmla="*/ 58989 h 111403"/>
                  <a:gd name="connsiteX9" fmla="*/ 124527 w 176941"/>
                  <a:gd name="connsiteY9" fmla="*/ 98307 h 111403"/>
                  <a:gd name="connsiteX10" fmla="*/ 163845 w 176941"/>
                  <a:gd name="connsiteY10" fmla="*/ 98307 h 111403"/>
                  <a:gd name="connsiteX11" fmla="*/ 163845 w 176941"/>
                  <a:gd name="connsiteY11" fmla="*/ 39317 h 111403"/>
                  <a:gd name="connsiteX12" fmla="*/ 137624 w 176941"/>
                  <a:gd name="connsiteY12" fmla="*/ 13097 h 111403"/>
                  <a:gd name="connsiteX13" fmla="*/ 6549 w 176941"/>
                  <a:gd name="connsiteY13" fmla="*/ 13097 h 111403"/>
                  <a:gd name="connsiteX14" fmla="*/ 0 w 176941"/>
                  <a:gd name="connsiteY14" fmla="*/ 6549 h 111403"/>
                  <a:gd name="connsiteX15" fmla="*/ 6549 w 176941"/>
                  <a:gd name="connsiteY15" fmla="*/ 0 h 111403"/>
                  <a:gd name="connsiteX16" fmla="*/ 137624 w 176941"/>
                  <a:gd name="connsiteY16" fmla="*/ 0 h 111403"/>
                  <a:gd name="connsiteX17" fmla="*/ 176942 w 176941"/>
                  <a:gd name="connsiteY17" fmla="*/ 39317 h 111403"/>
                  <a:gd name="connsiteX18" fmla="*/ 176942 w 176941"/>
                  <a:gd name="connsiteY18" fmla="*/ 104855 h 111403"/>
                  <a:gd name="connsiteX19" fmla="*/ 170393 w 176941"/>
                  <a:gd name="connsiteY19" fmla="*/ 111404 h 11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6941" h="111403">
                    <a:moveTo>
                      <a:pt x="170393" y="111404"/>
                    </a:moveTo>
                    <a:lnTo>
                      <a:pt x="117953" y="111404"/>
                    </a:lnTo>
                    <a:cubicBezTo>
                      <a:pt x="114317" y="111404"/>
                      <a:pt x="111404" y="108465"/>
                      <a:pt x="111404" y="104855"/>
                    </a:cubicBezTo>
                    <a:lnTo>
                      <a:pt x="111404" y="65538"/>
                    </a:lnTo>
                    <a:lnTo>
                      <a:pt x="6549" y="65538"/>
                    </a:lnTo>
                    <a:cubicBezTo>
                      <a:pt x="2913" y="65538"/>
                      <a:pt x="0" y="62599"/>
                      <a:pt x="0" y="58989"/>
                    </a:cubicBezTo>
                    <a:cubicBezTo>
                      <a:pt x="0" y="55380"/>
                      <a:pt x="2939" y="52441"/>
                      <a:pt x="6549" y="52441"/>
                    </a:cubicBezTo>
                    <a:lnTo>
                      <a:pt x="117978" y="52441"/>
                    </a:lnTo>
                    <a:cubicBezTo>
                      <a:pt x="121614" y="52441"/>
                      <a:pt x="124527" y="55380"/>
                      <a:pt x="124527" y="58989"/>
                    </a:cubicBezTo>
                    <a:lnTo>
                      <a:pt x="124527" y="98307"/>
                    </a:lnTo>
                    <a:lnTo>
                      <a:pt x="163845" y="98307"/>
                    </a:lnTo>
                    <a:lnTo>
                      <a:pt x="163845" y="39317"/>
                    </a:lnTo>
                    <a:cubicBezTo>
                      <a:pt x="163845" y="24854"/>
                      <a:pt x="152088" y="13097"/>
                      <a:pt x="137624" y="13097"/>
                    </a:cubicBezTo>
                    <a:lnTo>
                      <a:pt x="6549" y="13097"/>
                    </a:lnTo>
                    <a:cubicBezTo>
                      <a:pt x="2913" y="13097"/>
                      <a:pt x="0" y="10158"/>
                      <a:pt x="0" y="6549"/>
                    </a:cubicBezTo>
                    <a:cubicBezTo>
                      <a:pt x="0" y="2939"/>
                      <a:pt x="2939" y="0"/>
                      <a:pt x="6549" y="0"/>
                    </a:cubicBezTo>
                    <a:lnTo>
                      <a:pt x="137624" y="0"/>
                    </a:lnTo>
                    <a:cubicBezTo>
                      <a:pt x="159307" y="0"/>
                      <a:pt x="176942" y="17635"/>
                      <a:pt x="176942" y="39317"/>
                    </a:cubicBezTo>
                    <a:lnTo>
                      <a:pt x="176942" y="104855"/>
                    </a:lnTo>
                    <a:cubicBezTo>
                      <a:pt x="176942" y="108465"/>
                      <a:pt x="174028" y="111404"/>
                      <a:pt x="170393" y="111404"/>
                    </a:cubicBezTo>
                    <a:close/>
                  </a:path>
                </a:pathLst>
              </a:custGeom>
              <a:solidFill>
                <a:schemeClr val="tx2"/>
              </a:solidFill>
              <a:ln w="2573" cap="flat">
                <a:noFill/>
                <a:prstDash val="solid"/>
                <a:miter/>
              </a:ln>
            </p:spPr>
            <p:txBody>
              <a:bodyPr rtlCol="0" anchor="ctr"/>
              <a:lstStyle/>
              <a:p>
                <a:endParaRPr lang="en-GB" dirty="0"/>
              </a:p>
            </p:txBody>
          </p:sp>
          <p:sp>
            <p:nvSpPr>
              <p:cNvPr id="465" name="Freihandform: Form 941">
                <a:extLst>
                  <a:ext uri="{FF2B5EF4-FFF2-40B4-BE49-F238E27FC236}">
                    <a16:creationId xmlns:a16="http://schemas.microsoft.com/office/drawing/2014/main" id="{DEC124BB-D12B-44A9-988C-2E1F461C0109}"/>
                  </a:ext>
                </a:extLst>
              </p:cNvPr>
              <p:cNvSpPr/>
              <p:nvPr/>
            </p:nvSpPr>
            <p:spPr>
              <a:xfrm>
                <a:off x="7810944" y="2583655"/>
                <a:ext cx="176941" cy="203161"/>
              </a:xfrm>
              <a:custGeom>
                <a:avLst/>
                <a:gdLst>
                  <a:gd name="connsiteX0" fmla="*/ 170393 w 176941"/>
                  <a:gd name="connsiteY0" fmla="*/ 203162 h 203161"/>
                  <a:gd name="connsiteX1" fmla="*/ 39318 w 176941"/>
                  <a:gd name="connsiteY1" fmla="*/ 203162 h 203161"/>
                  <a:gd name="connsiteX2" fmla="*/ 0 w 176941"/>
                  <a:gd name="connsiteY2" fmla="*/ 163844 h 203161"/>
                  <a:gd name="connsiteX3" fmla="*/ 0 w 176941"/>
                  <a:gd name="connsiteY3" fmla="*/ 39317 h 203161"/>
                  <a:gd name="connsiteX4" fmla="*/ 39318 w 176941"/>
                  <a:gd name="connsiteY4" fmla="*/ 0 h 203161"/>
                  <a:gd name="connsiteX5" fmla="*/ 150747 w 176941"/>
                  <a:gd name="connsiteY5" fmla="*/ 0 h 203161"/>
                  <a:gd name="connsiteX6" fmla="*/ 157296 w 176941"/>
                  <a:gd name="connsiteY6" fmla="*/ 6549 h 203161"/>
                  <a:gd name="connsiteX7" fmla="*/ 150747 w 176941"/>
                  <a:gd name="connsiteY7" fmla="*/ 13097 h 203161"/>
                  <a:gd name="connsiteX8" fmla="*/ 39318 w 176941"/>
                  <a:gd name="connsiteY8" fmla="*/ 13097 h 203161"/>
                  <a:gd name="connsiteX9" fmla="*/ 13097 w 176941"/>
                  <a:gd name="connsiteY9" fmla="*/ 39317 h 203161"/>
                  <a:gd name="connsiteX10" fmla="*/ 13097 w 176941"/>
                  <a:gd name="connsiteY10" fmla="*/ 163844 h 203161"/>
                  <a:gd name="connsiteX11" fmla="*/ 39318 w 176941"/>
                  <a:gd name="connsiteY11" fmla="*/ 190065 h 203161"/>
                  <a:gd name="connsiteX12" fmla="*/ 170393 w 176941"/>
                  <a:gd name="connsiteY12" fmla="*/ 190065 h 203161"/>
                  <a:gd name="connsiteX13" fmla="*/ 176942 w 176941"/>
                  <a:gd name="connsiteY13" fmla="*/ 196613 h 203161"/>
                  <a:gd name="connsiteX14" fmla="*/ 170393 w 176941"/>
                  <a:gd name="connsiteY14" fmla="*/ 203162 h 203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6941" h="203161">
                    <a:moveTo>
                      <a:pt x="170393" y="203162"/>
                    </a:moveTo>
                    <a:lnTo>
                      <a:pt x="39318" y="203162"/>
                    </a:lnTo>
                    <a:cubicBezTo>
                      <a:pt x="17635" y="203162"/>
                      <a:pt x="0" y="185527"/>
                      <a:pt x="0" y="163844"/>
                    </a:cubicBezTo>
                    <a:lnTo>
                      <a:pt x="0" y="39317"/>
                    </a:lnTo>
                    <a:cubicBezTo>
                      <a:pt x="0" y="17635"/>
                      <a:pt x="17635" y="0"/>
                      <a:pt x="39318" y="0"/>
                    </a:cubicBezTo>
                    <a:lnTo>
                      <a:pt x="150747" y="0"/>
                    </a:lnTo>
                    <a:cubicBezTo>
                      <a:pt x="154357" y="0"/>
                      <a:pt x="157296" y="2939"/>
                      <a:pt x="157296" y="6549"/>
                    </a:cubicBezTo>
                    <a:cubicBezTo>
                      <a:pt x="157296" y="10158"/>
                      <a:pt x="154357" y="13097"/>
                      <a:pt x="150747" y="13097"/>
                    </a:cubicBezTo>
                    <a:lnTo>
                      <a:pt x="39318" y="13097"/>
                    </a:lnTo>
                    <a:cubicBezTo>
                      <a:pt x="24854" y="13097"/>
                      <a:pt x="13097" y="24854"/>
                      <a:pt x="13097" y="39317"/>
                    </a:cubicBezTo>
                    <a:lnTo>
                      <a:pt x="13097" y="163844"/>
                    </a:lnTo>
                    <a:cubicBezTo>
                      <a:pt x="13097" y="178308"/>
                      <a:pt x="24854" y="190065"/>
                      <a:pt x="39318" y="190065"/>
                    </a:cubicBezTo>
                    <a:lnTo>
                      <a:pt x="170393" y="190065"/>
                    </a:lnTo>
                    <a:cubicBezTo>
                      <a:pt x="174002" y="190065"/>
                      <a:pt x="176942" y="193004"/>
                      <a:pt x="176942" y="196613"/>
                    </a:cubicBezTo>
                    <a:cubicBezTo>
                      <a:pt x="176942" y="200223"/>
                      <a:pt x="174002" y="203162"/>
                      <a:pt x="170393" y="203162"/>
                    </a:cubicBezTo>
                    <a:close/>
                  </a:path>
                </a:pathLst>
              </a:custGeom>
              <a:solidFill>
                <a:schemeClr val="tx2"/>
              </a:solidFill>
              <a:ln w="2573" cap="flat">
                <a:noFill/>
                <a:prstDash val="solid"/>
                <a:miter/>
              </a:ln>
            </p:spPr>
            <p:txBody>
              <a:bodyPr rtlCol="0" anchor="ctr"/>
              <a:lstStyle/>
              <a:p>
                <a:endParaRPr lang="en-GB" dirty="0"/>
              </a:p>
            </p:txBody>
          </p:sp>
          <p:sp>
            <p:nvSpPr>
              <p:cNvPr id="466" name="Freihandform: Form 942">
                <a:extLst>
                  <a:ext uri="{FF2B5EF4-FFF2-40B4-BE49-F238E27FC236}">
                    <a16:creationId xmlns:a16="http://schemas.microsoft.com/office/drawing/2014/main" id="{C97BC2FE-FFF3-4F15-9803-1EE83DA350B5}"/>
                  </a:ext>
                </a:extLst>
              </p:cNvPr>
              <p:cNvSpPr/>
              <p:nvPr/>
            </p:nvSpPr>
            <p:spPr>
              <a:xfrm>
                <a:off x="8086192" y="2491923"/>
                <a:ext cx="104855" cy="104829"/>
              </a:xfrm>
              <a:custGeom>
                <a:avLst/>
                <a:gdLst>
                  <a:gd name="connsiteX0" fmla="*/ 98307 w 104855"/>
                  <a:gd name="connsiteY0" fmla="*/ 104829 h 104829"/>
                  <a:gd name="connsiteX1" fmla="*/ 6549 w 104855"/>
                  <a:gd name="connsiteY1" fmla="*/ 104829 h 104829"/>
                  <a:gd name="connsiteX2" fmla="*/ 0 w 104855"/>
                  <a:gd name="connsiteY2" fmla="*/ 98281 h 104829"/>
                  <a:gd name="connsiteX3" fmla="*/ 6549 w 104855"/>
                  <a:gd name="connsiteY3" fmla="*/ 91732 h 104829"/>
                  <a:gd name="connsiteX4" fmla="*/ 91758 w 104855"/>
                  <a:gd name="connsiteY4" fmla="*/ 91732 h 104829"/>
                  <a:gd name="connsiteX5" fmla="*/ 91758 w 104855"/>
                  <a:gd name="connsiteY5" fmla="*/ 13097 h 104829"/>
                  <a:gd name="connsiteX6" fmla="*/ 6549 w 104855"/>
                  <a:gd name="connsiteY6" fmla="*/ 13097 h 104829"/>
                  <a:gd name="connsiteX7" fmla="*/ 0 w 104855"/>
                  <a:gd name="connsiteY7" fmla="*/ 6549 h 104829"/>
                  <a:gd name="connsiteX8" fmla="*/ 6549 w 104855"/>
                  <a:gd name="connsiteY8" fmla="*/ 0 h 104829"/>
                  <a:gd name="connsiteX9" fmla="*/ 98307 w 104855"/>
                  <a:gd name="connsiteY9" fmla="*/ 0 h 104829"/>
                  <a:gd name="connsiteX10" fmla="*/ 104855 w 104855"/>
                  <a:gd name="connsiteY10" fmla="*/ 6549 h 104829"/>
                  <a:gd name="connsiteX11" fmla="*/ 104855 w 104855"/>
                  <a:gd name="connsiteY11" fmla="*/ 98307 h 104829"/>
                  <a:gd name="connsiteX12" fmla="*/ 98307 w 104855"/>
                  <a:gd name="connsiteY12" fmla="*/ 104829 h 104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855" h="104829">
                    <a:moveTo>
                      <a:pt x="98307" y="104829"/>
                    </a:moveTo>
                    <a:lnTo>
                      <a:pt x="6549" y="104829"/>
                    </a:lnTo>
                    <a:cubicBezTo>
                      <a:pt x="2913" y="104829"/>
                      <a:pt x="0" y="101890"/>
                      <a:pt x="0" y="98281"/>
                    </a:cubicBezTo>
                    <a:cubicBezTo>
                      <a:pt x="0" y="94671"/>
                      <a:pt x="2939" y="91732"/>
                      <a:pt x="6549" y="91732"/>
                    </a:cubicBezTo>
                    <a:lnTo>
                      <a:pt x="91758" y="91732"/>
                    </a:lnTo>
                    <a:lnTo>
                      <a:pt x="91758" y="13097"/>
                    </a:lnTo>
                    <a:lnTo>
                      <a:pt x="6549" y="13097"/>
                    </a:lnTo>
                    <a:cubicBezTo>
                      <a:pt x="2913" y="13097"/>
                      <a:pt x="0" y="10158"/>
                      <a:pt x="0" y="6549"/>
                    </a:cubicBezTo>
                    <a:cubicBezTo>
                      <a:pt x="0" y="2939"/>
                      <a:pt x="2939" y="0"/>
                      <a:pt x="6549" y="0"/>
                    </a:cubicBezTo>
                    <a:lnTo>
                      <a:pt x="98307" y="0"/>
                    </a:lnTo>
                    <a:cubicBezTo>
                      <a:pt x="101942" y="0"/>
                      <a:pt x="104855" y="2939"/>
                      <a:pt x="104855" y="6549"/>
                    </a:cubicBezTo>
                    <a:lnTo>
                      <a:pt x="104855" y="98307"/>
                    </a:lnTo>
                    <a:cubicBezTo>
                      <a:pt x="104881" y="101890"/>
                      <a:pt x="101942" y="104829"/>
                      <a:pt x="98307" y="104829"/>
                    </a:cubicBezTo>
                    <a:close/>
                  </a:path>
                </a:pathLst>
              </a:custGeom>
              <a:solidFill>
                <a:schemeClr val="tx2"/>
              </a:solidFill>
              <a:ln w="2573" cap="flat">
                <a:noFill/>
                <a:prstDash val="solid"/>
                <a:miter/>
              </a:ln>
            </p:spPr>
            <p:txBody>
              <a:bodyPr rtlCol="0" anchor="ctr"/>
              <a:lstStyle/>
              <a:p>
                <a:endParaRPr lang="en-GB" dirty="0"/>
              </a:p>
            </p:txBody>
          </p:sp>
          <p:sp>
            <p:nvSpPr>
              <p:cNvPr id="467" name="Freihandform: Form 943">
                <a:extLst>
                  <a:ext uri="{FF2B5EF4-FFF2-40B4-BE49-F238E27FC236}">
                    <a16:creationId xmlns:a16="http://schemas.microsoft.com/office/drawing/2014/main" id="{61DA8793-9F81-432D-8D79-AB596F504945}"/>
                  </a:ext>
                </a:extLst>
              </p:cNvPr>
              <p:cNvSpPr/>
              <p:nvPr/>
            </p:nvSpPr>
            <p:spPr>
              <a:xfrm>
                <a:off x="7810918" y="2491897"/>
                <a:ext cx="157295" cy="13097"/>
              </a:xfrm>
              <a:custGeom>
                <a:avLst/>
                <a:gdLst>
                  <a:gd name="connsiteX0" fmla="*/ 150747 w 157295"/>
                  <a:gd name="connsiteY0" fmla="*/ 13097 h 13097"/>
                  <a:gd name="connsiteX1" fmla="*/ 6549 w 157295"/>
                  <a:gd name="connsiteY1" fmla="*/ 13097 h 13097"/>
                  <a:gd name="connsiteX2" fmla="*/ 0 w 157295"/>
                  <a:gd name="connsiteY2" fmla="*/ 6549 h 13097"/>
                  <a:gd name="connsiteX3" fmla="*/ 6549 w 157295"/>
                  <a:gd name="connsiteY3" fmla="*/ 0 h 13097"/>
                  <a:gd name="connsiteX4" fmla="*/ 150747 w 157295"/>
                  <a:gd name="connsiteY4" fmla="*/ 0 h 13097"/>
                  <a:gd name="connsiteX5" fmla="*/ 157296 w 157295"/>
                  <a:gd name="connsiteY5" fmla="*/ 6549 h 13097"/>
                  <a:gd name="connsiteX6" fmla="*/ 150747 w 157295"/>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295" h="13097">
                    <a:moveTo>
                      <a:pt x="150747" y="13097"/>
                    </a:moveTo>
                    <a:lnTo>
                      <a:pt x="6549" y="13097"/>
                    </a:lnTo>
                    <a:cubicBezTo>
                      <a:pt x="2913" y="13097"/>
                      <a:pt x="0" y="10158"/>
                      <a:pt x="0" y="6549"/>
                    </a:cubicBezTo>
                    <a:cubicBezTo>
                      <a:pt x="0" y="2939"/>
                      <a:pt x="2939" y="0"/>
                      <a:pt x="6549" y="0"/>
                    </a:cubicBezTo>
                    <a:lnTo>
                      <a:pt x="150747" y="0"/>
                    </a:lnTo>
                    <a:cubicBezTo>
                      <a:pt x="154357" y="0"/>
                      <a:pt x="157296" y="2939"/>
                      <a:pt x="157296" y="6549"/>
                    </a:cubicBezTo>
                    <a:cubicBezTo>
                      <a:pt x="157296" y="10158"/>
                      <a:pt x="154382" y="13097"/>
                      <a:pt x="150747" y="13097"/>
                    </a:cubicBezTo>
                    <a:close/>
                  </a:path>
                </a:pathLst>
              </a:custGeom>
              <a:solidFill>
                <a:schemeClr val="tx2"/>
              </a:solidFill>
              <a:ln w="2573" cap="flat">
                <a:noFill/>
                <a:prstDash val="solid"/>
                <a:miter/>
              </a:ln>
            </p:spPr>
            <p:txBody>
              <a:bodyPr rtlCol="0" anchor="ctr"/>
              <a:lstStyle/>
              <a:p>
                <a:endParaRPr lang="en-GB" dirty="0"/>
              </a:p>
            </p:txBody>
          </p:sp>
          <p:sp>
            <p:nvSpPr>
              <p:cNvPr id="468" name="Freihandform: Form 947">
                <a:extLst>
                  <a:ext uri="{FF2B5EF4-FFF2-40B4-BE49-F238E27FC236}">
                    <a16:creationId xmlns:a16="http://schemas.microsoft.com/office/drawing/2014/main" id="{1B0AB5F4-CF3F-4EC5-87FD-54424019239B}"/>
                  </a:ext>
                </a:extLst>
              </p:cNvPr>
              <p:cNvSpPr/>
              <p:nvPr/>
            </p:nvSpPr>
            <p:spPr>
              <a:xfrm>
                <a:off x="8179909" y="2851195"/>
                <a:ext cx="43985" cy="71003"/>
              </a:xfrm>
              <a:custGeom>
                <a:avLst/>
                <a:gdLst>
                  <a:gd name="connsiteX0" fmla="*/ 21992 w 43985"/>
                  <a:gd name="connsiteY0" fmla="*/ 71003 h 71003"/>
                  <a:gd name="connsiteX1" fmla="*/ 0 w 43985"/>
                  <a:gd name="connsiteY1" fmla="*/ 49089 h 71003"/>
                  <a:gd name="connsiteX2" fmla="*/ 16011 w 43985"/>
                  <a:gd name="connsiteY2" fmla="*/ 3893 h 71003"/>
                  <a:gd name="connsiteX3" fmla="*/ 21992 w 43985"/>
                  <a:gd name="connsiteY3" fmla="*/ 0 h 71003"/>
                  <a:gd name="connsiteX4" fmla="*/ 21992 w 43985"/>
                  <a:gd name="connsiteY4" fmla="*/ 0 h 71003"/>
                  <a:gd name="connsiteX5" fmla="*/ 27974 w 43985"/>
                  <a:gd name="connsiteY5" fmla="*/ 3893 h 71003"/>
                  <a:gd name="connsiteX6" fmla="*/ 43985 w 43985"/>
                  <a:gd name="connsiteY6" fmla="*/ 48934 h 71003"/>
                  <a:gd name="connsiteX7" fmla="*/ 37668 w 43985"/>
                  <a:gd name="connsiteY7" fmla="*/ 64455 h 71003"/>
                  <a:gd name="connsiteX8" fmla="*/ 21992 w 43985"/>
                  <a:gd name="connsiteY8" fmla="*/ 71003 h 71003"/>
                  <a:gd name="connsiteX9" fmla="*/ 21992 w 43985"/>
                  <a:gd name="connsiteY9" fmla="*/ 23255 h 71003"/>
                  <a:gd name="connsiteX10" fmla="*/ 13124 w 43985"/>
                  <a:gd name="connsiteY10" fmla="*/ 48960 h 71003"/>
                  <a:gd name="connsiteX11" fmla="*/ 22018 w 43985"/>
                  <a:gd name="connsiteY11" fmla="*/ 57906 h 71003"/>
                  <a:gd name="connsiteX12" fmla="*/ 28386 w 43985"/>
                  <a:gd name="connsiteY12" fmla="*/ 55251 h 71003"/>
                  <a:gd name="connsiteX13" fmla="*/ 30913 w 43985"/>
                  <a:gd name="connsiteY13" fmla="*/ 49089 h 71003"/>
                  <a:gd name="connsiteX14" fmla="*/ 21992 w 43985"/>
                  <a:gd name="connsiteY14" fmla="*/ 23255 h 7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985" h="71003">
                    <a:moveTo>
                      <a:pt x="21992" y="71003"/>
                    </a:moveTo>
                    <a:cubicBezTo>
                      <a:pt x="10004" y="71003"/>
                      <a:pt x="129" y="61155"/>
                      <a:pt x="0" y="49089"/>
                    </a:cubicBezTo>
                    <a:cubicBezTo>
                      <a:pt x="-77" y="40890"/>
                      <a:pt x="11164" y="14747"/>
                      <a:pt x="16011" y="3893"/>
                    </a:cubicBezTo>
                    <a:cubicBezTo>
                      <a:pt x="17068" y="1521"/>
                      <a:pt x="19414" y="0"/>
                      <a:pt x="21992" y="0"/>
                    </a:cubicBezTo>
                    <a:lnTo>
                      <a:pt x="21992" y="0"/>
                    </a:lnTo>
                    <a:cubicBezTo>
                      <a:pt x="24596" y="0"/>
                      <a:pt x="26917" y="1521"/>
                      <a:pt x="27974" y="3893"/>
                    </a:cubicBezTo>
                    <a:cubicBezTo>
                      <a:pt x="31712" y="12324"/>
                      <a:pt x="43881" y="40452"/>
                      <a:pt x="43985" y="48934"/>
                    </a:cubicBezTo>
                    <a:cubicBezTo>
                      <a:pt x="44036" y="54761"/>
                      <a:pt x="41819" y="60278"/>
                      <a:pt x="37668" y="64455"/>
                    </a:cubicBezTo>
                    <a:cubicBezTo>
                      <a:pt x="33517" y="68683"/>
                      <a:pt x="27948" y="71003"/>
                      <a:pt x="21992" y="71003"/>
                    </a:cubicBezTo>
                    <a:close/>
                    <a:moveTo>
                      <a:pt x="21992" y="23255"/>
                    </a:moveTo>
                    <a:cubicBezTo>
                      <a:pt x="17145" y="35063"/>
                      <a:pt x="13175" y="46021"/>
                      <a:pt x="13124" y="48960"/>
                    </a:cubicBezTo>
                    <a:cubicBezTo>
                      <a:pt x="13175" y="53962"/>
                      <a:pt x="17068" y="57906"/>
                      <a:pt x="22018" y="57906"/>
                    </a:cubicBezTo>
                    <a:cubicBezTo>
                      <a:pt x="24442" y="57906"/>
                      <a:pt x="26685" y="56952"/>
                      <a:pt x="28386" y="55251"/>
                    </a:cubicBezTo>
                    <a:cubicBezTo>
                      <a:pt x="30036" y="53575"/>
                      <a:pt x="30939" y="51409"/>
                      <a:pt x="30913" y="49089"/>
                    </a:cubicBezTo>
                    <a:cubicBezTo>
                      <a:pt x="30836" y="46150"/>
                      <a:pt x="26840" y="35141"/>
                      <a:pt x="21992" y="23255"/>
                    </a:cubicBezTo>
                    <a:close/>
                  </a:path>
                </a:pathLst>
              </a:custGeom>
              <a:solidFill>
                <a:schemeClr val="tx2"/>
              </a:solidFill>
              <a:ln w="2573" cap="flat">
                <a:noFill/>
                <a:prstDash val="solid"/>
                <a:miter/>
              </a:ln>
            </p:spPr>
            <p:txBody>
              <a:bodyPr rtlCol="0" anchor="ctr"/>
              <a:lstStyle/>
              <a:p>
                <a:endParaRPr lang="en-GB" dirty="0"/>
              </a:p>
            </p:txBody>
          </p:sp>
        </p:grpSp>
        <p:grpSp>
          <p:nvGrpSpPr>
            <p:cNvPr id="453" name="Group 452">
              <a:extLst>
                <a:ext uri="{FF2B5EF4-FFF2-40B4-BE49-F238E27FC236}">
                  <a16:creationId xmlns:a16="http://schemas.microsoft.com/office/drawing/2014/main" id="{1F46753A-907E-4140-A406-9B522C490399}"/>
                </a:ext>
              </a:extLst>
            </p:cNvPr>
            <p:cNvGrpSpPr/>
            <p:nvPr/>
          </p:nvGrpSpPr>
          <p:grpSpPr>
            <a:xfrm>
              <a:off x="5117248" y="2391526"/>
              <a:ext cx="123998" cy="321217"/>
              <a:chOff x="7955114" y="2419811"/>
              <a:chExt cx="144201" cy="373554"/>
            </a:xfrm>
          </p:grpSpPr>
          <p:sp>
            <p:nvSpPr>
              <p:cNvPr id="454" name="Freihandform: Form 944">
                <a:extLst>
                  <a:ext uri="{FF2B5EF4-FFF2-40B4-BE49-F238E27FC236}">
                    <a16:creationId xmlns:a16="http://schemas.microsoft.com/office/drawing/2014/main" id="{463CF9FB-E6AE-4B4B-83EB-AECA974E9BA9}"/>
                  </a:ext>
                </a:extLst>
              </p:cNvPr>
              <p:cNvSpPr/>
              <p:nvPr/>
            </p:nvSpPr>
            <p:spPr>
              <a:xfrm>
                <a:off x="7974789" y="2714731"/>
                <a:ext cx="104855" cy="78634"/>
              </a:xfrm>
              <a:custGeom>
                <a:avLst/>
                <a:gdLst>
                  <a:gd name="connsiteX0" fmla="*/ 98307 w 104855"/>
                  <a:gd name="connsiteY0" fmla="*/ 78635 h 78634"/>
                  <a:gd name="connsiteX1" fmla="*/ 6548 w 104855"/>
                  <a:gd name="connsiteY1" fmla="*/ 78635 h 78634"/>
                  <a:gd name="connsiteX2" fmla="*/ 0 w 104855"/>
                  <a:gd name="connsiteY2" fmla="*/ 72086 h 78634"/>
                  <a:gd name="connsiteX3" fmla="*/ 0 w 104855"/>
                  <a:gd name="connsiteY3" fmla="*/ 6549 h 78634"/>
                  <a:gd name="connsiteX4" fmla="*/ 6548 w 104855"/>
                  <a:gd name="connsiteY4" fmla="*/ 0 h 78634"/>
                  <a:gd name="connsiteX5" fmla="*/ 98307 w 104855"/>
                  <a:gd name="connsiteY5" fmla="*/ 0 h 78634"/>
                  <a:gd name="connsiteX6" fmla="*/ 104855 w 104855"/>
                  <a:gd name="connsiteY6" fmla="*/ 6549 h 78634"/>
                  <a:gd name="connsiteX7" fmla="*/ 104855 w 104855"/>
                  <a:gd name="connsiteY7" fmla="*/ 72086 h 78634"/>
                  <a:gd name="connsiteX8" fmla="*/ 98307 w 104855"/>
                  <a:gd name="connsiteY8" fmla="*/ 78635 h 78634"/>
                  <a:gd name="connsiteX9" fmla="*/ 13097 w 104855"/>
                  <a:gd name="connsiteY9" fmla="*/ 65538 h 78634"/>
                  <a:gd name="connsiteX10" fmla="*/ 91732 w 104855"/>
                  <a:gd name="connsiteY10" fmla="*/ 65538 h 78634"/>
                  <a:gd name="connsiteX11" fmla="*/ 91732 w 104855"/>
                  <a:gd name="connsiteY11" fmla="*/ 13097 h 78634"/>
                  <a:gd name="connsiteX12" fmla="*/ 13097 w 104855"/>
                  <a:gd name="connsiteY12" fmla="*/ 13097 h 78634"/>
                  <a:gd name="connsiteX13" fmla="*/ 13097 w 104855"/>
                  <a:gd name="connsiteY13" fmla="*/ 65538 h 7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855" h="78634">
                    <a:moveTo>
                      <a:pt x="98307" y="78635"/>
                    </a:moveTo>
                    <a:lnTo>
                      <a:pt x="6548" y="78635"/>
                    </a:lnTo>
                    <a:cubicBezTo>
                      <a:pt x="2913" y="78635"/>
                      <a:pt x="0" y="75696"/>
                      <a:pt x="0" y="72086"/>
                    </a:cubicBezTo>
                    <a:lnTo>
                      <a:pt x="0" y="6549"/>
                    </a:lnTo>
                    <a:cubicBezTo>
                      <a:pt x="0" y="2939"/>
                      <a:pt x="2939" y="0"/>
                      <a:pt x="6548" y="0"/>
                    </a:cubicBezTo>
                    <a:lnTo>
                      <a:pt x="98307" y="0"/>
                    </a:lnTo>
                    <a:cubicBezTo>
                      <a:pt x="101942" y="0"/>
                      <a:pt x="104855" y="2939"/>
                      <a:pt x="104855" y="6549"/>
                    </a:cubicBezTo>
                    <a:lnTo>
                      <a:pt x="104855" y="72086"/>
                    </a:lnTo>
                    <a:cubicBezTo>
                      <a:pt x="104855" y="75696"/>
                      <a:pt x="101916" y="78635"/>
                      <a:pt x="98307" y="78635"/>
                    </a:cubicBezTo>
                    <a:close/>
                    <a:moveTo>
                      <a:pt x="13097" y="65538"/>
                    </a:moveTo>
                    <a:lnTo>
                      <a:pt x="91732" y="65538"/>
                    </a:lnTo>
                    <a:lnTo>
                      <a:pt x="91732" y="13097"/>
                    </a:lnTo>
                    <a:lnTo>
                      <a:pt x="13097" y="13097"/>
                    </a:lnTo>
                    <a:lnTo>
                      <a:pt x="13097" y="65538"/>
                    </a:lnTo>
                    <a:close/>
                  </a:path>
                </a:pathLst>
              </a:custGeom>
              <a:solidFill>
                <a:schemeClr val="accent1"/>
              </a:solidFill>
              <a:ln w="2573" cap="flat">
                <a:noFill/>
                <a:prstDash val="solid"/>
                <a:miter/>
              </a:ln>
            </p:spPr>
            <p:txBody>
              <a:bodyPr rtlCol="0" anchor="ctr"/>
              <a:lstStyle/>
              <a:p>
                <a:endParaRPr lang="en-GB" dirty="0"/>
              </a:p>
            </p:txBody>
          </p:sp>
          <p:sp>
            <p:nvSpPr>
              <p:cNvPr id="455" name="Freihandform: Form 945">
                <a:extLst>
                  <a:ext uri="{FF2B5EF4-FFF2-40B4-BE49-F238E27FC236}">
                    <a16:creationId xmlns:a16="http://schemas.microsoft.com/office/drawing/2014/main" id="{B7C0B379-0595-4F7F-A426-A32C6E47ACFE}"/>
                  </a:ext>
                </a:extLst>
              </p:cNvPr>
              <p:cNvSpPr/>
              <p:nvPr/>
            </p:nvSpPr>
            <p:spPr>
              <a:xfrm>
                <a:off x="7955143" y="2563983"/>
                <a:ext cx="144172" cy="104855"/>
              </a:xfrm>
              <a:custGeom>
                <a:avLst/>
                <a:gdLst>
                  <a:gd name="connsiteX0" fmla="*/ 137624 w 144172"/>
                  <a:gd name="connsiteY0" fmla="*/ 104855 h 104855"/>
                  <a:gd name="connsiteX1" fmla="*/ 6548 w 144172"/>
                  <a:gd name="connsiteY1" fmla="*/ 104855 h 104855"/>
                  <a:gd name="connsiteX2" fmla="*/ 0 w 144172"/>
                  <a:gd name="connsiteY2" fmla="*/ 98307 h 104855"/>
                  <a:gd name="connsiteX3" fmla="*/ 0 w 144172"/>
                  <a:gd name="connsiteY3" fmla="*/ 6549 h 104855"/>
                  <a:gd name="connsiteX4" fmla="*/ 6548 w 144172"/>
                  <a:gd name="connsiteY4" fmla="*/ 0 h 104855"/>
                  <a:gd name="connsiteX5" fmla="*/ 137624 w 144172"/>
                  <a:gd name="connsiteY5" fmla="*/ 0 h 104855"/>
                  <a:gd name="connsiteX6" fmla="*/ 144173 w 144172"/>
                  <a:gd name="connsiteY6" fmla="*/ 6549 h 104855"/>
                  <a:gd name="connsiteX7" fmla="*/ 144173 w 144172"/>
                  <a:gd name="connsiteY7" fmla="*/ 98307 h 104855"/>
                  <a:gd name="connsiteX8" fmla="*/ 137624 w 144172"/>
                  <a:gd name="connsiteY8" fmla="*/ 104855 h 104855"/>
                  <a:gd name="connsiteX9" fmla="*/ 13097 w 144172"/>
                  <a:gd name="connsiteY9" fmla="*/ 91758 h 104855"/>
                  <a:gd name="connsiteX10" fmla="*/ 131075 w 144172"/>
                  <a:gd name="connsiteY10" fmla="*/ 91758 h 104855"/>
                  <a:gd name="connsiteX11" fmla="*/ 131075 w 144172"/>
                  <a:gd name="connsiteY11" fmla="*/ 13123 h 104855"/>
                  <a:gd name="connsiteX12" fmla="*/ 13097 w 144172"/>
                  <a:gd name="connsiteY12" fmla="*/ 13123 h 104855"/>
                  <a:gd name="connsiteX13" fmla="*/ 13097 w 144172"/>
                  <a:gd name="connsiteY13" fmla="*/ 91758 h 10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172" h="104855">
                    <a:moveTo>
                      <a:pt x="137624" y="104855"/>
                    </a:moveTo>
                    <a:lnTo>
                      <a:pt x="6548" y="104855"/>
                    </a:lnTo>
                    <a:cubicBezTo>
                      <a:pt x="2913" y="104855"/>
                      <a:pt x="0" y="101916"/>
                      <a:pt x="0" y="98307"/>
                    </a:cubicBezTo>
                    <a:lnTo>
                      <a:pt x="0" y="6549"/>
                    </a:lnTo>
                    <a:cubicBezTo>
                      <a:pt x="0" y="2939"/>
                      <a:pt x="2939" y="0"/>
                      <a:pt x="6548" y="0"/>
                    </a:cubicBezTo>
                    <a:lnTo>
                      <a:pt x="137624" y="0"/>
                    </a:lnTo>
                    <a:cubicBezTo>
                      <a:pt x="141259" y="0"/>
                      <a:pt x="144173" y="2939"/>
                      <a:pt x="144173" y="6549"/>
                    </a:cubicBezTo>
                    <a:lnTo>
                      <a:pt x="144173" y="98307"/>
                    </a:lnTo>
                    <a:cubicBezTo>
                      <a:pt x="144173" y="101916"/>
                      <a:pt x="141233" y="104855"/>
                      <a:pt x="137624" y="104855"/>
                    </a:cubicBezTo>
                    <a:close/>
                    <a:moveTo>
                      <a:pt x="13097" y="91758"/>
                    </a:moveTo>
                    <a:lnTo>
                      <a:pt x="131075" y="91758"/>
                    </a:lnTo>
                    <a:lnTo>
                      <a:pt x="131075" y="13123"/>
                    </a:lnTo>
                    <a:lnTo>
                      <a:pt x="13097" y="13123"/>
                    </a:lnTo>
                    <a:lnTo>
                      <a:pt x="13097" y="91758"/>
                    </a:lnTo>
                    <a:close/>
                  </a:path>
                </a:pathLst>
              </a:custGeom>
              <a:solidFill>
                <a:schemeClr val="accent1"/>
              </a:solidFill>
              <a:ln w="2573" cap="flat">
                <a:noFill/>
                <a:prstDash val="solid"/>
                <a:miter/>
              </a:ln>
            </p:spPr>
            <p:txBody>
              <a:bodyPr rtlCol="0" anchor="ctr"/>
              <a:lstStyle/>
              <a:p>
                <a:endParaRPr lang="en-GB" dirty="0"/>
              </a:p>
            </p:txBody>
          </p:sp>
          <p:sp>
            <p:nvSpPr>
              <p:cNvPr id="456" name="Freihandform: Form 946">
                <a:extLst>
                  <a:ext uri="{FF2B5EF4-FFF2-40B4-BE49-F238E27FC236}">
                    <a16:creationId xmlns:a16="http://schemas.microsoft.com/office/drawing/2014/main" id="{5A30AF19-6865-4473-B5E1-EA3936F810AB}"/>
                  </a:ext>
                </a:extLst>
              </p:cNvPr>
              <p:cNvSpPr/>
              <p:nvPr/>
            </p:nvSpPr>
            <p:spPr>
              <a:xfrm>
                <a:off x="7955143" y="2419811"/>
                <a:ext cx="144172" cy="104855"/>
              </a:xfrm>
              <a:custGeom>
                <a:avLst/>
                <a:gdLst>
                  <a:gd name="connsiteX0" fmla="*/ 137624 w 144172"/>
                  <a:gd name="connsiteY0" fmla="*/ 104855 h 104855"/>
                  <a:gd name="connsiteX1" fmla="*/ 6548 w 144172"/>
                  <a:gd name="connsiteY1" fmla="*/ 104855 h 104855"/>
                  <a:gd name="connsiteX2" fmla="*/ 0 w 144172"/>
                  <a:gd name="connsiteY2" fmla="*/ 98307 h 104855"/>
                  <a:gd name="connsiteX3" fmla="*/ 0 w 144172"/>
                  <a:gd name="connsiteY3" fmla="*/ 6549 h 104855"/>
                  <a:gd name="connsiteX4" fmla="*/ 6548 w 144172"/>
                  <a:gd name="connsiteY4" fmla="*/ 0 h 104855"/>
                  <a:gd name="connsiteX5" fmla="*/ 137624 w 144172"/>
                  <a:gd name="connsiteY5" fmla="*/ 0 h 104855"/>
                  <a:gd name="connsiteX6" fmla="*/ 144173 w 144172"/>
                  <a:gd name="connsiteY6" fmla="*/ 6549 h 104855"/>
                  <a:gd name="connsiteX7" fmla="*/ 144173 w 144172"/>
                  <a:gd name="connsiteY7" fmla="*/ 98307 h 104855"/>
                  <a:gd name="connsiteX8" fmla="*/ 137624 w 144172"/>
                  <a:gd name="connsiteY8" fmla="*/ 104855 h 104855"/>
                  <a:gd name="connsiteX9" fmla="*/ 13097 w 144172"/>
                  <a:gd name="connsiteY9" fmla="*/ 91732 h 104855"/>
                  <a:gd name="connsiteX10" fmla="*/ 131075 w 144172"/>
                  <a:gd name="connsiteY10" fmla="*/ 91732 h 104855"/>
                  <a:gd name="connsiteX11" fmla="*/ 131075 w 144172"/>
                  <a:gd name="connsiteY11" fmla="*/ 13097 h 104855"/>
                  <a:gd name="connsiteX12" fmla="*/ 13097 w 144172"/>
                  <a:gd name="connsiteY12" fmla="*/ 13097 h 104855"/>
                  <a:gd name="connsiteX13" fmla="*/ 13097 w 144172"/>
                  <a:gd name="connsiteY13" fmla="*/ 91732 h 10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172" h="104855">
                    <a:moveTo>
                      <a:pt x="137624" y="104855"/>
                    </a:moveTo>
                    <a:lnTo>
                      <a:pt x="6548" y="104855"/>
                    </a:lnTo>
                    <a:cubicBezTo>
                      <a:pt x="2913" y="104855"/>
                      <a:pt x="0" y="101916"/>
                      <a:pt x="0" y="98307"/>
                    </a:cubicBezTo>
                    <a:lnTo>
                      <a:pt x="0" y="6549"/>
                    </a:lnTo>
                    <a:cubicBezTo>
                      <a:pt x="0" y="2939"/>
                      <a:pt x="2939" y="0"/>
                      <a:pt x="6548" y="0"/>
                    </a:cubicBezTo>
                    <a:lnTo>
                      <a:pt x="137624" y="0"/>
                    </a:lnTo>
                    <a:cubicBezTo>
                      <a:pt x="141259" y="0"/>
                      <a:pt x="144173" y="2939"/>
                      <a:pt x="144173" y="6549"/>
                    </a:cubicBezTo>
                    <a:lnTo>
                      <a:pt x="144173" y="98307"/>
                    </a:lnTo>
                    <a:cubicBezTo>
                      <a:pt x="144173" y="101916"/>
                      <a:pt x="141233" y="104855"/>
                      <a:pt x="137624" y="104855"/>
                    </a:cubicBezTo>
                    <a:close/>
                    <a:moveTo>
                      <a:pt x="13097" y="91732"/>
                    </a:moveTo>
                    <a:lnTo>
                      <a:pt x="131075" y="91732"/>
                    </a:lnTo>
                    <a:lnTo>
                      <a:pt x="131075" y="13097"/>
                    </a:lnTo>
                    <a:lnTo>
                      <a:pt x="13097" y="13097"/>
                    </a:lnTo>
                    <a:lnTo>
                      <a:pt x="13097" y="91732"/>
                    </a:lnTo>
                    <a:close/>
                  </a:path>
                </a:pathLst>
              </a:custGeom>
              <a:solidFill>
                <a:schemeClr val="accent1"/>
              </a:solidFill>
              <a:ln w="2573" cap="flat">
                <a:noFill/>
                <a:prstDash val="solid"/>
                <a:miter/>
              </a:ln>
            </p:spPr>
            <p:txBody>
              <a:bodyPr rtlCol="0" anchor="ctr"/>
              <a:lstStyle/>
              <a:p>
                <a:endParaRPr lang="en-GB" dirty="0"/>
              </a:p>
            </p:txBody>
          </p:sp>
          <p:sp>
            <p:nvSpPr>
              <p:cNvPr id="457" name="Freihandform: Form 948">
                <a:extLst>
                  <a:ext uri="{FF2B5EF4-FFF2-40B4-BE49-F238E27FC236}">
                    <a16:creationId xmlns:a16="http://schemas.microsoft.com/office/drawing/2014/main" id="{B729915C-5386-48D6-B825-58FB1D0E159A}"/>
                  </a:ext>
                </a:extLst>
              </p:cNvPr>
              <p:cNvSpPr/>
              <p:nvPr/>
            </p:nvSpPr>
            <p:spPr>
              <a:xfrm>
                <a:off x="8020655" y="2688510"/>
                <a:ext cx="13097" cy="39317"/>
              </a:xfrm>
              <a:custGeom>
                <a:avLst/>
                <a:gdLst>
                  <a:gd name="connsiteX0" fmla="*/ 6549 w 13097"/>
                  <a:gd name="connsiteY0" fmla="*/ 39317 h 39317"/>
                  <a:gd name="connsiteX1" fmla="*/ 0 w 13097"/>
                  <a:gd name="connsiteY1" fmla="*/ 32769 h 39317"/>
                  <a:gd name="connsiteX2" fmla="*/ 0 w 13097"/>
                  <a:gd name="connsiteY2" fmla="*/ 6549 h 39317"/>
                  <a:gd name="connsiteX3" fmla="*/ 6549 w 13097"/>
                  <a:gd name="connsiteY3" fmla="*/ 0 h 39317"/>
                  <a:gd name="connsiteX4" fmla="*/ 13097 w 13097"/>
                  <a:gd name="connsiteY4" fmla="*/ 6549 h 39317"/>
                  <a:gd name="connsiteX5" fmla="*/ 13097 w 13097"/>
                  <a:gd name="connsiteY5" fmla="*/ 32769 h 39317"/>
                  <a:gd name="connsiteX6" fmla="*/ 6549 w 13097"/>
                  <a:gd name="connsiteY6" fmla="*/ 39317 h 3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39317">
                    <a:moveTo>
                      <a:pt x="6549" y="39317"/>
                    </a:moveTo>
                    <a:cubicBezTo>
                      <a:pt x="2913" y="39317"/>
                      <a:pt x="0" y="36378"/>
                      <a:pt x="0" y="32769"/>
                    </a:cubicBezTo>
                    <a:lnTo>
                      <a:pt x="0" y="6549"/>
                    </a:lnTo>
                    <a:cubicBezTo>
                      <a:pt x="0" y="2939"/>
                      <a:pt x="2939" y="0"/>
                      <a:pt x="6549" y="0"/>
                    </a:cubicBezTo>
                    <a:cubicBezTo>
                      <a:pt x="10158" y="0"/>
                      <a:pt x="13097" y="2939"/>
                      <a:pt x="13097" y="6549"/>
                    </a:cubicBezTo>
                    <a:lnTo>
                      <a:pt x="13097" y="32769"/>
                    </a:lnTo>
                    <a:cubicBezTo>
                      <a:pt x="13123" y="36378"/>
                      <a:pt x="10184" y="39317"/>
                      <a:pt x="6549" y="39317"/>
                    </a:cubicBezTo>
                    <a:close/>
                  </a:path>
                </a:pathLst>
              </a:custGeom>
              <a:solidFill>
                <a:schemeClr val="accent1"/>
              </a:solidFill>
              <a:ln w="2573" cap="flat">
                <a:noFill/>
                <a:prstDash val="solid"/>
                <a:miter/>
              </a:ln>
            </p:spPr>
            <p:txBody>
              <a:bodyPr rtlCol="0" anchor="ctr"/>
              <a:lstStyle/>
              <a:p>
                <a:endParaRPr lang="en-GB" dirty="0"/>
              </a:p>
            </p:txBody>
          </p:sp>
          <p:sp>
            <p:nvSpPr>
              <p:cNvPr id="458" name="Freihandform: Form 949">
                <a:extLst>
                  <a:ext uri="{FF2B5EF4-FFF2-40B4-BE49-F238E27FC236}">
                    <a16:creationId xmlns:a16="http://schemas.microsoft.com/office/drawing/2014/main" id="{B768952A-14D8-4139-B4FE-E3AD279E7E77}"/>
                  </a:ext>
                </a:extLst>
              </p:cNvPr>
              <p:cNvSpPr/>
              <p:nvPr/>
            </p:nvSpPr>
            <p:spPr>
              <a:xfrm>
                <a:off x="7994434" y="2688510"/>
                <a:ext cx="65537" cy="13097"/>
              </a:xfrm>
              <a:custGeom>
                <a:avLst/>
                <a:gdLst>
                  <a:gd name="connsiteX0" fmla="*/ 58989 w 65537"/>
                  <a:gd name="connsiteY0" fmla="*/ 13097 h 13097"/>
                  <a:gd name="connsiteX1" fmla="*/ 6548 w 65537"/>
                  <a:gd name="connsiteY1" fmla="*/ 13097 h 13097"/>
                  <a:gd name="connsiteX2" fmla="*/ 0 w 65537"/>
                  <a:gd name="connsiteY2" fmla="*/ 6549 h 13097"/>
                  <a:gd name="connsiteX3" fmla="*/ 6548 w 65537"/>
                  <a:gd name="connsiteY3" fmla="*/ 0 h 13097"/>
                  <a:gd name="connsiteX4" fmla="*/ 58989 w 65537"/>
                  <a:gd name="connsiteY4" fmla="*/ 0 h 13097"/>
                  <a:gd name="connsiteX5" fmla="*/ 65538 w 65537"/>
                  <a:gd name="connsiteY5" fmla="*/ 6549 h 13097"/>
                  <a:gd name="connsiteX6" fmla="*/ 58989 w 65537"/>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37" h="13097">
                    <a:moveTo>
                      <a:pt x="58989" y="13097"/>
                    </a:moveTo>
                    <a:lnTo>
                      <a:pt x="6548" y="13097"/>
                    </a:lnTo>
                    <a:cubicBezTo>
                      <a:pt x="2913" y="13097"/>
                      <a:pt x="0" y="10158"/>
                      <a:pt x="0" y="6549"/>
                    </a:cubicBezTo>
                    <a:cubicBezTo>
                      <a:pt x="0" y="2939"/>
                      <a:pt x="2939" y="0"/>
                      <a:pt x="6548" y="0"/>
                    </a:cubicBezTo>
                    <a:lnTo>
                      <a:pt x="58989" y="0"/>
                    </a:lnTo>
                    <a:cubicBezTo>
                      <a:pt x="62599" y="0"/>
                      <a:pt x="65538" y="2939"/>
                      <a:pt x="65538" y="6549"/>
                    </a:cubicBezTo>
                    <a:cubicBezTo>
                      <a:pt x="65538" y="10158"/>
                      <a:pt x="62624" y="13097"/>
                      <a:pt x="58989" y="13097"/>
                    </a:cubicBezTo>
                    <a:close/>
                  </a:path>
                </a:pathLst>
              </a:custGeom>
              <a:solidFill>
                <a:schemeClr val="accent1"/>
              </a:solidFill>
              <a:ln w="2573" cap="flat">
                <a:noFill/>
                <a:prstDash val="solid"/>
                <a:miter/>
              </a:ln>
            </p:spPr>
            <p:txBody>
              <a:bodyPr rtlCol="0" anchor="ctr"/>
              <a:lstStyle/>
              <a:p>
                <a:endParaRPr lang="en-GB" dirty="0"/>
              </a:p>
            </p:txBody>
          </p:sp>
          <p:sp>
            <p:nvSpPr>
              <p:cNvPr id="459" name="Freihandform: Form 950">
                <a:extLst>
                  <a:ext uri="{FF2B5EF4-FFF2-40B4-BE49-F238E27FC236}">
                    <a16:creationId xmlns:a16="http://schemas.microsoft.com/office/drawing/2014/main" id="{3B1C0AD8-6826-4DB9-974C-18F59D8933D5}"/>
                  </a:ext>
                </a:extLst>
              </p:cNvPr>
              <p:cNvSpPr/>
              <p:nvPr/>
            </p:nvSpPr>
            <p:spPr>
              <a:xfrm>
                <a:off x="7955114" y="2590201"/>
                <a:ext cx="144127" cy="33673"/>
              </a:xfrm>
              <a:custGeom>
                <a:avLst/>
                <a:gdLst>
                  <a:gd name="connsiteX0" fmla="*/ 107024 w 144127"/>
                  <a:gd name="connsiteY0" fmla="*/ 33674 h 33673"/>
                  <a:gd name="connsiteX1" fmla="*/ 86604 w 144127"/>
                  <a:gd name="connsiteY1" fmla="*/ 26558 h 33673"/>
                  <a:gd name="connsiteX2" fmla="*/ 84284 w 144127"/>
                  <a:gd name="connsiteY2" fmla="*/ 24702 h 33673"/>
                  <a:gd name="connsiteX3" fmla="*/ 59894 w 144127"/>
                  <a:gd name="connsiteY3" fmla="*/ 24702 h 33673"/>
                  <a:gd name="connsiteX4" fmla="*/ 18927 w 144127"/>
                  <a:gd name="connsiteY4" fmla="*/ 24856 h 33673"/>
                  <a:gd name="connsiteX5" fmla="*/ 2452 w 144127"/>
                  <a:gd name="connsiteY5" fmla="*/ 11656 h 33673"/>
                  <a:gd name="connsiteX6" fmla="*/ 1421 w 144127"/>
                  <a:gd name="connsiteY6" fmla="*/ 2452 h 33673"/>
                  <a:gd name="connsiteX7" fmla="*/ 10625 w 144127"/>
                  <a:gd name="connsiteY7" fmla="*/ 1421 h 33673"/>
                  <a:gd name="connsiteX8" fmla="*/ 27100 w 144127"/>
                  <a:gd name="connsiteY8" fmla="*/ 14621 h 33673"/>
                  <a:gd name="connsiteX9" fmla="*/ 51464 w 144127"/>
                  <a:gd name="connsiteY9" fmla="*/ 14621 h 33673"/>
                  <a:gd name="connsiteX10" fmla="*/ 92431 w 144127"/>
                  <a:gd name="connsiteY10" fmla="*/ 14466 h 33673"/>
                  <a:gd name="connsiteX11" fmla="*/ 94752 w 144127"/>
                  <a:gd name="connsiteY11" fmla="*/ 16323 h 33673"/>
                  <a:gd name="connsiteX12" fmla="*/ 116976 w 144127"/>
                  <a:gd name="connsiteY12" fmla="*/ 17818 h 33673"/>
                  <a:gd name="connsiteX13" fmla="*/ 134198 w 144127"/>
                  <a:gd name="connsiteY13" fmla="*/ 7479 h 33673"/>
                  <a:gd name="connsiteX14" fmla="*/ 143196 w 144127"/>
                  <a:gd name="connsiteY14" fmla="*/ 9722 h 33673"/>
                  <a:gd name="connsiteX15" fmla="*/ 140953 w 144127"/>
                  <a:gd name="connsiteY15" fmla="*/ 18720 h 33673"/>
                  <a:gd name="connsiteX16" fmla="*/ 123730 w 144127"/>
                  <a:gd name="connsiteY16" fmla="*/ 29059 h 33673"/>
                  <a:gd name="connsiteX17" fmla="*/ 107024 w 144127"/>
                  <a:gd name="connsiteY17" fmla="*/ 33674 h 3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4127" h="33673">
                    <a:moveTo>
                      <a:pt x="107024" y="33674"/>
                    </a:moveTo>
                    <a:cubicBezTo>
                      <a:pt x="99753" y="33674"/>
                      <a:pt x="92509" y="31276"/>
                      <a:pt x="86604" y="26558"/>
                    </a:cubicBezTo>
                    <a:lnTo>
                      <a:pt x="84284" y="24702"/>
                    </a:lnTo>
                    <a:cubicBezTo>
                      <a:pt x="77091" y="18952"/>
                      <a:pt x="67062" y="18952"/>
                      <a:pt x="59894" y="24702"/>
                    </a:cubicBezTo>
                    <a:cubicBezTo>
                      <a:pt x="47699" y="34473"/>
                      <a:pt x="30941" y="34473"/>
                      <a:pt x="18927" y="24856"/>
                    </a:cubicBezTo>
                    <a:lnTo>
                      <a:pt x="2452" y="11656"/>
                    </a:lnTo>
                    <a:cubicBezTo>
                      <a:pt x="-358" y="9387"/>
                      <a:pt x="-822" y="5262"/>
                      <a:pt x="1421" y="2452"/>
                    </a:cubicBezTo>
                    <a:cubicBezTo>
                      <a:pt x="3689" y="-358"/>
                      <a:pt x="7815" y="-822"/>
                      <a:pt x="10625" y="1421"/>
                    </a:cubicBezTo>
                    <a:lnTo>
                      <a:pt x="27100" y="14621"/>
                    </a:lnTo>
                    <a:cubicBezTo>
                      <a:pt x="34267" y="20370"/>
                      <a:pt x="44296" y="20370"/>
                      <a:pt x="51464" y="14621"/>
                    </a:cubicBezTo>
                    <a:cubicBezTo>
                      <a:pt x="63658" y="4850"/>
                      <a:pt x="80417" y="4850"/>
                      <a:pt x="92431" y="14466"/>
                    </a:cubicBezTo>
                    <a:lnTo>
                      <a:pt x="94752" y="16323"/>
                    </a:lnTo>
                    <a:cubicBezTo>
                      <a:pt x="101094" y="21402"/>
                      <a:pt x="110014" y="21995"/>
                      <a:pt x="116976" y="17818"/>
                    </a:cubicBezTo>
                    <a:lnTo>
                      <a:pt x="134198" y="7479"/>
                    </a:lnTo>
                    <a:cubicBezTo>
                      <a:pt x="137292" y="5623"/>
                      <a:pt x="141339" y="6629"/>
                      <a:pt x="143196" y="9722"/>
                    </a:cubicBezTo>
                    <a:cubicBezTo>
                      <a:pt x="145052" y="12816"/>
                      <a:pt x="144047" y="16864"/>
                      <a:pt x="140953" y="18720"/>
                    </a:cubicBezTo>
                    <a:lnTo>
                      <a:pt x="123730" y="29059"/>
                    </a:lnTo>
                    <a:cubicBezTo>
                      <a:pt x="118626" y="32153"/>
                      <a:pt x="112825" y="33674"/>
                      <a:pt x="107024" y="33674"/>
                    </a:cubicBezTo>
                    <a:close/>
                  </a:path>
                </a:pathLst>
              </a:custGeom>
              <a:solidFill>
                <a:schemeClr val="accent1"/>
              </a:solidFill>
              <a:ln w="2573" cap="flat">
                <a:noFill/>
                <a:prstDash val="solid"/>
                <a:miter/>
              </a:ln>
            </p:spPr>
            <p:txBody>
              <a:bodyPr rtlCol="0" anchor="ctr"/>
              <a:lstStyle/>
              <a:p>
                <a:endParaRPr lang="en-GB" dirty="0"/>
              </a:p>
            </p:txBody>
          </p:sp>
          <p:sp>
            <p:nvSpPr>
              <p:cNvPr id="460" name="Freihandform: Form 951">
                <a:extLst>
                  <a:ext uri="{FF2B5EF4-FFF2-40B4-BE49-F238E27FC236}">
                    <a16:creationId xmlns:a16="http://schemas.microsoft.com/office/drawing/2014/main" id="{16763429-AA03-4DFA-9086-E96FF31C5C22}"/>
                  </a:ext>
                </a:extLst>
              </p:cNvPr>
              <p:cNvSpPr/>
              <p:nvPr/>
            </p:nvSpPr>
            <p:spPr>
              <a:xfrm>
                <a:off x="7955114" y="2446028"/>
                <a:ext cx="144127" cy="33673"/>
              </a:xfrm>
              <a:custGeom>
                <a:avLst/>
                <a:gdLst>
                  <a:gd name="connsiteX0" fmla="*/ 107024 w 144127"/>
                  <a:gd name="connsiteY0" fmla="*/ 33674 h 33673"/>
                  <a:gd name="connsiteX1" fmla="*/ 86604 w 144127"/>
                  <a:gd name="connsiteY1" fmla="*/ 26558 h 33673"/>
                  <a:gd name="connsiteX2" fmla="*/ 84284 w 144127"/>
                  <a:gd name="connsiteY2" fmla="*/ 24702 h 33673"/>
                  <a:gd name="connsiteX3" fmla="*/ 59894 w 144127"/>
                  <a:gd name="connsiteY3" fmla="*/ 24702 h 33673"/>
                  <a:gd name="connsiteX4" fmla="*/ 18927 w 144127"/>
                  <a:gd name="connsiteY4" fmla="*/ 24856 h 33673"/>
                  <a:gd name="connsiteX5" fmla="*/ 2452 w 144127"/>
                  <a:gd name="connsiteY5" fmla="*/ 11656 h 33673"/>
                  <a:gd name="connsiteX6" fmla="*/ 1421 w 144127"/>
                  <a:gd name="connsiteY6" fmla="*/ 2452 h 33673"/>
                  <a:gd name="connsiteX7" fmla="*/ 10625 w 144127"/>
                  <a:gd name="connsiteY7" fmla="*/ 1421 h 33673"/>
                  <a:gd name="connsiteX8" fmla="*/ 27100 w 144127"/>
                  <a:gd name="connsiteY8" fmla="*/ 14621 h 33673"/>
                  <a:gd name="connsiteX9" fmla="*/ 51464 w 144127"/>
                  <a:gd name="connsiteY9" fmla="*/ 14621 h 33673"/>
                  <a:gd name="connsiteX10" fmla="*/ 92431 w 144127"/>
                  <a:gd name="connsiteY10" fmla="*/ 14466 h 33673"/>
                  <a:gd name="connsiteX11" fmla="*/ 94752 w 144127"/>
                  <a:gd name="connsiteY11" fmla="*/ 16323 h 33673"/>
                  <a:gd name="connsiteX12" fmla="*/ 116976 w 144127"/>
                  <a:gd name="connsiteY12" fmla="*/ 17818 h 33673"/>
                  <a:gd name="connsiteX13" fmla="*/ 134198 w 144127"/>
                  <a:gd name="connsiteY13" fmla="*/ 7479 h 33673"/>
                  <a:gd name="connsiteX14" fmla="*/ 143196 w 144127"/>
                  <a:gd name="connsiteY14" fmla="*/ 9722 h 33673"/>
                  <a:gd name="connsiteX15" fmla="*/ 140953 w 144127"/>
                  <a:gd name="connsiteY15" fmla="*/ 18720 h 33673"/>
                  <a:gd name="connsiteX16" fmla="*/ 123730 w 144127"/>
                  <a:gd name="connsiteY16" fmla="*/ 29059 h 33673"/>
                  <a:gd name="connsiteX17" fmla="*/ 107024 w 144127"/>
                  <a:gd name="connsiteY17" fmla="*/ 33674 h 3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4127" h="33673">
                    <a:moveTo>
                      <a:pt x="107024" y="33674"/>
                    </a:moveTo>
                    <a:cubicBezTo>
                      <a:pt x="99753" y="33674"/>
                      <a:pt x="92509" y="31276"/>
                      <a:pt x="86604" y="26558"/>
                    </a:cubicBezTo>
                    <a:lnTo>
                      <a:pt x="84284" y="24702"/>
                    </a:lnTo>
                    <a:cubicBezTo>
                      <a:pt x="77091" y="18952"/>
                      <a:pt x="67062" y="18952"/>
                      <a:pt x="59894" y="24702"/>
                    </a:cubicBezTo>
                    <a:cubicBezTo>
                      <a:pt x="47699" y="34473"/>
                      <a:pt x="30941" y="34473"/>
                      <a:pt x="18927" y="24856"/>
                    </a:cubicBezTo>
                    <a:lnTo>
                      <a:pt x="2452" y="11656"/>
                    </a:lnTo>
                    <a:cubicBezTo>
                      <a:pt x="-358" y="9387"/>
                      <a:pt x="-822" y="5262"/>
                      <a:pt x="1421" y="2452"/>
                    </a:cubicBezTo>
                    <a:cubicBezTo>
                      <a:pt x="3689" y="-358"/>
                      <a:pt x="7815" y="-822"/>
                      <a:pt x="10625" y="1421"/>
                    </a:cubicBezTo>
                    <a:lnTo>
                      <a:pt x="27100" y="14621"/>
                    </a:lnTo>
                    <a:cubicBezTo>
                      <a:pt x="34267" y="20370"/>
                      <a:pt x="44296" y="20370"/>
                      <a:pt x="51464" y="14621"/>
                    </a:cubicBezTo>
                    <a:cubicBezTo>
                      <a:pt x="63658" y="4850"/>
                      <a:pt x="80417" y="4850"/>
                      <a:pt x="92431" y="14466"/>
                    </a:cubicBezTo>
                    <a:lnTo>
                      <a:pt x="94752" y="16323"/>
                    </a:lnTo>
                    <a:cubicBezTo>
                      <a:pt x="101094" y="21402"/>
                      <a:pt x="110014" y="21995"/>
                      <a:pt x="116976" y="17818"/>
                    </a:cubicBezTo>
                    <a:lnTo>
                      <a:pt x="134198" y="7479"/>
                    </a:lnTo>
                    <a:cubicBezTo>
                      <a:pt x="137292" y="5597"/>
                      <a:pt x="141339" y="6629"/>
                      <a:pt x="143196" y="9722"/>
                    </a:cubicBezTo>
                    <a:cubicBezTo>
                      <a:pt x="145052" y="12816"/>
                      <a:pt x="144047" y="16864"/>
                      <a:pt x="140953" y="18720"/>
                    </a:cubicBezTo>
                    <a:lnTo>
                      <a:pt x="123730" y="29059"/>
                    </a:lnTo>
                    <a:cubicBezTo>
                      <a:pt x="118626" y="32127"/>
                      <a:pt x="112825" y="33674"/>
                      <a:pt x="107024" y="33674"/>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685" name="Group 684">
            <a:extLst>
              <a:ext uri="{FF2B5EF4-FFF2-40B4-BE49-F238E27FC236}">
                <a16:creationId xmlns:a16="http://schemas.microsoft.com/office/drawing/2014/main" id="{DA792A63-6325-4196-A01E-C1A4BC830B87}"/>
              </a:ext>
            </a:extLst>
          </p:cNvPr>
          <p:cNvGrpSpPr/>
          <p:nvPr/>
        </p:nvGrpSpPr>
        <p:grpSpPr>
          <a:xfrm>
            <a:off x="7078510" y="2391526"/>
            <a:ext cx="457630" cy="432000"/>
            <a:chOff x="7078098" y="2391526"/>
            <a:chExt cx="457630" cy="432000"/>
          </a:xfrm>
        </p:grpSpPr>
        <p:grpSp>
          <p:nvGrpSpPr>
            <p:cNvPr id="470" name="Group 469">
              <a:extLst>
                <a:ext uri="{FF2B5EF4-FFF2-40B4-BE49-F238E27FC236}">
                  <a16:creationId xmlns:a16="http://schemas.microsoft.com/office/drawing/2014/main" id="{7244B06F-A5BC-4DD1-B250-91AFB3336B9B}"/>
                </a:ext>
              </a:extLst>
            </p:cNvPr>
            <p:cNvGrpSpPr/>
            <p:nvPr/>
          </p:nvGrpSpPr>
          <p:grpSpPr>
            <a:xfrm>
              <a:off x="7244291" y="2542778"/>
              <a:ext cx="124504" cy="170292"/>
              <a:chOff x="6302649" y="3405897"/>
              <a:chExt cx="131965" cy="180496"/>
            </a:xfrm>
          </p:grpSpPr>
          <p:sp>
            <p:nvSpPr>
              <p:cNvPr id="475" name="Freihandform: Form 954">
                <a:extLst>
                  <a:ext uri="{FF2B5EF4-FFF2-40B4-BE49-F238E27FC236}">
                    <a16:creationId xmlns:a16="http://schemas.microsoft.com/office/drawing/2014/main" id="{F7F56BFA-AD7C-444C-B0A0-F617C5FFF596}"/>
                  </a:ext>
                </a:extLst>
              </p:cNvPr>
              <p:cNvSpPr/>
              <p:nvPr/>
            </p:nvSpPr>
            <p:spPr>
              <a:xfrm>
                <a:off x="6302649" y="3405897"/>
                <a:ext cx="131965" cy="180496"/>
              </a:xfrm>
              <a:custGeom>
                <a:avLst/>
                <a:gdLst>
                  <a:gd name="connsiteX0" fmla="*/ 48366 w 131965"/>
                  <a:gd name="connsiteY0" fmla="*/ 180496 h 180496"/>
                  <a:gd name="connsiteX1" fmla="*/ 46922 w 131965"/>
                  <a:gd name="connsiteY1" fmla="*/ 180341 h 180496"/>
                  <a:gd name="connsiteX2" fmla="*/ 28462 w 131965"/>
                  <a:gd name="connsiteY2" fmla="*/ 173586 h 180496"/>
                  <a:gd name="connsiteX3" fmla="*/ 2474 w 131965"/>
                  <a:gd name="connsiteY3" fmla="*/ 140457 h 180496"/>
                  <a:gd name="connsiteX4" fmla="*/ 14411 w 131965"/>
                  <a:gd name="connsiteY4" fmla="*/ 63085 h 180496"/>
                  <a:gd name="connsiteX5" fmla="*/ 8455 w 131965"/>
                  <a:gd name="connsiteY5" fmla="*/ 10412 h 180496"/>
                  <a:gd name="connsiteX6" fmla="*/ 8197 w 131965"/>
                  <a:gd name="connsiteY6" fmla="*/ 3090 h 180496"/>
                  <a:gd name="connsiteX7" fmla="*/ 14849 w 131965"/>
                  <a:gd name="connsiteY7" fmla="*/ 100 h 180496"/>
                  <a:gd name="connsiteX8" fmla="*/ 81831 w 131965"/>
                  <a:gd name="connsiteY8" fmla="*/ 34957 h 180496"/>
                  <a:gd name="connsiteX9" fmla="*/ 86549 w 131965"/>
                  <a:gd name="connsiteY9" fmla="*/ 18688 h 180496"/>
                  <a:gd name="connsiteX10" fmla="*/ 91602 w 131965"/>
                  <a:gd name="connsiteY10" fmla="*/ 14073 h 180496"/>
                  <a:gd name="connsiteX11" fmla="*/ 97996 w 131965"/>
                  <a:gd name="connsiteY11" fmla="*/ 16445 h 180496"/>
                  <a:gd name="connsiteX12" fmla="*/ 130558 w 131965"/>
                  <a:gd name="connsiteY12" fmla="*/ 120476 h 180496"/>
                  <a:gd name="connsiteX13" fmla="*/ 95160 w 131965"/>
                  <a:gd name="connsiteY13" fmla="*/ 177789 h 180496"/>
                  <a:gd name="connsiteX14" fmla="*/ 86085 w 131965"/>
                  <a:gd name="connsiteY14" fmla="*/ 175829 h 180496"/>
                  <a:gd name="connsiteX15" fmla="*/ 88044 w 131965"/>
                  <a:gd name="connsiteY15" fmla="*/ 166780 h 180496"/>
                  <a:gd name="connsiteX16" fmla="*/ 117642 w 131965"/>
                  <a:gd name="connsiteY16" fmla="*/ 118336 h 180496"/>
                  <a:gd name="connsiteX17" fmla="*/ 95443 w 131965"/>
                  <a:gd name="connsiteY17" fmla="*/ 35111 h 180496"/>
                  <a:gd name="connsiteX18" fmla="*/ 90803 w 131965"/>
                  <a:gd name="connsiteY18" fmla="*/ 51045 h 180496"/>
                  <a:gd name="connsiteX19" fmla="*/ 85517 w 131965"/>
                  <a:gd name="connsiteY19" fmla="*/ 55685 h 180496"/>
                  <a:gd name="connsiteX20" fmla="*/ 79072 w 131965"/>
                  <a:gd name="connsiteY20" fmla="*/ 52875 h 180496"/>
                  <a:gd name="connsiteX21" fmla="*/ 26245 w 131965"/>
                  <a:gd name="connsiteY21" fmla="*/ 16059 h 180496"/>
                  <a:gd name="connsiteX22" fmla="*/ 25935 w 131965"/>
                  <a:gd name="connsiteY22" fmla="*/ 69298 h 180496"/>
                  <a:gd name="connsiteX23" fmla="*/ 15133 w 131965"/>
                  <a:gd name="connsiteY23" fmla="*/ 137002 h 180496"/>
                  <a:gd name="connsiteX24" fmla="*/ 34727 w 131965"/>
                  <a:gd name="connsiteY24" fmla="*/ 162036 h 180496"/>
                  <a:gd name="connsiteX25" fmla="*/ 49809 w 131965"/>
                  <a:gd name="connsiteY25" fmla="*/ 167528 h 180496"/>
                  <a:gd name="connsiteX26" fmla="*/ 54759 w 131965"/>
                  <a:gd name="connsiteY26" fmla="*/ 175365 h 180496"/>
                  <a:gd name="connsiteX27" fmla="*/ 48366 w 131965"/>
                  <a:gd name="connsiteY27" fmla="*/ 180496 h 180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1965" h="180496">
                    <a:moveTo>
                      <a:pt x="48366" y="180496"/>
                    </a:moveTo>
                    <a:cubicBezTo>
                      <a:pt x="47876" y="180496"/>
                      <a:pt x="47412" y="180444"/>
                      <a:pt x="46922" y="180341"/>
                    </a:cubicBezTo>
                    <a:cubicBezTo>
                      <a:pt x="40090" y="178794"/>
                      <a:pt x="33876" y="176525"/>
                      <a:pt x="28462" y="173586"/>
                    </a:cubicBezTo>
                    <a:cubicBezTo>
                      <a:pt x="15236" y="166393"/>
                      <a:pt x="6496" y="155255"/>
                      <a:pt x="2474" y="140457"/>
                    </a:cubicBezTo>
                    <a:cubicBezTo>
                      <a:pt x="-6318" y="108074"/>
                      <a:pt x="10879" y="68937"/>
                      <a:pt x="14411" y="63085"/>
                    </a:cubicBezTo>
                    <a:cubicBezTo>
                      <a:pt x="27018" y="36607"/>
                      <a:pt x="9229" y="11469"/>
                      <a:pt x="8455" y="10412"/>
                    </a:cubicBezTo>
                    <a:cubicBezTo>
                      <a:pt x="6882" y="8247"/>
                      <a:pt x="6779" y="5359"/>
                      <a:pt x="8197" y="3090"/>
                    </a:cubicBezTo>
                    <a:cubicBezTo>
                      <a:pt x="9615" y="821"/>
                      <a:pt x="12245" y="-365"/>
                      <a:pt x="14849" y="100"/>
                    </a:cubicBezTo>
                    <a:cubicBezTo>
                      <a:pt x="43570" y="4998"/>
                      <a:pt x="65614" y="16471"/>
                      <a:pt x="81831" y="34957"/>
                    </a:cubicBezTo>
                    <a:lnTo>
                      <a:pt x="86549" y="18688"/>
                    </a:lnTo>
                    <a:cubicBezTo>
                      <a:pt x="87245" y="16342"/>
                      <a:pt x="89178" y="14563"/>
                      <a:pt x="91602" y="14073"/>
                    </a:cubicBezTo>
                    <a:cubicBezTo>
                      <a:pt x="94000" y="13609"/>
                      <a:pt x="96475" y="14512"/>
                      <a:pt x="97996" y="16445"/>
                    </a:cubicBezTo>
                    <a:cubicBezTo>
                      <a:pt x="132054" y="59630"/>
                      <a:pt x="134503" y="96859"/>
                      <a:pt x="130558" y="120476"/>
                    </a:cubicBezTo>
                    <a:cubicBezTo>
                      <a:pt x="126485" y="144994"/>
                      <a:pt x="113568" y="165878"/>
                      <a:pt x="95160" y="177789"/>
                    </a:cubicBezTo>
                    <a:cubicBezTo>
                      <a:pt x="92118" y="179748"/>
                      <a:pt x="88070" y="178872"/>
                      <a:pt x="86085" y="175829"/>
                    </a:cubicBezTo>
                    <a:cubicBezTo>
                      <a:pt x="84125" y="172787"/>
                      <a:pt x="85002" y="168739"/>
                      <a:pt x="88044" y="166780"/>
                    </a:cubicBezTo>
                    <a:cubicBezTo>
                      <a:pt x="103152" y="157034"/>
                      <a:pt x="114213" y="138910"/>
                      <a:pt x="117642" y="118336"/>
                    </a:cubicBezTo>
                    <a:cubicBezTo>
                      <a:pt x="120813" y="99231"/>
                      <a:pt x="119163" y="69917"/>
                      <a:pt x="95443" y="35111"/>
                    </a:cubicBezTo>
                    <a:lnTo>
                      <a:pt x="90803" y="51045"/>
                    </a:lnTo>
                    <a:cubicBezTo>
                      <a:pt x="90081" y="53494"/>
                      <a:pt x="88018" y="55299"/>
                      <a:pt x="85517" y="55685"/>
                    </a:cubicBezTo>
                    <a:cubicBezTo>
                      <a:pt x="82991" y="56072"/>
                      <a:pt x="80490" y="54964"/>
                      <a:pt x="79072" y="52875"/>
                    </a:cubicBezTo>
                    <a:cubicBezTo>
                      <a:pt x="66800" y="34622"/>
                      <a:pt x="49423" y="22504"/>
                      <a:pt x="26245" y="16059"/>
                    </a:cubicBezTo>
                    <a:cubicBezTo>
                      <a:pt x="31453" y="28537"/>
                      <a:pt x="35939" y="48338"/>
                      <a:pt x="25935" y="69298"/>
                    </a:cubicBezTo>
                    <a:cubicBezTo>
                      <a:pt x="21423" y="76827"/>
                      <a:pt x="8146" y="111297"/>
                      <a:pt x="15133" y="137002"/>
                    </a:cubicBezTo>
                    <a:cubicBezTo>
                      <a:pt x="18226" y="148372"/>
                      <a:pt x="24620" y="156570"/>
                      <a:pt x="34727" y="162036"/>
                    </a:cubicBezTo>
                    <a:cubicBezTo>
                      <a:pt x="39084" y="164408"/>
                      <a:pt x="44163" y="166239"/>
                      <a:pt x="49809" y="167528"/>
                    </a:cubicBezTo>
                    <a:cubicBezTo>
                      <a:pt x="53341" y="168327"/>
                      <a:pt x="55559" y="171833"/>
                      <a:pt x="54759" y="175365"/>
                    </a:cubicBezTo>
                    <a:cubicBezTo>
                      <a:pt x="54063" y="178433"/>
                      <a:pt x="51356" y="180496"/>
                      <a:pt x="48366" y="180496"/>
                    </a:cubicBezTo>
                    <a:close/>
                  </a:path>
                </a:pathLst>
              </a:custGeom>
              <a:solidFill>
                <a:schemeClr val="accent1"/>
              </a:solidFill>
              <a:ln w="2573" cap="flat">
                <a:noFill/>
                <a:prstDash val="solid"/>
                <a:miter/>
              </a:ln>
            </p:spPr>
            <p:txBody>
              <a:bodyPr rtlCol="0" anchor="ctr"/>
              <a:lstStyle/>
              <a:p>
                <a:endParaRPr lang="en-GB" dirty="0"/>
              </a:p>
            </p:txBody>
          </p:sp>
          <p:sp>
            <p:nvSpPr>
              <p:cNvPr id="476" name="Freihandform: Form 955">
                <a:extLst>
                  <a:ext uri="{FF2B5EF4-FFF2-40B4-BE49-F238E27FC236}">
                    <a16:creationId xmlns:a16="http://schemas.microsoft.com/office/drawing/2014/main" id="{8D07FADA-B23C-4D62-93A7-E5D7E55EC542}"/>
                  </a:ext>
                </a:extLst>
              </p:cNvPr>
              <p:cNvSpPr/>
              <p:nvPr/>
            </p:nvSpPr>
            <p:spPr>
              <a:xfrm>
                <a:off x="6322920" y="3474544"/>
                <a:ext cx="82767" cy="111436"/>
              </a:xfrm>
              <a:custGeom>
                <a:avLst/>
                <a:gdLst>
                  <a:gd name="connsiteX0" fmla="*/ 28094 w 82767"/>
                  <a:gd name="connsiteY0" fmla="*/ 111437 h 111436"/>
                  <a:gd name="connsiteX1" fmla="*/ 23634 w 82767"/>
                  <a:gd name="connsiteY1" fmla="*/ 109683 h 111436"/>
                  <a:gd name="connsiteX2" fmla="*/ 121 w 82767"/>
                  <a:gd name="connsiteY2" fmla="*/ 58970 h 111436"/>
                  <a:gd name="connsiteX3" fmla="*/ 36422 w 82767"/>
                  <a:gd name="connsiteY3" fmla="*/ 1219 h 111436"/>
                  <a:gd name="connsiteX4" fmla="*/ 44595 w 82767"/>
                  <a:gd name="connsiteY4" fmla="*/ 1683 h 111436"/>
                  <a:gd name="connsiteX5" fmla="*/ 45935 w 82767"/>
                  <a:gd name="connsiteY5" fmla="*/ 9752 h 111436"/>
                  <a:gd name="connsiteX6" fmla="*/ 51607 w 82767"/>
                  <a:gd name="connsiteY6" fmla="*/ 24500 h 111436"/>
                  <a:gd name="connsiteX7" fmla="*/ 53180 w 82767"/>
                  <a:gd name="connsiteY7" fmla="*/ 27026 h 111436"/>
                  <a:gd name="connsiteX8" fmla="*/ 60786 w 82767"/>
                  <a:gd name="connsiteY8" fmla="*/ 56521 h 111436"/>
                  <a:gd name="connsiteX9" fmla="*/ 64473 w 82767"/>
                  <a:gd name="connsiteY9" fmla="*/ 54123 h 111436"/>
                  <a:gd name="connsiteX10" fmla="*/ 70634 w 82767"/>
                  <a:gd name="connsiteY10" fmla="*/ 55851 h 111436"/>
                  <a:gd name="connsiteX11" fmla="*/ 78292 w 82767"/>
                  <a:gd name="connsiteY11" fmla="*/ 105249 h 111436"/>
                  <a:gd name="connsiteX12" fmla="*/ 69500 w 82767"/>
                  <a:gd name="connsiteY12" fmla="*/ 108214 h 111436"/>
                  <a:gd name="connsiteX13" fmla="*/ 66509 w 82767"/>
                  <a:gd name="connsiteY13" fmla="*/ 99448 h 111436"/>
                  <a:gd name="connsiteX14" fmla="*/ 66509 w 82767"/>
                  <a:gd name="connsiteY14" fmla="*/ 99448 h 111436"/>
                  <a:gd name="connsiteX15" fmla="*/ 67180 w 82767"/>
                  <a:gd name="connsiteY15" fmla="*/ 73382 h 111436"/>
                  <a:gd name="connsiteX16" fmla="*/ 52097 w 82767"/>
                  <a:gd name="connsiteY16" fmla="*/ 83798 h 111436"/>
                  <a:gd name="connsiteX17" fmla="*/ 46245 w 82767"/>
                  <a:gd name="connsiteY17" fmla="*/ 80653 h 111436"/>
                  <a:gd name="connsiteX18" fmla="*/ 45755 w 82767"/>
                  <a:gd name="connsiteY18" fmla="*/ 70443 h 111436"/>
                  <a:gd name="connsiteX19" fmla="*/ 41527 w 82767"/>
                  <a:gd name="connsiteY19" fmla="*/ 33034 h 111436"/>
                  <a:gd name="connsiteX20" fmla="*/ 40547 w 82767"/>
                  <a:gd name="connsiteY20" fmla="*/ 31538 h 111436"/>
                  <a:gd name="connsiteX21" fmla="*/ 34437 w 82767"/>
                  <a:gd name="connsiteY21" fmla="*/ 20169 h 111436"/>
                  <a:gd name="connsiteX22" fmla="*/ 13192 w 82767"/>
                  <a:gd name="connsiteY22" fmla="*/ 59847 h 111436"/>
                  <a:gd name="connsiteX23" fmla="*/ 32554 w 82767"/>
                  <a:gd name="connsiteY23" fmla="*/ 100041 h 111436"/>
                  <a:gd name="connsiteX24" fmla="*/ 32890 w 82767"/>
                  <a:gd name="connsiteY24" fmla="*/ 109297 h 111436"/>
                  <a:gd name="connsiteX25" fmla="*/ 28094 w 82767"/>
                  <a:gd name="connsiteY25" fmla="*/ 111437 h 111436"/>
                  <a:gd name="connsiteX26" fmla="*/ 51710 w 82767"/>
                  <a:gd name="connsiteY26" fmla="*/ 70882 h 111436"/>
                  <a:gd name="connsiteX27" fmla="*/ 51710 w 82767"/>
                  <a:gd name="connsiteY27" fmla="*/ 70882 h 111436"/>
                  <a:gd name="connsiteX28" fmla="*/ 51710 w 82767"/>
                  <a:gd name="connsiteY28" fmla="*/ 70882 h 111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2767" h="111436">
                    <a:moveTo>
                      <a:pt x="28094" y="111437"/>
                    </a:moveTo>
                    <a:cubicBezTo>
                      <a:pt x="26496" y="111437"/>
                      <a:pt x="24897" y="110844"/>
                      <a:pt x="23634" y="109683"/>
                    </a:cubicBezTo>
                    <a:cubicBezTo>
                      <a:pt x="6824" y="94060"/>
                      <a:pt x="-1091" y="76992"/>
                      <a:pt x="121" y="58970"/>
                    </a:cubicBezTo>
                    <a:cubicBezTo>
                      <a:pt x="2338" y="25737"/>
                      <a:pt x="35030" y="2198"/>
                      <a:pt x="36422" y="1219"/>
                    </a:cubicBezTo>
                    <a:cubicBezTo>
                      <a:pt x="38923" y="-560"/>
                      <a:pt x="42326" y="-380"/>
                      <a:pt x="44595" y="1683"/>
                    </a:cubicBezTo>
                    <a:cubicBezTo>
                      <a:pt x="46863" y="3720"/>
                      <a:pt x="47431" y="7097"/>
                      <a:pt x="45935" y="9752"/>
                    </a:cubicBezTo>
                    <a:cubicBezTo>
                      <a:pt x="44775" y="11841"/>
                      <a:pt x="46683" y="16817"/>
                      <a:pt x="51607" y="24500"/>
                    </a:cubicBezTo>
                    <a:cubicBezTo>
                      <a:pt x="52278" y="25531"/>
                      <a:pt x="52819" y="26382"/>
                      <a:pt x="53180" y="27026"/>
                    </a:cubicBezTo>
                    <a:cubicBezTo>
                      <a:pt x="58826" y="38886"/>
                      <a:pt x="60631" y="48735"/>
                      <a:pt x="60786" y="56521"/>
                    </a:cubicBezTo>
                    <a:cubicBezTo>
                      <a:pt x="61688" y="55335"/>
                      <a:pt x="62977" y="54484"/>
                      <a:pt x="64473" y="54123"/>
                    </a:cubicBezTo>
                    <a:cubicBezTo>
                      <a:pt x="66664" y="53582"/>
                      <a:pt x="69010" y="54252"/>
                      <a:pt x="70634" y="55851"/>
                    </a:cubicBezTo>
                    <a:cubicBezTo>
                      <a:pt x="91905" y="77018"/>
                      <a:pt x="78859" y="104115"/>
                      <a:pt x="78292" y="105249"/>
                    </a:cubicBezTo>
                    <a:cubicBezTo>
                      <a:pt x="76667" y="108498"/>
                      <a:pt x="72749" y="109812"/>
                      <a:pt x="69500" y="108214"/>
                    </a:cubicBezTo>
                    <a:cubicBezTo>
                      <a:pt x="66277" y="106615"/>
                      <a:pt x="64937" y="102697"/>
                      <a:pt x="66509" y="99448"/>
                    </a:cubicBezTo>
                    <a:lnTo>
                      <a:pt x="66509" y="99448"/>
                    </a:lnTo>
                    <a:cubicBezTo>
                      <a:pt x="66819" y="98778"/>
                      <a:pt x="72877" y="85938"/>
                      <a:pt x="67180" y="73382"/>
                    </a:cubicBezTo>
                    <a:cubicBezTo>
                      <a:pt x="62384" y="80833"/>
                      <a:pt x="56454" y="84082"/>
                      <a:pt x="52097" y="83798"/>
                    </a:cubicBezTo>
                    <a:cubicBezTo>
                      <a:pt x="49674" y="83644"/>
                      <a:pt x="47585" y="82509"/>
                      <a:pt x="46245" y="80653"/>
                    </a:cubicBezTo>
                    <a:cubicBezTo>
                      <a:pt x="43924" y="77456"/>
                      <a:pt x="44827" y="74053"/>
                      <a:pt x="45755" y="70443"/>
                    </a:cubicBezTo>
                    <a:cubicBezTo>
                      <a:pt x="47431" y="63998"/>
                      <a:pt x="50576" y="52035"/>
                      <a:pt x="41527" y="33034"/>
                    </a:cubicBezTo>
                    <a:cubicBezTo>
                      <a:pt x="41449" y="32956"/>
                      <a:pt x="41037" y="32312"/>
                      <a:pt x="40547" y="31538"/>
                    </a:cubicBezTo>
                    <a:cubicBezTo>
                      <a:pt x="38819" y="28831"/>
                      <a:pt x="36215" y="24758"/>
                      <a:pt x="34437" y="20169"/>
                    </a:cubicBezTo>
                    <a:cubicBezTo>
                      <a:pt x="25800" y="28702"/>
                      <a:pt x="14275" y="43089"/>
                      <a:pt x="13192" y="59847"/>
                    </a:cubicBezTo>
                    <a:cubicBezTo>
                      <a:pt x="12290" y="73718"/>
                      <a:pt x="18813" y="87227"/>
                      <a:pt x="32554" y="100041"/>
                    </a:cubicBezTo>
                    <a:cubicBezTo>
                      <a:pt x="35210" y="102516"/>
                      <a:pt x="35365" y="106641"/>
                      <a:pt x="32890" y="109297"/>
                    </a:cubicBezTo>
                    <a:cubicBezTo>
                      <a:pt x="31600" y="110741"/>
                      <a:pt x="29847" y="111437"/>
                      <a:pt x="28094" y="111437"/>
                    </a:cubicBezTo>
                    <a:close/>
                    <a:moveTo>
                      <a:pt x="51710" y="70882"/>
                    </a:moveTo>
                    <a:lnTo>
                      <a:pt x="51710" y="70882"/>
                    </a:lnTo>
                    <a:lnTo>
                      <a:pt x="51710" y="70882"/>
                    </a:lnTo>
                    <a:close/>
                  </a:path>
                </a:pathLst>
              </a:custGeom>
              <a:solidFill>
                <a:schemeClr val="accent1"/>
              </a:solidFill>
              <a:ln w="2573" cap="flat">
                <a:noFill/>
                <a:prstDash val="solid"/>
                <a:miter/>
              </a:ln>
            </p:spPr>
            <p:txBody>
              <a:bodyPr rtlCol="0" anchor="ctr"/>
              <a:lstStyle/>
              <a:p>
                <a:endParaRPr lang="en-GB" dirty="0"/>
              </a:p>
            </p:txBody>
          </p:sp>
        </p:grpSp>
        <p:grpSp>
          <p:nvGrpSpPr>
            <p:cNvPr id="471" name="Group 470">
              <a:extLst>
                <a:ext uri="{FF2B5EF4-FFF2-40B4-BE49-F238E27FC236}">
                  <a16:creationId xmlns:a16="http://schemas.microsoft.com/office/drawing/2014/main" id="{403BECC9-0E02-4BD6-906C-D987CC5D4E1C}"/>
                </a:ext>
              </a:extLst>
            </p:cNvPr>
            <p:cNvGrpSpPr/>
            <p:nvPr/>
          </p:nvGrpSpPr>
          <p:grpSpPr>
            <a:xfrm>
              <a:off x="7078098" y="2391526"/>
              <a:ext cx="457630" cy="432000"/>
              <a:chOff x="6126497" y="3245581"/>
              <a:chExt cx="485053" cy="457887"/>
            </a:xfrm>
          </p:grpSpPr>
          <p:sp>
            <p:nvSpPr>
              <p:cNvPr id="472" name="Freihandform: Form 957">
                <a:extLst>
                  <a:ext uri="{FF2B5EF4-FFF2-40B4-BE49-F238E27FC236}">
                    <a16:creationId xmlns:a16="http://schemas.microsoft.com/office/drawing/2014/main" id="{D0FE4FD3-0EB5-4E16-BA48-8654A7367DA6}"/>
                  </a:ext>
                </a:extLst>
              </p:cNvPr>
              <p:cNvSpPr/>
              <p:nvPr/>
            </p:nvSpPr>
            <p:spPr>
              <a:xfrm>
                <a:off x="6250423" y="3245581"/>
                <a:ext cx="243646" cy="142162"/>
              </a:xfrm>
              <a:custGeom>
                <a:avLst/>
                <a:gdLst>
                  <a:gd name="connsiteX0" fmla="*/ 212072 w 243646"/>
                  <a:gd name="connsiteY0" fmla="*/ 142162 h 142162"/>
                  <a:gd name="connsiteX1" fmla="*/ 208720 w 243646"/>
                  <a:gd name="connsiteY1" fmla="*/ 141646 h 142162"/>
                  <a:gd name="connsiteX2" fmla="*/ 190054 w 243646"/>
                  <a:gd name="connsiteY2" fmla="*/ 135691 h 142162"/>
                  <a:gd name="connsiteX3" fmla="*/ 124981 w 243646"/>
                  <a:gd name="connsiteY3" fmla="*/ 115117 h 142162"/>
                  <a:gd name="connsiteX4" fmla="*/ 117375 w 243646"/>
                  <a:gd name="connsiteY4" fmla="*/ 107717 h 142162"/>
                  <a:gd name="connsiteX5" fmla="*/ 124568 w 243646"/>
                  <a:gd name="connsiteY5" fmla="*/ 97843 h 142162"/>
                  <a:gd name="connsiteX6" fmla="*/ 134907 w 243646"/>
                  <a:gd name="connsiteY6" fmla="*/ 92248 h 142162"/>
                  <a:gd name="connsiteX7" fmla="*/ 137872 w 243646"/>
                  <a:gd name="connsiteY7" fmla="*/ 90624 h 142162"/>
                  <a:gd name="connsiteX8" fmla="*/ 117401 w 243646"/>
                  <a:gd name="connsiteY8" fmla="*/ 54839 h 142162"/>
                  <a:gd name="connsiteX9" fmla="*/ 81254 w 243646"/>
                  <a:gd name="connsiteY9" fmla="*/ 124476 h 142162"/>
                  <a:gd name="connsiteX10" fmla="*/ 72411 w 243646"/>
                  <a:gd name="connsiteY10" fmla="*/ 127260 h 142162"/>
                  <a:gd name="connsiteX11" fmla="*/ 3522 w 243646"/>
                  <a:gd name="connsiteY11" fmla="*/ 91526 h 142162"/>
                  <a:gd name="connsiteX12" fmla="*/ 299 w 243646"/>
                  <a:gd name="connsiteY12" fmla="*/ 87685 h 142162"/>
                  <a:gd name="connsiteX13" fmla="*/ 737 w 243646"/>
                  <a:gd name="connsiteY13" fmla="*/ 82683 h 142162"/>
                  <a:gd name="connsiteX14" fmla="*/ 41034 w 243646"/>
                  <a:gd name="connsiteY14" fmla="*/ 5415 h 142162"/>
                  <a:gd name="connsiteX15" fmla="*/ 46758 w 243646"/>
                  <a:gd name="connsiteY15" fmla="*/ 1882 h 142162"/>
                  <a:gd name="connsiteX16" fmla="*/ 184872 w 243646"/>
                  <a:gd name="connsiteY16" fmla="*/ 0 h 142162"/>
                  <a:gd name="connsiteX17" fmla="*/ 190750 w 243646"/>
                  <a:gd name="connsiteY17" fmla="*/ 3507 h 142162"/>
                  <a:gd name="connsiteX18" fmla="*/ 205601 w 243646"/>
                  <a:gd name="connsiteY18" fmla="*/ 32099 h 142162"/>
                  <a:gd name="connsiteX19" fmla="*/ 214496 w 243646"/>
                  <a:gd name="connsiteY19" fmla="*/ 49270 h 142162"/>
                  <a:gd name="connsiteX20" fmla="*/ 227722 w 243646"/>
                  <a:gd name="connsiteY20" fmla="*/ 42128 h 142162"/>
                  <a:gd name="connsiteX21" fmla="*/ 240845 w 243646"/>
                  <a:gd name="connsiteY21" fmla="*/ 41587 h 142162"/>
                  <a:gd name="connsiteX22" fmla="*/ 242753 w 243646"/>
                  <a:gd name="connsiteY22" fmla="*/ 52647 h 142162"/>
                  <a:gd name="connsiteX23" fmla="*/ 223158 w 243646"/>
                  <a:gd name="connsiteY23" fmla="*/ 129245 h 142162"/>
                  <a:gd name="connsiteX24" fmla="*/ 221947 w 243646"/>
                  <a:gd name="connsiteY24" fmla="*/ 134324 h 142162"/>
                  <a:gd name="connsiteX25" fmla="*/ 216919 w 243646"/>
                  <a:gd name="connsiteY25" fmla="*/ 140899 h 142162"/>
                  <a:gd name="connsiteX26" fmla="*/ 212072 w 243646"/>
                  <a:gd name="connsiteY26" fmla="*/ 142162 h 142162"/>
                  <a:gd name="connsiteX27" fmla="*/ 212433 w 243646"/>
                  <a:gd name="connsiteY27" fmla="*/ 129091 h 142162"/>
                  <a:gd name="connsiteX28" fmla="*/ 212459 w 243646"/>
                  <a:gd name="connsiteY28" fmla="*/ 129091 h 142162"/>
                  <a:gd name="connsiteX29" fmla="*/ 212433 w 243646"/>
                  <a:gd name="connsiteY29" fmla="*/ 129091 h 142162"/>
                  <a:gd name="connsiteX30" fmla="*/ 138129 w 243646"/>
                  <a:gd name="connsiteY30" fmla="*/ 105397 h 142162"/>
                  <a:gd name="connsiteX31" fmla="*/ 194050 w 243646"/>
                  <a:gd name="connsiteY31" fmla="*/ 123212 h 142162"/>
                  <a:gd name="connsiteX32" fmla="*/ 209984 w 243646"/>
                  <a:gd name="connsiteY32" fmla="*/ 128317 h 142162"/>
                  <a:gd name="connsiteX33" fmla="*/ 210448 w 243646"/>
                  <a:gd name="connsiteY33" fmla="*/ 126280 h 142162"/>
                  <a:gd name="connsiteX34" fmla="*/ 227722 w 243646"/>
                  <a:gd name="connsiteY34" fmla="*/ 57056 h 142162"/>
                  <a:gd name="connsiteX35" fmla="*/ 214934 w 243646"/>
                  <a:gd name="connsiteY35" fmla="*/ 63965 h 142162"/>
                  <a:gd name="connsiteX36" fmla="*/ 209906 w 243646"/>
                  <a:gd name="connsiteY36" fmla="*/ 64481 h 142162"/>
                  <a:gd name="connsiteX37" fmla="*/ 206013 w 243646"/>
                  <a:gd name="connsiteY37" fmla="*/ 61258 h 142162"/>
                  <a:gd name="connsiteX38" fmla="*/ 193999 w 243646"/>
                  <a:gd name="connsiteY38" fmla="*/ 38132 h 142162"/>
                  <a:gd name="connsiteX39" fmla="*/ 181056 w 243646"/>
                  <a:gd name="connsiteY39" fmla="*/ 13201 h 142162"/>
                  <a:gd name="connsiteX40" fmla="*/ 108712 w 243646"/>
                  <a:gd name="connsiteY40" fmla="*/ 14180 h 142162"/>
                  <a:gd name="connsiteX41" fmla="*/ 152567 w 243646"/>
                  <a:gd name="connsiteY41" fmla="*/ 90237 h 142162"/>
                  <a:gd name="connsiteX42" fmla="*/ 149886 w 243646"/>
                  <a:gd name="connsiteY42" fmla="*/ 99055 h 142162"/>
                  <a:gd name="connsiteX43" fmla="*/ 141146 w 243646"/>
                  <a:gd name="connsiteY43" fmla="*/ 103799 h 142162"/>
                  <a:gd name="connsiteX44" fmla="*/ 138129 w 243646"/>
                  <a:gd name="connsiteY44" fmla="*/ 105397 h 142162"/>
                  <a:gd name="connsiteX45" fmla="*/ 15433 w 243646"/>
                  <a:gd name="connsiteY45" fmla="*/ 82915 h 142162"/>
                  <a:gd name="connsiteX46" fmla="*/ 72669 w 243646"/>
                  <a:gd name="connsiteY46" fmla="*/ 112616 h 142162"/>
                  <a:gd name="connsiteX47" fmla="*/ 108764 w 243646"/>
                  <a:gd name="connsiteY47" fmla="*/ 43056 h 142162"/>
                  <a:gd name="connsiteX48" fmla="*/ 109718 w 243646"/>
                  <a:gd name="connsiteY48" fmla="*/ 41664 h 142162"/>
                  <a:gd name="connsiteX49" fmla="*/ 94042 w 243646"/>
                  <a:gd name="connsiteY49" fmla="*/ 15212 h 142162"/>
                  <a:gd name="connsiteX50" fmla="*/ 93604 w 243646"/>
                  <a:gd name="connsiteY50" fmla="*/ 14361 h 142162"/>
                  <a:gd name="connsiteX51" fmla="*/ 50857 w 243646"/>
                  <a:gd name="connsiteY51" fmla="*/ 14954 h 142162"/>
                  <a:gd name="connsiteX52" fmla="*/ 15433 w 243646"/>
                  <a:gd name="connsiteY52" fmla="*/ 82915 h 142162"/>
                  <a:gd name="connsiteX53" fmla="*/ 129106 w 243646"/>
                  <a:gd name="connsiteY53" fmla="*/ 110450 h 142162"/>
                  <a:gd name="connsiteX54" fmla="*/ 129106 w 243646"/>
                  <a:gd name="connsiteY54" fmla="*/ 110450 h 142162"/>
                  <a:gd name="connsiteX55" fmla="*/ 129106 w 243646"/>
                  <a:gd name="connsiteY55" fmla="*/ 110450 h 142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3646" h="142162">
                    <a:moveTo>
                      <a:pt x="212072" y="142162"/>
                    </a:moveTo>
                    <a:cubicBezTo>
                      <a:pt x="210963" y="142162"/>
                      <a:pt x="209829" y="141982"/>
                      <a:pt x="208720" y="141646"/>
                    </a:cubicBezTo>
                    <a:cubicBezTo>
                      <a:pt x="207792" y="141389"/>
                      <a:pt x="200315" y="138965"/>
                      <a:pt x="190054" y="135691"/>
                    </a:cubicBezTo>
                    <a:cubicBezTo>
                      <a:pt x="169248" y="129013"/>
                      <a:pt x="137820" y="118907"/>
                      <a:pt x="124981" y="115117"/>
                    </a:cubicBezTo>
                    <a:cubicBezTo>
                      <a:pt x="120340" y="113750"/>
                      <a:pt x="117762" y="111275"/>
                      <a:pt x="117375" y="107717"/>
                    </a:cubicBezTo>
                    <a:cubicBezTo>
                      <a:pt x="116782" y="102149"/>
                      <a:pt x="122041" y="99261"/>
                      <a:pt x="124568" y="97843"/>
                    </a:cubicBezTo>
                    <a:cubicBezTo>
                      <a:pt x="125238" y="97456"/>
                      <a:pt x="129106" y="95368"/>
                      <a:pt x="134907" y="92248"/>
                    </a:cubicBezTo>
                    <a:lnTo>
                      <a:pt x="137872" y="90624"/>
                    </a:lnTo>
                    <a:cubicBezTo>
                      <a:pt x="133025" y="81832"/>
                      <a:pt x="125187" y="68219"/>
                      <a:pt x="117401" y="54839"/>
                    </a:cubicBezTo>
                    <a:lnTo>
                      <a:pt x="81254" y="124476"/>
                    </a:lnTo>
                    <a:cubicBezTo>
                      <a:pt x="79579" y="127673"/>
                      <a:pt x="75634" y="128936"/>
                      <a:pt x="72411" y="127260"/>
                    </a:cubicBezTo>
                    <a:lnTo>
                      <a:pt x="3522" y="91526"/>
                    </a:lnTo>
                    <a:cubicBezTo>
                      <a:pt x="1975" y="90727"/>
                      <a:pt x="815" y="89335"/>
                      <a:pt x="299" y="87685"/>
                    </a:cubicBezTo>
                    <a:cubicBezTo>
                      <a:pt x="-217" y="86035"/>
                      <a:pt x="-62" y="84230"/>
                      <a:pt x="737" y="82683"/>
                    </a:cubicBezTo>
                    <a:lnTo>
                      <a:pt x="41034" y="5415"/>
                    </a:lnTo>
                    <a:cubicBezTo>
                      <a:pt x="42143" y="3275"/>
                      <a:pt x="44360" y="1934"/>
                      <a:pt x="46758" y="1882"/>
                    </a:cubicBezTo>
                    <a:cubicBezTo>
                      <a:pt x="57793" y="1754"/>
                      <a:pt x="184872" y="0"/>
                      <a:pt x="184872" y="0"/>
                    </a:cubicBezTo>
                    <a:cubicBezTo>
                      <a:pt x="187141" y="-25"/>
                      <a:pt x="189616" y="1315"/>
                      <a:pt x="190750" y="3507"/>
                    </a:cubicBezTo>
                    <a:cubicBezTo>
                      <a:pt x="195494" y="12505"/>
                      <a:pt x="200702" y="22611"/>
                      <a:pt x="205601" y="32099"/>
                    </a:cubicBezTo>
                    <a:cubicBezTo>
                      <a:pt x="208772" y="38235"/>
                      <a:pt x="211814" y="44113"/>
                      <a:pt x="214496" y="49270"/>
                    </a:cubicBezTo>
                    <a:cubicBezTo>
                      <a:pt x="221921" y="45248"/>
                      <a:pt x="226948" y="42541"/>
                      <a:pt x="227722" y="42128"/>
                    </a:cubicBezTo>
                    <a:cubicBezTo>
                      <a:pt x="229784" y="41019"/>
                      <a:pt x="236152" y="37590"/>
                      <a:pt x="240845" y="41587"/>
                    </a:cubicBezTo>
                    <a:cubicBezTo>
                      <a:pt x="242882" y="43314"/>
                      <a:pt x="244841" y="46640"/>
                      <a:pt x="242753" y="52647"/>
                    </a:cubicBezTo>
                    <a:cubicBezTo>
                      <a:pt x="237261" y="68684"/>
                      <a:pt x="226665" y="114266"/>
                      <a:pt x="223158" y="129245"/>
                    </a:cubicBezTo>
                    <a:cubicBezTo>
                      <a:pt x="222462" y="132184"/>
                      <a:pt x="222050" y="134015"/>
                      <a:pt x="221947" y="134324"/>
                    </a:cubicBezTo>
                    <a:cubicBezTo>
                      <a:pt x="221173" y="137186"/>
                      <a:pt x="219394" y="139532"/>
                      <a:pt x="216919" y="140899"/>
                    </a:cubicBezTo>
                    <a:cubicBezTo>
                      <a:pt x="215501" y="141750"/>
                      <a:pt x="213825" y="142162"/>
                      <a:pt x="212072" y="142162"/>
                    </a:cubicBezTo>
                    <a:close/>
                    <a:moveTo>
                      <a:pt x="212433" y="129091"/>
                    </a:moveTo>
                    <a:cubicBezTo>
                      <a:pt x="212433" y="129091"/>
                      <a:pt x="212459" y="129091"/>
                      <a:pt x="212459" y="129091"/>
                    </a:cubicBezTo>
                    <a:cubicBezTo>
                      <a:pt x="212459" y="129091"/>
                      <a:pt x="212433" y="129091"/>
                      <a:pt x="212433" y="129091"/>
                    </a:cubicBezTo>
                    <a:close/>
                    <a:moveTo>
                      <a:pt x="138129" y="105397"/>
                    </a:moveTo>
                    <a:cubicBezTo>
                      <a:pt x="153521" y="110167"/>
                      <a:pt x="177241" y="117798"/>
                      <a:pt x="194050" y="123212"/>
                    </a:cubicBezTo>
                    <a:cubicBezTo>
                      <a:pt x="201141" y="125481"/>
                      <a:pt x="206864" y="127338"/>
                      <a:pt x="209984" y="128317"/>
                    </a:cubicBezTo>
                    <a:cubicBezTo>
                      <a:pt x="210113" y="127724"/>
                      <a:pt x="210293" y="127028"/>
                      <a:pt x="210448" y="126280"/>
                    </a:cubicBezTo>
                    <a:cubicBezTo>
                      <a:pt x="213464" y="113286"/>
                      <a:pt x="221818" y="77475"/>
                      <a:pt x="227722" y="57056"/>
                    </a:cubicBezTo>
                    <a:lnTo>
                      <a:pt x="214934" y="63965"/>
                    </a:lnTo>
                    <a:cubicBezTo>
                      <a:pt x="213387" y="64790"/>
                      <a:pt x="211582" y="64971"/>
                      <a:pt x="209906" y="64481"/>
                    </a:cubicBezTo>
                    <a:cubicBezTo>
                      <a:pt x="208231" y="63965"/>
                      <a:pt x="206838" y="62805"/>
                      <a:pt x="206013" y="61258"/>
                    </a:cubicBezTo>
                    <a:cubicBezTo>
                      <a:pt x="202662" y="54916"/>
                      <a:pt x="198459" y="46769"/>
                      <a:pt x="193999" y="38132"/>
                    </a:cubicBezTo>
                    <a:cubicBezTo>
                      <a:pt x="189745" y="29907"/>
                      <a:pt x="185259" y="21219"/>
                      <a:pt x="181056" y="13201"/>
                    </a:cubicBezTo>
                    <a:cubicBezTo>
                      <a:pt x="170099" y="13355"/>
                      <a:pt x="138542" y="13794"/>
                      <a:pt x="108712" y="14180"/>
                    </a:cubicBezTo>
                    <a:cubicBezTo>
                      <a:pt x="119592" y="32383"/>
                      <a:pt x="145451" y="76728"/>
                      <a:pt x="152567" y="90237"/>
                    </a:cubicBezTo>
                    <a:cubicBezTo>
                      <a:pt x="154243" y="93408"/>
                      <a:pt x="153057" y="97353"/>
                      <a:pt x="149886" y="99055"/>
                    </a:cubicBezTo>
                    <a:lnTo>
                      <a:pt x="141146" y="103799"/>
                    </a:lnTo>
                    <a:cubicBezTo>
                      <a:pt x="140089" y="104366"/>
                      <a:pt x="139058" y="104907"/>
                      <a:pt x="138129" y="105397"/>
                    </a:cubicBezTo>
                    <a:close/>
                    <a:moveTo>
                      <a:pt x="15433" y="82915"/>
                    </a:moveTo>
                    <a:lnTo>
                      <a:pt x="72669" y="112616"/>
                    </a:lnTo>
                    <a:lnTo>
                      <a:pt x="108764" y="43056"/>
                    </a:lnTo>
                    <a:cubicBezTo>
                      <a:pt x="109022" y="42541"/>
                      <a:pt x="109357" y="42077"/>
                      <a:pt x="109718" y="41664"/>
                    </a:cubicBezTo>
                    <a:cubicBezTo>
                      <a:pt x="102705" y="29701"/>
                      <a:pt x="96646" y="19466"/>
                      <a:pt x="94042" y="15212"/>
                    </a:cubicBezTo>
                    <a:cubicBezTo>
                      <a:pt x="93862" y="14928"/>
                      <a:pt x="93733" y="14645"/>
                      <a:pt x="93604" y="14361"/>
                    </a:cubicBezTo>
                    <a:cubicBezTo>
                      <a:pt x="74886" y="14619"/>
                      <a:pt x="58566" y="14851"/>
                      <a:pt x="50857" y="14954"/>
                    </a:cubicBezTo>
                    <a:lnTo>
                      <a:pt x="15433" y="82915"/>
                    </a:lnTo>
                    <a:close/>
                    <a:moveTo>
                      <a:pt x="129106" y="110450"/>
                    </a:moveTo>
                    <a:lnTo>
                      <a:pt x="129106" y="110450"/>
                    </a:lnTo>
                    <a:lnTo>
                      <a:pt x="129106" y="110450"/>
                    </a:lnTo>
                    <a:close/>
                  </a:path>
                </a:pathLst>
              </a:custGeom>
              <a:solidFill>
                <a:schemeClr val="tx2"/>
              </a:solidFill>
              <a:ln w="2573" cap="flat">
                <a:noFill/>
                <a:prstDash val="solid"/>
                <a:miter/>
              </a:ln>
            </p:spPr>
            <p:txBody>
              <a:bodyPr rtlCol="0" anchor="ctr"/>
              <a:lstStyle/>
              <a:p>
                <a:endParaRPr lang="en-GB" dirty="0"/>
              </a:p>
            </p:txBody>
          </p:sp>
          <p:sp>
            <p:nvSpPr>
              <p:cNvPr id="473" name="Freihandform: Form 958">
                <a:extLst>
                  <a:ext uri="{FF2B5EF4-FFF2-40B4-BE49-F238E27FC236}">
                    <a16:creationId xmlns:a16="http://schemas.microsoft.com/office/drawing/2014/main" id="{4C3AAD83-5008-41F4-BF19-7BF74565FA2A}"/>
                  </a:ext>
                </a:extLst>
              </p:cNvPr>
              <p:cNvSpPr/>
              <p:nvPr/>
            </p:nvSpPr>
            <p:spPr>
              <a:xfrm>
                <a:off x="6126497" y="3459492"/>
                <a:ext cx="164884" cy="221262"/>
              </a:xfrm>
              <a:custGeom>
                <a:avLst/>
                <a:gdLst>
                  <a:gd name="connsiteX0" fmla="*/ 157175 w 164884"/>
                  <a:gd name="connsiteY0" fmla="*/ 221263 h 221262"/>
                  <a:gd name="connsiteX1" fmla="*/ 157072 w 164884"/>
                  <a:gd name="connsiteY1" fmla="*/ 221263 h 221262"/>
                  <a:gd name="connsiteX2" fmla="*/ 69955 w 164884"/>
                  <a:gd name="connsiteY2" fmla="*/ 219793 h 221262"/>
                  <a:gd name="connsiteX3" fmla="*/ 64231 w 164884"/>
                  <a:gd name="connsiteY3" fmla="*/ 216235 h 221262"/>
                  <a:gd name="connsiteX4" fmla="*/ 730 w 164884"/>
                  <a:gd name="connsiteY4" fmla="*/ 93565 h 221262"/>
                  <a:gd name="connsiteX5" fmla="*/ 1220 w 164884"/>
                  <a:gd name="connsiteY5" fmla="*/ 86732 h 221262"/>
                  <a:gd name="connsiteX6" fmla="*/ 20144 w 164884"/>
                  <a:gd name="connsiteY6" fmla="*/ 60641 h 221262"/>
                  <a:gd name="connsiteX7" fmla="*/ 31514 w 164884"/>
                  <a:gd name="connsiteY7" fmla="*/ 44991 h 221262"/>
                  <a:gd name="connsiteX8" fmla="*/ 19190 w 164884"/>
                  <a:gd name="connsiteY8" fmla="*/ 36354 h 221262"/>
                  <a:gd name="connsiteX9" fmla="*/ 12847 w 164884"/>
                  <a:gd name="connsiteY9" fmla="*/ 24881 h 221262"/>
                  <a:gd name="connsiteX10" fmla="*/ 21897 w 164884"/>
                  <a:gd name="connsiteY10" fmla="*/ 18204 h 221262"/>
                  <a:gd name="connsiteX11" fmla="*/ 99217 w 164884"/>
                  <a:gd name="connsiteY11" fmla="*/ 1420 h 221262"/>
                  <a:gd name="connsiteX12" fmla="*/ 104245 w 164884"/>
                  <a:gd name="connsiteY12" fmla="*/ 234 h 221262"/>
                  <a:gd name="connsiteX13" fmla="*/ 112392 w 164884"/>
                  <a:gd name="connsiteY13" fmla="*/ 1781 h 221262"/>
                  <a:gd name="connsiteX14" fmla="*/ 116749 w 164884"/>
                  <a:gd name="connsiteY14" fmla="*/ 8871 h 221262"/>
                  <a:gd name="connsiteX15" fmla="*/ 119791 w 164884"/>
                  <a:gd name="connsiteY15" fmla="*/ 28259 h 221262"/>
                  <a:gd name="connsiteX16" fmla="*/ 130491 w 164884"/>
                  <a:gd name="connsiteY16" fmla="*/ 95601 h 221262"/>
                  <a:gd name="connsiteX17" fmla="*/ 127268 w 164884"/>
                  <a:gd name="connsiteY17" fmla="*/ 105708 h 221262"/>
                  <a:gd name="connsiteX18" fmla="*/ 115228 w 164884"/>
                  <a:gd name="connsiteY18" fmla="*/ 103671 h 221262"/>
                  <a:gd name="connsiteX19" fmla="*/ 105302 w 164884"/>
                  <a:gd name="connsiteY19" fmla="*/ 96736 h 221262"/>
                  <a:gd name="connsiteX20" fmla="*/ 102827 w 164884"/>
                  <a:gd name="connsiteY20" fmla="*/ 95008 h 221262"/>
                  <a:gd name="connsiteX21" fmla="*/ 79984 w 164884"/>
                  <a:gd name="connsiteY21" fmla="*/ 129324 h 221262"/>
                  <a:gd name="connsiteX22" fmla="*/ 158438 w 164884"/>
                  <a:gd name="connsiteY22" fmla="*/ 130484 h 221262"/>
                  <a:gd name="connsiteX23" fmla="*/ 164884 w 164884"/>
                  <a:gd name="connsiteY23" fmla="*/ 137136 h 221262"/>
                  <a:gd name="connsiteX24" fmla="*/ 163749 w 164884"/>
                  <a:gd name="connsiteY24" fmla="*/ 214740 h 221262"/>
                  <a:gd name="connsiteX25" fmla="*/ 161764 w 164884"/>
                  <a:gd name="connsiteY25" fmla="*/ 219355 h 221262"/>
                  <a:gd name="connsiteX26" fmla="*/ 157175 w 164884"/>
                  <a:gd name="connsiteY26" fmla="*/ 221263 h 221262"/>
                  <a:gd name="connsiteX27" fmla="*/ 74080 w 164884"/>
                  <a:gd name="connsiteY27" fmla="*/ 206747 h 221262"/>
                  <a:gd name="connsiteX28" fmla="*/ 150729 w 164884"/>
                  <a:gd name="connsiteY28" fmla="*/ 208037 h 221262"/>
                  <a:gd name="connsiteX29" fmla="*/ 151683 w 164884"/>
                  <a:gd name="connsiteY29" fmla="*/ 143556 h 221262"/>
                  <a:gd name="connsiteX30" fmla="*/ 73306 w 164884"/>
                  <a:gd name="connsiteY30" fmla="*/ 142396 h 221262"/>
                  <a:gd name="connsiteX31" fmla="*/ 71630 w 164884"/>
                  <a:gd name="connsiteY31" fmla="*/ 142164 h 221262"/>
                  <a:gd name="connsiteX32" fmla="*/ 55001 w 164884"/>
                  <a:gd name="connsiteY32" fmla="*/ 168023 h 221262"/>
                  <a:gd name="connsiteX33" fmla="*/ 54434 w 164884"/>
                  <a:gd name="connsiteY33" fmla="*/ 168796 h 221262"/>
                  <a:gd name="connsiteX34" fmla="*/ 74080 w 164884"/>
                  <a:gd name="connsiteY34" fmla="*/ 206747 h 221262"/>
                  <a:gd name="connsiteX35" fmla="*/ 14240 w 164884"/>
                  <a:gd name="connsiteY35" fmla="*/ 91115 h 221262"/>
                  <a:gd name="connsiteX36" fmla="*/ 47498 w 164884"/>
                  <a:gd name="connsiteY36" fmla="*/ 155364 h 221262"/>
                  <a:gd name="connsiteX37" fmla="*/ 95891 w 164884"/>
                  <a:gd name="connsiteY37" fmla="*/ 82117 h 221262"/>
                  <a:gd name="connsiteX38" fmla="*/ 104966 w 164884"/>
                  <a:gd name="connsiteY38" fmla="*/ 80570 h 221262"/>
                  <a:gd name="connsiteX39" fmla="*/ 112804 w 164884"/>
                  <a:gd name="connsiteY39" fmla="*/ 86062 h 221262"/>
                  <a:gd name="connsiteX40" fmla="*/ 115924 w 164884"/>
                  <a:gd name="connsiteY40" fmla="*/ 88228 h 221262"/>
                  <a:gd name="connsiteX41" fmla="*/ 106823 w 164884"/>
                  <a:gd name="connsiteY41" fmla="*/ 30296 h 221262"/>
                  <a:gd name="connsiteX42" fmla="*/ 104245 w 164884"/>
                  <a:gd name="connsiteY42" fmla="*/ 13718 h 221262"/>
                  <a:gd name="connsiteX43" fmla="*/ 102259 w 164884"/>
                  <a:gd name="connsiteY43" fmla="*/ 14182 h 221262"/>
                  <a:gd name="connsiteX44" fmla="*/ 32545 w 164884"/>
                  <a:gd name="connsiteY44" fmla="*/ 29729 h 221262"/>
                  <a:gd name="connsiteX45" fmla="*/ 44456 w 164884"/>
                  <a:gd name="connsiteY45" fmla="*/ 38082 h 221262"/>
                  <a:gd name="connsiteX46" fmla="*/ 47163 w 164884"/>
                  <a:gd name="connsiteY46" fmla="*/ 42362 h 221262"/>
                  <a:gd name="connsiteX47" fmla="*/ 46029 w 164884"/>
                  <a:gd name="connsiteY47" fmla="*/ 47286 h 221262"/>
                  <a:gd name="connsiteX48" fmla="*/ 30714 w 164884"/>
                  <a:gd name="connsiteY48" fmla="*/ 68376 h 221262"/>
                  <a:gd name="connsiteX49" fmla="*/ 14240 w 164884"/>
                  <a:gd name="connsiteY49" fmla="*/ 91115 h 221262"/>
                  <a:gd name="connsiteX50" fmla="*/ 124458 w 164884"/>
                  <a:gd name="connsiteY50" fmla="*/ 94055 h 221262"/>
                  <a:gd name="connsiteX51" fmla="*/ 124458 w 164884"/>
                  <a:gd name="connsiteY51" fmla="*/ 94055 h 221262"/>
                  <a:gd name="connsiteX52" fmla="*/ 124458 w 164884"/>
                  <a:gd name="connsiteY52" fmla="*/ 94055 h 221262"/>
                  <a:gd name="connsiteX53" fmla="*/ 103832 w 164884"/>
                  <a:gd name="connsiteY53" fmla="*/ 11191 h 221262"/>
                  <a:gd name="connsiteX54" fmla="*/ 103832 w 164884"/>
                  <a:gd name="connsiteY54" fmla="*/ 11217 h 221262"/>
                  <a:gd name="connsiteX55" fmla="*/ 103832 w 164884"/>
                  <a:gd name="connsiteY55" fmla="*/ 11191 h 22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164884" h="221262">
                    <a:moveTo>
                      <a:pt x="157175" y="221263"/>
                    </a:moveTo>
                    <a:cubicBezTo>
                      <a:pt x="157149" y="221263"/>
                      <a:pt x="157098" y="221263"/>
                      <a:pt x="157072" y="221263"/>
                    </a:cubicBezTo>
                    <a:lnTo>
                      <a:pt x="69955" y="219793"/>
                    </a:lnTo>
                    <a:cubicBezTo>
                      <a:pt x="67531" y="219742"/>
                      <a:pt x="65340" y="218375"/>
                      <a:pt x="64231" y="216235"/>
                    </a:cubicBezTo>
                    <a:cubicBezTo>
                      <a:pt x="59178" y="206438"/>
                      <a:pt x="730" y="93565"/>
                      <a:pt x="730" y="93565"/>
                    </a:cubicBezTo>
                    <a:cubicBezTo>
                      <a:pt x="-404" y="91373"/>
                      <a:pt x="-198" y="88743"/>
                      <a:pt x="1220" y="86732"/>
                    </a:cubicBezTo>
                    <a:cubicBezTo>
                      <a:pt x="7150" y="78456"/>
                      <a:pt x="13827" y="69278"/>
                      <a:pt x="20144" y="60641"/>
                    </a:cubicBezTo>
                    <a:cubicBezTo>
                      <a:pt x="24217" y="55072"/>
                      <a:pt x="28110" y="49710"/>
                      <a:pt x="31514" y="44991"/>
                    </a:cubicBezTo>
                    <a:cubicBezTo>
                      <a:pt x="24604" y="40144"/>
                      <a:pt x="19912" y="36870"/>
                      <a:pt x="19190" y="36354"/>
                    </a:cubicBezTo>
                    <a:cubicBezTo>
                      <a:pt x="17282" y="35014"/>
                      <a:pt x="11378" y="30889"/>
                      <a:pt x="12847" y="24881"/>
                    </a:cubicBezTo>
                    <a:cubicBezTo>
                      <a:pt x="13466" y="22303"/>
                      <a:pt x="15555" y="19055"/>
                      <a:pt x="21897" y="18204"/>
                    </a:cubicBezTo>
                    <a:cubicBezTo>
                      <a:pt x="38707" y="15935"/>
                      <a:pt x="84264" y="5004"/>
                      <a:pt x="99217" y="1420"/>
                    </a:cubicBezTo>
                    <a:cubicBezTo>
                      <a:pt x="102105" y="724"/>
                      <a:pt x="103909" y="285"/>
                      <a:pt x="104245" y="234"/>
                    </a:cubicBezTo>
                    <a:cubicBezTo>
                      <a:pt x="107158" y="-359"/>
                      <a:pt x="110046" y="182"/>
                      <a:pt x="112392" y="1781"/>
                    </a:cubicBezTo>
                    <a:cubicBezTo>
                      <a:pt x="114738" y="3379"/>
                      <a:pt x="116285" y="5906"/>
                      <a:pt x="116749" y="8871"/>
                    </a:cubicBezTo>
                    <a:cubicBezTo>
                      <a:pt x="116929" y="9799"/>
                      <a:pt x="118141" y="17611"/>
                      <a:pt x="119791" y="28259"/>
                    </a:cubicBezTo>
                    <a:cubicBezTo>
                      <a:pt x="123117" y="49838"/>
                      <a:pt x="128144" y="82453"/>
                      <a:pt x="130491" y="95601"/>
                    </a:cubicBezTo>
                    <a:cubicBezTo>
                      <a:pt x="131367" y="100371"/>
                      <a:pt x="130284" y="103774"/>
                      <a:pt x="127268" y="105708"/>
                    </a:cubicBezTo>
                    <a:cubicBezTo>
                      <a:pt x="122576" y="108724"/>
                      <a:pt x="117600" y="105321"/>
                      <a:pt x="115228" y="103671"/>
                    </a:cubicBezTo>
                    <a:cubicBezTo>
                      <a:pt x="114557" y="103233"/>
                      <a:pt x="110845" y="100629"/>
                      <a:pt x="105302" y="96736"/>
                    </a:cubicBezTo>
                    <a:lnTo>
                      <a:pt x="102827" y="95008"/>
                    </a:lnTo>
                    <a:cubicBezTo>
                      <a:pt x="97155" y="103284"/>
                      <a:pt x="88466" y="116382"/>
                      <a:pt x="79984" y="129324"/>
                    </a:cubicBezTo>
                    <a:lnTo>
                      <a:pt x="158438" y="130484"/>
                    </a:lnTo>
                    <a:cubicBezTo>
                      <a:pt x="162048" y="130536"/>
                      <a:pt x="164935" y="133527"/>
                      <a:pt x="164884" y="137136"/>
                    </a:cubicBezTo>
                    <a:lnTo>
                      <a:pt x="163749" y="214740"/>
                    </a:lnTo>
                    <a:cubicBezTo>
                      <a:pt x="163724" y="216493"/>
                      <a:pt x="163002" y="218143"/>
                      <a:pt x="161764" y="219355"/>
                    </a:cubicBezTo>
                    <a:cubicBezTo>
                      <a:pt x="160527" y="220592"/>
                      <a:pt x="158877" y="221263"/>
                      <a:pt x="157175" y="221263"/>
                    </a:cubicBezTo>
                    <a:close/>
                    <a:moveTo>
                      <a:pt x="74080" y="206747"/>
                    </a:moveTo>
                    <a:lnTo>
                      <a:pt x="150729" y="208037"/>
                    </a:lnTo>
                    <a:lnTo>
                      <a:pt x="151683" y="143556"/>
                    </a:lnTo>
                    <a:lnTo>
                      <a:pt x="73306" y="142396"/>
                    </a:lnTo>
                    <a:cubicBezTo>
                      <a:pt x="72713" y="142396"/>
                      <a:pt x="72172" y="142293"/>
                      <a:pt x="71630" y="142164"/>
                    </a:cubicBezTo>
                    <a:cubicBezTo>
                      <a:pt x="64076" y="153791"/>
                      <a:pt x="57631" y="163795"/>
                      <a:pt x="55001" y="168023"/>
                    </a:cubicBezTo>
                    <a:cubicBezTo>
                      <a:pt x="54821" y="168307"/>
                      <a:pt x="54640" y="168564"/>
                      <a:pt x="54434" y="168796"/>
                    </a:cubicBezTo>
                    <a:cubicBezTo>
                      <a:pt x="63045" y="185426"/>
                      <a:pt x="70548" y="199915"/>
                      <a:pt x="74080" y="206747"/>
                    </a:cubicBezTo>
                    <a:close/>
                    <a:moveTo>
                      <a:pt x="14240" y="91115"/>
                    </a:moveTo>
                    <a:cubicBezTo>
                      <a:pt x="19267" y="100861"/>
                      <a:pt x="33782" y="128860"/>
                      <a:pt x="47498" y="155364"/>
                    </a:cubicBezTo>
                    <a:cubicBezTo>
                      <a:pt x="58920" y="137497"/>
                      <a:pt x="87022" y="94493"/>
                      <a:pt x="95891" y="82117"/>
                    </a:cubicBezTo>
                    <a:cubicBezTo>
                      <a:pt x="97980" y="79204"/>
                      <a:pt x="102027" y="78508"/>
                      <a:pt x="104966" y="80570"/>
                    </a:cubicBezTo>
                    <a:lnTo>
                      <a:pt x="112804" y="86062"/>
                    </a:lnTo>
                    <a:cubicBezTo>
                      <a:pt x="113913" y="86835"/>
                      <a:pt x="114970" y="87557"/>
                      <a:pt x="115924" y="88228"/>
                    </a:cubicBezTo>
                    <a:cubicBezTo>
                      <a:pt x="113294" y="72346"/>
                      <a:pt x="109504" y="47724"/>
                      <a:pt x="106823" y="30296"/>
                    </a:cubicBezTo>
                    <a:cubicBezTo>
                      <a:pt x="105688" y="22922"/>
                      <a:pt x="104760" y="16941"/>
                      <a:pt x="104245" y="13718"/>
                    </a:cubicBezTo>
                    <a:cubicBezTo>
                      <a:pt x="103677" y="13847"/>
                      <a:pt x="103007" y="14001"/>
                      <a:pt x="102259" y="14182"/>
                    </a:cubicBezTo>
                    <a:cubicBezTo>
                      <a:pt x="89265" y="17302"/>
                      <a:pt x="53480" y="25887"/>
                      <a:pt x="32545" y="29729"/>
                    </a:cubicBezTo>
                    <a:cubicBezTo>
                      <a:pt x="35613" y="31868"/>
                      <a:pt x="39712" y="34756"/>
                      <a:pt x="44456" y="38082"/>
                    </a:cubicBezTo>
                    <a:cubicBezTo>
                      <a:pt x="45874" y="39087"/>
                      <a:pt x="46854" y="40634"/>
                      <a:pt x="47163" y="42362"/>
                    </a:cubicBezTo>
                    <a:cubicBezTo>
                      <a:pt x="47447" y="44089"/>
                      <a:pt x="47060" y="45868"/>
                      <a:pt x="46029" y="47286"/>
                    </a:cubicBezTo>
                    <a:cubicBezTo>
                      <a:pt x="41852" y="53138"/>
                      <a:pt x="36438" y="60538"/>
                      <a:pt x="30714" y="68376"/>
                    </a:cubicBezTo>
                    <a:cubicBezTo>
                      <a:pt x="25274" y="75878"/>
                      <a:pt x="19525" y="83767"/>
                      <a:pt x="14240" y="91115"/>
                    </a:cubicBezTo>
                    <a:close/>
                    <a:moveTo>
                      <a:pt x="124458" y="94055"/>
                    </a:moveTo>
                    <a:lnTo>
                      <a:pt x="124458" y="94055"/>
                    </a:lnTo>
                    <a:lnTo>
                      <a:pt x="124458" y="94055"/>
                    </a:lnTo>
                    <a:close/>
                    <a:moveTo>
                      <a:pt x="103832" y="11191"/>
                    </a:moveTo>
                    <a:cubicBezTo>
                      <a:pt x="103832" y="11191"/>
                      <a:pt x="103832" y="11217"/>
                      <a:pt x="103832" y="11217"/>
                    </a:cubicBezTo>
                    <a:cubicBezTo>
                      <a:pt x="103858" y="11217"/>
                      <a:pt x="103832" y="11191"/>
                      <a:pt x="103832" y="11191"/>
                    </a:cubicBezTo>
                    <a:close/>
                  </a:path>
                </a:pathLst>
              </a:custGeom>
              <a:solidFill>
                <a:schemeClr val="tx2"/>
              </a:solidFill>
              <a:ln w="2573" cap="flat">
                <a:noFill/>
                <a:prstDash val="solid"/>
                <a:miter/>
              </a:ln>
            </p:spPr>
            <p:txBody>
              <a:bodyPr rtlCol="0" anchor="ctr"/>
              <a:lstStyle/>
              <a:p>
                <a:endParaRPr lang="en-GB" dirty="0"/>
              </a:p>
            </p:txBody>
          </p:sp>
          <p:sp>
            <p:nvSpPr>
              <p:cNvPr id="474" name="Freihandform: Form 959">
                <a:extLst>
                  <a:ext uri="{FF2B5EF4-FFF2-40B4-BE49-F238E27FC236}">
                    <a16:creationId xmlns:a16="http://schemas.microsoft.com/office/drawing/2014/main" id="{B765B437-14E2-4590-8865-14EA8E0BFD58}"/>
                  </a:ext>
                </a:extLst>
              </p:cNvPr>
              <p:cNvSpPr/>
              <p:nvPr/>
            </p:nvSpPr>
            <p:spPr>
              <a:xfrm>
                <a:off x="6425410" y="3459468"/>
                <a:ext cx="186140" cy="244000"/>
              </a:xfrm>
              <a:custGeom>
                <a:avLst/>
                <a:gdLst>
                  <a:gd name="connsiteX0" fmla="*/ 82823 w 186140"/>
                  <a:gd name="connsiteY0" fmla="*/ 244001 h 244000"/>
                  <a:gd name="connsiteX1" fmla="*/ 75759 w 186140"/>
                  <a:gd name="connsiteY1" fmla="*/ 241165 h 244000"/>
                  <a:gd name="connsiteX2" fmla="*/ 9216 w 186140"/>
                  <a:gd name="connsiteY2" fmla="*/ 198341 h 244000"/>
                  <a:gd name="connsiteX3" fmla="*/ 4807 w 186140"/>
                  <a:gd name="connsiteY3" fmla="*/ 195634 h 244000"/>
                  <a:gd name="connsiteX4" fmla="*/ 166 w 186140"/>
                  <a:gd name="connsiteY4" fmla="*/ 188801 h 244000"/>
                  <a:gd name="connsiteX5" fmla="*/ 2100 w 186140"/>
                  <a:gd name="connsiteY5" fmla="*/ 180680 h 244000"/>
                  <a:gd name="connsiteX6" fmla="*/ 13676 w 186140"/>
                  <a:gd name="connsiteY6" fmla="*/ 164798 h 244000"/>
                  <a:gd name="connsiteX7" fmla="*/ 53741 w 186140"/>
                  <a:gd name="connsiteY7" fmla="*/ 109625 h 244000"/>
                  <a:gd name="connsiteX8" fmla="*/ 63151 w 186140"/>
                  <a:gd name="connsiteY8" fmla="*/ 104752 h 244000"/>
                  <a:gd name="connsiteX9" fmla="*/ 70241 w 186140"/>
                  <a:gd name="connsiteY9" fmla="*/ 114704 h 244000"/>
                  <a:gd name="connsiteX10" fmla="*/ 72046 w 186140"/>
                  <a:gd name="connsiteY10" fmla="*/ 124888 h 244000"/>
                  <a:gd name="connsiteX11" fmla="*/ 72871 w 186140"/>
                  <a:gd name="connsiteY11" fmla="*/ 129606 h 244000"/>
                  <a:gd name="connsiteX12" fmla="*/ 113297 w 186140"/>
                  <a:gd name="connsiteY12" fmla="*/ 121485 h 244000"/>
                  <a:gd name="connsiteX13" fmla="*/ 58640 w 186140"/>
                  <a:gd name="connsiteY13" fmla="*/ 65203 h 244000"/>
                  <a:gd name="connsiteX14" fmla="*/ 56783 w 186140"/>
                  <a:gd name="connsiteY14" fmla="*/ 60536 h 244000"/>
                  <a:gd name="connsiteX15" fmla="*/ 58768 w 186140"/>
                  <a:gd name="connsiteY15" fmla="*/ 55921 h 244000"/>
                  <a:gd name="connsiteX16" fmla="*/ 114457 w 186140"/>
                  <a:gd name="connsiteY16" fmla="*/ 1856 h 244000"/>
                  <a:gd name="connsiteX17" fmla="*/ 119124 w 186140"/>
                  <a:gd name="connsiteY17" fmla="*/ 0 h 244000"/>
                  <a:gd name="connsiteX18" fmla="*/ 123739 w 186140"/>
                  <a:gd name="connsiteY18" fmla="*/ 1985 h 244000"/>
                  <a:gd name="connsiteX19" fmla="*/ 184301 w 186140"/>
                  <a:gd name="connsiteY19" fmla="*/ 64635 h 244000"/>
                  <a:gd name="connsiteX20" fmla="*/ 185822 w 186140"/>
                  <a:gd name="connsiteY20" fmla="*/ 71184 h 244000"/>
                  <a:gd name="connsiteX21" fmla="*/ 143978 w 186140"/>
                  <a:gd name="connsiteY21" fmla="*/ 202827 h 244000"/>
                  <a:gd name="connsiteX22" fmla="*/ 138796 w 186140"/>
                  <a:gd name="connsiteY22" fmla="*/ 207313 h 244000"/>
                  <a:gd name="connsiteX23" fmla="*/ 107290 w 186140"/>
                  <a:gd name="connsiteY23" fmla="*/ 212340 h 244000"/>
                  <a:gd name="connsiteX24" fmla="*/ 87876 w 186140"/>
                  <a:gd name="connsiteY24" fmla="*/ 215408 h 244000"/>
                  <a:gd name="connsiteX25" fmla="*/ 90480 w 186140"/>
                  <a:gd name="connsiteY25" fmla="*/ 230207 h 244000"/>
                  <a:gd name="connsiteX26" fmla="*/ 86845 w 186140"/>
                  <a:gd name="connsiteY26" fmla="*/ 242840 h 244000"/>
                  <a:gd name="connsiteX27" fmla="*/ 82823 w 186140"/>
                  <a:gd name="connsiteY27" fmla="*/ 244001 h 244000"/>
                  <a:gd name="connsiteX28" fmla="*/ 14320 w 186140"/>
                  <a:gd name="connsiteY28" fmla="*/ 186146 h 244000"/>
                  <a:gd name="connsiteX29" fmla="*/ 16048 w 186140"/>
                  <a:gd name="connsiteY29" fmla="*/ 187203 h 244000"/>
                  <a:gd name="connsiteX30" fmla="*/ 76326 w 186140"/>
                  <a:gd name="connsiteY30" fmla="*/ 225489 h 244000"/>
                  <a:gd name="connsiteX31" fmla="*/ 73799 w 186140"/>
                  <a:gd name="connsiteY31" fmla="*/ 211154 h 244000"/>
                  <a:gd name="connsiteX32" fmla="*/ 74908 w 186140"/>
                  <a:gd name="connsiteY32" fmla="*/ 206230 h 244000"/>
                  <a:gd name="connsiteX33" fmla="*/ 79188 w 186140"/>
                  <a:gd name="connsiteY33" fmla="*/ 203549 h 244000"/>
                  <a:gd name="connsiteX34" fmla="*/ 105253 w 186140"/>
                  <a:gd name="connsiteY34" fmla="*/ 199398 h 244000"/>
                  <a:gd name="connsiteX35" fmla="*/ 132685 w 186140"/>
                  <a:gd name="connsiteY35" fmla="*/ 195041 h 244000"/>
                  <a:gd name="connsiteX36" fmla="*/ 154600 w 186140"/>
                  <a:gd name="connsiteY36" fmla="*/ 126100 h 244000"/>
                  <a:gd name="connsiteX37" fmla="*/ 68591 w 186140"/>
                  <a:gd name="connsiteY37" fmla="*/ 143683 h 244000"/>
                  <a:gd name="connsiteX38" fmla="*/ 61063 w 186140"/>
                  <a:gd name="connsiteY38" fmla="*/ 138346 h 244000"/>
                  <a:gd name="connsiteX39" fmla="*/ 59078 w 186140"/>
                  <a:gd name="connsiteY39" fmla="*/ 127157 h 244000"/>
                  <a:gd name="connsiteX40" fmla="*/ 58717 w 186140"/>
                  <a:gd name="connsiteY40" fmla="*/ 125172 h 244000"/>
                  <a:gd name="connsiteX41" fmla="*/ 24195 w 186140"/>
                  <a:gd name="connsiteY41" fmla="*/ 172559 h 244000"/>
                  <a:gd name="connsiteX42" fmla="*/ 14320 w 186140"/>
                  <a:gd name="connsiteY42" fmla="*/ 186146 h 244000"/>
                  <a:gd name="connsiteX43" fmla="*/ 12851 w 186140"/>
                  <a:gd name="connsiteY43" fmla="*/ 188183 h 244000"/>
                  <a:gd name="connsiteX44" fmla="*/ 12851 w 186140"/>
                  <a:gd name="connsiteY44" fmla="*/ 188183 h 244000"/>
                  <a:gd name="connsiteX45" fmla="*/ 12851 w 186140"/>
                  <a:gd name="connsiteY45" fmla="*/ 188183 h 244000"/>
                  <a:gd name="connsiteX46" fmla="*/ 72613 w 186140"/>
                  <a:gd name="connsiteY46" fmla="*/ 60794 h 244000"/>
                  <a:gd name="connsiteX47" fmla="*/ 127220 w 186140"/>
                  <a:gd name="connsiteY47" fmla="*/ 117024 h 244000"/>
                  <a:gd name="connsiteX48" fmla="*/ 128225 w 186140"/>
                  <a:gd name="connsiteY48" fmla="*/ 118391 h 244000"/>
                  <a:gd name="connsiteX49" fmla="*/ 158261 w 186140"/>
                  <a:gd name="connsiteY49" fmla="*/ 111868 h 244000"/>
                  <a:gd name="connsiteX50" fmla="*/ 159215 w 186140"/>
                  <a:gd name="connsiteY50" fmla="*/ 111713 h 244000"/>
                  <a:gd name="connsiteX51" fmla="*/ 172158 w 186140"/>
                  <a:gd name="connsiteY51" fmla="*/ 70978 h 244000"/>
                  <a:gd name="connsiteX52" fmla="*/ 118866 w 186140"/>
                  <a:gd name="connsiteY52" fmla="*/ 15882 h 244000"/>
                  <a:gd name="connsiteX53" fmla="*/ 72613 w 186140"/>
                  <a:gd name="connsiteY53" fmla="*/ 60794 h 24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86140" h="244000">
                    <a:moveTo>
                      <a:pt x="82823" y="244001"/>
                    </a:moveTo>
                    <a:cubicBezTo>
                      <a:pt x="80864" y="244001"/>
                      <a:pt x="78492" y="243279"/>
                      <a:pt x="75759" y="241165"/>
                    </a:cubicBezTo>
                    <a:cubicBezTo>
                      <a:pt x="62249" y="230903"/>
                      <a:pt x="22339" y="206410"/>
                      <a:pt x="9216" y="198341"/>
                    </a:cubicBezTo>
                    <a:cubicBezTo>
                      <a:pt x="6689" y="196794"/>
                      <a:pt x="5090" y="195814"/>
                      <a:pt x="4807" y="195634"/>
                    </a:cubicBezTo>
                    <a:cubicBezTo>
                      <a:pt x="2332" y="194009"/>
                      <a:pt x="682" y="191560"/>
                      <a:pt x="166" y="188801"/>
                    </a:cubicBezTo>
                    <a:cubicBezTo>
                      <a:pt x="-350" y="186017"/>
                      <a:pt x="347" y="183129"/>
                      <a:pt x="2100" y="180680"/>
                    </a:cubicBezTo>
                    <a:cubicBezTo>
                      <a:pt x="2641" y="179881"/>
                      <a:pt x="7308" y="173513"/>
                      <a:pt x="13676" y="164798"/>
                    </a:cubicBezTo>
                    <a:cubicBezTo>
                      <a:pt x="26593" y="147189"/>
                      <a:pt x="46084" y="120582"/>
                      <a:pt x="53741" y="109625"/>
                    </a:cubicBezTo>
                    <a:cubicBezTo>
                      <a:pt x="56500" y="105655"/>
                      <a:pt x="59671" y="104005"/>
                      <a:pt x="63151" y="104752"/>
                    </a:cubicBezTo>
                    <a:cubicBezTo>
                      <a:pt x="68643" y="105938"/>
                      <a:pt x="69700" y="111842"/>
                      <a:pt x="70241" y="114704"/>
                    </a:cubicBezTo>
                    <a:cubicBezTo>
                      <a:pt x="70370" y="115426"/>
                      <a:pt x="71041" y="119190"/>
                      <a:pt x="72046" y="124888"/>
                    </a:cubicBezTo>
                    <a:lnTo>
                      <a:pt x="72871" y="129606"/>
                    </a:lnTo>
                    <a:cubicBezTo>
                      <a:pt x="82746" y="127775"/>
                      <a:pt x="98138" y="124656"/>
                      <a:pt x="113297" y="121485"/>
                    </a:cubicBezTo>
                    <a:lnTo>
                      <a:pt x="58640" y="65203"/>
                    </a:lnTo>
                    <a:cubicBezTo>
                      <a:pt x="57428" y="63965"/>
                      <a:pt x="56757" y="62289"/>
                      <a:pt x="56783" y="60536"/>
                    </a:cubicBezTo>
                    <a:cubicBezTo>
                      <a:pt x="56809" y="58783"/>
                      <a:pt x="57531" y="57133"/>
                      <a:pt x="58768" y="55921"/>
                    </a:cubicBezTo>
                    <a:lnTo>
                      <a:pt x="114457" y="1856"/>
                    </a:lnTo>
                    <a:cubicBezTo>
                      <a:pt x="115721" y="645"/>
                      <a:pt x="117474" y="77"/>
                      <a:pt x="119124" y="0"/>
                    </a:cubicBezTo>
                    <a:cubicBezTo>
                      <a:pt x="120877" y="26"/>
                      <a:pt x="122527" y="748"/>
                      <a:pt x="123739" y="1985"/>
                    </a:cubicBezTo>
                    <a:lnTo>
                      <a:pt x="184301" y="64635"/>
                    </a:lnTo>
                    <a:cubicBezTo>
                      <a:pt x="185977" y="66363"/>
                      <a:pt x="186570" y="68889"/>
                      <a:pt x="185822" y="71184"/>
                    </a:cubicBezTo>
                    <a:cubicBezTo>
                      <a:pt x="182470" y="81677"/>
                      <a:pt x="143978" y="202827"/>
                      <a:pt x="143978" y="202827"/>
                    </a:cubicBezTo>
                    <a:cubicBezTo>
                      <a:pt x="143230" y="205173"/>
                      <a:pt x="141219" y="206900"/>
                      <a:pt x="138796" y="207313"/>
                    </a:cubicBezTo>
                    <a:cubicBezTo>
                      <a:pt x="128870" y="208937"/>
                      <a:pt x="117758" y="210690"/>
                      <a:pt x="107290" y="212340"/>
                    </a:cubicBezTo>
                    <a:cubicBezTo>
                      <a:pt x="100355" y="213423"/>
                      <a:pt x="93703" y="214480"/>
                      <a:pt x="87876" y="215408"/>
                    </a:cubicBezTo>
                    <a:cubicBezTo>
                      <a:pt x="89346" y="223736"/>
                      <a:pt x="90326" y="229356"/>
                      <a:pt x="90480" y="230207"/>
                    </a:cubicBezTo>
                    <a:cubicBezTo>
                      <a:pt x="90893" y="232502"/>
                      <a:pt x="92130" y="239618"/>
                      <a:pt x="86845" y="242840"/>
                    </a:cubicBezTo>
                    <a:cubicBezTo>
                      <a:pt x="85814" y="243511"/>
                      <a:pt x="84447" y="244001"/>
                      <a:pt x="82823" y="244001"/>
                    </a:cubicBezTo>
                    <a:close/>
                    <a:moveTo>
                      <a:pt x="14320" y="186146"/>
                    </a:moveTo>
                    <a:cubicBezTo>
                      <a:pt x="14836" y="186455"/>
                      <a:pt x="15403" y="186816"/>
                      <a:pt x="16048" y="187203"/>
                    </a:cubicBezTo>
                    <a:cubicBezTo>
                      <a:pt x="27443" y="194190"/>
                      <a:pt x="58820" y="213423"/>
                      <a:pt x="76326" y="225489"/>
                    </a:cubicBezTo>
                    <a:cubicBezTo>
                      <a:pt x="75681" y="221802"/>
                      <a:pt x="74805" y="216878"/>
                      <a:pt x="73799" y="211154"/>
                    </a:cubicBezTo>
                    <a:cubicBezTo>
                      <a:pt x="73490" y="209427"/>
                      <a:pt x="73902" y="207648"/>
                      <a:pt x="74908" y="206230"/>
                    </a:cubicBezTo>
                    <a:cubicBezTo>
                      <a:pt x="75914" y="204812"/>
                      <a:pt x="77460" y="203832"/>
                      <a:pt x="79188" y="203549"/>
                    </a:cubicBezTo>
                    <a:cubicBezTo>
                      <a:pt x="86355" y="202363"/>
                      <a:pt x="95534" y="200919"/>
                      <a:pt x="105253" y="199398"/>
                    </a:cubicBezTo>
                    <a:cubicBezTo>
                      <a:pt x="114303" y="197980"/>
                      <a:pt x="123868" y="196484"/>
                      <a:pt x="132685" y="195041"/>
                    </a:cubicBezTo>
                    <a:cubicBezTo>
                      <a:pt x="136011" y="184599"/>
                      <a:pt x="145551" y="154537"/>
                      <a:pt x="154600" y="126100"/>
                    </a:cubicBezTo>
                    <a:cubicBezTo>
                      <a:pt x="133923" y="130663"/>
                      <a:pt x="83674" y="141182"/>
                      <a:pt x="68591" y="143683"/>
                    </a:cubicBezTo>
                    <a:cubicBezTo>
                      <a:pt x="65033" y="144353"/>
                      <a:pt x="61708" y="141878"/>
                      <a:pt x="61063" y="138346"/>
                    </a:cubicBezTo>
                    <a:lnTo>
                      <a:pt x="59078" y="127157"/>
                    </a:lnTo>
                    <a:cubicBezTo>
                      <a:pt x="58949" y="126461"/>
                      <a:pt x="58846" y="125790"/>
                      <a:pt x="58717" y="125172"/>
                    </a:cubicBezTo>
                    <a:cubicBezTo>
                      <a:pt x="49332" y="138243"/>
                      <a:pt x="34611" y="158327"/>
                      <a:pt x="24195" y="172559"/>
                    </a:cubicBezTo>
                    <a:cubicBezTo>
                      <a:pt x="19838" y="178592"/>
                      <a:pt x="16254" y="183465"/>
                      <a:pt x="14320" y="186146"/>
                    </a:cubicBezTo>
                    <a:close/>
                    <a:moveTo>
                      <a:pt x="12851" y="188183"/>
                    </a:moveTo>
                    <a:cubicBezTo>
                      <a:pt x="12825" y="188208"/>
                      <a:pt x="12825" y="188208"/>
                      <a:pt x="12851" y="188183"/>
                    </a:cubicBezTo>
                    <a:cubicBezTo>
                      <a:pt x="12825" y="188208"/>
                      <a:pt x="12825" y="188208"/>
                      <a:pt x="12851" y="188183"/>
                    </a:cubicBezTo>
                    <a:close/>
                    <a:moveTo>
                      <a:pt x="72613" y="60794"/>
                    </a:moveTo>
                    <a:lnTo>
                      <a:pt x="127220" y="117024"/>
                    </a:lnTo>
                    <a:cubicBezTo>
                      <a:pt x="127632" y="117437"/>
                      <a:pt x="127967" y="117901"/>
                      <a:pt x="128225" y="118391"/>
                    </a:cubicBezTo>
                    <a:cubicBezTo>
                      <a:pt x="141786" y="115529"/>
                      <a:pt x="153440" y="113002"/>
                      <a:pt x="158261" y="111868"/>
                    </a:cubicBezTo>
                    <a:cubicBezTo>
                      <a:pt x="158571" y="111791"/>
                      <a:pt x="158880" y="111739"/>
                      <a:pt x="159215" y="111713"/>
                    </a:cubicBezTo>
                    <a:cubicBezTo>
                      <a:pt x="164887" y="93872"/>
                      <a:pt x="169837" y="78326"/>
                      <a:pt x="172158" y="70978"/>
                    </a:cubicBezTo>
                    <a:lnTo>
                      <a:pt x="118866" y="15882"/>
                    </a:lnTo>
                    <a:lnTo>
                      <a:pt x="72613" y="60794"/>
                    </a:lnTo>
                    <a:close/>
                  </a:path>
                </a:pathLst>
              </a:custGeom>
              <a:solidFill>
                <a:schemeClr val="tx2"/>
              </a:solidFill>
              <a:ln w="2573" cap="flat">
                <a:noFill/>
                <a:prstDash val="solid"/>
                <a:miter/>
              </a:ln>
            </p:spPr>
            <p:txBody>
              <a:bodyPr rtlCol="0" anchor="ctr"/>
              <a:lstStyle/>
              <a:p>
                <a:endParaRPr lang="en-GB" dirty="0"/>
              </a:p>
            </p:txBody>
          </p:sp>
        </p:grpSp>
      </p:grpSp>
      <p:grpSp>
        <p:nvGrpSpPr>
          <p:cNvPr id="684" name="Group 683">
            <a:extLst>
              <a:ext uri="{FF2B5EF4-FFF2-40B4-BE49-F238E27FC236}">
                <a16:creationId xmlns:a16="http://schemas.microsoft.com/office/drawing/2014/main" id="{DA5F1674-658E-4ADE-94CC-F09E22CDC080}"/>
              </a:ext>
            </a:extLst>
          </p:cNvPr>
          <p:cNvGrpSpPr/>
          <p:nvPr/>
        </p:nvGrpSpPr>
        <p:grpSpPr>
          <a:xfrm>
            <a:off x="8124414" y="2391526"/>
            <a:ext cx="456690" cy="432000"/>
            <a:chOff x="8124002" y="2391526"/>
            <a:chExt cx="456690" cy="432000"/>
          </a:xfrm>
        </p:grpSpPr>
        <p:grpSp>
          <p:nvGrpSpPr>
            <p:cNvPr id="478" name="Group 477">
              <a:extLst>
                <a:ext uri="{FF2B5EF4-FFF2-40B4-BE49-F238E27FC236}">
                  <a16:creationId xmlns:a16="http://schemas.microsoft.com/office/drawing/2014/main" id="{77E32BD6-8EE2-4701-A4C0-286638AEA7BB}"/>
                </a:ext>
              </a:extLst>
            </p:cNvPr>
            <p:cNvGrpSpPr/>
            <p:nvPr/>
          </p:nvGrpSpPr>
          <p:grpSpPr>
            <a:xfrm>
              <a:off x="8204216" y="2447026"/>
              <a:ext cx="296238" cy="216024"/>
              <a:chOff x="7044111" y="3330765"/>
              <a:chExt cx="314591" cy="229408"/>
            </a:xfrm>
          </p:grpSpPr>
          <p:sp>
            <p:nvSpPr>
              <p:cNvPr id="493" name="Freihandform: Form 967">
                <a:extLst>
                  <a:ext uri="{FF2B5EF4-FFF2-40B4-BE49-F238E27FC236}">
                    <a16:creationId xmlns:a16="http://schemas.microsoft.com/office/drawing/2014/main" id="{B7F4A961-4482-4640-8DB9-C0DEAF69E657}"/>
                  </a:ext>
                </a:extLst>
              </p:cNvPr>
              <p:cNvSpPr/>
              <p:nvPr/>
            </p:nvSpPr>
            <p:spPr>
              <a:xfrm>
                <a:off x="7044111" y="3330765"/>
                <a:ext cx="144198" cy="104881"/>
              </a:xfrm>
              <a:custGeom>
                <a:avLst/>
                <a:gdLst>
                  <a:gd name="connsiteX0" fmla="*/ 117978 w 144198"/>
                  <a:gd name="connsiteY0" fmla="*/ 104881 h 104881"/>
                  <a:gd name="connsiteX1" fmla="*/ 26220 w 144198"/>
                  <a:gd name="connsiteY1" fmla="*/ 104881 h 104881"/>
                  <a:gd name="connsiteX2" fmla="*/ 21579 w 144198"/>
                  <a:gd name="connsiteY2" fmla="*/ 102973 h 104881"/>
                  <a:gd name="connsiteX3" fmla="*/ 1908 w 144198"/>
                  <a:gd name="connsiteY3" fmla="*/ 83302 h 104881"/>
                  <a:gd name="connsiteX4" fmla="*/ 0 w 144198"/>
                  <a:gd name="connsiteY4" fmla="*/ 78661 h 104881"/>
                  <a:gd name="connsiteX5" fmla="*/ 0 w 144198"/>
                  <a:gd name="connsiteY5" fmla="*/ 26220 h 104881"/>
                  <a:gd name="connsiteX6" fmla="*/ 1908 w 144198"/>
                  <a:gd name="connsiteY6" fmla="*/ 21579 h 104881"/>
                  <a:gd name="connsiteX7" fmla="*/ 21579 w 144198"/>
                  <a:gd name="connsiteY7" fmla="*/ 1908 h 104881"/>
                  <a:gd name="connsiteX8" fmla="*/ 26220 w 144198"/>
                  <a:gd name="connsiteY8" fmla="*/ 0 h 104881"/>
                  <a:gd name="connsiteX9" fmla="*/ 117978 w 144198"/>
                  <a:gd name="connsiteY9" fmla="*/ 0 h 104881"/>
                  <a:gd name="connsiteX10" fmla="*/ 122619 w 144198"/>
                  <a:gd name="connsiteY10" fmla="*/ 1908 h 104881"/>
                  <a:gd name="connsiteX11" fmla="*/ 142291 w 144198"/>
                  <a:gd name="connsiteY11" fmla="*/ 21579 h 104881"/>
                  <a:gd name="connsiteX12" fmla="*/ 144199 w 144198"/>
                  <a:gd name="connsiteY12" fmla="*/ 26220 h 104881"/>
                  <a:gd name="connsiteX13" fmla="*/ 144199 w 144198"/>
                  <a:gd name="connsiteY13" fmla="*/ 78661 h 104881"/>
                  <a:gd name="connsiteX14" fmla="*/ 142291 w 144198"/>
                  <a:gd name="connsiteY14" fmla="*/ 83302 h 104881"/>
                  <a:gd name="connsiteX15" fmla="*/ 122619 w 144198"/>
                  <a:gd name="connsiteY15" fmla="*/ 102973 h 104881"/>
                  <a:gd name="connsiteX16" fmla="*/ 117978 w 144198"/>
                  <a:gd name="connsiteY16" fmla="*/ 104881 h 104881"/>
                  <a:gd name="connsiteX17" fmla="*/ 28927 w 144198"/>
                  <a:gd name="connsiteY17" fmla="*/ 91784 h 104881"/>
                  <a:gd name="connsiteX18" fmla="*/ 115245 w 144198"/>
                  <a:gd name="connsiteY18" fmla="*/ 91784 h 104881"/>
                  <a:gd name="connsiteX19" fmla="*/ 131076 w 144198"/>
                  <a:gd name="connsiteY19" fmla="*/ 75954 h 104881"/>
                  <a:gd name="connsiteX20" fmla="*/ 131076 w 144198"/>
                  <a:gd name="connsiteY20" fmla="*/ 28953 h 104881"/>
                  <a:gd name="connsiteX21" fmla="*/ 115245 w 144198"/>
                  <a:gd name="connsiteY21" fmla="*/ 13123 h 104881"/>
                  <a:gd name="connsiteX22" fmla="*/ 28927 w 144198"/>
                  <a:gd name="connsiteY22" fmla="*/ 13123 h 104881"/>
                  <a:gd name="connsiteX23" fmla="*/ 13097 w 144198"/>
                  <a:gd name="connsiteY23" fmla="*/ 28953 h 104881"/>
                  <a:gd name="connsiteX24" fmla="*/ 13097 w 144198"/>
                  <a:gd name="connsiteY24" fmla="*/ 75954 h 104881"/>
                  <a:gd name="connsiteX25" fmla="*/ 28927 w 144198"/>
                  <a:gd name="connsiteY25" fmla="*/ 91784 h 104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4198" h="104881">
                    <a:moveTo>
                      <a:pt x="117978" y="104881"/>
                    </a:moveTo>
                    <a:lnTo>
                      <a:pt x="26220" y="104881"/>
                    </a:lnTo>
                    <a:cubicBezTo>
                      <a:pt x="24467" y="104881"/>
                      <a:pt x="22817" y="104185"/>
                      <a:pt x="21579" y="102973"/>
                    </a:cubicBezTo>
                    <a:lnTo>
                      <a:pt x="1908" y="83302"/>
                    </a:lnTo>
                    <a:cubicBezTo>
                      <a:pt x="670" y="82064"/>
                      <a:pt x="0" y="80414"/>
                      <a:pt x="0" y="78661"/>
                    </a:cubicBezTo>
                    <a:lnTo>
                      <a:pt x="0" y="26220"/>
                    </a:lnTo>
                    <a:cubicBezTo>
                      <a:pt x="0" y="24467"/>
                      <a:pt x="696" y="22817"/>
                      <a:pt x="1908" y="21579"/>
                    </a:cubicBezTo>
                    <a:lnTo>
                      <a:pt x="21579" y="1908"/>
                    </a:lnTo>
                    <a:cubicBezTo>
                      <a:pt x="22817" y="670"/>
                      <a:pt x="24467" y="0"/>
                      <a:pt x="26220" y="0"/>
                    </a:cubicBezTo>
                    <a:lnTo>
                      <a:pt x="117978" y="0"/>
                    </a:lnTo>
                    <a:cubicBezTo>
                      <a:pt x="119731" y="0"/>
                      <a:pt x="121382" y="696"/>
                      <a:pt x="122619" y="1908"/>
                    </a:cubicBezTo>
                    <a:lnTo>
                      <a:pt x="142291" y="21579"/>
                    </a:lnTo>
                    <a:cubicBezTo>
                      <a:pt x="143528" y="22817"/>
                      <a:pt x="144199" y="24467"/>
                      <a:pt x="144199" y="26220"/>
                    </a:cubicBezTo>
                    <a:lnTo>
                      <a:pt x="144199" y="78661"/>
                    </a:lnTo>
                    <a:cubicBezTo>
                      <a:pt x="144199" y="80414"/>
                      <a:pt x="143503" y="82064"/>
                      <a:pt x="142291" y="83302"/>
                    </a:cubicBezTo>
                    <a:lnTo>
                      <a:pt x="122619" y="102973"/>
                    </a:lnTo>
                    <a:cubicBezTo>
                      <a:pt x="121382" y="104211"/>
                      <a:pt x="119706" y="104881"/>
                      <a:pt x="117978" y="104881"/>
                    </a:cubicBezTo>
                    <a:close/>
                    <a:moveTo>
                      <a:pt x="28927" y="91784"/>
                    </a:moveTo>
                    <a:lnTo>
                      <a:pt x="115245" y="91784"/>
                    </a:lnTo>
                    <a:lnTo>
                      <a:pt x="131076" y="75954"/>
                    </a:lnTo>
                    <a:lnTo>
                      <a:pt x="131076" y="28953"/>
                    </a:lnTo>
                    <a:lnTo>
                      <a:pt x="115245" y="13123"/>
                    </a:lnTo>
                    <a:lnTo>
                      <a:pt x="28927" y="13123"/>
                    </a:lnTo>
                    <a:lnTo>
                      <a:pt x="13097" y="28953"/>
                    </a:lnTo>
                    <a:lnTo>
                      <a:pt x="13097" y="75954"/>
                    </a:lnTo>
                    <a:lnTo>
                      <a:pt x="28927" y="91784"/>
                    </a:lnTo>
                    <a:close/>
                  </a:path>
                </a:pathLst>
              </a:custGeom>
              <a:solidFill>
                <a:schemeClr val="accent1"/>
              </a:solidFill>
              <a:ln w="2573" cap="flat">
                <a:noFill/>
                <a:prstDash val="solid"/>
                <a:miter/>
              </a:ln>
            </p:spPr>
            <p:txBody>
              <a:bodyPr rtlCol="0" anchor="ctr"/>
              <a:lstStyle/>
              <a:p>
                <a:endParaRPr lang="en-GB" dirty="0"/>
              </a:p>
            </p:txBody>
          </p:sp>
          <p:sp>
            <p:nvSpPr>
              <p:cNvPr id="494" name="Freihandform: Form 968">
                <a:extLst>
                  <a:ext uri="{FF2B5EF4-FFF2-40B4-BE49-F238E27FC236}">
                    <a16:creationId xmlns:a16="http://schemas.microsoft.com/office/drawing/2014/main" id="{060D96B8-A75F-43F0-BB62-045B49B0FBA3}"/>
                  </a:ext>
                </a:extLst>
              </p:cNvPr>
              <p:cNvSpPr/>
              <p:nvPr/>
            </p:nvSpPr>
            <p:spPr>
              <a:xfrm>
                <a:off x="7214504" y="3330765"/>
                <a:ext cx="144198" cy="104881"/>
              </a:xfrm>
              <a:custGeom>
                <a:avLst/>
                <a:gdLst>
                  <a:gd name="connsiteX0" fmla="*/ 117978 w 144198"/>
                  <a:gd name="connsiteY0" fmla="*/ 104881 h 104881"/>
                  <a:gd name="connsiteX1" fmla="*/ 26220 w 144198"/>
                  <a:gd name="connsiteY1" fmla="*/ 104881 h 104881"/>
                  <a:gd name="connsiteX2" fmla="*/ 21579 w 144198"/>
                  <a:gd name="connsiteY2" fmla="*/ 102973 h 104881"/>
                  <a:gd name="connsiteX3" fmla="*/ 1908 w 144198"/>
                  <a:gd name="connsiteY3" fmla="*/ 83302 h 104881"/>
                  <a:gd name="connsiteX4" fmla="*/ 0 w 144198"/>
                  <a:gd name="connsiteY4" fmla="*/ 78661 h 104881"/>
                  <a:gd name="connsiteX5" fmla="*/ 0 w 144198"/>
                  <a:gd name="connsiteY5" fmla="*/ 26220 h 104881"/>
                  <a:gd name="connsiteX6" fmla="*/ 1908 w 144198"/>
                  <a:gd name="connsiteY6" fmla="*/ 21579 h 104881"/>
                  <a:gd name="connsiteX7" fmla="*/ 21579 w 144198"/>
                  <a:gd name="connsiteY7" fmla="*/ 1908 h 104881"/>
                  <a:gd name="connsiteX8" fmla="*/ 26220 w 144198"/>
                  <a:gd name="connsiteY8" fmla="*/ 0 h 104881"/>
                  <a:gd name="connsiteX9" fmla="*/ 117978 w 144198"/>
                  <a:gd name="connsiteY9" fmla="*/ 0 h 104881"/>
                  <a:gd name="connsiteX10" fmla="*/ 122619 w 144198"/>
                  <a:gd name="connsiteY10" fmla="*/ 1908 h 104881"/>
                  <a:gd name="connsiteX11" fmla="*/ 142291 w 144198"/>
                  <a:gd name="connsiteY11" fmla="*/ 21579 h 104881"/>
                  <a:gd name="connsiteX12" fmla="*/ 144199 w 144198"/>
                  <a:gd name="connsiteY12" fmla="*/ 26220 h 104881"/>
                  <a:gd name="connsiteX13" fmla="*/ 144199 w 144198"/>
                  <a:gd name="connsiteY13" fmla="*/ 78661 h 104881"/>
                  <a:gd name="connsiteX14" fmla="*/ 142291 w 144198"/>
                  <a:gd name="connsiteY14" fmla="*/ 83302 h 104881"/>
                  <a:gd name="connsiteX15" fmla="*/ 122619 w 144198"/>
                  <a:gd name="connsiteY15" fmla="*/ 102973 h 104881"/>
                  <a:gd name="connsiteX16" fmla="*/ 117978 w 144198"/>
                  <a:gd name="connsiteY16" fmla="*/ 104881 h 104881"/>
                  <a:gd name="connsiteX17" fmla="*/ 28953 w 144198"/>
                  <a:gd name="connsiteY17" fmla="*/ 91784 h 104881"/>
                  <a:gd name="connsiteX18" fmla="*/ 115271 w 144198"/>
                  <a:gd name="connsiteY18" fmla="*/ 91784 h 104881"/>
                  <a:gd name="connsiteX19" fmla="*/ 131101 w 144198"/>
                  <a:gd name="connsiteY19" fmla="*/ 75954 h 104881"/>
                  <a:gd name="connsiteX20" fmla="*/ 131101 w 144198"/>
                  <a:gd name="connsiteY20" fmla="*/ 28953 h 104881"/>
                  <a:gd name="connsiteX21" fmla="*/ 115271 w 144198"/>
                  <a:gd name="connsiteY21" fmla="*/ 13123 h 104881"/>
                  <a:gd name="connsiteX22" fmla="*/ 28953 w 144198"/>
                  <a:gd name="connsiteY22" fmla="*/ 13123 h 104881"/>
                  <a:gd name="connsiteX23" fmla="*/ 13123 w 144198"/>
                  <a:gd name="connsiteY23" fmla="*/ 28953 h 104881"/>
                  <a:gd name="connsiteX24" fmla="*/ 13123 w 144198"/>
                  <a:gd name="connsiteY24" fmla="*/ 75954 h 104881"/>
                  <a:gd name="connsiteX25" fmla="*/ 28953 w 144198"/>
                  <a:gd name="connsiteY25" fmla="*/ 91784 h 104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4198" h="104881">
                    <a:moveTo>
                      <a:pt x="117978" y="104881"/>
                    </a:moveTo>
                    <a:lnTo>
                      <a:pt x="26220" y="104881"/>
                    </a:lnTo>
                    <a:cubicBezTo>
                      <a:pt x="24467" y="104881"/>
                      <a:pt x="22817" y="104185"/>
                      <a:pt x="21579" y="102973"/>
                    </a:cubicBezTo>
                    <a:lnTo>
                      <a:pt x="1908" y="83302"/>
                    </a:lnTo>
                    <a:cubicBezTo>
                      <a:pt x="670" y="82064"/>
                      <a:pt x="0" y="80414"/>
                      <a:pt x="0" y="78661"/>
                    </a:cubicBezTo>
                    <a:lnTo>
                      <a:pt x="0" y="26220"/>
                    </a:lnTo>
                    <a:cubicBezTo>
                      <a:pt x="0" y="24467"/>
                      <a:pt x="696" y="22817"/>
                      <a:pt x="1908" y="21579"/>
                    </a:cubicBezTo>
                    <a:lnTo>
                      <a:pt x="21579" y="1908"/>
                    </a:lnTo>
                    <a:cubicBezTo>
                      <a:pt x="22817" y="670"/>
                      <a:pt x="24467" y="0"/>
                      <a:pt x="26220" y="0"/>
                    </a:cubicBezTo>
                    <a:lnTo>
                      <a:pt x="117978" y="0"/>
                    </a:lnTo>
                    <a:cubicBezTo>
                      <a:pt x="119731" y="0"/>
                      <a:pt x="121381" y="696"/>
                      <a:pt x="122619" y="1908"/>
                    </a:cubicBezTo>
                    <a:lnTo>
                      <a:pt x="142291" y="21579"/>
                    </a:lnTo>
                    <a:cubicBezTo>
                      <a:pt x="143528" y="22817"/>
                      <a:pt x="144199" y="24467"/>
                      <a:pt x="144199" y="26220"/>
                    </a:cubicBezTo>
                    <a:lnTo>
                      <a:pt x="144199" y="78661"/>
                    </a:lnTo>
                    <a:cubicBezTo>
                      <a:pt x="144199" y="80414"/>
                      <a:pt x="143502" y="82064"/>
                      <a:pt x="142291" y="83302"/>
                    </a:cubicBezTo>
                    <a:lnTo>
                      <a:pt x="122619" y="102973"/>
                    </a:lnTo>
                    <a:cubicBezTo>
                      <a:pt x="121381" y="104211"/>
                      <a:pt x="119731" y="104881"/>
                      <a:pt x="117978" y="104881"/>
                    </a:cubicBezTo>
                    <a:close/>
                    <a:moveTo>
                      <a:pt x="28953" y="91784"/>
                    </a:moveTo>
                    <a:lnTo>
                      <a:pt x="115271" y="91784"/>
                    </a:lnTo>
                    <a:lnTo>
                      <a:pt x="131101" y="75954"/>
                    </a:lnTo>
                    <a:lnTo>
                      <a:pt x="131101" y="28953"/>
                    </a:lnTo>
                    <a:lnTo>
                      <a:pt x="115271" y="13123"/>
                    </a:lnTo>
                    <a:lnTo>
                      <a:pt x="28953" y="13123"/>
                    </a:lnTo>
                    <a:lnTo>
                      <a:pt x="13123" y="28953"/>
                    </a:lnTo>
                    <a:lnTo>
                      <a:pt x="13123" y="75954"/>
                    </a:lnTo>
                    <a:lnTo>
                      <a:pt x="28953" y="91784"/>
                    </a:lnTo>
                    <a:close/>
                  </a:path>
                </a:pathLst>
              </a:custGeom>
              <a:solidFill>
                <a:schemeClr val="accent1"/>
              </a:solidFill>
              <a:ln w="2573" cap="flat">
                <a:noFill/>
                <a:prstDash val="solid"/>
                <a:miter/>
              </a:ln>
            </p:spPr>
            <p:txBody>
              <a:bodyPr rtlCol="0" anchor="ctr"/>
              <a:lstStyle/>
              <a:p>
                <a:endParaRPr lang="en-GB" dirty="0"/>
              </a:p>
            </p:txBody>
          </p:sp>
          <p:sp>
            <p:nvSpPr>
              <p:cNvPr id="495" name="Freihandform: Form 970">
                <a:extLst>
                  <a:ext uri="{FF2B5EF4-FFF2-40B4-BE49-F238E27FC236}">
                    <a16:creationId xmlns:a16="http://schemas.microsoft.com/office/drawing/2014/main" id="{D4CA74AB-E636-4312-B826-D1BFDA14DFB4}"/>
                  </a:ext>
                </a:extLst>
              </p:cNvPr>
              <p:cNvSpPr/>
              <p:nvPr/>
            </p:nvSpPr>
            <p:spPr>
              <a:xfrm>
                <a:off x="7044111" y="3455292"/>
                <a:ext cx="144198" cy="104881"/>
              </a:xfrm>
              <a:custGeom>
                <a:avLst/>
                <a:gdLst>
                  <a:gd name="connsiteX0" fmla="*/ 117978 w 144198"/>
                  <a:gd name="connsiteY0" fmla="*/ 104881 h 104881"/>
                  <a:gd name="connsiteX1" fmla="*/ 26220 w 144198"/>
                  <a:gd name="connsiteY1" fmla="*/ 104881 h 104881"/>
                  <a:gd name="connsiteX2" fmla="*/ 21579 w 144198"/>
                  <a:gd name="connsiteY2" fmla="*/ 102973 h 104881"/>
                  <a:gd name="connsiteX3" fmla="*/ 1908 w 144198"/>
                  <a:gd name="connsiteY3" fmla="*/ 83302 h 104881"/>
                  <a:gd name="connsiteX4" fmla="*/ 0 w 144198"/>
                  <a:gd name="connsiteY4" fmla="*/ 78661 h 104881"/>
                  <a:gd name="connsiteX5" fmla="*/ 0 w 144198"/>
                  <a:gd name="connsiteY5" fmla="*/ 26220 h 104881"/>
                  <a:gd name="connsiteX6" fmla="*/ 1908 w 144198"/>
                  <a:gd name="connsiteY6" fmla="*/ 21579 h 104881"/>
                  <a:gd name="connsiteX7" fmla="*/ 21579 w 144198"/>
                  <a:gd name="connsiteY7" fmla="*/ 1908 h 104881"/>
                  <a:gd name="connsiteX8" fmla="*/ 26220 w 144198"/>
                  <a:gd name="connsiteY8" fmla="*/ 0 h 104881"/>
                  <a:gd name="connsiteX9" fmla="*/ 117978 w 144198"/>
                  <a:gd name="connsiteY9" fmla="*/ 0 h 104881"/>
                  <a:gd name="connsiteX10" fmla="*/ 122619 w 144198"/>
                  <a:gd name="connsiteY10" fmla="*/ 1908 h 104881"/>
                  <a:gd name="connsiteX11" fmla="*/ 142291 w 144198"/>
                  <a:gd name="connsiteY11" fmla="*/ 21579 h 104881"/>
                  <a:gd name="connsiteX12" fmla="*/ 144199 w 144198"/>
                  <a:gd name="connsiteY12" fmla="*/ 26220 h 104881"/>
                  <a:gd name="connsiteX13" fmla="*/ 144199 w 144198"/>
                  <a:gd name="connsiteY13" fmla="*/ 78661 h 104881"/>
                  <a:gd name="connsiteX14" fmla="*/ 142291 w 144198"/>
                  <a:gd name="connsiteY14" fmla="*/ 83302 h 104881"/>
                  <a:gd name="connsiteX15" fmla="*/ 122619 w 144198"/>
                  <a:gd name="connsiteY15" fmla="*/ 102973 h 104881"/>
                  <a:gd name="connsiteX16" fmla="*/ 117978 w 144198"/>
                  <a:gd name="connsiteY16" fmla="*/ 104881 h 104881"/>
                  <a:gd name="connsiteX17" fmla="*/ 28927 w 144198"/>
                  <a:gd name="connsiteY17" fmla="*/ 91784 h 104881"/>
                  <a:gd name="connsiteX18" fmla="*/ 115245 w 144198"/>
                  <a:gd name="connsiteY18" fmla="*/ 91784 h 104881"/>
                  <a:gd name="connsiteX19" fmla="*/ 131076 w 144198"/>
                  <a:gd name="connsiteY19" fmla="*/ 75954 h 104881"/>
                  <a:gd name="connsiteX20" fmla="*/ 131076 w 144198"/>
                  <a:gd name="connsiteY20" fmla="*/ 28953 h 104881"/>
                  <a:gd name="connsiteX21" fmla="*/ 115245 w 144198"/>
                  <a:gd name="connsiteY21" fmla="*/ 13123 h 104881"/>
                  <a:gd name="connsiteX22" fmla="*/ 28927 w 144198"/>
                  <a:gd name="connsiteY22" fmla="*/ 13123 h 104881"/>
                  <a:gd name="connsiteX23" fmla="*/ 13097 w 144198"/>
                  <a:gd name="connsiteY23" fmla="*/ 28953 h 104881"/>
                  <a:gd name="connsiteX24" fmla="*/ 13097 w 144198"/>
                  <a:gd name="connsiteY24" fmla="*/ 75954 h 104881"/>
                  <a:gd name="connsiteX25" fmla="*/ 28927 w 144198"/>
                  <a:gd name="connsiteY25" fmla="*/ 91784 h 104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4198" h="104881">
                    <a:moveTo>
                      <a:pt x="117978" y="104881"/>
                    </a:moveTo>
                    <a:lnTo>
                      <a:pt x="26220" y="104881"/>
                    </a:lnTo>
                    <a:cubicBezTo>
                      <a:pt x="24467" y="104881"/>
                      <a:pt x="22817" y="104185"/>
                      <a:pt x="21579" y="102973"/>
                    </a:cubicBezTo>
                    <a:lnTo>
                      <a:pt x="1908" y="83302"/>
                    </a:lnTo>
                    <a:cubicBezTo>
                      <a:pt x="670" y="82064"/>
                      <a:pt x="0" y="80414"/>
                      <a:pt x="0" y="78661"/>
                    </a:cubicBezTo>
                    <a:lnTo>
                      <a:pt x="0" y="26220"/>
                    </a:lnTo>
                    <a:cubicBezTo>
                      <a:pt x="0" y="24467"/>
                      <a:pt x="696" y="22817"/>
                      <a:pt x="1908" y="21579"/>
                    </a:cubicBezTo>
                    <a:lnTo>
                      <a:pt x="21579" y="1908"/>
                    </a:lnTo>
                    <a:cubicBezTo>
                      <a:pt x="22817" y="670"/>
                      <a:pt x="24467" y="0"/>
                      <a:pt x="26220" y="0"/>
                    </a:cubicBezTo>
                    <a:lnTo>
                      <a:pt x="117978" y="0"/>
                    </a:lnTo>
                    <a:cubicBezTo>
                      <a:pt x="119731" y="0"/>
                      <a:pt x="121382" y="696"/>
                      <a:pt x="122619" y="1908"/>
                    </a:cubicBezTo>
                    <a:lnTo>
                      <a:pt x="142291" y="21579"/>
                    </a:lnTo>
                    <a:cubicBezTo>
                      <a:pt x="143528" y="22817"/>
                      <a:pt x="144199" y="24467"/>
                      <a:pt x="144199" y="26220"/>
                    </a:cubicBezTo>
                    <a:lnTo>
                      <a:pt x="144199" y="78661"/>
                    </a:lnTo>
                    <a:cubicBezTo>
                      <a:pt x="144199" y="80414"/>
                      <a:pt x="143503" y="82064"/>
                      <a:pt x="142291" y="83302"/>
                    </a:cubicBezTo>
                    <a:lnTo>
                      <a:pt x="122619" y="102973"/>
                    </a:lnTo>
                    <a:cubicBezTo>
                      <a:pt x="121382" y="104211"/>
                      <a:pt x="119706" y="104881"/>
                      <a:pt x="117978" y="104881"/>
                    </a:cubicBezTo>
                    <a:close/>
                    <a:moveTo>
                      <a:pt x="28927" y="91784"/>
                    </a:moveTo>
                    <a:lnTo>
                      <a:pt x="115245" y="91784"/>
                    </a:lnTo>
                    <a:lnTo>
                      <a:pt x="131076" y="75954"/>
                    </a:lnTo>
                    <a:lnTo>
                      <a:pt x="131076" y="28953"/>
                    </a:lnTo>
                    <a:lnTo>
                      <a:pt x="115245" y="13123"/>
                    </a:lnTo>
                    <a:lnTo>
                      <a:pt x="28927" y="13123"/>
                    </a:lnTo>
                    <a:lnTo>
                      <a:pt x="13097" y="28953"/>
                    </a:lnTo>
                    <a:lnTo>
                      <a:pt x="13097" y="75954"/>
                    </a:lnTo>
                    <a:lnTo>
                      <a:pt x="28927" y="91784"/>
                    </a:lnTo>
                    <a:close/>
                  </a:path>
                </a:pathLst>
              </a:custGeom>
              <a:solidFill>
                <a:schemeClr val="accent1"/>
              </a:solidFill>
              <a:ln w="2573" cap="flat">
                <a:noFill/>
                <a:prstDash val="solid"/>
                <a:miter/>
              </a:ln>
            </p:spPr>
            <p:txBody>
              <a:bodyPr rtlCol="0" anchor="ctr"/>
              <a:lstStyle/>
              <a:p>
                <a:endParaRPr lang="en-GB" dirty="0"/>
              </a:p>
            </p:txBody>
          </p:sp>
          <p:sp>
            <p:nvSpPr>
              <p:cNvPr id="496" name="Freihandform: Form 971">
                <a:extLst>
                  <a:ext uri="{FF2B5EF4-FFF2-40B4-BE49-F238E27FC236}">
                    <a16:creationId xmlns:a16="http://schemas.microsoft.com/office/drawing/2014/main" id="{2820BEB6-DC4E-4053-9051-026478F3F2DF}"/>
                  </a:ext>
                </a:extLst>
              </p:cNvPr>
              <p:cNvSpPr/>
              <p:nvPr/>
            </p:nvSpPr>
            <p:spPr>
              <a:xfrm>
                <a:off x="7214504" y="3455292"/>
                <a:ext cx="144198" cy="104881"/>
              </a:xfrm>
              <a:custGeom>
                <a:avLst/>
                <a:gdLst>
                  <a:gd name="connsiteX0" fmla="*/ 117978 w 144198"/>
                  <a:gd name="connsiteY0" fmla="*/ 104881 h 104881"/>
                  <a:gd name="connsiteX1" fmla="*/ 26220 w 144198"/>
                  <a:gd name="connsiteY1" fmla="*/ 104881 h 104881"/>
                  <a:gd name="connsiteX2" fmla="*/ 21579 w 144198"/>
                  <a:gd name="connsiteY2" fmla="*/ 102973 h 104881"/>
                  <a:gd name="connsiteX3" fmla="*/ 1908 w 144198"/>
                  <a:gd name="connsiteY3" fmla="*/ 83302 h 104881"/>
                  <a:gd name="connsiteX4" fmla="*/ 0 w 144198"/>
                  <a:gd name="connsiteY4" fmla="*/ 78661 h 104881"/>
                  <a:gd name="connsiteX5" fmla="*/ 0 w 144198"/>
                  <a:gd name="connsiteY5" fmla="*/ 26220 h 104881"/>
                  <a:gd name="connsiteX6" fmla="*/ 1908 w 144198"/>
                  <a:gd name="connsiteY6" fmla="*/ 21579 h 104881"/>
                  <a:gd name="connsiteX7" fmla="*/ 21579 w 144198"/>
                  <a:gd name="connsiteY7" fmla="*/ 1908 h 104881"/>
                  <a:gd name="connsiteX8" fmla="*/ 26220 w 144198"/>
                  <a:gd name="connsiteY8" fmla="*/ 0 h 104881"/>
                  <a:gd name="connsiteX9" fmla="*/ 117978 w 144198"/>
                  <a:gd name="connsiteY9" fmla="*/ 0 h 104881"/>
                  <a:gd name="connsiteX10" fmla="*/ 122619 w 144198"/>
                  <a:gd name="connsiteY10" fmla="*/ 1908 h 104881"/>
                  <a:gd name="connsiteX11" fmla="*/ 142291 w 144198"/>
                  <a:gd name="connsiteY11" fmla="*/ 21579 h 104881"/>
                  <a:gd name="connsiteX12" fmla="*/ 144199 w 144198"/>
                  <a:gd name="connsiteY12" fmla="*/ 26220 h 104881"/>
                  <a:gd name="connsiteX13" fmla="*/ 144199 w 144198"/>
                  <a:gd name="connsiteY13" fmla="*/ 78661 h 104881"/>
                  <a:gd name="connsiteX14" fmla="*/ 142291 w 144198"/>
                  <a:gd name="connsiteY14" fmla="*/ 83302 h 104881"/>
                  <a:gd name="connsiteX15" fmla="*/ 122619 w 144198"/>
                  <a:gd name="connsiteY15" fmla="*/ 102973 h 104881"/>
                  <a:gd name="connsiteX16" fmla="*/ 117978 w 144198"/>
                  <a:gd name="connsiteY16" fmla="*/ 104881 h 104881"/>
                  <a:gd name="connsiteX17" fmla="*/ 28953 w 144198"/>
                  <a:gd name="connsiteY17" fmla="*/ 91784 h 104881"/>
                  <a:gd name="connsiteX18" fmla="*/ 115271 w 144198"/>
                  <a:gd name="connsiteY18" fmla="*/ 91784 h 104881"/>
                  <a:gd name="connsiteX19" fmla="*/ 131101 w 144198"/>
                  <a:gd name="connsiteY19" fmla="*/ 75954 h 104881"/>
                  <a:gd name="connsiteX20" fmla="*/ 131101 w 144198"/>
                  <a:gd name="connsiteY20" fmla="*/ 28953 h 104881"/>
                  <a:gd name="connsiteX21" fmla="*/ 115271 w 144198"/>
                  <a:gd name="connsiteY21" fmla="*/ 13123 h 104881"/>
                  <a:gd name="connsiteX22" fmla="*/ 28953 w 144198"/>
                  <a:gd name="connsiteY22" fmla="*/ 13123 h 104881"/>
                  <a:gd name="connsiteX23" fmla="*/ 13123 w 144198"/>
                  <a:gd name="connsiteY23" fmla="*/ 28953 h 104881"/>
                  <a:gd name="connsiteX24" fmla="*/ 13123 w 144198"/>
                  <a:gd name="connsiteY24" fmla="*/ 75954 h 104881"/>
                  <a:gd name="connsiteX25" fmla="*/ 28953 w 144198"/>
                  <a:gd name="connsiteY25" fmla="*/ 91784 h 104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4198" h="104881">
                    <a:moveTo>
                      <a:pt x="117978" y="104881"/>
                    </a:moveTo>
                    <a:lnTo>
                      <a:pt x="26220" y="104881"/>
                    </a:lnTo>
                    <a:cubicBezTo>
                      <a:pt x="24467" y="104881"/>
                      <a:pt x="22817" y="104185"/>
                      <a:pt x="21579" y="102973"/>
                    </a:cubicBezTo>
                    <a:lnTo>
                      <a:pt x="1908" y="83302"/>
                    </a:lnTo>
                    <a:cubicBezTo>
                      <a:pt x="670" y="82064"/>
                      <a:pt x="0" y="80414"/>
                      <a:pt x="0" y="78661"/>
                    </a:cubicBezTo>
                    <a:lnTo>
                      <a:pt x="0" y="26220"/>
                    </a:lnTo>
                    <a:cubicBezTo>
                      <a:pt x="0" y="24467"/>
                      <a:pt x="696" y="22817"/>
                      <a:pt x="1908" y="21579"/>
                    </a:cubicBezTo>
                    <a:lnTo>
                      <a:pt x="21579" y="1908"/>
                    </a:lnTo>
                    <a:cubicBezTo>
                      <a:pt x="22817" y="670"/>
                      <a:pt x="24467" y="0"/>
                      <a:pt x="26220" y="0"/>
                    </a:cubicBezTo>
                    <a:lnTo>
                      <a:pt x="117978" y="0"/>
                    </a:lnTo>
                    <a:cubicBezTo>
                      <a:pt x="119731" y="0"/>
                      <a:pt x="121381" y="696"/>
                      <a:pt x="122619" y="1908"/>
                    </a:cubicBezTo>
                    <a:lnTo>
                      <a:pt x="142291" y="21579"/>
                    </a:lnTo>
                    <a:cubicBezTo>
                      <a:pt x="143528" y="22817"/>
                      <a:pt x="144199" y="24467"/>
                      <a:pt x="144199" y="26220"/>
                    </a:cubicBezTo>
                    <a:lnTo>
                      <a:pt x="144199" y="78661"/>
                    </a:lnTo>
                    <a:cubicBezTo>
                      <a:pt x="144199" y="80414"/>
                      <a:pt x="143502" y="82064"/>
                      <a:pt x="142291" y="83302"/>
                    </a:cubicBezTo>
                    <a:lnTo>
                      <a:pt x="122619" y="102973"/>
                    </a:lnTo>
                    <a:cubicBezTo>
                      <a:pt x="121381" y="104211"/>
                      <a:pt x="119731" y="104881"/>
                      <a:pt x="117978" y="104881"/>
                    </a:cubicBezTo>
                    <a:close/>
                    <a:moveTo>
                      <a:pt x="28953" y="91784"/>
                    </a:moveTo>
                    <a:lnTo>
                      <a:pt x="115271" y="91784"/>
                    </a:lnTo>
                    <a:lnTo>
                      <a:pt x="131101" y="75954"/>
                    </a:lnTo>
                    <a:lnTo>
                      <a:pt x="131101" y="28953"/>
                    </a:lnTo>
                    <a:lnTo>
                      <a:pt x="115271" y="13123"/>
                    </a:lnTo>
                    <a:lnTo>
                      <a:pt x="28953" y="13123"/>
                    </a:lnTo>
                    <a:lnTo>
                      <a:pt x="13123" y="28953"/>
                    </a:lnTo>
                    <a:lnTo>
                      <a:pt x="13123" y="75954"/>
                    </a:lnTo>
                    <a:lnTo>
                      <a:pt x="28953" y="91784"/>
                    </a:lnTo>
                    <a:close/>
                  </a:path>
                </a:pathLst>
              </a:custGeom>
              <a:solidFill>
                <a:schemeClr val="accent1"/>
              </a:solidFill>
              <a:ln w="2573" cap="flat">
                <a:noFill/>
                <a:prstDash val="solid"/>
                <a:miter/>
              </a:ln>
            </p:spPr>
            <p:txBody>
              <a:bodyPr rtlCol="0" anchor="ctr"/>
              <a:lstStyle/>
              <a:p>
                <a:endParaRPr lang="en-GB" dirty="0"/>
              </a:p>
            </p:txBody>
          </p:sp>
        </p:grpSp>
        <p:grpSp>
          <p:nvGrpSpPr>
            <p:cNvPr id="479" name="Group 478">
              <a:extLst>
                <a:ext uri="{FF2B5EF4-FFF2-40B4-BE49-F238E27FC236}">
                  <a16:creationId xmlns:a16="http://schemas.microsoft.com/office/drawing/2014/main" id="{6D21D3F9-F2C5-4201-839F-6BA26AFAE44F}"/>
                </a:ext>
              </a:extLst>
            </p:cNvPr>
            <p:cNvGrpSpPr/>
            <p:nvPr/>
          </p:nvGrpSpPr>
          <p:grpSpPr>
            <a:xfrm>
              <a:off x="8124002" y="2391526"/>
              <a:ext cx="456690" cy="432000"/>
              <a:chOff x="6958927" y="3271827"/>
              <a:chExt cx="484984" cy="458764"/>
            </a:xfrm>
          </p:grpSpPr>
          <p:sp>
            <p:nvSpPr>
              <p:cNvPr id="480" name="Freihandform: Form 961">
                <a:extLst>
                  <a:ext uri="{FF2B5EF4-FFF2-40B4-BE49-F238E27FC236}">
                    <a16:creationId xmlns:a16="http://schemas.microsoft.com/office/drawing/2014/main" id="{78AD8D58-5F51-43B7-91BA-CD7ACD801151}"/>
                  </a:ext>
                </a:extLst>
              </p:cNvPr>
              <p:cNvSpPr/>
              <p:nvPr/>
            </p:nvSpPr>
            <p:spPr>
              <a:xfrm>
                <a:off x="7011342" y="3298022"/>
                <a:ext cx="380129" cy="294919"/>
              </a:xfrm>
              <a:custGeom>
                <a:avLst/>
                <a:gdLst>
                  <a:gd name="connsiteX0" fmla="*/ 373581 w 380129"/>
                  <a:gd name="connsiteY0" fmla="*/ 294920 h 294919"/>
                  <a:gd name="connsiteX1" fmla="*/ 6549 w 380129"/>
                  <a:gd name="connsiteY1" fmla="*/ 294920 h 294919"/>
                  <a:gd name="connsiteX2" fmla="*/ 0 w 380129"/>
                  <a:gd name="connsiteY2" fmla="*/ 288371 h 294919"/>
                  <a:gd name="connsiteX3" fmla="*/ 0 w 380129"/>
                  <a:gd name="connsiteY3" fmla="*/ 6549 h 294919"/>
                  <a:gd name="connsiteX4" fmla="*/ 6549 w 380129"/>
                  <a:gd name="connsiteY4" fmla="*/ 0 h 294919"/>
                  <a:gd name="connsiteX5" fmla="*/ 373581 w 380129"/>
                  <a:gd name="connsiteY5" fmla="*/ 0 h 294919"/>
                  <a:gd name="connsiteX6" fmla="*/ 380129 w 380129"/>
                  <a:gd name="connsiteY6" fmla="*/ 6549 h 294919"/>
                  <a:gd name="connsiteX7" fmla="*/ 380129 w 380129"/>
                  <a:gd name="connsiteY7" fmla="*/ 288371 h 294919"/>
                  <a:gd name="connsiteX8" fmla="*/ 373581 w 380129"/>
                  <a:gd name="connsiteY8" fmla="*/ 294920 h 294919"/>
                  <a:gd name="connsiteX9" fmla="*/ 13123 w 380129"/>
                  <a:gd name="connsiteY9" fmla="*/ 281823 h 294919"/>
                  <a:gd name="connsiteX10" fmla="*/ 367032 w 380129"/>
                  <a:gd name="connsiteY10" fmla="*/ 281823 h 294919"/>
                  <a:gd name="connsiteX11" fmla="*/ 367032 w 380129"/>
                  <a:gd name="connsiteY11" fmla="*/ 13097 h 294919"/>
                  <a:gd name="connsiteX12" fmla="*/ 13123 w 380129"/>
                  <a:gd name="connsiteY12" fmla="*/ 13097 h 294919"/>
                  <a:gd name="connsiteX13" fmla="*/ 13123 w 380129"/>
                  <a:gd name="connsiteY13" fmla="*/ 281823 h 294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0129" h="294919">
                    <a:moveTo>
                      <a:pt x="373581" y="294920"/>
                    </a:moveTo>
                    <a:lnTo>
                      <a:pt x="6549" y="294920"/>
                    </a:lnTo>
                    <a:cubicBezTo>
                      <a:pt x="2913" y="294920"/>
                      <a:pt x="0" y="291981"/>
                      <a:pt x="0" y="288371"/>
                    </a:cubicBezTo>
                    <a:lnTo>
                      <a:pt x="0" y="6549"/>
                    </a:lnTo>
                    <a:cubicBezTo>
                      <a:pt x="0" y="2939"/>
                      <a:pt x="2939" y="0"/>
                      <a:pt x="6549" y="0"/>
                    </a:cubicBezTo>
                    <a:lnTo>
                      <a:pt x="373581" y="0"/>
                    </a:lnTo>
                    <a:cubicBezTo>
                      <a:pt x="377190" y="0"/>
                      <a:pt x="380129" y="2939"/>
                      <a:pt x="380129" y="6549"/>
                    </a:cubicBezTo>
                    <a:lnTo>
                      <a:pt x="380129" y="288371"/>
                    </a:lnTo>
                    <a:cubicBezTo>
                      <a:pt x="380129" y="292007"/>
                      <a:pt x="377216" y="294920"/>
                      <a:pt x="373581" y="294920"/>
                    </a:cubicBezTo>
                    <a:close/>
                    <a:moveTo>
                      <a:pt x="13123" y="281823"/>
                    </a:moveTo>
                    <a:lnTo>
                      <a:pt x="367032" y="281823"/>
                    </a:lnTo>
                    <a:lnTo>
                      <a:pt x="367032" y="13097"/>
                    </a:lnTo>
                    <a:lnTo>
                      <a:pt x="13123" y="13097"/>
                    </a:lnTo>
                    <a:lnTo>
                      <a:pt x="13123" y="281823"/>
                    </a:lnTo>
                    <a:close/>
                  </a:path>
                </a:pathLst>
              </a:custGeom>
              <a:solidFill>
                <a:schemeClr val="tx2"/>
              </a:solidFill>
              <a:ln w="2573" cap="flat">
                <a:noFill/>
                <a:prstDash val="solid"/>
                <a:miter/>
              </a:ln>
            </p:spPr>
            <p:txBody>
              <a:bodyPr rtlCol="0" anchor="ctr"/>
              <a:lstStyle/>
              <a:p>
                <a:endParaRPr lang="en-GB" dirty="0"/>
              </a:p>
            </p:txBody>
          </p:sp>
          <p:sp>
            <p:nvSpPr>
              <p:cNvPr id="481" name="Freihandform: Form 962">
                <a:extLst>
                  <a:ext uri="{FF2B5EF4-FFF2-40B4-BE49-F238E27FC236}">
                    <a16:creationId xmlns:a16="http://schemas.microsoft.com/office/drawing/2014/main" id="{473D497C-30CB-4445-AB70-577F6C472146}"/>
                  </a:ext>
                </a:extLst>
              </p:cNvPr>
              <p:cNvSpPr/>
              <p:nvPr/>
            </p:nvSpPr>
            <p:spPr>
              <a:xfrm>
                <a:off x="7004793" y="3271827"/>
                <a:ext cx="393226" cy="13097"/>
              </a:xfrm>
              <a:custGeom>
                <a:avLst/>
                <a:gdLst>
                  <a:gd name="connsiteX0" fmla="*/ 386678 w 393226"/>
                  <a:gd name="connsiteY0" fmla="*/ 13097 h 13097"/>
                  <a:gd name="connsiteX1" fmla="*/ 6549 w 393226"/>
                  <a:gd name="connsiteY1" fmla="*/ 13097 h 13097"/>
                  <a:gd name="connsiteX2" fmla="*/ 0 w 393226"/>
                  <a:gd name="connsiteY2" fmla="*/ 6549 h 13097"/>
                  <a:gd name="connsiteX3" fmla="*/ 6549 w 393226"/>
                  <a:gd name="connsiteY3" fmla="*/ 0 h 13097"/>
                  <a:gd name="connsiteX4" fmla="*/ 386678 w 393226"/>
                  <a:gd name="connsiteY4" fmla="*/ 0 h 13097"/>
                  <a:gd name="connsiteX5" fmla="*/ 393227 w 393226"/>
                  <a:gd name="connsiteY5" fmla="*/ 6549 h 13097"/>
                  <a:gd name="connsiteX6" fmla="*/ 386678 w 393226"/>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226" h="13097">
                    <a:moveTo>
                      <a:pt x="386678" y="13097"/>
                    </a:moveTo>
                    <a:lnTo>
                      <a:pt x="6549" y="13097"/>
                    </a:lnTo>
                    <a:cubicBezTo>
                      <a:pt x="2913" y="13097"/>
                      <a:pt x="0" y="10158"/>
                      <a:pt x="0" y="6549"/>
                    </a:cubicBezTo>
                    <a:cubicBezTo>
                      <a:pt x="0" y="2913"/>
                      <a:pt x="2939" y="0"/>
                      <a:pt x="6549" y="0"/>
                    </a:cubicBezTo>
                    <a:lnTo>
                      <a:pt x="386678" y="0"/>
                    </a:lnTo>
                    <a:cubicBezTo>
                      <a:pt x="390287" y="0"/>
                      <a:pt x="393227" y="2939"/>
                      <a:pt x="393227" y="6549"/>
                    </a:cubicBezTo>
                    <a:cubicBezTo>
                      <a:pt x="393227" y="10158"/>
                      <a:pt x="390313" y="13097"/>
                      <a:pt x="386678" y="13097"/>
                    </a:cubicBezTo>
                    <a:close/>
                  </a:path>
                </a:pathLst>
              </a:custGeom>
              <a:solidFill>
                <a:schemeClr val="tx2"/>
              </a:solidFill>
              <a:ln w="2573" cap="flat">
                <a:noFill/>
                <a:prstDash val="solid"/>
                <a:miter/>
              </a:ln>
            </p:spPr>
            <p:txBody>
              <a:bodyPr rtlCol="0" anchor="ctr"/>
              <a:lstStyle/>
              <a:p>
                <a:endParaRPr lang="en-GB" dirty="0"/>
              </a:p>
            </p:txBody>
          </p:sp>
          <p:sp>
            <p:nvSpPr>
              <p:cNvPr id="482" name="Freihandform: Form 963">
                <a:extLst>
                  <a:ext uri="{FF2B5EF4-FFF2-40B4-BE49-F238E27FC236}">
                    <a16:creationId xmlns:a16="http://schemas.microsoft.com/office/drawing/2014/main" id="{B3B3E693-BD60-4ABC-9156-A25E136E80CA}"/>
                  </a:ext>
                </a:extLst>
              </p:cNvPr>
              <p:cNvSpPr/>
              <p:nvPr/>
            </p:nvSpPr>
            <p:spPr>
              <a:xfrm>
                <a:off x="7011342" y="3606065"/>
                <a:ext cx="380129" cy="13097"/>
              </a:xfrm>
              <a:custGeom>
                <a:avLst/>
                <a:gdLst>
                  <a:gd name="connsiteX0" fmla="*/ 373581 w 380129"/>
                  <a:gd name="connsiteY0" fmla="*/ 13097 h 13097"/>
                  <a:gd name="connsiteX1" fmla="*/ 6549 w 380129"/>
                  <a:gd name="connsiteY1" fmla="*/ 13097 h 13097"/>
                  <a:gd name="connsiteX2" fmla="*/ 0 w 380129"/>
                  <a:gd name="connsiteY2" fmla="*/ 6549 h 13097"/>
                  <a:gd name="connsiteX3" fmla="*/ 6549 w 380129"/>
                  <a:gd name="connsiteY3" fmla="*/ 0 h 13097"/>
                  <a:gd name="connsiteX4" fmla="*/ 373581 w 380129"/>
                  <a:gd name="connsiteY4" fmla="*/ 0 h 13097"/>
                  <a:gd name="connsiteX5" fmla="*/ 380129 w 380129"/>
                  <a:gd name="connsiteY5" fmla="*/ 6549 h 13097"/>
                  <a:gd name="connsiteX6" fmla="*/ 373581 w 380129"/>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129" h="13097">
                    <a:moveTo>
                      <a:pt x="373581" y="13097"/>
                    </a:moveTo>
                    <a:lnTo>
                      <a:pt x="6549" y="13097"/>
                    </a:lnTo>
                    <a:cubicBezTo>
                      <a:pt x="2913" y="13097"/>
                      <a:pt x="0" y="10158"/>
                      <a:pt x="0" y="6549"/>
                    </a:cubicBezTo>
                    <a:cubicBezTo>
                      <a:pt x="0" y="2939"/>
                      <a:pt x="2939" y="0"/>
                      <a:pt x="6549" y="0"/>
                    </a:cubicBezTo>
                    <a:lnTo>
                      <a:pt x="373581" y="0"/>
                    </a:lnTo>
                    <a:cubicBezTo>
                      <a:pt x="377190" y="0"/>
                      <a:pt x="380129" y="2939"/>
                      <a:pt x="380129" y="6549"/>
                    </a:cubicBezTo>
                    <a:cubicBezTo>
                      <a:pt x="380129" y="10184"/>
                      <a:pt x="377216" y="13097"/>
                      <a:pt x="373581" y="13097"/>
                    </a:cubicBezTo>
                    <a:close/>
                  </a:path>
                </a:pathLst>
              </a:custGeom>
              <a:solidFill>
                <a:schemeClr val="tx2"/>
              </a:solidFill>
              <a:ln w="2573" cap="flat">
                <a:noFill/>
                <a:prstDash val="solid"/>
                <a:miter/>
              </a:ln>
            </p:spPr>
            <p:txBody>
              <a:bodyPr rtlCol="0" anchor="ctr"/>
              <a:lstStyle/>
              <a:p>
                <a:endParaRPr lang="en-GB" dirty="0"/>
              </a:p>
            </p:txBody>
          </p:sp>
          <p:sp>
            <p:nvSpPr>
              <p:cNvPr id="483" name="Freihandform: Form 964">
                <a:extLst>
                  <a:ext uri="{FF2B5EF4-FFF2-40B4-BE49-F238E27FC236}">
                    <a16:creationId xmlns:a16="http://schemas.microsoft.com/office/drawing/2014/main" id="{5B6E591A-6260-499D-8989-E964BF3A306D}"/>
                  </a:ext>
                </a:extLst>
              </p:cNvPr>
              <p:cNvSpPr/>
              <p:nvPr/>
            </p:nvSpPr>
            <p:spPr>
              <a:xfrm>
                <a:off x="7175212" y="3606065"/>
                <a:ext cx="52414" cy="91757"/>
              </a:xfrm>
              <a:custGeom>
                <a:avLst/>
                <a:gdLst>
                  <a:gd name="connsiteX0" fmla="*/ 45866 w 52414"/>
                  <a:gd name="connsiteY0" fmla="*/ 91758 h 91757"/>
                  <a:gd name="connsiteX1" fmla="*/ 6549 w 52414"/>
                  <a:gd name="connsiteY1" fmla="*/ 91758 h 91757"/>
                  <a:gd name="connsiteX2" fmla="*/ 0 w 52414"/>
                  <a:gd name="connsiteY2" fmla="*/ 85209 h 91757"/>
                  <a:gd name="connsiteX3" fmla="*/ 0 w 52414"/>
                  <a:gd name="connsiteY3" fmla="*/ 6549 h 91757"/>
                  <a:gd name="connsiteX4" fmla="*/ 6549 w 52414"/>
                  <a:gd name="connsiteY4" fmla="*/ 0 h 91757"/>
                  <a:gd name="connsiteX5" fmla="*/ 45866 w 52414"/>
                  <a:gd name="connsiteY5" fmla="*/ 0 h 91757"/>
                  <a:gd name="connsiteX6" fmla="*/ 52415 w 52414"/>
                  <a:gd name="connsiteY6" fmla="*/ 6549 h 91757"/>
                  <a:gd name="connsiteX7" fmla="*/ 52415 w 52414"/>
                  <a:gd name="connsiteY7" fmla="*/ 85209 h 91757"/>
                  <a:gd name="connsiteX8" fmla="*/ 45866 w 52414"/>
                  <a:gd name="connsiteY8" fmla="*/ 91758 h 91757"/>
                  <a:gd name="connsiteX9" fmla="*/ 13097 w 52414"/>
                  <a:gd name="connsiteY9" fmla="*/ 78635 h 91757"/>
                  <a:gd name="connsiteX10" fmla="*/ 39318 w 52414"/>
                  <a:gd name="connsiteY10" fmla="*/ 78635 h 91757"/>
                  <a:gd name="connsiteX11" fmla="*/ 39318 w 52414"/>
                  <a:gd name="connsiteY11" fmla="*/ 13097 h 91757"/>
                  <a:gd name="connsiteX12" fmla="*/ 13097 w 52414"/>
                  <a:gd name="connsiteY12" fmla="*/ 13097 h 91757"/>
                  <a:gd name="connsiteX13" fmla="*/ 13097 w 52414"/>
                  <a:gd name="connsiteY13" fmla="*/ 78635 h 9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14" h="91757">
                    <a:moveTo>
                      <a:pt x="45866" y="91758"/>
                    </a:moveTo>
                    <a:lnTo>
                      <a:pt x="6549" y="91758"/>
                    </a:lnTo>
                    <a:cubicBezTo>
                      <a:pt x="2913" y="91758"/>
                      <a:pt x="0" y="88819"/>
                      <a:pt x="0" y="85209"/>
                    </a:cubicBezTo>
                    <a:lnTo>
                      <a:pt x="0" y="6549"/>
                    </a:lnTo>
                    <a:cubicBezTo>
                      <a:pt x="0" y="2939"/>
                      <a:pt x="2939" y="0"/>
                      <a:pt x="6549" y="0"/>
                    </a:cubicBezTo>
                    <a:lnTo>
                      <a:pt x="45866" y="0"/>
                    </a:lnTo>
                    <a:cubicBezTo>
                      <a:pt x="49476" y="0"/>
                      <a:pt x="52415" y="2939"/>
                      <a:pt x="52415" y="6549"/>
                    </a:cubicBezTo>
                    <a:lnTo>
                      <a:pt x="52415" y="85209"/>
                    </a:lnTo>
                    <a:cubicBezTo>
                      <a:pt x="52415" y="88819"/>
                      <a:pt x="49476" y="91758"/>
                      <a:pt x="45866" y="91758"/>
                    </a:cubicBezTo>
                    <a:close/>
                    <a:moveTo>
                      <a:pt x="13097" y="78635"/>
                    </a:moveTo>
                    <a:lnTo>
                      <a:pt x="39318" y="78635"/>
                    </a:lnTo>
                    <a:lnTo>
                      <a:pt x="39318" y="13097"/>
                    </a:lnTo>
                    <a:lnTo>
                      <a:pt x="13097" y="13097"/>
                    </a:lnTo>
                    <a:lnTo>
                      <a:pt x="13097" y="78635"/>
                    </a:lnTo>
                    <a:close/>
                  </a:path>
                </a:pathLst>
              </a:custGeom>
              <a:solidFill>
                <a:schemeClr val="tx2"/>
              </a:solidFill>
              <a:ln w="2573" cap="flat">
                <a:noFill/>
                <a:prstDash val="solid"/>
                <a:miter/>
              </a:ln>
            </p:spPr>
            <p:txBody>
              <a:bodyPr rtlCol="0" anchor="ctr"/>
              <a:lstStyle/>
              <a:p>
                <a:endParaRPr lang="en-GB" dirty="0"/>
              </a:p>
            </p:txBody>
          </p:sp>
          <p:sp>
            <p:nvSpPr>
              <p:cNvPr id="484" name="Freihandform: Form 965">
                <a:extLst>
                  <a:ext uri="{FF2B5EF4-FFF2-40B4-BE49-F238E27FC236}">
                    <a16:creationId xmlns:a16="http://schemas.microsoft.com/office/drawing/2014/main" id="{2E0AFB3F-627E-4932-8D80-87C5D402ADA0}"/>
                  </a:ext>
                </a:extLst>
              </p:cNvPr>
              <p:cNvSpPr/>
              <p:nvPr/>
            </p:nvSpPr>
            <p:spPr>
              <a:xfrm>
                <a:off x="7135869" y="3684725"/>
                <a:ext cx="131075" cy="45866"/>
              </a:xfrm>
              <a:custGeom>
                <a:avLst/>
                <a:gdLst>
                  <a:gd name="connsiteX0" fmla="*/ 124527 w 131075"/>
                  <a:gd name="connsiteY0" fmla="*/ 45866 h 45866"/>
                  <a:gd name="connsiteX1" fmla="*/ 6549 w 131075"/>
                  <a:gd name="connsiteY1" fmla="*/ 45866 h 45866"/>
                  <a:gd name="connsiteX2" fmla="*/ 0 w 131075"/>
                  <a:gd name="connsiteY2" fmla="*/ 39317 h 45866"/>
                  <a:gd name="connsiteX3" fmla="*/ 0 w 131075"/>
                  <a:gd name="connsiteY3" fmla="*/ 35837 h 45866"/>
                  <a:gd name="connsiteX4" fmla="*/ 35837 w 131075"/>
                  <a:gd name="connsiteY4" fmla="*/ 0 h 45866"/>
                  <a:gd name="connsiteX5" fmla="*/ 95239 w 131075"/>
                  <a:gd name="connsiteY5" fmla="*/ 0 h 45866"/>
                  <a:gd name="connsiteX6" fmla="*/ 131075 w 131075"/>
                  <a:gd name="connsiteY6" fmla="*/ 35837 h 45866"/>
                  <a:gd name="connsiteX7" fmla="*/ 131075 w 131075"/>
                  <a:gd name="connsiteY7" fmla="*/ 39317 h 45866"/>
                  <a:gd name="connsiteX8" fmla="*/ 124527 w 131075"/>
                  <a:gd name="connsiteY8" fmla="*/ 45866 h 45866"/>
                  <a:gd name="connsiteX9" fmla="*/ 13329 w 131075"/>
                  <a:gd name="connsiteY9" fmla="*/ 32743 h 45866"/>
                  <a:gd name="connsiteX10" fmla="*/ 117772 w 131075"/>
                  <a:gd name="connsiteY10" fmla="*/ 32743 h 45866"/>
                  <a:gd name="connsiteX11" fmla="*/ 95239 w 131075"/>
                  <a:gd name="connsiteY11" fmla="*/ 13071 h 45866"/>
                  <a:gd name="connsiteX12" fmla="*/ 35837 w 131075"/>
                  <a:gd name="connsiteY12" fmla="*/ 13071 h 45866"/>
                  <a:gd name="connsiteX13" fmla="*/ 13329 w 131075"/>
                  <a:gd name="connsiteY13" fmla="*/ 32743 h 4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075" h="45866">
                    <a:moveTo>
                      <a:pt x="124527" y="45866"/>
                    </a:moveTo>
                    <a:lnTo>
                      <a:pt x="6549" y="45866"/>
                    </a:lnTo>
                    <a:cubicBezTo>
                      <a:pt x="2913" y="45866"/>
                      <a:pt x="0" y="42927"/>
                      <a:pt x="0" y="39317"/>
                    </a:cubicBezTo>
                    <a:lnTo>
                      <a:pt x="0" y="35837"/>
                    </a:lnTo>
                    <a:cubicBezTo>
                      <a:pt x="0" y="16062"/>
                      <a:pt x="16088" y="0"/>
                      <a:pt x="35837" y="0"/>
                    </a:cubicBezTo>
                    <a:lnTo>
                      <a:pt x="95239" y="0"/>
                    </a:lnTo>
                    <a:cubicBezTo>
                      <a:pt x="115013" y="0"/>
                      <a:pt x="131075" y="16088"/>
                      <a:pt x="131075" y="35837"/>
                    </a:cubicBezTo>
                    <a:lnTo>
                      <a:pt x="131075" y="39317"/>
                    </a:lnTo>
                    <a:cubicBezTo>
                      <a:pt x="131075" y="42927"/>
                      <a:pt x="128162" y="45866"/>
                      <a:pt x="124527" y="45866"/>
                    </a:cubicBezTo>
                    <a:close/>
                    <a:moveTo>
                      <a:pt x="13329" y="32743"/>
                    </a:moveTo>
                    <a:lnTo>
                      <a:pt x="117772" y="32743"/>
                    </a:lnTo>
                    <a:cubicBezTo>
                      <a:pt x="116277" y="21657"/>
                      <a:pt x="106737" y="13071"/>
                      <a:pt x="95239" y="13071"/>
                    </a:cubicBezTo>
                    <a:lnTo>
                      <a:pt x="35837" y="13071"/>
                    </a:lnTo>
                    <a:cubicBezTo>
                      <a:pt x="24338" y="13097"/>
                      <a:pt x="14825" y="21657"/>
                      <a:pt x="13329" y="32743"/>
                    </a:cubicBezTo>
                    <a:close/>
                  </a:path>
                </a:pathLst>
              </a:custGeom>
              <a:solidFill>
                <a:schemeClr val="tx2"/>
              </a:solidFill>
              <a:ln w="2573" cap="flat">
                <a:noFill/>
                <a:prstDash val="solid"/>
                <a:miter/>
              </a:ln>
            </p:spPr>
            <p:txBody>
              <a:bodyPr rtlCol="0" anchor="ctr"/>
              <a:lstStyle/>
              <a:p>
                <a:endParaRPr lang="en-GB" dirty="0"/>
              </a:p>
            </p:txBody>
          </p:sp>
          <p:sp>
            <p:nvSpPr>
              <p:cNvPr id="485" name="Freihandform: Form 972">
                <a:extLst>
                  <a:ext uri="{FF2B5EF4-FFF2-40B4-BE49-F238E27FC236}">
                    <a16:creationId xmlns:a16="http://schemas.microsoft.com/office/drawing/2014/main" id="{300888F6-37AF-4472-90AB-384C1616E1DE}"/>
                  </a:ext>
                </a:extLst>
              </p:cNvPr>
              <p:cNvSpPr/>
              <p:nvPr/>
            </p:nvSpPr>
            <p:spPr>
              <a:xfrm>
                <a:off x="6958927" y="3311145"/>
                <a:ext cx="39317" cy="268699"/>
              </a:xfrm>
              <a:custGeom>
                <a:avLst/>
                <a:gdLst>
                  <a:gd name="connsiteX0" fmla="*/ 39318 w 39317"/>
                  <a:gd name="connsiteY0" fmla="*/ 268700 h 268699"/>
                  <a:gd name="connsiteX1" fmla="*/ 6549 w 39317"/>
                  <a:gd name="connsiteY1" fmla="*/ 268700 h 268699"/>
                  <a:gd name="connsiteX2" fmla="*/ 0 w 39317"/>
                  <a:gd name="connsiteY2" fmla="*/ 262151 h 268699"/>
                  <a:gd name="connsiteX3" fmla="*/ 0 w 39317"/>
                  <a:gd name="connsiteY3" fmla="*/ 6549 h 268699"/>
                  <a:gd name="connsiteX4" fmla="*/ 6549 w 39317"/>
                  <a:gd name="connsiteY4" fmla="*/ 0 h 268699"/>
                  <a:gd name="connsiteX5" fmla="*/ 39318 w 39317"/>
                  <a:gd name="connsiteY5" fmla="*/ 0 h 268699"/>
                  <a:gd name="connsiteX6" fmla="*/ 39318 w 39317"/>
                  <a:gd name="connsiteY6" fmla="*/ 13097 h 268699"/>
                  <a:gd name="connsiteX7" fmla="*/ 13097 w 39317"/>
                  <a:gd name="connsiteY7" fmla="*/ 13097 h 268699"/>
                  <a:gd name="connsiteX8" fmla="*/ 13097 w 39317"/>
                  <a:gd name="connsiteY8" fmla="*/ 255602 h 268699"/>
                  <a:gd name="connsiteX9" fmla="*/ 39318 w 39317"/>
                  <a:gd name="connsiteY9" fmla="*/ 255602 h 268699"/>
                  <a:gd name="connsiteX10" fmla="*/ 39318 w 39317"/>
                  <a:gd name="connsiteY10" fmla="*/ 268700 h 26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17" h="268699">
                    <a:moveTo>
                      <a:pt x="39318" y="268700"/>
                    </a:moveTo>
                    <a:lnTo>
                      <a:pt x="6549" y="268700"/>
                    </a:lnTo>
                    <a:cubicBezTo>
                      <a:pt x="2913" y="268700"/>
                      <a:pt x="0" y="265761"/>
                      <a:pt x="0" y="262151"/>
                    </a:cubicBezTo>
                    <a:lnTo>
                      <a:pt x="0" y="6549"/>
                    </a:lnTo>
                    <a:cubicBezTo>
                      <a:pt x="0" y="2939"/>
                      <a:pt x="2939" y="0"/>
                      <a:pt x="6549" y="0"/>
                    </a:cubicBezTo>
                    <a:lnTo>
                      <a:pt x="39318" y="0"/>
                    </a:lnTo>
                    <a:lnTo>
                      <a:pt x="39318" y="13097"/>
                    </a:lnTo>
                    <a:lnTo>
                      <a:pt x="13097" y="13097"/>
                    </a:lnTo>
                    <a:lnTo>
                      <a:pt x="13097" y="255602"/>
                    </a:lnTo>
                    <a:lnTo>
                      <a:pt x="39318" y="255602"/>
                    </a:lnTo>
                    <a:lnTo>
                      <a:pt x="39318" y="268700"/>
                    </a:lnTo>
                    <a:close/>
                  </a:path>
                </a:pathLst>
              </a:custGeom>
              <a:solidFill>
                <a:schemeClr val="tx2"/>
              </a:solidFill>
              <a:ln w="2573" cap="flat">
                <a:noFill/>
                <a:prstDash val="solid"/>
                <a:miter/>
              </a:ln>
            </p:spPr>
            <p:txBody>
              <a:bodyPr rtlCol="0" anchor="ctr"/>
              <a:lstStyle/>
              <a:p>
                <a:endParaRPr lang="en-GB" dirty="0"/>
              </a:p>
            </p:txBody>
          </p:sp>
          <p:sp>
            <p:nvSpPr>
              <p:cNvPr id="486" name="Freihandform: Form 973">
                <a:extLst>
                  <a:ext uri="{FF2B5EF4-FFF2-40B4-BE49-F238E27FC236}">
                    <a16:creationId xmlns:a16="http://schemas.microsoft.com/office/drawing/2014/main" id="{04F082A8-774B-4266-8910-E3287FD4B21E}"/>
                  </a:ext>
                </a:extLst>
              </p:cNvPr>
              <p:cNvSpPr/>
              <p:nvPr/>
            </p:nvSpPr>
            <p:spPr>
              <a:xfrm>
                <a:off x="7404594" y="3311145"/>
                <a:ext cx="39317" cy="268699"/>
              </a:xfrm>
              <a:custGeom>
                <a:avLst/>
                <a:gdLst>
                  <a:gd name="connsiteX0" fmla="*/ 32769 w 39317"/>
                  <a:gd name="connsiteY0" fmla="*/ 268700 h 268699"/>
                  <a:gd name="connsiteX1" fmla="*/ 0 w 39317"/>
                  <a:gd name="connsiteY1" fmla="*/ 268700 h 268699"/>
                  <a:gd name="connsiteX2" fmla="*/ 0 w 39317"/>
                  <a:gd name="connsiteY2" fmla="*/ 255602 h 268699"/>
                  <a:gd name="connsiteX3" fmla="*/ 26220 w 39317"/>
                  <a:gd name="connsiteY3" fmla="*/ 255602 h 268699"/>
                  <a:gd name="connsiteX4" fmla="*/ 26220 w 39317"/>
                  <a:gd name="connsiteY4" fmla="*/ 13097 h 268699"/>
                  <a:gd name="connsiteX5" fmla="*/ 0 w 39317"/>
                  <a:gd name="connsiteY5" fmla="*/ 13097 h 268699"/>
                  <a:gd name="connsiteX6" fmla="*/ 0 w 39317"/>
                  <a:gd name="connsiteY6" fmla="*/ 0 h 268699"/>
                  <a:gd name="connsiteX7" fmla="*/ 32769 w 39317"/>
                  <a:gd name="connsiteY7" fmla="*/ 0 h 268699"/>
                  <a:gd name="connsiteX8" fmla="*/ 39318 w 39317"/>
                  <a:gd name="connsiteY8" fmla="*/ 6549 h 268699"/>
                  <a:gd name="connsiteX9" fmla="*/ 39318 w 39317"/>
                  <a:gd name="connsiteY9" fmla="*/ 262151 h 268699"/>
                  <a:gd name="connsiteX10" fmla="*/ 32769 w 39317"/>
                  <a:gd name="connsiteY10" fmla="*/ 268700 h 26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17" h="268699">
                    <a:moveTo>
                      <a:pt x="32769" y="268700"/>
                    </a:moveTo>
                    <a:lnTo>
                      <a:pt x="0" y="268700"/>
                    </a:lnTo>
                    <a:lnTo>
                      <a:pt x="0" y="255602"/>
                    </a:lnTo>
                    <a:lnTo>
                      <a:pt x="26220" y="255602"/>
                    </a:lnTo>
                    <a:lnTo>
                      <a:pt x="26220" y="13097"/>
                    </a:lnTo>
                    <a:lnTo>
                      <a:pt x="0" y="13097"/>
                    </a:lnTo>
                    <a:lnTo>
                      <a:pt x="0" y="0"/>
                    </a:lnTo>
                    <a:lnTo>
                      <a:pt x="32769" y="0"/>
                    </a:lnTo>
                    <a:cubicBezTo>
                      <a:pt x="36378" y="0"/>
                      <a:pt x="39318" y="2939"/>
                      <a:pt x="39318" y="6549"/>
                    </a:cubicBezTo>
                    <a:lnTo>
                      <a:pt x="39318" y="262151"/>
                    </a:lnTo>
                    <a:cubicBezTo>
                      <a:pt x="39318" y="265761"/>
                      <a:pt x="36378" y="268700"/>
                      <a:pt x="32769" y="268700"/>
                    </a:cubicBezTo>
                    <a:close/>
                  </a:path>
                </a:pathLst>
              </a:custGeom>
              <a:solidFill>
                <a:schemeClr val="tx2"/>
              </a:solidFill>
              <a:ln w="2573" cap="flat">
                <a:noFill/>
                <a:prstDash val="solid"/>
                <a:miter/>
              </a:ln>
            </p:spPr>
            <p:txBody>
              <a:bodyPr rtlCol="0" anchor="ctr"/>
              <a:lstStyle/>
              <a:p>
                <a:endParaRPr lang="en-GB" dirty="0"/>
              </a:p>
            </p:txBody>
          </p:sp>
          <p:sp>
            <p:nvSpPr>
              <p:cNvPr id="487" name="Freihandform: Form 974">
                <a:extLst>
                  <a:ext uri="{FF2B5EF4-FFF2-40B4-BE49-F238E27FC236}">
                    <a16:creationId xmlns:a16="http://schemas.microsoft.com/office/drawing/2014/main" id="{4A906810-A54D-44F8-AD30-4242EC6CA7D8}"/>
                  </a:ext>
                </a:extLst>
              </p:cNvPr>
              <p:cNvSpPr/>
              <p:nvPr/>
            </p:nvSpPr>
            <p:spPr>
              <a:xfrm>
                <a:off x="7293165" y="3632285"/>
                <a:ext cx="13097" cy="91758"/>
              </a:xfrm>
              <a:custGeom>
                <a:avLst/>
                <a:gdLst>
                  <a:gd name="connsiteX0" fmla="*/ 0 w 13097"/>
                  <a:gd name="connsiteY0" fmla="*/ 0 h 91758"/>
                  <a:gd name="connsiteX1" fmla="*/ 13097 w 13097"/>
                  <a:gd name="connsiteY1" fmla="*/ 0 h 91758"/>
                  <a:gd name="connsiteX2" fmla="*/ 13097 w 13097"/>
                  <a:gd name="connsiteY2" fmla="*/ 91758 h 91758"/>
                  <a:gd name="connsiteX3" fmla="*/ 0 w 13097"/>
                  <a:gd name="connsiteY3" fmla="*/ 91758 h 91758"/>
                </a:gdLst>
                <a:ahLst/>
                <a:cxnLst>
                  <a:cxn ang="0">
                    <a:pos x="connsiteX0" y="connsiteY0"/>
                  </a:cxn>
                  <a:cxn ang="0">
                    <a:pos x="connsiteX1" y="connsiteY1"/>
                  </a:cxn>
                  <a:cxn ang="0">
                    <a:pos x="connsiteX2" y="connsiteY2"/>
                  </a:cxn>
                  <a:cxn ang="0">
                    <a:pos x="connsiteX3" y="connsiteY3"/>
                  </a:cxn>
                </a:cxnLst>
                <a:rect l="l" t="t" r="r" b="b"/>
                <a:pathLst>
                  <a:path w="13097" h="91758">
                    <a:moveTo>
                      <a:pt x="0" y="0"/>
                    </a:moveTo>
                    <a:lnTo>
                      <a:pt x="13097" y="0"/>
                    </a:lnTo>
                    <a:lnTo>
                      <a:pt x="13097" y="91758"/>
                    </a:lnTo>
                    <a:lnTo>
                      <a:pt x="0" y="91758"/>
                    </a:lnTo>
                    <a:close/>
                  </a:path>
                </a:pathLst>
              </a:custGeom>
              <a:solidFill>
                <a:schemeClr val="tx2"/>
              </a:solidFill>
              <a:ln w="2573" cap="flat">
                <a:noFill/>
                <a:prstDash val="solid"/>
                <a:miter/>
              </a:ln>
            </p:spPr>
            <p:txBody>
              <a:bodyPr rtlCol="0" anchor="ctr"/>
              <a:lstStyle/>
              <a:p>
                <a:endParaRPr lang="en-GB" dirty="0"/>
              </a:p>
            </p:txBody>
          </p:sp>
          <p:sp>
            <p:nvSpPr>
              <p:cNvPr id="488" name="Freihandform: Form 975">
                <a:extLst>
                  <a:ext uri="{FF2B5EF4-FFF2-40B4-BE49-F238E27FC236}">
                    <a16:creationId xmlns:a16="http://schemas.microsoft.com/office/drawing/2014/main" id="{9F742974-1127-4856-8806-34CB4FB690DC}"/>
                  </a:ext>
                </a:extLst>
              </p:cNvPr>
              <p:cNvSpPr/>
              <p:nvPr/>
            </p:nvSpPr>
            <p:spPr>
              <a:xfrm>
                <a:off x="7319385" y="3632285"/>
                <a:ext cx="13097" cy="91758"/>
              </a:xfrm>
              <a:custGeom>
                <a:avLst/>
                <a:gdLst>
                  <a:gd name="connsiteX0" fmla="*/ 0 w 13097"/>
                  <a:gd name="connsiteY0" fmla="*/ 0 h 91758"/>
                  <a:gd name="connsiteX1" fmla="*/ 13097 w 13097"/>
                  <a:gd name="connsiteY1" fmla="*/ 0 h 91758"/>
                  <a:gd name="connsiteX2" fmla="*/ 13097 w 13097"/>
                  <a:gd name="connsiteY2" fmla="*/ 91758 h 91758"/>
                  <a:gd name="connsiteX3" fmla="*/ 0 w 13097"/>
                  <a:gd name="connsiteY3" fmla="*/ 91758 h 91758"/>
                </a:gdLst>
                <a:ahLst/>
                <a:cxnLst>
                  <a:cxn ang="0">
                    <a:pos x="connsiteX0" y="connsiteY0"/>
                  </a:cxn>
                  <a:cxn ang="0">
                    <a:pos x="connsiteX1" y="connsiteY1"/>
                  </a:cxn>
                  <a:cxn ang="0">
                    <a:pos x="connsiteX2" y="connsiteY2"/>
                  </a:cxn>
                  <a:cxn ang="0">
                    <a:pos x="connsiteX3" y="connsiteY3"/>
                  </a:cxn>
                </a:cxnLst>
                <a:rect l="l" t="t" r="r" b="b"/>
                <a:pathLst>
                  <a:path w="13097" h="91758">
                    <a:moveTo>
                      <a:pt x="0" y="0"/>
                    </a:moveTo>
                    <a:lnTo>
                      <a:pt x="13097" y="0"/>
                    </a:lnTo>
                    <a:lnTo>
                      <a:pt x="13097" y="91758"/>
                    </a:lnTo>
                    <a:lnTo>
                      <a:pt x="0" y="91758"/>
                    </a:lnTo>
                    <a:close/>
                  </a:path>
                </a:pathLst>
              </a:custGeom>
              <a:solidFill>
                <a:schemeClr val="tx2"/>
              </a:solidFill>
              <a:ln w="2573" cap="flat">
                <a:noFill/>
                <a:prstDash val="solid"/>
                <a:miter/>
              </a:ln>
            </p:spPr>
            <p:txBody>
              <a:bodyPr rtlCol="0" anchor="ctr"/>
              <a:lstStyle/>
              <a:p>
                <a:endParaRPr lang="en-GB" dirty="0"/>
              </a:p>
            </p:txBody>
          </p:sp>
          <p:sp>
            <p:nvSpPr>
              <p:cNvPr id="489" name="Freihandform: Form 976">
                <a:extLst>
                  <a:ext uri="{FF2B5EF4-FFF2-40B4-BE49-F238E27FC236}">
                    <a16:creationId xmlns:a16="http://schemas.microsoft.com/office/drawing/2014/main" id="{398C5969-E8AF-4F9A-8519-2611FD58BE13}"/>
                  </a:ext>
                </a:extLst>
              </p:cNvPr>
              <p:cNvSpPr/>
              <p:nvPr/>
            </p:nvSpPr>
            <p:spPr>
              <a:xfrm>
                <a:off x="7076880" y="3632285"/>
                <a:ext cx="13097" cy="91758"/>
              </a:xfrm>
              <a:custGeom>
                <a:avLst/>
                <a:gdLst>
                  <a:gd name="connsiteX0" fmla="*/ 0 w 13097"/>
                  <a:gd name="connsiteY0" fmla="*/ 0 h 91758"/>
                  <a:gd name="connsiteX1" fmla="*/ 13097 w 13097"/>
                  <a:gd name="connsiteY1" fmla="*/ 0 h 91758"/>
                  <a:gd name="connsiteX2" fmla="*/ 13097 w 13097"/>
                  <a:gd name="connsiteY2" fmla="*/ 91758 h 91758"/>
                  <a:gd name="connsiteX3" fmla="*/ 0 w 13097"/>
                  <a:gd name="connsiteY3" fmla="*/ 91758 h 91758"/>
                </a:gdLst>
                <a:ahLst/>
                <a:cxnLst>
                  <a:cxn ang="0">
                    <a:pos x="connsiteX0" y="connsiteY0"/>
                  </a:cxn>
                  <a:cxn ang="0">
                    <a:pos x="connsiteX1" y="connsiteY1"/>
                  </a:cxn>
                  <a:cxn ang="0">
                    <a:pos x="connsiteX2" y="connsiteY2"/>
                  </a:cxn>
                  <a:cxn ang="0">
                    <a:pos x="connsiteX3" y="connsiteY3"/>
                  </a:cxn>
                </a:cxnLst>
                <a:rect l="l" t="t" r="r" b="b"/>
                <a:pathLst>
                  <a:path w="13097" h="91758">
                    <a:moveTo>
                      <a:pt x="0" y="0"/>
                    </a:moveTo>
                    <a:lnTo>
                      <a:pt x="13097" y="0"/>
                    </a:lnTo>
                    <a:lnTo>
                      <a:pt x="13097" y="91758"/>
                    </a:lnTo>
                    <a:lnTo>
                      <a:pt x="0" y="91758"/>
                    </a:lnTo>
                    <a:close/>
                  </a:path>
                </a:pathLst>
              </a:custGeom>
              <a:solidFill>
                <a:schemeClr val="tx2"/>
              </a:solidFill>
              <a:ln w="2573" cap="flat">
                <a:noFill/>
                <a:prstDash val="solid"/>
                <a:miter/>
              </a:ln>
            </p:spPr>
            <p:txBody>
              <a:bodyPr rtlCol="0" anchor="ctr"/>
              <a:lstStyle/>
              <a:p>
                <a:endParaRPr lang="en-GB" dirty="0"/>
              </a:p>
            </p:txBody>
          </p:sp>
          <p:sp>
            <p:nvSpPr>
              <p:cNvPr id="490" name="Freihandform: Form 977">
                <a:extLst>
                  <a:ext uri="{FF2B5EF4-FFF2-40B4-BE49-F238E27FC236}">
                    <a16:creationId xmlns:a16="http://schemas.microsoft.com/office/drawing/2014/main" id="{C44F623D-6FFC-4422-9864-7F1969CDD7FD}"/>
                  </a:ext>
                </a:extLst>
              </p:cNvPr>
              <p:cNvSpPr/>
              <p:nvPr/>
            </p:nvSpPr>
            <p:spPr>
              <a:xfrm>
                <a:off x="7103100" y="3632285"/>
                <a:ext cx="13097" cy="91758"/>
              </a:xfrm>
              <a:custGeom>
                <a:avLst/>
                <a:gdLst>
                  <a:gd name="connsiteX0" fmla="*/ 0 w 13097"/>
                  <a:gd name="connsiteY0" fmla="*/ 0 h 91758"/>
                  <a:gd name="connsiteX1" fmla="*/ 13097 w 13097"/>
                  <a:gd name="connsiteY1" fmla="*/ 0 h 91758"/>
                  <a:gd name="connsiteX2" fmla="*/ 13097 w 13097"/>
                  <a:gd name="connsiteY2" fmla="*/ 91758 h 91758"/>
                  <a:gd name="connsiteX3" fmla="*/ 0 w 13097"/>
                  <a:gd name="connsiteY3" fmla="*/ 91758 h 91758"/>
                </a:gdLst>
                <a:ahLst/>
                <a:cxnLst>
                  <a:cxn ang="0">
                    <a:pos x="connsiteX0" y="connsiteY0"/>
                  </a:cxn>
                  <a:cxn ang="0">
                    <a:pos x="connsiteX1" y="connsiteY1"/>
                  </a:cxn>
                  <a:cxn ang="0">
                    <a:pos x="connsiteX2" y="connsiteY2"/>
                  </a:cxn>
                  <a:cxn ang="0">
                    <a:pos x="connsiteX3" y="connsiteY3"/>
                  </a:cxn>
                </a:cxnLst>
                <a:rect l="l" t="t" r="r" b="b"/>
                <a:pathLst>
                  <a:path w="13097" h="91758">
                    <a:moveTo>
                      <a:pt x="0" y="0"/>
                    </a:moveTo>
                    <a:lnTo>
                      <a:pt x="13097" y="0"/>
                    </a:lnTo>
                    <a:lnTo>
                      <a:pt x="13097" y="91758"/>
                    </a:lnTo>
                    <a:lnTo>
                      <a:pt x="0" y="91758"/>
                    </a:lnTo>
                    <a:close/>
                  </a:path>
                </a:pathLst>
              </a:custGeom>
              <a:solidFill>
                <a:schemeClr val="tx2"/>
              </a:solidFill>
              <a:ln w="2573" cap="flat">
                <a:noFill/>
                <a:prstDash val="solid"/>
                <a:miter/>
              </a:ln>
            </p:spPr>
            <p:txBody>
              <a:bodyPr rtlCol="0" anchor="ctr"/>
              <a:lstStyle/>
              <a:p>
                <a:endParaRPr lang="en-GB" dirty="0"/>
              </a:p>
            </p:txBody>
          </p:sp>
          <p:sp>
            <p:nvSpPr>
              <p:cNvPr id="491" name="Freihandform: Form 978">
                <a:extLst>
                  <a:ext uri="{FF2B5EF4-FFF2-40B4-BE49-F238E27FC236}">
                    <a16:creationId xmlns:a16="http://schemas.microsoft.com/office/drawing/2014/main" id="{3E426A54-7175-4505-98C5-1B0AB9527463}"/>
                  </a:ext>
                </a:extLst>
              </p:cNvPr>
              <p:cNvSpPr/>
              <p:nvPr/>
            </p:nvSpPr>
            <p:spPr>
              <a:xfrm>
                <a:off x="7253847" y="3717494"/>
                <a:ext cx="131075" cy="13097"/>
              </a:xfrm>
              <a:custGeom>
                <a:avLst/>
                <a:gdLst>
                  <a:gd name="connsiteX0" fmla="*/ 124527 w 131075"/>
                  <a:gd name="connsiteY0" fmla="*/ 13097 h 13097"/>
                  <a:gd name="connsiteX1" fmla="*/ 6549 w 131075"/>
                  <a:gd name="connsiteY1" fmla="*/ 13097 h 13097"/>
                  <a:gd name="connsiteX2" fmla="*/ 0 w 131075"/>
                  <a:gd name="connsiteY2" fmla="*/ 6549 h 13097"/>
                  <a:gd name="connsiteX3" fmla="*/ 6549 w 131075"/>
                  <a:gd name="connsiteY3" fmla="*/ 0 h 13097"/>
                  <a:gd name="connsiteX4" fmla="*/ 124527 w 131075"/>
                  <a:gd name="connsiteY4" fmla="*/ 0 h 13097"/>
                  <a:gd name="connsiteX5" fmla="*/ 131075 w 131075"/>
                  <a:gd name="connsiteY5" fmla="*/ 6549 h 13097"/>
                  <a:gd name="connsiteX6" fmla="*/ 124527 w 131075"/>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75" h="13097">
                    <a:moveTo>
                      <a:pt x="124527" y="13097"/>
                    </a:moveTo>
                    <a:lnTo>
                      <a:pt x="6549" y="13097"/>
                    </a:lnTo>
                    <a:cubicBezTo>
                      <a:pt x="2913" y="13097"/>
                      <a:pt x="0" y="10158"/>
                      <a:pt x="0" y="6549"/>
                    </a:cubicBezTo>
                    <a:cubicBezTo>
                      <a:pt x="0" y="2939"/>
                      <a:pt x="2939" y="0"/>
                      <a:pt x="6549" y="0"/>
                    </a:cubicBezTo>
                    <a:lnTo>
                      <a:pt x="124527" y="0"/>
                    </a:lnTo>
                    <a:cubicBezTo>
                      <a:pt x="128136" y="0"/>
                      <a:pt x="131075" y="2939"/>
                      <a:pt x="131075" y="6549"/>
                    </a:cubicBezTo>
                    <a:cubicBezTo>
                      <a:pt x="131075" y="10158"/>
                      <a:pt x="128136" y="13097"/>
                      <a:pt x="124527" y="13097"/>
                    </a:cubicBezTo>
                    <a:close/>
                  </a:path>
                </a:pathLst>
              </a:custGeom>
              <a:solidFill>
                <a:schemeClr val="tx2"/>
              </a:solidFill>
              <a:ln w="2573" cap="flat">
                <a:noFill/>
                <a:prstDash val="solid"/>
                <a:miter/>
              </a:ln>
            </p:spPr>
            <p:txBody>
              <a:bodyPr rtlCol="0" anchor="ctr"/>
              <a:lstStyle/>
              <a:p>
                <a:endParaRPr lang="en-GB" dirty="0"/>
              </a:p>
            </p:txBody>
          </p:sp>
          <p:sp>
            <p:nvSpPr>
              <p:cNvPr id="492" name="Freihandform: Form 979">
                <a:extLst>
                  <a:ext uri="{FF2B5EF4-FFF2-40B4-BE49-F238E27FC236}">
                    <a16:creationId xmlns:a16="http://schemas.microsoft.com/office/drawing/2014/main" id="{6EC06A10-66E6-44CA-ADBF-C4F34FF09B0E}"/>
                  </a:ext>
                </a:extLst>
              </p:cNvPr>
              <p:cNvSpPr/>
              <p:nvPr/>
            </p:nvSpPr>
            <p:spPr>
              <a:xfrm>
                <a:off x="7031014" y="3717494"/>
                <a:ext cx="131075" cy="13097"/>
              </a:xfrm>
              <a:custGeom>
                <a:avLst/>
                <a:gdLst>
                  <a:gd name="connsiteX0" fmla="*/ 124527 w 131075"/>
                  <a:gd name="connsiteY0" fmla="*/ 13097 h 13097"/>
                  <a:gd name="connsiteX1" fmla="*/ 6549 w 131075"/>
                  <a:gd name="connsiteY1" fmla="*/ 13097 h 13097"/>
                  <a:gd name="connsiteX2" fmla="*/ 0 w 131075"/>
                  <a:gd name="connsiteY2" fmla="*/ 6549 h 13097"/>
                  <a:gd name="connsiteX3" fmla="*/ 6549 w 131075"/>
                  <a:gd name="connsiteY3" fmla="*/ 0 h 13097"/>
                  <a:gd name="connsiteX4" fmla="*/ 124527 w 131075"/>
                  <a:gd name="connsiteY4" fmla="*/ 0 h 13097"/>
                  <a:gd name="connsiteX5" fmla="*/ 131076 w 131075"/>
                  <a:gd name="connsiteY5" fmla="*/ 6549 h 13097"/>
                  <a:gd name="connsiteX6" fmla="*/ 124527 w 131075"/>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75" h="13097">
                    <a:moveTo>
                      <a:pt x="124527" y="13097"/>
                    </a:moveTo>
                    <a:lnTo>
                      <a:pt x="6549" y="13097"/>
                    </a:lnTo>
                    <a:cubicBezTo>
                      <a:pt x="2913" y="13097"/>
                      <a:pt x="0" y="10158"/>
                      <a:pt x="0" y="6549"/>
                    </a:cubicBezTo>
                    <a:cubicBezTo>
                      <a:pt x="0" y="2939"/>
                      <a:pt x="2939" y="0"/>
                      <a:pt x="6549" y="0"/>
                    </a:cubicBezTo>
                    <a:lnTo>
                      <a:pt x="124527" y="0"/>
                    </a:lnTo>
                    <a:cubicBezTo>
                      <a:pt x="128162" y="0"/>
                      <a:pt x="131076" y="2939"/>
                      <a:pt x="131076" y="6549"/>
                    </a:cubicBezTo>
                    <a:cubicBezTo>
                      <a:pt x="131076" y="10158"/>
                      <a:pt x="128136" y="13097"/>
                      <a:pt x="124527" y="13097"/>
                    </a:cubicBezTo>
                    <a:close/>
                  </a:path>
                </a:pathLst>
              </a:custGeom>
              <a:solidFill>
                <a:schemeClr val="tx2"/>
              </a:solidFill>
              <a:ln w="2573" cap="flat">
                <a:noFill/>
                <a:prstDash val="solid"/>
                <a:miter/>
              </a:ln>
            </p:spPr>
            <p:txBody>
              <a:bodyPr rtlCol="0" anchor="ctr"/>
              <a:lstStyle/>
              <a:p>
                <a:endParaRPr lang="en-GB" dirty="0"/>
              </a:p>
            </p:txBody>
          </p:sp>
        </p:grpSp>
      </p:grpSp>
      <p:grpSp>
        <p:nvGrpSpPr>
          <p:cNvPr id="686" name="Group 685">
            <a:extLst>
              <a:ext uri="{FF2B5EF4-FFF2-40B4-BE49-F238E27FC236}">
                <a16:creationId xmlns:a16="http://schemas.microsoft.com/office/drawing/2014/main" id="{66DABB48-7F1E-4811-8D1F-9D03B8EA8148}"/>
              </a:ext>
            </a:extLst>
          </p:cNvPr>
          <p:cNvGrpSpPr/>
          <p:nvPr/>
        </p:nvGrpSpPr>
        <p:grpSpPr>
          <a:xfrm>
            <a:off x="6027506" y="2391526"/>
            <a:ext cx="468770" cy="432000"/>
            <a:chOff x="6027094" y="2391526"/>
            <a:chExt cx="468770" cy="432000"/>
          </a:xfrm>
        </p:grpSpPr>
        <p:grpSp>
          <p:nvGrpSpPr>
            <p:cNvPr id="498" name="Group 497">
              <a:extLst>
                <a:ext uri="{FF2B5EF4-FFF2-40B4-BE49-F238E27FC236}">
                  <a16:creationId xmlns:a16="http://schemas.microsoft.com/office/drawing/2014/main" id="{05376E8E-5A8D-493B-B0B9-81AE34FE8DD5}"/>
                </a:ext>
              </a:extLst>
            </p:cNvPr>
            <p:cNvGrpSpPr/>
            <p:nvPr/>
          </p:nvGrpSpPr>
          <p:grpSpPr>
            <a:xfrm>
              <a:off x="6139547" y="2391526"/>
              <a:ext cx="239931" cy="149308"/>
              <a:chOff x="5410554" y="3283649"/>
              <a:chExt cx="248230" cy="154472"/>
            </a:xfrm>
          </p:grpSpPr>
          <p:grpSp>
            <p:nvGrpSpPr>
              <p:cNvPr id="520" name="Grafik 235">
                <a:extLst>
                  <a:ext uri="{FF2B5EF4-FFF2-40B4-BE49-F238E27FC236}">
                    <a16:creationId xmlns:a16="http://schemas.microsoft.com/office/drawing/2014/main" id="{7988056E-FCE6-4991-AC13-45C2792802E7}"/>
                  </a:ext>
                </a:extLst>
              </p:cNvPr>
              <p:cNvGrpSpPr/>
              <p:nvPr/>
            </p:nvGrpSpPr>
            <p:grpSpPr>
              <a:xfrm>
                <a:off x="5530216" y="3283649"/>
                <a:ext cx="128568" cy="154472"/>
                <a:chOff x="5530216" y="3283649"/>
                <a:chExt cx="128568" cy="154472"/>
              </a:xfrm>
              <a:solidFill>
                <a:schemeClr val="accent1"/>
              </a:solidFill>
            </p:grpSpPr>
            <p:sp>
              <p:nvSpPr>
                <p:cNvPr id="524" name="Freihandform: Form 1054">
                  <a:extLst>
                    <a:ext uri="{FF2B5EF4-FFF2-40B4-BE49-F238E27FC236}">
                      <a16:creationId xmlns:a16="http://schemas.microsoft.com/office/drawing/2014/main" id="{5A203258-B937-4D12-BF1B-F2C7597FF964}"/>
                    </a:ext>
                  </a:extLst>
                </p:cNvPr>
                <p:cNvSpPr/>
                <p:nvPr/>
              </p:nvSpPr>
              <p:spPr>
                <a:xfrm>
                  <a:off x="5536859" y="3283649"/>
                  <a:ext cx="121925" cy="132454"/>
                </a:xfrm>
                <a:custGeom>
                  <a:avLst/>
                  <a:gdLst>
                    <a:gd name="connsiteX0" fmla="*/ 48560 w 121925"/>
                    <a:gd name="connsiteY0" fmla="*/ 132455 h 132454"/>
                    <a:gd name="connsiteX1" fmla="*/ 21643 w 121925"/>
                    <a:gd name="connsiteY1" fmla="*/ 125132 h 132454"/>
                    <a:gd name="connsiteX2" fmla="*/ 20715 w 121925"/>
                    <a:gd name="connsiteY2" fmla="*/ 124514 h 132454"/>
                    <a:gd name="connsiteX3" fmla="*/ 244 w 121925"/>
                    <a:gd name="connsiteY3" fmla="*/ 83958 h 132454"/>
                    <a:gd name="connsiteX4" fmla="*/ 31260 w 121925"/>
                    <a:gd name="connsiteY4" fmla="*/ 51422 h 132454"/>
                    <a:gd name="connsiteX5" fmla="*/ 103682 w 121925"/>
                    <a:gd name="connsiteY5" fmla="*/ 4292 h 132454"/>
                    <a:gd name="connsiteX6" fmla="*/ 109534 w 121925"/>
                    <a:gd name="connsiteY6" fmla="*/ 12 h 132454"/>
                    <a:gd name="connsiteX7" fmla="*/ 115980 w 121925"/>
                    <a:gd name="connsiteY7" fmla="*/ 4318 h 132454"/>
                    <a:gd name="connsiteX8" fmla="*/ 120956 w 121925"/>
                    <a:gd name="connsiteY8" fmla="*/ 55341 h 132454"/>
                    <a:gd name="connsiteX9" fmla="*/ 120956 w 121925"/>
                    <a:gd name="connsiteY9" fmla="*/ 55341 h 132454"/>
                    <a:gd name="connsiteX10" fmla="*/ 72408 w 121925"/>
                    <a:gd name="connsiteY10" fmla="*/ 126679 h 132454"/>
                    <a:gd name="connsiteX11" fmla="*/ 48560 w 121925"/>
                    <a:gd name="connsiteY11" fmla="*/ 132455 h 132454"/>
                    <a:gd name="connsiteX12" fmla="*/ 28502 w 121925"/>
                    <a:gd name="connsiteY12" fmla="*/ 113943 h 132454"/>
                    <a:gd name="connsiteX13" fmla="*/ 66556 w 121925"/>
                    <a:gd name="connsiteY13" fmla="*/ 114897 h 132454"/>
                    <a:gd name="connsiteX14" fmla="*/ 107987 w 121925"/>
                    <a:gd name="connsiteY14" fmla="*/ 53459 h 132454"/>
                    <a:gd name="connsiteX15" fmla="*/ 107987 w 121925"/>
                    <a:gd name="connsiteY15" fmla="*/ 53459 h 132454"/>
                    <a:gd name="connsiteX16" fmla="*/ 106698 w 121925"/>
                    <a:gd name="connsiteY16" fmla="*/ 20354 h 132454"/>
                    <a:gd name="connsiteX17" fmla="*/ 36855 w 121925"/>
                    <a:gd name="connsiteY17" fmla="*/ 63230 h 132454"/>
                    <a:gd name="connsiteX18" fmla="*/ 13264 w 121925"/>
                    <a:gd name="connsiteY18" fmla="*/ 85583 h 132454"/>
                    <a:gd name="connsiteX19" fmla="*/ 28502 w 121925"/>
                    <a:gd name="connsiteY19" fmla="*/ 113943 h 13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5" h="132454">
                      <a:moveTo>
                        <a:pt x="48560" y="132455"/>
                      </a:moveTo>
                      <a:cubicBezTo>
                        <a:pt x="39536" y="132455"/>
                        <a:pt x="30461" y="130005"/>
                        <a:pt x="21643" y="125132"/>
                      </a:cubicBezTo>
                      <a:cubicBezTo>
                        <a:pt x="21308" y="124952"/>
                        <a:pt x="20999" y="124746"/>
                        <a:pt x="20715" y="124514"/>
                      </a:cubicBezTo>
                      <a:cubicBezTo>
                        <a:pt x="19761" y="123740"/>
                        <a:pt x="-2566" y="105590"/>
                        <a:pt x="244" y="83958"/>
                      </a:cubicBezTo>
                      <a:cubicBezTo>
                        <a:pt x="1972" y="70707"/>
                        <a:pt x="12388" y="59749"/>
                        <a:pt x="31260" y="51422"/>
                      </a:cubicBezTo>
                      <a:cubicBezTo>
                        <a:pt x="94246" y="19942"/>
                        <a:pt x="102986" y="5607"/>
                        <a:pt x="103682" y="4292"/>
                      </a:cubicBezTo>
                      <a:cubicBezTo>
                        <a:pt x="104584" y="1843"/>
                        <a:pt x="106879" y="116"/>
                        <a:pt x="109534" y="12"/>
                      </a:cubicBezTo>
                      <a:cubicBezTo>
                        <a:pt x="112370" y="-168"/>
                        <a:pt x="115000" y="1637"/>
                        <a:pt x="115980" y="4318"/>
                      </a:cubicBezTo>
                      <a:cubicBezTo>
                        <a:pt x="116341" y="5298"/>
                        <a:pt x="124720" y="28734"/>
                        <a:pt x="120956" y="55341"/>
                      </a:cubicBezTo>
                      <a:lnTo>
                        <a:pt x="120956" y="55341"/>
                      </a:lnTo>
                      <a:cubicBezTo>
                        <a:pt x="117475" y="79936"/>
                        <a:pt x="99273" y="113273"/>
                        <a:pt x="72408" y="126679"/>
                      </a:cubicBezTo>
                      <a:cubicBezTo>
                        <a:pt x="64596" y="130521"/>
                        <a:pt x="56578" y="132455"/>
                        <a:pt x="48560" y="132455"/>
                      </a:cubicBezTo>
                      <a:close/>
                      <a:moveTo>
                        <a:pt x="28502" y="113943"/>
                      </a:moveTo>
                      <a:cubicBezTo>
                        <a:pt x="41238" y="120827"/>
                        <a:pt x="54051" y="121136"/>
                        <a:pt x="66556" y="114897"/>
                      </a:cubicBezTo>
                      <a:cubicBezTo>
                        <a:pt x="88599" y="103914"/>
                        <a:pt x="104919" y="75038"/>
                        <a:pt x="107987" y="53459"/>
                      </a:cubicBezTo>
                      <a:lnTo>
                        <a:pt x="107987" y="53459"/>
                      </a:lnTo>
                      <a:cubicBezTo>
                        <a:pt x="109792" y="40799"/>
                        <a:pt x="108374" y="28759"/>
                        <a:pt x="106698" y="20354"/>
                      </a:cubicBezTo>
                      <a:cubicBezTo>
                        <a:pt x="96849" y="29301"/>
                        <a:pt x="76972" y="43197"/>
                        <a:pt x="36855" y="63230"/>
                      </a:cubicBezTo>
                      <a:cubicBezTo>
                        <a:pt x="22211" y="69727"/>
                        <a:pt x="14373" y="77204"/>
                        <a:pt x="13264" y="85583"/>
                      </a:cubicBezTo>
                      <a:cubicBezTo>
                        <a:pt x="11717" y="97159"/>
                        <a:pt x="23345" y="109637"/>
                        <a:pt x="28502" y="113943"/>
                      </a:cubicBezTo>
                      <a:close/>
                    </a:path>
                  </a:pathLst>
                </a:custGeom>
                <a:solidFill>
                  <a:schemeClr val="accent1"/>
                </a:solidFill>
                <a:ln w="2573" cap="flat">
                  <a:noFill/>
                  <a:prstDash val="solid"/>
                  <a:miter/>
                </a:ln>
              </p:spPr>
              <p:txBody>
                <a:bodyPr rtlCol="0" anchor="ctr"/>
                <a:lstStyle/>
                <a:p>
                  <a:endParaRPr lang="en-GB" dirty="0"/>
                </a:p>
              </p:txBody>
            </p:sp>
            <p:sp>
              <p:nvSpPr>
                <p:cNvPr id="525" name="Freihandform: Form 1055">
                  <a:extLst>
                    <a:ext uri="{FF2B5EF4-FFF2-40B4-BE49-F238E27FC236}">
                      <a16:creationId xmlns:a16="http://schemas.microsoft.com/office/drawing/2014/main" id="{121DD4BC-E0F7-4DE4-A890-A2A08420F9FD}"/>
                    </a:ext>
                  </a:extLst>
                </p:cNvPr>
                <p:cNvSpPr/>
                <p:nvPr/>
              </p:nvSpPr>
              <p:spPr>
                <a:xfrm>
                  <a:off x="5530216" y="3349456"/>
                  <a:ext cx="88796" cy="88664"/>
                </a:xfrm>
                <a:custGeom>
                  <a:avLst/>
                  <a:gdLst>
                    <a:gd name="connsiteX0" fmla="*/ 6552 w 88796"/>
                    <a:gd name="connsiteY0" fmla="*/ 88665 h 88664"/>
                    <a:gd name="connsiteX1" fmla="*/ 4721 w 88796"/>
                    <a:gd name="connsiteY1" fmla="*/ 88407 h 88664"/>
                    <a:gd name="connsiteX2" fmla="*/ 261 w 88796"/>
                    <a:gd name="connsiteY2" fmla="*/ 80285 h 88664"/>
                    <a:gd name="connsiteX3" fmla="*/ 41899 w 88796"/>
                    <a:gd name="connsiteY3" fmla="*/ 31171 h 88664"/>
                    <a:gd name="connsiteX4" fmla="*/ 52289 w 88796"/>
                    <a:gd name="connsiteY4" fmla="*/ 23178 h 88664"/>
                    <a:gd name="connsiteX5" fmla="*/ 59405 w 88796"/>
                    <a:gd name="connsiteY5" fmla="*/ 17687 h 88664"/>
                    <a:gd name="connsiteX6" fmla="*/ 77195 w 88796"/>
                    <a:gd name="connsiteY6" fmla="*/ 2372 h 88664"/>
                    <a:gd name="connsiteX7" fmla="*/ 86424 w 88796"/>
                    <a:gd name="connsiteY7" fmla="*/ 1496 h 88664"/>
                    <a:gd name="connsiteX8" fmla="*/ 87301 w 88796"/>
                    <a:gd name="connsiteY8" fmla="*/ 10726 h 88664"/>
                    <a:gd name="connsiteX9" fmla="*/ 67397 w 88796"/>
                    <a:gd name="connsiteY9" fmla="*/ 28077 h 88664"/>
                    <a:gd name="connsiteX10" fmla="*/ 60333 w 88796"/>
                    <a:gd name="connsiteY10" fmla="*/ 33543 h 88664"/>
                    <a:gd name="connsiteX11" fmla="*/ 49840 w 88796"/>
                    <a:gd name="connsiteY11" fmla="*/ 41587 h 88664"/>
                    <a:gd name="connsiteX12" fmla="*/ 12843 w 88796"/>
                    <a:gd name="connsiteY12" fmla="*/ 83946 h 88664"/>
                    <a:gd name="connsiteX13" fmla="*/ 6552 w 88796"/>
                    <a:gd name="connsiteY13" fmla="*/ 88665 h 8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8796" h="88664">
                      <a:moveTo>
                        <a:pt x="6552" y="88665"/>
                      </a:moveTo>
                      <a:cubicBezTo>
                        <a:pt x="5959" y="88665"/>
                        <a:pt x="5340" y="88587"/>
                        <a:pt x="4721" y="88407"/>
                      </a:cubicBezTo>
                      <a:cubicBezTo>
                        <a:pt x="1241" y="87401"/>
                        <a:pt x="-744" y="83766"/>
                        <a:pt x="261" y="80285"/>
                      </a:cubicBezTo>
                      <a:cubicBezTo>
                        <a:pt x="6732" y="57984"/>
                        <a:pt x="19237" y="48470"/>
                        <a:pt x="41899" y="31171"/>
                      </a:cubicBezTo>
                      <a:cubicBezTo>
                        <a:pt x="45122" y="28696"/>
                        <a:pt x="48577" y="26066"/>
                        <a:pt x="52289" y="23178"/>
                      </a:cubicBezTo>
                      <a:lnTo>
                        <a:pt x="59405" y="17687"/>
                      </a:lnTo>
                      <a:cubicBezTo>
                        <a:pt x="68815" y="10442"/>
                        <a:pt x="73533" y="6807"/>
                        <a:pt x="77195" y="2372"/>
                      </a:cubicBezTo>
                      <a:cubicBezTo>
                        <a:pt x="79489" y="-412"/>
                        <a:pt x="83614" y="-799"/>
                        <a:pt x="86424" y="1496"/>
                      </a:cubicBezTo>
                      <a:cubicBezTo>
                        <a:pt x="89209" y="3816"/>
                        <a:pt x="89596" y="7941"/>
                        <a:pt x="87301" y="10726"/>
                      </a:cubicBezTo>
                      <a:cubicBezTo>
                        <a:pt x="82686" y="16295"/>
                        <a:pt x="77581" y="20239"/>
                        <a:pt x="67397" y="28077"/>
                      </a:cubicBezTo>
                      <a:lnTo>
                        <a:pt x="60333" y="33543"/>
                      </a:lnTo>
                      <a:cubicBezTo>
                        <a:pt x="56595" y="36430"/>
                        <a:pt x="53114" y="39112"/>
                        <a:pt x="49840" y="41587"/>
                      </a:cubicBezTo>
                      <a:cubicBezTo>
                        <a:pt x="28054" y="58190"/>
                        <a:pt x="18128" y="65796"/>
                        <a:pt x="12843" y="83946"/>
                      </a:cubicBezTo>
                      <a:cubicBezTo>
                        <a:pt x="11992" y="86808"/>
                        <a:pt x="9388" y="88665"/>
                        <a:pt x="6552" y="88665"/>
                      </a:cubicBezTo>
                      <a:close/>
                    </a:path>
                  </a:pathLst>
                </a:custGeom>
                <a:solidFill>
                  <a:schemeClr val="accent1"/>
                </a:solidFill>
                <a:ln w="2573" cap="flat">
                  <a:noFill/>
                  <a:prstDash val="solid"/>
                  <a:miter/>
                </a:ln>
              </p:spPr>
              <p:txBody>
                <a:bodyPr rtlCol="0" anchor="ctr"/>
                <a:lstStyle/>
                <a:p>
                  <a:endParaRPr lang="en-GB" dirty="0"/>
                </a:p>
              </p:txBody>
            </p:sp>
          </p:grpSp>
          <p:grpSp>
            <p:nvGrpSpPr>
              <p:cNvPr id="521" name="Grafik 235">
                <a:extLst>
                  <a:ext uri="{FF2B5EF4-FFF2-40B4-BE49-F238E27FC236}">
                    <a16:creationId xmlns:a16="http://schemas.microsoft.com/office/drawing/2014/main" id="{69AFBAE4-18D3-45E5-A448-E68B5EAD2280}"/>
                  </a:ext>
                </a:extLst>
              </p:cNvPr>
              <p:cNvGrpSpPr/>
              <p:nvPr/>
            </p:nvGrpSpPr>
            <p:grpSpPr>
              <a:xfrm>
                <a:off x="5410554" y="3310308"/>
                <a:ext cx="132762" cy="127813"/>
                <a:chOff x="5410554" y="3310308"/>
                <a:chExt cx="132762" cy="127813"/>
              </a:xfrm>
              <a:solidFill>
                <a:schemeClr val="accent1"/>
              </a:solidFill>
            </p:grpSpPr>
            <p:sp>
              <p:nvSpPr>
                <p:cNvPr id="522" name="Freihandform: Form 1057">
                  <a:extLst>
                    <a:ext uri="{FF2B5EF4-FFF2-40B4-BE49-F238E27FC236}">
                      <a16:creationId xmlns:a16="http://schemas.microsoft.com/office/drawing/2014/main" id="{018AA2D1-AA82-4CFA-B857-41AD44022972}"/>
                    </a:ext>
                  </a:extLst>
                </p:cNvPr>
                <p:cNvSpPr/>
                <p:nvPr/>
              </p:nvSpPr>
              <p:spPr>
                <a:xfrm>
                  <a:off x="5410554" y="3310308"/>
                  <a:ext cx="112424" cy="110127"/>
                </a:xfrm>
                <a:custGeom>
                  <a:avLst/>
                  <a:gdLst>
                    <a:gd name="connsiteX0" fmla="*/ 71376 w 112424"/>
                    <a:gd name="connsiteY0" fmla="*/ 110127 h 110127"/>
                    <a:gd name="connsiteX1" fmla="*/ 40902 w 112424"/>
                    <a:gd name="connsiteY1" fmla="*/ 96695 h 110127"/>
                    <a:gd name="connsiteX2" fmla="*/ 22287 w 112424"/>
                    <a:gd name="connsiteY2" fmla="*/ 55676 h 110127"/>
                    <a:gd name="connsiteX3" fmla="*/ 1945 w 112424"/>
                    <a:gd name="connsiteY3" fmla="*/ 11331 h 110127"/>
                    <a:gd name="connsiteX4" fmla="*/ 399 w 112424"/>
                    <a:gd name="connsiteY4" fmla="*/ 4421 h 110127"/>
                    <a:gd name="connsiteX5" fmla="*/ 6045 w 112424"/>
                    <a:gd name="connsiteY5" fmla="*/ 141 h 110127"/>
                    <a:gd name="connsiteX6" fmla="*/ 100201 w 112424"/>
                    <a:gd name="connsiteY6" fmla="*/ 36829 h 110127"/>
                    <a:gd name="connsiteX7" fmla="*/ 100201 w 112424"/>
                    <a:gd name="connsiteY7" fmla="*/ 36829 h 110127"/>
                    <a:gd name="connsiteX8" fmla="*/ 109972 w 112424"/>
                    <a:gd name="connsiteY8" fmla="*/ 83933 h 110127"/>
                    <a:gd name="connsiteX9" fmla="*/ 107445 w 112424"/>
                    <a:gd name="connsiteY9" fmla="*/ 100588 h 110127"/>
                    <a:gd name="connsiteX10" fmla="*/ 101387 w 112424"/>
                    <a:gd name="connsiteY10" fmla="*/ 106698 h 110127"/>
                    <a:gd name="connsiteX11" fmla="*/ 87490 w 112424"/>
                    <a:gd name="connsiteY11" fmla="*/ 108451 h 110127"/>
                    <a:gd name="connsiteX12" fmla="*/ 71376 w 112424"/>
                    <a:gd name="connsiteY12" fmla="*/ 110127 h 110127"/>
                    <a:gd name="connsiteX13" fmla="*/ 20508 w 112424"/>
                    <a:gd name="connsiteY13" fmla="*/ 14064 h 110127"/>
                    <a:gd name="connsiteX14" fmla="*/ 34921 w 112424"/>
                    <a:gd name="connsiteY14" fmla="*/ 52118 h 110127"/>
                    <a:gd name="connsiteX15" fmla="*/ 50132 w 112424"/>
                    <a:gd name="connsiteY15" fmla="*/ 87362 h 110127"/>
                    <a:gd name="connsiteX16" fmla="*/ 85479 w 112424"/>
                    <a:gd name="connsiteY16" fmla="*/ 95483 h 110127"/>
                    <a:gd name="connsiteX17" fmla="*/ 94889 w 112424"/>
                    <a:gd name="connsiteY17" fmla="*/ 94142 h 110127"/>
                    <a:gd name="connsiteX18" fmla="*/ 97107 w 112424"/>
                    <a:gd name="connsiteY18" fmla="*/ 81380 h 110127"/>
                    <a:gd name="connsiteX19" fmla="*/ 90996 w 112424"/>
                    <a:gd name="connsiteY19" fmla="*/ 46110 h 110127"/>
                    <a:gd name="connsiteX20" fmla="*/ 90996 w 112424"/>
                    <a:gd name="connsiteY20" fmla="*/ 46110 h 110127"/>
                    <a:gd name="connsiteX21" fmla="*/ 20508 w 112424"/>
                    <a:gd name="connsiteY21" fmla="*/ 14064 h 11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424" h="110127">
                      <a:moveTo>
                        <a:pt x="71376" y="110127"/>
                      </a:moveTo>
                      <a:cubicBezTo>
                        <a:pt x="61528" y="110127"/>
                        <a:pt x="51627" y="107343"/>
                        <a:pt x="40902" y="96695"/>
                      </a:cubicBezTo>
                      <a:cubicBezTo>
                        <a:pt x="31002" y="86872"/>
                        <a:pt x="26748" y="71712"/>
                        <a:pt x="22287" y="55676"/>
                      </a:cubicBezTo>
                      <a:cubicBezTo>
                        <a:pt x="17698" y="39252"/>
                        <a:pt x="12954" y="22262"/>
                        <a:pt x="1945" y="11331"/>
                      </a:cubicBezTo>
                      <a:cubicBezTo>
                        <a:pt x="115" y="9526"/>
                        <a:pt x="-478" y="6819"/>
                        <a:pt x="399" y="4421"/>
                      </a:cubicBezTo>
                      <a:cubicBezTo>
                        <a:pt x="1275" y="2023"/>
                        <a:pt x="3492" y="347"/>
                        <a:pt x="6045" y="141"/>
                      </a:cubicBezTo>
                      <a:cubicBezTo>
                        <a:pt x="31363" y="-1844"/>
                        <a:pt x="80632" y="17441"/>
                        <a:pt x="100201" y="36829"/>
                      </a:cubicBezTo>
                      <a:lnTo>
                        <a:pt x="100201" y="36829"/>
                      </a:lnTo>
                      <a:cubicBezTo>
                        <a:pt x="116134" y="52608"/>
                        <a:pt x="112988" y="68541"/>
                        <a:pt x="109972" y="83933"/>
                      </a:cubicBezTo>
                      <a:cubicBezTo>
                        <a:pt x="108915" y="89295"/>
                        <a:pt x="107806" y="94838"/>
                        <a:pt x="107445" y="100588"/>
                      </a:cubicBezTo>
                      <a:cubicBezTo>
                        <a:pt x="107239" y="103836"/>
                        <a:pt x="104661" y="106440"/>
                        <a:pt x="101387" y="106698"/>
                      </a:cubicBezTo>
                      <a:cubicBezTo>
                        <a:pt x="96436" y="107059"/>
                        <a:pt x="91899" y="107781"/>
                        <a:pt x="87490" y="108451"/>
                      </a:cubicBezTo>
                      <a:cubicBezTo>
                        <a:pt x="82050" y="109302"/>
                        <a:pt x="76739" y="110127"/>
                        <a:pt x="71376" y="110127"/>
                      </a:cubicBezTo>
                      <a:close/>
                      <a:moveTo>
                        <a:pt x="20508" y="14064"/>
                      </a:moveTo>
                      <a:cubicBezTo>
                        <a:pt x="27547" y="25794"/>
                        <a:pt x="31414" y="39562"/>
                        <a:pt x="34921" y="52118"/>
                      </a:cubicBezTo>
                      <a:cubicBezTo>
                        <a:pt x="38917" y="66452"/>
                        <a:pt x="42707" y="79988"/>
                        <a:pt x="50132" y="87362"/>
                      </a:cubicBezTo>
                      <a:cubicBezTo>
                        <a:pt x="62017" y="99144"/>
                        <a:pt x="70861" y="97752"/>
                        <a:pt x="85479" y="95483"/>
                      </a:cubicBezTo>
                      <a:cubicBezTo>
                        <a:pt x="88367" y="95019"/>
                        <a:pt x="91538" y="94529"/>
                        <a:pt x="94889" y="94142"/>
                      </a:cubicBezTo>
                      <a:cubicBezTo>
                        <a:pt x="95457" y="89682"/>
                        <a:pt x="96282" y="85480"/>
                        <a:pt x="97107" y="81380"/>
                      </a:cubicBezTo>
                      <a:cubicBezTo>
                        <a:pt x="100020" y="66684"/>
                        <a:pt x="101928" y="56965"/>
                        <a:pt x="90996" y="46110"/>
                      </a:cubicBezTo>
                      <a:lnTo>
                        <a:pt x="90996" y="46110"/>
                      </a:lnTo>
                      <a:cubicBezTo>
                        <a:pt x="77126" y="32394"/>
                        <a:pt x="43867" y="17879"/>
                        <a:pt x="20508" y="14064"/>
                      </a:cubicBezTo>
                      <a:close/>
                    </a:path>
                  </a:pathLst>
                </a:custGeom>
                <a:solidFill>
                  <a:schemeClr val="accent1"/>
                </a:solidFill>
                <a:ln w="2573" cap="flat">
                  <a:noFill/>
                  <a:prstDash val="solid"/>
                  <a:miter/>
                </a:ln>
              </p:spPr>
              <p:txBody>
                <a:bodyPr rtlCol="0" anchor="ctr"/>
                <a:lstStyle/>
                <a:p>
                  <a:endParaRPr lang="en-GB" dirty="0"/>
                </a:p>
              </p:txBody>
            </p:sp>
            <p:sp>
              <p:nvSpPr>
                <p:cNvPr id="523" name="Freihandform: Form 1058">
                  <a:extLst>
                    <a:ext uri="{FF2B5EF4-FFF2-40B4-BE49-F238E27FC236}">
                      <a16:creationId xmlns:a16="http://schemas.microsoft.com/office/drawing/2014/main" id="{C83DB2B5-985B-40DD-A8F6-95A3595BCA45}"/>
                    </a:ext>
                  </a:extLst>
                </p:cNvPr>
                <p:cNvSpPr/>
                <p:nvPr/>
              </p:nvSpPr>
              <p:spPr>
                <a:xfrm>
                  <a:off x="5474583" y="3373864"/>
                  <a:ext cx="68733" cy="64257"/>
                </a:xfrm>
                <a:custGeom>
                  <a:avLst/>
                  <a:gdLst>
                    <a:gd name="connsiteX0" fmla="*/ 62186 w 68733"/>
                    <a:gd name="connsiteY0" fmla="*/ 64257 h 64257"/>
                    <a:gd name="connsiteX1" fmla="*/ 57751 w 68733"/>
                    <a:gd name="connsiteY1" fmla="*/ 62530 h 64257"/>
                    <a:gd name="connsiteX2" fmla="*/ 2114 w 68733"/>
                    <a:gd name="connsiteY2" fmla="*/ 11378 h 64257"/>
                    <a:gd name="connsiteX3" fmla="*/ 1727 w 68733"/>
                    <a:gd name="connsiteY3" fmla="*/ 2123 h 64257"/>
                    <a:gd name="connsiteX4" fmla="*/ 10983 w 68733"/>
                    <a:gd name="connsiteY4" fmla="*/ 1736 h 64257"/>
                    <a:gd name="connsiteX5" fmla="*/ 66620 w 68733"/>
                    <a:gd name="connsiteY5" fmla="*/ 52887 h 64257"/>
                    <a:gd name="connsiteX6" fmla="*/ 67007 w 68733"/>
                    <a:gd name="connsiteY6" fmla="*/ 62143 h 64257"/>
                    <a:gd name="connsiteX7" fmla="*/ 62186 w 68733"/>
                    <a:gd name="connsiteY7" fmla="*/ 64257 h 6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33" h="64257">
                      <a:moveTo>
                        <a:pt x="62186" y="64257"/>
                      </a:moveTo>
                      <a:cubicBezTo>
                        <a:pt x="60613" y="64257"/>
                        <a:pt x="59014" y="63690"/>
                        <a:pt x="57751" y="62530"/>
                      </a:cubicBezTo>
                      <a:lnTo>
                        <a:pt x="2114" y="11378"/>
                      </a:lnTo>
                      <a:cubicBezTo>
                        <a:pt x="-542" y="8929"/>
                        <a:pt x="-722" y="4778"/>
                        <a:pt x="1727" y="2123"/>
                      </a:cubicBezTo>
                      <a:cubicBezTo>
                        <a:pt x="4176" y="-559"/>
                        <a:pt x="8327" y="-713"/>
                        <a:pt x="10983" y="1736"/>
                      </a:cubicBezTo>
                      <a:lnTo>
                        <a:pt x="66620" y="52887"/>
                      </a:lnTo>
                      <a:cubicBezTo>
                        <a:pt x="69276" y="55337"/>
                        <a:pt x="69456" y="59488"/>
                        <a:pt x="67007" y="62143"/>
                      </a:cubicBezTo>
                      <a:cubicBezTo>
                        <a:pt x="65718" y="63535"/>
                        <a:pt x="63939" y="64257"/>
                        <a:pt x="62186" y="64257"/>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499" name="Group 498">
              <a:extLst>
                <a:ext uri="{FF2B5EF4-FFF2-40B4-BE49-F238E27FC236}">
                  <a16:creationId xmlns:a16="http://schemas.microsoft.com/office/drawing/2014/main" id="{11A6E70A-8FE3-4E5A-BB39-F7C70E940B0A}"/>
                </a:ext>
              </a:extLst>
            </p:cNvPr>
            <p:cNvGrpSpPr/>
            <p:nvPr/>
          </p:nvGrpSpPr>
          <p:grpSpPr>
            <a:xfrm>
              <a:off x="6027094" y="2551126"/>
              <a:ext cx="468770" cy="272400"/>
              <a:chOff x="5294211" y="3448769"/>
              <a:chExt cx="484984" cy="281822"/>
            </a:xfrm>
          </p:grpSpPr>
          <p:sp>
            <p:nvSpPr>
              <p:cNvPr id="500" name="Freihandform: Form 1047">
                <a:extLst>
                  <a:ext uri="{FF2B5EF4-FFF2-40B4-BE49-F238E27FC236}">
                    <a16:creationId xmlns:a16="http://schemas.microsoft.com/office/drawing/2014/main" id="{B6EE08AB-0C4E-4DA2-BE99-A8457B702CC4}"/>
                  </a:ext>
                </a:extLst>
              </p:cNvPr>
              <p:cNvSpPr/>
              <p:nvPr/>
            </p:nvSpPr>
            <p:spPr>
              <a:xfrm>
                <a:off x="5294211" y="3717494"/>
                <a:ext cx="484984" cy="13097"/>
              </a:xfrm>
              <a:custGeom>
                <a:avLst/>
                <a:gdLst>
                  <a:gd name="connsiteX0" fmla="*/ 478436 w 484984"/>
                  <a:gd name="connsiteY0" fmla="*/ 13097 h 13097"/>
                  <a:gd name="connsiteX1" fmla="*/ 6549 w 484984"/>
                  <a:gd name="connsiteY1" fmla="*/ 13097 h 13097"/>
                  <a:gd name="connsiteX2" fmla="*/ 0 w 484984"/>
                  <a:gd name="connsiteY2" fmla="*/ 6549 h 13097"/>
                  <a:gd name="connsiteX3" fmla="*/ 6549 w 484984"/>
                  <a:gd name="connsiteY3" fmla="*/ 0 h 13097"/>
                  <a:gd name="connsiteX4" fmla="*/ 478436 w 484984"/>
                  <a:gd name="connsiteY4" fmla="*/ 0 h 13097"/>
                  <a:gd name="connsiteX5" fmla="*/ 484985 w 484984"/>
                  <a:gd name="connsiteY5" fmla="*/ 6549 h 13097"/>
                  <a:gd name="connsiteX6" fmla="*/ 478436 w 484984"/>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4984" h="13097">
                    <a:moveTo>
                      <a:pt x="478436" y="13097"/>
                    </a:moveTo>
                    <a:lnTo>
                      <a:pt x="6549" y="13097"/>
                    </a:lnTo>
                    <a:cubicBezTo>
                      <a:pt x="2939" y="13097"/>
                      <a:pt x="0" y="10158"/>
                      <a:pt x="0" y="6549"/>
                    </a:cubicBezTo>
                    <a:cubicBezTo>
                      <a:pt x="0" y="2939"/>
                      <a:pt x="2939" y="0"/>
                      <a:pt x="6549" y="0"/>
                    </a:cubicBezTo>
                    <a:lnTo>
                      <a:pt x="478436" y="0"/>
                    </a:lnTo>
                    <a:cubicBezTo>
                      <a:pt x="482045" y="0"/>
                      <a:pt x="484985" y="2939"/>
                      <a:pt x="484985" y="6549"/>
                    </a:cubicBezTo>
                    <a:cubicBezTo>
                      <a:pt x="484985" y="10158"/>
                      <a:pt x="482045" y="13097"/>
                      <a:pt x="478436" y="13097"/>
                    </a:cubicBezTo>
                    <a:close/>
                  </a:path>
                </a:pathLst>
              </a:custGeom>
              <a:solidFill>
                <a:schemeClr val="tx2"/>
              </a:solidFill>
              <a:ln w="2573" cap="flat">
                <a:noFill/>
                <a:prstDash val="solid"/>
                <a:miter/>
              </a:ln>
            </p:spPr>
            <p:txBody>
              <a:bodyPr rtlCol="0" anchor="ctr"/>
              <a:lstStyle/>
              <a:p>
                <a:endParaRPr lang="en-GB" dirty="0"/>
              </a:p>
            </p:txBody>
          </p:sp>
          <p:sp>
            <p:nvSpPr>
              <p:cNvPr id="501" name="Freihandform: Form 1048">
                <a:extLst>
                  <a:ext uri="{FF2B5EF4-FFF2-40B4-BE49-F238E27FC236}">
                    <a16:creationId xmlns:a16="http://schemas.microsoft.com/office/drawing/2014/main" id="{24729A62-AECE-438E-8A5D-A68D9EEFB6AF}"/>
                  </a:ext>
                </a:extLst>
              </p:cNvPr>
              <p:cNvSpPr/>
              <p:nvPr/>
            </p:nvSpPr>
            <p:spPr>
              <a:xfrm>
                <a:off x="5459322" y="3448769"/>
                <a:ext cx="148318" cy="163844"/>
              </a:xfrm>
              <a:custGeom>
                <a:avLst/>
                <a:gdLst>
                  <a:gd name="connsiteX0" fmla="*/ 6571 w 148318"/>
                  <a:gd name="connsiteY0" fmla="*/ 163844 h 163844"/>
                  <a:gd name="connsiteX1" fmla="*/ 5772 w 148318"/>
                  <a:gd name="connsiteY1" fmla="*/ 163793 h 163844"/>
                  <a:gd name="connsiteX2" fmla="*/ 49 w 148318"/>
                  <a:gd name="connsiteY2" fmla="*/ 156497 h 163844"/>
                  <a:gd name="connsiteX3" fmla="*/ 18431 w 148318"/>
                  <a:gd name="connsiteY3" fmla="*/ 5749 h 163844"/>
                  <a:gd name="connsiteX4" fmla="*/ 24928 w 148318"/>
                  <a:gd name="connsiteY4" fmla="*/ 0 h 163844"/>
                  <a:gd name="connsiteX5" fmla="*/ 129783 w 148318"/>
                  <a:gd name="connsiteY5" fmla="*/ 0 h 163844"/>
                  <a:gd name="connsiteX6" fmla="*/ 136281 w 148318"/>
                  <a:gd name="connsiteY6" fmla="*/ 5749 h 163844"/>
                  <a:gd name="connsiteX7" fmla="*/ 148269 w 148318"/>
                  <a:gd name="connsiteY7" fmla="*/ 104056 h 163844"/>
                  <a:gd name="connsiteX8" fmla="*/ 142546 w 148318"/>
                  <a:gd name="connsiteY8" fmla="*/ 111352 h 163844"/>
                  <a:gd name="connsiteX9" fmla="*/ 135249 w 148318"/>
                  <a:gd name="connsiteY9" fmla="*/ 105654 h 163844"/>
                  <a:gd name="connsiteX10" fmla="*/ 123957 w 148318"/>
                  <a:gd name="connsiteY10" fmla="*/ 13123 h 163844"/>
                  <a:gd name="connsiteX11" fmla="*/ 30703 w 148318"/>
                  <a:gd name="connsiteY11" fmla="*/ 13123 h 163844"/>
                  <a:gd name="connsiteX12" fmla="*/ 13017 w 148318"/>
                  <a:gd name="connsiteY12" fmla="*/ 158095 h 163844"/>
                  <a:gd name="connsiteX13" fmla="*/ 6571 w 148318"/>
                  <a:gd name="connsiteY13" fmla="*/ 163844 h 16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8318" h="163844">
                    <a:moveTo>
                      <a:pt x="6571" y="163844"/>
                    </a:moveTo>
                    <a:cubicBezTo>
                      <a:pt x="6314" y="163844"/>
                      <a:pt x="6030" y="163819"/>
                      <a:pt x="5772" y="163793"/>
                    </a:cubicBezTo>
                    <a:cubicBezTo>
                      <a:pt x="2188" y="163355"/>
                      <a:pt x="-390" y="160080"/>
                      <a:pt x="49" y="156497"/>
                    </a:cubicBezTo>
                    <a:lnTo>
                      <a:pt x="18431" y="5749"/>
                    </a:lnTo>
                    <a:cubicBezTo>
                      <a:pt x="18844" y="2449"/>
                      <a:pt x="21628" y="0"/>
                      <a:pt x="24928" y="0"/>
                    </a:cubicBezTo>
                    <a:lnTo>
                      <a:pt x="129783" y="0"/>
                    </a:lnTo>
                    <a:cubicBezTo>
                      <a:pt x="133084" y="0"/>
                      <a:pt x="135894" y="2475"/>
                      <a:pt x="136281" y="5749"/>
                    </a:cubicBezTo>
                    <a:lnTo>
                      <a:pt x="148269" y="104056"/>
                    </a:lnTo>
                    <a:cubicBezTo>
                      <a:pt x="148707" y="107640"/>
                      <a:pt x="146155" y="110914"/>
                      <a:pt x="142546" y="111352"/>
                    </a:cubicBezTo>
                    <a:cubicBezTo>
                      <a:pt x="138962" y="111868"/>
                      <a:pt x="135688" y="109238"/>
                      <a:pt x="135249" y="105654"/>
                    </a:cubicBezTo>
                    <a:lnTo>
                      <a:pt x="123957" y="13123"/>
                    </a:lnTo>
                    <a:lnTo>
                      <a:pt x="30703" y="13123"/>
                    </a:lnTo>
                    <a:lnTo>
                      <a:pt x="13017" y="158095"/>
                    </a:lnTo>
                    <a:cubicBezTo>
                      <a:pt x="12656" y="161395"/>
                      <a:pt x="9846" y="163844"/>
                      <a:pt x="6571" y="163844"/>
                    </a:cubicBezTo>
                    <a:close/>
                  </a:path>
                </a:pathLst>
              </a:custGeom>
              <a:solidFill>
                <a:schemeClr val="tx2"/>
              </a:solidFill>
              <a:ln w="2573" cap="flat">
                <a:noFill/>
                <a:prstDash val="solid"/>
                <a:miter/>
              </a:ln>
            </p:spPr>
            <p:txBody>
              <a:bodyPr rtlCol="0" anchor="ctr"/>
              <a:lstStyle/>
              <a:p>
                <a:endParaRPr lang="en-GB" dirty="0"/>
              </a:p>
            </p:txBody>
          </p:sp>
          <p:sp>
            <p:nvSpPr>
              <p:cNvPr id="502" name="Freihandform: Form 1049">
                <a:extLst>
                  <a:ext uri="{FF2B5EF4-FFF2-40B4-BE49-F238E27FC236}">
                    <a16:creationId xmlns:a16="http://schemas.microsoft.com/office/drawing/2014/main" id="{9DFDDD80-653C-4E49-A86F-4DB94CA3A15A}"/>
                  </a:ext>
                </a:extLst>
              </p:cNvPr>
              <p:cNvSpPr/>
              <p:nvPr/>
            </p:nvSpPr>
            <p:spPr>
              <a:xfrm>
                <a:off x="5604967" y="3643770"/>
                <a:ext cx="17906" cy="40929"/>
              </a:xfrm>
              <a:custGeom>
                <a:avLst/>
                <a:gdLst>
                  <a:gd name="connsiteX0" fmla="*/ 11338 w 17906"/>
                  <a:gd name="connsiteY0" fmla="*/ 40929 h 40929"/>
                  <a:gd name="connsiteX1" fmla="*/ 4893 w 17906"/>
                  <a:gd name="connsiteY1" fmla="*/ 35489 h 40929"/>
                  <a:gd name="connsiteX2" fmla="*/ 97 w 17906"/>
                  <a:gd name="connsiteY2" fmla="*/ 7645 h 40929"/>
                  <a:gd name="connsiteX3" fmla="*/ 5434 w 17906"/>
                  <a:gd name="connsiteY3" fmla="*/ 91 h 40929"/>
                  <a:gd name="connsiteX4" fmla="*/ 13014 w 17906"/>
                  <a:gd name="connsiteY4" fmla="*/ 5453 h 40929"/>
                  <a:gd name="connsiteX5" fmla="*/ 17810 w 17906"/>
                  <a:gd name="connsiteY5" fmla="*/ 33298 h 40929"/>
                  <a:gd name="connsiteX6" fmla="*/ 12473 w 17906"/>
                  <a:gd name="connsiteY6" fmla="*/ 40852 h 40929"/>
                  <a:gd name="connsiteX7" fmla="*/ 11338 w 17906"/>
                  <a:gd name="connsiteY7" fmla="*/ 40929 h 40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06" h="40929">
                    <a:moveTo>
                      <a:pt x="11338" y="40929"/>
                    </a:moveTo>
                    <a:cubicBezTo>
                      <a:pt x="8193" y="40929"/>
                      <a:pt x="5434" y="38686"/>
                      <a:pt x="4893" y="35489"/>
                    </a:cubicBezTo>
                    <a:lnTo>
                      <a:pt x="97" y="7645"/>
                    </a:lnTo>
                    <a:cubicBezTo>
                      <a:pt x="-521" y="4087"/>
                      <a:pt x="1876" y="684"/>
                      <a:pt x="5434" y="91"/>
                    </a:cubicBezTo>
                    <a:cubicBezTo>
                      <a:pt x="9018" y="-502"/>
                      <a:pt x="12395" y="1870"/>
                      <a:pt x="13014" y="5453"/>
                    </a:cubicBezTo>
                    <a:lnTo>
                      <a:pt x="17810" y="33298"/>
                    </a:lnTo>
                    <a:cubicBezTo>
                      <a:pt x="18428" y="36856"/>
                      <a:pt x="16031" y="40259"/>
                      <a:pt x="12473" y="40852"/>
                    </a:cubicBezTo>
                    <a:cubicBezTo>
                      <a:pt x="12086" y="40904"/>
                      <a:pt x="11699" y="40929"/>
                      <a:pt x="11338" y="40929"/>
                    </a:cubicBezTo>
                    <a:close/>
                  </a:path>
                </a:pathLst>
              </a:custGeom>
              <a:solidFill>
                <a:schemeClr val="tx2"/>
              </a:solidFill>
              <a:ln w="2573" cap="flat">
                <a:noFill/>
                <a:prstDash val="solid"/>
                <a:miter/>
              </a:ln>
            </p:spPr>
            <p:txBody>
              <a:bodyPr rtlCol="0" anchor="ctr"/>
              <a:lstStyle/>
              <a:p>
                <a:endParaRPr lang="en-GB" dirty="0"/>
              </a:p>
            </p:txBody>
          </p:sp>
          <p:sp>
            <p:nvSpPr>
              <p:cNvPr id="503" name="Freihandform: Form 1050">
                <a:extLst>
                  <a:ext uri="{FF2B5EF4-FFF2-40B4-BE49-F238E27FC236}">
                    <a16:creationId xmlns:a16="http://schemas.microsoft.com/office/drawing/2014/main" id="{238A6B8F-664C-43FF-A160-1373432D92EF}"/>
                  </a:ext>
                </a:extLst>
              </p:cNvPr>
              <p:cNvSpPr/>
              <p:nvPr/>
            </p:nvSpPr>
            <p:spPr>
              <a:xfrm>
                <a:off x="5477702" y="3671628"/>
                <a:ext cx="157295" cy="58963"/>
              </a:xfrm>
              <a:custGeom>
                <a:avLst/>
                <a:gdLst>
                  <a:gd name="connsiteX0" fmla="*/ 150747 w 157295"/>
                  <a:gd name="connsiteY0" fmla="*/ 58963 h 58963"/>
                  <a:gd name="connsiteX1" fmla="*/ 6549 w 157295"/>
                  <a:gd name="connsiteY1" fmla="*/ 58963 h 58963"/>
                  <a:gd name="connsiteX2" fmla="*/ 0 w 157295"/>
                  <a:gd name="connsiteY2" fmla="*/ 52415 h 58963"/>
                  <a:gd name="connsiteX3" fmla="*/ 0 w 157295"/>
                  <a:gd name="connsiteY3" fmla="*/ 6549 h 58963"/>
                  <a:gd name="connsiteX4" fmla="*/ 6549 w 157295"/>
                  <a:gd name="connsiteY4" fmla="*/ 0 h 58963"/>
                  <a:gd name="connsiteX5" fmla="*/ 150747 w 157295"/>
                  <a:gd name="connsiteY5" fmla="*/ 0 h 58963"/>
                  <a:gd name="connsiteX6" fmla="*/ 157296 w 157295"/>
                  <a:gd name="connsiteY6" fmla="*/ 6549 h 58963"/>
                  <a:gd name="connsiteX7" fmla="*/ 157296 w 157295"/>
                  <a:gd name="connsiteY7" fmla="*/ 52415 h 58963"/>
                  <a:gd name="connsiteX8" fmla="*/ 150747 w 157295"/>
                  <a:gd name="connsiteY8" fmla="*/ 58963 h 58963"/>
                  <a:gd name="connsiteX9" fmla="*/ 13123 w 157295"/>
                  <a:gd name="connsiteY9" fmla="*/ 45840 h 58963"/>
                  <a:gd name="connsiteX10" fmla="*/ 144199 w 157295"/>
                  <a:gd name="connsiteY10" fmla="*/ 45840 h 58963"/>
                  <a:gd name="connsiteX11" fmla="*/ 144199 w 157295"/>
                  <a:gd name="connsiteY11" fmla="*/ 13071 h 58963"/>
                  <a:gd name="connsiteX12" fmla="*/ 13123 w 157295"/>
                  <a:gd name="connsiteY12" fmla="*/ 13071 h 58963"/>
                  <a:gd name="connsiteX13" fmla="*/ 13123 w 157295"/>
                  <a:gd name="connsiteY13" fmla="*/ 45840 h 5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295" h="58963">
                    <a:moveTo>
                      <a:pt x="150747" y="58963"/>
                    </a:moveTo>
                    <a:lnTo>
                      <a:pt x="6549" y="58963"/>
                    </a:lnTo>
                    <a:cubicBezTo>
                      <a:pt x="2939" y="58963"/>
                      <a:pt x="0" y="56024"/>
                      <a:pt x="0" y="52415"/>
                    </a:cubicBezTo>
                    <a:lnTo>
                      <a:pt x="0" y="6549"/>
                    </a:lnTo>
                    <a:cubicBezTo>
                      <a:pt x="0" y="2913"/>
                      <a:pt x="2939" y="0"/>
                      <a:pt x="6549" y="0"/>
                    </a:cubicBezTo>
                    <a:lnTo>
                      <a:pt x="150747" y="0"/>
                    </a:lnTo>
                    <a:cubicBezTo>
                      <a:pt x="154357" y="0"/>
                      <a:pt x="157296" y="2939"/>
                      <a:pt x="157296" y="6549"/>
                    </a:cubicBezTo>
                    <a:lnTo>
                      <a:pt x="157296" y="52415"/>
                    </a:lnTo>
                    <a:cubicBezTo>
                      <a:pt x="157296" y="56024"/>
                      <a:pt x="154382" y="58963"/>
                      <a:pt x="150747" y="58963"/>
                    </a:cubicBezTo>
                    <a:close/>
                    <a:moveTo>
                      <a:pt x="13123" y="45840"/>
                    </a:moveTo>
                    <a:lnTo>
                      <a:pt x="144199" y="45840"/>
                    </a:lnTo>
                    <a:lnTo>
                      <a:pt x="144199" y="13071"/>
                    </a:lnTo>
                    <a:lnTo>
                      <a:pt x="13123" y="13071"/>
                    </a:lnTo>
                    <a:lnTo>
                      <a:pt x="13123" y="45840"/>
                    </a:lnTo>
                    <a:close/>
                  </a:path>
                </a:pathLst>
              </a:custGeom>
              <a:solidFill>
                <a:schemeClr val="tx2"/>
              </a:solidFill>
              <a:ln w="2573" cap="flat">
                <a:noFill/>
                <a:prstDash val="solid"/>
                <a:miter/>
              </a:ln>
            </p:spPr>
            <p:txBody>
              <a:bodyPr rtlCol="0" anchor="ctr"/>
              <a:lstStyle/>
              <a:p>
                <a:endParaRPr lang="en-GB" dirty="0"/>
              </a:p>
            </p:txBody>
          </p:sp>
          <p:sp>
            <p:nvSpPr>
              <p:cNvPr id="504" name="Freihandform: Form 1051">
                <a:extLst>
                  <a:ext uri="{FF2B5EF4-FFF2-40B4-BE49-F238E27FC236}">
                    <a16:creationId xmlns:a16="http://schemas.microsoft.com/office/drawing/2014/main" id="{C3C09A5D-461D-478F-8375-DA43C70E5DCE}"/>
                  </a:ext>
                </a:extLst>
              </p:cNvPr>
              <p:cNvSpPr/>
              <p:nvPr/>
            </p:nvSpPr>
            <p:spPr>
              <a:xfrm>
                <a:off x="5517045" y="3488112"/>
                <a:ext cx="78635" cy="13097"/>
              </a:xfrm>
              <a:custGeom>
                <a:avLst/>
                <a:gdLst>
                  <a:gd name="connsiteX0" fmla="*/ 72086 w 78635"/>
                  <a:gd name="connsiteY0" fmla="*/ 13097 h 13097"/>
                  <a:gd name="connsiteX1" fmla="*/ 6549 w 78635"/>
                  <a:gd name="connsiteY1" fmla="*/ 13097 h 13097"/>
                  <a:gd name="connsiteX2" fmla="*/ 0 w 78635"/>
                  <a:gd name="connsiteY2" fmla="*/ 6549 h 13097"/>
                  <a:gd name="connsiteX3" fmla="*/ 6549 w 78635"/>
                  <a:gd name="connsiteY3" fmla="*/ 0 h 13097"/>
                  <a:gd name="connsiteX4" fmla="*/ 72086 w 78635"/>
                  <a:gd name="connsiteY4" fmla="*/ 0 h 13097"/>
                  <a:gd name="connsiteX5" fmla="*/ 78635 w 78635"/>
                  <a:gd name="connsiteY5" fmla="*/ 6549 h 13097"/>
                  <a:gd name="connsiteX6" fmla="*/ 72086 w 78635"/>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635" h="13097">
                    <a:moveTo>
                      <a:pt x="72086" y="13097"/>
                    </a:moveTo>
                    <a:lnTo>
                      <a:pt x="6549" y="13097"/>
                    </a:lnTo>
                    <a:cubicBezTo>
                      <a:pt x="2939" y="13097"/>
                      <a:pt x="0" y="10158"/>
                      <a:pt x="0" y="6549"/>
                    </a:cubicBezTo>
                    <a:cubicBezTo>
                      <a:pt x="0" y="2939"/>
                      <a:pt x="2939" y="0"/>
                      <a:pt x="6549" y="0"/>
                    </a:cubicBezTo>
                    <a:lnTo>
                      <a:pt x="72086" y="0"/>
                    </a:lnTo>
                    <a:cubicBezTo>
                      <a:pt x="75696" y="0"/>
                      <a:pt x="78635" y="2939"/>
                      <a:pt x="78635" y="6549"/>
                    </a:cubicBezTo>
                    <a:cubicBezTo>
                      <a:pt x="78635" y="10158"/>
                      <a:pt x="75696" y="13097"/>
                      <a:pt x="72086" y="13097"/>
                    </a:cubicBezTo>
                    <a:close/>
                  </a:path>
                </a:pathLst>
              </a:custGeom>
              <a:solidFill>
                <a:schemeClr val="tx2"/>
              </a:solidFill>
              <a:ln w="2573" cap="flat">
                <a:noFill/>
                <a:prstDash val="solid"/>
                <a:miter/>
              </a:ln>
            </p:spPr>
            <p:txBody>
              <a:bodyPr rtlCol="0" anchor="ctr"/>
              <a:lstStyle/>
              <a:p>
                <a:endParaRPr lang="en-GB" dirty="0"/>
              </a:p>
            </p:txBody>
          </p:sp>
          <p:sp>
            <p:nvSpPr>
              <p:cNvPr id="505" name="Freihandform: Form 1060">
                <a:extLst>
                  <a:ext uri="{FF2B5EF4-FFF2-40B4-BE49-F238E27FC236}">
                    <a16:creationId xmlns:a16="http://schemas.microsoft.com/office/drawing/2014/main" id="{5541B505-F39B-42AA-8D12-9FE050B2A041}"/>
                  </a:ext>
                </a:extLst>
              </p:cNvPr>
              <p:cNvSpPr/>
              <p:nvPr/>
            </p:nvSpPr>
            <p:spPr>
              <a:xfrm>
                <a:off x="5571670" y="3547076"/>
                <a:ext cx="206759" cy="105731"/>
              </a:xfrm>
              <a:custGeom>
                <a:avLst/>
                <a:gdLst>
                  <a:gd name="connsiteX0" fmla="*/ 200204 w 206759"/>
                  <a:gd name="connsiteY0" fmla="*/ 105732 h 105731"/>
                  <a:gd name="connsiteX1" fmla="*/ 6555 w 206759"/>
                  <a:gd name="connsiteY1" fmla="*/ 105732 h 105731"/>
                  <a:gd name="connsiteX2" fmla="*/ 1425 w 206759"/>
                  <a:gd name="connsiteY2" fmla="*/ 103257 h 105731"/>
                  <a:gd name="connsiteX3" fmla="*/ 162 w 206759"/>
                  <a:gd name="connsiteY3" fmla="*/ 97714 h 105731"/>
                  <a:gd name="connsiteX4" fmla="*/ 21200 w 206759"/>
                  <a:gd name="connsiteY4" fmla="*/ 5105 h 105731"/>
                  <a:gd name="connsiteX5" fmla="*/ 27594 w 206759"/>
                  <a:gd name="connsiteY5" fmla="*/ 0 h 105731"/>
                  <a:gd name="connsiteX6" fmla="*/ 179166 w 206759"/>
                  <a:gd name="connsiteY6" fmla="*/ 0 h 105731"/>
                  <a:gd name="connsiteX7" fmla="*/ 185560 w 206759"/>
                  <a:gd name="connsiteY7" fmla="*/ 5105 h 105731"/>
                  <a:gd name="connsiteX8" fmla="*/ 206598 w 206759"/>
                  <a:gd name="connsiteY8" fmla="*/ 97714 h 105731"/>
                  <a:gd name="connsiteX9" fmla="*/ 205334 w 206759"/>
                  <a:gd name="connsiteY9" fmla="*/ 103257 h 105731"/>
                  <a:gd name="connsiteX10" fmla="*/ 200204 w 206759"/>
                  <a:gd name="connsiteY10" fmla="*/ 105732 h 105731"/>
                  <a:gd name="connsiteX11" fmla="*/ 14754 w 206759"/>
                  <a:gd name="connsiteY11" fmla="*/ 92609 h 105731"/>
                  <a:gd name="connsiteX12" fmla="*/ 191979 w 206759"/>
                  <a:gd name="connsiteY12" fmla="*/ 92609 h 105731"/>
                  <a:gd name="connsiteX13" fmla="*/ 173906 w 206759"/>
                  <a:gd name="connsiteY13" fmla="*/ 13097 h 105731"/>
                  <a:gd name="connsiteX14" fmla="*/ 32802 w 206759"/>
                  <a:gd name="connsiteY14" fmla="*/ 13097 h 105731"/>
                  <a:gd name="connsiteX15" fmla="*/ 14754 w 206759"/>
                  <a:gd name="connsiteY15" fmla="*/ 92609 h 10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759" h="105731">
                    <a:moveTo>
                      <a:pt x="200204" y="105732"/>
                    </a:moveTo>
                    <a:lnTo>
                      <a:pt x="6555" y="105732"/>
                    </a:lnTo>
                    <a:cubicBezTo>
                      <a:pt x="4570" y="105732"/>
                      <a:pt x="2688" y="104829"/>
                      <a:pt x="1425" y="103257"/>
                    </a:cubicBezTo>
                    <a:cubicBezTo>
                      <a:pt x="187" y="101684"/>
                      <a:pt x="-277" y="99647"/>
                      <a:pt x="162" y="97714"/>
                    </a:cubicBezTo>
                    <a:lnTo>
                      <a:pt x="21200" y="5105"/>
                    </a:lnTo>
                    <a:cubicBezTo>
                      <a:pt x="21870" y="2114"/>
                      <a:pt x="24526" y="0"/>
                      <a:pt x="27594" y="0"/>
                    </a:cubicBezTo>
                    <a:lnTo>
                      <a:pt x="179166" y="0"/>
                    </a:lnTo>
                    <a:cubicBezTo>
                      <a:pt x="182234" y="0"/>
                      <a:pt x="184889" y="2114"/>
                      <a:pt x="185560" y="5105"/>
                    </a:cubicBezTo>
                    <a:lnTo>
                      <a:pt x="206598" y="97714"/>
                    </a:lnTo>
                    <a:cubicBezTo>
                      <a:pt x="207036" y="99647"/>
                      <a:pt x="206572" y="101684"/>
                      <a:pt x="205334" y="103257"/>
                    </a:cubicBezTo>
                    <a:cubicBezTo>
                      <a:pt x="204071" y="104829"/>
                      <a:pt x="202189" y="105732"/>
                      <a:pt x="200204" y="105732"/>
                    </a:cubicBezTo>
                    <a:close/>
                    <a:moveTo>
                      <a:pt x="14754" y="92609"/>
                    </a:moveTo>
                    <a:lnTo>
                      <a:pt x="191979" y="92609"/>
                    </a:lnTo>
                    <a:lnTo>
                      <a:pt x="173906" y="13097"/>
                    </a:lnTo>
                    <a:lnTo>
                      <a:pt x="32802" y="13097"/>
                    </a:lnTo>
                    <a:lnTo>
                      <a:pt x="14754" y="92609"/>
                    </a:lnTo>
                    <a:close/>
                  </a:path>
                </a:pathLst>
              </a:custGeom>
              <a:solidFill>
                <a:schemeClr val="tx2"/>
              </a:solidFill>
              <a:ln w="2573" cap="flat">
                <a:noFill/>
                <a:prstDash val="solid"/>
                <a:miter/>
              </a:ln>
            </p:spPr>
            <p:txBody>
              <a:bodyPr rtlCol="0" anchor="ctr"/>
              <a:lstStyle/>
              <a:p>
                <a:endParaRPr lang="en-GB" dirty="0"/>
              </a:p>
            </p:txBody>
          </p:sp>
          <p:sp>
            <p:nvSpPr>
              <p:cNvPr id="506" name="Freihandform: Form 1061">
                <a:extLst>
                  <a:ext uri="{FF2B5EF4-FFF2-40B4-BE49-F238E27FC236}">
                    <a16:creationId xmlns:a16="http://schemas.microsoft.com/office/drawing/2014/main" id="{0687B3A5-E1C5-4C07-B76D-2458C426890D}"/>
                  </a:ext>
                </a:extLst>
              </p:cNvPr>
              <p:cNvSpPr/>
              <p:nvPr/>
            </p:nvSpPr>
            <p:spPr>
              <a:xfrm>
                <a:off x="5583434" y="3591988"/>
                <a:ext cx="183593" cy="13097"/>
              </a:xfrm>
              <a:custGeom>
                <a:avLst/>
                <a:gdLst>
                  <a:gd name="connsiteX0" fmla="*/ 177045 w 183593"/>
                  <a:gd name="connsiteY0" fmla="*/ 13097 h 13097"/>
                  <a:gd name="connsiteX1" fmla="*/ 6549 w 183593"/>
                  <a:gd name="connsiteY1" fmla="*/ 13097 h 13097"/>
                  <a:gd name="connsiteX2" fmla="*/ 0 w 183593"/>
                  <a:gd name="connsiteY2" fmla="*/ 6549 h 13097"/>
                  <a:gd name="connsiteX3" fmla="*/ 6549 w 183593"/>
                  <a:gd name="connsiteY3" fmla="*/ 0 h 13097"/>
                  <a:gd name="connsiteX4" fmla="*/ 177045 w 183593"/>
                  <a:gd name="connsiteY4" fmla="*/ 0 h 13097"/>
                  <a:gd name="connsiteX5" fmla="*/ 183593 w 183593"/>
                  <a:gd name="connsiteY5" fmla="*/ 6549 h 13097"/>
                  <a:gd name="connsiteX6" fmla="*/ 177045 w 183593"/>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593" h="13097">
                    <a:moveTo>
                      <a:pt x="177045" y="13097"/>
                    </a:moveTo>
                    <a:lnTo>
                      <a:pt x="6549" y="13097"/>
                    </a:lnTo>
                    <a:cubicBezTo>
                      <a:pt x="2939" y="13097"/>
                      <a:pt x="0" y="10158"/>
                      <a:pt x="0" y="6549"/>
                    </a:cubicBezTo>
                    <a:cubicBezTo>
                      <a:pt x="0" y="2913"/>
                      <a:pt x="2939" y="0"/>
                      <a:pt x="6549" y="0"/>
                    </a:cubicBezTo>
                    <a:lnTo>
                      <a:pt x="177045" y="0"/>
                    </a:lnTo>
                    <a:cubicBezTo>
                      <a:pt x="180654" y="0"/>
                      <a:pt x="183593" y="2939"/>
                      <a:pt x="183593" y="6549"/>
                    </a:cubicBezTo>
                    <a:cubicBezTo>
                      <a:pt x="183593" y="10158"/>
                      <a:pt x="180654" y="13097"/>
                      <a:pt x="177045" y="13097"/>
                    </a:cubicBezTo>
                    <a:close/>
                  </a:path>
                </a:pathLst>
              </a:custGeom>
              <a:solidFill>
                <a:schemeClr val="tx2"/>
              </a:solidFill>
              <a:ln w="2573" cap="flat">
                <a:noFill/>
                <a:prstDash val="solid"/>
                <a:miter/>
              </a:ln>
            </p:spPr>
            <p:txBody>
              <a:bodyPr rtlCol="0" anchor="ctr"/>
              <a:lstStyle/>
              <a:p>
                <a:endParaRPr lang="en-GB" dirty="0"/>
              </a:p>
            </p:txBody>
          </p:sp>
          <p:sp>
            <p:nvSpPr>
              <p:cNvPr id="507" name="Freihandform: Form 1062">
                <a:extLst>
                  <a:ext uri="{FF2B5EF4-FFF2-40B4-BE49-F238E27FC236}">
                    <a16:creationId xmlns:a16="http://schemas.microsoft.com/office/drawing/2014/main" id="{01F54C0C-3031-4E08-9720-98112660ED7A}"/>
                  </a:ext>
                </a:extLst>
              </p:cNvPr>
              <p:cNvSpPr/>
              <p:nvPr/>
            </p:nvSpPr>
            <p:spPr>
              <a:xfrm rot="16516023">
                <a:off x="5588399" y="3592652"/>
                <a:ext cx="91605" cy="13097"/>
              </a:xfrm>
              <a:custGeom>
                <a:avLst/>
                <a:gdLst>
                  <a:gd name="connsiteX0" fmla="*/ 0 w 91605"/>
                  <a:gd name="connsiteY0" fmla="*/ 0 h 13097"/>
                  <a:gd name="connsiteX1" fmla="*/ 91605 w 91605"/>
                  <a:gd name="connsiteY1" fmla="*/ 0 h 13097"/>
                  <a:gd name="connsiteX2" fmla="*/ 91605 w 91605"/>
                  <a:gd name="connsiteY2" fmla="*/ 13098 h 13097"/>
                  <a:gd name="connsiteX3" fmla="*/ 0 w 91605"/>
                  <a:gd name="connsiteY3" fmla="*/ 13098 h 13097"/>
                </a:gdLst>
                <a:ahLst/>
                <a:cxnLst>
                  <a:cxn ang="0">
                    <a:pos x="connsiteX0" y="connsiteY0"/>
                  </a:cxn>
                  <a:cxn ang="0">
                    <a:pos x="connsiteX1" y="connsiteY1"/>
                  </a:cxn>
                  <a:cxn ang="0">
                    <a:pos x="connsiteX2" y="connsiteY2"/>
                  </a:cxn>
                  <a:cxn ang="0">
                    <a:pos x="connsiteX3" y="connsiteY3"/>
                  </a:cxn>
                </a:cxnLst>
                <a:rect l="l" t="t" r="r" b="b"/>
                <a:pathLst>
                  <a:path w="91605" h="13097">
                    <a:moveTo>
                      <a:pt x="0" y="0"/>
                    </a:moveTo>
                    <a:lnTo>
                      <a:pt x="91605" y="0"/>
                    </a:lnTo>
                    <a:lnTo>
                      <a:pt x="91605" y="13098"/>
                    </a:lnTo>
                    <a:lnTo>
                      <a:pt x="0" y="13098"/>
                    </a:lnTo>
                    <a:close/>
                  </a:path>
                </a:pathLst>
              </a:custGeom>
              <a:solidFill>
                <a:schemeClr val="tx2"/>
              </a:solidFill>
              <a:ln w="2573" cap="flat">
                <a:noFill/>
                <a:prstDash val="solid"/>
                <a:miter/>
              </a:ln>
            </p:spPr>
            <p:txBody>
              <a:bodyPr rtlCol="0" anchor="ctr"/>
              <a:lstStyle/>
              <a:p>
                <a:endParaRPr lang="en-GB" dirty="0"/>
              </a:p>
            </p:txBody>
          </p:sp>
          <p:sp>
            <p:nvSpPr>
              <p:cNvPr id="508" name="Freihandform: Form 1063">
                <a:extLst>
                  <a:ext uri="{FF2B5EF4-FFF2-40B4-BE49-F238E27FC236}">
                    <a16:creationId xmlns:a16="http://schemas.microsoft.com/office/drawing/2014/main" id="{AC026C12-3280-4A03-810B-8AFF69F60BA0}"/>
                  </a:ext>
                </a:extLst>
              </p:cNvPr>
              <p:cNvSpPr/>
              <p:nvPr/>
            </p:nvSpPr>
            <p:spPr>
              <a:xfrm rot="21283635">
                <a:off x="5707590" y="3553516"/>
                <a:ext cx="13097" cy="91606"/>
              </a:xfrm>
              <a:custGeom>
                <a:avLst/>
                <a:gdLst>
                  <a:gd name="connsiteX0" fmla="*/ 0 w 13097"/>
                  <a:gd name="connsiteY0" fmla="*/ 0 h 91606"/>
                  <a:gd name="connsiteX1" fmla="*/ 13098 w 13097"/>
                  <a:gd name="connsiteY1" fmla="*/ 0 h 91606"/>
                  <a:gd name="connsiteX2" fmla="*/ 13098 w 13097"/>
                  <a:gd name="connsiteY2" fmla="*/ 91606 h 91606"/>
                  <a:gd name="connsiteX3" fmla="*/ 0 w 13097"/>
                  <a:gd name="connsiteY3" fmla="*/ 91606 h 91606"/>
                </a:gdLst>
                <a:ahLst/>
                <a:cxnLst>
                  <a:cxn ang="0">
                    <a:pos x="connsiteX0" y="connsiteY0"/>
                  </a:cxn>
                  <a:cxn ang="0">
                    <a:pos x="connsiteX1" y="connsiteY1"/>
                  </a:cxn>
                  <a:cxn ang="0">
                    <a:pos x="connsiteX2" y="connsiteY2"/>
                  </a:cxn>
                  <a:cxn ang="0">
                    <a:pos x="connsiteX3" y="connsiteY3"/>
                  </a:cxn>
                </a:cxnLst>
                <a:rect l="l" t="t" r="r" b="b"/>
                <a:pathLst>
                  <a:path w="13097" h="91606">
                    <a:moveTo>
                      <a:pt x="0" y="0"/>
                    </a:moveTo>
                    <a:lnTo>
                      <a:pt x="13098" y="0"/>
                    </a:lnTo>
                    <a:lnTo>
                      <a:pt x="13098" y="91606"/>
                    </a:lnTo>
                    <a:lnTo>
                      <a:pt x="0" y="91606"/>
                    </a:lnTo>
                    <a:close/>
                  </a:path>
                </a:pathLst>
              </a:custGeom>
              <a:solidFill>
                <a:schemeClr val="tx2"/>
              </a:solidFill>
              <a:ln w="2573" cap="flat">
                <a:noFill/>
                <a:prstDash val="solid"/>
                <a:miter/>
              </a:ln>
            </p:spPr>
            <p:txBody>
              <a:bodyPr rtlCol="0" anchor="ctr"/>
              <a:lstStyle/>
              <a:p>
                <a:endParaRPr lang="en-GB" dirty="0"/>
              </a:p>
            </p:txBody>
          </p:sp>
          <p:sp>
            <p:nvSpPr>
              <p:cNvPr id="509" name="Freihandform: Form 1064">
                <a:extLst>
                  <a:ext uri="{FF2B5EF4-FFF2-40B4-BE49-F238E27FC236}">
                    <a16:creationId xmlns:a16="http://schemas.microsoft.com/office/drawing/2014/main" id="{8A1EC835-BF1A-409C-9B57-620573F6E9DB}"/>
                  </a:ext>
                </a:extLst>
              </p:cNvPr>
              <p:cNvSpPr/>
              <p:nvPr/>
            </p:nvSpPr>
            <p:spPr>
              <a:xfrm>
                <a:off x="5654669" y="3665054"/>
                <a:ext cx="39291" cy="65537"/>
              </a:xfrm>
              <a:custGeom>
                <a:avLst/>
                <a:gdLst>
                  <a:gd name="connsiteX0" fmla="*/ 32769 w 39291"/>
                  <a:gd name="connsiteY0" fmla="*/ 65538 h 65537"/>
                  <a:gd name="connsiteX1" fmla="*/ 6549 w 39291"/>
                  <a:gd name="connsiteY1" fmla="*/ 65538 h 65537"/>
                  <a:gd name="connsiteX2" fmla="*/ 0 w 39291"/>
                  <a:gd name="connsiteY2" fmla="*/ 58989 h 65537"/>
                  <a:gd name="connsiteX3" fmla="*/ 0 w 39291"/>
                  <a:gd name="connsiteY3" fmla="*/ 0 h 65537"/>
                  <a:gd name="connsiteX4" fmla="*/ 13097 w 39291"/>
                  <a:gd name="connsiteY4" fmla="*/ 0 h 65537"/>
                  <a:gd name="connsiteX5" fmla="*/ 13097 w 39291"/>
                  <a:gd name="connsiteY5" fmla="*/ 52440 h 65537"/>
                  <a:gd name="connsiteX6" fmla="*/ 26194 w 39291"/>
                  <a:gd name="connsiteY6" fmla="*/ 52440 h 65537"/>
                  <a:gd name="connsiteX7" fmla="*/ 26194 w 39291"/>
                  <a:gd name="connsiteY7" fmla="*/ 0 h 65537"/>
                  <a:gd name="connsiteX8" fmla="*/ 39292 w 39291"/>
                  <a:gd name="connsiteY8" fmla="*/ 0 h 65537"/>
                  <a:gd name="connsiteX9" fmla="*/ 39292 w 39291"/>
                  <a:gd name="connsiteY9" fmla="*/ 58989 h 65537"/>
                  <a:gd name="connsiteX10" fmla="*/ 32769 w 39291"/>
                  <a:gd name="connsiteY10" fmla="*/ 65538 h 65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291" h="65537">
                    <a:moveTo>
                      <a:pt x="32769" y="65538"/>
                    </a:moveTo>
                    <a:lnTo>
                      <a:pt x="6549" y="65538"/>
                    </a:lnTo>
                    <a:cubicBezTo>
                      <a:pt x="2939" y="65538"/>
                      <a:pt x="0" y="62599"/>
                      <a:pt x="0" y="58989"/>
                    </a:cubicBezTo>
                    <a:lnTo>
                      <a:pt x="0" y="0"/>
                    </a:lnTo>
                    <a:lnTo>
                      <a:pt x="13097" y="0"/>
                    </a:lnTo>
                    <a:lnTo>
                      <a:pt x="13097" y="52440"/>
                    </a:lnTo>
                    <a:lnTo>
                      <a:pt x="26194" y="52440"/>
                    </a:lnTo>
                    <a:lnTo>
                      <a:pt x="26194" y="0"/>
                    </a:lnTo>
                    <a:lnTo>
                      <a:pt x="39292" y="0"/>
                    </a:lnTo>
                    <a:lnTo>
                      <a:pt x="39292" y="58989"/>
                    </a:lnTo>
                    <a:cubicBezTo>
                      <a:pt x="39318" y="62599"/>
                      <a:pt x="36404" y="65538"/>
                      <a:pt x="32769" y="65538"/>
                    </a:cubicBezTo>
                    <a:close/>
                  </a:path>
                </a:pathLst>
              </a:custGeom>
              <a:solidFill>
                <a:schemeClr val="tx2"/>
              </a:solidFill>
              <a:ln w="2573" cap="flat">
                <a:noFill/>
                <a:prstDash val="solid"/>
                <a:miter/>
              </a:ln>
            </p:spPr>
            <p:txBody>
              <a:bodyPr rtlCol="0" anchor="ctr"/>
              <a:lstStyle/>
              <a:p>
                <a:endParaRPr lang="en-GB" dirty="0"/>
              </a:p>
            </p:txBody>
          </p:sp>
          <p:sp>
            <p:nvSpPr>
              <p:cNvPr id="510" name="Freihandform: Form 1065">
                <a:extLst>
                  <a:ext uri="{FF2B5EF4-FFF2-40B4-BE49-F238E27FC236}">
                    <a16:creationId xmlns:a16="http://schemas.microsoft.com/office/drawing/2014/main" id="{0244B706-7A57-4F13-AF6C-44E4ADFCB971}"/>
                  </a:ext>
                </a:extLst>
              </p:cNvPr>
              <p:cNvSpPr/>
              <p:nvPr/>
            </p:nvSpPr>
            <p:spPr>
              <a:xfrm>
                <a:off x="5376688" y="3455318"/>
                <a:ext cx="13097" cy="49707"/>
              </a:xfrm>
              <a:custGeom>
                <a:avLst/>
                <a:gdLst>
                  <a:gd name="connsiteX0" fmla="*/ 6549 w 13097"/>
                  <a:gd name="connsiteY0" fmla="*/ 49708 h 49707"/>
                  <a:gd name="connsiteX1" fmla="*/ 0 w 13097"/>
                  <a:gd name="connsiteY1" fmla="*/ 43159 h 49707"/>
                  <a:gd name="connsiteX2" fmla="*/ 0 w 13097"/>
                  <a:gd name="connsiteY2" fmla="*/ 6549 h 49707"/>
                  <a:gd name="connsiteX3" fmla="*/ 6549 w 13097"/>
                  <a:gd name="connsiteY3" fmla="*/ 0 h 49707"/>
                  <a:gd name="connsiteX4" fmla="*/ 13097 w 13097"/>
                  <a:gd name="connsiteY4" fmla="*/ 6549 h 49707"/>
                  <a:gd name="connsiteX5" fmla="*/ 13097 w 13097"/>
                  <a:gd name="connsiteY5" fmla="*/ 43159 h 49707"/>
                  <a:gd name="connsiteX6" fmla="*/ 6549 w 13097"/>
                  <a:gd name="connsiteY6" fmla="*/ 49708 h 4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49707">
                    <a:moveTo>
                      <a:pt x="6549" y="49708"/>
                    </a:moveTo>
                    <a:cubicBezTo>
                      <a:pt x="2939" y="49708"/>
                      <a:pt x="0" y="46769"/>
                      <a:pt x="0" y="43159"/>
                    </a:cubicBezTo>
                    <a:lnTo>
                      <a:pt x="0" y="6549"/>
                    </a:lnTo>
                    <a:cubicBezTo>
                      <a:pt x="0" y="2913"/>
                      <a:pt x="2939" y="0"/>
                      <a:pt x="6549" y="0"/>
                    </a:cubicBezTo>
                    <a:cubicBezTo>
                      <a:pt x="10158" y="0"/>
                      <a:pt x="13097" y="2939"/>
                      <a:pt x="13097" y="6549"/>
                    </a:cubicBezTo>
                    <a:lnTo>
                      <a:pt x="13097" y="43159"/>
                    </a:lnTo>
                    <a:cubicBezTo>
                      <a:pt x="13097" y="46769"/>
                      <a:pt x="10158" y="49708"/>
                      <a:pt x="6549" y="49708"/>
                    </a:cubicBezTo>
                    <a:close/>
                  </a:path>
                </a:pathLst>
              </a:custGeom>
              <a:solidFill>
                <a:schemeClr val="tx2"/>
              </a:solidFill>
              <a:ln w="2573" cap="flat">
                <a:noFill/>
                <a:prstDash val="solid"/>
                <a:miter/>
              </a:ln>
            </p:spPr>
            <p:txBody>
              <a:bodyPr rtlCol="0" anchor="ctr"/>
              <a:lstStyle/>
              <a:p>
                <a:endParaRPr lang="en-GB" dirty="0"/>
              </a:p>
            </p:txBody>
          </p:sp>
          <p:sp>
            <p:nvSpPr>
              <p:cNvPr id="511" name="Freihandform: Form 1066">
                <a:extLst>
                  <a:ext uri="{FF2B5EF4-FFF2-40B4-BE49-F238E27FC236}">
                    <a16:creationId xmlns:a16="http://schemas.microsoft.com/office/drawing/2014/main" id="{0FE40500-D27C-4A52-A568-D79B00D69694}"/>
                  </a:ext>
                </a:extLst>
              </p:cNvPr>
              <p:cNvSpPr/>
              <p:nvPr/>
            </p:nvSpPr>
            <p:spPr>
              <a:xfrm>
                <a:off x="5314712" y="3535446"/>
                <a:ext cx="51092" cy="35735"/>
              </a:xfrm>
              <a:custGeom>
                <a:avLst/>
                <a:gdLst>
                  <a:gd name="connsiteX0" fmla="*/ 6571 w 51092"/>
                  <a:gd name="connsiteY0" fmla="*/ 35736 h 35735"/>
                  <a:gd name="connsiteX1" fmla="*/ 924 w 51092"/>
                  <a:gd name="connsiteY1" fmla="*/ 32539 h 35735"/>
                  <a:gd name="connsiteX2" fmla="*/ 3193 w 51092"/>
                  <a:gd name="connsiteY2" fmla="*/ 23567 h 35735"/>
                  <a:gd name="connsiteX3" fmla="*/ 41170 w 51092"/>
                  <a:gd name="connsiteY3" fmla="*/ 930 h 35735"/>
                  <a:gd name="connsiteX4" fmla="*/ 50168 w 51092"/>
                  <a:gd name="connsiteY4" fmla="*/ 3199 h 35735"/>
                  <a:gd name="connsiteX5" fmla="*/ 47899 w 51092"/>
                  <a:gd name="connsiteY5" fmla="*/ 12171 h 35735"/>
                  <a:gd name="connsiteX6" fmla="*/ 9922 w 51092"/>
                  <a:gd name="connsiteY6" fmla="*/ 34808 h 35735"/>
                  <a:gd name="connsiteX7" fmla="*/ 6571 w 51092"/>
                  <a:gd name="connsiteY7" fmla="*/ 35736 h 35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092" h="35735">
                    <a:moveTo>
                      <a:pt x="6571" y="35736"/>
                    </a:moveTo>
                    <a:cubicBezTo>
                      <a:pt x="4328" y="35736"/>
                      <a:pt x="2162" y="34602"/>
                      <a:pt x="924" y="32539"/>
                    </a:cubicBezTo>
                    <a:cubicBezTo>
                      <a:pt x="-932" y="29445"/>
                      <a:pt x="99" y="25397"/>
                      <a:pt x="3193" y="23567"/>
                    </a:cubicBezTo>
                    <a:lnTo>
                      <a:pt x="41170" y="930"/>
                    </a:lnTo>
                    <a:cubicBezTo>
                      <a:pt x="44290" y="-926"/>
                      <a:pt x="48312" y="79"/>
                      <a:pt x="50168" y="3199"/>
                    </a:cubicBezTo>
                    <a:cubicBezTo>
                      <a:pt x="52024" y="6293"/>
                      <a:pt x="50993" y="10341"/>
                      <a:pt x="47899" y="12171"/>
                    </a:cubicBezTo>
                    <a:lnTo>
                      <a:pt x="9922" y="34808"/>
                    </a:lnTo>
                    <a:cubicBezTo>
                      <a:pt x="8865" y="35427"/>
                      <a:pt x="7705" y="35736"/>
                      <a:pt x="6571" y="35736"/>
                    </a:cubicBezTo>
                    <a:close/>
                  </a:path>
                </a:pathLst>
              </a:custGeom>
              <a:solidFill>
                <a:schemeClr val="tx2"/>
              </a:solidFill>
              <a:ln w="2573" cap="flat">
                <a:noFill/>
                <a:prstDash val="solid"/>
                <a:miter/>
              </a:ln>
            </p:spPr>
            <p:txBody>
              <a:bodyPr rtlCol="0" anchor="ctr"/>
              <a:lstStyle/>
              <a:p>
                <a:endParaRPr lang="en-GB" dirty="0"/>
              </a:p>
            </p:txBody>
          </p:sp>
          <p:sp>
            <p:nvSpPr>
              <p:cNvPr id="512" name="Freihandform: Form 1067">
                <a:extLst>
                  <a:ext uri="{FF2B5EF4-FFF2-40B4-BE49-F238E27FC236}">
                    <a16:creationId xmlns:a16="http://schemas.microsoft.com/office/drawing/2014/main" id="{1B241C5E-EE67-41E7-B9D4-E005E29B301F}"/>
                  </a:ext>
                </a:extLst>
              </p:cNvPr>
              <p:cNvSpPr/>
              <p:nvPr/>
            </p:nvSpPr>
            <p:spPr>
              <a:xfrm>
                <a:off x="5398471" y="3535426"/>
                <a:ext cx="51104" cy="35755"/>
              </a:xfrm>
              <a:custGeom>
                <a:avLst/>
                <a:gdLst>
                  <a:gd name="connsiteX0" fmla="*/ 44528 w 51104"/>
                  <a:gd name="connsiteY0" fmla="*/ 35756 h 35755"/>
                  <a:gd name="connsiteX1" fmla="*/ 41176 w 51104"/>
                  <a:gd name="connsiteY1" fmla="*/ 34828 h 35755"/>
                  <a:gd name="connsiteX2" fmla="*/ 3199 w 51104"/>
                  <a:gd name="connsiteY2" fmla="*/ 12191 h 35755"/>
                  <a:gd name="connsiteX3" fmla="*/ 930 w 51104"/>
                  <a:gd name="connsiteY3" fmla="*/ 3193 h 35755"/>
                  <a:gd name="connsiteX4" fmla="*/ 9928 w 51104"/>
                  <a:gd name="connsiteY4" fmla="*/ 924 h 35755"/>
                  <a:gd name="connsiteX5" fmla="*/ 47905 w 51104"/>
                  <a:gd name="connsiteY5" fmla="*/ 23561 h 35755"/>
                  <a:gd name="connsiteX6" fmla="*/ 50174 w 51104"/>
                  <a:gd name="connsiteY6" fmla="*/ 32559 h 35755"/>
                  <a:gd name="connsiteX7" fmla="*/ 44528 w 51104"/>
                  <a:gd name="connsiteY7" fmla="*/ 35756 h 35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104" h="35755">
                    <a:moveTo>
                      <a:pt x="44528" y="35756"/>
                    </a:moveTo>
                    <a:cubicBezTo>
                      <a:pt x="43393" y="35756"/>
                      <a:pt x="42233" y="35447"/>
                      <a:pt x="41176" y="34828"/>
                    </a:cubicBezTo>
                    <a:lnTo>
                      <a:pt x="3199" y="12191"/>
                    </a:lnTo>
                    <a:cubicBezTo>
                      <a:pt x="80" y="10335"/>
                      <a:pt x="-926" y="6313"/>
                      <a:pt x="930" y="3193"/>
                    </a:cubicBezTo>
                    <a:cubicBezTo>
                      <a:pt x="2787" y="99"/>
                      <a:pt x="6809" y="-932"/>
                      <a:pt x="9928" y="924"/>
                    </a:cubicBezTo>
                    <a:lnTo>
                      <a:pt x="47905" y="23561"/>
                    </a:lnTo>
                    <a:cubicBezTo>
                      <a:pt x="51025" y="25417"/>
                      <a:pt x="52030" y="29439"/>
                      <a:pt x="50174" y="32559"/>
                    </a:cubicBezTo>
                    <a:cubicBezTo>
                      <a:pt x="48936" y="34622"/>
                      <a:pt x="46771" y="35756"/>
                      <a:pt x="44528" y="35756"/>
                    </a:cubicBezTo>
                    <a:close/>
                  </a:path>
                </a:pathLst>
              </a:custGeom>
              <a:solidFill>
                <a:schemeClr val="tx2"/>
              </a:solidFill>
              <a:ln w="2573" cap="flat">
                <a:noFill/>
                <a:prstDash val="solid"/>
                <a:miter/>
              </a:ln>
            </p:spPr>
            <p:txBody>
              <a:bodyPr rtlCol="0" anchor="ctr"/>
              <a:lstStyle/>
              <a:p>
                <a:endParaRPr lang="en-GB" dirty="0"/>
              </a:p>
            </p:txBody>
          </p:sp>
          <p:sp>
            <p:nvSpPr>
              <p:cNvPr id="513" name="Freihandform: Form 1068">
                <a:extLst>
                  <a:ext uri="{FF2B5EF4-FFF2-40B4-BE49-F238E27FC236}">
                    <a16:creationId xmlns:a16="http://schemas.microsoft.com/office/drawing/2014/main" id="{5D3F6D67-F954-47DB-B9FF-BE1BED282B86}"/>
                  </a:ext>
                </a:extLst>
              </p:cNvPr>
              <p:cNvSpPr/>
              <p:nvPr/>
            </p:nvSpPr>
            <p:spPr>
              <a:xfrm>
                <a:off x="5376688" y="3542332"/>
                <a:ext cx="13097" cy="63733"/>
              </a:xfrm>
              <a:custGeom>
                <a:avLst/>
                <a:gdLst>
                  <a:gd name="connsiteX0" fmla="*/ 0 w 13097"/>
                  <a:gd name="connsiteY0" fmla="*/ 0 h 63733"/>
                  <a:gd name="connsiteX1" fmla="*/ 13097 w 13097"/>
                  <a:gd name="connsiteY1" fmla="*/ 0 h 63733"/>
                  <a:gd name="connsiteX2" fmla="*/ 13097 w 13097"/>
                  <a:gd name="connsiteY2" fmla="*/ 63733 h 63733"/>
                  <a:gd name="connsiteX3" fmla="*/ 0 w 13097"/>
                  <a:gd name="connsiteY3" fmla="*/ 63733 h 63733"/>
                </a:gdLst>
                <a:ahLst/>
                <a:cxnLst>
                  <a:cxn ang="0">
                    <a:pos x="connsiteX0" y="connsiteY0"/>
                  </a:cxn>
                  <a:cxn ang="0">
                    <a:pos x="connsiteX1" y="connsiteY1"/>
                  </a:cxn>
                  <a:cxn ang="0">
                    <a:pos x="connsiteX2" y="connsiteY2"/>
                  </a:cxn>
                  <a:cxn ang="0">
                    <a:pos x="connsiteX3" y="connsiteY3"/>
                  </a:cxn>
                </a:cxnLst>
                <a:rect l="l" t="t" r="r" b="b"/>
                <a:pathLst>
                  <a:path w="13097" h="63733">
                    <a:moveTo>
                      <a:pt x="0" y="0"/>
                    </a:moveTo>
                    <a:lnTo>
                      <a:pt x="13097" y="0"/>
                    </a:lnTo>
                    <a:lnTo>
                      <a:pt x="13097" y="63733"/>
                    </a:lnTo>
                    <a:lnTo>
                      <a:pt x="0" y="63733"/>
                    </a:lnTo>
                    <a:close/>
                  </a:path>
                </a:pathLst>
              </a:custGeom>
              <a:solidFill>
                <a:schemeClr val="tx2"/>
              </a:solidFill>
              <a:ln w="2573" cap="flat">
                <a:noFill/>
                <a:prstDash val="solid"/>
                <a:miter/>
              </a:ln>
            </p:spPr>
            <p:txBody>
              <a:bodyPr rtlCol="0" anchor="ctr"/>
              <a:lstStyle/>
              <a:p>
                <a:endParaRPr lang="en-GB" dirty="0"/>
              </a:p>
            </p:txBody>
          </p:sp>
          <p:sp>
            <p:nvSpPr>
              <p:cNvPr id="514" name="Freihandform: Form 1069">
                <a:extLst>
                  <a:ext uri="{FF2B5EF4-FFF2-40B4-BE49-F238E27FC236}">
                    <a16:creationId xmlns:a16="http://schemas.microsoft.com/office/drawing/2014/main" id="{8D45104B-4E31-4FC9-9227-1ABA303029FB}"/>
                  </a:ext>
                </a:extLst>
              </p:cNvPr>
              <p:cNvSpPr/>
              <p:nvPr/>
            </p:nvSpPr>
            <p:spPr>
              <a:xfrm>
                <a:off x="5376609" y="3512734"/>
                <a:ext cx="13280" cy="20342"/>
              </a:xfrm>
              <a:custGeom>
                <a:avLst/>
                <a:gdLst>
                  <a:gd name="connsiteX0" fmla="*/ 6550 w 13280"/>
                  <a:gd name="connsiteY0" fmla="*/ 20342 h 20342"/>
                  <a:gd name="connsiteX1" fmla="*/ 6395 w 13280"/>
                  <a:gd name="connsiteY1" fmla="*/ 20342 h 20342"/>
                  <a:gd name="connsiteX2" fmla="*/ 2 w 13280"/>
                  <a:gd name="connsiteY2" fmla="*/ 13639 h 20342"/>
                  <a:gd name="connsiteX3" fmla="*/ 182 w 13280"/>
                  <a:gd name="connsiteY3" fmla="*/ 6394 h 20342"/>
                  <a:gd name="connsiteX4" fmla="*/ 6885 w 13280"/>
                  <a:gd name="connsiteY4" fmla="*/ 0 h 20342"/>
                  <a:gd name="connsiteX5" fmla="*/ 13279 w 13280"/>
                  <a:gd name="connsiteY5" fmla="*/ 6703 h 20342"/>
                  <a:gd name="connsiteX6" fmla="*/ 13099 w 13280"/>
                  <a:gd name="connsiteY6" fmla="*/ 13948 h 20342"/>
                  <a:gd name="connsiteX7" fmla="*/ 6550 w 13280"/>
                  <a:gd name="connsiteY7" fmla="*/ 20342 h 2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80" h="20342">
                    <a:moveTo>
                      <a:pt x="6550" y="20342"/>
                    </a:moveTo>
                    <a:cubicBezTo>
                      <a:pt x="6499" y="20342"/>
                      <a:pt x="6447" y="20342"/>
                      <a:pt x="6395" y="20342"/>
                    </a:cubicBezTo>
                    <a:cubicBezTo>
                      <a:pt x="2786" y="20265"/>
                      <a:pt x="-76" y="17248"/>
                      <a:pt x="2" y="13639"/>
                    </a:cubicBezTo>
                    <a:lnTo>
                      <a:pt x="182" y="6394"/>
                    </a:lnTo>
                    <a:cubicBezTo>
                      <a:pt x="259" y="2784"/>
                      <a:pt x="3508" y="103"/>
                      <a:pt x="6885" y="0"/>
                    </a:cubicBezTo>
                    <a:cubicBezTo>
                      <a:pt x="10495" y="77"/>
                      <a:pt x="13357" y="3094"/>
                      <a:pt x="13279" y="6703"/>
                    </a:cubicBezTo>
                    <a:lnTo>
                      <a:pt x="13099" y="13948"/>
                    </a:lnTo>
                    <a:cubicBezTo>
                      <a:pt x="13021" y="17506"/>
                      <a:pt x="10082" y="20342"/>
                      <a:pt x="6550" y="20342"/>
                    </a:cubicBezTo>
                    <a:close/>
                  </a:path>
                </a:pathLst>
              </a:custGeom>
              <a:solidFill>
                <a:schemeClr val="tx2"/>
              </a:solidFill>
              <a:ln w="2573" cap="flat">
                <a:noFill/>
                <a:prstDash val="solid"/>
                <a:miter/>
              </a:ln>
            </p:spPr>
            <p:txBody>
              <a:bodyPr rtlCol="0" anchor="ctr"/>
              <a:lstStyle/>
              <a:p>
                <a:endParaRPr lang="en-GB" dirty="0"/>
              </a:p>
            </p:txBody>
          </p:sp>
          <p:sp>
            <p:nvSpPr>
              <p:cNvPr id="515" name="Freihandform: Form 1071">
                <a:extLst>
                  <a:ext uri="{FF2B5EF4-FFF2-40B4-BE49-F238E27FC236}">
                    <a16:creationId xmlns:a16="http://schemas.microsoft.com/office/drawing/2014/main" id="{FFA6C748-16D0-467D-AD71-C88F18FC1826}"/>
                  </a:ext>
                </a:extLst>
              </p:cNvPr>
              <p:cNvSpPr/>
              <p:nvPr/>
            </p:nvSpPr>
            <p:spPr>
              <a:xfrm>
                <a:off x="5346652" y="3599516"/>
                <a:ext cx="144172" cy="131075"/>
              </a:xfrm>
              <a:custGeom>
                <a:avLst/>
                <a:gdLst>
                  <a:gd name="connsiteX0" fmla="*/ 137624 w 144172"/>
                  <a:gd name="connsiteY0" fmla="*/ 131076 h 131075"/>
                  <a:gd name="connsiteX1" fmla="*/ 6549 w 144172"/>
                  <a:gd name="connsiteY1" fmla="*/ 131076 h 131075"/>
                  <a:gd name="connsiteX2" fmla="*/ 0 w 144172"/>
                  <a:gd name="connsiteY2" fmla="*/ 124527 h 131075"/>
                  <a:gd name="connsiteX3" fmla="*/ 0 w 144172"/>
                  <a:gd name="connsiteY3" fmla="*/ 6549 h 131075"/>
                  <a:gd name="connsiteX4" fmla="*/ 6549 w 144172"/>
                  <a:gd name="connsiteY4" fmla="*/ 0 h 131075"/>
                  <a:gd name="connsiteX5" fmla="*/ 137624 w 144172"/>
                  <a:gd name="connsiteY5" fmla="*/ 0 h 131075"/>
                  <a:gd name="connsiteX6" fmla="*/ 144173 w 144172"/>
                  <a:gd name="connsiteY6" fmla="*/ 6549 h 131075"/>
                  <a:gd name="connsiteX7" fmla="*/ 144173 w 144172"/>
                  <a:gd name="connsiteY7" fmla="*/ 124527 h 131075"/>
                  <a:gd name="connsiteX8" fmla="*/ 137624 w 144172"/>
                  <a:gd name="connsiteY8" fmla="*/ 131076 h 131075"/>
                  <a:gd name="connsiteX9" fmla="*/ 13097 w 144172"/>
                  <a:gd name="connsiteY9" fmla="*/ 117952 h 131075"/>
                  <a:gd name="connsiteX10" fmla="*/ 131076 w 144172"/>
                  <a:gd name="connsiteY10" fmla="*/ 117952 h 131075"/>
                  <a:gd name="connsiteX11" fmla="*/ 131076 w 144172"/>
                  <a:gd name="connsiteY11" fmla="*/ 13097 h 131075"/>
                  <a:gd name="connsiteX12" fmla="*/ 13097 w 144172"/>
                  <a:gd name="connsiteY12" fmla="*/ 13097 h 131075"/>
                  <a:gd name="connsiteX13" fmla="*/ 13097 w 144172"/>
                  <a:gd name="connsiteY13" fmla="*/ 117952 h 131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172" h="131075">
                    <a:moveTo>
                      <a:pt x="137624" y="131076"/>
                    </a:moveTo>
                    <a:lnTo>
                      <a:pt x="6549" y="131076"/>
                    </a:lnTo>
                    <a:cubicBezTo>
                      <a:pt x="2939" y="131076"/>
                      <a:pt x="0" y="128136"/>
                      <a:pt x="0" y="124527"/>
                    </a:cubicBezTo>
                    <a:lnTo>
                      <a:pt x="0" y="6549"/>
                    </a:lnTo>
                    <a:cubicBezTo>
                      <a:pt x="0" y="2913"/>
                      <a:pt x="2939" y="0"/>
                      <a:pt x="6549" y="0"/>
                    </a:cubicBezTo>
                    <a:lnTo>
                      <a:pt x="137624" y="0"/>
                    </a:lnTo>
                    <a:cubicBezTo>
                      <a:pt x="141234" y="0"/>
                      <a:pt x="144173" y="2939"/>
                      <a:pt x="144173" y="6549"/>
                    </a:cubicBezTo>
                    <a:lnTo>
                      <a:pt x="144173" y="124527"/>
                    </a:lnTo>
                    <a:cubicBezTo>
                      <a:pt x="144173" y="128136"/>
                      <a:pt x="141234" y="131076"/>
                      <a:pt x="137624" y="131076"/>
                    </a:cubicBezTo>
                    <a:close/>
                    <a:moveTo>
                      <a:pt x="13097" y="117952"/>
                    </a:moveTo>
                    <a:lnTo>
                      <a:pt x="131076" y="117952"/>
                    </a:lnTo>
                    <a:lnTo>
                      <a:pt x="131076" y="13097"/>
                    </a:lnTo>
                    <a:lnTo>
                      <a:pt x="13097" y="13097"/>
                    </a:lnTo>
                    <a:lnTo>
                      <a:pt x="13097" y="117952"/>
                    </a:lnTo>
                    <a:close/>
                  </a:path>
                </a:pathLst>
              </a:custGeom>
              <a:solidFill>
                <a:schemeClr val="tx2"/>
              </a:solidFill>
              <a:ln w="2573" cap="flat">
                <a:noFill/>
                <a:prstDash val="solid"/>
                <a:miter/>
              </a:ln>
            </p:spPr>
            <p:txBody>
              <a:bodyPr rtlCol="0" anchor="ctr"/>
              <a:lstStyle/>
              <a:p>
                <a:endParaRPr lang="en-GB" dirty="0"/>
              </a:p>
            </p:txBody>
          </p:sp>
          <p:sp>
            <p:nvSpPr>
              <p:cNvPr id="516" name="Freihandform: Form 1072">
                <a:extLst>
                  <a:ext uri="{FF2B5EF4-FFF2-40B4-BE49-F238E27FC236}">
                    <a16:creationId xmlns:a16="http://schemas.microsoft.com/office/drawing/2014/main" id="{57AF74D0-2B44-4172-8D54-8A6C91B183F4}"/>
                  </a:ext>
                </a:extLst>
              </p:cNvPr>
              <p:cNvSpPr/>
              <p:nvPr/>
            </p:nvSpPr>
            <p:spPr>
              <a:xfrm>
                <a:off x="5379395" y="3632285"/>
                <a:ext cx="26220" cy="13097"/>
              </a:xfrm>
              <a:custGeom>
                <a:avLst/>
                <a:gdLst>
                  <a:gd name="connsiteX0" fmla="*/ 0 w 26220"/>
                  <a:gd name="connsiteY0" fmla="*/ 0 h 13097"/>
                  <a:gd name="connsiteX1" fmla="*/ 26220 w 26220"/>
                  <a:gd name="connsiteY1" fmla="*/ 0 h 13097"/>
                  <a:gd name="connsiteX2" fmla="*/ 26220 w 26220"/>
                  <a:gd name="connsiteY2" fmla="*/ 13097 h 13097"/>
                  <a:gd name="connsiteX3" fmla="*/ 0 w 26220"/>
                  <a:gd name="connsiteY3" fmla="*/ 13097 h 13097"/>
                </a:gdLst>
                <a:ahLst/>
                <a:cxnLst>
                  <a:cxn ang="0">
                    <a:pos x="connsiteX0" y="connsiteY0"/>
                  </a:cxn>
                  <a:cxn ang="0">
                    <a:pos x="connsiteX1" y="connsiteY1"/>
                  </a:cxn>
                  <a:cxn ang="0">
                    <a:pos x="connsiteX2" y="connsiteY2"/>
                  </a:cxn>
                  <a:cxn ang="0">
                    <a:pos x="connsiteX3" y="connsiteY3"/>
                  </a:cxn>
                </a:cxnLst>
                <a:rect l="l" t="t" r="r" b="b"/>
                <a:pathLst>
                  <a:path w="26220" h="13097">
                    <a:moveTo>
                      <a:pt x="0" y="0"/>
                    </a:moveTo>
                    <a:lnTo>
                      <a:pt x="26220" y="0"/>
                    </a:lnTo>
                    <a:lnTo>
                      <a:pt x="26220"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517" name="Freihandform: Form 1073">
                <a:extLst>
                  <a:ext uri="{FF2B5EF4-FFF2-40B4-BE49-F238E27FC236}">
                    <a16:creationId xmlns:a16="http://schemas.microsoft.com/office/drawing/2014/main" id="{0D98C7A6-3DA1-459D-8AB2-E991001C0F6E}"/>
                  </a:ext>
                </a:extLst>
              </p:cNvPr>
              <p:cNvSpPr/>
              <p:nvPr/>
            </p:nvSpPr>
            <p:spPr>
              <a:xfrm>
                <a:off x="5431836" y="3632285"/>
                <a:ext cx="26220" cy="13097"/>
              </a:xfrm>
              <a:custGeom>
                <a:avLst/>
                <a:gdLst>
                  <a:gd name="connsiteX0" fmla="*/ 0 w 26220"/>
                  <a:gd name="connsiteY0" fmla="*/ 0 h 13097"/>
                  <a:gd name="connsiteX1" fmla="*/ 26220 w 26220"/>
                  <a:gd name="connsiteY1" fmla="*/ 0 h 13097"/>
                  <a:gd name="connsiteX2" fmla="*/ 26220 w 26220"/>
                  <a:gd name="connsiteY2" fmla="*/ 13097 h 13097"/>
                  <a:gd name="connsiteX3" fmla="*/ 0 w 26220"/>
                  <a:gd name="connsiteY3" fmla="*/ 13097 h 13097"/>
                </a:gdLst>
                <a:ahLst/>
                <a:cxnLst>
                  <a:cxn ang="0">
                    <a:pos x="connsiteX0" y="connsiteY0"/>
                  </a:cxn>
                  <a:cxn ang="0">
                    <a:pos x="connsiteX1" y="connsiteY1"/>
                  </a:cxn>
                  <a:cxn ang="0">
                    <a:pos x="connsiteX2" y="connsiteY2"/>
                  </a:cxn>
                  <a:cxn ang="0">
                    <a:pos x="connsiteX3" y="connsiteY3"/>
                  </a:cxn>
                </a:cxnLst>
                <a:rect l="l" t="t" r="r" b="b"/>
                <a:pathLst>
                  <a:path w="26220" h="13097">
                    <a:moveTo>
                      <a:pt x="0" y="0"/>
                    </a:moveTo>
                    <a:lnTo>
                      <a:pt x="26220" y="0"/>
                    </a:lnTo>
                    <a:lnTo>
                      <a:pt x="26220"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518" name="Freihandform: Form 1074">
                <a:extLst>
                  <a:ext uri="{FF2B5EF4-FFF2-40B4-BE49-F238E27FC236}">
                    <a16:creationId xmlns:a16="http://schemas.microsoft.com/office/drawing/2014/main" id="{BDEF7A2F-9D13-403F-B226-4DE68F5A87F4}"/>
                  </a:ext>
                </a:extLst>
              </p:cNvPr>
              <p:cNvSpPr/>
              <p:nvPr/>
            </p:nvSpPr>
            <p:spPr>
              <a:xfrm>
                <a:off x="5379395" y="3665054"/>
                <a:ext cx="26220" cy="13097"/>
              </a:xfrm>
              <a:custGeom>
                <a:avLst/>
                <a:gdLst>
                  <a:gd name="connsiteX0" fmla="*/ 0 w 26220"/>
                  <a:gd name="connsiteY0" fmla="*/ 0 h 13097"/>
                  <a:gd name="connsiteX1" fmla="*/ 26220 w 26220"/>
                  <a:gd name="connsiteY1" fmla="*/ 0 h 13097"/>
                  <a:gd name="connsiteX2" fmla="*/ 26220 w 26220"/>
                  <a:gd name="connsiteY2" fmla="*/ 13097 h 13097"/>
                  <a:gd name="connsiteX3" fmla="*/ 0 w 26220"/>
                  <a:gd name="connsiteY3" fmla="*/ 13097 h 13097"/>
                </a:gdLst>
                <a:ahLst/>
                <a:cxnLst>
                  <a:cxn ang="0">
                    <a:pos x="connsiteX0" y="connsiteY0"/>
                  </a:cxn>
                  <a:cxn ang="0">
                    <a:pos x="connsiteX1" y="connsiteY1"/>
                  </a:cxn>
                  <a:cxn ang="0">
                    <a:pos x="connsiteX2" y="connsiteY2"/>
                  </a:cxn>
                  <a:cxn ang="0">
                    <a:pos x="connsiteX3" y="connsiteY3"/>
                  </a:cxn>
                </a:cxnLst>
                <a:rect l="l" t="t" r="r" b="b"/>
                <a:pathLst>
                  <a:path w="26220" h="13097">
                    <a:moveTo>
                      <a:pt x="0" y="0"/>
                    </a:moveTo>
                    <a:lnTo>
                      <a:pt x="26220" y="0"/>
                    </a:lnTo>
                    <a:lnTo>
                      <a:pt x="26220" y="13097"/>
                    </a:lnTo>
                    <a:lnTo>
                      <a:pt x="0" y="13097"/>
                    </a:lnTo>
                    <a:close/>
                  </a:path>
                </a:pathLst>
              </a:custGeom>
              <a:solidFill>
                <a:schemeClr val="tx2"/>
              </a:solidFill>
              <a:ln w="2573" cap="flat">
                <a:noFill/>
                <a:prstDash val="solid"/>
                <a:miter/>
              </a:ln>
            </p:spPr>
            <p:txBody>
              <a:bodyPr rtlCol="0" anchor="ctr"/>
              <a:lstStyle/>
              <a:p>
                <a:endParaRPr lang="en-GB" dirty="0"/>
              </a:p>
            </p:txBody>
          </p:sp>
          <p:sp>
            <p:nvSpPr>
              <p:cNvPr id="519" name="Freihandform: Form 1075">
                <a:extLst>
                  <a:ext uri="{FF2B5EF4-FFF2-40B4-BE49-F238E27FC236}">
                    <a16:creationId xmlns:a16="http://schemas.microsoft.com/office/drawing/2014/main" id="{E9C65902-4EDF-4B12-8911-5480142A5DEE}"/>
                  </a:ext>
                </a:extLst>
              </p:cNvPr>
              <p:cNvSpPr/>
              <p:nvPr/>
            </p:nvSpPr>
            <p:spPr>
              <a:xfrm>
                <a:off x="5431836" y="3665054"/>
                <a:ext cx="26220" cy="13097"/>
              </a:xfrm>
              <a:custGeom>
                <a:avLst/>
                <a:gdLst>
                  <a:gd name="connsiteX0" fmla="*/ 0 w 26220"/>
                  <a:gd name="connsiteY0" fmla="*/ 0 h 13097"/>
                  <a:gd name="connsiteX1" fmla="*/ 26220 w 26220"/>
                  <a:gd name="connsiteY1" fmla="*/ 0 h 13097"/>
                  <a:gd name="connsiteX2" fmla="*/ 26220 w 26220"/>
                  <a:gd name="connsiteY2" fmla="*/ 13097 h 13097"/>
                  <a:gd name="connsiteX3" fmla="*/ 0 w 26220"/>
                  <a:gd name="connsiteY3" fmla="*/ 13097 h 13097"/>
                </a:gdLst>
                <a:ahLst/>
                <a:cxnLst>
                  <a:cxn ang="0">
                    <a:pos x="connsiteX0" y="connsiteY0"/>
                  </a:cxn>
                  <a:cxn ang="0">
                    <a:pos x="connsiteX1" y="connsiteY1"/>
                  </a:cxn>
                  <a:cxn ang="0">
                    <a:pos x="connsiteX2" y="connsiteY2"/>
                  </a:cxn>
                  <a:cxn ang="0">
                    <a:pos x="connsiteX3" y="connsiteY3"/>
                  </a:cxn>
                </a:cxnLst>
                <a:rect l="l" t="t" r="r" b="b"/>
                <a:pathLst>
                  <a:path w="26220" h="13097">
                    <a:moveTo>
                      <a:pt x="0" y="0"/>
                    </a:moveTo>
                    <a:lnTo>
                      <a:pt x="26220" y="0"/>
                    </a:lnTo>
                    <a:lnTo>
                      <a:pt x="26220" y="13097"/>
                    </a:lnTo>
                    <a:lnTo>
                      <a:pt x="0" y="13097"/>
                    </a:lnTo>
                    <a:close/>
                  </a:path>
                </a:pathLst>
              </a:custGeom>
              <a:solidFill>
                <a:schemeClr val="tx2"/>
              </a:solidFill>
              <a:ln w="2573" cap="flat">
                <a:noFill/>
                <a:prstDash val="solid"/>
                <a:miter/>
              </a:ln>
            </p:spPr>
            <p:txBody>
              <a:bodyPr rtlCol="0" anchor="ctr"/>
              <a:lstStyle/>
              <a:p>
                <a:endParaRPr lang="en-GB" dirty="0"/>
              </a:p>
            </p:txBody>
          </p:sp>
        </p:grpSp>
      </p:grpSp>
      <p:grpSp>
        <p:nvGrpSpPr>
          <p:cNvPr id="526" name="Group 525">
            <a:extLst>
              <a:ext uri="{FF2B5EF4-FFF2-40B4-BE49-F238E27FC236}">
                <a16:creationId xmlns:a16="http://schemas.microsoft.com/office/drawing/2014/main" id="{A3C6707D-49CE-442C-B25A-4355CB232091}"/>
              </a:ext>
            </a:extLst>
          </p:cNvPr>
          <p:cNvGrpSpPr>
            <a:grpSpLocks noChangeAspect="1"/>
          </p:cNvGrpSpPr>
          <p:nvPr/>
        </p:nvGrpSpPr>
        <p:grpSpPr>
          <a:xfrm>
            <a:off x="4953042" y="3233799"/>
            <a:ext cx="562944" cy="358538"/>
            <a:chOff x="7760128" y="3355361"/>
            <a:chExt cx="535800" cy="341250"/>
          </a:xfrm>
        </p:grpSpPr>
        <p:grpSp>
          <p:nvGrpSpPr>
            <p:cNvPr id="527" name="Group 526">
              <a:extLst>
                <a:ext uri="{FF2B5EF4-FFF2-40B4-BE49-F238E27FC236}">
                  <a16:creationId xmlns:a16="http://schemas.microsoft.com/office/drawing/2014/main" id="{70F968D6-A5D2-4AD4-833C-CCD7BE6DAE49}"/>
                </a:ext>
              </a:extLst>
            </p:cNvPr>
            <p:cNvGrpSpPr/>
            <p:nvPr/>
          </p:nvGrpSpPr>
          <p:grpSpPr>
            <a:xfrm>
              <a:off x="8007557" y="3482692"/>
              <a:ext cx="96631" cy="98364"/>
              <a:chOff x="8007557" y="3482692"/>
              <a:chExt cx="96631" cy="98364"/>
            </a:xfrm>
          </p:grpSpPr>
          <p:sp>
            <p:nvSpPr>
              <p:cNvPr id="538" name="Freihandform: Form 1106">
                <a:extLst>
                  <a:ext uri="{FF2B5EF4-FFF2-40B4-BE49-F238E27FC236}">
                    <a16:creationId xmlns:a16="http://schemas.microsoft.com/office/drawing/2014/main" id="{B0F18567-F65A-4B31-8C15-D709EF57C64B}"/>
                  </a:ext>
                </a:extLst>
              </p:cNvPr>
              <p:cNvSpPr/>
              <p:nvPr/>
            </p:nvSpPr>
            <p:spPr>
              <a:xfrm>
                <a:off x="8007557" y="3550350"/>
                <a:ext cx="69172" cy="13097"/>
              </a:xfrm>
              <a:custGeom>
                <a:avLst/>
                <a:gdLst>
                  <a:gd name="connsiteX0" fmla="*/ 62625 w 69172"/>
                  <a:gd name="connsiteY0" fmla="*/ 13097 h 13097"/>
                  <a:gd name="connsiteX1" fmla="*/ 6549 w 69172"/>
                  <a:gd name="connsiteY1" fmla="*/ 13097 h 13097"/>
                  <a:gd name="connsiteX2" fmla="*/ 0 w 69172"/>
                  <a:gd name="connsiteY2" fmla="*/ 6549 h 13097"/>
                  <a:gd name="connsiteX3" fmla="*/ 6549 w 69172"/>
                  <a:gd name="connsiteY3" fmla="*/ 0 h 13097"/>
                  <a:gd name="connsiteX4" fmla="*/ 62625 w 69172"/>
                  <a:gd name="connsiteY4" fmla="*/ 0 h 13097"/>
                  <a:gd name="connsiteX5" fmla="*/ 69173 w 69172"/>
                  <a:gd name="connsiteY5" fmla="*/ 6549 h 13097"/>
                  <a:gd name="connsiteX6" fmla="*/ 62625 w 69172"/>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172" h="13097">
                    <a:moveTo>
                      <a:pt x="62625" y="13097"/>
                    </a:moveTo>
                    <a:lnTo>
                      <a:pt x="6549" y="13097"/>
                    </a:lnTo>
                    <a:cubicBezTo>
                      <a:pt x="2913" y="13097"/>
                      <a:pt x="0" y="10158"/>
                      <a:pt x="0" y="6549"/>
                    </a:cubicBezTo>
                    <a:cubicBezTo>
                      <a:pt x="0" y="2939"/>
                      <a:pt x="2939" y="0"/>
                      <a:pt x="6549" y="0"/>
                    </a:cubicBezTo>
                    <a:lnTo>
                      <a:pt x="62625" y="0"/>
                    </a:lnTo>
                    <a:cubicBezTo>
                      <a:pt x="66260" y="0"/>
                      <a:pt x="69173" y="2939"/>
                      <a:pt x="69173" y="6549"/>
                    </a:cubicBezTo>
                    <a:cubicBezTo>
                      <a:pt x="69173" y="10158"/>
                      <a:pt x="66234" y="13097"/>
                      <a:pt x="62625" y="13097"/>
                    </a:cubicBezTo>
                    <a:close/>
                  </a:path>
                </a:pathLst>
              </a:custGeom>
              <a:solidFill>
                <a:schemeClr val="accent1"/>
              </a:solidFill>
              <a:ln w="2573" cap="flat">
                <a:noFill/>
                <a:prstDash val="solid"/>
                <a:miter/>
              </a:ln>
            </p:spPr>
            <p:txBody>
              <a:bodyPr rtlCol="0" anchor="ctr"/>
              <a:lstStyle/>
              <a:p>
                <a:endParaRPr lang="en-GB" dirty="0"/>
              </a:p>
            </p:txBody>
          </p:sp>
          <p:sp>
            <p:nvSpPr>
              <p:cNvPr id="539" name="Freihandform: Form 1107">
                <a:extLst>
                  <a:ext uri="{FF2B5EF4-FFF2-40B4-BE49-F238E27FC236}">
                    <a16:creationId xmlns:a16="http://schemas.microsoft.com/office/drawing/2014/main" id="{E97FDE6A-94B2-43A3-8D6B-31BE13AE1E9C}"/>
                  </a:ext>
                </a:extLst>
              </p:cNvPr>
              <p:cNvSpPr/>
              <p:nvPr/>
            </p:nvSpPr>
            <p:spPr>
              <a:xfrm>
                <a:off x="8007583" y="3505128"/>
                <a:ext cx="73401" cy="13097"/>
              </a:xfrm>
              <a:custGeom>
                <a:avLst/>
                <a:gdLst>
                  <a:gd name="connsiteX0" fmla="*/ 66853 w 73401"/>
                  <a:gd name="connsiteY0" fmla="*/ 13097 h 13097"/>
                  <a:gd name="connsiteX1" fmla="*/ 6549 w 73401"/>
                  <a:gd name="connsiteY1" fmla="*/ 13097 h 13097"/>
                  <a:gd name="connsiteX2" fmla="*/ 0 w 73401"/>
                  <a:gd name="connsiteY2" fmla="*/ 6549 h 13097"/>
                  <a:gd name="connsiteX3" fmla="*/ 6549 w 73401"/>
                  <a:gd name="connsiteY3" fmla="*/ 0 h 13097"/>
                  <a:gd name="connsiteX4" fmla="*/ 66853 w 73401"/>
                  <a:gd name="connsiteY4" fmla="*/ 0 h 13097"/>
                  <a:gd name="connsiteX5" fmla="*/ 73401 w 73401"/>
                  <a:gd name="connsiteY5" fmla="*/ 6549 h 13097"/>
                  <a:gd name="connsiteX6" fmla="*/ 66853 w 73401"/>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401" h="13097">
                    <a:moveTo>
                      <a:pt x="66853" y="13097"/>
                    </a:moveTo>
                    <a:lnTo>
                      <a:pt x="6549" y="13097"/>
                    </a:lnTo>
                    <a:cubicBezTo>
                      <a:pt x="2913" y="13097"/>
                      <a:pt x="0" y="10158"/>
                      <a:pt x="0" y="6549"/>
                    </a:cubicBezTo>
                    <a:cubicBezTo>
                      <a:pt x="0" y="2913"/>
                      <a:pt x="2939" y="0"/>
                      <a:pt x="6549" y="0"/>
                    </a:cubicBezTo>
                    <a:lnTo>
                      <a:pt x="66853" y="0"/>
                    </a:lnTo>
                    <a:cubicBezTo>
                      <a:pt x="70488" y="0"/>
                      <a:pt x="73401" y="2939"/>
                      <a:pt x="73401" y="6549"/>
                    </a:cubicBezTo>
                    <a:cubicBezTo>
                      <a:pt x="73401" y="10158"/>
                      <a:pt x="70462" y="13097"/>
                      <a:pt x="66853" y="13097"/>
                    </a:cubicBezTo>
                    <a:close/>
                  </a:path>
                </a:pathLst>
              </a:custGeom>
              <a:solidFill>
                <a:schemeClr val="accent1"/>
              </a:solidFill>
              <a:ln w="2573" cap="flat">
                <a:noFill/>
                <a:prstDash val="solid"/>
                <a:miter/>
              </a:ln>
            </p:spPr>
            <p:txBody>
              <a:bodyPr rtlCol="0" anchor="ctr"/>
              <a:lstStyle/>
              <a:p>
                <a:endParaRPr lang="en-GB" dirty="0"/>
              </a:p>
            </p:txBody>
          </p:sp>
          <p:sp>
            <p:nvSpPr>
              <p:cNvPr id="540" name="Freihandform: Form 1108">
                <a:extLst>
                  <a:ext uri="{FF2B5EF4-FFF2-40B4-BE49-F238E27FC236}">
                    <a16:creationId xmlns:a16="http://schemas.microsoft.com/office/drawing/2014/main" id="{1B59F03F-3713-49B9-AE5A-6F56D6AF25A0}"/>
                  </a:ext>
                </a:extLst>
              </p:cNvPr>
              <p:cNvSpPr/>
              <p:nvPr/>
            </p:nvSpPr>
            <p:spPr>
              <a:xfrm>
                <a:off x="8048467" y="3482692"/>
                <a:ext cx="55721" cy="98364"/>
              </a:xfrm>
              <a:custGeom>
                <a:avLst/>
                <a:gdLst>
                  <a:gd name="connsiteX0" fmla="*/ 6555 w 55721"/>
                  <a:gd name="connsiteY0" fmla="*/ 98365 h 98364"/>
                  <a:gd name="connsiteX1" fmla="*/ 1914 w 55721"/>
                  <a:gd name="connsiteY1" fmla="*/ 96457 h 98364"/>
                  <a:gd name="connsiteX2" fmla="*/ 1914 w 55721"/>
                  <a:gd name="connsiteY2" fmla="*/ 87201 h 98364"/>
                  <a:gd name="connsiteX3" fmla="*/ 39943 w 55721"/>
                  <a:gd name="connsiteY3" fmla="*/ 49198 h 98364"/>
                  <a:gd name="connsiteX4" fmla="*/ 1914 w 55721"/>
                  <a:gd name="connsiteY4" fmla="*/ 11170 h 98364"/>
                  <a:gd name="connsiteX5" fmla="*/ 1914 w 55721"/>
                  <a:gd name="connsiteY5" fmla="*/ 1914 h 98364"/>
                  <a:gd name="connsiteX6" fmla="*/ 11170 w 55721"/>
                  <a:gd name="connsiteY6" fmla="*/ 1914 h 98364"/>
                  <a:gd name="connsiteX7" fmla="*/ 53813 w 55721"/>
                  <a:gd name="connsiteY7" fmla="*/ 44558 h 98364"/>
                  <a:gd name="connsiteX8" fmla="*/ 55721 w 55721"/>
                  <a:gd name="connsiteY8" fmla="*/ 49198 h 98364"/>
                  <a:gd name="connsiteX9" fmla="*/ 53813 w 55721"/>
                  <a:gd name="connsiteY9" fmla="*/ 53839 h 98364"/>
                  <a:gd name="connsiteX10" fmla="*/ 11144 w 55721"/>
                  <a:gd name="connsiteY10" fmla="*/ 96483 h 98364"/>
                  <a:gd name="connsiteX11" fmla="*/ 6555 w 55721"/>
                  <a:gd name="connsiteY11" fmla="*/ 98365 h 98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5721" h="98364">
                    <a:moveTo>
                      <a:pt x="6555" y="98365"/>
                    </a:moveTo>
                    <a:cubicBezTo>
                      <a:pt x="4879" y="98365"/>
                      <a:pt x="3203" y="97720"/>
                      <a:pt x="1914" y="96457"/>
                    </a:cubicBezTo>
                    <a:cubicBezTo>
                      <a:pt x="-638" y="93904"/>
                      <a:pt x="-638" y="89753"/>
                      <a:pt x="1914" y="87201"/>
                    </a:cubicBezTo>
                    <a:lnTo>
                      <a:pt x="39943" y="49198"/>
                    </a:lnTo>
                    <a:lnTo>
                      <a:pt x="1914" y="11170"/>
                    </a:lnTo>
                    <a:cubicBezTo>
                      <a:pt x="-638" y="8618"/>
                      <a:pt x="-638" y="4467"/>
                      <a:pt x="1914" y="1914"/>
                    </a:cubicBezTo>
                    <a:cubicBezTo>
                      <a:pt x="4467" y="-638"/>
                      <a:pt x="8618" y="-638"/>
                      <a:pt x="11170" y="1914"/>
                    </a:cubicBezTo>
                    <a:lnTo>
                      <a:pt x="53813" y="44558"/>
                    </a:lnTo>
                    <a:cubicBezTo>
                      <a:pt x="55051" y="45795"/>
                      <a:pt x="55721" y="47445"/>
                      <a:pt x="55721" y="49198"/>
                    </a:cubicBezTo>
                    <a:cubicBezTo>
                      <a:pt x="55721" y="50952"/>
                      <a:pt x="55025" y="52602"/>
                      <a:pt x="53813" y="53839"/>
                    </a:cubicBezTo>
                    <a:lnTo>
                      <a:pt x="11144" y="96483"/>
                    </a:lnTo>
                    <a:cubicBezTo>
                      <a:pt x="9907" y="97720"/>
                      <a:pt x="8231" y="98365"/>
                      <a:pt x="6555" y="98365"/>
                    </a:cubicBezTo>
                    <a:close/>
                  </a:path>
                </a:pathLst>
              </a:custGeom>
              <a:solidFill>
                <a:schemeClr val="accent1"/>
              </a:solidFill>
              <a:ln w="2573" cap="flat">
                <a:noFill/>
                <a:prstDash val="solid"/>
                <a:miter/>
              </a:ln>
            </p:spPr>
            <p:txBody>
              <a:bodyPr rtlCol="0" anchor="ctr"/>
              <a:lstStyle/>
              <a:p>
                <a:endParaRPr lang="en-GB" dirty="0"/>
              </a:p>
            </p:txBody>
          </p:sp>
        </p:grpSp>
        <p:grpSp>
          <p:nvGrpSpPr>
            <p:cNvPr id="528" name="Group 527">
              <a:extLst>
                <a:ext uri="{FF2B5EF4-FFF2-40B4-BE49-F238E27FC236}">
                  <a16:creationId xmlns:a16="http://schemas.microsoft.com/office/drawing/2014/main" id="{13511DD7-B0D6-4579-BA94-F751386A0D92}"/>
                </a:ext>
              </a:extLst>
            </p:cNvPr>
            <p:cNvGrpSpPr/>
            <p:nvPr/>
          </p:nvGrpSpPr>
          <p:grpSpPr>
            <a:xfrm>
              <a:off x="7760128" y="3355361"/>
              <a:ext cx="535800" cy="341250"/>
              <a:chOff x="7760128" y="3355361"/>
              <a:chExt cx="535800" cy="341250"/>
            </a:xfrm>
          </p:grpSpPr>
          <p:sp>
            <p:nvSpPr>
              <p:cNvPr id="529" name="Freihandform: Form 1097">
                <a:extLst>
                  <a:ext uri="{FF2B5EF4-FFF2-40B4-BE49-F238E27FC236}">
                    <a16:creationId xmlns:a16="http://schemas.microsoft.com/office/drawing/2014/main" id="{DB9FE93C-9A50-4D05-B051-DEE455FC75B8}"/>
                  </a:ext>
                </a:extLst>
              </p:cNvPr>
              <p:cNvSpPr/>
              <p:nvPr/>
            </p:nvSpPr>
            <p:spPr>
              <a:xfrm>
                <a:off x="7764468" y="3408523"/>
                <a:ext cx="222376" cy="264187"/>
              </a:xfrm>
              <a:custGeom>
                <a:avLst/>
                <a:gdLst>
                  <a:gd name="connsiteX0" fmla="*/ 197867 w 222376"/>
                  <a:gd name="connsiteY0" fmla="*/ 264188 h 264187"/>
                  <a:gd name="connsiteX1" fmla="*/ 24484 w 222376"/>
                  <a:gd name="connsiteY1" fmla="*/ 264188 h 264187"/>
                  <a:gd name="connsiteX2" fmla="*/ 17961 w 222376"/>
                  <a:gd name="connsiteY2" fmla="*/ 258103 h 264187"/>
                  <a:gd name="connsiteX3" fmla="*/ 17 w 222376"/>
                  <a:gd name="connsiteY3" fmla="*/ 7013 h 264187"/>
                  <a:gd name="connsiteX4" fmla="*/ 1770 w 222376"/>
                  <a:gd name="connsiteY4" fmla="*/ 2088 h 264187"/>
                  <a:gd name="connsiteX5" fmla="*/ 6565 w 222376"/>
                  <a:gd name="connsiteY5" fmla="*/ 0 h 264187"/>
                  <a:gd name="connsiteX6" fmla="*/ 215812 w 222376"/>
                  <a:gd name="connsiteY6" fmla="*/ 0 h 264187"/>
                  <a:gd name="connsiteX7" fmla="*/ 220607 w 222376"/>
                  <a:gd name="connsiteY7" fmla="*/ 2088 h 264187"/>
                  <a:gd name="connsiteX8" fmla="*/ 222360 w 222376"/>
                  <a:gd name="connsiteY8" fmla="*/ 7013 h 264187"/>
                  <a:gd name="connsiteX9" fmla="*/ 204416 w 222376"/>
                  <a:gd name="connsiteY9" fmla="*/ 258103 h 264187"/>
                  <a:gd name="connsiteX10" fmla="*/ 197867 w 222376"/>
                  <a:gd name="connsiteY10" fmla="*/ 264188 h 264187"/>
                  <a:gd name="connsiteX11" fmla="*/ 30594 w 222376"/>
                  <a:gd name="connsiteY11" fmla="*/ 251065 h 264187"/>
                  <a:gd name="connsiteX12" fmla="*/ 191757 w 222376"/>
                  <a:gd name="connsiteY12" fmla="*/ 251065 h 264187"/>
                  <a:gd name="connsiteX13" fmla="*/ 208748 w 222376"/>
                  <a:gd name="connsiteY13" fmla="*/ 13097 h 264187"/>
                  <a:gd name="connsiteX14" fmla="*/ 13578 w 222376"/>
                  <a:gd name="connsiteY14" fmla="*/ 13097 h 264187"/>
                  <a:gd name="connsiteX15" fmla="*/ 30594 w 222376"/>
                  <a:gd name="connsiteY15" fmla="*/ 251065 h 26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2376" h="264187">
                    <a:moveTo>
                      <a:pt x="197867" y="264188"/>
                    </a:moveTo>
                    <a:lnTo>
                      <a:pt x="24484" y="264188"/>
                    </a:lnTo>
                    <a:cubicBezTo>
                      <a:pt x="21055" y="264188"/>
                      <a:pt x="18193" y="261532"/>
                      <a:pt x="17961" y="258103"/>
                    </a:cubicBezTo>
                    <a:lnTo>
                      <a:pt x="17" y="7013"/>
                    </a:lnTo>
                    <a:cubicBezTo>
                      <a:pt x="-112" y="5182"/>
                      <a:pt x="507" y="3403"/>
                      <a:pt x="1770" y="2088"/>
                    </a:cubicBezTo>
                    <a:cubicBezTo>
                      <a:pt x="3007" y="748"/>
                      <a:pt x="4735" y="0"/>
                      <a:pt x="6565" y="0"/>
                    </a:cubicBezTo>
                    <a:lnTo>
                      <a:pt x="215812" y="0"/>
                    </a:lnTo>
                    <a:cubicBezTo>
                      <a:pt x="217616" y="0"/>
                      <a:pt x="219370" y="748"/>
                      <a:pt x="220607" y="2088"/>
                    </a:cubicBezTo>
                    <a:cubicBezTo>
                      <a:pt x="221845" y="3429"/>
                      <a:pt x="222489" y="5208"/>
                      <a:pt x="222360" y="7013"/>
                    </a:cubicBezTo>
                    <a:lnTo>
                      <a:pt x="204416" y="258103"/>
                    </a:lnTo>
                    <a:cubicBezTo>
                      <a:pt x="204158" y="261532"/>
                      <a:pt x="201297" y="264188"/>
                      <a:pt x="197867" y="264188"/>
                    </a:cubicBezTo>
                    <a:close/>
                    <a:moveTo>
                      <a:pt x="30594" y="251065"/>
                    </a:moveTo>
                    <a:lnTo>
                      <a:pt x="191757" y="251065"/>
                    </a:lnTo>
                    <a:lnTo>
                      <a:pt x="208748" y="13097"/>
                    </a:lnTo>
                    <a:lnTo>
                      <a:pt x="13578" y="13097"/>
                    </a:lnTo>
                    <a:lnTo>
                      <a:pt x="30594" y="251065"/>
                    </a:lnTo>
                    <a:close/>
                  </a:path>
                </a:pathLst>
              </a:custGeom>
              <a:solidFill>
                <a:schemeClr val="tx2"/>
              </a:solidFill>
              <a:ln w="2573" cap="flat">
                <a:noFill/>
                <a:prstDash val="solid"/>
                <a:miter/>
              </a:ln>
            </p:spPr>
            <p:txBody>
              <a:bodyPr rtlCol="0" anchor="ctr"/>
              <a:lstStyle/>
              <a:p>
                <a:endParaRPr lang="en-GB" dirty="0"/>
              </a:p>
            </p:txBody>
          </p:sp>
          <p:sp>
            <p:nvSpPr>
              <p:cNvPr id="530" name="Freihandform: Form 1098">
                <a:extLst>
                  <a:ext uri="{FF2B5EF4-FFF2-40B4-BE49-F238E27FC236}">
                    <a16:creationId xmlns:a16="http://schemas.microsoft.com/office/drawing/2014/main" id="{22FE607C-9AEE-4B8E-A6DC-99C25CE74052}"/>
                  </a:ext>
                </a:extLst>
              </p:cNvPr>
              <p:cNvSpPr/>
              <p:nvPr/>
            </p:nvSpPr>
            <p:spPr>
              <a:xfrm>
                <a:off x="7919911" y="3444403"/>
                <a:ext cx="25061" cy="198426"/>
              </a:xfrm>
              <a:custGeom>
                <a:avLst/>
                <a:gdLst>
                  <a:gd name="connsiteX0" fmla="*/ 6562 w 25061"/>
                  <a:gd name="connsiteY0" fmla="*/ 198427 h 198426"/>
                  <a:gd name="connsiteX1" fmla="*/ 6124 w 25061"/>
                  <a:gd name="connsiteY1" fmla="*/ 198401 h 198426"/>
                  <a:gd name="connsiteX2" fmla="*/ 14 w 25061"/>
                  <a:gd name="connsiteY2" fmla="*/ 191440 h 198426"/>
                  <a:gd name="connsiteX3" fmla="*/ 11977 w 25061"/>
                  <a:gd name="connsiteY3" fmla="*/ 6119 h 198426"/>
                  <a:gd name="connsiteX4" fmla="*/ 18938 w 25061"/>
                  <a:gd name="connsiteY4" fmla="*/ 9 h 198426"/>
                  <a:gd name="connsiteX5" fmla="*/ 25048 w 25061"/>
                  <a:gd name="connsiteY5" fmla="*/ 6970 h 198426"/>
                  <a:gd name="connsiteX6" fmla="*/ 13085 w 25061"/>
                  <a:gd name="connsiteY6" fmla="*/ 192291 h 198426"/>
                  <a:gd name="connsiteX7" fmla="*/ 6562 w 25061"/>
                  <a:gd name="connsiteY7" fmla="*/ 198427 h 198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61" h="198426">
                    <a:moveTo>
                      <a:pt x="6562" y="198427"/>
                    </a:moveTo>
                    <a:cubicBezTo>
                      <a:pt x="6433" y="198427"/>
                      <a:pt x="6279" y="198427"/>
                      <a:pt x="6124" y="198401"/>
                    </a:cubicBezTo>
                    <a:cubicBezTo>
                      <a:pt x="2515" y="198169"/>
                      <a:pt x="-218" y="195049"/>
                      <a:pt x="14" y="191440"/>
                    </a:cubicBezTo>
                    <a:lnTo>
                      <a:pt x="11977" y="6119"/>
                    </a:lnTo>
                    <a:cubicBezTo>
                      <a:pt x="12209" y="2509"/>
                      <a:pt x="15225" y="-172"/>
                      <a:pt x="18938" y="9"/>
                    </a:cubicBezTo>
                    <a:cubicBezTo>
                      <a:pt x="22547" y="241"/>
                      <a:pt x="25280" y="3360"/>
                      <a:pt x="25048" y="6970"/>
                    </a:cubicBezTo>
                    <a:lnTo>
                      <a:pt x="13085" y="192291"/>
                    </a:lnTo>
                    <a:cubicBezTo>
                      <a:pt x="12879" y="195745"/>
                      <a:pt x="9991" y="198427"/>
                      <a:pt x="6562" y="198427"/>
                    </a:cubicBezTo>
                    <a:close/>
                  </a:path>
                </a:pathLst>
              </a:custGeom>
              <a:solidFill>
                <a:schemeClr val="tx2"/>
              </a:solidFill>
              <a:ln w="2573" cap="flat">
                <a:noFill/>
                <a:prstDash val="solid"/>
                <a:miter/>
              </a:ln>
            </p:spPr>
            <p:txBody>
              <a:bodyPr rtlCol="0" anchor="ctr"/>
              <a:lstStyle/>
              <a:p>
                <a:endParaRPr lang="en-GB" dirty="0"/>
              </a:p>
            </p:txBody>
          </p:sp>
          <p:sp>
            <p:nvSpPr>
              <p:cNvPr id="531" name="Freihandform: Form 1099">
                <a:extLst>
                  <a:ext uri="{FF2B5EF4-FFF2-40B4-BE49-F238E27FC236}">
                    <a16:creationId xmlns:a16="http://schemas.microsoft.com/office/drawing/2014/main" id="{F4E1FE65-E17F-44FD-B289-0A752F93187D}"/>
                  </a:ext>
                </a:extLst>
              </p:cNvPr>
              <p:cNvSpPr/>
              <p:nvPr/>
            </p:nvSpPr>
            <p:spPr>
              <a:xfrm>
                <a:off x="7806341" y="3444407"/>
                <a:ext cx="25061" cy="198422"/>
              </a:xfrm>
              <a:custGeom>
                <a:avLst/>
                <a:gdLst>
                  <a:gd name="connsiteX0" fmla="*/ 18499 w 25061"/>
                  <a:gd name="connsiteY0" fmla="*/ 198422 h 198422"/>
                  <a:gd name="connsiteX1" fmla="*/ 11976 w 25061"/>
                  <a:gd name="connsiteY1" fmla="*/ 192286 h 198422"/>
                  <a:gd name="connsiteX2" fmla="*/ 14 w 25061"/>
                  <a:gd name="connsiteY2" fmla="*/ 6966 h 198422"/>
                  <a:gd name="connsiteX3" fmla="*/ 6124 w 25061"/>
                  <a:gd name="connsiteY3" fmla="*/ 5 h 198422"/>
                  <a:gd name="connsiteX4" fmla="*/ 13085 w 25061"/>
                  <a:gd name="connsiteY4" fmla="*/ 6115 h 198422"/>
                  <a:gd name="connsiteX5" fmla="*/ 25048 w 25061"/>
                  <a:gd name="connsiteY5" fmla="*/ 191436 h 198422"/>
                  <a:gd name="connsiteX6" fmla="*/ 18938 w 25061"/>
                  <a:gd name="connsiteY6" fmla="*/ 198397 h 198422"/>
                  <a:gd name="connsiteX7" fmla="*/ 18499 w 25061"/>
                  <a:gd name="connsiteY7" fmla="*/ 198422 h 19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61" h="198422">
                    <a:moveTo>
                      <a:pt x="18499" y="198422"/>
                    </a:moveTo>
                    <a:cubicBezTo>
                      <a:pt x="15070" y="198422"/>
                      <a:pt x="12183" y="195767"/>
                      <a:pt x="11976" y="192286"/>
                    </a:cubicBezTo>
                    <a:lnTo>
                      <a:pt x="14" y="6966"/>
                    </a:lnTo>
                    <a:cubicBezTo>
                      <a:pt x="-218" y="3356"/>
                      <a:pt x="2515" y="236"/>
                      <a:pt x="6124" y="5"/>
                    </a:cubicBezTo>
                    <a:cubicBezTo>
                      <a:pt x="9733" y="-124"/>
                      <a:pt x="12853" y="2505"/>
                      <a:pt x="13085" y="6115"/>
                    </a:cubicBezTo>
                    <a:lnTo>
                      <a:pt x="25048" y="191436"/>
                    </a:lnTo>
                    <a:cubicBezTo>
                      <a:pt x="25280" y="195045"/>
                      <a:pt x="22547" y="198165"/>
                      <a:pt x="18938" y="198397"/>
                    </a:cubicBezTo>
                    <a:cubicBezTo>
                      <a:pt x="18783" y="198397"/>
                      <a:pt x="18628" y="198422"/>
                      <a:pt x="18499" y="198422"/>
                    </a:cubicBezTo>
                    <a:close/>
                  </a:path>
                </a:pathLst>
              </a:custGeom>
              <a:solidFill>
                <a:schemeClr val="tx2"/>
              </a:solidFill>
              <a:ln w="2573" cap="flat">
                <a:noFill/>
                <a:prstDash val="solid"/>
                <a:miter/>
              </a:ln>
            </p:spPr>
            <p:txBody>
              <a:bodyPr rtlCol="0" anchor="ctr"/>
              <a:lstStyle/>
              <a:p>
                <a:endParaRPr lang="en-GB" dirty="0"/>
              </a:p>
            </p:txBody>
          </p:sp>
          <p:sp>
            <p:nvSpPr>
              <p:cNvPr id="532" name="Freihandform: Form 1100">
                <a:extLst>
                  <a:ext uri="{FF2B5EF4-FFF2-40B4-BE49-F238E27FC236}">
                    <a16:creationId xmlns:a16="http://schemas.microsoft.com/office/drawing/2014/main" id="{7A0AD17E-40F4-4686-BCDE-82C98F6A0ABF}"/>
                  </a:ext>
                </a:extLst>
              </p:cNvPr>
              <p:cNvSpPr/>
              <p:nvPr/>
            </p:nvSpPr>
            <p:spPr>
              <a:xfrm>
                <a:off x="7872099" y="3444412"/>
                <a:ext cx="13097" cy="198417"/>
              </a:xfrm>
              <a:custGeom>
                <a:avLst/>
                <a:gdLst>
                  <a:gd name="connsiteX0" fmla="*/ 6549 w 13097"/>
                  <a:gd name="connsiteY0" fmla="*/ 198418 h 198417"/>
                  <a:gd name="connsiteX1" fmla="*/ 0 w 13097"/>
                  <a:gd name="connsiteY1" fmla="*/ 191869 h 198417"/>
                  <a:gd name="connsiteX2" fmla="*/ 0 w 13097"/>
                  <a:gd name="connsiteY2" fmla="*/ 6549 h 198417"/>
                  <a:gd name="connsiteX3" fmla="*/ 6549 w 13097"/>
                  <a:gd name="connsiteY3" fmla="*/ 0 h 198417"/>
                  <a:gd name="connsiteX4" fmla="*/ 13097 w 13097"/>
                  <a:gd name="connsiteY4" fmla="*/ 6549 h 198417"/>
                  <a:gd name="connsiteX5" fmla="*/ 13097 w 13097"/>
                  <a:gd name="connsiteY5" fmla="*/ 191869 h 198417"/>
                  <a:gd name="connsiteX6" fmla="*/ 6549 w 13097"/>
                  <a:gd name="connsiteY6" fmla="*/ 198418 h 198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198417">
                    <a:moveTo>
                      <a:pt x="6549" y="198418"/>
                    </a:moveTo>
                    <a:cubicBezTo>
                      <a:pt x="2913" y="198418"/>
                      <a:pt x="0" y="195479"/>
                      <a:pt x="0" y="191869"/>
                    </a:cubicBezTo>
                    <a:lnTo>
                      <a:pt x="0" y="6549"/>
                    </a:lnTo>
                    <a:cubicBezTo>
                      <a:pt x="0" y="2913"/>
                      <a:pt x="2939" y="0"/>
                      <a:pt x="6549" y="0"/>
                    </a:cubicBezTo>
                    <a:cubicBezTo>
                      <a:pt x="10184" y="0"/>
                      <a:pt x="13097" y="2939"/>
                      <a:pt x="13097" y="6549"/>
                    </a:cubicBezTo>
                    <a:lnTo>
                      <a:pt x="13097" y="191869"/>
                    </a:lnTo>
                    <a:cubicBezTo>
                      <a:pt x="13097" y="195479"/>
                      <a:pt x="10158" y="198418"/>
                      <a:pt x="6549" y="198418"/>
                    </a:cubicBezTo>
                    <a:close/>
                  </a:path>
                </a:pathLst>
              </a:custGeom>
              <a:solidFill>
                <a:schemeClr val="tx2"/>
              </a:solidFill>
              <a:ln w="2573" cap="flat">
                <a:noFill/>
                <a:prstDash val="solid"/>
                <a:miter/>
              </a:ln>
            </p:spPr>
            <p:txBody>
              <a:bodyPr rtlCol="0" anchor="ctr"/>
              <a:lstStyle/>
              <a:p>
                <a:endParaRPr lang="en-GB" dirty="0"/>
              </a:p>
            </p:txBody>
          </p:sp>
          <p:sp>
            <p:nvSpPr>
              <p:cNvPr id="533" name="Freihandform: Form 1101">
                <a:extLst>
                  <a:ext uri="{FF2B5EF4-FFF2-40B4-BE49-F238E27FC236}">
                    <a16:creationId xmlns:a16="http://schemas.microsoft.com/office/drawing/2014/main" id="{7F1AFA66-A501-441D-B624-6A72BDDFBCB2}"/>
                  </a:ext>
                </a:extLst>
              </p:cNvPr>
              <p:cNvSpPr/>
              <p:nvPr/>
            </p:nvSpPr>
            <p:spPr>
              <a:xfrm>
                <a:off x="7782403" y="3683514"/>
                <a:ext cx="186481" cy="13097"/>
              </a:xfrm>
              <a:custGeom>
                <a:avLst/>
                <a:gdLst>
                  <a:gd name="connsiteX0" fmla="*/ 179932 w 186481"/>
                  <a:gd name="connsiteY0" fmla="*/ 13097 h 13097"/>
                  <a:gd name="connsiteX1" fmla="*/ 6549 w 186481"/>
                  <a:gd name="connsiteY1" fmla="*/ 13097 h 13097"/>
                  <a:gd name="connsiteX2" fmla="*/ 0 w 186481"/>
                  <a:gd name="connsiteY2" fmla="*/ 6549 h 13097"/>
                  <a:gd name="connsiteX3" fmla="*/ 6549 w 186481"/>
                  <a:gd name="connsiteY3" fmla="*/ 0 h 13097"/>
                  <a:gd name="connsiteX4" fmla="*/ 179932 w 186481"/>
                  <a:gd name="connsiteY4" fmla="*/ 0 h 13097"/>
                  <a:gd name="connsiteX5" fmla="*/ 186481 w 186481"/>
                  <a:gd name="connsiteY5" fmla="*/ 6549 h 13097"/>
                  <a:gd name="connsiteX6" fmla="*/ 179932 w 186481"/>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481" h="13097">
                    <a:moveTo>
                      <a:pt x="179932" y="13097"/>
                    </a:moveTo>
                    <a:lnTo>
                      <a:pt x="6549" y="13097"/>
                    </a:lnTo>
                    <a:cubicBezTo>
                      <a:pt x="2939" y="13097"/>
                      <a:pt x="0" y="10158"/>
                      <a:pt x="0" y="6549"/>
                    </a:cubicBezTo>
                    <a:cubicBezTo>
                      <a:pt x="0" y="2913"/>
                      <a:pt x="2939" y="0"/>
                      <a:pt x="6549" y="0"/>
                    </a:cubicBezTo>
                    <a:lnTo>
                      <a:pt x="179932" y="0"/>
                    </a:lnTo>
                    <a:cubicBezTo>
                      <a:pt x="183568" y="0"/>
                      <a:pt x="186481" y="2939"/>
                      <a:pt x="186481" y="6549"/>
                    </a:cubicBezTo>
                    <a:cubicBezTo>
                      <a:pt x="186481" y="10184"/>
                      <a:pt x="183568" y="13097"/>
                      <a:pt x="179932" y="13097"/>
                    </a:cubicBezTo>
                    <a:close/>
                  </a:path>
                </a:pathLst>
              </a:custGeom>
              <a:solidFill>
                <a:schemeClr val="tx2"/>
              </a:solidFill>
              <a:ln w="2573" cap="flat">
                <a:noFill/>
                <a:prstDash val="solid"/>
                <a:miter/>
              </a:ln>
            </p:spPr>
            <p:txBody>
              <a:bodyPr rtlCol="0" anchor="ctr"/>
              <a:lstStyle/>
              <a:p>
                <a:endParaRPr lang="en-GB" dirty="0"/>
              </a:p>
            </p:txBody>
          </p:sp>
          <p:sp>
            <p:nvSpPr>
              <p:cNvPr id="534" name="Freihandform: Form 1103">
                <a:extLst>
                  <a:ext uri="{FF2B5EF4-FFF2-40B4-BE49-F238E27FC236}">
                    <a16:creationId xmlns:a16="http://schemas.microsoft.com/office/drawing/2014/main" id="{85EBF2F6-66A2-4E1F-A84F-0F3660D4C239}"/>
                  </a:ext>
                </a:extLst>
              </p:cNvPr>
              <p:cNvSpPr/>
              <p:nvPr/>
            </p:nvSpPr>
            <p:spPr>
              <a:xfrm>
                <a:off x="8176639" y="3483409"/>
                <a:ext cx="68134" cy="101127"/>
              </a:xfrm>
              <a:custGeom>
                <a:avLst/>
                <a:gdLst>
                  <a:gd name="connsiteX0" fmla="*/ 34080 w 68134"/>
                  <a:gd name="connsiteY0" fmla="*/ 101128 h 101127"/>
                  <a:gd name="connsiteX1" fmla="*/ 30599 w 68134"/>
                  <a:gd name="connsiteY1" fmla="*/ 100122 h 101127"/>
                  <a:gd name="connsiteX2" fmla="*/ 28511 w 68134"/>
                  <a:gd name="connsiteY2" fmla="*/ 91099 h 101127"/>
                  <a:gd name="connsiteX3" fmla="*/ 49755 w 68134"/>
                  <a:gd name="connsiteY3" fmla="*/ 57118 h 101127"/>
                  <a:gd name="connsiteX4" fmla="*/ 6545 w 68134"/>
                  <a:gd name="connsiteY4" fmla="*/ 57118 h 101127"/>
                  <a:gd name="connsiteX5" fmla="*/ 821 w 68134"/>
                  <a:gd name="connsiteY5" fmla="*/ 53741 h 101127"/>
                  <a:gd name="connsiteX6" fmla="*/ 1002 w 68134"/>
                  <a:gd name="connsiteY6" fmla="*/ 47089 h 101127"/>
                  <a:gd name="connsiteX7" fmla="*/ 28511 w 68134"/>
                  <a:gd name="connsiteY7" fmla="*/ 3079 h 101127"/>
                  <a:gd name="connsiteX8" fmla="*/ 37535 w 68134"/>
                  <a:gd name="connsiteY8" fmla="*/ 991 h 101127"/>
                  <a:gd name="connsiteX9" fmla="*/ 39623 w 68134"/>
                  <a:gd name="connsiteY9" fmla="*/ 10015 h 101127"/>
                  <a:gd name="connsiteX10" fmla="*/ 18379 w 68134"/>
                  <a:gd name="connsiteY10" fmla="*/ 43995 h 101127"/>
                  <a:gd name="connsiteX11" fmla="*/ 61589 w 68134"/>
                  <a:gd name="connsiteY11" fmla="*/ 43995 h 101127"/>
                  <a:gd name="connsiteX12" fmla="*/ 67313 w 68134"/>
                  <a:gd name="connsiteY12" fmla="*/ 47373 h 101127"/>
                  <a:gd name="connsiteX13" fmla="*/ 67132 w 68134"/>
                  <a:gd name="connsiteY13" fmla="*/ 54024 h 101127"/>
                  <a:gd name="connsiteX14" fmla="*/ 39623 w 68134"/>
                  <a:gd name="connsiteY14" fmla="*/ 98034 h 101127"/>
                  <a:gd name="connsiteX15" fmla="*/ 34080 w 68134"/>
                  <a:gd name="connsiteY15" fmla="*/ 101128 h 101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8134" h="101127">
                    <a:moveTo>
                      <a:pt x="34080" y="101128"/>
                    </a:moveTo>
                    <a:cubicBezTo>
                      <a:pt x="32894" y="101128"/>
                      <a:pt x="31682" y="100819"/>
                      <a:pt x="30599" y="100122"/>
                    </a:cubicBezTo>
                    <a:cubicBezTo>
                      <a:pt x="27531" y="98215"/>
                      <a:pt x="26603" y="94167"/>
                      <a:pt x="28511" y="91099"/>
                    </a:cubicBezTo>
                    <a:lnTo>
                      <a:pt x="49755" y="57118"/>
                    </a:lnTo>
                    <a:lnTo>
                      <a:pt x="6545" y="57118"/>
                    </a:lnTo>
                    <a:cubicBezTo>
                      <a:pt x="4173" y="57118"/>
                      <a:pt x="1956" y="55829"/>
                      <a:pt x="821" y="53741"/>
                    </a:cubicBezTo>
                    <a:cubicBezTo>
                      <a:pt x="-339" y="51652"/>
                      <a:pt x="-262" y="49126"/>
                      <a:pt x="1002" y="47089"/>
                    </a:cubicBezTo>
                    <a:lnTo>
                      <a:pt x="28511" y="3079"/>
                    </a:lnTo>
                    <a:cubicBezTo>
                      <a:pt x="30419" y="11"/>
                      <a:pt x="34467" y="-917"/>
                      <a:pt x="37535" y="991"/>
                    </a:cubicBezTo>
                    <a:cubicBezTo>
                      <a:pt x="40603" y="2899"/>
                      <a:pt x="41531" y="6947"/>
                      <a:pt x="39623" y="10015"/>
                    </a:cubicBezTo>
                    <a:lnTo>
                      <a:pt x="18379" y="43995"/>
                    </a:lnTo>
                    <a:lnTo>
                      <a:pt x="61589" y="43995"/>
                    </a:lnTo>
                    <a:cubicBezTo>
                      <a:pt x="63961" y="43995"/>
                      <a:pt x="66179" y="45284"/>
                      <a:pt x="67313" y="47373"/>
                    </a:cubicBezTo>
                    <a:cubicBezTo>
                      <a:pt x="68473" y="49461"/>
                      <a:pt x="68396" y="51988"/>
                      <a:pt x="67132" y="54024"/>
                    </a:cubicBezTo>
                    <a:lnTo>
                      <a:pt x="39623" y="98034"/>
                    </a:lnTo>
                    <a:cubicBezTo>
                      <a:pt x="38411" y="100045"/>
                      <a:pt x="36271" y="101128"/>
                      <a:pt x="34080" y="101128"/>
                    </a:cubicBezTo>
                    <a:close/>
                  </a:path>
                </a:pathLst>
              </a:custGeom>
              <a:solidFill>
                <a:schemeClr val="tx2"/>
              </a:solidFill>
              <a:ln w="2573" cap="flat">
                <a:noFill/>
                <a:prstDash val="solid"/>
                <a:miter/>
              </a:ln>
            </p:spPr>
            <p:txBody>
              <a:bodyPr rtlCol="0" anchor="ctr"/>
              <a:lstStyle/>
              <a:p>
                <a:endParaRPr lang="en-GB" dirty="0"/>
              </a:p>
            </p:txBody>
          </p:sp>
          <p:sp>
            <p:nvSpPr>
              <p:cNvPr id="535" name="Freihandform: Form 1104">
                <a:extLst>
                  <a:ext uri="{FF2B5EF4-FFF2-40B4-BE49-F238E27FC236}">
                    <a16:creationId xmlns:a16="http://schemas.microsoft.com/office/drawing/2014/main" id="{648DF533-4700-499D-BACE-CCF410ADE4C2}"/>
                  </a:ext>
                </a:extLst>
              </p:cNvPr>
              <p:cNvSpPr/>
              <p:nvPr/>
            </p:nvSpPr>
            <p:spPr>
              <a:xfrm>
                <a:off x="8125510" y="3448743"/>
                <a:ext cx="170418" cy="170418"/>
              </a:xfrm>
              <a:custGeom>
                <a:avLst/>
                <a:gdLst>
                  <a:gd name="connsiteX0" fmla="*/ 85210 w 170418"/>
                  <a:gd name="connsiteY0" fmla="*/ 170419 h 170418"/>
                  <a:gd name="connsiteX1" fmla="*/ 0 w 170418"/>
                  <a:gd name="connsiteY1" fmla="*/ 85209 h 170418"/>
                  <a:gd name="connsiteX2" fmla="*/ 85210 w 170418"/>
                  <a:gd name="connsiteY2" fmla="*/ 0 h 170418"/>
                  <a:gd name="connsiteX3" fmla="*/ 170419 w 170418"/>
                  <a:gd name="connsiteY3" fmla="*/ 85209 h 170418"/>
                  <a:gd name="connsiteX4" fmla="*/ 85210 w 170418"/>
                  <a:gd name="connsiteY4" fmla="*/ 170419 h 170418"/>
                  <a:gd name="connsiteX5" fmla="*/ 85210 w 170418"/>
                  <a:gd name="connsiteY5" fmla="*/ 13123 h 170418"/>
                  <a:gd name="connsiteX6" fmla="*/ 13123 w 170418"/>
                  <a:gd name="connsiteY6" fmla="*/ 85209 h 170418"/>
                  <a:gd name="connsiteX7" fmla="*/ 85210 w 170418"/>
                  <a:gd name="connsiteY7" fmla="*/ 157296 h 170418"/>
                  <a:gd name="connsiteX8" fmla="*/ 157296 w 170418"/>
                  <a:gd name="connsiteY8" fmla="*/ 85209 h 170418"/>
                  <a:gd name="connsiteX9" fmla="*/ 85210 w 170418"/>
                  <a:gd name="connsiteY9" fmla="*/ 13123 h 17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418" h="170418">
                    <a:moveTo>
                      <a:pt x="85210" y="170419"/>
                    </a:moveTo>
                    <a:cubicBezTo>
                      <a:pt x="38235" y="170419"/>
                      <a:pt x="0" y="132184"/>
                      <a:pt x="0" y="85209"/>
                    </a:cubicBezTo>
                    <a:cubicBezTo>
                      <a:pt x="0" y="38235"/>
                      <a:pt x="38235" y="0"/>
                      <a:pt x="85210" y="0"/>
                    </a:cubicBezTo>
                    <a:cubicBezTo>
                      <a:pt x="132184" y="0"/>
                      <a:pt x="170419" y="38235"/>
                      <a:pt x="170419" y="85209"/>
                    </a:cubicBezTo>
                    <a:cubicBezTo>
                      <a:pt x="170419" y="132184"/>
                      <a:pt x="132184" y="170419"/>
                      <a:pt x="85210" y="170419"/>
                    </a:cubicBezTo>
                    <a:close/>
                    <a:moveTo>
                      <a:pt x="85210" y="13123"/>
                    </a:moveTo>
                    <a:cubicBezTo>
                      <a:pt x="45454" y="13123"/>
                      <a:pt x="13123" y="45454"/>
                      <a:pt x="13123" y="85209"/>
                    </a:cubicBezTo>
                    <a:cubicBezTo>
                      <a:pt x="13123" y="124965"/>
                      <a:pt x="45454" y="157296"/>
                      <a:pt x="85210" y="157296"/>
                    </a:cubicBezTo>
                    <a:cubicBezTo>
                      <a:pt x="124965" y="157296"/>
                      <a:pt x="157296" y="124965"/>
                      <a:pt x="157296" y="85209"/>
                    </a:cubicBezTo>
                    <a:cubicBezTo>
                      <a:pt x="157322" y="45479"/>
                      <a:pt x="124965" y="13123"/>
                      <a:pt x="85210" y="13123"/>
                    </a:cubicBezTo>
                    <a:close/>
                  </a:path>
                </a:pathLst>
              </a:custGeom>
              <a:solidFill>
                <a:schemeClr val="tx2"/>
              </a:solidFill>
              <a:ln w="2573" cap="flat">
                <a:noFill/>
                <a:prstDash val="solid"/>
                <a:miter/>
              </a:ln>
            </p:spPr>
            <p:txBody>
              <a:bodyPr rtlCol="0" anchor="ctr"/>
              <a:lstStyle/>
              <a:p>
                <a:endParaRPr lang="en-GB" dirty="0"/>
              </a:p>
            </p:txBody>
          </p:sp>
          <p:sp>
            <p:nvSpPr>
              <p:cNvPr id="536" name="Freihandform: Form 1110">
                <a:extLst>
                  <a:ext uri="{FF2B5EF4-FFF2-40B4-BE49-F238E27FC236}">
                    <a16:creationId xmlns:a16="http://schemas.microsoft.com/office/drawing/2014/main" id="{77D872DA-4B87-45BD-B42C-99F2AF0BDD8E}"/>
                  </a:ext>
                </a:extLst>
              </p:cNvPr>
              <p:cNvSpPr/>
              <p:nvPr/>
            </p:nvSpPr>
            <p:spPr>
              <a:xfrm>
                <a:off x="7760128" y="3379312"/>
                <a:ext cx="234306" cy="42978"/>
              </a:xfrm>
              <a:custGeom>
                <a:avLst/>
                <a:gdLst>
                  <a:gd name="connsiteX0" fmla="*/ 227758 w 234306"/>
                  <a:gd name="connsiteY0" fmla="*/ 42978 h 42978"/>
                  <a:gd name="connsiteX1" fmla="*/ 221209 w 234306"/>
                  <a:gd name="connsiteY1" fmla="*/ 36430 h 42978"/>
                  <a:gd name="connsiteX2" fmla="*/ 221209 w 234306"/>
                  <a:gd name="connsiteY2" fmla="*/ 25421 h 42978"/>
                  <a:gd name="connsiteX3" fmla="*/ 208886 w 234306"/>
                  <a:gd name="connsiteY3" fmla="*/ 13097 h 42978"/>
                  <a:gd name="connsiteX4" fmla="*/ 25421 w 234306"/>
                  <a:gd name="connsiteY4" fmla="*/ 13097 h 42978"/>
                  <a:gd name="connsiteX5" fmla="*/ 13097 w 234306"/>
                  <a:gd name="connsiteY5" fmla="*/ 25421 h 42978"/>
                  <a:gd name="connsiteX6" fmla="*/ 13097 w 234306"/>
                  <a:gd name="connsiteY6" fmla="*/ 36430 h 42978"/>
                  <a:gd name="connsiteX7" fmla="*/ 6549 w 234306"/>
                  <a:gd name="connsiteY7" fmla="*/ 42978 h 42978"/>
                  <a:gd name="connsiteX8" fmla="*/ 0 w 234306"/>
                  <a:gd name="connsiteY8" fmla="*/ 36430 h 42978"/>
                  <a:gd name="connsiteX9" fmla="*/ 0 w 234306"/>
                  <a:gd name="connsiteY9" fmla="*/ 25421 h 42978"/>
                  <a:gd name="connsiteX10" fmla="*/ 25421 w 234306"/>
                  <a:gd name="connsiteY10" fmla="*/ 0 h 42978"/>
                  <a:gd name="connsiteX11" fmla="*/ 208886 w 234306"/>
                  <a:gd name="connsiteY11" fmla="*/ 0 h 42978"/>
                  <a:gd name="connsiteX12" fmla="*/ 234307 w 234306"/>
                  <a:gd name="connsiteY12" fmla="*/ 25421 h 42978"/>
                  <a:gd name="connsiteX13" fmla="*/ 234307 w 234306"/>
                  <a:gd name="connsiteY13" fmla="*/ 36430 h 42978"/>
                  <a:gd name="connsiteX14" fmla="*/ 227758 w 234306"/>
                  <a:gd name="connsiteY14" fmla="*/ 42978 h 42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306" h="42978">
                    <a:moveTo>
                      <a:pt x="227758" y="42978"/>
                    </a:moveTo>
                    <a:cubicBezTo>
                      <a:pt x="224122" y="42978"/>
                      <a:pt x="221209" y="40039"/>
                      <a:pt x="221209" y="36430"/>
                    </a:cubicBezTo>
                    <a:lnTo>
                      <a:pt x="221209" y="25421"/>
                    </a:lnTo>
                    <a:cubicBezTo>
                      <a:pt x="221209" y="18640"/>
                      <a:pt x="215692" y="13097"/>
                      <a:pt x="208886" y="13097"/>
                    </a:cubicBezTo>
                    <a:lnTo>
                      <a:pt x="25421" y="13097"/>
                    </a:lnTo>
                    <a:cubicBezTo>
                      <a:pt x="18640" y="13097"/>
                      <a:pt x="13097" y="18615"/>
                      <a:pt x="13097" y="25421"/>
                    </a:cubicBezTo>
                    <a:lnTo>
                      <a:pt x="13097" y="36430"/>
                    </a:lnTo>
                    <a:cubicBezTo>
                      <a:pt x="13097" y="40065"/>
                      <a:pt x="10158" y="42978"/>
                      <a:pt x="6549" y="42978"/>
                    </a:cubicBezTo>
                    <a:cubicBezTo>
                      <a:pt x="2939" y="42978"/>
                      <a:pt x="0" y="40039"/>
                      <a:pt x="0" y="36430"/>
                    </a:cubicBezTo>
                    <a:lnTo>
                      <a:pt x="0" y="25421"/>
                    </a:lnTo>
                    <a:cubicBezTo>
                      <a:pt x="0" y="11396"/>
                      <a:pt x="11396" y="0"/>
                      <a:pt x="25421" y="0"/>
                    </a:cubicBezTo>
                    <a:lnTo>
                      <a:pt x="208886" y="0"/>
                    </a:lnTo>
                    <a:cubicBezTo>
                      <a:pt x="222911" y="0"/>
                      <a:pt x="234307" y="11396"/>
                      <a:pt x="234307" y="25421"/>
                    </a:cubicBezTo>
                    <a:lnTo>
                      <a:pt x="234307" y="36430"/>
                    </a:lnTo>
                    <a:cubicBezTo>
                      <a:pt x="234307" y="40039"/>
                      <a:pt x="231393" y="42978"/>
                      <a:pt x="227758" y="42978"/>
                    </a:cubicBezTo>
                    <a:close/>
                  </a:path>
                </a:pathLst>
              </a:custGeom>
              <a:solidFill>
                <a:schemeClr val="tx2"/>
              </a:solidFill>
              <a:ln w="2573" cap="flat">
                <a:noFill/>
                <a:prstDash val="solid"/>
                <a:miter/>
              </a:ln>
            </p:spPr>
            <p:txBody>
              <a:bodyPr rtlCol="0" anchor="ctr"/>
              <a:lstStyle/>
              <a:p>
                <a:endParaRPr lang="en-GB" dirty="0"/>
              </a:p>
            </p:txBody>
          </p:sp>
          <p:sp>
            <p:nvSpPr>
              <p:cNvPr id="537" name="Freihandform: Form 1111">
                <a:extLst>
                  <a:ext uri="{FF2B5EF4-FFF2-40B4-BE49-F238E27FC236}">
                    <a16:creationId xmlns:a16="http://schemas.microsoft.com/office/drawing/2014/main" id="{7D046A76-A546-48B7-AD61-B71BDDFFE6E7}"/>
                  </a:ext>
                </a:extLst>
              </p:cNvPr>
              <p:cNvSpPr/>
              <p:nvPr/>
            </p:nvSpPr>
            <p:spPr>
              <a:xfrm>
                <a:off x="7837861" y="3355361"/>
                <a:ext cx="78866" cy="37023"/>
              </a:xfrm>
              <a:custGeom>
                <a:avLst/>
                <a:gdLst>
                  <a:gd name="connsiteX0" fmla="*/ 72318 w 78866"/>
                  <a:gd name="connsiteY0" fmla="*/ 37023 h 37023"/>
                  <a:gd name="connsiteX1" fmla="*/ 6548 w 78866"/>
                  <a:gd name="connsiteY1" fmla="*/ 37023 h 37023"/>
                  <a:gd name="connsiteX2" fmla="*/ 0 w 78866"/>
                  <a:gd name="connsiteY2" fmla="*/ 30474 h 37023"/>
                  <a:gd name="connsiteX3" fmla="*/ 0 w 78866"/>
                  <a:gd name="connsiteY3" fmla="*/ 16836 h 37023"/>
                  <a:gd name="connsiteX4" fmla="*/ 16835 w 78866"/>
                  <a:gd name="connsiteY4" fmla="*/ 0 h 37023"/>
                  <a:gd name="connsiteX5" fmla="*/ 62031 w 78866"/>
                  <a:gd name="connsiteY5" fmla="*/ 0 h 37023"/>
                  <a:gd name="connsiteX6" fmla="*/ 78867 w 78866"/>
                  <a:gd name="connsiteY6" fmla="*/ 16836 h 37023"/>
                  <a:gd name="connsiteX7" fmla="*/ 78867 w 78866"/>
                  <a:gd name="connsiteY7" fmla="*/ 30474 h 37023"/>
                  <a:gd name="connsiteX8" fmla="*/ 72318 w 78866"/>
                  <a:gd name="connsiteY8" fmla="*/ 37023 h 37023"/>
                  <a:gd name="connsiteX9" fmla="*/ 13097 w 78866"/>
                  <a:gd name="connsiteY9" fmla="*/ 23926 h 37023"/>
                  <a:gd name="connsiteX10" fmla="*/ 65744 w 78866"/>
                  <a:gd name="connsiteY10" fmla="*/ 23926 h 37023"/>
                  <a:gd name="connsiteX11" fmla="*/ 65744 w 78866"/>
                  <a:gd name="connsiteY11" fmla="*/ 16862 h 37023"/>
                  <a:gd name="connsiteX12" fmla="*/ 62031 w 78866"/>
                  <a:gd name="connsiteY12" fmla="*/ 13123 h 37023"/>
                  <a:gd name="connsiteX13" fmla="*/ 16835 w 78866"/>
                  <a:gd name="connsiteY13" fmla="*/ 13123 h 37023"/>
                  <a:gd name="connsiteX14" fmla="*/ 13123 w 78866"/>
                  <a:gd name="connsiteY14" fmla="*/ 16862 h 37023"/>
                  <a:gd name="connsiteX15" fmla="*/ 13123 w 78866"/>
                  <a:gd name="connsiteY15" fmla="*/ 23926 h 37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866" h="37023">
                    <a:moveTo>
                      <a:pt x="72318" y="37023"/>
                    </a:moveTo>
                    <a:lnTo>
                      <a:pt x="6548" y="37023"/>
                    </a:lnTo>
                    <a:cubicBezTo>
                      <a:pt x="2913" y="37023"/>
                      <a:pt x="0" y="34084"/>
                      <a:pt x="0" y="30474"/>
                    </a:cubicBezTo>
                    <a:lnTo>
                      <a:pt x="0" y="16836"/>
                    </a:lnTo>
                    <a:cubicBezTo>
                      <a:pt x="0" y="7554"/>
                      <a:pt x="7554" y="0"/>
                      <a:pt x="16835" y="0"/>
                    </a:cubicBezTo>
                    <a:lnTo>
                      <a:pt x="62031" y="0"/>
                    </a:lnTo>
                    <a:cubicBezTo>
                      <a:pt x="71313" y="0"/>
                      <a:pt x="78867" y="7554"/>
                      <a:pt x="78867" y="16836"/>
                    </a:cubicBezTo>
                    <a:lnTo>
                      <a:pt x="78867" y="30474"/>
                    </a:lnTo>
                    <a:cubicBezTo>
                      <a:pt x="78867" y="34110"/>
                      <a:pt x="75928" y="37023"/>
                      <a:pt x="72318" y="37023"/>
                    </a:cubicBezTo>
                    <a:close/>
                    <a:moveTo>
                      <a:pt x="13097" y="23926"/>
                    </a:moveTo>
                    <a:lnTo>
                      <a:pt x="65744" y="23926"/>
                    </a:lnTo>
                    <a:lnTo>
                      <a:pt x="65744" y="16862"/>
                    </a:lnTo>
                    <a:cubicBezTo>
                      <a:pt x="65744" y="14799"/>
                      <a:pt x="64068" y="13123"/>
                      <a:pt x="62031" y="13123"/>
                    </a:cubicBezTo>
                    <a:lnTo>
                      <a:pt x="16835" y="13123"/>
                    </a:lnTo>
                    <a:cubicBezTo>
                      <a:pt x="14773" y="13123"/>
                      <a:pt x="13123" y="14799"/>
                      <a:pt x="13123" y="16862"/>
                    </a:cubicBezTo>
                    <a:lnTo>
                      <a:pt x="13123" y="23926"/>
                    </a:lnTo>
                    <a:close/>
                  </a:path>
                </a:pathLst>
              </a:custGeom>
              <a:solidFill>
                <a:schemeClr val="tx2"/>
              </a:solidFill>
              <a:ln w="2573" cap="flat">
                <a:noFill/>
                <a:prstDash val="solid"/>
                <a:miter/>
              </a:ln>
            </p:spPr>
            <p:txBody>
              <a:bodyPr rtlCol="0" anchor="ctr"/>
              <a:lstStyle/>
              <a:p>
                <a:endParaRPr lang="en-GB" dirty="0"/>
              </a:p>
            </p:txBody>
          </p:sp>
        </p:grpSp>
      </p:grpSp>
      <p:grpSp>
        <p:nvGrpSpPr>
          <p:cNvPr id="541" name="Group 540">
            <a:extLst>
              <a:ext uri="{FF2B5EF4-FFF2-40B4-BE49-F238E27FC236}">
                <a16:creationId xmlns:a16="http://schemas.microsoft.com/office/drawing/2014/main" id="{CC4AF309-E353-4E0B-AFB0-BE5D0751934B}"/>
              </a:ext>
            </a:extLst>
          </p:cNvPr>
          <p:cNvGrpSpPr>
            <a:grpSpLocks noChangeAspect="1"/>
          </p:cNvGrpSpPr>
          <p:nvPr/>
        </p:nvGrpSpPr>
        <p:grpSpPr>
          <a:xfrm>
            <a:off x="6023055" y="3197067"/>
            <a:ext cx="415178" cy="431996"/>
            <a:chOff x="5294188" y="4051762"/>
            <a:chExt cx="484980" cy="504626"/>
          </a:xfrm>
        </p:grpSpPr>
        <p:grpSp>
          <p:nvGrpSpPr>
            <p:cNvPr id="542" name="Group 541">
              <a:extLst>
                <a:ext uri="{FF2B5EF4-FFF2-40B4-BE49-F238E27FC236}">
                  <a16:creationId xmlns:a16="http://schemas.microsoft.com/office/drawing/2014/main" id="{D5F4A8AA-7999-4FE9-B701-9C3682022562}"/>
                </a:ext>
              </a:extLst>
            </p:cNvPr>
            <p:cNvGrpSpPr/>
            <p:nvPr/>
          </p:nvGrpSpPr>
          <p:grpSpPr>
            <a:xfrm>
              <a:off x="5444959" y="4051762"/>
              <a:ext cx="301232" cy="294893"/>
              <a:chOff x="5444959" y="4051758"/>
              <a:chExt cx="301231" cy="294893"/>
            </a:xfrm>
            <a:solidFill>
              <a:schemeClr val="accent1"/>
            </a:solidFill>
          </p:grpSpPr>
          <p:grpSp>
            <p:nvGrpSpPr>
              <p:cNvPr id="551" name="Group 550">
                <a:extLst>
                  <a:ext uri="{FF2B5EF4-FFF2-40B4-BE49-F238E27FC236}">
                    <a16:creationId xmlns:a16="http://schemas.microsoft.com/office/drawing/2014/main" id="{8F67FC60-5154-44FC-AB50-4DF62D11DD6A}"/>
                  </a:ext>
                </a:extLst>
              </p:cNvPr>
              <p:cNvGrpSpPr/>
              <p:nvPr/>
            </p:nvGrpSpPr>
            <p:grpSpPr>
              <a:xfrm>
                <a:off x="5444959" y="4195956"/>
                <a:ext cx="183490" cy="150695"/>
                <a:chOff x="5444959" y="4195956"/>
                <a:chExt cx="183490" cy="150695"/>
              </a:xfrm>
              <a:solidFill>
                <a:schemeClr val="accent1"/>
              </a:solidFill>
            </p:grpSpPr>
            <p:sp>
              <p:nvSpPr>
                <p:cNvPr id="558" name="Freihandform: Form 986">
                  <a:extLst>
                    <a:ext uri="{FF2B5EF4-FFF2-40B4-BE49-F238E27FC236}">
                      <a16:creationId xmlns:a16="http://schemas.microsoft.com/office/drawing/2014/main" id="{F9D57E47-008A-4C21-A427-377FF534288C}"/>
                    </a:ext>
                  </a:extLst>
                </p:cNvPr>
                <p:cNvSpPr/>
                <p:nvPr/>
              </p:nvSpPr>
              <p:spPr>
                <a:xfrm>
                  <a:off x="5444959" y="4195956"/>
                  <a:ext cx="78609" cy="65511"/>
                </a:xfrm>
                <a:custGeom>
                  <a:avLst/>
                  <a:gdLst>
                    <a:gd name="connsiteX0" fmla="*/ 58963 w 78609"/>
                    <a:gd name="connsiteY0" fmla="*/ 65512 h 65511"/>
                    <a:gd name="connsiteX1" fmla="*/ 19646 w 78609"/>
                    <a:gd name="connsiteY1" fmla="*/ 65512 h 65511"/>
                    <a:gd name="connsiteX2" fmla="*/ 15005 w 78609"/>
                    <a:gd name="connsiteY2" fmla="*/ 63604 h 65511"/>
                    <a:gd name="connsiteX3" fmla="*/ 1908 w 78609"/>
                    <a:gd name="connsiteY3" fmla="*/ 50507 h 65511"/>
                    <a:gd name="connsiteX4" fmla="*/ 0 w 78609"/>
                    <a:gd name="connsiteY4" fmla="*/ 45866 h 65511"/>
                    <a:gd name="connsiteX5" fmla="*/ 0 w 78609"/>
                    <a:gd name="connsiteY5" fmla="*/ 19646 h 65511"/>
                    <a:gd name="connsiteX6" fmla="*/ 1908 w 78609"/>
                    <a:gd name="connsiteY6" fmla="*/ 15005 h 65511"/>
                    <a:gd name="connsiteX7" fmla="*/ 15005 w 78609"/>
                    <a:gd name="connsiteY7" fmla="*/ 1908 h 65511"/>
                    <a:gd name="connsiteX8" fmla="*/ 19646 w 78609"/>
                    <a:gd name="connsiteY8" fmla="*/ 0 h 65511"/>
                    <a:gd name="connsiteX9" fmla="*/ 58963 w 78609"/>
                    <a:gd name="connsiteY9" fmla="*/ 0 h 65511"/>
                    <a:gd name="connsiteX10" fmla="*/ 63604 w 78609"/>
                    <a:gd name="connsiteY10" fmla="*/ 1908 h 65511"/>
                    <a:gd name="connsiteX11" fmla="*/ 76701 w 78609"/>
                    <a:gd name="connsiteY11" fmla="*/ 15005 h 65511"/>
                    <a:gd name="connsiteX12" fmla="*/ 78609 w 78609"/>
                    <a:gd name="connsiteY12" fmla="*/ 19646 h 65511"/>
                    <a:gd name="connsiteX13" fmla="*/ 78609 w 78609"/>
                    <a:gd name="connsiteY13" fmla="*/ 45866 h 65511"/>
                    <a:gd name="connsiteX14" fmla="*/ 76701 w 78609"/>
                    <a:gd name="connsiteY14" fmla="*/ 50507 h 65511"/>
                    <a:gd name="connsiteX15" fmla="*/ 63604 w 78609"/>
                    <a:gd name="connsiteY15" fmla="*/ 63604 h 65511"/>
                    <a:gd name="connsiteX16" fmla="*/ 58963 w 78609"/>
                    <a:gd name="connsiteY16" fmla="*/ 65512 h 65511"/>
                    <a:gd name="connsiteX17" fmla="*/ 22353 w 78609"/>
                    <a:gd name="connsiteY17" fmla="*/ 52389 h 65511"/>
                    <a:gd name="connsiteX18" fmla="*/ 56256 w 78609"/>
                    <a:gd name="connsiteY18" fmla="*/ 52389 h 65511"/>
                    <a:gd name="connsiteX19" fmla="*/ 65512 w 78609"/>
                    <a:gd name="connsiteY19" fmla="*/ 43133 h 65511"/>
                    <a:gd name="connsiteX20" fmla="*/ 65512 w 78609"/>
                    <a:gd name="connsiteY20" fmla="*/ 22353 h 65511"/>
                    <a:gd name="connsiteX21" fmla="*/ 56256 w 78609"/>
                    <a:gd name="connsiteY21" fmla="*/ 13097 h 65511"/>
                    <a:gd name="connsiteX22" fmla="*/ 22353 w 78609"/>
                    <a:gd name="connsiteY22" fmla="*/ 13097 h 65511"/>
                    <a:gd name="connsiteX23" fmla="*/ 13097 w 78609"/>
                    <a:gd name="connsiteY23" fmla="*/ 22353 h 65511"/>
                    <a:gd name="connsiteX24" fmla="*/ 13097 w 78609"/>
                    <a:gd name="connsiteY24" fmla="*/ 43133 h 65511"/>
                    <a:gd name="connsiteX25" fmla="*/ 22353 w 78609"/>
                    <a:gd name="connsiteY25" fmla="*/ 52389 h 6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609" h="65511">
                      <a:moveTo>
                        <a:pt x="58963" y="65512"/>
                      </a:moveTo>
                      <a:lnTo>
                        <a:pt x="19646" y="65512"/>
                      </a:lnTo>
                      <a:cubicBezTo>
                        <a:pt x="17918" y="65512"/>
                        <a:pt x="16243" y="64816"/>
                        <a:pt x="15005" y="63604"/>
                      </a:cubicBezTo>
                      <a:lnTo>
                        <a:pt x="1908" y="50507"/>
                      </a:lnTo>
                      <a:cubicBezTo>
                        <a:pt x="670" y="49269"/>
                        <a:pt x="0" y="47619"/>
                        <a:pt x="0" y="45866"/>
                      </a:cubicBezTo>
                      <a:lnTo>
                        <a:pt x="0" y="19646"/>
                      </a:lnTo>
                      <a:cubicBezTo>
                        <a:pt x="0" y="17893"/>
                        <a:pt x="696" y="16243"/>
                        <a:pt x="1908" y="15005"/>
                      </a:cubicBezTo>
                      <a:lnTo>
                        <a:pt x="15005" y="1908"/>
                      </a:lnTo>
                      <a:cubicBezTo>
                        <a:pt x="16243" y="670"/>
                        <a:pt x="17893" y="0"/>
                        <a:pt x="19646" y="0"/>
                      </a:cubicBezTo>
                      <a:lnTo>
                        <a:pt x="58963" y="0"/>
                      </a:lnTo>
                      <a:cubicBezTo>
                        <a:pt x="60691" y="0"/>
                        <a:pt x="62367" y="696"/>
                        <a:pt x="63604" y="1908"/>
                      </a:cubicBezTo>
                      <a:lnTo>
                        <a:pt x="76701" y="15005"/>
                      </a:lnTo>
                      <a:cubicBezTo>
                        <a:pt x="77939" y="16243"/>
                        <a:pt x="78609" y="17893"/>
                        <a:pt x="78609" y="19646"/>
                      </a:cubicBezTo>
                      <a:lnTo>
                        <a:pt x="78609" y="45866"/>
                      </a:lnTo>
                      <a:cubicBezTo>
                        <a:pt x="78609" y="47619"/>
                        <a:pt x="77913" y="49269"/>
                        <a:pt x="76701" y="50507"/>
                      </a:cubicBezTo>
                      <a:lnTo>
                        <a:pt x="63604" y="63604"/>
                      </a:lnTo>
                      <a:cubicBezTo>
                        <a:pt x="62392" y="64816"/>
                        <a:pt x="60717" y="65512"/>
                        <a:pt x="58963" y="65512"/>
                      </a:cubicBezTo>
                      <a:close/>
                      <a:moveTo>
                        <a:pt x="22353" y="52389"/>
                      </a:moveTo>
                      <a:lnTo>
                        <a:pt x="56256" y="52389"/>
                      </a:lnTo>
                      <a:lnTo>
                        <a:pt x="65512" y="43133"/>
                      </a:lnTo>
                      <a:lnTo>
                        <a:pt x="65512" y="22353"/>
                      </a:lnTo>
                      <a:lnTo>
                        <a:pt x="56256" y="13097"/>
                      </a:lnTo>
                      <a:lnTo>
                        <a:pt x="22353" y="13097"/>
                      </a:lnTo>
                      <a:lnTo>
                        <a:pt x="13097" y="22353"/>
                      </a:lnTo>
                      <a:lnTo>
                        <a:pt x="13097" y="43133"/>
                      </a:lnTo>
                      <a:lnTo>
                        <a:pt x="22353" y="52389"/>
                      </a:lnTo>
                      <a:close/>
                    </a:path>
                  </a:pathLst>
                </a:custGeom>
                <a:solidFill>
                  <a:schemeClr val="accent1"/>
                </a:solidFill>
                <a:ln w="2573" cap="flat">
                  <a:noFill/>
                  <a:prstDash val="solid"/>
                  <a:miter/>
                </a:ln>
              </p:spPr>
              <p:txBody>
                <a:bodyPr rtlCol="0" anchor="ctr"/>
                <a:lstStyle/>
                <a:p>
                  <a:endParaRPr lang="en-GB" dirty="0"/>
                </a:p>
              </p:txBody>
            </p:sp>
            <p:sp>
              <p:nvSpPr>
                <p:cNvPr id="559" name="Freihandform: Form 987">
                  <a:extLst>
                    <a:ext uri="{FF2B5EF4-FFF2-40B4-BE49-F238E27FC236}">
                      <a16:creationId xmlns:a16="http://schemas.microsoft.com/office/drawing/2014/main" id="{D81CF949-6D68-4897-A4A9-77AE0F730515}"/>
                    </a:ext>
                  </a:extLst>
                </p:cNvPr>
                <p:cNvSpPr/>
                <p:nvPr/>
              </p:nvSpPr>
              <p:spPr>
                <a:xfrm>
                  <a:off x="5549840" y="4195956"/>
                  <a:ext cx="78609" cy="65511"/>
                </a:xfrm>
                <a:custGeom>
                  <a:avLst/>
                  <a:gdLst>
                    <a:gd name="connsiteX0" fmla="*/ 58963 w 78609"/>
                    <a:gd name="connsiteY0" fmla="*/ 65512 h 65511"/>
                    <a:gd name="connsiteX1" fmla="*/ 19646 w 78609"/>
                    <a:gd name="connsiteY1" fmla="*/ 65512 h 65511"/>
                    <a:gd name="connsiteX2" fmla="*/ 15005 w 78609"/>
                    <a:gd name="connsiteY2" fmla="*/ 63604 h 65511"/>
                    <a:gd name="connsiteX3" fmla="*/ 1908 w 78609"/>
                    <a:gd name="connsiteY3" fmla="*/ 50507 h 65511"/>
                    <a:gd name="connsiteX4" fmla="*/ 0 w 78609"/>
                    <a:gd name="connsiteY4" fmla="*/ 45866 h 65511"/>
                    <a:gd name="connsiteX5" fmla="*/ 0 w 78609"/>
                    <a:gd name="connsiteY5" fmla="*/ 19646 h 65511"/>
                    <a:gd name="connsiteX6" fmla="*/ 1908 w 78609"/>
                    <a:gd name="connsiteY6" fmla="*/ 15005 h 65511"/>
                    <a:gd name="connsiteX7" fmla="*/ 15005 w 78609"/>
                    <a:gd name="connsiteY7" fmla="*/ 1908 h 65511"/>
                    <a:gd name="connsiteX8" fmla="*/ 19646 w 78609"/>
                    <a:gd name="connsiteY8" fmla="*/ 0 h 65511"/>
                    <a:gd name="connsiteX9" fmla="*/ 58963 w 78609"/>
                    <a:gd name="connsiteY9" fmla="*/ 0 h 65511"/>
                    <a:gd name="connsiteX10" fmla="*/ 63604 w 78609"/>
                    <a:gd name="connsiteY10" fmla="*/ 1908 h 65511"/>
                    <a:gd name="connsiteX11" fmla="*/ 76701 w 78609"/>
                    <a:gd name="connsiteY11" fmla="*/ 15005 h 65511"/>
                    <a:gd name="connsiteX12" fmla="*/ 78609 w 78609"/>
                    <a:gd name="connsiteY12" fmla="*/ 19646 h 65511"/>
                    <a:gd name="connsiteX13" fmla="*/ 78609 w 78609"/>
                    <a:gd name="connsiteY13" fmla="*/ 45866 h 65511"/>
                    <a:gd name="connsiteX14" fmla="*/ 76701 w 78609"/>
                    <a:gd name="connsiteY14" fmla="*/ 50507 h 65511"/>
                    <a:gd name="connsiteX15" fmla="*/ 63604 w 78609"/>
                    <a:gd name="connsiteY15" fmla="*/ 63604 h 65511"/>
                    <a:gd name="connsiteX16" fmla="*/ 58963 w 78609"/>
                    <a:gd name="connsiteY16" fmla="*/ 65512 h 65511"/>
                    <a:gd name="connsiteX17" fmla="*/ 22353 w 78609"/>
                    <a:gd name="connsiteY17" fmla="*/ 52389 h 65511"/>
                    <a:gd name="connsiteX18" fmla="*/ 56256 w 78609"/>
                    <a:gd name="connsiteY18" fmla="*/ 52389 h 65511"/>
                    <a:gd name="connsiteX19" fmla="*/ 65512 w 78609"/>
                    <a:gd name="connsiteY19" fmla="*/ 43133 h 65511"/>
                    <a:gd name="connsiteX20" fmla="*/ 65512 w 78609"/>
                    <a:gd name="connsiteY20" fmla="*/ 22353 h 65511"/>
                    <a:gd name="connsiteX21" fmla="*/ 56256 w 78609"/>
                    <a:gd name="connsiteY21" fmla="*/ 13097 h 65511"/>
                    <a:gd name="connsiteX22" fmla="*/ 22353 w 78609"/>
                    <a:gd name="connsiteY22" fmla="*/ 13097 h 65511"/>
                    <a:gd name="connsiteX23" fmla="*/ 13097 w 78609"/>
                    <a:gd name="connsiteY23" fmla="*/ 22353 h 65511"/>
                    <a:gd name="connsiteX24" fmla="*/ 13097 w 78609"/>
                    <a:gd name="connsiteY24" fmla="*/ 43133 h 65511"/>
                    <a:gd name="connsiteX25" fmla="*/ 22353 w 78609"/>
                    <a:gd name="connsiteY25" fmla="*/ 52389 h 6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609" h="65511">
                      <a:moveTo>
                        <a:pt x="58963" y="65512"/>
                      </a:moveTo>
                      <a:lnTo>
                        <a:pt x="19646" y="65512"/>
                      </a:lnTo>
                      <a:cubicBezTo>
                        <a:pt x="17918" y="65512"/>
                        <a:pt x="16243" y="64816"/>
                        <a:pt x="15005" y="63604"/>
                      </a:cubicBezTo>
                      <a:lnTo>
                        <a:pt x="1908" y="50507"/>
                      </a:lnTo>
                      <a:cubicBezTo>
                        <a:pt x="670" y="49269"/>
                        <a:pt x="0" y="47619"/>
                        <a:pt x="0" y="45866"/>
                      </a:cubicBezTo>
                      <a:lnTo>
                        <a:pt x="0" y="19646"/>
                      </a:lnTo>
                      <a:cubicBezTo>
                        <a:pt x="0" y="17893"/>
                        <a:pt x="696" y="16243"/>
                        <a:pt x="1908" y="15005"/>
                      </a:cubicBezTo>
                      <a:lnTo>
                        <a:pt x="15005" y="1908"/>
                      </a:lnTo>
                      <a:cubicBezTo>
                        <a:pt x="16243" y="670"/>
                        <a:pt x="17893" y="0"/>
                        <a:pt x="19646" y="0"/>
                      </a:cubicBezTo>
                      <a:lnTo>
                        <a:pt x="58963" y="0"/>
                      </a:lnTo>
                      <a:cubicBezTo>
                        <a:pt x="60691" y="0"/>
                        <a:pt x="62367" y="696"/>
                        <a:pt x="63604" y="1908"/>
                      </a:cubicBezTo>
                      <a:lnTo>
                        <a:pt x="76701" y="15005"/>
                      </a:lnTo>
                      <a:cubicBezTo>
                        <a:pt x="77939" y="16243"/>
                        <a:pt x="78609" y="17893"/>
                        <a:pt x="78609" y="19646"/>
                      </a:cubicBezTo>
                      <a:lnTo>
                        <a:pt x="78609" y="45866"/>
                      </a:lnTo>
                      <a:cubicBezTo>
                        <a:pt x="78609" y="47619"/>
                        <a:pt x="77913" y="49269"/>
                        <a:pt x="76701" y="50507"/>
                      </a:cubicBezTo>
                      <a:lnTo>
                        <a:pt x="63604" y="63604"/>
                      </a:lnTo>
                      <a:cubicBezTo>
                        <a:pt x="62367" y="64816"/>
                        <a:pt x="60691" y="65512"/>
                        <a:pt x="58963" y="65512"/>
                      </a:cubicBezTo>
                      <a:close/>
                      <a:moveTo>
                        <a:pt x="22353" y="52389"/>
                      </a:moveTo>
                      <a:lnTo>
                        <a:pt x="56256" y="52389"/>
                      </a:lnTo>
                      <a:lnTo>
                        <a:pt x="65512" y="43133"/>
                      </a:lnTo>
                      <a:lnTo>
                        <a:pt x="65512" y="22353"/>
                      </a:lnTo>
                      <a:lnTo>
                        <a:pt x="56256" y="13097"/>
                      </a:lnTo>
                      <a:lnTo>
                        <a:pt x="22353" y="13097"/>
                      </a:lnTo>
                      <a:lnTo>
                        <a:pt x="13097" y="22353"/>
                      </a:lnTo>
                      <a:lnTo>
                        <a:pt x="13097" y="43133"/>
                      </a:lnTo>
                      <a:lnTo>
                        <a:pt x="22353" y="52389"/>
                      </a:lnTo>
                      <a:close/>
                    </a:path>
                  </a:pathLst>
                </a:custGeom>
                <a:solidFill>
                  <a:schemeClr val="accent1"/>
                </a:solidFill>
                <a:ln w="2573" cap="flat">
                  <a:noFill/>
                  <a:prstDash val="solid"/>
                  <a:miter/>
                </a:ln>
              </p:spPr>
              <p:txBody>
                <a:bodyPr rtlCol="0" anchor="ctr"/>
                <a:lstStyle/>
                <a:p>
                  <a:endParaRPr lang="en-GB" dirty="0"/>
                </a:p>
              </p:txBody>
            </p:sp>
            <p:sp>
              <p:nvSpPr>
                <p:cNvPr id="560" name="Freihandform: Form 988">
                  <a:extLst>
                    <a:ext uri="{FF2B5EF4-FFF2-40B4-BE49-F238E27FC236}">
                      <a16:creationId xmlns:a16="http://schemas.microsoft.com/office/drawing/2014/main" id="{AD2AD28F-3460-422C-9BB4-EA90150A7411}"/>
                    </a:ext>
                  </a:extLst>
                </p:cNvPr>
                <p:cNvSpPr/>
                <p:nvPr/>
              </p:nvSpPr>
              <p:spPr>
                <a:xfrm>
                  <a:off x="5444959" y="4281140"/>
                  <a:ext cx="78609" cy="65511"/>
                </a:xfrm>
                <a:custGeom>
                  <a:avLst/>
                  <a:gdLst>
                    <a:gd name="connsiteX0" fmla="*/ 58963 w 78609"/>
                    <a:gd name="connsiteY0" fmla="*/ 65512 h 65511"/>
                    <a:gd name="connsiteX1" fmla="*/ 19646 w 78609"/>
                    <a:gd name="connsiteY1" fmla="*/ 65512 h 65511"/>
                    <a:gd name="connsiteX2" fmla="*/ 15005 w 78609"/>
                    <a:gd name="connsiteY2" fmla="*/ 63604 h 65511"/>
                    <a:gd name="connsiteX3" fmla="*/ 1908 w 78609"/>
                    <a:gd name="connsiteY3" fmla="*/ 50507 h 65511"/>
                    <a:gd name="connsiteX4" fmla="*/ 0 w 78609"/>
                    <a:gd name="connsiteY4" fmla="*/ 45866 h 65511"/>
                    <a:gd name="connsiteX5" fmla="*/ 0 w 78609"/>
                    <a:gd name="connsiteY5" fmla="*/ 19646 h 65511"/>
                    <a:gd name="connsiteX6" fmla="*/ 1908 w 78609"/>
                    <a:gd name="connsiteY6" fmla="*/ 15005 h 65511"/>
                    <a:gd name="connsiteX7" fmla="*/ 15005 w 78609"/>
                    <a:gd name="connsiteY7" fmla="*/ 1908 h 65511"/>
                    <a:gd name="connsiteX8" fmla="*/ 19646 w 78609"/>
                    <a:gd name="connsiteY8" fmla="*/ 0 h 65511"/>
                    <a:gd name="connsiteX9" fmla="*/ 58963 w 78609"/>
                    <a:gd name="connsiteY9" fmla="*/ 0 h 65511"/>
                    <a:gd name="connsiteX10" fmla="*/ 63604 w 78609"/>
                    <a:gd name="connsiteY10" fmla="*/ 1908 h 65511"/>
                    <a:gd name="connsiteX11" fmla="*/ 76701 w 78609"/>
                    <a:gd name="connsiteY11" fmla="*/ 15005 h 65511"/>
                    <a:gd name="connsiteX12" fmla="*/ 78609 w 78609"/>
                    <a:gd name="connsiteY12" fmla="*/ 19646 h 65511"/>
                    <a:gd name="connsiteX13" fmla="*/ 78609 w 78609"/>
                    <a:gd name="connsiteY13" fmla="*/ 45866 h 65511"/>
                    <a:gd name="connsiteX14" fmla="*/ 76701 w 78609"/>
                    <a:gd name="connsiteY14" fmla="*/ 50507 h 65511"/>
                    <a:gd name="connsiteX15" fmla="*/ 63604 w 78609"/>
                    <a:gd name="connsiteY15" fmla="*/ 63604 h 65511"/>
                    <a:gd name="connsiteX16" fmla="*/ 58963 w 78609"/>
                    <a:gd name="connsiteY16" fmla="*/ 65512 h 65511"/>
                    <a:gd name="connsiteX17" fmla="*/ 22353 w 78609"/>
                    <a:gd name="connsiteY17" fmla="*/ 52415 h 65511"/>
                    <a:gd name="connsiteX18" fmla="*/ 56256 w 78609"/>
                    <a:gd name="connsiteY18" fmla="*/ 52415 h 65511"/>
                    <a:gd name="connsiteX19" fmla="*/ 65512 w 78609"/>
                    <a:gd name="connsiteY19" fmla="*/ 43159 h 65511"/>
                    <a:gd name="connsiteX20" fmla="*/ 65512 w 78609"/>
                    <a:gd name="connsiteY20" fmla="*/ 22379 h 65511"/>
                    <a:gd name="connsiteX21" fmla="*/ 56256 w 78609"/>
                    <a:gd name="connsiteY21" fmla="*/ 13123 h 65511"/>
                    <a:gd name="connsiteX22" fmla="*/ 22353 w 78609"/>
                    <a:gd name="connsiteY22" fmla="*/ 13123 h 65511"/>
                    <a:gd name="connsiteX23" fmla="*/ 13097 w 78609"/>
                    <a:gd name="connsiteY23" fmla="*/ 22379 h 65511"/>
                    <a:gd name="connsiteX24" fmla="*/ 13097 w 78609"/>
                    <a:gd name="connsiteY24" fmla="*/ 43159 h 65511"/>
                    <a:gd name="connsiteX25" fmla="*/ 22353 w 78609"/>
                    <a:gd name="connsiteY25" fmla="*/ 52415 h 6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609" h="65511">
                      <a:moveTo>
                        <a:pt x="58963" y="65512"/>
                      </a:moveTo>
                      <a:lnTo>
                        <a:pt x="19646" y="65512"/>
                      </a:lnTo>
                      <a:cubicBezTo>
                        <a:pt x="17918" y="65512"/>
                        <a:pt x="16243" y="64816"/>
                        <a:pt x="15005" y="63604"/>
                      </a:cubicBezTo>
                      <a:lnTo>
                        <a:pt x="1908" y="50507"/>
                      </a:lnTo>
                      <a:cubicBezTo>
                        <a:pt x="670" y="49269"/>
                        <a:pt x="0" y="47619"/>
                        <a:pt x="0" y="45866"/>
                      </a:cubicBezTo>
                      <a:lnTo>
                        <a:pt x="0" y="19646"/>
                      </a:lnTo>
                      <a:cubicBezTo>
                        <a:pt x="0" y="17893"/>
                        <a:pt x="696" y="16242"/>
                        <a:pt x="1908" y="15005"/>
                      </a:cubicBezTo>
                      <a:lnTo>
                        <a:pt x="15005" y="1908"/>
                      </a:lnTo>
                      <a:cubicBezTo>
                        <a:pt x="16243" y="670"/>
                        <a:pt x="17893" y="0"/>
                        <a:pt x="19646" y="0"/>
                      </a:cubicBezTo>
                      <a:lnTo>
                        <a:pt x="58963" y="0"/>
                      </a:lnTo>
                      <a:cubicBezTo>
                        <a:pt x="60691" y="0"/>
                        <a:pt x="62367" y="696"/>
                        <a:pt x="63604" y="1908"/>
                      </a:cubicBezTo>
                      <a:lnTo>
                        <a:pt x="76701" y="15005"/>
                      </a:lnTo>
                      <a:cubicBezTo>
                        <a:pt x="77939" y="16242"/>
                        <a:pt x="78609" y="17893"/>
                        <a:pt x="78609" y="19646"/>
                      </a:cubicBezTo>
                      <a:lnTo>
                        <a:pt x="78609" y="45866"/>
                      </a:lnTo>
                      <a:cubicBezTo>
                        <a:pt x="78609" y="47619"/>
                        <a:pt x="77913" y="49269"/>
                        <a:pt x="76701" y="50507"/>
                      </a:cubicBezTo>
                      <a:lnTo>
                        <a:pt x="63604" y="63604"/>
                      </a:lnTo>
                      <a:cubicBezTo>
                        <a:pt x="62392" y="64841"/>
                        <a:pt x="60717" y="65512"/>
                        <a:pt x="58963" y="65512"/>
                      </a:cubicBezTo>
                      <a:close/>
                      <a:moveTo>
                        <a:pt x="22353" y="52415"/>
                      </a:moveTo>
                      <a:lnTo>
                        <a:pt x="56256" y="52415"/>
                      </a:lnTo>
                      <a:lnTo>
                        <a:pt x="65512" y="43159"/>
                      </a:lnTo>
                      <a:lnTo>
                        <a:pt x="65512" y="22379"/>
                      </a:lnTo>
                      <a:lnTo>
                        <a:pt x="56256" y="13123"/>
                      </a:lnTo>
                      <a:lnTo>
                        <a:pt x="22353" y="13123"/>
                      </a:lnTo>
                      <a:lnTo>
                        <a:pt x="13097" y="22379"/>
                      </a:lnTo>
                      <a:lnTo>
                        <a:pt x="13097" y="43159"/>
                      </a:lnTo>
                      <a:lnTo>
                        <a:pt x="22353" y="52415"/>
                      </a:lnTo>
                      <a:close/>
                    </a:path>
                  </a:pathLst>
                </a:custGeom>
                <a:solidFill>
                  <a:schemeClr val="accent1"/>
                </a:solidFill>
                <a:ln w="2573" cap="flat">
                  <a:noFill/>
                  <a:prstDash val="solid"/>
                  <a:miter/>
                </a:ln>
              </p:spPr>
              <p:txBody>
                <a:bodyPr rtlCol="0" anchor="ctr"/>
                <a:lstStyle/>
                <a:p>
                  <a:endParaRPr lang="en-GB" dirty="0"/>
                </a:p>
              </p:txBody>
            </p:sp>
            <p:sp>
              <p:nvSpPr>
                <p:cNvPr id="561" name="Freihandform: Form 989">
                  <a:extLst>
                    <a:ext uri="{FF2B5EF4-FFF2-40B4-BE49-F238E27FC236}">
                      <a16:creationId xmlns:a16="http://schemas.microsoft.com/office/drawing/2014/main" id="{3E8EBCE4-2E28-441E-BA63-4FFABB99C024}"/>
                    </a:ext>
                  </a:extLst>
                </p:cNvPr>
                <p:cNvSpPr/>
                <p:nvPr/>
              </p:nvSpPr>
              <p:spPr>
                <a:xfrm>
                  <a:off x="5549840" y="4281140"/>
                  <a:ext cx="78609" cy="65511"/>
                </a:xfrm>
                <a:custGeom>
                  <a:avLst/>
                  <a:gdLst>
                    <a:gd name="connsiteX0" fmla="*/ 58963 w 78609"/>
                    <a:gd name="connsiteY0" fmla="*/ 65512 h 65511"/>
                    <a:gd name="connsiteX1" fmla="*/ 19646 w 78609"/>
                    <a:gd name="connsiteY1" fmla="*/ 65512 h 65511"/>
                    <a:gd name="connsiteX2" fmla="*/ 15005 w 78609"/>
                    <a:gd name="connsiteY2" fmla="*/ 63604 h 65511"/>
                    <a:gd name="connsiteX3" fmla="*/ 1908 w 78609"/>
                    <a:gd name="connsiteY3" fmla="*/ 50507 h 65511"/>
                    <a:gd name="connsiteX4" fmla="*/ 0 w 78609"/>
                    <a:gd name="connsiteY4" fmla="*/ 45866 h 65511"/>
                    <a:gd name="connsiteX5" fmla="*/ 0 w 78609"/>
                    <a:gd name="connsiteY5" fmla="*/ 19646 h 65511"/>
                    <a:gd name="connsiteX6" fmla="*/ 1908 w 78609"/>
                    <a:gd name="connsiteY6" fmla="*/ 15005 h 65511"/>
                    <a:gd name="connsiteX7" fmla="*/ 15005 w 78609"/>
                    <a:gd name="connsiteY7" fmla="*/ 1908 h 65511"/>
                    <a:gd name="connsiteX8" fmla="*/ 19646 w 78609"/>
                    <a:gd name="connsiteY8" fmla="*/ 0 h 65511"/>
                    <a:gd name="connsiteX9" fmla="*/ 58963 w 78609"/>
                    <a:gd name="connsiteY9" fmla="*/ 0 h 65511"/>
                    <a:gd name="connsiteX10" fmla="*/ 63604 w 78609"/>
                    <a:gd name="connsiteY10" fmla="*/ 1908 h 65511"/>
                    <a:gd name="connsiteX11" fmla="*/ 76701 w 78609"/>
                    <a:gd name="connsiteY11" fmla="*/ 15005 h 65511"/>
                    <a:gd name="connsiteX12" fmla="*/ 78609 w 78609"/>
                    <a:gd name="connsiteY12" fmla="*/ 19646 h 65511"/>
                    <a:gd name="connsiteX13" fmla="*/ 78609 w 78609"/>
                    <a:gd name="connsiteY13" fmla="*/ 45866 h 65511"/>
                    <a:gd name="connsiteX14" fmla="*/ 76701 w 78609"/>
                    <a:gd name="connsiteY14" fmla="*/ 50507 h 65511"/>
                    <a:gd name="connsiteX15" fmla="*/ 63604 w 78609"/>
                    <a:gd name="connsiteY15" fmla="*/ 63604 h 65511"/>
                    <a:gd name="connsiteX16" fmla="*/ 58963 w 78609"/>
                    <a:gd name="connsiteY16" fmla="*/ 65512 h 65511"/>
                    <a:gd name="connsiteX17" fmla="*/ 22353 w 78609"/>
                    <a:gd name="connsiteY17" fmla="*/ 52415 h 65511"/>
                    <a:gd name="connsiteX18" fmla="*/ 56256 w 78609"/>
                    <a:gd name="connsiteY18" fmla="*/ 52415 h 65511"/>
                    <a:gd name="connsiteX19" fmla="*/ 65512 w 78609"/>
                    <a:gd name="connsiteY19" fmla="*/ 43159 h 65511"/>
                    <a:gd name="connsiteX20" fmla="*/ 65512 w 78609"/>
                    <a:gd name="connsiteY20" fmla="*/ 22379 h 65511"/>
                    <a:gd name="connsiteX21" fmla="*/ 56256 w 78609"/>
                    <a:gd name="connsiteY21" fmla="*/ 13123 h 65511"/>
                    <a:gd name="connsiteX22" fmla="*/ 22353 w 78609"/>
                    <a:gd name="connsiteY22" fmla="*/ 13123 h 65511"/>
                    <a:gd name="connsiteX23" fmla="*/ 13097 w 78609"/>
                    <a:gd name="connsiteY23" fmla="*/ 22379 h 65511"/>
                    <a:gd name="connsiteX24" fmla="*/ 13097 w 78609"/>
                    <a:gd name="connsiteY24" fmla="*/ 43159 h 65511"/>
                    <a:gd name="connsiteX25" fmla="*/ 22353 w 78609"/>
                    <a:gd name="connsiteY25" fmla="*/ 52415 h 6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8609" h="65511">
                      <a:moveTo>
                        <a:pt x="58963" y="65512"/>
                      </a:moveTo>
                      <a:lnTo>
                        <a:pt x="19646" y="65512"/>
                      </a:lnTo>
                      <a:cubicBezTo>
                        <a:pt x="17918" y="65512"/>
                        <a:pt x="16243" y="64816"/>
                        <a:pt x="15005" y="63604"/>
                      </a:cubicBezTo>
                      <a:lnTo>
                        <a:pt x="1908" y="50507"/>
                      </a:lnTo>
                      <a:cubicBezTo>
                        <a:pt x="670" y="49269"/>
                        <a:pt x="0" y="47619"/>
                        <a:pt x="0" y="45866"/>
                      </a:cubicBezTo>
                      <a:lnTo>
                        <a:pt x="0" y="19646"/>
                      </a:lnTo>
                      <a:cubicBezTo>
                        <a:pt x="0" y="17893"/>
                        <a:pt x="696" y="16242"/>
                        <a:pt x="1908" y="15005"/>
                      </a:cubicBezTo>
                      <a:lnTo>
                        <a:pt x="15005" y="1908"/>
                      </a:lnTo>
                      <a:cubicBezTo>
                        <a:pt x="16243" y="670"/>
                        <a:pt x="17893" y="0"/>
                        <a:pt x="19646" y="0"/>
                      </a:cubicBezTo>
                      <a:lnTo>
                        <a:pt x="58963" y="0"/>
                      </a:lnTo>
                      <a:cubicBezTo>
                        <a:pt x="60691" y="0"/>
                        <a:pt x="62367" y="696"/>
                        <a:pt x="63604" y="1908"/>
                      </a:cubicBezTo>
                      <a:lnTo>
                        <a:pt x="76701" y="15005"/>
                      </a:lnTo>
                      <a:cubicBezTo>
                        <a:pt x="77939" y="16242"/>
                        <a:pt x="78609" y="17893"/>
                        <a:pt x="78609" y="19646"/>
                      </a:cubicBezTo>
                      <a:lnTo>
                        <a:pt x="78609" y="45866"/>
                      </a:lnTo>
                      <a:cubicBezTo>
                        <a:pt x="78609" y="47619"/>
                        <a:pt x="77913" y="49269"/>
                        <a:pt x="76701" y="50507"/>
                      </a:cubicBezTo>
                      <a:lnTo>
                        <a:pt x="63604" y="63604"/>
                      </a:lnTo>
                      <a:cubicBezTo>
                        <a:pt x="62367" y="64841"/>
                        <a:pt x="60691" y="65512"/>
                        <a:pt x="58963" y="65512"/>
                      </a:cubicBezTo>
                      <a:close/>
                      <a:moveTo>
                        <a:pt x="22353" y="52415"/>
                      </a:moveTo>
                      <a:lnTo>
                        <a:pt x="56256" y="52415"/>
                      </a:lnTo>
                      <a:lnTo>
                        <a:pt x="65512" y="43159"/>
                      </a:lnTo>
                      <a:lnTo>
                        <a:pt x="65512" y="22379"/>
                      </a:lnTo>
                      <a:lnTo>
                        <a:pt x="56256" y="13123"/>
                      </a:lnTo>
                      <a:lnTo>
                        <a:pt x="22353" y="13123"/>
                      </a:lnTo>
                      <a:lnTo>
                        <a:pt x="13097" y="22379"/>
                      </a:lnTo>
                      <a:lnTo>
                        <a:pt x="13097" y="43159"/>
                      </a:lnTo>
                      <a:lnTo>
                        <a:pt x="22353" y="52415"/>
                      </a:lnTo>
                      <a:close/>
                    </a:path>
                  </a:pathLst>
                </a:custGeom>
                <a:solidFill>
                  <a:schemeClr val="accent1"/>
                </a:solidFill>
                <a:ln w="2573" cap="flat">
                  <a:noFill/>
                  <a:prstDash val="solid"/>
                  <a:miter/>
                </a:ln>
              </p:spPr>
              <p:txBody>
                <a:bodyPr rtlCol="0" anchor="ctr"/>
                <a:lstStyle/>
                <a:p>
                  <a:endParaRPr lang="en-GB" dirty="0"/>
                </a:p>
              </p:txBody>
            </p:sp>
          </p:grpSp>
          <p:grpSp>
            <p:nvGrpSpPr>
              <p:cNvPr id="552" name="Group 551">
                <a:extLst>
                  <a:ext uri="{FF2B5EF4-FFF2-40B4-BE49-F238E27FC236}">
                    <a16:creationId xmlns:a16="http://schemas.microsoft.com/office/drawing/2014/main" id="{6910E412-98B0-437F-8EF8-30B76611D2CA}"/>
                  </a:ext>
                </a:extLst>
              </p:cNvPr>
              <p:cNvGrpSpPr/>
              <p:nvPr/>
            </p:nvGrpSpPr>
            <p:grpSpPr>
              <a:xfrm>
                <a:off x="5633654" y="4051758"/>
                <a:ext cx="112536" cy="130636"/>
                <a:chOff x="5633654" y="4051758"/>
                <a:chExt cx="112536" cy="130636"/>
              </a:xfrm>
              <a:solidFill>
                <a:schemeClr val="accent1"/>
              </a:solidFill>
            </p:grpSpPr>
            <p:sp>
              <p:nvSpPr>
                <p:cNvPr id="553" name="Freihandform: Form 994">
                  <a:extLst>
                    <a:ext uri="{FF2B5EF4-FFF2-40B4-BE49-F238E27FC236}">
                      <a16:creationId xmlns:a16="http://schemas.microsoft.com/office/drawing/2014/main" id="{36755E20-8309-46EB-87D1-473DC8D702C9}"/>
                    </a:ext>
                  </a:extLst>
                </p:cNvPr>
                <p:cNvSpPr/>
                <p:nvPr/>
              </p:nvSpPr>
              <p:spPr>
                <a:xfrm>
                  <a:off x="5684628" y="4051758"/>
                  <a:ext cx="13097" cy="39704"/>
                </a:xfrm>
                <a:custGeom>
                  <a:avLst/>
                  <a:gdLst>
                    <a:gd name="connsiteX0" fmla="*/ 6549 w 13097"/>
                    <a:gd name="connsiteY0" fmla="*/ 39704 h 39704"/>
                    <a:gd name="connsiteX1" fmla="*/ 0 w 13097"/>
                    <a:gd name="connsiteY1" fmla="*/ 33156 h 39704"/>
                    <a:gd name="connsiteX2" fmla="*/ 0 w 13097"/>
                    <a:gd name="connsiteY2" fmla="*/ 6549 h 39704"/>
                    <a:gd name="connsiteX3" fmla="*/ 6549 w 13097"/>
                    <a:gd name="connsiteY3" fmla="*/ 0 h 39704"/>
                    <a:gd name="connsiteX4" fmla="*/ 13097 w 13097"/>
                    <a:gd name="connsiteY4" fmla="*/ 6549 h 39704"/>
                    <a:gd name="connsiteX5" fmla="*/ 13097 w 13097"/>
                    <a:gd name="connsiteY5" fmla="*/ 33156 h 39704"/>
                    <a:gd name="connsiteX6" fmla="*/ 6549 w 13097"/>
                    <a:gd name="connsiteY6" fmla="*/ 39704 h 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39704">
                      <a:moveTo>
                        <a:pt x="6549" y="39704"/>
                      </a:moveTo>
                      <a:cubicBezTo>
                        <a:pt x="2939" y="39704"/>
                        <a:pt x="0" y="36765"/>
                        <a:pt x="0" y="33156"/>
                      </a:cubicBezTo>
                      <a:lnTo>
                        <a:pt x="0" y="6549"/>
                      </a:lnTo>
                      <a:cubicBezTo>
                        <a:pt x="0" y="2913"/>
                        <a:pt x="2939" y="0"/>
                        <a:pt x="6549" y="0"/>
                      </a:cubicBezTo>
                      <a:cubicBezTo>
                        <a:pt x="10158" y="0"/>
                        <a:pt x="13097" y="2939"/>
                        <a:pt x="13097" y="6549"/>
                      </a:cubicBezTo>
                      <a:lnTo>
                        <a:pt x="13097" y="33156"/>
                      </a:lnTo>
                      <a:cubicBezTo>
                        <a:pt x="13097" y="36765"/>
                        <a:pt x="10158" y="39704"/>
                        <a:pt x="6549" y="39704"/>
                      </a:cubicBezTo>
                      <a:close/>
                    </a:path>
                  </a:pathLst>
                </a:custGeom>
                <a:solidFill>
                  <a:schemeClr val="accent1"/>
                </a:solidFill>
                <a:ln w="2573" cap="flat">
                  <a:noFill/>
                  <a:prstDash val="solid"/>
                  <a:miter/>
                </a:ln>
              </p:spPr>
              <p:txBody>
                <a:bodyPr rtlCol="0" anchor="ctr"/>
                <a:lstStyle/>
                <a:p>
                  <a:endParaRPr lang="en-GB" dirty="0"/>
                </a:p>
              </p:txBody>
            </p:sp>
            <p:sp>
              <p:nvSpPr>
                <p:cNvPr id="554" name="Freihandform: Form 995">
                  <a:extLst>
                    <a:ext uri="{FF2B5EF4-FFF2-40B4-BE49-F238E27FC236}">
                      <a16:creationId xmlns:a16="http://schemas.microsoft.com/office/drawing/2014/main" id="{290D6EAC-568B-44FF-B5B9-DB36BEF8FF26}"/>
                    </a:ext>
                  </a:extLst>
                </p:cNvPr>
                <p:cNvSpPr/>
                <p:nvPr/>
              </p:nvSpPr>
              <p:spPr>
                <a:xfrm>
                  <a:off x="5633654" y="4117808"/>
                  <a:ext cx="42314" cy="30606"/>
                </a:xfrm>
                <a:custGeom>
                  <a:avLst/>
                  <a:gdLst>
                    <a:gd name="connsiteX0" fmla="*/ 6552 w 42314"/>
                    <a:gd name="connsiteY0" fmla="*/ 30606 h 30606"/>
                    <a:gd name="connsiteX1" fmla="*/ 931 w 42314"/>
                    <a:gd name="connsiteY1" fmla="*/ 27435 h 30606"/>
                    <a:gd name="connsiteX2" fmla="*/ 3174 w 42314"/>
                    <a:gd name="connsiteY2" fmla="*/ 18437 h 30606"/>
                    <a:gd name="connsiteX3" fmla="*/ 32385 w 42314"/>
                    <a:gd name="connsiteY3" fmla="*/ 931 h 30606"/>
                    <a:gd name="connsiteX4" fmla="*/ 41383 w 42314"/>
                    <a:gd name="connsiteY4" fmla="*/ 3174 h 30606"/>
                    <a:gd name="connsiteX5" fmla="*/ 39140 w 42314"/>
                    <a:gd name="connsiteY5" fmla="*/ 12172 h 30606"/>
                    <a:gd name="connsiteX6" fmla="*/ 9929 w 42314"/>
                    <a:gd name="connsiteY6" fmla="*/ 29678 h 30606"/>
                    <a:gd name="connsiteX7" fmla="*/ 6552 w 42314"/>
                    <a:gd name="connsiteY7" fmla="*/ 30606 h 3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14" h="30606">
                      <a:moveTo>
                        <a:pt x="6552" y="30606"/>
                      </a:moveTo>
                      <a:cubicBezTo>
                        <a:pt x="4335" y="30606"/>
                        <a:pt x="2143" y="29472"/>
                        <a:pt x="931" y="27435"/>
                      </a:cubicBezTo>
                      <a:cubicBezTo>
                        <a:pt x="-925" y="24316"/>
                        <a:pt x="81" y="20294"/>
                        <a:pt x="3174" y="18437"/>
                      </a:cubicBezTo>
                      <a:lnTo>
                        <a:pt x="32385" y="931"/>
                      </a:lnTo>
                      <a:cubicBezTo>
                        <a:pt x="35505" y="-925"/>
                        <a:pt x="39527" y="80"/>
                        <a:pt x="41383" y="3174"/>
                      </a:cubicBezTo>
                      <a:cubicBezTo>
                        <a:pt x="43240" y="6294"/>
                        <a:pt x="42234" y="10316"/>
                        <a:pt x="39140" y="12172"/>
                      </a:cubicBezTo>
                      <a:lnTo>
                        <a:pt x="9929" y="29678"/>
                      </a:lnTo>
                      <a:cubicBezTo>
                        <a:pt x="8846" y="30297"/>
                        <a:pt x="7686" y="30606"/>
                        <a:pt x="6552" y="30606"/>
                      </a:cubicBezTo>
                      <a:close/>
                    </a:path>
                  </a:pathLst>
                </a:custGeom>
                <a:solidFill>
                  <a:schemeClr val="accent1"/>
                </a:solidFill>
                <a:ln w="2573" cap="flat">
                  <a:noFill/>
                  <a:prstDash val="solid"/>
                  <a:miter/>
                </a:ln>
              </p:spPr>
              <p:txBody>
                <a:bodyPr rtlCol="0" anchor="ctr"/>
                <a:lstStyle/>
                <a:p>
                  <a:endParaRPr lang="en-GB" dirty="0"/>
                </a:p>
              </p:txBody>
            </p:sp>
            <p:sp>
              <p:nvSpPr>
                <p:cNvPr id="555" name="Freihandform: Form 996">
                  <a:extLst>
                    <a:ext uri="{FF2B5EF4-FFF2-40B4-BE49-F238E27FC236}">
                      <a16:creationId xmlns:a16="http://schemas.microsoft.com/office/drawing/2014/main" id="{2A468F98-BA67-49F0-8FCF-4039D3B551A7}"/>
                    </a:ext>
                  </a:extLst>
                </p:cNvPr>
                <p:cNvSpPr/>
                <p:nvPr/>
              </p:nvSpPr>
              <p:spPr>
                <a:xfrm>
                  <a:off x="5704381" y="4117790"/>
                  <a:ext cx="41809" cy="30624"/>
                </a:xfrm>
                <a:custGeom>
                  <a:avLst/>
                  <a:gdLst>
                    <a:gd name="connsiteX0" fmla="*/ 35214 w 41809"/>
                    <a:gd name="connsiteY0" fmla="*/ 30625 h 30624"/>
                    <a:gd name="connsiteX1" fmla="*/ 31811 w 41809"/>
                    <a:gd name="connsiteY1" fmla="*/ 29671 h 30624"/>
                    <a:gd name="connsiteX2" fmla="*/ 3141 w 41809"/>
                    <a:gd name="connsiteY2" fmla="*/ 12165 h 30624"/>
                    <a:gd name="connsiteX3" fmla="*/ 975 w 41809"/>
                    <a:gd name="connsiteY3" fmla="*/ 3141 h 30624"/>
                    <a:gd name="connsiteX4" fmla="*/ 9999 w 41809"/>
                    <a:gd name="connsiteY4" fmla="*/ 975 h 30624"/>
                    <a:gd name="connsiteX5" fmla="*/ 38669 w 41809"/>
                    <a:gd name="connsiteY5" fmla="*/ 18481 h 30624"/>
                    <a:gd name="connsiteX6" fmla="*/ 40834 w 41809"/>
                    <a:gd name="connsiteY6" fmla="*/ 27505 h 30624"/>
                    <a:gd name="connsiteX7" fmla="*/ 35214 w 41809"/>
                    <a:gd name="connsiteY7" fmla="*/ 30625 h 3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09" h="30624">
                      <a:moveTo>
                        <a:pt x="35214" y="30625"/>
                      </a:moveTo>
                      <a:cubicBezTo>
                        <a:pt x="34054" y="30625"/>
                        <a:pt x="32868" y="30315"/>
                        <a:pt x="31811" y="29671"/>
                      </a:cubicBezTo>
                      <a:lnTo>
                        <a:pt x="3141" y="12165"/>
                      </a:lnTo>
                      <a:cubicBezTo>
                        <a:pt x="47" y="10283"/>
                        <a:pt x="-933" y="6235"/>
                        <a:pt x="975" y="3141"/>
                      </a:cubicBezTo>
                      <a:cubicBezTo>
                        <a:pt x="2857" y="47"/>
                        <a:pt x="6905" y="-933"/>
                        <a:pt x="9999" y="975"/>
                      </a:cubicBezTo>
                      <a:lnTo>
                        <a:pt x="38669" y="18481"/>
                      </a:lnTo>
                      <a:cubicBezTo>
                        <a:pt x="41762" y="20363"/>
                        <a:pt x="42742" y="24411"/>
                        <a:pt x="40834" y="27505"/>
                      </a:cubicBezTo>
                      <a:cubicBezTo>
                        <a:pt x="39571" y="29490"/>
                        <a:pt x="37431" y="30625"/>
                        <a:pt x="35214" y="30625"/>
                      </a:cubicBezTo>
                      <a:close/>
                    </a:path>
                  </a:pathLst>
                </a:custGeom>
                <a:solidFill>
                  <a:schemeClr val="accent1"/>
                </a:solidFill>
                <a:ln w="2573" cap="flat">
                  <a:noFill/>
                  <a:prstDash val="solid"/>
                  <a:miter/>
                </a:ln>
              </p:spPr>
              <p:txBody>
                <a:bodyPr rtlCol="0" anchor="ctr"/>
                <a:lstStyle/>
                <a:p>
                  <a:endParaRPr lang="en-GB" dirty="0"/>
                </a:p>
              </p:txBody>
            </p:sp>
            <p:sp>
              <p:nvSpPr>
                <p:cNvPr id="556" name="Freihandform: Form 997">
                  <a:extLst>
                    <a:ext uri="{FF2B5EF4-FFF2-40B4-BE49-F238E27FC236}">
                      <a16:creationId xmlns:a16="http://schemas.microsoft.com/office/drawing/2014/main" id="{42DAB40D-5964-4920-A510-09A5D2956C09}"/>
                    </a:ext>
                  </a:extLst>
                </p:cNvPr>
                <p:cNvSpPr/>
                <p:nvPr/>
              </p:nvSpPr>
              <p:spPr>
                <a:xfrm>
                  <a:off x="5684628" y="4124643"/>
                  <a:ext cx="13097" cy="57751"/>
                </a:xfrm>
                <a:custGeom>
                  <a:avLst/>
                  <a:gdLst>
                    <a:gd name="connsiteX0" fmla="*/ 0 w 13097"/>
                    <a:gd name="connsiteY0" fmla="*/ 0 h 57751"/>
                    <a:gd name="connsiteX1" fmla="*/ 13097 w 13097"/>
                    <a:gd name="connsiteY1" fmla="*/ 0 h 57751"/>
                    <a:gd name="connsiteX2" fmla="*/ 13097 w 13097"/>
                    <a:gd name="connsiteY2" fmla="*/ 57752 h 57751"/>
                    <a:gd name="connsiteX3" fmla="*/ 0 w 13097"/>
                    <a:gd name="connsiteY3" fmla="*/ 57752 h 57751"/>
                  </a:gdLst>
                  <a:ahLst/>
                  <a:cxnLst>
                    <a:cxn ang="0">
                      <a:pos x="connsiteX0" y="connsiteY0"/>
                    </a:cxn>
                    <a:cxn ang="0">
                      <a:pos x="connsiteX1" y="connsiteY1"/>
                    </a:cxn>
                    <a:cxn ang="0">
                      <a:pos x="connsiteX2" y="connsiteY2"/>
                    </a:cxn>
                    <a:cxn ang="0">
                      <a:pos x="connsiteX3" y="connsiteY3"/>
                    </a:cxn>
                  </a:cxnLst>
                  <a:rect l="l" t="t" r="r" b="b"/>
                  <a:pathLst>
                    <a:path w="13097" h="57751">
                      <a:moveTo>
                        <a:pt x="0" y="0"/>
                      </a:moveTo>
                      <a:lnTo>
                        <a:pt x="13097" y="0"/>
                      </a:lnTo>
                      <a:lnTo>
                        <a:pt x="13097" y="57752"/>
                      </a:lnTo>
                      <a:lnTo>
                        <a:pt x="0" y="57752"/>
                      </a:lnTo>
                      <a:close/>
                    </a:path>
                  </a:pathLst>
                </a:custGeom>
                <a:solidFill>
                  <a:schemeClr val="accent1"/>
                </a:solidFill>
                <a:ln w="2573" cap="flat">
                  <a:noFill/>
                  <a:prstDash val="solid"/>
                  <a:miter/>
                </a:ln>
              </p:spPr>
              <p:txBody>
                <a:bodyPr rtlCol="0" anchor="ctr"/>
                <a:lstStyle/>
                <a:p>
                  <a:endParaRPr lang="en-GB" dirty="0"/>
                </a:p>
              </p:txBody>
            </p:sp>
            <p:sp>
              <p:nvSpPr>
                <p:cNvPr id="557" name="Freihandform: Form 998">
                  <a:extLst>
                    <a:ext uri="{FF2B5EF4-FFF2-40B4-BE49-F238E27FC236}">
                      <a16:creationId xmlns:a16="http://schemas.microsoft.com/office/drawing/2014/main" id="{0F9608B7-E089-4D35-90DE-5A57CE2401CA}"/>
                    </a:ext>
                  </a:extLst>
                </p:cNvPr>
                <p:cNvSpPr/>
                <p:nvPr/>
              </p:nvSpPr>
              <p:spPr>
                <a:xfrm>
                  <a:off x="5684549" y="4097210"/>
                  <a:ext cx="13254" cy="19647"/>
                </a:xfrm>
                <a:custGeom>
                  <a:avLst/>
                  <a:gdLst>
                    <a:gd name="connsiteX0" fmla="*/ 6550 w 13254"/>
                    <a:gd name="connsiteY0" fmla="*/ 19647 h 19647"/>
                    <a:gd name="connsiteX1" fmla="*/ 6395 w 13254"/>
                    <a:gd name="connsiteY1" fmla="*/ 19647 h 19647"/>
                    <a:gd name="connsiteX2" fmla="*/ 2 w 13254"/>
                    <a:gd name="connsiteY2" fmla="*/ 12944 h 19647"/>
                    <a:gd name="connsiteX3" fmla="*/ 156 w 13254"/>
                    <a:gd name="connsiteY3" fmla="*/ 6395 h 19647"/>
                    <a:gd name="connsiteX4" fmla="*/ 6860 w 13254"/>
                    <a:gd name="connsiteY4" fmla="*/ 2 h 19647"/>
                    <a:gd name="connsiteX5" fmla="*/ 13253 w 13254"/>
                    <a:gd name="connsiteY5" fmla="*/ 6705 h 19647"/>
                    <a:gd name="connsiteX6" fmla="*/ 13099 w 13254"/>
                    <a:gd name="connsiteY6" fmla="*/ 13253 h 19647"/>
                    <a:gd name="connsiteX7" fmla="*/ 6550 w 13254"/>
                    <a:gd name="connsiteY7" fmla="*/ 19647 h 1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54" h="19647">
                      <a:moveTo>
                        <a:pt x="6550" y="19647"/>
                      </a:moveTo>
                      <a:cubicBezTo>
                        <a:pt x="6499" y="19647"/>
                        <a:pt x="6447" y="19647"/>
                        <a:pt x="6395" y="19647"/>
                      </a:cubicBezTo>
                      <a:cubicBezTo>
                        <a:pt x="2786" y="19570"/>
                        <a:pt x="-76" y="16554"/>
                        <a:pt x="2" y="12944"/>
                      </a:cubicBezTo>
                      <a:lnTo>
                        <a:pt x="156" y="6395"/>
                      </a:lnTo>
                      <a:cubicBezTo>
                        <a:pt x="234" y="2760"/>
                        <a:pt x="3456" y="-76"/>
                        <a:pt x="6860" y="2"/>
                      </a:cubicBezTo>
                      <a:cubicBezTo>
                        <a:pt x="10469" y="79"/>
                        <a:pt x="13331" y="3095"/>
                        <a:pt x="13253" y="6705"/>
                      </a:cubicBezTo>
                      <a:lnTo>
                        <a:pt x="13099" y="13253"/>
                      </a:lnTo>
                      <a:cubicBezTo>
                        <a:pt x="13021" y="16811"/>
                        <a:pt x="10082" y="19647"/>
                        <a:pt x="6550" y="19647"/>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543" name="Group 542">
              <a:extLst>
                <a:ext uri="{FF2B5EF4-FFF2-40B4-BE49-F238E27FC236}">
                  <a16:creationId xmlns:a16="http://schemas.microsoft.com/office/drawing/2014/main" id="{9C579E45-68B5-40C4-A6ED-6F4D10A5A242}"/>
                </a:ext>
              </a:extLst>
            </p:cNvPr>
            <p:cNvGrpSpPr/>
            <p:nvPr/>
          </p:nvGrpSpPr>
          <p:grpSpPr>
            <a:xfrm>
              <a:off x="5294188" y="4163136"/>
              <a:ext cx="484980" cy="393252"/>
              <a:chOff x="5294188" y="4163136"/>
              <a:chExt cx="484980" cy="393252"/>
            </a:xfrm>
          </p:grpSpPr>
          <p:sp>
            <p:nvSpPr>
              <p:cNvPr id="544" name="Freihandform: Form 982">
                <a:extLst>
                  <a:ext uri="{FF2B5EF4-FFF2-40B4-BE49-F238E27FC236}">
                    <a16:creationId xmlns:a16="http://schemas.microsoft.com/office/drawing/2014/main" id="{1AFEC6F1-F326-4ED0-9AB2-DF589D122097}"/>
                  </a:ext>
                </a:extLst>
              </p:cNvPr>
              <p:cNvSpPr/>
              <p:nvPr/>
            </p:nvSpPr>
            <p:spPr>
              <a:xfrm>
                <a:off x="5320432" y="4320457"/>
                <a:ext cx="432544" cy="235930"/>
              </a:xfrm>
              <a:custGeom>
                <a:avLst/>
                <a:gdLst>
                  <a:gd name="connsiteX0" fmla="*/ 425995 w 432544"/>
                  <a:gd name="connsiteY0" fmla="*/ 235931 h 235930"/>
                  <a:gd name="connsiteX1" fmla="*/ 6549 w 432544"/>
                  <a:gd name="connsiteY1" fmla="*/ 235931 h 235930"/>
                  <a:gd name="connsiteX2" fmla="*/ 0 w 432544"/>
                  <a:gd name="connsiteY2" fmla="*/ 229382 h 235930"/>
                  <a:gd name="connsiteX3" fmla="*/ 0 w 432544"/>
                  <a:gd name="connsiteY3" fmla="*/ 6548 h 235930"/>
                  <a:gd name="connsiteX4" fmla="*/ 6549 w 432544"/>
                  <a:gd name="connsiteY4" fmla="*/ 0 h 235930"/>
                  <a:gd name="connsiteX5" fmla="*/ 13097 w 432544"/>
                  <a:gd name="connsiteY5" fmla="*/ 6548 h 235930"/>
                  <a:gd name="connsiteX6" fmla="*/ 13097 w 432544"/>
                  <a:gd name="connsiteY6" fmla="*/ 222833 h 235930"/>
                  <a:gd name="connsiteX7" fmla="*/ 419447 w 432544"/>
                  <a:gd name="connsiteY7" fmla="*/ 222833 h 235930"/>
                  <a:gd name="connsiteX8" fmla="*/ 419447 w 432544"/>
                  <a:gd name="connsiteY8" fmla="*/ 6548 h 235930"/>
                  <a:gd name="connsiteX9" fmla="*/ 425995 w 432544"/>
                  <a:gd name="connsiteY9" fmla="*/ 0 h 235930"/>
                  <a:gd name="connsiteX10" fmla="*/ 432544 w 432544"/>
                  <a:gd name="connsiteY10" fmla="*/ 6548 h 235930"/>
                  <a:gd name="connsiteX11" fmla="*/ 432544 w 432544"/>
                  <a:gd name="connsiteY11" fmla="*/ 229382 h 235930"/>
                  <a:gd name="connsiteX12" fmla="*/ 425995 w 432544"/>
                  <a:gd name="connsiteY12" fmla="*/ 235931 h 235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544" h="235930">
                    <a:moveTo>
                      <a:pt x="425995" y="235931"/>
                    </a:moveTo>
                    <a:lnTo>
                      <a:pt x="6549" y="235931"/>
                    </a:lnTo>
                    <a:cubicBezTo>
                      <a:pt x="2939" y="235931"/>
                      <a:pt x="0" y="232992"/>
                      <a:pt x="0" y="229382"/>
                    </a:cubicBezTo>
                    <a:lnTo>
                      <a:pt x="0" y="6548"/>
                    </a:lnTo>
                    <a:cubicBezTo>
                      <a:pt x="0" y="2913"/>
                      <a:pt x="2939" y="0"/>
                      <a:pt x="6549" y="0"/>
                    </a:cubicBezTo>
                    <a:cubicBezTo>
                      <a:pt x="10158" y="0"/>
                      <a:pt x="13097" y="2939"/>
                      <a:pt x="13097" y="6548"/>
                    </a:cubicBezTo>
                    <a:lnTo>
                      <a:pt x="13097" y="222833"/>
                    </a:lnTo>
                    <a:lnTo>
                      <a:pt x="419447" y="222833"/>
                    </a:lnTo>
                    <a:lnTo>
                      <a:pt x="419447" y="6548"/>
                    </a:lnTo>
                    <a:cubicBezTo>
                      <a:pt x="419447" y="2913"/>
                      <a:pt x="422386" y="0"/>
                      <a:pt x="425995" y="0"/>
                    </a:cubicBezTo>
                    <a:cubicBezTo>
                      <a:pt x="429605" y="0"/>
                      <a:pt x="432544" y="2939"/>
                      <a:pt x="432544" y="6548"/>
                    </a:cubicBezTo>
                    <a:lnTo>
                      <a:pt x="432544" y="229382"/>
                    </a:lnTo>
                    <a:cubicBezTo>
                      <a:pt x="432544" y="232992"/>
                      <a:pt x="429605" y="235931"/>
                      <a:pt x="425995" y="235931"/>
                    </a:cubicBezTo>
                    <a:close/>
                  </a:path>
                </a:pathLst>
              </a:custGeom>
              <a:solidFill>
                <a:schemeClr val="tx2"/>
              </a:solidFill>
              <a:ln w="2573" cap="flat">
                <a:noFill/>
                <a:prstDash val="solid"/>
                <a:miter/>
              </a:ln>
            </p:spPr>
            <p:txBody>
              <a:bodyPr rtlCol="0" anchor="ctr"/>
              <a:lstStyle/>
              <a:p>
                <a:endParaRPr lang="en-GB" dirty="0"/>
              </a:p>
            </p:txBody>
          </p:sp>
          <p:sp>
            <p:nvSpPr>
              <p:cNvPr id="545" name="Freihandform: Form 983">
                <a:extLst>
                  <a:ext uri="{FF2B5EF4-FFF2-40B4-BE49-F238E27FC236}">
                    <a16:creationId xmlns:a16="http://schemas.microsoft.com/office/drawing/2014/main" id="{A977ACA4-580B-4AFA-8763-C3C5AD225768}"/>
                  </a:ext>
                </a:extLst>
              </p:cNvPr>
              <p:cNvSpPr/>
              <p:nvPr/>
            </p:nvSpPr>
            <p:spPr>
              <a:xfrm>
                <a:off x="5294188" y="4176233"/>
                <a:ext cx="131073" cy="157321"/>
              </a:xfrm>
              <a:custGeom>
                <a:avLst/>
                <a:gdLst>
                  <a:gd name="connsiteX0" fmla="*/ 124550 w 131073"/>
                  <a:gd name="connsiteY0" fmla="*/ 157322 h 157321"/>
                  <a:gd name="connsiteX1" fmla="*/ 6572 w 131073"/>
                  <a:gd name="connsiteY1" fmla="*/ 157322 h 157321"/>
                  <a:gd name="connsiteX2" fmla="*/ 1725 w 131073"/>
                  <a:gd name="connsiteY2" fmla="*/ 155182 h 157321"/>
                  <a:gd name="connsiteX3" fmla="*/ 23 w 131073"/>
                  <a:gd name="connsiteY3" fmla="*/ 150154 h 157321"/>
                  <a:gd name="connsiteX4" fmla="*/ 13121 w 131073"/>
                  <a:gd name="connsiteY4" fmla="*/ 5956 h 157321"/>
                  <a:gd name="connsiteX5" fmla="*/ 19643 w 131073"/>
                  <a:gd name="connsiteY5" fmla="*/ 0 h 157321"/>
                  <a:gd name="connsiteX6" fmla="*/ 124499 w 131073"/>
                  <a:gd name="connsiteY6" fmla="*/ 0 h 157321"/>
                  <a:gd name="connsiteX7" fmla="*/ 131047 w 131073"/>
                  <a:gd name="connsiteY7" fmla="*/ 6549 h 157321"/>
                  <a:gd name="connsiteX8" fmla="*/ 124499 w 131073"/>
                  <a:gd name="connsiteY8" fmla="*/ 13097 h 157321"/>
                  <a:gd name="connsiteX9" fmla="*/ 25651 w 131073"/>
                  <a:gd name="connsiteY9" fmla="*/ 13097 h 157321"/>
                  <a:gd name="connsiteX10" fmla="*/ 13739 w 131073"/>
                  <a:gd name="connsiteY10" fmla="*/ 144173 h 157321"/>
                  <a:gd name="connsiteX11" fmla="*/ 124524 w 131073"/>
                  <a:gd name="connsiteY11" fmla="*/ 144173 h 157321"/>
                  <a:gd name="connsiteX12" fmla="*/ 131073 w 131073"/>
                  <a:gd name="connsiteY12" fmla="*/ 150721 h 157321"/>
                  <a:gd name="connsiteX13" fmla="*/ 124550 w 131073"/>
                  <a:gd name="connsiteY13" fmla="*/ 157322 h 15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073" h="157321">
                    <a:moveTo>
                      <a:pt x="124550" y="157322"/>
                    </a:moveTo>
                    <a:lnTo>
                      <a:pt x="6572" y="157322"/>
                    </a:lnTo>
                    <a:cubicBezTo>
                      <a:pt x="4741" y="157322"/>
                      <a:pt x="2963" y="156548"/>
                      <a:pt x="1725" y="155182"/>
                    </a:cubicBezTo>
                    <a:cubicBezTo>
                      <a:pt x="487" y="153815"/>
                      <a:pt x="-131" y="152010"/>
                      <a:pt x="23" y="150154"/>
                    </a:cubicBezTo>
                    <a:lnTo>
                      <a:pt x="13121" y="5956"/>
                    </a:lnTo>
                    <a:cubicBezTo>
                      <a:pt x="13430" y="2578"/>
                      <a:pt x="16266" y="0"/>
                      <a:pt x="19643" y="0"/>
                    </a:cubicBezTo>
                    <a:lnTo>
                      <a:pt x="124499" y="0"/>
                    </a:lnTo>
                    <a:cubicBezTo>
                      <a:pt x="128108" y="0"/>
                      <a:pt x="131047" y="2939"/>
                      <a:pt x="131047" y="6549"/>
                    </a:cubicBezTo>
                    <a:cubicBezTo>
                      <a:pt x="131047" y="10184"/>
                      <a:pt x="128108" y="13097"/>
                      <a:pt x="124499" y="13097"/>
                    </a:cubicBezTo>
                    <a:lnTo>
                      <a:pt x="25651" y="13097"/>
                    </a:lnTo>
                    <a:lnTo>
                      <a:pt x="13739" y="144173"/>
                    </a:lnTo>
                    <a:lnTo>
                      <a:pt x="124524" y="144173"/>
                    </a:lnTo>
                    <a:cubicBezTo>
                      <a:pt x="128134" y="144173"/>
                      <a:pt x="131073" y="147112"/>
                      <a:pt x="131073" y="150721"/>
                    </a:cubicBezTo>
                    <a:cubicBezTo>
                      <a:pt x="131073" y="154331"/>
                      <a:pt x="128160" y="157322"/>
                      <a:pt x="124550" y="157322"/>
                    </a:cubicBezTo>
                    <a:close/>
                  </a:path>
                </a:pathLst>
              </a:custGeom>
              <a:solidFill>
                <a:schemeClr val="tx2"/>
              </a:solidFill>
              <a:ln w="2573" cap="flat">
                <a:noFill/>
                <a:prstDash val="solid"/>
                <a:miter/>
              </a:ln>
            </p:spPr>
            <p:txBody>
              <a:bodyPr rtlCol="0" anchor="ctr"/>
              <a:lstStyle/>
              <a:p>
                <a:endParaRPr lang="en-GB" dirty="0"/>
              </a:p>
            </p:txBody>
          </p:sp>
          <p:sp>
            <p:nvSpPr>
              <p:cNvPr id="546" name="Freihandform: Form 984">
                <a:extLst>
                  <a:ext uri="{FF2B5EF4-FFF2-40B4-BE49-F238E27FC236}">
                    <a16:creationId xmlns:a16="http://schemas.microsoft.com/office/drawing/2014/main" id="{0DF95463-9177-4AD4-8207-F6C48D321C3E}"/>
                  </a:ext>
                </a:extLst>
              </p:cNvPr>
              <p:cNvSpPr/>
              <p:nvPr/>
            </p:nvSpPr>
            <p:spPr>
              <a:xfrm>
                <a:off x="5648120" y="4176285"/>
                <a:ext cx="131048" cy="157269"/>
              </a:xfrm>
              <a:custGeom>
                <a:avLst/>
                <a:gdLst>
                  <a:gd name="connsiteX0" fmla="*/ 124527 w 131048"/>
                  <a:gd name="connsiteY0" fmla="*/ 157270 h 157269"/>
                  <a:gd name="connsiteX1" fmla="*/ 6549 w 131048"/>
                  <a:gd name="connsiteY1" fmla="*/ 157270 h 157269"/>
                  <a:gd name="connsiteX2" fmla="*/ 0 w 131048"/>
                  <a:gd name="connsiteY2" fmla="*/ 150721 h 157269"/>
                  <a:gd name="connsiteX3" fmla="*/ 6549 w 131048"/>
                  <a:gd name="connsiteY3" fmla="*/ 144173 h 157269"/>
                  <a:gd name="connsiteX4" fmla="*/ 117334 w 131048"/>
                  <a:gd name="connsiteY4" fmla="*/ 144173 h 157269"/>
                  <a:gd name="connsiteX5" fmla="*/ 105422 w 131048"/>
                  <a:gd name="connsiteY5" fmla="*/ 13097 h 157269"/>
                  <a:gd name="connsiteX6" fmla="*/ 6549 w 131048"/>
                  <a:gd name="connsiteY6" fmla="*/ 13097 h 157269"/>
                  <a:gd name="connsiteX7" fmla="*/ 0 w 131048"/>
                  <a:gd name="connsiteY7" fmla="*/ 6549 h 157269"/>
                  <a:gd name="connsiteX8" fmla="*/ 6549 w 131048"/>
                  <a:gd name="connsiteY8" fmla="*/ 0 h 157269"/>
                  <a:gd name="connsiteX9" fmla="*/ 111404 w 131048"/>
                  <a:gd name="connsiteY9" fmla="*/ 0 h 157269"/>
                  <a:gd name="connsiteX10" fmla="*/ 117927 w 131048"/>
                  <a:gd name="connsiteY10" fmla="*/ 5956 h 157269"/>
                  <a:gd name="connsiteX11" fmla="*/ 131024 w 131048"/>
                  <a:gd name="connsiteY11" fmla="*/ 150154 h 157269"/>
                  <a:gd name="connsiteX12" fmla="*/ 129322 w 131048"/>
                  <a:gd name="connsiteY12" fmla="*/ 155182 h 157269"/>
                  <a:gd name="connsiteX13" fmla="*/ 124527 w 131048"/>
                  <a:gd name="connsiteY13" fmla="*/ 157270 h 15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048" h="157269">
                    <a:moveTo>
                      <a:pt x="124527" y="157270"/>
                    </a:moveTo>
                    <a:lnTo>
                      <a:pt x="6549" y="157270"/>
                    </a:lnTo>
                    <a:cubicBezTo>
                      <a:pt x="2939" y="157270"/>
                      <a:pt x="0" y="154331"/>
                      <a:pt x="0" y="150721"/>
                    </a:cubicBezTo>
                    <a:cubicBezTo>
                      <a:pt x="0" y="147112"/>
                      <a:pt x="2939" y="144173"/>
                      <a:pt x="6549" y="144173"/>
                    </a:cubicBezTo>
                    <a:lnTo>
                      <a:pt x="117334" y="144173"/>
                    </a:lnTo>
                    <a:lnTo>
                      <a:pt x="105422" y="13097"/>
                    </a:lnTo>
                    <a:lnTo>
                      <a:pt x="6549" y="13097"/>
                    </a:lnTo>
                    <a:cubicBezTo>
                      <a:pt x="2939" y="13097"/>
                      <a:pt x="0" y="10158"/>
                      <a:pt x="0" y="6549"/>
                    </a:cubicBezTo>
                    <a:cubicBezTo>
                      <a:pt x="0" y="2939"/>
                      <a:pt x="2939" y="0"/>
                      <a:pt x="6549" y="0"/>
                    </a:cubicBezTo>
                    <a:lnTo>
                      <a:pt x="111404" y="0"/>
                    </a:lnTo>
                    <a:cubicBezTo>
                      <a:pt x="114781" y="0"/>
                      <a:pt x="117617" y="2578"/>
                      <a:pt x="117927" y="5956"/>
                    </a:cubicBezTo>
                    <a:lnTo>
                      <a:pt x="131024" y="150154"/>
                    </a:lnTo>
                    <a:cubicBezTo>
                      <a:pt x="131179" y="151985"/>
                      <a:pt x="130586" y="153815"/>
                      <a:pt x="129322" y="155182"/>
                    </a:cubicBezTo>
                    <a:cubicBezTo>
                      <a:pt x="128111" y="156496"/>
                      <a:pt x="126357" y="157270"/>
                      <a:pt x="124527" y="157270"/>
                    </a:cubicBezTo>
                    <a:close/>
                  </a:path>
                </a:pathLst>
              </a:custGeom>
              <a:solidFill>
                <a:schemeClr val="tx2"/>
              </a:solidFill>
              <a:ln w="2573" cap="flat">
                <a:noFill/>
                <a:prstDash val="solid"/>
                <a:miter/>
              </a:ln>
            </p:spPr>
            <p:txBody>
              <a:bodyPr rtlCol="0" anchor="ctr"/>
              <a:lstStyle/>
              <a:p>
                <a:endParaRPr lang="en-GB" dirty="0"/>
              </a:p>
            </p:txBody>
          </p:sp>
          <p:sp>
            <p:nvSpPr>
              <p:cNvPr id="547" name="Freihandform: Form 985">
                <a:extLst>
                  <a:ext uri="{FF2B5EF4-FFF2-40B4-BE49-F238E27FC236}">
                    <a16:creationId xmlns:a16="http://schemas.microsoft.com/office/drawing/2014/main" id="{EB11F1C3-70AA-4E48-A2D8-221FDAB4D6D2}"/>
                  </a:ext>
                </a:extLst>
              </p:cNvPr>
              <p:cNvSpPr/>
              <p:nvPr/>
            </p:nvSpPr>
            <p:spPr>
              <a:xfrm>
                <a:off x="5412190" y="4163136"/>
                <a:ext cx="249028" cy="216284"/>
              </a:xfrm>
              <a:custGeom>
                <a:avLst/>
                <a:gdLst>
                  <a:gd name="connsiteX0" fmla="*/ 216569 w 249028"/>
                  <a:gd name="connsiteY0" fmla="*/ 216285 h 216284"/>
                  <a:gd name="connsiteX1" fmla="*/ 32485 w 249028"/>
                  <a:gd name="connsiteY1" fmla="*/ 216285 h 216284"/>
                  <a:gd name="connsiteX2" fmla="*/ 0 w 249028"/>
                  <a:gd name="connsiteY2" fmla="*/ 183799 h 216284"/>
                  <a:gd name="connsiteX3" fmla="*/ 0 w 249028"/>
                  <a:gd name="connsiteY3" fmla="*/ 6549 h 216284"/>
                  <a:gd name="connsiteX4" fmla="*/ 6549 w 249028"/>
                  <a:gd name="connsiteY4" fmla="*/ 0 h 216284"/>
                  <a:gd name="connsiteX5" fmla="*/ 242479 w 249028"/>
                  <a:gd name="connsiteY5" fmla="*/ 0 h 216284"/>
                  <a:gd name="connsiteX6" fmla="*/ 249028 w 249028"/>
                  <a:gd name="connsiteY6" fmla="*/ 6549 h 216284"/>
                  <a:gd name="connsiteX7" fmla="*/ 249028 w 249028"/>
                  <a:gd name="connsiteY7" fmla="*/ 183799 h 216284"/>
                  <a:gd name="connsiteX8" fmla="*/ 216569 w 249028"/>
                  <a:gd name="connsiteY8" fmla="*/ 216285 h 216284"/>
                  <a:gd name="connsiteX9" fmla="*/ 13097 w 249028"/>
                  <a:gd name="connsiteY9" fmla="*/ 13123 h 216284"/>
                  <a:gd name="connsiteX10" fmla="*/ 13097 w 249028"/>
                  <a:gd name="connsiteY10" fmla="*/ 183825 h 216284"/>
                  <a:gd name="connsiteX11" fmla="*/ 32459 w 249028"/>
                  <a:gd name="connsiteY11" fmla="*/ 203188 h 216284"/>
                  <a:gd name="connsiteX12" fmla="*/ 216543 w 249028"/>
                  <a:gd name="connsiteY12" fmla="*/ 203188 h 216284"/>
                  <a:gd name="connsiteX13" fmla="*/ 235905 w 249028"/>
                  <a:gd name="connsiteY13" fmla="*/ 183825 h 216284"/>
                  <a:gd name="connsiteX14" fmla="*/ 235905 w 249028"/>
                  <a:gd name="connsiteY14" fmla="*/ 13123 h 216284"/>
                  <a:gd name="connsiteX15" fmla="*/ 13097 w 249028"/>
                  <a:gd name="connsiteY15" fmla="*/ 13123 h 21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9028" h="216284">
                    <a:moveTo>
                      <a:pt x="216569" y="216285"/>
                    </a:moveTo>
                    <a:lnTo>
                      <a:pt x="32485" y="216285"/>
                    </a:lnTo>
                    <a:cubicBezTo>
                      <a:pt x="14567" y="216285"/>
                      <a:pt x="0" y="201718"/>
                      <a:pt x="0" y="183799"/>
                    </a:cubicBezTo>
                    <a:lnTo>
                      <a:pt x="0" y="6549"/>
                    </a:lnTo>
                    <a:cubicBezTo>
                      <a:pt x="0" y="2939"/>
                      <a:pt x="2939" y="0"/>
                      <a:pt x="6549" y="0"/>
                    </a:cubicBezTo>
                    <a:lnTo>
                      <a:pt x="242479" y="0"/>
                    </a:lnTo>
                    <a:cubicBezTo>
                      <a:pt x="246089" y="0"/>
                      <a:pt x="249028" y="2939"/>
                      <a:pt x="249028" y="6549"/>
                    </a:cubicBezTo>
                    <a:lnTo>
                      <a:pt x="249028" y="183799"/>
                    </a:lnTo>
                    <a:cubicBezTo>
                      <a:pt x="249028" y="201718"/>
                      <a:pt x="234461" y="216285"/>
                      <a:pt x="216569" y="216285"/>
                    </a:cubicBezTo>
                    <a:close/>
                    <a:moveTo>
                      <a:pt x="13097" y="13123"/>
                    </a:moveTo>
                    <a:lnTo>
                      <a:pt x="13097" y="183825"/>
                    </a:lnTo>
                    <a:cubicBezTo>
                      <a:pt x="13097" y="194499"/>
                      <a:pt x="21786" y="203188"/>
                      <a:pt x="32459" y="203188"/>
                    </a:cubicBezTo>
                    <a:lnTo>
                      <a:pt x="216543" y="203188"/>
                    </a:lnTo>
                    <a:cubicBezTo>
                      <a:pt x="227217" y="203188"/>
                      <a:pt x="235905" y="194499"/>
                      <a:pt x="235905" y="183825"/>
                    </a:cubicBezTo>
                    <a:lnTo>
                      <a:pt x="235905" y="13123"/>
                    </a:lnTo>
                    <a:lnTo>
                      <a:pt x="13097" y="13123"/>
                    </a:lnTo>
                    <a:close/>
                  </a:path>
                </a:pathLst>
              </a:custGeom>
              <a:solidFill>
                <a:schemeClr val="tx2"/>
              </a:solidFill>
              <a:ln w="2573" cap="flat">
                <a:noFill/>
                <a:prstDash val="solid"/>
                <a:miter/>
              </a:ln>
            </p:spPr>
            <p:txBody>
              <a:bodyPr rtlCol="0" anchor="ctr"/>
              <a:lstStyle/>
              <a:p>
                <a:endParaRPr lang="en-GB" dirty="0"/>
              </a:p>
            </p:txBody>
          </p:sp>
          <p:sp>
            <p:nvSpPr>
              <p:cNvPr id="548" name="Freihandform: Form 990">
                <a:extLst>
                  <a:ext uri="{FF2B5EF4-FFF2-40B4-BE49-F238E27FC236}">
                    <a16:creationId xmlns:a16="http://schemas.microsoft.com/office/drawing/2014/main" id="{05E743CF-DDC3-47E4-B8C3-967857DE3DFE}"/>
                  </a:ext>
                </a:extLst>
              </p:cNvPr>
              <p:cNvSpPr/>
              <p:nvPr/>
            </p:nvSpPr>
            <p:spPr>
              <a:xfrm>
                <a:off x="5372872" y="4438436"/>
                <a:ext cx="91732" cy="117952"/>
              </a:xfrm>
              <a:custGeom>
                <a:avLst/>
                <a:gdLst>
                  <a:gd name="connsiteX0" fmla="*/ 85184 w 91732"/>
                  <a:gd name="connsiteY0" fmla="*/ 117952 h 117952"/>
                  <a:gd name="connsiteX1" fmla="*/ 6549 w 91732"/>
                  <a:gd name="connsiteY1" fmla="*/ 117952 h 117952"/>
                  <a:gd name="connsiteX2" fmla="*/ 0 w 91732"/>
                  <a:gd name="connsiteY2" fmla="*/ 111404 h 117952"/>
                  <a:gd name="connsiteX3" fmla="*/ 0 w 91732"/>
                  <a:gd name="connsiteY3" fmla="*/ 6548 h 117952"/>
                  <a:gd name="connsiteX4" fmla="*/ 6549 w 91732"/>
                  <a:gd name="connsiteY4" fmla="*/ 0 h 117952"/>
                  <a:gd name="connsiteX5" fmla="*/ 85184 w 91732"/>
                  <a:gd name="connsiteY5" fmla="*/ 0 h 117952"/>
                  <a:gd name="connsiteX6" fmla="*/ 91732 w 91732"/>
                  <a:gd name="connsiteY6" fmla="*/ 6548 h 117952"/>
                  <a:gd name="connsiteX7" fmla="*/ 91732 w 91732"/>
                  <a:gd name="connsiteY7" fmla="*/ 111404 h 117952"/>
                  <a:gd name="connsiteX8" fmla="*/ 85184 w 91732"/>
                  <a:gd name="connsiteY8" fmla="*/ 117952 h 117952"/>
                  <a:gd name="connsiteX9" fmla="*/ 13097 w 91732"/>
                  <a:gd name="connsiteY9" fmla="*/ 104855 h 117952"/>
                  <a:gd name="connsiteX10" fmla="*/ 78635 w 91732"/>
                  <a:gd name="connsiteY10" fmla="*/ 104855 h 117952"/>
                  <a:gd name="connsiteX11" fmla="*/ 78635 w 91732"/>
                  <a:gd name="connsiteY11" fmla="*/ 13097 h 117952"/>
                  <a:gd name="connsiteX12" fmla="*/ 13097 w 91732"/>
                  <a:gd name="connsiteY12" fmla="*/ 13097 h 117952"/>
                  <a:gd name="connsiteX13" fmla="*/ 13097 w 91732"/>
                  <a:gd name="connsiteY13" fmla="*/ 104855 h 11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732" h="117952">
                    <a:moveTo>
                      <a:pt x="85184" y="117952"/>
                    </a:moveTo>
                    <a:lnTo>
                      <a:pt x="6549" y="117952"/>
                    </a:lnTo>
                    <a:cubicBezTo>
                      <a:pt x="2939" y="117952"/>
                      <a:pt x="0" y="115013"/>
                      <a:pt x="0" y="111404"/>
                    </a:cubicBezTo>
                    <a:lnTo>
                      <a:pt x="0" y="6548"/>
                    </a:lnTo>
                    <a:cubicBezTo>
                      <a:pt x="0" y="2913"/>
                      <a:pt x="2939" y="0"/>
                      <a:pt x="6549" y="0"/>
                    </a:cubicBezTo>
                    <a:lnTo>
                      <a:pt x="85184" y="0"/>
                    </a:lnTo>
                    <a:cubicBezTo>
                      <a:pt x="88793" y="0"/>
                      <a:pt x="91732" y="2939"/>
                      <a:pt x="91732" y="6548"/>
                    </a:cubicBezTo>
                    <a:lnTo>
                      <a:pt x="91732" y="111404"/>
                    </a:lnTo>
                    <a:cubicBezTo>
                      <a:pt x="91732" y="115013"/>
                      <a:pt x="88793" y="117952"/>
                      <a:pt x="85184" y="117952"/>
                    </a:cubicBezTo>
                    <a:close/>
                    <a:moveTo>
                      <a:pt x="13097" y="104855"/>
                    </a:moveTo>
                    <a:lnTo>
                      <a:pt x="78635" y="104855"/>
                    </a:lnTo>
                    <a:lnTo>
                      <a:pt x="78635" y="13097"/>
                    </a:lnTo>
                    <a:lnTo>
                      <a:pt x="13097" y="13097"/>
                    </a:lnTo>
                    <a:lnTo>
                      <a:pt x="13097" y="104855"/>
                    </a:lnTo>
                    <a:close/>
                  </a:path>
                </a:pathLst>
              </a:custGeom>
              <a:solidFill>
                <a:schemeClr val="tx2"/>
              </a:solidFill>
              <a:ln w="2573" cap="flat">
                <a:noFill/>
                <a:prstDash val="solid"/>
                <a:miter/>
              </a:ln>
            </p:spPr>
            <p:txBody>
              <a:bodyPr rtlCol="0" anchor="ctr"/>
              <a:lstStyle/>
              <a:p>
                <a:endParaRPr lang="en-GB" dirty="0"/>
              </a:p>
            </p:txBody>
          </p:sp>
          <p:sp>
            <p:nvSpPr>
              <p:cNvPr id="549" name="Freihandform: Form 991">
                <a:extLst>
                  <a:ext uri="{FF2B5EF4-FFF2-40B4-BE49-F238E27FC236}">
                    <a16:creationId xmlns:a16="http://schemas.microsoft.com/office/drawing/2014/main" id="{DC85E196-4AF9-4978-A5A2-8315E8C21AE9}"/>
                  </a:ext>
                </a:extLst>
              </p:cNvPr>
              <p:cNvSpPr/>
              <p:nvPr/>
            </p:nvSpPr>
            <p:spPr>
              <a:xfrm>
                <a:off x="5510496" y="4399118"/>
                <a:ext cx="203161" cy="117952"/>
              </a:xfrm>
              <a:custGeom>
                <a:avLst/>
                <a:gdLst>
                  <a:gd name="connsiteX0" fmla="*/ 196613 w 203161"/>
                  <a:gd name="connsiteY0" fmla="*/ 117952 h 117952"/>
                  <a:gd name="connsiteX1" fmla="*/ 6549 w 203161"/>
                  <a:gd name="connsiteY1" fmla="*/ 117952 h 117952"/>
                  <a:gd name="connsiteX2" fmla="*/ 0 w 203161"/>
                  <a:gd name="connsiteY2" fmla="*/ 111404 h 117952"/>
                  <a:gd name="connsiteX3" fmla="*/ 0 w 203161"/>
                  <a:gd name="connsiteY3" fmla="*/ 6548 h 117952"/>
                  <a:gd name="connsiteX4" fmla="*/ 6549 w 203161"/>
                  <a:gd name="connsiteY4" fmla="*/ 0 h 117952"/>
                  <a:gd name="connsiteX5" fmla="*/ 196613 w 203161"/>
                  <a:gd name="connsiteY5" fmla="*/ 0 h 117952"/>
                  <a:gd name="connsiteX6" fmla="*/ 203162 w 203161"/>
                  <a:gd name="connsiteY6" fmla="*/ 6548 h 117952"/>
                  <a:gd name="connsiteX7" fmla="*/ 203162 w 203161"/>
                  <a:gd name="connsiteY7" fmla="*/ 111404 h 117952"/>
                  <a:gd name="connsiteX8" fmla="*/ 196613 w 203161"/>
                  <a:gd name="connsiteY8" fmla="*/ 117952 h 117952"/>
                  <a:gd name="connsiteX9" fmla="*/ 13097 w 203161"/>
                  <a:gd name="connsiteY9" fmla="*/ 104829 h 117952"/>
                  <a:gd name="connsiteX10" fmla="*/ 190065 w 203161"/>
                  <a:gd name="connsiteY10" fmla="*/ 104829 h 117952"/>
                  <a:gd name="connsiteX11" fmla="*/ 190065 w 203161"/>
                  <a:gd name="connsiteY11" fmla="*/ 13071 h 117952"/>
                  <a:gd name="connsiteX12" fmla="*/ 13097 w 203161"/>
                  <a:gd name="connsiteY12" fmla="*/ 13071 h 117952"/>
                  <a:gd name="connsiteX13" fmla="*/ 13097 w 203161"/>
                  <a:gd name="connsiteY13" fmla="*/ 104829 h 117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161" h="117952">
                    <a:moveTo>
                      <a:pt x="196613" y="117952"/>
                    </a:moveTo>
                    <a:lnTo>
                      <a:pt x="6549" y="117952"/>
                    </a:lnTo>
                    <a:cubicBezTo>
                      <a:pt x="2939" y="117952"/>
                      <a:pt x="0" y="115013"/>
                      <a:pt x="0" y="111404"/>
                    </a:cubicBezTo>
                    <a:lnTo>
                      <a:pt x="0" y="6548"/>
                    </a:lnTo>
                    <a:cubicBezTo>
                      <a:pt x="0" y="2913"/>
                      <a:pt x="2939" y="0"/>
                      <a:pt x="6549" y="0"/>
                    </a:cubicBezTo>
                    <a:lnTo>
                      <a:pt x="196613" y="0"/>
                    </a:lnTo>
                    <a:cubicBezTo>
                      <a:pt x="200223" y="0"/>
                      <a:pt x="203162" y="2939"/>
                      <a:pt x="203162" y="6548"/>
                    </a:cubicBezTo>
                    <a:lnTo>
                      <a:pt x="203162" y="111404"/>
                    </a:lnTo>
                    <a:cubicBezTo>
                      <a:pt x="203162" y="115013"/>
                      <a:pt x="200223" y="117952"/>
                      <a:pt x="196613" y="117952"/>
                    </a:cubicBezTo>
                    <a:close/>
                    <a:moveTo>
                      <a:pt x="13097" y="104829"/>
                    </a:moveTo>
                    <a:lnTo>
                      <a:pt x="190065" y="104829"/>
                    </a:lnTo>
                    <a:lnTo>
                      <a:pt x="190065" y="13071"/>
                    </a:lnTo>
                    <a:lnTo>
                      <a:pt x="13097" y="13071"/>
                    </a:lnTo>
                    <a:lnTo>
                      <a:pt x="13097" y="104829"/>
                    </a:lnTo>
                    <a:close/>
                  </a:path>
                </a:pathLst>
              </a:custGeom>
              <a:solidFill>
                <a:schemeClr val="tx2"/>
              </a:solidFill>
              <a:ln w="2573" cap="flat">
                <a:noFill/>
                <a:prstDash val="solid"/>
                <a:miter/>
              </a:ln>
            </p:spPr>
            <p:txBody>
              <a:bodyPr rtlCol="0" anchor="ctr"/>
              <a:lstStyle/>
              <a:p>
                <a:endParaRPr lang="en-GB" dirty="0"/>
              </a:p>
            </p:txBody>
          </p:sp>
          <p:sp>
            <p:nvSpPr>
              <p:cNvPr id="550" name="Freihandform: Form 992">
                <a:extLst>
                  <a:ext uri="{FF2B5EF4-FFF2-40B4-BE49-F238E27FC236}">
                    <a16:creationId xmlns:a16="http://schemas.microsoft.com/office/drawing/2014/main" id="{3C82D1DE-9685-4C86-A113-7CA58969B5D9}"/>
                  </a:ext>
                </a:extLst>
              </p:cNvPr>
              <p:cNvSpPr/>
              <p:nvPr/>
            </p:nvSpPr>
            <p:spPr>
              <a:xfrm>
                <a:off x="5497373" y="4399092"/>
                <a:ext cx="229382" cy="13097"/>
              </a:xfrm>
              <a:custGeom>
                <a:avLst/>
                <a:gdLst>
                  <a:gd name="connsiteX0" fmla="*/ 222834 w 229382"/>
                  <a:gd name="connsiteY0" fmla="*/ 13097 h 13097"/>
                  <a:gd name="connsiteX1" fmla="*/ 6549 w 229382"/>
                  <a:gd name="connsiteY1" fmla="*/ 13097 h 13097"/>
                  <a:gd name="connsiteX2" fmla="*/ 0 w 229382"/>
                  <a:gd name="connsiteY2" fmla="*/ 6548 h 13097"/>
                  <a:gd name="connsiteX3" fmla="*/ 6549 w 229382"/>
                  <a:gd name="connsiteY3" fmla="*/ 0 h 13097"/>
                  <a:gd name="connsiteX4" fmla="*/ 222834 w 229382"/>
                  <a:gd name="connsiteY4" fmla="*/ 0 h 13097"/>
                  <a:gd name="connsiteX5" fmla="*/ 229382 w 229382"/>
                  <a:gd name="connsiteY5" fmla="*/ 6548 h 13097"/>
                  <a:gd name="connsiteX6" fmla="*/ 222834 w 229382"/>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82" h="13097">
                    <a:moveTo>
                      <a:pt x="222834" y="13097"/>
                    </a:moveTo>
                    <a:lnTo>
                      <a:pt x="6549" y="13097"/>
                    </a:lnTo>
                    <a:cubicBezTo>
                      <a:pt x="2939" y="13097"/>
                      <a:pt x="0" y="10158"/>
                      <a:pt x="0" y="6548"/>
                    </a:cubicBezTo>
                    <a:cubicBezTo>
                      <a:pt x="0" y="2939"/>
                      <a:pt x="2939" y="0"/>
                      <a:pt x="6549" y="0"/>
                    </a:cubicBezTo>
                    <a:lnTo>
                      <a:pt x="222834" y="0"/>
                    </a:lnTo>
                    <a:cubicBezTo>
                      <a:pt x="226443" y="0"/>
                      <a:pt x="229382" y="2939"/>
                      <a:pt x="229382" y="6548"/>
                    </a:cubicBezTo>
                    <a:cubicBezTo>
                      <a:pt x="229382" y="10158"/>
                      <a:pt x="226469" y="13097"/>
                      <a:pt x="222834" y="13097"/>
                    </a:cubicBezTo>
                    <a:close/>
                  </a:path>
                </a:pathLst>
              </a:custGeom>
              <a:solidFill>
                <a:schemeClr val="tx2"/>
              </a:solidFill>
              <a:ln w="2573" cap="flat">
                <a:noFill/>
                <a:prstDash val="solid"/>
                <a:miter/>
              </a:ln>
            </p:spPr>
            <p:txBody>
              <a:bodyPr rtlCol="0" anchor="ctr"/>
              <a:lstStyle/>
              <a:p>
                <a:endParaRPr lang="en-GB" dirty="0"/>
              </a:p>
            </p:txBody>
          </p:sp>
        </p:grpSp>
      </p:grpSp>
      <p:grpSp>
        <p:nvGrpSpPr>
          <p:cNvPr id="562" name="Group 561">
            <a:extLst>
              <a:ext uri="{FF2B5EF4-FFF2-40B4-BE49-F238E27FC236}">
                <a16:creationId xmlns:a16="http://schemas.microsoft.com/office/drawing/2014/main" id="{4CCAB78D-BC73-4A16-93D2-819EAA0196AD}"/>
              </a:ext>
            </a:extLst>
          </p:cNvPr>
          <p:cNvGrpSpPr>
            <a:grpSpLocks noChangeAspect="1"/>
          </p:cNvGrpSpPr>
          <p:nvPr/>
        </p:nvGrpSpPr>
        <p:grpSpPr>
          <a:xfrm>
            <a:off x="8096644" y="3197065"/>
            <a:ext cx="449737" cy="432000"/>
            <a:chOff x="7013269" y="4097610"/>
            <a:chExt cx="450315" cy="432555"/>
          </a:xfrm>
        </p:grpSpPr>
        <p:grpSp>
          <p:nvGrpSpPr>
            <p:cNvPr id="563" name="Group 562">
              <a:extLst>
                <a:ext uri="{FF2B5EF4-FFF2-40B4-BE49-F238E27FC236}">
                  <a16:creationId xmlns:a16="http://schemas.microsoft.com/office/drawing/2014/main" id="{7D3D6790-B187-4EB1-AE8F-08769B88B678}"/>
                </a:ext>
              </a:extLst>
            </p:cNvPr>
            <p:cNvGrpSpPr/>
            <p:nvPr/>
          </p:nvGrpSpPr>
          <p:grpSpPr>
            <a:xfrm>
              <a:off x="7148992" y="4097610"/>
              <a:ext cx="249079" cy="432555"/>
              <a:chOff x="7148992" y="4097613"/>
              <a:chExt cx="249079" cy="432555"/>
            </a:xfrm>
          </p:grpSpPr>
          <p:sp>
            <p:nvSpPr>
              <p:cNvPr id="576" name="Freihandform: Form 1000">
                <a:extLst>
                  <a:ext uri="{FF2B5EF4-FFF2-40B4-BE49-F238E27FC236}">
                    <a16:creationId xmlns:a16="http://schemas.microsoft.com/office/drawing/2014/main" id="{050008FB-6D48-4EC9-9568-0ED4764F4118}"/>
                  </a:ext>
                </a:extLst>
              </p:cNvPr>
              <p:cNvSpPr/>
              <p:nvPr/>
            </p:nvSpPr>
            <p:spPr>
              <a:xfrm>
                <a:off x="7148992" y="4097624"/>
                <a:ext cx="104855" cy="432544"/>
              </a:xfrm>
              <a:custGeom>
                <a:avLst/>
                <a:gdLst>
                  <a:gd name="connsiteX0" fmla="*/ 98307 w 104855"/>
                  <a:gd name="connsiteY0" fmla="*/ 432544 h 432544"/>
                  <a:gd name="connsiteX1" fmla="*/ 6549 w 104855"/>
                  <a:gd name="connsiteY1" fmla="*/ 432544 h 432544"/>
                  <a:gd name="connsiteX2" fmla="*/ 0 w 104855"/>
                  <a:gd name="connsiteY2" fmla="*/ 425995 h 432544"/>
                  <a:gd name="connsiteX3" fmla="*/ 0 w 104855"/>
                  <a:gd name="connsiteY3" fmla="*/ 6549 h 432544"/>
                  <a:gd name="connsiteX4" fmla="*/ 6549 w 104855"/>
                  <a:gd name="connsiteY4" fmla="*/ 0 h 432544"/>
                  <a:gd name="connsiteX5" fmla="*/ 98307 w 104855"/>
                  <a:gd name="connsiteY5" fmla="*/ 0 h 432544"/>
                  <a:gd name="connsiteX6" fmla="*/ 104855 w 104855"/>
                  <a:gd name="connsiteY6" fmla="*/ 6549 h 432544"/>
                  <a:gd name="connsiteX7" fmla="*/ 104855 w 104855"/>
                  <a:gd name="connsiteY7" fmla="*/ 425995 h 432544"/>
                  <a:gd name="connsiteX8" fmla="*/ 98307 w 104855"/>
                  <a:gd name="connsiteY8" fmla="*/ 432544 h 432544"/>
                  <a:gd name="connsiteX9" fmla="*/ 13097 w 104855"/>
                  <a:gd name="connsiteY9" fmla="*/ 419447 h 432544"/>
                  <a:gd name="connsiteX10" fmla="*/ 91732 w 104855"/>
                  <a:gd name="connsiteY10" fmla="*/ 419447 h 432544"/>
                  <a:gd name="connsiteX11" fmla="*/ 91732 w 104855"/>
                  <a:gd name="connsiteY11" fmla="*/ 13097 h 432544"/>
                  <a:gd name="connsiteX12" fmla="*/ 13097 w 104855"/>
                  <a:gd name="connsiteY12" fmla="*/ 13097 h 432544"/>
                  <a:gd name="connsiteX13" fmla="*/ 13097 w 104855"/>
                  <a:gd name="connsiteY13" fmla="*/ 419447 h 432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855" h="432544">
                    <a:moveTo>
                      <a:pt x="98307" y="432544"/>
                    </a:moveTo>
                    <a:lnTo>
                      <a:pt x="6549" y="432544"/>
                    </a:lnTo>
                    <a:cubicBezTo>
                      <a:pt x="2913" y="432544"/>
                      <a:pt x="0" y="429605"/>
                      <a:pt x="0" y="425995"/>
                    </a:cubicBezTo>
                    <a:lnTo>
                      <a:pt x="0" y="6549"/>
                    </a:lnTo>
                    <a:cubicBezTo>
                      <a:pt x="0" y="2913"/>
                      <a:pt x="2939" y="0"/>
                      <a:pt x="6549" y="0"/>
                    </a:cubicBezTo>
                    <a:lnTo>
                      <a:pt x="98307" y="0"/>
                    </a:lnTo>
                    <a:cubicBezTo>
                      <a:pt x="101916" y="0"/>
                      <a:pt x="104855" y="2939"/>
                      <a:pt x="104855" y="6549"/>
                    </a:cubicBezTo>
                    <a:lnTo>
                      <a:pt x="104855" y="425995"/>
                    </a:lnTo>
                    <a:cubicBezTo>
                      <a:pt x="104855" y="429605"/>
                      <a:pt x="101916" y="432544"/>
                      <a:pt x="98307" y="432544"/>
                    </a:cubicBezTo>
                    <a:close/>
                    <a:moveTo>
                      <a:pt x="13097" y="419447"/>
                    </a:moveTo>
                    <a:lnTo>
                      <a:pt x="91732" y="419447"/>
                    </a:lnTo>
                    <a:lnTo>
                      <a:pt x="91732" y="13097"/>
                    </a:lnTo>
                    <a:lnTo>
                      <a:pt x="13097" y="13097"/>
                    </a:lnTo>
                    <a:lnTo>
                      <a:pt x="13097" y="419447"/>
                    </a:lnTo>
                    <a:close/>
                  </a:path>
                </a:pathLst>
              </a:custGeom>
              <a:solidFill>
                <a:schemeClr val="tx2"/>
              </a:solidFill>
              <a:ln w="2573" cap="flat">
                <a:noFill/>
                <a:prstDash val="solid"/>
                <a:miter/>
              </a:ln>
            </p:spPr>
            <p:txBody>
              <a:bodyPr rtlCol="0" anchor="ctr"/>
              <a:lstStyle/>
              <a:p>
                <a:endParaRPr lang="en-GB" dirty="0"/>
              </a:p>
            </p:txBody>
          </p:sp>
          <p:sp>
            <p:nvSpPr>
              <p:cNvPr id="577" name="Freihandform: Form 1001">
                <a:extLst>
                  <a:ext uri="{FF2B5EF4-FFF2-40B4-BE49-F238E27FC236}">
                    <a16:creationId xmlns:a16="http://schemas.microsoft.com/office/drawing/2014/main" id="{CDDE227E-A930-4641-9B07-2A5B0FFB7BDC}"/>
                  </a:ext>
                </a:extLst>
              </p:cNvPr>
              <p:cNvSpPr/>
              <p:nvPr/>
            </p:nvSpPr>
            <p:spPr>
              <a:xfrm>
                <a:off x="7240750" y="4097613"/>
                <a:ext cx="157321" cy="432554"/>
              </a:xfrm>
              <a:custGeom>
                <a:avLst/>
                <a:gdLst>
                  <a:gd name="connsiteX0" fmla="*/ 6549 w 157321"/>
                  <a:gd name="connsiteY0" fmla="*/ 432555 h 432554"/>
                  <a:gd name="connsiteX1" fmla="*/ 2346 w 157321"/>
                  <a:gd name="connsiteY1" fmla="*/ 431034 h 432554"/>
                  <a:gd name="connsiteX2" fmla="*/ 0 w 157321"/>
                  <a:gd name="connsiteY2" fmla="*/ 426006 h 432554"/>
                  <a:gd name="connsiteX3" fmla="*/ 0 w 157321"/>
                  <a:gd name="connsiteY3" fmla="*/ 6559 h 432554"/>
                  <a:gd name="connsiteX4" fmla="*/ 2475 w 157321"/>
                  <a:gd name="connsiteY4" fmla="*/ 1428 h 432554"/>
                  <a:gd name="connsiteX5" fmla="*/ 8018 w 157321"/>
                  <a:gd name="connsiteY5" fmla="*/ 165 h 432554"/>
                  <a:gd name="connsiteX6" fmla="*/ 152217 w 157321"/>
                  <a:gd name="connsiteY6" fmla="*/ 32934 h 432554"/>
                  <a:gd name="connsiteX7" fmla="*/ 157322 w 157321"/>
                  <a:gd name="connsiteY7" fmla="*/ 39328 h 432554"/>
                  <a:gd name="connsiteX8" fmla="*/ 157322 w 157321"/>
                  <a:gd name="connsiteY8" fmla="*/ 399786 h 432554"/>
                  <a:gd name="connsiteX9" fmla="*/ 151933 w 157321"/>
                  <a:gd name="connsiteY9" fmla="*/ 406231 h 432554"/>
                  <a:gd name="connsiteX10" fmla="*/ 7735 w 157321"/>
                  <a:gd name="connsiteY10" fmla="*/ 432451 h 432554"/>
                  <a:gd name="connsiteX11" fmla="*/ 6549 w 157321"/>
                  <a:gd name="connsiteY11" fmla="*/ 432555 h 432554"/>
                  <a:gd name="connsiteX12" fmla="*/ 13097 w 157321"/>
                  <a:gd name="connsiteY12" fmla="*/ 14758 h 432554"/>
                  <a:gd name="connsiteX13" fmla="*/ 13097 w 157321"/>
                  <a:gd name="connsiteY13" fmla="*/ 418143 h 432554"/>
                  <a:gd name="connsiteX14" fmla="*/ 144173 w 157321"/>
                  <a:gd name="connsiteY14" fmla="*/ 394294 h 432554"/>
                  <a:gd name="connsiteX15" fmla="*/ 144173 w 157321"/>
                  <a:gd name="connsiteY15" fmla="*/ 44562 h 432554"/>
                  <a:gd name="connsiteX16" fmla="*/ 13097 w 157321"/>
                  <a:gd name="connsiteY16" fmla="*/ 14758 h 432554"/>
                  <a:gd name="connsiteX17" fmla="*/ 150721 w 157321"/>
                  <a:gd name="connsiteY17" fmla="*/ 399786 h 432554"/>
                  <a:gd name="connsiteX18" fmla="*/ 150773 w 157321"/>
                  <a:gd name="connsiteY18" fmla="*/ 399786 h 432554"/>
                  <a:gd name="connsiteX19" fmla="*/ 150721 w 157321"/>
                  <a:gd name="connsiteY19" fmla="*/ 399786 h 432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21" h="432554">
                    <a:moveTo>
                      <a:pt x="6549" y="432555"/>
                    </a:moveTo>
                    <a:cubicBezTo>
                      <a:pt x="5028" y="432555"/>
                      <a:pt x="3532" y="432013"/>
                      <a:pt x="2346" y="431034"/>
                    </a:cubicBezTo>
                    <a:cubicBezTo>
                      <a:pt x="851" y="429796"/>
                      <a:pt x="0" y="427939"/>
                      <a:pt x="0" y="426006"/>
                    </a:cubicBezTo>
                    <a:lnTo>
                      <a:pt x="0" y="6559"/>
                    </a:lnTo>
                    <a:cubicBezTo>
                      <a:pt x="0" y="4574"/>
                      <a:pt x="902" y="2692"/>
                      <a:pt x="2475" y="1428"/>
                    </a:cubicBezTo>
                    <a:cubicBezTo>
                      <a:pt x="4048" y="165"/>
                      <a:pt x="6110" y="-273"/>
                      <a:pt x="8018" y="165"/>
                    </a:cubicBezTo>
                    <a:lnTo>
                      <a:pt x="152217" y="32934"/>
                    </a:lnTo>
                    <a:cubicBezTo>
                      <a:pt x="155207" y="33604"/>
                      <a:pt x="157322" y="36260"/>
                      <a:pt x="157322" y="39328"/>
                    </a:cubicBezTo>
                    <a:lnTo>
                      <a:pt x="157322" y="399786"/>
                    </a:lnTo>
                    <a:cubicBezTo>
                      <a:pt x="157322" y="402957"/>
                      <a:pt x="155053" y="405664"/>
                      <a:pt x="151933" y="406231"/>
                    </a:cubicBezTo>
                    <a:lnTo>
                      <a:pt x="7735" y="432451"/>
                    </a:lnTo>
                    <a:cubicBezTo>
                      <a:pt x="7322" y="432529"/>
                      <a:pt x="6935" y="432555"/>
                      <a:pt x="6549" y="432555"/>
                    </a:cubicBezTo>
                    <a:close/>
                    <a:moveTo>
                      <a:pt x="13097" y="14758"/>
                    </a:moveTo>
                    <a:lnTo>
                      <a:pt x="13097" y="418143"/>
                    </a:lnTo>
                    <a:lnTo>
                      <a:pt x="144173" y="394294"/>
                    </a:lnTo>
                    <a:lnTo>
                      <a:pt x="144173" y="44562"/>
                    </a:lnTo>
                    <a:lnTo>
                      <a:pt x="13097" y="14758"/>
                    </a:lnTo>
                    <a:close/>
                    <a:moveTo>
                      <a:pt x="150721" y="399786"/>
                    </a:moveTo>
                    <a:lnTo>
                      <a:pt x="150773" y="399786"/>
                    </a:lnTo>
                    <a:lnTo>
                      <a:pt x="150721" y="399786"/>
                    </a:lnTo>
                    <a:close/>
                  </a:path>
                </a:pathLst>
              </a:custGeom>
              <a:solidFill>
                <a:schemeClr val="tx2"/>
              </a:solidFill>
              <a:ln w="2573" cap="flat">
                <a:noFill/>
                <a:prstDash val="solid"/>
                <a:miter/>
              </a:ln>
            </p:spPr>
            <p:txBody>
              <a:bodyPr rtlCol="0" anchor="ctr"/>
              <a:lstStyle/>
              <a:p>
                <a:endParaRPr lang="en-GB" dirty="0"/>
              </a:p>
            </p:txBody>
          </p:sp>
          <p:sp>
            <p:nvSpPr>
              <p:cNvPr id="578" name="Freihandform: Form 1002">
                <a:extLst>
                  <a:ext uri="{FF2B5EF4-FFF2-40B4-BE49-F238E27FC236}">
                    <a16:creationId xmlns:a16="http://schemas.microsoft.com/office/drawing/2014/main" id="{408F189A-C6CB-49C3-A9FD-239B6854D767}"/>
                  </a:ext>
                </a:extLst>
              </p:cNvPr>
              <p:cNvSpPr/>
              <p:nvPr/>
            </p:nvSpPr>
            <p:spPr>
              <a:xfrm>
                <a:off x="7175187" y="4143567"/>
                <a:ext cx="52440" cy="334185"/>
              </a:xfrm>
              <a:custGeom>
                <a:avLst/>
                <a:gdLst>
                  <a:gd name="connsiteX0" fmla="*/ 45892 w 52440"/>
                  <a:gd name="connsiteY0" fmla="*/ 334186 h 334185"/>
                  <a:gd name="connsiteX1" fmla="*/ 16140 w 52440"/>
                  <a:gd name="connsiteY1" fmla="*/ 334186 h 334185"/>
                  <a:gd name="connsiteX2" fmla="*/ 0 w 52440"/>
                  <a:gd name="connsiteY2" fmla="*/ 318046 h 334185"/>
                  <a:gd name="connsiteX3" fmla="*/ 0 w 52440"/>
                  <a:gd name="connsiteY3" fmla="*/ 291336 h 334185"/>
                  <a:gd name="connsiteX4" fmla="*/ 16140 w 52440"/>
                  <a:gd name="connsiteY4" fmla="*/ 275197 h 334185"/>
                  <a:gd name="connsiteX5" fmla="*/ 36301 w 52440"/>
                  <a:gd name="connsiteY5" fmla="*/ 275197 h 334185"/>
                  <a:gd name="connsiteX6" fmla="*/ 39318 w 52440"/>
                  <a:gd name="connsiteY6" fmla="*/ 272180 h 334185"/>
                  <a:gd name="connsiteX7" fmla="*/ 39318 w 52440"/>
                  <a:gd name="connsiteY7" fmla="*/ 245470 h 334185"/>
                  <a:gd name="connsiteX8" fmla="*/ 36301 w 52440"/>
                  <a:gd name="connsiteY8" fmla="*/ 242454 h 334185"/>
                  <a:gd name="connsiteX9" fmla="*/ 16140 w 52440"/>
                  <a:gd name="connsiteY9" fmla="*/ 242454 h 334185"/>
                  <a:gd name="connsiteX10" fmla="*/ 0 w 52440"/>
                  <a:gd name="connsiteY10" fmla="*/ 226314 h 334185"/>
                  <a:gd name="connsiteX11" fmla="*/ 0 w 52440"/>
                  <a:gd name="connsiteY11" fmla="*/ 199604 h 334185"/>
                  <a:gd name="connsiteX12" fmla="*/ 16140 w 52440"/>
                  <a:gd name="connsiteY12" fmla="*/ 183464 h 334185"/>
                  <a:gd name="connsiteX13" fmla="*/ 36301 w 52440"/>
                  <a:gd name="connsiteY13" fmla="*/ 183464 h 334185"/>
                  <a:gd name="connsiteX14" fmla="*/ 39318 w 52440"/>
                  <a:gd name="connsiteY14" fmla="*/ 180448 h 334185"/>
                  <a:gd name="connsiteX15" fmla="*/ 39318 w 52440"/>
                  <a:gd name="connsiteY15" fmla="*/ 153738 h 334185"/>
                  <a:gd name="connsiteX16" fmla="*/ 36301 w 52440"/>
                  <a:gd name="connsiteY16" fmla="*/ 150721 h 334185"/>
                  <a:gd name="connsiteX17" fmla="*/ 16140 w 52440"/>
                  <a:gd name="connsiteY17" fmla="*/ 150721 h 334185"/>
                  <a:gd name="connsiteX18" fmla="*/ 0 w 52440"/>
                  <a:gd name="connsiteY18" fmla="*/ 134582 h 334185"/>
                  <a:gd name="connsiteX19" fmla="*/ 0 w 52440"/>
                  <a:gd name="connsiteY19" fmla="*/ 107872 h 334185"/>
                  <a:gd name="connsiteX20" fmla="*/ 16140 w 52440"/>
                  <a:gd name="connsiteY20" fmla="*/ 91732 h 334185"/>
                  <a:gd name="connsiteX21" fmla="*/ 36301 w 52440"/>
                  <a:gd name="connsiteY21" fmla="*/ 91732 h 334185"/>
                  <a:gd name="connsiteX22" fmla="*/ 39318 w 52440"/>
                  <a:gd name="connsiteY22" fmla="*/ 88716 h 334185"/>
                  <a:gd name="connsiteX23" fmla="*/ 39318 w 52440"/>
                  <a:gd name="connsiteY23" fmla="*/ 62006 h 334185"/>
                  <a:gd name="connsiteX24" fmla="*/ 36301 w 52440"/>
                  <a:gd name="connsiteY24" fmla="*/ 58989 h 334185"/>
                  <a:gd name="connsiteX25" fmla="*/ 16140 w 52440"/>
                  <a:gd name="connsiteY25" fmla="*/ 58989 h 334185"/>
                  <a:gd name="connsiteX26" fmla="*/ 0 w 52440"/>
                  <a:gd name="connsiteY26" fmla="*/ 42850 h 334185"/>
                  <a:gd name="connsiteX27" fmla="*/ 0 w 52440"/>
                  <a:gd name="connsiteY27" fmla="*/ 16140 h 334185"/>
                  <a:gd name="connsiteX28" fmla="*/ 16140 w 52440"/>
                  <a:gd name="connsiteY28" fmla="*/ 0 h 334185"/>
                  <a:gd name="connsiteX29" fmla="*/ 45892 w 52440"/>
                  <a:gd name="connsiteY29" fmla="*/ 0 h 334185"/>
                  <a:gd name="connsiteX30" fmla="*/ 52440 w 52440"/>
                  <a:gd name="connsiteY30" fmla="*/ 6549 h 334185"/>
                  <a:gd name="connsiteX31" fmla="*/ 45892 w 52440"/>
                  <a:gd name="connsiteY31" fmla="*/ 13097 h 334185"/>
                  <a:gd name="connsiteX32" fmla="*/ 16140 w 52440"/>
                  <a:gd name="connsiteY32" fmla="*/ 13097 h 334185"/>
                  <a:gd name="connsiteX33" fmla="*/ 13123 w 52440"/>
                  <a:gd name="connsiteY33" fmla="*/ 16114 h 334185"/>
                  <a:gd name="connsiteX34" fmla="*/ 13123 w 52440"/>
                  <a:gd name="connsiteY34" fmla="*/ 42824 h 334185"/>
                  <a:gd name="connsiteX35" fmla="*/ 16140 w 52440"/>
                  <a:gd name="connsiteY35" fmla="*/ 45840 h 334185"/>
                  <a:gd name="connsiteX36" fmla="*/ 36301 w 52440"/>
                  <a:gd name="connsiteY36" fmla="*/ 45840 h 334185"/>
                  <a:gd name="connsiteX37" fmla="*/ 52440 w 52440"/>
                  <a:gd name="connsiteY37" fmla="*/ 61980 h 334185"/>
                  <a:gd name="connsiteX38" fmla="*/ 52440 w 52440"/>
                  <a:gd name="connsiteY38" fmla="*/ 88690 h 334185"/>
                  <a:gd name="connsiteX39" fmla="*/ 36301 w 52440"/>
                  <a:gd name="connsiteY39" fmla="*/ 104829 h 334185"/>
                  <a:gd name="connsiteX40" fmla="*/ 16140 w 52440"/>
                  <a:gd name="connsiteY40" fmla="*/ 104829 h 334185"/>
                  <a:gd name="connsiteX41" fmla="*/ 13123 w 52440"/>
                  <a:gd name="connsiteY41" fmla="*/ 107846 h 334185"/>
                  <a:gd name="connsiteX42" fmla="*/ 13123 w 52440"/>
                  <a:gd name="connsiteY42" fmla="*/ 134556 h 334185"/>
                  <a:gd name="connsiteX43" fmla="*/ 16140 w 52440"/>
                  <a:gd name="connsiteY43" fmla="*/ 137573 h 334185"/>
                  <a:gd name="connsiteX44" fmla="*/ 36301 w 52440"/>
                  <a:gd name="connsiteY44" fmla="*/ 137573 h 334185"/>
                  <a:gd name="connsiteX45" fmla="*/ 52440 w 52440"/>
                  <a:gd name="connsiteY45" fmla="*/ 153712 h 334185"/>
                  <a:gd name="connsiteX46" fmla="*/ 52440 w 52440"/>
                  <a:gd name="connsiteY46" fmla="*/ 180422 h 334185"/>
                  <a:gd name="connsiteX47" fmla="*/ 36301 w 52440"/>
                  <a:gd name="connsiteY47" fmla="*/ 196562 h 334185"/>
                  <a:gd name="connsiteX48" fmla="*/ 16140 w 52440"/>
                  <a:gd name="connsiteY48" fmla="*/ 196562 h 334185"/>
                  <a:gd name="connsiteX49" fmla="*/ 13123 w 52440"/>
                  <a:gd name="connsiteY49" fmla="*/ 199578 h 334185"/>
                  <a:gd name="connsiteX50" fmla="*/ 13123 w 52440"/>
                  <a:gd name="connsiteY50" fmla="*/ 226288 h 334185"/>
                  <a:gd name="connsiteX51" fmla="*/ 16140 w 52440"/>
                  <a:gd name="connsiteY51" fmla="*/ 229305 h 334185"/>
                  <a:gd name="connsiteX52" fmla="*/ 36301 w 52440"/>
                  <a:gd name="connsiteY52" fmla="*/ 229305 h 334185"/>
                  <a:gd name="connsiteX53" fmla="*/ 52440 w 52440"/>
                  <a:gd name="connsiteY53" fmla="*/ 245444 h 334185"/>
                  <a:gd name="connsiteX54" fmla="*/ 52440 w 52440"/>
                  <a:gd name="connsiteY54" fmla="*/ 272154 h 334185"/>
                  <a:gd name="connsiteX55" fmla="*/ 36301 w 52440"/>
                  <a:gd name="connsiteY55" fmla="*/ 288294 h 334185"/>
                  <a:gd name="connsiteX56" fmla="*/ 16140 w 52440"/>
                  <a:gd name="connsiteY56" fmla="*/ 288294 h 334185"/>
                  <a:gd name="connsiteX57" fmla="*/ 13123 w 52440"/>
                  <a:gd name="connsiteY57" fmla="*/ 291311 h 334185"/>
                  <a:gd name="connsiteX58" fmla="*/ 13123 w 52440"/>
                  <a:gd name="connsiteY58" fmla="*/ 318021 h 334185"/>
                  <a:gd name="connsiteX59" fmla="*/ 16140 w 52440"/>
                  <a:gd name="connsiteY59" fmla="*/ 321037 h 334185"/>
                  <a:gd name="connsiteX60" fmla="*/ 45892 w 52440"/>
                  <a:gd name="connsiteY60" fmla="*/ 321037 h 334185"/>
                  <a:gd name="connsiteX61" fmla="*/ 52440 w 52440"/>
                  <a:gd name="connsiteY61" fmla="*/ 327586 h 334185"/>
                  <a:gd name="connsiteX62" fmla="*/ 45892 w 52440"/>
                  <a:gd name="connsiteY62" fmla="*/ 334186 h 334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52440" h="334185">
                    <a:moveTo>
                      <a:pt x="45892" y="334186"/>
                    </a:moveTo>
                    <a:lnTo>
                      <a:pt x="16140" y="334186"/>
                    </a:lnTo>
                    <a:cubicBezTo>
                      <a:pt x="7245" y="334186"/>
                      <a:pt x="0" y="326941"/>
                      <a:pt x="0" y="318046"/>
                    </a:cubicBezTo>
                    <a:lnTo>
                      <a:pt x="0" y="291336"/>
                    </a:lnTo>
                    <a:cubicBezTo>
                      <a:pt x="0" y="282441"/>
                      <a:pt x="7245" y="275197"/>
                      <a:pt x="16140" y="275197"/>
                    </a:cubicBezTo>
                    <a:lnTo>
                      <a:pt x="36301" y="275197"/>
                    </a:lnTo>
                    <a:cubicBezTo>
                      <a:pt x="37977" y="275197"/>
                      <a:pt x="39318" y="273830"/>
                      <a:pt x="39318" y="272180"/>
                    </a:cubicBezTo>
                    <a:lnTo>
                      <a:pt x="39318" y="245470"/>
                    </a:lnTo>
                    <a:cubicBezTo>
                      <a:pt x="39318" y="243794"/>
                      <a:pt x="37951" y="242454"/>
                      <a:pt x="36301" y="242454"/>
                    </a:cubicBezTo>
                    <a:lnTo>
                      <a:pt x="16140" y="242454"/>
                    </a:lnTo>
                    <a:cubicBezTo>
                      <a:pt x="7245" y="242454"/>
                      <a:pt x="0" y="235209"/>
                      <a:pt x="0" y="226314"/>
                    </a:cubicBezTo>
                    <a:lnTo>
                      <a:pt x="0" y="199604"/>
                    </a:lnTo>
                    <a:cubicBezTo>
                      <a:pt x="0" y="190709"/>
                      <a:pt x="7245" y="183464"/>
                      <a:pt x="16140" y="183464"/>
                    </a:cubicBezTo>
                    <a:lnTo>
                      <a:pt x="36301" y="183464"/>
                    </a:lnTo>
                    <a:cubicBezTo>
                      <a:pt x="37977" y="183464"/>
                      <a:pt x="39318" y="182098"/>
                      <a:pt x="39318" y="180448"/>
                    </a:cubicBezTo>
                    <a:lnTo>
                      <a:pt x="39318" y="153738"/>
                    </a:lnTo>
                    <a:cubicBezTo>
                      <a:pt x="39318" y="152062"/>
                      <a:pt x="37951" y="150721"/>
                      <a:pt x="36301" y="150721"/>
                    </a:cubicBezTo>
                    <a:lnTo>
                      <a:pt x="16140" y="150721"/>
                    </a:lnTo>
                    <a:cubicBezTo>
                      <a:pt x="7245" y="150721"/>
                      <a:pt x="0" y="143477"/>
                      <a:pt x="0" y="134582"/>
                    </a:cubicBezTo>
                    <a:lnTo>
                      <a:pt x="0" y="107872"/>
                    </a:lnTo>
                    <a:cubicBezTo>
                      <a:pt x="0" y="98977"/>
                      <a:pt x="7245" y="91732"/>
                      <a:pt x="16140" y="91732"/>
                    </a:cubicBezTo>
                    <a:lnTo>
                      <a:pt x="36301" y="91732"/>
                    </a:lnTo>
                    <a:cubicBezTo>
                      <a:pt x="37977" y="91732"/>
                      <a:pt x="39318" y="90366"/>
                      <a:pt x="39318" y="88716"/>
                    </a:cubicBezTo>
                    <a:lnTo>
                      <a:pt x="39318" y="62006"/>
                    </a:lnTo>
                    <a:cubicBezTo>
                      <a:pt x="39318" y="60330"/>
                      <a:pt x="37951" y="58989"/>
                      <a:pt x="36301" y="58989"/>
                    </a:cubicBezTo>
                    <a:lnTo>
                      <a:pt x="16140" y="58989"/>
                    </a:lnTo>
                    <a:cubicBezTo>
                      <a:pt x="7245" y="58989"/>
                      <a:pt x="0" y="51744"/>
                      <a:pt x="0" y="42850"/>
                    </a:cubicBezTo>
                    <a:lnTo>
                      <a:pt x="0" y="16140"/>
                    </a:lnTo>
                    <a:cubicBezTo>
                      <a:pt x="0" y="7245"/>
                      <a:pt x="7245" y="0"/>
                      <a:pt x="16140" y="0"/>
                    </a:cubicBezTo>
                    <a:lnTo>
                      <a:pt x="45892" y="0"/>
                    </a:lnTo>
                    <a:cubicBezTo>
                      <a:pt x="49501" y="0"/>
                      <a:pt x="52440" y="2939"/>
                      <a:pt x="52440" y="6549"/>
                    </a:cubicBezTo>
                    <a:cubicBezTo>
                      <a:pt x="52440" y="10158"/>
                      <a:pt x="49501" y="13097"/>
                      <a:pt x="45892" y="13097"/>
                    </a:cubicBezTo>
                    <a:lnTo>
                      <a:pt x="16140" y="13097"/>
                    </a:lnTo>
                    <a:cubicBezTo>
                      <a:pt x="14464" y="13097"/>
                      <a:pt x="13123" y="14464"/>
                      <a:pt x="13123" y="16114"/>
                    </a:cubicBezTo>
                    <a:lnTo>
                      <a:pt x="13123" y="42824"/>
                    </a:lnTo>
                    <a:cubicBezTo>
                      <a:pt x="13123" y="44500"/>
                      <a:pt x="14489" y="45840"/>
                      <a:pt x="16140" y="45840"/>
                    </a:cubicBezTo>
                    <a:lnTo>
                      <a:pt x="36301" y="45840"/>
                    </a:lnTo>
                    <a:cubicBezTo>
                      <a:pt x="45196" y="45840"/>
                      <a:pt x="52440" y="53085"/>
                      <a:pt x="52440" y="61980"/>
                    </a:cubicBezTo>
                    <a:lnTo>
                      <a:pt x="52440" y="88690"/>
                    </a:lnTo>
                    <a:cubicBezTo>
                      <a:pt x="52440" y="97585"/>
                      <a:pt x="45196" y="104829"/>
                      <a:pt x="36301" y="104829"/>
                    </a:cubicBezTo>
                    <a:lnTo>
                      <a:pt x="16140" y="104829"/>
                    </a:lnTo>
                    <a:cubicBezTo>
                      <a:pt x="14464" y="104829"/>
                      <a:pt x="13123" y="106196"/>
                      <a:pt x="13123" y="107846"/>
                    </a:cubicBezTo>
                    <a:lnTo>
                      <a:pt x="13123" y="134556"/>
                    </a:lnTo>
                    <a:cubicBezTo>
                      <a:pt x="13123" y="136232"/>
                      <a:pt x="14489" y="137573"/>
                      <a:pt x="16140" y="137573"/>
                    </a:cubicBezTo>
                    <a:lnTo>
                      <a:pt x="36301" y="137573"/>
                    </a:lnTo>
                    <a:cubicBezTo>
                      <a:pt x="45196" y="137573"/>
                      <a:pt x="52440" y="144817"/>
                      <a:pt x="52440" y="153712"/>
                    </a:cubicBezTo>
                    <a:lnTo>
                      <a:pt x="52440" y="180422"/>
                    </a:lnTo>
                    <a:cubicBezTo>
                      <a:pt x="52440" y="189317"/>
                      <a:pt x="45196" y="196562"/>
                      <a:pt x="36301" y="196562"/>
                    </a:cubicBezTo>
                    <a:lnTo>
                      <a:pt x="16140" y="196562"/>
                    </a:lnTo>
                    <a:cubicBezTo>
                      <a:pt x="14464" y="196562"/>
                      <a:pt x="13123" y="197928"/>
                      <a:pt x="13123" y="199578"/>
                    </a:cubicBezTo>
                    <a:lnTo>
                      <a:pt x="13123" y="226288"/>
                    </a:lnTo>
                    <a:cubicBezTo>
                      <a:pt x="13123" y="227964"/>
                      <a:pt x="14489" y="229305"/>
                      <a:pt x="16140" y="229305"/>
                    </a:cubicBezTo>
                    <a:lnTo>
                      <a:pt x="36301" y="229305"/>
                    </a:lnTo>
                    <a:cubicBezTo>
                      <a:pt x="45196" y="229305"/>
                      <a:pt x="52440" y="236549"/>
                      <a:pt x="52440" y="245444"/>
                    </a:cubicBezTo>
                    <a:lnTo>
                      <a:pt x="52440" y="272154"/>
                    </a:lnTo>
                    <a:cubicBezTo>
                      <a:pt x="52440" y="281049"/>
                      <a:pt x="45196" y="288294"/>
                      <a:pt x="36301" y="288294"/>
                    </a:cubicBezTo>
                    <a:lnTo>
                      <a:pt x="16140" y="288294"/>
                    </a:lnTo>
                    <a:cubicBezTo>
                      <a:pt x="14464" y="288294"/>
                      <a:pt x="13123" y="289660"/>
                      <a:pt x="13123" y="291311"/>
                    </a:cubicBezTo>
                    <a:lnTo>
                      <a:pt x="13123" y="318021"/>
                    </a:lnTo>
                    <a:cubicBezTo>
                      <a:pt x="13123" y="319696"/>
                      <a:pt x="14489" y="321037"/>
                      <a:pt x="16140" y="321037"/>
                    </a:cubicBezTo>
                    <a:lnTo>
                      <a:pt x="45892" y="321037"/>
                    </a:lnTo>
                    <a:cubicBezTo>
                      <a:pt x="49501" y="321037"/>
                      <a:pt x="52440" y="323976"/>
                      <a:pt x="52440" y="327586"/>
                    </a:cubicBezTo>
                    <a:cubicBezTo>
                      <a:pt x="52440" y="331195"/>
                      <a:pt x="49501" y="334186"/>
                      <a:pt x="45892" y="334186"/>
                    </a:cubicBezTo>
                    <a:close/>
                  </a:path>
                </a:pathLst>
              </a:custGeom>
              <a:solidFill>
                <a:schemeClr val="tx2"/>
              </a:solidFill>
              <a:ln w="2573" cap="flat">
                <a:noFill/>
                <a:prstDash val="solid"/>
                <a:miter/>
              </a:ln>
            </p:spPr>
            <p:txBody>
              <a:bodyPr rtlCol="0" anchor="ctr"/>
              <a:lstStyle/>
              <a:p>
                <a:endParaRPr lang="en-GB" dirty="0"/>
              </a:p>
            </p:txBody>
          </p:sp>
          <p:sp>
            <p:nvSpPr>
              <p:cNvPr id="579" name="Freihandform: Form 1017">
                <a:extLst>
                  <a:ext uri="{FF2B5EF4-FFF2-40B4-BE49-F238E27FC236}">
                    <a16:creationId xmlns:a16="http://schemas.microsoft.com/office/drawing/2014/main" id="{A3586A6C-1934-4054-8CF0-E343EEBEA94D}"/>
                  </a:ext>
                </a:extLst>
              </p:cNvPr>
              <p:cNvSpPr/>
              <p:nvPr/>
            </p:nvSpPr>
            <p:spPr>
              <a:xfrm>
                <a:off x="7240724" y="4307360"/>
                <a:ext cx="157295" cy="13097"/>
              </a:xfrm>
              <a:custGeom>
                <a:avLst/>
                <a:gdLst>
                  <a:gd name="connsiteX0" fmla="*/ 150747 w 157295"/>
                  <a:gd name="connsiteY0" fmla="*/ 13097 h 13097"/>
                  <a:gd name="connsiteX1" fmla="*/ 6549 w 157295"/>
                  <a:gd name="connsiteY1" fmla="*/ 13097 h 13097"/>
                  <a:gd name="connsiteX2" fmla="*/ 0 w 157295"/>
                  <a:gd name="connsiteY2" fmla="*/ 6549 h 13097"/>
                  <a:gd name="connsiteX3" fmla="*/ 6549 w 157295"/>
                  <a:gd name="connsiteY3" fmla="*/ 0 h 13097"/>
                  <a:gd name="connsiteX4" fmla="*/ 150747 w 157295"/>
                  <a:gd name="connsiteY4" fmla="*/ 0 h 13097"/>
                  <a:gd name="connsiteX5" fmla="*/ 157296 w 157295"/>
                  <a:gd name="connsiteY5" fmla="*/ 6549 h 13097"/>
                  <a:gd name="connsiteX6" fmla="*/ 150747 w 157295"/>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295" h="13097">
                    <a:moveTo>
                      <a:pt x="150747" y="13097"/>
                    </a:moveTo>
                    <a:lnTo>
                      <a:pt x="6549" y="13097"/>
                    </a:lnTo>
                    <a:cubicBezTo>
                      <a:pt x="2913" y="13097"/>
                      <a:pt x="0" y="10158"/>
                      <a:pt x="0" y="6549"/>
                    </a:cubicBezTo>
                    <a:cubicBezTo>
                      <a:pt x="0" y="2913"/>
                      <a:pt x="2939" y="0"/>
                      <a:pt x="6549" y="0"/>
                    </a:cubicBezTo>
                    <a:lnTo>
                      <a:pt x="150747" y="0"/>
                    </a:lnTo>
                    <a:cubicBezTo>
                      <a:pt x="154357" y="0"/>
                      <a:pt x="157296" y="2939"/>
                      <a:pt x="157296" y="6549"/>
                    </a:cubicBezTo>
                    <a:cubicBezTo>
                      <a:pt x="157296" y="10158"/>
                      <a:pt x="154382" y="13097"/>
                      <a:pt x="150747" y="13097"/>
                    </a:cubicBezTo>
                    <a:close/>
                  </a:path>
                </a:pathLst>
              </a:custGeom>
              <a:solidFill>
                <a:schemeClr val="tx2"/>
              </a:solidFill>
              <a:ln w="2573" cap="flat">
                <a:noFill/>
                <a:prstDash val="solid"/>
                <a:miter/>
              </a:ln>
            </p:spPr>
            <p:txBody>
              <a:bodyPr rtlCol="0" anchor="ctr"/>
              <a:lstStyle/>
              <a:p>
                <a:endParaRPr lang="en-GB" dirty="0"/>
              </a:p>
            </p:txBody>
          </p:sp>
          <p:sp>
            <p:nvSpPr>
              <p:cNvPr id="580" name="Freihandform: Form 1018">
                <a:extLst>
                  <a:ext uri="{FF2B5EF4-FFF2-40B4-BE49-F238E27FC236}">
                    <a16:creationId xmlns:a16="http://schemas.microsoft.com/office/drawing/2014/main" id="{F7269DEE-0624-47DA-B2AC-17F0610D6A49}"/>
                  </a:ext>
                </a:extLst>
              </p:cNvPr>
              <p:cNvSpPr/>
              <p:nvPr/>
            </p:nvSpPr>
            <p:spPr>
              <a:xfrm>
                <a:off x="7240718" y="4366341"/>
                <a:ext cx="157308" cy="19654"/>
              </a:xfrm>
              <a:custGeom>
                <a:avLst/>
                <a:gdLst>
                  <a:gd name="connsiteX0" fmla="*/ 6555 w 157308"/>
                  <a:gd name="connsiteY0" fmla="*/ 19654 h 19654"/>
                  <a:gd name="connsiteX1" fmla="*/ 6 w 157308"/>
                  <a:gd name="connsiteY1" fmla="*/ 13389 h 19654"/>
                  <a:gd name="connsiteX2" fmla="*/ 6271 w 157308"/>
                  <a:gd name="connsiteY2" fmla="*/ 6557 h 19654"/>
                  <a:gd name="connsiteX3" fmla="*/ 150470 w 157308"/>
                  <a:gd name="connsiteY3" fmla="*/ 8 h 19654"/>
                  <a:gd name="connsiteX4" fmla="*/ 157302 w 157308"/>
                  <a:gd name="connsiteY4" fmla="*/ 6273 h 19654"/>
                  <a:gd name="connsiteX5" fmla="*/ 151037 w 157308"/>
                  <a:gd name="connsiteY5" fmla="*/ 13106 h 19654"/>
                  <a:gd name="connsiteX6" fmla="*/ 6838 w 157308"/>
                  <a:gd name="connsiteY6" fmla="*/ 19654 h 19654"/>
                  <a:gd name="connsiteX7" fmla="*/ 6555 w 157308"/>
                  <a:gd name="connsiteY7" fmla="*/ 19654 h 1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308" h="19654">
                    <a:moveTo>
                      <a:pt x="6555" y="19654"/>
                    </a:moveTo>
                    <a:cubicBezTo>
                      <a:pt x="3074" y="19654"/>
                      <a:pt x="187" y="16921"/>
                      <a:pt x="6" y="13389"/>
                    </a:cubicBezTo>
                    <a:cubicBezTo>
                      <a:pt x="-149" y="9780"/>
                      <a:pt x="2636" y="6711"/>
                      <a:pt x="6271" y="6557"/>
                    </a:cubicBezTo>
                    <a:lnTo>
                      <a:pt x="150470" y="8"/>
                    </a:lnTo>
                    <a:cubicBezTo>
                      <a:pt x="153873" y="-172"/>
                      <a:pt x="157147" y="2638"/>
                      <a:pt x="157302" y="6273"/>
                    </a:cubicBezTo>
                    <a:cubicBezTo>
                      <a:pt x="157457" y="9883"/>
                      <a:pt x="154672" y="12951"/>
                      <a:pt x="151037" y="13106"/>
                    </a:cubicBezTo>
                    <a:lnTo>
                      <a:pt x="6838" y="19654"/>
                    </a:lnTo>
                    <a:cubicBezTo>
                      <a:pt x="6761" y="19654"/>
                      <a:pt x="6658" y="19654"/>
                      <a:pt x="6555" y="19654"/>
                    </a:cubicBezTo>
                    <a:close/>
                  </a:path>
                </a:pathLst>
              </a:custGeom>
              <a:solidFill>
                <a:schemeClr val="tx2"/>
              </a:solidFill>
              <a:ln w="2573" cap="flat">
                <a:noFill/>
                <a:prstDash val="solid"/>
                <a:miter/>
              </a:ln>
            </p:spPr>
            <p:txBody>
              <a:bodyPr rtlCol="0" anchor="ctr"/>
              <a:lstStyle/>
              <a:p>
                <a:endParaRPr lang="en-GB" dirty="0"/>
              </a:p>
            </p:txBody>
          </p:sp>
          <p:sp>
            <p:nvSpPr>
              <p:cNvPr id="581" name="Freihandform: Form 1019">
                <a:extLst>
                  <a:ext uri="{FF2B5EF4-FFF2-40B4-BE49-F238E27FC236}">
                    <a16:creationId xmlns:a16="http://schemas.microsoft.com/office/drawing/2014/main" id="{453816B4-AA7D-4458-9FF8-7AF06BCB5F5E}"/>
                  </a:ext>
                </a:extLst>
              </p:cNvPr>
              <p:cNvSpPr/>
              <p:nvPr/>
            </p:nvSpPr>
            <p:spPr>
              <a:xfrm>
                <a:off x="7240722" y="4431884"/>
                <a:ext cx="157301" cy="26197"/>
              </a:xfrm>
              <a:custGeom>
                <a:avLst/>
                <a:gdLst>
                  <a:gd name="connsiteX0" fmla="*/ 6551 w 157301"/>
                  <a:gd name="connsiteY0" fmla="*/ 26197 h 26197"/>
                  <a:gd name="connsiteX1" fmla="*/ 29 w 157301"/>
                  <a:gd name="connsiteY1" fmla="*/ 20241 h 26197"/>
                  <a:gd name="connsiteX2" fmla="*/ 5958 w 157301"/>
                  <a:gd name="connsiteY2" fmla="*/ 13125 h 26197"/>
                  <a:gd name="connsiteX3" fmla="*/ 150157 w 157301"/>
                  <a:gd name="connsiteY3" fmla="*/ 28 h 26197"/>
                  <a:gd name="connsiteX4" fmla="*/ 157273 w 157301"/>
                  <a:gd name="connsiteY4" fmla="*/ 5958 h 26197"/>
                  <a:gd name="connsiteX5" fmla="*/ 151343 w 157301"/>
                  <a:gd name="connsiteY5" fmla="*/ 13074 h 26197"/>
                  <a:gd name="connsiteX6" fmla="*/ 7144 w 157301"/>
                  <a:gd name="connsiteY6" fmla="*/ 26171 h 26197"/>
                  <a:gd name="connsiteX7" fmla="*/ 6551 w 157301"/>
                  <a:gd name="connsiteY7" fmla="*/ 26197 h 2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301" h="26197">
                    <a:moveTo>
                      <a:pt x="6551" y="26197"/>
                    </a:moveTo>
                    <a:cubicBezTo>
                      <a:pt x="3200" y="26197"/>
                      <a:pt x="338" y="23644"/>
                      <a:pt x="29" y="20241"/>
                    </a:cubicBezTo>
                    <a:cubicBezTo>
                      <a:pt x="-307" y="16632"/>
                      <a:pt x="2349" y="13435"/>
                      <a:pt x="5958" y="13125"/>
                    </a:cubicBezTo>
                    <a:lnTo>
                      <a:pt x="150157" y="28"/>
                    </a:lnTo>
                    <a:cubicBezTo>
                      <a:pt x="153844" y="-307"/>
                      <a:pt x="156938" y="2374"/>
                      <a:pt x="157273" y="5958"/>
                    </a:cubicBezTo>
                    <a:cubicBezTo>
                      <a:pt x="157608" y="9568"/>
                      <a:pt x="154952" y="12764"/>
                      <a:pt x="151343" y="13074"/>
                    </a:cubicBezTo>
                    <a:lnTo>
                      <a:pt x="7144" y="26171"/>
                    </a:lnTo>
                    <a:cubicBezTo>
                      <a:pt x="6964" y="26197"/>
                      <a:pt x="6758" y="26197"/>
                      <a:pt x="6551" y="26197"/>
                    </a:cubicBezTo>
                    <a:close/>
                  </a:path>
                </a:pathLst>
              </a:custGeom>
              <a:solidFill>
                <a:schemeClr val="tx2"/>
              </a:solidFill>
              <a:ln w="2573" cap="flat">
                <a:noFill/>
                <a:prstDash val="solid"/>
                <a:miter/>
              </a:ln>
            </p:spPr>
            <p:txBody>
              <a:bodyPr rtlCol="0" anchor="ctr"/>
              <a:lstStyle/>
              <a:p>
                <a:endParaRPr lang="en-GB" dirty="0"/>
              </a:p>
            </p:txBody>
          </p:sp>
          <p:sp>
            <p:nvSpPr>
              <p:cNvPr id="582" name="Freihandform: Form 1021">
                <a:extLst>
                  <a:ext uri="{FF2B5EF4-FFF2-40B4-BE49-F238E27FC236}">
                    <a16:creationId xmlns:a16="http://schemas.microsoft.com/office/drawing/2014/main" id="{92F946AE-2D27-4BBA-99FF-CAA0EF60C9D2}"/>
                  </a:ext>
                </a:extLst>
              </p:cNvPr>
              <p:cNvSpPr/>
              <p:nvPr/>
            </p:nvSpPr>
            <p:spPr>
              <a:xfrm>
                <a:off x="7240718" y="4241814"/>
                <a:ext cx="157308" cy="19654"/>
              </a:xfrm>
              <a:custGeom>
                <a:avLst/>
                <a:gdLst>
                  <a:gd name="connsiteX0" fmla="*/ 150779 w 157308"/>
                  <a:gd name="connsiteY0" fmla="*/ 19654 h 19654"/>
                  <a:gd name="connsiteX1" fmla="*/ 150470 w 157308"/>
                  <a:gd name="connsiteY1" fmla="*/ 19654 h 19654"/>
                  <a:gd name="connsiteX2" fmla="*/ 6271 w 157308"/>
                  <a:gd name="connsiteY2" fmla="*/ 13106 h 19654"/>
                  <a:gd name="connsiteX3" fmla="*/ 6 w 157308"/>
                  <a:gd name="connsiteY3" fmla="*/ 6273 h 19654"/>
                  <a:gd name="connsiteX4" fmla="*/ 6838 w 157308"/>
                  <a:gd name="connsiteY4" fmla="*/ 8 h 19654"/>
                  <a:gd name="connsiteX5" fmla="*/ 151037 w 157308"/>
                  <a:gd name="connsiteY5" fmla="*/ 6557 h 19654"/>
                  <a:gd name="connsiteX6" fmla="*/ 157302 w 157308"/>
                  <a:gd name="connsiteY6" fmla="*/ 13389 h 19654"/>
                  <a:gd name="connsiteX7" fmla="*/ 150779 w 157308"/>
                  <a:gd name="connsiteY7" fmla="*/ 19654 h 19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308" h="19654">
                    <a:moveTo>
                      <a:pt x="150779" y="19654"/>
                    </a:moveTo>
                    <a:cubicBezTo>
                      <a:pt x="150676" y="19654"/>
                      <a:pt x="150573" y="19654"/>
                      <a:pt x="150470" y="19654"/>
                    </a:cubicBezTo>
                    <a:lnTo>
                      <a:pt x="6271" y="13106"/>
                    </a:lnTo>
                    <a:cubicBezTo>
                      <a:pt x="2662" y="12951"/>
                      <a:pt x="-149" y="9883"/>
                      <a:pt x="6" y="6273"/>
                    </a:cubicBezTo>
                    <a:cubicBezTo>
                      <a:pt x="161" y="2638"/>
                      <a:pt x="3538" y="-172"/>
                      <a:pt x="6838" y="8"/>
                    </a:cubicBezTo>
                    <a:lnTo>
                      <a:pt x="151037" y="6557"/>
                    </a:lnTo>
                    <a:cubicBezTo>
                      <a:pt x="154646" y="6712"/>
                      <a:pt x="157457" y="9780"/>
                      <a:pt x="157302" y="13389"/>
                    </a:cubicBezTo>
                    <a:cubicBezTo>
                      <a:pt x="157147" y="16895"/>
                      <a:pt x="154260" y="19654"/>
                      <a:pt x="150779" y="19654"/>
                    </a:cubicBezTo>
                    <a:close/>
                  </a:path>
                </a:pathLst>
              </a:custGeom>
              <a:solidFill>
                <a:schemeClr val="tx2"/>
              </a:solidFill>
              <a:ln w="2573" cap="flat">
                <a:noFill/>
                <a:prstDash val="solid"/>
                <a:miter/>
              </a:ln>
            </p:spPr>
            <p:txBody>
              <a:bodyPr rtlCol="0" anchor="ctr"/>
              <a:lstStyle/>
              <a:p>
                <a:endParaRPr lang="en-GB" dirty="0"/>
              </a:p>
            </p:txBody>
          </p:sp>
          <p:sp>
            <p:nvSpPr>
              <p:cNvPr id="583" name="Freihandform: Form 1022">
                <a:extLst>
                  <a:ext uri="{FF2B5EF4-FFF2-40B4-BE49-F238E27FC236}">
                    <a16:creationId xmlns:a16="http://schemas.microsoft.com/office/drawing/2014/main" id="{A8CB9184-FE80-486F-A55F-9CE696B2DBEF}"/>
                  </a:ext>
                </a:extLst>
              </p:cNvPr>
              <p:cNvSpPr/>
              <p:nvPr/>
            </p:nvSpPr>
            <p:spPr>
              <a:xfrm>
                <a:off x="7240747" y="4169737"/>
                <a:ext cx="157301" cy="26193"/>
              </a:xfrm>
              <a:custGeom>
                <a:avLst/>
                <a:gdLst>
                  <a:gd name="connsiteX0" fmla="*/ 150750 w 157301"/>
                  <a:gd name="connsiteY0" fmla="*/ 26193 h 26193"/>
                  <a:gd name="connsiteX1" fmla="*/ 150157 w 157301"/>
                  <a:gd name="connsiteY1" fmla="*/ 26168 h 26193"/>
                  <a:gd name="connsiteX2" fmla="*/ 5958 w 157301"/>
                  <a:gd name="connsiteY2" fmla="*/ 13070 h 26193"/>
                  <a:gd name="connsiteX3" fmla="*/ 29 w 157301"/>
                  <a:gd name="connsiteY3" fmla="*/ 5955 h 26193"/>
                  <a:gd name="connsiteX4" fmla="*/ 7144 w 157301"/>
                  <a:gd name="connsiteY4" fmla="*/ 25 h 26193"/>
                  <a:gd name="connsiteX5" fmla="*/ 151343 w 157301"/>
                  <a:gd name="connsiteY5" fmla="*/ 13122 h 26193"/>
                  <a:gd name="connsiteX6" fmla="*/ 157273 w 157301"/>
                  <a:gd name="connsiteY6" fmla="*/ 20238 h 26193"/>
                  <a:gd name="connsiteX7" fmla="*/ 150750 w 157301"/>
                  <a:gd name="connsiteY7" fmla="*/ 26193 h 26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301" h="26193">
                    <a:moveTo>
                      <a:pt x="150750" y="26193"/>
                    </a:moveTo>
                    <a:cubicBezTo>
                      <a:pt x="150544" y="26193"/>
                      <a:pt x="150363" y="26193"/>
                      <a:pt x="150157" y="26168"/>
                    </a:cubicBezTo>
                    <a:lnTo>
                      <a:pt x="5958" y="13070"/>
                    </a:lnTo>
                    <a:cubicBezTo>
                      <a:pt x="2349" y="12735"/>
                      <a:pt x="-307" y="9564"/>
                      <a:pt x="29" y="5955"/>
                    </a:cubicBezTo>
                    <a:cubicBezTo>
                      <a:pt x="364" y="2345"/>
                      <a:pt x="3509" y="-285"/>
                      <a:pt x="7144" y="25"/>
                    </a:cubicBezTo>
                    <a:lnTo>
                      <a:pt x="151343" y="13122"/>
                    </a:lnTo>
                    <a:cubicBezTo>
                      <a:pt x="154952" y="13457"/>
                      <a:pt x="157608" y="16628"/>
                      <a:pt x="157273" y="20238"/>
                    </a:cubicBezTo>
                    <a:cubicBezTo>
                      <a:pt x="156938" y="23615"/>
                      <a:pt x="154102" y="26193"/>
                      <a:pt x="150750" y="26193"/>
                    </a:cubicBezTo>
                    <a:close/>
                  </a:path>
                </a:pathLst>
              </a:custGeom>
              <a:solidFill>
                <a:schemeClr val="tx2"/>
              </a:solidFill>
              <a:ln w="2573" cap="flat">
                <a:noFill/>
                <a:prstDash val="solid"/>
                <a:miter/>
              </a:ln>
            </p:spPr>
            <p:txBody>
              <a:bodyPr rtlCol="0" anchor="ctr"/>
              <a:lstStyle/>
              <a:p>
                <a:endParaRPr lang="en-GB" dirty="0"/>
              </a:p>
            </p:txBody>
          </p:sp>
        </p:grpSp>
        <p:grpSp>
          <p:nvGrpSpPr>
            <p:cNvPr id="564" name="Group 563">
              <a:extLst>
                <a:ext uri="{FF2B5EF4-FFF2-40B4-BE49-F238E27FC236}">
                  <a16:creationId xmlns:a16="http://schemas.microsoft.com/office/drawing/2014/main" id="{44A51CAF-BA2F-4D85-B337-CBB3CDE6EBF4}"/>
                </a:ext>
              </a:extLst>
            </p:cNvPr>
            <p:cNvGrpSpPr/>
            <p:nvPr/>
          </p:nvGrpSpPr>
          <p:grpSpPr>
            <a:xfrm>
              <a:off x="7013269" y="4156613"/>
              <a:ext cx="450315" cy="308017"/>
              <a:chOff x="7013269" y="4156613"/>
              <a:chExt cx="450315" cy="308017"/>
            </a:xfrm>
          </p:grpSpPr>
          <p:sp>
            <p:nvSpPr>
              <p:cNvPr id="565" name="Freihandform: Form 1004">
                <a:extLst>
                  <a:ext uri="{FF2B5EF4-FFF2-40B4-BE49-F238E27FC236}">
                    <a16:creationId xmlns:a16="http://schemas.microsoft.com/office/drawing/2014/main" id="{4C0FA016-A9EA-4535-BD1A-6E6E13A14906}"/>
                  </a:ext>
                </a:extLst>
              </p:cNvPr>
              <p:cNvSpPr/>
              <p:nvPr/>
            </p:nvSpPr>
            <p:spPr>
              <a:xfrm>
                <a:off x="7063783" y="4156613"/>
                <a:ext cx="13097" cy="26194"/>
              </a:xfrm>
              <a:custGeom>
                <a:avLst/>
                <a:gdLst>
                  <a:gd name="connsiteX0" fmla="*/ 6549 w 13097"/>
                  <a:gd name="connsiteY0" fmla="*/ 26194 h 26194"/>
                  <a:gd name="connsiteX1" fmla="*/ 0 w 13097"/>
                  <a:gd name="connsiteY1" fmla="*/ 19646 h 26194"/>
                  <a:gd name="connsiteX2" fmla="*/ 0 w 13097"/>
                  <a:gd name="connsiteY2" fmla="*/ 6549 h 26194"/>
                  <a:gd name="connsiteX3" fmla="*/ 6549 w 13097"/>
                  <a:gd name="connsiteY3" fmla="*/ 0 h 26194"/>
                  <a:gd name="connsiteX4" fmla="*/ 13097 w 13097"/>
                  <a:gd name="connsiteY4" fmla="*/ 6549 h 26194"/>
                  <a:gd name="connsiteX5" fmla="*/ 13097 w 13097"/>
                  <a:gd name="connsiteY5" fmla="*/ 19646 h 26194"/>
                  <a:gd name="connsiteX6" fmla="*/ 6549 w 13097"/>
                  <a:gd name="connsiteY6" fmla="*/ 26194 h 26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26194">
                    <a:moveTo>
                      <a:pt x="6549" y="26194"/>
                    </a:moveTo>
                    <a:cubicBezTo>
                      <a:pt x="2913" y="26194"/>
                      <a:pt x="0" y="23255"/>
                      <a:pt x="0" y="19646"/>
                    </a:cubicBezTo>
                    <a:lnTo>
                      <a:pt x="0" y="6549"/>
                    </a:lnTo>
                    <a:cubicBezTo>
                      <a:pt x="0" y="2913"/>
                      <a:pt x="2939" y="0"/>
                      <a:pt x="6549" y="0"/>
                    </a:cubicBezTo>
                    <a:cubicBezTo>
                      <a:pt x="10158" y="0"/>
                      <a:pt x="13097" y="2939"/>
                      <a:pt x="13097" y="6549"/>
                    </a:cubicBezTo>
                    <a:lnTo>
                      <a:pt x="13097" y="19646"/>
                    </a:lnTo>
                    <a:cubicBezTo>
                      <a:pt x="13097" y="23255"/>
                      <a:pt x="10184" y="26194"/>
                      <a:pt x="6549" y="26194"/>
                    </a:cubicBezTo>
                    <a:close/>
                  </a:path>
                </a:pathLst>
              </a:custGeom>
              <a:solidFill>
                <a:schemeClr val="accent1"/>
              </a:solidFill>
              <a:ln w="2573" cap="flat">
                <a:noFill/>
                <a:prstDash val="solid"/>
                <a:miter/>
              </a:ln>
            </p:spPr>
            <p:txBody>
              <a:bodyPr rtlCol="0" anchor="ctr"/>
              <a:lstStyle/>
              <a:p>
                <a:endParaRPr lang="en-GB" dirty="0"/>
              </a:p>
            </p:txBody>
          </p:sp>
          <p:sp>
            <p:nvSpPr>
              <p:cNvPr id="566" name="Freihandform: Form 1005">
                <a:extLst>
                  <a:ext uri="{FF2B5EF4-FFF2-40B4-BE49-F238E27FC236}">
                    <a16:creationId xmlns:a16="http://schemas.microsoft.com/office/drawing/2014/main" id="{CBCCD234-6D02-488E-A4AF-4DD346F98147}"/>
                  </a:ext>
                </a:extLst>
              </p:cNvPr>
              <p:cNvSpPr/>
              <p:nvPr/>
            </p:nvSpPr>
            <p:spPr>
              <a:xfrm>
                <a:off x="7057234" y="4163161"/>
                <a:ext cx="26194" cy="13097"/>
              </a:xfrm>
              <a:custGeom>
                <a:avLst/>
                <a:gdLst>
                  <a:gd name="connsiteX0" fmla="*/ 19646 w 26194"/>
                  <a:gd name="connsiteY0" fmla="*/ 13097 h 13097"/>
                  <a:gd name="connsiteX1" fmla="*/ 6549 w 26194"/>
                  <a:gd name="connsiteY1" fmla="*/ 13097 h 13097"/>
                  <a:gd name="connsiteX2" fmla="*/ 0 w 26194"/>
                  <a:gd name="connsiteY2" fmla="*/ 6549 h 13097"/>
                  <a:gd name="connsiteX3" fmla="*/ 6549 w 26194"/>
                  <a:gd name="connsiteY3" fmla="*/ 0 h 13097"/>
                  <a:gd name="connsiteX4" fmla="*/ 19646 w 26194"/>
                  <a:gd name="connsiteY4" fmla="*/ 0 h 13097"/>
                  <a:gd name="connsiteX5" fmla="*/ 26194 w 26194"/>
                  <a:gd name="connsiteY5" fmla="*/ 6549 h 13097"/>
                  <a:gd name="connsiteX6" fmla="*/ 19646 w 26194"/>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94" h="13097">
                    <a:moveTo>
                      <a:pt x="19646" y="13097"/>
                    </a:moveTo>
                    <a:lnTo>
                      <a:pt x="6549" y="13097"/>
                    </a:lnTo>
                    <a:cubicBezTo>
                      <a:pt x="2913" y="13097"/>
                      <a:pt x="0" y="10158"/>
                      <a:pt x="0" y="6549"/>
                    </a:cubicBezTo>
                    <a:cubicBezTo>
                      <a:pt x="0" y="2939"/>
                      <a:pt x="2939" y="0"/>
                      <a:pt x="6549" y="0"/>
                    </a:cubicBezTo>
                    <a:lnTo>
                      <a:pt x="19646" y="0"/>
                    </a:lnTo>
                    <a:cubicBezTo>
                      <a:pt x="23255" y="0"/>
                      <a:pt x="26194" y="2939"/>
                      <a:pt x="26194" y="6549"/>
                    </a:cubicBezTo>
                    <a:cubicBezTo>
                      <a:pt x="26194" y="10158"/>
                      <a:pt x="23281" y="13097"/>
                      <a:pt x="19646" y="13097"/>
                    </a:cubicBezTo>
                    <a:close/>
                  </a:path>
                </a:pathLst>
              </a:custGeom>
              <a:solidFill>
                <a:schemeClr val="accent1"/>
              </a:solidFill>
              <a:ln w="2573" cap="flat">
                <a:noFill/>
                <a:prstDash val="solid"/>
                <a:miter/>
              </a:ln>
            </p:spPr>
            <p:txBody>
              <a:bodyPr rtlCol="0" anchor="ctr"/>
              <a:lstStyle/>
              <a:p>
                <a:endParaRPr lang="en-GB" dirty="0"/>
              </a:p>
            </p:txBody>
          </p:sp>
          <p:sp>
            <p:nvSpPr>
              <p:cNvPr id="567" name="Freihandform: Form 1007">
                <a:extLst>
                  <a:ext uri="{FF2B5EF4-FFF2-40B4-BE49-F238E27FC236}">
                    <a16:creationId xmlns:a16="http://schemas.microsoft.com/office/drawing/2014/main" id="{9AF77869-B0F4-4374-A819-4DAE6CB75167}"/>
                  </a:ext>
                </a:extLst>
              </p:cNvPr>
              <p:cNvSpPr/>
              <p:nvPr/>
            </p:nvSpPr>
            <p:spPr>
              <a:xfrm>
                <a:off x="7013269" y="4258780"/>
                <a:ext cx="22340" cy="22333"/>
              </a:xfrm>
              <a:custGeom>
                <a:avLst/>
                <a:gdLst>
                  <a:gd name="connsiteX0" fmla="*/ 6555 w 22340"/>
                  <a:gd name="connsiteY0" fmla="*/ 22334 h 22333"/>
                  <a:gd name="connsiteX1" fmla="*/ 1914 w 22340"/>
                  <a:gd name="connsiteY1" fmla="*/ 20426 h 22333"/>
                  <a:gd name="connsiteX2" fmla="*/ 1914 w 22340"/>
                  <a:gd name="connsiteY2" fmla="*/ 11170 h 22333"/>
                  <a:gd name="connsiteX3" fmla="*/ 11170 w 22340"/>
                  <a:gd name="connsiteY3" fmla="*/ 1914 h 22333"/>
                  <a:gd name="connsiteX4" fmla="*/ 20426 w 22340"/>
                  <a:gd name="connsiteY4" fmla="*/ 1914 h 22333"/>
                  <a:gd name="connsiteX5" fmla="*/ 20426 w 22340"/>
                  <a:gd name="connsiteY5" fmla="*/ 11170 h 22333"/>
                  <a:gd name="connsiteX6" fmla="*/ 11170 w 22340"/>
                  <a:gd name="connsiteY6" fmla="*/ 20426 h 22333"/>
                  <a:gd name="connsiteX7" fmla="*/ 6555 w 22340"/>
                  <a:gd name="connsiteY7" fmla="*/ 22334 h 2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0" h="22333">
                    <a:moveTo>
                      <a:pt x="6555" y="22334"/>
                    </a:moveTo>
                    <a:cubicBezTo>
                      <a:pt x="4879" y="22334"/>
                      <a:pt x="3203" y="21689"/>
                      <a:pt x="1914" y="20426"/>
                    </a:cubicBezTo>
                    <a:cubicBezTo>
                      <a:pt x="-638" y="17873"/>
                      <a:pt x="-638" y="13722"/>
                      <a:pt x="1914" y="11170"/>
                    </a:cubicBezTo>
                    <a:lnTo>
                      <a:pt x="11170" y="1914"/>
                    </a:lnTo>
                    <a:cubicBezTo>
                      <a:pt x="13722" y="-638"/>
                      <a:pt x="17873" y="-638"/>
                      <a:pt x="20426" y="1914"/>
                    </a:cubicBezTo>
                    <a:cubicBezTo>
                      <a:pt x="22978" y="4467"/>
                      <a:pt x="22978" y="8618"/>
                      <a:pt x="20426" y="11170"/>
                    </a:cubicBezTo>
                    <a:lnTo>
                      <a:pt x="11170" y="20426"/>
                    </a:lnTo>
                    <a:cubicBezTo>
                      <a:pt x="9907" y="21689"/>
                      <a:pt x="8231" y="22334"/>
                      <a:pt x="6555" y="22334"/>
                    </a:cubicBezTo>
                    <a:close/>
                  </a:path>
                </a:pathLst>
              </a:custGeom>
              <a:solidFill>
                <a:schemeClr val="accent1"/>
              </a:solidFill>
              <a:ln w="2573" cap="flat">
                <a:noFill/>
                <a:prstDash val="solid"/>
                <a:miter/>
              </a:ln>
            </p:spPr>
            <p:txBody>
              <a:bodyPr rtlCol="0" anchor="ctr"/>
              <a:lstStyle/>
              <a:p>
                <a:endParaRPr lang="en-GB" dirty="0"/>
              </a:p>
            </p:txBody>
          </p:sp>
          <p:sp>
            <p:nvSpPr>
              <p:cNvPr id="568" name="Freihandform: Form 1008">
                <a:extLst>
                  <a:ext uri="{FF2B5EF4-FFF2-40B4-BE49-F238E27FC236}">
                    <a16:creationId xmlns:a16="http://schemas.microsoft.com/office/drawing/2014/main" id="{0EBD065D-DC50-46DB-B59D-4C1999A5E763}"/>
                  </a:ext>
                </a:extLst>
              </p:cNvPr>
              <p:cNvSpPr/>
              <p:nvPr/>
            </p:nvSpPr>
            <p:spPr>
              <a:xfrm>
                <a:off x="7013269" y="4258780"/>
                <a:ext cx="22340" cy="22333"/>
              </a:xfrm>
              <a:custGeom>
                <a:avLst/>
                <a:gdLst>
                  <a:gd name="connsiteX0" fmla="*/ 15811 w 22340"/>
                  <a:gd name="connsiteY0" fmla="*/ 22334 h 22333"/>
                  <a:gd name="connsiteX1" fmla="*/ 11170 w 22340"/>
                  <a:gd name="connsiteY1" fmla="*/ 20426 h 22333"/>
                  <a:gd name="connsiteX2" fmla="*/ 1914 w 22340"/>
                  <a:gd name="connsiteY2" fmla="*/ 11170 h 22333"/>
                  <a:gd name="connsiteX3" fmla="*/ 1914 w 22340"/>
                  <a:gd name="connsiteY3" fmla="*/ 1914 h 22333"/>
                  <a:gd name="connsiteX4" fmla="*/ 11170 w 22340"/>
                  <a:gd name="connsiteY4" fmla="*/ 1914 h 22333"/>
                  <a:gd name="connsiteX5" fmla="*/ 20426 w 22340"/>
                  <a:gd name="connsiteY5" fmla="*/ 11170 h 22333"/>
                  <a:gd name="connsiteX6" fmla="*/ 20426 w 22340"/>
                  <a:gd name="connsiteY6" fmla="*/ 20426 h 22333"/>
                  <a:gd name="connsiteX7" fmla="*/ 15811 w 22340"/>
                  <a:gd name="connsiteY7" fmla="*/ 22334 h 2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0" h="22333">
                    <a:moveTo>
                      <a:pt x="15811" y="22334"/>
                    </a:moveTo>
                    <a:cubicBezTo>
                      <a:pt x="14135" y="22334"/>
                      <a:pt x="12459" y="21689"/>
                      <a:pt x="11170" y="20426"/>
                    </a:cubicBezTo>
                    <a:lnTo>
                      <a:pt x="1914" y="11170"/>
                    </a:lnTo>
                    <a:cubicBezTo>
                      <a:pt x="-638" y="8618"/>
                      <a:pt x="-638" y="4467"/>
                      <a:pt x="1914" y="1914"/>
                    </a:cubicBezTo>
                    <a:cubicBezTo>
                      <a:pt x="4467" y="-638"/>
                      <a:pt x="8618" y="-638"/>
                      <a:pt x="11170" y="1914"/>
                    </a:cubicBezTo>
                    <a:lnTo>
                      <a:pt x="20426" y="11170"/>
                    </a:lnTo>
                    <a:cubicBezTo>
                      <a:pt x="22978" y="13722"/>
                      <a:pt x="22978" y="17873"/>
                      <a:pt x="20426" y="20426"/>
                    </a:cubicBezTo>
                    <a:cubicBezTo>
                      <a:pt x="19162" y="21689"/>
                      <a:pt x="17487" y="22334"/>
                      <a:pt x="15811" y="22334"/>
                    </a:cubicBezTo>
                    <a:close/>
                  </a:path>
                </a:pathLst>
              </a:custGeom>
              <a:solidFill>
                <a:schemeClr val="accent1"/>
              </a:solidFill>
              <a:ln w="2573" cap="flat">
                <a:noFill/>
                <a:prstDash val="solid"/>
                <a:miter/>
              </a:ln>
            </p:spPr>
            <p:txBody>
              <a:bodyPr rtlCol="0" anchor="ctr"/>
              <a:lstStyle/>
              <a:p>
                <a:endParaRPr lang="en-GB" dirty="0"/>
              </a:p>
            </p:txBody>
          </p:sp>
          <p:sp>
            <p:nvSpPr>
              <p:cNvPr id="569" name="Freihandform: Form 1010">
                <a:extLst>
                  <a:ext uri="{FF2B5EF4-FFF2-40B4-BE49-F238E27FC236}">
                    <a16:creationId xmlns:a16="http://schemas.microsoft.com/office/drawing/2014/main" id="{E742A399-DA2C-4935-B191-CD8529916FE6}"/>
                  </a:ext>
                </a:extLst>
              </p:cNvPr>
              <p:cNvSpPr/>
              <p:nvPr/>
            </p:nvSpPr>
            <p:spPr>
              <a:xfrm>
                <a:off x="7100387" y="4333600"/>
                <a:ext cx="22340" cy="22333"/>
              </a:xfrm>
              <a:custGeom>
                <a:avLst/>
                <a:gdLst>
                  <a:gd name="connsiteX0" fmla="*/ 6555 w 22340"/>
                  <a:gd name="connsiteY0" fmla="*/ 22334 h 22333"/>
                  <a:gd name="connsiteX1" fmla="*/ 1914 w 22340"/>
                  <a:gd name="connsiteY1" fmla="*/ 20426 h 22333"/>
                  <a:gd name="connsiteX2" fmla="*/ 1914 w 22340"/>
                  <a:gd name="connsiteY2" fmla="*/ 11170 h 22333"/>
                  <a:gd name="connsiteX3" fmla="*/ 11170 w 22340"/>
                  <a:gd name="connsiteY3" fmla="*/ 1914 h 22333"/>
                  <a:gd name="connsiteX4" fmla="*/ 20426 w 22340"/>
                  <a:gd name="connsiteY4" fmla="*/ 1914 h 22333"/>
                  <a:gd name="connsiteX5" fmla="*/ 20426 w 22340"/>
                  <a:gd name="connsiteY5" fmla="*/ 11170 h 22333"/>
                  <a:gd name="connsiteX6" fmla="*/ 11170 w 22340"/>
                  <a:gd name="connsiteY6" fmla="*/ 20426 h 22333"/>
                  <a:gd name="connsiteX7" fmla="*/ 6555 w 22340"/>
                  <a:gd name="connsiteY7" fmla="*/ 22334 h 2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0" h="22333">
                    <a:moveTo>
                      <a:pt x="6555" y="22334"/>
                    </a:moveTo>
                    <a:cubicBezTo>
                      <a:pt x="4879" y="22334"/>
                      <a:pt x="3203" y="21689"/>
                      <a:pt x="1914" y="20426"/>
                    </a:cubicBezTo>
                    <a:cubicBezTo>
                      <a:pt x="-638" y="17873"/>
                      <a:pt x="-638" y="13722"/>
                      <a:pt x="1914" y="11170"/>
                    </a:cubicBezTo>
                    <a:lnTo>
                      <a:pt x="11170" y="1914"/>
                    </a:lnTo>
                    <a:cubicBezTo>
                      <a:pt x="13722" y="-638"/>
                      <a:pt x="17873" y="-638"/>
                      <a:pt x="20426" y="1914"/>
                    </a:cubicBezTo>
                    <a:cubicBezTo>
                      <a:pt x="22978" y="4467"/>
                      <a:pt x="22978" y="8618"/>
                      <a:pt x="20426" y="11170"/>
                    </a:cubicBezTo>
                    <a:lnTo>
                      <a:pt x="11170" y="20426"/>
                    </a:lnTo>
                    <a:cubicBezTo>
                      <a:pt x="9907" y="21689"/>
                      <a:pt x="8231" y="22334"/>
                      <a:pt x="6555" y="22334"/>
                    </a:cubicBezTo>
                    <a:close/>
                  </a:path>
                </a:pathLst>
              </a:custGeom>
              <a:solidFill>
                <a:schemeClr val="accent1"/>
              </a:solidFill>
              <a:ln w="2573" cap="flat">
                <a:noFill/>
                <a:prstDash val="solid"/>
                <a:miter/>
              </a:ln>
            </p:spPr>
            <p:txBody>
              <a:bodyPr rtlCol="0" anchor="ctr"/>
              <a:lstStyle/>
              <a:p>
                <a:endParaRPr lang="en-GB" dirty="0"/>
              </a:p>
            </p:txBody>
          </p:sp>
          <p:sp>
            <p:nvSpPr>
              <p:cNvPr id="570" name="Freihandform: Form 1011">
                <a:extLst>
                  <a:ext uri="{FF2B5EF4-FFF2-40B4-BE49-F238E27FC236}">
                    <a16:creationId xmlns:a16="http://schemas.microsoft.com/office/drawing/2014/main" id="{4BDD7AE8-EA57-459A-96F4-48017E1F89E8}"/>
                  </a:ext>
                </a:extLst>
              </p:cNvPr>
              <p:cNvSpPr/>
              <p:nvPr/>
            </p:nvSpPr>
            <p:spPr>
              <a:xfrm>
                <a:off x="7100412" y="4333600"/>
                <a:ext cx="22340" cy="22333"/>
              </a:xfrm>
              <a:custGeom>
                <a:avLst/>
                <a:gdLst>
                  <a:gd name="connsiteX0" fmla="*/ 15811 w 22340"/>
                  <a:gd name="connsiteY0" fmla="*/ 22334 h 22333"/>
                  <a:gd name="connsiteX1" fmla="*/ 11170 w 22340"/>
                  <a:gd name="connsiteY1" fmla="*/ 20426 h 22333"/>
                  <a:gd name="connsiteX2" fmla="*/ 1914 w 22340"/>
                  <a:gd name="connsiteY2" fmla="*/ 11170 h 22333"/>
                  <a:gd name="connsiteX3" fmla="*/ 1914 w 22340"/>
                  <a:gd name="connsiteY3" fmla="*/ 1914 h 22333"/>
                  <a:gd name="connsiteX4" fmla="*/ 11170 w 22340"/>
                  <a:gd name="connsiteY4" fmla="*/ 1914 h 22333"/>
                  <a:gd name="connsiteX5" fmla="*/ 20426 w 22340"/>
                  <a:gd name="connsiteY5" fmla="*/ 11170 h 22333"/>
                  <a:gd name="connsiteX6" fmla="*/ 20426 w 22340"/>
                  <a:gd name="connsiteY6" fmla="*/ 20426 h 22333"/>
                  <a:gd name="connsiteX7" fmla="*/ 15811 w 22340"/>
                  <a:gd name="connsiteY7" fmla="*/ 22334 h 2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0" h="22333">
                    <a:moveTo>
                      <a:pt x="15811" y="22334"/>
                    </a:moveTo>
                    <a:cubicBezTo>
                      <a:pt x="14135" y="22334"/>
                      <a:pt x="12459" y="21689"/>
                      <a:pt x="11170" y="20426"/>
                    </a:cubicBezTo>
                    <a:lnTo>
                      <a:pt x="1914" y="11170"/>
                    </a:lnTo>
                    <a:cubicBezTo>
                      <a:pt x="-638" y="8618"/>
                      <a:pt x="-638" y="4467"/>
                      <a:pt x="1914" y="1914"/>
                    </a:cubicBezTo>
                    <a:cubicBezTo>
                      <a:pt x="4467" y="-638"/>
                      <a:pt x="8618" y="-638"/>
                      <a:pt x="11170" y="1914"/>
                    </a:cubicBezTo>
                    <a:lnTo>
                      <a:pt x="20426" y="11170"/>
                    </a:lnTo>
                    <a:cubicBezTo>
                      <a:pt x="22978" y="13722"/>
                      <a:pt x="22978" y="17873"/>
                      <a:pt x="20426" y="20426"/>
                    </a:cubicBezTo>
                    <a:cubicBezTo>
                      <a:pt x="19162" y="21689"/>
                      <a:pt x="17487" y="22334"/>
                      <a:pt x="15811" y="22334"/>
                    </a:cubicBezTo>
                    <a:close/>
                  </a:path>
                </a:pathLst>
              </a:custGeom>
              <a:solidFill>
                <a:schemeClr val="accent1"/>
              </a:solidFill>
              <a:ln w="2573" cap="flat">
                <a:noFill/>
                <a:prstDash val="solid"/>
                <a:miter/>
              </a:ln>
            </p:spPr>
            <p:txBody>
              <a:bodyPr rtlCol="0" anchor="ctr"/>
              <a:lstStyle/>
              <a:p>
                <a:endParaRPr lang="en-GB" dirty="0"/>
              </a:p>
            </p:txBody>
          </p:sp>
          <p:sp>
            <p:nvSpPr>
              <p:cNvPr id="571" name="Freihandform: Form 1013">
                <a:extLst>
                  <a:ext uri="{FF2B5EF4-FFF2-40B4-BE49-F238E27FC236}">
                    <a16:creationId xmlns:a16="http://schemas.microsoft.com/office/drawing/2014/main" id="{D427B8DC-A104-4D51-B5DD-AD6C9855E1BD}"/>
                  </a:ext>
                </a:extLst>
              </p:cNvPr>
              <p:cNvSpPr/>
              <p:nvPr/>
            </p:nvSpPr>
            <p:spPr>
              <a:xfrm>
                <a:off x="7021752" y="4442297"/>
                <a:ext cx="22340" cy="22333"/>
              </a:xfrm>
              <a:custGeom>
                <a:avLst/>
                <a:gdLst>
                  <a:gd name="connsiteX0" fmla="*/ 6555 w 22340"/>
                  <a:gd name="connsiteY0" fmla="*/ 22333 h 22333"/>
                  <a:gd name="connsiteX1" fmla="*/ 1914 w 22340"/>
                  <a:gd name="connsiteY1" fmla="*/ 20426 h 22333"/>
                  <a:gd name="connsiteX2" fmla="*/ 1914 w 22340"/>
                  <a:gd name="connsiteY2" fmla="*/ 11170 h 22333"/>
                  <a:gd name="connsiteX3" fmla="*/ 11170 w 22340"/>
                  <a:gd name="connsiteY3" fmla="*/ 1914 h 22333"/>
                  <a:gd name="connsiteX4" fmla="*/ 20426 w 22340"/>
                  <a:gd name="connsiteY4" fmla="*/ 1914 h 22333"/>
                  <a:gd name="connsiteX5" fmla="*/ 20426 w 22340"/>
                  <a:gd name="connsiteY5" fmla="*/ 11170 h 22333"/>
                  <a:gd name="connsiteX6" fmla="*/ 11170 w 22340"/>
                  <a:gd name="connsiteY6" fmla="*/ 20426 h 22333"/>
                  <a:gd name="connsiteX7" fmla="*/ 6555 w 22340"/>
                  <a:gd name="connsiteY7" fmla="*/ 22333 h 2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0" h="22333">
                    <a:moveTo>
                      <a:pt x="6555" y="22333"/>
                    </a:moveTo>
                    <a:cubicBezTo>
                      <a:pt x="4879" y="22333"/>
                      <a:pt x="3203" y="21689"/>
                      <a:pt x="1914" y="20426"/>
                    </a:cubicBezTo>
                    <a:cubicBezTo>
                      <a:pt x="-638" y="17873"/>
                      <a:pt x="-638" y="13722"/>
                      <a:pt x="1914" y="11170"/>
                    </a:cubicBezTo>
                    <a:lnTo>
                      <a:pt x="11170" y="1914"/>
                    </a:lnTo>
                    <a:cubicBezTo>
                      <a:pt x="13722" y="-638"/>
                      <a:pt x="17873" y="-638"/>
                      <a:pt x="20426" y="1914"/>
                    </a:cubicBezTo>
                    <a:cubicBezTo>
                      <a:pt x="22978" y="4467"/>
                      <a:pt x="22978" y="8618"/>
                      <a:pt x="20426" y="11170"/>
                    </a:cubicBezTo>
                    <a:lnTo>
                      <a:pt x="11170" y="20426"/>
                    </a:lnTo>
                    <a:cubicBezTo>
                      <a:pt x="9907" y="21689"/>
                      <a:pt x="8231" y="22333"/>
                      <a:pt x="6555" y="22333"/>
                    </a:cubicBezTo>
                    <a:close/>
                  </a:path>
                </a:pathLst>
              </a:custGeom>
              <a:solidFill>
                <a:schemeClr val="accent1"/>
              </a:solidFill>
              <a:ln w="2573" cap="flat">
                <a:noFill/>
                <a:prstDash val="solid"/>
                <a:miter/>
              </a:ln>
            </p:spPr>
            <p:txBody>
              <a:bodyPr rtlCol="0" anchor="ctr"/>
              <a:lstStyle/>
              <a:p>
                <a:endParaRPr lang="en-GB" dirty="0"/>
              </a:p>
            </p:txBody>
          </p:sp>
          <p:sp>
            <p:nvSpPr>
              <p:cNvPr id="572" name="Freihandform: Form 1014">
                <a:extLst>
                  <a:ext uri="{FF2B5EF4-FFF2-40B4-BE49-F238E27FC236}">
                    <a16:creationId xmlns:a16="http://schemas.microsoft.com/office/drawing/2014/main" id="{15280B6C-F146-48C2-918B-60A842BECF7E}"/>
                  </a:ext>
                </a:extLst>
              </p:cNvPr>
              <p:cNvSpPr/>
              <p:nvPr/>
            </p:nvSpPr>
            <p:spPr>
              <a:xfrm>
                <a:off x="7021752" y="4442297"/>
                <a:ext cx="22340" cy="22333"/>
              </a:xfrm>
              <a:custGeom>
                <a:avLst/>
                <a:gdLst>
                  <a:gd name="connsiteX0" fmla="*/ 15811 w 22340"/>
                  <a:gd name="connsiteY0" fmla="*/ 22333 h 22333"/>
                  <a:gd name="connsiteX1" fmla="*/ 11170 w 22340"/>
                  <a:gd name="connsiteY1" fmla="*/ 20426 h 22333"/>
                  <a:gd name="connsiteX2" fmla="*/ 1914 w 22340"/>
                  <a:gd name="connsiteY2" fmla="*/ 11170 h 22333"/>
                  <a:gd name="connsiteX3" fmla="*/ 1914 w 22340"/>
                  <a:gd name="connsiteY3" fmla="*/ 1914 h 22333"/>
                  <a:gd name="connsiteX4" fmla="*/ 11170 w 22340"/>
                  <a:gd name="connsiteY4" fmla="*/ 1914 h 22333"/>
                  <a:gd name="connsiteX5" fmla="*/ 20426 w 22340"/>
                  <a:gd name="connsiteY5" fmla="*/ 11170 h 22333"/>
                  <a:gd name="connsiteX6" fmla="*/ 20426 w 22340"/>
                  <a:gd name="connsiteY6" fmla="*/ 20426 h 22333"/>
                  <a:gd name="connsiteX7" fmla="*/ 15811 w 22340"/>
                  <a:gd name="connsiteY7" fmla="*/ 22333 h 22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0" h="22333">
                    <a:moveTo>
                      <a:pt x="15811" y="22333"/>
                    </a:moveTo>
                    <a:cubicBezTo>
                      <a:pt x="14135" y="22333"/>
                      <a:pt x="12459" y="21689"/>
                      <a:pt x="11170" y="20426"/>
                    </a:cubicBezTo>
                    <a:lnTo>
                      <a:pt x="1914" y="11170"/>
                    </a:lnTo>
                    <a:cubicBezTo>
                      <a:pt x="-638" y="8618"/>
                      <a:pt x="-638" y="4467"/>
                      <a:pt x="1914" y="1914"/>
                    </a:cubicBezTo>
                    <a:cubicBezTo>
                      <a:pt x="4467" y="-638"/>
                      <a:pt x="8618" y="-638"/>
                      <a:pt x="11170" y="1914"/>
                    </a:cubicBezTo>
                    <a:lnTo>
                      <a:pt x="20426" y="11170"/>
                    </a:lnTo>
                    <a:cubicBezTo>
                      <a:pt x="22978" y="13722"/>
                      <a:pt x="22978" y="17873"/>
                      <a:pt x="20426" y="20426"/>
                    </a:cubicBezTo>
                    <a:cubicBezTo>
                      <a:pt x="19162" y="21689"/>
                      <a:pt x="17487" y="22333"/>
                      <a:pt x="15811" y="22333"/>
                    </a:cubicBezTo>
                    <a:close/>
                  </a:path>
                </a:pathLst>
              </a:custGeom>
              <a:solidFill>
                <a:schemeClr val="accent1"/>
              </a:solidFill>
              <a:ln w="2573" cap="flat">
                <a:noFill/>
                <a:prstDash val="solid"/>
                <a:miter/>
              </a:ln>
            </p:spPr>
            <p:txBody>
              <a:bodyPr rtlCol="0" anchor="ctr"/>
              <a:lstStyle/>
              <a:p>
                <a:endParaRPr lang="en-GB" dirty="0"/>
              </a:p>
            </p:txBody>
          </p:sp>
          <p:sp>
            <p:nvSpPr>
              <p:cNvPr id="573" name="Freihandform: Form 1015">
                <a:extLst>
                  <a:ext uri="{FF2B5EF4-FFF2-40B4-BE49-F238E27FC236}">
                    <a16:creationId xmlns:a16="http://schemas.microsoft.com/office/drawing/2014/main" id="{47ED70A5-7A4B-48C7-A169-B40A271CE2E0}"/>
                  </a:ext>
                </a:extLst>
              </p:cNvPr>
              <p:cNvSpPr/>
              <p:nvPr/>
            </p:nvSpPr>
            <p:spPr>
              <a:xfrm>
                <a:off x="7371826" y="4248371"/>
                <a:ext cx="91758" cy="39291"/>
              </a:xfrm>
              <a:custGeom>
                <a:avLst/>
                <a:gdLst>
                  <a:gd name="connsiteX0" fmla="*/ 72086 w 91758"/>
                  <a:gd name="connsiteY0" fmla="*/ 39292 h 39291"/>
                  <a:gd name="connsiteX1" fmla="*/ 6549 w 91758"/>
                  <a:gd name="connsiteY1" fmla="*/ 39292 h 39291"/>
                  <a:gd name="connsiteX2" fmla="*/ 0 w 91758"/>
                  <a:gd name="connsiteY2" fmla="*/ 32743 h 39291"/>
                  <a:gd name="connsiteX3" fmla="*/ 6549 w 91758"/>
                  <a:gd name="connsiteY3" fmla="*/ 26194 h 39291"/>
                  <a:gd name="connsiteX4" fmla="*/ 72086 w 91758"/>
                  <a:gd name="connsiteY4" fmla="*/ 26194 h 39291"/>
                  <a:gd name="connsiteX5" fmla="*/ 78635 w 91758"/>
                  <a:gd name="connsiteY5" fmla="*/ 19646 h 39291"/>
                  <a:gd name="connsiteX6" fmla="*/ 72086 w 91758"/>
                  <a:gd name="connsiteY6" fmla="*/ 13097 h 39291"/>
                  <a:gd name="connsiteX7" fmla="*/ 65538 w 91758"/>
                  <a:gd name="connsiteY7" fmla="*/ 6549 h 39291"/>
                  <a:gd name="connsiteX8" fmla="*/ 72086 w 91758"/>
                  <a:gd name="connsiteY8" fmla="*/ 0 h 39291"/>
                  <a:gd name="connsiteX9" fmla="*/ 91758 w 91758"/>
                  <a:gd name="connsiteY9" fmla="*/ 19671 h 39291"/>
                  <a:gd name="connsiteX10" fmla="*/ 72086 w 91758"/>
                  <a:gd name="connsiteY10" fmla="*/ 39292 h 39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758" h="39291">
                    <a:moveTo>
                      <a:pt x="72086" y="39292"/>
                    </a:moveTo>
                    <a:lnTo>
                      <a:pt x="6549" y="39292"/>
                    </a:lnTo>
                    <a:cubicBezTo>
                      <a:pt x="2913" y="39292"/>
                      <a:pt x="0" y="36352"/>
                      <a:pt x="0" y="32743"/>
                    </a:cubicBezTo>
                    <a:cubicBezTo>
                      <a:pt x="0" y="29134"/>
                      <a:pt x="2939" y="26194"/>
                      <a:pt x="6549" y="26194"/>
                    </a:cubicBezTo>
                    <a:lnTo>
                      <a:pt x="72086" y="26194"/>
                    </a:lnTo>
                    <a:cubicBezTo>
                      <a:pt x="75696" y="26194"/>
                      <a:pt x="78635" y="23255"/>
                      <a:pt x="78635" y="19646"/>
                    </a:cubicBezTo>
                    <a:cubicBezTo>
                      <a:pt x="78635" y="16036"/>
                      <a:pt x="75696" y="13097"/>
                      <a:pt x="72086" y="13097"/>
                    </a:cubicBezTo>
                    <a:cubicBezTo>
                      <a:pt x="68451" y="13097"/>
                      <a:pt x="65538" y="10158"/>
                      <a:pt x="65538" y="6549"/>
                    </a:cubicBezTo>
                    <a:cubicBezTo>
                      <a:pt x="65538" y="2939"/>
                      <a:pt x="68477" y="0"/>
                      <a:pt x="72086" y="0"/>
                    </a:cubicBezTo>
                    <a:cubicBezTo>
                      <a:pt x="82941" y="0"/>
                      <a:pt x="91758" y="8817"/>
                      <a:pt x="91758" y="19671"/>
                    </a:cubicBezTo>
                    <a:cubicBezTo>
                      <a:pt x="91758" y="30474"/>
                      <a:pt x="82915" y="39292"/>
                      <a:pt x="72086" y="39292"/>
                    </a:cubicBezTo>
                    <a:close/>
                  </a:path>
                </a:pathLst>
              </a:custGeom>
              <a:solidFill>
                <a:schemeClr val="accent1"/>
              </a:solidFill>
              <a:ln w="2573" cap="flat">
                <a:noFill/>
                <a:prstDash val="solid"/>
                <a:miter/>
              </a:ln>
            </p:spPr>
            <p:txBody>
              <a:bodyPr rtlCol="0" anchor="ctr"/>
              <a:lstStyle/>
              <a:p>
                <a:endParaRPr lang="en-GB" dirty="0"/>
              </a:p>
            </p:txBody>
          </p:sp>
          <p:sp>
            <p:nvSpPr>
              <p:cNvPr id="574" name="Freihandform: Form 1016">
                <a:extLst>
                  <a:ext uri="{FF2B5EF4-FFF2-40B4-BE49-F238E27FC236}">
                    <a16:creationId xmlns:a16="http://schemas.microsoft.com/office/drawing/2014/main" id="{84B4C4C5-F43B-4E77-93C8-6D87F7882C19}"/>
                  </a:ext>
                </a:extLst>
              </p:cNvPr>
              <p:cNvSpPr/>
              <p:nvPr/>
            </p:nvSpPr>
            <p:spPr>
              <a:xfrm>
                <a:off x="7340165" y="4340129"/>
                <a:ext cx="98306" cy="45865"/>
              </a:xfrm>
              <a:custGeom>
                <a:avLst/>
                <a:gdLst>
                  <a:gd name="connsiteX0" fmla="*/ 86679 w 98306"/>
                  <a:gd name="connsiteY0" fmla="*/ 45866 h 45865"/>
                  <a:gd name="connsiteX1" fmla="*/ 82296 w 98306"/>
                  <a:gd name="connsiteY1" fmla="*/ 44190 h 45865"/>
                  <a:gd name="connsiteX2" fmla="*/ 81806 w 98306"/>
                  <a:gd name="connsiteY2" fmla="*/ 34934 h 45865"/>
                  <a:gd name="connsiteX3" fmla="*/ 85184 w 98306"/>
                  <a:gd name="connsiteY3" fmla="*/ 26194 h 45865"/>
                  <a:gd name="connsiteX4" fmla="*/ 72086 w 98306"/>
                  <a:gd name="connsiteY4" fmla="*/ 13097 h 45865"/>
                  <a:gd name="connsiteX5" fmla="*/ 6549 w 98306"/>
                  <a:gd name="connsiteY5" fmla="*/ 13097 h 45865"/>
                  <a:gd name="connsiteX6" fmla="*/ 0 w 98306"/>
                  <a:gd name="connsiteY6" fmla="*/ 6548 h 45865"/>
                  <a:gd name="connsiteX7" fmla="*/ 6549 w 98306"/>
                  <a:gd name="connsiteY7" fmla="*/ 0 h 45865"/>
                  <a:gd name="connsiteX8" fmla="*/ 72086 w 98306"/>
                  <a:gd name="connsiteY8" fmla="*/ 0 h 45865"/>
                  <a:gd name="connsiteX9" fmla="*/ 98307 w 98306"/>
                  <a:gd name="connsiteY9" fmla="*/ 26220 h 45865"/>
                  <a:gd name="connsiteX10" fmla="*/ 91578 w 98306"/>
                  <a:gd name="connsiteY10" fmla="*/ 43700 h 45865"/>
                  <a:gd name="connsiteX11" fmla="*/ 86679 w 98306"/>
                  <a:gd name="connsiteY11" fmla="*/ 45866 h 4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8306" h="45865">
                    <a:moveTo>
                      <a:pt x="86679" y="45866"/>
                    </a:moveTo>
                    <a:cubicBezTo>
                      <a:pt x="85106" y="45866"/>
                      <a:pt x="83559" y="45325"/>
                      <a:pt x="82296" y="44190"/>
                    </a:cubicBezTo>
                    <a:cubicBezTo>
                      <a:pt x="79589" y="41767"/>
                      <a:pt x="79383" y="37642"/>
                      <a:pt x="81806" y="34934"/>
                    </a:cubicBezTo>
                    <a:cubicBezTo>
                      <a:pt x="83972" y="32511"/>
                      <a:pt x="85184" y="29417"/>
                      <a:pt x="85184" y="26194"/>
                    </a:cubicBezTo>
                    <a:cubicBezTo>
                      <a:pt x="85184" y="18975"/>
                      <a:pt x="79305" y="13097"/>
                      <a:pt x="72086" y="13097"/>
                    </a:cubicBezTo>
                    <a:lnTo>
                      <a:pt x="6549" y="13097"/>
                    </a:lnTo>
                    <a:cubicBezTo>
                      <a:pt x="2913" y="13097"/>
                      <a:pt x="0" y="10158"/>
                      <a:pt x="0" y="6548"/>
                    </a:cubicBezTo>
                    <a:cubicBezTo>
                      <a:pt x="0" y="2939"/>
                      <a:pt x="2939" y="0"/>
                      <a:pt x="6549" y="0"/>
                    </a:cubicBezTo>
                    <a:lnTo>
                      <a:pt x="72086" y="0"/>
                    </a:lnTo>
                    <a:cubicBezTo>
                      <a:pt x="86550" y="0"/>
                      <a:pt x="98307" y="11756"/>
                      <a:pt x="98307" y="26220"/>
                    </a:cubicBezTo>
                    <a:cubicBezTo>
                      <a:pt x="98307" y="32666"/>
                      <a:pt x="95909" y="38879"/>
                      <a:pt x="91578" y="43700"/>
                    </a:cubicBezTo>
                    <a:cubicBezTo>
                      <a:pt x="90263" y="45118"/>
                      <a:pt x="88484" y="45866"/>
                      <a:pt x="86679" y="45866"/>
                    </a:cubicBezTo>
                    <a:close/>
                  </a:path>
                </a:pathLst>
              </a:custGeom>
              <a:solidFill>
                <a:schemeClr val="accent1"/>
              </a:solidFill>
              <a:ln w="2573" cap="flat">
                <a:noFill/>
                <a:prstDash val="solid"/>
                <a:miter/>
              </a:ln>
            </p:spPr>
            <p:txBody>
              <a:bodyPr rtlCol="0" anchor="ctr"/>
              <a:lstStyle/>
              <a:p>
                <a:endParaRPr lang="en-GB" dirty="0"/>
              </a:p>
            </p:txBody>
          </p:sp>
          <p:sp>
            <p:nvSpPr>
              <p:cNvPr id="575" name="Freihandform: Form 1023">
                <a:extLst>
                  <a:ext uri="{FF2B5EF4-FFF2-40B4-BE49-F238E27FC236}">
                    <a16:creationId xmlns:a16="http://schemas.microsoft.com/office/drawing/2014/main" id="{9E158573-041D-429F-A573-612B9CA8EAC3}"/>
                  </a:ext>
                </a:extLst>
              </p:cNvPr>
              <p:cNvSpPr/>
              <p:nvPr/>
            </p:nvSpPr>
            <p:spPr>
              <a:xfrm>
                <a:off x="7417692" y="4307360"/>
                <a:ext cx="39317" cy="13097"/>
              </a:xfrm>
              <a:custGeom>
                <a:avLst/>
                <a:gdLst>
                  <a:gd name="connsiteX0" fmla="*/ 32769 w 39317"/>
                  <a:gd name="connsiteY0" fmla="*/ 13097 h 13097"/>
                  <a:gd name="connsiteX1" fmla="*/ 6549 w 39317"/>
                  <a:gd name="connsiteY1" fmla="*/ 13097 h 13097"/>
                  <a:gd name="connsiteX2" fmla="*/ 0 w 39317"/>
                  <a:gd name="connsiteY2" fmla="*/ 6549 h 13097"/>
                  <a:gd name="connsiteX3" fmla="*/ 6549 w 39317"/>
                  <a:gd name="connsiteY3" fmla="*/ 0 h 13097"/>
                  <a:gd name="connsiteX4" fmla="*/ 32769 w 39317"/>
                  <a:gd name="connsiteY4" fmla="*/ 0 h 13097"/>
                  <a:gd name="connsiteX5" fmla="*/ 39318 w 39317"/>
                  <a:gd name="connsiteY5" fmla="*/ 6549 h 13097"/>
                  <a:gd name="connsiteX6" fmla="*/ 32769 w 39317"/>
                  <a:gd name="connsiteY6" fmla="*/ 13097 h 13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7" h="13097">
                    <a:moveTo>
                      <a:pt x="32769" y="13097"/>
                    </a:moveTo>
                    <a:lnTo>
                      <a:pt x="6549" y="13097"/>
                    </a:lnTo>
                    <a:cubicBezTo>
                      <a:pt x="2913" y="13097"/>
                      <a:pt x="0" y="10158"/>
                      <a:pt x="0" y="6549"/>
                    </a:cubicBezTo>
                    <a:cubicBezTo>
                      <a:pt x="0" y="2913"/>
                      <a:pt x="2939" y="0"/>
                      <a:pt x="6549" y="0"/>
                    </a:cubicBezTo>
                    <a:lnTo>
                      <a:pt x="32769" y="0"/>
                    </a:lnTo>
                    <a:cubicBezTo>
                      <a:pt x="36378" y="0"/>
                      <a:pt x="39318" y="2939"/>
                      <a:pt x="39318" y="6549"/>
                    </a:cubicBezTo>
                    <a:cubicBezTo>
                      <a:pt x="39318" y="10158"/>
                      <a:pt x="36404" y="13097"/>
                      <a:pt x="32769" y="13097"/>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584" name="Group 583">
            <a:extLst>
              <a:ext uri="{FF2B5EF4-FFF2-40B4-BE49-F238E27FC236}">
                <a16:creationId xmlns:a16="http://schemas.microsoft.com/office/drawing/2014/main" id="{FC6ADBFC-215E-436E-9A8D-78DD30ECE45D}"/>
              </a:ext>
            </a:extLst>
          </p:cNvPr>
          <p:cNvGrpSpPr>
            <a:grpSpLocks noChangeAspect="1"/>
          </p:cNvGrpSpPr>
          <p:nvPr/>
        </p:nvGrpSpPr>
        <p:grpSpPr>
          <a:xfrm>
            <a:off x="7077922" y="3197069"/>
            <a:ext cx="396312" cy="431995"/>
            <a:chOff x="6152709" y="4084858"/>
            <a:chExt cx="432580" cy="471529"/>
          </a:xfrm>
        </p:grpSpPr>
        <p:grpSp>
          <p:nvGrpSpPr>
            <p:cNvPr id="585" name="Group 584">
              <a:extLst>
                <a:ext uri="{FF2B5EF4-FFF2-40B4-BE49-F238E27FC236}">
                  <a16:creationId xmlns:a16="http://schemas.microsoft.com/office/drawing/2014/main" id="{DF60F6D7-B629-406A-87DE-BCA6FC7D3B65}"/>
                </a:ext>
              </a:extLst>
            </p:cNvPr>
            <p:cNvGrpSpPr/>
            <p:nvPr/>
          </p:nvGrpSpPr>
          <p:grpSpPr>
            <a:xfrm>
              <a:off x="6465322" y="4084858"/>
              <a:ext cx="99176" cy="174966"/>
              <a:chOff x="6465322" y="4084853"/>
              <a:chExt cx="99176" cy="174965"/>
            </a:xfrm>
          </p:grpSpPr>
          <p:sp>
            <p:nvSpPr>
              <p:cNvPr id="591" name="Freihandform: Form 1030">
                <a:extLst>
                  <a:ext uri="{FF2B5EF4-FFF2-40B4-BE49-F238E27FC236}">
                    <a16:creationId xmlns:a16="http://schemas.microsoft.com/office/drawing/2014/main" id="{CC394730-0C86-490A-9D5D-F2322EDD05F2}"/>
                  </a:ext>
                </a:extLst>
              </p:cNvPr>
              <p:cNvSpPr/>
              <p:nvPr/>
            </p:nvSpPr>
            <p:spPr>
              <a:xfrm>
                <a:off x="6465666" y="4084853"/>
                <a:ext cx="98832" cy="145341"/>
              </a:xfrm>
              <a:custGeom>
                <a:avLst/>
                <a:gdLst>
                  <a:gd name="connsiteX0" fmla="*/ 39988 w 98832"/>
                  <a:gd name="connsiteY0" fmla="*/ 145341 h 145341"/>
                  <a:gd name="connsiteX1" fmla="*/ 30449 w 98832"/>
                  <a:gd name="connsiteY1" fmla="*/ 144594 h 145341"/>
                  <a:gd name="connsiteX2" fmla="*/ 29211 w 98832"/>
                  <a:gd name="connsiteY2" fmla="*/ 144310 h 145341"/>
                  <a:gd name="connsiteX3" fmla="*/ 28000 w 98832"/>
                  <a:gd name="connsiteY3" fmla="*/ 143898 h 145341"/>
                  <a:gd name="connsiteX4" fmla="*/ 877 w 98832"/>
                  <a:gd name="connsiteY4" fmla="*/ 113088 h 145341"/>
                  <a:gd name="connsiteX5" fmla="*/ 13201 w 98832"/>
                  <a:gd name="connsiteY5" fmla="*/ 74106 h 145341"/>
                  <a:gd name="connsiteX6" fmla="*/ 13691 w 98832"/>
                  <a:gd name="connsiteY6" fmla="*/ 73590 h 145341"/>
                  <a:gd name="connsiteX7" fmla="*/ 66028 w 98832"/>
                  <a:gd name="connsiteY7" fmla="*/ 7356 h 145341"/>
                  <a:gd name="connsiteX8" fmla="*/ 70050 w 98832"/>
                  <a:gd name="connsiteY8" fmla="*/ 498 h 145341"/>
                  <a:gd name="connsiteX9" fmla="*/ 77733 w 98832"/>
                  <a:gd name="connsiteY9" fmla="*/ 2561 h 145341"/>
                  <a:gd name="connsiteX10" fmla="*/ 97508 w 98832"/>
                  <a:gd name="connsiteY10" fmla="*/ 48633 h 145341"/>
                  <a:gd name="connsiteX11" fmla="*/ 97508 w 98832"/>
                  <a:gd name="connsiteY11" fmla="*/ 48633 h 145341"/>
                  <a:gd name="connsiteX12" fmla="*/ 76134 w 98832"/>
                  <a:gd name="connsiteY12" fmla="*/ 130336 h 145341"/>
                  <a:gd name="connsiteX13" fmla="*/ 39988 w 98832"/>
                  <a:gd name="connsiteY13" fmla="*/ 145341 h 145341"/>
                  <a:gd name="connsiteX14" fmla="*/ 32950 w 98832"/>
                  <a:gd name="connsiteY14" fmla="*/ 131754 h 145341"/>
                  <a:gd name="connsiteX15" fmla="*/ 66750 w 98832"/>
                  <a:gd name="connsiteY15" fmla="*/ 121158 h 145341"/>
                  <a:gd name="connsiteX16" fmla="*/ 84539 w 98832"/>
                  <a:gd name="connsiteY16" fmla="*/ 50851 h 145341"/>
                  <a:gd name="connsiteX17" fmla="*/ 84539 w 98832"/>
                  <a:gd name="connsiteY17" fmla="*/ 50851 h 145341"/>
                  <a:gd name="connsiteX18" fmla="*/ 74175 w 98832"/>
                  <a:gd name="connsiteY18" fmla="*/ 21639 h 145341"/>
                  <a:gd name="connsiteX19" fmla="*/ 23049 w 98832"/>
                  <a:gd name="connsiteY19" fmla="*/ 82743 h 145341"/>
                  <a:gd name="connsiteX20" fmla="*/ 13613 w 98832"/>
                  <a:gd name="connsiteY20" fmla="*/ 110175 h 145341"/>
                  <a:gd name="connsiteX21" fmla="*/ 32950 w 98832"/>
                  <a:gd name="connsiteY21" fmla="*/ 131754 h 145341"/>
                  <a:gd name="connsiteX22" fmla="*/ 32950 w 98832"/>
                  <a:gd name="connsiteY22" fmla="*/ 131754 h 145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8832" h="145341">
                    <a:moveTo>
                      <a:pt x="39988" y="145341"/>
                    </a:moveTo>
                    <a:cubicBezTo>
                      <a:pt x="36894" y="145341"/>
                      <a:pt x="33697" y="145084"/>
                      <a:pt x="30449" y="144594"/>
                    </a:cubicBezTo>
                    <a:lnTo>
                      <a:pt x="29211" y="144310"/>
                    </a:lnTo>
                    <a:cubicBezTo>
                      <a:pt x="28799" y="144207"/>
                      <a:pt x="28386" y="144078"/>
                      <a:pt x="28000" y="143898"/>
                    </a:cubicBezTo>
                    <a:cubicBezTo>
                      <a:pt x="27071" y="143485"/>
                      <a:pt x="5518" y="133353"/>
                      <a:pt x="877" y="113088"/>
                    </a:cubicBezTo>
                    <a:cubicBezTo>
                      <a:pt x="-1985" y="100584"/>
                      <a:pt x="2166" y="87487"/>
                      <a:pt x="13201" y="74106"/>
                    </a:cubicBezTo>
                    <a:cubicBezTo>
                      <a:pt x="13355" y="73925"/>
                      <a:pt x="13510" y="73745"/>
                      <a:pt x="13691" y="73590"/>
                    </a:cubicBezTo>
                    <a:cubicBezTo>
                      <a:pt x="63656" y="24991"/>
                      <a:pt x="66028" y="7511"/>
                      <a:pt x="66028" y="7356"/>
                    </a:cubicBezTo>
                    <a:cubicBezTo>
                      <a:pt x="65667" y="4417"/>
                      <a:pt x="67317" y="1633"/>
                      <a:pt x="70050" y="498"/>
                    </a:cubicBezTo>
                    <a:cubicBezTo>
                      <a:pt x="72783" y="-636"/>
                      <a:pt x="75928" y="215"/>
                      <a:pt x="77733" y="2561"/>
                    </a:cubicBezTo>
                    <a:cubicBezTo>
                      <a:pt x="78352" y="3360"/>
                      <a:pt x="93125" y="22696"/>
                      <a:pt x="97508" y="48633"/>
                    </a:cubicBezTo>
                    <a:lnTo>
                      <a:pt x="97508" y="48633"/>
                    </a:lnTo>
                    <a:cubicBezTo>
                      <a:pt x="101813" y="74106"/>
                      <a:pt x="95858" y="110330"/>
                      <a:pt x="76134" y="130336"/>
                    </a:cubicBezTo>
                    <a:cubicBezTo>
                      <a:pt x="66337" y="140262"/>
                      <a:pt x="53988" y="145341"/>
                      <a:pt x="39988" y="145341"/>
                    </a:cubicBezTo>
                    <a:close/>
                    <a:moveTo>
                      <a:pt x="32950" y="131754"/>
                    </a:moveTo>
                    <a:cubicBezTo>
                      <a:pt x="46227" y="133765"/>
                      <a:pt x="57778" y="130259"/>
                      <a:pt x="66750" y="121158"/>
                    </a:cubicBezTo>
                    <a:cubicBezTo>
                      <a:pt x="83199" y="104477"/>
                      <a:pt x="88201" y="72482"/>
                      <a:pt x="84539" y="50851"/>
                    </a:cubicBezTo>
                    <a:lnTo>
                      <a:pt x="84539" y="50851"/>
                    </a:lnTo>
                    <a:cubicBezTo>
                      <a:pt x="82554" y="39197"/>
                      <a:pt x="78068" y="28910"/>
                      <a:pt x="74175" y="21639"/>
                    </a:cubicBezTo>
                    <a:cubicBezTo>
                      <a:pt x="67884" y="33525"/>
                      <a:pt x="53859" y="52758"/>
                      <a:pt x="23049" y="82743"/>
                    </a:cubicBezTo>
                    <a:cubicBezTo>
                      <a:pt x="14902" y="92720"/>
                      <a:pt x="11731" y="101950"/>
                      <a:pt x="13613" y="110175"/>
                    </a:cubicBezTo>
                    <a:cubicBezTo>
                      <a:pt x="16475" y="122627"/>
                      <a:pt x="30165" y="130311"/>
                      <a:pt x="32950" y="131754"/>
                    </a:cubicBezTo>
                    <a:lnTo>
                      <a:pt x="32950" y="131754"/>
                    </a:lnTo>
                    <a:close/>
                  </a:path>
                </a:pathLst>
              </a:custGeom>
              <a:solidFill>
                <a:schemeClr val="accent1"/>
              </a:solidFill>
              <a:ln w="2573" cap="flat">
                <a:noFill/>
                <a:prstDash val="solid"/>
                <a:miter/>
              </a:ln>
            </p:spPr>
            <p:txBody>
              <a:bodyPr rtlCol="0" anchor="ctr"/>
              <a:lstStyle/>
              <a:p>
                <a:endParaRPr lang="en-GB" dirty="0"/>
              </a:p>
            </p:txBody>
          </p:sp>
          <p:sp>
            <p:nvSpPr>
              <p:cNvPr id="592" name="Freihandform: Form 1031">
                <a:extLst>
                  <a:ext uri="{FF2B5EF4-FFF2-40B4-BE49-F238E27FC236}">
                    <a16:creationId xmlns:a16="http://schemas.microsoft.com/office/drawing/2014/main" id="{CA52E7BB-7DB3-4314-A43A-CBFB82830A40}"/>
                  </a:ext>
                </a:extLst>
              </p:cNvPr>
              <p:cNvSpPr/>
              <p:nvPr/>
            </p:nvSpPr>
            <p:spPr>
              <a:xfrm>
                <a:off x="6465322" y="4142640"/>
                <a:ext cx="73168" cy="117178"/>
              </a:xfrm>
              <a:custGeom>
                <a:avLst/>
                <a:gdLst>
                  <a:gd name="connsiteX0" fmla="*/ 6558 w 73168"/>
                  <a:gd name="connsiteY0" fmla="*/ 117178 h 117178"/>
                  <a:gd name="connsiteX1" fmla="*/ 5681 w 73168"/>
                  <a:gd name="connsiteY1" fmla="*/ 117127 h 117178"/>
                  <a:gd name="connsiteX2" fmla="*/ 61 w 73168"/>
                  <a:gd name="connsiteY2" fmla="*/ 109753 h 117178"/>
                  <a:gd name="connsiteX3" fmla="*/ 20274 w 73168"/>
                  <a:gd name="connsiteY3" fmla="*/ 70564 h 117178"/>
                  <a:gd name="connsiteX4" fmla="*/ 39017 w 73168"/>
                  <a:gd name="connsiteY4" fmla="*/ 48057 h 117178"/>
                  <a:gd name="connsiteX5" fmla="*/ 60313 w 73168"/>
                  <a:gd name="connsiteY5" fmla="*/ 4769 h 117178"/>
                  <a:gd name="connsiteX6" fmla="*/ 68409 w 73168"/>
                  <a:gd name="connsiteY6" fmla="*/ 257 h 117178"/>
                  <a:gd name="connsiteX7" fmla="*/ 72921 w 73168"/>
                  <a:gd name="connsiteY7" fmla="*/ 8353 h 117178"/>
                  <a:gd name="connsiteX8" fmla="*/ 49846 w 73168"/>
                  <a:gd name="connsiteY8" fmla="*/ 55430 h 117178"/>
                  <a:gd name="connsiteX9" fmla="*/ 29658 w 73168"/>
                  <a:gd name="connsiteY9" fmla="*/ 79665 h 117178"/>
                  <a:gd name="connsiteX10" fmla="*/ 13029 w 73168"/>
                  <a:gd name="connsiteY10" fmla="*/ 111506 h 117178"/>
                  <a:gd name="connsiteX11" fmla="*/ 6558 w 73168"/>
                  <a:gd name="connsiteY11" fmla="*/ 117178 h 11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168" h="117178">
                    <a:moveTo>
                      <a:pt x="6558" y="117178"/>
                    </a:moveTo>
                    <a:cubicBezTo>
                      <a:pt x="6274" y="117178"/>
                      <a:pt x="5965" y="117152"/>
                      <a:pt x="5681" y="117127"/>
                    </a:cubicBezTo>
                    <a:cubicBezTo>
                      <a:pt x="2098" y="116637"/>
                      <a:pt x="-429" y="113337"/>
                      <a:pt x="61" y="109753"/>
                    </a:cubicBezTo>
                    <a:cubicBezTo>
                      <a:pt x="2948" y="88457"/>
                      <a:pt x="10580" y="80568"/>
                      <a:pt x="20274" y="70564"/>
                    </a:cubicBezTo>
                    <a:cubicBezTo>
                      <a:pt x="25740" y="64918"/>
                      <a:pt x="31927" y="58524"/>
                      <a:pt x="39017" y="48057"/>
                    </a:cubicBezTo>
                    <a:cubicBezTo>
                      <a:pt x="49279" y="32948"/>
                      <a:pt x="56446" y="18382"/>
                      <a:pt x="60313" y="4769"/>
                    </a:cubicBezTo>
                    <a:cubicBezTo>
                      <a:pt x="61293" y="1288"/>
                      <a:pt x="64928" y="-749"/>
                      <a:pt x="68409" y="257"/>
                    </a:cubicBezTo>
                    <a:cubicBezTo>
                      <a:pt x="71889" y="1237"/>
                      <a:pt x="73900" y="4872"/>
                      <a:pt x="72921" y="8353"/>
                    </a:cubicBezTo>
                    <a:cubicBezTo>
                      <a:pt x="68667" y="23306"/>
                      <a:pt x="60906" y="39162"/>
                      <a:pt x="49846" y="55430"/>
                    </a:cubicBezTo>
                    <a:cubicBezTo>
                      <a:pt x="42085" y="66826"/>
                      <a:pt x="35202" y="73942"/>
                      <a:pt x="29658" y="79665"/>
                    </a:cubicBezTo>
                    <a:cubicBezTo>
                      <a:pt x="20429" y="89231"/>
                      <a:pt x="15324" y="94464"/>
                      <a:pt x="13029" y="111506"/>
                    </a:cubicBezTo>
                    <a:cubicBezTo>
                      <a:pt x="12591" y="114780"/>
                      <a:pt x="9781" y="117178"/>
                      <a:pt x="6558" y="117178"/>
                    </a:cubicBezTo>
                    <a:close/>
                  </a:path>
                </a:pathLst>
              </a:custGeom>
              <a:solidFill>
                <a:schemeClr val="accent1"/>
              </a:solidFill>
              <a:ln w="2573" cap="flat">
                <a:noFill/>
                <a:prstDash val="solid"/>
                <a:miter/>
              </a:ln>
            </p:spPr>
            <p:txBody>
              <a:bodyPr rtlCol="0" anchor="ctr"/>
              <a:lstStyle/>
              <a:p>
                <a:endParaRPr lang="en-GB" dirty="0"/>
              </a:p>
            </p:txBody>
          </p:sp>
        </p:grpSp>
        <p:grpSp>
          <p:nvGrpSpPr>
            <p:cNvPr id="586" name="Group 585">
              <a:extLst>
                <a:ext uri="{FF2B5EF4-FFF2-40B4-BE49-F238E27FC236}">
                  <a16:creationId xmlns:a16="http://schemas.microsoft.com/office/drawing/2014/main" id="{0C45B3CB-9985-49F7-A1C6-FABC734C5CA9}"/>
                </a:ext>
              </a:extLst>
            </p:cNvPr>
            <p:cNvGrpSpPr/>
            <p:nvPr/>
          </p:nvGrpSpPr>
          <p:grpSpPr>
            <a:xfrm>
              <a:off x="6152709" y="4163161"/>
              <a:ext cx="432580" cy="393226"/>
              <a:chOff x="6152709" y="4163161"/>
              <a:chExt cx="432580" cy="393226"/>
            </a:xfrm>
          </p:grpSpPr>
          <p:sp>
            <p:nvSpPr>
              <p:cNvPr id="587" name="Freihandform: Form 1025">
                <a:extLst>
                  <a:ext uri="{FF2B5EF4-FFF2-40B4-BE49-F238E27FC236}">
                    <a16:creationId xmlns:a16="http://schemas.microsoft.com/office/drawing/2014/main" id="{C199ABDB-0664-43D9-913A-5C7C7A93C7BB}"/>
                  </a:ext>
                </a:extLst>
              </p:cNvPr>
              <p:cNvSpPr/>
              <p:nvPr/>
            </p:nvSpPr>
            <p:spPr>
              <a:xfrm>
                <a:off x="6152709" y="4163161"/>
                <a:ext cx="432580" cy="393226"/>
              </a:xfrm>
              <a:custGeom>
                <a:avLst/>
                <a:gdLst>
                  <a:gd name="connsiteX0" fmla="*/ 360525 w 432580"/>
                  <a:gd name="connsiteY0" fmla="*/ 393227 h 393226"/>
                  <a:gd name="connsiteX1" fmla="*/ 262219 w 432580"/>
                  <a:gd name="connsiteY1" fmla="*/ 393227 h 393226"/>
                  <a:gd name="connsiteX2" fmla="*/ 255670 w 432580"/>
                  <a:gd name="connsiteY2" fmla="*/ 386678 h 393226"/>
                  <a:gd name="connsiteX3" fmla="*/ 262219 w 432580"/>
                  <a:gd name="connsiteY3" fmla="*/ 380129 h 393226"/>
                  <a:gd name="connsiteX4" fmla="*/ 353977 w 432580"/>
                  <a:gd name="connsiteY4" fmla="*/ 380129 h 393226"/>
                  <a:gd name="connsiteX5" fmla="*/ 353977 w 432580"/>
                  <a:gd name="connsiteY5" fmla="*/ 176968 h 393226"/>
                  <a:gd name="connsiteX6" fmla="*/ 360525 w 432580"/>
                  <a:gd name="connsiteY6" fmla="*/ 170419 h 393226"/>
                  <a:gd name="connsiteX7" fmla="*/ 407603 w 432580"/>
                  <a:gd name="connsiteY7" fmla="*/ 170419 h 393226"/>
                  <a:gd name="connsiteX8" fmla="*/ 216327 w 432580"/>
                  <a:gd name="connsiteY8" fmla="*/ 15005 h 393226"/>
                  <a:gd name="connsiteX9" fmla="*/ 25050 w 432580"/>
                  <a:gd name="connsiteY9" fmla="*/ 170419 h 393226"/>
                  <a:gd name="connsiteX10" fmla="*/ 72128 w 432580"/>
                  <a:gd name="connsiteY10" fmla="*/ 170419 h 393226"/>
                  <a:gd name="connsiteX11" fmla="*/ 78677 w 432580"/>
                  <a:gd name="connsiteY11" fmla="*/ 176968 h 393226"/>
                  <a:gd name="connsiteX12" fmla="*/ 78677 w 432580"/>
                  <a:gd name="connsiteY12" fmla="*/ 380129 h 393226"/>
                  <a:gd name="connsiteX13" fmla="*/ 209752 w 432580"/>
                  <a:gd name="connsiteY13" fmla="*/ 380129 h 393226"/>
                  <a:gd name="connsiteX14" fmla="*/ 209752 w 432580"/>
                  <a:gd name="connsiteY14" fmla="*/ 294920 h 393226"/>
                  <a:gd name="connsiteX15" fmla="*/ 216301 w 432580"/>
                  <a:gd name="connsiteY15" fmla="*/ 288371 h 393226"/>
                  <a:gd name="connsiteX16" fmla="*/ 222850 w 432580"/>
                  <a:gd name="connsiteY16" fmla="*/ 294920 h 393226"/>
                  <a:gd name="connsiteX17" fmla="*/ 222850 w 432580"/>
                  <a:gd name="connsiteY17" fmla="*/ 386678 h 393226"/>
                  <a:gd name="connsiteX18" fmla="*/ 216301 w 432580"/>
                  <a:gd name="connsiteY18" fmla="*/ 393227 h 393226"/>
                  <a:gd name="connsiteX19" fmla="*/ 72102 w 432580"/>
                  <a:gd name="connsiteY19" fmla="*/ 393227 h 393226"/>
                  <a:gd name="connsiteX20" fmla="*/ 65554 w 432580"/>
                  <a:gd name="connsiteY20" fmla="*/ 386678 h 393226"/>
                  <a:gd name="connsiteX21" fmla="*/ 65554 w 432580"/>
                  <a:gd name="connsiteY21" fmla="*/ 183516 h 393226"/>
                  <a:gd name="connsiteX22" fmla="*/ 6565 w 432580"/>
                  <a:gd name="connsiteY22" fmla="*/ 183516 h 393226"/>
                  <a:gd name="connsiteX23" fmla="*/ 377 w 432580"/>
                  <a:gd name="connsiteY23" fmla="*/ 179159 h 393226"/>
                  <a:gd name="connsiteX24" fmla="*/ 2414 w 432580"/>
                  <a:gd name="connsiteY24" fmla="*/ 171863 h 393226"/>
                  <a:gd name="connsiteX25" fmla="*/ 212150 w 432580"/>
                  <a:gd name="connsiteY25" fmla="*/ 1470 h 393226"/>
                  <a:gd name="connsiteX26" fmla="*/ 220426 w 432580"/>
                  <a:gd name="connsiteY26" fmla="*/ 1470 h 393226"/>
                  <a:gd name="connsiteX27" fmla="*/ 430163 w 432580"/>
                  <a:gd name="connsiteY27" fmla="*/ 171863 h 393226"/>
                  <a:gd name="connsiteX28" fmla="*/ 432199 w 432580"/>
                  <a:gd name="connsiteY28" fmla="*/ 179159 h 393226"/>
                  <a:gd name="connsiteX29" fmla="*/ 426012 w 432580"/>
                  <a:gd name="connsiteY29" fmla="*/ 183516 h 393226"/>
                  <a:gd name="connsiteX30" fmla="*/ 367022 w 432580"/>
                  <a:gd name="connsiteY30" fmla="*/ 183516 h 393226"/>
                  <a:gd name="connsiteX31" fmla="*/ 367022 w 432580"/>
                  <a:gd name="connsiteY31" fmla="*/ 386678 h 393226"/>
                  <a:gd name="connsiteX32" fmla="*/ 360525 w 432580"/>
                  <a:gd name="connsiteY32" fmla="*/ 393227 h 39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32580" h="393226">
                    <a:moveTo>
                      <a:pt x="360525" y="393227"/>
                    </a:moveTo>
                    <a:lnTo>
                      <a:pt x="262219" y="393227"/>
                    </a:lnTo>
                    <a:cubicBezTo>
                      <a:pt x="258609" y="393227"/>
                      <a:pt x="255670" y="390288"/>
                      <a:pt x="255670" y="386678"/>
                    </a:cubicBezTo>
                    <a:cubicBezTo>
                      <a:pt x="255670" y="383043"/>
                      <a:pt x="258609" y="380129"/>
                      <a:pt x="262219" y="380129"/>
                    </a:cubicBezTo>
                    <a:lnTo>
                      <a:pt x="353977" y="380129"/>
                    </a:lnTo>
                    <a:lnTo>
                      <a:pt x="353977" y="176968"/>
                    </a:lnTo>
                    <a:cubicBezTo>
                      <a:pt x="353977" y="173332"/>
                      <a:pt x="356916" y="170419"/>
                      <a:pt x="360525" y="170419"/>
                    </a:cubicBezTo>
                    <a:lnTo>
                      <a:pt x="407603" y="170419"/>
                    </a:lnTo>
                    <a:lnTo>
                      <a:pt x="216327" y="15005"/>
                    </a:lnTo>
                    <a:lnTo>
                      <a:pt x="25050" y="170419"/>
                    </a:lnTo>
                    <a:lnTo>
                      <a:pt x="72128" y="170419"/>
                    </a:lnTo>
                    <a:cubicBezTo>
                      <a:pt x="75738" y="170419"/>
                      <a:pt x="78677" y="173358"/>
                      <a:pt x="78677" y="176968"/>
                    </a:cubicBezTo>
                    <a:lnTo>
                      <a:pt x="78677" y="380129"/>
                    </a:lnTo>
                    <a:lnTo>
                      <a:pt x="209752" y="380129"/>
                    </a:lnTo>
                    <a:lnTo>
                      <a:pt x="209752" y="294920"/>
                    </a:lnTo>
                    <a:cubicBezTo>
                      <a:pt x="209752" y="291285"/>
                      <a:pt x="212692" y="288371"/>
                      <a:pt x="216301" y="288371"/>
                    </a:cubicBezTo>
                    <a:cubicBezTo>
                      <a:pt x="219911" y="288371"/>
                      <a:pt x="222850" y="291311"/>
                      <a:pt x="222850" y="294920"/>
                    </a:cubicBezTo>
                    <a:lnTo>
                      <a:pt x="222850" y="386678"/>
                    </a:lnTo>
                    <a:cubicBezTo>
                      <a:pt x="222850" y="390288"/>
                      <a:pt x="219911" y="393227"/>
                      <a:pt x="216301" y="393227"/>
                    </a:cubicBezTo>
                    <a:lnTo>
                      <a:pt x="72102" y="393227"/>
                    </a:lnTo>
                    <a:cubicBezTo>
                      <a:pt x="68493" y="393227"/>
                      <a:pt x="65554" y="390288"/>
                      <a:pt x="65554" y="386678"/>
                    </a:cubicBezTo>
                    <a:lnTo>
                      <a:pt x="65554" y="183516"/>
                    </a:lnTo>
                    <a:lnTo>
                      <a:pt x="6565" y="183516"/>
                    </a:lnTo>
                    <a:cubicBezTo>
                      <a:pt x="3780" y="183516"/>
                      <a:pt x="1305" y="181763"/>
                      <a:pt x="377" y="179159"/>
                    </a:cubicBezTo>
                    <a:cubicBezTo>
                      <a:pt x="-551" y="176529"/>
                      <a:pt x="274" y="173616"/>
                      <a:pt x="2414" y="171863"/>
                    </a:cubicBezTo>
                    <a:lnTo>
                      <a:pt x="212150" y="1470"/>
                    </a:lnTo>
                    <a:cubicBezTo>
                      <a:pt x="214548" y="-490"/>
                      <a:pt x="218003" y="-490"/>
                      <a:pt x="220426" y="1470"/>
                    </a:cubicBezTo>
                    <a:lnTo>
                      <a:pt x="430163" y="171863"/>
                    </a:lnTo>
                    <a:cubicBezTo>
                      <a:pt x="432328" y="173616"/>
                      <a:pt x="433127" y="176529"/>
                      <a:pt x="432199" y="179159"/>
                    </a:cubicBezTo>
                    <a:cubicBezTo>
                      <a:pt x="431271" y="181763"/>
                      <a:pt x="428796" y="183516"/>
                      <a:pt x="426012" y="183516"/>
                    </a:cubicBezTo>
                    <a:lnTo>
                      <a:pt x="367022" y="183516"/>
                    </a:lnTo>
                    <a:lnTo>
                      <a:pt x="367022" y="386678"/>
                    </a:lnTo>
                    <a:cubicBezTo>
                      <a:pt x="367100" y="390288"/>
                      <a:pt x="364161" y="393227"/>
                      <a:pt x="360525" y="393227"/>
                    </a:cubicBezTo>
                    <a:close/>
                  </a:path>
                </a:pathLst>
              </a:custGeom>
              <a:solidFill>
                <a:schemeClr val="tx2"/>
              </a:solidFill>
              <a:ln w="2573" cap="flat">
                <a:noFill/>
                <a:prstDash val="solid"/>
                <a:miter/>
              </a:ln>
            </p:spPr>
            <p:txBody>
              <a:bodyPr rtlCol="0" anchor="ctr"/>
              <a:lstStyle/>
              <a:p>
                <a:endParaRPr lang="en-GB" dirty="0"/>
              </a:p>
            </p:txBody>
          </p:sp>
          <p:sp>
            <p:nvSpPr>
              <p:cNvPr id="588" name="Freihandform: Form 1026">
                <a:extLst>
                  <a:ext uri="{FF2B5EF4-FFF2-40B4-BE49-F238E27FC236}">
                    <a16:creationId xmlns:a16="http://schemas.microsoft.com/office/drawing/2014/main" id="{FEFECB36-7472-4248-A60F-97FF384AA602}"/>
                  </a:ext>
                </a:extLst>
              </p:cNvPr>
              <p:cNvSpPr/>
              <p:nvPr/>
            </p:nvSpPr>
            <p:spPr>
              <a:xfrm>
                <a:off x="6316621" y="4379421"/>
                <a:ext cx="104855" cy="85209"/>
              </a:xfrm>
              <a:custGeom>
                <a:avLst/>
                <a:gdLst>
                  <a:gd name="connsiteX0" fmla="*/ 71416 w 104855"/>
                  <a:gd name="connsiteY0" fmla="*/ 85209 h 85209"/>
                  <a:gd name="connsiteX1" fmla="*/ 33465 w 104855"/>
                  <a:gd name="connsiteY1" fmla="*/ 85209 h 85209"/>
                  <a:gd name="connsiteX2" fmla="*/ 0 w 104855"/>
                  <a:gd name="connsiteY2" fmla="*/ 51744 h 85209"/>
                  <a:gd name="connsiteX3" fmla="*/ 0 w 104855"/>
                  <a:gd name="connsiteY3" fmla="*/ 6548 h 85209"/>
                  <a:gd name="connsiteX4" fmla="*/ 6549 w 104855"/>
                  <a:gd name="connsiteY4" fmla="*/ 0 h 85209"/>
                  <a:gd name="connsiteX5" fmla="*/ 98307 w 104855"/>
                  <a:gd name="connsiteY5" fmla="*/ 0 h 85209"/>
                  <a:gd name="connsiteX6" fmla="*/ 104855 w 104855"/>
                  <a:gd name="connsiteY6" fmla="*/ 6548 h 85209"/>
                  <a:gd name="connsiteX7" fmla="*/ 104855 w 104855"/>
                  <a:gd name="connsiteY7" fmla="*/ 51744 h 85209"/>
                  <a:gd name="connsiteX8" fmla="*/ 71416 w 104855"/>
                  <a:gd name="connsiteY8" fmla="*/ 85209 h 85209"/>
                  <a:gd name="connsiteX9" fmla="*/ 13123 w 104855"/>
                  <a:gd name="connsiteY9" fmla="*/ 13123 h 85209"/>
                  <a:gd name="connsiteX10" fmla="*/ 13123 w 104855"/>
                  <a:gd name="connsiteY10" fmla="*/ 51770 h 85209"/>
                  <a:gd name="connsiteX11" fmla="*/ 33465 w 104855"/>
                  <a:gd name="connsiteY11" fmla="*/ 72112 h 85209"/>
                  <a:gd name="connsiteX12" fmla="*/ 71416 w 104855"/>
                  <a:gd name="connsiteY12" fmla="*/ 72112 h 85209"/>
                  <a:gd name="connsiteX13" fmla="*/ 91758 w 104855"/>
                  <a:gd name="connsiteY13" fmla="*/ 51770 h 85209"/>
                  <a:gd name="connsiteX14" fmla="*/ 91758 w 104855"/>
                  <a:gd name="connsiteY14" fmla="*/ 13123 h 85209"/>
                  <a:gd name="connsiteX15" fmla="*/ 13123 w 104855"/>
                  <a:gd name="connsiteY15" fmla="*/ 13123 h 8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855" h="85209">
                    <a:moveTo>
                      <a:pt x="71416" y="85209"/>
                    </a:moveTo>
                    <a:lnTo>
                      <a:pt x="33465" y="85209"/>
                    </a:lnTo>
                    <a:cubicBezTo>
                      <a:pt x="15031" y="85209"/>
                      <a:pt x="0" y="70204"/>
                      <a:pt x="0" y="51744"/>
                    </a:cubicBezTo>
                    <a:lnTo>
                      <a:pt x="0" y="6548"/>
                    </a:lnTo>
                    <a:cubicBezTo>
                      <a:pt x="0" y="2913"/>
                      <a:pt x="2939" y="0"/>
                      <a:pt x="6549" y="0"/>
                    </a:cubicBezTo>
                    <a:lnTo>
                      <a:pt x="98307" y="0"/>
                    </a:lnTo>
                    <a:cubicBezTo>
                      <a:pt x="101916" y="0"/>
                      <a:pt x="104855" y="2939"/>
                      <a:pt x="104855" y="6548"/>
                    </a:cubicBezTo>
                    <a:lnTo>
                      <a:pt x="104855" y="51744"/>
                    </a:lnTo>
                    <a:cubicBezTo>
                      <a:pt x="104855" y="70204"/>
                      <a:pt x="89850" y="85209"/>
                      <a:pt x="71416" y="85209"/>
                    </a:cubicBezTo>
                    <a:close/>
                    <a:moveTo>
                      <a:pt x="13123" y="13123"/>
                    </a:moveTo>
                    <a:lnTo>
                      <a:pt x="13123" y="51770"/>
                    </a:lnTo>
                    <a:cubicBezTo>
                      <a:pt x="13123" y="62985"/>
                      <a:pt x="22250" y="72112"/>
                      <a:pt x="33465" y="72112"/>
                    </a:cubicBezTo>
                    <a:lnTo>
                      <a:pt x="71416" y="72112"/>
                    </a:lnTo>
                    <a:cubicBezTo>
                      <a:pt x="82631" y="72112"/>
                      <a:pt x="91758" y="62985"/>
                      <a:pt x="91758" y="51770"/>
                    </a:cubicBezTo>
                    <a:lnTo>
                      <a:pt x="91758" y="13123"/>
                    </a:lnTo>
                    <a:lnTo>
                      <a:pt x="13123" y="13123"/>
                    </a:lnTo>
                    <a:close/>
                  </a:path>
                </a:pathLst>
              </a:custGeom>
              <a:solidFill>
                <a:schemeClr val="tx2"/>
              </a:solidFill>
              <a:ln w="2573" cap="flat">
                <a:noFill/>
                <a:prstDash val="solid"/>
                <a:miter/>
              </a:ln>
            </p:spPr>
            <p:txBody>
              <a:bodyPr rtlCol="0" anchor="ctr"/>
              <a:lstStyle/>
              <a:p>
                <a:endParaRPr lang="en-GB" dirty="0"/>
              </a:p>
            </p:txBody>
          </p:sp>
          <p:sp>
            <p:nvSpPr>
              <p:cNvPr id="589" name="Freihandform: Form 1027">
                <a:extLst>
                  <a:ext uri="{FF2B5EF4-FFF2-40B4-BE49-F238E27FC236}">
                    <a16:creationId xmlns:a16="http://schemas.microsoft.com/office/drawing/2014/main" id="{43C1EDEF-9CD2-4ADB-80BE-BD8B44F193AA}"/>
                  </a:ext>
                </a:extLst>
              </p:cNvPr>
              <p:cNvSpPr/>
              <p:nvPr/>
            </p:nvSpPr>
            <p:spPr>
              <a:xfrm>
                <a:off x="6329744" y="4340129"/>
                <a:ext cx="13097" cy="52414"/>
              </a:xfrm>
              <a:custGeom>
                <a:avLst/>
                <a:gdLst>
                  <a:gd name="connsiteX0" fmla="*/ 6549 w 13097"/>
                  <a:gd name="connsiteY0" fmla="*/ 52415 h 52414"/>
                  <a:gd name="connsiteX1" fmla="*/ 0 w 13097"/>
                  <a:gd name="connsiteY1" fmla="*/ 45866 h 52414"/>
                  <a:gd name="connsiteX2" fmla="*/ 0 w 13097"/>
                  <a:gd name="connsiteY2" fmla="*/ 6548 h 52414"/>
                  <a:gd name="connsiteX3" fmla="*/ 6549 w 13097"/>
                  <a:gd name="connsiteY3" fmla="*/ 0 h 52414"/>
                  <a:gd name="connsiteX4" fmla="*/ 13097 w 13097"/>
                  <a:gd name="connsiteY4" fmla="*/ 6548 h 52414"/>
                  <a:gd name="connsiteX5" fmla="*/ 13097 w 13097"/>
                  <a:gd name="connsiteY5" fmla="*/ 45866 h 52414"/>
                  <a:gd name="connsiteX6" fmla="*/ 6549 w 13097"/>
                  <a:gd name="connsiteY6" fmla="*/ 52415 h 5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52414">
                    <a:moveTo>
                      <a:pt x="6549" y="52415"/>
                    </a:moveTo>
                    <a:cubicBezTo>
                      <a:pt x="2939" y="52415"/>
                      <a:pt x="0" y="49475"/>
                      <a:pt x="0" y="45866"/>
                    </a:cubicBezTo>
                    <a:lnTo>
                      <a:pt x="0" y="6548"/>
                    </a:lnTo>
                    <a:cubicBezTo>
                      <a:pt x="0" y="2913"/>
                      <a:pt x="2939" y="0"/>
                      <a:pt x="6549" y="0"/>
                    </a:cubicBezTo>
                    <a:cubicBezTo>
                      <a:pt x="10158" y="0"/>
                      <a:pt x="13097" y="2939"/>
                      <a:pt x="13097" y="6548"/>
                    </a:cubicBezTo>
                    <a:lnTo>
                      <a:pt x="13097" y="45866"/>
                    </a:lnTo>
                    <a:cubicBezTo>
                      <a:pt x="13097" y="49475"/>
                      <a:pt x="10158" y="52415"/>
                      <a:pt x="6549" y="52415"/>
                    </a:cubicBezTo>
                    <a:close/>
                  </a:path>
                </a:pathLst>
              </a:custGeom>
              <a:solidFill>
                <a:schemeClr val="tx2"/>
              </a:solidFill>
              <a:ln w="2573" cap="flat">
                <a:noFill/>
                <a:prstDash val="solid"/>
                <a:miter/>
              </a:ln>
            </p:spPr>
            <p:txBody>
              <a:bodyPr rtlCol="0" anchor="ctr"/>
              <a:lstStyle/>
              <a:p>
                <a:endParaRPr lang="en-GB" dirty="0"/>
              </a:p>
            </p:txBody>
          </p:sp>
          <p:sp>
            <p:nvSpPr>
              <p:cNvPr id="590" name="Freihandform: Form 1028">
                <a:extLst>
                  <a:ext uri="{FF2B5EF4-FFF2-40B4-BE49-F238E27FC236}">
                    <a16:creationId xmlns:a16="http://schemas.microsoft.com/office/drawing/2014/main" id="{84480C77-3DB3-435F-AF4A-D1418F7637D5}"/>
                  </a:ext>
                </a:extLst>
              </p:cNvPr>
              <p:cNvSpPr/>
              <p:nvPr/>
            </p:nvSpPr>
            <p:spPr>
              <a:xfrm>
                <a:off x="6395282" y="4340129"/>
                <a:ext cx="13097" cy="52414"/>
              </a:xfrm>
              <a:custGeom>
                <a:avLst/>
                <a:gdLst>
                  <a:gd name="connsiteX0" fmla="*/ 6549 w 13097"/>
                  <a:gd name="connsiteY0" fmla="*/ 52415 h 52414"/>
                  <a:gd name="connsiteX1" fmla="*/ 0 w 13097"/>
                  <a:gd name="connsiteY1" fmla="*/ 45866 h 52414"/>
                  <a:gd name="connsiteX2" fmla="*/ 0 w 13097"/>
                  <a:gd name="connsiteY2" fmla="*/ 6548 h 52414"/>
                  <a:gd name="connsiteX3" fmla="*/ 6549 w 13097"/>
                  <a:gd name="connsiteY3" fmla="*/ 0 h 52414"/>
                  <a:gd name="connsiteX4" fmla="*/ 13097 w 13097"/>
                  <a:gd name="connsiteY4" fmla="*/ 6548 h 52414"/>
                  <a:gd name="connsiteX5" fmla="*/ 13097 w 13097"/>
                  <a:gd name="connsiteY5" fmla="*/ 45866 h 52414"/>
                  <a:gd name="connsiteX6" fmla="*/ 6549 w 13097"/>
                  <a:gd name="connsiteY6" fmla="*/ 52415 h 52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52414">
                    <a:moveTo>
                      <a:pt x="6549" y="52415"/>
                    </a:moveTo>
                    <a:cubicBezTo>
                      <a:pt x="2939" y="52415"/>
                      <a:pt x="0" y="49475"/>
                      <a:pt x="0" y="45866"/>
                    </a:cubicBezTo>
                    <a:lnTo>
                      <a:pt x="0" y="6548"/>
                    </a:lnTo>
                    <a:cubicBezTo>
                      <a:pt x="0" y="2913"/>
                      <a:pt x="2939" y="0"/>
                      <a:pt x="6549" y="0"/>
                    </a:cubicBezTo>
                    <a:cubicBezTo>
                      <a:pt x="10158" y="0"/>
                      <a:pt x="13097" y="2939"/>
                      <a:pt x="13097" y="6548"/>
                    </a:cubicBezTo>
                    <a:lnTo>
                      <a:pt x="13097" y="45866"/>
                    </a:lnTo>
                    <a:cubicBezTo>
                      <a:pt x="13097" y="49475"/>
                      <a:pt x="10158" y="52415"/>
                      <a:pt x="6549" y="52415"/>
                    </a:cubicBezTo>
                    <a:close/>
                  </a:path>
                </a:pathLst>
              </a:custGeom>
              <a:solidFill>
                <a:schemeClr val="tx2"/>
              </a:solidFill>
              <a:ln w="2573" cap="flat">
                <a:noFill/>
                <a:prstDash val="solid"/>
                <a:miter/>
              </a:ln>
            </p:spPr>
            <p:txBody>
              <a:bodyPr rtlCol="0" anchor="ctr"/>
              <a:lstStyle/>
              <a:p>
                <a:endParaRPr lang="en-GB" dirty="0"/>
              </a:p>
            </p:txBody>
          </p:sp>
        </p:grpSp>
      </p:grpSp>
      <p:grpSp>
        <p:nvGrpSpPr>
          <p:cNvPr id="10" name="Group 9">
            <a:extLst>
              <a:ext uri="{FF2B5EF4-FFF2-40B4-BE49-F238E27FC236}">
                <a16:creationId xmlns:a16="http://schemas.microsoft.com/office/drawing/2014/main" id="{00C048BD-6947-0F07-5C6C-2AE7B41736BA}"/>
              </a:ext>
            </a:extLst>
          </p:cNvPr>
          <p:cNvGrpSpPr/>
          <p:nvPr/>
        </p:nvGrpSpPr>
        <p:grpSpPr>
          <a:xfrm>
            <a:off x="4937785" y="4002611"/>
            <a:ext cx="448943" cy="432000"/>
            <a:chOff x="4937373" y="4002611"/>
            <a:chExt cx="448943" cy="432000"/>
          </a:xfrm>
        </p:grpSpPr>
        <p:grpSp>
          <p:nvGrpSpPr>
            <p:cNvPr id="594" name="Group 593">
              <a:extLst>
                <a:ext uri="{FF2B5EF4-FFF2-40B4-BE49-F238E27FC236}">
                  <a16:creationId xmlns:a16="http://schemas.microsoft.com/office/drawing/2014/main" id="{A6C9770E-3088-4456-9EB5-3E03EEB37B36}"/>
                </a:ext>
              </a:extLst>
            </p:cNvPr>
            <p:cNvGrpSpPr/>
            <p:nvPr/>
          </p:nvGrpSpPr>
          <p:grpSpPr>
            <a:xfrm>
              <a:off x="4937373" y="4002611"/>
              <a:ext cx="448943" cy="432000"/>
              <a:chOff x="7784879" y="4089296"/>
              <a:chExt cx="485009" cy="466705"/>
            </a:xfrm>
            <a:solidFill>
              <a:schemeClr val="tx2"/>
            </a:solidFill>
          </p:grpSpPr>
          <p:grpSp>
            <p:nvGrpSpPr>
              <p:cNvPr id="601" name="Grafik 235">
                <a:extLst>
                  <a:ext uri="{FF2B5EF4-FFF2-40B4-BE49-F238E27FC236}">
                    <a16:creationId xmlns:a16="http://schemas.microsoft.com/office/drawing/2014/main" id="{0535255B-2DEF-4901-87B5-39EA014120C4}"/>
                  </a:ext>
                </a:extLst>
              </p:cNvPr>
              <p:cNvGrpSpPr/>
              <p:nvPr/>
            </p:nvGrpSpPr>
            <p:grpSpPr>
              <a:xfrm>
                <a:off x="7784879" y="4089296"/>
                <a:ext cx="248923" cy="466705"/>
                <a:chOff x="7784879" y="4089296"/>
                <a:chExt cx="248923" cy="466705"/>
              </a:xfrm>
              <a:grpFill/>
            </p:grpSpPr>
            <p:sp>
              <p:nvSpPr>
                <p:cNvPr id="608" name="Freihandform: Form 1079">
                  <a:extLst>
                    <a:ext uri="{FF2B5EF4-FFF2-40B4-BE49-F238E27FC236}">
                      <a16:creationId xmlns:a16="http://schemas.microsoft.com/office/drawing/2014/main" id="{3F8055BE-BF81-43BB-8316-286CACCAEAF4}"/>
                    </a:ext>
                  </a:extLst>
                </p:cNvPr>
                <p:cNvSpPr/>
                <p:nvPr/>
              </p:nvSpPr>
              <p:spPr>
                <a:xfrm>
                  <a:off x="7840568" y="4121807"/>
                  <a:ext cx="57597" cy="151830"/>
                </a:xfrm>
                <a:custGeom>
                  <a:avLst/>
                  <a:gdLst>
                    <a:gd name="connsiteX0" fmla="*/ 50997 w 57597"/>
                    <a:gd name="connsiteY0" fmla="*/ 151830 h 151830"/>
                    <a:gd name="connsiteX1" fmla="*/ 44448 w 57597"/>
                    <a:gd name="connsiteY1" fmla="*/ 145281 h 151830"/>
                    <a:gd name="connsiteX2" fmla="*/ 44448 w 57597"/>
                    <a:gd name="connsiteY2" fmla="*/ 27097 h 151830"/>
                    <a:gd name="connsiteX3" fmla="*/ 28773 w 57597"/>
                    <a:gd name="connsiteY3" fmla="*/ 13097 h 151830"/>
                    <a:gd name="connsiteX4" fmla="*/ 13097 w 57597"/>
                    <a:gd name="connsiteY4" fmla="*/ 27097 h 151830"/>
                    <a:gd name="connsiteX5" fmla="*/ 13097 w 57597"/>
                    <a:gd name="connsiteY5" fmla="*/ 145281 h 151830"/>
                    <a:gd name="connsiteX6" fmla="*/ 6549 w 57597"/>
                    <a:gd name="connsiteY6" fmla="*/ 151830 h 151830"/>
                    <a:gd name="connsiteX7" fmla="*/ 0 w 57597"/>
                    <a:gd name="connsiteY7" fmla="*/ 145281 h 151830"/>
                    <a:gd name="connsiteX8" fmla="*/ 0 w 57597"/>
                    <a:gd name="connsiteY8" fmla="*/ 27097 h 151830"/>
                    <a:gd name="connsiteX9" fmla="*/ 28799 w 57597"/>
                    <a:gd name="connsiteY9" fmla="*/ 0 h 151830"/>
                    <a:gd name="connsiteX10" fmla="*/ 57597 w 57597"/>
                    <a:gd name="connsiteY10" fmla="*/ 27097 h 151830"/>
                    <a:gd name="connsiteX11" fmla="*/ 57597 w 57597"/>
                    <a:gd name="connsiteY11" fmla="*/ 145281 h 151830"/>
                    <a:gd name="connsiteX12" fmla="*/ 50997 w 57597"/>
                    <a:gd name="connsiteY12" fmla="*/ 151830 h 15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97" h="151830">
                      <a:moveTo>
                        <a:pt x="50997" y="151830"/>
                      </a:moveTo>
                      <a:cubicBezTo>
                        <a:pt x="47361" y="151830"/>
                        <a:pt x="44448" y="148891"/>
                        <a:pt x="44448" y="145281"/>
                      </a:cubicBezTo>
                      <a:lnTo>
                        <a:pt x="44448" y="27097"/>
                      </a:lnTo>
                      <a:cubicBezTo>
                        <a:pt x="44448" y="19388"/>
                        <a:pt x="37410" y="13097"/>
                        <a:pt x="28773" y="13097"/>
                      </a:cubicBezTo>
                      <a:cubicBezTo>
                        <a:pt x="20136" y="13097"/>
                        <a:pt x="13097" y="19388"/>
                        <a:pt x="13097" y="27097"/>
                      </a:cubicBezTo>
                      <a:lnTo>
                        <a:pt x="13097" y="145281"/>
                      </a:lnTo>
                      <a:cubicBezTo>
                        <a:pt x="13097" y="148917"/>
                        <a:pt x="10158" y="151830"/>
                        <a:pt x="6549" y="151830"/>
                      </a:cubicBezTo>
                      <a:cubicBezTo>
                        <a:pt x="2913" y="151830"/>
                        <a:pt x="0" y="148891"/>
                        <a:pt x="0" y="145281"/>
                      </a:cubicBezTo>
                      <a:lnTo>
                        <a:pt x="0" y="27097"/>
                      </a:lnTo>
                      <a:cubicBezTo>
                        <a:pt x="0" y="12143"/>
                        <a:pt x="12917" y="0"/>
                        <a:pt x="28799" y="0"/>
                      </a:cubicBezTo>
                      <a:cubicBezTo>
                        <a:pt x="44680" y="0"/>
                        <a:pt x="57597" y="12143"/>
                        <a:pt x="57597" y="27097"/>
                      </a:cubicBezTo>
                      <a:lnTo>
                        <a:pt x="57597" y="145281"/>
                      </a:lnTo>
                      <a:cubicBezTo>
                        <a:pt x="57546" y="148891"/>
                        <a:pt x="54606" y="151830"/>
                        <a:pt x="50997" y="151830"/>
                      </a:cubicBezTo>
                      <a:close/>
                    </a:path>
                  </a:pathLst>
                </a:custGeom>
                <a:grpFill/>
                <a:ln w="2573" cap="flat">
                  <a:noFill/>
                  <a:prstDash val="solid"/>
                  <a:miter/>
                </a:ln>
              </p:spPr>
              <p:txBody>
                <a:bodyPr rtlCol="0" anchor="ctr"/>
                <a:lstStyle/>
                <a:p>
                  <a:endParaRPr lang="en-GB" dirty="0"/>
                </a:p>
              </p:txBody>
            </p:sp>
            <p:sp>
              <p:nvSpPr>
                <p:cNvPr id="609" name="Freihandform: Form 1080">
                  <a:extLst>
                    <a:ext uri="{FF2B5EF4-FFF2-40B4-BE49-F238E27FC236}">
                      <a16:creationId xmlns:a16="http://schemas.microsoft.com/office/drawing/2014/main" id="{12A71D73-922F-47EA-841D-826D36CEB6F8}"/>
                    </a:ext>
                  </a:extLst>
                </p:cNvPr>
                <p:cNvSpPr/>
                <p:nvPr/>
              </p:nvSpPr>
              <p:spPr>
                <a:xfrm>
                  <a:off x="7885351" y="4089296"/>
                  <a:ext cx="57571" cy="184341"/>
                </a:xfrm>
                <a:custGeom>
                  <a:avLst/>
                  <a:gdLst>
                    <a:gd name="connsiteX0" fmla="*/ 6549 w 57571"/>
                    <a:gd name="connsiteY0" fmla="*/ 184341 h 184341"/>
                    <a:gd name="connsiteX1" fmla="*/ 0 w 57571"/>
                    <a:gd name="connsiteY1" fmla="*/ 177792 h 184341"/>
                    <a:gd name="connsiteX2" fmla="*/ 0 w 57571"/>
                    <a:gd name="connsiteY2" fmla="*/ 27097 h 184341"/>
                    <a:gd name="connsiteX3" fmla="*/ 28773 w 57571"/>
                    <a:gd name="connsiteY3" fmla="*/ 0 h 184341"/>
                    <a:gd name="connsiteX4" fmla="*/ 57571 w 57571"/>
                    <a:gd name="connsiteY4" fmla="*/ 27097 h 184341"/>
                    <a:gd name="connsiteX5" fmla="*/ 57571 w 57571"/>
                    <a:gd name="connsiteY5" fmla="*/ 58112 h 184341"/>
                    <a:gd name="connsiteX6" fmla="*/ 51023 w 57571"/>
                    <a:gd name="connsiteY6" fmla="*/ 64661 h 184341"/>
                    <a:gd name="connsiteX7" fmla="*/ 44474 w 57571"/>
                    <a:gd name="connsiteY7" fmla="*/ 58112 h 184341"/>
                    <a:gd name="connsiteX8" fmla="*/ 44474 w 57571"/>
                    <a:gd name="connsiteY8" fmla="*/ 27097 h 184341"/>
                    <a:gd name="connsiteX9" fmla="*/ 28799 w 57571"/>
                    <a:gd name="connsiteY9" fmla="*/ 13097 h 184341"/>
                    <a:gd name="connsiteX10" fmla="*/ 13123 w 57571"/>
                    <a:gd name="connsiteY10" fmla="*/ 27097 h 184341"/>
                    <a:gd name="connsiteX11" fmla="*/ 13123 w 57571"/>
                    <a:gd name="connsiteY11" fmla="*/ 177792 h 184341"/>
                    <a:gd name="connsiteX12" fmla="*/ 6549 w 57571"/>
                    <a:gd name="connsiteY12" fmla="*/ 184341 h 18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71" h="184341">
                      <a:moveTo>
                        <a:pt x="6549" y="184341"/>
                      </a:moveTo>
                      <a:cubicBezTo>
                        <a:pt x="2913" y="184341"/>
                        <a:pt x="0" y="181402"/>
                        <a:pt x="0" y="177792"/>
                      </a:cubicBezTo>
                      <a:lnTo>
                        <a:pt x="0" y="27097"/>
                      </a:lnTo>
                      <a:cubicBezTo>
                        <a:pt x="0" y="12143"/>
                        <a:pt x="12917" y="0"/>
                        <a:pt x="28773" y="0"/>
                      </a:cubicBezTo>
                      <a:cubicBezTo>
                        <a:pt x="44655" y="0"/>
                        <a:pt x="57571" y="12143"/>
                        <a:pt x="57571" y="27097"/>
                      </a:cubicBezTo>
                      <a:lnTo>
                        <a:pt x="57571" y="58112"/>
                      </a:lnTo>
                      <a:cubicBezTo>
                        <a:pt x="57571" y="61748"/>
                        <a:pt x="54632" y="64661"/>
                        <a:pt x="51023" y="64661"/>
                      </a:cubicBezTo>
                      <a:cubicBezTo>
                        <a:pt x="47413" y="64661"/>
                        <a:pt x="44474" y="61722"/>
                        <a:pt x="44474" y="58112"/>
                      </a:cubicBezTo>
                      <a:lnTo>
                        <a:pt x="44474" y="27097"/>
                      </a:lnTo>
                      <a:cubicBezTo>
                        <a:pt x="44474" y="19388"/>
                        <a:pt x="37435" y="13097"/>
                        <a:pt x="28799" y="13097"/>
                      </a:cubicBezTo>
                      <a:cubicBezTo>
                        <a:pt x="20162" y="13097"/>
                        <a:pt x="13123" y="19388"/>
                        <a:pt x="13123" y="27097"/>
                      </a:cubicBezTo>
                      <a:lnTo>
                        <a:pt x="13123" y="177792"/>
                      </a:lnTo>
                      <a:cubicBezTo>
                        <a:pt x="13097" y="181402"/>
                        <a:pt x="10158" y="184341"/>
                        <a:pt x="6549" y="184341"/>
                      </a:cubicBezTo>
                      <a:close/>
                    </a:path>
                  </a:pathLst>
                </a:custGeom>
                <a:grpFill/>
                <a:ln w="2573" cap="flat">
                  <a:noFill/>
                  <a:prstDash val="solid"/>
                  <a:miter/>
                </a:ln>
              </p:spPr>
              <p:txBody>
                <a:bodyPr rtlCol="0" anchor="ctr"/>
                <a:lstStyle/>
                <a:p>
                  <a:endParaRPr lang="en-GB" dirty="0"/>
                </a:p>
              </p:txBody>
            </p:sp>
            <p:sp>
              <p:nvSpPr>
                <p:cNvPr id="610" name="Freihandform: Form 1081">
                  <a:extLst>
                    <a:ext uri="{FF2B5EF4-FFF2-40B4-BE49-F238E27FC236}">
                      <a16:creationId xmlns:a16="http://schemas.microsoft.com/office/drawing/2014/main" id="{B52EA81A-2DF2-44E5-95DD-2CF641E6A376}"/>
                    </a:ext>
                  </a:extLst>
                </p:cNvPr>
                <p:cNvSpPr/>
                <p:nvPr/>
              </p:nvSpPr>
              <p:spPr>
                <a:xfrm>
                  <a:off x="7978974" y="4412879"/>
                  <a:ext cx="54828" cy="67761"/>
                </a:xfrm>
                <a:custGeom>
                  <a:avLst/>
                  <a:gdLst>
                    <a:gd name="connsiteX0" fmla="*/ 6540 w 54828"/>
                    <a:gd name="connsiteY0" fmla="*/ 67762 h 67761"/>
                    <a:gd name="connsiteX1" fmla="*/ 43 w 54828"/>
                    <a:gd name="connsiteY1" fmla="*/ 61961 h 67761"/>
                    <a:gd name="connsiteX2" fmla="*/ 5793 w 54828"/>
                    <a:gd name="connsiteY2" fmla="*/ 54690 h 67761"/>
                    <a:gd name="connsiteX3" fmla="*/ 23324 w 54828"/>
                    <a:gd name="connsiteY3" fmla="*/ 48966 h 67761"/>
                    <a:gd name="connsiteX4" fmla="*/ 41733 w 54828"/>
                    <a:gd name="connsiteY4" fmla="*/ 5988 h 67761"/>
                    <a:gd name="connsiteX5" fmla="*/ 48848 w 54828"/>
                    <a:gd name="connsiteY5" fmla="*/ 32 h 67761"/>
                    <a:gd name="connsiteX6" fmla="*/ 54804 w 54828"/>
                    <a:gd name="connsiteY6" fmla="*/ 7148 h 67761"/>
                    <a:gd name="connsiteX7" fmla="*/ 32580 w 54828"/>
                    <a:gd name="connsiteY7" fmla="*/ 58274 h 67761"/>
                    <a:gd name="connsiteX8" fmla="*/ 7314 w 54828"/>
                    <a:gd name="connsiteY8" fmla="*/ 67710 h 67761"/>
                    <a:gd name="connsiteX9" fmla="*/ 6540 w 54828"/>
                    <a:gd name="connsiteY9" fmla="*/ 67762 h 67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828" h="67761">
                      <a:moveTo>
                        <a:pt x="6540" y="67762"/>
                      </a:moveTo>
                      <a:cubicBezTo>
                        <a:pt x="3266" y="67762"/>
                        <a:pt x="430" y="65286"/>
                        <a:pt x="43" y="61961"/>
                      </a:cubicBezTo>
                      <a:cubicBezTo>
                        <a:pt x="-369" y="58377"/>
                        <a:pt x="2209" y="55128"/>
                        <a:pt x="5793" y="54690"/>
                      </a:cubicBezTo>
                      <a:cubicBezTo>
                        <a:pt x="11155" y="54071"/>
                        <a:pt x="20462" y="51802"/>
                        <a:pt x="23324" y="48966"/>
                      </a:cubicBezTo>
                      <a:cubicBezTo>
                        <a:pt x="33483" y="38886"/>
                        <a:pt x="40186" y="23236"/>
                        <a:pt x="41733" y="5988"/>
                      </a:cubicBezTo>
                      <a:cubicBezTo>
                        <a:pt x="42068" y="2378"/>
                        <a:pt x="45188" y="-329"/>
                        <a:pt x="48848" y="32"/>
                      </a:cubicBezTo>
                      <a:cubicBezTo>
                        <a:pt x="52458" y="342"/>
                        <a:pt x="55114" y="3539"/>
                        <a:pt x="54804" y="7148"/>
                      </a:cubicBezTo>
                      <a:cubicBezTo>
                        <a:pt x="52974" y="27722"/>
                        <a:pt x="45059" y="45872"/>
                        <a:pt x="32580" y="58274"/>
                      </a:cubicBezTo>
                      <a:cubicBezTo>
                        <a:pt x="25464" y="65312"/>
                        <a:pt x="10279" y="67375"/>
                        <a:pt x="7314" y="67710"/>
                      </a:cubicBezTo>
                      <a:cubicBezTo>
                        <a:pt x="7030" y="67762"/>
                        <a:pt x="6798" y="67762"/>
                        <a:pt x="6540" y="67762"/>
                      </a:cubicBezTo>
                      <a:close/>
                    </a:path>
                  </a:pathLst>
                </a:custGeom>
                <a:grpFill/>
                <a:ln w="2573" cap="flat">
                  <a:noFill/>
                  <a:prstDash val="solid"/>
                  <a:miter/>
                </a:ln>
              </p:spPr>
              <p:txBody>
                <a:bodyPr rtlCol="0" anchor="ctr"/>
                <a:lstStyle/>
                <a:p>
                  <a:endParaRPr lang="en-GB" dirty="0"/>
                </a:p>
              </p:txBody>
            </p:sp>
            <p:sp>
              <p:nvSpPr>
                <p:cNvPr id="611" name="Freihandform: Form 1082">
                  <a:extLst>
                    <a:ext uri="{FF2B5EF4-FFF2-40B4-BE49-F238E27FC236}">
                      <a16:creationId xmlns:a16="http://schemas.microsoft.com/office/drawing/2014/main" id="{BBE362D9-55ED-4121-A877-75DC61EBD34B}"/>
                    </a:ext>
                  </a:extLst>
                </p:cNvPr>
                <p:cNvSpPr/>
                <p:nvPr/>
              </p:nvSpPr>
              <p:spPr>
                <a:xfrm>
                  <a:off x="8000029" y="4461614"/>
                  <a:ext cx="13097" cy="94387"/>
                </a:xfrm>
                <a:custGeom>
                  <a:avLst/>
                  <a:gdLst>
                    <a:gd name="connsiteX0" fmla="*/ 6549 w 13097"/>
                    <a:gd name="connsiteY0" fmla="*/ 94388 h 94387"/>
                    <a:gd name="connsiteX1" fmla="*/ 0 w 13097"/>
                    <a:gd name="connsiteY1" fmla="*/ 87839 h 94387"/>
                    <a:gd name="connsiteX2" fmla="*/ 0 w 13097"/>
                    <a:gd name="connsiteY2" fmla="*/ 6548 h 94387"/>
                    <a:gd name="connsiteX3" fmla="*/ 6549 w 13097"/>
                    <a:gd name="connsiteY3" fmla="*/ 0 h 94387"/>
                    <a:gd name="connsiteX4" fmla="*/ 13097 w 13097"/>
                    <a:gd name="connsiteY4" fmla="*/ 6548 h 94387"/>
                    <a:gd name="connsiteX5" fmla="*/ 13097 w 13097"/>
                    <a:gd name="connsiteY5" fmla="*/ 87839 h 94387"/>
                    <a:gd name="connsiteX6" fmla="*/ 6549 w 13097"/>
                    <a:gd name="connsiteY6" fmla="*/ 94388 h 9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94387">
                      <a:moveTo>
                        <a:pt x="6549" y="94388"/>
                      </a:moveTo>
                      <a:cubicBezTo>
                        <a:pt x="2939" y="94388"/>
                        <a:pt x="0" y="91449"/>
                        <a:pt x="0" y="87839"/>
                      </a:cubicBezTo>
                      <a:lnTo>
                        <a:pt x="0" y="6548"/>
                      </a:lnTo>
                      <a:cubicBezTo>
                        <a:pt x="0" y="2913"/>
                        <a:pt x="2939" y="0"/>
                        <a:pt x="6549" y="0"/>
                      </a:cubicBezTo>
                      <a:cubicBezTo>
                        <a:pt x="10184" y="0"/>
                        <a:pt x="13097" y="2939"/>
                        <a:pt x="13097" y="6548"/>
                      </a:cubicBezTo>
                      <a:lnTo>
                        <a:pt x="13097" y="87839"/>
                      </a:lnTo>
                      <a:cubicBezTo>
                        <a:pt x="13097" y="91449"/>
                        <a:pt x="10158" y="94388"/>
                        <a:pt x="6549" y="94388"/>
                      </a:cubicBezTo>
                      <a:close/>
                    </a:path>
                  </a:pathLst>
                </a:custGeom>
                <a:grpFill/>
                <a:ln w="2573" cap="flat">
                  <a:noFill/>
                  <a:prstDash val="solid"/>
                  <a:miter/>
                </a:ln>
              </p:spPr>
              <p:txBody>
                <a:bodyPr rtlCol="0" anchor="ctr"/>
                <a:lstStyle/>
                <a:p>
                  <a:endParaRPr lang="en-GB" dirty="0"/>
                </a:p>
              </p:txBody>
            </p:sp>
            <p:sp>
              <p:nvSpPr>
                <p:cNvPr id="612" name="Freihandform: Form 1083">
                  <a:extLst>
                    <a:ext uri="{FF2B5EF4-FFF2-40B4-BE49-F238E27FC236}">
                      <a16:creationId xmlns:a16="http://schemas.microsoft.com/office/drawing/2014/main" id="{8CF656F0-68DA-4F93-AB7D-C186D23CD814}"/>
                    </a:ext>
                  </a:extLst>
                </p:cNvPr>
                <p:cNvSpPr/>
                <p:nvPr/>
              </p:nvSpPr>
              <p:spPr>
                <a:xfrm>
                  <a:off x="7784879" y="4220423"/>
                  <a:ext cx="134504" cy="335578"/>
                </a:xfrm>
                <a:custGeom>
                  <a:avLst/>
                  <a:gdLst>
                    <a:gd name="connsiteX0" fmla="*/ 68400 w 134504"/>
                    <a:gd name="connsiteY0" fmla="*/ 335578 h 335578"/>
                    <a:gd name="connsiteX1" fmla="*/ 61851 w 134504"/>
                    <a:gd name="connsiteY1" fmla="*/ 329029 h 335578"/>
                    <a:gd name="connsiteX2" fmla="*/ 61851 w 134504"/>
                    <a:gd name="connsiteY2" fmla="*/ 245754 h 335578"/>
                    <a:gd name="connsiteX3" fmla="*/ 0 w 134504"/>
                    <a:gd name="connsiteY3" fmla="*/ 178411 h 335578"/>
                    <a:gd name="connsiteX4" fmla="*/ 0 w 134504"/>
                    <a:gd name="connsiteY4" fmla="*/ 37693 h 335578"/>
                    <a:gd name="connsiteX5" fmla="*/ 34419 w 134504"/>
                    <a:gd name="connsiteY5" fmla="*/ 0 h 335578"/>
                    <a:gd name="connsiteX6" fmla="*/ 68838 w 134504"/>
                    <a:gd name="connsiteY6" fmla="*/ 37693 h 335578"/>
                    <a:gd name="connsiteX7" fmla="*/ 68838 w 134504"/>
                    <a:gd name="connsiteY7" fmla="*/ 99647 h 335578"/>
                    <a:gd name="connsiteX8" fmla="*/ 134505 w 134504"/>
                    <a:gd name="connsiteY8" fmla="*/ 167196 h 335578"/>
                    <a:gd name="connsiteX9" fmla="*/ 127956 w 134504"/>
                    <a:gd name="connsiteY9" fmla="*/ 173745 h 335578"/>
                    <a:gd name="connsiteX10" fmla="*/ 121407 w 134504"/>
                    <a:gd name="connsiteY10" fmla="*/ 167196 h 335578"/>
                    <a:gd name="connsiteX11" fmla="*/ 67265 w 134504"/>
                    <a:gd name="connsiteY11" fmla="*/ 112744 h 335578"/>
                    <a:gd name="connsiteX12" fmla="*/ 62831 w 134504"/>
                    <a:gd name="connsiteY12" fmla="*/ 112976 h 335578"/>
                    <a:gd name="connsiteX13" fmla="*/ 57855 w 134504"/>
                    <a:gd name="connsiteY13" fmla="*/ 111249 h 335578"/>
                    <a:gd name="connsiteX14" fmla="*/ 55741 w 134504"/>
                    <a:gd name="connsiteY14" fmla="*/ 106428 h 335578"/>
                    <a:gd name="connsiteX15" fmla="*/ 55741 w 134504"/>
                    <a:gd name="connsiteY15" fmla="*/ 37693 h 335578"/>
                    <a:gd name="connsiteX16" fmla="*/ 34419 w 134504"/>
                    <a:gd name="connsiteY16" fmla="*/ 13123 h 335578"/>
                    <a:gd name="connsiteX17" fmla="*/ 13097 w 134504"/>
                    <a:gd name="connsiteY17" fmla="*/ 37693 h 335578"/>
                    <a:gd name="connsiteX18" fmla="*/ 13097 w 134504"/>
                    <a:gd name="connsiteY18" fmla="*/ 178411 h 335578"/>
                    <a:gd name="connsiteX19" fmla="*/ 67239 w 134504"/>
                    <a:gd name="connsiteY19" fmla="*/ 232863 h 335578"/>
                    <a:gd name="connsiteX20" fmla="*/ 73608 w 134504"/>
                    <a:gd name="connsiteY20" fmla="*/ 237839 h 335578"/>
                    <a:gd name="connsiteX21" fmla="*/ 74768 w 134504"/>
                    <a:gd name="connsiteY21" fmla="*/ 242454 h 335578"/>
                    <a:gd name="connsiteX22" fmla="*/ 74948 w 134504"/>
                    <a:gd name="connsiteY22" fmla="*/ 244052 h 335578"/>
                    <a:gd name="connsiteX23" fmla="*/ 74948 w 134504"/>
                    <a:gd name="connsiteY23" fmla="*/ 329055 h 335578"/>
                    <a:gd name="connsiteX24" fmla="*/ 68400 w 134504"/>
                    <a:gd name="connsiteY24" fmla="*/ 335578 h 335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504" h="335578">
                      <a:moveTo>
                        <a:pt x="68400" y="335578"/>
                      </a:moveTo>
                      <a:cubicBezTo>
                        <a:pt x="64764" y="335578"/>
                        <a:pt x="61851" y="332639"/>
                        <a:pt x="61851" y="329029"/>
                      </a:cubicBezTo>
                      <a:lnTo>
                        <a:pt x="61851" y="245754"/>
                      </a:lnTo>
                      <a:cubicBezTo>
                        <a:pt x="27277" y="242995"/>
                        <a:pt x="0" y="213835"/>
                        <a:pt x="0" y="178411"/>
                      </a:cubicBezTo>
                      <a:lnTo>
                        <a:pt x="0" y="37693"/>
                      </a:lnTo>
                      <a:cubicBezTo>
                        <a:pt x="0" y="16913"/>
                        <a:pt x="15443" y="0"/>
                        <a:pt x="34419" y="0"/>
                      </a:cubicBezTo>
                      <a:cubicBezTo>
                        <a:pt x="53394" y="0"/>
                        <a:pt x="68838" y="16913"/>
                        <a:pt x="68838" y="37693"/>
                      </a:cubicBezTo>
                      <a:lnTo>
                        <a:pt x="68838" y="99647"/>
                      </a:lnTo>
                      <a:cubicBezTo>
                        <a:pt x="105191" y="100498"/>
                        <a:pt x="134505" y="130482"/>
                        <a:pt x="134505" y="167196"/>
                      </a:cubicBezTo>
                      <a:cubicBezTo>
                        <a:pt x="134505" y="170831"/>
                        <a:pt x="131565" y="173745"/>
                        <a:pt x="127956" y="173745"/>
                      </a:cubicBezTo>
                      <a:cubicBezTo>
                        <a:pt x="124321" y="173745"/>
                        <a:pt x="121407" y="170806"/>
                        <a:pt x="121407" y="167196"/>
                      </a:cubicBezTo>
                      <a:cubicBezTo>
                        <a:pt x="121407" y="137160"/>
                        <a:pt x="97121" y="112744"/>
                        <a:pt x="67265" y="112744"/>
                      </a:cubicBezTo>
                      <a:cubicBezTo>
                        <a:pt x="65770" y="112744"/>
                        <a:pt x="64300" y="112848"/>
                        <a:pt x="62831" y="112976"/>
                      </a:cubicBezTo>
                      <a:cubicBezTo>
                        <a:pt x="61078" y="113105"/>
                        <a:pt x="59195" y="112513"/>
                        <a:pt x="57855" y="111249"/>
                      </a:cubicBezTo>
                      <a:cubicBezTo>
                        <a:pt x="56514" y="110012"/>
                        <a:pt x="55741" y="108258"/>
                        <a:pt x="55741" y="106428"/>
                      </a:cubicBezTo>
                      <a:lnTo>
                        <a:pt x="55741" y="37693"/>
                      </a:lnTo>
                      <a:cubicBezTo>
                        <a:pt x="55741" y="24132"/>
                        <a:pt x="46176" y="13123"/>
                        <a:pt x="34419" y="13123"/>
                      </a:cubicBezTo>
                      <a:cubicBezTo>
                        <a:pt x="22662" y="13123"/>
                        <a:pt x="13097" y="24158"/>
                        <a:pt x="13097" y="37693"/>
                      </a:cubicBezTo>
                      <a:lnTo>
                        <a:pt x="13097" y="178411"/>
                      </a:lnTo>
                      <a:cubicBezTo>
                        <a:pt x="13097" y="208447"/>
                        <a:pt x="37384" y="232863"/>
                        <a:pt x="67239" y="232863"/>
                      </a:cubicBezTo>
                      <a:cubicBezTo>
                        <a:pt x="70256" y="232863"/>
                        <a:pt x="72860" y="234899"/>
                        <a:pt x="73608" y="237839"/>
                      </a:cubicBezTo>
                      <a:lnTo>
                        <a:pt x="74768" y="242454"/>
                      </a:lnTo>
                      <a:cubicBezTo>
                        <a:pt x="74897" y="242969"/>
                        <a:pt x="74948" y="243511"/>
                        <a:pt x="74948" y="244052"/>
                      </a:cubicBezTo>
                      <a:lnTo>
                        <a:pt x="74948" y="329055"/>
                      </a:lnTo>
                      <a:cubicBezTo>
                        <a:pt x="74948" y="332639"/>
                        <a:pt x="72035" y="335578"/>
                        <a:pt x="68400" y="335578"/>
                      </a:cubicBezTo>
                      <a:close/>
                    </a:path>
                  </a:pathLst>
                </a:custGeom>
                <a:grpFill/>
                <a:ln w="2573" cap="flat">
                  <a:noFill/>
                  <a:prstDash val="solid"/>
                  <a:miter/>
                </a:ln>
              </p:spPr>
              <p:txBody>
                <a:bodyPr rtlCol="0" anchor="ctr"/>
                <a:lstStyle/>
                <a:p>
                  <a:endParaRPr lang="en-GB" dirty="0"/>
                </a:p>
              </p:txBody>
            </p:sp>
          </p:grpSp>
          <p:grpSp>
            <p:nvGrpSpPr>
              <p:cNvPr id="602" name="Group 601">
                <a:extLst>
                  <a:ext uri="{FF2B5EF4-FFF2-40B4-BE49-F238E27FC236}">
                    <a16:creationId xmlns:a16="http://schemas.microsoft.com/office/drawing/2014/main" id="{6F382DF9-A36E-45A5-9242-D56163032934}"/>
                  </a:ext>
                </a:extLst>
              </p:cNvPr>
              <p:cNvGrpSpPr/>
              <p:nvPr/>
            </p:nvGrpSpPr>
            <p:grpSpPr>
              <a:xfrm>
                <a:off x="8020471" y="4089296"/>
                <a:ext cx="249417" cy="466705"/>
                <a:chOff x="8020471" y="4089296"/>
                <a:chExt cx="249417" cy="466705"/>
              </a:xfrm>
              <a:grpFill/>
            </p:grpSpPr>
            <p:sp>
              <p:nvSpPr>
                <p:cNvPr id="603" name="Freihandform: Form 1084">
                  <a:extLst>
                    <a:ext uri="{FF2B5EF4-FFF2-40B4-BE49-F238E27FC236}">
                      <a16:creationId xmlns:a16="http://schemas.microsoft.com/office/drawing/2014/main" id="{DB07B75E-DD68-4150-BB6B-1569507671D9}"/>
                    </a:ext>
                  </a:extLst>
                </p:cNvPr>
                <p:cNvSpPr/>
                <p:nvPr/>
              </p:nvSpPr>
              <p:spPr>
                <a:xfrm>
                  <a:off x="8156654" y="4121807"/>
                  <a:ext cx="57597" cy="151830"/>
                </a:xfrm>
                <a:custGeom>
                  <a:avLst/>
                  <a:gdLst>
                    <a:gd name="connsiteX0" fmla="*/ 50997 w 57597"/>
                    <a:gd name="connsiteY0" fmla="*/ 151830 h 151830"/>
                    <a:gd name="connsiteX1" fmla="*/ 44448 w 57597"/>
                    <a:gd name="connsiteY1" fmla="*/ 145281 h 151830"/>
                    <a:gd name="connsiteX2" fmla="*/ 44448 w 57597"/>
                    <a:gd name="connsiteY2" fmla="*/ 27097 h 151830"/>
                    <a:gd name="connsiteX3" fmla="*/ 28773 w 57597"/>
                    <a:gd name="connsiteY3" fmla="*/ 13097 h 151830"/>
                    <a:gd name="connsiteX4" fmla="*/ 13097 w 57597"/>
                    <a:gd name="connsiteY4" fmla="*/ 27097 h 151830"/>
                    <a:gd name="connsiteX5" fmla="*/ 13097 w 57597"/>
                    <a:gd name="connsiteY5" fmla="*/ 145281 h 151830"/>
                    <a:gd name="connsiteX6" fmla="*/ 6549 w 57597"/>
                    <a:gd name="connsiteY6" fmla="*/ 151830 h 151830"/>
                    <a:gd name="connsiteX7" fmla="*/ 0 w 57597"/>
                    <a:gd name="connsiteY7" fmla="*/ 145281 h 151830"/>
                    <a:gd name="connsiteX8" fmla="*/ 0 w 57597"/>
                    <a:gd name="connsiteY8" fmla="*/ 27097 h 151830"/>
                    <a:gd name="connsiteX9" fmla="*/ 28799 w 57597"/>
                    <a:gd name="connsiteY9" fmla="*/ 0 h 151830"/>
                    <a:gd name="connsiteX10" fmla="*/ 57597 w 57597"/>
                    <a:gd name="connsiteY10" fmla="*/ 27097 h 151830"/>
                    <a:gd name="connsiteX11" fmla="*/ 57597 w 57597"/>
                    <a:gd name="connsiteY11" fmla="*/ 145281 h 151830"/>
                    <a:gd name="connsiteX12" fmla="*/ 50997 w 57597"/>
                    <a:gd name="connsiteY12" fmla="*/ 151830 h 15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97" h="151830">
                      <a:moveTo>
                        <a:pt x="50997" y="151830"/>
                      </a:moveTo>
                      <a:cubicBezTo>
                        <a:pt x="47361" y="151830"/>
                        <a:pt x="44448" y="148891"/>
                        <a:pt x="44448" y="145281"/>
                      </a:cubicBezTo>
                      <a:lnTo>
                        <a:pt x="44448" y="27097"/>
                      </a:lnTo>
                      <a:cubicBezTo>
                        <a:pt x="44448" y="19388"/>
                        <a:pt x="37410" y="13097"/>
                        <a:pt x="28773" y="13097"/>
                      </a:cubicBezTo>
                      <a:cubicBezTo>
                        <a:pt x="20136" y="13097"/>
                        <a:pt x="13097" y="19388"/>
                        <a:pt x="13097" y="27097"/>
                      </a:cubicBezTo>
                      <a:lnTo>
                        <a:pt x="13097" y="145281"/>
                      </a:lnTo>
                      <a:cubicBezTo>
                        <a:pt x="13097" y="148917"/>
                        <a:pt x="10158" y="151830"/>
                        <a:pt x="6549" y="151830"/>
                      </a:cubicBezTo>
                      <a:cubicBezTo>
                        <a:pt x="2913" y="151830"/>
                        <a:pt x="0" y="148891"/>
                        <a:pt x="0" y="145281"/>
                      </a:cubicBezTo>
                      <a:lnTo>
                        <a:pt x="0" y="27097"/>
                      </a:lnTo>
                      <a:cubicBezTo>
                        <a:pt x="0" y="12143"/>
                        <a:pt x="12917" y="0"/>
                        <a:pt x="28799" y="0"/>
                      </a:cubicBezTo>
                      <a:cubicBezTo>
                        <a:pt x="44680" y="0"/>
                        <a:pt x="57597" y="12143"/>
                        <a:pt x="57597" y="27097"/>
                      </a:cubicBezTo>
                      <a:lnTo>
                        <a:pt x="57597" y="145281"/>
                      </a:lnTo>
                      <a:cubicBezTo>
                        <a:pt x="57546" y="148891"/>
                        <a:pt x="54606" y="151830"/>
                        <a:pt x="50997" y="151830"/>
                      </a:cubicBezTo>
                      <a:close/>
                    </a:path>
                  </a:pathLst>
                </a:custGeom>
                <a:grpFill/>
                <a:ln w="2573" cap="flat">
                  <a:noFill/>
                  <a:prstDash val="solid"/>
                  <a:miter/>
                </a:ln>
              </p:spPr>
              <p:txBody>
                <a:bodyPr rtlCol="0" anchor="ctr"/>
                <a:lstStyle/>
                <a:p>
                  <a:endParaRPr lang="en-GB" dirty="0"/>
                </a:p>
              </p:txBody>
            </p:sp>
            <p:sp>
              <p:nvSpPr>
                <p:cNvPr id="604" name="Freihandform: Form 1085">
                  <a:extLst>
                    <a:ext uri="{FF2B5EF4-FFF2-40B4-BE49-F238E27FC236}">
                      <a16:creationId xmlns:a16="http://schemas.microsoft.com/office/drawing/2014/main" id="{C3C672B0-5F54-4A90-86BD-2382EF18D1B7}"/>
                    </a:ext>
                  </a:extLst>
                </p:cNvPr>
                <p:cNvSpPr/>
                <p:nvPr/>
              </p:nvSpPr>
              <p:spPr>
                <a:xfrm>
                  <a:off x="8111845" y="4089296"/>
                  <a:ext cx="57571" cy="184341"/>
                </a:xfrm>
                <a:custGeom>
                  <a:avLst/>
                  <a:gdLst>
                    <a:gd name="connsiteX0" fmla="*/ 50997 w 57571"/>
                    <a:gd name="connsiteY0" fmla="*/ 184341 h 184341"/>
                    <a:gd name="connsiteX1" fmla="*/ 44448 w 57571"/>
                    <a:gd name="connsiteY1" fmla="*/ 177792 h 184341"/>
                    <a:gd name="connsiteX2" fmla="*/ 44448 w 57571"/>
                    <a:gd name="connsiteY2" fmla="*/ 27097 h 184341"/>
                    <a:gd name="connsiteX3" fmla="*/ 28773 w 57571"/>
                    <a:gd name="connsiteY3" fmla="*/ 13097 h 184341"/>
                    <a:gd name="connsiteX4" fmla="*/ 13097 w 57571"/>
                    <a:gd name="connsiteY4" fmla="*/ 27097 h 184341"/>
                    <a:gd name="connsiteX5" fmla="*/ 13097 w 57571"/>
                    <a:gd name="connsiteY5" fmla="*/ 59041 h 184341"/>
                    <a:gd name="connsiteX6" fmla="*/ 6549 w 57571"/>
                    <a:gd name="connsiteY6" fmla="*/ 65589 h 184341"/>
                    <a:gd name="connsiteX7" fmla="*/ 0 w 57571"/>
                    <a:gd name="connsiteY7" fmla="*/ 59041 h 184341"/>
                    <a:gd name="connsiteX8" fmla="*/ 0 w 57571"/>
                    <a:gd name="connsiteY8" fmla="*/ 27097 h 184341"/>
                    <a:gd name="connsiteX9" fmla="*/ 28799 w 57571"/>
                    <a:gd name="connsiteY9" fmla="*/ 0 h 184341"/>
                    <a:gd name="connsiteX10" fmla="*/ 57571 w 57571"/>
                    <a:gd name="connsiteY10" fmla="*/ 27097 h 184341"/>
                    <a:gd name="connsiteX11" fmla="*/ 57571 w 57571"/>
                    <a:gd name="connsiteY11" fmla="*/ 177792 h 184341"/>
                    <a:gd name="connsiteX12" fmla="*/ 50997 w 57571"/>
                    <a:gd name="connsiteY12" fmla="*/ 184341 h 18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571" h="184341">
                      <a:moveTo>
                        <a:pt x="50997" y="184341"/>
                      </a:moveTo>
                      <a:cubicBezTo>
                        <a:pt x="47362" y="184341"/>
                        <a:pt x="44448" y="181402"/>
                        <a:pt x="44448" y="177792"/>
                      </a:cubicBezTo>
                      <a:lnTo>
                        <a:pt x="44448" y="27097"/>
                      </a:lnTo>
                      <a:cubicBezTo>
                        <a:pt x="44448" y="19388"/>
                        <a:pt x="37410" y="13097"/>
                        <a:pt x="28773" y="13097"/>
                      </a:cubicBezTo>
                      <a:cubicBezTo>
                        <a:pt x="20136" y="13097"/>
                        <a:pt x="13097" y="19388"/>
                        <a:pt x="13097" y="27097"/>
                      </a:cubicBezTo>
                      <a:lnTo>
                        <a:pt x="13097" y="59041"/>
                      </a:lnTo>
                      <a:cubicBezTo>
                        <a:pt x="13097" y="62676"/>
                        <a:pt x="10158" y="65589"/>
                        <a:pt x="6549" y="65589"/>
                      </a:cubicBezTo>
                      <a:cubicBezTo>
                        <a:pt x="2913" y="65589"/>
                        <a:pt x="0" y="62650"/>
                        <a:pt x="0" y="59041"/>
                      </a:cubicBezTo>
                      <a:lnTo>
                        <a:pt x="0" y="27097"/>
                      </a:lnTo>
                      <a:cubicBezTo>
                        <a:pt x="0" y="12143"/>
                        <a:pt x="12917" y="0"/>
                        <a:pt x="28799" y="0"/>
                      </a:cubicBezTo>
                      <a:cubicBezTo>
                        <a:pt x="44655" y="0"/>
                        <a:pt x="57571" y="12143"/>
                        <a:pt x="57571" y="27097"/>
                      </a:cubicBezTo>
                      <a:lnTo>
                        <a:pt x="57571" y="177792"/>
                      </a:lnTo>
                      <a:cubicBezTo>
                        <a:pt x="57546" y="181402"/>
                        <a:pt x="54606" y="184341"/>
                        <a:pt x="50997" y="184341"/>
                      </a:cubicBezTo>
                      <a:close/>
                    </a:path>
                  </a:pathLst>
                </a:custGeom>
                <a:grpFill/>
                <a:ln w="2573" cap="flat">
                  <a:noFill/>
                  <a:prstDash val="solid"/>
                  <a:miter/>
                </a:ln>
              </p:spPr>
              <p:txBody>
                <a:bodyPr rtlCol="0" anchor="ctr"/>
                <a:lstStyle/>
                <a:p>
                  <a:endParaRPr lang="en-GB" dirty="0"/>
                </a:p>
              </p:txBody>
            </p:sp>
            <p:sp>
              <p:nvSpPr>
                <p:cNvPr id="605" name="Freihandform: Form 1086">
                  <a:extLst>
                    <a:ext uri="{FF2B5EF4-FFF2-40B4-BE49-F238E27FC236}">
                      <a16:creationId xmlns:a16="http://schemas.microsoft.com/office/drawing/2014/main" id="{01D8A3AC-7C97-43EE-B100-4B674400C67D}"/>
                    </a:ext>
                  </a:extLst>
                </p:cNvPr>
                <p:cNvSpPr/>
                <p:nvPr/>
              </p:nvSpPr>
              <p:spPr>
                <a:xfrm>
                  <a:off x="8020471" y="4412642"/>
                  <a:ext cx="55322" cy="67998"/>
                </a:xfrm>
                <a:custGeom>
                  <a:avLst/>
                  <a:gdLst>
                    <a:gd name="connsiteX0" fmla="*/ 48757 w 55322"/>
                    <a:gd name="connsiteY0" fmla="*/ 67998 h 67998"/>
                    <a:gd name="connsiteX1" fmla="*/ 48009 w 55322"/>
                    <a:gd name="connsiteY1" fmla="*/ 67947 h 67998"/>
                    <a:gd name="connsiteX2" fmla="*/ 22742 w 55322"/>
                    <a:gd name="connsiteY2" fmla="*/ 58510 h 67998"/>
                    <a:gd name="connsiteX3" fmla="*/ 29 w 55322"/>
                    <a:gd name="connsiteY3" fmla="*/ 7178 h 67998"/>
                    <a:gd name="connsiteX4" fmla="*/ 5959 w 55322"/>
                    <a:gd name="connsiteY4" fmla="*/ 37 h 67998"/>
                    <a:gd name="connsiteX5" fmla="*/ 13100 w 55322"/>
                    <a:gd name="connsiteY5" fmla="*/ 5967 h 67998"/>
                    <a:gd name="connsiteX6" fmla="*/ 31972 w 55322"/>
                    <a:gd name="connsiteY6" fmla="*/ 49203 h 67998"/>
                    <a:gd name="connsiteX7" fmla="*/ 49504 w 55322"/>
                    <a:gd name="connsiteY7" fmla="*/ 54927 h 67998"/>
                    <a:gd name="connsiteX8" fmla="*/ 55279 w 55322"/>
                    <a:gd name="connsiteY8" fmla="*/ 62172 h 67998"/>
                    <a:gd name="connsiteX9" fmla="*/ 48757 w 55322"/>
                    <a:gd name="connsiteY9" fmla="*/ 67998 h 6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22" h="67998">
                      <a:moveTo>
                        <a:pt x="48757" y="67998"/>
                      </a:moveTo>
                      <a:cubicBezTo>
                        <a:pt x="48499" y="67998"/>
                        <a:pt x="48267" y="67973"/>
                        <a:pt x="48009" y="67947"/>
                      </a:cubicBezTo>
                      <a:cubicBezTo>
                        <a:pt x="45044" y="67612"/>
                        <a:pt x="29832" y="65549"/>
                        <a:pt x="22742" y="58510"/>
                      </a:cubicBezTo>
                      <a:cubicBezTo>
                        <a:pt x="10367" y="46238"/>
                        <a:pt x="1885" y="27057"/>
                        <a:pt x="29" y="7178"/>
                      </a:cubicBezTo>
                      <a:cubicBezTo>
                        <a:pt x="-307" y="3569"/>
                        <a:pt x="2349" y="372"/>
                        <a:pt x="5959" y="37"/>
                      </a:cubicBezTo>
                      <a:cubicBezTo>
                        <a:pt x="9697" y="-350"/>
                        <a:pt x="12765" y="2357"/>
                        <a:pt x="13100" y="5967"/>
                      </a:cubicBezTo>
                      <a:cubicBezTo>
                        <a:pt x="14673" y="22880"/>
                        <a:pt x="21737" y="39045"/>
                        <a:pt x="31972" y="49203"/>
                      </a:cubicBezTo>
                      <a:cubicBezTo>
                        <a:pt x="34860" y="52065"/>
                        <a:pt x="44141" y="54308"/>
                        <a:pt x="49504" y="54927"/>
                      </a:cubicBezTo>
                      <a:cubicBezTo>
                        <a:pt x="53114" y="55339"/>
                        <a:pt x="55692" y="58588"/>
                        <a:pt x="55279" y="62172"/>
                      </a:cubicBezTo>
                      <a:cubicBezTo>
                        <a:pt x="54867" y="65549"/>
                        <a:pt x="52031" y="67998"/>
                        <a:pt x="48757" y="67998"/>
                      </a:cubicBezTo>
                      <a:close/>
                    </a:path>
                  </a:pathLst>
                </a:custGeom>
                <a:grpFill/>
                <a:ln w="2573" cap="flat">
                  <a:noFill/>
                  <a:prstDash val="solid"/>
                  <a:miter/>
                </a:ln>
              </p:spPr>
              <p:txBody>
                <a:bodyPr rtlCol="0" anchor="ctr"/>
                <a:lstStyle/>
                <a:p>
                  <a:endParaRPr lang="en-GB" dirty="0"/>
                </a:p>
              </p:txBody>
            </p:sp>
            <p:sp>
              <p:nvSpPr>
                <p:cNvPr id="606" name="Freihandform: Form 1087">
                  <a:extLst>
                    <a:ext uri="{FF2B5EF4-FFF2-40B4-BE49-F238E27FC236}">
                      <a16:creationId xmlns:a16="http://schemas.microsoft.com/office/drawing/2014/main" id="{A80F5F59-A96F-4CC6-B9CE-79AC7C344DC0}"/>
                    </a:ext>
                  </a:extLst>
                </p:cNvPr>
                <p:cNvSpPr/>
                <p:nvPr/>
              </p:nvSpPr>
              <p:spPr>
                <a:xfrm>
                  <a:off x="8041615" y="4461614"/>
                  <a:ext cx="13097" cy="94387"/>
                </a:xfrm>
                <a:custGeom>
                  <a:avLst/>
                  <a:gdLst>
                    <a:gd name="connsiteX0" fmla="*/ 6549 w 13097"/>
                    <a:gd name="connsiteY0" fmla="*/ 94388 h 94387"/>
                    <a:gd name="connsiteX1" fmla="*/ 0 w 13097"/>
                    <a:gd name="connsiteY1" fmla="*/ 87839 h 94387"/>
                    <a:gd name="connsiteX2" fmla="*/ 0 w 13097"/>
                    <a:gd name="connsiteY2" fmla="*/ 6548 h 94387"/>
                    <a:gd name="connsiteX3" fmla="*/ 6549 w 13097"/>
                    <a:gd name="connsiteY3" fmla="*/ 0 h 94387"/>
                    <a:gd name="connsiteX4" fmla="*/ 13097 w 13097"/>
                    <a:gd name="connsiteY4" fmla="*/ 6548 h 94387"/>
                    <a:gd name="connsiteX5" fmla="*/ 13097 w 13097"/>
                    <a:gd name="connsiteY5" fmla="*/ 87839 h 94387"/>
                    <a:gd name="connsiteX6" fmla="*/ 6549 w 13097"/>
                    <a:gd name="connsiteY6" fmla="*/ 94388 h 94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94387">
                      <a:moveTo>
                        <a:pt x="6549" y="94388"/>
                      </a:moveTo>
                      <a:cubicBezTo>
                        <a:pt x="2913" y="94388"/>
                        <a:pt x="0" y="91449"/>
                        <a:pt x="0" y="87839"/>
                      </a:cubicBezTo>
                      <a:lnTo>
                        <a:pt x="0" y="6548"/>
                      </a:lnTo>
                      <a:cubicBezTo>
                        <a:pt x="0" y="2913"/>
                        <a:pt x="2939" y="0"/>
                        <a:pt x="6549" y="0"/>
                      </a:cubicBezTo>
                      <a:cubicBezTo>
                        <a:pt x="10158" y="0"/>
                        <a:pt x="13097" y="2939"/>
                        <a:pt x="13097" y="6548"/>
                      </a:cubicBezTo>
                      <a:lnTo>
                        <a:pt x="13097" y="87839"/>
                      </a:lnTo>
                      <a:cubicBezTo>
                        <a:pt x="13097" y="91449"/>
                        <a:pt x="10158" y="94388"/>
                        <a:pt x="6549" y="94388"/>
                      </a:cubicBezTo>
                      <a:close/>
                    </a:path>
                  </a:pathLst>
                </a:custGeom>
                <a:grpFill/>
                <a:ln w="2573" cap="flat">
                  <a:noFill/>
                  <a:prstDash val="solid"/>
                  <a:miter/>
                </a:ln>
              </p:spPr>
              <p:txBody>
                <a:bodyPr rtlCol="0" anchor="ctr"/>
                <a:lstStyle/>
                <a:p>
                  <a:endParaRPr lang="en-GB" dirty="0"/>
                </a:p>
              </p:txBody>
            </p:sp>
            <p:sp>
              <p:nvSpPr>
                <p:cNvPr id="607" name="Freihandform: Form 1088">
                  <a:extLst>
                    <a:ext uri="{FF2B5EF4-FFF2-40B4-BE49-F238E27FC236}">
                      <a16:creationId xmlns:a16="http://schemas.microsoft.com/office/drawing/2014/main" id="{A6F58133-6CE5-4E3C-9128-0A195C974C46}"/>
                    </a:ext>
                  </a:extLst>
                </p:cNvPr>
                <p:cNvSpPr/>
                <p:nvPr/>
              </p:nvSpPr>
              <p:spPr>
                <a:xfrm>
                  <a:off x="8135384" y="4220397"/>
                  <a:ext cx="134504" cy="335603"/>
                </a:xfrm>
                <a:custGeom>
                  <a:avLst/>
                  <a:gdLst>
                    <a:gd name="connsiteX0" fmla="*/ 66079 w 134504"/>
                    <a:gd name="connsiteY0" fmla="*/ 335604 h 335603"/>
                    <a:gd name="connsiteX1" fmla="*/ 59531 w 134504"/>
                    <a:gd name="connsiteY1" fmla="*/ 329055 h 335603"/>
                    <a:gd name="connsiteX2" fmla="*/ 59531 w 134504"/>
                    <a:gd name="connsiteY2" fmla="*/ 244052 h 335603"/>
                    <a:gd name="connsiteX3" fmla="*/ 59711 w 134504"/>
                    <a:gd name="connsiteY3" fmla="*/ 242454 h 335603"/>
                    <a:gd name="connsiteX4" fmla="*/ 60872 w 134504"/>
                    <a:gd name="connsiteY4" fmla="*/ 237839 h 335603"/>
                    <a:gd name="connsiteX5" fmla="*/ 67240 w 134504"/>
                    <a:gd name="connsiteY5" fmla="*/ 232863 h 335603"/>
                    <a:gd name="connsiteX6" fmla="*/ 121382 w 134504"/>
                    <a:gd name="connsiteY6" fmla="*/ 178411 h 335603"/>
                    <a:gd name="connsiteX7" fmla="*/ 121382 w 134504"/>
                    <a:gd name="connsiteY7" fmla="*/ 37693 h 335603"/>
                    <a:gd name="connsiteX8" fmla="*/ 100060 w 134504"/>
                    <a:gd name="connsiteY8" fmla="*/ 13123 h 335603"/>
                    <a:gd name="connsiteX9" fmla="*/ 78738 w 134504"/>
                    <a:gd name="connsiteY9" fmla="*/ 37693 h 335603"/>
                    <a:gd name="connsiteX10" fmla="*/ 78738 w 134504"/>
                    <a:gd name="connsiteY10" fmla="*/ 106428 h 335603"/>
                    <a:gd name="connsiteX11" fmla="*/ 76624 w 134504"/>
                    <a:gd name="connsiteY11" fmla="*/ 111249 h 335603"/>
                    <a:gd name="connsiteX12" fmla="*/ 71648 w 134504"/>
                    <a:gd name="connsiteY12" fmla="*/ 112977 h 335603"/>
                    <a:gd name="connsiteX13" fmla="*/ 67240 w 134504"/>
                    <a:gd name="connsiteY13" fmla="*/ 112744 h 335603"/>
                    <a:gd name="connsiteX14" fmla="*/ 13097 w 134504"/>
                    <a:gd name="connsiteY14" fmla="*/ 167196 h 335603"/>
                    <a:gd name="connsiteX15" fmla="*/ 6549 w 134504"/>
                    <a:gd name="connsiteY15" fmla="*/ 173745 h 335603"/>
                    <a:gd name="connsiteX16" fmla="*/ 0 w 134504"/>
                    <a:gd name="connsiteY16" fmla="*/ 167196 h 335603"/>
                    <a:gd name="connsiteX17" fmla="*/ 65667 w 134504"/>
                    <a:gd name="connsiteY17" fmla="*/ 99647 h 335603"/>
                    <a:gd name="connsiteX18" fmla="*/ 65667 w 134504"/>
                    <a:gd name="connsiteY18" fmla="*/ 37693 h 335603"/>
                    <a:gd name="connsiteX19" fmla="*/ 100086 w 134504"/>
                    <a:gd name="connsiteY19" fmla="*/ 0 h 335603"/>
                    <a:gd name="connsiteX20" fmla="*/ 134505 w 134504"/>
                    <a:gd name="connsiteY20" fmla="*/ 37693 h 335603"/>
                    <a:gd name="connsiteX21" fmla="*/ 134505 w 134504"/>
                    <a:gd name="connsiteY21" fmla="*/ 178411 h 335603"/>
                    <a:gd name="connsiteX22" fmla="*/ 72654 w 134504"/>
                    <a:gd name="connsiteY22" fmla="*/ 245754 h 335603"/>
                    <a:gd name="connsiteX23" fmla="*/ 72654 w 134504"/>
                    <a:gd name="connsiteY23" fmla="*/ 329029 h 335603"/>
                    <a:gd name="connsiteX24" fmla="*/ 66079 w 134504"/>
                    <a:gd name="connsiteY24" fmla="*/ 335604 h 33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4504" h="335603">
                      <a:moveTo>
                        <a:pt x="66079" y="335604"/>
                      </a:moveTo>
                      <a:cubicBezTo>
                        <a:pt x="62444" y="335604"/>
                        <a:pt x="59531" y="332665"/>
                        <a:pt x="59531" y="329055"/>
                      </a:cubicBezTo>
                      <a:lnTo>
                        <a:pt x="59531" y="244052"/>
                      </a:lnTo>
                      <a:cubicBezTo>
                        <a:pt x="59531" y="243511"/>
                        <a:pt x="59582" y="242995"/>
                        <a:pt x="59711" y="242454"/>
                      </a:cubicBezTo>
                      <a:lnTo>
                        <a:pt x="60872" y="237839"/>
                      </a:lnTo>
                      <a:cubicBezTo>
                        <a:pt x="61593" y="234925"/>
                        <a:pt x="64223" y="232863"/>
                        <a:pt x="67240" y="232863"/>
                      </a:cubicBezTo>
                      <a:cubicBezTo>
                        <a:pt x="97095" y="232863"/>
                        <a:pt x="121382" y="208421"/>
                        <a:pt x="121382" y="178411"/>
                      </a:cubicBezTo>
                      <a:lnTo>
                        <a:pt x="121382" y="37693"/>
                      </a:lnTo>
                      <a:cubicBezTo>
                        <a:pt x="121382" y="24132"/>
                        <a:pt x="111816" y="13123"/>
                        <a:pt x="100060" y="13123"/>
                      </a:cubicBezTo>
                      <a:cubicBezTo>
                        <a:pt x="88303" y="13123"/>
                        <a:pt x="78738" y="24158"/>
                        <a:pt x="78738" y="37693"/>
                      </a:cubicBezTo>
                      <a:lnTo>
                        <a:pt x="78738" y="106428"/>
                      </a:lnTo>
                      <a:cubicBezTo>
                        <a:pt x="78738" y="108258"/>
                        <a:pt x="77965" y="110012"/>
                        <a:pt x="76624" y="111249"/>
                      </a:cubicBezTo>
                      <a:cubicBezTo>
                        <a:pt x="75284" y="112487"/>
                        <a:pt x="73479" y="113080"/>
                        <a:pt x="71648" y="112977"/>
                      </a:cubicBezTo>
                      <a:cubicBezTo>
                        <a:pt x="70179" y="112848"/>
                        <a:pt x="68735" y="112744"/>
                        <a:pt x="67240" y="112744"/>
                      </a:cubicBezTo>
                      <a:cubicBezTo>
                        <a:pt x="37384" y="112744"/>
                        <a:pt x="13097" y="137186"/>
                        <a:pt x="13097" y="167196"/>
                      </a:cubicBezTo>
                      <a:cubicBezTo>
                        <a:pt x="13097" y="170831"/>
                        <a:pt x="10158" y="173745"/>
                        <a:pt x="6549" y="173745"/>
                      </a:cubicBezTo>
                      <a:cubicBezTo>
                        <a:pt x="2913" y="173745"/>
                        <a:pt x="0" y="170806"/>
                        <a:pt x="0" y="167196"/>
                      </a:cubicBezTo>
                      <a:cubicBezTo>
                        <a:pt x="0" y="130482"/>
                        <a:pt x="29314" y="100498"/>
                        <a:pt x="65667" y="99647"/>
                      </a:cubicBezTo>
                      <a:lnTo>
                        <a:pt x="65667" y="37693"/>
                      </a:lnTo>
                      <a:cubicBezTo>
                        <a:pt x="65667" y="16913"/>
                        <a:pt x="81110" y="0"/>
                        <a:pt x="100086" y="0"/>
                      </a:cubicBezTo>
                      <a:cubicBezTo>
                        <a:pt x="119061" y="0"/>
                        <a:pt x="134505" y="16913"/>
                        <a:pt x="134505" y="37693"/>
                      </a:cubicBezTo>
                      <a:lnTo>
                        <a:pt x="134505" y="178411"/>
                      </a:lnTo>
                      <a:cubicBezTo>
                        <a:pt x="134505" y="213836"/>
                        <a:pt x="107227" y="242995"/>
                        <a:pt x="72654" y="245754"/>
                      </a:cubicBezTo>
                      <a:lnTo>
                        <a:pt x="72654" y="329029"/>
                      </a:lnTo>
                      <a:cubicBezTo>
                        <a:pt x="72628" y="332665"/>
                        <a:pt x="69689" y="335604"/>
                        <a:pt x="66079" y="335604"/>
                      </a:cubicBezTo>
                      <a:close/>
                    </a:path>
                  </a:pathLst>
                </a:custGeom>
                <a:grpFill/>
                <a:ln w="2573" cap="flat">
                  <a:noFill/>
                  <a:prstDash val="solid"/>
                  <a:miter/>
                </a:ln>
              </p:spPr>
              <p:txBody>
                <a:bodyPr rtlCol="0" anchor="ctr"/>
                <a:lstStyle/>
                <a:p>
                  <a:endParaRPr lang="en-GB" dirty="0"/>
                </a:p>
              </p:txBody>
            </p:sp>
          </p:grpSp>
        </p:grpSp>
        <p:grpSp>
          <p:nvGrpSpPr>
            <p:cNvPr id="595" name="Group 594">
              <a:extLst>
                <a:ext uri="{FF2B5EF4-FFF2-40B4-BE49-F238E27FC236}">
                  <a16:creationId xmlns:a16="http://schemas.microsoft.com/office/drawing/2014/main" id="{8D27D453-825F-43CD-9296-D85C60003365}"/>
                </a:ext>
              </a:extLst>
            </p:cNvPr>
            <p:cNvGrpSpPr/>
            <p:nvPr/>
          </p:nvGrpSpPr>
          <p:grpSpPr>
            <a:xfrm>
              <a:off x="5057787" y="4004490"/>
              <a:ext cx="207630" cy="280965"/>
              <a:chOff x="7914967" y="4091326"/>
              <a:chExt cx="224310" cy="303537"/>
            </a:xfrm>
          </p:grpSpPr>
          <p:sp>
            <p:nvSpPr>
              <p:cNvPr id="596" name="Freihandform: Form 1090">
                <a:extLst>
                  <a:ext uri="{FF2B5EF4-FFF2-40B4-BE49-F238E27FC236}">
                    <a16:creationId xmlns:a16="http://schemas.microsoft.com/office/drawing/2014/main" id="{8935E552-8DCD-4FA5-9836-9A41B1396E0B}"/>
                  </a:ext>
                </a:extLst>
              </p:cNvPr>
              <p:cNvSpPr/>
              <p:nvPr/>
            </p:nvSpPr>
            <p:spPr>
              <a:xfrm>
                <a:off x="7987293" y="4135296"/>
                <a:ext cx="86292" cy="149685"/>
              </a:xfrm>
              <a:custGeom>
                <a:avLst/>
                <a:gdLst>
                  <a:gd name="connsiteX0" fmla="*/ 40710 w 86292"/>
                  <a:gd name="connsiteY0" fmla="*/ 149685 h 149685"/>
                  <a:gd name="connsiteX1" fmla="*/ 36404 w 86292"/>
                  <a:gd name="connsiteY1" fmla="*/ 148087 h 149685"/>
                  <a:gd name="connsiteX2" fmla="*/ 25060 w 86292"/>
                  <a:gd name="connsiteY2" fmla="*/ 139218 h 149685"/>
                  <a:gd name="connsiteX3" fmla="*/ 0 w 86292"/>
                  <a:gd name="connsiteY3" fmla="*/ 96807 h 149685"/>
                  <a:gd name="connsiteX4" fmla="*/ 16475 w 86292"/>
                  <a:gd name="connsiteY4" fmla="*/ 53596 h 149685"/>
                  <a:gd name="connsiteX5" fmla="*/ 34161 w 86292"/>
                  <a:gd name="connsiteY5" fmla="*/ 6544 h 149685"/>
                  <a:gd name="connsiteX6" fmla="*/ 38003 w 86292"/>
                  <a:gd name="connsiteY6" fmla="*/ 588 h 149685"/>
                  <a:gd name="connsiteX7" fmla="*/ 45015 w 86292"/>
                  <a:gd name="connsiteY7" fmla="*/ 1594 h 149685"/>
                  <a:gd name="connsiteX8" fmla="*/ 86292 w 86292"/>
                  <a:gd name="connsiteY8" fmla="*/ 96781 h 149685"/>
                  <a:gd name="connsiteX9" fmla="*/ 59015 w 86292"/>
                  <a:gd name="connsiteY9" fmla="*/ 137851 h 149685"/>
                  <a:gd name="connsiteX10" fmla="*/ 44989 w 86292"/>
                  <a:gd name="connsiteY10" fmla="*/ 148061 h 149685"/>
                  <a:gd name="connsiteX11" fmla="*/ 40710 w 86292"/>
                  <a:gd name="connsiteY11" fmla="*/ 149685 h 149685"/>
                  <a:gd name="connsiteX12" fmla="*/ 45325 w 86292"/>
                  <a:gd name="connsiteY12" fmla="*/ 21652 h 149685"/>
                  <a:gd name="connsiteX13" fmla="*/ 27870 w 86292"/>
                  <a:gd name="connsiteY13" fmla="*/ 60067 h 149685"/>
                  <a:gd name="connsiteX14" fmla="*/ 13123 w 86292"/>
                  <a:gd name="connsiteY14" fmla="*/ 96781 h 149685"/>
                  <a:gd name="connsiteX15" fmla="*/ 32872 w 86292"/>
                  <a:gd name="connsiteY15" fmla="*/ 128647 h 149685"/>
                  <a:gd name="connsiteX16" fmla="*/ 40761 w 86292"/>
                  <a:gd name="connsiteY16" fmla="*/ 134629 h 149685"/>
                  <a:gd name="connsiteX17" fmla="*/ 51770 w 86292"/>
                  <a:gd name="connsiteY17" fmla="*/ 126920 h 149685"/>
                  <a:gd name="connsiteX18" fmla="*/ 73169 w 86292"/>
                  <a:gd name="connsiteY18" fmla="*/ 96755 h 149685"/>
                  <a:gd name="connsiteX19" fmla="*/ 45325 w 86292"/>
                  <a:gd name="connsiteY19" fmla="*/ 21652 h 149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292" h="149685">
                    <a:moveTo>
                      <a:pt x="40710" y="149685"/>
                    </a:moveTo>
                    <a:cubicBezTo>
                      <a:pt x="39188" y="149685"/>
                      <a:pt x="37642" y="149144"/>
                      <a:pt x="36404" y="148087"/>
                    </a:cubicBezTo>
                    <a:cubicBezTo>
                      <a:pt x="32537" y="144735"/>
                      <a:pt x="28747" y="141925"/>
                      <a:pt x="25060" y="139218"/>
                    </a:cubicBezTo>
                    <a:cubicBezTo>
                      <a:pt x="12169" y="129704"/>
                      <a:pt x="0" y="120706"/>
                      <a:pt x="0" y="96807"/>
                    </a:cubicBezTo>
                    <a:cubicBezTo>
                      <a:pt x="0" y="82498"/>
                      <a:pt x="7992" y="68472"/>
                      <a:pt x="16475" y="53596"/>
                    </a:cubicBezTo>
                    <a:cubicBezTo>
                      <a:pt x="25163" y="38333"/>
                      <a:pt x="34161" y="22554"/>
                      <a:pt x="34161" y="6544"/>
                    </a:cubicBezTo>
                    <a:cubicBezTo>
                      <a:pt x="34161" y="3966"/>
                      <a:pt x="35656" y="1645"/>
                      <a:pt x="38003" y="588"/>
                    </a:cubicBezTo>
                    <a:cubicBezTo>
                      <a:pt x="40323" y="-469"/>
                      <a:pt x="43082" y="-82"/>
                      <a:pt x="45015" y="1594"/>
                    </a:cubicBezTo>
                    <a:cubicBezTo>
                      <a:pt x="64687" y="18687"/>
                      <a:pt x="86292" y="68498"/>
                      <a:pt x="86292" y="96781"/>
                    </a:cubicBezTo>
                    <a:cubicBezTo>
                      <a:pt x="86292" y="119752"/>
                      <a:pt x="72421" y="128957"/>
                      <a:pt x="59015" y="137851"/>
                    </a:cubicBezTo>
                    <a:cubicBezTo>
                      <a:pt x="54322" y="140971"/>
                      <a:pt x="49501" y="144168"/>
                      <a:pt x="44989" y="148061"/>
                    </a:cubicBezTo>
                    <a:cubicBezTo>
                      <a:pt x="43778" y="149170"/>
                      <a:pt x="42257" y="149685"/>
                      <a:pt x="40710" y="149685"/>
                    </a:cubicBezTo>
                    <a:close/>
                    <a:moveTo>
                      <a:pt x="45325" y="21652"/>
                    </a:moveTo>
                    <a:cubicBezTo>
                      <a:pt x="41922" y="35420"/>
                      <a:pt x="34548" y="48311"/>
                      <a:pt x="27870" y="60067"/>
                    </a:cubicBezTo>
                    <a:cubicBezTo>
                      <a:pt x="20290" y="73397"/>
                      <a:pt x="13123" y="85952"/>
                      <a:pt x="13123" y="96781"/>
                    </a:cubicBezTo>
                    <a:cubicBezTo>
                      <a:pt x="13123" y="114080"/>
                      <a:pt x="20548" y="119572"/>
                      <a:pt x="32872" y="128647"/>
                    </a:cubicBezTo>
                    <a:cubicBezTo>
                      <a:pt x="35321" y="130452"/>
                      <a:pt x="38003" y="132437"/>
                      <a:pt x="40761" y="134629"/>
                    </a:cubicBezTo>
                    <a:cubicBezTo>
                      <a:pt x="44448" y="131793"/>
                      <a:pt x="48161" y="129318"/>
                      <a:pt x="51770" y="126920"/>
                    </a:cubicBezTo>
                    <a:cubicBezTo>
                      <a:pt x="64661" y="118360"/>
                      <a:pt x="73169" y="112714"/>
                      <a:pt x="73169" y="96755"/>
                    </a:cubicBezTo>
                    <a:cubicBezTo>
                      <a:pt x="73195" y="76593"/>
                      <a:pt x="59556" y="41478"/>
                      <a:pt x="45325" y="21652"/>
                    </a:cubicBezTo>
                    <a:close/>
                  </a:path>
                </a:pathLst>
              </a:custGeom>
              <a:solidFill>
                <a:schemeClr val="accent1"/>
              </a:solidFill>
              <a:ln w="2573" cap="flat">
                <a:noFill/>
                <a:prstDash val="solid"/>
                <a:miter/>
              </a:ln>
            </p:spPr>
            <p:txBody>
              <a:bodyPr rtlCol="0" anchor="ctr"/>
              <a:lstStyle/>
              <a:p>
                <a:endParaRPr lang="en-GB" dirty="0"/>
              </a:p>
            </p:txBody>
          </p:sp>
          <p:sp>
            <p:nvSpPr>
              <p:cNvPr id="597" name="Freihandform: Form 1091">
                <a:extLst>
                  <a:ext uri="{FF2B5EF4-FFF2-40B4-BE49-F238E27FC236}">
                    <a16:creationId xmlns:a16="http://schemas.microsoft.com/office/drawing/2014/main" id="{ED7B446F-2F2E-4893-BBE2-6A4EE1119ED9}"/>
                  </a:ext>
                </a:extLst>
              </p:cNvPr>
              <p:cNvSpPr/>
              <p:nvPr/>
            </p:nvSpPr>
            <p:spPr>
              <a:xfrm>
                <a:off x="8021454" y="4223130"/>
                <a:ext cx="13097" cy="86266"/>
              </a:xfrm>
              <a:custGeom>
                <a:avLst/>
                <a:gdLst>
                  <a:gd name="connsiteX0" fmla="*/ 6549 w 13097"/>
                  <a:gd name="connsiteY0" fmla="*/ 86267 h 86266"/>
                  <a:gd name="connsiteX1" fmla="*/ 0 w 13097"/>
                  <a:gd name="connsiteY1" fmla="*/ 79718 h 86266"/>
                  <a:gd name="connsiteX2" fmla="*/ 0 w 13097"/>
                  <a:gd name="connsiteY2" fmla="*/ 6549 h 86266"/>
                  <a:gd name="connsiteX3" fmla="*/ 6549 w 13097"/>
                  <a:gd name="connsiteY3" fmla="*/ 0 h 86266"/>
                  <a:gd name="connsiteX4" fmla="*/ 13097 w 13097"/>
                  <a:gd name="connsiteY4" fmla="*/ 6549 h 86266"/>
                  <a:gd name="connsiteX5" fmla="*/ 13097 w 13097"/>
                  <a:gd name="connsiteY5" fmla="*/ 79718 h 86266"/>
                  <a:gd name="connsiteX6" fmla="*/ 6549 w 13097"/>
                  <a:gd name="connsiteY6" fmla="*/ 86267 h 8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7" h="86266">
                    <a:moveTo>
                      <a:pt x="6549" y="86267"/>
                    </a:moveTo>
                    <a:cubicBezTo>
                      <a:pt x="2913" y="86267"/>
                      <a:pt x="0" y="83327"/>
                      <a:pt x="0" y="79718"/>
                    </a:cubicBezTo>
                    <a:lnTo>
                      <a:pt x="0" y="6549"/>
                    </a:lnTo>
                    <a:cubicBezTo>
                      <a:pt x="0" y="2939"/>
                      <a:pt x="2939" y="0"/>
                      <a:pt x="6549" y="0"/>
                    </a:cubicBezTo>
                    <a:cubicBezTo>
                      <a:pt x="10158" y="0"/>
                      <a:pt x="13097" y="2939"/>
                      <a:pt x="13097" y="6549"/>
                    </a:cubicBezTo>
                    <a:lnTo>
                      <a:pt x="13097" y="79718"/>
                    </a:lnTo>
                    <a:cubicBezTo>
                      <a:pt x="13097" y="83327"/>
                      <a:pt x="10184" y="86267"/>
                      <a:pt x="6549" y="86267"/>
                    </a:cubicBezTo>
                    <a:close/>
                  </a:path>
                </a:pathLst>
              </a:custGeom>
              <a:solidFill>
                <a:schemeClr val="accent1"/>
              </a:solidFill>
              <a:ln w="2573" cap="flat">
                <a:noFill/>
                <a:prstDash val="solid"/>
                <a:miter/>
              </a:ln>
            </p:spPr>
            <p:txBody>
              <a:bodyPr rtlCol="0" anchor="ctr"/>
              <a:lstStyle/>
              <a:p>
                <a:endParaRPr lang="en-GB" dirty="0"/>
              </a:p>
            </p:txBody>
          </p:sp>
          <p:sp>
            <p:nvSpPr>
              <p:cNvPr id="598" name="Freihandform: Form 1093">
                <a:extLst>
                  <a:ext uri="{FF2B5EF4-FFF2-40B4-BE49-F238E27FC236}">
                    <a16:creationId xmlns:a16="http://schemas.microsoft.com/office/drawing/2014/main" id="{4AA55DD7-E951-4843-BBF7-C97B14F35910}"/>
                  </a:ext>
                </a:extLst>
              </p:cNvPr>
              <p:cNvSpPr/>
              <p:nvPr/>
            </p:nvSpPr>
            <p:spPr>
              <a:xfrm>
                <a:off x="7982368" y="4363152"/>
                <a:ext cx="89566" cy="31711"/>
              </a:xfrm>
              <a:custGeom>
                <a:avLst/>
                <a:gdLst>
                  <a:gd name="connsiteX0" fmla="*/ 72551 w 89566"/>
                  <a:gd name="connsiteY0" fmla="*/ 31712 h 31711"/>
                  <a:gd name="connsiteX1" fmla="*/ 16965 w 89566"/>
                  <a:gd name="connsiteY1" fmla="*/ 31712 h 31711"/>
                  <a:gd name="connsiteX2" fmla="*/ 11112 w 89566"/>
                  <a:gd name="connsiteY2" fmla="*/ 28077 h 31711"/>
                  <a:gd name="connsiteX3" fmla="*/ 0 w 89566"/>
                  <a:gd name="connsiteY3" fmla="*/ 5853 h 31711"/>
                  <a:gd name="connsiteX4" fmla="*/ 11731 w 89566"/>
                  <a:gd name="connsiteY4" fmla="*/ 0 h 31711"/>
                  <a:gd name="connsiteX5" fmla="*/ 21038 w 89566"/>
                  <a:gd name="connsiteY5" fmla="*/ 18615 h 31711"/>
                  <a:gd name="connsiteX6" fmla="*/ 68529 w 89566"/>
                  <a:gd name="connsiteY6" fmla="*/ 18615 h 31711"/>
                  <a:gd name="connsiteX7" fmla="*/ 77836 w 89566"/>
                  <a:gd name="connsiteY7" fmla="*/ 0 h 31711"/>
                  <a:gd name="connsiteX8" fmla="*/ 89567 w 89566"/>
                  <a:gd name="connsiteY8" fmla="*/ 5853 h 31711"/>
                  <a:gd name="connsiteX9" fmla="*/ 78455 w 89566"/>
                  <a:gd name="connsiteY9" fmla="*/ 28077 h 31711"/>
                  <a:gd name="connsiteX10" fmla="*/ 72551 w 89566"/>
                  <a:gd name="connsiteY10" fmla="*/ 31712 h 3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9566" h="31711">
                    <a:moveTo>
                      <a:pt x="72551" y="31712"/>
                    </a:moveTo>
                    <a:lnTo>
                      <a:pt x="16965" y="31712"/>
                    </a:lnTo>
                    <a:cubicBezTo>
                      <a:pt x="14489" y="31712"/>
                      <a:pt x="12221" y="30320"/>
                      <a:pt x="11112" y="28077"/>
                    </a:cubicBezTo>
                    <a:lnTo>
                      <a:pt x="0" y="5853"/>
                    </a:lnTo>
                    <a:lnTo>
                      <a:pt x="11731" y="0"/>
                    </a:lnTo>
                    <a:lnTo>
                      <a:pt x="21038" y="18615"/>
                    </a:lnTo>
                    <a:lnTo>
                      <a:pt x="68529" y="18615"/>
                    </a:lnTo>
                    <a:lnTo>
                      <a:pt x="77836" y="0"/>
                    </a:lnTo>
                    <a:lnTo>
                      <a:pt x="89567" y="5853"/>
                    </a:lnTo>
                    <a:lnTo>
                      <a:pt x="78455" y="28077"/>
                    </a:lnTo>
                    <a:cubicBezTo>
                      <a:pt x="77294" y="30294"/>
                      <a:pt x="75025" y="31712"/>
                      <a:pt x="72551" y="31712"/>
                    </a:cubicBezTo>
                    <a:close/>
                  </a:path>
                </a:pathLst>
              </a:custGeom>
              <a:solidFill>
                <a:schemeClr val="accent1"/>
              </a:solidFill>
              <a:ln w="2573" cap="flat">
                <a:noFill/>
                <a:prstDash val="solid"/>
                <a:miter/>
              </a:ln>
            </p:spPr>
            <p:txBody>
              <a:bodyPr rtlCol="0" anchor="ctr"/>
              <a:lstStyle/>
              <a:p>
                <a:endParaRPr lang="en-GB" dirty="0"/>
              </a:p>
            </p:txBody>
          </p:sp>
          <p:sp>
            <p:nvSpPr>
              <p:cNvPr id="599" name="Freihandform: Form 1094">
                <a:extLst>
                  <a:ext uri="{FF2B5EF4-FFF2-40B4-BE49-F238E27FC236}">
                    <a16:creationId xmlns:a16="http://schemas.microsoft.com/office/drawing/2014/main" id="{24A362FA-A79A-44B6-8A0A-FB6357C573E0}"/>
                  </a:ext>
                </a:extLst>
              </p:cNvPr>
              <p:cNvSpPr/>
              <p:nvPr/>
            </p:nvSpPr>
            <p:spPr>
              <a:xfrm>
                <a:off x="7914967" y="4091326"/>
                <a:ext cx="224310" cy="281288"/>
              </a:xfrm>
              <a:custGeom>
                <a:avLst/>
                <a:gdLst>
                  <a:gd name="connsiteX0" fmla="*/ 162176 w 224310"/>
                  <a:gd name="connsiteY0" fmla="*/ 281288 h 281288"/>
                  <a:gd name="connsiteX1" fmla="*/ 62116 w 224310"/>
                  <a:gd name="connsiteY1" fmla="*/ 281288 h 281288"/>
                  <a:gd name="connsiteX2" fmla="*/ 55568 w 224310"/>
                  <a:gd name="connsiteY2" fmla="*/ 274740 h 281288"/>
                  <a:gd name="connsiteX3" fmla="*/ 55439 w 224310"/>
                  <a:gd name="connsiteY3" fmla="*/ 239805 h 281288"/>
                  <a:gd name="connsiteX4" fmla="*/ 55439 w 224310"/>
                  <a:gd name="connsiteY4" fmla="*/ 239728 h 281288"/>
                  <a:gd name="connsiteX5" fmla="*/ 34375 w 224310"/>
                  <a:gd name="connsiteY5" fmla="*/ 192934 h 281288"/>
                  <a:gd name="connsiteX6" fmla="*/ 884 w 224310"/>
                  <a:gd name="connsiteY6" fmla="*/ 97927 h 281288"/>
                  <a:gd name="connsiteX7" fmla="*/ 99242 w 224310"/>
                  <a:gd name="connsiteY7" fmla="*/ 729 h 281288"/>
                  <a:gd name="connsiteX8" fmla="*/ 186901 w 224310"/>
                  <a:gd name="connsiteY8" fmla="*/ 28548 h 281288"/>
                  <a:gd name="connsiteX9" fmla="*/ 224311 w 224310"/>
                  <a:gd name="connsiteY9" fmla="*/ 112184 h 281288"/>
                  <a:gd name="connsiteX10" fmla="*/ 191697 w 224310"/>
                  <a:gd name="connsiteY10" fmla="*/ 191258 h 281288"/>
                  <a:gd name="connsiteX11" fmla="*/ 169344 w 224310"/>
                  <a:gd name="connsiteY11" fmla="*/ 235396 h 281288"/>
                  <a:gd name="connsiteX12" fmla="*/ 168725 w 224310"/>
                  <a:gd name="connsiteY12" fmla="*/ 242074 h 281288"/>
                  <a:gd name="connsiteX13" fmla="*/ 168751 w 224310"/>
                  <a:gd name="connsiteY13" fmla="*/ 274817 h 281288"/>
                  <a:gd name="connsiteX14" fmla="*/ 162176 w 224310"/>
                  <a:gd name="connsiteY14" fmla="*/ 281288 h 281288"/>
                  <a:gd name="connsiteX15" fmla="*/ 68691 w 224310"/>
                  <a:gd name="connsiteY15" fmla="*/ 268191 h 281288"/>
                  <a:gd name="connsiteX16" fmla="*/ 155627 w 224310"/>
                  <a:gd name="connsiteY16" fmla="*/ 268191 h 281288"/>
                  <a:gd name="connsiteX17" fmla="*/ 155627 w 224310"/>
                  <a:gd name="connsiteY17" fmla="*/ 241404 h 281288"/>
                  <a:gd name="connsiteX18" fmla="*/ 156324 w 224310"/>
                  <a:gd name="connsiteY18" fmla="*/ 233875 h 281288"/>
                  <a:gd name="connsiteX19" fmla="*/ 182415 w 224310"/>
                  <a:gd name="connsiteY19" fmla="*/ 181976 h 281288"/>
                  <a:gd name="connsiteX20" fmla="*/ 211213 w 224310"/>
                  <a:gd name="connsiteY20" fmla="*/ 112159 h 281288"/>
                  <a:gd name="connsiteX21" fmla="*/ 178161 w 224310"/>
                  <a:gd name="connsiteY21" fmla="*/ 38293 h 281288"/>
                  <a:gd name="connsiteX22" fmla="*/ 100712 w 224310"/>
                  <a:gd name="connsiteY22" fmla="*/ 13749 h 281288"/>
                  <a:gd name="connsiteX23" fmla="*/ 13878 w 224310"/>
                  <a:gd name="connsiteY23" fmla="*/ 99526 h 281288"/>
                  <a:gd name="connsiteX24" fmla="*/ 43450 w 224310"/>
                  <a:gd name="connsiteY24" fmla="*/ 183497 h 281288"/>
                  <a:gd name="connsiteX25" fmla="*/ 68510 w 224310"/>
                  <a:gd name="connsiteY25" fmla="*/ 238877 h 281288"/>
                  <a:gd name="connsiteX26" fmla="*/ 68665 w 224310"/>
                  <a:gd name="connsiteY26" fmla="*/ 240914 h 281288"/>
                  <a:gd name="connsiteX27" fmla="*/ 68691 w 224310"/>
                  <a:gd name="connsiteY27" fmla="*/ 268191 h 281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310" h="281288">
                    <a:moveTo>
                      <a:pt x="162176" y="281288"/>
                    </a:moveTo>
                    <a:lnTo>
                      <a:pt x="62116" y="281288"/>
                    </a:lnTo>
                    <a:cubicBezTo>
                      <a:pt x="58507" y="281288"/>
                      <a:pt x="55568" y="278349"/>
                      <a:pt x="55568" y="274740"/>
                    </a:cubicBezTo>
                    <a:lnTo>
                      <a:pt x="55439" y="239805"/>
                    </a:lnTo>
                    <a:cubicBezTo>
                      <a:pt x="55439" y="239780"/>
                      <a:pt x="55439" y="239728"/>
                      <a:pt x="55439" y="239728"/>
                    </a:cubicBezTo>
                    <a:cubicBezTo>
                      <a:pt x="54304" y="221552"/>
                      <a:pt x="46828" y="204948"/>
                      <a:pt x="34375" y="192934"/>
                    </a:cubicBezTo>
                    <a:cubicBezTo>
                      <a:pt x="8696" y="168209"/>
                      <a:pt x="-3525" y="133558"/>
                      <a:pt x="884" y="97927"/>
                    </a:cubicBezTo>
                    <a:cubicBezTo>
                      <a:pt x="7149" y="47291"/>
                      <a:pt x="48503" y="6401"/>
                      <a:pt x="99242" y="729"/>
                    </a:cubicBezTo>
                    <a:cubicBezTo>
                      <a:pt x="131676" y="-2880"/>
                      <a:pt x="162795" y="6994"/>
                      <a:pt x="186901" y="28548"/>
                    </a:cubicBezTo>
                    <a:cubicBezTo>
                      <a:pt x="210672" y="49818"/>
                      <a:pt x="224311" y="80292"/>
                      <a:pt x="224311" y="112184"/>
                    </a:cubicBezTo>
                    <a:cubicBezTo>
                      <a:pt x="224311" y="142014"/>
                      <a:pt x="212734" y="170091"/>
                      <a:pt x="191697" y="191258"/>
                    </a:cubicBezTo>
                    <a:cubicBezTo>
                      <a:pt x="179218" y="203788"/>
                      <a:pt x="171483" y="219051"/>
                      <a:pt x="169344" y="235396"/>
                    </a:cubicBezTo>
                    <a:lnTo>
                      <a:pt x="168725" y="242074"/>
                    </a:lnTo>
                    <a:lnTo>
                      <a:pt x="168751" y="274817"/>
                    </a:lnTo>
                    <a:cubicBezTo>
                      <a:pt x="168725" y="278375"/>
                      <a:pt x="165811" y="281288"/>
                      <a:pt x="162176" y="281288"/>
                    </a:cubicBezTo>
                    <a:close/>
                    <a:moveTo>
                      <a:pt x="68691" y="268191"/>
                    </a:moveTo>
                    <a:lnTo>
                      <a:pt x="155627" y="268191"/>
                    </a:lnTo>
                    <a:lnTo>
                      <a:pt x="155627" y="241404"/>
                    </a:lnTo>
                    <a:lnTo>
                      <a:pt x="156324" y="233875"/>
                    </a:lnTo>
                    <a:cubicBezTo>
                      <a:pt x="158876" y="214436"/>
                      <a:pt x="167900" y="196569"/>
                      <a:pt x="182415" y="181976"/>
                    </a:cubicBezTo>
                    <a:cubicBezTo>
                      <a:pt x="200978" y="163284"/>
                      <a:pt x="211213" y="138508"/>
                      <a:pt x="211213" y="112159"/>
                    </a:cubicBezTo>
                    <a:cubicBezTo>
                      <a:pt x="211213" y="84005"/>
                      <a:pt x="199173" y="57088"/>
                      <a:pt x="178161" y="38293"/>
                    </a:cubicBezTo>
                    <a:cubicBezTo>
                      <a:pt x="156865" y="19266"/>
                      <a:pt x="129356" y="10526"/>
                      <a:pt x="100712" y="13749"/>
                    </a:cubicBezTo>
                    <a:cubicBezTo>
                      <a:pt x="55929" y="18751"/>
                      <a:pt x="19396" y="54845"/>
                      <a:pt x="13878" y="99526"/>
                    </a:cubicBezTo>
                    <a:cubicBezTo>
                      <a:pt x="9985" y="131057"/>
                      <a:pt x="20762" y="161660"/>
                      <a:pt x="43450" y="183497"/>
                    </a:cubicBezTo>
                    <a:cubicBezTo>
                      <a:pt x="58275" y="197781"/>
                      <a:pt x="67170" y="217426"/>
                      <a:pt x="68510" y="238877"/>
                    </a:cubicBezTo>
                    <a:lnTo>
                      <a:pt x="68665" y="240914"/>
                    </a:lnTo>
                    <a:lnTo>
                      <a:pt x="68691" y="268191"/>
                    </a:lnTo>
                    <a:close/>
                  </a:path>
                </a:pathLst>
              </a:custGeom>
              <a:solidFill>
                <a:schemeClr val="accent1"/>
              </a:solidFill>
              <a:ln w="2573" cap="flat">
                <a:noFill/>
                <a:prstDash val="solid"/>
                <a:miter/>
              </a:ln>
            </p:spPr>
            <p:txBody>
              <a:bodyPr rtlCol="0" anchor="ctr"/>
              <a:lstStyle/>
              <a:p>
                <a:endParaRPr lang="en-GB" dirty="0"/>
              </a:p>
            </p:txBody>
          </p:sp>
          <p:sp>
            <p:nvSpPr>
              <p:cNvPr id="600" name="Freihandform: Form 1095">
                <a:extLst>
                  <a:ext uri="{FF2B5EF4-FFF2-40B4-BE49-F238E27FC236}">
                    <a16:creationId xmlns:a16="http://schemas.microsoft.com/office/drawing/2014/main" id="{C1363618-6957-4FA9-95EB-675F46946BDD}"/>
                  </a:ext>
                </a:extLst>
              </p:cNvPr>
              <p:cNvSpPr/>
              <p:nvPr/>
            </p:nvSpPr>
            <p:spPr>
              <a:xfrm>
                <a:off x="7979068" y="4328914"/>
                <a:ext cx="101142" cy="13097"/>
              </a:xfrm>
              <a:custGeom>
                <a:avLst/>
                <a:gdLst>
                  <a:gd name="connsiteX0" fmla="*/ 0 w 101142"/>
                  <a:gd name="connsiteY0" fmla="*/ 0 h 13097"/>
                  <a:gd name="connsiteX1" fmla="*/ 101142 w 101142"/>
                  <a:gd name="connsiteY1" fmla="*/ 0 h 13097"/>
                  <a:gd name="connsiteX2" fmla="*/ 101142 w 101142"/>
                  <a:gd name="connsiteY2" fmla="*/ 13097 h 13097"/>
                  <a:gd name="connsiteX3" fmla="*/ 0 w 101142"/>
                  <a:gd name="connsiteY3" fmla="*/ 13097 h 13097"/>
                </a:gdLst>
                <a:ahLst/>
                <a:cxnLst>
                  <a:cxn ang="0">
                    <a:pos x="connsiteX0" y="connsiteY0"/>
                  </a:cxn>
                  <a:cxn ang="0">
                    <a:pos x="connsiteX1" y="connsiteY1"/>
                  </a:cxn>
                  <a:cxn ang="0">
                    <a:pos x="connsiteX2" y="connsiteY2"/>
                  </a:cxn>
                  <a:cxn ang="0">
                    <a:pos x="connsiteX3" y="connsiteY3"/>
                  </a:cxn>
                </a:cxnLst>
                <a:rect l="l" t="t" r="r" b="b"/>
                <a:pathLst>
                  <a:path w="101142" h="13097">
                    <a:moveTo>
                      <a:pt x="0" y="0"/>
                    </a:moveTo>
                    <a:lnTo>
                      <a:pt x="101142" y="0"/>
                    </a:lnTo>
                    <a:lnTo>
                      <a:pt x="101142" y="13097"/>
                    </a:lnTo>
                    <a:lnTo>
                      <a:pt x="0" y="13097"/>
                    </a:lnTo>
                    <a:close/>
                  </a:path>
                </a:pathLst>
              </a:custGeom>
              <a:solidFill>
                <a:schemeClr val="accent1"/>
              </a:solidFill>
              <a:ln w="2573" cap="flat">
                <a:noFill/>
                <a:prstDash val="solid"/>
                <a:miter/>
              </a:ln>
            </p:spPr>
            <p:txBody>
              <a:bodyPr rtlCol="0" anchor="ctr"/>
              <a:lstStyle/>
              <a:p>
                <a:endParaRPr lang="en-GB" dirty="0"/>
              </a:p>
            </p:txBody>
          </p:sp>
        </p:grpSp>
      </p:grpSp>
      <p:grpSp>
        <p:nvGrpSpPr>
          <p:cNvPr id="696" name="Group 695">
            <a:extLst>
              <a:ext uri="{FF2B5EF4-FFF2-40B4-BE49-F238E27FC236}">
                <a16:creationId xmlns:a16="http://schemas.microsoft.com/office/drawing/2014/main" id="{AD492555-3C4D-45FD-AEFB-871C31CF62F8}"/>
              </a:ext>
            </a:extLst>
          </p:cNvPr>
          <p:cNvGrpSpPr/>
          <p:nvPr/>
        </p:nvGrpSpPr>
        <p:grpSpPr>
          <a:xfrm>
            <a:off x="7138934" y="4002611"/>
            <a:ext cx="350573" cy="432000"/>
            <a:chOff x="7138522" y="4002611"/>
            <a:chExt cx="350573" cy="432000"/>
          </a:xfrm>
        </p:grpSpPr>
        <p:grpSp>
          <p:nvGrpSpPr>
            <p:cNvPr id="614" name="Group 613">
              <a:extLst>
                <a:ext uri="{FF2B5EF4-FFF2-40B4-BE49-F238E27FC236}">
                  <a16:creationId xmlns:a16="http://schemas.microsoft.com/office/drawing/2014/main" id="{521815EF-4595-4D82-B984-4A720ECF6080}"/>
                </a:ext>
              </a:extLst>
            </p:cNvPr>
            <p:cNvGrpSpPr/>
            <p:nvPr/>
          </p:nvGrpSpPr>
          <p:grpSpPr>
            <a:xfrm>
              <a:off x="7203569" y="4002611"/>
              <a:ext cx="222039" cy="143165"/>
              <a:chOff x="1835866" y="1626758"/>
              <a:chExt cx="249162" cy="160653"/>
            </a:xfrm>
          </p:grpSpPr>
          <p:sp>
            <p:nvSpPr>
              <p:cNvPr id="641" name="Freihandform: Form 320">
                <a:extLst>
                  <a:ext uri="{FF2B5EF4-FFF2-40B4-BE49-F238E27FC236}">
                    <a16:creationId xmlns:a16="http://schemas.microsoft.com/office/drawing/2014/main" id="{C9F34BD7-18D6-4687-BD8B-5A2E0EC506BB}"/>
                  </a:ext>
                </a:extLst>
              </p:cNvPr>
              <p:cNvSpPr/>
              <p:nvPr/>
            </p:nvSpPr>
            <p:spPr>
              <a:xfrm>
                <a:off x="1891751" y="1700467"/>
                <a:ext cx="137657" cy="46708"/>
              </a:xfrm>
              <a:custGeom>
                <a:avLst/>
                <a:gdLst>
                  <a:gd name="connsiteX0" fmla="*/ 11405 w 137657"/>
                  <a:gd name="connsiteY0" fmla="*/ 46708 h 46708"/>
                  <a:gd name="connsiteX1" fmla="*/ 0 w 137657"/>
                  <a:gd name="connsiteY1" fmla="*/ 40263 h 46708"/>
                  <a:gd name="connsiteX2" fmla="*/ 68935 w 137657"/>
                  <a:gd name="connsiteY2" fmla="*/ 0 h 46708"/>
                  <a:gd name="connsiteX3" fmla="*/ 137657 w 137657"/>
                  <a:gd name="connsiteY3" fmla="*/ 39918 h 46708"/>
                  <a:gd name="connsiteX4" fmla="*/ 126279 w 137657"/>
                  <a:gd name="connsiteY4" fmla="*/ 46416 h 46708"/>
                  <a:gd name="connsiteX5" fmla="*/ 68935 w 137657"/>
                  <a:gd name="connsiteY5" fmla="*/ 13103 h 46708"/>
                  <a:gd name="connsiteX6" fmla="*/ 11405 w 137657"/>
                  <a:gd name="connsiteY6" fmla="*/ 46708 h 4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657" h="46708">
                    <a:moveTo>
                      <a:pt x="11405" y="46708"/>
                    </a:moveTo>
                    <a:lnTo>
                      <a:pt x="0" y="40263"/>
                    </a:lnTo>
                    <a:cubicBezTo>
                      <a:pt x="14031" y="15437"/>
                      <a:pt x="40422" y="0"/>
                      <a:pt x="68935" y="0"/>
                    </a:cubicBezTo>
                    <a:cubicBezTo>
                      <a:pt x="97262" y="0"/>
                      <a:pt x="123600" y="15304"/>
                      <a:pt x="137657" y="39918"/>
                    </a:cubicBezTo>
                    <a:lnTo>
                      <a:pt x="126279" y="46416"/>
                    </a:lnTo>
                    <a:cubicBezTo>
                      <a:pt x="114529" y="25860"/>
                      <a:pt x="92567" y="13103"/>
                      <a:pt x="68935" y="13103"/>
                    </a:cubicBezTo>
                    <a:cubicBezTo>
                      <a:pt x="45143" y="13129"/>
                      <a:pt x="23102" y="25993"/>
                      <a:pt x="11405" y="46708"/>
                    </a:cubicBezTo>
                    <a:close/>
                  </a:path>
                </a:pathLst>
              </a:custGeom>
              <a:solidFill>
                <a:schemeClr val="accent1"/>
              </a:solidFill>
              <a:ln w="2651" cap="flat">
                <a:noFill/>
                <a:prstDash val="solid"/>
                <a:miter/>
              </a:ln>
            </p:spPr>
            <p:txBody>
              <a:bodyPr rtlCol="0" anchor="ctr"/>
              <a:lstStyle/>
              <a:p>
                <a:endParaRPr lang="en-GB" dirty="0"/>
              </a:p>
            </p:txBody>
          </p:sp>
          <p:sp>
            <p:nvSpPr>
              <p:cNvPr id="642" name="Freihandform: Form 321">
                <a:extLst>
                  <a:ext uri="{FF2B5EF4-FFF2-40B4-BE49-F238E27FC236}">
                    <a16:creationId xmlns:a16="http://schemas.microsoft.com/office/drawing/2014/main" id="{2A4FD2CC-44B6-4033-9986-471C22AF851C}"/>
                  </a:ext>
                </a:extLst>
              </p:cNvPr>
              <p:cNvSpPr/>
              <p:nvPr/>
            </p:nvSpPr>
            <p:spPr>
              <a:xfrm>
                <a:off x="1919601" y="1732719"/>
                <a:ext cx="82063" cy="30608"/>
              </a:xfrm>
              <a:custGeom>
                <a:avLst/>
                <a:gdLst>
                  <a:gd name="connsiteX0" fmla="*/ 11485 w 82063"/>
                  <a:gd name="connsiteY0" fmla="*/ 30608 h 30608"/>
                  <a:gd name="connsiteX1" fmla="*/ 0 w 82063"/>
                  <a:gd name="connsiteY1" fmla="*/ 24269 h 30608"/>
                  <a:gd name="connsiteX2" fmla="*/ 41058 w 82063"/>
                  <a:gd name="connsiteY2" fmla="*/ 0 h 30608"/>
                  <a:gd name="connsiteX3" fmla="*/ 82064 w 82063"/>
                  <a:gd name="connsiteY3" fmla="*/ 24136 h 30608"/>
                  <a:gd name="connsiteX4" fmla="*/ 70606 w 82063"/>
                  <a:gd name="connsiteY4" fmla="*/ 30502 h 30608"/>
                  <a:gd name="connsiteX5" fmla="*/ 41085 w 82063"/>
                  <a:gd name="connsiteY5" fmla="*/ 13103 h 30608"/>
                  <a:gd name="connsiteX6" fmla="*/ 11485 w 82063"/>
                  <a:gd name="connsiteY6" fmla="*/ 30608 h 3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063" h="30608">
                    <a:moveTo>
                      <a:pt x="11485" y="30608"/>
                    </a:moveTo>
                    <a:lnTo>
                      <a:pt x="0" y="24269"/>
                    </a:lnTo>
                    <a:cubicBezTo>
                      <a:pt x="8249" y="9283"/>
                      <a:pt x="23977" y="0"/>
                      <a:pt x="41058" y="0"/>
                    </a:cubicBezTo>
                    <a:cubicBezTo>
                      <a:pt x="58087" y="0"/>
                      <a:pt x="73789" y="9257"/>
                      <a:pt x="82064" y="24136"/>
                    </a:cubicBezTo>
                    <a:lnTo>
                      <a:pt x="70606" y="30502"/>
                    </a:lnTo>
                    <a:cubicBezTo>
                      <a:pt x="64638" y="19760"/>
                      <a:pt x="53339" y="13103"/>
                      <a:pt x="41085" y="13103"/>
                    </a:cubicBezTo>
                    <a:cubicBezTo>
                      <a:pt x="28752" y="13103"/>
                      <a:pt x="17426" y="19813"/>
                      <a:pt x="11485" y="30608"/>
                    </a:cubicBezTo>
                    <a:close/>
                  </a:path>
                </a:pathLst>
              </a:custGeom>
              <a:solidFill>
                <a:schemeClr val="accent1"/>
              </a:solidFill>
              <a:ln w="2651" cap="flat">
                <a:noFill/>
                <a:prstDash val="solid"/>
                <a:miter/>
              </a:ln>
            </p:spPr>
            <p:txBody>
              <a:bodyPr rtlCol="0" anchor="ctr"/>
              <a:lstStyle/>
              <a:p>
                <a:endParaRPr lang="en-GB" dirty="0"/>
              </a:p>
            </p:txBody>
          </p:sp>
          <p:sp>
            <p:nvSpPr>
              <p:cNvPr id="643" name="Freihandform: Form 322">
                <a:extLst>
                  <a:ext uri="{FF2B5EF4-FFF2-40B4-BE49-F238E27FC236}">
                    <a16:creationId xmlns:a16="http://schemas.microsoft.com/office/drawing/2014/main" id="{1F8CFD38-9085-495E-9EE8-3CC8F3280BC0}"/>
                  </a:ext>
                </a:extLst>
              </p:cNvPr>
              <p:cNvSpPr/>
              <p:nvPr/>
            </p:nvSpPr>
            <p:spPr>
              <a:xfrm>
                <a:off x="1944135" y="1760914"/>
                <a:ext cx="32783" cy="16099"/>
              </a:xfrm>
              <a:custGeom>
                <a:avLst/>
                <a:gdLst>
                  <a:gd name="connsiteX0" fmla="*/ 11617 w 32783"/>
                  <a:gd name="connsiteY0" fmla="*/ 16100 h 16099"/>
                  <a:gd name="connsiteX1" fmla="*/ 0 w 32783"/>
                  <a:gd name="connsiteY1" fmla="*/ 9999 h 16099"/>
                  <a:gd name="connsiteX2" fmla="*/ 16524 w 32783"/>
                  <a:gd name="connsiteY2" fmla="*/ 0 h 16099"/>
                  <a:gd name="connsiteX3" fmla="*/ 32783 w 32783"/>
                  <a:gd name="connsiteY3" fmla="*/ 9522 h 16099"/>
                  <a:gd name="connsiteX4" fmla="*/ 21351 w 32783"/>
                  <a:gd name="connsiteY4" fmla="*/ 15941 h 16099"/>
                  <a:gd name="connsiteX5" fmla="*/ 11617 w 32783"/>
                  <a:gd name="connsiteY5" fmla="*/ 16100 h 1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83" h="16099">
                    <a:moveTo>
                      <a:pt x="11617" y="16100"/>
                    </a:moveTo>
                    <a:lnTo>
                      <a:pt x="0" y="9999"/>
                    </a:lnTo>
                    <a:cubicBezTo>
                      <a:pt x="3236" y="3846"/>
                      <a:pt x="9575" y="0"/>
                      <a:pt x="16524" y="0"/>
                    </a:cubicBezTo>
                    <a:cubicBezTo>
                      <a:pt x="23261" y="0"/>
                      <a:pt x="29494" y="3660"/>
                      <a:pt x="32783" y="9522"/>
                    </a:cubicBezTo>
                    <a:lnTo>
                      <a:pt x="21351" y="15941"/>
                    </a:lnTo>
                    <a:cubicBezTo>
                      <a:pt x="19362" y="12413"/>
                      <a:pt x="13500" y="12493"/>
                      <a:pt x="11617" y="16100"/>
                    </a:cubicBezTo>
                    <a:close/>
                  </a:path>
                </a:pathLst>
              </a:custGeom>
              <a:solidFill>
                <a:schemeClr val="accent1"/>
              </a:solidFill>
              <a:ln w="2651" cap="flat">
                <a:noFill/>
                <a:prstDash val="solid"/>
                <a:miter/>
              </a:ln>
            </p:spPr>
            <p:txBody>
              <a:bodyPr rtlCol="0" anchor="ctr"/>
              <a:lstStyle/>
              <a:p>
                <a:endParaRPr lang="en-GB" dirty="0"/>
              </a:p>
            </p:txBody>
          </p:sp>
          <p:sp>
            <p:nvSpPr>
              <p:cNvPr id="644" name="Freihandform: Form 323">
                <a:extLst>
                  <a:ext uri="{FF2B5EF4-FFF2-40B4-BE49-F238E27FC236}">
                    <a16:creationId xmlns:a16="http://schemas.microsoft.com/office/drawing/2014/main" id="{3705E3CF-FDA8-4C5F-9B8F-C29799ABD509}"/>
                  </a:ext>
                </a:extLst>
              </p:cNvPr>
              <p:cNvSpPr/>
              <p:nvPr/>
            </p:nvSpPr>
            <p:spPr>
              <a:xfrm>
                <a:off x="1835866" y="1626758"/>
                <a:ext cx="249162" cy="160653"/>
              </a:xfrm>
              <a:custGeom>
                <a:avLst/>
                <a:gdLst>
                  <a:gd name="connsiteX0" fmla="*/ 190174 w 249162"/>
                  <a:gd name="connsiteY0" fmla="*/ 160653 h 160653"/>
                  <a:gd name="connsiteX1" fmla="*/ 190174 w 249162"/>
                  <a:gd name="connsiteY1" fmla="*/ 147551 h 160653"/>
                  <a:gd name="connsiteX2" fmla="*/ 236060 w 249162"/>
                  <a:gd name="connsiteY2" fmla="*/ 104927 h 160653"/>
                  <a:gd name="connsiteX3" fmla="*/ 178504 w 249162"/>
                  <a:gd name="connsiteY3" fmla="*/ 63763 h 160653"/>
                  <a:gd name="connsiteX4" fmla="*/ 170096 w 249162"/>
                  <a:gd name="connsiteY4" fmla="*/ 65805 h 160653"/>
                  <a:gd name="connsiteX5" fmla="*/ 170441 w 249162"/>
                  <a:gd name="connsiteY5" fmla="*/ 56230 h 160653"/>
                  <a:gd name="connsiteX6" fmla="*/ 124581 w 249162"/>
                  <a:gd name="connsiteY6" fmla="*/ 13129 h 160653"/>
                  <a:gd name="connsiteX7" fmla="*/ 78695 w 249162"/>
                  <a:gd name="connsiteY7" fmla="*/ 55753 h 160653"/>
                  <a:gd name="connsiteX8" fmla="*/ 79093 w 249162"/>
                  <a:gd name="connsiteY8" fmla="*/ 65805 h 160653"/>
                  <a:gd name="connsiteX9" fmla="*/ 70685 w 249162"/>
                  <a:gd name="connsiteY9" fmla="*/ 63763 h 160653"/>
                  <a:gd name="connsiteX10" fmla="*/ 13129 w 249162"/>
                  <a:gd name="connsiteY10" fmla="*/ 104927 h 160653"/>
                  <a:gd name="connsiteX11" fmla="*/ 59015 w 249162"/>
                  <a:gd name="connsiteY11" fmla="*/ 147551 h 160653"/>
                  <a:gd name="connsiteX12" fmla="*/ 59015 w 249162"/>
                  <a:gd name="connsiteY12" fmla="*/ 160653 h 160653"/>
                  <a:gd name="connsiteX13" fmla="*/ 0 w 249162"/>
                  <a:gd name="connsiteY13" fmla="*/ 104927 h 160653"/>
                  <a:gd name="connsiteX14" fmla="*/ 65911 w 249162"/>
                  <a:gd name="connsiteY14" fmla="*/ 49599 h 160653"/>
                  <a:gd name="connsiteX15" fmla="*/ 124608 w 249162"/>
                  <a:gd name="connsiteY15" fmla="*/ 0 h 160653"/>
                  <a:gd name="connsiteX16" fmla="*/ 183251 w 249162"/>
                  <a:gd name="connsiteY16" fmla="*/ 49573 h 160653"/>
                  <a:gd name="connsiteX17" fmla="*/ 249162 w 249162"/>
                  <a:gd name="connsiteY17" fmla="*/ 104901 h 160653"/>
                  <a:gd name="connsiteX18" fmla="*/ 190174 w 249162"/>
                  <a:gd name="connsiteY18" fmla="*/ 160653 h 16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9162" h="160653">
                    <a:moveTo>
                      <a:pt x="190174" y="160653"/>
                    </a:moveTo>
                    <a:lnTo>
                      <a:pt x="190174" y="147551"/>
                    </a:lnTo>
                    <a:cubicBezTo>
                      <a:pt x="215478" y="147551"/>
                      <a:pt x="236060" y="128427"/>
                      <a:pt x="236060" y="104927"/>
                    </a:cubicBezTo>
                    <a:cubicBezTo>
                      <a:pt x="236060" y="77926"/>
                      <a:pt x="208873" y="56363"/>
                      <a:pt x="178504" y="63763"/>
                    </a:cubicBezTo>
                    <a:lnTo>
                      <a:pt x="170096" y="65805"/>
                    </a:lnTo>
                    <a:lnTo>
                      <a:pt x="170441" y="56230"/>
                    </a:lnTo>
                    <a:cubicBezTo>
                      <a:pt x="170467" y="32253"/>
                      <a:pt x="149885" y="13129"/>
                      <a:pt x="124581" y="13129"/>
                    </a:cubicBezTo>
                    <a:cubicBezTo>
                      <a:pt x="99278" y="13129"/>
                      <a:pt x="78695" y="32253"/>
                      <a:pt x="78695" y="55753"/>
                    </a:cubicBezTo>
                    <a:lnTo>
                      <a:pt x="79093" y="65805"/>
                    </a:lnTo>
                    <a:lnTo>
                      <a:pt x="70685" y="63763"/>
                    </a:lnTo>
                    <a:cubicBezTo>
                      <a:pt x="40342" y="56389"/>
                      <a:pt x="13129" y="77926"/>
                      <a:pt x="13129" y="104927"/>
                    </a:cubicBezTo>
                    <a:cubicBezTo>
                      <a:pt x="13129" y="128427"/>
                      <a:pt x="33711" y="147551"/>
                      <a:pt x="59015" y="147551"/>
                    </a:cubicBezTo>
                    <a:lnTo>
                      <a:pt x="59015" y="160653"/>
                    </a:lnTo>
                    <a:cubicBezTo>
                      <a:pt x="26471" y="160653"/>
                      <a:pt x="0" y="135642"/>
                      <a:pt x="0" y="104927"/>
                    </a:cubicBezTo>
                    <a:cubicBezTo>
                      <a:pt x="0" y="72038"/>
                      <a:pt x="30423" y="45488"/>
                      <a:pt x="65911" y="49599"/>
                    </a:cubicBezTo>
                    <a:cubicBezTo>
                      <a:pt x="69200" y="21723"/>
                      <a:pt x="94265" y="0"/>
                      <a:pt x="124608" y="0"/>
                    </a:cubicBezTo>
                    <a:cubicBezTo>
                      <a:pt x="154951" y="0"/>
                      <a:pt x="180015" y="21723"/>
                      <a:pt x="183251" y="49573"/>
                    </a:cubicBezTo>
                    <a:cubicBezTo>
                      <a:pt x="218766" y="45461"/>
                      <a:pt x="249162" y="72012"/>
                      <a:pt x="249162" y="104901"/>
                    </a:cubicBezTo>
                    <a:cubicBezTo>
                      <a:pt x="249189" y="135642"/>
                      <a:pt x="222718" y="160653"/>
                      <a:pt x="190174" y="160653"/>
                    </a:cubicBezTo>
                    <a:close/>
                  </a:path>
                </a:pathLst>
              </a:custGeom>
              <a:solidFill>
                <a:schemeClr val="accent1"/>
              </a:solidFill>
              <a:ln w="2651" cap="flat">
                <a:noFill/>
                <a:prstDash val="solid"/>
                <a:miter/>
              </a:ln>
            </p:spPr>
            <p:txBody>
              <a:bodyPr rtlCol="0" anchor="ctr"/>
              <a:lstStyle/>
              <a:p>
                <a:endParaRPr lang="en-GB" dirty="0"/>
              </a:p>
            </p:txBody>
          </p:sp>
        </p:grpSp>
        <p:grpSp>
          <p:nvGrpSpPr>
            <p:cNvPr id="615" name="Group 614">
              <a:extLst>
                <a:ext uri="{FF2B5EF4-FFF2-40B4-BE49-F238E27FC236}">
                  <a16:creationId xmlns:a16="http://schemas.microsoft.com/office/drawing/2014/main" id="{0CD370E5-7056-4822-9978-446C1392173C}"/>
                </a:ext>
              </a:extLst>
            </p:cNvPr>
            <p:cNvGrpSpPr/>
            <p:nvPr/>
          </p:nvGrpSpPr>
          <p:grpSpPr>
            <a:xfrm>
              <a:off x="7138522" y="4154143"/>
              <a:ext cx="350573" cy="280468"/>
              <a:chOff x="1762873" y="1796800"/>
              <a:chExt cx="393397" cy="314729"/>
            </a:xfrm>
          </p:grpSpPr>
          <p:sp>
            <p:nvSpPr>
              <p:cNvPr id="616" name="Freihandform: Form 318">
                <a:extLst>
                  <a:ext uri="{FF2B5EF4-FFF2-40B4-BE49-F238E27FC236}">
                    <a16:creationId xmlns:a16="http://schemas.microsoft.com/office/drawing/2014/main" id="{734134B7-3349-49EF-B913-F17998AB6F32}"/>
                  </a:ext>
                </a:extLst>
              </p:cNvPr>
              <p:cNvSpPr/>
              <p:nvPr/>
            </p:nvSpPr>
            <p:spPr>
              <a:xfrm>
                <a:off x="1887454" y="1829583"/>
                <a:ext cx="144235" cy="281945"/>
              </a:xfrm>
              <a:custGeom>
                <a:avLst/>
                <a:gdLst>
                  <a:gd name="connsiteX0" fmla="*/ 137684 w 144235"/>
                  <a:gd name="connsiteY0" fmla="*/ 281946 h 281945"/>
                  <a:gd name="connsiteX1" fmla="*/ 6551 w 144235"/>
                  <a:gd name="connsiteY1" fmla="*/ 281946 h 281945"/>
                  <a:gd name="connsiteX2" fmla="*/ 0 w 144235"/>
                  <a:gd name="connsiteY2" fmla="*/ 275394 h 281945"/>
                  <a:gd name="connsiteX3" fmla="*/ 0 w 144235"/>
                  <a:gd name="connsiteY3" fmla="*/ 6551 h 281945"/>
                  <a:gd name="connsiteX4" fmla="*/ 6551 w 144235"/>
                  <a:gd name="connsiteY4" fmla="*/ 0 h 281945"/>
                  <a:gd name="connsiteX5" fmla="*/ 137684 w 144235"/>
                  <a:gd name="connsiteY5" fmla="*/ 0 h 281945"/>
                  <a:gd name="connsiteX6" fmla="*/ 144235 w 144235"/>
                  <a:gd name="connsiteY6" fmla="*/ 6551 h 281945"/>
                  <a:gd name="connsiteX7" fmla="*/ 144235 w 144235"/>
                  <a:gd name="connsiteY7" fmla="*/ 275394 h 281945"/>
                  <a:gd name="connsiteX8" fmla="*/ 137684 w 144235"/>
                  <a:gd name="connsiteY8" fmla="*/ 281946 h 281945"/>
                  <a:gd name="connsiteX9" fmla="*/ 13103 w 144235"/>
                  <a:gd name="connsiteY9" fmla="*/ 268817 h 281945"/>
                  <a:gd name="connsiteX10" fmla="*/ 131133 w 144235"/>
                  <a:gd name="connsiteY10" fmla="*/ 268817 h 281945"/>
                  <a:gd name="connsiteX11" fmla="*/ 131133 w 144235"/>
                  <a:gd name="connsiteY11" fmla="*/ 13103 h 281945"/>
                  <a:gd name="connsiteX12" fmla="*/ 13103 w 144235"/>
                  <a:gd name="connsiteY12" fmla="*/ 13103 h 281945"/>
                  <a:gd name="connsiteX13" fmla="*/ 13103 w 144235"/>
                  <a:gd name="connsiteY13" fmla="*/ 268817 h 28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235" h="281945">
                    <a:moveTo>
                      <a:pt x="137684" y="281946"/>
                    </a:moveTo>
                    <a:lnTo>
                      <a:pt x="6551" y="281946"/>
                    </a:lnTo>
                    <a:cubicBezTo>
                      <a:pt x="2918" y="281946"/>
                      <a:pt x="0" y="279002"/>
                      <a:pt x="0" y="275394"/>
                    </a:cubicBezTo>
                    <a:lnTo>
                      <a:pt x="0" y="6551"/>
                    </a:lnTo>
                    <a:cubicBezTo>
                      <a:pt x="0" y="2918"/>
                      <a:pt x="2944" y="0"/>
                      <a:pt x="6551" y="0"/>
                    </a:cubicBezTo>
                    <a:lnTo>
                      <a:pt x="137684" y="0"/>
                    </a:lnTo>
                    <a:cubicBezTo>
                      <a:pt x="141318" y="0"/>
                      <a:pt x="144235" y="2944"/>
                      <a:pt x="144235" y="6551"/>
                    </a:cubicBezTo>
                    <a:lnTo>
                      <a:pt x="144235" y="275394"/>
                    </a:lnTo>
                    <a:cubicBezTo>
                      <a:pt x="144235" y="279002"/>
                      <a:pt x="141291" y="281946"/>
                      <a:pt x="137684" y="281946"/>
                    </a:cubicBezTo>
                    <a:close/>
                    <a:moveTo>
                      <a:pt x="13103" y="268817"/>
                    </a:moveTo>
                    <a:lnTo>
                      <a:pt x="131133" y="268817"/>
                    </a:lnTo>
                    <a:lnTo>
                      <a:pt x="131133" y="13103"/>
                    </a:lnTo>
                    <a:lnTo>
                      <a:pt x="13103" y="13103"/>
                    </a:lnTo>
                    <a:lnTo>
                      <a:pt x="13103" y="268817"/>
                    </a:lnTo>
                    <a:close/>
                  </a:path>
                </a:pathLst>
              </a:custGeom>
              <a:solidFill>
                <a:schemeClr val="tx2"/>
              </a:solidFill>
              <a:ln w="2651" cap="flat">
                <a:noFill/>
                <a:prstDash val="solid"/>
                <a:miter/>
              </a:ln>
            </p:spPr>
            <p:txBody>
              <a:bodyPr rtlCol="0" anchor="ctr"/>
              <a:lstStyle/>
              <a:p>
                <a:endParaRPr lang="en-GB" dirty="0"/>
              </a:p>
            </p:txBody>
          </p:sp>
          <p:sp>
            <p:nvSpPr>
              <p:cNvPr id="617" name="Freihandform: Form 324">
                <a:extLst>
                  <a:ext uri="{FF2B5EF4-FFF2-40B4-BE49-F238E27FC236}">
                    <a16:creationId xmlns:a16="http://schemas.microsoft.com/office/drawing/2014/main" id="{CD2F3DEE-30F7-4FC2-A81A-03CB8C4B2BB9}"/>
                  </a:ext>
                </a:extLst>
              </p:cNvPr>
              <p:cNvSpPr/>
              <p:nvPr/>
            </p:nvSpPr>
            <p:spPr>
              <a:xfrm>
                <a:off x="1907108" y="1796800"/>
                <a:ext cx="104900" cy="45885"/>
              </a:xfrm>
              <a:custGeom>
                <a:avLst/>
                <a:gdLst>
                  <a:gd name="connsiteX0" fmla="*/ 98349 w 104900"/>
                  <a:gd name="connsiteY0" fmla="*/ 45886 h 45885"/>
                  <a:gd name="connsiteX1" fmla="*/ 6551 w 104900"/>
                  <a:gd name="connsiteY1" fmla="*/ 45886 h 45885"/>
                  <a:gd name="connsiteX2" fmla="*/ 0 w 104900"/>
                  <a:gd name="connsiteY2" fmla="*/ 39334 h 45885"/>
                  <a:gd name="connsiteX3" fmla="*/ 0 w 104900"/>
                  <a:gd name="connsiteY3" fmla="*/ 6551 h 45885"/>
                  <a:gd name="connsiteX4" fmla="*/ 6551 w 104900"/>
                  <a:gd name="connsiteY4" fmla="*/ 0 h 45885"/>
                  <a:gd name="connsiteX5" fmla="*/ 98349 w 104900"/>
                  <a:gd name="connsiteY5" fmla="*/ 0 h 45885"/>
                  <a:gd name="connsiteX6" fmla="*/ 104901 w 104900"/>
                  <a:gd name="connsiteY6" fmla="*/ 6551 h 45885"/>
                  <a:gd name="connsiteX7" fmla="*/ 104901 w 104900"/>
                  <a:gd name="connsiteY7" fmla="*/ 39334 h 45885"/>
                  <a:gd name="connsiteX8" fmla="*/ 98349 w 104900"/>
                  <a:gd name="connsiteY8" fmla="*/ 45886 h 45885"/>
                  <a:gd name="connsiteX9" fmla="*/ 13103 w 104900"/>
                  <a:gd name="connsiteY9" fmla="*/ 32783 h 45885"/>
                  <a:gd name="connsiteX10" fmla="*/ 91772 w 104900"/>
                  <a:gd name="connsiteY10" fmla="*/ 32783 h 45885"/>
                  <a:gd name="connsiteX11" fmla="*/ 91772 w 104900"/>
                  <a:gd name="connsiteY11" fmla="*/ 13103 h 45885"/>
                  <a:gd name="connsiteX12" fmla="*/ 13103 w 104900"/>
                  <a:gd name="connsiteY12" fmla="*/ 13103 h 45885"/>
                  <a:gd name="connsiteX13" fmla="*/ 13103 w 104900"/>
                  <a:gd name="connsiteY13" fmla="*/ 32783 h 45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900" h="45885">
                    <a:moveTo>
                      <a:pt x="98349" y="45886"/>
                    </a:moveTo>
                    <a:lnTo>
                      <a:pt x="6551" y="45886"/>
                    </a:lnTo>
                    <a:cubicBezTo>
                      <a:pt x="2918" y="45886"/>
                      <a:pt x="0" y="42942"/>
                      <a:pt x="0" y="39334"/>
                    </a:cubicBezTo>
                    <a:lnTo>
                      <a:pt x="0" y="6551"/>
                    </a:lnTo>
                    <a:cubicBezTo>
                      <a:pt x="0" y="2918"/>
                      <a:pt x="2944" y="0"/>
                      <a:pt x="6551" y="0"/>
                    </a:cubicBezTo>
                    <a:lnTo>
                      <a:pt x="98349" y="0"/>
                    </a:lnTo>
                    <a:cubicBezTo>
                      <a:pt x="101983" y="0"/>
                      <a:pt x="104901" y="2944"/>
                      <a:pt x="104901" y="6551"/>
                    </a:cubicBezTo>
                    <a:lnTo>
                      <a:pt x="104901" y="39334"/>
                    </a:lnTo>
                    <a:cubicBezTo>
                      <a:pt x="104901" y="42968"/>
                      <a:pt x="101983" y="45886"/>
                      <a:pt x="98349" y="45886"/>
                    </a:cubicBezTo>
                    <a:close/>
                    <a:moveTo>
                      <a:pt x="13103" y="32783"/>
                    </a:moveTo>
                    <a:lnTo>
                      <a:pt x="91772" y="32783"/>
                    </a:lnTo>
                    <a:lnTo>
                      <a:pt x="91772" y="13103"/>
                    </a:lnTo>
                    <a:lnTo>
                      <a:pt x="13103" y="13103"/>
                    </a:lnTo>
                    <a:lnTo>
                      <a:pt x="13103" y="32783"/>
                    </a:lnTo>
                    <a:close/>
                  </a:path>
                </a:pathLst>
              </a:custGeom>
              <a:solidFill>
                <a:schemeClr val="tx2"/>
              </a:solidFill>
              <a:ln w="2651" cap="flat">
                <a:noFill/>
                <a:prstDash val="solid"/>
                <a:miter/>
              </a:ln>
            </p:spPr>
            <p:txBody>
              <a:bodyPr rtlCol="0" anchor="ctr"/>
              <a:lstStyle/>
              <a:p>
                <a:endParaRPr lang="en-GB" dirty="0"/>
              </a:p>
            </p:txBody>
          </p:sp>
          <p:sp>
            <p:nvSpPr>
              <p:cNvPr id="618" name="Freihandform: Form 326">
                <a:extLst>
                  <a:ext uri="{FF2B5EF4-FFF2-40B4-BE49-F238E27FC236}">
                    <a16:creationId xmlns:a16="http://schemas.microsoft.com/office/drawing/2014/main" id="{16352CAD-02D9-4953-8940-F07F1D0DDD32}"/>
                  </a:ext>
                </a:extLst>
              </p:cNvPr>
              <p:cNvSpPr/>
              <p:nvPr/>
            </p:nvSpPr>
            <p:spPr>
              <a:xfrm>
                <a:off x="1920211" y="1868918"/>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19" name="Freihandform: Form 327">
                <a:extLst>
                  <a:ext uri="{FF2B5EF4-FFF2-40B4-BE49-F238E27FC236}">
                    <a16:creationId xmlns:a16="http://schemas.microsoft.com/office/drawing/2014/main" id="{508657F1-5B6B-4DBC-A836-CC1E72DA2AED}"/>
                  </a:ext>
                </a:extLst>
              </p:cNvPr>
              <p:cNvSpPr/>
              <p:nvPr/>
            </p:nvSpPr>
            <p:spPr>
              <a:xfrm>
                <a:off x="1972674" y="1868918"/>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20" name="Freihandform: Form 329">
                <a:extLst>
                  <a:ext uri="{FF2B5EF4-FFF2-40B4-BE49-F238E27FC236}">
                    <a16:creationId xmlns:a16="http://schemas.microsoft.com/office/drawing/2014/main" id="{5DB3B258-98DD-4B75-95A0-60B2026E23A4}"/>
                  </a:ext>
                </a:extLst>
              </p:cNvPr>
              <p:cNvSpPr/>
              <p:nvPr/>
            </p:nvSpPr>
            <p:spPr>
              <a:xfrm>
                <a:off x="1920211" y="1908252"/>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21" name="Freihandform: Form 330">
                <a:extLst>
                  <a:ext uri="{FF2B5EF4-FFF2-40B4-BE49-F238E27FC236}">
                    <a16:creationId xmlns:a16="http://schemas.microsoft.com/office/drawing/2014/main" id="{2595C9B8-0F7A-4930-AA66-EF60F05C4ED2}"/>
                  </a:ext>
                </a:extLst>
              </p:cNvPr>
              <p:cNvSpPr/>
              <p:nvPr/>
            </p:nvSpPr>
            <p:spPr>
              <a:xfrm>
                <a:off x="1972674" y="1908252"/>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22" name="Freihandform: Form 332">
                <a:extLst>
                  <a:ext uri="{FF2B5EF4-FFF2-40B4-BE49-F238E27FC236}">
                    <a16:creationId xmlns:a16="http://schemas.microsoft.com/office/drawing/2014/main" id="{91F4CD88-709C-44DD-AF52-DCC0F59CCDE1}"/>
                  </a:ext>
                </a:extLst>
              </p:cNvPr>
              <p:cNvSpPr/>
              <p:nvPr/>
            </p:nvSpPr>
            <p:spPr>
              <a:xfrm>
                <a:off x="1920211" y="2000050"/>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23" name="Freihandform: Form 333">
                <a:extLst>
                  <a:ext uri="{FF2B5EF4-FFF2-40B4-BE49-F238E27FC236}">
                    <a16:creationId xmlns:a16="http://schemas.microsoft.com/office/drawing/2014/main" id="{9C2B54B1-542A-4A7C-AA93-E27F91FEFCAE}"/>
                  </a:ext>
                </a:extLst>
              </p:cNvPr>
              <p:cNvSpPr/>
              <p:nvPr/>
            </p:nvSpPr>
            <p:spPr>
              <a:xfrm>
                <a:off x="1972674" y="2000050"/>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24" name="Freihandform: Form 335">
                <a:extLst>
                  <a:ext uri="{FF2B5EF4-FFF2-40B4-BE49-F238E27FC236}">
                    <a16:creationId xmlns:a16="http://schemas.microsoft.com/office/drawing/2014/main" id="{8744EC6E-BE4F-4D23-8129-337A7F02280E}"/>
                  </a:ext>
                </a:extLst>
              </p:cNvPr>
              <p:cNvSpPr/>
              <p:nvPr/>
            </p:nvSpPr>
            <p:spPr>
              <a:xfrm>
                <a:off x="1920211" y="1947613"/>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25" name="Freihandform: Form 336">
                <a:extLst>
                  <a:ext uri="{FF2B5EF4-FFF2-40B4-BE49-F238E27FC236}">
                    <a16:creationId xmlns:a16="http://schemas.microsoft.com/office/drawing/2014/main" id="{6645B9E6-42B7-4FA8-82A0-8DB6F91E3386}"/>
                  </a:ext>
                </a:extLst>
              </p:cNvPr>
              <p:cNvSpPr/>
              <p:nvPr/>
            </p:nvSpPr>
            <p:spPr>
              <a:xfrm>
                <a:off x="1972674" y="1947613"/>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26" name="Freihandform: Form 338">
                <a:extLst>
                  <a:ext uri="{FF2B5EF4-FFF2-40B4-BE49-F238E27FC236}">
                    <a16:creationId xmlns:a16="http://schemas.microsoft.com/office/drawing/2014/main" id="{CB31CA93-0DE0-47E4-8D8C-54981AF05E9A}"/>
                  </a:ext>
                </a:extLst>
              </p:cNvPr>
              <p:cNvSpPr/>
              <p:nvPr/>
            </p:nvSpPr>
            <p:spPr>
              <a:xfrm>
                <a:off x="1920211" y="2039411"/>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27" name="Freihandform: Form 339">
                <a:extLst>
                  <a:ext uri="{FF2B5EF4-FFF2-40B4-BE49-F238E27FC236}">
                    <a16:creationId xmlns:a16="http://schemas.microsoft.com/office/drawing/2014/main" id="{3D6A53B7-7CB3-48EC-972B-EFF91B162CFA}"/>
                  </a:ext>
                </a:extLst>
              </p:cNvPr>
              <p:cNvSpPr/>
              <p:nvPr/>
            </p:nvSpPr>
            <p:spPr>
              <a:xfrm>
                <a:off x="1972674" y="2039411"/>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28" name="Freihandform: Form 341">
                <a:extLst>
                  <a:ext uri="{FF2B5EF4-FFF2-40B4-BE49-F238E27FC236}">
                    <a16:creationId xmlns:a16="http://schemas.microsoft.com/office/drawing/2014/main" id="{063368DA-DE6D-4A0A-812D-F8843B07A3D5}"/>
                  </a:ext>
                </a:extLst>
              </p:cNvPr>
              <p:cNvSpPr/>
              <p:nvPr/>
            </p:nvSpPr>
            <p:spPr>
              <a:xfrm>
                <a:off x="2018587" y="1868926"/>
                <a:ext cx="104900" cy="242603"/>
              </a:xfrm>
              <a:custGeom>
                <a:avLst/>
                <a:gdLst>
                  <a:gd name="connsiteX0" fmla="*/ 98349 w 104900"/>
                  <a:gd name="connsiteY0" fmla="*/ 242603 h 242603"/>
                  <a:gd name="connsiteX1" fmla="*/ 6551 w 104900"/>
                  <a:gd name="connsiteY1" fmla="*/ 242603 h 242603"/>
                  <a:gd name="connsiteX2" fmla="*/ 0 w 104900"/>
                  <a:gd name="connsiteY2" fmla="*/ 236052 h 242603"/>
                  <a:gd name="connsiteX3" fmla="*/ 0 w 104900"/>
                  <a:gd name="connsiteY3" fmla="*/ 6543 h 242603"/>
                  <a:gd name="connsiteX4" fmla="*/ 2944 w 104900"/>
                  <a:gd name="connsiteY4" fmla="*/ 1079 h 242603"/>
                  <a:gd name="connsiteX5" fmla="*/ 9124 w 104900"/>
                  <a:gd name="connsiteY5" fmla="*/ 522 h 242603"/>
                  <a:gd name="connsiteX6" fmla="*/ 100922 w 104900"/>
                  <a:gd name="connsiteY6" fmla="*/ 39857 h 242603"/>
                  <a:gd name="connsiteX7" fmla="*/ 104901 w 104900"/>
                  <a:gd name="connsiteY7" fmla="*/ 45878 h 242603"/>
                  <a:gd name="connsiteX8" fmla="*/ 104901 w 104900"/>
                  <a:gd name="connsiteY8" fmla="*/ 236025 h 242603"/>
                  <a:gd name="connsiteX9" fmla="*/ 98349 w 104900"/>
                  <a:gd name="connsiteY9" fmla="*/ 242603 h 242603"/>
                  <a:gd name="connsiteX10" fmla="*/ 13103 w 104900"/>
                  <a:gd name="connsiteY10" fmla="*/ 229474 h 242603"/>
                  <a:gd name="connsiteX11" fmla="*/ 91772 w 104900"/>
                  <a:gd name="connsiteY11" fmla="*/ 229474 h 242603"/>
                  <a:gd name="connsiteX12" fmla="*/ 91772 w 104900"/>
                  <a:gd name="connsiteY12" fmla="*/ 50201 h 242603"/>
                  <a:gd name="connsiteX13" fmla="*/ 13103 w 104900"/>
                  <a:gd name="connsiteY13" fmla="*/ 16489 h 242603"/>
                  <a:gd name="connsiteX14" fmla="*/ 13103 w 104900"/>
                  <a:gd name="connsiteY14" fmla="*/ 229474 h 24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900" h="242603">
                    <a:moveTo>
                      <a:pt x="98349" y="242603"/>
                    </a:moveTo>
                    <a:lnTo>
                      <a:pt x="6551" y="242603"/>
                    </a:lnTo>
                    <a:cubicBezTo>
                      <a:pt x="2918" y="242603"/>
                      <a:pt x="0" y="239659"/>
                      <a:pt x="0" y="236052"/>
                    </a:cubicBezTo>
                    <a:lnTo>
                      <a:pt x="0" y="6543"/>
                    </a:lnTo>
                    <a:cubicBezTo>
                      <a:pt x="0" y="4342"/>
                      <a:pt x="1114" y="2273"/>
                      <a:pt x="2944" y="1079"/>
                    </a:cubicBezTo>
                    <a:cubicBezTo>
                      <a:pt x="4774" y="-141"/>
                      <a:pt x="7108" y="-326"/>
                      <a:pt x="9124" y="522"/>
                    </a:cubicBezTo>
                    <a:lnTo>
                      <a:pt x="100922" y="39857"/>
                    </a:lnTo>
                    <a:cubicBezTo>
                      <a:pt x="103336" y="40891"/>
                      <a:pt x="104901" y="43252"/>
                      <a:pt x="104901" y="45878"/>
                    </a:cubicBezTo>
                    <a:lnTo>
                      <a:pt x="104901" y="236025"/>
                    </a:lnTo>
                    <a:cubicBezTo>
                      <a:pt x="104901" y="239659"/>
                      <a:pt x="101957" y="242603"/>
                      <a:pt x="98349" y="242603"/>
                    </a:cubicBezTo>
                    <a:close/>
                    <a:moveTo>
                      <a:pt x="13103" y="229474"/>
                    </a:moveTo>
                    <a:lnTo>
                      <a:pt x="91772" y="229474"/>
                    </a:lnTo>
                    <a:lnTo>
                      <a:pt x="91772" y="50201"/>
                    </a:lnTo>
                    <a:lnTo>
                      <a:pt x="13103" y="16489"/>
                    </a:lnTo>
                    <a:lnTo>
                      <a:pt x="13103" y="229474"/>
                    </a:lnTo>
                    <a:close/>
                  </a:path>
                </a:pathLst>
              </a:custGeom>
              <a:solidFill>
                <a:schemeClr val="tx2"/>
              </a:solidFill>
              <a:ln w="2651" cap="flat">
                <a:noFill/>
                <a:prstDash val="solid"/>
                <a:miter/>
              </a:ln>
            </p:spPr>
            <p:txBody>
              <a:bodyPr rtlCol="0" anchor="ctr"/>
              <a:lstStyle/>
              <a:p>
                <a:endParaRPr lang="en-GB" dirty="0"/>
              </a:p>
            </p:txBody>
          </p:sp>
          <p:sp>
            <p:nvSpPr>
              <p:cNvPr id="629" name="Freihandform: Form 342">
                <a:extLst>
                  <a:ext uri="{FF2B5EF4-FFF2-40B4-BE49-F238E27FC236}">
                    <a16:creationId xmlns:a16="http://schemas.microsoft.com/office/drawing/2014/main" id="{C0F49959-51DE-4446-B272-2F0F8AB95DC4}"/>
                  </a:ext>
                </a:extLst>
              </p:cNvPr>
              <p:cNvSpPr/>
              <p:nvPr/>
            </p:nvSpPr>
            <p:spPr>
              <a:xfrm>
                <a:off x="2090704" y="2000050"/>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30" name="Freihandform: Form 343">
                <a:extLst>
                  <a:ext uri="{FF2B5EF4-FFF2-40B4-BE49-F238E27FC236}">
                    <a16:creationId xmlns:a16="http://schemas.microsoft.com/office/drawing/2014/main" id="{6B6BEB01-A50F-420F-9FE6-6C42898559FE}"/>
                  </a:ext>
                </a:extLst>
              </p:cNvPr>
              <p:cNvSpPr/>
              <p:nvPr/>
            </p:nvSpPr>
            <p:spPr>
              <a:xfrm>
                <a:off x="2051343" y="2000050"/>
                <a:ext cx="19680" cy="13102"/>
              </a:xfrm>
              <a:custGeom>
                <a:avLst/>
                <a:gdLst>
                  <a:gd name="connsiteX0" fmla="*/ 0 w 19680"/>
                  <a:gd name="connsiteY0" fmla="*/ 0 h 13102"/>
                  <a:gd name="connsiteX1" fmla="*/ 19680 w 19680"/>
                  <a:gd name="connsiteY1" fmla="*/ 0 h 13102"/>
                  <a:gd name="connsiteX2" fmla="*/ 19680 w 19680"/>
                  <a:gd name="connsiteY2" fmla="*/ 13103 h 13102"/>
                  <a:gd name="connsiteX3" fmla="*/ 0 w 19680"/>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9680" h="13102">
                    <a:moveTo>
                      <a:pt x="0" y="0"/>
                    </a:moveTo>
                    <a:lnTo>
                      <a:pt x="19680" y="0"/>
                    </a:lnTo>
                    <a:lnTo>
                      <a:pt x="19680"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31" name="Freihandform: Form 344">
                <a:extLst>
                  <a:ext uri="{FF2B5EF4-FFF2-40B4-BE49-F238E27FC236}">
                    <a16:creationId xmlns:a16="http://schemas.microsoft.com/office/drawing/2014/main" id="{07A8A315-F08C-41F3-84C0-49A6EC5C26CB}"/>
                  </a:ext>
                </a:extLst>
              </p:cNvPr>
              <p:cNvSpPr/>
              <p:nvPr/>
            </p:nvSpPr>
            <p:spPr>
              <a:xfrm>
                <a:off x="2090704" y="2039411"/>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32" name="Freihandform: Form 345">
                <a:extLst>
                  <a:ext uri="{FF2B5EF4-FFF2-40B4-BE49-F238E27FC236}">
                    <a16:creationId xmlns:a16="http://schemas.microsoft.com/office/drawing/2014/main" id="{D6F8BF79-553A-495D-8A91-75D2A6592D4F}"/>
                  </a:ext>
                </a:extLst>
              </p:cNvPr>
              <p:cNvSpPr/>
              <p:nvPr/>
            </p:nvSpPr>
            <p:spPr>
              <a:xfrm>
                <a:off x="2051343" y="2039411"/>
                <a:ext cx="19680" cy="13102"/>
              </a:xfrm>
              <a:custGeom>
                <a:avLst/>
                <a:gdLst>
                  <a:gd name="connsiteX0" fmla="*/ 0 w 19680"/>
                  <a:gd name="connsiteY0" fmla="*/ 0 h 13102"/>
                  <a:gd name="connsiteX1" fmla="*/ 19680 w 19680"/>
                  <a:gd name="connsiteY1" fmla="*/ 0 h 13102"/>
                  <a:gd name="connsiteX2" fmla="*/ 19680 w 19680"/>
                  <a:gd name="connsiteY2" fmla="*/ 13103 h 13102"/>
                  <a:gd name="connsiteX3" fmla="*/ 0 w 19680"/>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9680" h="13102">
                    <a:moveTo>
                      <a:pt x="0" y="0"/>
                    </a:moveTo>
                    <a:lnTo>
                      <a:pt x="19680" y="0"/>
                    </a:lnTo>
                    <a:lnTo>
                      <a:pt x="19680"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33" name="Freihandform: Form 346">
                <a:extLst>
                  <a:ext uri="{FF2B5EF4-FFF2-40B4-BE49-F238E27FC236}">
                    <a16:creationId xmlns:a16="http://schemas.microsoft.com/office/drawing/2014/main" id="{9C2563C7-08EE-4E50-AD22-5414223E2C57}"/>
                  </a:ext>
                </a:extLst>
              </p:cNvPr>
              <p:cNvSpPr/>
              <p:nvPr/>
            </p:nvSpPr>
            <p:spPr>
              <a:xfrm>
                <a:off x="2084153" y="1947613"/>
                <a:ext cx="32783" cy="13102"/>
              </a:xfrm>
              <a:custGeom>
                <a:avLst/>
                <a:gdLst>
                  <a:gd name="connsiteX0" fmla="*/ 0 w 32783"/>
                  <a:gd name="connsiteY0" fmla="*/ 0 h 13102"/>
                  <a:gd name="connsiteX1" fmla="*/ 32783 w 32783"/>
                  <a:gd name="connsiteY1" fmla="*/ 0 h 13102"/>
                  <a:gd name="connsiteX2" fmla="*/ 32783 w 32783"/>
                  <a:gd name="connsiteY2" fmla="*/ 13103 h 13102"/>
                  <a:gd name="connsiteX3" fmla="*/ 0 w 32783"/>
                  <a:gd name="connsiteY3" fmla="*/ 13103 h 13102"/>
                </a:gdLst>
                <a:ahLst/>
                <a:cxnLst>
                  <a:cxn ang="0">
                    <a:pos x="connsiteX0" y="connsiteY0"/>
                  </a:cxn>
                  <a:cxn ang="0">
                    <a:pos x="connsiteX1" y="connsiteY1"/>
                  </a:cxn>
                  <a:cxn ang="0">
                    <a:pos x="connsiteX2" y="connsiteY2"/>
                  </a:cxn>
                  <a:cxn ang="0">
                    <a:pos x="connsiteX3" y="connsiteY3"/>
                  </a:cxn>
                </a:cxnLst>
                <a:rect l="l" t="t" r="r" b="b"/>
                <a:pathLst>
                  <a:path w="32783" h="13102">
                    <a:moveTo>
                      <a:pt x="0" y="0"/>
                    </a:moveTo>
                    <a:lnTo>
                      <a:pt x="32783" y="0"/>
                    </a:lnTo>
                    <a:lnTo>
                      <a:pt x="3278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34" name="Freihandform: Form 347">
                <a:extLst>
                  <a:ext uri="{FF2B5EF4-FFF2-40B4-BE49-F238E27FC236}">
                    <a16:creationId xmlns:a16="http://schemas.microsoft.com/office/drawing/2014/main" id="{FFFB95B7-6361-4744-9523-42E6D5C255FF}"/>
                  </a:ext>
                </a:extLst>
              </p:cNvPr>
              <p:cNvSpPr/>
              <p:nvPr/>
            </p:nvSpPr>
            <p:spPr>
              <a:xfrm>
                <a:off x="2051343" y="1947613"/>
                <a:ext cx="19680" cy="13102"/>
              </a:xfrm>
              <a:custGeom>
                <a:avLst/>
                <a:gdLst>
                  <a:gd name="connsiteX0" fmla="*/ 0 w 19680"/>
                  <a:gd name="connsiteY0" fmla="*/ 0 h 13102"/>
                  <a:gd name="connsiteX1" fmla="*/ 19680 w 19680"/>
                  <a:gd name="connsiteY1" fmla="*/ 0 h 13102"/>
                  <a:gd name="connsiteX2" fmla="*/ 19680 w 19680"/>
                  <a:gd name="connsiteY2" fmla="*/ 13103 h 13102"/>
                  <a:gd name="connsiteX3" fmla="*/ 0 w 19680"/>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9680" h="13102">
                    <a:moveTo>
                      <a:pt x="0" y="0"/>
                    </a:moveTo>
                    <a:lnTo>
                      <a:pt x="19680" y="0"/>
                    </a:lnTo>
                    <a:lnTo>
                      <a:pt x="19680"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35" name="Freihandform: Form 349">
                <a:extLst>
                  <a:ext uri="{FF2B5EF4-FFF2-40B4-BE49-F238E27FC236}">
                    <a16:creationId xmlns:a16="http://schemas.microsoft.com/office/drawing/2014/main" id="{F6B91F2D-1AD8-4980-904E-B1544738D4AC}"/>
                  </a:ext>
                </a:extLst>
              </p:cNvPr>
              <p:cNvSpPr/>
              <p:nvPr/>
            </p:nvSpPr>
            <p:spPr>
              <a:xfrm>
                <a:off x="1795656" y="1947613"/>
                <a:ext cx="104900" cy="163915"/>
              </a:xfrm>
              <a:custGeom>
                <a:avLst/>
                <a:gdLst>
                  <a:gd name="connsiteX0" fmla="*/ 98349 w 104900"/>
                  <a:gd name="connsiteY0" fmla="*/ 163916 h 163915"/>
                  <a:gd name="connsiteX1" fmla="*/ 6551 w 104900"/>
                  <a:gd name="connsiteY1" fmla="*/ 163916 h 163915"/>
                  <a:gd name="connsiteX2" fmla="*/ 0 w 104900"/>
                  <a:gd name="connsiteY2" fmla="*/ 157364 h 163915"/>
                  <a:gd name="connsiteX3" fmla="*/ 0 w 104900"/>
                  <a:gd name="connsiteY3" fmla="*/ 6551 h 163915"/>
                  <a:gd name="connsiteX4" fmla="*/ 6551 w 104900"/>
                  <a:gd name="connsiteY4" fmla="*/ 0 h 163915"/>
                  <a:gd name="connsiteX5" fmla="*/ 98349 w 104900"/>
                  <a:gd name="connsiteY5" fmla="*/ 0 h 163915"/>
                  <a:gd name="connsiteX6" fmla="*/ 104901 w 104900"/>
                  <a:gd name="connsiteY6" fmla="*/ 6551 h 163915"/>
                  <a:gd name="connsiteX7" fmla="*/ 104901 w 104900"/>
                  <a:gd name="connsiteY7" fmla="*/ 157364 h 163915"/>
                  <a:gd name="connsiteX8" fmla="*/ 98349 w 104900"/>
                  <a:gd name="connsiteY8" fmla="*/ 163916 h 163915"/>
                  <a:gd name="connsiteX9" fmla="*/ 13103 w 104900"/>
                  <a:gd name="connsiteY9" fmla="*/ 150787 h 163915"/>
                  <a:gd name="connsiteX10" fmla="*/ 91772 w 104900"/>
                  <a:gd name="connsiteY10" fmla="*/ 150787 h 163915"/>
                  <a:gd name="connsiteX11" fmla="*/ 91772 w 104900"/>
                  <a:gd name="connsiteY11" fmla="*/ 13103 h 163915"/>
                  <a:gd name="connsiteX12" fmla="*/ 13103 w 104900"/>
                  <a:gd name="connsiteY12" fmla="*/ 13103 h 163915"/>
                  <a:gd name="connsiteX13" fmla="*/ 13103 w 104900"/>
                  <a:gd name="connsiteY13" fmla="*/ 150787 h 16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900" h="163915">
                    <a:moveTo>
                      <a:pt x="98349" y="163916"/>
                    </a:moveTo>
                    <a:lnTo>
                      <a:pt x="6551" y="163916"/>
                    </a:lnTo>
                    <a:cubicBezTo>
                      <a:pt x="2918" y="163916"/>
                      <a:pt x="0" y="160972"/>
                      <a:pt x="0" y="157364"/>
                    </a:cubicBezTo>
                    <a:lnTo>
                      <a:pt x="0" y="6551"/>
                    </a:lnTo>
                    <a:cubicBezTo>
                      <a:pt x="0" y="2918"/>
                      <a:pt x="2944" y="0"/>
                      <a:pt x="6551" y="0"/>
                    </a:cubicBezTo>
                    <a:lnTo>
                      <a:pt x="98349" y="0"/>
                    </a:lnTo>
                    <a:cubicBezTo>
                      <a:pt x="101983" y="0"/>
                      <a:pt x="104901" y="2944"/>
                      <a:pt x="104901" y="6551"/>
                    </a:cubicBezTo>
                    <a:lnTo>
                      <a:pt x="104901" y="157364"/>
                    </a:lnTo>
                    <a:cubicBezTo>
                      <a:pt x="104901" y="160972"/>
                      <a:pt x="101957" y="163916"/>
                      <a:pt x="98349" y="163916"/>
                    </a:cubicBezTo>
                    <a:close/>
                    <a:moveTo>
                      <a:pt x="13103" y="150787"/>
                    </a:moveTo>
                    <a:lnTo>
                      <a:pt x="91772" y="150787"/>
                    </a:lnTo>
                    <a:lnTo>
                      <a:pt x="91772" y="13103"/>
                    </a:lnTo>
                    <a:lnTo>
                      <a:pt x="13103" y="13103"/>
                    </a:lnTo>
                    <a:lnTo>
                      <a:pt x="13103" y="150787"/>
                    </a:lnTo>
                    <a:close/>
                  </a:path>
                </a:pathLst>
              </a:custGeom>
              <a:solidFill>
                <a:schemeClr val="tx2"/>
              </a:solidFill>
              <a:ln w="2651" cap="flat">
                <a:noFill/>
                <a:prstDash val="solid"/>
                <a:miter/>
              </a:ln>
            </p:spPr>
            <p:txBody>
              <a:bodyPr rtlCol="0" anchor="ctr"/>
              <a:lstStyle/>
              <a:p>
                <a:endParaRPr lang="en-GB" dirty="0"/>
              </a:p>
            </p:txBody>
          </p:sp>
          <p:sp>
            <p:nvSpPr>
              <p:cNvPr id="636" name="Freihandform: Form 350">
                <a:extLst>
                  <a:ext uri="{FF2B5EF4-FFF2-40B4-BE49-F238E27FC236}">
                    <a16:creationId xmlns:a16="http://schemas.microsoft.com/office/drawing/2014/main" id="{1D8F4669-DF00-40BC-ACD8-25EA5BAEB171}"/>
                  </a:ext>
                </a:extLst>
              </p:cNvPr>
              <p:cNvSpPr/>
              <p:nvPr/>
            </p:nvSpPr>
            <p:spPr>
              <a:xfrm>
                <a:off x="1802207" y="2000050"/>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37" name="Freihandform: Form 351">
                <a:extLst>
                  <a:ext uri="{FF2B5EF4-FFF2-40B4-BE49-F238E27FC236}">
                    <a16:creationId xmlns:a16="http://schemas.microsoft.com/office/drawing/2014/main" id="{8BE86473-B8E8-41FA-96C4-134444E02363}"/>
                  </a:ext>
                </a:extLst>
              </p:cNvPr>
              <p:cNvSpPr/>
              <p:nvPr/>
            </p:nvSpPr>
            <p:spPr>
              <a:xfrm>
                <a:off x="1848093" y="2000050"/>
                <a:ext cx="19680" cy="13102"/>
              </a:xfrm>
              <a:custGeom>
                <a:avLst/>
                <a:gdLst>
                  <a:gd name="connsiteX0" fmla="*/ 0 w 19680"/>
                  <a:gd name="connsiteY0" fmla="*/ 0 h 13102"/>
                  <a:gd name="connsiteX1" fmla="*/ 19681 w 19680"/>
                  <a:gd name="connsiteY1" fmla="*/ 0 h 13102"/>
                  <a:gd name="connsiteX2" fmla="*/ 19681 w 19680"/>
                  <a:gd name="connsiteY2" fmla="*/ 13103 h 13102"/>
                  <a:gd name="connsiteX3" fmla="*/ 0 w 19680"/>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9680" h="13102">
                    <a:moveTo>
                      <a:pt x="0" y="0"/>
                    </a:moveTo>
                    <a:lnTo>
                      <a:pt x="19681" y="0"/>
                    </a:lnTo>
                    <a:lnTo>
                      <a:pt x="19681"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38" name="Freihandform: Form 352">
                <a:extLst>
                  <a:ext uri="{FF2B5EF4-FFF2-40B4-BE49-F238E27FC236}">
                    <a16:creationId xmlns:a16="http://schemas.microsoft.com/office/drawing/2014/main" id="{4A8DB057-B7A9-4341-93E1-980CAE4E6451}"/>
                  </a:ext>
                </a:extLst>
              </p:cNvPr>
              <p:cNvSpPr/>
              <p:nvPr/>
            </p:nvSpPr>
            <p:spPr>
              <a:xfrm>
                <a:off x="1802207" y="2039411"/>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39" name="Freihandform: Form 353">
                <a:extLst>
                  <a:ext uri="{FF2B5EF4-FFF2-40B4-BE49-F238E27FC236}">
                    <a16:creationId xmlns:a16="http://schemas.microsoft.com/office/drawing/2014/main" id="{03285548-2D6C-4507-B6FA-97D14E41B35C}"/>
                  </a:ext>
                </a:extLst>
              </p:cNvPr>
              <p:cNvSpPr/>
              <p:nvPr/>
            </p:nvSpPr>
            <p:spPr>
              <a:xfrm>
                <a:off x="1848093" y="2039411"/>
                <a:ext cx="19680" cy="13102"/>
              </a:xfrm>
              <a:custGeom>
                <a:avLst/>
                <a:gdLst>
                  <a:gd name="connsiteX0" fmla="*/ 0 w 19680"/>
                  <a:gd name="connsiteY0" fmla="*/ 0 h 13102"/>
                  <a:gd name="connsiteX1" fmla="*/ 19681 w 19680"/>
                  <a:gd name="connsiteY1" fmla="*/ 0 h 13102"/>
                  <a:gd name="connsiteX2" fmla="*/ 19681 w 19680"/>
                  <a:gd name="connsiteY2" fmla="*/ 13103 h 13102"/>
                  <a:gd name="connsiteX3" fmla="*/ 0 w 19680"/>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9680" h="13102">
                    <a:moveTo>
                      <a:pt x="0" y="0"/>
                    </a:moveTo>
                    <a:lnTo>
                      <a:pt x="19681" y="0"/>
                    </a:lnTo>
                    <a:lnTo>
                      <a:pt x="19681"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640" name="Freihandform: Form 354">
                <a:extLst>
                  <a:ext uri="{FF2B5EF4-FFF2-40B4-BE49-F238E27FC236}">
                    <a16:creationId xmlns:a16="http://schemas.microsoft.com/office/drawing/2014/main" id="{A38E0D90-DC30-4E25-81A6-5EEB51AC060C}"/>
                  </a:ext>
                </a:extLst>
              </p:cNvPr>
              <p:cNvSpPr/>
              <p:nvPr/>
            </p:nvSpPr>
            <p:spPr>
              <a:xfrm>
                <a:off x="1762873" y="2098426"/>
                <a:ext cx="393397" cy="13102"/>
              </a:xfrm>
              <a:custGeom>
                <a:avLst/>
                <a:gdLst>
                  <a:gd name="connsiteX0" fmla="*/ 386846 w 393397"/>
                  <a:gd name="connsiteY0" fmla="*/ 13103 h 13102"/>
                  <a:gd name="connsiteX1" fmla="*/ 6551 w 393397"/>
                  <a:gd name="connsiteY1" fmla="*/ 13103 h 13102"/>
                  <a:gd name="connsiteX2" fmla="*/ 0 w 393397"/>
                  <a:gd name="connsiteY2" fmla="*/ 6551 h 13102"/>
                  <a:gd name="connsiteX3" fmla="*/ 6551 w 393397"/>
                  <a:gd name="connsiteY3" fmla="*/ 0 h 13102"/>
                  <a:gd name="connsiteX4" fmla="*/ 386846 w 393397"/>
                  <a:gd name="connsiteY4" fmla="*/ 0 h 13102"/>
                  <a:gd name="connsiteX5" fmla="*/ 393398 w 393397"/>
                  <a:gd name="connsiteY5" fmla="*/ 6551 h 13102"/>
                  <a:gd name="connsiteX6" fmla="*/ 386846 w 393397"/>
                  <a:gd name="connsiteY6" fmla="*/ 13103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397" h="13102">
                    <a:moveTo>
                      <a:pt x="386846" y="13103"/>
                    </a:moveTo>
                    <a:lnTo>
                      <a:pt x="6551" y="13103"/>
                    </a:lnTo>
                    <a:cubicBezTo>
                      <a:pt x="2918" y="13103"/>
                      <a:pt x="0" y="10159"/>
                      <a:pt x="0" y="6551"/>
                    </a:cubicBezTo>
                    <a:cubicBezTo>
                      <a:pt x="0" y="2918"/>
                      <a:pt x="2944" y="0"/>
                      <a:pt x="6551" y="0"/>
                    </a:cubicBezTo>
                    <a:lnTo>
                      <a:pt x="386846" y="0"/>
                    </a:lnTo>
                    <a:cubicBezTo>
                      <a:pt x="390480" y="0"/>
                      <a:pt x="393398" y="2944"/>
                      <a:pt x="393398" y="6551"/>
                    </a:cubicBezTo>
                    <a:cubicBezTo>
                      <a:pt x="393398" y="10159"/>
                      <a:pt x="390454" y="13103"/>
                      <a:pt x="386846" y="13103"/>
                    </a:cubicBezTo>
                    <a:close/>
                  </a:path>
                </a:pathLst>
              </a:custGeom>
              <a:solidFill>
                <a:schemeClr val="tx2"/>
              </a:solidFill>
              <a:ln w="2651" cap="flat">
                <a:noFill/>
                <a:prstDash val="solid"/>
                <a:miter/>
              </a:ln>
            </p:spPr>
            <p:txBody>
              <a:bodyPr rtlCol="0" anchor="ctr"/>
              <a:lstStyle/>
              <a:p>
                <a:endParaRPr lang="en-GB" dirty="0"/>
              </a:p>
            </p:txBody>
          </p:sp>
        </p:grpSp>
      </p:grpSp>
      <p:grpSp>
        <p:nvGrpSpPr>
          <p:cNvPr id="695" name="Group 694">
            <a:extLst>
              <a:ext uri="{FF2B5EF4-FFF2-40B4-BE49-F238E27FC236}">
                <a16:creationId xmlns:a16="http://schemas.microsoft.com/office/drawing/2014/main" id="{9DAE2905-8DB1-47DB-9D10-6546AD9AFE8D}"/>
              </a:ext>
            </a:extLst>
          </p:cNvPr>
          <p:cNvGrpSpPr/>
          <p:nvPr/>
        </p:nvGrpSpPr>
        <p:grpSpPr>
          <a:xfrm>
            <a:off x="6040677" y="4002611"/>
            <a:ext cx="456219" cy="432000"/>
            <a:chOff x="6040265" y="4002611"/>
            <a:chExt cx="456219" cy="432000"/>
          </a:xfrm>
        </p:grpSpPr>
        <p:grpSp>
          <p:nvGrpSpPr>
            <p:cNvPr id="646" name="Group 645">
              <a:extLst>
                <a:ext uri="{FF2B5EF4-FFF2-40B4-BE49-F238E27FC236}">
                  <a16:creationId xmlns:a16="http://schemas.microsoft.com/office/drawing/2014/main" id="{4FB85259-115A-431A-825B-358077E2FBB8}"/>
                </a:ext>
              </a:extLst>
            </p:cNvPr>
            <p:cNvGrpSpPr/>
            <p:nvPr/>
          </p:nvGrpSpPr>
          <p:grpSpPr>
            <a:xfrm>
              <a:off x="6178575" y="4002611"/>
              <a:ext cx="235865" cy="431601"/>
              <a:chOff x="1031353" y="1671768"/>
              <a:chExt cx="250833" cy="458990"/>
            </a:xfrm>
          </p:grpSpPr>
          <p:sp>
            <p:nvSpPr>
              <p:cNvPr id="650" name="Freihandform: Form 314">
                <a:extLst>
                  <a:ext uri="{FF2B5EF4-FFF2-40B4-BE49-F238E27FC236}">
                    <a16:creationId xmlns:a16="http://schemas.microsoft.com/office/drawing/2014/main" id="{1B1A103F-349A-46EA-9275-604976A826EC}"/>
                  </a:ext>
                </a:extLst>
              </p:cNvPr>
              <p:cNvSpPr/>
              <p:nvPr/>
            </p:nvSpPr>
            <p:spPr>
              <a:xfrm>
                <a:off x="1031353" y="1671768"/>
                <a:ext cx="250833" cy="301997"/>
              </a:xfrm>
              <a:custGeom>
                <a:avLst/>
                <a:gdLst>
                  <a:gd name="connsiteX0" fmla="*/ 125403 w 250833"/>
                  <a:gd name="connsiteY0" fmla="*/ 301997 h 301997"/>
                  <a:gd name="connsiteX1" fmla="*/ 120762 w 250833"/>
                  <a:gd name="connsiteY1" fmla="*/ 300061 h 301997"/>
                  <a:gd name="connsiteX2" fmla="*/ 36682 w 250833"/>
                  <a:gd name="connsiteY2" fmla="*/ 215451 h 301997"/>
                  <a:gd name="connsiteX3" fmla="*/ 36682 w 250833"/>
                  <a:gd name="connsiteY3" fmla="*/ 36974 h 301997"/>
                  <a:gd name="connsiteX4" fmla="*/ 125403 w 250833"/>
                  <a:gd name="connsiteY4" fmla="*/ 0 h 301997"/>
                  <a:gd name="connsiteX5" fmla="*/ 214151 w 250833"/>
                  <a:gd name="connsiteY5" fmla="*/ 36974 h 301997"/>
                  <a:gd name="connsiteX6" fmla="*/ 214151 w 250833"/>
                  <a:gd name="connsiteY6" fmla="*/ 215451 h 301997"/>
                  <a:gd name="connsiteX7" fmla="*/ 130072 w 250833"/>
                  <a:gd name="connsiteY7" fmla="*/ 300061 h 301997"/>
                  <a:gd name="connsiteX8" fmla="*/ 125403 w 250833"/>
                  <a:gd name="connsiteY8" fmla="*/ 301997 h 301997"/>
                  <a:gd name="connsiteX9" fmla="*/ 125377 w 250833"/>
                  <a:gd name="connsiteY9" fmla="*/ 13076 h 301997"/>
                  <a:gd name="connsiteX10" fmla="*/ 45939 w 250833"/>
                  <a:gd name="connsiteY10" fmla="*/ 46204 h 301997"/>
                  <a:gd name="connsiteX11" fmla="*/ 45939 w 250833"/>
                  <a:gd name="connsiteY11" fmla="*/ 206194 h 301997"/>
                  <a:gd name="connsiteX12" fmla="*/ 45939 w 250833"/>
                  <a:gd name="connsiteY12" fmla="*/ 206194 h 301997"/>
                  <a:gd name="connsiteX13" fmla="*/ 125377 w 250833"/>
                  <a:gd name="connsiteY13" fmla="*/ 286136 h 301997"/>
                  <a:gd name="connsiteX14" fmla="*/ 204815 w 250833"/>
                  <a:gd name="connsiteY14" fmla="*/ 206194 h 301997"/>
                  <a:gd name="connsiteX15" fmla="*/ 204815 w 250833"/>
                  <a:gd name="connsiteY15" fmla="*/ 46204 h 301997"/>
                  <a:gd name="connsiteX16" fmla="*/ 125377 w 250833"/>
                  <a:gd name="connsiteY16" fmla="*/ 13076 h 30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833" h="301997">
                    <a:moveTo>
                      <a:pt x="125403" y="301997"/>
                    </a:moveTo>
                    <a:cubicBezTo>
                      <a:pt x="123653" y="301997"/>
                      <a:pt x="121982" y="301308"/>
                      <a:pt x="120762" y="300061"/>
                    </a:cubicBezTo>
                    <a:lnTo>
                      <a:pt x="36682" y="215451"/>
                    </a:lnTo>
                    <a:cubicBezTo>
                      <a:pt x="-12227" y="166250"/>
                      <a:pt x="-12227" y="86175"/>
                      <a:pt x="36682" y="36974"/>
                    </a:cubicBezTo>
                    <a:cubicBezTo>
                      <a:pt x="60394" y="13129"/>
                      <a:pt x="91904" y="0"/>
                      <a:pt x="125403" y="0"/>
                    </a:cubicBezTo>
                    <a:cubicBezTo>
                      <a:pt x="158929" y="0"/>
                      <a:pt x="190439" y="13129"/>
                      <a:pt x="214151" y="36974"/>
                    </a:cubicBezTo>
                    <a:cubicBezTo>
                      <a:pt x="263061" y="86175"/>
                      <a:pt x="263061" y="166250"/>
                      <a:pt x="214151" y="215451"/>
                    </a:cubicBezTo>
                    <a:lnTo>
                      <a:pt x="130072" y="300061"/>
                    </a:lnTo>
                    <a:cubicBezTo>
                      <a:pt x="128798" y="301281"/>
                      <a:pt x="127127" y="301997"/>
                      <a:pt x="125403" y="301997"/>
                    </a:cubicBezTo>
                    <a:close/>
                    <a:moveTo>
                      <a:pt x="125377" y="13076"/>
                    </a:moveTo>
                    <a:cubicBezTo>
                      <a:pt x="95379" y="13076"/>
                      <a:pt x="67158" y="24826"/>
                      <a:pt x="45939" y="46204"/>
                    </a:cubicBezTo>
                    <a:cubicBezTo>
                      <a:pt x="2095" y="90313"/>
                      <a:pt x="2095" y="162086"/>
                      <a:pt x="45939" y="206194"/>
                    </a:cubicBezTo>
                    <a:lnTo>
                      <a:pt x="45939" y="206194"/>
                    </a:lnTo>
                    <a:lnTo>
                      <a:pt x="125377" y="286136"/>
                    </a:lnTo>
                    <a:lnTo>
                      <a:pt x="204815" y="206194"/>
                    </a:lnTo>
                    <a:cubicBezTo>
                      <a:pt x="248659" y="162086"/>
                      <a:pt x="248659" y="90313"/>
                      <a:pt x="204815" y="46204"/>
                    </a:cubicBezTo>
                    <a:cubicBezTo>
                      <a:pt x="183596" y="24853"/>
                      <a:pt x="155402" y="13076"/>
                      <a:pt x="125377" y="13076"/>
                    </a:cubicBezTo>
                    <a:close/>
                  </a:path>
                </a:pathLst>
              </a:custGeom>
              <a:solidFill>
                <a:schemeClr val="accent1"/>
              </a:solidFill>
              <a:ln w="2651" cap="flat">
                <a:noFill/>
                <a:prstDash val="solid"/>
                <a:miter/>
              </a:ln>
            </p:spPr>
            <p:txBody>
              <a:bodyPr rtlCol="0" anchor="ctr"/>
              <a:lstStyle/>
              <a:p>
                <a:endParaRPr lang="en-GB" dirty="0"/>
              </a:p>
            </p:txBody>
          </p:sp>
          <p:sp>
            <p:nvSpPr>
              <p:cNvPr id="651" name="Freihandform: Form 316">
                <a:extLst>
                  <a:ext uri="{FF2B5EF4-FFF2-40B4-BE49-F238E27FC236}">
                    <a16:creationId xmlns:a16="http://schemas.microsoft.com/office/drawing/2014/main" id="{AFE0CC1D-F672-4AFF-8697-A654980D07CC}"/>
                  </a:ext>
                </a:extLst>
              </p:cNvPr>
              <p:cNvSpPr/>
              <p:nvPr/>
            </p:nvSpPr>
            <p:spPr>
              <a:xfrm>
                <a:off x="1035816" y="1959443"/>
                <a:ext cx="245977" cy="171315"/>
              </a:xfrm>
              <a:custGeom>
                <a:avLst/>
                <a:gdLst>
                  <a:gd name="connsiteX0" fmla="*/ 91022 w 245977"/>
                  <a:gd name="connsiteY0" fmla="*/ 171316 h 171315"/>
                  <a:gd name="connsiteX1" fmla="*/ 84470 w 245977"/>
                  <a:gd name="connsiteY1" fmla="*/ 164764 h 171315"/>
                  <a:gd name="connsiteX2" fmla="*/ 84470 w 245977"/>
                  <a:gd name="connsiteY2" fmla="*/ 142193 h 171315"/>
                  <a:gd name="connsiteX3" fmla="*/ 114362 w 245977"/>
                  <a:gd name="connsiteY3" fmla="*/ 112301 h 171315"/>
                  <a:gd name="connsiteX4" fmla="*/ 216027 w 245977"/>
                  <a:gd name="connsiteY4" fmla="*/ 112301 h 171315"/>
                  <a:gd name="connsiteX5" fmla="*/ 229634 w 245977"/>
                  <a:gd name="connsiteY5" fmla="*/ 105325 h 171315"/>
                  <a:gd name="connsiteX6" fmla="*/ 231941 w 245977"/>
                  <a:gd name="connsiteY6" fmla="*/ 90233 h 171315"/>
                  <a:gd name="connsiteX7" fmla="*/ 227830 w 245977"/>
                  <a:gd name="connsiteY7" fmla="*/ 77873 h 171315"/>
                  <a:gd name="connsiteX8" fmla="*/ 211916 w 245977"/>
                  <a:gd name="connsiteY8" fmla="*/ 66415 h 171315"/>
                  <a:gd name="connsiteX9" fmla="*/ 29911 w 245977"/>
                  <a:gd name="connsiteY9" fmla="*/ 66415 h 171315"/>
                  <a:gd name="connsiteX10" fmla="*/ 6120 w 245977"/>
                  <a:gd name="connsiteY10" fmla="*/ 54612 h 171315"/>
                  <a:gd name="connsiteX11" fmla="*/ 1107 w 245977"/>
                  <a:gd name="connsiteY11" fmla="*/ 28539 h 171315"/>
                  <a:gd name="connsiteX12" fmla="*/ 2937 w 245977"/>
                  <a:gd name="connsiteY12" fmla="*/ 21908 h 171315"/>
                  <a:gd name="connsiteX13" fmla="*/ 31741 w 245977"/>
                  <a:gd name="connsiteY13" fmla="*/ 0 h 171315"/>
                  <a:gd name="connsiteX14" fmla="*/ 117333 w 245977"/>
                  <a:gd name="connsiteY14" fmla="*/ 822 h 171315"/>
                  <a:gd name="connsiteX15" fmla="*/ 123831 w 245977"/>
                  <a:gd name="connsiteY15" fmla="*/ 7453 h 171315"/>
                  <a:gd name="connsiteX16" fmla="*/ 117280 w 245977"/>
                  <a:gd name="connsiteY16" fmla="*/ 13951 h 171315"/>
                  <a:gd name="connsiteX17" fmla="*/ 117227 w 245977"/>
                  <a:gd name="connsiteY17" fmla="*/ 13951 h 171315"/>
                  <a:gd name="connsiteX18" fmla="*/ 31715 w 245977"/>
                  <a:gd name="connsiteY18" fmla="*/ 13129 h 171315"/>
                  <a:gd name="connsiteX19" fmla="*/ 15615 w 245977"/>
                  <a:gd name="connsiteY19" fmla="*/ 25436 h 171315"/>
                  <a:gd name="connsiteX20" fmla="*/ 13785 w 245977"/>
                  <a:gd name="connsiteY20" fmla="*/ 32067 h 171315"/>
                  <a:gd name="connsiteX21" fmla="*/ 16596 w 245977"/>
                  <a:gd name="connsiteY21" fmla="*/ 46681 h 171315"/>
                  <a:gd name="connsiteX22" fmla="*/ 29938 w 245977"/>
                  <a:gd name="connsiteY22" fmla="*/ 53312 h 171315"/>
                  <a:gd name="connsiteX23" fmla="*/ 211942 w 245977"/>
                  <a:gd name="connsiteY23" fmla="*/ 53312 h 171315"/>
                  <a:gd name="connsiteX24" fmla="*/ 240296 w 245977"/>
                  <a:gd name="connsiteY24" fmla="*/ 73736 h 171315"/>
                  <a:gd name="connsiteX25" fmla="*/ 244407 w 245977"/>
                  <a:gd name="connsiteY25" fmla="*/ 86096 h 171315"/>
                  <a:gd name="connsiteX26" fmla="*/ 240296 w 245977"/>
                  <a:gd name="connsiteY26" fmla="*/ 113017 h 171315"/>
                  <a:gd name="connsiteX27" fmla="*/ 216054 w 245977"/>
                  <a:gd name="connsiteY27" fmla="*/ 125430 h 171315"/>
                  <a:gd name="connsiteX28" fmla="*/ 114389 w 245977"/>
                  <a:gd name="connsiteY28" fmla="*/ 125430 h 171315"/>
                  <a:gd name="connsiteX29" fmla="*/ 97626 w 245977"/>
                  <a:gd name="connsiteY29" fmla="*/ 142193 h 171315"/>
                  <a:gd name="connsiteX30" fmla="*/ 97626 w 245977"/>
                  <a:gd name="connsiteY30" fmla="*/ 164764 h 171315"/>
                  <a:gd name="connsiteX31" fmla="*/ 91022 w 245977"/>
                  <a:gd name="connsiteY31" fmla="*/ 171316 h 17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45977" h="171315">
                    <a:moveTo>
                      <a:pt x="91022" y="171316"/>
                    </a:moveTo>
                    <a:cubicBezTo>
                      <a:pt x="87388" y="171316"/>
                      <a:pt x="84470" y="168372"/>
                      <a:pt x="84470" y="164764"/>
                    </a:cubicBezTo>
                    <a:lnTo>
                      <a:pt x="84470" y="142193"/>
                    </a:lnTo>
                    <a:cubicBezTo>
                      <a:pt x="84470" y="125722"/>
                      <a:pt x="97865" y="112301"/>
                      <a:pt x="114362" y="112301"/>
                    </a:cubicBezTo>
                    <a:lnTo>
                      <a:pt x="216027" y="112301"/>
                    </a:lnTo>
                    <a:cubicBezTo>
                      <a:pt x="221491" y="112301"/>
                      <a:pt x="226451" y="109755"/>
                      <a:pt x="229634" y="105325"/>
                    </a:cubicBezTo>
                    <a:cubicBezTo>
                      <a:pt x="232817" y="100896"/>
                      <a:pt x="233665" y="95405"/>
                      <a:pt x="231941" y="90233"/>
                    </a:cubicBezTo>
                    <a:lnTo>
                      <a:pt x="227830" y="77873"/>
                    </a:lnTo>
                    <a:cubicBezTo>
                      <a:pt x="225549" y="71004"/>
                      <a:pt x="219157" y="66415"/>
                      <a:pt x="211916" y="66415"/>
                    </a:cubicBezTo>
                    <a:lnTo>
                      <a:pt x="29911" y="66415"/>
                    </a:lnTo>
                    <a:cubicBezTo>
                      <a:pt x="20495" y="66415"/>
                      <a:pt x="11822" y="62118"/>
                      <a:pt x="6120" y="54612"/>
                    </a:cubicBezTo>
                    <a:cubicBezTo>
                      <a:pt x="417" y="47132"/>
                      <a:pt x="-1413" y="37610"/>
                      <a:pt x="1107" y="28539"/>
                    </a:cubicBezTo>
                    <a:lnTo>
                      <a:pt x="2937" y="21908"/>
                    </a:lnTo>
                    <a:cubicBezTo>
                      <a:pt x="6517" y="9018"/>
                      <a:pt x="18347" y="0"/>
                      <a:pt x="31741" y="0"/>
                    </a:cubicBezTo>
                    <a:lnTo>
                      <a:pt x="117333" y="822"/>
                    </a:lnTo>
                    <a:cubicBezTo>
                      <a:pt x="120967" y="849"/>
                      <a:pt x="123858" y="3819"/>
                      <a:pt x="123831" y="7453"/>
                    </a:cubicBezTo>
                    <a:cubicBezTo>
                      <a:pt x="123805" y="11060"/>
                      <a:pt x="120861" y="13951"/>
                      <a:pt x="117280" y="13951"/>
                    </a:cubicBezTo>
                    <a:cubicBezTo>
                      <a:pt x="117253" y="13951"/>
                      <a:pt x="117227" y="13951"/>
                      <a:pt x="117227" y="13951"/>
                    </a:cubicBezTo>
                    <a:lnTo>
                      <a:pt x="31715" y="13129"/>
                    </a:lnTo>
                    <a:cubicBezTo>
                      <a:pt x="24262" y="13129"/>
                      <a:pt x="17631" y="18195"/>
                      <a:pt x="15615" y="25436"/>
                    </a:cubicBezTo>
                    <a:lnTo>
                      <a:pt x="13785" y="32067"/>
                    </a:lnTo>
                    <a:cubicBezTo>
                      <a:pt x="12379" y="37160"/>
                      <a:pt x="13414" y="42491"/>
                      <a:pt x="16596" y="46681"/>
                    </a:cubicBezTo>
                    <a:cubicBezTo>
                      <a:pt x="19806" y="50899"/>
                      <a:pt x="24660" y="53312"/>
                      <a:pt x="29938" y="53312"/>
                    </a:cubicBezTo>
                    <a:lnTo>
                      <a:pt x="211942" y="53312"/>
                    </a:lnTo>
                    <a:cubicBezTo>
                      <a:pt x="224833" y="53312"/>
                      <a:pt x="236212" y="61535"/>
                      <a:pt x="240296" y="73736"/>
                    </a:cubicBezTo>
                    <a:lnTo>
                      <a:pt x="244407" y="86096"/>
                    </a:lnTo>
                    <a:cubicBezTo>
                      <a:pt x="247484" y="95299"/>
                      <a:pt x="245999" y="105113"/>
                      <a:pt x="240296" y="113017"/>
                    </a:cubicBezTo>
                    <a:cubicBezTo>
                      <a:pt x="234620" y="120894"/>
                      <a:pt x="225788" y="125430"/>
                      <a:pt x="216054" y="125430"/>
                    </a:cubicBezTo>
                    <a:lnTo>
                      <a:pt x="114389" y="125430"/>
                    </a:lnTo>
                    <a:cubicBezTo>
                      <a:pt x="105132" y="125430"/>
                      <a:pt x="97626" y="132963"/>
                      <a:pt x="97626" y="142193"/>
                    </a:cubicBezTo>
                    <a:lnTo>
                      <a:pt x="97626" y="164764"/>
                    </a:lnTo>
                    <a:cubicBezTo>
                      <a:pt x="97599" y="168372"/>
                      <a:pt x="94655" y="171316"/>
                      <a:pt x="91022" y="171316"/>
                    </a:cubicBezTo>
                    <a:close/>
                  </a:path>
                </a:pathLst>
              </a:custGeom>
              <a:solidFill>
                <a:schemeClr val="accent1"/>
              </a:solidFill>
              <a:ln w="2651" cap="flat">
                <a:noFill/>
                <a:prstDash val="solid"/>
                <a:miter/>
              </a:ln>
            </p:spPr>
            <p:txBody>
              <a:bodyPr rtlCol="0" anchor="ctr"/>
              <a:lstStyle/>
              <a:p>
                <a:endParaRPr lang="en-GB" dirty="0"/>
              </a:p>
            </p:txBody>
          </p:sp>
        </p:grpSp>
        <p:grpSp>
          <p:nvGrpSpPr>
            <p:cNvPr id="647" name="Group 646">
              <a:extLst>
                <a:ext uri="{FF2B5EF4-FFF2-40B4-BE49-F238E27FC236}">
                  <a16:creationId xmlns:a16="http://schemas.microsoft.com/office/drawing/2014/main" id="{C8FA76BE-25AA-4A37-B9C2-961BD32E324A}"/>
                </a:ext>
              </a:extLst>
            </p:cNvPr>
            <p:cNvGrpSpPr/>
            <p:nvPr/>
          </p:nvGrpSpPr>
          <p:grpSpPr>
            <a:xfrm>
              <a:off x="6040265" y="4065562"/>
              <a:ext cx="456219" cy="369049"/>
              <a:chOff x="884266" y="1738714"/>
              <a:chExt cx="485170" cy="392468"/>
            </a:xfrm>
          </p:grpSpPr>
          <p:sp>
            <p:nvSpPr>
              <p:cNvPr id="648" name="Freihandform: Form 315">
                <a:extLst>
                  <a:ext uri="{FF2B5EF4-FFF2-40B4-BE49-F238E27FC236}">
                    <a16:creationId xmlns:a16="http://schemas.microsoft.com/office/drawing/2014/main" id="{8C67D3CB-95E6-4038-B63A-369A3EFDCCE5}"/>
                  </a:ext>
                </a:extLst>
              </p:cNvPr>
              <p:cNvSpPr/>
              <p:nvPr/>
            </p:nvSpPr>
            <p:spPr>
              <a:xfrm>
                <a:off x="1097317" y="1738714"/>
                <a:ext cx="118825" cy="118825"/>
              </a:xfrm>
              <a:custGeom>
                <a:avLst/>
                <a:gdLst>
                  <a:gd name="connsiteX0" fmla="*/ 59413 w 118825"/>
                  <a:gd name="connsiteY0" fmla="*/ 118826 h 118825"/>
                  <a:gd name="connsiteX1" fmla="*/ 17399 w 118825"/>
                  <a:gd name="connsiteY1" fmla="*/ 101426 h 118825"/>
                  <a:gd name="connsiteX2" fmla="*/ 0 w 118825"/>
                  <a:gd name="connsiteY2" fmla="*/ 59413 h 118825"/>
                  <a:gd name="connsiteX3" fmla="*/ 17399 w 118825"/>
                  <a:gd name="connsiteY3" fmla="*/ 17399 h 118825"/>
                  <a:gd name="connsiteX4" fmla="*/ 59413 w 118825"/>
                  <a:gd name="connsiteY4" fmla="*/ 0 h 118825"/>
                  <a:gd name="connsiteX5" fmla="*/ 101426 w 118825"/>
                  <a:gd name="connsiteY5" fmla="*/ 17399 h 118825"/>
                  <a:gd name="connsiteX6" fmla="*/ 118826 w 118825"/>
                  <a:gd name="connsiteY6" fmla="*/ 59413 h 118825"/>
                  <a:gd name="connsiteX7" fmla="*/ 101426 w 118825"/>
                  <a:gd name="connsiteY7" fmla="*/ 101426 h 118825"/>
                  <a:gd name="connsiteX8" fmla="*/ 101426 w 118825"/>
                  <a:gd name="connsiteY8" fmla="*/ 101426 h 118825"/>
                  <a:gd name="connsiteX9" fmla="*/ 101426 w 118825"/>
                  <a:gd name="connsiteY9" fmla="*/ 101426 h 118825"/>
                  <a:gd name="connsiteX10" fmla="*/ 59413 w 118825"/>
                  <a:gd name="connsiteY10" fmla="*/ 118826 h 118825"/>
                  <a:gd name="connsiteX11" fmla="*/ 59413 w 118825"/>
                  <a:gd name="connsiteY11" fmla="*/ 13129 h 118825"/>
                  <a:gd name="connsiteX12" fmla="*/ 26683 w 118825"/>
                  <a:gd name="connsiteY12" fmla="*/ 26683 h 118825"/>
                  <a:gd name="connsiteX13" fmla="*/ 13129 w 118825"/>
                  <a:gd name="connsiteY13" fmla="*/ 59413 h 118825"/>
                  <a:gd name="connsiteX14" fmla="*/ 26683 w 118825"/>
                  <a:gd name="connsiteY14" fmla="*/ 92143 h 118825"/>
                  <a:gd name="connsiteX15" fmla="*/ 59413 w 118825"/>
                  <a:gd name="connsiteY15" fmla="*/ 105696 h 118825"/>
                  <a:gd name="connsiteX16" fmla="*/ 92143 w 118825"/>
                  <a:gd name="connsiteY16" fmla="*/ 92143 h 118825"/>
                  <a:gd name="connsiteX17" fmla="*/ 92143 w 118825"/>
                  <a:gd name="connsiteY17" fmla="*/ 92143 h 118825"/>
                  <a:gd name="connsiteX18" fmla="*/ 105696 w 118825"/>
                  <a:gd name="connsiteY18" fmla="*/ 59413 h 118825"/>
                  <a:gd name="connsiteX19" fmla="*/ 92143 w 118825"/>
                  <a:gd name="connsiteY19" fmla="*/ 26683 h 118825"/>
                  <a:gd name="connsiteX20" fmla="*/ 59413 w 118825"/>
                  <a:gd name="connsiteY20" fmla="*/ 13129 h 118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8825" h="118825">
                    <a:moveTo>
                      <a:pt x="59413" y="118826"/>
                    </a:moveTo>
                    <a:cubicBezTo>
                      <a:pt x="43552" y="118826"/>
                      <a:pt x="28619" y="112646"/>
                      <a:pt x="17399" y="101426"/>
                    </a:cubicBezTo>
                    <a:cubicBezTo>
                      <a:pt x="6180" y="90207"/>
                      <a:pt x="0" y="75274"/>
                      <a:pt x="0" y="59413"/>
                    </a:cubicBezTo>
                    <a:cubicBezTo>
                      <a:pt x="0" y="43552"/>
                      <a:pt x="6180" y="28619"/>
                      <a:pt x="17399" y="17399"/>
                    </a:cubicBezTo>
                    <a:cubicBezTo>
                      <a:pt x="28619" y="6180"/>
                      <a:pt x="43525" y="0"/>
                      <a:pt x="59413" y="0"/>
                    </a:cubicBezTo>
                    <a:cubicBezTo>
                      <a:pt x="75274" y="0"/>
                      <a:pt x="90207" y="6180"/>
                      <a:pt x="101426" y="17399"/>
                    </a:cubicBezTo>
                    <a:cubicBezTo>
                      <a:pt x="112646" y="28619"/>
                      <a:pt x="118826" y="43525"/>
                      <a:pt x="118826" y="59413"/>
                    </a:cubicBezTo>
                    <a:cubicBezTo>
                      <a:pt x="118826" y="75274"/>
                      <a:pt x="112646" y="90207"/>
                      <a:pt x="101426" y="101426"/>
                    </a:cubicBezTo>
                    <a:lnTo>
                      <a:pt x="101426" y="101426"/>
                    </a:lnTo>
                    <a:lnTo>
                      <a:pt x="101426" y="101426"/>
                    </a:lnTo>
                    <a:cubicBezTo>
                      <a:pt x="90207" y="112646"/>
                      <a:pt x="75300" y="118826"/>
                      <a:pt x="59413" y="118826"/>
                    </a:cubicBezTo>
                    <a:close/>
                    <a:moveTo>
                      <a:pt x="59413" y="13129"/>
                    </a:moveTo>
                    <a:cubicBezTo>
                      <a:pt x="47053" y="13129"/>
                      <a:pt x="35435" y="17956"/>
                      <a:pt x="26683" y="26683"/>
                    </a:cubicBezTo>
                    <a:cubicBezTo>
                      <a:pt x="17930" y="35436"/>
                      <a:pt x="13129" y="47053"/>
                      <a:pt x="13129" y="59413"/>
                    </a:cubicBezTo>
                    <a:cubicBezTo>
                      <a:pt x="13129" y="71773"/>
                      <a:pt x="17956" y="83417"/>
                      <a:pt x="26683" y="92143"/>
                    </a:cubicBezTo>
                    <a:cubicBezTo>
                      <a:pt x="35435" y="100896"/>
                      <a:pt x="47053" y="105696"/>
                      <a:pt x="59413" y="105696"/>
                    </a:cubicBezTo>
                    <a:cubicBezTo>
                      <a:pt x="71773" y="105696"/>
                      <a:pt x="83417" y="100869"/>
                      <a:pt x="92143" y="92143"/>
                    </a:cubicBezTo>
                    <a:lnTo>
                      <a:pt x="92143" y="92143"/>
                    </a:lnTo>
                    <a:cubicBezTo>
                      <a:pt x="100896" y="83390"/>
                      <a:pt x="105696" y="71773"/>
                      <a:pt x="105696" y="59413"/>
                    </a:cubicBezTo>
                    <a:cubicBezTo>
                      <a:pt x="105696" y="47053"/>
                      <a:pt x="100869" y="35436"/>
                      <a:pt x="92143" y="26683"/>
                    </a:cubicBezTo>
                    <a:cubicBezTo>
                      <a:pt x="83417" y="17930"/>
                      <a:pt x="71799" y="13129"/>
                      <a:pt x="59413" y="13129"/>
                    </a:cubicBezTo>
                    <a:close/>
                  </a:path>
                </a:pathLst>
              </a:custGeom>
              <a:solidFill>
                <a:schemeClr val="tx2"/>
              </a:solidFill>
              <a:ln w="2651" cap="flat">
                <a:noFill/>
                <a:prstDash val="solid"/>
                <a:miter/>
              </a:ln>
            </p:spPr>
            <p:txBody>
              <a:bodyPr rtlCol="0" anchor="ctr"/>
              <a:lstStyle/>
              <a:p>
                <a:endParaRPr lang="en-GB" dirty="0"/>
              </a:p>
            </p:txBody>
          </p:sp>
          <p:sp>
            <p:nvSpPr>
              <p:cNvPr id="649" name="Freihandform: Form 312">
                <a:extLst>
                  <a:ext uri="{FF2B5EF4-FFF2-40B4-BE49-F238E27FC236}">
                    <a16:creationId xmlns:a16="http://schemas.microsoft.com/office/drawing/2014/main" id="{73B8A7D8-C096-4A9A-BE52-65D7090619B6}"/>
                  </a:ext>
                </a:extLst>
              </p:cNvPr>
              <p:cNvSpPr/>
              <p:nvPr/>
            </p:nvSpPr>
            <p:spPr>
              <a:xfrm>
                <a:off x="884266" y="1882020"/>
                <a:ext cx="485170" cy="249162"/>
              </a:xfrm>
              <a:custGeom>
                <a:avLst/>
                <a:gdLst>
                  <a:gd name="connsiteX0" fmla="*/ 478632 w 485170"/>
                  <a:gd name="connsiteY0" fmla="*/ 249162 h 249162"/>
                  <a:gd name="connsiteX1" fmla="*/ 6539 w 485170"/>
                  <a:gd name="connsiteY1" fmla="*/ 249162 h 249162"/>
                  <a:gd name="connsiteX2" fmla="*/ 1234 w 485170"/>
                  <a:gd name="connsiteY2" fmla="*/ 246431 h 249162"/>
                  <a:gd name="connsiteX3" fmla="*/ 332 w 485170"/>
                  <a:gd name="connsiteY3" fmla="*/ 240516 h 249162"/>
                  <a:gd name="connsiteX4" fmla="*/ 79001 w 485170"/>
                  <a:gd name="connsiteY4" fmla="*/ 4482 h 249162"/>
                  <a:gd name="connsiteX5" fmla="*/ 85234 w 485170"/>
                  <a:gd name="connsiteY5" fmla="*/ 0 h 249162"/>
                  <a:gd name="connsiteX6" fmla="*/ 157352 w 485170"/>
                  <a:gd name="connsiteY6" fmla="*/ 0 h 249162"/>
                  <a:gd name="connsiteX7" fmla="*/ 163903 w 485170"/>
                  <a:gd name="connsiteY7" fmla="*/ 13103 h 249162"/>
                  <a:gd name="connsiteX8" fmla="*/ 89955 w 485170"/>
                  <a:gd name="connsiteY8" fmla="*/ 13103 h 249162"/>
                  <a:gd name="connsiteX9" fmla="*/ 15636 w 485170"/>
                  <a:gd name="connsiteY9" fmla="*/ 236033 h 249162"/>
                  <a:gd name="connsiteX10" fmla="*/ 469534 w 485170"/>
                  <a:gd name="connsiteY10" fmla="*/ 236033 h 249162"/>
                  <a:gd name="connsiteX11" fmla="*/ 395215 w 485170"/>
                  <a:gd name="connsiteY11" fmla="*/ 13103 h 249162"/>
                  <a:gd name="connsiteX12" fmla="*/ 380282 w 485170"/>
                  <a:gd name="connsiteY12" fmla="*/ 13103 h 249162"/>
                  <a:gd name="connsiteX13" fmla="*/ 386834 w 485170"/>
                  <a:gd name="connsiteY13" fmla="*/ 0 h 249162"/>
                  <a:gd name="connsiteX14" fmla="*/ 399936 w 485170"/>
                  <a:gd name="connsiteY14" fmla="*/ 0 h 249162"/>
                  <a:gd name="connsiteX15" fmla="*/ 406169 w 485170"/>
                  <a:gd name="connsiteY15" fmla="*/ 4482 h 249162"/>
                  <a:gd name="connsiteX16" fmla="*/ 484838 w 485170"/>
                  <a:gd name="connsiteY16" fmla="*/ 240516 h 249162"/>
                  <a:gd name="connsiteX17" fmla="*/ 483936 w 485170"/>
                  <a:gd name="connsiteY17" fmla="*/ 246431 h 249162"/>
                  <a:gd name="connsiteX18" fmla="*/ 478632 w 485170"/>
                  <a:gd name="connsiteY18" fmla="*/ 249162 h 249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85170" h="249162">
                    <a:moveTo>
                      <a:pt x="478632" y="249162"/>
                    </a:moveTo>
                    <a:lnTo>
                      <a:pt x="6539" y="249162"/>
                    </a:lnTo>
                    <a:cubicBezTo>
                      <a:pt x="4443" y="249162"/>
                      <a:pt x="2454" y="248155"/>
                      <a:pt x="1234" y="246431"/>
                    </a:cubicBezTo>
                    <a:cubicBezTo>
                      <a:pt x="14" y="244733"/>
                      <a:pt x="-331" y="242532"/>
                      <a:pt x="332" y="240516"/>
                    </a:cubicBezTo>
                    <a:lnTo>
                      <a:pt x="79001" y="4482"/>
                    </a:lnTo>
                    <a:cubicBezTo>
                      <a:pt x="79903" y="1804"/>
                      <a:pt x="82396" y="0"/>
                      <a:pt x="85234" y="0"/>
                    </a:cubicBezTo>
                    <a:lnTo>
                      <a:pt x="157352" y="0"/>
                    </a:lnTo>
                    <a:lnTo>
                      <a:pt x="163903" y="13103"/>
                    </a:lnTo>
                    <a:lnTo>
                      <a:pt x="89955" y="13103"/>
                    </a:lnTo>
                    <a:lnTo>
                      <a:pt x="15636" y="236033"/>
                    </a:lnTo>
                    <a:lnTo>
                      <a:pt x="469534" y="236033"/>
                    </a:lnTo>
                    <a:lnTo>
                      <a:pt x="395215" y="13103"/>
                    </a:lnTo>
                    <a:lnTo>
                      <a:pt x="380282" y="13103"/>
                    </a:lnTo>
                    <a:lnTo>
                      <a:pt x="386834" y="0"/>
                    </a:lnTo>
                    <a:lnTo>
                      <a:pt x="399936" y="0"/>
                    </a:lnTo>
                    <a:cubicBezTo>
                      <a:pt x="402748" y="0"/>
                      <a:pt x="405267" y="1804"/>
                      <a:pt x="406169" y="4482"/>
                    </a:cubicBezTo>
                    <a:lnTo>
                      <a:pt x="484838" y="240516"/>
                    </a:lnTo>
                    <a:cubicBezTo>
                      <a:pt x="485501" y="242505"/>
                      <a:pt x="485156" y="244707"/>
                      <a:pt x="483936" y="246431"/>
                    </a:cubicBezTo>
                    <a:cubicBezTo>
                      <a:pt x="482716" y="248155"/>
                      <a:pt x="480727" y="249162"/>
                      <a:pt x="478632" y="249162"/>
                    </a:cubicBezTo>
                    <a:close/>
                  </a:path>
                </a:pathLst>
              </a:custGeom>
              <a:solidFill>
                <a:schemeClr val="tx2"/>
              </a:solidFill>
              <a:ln w="2651" cap="flat">
                <a:noFill/>
                <a:prstDash val="solid"/>
                <a:miter/>
              </a:ln>
            </p:spPr>
            <p:txBody>
              <a:bodyPr rtlCol="0" anchor="ctr"/>
              <a:lstStyle/>
              <a:p>
                <a:endParaRPr lang="en-GB" dirty="0"/>
              </a:p>
            </p:txBody>
          </p:sp>
        </p:grpSp>
      </p:grpSp>
      <p:grpSp>
        <p:nvGrpSpPr>
          <p:cNvPr id="15" name="Group 14">
            <a:extLst>
              <a:ext uri="{FF2B5EF4-FFF2-40B4-BE49-F238E27FC236}">
                <a16:creationId xmlns:a16="http://schemas.microsoft.com/office/drawing/2014/main" id="{71A30D33-D3B0-F2D4-E5A2-264DA8E81A31}"/>
              </a:ext>
            </a:extLst>
          </p:cNvPr>
          <p:cNvGrpSpPr/>
          <p:nvPr/>
        </p:nvGrpSpPr>
        <p:grpSpPr>
          <a:xfrm>
            <a:off x="8131152" y="4002611"/>
            <a:ext cx="457005" cy="432000"/>
            <a:chOff x="8130740" y="4002611"/>
            <a:chExt cx="457005" cy="432000"/>
          </a:xfrm>
        </p:grpSpPr>
        <p:grpSp>
          <p:nvGrpSpPr>
            <p:cNvPr id="653" name="Group 652">
              <a:extLst>
                <a:ext uri="{FF2B5EF4-FFF2-40B4-BE49-F238E27FC236}">
                  <a16:creationId xmlns:a16="http://schemas.microsoft.com/office/drawing/2014/main" id="{9EAA22F5-B392-4FCA-A6D3-4118A8930C1B}"/>
                </a:ext>
              </a:extLst>
            </p:cNvPr>
            <p:cNvGrpSpPr/>
            <p:nvPr/>
          </p:nvGrpSpPr>
          <p:grpSpPr>
            <a:xfrm>
              <a:off x="8300495" y="4002611"/>
              <a:ext cx="287250" cy="386444"/>
              <a:chOff x="2720188" y="1697304"/>
              <a:chExt cx="288500" cy="388125"/>
            </a:xfrm>
          </p:grpSpPr>
          <p:sp>
            <p:nvSpPr>
              <p:cNvPr id="673" name="Freihandform: Form 358">
                <a:extLst>
                  <a:ext uri="{FF2B5EF4-FFF2-40B4-BE49-F238E27FC236}">
                    <a16:creationId xmlns:a16="http://schemas.microsoft.com/office/drawing/2014/main" id="{42C2A2F1-C333-40F2-8F13-A24F74210767}"/>
                  </a:ext>
                </a:extLst>
              </p:cNvPr>
              <p:cNvSpPr/>
              <p:nvPr/>
            </p:nvSpPr>
            <p:spPr>
              <a:xfrm>
                <a:off x="2720188" y="1697304"/>
                <a:ext cx="288500" cy="388125"/>
              </a:xfrm>
              <a:custGeom>
                <a:avLst/>
                <a:gdLst>
                  <a:gd name="connsiteX0" fmla="*/ 140469 w 288500"/>
                  <a:gd name="connsiteY0" fmla="*/ 388126 h 388125"/>
                  <a:gd name="connsiteX1" fmla="*/ 132379 w 288500"/>
                  <a:gd name="connsiteY1" fmla="*/ 387808 h 388125"/>
                  <a:gd name="connsiteX2" fmla="*/ 94689 w 288500"/>
                  <a:gd name="connsiteY2" fmla="*/ 362610 h 388125"/>
                  <a:gd name="connsiteX3" fmla="*/ 116890 w 288500"/>
                  <a:gd name="connsiteY3" fmla="*/ 270786 h 388125"/>
                  <a:gd name="connsiteX4" fmla="*/ 161396 w 288500"/>
                  <a:gd name="connsiteY4" fmla="*/ 171137 h 388125"/>
                  <a:gd name="connsiteX5" fmla="*/ 169035 w 288500"/>
                  <a:gd name="connsiteY5" fmla="*/ 165885 h 388125"/>
                  <a:gd name="connsiteX6" fmla="*/ 174287 w 288500"/>
                  <a:gd name="connsiteY6" fmla="*/ 173524 h 388125"/>
                  <a:gd name="connsiteX7" fmla="*/ 127738 w 288500"/>
                  <a:gd name="connsiteY7" fmla="*/ 278133 h 388125"/>
                  <a:gd name="connsiteX8" fmla="*/ 106652 w 288500"/>
                  <a:gd name="connsiteY8" fmla="*/ 357199 h 388125"/>
                  <a:gd name="connsiteX9" fmla="*/ 133891 w 288500"/>
                  <a:gd name="connsiteY9" fmla="*/ 374785 h 388125"/>
                  <a:gd name="connsiteX10" fmla="*/ 224496 w 288500"/>
                  <a:gd name="connsiteY10" fmla="*/ 343115 h 388125"/>
                  <a:gd name="connsiteX11" fmla="*/ 275368 w 288500"/>
                  <a:gd name="connsiteY11" fmla="*/ 191851 h 388125"/>
                  <a:gd name="connsiteX12" fmla="*/ 222321 w 288500"/>
                  <a:gd name="connsiteY12" fmla="*/ 47006 h 388125"/>
                  <a:gd name="connsiteX13" fmla="*/ 105856 w 288500"/>
                  <a:gd name="connsiteY13" fmla="*/ 14197 h 388125"/>
                  <a:gd name="connsiteX14" fmla="*/ 13103 w 288500"/>
                  <a:gd name="connsiteY14" fmla="*/ 138857 h 388125"/>
                  <a:gd name="connsiteX15" fmla="*/ 6552 w 288500"/>
                  <a:gd name="connsiteY15" fmla="*/ 145382 h 388125"/>
                  <a:gd name="connsiteX16" fmla="*/ 6525 w 288500"/>
                  <a:gd name="connsiteY16" fmla="*/ 145382 h 388125"/>
                  <a:gd name="connsiteX17" fmla="*/ 0 w 288500"/>
                  <a:gd name="connsiteY17" fmla="*/ 138804 h 388125"/>
                  <a:gd name="connsiteX18" fmla="*/ 104424 w 288500"/>
                  <a:gd name="connsiteY18" fmla="*/ 1147 h 388125"/>
                  <a:gd name="connsiteX19" fmla="*/ 230782 w 288500"/>
                  <a:gd name="connsiteY19" fmla="*/ 36927 h 388125"/>
                  <a:gd name="connsiteX20" fmla="*/ 288497 w 288500"/>
                  <a:gd name="connsiteY20" fmla="*/ 191745 h 388125"/>
                  <a:gd name="connsiteX21" fmla="*/ 233169 w 288500"/>
                  <a:gd name="connsiteY21" fmla="*/ 352903 h 388125"/>
                  <a:gd name="connsiteX22" fmla="*/ 140469 w 288500"/>
                  <a:gd name="connsiteY22" fmla="*/ 388126 h 38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8500" h="388125">
                    <a:moveTo>
                      <a:pt x="140469" y="388126"/>
                    </a:moveTo>
                    <a:cubicBezTo>
                      <a:pt x="135774" y="388126"/>
                      <a:pt x="132857" y="387861"/>
                      <a:pt x="132379" y="387808"/>
                    </a:cubicBezTo>
                    <a:cubicBezTo>
                      <a:pt x="114078" y="385500"/>
                      <a:pt x="101108" y="376800"/>
                      <a:pt x="94689" y="362610"/>
                    </a:cubicBezTo>
                    <a:cubicBezTo>
                      <a:pt x="84478" y="340012"/>
                      <a:pt x="92568" y="306539"/>
                      <a:pt x="116890" y="270786"/>
                    </a:cubicBezTo>
                    <a:cubicBezTo>
                      <a:pt x="140920" y="235430"/>
                      <a:pt x="155482" y="202832"/>
                      <a:pt x="161396" y="171137"/>
                    </a:cubicBezTo>
                    <a:cubicBezTo>
                      <a:pt x="162059" y="167582"/>
                      <a:pt x="165428" y="165195"/>
                      <a:pt x="169035" y="165885"/>
                    </a:cubicBezTo>
                    <a:cubicBezTo>
                      <a:pt x="172589" y="166548"/>
                      <a:pt x="174950" y="169969"/>
                      <a:pt x="174287" y="173524"/>
                    </a:cubicBezTo>
                    <a:cubicBezTo>
                      <a:pt x="168027" y="207049"/>
                      <a:pt x="152803" y="241265"/>
                      <a:pt x="127738" y="278133"/>
                    </a:cubicBezTo>
                    <a:cubicBezTo>
                      <a:pt x="106360" y="309563"/>
                      <a:pt x="98482" y="339137"/>
                      <a:pt x="106652" y="357199"/>
                    </a:cubicBezTo>
                    <a:cubicBezTo>
                      <a:pt x="111161" y="367172"/>
                      <a:pt x="120311" y="373087"/>
                      <a:pt x="133891" y="374785"/>
                    </a:cubicBezTo>
                    <a:cubicBezTo>
                      <a:pt x="134236" y="374838"/>
                      <a:pt x="184525" y="379400"/>
                      <a:pt x="224496" y="343115"/>
                    </a:cubicBezTo>
                    <a:cubicBezTo>
                      <a:pt x="258526" y="312215"/>
                      <a:pt x="275633" y="261317"/>
                      <a:pt x="275368" y="191851"/>
                    </a:cubicBezTo>
                    <a:cubicBezTo>
                      <a:pt x="275103" y="125808"/>
                      <a:pt x="257279" y="77084"/>
                      <a:pt x="222321" y="47006"/>
                    </a:cubicBezTo>
                    <a:cubicBezTo>
                      <a:pt x="173358" y="4860"/>
                      <a:pt x="106519" y="14117"/>
                      <a:pt x="105856" y="14197"/>
                    </a:cubicBezTo>
                    <a:cubicBezTo>
                      <a:pt x="101639" y="14541"/>
                      <a:pt x="13474" y="22923"/>
                      <a:pt x="13103" y="138857"/>
                    </a:cubicBezTo>
                    <a:cubicBezTo>
                      <a:pt x="13103" y="142465"/>
                      <a:pt x="10159" y="145382"/>
                      <a:pt x="6552" y="145382"/>
                    </a:cubicBezTo>
                    <a:cubicBezTo>
                      <a:pt x="6552" y="145382"/>
                      <a:pt x="6552" y="145382"/>
                      <a:pt x="6525" y="145382"/>
                    </a:cubicBezTo>
                    <a:cubicBezTo>
                      <a:pt x="2891" y="145382"/>
                      <a:pt x="-26" y="142411"/>
                      <a:pt x="0" y="138804"/>
                    </a:cubicBezTo>
                    <a:cubicBezTo>
                      <a:pt x="425" y="10457"/>
                      <a:pt x="103389" y="1226"/>
                      <a:pt x="104424" y="1147"/>
                    </a:cubicBezTo>
                    <a:cubicBezTo>
                      <a:pt x="106890" y="749"/>
                      <a:pt x="177204" y="-9091"/>
                      <a:pt x="230782" y="36927"/>
                    </a:cubicBezTo>
                    <a:cubicBezTo>
                      <a:pt x="268790" y="69578"/>
                      <a:pt x="288205" y="121670"/>
                      <a:pt x="288497" y="191745"/>
                    </a:cubicBezTo>
                    <a:cubicBezTo>
                      <a:pt x="288789" y="265189"/>
                      <a:pt x="270169" y="319430"/>
                      <a:pt x="233169" y="352903"/>
                    </a:cubicBezTo>
                    <a:cubicBezTo>
                      <a:pt x="198290" y="384439"/>
                      <a:pt x="157550" y="388126"/>
                      <a:pt x="140469" y="388126"/>
                    </a:cubicBezTo>
                    <a:close/>
                  </a:path>
                </a:pathLst>
              </a:custGeom>
              <a:solidFill>
                <a:schemeClr val="accent1"/>
              </a:solidFill>
              <a:ln w="2651" cap="flat">
                <a:noFill/>
                <a:prstDash val="solid"/>
                <a:miter/>
              </a:ln>
            </p:spPr>
            <p:txBody>
              <a:bodyPr rtlCol="0" anchor="ctr"/>
              <a:lstStyle/>
              <a:p>
                <a:endParaRPr lang="en-GB" dirty="0"/>
              </a:p>
            </p:txBody>
          </p:sp>
          <p:sp>
            <p:nvSpPr>
              <p:cNvPr id="674" name="Freihandform: Form 357">
                <a:extLst>
                  <a:ext uri="{FF2B5EF4-FFF2-40B4-BE49-F238E27FC236}">
                    <a16:creationId xmlns:a16="http://schemas.microsoft.com/office/drawing/2014/main" id="{E467A038-08A0-49EC-BB68-FABA5BAF7E1A}"/>
                  </a:ext>
                </a:extLst>
              </p:cNvPr>
              <p:cNvSpPr/>
              <p:nvPr/>
            </p:nvSpPr>
            <p:spPr>
              <a:xfrm>
                <a:off x="2766134" y="1773791"/>
                <a:ext cx="172443" cy="258883"/>
              </a:xfrm>
              <a:custGeom>
                <a:avLst/>
                <a:gdLst>
                  <a:gd name="connsiteX0" fmla="*/ 68636 w 172443"/>
                  <a:gd name="connsiteY0" fmla="*/ 258883 h 258883"/>
                  <a:gd name="connsiteX1" fmla="*/ 51847 w 172443"/>
                  <a:gd name="connsiteY1" fmla="*/ 257557 h 258883"/>
                  <a:gd name="connsiteX2" fmla="*/ 49990 w 172443"/>
                  <a:gd name="connsiteY2" fmla="*/ 257133 h 258883"/>
                  <a:gd name="connsiteX3" fmla="*/ 48770 w 172443"/>
                  <a:gd name="connsiteY3" fmla="*/ 256708 h 258883"/>
                  <a:gd name="connsiteX4" fmla="*/ 1478 w 172443"/>
                  <a:gd name="connsiteY4" fmla="*/ 203316 h 258883"/>
                  <a:gd name="connsiteX5" fmla="*/ 23254 w 172443"/>
                  <a:gd name="connsiteY5" fmla="*/ 135681 h 258883"/>
                  <a:gd name="connsiteX6" fmla="*/ 23732 w 172443"/>
                  <a:gd name="connsiteY6" fmla="*/ 135151 h 258883"/>
                  <a:gd name="connsiteX7" fmla="*/ 122665 w 172443"/>
                  <a:gd name="connsiteY7" fmla="*/ 7334 h 258883"/>
                  <a:gd name="connsiteX8" fmla="*/ 126696 w 172443"/>
                  <a:gd name="connsiteY8" fmla="*/ 491 h 258883"/>
                  <a:gd name="connsiteX9" fmla="*/ 134362 w 172443"/>
                  <a:gd name="connsiteY9" fmla="*/ 2559 h 258883"/>
                  <a:gd name="connsiteX10" fmla="*/ 170036 w 172443"/>
                  <a:gd name="connsiteY10" fmla="*/ 85711 h 258883"/>
                  <a:gd name="connsiteX11" fmla="*/ 170036 w 172443"/>
                  <a:gd name="connsiteY11" fmla="*/ 85711 h 258883"/>
                  <a:gd name="connsiteX12" fmla="*/ 131842 w 172443"/>
                  <a:gd name="connsiteY12" fmla="*/ 232678 h 258883"/>
                  <a:gd name="connsiteX13" fmla="*/ 68636 w 172443"/>
                  <a:gd name="connsiteY13" fmla="*/ 258883 h 258883"/>
                  <a:gd name="connsiteX14" fmla="*/ 53677 w 172443"/>
                  <a:gd name="connsiteY14" fmla="*/ 244561 h 258883"/>
                  <a:gd name="connsiteX15" fmla="*/ 54340 w 172443"/>
                  <a:gd name="connsiteY15" fmla="*/ 244720 h 258883"/>
                  <a:gd name="connsiteX16" fmla="*/ 122505 w 172443"/>
                  <a:gd name="connsiteY16" fmla="*/ 223474 h 258883"/>
                  <a:gd name="connsiteX17" fmla="*/ 157092 w 172443"/>
                  <a:gd name="connsiteY17" fmla="*/ 87912 h 258883"/>
                  <a:gd name="connsiteX18" fmla="*/ 157092 w 172443"/>
                  <a:gd name="connsiteY18" fmla="*/ 87912 h 258883"/>
                  <a:gd name="connsiteX19" fmla="*/ 131762 w 172443"/>
                  <a:gd name="connsiteY19" fmla="*/ 22266 h 258883"/>
                  <a:gd name="connsiteX20" fmla="*/ 33121 w 172443"/>
                  <a:gd name="connsiteY20" fmla="*/ 144328 h 258883"/>
                  <a:gd name="connsiteX21" fmla="*/ 14236 w 172443"/>
                  <a:gd name="connsiteY21" fmla="*/ 200425 h 258883"/>
                  <a:gd name="connsiteX22" fmla="*/ 53677 w 172443"/>
                  <a:gd name="connsiteY22" fmla="*/ 244561 h 258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2443" h="258883">
                    <a:moveTo>
                      <a:pt x="68636" y="258883"/>
                    </a:moveTo>
                    <a:cubicBezTo>
                      <a:pt x="63172" y="258883"/>
                      <a:pt x="57576" y="258432"/>
                      <a:pt x="51847" y="257557"/>
                    </a:cubicBezTo>
                    <a:lnTo>
                      <a:pt x="49990" y="257133"/>
                    </a:lnTo>
                    <a:cubicBezTo>
                      <a:pt x="49566" y="257027"/>
                      <a:pt x="49168" y="256894"/>
                      <a:pt x="48770" y="256708"/>
                    </a:cubicBezTo>
                    <a:cubicBezTo>
                      <a:pt x="47179" y="255966"/>
                      <a:pt x="9488" y="238275"/>
                      <a:pt x="1478" y="203316"/>
                    </a:cubicBezTo>
                    <a:cubicBezTo>
                      <a:pt x="-3428" y="181885"/>
                      <a:pt x="3892" y="159128"/>
                      <a:pt x="23254" y="135681"/>
                    </a:cubicBezTo>
                    <a:cubicBezTo>
                      <a:pt x="23413" y="135496"/>
                      <a:pt x="23573" y="135310"/>
                      <a:pt x="23732" y="135151"/>
                    </a:cubicBezTo>
                    <a:cubicBezTo>
                      <a:pt x="121683" y="39878"/>
                      <a:pt x="122718" y="7625"/>
                      <a:pt x="122665" y="7334"/>
                    </a:cubicBezTo>
                    <a:cubicBezTo>
                      <a:pt x="122320" y="4416"/>
                      <a:pt x="123964" y="1605"/>
                      <a:pt x="126696" y="491"/>
                    </a:cubicBezTo>
                    <a:cubicBezTo>
                      <a:pt x="129428" y="-623"/>
                      <a:pt x="132558" y="199"/>
                      <a:pt x="134362" y="2559"/>
                    </a:cubicBezTo>
                    <a:cubicBezTo>
                      <a:pt x="135502" y="4018"/>
                      <a:pt x="162105" y="38870"/>
                      <a:pt x="170036" y="85711"/>
                    </a:cubicBezTo>
                    <a:lnTo>
                      <a:pt x="170036" y="85711"/>
                    </a:lnTo>
                    <a:cubicBezTo>
                      <a:pt x="177807" y="131623"/>
                      <a:pt x="167198" y="196845"/>
                      <a:pt x="131842" y="232678"/>
                    </a:cubicBezTo>
                    <a:cubicBezTo>
                      <a:pt x="114761" y="249998"/>
                      <a:pt x="93144" y="258883"/>
                      <a:pt x="68636" y="258883"/>
                    </a:cubicBezTo>
                    <a:close/>
                    <a:moveTo>
                      <a:pt x="53677" y="244561"/>
                    </a:moveTo>
                    <a:lnTo>
                      <a:pt x="54340" y="244720"/>
                    </a:lnTo>
                    <a:cubicBezTo>
                      <a:pt x="81341" y="248910"/>
                      <a:pt x="104443" y="241776"/>
                      <a:pt x="122505" y="223474"/>
                    </a:cubicBezTo>
                    <a:cubicBezTo>
                      <a:pt x="154413" y="191142"/>
                      <a:pt x="164147" y="129475"/>
                      <a:pt x="157092" y="87912"/>
                    </a:cubicBezTo>
                    <a:lnTo>
                      <a:pt x="157092" y="87912"/>
                    </a:lnTo>
                    <a:cubicBezTo>
                      <a:pt x="152318" y="59665"/>
                      <a:pt x="139958" y="35740"/>
                      <a:pt x="131762" y="22266"/>
                    </a:cubicBezTo>
                    <a:cubicBezTo>
                      <a:pt x="123858" y="41337"/>
                      <a:pt x="100571" y="78682"/>
                      <a:pt x="33121" y="144328"/>
                    </a:cubicBezTo>
                    <a:cubicBezTo>
                      <a:pt x="16650" y="164353"/>
                      <a:pt x="10311" y="183238"/>
                      <a:pt x="14236" y="200425"/>
                    </a:cubicBezTo>
                    <a:cubicBezTo>
                      <a:pt x="20363" y="227135"/>
                      <a:pt x="49380" y="242412"/>
                      <a:pt x="53677" y="244561"/>
                    </a:cubicBezTo>
                    <a:close/>
                  </a:path>
                </a:pathLst>
              </a:custGeom>
              <a:solidFill>
                <a:schemeClr val="accent1"/>
              </a:solidFill>
              <a:ln w="2651" cap="flat">
                <a:noFill/>
                <a:prstDash val="solid"/>
                <a:miter/>
              </a:ln>
            </p:spPr>
            <p:txBody>
              <a:bodyPr rtlCol="0" anchor="ctr"/>
              <a:lstStyle/>
              <a:p>
                <a:endParaRPr lang="en-GB" dirty="0"/>
              </a:p>
            </p:txBody>
          </p:sp>
        </p:grpSp>
        <p:grpSp>
          <p:nvGrpSpPr>
            <p:cNvPr id="654" name="Group 653">
              <a:extLst>
                <a:ext uri="{FF2B5EF4-FFF2-40B4-BE49-F238E27FC236}">
                  <a16:creationId xmlns:a16="http://schemas.microsoft.com/office/drawing/2014/main" id="{0EFED146-F88C-4B4E-9E96-E28BCB4A9DF2}"/>
                </a:ext>
              </a:extLst>
            </p:cNvPr>
            <p:cNvGrpSpPr/>
            <p:nvPr/>
          </p:nvGrpSpPr>
          <p:grpSpPr>
            <a:xfrm>
              <a:off x="8130740" y="4134317"/>
              <a:ext cx="274174" cy="300294"/>
              <a:chOff x="2549695" y="1829583"/>
              <a:chExt cx="275367" cy="301600"/>
            </a:xfrm>
            <a:solidFill>
              <a:schemeClr val="tx2"/>
            </a:solidFill>
          </p:grpSpPr>
          <p:grpSp>
            <p:nvGrpSpPr>
              <p:cNvPr id="655" name="Grafik 228">
                <a:extLst>
                  <a:ext uri="{FF2B5EF4-FFF2-40B4-BE49-F238E27FC236}">
                    <a16:creationId xmlns:a16="http://schemas.microsoft.com/office/drawing/2014/main" id="{29CA7227-98FA-4F1A-949A-5AF1F387A6B0}"/>
                  </a:ext>
                </a:extLst>
              </p:cNvPr>
              <p:cNvGrpSpPr/>
              <p:nvPr/>
            </p:nvGrpSpPr>
            <p:grpSpPr>
              <a:xfrm>
                <a:off x="2628364" y="1829583"/>
                <a:ext cx="196698" cy="301599"/>
                <a:chOff x="2628364" y="1829583"/>
                <a:chExt cx="196698" cy="301599"/>
              </a:xfrm>
              <a:grpFill/>
            </p:grpSpPr>
            <p:grpSp>
              <p:nvGrpSpPr>
                <p:cNvPr id="658" name="Grafik 228">
                  <a:extLst>
                    <a:ext uri="{FF2B5EF4-FFF2-40B4-BE49-F238E27FC236}">
                      <a16:creationId xmlns:a16="http://schemas.microsoft.com/office/drawing/2014/main" id="{80477B54-C733-41F9-BDEA-154AD850EEFB}"/>
                    </a:ext>
                  </a:extLst>
                </p:cNvPr>
                <p:cNvGrpSpPr/>
                <p:nvPr/>
              </p:nvGrpSpPr>
              <p:grpSpPr>
                <a:xfrm>
                  <a:off x="2628364" y="1829583"/>
                  <a:ext cx="196698" cy="301599"/>
                  <a:chOff x="2628364" y="1829583"/>
                  <a:chExt cx="196698" cy="301599"/>
                </a:xfrm>
                <a:grpFill/>
              </p:grpSpPr>
              <p:sp>
                <p:nvSpPr>
                  <p:cNvPr id="671" name="Freihandform: Form 362">
                    <a:extLst>
                      <a:ext uri="{FF2B5EF4-FFF2-40B4-BE49-F238E27FC236}">
                        <a16:creationId xmlns:a16="http://schemas.microsoft.com/office/drawing/2014/main" id="{C3B4C899-4FC4-4051-B0A7-2AB7EB471ADE}"/>
                      </a:ext>
                    </a:extLst>
                  </p:cNvPr>
                  <p:cNvSpPr/>
                  <p:nvPr/>
                </p:nvSpPr>
                <p:spPr>
                  <a:xfrm>
                    <a:off x="2628364" y="1862366"/>
                    <a:ext cx="196698" cy="268816"/>
                  </a:xfrm>
                  <a:custGeom>
                    <a:avLst/>
                    <a:gdLst>
                      <a:gd name="connsiteX0" fmla="*/ 190148 w 196698"/>
                      <a:gd name="connsiteY0" fmla="*/ 268816 h 268816"/>
                      <a:gd name="connsiteX1" fmla="*/ 6551 w 196698"/>
                      <a:gd name="connsiteY1" fmla="*/ 268816 h 268816"/>
                      <a:gd name="connsiteX2" fmla="*/ 0 w 196698"/>
                      <a:gd name="connsiteY2" fmla="*/ 262265 h 268816"/>
                      <a:gd name="connsiteX3" fmla="*/ 0 w 196698"/>
                      <a:gd name="connsiteY3" fmla="*/ 6551 h 268816"/>
                      <a:gd name="connsiteX4" fmla="*/ 6551 w 196698"/>
                      <a:gd name="connsiteY4" fmla="*/ 0 h 268816"/>
                      <a:gd name="connsiteX5" fmla="*/ 183596 w 196698"/>
                      <a:gd name="connsiteY5" fmla="*/ 0 h 268816"/>
                      <a:gd name="connsiteX6" fmla="*/ 183596 w 196698"/>
                      <a:gd name="connsiteY6" fmla="*/ 13103 h 268816"/>
                      <a:gd name="connsiteX7" fmla="*/ 13129 w 196698"/>
                      <a:gd name="connsiteY7" fmla="*/ 13103 h 268816"/>
                      <a:gd name="connsiteX8" fmla="*/ 13129 w 196698"/>
                      <a:gd name="connsiteY8" fmla="*/ 255714 h 268816"/>
                      <a:gd name="connsiteX9" fmla="*/ 183596 w 196698"/>
                      <a:gd name="connsiteY9" fmla="*/ 255714 h 268816"/>
                      <a:gd name="connsiteX10" fmla="*/ 183596 w 196698"/>
                      <a:gd name="connsiteY10" fmla="*/ 222931 h 268816"/>
                      <a:gd name="connsiteX11" fmla="*/ 196699 w 196698"/>
                      <a:gd name="connsiteY11" fmla="*/ 236033 h 268816"/>
                      <a:gd name="connsiteX12" fmla="*/ 196699 w 196698"/>
                      <a:gd name="connsiteY12" fmla="*/ 262265 h 268816"/>
                      <a:gd name="connsiteX13" fmla="*/ 190148 w 196698"/>
                      <a:gd name="connsiteY13" fmla="*/ 268816 h 26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698" h="268816">
                        <a:moveTo>
                          <a:pt x="190148" y="268816"/>
                        </a:moveTo>
                        <a:lnTo>
                          <a:pt x="6551" y="268816"/>
                        </a:lnTo>
                        <a:cubicBezTo>
                          <a:pt x="2918" y="268816"/>
                          <a:pt x="0" y="265872"/>
                          <a:pt x="0" y="262265"/>
                        </a:cubicBezTo>
                        <a:lnTo>
                          <a:pt x="0" y="6551"/>
                        </a:lnTo>
                        <a:cubicBezTo>
                          <a:pt x="0" y="2918"/>
                          <a:pt x="2944" y="0"/>
                          <a:pt x="6551" y="0"/>
                        </a:cubicBezTo>
                        <a:lnTo>
                          <a:pt x="183596" y="0"/>
                        </a:lnTo>
                        <a:lnTo>
                          <a:pt x="183596" y="13103"/>
                        </a:lnTo>
                        <a:lnTo>
                          <a:pt x="13129" y="13103"/>
                        </a:lnTo>
                        <a:lnTo>
                          <a:pt x="13129" y="255714"/>
                        </a:lnTo>
                        <a:lnTo>
                          <a:pt x="183596" y="255714"/>
                        </a:lnTo>
                        <a:lnTo>
                          <a:pt x="183596" y="222931"/>
                        </a:lnTo>
                        <a:lnTo>
                          <a:pt x="196699" y="236033"/>
                        </a:lnTo>
                        <a:lnTo>
                          <a:pt x="196699" y="262265"/>
                        </a:lnTo>
                        <a:cubicBezTo>
                          <a:pt x="196699" y="265899"/>
                          <a:pt x="193755" y="268816"/>
                          <a:pt x="190148" y="268816"/>
                        </a:cubicBezTo>
                        <a:close/>
                      </a:path>
                    </a:pathLst>
                  </a:custGeom>
                  <a:grpFill/>
                  <a:ln w="2651" cap="flat">
                    <a:noFill/>
                    <a:prstDash val="solid"/>
                    <a:miter/>
                  </a:ln>
                </p:spPr>
                <p:txBody>
                  <a:bodyPr rtlCol="0" anchor="ctr"/>
                  <a:lstStyle/>
                  <a:p>
                    <a:endParaRPr lang="en-GB" dirty="0"/>
                  </a:p>
                </p:txBody>
              </p:sp>
              <p:sp>
                <p:nvSpPr>
                  <p:cNvPr id="672" name="Freihandform: Form 363">
                    <a:extLst>
                      <a:ext uri="{FF2B5EF4-FFF2-40B4-BE49-F238E27FC236}">
                        <a16:creationId xmlns:a16="http://schemas.microsoft.com/office/drawing/2014/main" id="{A9666AF9-0A3C-4E48-BDD7-E0865201E098}"/>
                      </a:ext>
                    </a:extLst>
                  </p:cNvPr>
                  <p:cNvSpPr/>
                  <p:nvPr/>
                </p:nvSpPr>
                <p:spPr>
                  <a:xfrm>
                    <a:off x="2654595" y="1829583"/>
                    <a:ext cx="144235" cy="45885"/>
                  </a:xfrm>
                  <a:custGeom>
                    <a:avLst/>
                    <a:gdLst>
                      <a:gd name="connsiteX0" fmla="*/ 137684 w 144235"/>
                      <a:gd name="connsiteY0" fmla="*/ 45886 h 45885"/>
                      <a:gd name="connsiteX1" fmla="*/ 6551 w 144235"/>
                      <a:gd name="connsiteY1" fmla="*/ 45886 h 45885"/>
                      <a:gd name="connsiteX2" fmla="*/ 0 w 144235"/>
                      <a:gd name="connsiteY2" fmla="*/ 39334 h 45885"/>
                      <a:gd name="connsiteX3" fmla="*/ 0 w 144235"/>
                      <a:gd name="connsiteY3" fmla="*/ 6551 h 45885"/>
                      <a:gd name="connsiteX4" fmla="*/ 6551 w 144235"/>
                      <a:gd name="connsiteY4" fmla="*/ 0 h 45885"/>
                      <a:gd name="connsiteX5" fmla="*/ 137684 w 144235"/>
                      <a:gd name="connsiteY5" fmla="*/ 0 h 45885"/>
                      <a:gd name="connsiteX6" fmla="*/ 144235 w 144235"/>
                      <a:gd name="connsiteY6" fmla="*/ 6551 h 45885"/>
                      <a:gd name="connsiteX7" fmla="*/ 144235 w 144235"/>
                      <a:gd name="connsiteY7" fmla="*/ 39334 h 45885"/>
                      <a:gd name="connsiteX8" fmla="*/ 137684 w 144235"/>
                      <a:gd name="connsiteY8" fmla="*/ 45886 h 45885"/>
                      <a:gd name="connsiteX9" fmla="*/ 13103 w 144235"/>
                      <a:gd name="connsiteY9" fmla="*/ 32783 h 45885"/>
                      <a:gd name="connsiteX10" fmla="*/ 131133 w 144235"/>
                      <a:gd name="connsiteY10" fmla="*/ 32783 h 45885"/>
                      <a:gd name="connsiteX11" fmla="*/ 131133 w 144235"/>
                      <a:gd name="connsiteY11" fmla="*/ 13103 h 45885"/>
                      <a:gd name="connsiteX12" fmla="*/ 13103 w 144235"/>
                      <a:gd name="connsiteY12" fmla="*/ 13103 h 45885"/>
                      <a:gd name="connsiteX13" fmla="*/ 13103 w 144235"/>
                      <a:gd name="connsiteY13" fmla="*/ 32783 h 45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235" h="45885">
                        <a:moveTo>
                          <a:pt x="137684" y="45886"/>
                        </a:moveTo>
                        <a:lnTo>
                          <a:pt x="6551" y="45886"/>
                        </a:lnTo>
                        <a:cubicBezTo>
                          <a:pt x="2918" y="45886"/>
                          <a:pt x="0" y="42942"/>
                          <a:pt x="0" y="39334"/>
                        </a:cubicBezTo>
                        <a:lnTo>
                          <a:pt x="0" y="6551"/>
                        </a:lnTo>
                        <a:cubicBezTo>
                          <a:pt x="0" y="2918"/>
                          <a:pt x="2944" y="0"/>
                          <a:pt x="6551" y="0"/>
                        </a:cubicBezTo>
                        <a:lnTo>
                          <a:pt x="137684" y="0"/>
                        </a:lnTo>
                        <a:cubicBezTo>
                          <a:pt x="141318" y="0"/>
                          <a:pt x="144235" y="2944"/>
                          <a:pt x="144235" y="6551"/>
                        </a:cubicBezTo>
                        <a:lnTo>
                          <a:pt x="144235" y="39334"/>
                        </a:lnTo>
                        <a:cubicBezTo>
                          <a:pt x="144235" y="42968"/>
                          <a:pt x="141291" y="45886"/>
                          <a:pt x="137684" y="45886"/>
                        </a:cubicBezTo>
                        <a:close/>
                        <a:moveTo>
                          <a:pt x="13103" y="32783"/>
                        </a:moveTo>
                        <a:lnTo>
                          <a:pt x="131133" y="32783"/>
                        </a:lnTo>
                        <a:lnTo>
                          <a:pt x="131133" y="13103"/>
                        </a:lnTo>
                        <a:lnTo>
                          <a:pt x="13103" y="13103"/>
                        </a:lnTo>
                        <a:lnTo>
                          <a:pt x="13103" y="32783"/>
                        </a:lnTo>
                        <a:close/>
                      </a:path>
                    </a:pathLst>
                  </a:custGeom>
                  <a:grpFill/>
                  <a:ln w="2651" cap="flat">
                    <a:noFill/>
                    <a:prstDash val="solid"/>
                    <a:miter/>
                  </a:ln>
                </p:spPr>
                <p:txBody>
                  <a:bodyPr rtlCol="0" anchor="ctr"/>
                  <a:lstStyle/>
                  <a:p>
                    <a:endParaRPr lang="en-GB" dirty="0"/>
                  </a:p>
                </p:txBody>
              </p:sp>
            </p:grpSp>
            <p:grpSp>
              <p:nvGrpSpPr>
                <p:cNvPr id="659" name="Grafik 228">
                  <a:extLst>
                    <a:ext uri="{FF2B5EF4-FFF2-40B4-BE49-F238E27FC236}">
                      <a16:creationId xmlns:a16="http://schemas.microsoft.com/office/drawing/2014/main" id="{28910BCA-3DAC-4317-A846-31179A4476C5}"/>
                    </a:ext>
                  </a:extLst>
                </p:cNvPr>
                <p:cNvGrpSpPr/>
                <p:nvPr/>
              </p:nvGrpSpPr>
              <p:grpSpPr>
                <a:xfrm>
                  <a:off x="2661147" y="1901701"/>
                  <a:ext cx="118003" cy="13129"/>
                  <a:chOff x="2661147" y="1901701"/>
                  <a:chExt cx="118003" cy="13129"/>
                </a:xfrm>
                <a:grpFill/>
              </p:grpSpPr>
              <p:sp>
                <p:nvSpPr>
                  <p:cNvPr id="669" name="Freihandform: Form 365">
                    <a:extLst>
                      <a:ext uri="{FF2B5EF4-FFF2-40B4-BE49-F238E27FC236}">
                        <a16:creationId xmlns:a16="http://schemas.microsoft.com/office/drawing/2014/main" id="{EA7233E9-CF82-4B19-8ABE-756DA2E49054}"/>
                      </a:ext>
                    </a:extLst>
                  </p:cNvPr>
                  <p:cNvSpPr/>
                  <p:nvPr/>
                </p:nvSpPr>
                <p:spPr>
                  <a:xfrm>
                    <a:off x="2661147" y="1901701"/>
                    <a:ext cx="45885" cy="13102"/>
                  </a:xfrm>
                  <a:custGeom>
                    <a:avLst/>
                    <a:gdLst>
                      <a:gd name="connsiteX0" fmla="*/ 0 w 45885"/>
                      <a:gd name="connsiteY0" fmla="*/ 0 h 13102"/>
                      <a:gd name="connsiteX1" fmla="*/ 45886 w 45885"/>
                      <a:gd name="connsiteY1" fmla="*/ 0 h 13102"/>
                      <a:gd name="connsiteX2" fmla="*/ 45886 w 45885"/>
                      <a:gd name="connsiteY2" fmla="*/ 13103 h 13102"/>
                      <a:gd name="connsiteX3" fmla="*/ 0 w 45885"/>
                      <a:gd name="connsiteY3" fmla="*/ 13103 h 13102"/>
                    </a:gdLst>
                    <a:ahLst/>
                    <a:cxnLst>
                      <a:cxn ang="0">
                        <a:pos x="connsiteX0" y="connsiteY0"/>
                      </a:cxn>
                      <a:cxn ang="0">
                        <a:pos x="connsiteX1" y="connsiteY1"/>
                      </a:cxn>
                      <a:cxn ang="0">
                        <a:pos x="connsiteX2" y="connsiteY2"/>
                      </a:cxn>
                      <a:cxn ang="0">
                        <a:pos x="connsiteX3" y="connsiteY3"/>
                      </a:cxn>
                    </a:cxnLst>
                    <a:rect l="l" t="t" r="r" b="b"/>
                    <a:pathLst>
                      <a:path w="45885" h="13102">
                        <a:moveTo>
                          <a:pt x="0" y="0"/>
                        </a:moveTo>
                        <a:lnTo>
                          <a:pt x="45886" y="0"/>
                        </a:lnTo>
                        <a:lnTo>
                          <a:pt x="45886" y="13103"/>
                        </a:lnTo>
                        <a:lnTo>
                          <a:pt x="0" y="13103"/>
                        </a:lnTo>
                        <a:close/>
                      </a:path>
                    </a:pathLst>
                  </a:custGeom>
                  <a:grpFill/>
                  <a:ln w="2651" cap="flat">
                    <a:noFill/>
                    <a:prstDash val="solid"/>
                    <a:miter/>
                  </a:ln>
                </p:spPr>
                <p:txBody>
                  <a:bodyPr rtlCol="0" anchor="ctr"/>
                  <a:lstStyle/>
                  <a:p>
                    <a:endParaRPr lang="en-GB" dirty="0"/>
                  </a:p>
                </p:txBody>
              </p:sp>
              <p:sp>
                <p:nvSpPr>
                  <p:cNvPr id="670" name="Freihandform: Form 366">
                    <a:extLst>
                      <a:ext uri="{FF2B5EF4-FFF2-40B4-BE49-F238E27FC236}">
                        <a16:creationId xmlns:a16="http://schemas.microsoft.com/office/drawing/2014/main" id="{3D783C16-6624-4AC0-8EB5-E29C65CBF486}"/>
                      </a:ext>
                    </a:extLst>
                  </p:cNvPr>
                  <p:cNvSpPr/>
                  <p:nvPr/>
                </p:nvSpPr>
                <p:spPr>
                  <a:xfrm>
                    <a:off x="2746367" y="1901701"/>
                    <a:ext cx="32783" cy="13129"/>
                  </a:xfrm>
                  <a:custGeom>
                    <a:avLst/>
                    <a:gdLst>
                      <a:gd name="connsiteX0" fmla="*/ 19680 w 32783"/>
                      <a:gd name="connsiteY0" fmla="*/ 13129 h 13129"/>
                      <a:gd name="connsiteX1" fmla="*/ 0 w 32783"/>
                      <a:gd name="connsiteY1" fmla="*/ 13129 h 13129"/>
                      <a:gd name="connsiteX2" fmla="*/ 0 w 32783"/>
                      <a:gd name="connsiteY2" fmla="*/ 0 h 13129"/>
                      <a:gd name="connsiteX3" fmla="*/ 32783 w 32783"/>
                      <a:gd name="connsiteY3" fmla="*/ 0 h 13129"/>
                    </a:gdLst>
                    <a:ahLst/>
                    <a:cxnLst>
                      <a:cxn ang="0">
                        <a:pos x="connsiteX0" y="connsiteY0"/>
                      </a:cxn>
                      <a:cxn ang="0">
                        <a:pos x="connsiteX1" y="connsiteY1"/>
                      </a:cxn>
                      <a:cxn ang="0">
                        <a:pos x="connsiteX2" y="connsiteY2"/>
                      </a:cxn>
                      <a:cxn ang="0">
                        <a:pos x="connsiteX3" y="connsiteY3"/>
                      </a:cxn>
                    </a:cxnLst>
                    <a:rect l="l" t="t" r="r" b="b"/>
                    <a:pathLst>
                      <a:path w="32783" h="13129">
                        <a:moveTo>
                          <a:pt x="19680" y="13129"/>
                        </a:moveTo>
                        <a:lnTo>
                          <a:pt x="0" y="13129"/>
                        </a:lnTo>
                        <a:lnTo>
                          <a:pt x="0" y="0"/>
                        </a:lnTo>
                        <a:lnTo>
                          <a:pt x="32783" y="0"/>
                        </a:lnTo>
                        <a:close/>
                      </a:path>
                    </a:pathLst>
                  </a:custGeom>
                  <a:grpFill/>
                  <a:ln w="2651" cap="flat">
                    <a:noFill/>
                    <a:prstDash val="solid"/>
                    <a:miter/>
                  </a:ln>
                </p:spPr>
                <p:txBody>
                  <a:bodyPr rtlCol="0" anchor="ctr"/>
                  <a:lstStyle/>
                  <a:p>
                    <a:endParaRPr lang="en-GB" dirty="0"/>
                  </a:p>
                </p:txBody>
              </p:sp>
            </p:grpSp>
            <p:grpSp>
              <p:nvGrpSpPr>
                <p:cNvPr id="660" name="Grafik 228">
                  <a:extLst>
                    <a:ext uri="{FF2B5EF4-FFF2-40B4-BE49-F238E27FC236}">
                      <a16:creationId xmlns:a16="http://schemas.microsoft.com/office/drawing/2014/main" id="{549F7847-BD87-417F-8CBF-88FA3513B4E6}"/>
                    </a:ext>
                  </a:extLst>
                </p:cNvPr>
                <p:cNvGrpSpPr/>
                <p:nvPr/>
              </p:nvGrpSpPr>
              <p:grpSpPr>
                <a:xfrm>
                  <a:off x="2661147" y="1941035"/>
                  <a:ext cx="111452" cy="13102"/>
                  <a:chOff x="2661147" y="1941035"/>
                  <a:chExt cx="111452" cy="13102"/>
                </a:xfrm>
                <a:grpFill/>
              </p:grpSpPr>
              <p:sp>
                <p:nvSpPr>
                  <p:cNvPr id="667" name="Freihandform: Form 368">
                    <a:extLst>
                      <a:ext uri="{FF2B5EF4-FFF2-40B4-BE49-F238E27FC236}">
                        <a16:creationId xmlns:a16="http://schemas.microsoft.com/office/drawing/2014/main" id="{D97EA8C9-2F23-4B93-9157-924370759491}"/>
                      </a:ext>
                    </a:extLst>
                  </p:cNvPr>
                  <p:cNvSpPr/>
                  <p:nvPr/>
                </p:nvSpPr>
                <p:spPr>
                  <a:xfrm>
                    <a:off x="2661147" y="1941035"/>
                    <a:ext cx="45885" cy="13102"/>
                  </a:xfrm>
                  <a:custGeom>
                    <a:avLst/>
                    <a:gdLst>
                      <a:gd name="connsiteX0" fmla="*/ 0 w 45885"/>
                      <a:gd name="connsiteY0" fmla="*/ 0 h 13102"/>
                      <a:gd name="connsiteX1" fmla="*/ 45886 w 45885"/>
                      <a:gd name="connsiteY1" fmla="*/ 0 h 13102"/>
                      <a:gd name="connsiteX2" fmla="*/ 45886 w 45885"/>
                      <a:gd name="connsiteY2" fmla="*/ 13103 h 13102"/>
                      <a:gd name="connsiteX3" fmla="*/ 0 w 45885"/>
                      <a:gd name="connsiteY3" fmla="*/ 13103 h 13102"/>
                    </a:gdLst>
                    <a:ahLst/>
                    <a:cxnLst>
                      <a:cxn ang="0">
                        <a:pos x="connsiteX0" y="connsiteY0"/>
                      </a:cxn>
                      <a:cxn ang="0">
                        <a:pos x="connsiteX1" y="connsiteY1"/>
                      </a:cxn>
                      <a:cxn ang="0">
                        <a:pos x="connsiteX2" y="connsiteY2"/>
                      </a:cxn>
                      <a:cxn ang="0">
                        <a:pos x="connsiteX3" y="connsiteY3"/>
                      </a:cxn>
                    </a:cxnLst>
                    <a:rect l="l" t="t" r="r" b="b"/>
                    <a:pathLst>
                      <a:path w="45885" h="13102">
                        <a:moveTo>
                          <a:pt x="0" y="0"/>
                        </a:moveTo>
                        <a:lnTo>
                          <a:pt x="45886" y="0"/>
                        </a:lnTo>
                        <a:lnTo>
                          <a:pt x="45886" y="13103"/>
                        </a:lnTo>
                        <a:lnTo>
                          <a:pt x="0" y="13103"/>
                        </a:lnTo>
                        <a:close/>
                      </a:path>
                    </a:pathLst>
                  </a:custGeom>
                  <a:grpFill/>
                  <a:ln w="2651" cap="flat">
                    <a:noFill/>
                    <a:prstDash val="solid"/>
                    <a:miter/>
                  </a:ln>
                </p:spPr>
                <p:txBody>
                  <a:bodyPr rtlCol="0" anchor="ctr"/>
                  <a:lstStyle/>
                  <a:p>
                    <a:endParaRPr lang="en-GB" dirty="0"/>
                  </a:p>
                </p:txBody>
              </p:sp>
              <p:sp>
                <p:nvSpPr>
                  <p:cNvPr id="668" name="Freihandform: Form 369">
                    <a:extLst>
                      <a:ext uri="{FF2B5EF4-FFF2-40B4-BE49-F238E27FC236}">
                        <a16:creationId xmlns:a16="http://schemas.microsoft.com/office/drawing/2014/main" id="{9DEBD1FA-AC3F-4531-8A50-7C4E1221E293}"/>
                      </a:ext>
                    </a:extLst>
                  </p:cNvPr>
                  <p:cNvSpPr/>
                  <p:nvPr/>
                </p:nvSpPr>
                <p:spPr>
                  <a:xfrm>
                    <a:off x="2746367" y="1941035"/>
                    <a:ext cx="26231" cy="13102"/>
                  </a:xfrm>
                  <a:custGeom>
                    <a:avLst/>
                    <a:gdLst>
                      <a:gd name="connsiteX0" fmla="*/ 0 w 26231"/>
                      <a:gd name="connsiteY0" fmla="*/ 0 h 13102"/>
                      <a:gd name="connsiteX1" fmla="*/ 26232 w 26231"/>
                      <a:gd name="connsiteY1" fmla="*/ 0 h 13102"/>
                      <a:gd name="connsiteX2" fmla="*/ 26232 w 26231"/>
                      <a:gd name="connsiteY2" fmla="*/ 13103 h 13102"/>
                      <a:gd name="connsiteX3" fmla="*/ 0 w 26231"/>
                      <a:gd name="connsiteY3" fmla="*/ 13103 h 13102"/>
                    </a:gdLst>
                    <a:ahLst/>
                    <a:cxnLst>
                      <a:cxn ang="0">
                        <a:pos x="connsiteX0" y="connsiteY0"/>
                      </a:cxn>
                      <a:cxn ang="0">
                        <a:pos x="connsiteX1" y="connsiteY1"/>
                      </a:cxn>
                      <a:cxn ang="0">
                        <a:pos x="connsiteX2" y="connsiteY2"/>
                      </a:cxn>
                      <a:cxn ang="0">
                        <a:pos x="connsiteX3" y="connsiteY3"/>
                      </a:cxn>
                    </a:cxnLst>
                    <a:rect l="l" t="t" r="r" b="b"/>
                    <a:pathLst>
                      <a:path w="26231" h="13102">
                        <a:moveTo>
                          <a:pt x="0" y="0"/>
                        </a:moveTo>
                        <a:lnTo>
                          <a:pt x="26232" y="0"/>
                        </a:lnTo>
                        <a:lnTo>
                          <a:pt x="26232" y="13103"/>
                        </a:lnTo>
                        <a:lnTo>
                          <a:pt x="0" y="13103"/>
                        </a:lnTo>
                        <a:close/>
                      </a:path>
                    </a:pathLst>
                  </a:custGeom>
                  <a:grpFill/>
                  <a:ln w="2651" cap="flat">
                    <a:noFill/>
                    <a:prstDash val="solid"/>
                    <a:miter/>
                  </a:ln>
                </p:spPr>
                <p:txBody>
                  <a:bodyPr rtlCol="0" anchor="ctr"/>
                  <a:lstStyle/>
                  <a:p>
                    <a:endParaRPr lang="en-GB" dirty="0"/>
                  </a:p>
                </p:txBody>
              </p:sp>
            </p:grpSp>
            <p:grpSp>
              <p:nvGrpSpPr>
                <p:cNvPr id="661" name="Grafik 228">
                  <a:extLst>
                    <a:ext uri="{FF2B5EF4-FFF2-40B4-BE49-F238E27FC236}">
                      <a16:creationId xmlns:a16="http://schemas.microsoft.com/office/drawing/2014/main" id="{23EB2F5D-C449-47BA-BDA6-08CAF311B4C7}"/>
                    </a:ext>
                  </a:extLst>
                </p:cNvPr>
                <p:cNvGrpSpPr/>
                <p:nvPr/>
              </p:nvGrpSpPr>
              <p:grpSpPr>
                <a:xfrm>
                  <a:off x="2661147" y="2000050"/>
                  <a:ext cx="131106" cy="13102"/>
                  <a:chOff x="2661147" y="2000050"/>
                  <a:chExt cx="131106" cy="13102"/>
                </a:xfrm>
                <a:grpFill/>
              </p:grpSpPr>
              <p:sp>
                <p:nvSpPr>
                  <p:cNvPr id="665" name="Freihandform: Form 371">
                    <a:extLst>
                      <a:ext uri="{FF2B5EF4-FFF2-40B4-BE49-F238E27FC236}">
                        <a16:creationId xmlns:a16="http://schemas.microsoft.com/office/drawing/2014/main" id="{B6AA3099-41F0-4736-B3AA-84AC8899FCF5}"/>
                      </a:ext>
                    </a:extLst>
                  </p:cNvPr>
                  <p:cNvSpPr/>
                  <p:nvPr/>
                </p:nvSpPr>
                <p:spPr>
                  <a:xfrm>
                    <a:off x="2661147" y="2000050"/>
                    <a:ext cx="45885" cy="13102"/>
                  </a:xfrm>
                  <a:custGeom>
                    <a:avLst/>
                    <a:gdLst>
                      <a:gd name="connsiteX0" fmla="*/ 0 w 45885"/>
                      <a:gd name="connsiteY0" fmla="*/ 0 h 13102"/>
                      <a:gd name="connsiteX1" fmla="*/ 45886 w 45885"/>
                      <a:gd name="connsiteY1" fmla="*/ 0 h 13102"/>
                      <a:gd name="connsiteX2" fmla="*/ 45886 w 45885"/>
                      <a:gd name="connsiteY2" fmla="*/ 13103 h 13102"/>
                      <a:gd name="connsiteX3" fmla="*/ 0 w 45885"/>
                      <a:gd name="connsiteY3" fmla="*/ 13103 h 13102"/>
                    </a:gdLst>
                    <a:ahLst/>
                    <a:cxnLst>
                      <a:cxn ang="0">
                        <a:pos x="connsiteX0" y="connsiteY0"/>
                      </a:cxn>
                      <a:cxn ang="0">
                        <a:pos x="connsiteX1" y="connsiteY1"/>
                      </a:cxn>
                      <a:cxn ang="0">
                        <a:pos x="connsiteX2" y="connsiteY2"/>
                      </a:cxn>
                      <a:cxn ang="0">
                        <a:pos x="connsiteX3" y="connsiteY3"/>
                      </a:cxn>
                    </a:cxnLst>
                    <a:rect l="l" t="t" r="r" b="b"/>
                    <a:pathLst>
                      <a:path w="45885" h="13102">
                        <a:moveTo>
                          <a:pt x="0" y="0"/>
                        </a:moveTo>
                        <a:lnTo>
                          <a:pt x="45886" y="0"/>
                        </a:lnTo>
                        <a:lnTo>
                          <a:pt x="45886" y="13103"/>
                        </a:lnTo>
                        <a:lnTo>
                          <a:pt x="0" y="13103"/>
                        </a:lnTo>
                        <a:close/>
                      </a:path>
                    </a:pathLst>
                  </a:custGeom>
                  <a:grpFill/>
                  <a:ln w="2651" cap="flat">
                    <a:noFill/>
                    <a:prstDash val="solid"/>
                    <a:miter/>
                  </a:ln>
                </p:spPr>
                <p:txBody>
                  <a:bodyPr rtlCol="0" anchor="ctr"/>
                  <a:lstStyle/>
                  <a:p>
                    <a:endParaRPr lang="en-GB" dirty="0"/>
                  </a:p>
                </p:txBody>
              </p:sp>
              <p:sp>
                <p:nvSpPr>
                  <p:cNvPr id="666" name="Freihandform: Form 372">
                    <a:extLst>
                      <a:ext uri="{FF2B5EF4-FFF2-40B4-BE49-F238E27FC236}">
                        <a16:creationId xmlns:a16="http://schemas.microsoft.com/office/drawing/2014/main" id="{7A916606-84C1-40C2-A82A-86A7D185E6EC}"/>
                      </a:ext>
                    </a:extLst>
                  </p:cNvPr>
                  <p:cNvSpPr/>
                  <p:nvPr/>
                </p:nvSpPr>
                <p:spPr>
                  <a:xfrm>
                    <a:off x="2746367" y="2000050"/>
                    <a:ext cx="45885" cy="13102"/>
                  </a:xfrm>
                  <a:custGeom>
                    <a:avLst/>
                    <a:gdLst>
                      <a:gd name="connsiteX0" fmla="*/ 0 w 45885"/>
                      <a:gd name="connsiteY0" fmla="*/ 0 h 13102"/>
                      <a:gd name="connsiteX1" fmla="*/ 45886 w 45885"/>
                      <a:gd name="connsiteY1" fmla="*/ 0 h 13102"/>
                      <a:gd name="connsiteX2" fmla="*/ 45886 w 45885"/>
                      <a:gd name="connsiteY2" fmla="*/ 13103 h 13102"/>
                      <a:gd name="connsiteX3" fmla="*/ 0 w 45885"/>
                      <a:gd name="connsiteY3" fmla="*/ 13103 h 13102"/>
                    </a:gdLst>
                    <a:ahLst/>
                    <a:cxnLst>
                      <a:cxn ang="0">
                        <a:pos x="connsiteX0" y="connsiteY0"/>
                      </a:cxn>
                      <a:cxn ang="0">
                        <a:pos x="connsiteX1" y="connsiteY1"/>
                      </a:cxn>
                      <a:cxn ang="0">
                        <a:pos x="connsiteX2" y="connsiteY2"/>
                      </a:cxn>
                      <a:cxn ang="0">
                        <a:pos x="connsiteX3" y="connsiteY3"/>
                      </a:cxn>
                    </a:cxnLst>
                    <a:rect l="l" t="t" r="r" b="b"/>
                    <a:pathLst>
                      <a:path w="45885" h="13102">
                        <a:moveTo>
                          <a:pt x="0" y="0"/>
                        </a:moveTo>
                        <a:lnTo>
                          <a:pt x="45886" y="0"/>
                        </a:lnTo>
                        <a:lnTo>
                          <a:pt x="45886" y="13103"/>
                        </a:lnTo>
                        <a:lnTo>
                          <a:pt x="0" y="13103"/>
                        </a:lnTo>
                        <a:close/>
                      </a:path>
                    </a:pathLst>
                  </a:custGeom>
                  <a:grpFill/>
                  <a:ln w="2651" cap="flat">
                    <a:noFill/>
                    <a:prstDash val="solid"/>
                    <a:miter/>
                  </a:ln>
                </p:spPr>
                <p:txBody>
                  <a:bodyPr rtlCol="0" anchor="ctr"/>
                  <a:lstStyle/>
                  <a:p>
                    <a:endParaRPr lang="en-GB" dirty="0"/>
                  </a:p>
                </p:txBody>
              </p:sp>
            </p:grpSp>
            <p:grpSp>
              <p:nvGrpSpPr>
                <p:cNvPr id="662" name="Grafik 228">
                  <a:extLst>
                    <a:ext uri="{FF2B5EF4-FFF2-40B4-BE49-F238E27FC236}">
                      <a16:creationId xmlns:a16="http://schemas.microsoft.com/office/drawing/2014/main" id="{49FD8465-2A12-4DED-BD89-366349A78AAB}"/>
                    </a:ext>
                  </a:extLst>
                </p:cNvPr>
                <p:cNvGrpSpPr/>
                <p:nvPr/>
              </p:nvGrpSpPr>
              <p:grpSpPr>
                <a:xfrm>
                  <a:off x="2661147" y="2039411"/>
                  <a:ext cx="131106" cy="13102"/>
                  <a:chOff x="2661147" y="2039411"/>
                  <a:chExt cx="131106" cy="13102"/>
                </a:xfrm>
                <a:grpFill/>
              </p:grpSpPr>
              <p:sp>
                <p:nvSpPr>
                  <p:cNvPr id="663" name="Freihandform: Form 374">
                    <a:extLst>
                      <a:ext uri="{FF2B5EF4-FFF2-40B4-BE49-F238E27FC236}">
                        <a16:creationId xmlns:a16="http://schemas.microsoft.com/office/drawing/2014/main" id="{A09046C9-869F-4BC9-AEE6-7461244D9D71}"/>
                      </a:ext>
                    </a:extLst>
                  </p:cNvPr>
                  <p:cNvSpPr/>
                  <p:nvPr/>
                </p:nvSpPr>
                <p:spPr>
                  <a:xfrm>
                    <a:off x="2661147" y="2039411"/>
                    <a:ext cx="45885" cy="13102"/>
                  </a:xfrm>
                  <a:custGeom>
                    <a:avLst/>
                    <a:gdLst>
                      <a:gd name="connsiteX0" fmla="*/ 0 w 45885"/>
                      <a:gd name="connsiteY0" fmla="*/ 0 h 13102"/>
                      <a:gd name="connsiteX1" fmla="*/ 45886 w 45885"/>
                      <a:gd name="connsiteY1" fmla="*/ 0 h 13102"/>
                      <a:gd name="connsiteX2" fmla="*/ 45886 w 45885"/>
                      <a:gd name="connsiteY2" fmla="*/ 13103 h 13102"/>
                      <a:gd name="connsiteX3" fmla="*/ 0 w 45885"/>
                      <a:gd name="connsiteY3" fmla="*/ 13103 h 13102"/>
                    </a:gdLst>
                    <a:ahLst/>
                    <a:cxnLst>
                      <a:cxn ang="0">
                        <a:pos x="connsiteX0" y="connsiteY0"/>
                      </a:cxn>
                      <a:cxn ang="0">
                        <a:pos x="connsiteX1" y="connsiteY1"/>
                      </a:cxn>
                      <a:cxn ang="0">
                        <a:pos x="connsiteX2" y="connsiteY2"/>
                      </a:cxn>
                      <a:cxn ang="0">
                        <a:pos x="connsiteX3" y="connsiteY3"/>
                      </a:cxn>
                    </a:cxnLst>
                    <a:rect l="l" t="t" r="r" b="b"/>
                    <a:pathLst>
                      <a:path w="45885" h="13102">
                        <a:moveTo>
                          <a:pt x="0" y="0"/>
                        </a:moveTo>
                        <a:lnTo>
                          <a:pt x="45886" y="0"/>
                        </a:lnTo>
                        <a:lnTo>
                          <a:pt x="45886" y="13103"/>
                        </a:lnTo>
                        <a:lnTo>
                          <a:pt x="0" y="13103"/>
                        </a:lnTo>
                        <a:close/>
                      </a:path>
                    </a:pathLst>
                  </a:custGeom>
                  <a:grpFill/>
                  <a:ln w="2651" cap="flat">
                    <a:noFill/>
                    <a:prstDash val="solid"/>
                    <a:miter/>
                  </a:ln>
                </p:spPr>
                <p:txBody>
                  <a:bodyPr rtlCol="0" anchor="ctr"/>
                  <a:lstStyle/>
                  <a:p>
                    <a:endParaRPr lang="en-GB" dirty="0"/>
                  </a:p>
                </p:txBody>
              </p:sp>
              <p:sp>
                <p:nvSpPr>
                  <p:cNvPr id="664" name="Freihandform: Form 375">
                    <a:extLst>
                      <a:ext uri="{FF2B5EF4-FFF2-40B4-BE49-F238E27FC236}">
                        <a16:creationId xmlns:a16="http://schemas.microsoft.com/office/drawing/2014/main" id="{DB5397A6-FF66-4CE4-98EB-7581CC2A124A}"/>
                      </a:ext>
                    </a:extLst>
                  </p:cNvPr>
                  <p:cNvSpPr/>
                  <p:nvPr/>
                </p:nvSpPr>
                <p:spPr>
                  <a:xfrm>
                    <a:off x="2746367" y="2039411"/>
                    <a:ext cx="45885" cy="13102"/>
                  </a:xfrm>
                  <a:custGeom>
                    <a:avLst/>
                    <a:gdLst>
                      <a:gd name="connsiteX0" fmla="*/ 0 w 45885"/>
                      <a:gd name="connsiteY0" fmla="*/ 0 h 13102"/>
                      <a:gd name="connsiteX1" fmla="*/ 45886 w 45885"/>
                      <a:gd name="connsiteY1" fmla="*/ 0 h 13102"/>
                      <a:gd name="connsiteX2" fmla="*/ 45886 w 45885"/>
                      <a:gd name="connsiteY2" fmla="*/ 13103 h 13102"/>
                      <a:gd name="connsiteX3" fmla="*/ 0 w 45885"/>
                      <a:gd name="connsiteY3" fmla="*/ 13103 h 13102"/>
                    </a:gdLst>
                    <a:ahLst/>
                    <a:cxnLst>
                      <a:cxn ang="0">
                        <a:pos x="connsiteX0" y="connsiteY0"/>
                      </a:cxn>
                      <a:cxn ang="0">
                        <a:pos x="connsiteX1" y="connsiteY1"/>
                      </a:cxn>
                      <a:cxn ang="0">
                        <a:pos x="connsiteX2" y="connsiteY2"/>
                      </a:cxn>
                      <a:cxn ang="0">
                        <a:pos x="connsiteX3" y="connsiteY3"/>
                      </a:cxn>
                    </a:cxnLst>
                    <a:rect l="l" t="t" r="r" b="b"/>
                    <a:pathLst>
                      <a:path w="45885" h="13102">
                        <a:moveTo>
                          <a:pt x="0" y="0"/>
                        </a:moveTo>
                        <a:lnTo>
                          <a:pt x="45886" y="0"/>
                        </a:lnTo>
                        <a:lnTo>
                          <a:pt x="45886" y="13103"/>
                        </a:lnTo>
                        <a:lnTo>
                          <a:pt x="0" y="13103"/>
                        </a:lnTo>
                        <a:close/>
                      </a:path>
                    </a:pathLst>
                  </a:custGeom>
                  <a:grpFill/>
                  <a:ln w="2651" cap="flat">
                    <a:noFill/>
                    <a:prstDash val="solid"/>
                    <a:miter/>
                  </a:ln>
                </p:spPr>
                <p:txBody>
                  <a:bodyPr rtlCol="0" anchor="ctr"/>
                  <a:lstStyle/>
                  <a:p>
                    <a:endParaRPr lang="en-GB" dirty="0"/>
                  </a:p>
                </p:txBody>
              </p:sp>
            </p:grpSp>
          </p:grpSp>
          <p:sp>
            <p:nvSpPr>
              <p:cNvPr id="656" name="Freihandform: Form 376">
                <a:extLst>
                  <a:ext uri="{FF2B5EF4-FFF2-40B4-BE49-F238E27FC236}">
                    <a16:creationId xmlns:a16="http://schemas.microsoft.com/office/drawing/2014/main" id="{B8E40D5B-7422-47B4-A19F-909A3CB59FA8}"/>
                  </a:ext>
                </a:extLst>
              </p:cNvPr>
              <p:cNvSpPr/>
              <p:nvPr/>
            </p:nvSpPr>
            <p:spPr>
              <a:xfrm>
                <a:off x="2569349" y="2013180"/>
                <a:ext cx="72117" cy="118003"/>
              </a:xfrm>
              <a:custGeom>
                <a:avLst/>
                <a:gdLst>
                  <a:gd name="connsiteX0" fmla="*/ 65566 w 72117"/>
                  <a:gd name="connsiteY0" fmla="*/ 118003 h 118003"/>
                  <a:gd name="connsiteX1" fmla="*/ 6551 w 72117"/>
                  <a:gd name="connsiteY1" fmla="*/ 118003 h 118003"/>
                  <a:gd name="connsiteX2" fmla="*/ 0 w 72117"/>
                  <a:gd name="connsiteY2" fmla="*/ 111452 h 118003"/>
                  <a:gd name="connsiteX3" fmla="*/ 0 w 72117"/>
                  <a:gd name="connsiteY3" fmla="*/ 6551 h 118003"/>
                  <a:gd name="connsiteX4" fmla="*/ 6551 w 72117"/>
                  <a:gd name="connsiteY4" fmla="*/ 0 h 118003"/>
                  <a:gd name="connsiteX5" fmla="*/ 65566 w 72117"/>
                  <a:gd name="connsiteY5" fmla="*/ 0 h 118003"/>
                  <a:gd name="connsiteX6" fmla="*/ 72118 w 72117"/>
                  <a:gd name="connsiteY6" fmla="*/ 6551 h 118003"/>
                  <a:gd name="connsiteX7" fmla="*/ 72118 w 72117"/>
                  <a:gd name="connsiteY7" fmla="*/ 111452 h 118003"/>
                  <a:gd name="connsiteX8" fmla="*/ 65566 w 72117"/>
                  <a:gd name="connsiteY8" fmla="*/ 118003 h 118003"/>
                  <a:gd name="connsiteX9" fmla="*/ 13103 w 72117"/>
                  <a:gd name="connsiteY9" fmla="*/ 104901 h 118003"/>
                  <a:gd name="connsiteX10" fmla="*/ 58989 w 72117"/>
                  <a:gd name="connsiteY10" fmla="*/ 104901 h 118003"/>
                  <a:gd name="connsiteX11" fmla="*/ 58989 w 72117"/>
                  <a:gd name="connsiteY11" fmla="*/ 13103 h 118003"/>
                  <a:gd name="connsiteX12" fmla="*/ 13103 w 72117"/>
                  <a:gd name="connsiteY12" fmla="*/ 13103 h 118003"/>
                  <a:gd name="connsiteX13" fmla="*/ 13103 w 72117"/>
                  <a:gd name="connsiteY13" fmla="*/ 104901 h 118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117" h="118003">
                    <a:moveTo>
                      <a:pt x="65566" y="118003"/>
                    </a:moveTo>
                    <a:lnTo>
                      <a:pt x="6551" y="118003"/>
                    </a:lnTo>
                    <a:cubicBezTo>
                      <a:pt x="2918" y="118003"/>
                      <a:pt x="0" y="115059"/>
                      <a:pt x="0" y="111452"/>
                    </a:cubicBezTo>
                    <a:lnTo>
                      <a:pt x="0" y="6551"/>
                    </a:lnTo>
                    <a:cubicBezTo>
                      <a:pt x="0" y="2918"/>
                      <a:pt x="2944" y="0"/>
                      <a:pt x="6551" y="0"/>
                    </a:cubicBezTo>
                    <a:lnTo>
                      <a:pt x="65566" y="0"/>
                    </a:lnTo>
                    <a:cubicBezTo>
                      <a:pt x="69200" y="0"/>
                      <a:pt x="72118" y="2944"/>
                      <a:pt x="72118" y="6551"/>
                    </a:cubicBezTo>
                    <a:lnTo>
                      <a:pt x="72118" y="111452"/>
                    </a:lnTo>
                    <a:cubicBezTo>
                      <a:pt x="72118" y="115086"/>
                      <a:pt x="69174" y="118003"/>
                      <a:pt x="65566" y="118003"/>
                    </a:cubicBezTo>
                    <a:close/>
                    <a:moveTo>
                      <a:pt x="13103" y="104901"/>
                    </a:moveTo>
                    <a:lnTo>
                      <a:pt x="58989" y="104901"/>
                    </a:lnTo>
                    <a:lnTo>
                      <a:pt x="58989" y="13103"/>
                    </a:lnTo>
                    <a:lnTo>
                      <a:pt x="13103" y="13103"/>
                    </a:lnTo>
                    <a:lnTo>
                      <a:pt x="13103" y="104901"/>
                    </a:lnTo>
                    <a:close/>
                  </a:path>
                </a:pathLst>
              </a:custGeom>
              <a:grpFill/>
              <a:ln w="2651" cap="flat">
                <a:noFill/>
                <a:prstDash val="solid"/>
                <a:miter/>
              </a:ln>
            </p:spPr>
            <p:txBody>
              <a:bodyPr rtlCol="0" anchor="ctr"/>
              <a:lstStyle/>
              <a:p>
                <a:endParaRPr lang="en-GB" dirty="0"/>
              </a:p>
            </p:txBody>
          </p:sp>
          <p:sp>
            <p:nvSpPr>
              <p:cNvPr id="657" name="Freihandform: Form 377">
                <a:extLst>
                  <a:ext uri="{FF2B5EF4-FFF2-40B4-BE49-F238E27FC236}">
                    <a16:creationId xmlns:a16="http://schemas.microsoft.com/office/drawing/2014/main" id="{D7A538D1-D689-4352-B0B9-6B06F5764F1F}"/>
                  </a:ext>
                </a:extLst>
              </p:cNvPr>
              <p:cNvSpPr/>
              <p:nvPr/>
            </p:nvSpPr>
            <p:spPr>
              <a:xfrm>
                <a:off x="2549695" y="2013180"/>
                <a:ext cx="91771" cy="13102"/>
              </a:xfrm>
              <a:custGeom>
                <a:avLst/>
                <a:gdLst>
                  <a:gd name="connsiteX0" fmla="*/ 85220 w 91771"/>
                  <a:gd name="connsiteY0" fmla="*/ 13103 h 13102"/>
                  <a:gd name="connsiteX1" fmla="*/ 6551 w 91771"/>
                  <a:gd name="connsiteY1" fmla="*/ 13103 h 13102"/>
                  <a:gd name="connsiteX2" fmla="*/ 0 w 91771"/>
                  <a:gd name="connsiteY2" fmla="*/ 6551 h 13102"/>
                  <a:gd name="connsiteX3" fmla="*/ 6551 w 91771"/>
                  <a:gd name="connsiteY3" fmla="*/ 0 h 13102"/>
                  <a:gd name="connsiteX4" fmla="*/ 85220 w 91771"/>
                  <a:gd name="connsiteY4" fmla="*/ 0 h 13102"/>
                  <a:gd name="connsiteX5" fmla="*/ 91772 w 91771"/>
                  <a:gd name="connsiteY5" fmla="*/ 6551 h 13102"/>
                  <a:gd name="connsiteX6" fmla="*/ 85220 w 91771"/>
                  <a:gd name="connsiteY6" fmla="*/ 13103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771" h="13102">
                    <a:moveTo>
                      <a:pt x="85220" y="13103"/>
                    </a:moveTo>
                    <a:lnTo>
                      <a:pt x="6551" y="13103"/>
                    </a:lnTo>
                    <a:cubicBezTo>
                      <a:pt x="2918" y="13103"/>
                      <a:pt x="0" y="10159"/>
                      <a:pt x="0" y="6551"/>
                    </a:cubicBezTo>
                    <a:cubicBezTo>
                      <a:pt x="0" y="2944"/>
                      <a:pt x="2944" y="0"/>
                      <a:pt x="6551" y="0"/>
                    </a:cubicBezTo>
                    <a:lnTo>
                      <a:pt x="85220" y="0"/>
                    </a:lnTo>
                    <a:cubicBezTo>
                      <a:pt x="88854" y="0"/>
                      <a:pt x="91772" y="2944"/>
                      <a:pt x="91772" y="6551"/>
                    </a:cubicBezTo>
                    <a:cubicBezTo>
                      <a:pt x="91772" y="10159"/>
                      <a:pt x="88827" y="13103"/>
                      <a:pt x="85220" y="13103"/>
                    </a:cubicBezTo>
                    <a:close/>
                  </a:path>
                </a:pathLst>
              </a:custGeom>
              <a:grpFill/>
              <a:ln w="2651"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1007127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749B9C8-B6C1-4EC7-9F91-98AB63DE42CB}"/>
              </a:ext>
            </a:extLst>
          </p:cNvPr>
          <p:cNvGraphicFramePr>
            <a:graphicFrameLocks noChangeAspect="1"/>
          </p:cNvGraphicFramePr>
          <p:nvPr>
            <p:custDataLst>
              <p:tags r:id="rId1"/>
            </p:custDataLst>
            <p:extLst>
              <p:ext uri="{D42A27DB-BD31-4B8C-83A1-F6EECF244321}">
                <p14:modId xmlns:p14="http://schemas.microsoft.com/office/powerpoint/2010/main" val="56268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D749B9C8-B6C1-4EC7-9F91-98AB63DE42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3729408-4FB2-4139-8620-115FC3A68538}"/>
              </a:ext>
            </a:extLst>
          </p:cNvPr>
          <p:cNvSpPr>
            <a:spLocks noGrp="1"/>
          </p:cNvSpPr>
          <p:nvPr>
            <p:ph type="sldNum" sz="quarter" idx="11"/>
          </p:nvPr>
        </p:nvSpPr>
        <p:spPr/>
        <p:txBody>
          <a:bodyPr/>
          <a:lstStyle/>
          <a:p>
            <a:fld id="{D56DB8AA-803C-49D2-90AA-1140CE72DCD7}" type="slidenum">
              <a:rPr lang="en-GB" smtClean="0"/>
              <a:pPr/>
              <a:t>19</a:t>
            </a:fld>
            <a:endParaRPr lang="en-GB" dirty="0"/>
          </a:p>
        </p:txBody>
      </p:sp>
      <p:sp>
        <p:nvSpPr>
          <p:cNvPr id="3" name="Title 2">
            <a:extLst>
              <a:ext uri="{FF2B5EF4-FFF2-40B4-BE49-F238E27FC236}">
                <a16:creationId xmlns:a16="http://schemas.microsoft.com/office/drawing/2014/main" id="{78194C58-91C0-E53C-4A96-73AA0865851C}"/>
              </a:ext>
            </a:extLst>
          </p:cNvPr>
          <p:cNvSpPr>
            <a:spLocks noGrp="1"/>
          </p:cNvSpPr>
          <p:nvPr>
            <p:ph type="title"/>
          </p:nvPr>
        </p:nvSpPr>
        <p:spPr>
          <a:xfrm>
            <a:off x="252000" y="252000"/>
            <a:ext cx="6748875" cy="576000"/>
          </a:xfrm>
        </p:spPr>
        <p:txBody>
          <a:bodyPr/>
          <a:lstStyle/>
          <a:p>
            <a:r>
              <a:rPr lang="en-US" dirty="0"/>
              <a:t>Energy 2/2</a:t>
            </a:r>
          </a:p>
        </p:txBody>
      </p:sp>
      <p:sp>
        <p:nvSpPr>
          <p:cNvPr id="17" name="TextBox 16">
            <a:extLst>
              <a:ext uri="{FF2B5EF4-FFF2-40B4-BE49-F238E27FC236}">
                <a16:creationId xmlns:a16="http://schemas.microsoft.com/office/drawing/2014/main" id="{C62CE90C-ED83-4B14-A806-9D1BF044CA27}"/>
              </a:ext>
            </a:extLst>
          </p:cNvPr>
          <p:cNvSpPr txBox="1"/>
          <p:nvPr/>
        </p:nvSpPr>
        <p:spPr>
          <a:xfrm>
            <a:off x="452119"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ppropriate technology</a:t>
            </a:r>
          </a:p>
        </p:txBody>
      </p:sp>
      <p:sp>
        <p:nvSpPr>
          <p:cNvPr id="18" name="TextBox 17">
            <a:extLst>
              <a:ext uri="{FF2B5EF4-FFF2-40B4-BE49-F238E27FC236}">
                <a16:creationId xmlns:a16="http://schemas.microsoft.com/office/drawing/2014/main" id="{9E5DC13A-5B85-4810-AE0A-3ACCE89CA5ED}"/>
              </a:ext>
            </a:extLst>
          </p:cNvPr>
          <p:cNvSpPr txBox="1"/>
          <p:nvPr/>
        </p:nvSpPr>
        <p:spPr>
          <a:xfrm>
            <a:off x="3615421"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alance with nature</a:t>
            </a:r>
          </a:p>
        </p:txBody>
      </p:sp>
      <p:sp>
        <p:nvSpPr>
          <p:cNvPr id="19" name="TextBox 18">
            <a:extLst>
              <a:ext uri="{FF2B5EF4-FFF2-40B4-BE49-F238E27FC236}">
                <a16:creationId xmlns:a16="http://schemas.microsoft.com/office/drawing/2014/main" id="{B7CA30FA-5845-40A3-9C67-5BC3A2F8BA35}"/>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Resource utilization</a:t>
            </a:r>
          </a:p>
        </p:txBody>
      </p:sp>
      <p:sp>
        <p:nvSpPr>
          <p:cNvPr id="20" name="TextBox 19">
            <a:extLst>
              <a:ext uri="{FF2B5EF4-FFF2-40B4-BE49-F238E27FC236}">
                <a16:creationId xmlns:a16="http://schemas.microsoft.com/office/drawing/2014/main" id="{858F5733-5176-4824-B7F5-F32980940B74}"/>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ocial access</a:t>
            </a:r>
          </a:p>
        </p:txBody>
      </p:sp>
      <p:sp>
        <p:nvSpPr>
          <p:cNvPr id="21" name="TextBox 20">
            <a:extLst>
              <a:ext uri="{FF2B5EF4-FFF2-40B4-BE49-F238E27FC236}">
                <a16:creationId xmlns:a16="http://schemas.microsoft.com/office/drawing/2014/main" id="{DAAA55F2-97B9-4578-A593-54A68CCCA163}"/>
              </a:ext>
            </a:extLst>
          </p:cNvPr>
          <p:cNvSpPr txBox="1"/>
          <p:nvPr/>
        </p:nvSpPr>
        <p:spPr>
          <a:xfrm>
            <a:off x="452119"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Energy consumption</a:t>
            </a:r>
          </a:p>
        </p:txBody>
      </p:sp>
      <p:sp>
        <p:nvSpPr>
          <p:cNvPr id="22" name="TextBox 21">
            <a:extLst>
              <a:ext uri="{FF2B5EF4-FFF2-40B4-BE49-F238E27FC236}">
                <a16:creationId xmlns:a16="http://schemas.microsoft.com/office/drawing/2014/main" id="{EF414E9A-9215-437A-8F76-19B58CEEC3C5}"/>
              </a:ext>
            </a:extLst>
          </p:cNvPr>
          <p:cNvSpPr txBox="1"/>
          <p:nvPr/>
        </p:nvSpPr>
        <p:spPr>
          <a:xfrm>
            <a:off x="3615421"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fficiency</a:t>
            </a:r>
          </a:p>
        </p:txBody>
      </p:sp>
      <p:sp>
        <p:nvSpPr>
          <p:cNvPr id="23" name="TextBox 22">
            <a:extLst>
              <a:ext uri="{FF2B5EF4-FFF2-40B4-BE49-F238E27FC236}">
                <a16:creationId xmlns:a16="http://schemas.microsoft.com/office/drawing/2014/main" id="{63B63348-E924-4928-82DA-CA4F1E0D8F13}"/>
              </a:ext>
            </a:extLst>
          </p:cNvPr>
          <p:cNvSpPr txBox="1"/>
          <p:nvPr/>
        </p:nvSpPr>
        <p:spPr>
          <a:xfrm>
            <a:off x="254298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ollutant emission</a:t>
            </a:r>
          </a:p>
        </p:txBody>
      </p:sp>
      <p:sp>
        <p:nvSpPr>
          <p:cNvPr id="24" name="TextBox 23">
            <a:extLst>
              <a:ext uri="{FF2B5EF4-FFF2-40B4-BE49-F238E27FC236}">
                <a16:creationId xmlns:a16="http://schemas.microsoft.com/office/drawing/2014/main" id="{CBB62DD0-1EF0-484E-B87C-91D50A7E936E}"/>
              </a:ext>
            </a:extLst>
          </p:cNvPr>
          <p:cNvSpPr txBox="1"/>
          <p:nvPr/>
        </p:nvSpPr>
        <p:spPr>
          <a:xfrm>
            <a:off x="1497553"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frastructure-efficiency</a:t>
            </a:r>
          </a:p>
        </p:txBody>
      </p:sp>
      <p:sp>
        <p:nvSpPr>
          <p:cNvPr id="25" name="TextBox 24">
            <a:extLst>
              <a:ext uri="{FF2B5EF4-FFF2-40B4-BE49-F238E27FC236}">
                <a16:creationId xmlns:a16="http://schemas.microsoft.com/office/drawing/2014/main" id="{D0403E42-40B0-4761-B7CE-613A4879ACDC}"/>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Urbanity</a:t>
            </a:r>
          </a:p>
        </p:txBody>
      </p:sp>
      <p:sp>
        <p:nvSpPr>
          <p:cNvPr id="27" name="TextBox 26">
            <a:extLst>
              <a:ext uri="{FF2B5EF4-FFF2-40B4-BE49-F238E27FC236}">
                <a16:creationId xmlns:a16="http://schemas.microsoft.com/office/drawing/2014/main" id="{190E27D5-931C-471A-A1CF-813867FCFFCD}"/>
              </a:ext>
            </a:extLst>
          </p:cNvPr>
          <p:cNvSpPr txBox="1"/>
          <p:nvPr/>
        </p:nvSpPr>
        <p:spPr>
          <a:xfrm>
            <a:off x="2542987"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ublic</a:t>
            </a:r>
            <a:br>
              <a:rPr lang="en-GB" sz="700" dirty="0">
                <a:solidFill>
                  <a:schemeClr val="tx2"/>
                </a:solidFill>
              </a:rPr>
            </a:br>
            <a:r>
              <a:rPr lang="en-GB" sz="700" dirty="0">
                <a:solidFill>
                  <a:schemeClr val="tx2"/>
                </a:solidFill>
              </a:rPr>
              <a:t>participation</a:t>
            </a:r>
          </a:p>
        </p:txBody>
      </p:sp>
      <p:sp>
        <p:nvSpPr>
          <p:cNvPr id="28" name="TextBox 27">
            <a:extLst>
              <a:ext uri="{FF2B5EF4-FFF2-40B4-BE49-F238E27FC236}">
                <a16:creationId xmlns:a16="http://schemas.microsoft.com/office/drawing/2014/main" id="{EA932232-0710-4352-B04F-43338DF03023}"/>
              </a:ext>
            </a:extLst>
          </p:cNvPr>
          <p:cNvSpPr txBox="1"/>
          <p:nvPr/>
        </p:nvSpPr>
        <p:spPr>
          <a:xfrm>
            <a:off x="1497553"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mart</a:t>
            </a:r>
            <a:br>
              <a:rPr lang="en-GB" sz="700" dirty="0">
                <a:solidFill>
                  <a:schemeClr val="tx2"/>
                </a:solidFill>
              </a:rPr>
            </a:br>
            <a:r>
              <a:rPr lang="en-GB" sz="700" dirty="0">
                <a:solidFill>
                  <a:schemeClr val="tx2"/>
                </a:solidFill>
              </a:rPr>
              <a:t>growth</a:t>
            </a:r>
          </a:p>
        </p:txBody>
      </p:sp>
      <p:grpSp>
        <p:nvGrpSpPr>
          <p:cNvPr id="16" name="Group 15">
            <a:extLst>
              <a:ext uri="{FF2B5EF4-FFF2-40B4-BE49-F238E27FC236}">
                <a16:creationId xmlns:a16="http://schemas.microsoft.com/office/drawing/2014/main" id="{ED095A57-AD0F-4DC0-BF97-FE1285406D2C}"/>
              </a:ext>
            </a:extLst>
          </p:cNvPr>
          <p:cNvGrpSpPr/>
          <p:nvPr/>
        </p:nvGrpSpPr>
        <p:grpSpPr>
          <a:xfrm>
            <a:off x="2648229" y="3203170"/>
            <a:ext cx="473378" cy="364634"/>
            <a:chOff x="2648229" y="3203170"/>
            <a:chExt cx="473378" cy="364634"/>
          </a:xfrm>
        </p:grpSpPr>
        <p:grpSp>
          <p:nvGrpSpPr>
            <p:cNvPr id="80" name="Gruppieren 1048">
              <a:extLst>
                <a:ext uri="{FF2B5EF4-FFF2-40B4-BE49-F238E27FC236}">
                  <a16:creationId xmlns:a16="http://schemas.microsoft.com/office/drawing/2014/main" id="{BE4B3DE9-6281-4F96-80D4-6C02FE0AC4D6}"/>
                </a:ext>
              </a:extLst>
            </p:cNvPr>
            <p:cNvGrpSpPr/>
            <p:nvPr/>
          </p:nvGrpSpPr>
          <p:grpSpPr>
            <a:xfrm>
              <a:off x="2648229" y="3350316"/>
              <a:ext cx="473378" cy="217488"/>
              <a:chOff x="6170388" y="3527546"/>
              <a:chExt cx="484981" cy="222819"/>
            </a:xfrm>
          </p:grpSpPr>
          <p:sp>
            <p:nvSpPr>
              <p:cNvPr id="86" name="Freihandform: Form 946">
                <a:extLst>
                  <a:ext uri="{FF2B5EF4-FFF2-40B4-BE49-F238E27FC236}">
                    <a16:creationId xmlns:a16="http://schemas.microsoft.com/office/drawing/2014/main" id="{B9ECB68D-7277-4549-958E-5D45A9C0CC8A}"/>
                  </a:ext>
                </a:extLst>
              </p:cNvPr>
              <p:cNvSpPr/>
              <p:nvPr/>
            </p:nvSpPr>
            <p:spPr>
              <a:xfrm>
                <a:off x="6307975" y="3645500"/>
                <a:ext cx="209755" cy="104864"/>
              </a:xfrm>
              <a:custGeom>
                <a:avLst/>
                <a:gdLst>
                  <a:gd name="connsiteX0" fmla="*/ 209756 w 209755"/>
                  <a:gd name="connsiteY0" fmla="*/ 104865 h 104864"/>
                  <a:gd name="connsiteX1" fmla="*/ 196641 w 209755"/>
                  <a:gd name="connsiteY1" fmla="*/ 104865 h 104864"/>
                  <a:gd name="connsiteX2" fmla="*/ 196641 w 209755"/>
                  <a:gd name="connsiteY2" fmla="*/ 85206 h 104864"/>
                  <a:gd name="connsiteX3" fmla="*/ 131094 w 209755"/>
                  <a:gd name="connsiteY3" fmla="*/ 13115 h 104864"/>
                  <a:gd name="connsiteX4" fmla="*/ 78662 w 209755"/>
                  <a:gd name="connsiteY4" fmla="*/ 13115 h 104864"/>
                  <a:gd name="connsiteX5" fmla="*/ 13115 w 209755"/>
                  <a:gd name="connsiteY5" fmla="*/ 85206 h 104864"/>
                  <a:gd name="connsiteX6" fmla="*/ 13115 w 209755"/>
                  <a:gd name="connsiteY6" fmla="*/ 104865 h 104864"/>
                  <a:gd name="connsiteX7" fmla="*/ 0 w 209755"/>
                  <a:gd name="connsiteY7" fmla="*/ 104865 h 104864"/>
                  <a:gd name="connsiteX8" fmla="*/ 0 w 209755"/>
                  <a:gd name="connsiteY8" fmla="*/ 85206 h 104864"/>
                  <a:gd name="connsiteX9" fmla="*/ 78636 w 209755"/>
                  <a:gd name="connsiteY9" fmla="*/ 0 h 104864"/>
                  <a:gd name="connsiteX10" fmla="*/ 131068 w 209755"/>
                  <a:gd name="connsiteY10" fmla="*/ 0 h 104864"/>
                  <a:gd name="connsiteX11" fmla="*/ 209704 w 209755"/>
                  <a:gd name="connsiteY11" fmla="*/ 85206 h 104864"/>
                  <a:gd name="connsiteX12" fmla="*/ 209704 w 209755"/>
                  <a:gd name="connsiteY12" fmla="*/ 104865 h 10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755" h="104864">
                    <a:moveTo>
                      <a:pt x="209756" y="104865"/>
                    </a:moveTo>
                    <a:lnTo>
                      <a:pt x="196641" y="104865"/>
                    </a:lnTo>
                    <a:lnTo>
                      <a:pt x="196641" y="85206"/>
                    </a:lnTo>
                    <a:cubicBezTo>
                      <a:pt x="196641" y="43431"/>
                      <a:pt x="169067" y="13115"/>
                      <a:pt x="131094" y="13115"/>
                    </a:cubicBezTo>
                    <a:lnTo>
                      <a:pt x="78662" y="13115"/>
                    </a:lnTo>
                    <a:cubicBezTo>
                      <a:pt x="40689" y="13115"/>
                      <a:pt x="13115" y="43431"/>
                      <a:pt x="13115" y="85206"/>
                    </a:cubicBezTo>
                    <a:lnTo>
                      <a:pt x="13115" y="104865"/>
                    </a:lnTo>
                    <a:lnTo>
                      <a:pt x="0" y="104865"/>
                    </a:lnTo>
                    <a:lnTo>
                      <a:pt x="0" y="85206"/>
                    </a:lnTo>
                    <a:cubicBezTo>
                      <a:pt x="0" y="36628"/>
                      <a:pt x="33808" y="0"/>
                      <a:pt x="78636" y="0"/>
                    </a:cubicBezTo>
                    <a:lnTo>
                      <a:pt x="131068" y="0"/>
                    </a:lnTo>
                    <a:cubicBezTo>
                      <a:pt x="175896" y="0"/>
                      <a:pt x="209704" y="36628"/>
                      <a:pt x="209704" y="85206"/>
                    </a:cubicBezTo>
                    <a:lnTo>
                      <a:pt x="209704" y="104865"/>
                    </a:lnTo>
                    <a:close/>
                  </a:path>
                </a:pathLst>
              </a:custGeom>
              <a:solidFill>
                <a:schemeClr val="tx2"/>
              </a:solidFill>
              <a:ln w="2584" cap="flat">
                <a:noFill/>
                <a:prstDash val="solid"/>
                <a:miter/>
              </a:ln>
            </p:spPr>
            <p:txBody>
              <a:bodyPr rtlCol="0" anchor="ctr"/>
              <a:lstStyle/>
              <a:p>
                <a:endParaRPr lang="en-GB" dirty="0"/>
              </a:p>
            </p:txBody>
          </p:sp>
          <p:sp>
            <p:nvSpPr>
              <p:cNvPr id="87" name="Freihandform: Form 947">
                <a:extLst>
                  <a:ext uri="{FF2B5EF4-FFF2-40B4-BE49-F238E27FC236}">
                    <a16:creationId xmlns:a16="http://schemas.microsoft.com/office/drawing/2014/main" id="{485CA76D-200D-4B7F-8EAC-699AB2FCA109}"/>
                  </a:ext>
                </a:extLst>
              </p:cNvPr>
              <p:cNvSpPr/>
              <p:nvPr/>
            </p:nvSpPr>
            <p:spPr>
              <a:xfrm>
                <a:off x="6366978" y="3527546"/>
                <a:ext cx="91776" cy="104864"/>
              </a:xfrm>
              <a:custGeom>
                <a:avLst/>
                <a:gdLst>
                  <a:gd name="connsiteX0" fmla="*/ 45888 w 91776"/>
                  <a:gd name="connsiteY0" fmla="*/ 104865 h 104864"/>
                  <a:gd name="connsiteX1" fmla="*/ 0 w 91776"/>
                  <a:gd name="connsiteY1" fmla="*/ 52432 h 104864"/>
                  <a:gd name="connsiteX2" fmla="*/ 45888 w 91776"/>
                  <a:gd name="connsiteY2" fmla="*/ 0 h 104864"/>
                  <a:gd name="connsiteX3" fmla="*/ 91776 w 91776"/>
                  <a:gd name="connsiteY3" fmla="*/ 52432 h 104864"/>
                  <a:gd name="connsiteX4" fmla="*/ 45888 w 91776"/>
                  <a:gd name="connsiteY4" fmla="*/ 104865 h 104864"/>
                  <a:gd name="connsiteX5" fmla="*/ 45888 w 91776"/>
                  <a:gd name="connsiteY5" fmla="*/ 13115 h 104864"/>
                  <a:gd name="connsiteX6" fmla="*/ 13115 w 91776"/>
                  <a:gd name="connsiteY6" fmla="*/ 52432 h 104864"/>
                  <a:gd name="connsiteX7" fmla="*/ 45888 w 91776"/>
                  <a:gd name="connsiteY7" fmla="*/ 91750 h 104864"/>
                  <a:gd name="connsiteX8" fmla="*/ 78662 w 91776"/>
                  <a:gd name="connsiteY8" fmla="*/ 52432 h 104864"/>
                  <a:gd name="connsiteX9" fmla="*/ 45888 w 91776"/>
                  <a:gd name="connsiteY9" fmla="*/ 13115 h 10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6" h="104864">
                    <a:moveTo>
                      <a:pt x="45888" y="104865"/>
                    </a:moveTo>
                    <a:cubicBezTo>
                      <a:pt x="18443" y="104865"/>
                      <a:pt x="0" y="83783"/>
                      <a:pt x="0" y="52432"/>
                    </a:cubicBezTo>
                    <a:cubicBezTo>
                      <a:pt x="0" y="21082"/>
                      <a:pt x="18443" y="0"/>
                      <a:pt x="45888" y="0"/>
                    </a:cubicBezTo>
                    <a:cubicBezTo>
                      <a:pt x="73333" y="0"/>
                      <a:pt x="91776" y="21082"/>
                      <a:pt x="91776" y="52432"/>
                    </a:cubicBezTo>
                    <a:cubicBezTo>
                      <a:pt x="91776" y="83783"/>
                      <a:pt x="73333" y="104865"/>
                      <a:pt x="45888" y="104865"/>
                    </a:cubicBezTo>
                    <a:close/>
                    <a:moveTo>
                      <a:pt x="45888" y="13115"/>
                    </a:moveTo>
                    <a:cubicBezTo>
                      <a:pt x="21702" y="13115"/>
                      <a:pt x="13115" y="34300"/>
                      <a:pt x="13115" y="52432"/>
                    </a:cubicBezTo>
                    <a:cubicBezTo>
                      <a:pt x="13115" y="70565"/>
                      <a:pt x="21702" y="91750"/>
                      <a:pt x="45888" y="91750"/>
                    </a:cubicBezTo>
                    <a:cubicBezTo>
                      <a:pt x="70074" y="91750"/>
                      <a:pt x="78662" y="70565"/>
                      <a:pt x="78662" y="52432"/>
                    </a:cubicBezTo>
                    <a:cubicBezTo>
                      <a:pt x="78662" y="34300"/>
                      <a:pt x="70074" y="13115"/>
                      <a:pt x="45888" y="13115"/>
                    </a:cubicBezTo>
                    <a:close/>
                  </a:path>
                </a:pathLst>
              </a:custGeom>
              <a:solidFill>
                <a:schemeClr val="tx2"/>
              </a:solidFill>
              <a:ln w="2584" cap="flat">
                <a:noFill/>
                <a:prstDash val="solid"/>
                <a:miter/>
              </a:ln>
            </p:spPr>
            <p:txBody>
              <a:bodyPr rtlCol="0" anchor="ctr"/>
              <a:lstStyle/>
              <a:p>
                <a:endParaRPr lang="en-GB" dirty="0"/>
              </a:p>
            </p:txBody>
          </p:sp>
          <p:grpSp>
            <p:nvGrpSpPr>
              <p:cNvPr id="88" name="Grafik 229">
                <a:extLst>
                  <a:ext uri="{FF2B5EF4-FFF2-40B4-BE49-F238E27FC236}">
                    <a16:creationId xmlns:a16="http://schemas.microsoft.com/office/drawing/2014/main" id="{3860E787-ACA7-48B9-9162-70937CFC4ED7}"/>
                  </a:ext>
                </a:extLst>
              </p:cNvPr>
              <p:cNvGrpSpPr/>
              <p:nvPr/>
            </p:nvGrpSpPr>
            <p:grpSpPr>
              <a:xfrm>
                <a:off x="6507979" y="3560294"/>
                <a:ext cx="147390" cy="190071"/>
                <a:chOff x="6507979" y="3560294"/>
                <a:chExt cx="147390" cy="190071"/>
              </a:xfrm>
              <a:solidFill>
                <a:schemeClr val="tx2"/>
              </a:solidFill>
            </p:grpSpPr>
            <p:sp>
              <p:nvSpPr>
                <p:cNvPr id="92" name="Freihandform: Form 949">
                  <a:extLst>
                    <a:ext uri="{FF2B5EF4-FFF2-40B4-BE49-F238E27FC236}">
                      <a16:creationId xmlns:a16="http://schemas.microsoft.com/office/drawing/2014/main" id="{D6CDA228-23B3-44A5-97E7-5D46CCC56A8D}"/>
                    </a:ext>
                  </a:extLst>
                </p:cNvPr>
                <p:cNvSpPr/>
                <p:nvPr/>
              </p:nvSpPr>
              <p:spPr>
                <a:xfrm>
                  <a:off x="6507979" y="3665159"/>
                  <a:ext cx="147390" cy="85205"/>
                </a:xfrm>
                <a:custGeom>
                  <a:avLst/>
                  <a:gdLst>
                    <a:gd name="connsiteX0" fmla="*/ 147390 w 147390"/>
                    <a:gd name="connsiteY0" fmla="*/ 85206 h 85205"/>
                    <a:gd name="connsiteX1" fmla="*/ 134276 w 147390"/>
                    <a:gd name="connsiteY1" fmla="*/ 85206 h 85205"/>
                    <a:gd name="connsiteX2" fmla="*/ 134276 w 147390"/>
                    <a:gd name="connsiteY2" fmla="*/ 72091 h 85205"/>
                    <a:gd name="connsiteX3" fmla="*/ 78351 w 147390"/>
                    <a:gd name="connsiteY3" fmla="*/ 13114 h 85205"/>
                    <a:gd name="connsiteX4" fmla="*/ 32903 w 147390"/>
                    <a:gd name="connsiteY4" fmla="*/ 13114 h 85205"/>
                    <a:gd name="connsiteX5" fmla="*/ 6208 w 147390"/>
                    <a:gd name="connsiteY5" fmla="*/ 19555 h 85205"/>
                    <a:gd name="connsiteX6" fmla="*/ 0 w 147390"/>
                    <a:gd name="connsiteY6" fmla="*/ 7993 h 85205"/>
                    <a:gd name="connsiteX7" fmla="*/ 32903 w 147390"/>
                    <a:gd name="connsiteY7" fmla="*/ 0 h 85205"/>
                    <a:gd name="connsiteX8" fmla="*/ 78351 w 147390"/>
                    <a:gd name="connsiteY8" fmla="*/ 0 h 85205"/>
                    <a:gd name="connsiteX9" fmla="*/ 147390 w 147390"/>
                    <a:gd name="connsiteY9" fmla="*/ 72091 h 85205"/>
                    <a:gd name="connsiteX10" fmla="*/ 147390 w 147390"/>
                    <a:gd name="connsiteY10" fmla="*/ 85206 h 8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90" h="85205">
                      <a:moveTo>
                        <a:pt x="147390" y="85206"/>
                      </a:moveTo>
                      <a:lnTo>
                        <a:pt x="134276" y="85206"/>
                      </a:lnTo>
                      <a:lnTo>
                        <a:pt x="134276" y="72091"/>
                      </a:lnTo>
                      <a:cubicBezTo>
                        <a:pt x="134276" y="37921"/>
                        <a:pt x="110763" y="13114"/>
                        <a:pt x="78351" y="13114"/>
                      </a:cubicBezTo>
                      <a:lnTo>
                        <a:pt x="32903" y="13114"/>
                      </a:lnTo>
                      <a:cubicBezTo>
                        <a:pt x="23151" y="13114"/>
                        <a:pt x="14175" y="15287"/>
                        <a:pt x="6208" y="19555"/>
                      </a:cubicBezTo>
                      <a:lnTo>
                        <a:pt x="0" y="7993"/>
                      </a:lnTo>
                      <a:cubicBezTo>
                        <a:pt x="9907" y="2690"/>
                        <a:pt x="20978" y="0"/>
                        <a:pt x="32903" y="0"/>
                      </a:cubicBezTo>
                      <a:lnTo>
                        <a:pt x="78351" y="0"/>
                      </a:lnTo>
                      <a:cubicBezTo>
                        <a:pt x="117695" y="0"/>
                        <a:pt x="147390" y="30989"/>
                        <a:pt x="147390" y="72091"/>
                      </a:cubicBezTo>
                      <a:lnTo>
                        <a:pt x="147390" y="85206"/>
                      </a:lnTo>
                      <a:close/>
                    </a:path>
                  </a:pathLst>
                </a:custGeom>
                <a:solidFill>
                  <a:schemeClr val="accent1"/>
                </a:solidFill>
                <a:ln w="2584" cap="flat">
                  <a:noFill/>
                  <a:prstDash val="solid"/>
                  <a:miter/>
                </a:ln>
              </p:spPr>
              <p:txBody>
                <a:bodyPr rtlCol="0" anchor="ctr"/>
                <a:lstStyle/>
                <a:p>
                  <a:endParaRPr lang="en-GB" dirty="0"/>
                </a:p>
              </p:txBody>
            </p:sp>
            <p:sp>
              <p:nvSpPr>
                <p:cNvPr id="93" name="Freihandform: Form 950">
                  <a:extLst>
                    <a:ext uri="{FF2B5EF4-FFF2-40B4-BE49-F238E27FC236}">
                      <a16:creationId xmlns:a16="http://schemas.microsoft.com/office/drawing/2014/main" id="{96A9B482-559B-47CB-B014-A89C27718555}"/>
                    </a:ext>
                  </a:extLst>
                </p:cNvPr>
                <p:cNvSpPr/>
                <p:nvPr/>
              </p:nvSpPr>
              <p:spPr>
                <a:xfrm>
                  <a:off x="6524301" y="3560294"/>
                  <a:ext cx="78635" cy="91776"/>
                </a:xfrm>
                <a:custGeom>
                  <a:avLst/>
                  <a:gdLst>
                    <a:gd name="connsiteX0" fmla="*/ 39318 w 78635"/>
                    <a:gd name="connsiteY0" fmla="*/ 91776 h 91776"/>
                    <a:gd name="connsiteX1" fmla="*/ 0 w 78635"/>
                    <a:gd name="connsiteY1" fmla="*/ 45888 h 91776"/>
                    <a:gd name="connsiteX2" fmla="*/ 39318 w 78635"/>
                    <a:gd name="connsiteY2" fmla="*/ 0 h 91776"/>
                    <a:gd name="connsiteX3" fmla="*/ 78636 w 78635"/>
                    <a:gd name="connsiteY3" fmla="*/ 45888 h 91776"/>
                    <a:gd name="connsiteX4" fmla="*/ 39318 w 78635"/>
                    <a:gd name="connsiteY4" fmla="*/ 91776 h 91776"/>
                    <a:gd name="connsiteX5" fmla="*/ 39318 w 78635"/>
                    <a:gd name="connsiteY5" fmla="*/ 13115 h 91776"/>
                    <a:gd name="connsiteX6" fmla="*/ 13115 w 78635"/>
                    <a:gd name="connsiteY6" fmla="*/ 45888 h 91776"/>
                    <a:gd name="connsiteX7" fmla="*/ 39318 w 78635"/>
                    <a:gd name="connsiteY7" fmla="*/ 78662 h 91776"/>
                    <a:gd name="connsiteX8" fmla="*/ 65521 w 78635"/>
                    <a:gd name="connsiteY8" fmla="*/ 45888 h 91776"/>
                    <a:gd name="connsiteX9" fmla="*/ 39318 w 78635"/>
                    <a:gd name="connsiteY9" fmla="*/ 13115 h 9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35" h="91776">
                      <a:moveTo>
                        <a:pt x="39318" y="91776"/>
                      </a:moveTo>
                      <a:cubicBezTo>
                        <a:pt x="15805" y="91776"/>
                        <a:pt x="0" y="73333"/>
                        <a:pt x="0" y="45888"/>
                      </a:cubicBezTo>
                      <a:cubicBezTo>
                        <a:pt x="0" y="18443"/>
                        <a:pt x="15805" y="0"/>
                        <a:pt x="39318" y="0"/>
                      </a:cubicBezTo>
                      <a:cubicBezTo>
                        <a:pt x="62831" y="0"/>
                        <a:pt x="78636" y="18443"/>
                        <a:pt x="78636" y="45888"/>
                      </a:cubicBezTo>
                      <a:cubicBezTo>
                        <a:pt x="78636" y="73333"/>
                        <a:pt x="62831" y="91776"/>
                        <a:pt x="39318" y="91776"/>
                      </a:cubicBezTo>
                      <a:close/>
                      <a:moveTo>
                        <a:pt x="39318" y="13115"/>
                      </a:moveTo>
                      <a:cubicBezTo>
                        <a:pt x="19995" y="13115"/>
                        <a:pt x="13115" y="30032"/>
                        <a:pt x="13115" y="45888"/>
                      </a:cubicBezTo>
                      <a:cubicBezTo>
                        <a:pt x="13115" y="61719"/>
                        <a:pt x="19995" y="78662"/>
                        <a:pt x="39318" y="78662"/>
                      </a:cubicBezTo>
                      <a:cubicBezTo>
                        <a:pt x="58641" y="78662"/>
                        <a:pt x="65521" y="61745"/>
                        <a:pt x="65521" y="45888"/>
                      </a:cubicBezTo>
                      <a:cubicBezTo>
                        <a:pt x="65521" y="30058"/>
                        <a:pt x="58641" y="13115"/>
                        <a:pt x="39318" y="13115"/>
                      </a:cubicBezTo>
                      <a:close/>
                    </a:path>
                  </a:pathLst>
                </a:custGeom>
                <a:solidFill>
                  <a:schemeClr val="accent1"/>
                </a:solidFill>
                <a:ln w="2584" cap="flat">
                  <a:noFill/>
                  <a:prstDash val="solid"/>
                  <a:miter/>
                </a:ln>
              </p:spPr>
              <p:txBody>
                <a:bodyPr rtlCol="0" anchor="ctr"/>
                <a:lstStyle/>
                <a:p>
                  <a:endParaRPr lang="en-GB" dirty="0"/>
                </a:p>
              </p:txBody>
            </p:sp>
          </p:grpSp>
          <p:grpSp>
            <p:nvGrpSpPr>
              <p:cNvPr id="89" name="Grafik 229">
                <a:extLst>
                  <a:ext uri="{FF2B5EF4-FFF2-40B4-BE49-F238E27FC236}">
                    <a16:creationId xmlns:a16="http://schemas.microsoft.com/office/drawing/2014/main" id="{960693E6-35A0-4AD2-A97F-36AD58C6C82D}"/>
                  </a:ext>
                </a:extLst>
              </p:cNvPr>
              <p:cNvGrpSpPr/>
              <p:nvPr/>
            </p:nvGrpSpPr>
            <p:grpSpPr>
              <a:xfrm>
                <a:off x="6170388" y="3560294"/>
                <a:ext cx="147390" cy="190071"/>
                <a:chOff x="6170388" y="3560294"/>
                <a:chExt cx="147390" cy="190071"/>
              </a:xfrm>
              <a:solidFill>
                <a:schemeClr val="tx2"/>
              </a:solidFill>
            </p:grpSpPr>
            <p:sp>
              <p:nvSpPr>
                <p:cNvPr id="90" name="Freihandform: Form 952">
                  <a:extLst>
                    <a:ext uri="{FF2B5EF4-FFF2-40B4-BE49-F238E27FC236}">
                      <a16:creationId xmlns:a16="http://schemas.microsoft.com/office/drawing/2014/main" id="{F653E83C-1125-45DD-ADC3-4BD4E6E8FB89}"/>
                    </a:ext>
                  </a:extLst>
                </p:cNvPr>
                <p:cNvSpPr/>
                <p:nvPr/>
              </p:nvSpPr>
              <p:spPr>
                <a:xfrm>
                  <a:off x="6170388" y="3665159"/>
                  <a:ext cx="147390" cy="85205"/>
                </a:xfrm>
                <a:custGeom>
                  <a:avLst/>
                  <a:gdLst>
                    <a:gd name="connsiteX0" fmla="*/ 13115 w 147390"/>
                    <a:gd name="connsiteY0" fmla="*/ 85206 h 85205"/>
                    <a:gd name="connsiteX1" fmla="*/ 0 w 147390"/>
                    <a:gd name="connsiteY1" fmla="*/ 85206 h 85205"/>
                    <a:gd name="connsiteX2" fmla="*/ 0 w 147390"/>
                    <a:gd name="connsiteY2" fmla="*/ 72091 h 85205"/>
                    <a:gd name="connsiteX3" fmla="*/ 69039 w 147390"/>
                    <a:gd name="connsiteY3" fmla="*/ 0 h 85205"/>
                    <a:gd name="connsiteX4" fmla="*/ 114488 w 147390"/>
                    <a:gd name="connsiteY4" fmla="*/ 0 h 85205"/>
                    <a:gd name="connsiteX5" fmla="*/ 147391 w 147390"/>
                    <a:gd name="connsiteY5" fmla="*/ 7993 h 85205"/>
                    <a:gd name="connsiteX6" fmla="*/ 141182 w 147390"/>
                    <a:gd name="connsiteY6" fmla="*/ 19555 h 85205"/>
                    <a:gd name="connsiteX7" fmla="*/ 114488 w 147390"/>
                    <a:gd name="connsiteY7" fmla="*/ 13114 h 85205"/>
                    <a:gd name="connsiteX8" fmla="*/ 69039 w 147390"/>
                    <a:gd name="connsiteY8" fmla="*/ 13114 h 85205"/>
                    <a:gd name="connsiteX9" fmla="*/ 13115 w 147390"/>
                    <a:gd name="connsiteY9" fmla="*/ 72091 h 85205"/>
                    <a:gd name="connsiteX10" fmla="*/ 13115 w 147390"/>
                    <a:gd name="connsiteY10" fmla="*/ 85206 h 8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390" h="85205">
                      <a:moveTo>
                        <a:pt x="13115" y="85206"/>
                      </a:moveTo>
                      <a:lnTo>
                        <a:pt x="0" y="85206"/>
                      </a:lnTo>
                      <a:lnTo>
                        <a:pt x="0" y="72091"/>
                      </a:lnTo>
                      <a:cubicBezTo>
                        <a:pt x="0" y="30989"/>
                        <a:pt x="29670" y="0"/>
                        <a:pt x="69039" y="0"/>
                      </a:cubicBezTo>
                      <a:lnTo>
                        <a:pt x="114488" y="0"/>
                      </a:lnTo>
                      <a:cubicBezTo>
                        <a:pt x="126412" y="0"/>
                        <a:pt x="137483" y="2690"/>
                        <a:pt x="147391" y="7993"/>
                      </a:cubicBezTo>
                      <a:lnTo>
                        <a:pt x="141182" y="19555"/>
                      </a:lnTo>
                      <a:cubicBezTo>
                        <a:pt x="133215" y="15287"/>
                        <a:pt x="124239" y="13114"/>
                        <a:pt x="114488" y="13114"/>
                      </a:cubicBezTo>
                      <a:lnTo>
                        <a:pt x="69039" y="13114"/>
                      </a:lnTo>
                      <a:cubicBezTo>
                        <a:pt x="36628" y="13114"/>
                        <a:pt x="13115" y="37921"/>
                        <a:pt x="13115" y="72091"/>
                      </a:cubicBezTo>
                      <a:lnTo>
                        <a:pt x="13115" y="85206"/>
                      </a:lnTo>
                      <a:close/>
                    </a:path>
                  </a:pathLst>
                </a:custGeom>
                <a:solidFill>
                  <a:schemeClr val="accent1"/>
                </a:solidFill>
                <a:ln w="2584" cap="flat">
                  <a:noFill/>
                  <a:prstDash val="solid"/>
                  <a:miter/>
                </a:ln>
              </p:spPr>
              <p:txBody>
                <a:bodyPr rtlCol="0" anchor="ctr"/>
                <a:lstStyle/>
                <a:p>
                  <a:endParaRPr lang="en-GB" dirty="0"/>
                </a:p>
              </p:txBody>
            </p:sp>
            <p:sp>
              <p:nvSpPr>
                <p:cNvPr id="91" name="Freihandform: Form 953">
                  <a:extLst>
                    <a:ext uri="{FF2B5EF4-FFF2-40B4-BE49-F238E27FC236}">
                      <a16:creationId xmlns:a16="http://schemas.microsoft.com/office/drawing/2014/main" id="{66069C7E-CE8C-4EA6-943A-01874BF56946}"/>
                    </a:ext>
                  </a:extLst>
                </p:cNvPr>
                <p:cNvSpPr/>
                <p:nvPr/>
              </p:nvSpPr>
              <p:spPr>
                <a:xfrm>
                  <a:off x="6222821" y="3560294"/>
                  <a:ext cx="78635" cy="91776"/>
                </a:xfrm>
                <a:custGeom>
                  <a:avLst/>
                  <a:gdLst>
                    <a:gd name="connsiteX0" fmla="*/ 39318 w 78635"/>
                    <a:gd name="connsiteY0" fmla="*/ 91776 h 91776"/>
                    <a:gd name="connsiteX1" fmla="*/ 0 w 78635"/>
                    <a:gd name="connsiteY1" fmla="*/ 45888 h 91776"/>
                    <a:gd name="connsiteX2" fmla="*/ 39318 w 78635"/>
                    <a:gd name="connsiteY2" fmla="*/ 0 h 91776"/>
                    <a:gd name="connsiteX3" fmla="*/ 78636 w 78635"/>
                    <a:gd name="connsiteY3" fmla="*/ 45888 h 91776"/>
                    <a:gd name="connsiteX4" fmla="*/ 39318 w 78635"/>
                    <a:gd name="connsiteY4" fmla="*/ 91776 h 91776"/>
                    <a:gd name="connsiteX5" fmla="*/ 39318 w 78635"/>
                    <a:gd name="connsiteY5" fmla="*/ 13115 h 91776"/>
                    <a:gd name="connsiteX6" fmla="*/ 13115 w 78635"/>
                    <a:gd name="connsiteY6" fmla="*/ 45888 h 91776"/>
                    <a:gd name="connsiteX7" fmla="*/ 39318 w 78635"/>
                    <a:gd name="connsiteY7" fmla="*/ 78662 h 91776"/>
                    <a:gd name="connsiteX8" fmla="*/ 65521 w 78635"/>
                    <a:gd name="connsiteY8" fmla="*/ 45888 h 91776"/>
                    <a:gd name="connsiteX9" fmla="*/ 39318 w 78635"/>
                    <a:gd name="connsiteY9" fmla="*/ 13115 h 9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35" h="91776">
                      <a:moveTo>
                        <a:pt x="39318" y="91776"/>
                      </a:moveTo>
                      <a:cubicBezTo>
                        <a:pt x="15805" y="91776"/>
                        <a:pt x="0" y="73333"/>
                        <a:pt x="0" y="45888"/>
                      </a:cubicBezTo>
                      <a:cubicBezTo>
                        <a:pt x="0" y="18443"/>
                        <a:pt x="15805" y="0"/>
                        <a:pt x="39318" y="0"/>
                      </a:cubicBezTo>
                      <a:cubicBezTo>
                        <a:pt x="62831" y="0"/>
                        <a:pt x="78636" y="18443"/>
                        <a:pt x="78636" y="45888"/>
                      </a:cubicBezTo>
                      <a:cubicBezTo>
                        <a:pt x="78636" y="73333"/>
                        <a:pt x="62831" y="91776"/>
                        <a:pt x="39318" y="91776"/>
                      </a:cubicBezTo>
                      <a:close/>
                      <a:moveTo>
                        <a:pt x="39318" y="13115"/>
                      </a:moveTo>
                      <a:cubicBezTo>
                        <a:pt x="19995" y="13115"/>
                        <a:pt x="13115" y="30032"/>
                        <a:pt x="13115" y="45888"/>
                      </a:cubicBezTo>
                      <a:cubicBezTo>
                        <a:pt x="13115" y="61719"/>
                        <a:pt x="19995" y="78662"/>
                        <a:pt x="39318" y="78662"/>
                      </a:cubicBezTo>
                      <a:cubicBezTo>
                        <a:pt x="58641" y="78662"/>
                        <a:pt x="65521" y="61745"/>
                        <a:pt x="65521" y="45888"/>
                      </a:cubicBezTo>
                      <a:cubicBezTo>
                        <a:pt x="65547" y="30058"/>
                        <a:pt x="58641" y="13115"/>
                        <a:pt x="39318" y="13115"/>
                      </a:cubicBezTo>
                      <a:close/>
                    </a:path>
                  </a:pathLst>
                </a:custGeom>
                <a:solidFill>
                  <a:schemeClr val="accent1"/>
                </a:solidFill>
                <a:ln w="2584" cap="flat">
                  <a:noFill/>
                  <a:prstDash val="solid"/>
                  <a:miter/>
                </a:ln>
              </p:spPr>
              <p:txBody>
                <a:bodyPr rtlCol="0" anchor="ctr"/>
                <a:lstStyle/>
                <a:p>
                  <a:endParaRPr lang="en-GB" dirty="0"/>
                </a:p>
              </p:txBody>
            </p:sp>
          </p:grpSp>
        </p:grpSp>
        <p:grpSp>
          <p:nvGrpSpPr>
            <p:cNvPr id="81" name="Gruppieren 1045">
              <a:extLst>
                <a:ext uri="{FF2B5EF4-FFF2-40B4-BE49-F238E27FC236}">
                  <a16:creationId xmlns:a16="http://schemas.microsoft.com/office/drawing/2014/main" id="{CFABAA88-036E-4B63-92CD-0EDC73FE4E9F}"/>
                </a:ext>
              </a:extLst>
            </p:cNvPr>
            <p:cNvGrpSpPr/>
            <p:nvPr/>
          </p:nvGrpSpPr>
          <p:grpSpPr>
            <a:xfrm>
              <a:off x="2711703" y="3203170"/>
              <a:ext cx="346431" cy="167345"/>
              <a:chOff x="6235418" y="3376793"/>
              <a:chExt cx="354922" cy="171447"/>
            </a:xfrm>
          </p:grpSpPr>
          <p:sp>
            <p:nvSpPr>
              <p:cNvPr id="82" name="Freihandform: Form 954">
                <a:extLst>
                  <a:ext uri="{FF2B5EF4-FFF2-40B4-BE49-F238E27FC236}">
                    <a16:creationId xmlns:a16="http://schemas.microsoft.com/office/drawing/2014/main" id="{C0B84E70-7CC2-4EFC-977A-13767247A29E}"/>
                  </a:ext>
                </a:extLst>
              </p:cNvPr>
              <p:cNvSpPr/>
              <p:nvPr/>
            </p:nvSpPr>
            <p:spPr>
              <a:xfrm>
                <a:off x="6462065" y="3376793"/>
                <a:ext cx="78635" cy="91776"/>
              </a:xfrm>
              <a:custGeom>
                <a:avLst/>
                <a:gdLst>
                  <a:gd name="connsiteX0" fmla="*/ 39318 w 78635"/>
                  <a:gd name="connsiteY0" fmla="*/ 91776 h 91776"/>
                  <a:gd name="connsiteX1" fmla="*/ 0 w 78635"/>
                  <a:gd name="connsiteY1" fmla="*/ 45888 h 91776"/>
                  <a:gd name="connsiteX2" fmla="*/ 39318 w 78635"/>
                  <a:gd name="connsiteY2" fmla="*/ 0 h 91776"/>
                  <a:gd name="connsiteX3" fmla="*/ 78636 w 78635"/>
                  <a:gd name="connsiteY3" fmla="*/ 45888 h 91776"/>
                  <a:gd name="connsiteX4" fmla="*/ 39318 w 78635"/>
                  <a:gd name="connsiteY4" fmla="*/ 91776 h 91776"/>
                  <a:gd name="connsiteX5" fmla="*/ 39318 w 78635"/>
                  <a:gd name="connsiteY5" fmla="*/ 13115 h 91776"/>
                  <a:gd name="connsiteX6" fmla="*/ 13115 w 78635"/>
                  <a:gd name="connsiteY6" fmla="*/ 45888 h 91776"/>
                  <a:gd name="connsiteX7" fmla="*/ 39318 w 78635"/>
                  <a:gd name="connsiteY7" fmla="*/ 78662 h 91776"/>
                  <a:gd name="connsiteX8" fmla="*/ 65521 w 78635"/>
                  <a:gd name="connsiteY8" fmla="*/ 45888 h 91776"/>
                  <a:gd name="connsiteX9" fmla="*/ 39318 w 78635"/>
                  <a:gd name="connsiteY9" fmla="*/ 13115 h 9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35" h="91776">
                    <a:moveTo>
                      <a:pt x="39318" y="91776"/>
                    </a:moveTo>
                    <a:cubicBezTo>
                      <a:pt x="15805" y="91776"/>
                      <a:pt x="0" y="73333"/>
                      <a:pt x="0" y="45888"/>
                    </a:cubicBezTo>
                    <a:cubicBezTo>
                      <a:pt x="0" y="18443"/>
                      <a:pt x="15805" y="0"/>
                      <a:pt x="39318" y="0"/>
                    </a:cubicBezTo>
                    <a:cubicBezTo>
                      <a:pt x="62831" y="0"/>
                      <a:pt x="78636" y="18443"/>
                      <a:pt x="78636" y="45888"/>
                    </a:cubicBezTo>
                    <a:cubicBezTo>
                      <a:pt x="78636" y="73333"/>
                      <a:pt x="62857" y="91776"/>
                      <a:pt x="39318" y="91776"/>
                    </a:cubicBezTo>
                    <a:close/>
                    <a:moveTo>
                      <a:pt x="39318" y="13115"/>
                    </a:moveTo>
                    <a:cubicBezTo>
                      <a:pt x="19995" y="13115"/>
                      <a:pt x="13115" y="30032"/>
                      <a:pt x="13115" y="45888"/>
                    </a:cubicBezTo>
                    <a:cubicBezTo>
                      <a:pt x="13115" y="61719"/>
                      <a:pt x="19995" y="78662"/>
                      <a:pt x="39318" y="78662"/>
                    </a:cubicBezTo>
                    <a:cubicBezTo>
                      <a:pt x="58641" y="78662"/>
                      <a:pt x="65521" y="61745"/>
                      <a:pt x="65521" y="45888"/>
                    </a:cubicBezTo>
                    <a:cubicBezTo>
                      <a:pt x="65547" y="30058"/>
                      <a:pt x="58641" y="13115"/>
                      <a:pt x="39318" y="13115"/>
                    </a:cubicBezTo>
                    <a:close/>
                  </a:path>
                </a:pathLst>
              </a:custGeom>
              <a:solidFill>
                <a:schemeClr val="accent1"/>
              </a:solidFill>
              <a:ln w="2584" cap="flat">
                <a:noFill/>
                <a:prstDash val="solid"/>
                <a:miter/>
              </a:ln>
            </p:spPr>
            <p:txBody>
              <a:bodyPr rtlCol="0" anchor="ctr"/>
              <a:lstStyle/>
              <a:p>
                <a:endParaRPr lang="en-GB" dirty="0"/>
              </a:p>
            </p:txBody>
          </p:sp>
          <p:sp>
            <p:nvSpPr>
              <p:cNvPr id="83" name="Freihandform: Form 955">
                <a:extLst>
                  <a:ext uri="{FF2B5EF4-FFF2-40B4-BE49-F238E27FC236}">
                    <a16:creationId xmlns:a16="http://schemas.microsoft.com/office/drawing/2014/main" id="{440F0B77-719A-4BFF-9245-392A8880B815}"/>
                  </a:ext>
                </a:extLst>
              </p:cNvPr>
              <p:cNvSpPr/>
              <p:nvPr/>
            </p:nvSpPr>
            <p:spPr>
              <a:xfrm>
                <a:off x="6287437" y="3376793"/>
                <a:ext cx="78635" cy="91776"/>
              </a:xfrm>
              <a:custGeom>
                <a:avLst/>
                <a:gdLst>
                  <a:gd name="connsiteX0" fmla="*/ 39318 w 78635"/>
                  <a:gd name="connsiteY0" fmla="*/ 91776 h 91776"/>
                  <a:gd name="connsiteX1" fmla="*/ 0 w 78635"/>
                  <a:gd name="connsiteY1" fmla="*/ 45888 h 91776"/>
                  <a:gd name="connsiteX2" fmla="*/ 39318 w 78635"/>
                  <a:gd name="connsiteY2" fmla="*/ 0 h 91776"/>
                  <a:gd name="connsiteX3" fmla="*/ 78636 w 78635"/>
                  <a:gd name="connsiteY3" fmla="*/ 45888 h 91776"/>
                  <a:gd name="connsiteX4" fmla="*/ 39318 w 78635"/>
                  <a:gd name="connsiteY4" fmla="*/ 91776 h 91776"/>
                  <a:gd name="connsiteX5" fmla="*/ 39318 w 78635"/>
                  <a:gd name="connsiteY5" fmla="*/ 13115 h 91776"/>
                  <a:gd name="connsiteX6" fmla="*/ 13115 w 78635"/>
                  <a:gd name="connsiteY6" fmla="*/ 45888 h 91776"/>
                  <a:gd name="connsiteX7" fmla="*/ 39318 w 78635"/>
                  <a:gd name="connsiteY7" fmla="*/ 78662 h 91776"/>
                  <a:gd name="connsiteX8" fmla="*/ 65521 w 78635"/>
                  <a:gd name="connsiteY8" fmla="*/ 45888 h 91776"/>
                  <a:gd name="connsiteX9" fmla="*/ 39318 w 78635"/>
                  <a:gd name="connsiteY9" fmla="*/ 13115 h 9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35" h="91776">
                    <a:moveTo>
                      <a:pt x="39318" y="91776"/>
                    </a:moveTo>
                    <a:cubicBezTo>
                      <a:pt x="15805" y="91776"/>
                      <a:pt x="0" y="73333"/>
                      <a:pt x="0" y="45888"/>
                    </a:cubicBezTo>
                    <a:cubicBezTo>
                      <a:pt x="0" y="18443"/>
                      <a:pt x="15805" y="0"/>
                      <a:pt x="39318" y="0"/>
                    </a:cubicBezTo>
                    <a:cubicBezTo>
                      <a:pt x="62831" y="0"/>
                      <a:pt x="78636" y="18443"/>
                      <a:pt x="78636" y="45888"/>
                    </a:cubicBezTo>
                    <a:cubicBezTo>
                      <a:pt x="78636" y="73333"/>
                      <a:pt x="62831" y="91776"/>
                      <a:pt x="39318" y="91776"/>
                    </a:cubicBezTo>
                    <a:close/>
                    <a:moveTo>
                      <a:pt x="39318" y="13115"/>
                    </a:moveTo>
                    <a:cubicBezTo>
                      <a:pt x="19995" y="13115"/>
                      <a:pt x="13115" y="30032"/>
                      <a:pt x="13115" y="45888"/>
                    </a:cubicBezTo>
                    <a:cubicBezTo>
                      <a:pt x="13115" y="61719"/>
                      <a:pt x="19995" y="78662"/>
                      <a:pt x="39318" y="78662"/>
                    </a:cubicBezTo>
                    <a:cubicBezTo>
                      <a:pt x="58641" y="78662"/>
                      <a:pt x="65521" y="61745"/>
                      <a:pt x="65521" y="45888"/>
                    </a:cubicBezTo>
                    <a:cubicBezTo>
                      <a:pt x="65547" y="30058"/>
                      <a:pt x="58641" y="13115"/>
                      <a:pt x="39318" y="13115"/>
                    </a:cubicBezTo>
                    <a:close/>
                  </a:path>
                </a:pathLst>
              </a:custGeom>
              <a:solidFill>
                <a:schemeClr val="accent1"/>
              </a:solidFill>
              <a:ln w="2584" cap="flat">
                <a:noFill/>
                <a:prstDash val="solid"/>
                <a:miter/>
              </a:ln>
            </p:spPr>
            <p:txBody>
              <a:bodyPr rtlCol="0" anchor="ctr"/>
              <a:lstStyle/>
              <a:p>
                <a:endParaRPr lang="en-GB" dirty="0"/>
              </a:p>
            </p:txBody>
          </p:sp>
          <p:sp>
            <p:nvSpPr>
              <p:cNvPr id="84" name="Freihandform: Form 956">
                <a:extLst>
                  <a:ext uri="{FF2B5EF4-FFF2-40B4-BE49-F238E27FC236}">
                    <a16:creationId xmlns:a16="http://schemas.microsoft.com/office/drawing/2014/main" id="{CE358F41-AC81-4E50-BDCE-090916CF15AC}"/>
                  </a:ext>
                </a:extLst>
              </p:cNvPr>
              <p:cNvSpPr/>
              <p:nvPr/>
            </p:nvSpPr>
            <p:spPr>
              <a:xfrm>
                <a:off x="6409814" y="3481658"/>
                <a:ext cx="180526" cy="66581"/>
              </a:xfrm>
              <a:custGeom>
                <a:avLst/>
                <a:gdLst>
                  <a:gd name="connsiteX0" fmla="*/ 167593 w 180526"/>
                  <a:gd name="connsiteY0" fmla="*/ 66582 h 66581"/>
                  <a:gd name="connsiteX1" fmla="*/ 111539 w 180526"/>
                  <a:gd name="connsiteY1" fmla="*/ 13114 h 66581"/>
                  <a:gd name="connsiteX2" fmla="*/ 65573 w 180526"/>
                  <a:gd name="connsiteY2" fmla="*/ 13114 h 66581"/>
                  <a:gd name="connsiteX3" fmla="*/ 12442 w 180526"/>
                  <a:gd name="connsiteY3" fmla="*/ 54476 h 66581"/>
                  <a:gd name="connsiteX4" fmla="*/ 0 w 180526"/>
                  <a:gd name="connsiteY4" fmla="*/ 50389 h 66581"/>
                  <a:gd name="connsiteX5" fmla="*/ 65573 w 180526"/>
                  <a:gd name="connsiteY5" fmla="*/ 0 h 66581"/>
                  <a:gd name="connsiteX6" fmla="*/ 111539 w 180526"/>
                  <a:gd name="connsiteY6" fmla="*/ 0 h 66581"/>
                  <a:gd name="connsiteX7" fmla="*/ 180526 w 180526"/>
                  <a:gd name="connsiteY7" fmla="*/ 64512 h 66581"/>
                  <a:gd name="connsiteX8" fmla="*/ 167593 w 180526"/>
                  <a:gd name="connsiteY8" fmla="*/ 66582 h 6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526" h="66581">
                    <a:moveTo>
                      <a:pt x="167593" y="66582"/>
                    </a:moveTo>
                    <a:cubicBezTo>
                      <a:pt x="162471" y="34610"/>
                      <a:pt x="139941" y="13114"/>
                      <a:pt x="111539" y="13114"/>
                    </a:cubicBezTo>
                    <a:lnTo>
                      <a:pt x="65573" y="13114"/>
                    </a:lnTo>
                    <a:cubicBezTo>
                      <a:pt x="40792" y="13114"/>
                      <a:pt x="20926" y="28583"/>
                      <a:pt x="12442" y="54476"/>
                    </a:cubicBezTo>
                    <a:lnTo>
                      <a:pt x="0" y="50389"/>
                    </a:lnTo>
                    <a:cubicBezTo>
                      <a:pt x="10192" y="19323"/>
                      <a:pt x="35309" y="0"/>
                      <a:pt x="65573" y="0"/>
                    </a:cubicBezTo>
                    <a:lnTo>
                      <a:pt x="111539" y="0"/>
                    </a:lnTo>
                    <a:cubicBezTo>
                      <a:pt x="146614" y="0"/>
                      <a:pt x="174344" y="25919"/>
                      <a:pt x="180526" y="64512"/>
                    </a:cubicBezTo>
                    <a:lnTo>
                      <a:pt x="167593" y="66582"/>
                    </a:lnTo>
                    <a:close/>
                  </a:path>
                </a:pathLst>
              </a:custGeom>
              <a:solidFill>
                <a:schemeClr val="accent1"/>
              </a:solidFill>
              <a:ln w="2584" cap="flat">
                <a:noFill/>
                <a:prstDash val="solid"/>
                <a:miter/>
              </a:ln>
            </p:spPr>
            <p:txBody>
              <a:bodyPr rtlCol="0" anchor="ctr"/>
              <a:lstStyle/>
              <a:p>
                <a:endParaRPr lang="en-GB" dirty="0"/>
              </a:p>
            </p:txBody>
          </p:sp>
          <p:sp>
            <p:nvSpPr>
              <p:cNvPr id="85" name="Freihandform: Form 957">
                <a:extLst>
                  <a:ext uri="{FF2B5EF4-FFF2-40B4-BE49-F238E27FC236}">
                    <a16:creationId xmlns:a16="http://schemas.microsoft.com/office/drawing/2014/main" id="{340D033A-6D9C-4195-AD61-96606615063E}"/>
                  </a:ext>
                </a:extLst>
              </p:cNvPr>
              <p:cNvSpPr/>
              <p:nvPr/>
            </p:nvSpPr>
            <p:spPr>
              <a:xfrm>
                <a:off x="6235418" y="3481684"/>
                <a:ext cx="180552" cy="66556"/>
              </a:xfrm>
              <a:custGeom>
                <a:avLst/>
                <a:gdLst>
                  <a:gd name="connsiteX0" fmla="*/ 12934 w 180552"/>
                  <a:gd name="connsiteY0" fmla="*/ 66556 h 66556"/>
                  <a:gd name="connsiteX1" fmla="*/ 0 w 180552"/>
                  <a:gd name="connsiteY1" fmla="*/ 64487 h 66556"/>
                  <a:gd name="connsiteX2" fmla="*/ 68987 w 180552"/>
                  <a:gd name="connsiteY2" fmla="*/ 0 h 66556"/>
                  <a:gd name="connsiteX3" fmla="*/ 114953 w 180552"/>
                  <a:gd name="connsiteY3" fmla="*/ 0 h 66556"/>
                  <a:gd name="connsiteX4" fmla="*/ 180552 w 180552"/>
                  <a:gd name="connsiteY4" fmla="*/ 50415 h 66556"/>
                  <a:gd name="connsiteX5" fmla="*/ 168110 w 180552"/>
                  <a:gd name="connsiteY5" fmla="*/ 54476 h 66556"/>
                  <a:gd name="connsiteX6" fmla="*/ 114979 w 180552"/>
                  <a:gd name="connsiteY6" fmla="*/ 13089 h 66556"/>
                  <a:gd name="connsiteX7" fmla="*/ 69013 w 180552"/>
                  <a:gd name="connsiteY7" fmla="*/ 13089 h 66556"/>
                  <a:gd name="connsiteX8" fmla="*/ 12934 w 180552"/>
                  <a:gd name="connsiteY8" fmla="*/ 66556 h 6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552" h="66556">
                    <a:moveTo>
                      <a:pt x="12934" y="66556"/>
                    </a:moveTo>
                    <a:lnTo>
                      <a:pt x="0" y="64487"/>
                    </a:lnTo>
                    <a:cubicBezTo>
                      <a:pt x="6182" y="25919"/>
                      <a:pt x="33912" y="0"/>
                      <a:pt x="68987" y="0"/>
                    </a:cubicBezTo>
                    <a:lnTo>
                      <a:pt x="114953" y="0"/>
                    </a:lnTo>
                    <a:cubicBezTo>
                      <a:pt x="145244" y="0"/>
                      <a:pt x="170386" y="19323"/>
                      <a:pt x="180552" y="50415"/>
                    </a:cubicBezTo>
                    <a:lnTo>
                      <a:pt x="168110" y="54476"/>
                    </a:lnTo>
                    <a:cubicBezTo>
                      <a:pt x="159626" y="28557"/>
                      <a:pt x="139760" y="13089"/>
                      <a:pt x="114979" y="13089"/>
                    </a:cubicBezTo>
                    <a:lnTo>
                      <a:pt x="69013" y="13089"/>
                    </a:lnTo>
                    <a:cubicBezTo>
                      <a:pt x="40585" y="13089"/>
                      <a:pt x="18055" y="34584"/>
                      <a:pt x="12934" y="66556"/>
                    </a:cubicBezTo>
                    <a:close/>
                  </a:path>
                </a:pathLst>
              </a:custGeom>
              <a:solidFill>
                <a:schemeClr val="accent1"/>
              </a:solidFill>
              <a:ln w="2584" cap="flat">
                <a:noFill/>
                <a:prstDash val="solid"/>
                <a:miter/>
              </a:ln>
            </p:spPr>
            <p:txBody>
              <a:bodyPr rtlCol="0" anchor="ctr"/>
              <a:lstStyle/>
              <a:p>
                <a:endParaRPr lang="en-GB" dirty="0"/>
              </a:p>
            </p:txBody>
          </p:sp>
        </p:grpSp>
      </p:grpSp>
      <p:grpSp>
        <p:nvGrpSpPr>
          <p:cNvPr id="15" name="Group 14">
            <a:extLst>
              <a:ext uri="{FF2B5EF4-FFF2-40B4-BE49-F238E27FC236}">
                <a16:creationId xmlns:a16="http://schemas.microsoft.com/office/drawing/2014/main" id="{E592044F-5912-481E-AF62-8F717D632C38}"/>
              </a:ext>
            </a:extLst>
          </p:cNvPr>
          <p:cNvGrpSpPr/>
          <p:nvPr/>
        </p:nvGrpSpPr>
        <p:grpSpPr>
          <a:xfrm>
            <a:off x="1715746" y="3203170"/>
            <a:ext cx="247476" cy="364634"/>
            <a:chOff x="1715746" y="3203170"/>
            <a:chExt cx="247476" cy="364634"/>
          </a:xfrm>
        </p:grpSpPr>
        <p:grpSp>
          <p:nvGrpSpPr>
            <p:cNvPr id="95" name="Gruppieren 1022">
              <a:extLst>
                <a:ext uri="{FF2B5EF4-FFF2-40B4-BE49-F238E27FC236}">
                  <a16:creationId xmlns:a16="http://schemas.microsoft.com/office/drawing/2014/main" id="{299A0757-755B-424C-86BD-1F3A503727E9}"/>
                </a:ext>
              </a:extLst>
            </p:cNvPr>
            <p:cNvGrpSpPr/>
            <p:nvPr/>
          </p:nvGrpSpPr>
          <p:grpSpPr>
            <a:xfrm>
              <a:off x="1755738" y="3241545"/>
              <a:ext cx="185148" cy="161113"/>
              <a:chOff x="5464370" y="3324354"/>
              <a:chExt cx="245484" cy="213616"/>
            </a:xfrm>
          </p:grpSpPr>
          <p:sp>
            <p:nvSpPr>
              <p:cNvPr id="100" name="Freihandform: Form 936">
                <a:extLst>
                  <a:ext uri="{FF2B5EF4-FFF2-40B4-BE49-F238E27FC236}">
                    <a16:creationId xmlns:a16="http://schemas.microsoft.com/office/drawing/2014/main" id="{849CC5D4-4D87-4697-AD46-17795B378A9C}"/>
                  </a:ext>
                </a:extLst>
              </p:cNvPr>
              <p:cNvSpPr/>
              <p:nvPr/>
            </p:nvSpPr>
            <p:spPr>
              <a:xfrm>
                <a:off x="5547768" y="3324354"/>
                <a:ext cx="65547" cy="131100"/>
              </a:xfrm>
              <a:custGeom>
                <a:avLst/>
                <a:gdLst>
                  <a:gd name="connsiteX0" fmla="*/ 32774 w 65547"/>
                  <a:gd name="connsiteY0" fmla="*/ 131101 h 131100"/>
                  <a:gd name="connsiteX1" fmla="*/ 28480 w 65547"/>
                  <a:gd name="connsiteY1" fmla="*/ 129497 h 131100"/>
                  <a:gd name="connsiteX2" fmla="*/ 0 w 65547"/>
                  <a:gd name="connsiteY2" fmla="*/ 65554 h 131100"/>
                  <a:gd name="connsiteX3" fmla="*/ 28480 w 65547"/>
                  <a:gd name="connsiteY3" fmla="*/ 1610 h 131100"/>
                  <a:gd name="connsiteX4" fmla="*/ 37068 w 65547"/>
                  <a:gd name="connsiteY4" fmla="*/ 1610 h 131100"/>
                  <a:gd name="connsiteX5" fmla="*/ 65547 w 65547"/>
                  <a:gd name="connsiteY5" fmla="*/ 65554 h 131100"/>
                  <a:gd name="connsiteX6" fmla="*/ 37068 w 65547"/>
                  <a:gd name="connsiteY6" fmla="*/ 129497 h 131100"/>
                  <a:gd name="connsiteX7" fmla="*/ 32774 w 65547"/>
                  <a:gd name="connsiteY7" fmla="*/ 131101 h 131100"/>
                  <a:gd name="connsiteX8" fmla="*/ 32774 w 65547"/>
                  <a:gd name="connsiteY8" fmla="*/ 15604 h 131100"/>
                  <a:gd name="connsiteX9" fmla="*/ 13115 w 65547"/>
                  <a:gd name="connsiteY9" fmla="*/ 65554 h 131100"/>
                  <a:gd name="connsiteX10" fmla="*/ 32774 w 65547"/>
                  <a:gd name="connsiteY10" fmla="*/ 115503 h 131100"/>
                  <a:gd name="connsiteX11" fmla="*/ 52433 w 65547"/>
                  <a:gd name="connsiteY11" fmla="*/ 65554 h 131100"/>
                  <a:gd name="connsiteX12" fmla="*/ 32774 w 65547"/>
                  <a:gd name="connsiteY12" fmla="*/ 15604 h 13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547" h="131100">
                    <a:moveTo>
                      <a:pt x="32774" y="131101"/>
                    </a:moveTo>
                    <a:cubicBezTo>
                      <a:pt x="31247" y="131101"/>
                      <a:pt x="29721" y="130557"/>
                      <a:pt x="28480" y="129497"/>
                    </a:cubicBezTo>
                    <a:cubicBezTo>
                      <a:pt x="10399" y="113796"/>
                      <a:pt x="0" y="90489"/>
                      <a:pt x="0" y="65554"/>
                    </a:cubicBezTo>
                    <a:cubicBezTo>
                      <a:pt x="0" y="40618"/>
                      <a:pt x="10373" y="17337"/>
                      <a:pt x="28480" y="1610"/>
                    </a:cubicBezTo>
                    <a:cubicBezTo>
                      <a:pt x="30963" y="-537"/>
                      <a:pt x="34610" y="-537"/>
                      <a:pt x="37068" y="1610"/>
                    </a:cubicBezTo>
                    <a:cubicBezTo>
                      <a:pt x="55149" y="17311"/>
                      <a:pt x="65547" y="40618"/>
                      <a:pt x="65547" y="65554"/>
                    </a:cubicBezTo>
                    <a:cubicBezTo>
                      <a:pt x="65547" y="90489"/>
                      <a:pt x="55174" y="113770"/>
                      <a:pt x="37068" y="129497"/>
                    </a:cubicBezTo>
                    <a:cubicBezTo>
                      <a:pt x="35852" y="130557"/>
                      <a:pt x="34326" y="131101"/>
                      <a:pt x="32774" y="131101"/>
                    </a:cubicBezTo>
                    <a:close/>
                    <a:moveTo>
                      <a:pt x="32774" y="15604"/>
                    </a:moveTo>
                    <a:cubicBezTo>
                      <a:pt x="20202" y="28641"/>
                      <a:pt x="13115" y="46515"/>
                      <a:pt x="13115" y="65554"/>
                    </a:cubicBezTo>
                    <a:cubicBezTo>
                      <a:pt x="13115" y="84592"/>
                      <a:pt x="20228" y="102492"/>
                      <a:pt x="32774" y="115503"/>
                    </a:cubicBezTo>
                    <a:cubicBezTo>
                      <a:pt x="45345" y="102466"/>
                      <a:pt x="52433" y="84592"/>
                      <a:pt x="52433" y="65554"/>
                    </a:cubicBezTo>
                    <a:cubicBezTo>
                      <a:pt x="52458" y="46515"/>
                      <a:pt x="45345" y="28615"/>
                      <a:pt x="32774" y="15604"/>
                    </a:cubicBezTo>
                    <a:close/>
                  </a:path>
                </a:pathLst>
              </a:custGeom>
              <a:solidFill>
                <a:schemeClr val="accent1"/>
              </a:solidFill>
              <a:ln w="2584" cap="flat">
                <a:noFill/>
                <a:prstDash val="solid"/>
                <a:miter/>
              </a:ln>
            </p:spPr>
            <p:txBody>
              <a:bodyPr rtlCol="0" anchor="ctr"/>
              <a:lstStyle/>
              <a:p>
                <a:endParaRPr lang="en-GB" dirty="0"/>
              </a:p>
            </p:txBody>
          </p:sp>
          <p:sp>
            <p:nvSpPr>
              <p:cNvPr id="101" name="Freihandform: Form 939">
                <a:extLst>
                  <a:ext uri="{FF2B5EF4-FFF2-40B4-BE49-F238E27FC236}">
                    <a16:creationId xmlns:a16="http://schemas.microsoft.com/office/drawing/2014/main" id="{42816EBF-01F4-4C40-A30E-2D3B4B0FAD47}"/>
                  </a:ext>
                </a:extLst>
              </p:cNvPr>
              <p:cNvSpPr/>
              <p:nvPr/>
            </p:nvSpPr>
            <p:spPr>
              <a:xfrm>
                <a:off x="5613726" y="3381350"/>
                <a:ext cx="96128" cy="97643"/>
              </a:xfrm>
              <a:custGeom>
                <a:avLst/>
                <a:gdLst>
                  <a:gd name="connsiteX0" fmla="*/ 11204 w 96128"/>
                  <a:gd name="connsiteY0" fmla="*/ 97643 h 97643"/>
                  <a:gd name="connsiteX1" fmla="*/ 6393 w 96128"/>
                  <a:gd name="connsiteY1" fmla="*/ 97488 h 97643"/>
                  <a:gd name="connsiteX2" fmla="*/ 262 w 96128"/>
                  <a:gd name="connsiteY2" fmla="*/ 91487 h 97643"/>
                  <a:gd name="connsiteX3" fmla="*/ 24655 w 96128"/>
                  <a:gd name="connsiteY3" fmla="*/ 25888 h 97643"/>
                  <a:gd name="connsiteX4" fmla="*/ 89736 w 96128"/>
                  <a:gd name="connsiteY4" fmla="*/ 151 h 97643"/>
                  <a:gd name="connsiteX5" fmla="*/ 95867 w 96128"/>
                  <a:gd name="connsiteY5" fmla="*/ 6152 h 97643"/>
                  <a:gd name="connsiteX6" fmla="*/ 71474 w 96128"/>
                  <a:gd name="connsiteY6" fmla="*/ 71751 h 97643"/>
                  <a:gd name="connsiteX7" fmla="*/ 11204 w 96128"/>
                  <a:gd name="connsiteY7" fmla="*/ 97643 h 97643"/>
                  <a:gd name="connsiteX8" fmla="*/ 83011 w 96128"/>
                  <a:gd name="connsiteY8" fmla="*/ 13136 h 97643"/>
                  <a:gd name="connsiteX9" fmla="*/ 33993 w 96128"/>
                  <a:gd name="connsiteY9" fmla="*/ 35071 h 97643"/>
                  <a:gd name="connsiteX10" fmla="*/ 13066 w 96128"/>
                  <a:gd name="connsiteY10" fmla="*/ 84503 h 97643"/>
                  <a:gd name="connsiteX11" fmla="*/ 62084 w 96128"/>
                  <a:gd name="connsiteY11" fmla="*/ 62568 h 97643"/>
                  <a:gd name="connsiteX12" fmla="*/ 83011 w 96128"/>
                  <a:gd name="connsiteY12" fmla="*/ 13136 h 97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128" h="97643">
                    <a:moveTo>
                      <a:pt x="11204" y="97643"/>
                    </a:moveTo>
                    <a:cubicBezTo>
                      <a:pt x="9600" y="97643"/>
                      <a:pt x="7996" y="97592"/>
                      <a:pt x="6393" y="97488"/>
                    </a:cubicBezTo>
                    <a:cubicBezTo>
                      <a:pt x="3133" y="97281"/>
                      <a:pt x="521" y="94720"/>
                      <a:pt x="262" y="91487"/>
                    </a:cubicBezTo>
                    <a:cubicBezTo>
                      <a:pt x="-1678" y="67612"/>
                      <a:pt x="7220" y="43685"/>
                      <a:pt x="24655" y="25888"/>
                    </a:cubicBezTo>
                    <a:cubicBezTo>
                      <a:pt x="42089" y="8092"/>
                      <a:pt x="65809" y="-1324"/>
                      <a:pt x="89736" y="151"/>
                    </a:cubicBezTo>
                    <a:cubicBezTo>
                      <a:pt x="92996" y="357"/>
                      <a:pt x="95608" y="2918"/>
                      <a:pt x="95867" y="6152"/>
                    </a:cubicBezTo>
                    <a:cubicBezTo>
                      <a:pt x="97807" y="30027"/>
                      <a:pt x="88909" y="53954"/>
                      <a:pt x="71474" y="71751"/>
                    </a:cubicBezTo>
                    <a:cubicBezTo>
                      <a:pt x="55204" y="88357"/>
                      <a:pt x="33450" y="97643"/>
                      <a:pt x="11204" y="97643"/>
                    </a:cubicBezTo>
                    <a:close/>
                    <a:moveTo>
                      <a:pt x="83011" y="13136"/>
                    </a:moveTo>
                    <a:cubicBezTo>
                      <a:pt x="64930" y="13653"/>
                      <a:pt x="47340" y="21465"/>
                      <a:pt x="33993" y="35071"/>
                    </a:cubicBezTo>
                    <a:cubicBezTo>
                      <a:pt x="20671" y="48677"/>
                      <a:pt x="13222" y="66422"/>
                      <a:pt x="13066" y="84503"/>
                    </a:cubicBezTo>
                    <a:cubicBezTo>
                      <a:pt x="31147" y="83986"/>
                      <a:pt x="48737" y="76174"/>
                      <a:pt x="62084" y="62568"/>
                    </a:cubicBezTo>
                    <a:cubicBezTo>
                      <a:pt x="75432" y="48962"/>
                      <a:pt x="82881" y="31217"/>
                      <a:pt x="83011" y="13136"/>
                    </a:cubicBezTo>
                    <a:close/>
                  </a:path>
                </a:pathLst>
              </a:custGeom>
              <a:solidFill>
                <a:schemeClr val="accent1"/>
              </a:solidFill>
              <a:ln w="2584" cap="flat">
                <a:noFill/>
                <a:prstDash val="solid"/>
                <a:miter/>
              </a:ln>
            </p:spPr>
            <p:txBody>
              <a:bodyPr rtlCol="0" anchor="ctr"/>
              <a:lstStyle/>
              <a:p>
                <a:endParaRPr lang="en-GB" dirty="0"/>
              </a:p>
            </p:txBody>
          </p:sp>
          <p:sp>
            <p:nvSpPr>
              <p:cNvPr id="102" name="Freihandform: Form 942">
                <a:extLst>
                  <a:ext uri="{FF2B5EF4-FFF2-40B4-BE49-F238E27FC236}">
                    <a16:creationId xmlns:a16="http://schemas.microsoft.com/office/drawing/2014/main" id="{4E175D62-68F1-4619-92FE-B46AC3B578E4}"/>
                  </a:ext>
                </a:extLst>
              </p:cNvPr>
              <p:cNvSpPr/>
              <p:nvPr/>
            </p:nvSpPr>
            <p:spPr>
              <a:xfrm>
                <a:off x="5464370" y="3440341"/>
                <a:ext cx="96128" cy="97629"/>
              </a:xfrm>
              <a:custGeom>
                <a:avLst/>
                <a:gdLst>
                  <a:gd name="connsiteX0" fmla="*/ 84925 w 96128"/>
                  <a:gd name="connsiteY0" fmla="*/ 97630 h 97629"/>
                  <a:gd name="connsiteX1" fmla="*/ 24655 w 96128"/>
                  <a:gd name="connsiteY1" fmla="*/ 71737 h 97629"/>
                  <a:gd name="connsiteX2" fmla="*/ 262 w 96128"/>
                  <a:gd name="connsiteY2" fmla="*/ 6138 h 97629"/>
                  <a:gd name="connsiteX3" fmla="*/ 6393 w 96128"/>
                  <a:gd name="connsiteY3" fmla="*/ 137 h 97629"/>
                  <a:gd name="connsiteX4" fmla="*/ 71474 w 96128"/>
                  <a:gd name="connsiteY4" fmla="*/ 25875 h 97629"/>
                  <a:gd name="connsiteX5" fmla="*/ 95867 w 96128"/>
                  <a:gd name="connsiteY5" fmla="*/ 91474 h 97629"/>
                  <a:gd name="connsiteX6" fmla="*/ 89736 w 96128"/>
                  <a:gd name="connsiteY6" fmla="*/ 97475 h 97629"/>
                  <a:gd name="connsiteX7" fmla="*/ 84925 w 96128"/>
                  <a:gd name="connsiteY7" fmla="*/ 97630 h 97629"/>
                  <a:gd name="connsiteX8" fmla="*/ 13092 w 96128"/>
                  <a:gd name="connsiteY8" fmla="*/ 13122 h 97629"/>
                  <a:gd name="connsiteX9" fmla="*/ 34019 w 96128"/>
                  <a:gd name="connsiteY9" fmla="*/ 62580 h 97629"/>
                  <a:gd name="connsiteX10" fmla="*/ 83037 w 96128"/>
                  <a:gd name="connsiteY10" fmla="*/ 84515 h 97629"/>
                  <a:gd name="connsiteX11" fmla="*/ 62110 w 96128"/>
                  <a:gd name="connsiteY11" fmla="*/ 35083 h 97629"/>
                  <a:gd name="connsiteX12" fmla="*/ 13092 w 96128"/>
                  <a:gd name="connsiteY12" fmla="*/ 13122 h 97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128" h="97629">
                    <a:moveTo>
                      <a:pt x="84925" y="97630"/>
                    </a:moveTo>
                    <a:cubicBezTo>
                      <a:pt x="62653" y="97630"/>
                      <a:pt x="40925" y="88344"/>
                      <a:pt x="24655" y="71737"/>
                    </a:cubicBezTo>
                    <a:cubicBezTo>
                      <a:pt x="7220" y="53940"/>
                      <a:pt x="-1678" y="30013"/>
                      <a:pt x="262" y="6138"/>
                    </a:cubicBezTo>
                    <a:cubicBezTo>
                      <a:pt x="521" y="2879"/>
                      <a:pt x="3133" y="318"/>
                      <a:pt x="6393" y="137"/>
                    </a:cubicBezTo>
                    <a:cubicBezTo>
                      <a:pt x="30294" y="-1260"/>
                      <a:pt x="54040" y="8078"/>
                      <a:pt x="71474" y="25875"/>
                    </a:cubicBezTo>
                    <a:cubicBezTo>
                      <a:pt x="88909" y="43671"/>
                      <a:pt x="97807" y="67572"/>
                      <a:pt x="95867" y="91474"/>
                    </a:cubicBezTo>
                    <a:cubicBezTo>
                      <a:pt x="95608" y="94733"/>
                      <a:pt x="92996" y="97294"/>
                      <a:pt x="89736" y="97475"/>
                    </a:cubicBezTo>
                    <a:cubicBezTo>
                      <a:pt x="88133" y="97578"/>
                      <a:pt x="86529" y="97630"/>
                      <a:pt x="84925" y="97630"/>
                    </a:cubicBezTo>
                    <a:close/>
                    <a:moveTo>
                      <a:pt x="13092" y="13122"/>
                    </a:moveTo>
                    <a:cubicBezTo>
                      <a:pt x="13222" y="31203"/>
                      <a:pt x="20671" y="48974"/>
                      <a:pt x="34019" y="62580"/>
                    </a:cubicBezTo>
                    <a:cubicBezTo>
                      <a:pt x="47340" y="76186"/>
                      <a:pt x="64930" y="83998"/>
                      <a:pt x="83037" y="84515"/>
                    </a:cubicBezTo>
                    <a:cubicBezTo>
                      <a:pt x="82907" y="66434"/>
                      <a:pt x="75458" y="48689"/>
                      <a:pt x="62110" y="35083"/>
                    </a:cubicBezTo>
                    <a:cubicBezTo>
                      <a:pt x="48789" y="21451"/>
                      <a:pt x="31173" y="13640"/>
                      <a:pt x="13092" y="13122"/>
                    </a:cubicBezTo>
                    <a:close/>
                  </a:path>
                </a:pathLst>
              </a:custGeom>
              <a:solidFill>
                <a:schemeClr val="accent1"/>
              </a:solidFill>
              <a:ln w="2584" cap="flat">
                <a:noFill/>
                <a:prstDash val="solid"/>
                <a:miter/>
              </a:ln>
            </p:spPr>
            <p:txBody>
              <a:bodyPr rtlCol="0" anchor="ctr"/>
              <a:lstStyle/>
              <a:p>
                <a:endParaRPr lang="en-GB" dirty="0"/>
              </a:p>
            </p:txBody>
          </p:sp>
        </p:grpSp>
        <p:grpSp>
          <p:nvGrpSpPr>
            <p:cNvPr id="96" name="Gruppieren 1039">
              <a:extLst>
                <a:ext uri="{FF2B5EF4-FFF2-40B4-BE49-F238E27FC236}">
                  <a16:creationId xmlns:a16="http://schemas.microsoft.com/office/drawing/2014/main" id="{C7A89FEB-92A6-4D4A-AB6C-4180F036CB49}"/>
                </a:ext>
              </a:extLst>
            </p:cNvPr>
            <p:cNvGrpSpPr/>
            <p:nvPr/>
          </p:nvGrpSpPr>
          <p:grpSpPr>
            <a:xfrm>
              <a:off x="1715746" y="3203170"/>
              <a:ext cx="247476" cy="364634"/>
              <a:chOff x="5411345" y="3273473"/>
              <a:chExt cx="328123" cy="483461"/>
            </a:xfrm>
          </p:grpSpPr>
          <p:sp>
            <p:nvSpPr>
              <p:cNvPr id="97" name="Freihandform: Form 937">
                <a:extLst>
                  <a:ext uri="{FF2B5EF4-FFF2-40B4-BE49-F238E27FC236}">
                    <a16:creationId xmlns:a16="http://schemas.microsoft.com/office/drawing/2014/main" id="{B7D0E3EA-7040-433A-A9DD-108EF88D9382}"/>
                  </a:ext>
                </a:extLst>
              </p:cNvPr>
              <p:cNvSpPr/>
              <p:nvPr/>
            </p:nvSpPr>
            <p:spPr>
              <a:xfrm>
                <a:off x="5411345" y="3273473"/>
                <a:ext cx="328123" cy="483461"/>
              </a:xfrm>
              <a:custGeom>
                <a:avLst/>
                <a:gdLst>
                  <a:gd name="connsiteX0" fmla="*/ 208515 w 328123"/>
                  <a:gd name="connsiteY0" fmla="*/ 483462 h 483461"/>
                  <a:gd name="connsiteX1" fmla="*/ 129879 w 328123"/>
                  <a:gd name="connsiteY1" fmla="*/ 483462 h 483461"/>
                  <a:gd name="connsiteX2" fmla="*/ 124550 w 328123"/>
                  <a:gd name="connsiteY2" fmla="*/ 480720 h 483461"/>
                  <a:gd name="connsiteX3" fmla="*/ 91777 w 328123"/>
                  <a:gd name="connsiteY3" fmla="*/ 434832 h 483461"/>
                  <a:gd name="connsiteX4" fmla="*/ 91285 w 328123"/>
                  <a:gd name="connsiteY4" fmla="*/ 428029 h 483461"/>
                  <a:gd name="connsiteX5" fmla="*/ 97105 w 328123"/>
                  <a:gd name="connsiteY5" fmla="*/ 424485 h 483461"/>
                  <a:gd name="connsiteX6" fmla="*/ 234744 w 328123"/>
                  <a:gd name="connsiteY6" fmla="*/ 424485 h 483461"/>
                  <a:gd name="connsiteX7" fmla="*/ 234744 w 328123"/>
                  <a:gd name="connsiteY7" fmla="*/ 398282 h 483461"/>
                  <a:gd name="connsiteX8" fmla="*/ 97105 w 328123"/>
                  <a:gd name="connsiteY8" fmla="*/ 398282 h 483461"/>
                  <a:gd name="connsiteX9" fmla="*/ 90561 w 328123"/>
                  <a:gd name="connsiteY9" fmla="*/ 391737 h 483461"/>
                  <a:gd name="connsiteX10" fmla="*/ 90561 w 328123"/>
                  <a:gd name="connsiteY10" fmla="*/ 345823 h 483461"/>
                  <a:gd name="connsiteX11" fmla="*/ 51217 w 328123"/>
                  <a:gd name="connsiteY11" fmla="*/ 282630 h 483461"/>
                  <a:gd name="connsiteX12" fmla="*/ 1526 w 328123"/>
                  <a:gd name="connsiteY12" fmla="*/ 143129 h 483461"/>
                  <a:gd name="connsiteX13" fmla="*/ 145296 w 328123"/>
                  <a:gd name="connsiteY13" fmla="*/ 1067 h 483461"/>
                  <a:gd name="connsiteX14" fmla="*/ 273441 w 328123"/>
                  <a:gd name="connsiteY14" fmla="*/ 41704 h 483461"/>
                  <a:gd name="connsiteX15" fmla="*/ 328124 w 328123"/>
                  <a:gd name="connsiteY15" fmla="*/ 163952 h 483461"/>
                  <a:gd name="connsiteX16" fmla="*/ 280451 w 328123"/>
                  <a:gd name="connsiteY16" fmla="*/ 279500 h 483461"/>
                  <a:gd name="connsiteX17" fmla="*/ 247807 w 328123"/>
                  <a:gd name="connsiteY17" fmla="*/ 346651 h 483461"/>
                  <a:gd name="connsiteX18" fmla="*/ 241314 w 328123"/>
                  <a:gd name="connsiteY18" fmla="*/ 352342 h 483461"/>
                  <a:gd name="connsiteX19" fmla="*/ 169223 w 328123"/>
                  <a:gd name="connsiteY19" fmla="*/ 352342 h 483461"/>
                  <a:gd name="connsiteX20" fmla="*/ 162678 w 328123"/>
                  <a:gd name="connsiteY20" fmla="*/ 345797 h 483461"/>
                  <a:gd name="connsiteX21" fmla="*/ 162678 w 328123"/>
                  <a:gd name="connsiteY21" fmla="*/ 122979 h 483461"/>
                  <a:gd name="connsiteX22" fmla="*/ 169223 w 328123"/>
                  <a:gd name="connsiteY22" fmla="*/ 116434 h 483461"/>
                  <a:gd name="connsiteX23" fmla="*/ 175767 w 328123"/>
                  <a:gd name="connsiteY23" fmla="*/ 122979 h 483461"/>
                  <a:gd name="connsiteX24" fmla="*/ 175767 w 328123"/>
                  <a:gd name="connsiteY24" fmla="*/ 339253 h 483461"/>
                  <a:gd name="connsiteX25" fmla="*/ 235675 w 328123"/>
                  <a:gd name="connsiteY25" fmla="*/ 339253 h 483461"/>
                  <a:gd name="connsiteX26" fmla="*/ 271165 w 328123"/>
                  <a:gd name="connsiteY26" fmla="*/ 270266 h 483461"/>
                  <a:gd name="connsiteX27" fmla="*/ 315035 w 328123"/>
                  <a:gd name="connsiteY27" fmla="*/ 163952 h 483461"/>
                  <a:gd name="connsiteX28" fmla="*/ 264724 w 328123"/>
                  <a:gd name="connsiteY28" fmla="*/ 51482 h 483461"/>
                  <a:gd name="connsiteX29" fmla="*/ 146770 w 328123"/>
                  <a:gd name="connsiteY29" fmla="*/ 14104 h 483461"/>
                  <a:gd name="connsiteX30" fmla="*/ 14563 w 328123"/>
                  <a:gd name="connsiteY30" fmla="*/ 144733 h 483461"/>
                  <a:gd name="connsiteX31" fmla="*/ 58848 w 328123"/>
                  <a:gd name="connsiteY31" fmla="*/ 271973 h 483461"/>
                  <a:gd name="connsiteX32" fmla="*/ 103675 w 328123"/>
                  <a:gd name="connsiteY32" fmla="*/ 345668 h 483461"/>
                  <a:gd name="connsiteX33" fmla="*/ 103675 w 328123"/>
                  <a:gd name="connsiteY33" fmla="*/ 385141 h 483461"/>
                  <a:gd name="connsiteX34" fmla="*/ 241314 w 328123"/>
                  <a:gd name="connsiteY34" fmla="*/ 385141 h 483461"/>
                  <a:gd name="connsiteX35" fmla="*/ 247858 w 328123"/>
                  <a:gd name="connsiteY35" fmla="*/ 391686 h 483461"/>
                  <a:gd name="connsiteX36" fmla="*/ 247858 w 328123"/>
                  <a:gd name="connsiteY36" fmla="*/ 431003 h 483461"/>
                  <a:gd name="connsiteX37" fmla="*/ 241314 w 328123"/>
                  <a:gd name="connsiteY37" fmla="*/ 437548 h 483461"/>
                  <a:gd name="connsiteX38" fmla="*/ 109858 w 328123"/>
                  <a:gd name="connsiteY38" fmla="*/ 437548 h 483461"/>
                  <a:gd name="connsiteX39" fmla="*/ 133267 w 328123"/>
                  <a:gd name="connsiteY39" fmla="*/ 470321 h 483461"/>
                  <a:gd name="connsiteX40" fmla="*/ 205152 w 328123"/>
                  <a:gd name="connsiteY40" fmla="*/ 470321 h 483461"/>
                  <a:gd name="connsiteX41" fmla="*/ 217232 w 328123"/>
                  <a:gd name="connsiteY41" fmla="*/ 453404 h 483461"/>
                  <a:gd name="connsiteX42" fmla="*/ 226363 w 328123"/>
                  <a:gd name="connsiteY42" fmla="*/ 451878 h 483461"/>
                  <a:gd name="connsiteX43" fmla="*/ 227889 w 328123"/>
                  <a:gd name="connsiteY43" fmla="*/ 461009 h 483461"/>
                  <a:gd name="connsiteX44" fmla="*/ 213843 w 328123"/>
                  <a:gd name="connsiteY44" fmla="*/ 480668 h 483461"/>
                  <a:gd name="connsiteX45" fmla="*/ 208515 w 328123"/>
                  <a:gd name="connsiteY45" fmla="*/ 483462 h 483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28123" h="483461">
                    <a:moveTo>
                      <a:pt x="208515" y="483462"/>
                    </a:moveTo>
                    <a:lnTo>
                      <a:pt x="129879" y="483462"/>
                    </a:lnTo>
                    <a:cubicBezTo>
                      <a:pt x="127758" y="483462"/>
                      <a:pt x="125766" y="482427"/>
                      <a:pt x="124550" y="480720"/>
                    </a:cubicBezTo>
                    <a:lnTo>
                      <a:pt x="91777" y="434832"/>
                    </a:lnTo>
                    <a:cubicBezTo>
                      <a:pt x="90354" y="432840"/>
                      <a:pt x="90173" y="430202"/>
                      <a:pt x="91285" y="428029"/>
                    </a:cubicBezTo>
                    <a:cubicBezTo>
                      <a:pt x="92397" y="425856"/>
                      <a:pt x="94648" y="424485"/>
                      <a:pt x="97105" y="424485"/>
                    </a:cubicBezTo>
                    <a:lnTo>
                      <a:pt x="234744" y="424485"/>
                    </a:lnTo>
                    <a:lnTo>
                      <a:pt x="234744" y="398282"/>
                    </a:lnTo>
                    <a:lnTo>
                      <a:pt x="97105" y="398282"/>
                    </a:lnTo>
                    <a:cubicBezTo>
                      <a:pt x="93484" y="398282"/>
                      <a:pt x="90561" y="395359"/>
                      <a:pt x="90561" y="391737"/>
                    </a:cubicBezTo>
                    <a:lnTo>
                      <a:pt x="90561" y="345823"/>
                    </a:lnTo>
                    <a:cubicBezTo>
                      <a:pt x="90225" y="331700"/>
                      <a:pt x="74368" y="299159"/>
                      <a:pt x="51217" y="282630"/>
                    </a:cubicBezTo>
                    <a:cubicBezTo>
                      <a:pt x="13296" y="255573"/>
                      <a:pt x="-5742" y="202106"/>
                      <a:pt x="1526" y="143129"/>
                    </a:cubicBezTo>
                    <a:cubicBezTo>
                      <a:pt x="10658" y="69123"/>
                      <a:pt x="71135" y="9370"/>
                      <a:pt x="145296" y="1067"/>
                    </a:cubicBezTo>
                    <a:cubicBezTo>
                      <a:pt x="192710" y="-4210"/>
                      <a:pt x="238210" y="10198"/>
                      <a:pt x="273441" y="41704"/>
                    </a:cubicBezTo>
                    <a:cubicBezTo>
                      <a:pt x="308206" y="72797"/>
                      <a:pt x="328124" y="117340"/>
                      <a:pt x="328124" y="163952"/>
                    </a:cubicBezTo>
                    <a:cubicBezTo>
                      <a:pt x="328124" y="207564"/>
                      <a:pt x="311181" y="248589"/>
                      <a:pt x="280451" y="279500"/>
                    </a:cubicBezTo>
                    <a:cubicBezTo>
                      <a:pt x="262499" y="297555"/>
                      <a:pt x="251221" y="320784"/>
                      <a:pt x="247807" y="346651"/>
                    </a:cubicBezTo>
                    <a:cubicBezTo>
                      <a:pt x="247367" y="349910"/>
                      <a:pt x="244599" y="352342"/>
                      <a:pt x="241314" y="352342"/>
                    </a:cubicBezTo>
                    <a:lnTo>
                      <a:pt x="169223" y="352342"/>
                    </a:lnTo>
                    <a:cubicBezTo>
                      <a:pt x="165601" y="352342"/>
                      <a:pt x="162678" y="349419"/>
                      <a:pt x="162678" y="345797"/>
                    </a:cubicBezTo>
                    <a:lnTo>
                      <a:pt x="162678" y="122979"/>
                    </a:lnTo>
                    <a:cubicBezTo>
                      <a:pt x="162678" y="119357"/>
                      <a:pt x="165601" y="116434"/>
                      <a:pt x="169223" y="116434"/>
                    </a:cubicBezTo>
                    <a:cubicBezTo>
                      <a:pt x="172844" y="116434"/>
                      <a:pt x="175767" y="119357"/>
                      <a:pt x="175767" y="122979"/>
                    </a:cubicBezTo>
                    <a:lnTo>
                      <a:pt x="175767" y="339253"/>
                    </a:lnTo>
                    <a:lnTo>
                      <a:pt x="235675" y="339253"/>
                    </a:lnTo>
                    <a:cubicBezTo>
                      <a:pt x="240305" y="312791"/>
                      <a:pt x="252489" y="289019"/>
                      <a:pt x="271165" y="270266"/>
                    </a:cubicBezTo>
                    <a:cubicBezTo>
                      <a:pt x="299463" y="241812"/>
                      <a:pt x="315035" y="204072"/>
                      <a:pt x="315035" y="163952"/>
                    </a:cubicBezTo>
                    <a:cubicBezTo>
                      <a:pt x="315035" y="121090"/>
                      <a:pt x="296695" y="80091"/>
                      <a:pt x="264724" y="51482"/>
                    </a:cubicBezTo>
                    <a:cubicBezTo>
                      <a:pt x="232312" y="22485"/>
                      <a:pt x="190408" y="9189"/>
                      <a:pt x="146770" y="14104"/>
                    </a:cubicBezTo>
                    <a:cubicBezTo>
                      <a:pt x="78559" y="21735"/>
                      <a:pt x="22944" y="76677"/>
                      <a:pt x="14563" y="144733"/>
                    </a:cubicBezTo>
                    <a:cubicBezTo>
                      <a:pt x="7864" y="198950"/>
                      <a:pt x="24833" y="247710"/>
                      <a:pt x="58848" y="271973"/>
                    </a:cubicBezTo>
                    <a:cubicBezTo>
                      <a:pt x="83939" y="289873"/>
                      <a:pt x="103210" y="325647"/>
                      <a:pt x="103675" y="345668"/>
                    </a:cubicBezTo>
                    <a:lnTo>
                      <a:pt x="103675" y="385141"/>
                    </a:lnTo>
                    <a:lnTo>
                      <a:pt x="241314" y="385141"/>
                    </a:lnTo>
                    <a:cubicBezTo>
                      <a:pt x="244935" y="385141"/>
                      <a:pt x="247858" y="388064"/>
                      <a:pt x="247858" y="391686"/>
                    </a:cubicBezTo>
                    <a:lnTo>
                      <a:pt x="247858" y="431003"/>
                    </a:lnTo>
                    <a:cubicBezTo>
                      <a:pt x="247858" y="434625"/>
                      <a:pt x="244935" y="437548"/>
                      <a:pt x="241314" y="437548"/>
                    </a:cubicBezTo>
                    <a:lnTo>
                      <a:pt x="109858" y="437548"/>
                    </a:lnTo>
                    <a:lnTo>
                      <a:pt x="133267" y="470321"/>
                    </a:lnTo>
                    <a:lnTo>
                      <a:pt x="205152" y="470321"/>
                    </a:lnTo>
                    <a:lnTo>
                      <a:pt x="217232" y="453404"/>
                    </a:lnTo>
                    <a:cubicBezTo>
                      <a:pt x="219327" y="450456"/>
                      <a:pt x="223440" y="449783"/>
                      <a:pt x="226363" y="451878"/>
                    </a:cubicBezTo>
                    <a:cubicBezTo>
                      <a:pt x="229312" y="453973"/>
                      <a:pt x="229984" y="458086"/>
                      <a:pt x="227889" y="461009"/>
                    </a:cubicBezTo>
                    <a:lnTo>
                      <a:pt x="213843" y="480668"/>
                    </a:lnTo>
                    <a:cubicBezTo>
                      <a:pt x="212627" y="482427"/>
                      <a:pt x="210636" y="483462"/>
                      <a:pt x="208515" y="483462"/>
                    </a:cubicBezTo>
                    <a:close/>
                  </a:path>
                </a:pathLst>
              </a:custGeom>
              <a:solidFill>
                <a:schemeClr val="tx2"/>
              </a:solidFill>
              <a:ln w="2584" cap="flat">
                <a:noFill/>
                <a:prstDash val="solid"/>
                <a:miter/>
              </a:ln>
            </p:spPr>
            <p:txBody>
              <a:bodyPr rtlCol="0" anchor="ctr"/>
              <a:lstStyle/>
              <a:p>
                <a:endParaRPr lang="en-GB" dirty="0"/>
              </a:p>
            </p:txBody>
          </p:sp>
          <p:sp>
            <p:nvSpPr>
              <p:cNvPr id="98" name="Freihandform: Form 940">
                <a:extLst>
                  <a:ext uri="{FF2B5EF4-FFF2-40B4-BE49-F238E27FC236}">
                    <a16:creationId xmlns:a16="http://schemas.microsoft.com/office/drawing/2014/main" id="{8BA4DECD-42B4-4358-8EA1-DB01D1CE154B}"/>
                  </a:ext>
                </a:extLst>
              </p:cNvPr>
              <p:cNvSpPr/>
              <p:nvPr/>
            </p:nvSpPr>
            <p:spPr>
              <a:xfrm>
                <a:off x="5573318" y="3428336"/>
                <a:ext cx="90419" cy="91993"/>
              </a:xfrm>
              <a:custGeom>
                <a:avLst/>
                <a:gdLst>
                  <a:gd name="connsiteX0" fmla="*/ 6551 w 90419"/>
                  <a:gd name="connsiteY0" fmla="*/ 91993 h 91993"/>
                  <a:gd name="connsiteX1" fmla="*/ 1973 w 90419"/>
                  <a:gd name="connsiteY1" fmla="*/ 90131 h 91993"/>
                  <a:gd name="connsiteX2" fmla="*/ 1869 w 90419"/>
                  <a:gd name="connsiteY2" fmla="*/ 80870 h 91993"/>
                  <a:gd name="connsiteX3" fmla="*/ 79186 w 90419"/>
                  <a:gd name="connsiteY3" fmla="*/ 1950 h 91993"/>
                  <a:gd name="connsiteX4" fmla="*/ 88446 w 90419"/>
                  <a:gd name="connsiteY4" fmla="*/ 1873 h 91993"/>
                  <a:gd name="connsiteX5" fmla="*/ 88550 w 90419"/>
                  <a:gd name="connsiteY5" fmla="*/ 11133 h 91993"/>
                  <a:gd name="connsiteX6" fmla="*/ 11233 w 90419"/>
                  <a:gd name="connsiteY6" fmla="*/ 90053 h 91993"/>
                  <a:gd name="connsiteX7" fmla="*/ 6551 w 90419"/>
                  <a:gd name="connsiteY7" fmla="*/ 91993 h 91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419" h="91993">
                    <a:moveTo>
                      <a:pt x="6551" y="91993"/>
                    </a:moveTo>
                    <a:cubicBezTo>
                      <a:pt x="4896" y="91993"/>
                      <a:pt x="3240" y="91372"/>
                      <a:pt x="1973" y="90131"/>
                    </a:cubicBezTo>
                    <a:cubicBezTo>
                      <a:pt x="-614" y="87596"/>
                      <a:pt x="-666" y="83457"/>
                      <a:pt x="1869" y="80870"/>
                    </a:cubicBezTo>
                    <a:lnTo>
                      <a:pt x="79186" y="1950"/>
                    </a:lnTo>
                    <a:cubicBezTo>
                      <a:pt x="81721" y="-611"/>
                      <a:pt x="85886" y="-663"/>
                      <a:pt x="88446" y="1873"/>
                    </a:cubicBezTo>
                    <a:cubicBezTo>
                      <a:pt x="91033" y="4407"/>
                      <a:pt x="91085" y="8546"/>
                      <a:pt x="88550" y="11133"/>
                    </a:cubicBezTo>
                    <a:lnTo>
                      <a:pt x="11233" y="90053"/>
                    </a:lnTo>
                    <a:cubicBezTo>
                      <a:pt x="9966" y="91321"/>
                      <a:pt x="8258" y="91993"/>
                      <a:pt x="6551" y="91993"/>
                    </a:cubicBezTo>
                    <a:close/>
                  </a:path>
                </a:pathLst>
              </a:custGeom>
              <a:solidFill>
                <a:schemeClr val="tx2"/>
              </a:solidFill>
              <a:ln w="2584" cap="flat">
                <a:noFill/>
                <a:prstDash val="solid"/>
                <a:miter/>
              </a:ln>
            </p:spPr>
            <p:txBody>
              <a:bodyPr rtlCol="0" anchor="ctr"/>
              <a:lstStyle/>
              <a:p>
                <a:endParaRPr lang="en-GB" dirty="0"/>
              </a:p>
            </p:txBody>
          </p:sp>
          <p:sp>
            <p:nvSpPr>
              <p:cNvPr id="99" name="Freihandform: Form 943">
                <a:extLst>
                  <a:ext uri="{FF2B5EF4-FFF2-40B4-BE49-F238E27FC236}">
                    <a16:creationId xmlns:a16="http://schemas.microsoft.com/office/drawing/2014/main" id="{3C986A6E-54B5-4C2F-A382-BCD41944AFAB}"/>
                  </a:ext>
                </a:extLst>
              </p:cNvPr>
              <p:cNvSpPr/>
              <p:nvPr/>
            </p:nvSpPr>
            <p:spPr>
              <a:xfrm>
                <a:off x="5510468" y="3487264"/>
                <a:ext cx="75894" cy="80480"/>
              </a:xfrm>
              <a:custGeom>
                <a:avLst/>
                <a:gdLst>
                  <a:gd name="connsiteX0" fmla="*/ 69350 w 75894"/>
                  <a:gd name="connsiteY0" fmla="*/ 80480 h 80480"/>
                  <a:gd name="connsiteX1" fmla="*/ 64564 w 75894"/>
                  <a:gd name="connsiteY1" fmla="*/ 78385 h 80480"/>
                  <a:gd name="connsiteX2" fmla="*/ 1759 w 75894"/>
                  <a:gd name="connsiteY2" fmla="*/ 11027 h 80480"/>
                  <a:gd name="connsiteX3" fmla="*/ 2070 w 75894"/>
                  <a:gd name="connsiteY3" fmla="*/ 1767 h 80480"/>
                  <a:gd name="connsiteX4" fmla="*/ 11330 w 75894"/>
                  <a:gd name="connsiteY4" fmla="*/ 2103 h 80480"/>
                  <a:gd name="connsiteX5" fmla="*/ 74135 w 75894"/>
                  <a:gd name="connsiteY5" fmla="*/ 69461 h 80480"/>
                  <a:gd name="connsiteX6" fmla="*/ 73825 w 75894"/>
                  <a:gd name="connsiteY6" fmla="*/ 78721 h 80480"/>
                  <a:gd name="connsiteX7" fmla="*/ 69350 w 75894"/>
                  <a:gd name="connsiteY7" fmla="*/ 80480 h 8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894" h="80480">
                    <a:moveTo>
                      <a:pt x="69350" y="80480"/>
                    </a:moveTo>
                    <a:cubicBezTo>
                      <a:pt x="67591" y="80480"/>
                      <a:pt x="65858" y="79782"/>
                      <a:pt x="64564" y="78385"/>
                    </a:cubicBezTo>
                    <a:lnTo>
                      <a:pt x="1759" y="11027"/>
                    </a:lnTo>
                    <a:cubicBezTo>
                      <a:pt x="-698" y="8389"/>
                      <a:pt x="-569" y="4224"/>
                      <a:pt x="2070" y="1767"/>
                    </a:cubicBezTo>
                    <a:cubicBezTo>
                      <a:pt x="4708" y="-717"/>
                      <a:pt x="8873" y="-561"/>
                      <a:pt x="11330" y="2103"/>
                    </a:cubicBezTo>
                    <a:lnTo>
                      <a:pt x="74135" y="69461"/>
                    </a:lnTo>
                    <a:cubicBezTo>
                      <a:pt x="76593" y="72099"/>
                      <a:pt x="76463" y="76264"/>
                      <a:pt x="73825" y="78721"/>
                    </a:cubicBezTo>
                    <a:cubicBezTo>
                      <a:pt x="72557" y="79911"/>
                      <a:pt x="70954" y="80480"/>
                      <a:pt x="69350" y="80480"/>
                    </a:cubicBezTo>
                    <a:close/>
                  </a:path>
                </a:pathLst>
              </a:custGeom>
              <a:solidFill>
                <a:schemeClr val="tx2"/>
              </a:solidFill>
              <a:ln w="2584" cap="flat">
                <a:noFill/>
                <a:prstDash val="solid"/>
                <a:miter/>
              </a:ln>
            </p:spPr>
            <p:txBody>
              <a:bodyPr rtlCol="0" anchor="ctr"/>
              <a:lstStyle/>
              <a:p>
                <a:endParaRPr lang="en-GB" dirty="0"/>
              </a:p>
            </p:txBody>
          </p:sp>
        </p:grpSp>
      </p:grpSp>
      <p:grpSp>
        <p:nvGrpSpPr>
          <p:cNvPr id="14" name="Group 13">
            <a:extLst>
              <a:ext uri="{FF2B5EF4-FFF2-40B4-BE49-F238E27FC236}">
                <a16:creationId xmlns:a16="http://schemas.microsoft.com/office/drawing/2014/main" id="{5E3A9506-99A8-4DBF-BE37-D38AD853FCB2}"/>
              </a:ext>
            </a:extLst>
          </p:cNvPr>
          <p:cNvGrpSpPr/>
          <p:nvPr/>
        </p:nvGrpSpPr>
        <p:grpSpPr>
          <a:xfrm>
            <a:off x="626021" y="3197068"/>
            <a:ext cx="336058" cy="376838"/>
            <a:chOff x="626021" y="3197068"/>
            <a:chExt cx="336058" cy="376838"/>
          </a:xfrm>
        </p:grpSpPr>
        <p:grpSp>
          <p:nvGrpSpPr>
            <p:cNvPr id="104" name="Gruppieren 1070">
              <a:extLst>
                <a:ext uri="{FF2B5EF4-FFF2-40B4-BE49-F238E27FC236}">
                  <a16:creationId xmlns:a16="http://schemas.microsoft.com/office/drawing/2014/main" id="{FE51EA57-5DCE-4DF5-ABAD-7434DACEAEEC}"/>
                </a:ext>
              </a:extLst>
            </p:cNvPr>
            <p:cNvGrpSpPr/>
            <p:nvPr/>
          </p:nvGrpSpPr>
          <p:grpSpPr>
            <a:xfrm>
              <a:off x="661657" y="3390583"/>
              <a:ext cx="285207" cy="183323"/>
              <a:chOff x="7074804" y="2688678"/>
              <a:chExt cx="367053" cy="235932"/>
            </a:xfrm>
          </p:grpSpPr>
          <p:grpSp>
            <p:nvGrpSpPr>
              <p:cNvPr id="122" name="Gruppieren 1055">
                <a:extLst>
                  <a:ext uri="{FF2B5EF4-FFF2-40B4-BE49-F238E27FC236}">
                    <a16:creationId xmlns:a16="http://schemas.microsoft.com/office/drawing/2014/main" id="{C9FB9C56-6F89-45D1-A4F2-F25D3A302011}"/>
                  </a:ext>
                </a:extLst>
              </p:cNvPr>
              <p:cNvGrpSpPr/>
              <p:nvPr/>
            </p:nvGrpSpPr>
            <p:grpSpPr>
              <a:xfrm>
                <a:off x="7323852" y="2688678"/>
                <a:ext cx="118005" cy="235932"/>
                <a:chOff x="7323852" y="2688678"/>
                <a:chExt cx="118005" cy="235932"/>
              </a:xfrm>
            </p:grpSpPr>
            <p:sp>
              <p:nvSpPr>
                <p:cNvPr id="129" name="Freihandform: Form 904">
                  <a:extLst>
                    <a:ext uri="{FF2B5EF4-FFF2-40B4-BE49-F238E27FC236}">
                      <a16:creationId xmlns:a16="http://schemas.microsoft.com/office/drawing/2014/main" id="{F45C3EB2-2BD3-4631-9BA9-65B83B25D176}"/>
                    </a:ext>
                  </a:extLst>
                </p:cNvPr>
                <p:cNvSpPr/>
                <p:nvPr/>
              </p:nvSpPr>
              <p:spPr>
                <a:xfrm>
                  <a:off x="7376285" y="2741136"/>
                  <a:ext cx="13088" cy="183474"/>
                </a:xfrm>
                <a:custGeom>
                  <a:avLst/>
                  <a:gdLst>
                    <a:gd name="connsiteX0" fmla="*/ 6544 w 13088"/>
                    <a:gd name="connsiteY0" fmla="*/ 183475 h 183474"/>
                    <a:gd name="connsiteX1" fmla="*/ 0 w 13088"/>
                    <a:gd name="connsiteY1" fmla="*/ 176931 h 183474"/>
                    <a:gd name="connsiteX2" fmla="*/ 0 w 13088"/>
                    <a:gd name="connsiteY2" fmla="*/ 6544 h 183474"/>
                    <a:gd name="connsiteX3" fmla="*/ 6544 w 13088"/>
                    <a:gd name="connsiteY3" fmla="*/ 0 h 183474"/>
                    <a:gd name="connsiteX4" fmla="*/ 13089 w 13088"/>
                    <a:gd name="connsiteY4" fmla="*/ 6544 h 183474"/>
                    <a:gd name="connsiteX5" fmla="*/ 13089 w 13088"/>
                    <a:gd name="connsiteY5" fmla="*/ 176931 h 183474"/>
                    <a:gd name="connsiteX6" fmla="*/ 6544 w 13088"/>
                    <a:gd name="connsiteY6" fmla="*/ 183475 h 183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8" h="183474">
                      <a:moveTo>
                        <a:pt x="6544" y="183475"/>
                      </a:moveTo>
                      <a:cubicBezTo>
                        <a:pt x="2923" y="183475"/>
                        <a:pt x="0" y="180552"/>
                        <a:pt x="0" y="176931"/>
                      </a:cubicBezTo>
                      <a:lnTo>
                        <a:pt x="0" y="6544"/>
                      </a:lnTo>
                      <a:cubicBezTo>
                        <a:pt x="0" y="2923"/>
                        <a:pt x="2923" y="0"/>
                        <a:pt x="6544" y="0"/>
                      </a:cubicBezTo>
                      <a:cubicBezTo>
                        <a:pt x="10166" y="0"/>
                        <a:pt x="13089" y="2923"/>
                        <a:pt x="13089" y="6544"/>
                      </a:cubicBezTo>
                      <a:lnTo>
                        <a:pt x="13089" y="176931"/>
                      </a:lnTo>
                      <a:cubicBezTo>
                        <a:pt x="13089" y="180526"/>
                        <a:pt x="10166" y="183475"/>
                        <a:pt x="6544" y="183475"/>
                      </a:cubicBezTo>
                      <a:close/>
                    </a:path>
                  </a:pathLst>
                </a:custGeom>
                <a:solidFill>
                  <a:schemeClr val="accent1"/>
                </a:solidFill>
                <a:ln w="2584" cap="flat">
                  <a:noFill/>
                  <a:prstDash val="solid"/>
                  <a:miter/>
                </a:ln>
              </p:spPr>
              <p:txBody>
                <a:bodyPr rtlCol="0" anchor="ctr"/>
                <a:lstStyle/>
                <a:p>
                  <a:endParaRPr lang="en-GB" dirty="0"/>
                </a:p>
              </p:txBody>
            </p:sp>
            <p:sp>
              <p:nvSpPr>
                <p:cNvPr id="130" name="Freihandform: Form 905">
                  <a:extLst>
                    <a:ext uri="{FF2B5EF4-FFF2-40B4-BE49-F238E27FC236}">
                      <a16:creationId xmlns:a16="http://schemas.microsoft.com/office/drawing/2014/main" id="{3FE19807-50C9-48A7-9906-369E04DFCB57}"/>
                    </a:ext>
                  </a:extLst>
                </p:cNvPr>
                <p:cNvSpPr/>
                <p:nvPr/>
              </p:nvSpPr>
              <p:spPr>
                <a:xfrm>
                  <a:off x="7323852" y="2688678"/>
                  <a:ext cx="118005" cy="170386"/>
                </a:xfrm>
                <a:custGeom>
                  <a:avLst/>
                  <a:gdLst>
                    <a:gd name="connsiteX0" fmla="*/ 58977 w 118005"/>
                    <a:gd name="connsiteY0" fmla="*/ 170386 h 170386"/>
                    <a:gd name="connsiteX1" fmla="*/ 0 w 118005"/>
                    <a:gd name="connsiteY1" fmla="*/ 111409 h 170386"/>
                    <a:gd name="connsiteX2" fmla="*/ 18935 w 118005"/>
                    <a:gd name="connsiteY2" fmla="*/ 68186 h 170386"/>
                    <a:gd name="connsiteX3" fmla="*/ 13115 w 118005"/>
                    <a:gd name="connsiteY3" fmla="*/ 45888 h 170386"/>
                    <a:gd name="connsiteX4" fmla="*/ 59003 w 118005"/>
                    <a:gd name="connsiteY4" fmla="*/ 0 h 170386"/>
                    <a:gd name="connsiteX5" fmla="*/ 104891 w 118005"/>
                    <a:gd name="connsiteY5" fmla="*/ 45888 h 170386"/>
                    <a:gd name="connsiteX6" fmla="*/ 99071 w 118005"/>
                    <a:gd name="connsiteY6" fmla="*/ 68186 h 170386"/>
                    <a:gd name="connsiteX7" fmla="*/ 118005 w 118005"/>
                    <a:gd name="connsiteY7" fmla="*/ 111409 h 170386"/>
                    <a:gd name="connsiteX8" fmla="*/ 58977 w 118005"/>
                    <a:gd name="connsiteY8" fmla="*/ 170386 h 170386"/>
                    <a:gd name="connsiteX9" fmla="*/ 58977 w 118005"/>
                    <a:gd name="connsiteY9" fmla="*/ 13089 h 170386"/>
                    <a:gd name="connsiteX10" fmla="*/ 26203 w 118005"/>
                    <a:gd name="connsiteY10" fmla="*/ 45862 h 170386"/>
                    <a:gd name="connsiteX11" fmla="*/ 32825 w 118005"/>
                    <a:gd name="connsiteY11" fmla="*/ 65521 h 170386"/>
                    <a:gd name="connsiteX12" fmla="*/ 34067 w 118005"/>
                    <a:gd name="connsiteY12" fmla="*/ 70384 h 170386"/>
                    <a:gd name="connsiteX13" fmla="*/ 31506 w 118005"/>
                    <a:gd name="connsiteY13" fmla="*/ 74704 h 170386"/>
                    <a:gd name="connsiteX14" fmla="*/ 13089 w 118005"/>
                    <a:gd name="connsiteY14" fmla="*/ 111384 h 170386"/>
                    <a:gd name="connsiteX15" fmla="*/ 58977 w 118005"/>
                    <a:gd name="connsiteY15" fmla="*/ 157272 h 170386"/>
                    <a:gd name="connsiteX16" fmla="*/ 104865 w 118005"/>
                    <a:gd name="connsiteY16" fmla="*/ 111384 h 170386"/>
                    <a:gd name="connsiteX17" fmla="*/ 86448 w 118005"/>
                    <a:gd name="connsiteY17" fmla="*/ 74704 h 170386"/>
                    <a:gd name="connsiteX18" fmla="*/ 83887 w 118005"/>
                    <a:gd name="connsiteY18" fmla="*/ 70384 h 170386"/>
                    <a:gd name="connsiteX19" fmla="*/ 85129 w 118005"/>
                    <a:gd name="connsiteY19" fmla="*/ 65521 h 170386"/>
                    <a:gd name="connsiteX20" fmla="*/ 91751 w 118005"/>
                    <a:gd name="connsiteY20" fmla="*/ 45862 h 170386"/>
                    <a:gd name="connsiteX21" fmla="*/ 58977 w 118005"/>
                    <a:gd name="connsiteY21" fmla="*/ 13089 h 17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8005" h="170386">
                      <a:moveTo>
                        <a:pt x="58977" y="170386"/>
                      </a:moveTo>
                      <a:cubicBezTo>
                        <a:pt x="26462" y="170386"/>
                        <a:pt x="0" y="143924"/>
                        <a:pt x="0" y="111409"/>
                      </a:cubicBezTo>
                      <a:cubicBezTo>
                        <a:pt x="0" y="94777"/>
                        <a:pt x="6829" y="79334"/>
                        <a:pt x="18935" y="68186"/>
                      </a:cubicBezTo>
                      <a:cubicBezTo>
                        <a:pt x="15106" y="61383"/>
                        <a:pt x="13115" y="53778"/>
                        <a:pt x="13115" y="45888"/>
                      </a:cubicBezTo>
                      <a:cubicBezTo>
                        <a:pt x="13115" y="20590"/>
                        <a:pt x="33705" y="0"/>
                        <a:pt x="59003" y="0"/>
                      </a:cubicBezTo>
                      <a:cubicBezTo>
                        <a:pt x="84301" y="0"/>
                        <a:pt x="104891" y="20590"/>
                        <a:pt x="104891" y="45888"/>
                      </a:cubicBezTo>
                      <a:cubicBezTo>
                        <a:pt x="104891" y="53778"/>
                        <a:pt x="102899" y="61383"/>
                        <a:pt x="99071" y="68186"/>
                      </a:cubicBezTo>
                      <a:cubicBezTo>
                        <a:pt x="111177" y="79334"/>
                        <a:pt x="118005" y="94777"/>
                        <a:pt x="118005" y="111409"/>
                      </a:cubicBezTo>
                      <a:cubicBezTo>
                        <a:pt x="117954" y="143924"/>
                        <a:pt x="91492" y="170386"/>
                        <a:pt x="58977" y="170386"/>
                      </a:cubicBezTo>
                      <a:close/>
                      <a:moveTo>
                        <a:pt x="58977" y="13089"/>
                      </a:moveTo>
                      <a:cubicBezTo>
                        <a:pt x="40922" y="13089"/>
                        <a:pt x="26203" y="27781"/>
                        <a:pt x="26203" y="45862"/>
                      </a:cubicBezTo>
                      <a:cubicBezTo>
                        <a:pt x="26203" y="53002"/>
                        <a:pt x="28480" y="59779"/>
                        <a:pt x="32825" y="65521"/>
                      </a:cubicBezTo>
                      <a:cubicBezTo>
                        <a:pt x="33860" y="66918"/>
                        <a:pt x="34326" y="68651"/>
                        <a:pt x="34067" y="70384"/>
                      </a:cubicBezTo>
                      <a:cubicBezTo>
                        <a:pt x="33834" y="72117"/>
                        <a:pt x="32903" y="73669"/>
                        <a:pt x="31506" y="74704"/>
                      </a:cubicBezTo>
                      <a:cubicBezTo>
                        <a:pt x="19788" y="83473"/>
                        <a:pt x="13089" y="96846"/>
                        <a:pt x="13089" y="111384"/>
                      </a:cubicBezTo>
                      <a:cubicBezTo>
                        <a:pt x="13089" y="136682"/>
                        <a:pt x="33679" y="157272"/>
                        <a:pt x="58977" y="157272"/>
                      </a:cubicBezTo>
                      <a:cubicBezTo>
                        <a:pt x="84275" y="157272"/>
                        <a:pt x="104865" y="136682"/>
                        <a:pt x="104865" y="111384"/>
                      </a:cubicBezTo>
                      <a:cubicBezTo>
                        <a:pt x="104865" y="96846"/>
                        <a:pt x="98140" y="83473"/>
                        <a:pt x="86448" y="74704"/>
                      </a:cubicBezTo>
                      <a:cubicBezTo>
                        <a:pt x="85051" y="73669"/>
                        <a:pt x="84120" y="72091"/>
                        <a:pt x="83887" y="70384"/>
                      </a:cubicBezTo>
                      <a:cubicBezTo>
                        <a:pt x="83654" y="68651"/>
                        <a:pt x="84094" y="66918"/>
                        <a:pt x="85129" y="65521"/>
                      </a:cubicBezTo>
                      <a:cubicBezTo>
                        <a:pt x="89474" y="59779"/>
                        <a:pt x="91751" y="52976"/>
                        <a:pt x="91751" y="45862"/>
                      </a:cubicBezTo>
                      <a:cubicBezTo>
                        <a:pt x="91751" y="27807"/>
                        <a:pt x="77032" y="13089"/>
                        <a:pt x="58977" y="13089"/>
                      </a:cubicBezTo>
                      <a:close/>
                    </a:path>
                  </a:pathLst>
                </a:custGeom>
                <a:solidFill>
                  <a:schemeClr val="accent1"/>
                </a:solidFill>
                <a:ln w="2584" cap="flat">
                  <a:noFill/>
                  <a:prstDash val="solid"/>
                  <a:miter/>
                </a:ln>
              </p:spPr>
              <p:txBody>
                <a:bodyPr rtlCol="0" anchor="ctr"/>
                <a:lstStyle/>
                <a:p>
                  <a:endParaRPr lang="en-GB" dirty="0"/>
                </a:p>
              </p:txBody>
            </p:sp>
          </p:grpSp>
          <p:grpSp>
            <p:nvGrpSpPr>
              <p:cNvPr id="123" name="Gruppieren 1054">
                <a:extLst>
                  <a:ext uri="{FF2B5EF4-FFF2-40B4-BE49-F238E27FC236}">
                    <a16:creationId xmlns:a16="http://schemas.microsoft.com/office/drawing/2014/main" id="{E7AA4DDE-6D3D-41A4-9721-BE41D6A1A421}"/>
                  </a:ext>
                </a:extLst>
              </p:cNvPr>
              <p:cNvGrpSpPr/>
              <p:nvPr/>
            </p:nvGrpSpPr>
            <p:grpSpPr>
              <a:xfrm>
                <a:off x="7074804" y="2813228"/>
                <a:ext cx="196589" cy="111382"/>
                <a:chOff x="7074804" y="2813228"/>
                <a:chExt cx="196589" cy="111382"/>
              </a:xfrm>
            </p:grpSpPr>
            <p:sp>
              <p:nvSpPr>
                <p:cNvPr id="124" name="Freihandform: Form 907">
                  <a:extLst>
                    <a:ext uri="{FF2B5EF4-FFF2-40B4-BE49-F238E27FC236}">
                      <a16:creationId xmlns:a16="http://schemas.microsoft.com/office/drawing/2014/main" id="{63C8D7BA-F3AE-43C2-81C4-B6355F79ECDF}"/>
                    </a:ext>
                  </a:extLst>
                </p:cNvPr>
                <p:cNvSpPr/>
                <p:nvPr/>
              </p:nvSpPr>
              <p:spPr>
                <a:xfrm>
                  <a:off x="7186213" y="2872204"/>
                  <a:ext cx="52406" cy="52406"/>
                </a:xfrm>
                <a:custGeom>
                  <a:avLst/>
                  <a:gdLst>
                    <a:gd name="connsiteX0" fmla="*/ 26203 w 52406"/>
                    <a:gd name="connsiteY0" fmla="*/ 52407 h 52406"/>
                    <a:gd name="connsiteX1" fmla="*/ 0 w 52406"/>
                    <a:gd name="connsiteY1" fmla="*/ 26203 h 52406"/>
                    <a:gd name="connsiteX2" fmla="*/ 26203 w 52406"/>
                    <a:gd name="connsiteY2" fmla="*/ 0 h 52406"/>
                    <a:gd name="connsiteX3" fmla="*/ 52407 w 52406"/>
                    <a:gd name="connsiteY3" fmla="*/ 26203 h 52406"/>
                    <a:gd name="connsiteX4" fmla="*/ 26203 w 52406"/>
                    <a:gd name="connsiteY4" fmla="*/ 52407 h 52406"/>
                    <a:gd name="connsiteX5" fmla="*/ 26203 w 52406"/>
                    <a:gd name="connsiteY5" fmla="*/ 13089 h 52406"/>
                    <a:gd name="connsiteX6" fmla="*/ 13089 w 52406"/>
                    <a:gd name="connsiteY6" fmla="*/ 26203 h 52406"/>
                    <a:gd name="connsiteX7" fmla="*/ 26203 w 52406"/>
                    <a:gd name="connsiteY7" fmla="*/ 39318 h 52406"/>
                    <a:gd name="connsiteX8" fmla="*/ 39318 w 52406"/>
                    <a:gd name="connsiteY8" fmla="*/ 26203 h 52406"/>
                    <a:gd name="connsiteX9" fmla="*/ 26203 w 52406"/>
                    <a:gd name="connsiteY9" fmla="*/ 13089 h 5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06" h="52406">
                      <a:moveTo>
                        <a:pt x="26203" y="52407"/>
                      </a:moveTo>
                      <a:cubicBezTo>
                        <a:pt x="11744" y="52407"/>
                        <a:pt x="0" y="40637"/>
                        <a:pt x="0" y="26203"/>
                      </a:cubicBezTo>
                      <a:cubicBezTo>
                        <a:pt x="0" y="11769"/>
                        <a:pt x="11769" y="0"/>
                        <a:pt x="26203" y="0"/>
                      </a:cubicBezTo>
                      <a:cubicBezTo>
                        <a:pt x="40663" y="0"/>
                        <a:pt x="52407" y="11769"/>
                        <a:pt x="52407" y="26203"/>
                      </a:cubicBezTo>
                      <a:cubicBezTo>
                        <a:pt x="52407" y="40637"/>
                        <a:pt x="40663" y="52407"/>
                        <a:pt x="26203" y="52407"/>
                      </a:cubicBezTo>
                      <a:close/>
                      <a:moveTo>
                        <a:pt x="26203" y="13089"/>
                      </a:moveTo>
                      <a:cubicBezTo>
                        <a:pt x="18986" y="13089"/>
                        <a:pt x="13089" y="18961"/>
                        <a:pt x="13089" y="26203"/>
                      </a:cubicBezTo>
                      <a:cubicBezTo>
                        <a:pt x="13089" y="33420"/>
                        <a:pt x="18960" y="39318"/>
                        <a:pt x="26203" y="39318"/>
                      </a:cubicBezTo>
                      <a:cubicBezTo>
                        <a:pt x="33420" y="39318"/>
                        <a:pt x="39318" y="33446"/>
                        <a:pt x="39318" y="26203"/>
                      </a:cubicBezTo>
                      <a:cubicBezTo>
                        <a:pt x="39318" y="18961"/>
                        <a:pt x="33446" y="13089"/>
                        <a:pt x="26203" y="13089"/>
                      </a:cubicBezTo>
                      <a:close/>
                    </a:path>
                  </a:pathLst>
                </a:custGeom>
                <a:solidFill>
                  <a:schemeClr val="accent1"/>
                </a:solidFill>
                <a:ln w="2584" cap="flat">
                  <a:noFill/>
                  <a:prstDash val="solid"/>
                  <a:miter/>
                </a:ln>
              </p:spPr>
              <p:txBody>
                <a:bodyPr rtlCol="0" anchor="ctr"/>
                <a:lstStyle/>
                <a:p>
                  <a:endParaRPr lang="en-GB" dirty="0"/>
                </a:p>
              </p:txBody>
            </p:sp>
            <p:sp>
              <p:nvSpPr>
                <p:cNvPr id="125" name="Freihandform: Form 908">
                  <a:extLst>
                    <a:ext uri="{FF2B5EF4-FFF2-40B4-BE49-F238E27FC236}">
                      <a16:creationId xmlns:a16="http://schemas.microsoft.com/office/drawing/2014/main" id="{619B29A0-B21E-4884-8000-88E61D954D34}"/>
                    </a:ext>
                  </a:extLst>
                </p:cNvPr>
                <p:cNvSpPr/>
                <p:nvPr/>
              </p:nvSpPr>
              <p:spPr>
                <a:xfrm>
                  <a:off x="7101033" y="2872204"/>
                  <a:ext cx="52406" cy="52406"/>
                </a:xfrm>
                <a:custGeom>
                  <a:avLst/>
                  <a:gdLst>
                    <a:gd name="connsiteX0" fmla="*/ 26203 w 52406"/>
                    <a:gd name="connsiteY0" fmla="*/ 52407 h 52406"/>
                    <a:gd name="connsiteX1" fmla="*/ 0 w 52406"/>
                    <a:gd name="connsiteY1" fmla="*/ 26203 h 52406"/>
                    <a:gd name="connsiteX2" fmla="*/ 26203 w 52406"/>
                    <a:gd name="connsiteY2" fmla="*/ 0 h 52406"/>
                    <a:gd name="connsiteX3" fmla="*/ 52407 w 52406"/>
                    <a:gd name="connsiteY3" fmla="*/ 26203 h 52406"/>
                    <a:gd name="connsiteX4" fmla="*/ 26203 w 52406"/>
                    <a:gd name="connsiteY4" fmla="*/ 52407 h 52406"/>
                    <a:gd name="connsiteX5" fmla="*/ 26203 w 52406"/>
                    <a:gd name="connsiteY5" fmla="*/ 13089 h 52406"/>
                    <a:gd name="connsiteX6" fmla="*/ 13089 w 52406"/>
                    <a:gd name="connsiteY6" fmla="*/ 26203 h 52406"/>
                    <a:gd name="connsiteX7" fmla="*/ 26203 w 52406"/>
                    <a:gd name="connsiteY7" fmla="*/ 39318 h 52406"/>
                    <a:gd name="connsiteX8" fmla="*/ 39318 w 52406"/>
                    <a:gd name="connsiteY8" fmla="*/ 26203 h 52406"/>
                    <a:gd name="connsiteX9" fmla="*/ 26203 w 52406"/>
                    <a:gd name="connsiteY9" fmla="*/ 13089 h 5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06" h="52406">
                      <a:moveTo>
                        <a:pt x="26203" y="52407"/>
                      </a:moveTo>
                      <a:cubicBezTo>
                        <a:pt x="11744" y="52407"/>
                        <a:pt x="0" y="40637"/>
                        <a:pt x="0" y="26203"/>
                      </a:cubicBezTo>
                      <a:cubicBezTo>
                        <a:pt x="0" y="11769"/>
                        <a:pt x="11770" y="0"/>
                        <a:pt x="26203" y="0"/>
                      </a:cubicBezTo>
                      <a:cubicBezTo>
                        <a:pt x="40637" y="0"/>
                        <a:pt x="52407" y="11769"/>
                        <a:pt x="52407" y="26203"/>
                      </a:cubicBezTo>
                      <a:cubicBezTo>
                        <a:pt x="52407" y="40637"/>
                        <a:pt x="40663" y="52407"/>
                        <a:pt x="26203" y="52407"/>
                      </a:cubicBezTo>
                      <a:close/>
                      <a:moveTo>
                        <a:pt x="26203" y="13089"/>
                      </a:moveTo>
                      <a:cubicBezTo>
                        <a:pt x="18986" y="13089"/>
                        <a:pt x="13089" y="18961"/>
                        <a:pt x="13089" y="26203"/>
                      </a:cubicBezTo>
                      <a:cubicBezTo>
                        <a:pt x="13089" y="33420"/>
                        <a:pt x="18961" y="39318"/>
                        <a:pt x="26203" y="39318"/>
                      </a:cubicBezTo>
                      <a:cubicBezTo>
                        <a:pt x="33446" y="39318"/>
                        <a:pt x="39318" y="33446"/>
                        <a:pt x="39318" y="26203"/>
                      </a:cubicBezTo>
                      <a:cubicBezTo>
                        <a:pt x="39318" y="18961"/>
                        <a:pt x="33420" y="13089"/>
                        <a:pt x="26203" y="13089"/>
                      </a:cubicBezTo>
                      <a:close/>
                    </a:path>
                  </a:pathLst>
                </a:custGeom>
                <a:solidFill>
                  <a:schemeClr val="accent1"/>
                </a:solidFill>
                <a:ln w="2584" cap="flat">
                  <a:noFill/>
                  <a:prstDash val="solid"/>
                  <a:miter/>
                </a:ln>
              </p:spPr>
              <p:txBody>
                <a:bodyPr rtlCol="0" anchor="ctr"/>
                <a:lstStyle/>
                <a:p>
                  <a:endParaRPr lang="en-GB" dirty="0"/>
                </a:p>
              </p:txBody>
            </p:sp>
            <p:sp>
              <p:nvSpPr>
                <p:cNvPr id="126" name="Freihandform: Form 909">
                  <a:extLst>
                    <a:ext uri="{FF2B5EF4-FFF2-40B4-BE49-F238E27FC236}">
                      <a16:creationId xmlns:a16="http://schemas.microsoft.com/office/drawing/2014/main" id="{9AE34D75-1B9A-4C6C-B9C5-410A38047BC2}"/>
                    </a:ext>
                  </a:extLst>
                </p:cNvPr>
                <p:cNvSpPr/>
                <p:nvPr/>
              </p:nvSpPr>
              <p:spPr>
                <a:xfrm>
                  <a:off x="7074804" y="2813228"/>
                  <a:ext cx="196589" cy="85180"/>
                </a:xfrm>
                <a:custGeom>
                  <a:avLst/>
                  <a:gdLst>
                    <a:gd name="connsiteX0" fmla="*/ 190045 w 196589"/>
                    <a:gd name="connsiteY0" fmla="*/ 85154 h 85180"/>
                    <a:gd name="connsiteX1" fmla="*/ 157272 w 196589"/>
                    <a:gd name="connsiteY1" fmla="*/ 85154 h 85180"/>
                    <a:gd name="connsiteX2" fmla="*/ 157272 w 196589"/>
                    <a:gd name="connsiteY2" fmla="*/ 72040 h 85180"/>
                    <a:gd name="connsiteX3" fmla="*/ 183475 w 196589"/>
                    <a:gd name="connsiteY3" fmla="*/ 72040 h 85180"/>
                    <a:gd name="connsiteX4" fmla="*/ 183475 w 196589"/>
                    <a:gd name="connsiteY4" fmla="*/ 58977 h 85180"/>
                    <a:gd name="connsiteX5" fmla="*/ 144131 w 196589"/>
                    <a:gd name="connsiteY5" fmla="*/ 13063 h 85180"/>
                    <a:gd name="connsiteX6" fmla="*/ 27367 w 196589"/>
                    <a:gd name="connsiteY6" fmla="*/ 13063 h 85180"/>
                    <a:gd name="connsiteX7" fmla="*/ 13089 w 196589"/>
                    <a:gd name="connsiteY7" fmla="*/ 27341 h 85180"/>
                    <a:gd name="connsiteX8" fmla="*/ 13089 w 196589"/>
                    <a:gd name="connsiteY8" fmla="*/ 72066 h 85180"/>
                    <a:gd name="connsiteX9" fmla="*/ 32748 w 196589"/>
                    <a:gd name="connsiteY9" fmla="*/ 72066 h 85180"/>
                    <a:gd name="connsiteX10" fmla="*/ 32748 w 196589"/>
                    <a:gd name="connsiteY10" fmla="*/ 85180 h 85180"/>
                    <a:gd name="connsiteX11" fmla="*/ 6544 w 196589"/>
                    <a:gd name="connsiteY11" fmla="*/ 85180 h 85180"/>
                    <a:gd name="connsiteX12" fmla="*/ 0 w 196589"/>
                    <a:gd name="connsiteY12" fmla="*/ 78636 h 85180"/>
                    <a:gd name="connsiteX13" fmla="*/ 0 w 196589"/>
                    <a:gd name="connsiteY13" fmla="*/ 27367 h 85180"/>
                    <a:gd name="connsiteX14" fmla="*/ 27367 w 196589"/>
                    <a:gd name="connsiteY14" fmla="*/ 0 h 85180"/>
                    <a:gd name="connsiteX15" fmla="*/ 144131 w 196589"/>
                    <a:gd name="connsiteY15" fmla="*/ 0 h 85180"/>
                    <a:gd name="connsiteX16" fmla="*/ 196590 w 196589"/>
                    <a:gd name="connsiteY16" fmla="*/ 59003 h 85180"/>
                    <a:gd name="connsiteX17" fmla="*/ 196590 w 196589"/>
                    <a:gd name="connsiteY17" fmla="*/ 78636 h 85180"/>
                    <a:gd name="connsiteX18" fmla="*/ 190045 w 196589"/>
                    <a:gd name="connsiteY18" fmla="*/ 85154 h 85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589" h="85180">
                      <a:moveTo>
                        <a:pt x="190045" y="85154"/>
                      </a:moveTo>
                      <a:lnTo>
                        <a:pt x="157272" y="85154"/>
                      </a:lnTo>
                      <a:lnTo>
                        <a:pt x="157272" y="72040"/>
                      </a:lnTo>
                      <a:lnTo>
                        <a:pt x="183475" y="72040"/>
                      </a:lnTo>
                      <a:lnTo>
                        <a:pt x="183475" y="58977"/>
                      </a:lnTo>
                      <a:cubicBezTo>
                        <a:pt x="183475" y="37300"/>
                        <a:pt x="166636" y="13063"/>
                        <a:pt x="144131" y="13063"/>
                      </a:cubicBezTo>
                      <a:lnTo>
                        <a:pt x="27367" y="13063"/>
                      </a:lnTo>
                      <a:cubicBezTo>
                        <a:pt x="19504" y="13063"/>
                        <a:pt x="13089" y="19452"/>
                        <a:pt x="13089" y="27341"/>
                      </a:cubicBezTo>
                      <a:lnTo>
                        <a:pt x="13089" y="72066"/>
                      </a:lnTo>
                      <a:lnTo>
                        <a:pt x="32748" y="72066"/>
                      </a:lnTo>
                      <a:lnTo>
                        <a:pt x="32748" y="85180"/>
                      </a:lnTo>
                      <a:lnTo>
                        <a:pt x="6544" y="85180"/>
                      </a:lnTo>
                      <a:cubicBezTo>
                        <a:pt x="2923" y="85180"/>
                        <a:pt x="0" y="82257"/>
                        <a:pt x="0" y="78636"/>
                      </a:cubicBezTo>
                      <a:lnTo>
                        <a:pt x="0" y="27367"/>
                      </a:lnTo>
                      <a:cubicBezTo>
                        <a:pt x="0" y="12261"/>
                        <a:pt x="12287" y="0"/>
                        <a:pt x="27367" y="0"/>
                      </a:cubicBezTo>
                      <a:lnTo>
                        <a:pt x="144131" y="0"/>
                      </a:lnTo>
                      <a:cubicBezTo>
                        <a:pt x="175042" y="0"/>
                        <a:pt x="196590" y="31092"/>
                        <a:pt x="196590" y="59003"/>
                      </a:cubicBezTo>
                      <a:lnTo>
                        <a:pt x="196590" y="78636"/>
                      </a:lnTo>
                      <a:cubicBezTo>
                        <a:pt x="196616" y="82231"/>
                        <a:pt x="193667" y="85154"/>
                        <a:pt x="190045" y="85154"/>
                      </a:cubicBezTo>
                      <a:close/>
                    </a:path>
                  </a:pathLst>
                </a:custGeom>
                <a:solidFill>
                  <a:schemeClr val="accent1"/>
                </a:solidFill>
                <a:ln w="2584" cap="flat">
                  <a:noFill/>
                  <a:prstDash val="solid"/>
                  <a:miter/>
                </a:ln>
              </p:spPr>
              <p:txBody>
                <a:bodyPr rtlCol="0" anchor="ctr"/>
                <a:lstStyle/>
                <a:p>
                  <a:endParaRPr lang="en-GB" dirty="0"/>
                </a:p>
              </p:txBody>
            </p:sp>
            <p:sp>
              <p:nvSpPr>
                <p:cNvPr id="127" name="Freihandform: Form 910">
                  <a:extLst>
                    <a:ext uri="{FF2B5EF4-FFF2-40B4-BE49-F238E27FC236}">
                      <a16:creationId xmlns:a16="http://schemas.microsoft.com/office/drawing/2014/main" id="{474E33B8-FDAC-4CB2-92F4-7DD080198218}"/>
                    </a:ext>
                  </a:extLst>
                </p:cNvPr>
                <p:cNvSpPr/>
                <p:nvPr/>
              </p:nvSpPr>
              <p:spPr>
                <a:xfrm>
                  <a:off x="7146895" y="2885293"/>
                  <a:ext cx="45888" cy="13114"/>
                </a:xfrm>
                <a:custGeom>
                  <a:avLst/>
                  <a:gdLst>
                    <a:gd name="connsiteX0" fmla="*/ 0 w 45888"/>
                    <a:gd name="connsiteY0" fmla="*/ 0 h 13114"/>
                    <a:gd name="connsiteX1" fmla="*/ 45888 w 45888"/>
                    <a:gd name="connsiteY1" fmla="*/ 0 h 13114"/>
                    <a:gd name="connsiteX2" fmla="*/ 45888 w 45888"/>
                    <a:gd name="connsiteY2" fmla="*/ 13115 h 13114"/>
                    <a:gd name="connsiteX3" fmla="*/ 0 w 45888"/>
                    <a:gd name="connsiteY3" fmla="*/ 13115 h 13114"/>
                  </a:gdLst>
                  <a:ahLst/>
                  <a:cxnLst>
                    <a:cxn ang="0">
                      <a:pos x="connsiteX0" y="connsiteY0"/>
                    </a:cxn>
                    <a:cxn ang="0">
                      <a:pos x="connsiteX1" y="connsiteY1"/>
                    </a:cxn>
                    <a:cxn ang="0">
                      <a:pos x="connsiteX2" y="connsiteY2"/>
                    </a:cxn>
                    <a:cxn ang="0">
                      <a:pos x="connsiteX3" y="connsiteY3"/>
                    </a:cxn>
                  </a:cxnLst>
                  <a:rect l="l" t="t" r="r" b="b"/>
                  <a:pathLst>
                    <a:path w="45888" h="13114">
                      <a:moveTo>
                        <a:pt x="0" y="0"/>
                      </a:moveTo>
                      <a:lnTo>
                        <a:pt x="45888" y="0"/>
                      </a:lnTo>
                      <a:lnTo>
                        <a:pt x="45888" y="13115"/>
                      </a:lnTo>
                      <a:lnTo>
                        <a:pt x="0" y="13115"/>
                      </a:lnTo>
                      <a:close/>
                    </a:path>
                  </a:pathLst>
                </a:custGeom>
                <a:solidFill>
                  <a:schemeClr val="accent1"/>
                </a:solidFill>
                <a:ln w="2584" cap="flat">
                  <a:noFill/>
                  <a:prstDash val="solid"/>
                  <a:miter/>
                </a:ln>
              </p:spPr>
              <p:txBody>
                <a:bodyPr rtlCol="0" anchor="ctr"/>
                <a:lstStyle/>
                <a:p>
                  <a:endParaRPr lang="en-GB" dirty="0"/>
                </a:p>
              </p:txBody>
            </p:sp>
            <p:sp>
              <p:nvSpPr>
                <p:cNvPr id="128" name="Freihandform: Form 911">
                  <a:extLst>
                    <a:ext uri="{FF2B5EF4-FFF2-40B4-BE49-F238E27FC236}">
                      <a16:creationId xmlns:a16="http://schemas.microsoft.com/office/drawing/2014/main" id="{FE1D9182-510C-4B7A-957D-C7D5C53290A8}"/>
                    </a:ext>
                  </a:extLst>
                </p:cNvPr>
                <p:cNvSpPr/>
                <p:nvPr/>
              </p:nvSpPr>
              <p:spPr>
                <a:xfrm>
                  <a:off x="7192758" y="2819746"/>
                  <a:ext cx="52432" cy="39317"/>
                </a:xfrm>
                <a:custGeom>
                  <a:avLst/>
                  <a:gdLst>
                    <a:gd name="connsiteX0" fmla="*/ 52433 w 52432"/>
                    <a:gd name="connsiteY0" fmla="*/ 39318 h 39317"/>
                    <a:gd name="connsiteX1" fmla="*/ 6544 w 52432"/>
                    <a:gd name="connsiteY1" fmla="*/ 39318 h 39317"/>
                    <a:gd name="connsiteX2" fmla="*/ 0 w 52432"/>
                    <a:gd name="connsiteY2" fmla="*/ 32774 h 39317"/>
                    <a:gd name="connsiteX3" fmla="*/ 0 w 52432"/>
                    <a:gd name="connsiteY3" fmla="*/ 0 h 39317"/>
                    <a:gd name="connsiteX4" fmla="*/ 13115 w 52432"/>
                    <a:gd name="connsiteY4" fmla="*/ 0 h 39317"/>
                    <a:gd name="connsiteX5" fmla="*/ 13115 w 52432"/>
                    <a:gd name="connsiteY5" fmla="*/ 26203 h 39317"/>
                    <a:gd name="connsiteX6" fmla="*/ 52433 w 52432"/>
                    <a:gd name="connsiteY6" fmla="*/ 26203 h 39317"/>
                    <a:gd name="connsiteX7" fmla="*/ 52433 w 52432"/>
                    <a:gd name="connsiteY7" fmla="*/ 39318 h 3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432" h="39317">
                      <a:moveTo>
                        <a:pt x="52433" y="39318"/>
                      </a:moveTo>
                      <a:lnTo>
                        <a:pt x="6544" y="39318"/>
                      </a:lnTo>
                      <a:cubicBezTo>
                        <a:pt x="2923" y="39318"/>
                        <a:pt x="0" y="36395"/>
                        <a:pt x="0" y="32774"/>
                      </a:cubicBezTo>
                      <a:lnTo>
                        <a:pt x="0" y="0"/>
                      </a:lnTo>
                      <a:lnTo>
                        <a:pt x="13115" y="0"/>
                      </a:lnTo>
                      <a:lnTo>
                        <a:pt x="13115" y="26203"/>
                      </a:lnTo>
                      <a:lnTo>
                        <a:pt x="52433" y="26203"/>
                      </a:lnTo>
                      <a:lnTo>
                        <a:pt x="52433" y="39318"/>
                      </a:lnTo>
                      <a:close/>
                    </a:path>
                  </a:pathLst>
                </a:custGeom>
                <a:solidFill>
                  <a:schemeClr val="accent1"/>
                </a:solidFill>
                <a:ln w="2584" cap="flat">
                  <a:noFill/>
                  <a:prstDash val="solid"/>
                  <a:miter/>
                </a:ln>
              </p:spPr>
              <p:txBody>
                <a:bodyPr rtlCol="0" anchor="ctr"/>
                <a:lstStyle/>
                <a:p>
                  <a:endParaRPr lang="en-GB" dirty="0"/>
                </a:p>
              </p:txBody>
            </p:sp>
          </p:grpSp>
        </p:grpSp>
        <p:grpSp>
          <p:nvGrpSpPr>
            <p:cNvPr id="105" name="Gruppieren 1077">
              <a:extLst>
                <a:ext uri="{FF2B5EF4-FFF2-40B4-BE49-F238E27FC236}">
                  <a16:creationId xmlns:a16="http://schemas.microsoft.com/office/drawing/2014/main" id="{E1C9F2AD-EEBA-43FC-9B84-BEB1502824B8}"/>
                </a:ext>
              </a:extLst>
            </p:cNvPr>
            <p:cNvGrpSpPr/>
            <p:nvPr/>
          </p:nvGrpSpPr>
          <p:grpSpPr>
            <a:xfrm>
              <a:off x="626021" y="3197068"/>
              <a:ext cx="336058" cy="376838"/>
              <a:chOff x="7028942" y="2439630"/>
              <a:chExt cx="432497" cy="484980"/>
            </a:xfrm>
          </p:grpSpPr>
          <p:sp>
            <p:nvSpPr>
              <p:cNvPr id="106" name="Freihandform: Form 899">
                <a:extLst>
                  <a:ext uri="{FF2B5EF4-FFF2-40B4-BE49-F238E27FC236}">
                    <a16:creationId xmlns:a16="http://schemas.microsoft.com/office/drawing/2014/main" id="{31CE89C2-E722-4C41-8AB3-ED56CEB8810B}"/>
                  </a:ext>
                </a:extLst>
              </p:cNvPr>
              <p:cNvSpPr/>
              <p:nvPr/>
            </p:nvSpPr>
            <p:spPr>
              <a:xfrm>
                <a:off x="7264849" y="2845949"/>
                <a:ext cx="117979" cy="13114"/>
              </a:xfrm>
              <a:custGeom>
                <a:avLst/>
                <a:gdLst>
                  <a:gd name="connsiteX0" fmla="*/ 0 w 117979"/>
                  <a:gd name="connsiteY0" fmla="*/ 0 h 13114"/>
                  <a:gd name="connsiteX1" fmla="*/ 117980 w 117979"/>
                  <a:gd name="connsiteY1" fmla="*/ 0 h 13114"/>
                  <a:gd name="connsiteX2" fmla="*/ 117980 w 117979"/>
                  <a:gd name="connsiteY2" fmla="*/ 13115 h 13114"/>
                  <a:gd name="connsiteX3" fmla="*/ 0 w 117979"/>
                  <a:gd name="connsiteY3" fmla="*/ 13115 h 13114"/>
                </a:gdLst>
                <a:ahLst/>
                <a:cxnLst>
                  <a:cxn ang="0">
                    <a:pos x="connsiteX0" y="connsiteY0"/>
                  </a:cxn>
                  <a:cxn ang="0">
                    <a:pos x="connsiteX1" y="connsiteY1"/>
                  </a:cxn>
                  <a:cxn ang="0">
                    <a:pos x="connsiteX2" y="connsiteY2"/>
                  </a:cxn>
                  <a:cxn ang="0">
                    <a:pos x="connsiteX3" y="connsiteY3"/>
                  </a:cxn>
                </a:cxnLst>
                <a:rect l="l" t="t" r="r" b="b"/>
                <a:pathLst>
                  <a:path w="117979" h="13114">
                    <a:moveTo>
                      <a:pt x="0" y="0"/>
                    </a:moveTo>
                    <a:lnTo>
                      <a:pt x="117980" y="0"/>
                    </a:lnTo>
                    <a:lnTo>
                      <a:pt x="117980"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07" name="Freihandform: Form 900">
                <a:extLst>
                  <a:ext uri="{FF2B5EF4-FFF2-40B4-BE49-F238E27FC236}">
                    <a16:creationId xmlns:a16="http://schemas.microsoft.com/office/drawing/2014/main" id="{EC5851B8-1AD1-4335-9314-7C9392650141}"/>
                  </a:ext>
                </a:extLst>
              </p:cNvPr>
              <p:cNvSpPr/>
              <p:nvPr/>
            </p:nvSpPr>
            <p:spPr>
              <a:xfrm>
                <a:off x="7101007" y="2695248"/>
                <a:ext cx="229363" cy="45862"/>
              </a:xfrm>
              <a:custGeom>
                <a:avLst/>
                <a:gdLst>
                  <a:gd name="connsiteX0" fmla="*/ 13115 w 229363"/>
                  <a:gd name="connsiteY0" fmla="*/ 45862 h 45862"/>
                  <a:gd name="connsiteX1" fmla="*/ 0 w 229363"/>
                  <a:gd name="connsiteY1" fmla="*/ 45862 h 45862"/>
                  <a:gd name="connsiteX2" fmla="*/ 0 w 229363"/>
                  <a:gd name="connsiteY2" fmla="*/ 6544 h 45862"/>
                  <a:gd name="connsiteX3" fmla="*/ 6544 w 229363"/>
                  <a:gd name="connsiteY3" fmla="*/ 0 h 45862"/>
                  <a:gd name="connsiteX4" fmla="*/ 229363 w 229363"/>
                  <a:gd name="connsiteY4" fmla="*/ 0 h 45862"/>
                  <a:gd name="connsiteX5" fmla="*/ 229363 w 229363"/>
                  <a:gd name="connsiteY5" fmla="*/ 13115 h 45862"/>
                  <a:gd name="connsiteX6" fmla="*/ 13089 w 229363"/>
                  <a:gd name="connsiteY6" fmla="*/ 13115 h 45862"/>
                  <a:gd name="connsiteX7" fmla="*/ 13089 w 229363"/>
                  <a:gd name="connsiteY7" fmla="*/ 45862 h 4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9363" h="45862">
                    <a:moveTo>
                      <a:pt x="13115" y="45862"/>
                    </a:moveTo>
                    <a:lnTo>
                      <a:pt x="0" y="45862"/>
                    </a:lnTo>
                    <a:lnTo>
                      <a:pt x="0" y="6544"/>
                    </a:lnTo>
                    <a:cubicBezTo>
                      <a:pt x="0" y="2923"/>
                      <a:pt x="2923" y="0"/>
                      <a:pt x="6544" y="0"/>
                    </a:cubicBezTo>
                    <a:lnTo>
                      <a:pt x="229363" y="0"/>
                    </a:lnTo>
                    <a:lnTo>
                      <a:pt x="229363" y="13115"/>
                    </a:lnTo>
                    <a:lnTo>
                      <a:pt x="13089" y="13115"/>
                    </a:lnTo>
                    <a:lnTo>
                      <a:pt x="13089" y="45862"/>
                    </a:lnTo>
                    <a:close/>
                  </a:path>
                </a:pathLst>
              </a:custGeom>
              <a:solidFill>
                <a:schemeClr val="tx2"/>
              </a:solidFill>
              <a:ln w="2584" cap="flat">
                <a:noFill/>
                <a:prstDash val="solid"/>
                <a:miter/>
              </a:ln>
            </p:spPr>
            <p:txBody>
              <a:bodyPr rtlCol="0" anchor="ctr"/>
              <a:lstStyle/>
              <a:p>
                <a:endParaRPr lang="en-GB" dirty="0"/>
              </a:p>
            </p:txBody>
          </p:sp>
          <p:sp>
            <p:nvSpPr>
              <p:cNvPr id="108" name="Freihandform: Form 901">
                <a:extLst>
                  <a:ext uri="{FF2B5EF4-FFF2-40B4-BE49-F238E27FC236}">
                    <a16:creationId xmlns:a16="http://schemas.microsoft.com/office/drawing/2014/main" id="{51FD3264-2391-48D5-8A86-CFBD82EA8BC6}"/>
                  </a:ext>
                </a:extLst>
              </p:cNvPr>
              <p:cNvSpPr/>
              <p:nvPr/>
            </p:nvSpPr>
            <p:spPr>
              <a:xfrm>
                <a:off x="7074804" y="2734566"/>
                <a:ext cx="65521" cy="72065"/>
              </a:xfrm>
              <a:custGeom>
                <a:avLst/>
                <a:gdLst>
                  <a:gd name="connsiteX0" fmla="*/ 13115 w 65521"/>
                  <a:gd name="connsiteY0" fmla="*/ 72066 h 72065"/>
                  <a:gd name="connsiteX1" fmla="*/ 0 w 65521"/>
                  <a:gd name="connsiteY1" fmla="*/ 72066 h 72065"/>
                  <a:gd name="connsiteX2" fmla="*/ 0 w 65521"/>
                  <a:gd name="connsiteY2" fmla="*/ 6544 h 72065"/>
                  <a:gd name="connsiteX3" fmla="*/ 6544 w 65521"/>
                  <a:gd name="connsiteY3" fmla="*/ 0 h 72065"/>
                  <a:gd name="connsiteX4" fmla="*/ 58977 w 65521"/>
                  <a:gd name="connsiteY4" fmla="*/ 0 h 72065"/>
                  <a:gd name="connsiteX5" fmla="*/ 65521 w 65521"/>
                  <a:gd name="connsiteY5" fmla="*/ 6544 h 72065"/>
                  <a:gd name="connsiteX6" fmla="*/ 65521 w 65521"/>
                  <a:gd name="connsiteY6" fmla="*/ 65521 h 72065"/>
                  <a:gd name="connsiteX7" fmla="*/ 52407 w 65521"/>
                  <a:gd name="connsiteY7" fmla="*/ 65521 h 72065"/>
                  <a:gd name="connsiteX8" fmla="*/ 52407 w 65521"/>
                  <a:gd name="connsiteY8" fmla="*/ 13089 h 72065"/>
                  <a:gd name="connsiteX9" fmla="*/ 13089 w 65521"/>
                  <a:gd name="connsiteY9" fmla="*/ 13089 h 72065"/>
                  <a:gd name="connsiteX10" fmla="*/ 13089 w 65521"/>
                  <a:gd name="connsiteY10" fmla="*/ 72066 h 72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521" h="72065">
                    <a:moveTo>
                      <a:pt x="13115" y="72066"/>
                    </a:moveTo>
                    <a:lnTo>
                      <a:pt x="0" y="72066"/>
                    </a:lnTo>
                    <a:lnTo>
                      <a:pt x="0" y="6544"/>
                    </a:lnTo>
                    <a:cubicBezTo>
                      <a:pt x="0" y="2923"/>
                      <a:pt x="2923" y="0"/>
                      <a:pt x="6544" y="0"/>
                    </a:cubicBezTo>
                    <a:lnTo>
                      <a:pt x="58977" y="0"/>
                    </a:lnTo>
                    <a:cubicBezTo>
                      <a:pt x="62598" y="0"/>
                      <a:pt x="65521" y="2923"/>
                      <a:pt x="65521" y="6544"/>
                    </a:cubicBezTo>
                    <a:lnTo>
                      <a:pt x="65521" y="65521"/>
                    </a:lnTo>
                    <a:lnTo>
                      <a:pt x="52407" y="65521"/>
                    </a:lnTo>
                    <a:lnTo>
                      <a:pt x="52407" y="13089"/>
                    </a:lnTo>
                    <a:lnTo>
                      <a:pt x="13089" y="13089"/>
                    </a:lnTo>
                    <a:lnTo>
                      <a:pt x="13089" y="72066"/>
                    </a:lnTo>
                    <a:close/>
                  </a:path>
                </a:pathLst>
              </a:custGeom>
              <a:solidFill>
                <a:schemeClr val="tx2"/>
              </a:solidFill>
              <a:ln w="2584" cap="flat">
                <a:noFill/>
                <a:prstDash val="solid"/>
                <a:miter/>
              </a:ln>
            </p:spPr>
            <p:txBody>
              <a:bodyPr rtlCol="0" anchor="ctr"/>
              <a:lstStyle/>
              <a:p>
                <a:endParaRPr lang="en-GB" dirty="0"/>
              </a:p>
            </p:txBody>
          </p:sp>
          <p:sp>
            <p:nvSpPr>
              <p:cNvPr id="109" name="Freihandform: Form 902">
                <a:extLst>
                  <a:ext uri="{FF2B5EF4-FFF2-40B4-BE49-F238E27FC236}">
                    <a16:creationId xmlns:a16="http://schemas.microsoft.com/office/drawing/2014/main" id="{9CB1E1F0-90EF-4622-92FA-C441F3F3643D}"/>
                  </a:ext>
                </a:extLst>
              </p:cNvPr>
              <p:cNvSpPr/>
              <p:nvPr/>
            </p:nvSpPr>
            <p:spPr>
              <a:xfrm>
                <a:off x="7133807" y="2472429"/>
                <a:ext cx="222818" cy="235907"/>
              </a:xfrm>
              <a:custGeom>
                <a:avLst/>
                <a:gdLst>
                  <a:gd name="connsiteX0" fmla="*/ 176931 w 222818"/>
                  <a:gd name="connsiteY0" fmla="*/ 235908 h 235907"/>
                  <a:gd name="connsiteX1" fmla="*/ 6544 w 222818"/>
                  <a:gd name="connsiteY1" fmla="*/ 235908 h 235907"/>
                  <a:gd name="connsiteX2" fmla="*/ 0 w 222818"/>
                  <a:gd name="connsiteY2" fmla="*/ 229363 h 235907"/>
                  <a:gd name="connsiteX3" fmla="*/ 0 w 222818"/>
                  <a:gd name="connsiteY3" fmla="*/ 6544 h 235907"/>
                  <a:gd name="connsiteX4" fmla="*/ 6544 w 222818"/>
                  <a:gd name="connsiteY4" fmla="*/ 0 h 235907"/>
                  <a:gd name="connsiteX5" fmla="*/ 216274 w 222818"/>
                  <a:gd name="connsiteY5" fmla="*/ 0 h 235907"/>
                  <a:gd name="connsiteX6" fmla="*/ 222819 w 222818"/>
                  <a:gd name="connsiteY6" fmla="*/ 6544 h 235907"/>
                  <a:gd name="connsiteX7" fmla="*/ 222819 w 222818"/>
                  <a:gd name="connsiteY7" fmla="*/ 209704 h 235907"/>
                  <a:gd name="connsiteX8" fmla="*/ 209704 w 222818"/>
                  <a:gd name="connsiteY8" fmla="*/ 209704 h 235907"/>
                  <a:gd name="connsiteX9" fmla="*/ 209704 w 222818"/>
                  <a:gd name="connsiteY9" fmla="*/ 13089 h 235907"/>
                  <a:gd name="connsiteX10" fmla="*/ 13089 w 222818"/>
                  <a:gd name="connsiteY10" fmla="*/ 13089 h 235907"/>
                  <a:gd name="connsiteX11" fmla="*/ 13089 w 222818"/>
                  <a:gd name="connsiteY11" fmla="*/ 222819 h 235907"/>
                  <a:gd name="connsiteX12" fmla="*/ 176931 w 222818"/>
                  <a:gd name="connsiteY12" fmla="*/ 222819 h 235907"/>
                  <a:gd name="connsiteX13" fmla="*/ 176931 w 222818"/>
                  <a:gd name="connsiteY13" fmla="*/ 235908 h 235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2818" h="235907">
                    <a:moveTo>
                      <a:pt x="176931" y="235908"/>
                    </a:moveTo>
                    <a:lnTo>
                      <a:pt x="6544" y="235908"/>
                    </a:lnTo>
                    <a:cubicBezTo>
                      <a:pt x="2923" y="235908"/>
                      <a:pt x="0" y="232985"/>
                      <a:pt x="0" y="229363"/>
                    </a:cubicBezTo>
                    <a:lnTo>
                      <a:pt x="0" y="6544"/>
                    </a:lnTo>
                    <a:cubicBezTo>
                      <a:pt x="0" y="2923"/>
                      <a:pt x="2923" y="0"/>
                      <a:pt x="6544" y="0"/>
                    </a:cubicBezTo>
                    <a:lnTo>
                      <a:pt x="216274" y="0"/>
                    </a:lnTo>
                    <a:cubicBezTo>
                      <a:pt x="219896" y="0"/>
                      <a:pt x="222819" y="2923"/>
                      <a:pt x="222819" y="6544"/>
                    </a:cubicBezTo>
                    <a:lnTo>
                      <a:pt x="222819" y="209704"/>
                    </a:lnTo>
                    <a:lnTo>
                      <a:pt x="209704" y="209704"/>
                    </a:lnTo>
                    <a:lnTo>
                      <a:pt x="209704" y="13089"/>
                    </a:lnTo>
                    <a:lnTo>
                      <a:pt x="13089" y="13089"/>
                    </a:lnTo>
                    <a:lnTo>
                      <a:pt x="13089" y="222819"/>
                    </a:lnTo>
                    <a:lnTo>
                      <a:pt x="176931" y="222819"/>
                    </a:lnTo>
                    <a:lnTo>
                      <a:pt x="176931" y="235908"/>
                    </a:lnTo>
                    <a:close/>
                  </a:path>
                </a:pathLst>
              </a:custGeom>
              <a:solidFill>
                <a:schemeClr val="tx2"/>
              </a:solidFill>
              <a:ln w="2584" cap="flat">
                <a:noFill/>
                <a:prstDash val="solid"/>
                <a:miter/>
              </a:ln>
            </p:spPr>
            <p:txBody>
              <a:bodyPr rtlCol="0" anchor="ctr"/>
              <a:lstStyle/>
              <a:p>
                <a:endParaRPr lang="en-GB" dirty="0"/>
              </a:p>
            </p:txBody>
          </p:sp>
          <p:sp>
            <p:nvSpPr>
              <p:cNvPr id="110" name="Freihandform: Form 903">
                <a:extLst>
                  <a:ext uri="{FF2B5EF4-FFF2-40B4-BE49-F238E27FC236}">
                    <a16:creationId xmlns:a16="http://schemas.microsoft.com/office/drawing/2014/main" id="{9661844A-E1D5-4864-B27F-57E8D69A063F}"/>
                  </a:ext>
                </a:extLst>
              </p:cNvPr>
              <p:cNvSpPr/>
              <p:nvPr/>
            </p:nvSpPr>
            <p:spPr>
              <a:xfrm>
                <a:off x="7179669" y="2439630"/>
                <a:ext cx="131068" cy="45862"/>
              </a:xfrm>
              <a:custGeom>
                <a:avLst/>
                <a:gdLst>
                  <a:gd name="connsiteX0" fmla="*/ 124524 w 131068"/>
                  <a:gd name="connsiteY0" fmla="*/ 45862 h 45862"/>
                  <a:gd name="connsiteX1" fmla="*/ 6544 w 131068"/>
                  <a:gd name="connsiteY1" fmla="*/ 45862 h 45862"/>
                  <a:gd name="connsiteX2" fmla="*/ 0 w 131068"/>
                  <a:gd name="connsiteY2" fmla="*/ 39318 h 45862"/>
                  <a:gd name="connsiteX3" fmla="*/ 0 w 131068"/>
                  <a:gd name="connsiteY3" fmla="*/ 6544 h 45862"/>
                  <a:gd name="connsiteX4" fmla="*/ 6544 w 131068"/>
                  <a:gd name="connsiteY4" fmla="*/ 0 h 45862"/>
                  <a:gd name="connsiteX5" fmla="*/ 124524 w 131068"/>
                  <a:gd name="connsiteY5" fmla="*/ 0 h 45862"/>
                  <a:gd name="connsiteX6" fmla="*/ 131068 w 131068"/>
                  <a:gd name="connsiteY6" fmla="*/ 6544 h 45862"/>
                  <a:gd name="connsiteX7" fmla="*/ 131068 w 131068"/>
                  <a:gd name="connsiteY7" fmla="*/ 39318 h 45862"/>
                  <a:gd name="connsiteX8" fmla="*/ 124524 w 131068"/>
                  <a:gd name="connsiteY8" fmla="*/ 45862 h 45862"/>
                  <a:gd name="connsiteX9" fmla="*/ 13089 w 131068"/>
                  <a:gd name="connsiteY9" fmla="*/ 32774 h 45862"/>
                  <a:gd name="connsiteX10" fmla="*/ 117954 w 131068"/>
                  <a:gd name="connsiteY10" fmla="*/ 32774 h 45862"/>
                  <a:gd name="connsiteX11" fmla="*/ 117954 w 131068"/>
                  <a:gd name="connsiteY11" fmla="*/ 13115 h 45862"/>
                  <a:gd name="connsiteX12" fmla="*/ 13089 w 131068"/>
                  <a:gd name="connsiteY12" fmla="*/ 13115 h 45862"/>
                  <a:gd name="connsiteX13" fmla="*/ 13089 w 131068"/>
                  <a:gd name="connsiteY13" fmla="*/ 32774 h 4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068" h="45862">
                    <a:moveTo>
                      <a:pt x="124524" y="45862"/>
                    </a:moveTo>
                    <a:lnTo>
                      <a:pt x="6544" y="45862"/>
                    </a:lnTo>
                    <a:cubicBezTo>
                      <a:pt x="2923" y="45862"/>
                      <a:pt x="0" y="42939"/>
                      <a:pt x="0" y="39318"/>
                    </a:cubicBezTo>
                    <a:lnTo>
                      <a:pt x="0" y="6544"/>
                    </a:lnTo>
                    <a:cubicBezTo>
                      <a:pt x="0" y="2923"/>
                      <a:pt x="2923" y="0"/>
                      <a:pt x="6544" y="0"/>
                    </a:cubicBezTo>
                    <a:lnTo>
                      <a:pt x="124524" y="0"/>
                    </a:lnTo>
                    <a:cubicBezTo>
                      <a:pt x="128145" y="0"/>
                      <a:pt x="131068" y="2923"/>
                      <a:pt x="131068" y="6544"/>
                    </a:cubicBezTo>
                    <a:lnTo>
                      <a:pt x="131068" y="39318"/>
                    </a:lnTo>
                    <a:cubicBezTo>
                      <a:pt x="131068" y="42939"/>
                      <a:pt x="128145" y="45862"/>
                      <a:pt x="124524" y="45862"/>
                    </a:cubicBezTo>
                    <a:close/>
                    <a:moveTo>
                      <a:pt x="13089" y="32774"/>
                    </a:moveTo>
                    <a:lnTo>
                      <a:pt x="117954" y="32774"/>
                    </a:lnTo>
                    <a:lnTo>
                      <a:pt x="117954" y="13115"/>
                    </a:lnTo>
                    <a:lnTo>
                      <a:pt x="13089" y="13115"/>
                    </a:lnTo>
                    <a:lnTo>
                      <a:pt x="13089" y="32774"/>
                    </a:lnTo>
                    <a:close/>
                  </a:path>
                </a:pathLst>
              </a:custGeom>
              <a:solidFill>
                <a:schemeClr val="tx2"/>
              </a:solidFill>
              <a:ln w="2584" cap="flat">
                <a:noFill/>
                <a:prstDash val="solid"/>
                <a:miter/>
              </a:ln>
            </p:spPr>
            <p:txBody>
              <a:bodyPr rtlCol="0" anchor="ctr"/>
              <a:lstStyle/>
              <a:p>
                <a:endParaRPr lang="en-GB" dirty="0"/>
              </a:p>
            </p:txBody>
          </p:sp>
          <p:sp>
            <p:nvSpPr>
              <p:cNvPr id="111" name="Freihandform: Form 912">
                <a:extLst>
                  <a:ext uri="{FF2B5EF4-FFF2-40B4-BE49-F238E27FC236}">
                    <a16:creationId xmlns:a16="http://schemas.microsoft.com/office/drawing/2014/main" id="{B3CD7681-2217-471A-A0DC-7BDBA2884389}"/>
                  </a:ext>
                </a:extLst>
              </p:cNvPr>
              <p:cNvSpPr/>
              <p:nvPr/>
            </p:nvSpPr>
            <p:spPr>
              <a:xfrm>
                <a:off x="7173099" y="2511721"/>
                <a:ext cx="45888" cy="13114"/>
              </a:xfrm>
              <a:custGeom>
                <a:avLst/>
                <a:gdLst>
                  <a:gd name="connsiteX0" fmla="*/ 0 w 45888"/>
                  <a:gd name="connsiteY0" fmla="*/ 0 h 13114"/>
                  <a:gd name="connsiteX1" fmla="*/ 45888 w 45888"/>
                  <a:gd name="connsiteY1" fmla="*/ 0 h 13114"/>
                  <a:gd name="connsiteX2" fmla="*/ 45888 w 45888"/>
                  <a:gd name="connsiteY2" fmla="*/ 13115 h 13114"/>
                  <a:gd name="connsiteX3" fmla="*/ 0 w 45888"/>
                  <a:gd name="connsiteY3" fmla="*/ 13115 h 13114"/>
                </a:gdLst>
                <a:ahLst/>
                <a:cxnLst>
                  <a:cxn ang="0">
                    <a:pos x="connsiteX0" y="connsiteY0"/>
                  </a:cxn>
                  <a:cxn ang="0">
                    <a:pos x="connsiteX1" y="connsiteY1"/>
                  </a:cxn>
                  <a:cxn ang="0">
                    <a:pos x="connsiteX2" y="connsiteY2"/>
                  </a:cxn>
                  <a:cxn ang="0">
                    <a:pos x="connsiteX3" y="connsiteY3"/>
                  </a:cxn>
                </a:cxnLst>
                <a:rect l="l" t="t" r="r" b="b"/>
                <a:pathLst>
                  <a:path w="45888" h="13114">
                    <a:moveTo>
                      <a:pt x="0" y="0"/>
                    </a:moveTo>
                    <a:lnTo>
                      <a:pt x="45888" y="0"/>
                    </a:lnTo>
                    <a:lnTo>
                      <a:pt x="45888"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12" name="Freihandform: Form 913">
                <a:extLst>
                  <a:ext uri="{FF2B5EF4-FFF2-40B4-BE49-F238E27FC236}">
                    <a16:creationId xmlns:a16="http://schemas.microsoft.com/office/drawing/2014/main" id="{3AC8EB07-82B2-4BC6-AB96-B5878955C8B2}"/>
                  </a:ext>
                </a:extLst>
              </p:cNvPr>
              <p:cNvSpPr/>
              <p:nvPr/>
            </p:nvSpPr>
            <p:spPr>
              <a:xfrm>
                <a:off x="7271419" y="2511721"/>
                <a:ext cx="45888" cy="13114"/>
              </a:xfrm>
              <a:custGeom>
                <a:avLst/>
                <a:gdLst>
                  <a:gd name="connsiteX0" fmla="*/ 0 w 45888"/>
                  <a:gd name="connsiteY0" fmla="*/ 0 h 13114"/>
                  <a:gd name="connsiteX1" fmla="*/ 45888 w 45888"/>
                  <a:gd name="connsiteY1" fmla="*/ 0 h 13114"/>
                  <a:gd name="connsiteX2" fmla="*/ 45888 w 45888"/>
                  <a:gd name="connsiteY2" fmla="*/ 13115 h 13114"/>
                  <a:gd name="connsiteX3" fmla="*/ 0 w 45888"/>
                  <a:gd name="connsiteY3" fmla="*/ 13115 h 13114"/>
                </a:gdLst>
                <a:ahLst/>
                <a:cxnLst>
                  <a:cxn ang="0">
                    <a:pos x="connsiteX0" y="connsiteY0"/>
                  </a:cxn>
                  <a:cxn ang="0">
                    <a:pos x="connsiteX1" y="connsiteY1"/>
                  </a:cxn>
                  <a:cxn ang="0">
                    <a:pos x="connsiteX2" y="connsiteY2"/>
                  </a:cxn>
                  <a:cxn ang="0">
                    <a:pos x="connsiteX3" y="connsiteY3"/>
                  </a:cxn>
                </a:cxnLst>
                <a:rect l="l" t="t" r="r" b="b"/>
                <a:pathLst>
                  <a:path w="45888" h="13114">
                    <a:moveTo>
                      <a:pt x="0" y="0"/>
                    </a:moveTo>
                    <a:lnTo>
                      <a:pt x="45888" y="0"/>
                    </a:lnTo>
                    <a:lnTo>
                      <a:pt x="45888"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13" name="Freihandform: Form 915">
                <a:extLst>
                  <a:ext uri="{FF2B5EF4-FFF2-40B4-BE49-F238E27FC236}">
                    <a16:creationId xmlns:a16="http://schemas.microsoft.com/office/drawing/2014/main" id="{7DE8A41E-9F69-40D2-B7A3-4188FECDEFC2}"/>
                  </a:ext>
                </a:extLst>
              </p:cNvPr>
              <p:cNvSpPr/>
              <p:nvPr/>
            </p:nvSpPr>
            <p:spPr>
              <a:xfrm>
                <a:off x="7173099" y="2551039"/>
                <a:ext cx="45888" cy="13114"/>
              </a:xfrm>
              <a:custGeom>
                <a:avLst/>
                <a:gdLst>
                  <a:gd name="connsiteX0" fmla="*/ 0 w 45888"/>
                  <a:gd name="connsiteY0" fmla="*/ 0 h 13114"/>
                  <a:gd name="connsiteX1" fmla="*/ 45888 w 45888"/>
                  <a:gd name="connsiteY1" fmla="*/ 0 h 13114"/>
                  <a:gd name="connsiteX2" fmla="*/ 45888 w 45888"/>
                  <a:gd name="connsiteY2" fmla="*/ 13115 h 13114"/>
                  <a:gd name="connsiteX3" fmla="*/ 0 w 45888"/>
                  <a:gd name="connsiteY3" fmla="*/ 13115 h 13114"/>
                </a:gdLst>
                <a:ahLst/>
                <a:cxnLst>
                  <a:cxn ang="0">
                    <a:pos x="connsiteX0" y="connsiteY0"/>
                  </a:cxn>
                  <a:cxn ang="0">
                    <a:pos x="connsiteX1" y="connsiteY1"/>
                  </a:cxn>
                  <a:cxn ang="0">
                    <a:pos x="connsiteX2" y="connsiteY2"/>
                  </a:cxn>
                  <a:cxn ang="0">
                    <a:pos x="connsiteX3" y="connsiteY3"/>
                  </a:cxn>
                </a:cxnLst>
                <a:rect l="l" t="t" r="r" b="b"/>
                <a:pathLst>
                  <a:path w="45888" h="13114">
                    <a:moveTo>
                      <a:pt x="0" y="0"/>
                    </a:moveTo>
                    <a:lnTo>
                      <a:pt x="45888" y="0"/>
                    </a:lnTo>
                    <a:lnTo>
                      <a:pt x="45888"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14" name="Freihandform: Form 916">
                <a:extLst>
                  <a:ext uri="{FF2B5EF4-FFF2-40B4-BE49-F238E27FC236}">
                    <a16:creationId xmlns:a16="http://schemas.microsoft.com/office/drawing/2014/main" id="{2C4B8A68-640F-48AC-8C16-E1B2160C6738}"/>
                  </a:ext>
                </a:extLst>
              </p:cNvPr>
              <p:cNvSpPr/>
              <p:nvPr/>
            </p:nvSpPr>
            <p:spPr>
              <a:xfrm>
                <a:off x="7271419" y="2551039"/>
                <a:ext cx="45888" cy="13114"/>
              </a:xfrm>
              <a:custGeom>
                <a:avLst/>
                <a:gdLst>
                  <a:gd name="connsiteX0" fmla="*/ 0 w 45888"/>
                  <a:gd name="connsiteY0" fmla="*/ 0 h 13114"/>
                  <a:gd name="connsiteX1" fmla="*/ 45888 w 45888"/>
                  <a:gd name="connsiteY1" fmla="*/ 0 h 13114"/>
                  <a:gd name="connsiteX2" fmla="*/ 45888 w 45888"/>
                  <a:gd name="connsiteY2" fmla="*/ 13115 h 13114"/>
                  <a:gd name="connsiteX3" fmla="*/ 0 w 45888"/>
                  <a:gd name="connsiteY3" fmla="*/ 13115 h 13114"/>
                </a:gdLst>
                <a:ahLst/>
                <a:cxnLst>
                  <a:cxn ang="0">
                    <a:pos x="connsiteX0" y="connsiteY0"/>
                  </a:cxn>
                  <a:cxn ang="0">
                    <a:pos x="connsiteX1" y="connsiteY1"/>
                  </a:cxn>
                  <a:cxn ang="0">
                    <a:pos x="connsiteX2" y="connsiteY2"/>
                  </a:cxn>
                  <a:cxn ang="0">
                    <a:pos x="connsiteX3" y="connsiteY3"/>
                  </a:cxn>
                </a:cxnLst>
                <a:rect l="l" t="t" r="r" b="b"/>
                <a:pathLst>
                  <a:path w="45888" h="13114">
                    <a:moveTo>
                      <a:pt x="0" y="0"/>
                    </a:moveTo>
                    <a:lnTo>
                      <a:pt x="45888" y="0"/>
                    </a:lnTo>
                    <a:lnTo>
                      <a:pt x="45888"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15" name="Freihandform: Form 918">
                <a:extLst>
                  <a:ext uri="{FF2B5EF4-FFF2-40B4-BE49-F238E27FC236}">
                    <a16:creationId xmlns:a16="http://schemas.microsoft.com/office/drawing/2014/main" id="{3255ACF2-4131-423E-B46F-79FEF48FD669}"/>
                  </a:ext>
                </a:extLst>
              </p:cNvPr>
              <p:cNvSpPr/>
              <p:nvPr/>
            </p:nvSpPr>
            <p:spPr>
              <a:xfrm>
                <a:off x="7173099" y="2616586"/>
                <a:ext cx="45888" cy="13114"/>
              </a:xfrm>
              <a:custGeom>
                <a:avLst/>
                <a:gdLst>
                  <a:gd name="connsiteX0" fmla="*/ 0 w 45888"/>
                  <a:gd name="connsiteY0" fmla="*/ 0 h 13114"/>
                  <a:gd name="connsiteX1" fmla="*/ 45888 w 45888"/>
                  <a:gd name="connsiteY1" fmla="*/ 0 h 13114"/>
                  <a:gd name="connsiteX2" fmla="*/ 45888 w 45888"/>
                  <a:gd name="connsiteY2" fmla="*/ 13115 h 13114"/>
                  <a:gd name="connsiteX3" fmla="*/ 0 w 45888"/>
                  <a:gd name="connsiteY3" fmla="*/ 13115 h 13114"/>
                </a:gdLst>
                <a:ahLst/>
                <a:cxnLst>
                  <a:cxn ang="0">
                    <a:pos x="connsiteX0" y="connsiteY0"/>
                  </a:cxn>
                  <a:cxn ang="0">
                    <a:pos x="connsiteX1" y="connsiteY1"/>
                  </a:cxn>
                  <a:cxn ang="0">
                    <a:pos x="connsiteX2" y="connsiteY2"/>
                  </a:cxn>
                  <a:cxn ang="0">
                    <a:pos x="connsiteX3" y="connsiteY3"/>
                  </a:cxn>
                </a:cxnLst>
                <a:rect l="l" t="t" r="r" b="b"/>
                <a:pathLst>
                  <a:path w="45888" h="13114">
                    <a:moveTo>
                      <a:pt x="0" y="0"/>
                    </a:moveTo>
                    <a:lnTo>
                      <a:pt x="45888" y="0"/>
                    </a:lnTo>
                    <a:lnTo>
                      <a:pt x="45888"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16" name="Freihandform: Form 919">
                <a:extLst>
                  <a:ext uri="{FF2B5EF4-FFF2-40B4-BE49-F238E27FC236}">
                    <a16:creationId xmlns:a16="http://schemas.microsoft.com/office/drawing/2014/main" id="{518E9E60-6FB8-45E1-A0C8-1F6C0E67FE46}"/>
                  </a:ext>
                </a:extLst>
              </p:cNvPr>
              <p:cNvSpPr/>
              <p:nvPr/>
            </p:nvSpPr>
            <p:spPr>
              <a:xfrm>
                <a:off x="7271419" y="2616586"/>
                <a:ext cx="45888" cy="13114"/>
              </a:xfrm>
              <a:custGeom>
                <a:avLst/>
                <a:gdLst>
                  <a:gd name="connsiteX0" fmla="*/ 0 w 45888"/>
                  <a:gd name="connsiteY0" fmla="*/ 0 h 13114"/>
                  <a:gd name="connsiteX1" fmla="*/ 45888 w 45888"/>
                  <a:gd name="connsiteY1" fmla="*/ 0 h 13114"/>
                  <a:gd name="connsiteX2" fmla="*/ 45888 w 45888"/>
                  <a:gd name="connsiteY2" fmla="*/ 13115 h 13114"/>
                  <a:gd name="connsiteX3" fmla="*/ 0 w 45888"/>
                  <a:gd name="connsiteY3" fmla="*/ 13115 h 13114"/>
                </a:gdLst>
                <a:ahLst/>
                <a:cxnLst>
                  <a:cxn ang="0">
                    <a:pos x="connsiteX0" y="connsiteY0"/>
                  </a:cxn>
                  <a:cxn ang="0">
                    <a:pos x="connsiteX1" y="connsiteY1"/>
                  </a:cxn>
                  <a:cxn ang="0">
                    <a:pos x="connsiteX2" y="connsiteY2"/>
                  </a:cxn>
                  <a:cxn ang="0">
                    <a:pos x="connsiteX3" y="connsiteY3"/>
                  </a:cxn>
                </a:cxnLst>
                <a:rect l="l" t="t" r="r" b="b"/>
                <a:pathLst>
                  <a:path w="45888" h="13114">
                    <a:moveTo>
                      <a:pt x="0" y="0"/>
                    </a:moveTo>
                    <a:lnTo>
                      <a:pt x="45888" y="0"/>
                    </a:lnTo>
                    <a:lnTo>
                      <a:pt x="45888"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17" name="Freihandform: Form 921">
                <a:extLst>
                  <a:ext uri="{FF2B5EF4-FFF2-40B4-BE49-F238E27FC236}">
                    <a16:creationId xmlns:a16="http://schemas.microsoft.com/office/drawing/2014/main" id="{0F7AB571-EC3E-476E-AC70-9AB3AF8EC3CC}"/>
                  </a:ext>
                </a:extLst>
              </p:cNvPr>
              <p:cNvSpPr/>
              <p:nvPr/>
            </p:nvSpPr>
            <p:spPr>
              <a:xfrm>
                <a:off x="7173099" y="2655904"/>
                <a:ext cx="45888" cy="13114"/>
              </a:xfrm>
              <a:custGeom>
                <a:avLst/>
                <a:gdLst>
                  <a:gd name="connsiteX0" fmla="*/ 0 w 45888"/>
                  <a:gd name="connsiteY0" fmla="*/ 0 h 13114"/>
                  <a:gd name="connsiteX1" fmla="*/ 45888 w 45888"/>
                  <a:gd name="connsiteY1" fmla="*/ 0 h 13114"/>
                  <a:gd name="connsiteX2" fmla="*/ 45888 w 45888"/>
                  <a:gd name="connsiteY2" fmla="*/ 13115 h 13114"/>
                  <a:gd name="connsiteX3" fmla="*/ 0 w 45888"/>
                  <a:gd name="connsiteY3" fmla="*/ 13115 h 13114"/>
                </a:gdLst>
                <a:ahLst/>
                <a:cxnLst>
                  <a:cxn ang="0">
                    <a:pos x="connsiteX0" y="connsiteY0"/>
                  </a:cxn>
                  <a:cxn ang="0">
                    <a:pos x="connsiteX1" y="connsiteY1"/>
                  </a:cxn>
                  <a:cxn ang="0">
                    <a:pos x="connsiteX2" y="connsiteY2"/>
                  </a:cxn>
                  <a:cxn ang="0">
                    <a:pos x="connsiteX3" y="connsiteY3"/>
                  </a:cxn>
                </a:cxnLst>
                <a:rect l="l" t="t" r="r" b="b"/>
                <a:pathLst>
                  <a:path w="45888" h="13114">
                    <a:moveTo>
                      <a:pt x="0" y="0"/>
                    </a:moveTo>
                    <a:lnTo>
                      <a:pt x="45888" y="0"/>
                    </a:lnTo>
                    <a:lnTo>
                      <a:pt x="45888"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18" name="Freihandform: Form 922">
                <a:extLst>
                  <a:ext uri="{FF2B5EF4-FFF2-40B4-BE49-F238E27FC236}">
                    <a16:creationId xmlns:a16="http://schemas.microsoft.com/office/drawing/2014/main" id="{834037A9-743E-482C-901D-F7672B0C9AA1}"/>
                  </a:ext>
                </a:extLst>
              </p:cNvPr>
              <p:cNvSpPr/>
              <p:nvPr/>
            </p:nvSpPr>
            <p:spPr>
              <a:xfrm>
                <a:off x="7271419" y="2655904"/>
                <a:ext cx="45888" cy="13114"/>
              </a:xfrm>
              <a:custGeom>
                <a:avLst/>
                <a:gdLst>
                  <a:gd name="connsiteX0" fmla="*/ 0 w 45888"/>
                  <a:gd name="connsiteY0" fmla="*/ 0 h 13114"/>
                  <a:gd name="connsiteX1" fmla="*/ 45888 w 45888"/>
                  <a:gd name="connsiteY1" fmla="*/ 0 h 13114"/>
                  <a:gd name="connsiteX2" fmla="*/ 45888 w 45888"/>
                  <a:gd name="connsiteY2" fmla="*/ 13115 h 13114"/>
                  <a:gd name="connsiteX3" fmla="*/ 0 w 45888"/>
                  <a:gd name="connsiteY3" fmla="*/ 13115 h 13114"/>
                </a:gdLst>
                <a:ahLst/>
                <a:cxnLst>
                  <a:cxn ang="0">
                    <a:pos x="connsiteX0" y="connsiteY0"/>
                  </a:cxn>
                  <a:cxn ang="0">
                    <a:pos x="connsiteX1" y="connsiteY1"/>
                  </a:cxn>
                  <a:cxn ang="0">
                    <a:pos x="connsiteX2" y="connsiteY2"/>
                  </a:cxn>
                  <a:cxn ang="0">
                    <a:pos x="connsiteX3" y="connsiteY3"/>
                  </a:cxn>
                </a:cxnLst>
                <a:rect l="l" t="t" r="r" b="b"/>
                <a:pathLst>
                  <a:path w="45888" h="13114">
                    <a:moveTo>
                      <a:pt x="0" y="0"/>
                    </a:moveTo>
                    <a:lnTo>
                      <a:pt x="45888" y="0"/>
                    </a:lnTo>
                    <a:lnTo>
                      <a:pt x="45888"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19" name="Freihandform: Form 923">
                <a:extLst>
                  <a:ext uri="{FF2B5EF4-FFF2-40B4-BE49-F238E27FC236}">
                    <a16:creationId xmlns:a16="http://schemas.microsoft.com/office/drawing/2014/main" id="{F8C9C888-7788-4E8F-969D-6DAEF92F6D78}"/>
                  </a:ext>
                </a:extLst>
              </p:cNvPr>
              <p:cNvSpPr/>
              <p:nvPr/>
            </p:nvSpPr>
            <p:spPr>
              <a:xfrm>
                <a:off x="7166554" y="2734540"/>
                <a:ext cx="157297" cy="13114"/>
              </a:xfrm>
              <a:custGeom>
                <a:avLst/>
                <a:gdLst>
                  <a:gd name="connsiteX0" fmla="*/ 0 w 157297"/>
                  <a:gd name="connsiteY0" fmla="*/ 0 h 13114"/>
                  <a:gd name="connsiteX1" fmla="*/ 157298 w 157297"/>
                  <a:gd name="connsiteY1" fmla="*/ 0 h 13114"/>
                  <a:gd name="connsiteX2" fmla="*/ 157298 w 157297"/>
                  <a:gd name="connsiteY2" fmla="*/ 13115 h 13114"/>
                  <a:gd name="connsiteX3" fmla="*/ 0 w 157297"/>
                  <a:gd name="connsiteY3" fmla="*/ 13115 h 13114"/>
                </a:gdLst>
                <a:ahLst/>
                <a:cxnLst>
                  <a:cxn ang="0">
                    <a:pos x="connsiteX0" y="connsiteY0"/>
                  </a:cxn>
                  <a:cxn ang="0">
                    <a:pos x="connsiteX1" y="connsiteY1"/>
                  </a:cxn>
                  <a:cxn ang="0">
                    <a:pos x="connsiteX2" y="connsiteY2"/>
                  </a:cxn>
                  <a:cxn ang="0">
                    <a:pos x="connsiteX3" y="connsiteY3"/>
                  </a:cxn>
                </a:cxnLst>
                <a:rect l="l" t="t" r="r" b="b"/>
                <a:pathLst>
                  <a:path w="157297" h="13114">
                    <a:moveTo>
                      <a:pt x="0" y="0"/>
                    </a:moveTo>
                    <a:lnTo>
                      <a:pt x="157298" y="0"/>
                    </a:lnTo>
                    <a:lnTo>
                      <a:pt x="157298"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20" name="Freihandform: Form 924">
                <a:extLst>
                  <a:ext uri="{FF2B5EF4-FFF2-40B4-BE49-F238E27FC236}">
                    <a16:creationId xmlns:a16="http://schemas.microsoft.com/office/drawing/2014/main" id="{E82F4DF7-BD88-405F-9EDB-8B20414662AB}"/>
                  </a:ext>
                </a:extLst>
              </p:cNvPr>
              <p:cNvSpPr/>
              <p:nvPr/>
            </p:nvSpPr>
            <p:spPr>
              <a:xfrm>
                <a:off x="7166554" y="2773858"/>
                <a:ext cx="144182" cy="13114"/>
              </a:xfrm>
              <a:custGeom>
                <a:avLst/>
                <a:gdLst>
                  <a:gd name="connsiteX0" fmla="*/ 0 w 144182"/>
                  <a:gd name="connsiteY0" fmla="*/ 0 h 13114"/>
                  <a:gd name="connsiteX1" fmla="*/ 144183 w 144182"/>
                  <a:gd name="connsiteY1" fmla="*/ 0 h 13114"/>
                  <a:gd name="connsiteX2" fmla="*/ 144183 w 144182"/>
                  <a:gd name="connsiteY2" fmla="*/ 13115 h 13114"/>
                  <a:gd name="connsiteX3" fmla="*/ 0 w 144182"/>
                  <a:gd name="connsiteY3" fmla="*/ 13115 h 13114"/>
                </a:gdLst>
                <a:ahLst/>
                <a:cxnLst>
                  <a:cxn ang="0">
                    <a:pos x="connsiteX0" y="connsiteY0"/>
                  </a:cxn>
                  <a:cxn ang="0">
                    <a:pos x="connsiteX1" y="connsiteY1"/>
                  </a:cxn>
                  <a:cxn ang="0">
                    <a:pos x="connsiteX2" y="connsiteY2"/>
                  </a:cxn>
                  <a:cxn ang="0">
                    <a:pos x="connsiteX3" y="connsiteY3"/>
                  </a:cxn>
                </a:cxnLst>
                <a:rect l="l" t="t" r="r" b="b"/>
                <a:pathLst>
                  <a:path w="144182" h="13114">
                    <a:moveTo>
                      <a:pt x="0" y="0"/>
                    </a:moveTo>
                    <a:lnTo>
                      <a:pt x="144183" y="0"/>
                    </a:lnTo>
                    <a:lnTo>
                      <a:pt x="144183" y="13115"/>
                    </a:lnTo>
                    <a:lnTo>
                      <a:pt x="0" y="13115"/>
                    </a:lnTo>
                    <a:close/>
                  </a:path>
                </a:pathLst>
              </a:custGeom>
              <a:solidFill>
                <a:schemeClr val="tx2"/>
              </a:solidFill>
              <a:ln w="2584" cap="flat">
                <a:noFill/>
                <a:prstDash val="solid"/>
                <a:miter/>
              </a:ln>
            </p:spPr>
            <p:txBody>
              <a:bodyPr rtlCol="0" anchor="ctr"/>
              <a:lstStyle/>
              <a:p>
                <a:endParaRPr lang="en-GB" dirty="0"/>
              </a:p>
            </p:txBody>
          </p:sp>
          <p:sp>
            <p:nvSpPr>
              <p:cNvPr id="121" name="Freihandform: Form 925">
                <a:extLst>
                  <a:ext uri="{FF2B5EF4-FFF2-40B4-BE49-F238E27FC236}">
                    <a16:creationId xmlns:a16="http://schemas.microsoft.com/office/drawing/2014/main" id="{76613383-C60A-457C-9E98-B6AF88B48010}"/>
                  </a:ext>
                </a:extLst>
              </p:cNvPr>
              <p:cNvSpPr/>
              <p:nvPr/>
            </p:nvSpPr>
            <p:spPr>
              <a:xfrm>
                <a:off x="7028942" y="2845949"/>
                <a:ext cx="432497" cy="78661"/>
              </a:xfrm>
              <a:custGeom>
                <a:avLst/>
                <a:gdLst>
                  <a:gd name="connsiteX0" fmla="*/ 425979 w 432497"/>
                  <a:gd name="connsiteY0" fmla="*/ 78662 h 78661"/>
                  <a:gd name="connsiteX1" fmla="*/ 6544 w 432497"/>
                  <a:gd name="connsiteY1" fmla="*/ 78662 h 78661"/>
                  <a:gd name="connsiteX2" fmla="*/ 0 w 432497"/>
                  <a:gd name="connsiteY2" fmla="*/ 72117 h 78661"/>
                  <a:gd name="connsiteX3" fmla="*/ 0 w 432497"/>
                  <a:gd name="connsiteY3" fmla="*/ 6570 h 78661"/>
                  <a:gd name="connsiteX4" fmla="*/ 6544 w 432497"/>
                  <a:gd name="connsiteY4" fmla="*/ 26 h 78661"/>
                  <a:gd name="connsiteX5" fmla="*/ 32748 w 432497"/>
                  <a:gd name="connsiteY5" fmla="*/ 26 h 78661"/>
                  <a:gd name="connsiteX6" fmla="*/ 32748 w 432497"/>
                  <a:gd name="connsiteY6" fmla="*/ 13141 h 78661"/>
                  <a:gd name="connsiteX7" fmla="*/ 13089 w 432497"/>
                  <a:gd name="connsiteY7" fmla="*/ 13141 h 78661"/>
                  <a:gd name="connsiteX8" fmla="*/ 13089 w 432497"/>
                  <a:gd name="connsiteY8" fmla="*/ 65573 h 78661"/>
                  <a:gd name="connsiteX9" fmla="*/ 419408 w 432497"/>
                  <a:gd name="connsiteY9" fmla="*/ 65573 h 78661"/>
                  <a:gd name="connsiteX10" fmla="*/ 419408 w 432497"/>
                  <a:gd name="connsiteY10" fmla="*/ 13115 h 78661"/>
                  <a:gd name="connsiteX11" fmla="*/ 406294 w 432497"/>
                  <a:gd name="connsiteY11" fmla="*/ 13115 h 78661"/>
                  <a:gd name="connsiteX12" fmla="*/ 406294 w 432497"/>
                  <a:gd name="connsiteY12" fmla="*/ 0 h 78661"/>
                  <a:gd name="connsiteX13" fmla="*/ 425953 w 432497"/>
                  <a:gd name="connsiteY13" fmla="*/ 0 h 78661"/>
                  <a:gd name="connsiteX14" fmla="*/ 432497 w 432497"/>
                  <a:gd name="connsiteY14" fmla="*/ 6544 h 78661"/>
                  <a:gd name="connsiteX15" fmla="*/ 432497 w 432497"/>
                  <a:gd name="connsiteY15" fmla="*/ 72092 h 78661"/>
                  <a:gd name="connsiteX16" fmla="*/ 425979 w 432497"/>
                  <a:gd name="connsiteY16" fmla="*/ 78662 h 78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2497" h="78661">
                    <a:moveTo>
                      <a:pt x="425979" y="78662"/>
                    </a:moveTo>
                    <a:lnTo>
                      <a:pt x="6544" y="78662"/>
                    </a:lnTo>
                    <a:cubicBezTo>
                      <a:pt x="2923" y="78662"/>
                      <a:pt x="0" y="75739"/>
                      <a:pt x="0" y="72117"/>
                    </a:cubicBezTo>
                    <a:lnTo>
                      <a:pt x="0" y="6570"/>
                    </a:lnTo>
                    <a:cubicBezTo>
                      <a:pt x="0" y="2949"/>
                      <a:pt x="2923" y="26"/>
                      <a:pt x="6544" y="26"/>
                    </a:cubicBezTo>
                    <a:lnTo>
                      <a:pt x="32748" y="26"/>
                    </a:lnTo>
                    <a:lnTo>
                      <a:pt x="32748" y="13141"/>
                    </a:lnTo>
                    <a:lnTo>
                      <a:pt x="13089" y="13141"/>
                    </a:lnTo>
                    <a:lnTo>
                      <a:pt x="13089" y="65573"/>
                    </a:lnTo>
                    <a:lnTo>
                      <a:pt x="419408" y="65573"/>
                    </a:lnTo>
                    <a:lnTo>
                      <a:pt x="419408" y="13115"/>
                    </a:lnTo>
                    <a:lnTo>
                      <a:pt x="406294" y="13115"/>
                    </a:lnTo>
                    <a:lnTo>
                      <a:pt x="406294" y="0"/>
                    </a:lnTo>
                    <a:lnTo>
                      <a:pt x="425953" y="0"/>
                    </a:lnTo>
                    <a:cubicBezTo>
                      <a:pt x="429574" y="0"/>
                      <a:pt x="432497" y="2923"/>
                      <a:pt x="432497" y="6544"/>
                    </a:cubicBezTo>
                    <a:lnTo>
                      <a:pt x="432497" y="72092"/>
                    </a:lnTo>
                    <a:cubicBezTo>
                      <a:pt x="432523" y="75713"/>
                      <a:pt x="429600" y="78662"/>
                      <a:pt x="425979" y="78662"/>
                    </a:cubicBezTo>
                    <a:close/>
                  </a:path>
                </a:pathLst>
              </a:custGeom>
              <a:solidFill>
                <a:schemeClr val="tx2"/>
              </a:solidFill>
              <a:ln w="2584" cap="flat">
                <a:noFill/>
                <a:prstDash val="solid"/>
                <a:miter/>
              </a:ln>
            </p:spPr>
            <p:txBody>
              <a:bodyPr rtlCol="0" anchor="ctr"/>
              <a:lstStyle/>
              <a:p>
                <a:endParaRPr lang="en-GB" dirty="0"/>
              </a:p>
            </p:txBody>
          </p:sp>
        </p:grpSp>
      </p:grpSp>
      <p:grpSp>
        <p:nvGrpSpPr>
          <p:cNvPr id="10" name="Group 9">
            <a:extLst>
              <a:ext uri="{FF2B5EF4-FFF2-40B4-BE49-F238E27FC236}">
                <a16:creationId xmlns:a16="http://schemas.microsoft.com/office/drawing/2014/main" id="{BA2B10FB-CD87-4F0D-8571-9DDCDE71004D}"/>
              </a:ext>
            </a:extLst>
          </p:cNvPr>
          <p:cNvGrpSpPr/>
          <p:nvPr/>
        </p:nvGrpSpPr>
        <p:grpSpPr>
          <a:xfrm>
            <a:off x="3825675" y="2412632"/>
            <a:ext cx="263354" cy="389788"/>
            <a:chOff x="3825675" y="2412632"/>
            <a:chExt cx="263354" cy="389788"/>
          </a:xfrm>
        </p:grpSpPr>
        <p:grpSp>
          <p:nvGrpSpPr>
            <p:cNvPr id="132" name="Group 131">
              <a:extLst>
                <a:ext uri="{FF2B5EF4-FFF2-40B4-BE49-F238E27FC236}">
                  <a16:creationId xmlns:a16="http://schemas.microsoft.com/office/drawing/2014/main" id="{5FC1B410-0A77-42B8-BD42-3D223FB61999}"/>
                </a:ext>
              </a:extLst>
            </p:cNvPr>
            <p:cNvGrpSpPr/>
            <p:nvPr/>
          </p:nvGrpSpPr>
          <p:grpSpPr>
            <a:xfrm>
              <a:off x="3825675" y="2412632"/>
              <a:ext cx="263354" cy="389788"/>
              <a:chOff x="7906535" y="1626743"/>
              <a:chExt cx="327889" cy="485305"/>
            </a:xfrm>
          </p:grpSpPr>
          <p:sp>
            <p:nvSpPr>
              <p:cNvPr id="138" name="Freihandform: Form 871">
                <a:extLst>
                  <a:ext uri="{FF2B5EF4-FFF2-40B4-BE49-F238E27FC236}">
                    <a16:creationId xmlns:a16="http://schemas.microsoft.com/office/drawing/2014/main" id="{4A642C12-1C38-42AA-B4F0-59CAF478CEE3}"/>
                  </a:ext>
                </a:extLst>
              </p:cNvPr>
              <p:cNvSpPr/>
              <p:nvPr/>
            </p:nvSpPr>
            <p:spPr>
              <a:xfrm>
                <a:off x="7906535" y="1626743"/>
                <a:ext cx="327889" cy="362437"/>
              </a:xfrm>
              <a:custGeom>
                <a:avLst/>
                <a:gdLst>
                  <a:gd name="connsiteX0" fmla="*/ 239527 w 327889"/>
                  <a:gd name="connsiteY0" fmla="*/ 362438 h 362437"/>
                  <a:gd name="connsiteX1" fmla="*/ 232983 w 327889"/>
                  <a:gd name="connsiteY1" fmla="*/ 355919 h 362437"/>
                  <a:gd name="connsiteX2" fmla="*/ 232932 w 327889"/>
                  <a:gd name="connsiteY2" fmla="*/ 346323 h 362437"/>
                  <a:gd name="connsiteX3" fmla="*/ 232983 w 327889"/>
                  <a:gd name="connsiteY3" fmla="*/ 345417 h 362437"/>
                  <a:gd name="connsiteX4" fmla="*/ 270904 w 327889"/>
                  <a:gd name="connsiteY4" fmla="*/ 270274 h 362437"/>
                  <a:gd name="connsiteX5" fmla="*/ 314775 w 327889"/>
                  <a:gd name="connsiteY5" fmla="*/ 163960 h 362437"/>
                  <a:gd name="connsiteX6" fmla="*/ 264463 w 327889"/>
                  <a:gd name="connsiteY6" fmla="*/ 51490 h 362437"/>
                  <a:gd name="connsiteX7" fmla="*/ 146510 w 327889"/>
                  <a:gd name="connsiteY7" fmla="*/ 14086 h 362437"/>
                  <a:gd name="connsiteX8" fmla="*/ 14277 w 327889"/>
                  <a:gd name="connsiteY8" fmla="*/ 144715 h 362437"/>
                  <a:gd name="connsiteX9" fmla="*/ 59312 w 327889"/>
                  <a:gd name="connsiteY9" fmla="*/ 272576 h 362437"/>
                  <a:gd name="connsiteX10" fmla="*/ 95681 w 327889"/>
                  <a:gd name="connsiteY10" fmla="*/ 353048 h 362437"/>
                  <a:gd name="connsiteX11" fmla="*/ 89550 w 327889"/>
                  <a:gd name="connsiteY11" fmla="*/ 360006 h 362437"/>
                  <a:gd name="connsiteX12" fmla="*/ 82618 w 327889"/>
                  <a:gd name="connsiteY12" fmla="*/ 353876 h 362437"/>
                  <a:gd name="connsiteX13" fmla="*/ 50232 w 327889"/>
                  <a:gd name="connsiteY13" fmla="*/ 282043 h 362437"/>
                  <a:gd name="connsiteX14" fmla="*/ 1292 w 327889"/>
                  <a:gd name="connsiteY14" fmla="*/ 143137 h 362437"/>
                  <a:gd name="connsiteX15" fmla="*/ 145061 w 327889"/>
                  <a:gd name="connsiteY15" fmla="*/ 1075 h 362437"/>
                  <a:gd name="connsiteX16" fmla="*/ 273206 w 327889"/>
                  <a:gd name="connsiteY16" fmla="*/ 41712 h 362437"/>
                  <a:gd name="connsiteX17" fmla="*/ 327889 w 327889"/>
                  <a:gd name="connsiteY17" fmla="*/ 163960 h 362437"/>
                  <a:gd name="connsiteX18" fmla="*/ 280190 w 327889"/>
                  <a:gd name="connsiteY18" fmla="*/ 279534 h 362437"/>
                  <a:gd name="connsiteX19" fmla="*/ 246020 w 327889"/>
                  <a:gd name="connsiteY19" fmla="*/ 346711 h 362437"/>
                  <a:gd name="connsiteX20" fmla="*/ 246072 w 327889"/>
                  <a:gd name="connsiteY20" fmla="*/ 355842 h 362437"/>
                  <a:gd name="connsiteX21" fmla="*/ 239553 w 327889"/>
                  <a:gd name="connsiteY21" fmla="*/ 362438 h 362437"/>
                  <a:gd name="connsiteX22" fmla="*/ 239527 w 327889"/>
                  <a:gd name="connsiteY22" fmla="*/ 362438 h 36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27889" h="362437">
                    <a:moveTo>
                      <a:pt x="239527" y="362438"/>
                    </a:moveTo>
                    <a:cubicBezTo>
                      <a:pt x="235932" y="362438"/>
                      <a:pt x="233009" y="359541"/>
                      <a:pt x="232983" y="355919"/>
                    </a:cubicBezTo>
                    <a:lnTo>
                      <a:pt x="232932" y="346323"/>
                    </a:lnTo>
                    <a:cubicBezTo>
                      <a:pt x="232932" y="346012"/>
                      <a:pt x="232957" y="345728"/>
                      <a:pt x="232983" y="345417"/>
                    </a:cubicBezTo>
                    <a:cubicBezTo>
                      <a:pt x="236656" y="317507"/>
                      <a:pt x="249771" y="291536"/>
                      <a:pt x="270904" y="270274"/>
                    </a:cubicBezTo>
                    <a:cubicBezTo>
                      <a:pt x="299203" y="241820"/>
                      <a:pt x="314775" y="204054"/>
                      <a:pt x="314775" y="163960"/>
                    </a:cubicBezTo>
                    <a:cubicBezTo>
                      <a:pt x="314775" y="121098"/>
                      <a:pt x="296435" y="80099"/>
                      <a:pt x="264463" y="51490"/>
                    </a:cubicBezTo>
                    <a:cubicBezTo>
                      <a:pt x="232052" y="22493"/>
                      <a:pt x="190147" y="9223"/>
                      <a:pt x="146510" y="14086"/>
                    </a:cubicBezTo>
                    <a:cubicBezTo>
                      <a:pt x="78298" y="21717"/>
                      <a:pt x="22684" y="76659"/>
                      <a:pt x="14277" y="144715"/>
                    </a:cubicBezTo>
                    <a:cubicBezTo>
                      <a:pt x="8354" y="192698"/>
                      <a:pt x="24779" y="239311"/>
                      <a:pt x="59312" y="272576"/>
                    </a:cubicBezTo>
                    <a:cubicBezTo>
                      <a:pt x="80833" y="293295"/>
                      <a:pt x="93741" y="321878"/>
                      <a:pt x="95681" y="353048"/>
                    </a:cubicBezTo>
                    <a:cubicBezTo>
                      <a:pt x="95913" y="356670"/>
                      <a:pt x="93172" y="359774"/>
                      <a:pt x="89550" y="360006"/>
                    </a:cubicBezTo>
                    <a:cubicBezTo>
                      <a:pt x="86007" y="360291"/>
                      <a:pt x="82825" y="357471"/>
                      <a:pt x="82618" y="353876"/>
                    </a:cubicBezTo>
                    <a:cubicBezTo>
                      <a:pt x="80885" y="325991"/>
                      <a:pt x="69400" y="300486"/>
                      <a:pt x="50232" y="282043"/>
                    </a:cubicBezTo>
                    <a:cubicBezTo>
                      <a:pt x="12699" y="245907"/>
                      <a:pt x="-5149" y="195259"/>
                      <a:pt x="1292" y="143137"/>
                    </a:cubicBezTo>
                    <a:cubicBezTo>
                      <a:pt x="10423" y="69131"/>
                      <a:pt x="70874" y="9378"/>
                      <a:pt x="145061" y="1075"/>
                    </a:cubicBezTo>
                    <a:cubicBezTo>
                      <a:pt x="192450" y="-4228"/>
                      <a:pt x="237975" y="10206"/>
                      <a:pt x="273206" y="41712"/>
                    </a:cubicBezTo>
                    <a:cubicBezTo>
                      <a:pt x="307972" y="72804"/>
                      <a:pt x="327889" y="117348"/>
                      <a:pt x="327889" y="163960"/>
                    </a:cubicBezTo>
                    <a:cubicBezTo>
                      <a:pt x="327889" y="207546"/>
                      <a:pt x="310946" y="248597"/>
                      <a:pt x="280190" y="279534"/>
                    </a:cubicBezTo>
                    <a:cubicBezTo>
                      <a:pt x="261204" y="298624"/>
                      <a:pt x="249383" y="321852"/>
                      <a:pt x="246020" y="346711"/>
                    </a:cubicBezTo>
                    <a:lnTo>
                      <a:pt x="246072" y="355842"/>
                    </a:lnTo>
                    <a:cubicBezTo>
                      <a:pt x="246098" y="359463"/>
                      <a:pt x="243175" y="362412"/>
                      <a:pt x="239553" y="362438"/>
                    </a:cubicBezTo>
                    <a:cubicBezTo>
                      <a:pt x="239579" y="362438"/>
                      <a:pt x="239553" y="362438"/>
                      <a:pt x="239527" y="362438"/>
                    </a:cubicBezTo>
                    <a:close/>
                  </a:path>
                </a:pathLst>
              </a:custGeom>
              <a:solidFill>
                <a:schemeClr val="tx2"/>
              </a:solidFill>
              <a:ln w="2584" cap="flat">
                <a:noFill/>
                <a:prstDash val="solid"/>
                <a:miter/>
              </a:ln>
            </p:spPr>
            <p:txBody>
              <a:bodyPr rtlCol="0" anchor="ctr"/>
              <a:lstStyle/>
              <a:p>
                <a:endParaRPr lang="en-GB" dirty="0"/>
              </a:p>
            </p:txBody>
          </p:sp>
          <p:sp>
            <p:nvSpPr>
              <p:cNvPr id="139" name="Freihandform: Form 872">
                <a:extLst>
                  <a:ext uri="{FF2B5EF4-FFF2-40B4-BE49-F238E27FC236}">
                    <a16:creationId xmlns:a16="http://schemas.microsoft.com/office/drawing/2014/main" id="{2F3A8440-F75F-427B-953C-D67A712E7796}"/>
                  </a:ext>
                </a:extLst>
              </p:cNvPr>
              <p:cNvSpPr/>
              <p:nvPr/>
            </p:nvSpPr>
            <p:spPr>
              <a:xfrm>
                <a:off x="8006613" y="2069420"/>
                <a:ext cx="127679" cy="42628"/>
              </a:xfrm>
              <a:custGeom>
                <a:avLst/>
                <a:gdLst>
                  <a:gd name="connsiteX0" fmla="*/ 105279 w 127679"/>
                  <a:gd name="connsiteY0" fmla="*/ 42629 h 42628"/>
                  <a:gd name="connsiteX1" fmla="*/ 22452 w 127679"/>
                  <a:gd name="connsiteY1" fmla="*/ 42629 h 42628"/>
                  <a:gd name="connsiteX2" fmla="*/ 16581 w 127679"/>
                  <a:gd name="connsiteY2" fmla="*/ 39008 h 42628"/>
                  <a:gd name="connsiteX3" fmla="*/ 0 w 127679"/>
                  <a:gd name="connsiteY3" fmla="*/ 5872 h 42628"/>
                  <a:gd name="connsiteX4" fmla="*/ 11718 w 127679"/>
                  <a:gd name="connsiteY4" fmla="*/ 0 h 42628"/>
                  <a:gd name="connsiteX5" fmla="*/ 26488 w 127679"/>
                  <a:gd name="connsiteY5" fmla="*/ 29514 h 42628"/>
                  <a:gd name="connsiteX6" fmla="*/ 101217 w 127679"/>
                  <a:gd name="connsiteY6" fmla="*/ 29514 h 42628"/>
                  <a:gd name="connsiteX7" fmla="*/ 115962 w 127679"/>
                  <a:gd name="connsiteY7" fmla="*/ 0 h 42628"/>
                  <a:gd name="connsiteX8" fmla="*/ 127680 w 127679"/>
                  <a:gd name="connsiteY8" fmla="*/ 5872 h 42628"/>
                  <a:gd name="connsiteX9" fmla="*/ 111125 w 127679"/>
                  <a:gd name="connsiteY9" fmla="*/ 39008 h 42628"/>
                  <a:gd name="connsiteX10" fmla="*/ 105279 w 127679"/>
                  <a:gd name="connsiteY10" fmla="*/ 42629 h 42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679" h="42628">
                    <a:moveTo>
                      <a:pt x="105279" y="42629"/>
                    </a:moveTo>
                    <a:lnTo>
                      <a:pt x="22452" y="42629"/>
                    </a:lnTo>
                    <a:cubicBezTo>
                      <a:pt x="19969" y="42629"/>
                      <a:pt x="17693" y="41232"/>
                      <a:pt x="16581" y="39008"/>
                    </a:cubicBezTo>
                    <a:lnTo>
                      <a:pt x="0" y="5872"/>
                    </a:lnTo>
                    <a:lnTo>
                      <a:pt x="11718" y="0"/>
                    </a:lnTo>
                    <a:lnTo>
                      <a:pt x="26488" y="29514"/>
                    </a:lnTo>
                    <a:lnTo>
                      <a:pt x="101217" y="29514"/>
                    </a:lnTo>
                    <a:lnTo>
                      <a:pt x="115962" y="0"/>
                    </a:lnTo>
                    <a:lnTo>
                      <a:pt x="127680" y="5872"/>
                    </a:lnTo>
                    <a:lnTo>
                      <a:pt x="111125" y="39008"/>
                    </a:lnTo>
                    <a:cubicBezTo>
                      <a:pt x="110038" y="41232"/>
                      <a:pt x="107762" y="42629"/>
                      <a:pt x="105279" y="42629"/>
                    </a:cubicBezTo>
                    <a:close/>
                  </a:path>
                </a:pathLst>
              </a:custGeom>
              <a:solidFill>
                <a:schemeClr val="tx2"/>
              </a:solidFill>
              <a:ln w="2584" cap="flat">
                <a:noFill/>
                <a:prstDash val="solid"/>
                <a:miter/>
              </a:ln>
            </p:spPr>
            <p:txBody>
              <a:bodyPr rtlCol="0" anchor="ctr"/>
              <a:lstStyle/>
              <a:p>
                <a:endParaRPr lang="en-GB" dirty="0"/>
              </a:p>
            </p:txBody>
          </p:sp>
          <p:sp>
            <p:nvSpPr>
              <p:cNvPr id="140" name="Freihandform: Form 873">
                <a:extLst>
                  <a:ext uri="{FF2B5EF4-FFF2-40B4-BE49-F238E27FC236}">
                    <a16:creationId xmlns:a16="http://schemas.microsoft.com/office/drawing/2014/main" id="{2E1AA8FA-0633-49A5-9746-F8168CB2D81A}"/>
                  </a:ext>
                </a:extLst>
              </p:cNvPr>
              <p:cNvSpPr/>
              <p:nvPr/>
            </p:nvSpPr>
            <p:spPr>
              <a:xfrm>
                <a:off x="7989385" y="2016134"/>
                <a:ext cx="162186" cy="62779"/>
              </a:xfrm>
              <a:custGeom>
                <a:avLst/>
                <a:gdLst>
                  <a:gd name="connsiteX0" fmla="*/ 155642 w 162186"/>
                  <a:gd name="connsiteY0" fmla="*/ 62779 h 62779"/>
                  <a:gd name="connsiteX1" fmla="*/ 6544 w 162186"/>
                  <a:gd name="connsiteY1" fmla="*/ 62779 h 62779"/>
                  <a:gd name="connsiteX2" fmla="*/ 0 w 162186"/>
                  <a:gd name="connsiteY2" fmla="*/ 56235 h 62779"/>
                  <a:gd name="connsiteX3" fmla="*/ 0 w 162186"/>
                  <a:gd name="connsiteY3" fmla="*/ 6544 h 62779"/>
                  <a:gd name="connsiteX4" fmla="*/ 6544 w 162186"/>
                  <a:gd name="connsiteY4" fmla="*/ 0 h 62779"/>
                  <a:gd name="connsiteX5" fmla="*/ 13089 w 162186"/>
                  <a:gd name="connsiteY5" fmla="*/ 6544 h 62779"/>
                  <a:gd name="connsiteX6" fmla="*/ 13089 w 162186"/>
                  <a:gd name="connsiteY6" fmla="*/ 49691 h 62779"/>
                  <a:gd name="connsiteX7" fmla="*/ 149098 w 162186"/>
                  <a:gd name="connsiteY7" fmla="*/ 49691 h 62779"/>
                  <a:gd name="connsiteX8" fmla="*/ 149098 w 162186"/>
                  <a:gd name="connsiteY8" fmla="*/ 6544 h 62779"/>
                  <a:gd name="connsiteX9" fmla="*/ 155642 w 162186"/>
                  <a:gd name="connsiteY9" fmla="*/ 0 h 62779"/>
                  <a:gd name="connsiteX10" fmla="*/ 162186 w 162186"/>
                  <a:gd name="connsiteY10" fmla="*/ 6544 h 62779"/>
                  <a:gd name="connsiteX11" fmla="*/ 162186 w 162186"/>
                  <a:gd name="connsiteY11" fmla="*/ 56235 h 62779"/>
                  <a:gd name="connsiteX12" fmla="*/ 155642 w 162186"/>
                  <a:gd name="connsiteY12" fmla="*/ 62779 h 62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2186" h="62779">
                    <a:moveTo>
                      <a:pt x="155642" y="62779"/>
                    </a:moveTo>
                    <a:lnTo>
                      <a:pt x="6544" y="62779"/>
                    </a:lnTo>
                    <a:cubicBezTo>
                      <a:pt x="2923" y="62779"/>
                      <a:pt x="0" y="59856"/>
                      <a:pt x="0" y="56235"/>
                    </a:cubicBezTo>
                    <a:lnTo>
                      <a:pt x="0" y="6544"/>
                    </a:lnTo>
                    <a:cubicBezTo>
                      <a:pt x="0" y="2923"/>
                      <a:pt x="2923" y="0"/>
                      <a:pt x="6544" y="0"/>
                    </a:cubicBezTo>
                    <a:cubicBezTo>
                      <a:pt x="10166" y="0"/>
                      <a:pt x="13089" y="2923"/>
                      <a:pt x="13089" y="6544"/>
                    </a:cubicBezTo>
                    <a:lnTo>
                      <a:pt x="13089" y="49691"/>
                    </a:lnTo>
                    <a:lnTo>
                      <a:pt x="149098" y="49691"/>
                    </a:lnTo>
                    <a:lnTo>
                      <a:pt x="149098" y="6544"/>
                    </a:lnTo>
                    <a:cubicBezTo>
                      <a:pt x="149098" y="2923"/>
                      <a:pt x="152021" y="0"/>
                      <a:pt x="155642" y="0"/>
                    </a:cubicBezTo>
                    <a:cubicBezTo>
                      <a:pt x="159263" y="0"/>
                      <a:pt x="162186" y="2923"/>
                      <a:pt x="162186" y="6544"/>
                    </a:cubicBezTo>
                    <a:lnTo>
                      <a:pt x="162186" y="56235"/>
                    </a:lnTo>
                    <a:cubicBezTo>
                      <a:pt x="162212" y="59856"/>
                      <a:pt x="159263" y="62779"/>
                      <a:pt x="155642" y="62779"/>
                    </a:cubicBezTo>
                    <a:close/>
                  </a:path>
                </a:pathLst>
              </a:custGeom>
              <a:solidFill>
                <a:schemeClr val="tx2"/>
              </a:solidFill>
              <a:ln w="2584" cap="flat">
                <a:noFill/>
                <a:prstDash val="solid"/>
                <a:miter/>
              </a:ln>
            </p:spPr>
            <p:txBody>
              <a:bodyPr rtlCol="0" anchor="ctr"/>
              <a:lstStyle/>
              <a:p>
                <a:endParaRPr lang="en-GB" dirty="0"/>
              </a:p>
            </p:txBody>
          </p:sp>
        </p:grpSp>
        <p:grpSp>
          <p:nvGrpSpPr>
            <p:cNvPr id="133" name="Group 132">
              <a:extLst>
                <a:ext uri="{FF2B5EF4-FFF2-40B4-BE49-F238E27FC236}">
                  <a16:creationId xmlns:a16="http://schemas.microsoft.com/office/drawing/2014/main" id="{E2D713FF-D8ED-468C-8F6C-6305C6EB4063}"/>
                </a:ext>
              </a:extLst>
            </p:cNvPr>
            <p:cNvGrpSpPr/>
            <p:nvPr/>
          </p:nvGrpSpPr>
          <p:grpSpPr>
            <a:xfrm>
              <a:off x="3889310" y="2497035"/>
              <a:ext cx="142107" cy="221077"/>
              <a:chOff x="7985764" y="1731829"/>
              <a:chExt cx="176930" cy="275251"/>
            </a:xfrm>
          </p:grpSpPr>
          <p:sp>
            <p:nvSpPr>
              <p:cNvPr id="134" name="Freihandform: Form 875">
                <a:extLst>
                  <a:ext uri="{FF2B5EF4-FFF2-40B4-BE49-F238E27FC236}">
                    <a16:creationId xmlns:a16="http://schemas.microsoft.com/office/drawing/2014/main" id="{EA532DC5-7C08-4EDE-9990-1491FEF3F77A}"/>
                  </a:ext>
                </a:extLst>
              </p:cNvPr>
              <p:cNvSpPr/>
              <p:nvPr/>
            </p:nvSpPr>
            <p:spPr>
              <a:xfrm>
                <a:off x="8038197" y="1803921"/>
                <a:ext cx="65521" cy="203159"/>
              </a:xfrm>
              <a:custGeom>
                <a:avLst/>
                <a:gdLst>
                  <a:gd name="connsiteX0" fmla="*/ 58977 w 65521"/>
                  <a:gd name="connsiteY0" fmla="*/ 203160 h 203159"/>
                  <a:gd name="connsiteX1" fmla="*/ 6544 w 65521"/>
                  <a:gd name="connsiteY1" fmla="*/ 203160 h 203159"/>
                  <a:gd name="connsiteX2" fmla="*/ 0 w 65521"/>
                  <a:gd name="connsiteY2" fmla="*/ 196615 h 203159"/>
                  <a:gd name="connsiteX3" fmla="*/ 0 w 65521"/>
                  <a:gd name="connsiteY3" fmla="*/ 6544 h 203159"/>
                  <a:gd name="connsiteX4" fmla="*/ 6544 w 65521"/>
                  <a:gd name="connsiteY4" fmla="*/ 0 h 203159"/>
                  <a:gd name="connsiteX5" fmla="*/ 58977 w 65521"/>
                  <a:gd name="connsiteY5" fmla="*/ 0 h 203159"/>
                  <a:gd name="connsiteX6" fmla="*/ 65521 w 65521"/>
                  <a:gd name="connsiteY6" fmla="*/ 6544 h 203159"/>
                  <a:gd name="connsiteX7" fmla="*/ 65521 w 65521"/>
                  <a:gd name="connsiteY7" fmla="*/ 196590 h 203159"/>
                  <a:gd name="connsiteX8" fmla="*/ 58977 w 65521"/>
                  <a:gd name="connsiteY8" fmla="*/ 203160 h 203159"/>
                  <a:gd name="connsiteX9" fmla="*/ 13114 w 65521"/>
                  <a:gd name="connsiteY9" fmla="*/ 190045 h 203159"/>
                  <a:gd name="connsiteX10" fmla="*/ 52433 w 65521"/>
                  <a:gd name="connsiteY10" fmla="*/ 190045 h 203159"/>
                  <a:gd name="connsiteX11" fmla="*/ 52433 w 65521"/>
                  <a:gd name="connsiteY11" fmla="*/ 13115 h 203159"/>
                  <a:gd name="connsiteX12" fmla="*/ 13114 w 65521"/>
                  <a:gd name="connsiteY12" fmla="*/ 13115 h 203159"/>
                  <a:gd name="connsiteX13" fmla="*/ 13114 w 65521"/>
                  <a:gd name="connsiteY13" fmla="*/ 190045 h 20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521" h="203159">
                    <a:moveTo>
                      <a:pt x="58977" y="203160"/>
                    </a:moveTo>
                    <a:lnTo>
                      <a:pt x="6544" y="203160"/>
                    </a:lnTo>
                    <a:cubicBezTo>
                      <a:pt x="2923" y="203160"/>
                      <a:pt x="0" y="200237"/>
                      <a:pt x="0" y="196615"/>
                    </a:cubicBezTo>
                    <a:lnTo>
                      <a:pt x="0" y="6544"/>
                    </a:lnTo>
                    <a:cubicBezTo>
                      <a:pt x="0" y="2923"/>
                      <a:pt x="2923" y="0"/>
                      <a:pt x="6544" y="0"/>
                    </a:cubicBezTo>
                    <a:lnTo>
                      <a:pt x="58977" y="0"/>
                    </a:lnTo>
                    <a:cubicBezTo>
                      <a:pt x="62598" y="0"/>
                      <a:pt x="65521" y="2923"/>
                      <a:pt x="65521" y="6544"/>
                    </a:cubicBezTo>
                    <a:lnTo>
                      <a:pt x="65521" y="196590"/>
                    </a:lnTo>
                    <a:cubicBezTo>
                      <a:pt x="65547" y="200237"/>
                      <a:pt x="62598" y="203160"/>
                      <a:pt x="58977" y="203160"/>
                    </a:cubicBezTo>
                    <a:close/>
                    <a:moveTo>
                      <a:pt x="13114" y="190045"/>
                    </a:moveTo>
                    <a:lnTo>
                      <a:pt x="52433" y="190045"/>
                    </a:lnTo>
                    <a:lnTo>
                      <a:pt x="52433" y="13115"/>
                    </a:lnTo>
                    <a:lnTo>
                      <a:pt x="13114" y="13115"/>
                    </a:lnTo>
                    <a:lnTo>
                      <a:pt x="13114" y="190045"/>
                    </a:lnTo>
                    <a:close/>
                  </a:path>
                </a:pathLst>
              </a:custGeom>
              <a:solidFill>
                <a:schemeClr val="accent1"/>
              </a:solidFill>
              <a:ln w="2584" cap="flat">
                <a:noFill/>
                <a:prstDash val="solid"/>
                <a:miter/>
              </a:ln>
            </p:spPr>
            <p:txBody>
              <a:bodyPr rtlCol="0" anchor="ctr"/>
              <a:lstStyle/>
              <a:p>
                <a:endParaRPr lang="en-GB" dirty="0"/>
              </a:p>
            </p:txBody>
          </p:sp>
          <p:sp>
            <p:nvSpPr>
              <p:cNvPr id="135" name="Freihandform: Form 876">
                <a:extLst>
                  <a:ext uri="{FF2B5EF4-FFF2-40B4-BE49-F238E27FC236}">
                    <a16:creationId xmlns:a16="http://schemas.microsoft.com/office/drawing/2014/main" id="{8D9CB789-2AF4-4841-9910-1FFBB79E4439}"/>
                  </a:ext>
                </a:extLst>
              </p:cNvPr>
              <p:cNvSpPr/>
              <p:nvPr/>
            </p:nvSpPr>
            <p:spPr>
              <a:xfrm>
                <a:off x="8090629" y="1731829"/>
                <a:ext cx="72065" cy="203159"/>
              </a:xfrm>
              <a:custGeom>
                <a:avLst/>
                <a:gdLst>
                  <a:gd name="connsiteX0" fmla="*/ 13114 w 72065"/>
                  <a:gd name="connsiteY0" fmla="*/ 203160 h 203159"/>
                  <a:gd name="connsiteX1" fmla="*/ 0 w 72065"/>
                  <a:gd name="connsiteY1" fmla="*/ 203160 h 203159"/>
                  <a:gd name="connsiteX2" fmla="*/ 0 w 72065"/>
                  <a:gd name="connsiteY2" fmla="*/ 6544 h 203159"/>
                  <a:gd name="connsiteX3" fmla="*/ 6544 w 72065"/>
                  <a:gd name="connsiteY3" fmla="*/ 0 h 203159"/>
                  <a:gd name="connsiteX4" fmla="*/ 65521 w 72065"/>
                  <a:gd name="connsiteY4" fmla="*/ 0 h 203159"/>
                  <a:gd name="connsiteX5" fmla="*/ 72066 w 72065"/>
                  <a:gd name="connsiteY5" fmla="*/ 6544 h 203159"/>
                  <a:gd name="connsiteX6" fmla="*/ 72066 w 72065"/>
                  <a:gd name="connsiteY6" fmla="*/ 163842 h 203159"/>
                  <a:gd name="connsiteX7" fmla="*/ 58951 w 72065"/>
                  <a:gd name="connsiteY7" fmla="*/ 163842 h 203159"/>
                  <a:gd name="connsiteX8" fmla="*/ 58951 w 72065"/>
                  <a:gd name="connsiteY8" fmla="*/ 13115 h 203159"/>
                  <a:gd name="connsiteX9" fmla="*/ 13063 w 72065"/>
                  <a:gd name="connsiteY9" fmla="*/ 13115 h 203159"/>
                  <a:gd name="connsiteX10" fmla="*/ 13063 w 72065"/>
                  <a:gd name="connsiteY10" fmla="*/ 203160 h 20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065" h="203159">
                    <a:moveTo>
                      <a:pt x="13114" y="203160"/>
                    </a:moveTo>
                    <a:lnTo>
                      <a:pt x="0" y="203160"/>
                    </a:lnTo>
                    <a:lnTo>
                      <a:pt x="0" y="6544"/>
                    </a:lnTo>
                    <a:cubicBezTo>
                      <a:pt x="0" y="2923"/>
                      <a:pt x="2923" y="0"/>
                      <a:pt x="6544" y="0"/>
                    </a:cubicBezTo>
                    <a:lnTo>
                      <a:pt x="65521" y="0"/>
                    </a:lnTo>
                    <a:cubicBezTo>
                      <a:pt x="69143" y="0"/>
                      <a:pt x="72066" y="2923"/>
                      <a:pt x="72066" y="6544"/>
                    </a:cubicBezTo>
                    <a:lnTo>
                      <a:pt x="72066" y="163842"/>
                    </a:lnTo>
                    <a:lnTo>
                      <a:pt x="58951" y="163842"/>
                    </a:lnTo>
                    <a:lnTo>
                      <a:pt x="58951" y="13115"/>
                    </a:lnTo>
                    <a:lnTo>
                      <a:pt x="13063" y="13115"/>
                    </a:lnTo>
                    <a:lnTo>
                      <a:pt x="13063" y="203160"/>
                    </a:lnTo>
                    <a:close/>
                  </a:path>
                </a:pathLst>
              </a:custGeom>
              <a:solidFill>
                <a:schemeClr val="accent1"/>
              </a:solidFill>
              <a:ln w="2584" cap="flat">
                <a:noFill/>
                <a:prstDash val="solid"/>
                <a:miter/>
              </a:ln>
            </p:spPr>
            <p:txBody>
              <a:bodyPr rtlCol="0" anchor="ctr"/>
              <a:lstStyle/>
              <a:p>
                <a:endParaRPr lang="en-GB" dirty="0"/>
              </a:p>
            </p:txBody>
          </p:sp>
          <p:sp>
            <p:nvSpPr>
              <p:cNvPr id="136" name="Freihandform: Form 877">
                <a:extLst>
                  <a:ext uri="{FF2B5EF4-FFF2-40B4-BE49-F238E27FC236}">
                    <a16:creationId xmlns:a16="http://schemas.microsoft.com/office/drawing/2014/main" id="{0D5560D4-29F9-45EC-B967-7A70C4AEF54A}"/>
                  </a:ext>
                </a:extLst>
              </p:cNvPr>
              <p:cNvSpPr/>
              <p:nvPr/>
            </p:nvSpPr>
            <p:spPr>
              <a:xfrm>
                <a:off x="7985764" y="1876012"/>
                <a:ext cx="65547" cy="124523"/>
              </a:xfrm>
              <a:custGeom>
                <a:avLst/>
                <a:gdLst>
                  <a:gd name="connsiteX0" fmla="*/ 65547 w 65547"/>
                  <a:gd name="connsiteY0" fmla="*/ 124524 h 124523"/>
                  <a:gd name="connsiteX1" fmla="*/ 52433 w 65547"/>
                  <a:gd name="connsiteY1" fmla="*/ 124524 h 124523"/>
                  <a:gd name="connsiteX2" fmla="*/ 52433 w 65547"/>
                  <a:gd name="connsiteY2" fmla="*/ 13115 h 124523"/>
                  <a:gd name="connsiteX3" fmla="*/ 13114 w 65547"/>
                  <a:gd name="connsiteY3" fmla="*/ 13115 h 124523"/>
                  <a:gd name="connsiteX4" fmla="*/ 13114 w 65547"/>
                  <a:gd name="connsiteY4" fmla="*/ 32774 h 124523"/>
                  <a:gd name="connsiteX5" fmla="*/ 0 w 65547"/>
                  <a:gd name="connsiteY5" fmla="*/ 32774 h 124523"/>
                  <a:gd name="connsiteX6" fmla="*/ 0 w 65547"/>
                  <a:gd name="connsiteY6" fmla="*/ 6544 h 124523"/>
                  <a:gd name="connsiteX7" fmla="*/ 6544 w 65547"/>
                  <a:gd name="connsiteY7" fmla="*/ 0 h 124523"/>
                  <a:gd name="connsiteX8" fmla="*/ 58977 w 65547"/>
                  <a:gd name="connsiteY8" fmla="*/ 0 h 124523"/>
                  <a:gd name="connsiteX9" fmla="*/ 65521 w 65547"/>
                  <a:gd name="connsiteY9" fmla="*/ 6544 h 124523"/>
                  <a:gd name="connsiteX10" fmla="*/ 65521 w 65547"/>
                  <a:gd name="connsiteY10" fmla="*/ 124524 h 124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5547" h="124523">
                    <a:moveTo>
                      <a:pt x="65547" y="124524"/>
                    </a:moveTo>
                    <a:lnTo>
                      <a:pt x="52433" y="124524"/>
                    </a:lnTo>
                    <a:lnTo>
                      <a:pt x="52433" y="13115"/>
                    </a:lnTo>
                    <a:lnTo>
                      <a:pt x="13114" y="13115"/>
                    </a:lnTo>
                    <a:lnTo>
                      <a:pt x="13114" y="32774"/>
                    </a:lnTo>
                    <a:lnTo>
                      <a:pt x="0" y="32774"/>
                    </a:lnTo>
                    <a:lnTo>
                      <a:pt x="0" y="6544"/>
                    </a:lnTo>
                    <a:cubicBezTo>
                      <a:pt x="0" y="2923"/>
                      <a:pt x="2923" y="0"/>
                      <a:pt x="6544" y="0"/>
                    </a:cubicBezTo>
                    <a:lnTo>
                      <a:pt x="58977" y="0"/>
                    </a:lnTo>
                    <a:cubicBezTo>
                      <a:pt x="62598" y="0"/>
                      <a:pt x="65521" y="2923"/>
                      <a:pt x="65521" y="6544"/>
                    </a:cubicBezTo>
                    <a:lnTo>
                      <a:pt x="65521" y="124524"/>
                    </a:lnTo>
                    <a:close/>
                  </a:path>
                </a:pathLst>
              </a:custGeom>
              <a:solidFill>
                <a:schemeClr val="accent1"/>
              </a:solidFill>
              <a:ln w="2584" cap="flat">
                <a:noFill/>
                <a:prstDash val="solid"/>
                <a:miter/>
              </a:ln>
            </p:spPr>
            <p:txBody>
              <a:bodyPr rtlCol="0" anchor="ctr"/>
              <a:lstStyle/>
              <a:p>
                <a:endParaRPr lang="en-GB" dirty="0"/>
              </a:p>
            </p:txBody>
          </p:sp>
          <p:sp>
            <p:nvSpPr>
              <p:cNvPr id="137" name="Freihandform: Form 874">
                <a:extLst>
                  <a:ext uri="{FF2B5EF4-FFF2-40B4-BE49-F238E27FC236}">
                    <a16:creationId xmlns:a16="http://schemas.microsoft.com/office/drawing/2014/main" id="{417D1878-B55D-4BC4-8108-CBD8D14300EE}"/>
                  </a:ext>
                </a:extLst>
              </p:cNvPr>
              <p:cNvSpPr/>
              <p:nvPr/>
            </p:nvSpPr>
            <p:spPr>
              <a:xfrm>
                <a:off x="8018538" y="1993966"/>
                <a:ext cx="104865" cy="13114"/>
              </a:xfrm>
              <a:custGeom>
                <a:avLst/>
                <a:gdLst>
                  <a:gd name="connsiteX0" fmla="*/ 0 w 104865"/>
                  <a:gd name="connsiteY0" fmla="*/ 0 h 13114"/>
                  <a:gd name="connsiteX1" fmla="*/ 104865 w 104865"/>
                  <a:gd name="connsiteY1" fmla="*/ 0 h 13114"/>
                  <a:gd name="connsiteX2" fmla="*/ 104865 w 104865"/>
                  <a:gd name="connsiteY2" fmla="*/ 13115 h 13114"/>
                  <a:gd name="connsiteX3" fmla="*/ 0 w 104865"/>
                  <a:gd name="connsiteY3" fmla="*/ 13115 h 13114"/>
                </a:gdLst>
                <a:ahLst/>
                <a:cxnLst>
                  <a:cxn ang="0">
                    <a:pos x="connsiteX0" y="connsiteY0"/>
                  </a:cxn>
                  <a:cxn ang="0">
                    <a:pos x="connsiteX1" y="connsiteY1"/>
                  </a:cxn>
                  <a:cxn ang="0">
                    <a:pos x="connsiteX2" y="connsiteY2"/>
                  </a:cxn>
                  <a:cxn ang="0">
                    <a:pos x="connsiteX3" y="connsiteY3"/>
                  </a:cxn>
                </a:cxnLst>
                <a:rect l="l" t="t" r="r" b="b"/>
                <a:pathLst>
                  <a:path w="104865" h="13114">
                    <a:moveTo>
                      <a:pt x="0" y="0"/>
                    </a:moveTo>
                    <a:lnTo>
                      <a:pt x="104865" y="0"/>
                    </a:lnTo>
                    <a:lnTo>
                      <a:pt x="104865" y="13115"/>
                    </a:lnTo>
                    <a:lnTo>
                      <a:pt x="0" y="13115"/>
                    </a:lnTo>
                    <a:close/>
                  </a:path>
                </a:pathLst>
              </a:custGeom>
              <a:solidFill>
                <a:schemeClr val="accent1"/>
              </a:solidFill>
              <a:ln w="2584" cap="flat">
                <a:noFill/>
                <a:prstDash val="solid"/>
                <a:miter/>
              </a:ln>
            </p:spPr>
            <p:txBody>
              <a:bodyPr rtlCol="0" anchor="ctr"/>
              <a:lstStyle/>
              <a:p>
                <a:endParaRPr lang="en-GB" dirty="0"/>
              </a:p>
            </p:txBody>
          </p:sp>
        </p:grpSp>
      </p:grpSp>
      <p:grpSp>
        <p:nvGrpSpPr>
          <p:cNvPr id="11" name="Group 10">
            <a:extLst>
              <a:ext uri="{FF2B5EF4-FFF2-40B4-BE49-F238E27FC236}">
                <a16:creationId xmlns:a16="http://schemas.microsoft.com/office/drawing/2014/main" id="{D9A7B7E5-FF04-41C0-9BB3-871D8189A8CD}"/>
              </a:ext>
            </a:extLst>
          </p:cNvPr>
          <p:cNvGrpSpPr/>
          <p:nvPr/>
        </p:nvGrpSpPr>
        <p:grpSpPr>
          <a:xfrm>
            <a:off x="2656574" y="2391526"/>
            <a:ext cx="456689" cy="432000"/>
            <a:chOff x="2656574" y="2391526"/>
            <a:chExt cx="456689" cy="432000"/>
          </a:xfrm>
        </p:grpSpPr>
        <p:grpSp>
          <p:nvGrpSpPr>
            <p:cNvPr id="142" name="Group 141">
              <a:extLst>
                <a:ext uri="{FF2B5EF4-FFF2-40B4-BE49-F238E27FC236}">
                  <a16:creationId xmlns:a16="http://schemas.microsoft.com/office/drawing/2014/main" id="{8560CEFA-5E98-41D6-B3C8-B3438D55CADB}"/>
                </a:ext>
              </a:extLst>
            </p:cNvPr>
            <p:cNvGrpSpPr/>
            <p:nvPr/>
          </p:nvGrpSpPr>
          <p:grpSpPr>
            <a:xfrm>
              <a:off x="2656574" y="2521122"/>
              <a:ext cx="456689" cy="302404"/>
              <a:chOff x="2549668" y="4242486"/>
              <a:chExt cx="485195" cy="321280"/>
            </a:xfrm>
          </p:grpSpPr>
          <p:sp>
            <p:nvSpPr>
              <p:cNvPr id="147" name="Freihandform: Form 540">
                <a:extLst>
                  <a:ext uri="{FF2B5EF4-FFF2-40B4-BE49-F238E27FC236}">
                    <a16:creationId xmlns:a16="http://schemas.microsoft.com/office/drawing/2014/main" id="{3B08D79E-89C8-464E-8754-24F1284C2E0E}"/>
                  </a:ext>
                </a:extLst>
              </p:cNvPr>
              <p:cNvSpPr/>
              <p:nvPr/>
            </p:nvSpPr>
            <p:spPr>
              <a:xfrm>
                <a:off x="2549668" y="4550664"/>
                <a:ext cx="485195" cy="13102"/>
              </a:xfrm>
              <a:custGeom>
                <a:avLst/>
                <a:gdLst>
                  <a:gd name="connsiteX0" fmla="*/ 478644 w 485195"/>
                  <a:gd name="connsiteY0" fmla="*/ 13102 h 13102"/>
                  <a:gd name="connsiteX1" fmla="*/ 6551 w 485195"/>
                  <a:gd name="connsiteY1" fmla="*/ 13102 h 13102"/>
                  <a:gd name="connsiteX2" fmla="*/ 0 w 485195"/>
                  <a:gd name="connsiteY2" fmla="*/ 6551 h 13102"/>
                  <a:gd name="connsiteX3" fmla="*/ 6551 w 485195"/>
                  <a:gd name="connsiteY3" fmla="*/ 0 h 13102"/>
                  <a:gd name="connsiteX4" fmla="*/ 478644 w 485195"/>
                  <a:gd name="connsiteY4" fmla="*/ 0 h 13102"/>
                  <a:gd name="connsiteX5" fmla="*/ 485196 w 485195"/>
                  <a:gd name="connsiteY5" fmla="*/ 6551 h 13102"/>
                  <a:gd name="connsiteX6" fmla="*/ 478644 w 485195"/>
                  <a:gd name="connsiteY6" fmla="*/ 13102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5" h="13102">
                    <a:moveTo>
                      <a:pt x="478644" y="13102"/>
                    </a:moveTo>
                    <a:lnTo>
                      <a:pt x="6551" y="13102"/>
                    </a:lnTo>
                    <a:cubicBezTo>
                      <a:pt x="2918" y="13102"/>
                      <a:pt x="0" y="10158"/>
                      <a:pt x="0" y="6551"/>
                    </a:cubicBezTo>
                    <a:cubicBezTo>
                      <a:pt x="0" y="2918"/>
                      <a:pt x="2944" y="0"/>
                      <a:pt x="6551" y="0"/>
                    </a:cubicBezTo>
                    <a:lnTo>
                      <a:pt x="478644" y="0"/>
                    </a:lnTo>
                    <a:cubicBezTo>
                      <a:pt x="482278" y="0"/>
                      <a:pt x="485196" y="2944"/>
                      <a:pt x="485196" y="6551"/>
                    </a:cubicBezTo>
                    <a:cubicBezTo>
                      <a:pt x="485196" y="10158"/>
                      <a:pt x="482278" y="13102"/>
                      <a:pt x="478644" y="13102"/>
                    </a:cubicBezTo>
                    <a:close/>
                  </a:path>
                </a:pathLst>
              </a:custGeom>
              <a:solidFill>
                <a:schemeClr val="tx2"/>
              </a:solidFill>
              <a:ln w="2651" cap="flat">
                <a:noFill/>
                <a:prstDash val="solid"/>
                <a:miter/>
              </a:ln>
            </p:spPr>
            <p:txBody>
              <a:bodyPr rtlCol="0" anchor="ctr"/>
              <a:lstStyle/>
              <a:p>
                <a:endParaRPr lang="en-GB" dirty="0"/>
              </a:p>
            </p:txBody>
          </p:sp>
          <p:sp>
            <p:nvSpPr>
              <p:cNvPr id="148" name="Freihandform: Form 541">
                <a:extLst>
                  <a:ext uri="{FF2B5EF4-FFF2-40B4-BE49-F238E27FC236}">
                    <a16:creationId xmlns:a16="http://schemas.microsoft.com/office/drawing/2014/main" id="{5D05B49C-37CC-46F3-B397-048449DCC0D0}"/>
                  </a:ext>
                </a:extLst>
              </p:cNvPr>
              <p:cNvSpPr/>
              <p:nvPr/>
            </p:nvSpPr>
            <p:spPr>
              <a:xfrm>
                <a:off x="2562797" y="4340817"/>
                <a:ext cx="255713" cy="222949"/>
              </a:xfrm>
              <a:custGeom>
                <a:avLst/>
                <a:gdLst>
                  <a:gd name="connsiteX0" fmla="*/ 255714 w 255713"/>
                  <a:gd name="connsiteY0" fmla="*/ 222949 h 222949"/>
                  <a:gd name="connsiteX1" fmla="*/ 6551 w 255713"/>
                  <a:gd name="connsiteY1" fmla="*/ 222949 h 222949"/>
                  <a:gd name="connsiteX2" fmla="*/ 0 w 255713"/>
                  <a:gd name="connsiteY2" fmla="*/ 216398 h 222949"/>
                  <a:gd name="connsiteX3" fmla="*/ 0 w 255713"/>
                  <a:gd name="connsiteY3" fmla="*/ 72136 h 222949"/>
                  <a:gd name="connsiteX4" fmla="*/ 3077 w 255713"/>
                  <a:gd name="connsiteY4" fmla="*/ 66566 h 222949"/>
                  <a:gd name="connsiteX5" fmla="*/ 107978 w 255713"/>
                  <a:gd name="connsiteY5" fmla="*/ 1000 h 222949"/>
                  <a:gd name="connsiteX6" fmla="*/ 114635 w 255713"/>
                  <a:gd name="connsiteY6" fmla="*/ 815 h 222949"/>
                  <a:gd name="connsiteX7" fmla="*/ 118003 w 255713"/>
                  <a:gd name="connsiteY7" fmla="*/ 6544 h 222949"/>
                  <a:gd name="connsiteX8" fmla="*/ 118003 w 255713"/>
                  <a:gd name="connsiteY8" fmla="*/ 60307 h 222949"/>
                  <a:gd name="connsiteX9" fmla="*/ 212878 w 255713"/>
                  <a:gd name="connsiteY9" fmla="*/ 1027 h 222949"/>
                  <a:gd name="connsiteX10" fmla="*/ 219536 w 255713"/>
                  <a:gd name="connsiteY10" fmla="*/ 841 h 222949"/>
                  <a:gd name="connsiteX11" fmla="*/ 222904 w 255713"/>
                  <a:gd name="connsiteY11" fmla="*/ 6570 h 222949"/>
                  <a:gd name="connsiteX12" fmla="*/ 222904 w 255713"/>
                  <a:gd name="connsiteY12" fmla="*/ 65585 h 222949"/>
                  <a:gd name="connsiteX13" fmla="*/ 240330 w 255713"/>
                  <a:gd name="connsiteY13" fmla="*/ 65585 h 222949"/>
                  <a:gd name="connsiteX14" fmla="*/ 236033 w 255713"/>
                  <a:gd name="connsiteY14" fmla="*/ 78688 h 222949"/>
                  <a:gd name="connsiteX15" fmla="*/ 216353 w 255713"/>
                  <a:gd name="connsiteY15" fmla="*/ 78688 h 222949"/>
                  <a:gd name="connsiteX16" fmla="*/ 209801 w 255713"/>
                  <a:gd name="connsiteY16" fmla="*/ 72136 h 222949"/>
                  <a:gd name="connsiteX17" fmla="*/ 209801 w 255713"/>
                  <a:gd name="connsiteY17" fmla="*/ 18400 h 222949"/>
                  <a:gd name="connsiteX18" fmla="*/ 114927 w 255713"/>
                  <a:gd name="connsiteY18" fmla="*/ 77680 h 222949"/>
                  <a:gd name="connsiteX19" fmla="*/ 108269 w 255713"/>
                  <a:gd name="connsiteY19" fmla="*/ 77865 h 222949"/>
                  <a:gd name="connsiteX20" fmla="*/ 104901 w 255713"/>
                  <a:gd name="connsiteY20" fmla="*/ 72136 h 222949"/>
                  <a:gd name="connsiteX21" fmla="*/ 104901 w 255713"/>
                  <a:gd name="connsiteY21" fmla="*/ 18400 h 222949"/>
                  <a:gd name="connsiteX22" fmla="*/ 13103 w 255713"/>
                  <a:gd name="connsiteY22" fmla="*/ 75770 h 222949"/>
                  <a:gd name="connsiteX23" fmla="*/ 13103 w 255713"/>
                  <a:gd name="connsiteY23" fmla="*/ 209820 h 222949"/>
                  <a:gd name="connsiteX24" fmla="*/ 255714 w 255713"/>
                  <a:gd name="connsiteY24" fmla="*/ 209820 h 222949"/>
                  <a:gd name="connsiteX25" fmla="*/ 255714 w 255713"/>
                  <a:gd name="connsiteY25" fmla="*/ 222949 h 222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5713" h="222949">
                    <a:moveTo>
                      <a:pt x="255714" y="222949"/>
                    </a:moveTo>
                    <a:lnTo>
                      <a:pt x="6551" y="222949"/>
                    </a:lnTo>
                    <a:cubicBezTo>
                      <a:pt x="2918" y="222949"/>
                      <a:pt x="0" y="220005"/>
                      <a:pt x="0" y="216398"/>
                    </a:cubicBezTo>
                    <a:lnTo>
                      <a:pt x="0" y="72136"/>
                    </a:lnTo>
                    <a:cubicBezTo>
                      <a:pt x="0" y="69882"/>
                      <a:pt x="1167" y="67786"/>
                      <a:pt x="3077" y="66566"/>
                    </a:cubicBezTo>
                    <a:lnTo>
                      <a:pt x="107978" y="1000"/>
                    </a:lnTo>
                    <a:cubicBezTo>
                      <a:pt x="110020" y="-273"/>
                      <a:pt x="112566" y="-326"/>
                      <a:pt x="114635" y="815"/>
                    </a:cubicBezTo>
                    <a:cubicBezTo>
                      <a:pt x="116730" y="1982"/>
                      <a:pt x="118003" y="4183"/>
                      <a:pt x="118003" y="6544"/>
                    </a:cubicBezTo>
                    <a:lnTo>
                      <a:pt x="118003" y="60307"/>
                    </a:lnTo>
                    <a:lnTo>
                      <a:pt x="212878" y="1027"/>
                    </a:lnTo>
                    <a:cubicBezTo>
                      <a:pt x="214894" y="-246"/>
                      <a:pt x="217440" y="-299"/>
                      <a:pt x="219536" y="841"/>
                    </a:cubicBezTo>
                    <a:cubicBezTo>
                      <a:pt x="221631" y="2008"/>
                      <a:pt x="222904" y="4209"/>
                      <a:pt x="222904" y="6570"/>
                    </a:cubicBezTo>
                    <a:lnTo>
                      <a:pt x="222904" y="65585"/>
                    </a:lnTo>
                    <a:lnTo>
                      <a:pt x="240330" y="65585"/>
                    </a:lnTo>
                    <a:lnTo>
                      <a:pt x="236033" y="78688"/>
                    </a:lnTo>
                    <a:lnTo>
                      <a:pt x="216353" y="78688"/>
                    </a:lnTo>
                    <a:cubicBezTo>
                      <a:pt x="212719" y="78688"/>
                      <a:pt x="209801" y="75743"/>
                      <a:pt x="209801" y="72136"/>
                    </a:cubicBezTo>
                    <a:lnTo>
                      <a:pt x="209801" y="18400"/>
                    </a:lnTo>
                    <a:lnTo>
                      <a:pt x="114927" y="77680"/>
                    </a:lnTo>
                    <a:cubicBezTo>
                      <a:pt x="112911" y="78953"/>
                      <a:pt x="110338" y="79006"/>
                      <a:pt x="108269" y="77865"/>
                    </a:cubicBezTo>
                    <a:cubicBezTo>
                      <a:pt x="106174" y="76699"/>
                      <a:pt x="104901" y="74497"/>
                      <a:pt x="104901" y="72136"/>
                    </a:cubicBezTo>
                    <a:lnTo>
                      <a:pt x="104901" y="18400"/>
                    </a:lnTo>
                    <a:lnTo>
                      <a:pt x="13103" y="75770"/>
                    </a:lnTo>
                    <a:lnTo>
                      <a:pt x="13103" y="209820"/>
                    </a:lnTo>
                    <a:lnTo>
                      <a:pt x="255714" y="209820"/>
                    </a:lnTo>
                    <a:lnTo>
                      <a:pt x="255714" y="222949"/>
                    </a:lnTo>
                    <a:close/>
                  </a:path>
                </a:pathLst>
              </a:custGeom>
              <a:solidFill>
                <a:schemeClr val="tx2"/>
              </a:solidFill>
              <a:ln w="2651" cap="flat">
                <a:noFill/>
                <a:prstDash val="solid"/>
                <a:miter/>
              </a:ln>
            </p:spPr>
            <p:txBody>
              <a:bodyPr rtlCol="0" anchor="ctr"/>
              <a:lstStyle/>
              <a:p>
                <a:endParaRPr lang="en-GB" dirty="0"/>
              </a:p>
            </p:txBody>
          </p:sp>
          <p:sp>
            <p:nvSpPr>
              <p:cNvPr id="149" name="Freihandform: Form 542">
                <a:extLst>
                  <a:ext uri="{FF2B5EF4-FFF2-40B4-BE49-F238E27FC236}">
                    <a16:creationId xmlns:a16="http://schemas.microsoft.com/office/drawing/2014/main" id="{8105ECE4-5953-4FE9-8D7B-97C7924CB6B4}"/>
                  </a:ext>
                </a:extLst>
              </p:cNvPr>
              <p:cNvSpPr/>
              <p:nvPr/>
            </p:nvSpPr>
            <p:spPr>
              <a:xfrm>
                <a:off x="2602132" y="4445736"/>
                <a:ext cx="65566" cy="78669"/>
              </a:xfrm>
              <a:custGeom>
                <a:avLst/>
                <a:gdLst>
                  <a:gd name="connsiteX0" fmla="*/ 59015 w 65566"/>
                  <a:gd name="connsiteY0" fmla="*/ 78669 h 78669"/>
                  <a:gd name="connsiteX1" fmla="*/ 6551 w 65566"/>
                  <a:gd name="connsiteY1" fmla="*/ 78669 h 78669"/>
                  <a:gd name="connsiteX2" fmla="*/ 0 w 65566"/>
                  <a:gd name="connsiteY2" fmla="*/ 72118 h 78669"/>
                  <a:gd name="connsiteX3" fmla="*/ 0 w 65566"/>
                  <a:gd name="connsiteY3" fmla="*/ 32783 h 78669"/>
                  <a:gd name="connsiteX4" fmla="*/ 32783 w 65566"/>
                  <a:gd name="connsiteY4" fmla="*/ 0 h 78669"/>
                  <a:gd name="connsiteX5" fmla="*/ 65566 w 65566"/>
                  <a:gd name="connsiteY5" fmla="*/ 32783 h 78669"/>
                  <a:gd name="connsiteX6" fmla="*/ 65566 w 65566"/>
                  <a:gd name="connsiteY6" fmla="*/ 72118 h 78669"/>
                  <a:gd name="connsiteX7" fmla="*/ 59015 w 65566"/>
                  <a:gd name="connsiteY7" fmla="*/ 78669 h 78669"/>
                  <a:gd name="connsiteX8" fmla="*/ 13103 w 65566"/>
                  <a:gd name="connsiteY8" fmla="*/ 65567 h 78669"/>
                  <a:gd name="connsiteX9" fmla="*/ 52437 w 65566"/>
                  <a:gd name="connsiteY9" fmla="*/ 65567 h 78669"/>
                  <a:gd name="connsiteX10" fmla="*/ 52437 w 65566"/>
                  <a:gd name="connsiteY10" fmla="*/ 32783 h 78669"/>
                  <a:gd name="connsiteX11" fmla="*/ 32757 w 65566"/>
                  <a:gd name="connsiteY11" fmla="*/ 13103 h 78669"/>
                  <a:gd name="connsiteX12" fmla="*/ 13076 w 65566"/>
                  <a:gd name="connsiteY12" fmla="*/ 32783 h 78669"/>
                  <a:gd name="connsiteX13" fmla="*/ 13076 w 65566"/>
                  <a:gd name="connsiteY13" fmla="*/ 65567 h 7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566" h="78669">
                    <a:moveTo>
                      <a:pt x="59015" y="78669"/>
                    </a:moveTo>
                    <a:lnTo>
                      <a:pt x="6551" y="78669"/>
                    </a:lnTo>
                    <a:cubicBezTo>
                      <a:pt x="2918" y="78669"/>
                      <a:pt x="0" y="75725"/>
                      <a:pt x="0" y="72118"/>
                    </a:cubicBezTo>
                    <a:lnTo>
                      <a:pt x="0" y="32783"/>
                    </a:lnTo>
                    <a:cubicBezTo>
                      <a:pt x="0" y="14694"/>
                      <a:pt x="14721" y="0"/>
                      <a:pt x="32783" y="0"/>
                    </a:cubicBezTo>
                    <a:cubicBezTo>
                      <a:pt x="50846" y="0"/>
                      <a:pt x="65566" y="14721"/>
                      <a:pt x="65566" y="32783"/>
                    </a:cubicBezTo>
                    <a:lnTo>
                      <a:pt x="65566" y="72118"/>
                    </a:lnTo>
                    <a:cubicBezTo>
                      <a:pt x="65566" y="75752"/>
                      <a:pt x="62622" y="78669"/>
                      <a:pt x="59015" y="78669"/>
                    </a:cubicBezTo>
                    <a:close/>
                    <a:moveTo>
                      <a:pt x="13103" y="65567"/>
                    </a:moveTo>
                    <a:lnTo>
                      <a:pt x="52437" y="65567"/>
                    </a:lnTo>
                    <a:lnTo>
                      <a:pt x="52437" y="32783"/>
                    </a:lnTo>
                    <a:cubicBezTo>
                      <a:pt x="52437" y="21935"/>
                      <a:pt x="43605" y="13103"/>
                      <a:pt x="32757" y="13103"/>
                    </a:cubicBezTo>
                    <a:cubicBezTo>
                      <a:pt x="21908" y="13103"/>
                      <a:pt x="13076" y="21935"/>
                      <a:pt x="13076" y="32783"/>
                    </a:cubicBezTo>
                    <a:lnTo>
                      <a:pt x="13076" y="65567"/>
                    </a:lnTo>
                    <a:close/>
                  </a:path>
                </a:pathLst>
              </a:custGeom>
              <a:solidFill>
                <a:schemeClr val="tx2"/>
              </a:solidFill>
              <a:ln w="2651" cap="flat">
                <a:noFill/>
                <a:prstDash val="solid"/>
                <a:miter/>
              </a:ln>
            </p:spPr>
            <p:txBody>
              <a:bodyPr rtlCol="0" anchor="ctr"/>
              <a:lstStyle/>
              <a:p>
                <a:endParaRPr lang="en-GB" dirty="0"/>
              </a:p>
            </p:txBody>
          </p:sp>
          <p:sp>
            <p:nvSpPr>
              <p:cNvPr id="150" name="Freihandform: Form 543">
                <a:extLst>
                  <a:ext uri="{FF2B5EF4-FFF2-40B4-BE49-F238E27FC236}">
                    <a16:creationId xmlns:a16="http://schemas.microsoft.com/office/drawing/2014/main" id="{FD1FCC79-5308-45C5-8AEC-5B56BC39D3C3}"/>
                  </a:ext>
                </a:extLst>
              </p:cNvPr>
              <p:cNvSpPr/>
              <p:nvPr/>
            </p:nvSpPr>
            <p:spPr>
              <a:xfrm>
                <a:off x="2707033" y="4445736"/>
                <a:ext cx="65566" cy="78669"/>
              </a:xfrm>
              <a:custGeom>
                <a:avLst/>
                <a:gdLst>
                  <a:gd name="connsiteX0" fmla="*/ 59015 w 65566"/>
                  <a:gd name="connsiteY0" fmla="*/ 78669 h 78669"/>
                  <a:gd name="connsiteX1" fmla="*/ 6551 w 65566"/>
                  <a:gd name="connsiteY1" fmla="*/ 78669 h 78669"/>
                  <a:gd name="connsiteX2" fmla="*/ 0 w 65566"/>
                  <a:gd name="connsiteY2" fmla="*/ 72118 h 78669"/>
                  <a:gd name="connsiteX3" fmla="*/ 0 w 65566"/>
                  <a:gd name="connsiteY3" fmla="*/ 32783 h 78669"/>
                  <a:gd name="connsiteX4" fmla="*/ 32783 w 65566"/>
                  <a:gd name="connsiteY4" fmla="*/ 0 h 78669"/>
                  <a:gd name="connsiteX5" fmla="*/ 65566 w 65566"/>
                  <a:gd name="connsiteY5" fmla="*/ 32783 h 78669"/>
                  <a:gd name="connsiteX6" fmla="*/ 65566 w 65566"/>
                  <a:gd name="connsiteY6" fmla="*/ 72118 h 78669"/>
                  <a:gd name="connsiteX7" fmla="*/ 59015 w 65566"/>
                  <a:gd name="connsiteY7" fmla="*/ 78669 h 78669"/>
                  <a:gd name="connsiteX8" fmla="*/ 13103 w 65566"/>
                  <a:gd name="connsiteY8" fmla="*/ 65567 h 78669"/>
                  <a:gd name="connsiteX9" fmla="*/ 52437 w 65566"/>
                  <a:gd name="connsiteY9" fmla="*/ 65567 h 78669"/>
                  <a:gd name="connsiteX10" fmla="*/ 52437 w 65566"/>
                  <a:gd name="connsiteY10" fmla="*/ 32783 h 78669"/>
                  <a:gd name="connsiteX11" fmla="*/ 32757 w 65566"/>
                  <a:gd name="connsiteY11" fmla="*/ 13103 h 78669"/>
                  <a:gd name="connsiteX12" fmla="*/ 13076 w 65566"/>
                  <a:gd name="connsiteY12" fmla="*/ 32783 h 78669"/>
                  <a:gd name="connsiteX13" fmla="*/ 13076 w 65566"/>
                  <a:gd name="connsiteY13" fmla="*/ 65567 h 7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566" h="78669">
                    <a:moveTo>
                      <a:pt x="59015" y="78669"/>
                    </a:moveTo>
                    <a:lnTo>
                      <a:pt x="6551" y="78669"/>
                    </a:lnTo>
                    <a:cubicBezTo>
                      <a:pt x="2918" y="78669"/>
                      <a:pt x="0" y="75725"/>
                      <a:pt x="0" y="72118"/>
                    </a:cubicBezTo>
                    <a:lnTo>
                      <a:pt x="0" y="32783"/>
                    </a:lnTo>
                    <a:cubicBezTo>
                      <a:pt x="0" y="14694"/>
                      <a:pt x="14721" y="0"/>
                      <a:pt x="32783" y="0"/>
                    </a:cubicBezTo>
                    <a:cubicBezTo>
                      <a:pt x="50846" y="0"/>
                      <a:pt x="65566" y="14721"/>
                      <a:pt x="65566" y="32783"/>
                    </a:cubicBezTo>
                    <a:lnTo>
                      <a:pt x="65566" y="72118"/>
                    </a:lnTo>
                    <a:cubicBezTo>
                      <a:pt x="65566" y="75752"/>
                      <a:pt x="62649" y="78669"/>
                      <a:pt x="59015" y="78669"/>
                    </a:cubicBezTo>
                    <a:close/>
                    <a:moveTo>
                      <a:pt x="13103" y="65567"/>
                    </a:moveTo>
                    <a:lnTo>
                      <a:pt x="52437" y="65567"/>
                    </a:lnTo>
                    <a:lnTo>
                      <a:pt x="52437" y="32783"/>
                    </a:lnTo>
                    <a:cubicBezTo>
                      <a:pt x="52437" y="21935"/>
                      <a:pt x="43605" y="13103"/>
                      <a:pt x="32757" y="13103"/>
                    </a:cubicBezTo>
                    <a:cubicBezTo>
                      <a:pt x="21908" y="13103"/>
                      <a:pt x="13076" y="21935"/>
                      <a:pt x="13076" y="32783"/>
                    </a:cubicBezTo>
                    <a:lnTo>
                      <a:pt x="13076" y="65567"/>
                    </a:lnTo>
                    <a:close/>
                  </a:path>
                </a:pathLst>
              </a:custGeom>
              <a:solidFill>
                <a:schemeClr val="tx2"/>
              </a:solidFill>
              <a:ln w="2651" cap="flat">
                <a:noFill/>
                <a:prstDash val="solid"/>
                <a:miter/>
              </a:ln>
            </p:spPr>
            <p:txBody>
              <a:bodyPr rtlCol="0" anchor="ctr"/>
              <a:lstStyle/>
              <a:p>
                <a:endParaRPr lang="en-GB" dirty="0"/>
              </a:p>
            </p:txBody>
          </p:sp>
          <p:sp>
            <p:nvSpPr>
              <p:cNvPr id="151" name="Freihandform: Form 544">
                <a:extLst>
                  <a:ext uri="{FF2B5EF4-FFF2-40B4-BE49-F238E27FC236}">
                    <a16:creationId xmlns:a16="http://schemas.microsoft.com/office/drawing/2014/main" id="{A154EDB5-585B-4B51-B1DC-5A9D1A1EDF1D}"/>
                  </a:ext>
                </a:extLst>
              </p:cNvPr>
              <p:cNvSpPr/>
              <p:nvPr/>
            </p:nvSpPr>
            <p:spPr>
              <a:xfrm>
                <a:off x="2772611" y="4242486"/>
                <a:ext cx="249136" cy="321279"/>
              </a:xfrm>
              <a:custGeom>
                <a:avLst/>
                <a:gdLst>
                  <a:gd name="connsiteX0" fmla="*/ 242598 w 249136"/>
                  <a:gd name="connsiteY0" fmla="*/ 321280 h 321279"/>
                  <a:gd name="connsiteX1" fmla="*/ 236657 w 249136"/>
                  <a:gd name="connsiteY1" fmla="*/ 317514 h 321279"/>
                  <a:gd name="connsiteX2" fmla="*/ 177244 w 249136"/>
                  <a:gd name="connsiteY2" fmla="*/ 13103 h 321279"/>
                  <a:gd name="connsiteX3" fmla="*/ 71893 w 249136"/>
                  <a:gd name="connsiteY3" fmla="*/ 13103 h 321279"/>
                  <a:gd name="connsiteX4" fmla="*/ 12480 w 249136"/>
                  <a:gd name="connsiteY4" fmla="*/ 317514 h 321279"/>
                  <a:gd name="connsiteX5" fmla="*/ 3754 w 249136"/>
                  <a:gd name="connsiteY5" fmla="*/ 320643 h 321279"/>
                  <a:gd name="connsiteX6" fmla="*/ 624 w 249136"/>
                  <a:gd name="connsiteY6" fmla="*/ 311917 h 321279"/>
                  <a:gd name="connsiteX7" fmla="*/ 59002 w 249136"/>
                  <a:gd name="connsiteY7" fmla="*/ 6392 h 321279"/>
                  <a:gd name="connsiteX8" fmla="*/ 65554 w 249136"/>
                  <a:gd name="connsiteY8" fmla="*/ 0 h 321279"/>
                  <a:gd name="connsiteX9" fmla="*/ 183583 w 249136"/>
                  <a:gd name="connsiteY9" fmla="*/ 0 h 321279"/>
                  <a:gd name="connsiteX10" fmla="*/ 190135 w 249136"/>
                  <a:gd name="connsiteY10" fmla="*/ 6392 h 321279"/>
                  <a:gd name="connsiteX11" fmla="*/ 248513 w 249136"/>
                  <a:gd name="connsiteY11" fmla="*/ 311917 h 321279"/>
                  <a:gd name="connsiteX12" fmla="*/ 245383 w 249136"/>
                  <a:gd name="connsiteY12" fmla="*/ 320643 h 321279"/>
                  <a:gd name="connsiteX13" fmla="*/ 242598 w 249136"/>
                  <a:gd name="connsiteY13" fmla="*/ 321280 h 32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136" h="321279">
                    <a:moveTo>
                      <a:pt x="242598" y="321280"/>
                    </a:moveTo>
                    <a:cubicBezTo>
                      <a:pt x="240132" y="321280"/>
                      <a:pt x="237771" y="319901"/>
                      <a:pt x="236657" y="317514"/>
                    </a:cubicBezTo>
                    <a:cubicBezTo>
                      <a:pt x="187482" y="213196"/>
                      <a:pt x="178597" y="48087"/>
                      <a:pt x="177244" y="13103"/>
                    </a:cubicBezTo>
                    <a:lnTo>
                      <a:pt x="71893" y="13103"/>
                    </a:lnTo>
                    <a:cubicBezTo>
                      <a:pt x="70540" y="48087"/>
                      <a:pt x="61655" y="213196"/>
                      <a:pt x="12480" y="317514"/>
                    </a:cubicBezTo>
                    <a:cubicBezTo>
                      <a:pt x="10941" y="320776"/>
                      <a:pt x="7043" y="322209"/>
                      <a:pt x="3754" y="320643"/>
                    </a:cubicBezTo>
                    <a:cubicBezTo>
                      <a:pt x="491" y="319105"/>
                      <a:pt x="-914" y="315206"/>
                      <a:pt x="624" y="311917"/>
                    </a:cubicBezTo>
                    <a:cubicBezTo>
                      <a:pt x="53485" y="199776"/>
                      <a:pt x="58976" y="8302"/>
                      <a:pt x="59002" y="6392"/>
                    </a:cubicBezTo>
                    <a:cubicBezTo>
                      <a:pt x="59082" y="2838"/>
                      <a:pt x="61999" y="0"/>
                      <a:pt x="65554" y="0"/>
                    </a:cubicBezTo>
                    <a:lnTo>
                      <a:pt x="183583" y="0"/>
                    </a:lnTo>
                    <a:cubicBezTo>
                      <a:pt x="187138" y="0"/>
                      <a:pt x="190055" y="2838"/>
                      <a:pt x="190135" y="6392"/>
                    </a:cubicBezTo>
                    <a:cubicBezTo>
                      <a:pt x="190188" y="8302"/>
                      <a:pt x="195652" y="199776"/>
                      <a:pt x="248513" y="311917"/>
                    </a:cubicBezTo>
                    <a:cubicBezTo>
                      <a:pt x="250052" y="315206"/>
                      <a:pt x="248646" y="319105"/>
                      <a:pt x="245383" y="320643"/>
                    </a:cubicBezTo>
                    <a:cubicBezTo>
                      <a:pt x="244482" y="321068"/>
                      <a:pt x="243527" y="321280"/>
                      <a:pt x="242598" y="321280"/>
                    </a:cubicBezTo>
                    <a:close/>
                  </a:path>
                </a:pathLst>
              </a:custGeom>
              <a:solidFill>
                <a:schemeClr val="tx2"/>
              </a:solidFill>
              <a:ln w="2651" cap="flat">
                <a:noFill/>
                <a:prstDash val="solid"/>
                <a:miter/>
              </a:ln>
            </p:spPr>
            <p:txBody>
              <a:bodyPr rtlCol="0" anchor="ctr"/>
              <a:lstStyle/>
              <a:p>
                <a:endParaRPr lang="en-GB" dirty="0"/>
              </a:p>
            </p:txBody>
          </p:sp>
          <p:sp>
            <p:nvSpPr>
              <p:cNvPr id="152" name="Freihandform: Form 545">
                <a:extLst>
                  <a:ext uri="{FF2B5EF4-FFF2-40B4-BE49-F238E27FC236}">
                    <a16:creationId xmlns:a16="http://schemas.microsoft.com/office/drawing/2014/main" id="{4FC97BC0-6AA4-4332-8314-C88A56C52110}"/>
                  </a:ext>
                </a:extLst>
              </p:cNvPr>
              <p:cNvSpPr/>
              <p:nvPr/>
            </p:nvSpPr>
            <p:spPr>
              <a:xfrm>
                <a:off x="2857846" y="4281821"/>
                <a:ext cx="104900" cy="13102"/>
              </a:xfrm>
              <a:custGeom>
                <a:avLst/>
                <a:gdLst>
                  <a:gd name="connsiteX0" fmla="*/ 98349 w 104900"/>
                  <a:gd name="connsiteY0" fmla="*/ 13103 h 13102"/>
                  <a:gd name="connsiteX1" fmla="*/ 6551 w 104900"/>
                  <a:gd name="connsiteY1" fmla="*/ 13103 h 13102"/>
                  <a:gd name="connsiteX2" fmla="*/ 0 w 104900"/>
                  <a:gd name="connsiteY2" fmla="*/ 6551 h 13102"/>
                  <a:gd name="connsiteX3" fmla="*/ 6551 w 104900"/>
                  <a:gd name="connsiteY3" fmla="*/ 0 h 13102"/>
                  <a:gd name="connsiteX4" fmla="*/ 98349 w 104900"/>
                  <a:gd name="connsiteY4" fmla="*/ 0 h 13102"/>
                  <a:gd name="connsiteX5" fmla="*/ 104901 w 104900"/>
                  <a:gd name="connsiteY5" fmla="*/ 6551 h 13102"/>
                  <a:gd name="connsiteX6" fmla="*/ 98349 w 104900"/>
                  <a:gd name="connsiteY6" fmla="*/ 13103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900" h="13102">
                    <a:moveTo>
                      <a:pt x="98349" y="13103"/>
                    </a:moveTo>
                    <a:lnTo>
                      <a:pt x="6551" y="13103"/>
                    </a:lnTo>
                    <a:cubicBezTo>
                      <a:pt x="2918" y="13103"/>
                      <a:pt x="0" y="10158"/>
                      <a:pt x="0" y="6551"/>
                    </a:cubicBezTo>
                    <a:cubicBezTo>
                      <a:pt x="0" y="2918"/>
                      <a:pt x="2944" y="0"/>
                      <a:pt x="6551" y="0"/>
                    </a:cubicBezTo>
                    <a:lnTo>
                      <a:pt x="98349" y="0"/>
                    </a:lnTo>
                    <a:cubicBezTo>
                      <a:pt x="101983" y="0"/>
                      <a:pt x="104901" y="2944"/>
                      <a:pt x="104901" y="6551"/>
                    </a:cubicBezTo>
                    <a:cubicBezTo>
                      <a:pt x="104901" y="10185"/>
                      <a:pt x="101983" y="13103"/>
                      <a:pt x="98349" y="13103"/>
                    </a:cubicBezTo>
                    <a:close/>
                  </a:path>
                </a:pathLst>
              </a:custGeom>
              <a:solidFill>
                <a:schemeClr val="tx2"/>
              </a:solidFill>
              <a:ln w="2651" cap="flat">
                <a:noFill/>
                <a:prstDash val="solid"/>
                <a:miter/>
              </a:ln>
            </p:spPr>
            <p:txBody>
              <a:bodyPr rtlCol="0" anchor="ctr"/>
              <a:lstStyle/>
              <a:p>
                <a:endParaRPr lang="en-GB" dirty="0"/>
              </a:p>
            </p:txBody>
          </p:sp>
        </p:grpSp>
        <p:grpSp>
          <p:nvGrpSpPr>
            <p:cNvPr id="143" name="Group 142">
              <a:extLst>
                <a:ext uri="{FF2B5EF4-FFF2-40B4-BE49-F238E27FC236}">
                  <a16:creationId xmlns:a16="http://schemas.microsoft.com/office/drawing/2014/main" id="{01D75A56-2385-4958-A18F-D26F9ACFA555}"/>
                </a:ext>
              </a:extLst>
            </p:cNvPr>
            <p:cNvGrpSpPr/>
            <p:nvPr/>
          </p:nvGrpSpPr>
          <p:grpSpPr>
            <a:xfrm>
              <a:off x="2921963" y="2391526"/>
              <a:ext cx="167778" cy="113493"/>
              <a:chOff x="2831622" y="4104801"/>
              <a:chExt cx="178250" cy="120577"/>
            </a:xfrm>
          </p:grpSpPr>
          <p:sp>
            <p:nvSpPr>
              <p:cNvPr id="144" name="Freihandform: Form 547">
                <a:extLst>
                  <a:ext uri="{FF2B5EF4-FFF2-40B4-BE49-F238E27FC236}">
                    <a16:creationId xmlns:a16="http://schemas.microsoft.com/office/drawing/2014/main" id="{B9239E69-6B0B-496E-856A-7113C64F7F7F}"/>
                  </a:ext>
                </a:extLst>
              </p:cNvPr>
              <p:cNvSpPr/>
              <p:nvPr/>
            </p:nvSpPr>
            <p:spPr>
              <a:xfrm>
                <a:off x="2944251" y="4156053"/>
                <a:ext cx="65621" cy="69325"/>
              </a:xfrm>
              <a:custGeom>
                <a:avLst/>
                <a:gdLst>
                  <a:gd name="connsiteX0" fmla="*/ 6560 w 65621"/>
                  <a:gd name="connsiteY0" fmla="*/ 69326 h 69325"/>
                  <a:gd name="connsiteX1" fmla="*/ 4703 w 65621"/>
                  <a:gd name="connsiteY1" fmla="*/ 69061 h 69325"/>
                  <a:gd name="connsiteX2" fmla="*/ 274 w 65621"/>
                  <a:gd name="connsiteY2" fmla="*/ 60918 h 69325"/>
                  <a:gd name="connsiteX3" fmla="*/ 15816 w 65621"/>
                  <a:gd name="connsiteY3" fmla="*/ 46383 h 69325"/>
                  <a:gd name="connsiteX4" fmla="*/ 43030 w 65621"/>
                  <a:gd name="connsiteY4" fmla="*/ 24024 h 69325"/>
                  <a:gd name="connsiteX5" fmla="*/ 54408 w 65621"/>
                  <a:gd name="connsiteY5" fmla="*/ 1930 h 69325"/>
                  <a:gd name="connsiteX6" fmla="*/ 63692 w 65621"/>
                  <a:gd name="connsiteY6" fmla="*/ 1930 h 69325"/>
                  <a:gd name="connsiteX7" fmla="*/ 63692 w 65621"/>
                  <a:gd name="connsiteY7" fmla="*/ 11213 h 69325"/>
                  <a:gd name="connsiteX8" fmla="*/ 55973 w 65621"/>
                  <a:gd name="connsiteY8" fmla="*/ 26199 h 69325"/>
                  <a:gd name="connsiteX9" fmla="*/ 18442 w 65621"/>
                  <a:gd name="connsiteY9" fmla="*/ 59274 h 69325"/>
                  <a:gd name="connsiteX10" fmla="*/ 12872 w 65621"/>
                  <a:gd name="connsiteY10" fmla="*/ 64658 h 69325"/>
                  <a:gd name="connsiteX11" fmla="*/ 6560 w 65621"/>
                  <a:gd name="connsiteY11" fmla="*/ 69326 h 6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621" h="69325">
                    <a:moveTo>
                      <a:pt x="6560" y="69326"/>
                    </a:moveTo>
                    <a:cubicBezTo>
                      <a:pt x="5950" y="69326"/>
                      <a:pt x="5340" y="69247"/>
                      <a:pt x="4703" y="69061"/>
                    </a:cubicBezTo>
                    <a:cubicBezTo>
                      <a:pt x="1228" y="68053"/>
                      <a:pt x="-761" y="64393"/>
                      <a:pt x="274" y="60918"/>
                    </a:cubicBezTo>
                    <a:cubicBezTo>
                      <a:pt x="2475" y="53438"/>
                      <a:pt x="8443" y="47869"/>
                      <a:pt x="15816" y="46383"/>
                    </a:cubicBezTo>
                    <a:cubicBezTo>
                      <a:pt x="27593" y="43996"/>
                      <a:pt x="41120" y="35376"/>
                      <a:pt x="43030" y="24024"/>
                    </a:cubicBezTo>
                    <a:cubicBezTo>
                      <a:pt x="44435" y="15616"/>
                      <a:pt x="48361" y="7950"/>
                      <a:pt x="54408" y="1930"/>
                    </a:cubicBezTo>
                    <a:cubicBezTo>
                      <a:pt x="56981" y="-643"/>
                      <a:pt x="61119" y="-643"/>
                      <a:pt x="63692" y="1930"/>
                    </a:cubicBezTo>
                    <a:cubicBezTo>
                      <a:pt x="66264" y="4502"/>
                      <a:pt x="66264" y="8640"/>
                      <a:pt x="63692" y="11213"/>
                    </a:cubicBezTo>
                    <a:cubicBezTo>
                      <a:pt x="59607" y="15297"/>
                      <a:pt x="56928" y="20496"/>
                      <a:pt x="55973" y="26199"/>
                    </a:cubicBezTo>
                    <a:cubicBezTo>
                      <a:pt x="53082" y="43519"/>
                      <a:pt x="34913" y="55958"/>
                      <a:pt x="18442" y="59274"/>
                    </a:cubicBezTo>
                    <a:cubicBezTo>
                      <a:pt x="15870" y="59804"/>
                      <a:pt x="13695" y="61899"/>
                      <a:pt x="12872" y="64658"/>
                    </a:cubicBezTo>
                    <a:cubicBezTo>
                      <a:pt x="11997" y="67469"/>
                      <a:pt x="9398" y="69326"/>
                      <a:pt x="6560" y="69326"/>
                    </a:cubicBezTo>
                    <a:close/>
                  </a:path>
                </a:pathLst>
              </a:custGeom>
              <a:solidFill>
                <a:schemeClr val="accent1"/>
              </a:solidFill>
              <a:ln w="2651" cap="flat">
                <a:noFill/>
                <a:prstDash val="solid"/>
                <a:miter/>
              </a:ln>
            </p:spPr>
            <p:txBody>
              <a:bodyPr rtlCol="0" anchor="ctr"/>
              <a:lstStyle/>
              <a:p>
                <a:endParaRPr lang="en-GB" dirty="0"/>
              </a:p>
            </p:txBody>
          </p:sp>
          <p:sp>
            <p:nvSpPr>
              <p:cNvPr id="145" name="Freihandform: Form 546">
                <a:extLst>
                  <a:ext uri="{FF2B5EF4-FFF2-40B4-BE49-F238E27FC236}">
                    <a16:creationId xmlns:a16="http://schemas.microsoft.com/office/drawing/2014/main" id="{FC3A5334-1C6E-4AE5-A152-B965D7BD47D0}"/>
                  </a:ext>
                </a:extLst>
              </p:cNvPr>
              <p:cNvSpPr/>
              <p:nvPr/>
            </p:nvSpPr>
            <p:spPr>
              <a:xfrm>
                <a:off x="2877517" y="4104801"/>
                <a:ext cx="118047" cy="111452"/>
              </a:xfrm>
              <a:custGeom>
                <a:avLst/>
                <a:gdLst>
                  <a:gd name="connsiteX0" fmla="*/ 6561 w 118047"/>
                  <a:gd name="connsiteY0" fmla="*/ 111453 h 111452"/>
                  <a:gd name="connsiteX1" fmla="*/ 4757 w 118047"/>
                  <a:gd name="connsiteY1" fmla="*/ 111214 h 111452"/>
                  <a:gd name="connsiteX2" fmla="*/ 248 w 118047"/>
                  <a:gd name="connsiteY2" fmla="*/ 103098 h 111452"/>
                  <a:gd name="connsiteX3" fmla="*/ 4625 w 118047"/>
                  <a:gd name="connsiteY3" fmla="*/ 87794 h 111452"/>
                  <a:gd name="connsiteX4" fmla="*/ 51492 w 118047"/>
                  <a:gd name="connsiteY4" fmla="*/ 52438 h 111452"/>
                  <a:gd name="connsiteX5" fmla="*/ 52977 w 118047"/>
                  <a:gd name="connsiteY5" fmla="*/ 52438 h 111452"/>
                  <a:gd name="connsiteX6" fmla="*/ 79580 w 118047"/>
                  <a:gd name="connsiteY6" fmla="*/ 40529 h 111452"/>
                  <a:gd name="connsiteX7" fmla="*/ 106104 w 118047"/>
                  <a:gd name="connsiteY7" fmla="*/ 2786 h 111452"/>
                  <a:gd name="connsiteX8" fmla="*/ 115254 w 118047"/>
                  <a:gd name="connsiteY8" fmla="*/ 1194 h 111452"/>
                  <a:gd name="connsiteX9" fmla="*/ 116846 w 118047"/>
                  <a:gd name="connsiteY9" fmla="*/ 10345 h 111452"/>
                  <a:gd name="connsiteX10" fmla="*/ 90110 w 118047"/>
                  <a:gd name="connsiteY10" fmla="*/ 48380 h 111452"/>
                  <a:gd name="connsiteX11" fmla="*/ 89686 w 118047"/>
                  <a:gd name="connsiteY11" fmla="*/ 48937 h 111452"/>
                  <a:gd name="connsiteX12" fmla="*/ 53004 w 118047"/>
                  <a:gd name="connsiteY12" fmla="*/ 65594 h 111452"/>
                  <a:gd name="connsiteX13" fmla="*/ 51518 w 118047"/>
                  <a:gd name="connsiteY13" fmla="*/ 65594 h 111452"/>
                  <a:gd name="connsiteX14" fmla="*/ 17250 w 118047"/>
                  <a:gd name="connsiteY14" fmla="*/ 91428 h 111452"/>
                  <a:gd name="connsiteX15" fmla="*/ 12873 w 118047"/>
                  <a:gd name="connsiteY15" fmla="*/ 106732 h 111452"/>
                  <a:gd name="connsiteX16" fmla="*/ 6561 w 118047"/>
                  <a:gd name="connsiteY16" fmla="*/ 111453 h 11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47" h="111452">
                    <a:moveTo>
                      <a:pt x="6561" y="111453"/>
                    </a:moveTo>
                    <a:cubicBezTo>
                      <a:pt x="5951" y="111453"/>
                      <a:pt x="5367" y="111374"/>
                      <a:pt x="4757" y="111214"/>
                    </a:cubicBezTo>
                    <a:cubicBezTo>
                      <a:pt x="1283" y="110206"/>
                      <a:pt x="-733" y="106573"/>
                      <a:pt x="248" y="103098"/>
                    </a:cubicBezTo>
                    <a:lnTo>
                      <a:pt x="4625" y="87794"/>
                    </a:lnTo>
                    <a:cubicBezTo>
                      <a:pt x="10566" y="66973"/>
                      <a:pt x="29848" y="52438"/>
                      <a:pt x="51492" y="52438"/>
                    </a:cubicBezTo>
                    <a:lnTo>
                      <a:pt x="52977" y="52438"/>
                    </a:lnTo>
                    <a:cubicBezTo>
                      <a:pt x="63136" y="52438"/>
                      <a:pt x="72817" y="48088"/>
                      <a:pt x="79580" y="40529"/>
                    </a:cubicBezTo>
                    <a:lnTo>
                      <a:pt x="106104" y="2786"/>
                    </a:lnTo>
                    <a:cubicBezTo>
                      <a:pt x="108173" y="-158"/>
                      <a:pt x="112284" y="-901"/>
                      <a:pt x="115254" y="1194"/>
                    </a:cubicBezTo>
                    <a:cubicBezTo>
                      <a:pt x="118225" y="3263"/>
                      <a:pt x="118941" y="7374"/>
                      <a:pt x="116846" y="10345"/>
                    </a:cubicBezTo>
                    <a:lnTo>
                      <a:pt x="90110" y="48380"/>
                    </a:lnTo>
                    <a:cubicBezTo>
                      <a:pt x="89978" y="48566"/>
                      <a:pt x="89845" y="48751"/>
                      <a:pt x="89686" y="48937"/>
                    </a:cubicBezTo>
                    <a:cubicBezTo>
                      <a:pt x="80429" y="59520"/>
                      <a:pt x="67061" y="65594"/>
                      <a:pt x="53004" y="65594"/>
                    </a:cubicBezTo>
                    <a:lnTo>
                      <a:pt x="51518" y="65594"/>
                    </a:lnTo>
                    <a:cubicBezTo>
                      <a:pt x="35684" y="65594"/>
                      <a:pt x="21600" y="76230"/>
                      <a:pt x="17250" y="91428"/>
                    </a:cubicBezTo>
                    <a:lnTo>
                      <a:pt x="12873" y="106732"/>
                    </a:lnTo>
                    <a:cubicBezTo>
                      <a:pt x="12025" y="109570"/>
                      <a:pt x="9399" y="111453"/>
                      <a:pt x="6561" y="111453"/>
                    </a:cubicBezTo>
                    <a:close/>
                  </a:path>
                </a:pathLst>
              </a:custGeom>
              <a:solidFill>
                <a:schemeClr val="accent1"/>
              </a:solidFill>
              <a:ln w="2651" cap="flat">
                <a:noFill/>
                <a:prstDash val="solid"/>
                <a:miter/>
              </a:ln>
            </p:spPr>
            <p:txBody>
              <a:bodyPr rtlCol="0" anchor="ctr"/>
              <a:lstStyle/>
              <a:p>
                <a:endParaRPr lang="en-GB" dirty="0"/>
              </a:p>
            </p:txBody>
          </p:sp>
          <p:sp>
            <p:nvSpPr>
              <p:cNvPr id="146" name="Freihandform: Form 548">
                <a:extLst>
                  <a:ext uri="{FF2B5EF4-FFF2-40B4-BE49-F238E27FC236}">
                    <a16:creationId xmlns:a16="http://schemas.microsoft.com/office/drawing/2014/main" id="{69801AA6-A628-4898-B170-664DC85CCAB0}"/>
                  </a:ext>
                </a:extLst>
              </p:cNvPr>
              <p:cNvSpPr/>
              <p:nvPr/>
            </p:nvSpPr>
            <p:spPr>
              <a:xfrm>
                <a:off x="2831622" y="4117859"/>
                <a:ext cx="78680" cy="72163"/>
              </a:xfrm>
              <a:custGeom>
                <a:avLst/>
                <a:gdLst>
                  <a:gd name="connsiteX0" fmla="*/ 6543 w 78680"/>
                  <a:gd name="connsiteY0" fmla="*/ 72164 h 72163"/>
                  <a:gd name="connsiteX1" fmla="*/ 4474 w 78680"/>
                  <a:gd name="connsiteY1" fmla="*/ 71819 h 72163"/>
                  <a:gd name="connsiteX2" fmla="*/ 336 w 78680"/>
                  <a:gd name="connsiteY2" fmla="*/ 63517 h 72163"/>
                  <a:gd name="connsiteX3" fmla="*/ 6861 w 78680"/>
                  <a:gd name="connsiteY3" fmla="*/ 43916 h 72163"/>
                  <a:gd name="connsiteX4" fmla="*/ 40466 w 78680"/>
                  <a:gd name="connsiteY4" fmla="*/ 19674 h 72163"/>
                  <a:gd name="connsiteX5" fmla="*/ 56248 w 78680"/>
                  <a:gd name="connsiteY5" fmla="*/ 13149 h 72163"/>
                  <a:gd name="connsiteX6" fmla="*/ 67467 w 78680"/>
                  <a:gd name="connsiteY6" fmla="*/ 1930 h 72163"/>
                  <a:gd name="connsiteX7" fmla="*/ 76751 w 78680"/>
                  <a:gd name="connsiteY7" fmla="*/ 1930 h 72163"/>
                  <a:gd name="connsiteX8" fmla="*/ 76751 w 78680"/>
                  <a:gd name="connsiteY8" fmla="*/ 11213 h 72163"/>
                  <a:gd name="connsiteX9" fmla="*/ 65531 w 78680"/>
                  <a:gd name="connsiteY9" fmla="*/ 22432 h 72163"/>
                  <a:gd name="connsiteX10" fmla="*/ 40466 w 78680"/>
                  <a:gd name="connsiteY10" fmla="*/ 32803 h 72163"/>
                  <a:gd name="connsiteX11" fmla="*/ 19274 w 78680"/>
                  <a:gd name="connsiteY11" fmla="*/ 48081 h 72163"/>
                  <a:gd name="connsiteX12" fmla="*/ 12749 w 78680"/>
                  <a:gd name="connsiteY12" fmla="*/ 67681 h 72163"/>
                  <a:gd name="connsiteX13" fmla="*/ 6543 w 78680"/>
                  <a:gd name="connsiteY13" fmla="*/ 72164 h 72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80" h="72163">
                    <a:moveTo>
                      <a:pt x="6543" y="72164"/>
                    </a:moveTo>
                    <a:cubicBezTo>
                      <a:pt x="5853" y="72164"/>
                      <a:pt x="5163" y="72058"/>
                      <a:pt x="4474" y="71819"/>
                    </a:cubicBezTo>
                    <a:cubicBezTo>
                      <a:pt x="1052" y="70679"/>
                      <a:pt x="-804" y="66965"/>
                      <a:pt x="336" y="63517"/>
                    </a:cubicBezTo>
                    <a:lnTo>
                      <a:pt x="6861" y="43916"/>
                    </a:lnTo>
                    <a:cubicBezTo>
                      <a:pt x="11688" y="29434"/>
                      <a:pt x="25189" y="19674"/>
                      <a:pt x="40466" y="19674"/>
                    </a:cubicBezTo>
                    <a:cubicBezTo>
                      <a:pt x="46434" y="19674"/>
                      <a:pt x="52031" y="17340"/>
                      <a:pt x="56248" y="13149"/>
                    </a:cubicBezTo>
                    <a:lnTo>
                      <a:pt x="67467" y="1930"/>
                    </a:lnTo>
                    <a:cubicBezTo>
                      <a:pt x="70040" y="-643"/>
                      <a:pt x="74178" y="-643"/>
                      <a:pt x="76751" y="1930"/>
                    </a:cubicBezTo>
                    <a:cubicBezTo>
                      <a:pt x="79323" y="4502"/>
                      <a:pt x="79323" y="8640"/>
                      <a:pt x="76751" y="11213"/>
                    </a:cubicBezTo>
                    <a:lnTo>
                      <a:pt x="65531" y="22432"/>
                    </a:lnTo>
                    <a:cubicBezTo>
                      <a:pt x="58847" y="29116"/>
                      <a:pt x="49935" y="32803"/>
                      <a:pt x="40466" y="32803"/>
                    </a:cubicBezTo>
                    <a:cubicBezTo>
                      <a:pt x="30838" y="32803"/>
                      <a:pt x="22324" y="38930"/>
                      <a:pt x="19274" y="48081"/>
                    </a:cubicBezTo>
                    <a:lnTo>
                      <a:pt x="12749" y="67681"/>
                    </a:lnTo>
                    <a:cubicBezTo>
                      <a:pt x="11847" y="70413"/>
                      <a:pt x="9301" y="72164"/>
                      <a:pt x="6543" y="72164"/>
                    </a:cubicBezTo>
                    <a:close/>
                  </a:path>
                </a:pathLst>
              </a:custGeom>
              <a:solidFill>
                <a:schemeClr val="accent1"/>
              </a:solidFill>
              <a:ln w="2651" cap="flat">
                <a:noFill/>
                <a:prstDash val="solid"/>
                <a:miter/>
              </a:ln>
            </p:spPr>
            <p:txBody>
              <a:bodyPr rtlCol="0" anchor="ctr"/>
              <a:lstStyle/>
              <a:p>
                <a:endParaRPr lang="en-GB" dirty="0"/>
              </a:p>
            </p:txBody>
          </p:sp>
        </p:grpSp>
      </p:grpSp>
      <p:grpSp>
        <p:nvGrpSpPr>
          <p:cNvPr id="12" name="Group 11">
            <a:extLst>
              <a:ext uri="{FF2B5EF4-FFF2-40B4-BE49-F238E27FC236}">
                <a16:creationId xmlns:a16="http://schemas.microsoft.com/office/drawing/2014/main" id="{B29652CA-D526-4BC5-A5BD-333DC4689448}"/>
              </a:ext>
            </a:extLst>
          </p:cNvPr>
          <p:cNvGrpSpPr/>
          <p:nvPr/>
        </p:nvGrpSpPr>
        <p:grpSpPr>
          <a:xfrm>
            <a:off x="1623544" y="2391526"/>
            <a:ext cx="431880" cy="432000"/>
            <a:chOff x="1623544" y="2391526"/>
            <a:chExt cx="431880" cy="432000"/>
          </a:xfrm>
        </p:grpSpPr>
        <p:grpSp>
          <p:nvGrpSpPr>
            <p:cNvPr id="154" name="Group 153">
              <a:extLst>
                <a:ext uri="{FF2B5EF4-FFF2-40B4-BE49-F238E27FC236}">
                  <a16:creationId xmlns:a16="http://schemas.microsoft.com/office/drawing/2014/main" id="{D93DEAF3-1EA7-4958-A0BD-29A43CB8F24E}"/>
                </a:ext>
              </a:extLst>
            </p:cNvPr>
            <p:cNvGrpSpPr/>
            <p:nvPr/>
          </p:nvGrpSpPr>
          <p:grpSpPr>
            <a:xfrm>
              <a:off x="1623554" y="2473365"/>
              <a:ext cx="431870" cy="350161"/>
              <a:chOff x="1716961" y="4170369"/>
              <a:chExt cx="485195" cy="393397"/>
            </a:xfrm>
          </p:grpSpPr>
          <p:sp>
            <p:nvSpPr>
              <p:cNvPr id="158" name="Freihandform: Form 523">
                <a:extLst>
                  <a:ext uri="{FF2B5EF4-FFF2-40B4-BE49-F238E27FC236}">
                    <a16:creationId xmlns:a16="http://schemas.microsoft.com/office/drawing/2014/main" id="{9415F225-722E-4AB7-84AB-EC4B84C3D731}"/>
                  </a:ext>
                </a:extLst>
              </p:cNvPr>
              <p:cNvSpPr/>
              <p:nvPr/>
            </p:nvSpPr>
            <p:spPr>
              <a:xfrm>
                <a:off x="1716961" y="4550664"/>
                <a:ext cx="485195" cy="13102"/>
              </a:xfrm>
              <a:custGeom>
                <a:avLst/>
                <a:gdLst>
                  <a:gd name="connsiteX0" fmla="*/ 478644 w 485195"/>
                  <a:gd name="connsiteY0" fmla="*/ 13102 h 13102"/>
                  <a:gd name="connsiteX1" fmla="*/ 6551 w 485195"/>
                  <a:gd name="connsiteY1" fmla="*/ 13102 h 13102"/>
                  <a:gd name="connsiteX2" fmla="*/ 0 w 485195"/>
                  <a:gd name="connsiteY2" fmla="*/ 6551 h 13102"/>
                  <a:gd name="connsiteX3" fmla="*/ 6551 w 485195"/>
                  <a:gd name="connsiteY3" fmla="*/ 0 h 13102"/>
                  <a:gd name="connsiteX4" fmla="*/ 478644 w 485195"/>
                  <a:gd name="connsiteY4" fmla="*/ 0 h 13102"/>
                  <a:gd name="connsiteX5" fmla="*/ 485196 w 485195"/>
                  <a:gd name="connsiteY5" fmla="*/ 6551 h 13102"/>
                  <a:gd name="connsiteX6" fmla="*/ 478644 w 485195"/>
                  <a:gd name="connsiteY6" fmla="*/ 13102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5" h="13102">
                    <a:moveTo>
                      <a:pt x="478644" y="13102"/>
                    </a:moveTo>
                    <a:lnTo>
                      <a:pt x="6551" y="13102"/>
                    </a:lnTo>
                    <a:cubicBezTo>
                      <a:pt x="2918" y="13102"/>
                      <a:pt x="0" y="10158"/>
                      <a:pt x="0" y="6551"/>
                    </a:cubicBezTo>
                    <a:cubicBezTo>
                      <a:pt x="0" y="2918"/>
                      <a:pt x="2944" y="0"/>
                      <a:pt x="6551" y="0"/>
                    </a:cubicBezTo>
                    <a:lnTo>
                      <a:pt x="478644" y="0"/>
                    </a:lnTo>
                    <a:cubicBezTo>
                      <a:pt x="482278" y="0"/>
                      <a:pt x="485196" y="2944"/>
                      <a:pt x="485196" y="6551"/>
                    </a:cubicBezTo>
                    <a:cubicBezTo>
                      <a:pt x="485196" y="10158"/>
                      <a:pt x="482278" y="13102"/>
                      <a:pt x="478644" y="13102"/>
                    </a:cubicBezTo>
                    <a:close/>
                  </a:path>
                </a:pathLst>
              </a:custGeom>
              <a:solidFill>
                <a:schemeClr val="tx2"/>
              </a:solidFill>
              <a:ln w="2651" cap="flat">
                <a:noFill/>
                <a:prstDash val="solid"/>
                <a:miter/>
              </a:ln>
            </p:spPr>
            <p:txBody>
              <a:bodyPr rtlCol="0" anchor="ctr"/>
              <a:lstStyle/>
              <a:p>
                <a:endParaRPr lang="en-GB" dirty="0"/>
              </a:p>
            </p:txBody>
          </p:sp>
          <p:sp>
            <p:nvSpPr>
              <p:cNvPr id="159" name="Freihandform: Form 524">
                <a:extLst>
                  <a:ext uri="{FF2B5EF4-FFF2-40B4-BE49-F238E27FC236}">
                    <a16:creationId xmlns:a16="http://schemas.microsoft.com/office/drawing/2014/main" id="{61F2E88A-314B-4A4A-A862-144683CEF6F4}"/>
                  </a:ext>
                </a:extLst>
              </p:cNvPr>
              <p:cNvSpPr/>
              <p:nvPr/>
            </p:nvSpPr>
            <p:spPr>
              <a:xfrm>
                <a:off x="1743192" y="4393300"/>
                <a:ext cx="288496" cy="170466"/>
              </a:xfrm>
              <a:custGeom>
                <a:avLst/>
                <a:gdLst>
                  <a:gd name="connsiteX0" fmla="*/ 281946 w 288496"/>
                  <a:gd name="connsiteY0" fmla="*/ 170467 h 170466"/>
                  <a:gd name="connsiteX1" fmla="*/ 6551 w 288496"/>
                  <a:gd name="connsiteY1" fmla="*/ 170467 h 170466"/>
                  <a:gd name="connsiteX2" fmla="*/ 0 w 288496"/>
                  <a:gd name="connsiteY2" fmla="*/ 163916 h 170466"/>
                  <a:gd name="connsiteX3" fmla="*/ 0 w 288496"/>
                  <a:gd name="connsiteY3" fmla="*/ 6551 h 170466"/>
                  <a:gd name="connsiteX4" fmla="*/ 6551 w 288496"/>
                  <a:gd name="connsiteY4" fmla="*/ 0 h 170466"/>
                  <a:gd name="connsiteX5" fmla="*/ 281946 w 288496"/>
                  <a:gd name="connsiteY5" fmla="*/ 0 h 170466"/>
                  <a:gd name="connsiteX6" fmla="*/ 288497 w 288496"/>
                  <a:gd name="connsiteY6" fmla="*/ 6551 h 170466"/>
                  <a:gd name="connsiteX7" fmla="*/ 288497 w 288496"/>
                  <a:gd name="connsiteY7" fmla="*/ 163916 h 170466"/>
                  <a:gd name="connsiteX8" fmla="*/ 281946 w 288496"/>
                  <a:gd name="connsiteY8" fmla="*/ 170467 h 170466"/>
                  <a:gd name="connsiteX9" fmla="*/ 13103 w 288496"/>
                  <a:gd name="connsiteY9" fmla="*/ 157338 h 170466"/>
                  <a:gd name="connsiteX10" fmla="*/ 275368 w 288496"/>
                  <a:gd name="connsiteY10" fmla="*/ 157338 h 170466"/>
                  <a:gd name="connsiteX11" fmla="*/ 275368 w 288496"/>
                  <a:gd name="connsiteY11" fmla="*/ 13076 h 170466"/>
                  <a:gd name="connsiteX12" fmla="*/ 13103 w 288496"/>
                  <a:gd name="connsiteY12" fmla="*/ 13076 h 170466"/>
                  <a:gd name="connsiteX13" fmla="*/ 13103 w 288496"/>
                  <a:gd name="connsiteY13" fmla="*/ 157338 h 170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496" h="170466">
                    <a:moveTo>
                      <a:pt x="281946" y="170467"/>
                    </a:moveTo>
                    <a:lnTo>
                      <a:pt x="6551" y="170467"/>
                    </a:lnTo>
                    <a:cubicBezTo>
                      <a:pt x="2918" y="170467"/>
                      <a:pt x="0" y="167523"/>
                      <a:pt x="0" y="163916"/>
                    </a:cubicBezTo>
                    <a:lnTo>
                      <a:pt x="0" y="6551"/>
                    </a:lnTo>
                    <a:cubicBezTo>
                      <a:pt x="0" y="2918"/>
                      <a:pt x="2944" y="0"/>
                      <a:pt x="6551" y="0"/>
                    </a:cubicBezTo>
                    <a:lnTo>
                      <a:pt x="281946" y="0"/>
                    </a:lnTo>
                    <a:cubicBezTo>
                      <a:pt x="285579" y="0"/>
                      <a:pt x="288497" y="2944"/>
                      <a:pt x="288497" y="6551"/>
                    </a:cubicBezTo>
                    <a:lnTo>
                      <a:pt x="288497" y="163916"/>
                    </a:lnTo>
                    <a:cubicBezTo>
                      <a:pt x="288497" y="167523"/>
                      <a:pt x="285553" y="170467"/>
                      <a:pt x="281946" y="170467"/>
                    </a:cubicBezTo>
                    <a:close/>
                    <a:moveTo>
                      <a:pt x="13103" y="157338"/>
                    </a:moveTo>
                    <a:lnTo>
                      <a:pt x="275368" y="157338"/>
                    </a:lnTo>
                    <a:lnTo>
                      <a:pt x="275368" y="13076"/>
                    </a:lnTo>
                    <a:lnTo>
                      <a:pt x="13103" y="13076"/>
                    </a:lnTo>
                    <a:lnTo>
                      <a:pt x="13103" y="157338"/>
                    </a:lnTo>
                    <a:close/>
                  </a:path>
                </a:pathLst>
              </a:custGeom>
              <a:solidFill>
                <a:schemeClr val="tx2"/>
              </a:solidFill>
              <a:ln w="2651" cap="flat">
                <a:noFill/>
                <a:prstDash val="solid"/>
                <a:miter/>
              </a:ln>
            </p:spPr>
            <p:txBody>
              <a:bodyPr rtlCol="0" anchor="ctr"/>
              <a:lstStyle/>
              <a:p>
                <a:endParaRPr lang="en-GB" dirty="0"/>
              </a:p>
            </p:txBody>
          </p:sp>
          <p:sp>
            <p:nvSpPr>
              <p:cNvPr id="160" name="Freihandform: Form 525">
                <a:extLst>
                  <a:ext uri="{FF2B5EF4-FFF2-40B4-BE49-F238E27FC236}">
                    <a16:creationId xmlns:a16="http://schemas.microsoft.com/office/drawing/2014/main" id="{95A2E3D5-83D0-424B-B100-BE2C071C289B}"/>
                  </a:ext>
                </a:extLst>
              </p:cNvPr>
              <p:cNvSpPr/>
              <p:nvPr/>
            </p:nvSpPr>
            <p:spPr>
              <a:xfrm>
                <a:off x="1848120" y="4353965"/>
                <a:ext cx="183569" cy="52437"/>
              </a:xfrm>
              <a:custGeom>
                <a:avLst/>
                <a:gdLst>
                  <a:gd name="connsiteX0" fmla="*/ 177018 w 183569"/>
                  <a:gd name="connsiteY0" fmla="*/ 52437 h 52437"/>
                  <a:gd name="connsiteX1" fmla="*/ 6551 w 183569"/>
                  <a:gd name="connsiteY1" fmla="*/ 52437 h 52437"/>
                  <a:gd name="connsiteX2" fmla="*/ 0 w 183569"/>
                  <a:gd name="connsiteY2" fmla="*/ 45886 h 52437"/>
                  <a:gd name="connsiteX3" fmla="*/ 0 w 183569"/>
                  <a:gd name="connsiteY3" fmla="*/ 6551 h 52437"/>
                  <a:gd name="connsiteX4" fmla="*/ 6551 w 183569"/>
                  <a:gd name="connsiteY4" fmla="*/ 0 h 52437"/>
                  <a:gd name="connsiteX5" fmla="*/ 177018 w 183569"/>
                  <a:gd name="connsiteY5" fmla="*/ 0 h 52437"/>
                  <a:gd name="connsiteX6" fmla="*/ 183570 w 183569"/>
                  <a:gd name="connsiteY6" fmla="*/ 6551 h 52437"/>
                  <a:gd name="connsiteX7" fmla="*/ 183570 w 183569"/>
                  <a:gd name="connsiteY7" fmla="*/ 45886 h 52437"/>
                  <a:gd name="connsiteX8" fmla="*/ 177018 w 183569"/>
                  <a:gd name="connsiteY8" fmla="*/ 52437 h 52437"/>
                  <a:gd name="connsiteX9" fmla="*/ 13103 w 183569"/>
                  <a:gd name="connsiteY9" fmla="*/ 39308 h 52437"/>
                  <a:gd name="connsiteX10" fmla="*/ 170467 w 183569"/>
                  <a:gd name="connsiteY10" fmla="*/ 39308 h 52437"/>
                  <a:gd name="connsiteX11" fmla="*/ 170467 w 183569"/>
                  <a:gd name="connsiteY11" fmla="*/ 13076 h 52437"/>
                  <a:gd name="connsiteX12" fmla="*/ 13103 w 183569"/>
                  <a:gd name="connsiteY12" fmla="*/ 13076 h 52437"/>
                  <a:gd name="connsiteX13" fmla="*/ 13103 w 183569"/>
                  <a:gd name="connsiteY13" fmla="*/ 39308 h 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3569" h="52437">
                    <a:moveTo>
                      <a:pt x="177018" y="52437"/>
                    </a:moveTo>
                    <a:lnTo>
                      <a:pt x="6551" y="52437"/>
                    </a:lnTo>
                    <a:cubicBezTo>
                      <a:pt x="2918" y="52437"/>
                      <a:pt x="0" y="49493"/>
                      <a:pt x="0" y="45886"/>
                    </a:cubicBezTo>
                    <a:lnTo>
                      <a:pt x="0" y="6551"/>
                    </a:lnTo>
                    <a:cubicBezTo>
                      <a:pt x="0" y="2918"/>
                      <a:pt x="2944" y="0"/>
                      <a:pt x="6551" y="0"/>
                    </a:cubicBezTo>
                    <a:lnTo>
                      <a:pt x="177018" y="0"/>
                    </a:lnTo>
                    <a:cubicBezTo>
                      <a:pt x="180652" y="0"/>
                      <a:pt x="183570" y="2944"/>
                      <a:pt x="183570" y="6551"/>
                    </a:cubicBezTo>
                    <a:lnTo>
                      <a:pt x="183570" y="45886"/>
                    </a:lnTo>
                    <a:cubicBezTo>
                      <a:pt x="183570" y="49493"/>
                      <a:pt x="180626" y="52437"/>
                      <a:pt x="177018" y="52437"/>
                    </a:cubicBezTo>
                    <a:close/>
                    <a:moveTo>
                      <a:pt x="13103" y="39308"/>
                    </a:moveTo>
                    <a:lnTo>
                      <a:pt x="170467" y="39308"/>
                    </a:lnTo>
                    <a:lnTo>
                      <a:pt x="170467" y="13076"/>
                    </a:lnTo>
                    <a:lnTo>
                      <a:pt x="13103" y="13076"/>
                    </a:lnTo>
                    <a:lnTo>
                      <a:pt x="13103" y="39308"/>
                    </a:lnTo>
                    <a:close/>
                  </a:path>
                </a:pathLst>
              </a:custGeom>
              <a:solidFill>
                <a:schemeClr val="tx2"/>
              </a:solidFill>
              <a:ln w="2651" cap="flat">
                <a:noFill/>
                <a:prstDash val="solid"/>
                <a:miter/>
              </a:ln>
            </p:spPr>
            <p:txBody>
              <a:bodyPr rtlCol="0" anchor="ctr"/>
              <a:lstStyle/>
              <a:p>
                <a:endParaRPr lang="en-GB" dirty="0"/>
              </a:p>
            </p:txBody>
          </p:sp>
          <p:sp>
            <p:nvSpPr>
              <p:cNvPr id="161" name="Freihandform: Form 526">
                <a:extLst>
                  <a:ext uri="{FF2B5EF4-FFF2-40B4-BE49-F238E27FC236}">
                    <a16:creationId xmlns:a16="http://schemas.microsoft.com/office/drawing/2014/main" id="{51230111-C1A8-41A2-9472-867B10F4C556}"/>
                  </a:ext>
                </a:extLst>
              </p:cNvPr>
              <p:cNvSpPr/>
              <p:nvPr/>
            </p:nvSpPr>
            <p:spPr>
              <a:xfrm>
                <a:off x="1880879" y="4242486"/>
                <a:ext cx="91792" cy="124581"/>
              </a:xfrm>
              <a:custGeom>
                <a:avLst/>
                <a:gdLst>
                  <a:gd name="connsiteX0" fmla="*/ 85244 w 91792"/>
                  <a:gd name="connsiteY0" fmla="*/ 124581 h 124581"/>
                  <a:gd name="connsiteX1" fmla="*/ 6548 w 91792"/>
                  <a:gd name="connsiteY1" fmla="*/ 124581 h 124581"/>
                  <a:gd name="connsiteX2" fmla="*/ 1535 w 91792"/>
                  <a:gd name="connsiteY2" fmla="*/ 122247 h 124581"/>
                  <a:gd name="connsiteX3" fmla="*/ 103 w 91792"/>
                  <a:gd name="connsiteY3" fmla="*/ 116889 h 124581"/>
                  <a:gd name="connsiteX4" fmla="*/ 19784 w 91792"/>
                  <a:gd name="connsiteY4" fmla="*/ 5411 h 124581"/>
                  <a:gd name="connsiteX5" fmla="*/ 26229 w 91792"/>
                  <a:gd name="connsiteY5" fmla="*/ 0 h 124581"/>
                  <a:gd name="connsiteX6" fmla="*/ 65563 w 91792"/>
                  <a:gd name="connsiteY6" fmla="*/ 0 h 124581"/>
                  <a:gd name="connsiteX7" fmla="*/ 72009 w 91792"/>
                  <a:gd name="connsiteY7" fmla="*/ 5411 h 124581"/>
                  <a:gd name="connsiteX8" fmla="*/ 91689 w 91792"/>
                  <a:gd name="connsiteY8" fmla="*/ 116889 h 124581"/>
                  <a:gd name="connsiteX9" fmla="*/ 90257 w 91792"/>
                  <a:gd name="connsiteY9" fmla="*/ 122247 h 124581"/>
                  <a:gd name="connsiteX10" fmla="*/ 85244 w 91792"/>
                  <a:gd name="connsiteY10" fmla="*/ 124581 h 124581"/>
                  <a:gd name="connsiteX11" fmla="*/ 14373 w 91792"/>
                  <a:gd name="connsiteY11" fmla="*/ 111452 h 124581"/>
                  <a:gd name="connsiteX12" fmla="*/ 77419 w 91792"/>
                  <a:gd name="connsiteY12" fmla="*/ 111452 h 124581"/>
                  <a:gd name="connsiteX13" fmla="*/ 60073 w 91792"/>
                  <a:gd name="connsiteY13" fmla="*/ 13103 h 124581"/>
                  <a:gd name="connsiteX14" fmla="*/ 31746 w 91792"/>
                  <a:gd name="connsiteY14" fmla="*/ 13103 h 124581"/>
                  <a:gd name="connsiteX15" fmla="*/ 14373 w 91792"/>
                  <a:gd name="connsiteY15" fmla="*/ 111452 h 12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1792" h="124581">
                    <a:moveTo>
                      <a:pt x="85244" y="124581"/>
                    </a:moveTo>
                    <a:lnTo>
                      <a:pt x="6548" y="124581"/>
                    </a:lnTo>
                    <a:cubicBezTo>
                      <a:pt x="4612" y="124581"/>
                      <a:pt x="2782" y="123732"/>
                      <a:pt x="1535" y="122247"/>
                    </a:cubicBezTo>
                    <a:cubicBezTo>
                      <a:pt x="289" y="120762"/>
                      <a:pt x="-242" y="118799"/>
                      <a:pt x="103" y="116889"/>
                    </a:cubicBezTo>
                    <a:lnTo>
                      <a:pt x="19784" y="5411"/>
                    </a:lnTo>
                    <a:cubicBezTo>
                      <a:pt x="20341" y="2281"/>
                      <a:pt x="23046" y="0"/>
                      <a:pt x="26229" y="0"/>
                    </a:cubicBezTo>
                    <a:lnTo>
                      <a:pt x="65563" y="0"/>
                    </a:lnTo>
                    <a:cubicBezTo>
                      <a:pt x="68746" y="0"/>
                      <a:pt x="71478" y="2281"/>
                      <a:pt x="72009" y="5411"/>
                    </a:cubicBezTo>
                    <a:lnTo>
                      <a:pt x="91689" y="116889"/>
                    </a:lnTo>
                    <a:cubicBezTo>
                      <a:pt x="92034" y="118799"/>
                      <a:pt x="91503" y="120762"/>
                      <a:pt x="90257" y="122247"/>
                    </a:cubicBezTo>
                    <a:cubicBezTo>
                      <a:pt x="89010" y="123706"/>
                      <a:pt x="87180" y="124581"/>
                      <a:pt x="85244" y="124581"/>
                    </a:cubicBezTo>
                    <a:close/>
                    <a:moveTo>
                      <a:pt x="14373" y="111452"/>
                    </a:moveTo>
                    <a:lnTo>
                      <a:pt x="77419" y="111452"/>
                    </a:lnTo>
                    <a:lnTo>
                      <a:pt x="60073" y="13103"/>
                    </a:lnTo>
                    <a:lnTo>
                      <a:pt x="31746" y="13103"/>
                    </a:lnTo>
                    <a:lnTo>
                      <a:pt x="14373" y="111452"/>
                    </a:lnTo>
                    <a:close/>
                  </a:path>
                </a:pathLst>
              </a:custGeom>
              <a:solidFill>
                <a:schemeClr val="tx2"/>
              </a:solidFill>
              <a:ln w="2651" cap="flat">
                <a:noFill/>
                <a:prstDash val="solid"/>
                <a:miter/>
              </a:ln>
            </p:spPr>
            <p:txBody>
              <a:bodyPr rtlCol="0" anchor="ctr"/>
              <a:lstStyle/>
              <a:p>
                <a:endParaRPr lang="en-GB" dirty="0"/>
              </a:p>
            </p:txBody>
          </p:sp>
          <p:sp>
            <p:nvSpPr>
              <p:cNvPr id="162" name="Freihandform: Form 527">
                <a:extLst>
                  <a:ext uri="{FF2B5EF4-FFF2-40B4-BE49-F238E27FC236}">
                    <a16:creationId xmlns:a16="http://schemas.microsoft.com/office/drawing/2014/main" id="{9087DEDC-096B-42BE-9666-46FC2D15641B}"/>
                  </a:ext>
                </a:extLst>
              </p:cNvPr>
              <p:cNvSpPr/>
              <p:nvPr/>
            </p:nvSpPr>
            <p:spPr>
              <a:xfrm>
                <a:off x="1782553" y="4445763"/>
                <a:ext cx="91771" cy="52437"/>
              </a:xfrm>
              <a:custGeom>
                <a:avLst/>
                <a:gdLst>
                  <a:gd name="connsiteX0" fmla="*/ 85220 w 91771"/>
                  <a:gd name="connsiteY0" fmla="*/ 52437 h 52437"/>
                  <a:gd name="connsiteX1" fmla="*/ 6551 w 91771"/>
                  <a:gd name="connsiteY1" fmla="*/ 52437 h 52437"/>
                  <a:gd name="connsiteX2" fmla="*/ 0 w 91771"/>
                  <a:gd name="connsiteY2" fmla="*/ 45886 h 52437"/>
                  <a:gd name="connsiteX3" fmla="*/ 0 w 91771"/>
                  <a:gd name="connsiteY3" fmla="*/ 6552 h 52437"/>
                  <a:gd name="connsiteX4" fmla="*/ 6551 w 91771"/>
                  <a:gd name="connsiteY4" fmla="*/ 0 h 52437"/>
                  <a:gd name="connsiteX5" fmla="*/ 85220 w 91771"/>
                  <a:gd name="connsiteY5" fmla="*/ 0 h 52437"/>
                  <a:gd name="connsiteX6" fmla="*/ 91772 w 91771"/>
                  <a:gd name="connsiteY6" fmla="*/ 6552 h 52437"/>
                  <a:gd name="connsiteX7" fmla="*/ 91772 w 91771"/>
                  <a:gd name="connsiteY7" fmla="*/ 45886 h 52437"/>
                  <a:gd name="connsiteX8" fmla="*/ 85220 w 91771"/>
                  <a:gd name="connsiteY8" fmla="*/ 52437 h 52437"/>
                  <a:gd name="connsiteX9" fmla="*/ 13076 w 91771"/>
                  <a:gd name="connsiteY9" fmla="*/ 39308 h 52437"/>
                  <a:gd name="connsiteX10" fmla="*/ 78642 w 91771"/>
                  <a:gd name="connsiteY10" fmla="*/ 39308 h 52437"/>
                  <a:gd name="connsiteX11" fmla="*/ 78642 w 91771"/>
                  <a:gd name="connsiteY11" fmla="*/ 13076 h 52437"/>
                  <a:gd name="connsiteX12" fmla="*/ 13076 w 91771"/>
                  <a:gd name="connsiteY12" fmla="*/ 13076 h 52437"/>
                  <a:gd name="connsiteX13" fmla="*/ 13076 w 91771"/>
                  <a:gd name="connsiteY13" fmla="*/ 39308 h 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771" h="52437">
                    <a:moveTo>
                      <a:pt x="85220" y="52437"/>
                    </a:moveTo>
                    <a:lnTo>
                      <a:pt x="6551" y="52437"/>
                    </a:lnTo>
                    <a:cubicBezTo>
                      <a:pt x="2918" y="52437"/>
                      <a:pt x="0" y="49493"/>
                      <a:pt x="0" y="45886"/>
                    </a:cubicBezTo>
                    <a:lnTo>
                      <a:pt x="0" y="6552"/>
                    </a:lnTo>
                    <a:cubicBezTo>
                      <a:pt x="0" y="2918"/>
                      <a:pt x="2944" y="0"/>
                      <a:pt x="6551" y="0"/>
                    </a:cubicBezTo>
                    <a:lnTo>
                      <a:pt x="85220" y="0"/>
                    </a:lnTo>
                    <a:cubicBezTo>
                      <a:pt x="88854" y="0"/>
                      <a:pt x="91772" y="2944"/>
                      <a:pt x="91772" y="6552"/>
                    </a:cubicBezTo>
                    <a:lnTo>
                      <a:pt x="91772" y="45886"/>
                    </a:lnTo>
                    <a:cubicBezTo>
                      <a:pt x="91772" y="49493"/>
                      <a:pt x="88828" y="52437"/>
                      <a:pt x="85220" y="52437"/>
                    </a:cubicBezTo>
                    <a:close/>
                    <a:moveTo>
                      <a:pt x="13076" y="39308"/>
                    </a:moveTo>
                    <a:lnTo>
                      <a:pt x="78642" y="39308"/>
                    </a:lnTo>
                    <a:lnTo>
                      <a:pt x="78642" y="13076"/>
                    </a:lnTo>
                    <a:lnTo>
                      <a:pt x="13076" y="13076"/>
                    </a:lnTo>
                    <a:lnTo>
                      <a:pt x="13076" y="39308"/>
                    </a:lnTo>
                    <a:close/>
                  </a:path>
                </a:pathLst>
              </a:custGeom>
              <a:solidFill>
                <a:schemeClr val="tx2"/>
              </a:solidFill>
              <a:ln w="2651" cap="flat">
                <a:noFill/>
                <a:prstDash val="solid"/>
                <a:miter/>
              </a:ln>
            </p:spPr>
            <p:txBody>
              <a:bodyPr rtlCol="0" anchor="ctr"/>
              <a:lstStyle/>
              <a:p>
                <a:endParaRPr lang="en-GB" dirty="0"/>
              </a:p>
            </p:txBody>
          </p:sp>
          <p:sp>
            <p:nvSpPr>
              <p:cNvPr id="163" name="Freihandform: Form 528">
                <a:extLst>
                  <a:ext uri="{FF2B5EF4-FFF2-40B4-BE49-F238E27FC236}">
                    <a16:creationId xmlns:a16="http://schemas.microsoft.com/office/drawing/2014/main" id="{8838BE7B-CC81-4BAD-9ABF-DA5EFDCAE436}"/>
                  </a:ext>
                </a:extLst>
              </p:cNvPr>
              <p:cNvSpPr/>
              <p:nvPr/>
            </p:nvSpPr>
            <p:spPr>
              <a:xfrm>
                <a:off x="1900557" y="4445763"/>
                <a:ext cx="91771" cy="52437"/>
              </a:xfrm>
              <a:custGeom>
                <a:avLst/>
                <a:gdLst>
                  <a:gd name="connsiteX0" fmla="*/ 85220 w 91771"/>
                  <a:gd name="connsiteY0" fmla="*/ 52437 h 52437"/>
                  <a:gd name="connsiteX1" fmla="*/ 6551 w 91771"/>
                  <a:gd name="connsiteY1" fmla="*/ 52437 h 52437"/>
                  <a:gd name="connsiteX2" fmla="*/ 0 w 91771"/>
                  <a:gd name="connsiteY2" fmla="*/ 45886 h 52437"/>
                  <a:gd name="connsiteX3" fmla="*/ 0 w 91771"/>
                  <a:gd name="connsiteY3" fmla="*/ 6552 h 52437"/>
                  <a:gd name="connsiteX4" fmla="*/ 6551 w 91771"/>
                  <a:gd name="connsiteY4" fmla="*/ 0 h 52437"/>
                  <a:gd name="connsiteX5" fmla="*/ 85220 w 91771"/>
                  <a:gd name="connsiteY5" fmla="*/ 0 h 52437"/>
                  <a:gd name="connsiteX6" fmla="*/ 91772 w 91771"/>
                  <a:gd name="connsiteY6" fmla="*/ 6552 h 52437"/>
                  <a:gd name="connsiteX7" fmla="*/ 91772 w 91771"/>
                  <a:gd name="connsiteY7" fmla="*/ 45886 h 52437"/>
                  <a:gd name="connsiteX8" fmla="*/ 85220 w 91771"/>
                  <a:gd name="connsiteY8" fmla="*/ 52437 h 52437"/>
                  <a:gd name="connsiteX9" fmla="*/ 13103 w 91771"/>
                  <a:gd name="connsiteY9" fmla="*/ 39308 h 52437"/>
                  <a:gd name="connsiteX10" fmla="*/ 78669 w 91771"/>
                  <a:gd name="connsiteY10" fmla="*/ 39308 h 52437"/>
                  <a:gd name="connsiteX11" fmla="*/ 78669 w 91771"/>
                  <a:gd name="connsiteY11" fmla="*/ 13076 h 52437"/>
                  <a:gd name="connsiteX12" fmla="*/ 13103 w 91771"/>
                  <a:gd name="connsiteY12" fmla="*/ 13076 h 52437"/>
                  <a:gd name="connsiteX13" fmla="*/ 13103 w 91771"/>
                  <a:gd name="connsiteY13" fmla="*/ 39308 h 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771" h="52437">
                    <a:moveTo>
                      <a:pt x="85220" y="52437"/>
                    </a:moveTo>
                    <a:lnTo>
                      <a:pt x="6551" y="52437"/>
                    </a:lnTo>
                    <a:cubicBezTo>
                      <a:pt x="2918" y="52437"/>
                      <a:pt x="0" y="49493"/>
                      <a:pt x="0" y="45886"/>
                    </a:cubicBezTo>
                    <a:lnTo>
                      <a:pt x="0" y="6552"/>
                    </a:lnTo>
                    <a:cubicBezTo>
                      <a:pt x="0" y="2918"/>
                      <a:pt x="2944" y="0"/>
                      <a:pt x="6551" y="0"/>
                    </a:cubicBezTo>
                    <a:lnTo>
                      <a:pt x="85220" y="0"/>
                    </a:lnTo>
                    <a:cubicBezTo>
                      <a:pt x="88854" y="0"/>
                      <a:pt x="91772" y="2944"/>
                      <a:pt x="91772" y="6552"/>
                    </a:cubicBezTo>
                    <a:lnTo>
                      <a:pt x="91772" y="45886"/>
                    </a:lnTo>
                    <a:cubicBezTo>
                      <a:pt x="91798" y="49493"/>
                      <a:pt x="88854" y="52437"/>
                      <a:pt x="85220" y="52437"/>
                    </a:cubicBezTo>
                    <a:close/>
                    <a:moveTo>
                      <a:pt x="13103" y="39308"/>
                    </a:moveTo>
                    <a:lnTo>
                      <a:pt x="78669" y="39308"/>
                    </a:lnTo>
                    <a:lnTo>
                      <a:pt x="78669" y="13076"/>
                    </a:lnTo>
                    <a:lnTo>
                      <a:pt x="13103" y="13076"/>
                    </a:lnTo>
                    <a:lnTo>
                      <a:pt x="13103" y="39308"/>
                    </a:lnTo>
                    <a:close/>
                  </a:path>
                </a:pathLst>
              </a:custGeom>
              <a:solidFill>
                <a:schemeClr val="tx2"/>
              </a:solidFill>
              <a:ln w="2651" cap="flat">
                <a:noFill/>
                <a:prstDash val="solid"/>
                <a:miter/>
              </a:ln>
            </p:spPr>
            <p:txBody>
              <a:bodyPr rtlCol="0" anchor="ctr"/>
              <a:lstStyle/>
              <a:p>
                <a:endParaRPr lang="en-GB" dirty="0"/>
              </a:p>
            </p:txBody>
          </p:sp>
          <p:sp>
            <p:nvSpPr>
              <p:cNvPr id="164" name="Freihandform: Form 529">
                <a:extLst>
                  <a:ext uri="{FF2B5EF4-FFF2-40B4-BE49-F238E27FC236}">
                    <a16:creationId xmlns:a16="http://schemas.microsoft.com/office/drawing/2014/main" id="{0EAF663E-7589-4EE7-80A6-1971CCA12ED5}"/>
                  </a:ext>
                </a:extLst>
              </p:cNvPr>
              <p:cNvSpPr/>
              <p:nvPr/>
            </p:nvSpPr>
            <p:spPr>
              <a:xfrm>
                <a:off x="2018560" y="4170369"/>
                <a:ext cx="157364" cy="393397"/>
              </a:xfrm>
              <a:custGeom>
                <a:avLst/>
                <a:gdLst>
                  <a:gd name="connsiteX0" fmla="*/ 150813 w 157364"/>
                  <a:gd name="connsiteY0" fmla="*/ 393398 h 393397"/>
                  <a:gd name="connsiteX1" fmla="*/ 6551 w 157364"/>
                  <a:gd name="connsiteY1" fmla="*/ 393398 h 393397"/>
                  <a:gd name="connsiteX2" fmla="*/ 0 w 157364"/>
                  <a:gd name="connsiteY2" fmla="*/ 386846 h 393397"/>
                  <a:gd name="connsiteX3" fmla="*/ 0 w 157364"/>
                  <a:gd name="connsiteY3" fmla="*/ 6551 h 393397"/>
                  <a:gd name="connsiteX4" fmla="*/ 6551 w 157364"/>
                  <a:gd name="connsiteY4" fmla="*/ 0 h 393397"/>
                  <a:gd name="connsiteX5" fmla="*/ 150813 w 157364"/>
                  <a:gd name="connsiteY5" fmla="*/ 0 h 393397"/>
                  <a:gd name="connsiteX6" fmla="*/ 157364 w 157364"/>
                  <a:gd name="connsiteY6" fmla="*/ 6551 h 393397"/>
                  <a:gd name="connsiteX7" fmla="*/ 157364 w 157364"/>
                  <a:gd name="connsiteY7" fmla="*/ 386846 h 393397"/>
                  <a:gd name="connsiteX8" fmla="*/ 150813 w 157364"/>
                  <a:gd name="connsiteY8" fmla="*/ 393398 h 393397"/>
                  <a:gd name="connsiteX9" fmla="*/ 13129 w 157364"/>
                  <a:gd name="connsiteY9" fmla="*/ 380269 h 393397"/>
                  <a:gd name="connsiteX10" fmla="*/ 144262 w 157364"/>
                  <a:gd name="connsiteY10" fmla="*/ 380269 h 393397"/>
                  <a:gd name="connsiteX11" fmla="*/ 144262 w 157364"/>
                  <a:gd name="connsiteY11" fmla="*/ 13103 h 393397"/>
                  <a:gd name="connsiteX12" fmla="*/ 13129 w 157364"/>
                  <a:gd name="connsiteY12" fmla="*/ 13103 h 393397"/>
                  <a:gd name="connsiteX13" fmla="*/ 13129 w 157364"/>
                  <a:gd name="connsiteY13" fmla="*/ 380269 h 393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64" h="393397">
                    <a:moveTo>
                      <a:pt x="150813" y="393398"/>
                    </a:moveTo>
                    <a:lnTo>
                      <a:pt x="6551" y="393398"/>
                    </a:lnTo>
                    <a:cubicBezTo>
                      <a:pt x="2918" y="393398"/>
                      <a:pt x="0" y="390454"/>
                      <a:pt x="0" y="386846"/>
                    </a:cubicBezTo>
                    <a:lnTo>
                      <a:pt x="0" y="6551"/>
                    </a:lnTo>
                    <a:cubicBezTo>
                      <a:pt x="0" y="2918"/>
                      <a:pt x="2944" y="0"/>
                      <a:pt x="6551" y="0"/>
                    </a:cubicBezTo>
                    <a:lnTo>
                      <a:pt x="150813" y="0"/>
                    </a:lnTo>
                    <a:cubicBezTo>
                      <a:pt x="154447" y="0"/>
                      <a:pt x="157364" y="2944"/>
                      <a:pt x="157364" y="6551"/>
                    </a:cubicBezTo>
                    <a:lnTo>
                      <a:pt x="157364" y="386846"/>
                    </a:lnTo>
                    <a:cubicBezTo>
                      <a:pt x="157364" y="390454"/>
                      <a:pt x="154447" y="393398"/>
                      <a:pt x="150813" y="393398"/>
                    </a:cubicBezTo>
                    <a:close/>
                    <a:moveTo>
                      <a:pt x="13129" y="380269"/>
                    </a:moveTo>
                    <a:lnTo>
                      <a:pt x="144262" y="380269"/>
                    </a:lnTo>
                    <a:lnTo>
                      <a:pt x="144262" y="13103"/>
                    </a:lnTo>
                    <a:lnTo>
                      <a:pt x="13129" y="13103"/>
                    </a:lnTo>
                    <a:lnTo>
                      <a:pt x="13129" y="380269"/>
                    </a:lnTo>
                    <a:close/>
                  </a:path>
                </a:pathLst>
              </a:custGeom>
              <a:solidFill>
                <a:schemeClr val="tx2"/>
              </a:solidFill>
              <a:ln w="2651" cap="flat">
                <a:noFill/>
                <a:prstDash val="solid"/>
                <a:miter/>
              </a:ln>
            </p:spPr>
            <p:txBody>
              <a:bodyPr rtlCol="0" anchor="ctr"/>
              <a:lstStyle/>
              <a:p>
                <a:endParaRPr lang="en-GB" dirty="0"/>
              </a:p>
            </p:txBody>
          </p:sp>
          <p:sp>
            <p:nvSpPr>
              <p:cNvPr id="165" name="Freihandform: Form 531">
                <a:extLst>
                  <a:ext uri="{FF2B5EF4-FFF2-40B4-BE49-F238E27FC236}">
                    <a16:creationId xmlns:a16="http://schemas.microsoft.com/office/drawing/2014/main" id="{DAE1A28F-DDA9-48D1-BDBF-0B58D24D70ED}"/>
                  </a:ext>
                </a:extLst>
              </p:cNvPr>
              <p:cNvSpPr/>
              <p:nvPr/>
            </p:nvSpPr>
            <p:spPr>
              <a:xfrm>
                <a:off x="2057921" y="4216254"/>
                <a:ext cx="78668" cy="13102"/>
              </a:xfrm>
              <a:custGeom>
                <a:avLst/>
                <a:gdLst>
                  <a:gd name="connsiteX0" fmla="*/ 0 w 78668"/>
                  <a:gd name="connsiteY0" fmla="*/ 0 h 13102"/>
                  <a:gd name="connsiteX1" fmla="*/ 78669 w 78668"/>
                  <a:gd name="connsiteY1" fmla="*/ 0 h 13102"/>
                  <a:gd name="connsiteX2" fmla="*/ 78669 w 78668"/>
                  <a:gd name="connsiteY2" fmla="*/ 13103 h 13102"/>
                  <a:gd name="connsiteX3" fmla="*/ 0 w 78668"/>
                  <a:gd name="connsiteY3" fmla="*/ 13103 h 13102"/>
                </a:gdLst>
                <a:ahLst/>
                <a:cxnLst>
                  <a:cxn ang="0">
                    <a:pos x="connsiteX0" y="connsiteY0"/>
                  </a:cxn>
                  <a:cxn ang="0">
                    <a:pos x="connsiteX1" y="connsiteY1"/>
                  </a:cxn>
                  <a:cxn ang="0">
                    <a:pos x="connsiteX2" y="connsiteY2"/>
                  </a:cxn>
                  <a:cxn ang="0">
                    <a:pos x="connsiteX3" y="connsiteY3"/>
                  </a:cxn>
                </a:cxnLst>
                <a:rect l="l" t="t" r="r" b="b"/>
                <a:pathLst>
                  <a:path w="78668" h="13102">
                    <a:moveTo>
                      <a:pt x="0" y="0"/>
                    </a:moveTo>
                    <a:lnTo>
                      <a:pt x="78669" y="0"/>
                    </a:lnTo>
                    <a:lnTo>
                      <a:pt x="78669"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166" name="Freihandform: Form 532">
                <a:extLst>
                  <a:ext uri="{FF2B5EF4-FFF2-40B4-BE49-F238E27FC236}">
                    <a16:creationId xmlns:a16="http://schemas.microsoft.com/office/drawing/2014/main" id="{42D7F531-78D1-4F46-927C-2628F8DDCA77}"/>
                  </a:ext>
                </a:extLst>
              </p:cNvPr>
              <p:cNvSpPr/>
              <p:nvPr/>
            </p:nvSpPr>
            <p:spPr>
              <a:xfrm>
                <a:off x="2057921" y="4262140"/>
                <a:ext cx="78668" cy="13102"/>
              </a:xfrm>
              <a:custGeom>
                <a:avLst/>
                <a:gdLst>
                  <a:gd name="connsiteX0" fmla="*/ 0 w 78668"/>
                  <a:gd name="connsiteY0" fmla="*/ 0 h 13102"/>
                  <a:gd name="connsiteX1" fmla="*/ 78669 w 78668"/>
                  <a:gd name="connsiteY1" fmla="*/ 0 h 13102"/>
                  <a:gd name="connsiteX2" fmla="*/ 78669 w 78668"/>
                  <a:gd name="connsiteY2" fmla="*/ 13103 h 13102"/>
                  <a:gd name="connsiteX3" fmla="*/ 0 w 78668"/>
                  <a:gd name="connsiteY3" fmla="*/ 13103 h 13102"/>
                </a:gdLst>
                <a:ahLst/>
                <a:cxnLst>
                  <a:cxn ang="0">
                    <a:pos x="connsiteX0" y="connsiteY0"/>
                  </a:cxn>
                  <a:cxn ang="0">
                    <a:pos x="connsiteX1" y="connsiteY1"/>
                  </a:cxn>
                  <a:cxn ang="0">
                    <a:pos x="connsiteX2" y="connsiteY2"/>
                  </a:cxn>
                  <a:cxn ang="0">
                    <a:pos x="connsiteX3" y="connsiteY3"/>
                  </a:cxn>
                </a:cxnLst>
                <a:rect l="l" t="t" r="r" b="b"/>
                <a:pathLst>
                  <a:path w="78668" h="13102">
                    <a:moveTo>
                      <a:pt x="0" y="0"/>
                    </a:moveTo>
                    <a:lnTo>
                      <a:pt x="78669" y="0"/>
                    </a:lnTo>
                    <a:lnTo>
                      <a:pt x="78669"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167" name="Freihandform: Form 533">
                <a:extLst>
                  <a:ext uri="{FF2B5EF4-FFF2-40B4-BE49-F238E27FC236}">
                    <a16:creationId xmlns:a16="http://schemas.microsoft.com/office/drawing/2014/main" id="{ED8B1553-E6FE-4642-990F-6BA773C3959F}"/>
                  </a:ext>
                </a:extLst>
              </p:cNvPr>
              <p:cNvSpPr/>
              <p:nvPr/>
            </p:nvSpPr>
            <p:spPr>
              <a:xfrm>
                <a:off x="2057921" y="4308053"/>
                <a:ext cx="78668" cy="13102"/>
              </a:xfrm>
              <a:custGeom>
                <a:avLst/>
                <a:gdLst>
                  <a:gd name="connsiteX0" fmla="*/ 0 w 78668"/>
                  <a:gd name="connsiteY0" fmla="*/ 0 h 13102"/>
                  <a:gd name="connsiteX1" fmla="*/ 78669 w 78668"/>
                  <a:gd name="connsiteY1" fmla="*/ 0 h 13102"/>
                  <a:gd name="connsiteX2" fmla="*/ 78669 w 78668"/>
                  <a:gd name="connsiteY2" fmla="*/ 13103 h 13102"/>
                  <a:gd name="connsiteX3" fmla="*/ 0 w 78668"/>
                  <a:gd name="connsiteY3" fmla="*/ 13103 h 13102"/>
                </a:gdLst>
                <a:ahLst/>
                <a:cxnLst>
                  <a:cxn ang="0">
                    <a:pos x="connsiteX0" y="connsiteY0"/>
                  </a:cxn>
                  <a:cxn ang="0">
                    <a:pos x="connsiteX1" y="connsiteY1"/>
                  </a:cxn>
                  <a:cxn ang="0">
                    <a:pos x="connsiteX2" y="connsiteY2"/>
                  </a:cxn>
                  <a:cxn ang="0">
                    <a:pos x="connsiteX3" y="connsiteY3"/>
                  </a:cxn>
                </a:cxnLst>
                <a:rect l="l" t="t" r="r" b="b"/>
                <a:pathLst>
                  <a:path w="78668" h="13102">
                    <a:moveTo>
                      <a:pt x="0" y="0"/>
                    </a:moveTo>
                    <a:lnTo>
                      <a:pt x="78669" y="0"/>
                    </a:lnTo>
                    <a:lnTo>
                      <a:pt x="78669"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168" name="Freihandform: Form 534">
                <a:extLst>
                  <a:ext uri="{FF2B5EF4-FFF2-40B4-BE49-F238E27FC236}">
                    <a16:creationId xmlns:a16="http://schemas.microsoft.com/office/drawing/2014/main" id="{346A0D09-154C-48CE-A545-EBC73F6B3494}"/>
                  </a:ext>
                </a:extLst>
              </p:cNvPr>
              <p:cNvSpPr/>
              <p:nvPr/>
            </p:nvSpPr>
            <p:spPr>
              <a:xfrm>
                <a:off x="2057921" y="4353938"/>
                <a:ext cx="78668" cy="13102"/>
              </a:xfrm>
              <a:custGeom>
                <a:avLst/>
                <a:gdLst>
                  <a:gd name="connsiteX0" fmla="*/ 0 w 78668"/>
                  <a:gd name="connsiteY0" fmla="*/ 0 h 13102"/>
                  <a:gd name="connsiteX1" fmla="*/ 78669 w 78668"/>
                  <a:gd name="connsiteY1" fmla="*/ 0 h 13102"/>
                  <a:gd name="connsiteX2" fmla="*/ 78669 w 78668"/>
                  <a:gd name="connsiteY2" fmla="*/ 13102 h 13102"/>
                  <a:gd name="connsiteX3" fmla="*/ 0 w 78668"/>
                  <a:gd name="connsiteY3" fmla="*/ 13102 h 13102"/>
                </a:gdLst>
                <a:ahLst/>
                <a:cxnLst>
                  <a:cxn ang="0">
                    <a:pos x="connsiteX0" y="connsiteY0"/>
                  </a:cxn>
                  <a:cxn ang="0">
                    <a:pos x="connsiteX1" y="connsiteY1"/>
                  </a:cxn>
                  <a:cxn ang="0">
                    <a:pos x="connsiteX2" y="connsiteY2"/>
                  </a:cxn>
                  <a:cxn ang="0">
                    <a:pos x="connsiteX3" y="connsiteY3"/>
                  </a:cxn>
                </a:cxnLst>
                <a:rect l="l" t="t" r="r" b="b"/>
                <a:pathLst>
                  <a:path w="78668" h="13102">
                    <a:moveTo>
                      <a:pt x="0" y="0"/>
                    </a:moveTo>
                    <a:lnTo>
                      <a:pt x="78669" y="0"/>
                    </a:lnTo>
                    <a:lnTo>
                      <a:pt x="78669" y="13102"/>
                    </a:lnTo>
                    <a:lnTo>
                      <a:pt x="0" y="13102"/>
                    </a:lnTo>
                    <a:close/>
                  </a:path>
                </a:pathLst>
              </a:custGeom>
              <a:solidFill>
                <a:schemeClr val="tx2"/>
              </a:solidFill>
              <a:ln w="2651" cap="flat">
                <a:noFill/>
                <a:prstDash val="solid"/>
                <a:miter/>
              </a:ln>
            </p:spPr>
            <p:txBody>
              <a:bodyPr rtlCol="0" anchor="ctr"/>
              <a:lstStyle/>
              <a:p>
                <a:endParaRPr lang="en-GB" dirty="0"/>
              </a:p>
            </p:txBody>
          </p:sp>
          <p:sp>
            <p:nvSpPr>
              <p:cNvPr id="169" name="Freihandform: Form 535">
                <a:extLst>
                  <a:ext uri="{FF2B5EF4-FFF2-40B4-BE49-F238E27FC236}">
                    <a16:creationId xmlns:a16="http://schemas.microsoft.com/office/drawing/2014/main" id="{FCDC82B7-FF43-477A-B0DE-946AE933F499}"/>
                  </a:ext>
                </a:extLst>
              </p:cNvPr>
              <p:cNvSpPr/>
              <p:nvPr/>
            </p:nvSpPr>
            <p:spPr>
              <a:xfrm>
                <a:off x="2057921" y="4399851"/>
                <a:ext cx="78668" cy="13102"/>
              </a:xfrm>
              <a:custGeom>
                <a:avLst/>
                <a:gdLst>
                  <a:gd name="connsiteX0" fmla="*/ 0 w 78668"/>
                  <a:gd name="connsiteY0" fmla="*/ 0 h 13102"/>
                  <a:gd name="connsiteX1" fmla="*/ 78669 w 78668"/>
                  <a:gd name="connsiteY1" fmla="*/ 0 h 13102"/>
                  <a:gd name="connsiteX2" fmla="*/ 78669 w 78668"/>
                  <a:gd name="connsiteY2" fmla="*/ 13103 h 13102"/>
                  <a:gd name="connsiteX3" fmla="*/ 0 w 78668"/>
                  <a:gd name="connsiteY3" fmla="*/ 13103 h 13102"/>
                </a:gdLst>
                <a:ahLst/>
                <a:cxnLst>
                  <a:cxn ang="0">
                    <a:pos x="connsiteX0" y="connsiteY0"/>
                  </a:cxn>
                  <a:cxn ang="0">
                    <a:pos x="connsiteX1" y="connsiteY1"/>
                  </a:cxn>
                  <a:cxn ang="0">
                    <a:pos x="connsiteX2" y="connsiteY2"/>
                  </a:cxn>
                  <a:cxn ang="0">
                    <a:pos x="connsiteX3" y="connsiteY3"/>
                  </a:cxn>
                </a:cxnLst>
                <a:rect l="l" t="t" r="r" b="b"/>
                <a:pathLst>
                  <a:path w="78668" h="13102">
                    <a:moveTo>
                      <a:pt x="0" y="0"/>
                    </a:moveTo>
                    <a:lnTo>
                      <a:pt x="78669" y="0"/>
                    </a:lnTo>
                    <a:lnTo>
                      <a:pt x="78669"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170" name="Freihandform: Form 536">
                <a:extLst>
                  <a:ext uri="{FF2B5EF4-FFF2-40B4-BE49-F238E27FC236}">
                    <a16:creationId xmlns:a16="http://schemas.microsoft.com/office/drawing/2014/main" id="{11D31EBA-67DB-4398-BCB7-EB39B7A5161C}"/>
                  </a:ext>
                </a:extLst>
              </p:cNvPr>
              <p:cNvSpPr/>
              <p:nvPr/>
            </p:nvSpPr>
            <p:spPr>
              <a:xfrm>
                <a:off x="2057921" y="4445736"/>
                <a:ext cx="78668" cy="13102"/>
              </a:xfrm>
              <a:custGeom>
                <a:avLst/>
                <a:gdLst>
                  <a:gd name="connsiteX0" fmla="*/ 0 w 78668"/>
                  <a:gd name="connsiteY0" fmla="*/ 0 h 13102"/>
                  <a:gd name="connsiteX1" fmla="*/ 78669 w 78668"/>
                  <a:gd name="connsiteY1" fmla="*/ 0 h 13102"/>
                  <a:gd name="connsiteX2" fmla="*/ 78669 w 78668"/>
                  <a:gd name="connsiteY2" fmla="*/ 13102 h 13102"/>
                  <a:gd name="connsiteX3" fmla="*/ 0 w 78668"/>
                  <a:gd name="connsiteY3" fmla="*/ 13102 h 13102"/>
                </a:gdLst>
                <a:ahLst/>
                <a:cxnLst>
                  <a:cxn ang="0">
                    <a:pos x="connsiteX0" y="connsiteY0"/>
                  </a:cxn>
                  <a:cxn ang="0">
                    <a:pos x="connsiteX1" y="connsiteY1"/>
                  </a:cxn>
                  <a:cxn ang="0">
                    <a:pos x="connsiteX2" y="connsiteY2"/>
                  </a:cxn>
                  <a:cxn ang="0">
                    <a:pos x="connsiteX3" y="connsiteY3"/>
                  </a:cxn>
                </a:cxnLst>
                <a:rect l="l" t="t" r="r" b="b"/>
                <a:pathLst>
                  <a:path w="78668" h="13102">
                    <a:moveTo>
                      <a:pt x="0" y="0"/>
                    </a:moveTo>
                    <a:lnTo>
                      <a:pt x="78669" y="0"/>
                    </a:lnTo>
                    <a:lnTo>
                      <a:pt x="78669" y="13102"/>
                    </a:lnTo>
                    <a:lnTo>
                      <a:pt x="0" y="13102"/>
                    </a:lnTo>
                    <a:close/>
                  </a:path>
                </a:pathLst>
              </a:custGeom>
              <a:solidFill>
                <a:schemeClr val="tx2"/>
              </a:solidFill>
              <a:ln w="2651" cap="flat">
                <a:noFill/>
                <a:prstDash val="solid"/>
                <a:miter/>
              </a:ln>
            </p:spPr>
            <p:txBody>
              <a:bodyPr rtlCol="0" anchor="ctr"/>
              <a:lstStyle/>
              <a:p>
                <a:endParaRPr lang="en-GB" dirty="0"/>
              </a:p>
            </p:txBody>
          </p:sp>
        </p:grpSp>
        <p:grpSp>
          <p:nvGrpSpPr>
            <p:cNvPr id="155" name="Group 154">
              <a:extLst>
                <a:ext uri="{FF2B5EF4-FFF2-40B4-BE49-F238E27FC236}">
                  <a16:creationId xmlns:a16="http://schemas.microsoft.com/office/drawing/2014/main" id="{F77A660F-90A8-47BF-85F4-AF09AF4FC9B7}"/>
                </a:ext>
              </a:extLst>
            </p:cNvPr>
            <p:cNvGrpSpPr/>
            <p:nvPr/>
          </p:nvGrpSpPr>
          <p:grpSpPr>
            <a:xfrm>
              <a:off x="1623544" y="2391526"/>
              <a:ext cx="273252" cy="186873"/>
              <a:chOff x="1716950" y="4078425"/>
              <a:chExt cx="306992" cy="209947"/>
            </a:xfrm>
          </p:grpSpPr>
          <p:sp>
            <p:nvSpPr>
              <p:cNvPr id="156" name="Freihandform: Form 537">
                <a:extLst>
                  <a:ext uri="{FF2B5EF4-FFF2-40B4-BE49-F238E27FC236}">
                    <a16:creationId xmlns:a16="http://schemas.microsoft.com/office/drawing/2014/main" id="{53E4E0A0-EDD7-4BF5-974F-F07AA09DE499}"/>
                  </a:ext>
                </a:extLst>
              </p:cNvPr>
              <p:cNvSpPr/>
              <p:nvPr/>
            </p:nvSpPr>
            <p:spPr>
              <a:xfrm>
                <a:off x="1716950" y="4078568"/>
                <a:ext cx="301632" cy="209804"/>
              </a:xfrm>
              <a:custGeom>
                <a:avLst/>
                <a:gdLst>
                  <a:gd name="connsiteX0" fmla="*/ 6562 w 301632"/>
                  <a:gd name="connsiteY0" fmla="*/ 209804 h 209804"/>
                  <a:gd name="connsiteX1" fmla="*/ 1629 w 301632"/>
                  <a:gd name="connsiteY1" fmla="*/ 207576 h 209804"/>
                  <a:gd name="connsiteX2" fmla="*/ 2239 w 301632"/>
                  <a:gd name="connsiteY2" fmla="*/ 198320 h 209804"/>
                  <a:gd name="connsiteX3" fmla="*/ 107139 w 301632"/>
                  <a:gd name="connsiteY3" fmla="*/ 106522 h 209804"/>
                  <a:gd name="connsiteX4" fmla="*/ 112338 w 301632"/>
                  <a:gd name="connsiteY4" fmla="*/ 104957 h 209804"/>
                  <a:gd name="connsiteX5" fmla="*/ 206815 w 301632"/>
                  <a:gd name="connsiteY5" fmla="*/ 117555 h 209804"/>
                  <a:gd name="connsiteX6" fmla="*/ 289754 w 301632"/>
                  <a:gd name="connsiteY6" fmla="*/ 2708 h 209804"/>
                  <a:gd name="connsiteX7" fmla="*/ 298905 w 301632"/>
                  <a:gd name="connsiteY7" fmla="*/ 1223 h 209804"/>
                  <a:gd name="connsiteX8" fmla="*/ 300390 w 301632"/>
                  <a:gd name="connsiteY8" fmla="*/ 10374 h 209804"/>
                  <a:gd name="connsiteX9" fmla="*/ 215143 w 301632"/>
                  <a:gd name="connsiteY9" fmla="*/ 128403 h 209804"/>
                  <a:gd name="connsiteX10" fmla="*/ 208963 w 301632"/>
                  <a:gd name="connsiteY10" fmla="*/ 131056 h 209804"/>
                  <a:gd name="connsiteX11" fmla="*/ 113558 w 301632"/>
                  <a:gd name="connsiteY11" fmla="*/ 118325 h 209804"/>
                  <a:gd name="connsiteX12" fmla="*/ 10885 w 301632"/>
                  <a:gd name="connsiteY12" fmla="*/ 208160 h 209804"/>
                  <a:gd name="connsiteX13" fmla="*/ 6562 w 301632"/>
                  <a:gd name="connsiteY13" fmla="*/ 209804 h 209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1632" h="209804">
                    <a:moveTo>
                      <a:pt x="6562" y="209804"/>
                    </a:moveTo>
                    <a:cubicBezTo>
                      <a:pt x="4732" y="209804"/>
                      <a:pt x="2928" y="209062"/>
                      <a:pt x="1629" y="207576"/>
                    </a:cubicBezTo>
                    <a:cubicBezTo>
                      <a:pt x="-758" y="204844"/>
                      <a:pt x="-493" y="200707"/>
                      <a:pt x="2239" y="198320"/>
                    </a:cubicBezTo>
                    <a:lnTo>
                      <a:pt x="107139" y="106522"/>
                    </a:lnTo>
                    <a:cubicBezTo>
                      <a:pt x="108572" y="105275"/>
                      <a:pt x="110428" y="104691"/>
                      <a:pt x="112338" y="104957"/>
                    </a:cubicBezTo>
                    <a:lnTo>
                      <a:pt x="206815" y="117555"/>
                    </a:lnTo>
                    <a:lnTo>
                      <a:pt x="289754" y="2708"/>
                    </a:lnTo>
                    <a:cubicBezTo>
                      <a:pt x="291876" y="-209"/>
                      <a:pt x="295987" y="-872"/>
                      <a:pt x="298905" y="1223"/>
                    </a:cubicBezTo>
                    <a:cubicBezTo>
                      <a:pt x="301849" y="3345"/>
                      <a:pt x="302512" y="7429"/>
                      <a:pt x="300390" y="10374"/>
                    </a:cubicBezTo>
                    <a:lnTo>
                      <a:pt x="215143" y="128403"/>
                    </a:lnTo>
                    <a:cubicBezTo>
                      <a:pt x="213738" y="130366"/>
                      <a:pt x="211351" y="131374"/>
                      <a:pt x="208963" y="131056"/>
                    </a:cubicBezTo>
                    <a:lnTo>
                      <a:pt x="113558" y="118325"/>
                    </a:lnTo>
                    <a:lnTo>
                      <a:pt x="10885" y="208160"/>
                    </a:lnTo>
                    <a:cubicBezTo>
                      <a:pt x="9639" y="209274"/>
                      <a:pt x="8100" y="209804"/>
                      <a:pt x="6562" y="209804"/>
                    </a:cubicBezTo>
                    <a:close/>
                  </a:path>
                </a:pathLst>
              </a:custGeom>
              <a:solidFill>
                <a:schemeClr val="accent1"/>
              </a:solidFill>
              <a:ln w="2651" cap="flat">
                <a:noFill/>
                <a:prstDash val="solid"/>
                <a:miter/>
              </a:ln>
            </p:spPr>
            <p:txBody>
              <a:bodyPr rtlCol="0" anchor="ctr"/>
              <a:lstStyle/>
              <a:p>
                <a:endParaRPr lang="en-GB" dirty="0"/>
              </a:p>
            </p:txBody>
          </p:sp>
          <p:sp>
            <p:nvSpPr>
              <p:cNvPr id="157" name="Freihandform: Form 538">
                <a:extLst>
                  <a:ext uri="{FF2B5EF4-FFF2-40B4-BE49-F238E27FC236}">
                    <a16:creationId xmlns:a16="http://schemas.microsoft.com/office/drawing/2014/main" id="{D76BE217-6BE5-4B93-A289-49611C52B1A0}"/>
                  </a:ext>
                </a:extLst>
              </p:cNvPr>
              <p:cNvSpPr/>
              <p:nvPr/>
            </p:nvSpPr>
            <p:spPr>
              <a:xfrm>
                <a:off x="1979944" y="4078425"/>
                <a:ext cx="43998" cy="38843"/>
              </a:xfrm>
              <a:custGeom>
                <a:avLst/>
                <a:gdLst>
                  <a:gd name="connsiteX0" fmla="*/ 37396 w 43998"/>
                  <a:gd name="connsiteY0" fmla="*/ 38843 h 38843"/>
                  <a:gd name="connsiteX1" fmla="*/ 30977 w 43998"/>
                  <a:gd name="connsiteY1" fmla="*/ 33565 h 38843"/>
                  <a:gd name="connsiteX2" fmla="*/ 27131 w 43998"/>
                  <a:gd name="connsiteY2" fmla="*/ 14282 h 38843"/>
                  <a:gd name="connsiteX3" fmla="*/ 7849 w 43998"/>
                  <a:gd name="connsiteY3" fmla="*/ 18128 h 38843"/>
                  <a:gd name="connsiteX4" fmla="*/ 130 w 43998"/>
                  <a:gd name="connsiteY4" fmla="*/ 12983 h 38843"/>
                  <a:gd name="connsiteX5" fmla="*/ 5276 w 43998"/>
                  <a:gd name="connsiteY5" fmla="*/ 5265 h 38843"/>
                  <a:gd name="connsiteX6" fmla="*/ 31004 w 43998"/>
                  <a:gd name="connsiteY6" fmla="*/ 119 h 38843"/>
                  <a:gd name="connsiteX7" fmla="*/ 35937 w 43998"/>
                  <a:gd name="connsiteY7" fmla="*/ 1100 h 38843"/>
                  <a:gd name="connsiteX8" fmla="*/ 38722 w 43998"/>
                  <a:gd name="connsiteY8" fmla="*/ 5265 h 38843"/>
                  <a:gd name="connsiteX9" fmla="*/ 43868 w 43998"/>
                  <a:gd name="connsiteY9" fmla="*/ 30992 h 38843"/>
                  <a:gd name="connsiteX10" fmla="*/ 38722 w 43998"/>
                  <a:gd name="connsiteY10" fmla="*/ 38711 h 38843"/>
                  <a:gd name="connsiteX11" fmla="*/ 37396 w 43998"/>
                  <a:gd name="connsiteY11" fmla="*/ 38843 h 38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998" h="38843">
                    <a:moveTo>
                      <a:pt x="37396" y="38843"/>
                    </a:moveTo>
                    <a:cubicBezTo>
                      <a:pt x="34346" y="38843"/>
                      <a:pt x="31587" y="36695"/>
                      <a:pt x="30977" y="33565"/>
                    </a:cubicBezTo>
                    <a:lnTo>
                      <a:pt x="27131" y="14282"/>
                    </a:lnTo>
                    <a:lnTo>
                      <a:pt x="7849" y="18128"/>
                    </a:lnTo>
                    <a:cubicBezTo>
                      <a:pt x="4268" y="18871"/>
                      <a:pt x="847" y="16537"/>
                      <a:pt x="130" y="12983"/>
                    </a:cubicBezTo>
                    <a:cubicBezTo>
                      <a:pt x="-586" y="9429"/>
                      <a:pt x="1722" y="5981"/>
                      <a:pt x="5276" y="5265"/>
                    </a:cubicBezTo>
                    <a:lnTo>
                      <a:pt x="31004" y="119"/>
                    </a:lnTo>
                    <a:cubicBezTo>
                      <a:pt x="32728" y="-199"/>
                      <a:pt x="34478" y="119"/>
                      <a:pt x="35937" y="1100"/>
                    </a:cubicBezTo>
                    <a:cubicBezTo>
                      <a:pt x="37396" y="2055"/>
                      <a:pt x="38377" y="3567"/>
                      <a:pt x="38722" y="5265"/>
                    </a:cubicBezTo>
                    <a:lnTo>
                      <a:pt x="43868" y="30992"/>
                    </a:lnTo>
                    <a:cubicBezTo>
                      <a:pt x="44584" y="34546"/>
                      <a:pt x="42276" y="37995"/>
                      <a:pt x="38722" y="38711"/>
                    </a:cubicBezTo>
                    <a:cubicBezTo>
                      <a:pt x="38245" y="38790"/>
                      <a:pt x="37820" y="38843"/>
                      <a:pt x="37396" y="38843"/>
                    </a:cubicBezTo>
                    <a:close/>
                  </a:path>
                </a:pathLst>
              </a:custGeom>
              <a:solidFill>
                <a:schemeClr val="accent1"/>
              </a:solidFill>
              <a:ln w="2651" cap="flat">
                <a:noFill/>
                <a:prstDash val="solid"/>
                <a:miter/>
              </a:ln>
            </p:spPr>
            <p:txBody>
              <a:bodyPr rtlCol="0" anchor="ctr"/>
              <a:lstStyle/>
              <a:p>
                <a:endParaRPr lang="en-GB" dirty="0"/>
              </a:p>
            </p:txBody>
          </p:sp>
        </p:grpSp>
      </p:grpSp>
      <p:grpSp>
        <p:nvGrpSpPr>
          <p:cNvPr id="13" name="Group 12">
            <a:extLst>
              <a:ext uri="{FF2B5EF4-FFF2-40B4-BE49-F238E27FC236}">
                <a16:creationId xmlns:a16="http://schemas.microsoft.com/office/drawing/2014/main" id="{CFA447D9-5EF2-487A-92D0-D9F0A8AF2466}"/>
              </a:ext>
            </a:extLst>
          </p:cNvPr>
          <p:cNvGrpSpPr/>
          <p:nvPr/>
        </p:nvGrpSpPr>
        <p:grpSpPr>
          <a:xfrm>
            <a:off x="620360" y="2425618"/>
            <a:ext cx="347380" cy="363816"/>
            <a:chOff x="620360" y="2425618"/>
            <a:chExt cx="347380" cy="363816"/>
          </a:xfrm>
        </p:grpSpPr>
        <p:grpSp>
          <p:nvGrpSpPr>
            <p:cNvPr id="172" name="Group 171">
              <a:extLst>
                <a:ext uri="{FF2B5EF4-FFF2-40B4-BE49-F238E27FC236}">
                  <a16:creationId xmlns:a16="http://schemas.microsoft.com/office/drawing/2014/main" id="{7A9A0352-AA2B-446A-B06A-442C82983DCB}"/>
                </a:ext>
              </a:extLst>
            </p:cNvPr>
            <p:cNvGrpSpPr/>
            <p:nvPr/>
          </p:nvGrpSpPr>
          <p:grpSpPr>
            <a:xfrm>
              <a:off x="736203" y="2425618"/>
              <a:ext cx="116363" cy="363816"/>
              <a:chOff x="1061295" y="4097800"/>
              <a:chExt cx="138405" cy="432732"/>
            </a:xfrm>
          </p:grpSpPr>
          <p:sp>
            <p:nvSpPr>
              <p:cNvPr id="179" name="Freihandform: Form 498">
                <a:extLst>
                  <a:ext uri="{FF2B5EF4-FFF2-40B4-BE49-F238E27FC236}">
                    <a16:creationId xmlns:a16="http://schemas.microsoft.com/office/drawing/2014/main" id="{76B1BE04-82EC-4E15-BC9D-864B002C14F7}"/>
                  </a:ext>
                </a:extLst>
              </p:cNvPr>
              <p:cNvSpPr/>
              <p:nvPr/>
            </p:nvSpPr>
            <p:spPr>
              <a:xfrm>
                <a:off x="1061295" y="4216782"/>
                <a:ext cx="138405" cy="213544"/>
              </a:xfrm>
              <a:custGeom>
                <a:avLst/>
                <a:gdLst>
                  <a:gd name="connsiteX0" fmla="*/ 69176 w 138405"/>
                  <a:gd name="connsiteY0" fmla="*/ 213545 h 213544"/>
                  <a:gd name="connsiteX1" fmla="*/ 65702 w 138405"/>
                  <a:gd name="connsiteY1" fmla="*/ 212537 h 213544"/>
                  <a:gd name="connsiteX2" fmla="*/ 63606 w 138405"/>
                  <a:gd name="connsiteY2" fmla="*/ 203492 h 213544"/>
                  <a:gd name="connsiteX3" fmla="*/ 119969 w 138405"/>
                  <a:gd name="connsiteY3" fmla="*/ 113312 h 213544"/>
                  <a:gd name="connsiteX4" fmla="*/ 6554 w 138405"/>
                  <a:gd name="connsiteY4" fmla="*/ 113312 h 213544"/>
                  <a:gd name="connsiteX5" fmla="*/ 825 w 138405"/>
                  <a:gd name="connsiteY5" fmla="*/ 109943 h 213544"/>
                  <a:gd name="connsiteX6" fmla="*/ 1011 w 138405"/>
                  <a:gd name="connsiteY6" fmla="*/ 103286 h 213544"/>
                  <a:gd name="connsiteX7" fmla="*/ 63633 w 138405"/>
                  <a:gd name="connsiteY7" fmla="*/ 3080 h 213544"/>
                  <a:gd name="connsiteX8" fmla="*/ 72677 w 138405"/>
                  <a:gd name="connsiteY8" fmla="*/ 1011 h 213544"/>
                  <a:gd name="connsiteX9" fmla="*/ 74773 w 138405"/>
                  <a:gd name="connsiteY9" fmla="*/ 10056 h 213544"/>
                  <a:gd name="connsiteX10" fmla="*/ 18410 w 138405"/>
                  <a:gd name="connsiteY10" fmla="*/ 100236 h 213544"/>
                  <a:gd name="connsiteX11" fmla="*/ 131851 w 138405"/>
                  <a:gd name="connsiteY11" fmla="*/ 100236 h 213544"/>
                  <a:gd name="connsiteX12" fmla="*/ 137580 w 138405"/>
                  <a:gd name="connsiteY12" fmla="*/ 103604 h 213544"/>
                  <a:gd name="connsiteX13" fmla="*/ 137395 w 138405"/>
                  <a:gd name="connsiteY13" fmla="*/ 110262 h 213544"/>
                  <a:gd name="connsiteX14" fmla="*/ 74773 w 138405"/>
                  <a:gd name="connsiteY14" fmla="*/ 210468 h 213544"/>
                  <a:gd name="connsiteX15" fmla="*/ 69176 w 138405"/>
                  <a:gd name="connsiteY15" fmla="*/ 213545 h 213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405" h="213544">
                    <a:moveTo>
                      <a:pt x="69176" y="213545"/>
                    </a:moveTo>
                    <a:cubicBezTo>
                      <a:pt x="67983" y="213545"/>
                      <a:pt x="66789" y="213226"/>
                      <a:pt x="65702" y="212537"/>
                    </a:cubicBezTo>
                    <a:cubicBezTo>
                      <a:pt x="62625" y="210627"/>
                      <a:pt x="61697" y="206569"/>
                      <a:pt x="63606" y="203492"/>
                    </a:cubicBezTo>
                    <a:lnTo>
                      <a:pt x="119969" y="113312"/>
                    </a:lnTo>
                    <a:lnTo>
                      <a:pt x="6554" y="113312"/>
                    </a:lnTo>
                    <a:cubicBezTo>
                      <a:pt x="4167" y="113312"/>
                      <a:pt x="1965" y="112012"/>
                      <a:pt x="825" y="109943"/>
                    </a:cubicBezTo>
                    <a:cubicBezTo>
                      <a:pt x="-342" y="107875"/>
                      <a:pt x="-263" y="105302"/>
                      <a:pt x="1011" y="103286"/>
                    </a:cubicBezTo>
                    <a:lnTo>
                      <a:pt x="63633" y="3080"/>
                    </a:lnTo>
                    <a:cubicBezTo>
                      <a:pt x="65569" y="3"/>
                      <a:pt x="69601" y="-925"/>
                      <a:pt x="72677" y="1011"/>
                    </a:cubicBezTo>
                    <a:cubicBezTo>
                      <a:pt x="75754" y="2921"/>
                      <a:pt x="76682" y="6979"/>
                      <a:pt x="74773" y="10056"/>
                    </a:cubicBezTo>
                    <a:lnTo>
                      <a:pt x="18410" y="100236"/>
                    </a:lnTo>
                    <a:lnTo>
                      <a:pt x="131851" y="100236"/>
                    </a:lnTo>
                    <a:cubicBezTo>
                      <a:pt x="134239" y="100236"/>
                      <a:pt x="136440" y="101536"/>
                      <a:pt x="137580" y="103604"/>
                    </a:cubicBezTo>
                    <a:cubicBezTo>
                      <a:pt x="138748" y="105673"/>
                      <a:pt x="138668" y="108246"/>
                      <a:pt x="137395" y="110262"/>
                    </a:cubicBezTo>
                    <a:lnTo>
                      <a:pt x="74773" y="210468"/>
                    </a:lnTo>
                    <a:cubicBezTo>
                      <a:pt x="73500" y="212457"/>
                      <a:pt x="71378" y="213545"/>
                      <a:pt x="69176" y="213545"/>
                    </a:cubicBezTo>
                    <a:close/>
                  </a:path>
                </a:pathLst>
              </a:custGeom>
              <a:solidFill>
                <a:schemeClr val="accent1"/>
              </a:solidFill>
              <a:ln w="2651" cap="flat">
                <a:noFill/>
                <a:prstDash val="solid"/>
                <a:miter/>
              </a:ln>
            </p:spPr>
            <p:txBody>
              <a:bodyPr rtlCol="0" anchor="ctr"/>
              <a:lstStyle/>
              <a:p>
                <a:endParaRPr lang="en-GB" dirty="0"/>
              </a:p>
            </p:txBody>
          </p:sp>
          <p:sp>
            <p:nvSpPr>
              <p:cNvPr id="180" name="Freihandform: Form 501">
                <a:extLst>
                  <a:ext uri="{FF2B5EF4-FFF2-40B4-BE49-F238E27FC236}">
                    <a16:creationId xmlns:a16="http://schemas.microsoft.com/office/drawing/2014/main" id="{5619891A-A8EA-4941-81F4-3D651F16E4F8}"/>
                  </a:ext>
                </a:extLst>
              </p:cNvPr>
              <p:cNvSpPr/>
              <p:nvPr/>
            </p:nvSpPr>
            <p:spPr>
              <a:xfrm>
                <a:off x="1123920" y="4097800"/>
                <a:ext cx="13102" cy="50686"/>
              </a:xfrm>
              <a:custGeom>
                <a:avLst/>
                <a:gdLst>
                  <a:gd name="connsiteX0" fmla="*/ 6551 w 13102"/>
                  <a:gd name="connsiteY0" fmla="*/ 50687 h 50686"/>
                  <a:gd name="connsiteX1" fmla="*/ 0 w 13102"/>
                  <a:gd name="connsiteY1" fmla="*/ 44135 h 50686"/>
                  <a:gd name="connsiteX2" fmla="*/ 0 w 13102"/>
                  <a:gd name="connsiteY2" fmla="*/ 6551 h 50686"/>
                  <a:gd name="connsiteX3" fmla="*/ 6551 w 13102"/>
                  <a:gd name="connsiteY3" fmla="*/ 0 h 50686"/>
                  <a:gd name="connsiteX4" fmla="*/ 13103 w 13102"/>
                  <a:gd name="connsiteY4" fmla="*/ 6551 h 50686"/>
                  <a:gd name="connsiteX5" fmla="*/ 13103 w 13102"/>
                  <a:gd name="connsiteY5" fmla="*/ 44135 h 50686"/>
                  <a:gd name="connsiteX6" fmla="*/ 6551 w 13102"/>
                  <a:gd name="connsiteY6" fmla="*/ 50687 h 50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2" h="50686">
                    <a:moveTo>
                      <a:pt x="6551" y="50687"/>
                    </a:moveTo>
                    <a:cubicBezTo>
                      <a:pt x="2918" y="50687"/>
                      <a:pt x="0" y="47742"/>
                      <a:pt x="0" y="44135"/>
                    </a:cubicBezTo>
                    <a:lnTo>
                      <a:pt x="0" y="6551"/>
                    </a:lnTo>
                    <a:cubicBezTo>
                      <a:pt x="0" y="2918"/>
                      <a:pt x="2944" y="0"/>
                      <a:pt x="6551" y="0"/>
                    </a:cubicBezTo>
                    <a:cubicBezTo>
                      <a:pt x="10185" y="0"/>
                      <a:pt x="13103" y="2944"/>
                      <a:pt x="13103" y="6551"/>
                    </a:cubicBezTo>
                    <a:lnTo>
                      <a:pt x="13103" y="44135"/>
                    </a:lnTo>
                    <a:cubicBezTo>
                      <a:pt x="13129" y="47742"/>
                      <a:pt x="10185" y="50687"/>
                      <a:pt x="6551" y="50687"/>
                    </a:cubicBezTo>
                    <a:close/>
                  </a:path>
                </a:pathLst>
              </a:custGeom>
              <a:solidFill>
                <a:schemeClr val="accent1"/>
              </a:solidFill>
              <a:ln w="2651" cap="flat">
                <a:noFill/>
                <a:prstDash val="solid"/>
                <a:miter/>
              </a:ln>
            </p:spPr>
            <p:txBody>
              <a:bodyPr rtlCol="0" anchor="ctr"/>
              <a:lstStyle/>
              <a:p>
                <a:endParaRPr lang="en-GB" dirty="0"/>
              </a:p>
            </p:txBody>
          </p:sp>
          <p:sp>
            <p:nvSpPr>
              <p:cNvPr id="181" name="Freihandform: Form 502">
                <a:extLst>
                  <a:ext uri="{FF2B5EF4-FFF2-40B4-BE49-F238E27FC236}">
                    <a16:creationId xmlns:a16="http://schemas.microsoft.com/office/drawing/2014/main" id="{81C4139E-2F4F-4392-94DA-83943AB4F22D}"/>
                  </a:ext>
                </a:extLst>
              </p:cNvPr>
              <p:cNvSpPr/>
              <p:nvPr/>
            </p:nvSpPr>
            <p:spPr>
              <a:xfrm>
                <a:off x="1105141" y="4116579"/>
                <a:ext cx="50686" cy="13102"/>
              </a:xfrm>
              <a:custGeom>
                <a:avLst/>
                <a:gdLst>
                  <a:gd name="connsiteX0" fmla="*/ 44135 w 50686"/>
                  <a:gd name="connsiteY0" fmla="*/ 13103 h 13102"/>
                  <a:gd name="connsiteX1" fmla="*/ 6551 w 50686"/>
                  <a:gd name="connsiteY1" fmla="*/ 13103 h 13102"/>
                  <a:gd name="connsiteX2" fmla="*/ 0 w 50686"/>
                  <a:gd name="connsiteY2" fmla="*/ 6551 h 13102"/>
                  <a:gd name="connsiteX3" fmla="*/ 6551 w 50686"/>
                  <a:gd name="connsiteY3" fmla="*/ 0 h 13102"/>
                  <a:gd name="connsiteX4" fmla="*/ 44135 w 50686"/>
                  <a:gd name="connsiteY4" fmla="*/ 0 h 13102"/>
                  <a:gd name="connsiteX5" fmla="*/ 50687 w 50686"/>
                  <a:gd name="connsiteY5" fmla="*/ 6551 h 13102"/>
                  <a:gd name="connsiteX6" fmla="*/ 44135 w 50686"/>
                  <a:gd name="connsiteY6" fmla="*/ 13103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86" h="13102">
                    <a:moveTo>
                      <a:pt x="44135" y="13103"/>
                    </a:moveTo>
                    <a:lnTo>
                      <a:pt x="6551" y="13103"/>
                    </a:lnTo>
                    <a:cubicBezTo>
                      <a:pt x="2918" y="13103"/>
                      <a:pt x="0" y="10159"/>
                      <a:pt x="0" y="6551"/>
                    </a:cubicBezTo>
                    <a:cubicBezTo>
                      <a:pt x="0" y="2918"/>
                      <a:pt x="2944" y="0"/>
                      <a:pt x="6551" y="0"/>
                    </a:cubicBezTo>
                    <a:lnTo>
                      <a:pt x="44135" y="0"/>
                    </a:lnTo>
                    <a:cubicBezTo>
                      <a:pt x="47769" y="0"/>
                      <a:pt x="50687" y="2944"/>
                      <a:pt x="50687" y="6551"/>
                    </a:cubicBezTo>
                    <a:cubicBezTo>
                      <a:pt x="50687" y="10185"/>
                      <a:pt x="47742" y="13103"/>
                      <a:pt x="44135" y="13103"/>
                    </a:cubicBezTo>
                    <a:close/>
                  </a:path>
                </a:pathLst>
              </a:custGeom>
              <a:solidFill>
                <a:schemeClr val="accent1"/>
              </a:solidFill>
              <a:ln w="2651" cap="flat">
                <a:noFill/>
                <a:prstDash val="solid"/>
                <a:miter/>
              </a:ln>
            </p:spPr>
            <p:txBody>
              <a:bodyPr rtlCol="0" anchor="ctr"/>
              <a:lstStyle/>
              <a:p>
                <a:endParaRPr lang="en-GB" dirty="0"/>
              </a:p>
            </p:txBody>
          </p:sp>
          <p:sp>
            <p:nvSpPr>
              <p:cNvPr id="182" name="Freihandform: Form 503">
                <a:extLst>
                  <a:ext uri="{FF2B5EF4-FFF2-40B4-BE49-F238E27FC236}">
                    <a16:creationId xmlns:a16="http://schemas.microsoft.com/office/drawing/2014/main" id="{260A9D3A-4A2B-4F93-AE2C-AF9BD967DC89}"/>
                  </a:ext>
                </a:extLst>
              </p:cNvPr>
              <p:cNvSpPr/>
              <p:nvPr/>
            </p:nvSpPr>
            <p:spPr>
              <a:xfrm>
                <a:off x="1105141" y="4517430"/>
                <a:ext cx="50686" cy="13102"/>
              </a:xfrm>
              <a:custGeom>
                <a:avLst/>
                <a:gdLst>
                  <a:gd name="connsiteX0" fmla="*/ 44135 w 50686"/>
                  <a:gd name="connsiteY0" fmla="*/ 13103 h 13102"/>
                  <a:gd name="connsiteX1" fmla="*/ 6551 w 50686"/>
                  <a:gd name="connsiteY1" fmla="*/ 13103 h 13102"/>
                  <a:gd name="connsiteX2" fmla="*/ 0 w 50686"/>
                  <a:gd name="connsiteY2" fmla="*/ 6551 h 13102"/>
                  <a:gd name="connsiteX3" fmla="*/ 6551 w 50686"/>
                  <a:gd name="connsiteY3" fmla="*/ 0 h 13102"/>
                  <a:gd name="connsiteX4" fmla="*/ 44135 w 50686"/>
                  <a:gd name="connsiteY4" fmla="*/ 0 h 13102"/>
                  <a:gd name="connsiteX5" fmla="*/ 50687 w 50686"/>
                  <a:gd name="connsiteY5" fmla="*/ 6551 h 13102"/>
                  <a:gd name="connsiteX6" fmla="*/ 44135 w 50686"/>
                  <a:gd name="connsiteY6" fmla="*/ 13103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686" h="13102">
                    <a:moveTo>
                      <a:pt x="44135" y="13103"/>
                    </a:moveTo>
                    <a:lnTo>
                      <a:pt x="6551" y="13103"/>
                    </a:lnTo>
                    <a:cubicBezTo>
                      <a:pt x="2918" y="13103"/>
                      <a:pt x="0" y="10159"/>
                      <a:pt x="0" y="6551"/>
                    </a:cubicBezTo>
                    <a:cubicBezTo>
                      <a:pt x="0" y="2944"/>
                      <a:pt x="2944" y="0"/>
                      <a:pt x="6551" y="0"/>
                    </a:cubicBezTo>
                    <a:lnTo>
                      <a:pt x="44135" y="0"/>
                    </a:lnTo>
                    <a:cubicBezTo>
                      <a:pt x="47769" y="0"/>
                      <a:pt x="50687" y="2944"/>
                      <a:pt x="50687" y="6551"/>
                    </a:cubicBezTo>
                    <a:cubicBezTo>
                      <a:pt x="50687" y="10159"/>
                      <a:pt x="47742" y="13103"/>
                      <a:pt x="44135" y="13103"/>
                    </a:cubicBezTo>
                    <a:close/>
                  </a:path>
                </a:pathLst>
              </a:custGeom>
              <a:solidFill>
                <a:schemeClr val="accent1"/>
              </a:solidFill>
              <a:ln w="2651" cap="flat">
                <a:noFill/>
                <a:prstDash val="solid"/>
                <a:miter/>
              </a:ln>
            </p:spPr>
            <p:txBody>
              <a:bodyPr rtlCol="0" anchor="ctr"/>
              <a:lstStyle/>
              <a:p>
                <a:endParaRPr lang="en-GB" dirty="0"/>
              </a:p>
            </p:txBody>
          </p:sp>
        </p:grpSp>
        <p:grpSp>
          <p:nvGrpSpPr>
            <p:cNvPr id="173" name="Group 172">
              <a:extLst>
                <a:ext uri="{FF2B5EF4-FFF2-40B4-BE49-F238E27FC236}">
                  <a16:creationId xmlns:a16="http://schemas.microsoft.com/office/drawing/2014/main" id="{0D301869-EB7A-4DFA-9F3E-D58A25170E9A}"/>
                </a:ext>
              </a:extLst>
            </p:cNvPr>
            <p:cNvGrpSpPr/>
            <p:nvPr/>
          </p:nvGrpSpPr>
          <p:grpSpPr>
            <a:xfrm>
              <a:off x="620360" y="2446554"/>
              <a:ext cx="347380" cy="337818"/>
              <a:chOff x="923508" y="4122702"/>
              <a:chExt cx="413183" cy="401809"/>
            </a:xfrm>
          </p:grpSpPr>
          <p:sp>
            <p:nvSpPr>
              <p:cNvPr id="174" name="Freihandform: Form 496">
                <a:extLst>
                  <a:ext uri="{FF2B5EF4-FFF2-40B4-BE49-F238E27FC236}">
                    <a16:creationId xmlns:a16="http://schemas.microsoft.com/office/drawing/2014/main" id="{ABCA912F-ECDA-4851-9A6B-0A471F738F69}"/>
                  </a:ext>
                </a:extLst>
              </p:cNvPr>
              <p:cNvSpPr/>
              <p:nvPr/>
            </p:nvSpPr>
            <p:spPr>
              <a:xfrm>
                <a:off x="1300888" y="4380073"/>
                <a:ext cx="26432" cy="44205"/>
              </a:xfrm>
              <a:custGeom>
                <a:avLst/>
                <a:gdLst>
                  <a:gd name="connsiteX0" fmla="*/ 6548 w 26432"/>
                  <a:gd name="connsiteY0" fmla="*/ 44206 h 44205"/>
                  <a:gd name="connsiteX1" fmla="*/ 3472 w 26432"/>
                  <a:gd name="connsiteY1" fmla="*/ 43437 h 44205"/>
                  <a:gd name="connsiteX2" fmla="*/ 766 w 26432"/>
                  <a:gd name="connsiteY2" fmla="*/ 34551 h 44205"/>
                  <a:gd name="connsiteX3" fmla="*/ 13657 w 26432"/>
                  <a:gd name="connsiteY3" fmla="*/ 4500 h 44205"/>
                  <a:gd name="connsiteX4" fmla="*/ 21932 w 26432"/>
                  <a:gd name="connsiteY4" fmla="*/ 336 h 44205"/>
                  <a:gd name="connsiteX5" fmla="*/ 26096 w 26432"/>
                  <a:gd name="connsiteY5" fmla="*/ 8611 h 44205"/>
                  <a:gd name="connsiteX6" fmla="*/ 12330 w 26432"/>
                  <a:gd name="connsiteY6" fmla="*/ 40732 h 44205"/>
                  <a:gd name="connsiteX7" fmla="*/ 6548 w 26432"/>
                  <a:gd name="connsiteY7" fmla="*/ 44206 h 44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32" h="44205">
                    <a:moveTo>
                      <a:pt x="6548" y="44206"/>
                    </a:moveTo>
                    <a:cubicBezTo>
                      <a:pt x="5514" y="44206"/>
                      <a:pt x="4453" y="43967"/>
                      <a:pt x="3472" y="43437"/>
                    </a:cubicBezTo>
                    <a:cubicBezTo>
                      <a:pt x="289" y="41739"/>
                      <a:pt x="-931" y="37761"/>
                      <a:pt x="766" y="34551"/>
                    </a:cubicBezTo>
                    <a:cubicBezTo>
                      <a:pt x="5885" y="24950"/>
                      <a:pt x="10235" y="14818"/>
                      <a:pt x="13657" y="4500"/>
                    </a:cubicBezTo>
                    <a:cubicBezTo>
                      <a:pt x="14797" y="1052"/>
                      <a:pt x="18484" y="-805"/>
                      <a:pt x="21932" y="336"/>
                    </a:cubicBezTo>
                    <a:cubicBezTo>
                      <a:pt x="25380" y="1476"/>
                      <a:pt x="27237" y="5190"/>
                      <a:pt x="26096" y="8611"/>
                    </a:cubicBezTo>
                    <a:cubicBezTo>
                      <a:pt x="22436" y="19645"/>
                      <a:pt x="17794" y="30467"/>
                      <a:pt x="12330" y="40732"/>
                    </a:cubicBezTo>
                    <a:cubicBezTo>
                      <a:pt x="11163" y="42959"/>
                      <a:pt x="8882" y="44206"/>
                      <a:pt x="6548" y="44206"/>
                    </a:cubicBezTo>
                    <a:close/>
                  </a:path>
                </a:pathLst>
              </a:custGeom>
              <a:solidFill>
                <a:schemeClr val="tx2"/>
              </a:solidFill>
              <a:ln w="2651" cap="flat">
                <a:noFill/>
                <a:prstDash val="solid"/>
                <a:miter/>
              </a:ln>
            </p:spPr>
            <p:txBody>
              <a:bodyPr rtlCol="0" anchor="ctr"/>
              <a:lstStyle/>
              <a:p>
                <a:endParaRPr lang="en-GB" dirty="0"/>
              </a:p>
            </p:txBody>
          </p:sp>
          <p:sp>
            <p:nvSpPr>
              <p:cNvPr id="175" name="Freihandform: Form 497">
                <a:extLst>
                  <a:ext uri="{FF2B5EF4-FFF2-40B4-BE49-F238E27FC236}">
                    <a16:creationId xmlns:a16="http://schemas.microsoft.com/office/drawing/2014/main" id="{1CE839E1-1DF1-42EB-A327-CADB8CFA6E3B}"/>
                  </a:ext>
                </a:extLst>
              </p:cNvPr>
              <p:cNvSpPr/>
              <p:nvPr/>
            </p:nvSpPr>
            <p:spPr>
              <a:xfrm>
                <a:off x="1173154" y="4122702"/>
                <a:ext cx="153956" cy="143709"/>
              </a:xfrm>
              <a:custGeom>
                <a:avLst/>
                <a:gdLst>
                  <a:gd name="connsiteX0" fmla="*/ 147412 w 153956"/>
                  <a:gd name="connsiteY0" fmla="*/ 143709 h 143709"/>
                  <a:gd name="connsiteX1" fmla="*/ 141205 w 153956"/>
                  <a:gd name="connsiteY1" fmla="*/ 139227 h 143709"/>
                  <a:gd name="connsiteX2" fmla="*/ 4954 w 153956"/>
                  <a:gd name="connsiteY2" fmla="*/ 12895 h 143709"/>
                  <a:gd name="connsiteX3" fmla="*/ 206 w 153956"/>
                  <a:gd name="connsiteY3" fmla="*/ 4938 h 143709"/>
                  <a:gd name="connsiteX4" fmla="*/ 8163 w 153956"/>
                  <a:gd name="connsiteY4" fmla="*/ 190 h 143709"/>
                  <a:gd name="connsiteX5" fmla="*/ 153618 w 153956"/>
                  <a:gd name="connsiteY5" fmla="*/ 135089 h 143709"/>
                  <a:gd name="connsiteX6" fmla="*/ 149480 w 153956"/>
                  <a:gd name="connsiteY6" fmla="*/ 143391 h 143709"/>
                  <a:gd name="connsiteX7" fmla="*/ 147412 w 153956"/>
                  <a:gd name="connsiteY7" fmla="*/ 143709 h 143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956" h="143709">
                    <a:moveTo>
                      <a:pt x="147412" y="143709"/>
                    </a:moveTo>
                    <a:cubicBezTo>
                      <a:pt x="144680" y="143709"/>
                      <a:pt x="142107" y="141985"/>
                      <a:pt x="141205" y="139227"/>
                    </a:cubicBezTo>
                    <a:cubicBezTo>
                      <a:pt x="120437" y="77294"/>
                      <a:pt x="68239" y="28862"/>
                      <a:pt x="4954" y="12895"/>
                    </a:cubicBezTo>
                    <a:cubicBezTo>
                      <a:pt x="1452" y="11993"/>
                      <a:pt x="-696" y="8439"/>
                      <a:pt x="206" y="4938"/>
                    </a:cubicBezTo>
                    <a:cubicBezTo>
                      <a:pt x="1108" y="1410"/>
                      <a:pt x="4688" y="-659"/>
                      <a:pt x="8163" y="190"/>
                    </a:cubicBezTo>
                    <a:cubicBezTo>
                      <a:pt x="75718" y="17271"/>
                      <a:pt x="131471" y="68939"/>
                      <a:pt x="153618" y="135089"/>
                    </a:cubicBezTo>
                    <a:cubicBezTo>
                      <a:pt x="154759" y="138510"/>
                      <a:pt x="152929" y="142224"/>
                      <a:pt x="149480" y="143391"/>
                    </a:cubicBezTo>
                    <a:cubicBezTo>
                      <a:pt x="148791" y="143603"/>
                      <a:pt x="148101" y="143709"/>
                      <a:pt x="147412" y="143709"/>
                    </a:cubicBezTo>
                    <a:close/>
                  </a:path>
                </a:pathLst>
              </a:custGeom>
              <a:solidFill>
                <a:schemeClr val="tx2"/>
              </a:solidFill>
              <a:ln w="2651" cap="flat">
                <a:noFill/>
                <a:prstDash val="solid"/>
                <a:miter/>
              </a:ln>
            </p:spPr>
            <p:txBody>
              <a:bodyPr rtlCol="0" anchor="ctr"/>
              <a:lstStyle/>
              <a:p>
                <a:endParaRPr lang="en-GB" dirty="0"/>
              </a:p>
            </p:txBody>
          </p:sp>
          <p:sp>
            <p:nvSpPr>
              <p:cNvPr id="176" name="Freihandform: Form 499">
                <a:extLst>
                  <a:ext uri="{FF2B5EF4-FFF2-40B4-BE49-F238E27FC236}">
                    <a16:creationId xmlns:a16="http://schemas.microsoft.com/office/drawing/2014/main" id="{513558EA-957B-44D1-A29C-CA8BEAD9FF15}"/>
                  </a:ext>
                </a:extLst>
              </p:cNvPr>
              <p:cNvSpPr/>
              <p:nvPr/>
            </p:nvSpPr>
            <p:spPr>
              <a:xfrm>
                <a:off x="1278155" y="4217555"/>
                <a:ext cx="58536" cy="49651"/>
              </a:xfrm>
              <a:custGeom>
                <a:avLst/>
                <a:gdLst>
                  <a:gd name="connsiteX0" fmla="*/ 43100 w 58536"/>
                  <a:gd name="connsiteY0" fmla="*/ 49652 h 49651"/>
                  <a:gd name="connsiteX1" fmla="*/ 41535 w 58536"/>
                  <a:gd name="connsiteY1" fmla="*/ 49466 h 49651"/>
                  <a:gd name="connsiteX2" fmla="*/ 5012 w 58536"/>
                  <a:gd name="connsiteY2" fmla="*/ 40607 h 49651"/>
                  <a:gd name="connsiteX3" fmla="*/ 185 w 58536"/>
                  <a:gd name="connsiteY3" fmla="*/ 32677 h 49651"/>
                  <a:gd name="connsiteX4" fmla="*/ 8116 w 58536"/>
                  <a:gd name="connsiteY4" fmla="*/ 27849 h 49651"/>
                  <a:gd name="connsiteX5" fmla="*/ 38273 w 58536"/>
                  <a:gd name="connsiteY5" fmla="*/ 35170 h 49651"/>
                  <a:gd name="connsiteX6" fmla="*/ 45593 w 58536"/>
                  <a:gd name="connsiteY6" fmla="*/ 5012 h 49651"/>
                  <a:gd name="connsiteX7" fmla="*/ 53524 w 58536"/>
                  <a:gd name="connsiteY7" fmla="*/ 185 h 49651"/>
                  <a:gd name="connsiteX8" fmla="*/ 58351 w 58536"/>
                  <a:gd name="connsiteY8" fmla="*/ 8116 h 49651"/>
                  <a:gd name="connsiteX9" fmla="*/ 49492 w 58536"/>
                  <a:gd name="connsiteY9" fmla="*/ 44639 h 49651"/>
                  <a:gd name="connsiteX10" fmla="*/ 43100 w 58536"/>
                  <a:gd name="connsiteY10" fmla="*/ 49652 h 4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36" h="49651">
                    <a:moveTo>
                      <a:pt x="43100" y="49652"/>
                    </a:moveTo>
                    <a:cubicBezTo>
                      <a:pt x="42596" y="49652"/>
                      <a:pt x="42066" y="49599"/>
                      <a:pt x="41535" y="49466"/>
                    </a:cubicBezTo>
                    <a:lnTo>
                      <a:pt x="5012" y="40607"/>
                    </a:lnTo>
                    <a:cubicBezTo>
                      <a:pt x="1485" y="39758"/>
                      <a:pt x="-664" y="36204"/>
                      <a:pt x="185" y="32677"/>
                    </a:cubicBezTo>
                    <a:cubicBezTo>
                      <a:pt x="1034" y="29149"/>
                      <a:pt x="4615" y="27000"/>
                      <a:pt x="8116" y="27849"/>
                    </a:cubicBezTo>
                    <a:lnTo>
                      <a:pt x="38273" y="35170"/>
                    </a:lnTo>
                    <a:lnTo>
                      <a:pt x="45593" y="5012"/>
                    </a:lnTo>
                    <a:cubicBezTo>
                      <a:pt x="46442" y="1485"/>
                      <a:pt x="49996" y="-664"/>
                      <a:pt x="53524" y="185"/>
                    </a:cubicBezTo>
                    <a:cubicBezTo>
                      <a:pt x="57052" y="1034"/>
                      <a:pt x="59200" y="4588"/>
                      <a:pt x="58351" y="8116"/>
                    </a:cubicBezTo>
                    <a:lnTo>
                      <a:pt x="49492" y="44639"/>
                    </a:lnTo>
                    <a:cubicBezTo>
                      <a:pt x="48723" y="47636"/>
                      <a:pt x="46044" y="49652"/>
                      <a:pt x="43100" y="49652"/>
                    </a:cubicBezTo>
                    <a:close/>
                  </a:path>
                </a:pathLst>
              </a:custGeom>
              <a:solidFill>
                <a:schemeClr val="tx2"/>
              </a:solidFill>
              <a:ln w="2651" cap="flat">
                <a:noFill/>
                <a:prstDash val="solid"/>
                <a:miter/>
              </a:ln>
            </p:spPr>
            <p:txBody>
              <a:bodyPr rtlCol="0" anchor="ctr"/>
              <a:lstStyle/>
              <a:p>
                <a:endParaRPr lang="en-GB" dirty="0"/>
              </a:p>
            </p:txBody>
          </p:sp>
          <p:sp>
            <p:nvSpPr>
              <p:cNvPr id="177" name="Freihandform: Form 504">
                <a:extLst>
                  <a:ext uri="{FF2B5EF4-FFF2-40B4-BE49-F238E27FC236}">
                    <a16:creationId xmlns:a16="http://schemas.microsoft.com/office/drawing/2014/main" id="{134F0716-8ADB-45AA-A02B-4ABDFF4143C5}"/>
                  </a:ext>
                </a:extLst>
              </p:cNvPr>
              <p:cNvSpPr/>
              <p:nvPr/>
            </p:nvSpPr>
            <p:spPr>
              <a:xfrm>
                <a:off x="1172924" y="4443505"/>
                <a:ext cx="119583" cy="81006"/>
              </a:xfrm>
              <a:custGeom>
                <a:avLst/>
                <a:gdLst>
                  <a:gd name="connsiteX0" fmla="*/ 6536 w 119583"/>
                  <a:gd name="connsiteY0" fmla="*/ 81007 h 81006"/>
                  <a:gd name="connsiteX1" fmla="*/ 197 w 119583"/>
                  <a:gd name="connsiteY1" fmla="*/ 76047 h 81006"/>
                  <a:gd name="connsiteX2" fmla="*/ 4945 w 119583"/>
                  <a:gd name="connsiteY2" fmla="*/ 68090 h 81006"/>
                  <a:gd name="connsiteX3" fmla="*/ 107936 w 119583"/>
                  <a:gd name="connsiteY3" fmla="*/ 2417 h 81006"/>
                  <a:gd name="connsiteX4" fmla="*/ 117166 w 119583"/>
                  <a:gd name="connsiteY4" fmla="*/ 1489 h 81006"/>
                  <a:gd name="connsiteX5" fmla="*/ 118094 w 119583"/>
                  <a:gd name="connsiteY5" fmla="*/ 10719 h 81006"/>
                  <a:gd name="connsiteX6" fmla="*/ 8128 w 119583"/>
                  <a:gd name="connsiteY6" fmla="*/ 80821 h 81006"/>
                  <a:gd name="connsiteX7" fmla="*/ 6536 w 119583"/>
                  <a:gd name="connsiteY7" fmla="*/ 81007 h 81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583" h="81006">
                    <a:moveTo>
                      <a:pt x="6536" y="81007"/>
                    </a:moveTo>
                    <a:cubicBezTo>
                      <a:pt x="3592" y="81007"/>
                      <a:pt x="940" y="79017"/>
                      <a:pt x="197" y="76047"/>
                    </a:cubicBezTo>
                    <a:cubicBezTo>
                      <a:pt x="-678" y="72519"/>
                      <a:pt x="1444" y="68965"/>
                      <a:pt x="4945" y="68090"/>
                    </a:cubicBezTo>
                    <a:cubicBezTo>
                      <a:pt x="45075" y="58011"/>
                      <a:pt x="81651" y="34697"/>
                      <a:pt x="107936" y="2417"/>
                    </a:cubicBezTo>
                    <a:cubicBezTo>
                      <a:pt x="110243" y="-394"/>
                      <a:pt x="114355" y="-819"/>
                      <a:pt x="117166" y="1489"/>
                    </a:cubicBezTo>
                    <a:cubicBezTo>
                      <a:pt x="119978" y="3770"/>
                      <a:pt x="120402" y="7907"/>
                      <a:pt x="118094" y="10719"/>
                    </a:cubicBezTo>
                    <a:cubicBezTo>
                      <a:pt x="90032" y="45173"/>
                      <a:pt x="50963" y="70079"/>
                      <a:pt x="8128" y="80821"/>
                    </a:cubicBezTo>
                    <a:cubicBezTo>
                      <a:pt x="7597" y="80954"/>
                      <a:pt x="7067" y="81007"/>
                      <a:pt x="6536" y="81007"/>
                    </a:cubicBezTo>
                    <a:close/>
                  </a:path>
                </a:pathLst>
              </a:custGeom>
              <a:solidFill>
                <a:schemeClr val="tx2"/>
              </a:solidFill>
              <a:ln w="2651" cap="flat">
                <a:noFill/>
                <a:prstDash val="solid"/>
                <a:miter/>
              </a:ln>
            </p:spPr>
            <p:txBody>
              <a:bodyPr rtlCol="0" anchor="ctr"/>
              <a:lstStyle/>
              <a:p>
                <a:endParaRPr lang="en-GB" dirty="0"/>
              </a:p>
            </p:txBody>
          </p:sp>
          <p:sp>
            <p:nvSpPr>
              <p:cNvPr id="178" name="Freihandform: Form 505">
                <a:extLst>
                  <a:ext uri="{FF2B5EF4-FFF2-40B4-BE49-F238E27FC236}">
                    <a16:creationId xmlns:a16="http://schemas.microsoft.com/office/drawing/2014/main" id="{F3248B2E-B9C3-47EA-9B1D-CA0FA604B8E6}"/>
                  </a:ext>
                </a:extLst>
              </p:cNvPr>
              <p:cNvSpPr/>
              <p:nvPr/>
            </p:nvSpPr>
            <p:spPr>
              <a:xfrm>
                <a:off x="923508" y="4122870"/>
                <a:ext cx="163927" cy="401482"/>
              </a:xfrm>
              <a:custGeom>
                <a:avLst/>
                <a:gdLst>
                  <a:gd name="connsiteX0" fmla="*/ 157391 w 163927"/>
                  <a:gd name="connsiteY0" fmla="*/ 401483 h 401482"/>
                  <a:gd name="connsiteX1" fmla="*/ 155773 w 163927"/>
                  <a:gd name="connsiteY1" fmla="*/ 401271 h 401482"/>
                  <a:gd name="connsiteX2" fmla="*/ 0 w 163927"/>
                  <a:gd name="connsiteY2" fmla="*/ 200673 h 401482"/>
                  <a:gd name="connsiteX3" fmla="*/ 155242 w 163927"/>
                  <a:gd name="connsiteY3" fmla="*/ 207 h 401482"/>
                  <a:gd name="connsiteX4" fmla="*/ 163226 w 163927"/>
                  <a:gd name="connsiteY4" fmla="*/ 4929 h 401482"/>
                  <a:gd name="connsiteX5" fmla="*/ 158505 w 163927"/>
                  <a:gd name="connsiteY5" fmla="*/ 12912 h 401482"/>
                  <a:gd name="connsiteX6" fmla="*/ 13103 w 163927"/>
                  <a:gd name="connsiteY6" fmla="*/ 200673 h 401482"/>
                  <a:gd name="connsiteX7" fmla="*/ 158982 w 163927"/>
                  <a:gd name="connsiteY7" fmla="*/ 388566 h 401482"/>
                  <a:gd name="connsiteX8" fmla="*/ 163730 w 163927"/>
                  <a:gd name="connsiteY8" fmla="*/ 396549 h 401482"/>
                  <a:gd name="connsiteX9" fmla="*/ 157391 w 163927"/>
                  <a:gd name="connsiteY9" fmla="*/ 401483 h 401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3927" h="401482">
                    <a:moveTo>
                      <a:pt x="157391" y="401483"/>
                    </a:moveTo>
                    <a:cubicBezTo>
                      <a:pt x="156860" y="401483"/>
                      <a:pt x="156303" y="401430"/>
                      <a:pt x="155773" y="401271"/>
                    </a:cubicBezTo>
                    <a:cubicBezTo>
                      <a:pt x="64054" y="377930"/>
                      <a:pt x="0" y="295441"/>
                      <a:pt x="0" y="200673"/>
                    </a:cubicBezTo>
                    <a:cubicBezTo>
                      <a:pt x="0" y="106169"/>
                      <a:pt x="63842" y="23734"/>
                      <a:pt x="155242" y="207"/>
                    </a:cubicBezTo>
                    <a:cubicBezTo>
                      <a:pt x="158770" y="-694"/>
                      <a:pt x="162324" y="1428"/>
                      <a:pt x="163226" y="4929"/>
                    </a:cubicBezTo>
                    <a:cubicBezTo>
                      <a:pt x="164128" y="8430"/>
                      <a:pt x="162033" y="12011"/>
                      <a:pt x="158505" y="12912"/>
                    </a:cubicBezTo>
                    <a:cubicBezTo>
                      <a:pt x="72887" y="34927"/>
                      <a:pt x="13103" y="112137"/>
                      <a:pt x="13103" y="200673"/>
                    </a:cubicBezTo>
                    <a:cubicBezTo>
                      <a:pt x="13103" y="289447"/>
                      <a:pt x="73099" y="366710"/>
                      <a:pt x="158982" y="388566"/>
                    </a:cubicBezTo>
                    <a:cubicBezTo>
                      <a:pt x="162483" y="389468"/>
                      <a:pt x="164605" y="393022"/>
                      <a:pt x="163730" y="396549"/>
                    </a:cubicBezTo>
                    <a:cubicBezTo>
                      <a:pt x="162987" y="399520"/>
                      <a:pt x="160308" y="401483"/>
                      <a:pt x="157391" y="401483"/>
                    </a:cubicBezTo>
                    <a:close/>
                  </a:path>
                </a:pathLst>
              </a:custGeom>
              <a:solidFill>
                <a:schemeClr val="tx2"/>
              </a:solidFill>
              <a:ln w="2651" cap="flat">
                <a:noFill/>
                <a:prstDash val="solid"/>
                <a:miter/>
              </a:ln>
            </p:spPr>
            <p:txBody>
              <a:bodyPr rtlCol="0" anchor="ctr"/>
              <a:lstStyle/>
              <a:p>
                <a:endParaRPr lang="en-GB" dirty="0"/>
              </a:p>
            </p:txBody>
          </p:sp>
        </p:grpSp>
      </p:grpSp>
      <p:grpSp>
        <p:nvGrpSpPr>
          <p:cNvPr id="9" name="Group 8">
            <a:extLst>
              <a:ext uri="{FF2B5EF4-FFF2-40B4-BE49-F238E27FC236}">
                <a16:creationId xmlns:a16="http://schemas.microsoft.com/office/drawing/2014/main" id="{F121C366-D849-4400-9711-AF69CA5924D0}"/>
              </a:ext>
            </a:extLst>
          </p:cNvPr>
          <p:cNvGrpSpPr/>
          <p:nvPr/>
        </p:nvGrpSpPr>
        <p:grpSpPr>
          <a:xfrm>
            <a:off x="3722867" y="1585984"/>
            <a:ext cx="468970" cy="432000"/>
            <a:chOff x="3722867" y="1585984"/>
            <a:chExt cx="468970" cy="432000"/>
          </a:xfrm>
        </p:grpSpPr>
        <p:grpSp>
          <p:nvGrpSpPr>
            <p:cNvPr id="184" name="Group 183">
              <a:extLst>
                <a:ext uri="{FF2B5EF4-FFF2-40B4-BE49-F238E27FC236}">
                  <a16:creationId xmlns:a16="http://schemas.microsoft.com/office/drawing/2014/main" id="{A53E8817-B28D-4694-ABB4-0A2AF5521E0D}"/>
                </a:ext>
              </a:extLst>
            </p:cNvPr>
            <p:cNvGrpSpPr/>
            <p:nvPr/>
          </p:nvGrpSpPr>
          <p:grpSpPr>
            <a:xfrm>
              <a:off x="3827760" y="1585984"/>
              <a:ext cx="271516" cy="431999"/>
              <a:chOff x="2648018" y="2472118"/>
              <a:chExt cx="288496" cy="459015"/>
            </a:xfrm>
          </p:grpSpPr>
          <p:sp>
            <p:nvSpPr>
              <p:cNvPr id="191" name="Freihandform: Form 403">
                <a:extLst>
                  <a:ext uri="{FF2B5EF4-FFF2-40B4-BE49-F238E27FC236}">
                    <a16:creationId xmlns:a16="http://schemas.microsoft.com/office/drawing/2014/main" id="{7CFE5880-00B2-430F-9EC6-2A92750B37B3}"/>
                  </a:ext>
                </a:extLst>
              </p:cNvPr>
              <p:cNvSpPr/>
              <p:nvPr/>
            </p:nvSpPr>
            <p:spPr>
              <a:xfrm>
                <a:off x="2707033" y="2472118"/>
                <a:ext cx="170493" cy="367217"/>
              </a:xfrm>
              <a:custGeom>
                <a:avLst/>
                <a:gdLst>
                  <a:gd name="connsiteX0" fmla="*/ 163916 w 170493"/>
                  <a:gd name="connsiteY0" fmla="*/ 367218 h 367217"/>
                  <a:gd name="connsiteX1" fmla="*/ 157364 w 170493"/>
                  <a:gd name="connsiteY1" fmla="*/ 360666 h 367217"/>
                  <a:gd name="connsiteX2" fmla="*/ 157364 w 170493"/>
                  <a:gd name="connsiteY2" fmla="*/ 57396 h 367217"/>
                  <a:gd name="connsiteX3" fmla="*/ 13103 w 170493"/>
                  <a:gd name="connsiteY3" fmla="*/ 15329 h 367217"/>
                  <a:gd name="connsiteX4" fmla="*/ 13103 w 170493"/>
                  <a:gd name="connsiteY4" fmla="*/ 360640 h 367217"/>
                  <a:gd name="connsiteX5" fmla="*/ 6551 w 170493"/>
                  <a:gd name="connsiteY5" fmla="*/ 367191 h 367217"/>
                  <a:gd name="connsiteX6" fmla="*/ 0 w 170493"/>
                  <a:gd name="connsiteY6" fmla="*/ 360640 h 367217"/>
                  <a:gd name="connsiteX7" fmla="*/ 0 w 170493"/>
                  <a:gd name="connsiteY7" fmla="*/ 6576 h 367217"/>
                  <a:gd name="connsiteX8" fmla="*/ 2626 w 170493"/>
                  <a:gd name="connsiteY8" fmla="*/ 1325 h 367217"/>
                  <a:gd name="connsiteX9" fmla="*/ 8408 w 170493"/>
                  <a:gd name="connsiteY9" fmla="*/ 264 h 367217"/>
                  <a:gd name="connsiteX10" fmla="*/ 165772 w 170493"/>
                  <a:gd name="connsiteY10" fmla="*/ 46150 h 367217"/>
                  <a:gd name="connsiteX11" fmla="*/ 170493 w 170493"/>
                  <a:gd name="connsiteY11" fmla="*/ 52436 h 367217"/>
                  <a:gd name="connsiteX12" fmla="*/ 170493 w 170493"/>
                  <a:gd name="connsiteY12" fmla="*/ 360613 h 367217"/>
                  <a:gd name="connsiteX13" fmla="*/ 163916 w 170493"/>
                  <a:gd name="connsiteY13" fmla="*/ 367218 h 36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493" h="367217">
                    <a:moveTo>
                      <a:pt x="163916" y="367218"/>
                    </a:moveTo>
                    <a:cubicBezTo>
                      <a:pt x="160282" y="367218"/>
                      <a:pt x="157364" y="364273"/>
                      <a:pt x="157364" y="360666"/>
                    </a:cubicBezTo>
                    <a:lnTo>
                      <a:pt x="157364" y="57396"/>
                    </a:lnTo>
                    <a:lnTo>
                      <a:pt x="13103" y="15329"/>
                    </a:lnTo>
                    <a:lnTo>
                      <a:pt x="13103" y="360640"/>
                    </a:lnTo>
                    <a:cubicBezTo>
                      <a:pt x="13103" y="364273"/>
                      <a:pt x="10159" y="367191"/>
                      <a:pt x="6551" y="367191"/>
                    </a:cubicBezTo>
                    <a:cubicBezTo>
                      <a:pt x="2944" y="367191"/>
                      <a:pt x="0" y="364247"/>
                      <a:pt x="0" y="360640"/>
                    </a:cubicBezTo>
                    <a:lnTo>
                      <a:pt x="0" y="6576"/>
                    </a:lnTo>
                    <a:cubicBezTo>
                      <a:pt x="0" y="4508"/>
                      <a:pt x="981" y="2571"/>
                      <a:pt x="2626" y="1325"/>
                    </a:cubicBezTo>
                    <a:cubicBezTo>
                      <a:pt x="4270" y="78"/>
                      <a:pt x="6392" y="-320"/>
                      <a:pt x="8408" y="264"/>
                    </a:cubicBezTo>
                    <a:lnTo>
                      <a:pt x="165772" y="46150"/>
                    </a:lnTo>
                    <a:cubicBezTo>
                      <a:pt x="168557" y="46972"/>
                      <a:pt x="170493" y="49518"/>
                      <a:pt x="170493" y="52436"/>
                    </a:cubicBezTo>
                    <a:lnTo>
                      <a:pt x="170493" y="360613"/>
                    </a:lnTo>
                    <a:cubicBezTo>
                      <a:pt x="170467" y="364273"/>
                      <a:pt x="167549" y="367218"/>
                      <a:pt x="163916" y="367218"/>
                    </a:cubicBezTo>
                    <a:close/>
                  </a:path>
                </a:pathLst>
              </a:custGeom>
              <a:solidFill>
                <a:schemeClr val="tx2"/>
              </a:solidFill>
              <a:ln w="2651" cap="flat">
                <a:noFill/>
                <a:prstDash val="solid"/>
                <a:miter/>
              </a:ln>
            </p:spPr>
            <p:txBody>
              <a:bodyPr rtlCol="0" anchor="ctr"/>
              <a:lstStyle/>
              <a:p>
                <a:endParaRPr lang="en-GB" dirty="0"/>
              </a:p>
            </p:txBody>
          </p:sp>
          <p:sp>
            <p:nvSpPr>
              <p:cNvPr id="192" name="Freihandform: Form 404">
                <a:extLst>
                  <a:ext uri="{FF2B5EF4-FFF2-40B4-BE49-F238E27FC236}">
                    <a16:creationId xmlns:a16="http://schemas.microsoft.com/office/drawing/2014/main" id="{BBA822C9-920E-43FE-8DA3-C4FA5B894874}"/>
                  </a:ext>
                </a:extLst>
              </p:cNvPr>
              <p:cNvSpPr/>
              <p:nvPr/>
            </p:nvSpPr>
            <p:spPr>
              <a:xfrm>
                <a:off x="2707033" y="2859016"/>
                <a:ext cx="170467" cy="72117"/>
              </a:xfrm>
              <a:custGeom>
                <a:avLst/>
                <a:gdLst>
                  <a:gd name="connsiteX0" fmla="*/ 163916 w 170467"/>
                  <a:gd name="connsiteY0" fmla="*/ 72118 h 72117"/>
                  <a:gd name="connsiteX1" fmla="*/ 6551 w 170467"/>
                  <a:gd name="connsiteY1" fmla="*/ 72118 h 72117"/>
                  <a:gd name="connsiteX2" fmla="*/ 0 w 170467"/>
                  <a:gd name="connsiteY2" fmla="*/ 65566 h 72117"/>
                  <a:gd name="connsiteX3" fmla="*/ 0 w 170467"/>
                  <a:gd name="connsiteY3" fmla="*/ 6551 h 72117"/>
                  <a:gd name="connsiteX4" fmla="*/ 6551 w 170467"/>
                  <a:gd name="connsiteY4" fmla="*/ 0 h 72117"/>
                  <a:gd name="connsiteX5" fmla="*/ 13103 w 170467"/>
                  <a:gd name="connsiteY5" fmla="*/ 6551 h 72117"/>
                  <a:gd name="connsiteX6" fmla="*/ 13103 w 170467"/>
                  <a:gd name="connsiteY6" fmla="*/ 59015 h 72117"/>
                  <a:gd name="connsiteX7" fmla="*/ 157364 w 170467"/>
                  <a:gd name="connsiteY7" fmla="*/ 59015 h 72117"/>
                  <a:gd name="connsiteX8" fmla="*/ 157364 w 170467"/>
                  <a:gd name="connsiteY8" fmla="*/ 6551 h 72117"/>
                  <a:gd name="connsiteX9" fmla="*/ 163916 w 170467"/>
                  <a:gd name="connsiteY9" fmla="*/ 0 h 72117"/>
                  <a:gd name="connsiteX10" fmla="*/ 170467 w 170467"/>
                  <a:gd name="connsiteY10" fmla="*/ 6551 h 72117"/>
                  <a:gd name="connsiteX11" fmla="*/ 170467 w 170467"/>
                  <a:gd name="connsiteY11" fmla="*/ 65566 h 72117"/>
                  <a:gd name="connsiteX12" fmla="*/ 163916 w 170467"/>
                  <a:gd name="connsiteY12" fmla="*/ 72118 h 7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467" h="72117">
                    <a:moveTo>
                      <a:pt x="163916" y="72118"/>
                    </a:moveTo>
                    <a:lnTo>
                      <a:pt x="6551" y="72118"/>
                    </a:lnTo>
                    <a:cubicBezTo>
                      <a:pt x="2918" y="72118"/>
                      <a:pt x="0" y="69174"/>
                      <a:pt x="0" y="65566"/>
                    </a:cubicBezTo>
                    <a:lnTo>
                      <a:pt x="0" y="6551"/>
                    </a:lnTo>
                    <a:cubicBezTo>
                      <a:pt x="0" y="2918"/>
                      <a:pt x="2944" y="0"/>
                      <a:pt x="6551" y="0"/>
                    </a:cubicBezTo>
                    <a:cubicBezTo>
                      <a:pt x="10159" y="0"/>
                      <a:pt x="13103" y="2944"/>
                      <a:pt x="13103" y="6551"/>
                    </a:cubicBezTo>
                    <a:lnTo>
                      <a:pt x="13103" y="59015"/>
                    </a:lnTo>
                    <a:lnTo>
                      <a:pt x="157364" y="59015"/>
                    </a:lnTo>
                    <a:lnTo>
                      <a:pt x="157364" y="6551"/>
                    </a:lnTo>
                    <a:cubicBezTo>
                      <a:pt x="157364" y="2918"/>
                      <a:pt x="160308" y="0"/>
                      <a:pt x="163916" y="0"/>
                    </a:cubicBezTo>
                    <a:cubicBezTo>
                      <a:pt x="167523" y="0"/>
                      <a:pt x="170467" y="2944"/>
                      <a:pt x="170467" y="6551"/>
                    </a:cubicBezTo>
                    <a:lnTo>
                      <a:pt x="170467" y="65566"/>
                    </a:lnTo>
                    <a:cubicBezTo>
                      <a:pt x="170467" y="69174"/>
                      <a:pt x="167549" y="72118"/>
                      <a:pt x="163916" y="72118"/>
                    </a:cubicBezTo>
                    <a:close/>
                  </a:path>
                </a:pathLst>
              </a:custGeom>
              <a:solidFill>
                <a:schemeClr val="tx2"/>
              </a:solidFill>
              <a:ln w="2651" cap="flat">
                <a:noFill/>
                <a:prstDash val="solid"/>
                <a:miter/>
              </a:ln>
            </p:spPr>
            <p:txBody>
              <a:bodyPr rtlCol="0" anchor="ctr"/>
              <a:lstStyle/>
              <a:p>
                <a:endParaRPr lang="en-GB" dirty="0"/>
              </a:p>
            </p:txBody>
          </p:sp>
          <p:sp>
            <p:nvSpPr>
              <p:cNvPr id="193" name="Freihandform: Form 405">
                <a:extLst>
                  <a:ext uri="{FF2B5EF4-FFF2-40B4-BE49-F238E27FC236}">
                    <a16:creationId xmlns:a16="http://schemas.microsoft.com/office/drawing/2014/main" id="{EBAFA144-A951-4C4F-A9FF-EA21D84FB8D3}"/>
                  </a:ext>
                </a:extLst>
              </p:cNvPr>
              <p:cNvSpPr/>
              <p:nvPr/>
            </p:nvSpPr>
            <p:spPr>
              <a:xfrm>
                <a:off x="2648018" y="2826233"/>
                <a:ext cx="288496" cy="104900"/>
              </a:xfrm>
              <a:custGeom>
                <a:avLst/>
                <a:gdLst>
                  <a:gd name="connsiteX0" fmla="*/ 281946 w 288496"/>
                  <a:gd name="connsiteY0" fmla="*/ 104901 h 104900"/>
                  <a:gd name="connsiteX1" fmla="*/ 6551 w 288496"/>
                  <a:gd name="connsiteY1" fmla="*/ 104901 h 104900"/>
                  <a:gd name="connsiteX2" fmla="*/ 0 w 288496"/>
                  <a:gd name="connsiteY2" fmla="*/ 98349 h 104900"/>
                  <a:gd name="connsiteX3" fmla="*/ 0 w 288496"/>
                  <a:gd name="connsiteY3" fmla="*/ 6551 h 104900"/>
                  <a:gd name="connsiteX4" fmla="*/ 6551 w 288496"/>
                  <a:gd name="connsiteY4" fmla="*/ 0 h 104900"/>
                  <a:gd name="connsiteX5" fmla="*/ 281946 w 288496"/>
                  <a:gd name="connsiteY5" fmla="*/ 0 h 104900"/>
                  <a:gd name="connsiteX6" fmla="*/ 288497 w 288496"/>
                  <a:gd name="connsiteY6" fmla="*/ 6551 h 104900"/>
                  <a:gd name="connsiteX7" fmla="*/ 288497 w 288496"/>
                  <a:gd name="connsiteY7" fmla="*/ 98349 h 104900"/>
                  <a:gd name="connsiteX8" fmla="*/ 281946 w 288496"/>
                  <a:gd name="connsiteY8" fmla="*/ 104901 h 104900"/>
                  <a:gd name="connsiteX9" fmla="*/ 13129 w 288496"/>
                  <a:gd name="connsiteY9" fmla="*/ 91772 h 104900"/>
                  <a:gd name="connsiteX10" fmla="*/ 275394 w 288496"/>
                  <a:gd name="connsiteY10" fmla="*/ 91772 h 104900"/>
                  <a:gd name="connsiteX11" fmla="*/ 275394 w 288496"/>
                  <a:gd name="connsiteY11" fmla="*/ 13103 h 104900"/>
                  <a:gd name="connsiteX12" fmla="*/ 13129 w 288496"/>
                  <a:gd name="connsiteY12" fmla="*/ 13103 h 104900"/>
                  <a:gd name="connsiteX13" fmla="*/ 13129 w 288496"/>
                  <a:gd name="connsiteY13" fmla="*/ 91772 h 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8496" h="104900">
                    <a:moveTo>
                      <a:pt x="281946" y="104901"/>
                    </a:moveTo>
                    <a:lnTo>
                      <a:pt x="6551" y="104901"/>
                    </a:lnTo>
                    <a:cubicBezTo>
                      <a:pt x="2918" y="104901"/>
                      <a:pt x="0" y="101957"/>
                      <a:pt x="0" y="98349"/>
                    </a:cubicBezTo>
                    <a:lnTo>
                      <a:pt x="0" y="6551"/>
                    </a:lnTo>
                    <a:cubicBezTo>
                      <a:pt x="0" y="2918"/>
                      <a:pt x="2944" y="0"/>
                      <a:pt x="6551" y="0"/>
                    </a:cubicBezTo>
                    <a:lnTo>
                      <a:pt x="281946" y="0"/>
                    </a:lnTo>
                    <a:cubicBezTo>
                      <a:pt x="285579" y="0"/>
                      <a:pt x="288497" y="2944"/>
                      <a:pt x="288497" y="6551"/>
                    </a:cubicBezTo>
                    <a:lnTo>
                      <a:pt x="288497" y="98349"/>
                    </a:lnTo>
                    <a:cubicBezTo>
                      <a:pt x="288497" y="101957"/>
                      <a:pt x="285579" y="104901"/>
                      <a:pt x="281946" y="104901"/>
                    </a:cubicBezTo>
                    <a:close/>
                    <a:moveTo>
                      <a:pt x="13129" y="91772"/>
                    </a:moveTo>
                    <a:lnTo>
                      <a:pt x="275394" y="91772"/>
                    </a:lnTo>
                    <a:lnTo>
                      <a:pt x="275394" y="13103"/>
                    </a:lnTo>
                    <a:lnTo>
                      <a:pt x="13129" y="13103"/>
                    </a:lnTo>
                    <a:lnTo>
                      <a:pt x="13129" y="91772"/>
                    </a:lnTo>
                    <a:close/>
                  </a:path>
                </a:pathLst>
              </a:custGeom>
              <a:solidFill>
                <a:schemeClr val="tx2"/>
              </a:solidFill>
              <a:ln w="2651" cap="flat">
                <a:noFill/>
                <a:prstDash val="solid"/>
                <a:miter/>
              </a:ln>
            </p:spPr>
            <p:txBody>
              <a:bodyPr rtlCol="0" anchor="ctr"/>
              <a:lstStyle/>
              <a:p>
                <a:endParaRPr lang="en-GB" dirty="0"/>
              </a:p>
            </p:txBody>
          </p:sp>
          <p:sp>
            <p:nvSpPr>
              <p:cNvPr id="194" name="Freihandform: Form 406">
                <a:extLst>
                  <a:ext uri="{FF2B5EF4-FFF2-40B4-BE49-F238E27FC236}">
                    <a16:creationId xmlns:a16="http://schemas.microsoft.com/office/drawing/2014/main" id="{EE3C895C-7E31-4E9D-BC0A-31805E271159}"/>
                  </a:ext>
                </a:extLst>
              </p:cNvPr>
              <p:cNvSpPr/>
              <p:nvPr/>
            </p:nvSpPr>
            <p:spPr>
              <a:xfrm>
                <a:off x="2674249" y="2859016"/>
                <a:ext cx="236033" cy="13102"/>
              </a:xfrm>
              <a:custGeom>
                <a:avLst/>
                <a:gdLst>
                  <a:gd name="connsiteX0" fmla="*/ 229482 w 236033"/>
                  <a:gd name="connsiteY0" fmla="*/ 13103 h 13102"/>
                  <a:gd name="connsiteX1" fmla="*/ 6551 w 236033"/>
                  <a:gd name="connsiteY1" fmla="*/ 13103 h 13102"/>
                  <a:gd name="connsiteX2" fmla="*/ 0 w 236033"/>
                  <a:gd name="connsiteY2" fmla="*/ 6551 h 13102"/>
                  <a:gd name="connsiteX3" fmla="*/ 6551 w 236033"/>
                  <a:gd name="connsiteY3" fmla="*/ 0 h 13102"/>
                  <a:gd name="connsiteX4" fmla="*/ 229482 w 236033"/>
                  <a:gd name="connsiteY4" fmla="*/ 0 h 13102"/>
                  <a:gd name="connsiteX5" fmla="*/ 236033 w 236033"/>
                  <a:gd name="connsiteY5" fmla="*/ 6551 h 13102"/>
                  <a:gd name="connsiteX6" fmla="*/ 229482 w 236033"/>
                  <a:gd name="connsiteY6" fmla="*/ 13103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6033" h="13102">
                    <a:moveTo>
                      <a:pt x="229482" y="13103"/>
                    </a:moveTo>
                    <a:lnTo>
                      <a:pt x="6551" y="13103"/>
                    </a:lnTo>
                    <a:cubicBezTo>
                      <a:pt x="2918" y="13103"/>
                      <a:pt x="0" y="10159"/>
                      <a:pt x="0" y="6551"/>
                    </a:cubicBezTo>
                    <a:cubicBezTo>
                      <a:pt x="0" y="2918"/>
                      <a:pt x="2944" y="0"/>
                      <a:pt x="6551" y="0"/>
                    </a:cubicBezTo>
                    <a:lnTo>
                      <a:pt x="229482" y="0"/>
                    </a:lnTo>
                    <a:cubicBezTo>
                      <a:pt x="233116" y="0"/>
                      <a:pt x="236033" y="2944"/>
                      <a:pt x="236033" y="6551"/>
                    </a:cubicBezTo>
                    <a:cubicBezTo>
                      <a:pt x="236033" y="10159"/>
                      <a:pt x="233116" y="13103"/>
                      <a:pt x="229482" y="13103"/>
                    </a:cubicBezTo>
                    <a:close/>
                  </a:path>
                </a:pathLst>
              </a:custGeom>
              <a:solidFill>
                <a:schemeClr val="tx2"/>
              </a:solidFill>
              <a:ln w="2651" cap="flat">
                <a:noFill/>
                <a:prstDash val="solid"/>
                <a:miter/>
              </a:ln>
            </p:spPr>
            <p:txBody>
              <a:bodyPr rtlCol="0" anchor="ctr"/>
              <a:lstStyle/>
              <a:p>
                <a:endParaRPr lang="en-GB" dirty="0"/>
              </a:p>
            </p:txBody>
          </p:sp>
          <p:sp>
            <p:nvSpPr>
              <p:cNvPr id="195" name="Freihandform: Form 408">
                <a:extLst>
                  <a:ext uri="{FF2B5EF4-FFF2-40B4-BE49-F238E27FC236}">
                    <a16:creationId xmlns:a16="http://schemas.microsoft.com/office/drawing/2014/main" id="{A7FEE246-6CD7-41D9-A381-948D581780B3}"/>
                  </a:ext>
                </a:extLst>
              </p:cNvPr>
              <p:cNvSpPr/>
              <p:nvPr/>
            </p:nvSpPr>
            <p:spPr>
              <a:xfrm>
                <a:off x="2746367" y="2563942"/>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196" name="Freihandform: Form 409">
                <a:extLst>
                  <a:ext uri="{FF2B5EF4-FFF2-40B4-BE49-F238E27FC236}">
                    <a16:creationId xmlns:a16="http://schemas.microsoft.com/office/drawing/2014/main" id="{0CD91523-B7FC-4EAB-8795-AA041A26DD91}"/>
                  </a:ext>
                </a:extLst>
              </p:cNvPr>
              <p:cNvSpPr/>
              <p:nvPr/>
            </p:nvSpPr>
            <p:spPr>
              <a:xfrm>
                <a:off x="2825062" y="2563942"/>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197" name="Freihandform: Form 410">
                <a:extLst>
                  <a:ext uri="{FF2B5EF4-FFF2-40B4-BE49-F238E27FC236}">
                    <a16:creationId xmlns:a16="http://schemas.microsoft.com/office/drawing/2014/main" id="{8A0429F5-ABBB-4916-8165-690BED18BC5D}"/>
                  </a:ext>
                </a:extLst>
              </p:cNvPr>
              <p:cNvSpPr/>
              <p:nvPr/>
            </p:nvSpPr>
            <p:spPr>
              <a:xfrm>
                <a:off x="2785728" y="2563942"/>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198" name="Freihandform: Form 412">
                <a:extLst>
                  <a:ext uri="{FF2B5EF4-FFF2-40B4-BE49-F238E27FC236}">
                    <a16:creationId xmlns:a16="http://schemas.microsoft.com/office/drawing/2014/main" id="{BE97FE4E-09A6-4CD3-8E74-2E34F1E5DDBD}"/>
                  </a:ext>
                </a:extLst>
              </p:cNvPr>
              <p:cNvSpPr/>
              <p:nvPr/>
            </p:nvSpPr>
            <p:spPr>
              <a:xfrm>
                <a:off x="2746367" y="2609827"/>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199" name="Freihandform: Form 413">
                <a:extLst>
                  <a:ext uri="{FF2B5EF4-FFF2-40B4-BE49-F238E27FC236}">
                    <a16:creationId xmlns:a16="http://schemas.microsoft.com/office/drawing/2014/main" id="{51849B4B-2304-40A6-8706-F3A2B8A13E4A}"/>
                  </a:ext>
                </a:extLst>
              </p:cNvPr>
              <p:cNvSpPr/>
              <p:nvPr/>
            </p:nvSpPr>
            <p:spPr>
              <a:xfrm>
                <a:off x="2825062" y="2609827"/>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200" name="Freihandform: Form 414">
                <a:extLst>
                  <a:ext uri="{FF2B5EF4-FFF2-40B4-BE49-F238E27FC236}">
                    <a16:creationId xmlns:a16="http://schemas.microsoft.com/office/drawing/2014/main" id="{0CCB4EA8-7A50-4178-98EB-4A2F93EF0C7F}"/>
                  </a:ext>
                </a:extLst>
              </p:cNvPr>
              <p:cNvSpPr/>
              <p:nvPr/>
            </p:nvSpPr>
            <p:spPr>
              <a:xfrm>
                <a:off x="2785728" y="2609827"/>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201" name="Freihandform: Form 416">
                <a:extLst>
                  <a:ext uri="{FF2B5EF4-FFF2-40B4-BE49-F238E27FC236}">
                    <a16:creationId xmlns:a16="http://schemas.microsoft.com/office/drawing/2014/main" id="{0D21F2BF-008F-422F-AEAB-55594F047AA1}"/>
                  </a:ext>
                </a:extLst>
              </p:cNvPr>
              <p:cNvSpPr/>
              <p:nvPr/>
            </p:nvSpPr>
            <p:spPr>
              <a:xfrm>
                <a:off x="2746367" y="2655740"/>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202" name="Freihandform: Form 417">
                <a:extLst>
                  <a:ext uri="{FF2B5EF4-FFF2-40B4-BE49-F238E27FC236}">
                    <a16:creationId xmlns:a16="http://schemas.microsoft.com/office/drawing/2014/main" id="{A309F748-535F-4714-A2EE-4D0954725032}"/>
                  </a:ext>
                </a:extLst>
              </p:cNvPr>
              <p:cNvSpPr/>
              <p:nvPr/>
            </p:nvSpPr>
            <p:spPr>
              <a:xfrm>
                <a:off x="2825062" y="2655740"/>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203" name="Freihandform: Form 418">
                <a:extLst>
                  <a:ext uri="{FF2B5EF4-FFF2-40B4-BE49-F238E27FC236}">
                    <a16:creationId xmlns:a16="http://schemas.microsoft.com/office/drawing/2014/main" id="{F83D6F6B-4B97-4F91-8F9E-68C128FBA51A}"/>
                  </a:ext>
                </a:extLst>
              </p:cNvPr>
              <p:cNvSpPr/>
              <p:nvPr/>
            </p:nvSpPr>
            <p:spPr>
              <a:xfrm>
                <a:off x="2785728" y="2655740"/>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204" name="Freihandform: Form 420">
                <a:extLst>
                  <a:ext uri="{FF2B5EF4-FFF2-40B4-BE49-F238E27FC236}">
                    <a16:creationId xmlns:a16="http://schemas.microsoft.com/office/drawing/2014/main" id="{9138D739-D045-4833-A660-9F8D9EAD35D3}"/>
                  </a:ext>
                </a:extLst>
              </p:cNvPr>
              <p:cNvSpPr/>
              <p:nvPr/>
            </p:nvSpPr>
            <p:spPr>
              <a:xfrm>
                <a:off x="2746367" y="2701626"/>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205" name="Freihandform: Form 421">
                <a:extLst>
                  <a:ext uri="{FF2B5EF4-FFF2-40B4-BE49-F238E27FC236}">
                    <a16:creationId xmlns:a16="http://schemas.microsoft.com/office/drawing/2014/main" id="{517ED106-94E0-468B-880C-08A4942E87CA}"/>
                  </a:ext>
                </a:extLst>
              </p:cNvPr>
              <p:cNvSpPr/>
              <p:nvPr/>
            </p:nvSpPr>
            <p:spPr>
              <a:xfrm>
                <a:off x="2825062" y="2701626"/>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206" name="Freihandform: Form 422">
                <a:extLst>
                  <a:ext uri="{FF2B5EF4-FFF2-40B4-BE49-F238E27FC236}">
                    <a16:creationId xmlns:a16="http://schemas.microsoft.com/office/drawing/2014/main" id="{9D425DFD-9560-4B6B-A6D7-49EAED1E6E22}"/>
                  </a:ext>
                </a:extLst>
              </p:cNvPr>
              <p:cNvSpPr/>
              <p:nvPr/>
            </p:nvSpPr>
            <p:spPr>
              <a:xfrm>
                <a:off x="2785728" y="2701626"/>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207" name="Freihandform: Form 424">
                <a:extLst>
                  <a:ext uri="{FF2B5EF4-FFF2-40B4-BE49-F238E27FC236}">
                    <a16:creationId xmlns:a16="http://schemas.microsoft.com/office/drawing/2014/main" id="{CEA00F9D-D1BE-4483-AD9E-E0283EA2F00A}"/>
                  </a:ext>
                </a:extLst>
              </p:cNvPr>
              <p:cNvSpPr/>
              <p:nvPr/>
            </p:nvSpPr>
            <p:spPr>
              <a:xfrm>
                <a:off x="2746367" y="2747538"/>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208" name="Freihandform: Form 425">
                <a:extLst>
                  <a:ext uri="{FF2B5EF4-FFF2-40B4-BE49-F238E27FC236}">
                    <a16:creationId xmlns:a16="http://schemas.microsoft.com/office/drawing/2014/main" id="{0870A93B-3113-4EF0-9F63-5A05413D28C6}"/>
                  </a:ext>
                </a:extLst>
              </p:cNvPr>
              <p:cNvSpPr/>
              <p:nvPr/>
            </p:nvSpPr>
            <p:spPr>
              <a:xfrm>
                <a:off x="2825062" y="2747538"/>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sp>
            <p:nvSpPr>
              <p:cNvPr id="209" name="Freihandform: Form 426">
                <a:extLst>
                  <a:ext uri="{FF2B5EF4-FFF2-40B4-BE49-F238E27FC236}">
                    <a16:creationId xmlns:a16="http://schemas.microsoft.com/office/drawing/2014/main" id="{DD92038A-52DA-410E-B228-4C3ECE00A539}"/>
                  </a:ext>
                </a:extLst>
              </p:cNvPr>
              <p:cNvSpPr/>
              <p:nvPr/>
            </p:nvSpPr>
            <p:spPr>
              <a:xfrm>
                <a:off x="2785728" y="2747538"/>
                <a:ext cx="13102" cy="13102"/>
              </a:xfrm>
              <a:custGeom>
                <a:avLst/>
                <a:gdLst>
                  <a:gd name="connsiteX0" fmla="*/ 0 w 13102"/>
                  <a:gd name="connsiteY0" fmla="*/ 0 h 13102"/>
                  <a:gd name="connsiteX1" fmla="*/ 13103 w 13102"/>
                  <a:gd name="connsiteY1" fmla="*/ 0 h 13102"/>
                  <a:gd name="connsiteX2" fmla="*/ 13103 w 13102"/>
                  <a:gd name="connsiteY2" fmla="*/ 13103 h 13102"/>
                  <a:gd name="connsiteX3" fmla="*/ 0 w 13102"/>
                  <a:gd name="connsiteY3" fmla="*/ 13103 h 13102"/>
                </a:gdLst>
                <a:ahLst/>
                <a:cxnLst>
                  <a:cxn ang="0">
                    <a:pos x="connsiteX0" y="connsiteY0"/>
                  </a:cxn>
                  <a:cxn ang="0">
                    <a:pos x="connsiteX1" y="connsiteY1"/>
                  </a:cxn>
                  <a:cxn ang="0">
                    <a:pos x="connsiteX2" y="connsiteY2"/>
                  </a:cxn>
                  <a:cxn ang="0">
                    <a:pos x="connsiteX3" y="connsiteY3"/>
                  </a:cxn>
                </a:cxnLst>
                <a:rect l="l" t="t" r="r" b="b"/>
                <a:pathLst>
                  <a:path w="13102" h="13102">
                    <a:moveTo>
                      <a:pt x="0" y="0"/>
                    </a:moveTo>
                    <a:lnTo>
                      <a:pt x="13103" y="0"/>
                    </a:lnTo>
                    <a:lnTo>
                      <a:pt x="13103" y="13103"/>
                    </a:lnTo>
                    <a:lnTo>
                      <a:pt x="0" y="13103"/>
                    </a:lnTo>
                    <a:close/>
                  </a:path>
                </a:pathLst>
              </a:custGeom>
              <a:solidFill>
                <a:schemeClr val="tx2"/>
              </a:solidFill>
              <a:ln w="2651" cap="flat">
                <a:noFill/>
                <a:prstDash val="solid"/>
                <a:miter/>
              </a:ln>
            </p:spPr>
            <p:txBody>
              <a:bodyPr rtlCol="0" anchor="ctr"/>
              <a:lstStyle/>
              <a:p>
                <a:endParaRPr lang="en-GB" dirty="0"/>
              </a:p>
            </p:txBody>
          </p:sp>
        </p:grpSp>
        <p:grpSp>
          <p:nvGrpSpPr>
            <p:cNvPr id="185" name="Group 184">
              <a:extLst>
                <a:ext uri="{FF2B5EF4-FFF2-40B4-BE49-F238E27FC236}">
                  <a16:creationId xmlns:a16="http://schemas.microsoft.com/office/drawing/2014/main" id="{CC3AE358-438C-4292-B2F9-4BB3F3749630}"/>
                </a:ext>
              </a:extLst>
            </p:cNvPr>
            <p:cNvGrpSpPr/>
            <p:nvPr/>
          </p:nvGrpSpPr>
          <p:grpSpPr>
            <a:xfrm>
              <a:off x="3722867" y="1758823"/>
              <a:ext cx="468970" cy="259161"/>
              <a:chOff x="2536565" y="2655766"/>
              <a:chExt cx="498298" cy="275368"/>
            </a:xfrm>
          </p:grpSpPr>
          <p:sp>
            <p:nvSpPr>
              <p:cNvPr id="186" name="Freihandform: Form 427">
                <a:extLst>
                  <a:ext uri="{FF2B5EF4-FFF2-40B4-BE49-F238E27FC236}">
                    <a16:creationId xmlns:a16="http://schemas.microsoft.com/office/drawing/2014/main" id="{CC90C754-20D4-446E-A2C9-A6090EE95145}"/>
                  </a:ext>
                </a:extLst>
              </p:cNvPr>
              <p:cNvSpPr/>
              <p:nvPr/>
            </p:nvSpPr>
            <p:spPr>
              <a:xfrm>
                <a:off x="2982427" y="2740987"/>
                <a:ext cx="13102" cy="190147"/>
              </a:xfrm>
              <a:custGeom>
                <a:avLst/>
                <a:gdLst>
                  <a:gd name="connsiteX0" fmla="*/ 6551 w 13102"/>
                  <a:gd name="connsiteY0" fmla="*/ 190148 h 190147"/>
                  <a:gd name="connsiteX1" fmla="*/ 0 w 13102"/>
                  <a:gd name="connsiteY1" fmla="*/ 183596 h 190147"/>
                  <a:gd name="connsiteX2" fmla="*/ 0 w 13102"/>
                  <a:gd name="connsiteY2" fmla="*/ 6551 h 190147"/>
                  <a:gd name="connsiteX3" fmla="*/ 6551 w 13102"/>
                  <a:gd name="connsiteY3" fmla="*/ 0 h 190147"/>
                  <a:gd name="connsiteX4" fmla="*/ 13103 w 13102"/>
                  <a:gd name="connsiteY4" fmla="*/ 6551 h 190147"/>
                  <a:gd name="connsiteX5" fmla="*/ 13103 w 13102"/>
                  <a:gd name="connsiteY5" fmla="*/ 183596 h 190147"/>
                  <a:gd name="connsiteX6" fmla="*/ 6551 w 13102"/>
                  <a:gd name="connsiteY6" fmla="*/ 190148 h 19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2" h="190147">
                    <a:moveTo>
                      <a:pt x="6551" y="190148"/>
                    </a:moveTo>
                    <a:cubicBezTo>
                      <a:pt x="2918" y="190148"/>
                      <a:pt x="0" y="187203"/>
                      <a:pt x="0" y="183596"/>
                    </a:cubicBezTo>
                    <a:lnTo>
                      <a:pt x="0" y="6551"/>
                    </a:lnTo>
                    <a:cubicBezTo>
                      <a:pt x="0" y="2918"/>
                      <a:pt x="2944" y="0"/>
                      <a:pt x="6551" y="0"/>
                    </a:cubicBezTo>
                    <a:cubicBezTo>
                      <a:pt x="10185" y="0"/>
                      <a:pt x="13103" y="2944"/>
                      <a:pt x="13103" y="6551"/>
                    </a:cubicBezTo>
                    <a:lnTo>
                      <a:pt x="13103" y="183596"/>
                    </a:lnTo>
                    <a:cubicBezTo>
                      <a:pt x="13103" y="187203"/>
                      <a:pt x="10185" y="190148"/>
                      <a:pt x="6551" y="190148"/>
                    </a:cubicBezTo>
                    <a:close/>
                  </a:path>
                </a:pathLst>
              </a:custGeom>
              <a:solidFill>
                <a:schemeClr val="accent1"/>
              </a:solidFill>
              <a:ln w="2651" cap="flat">
                <a:noFill/>
                <a:prstDash val="solid"/>
                <a:miter/>
              </a:ln>
            </p:spPr>
            <p:txBody>
              <a:bodyPr rtlCol="0" anchor="ctr"/>
              <a:lstStyle/>
              <a:p>
                <a:endParaRPr lang="en-GB" dirty="0"/>
              </a:p>
            </p:txBody>
          </p:sp>
          <p:sp>
            <p:nvSpPr>
              <p:cNvPr id="187" name="Freihandform: Form 428">
                <a:extLst>
                  <a:ext uri="{FF2B5EF4-FFF2-40B4-BE49-F238E27FC236}">
                    <a16:creationId xmlns:a16="http://schemas.microsoft.com/office/drawing/2014/main" id="{CD5673FF-DE63-4A35-A24B-885E39202F69}"/>
                  </a:ext>
                </a:extLst>
              </p:cNvPr>
              <p:cNvSpPr/>
              <p:nvPr/>
            </p:nvSpPr>
            <p:spPr>
              <a:xfrm>
                <a:off x="2943092" y="2655766"/>
                <a:ext cx="91771" cy="157337"/>
              </a:xfrm>
              <a:custGeom>
                <a:avLst/>
                <a:gdLst>
                  <a:gd name="connsiteX0" fmla="*/ 45886 w 91771"/>
                  <a:gd name="connsiteY0" fmla="*/ 157338 h 157337"/>
                  <a:gd name="connsiteX1" fmla="*/ 0 w 91771"/>
                  <a:gd name="connsiteY1" fmla="*/ 111452 h 157337"/>
                  <a:gd name="connsiteX2" fmla="*/ 0 w 91771"/>
                  <a:gd name="connsiteY2" fmla="*/ 45886 h 157337"/>
                  <a:gd name="connsiteX3" fmla="*/ 45886 w 91771"/>
                  <a:gd name="connsiteY3" fmla="*/ 0 h 157337"/>
                  <a:gd name="connsiteX4" fmla="*/ 91772 w 91771"/>
                  <a:gd name="connsiteY4" fmla="*/ 45886 h 157337"/>
                  <a:gd name="connsiteX5" fmla="*/ 91772 w 91771"/>
                  <a:gd name="connsiteY5" fmla="*/ 111452 h 157337"/>
                  <a:gd name="connsiteX6" fmla="*/ 45886 w 91771"/>
                  <a:gd name="connsiteY6" fmla="*/ 157338 h 157337"/>
                  <a:gd name="connsiteX7" fmla="*/ 45886 w 91771"/>
                  <a:gd name="connsiteY7" fmla="*/ 13076 h 157337"/>
                  <a:gd name="connsiteX8" fmla="*/ 13103 w 91771"/>
                  <a:gd name="connsiteY8" fmla="*/ 45859 h 157337"/>
                  <a:gd name="connsiteX9" fmla="*/ 13103 w 91771"/>
                  <a:gd name="connsiteY9" fmla="*/ 111426 h 157337"/>
                  <a:gd name="connsiteX10" fmla="*/ 45886 w 91771"/>
                  <a:gd name="connsiteY10" fmla="*/ 144209 h 157337"/>
                  <a:gd name="connsiteX11" fmla="*/ 78669 w 91771"/>
                  <a:gd name="connsiteY11" fmla="*/ 111426 h 157337"/>
                  <a:gd name="connsiteX12" fmla="*/ 78669 w 91771"/>
                  <a:gd name="connsiteY12" fmla="*/ 45859 h 157337"/>
                  <a:gd name="connsiteX13" fmla="*/ 45886 w 91771"/>
                  <a:gd name="connsiteY13" fmla="*/ 13076 h 15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771" h="157337">
                    <a:moveTo>
                      <a:pt x="45886" y="157338"/>
                    </a:moveTo>
                    <a:cubicBezTo>
                      <a:pt x="20582" y="157338"/>
                      <a:pt x="0" y="136756"/>
                      <a:pt x="0" y="111452"/>
                    </a:cubicBezTo>
                    <a:lnTo>
                      <a:pt x="0" y="45886"/>
                    </a:lnTo>
                    <a:cubicBezTo>
                      <a:pt x="0" y="20582"/>
                      <a:pt x="20582" y="0"/>
                      <a:pt x="45886" y="0"/>
                    </a:cubicBezTo>
                    <a:cubicBezTo>
                      <a:pt x="71189" y="0"/>
                      <a:pt x="91772" y="20582"/>
                      <a:pt x="91772" y="45886"/>
                    </a:cubicBezTo>
                    <a:lnTo>
                      <a:pt x="91772" y="111452"/>
                    </a:lnTo>
                    <a:cubicBezTo>
                      <a:pt x="91772" y="136756"/>
                      <a:pt x="71189" y="157338"/>
                      <a:pt x="45886" y="157338"/>
                    </a:cubicBezTo>
                    <a:close/>
                    <a:moveTo>
                      <a:pt x="45886" y="13076"/>
                    </a:moveTo>
                    <a:cubicBezTo>
                      <a:pt x="27797" y="13076"/>
                      <a:pt x="13103" y="27797"/>
                      <a:pt x="13103" y="45859"/>
                    </a:cubicBezTo>
                    <a:lnTo>
                      <a:pt x="13103" y="111426"/>
                    </a:lnTo>
                    <a:cubicBezTo>
                      <a:pt x="13103" y="129488"/>
                      <a:pt x="27823" y="144209"/>
                      <a:pt x="45886" y="144209"/>
                    </a:cubicBezTo>
                    <a:cubicBezTo>
                      <a:pt x="63948" y="144209"/>
                      <a:pt x="78669" y="129488"/>
                      <a:pt x="78669" y="111426"/>
                    </a:cubicBezTo>
                    <a:lnTo>
                      <a:pt x="78669" y="45859"/>
                    </a:lnTo>
                    <a:cubicBezTo>
                      <a:pt x="78669" y="27797"/>
                      <a:pt x="63948" y="13076"/>
                      <a:pt x="45886" y="13076"/>
                    </a:cubicBezTo>
                    <a:close/>
                  </a:path>
                </a:pathLst>
              </a:custGeom>
              <a:solidFill>
                <a:schemeClr val="accent1"/>
              </a:solidFill>
              <a:ln w="2651" cap="flat">
                <a:noFill/>
                <a:prstDash val="solid"/>
                <a:miter/>
              </a:ln>
            </p:spPr>
            <p:txBody>
              <a:bodyPr rtlCol="0" anchor="ctr"/>
              <a:lstStyle/>
              <a:p>
                <a:endParaRPr lang="en-GB" dirty="0"/>
              </a:p>
            </p:txBody>
          </p:sp>
          <p:sp>
            <p:nvSpPr>
              <p:cNvPr id="188" name="Freihandform: Form 429">
                <a:extLst>
                  <a:ext uri="{FF2B5EF4-FFF2-40B4-BE49-F238E27FC236}">
                    <a16:creationId xmlns:a16="http://schemas.microsoft.com/office/drawing/2014/main" id="{4DA58155-C9EF-449B-8C92-F9EBD991B577}"/>
                  </a:ext>
                </a:extLst>
              </p:cNvPr>
              <p:cNvSpPr/>
              <p:nvPr/>
            </p:nvSpPr>
            <p:spPr>
              <a:xfrm>
                <a:off x="2549668" y="2918031"/>
                <a:ext cx="485195" cy="13102"/>
              </a:xfrm>
              <a:custGeom>
                <a:avLst/>
                <a:gdLst>
                  <a:gd name="connsiteX0" fmla="*/ 478644 w 485195"/>
                  <a:gd name="connsiteY0" fmla="*/ 13103 h 13102"/>
                  <a:gd name="connsiteX1" fmla="*/ 6551 w 485195"/>
                  <a:gd name="connsiteY1" fmla="*/ 13103 h 13102"/>
                  <a:gd name="connsiteX2" fmla="*/ 0 w 485195"/>
                  <a:gd name="connsiteY2" fmla="*/ 6551 h 13102"/>
                  <a:gd name="connsiteX3" fmla="*/ 6551 w 485195"/>
                  <a:gd name="connsiteY3" fmla="*/ 0 h 13102"/>
                  <a:gd name="connsiteX4" fmla="*/ 478644 w 485195"/>
                  <a:gd name="connsiteY4" fmla="*/ 0 h 13102"/>
                  <a:gd name="connsiteX5" fmla="*/ 485196 w 485195"/>
                  <a:gd name="connsiteY5" fmla="*/ 6551 h 13102"/>
                  <a:gd name="connsiteX6" fmla="*/ 478644 w 485195"/>
                  <a:gd name="connsiteY6" fmla="*/ 13103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195" h="13102">
                    <a:moveTo>
                      <a:pt x="478644" y="13103"/>
                    </a:moveTo>
                    <a:lnTo>
                      <a:pt x="6551" y="13103"/>
                    </a:lnTo>
                    <a:cubicBezTo>
                      <a:pt x="2918" y="13103"/>
                      <a:pt x="0" y="10159"/>
                      <a:pt x="0" y="6551"/>
                    </a:cubicBezTo>
                    <a:cubicBezTo>
                      <a:pt x="0" y="2918"/>
                      <a:pt x="2944" y="0"/>
                      <a:pt x="6551" y="0"/>
                    </a:cubicBezTo>
                    <a:lnTo>
                      <a:pt x="478644" y="0"/>
                    </a:lnTo>
                    <a:cubicBezTo>
                      <a:pt x="482278" y="0"/>
                      <a:pt x="485196" y="2944"/>
                      <a:pt x="485196" y="6551"/>
                    </a:cubicBezTo>
                    <a:cubicBezTo>
                      <a:pt x="485196" y="10159"/>
                      <a:pt x="482278" y="13103"/>
                      <a:pt x="478644" y="13103"/>
                    </a:cubicBezTo>
                    <a:close/>
                  </a:path>
                </a:pathLst>
              </a:custGeom>
              <a:solidFill>
                <a:schemeClr val="accent1"/>
              </a:solidFill>
              <a:ln w="2651" cap="flat">
                <a:noFill/>
                <a:prstDash val="solid"/>
                <a:miter/>
              </a:ln>
            </p:spPr>
            <p:txBody>
              <a:bodyPr rtlCol="0" anchor="ctr"/>
              <a:lstStyle/>
              <a:p>
                <a:endParaRPr lang="en-GB" dirty="0"/>
              </a:p>
            </p:txBody>
          </p:sp>
          <p:sp>
            <p:nvSpPr>
              <p:cNvPr id="189" name="Freihandform: Form 430">
                <a:extLst>
                  <a:ext uri="{FF2B5EF4-FFF2-40B4-BE49-F238E27FC236}">
                    <a16:creationId xmlns:a16="http://schemas.microsoft.com/office/drawing/2014/main" id="{7208AEBD-9250-47E2-B9A4-35EA888ADF38}"/>
                  </a:ext>
                </a:extLst>
              </p:cNvPr>
              <p:cNvSpPr/>
              <p:nvPr/>
            </p:nvSpPr>
            <p:spPr>
              <a:xfrm>
                <a:off x="2575900" y="2839362"/>
                <a:ext cx="13102" cy="91771"/>
              </a:xfrm>
              <a:custGeom>
                <a:avLst/>
                <a:gdLst>
                  <a:gd name="connsiteX0" fmla="*/ 6551 w 13102"/>
                  <a:gd name="connsiteY0" fmla="*/ 91772 h 91771"/>
                  <a:gd name="connsiteX1" fmla="*/ 0 w 13102"/>
                  <a:gd name="connsiteY1" fmla="*/ 85220 h 91771"/>
                  <a:gd name="connsiteX2" fmla="*/ 0 w 13102"/>
                  <a:gd name="connsiteY2" fmla="*/ 6551 h 91771"/>
                  <a:gd name="connsiteX3" fmla="*/ 6551 w 13102"/>
                  <a:gd name="connsiteY3" fmla="*/ 0 h 91771"/>
                  <a:gd name="connsiteX4" fmla="*/ 13103 w 13102"/>
                  <a:gd name="connsiteY4" fmla="*/ 6551 h 91771"/>
                  <a:gd name="connsiteX5" fmla="*/ 13103 w 13102"/>
                  <a:gd name="connsiteY5" fmla="*/ 85220 h 91771"/>
                  <a:gd name="connsiteX6" fmla="*/ 6551 w 13102"/>
                  <a:gd name="connsiteY6" fmla="*/ 91772 h 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2" h="91771">
                    <a:moveTo>
                      <a:pt x="6551" y="91772"/>
                    </a:moveTo>
                    <a:cubicBezTo>
                      <a:pt x="2918" y="91772"/>
                      <a:pt x="0" y="88828"/>
                      <a:pt x="0" y="85220"/>
                    </a:cubicBezTo>
                    <a:lnTo>
                      <a:pt x="0" y="6551"/>
                    </a:lnTo>
                    <a:cubicBezTo>
                      <a:pt x="0" y="2918"/>
                      <a:pt x="2944" y="0"/>
                      <a:pt x="6551" y="0"/>
                    </a:cubicBezTo>
                    <a:cubicBezTo>
                      <a:pt x="10159" y="0"/>
                      <a:pt x="13103" y="2944"/>
                      <a:pt x="13103" y="6551"/>
                    </a:cubicBezTo>
                    <a:lnTo>
                      <a:pt x="13103" y="85220"/>
                    </a:lnTo>
                    <a:cubicBezTo>
                      <a:pt x="13103" y="88828"/>
                      <a:pt x="10185" y="91772"/>
                      <a:pt x="6551" y="91772"/>
                    </a:cubicBezTo>
                    <a:close/>
                  </a:path>
                </a:pathLst>
              </a:custGeom>
              <a:solidFill>
                <a:schemeClr val="accent1"/>
              </a:solidFill>
              <a:ln w="2651" cap="flat">
                <a:noFill/>
                <a:prstDash val="solid"/>
                <a:miter/>
              </a:ln>
            </p:spPr>
            <p:txBody>
              <a:bodyPr rtlCol="0" anchor="ctr"/>
              <a:lstStyle/>
              <a:p>
                <a:endParaRPr lang="en-GB" dirty="0"/>
              </a:p>
            </p:txBody>
          </p:sp>
          <p:sp>
            <p:nvSpPr>
              <p:cNvPr id="190" name="Freihandform: Form 431">
                <a:extLst>
                  <a:ext uri="{FF2B5EF4-FFF2-40B4-BE49-F238E27FC236}">
                    <a16:creationId xmlns:a16="http://schemas.microsoft.com/office/drawing/2014/main" id="{EE4E4BCE-95D7-47C1-B8B6-436680ECD59E}"/>
                  </a:ext>
                </a:extLst>
              </p:cNvPr>
              <p:cNvSpPr/>
              <p:nvPr/>
            </p:nvSpPr>
            <p:spPr>
              <a:xfrm>
                <a:off x="2536565" y="2793450"/>
                <a:ext cx="91771" cy="91771"/>
              </a:xfrm>
              <a:custGeom>
                <a:avLst/>
                <a:gdLst>
                  <a:gd name="connsiteX0" fmla="*/ 45886 w 91771"/>
                  <a:gd name="connsiteY0" fmla="*/ 91772 h 91771"/>
                  <a:gd name="connsiteX1" fmla="*/ 0 w 91771"/>
                  <a:gd name="connsiteY1" fmla="*/ 45886 h 91771"/>
                  <a:gd name="connsiteX2" fmla="*/ 45886 w 91771"/>
                  <a:gd name="connsiteY2" fmla="*/ 0 h 91771"/>
                  <a:gd name="connsiteX3" fmla="*/ 91772 w 91771"/>
                  <a:gd name="connsiteY3" fmla="*/ 45886 h 91771"/>
                  <a:gd name="connsiteX4" fmla="*/ 45886 w 91771"/>
                  <a:gd name="connsiteY4" fmla="*/ 91772 h 91771"/>
                  <a:gd name="connsiteX5" fmla="*/ 45886 w 91771"/>
                  <a:gd name="connsiteY5" fmla="*/ 13103 h 91771"/>
                  <a:gd name="connsiteX6" fmla="*/ 13103 w 91771"/>
                  <a:gd name="connsiteY6" fmla="*/ 45886 h 91771"/>
                  <a:gd name="connsiteX7" fmla="*/ 45886 w 91771"/>
                  <a:gd name="connsiteY7" fmla="*/ 78669 h 91771"/>
                  <a:gd name="connsiteX8" fmla="*/ 78669 w 91771"/>
                  <a:gd name="connsiteY8" fmla="*/ 45886 h 91771"/>
                  <a:gd name="connsiteX9" fmla="*/ 45886 w 91771"/>
                  <a:gd name="connsiteY9" fmla="*/ 13103 h 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1" h="91771">
                    <a:moveTo>
                      <a:pt x="45886" y="91772"/>
                    </a:moveTo>
                    <a:cubicBezTo>
                      <a:pt x="20582" y="91772"/>
                      <a:pt x="0" y="71189"/>
                      <a:pt x="0" y="45886"/>
                    </a:cubicBezTo>
                    <a:cubicBezTo>
                      <a:pt x="0" y="20582"/>
                      <a:pt x="20582" y="0"/>
                      <a:pt x="45886" y="0"/>
                    </a:cubicBezTo>
                    <a:cubicBezTo>
                      <a:pt x="71189" y="0"/>
                      <a:pt x="91772" y="20582"/>
                      <a:pt x="91772" y="45886"/>
                    </a:cubicBezTo>
                    <a:cubicBezTo>
                      <a:pt x="91798" y="71189"/>
                      <a:pt x="71189" y="91772"/>
                      <a:pt x="45886" y="91772"/>
                    </a:cubicBezTo>
                    <a:close/>
                    <a:moveTo>
                      <a:pt x="45886" y="13103"/>
                    </a:moveTo>
                    <a:cubicBezTo>
                      <a:pt x="27797" y="13103"/>
                      <a:pt x="13103" y="27823"/>
                      <a:pt x="13103" y="45886"/>
                    </a:cubicBezTo>
                    <a:cubicBezTo>
                      <a:pt x="13103" y="63948"/>
                      <a:pt x="27823" y="78669"/>
                      <a:pt x="45886" y="78669"/>
                    </a:cubicBezTo>
                    <a:cubicBezTo>
                      <a:pt x="63948" y="78669"/>
                      <a:pt x="78669" y="63948"/>
                      <a:pt x="78669" y="45886"/>
                    </a:cubicBezTo>
                    <a:cubicBezTo>
                      <a:pt x="78669" y="27797"/>
                      <a:pt x="63975" y="13103"/>
                      <a:pt x="45886" y="13103"/>
                    </a:cubicBezTo>
                    <a:close/>
                  </a:path>
                </a:pathLst>
              </a:custGeom>
              <a:solidFill>
                <a:schemeClr val="accent1"/>
              </a:solidFill>
              <a:ln w="2651" cap="flat">
                <a:noFill/>
                <a:prstDash val="solid"/>
                <a:miter/>
              </a:ln>
            </p:spPr>
            <p:txBody>
              <a:bodyPr rtlCol="0" anchor="ctr"/>
              <a:lstStyle/>
              <a:p>
                <a:endParaRPr lang="en-GB" dirty="0"/>
              </a:p>
            </p:txBody>
          </p:sp>
        </p:grpSp>
      </p:grpSp>
      <p:grpSp>
        <p:nvGrpSpPr>
          <p:cNvPr id="4" name="Group 3">
            <a:extLst>
              <a:ext uri="{FF2B5EF4-FFF2-40B4-BE49-F238E27FC236}">
                <a16:creationId xmlns:a16="http://schemas.microsoft.com/office/drawing/2014/main" id="{4C9AD1B0-D344-DB24-C4F5-0A39D910FF9A}"/>
              </a:ext>
            </a:extLst>
          </p:cNvPr>
          <p:cNvGrpSpPr/>
          <p:nvPr/>
        </p:nvGrpSpPr>
        <p:grpSpPr>
          <a:xfrm>
            <a:off x="2668411" y="1585984"/>
            <a:ext cx="433015" cy="432000"/>
            <a:chOff x="2668411" y="1585984"/>
            <a:chExt cx="433015" cy="432000"/>
          </a:xfrm>
        </p:grpSpPr>
        <p:grpSp>
          <p:nvGrpSpPr>
            <p:cNvPr id="211" name="Group 210">
              <a:extLst>
                <a:ext uri="{FF2B5EF4-FFF2-40B4-BE49-F238E27FC236}">
                  <a16:creationId xmlns:a16="http://schemas.microsoft.com/office/drawing/2014/main" id="{CCF44A2F-7CDF-4558-9760-FDD39E486221}"/>
                </a:ext>
              </a:extLst>
            </p:cNvPr>
            <p:cNvGrpSpPr/>
            <p:nvPr/>
          </p:nvGrpSpPr>
          <p:grpSpPr>
            <a:xfrm>
              <a:off x="2668411" y="1585984"/>
              <a:ext cx="433015" cy="432000"/>
              <a:chOff x="1716043" y="2444877"/>
              <a:chExt cx="485405" cy="484267"/>
            </a:xfrm>
            <a:solidFill>
              <a:schemeClr val="tx2"/>
            </a:solidFill>
          </p:grpSpPr>
          <p:sp>
            <p:nvSpPr>
              <p:cNvPr id="216" name="Freihandform: Form 394">
                <a:extLst>
                  <a:ext uri="{FF2B5EF4-FFF2-40B4-BE49-F238E27FC236}">
                    <a16:creationId xmlns:a16="http://schemas.microsoft.com/office/drawing/2014/main" id="{5AC64F4C-5839-43D4-B8EE-8778815DB4DF}"/>
                  </a:ext>
                </a:extLst>
              </p:cNvPr>
              <p:cNvSpPr/>
              <p:nvPr/>
            </p:nvSpPr>
            <p:spPr>
              <a:xfrm>
                <a:off x="1815984" y="2444877"/>
                <a:ext cx="285517" cy="165533"/>
              </a:xfrm>
              <a:custGeom>
                <a:avLst/>
                <a:gdLst>
                  <a:gd name="connsiteX0" fmla="*/ 249311 w 285517"/>
                  <a:gd name="connsiteY0" fmla="*/ 165534 h 165533"/>
                  <a:gd name="connsiteX1" fmla="*/ 245677 w 285517"/>
                  <a:gd name="connsiteY1" fmla="*/ 164977 h 165533"/>
                  <a:gd name="connsiteX2" fmla="*/ 223557 w 285517"/>
                  <a:gd name="connsiteY2" fmla="*/ 157921 h 165533"/>
                  <a:gd name="connsiteX3" fmla="*/ 146771 w 285517"/>
                  <a:gd name="connsiteY3" fmla="*/ 133626 h 165533"/>
                  <a:gd name="connsiteX4" fmla="*/ 138628 w 285517"/>
                  <a:gd name="connsiteY4" fmla="*/ 125907 h 165533"/>
                  <a:gd name="connsiteX5" fmla="*/ 146532 w 285517"/>
                  <a:gd name="connsiteY5" fmla="*/ 115431 h 165533"/>
                  <a:gd name="connsiteX6" fmla="*/ 157301 w 285517"/>
                  <a:gd name="connsiteY6" fmla="*/ 109595 h 165533"/>
                  <a:gd name="connsiteX7" fmla="*/ 163295 w 285517"/>
                  <a:gd name="connsiteY7" fmla="*/ 106359 h 165533"/>
                  <a:gd name="connsiteX8" fmla="*/ 137434 w 285517"/>
                  <a:gd name="connsiteY8" fmla="*/ 61137 h 165533"/>
                  <a:gd name="connsiteX9" fmla="*/ 93750 w 285517"/>
                  <a:gd name="connsiteY9" fmla="*/ 145296 h 165533"/>
                  <a:gd name="connsiteX10" fmla="*/ 84918 w 285517"/>
                  <a:gd name="connsiteY10" fmla="*/ 148108 h 165533"/>
                  <a:gd name="connsiteX11" fmla="*/ 3543 w 285517"/>
                  <a:gd name="connsiteY11" fmla="*/ 105882 h 165533"/>
                  <a:gd name="connsiteX12" fmla="*/ 308 w 285517"/>
                  <a:gd name="connsiteY12" fmla="*/ 102036 h 165533"/>
                  <a:gd name="connsiteX13" fmla="*/ 758 w 285517"/>
                  <a:gd name="connsiteY13" fmla="*/ 97023 h 165533"/>
                  <a:gd name="connsiteX14" fmla="*/ 48368 w 285517"/>
                  <a:gd name="connsiteY14" fmla="*/ 5756 h 165533"/>
                  <a:gd name="connsiteX15" fmla="*/ 54097 w 285517"/>
                  <a:gd name="connsiteY15" fmla="*/ 2228 h 165533"/>
                  <a:gd name="connsiteX16" fmla="*/ 217244 w 285517"/>
                  <a:gd name="connsiteY16" fmla="*/ 0 h 165533"/>
                  <a:gd name="connsiteX17" fmla="*/ 223132 w 285517"/>
                  <a:gd name="connsiteY17" fmla="*/ 3501 h 165533"/>
                  <a:gd name="connsiteX18" fmla="*/ 240823 w 285517"/>
                  <a:gd name="connsiteY18" fmla="*/ 37504 h 165533"/>
                  <a:gd name="connsiteX19" fmla="*/ 251751 w 285517"/>
                  <a:gd name="connsiteY19" fmla="*/ 58617 h 165533"/>
                  <a:gd name="connsiteX20" fmla="*/ 268434 w 285517"/>
                  <a:gd name="connsiteY20" fmla="*/ 49626 h 165533"/>
                  <a:gd name="connsiteX21" fmla="*/ 282624 w 285517"/>
                  <a:gd name="connsiteY21" fmla="*/ 48830 h 165533"/>
                  <a:gd name="connsiteX22" fmla="*/ 284534 w 285517"/>
                  <a:gd name="connsiteY22" fmla="*/ 60606 h 165533"/>
                  <a:gd name="connsiteX23" fmla="*/ 261353 w 285517"/>
                  <a:gd name="connsiteY23" fmla="*/ 151264 h 165533"/>
                  <a:gd name="connsiteX24" fmla="*/ 259947 w 285517"/>
                  <a:gd name="connsiteY24" fmla="*/ 157179 h 165533"/>
                  <a:gd name="connsiteX25" fmla="*/ 254589 w 285517"/>
                  <a:gd name="connsiteY25" fmla="*/ 164207 h 165533"/>
                  <a:gd name="connsiteX26" fmla="*/ 249311 w 285517"/>
                  <a:gd name="connsiteY26" fmla="*/ 165534 h 165533"/>
                  <a:gd name="connsiteX27" fmla="*/ 158945 w 285517"/>
                  <a:gd name="connsiteY27" fmla="*/ 123600 h 165533"/>
                  <a:gd name="connsiteX28" fmla="*/ 227588 w 285517"/>
                  <a:gd name="connsiteY28" fmla="*/ 145429 h 165533"/>
                  <a:gd name="connsiteX29" fmla="*/ 247746 w 285517"/>
                  <a:gd name="connsiteY29" fmla="*/ 151874 h 165533"/>
                  <a:gd name="connsiteX30" fmla="*/ 248595 w 285517"/>
                  <a:gd name="connsiteY30" fmla="*/ 148267 h 165533"/>
                  <a:gd name="connsiteX31" fmla="*/ 269787 w 285517"/>
                  <a:gd name="connsiteY31" fmla="*/ 63763 h 165533"/>
                  <a:gd name="connsiteX32" fmla="*/ 252175 w 285517"/>
                  <a:gd name="connsiteY32" fmla="*/ 73285 h 165533"/>
                  <a:gd name="connsiteX33" fmla="*/ 247136 w 285517"/>
                  <a:gd name="connsiteY33" fmla="*/ 73789 h 165533"/>
                  <a:gd name="connsiteX34" fmla="*/ 243237 w 285517"/>
                  <a:gd name="connsiteY34" fmla="*/ 70579 h 165533"/>
                  <a:gd name="connsiteX35" fmla="*/ 229179 w 285517"/>
                  <a:gd name="connsiteY35" fmla="*/ 43499 h 165533"/>
                  <a:gd name="connsiteX36" fmla="*/ 213424 w 285517"/>
                  <a:gd name="connsiteY36" fmla="*/ 13129 h 165533"/>
                  <a:gd name="connsiteX37" fmla="*/ 125181 w 285517"/>
                  <a:gd name="connsiteY37" fmla="*/ 14349 h 165533"/>
                  <a:gd name="connsiteX38" fmla="*/ 178015 w 285517"/>
                  <a:gd name="connsiteY38" fmla="*/ 105909 h 165533"/>
                  <a:gd name="connsiteX39" fmla="*/ 175337 w 285517"/>
                  <a:gd name="connsiteY39" fmla="*/ 114741 h 165533"/>
                  <a:gd name="connsiteX40" fmla="*/ 163587 w 285517"/>
                  <a:gd name="connsiteY40" fmla="*/ 121107 h 165533"/>
                  <a:gd name="connsiteX41" fmla="*/ 158945 w 285517"/>
                  <a:gd name="connsiteY41" fmla="*/ 123600 h 165533"/>
                  <a:gd name="connsiteX42" fmla="*/ 15453 w 285517"/>
                  <a:gd name="connsiteY42" fmla="*/ 97235 h 165533"/>
                  <a:gd name="connsiteX43" fmla="*/ 85183 w 285517"/>
                  <a:gd name="connsiteY43" fmla="*/ 133414 h 165533"/>
                  <a:gd name="connsiteX44" fmla="*/ 128363 w 285517"/>
                  <a:gd name="connsiteY44" fmla="*/ 50183 h 165533"/>
                  <a:gd name="connsiteX45" fmla="*/ 129955 w 285517"/>
                  <a:gd name="connsiteY45" fmla="*/ 48193 h 165533"/>
                  <a:gd name="connsiteX46" fmla="*/ 110937 w 285517"/>
                  <a:gd name="connsiteY46" fmla="*/ 16126 h 165533"/>
                  <a:gd name="connsiteX47" fmla="*/ 110221 w 285517"/>
                  <a:gd name="connsiteY47" fmla="*/ 14535 h 165533"/>
                  <a:gd name="connsiteX48" fmla="*/ 58182 w 285517"/>
                  <a:gd name="connsiteY48" fmla="*/ 15251 h 165533"/>
                  <a:gd name="connsiteX49" fmla="*/ 15453 w 285517"/>
                  <a:gd name="connsiteY49" fmla="*/ 97235 h 165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85517" h="165533">
                    <a:moveTo>
                      <a:pt x="249311" y="165534"/>
                    </a:moveTo>
                    <a:cubicBezTo>
                      <a:pt x="248117" y="165534"/>
                      <a:pt x="246897" y="165348"/>
                      <a:pt x="245677" y="164977"/>
                    </a:cubicBezTo>
                    <a:cubicBezTo>
                      <a:pt x="244563" y="164658"/>
                      <a:pt x="235678" y="161820"/>
                      <a:pt x="223557" y="157921"/>
                    </a:cubicBezTo>
                    <a:cubicBezTo>
                      <a:pt x="199022" y="150017"/>
                      <a:pt x="161916" y="138108"/>
                      <a:pt x="146771" y="133626"/>
                    </a:cubicBezTo>
                    <a:cubicBezTo>
                      <a:pt x="144914" y="133095"/>
                      <a:pt x="139238" y="131424"/>
                      <a:pt x="138628" y="125907"/>
                    </a:cubicBezTo>
                    <a:cubicBezTo>
                      <a:pt x="137991" y="120099"/>
                      <a:pt x="143747" y="116942"/>
                      <a:pt x="146532" y="115431"/>
                    </a:cubicBezTo>
                    <a:cubicBezTo>
                      <a:pt x="147301" y="115006"/>
                      <a:pt x="151280" y="112858"/>
                      <a:pt x="157301" y="109595"/>
                    </a:cubicBezTo>
                    <a:lnTo>
                      <a:pt x="163295" y="106359"/>
                    </a:lnTo>
                    <a:cubicBezTo>
                      <a:pt x="157407" y="95644"/>
                      <a:pt x="147301" y="78112"/>
                      <a:pt x="137434" y="61137"/>
                    </a:cubicBezTo>
                    <a:lnTo>
                      <a:pt x="93750" y="145296"/>
                    </a:lnTo>
                    <a:cubicBezTo>
                      <a:pt x="92079" y="148505"/>
                      <a:pt x="88127" y="149752"/>
                      <a:pt x="84918" y="148108"/>
                    </a:cubicBezTo>
                    <a:lnTo>
                      <a:pt x="3543" y="105882"/>
                    </a:lnTo>
                    <a:cubicBezTo>
                      <a:pt x="2005" y="105086"/>
                      <a:pt x="838" y="103707"/>
                      <a:pt x="308" y="102036"/>
                    </a:cubicBezTo>
                    <a:cubicBezTo>
                      <a:pt x="-223" y="100365"/>
                      <a:pt x="-64" y="98588"/>
                      <a:pt x="758" y="97023"/>
                    </a:cubicBezTo>
                    <a:lnTo>
                      <a:pt x="48368" y="5756"/>
                    </a:lnTo>
                    <a:cubicBezTo>
                      <a:pt x="49482" y="3607"/>
                      <a:pt x="51684" y="2254"/>
                      <a:pt x="54097" y="2228"/>
                    </a:cubicBezTo>
                    <a:cubicBezTo>
                      <a:pt x="67120" y="2069"/>
                      <a:pt x="217244" y="0"/>
                      <a:pt x="217244" y="0"/>
                    </a:cubicBezTo>
                    <a:cubicBezTo>
                      <a:pt x="219551" y="0"/>
                      <a:pt x="221992" y="1326"/>
                      <a:pt x="223132" y="3501"/>
                    </a:cubicBezTo>
                    <a:cubicBezTo>
                      <a:pt x="228755" y="14190"/>
                      <a:pt x="234988" y="26232"/>
                      <a:pt x="240823" y="37504"/>
                    </a:cubicBezTo>
                    <a:cubicBezTo>
                      <a:pt x="244749" y="45090"/>
                      <a:pt x="248489" y="52331"/>
                      <a:pt x="251751" y="58617"/>
                    </a:cubicBezTo>
                    <a:cubicBezTo>
                      <a:pt x="261114" y="53578"/>
                      <a:pt x="267480" y="50130"/>
                      <a:pt x="268434" y="49626"/>
                    </a:cubicBezTo>
                    <a:cubicBezTo>
                      <a:pt x="270954" y="48273"/>
                      <a:pt x="277665" y="44639"/>
                      <a:pt x="282624" y="48830"/>
                    </a:cubicBezTo>
                    <a:cubicBezTo>
                      <a:pt x="284746" y="50634"/>
                      <a:pt x="286789" y="54135"/>
                      <a:pt x="284534" y="60606"/>
                    </a:cubicBezTo>
                    <a:cubicBezTo>
                      <a:pt x="278036" y="79624"/>
                      <a:pt x="265464" y="133546"/>
                      <a:pt x="261353" y="151264"/>
                    </a:cubicBezTo>
                    <a:cubicBezTo>
                      <a:pt x="260557" y="154659"/>
                      <a:pt x="260053" y="156781"/>
                      <a:pt x="259947" y="157179"/>
                    </a:cubicBezTo>
                    <a:cubicBezTo>
                      <a:pt x="259125" y="160255"/>
                      <a:pt x="257215" y="162749"/>
                      <a:pt x="254589" y="164207"/>
                    </a:cubicBezTo>
                    <a:cubicBezTo>
                      <a:pt x="252971" y="165083"/>
                      <a:pt x="251168" y="165534"/>
                      <a:pt x="249311" y="165534"/>
                    </a:cubicBezTo>
                    <a:close/>
                    <a:moveTo>
                      <a:pt x="158945" y="123600"/>
                    </a:moveTo>
                    <a:cubicBezTo>
                      <a:pt x="176902" y="129143"/>
                      <a:pt x="206767" y="138718"/>
                      <a:pt x="227588" y="145429"/>
                    </a:cubicBezTo>
                    <a:cubicBezTo>
                      <a:pt x="237004" y="148452"/>
                      <a:pt x="244431" y="150840"/>
                      <a:pt x="247746" y="151874"/>
                    </a:cubicBezTo>
                    <a:cubicBezTo>
                      <a:pt x="247958" y="150946"/>
                      <a:pt x="248250" y="149752"/>
                      <a:pt x="248595" y="148267"/>
                    </a:cubicBezTo>
                    <a:cubicBezTo>
                      <a:pt x="252308" y="132300"/>
                      <a:pt x="262811" y="87236"/>
                      <a:pt x="269787" y="63763"/>
                    </a:cubicBezTo>
                    <a:cubicBezTo>
                      <a:pt x="265782" y="65938"/>
                      <a:pt x="259602" y="69253"/>
                      <a:pt x="252175" y="73285"/>
                    </a:cubicBezTo>
                    <a:cubicBezTo>
                      <a:pt x="250637" y="74107"/>
                      <a:pt x="248833" y="74319"/>
                      <a:pt x="247136" y="73789"/>
                    </a:cubicBezTo>
                    <a:cubicBezTo>
                      <a:pt x="245465" y="73285"/>
                      <a:pt x="244059" y="72118"/>
                      <a:pt x="243237" y="70579"/>
                    </a:cubicBezTo>
                    <a:cubicBezTo>
                      <a:pt x="239312" y="63126"/>
                      <a:pt x="234405" y="53631"/>
                      <a:pt x="229179" y="43499"/>
                    </a:cubicBezTo>
                    <a:cubicBezTo>
                      <a:pt x="224007" y="33473"/>
                      <a:pt x="218517" y="22890"/>
                      <a:pt x="213424" y="13129"/>
                    </a:cubicBezTo>
                    <a:cubicBezTo>
                      <a:pt x="200958" y="13315"/>
                      <a:pt x="161704" y="13845"/>
                      <a:pt x="125181" y="14349"/>
                    </a:cubicBezTo>
                    <a:cubicBezTo>
                      <a:pt x="137302" y="34587"/>
                      <a:pt x="169395" y="89544"/>
                      <a:pt x="178015" y="105909"/>
                    </a:cubicBezTo>
                    <a:cubicBezTo>
                      <a:pt x="179686" y="109091"/>
                      <a:pt x="178493" y="113017"/>
                      <a:pt x="175337" y="114741"/>
                    </a:cubicBezTo>
                    <a:lnTo>
                      <a:pt x="163587" y="121107"/>
                    </a:lnTo>
                    <a:cubicBezTo>
                      <a:pt x="161836" y="122008"/>
                      <a:pt x="160298" y="122857"/>
                      <a:pt x="158945" y="123600"/>
                    </a:cubicBezTo>
                    <a:close/>
                    <a:moveTo>
                      <a:pt x="15453" y="97235"/>
                    </a:moveTo>
                    <a:lnTo>
                      <a:pt x="85183" y="133414"/>
                    </a:lnTo>
                    <a:lnTo>
                      <a:pt x="128363" y="50183"/>
                    </a:lnTo>
                    <a:cubicBezTo>
                      <a:pt x="128761" y="49387"/>
                      <a:pt x="129318" y="48724"/>
                      <a:pt x="129955" y="48193"/>
                    </a:cubicBezTo>
                    <a:cubicBezTo>
                      <a:pt x="121467" y="33711"/>
                      <a:pt x="114094" y="21245"/>
                      <a:pt x="110937" y="16126"/>
                    </a:cubicBezTo>
                    <a:cubicBezTo>
                      <a:pt x="110619" y="15622"/>
                      <a:pt x="110380" y="15092"/>
                      <a:pt x="110221" y="14535"/>
                    </a:cubicBezTo>
                    <a:cubicBezTo>
                      <a:pt x="87172" y="14853"/>
                      <a:pt x="67067" y="15118"/>
                      <a:pt x="58182" y="15251"/>
                    </a:cubicBezTo>
                    <a:lnTo>
                      <a:pt x="15453" y="97235"/>
                    </a:lnTo>
                    <a:close/>
                  </a:path>
                </a:pathLst>
              </a:custGeom>
              <a:grpFill/>
              <a:ln w="2651" cap="flat">
                <a:noFill/>
                <a:prstDash val="solid"/>
                <a:miter/>
              </a:ln>
            </p:spPr>
            <p:txBody>
              <a:bodyPr rtlCol="0" anchor="ctr"/>
              <a:lstStyle/>
              <a:p>
                <a:endParaRPr lang="en-GB" dirty="0"/>
              </a:p>
            </p:txBody>
          </p:sp>
          <p:grpSp>
            <p:nvGrpSpPr>
              <p:cNvPr id="217" name="Grafik 228">
                <a:extLst>
                  <a:ext uri="{FF2B5EF4-FFF2-40B4-BE49-F238E27FC236}">
                    <a16:creationId xmlns:a16="http://schemas.microsoft.com/office/drawing/2014/main" id="{FFCCF506-D419-4985-A6D3-1CEC4C0A300D}"/>
                  </a:ext>
                </a:extLst>
              </p:cNvPr>
              <p:cNvGrpSpPr/>
              <p:nvPr/>
            </p:nvGrpSpPr>
            <p:grpSpPr>
              <a:xfrm>
                <a:off x="1716043" y="2643300"/>
                <a:ext cx="485405" cy="285844"/>
                <a:chOff x="1716043" y="2643300"/>
                <a:chExt cx="485405" cy="285844"/>
              </a:xfrm>
              <a:grpFill/>
            </p:grpSpPr>
            <p:sp>
              <p:nvSpPr>
                <p:cNvPr id="218" name="Freihandform: Form 396">
                  <a:extLst>
                    <a:ext uri="{FF2B5EF4-FFF2-40B4-BE49-F238E27FC236}">
                      <a16:creationId xmlns:a16="http://schemas.microsoft.com/office/drawing/2014/main" id="{3ECA366B-FC18-4356-979F-29FE36ECCDD6}"/>
                    </a:ext>
                  </a:extLst>
                </p:cNvPr>
                <p:cNvSpPr/>
                <p:nvPr/>
              </p:nvSpPr>
              <p:spPr>
                <a:xfrm>
                  <a:off x="1716043" y="2643367"/>
                  <a:ext cx="192418" cy="258935"/>
                </a:xfrm>
                <a:custGeom>
                  <a:avLst/>
                  <a:gdLst>
                    <a:gd name="connsiteX0" fmla="*/ 184487 w 192418"/>
                    <a:gd name="connsiteY0" fmla="*/ 258935 h 258935"/>
                    <a:gd name="connsiteX1" fmla="*/ 184381 w 192418"/>
                    <a:gd name="connsiteY1" fmla="*/ 258935 h 258935"/>
                    <a:gd name="connsiteX2" fmla="*/ 81469 w 192418"/>
                    <a:gd name="connsiteY2" fmla="*/ 257211 h 258935"/>
                    <a:gd name="connsiteX3" fmla="*/ 75740 w 192418"/>
                    <a:gd name="connsiteY3" fmla="*/ 253657 h 258935"/>
                    <a:gd name="connsiteX4" fmla="*/ 731 w 192418"/>
                    <a:gd name="connsiteY4" fmla="*/ 108759 h 258935"/>
                    <a:gd name="connsiteX5" fmla="*/ 1235 w 192418"/>
                    <a:gd name="connsiteY5" fmla="*/ 101916 h 258935"/>
                    <a:gd name="connsiteX6" fmla="*/ 23621 w 192418"/>
                    <a:gd name="connsiteY6" fmla="*/ 71069 h 258935"/>
                    <a:gd name="connsiteX7" fmla="*/ 37732 w 192418"/>
                    <a:gd name="connsiteY7" fmla="*/ 51680 h 258935"/>
                    <a:gd name="connsiteX8" fmla="*/ 22216 w 192418"/>
                    <a:gd name="connsiteY8" fmla="*/ 40806 h 258935"/>
                    <a:gd name="connsiteX9" fmla="*/ 15160 w 192418"/>
                    <a:gd name="connsiteY9" fmla="*/ 28472 h 258935"/>
                    <a:gd name="connsiteX10" fmla="*/ 24841 w 192418"/>
                    <a:gd name="connsiteY10" fmla="*/ 21496 h 258935"/>
                    <a:gd name="connsiteX11" fmla="*/ 116374 w 192418"/>
                    <a:gd name="connsiteY11" fmla="*/ 1630 h 258935"/>
                    <a:gd name="connsiteX12" fmla="*/ 122209 w 192418"/>
                    <a:gd name="connsiteY12" fmla="*/ 251 h 258935"/>
                    <a:gd name="connsiteX13" fmla="*/ 130909 w 192418"/>
                    <a:gd name="connsiteY13" fmla="*/ 1895 h 258935"/>
                    <a:gd name="connsiteX14" fmla="*/ 135577 w 192418"/>
                    <a:gd name="connsiteY14" fmla="*/ 9508 h 258935"/>
                    <a:gd name="connsiteX15" fmla="*/ 139184 w 192418"/>
                    <a:gd name="connsiteY15" fmla="*/ 32583 h 258935"/>
                    <a:gd name="connsiteX16" fmla="*/ 151810 w 192418"/>
                    <a:gd name="connsiteY16" fmla="*/ 111995 h 258935"/>
                    <a:gd name="connsiteX17" fmla="*/ 148547 w 192418"/>
                    <a:gd name="connsiteY17" fmla="*/ 122710 h 258935"/>
                    <a:gd name="connsiteX18" fmla="*/ 135630 w 192418"/>
                    <a:gd name="connsiteY18" fmla="*/ 120350 h 258935"/>
                    <a:gd name="connsiteX19" fmla="*/ 124650 w 192418"/>
                    <a:gd name="connsiteY19" fmla="*/ 112684 h 258935"/>
                    <a:gd name="connsiteX20" fmla="*/ 120008 w 192418"/>
                    <a:gd name="connsiteY20" fmla="*/ 109449 h 258935"/>
                    <a:gd name="connsiteX21" fmla="*/ 91124 w 192418"/>
                    <a:gd name="connsiteY21" fmla="*/ 152788 h 258935"/>
                    <a:gd name="connsiteX22" fmla="*/ 185946 w 192418"/>
                    <a:gd name="connsiteY22" fmla="*/ 154194 h 258935"/>
                    <a:gd name="connsiteX23" fmla="*/ 190561 w 192418"/>
                    <a:gd name="connsiteY23" fmla="*/ 156183 h 258935"/>
                    <a:gd name="connsiteX24" fmla="*/ 192417 w 192418"/>
                    <a:gd name="connsiteY24" fmla="*/ 160851 h 258935"/>
                    <a:gd name="connsiteX25" fmla="*/ 191065 w 192418"/>
                    <a:gd name="connsiteY25" fmla="*/ 252517 h 258935"/>
                    <a:gd name="connsiteX26" fmla="*/ 189075 w 192418"/>
                    <a:gd name="connsiteY26" fmla="*/ 257132 h 258935"/>
                    <a:gd name="connsiteX27" fmla="*/ 184487 w 192418"/>
                    <a:gd name="connsiteY27" fmla="*/ 258935 h 258935"/>
                    <a:gd name="connsiteX28" fmla="*/ 85580 w 192418"/>
                    <a:gd name="connsiteY28" fmla="*/ 244162 h 258935"/>
                    <a:gd name="connsiteX29" fmla="*/ 178015 w 192418"/>
                    <a:gd name="connsiteY29" fmla="*/ 245700 h 258935"/>
                    <a:gd name="connsiteX30" fmla="*/ 179182 w 192418"/>
                    <a:gd name="connsiteY30" fmla="*/ 167164 h 258935"/>
                    <a:gd name="connsiteX31" fmla="*/ 85421 w 192418"/>
                    <a:gd name="connsiteY31" fmla="*/ 165785 h 258935"/>
                    <a:gd name="connsiteX32" fmla="*/ 82928 w 192418"/>
                    <a:gd name="connsiteY32" fmla="*/ 165254 h 258935"/>
                    <a:gd name="connsiteX33" fmla="*/ 62770 w 192418"/>
                    <a:gd name="connsiteY33" fmla="*/ 196605 h 258935"/>
                    <a:gd name="connsiteX34" fmla="*/ 61683 w 192418"/>
                    <a:gd name="connsiteY34" fmla="*/ 197931 h 258935"/>
                    <a:gd name="connsiteX35" fmla="*/ 85580 w 192418"/>
                    <a:gd name="connsiteY35" fmla="*/ 244162 h 258935"/>
                    <a:gd name="connsiteX36" fmla="*/ 14232 w 192418"/>
                    <a:gd name="connsiteY36" fmla="*/ 106319 h 258935"/>
                    <a:gd name="connsiteX37" fmla="*/ 54787 w 192418"/>
                    <a:gd name="connsiteY37" fmla="*/ 184696 h 258935"/>
                    <a:gd name="connsiteX38" fmla="*/ 113032 w 192418"/>
                    <a:gd name="connsiteY38" fmla="*/ 96479 h 258935"/>
                    <a:gd name="connsiteX39" fmla="*/ 122130 w 192418"/>
                    <a:gd name="connsiteY39" fmla="*/ 94940 h 258935"/>
                    <a:gd name="connsiteX40" fmla="*/ 132129 w 192418"/>
                    <a:gd name="connsiteY40" fmla="*/ 101942 h 258935"/>
                    <a:gd name="connsiteX41" fmla="*/ 137381 w 192418"/>
                    <a:gd name="connsiteY41" fmla="*/ 105603 h 258935"/>
                    <a:gd name="connsiteX42" fmla="*/ 126188 w 192418"/>
                    <a:gd name="connsiteY42" fmla="*/ 34573 h 258935"/>
                    <a:gd name="connsiteX43" fmla="*/ 122926 w 192418"/>
                    <a:gd name="connsiteY43" fmla="*/ 13513 h 258935"/>
                    <a:gd name="connsiteX44" fmla="*/ 119424 w 192418"/>
                    <a:gd name="connsiteY44" fmla="*/ 14362 h 258935"/>
                    <a:gd name="connsiteX45" fmla="*/ 34284 w 192418"/>
                    <a:gd name="connsiteY45" fmla="*/ 33246 h 258935"/>
                    <a:gd name="connsiteX46" fmla="*/ 50675 w 192418"/>
                    <a:gd name="connsiteY46" fmla="*/ 44758 h 258935"/>
                    <a:gd name="connsiteX47" fmla="*/ 53381 w 192418"/>
                    <a:gd name="connsiteY47" fmla="*/ 49028 h 258935"/>
                    <a:gd name="connsiteX48" fmla="*/ 52240 w 192418"/>
                    <a:gd name="connsiteY48" fmla="*/ 53961 h 258935"/>
                    <a:gd name="connsiteX49" fmla="*/ 34204 w 192418"/>
                    <a:gd name="connsiteY49" fmla="*/ 78814 h 258935"/>
                    <a:gd name="connsiteX50" fmla="*/ 14232 w 192418"/>
                    <a:gd name="connsiteY50" fmla="*/ 106319 h 258935"/>
                    <a:gd name="connsiteX51" fmla="*/ 145391 w 192418"/>
                    <a:gd name="connsiteY51" fmla="*/ 110987 h 258935"/>
                    <a:gd name="connsiteX52" fmla="*/ 145391 w 192418"/>
                    <a:gd name="connsiteY52" fmla="*/ 110987 h 258935"/>
                    <a:gd name="connsiteX53" fmla="*/ 145391 w 192418"/>
                    <a:gd name="connsiteY53" fmla="*/ 110987 h 25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92418" h="258935">
                      <a:moveTo>
                        <a:pt x="184487" y="258935"/>
                      </a:moveTo>
                      <a:cubicBezTo>
                        <a:pt x="184460" y="258935"/>
                        <a:pt x="184407" y="258935"/>
                        <a:pt x="184381" y="258935"/>
                      </a:cubicBezTo>
                      <a:lnTo>
                        <a:pt x="81469" y="257211"/>
                      </a:lnTo>
                      <a:cubicBezTo>
                        <a:pt x="79056" y="257158"/>
                        <a:pt x="76854" y="255806"/>
                        <a:pt x="75740" y="253657"/>
                      </a:cubicBezTo>
                      <a:cubicBezTo>
                        <a:pt x="69772" y="242093"/>
                        <a:pt x="731" y="108759"/>
                        <a:pt x="731" y="108759"/>
                      </a:cubicBezTo>
                      <a:cubicBezTo>
                        <a:pt x="-409" y="106557"/>
                        <a:pt x="-197" y="103932"/>
                        <a:pt x="1235" y="101916"/>
                      </a:cubicBezTo>
                      <a:cubicBezTo>
                        <a:pt x="8238" y="92155"/>
                        <a:pt x="16168" y="81281"/>
                        <a:pt x="23621" y="71069"/>
                      </a:cubicBezTo>
                      <a:cubicBezTo>
                        <a:pt x="28687" y="64120"/>
                        <a:pt x="33541" y="57462"/>
                        <a:pt x="37732" y="51680"/>
                      </a:cubicBezTo>
                      <a:cubicBezTo>
                        <a:pt x="29032" y="45580"/>
                        <a:pt x="23117" y="41416"/>
                        <a:pt x="22216" y="40806"/>
                      </a:cubicBezTo>
                      <a:cubicBezTo>
                        <a:pt x="19881" y="39161"/>
                        <a:pt x="13622" y="34785"/>
                        <a:pt x="15160" y="28472"/>
                      </a:cubicBezTo>
                      <a:cubicBezTo>
                        <a:pt x="15823" y="25793"/>
                        <a:pt x="18025" y="22398"/>
                        <a:pt x="24841" y="21496"/>
                      </a:cubicBezTo>
                      <a:cubicBezTo>
                        <a:pt x="44787" y="18791"/>
                        <a:pt x="98683" y="5874"/>
                        <a:pt x="116374" y="1630"/>
                      </a:cubicBezTo>
                      <a:cubicBezTo>
                        <a:pt x="119716" y="835"/>
                        <a:pt x="121812" y="331"/>
                        <a:pt x="122209" y="251"/>
                      </a:cubicBezTo>
                      <a:cubicBezTo>
                        <a:pt x="125339" y="-386"/>
                        <a:pt x="128442" y="198"/>
                        <a:pt x="130909" y="1895"/>
                      </a:cubicBezTo>
                      <a:cubicBezTo>
                        <a:pt x="133402" y="3619"/>
                        <a:pt x="135047" y="6325"/>
                        <a:pt x="135577" y="9508"/>
                      </a:cubicBezTo>
                      <a:cubicBezTo>
                        <a:pt x="135789" y="10648"/>
                        <a:pt x="137222" y="19931"/>
                        <a:pt x="139184" y="32583"/>
                      </a:cubicBezTo>
                      <a:cubicBezTo>
                        <a:pt x="143110" y="58019"/>
                        <a:pt x="149025" y="96452"/>
                        <a:pt x="151810" y="111995"/>
                      </a:cubicBezTo>
                      <a:cubicBezTo>
                        <a:pt x="152155" y="113878"/>
                        <a:pt x="153215" y="119713"/>
                        <a:pt x="148547" y="122710"/>
                      </a:cubicBezTo>
                      <a:cubicBezTo>
                        <a:pt x="143641" y="125893"/>
                        <a:pt x="138230" y="122127"/>
                        <a:pt x="135630" y="120350"/>
                      </a:cubicBezTo>
                      <a:cubicBezTo>
                        <a:pt x="134861" y="119846"/>
                        <a:pt x="130803" y="116981"/>
                        <a:pt x="124650" y="112684"/>
                      </a:cubicBezTo>
                      <a:lnTo>
                        <a:pt x="120008" y="109449"/>
                      </a:lnTo>
                      <a:cubicBezTo>
                        <a:pt x="113059" y="119528"/>
                        <a:pt x="101892" y="136397"/>
                        <a:pt x="91124" y="152788"/>
                      </a:cubicBezTo>
                      <a:lnTo>
                        <a:pt x="185946" y="154194"/>
                      </a:lnTo>
                      <a:cubicBezTo>
                        <a:pt x="187696" y="154220"/>
                        <a:pt x="189341" y="154937"/>
                        <a:pt x="190561" y="156183"/>
                      </a:cubicBezTo>
                      <a:cubicBezTo>
                        <a:pt x="191781" y="157430"/>
                        <a:pt x="192444" y="159101"/>
                        <a:pt x="192417" y="160851"/>
                      </a:cubicBezTo>
                      <a:lnTo>
                        <a:pt x="191065" y="252517"/>
                      </a:lnTo>
                      <a:cubicBezTo>
                        <a:pt x="191038" y="254267"/>
                        <a:pt x="190322" y="255912"/>
                        <a:pt x="189075" y="257132"/>
                      </a:cubicBezTo>
                      <a:cubicBezTo>
                        <a:pt x="187802" y="258272"/>
                        <a:pt x="186184" y="258935"/>
                        <a:pt x="184487" y="258935"/>
                      </a:cubicBezTo>
                      <a:close/>
                      <a:moveTo>
                        <a:pt x="85580" y="244162"/>
                      </a:moveTo>
                      <a:lnTo>
                        <a:pt x="178015" y="245700"/>
                      </a:lnTo>
                      <a:lnTo>
                        <a:pt x="179182" y="167164"/>
                      </a:lnTo>
                      <a:lnTo>
                        <a:pt x="85421" y="165785"/>
                      </a:lnTo>
                      <a:cubicBezTo>
                        <a:pt x="84546" y="165785"/>
                        <a:pt x="83697" y="165599"/>
                        <a:pt x="82928" y="165254"/>
                      </a:cubicBezTo>
                      <a:cubicBezTo>
                        <a:pt x="73777" y="179312"/>
                        <a:pt x="65926" y="191512"/>
                        <a:pt x="62770" y="196605"/>
                      </a:cubicBezTo>
                      <a:cubicBezTo>
                        <a:pt x="62452" y="197109"/>
                        <a:pt x="62081" y="197560"/>
                        <a:pt x="61683" y="197931"/>
                      </a:cubicBezTo>
                      <a:cubicBezTo>
                        <a:pt x="72266" y="218434"/>
                        <a:pt x="81522" y="236284"/>
                        <a:pt x="85580" y="244162"/>
                      </a:cubicBezTo>
                      <a:close/>
                      <a:moveTo>
                        <a:pt x="14232" y="106319"/>
                      </a:moveTo>
                      <a:cubicBezTo>
                        <a:pt x="19961" y="117379"/>
                        <a:pt x="37997" y="152258"/>
                        <a:pt x="54787" y="184696"/>
                      </a:cubicBezTo>
                      <a:cubicBezTo>
                        <a:pt x="67465" y="164803"/>
                        <a:pt x="102237" y="111517"/>
                        <a:pt x="113032" y="96479"/>
                      </a:cubicBezTo>
                      <a:cubicBezTo>
                        <a:pt x="115128" y="93561"/>
                        <a:pt x="119186" y="92871"/>
                        <a:pt x="122130" y="94940"/>
                      </a:cubicBezTo>
                      <a:lnTo>
                        <a:pt x="132129" y="101942"/>
                      </a:lnTo>
                      <a:cubicBezTo>
                        <a:pt x="134119" y="103322"/>
                        <a:pt x="135869" y="104568"/>
                        <a:pt x="137381" y="105603"/>
                      </a:cubicBezTo>
                      <a:cubicBezTo>
                        <a:pt x="134304" y="87089"/>
                        <a:pt x="129530" y="56163"/>
                        <a:pt x="126188" y="34573"/>
                      </a:cubicBezTo>
                      <a:cubicBezTo>
                        <a:pt x="124676" y="24706"/>
                        <a:pt x="123483" y="16961"/>
                        <a:pt x="122926" y="13513"/>
                      </a:cubicBezTo>
                      <a:cubicBezTo>
                        <a:pt x="122024" y="13725"/>
                        <a:pt x="120857" y="14017"/>
                        <a:pt x="119424" y="14362"/>
                      </a:cubicBezTo>
                      <a:cubicBezTo>
                        <a:pt x="103484" y="18181"/>
                        <a:pt x="58447" y="28976"/>
                        <a:pt x="34284" y="33246"/>
                      </a:cubicBezTo>
                      <a:cubicBezTo>
                        <a:pt x="38024" y="35872"/>
                        <a:pt x="43753" y="39877"/>
                        <a:pt x="50675" y="44758"/>
                      </a:cubicBezTo>
                      <a:cubicBezTo>
                        <a:pt x="52108" y="45765"/>
                        <a:pt x="53089" y="47304"/>
                        <a:pt x="53381" y="49028"/>
                      </a:cubicBezTo>
                      <a:cubicBezTo>
                        <a:pt x="53672" y="50752"/>
                        <a:pt x="53275" y="52529"/>
                        <a:pt x="52240" y="53961"/>
                      </a:cubicBezTo>
                      <a:cubicBezTo>
                        <a:pt x="47307" y="60831"/>
                        <a:pt x="40941" y="69557"/>
                        <a:pt x="34204" y="78814"/>
                      </a:cubicBezTo>
                      <a:cubicBezTo>
                        <a:pt x="27600" y="87858"/>
                        <a:pt x="20624" y="97460"/>
                        <a:pt x="14232" y="106319"/>
                      </a:cubicBezTo>
                      <a:close/>
                      <a:moveTo>
                        <a:pt x="145391" y="110987"/>
                      </a:moveTo>
                      <a:lnTo>
                        <a:pt x="145391" y="110987"/>
                      </a:lnTo>
                      <a:lnTo>
                        <a:pt x="145391" y="110987"/>
                      </a:lnTo>
                      <a:close/>
                    </a:path>
                  </a:pathLst>
                </a:custGeom>
                <a:grpFill/>
                <a:ln w="2651" cap="flat">
                  <a:noFill/>
                  <a:prstDash val="solid"/>
                  <a:miter/>
                </a:ln>
              </p:spPr>
              <p:txBody>
                <a:bodyPr rtlCol="0" anchor="ctr"/>
                <a:lstStyle/>
                <a:p>
                  <a:endParaRPr lang="en-GB" dirty="0"/>
                </a:p>
              </p:txBody>
            </p:sp>
            <p:sp>
              <p:nvSpPr>
                <p:cNvPr id="219" name="Freihandform: Form 397">
                  <a:extLst>
                    <a:ext uri="{FF2B5EF4-FFF2-40B4-BE49-F238E27FC236}">
                      <a16:creationId xmlns:a16="http://schemas.microsoft.com/office/drawing/2014/main" id="{5729485E-69A5-4A81-9EC6-7C9E452CD9BC}"/>
                    </a:ext>
                  </a:extLst>
                </p:cNvPr>
                <p:cNvSpPr/>
                <p:nvPr/>
              </p:nvSpPr>
              <p:spPr>
                <a:xfrm>
                  <a:off x="1983925" y="2643300"/>
                  <a:ext cx="217523" cy="285844"/>
                </a:xfrm>
                <a:custGeom>
                  <a:avLst/>
                  <a:gdLst>
                    <a:gd name="connsiteX0" fmla="*/ 96673 w 217523"/>
                    <a:gd name="connsiteY0" fmla="*/ 285845 h 285844"/>
                    <a:gd name="connsiteX1" fmla="*/ 89035 w 217523"/>
                    <a:gd name="connsiteY1" fmla="*/ 282768 h 285844"/>
                    <a:gd name="connsiteX2" fmla="*/ 10366 w 217523"/>
                    <a:gd name="connsiteY2" fmla="*/ 232134 h 285844"/>
                    <a:gd name="connsiteX3" fmla="*/ 5167 w 217523"/>
                    <a:gd name="connsiteY3" fmla="*/ 228925 h 285844"/>
                    <a:gd name="connsiteX4" fmla="*/ 181 w 217523"/>
                    <a:gd name="connsiteY4" fmla="*/ 221604 h 285844"/>
                    <a:gd name="connsiteX5" fmla="*/ 2249 w 217523"/>
                    <a:gd name="connsiteY5" fmla="*/ 212931 h 285844"/>
                    <a:gd name="connsiteX6" fmla="*/ 16015 w 217523"/>
                    <a:gd name="connsiteY6" fmla="*/ 194073 h 285844"/>
                    <a:gd name="connsiteX7" fmla="*/ 63254 w 217523"/>
                    <a:gd name="connsiteY7" fmla="*/ 128984 h 285844"/>
                    <a:gd name="connsiteX8" fmla="*/ 73147 w 217523"/>
                    <a:gd name="connsiteY8" fmla="*/ 123706 h 285844"/>
                    <a:gd name="connsiteX9" fmla="*/ 80600 w 217523"/>
                    <a:gd name="connsiteY9" fmla="*/ 134501 h 285844"/>
                    <a:gd name="connsiteX10" fmla="*/ 82828 w 217523"/>
                    <a:gd name="connsiteY10" fmla="*/ 146994 h 285844"/>
                    <a:gd name="connsiteX11" fmla="*/ 83942 w 217523"/>
                    <a:gd name="connsiteY11" fmla="*/ 153280 h 285844"/>
                    <a:gd name="connsiteX12" fmla="*/ 135000 w 217523"/>
                    <a:gd name="connsiteY12" fmla="*/ 143042 h 285844"/>
                    <a:gd name="connsiteX13" fmla="*/ 68930 w 217523"/>
                    <a:gd name="connsiteY13" fmla="*/ 75009 h 285844"/>
                    <a:gd name="connsiteX14" fmla="*/ 69062 w 217523"/>
                    <a:gd name="connsiteY14" fmla="*/ 65725 h 285844"/>
                    <a:gd name="connsiteX15" fmla="*/ 134841 w 217523"/>
                    <a:gd name="connsiteY15" fmla="*/ 1857 h 285844"/>
                    <a:gd name="connsiteX16" fmla="*/ 139509 w 217523"/>
                    <a:gd name="connsiteY16" fmla="*/ 0 h 285844"/>
                    <a:gd name="connsiteX17" fmla="*/ 144124 w 217523"/>
                    <a:gd name="connsiteY17" fmla="*/ 1989 h 285844"/>
                    <a:gd name="connsiteX18" fmla="*/ 215685 w 217523"/>
                    <a:gd name="connsiteY18" fmla="*/ 75990 h 285844"/>
                    <a:gd name="connsiteX19" fmla="*/ 217223 w 217523"/>
                    <a:gd name="connsiteY19" fmla="*/ 82541 h 285844"/>
                    <a:gd name="connsiteX20" fmla="*/ 167810 w 217523"/>
                    <a:gd name="connsiteY20" fmla="*/ 238023 h 285844"/>
                    <a:gd name="connsiteX21" fmla="*/ 162611 w 217523"/>
                    <a:gd name="connsiteY21" fmla="*/ 242505 h 285844"/>
                    <a:gd name="connsiteX22" fmla="*/ 125054 w 217523"/>
                    <a:gd name="connsiteY22" fmla="*/ 248499 h 285844"/>
                    <a:gd name="connsiteX23" fmla="*/ 101289 w 217523"/>
                    <a:gd name="connsiteY23" fmla="*/ 252266 h 285844"/>
                    <a:gd name="connsiteX24" fmla="*/ 104577 w 217523"/>
                    <a:gd name="connsiteY24" fmla="*/ 270912 h 285844"/>
                    <a:gd name="connsiteX25" fmla="*/ 100838 w 217523"/>
                    <a:gd name="connsiteY25" fmla="*/ 284625 h 285844"/>
                    <a:gd name="connsiteX26" fmla="*/ 96673 w 217523"/>
                    <a:gd name="connsiteY26" fmla="*/ 285845 h 285844"/>
                    <a:gd name="connsiteX27" fmla="*/ 14052 w 217523"/>
                    <a:gd name="connsiteY27" fmla="*/ 219032 h 285844"/>
                    <a:gd name="connsiteX28" fmla="*/ 17235 w 217523"/>
                    <a:gd name="connsiteY28" fmla="*/ 220968 h 285844"/>
                    <a:gd name="connsiteX29" fmla="*/ 90706 w 217523"/>
                    <a:gd name="connsiteY29" fmla="*/ 267755 h 285844"/>
                    <a:gd name="connsiteX30" fmla="*/ 87258 w 217523"/>
                    <a:gd name="connsiteY30" fmla="*/ 248022 h 285844"/>
                    <a:gd name="connsiteX31" fmla="*/ 88372 w 217523"/>
                    <a:gd name="connsiteY31" fmla="*/ 243089 h 285844"/>
                    <a:gd name="connsiteX32" fmla="*/ 92642 w 217523"/>
                    <a:gd name="connsiteY32" fmla="*/ 240410 h 285844"/>
                    <a:gd name="connsiteX33" fmla="*/ 123038 w 217523"/>
                    <a:gd name="connsiteY33" fmla="*/ 235582 h 285844"/>
                    <a:gd name="connsiteX34" fmla="*/ 156537 w 217523"/>
                    <a:gd name="connsiteY34" fmla="*/ 230278 h 285844"/>
                    <a:gd name="connsiteX35" fmla="*/ 183273 w 217523"/>
                    <a:gd name="connsiteY35" fmla="*/ 146171 h 285844"/>
                    <a:gd name="connsiteX36" fmla="*/ 79725 w 217523"/>
                    <a:gd name="connsiteY36" fmla="*/ 167364 h 285844"/>
                    <a:gd name="connsiteX37" fmla="*/ 72192 w 217523"/>
                    <a:gd name="connsiteY37" fmla="*/ 162033 h 285844"/>
                    <a:gd name="connsiteX38" fmla="*/ 69938 w 217523"/>
                    <a:gd name="connsiteY38" fmla="*/ 149301 h 285844"/>
                    <a:gd name="connsiteX39" fmla="*/ 68956 w 217523"/>
                    <a:gd name="connsiteY39" fmla="*/ 143705 h 285844"/>
                    <a:gd name="connsiteX40" fmla="*/ 26625 w 217523"/>
                    <a:gd name="connsiteY40" fmla="*/ 201844 h 285844"/>
                    <a:gd name="connsiteX41" fmla="*/ 14052 w 217523"/>
                    <a:gd name="connsiteY41" fmla="*/ 219032 h 285844"/>
                    <a:gd name="connsiteX42" fmla="*/ 82934 w 217523"/>
                    <a:gd name="connsiteY42" fmla="*/ 70606 h 285844"/>
                    <a:gd name="connsiteX43" fmla="*/ 148262 w 217523"/>
                    <a:gd name="connsiteY43" fmla="*/ 137870 h 285844"/>
                    <a:gd name="connsiteX44" fmla="*/ 149641 w 217523"/>
                    <a:gd name="connsiteY44" fmla="*/ 139991 h 285844"/>
                    <a:gd name="connsiteX45" fmla="*/ 186058 w 217523"/>
                    <a:gd name="connsiteY45" fmla="*/ 132087 h 285844"/>
                    <a:gd name="connsiteX46" fmla="*/ 187782 w 217523"/>
                    <a:gd name="connsiteY46" fmla="*/ 131928 h 285844"/>
                    <a:gd name="connsiteX47" fmla="*/ 203537 w 217523"/>
                    <a:gd name="connsiteY47" fmla="*/ 82329 h 285844"/>
                    <a:gd name="connsiteX48" fmla="*/ 139270 w 217523"/>
                    <a:gd name="connsiteY48" fmla="*/ 15861 h 285844"/>
                    <a:gd name="connsiteX49" fmla="*/ 82934 w 217523"/>
                    <a:gd name="connsiteY49" fmla="*/ 70606 h 28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217523" h="285844">
                      <a:moveTo>
                        <a:pt x="96673" y="285845"/>
                      </a:moveTo>
                      <a:cubicBezTo>
                        <a:pt x="94605" y="285845"/>
                        <a:pt x="92032" y="285075"/>
                        <a:pt x="89035" y="282768"/>
                      </a:cubicBezTo>
                      <a:cubicBezTo>
                        <a:pt x="73041" y="270594"/>
                        <a:pt x="25855" y="241656"/>
                        <a:pt x="10366" y="232134"/>
                      </a:cubicBezTo>
                      <a:cubicBezTo>
                        <a:pt x="7369" y="230304"/>
                        <a:pt x="5512" y="229137"/>
                        <a:pt x="5167" y="228925"/>
                      </a:cubicBezTo>
                      <a:cubicBezTo>
                        <a:pt x="2515" y="227174"/>
                        <a:pt x="738" y="224575"/>
                        <a:pt x="181" y="221604"/>
                      </a:cubicBezTo>
                      <a:cubicBezTo>
                        <a:pt x="-376" y="218634"/>
                        <a:pt x="366" y="215531"/>
                        <a:pt x="2249" y="212931"/>
                      </a:cubicBezTo>
                      <a:cubicBezTo>
                        <a:pt x="2913" y="211976"/>
                        <a:pt x="8429" y="204391"/>
                        <a:pt x="16015" y="194073"/>
                      </a:cubicBezTo>
                      <a:cubicBezTo>
                        <a:pt x="31240" y="173305"/>
                        <a:pt x="54236" y="141928"/>
                        <a:pt x="63254" y="128984"/>
                      </a:cubicBezTo>
                      <a:cubicBezTo>
                        <a:pt x="64341" y="127393"/>
                        <a:pt x="67710" y="122539"/>
                        <a:pt x="73147" y="123706"/>
                      </a:cubicBezTo>
                      <a:cubicBezTo>
                        <a:pt x="78850" y="124926"/>
                        <a:pt x="80043" y="131398"/>
                        <a:pt x="80600" y="134501"/>
                      </a:cubicBezTo>
                      <a:cubicBezTo>
                        <a:pt x="80759" y="135376"/>
                        <a:pt x="81582" y="139991"/>
                        <a:pt x="82828" y="146994"/>
                      </a:cubicBezTo>
                      <a:lnTo>
                        <a:pt x="83942" y="153280"/>
                      </a:lnTo>
                      <a:cubicBezTo>
                        <a:pt x="95984" y="151052"/>
                        <a:pt x="115797" y="147047"/>
                        <a:pt x="135000" y="143042"/>
                      </a:cubicBezTo>
                      <a:lnTo>
                        <a:pt x="68930" y="75009"/>
                      </a:lnTo>
                      <a:cubicBezTo>
                        <a:pt x="66410" y="72409"/>
                        <a:pt x="66463" y="68272"/>
                        <a:pt x="69062" y="65725"/>
                      </a:cubicBezTo>
                      <a:lnTo>
                        <a:pt x="134841" y="1857"/>
                      </a:lnTo>
                      <a:cubicBezTo>
                        <a:pt x="136087" y="637"/>
                        <a:pt x="137705" y="53"/>
                        <a:pt x="139509" y="0"/>
                      </a:cubicBezTo>
                      <a:cubicBezTo>
                        <a:pt x="141260" y="26"/>
                        <a:pt x="142904" y="743"/>
                        <a:pt x="144124" y="1989"/>
                      </a:cubicBezTo>
                      <a:lnTo>
                        <a:pt x="215685" y="75990"/>
                      </a:lnTo>
                      <a:cubicBezTo>
                        <a:pt x="217356" y="77714"/>
                        <a:pt x="217939" y="80234"/>
                        <a:pt x="217223" y="82541"/>
                      </a:cubicBezTo>
                      <a:cubicBezTo>
                        <a:pt x="213271" y="94954"/>
                        <a:pt x="167810" y="238023"/>
                        <a:pt x="167810" y="238023"/>
                      </a:cubicBezTo>
                      <a:cubicBezTo>
                        <a:pt x="167067" y="240383"/>
                        <a:pt x="165051" y="242107"/>
                        <a:pt x="162611" y="242505"/>
                      </a:cubicBezTo>
                      <a:cubicBezTo>
                        <a:pt x="150755" y="244468"/>
                        <a:pt x="137520" y="246537"/>
                        <a:pt x="125054" y="248499"/>
                      </a:cubicBezTo>
                      <a:cubicBezTo>
                        <a:pt x="116513" y="249826"/>
                        <a:pt x="108370" y="251125"/>
                        <a:pt x="101289" y="252266"/>
                      </a:cubicBezTo>
                      <a:lnTo>
                        <a:pt x="104577" y="270912"/>
                      </a:lnTo>
                      <a:cubicBezTo>
                        <a:pt x="105081" y="273723"/>
                        <a:pt x="106381" y="281256"/>
                        <a:pt x="100838" y="284625"/>
                      </a:cubicBezTo>
                      <a:cubicBezTo>
                        <a:pt x="99777" y="285341"/>
                        <a:pt x="98371" y="285845"/>
                        <a:pt x="96673" y="285845"/>
                      </a:cubicBezTo>
                      <a:close/>
                      <a:moveTo>
                        <a:pt x="14052" y="219032"/>
                      </a:moveTo>
                      <a:cubicBezTo>
                        <a:pt x="14848" y="219536"/>
                        <a:pt x="15936" y="220172"/>
                        <a:pt x="17235" y="220968"/>
                      </a:cubicBezTo>
                      <a:cubicBezTo>
                        <a:pt x="31187" y="229535"/>
                        <a:pt x="70627" y="253725"/>
                        <a:pt x="90706" y="267755"/>
                      </a:cubicBezTo>
                      <a:lnTo>
                        <a:pt x="87258" y="248022"/>
                      </a:lnTo>
                      <a:cubicBezTo>
                        <a:pt x="86966" y="246298"/>
                        <a:pt x="87364" y="244521"/>
                        <a:pt x="88372" y="243089"/>
                      </a:cubicBezTo>
                      <a:cubicBezTo>
                        <a:pt x="89379" y="241656"/>
                        <a:pt x="90918" y="240701"/>
                        <a:pt x="92642" y="240410"/>
                      </a:cubicBezTo>
                      <a:cubicBezTo>
                        <a:pt x="100997" y="239030"/>
                        <a:pt x="111686" y="237359"/>
                        <a:pt x="123038" y="235582"/>
                      </a:cubicBezTo>
                      <a:cubicBezTo>
                        <a:pt x="134098" y="233858"/>
                        <a:pt x="145795" y="232028"/>
                        <a:pt x="156537" y="230278"/>
                      </a:cubicBezTo>
                      <a:cubicBezTo>
                        <a:pt x="160303" y="218422"/>
                        <a:pt x="172213" y="180997"/>
                        <a:pt x="183273" y="146171"/>
                      </a:cubicBezTo>
                      <a:cubicBezTo>
                        <a:pt x="160250" y="151290"/>
                        <a:pt x="98000" y="164367"/>
                        <a:pt x="79725" y="167364"/>
                      </a:cubicBezTo>
                      <a:cubicBezTo>
                        <a:pt x="76171" y="167947"/>
                        <a:pt x="72829" y="165587"/>
                        <a:pt x="72192" y="162033"/>
                      </a:cubicBezTo>
                      <a:lnTo>
                        <a:pt x="69938" y="149301"/>
                      </a:lnTo>
                      <a:cubicBezTo>
                        <a:pt x="69566" y="147206"/>
                        <a:pt x="69248" y="145323"/>
                        <a:pt x="68956" y="143705"/>
                      </a:cubicBezTo>
                      <a:cubicBezTo>
                        <a:pt x="58055" y="158982"/>
                        <a:pt x="39542" y="184233"/>
                        <a:pt x="26625" y="201844"/>
                      </a:cubicBezTo>
                      <a:cubicBezTo>
                        <a:pt x="20736" y="209881"/>
                        <a:pt x="16095" y="216220"/>
                        <a:pt x="14052" y="219032"/>
                      </a:cubicBezTo>
                      <a:close/>
                      <a:moveTo>
                        <a:pt x="82934" y="70606"/>
                      </a:moveTo>
                      <a:lnTo>
                        <a:pt x="148262" y="137870"/>
                      </a:lnTo>
                      <a:cubicBezTo>
                        <a:pt x="148872" y="138506"/>
                        <a:pt x="149349" y="139222"/>
                        <a:pt x="149641" y="139991"/>
                      </a:cubicBezTo>
                      <a:cubicBezTo>
                        <a:pt x="166059" y="136517"/>
                        <a:pt x="180223" y="133440"/>
                        <a:pt x="186058" y="132087"/>
                      </a:cubicBezTo>
                      <a:cubicBezTo>
                        <a:pt x="186641" y="131955"/>
                        <a:pt x="187225" y="131902"/>
                        <a:pt x="187782" y="131928"/>
                      </a:cubicBezTo>
                      <a:cubicBezTo>
                        <a:pt x="194758" y="109967"/>
                        <a:pt x="200858" y="90790"/>
                        <a:pt x="203537" y="82329"/>
                      </a:cubicBezTo>
                      <a:lnTo>
                        <a:pt x="139270" y="15861"/>
                      </a:lnTo>
                      <a:lnTo>
                        <a:pt x="82934" y="70606"/>
                      </a:lnTo>
                      <a:close/>
                    </a:path>
                  </a:pathLst>
                </a:custGeom>
                <a:grpFill/>
                <a:ln w="2651" cap="flat">
                  <a:noFill/>
                  <a:prstDash val="solid"/>
                  <a:miter/>
                </a:ln>
              </p:spPr>
              <p:txBody>
                <a:bodyPr rtlCol="0" anchor="ctr"/>
                <a:lstStyle/>
                <a:p>
                  <a:endParaRPr lang="en-GB" dirty="0"/>
                </a:p>
              </p:txBody>
            </p:sp>
          </p:grpSp>
        </p:grpSp>
        <p:grpSp>
          <p:nvGrpSpPr>
            <p:cNvPr id="212" name="Group 211">
              <a:extLst>
                <a:ext uri="{FF2B5EF4-FFF2-40B4-BE49-F238E27FC236}">
                  <a16:creationId xmlns:a16="http://schemas.microsoft.com/office/drawing/2014/main" id="{707D1ED1-FCA4-4ADA-8ABC-1DDD3688DD0A}"/>
                </a:ext>
              </a:extLst>
            </p:cNvPr>
            <p:cNvGrpSpPr/>
            <p:nvPr/>
          </p:nvGrpSpPr>
          <p:grpSpPr>
            <a:xfrm>
              <a:off x="2815978" y="1739449"/>
              <a:ext cx="138747" cy="156114"/>
              <a:chOff x="1881464" y="2616909"/>
              <a:chExt cx="155534" cy="175002"/>
            </a:xfrm>
          </p:grpSpPr>
          <p:sp>
            <p:nvSpPr>
              <p:cNvPr id="213" name="Freihandform: Form 399">
                <a:extLst>
                  <a:ext uri="{FF2B5EF4-FFF2-40B4-BE49-F238E27FC236}">
                    <a16:creationId xmlns:a16="http://schemas.microsoft.com/office/drawing/2014/main" id="{F5C0817D-A415-437A-95E2-2AA319622F34}"/>
                  </a:ext>
                </a:extLst>
              </p:cNvPr>
              <p:cNvSpPr/>
              <p:nvPr/>
            </p:nvSpPr>
            <p:spPr>
              <a:xfrm>
                <a:off x="1881464" y="2652292"/>
                <a:ext cx="155489" cy="104210"/>
              </a:xfrm>
              <a:custGeom>
                <a:avLst/>
                <a:gdLst>
                  <a:gd name="connsiteX0" fmla="*/ 134391 w 155489"/>
                  <a:gd name="connsiteY0" fmla="*/ 104211 h 104210"/>
                  <a:gd name="connsiteX1" fmla="*/ 62406 w 155489"/>
                  <a:gd name="connsiteY1" fmla="*/ 78695 h 104210"/>
                  <a:gd name="connsiteX2" fmla="*/ 14875 w 155489"/>
                  <a:gd name="connsiteY2" fmla="*/ 42782 h 104210"/>
                  <a:gd name="connsiteX3" fmla="*/ 1985 w 155489"/>
                  <a:gd name="connsiteY3" fmla="*/ 8354 h 104210"/>
                  <a:gd name="connsiteX4" fmla="*/ 56146 w 155489"/>
                  <a:gd name="connsiteY4" fmla="*/ 7850 h 104210"/>
                  <a:gd name="connsiteX5" fmla="*/ 59992 w 155489"/>
                  <a:gd name="connsiteY5" fmla="*/ 16285 h 104210"/>
                  <a:gd name="connsiteX6" fmla="*/ 51557 w 155489"/>
                  <a:gd name="connsiteY6" fmla="*/ 20131 h 104210"/>
                  <a:gd name="connsiteX7" fmla="*/ 13337 w 155489"/>
                  <a:gd name="connsiteY7" fmla="*/ 14906 h 104210"/>
                  <a:gd name="connsiteX8" fmla="*/ 24424 w 155489"/>
                  <a:gd name="connsiteY8" fmla="*/ 33764 h 104210"/>
                  <a:gd name="connsiteX9" fmla="*/ 68957 w 155489"/>
                  <a:gd name="connsiteY9" fmla="*/ 67343 h 104210"/>
                  <a:gd name="connsiteX10" fmla="*/ 142188 w 155489"/>
                  <a:gd name="connsiteY10" fmla="*/ 89304 h 104210"/>
                  <a:gd name="connsiteX11" fmla="*/ 100096 w 155489"/>
                  <a:gd name="connsiteY11" fmla="*/ 45249 h 104210"/>
                  <a:gd name="connsiteX12" fmla="*/ 98239 w 155489"/>
                  <a:gd name="connsiteY12" fmla="*/ 36151 h 104210"/>
                  <a:gd name="connsiteX13" fmla="*/ 107337 w 155489"/>
                  <a:gd name="connsiteY13" fmla="*/ 34294 h 104210"/>
                  <a:gd name="connsiteX14" fmla="*/ 153541 w 155489"/>
                  <a:gd name="connsiteY14" fmla="*/ 95856 h 104210"/>
                  <a:gd name="connsiteX15" fmla="*/ 134391 w 155489"/>
                  <a:gd name="connsiteY15" fmla="*/ 104211 h 104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489" h="104210">
                    <a:moveTo>
                      <a:pt x="134391" y="104211"/>
                    </a:moveTo>
                    <a:cubicBezTo>
                      <a:pt x="115479" y="104211"/>
                      <a:pt x="87205" y="92991"/>
                      <a:pt x="62406" y="78695"/>
                    </a:cubicBezTo>
                    <a:cubicBezTo>
                      <a:pt x="43149" y="67581"/>
                      <a:pt x="26280" y="54824"/>
                      <a:pt x="14875" y="42782"/>
                    </a:cubicBezTo>
                    <a:cubicBezTo>
                      <a:pt x="1375" y="28486"/>
                      <a:pt x="-2975" y="16921"/>
                      <a:pt x="1985" y="8354"/>
                    </a:cubicBezTo>
                    <a:cubicBezTo>
                      <a:pt x="10525" y="-6446"/>
                      <a:pt x="39569" y="1697"/>
                      <a:pt x="56146" y="7850"/>
                    </a:cubicBezTo>
                    <a:cubicBezTo>
                      <a:pt x="59541" y="9123"/>
                      <a:pt x="61265" y="12890"/>
                      <a:pt x="59992" y="16285"/>
                    </a:cubicBezTo>
                    <a:cubicBezTo>
                      <a:pt x="58719" y="19680"/>
                      <a:pt x="54952" y="21404"/>
                      <a:pt x="51557" y="20131"/>
                    </a:cubicBezTo>
                    <a:cubicBezTo>
                      <a:pt x="25644" y="10476"/>
                      <a:pt x="14477" y="12916"/>
                      <a:pt x="13337" y="14906"/>
                    </a:cubicBezTo>
                    <a:cubicBezTo>
                      <a:pt x="12806" y="15834"/>
                      <a:pt x="13098" y="21775"/>
                      <a:pt x="24424" y="33764"/>
                    </a:cubicBezTo>
                    <a:cubicBezTo>
                      <a:pt x="34954" y="44904"/>
                      <a:pt x="50788" y="56839"/>
                      <a:pt x="68957" y="67343"/>
                    </a:cubicBezTo>
                    <a:cubicBezTo>
                      <a:pt x="111474" y="91877"/>
                      <a:pt x="139563" y="93840"/>
                      <a:pt x="142188" y="89304"/>
                    </a:cubicBezTo>
                    <a:cubicBezTo>
                      <a:pt x="144125" y="85962"/>
                      <a:pt x="134444" y="67953"/>
                      <a:pt x="100096" y="45249"/>
                    </a:cubicBezTo>
                    <a:cubicBezTo>
                      <a:pt x="97072" y="43259"/>
                      <a:pt x="96250" y="39175"/>
                      <a:pt x="98239" y="36151"/>
                    </a:cubicBezTo>
                    <a:cubicBezTo>
                      <a:pt x="100228" y="33127"/>
                      <a:pt x="104313" y="32305"/>
                      <a:pt x="107337" y="34294"/>
                    </a:cubicBezTo>
                    <a:cubicBezTo>
                      <a:pt x="135929" y="53206"/>
                      <a:pt x="163089" y="79331"/>
                      <a:pt x="153541" y="95856"/>
                    </a:cubicBezTo>
                    <a:cubicBezTo>
                      <a:pt x="150146" y="101717"/>
                      <a:pt x="143329" y="104211"/>
                      <a:pt x="134391" y="104211"/>
                    </a:cubicBezTo>
                    <a:close/>
                  </a:path>
                </a:pathLst>
              </a:custGeom>
              <a:solidFill>
                <a:schemeClr val="accent1"/>
              </a:solidFill>
              <a:ln w="2651" cap="flat">
                <a:noFill/>
                <a:prstDash val="solid"/>
                <a:miter/>
              </a:ln>
            </p:spPr>
            <p:txBody>
              <a:bodyPr rtlCol="0" anchor="ctr"/>
              <a:lstStyle/>
              <a:p>
                <a:endParaRPr lang="en-GB" dirty="0"/>
              </a:p>
            </p:txBody>
          </p:sp>
          <p:sp>
            <p:nvSpPr>
              <p:cNvPr id="214" name="Freihandform: Form 400">
                <a:extLst>
                  <a:ext uri="{FF2B5EF4-FFF2-40B4-BE49-F238E27FC236}">
                    <a16:creationId xmlns:a16="http://schemas.microsoft.com/office/drawing/2014/main" id="{16BD7CF6-F6F6-42DB-95AA-7ABC53E5858C}"/>
                  </a:ext>
                </a:extLst>
              </p:cNvPr>
              <p:cNvSpPr/>
              <p:nvPr/>
            </p:nvSpPr>
            <p:spPr>
              <a:xfrm>
                <a:off x="1881476" y="2652282"/>
                <a:ext cx="155522" cy="104247"/>
              </a:xfrm>
              <a:custGeom>
                <a:avLst/>
                <a:gdLst>
                  <a:gd name="connsiteX0" fmla="*/ 20964 w 155522"/>
                  <a:gd name="connsiteY0" fmla="*/ 104247 h 104247"/>
                  <a:gd name="connsiteX1" fmla="*/ 1973 w 155522"/>
                  <a:gd name="connsiteY1" fmla="*/ 95866 h 104247"/>
                  <a:gd name="connsiteX2" fmla="*/ 14890 w 155522"/>
                  <a:gd name="connsiteY2" fmla="*/ 61438 h 104247"/>
                  <a:gd name="connsiteX3" fmla="*/ 62420 w 155522"/>
                  <a:gd name="connsiteY3" fmla="*/ 25525 h 104247"/>
                  <a:gd name="connsiteX4" fmla="*/ 153555 w 155522"/>
                  <a:gd name="connsiteY4" fmla="*/ 8364 h 104247"/>
                  <a:gd name="connsiteX5" fmla="*/ 105415 w 155522"/>
                  <a:gd name="connsiteY5" fmla="*/ 70827 h 104247"/>
                  <a:gd name="connsiteX6" fmla="*/ 96344 w 155522"/>
                  <a:gd name="connsiteY6" fmla="*/ 68865 h 104247"/>
                  <a:gd name="connsiteX7" fmla="*/ 98307 w 155522"/>
                  <a:gd name="connsiteY7" fmla="*/ 59794 h 104247"/>
                  <a:gd name="connsiteX8" fmla="*/ 142177 w 155522"/>
                  <a:gd name="connsiteY8" fmla="*/ 14916 h 104247"/>
                  <a:gd name="connsiteX9" fmla="*/ 68945 w 155522"/>
                  <a:gd name="connsiteY9" fmla="*/ 36877 h 104247"/>
                  <a:gd name="connsiteX10" fmla="*/ 24412 w 155522"/>
                  <a:gd name="connsiteY10" fmla="*/ 70456 h 104247"/>
                  <a:gd name="connsiteX11" fmla="*/ 13325 w 155522"/>
                  <a:gd name="connsiteY11" fmla="*/ 89314 h 104247"/>
                  <a:gd name="connsiteX12" fmla="*/ 52633 w 155522"/>
                  <a:gd name="connsiteY12" fmla="*/ 83665 h 104247"/>
                  <a:gd name="connsiteX13" fmla="*/ 61094 w 155522"/>
                  <a:gd name="connsiteY13" fmla="*/ 87458 h 104247"/>
                  <a:gd name="connsiteX14" fmla="*/ 57301 w 155522"/>
                  <a:gd name="connsiteY14" fmla="*/ 95919 h 104247"/>
                  <a:gd name="connsiteX15" fmla="*/ 20964 w 155522"/>
                  <a:gd name="connsiteY15" fmla="*/ 104247 h 104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522" h="104247">
                    <a:moveTo>
                      <a:pt x="20964" y="104247"/>
                    </a:moveTo>
                    <a:cubicBezTo>
                      <a:pt x="12635" y="104247"/>
                      <a:pt x="5527" y="102046"/>
                      <a:pt x="1973" y="95866"/>
                    </a:cubicBezTo>
                    <a:cubicBezTo>
                      <a:pt x="-2960" y="87299"/>
                      <a:pt x="1363" y="75734"/>
                      <a:pt x="14890" y="61438"/>
                    </a:cubicBezTo>
                    <a:cubicBezTo>
                      <a:pt x="26269" y="49396"/>
                      <a:pt x="43137" y="36639"/>
                      <a:pt x="62420" y="25525"/>
                    </a:cubicBezTo>
                    <a:cubicBezTo>
                      <a:pt x="98917" y="4465"/>
                      <a:pt x="142999" y="-9910"/>
                      <a:pt x="153555" y="8364"/>
                    </a:cubicBezTo>
                    <a:cubicBezTo>
                      <a:pt x="163316" y="25286"/>
                      <a:pt x="135095" y="51730"/>
                      <a:pt x="105415" y="70827"/>
                    </a:cubicBezTo>
                    <a:cubicBezTo>
                      <a:pt x="102365" y="72790"/>
                      <a:pt x="98307" y="71915"/>
                      <a:pt x="96344" y="68865"/>
                    </a:cubicBezTo>
                    <a:cubicBezTo>
                      <a:pt x="94381" y="65814"/>
                      <a:pt x="95256" y="61756"/>
                      <a:pt x="98307" y="59794"/>
                    </a:cubicBezTo>
                    <a:cubicBezTo>
                      <a:pt x="134538" y="36479"/>
                      <a:pt x="144245" y="18496"/>
                      <a:pt x="142177" y="14916"/>
                    </a:cubicBezTo>
                    <a:cubicBezTo>
                      <a:pt x="139551" y="10354"/>
                      <a:pt x="111462" y="12343"/>
                      <a:pt x="68945" y="36877"/>
                    </a:cubicBezTo>
                    <a:cubicBezTo>
                      <a:pt x="50750" y="47381"/>
                      <a:pt x="34942" y="59290"/>
                      <a:pt x="24412" y="70456"/>
                    </a:cubicBezTo>
                    <a:cubicBezTo>
                      <a:pt x="13086" y="82445"/>
                      <a:pt x="12795" y="88386"/>
                      <a:pt x="13325" y="89314"/>
                    </a:cubicBezTo>
                    <a:cubicBezTo>
                      <a:pt x="14492" y="91330"/>
                      <a:pt x="26003" y="93797"/>
                      <a:pt x="52633" y="83665"/>
                    </a:cubicBezTo>
                    <a:cubicBezTo>
                      <a:pt x="56001" y="82392"/>
                      <a:pt x="59794" y="84089"/>
                      <a:pt x="61094" y="87458"/>
                    </a:cubicBezTo>
                    <a:cubicBezTo>
                      <a:pt x="62367" y="90853"/>
                      <a:pt x="60670" y="94619"/>
                      <a:pt x="57301" y="95919"/>
                    </a:cubicBezTo>
                    <a:cubicBezTo>
                      <a:pt x="47302" y="99712"/>
                      <a:pt x="32899" y="104247"/>
                      <a:pt x="20964" y="104247"/>
                    </a:cubicBezTo>
                    <a:close/>
                  </a:path>
                </a:pathLst>
              </a:custGeom>
              <a:solidFill>
                <a:schemeClr val="accent1"/>
              </a:solidFill>
              <a:ln w="2651" cap="flat">
                <a:noFill/>
                <a:prstDash val="solid"/>
                <a:miter/>
              </a:ln>
            </p:spPr>
            <p:txBody>
              <a:bodyPr rtlCol="0" anchor="ctr"/>
              <a:lstStyle/>
              <a:p>
                <a:endParaRPr lang="en-GB" dirty="0"/>
              </a:p>
            </p:txBody>
          </p:sp>
          <p:sp>
            <p:nvSpPr>
              <p:cNvPr id="215" name="Freihandform: Form 401">
                <a:extLst>
                  <a:ext uri="{FF2B5EF4-FFF2-40B4-BE49-F238E27FC236}">
                    <a16:creationId xmlns:a16="http://schemas.microsoft.com/office/drawing/2014/main" id="{6D12D270-4099-409D-991B-66E5EACE1A58}"/>
                  </a:ext>
                </a:extLst>
              </p:cNvPr>
              <p:cNvSpPr/>
              <p:nvPr/>
            </p:nvSpPr>
            <p:spPr>
              <a:xfrm>
                <a:off x="1928513" y="2616909"/>
                <a:ext cx="61428" cy="175002"/>
              </a:xfrm>
              <a:custGeom>
                <a:avLst/>
                <a:gdLst>
                  <a:gd name="connsiteX0" fmla="*/ 30714 w 61428"/>
                  <a:gd name="connsiteY0" fmla="*/ 175003 h 175002"/>
                  <a:gd name="connsiteX1" fmla="*/ 0 w 61428"/>
                  <a:gd name="connsiteY1" fmla="*/ 87501 h 175002"/>
                  <a:gd name="connsiteX2" fmla="*/ 30714 w 61428"/>
                  <a:gd name="connsiteY2" fmla="*/ 0 h 175002"/>
                  <a:gd name="connsiteX3" fmla="*/ 61429 w 61428"/>
                  <a:gd name="connsiteY3" fmla="*/ 87501 h 175002"/>
                  <a:gd name="connsiteX4" fmla="*/ 30714 w 61428"/>
                  <a:gd name="connsiteY4" fmla="*/ 175003 h 175002"/>
                  <a:gd name="connsiteX5" fmla="*/ 30714 w 61428"/>
                  <a:gd name="connsiteY5" fmla="*/ 13103 h 175002"/>
                  <a:gd name="connsiteX6" fmla="*/ 13129 w 61428"/>
                  <a:gd name="connsiteY6" fmla="*/ 87501 h 175002"/>
                  <a:gd name="connsiteX7" fmla="*/ 30714 w 61428"/>
                  <a:gd name="connsiteY7" fmla="*/ 161900 h 175002"/>
                  <a:gd name="connsiteX8" fmla="*/ 48326 w 61428"/>
                  <a:gd name="connsiteY8" fmla="*/ 87501 h 175002"/>
                  <a:gd name="connsiteX9" fmla="*/ 30714 w 61428"/>
                  <a:gd name="connsiteY9" fmla="*/ 13103 h 17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28" h="175002">
                    <a:moveTo>
                      <a:pt x="30714" y="175003"/>
                    </a:moveTo>
                    <a:cubicBezTo>
                      <a:pt x="9628" y="175003"/>
                      <a:pt x="0" y="129647"/>
                      <a:pt x="0" y="87501"/>
                    </a:cubicBezTo>
                    <a:cubicBezTo>
                      <a:pt x="0" y="45355"/>
                      <a:pt x="9602" y="0"/>
                      <a:pt x="30714" y="0"/>
                    </a:cubicBezTo>
                    <a:cubicBezTo>
                      <a:pt x="51827" y="0"/>
                      <a:pt x="61429" y="45355"/>
                      <a:pt x="61429" y="87501"/>
                    </a:cubicBezTo>
                    <a:cubicBezTo>
                      <a:pt x="61429" y="129621"/>
                      <a:pt x="51827" y="175003"/>
                      <a:pt x="30714" y="175003"/>
                    </a:cubicBezTo>
                    <a:close/>
                    <a:moveTo>
                      <a:pt x="30714" y="13103"/>
                    </a:moveTo>
                    <a:cubicBezTo>
                      <a:pt x="25463" y="13103"/>
                      <a:pt x="13129" y="38406"/>
                      <a:pt x="13129" y="87501"/>
                    </a:cubicBezTo>
                    <a:cubicBezTo>
                      <a:pt x="13129" y="136570"/>
                      <a:pt x="25463" y="161900"/>
                      <a:pt x="30714" y="161900"/>
                    </a:cubicBezTo>
                    <a:cubicBezTo>
                      <a:pt x="35966" y="161900"/>
                      <a:pt x="48326" y="136596"/>
                      <a:pt x="48326" y="87501"/>
                    </a:cubicBezTo>
                    <a:cubicBezTo>
                      <a:pt x="48299" y="38406"/>
                      <a:pt x="35966" y="13103"/>
                      <a:pt x="30714" y="13103"/>
                    </a:cubicBezTo>
                    <a:close/>
                  </a:path>
                </a:pathLst>
              </a:custGeom>
              <a:solidFill>
                <a:schemeClr val="accent1"/>
              </a:solidFill>
              <a:ln w="2651" cap="flat">
                <a:noFill/>
                <a:prstDash val="solid"/>
                <a:miter/>
              </a:ln>
            </p:spPr>
            <p:txBody>
              <a:bodyPr rtlCol="0" anchor="ctr"/>
              <a:lstStyle/>
              <a:p>
                <a:endParaRPr lang="en-GB" dirty="0"/>
              </a:p>
            </p:txBody>
          </p:sp>
        </p:grpSp>
      </p:grpSp>
      <p:grpSp>
        <p:nvGrpSpPr>
          <p:cNvPr id="7" name="Group 6">
            <a:extLst>
              <a:ext uri="{FF2B5EF4-FFF2-40B4-BE49-F238E27FC236}">
                <a16:creationId xmlns:a16="http://schemas.microsoft.com/office/drawing/2014/main" id="{92A74514-7678-4AAE-B3B6-360C8D85A748}"/>
              </a:ext>
            </a:extLst>
          </p:cNvPr>
          <p:cNvGrpSpPr/>
          <p:nvPr/>
        </p:nvGrpSpPr>
        <p:grpSpPr>
          <a:xfrm>
            <a:off x="1656039" y="1585984"/>
            <a:ext cx="366890" cy="432000"/>
            <a:chOff x="1656039" y="1585984"/>
            <a:chExt cx="366890" cy="432000"/>
          </a:xfrm>
        </p:grpSpPr>
        <p:grpSp>
          <p:nvGrpSpPr>
            <p:cNvPr id="221" name="Group 220">
              <a:extLst>
                <a:ext uri="{FF2B5EF4-FFF2-40B4-BE49-F238E27FC236}">
                  <a16:creationId xmlns:a16="http://schemas.microsoft.com/office/drawing/2014/main" id="{40C3AD50-EF70-4C2F-8C72-F7F3943E8296}"/>
                </a:ext>
              </a:extLst>
            </p:cNvPr>
            <p:cNvGrpSpPr/>
            <p:nvPr/>
          </p:nvGrpSpPr>
          <p:grpSpPr>
            <a:xfrm>
              <a:off x="1656039" y="1585984"/>
              <a:ext cx="366867" cy="432000"/>
              <a:chOff x="923587" y="2445461"/>
              <a:chExt cx="406500" cy="478670"/>
            </a:xfrm>
          </p:grpSpPr>
          <p:sp>
            <p:nvSpPr>
              <p:cNvPr id="231" name="Freihandform: Form 379">
                <a:extLst>
                  <a:ext uri="{FF2B5EF4-FFF2-40B4-BE49-F238E27FC236}">
                    <a16:creationId xmlns:a16="http://schemas.microsoft.com/office/drawing/2014/main" id="{5FE9E7B8-2C05-45AE-B70A-CC64D5360CD2}"/>
                  </a:ext>
                </a:extLst>
              </p:cNvPr>
              <p:cNvSpPr/>
              <p:nvPr/>
            </p:nvSpPr>
            <p:spPr>
              <a:xfrm>
                <a:off x="1120286" y="2766767"/>
                <a:ext cx="13102" cy="157364"/>
              </a:xfrm>
              <a:custGeom>
                <a:avLst/>
                <a:gdLst>
                  <a:gd name="connsiteX0" fmla="*/ 0 w 13102"/>
                  <a:gd name="connsiteY0" fmla="*/ 0 h 157364"/>
                  <a:gd name="connsiteX1" fmla="*/ 13103 w 13102"/>
                  <a:gd name="connsiteY1" fmla="*/ 0 h 157364"/>
                  <a:gd name="connsiteX2" fmla="*/ 13103 w 13102"/>
                  <a:gd name="connsiteY2" fmla="*/ 157364 h 157364"/>
                  <a:gd name="connsiteX3" fmla="*/ 0 w 13102"/>
                  <a:gd name="connsiteY3" fmla="*/ 157364 h 157364"/>
                </a:gdLst>
                <a:ahLst/>
                <a:cxnLst>
                  <a:cxn ang="0">
                    <a:pos x="connsiteX0" y="connsiteY0"/>
                  </a:cxn>
                  <a:cxn ang="0">
                    <a:pos x="connsiteX1" y="connsiteY1"/>
                  </a:cxn>
                  <a:cxn ang="0">
                    <a:pos x="connsiteX2" y="connsiteY2"/>
                  </a:cxn>
                  <a:cxn ang="0">
                    <a:pos x="connsiteX3" y="connsiteY3"/>
                  </a:cxn>
                </a:cxnLst>
                <a:rect l="l" t="t" r="r" b="b"/>
                <a:pathLst>
                  <a:path w="13102" h="157364">
                    <a:moveTo>
                      <a:pt x="0" y="0"/>
                    </a:moveTo>
                    <a:lnTo>
                      <a:pt x="13103" y="0"/>
                    </a:lnTo>
                    <a:lnTo>
                      <a:pt x="13103" y="157364"/>
                    </a:lnTo>
                    <a:lnTo>
                      <a:pt x="0" y="157364"/>
                    </a:lnTo>
                    <a:close/>
                  </a:path>
                </a:pathLst>
              </a:custGeom>
              <a:solidFill>
                <a:schemeClr val="accent1"/>
              </a:solidFill>
              <a:ln w="2651" cap="flat">
                <a:noFill/>
                <a:prstDash val="solid"/>
                <a:miter/>
              </a:ln>
            </p:spPr>
            <p:txBody>
              <a:bodyPr rtlCol="0" anchor="ctr"/>
              <a:lstStyle/>
              <a:p>
                <a:endParaRPr lang="en-GB" dirty="0"/>
              </a:p>
            </p:txBody>
          </p:sp>
          <p:sp>
            <p:nvSpPr>
              <p:cNvPr id="232" name="Freihandform: Form 380">
                <a:extLst>
                  <a:ext uri="{FF2B5EF4-FFF2-40B4-BE49-F238E27FC236}">
                    <a16:creationId xmlns:a16="http://schemas.microsoft.com/office/drawing/2014/main" id="{5CB076F2-FCD8-4B2D-92BC-88A3B1571BC1}"/>
                  </a:ext>
                </a:extLst>
              </p:cNvPr>
              <p:cNvSpPr/>
              <p:nvPr/>
            </p:nvSpPr>
            <p:spPr>
              <a:xfrm>
                <a:off x="923587" y="2563517"/>
                <a:ext cx="406500" cy="360614"/>
              </a:xfrm>
              <a:custGeom>
                <a:avLst/>
                <a:gdLst>
                  <a:gd name="connsiteX0" fmla="*/ 268843 w 406500"/>
                  <a:gd name="connsiteY0" fmla="*/ 360615 h 360614"/>
                  <a:gd name="connsiteX1" fmla="*/ 255740 w 406500"/>
                  <a:gd name="connsiteY1" fmla="*/ 360615 h 360614"/>
                  <a:gd name="connsiteX2" fmla="*/ 255740 w 406500"/>
                  <a:gd name="connsiteY2" fmla="*/ 58988 h 360614"/>
                  <a:gd name="connsiteX3" fmla="*/ 261682 w 406500"/>
                  <a:gd name="connsiteY3" fmla="*/ 52464 h 360614"/>
                  <a:gd name="connsiteX4" fmla="*/ 393451 w 406500"/>
                  <a:gd name="connsiteY4" fmla="*/ 39918 h 360614"/>
                  <a:gd name="connsiteX5" fmla="*/ 393451 w 406500"/>
                  <a:gd name="connsiteY5" fmla="*/ 13103 h 360614"/>
                  <a:gd name="connsiteX6" fmla="*/ 13103 w 406500"/>
                  <a:gd name="connsiteY6" fmla="*/ 13103 h 360614"/>
                  <a:gd name="connsiteX7" fmla="*/ 13103 w 406500"/>
                  <a:gd name="connsiteY7" fmla="*/ 39918 h 360614"/>
                  <a:gd name="connsiteX8" fmla="*/ 144872 w 406500"/>
                  <a:gd name="connsiteY8" fmla="*/ 52464 h 360614"/>
                  <a:gd name="connsiteX9" fmla="*/ 150813 w 406500"/>
                  <a:gd name="connsiteY9" fmla="*/ 58988 h 360614"/>
                  <a:gd name="connsiteX10" fmla="*/ 150813 w 406500"/>
                  <a:gd name="connsiteY10" fmla="*/ 360588 h 360614"/>
                  <a:gd name="connsiteX11" fmla="*/ 137710 w 406500"/>
                  <a:gd name="connsiteY11" fmla="*/ 360588 h 360614"/>
                  <a:gd name="connsiteX12" fmla="*/ 137710 w 406500"/>
                  <a:gd name="connsiteY12" fmla="*/ 64956 h 360614"/>
                  <a:gd name="connsiteX13" fmla="*/ 5941 w 406500"/>
                  <a:gd name="connsiteY13" fmla="*/ 52411 h 360614"/>
                  <a:gd name="connsiteX14" fmla="*/ 0 w 406500"/>
                  <a:gd name="connsiteY14" fmla="*/ 45886 h 360614"/>
                  <a:gd name="connsiteX15" fmla="*/ 0 w 406500"/>
                  <a:gd name="connsiteY15" fmla="*/ 6551 h 360614"/>
                  <a:gd name="connsiteX16" fmla="*/ 6551 w 406500"/>
                  <a:gd name="connsiteY16" fmla="*/ 0 h 360614"/>
                  <a:gd name="connsiteX17" fmla="*/ 399949 w 406500"/>
                  <a:gd name="connsiteY17" fmla="*/ 0 h 360614"/>
                  <a:gd name="connsiteX18" fmla="*/ 406500 w 406500"/>
                  <a:gd name="connsiteY18" fmla="*/ 6551 h 360614"/>
                  <a:gd name="connsiteX19" fmla="*/ 406500 w 406500"/>
                  <a:gd name="connsiteY19" fmla="*/ 45886 h 360614"/>
                  <a:gd name="connsiteX20" fmla="*/ 400559 w 406500"/>
                  <a:gd name="connsiteY20" fmla="*/ 52411 h 360614"/>
                  <a:gd name="connsiteX21" fmla="*/ 268790 w 406500"/>
                  <a:gd name="connsiteY21" fmla="*/ 64956 h 360614"/>
                  <a:gd name="connsiteX22" fmla="*/ 268790 w 406500"/>
                  <a:gd name="connsiteY22" fmla="*/ 360615 h 360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06500" h="360614">
                    <a:moveTo>
                      <a:pt x="268843" y="360615"/>
                    </a:moveTo>
                    <a:lnTo>
                      <a:pt x="255740" y="360615"/>
                    </a:lnTo>
                    <a:lnTo>
                      <a:pt x="255740" y="58988"/>
                    </a:lnTo>
                    <a:cubicBezTo>
                      <a:pt x="255740" y="55620"/>
                      <a:pt x="258313" y="52782"/>
                      <a:pt x="261682" y="52464"/>
                    </a:cubicBezTo>
                    <a:lnTo>
                      <a:pt x="393451" y="39918"/>
                    </a:lnTo>
                    <a:lnTo>
                      <a:pt x="393451" y="13103"/>
                    </a:lnTo>
                    <a:lnTo>
                      <a:pt x="13103" y="13103"/>
                    </a:lnTo>
                    <a:lnTo>
                      <a:pt x="13103" y="39918"/>
                    </a:lnTo>
                    <a:lnTo>
                      <a:pt x="144872" y="52464"/>
                    </a:lnTo>
                    <a:cubicBezTo>
                      <a:pt x="148240" y="52782"/>
                      <a:pt x="150813" y="55620"/>
                      <a:pt x="150813" y="58988"/>
                    </a:cubicBezTo>
                    <a:lnTo>
                      <a:pt x="150813" y="360588"/>
                    </a:lnTo>
                    <a:lnTo>
                      <a:pt x="137710" y="360588"/>
                    </a:lnTo>
                    <a:lnTo>
                      <a:pt x="137710" y="64956"/>
                    </a:lnTo>
                    <a:lnTo>
                      <a:pt x="5941" y="52411"/>
                    </a:lnTo>
                    <a:cubicBezTo>
                      <a:pt x="2573" y="52092"/>
                      <a:pt x="0" y="49254"/>
                      <a:pt x="0" y="45886"/>
                    </a:cubicBezTo>
                    <a:lnTo>
                      <a:pt x="0" y="6551"/>
                    </a:lnTo>
                    <a:cubicBezTo>
                      <a:pt x="0" y="2918"/>
                      <a:pt x="2944" y="0"/>
                      <a:pt x="6551" y="0"/>
                    </a:cubicBezTo>
                    <a:lnTo>
                      <a:pt x="399949" y="0"/>
                    </a:lnTo>
                    <a:cubicBezTo>
                      <a:pt x="403583" y="0"/>
                      <a:pt x="406500" y="2944"/>
                      <a:pt x="406500" y="6551"/>
                    </a:cubicBezTo>
                    <a:lnTo>
                      <a:pt x="406500" y="45886"/>
                    </a:lnTo>
                    <a:cubicBezTo>
                      <a:pt x="406500" y="49254"/>
                      <a:pt x="403928" y="52092"/>
                      <a:pt x="400559" y="52411"/>
                    </a:cubicBezTo>
                    <a:lnTo>
                      <a:pt x="268790" y="64956"/>
                    </a:lnTo>
                    <a:lnTo>
                      <a:pt x="268790" y="360615"/>
                    </a:lnTo>
                    <a:close/>
                  </a:path>
                </a:pathLst>
              </a:custGeom>
              <a:solidFill>
                <a:schemeClr val="accent1"/>
              </a:solidFill>
              <a:ln w="2651" cap="flat">
                <a:noFill/>
                <a:prstDash val="solid"/>
                <a:miter/>
              </a:ln>
            </p:spPr>
            <p:txBody>
              <a:bodyPr rtlCol="0" anchor="ctr"/>
              <a:lstStyle/>
              <a:p>
                <a:endParaRPr lang="en-GB" dirty="0"/>
              </a:p>
            </p:txBody>
          </p:sp>
          <p:sp>
            <p:nvSpPr>
              <p:cNvPr id="233" name="Freihandform: Form 381">
                <a:extLst>
                  <a:ext uri="{FF2B5EF4-FFF2-40B4-BE49-F238E27FC236}">
                    <a16:creationId xmlns:a16="http://schemas.microsoft.com/office/drawing/2014/main" id="{74D5C66D-2F1B-40E6-A5B5-F30215E9400E}"/>
                  </a:ext>
                </a:extLst>
              </p:cNvPr>
              <p:cNvSpPr/>
              <p:nvPr/>
            </p:nvSpPr>
            <p:spPr>
              <a:xfrm>
                <a:off x="1080952" y="2445461"/>
                <a:ext cx="91771" cy="104927"/>
              </a:xfrm>
              <a:custGeom>
                <a:avLst/>
                <a:gdLst>
                  <a:gd name="connsiteX0" fmla="*/ 45886 w 91771"/>
                  <a:gd name="connsiteY0" fmla="*/ 104927 h 104927"/>
                  <a:gd name="connsiteX1" fmla="*/ 0 w 91771"/>
                  <a:gd name="connsiteY1" fmla="*/ 52464 h 104927"/>
                  <a:gd name="connsiteX2" fmla="*/ 45886 w 91771"/>
                  <a:gd name="connsiteY2" fmla="*/ 0 h 104927"/>
                  <a:gd name="connsiteX3" fmla="*/ 91772 w 91771"/>
                  <a:gd name="connsiteY3" fmla="*/ 52464 h 104927"/>
                  <a:gd name="connsiteX4" fmla="*/ 45886 w 91771"/>
                  <a:gd name="connsiteY4" fmla="*/ 104927 h 104927"/>
                  <a:gd name="connsiteX5" fmla="*/ 45886 w 91771"/>
                  <a:gd name="connsiteY5" fmla="*/ 13129 h 104927"/>
                  <a:gd name="connsiteX6" fmla="*/ 13103 w 91771"/>
                  <a:gd name="connsiteY6" fmla="*/ 52464 h 104927"/>
                  <a:gd name="connsiteX7" fmla="*/ 45886 w 91771"/>
                  <a:gd name="connsiteY7" fmla="*/ 91798 h 104927"/>
                  <a:gd name="connsiteX8" fmla="*/ 78669 w 91771"/>
                  <a:gd name="connsiteY8" fmla="*/ 52464 h 104927"/>
                  <a:gd name="connsiteX9" fmla="*/ 45886 w 91771"/>
                  <a:gd name="connsiteY9" fmla="*/ 13129 h 104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1" h="104927">
                    <a:moveTo>
                      <a:pt x="45886" y="104927"/>
                    </a:moveTo>
                    <a:cubicBezTo>
                      <a:pt x="18434" y="104927"/>
                      <a:pt x="0" y="83841"/>
                      <a:pt x="0" y="52464"/>
                    </a:cubicBezTo>
                    <a:cubicBezTo>
                      <a:pt x="0" y="21086"/>
                      <a:pt x="18434" y="0"/>
                      <a:pt x="45886" y="0"/>
                    </a:cubicBezTo>
                    <a:cubicBezTo>
                      <a:pt x="73338" y="0"/>
                      <a:pt x="91772" y="21086"/>
                      <a:pt x="91772" y="52464"/>
                    </a:cubicBezTo>
                    <a:cubicBezTo>
                      <a:pt x="91798" y="83841"/>
                      <a:pt x="73364" y="104927"/>
                      <a:pt x="45886" y="104927"/>
                    </a:cubicBezTo>
                    <a:close/>
                    <a:moveTo>
                      <a:pt x="45886" y="13129"/>
                    </a:moveTo>
                    <a:cubicBezTo>
                      <a:pt x="21696" y="13129"/>
                      <a:pt x="13103" y="34321"/>
                      <a:pt x="13103" y="52464"/>
                    </a:cubicBezTo>
                    <a:cubicBezTo>
                      <a:pt x="13103" y="70606"/>
                      <a:pt x="21696" y="91798"/>
                      <a:pt x="45886" y="91798"/>
                    </a:cubicBezTo>
                    <a:cubicBezTo>
                      <a:pt x="70075" y="91798"/>
                      <a:pt x="78669" y="70606"/>
                      <a:pt x="78669" y="52464"/>
                    </a:cubicBezTo>
                    <a:cubicBezTo>
                      <a:pt x="78669" y="34321"/>
                      <a:pt x="70102" y="13129"/>
                      <a:pt x="45886" y="13129"/>
                    </a:cubicBezTo>
                    <a:close/>
                  </a:path>
                </a:pathLst>
              </a:custGeom>
              <a:solidFill>
                <a:schemeClr val="accent1"/>
              </a:solidFill>
              <a:ln w="2651" cap="flat">
                <a:noFill/>
                <a:prstDash val="solid"/>
                <a:miter/>
              </a:ln>
            </p:spPr>
            <p:txBody>
              <a:bodyPr rtlCol="0" anchor="ctr"/>
              <a:lstStyle/>
              <a:p>
                <a:endParaRPr lang="en-GB" dirty="0"/>
              </a:p>
            </p:txBody>
          </p:sp>
        </p:grpSp>
        <p:grpSp>
          <p:nvGrpSpPr>
            <p:cNvPr id="222" name="Group 221">
              <a:extLst>
                <a:ext uri="{FF2B5EF4-FFF2-40B4-BE49-F238E27FC236}">
                  <a16:creationId xmlns:a16="http://schemas.microsoft.com/office/drawing/2014/main" id="{A1F19904-E899-4BF0-813C-BC632EB1B4AE}"/>
                </a:ext>
              </a:extLst>
            </p:cNvPr>
            <p:cNvGrpSpPr/>
            <p:nvPr/>
          </p:nvGrpSpPr>
          <p:grpSpPr>
            <a:xfrm>
              <a:off x="1656063" y="1597857"/>
              <a:ext cx="366866" cy="390540"/>
              <a:chOff x="923614" y="2458617"/>
              <a:chExt cx="406499" cy="432731"/>
            </a:xfrm>
          </p:grpSpPr>
          <p:sp>
            <p:nvSpPr>
              <p:cNvPr id="223" name="Freihandform: Form 383">
                <a:extLst>
                  <a:ext uri="{FF2B5EF4-FFF2-40B4-BE49-F238E27FC236}">
                    <a16:creationId xmlns:a16="http://schemas.microsoft.com/office/drawing/2014/main" id="{FB396946-FCF0-4B84-BB49-1AF0C3E38A67}"/>
                  </a:ext>
                </a:extLst>
              </p:cNvPr>
              <p:cNvSpPr/>
              <p:nvPr/>
            </p:nvSpPr>
            <p:spPr>
              <a:xfrm>
                <a:off x="1310460" y="2633646"/>
                <a:ext cx="19653" cy="133121"/>
              </a:xfrm>
              <a:custGeom>
                <a:avLst/>
                <a:gdLst>
                  <a:gd name="connsiteX0" fmla="*/ 13103 w 19653"/>
                  <a:gd name="connsiteY0" fmla="*/ 133122 h 133121"/>
                  <a:gd name="connsiteX1" fmla="*/ 0 w 19653"/>
                  <a:gd name="connsiteY1" fmla="*/ 133122 h 133121"/>
                  <a:gd name="connsiteX2" fmla="*/ 0 w 19653"/>
                  <a:gd name="connsiteY2" fmla="*/ 120019 h 133121"/>
                  <a:gd name="connsiteX3" fmla="*/ 6551 w 19653"/>
                  <a:gd name="connsiteY3" fmla="*/ 120019 h 133121"/>
                  <a:gd name="connsiteX4" fmla="*/ 6551 w 19653"/>
                  <a:gd name="connsiteY4" fmla="*/ 0 h 133121"/>
                  <a:gd name="connsiteX5" fmla="*/ 19654 w 19653"/>
                  <a:gd name="connsiteY5" fmla="*/ 0 h 133121"/>
                  <a:gd name="connsiteX6" fmla="*/ 19654 w 19653"/>
                  <a:gd name="connsiteY6" fmla="*/ 126571 h 133121"/>
                  <a:gd name="connsiteX7" fmla="*/ 13103 w 19653"/>
                  <a:gd name="connsiteY7" fmla="*/ 133122 h 13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53" h="133121">
                    <a:moveTo>
                      <a:pt x="13103" y="133122"/>
                    </a:moveTo>
                    <a:lnTo>
                      <a:pt x="0" y="133122"/>
                    </a:lnTo>
                    <a:lnTo>
                      <a:pt x="0" y="120019"/>
                    </a:lnTo>
                    <a:lnTo>
                      <a:pt x="6551" y="120019"/>
                    </a:lnTo>
                    <a:lnTo>
                      <a:pt x="6551" y="0"/>
                    </a:lnTo>
                    <a:lnTo>
                      <a:pt x="19654" y="0"/>
                    </a:lnTo>
                    <a:lnTo>
                      <a:pt x="19654" y="126571"/>
                    </a:lnTo>
                    <a:cubicBezTo>
                      <a:pt x="19654" y="130178"/>
                      <a:pt x="16710" y="133122"/>
                      <a:pt x="13103" y="133122"/>
                    </a:cubicBezTo>
                    <a:close/>
                  </a:path>
                </a:pathLst>
              </a:custGeom>
              <a:solidFill>
                <a:schemeClr val="tx2"/>
              </a:solidFill>
              <a:ln w="2651" cap="flat">
                <a:noFill/>
                <a:prstDash val="solid"/>
                <a:miter/>
              </a:ln>
            </p:spPr>
            <p:txBody>
              <a:bodyPr rtlCol="0" anchor="ctr"/>
              <a:lstStyle/>
              <a:p>
                <a:endParaRPr lang="en-GB" dirty="0"/>
              </a:p>
            </p:txBody>
          </p:sp>
          <p:sp>
            <p:nvSpPr>
              <p:cNvPr id="224" name="Freihandform: Form 384">
                <a:extLst>
                  <a:ext uri="{FF2B5EF4-FFF2-40B4-BE49-F238E27FC236}">
                    <a16:creationId xmlns:a16="http://schemas.microsoft.com/office/drawing/2014/main" id="{104BFB19-C206-4DD6-9BB5-640BCF7FC4EE}"/>
                  </a:ext>
                </a:extLst>
              </p:cNvPr>
              <p:cNvSpPr/>
              <p:nvPr/>
            </p:nvSpPr>
            <p:spPr>
              <a:xfrm>
                <a:off x="1231765" y="2747087"/>
                <a:ext cx="13102" cy="144261"/>
              </a:xfrm>
              <a:custGeom>
                <a:avLst/>
                <a:gdLst>
                  <a:gd name="connsiteX0" fmla="*/ 0 w 13102"/>
                  <a:gd name="connsiteY0" fmla="*/ 0 h 144261"/>
                  <a:gd name="connsiteX1" fmla="*/ 13103 w 13102"/>
                  <a:gd name="connsiteY1" fmla="*/ 0 h 144261"/>
                  <a:gd name="connsiteX2" fmla="*/ 13103 w 13102"/>
                  <a:gd name="connsiteY2" fmla="*/ 144262 h 144261"/>
                  <a:gd name="connsiteX3" fmla="*/ 0 w 13102"/>
                  <a:gd name="connsiteY3" fmla="*/ 144262 h 144261"/>
                </a:gdLst>
                <a:ahLst/>
                <a:cxnLst>
                  <a:cxn ang="0">
                    <a:pos x="connsiteX0" y="connsiteY0"/>
                  </a:cxn>
                  <a:cxn ang="0">
                    <a:pos x="connsiteX1" y="connsiteY1"/>
                  </a:cxn>
                  <a:cxn ang="0">
                    <a:pos x="connsiteX2" y="connsiteY2"/>
                  </a:cxn>
                  <a:cxn ang="0">
                    <a:pos x="connsiteX3" y="connsiteY3"/>
                  </a:cxn>
                </a:cxnLst>
                <a:rect l="l" t="t" r="r" b="b"/>
                <a:pathLst>
                  <a:path w="13102" h="144261">
                    <a:moveTo>
                      <a:pt x="0" y="0"/>
                    </a:moveTo>
                    <a:lnTo>
                      <a:pt x="13103" y="0"/>
                    </a:lnTo>
                    <a:lnTo>
                      <a:pt x="13103" y="144262"/>
                    </a:lnTo>
                    <a:lnTo>
                      <a:pt x="0" y="144262"/>
                    </a:lnTo>
                    <a:close/>
                  </a:path>
                </a:pathLst>
              </a:custGeom>
              <a:solidFill>
                <a:schemeClr val="tx2"/>
              </a:solidFill>
              <a:ln w="2651" cap="flat">
                <a:noFill/>
                <a:prstDash val="solid"/>
                <a:miter/>
              </a:ln>
            </p:spPr>
            <p:txBody>
              <a:bodyPr rtlCol="0" anchor="ctr"/>
              <a:lstStyle/>
              <a:p>
                <a:endParaRPr lang="en-GB" dirty="0"/>
              </a:p>
            </p:txBody>
          </p:sp>
          <p:sp>
            <p:nvSpPr>
              <p:cNvPr id="225" name="Freihandform: Form 385">
                <a:extLst>
                  <a:ext uri="{FF2B5EF4-FFF2-40B4-BE49-F238E27FC236}">
                    <a16:creationId xmlns:a16="http://schemas.microsoft.com/office/drawing/2014/main" id="{95C1AC69-B96F-4C39-B4FD-0DCA069C9DC8}"/>
                  </a:ext>
                </a:extLst>
              </p:cNvPr>
              <p:cNvSpPr/>
              <p:nvPr/>
            </p:nvSpPr>
            <p:spPr>
              <a:xfrm>
                <a:off x="1198982" y="2458617"/>
                <a:ext cx="78668" cy="91771"/>
              </a:xfrm>
              <a:custGeom>
                <a:avLst/>
                <a:gdLst>
                  <a:gd name="connsiteX0" fmla="*/ 39334 w 78668"/>
                  <a:gd name="connsiteY0" fmla="*/ 91772 h 91771"/>
                  <a:gd name="connsiteX1" fmla="*/ 0 w 78668"/>
                  <a:gd name="connsiteY1" fmla="*/ 45886 h 91771"/>
                  <a:gd name="connsiteX2" fmla="*/ 39334 w 78668"/>
                  <a:gd name="connsiteY2" fmla="*/ 0 h 91771"/>
                  <a:gd name="connsiteX3" fmla="*/ 78669 w 78668"/>
                  <a:gd name="connsiteY3" fmla="*/ 45886 h 91771"/>
                  <a:gd name="connsiteX4" fmla="*/ 39334 w 78668"/>
                  <a:gd name="connsiteY4" fmla="*/ 91772 h 91771"/>
                  <a:gd name="connsiteX5" fmla="*/ 39334 w 78668"/>
                  <a:gd name="connsiteY5" fmla="*/ 13103 h 91771"/>
                  <a:gd name="connsiteX6" fmla="*/ 13103 w 78668"/>
                  <a:gd name="connsiteY6" fmla="*/ 45886 h 91771"/>
                  <a:gd name="connsiteX7" fmla="*/ 39334 w 78668"/>
                  <a:gd name="connsiteY7" fmla="*/ 78669 h 91771"/>
                  <a:gd name="connsiteX8" fmla="*/ 65566 w 78668"/>
                  <a:gd name="connsiteY8" fmla="*/ 45886 h 91771"/>
                  <a:gd name="connsiteX9" fmla="*/ 39334 w 78668"/>
                  <a:gd name="connsiteY9" fmla="*/ 13103 h 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68" h="91771">
                    <a:moveTo>
                      <a:pt x="39334" y="91772"/>
                    </a:moveTo>
                    <a:cubicBezTo>
                      <a:pt x="15808" y="91772"/>
                      <a:pt x="0" y="73338"/>
                      <a:pt x="0" y="45886"/>
                    </a:cubicBezTo>
                    <a:cubicBezTo>
                      <a:pt x="0" y="18434"/>
                      <a:pt x="15808" y="0"/>
                      <a:pt x="39334" y="0"/>
                    </a:cubicBezTo>
                    <a:cubicBezTo>
                      <a:pt x="62861" y="0"/>
                      <a:pt x="78669" y="18434"/>
                      <a:pt x="78669" y="45886"/>
                    </a:cubicBezTo>
                    <a:cubicBezTo>
                      <a:pt x="78669" y="73338"/>
                      <a:pt x="62861" y="91772"/>
                      <a:pt x="39334" y="91772"/>
                    </a:cubicBezTo>
                    <a:close/>
                    <a:moveTo>
                      <a:pt x="39334" y="13103"/>
                    </a:moveTo>
                    <a:cubicBezTo>
                      <a:pt x="19999" y="13103"/>
                      <a:pt x="13103" y="30051"/>
                      <a:pt x="13103" y="45886"/>
                    </a:cubicBezTo>
                    <a:cubicBezTo>
                      <a:pt x="13103" y="61720"/>
                      <a:pt x="19999" y="78669"/>
                      <a:pt x="39334" y="78669"/>
                    </a:cubicBezTo>
                    <a:cubicBezTo>
                      <a:pt x="58670" y="78669"/>
                      <a:pt x="65566" y="61720"/>
                      <a:pt x="65566" y="45886"/>
                    </a:cubicBezTo>
                    <a:cubicBezTo>
                      <a:pt x="65566" y="30025"/>
                      <a:pt x="58670" y="13103"/>
                      <a:pt x="39334" y="13103"/>
                    </a:cubicBezTo>
                    <a:close/>
                  </a:path>
                </a:pathLst>
              </a:custGeom>
              <a:solidFill>
                <a:schemeClr val="tx2"/>
              </a:solidFill>
              <a:ln w="2651" cap="flat">
                <a:noFill/>
                <a:prstDash val="solid"/>
                <a:miter/>
              </a:ln>
            </p:spPr>
            <p:txBody>
              <a:bodyPr rtlCol="0" anchor="ctr"/>
              <a:lstStyle/>
              <a:p>
                <a:endParaRPr lang="en-GB" dirty="0"/>
              </a:p>
            </p:txBody>
          </p:sp>
          <p:sp>
            <p:nvSpPr>
              <p:cNvPr id="226" name="Freihandform: Form 386">
                <a:extLst>
                  <a:ext uri="{FF2B5EF4-FFF2-40B4-BE49-F238E27FC236}">
                    <a16:creationId xmlns:a16="http://schemas.microsoft.com/office/drawing/2014/main" id="{E210D4A6-A0C4-4CAF-960E-6C941EB5DE13}"/>
                  </a:ext>
                </a:extLst>
              </p:cNvPr>
              <p:cNvSpPr/>
              <p:nvPr/>
            </p:nvSpPr>
            <p:spPr>
              <a:xfrm>
                <a:off x="1284228" y="2648764"/>
                <a:ext cx="19653" cy="242584"/>
              </a:xfrm>
              <a:custGeom>
                <a:avLst/>
                <a:gdLst>
                  <a:gd name="connsiteX0" fmla="*/ 13103 w 19653"/>
                  <a:gd name="connsiteY0" fmla="*/ 242585 h 242584"/>
                  <a:gd name="connsiteX1" fmla="*/ 0 w 19653"/>
                  <a:gd name="connsiteY1" fmla="*/ 242585 h 242584"/>
                  <a:gd name="connsiteX2" fmla="*/ 0 w 19653"/>
                  <a:gd name="connsiteY2" fmla="*/ 6551 h 242584"/>
                  <a:gd name="connsiteX3" fmla="*/ 6551 w 19653"/>
                  <a:gd name="connsiteY3" fmla="*/ 0 h 242584"/>
                  <a:gd name="connsiteX4" fmla="*/ 19654 w 19653"/>
                  <a:gd name="connsiteY4" fmla="*/ 0 h 242584"/>
                  <a:gd name="connsiteX5" fmla="*/ 19654 w 19653"/>
                  <a:gd name="connsiteY5" fmla="*/ 13103 h 242584"/>
                  <a:gd name="connsiteX6" fmla="*/ 13103 w 19653"/>
                  <a:gd name="connsiteY6" fmla="*/ 13103 h 242584"/>
                  <a:gd name="connsiteX7" fmla="*/ 13103 w 19653"/>
                  <a:gd name="connsiteY7" fmla="*/ 242585 h 24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53" h="242584">
                    <a:moveTo>
                      <a:pt x="13103" y="242585"/>
                    </a:moveTo>
                    <a:lnTo>
                      <a:pt x="0" y="242585"/>
                    </a:lnTo>
                    <a:lnTo>
                      <a:pt x="0" y="6551"/>
                    </a:lnTo>
                    <a:cubicBezTo>
                      <a:pt x="0" y="2918"/>
                      <a:pt x="2944" y="0"/>
                      <a:pt x="6551" y="0"/>
                    </a:cubicBezTo>
                    <a:lnTo>
                      <a:pt x="19654" y="0"/>
                    </a:lnTo>
                    <a:lnTo>
                      <a:pt x="19654" y="13103"/>
                    </a:lnTo>
                    <a:lnTo>
                      <a:pt x="13103" y="13103"/>
                    </a:lnTo>
                    <a:lnTo>
                      <a:pt x="13103" y="242585"/>
                    </a:lnTo>
                    <a:close/>
                  </a:path>
                </a:pathLst>
              </a:custGeom>
              <a:solidFill>
                <a:schemeClr val="tx2"/>
              </a:solidFill>
              <a:ln w="2651" cap="flat">
                <a:noFill/>
                <a:prstDash val="solid"/>
                <a:miter/>
              </a:ln>
            </p:spPr>
            <p:txBody>
              <a:bodyPr rtlCol="0" anchor="ctr"/>
              <a:lstStyle/>
              <a:p>
                <a:endParaRPr lang="en-GB" dirty="0"/>
              </a:p>
            </p:txBody>
          </p:sp>
          <p:sp>
            <p:nvSpPr>
              <p:cNvPr id="227" name="Freihandform: Form 388">
                <a:extLst>
                  <a:ext uri="{FF2B5EF4-FFF2-40B4-BE49-F238E27FC236}">
                    <a16:creationId xmlns:a16="http://schemas.microsoft.com/office/drawing/2014/main" id="{4DB88468-784A-44B6-820E-944D2746B815}"/>
                  </a:ext>
                </a:extLst>
              </p:cNvPr>
              <p:cNvSpPr/>
              <p:nvPr/>
            </p:nvSpPr>
            <p:spPr>
              <a:xfrm>
                <a:off x="923614" y="2633646"/>
                <a:ext cx="19653" cy="133121"/>
              </a:xfrm>
              <a:custGeom>
                <a:avLst/>
                <a:gdLst>
                  <a:gd name="connsiteX0" fmla="*/ 19654 w 19653"/>
                  <a:gd name="connsiteY0" fmla="*/ 133122 h 133121"/>
                  <a:gd name="connsiteX1" fmla="*/ 6551 w 19653"/>
                  <a:gd name="connsiteY1" fmla="*/ 133122 h 133121"/>
                  <a:gd name="connsiteX2" fmla="*/ 0 w 19653"/>
                  <a:gd name="connsiteY2" fmla="*/ 126571 h 133121"/>
                  <a:gd name="connsiteX3" fmla="*/ 0 w 19653"/>
                  <a:gd name="connsiteY3" fmla="*/ 0 h 133121"/>
                  <a:gd name="connsiteX4" fmla="*/ 13103 w 19653"/>
                  <a:gd name="connsiteY4" fmla="*/ 0 h 133121"/>
                  <a:gd name="connsiteX5" fmla="*/ 13103 w 19653"/>
                  <a:gd name="connsiteY5" fmla="*/ 120019 h 133121"/>
                  <a:gd name="connsiteX6" fmla="*/ 19654 w 19653"/>
                  <a:gd name="connsiteY6" fmla="*/ 120019 h 133121"/>
                  <a:gd name="connsiteX7" fmla="*/ 19654 w 19653"/>
                  <a:gd name="connsiteY7" fmla="*/ 133122 h 13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53" h="133121">
                    <a:moveTo>
                      <a:pt x="19654" y="133122"/>
                    </a:moveTo>
                    <a:lnTo>
                      <a:pt x="6551" y="133122"/>
                    </a:lnTo>
                    <a:cubicBezTo>
                      <a:pt x="2918" y="133122"/>
                      <a:pt x="0" y="130178"/>
                      <a:pt x="0" y="126571"/>
                    </a:cubicBezTo>
                    <a:lnTo>
                      <a:pt x="0" y="0"/>
                    </a:lnTo>
                    <a:lnTo>
                      <a:pt x="13103" y="0"/>
                    </a:lnTo>
                    <a:lnTo>
                      <a:pt x="13103" y="120019"/>
                    </a:lnTo>
                    <a:lnTo>
                      <a:pt x="19654" y="120019"/>
                    </a:lnTo>
                    <a:lnTo>
                      <a:pt x="19654" y="133122"/>
                    </a:lnTo>
                    <a:close/>
                  </a:path>
                </a:pathLst>
              </a:custGeom>
              <a:solidFill>
                <a:schemeClr val="tx2"/>
              </a:solidFill>
              <a:ln w="2651" cap="flat">
                <a:noFill/>
                <a:prstDash val="solid"/>
                <a:miter/>
              </a:ln>
            </p:spPr>
            <p:txBody>
              <a:bodyPr rtlCol="0" anchor="ctr"/>
              <a:lstStyle/>
              <a:p>
                <a:endParaRPr lang="en-GB" dirty="0"/>
              </a:p>
            </p:txBody>
          </p:sp>
          <p:sp>
            <p:nvSpPr>
              <p:cNvPr id="228" name="Freihandform: Form 389">
                <a:extLst>
                  <a:ext uri="{FF2B5EF4-FFF2-40B4-BE49-F238E27FC236}">
                    <a16:creationId xmlns:a16="http://schemas.microsoft.com/office/drawing/2014/main" id="{B565CAA5-224F-4001-9AE3-3640B37EDEE2}"/>
                  </a:ext>
                </a:extLst>
              </p:cNvPr>
              <p:cNvSpPr/>
              <p:nvPr/>
            </p:nvSpPr>
            <p:spPr>
              <a:xfrm>
                <a:off x="1008834" y="2747087"/>
                <a:ext cx="13102" cy="144261"/>
              </a:xfrm>
              <a:custGeom>
                <a:avLst/>
                <a:gdLst>
                  <a:gd name="connsiteX0" fmla="*/ 0 w 13102"/>
                  <a:gd name="connsiteY0" fmla="*/ 0 h 144261"/>
                  <a:gd name="connsiteX1" fmla="*/ 13103 w 13102"/>
                  <a:gd name="connsiteY1" fmla="*/ 0 h 144261"/>
                  <a:gd name="connsiteX2" fmla="*/ 13103 w 13102"/>
                  <a:gd name="connsiteY2" fmla="*/ 144262 h 144261"/>
                  <a:gd name="connsiteX3" fmla="*/ 0 w 13102"/>
                  <a:gd name="connsiteY3" fmla="*/ 144262 h 144261"/>
                </a:gdLst>
                <a:ahLst/>
                <a:cxnLst>
                  <a:cxn ang="0">
                    <a:pos x="connsiteX0" y="connsiteY0"/>
                  </a:cxn>
                  <a:cxn ang="0">
                    <a:pos x="connsiteX1" y="connsiteY1"/>
                  </a:cxn>
                  <a:cxn ang="0">
                    <a:pos x="connsiteX2" y="connsiteY2"/>
                  </a:cxn>
                  <a:cxn ang="0">
                    <a:pos x="connsiteX3" y="connsiteY3"/>
                  </a:cxn>
                </a:cxnLst>
                <a:rect l="l" t="t" r="r" b="b"/>
                <a:pathLst>
                  <a:path w="13102" h="144261">
                    <a:moveTo>
                      <a:pt x="0" y="0"/>
                    </a:moveTo>
                    <a:lnTo>
                      <a:pt x="13103" y="0"/>
                    </a:lnTo>
                    <a:lnTo>
                      <a:pt x="13103" y="144262"/>
                    </a:lnTo>
                    <a:lnTo>
                      <a:pt x="0" y="144262"/>
                    </a:lnTo>
                    <a:close/>
                  </a:path>
                </a:pathLst>
              </a:custGeom>
              <a:solidFill>
                <a:schemeClr val="tx2"/>
              </a:solidFill>
              <a:ln w="2651" cap="flat">
                <a:noFill/>
                <a:prstDash val="solid"/>
                <a:miter/>
              </a:ln>
            </p:spPr>
            <p:txBody>
              <a:bodyPr rtlCol="0" anchor="ctr"/>
              <a:lstStyle/>
              <a:p>
                <a:endParaRPr lang="en-GB" dirty="0"/>
              </a:p>
            </p:txBody>
          </p:sp>
          <p:sp>
            <p:nvSpPr>
              <p:cNvPr id="229" name="Freihandform: Form 390">
                <a:extLst>
                  <a:ext uri="{FF2B5EF4-FFF2-40B4-BE49-F238E27FC236}">
                    <a16:creationId xmlns:a16="http://schemas.microsoft.com/office/drawing/2014/main" id="{B2A16AB1-48ED-4549-B426-A98645E10F67}"/>
                  </a:ext>
                </a:extLst>
              </p:cNvPr>
              <p:cNvSpPr/>
              <p:nvPr/>
            </p:nvSpPr>
            <p:spPr>
              <a:xfrm>
                <a:off x="976051" y="2458617"/>
                <a:ext cx="78668" cy="91771"/>
              </a:xfrm>
              <a:custGeom>
                <a:avLst/>
                <a:gdLst>
                  <a:gd name="connsiteX0" fmla="*/ 39334 w 78668"/>
                  <a:gd name="connsiteY0" fmla="*/ 91772 h 91771"/>
                  <a:gd name="connsiteX1" fmla="*/ 0 w 78668"/>
                  <a:gd name="connsiteY1" fmla="*/ 45886 h 91771"/>
                  <a:gd name="connsiteX2" fmla="*/ 39334 w 78668"/>
                  <a:gd name="connsiteY2" fmla="*/ 0 h 91771"/>
                  <a:gd name="connsiteX3" fmla="*/ 78669 w 78668"/>
                  <a:gd name="connsiteY3" fmla="*/ 45886 h 91771"/>
                  <a:gd name="connsiteX4" fmla="*/ 39334 w 78668"/>
                  <a:gd name="connsiteY4" fmla="*/ 91772 h 91771"/>
                  <a:gd name="connsiteX5" fmla="*/ 39334 w 78668"/>
                  <a:gd name="connsiteY5" fmla="*/ 13103 h 91771"/>
                  <a:gd name="connsiteX6" fmla="*/ 13103 w 78668"/>
                  <a:gd name="connsiteY6" fmla="*/ 45886 h 91771"/>
                  <a:gd name="connsiteX7" fmla="*/ 39334 w 78668"/>
                  <a:gd name="connsiteY7" fmla="*/ 78669 h 91771"/>
                  <a:gd name="connsiteX8" fmla="*/ 65566 w 78668"/>
                  <a:gd name="connsiteY8" fmla="*/ 45886 h 91771"/>
                  <a:gd name="connsiteX9" fmla="*/ 39334 w 78668"/>
                  <a:gd name="connsiteY9" fmla="*/ 13103 h 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68" h="91771">
                    <a:moveTo>
                      <a:pt x="39334" y="91772"/>
                    </a:moveTo>
                    <a:cubicBezTo>
                      <a:pt x="15808" y="91772"/>
                      <a:pt x="0" y="73338"/>
                      <a:pt x="0" y="45886"/>
                    </a:cubicBezTo>
                    <a:cubicBezTo>
                      <a:pt x="0" y="18434"/>
                      <a:pt x="15808" y="0"/>
                      <a:pt x="39334" y="0"/>
                    </a:cubicBezTo>
                    <a:cubicBezTo>
                      <a:pt x="62861" y="0"/>
                      <a:pt x="78669" y="18434"/>
                      <a:pt x="78669" y="45886"/>
                    </a:cubicBezTo>
                    <a:cubicBezTo>
                      <a:pt x="78669" y="73338"/>
                      <a:pt x="62861" y="91772"/>
                      <a:pt x="39334" y="91772"/>
                    </a:cubicBezTo>
                    <a:close/>
                    <a:moveTo>
                      <a:pt x="39334" y="13103"/>
                    </a:moveTo>
                    <a:cubicBezTo>
                      <a:pt x="19999" y="13103"/>
                      <a:pt x="13103" y="30051"/>
                      <a:pt x="13103" y="45886"/>
                    </a:cubicBezTo>
                    <a:cubicBezTo>
                      <a:pt x="13103" y="61720"/>
                      <a:pt x="19999" y="78669"/>
                      <a:pt x="39334" y="78669"/>
                    </a:cubicBezTo>
                    <a:cubicBezTo>
                      <a:pt x="58670" y="78669"/>
                      <a:pt x="65566" y="61720"/>
                      <a:pt x="65566" y="45886"/>
                    </a:cubicBezTo>
                    <a:cubicBezTo>
                      <a:pt x="65566" y="30025"/>
                      <a:pt x="58670" y="13103"/>
                      <a:pt x="39334" y="13103"/>
                    </a:cubicBezTo>
                    <a:close/>
                  </a:path>
                </a:pathLst>
              </a:custGeom>
              <a:solidFill>
                <a:schemeClr val="tx2"/>
              </a:solidFill>
              <a:ln w="2651" cap="flat">
                <a:noFill/>
                <a:prstDash val="solid"/>
                <a:miter/>
              </a:ln>
            </p:spPr>
            <p:txBody>
              <a:bodyPr rtlCol="0" anchor="ctr"/>
              <a:lstStyle/>
              <a:p>
                <a:endParaRPr lang="en-GB" dirty="0"/>
              </a:p>
            </p:txBody>
          </p:sp>
          <p:sp>
            <p:nvSpPr>
              <p:cNvPr id="230" name="Freihandform: Form 391">
                <a:extLst>
                  <a:ext uri="{FF2B5EF4-FFF2-40B4-BE49-F238E27FC236}">
                    <a16:creationId xmlns:a16="http://schemas.microsoft.com/office/drawing/2014/main" id="{F28249B8-DD2A-449B-ADF6-BE0B0ECBB535}"/>
                  </a:ext>
                </a:extLst>
              </p:cNvPr>
              <p:cNvSpPr/>
              <p:nvPr/>
            </p:nvSpPr>
            <p:spPr>
              <a:xfrm>
                <a:off x="949819" y="2648764"/>
                <a:ext cx="19680" cy="242584"/>
              </a:xfrm>
              <a:custGeom>
                <a:avLst/>
                <a:gdLst>
                  <a:gd name="connsiteX0" fmla="*/ 19680 w 19680"/>
                  <a:gd name="connsiteY0" fmla="*/ 242585 h 242584"/>
                  <a:gd name="connsiteX1" fmla="*/ 6578 w 19680"/>
                  <a:gd name="connsiteY1" fmla="*/ 242585 h 242584"/>
                  <a:gd name="connsiteX2" fmla="*/ 6578 w 19680"/>
                  <a:gd name="connsiteY2" fmla="*/ 13103 h 242584"/>
                  <a:gd name="connsiteX3" fmla="*/ 0 w 19680"/>
                  <a:gd name="connsiteY3" fmla="*/ 13103 h 242584"/>
                  <a:gd name="connsiteX4" fmla="*/ 0 w 19680"/>
                  <a:gd name="connsiteY4" fmla="*/ 0 h 242584"/>
                  <a:gd name="connsiteX5" fmla="*/ 13103 w 19680"/>
                  <a:gd name="connsiteY5" fmla="*/ 0 h 242584"/>
                  <a:gd name="connsiteX6" fmla="*/ 19654 w 19680"/>
                  <a:gd name="connsiteY6" fmla="*/ 6551 h 242584"/>
                  <a:gd name="connsiteX7" fmla="*/ 19654 w 19680"/>
                  <a:gd name="connsiteY7" fmla="*/ 242585 h 242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80" h="242584">
                    <a:moveTo>
                      <a:pt x="19680" y="242585"/>
                    </a:moveTo>
                    <a:lnTo>
                      <a:pt x="6578" y="242585"/>
                    </a:lnTo>
                    <a:lnTo>
                      <a:pt x="6578" y="13103"/>
                    </a:lnTo>
                    <a:lnTo>
                      <a:pt x="0" y="13103"/>
                    </a:lnTo>
                    <a:lnTo>
                      <a:pt x="0" y="0"/>
                    </a:lnTo>
                    <a:lnTo>
                      <a:pt x="13103" y="0"/>
                    </a:lnTo>
                    <a:cubicBezTo>
                      <a:pt x="16736" y="0"/>
                      <a:pt x="19654" y="2944"/>
                      <a:pt x="19654" y="6551"/>
                    </a:cubicBezTo>
                    <a:lnTo>
                      <a:pt x="19654" y="242585"/>
                    </a:lnTo>
                    <a:close/>
                  </a:path>
                </a:pathLst>
              </a:custGeom>
              <a:solidFill>
                <a:schemeClr val="tx2"/>
              </a:solidFill>
              <a:ln w="2651" cap="flat">
                <a:noFill/>
                <a:prstDash val="solid"/>
                <a:miter/>
              </a:ln>
            </p:spPr>
            <p:txBody>
              <a:bodyPr rtlCol="0" anchor="ctr"/>
              <a:lstStyle/>
              <a:p>
                <a:endParaRPr lang="en-GB" dirty="0"/>
              </a:p>
            </p:txBody>
          </p:sp>
        </p:grpSp>
      </p:grpSp>
      <p:grpSp>
        <p:nvGrpSpPr>
          <p:cNvPr id="6" name="Group 5">
            <a:extLst>
              <a:ext uri="{FF2B5EF4-FFF2-40B4-BE49-F238E27FC236}">
                <a16:creationId xmlns:a16="http://schemas.microsoft.com/office/drawing/2014/main" id="{649B235A-00F7-4F86-A660-A2E1509718D9}"/>
              </a:ext>
            </a:extLst>
          </p:cNvPr>
          <p:cNvGrpSpPr/>
          <p:nvPr/>
        </p:nvGrpSpPr>
        <p:grpSpPr>
          <a:xfrm>
            <a:off x="568386" y="1585984"/>
            <a:ext cx="451328" cy="432000"/>
            <a:chOff x="568386" y="1585984"/>
            <a:chExt cx="451328" cy="432000"/>
          </a:xfrm>
        </p:grpSpPr>
        <p:grpSp>
          <p:nvGrpSpPr>
            <p:cNvPr id="235" name="Group 234">
              <a:extLst>
                <a:ext uri="{FF2B5EF4-FFF2-40B4-BE49-F238E27FC236}">
                  <a16:creationId xmlns:a16="http://schemas.microsoft.com/office/drawing/2014/main" id="{E42A6F6D-85C7-4E3E-B643-FC590946BC06}"/>
                </a:ext>
              </a:extLst>
            </p:cNvPr>
            <p:cNvGrpSpPr/>
            <p:nvPr/>
          </p:nvGrpSpPr>
          <p:grpSpPr>
            <a:xfrm>
              <a:off x="568386" y="1585984"/>
              <a:ext cx="399760" cy="432000"/>
              <a:chOff x="3395505" y="1691899"/>
              <a:chExt cx="406500" cy="439283"/>
            </a:xfrm>
          </p:grpSpPr>
          <p:sp>
            <p:nvSpPr>
              <p:cNvPr id="241" name="Freihandform: Form 551">
                <a:extLst>
                  <a:ext uri="{FF2B5EF4-FFF2-40B4-BE49-F238E27FC236}">
                    <a16:creationId xmlns:a16="http://schemas.microsoft.com/office/drawing/2014/main" id="{3FDF1A7B-3618-4B83-9A46-3F349779C871}"/>
                  </a:ext>
                </a:extLst>
              </p:cNvPr>
              <p:cNvSpPr/>
              <p:nvPr/>
            </p:nvSpPr>
            <p:spPr>
              <a:xfrm>
                <a:off x="3395505" y="1750914"/>
                <a:ext cx="249136" cy="380268"/>
              </a:xfrm>
              <a:custGeom>
                <a:avLst/>
                <a:gdLst>
                  <a:gd name="connsiteX0" fmla="*/ 242585 w 249136"/>
                  <a:gd name="connsiteY0" fmla="*/ 380269 h 380268"/>
                  <a:gd name="connsiteX1" fmla="*/ 6551 w 249136"/>
                  <a:gd name="connsiteY1" fmla="*/ 380269 h 380268"/>
                  <a:gd name="connsiteX2" fmla="*/ 0 w 249136"/>
                  <a:gd name="connsiteY2" fmla="*/ 373717 h 380268"/>
                  <a:gd name="connsiteX3" fmla="*/ 0 w 249136"/>
                  <a:gd name="connsiteY3" fmla="*/ 45886 h 380268"/>
                  <a:gd name="connsiteX4" fmla="*/ 6551 w 249136"/>
                  <a:gd name="connsiteY4" fmla="*/ 39334 h 380268"/>
                  <a:gd name="connsiteX5" fmla="*/ 45886 w 249136"/>
                  <a:gd name="connsiteY5" fmla="*/ 39334 h 380268"/>
                  <a:gd name="connsiteX6" fmla="*/ 45886 w 249136"/>
                  <a:gd name="connsiteY6" fmla="*/ 6551 h 380268"/>
                  <a:gd name="connsiteX7" fmla="*/ 52437 w 249136"/>
                  <a:gd name="connsiteY7" fmla="*/ 0 h 380268"/>
                  <a:gd name="connsiteX8" fmla="*/ 196699 w 249136"/>
                  <a:gd name="connsiteY8" fmla="*/ 0 h 380268"/>
                  <a:gd name="connsiteX9" fmla="*/ 203250 w 249136"/>
                  <a:gd name="connsiteY9" fmla="*/ 6551 h 380268"/>
                  <a:gd name="connsiteX10" fmla="*/ 203250 w 249136"/>
                  <a:gd name="connsiteY10" fmla="*/ 39334 h 380268"/>
                  <a:gd name="connsiteX11" fmla="*/ 242585 w 249136"/>
                  <a:gd name="connsiteY11" fmla="*/ 39334 h 380268"/>
                  <a:gd name="connsiteX12" fmla="*/ 249136 w 249136"/>
                  <a:gd name="connsiteY12" fmla="*/ 45886 h 380268"/>
                  <a:gd name="connsiteX13" fmla="*/ 249136 w 249136"/>
                  <a:gd name="connsiteY13" fmla="*/ 373717 h 380268"/>
                  <a:gd name="connsiteX14" fmla="*/ 242585 w 249136"/>
                  <a:gd name="connsiteY14" fmla="*/ 380269 h 380268"/>
                  <a:gd name="connsiteX15" fmla="*/ 13103 w 249136"/>
                  <a:gd name="connsiteY15" fmla="*/ 367166 h 380268"/>
                  <a:gd name="connsiteX16" fmla="*/ 236033 w 249136"/>
                  <a:gd name="connsiteY16" fmla="*/ 367166 h 380268"/>
                  <a:gd name="connsiteX17" fmla="*/ 236033 w 249136"/>
                  <a:gd name="connsiteY17" fmla="*/ 52437 h 380268"/>
                  <a:gd name="connsiteX18" fmla="*/ 196699 w 249136"/>
                  <a:gd name="connsiteY18" fmla="*/ 52437 h 380268"/>
                  <a:gd name="connsiteX19" fmla="*/ 190148 w 249136"/>
                  <a:gd name="connsiteY19" fmla="*/ 45886 h 380268"/>
                  <a:gd name="connsiteX20" fmla="*/ 190148 w 249136"/>
                  <a:gd name="connsiteY20" fmla="*/ 13103 h 380268"/>
                  <a:gd name="connsiteX21" fmla="*/ 59015 w 249136"/>
                  <a:gd name="connsiteY21" fmla="*/ 13103 h 380268"/>
                  <a:gd name="connsiteX22" fmla="*/ 59015 w 249136"/>
                  <a:gd name="connsiteY22" fmla="*/ 45886 h 380268"/>
                  <a:gd name="connsiteX23" fmla="*/ 52464 w 249136"/>
                  <a:gd name="connsiteY23" fmla="*/ 52437 h 380268"/>
                  <a:gd name="connsiteX24" fmla="*/ 13129 w 249136"/>
                  <a:gd name="connsiteY24" fmla="*/ 52437 h 380268"/>
                  <a:gd name="connsiteX25" fmla="*/ 13129 w 249136"/>
                  <a:gd name="connsiteY25" fmla="*/ 367166 h 38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49136" h="380268">
                    <a:moveTo>
                      <a:pt x="242585" y="380269"/>
                    </a:moveTo>
                    <a:lnTo>
                      <a:pt x="6551" y="380269"/>
                    </a:lnTo>
                    <a:cubicBezTo>
                      <a:pt x="2918" y="380269"/>
                      <a:pt x="0" y="377324"/>
                      <a:pt x="0" y="373717"/>
                    </a:cubicBezTo>
                    <a:lnTo>
                      <a:pt x="0" y="45886"/>
                    </a:lnTo>
                    <a:cubicBezTo>
                      <a:pt x="0" y="42252"/>
                      <a:pt x="2944" y="39334"/>
                      <a:pt x="6551" y="39334"/>
                    </a:cubicBezTo>
                    <a:lnTo>
                      <a:pt x="45886" y="39334"/>
                    </a:lnTo>
                    <a:lnTo>
                      <a:pt x="45886" y="6551"/>
                    </a:lnTo>
                    <a:cubicBezTo>
                      <a:pt x="45886" y="2918"/>
                      <a:pt x="48830" y="0"/>
                      <a:pt x="52437" y="0"/>
                    </a:cubicBezTo>
                    <a:lnTo>
                      <a:pt x="196699" y="0"/>
                    </a:lnTo>
                    <a:cubicBezTo>
                      <a:pt x="200332" y="0"/>
                      <a:pt x="203250" y="2944"/>
                      <a:pt x="203250" y="6551"/>
                    </a:cubicBezTo>
                    <a:lnTo>
                      <a:pt x="203250" y="39334"/>
                    </a:lnTo>
                    <a:lnTo>
                      <a:pt x="242585" y="39334"/>
                    </a:lnTo>
                    <a:cubicBezTo>
                      <a:pt x="246218" y="39334"/>
                      <a:pt x="249136" y="42279"/>
                      <a:pt x="249136" y="45886"/>
                    </a:cubicBezTo>
                    <a:lnTo>
                      <a:pt x="249136" y="373717"/>
                    </a:lnTo>
                    <a:cubicBezTo>
                      <a:pt x="249162" y="377351"/>
                      <a:pt x="246218" y="380269"/>
                      <a:pt x="242585" y="380269"/>
                    </a:cubicBezTo>
                    <a:close/>
                    <a:moveTo>
                      <a:pt x="13103" y="367166"/>
                    </a:moveTo>
                    <a:lnTo>
                      <a:pt x="236033" y="367166"/>
                    </a:lnTo>
                    <a:lnTo>
                      <a:pt x="236033" y="52437"/>
                    </a:lnTo>
                    <a:lnTo>
                      <a:pt x="196699" y="52437"/>
                    </a:lnTo>
                    <a:cubicBezTo>
                      <a:pt x="193065" y="52437"/>
                      <a:pt x="190148" y="49493"/>
                      <a:pt x="190148" y="45886"/>
                    </a:cubicBezTo>
                    <a:lnTo>
                      <a:pt x="190148" y="13103"/>
                    </a:lnTo>
                    <a:lnTo>
                      <a:pt x="59015" y="13103"/>
                    </a:lnTo>
                    <a:lnTo>
                      <a:pt x="59015" y="45886"/>
                    </a:lnTo>
                    <a:cubicBezTo>
                      <a:pt x="59015" y="49520"/>
                      <a:pt x="56071" y="52437"/>
                      <a:pt x="52464" y="52437"/>
                    </a:cubicBezTo>
                    <a:lnTo>
                      <a:pt x="13129" y="52437"/>
                    </a:lnTo>
                    <a:lnTo>
                      <a:pt x="13129" y="367166"/>
                    </a:lnTo>
                    <a:close/>
                  </a:path>
                </a:pathLst>
              </a:custGeom>
              <a:solidFill>
                <a:schemeClr val="tx2"/>
              </a:solidFill>
              <a:ln w="2651" cap="flat">
                <a:noFill/>
                <a:prstDash val="solid"/>
                <a:miter/>
              </a:ln>
            </p:spPr>
            <p:txBody>
              <a:bodyPr rtlCol="0" anchor="ctr"/>
              <a:lstStyle/>
              <a:p>
                <a:endParaRPr lang="en-GB" dirty="0"/>
              </a:p>
            </p:txBody>
          </p:sp>
          <p:sp>
            <p:nvSpPr>
              <p:cNvPr id="242" name="Freihandform: Form 552">
                <a:extLst>
                  <a:ext uri="{FF2B5EF4-FFF2-40B4-BE49-F238E27FC236}">
                    <a16:creationId xmlns:a16="http://schemas.microsoft.com/office/drawing/2014/main" id="{7B17C774-008C-4649-AC17-09198414D310}"/>
                  </a:ext>
                </a:extLst>
              </p:cNvPr>
              <p:cNvSpPr/>
              <p:nvPr/>
            </p:nvSpPr>
            <p:spPr>
              <a:xfrm>
                <a:off x="3513535" y="1691899"/>
                <a:ext cx="13102" cy="72117"/>
              </a:xfrm>
              <a:custGeom>
                <a:avLst/>
                <a:gdLst>
                  <a:gd name="connsiteX0" fmla="*/ 6551 w 13102"/>
                  <a:gd name="connsiteY0" fmla="*/ 72118 h 72117"/>
                  <a:gd name="connsiteX1" fmla="*/ 0 w 13102"/>
                  <a:gd name="connsiteY1" fmla="*/ 65566 h 72117"/>
                  <a:gd name="connsiteX2" fmla="*/ 0 w 13102"/>
                  <a:gd name="connsiteY2" fmla="*/ 6551 h 72117"/>
                  <a:gd name="connsiteX3" fmla="*/ 6551 w 13102"/>
                  <a:gd name="connsiteY3" fmla="*/ 0 h 72117"/>
                  <a:gd name="connsiteX4" fmla="*/ 13103 w 13102"/>
                  <a:gd name="connsiteY4" fmla="*/ 6551 h 72117"/>
                  <a:gd name="connsiteX5" fmla="*/ 13103 w 13102"/>
                  <a:gd name="connsiteY5" fmla="*/ 65566 h 72117"/>
                  <a:gd name="connsiteX6" fmla="*/ 6551 w 13102"/>
                  <a:gd name="connsiteY6" fmla="*/ 72118 h 7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2" h="72117">
                    <a:moveTo>
                      <a:pt x="6551" y="72118"/>
                    </a:moveTo>
                    <a:cubicBezTo>
                      <a:pt x="2918" y="72118"/>
                      <a:pt x="0" y="69173"/>
                      <a:pt x="0" y="65566"/>
                    </a:cubicBezTo>
                    <a:lnTo>
                      <a:pt x="0" y="6551"/>
                    </a:lnTo>
                    <a:cubicBezTo>
                      <a:pt x="0" y="2918"/>
                      <a:pt x="2944" y="0"/>
                      <a:pt x="6551" y="0"/>
                    </a:cubicBezTo>
                    <a:cubicBezTo>
                      <a:pt x="10185" y="0"/>
                      <a:pt x="13103" y="2944"/>
                      <a:pt x="13103" y="6551"/>
                    </a:cubicBezTo>
                    <a:lnTo>
                      <a:pt x="13103" y="65566"/>
                    </a:lnTo>
                    <a:cubicBezTo>
                      <a:pt x="13103" y="69173"/>
                      <a:pt x="10159" y="72118"/>
                      <a:pt x="6551" y="72118"/>
                    </a:cubicBezTo>
                    <a:close/>
                  </a:path>
                </a:pathLst>
              </a:custGeom>
              <a:solidFill>
                <a:schemeClr val="tx2"/>
              </a:solidFill>
              <a:ln w="2651" cap="flat">
                <a:noFill/>
                <a:prstDash val="solid"/>
                <a:miter/>
              </a:ln>
            </p:spPr>
            <p:txBody>
              <a:bodyPr rtlCol="0" anchor="ctr"/>
              <a:lstStyle/>
              <a:p>
                <a:endParaRPr lang="en-GB" dirty="0"/>
              </a:p>
            </p:txBody>
          </p:sp>
          <p:sp>
            <p:nvSpPr>
              <p:cNvPr id="243" name="Freihandform: Form 553">
                <a:extLst>
                  <a:ext uri="{FF2B5EF4-FFF2-40B4-BE49-F238E27FC236}">
                    <a16:creationId xmlns:a16="http://schemas.microsoft.com/office/drawing/2014/main" id="{08B5D6AB-E2F6-48FE-968F-DB9A416F96C7}"/>
                  </a:ext>
                </a:extLst>
              </p:cNvPr>
              <p:cNvSpPr/>
              <p:nvPr/>
            </p:nvSpPr>
            <p:spPr>
              <a:xfrm>
                <a:off x="3474200" y="1790249"/>
                <a:ext cx="91771" cy="13102"/>
              </a:xfrm>
              <a:custGeom>
                <a:avLst/>
                <a:gdLst>
                  <a:gd name="connsiteX0" fmla="*/ 85220 w 91771"/>
                  <a:gd name="connsiteY0" fmla="*/ 13103 h 13102"/>
                  <a:gd name="connsiteX1" fmla="*/ 6551 w 91771"/>
                  <a:gd name="connsiteY1" fmla="*/ 13103 h 13102"/>
                  <a:gd name="connsiteX2" fmla="*/ 0 w 91771"/>
                  <a:gd name="connsiteY2" fmla="*/ 6551 h 13102"/>
                  <a:gd name="connsiteX3" fmla="*/ 6551 w 91771"/>
                  <a:gd name="connsiteY3" fmla="*/ 0 h 13102"/>
                  <a:gd name="connsiteX4" fmla="*/ 85220 w 91771"/>
                  <a:gd name="connsiteY4" fmla="*/ 0 h 13102"/>
                  <a:gd name="connsiteX5" fmla="*/ 91772 w 91771"/>
                  <a:gd name="connsiteY5" fmla="*/ 6551 h 13102"/>
                  <a:gd name="connsiteX6" fmla="*/ 85220 w 91771"/>
                  <a:gd name="connsiteY6" fmla="*/ 13103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771" h="13102">
                    <a:moveTo>
                      <a:pt x="85220" y="13103"/>
                    </a:moveTo>
                    <a:lnTo>
                      <a:pt x="6551" y="13103"/>
                    </a:lnTo>
                    <a:cubicBezTo>
                      <a:pt x="2918" y="13103"/>
                      <a:pt x="0" y="10159"/>
                      <a:pt x="0" y="6551"/>
                    </a:cubicBezTo>
                    <a:cubicBezTo>
                      <a:pt x="0" y="2918"/>
                      <a:pt x="2944" y="0"/>
                      <a:pt x="6551" y="0"/>
                    </a:cubicBezTo>
                    <a:lnTo>
                      <a:pt x="85220" y="0"/>
                    </a:lnTo>
                    <a:cubicBezTo>
                      <a:pt x="88854" y="0"/>
                      <a:pt x="91772" y="2944"/>
                      <a:pt x="91772" y="6551"/>
                    </a:cubicBezTo>
                    <a:cubicBezTo>
                      <a:pt x="91772" y="10159"/>
                      <a:pt x="88827" y="13103"/>
                      <a:pt x="85220" y="13103"/>
                    </a:cubicBezTo>
                    <a:close/>
                  </a:path>
                </a:pathLst>
              </a:custGeom>
              <a:solidFill>
                <a:schemeClr val="tx2"/>
              </a:solidFill>
              <a:ln w="2651" cap="flat">
                <a:noFill/>
                <a:prstDash val="solid"/>
                <a:miter/>
              </a:ln>
            </p:spPr>
            <p:txBody>
              <a:bodyPr rtlCol="0" anchor="ctr"/>
              <a:lstStyle/>
              <a:p>
                <a:endParaRPr lang="en-GB" dirty="0"/>
              </a:p>
            </p:txBody>
          </p:sp>
          <p:sp>
            <p:nvSpPr>
              <p:cNvPr id="244" name="Freihandform: Form 554">
                <a:extLst>
                  <a:ext uri="{FF2B5EF4-FFF2-40B4-BE49-F238E27FC236}">
                    <a16:creationId xmlns:a16="http://schemas.microsoft.com/office/drawing/2014/main" id="{B77F10F2-EA8B-49DB-841D-FF7C3D63EA4C}"/>
                  </a:ext>
                </a:extLst>
              </p:cNvPr>
              <p:cNvSpPr/>
              <p:nvPr/>
            </p:nvSpPr>
            <p:spPr>
              <a:xfrm>
                <a:off x="3428288" y="1823032"/>
                <a:ext cx="183569" cy="308150"/>
              </a:xfrm>
              <a:custGeom>
                <a:avLst/>
                <a:gdLst>
                  <a:gd name="connsiteX0" fmla="*/ 177018 w 183569"/>
                  <a:gd name="connsiteY0" fmla="*/ 308151 h 308150"/>
                  <a:gd name="connsiteX1" fmla="*/ 6551 w 183569"/>
                  <a:gd name="connsiteY1" fmla="*/ 308151 h 308150"/>
                  <a:gd name="connsiteX2" fmla="*/ 0 w 183569"/>
                  <a:gd name="connsiteY2" fmla="*/ 301600 h 308150"/>
                  <a:gd name="connsiteX3" fmla="*/ 0 w 183569"/>
                  <a:gd name="connsiteY3" fmla="*/ 6551 h 308150"/>
                  <a:gd name="connsiteX4" fmla="*/ 6551 w 183569"/>
                  <a:gd name="connsiteY4" fmla="*/ 0 h 308150"/>
                  <a:gd name="connsiteX5" fmla="*/ 177018 w 183569"/>
                  <a:gd name="connsiteY5" fmla="*/ 0 h 308150"/>
                  <a:gd name="connsiteX6" fmla="*/ 183570 w 183569"/>
                  <a:gd name="connsiteY6" fmla="*/ 6551 h 308150"/>
                  <a:gd name="connsiteX7" fmla="*/ 183570 w 183569"/>
                  <a:gd name="connsiteY7" fmla="*/ 301600 h 308150"/>
                  <a:gd name="connsiteX8" fmla="*/ 177018 w 183569"/>
                  <a:gd name="connsiteY8" fmla="*/ 308151 h 308150"/>
                  <a:gd name="connsiteX9" fmla="*/ 13103 w 183569"/>
                  <a:gd name="connsiteY9" fmla="*/ 295048 h 308150"/>
                  <a:gd name="connsiteX10" fmla="*/ 170467 w 183569"/>
                  <a:gd name="connsiteY10" fmla="*/ 295048 h 308150"/>
                  <a:gd name="connsiteX11" fmla="*/ 170467 w 183569"/>
                  <a:gd name="connsiteY11" fmla="*/ 13103 h 308150"/>
                  <a:gd name="connsiteX12" fmla="*/ 13103 w 183569"/>
                  <a:gd name="connsiteY12" fmla="*/ 13103 h 308150"/>
                  <a:gd name="connsiteX13" fmla="*/ 13103 w 183569"/>
                  <a:gd name="connsiteY13" fmla="*/ 295048 h 308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3569" h="308150">
                    <a:moveTo>
                      <a:pt x="177018" y="308151"/>
                    </a:moveTo>
                    <a:lnTo>
                      <a:pt x="6551" y="308151"/>
                    </a:lnTo>
                    <a:cubicBezTo>
                      <a:pt x="2918" y="308151"/>
                      <a:pt x="0" y="305207"/>
                      <a:pt x="0" y="301600"/>
                    </a:cubicBezTo>
                    <a:lnTo>
                      <a:pt x="0" y="6551"/>
                    </a:lnTo>
                    <a:cubicBezTo>
                      <a:pt x="0" y="2918"/>
                      <a:pt x="2944" y="0"/>
                      <a:pt x="6551" y="0"/>
                    </a:cubicBezTo>
                    <a:lnTo>
                      <a:pt x="177018" y="0"/>
                    </a:lnTo>
                    <a:cubicBezTo>
                      <a:pt x="180652" y="0"/>
                      <a:pt x="183570" y="2944"/>
                      <a:pt x="183570" y="6551"/>
                    </a:cubicBezTo>
                    <a:lnTo>
                      <a:pt x="183570" y="301600"/>
                    </a:lnTo>
                    <a:cubicBezTo>
                      <a:pt x="183570" y="305233"/>
                      <a:pt x="180652" y="308151"/>
                      <a:pt x="177018" y="308151"/>
                    </a:cubicBezTo>
                    <a:close/>
                    <a:moveTo>
                      <a:pt x="13103" y="295048"/>
                    </a:moveTo>
                    <a:lnTo>
                      <a:pt x="170467" y="295048"/>
                    </a:lnTo>
                    <a:lnTo>
                      <a:pt x="170467" y="13103"/>
                    </a:lnTo>
                    <a:lnTo>
                      <a:pt x="13103" y="13103"/>
                    </a:lnTo>
                    <a:lnTo>
                      <a:pt x="13103" y="295048"/>
                    </a:lnTo>
                    <a:close/>
                  </a:path>
                </a:pathLst>
              </a:custGeom>
              <a:solidFill>
                <a:schemeClr val="tx2"/>
              </a:solidFill>
              <a:ln w="2651" cap="flat">
                <a:noFill/>
                <a:prstDash val="solid"/>
                <a:miter/>
              </a:ln>
            </p:spPr>
            <p:txBody>
              <a:bodyPr rtlCol="0" anchor="ctr"/>
              <a:lstStyle/>
              <a:p>
                <a:endParaRPr lang="en-GB" dirty="0"/>
              </a:p>
            </p:txBody>
          </p:sp>
          <p:sp>
            <p:nvSpPr>
              <p:cNvPr id="245" name="Freihandform: Form 555">
                <a:extLst>
                  <a:ext uri="{FF2B5EF4-FFF2-40B4-BE49-F238E27FC236}">
                    <a16:creationId xmlns:a16="http://schemas.microsoft.com/office/drawing/2014/main" id="{13BA9ABB-553C-4B1C-B8BE-CB2333913168}"/>
                  </a:ext>
                </a:extLst>
              </p:cNvPr>
              <p:cNvSpPr/>
              <p:nvPr/>
            </p:nvSpPr>
            <p:spPr>
              <a:xfrm>
                <a:off x="3513508" y="1829583"/>
                <a:ext cx="13102" cy="275394"/>
              </a:xfrm>
              <a:custGeom>
                <a:avLst/>
                <a:gdLst>
                  <a:gd name="connsiteX0" fmla="*/ 0 w 13102"/>
                  <a:gd name="connsiteY0" fmla="*/ 0 h 275394"/>
                  <a:gd name="connsiteX1" fmla="*/ 13103 w 13102"/>
                  <a:gd name="connsiteY1" fmla="*/ 0 h 275394"/>
                  <a:gd name="connsiteX2" fmla="*/ 13103 w 13102"/>
                  <a:gd name="connsiteY2" fmla="*/ 275394 h 275394"/>
                  <a:gd name="connsiteX3" fmla="*/ 0 w 13102"/>
                  <a:gd name="connsiteY3" fmla="*/ 275394 h 275394"/>
                </a:gdLst>
                <a:ahLst/>
                <a:cxnLst>
                  <a:cxn ang="0">
                    <a:pos x="connsiteX0" y="connsiteY0"/>
                  </a:cxn>
                  <a:cxn ang="0">
                    <a:pos x="connsiteX1" y="connsiteY1"/>
                  </a:cxn>
                  <a:cxn ang="0">
                    <a:pos x="connsiteX2" y="connsiteY2"/>
                  </a:cxn>
                  <a:cxn ang="0">
                    <a:pos x="connsiteX3" y="connsiteY3"/>
                  </a:cxn>
                </a:cxnLst>
                <a:rect l="l" t="t" r="r" b="b"/>
                <a:pathLst>
                  <a:path w="13102" h="275394">
                    <a:moveTo>
                      <a:pt x="0" y="0"/>
                    </a:moveTo>
                    <a:lnTo>
                      <a:pt x="13103" y="0"/>
                    </a:lnTo>
                    <a:lnTo>
                      <a:pt x="13103" y="275394"/>
                    </a:lnTo>
                    <a:lnTo>
                      <a:pt x="0" y="275394"/>
                    </a:lnTo>
                    <a:close/>
                  </a:path>
                </a:pathLst>
              </a:custGeom>
              <a:solidFill>
                <a:schemeClr val="tx2"/>
              </a:solidFill>
              <a:ln w="2651" cap="flat">
                <a:noFill/>
                <a:prstDash val="solid"/>
                <a:miter/>
              </a:ln>
            </p:spPr>
            <p:txBody>
              <a:bodyPr rtlCol="0" anchor="ctr"/>
              <a:lstStyle/>
              <a:p>
                <a:endParaRPr lang="en-GB" dirty="0"/>
              </a:p>
            </p:txBody>
          </p:sp>
          <p:sp>
            <p:nvSpPr>
              <p:cNvPr id="246" name="Freihandform: Form 556">
                <a:extLst>
                  <a:ext uri="{FF2B5EF4-FFF2-40B4-BE49-F238E27FC236}">
                    <a16:creationId xmlns:a16="http://schemas.microsoft.com/office/drawing/2014/main" id="{23862E0D-AAEB-4D33-8F69-7C554436B2B9}"/>
                  </a:ext>
                </a:extLst>
              </p:cNvPr>
              <p:cNvSpPr/>
              <p:nvPr/>
            </p:nvSpPr>
            <p:spPr>
              <a:xfrm>
                <a:off x="3559421" y="1829583"/>
                <a:ext cx="13102" cy="275394"/>
              </a:xfrm>
              <a:custGeom>
                <a:avLst/>
                <a:gdLst>
                  <a:gd name="connsiteX0" fmla="*/ 0 w 13102"/>
                  <a:gd name="connsiteY0" fmla="*/ 0 h 275394"/>
                  <a:gd name="connsiteX1" fmla="*/ 13103 w 13102"/>
                  <a:gd name="connsiteY1" fmla="*/ 0 h 275394"/>
                  <a:gd name="connsiteX2" fmla="*/ 13103 w 13102"/>
                  <a:gd name="connsiteY2" fmla="*/ 275394 h 275394"/>
                  <a:gd name="connsiteX3" fmla="*/ 0 w 13102"/>
                  <a:gd name="connsiteY3" fmla="*/ 275394 h 275394"/>
                </a:gdLst>
                <a:ahLst/>
                <a:cxnLst>
                  <a:cxn ang="0">
                    <a:pos x="connsiteX0" y="connsiteY0"/>
                  </a:cxn>
                  <a:cxn ang="0">
                    <a:pos x="connsiteX1" y="connsiteY1"/>
                  </a:cxn>
                  <a:cxn ang="0">
                    <a:pos x="connsiteX2" y="connsiteY2"/>
                  </a:cxn>
                  <a:cxn ang="0">
                    <a:pos x="connsiteX3" y="connsiteY3"/>
                  </a:cxn>
                </a:cxnLst>
                <a:rect l="l" t="t" r="r" b="b"/>
                <a:pathLst>
                  <a:path w="13102" h="275394">
                    <a:moveTo>
                      <a:pt x="0" y="0"/>
                    </a:moveTo>
                    <a:lnTo>
                      <a:pt x="13103" y="0"/>
                    </a:lnTo>
                    <a:lnTo>
                      <a:pt x="13103" y="275394"/>
                    </a:lnTo>
                    <a:lnTo>
                      <a:pt x="0" y="275394"/>
                    </a:lnTo>
                    <a:close/>
                  </a:path>
                </a:pathLst>
              </a:custGeom>
              <a:solidFill>
                <a:schemeClr val="tx2"/>
              </a:solidFill>
              <a:ln w="2651" cap="flat">
                <a:noFill/>
                <a:prstDash val="solid"/>
                <a:miter/>
              </a:ln>
            </p:spPr>
            <p:txBody>
              <a:bodyPr rtlCol="0" anchor="ctr"/>
              <a:lstStyle/>
              <a:p>
                <a:endParaRPr lang="en-GB" dirty="0"/>
              </a:p>
            </p:txBody>
          </p:sp>
          <p:sp>
            <p:nvSpPr>
              <p:cNvPr id="247" name="Freihandform: Form 557">
                <a:extLst>
                  <a:ext uri="{FF2B5EF4-FFF2-40B4-BE49-F238E27FC236}">
                    <a16:creationId xmlns:a16="http://schemas.microsoft.com/office/drawing/2014/main" id="{E78D6105-8F3C-467C-B546-FAEE66001876}"/>
                  </a:ext>
                </a:extLst>
              </p:cNvPr>
              <p:cNvSpPr/>
              <p:nvPr/>
            </p:nvSpPr>
            <p:spPr>
              <a:xfrm>
                <a:off x="3467623" y="1829583"/>
                <a:ext cx="13102" cy="275394"/>
              </a:xfrm>
              <a:custGeom>
                <a:avLst/>
                <a:gdLst>
                  <a:gd name="connsiteX0" fmla="*/ 0 w 13102"/>
                  <a:gd name="connsiteY0" fmla="*/ 0 h 275394"/>
                  <a:gd name="connsiteX1" fmla="*/ 13103 w 13102"/>
                  <a:gd name="connsiteY1" fmla="*/ 0 h 275394"/>
                  <a:gd name="connsiteX2" fmla="*/ 13103 w 13102"/>
                  <a:gd name="connsiteY2" fmla="*/ 275394 h 275394"/>
                  <a:gd name="connsiteX3" fmla="*/ 0 w 13102"/>
                  <a:gd name="connsiteY3" fmla="*/ 275394 h 275394"/>
                </a:gdLst>
                <a:ahLst/>
                <a:cxnLst>
                  <a:cxn ang="0">
                    <a:pos x="connsiteX0" y="connsiteY0"/>
                  </a:cxn>
                  <a:cxn ang="0">
                    <a:pos x="connsiteX1" y="connsiteY1"/>
                  </a:cxn>
                  <a:cxn ang="0">
                    <a:pos x="connsiteX2" y="connsiteY2"/>
                  </a:cxn>
                  <a:cxn ang="0">
                    <a:pos x="connsiteX3" y="connsiteY3"/>
                  </a:cxn>
                </a:cxnLst>
                <a:rect l="l" t="t" r="r" b="b"/>
                <a:pathLst>
                  <a:path w="13102" h="275394">
                    <a:moveTo>
                      <a:pt x="0" y="0"/>
                    </a:moveTo>
                    <a:lnTo>
                      <a:pt x="13103" y="0"/>
                    </a:lnTo>
                    <a:lnTo>
                      <a:pt x="13103" y="275394"/>
                    </a:lnTo>
                    <a:lnTo>
                      <a:pt x="0" y="275394"/>
                    </a:lnTo>
                    <a:close/>
                  </a:path>
                </a:pathLst>
              </a:custGeom>
              <a:solidFill>
                <a:schemeClr val="tx2"/>
              </a:solidFill>
              <a:ln w="2651" cap="flat">
                <a:noFill/>
                <a:prstDash val="solid"/>
                <a:miter/>
              </a:ln>
            </p:spPr>
            <p:txBody>
              <a:bodyPr rtlCol="0" anchor="ctr"/>
              <a:lstStyle/>
              <a:p>
                <a:endParaRPr lang="en-GB" dirty="0"/>
              </a:p>
            </p:txBody>
          </p:sp>
          <p:sp>
            <p:nvSpPr>
              <p:cNvPr id="248" name="Freihandform: Form 560">
                <a:extLst>
                  <a:ext uri="{FF2B5EF4-FFF2-40B4-BE49-F238E27FC236}">
                    <a16:creationId xmlns:a16="http://schemas.microsoft.com/office/drawing/2014/main" id="{B9E21C4B-2389-41D1-9CA7-074DF19684CA}"/>
                  </a:ext>
                </a:extLst>
              </p:cNvPr>
              <p:cNvSpPr/>
              <p:nvPr/>
            </p:nvSpPr>
            <p:spPr>
              <a:xfrm>
                <a:off x="3631565" y="1908252"/>
                <a:ext cx="170440" cy="222930"/>
              </a:xfrm>
              <a:custGeom>
                <a:avLst/>
                <a:gdLst>
                  <a:gd name="connsiteX0" fmla="*/ 146251 w 170440"/>
                  <a:gd name="connsiteY0" fmla="*/ 222931 h 222930"/>
                  <a:gd name="connsiteX1" fmla="*/ 135642 w 170440"/>
                  <a:gd name="connsiteY1" fmla="*/ 222931 h 222930"/>
                  <a:gd name="connsiteX2" fmla="*/ 111452 w 170440"/>
                  <a:gd name="connsiteY2" fmla="*/ 198741 h 222930"/>
                  <a:gd name="connsiteX3" fmla="*/ 111452 w 170440"/>
                  <a:gd name="connsiteY3" fmla="*/ 109436 h 222930"/>
                  <a:gd name="connsiteX4" fmla="*/ 100365 w 170440"/>
                  <a:gd name="connsiteY4" fmla="*/ 98349 h 222930"/>
                  <a:gd name="connsiteX5" fmla="*/ 70075 w 170440"/>
                  <a:gd name="connsiteY5" fmla="*/ 98349 h 222930"/>
                  <a:gd name="connsiteX6" fmla="*/ 58988 w 170440"/>
                  <a:gd name="connsiteY6" fmla="*/ 109436 h 222930"/>
                  <a:gd name="connsiteX7" fmla="*/ 58988 w 170440"/>
                  <a:gd name="connsiteY7" fmla="*/ 198741 h 222930"/>
                  <a:gd name="connsiteX8" fmla="*/ 34799 w 170440"/>
                  <a:gd name="connsiteY8" fmla="*/ 222931 h 222930"/>
                  <a:gd name="connsiteX9" fmla="*/ 6552 w 170440"/>
                  <a:gd name="connsiteY9" fmla="*/ 222931 h 222930"/>
                  <a:gd name="connsiteX10" fmla="*/ 0 w 170440"/>
                  <a:gd name="connsiteY10" fmla="*/ 216379 h 222930"/>
                  <a:gd name="connsiteX11" fmla="*/ 6552 w 170440"/>
                  <a:gd name="connsiteY11" fmla="*/ 209828 h 222930"/>
                  <a:gd name="connsiteX12" fmla="*/ 34799 w 170440"/>
                  <a:gd name="connsiteY12" fmla="*/ 209828 h 222930"/>
                  <a:gd name="connsiteX13" fmla="*/ 45886 w 170440"/>
                  <a:gd name="connsiteY13" fmla="*/ 198741 h 222930"/>
                  <a:gd name="connsiteX14" fmla="*/ 45886 w 170440"/>
                  <a:gd name="connsiteY14" fmla="*/ 109436 h 222930"/>
                  <a:gd name="connsiteX15" fmla="*/ 70075 w 170440"/>
                  <a:gd name="connsiteY15" fmla="*/ 85247 h 222930"/>
                  <a:gd name="connsiteX16" fmla="*/ 100365 w 170440"/>
                  <a:gd name="connsiteY16" fmla="*/ 85247 h 222930"/>
                  <a:gd name="connsiteX17" fmla="*/ 124555 w 170440"/>
                  <a:gd name="connsiteY17" fmla="*/ 109436 h 222930"/>
                  <a:gd name="connsiteX18" fmla="*/ 124555 w 170440"/>
                  <a:gd name="connsiteY18" fmla="*/ 198741 h 222930"/>
                  <a:gd name="connsiteX19" fmla="*/ 135642 w 170440"/>
                  <a:gd name="connsiteY19" fmla="*/ 209828 h 222930"/>
                  <a:gd name="connsiteX20" fmla="*/ 146251 w 170440"/>
                  <a:gd name="connsiteY20" fmla="*/ 209828 h 222930"/>
                  <a:gd name="connsiteX21" fmla="*/ 157338 w 170440"/>
                  <a:gd name="connsiteY21" fmla="*/ 198741 h 222930"/>
                  <a:gd name="connsiteX22" fmla="*/ 157338 w 170440"/>
                  <a:gd name="connsiteY22" fmla="*/ 6551 h 222930"/>
                  <a:gd name="connsiteX23" fmla="*/ 163889 w 170440"/>
                  <a:gd name="connsiteY23" fmla="*/ 0 h 222930"/>
                  <a:gd name="connsiteX24" fmla="*/ 170441 w 170440"/>
                  <a:gd name="connsiteY24" fmla="*/ 6551 h 222930"/>
                  <a:gd name="connsiteX25" fmla="*/ 170441 w 170440"/>
                  <a:gd name="connsiteY25" fmla="*/ 198741 h 222930"/>
                  <a:gd name="connsiteX26" fmla="*/ 146251 w 170440"/>
                  <a:gd name="connsiteY26" fmla="*/ 222931 h 22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0440" h="222930">
                    <a:moveTo>
                      <a:pt x="146251" y="222931"/>
                    </a:moveTo>
                    <a:lnTo>
                      <a:pt x="135642" y="222931"/>
                    </a:lnTo>
                    <a:cubicBezTo>
                      <a:pt x="122300" y="222931"/>
                      <a:pt x="111452" y="212083"/>
                      <a:pt x="111452" y="198741"/>
                    </a:cubicBezTo>
                    <a:lnTo>
                      <a:pt x="111452" y="109436"/>
                    </a:lnTo>
                    <a:cubicBezTo>
                      <a:pt x="111452" y="103336"/>
                      <a:pt x="106466" y="98349"/>
                      <a:pt x="100365" y="98349"/>
                    </a:cubicBezTo>
                    <a:lnTo>
                      <a:pt x="70075" y="98349"/>
                    </a:lnTo>
                    <a:cubicBezTo>
                      <a:pt x="63975" y="98349"/>
                      <a:pt x="58988" y="103309"/>
                      <a:pt x="58988" y="109436"/>
                    </a:cubicBezTo>
                    <a:lnTo>
                      <a:pt x="58988" y="198741"/>
                    </a:lnTo>
                    <a:cubicBezTo>
                      <a:pt x="58988" y="212083"/>
                      <a:pt x="48140" y="222931"/>
                      <a:pt x="34799" y="222931"/>
                    </a:cubicBezTo>
                    <a:lnTo>
                      <a:pt x="6552" y="222931"/>
                    </a:lnTo>
                    <a:cubicBezTo>
                      <a:pt x="2918" y="222931"/>
                      <a:pt x="0" y="219987"/>
                      <a:pt x="0" y="216379"/>
                    </a:cubicBezTo>
                    <a:cubicBezTo>
                      <a:pt x="0" y="212772"/>
                      <a:pt x="2944" y="209828"/>
                      <a:pt x="6552" y="209828"/>
                    </a:cubicBezTo>
                    <a:lnTo>
                      <a:pt x="34799" y="209828"/>
                    </a:lnTo>
                    <a:cubicBezTo>
                      <a:pt x="40899" y="209828"/>
                      <a:pt x="45886" y="204868"/>
                      <a:pt x="45886" y="198741"/>
                    </a:cubicBezTo>
                    <a:lnTo>
                      <a:pt x="45886" y="109436"/>
                    </a:lnTo>
                    <a:cubicBezTo>
                      <a:pt x="45886" y="96095"/>
                      <a:pt x="56734" y="85247"/>
                      <a:pt x="70075" y="85247"/>
                    </a:cubicBezTo>
                    <a:lnTo>
                      <a:pt x="100365" y="85247"/>
                    </a:lnTo>
                    <a:cubicBezTo>
                      <a:pt x="113707" y="85247"/>
                      <a:pt x="124555" y="96095"/>
                      <a:pt x="124555" y="109436"/>
                    </a:cubicBezTo>
                    <a:lnTo>
                      <a:pt x="124555" y="198741"/>
                    </a:lnTo>
                    <a:cubicBezTo>
                      <a:pt x="124555" y="204842"/>
                      <a:pt x="129541" y="209828"/>
                      <a:pt x="135642" y="209828"/>
                    </a:cubicBezTo>
                    <a:lnTo>
                      <a:pt x="146251" y="209828"/>
                    </a:lnTo>
                    <a:cubicBezTo>
                      <a:pt x="152352" y="209828"/>
                      <a:pt x="157338" y="204868"/>
                      <a:pt x="157338" y="198741"/>
                    </a:cubicBezTo>
                    <a:lnTo>
                      <a:pt x="157338" y="6551"/>
                    </a:lnTo>
                    <a:cubicBezTo>
                      <a:pt x="157338" y="2918"/>
                      <a:pt x="160282" y="0"/>
                      <a:pt x="163889" y="0"/>
                    </a:cubicBezTo>
                    <a:cubicBezTo>
                      <a:pt x="167496" y="0"/>
                      <a:pt x="170441" y="2944"/>
                      <a:pt x="170441" y="6551"/>
                    </a:cubicBezTo>
                    <a:lnTo>
                      <a:pt x="170441" y="198741"/>
                    </a:lnTo>
                    <a:cubicBezTo>
                      <a:pt x="170441" y="212083"/>
                      <a:pt x="159592" y="222931"/>
                      <a:pt x="146251" y="222931"/>
                    </a:cubicBezTo>
                    <a:close/>
                  </a:path>
                </a:pathLst>
              </a:custGeom>
              <a:solidFill>
                <a:schemeClr val="tx2"/>
              </a:solidFill>
              <a:ln w="2651" cap="flat">
                <a:noFill/>
                <a:prstDash val="solid"/>
                <a:miter/>
              </a:ln>
            </p:spPr>
            <p:txBody>
              <a:bodyPr rtlCol="0" anchor="ctr"/>
              <a:lstStyle/>
              <a:p>
                <a:endParaRPr lang="en-GB" dirty="0"/>
              </a:p>
            </p:txBody>
          </p:sp>
        </p:grpSp>
        <p:grpSp>
          <p:nvGrpSpPr>
            <p:cNvPr id="236" name="Group 235">
              <a:extLst>
                <a:ext uri="{FF2B5EF4-FFF2-40B4-BE49-F238E27FC236}">
                  <a16:creationId xmlns:a16="http://schemas.microsoft.com/office/drawing/2014/main" id="{9017A3D2-7C16-400B-B086-69D97352B859}"/>
                </a:ext>
              </a:extLst>
            </p:cNvPr>
            <p:cNvGrpSpPr/>
            <p:nvPr/>
          </p:nvGrpSpPr>
          <p:grpSpPr>
            <a:xfrm>
              <a:off x="903667" y="1631109"/>
              <a:ext cx="116047" cy="180552"/>
              <a:chOff x="3736439" y="1737785"/>
              <a:chExt cx="118003" cy="183596"/>
            </a:xfrm>
          </p:grpSpPr>
          <p:sp>
            <p:nvSpPr>
              <p:cNvPr id="237" name="Freihandform: Form 558">
                <a:extLst>
                  <a:ext uri="{FF2B5EF4-FFF2-40B4-BE49-F238E27FC236}">
                    <a16:creationId xmlns:a16="http://schemas.microsoft.com/office/drawing/2014/main" id="{BC7FFD16-73C8-484F-8C90-CFD31235E68D}"/>
                  </a:ext>
                </a:extLst>
              </p:cNvPr>
              <p:cNvSpPr/>
              <p:nvPr/>
            </p:nvSpPr>
            <p:spPr>
              <a:xfrm>
                <a:off x="3736439" y="1790249"/>
                <a:ext cx="118003" cy="104900"/>
              </a:xfrm>
              <a:custGeom>
                <a:avLst/>
                <a:gdLst>
                  <a:gd name="connsiteX0" fmla="*/ 59015 w 118003"/>
                  <a:gd name="connsiteY0" fmla="*/ 104901 h 104900"/>
                  <a:gd name="connsiteX1" fmla="*/ 0 w 118003"/>
                  <a:gd name="connsiteY1" fmla="*/ 45886 h 104900"/>
                  <a:gd name="connsiteX2" fmla="*/ 0 w 118003"/>
                  <a:gd name="connsiteY2" fmla="*/ 6551 h 104900"/>
                  <a:gd name="connsiteX3" fmla="*/ 6551 w 118003"/>
                  <a:gd name="connsiteY3" fmla="*/ 0 h 104900"/>
                  <a:gd name="connsiteX4" fmla="*/ 111452 w 118003"/>
                  <a:gd name="connsiteY4" fmla="*/ 0 h 104900"/>
                  <a:gd name="connsiteX5" fmla="*/ 118003 w 118003"/>
                  <a:gd name="connsiteY5" fmla="*/ 6551 h 104900"/>
                  <a:gd name="connsiteX6" fmla="*/ 118003 w 118003"/>
                  <a:gd name="connsiteY6" fmla="*/ 45886 h 104900"/>
                  <a:gd name="connsiteX7" fmla="*/ 59015 w 118003"/>
                  <a:gd name="connsiteY7" fmla="*/ 104901 h 104900"/>
                  <a:gd name="connsiteX8" fmla="*/ 13129 w 118003"/>
                  <a:gd name="connsiteY8" fmla="*/ 13103 h 104900"/>
                  <a:gd name="connsiteX9" fmla="*/ 13129 w 118003"/>
                  <a:gd name="connsiteY9" fmla="*/ 45886 h 104900"/>
                  <a:gd name="connsiteX10" fmla="*/ 59015 w 118003"/>
                  <a:gd name="connsiteY10" fmla="*/ 91772 h 104900"/>
                  <a:gd name="connsiteX11" fmla="*/ 104901 w 118003"/>
                  <a:gd name="connsiteY11" fmla="*/ 45886 h 104900"/>
                  <a:gd name="connsiteX12" fmla="*/ 104901 w 118003"/>
                  <a:gd name="connsiteY12" fmla="*/ 13103 h 104900"/>
                  <a:gd name="connsiteX13" fmla="*/ 13129 w 118003"/>
                  <a:gd name="connsiteY13" fmla="*/ 13103 h 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003" h="104900">
                    <a:moveTo>
                      <a:pt x="59015" y="104901"/>
                    </a:moveTo>
                    <a:cubicBezTo>
                      <a:pt x="26470" y="104901"/>
                      <a:pt x="0" y="78430"/>
                      <a:pt x="0" y="45886"/>
                    </a:cubicBezTo>
                    <a:lnTo>
                      <a:pt x="0" y="6551"/>
                    </a:lnTo>
                    <a:cubicBezTo>
                      <a:pt x="0" y="2918"/>
                      <a:pt x="2944" y="0"/>
                      <a:pt x="6551" y="0"/>
                    </a:cubicBezTo>
                    <a:lnTo>
                      <a:pt x="111452" y="0"/>
                    </a:lnTo>
                    <a:cubicBezTo>
                      <a:pt x="115086" y="0"/>
                      <a:pt x="118003" y="2944"/>
                      <a:pt x="118003" y="6551"/>
                    </a:cubicBezTo>
                    <a:lnTo>
                      <a:pt x="118003" y="45886"/>
                    </a:lnTo>
                    <a:cubicBezTo>
                      <a:pt x="118030" y="78430"/>
                      <a:pt x="91559" y="104901"/>
                      <a:pt x="59015" y="104901"/>
                    </a:cubicBezTo>
                    <a:close/>
                    <a:moveTo>
                      <a:pt x="13129" y="13103"/>
                    </a:moveTo>
                    <a:lnTo>
                      <a:pt x="13129" y="45886"/>
                    </a:lnTo>
                    <a:cubicBezTo>
                      <a:pt x="13129" y="71189"/>
                      <a:pt x="33711" y="91772"/>
                      <a:pt x="59015" y="91772"/>
                    </a:cubicBezTo>
                    <a:cubicBezTo>
                      <a:pt x="84319" y="91772"/>
                      <a:pt x="104901" y="71189"/>
                      <a:pt x="104901" y="45886"/>
                    </a:cubicBezTo>
                    <a:lnTo>
                      <a:pt x="104901" y="13103"/>
                    </a:lnTo>
                    <a:lnTo>
                      <a:pt x="13129" y="13103"/>
                    </a:lnTo>
                    <a:close/>
                  </a:path>
                </a:pathLst>
              </a:custGeom>
              <a:solidFill>
                <a:schemeClr val="accent1"/>
              </a:solidFill>
              <a:ln w="2651" cap="flat">
                <a:noFill/>
                <a:prstDash val="solid"/>
                <a:miter/>
              </a:ln>
            </p:spPr>
            <p:txBody>
              <a:bodyPr rtlCol="0" anchor="ctr"/>
              <a:lstStyle/>
              <a:p>
                <a:endParaRPr lang="en-GB" dirty="0"/>
              </a:p>
            </p:txBody>
          </p:sp>
          <p:sp>
            <p:nvSpPr>
              <p:cNvPr id="238" name="Freihandform: Form 559">
                <a:extLst>
                  <a:ext uri="{FF2B5EF4-FFF2-40B4-BE49-F238E27FC236}">
                    <a16:creationId xmlns:a16="http://schemas.microsoft.com/office/drawing/2014/main" id="{CCB6DC4A-E8D7-48F1-A064-65E6D4C00CDC}"/>
                  </a:ext>
                </a:extLst>
              </p:cNvPr>
              <p:cNvSpPr/>
              <p:nvPr/>
            </p:nvSpPr>
            <p:spPr>
              <a:xfrm>
                <a:off x="3775800" y="1908279"/>
                <a:ext cx="39334" cy="13102"/>
              </a:xfrm>
              <a:custGeom>
                <a:avLst/>
                <a:gdLst>
                  <a:gd name="connsiteX0" fmla="*/ 32783 w 39334"/>
                  <a:gd name="connsiteY0" fmla="*/ 13103 h 13102"/>
                  <a:gd name="connsiteX1" fmla="*/ 6552 w 39334"/>
                  <a:gd name="connsiteY1" fmla="*/ 13103 h 13102"/>
                  <a:gd name="connsiteX2" fmla="*/ 0 w 39334"/>
                  <a:gd name="connsiteY2" fmla="*/ 6551 h 13102"/>
                  <a:gd name="connsiteX3" fmla="*/ 6552 w 39334"/>
                  <a:gd name="connsiteY3" fmla="*/ 0 h 13102"/>
                  <a:gd name="connsiteX4" fmla="*/ 32783 w 39334"/>
                  <a:gd name="connsiteY4" fmla="*/ 0 h 13102"/>
                  <a:gd name="connsiteX5" fmla="*/ 39335 w 39334"/>
                  <a:gd name="connsiteY5" fmla="*/ 6551 h 13102"/>
                  <a:gd name="connsiteX6" fmla="*/ 32783 w 39334"/>
                  <a:gd name="connsiteY6" fmla="*/ 13103 h 1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34" h="13102">
                    <a:moveTo>
                      <a:pt x="32783" y="13103"/>
                    </a:moveTo>
                    <a:lnTo>
                      <a:pt x="6552" y="13103"/>
                    </a:lnTo>
                    <a:cubicBezTo>
                      <a:pt x="2918" y="13103"/>
                      <a:pt x="0" y="10159"/>
                      <a:pt x="0" y="6551"/>
                    </a:cubicBezTo>
                    <a:cubicBezTo>
                      <a:pt x="0" y="2918"/>
                      <a:pt x="2944" y="0"/>
                      <a:pt x="6552" y="0"/>
                    </a:cubicBezTo>
                    <a:lnTo>
                      <a:pt x="32783" y="0"/>
                    </a:lnTo>
                    <a:cubicBezTo>
                      <a:pt x="36417" y="0"/>
                      <a:pt x="39335" y="2944"/>
                      <a:pt x="39335" y="6551"/>
                    </a:cubicBezTo>
                    <a:cubicBezTo>
                      <a:pt x="39335" y="10159"/>
                      <a:pt x="36391" y="13103"/>
                      <a:pt x="32783" y="13103"/>
                    </a:cubicBezTo>
                    <a:close/>
                  </a:path>
                </a:pathLst>
              </a:custGeom>
              <a:solidFill>
                <a:schemeClr val="accent1"/>
              </a:solidFill>
              <a:ln w="2651" cap="flat">
                <a:noFill/>
                <a:prstDash val="solid"/>
                <a:miter/>
              </a:ln>
            </p:spPr>
            <p:txBody>
              <a:bodyPr rtlCol="0" anchor="ctr"/>
              <a:lstStyle/>
              <a:p>
                <a:endParaRPr lang="en-GB" dirty="0"/>
              </a:p>
            </p:txBody>
          </p:sp>
          <p:sp>
            <p:nvSpPr>
              <p:cNvPr id="239" name="Freihandform: Form 561">
                <a:extLst>
                  <a:ext uri="{FF2B5EF4-FFF2-40B4-BE49-F238E27FC236}">
                    <a16:creationId xmlns:a16="http://schemas.microsoft.com/office/drawing/2014/main" id="{F007EEE5-7F8B-430F-A64C-10F96A10B9BF}"/>
                  </a:ext>
                </a:extLst>
              </p:cNvPr>
              <p:cNvSpPr/>
              <p:nvPr/>
            </p:nvSpPr>
            <p:spPr>
              <a:xfrm>
                <a:off x="3762671" y="1737785"/>
                <a:ext cx="13102" cy="65566"/>
              </a:xfrm>
              <a:custGeom>
                <a:avLst/>
                <a:gdLst>
                  <a:gd name="connsiteX0" fmla="*/ 6551 w 13102"/>
                  <a:gd name="connsiteY0" fmla="*/ 65566 h 65566"/>
                  <a:gd name="connsiteX1" fmla="*/ 0 w 13102"/>
                  <a:gd name="connsiteY1" fmla="*/ 59015 h 65566"/>
                  <a:gd name="connsiteX2" fmla="*/ 0 w 13102"/>
                  <a:gd name="connsiteY2" fmla="*/ 6551 h 65566"/>
                  <a:gd name="connsiteX3" fmla="*/ 6551 w 13102"/>
                  <a:gd name="connsiteY3" fmla="*/ 0 h 65566"/>
                  <a:gd name="connsiteX4" fmla="*/ 13102 w 13102"/>
                  <a:gd name="connsiteY4" fmla="*/ 6551 h 65566"/>
                  <a:gd name="connsiteX5" fmla="*/ 13102 w 13102"/>
                  <a:gd name="connsiteY5" fmla="*/ 59015 h 65566"/>
                  <a:gd name="connsiteX6" fmla="*/ 6551 w 13102"/>
                  <a:gd name="connsiteY6" fmla="*/ 65566 h 65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2" h="65566">
                    <a:moveTo>
                      <a:pt x="6551" y="65566"/>
                    </a:moveTo>
                    <a:cubicBezTo>
                      <a:pt x="2918" y="65566"/>
                      <a:pt x="0" y="62622"/>
                      <a:pt x="0" y="59015"/>
                    </a:cubicBezTo>
                    <a:lnTo>
                      <a:pt x="0" y="6551"/>
                    </a:lnTo>
                    <a:cubicBezTo>
                      <a:pt x="0" y="2918"/>
                      <a:pt x="2944" y="0"/>
                      <a:pt x="6551" y="0"/>
                    </a:cubicBezTo>
                    <a:cubicBezTo>
                      <a:pt x="10185" y="0"/>
                      <a:pt x="13102" y="2944"/>
                      <a:pt x="13102" y="6551"/>
                    </a:cubicBezTo>
                    <a:lnTo>
                      <a:pt x="13102" y="59015"/>
                    </a:lnTo>
                    <a:cubicBezTo>
                      <a:pt x="13129" y="62622"/>
                      <a:pt x="10185" y="65566"/>
                      <a:pt x="6551" y="65566"/>
                    </a:cubicBezTo>
                    <a:close/>
                  </a:path>
                </a:pathLst>
              </a:custGeom>
              <a:solidFill>
                <a:schemeClr val="accent1"/>
              </a:solidFill>
              <a:ln w="2651" cap="flat">
                <a:noFill/>
                <a:prstDash val="solid"/>
                <a:miter/>
              </a:ln>
            </p:spPr>
            <p:txBody>
              <a:bodyPr rtlCol="0" anchor="ctr"/>
              <a:lstStyle/>
              <a:p>
                <a:endParaRPr lang="en-GB" dirty="0"/>
              </a:p>
            </p:txBody>
          </p:sp>
          <p:sp>
            <p:nvSpPr>
              <p:cNvPr id="240" name="Freihandform: Form 562">
                <a:extLst>
                  <a:ext uri="{FF2B5EF4-FFF2-40B4-BE49-F238E27FC236}">
                    <a16:creationId xmlns:a16="http://schemas.microsoft.com/office/drawing/2014/main" id="{2978203E-C4EA-4545-8308-A0BF76AF7F29}"/>
                  </a:ext>
                </a:extLst>
              </p:cNvPr>
              <p:cNvSpPr/>
              <p:nvPr/>
            </p:nvSpPr>
            <p:spPr>
              <a:xfrm>
                <a:off x="3815134" y="1737785"/>
                <a:ext cx="13102" cy="65566"/>
              </a:xfrm>
              <a:custGeom>
                <a:avLst/>
                <a:gdLst>
                  <a:gd name="connsiteX0" fmla="*/ 6551 w 13102"/>
                  <a:gd name="connsiteY0" fmla="*/ 65566 h 65566"/>
                  <a:gd name="connsiteX1" fmla="*/ 0 w 13102"/>
                  <a:gd name="connsiteY1" fmla="*/ 59015 h 65566"/>
                  <a:gd name="connsiteX2" fmla="*/ 0 w 13102"/>
                  <a:gd name="connsiteY2" fmla="*/ 6551 h 65566"/>
                  <a:gd name="connsiteX3" fmla="*/ 6551 w 13102"/>
                  <a:gd name="connsiteY3" fmla="*/ 0 h 65566"/>
                  <a:gd name="connsiteX4" fmla="*/ 13102 w 13102"/>
                  <a:gd name="connsiteY4" fmla="*/ 6551 h 65566"/>
                  <a:gd name="connsiteX5" fmla="*/ 13102 w 13102"/>
                  <a:gd name="connsiteY5" fmla="*/ 59015 h 65566"/>
                  <a:gd name="connsiteX6" fmla="*/ 6551 w 13102"/>
                  <a:gd name="connsiteY6" fmla="*/ 65566 h 65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2" h="65566">
                    <a:moveTo>
                      <a:pt x="6551" y="65566"/>
                    </a:moveTo>
                    <a:cubicBezTo>
                      <a:pt x="2918" y="65566"/>
                      <a:pt x="0" y="62622"/>
                      <a:pt x="0" y="59015"/>
                    </a:cubicBezTo>
                    <a:lnTo>
                      <a:pt x="0" y="6551"/>
                    </a:lnTo>
                    <a:cubicBezTo>
                      <a:pt x="0" y="2918"/>
                      <a:pt x="2944" y="0"/>
                      <a:pt x="6551" y="0"/>
                    </a:cubicBezTo>
                    <a:cubicBezTo>
                      <a:pt x="10185" y="0"/>
                      <a:pt x="13102" y="2944"/>
                      <a:pt x="13102" y="6551"/>
                    </a:cubicBezTo>
                    <a:lnTo>
                      <a:pt x="13102" y="59015"/>
                    </a:lnTo>
                    <a:cubicBezTo>
                      <a:pt x="13102" y="62622"/>
                      <a:pt x="10185" y="65566"/>
                      <a:pt x="6551" y="65566"/>
                    </a:cubicBezTo>
                    <a:close/>
                  </a:path>
                </a:pathLst>
              </a:custGeom>
              <a:solidFill>
                <a:schemeClr val="accent1"/>
              </a:solidFill>
              <a:ln w="2651"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3265023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0121B33-C7DB-4722-8B91-EC9CB78D573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10" name="Objekt 9" hidden="1">
                        <a:extLst>
                          <a:ext uri="{FF2B5EF4-FFF2-40B4-BE49-F238E27FC236}">
                            <a16:creationId xmlns:a16="http://schemas.microsoft.com/office/drawing/2014/main" id="{60121B33-C7DB-4722-8B91-EC9CB78D57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69A071D4-B4E2-4394-BC74-35C26C57AF43}"/>
              </a:ext>
            </a:extLst>
          </p:cNvPr>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B1823002-8224-4148-A9C5-9A9FE1DEB593}"/>
              </a:ext>
            </a:extLst>
          </p:cNvPr>
          <p:cNvSpPr>
            <a:spLocks noGrp="1"/>
          </p:cNvSpPr>
          <p:nvPr>
            <p:ph type="title"/>
          </p:nvPr>
        </p:nvSpPr>
        <p:spPr/>
        <p:txBody>
          <a:bodyPr vert="horz"/>
          <a:lstStyle/>
          <a:p>
            <a:r>
              <a:rPr lang="en-GB" dirty="0"/>
              <a:t>Use of icons at Munich Re</a:t>
            </a:r>
            <a:br>
              <a:rPr lang="en-GB" dirty="0"/>
            </a:br>
            <a:endParaRPr lang="en-GB" sz="1600" dirty="0"/>
          </a:p>
        </p:txBody>
      </p:sp>
      <p:sp>
        <p:nvSpPr>
          <p:cNvPr id="4" name="Rectangle 3">
            <a:extLst>
              <a:ext uri="{FF2B5EF4-FFF2-40B4-BE49-F238E27FC236}">
                <a16:creationId xmlns:a16="http://schemas.microsoft.com/office/drawing/2014/main" id="{29E0665B-A01A-AE27-CF31-5D76EABE6F44}"/>
              </a:ext>
            </a:extLst>
          </p:cNvPr>
          <p:cNvSpPr/>
          <p:nvPr/>
        </p:nvSpPr>
        <p:spPr>
          <a:xfrm>
            <a:off x="0" y="0"/>
            <a:ext cx="9144000" cy="51435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400" dirty="0">
              <a:solidFill>
                <a:schemeClr val="bg1"/>
              </a:solidFill>
            </a:endParaRPr>
          </a:p>
        </p:txBody>
      </p:sp>
      <p:grpSp>
        <p:nvGrpSpPr>
          <p:cNvPr id="6" name="object 2">
            <a:extLst>
              <a:ext uri="{FF2B5EF4-FFF2-40B4-BE49-F238E27FC236}">
                <a16:creationId xmlns:a16="http://schemas.microsoft.com/office/drawing/2014/main" id="{BBCABC88-716E-9191-A240-C69425BC528E}"/>
              </a:ext>
            </a:extLst>
          </p:cNvPr>
          <p:cNvGrpSpPr/>
          <p:nvPr/>
        </p:nvGrpSpPr>
        <p:grpSpPr>
          <a:xfrm>
            <a:off x="283847" y="1339398"/>
            <a:ext cx="1698199" cy="1696062"/>
            <a:chOff x="288000" y="1944000"/>
            <a:chExt cx="2523490" cy="2520315"/>
          </a:xfrm>
        </p:grpSpPr>
        <p:sp>
          <p:nvSpPr>
            <p:cNvPr id="7" name="object 3">
              <a:extLst>
                <a:ext uri="{FF2B5EF4-FFF2-40B4-BE49-F238E27FC236}">
                  <a16:creationId xmlns:a16="http://schemas.microsoft.com/office/drawing/2014/main" id="{F105CD97-F708-FA22-7A58-55C8A71FA1F8}"/>
                </a:ext>
              </a:extLst>
            </p:cNvPr>
            <p:cNvSpPr/>
            <p:nvPr/>
          </p:nvSpPr>
          <p:spPr>
            <a:xfrm>
              <a:off x="291170" y="1944000"/>
              <a:ext cx="2304415" cy="2235835"/>
            </a:xfrm>
            <a:custGeom>
              <a:avLst/>
              <a:gdLst/>
              <a:ahLst/>
              <a:cxnLst/>
              <a:rect l="l" t="t" r="r" b="b"/>
              <a:pathLst>
                <a:path w="2304415" h="2235835">
                  <a:moveTo>
                    <a:pt x="909463" y="2035162"/>
                  </a:moveTo>
                  <a:lnTo>
                    <a:pt x="638644" y="2035162"/>
                  </a:lnTo>
                  <a:lnTo>
                    <a:pt x="663453" y="2054961"/>
                  </a:lnTo>
                  <a:lnTo>
                    <a:pt x="728417" y="2100837"/>
                  </a:lnTo>
                  <a:lnTo>
                    <a:pt x="768015" y="2125111"/>
                  </a:lnTo>
                  <a:lnTo>
                    <a:pt x="811984" y="2149074"/>
                  </a:lnTo>
                  <a:lnTo>
                    <a:pt x="860047" y="2171824"/>
                  </a:lnTo>
                  <a:lnTo>
                    <a:pt x="911924" y="2192459"/>
                  </a:lnTo>
                  <a:lnTo>
                    <a:pt x="967337" y="2210078"/>
                  </a:lnTo>
                  <a:lnTo>
                    <a:pt x="1026008" y="2223779"/>
                  </a:lnTo>
                  <a:lnTo>
                    <a:pt x="1087656" y="2232661"/>
                  </a:lnTo>
                  <a:lnTo>
                    <a:pt x="1152004" y="2235822"/>
                  </a:lnTo>
                  <a:lnTo>
                    <a:pt x="1216335" y="2232659"/>
                  </a:lnTo>
                  <a:lnTo>
                    <a:pt x="1277972" y="2223773"/>
                  </a:lnTo>
                  <a:lnTo>
                    <a:pt x="1336637" y="2210065"/>
                  </a:lnTo>
                  <a:lnTo>
                    <a:pt x="1392050" y="2192440"/>
                  </a:lnTo>
                  <a:lnTo>
                    <a:pt x="1443930" y="2171798"/>
                  </a:lnTo>
                  <a:lnTo>
                    <a:pt x="1491998" y="2149043"/>
                  </a:lnTo>
                  <a:lnTo>
                    <a:pt x="1535974" y="2125078"/>
                  </a:lnTo>
                  <a:lnTo>
                    <a:pt x="1575578" y="2100804"/>
                  </a:lnTo>
                  <a:lnTo>
                    <a:pt x="1588732" y="2091893"/>
                  </a:lnTo>
                  <a:lnTo>
                    <a:pt x="1152004" y="2091893"/>
                  </a:lnTo>
                  <a:lnTo>
                    <a:pt x="1077782" y="2086468"/>
                  </a:lnTo>
                  <a:lnTo>
                    <a:pt x="1007741" y="2071736"/>
                  </a:lnTo>
                  <a:lnTo>
                    <a:pt x="942724" y="2050010"/>
                  </a:lnTo>
                  <a:lnTo>
                    <a:pt x="909463" y="2035162"/>
                  </a:lnTo>
                  <a:close/>
                </a:path>
                <a:path w="2304415" h="2235835">
                  <a:moveTo>
                    <a:pt x="659168" y="1856524"/>
                  </a:moveTo>
                  <a:lnTo>
                    <a:pt x="610920" y="1885467"/>
                  </a:lnTo>
                  <a:lnTo>
                    <a:pt x="559521" y="1914103"/>
                  </a:lnTo>
                  <a:lnTo>
                    <a:pt x="523617" y="1932803"/>
                  </a:lnTo>
                  <a:lnTo>
                    <a:pt x="480224" y="1954234"/>
                  </a:lnTo>
                  <a:lnTo>
                    <a:pt x="430480" y="1977290"/>
                  </a:lnTo>
                  <a:lnTo>
                    <a:pt x="375522" y="2000864"/>
                  </a:lnTo>
                  <a:lnTo>
                    <a:pt x="316488" y="2023848"/>
                  </a:lnTo>
                  <a:lnTo>
                    <a:pt x="254516" y="2045136"/>
                  </a:lnTo>
                  <a:lnTo>
                    <a:pt x="190743" y="2063620"/>
                  </a:lnTo>
                  <a:lnTo>
                    <a:pt x="126308" y="2078194"/>
                  </a:lnTo>
                  <a:lnTo>
                    <a:pt x="62347" y="2087750"/>
                  </a:lnTo>
                  <a:lnTo>
                    <a:pt x="0" y="2091182"/>
                  </a:lnTo>
                  <a:lnTo>
                    <a:pt x="0" y="2235174"/>
                  </a:lnTo>
                  <a:lnTo>
                    <a:pt x="52951" y="2233109"/>
                  </a:lnTo>
                  <a:lnTo>
                    <a:pt x="106637" y="2227234"/>
                  </a:lnTo>
                  <a:lnTo>
                    <a:pt x="160592" y="2218033"/>
                  </a:lnTo>
                  <a:lnTo>
                    <a:pt x="214351" y="2205987"/>
                  </a:lnTo>
                  <a:lnTo>
                    <a:pt x="267448" y="2191579"/>
                  </a:lnTo>
                  <a:lnTo>
                    <a:pt x="319416" y="2175291"/>
                  </a:lnTo>
                  <a:lnTo>
                    <a:pt x="369790" y="2157604"/>
                  </a:lnTo>
                  <a:lnTo>
                    <a:pt x="418104" y="2139002"/>
                  </a:lnTo>
                  <a:lnTo>
                    <a:pt x="463893" y="2119966"/>
                  </a:lnTo>
                  <a:lnTo>
                    <a:pt x="507062" y="2100804"/>
                  </a:lnTo>
                  <a:lnTo>
                    <a:pt x="546029" y="2082523"/>
                  </a:lnTo>
                  <a:lnTo>
                    <a:pt x="581445" y="2065080"/>
                  </a:lnTo>
                  <a:lnTo>
                    <a:pt x="638644" y="2035162"/>
                  </a:lnTo>
                  <a:lnTo>
                    <a:pt x="909463" y="2035162"/>
                  </a:lnTo>
                  <a:lnTo>
                    <a:pt x="831129" y="1994830"/>
                  </a:lnTo>
                  <a:lnTo>
                    <a:pt x="786234" y="1966002"/>
                  </a:lnTo>
                  <a:lnTo>
                    <a:pt x="749730" y="1939433"/>
                  </a:lnTo>
                  <a:lnTo>
                    <a:pt x="705262" y="1902326"/>
                  </a:lnTo>
                  <a:lnTo>
                    <a:pt x="698982" y="1896414"/>
                  </a:lnTo>
                  <a:lnTo>
                    <a:pt x="659168" y="1856524"/>
                  </a:lnTo>
                  <a:close/>
                </a:path>
                <a:path w="2304415" h="2235835">
                  <a:moveTo>
                    <a:pt x="2020771" y="2035162"/>
                  </a:moveTo>
                  <a:lnTo>
                    <a:pt x="1665363" y="2035162"/>
                  </a:lnTo>
                  <a:lnTo>
                    <a:pt x="1691524" y="2049132"/>
                  </a:lnTo>
                  <a:lnTo>
                    <a:pt x="1757953" y="2082523"/>
                  </a:lnTo>
                  <a:lnTo>
                    <a:pt x="1797290" y="2100979"/>
                  </a:lnTo>
                  <a:lnTo>
                    <a:pt x="1840087" y="2119966"/>
                  </a:lnTo>
                  <a:lnTo>
                    <a:pt x="1885877" y="2139002"/>
                  </a:lnTo>
                  <a:lnTo>
                    <a:pt x="1934194" y="2157604"/>
                  </a:lnTo>
                  <a:lnTo>
                    <a:pt x="1984572" y="2175291"/>
                  </a:lnTo>
                  <a:lnTo>
                    <a:pt x="2036544" y="2191579"/>
                  </a:lnTo>
                  <a:lnTo>
                    <a:pt x="2089645" y="2205987"/>
                  </a:lnTo>
                  <a:lnTo>
                    <a:pt x="2143408" y="2218033"/>
                  </a:lnTo>
                  <a:lnTo>
                    <a:pt x="2197367" y="2227234"/>
                  </a:lnTo>
                  <a:lnTo>
                    <a:pt x="2251056" y="2233109"/>
                  </a:lnTo>
                  <a:lnTo>
                    <a:pt x="2304008" y="2235174"/>
                  </a:lnTo>
                  <a:lnTo>
                    <a:pt x="2304008" y="2091182"/>
                  </a:lnTo>
                  <a:lnTo>
                    <a:pt x="2241803" y="2087750"/>
                  </a:lnTo>
                  <a:lnTo>
                    <a:pt x="2177939" y="2078194"/>
                  </a:lnTo>
                  <a:lnTo>
                    <a:pt x="2113560" y="2063620"/>
                  </a:lnTo>
                  <a:lnTo>
                    <a:pt x="2049810" y="2045136"/>
                  </a:lnTo>
                  <a:lnTo>
                    <a:pt x="2020771" y="2035162"/>
                  </a:lnTo>
                  <a:close/>
                </a:path>
                <a:path w="2304415" h="2235835">
                  <a:moveTo>
                    <a:pt x="1644777" y="1856524"/>
                  </a:moveTo>
                  <a:lnTo>
                    <a:pt x="1605026" y="1896414"/>
                  </a:lnTo>
                  <a:lnTo>
                    <a:pt x="1554543" y="1939495"/>
                  </a:lnTo>
                  <a:lnTo>
                    <a:pt x="1518211" y="1966062"/>
                  </a:lnTo>
                  <a:lnTo>
                    <a:pt x="1473474" y="1994882"/>
                  </a:lnTo>
                  <a:lnTo>
                    <a:pt x="1421141" y="2023644"/>
                  </a:lnTo>
                  <a:lnTo>
                    <a:pt x="1362019" y="2050037"/>
                  </a:lnTo>
                  <a:lnTo>
                    <a:pt x="1296916" y="2071749"/>
                  </a:lnTo>
                  <a:lnTo>
                    <a:pt x="1226642" y="2086472"/>
                  </a:lnTo>
                  <a:lnTo>
                    <a:pt x="1152004" y="2091893"/>
                  </a:lnTo>
                  <a:lnTo>
                    <a:pt x="1588732" y="2091893"/>
                  </a:lnTo>
                  <a:lnTo>
                    <a:pt x="1610531" y="2077125"/>
                  </a:lnTo>
                  <a:lnTo>
                    <a:pt x="1640553" y="2054944"/>
                  </a:lnTo>
                  <a:lnTo>
                    <a:pt x="1665363" y="2035162"/>
                  </a:lnTo>
                  <a:lnTo>
                    <a:pt x="2020771" y="2035162"/>
                  </a:lnTo>
                  <a:lnTo>
                    <a:pt x="1928769" y="2000864"/>
                  </a:lnTo>
                  <a:lnTo>
                    <a:pt x="1873765" y="1977290"/>
                  </a:lnTo>
                  <a:lnTo>
                    <a:pt x="1823963" y="1954234"/>
                  </a:lnTo>
                  <a:lnTo>
                    <a:pt x="1780507" y="1932803"/>
                  </a:lnTo>
                  <a:lnTo>
                    <a:pt x="1744541" y="1914103"/>
                  </a:lnTo>
                  <a:lnTo>
                    <a:pt x="1699649" y="1889328"/>
                  </a:lnTo>
                  <a:lnTo>
                    <a:pt x="1693011" y="1885467"/>
                  </a:lnTo>
                  <a:lnTo>
                    <a:pt x="1644777" y="1856524"/>
                  </a:lnTo>
                  <a:close/>
                </a:path>
                <a:path w="2304415" h="2235835">
                  <a:moveTo>
                    <a:pt x="1224000" y="1185989"/>
                  </a:moveTo>
                  <a:lnTo>
                    <a:pt x="1080008" y="1185989"/>
                  </a:lnTo>
                  <a:lnTo>
                    <a:pt x="1080008" y="1940699"/>
                  </a:lnTo>
                  <a:lnTo>
                    <a:pt x="1097643" y="1943351"/>
                  </a:lnTo>
                  <a:lnTo>
                    <a:pt x="1115491" y="1945395"/>
                  </a:lnTo>
                  <a:lnTo>
                    <a:pt x="1133596" y="1946711"/>
                  </a:lnTo>
                  <a:lnTo>
                    <a:pt x="1152004" y="1947176"/>
                  </a:lnTo>
                  <a:lnTo>
                    <a:pt x="1170452" y="1946711"/>
                  </a:lnTo>
                  <a:lnTo>
                    <a:pt x="1188569" y="1945395"/>
                  </a:lnTo>
                  <a:lnTo>
                    <a:pt x="1206402" y="1943351"/>
                  </a:lnTo>
                  <a:lnTo>
                    <a:pt x="1224000" y="1940699"/>
                  </a:lnTo>
                  <a:lnTo>
                    <a:pt x="1224000" y="1185989"/>
                  </a:lnTo>
                  <a:close/>
                </a:path>
                <a:path w="2304415" h="2235835">
                  <a:moveTo>
                    <a:pt x="1645528" y="1185989"/>
                  </a:moveTo>
                  <a:lnTo>
                    <a:pt x="1224000" y="1185989"/>
                  </a:lnTo>
                  <a:lnTo>
                    <a:pt x="1843493" y="1411274"/>
                  </a:lnTo>
                  <a:lnTo>
                    <a:pt x="1689265" y="1719732"/>
                  </a:lnTo>
                  <a:lnTo>
                    <a:pt x="1707900" y="1731153"/>
                  </a:lnTo>
                  <a:lnTo>
                    <a:pt x="1735620" y="1747556"/>
                  </a:lnTo>
                  <a:lnTo>
                    <a:pt x="1771464" y="1767900"/>
                  </a:lnTo>
                  <a:lnTo>
                    <a:pt x="1814474" y="1791144"/>
                  </a:lnTo>
                  <a:lnTo>
                    <a:pt x="2044522" y="1331074"/>
                  </a:lnTo>
                  <a:lnTo>
                    <a:pt x="1800009" y="1242148"/>
                  </a:lnTo>
                  <a:lnTo>
                    <a:pt x="1800009" y="1189799"/>
                  </a:lnTo>
                  <a:lnTo>
                    <a:pt x="1656003" y="1189799"/>
                  </a:lnTo>
                  <a:lnTo>
                    <a:pt x="1645528" y="1185989"/>
                  </a:lnTo>
                  <a:close/>
                </a:path>
                <a:path w="2304415" h="2235835">
                  <a:moveTo>
                    <a:pt x="1800009" y="578599"/>
                  </a:moveTo>
                  <a:lnTo>
                    <a:pt x="503999" y="578599"/>
                  </a:lnTo>
                  <a:lnTo>
                    <a:pt x="503999" y="1242148"/>
                  </a:lnTo>
                  <a:lnTo>
                    <a:pt x="259486" y="1331137"/>
                  </a:lnTo>
                  <a:lnTo>
                    <a:pt x="488594" y="1789417"/>
                  </a:lnTo>
                  <a:lnTo>
                    <a:pt x="533917" y="1764286"/>
                  </a:lnTo>
                  <a:lnTo>
                    <a:pt x="570639" y="1742838"/>
                  </a:lnTo>
                  <a:lnTo>
                    <a:pt x="597479" y="1726464"/>
                  </a:lnTo>
                  <a:lnTo>
                    <a:pt x="613156" y="1716557"/>
                  </a:lnTo>
                  <a:lnTo>
                    <a:pt x="460514" y="1411274"/>
                  </a:lnTo>
                  <a:lnTo>
                    <a:pt x="1069531" y="1189799"/>
                  </a:lnTo>
                  <a:lnTo>
                    <a:pt x="648004" y="1189799"/>
                  </a:lnTo>
                  <a:lnTo>
                    <a:pt x="646353" y="723176"/>
                  </a:lnTo>
                  <a:lnTo>
                    <a:pt x="1800009" y="723176"/>
                  </a:lnTo>
                  <a:lnTo>
                    <a:pt x="1800009" y="578599"/>
                  </a:lnTo>
                  <a:close/>
                </a:path>
                <a:path w="2304415" h="2235835">
                  <a:moveTo>
                    <a:pt x="1152004" y="1006487"/>
                  </a:moveTo>
                  <a:lnTo>
                    <a:pt x="648004" y="1189799"/>
                  </a:lnTo>
                  <a:lnTo>
                    <a:pt x="1069531" y="1189799"/>
                  </a:lnTo>
                  <a:lnTo>
                    <a:pt x="1080008" y="1185989"/>
                  </a:lnTo>
                  <a:lnTo>
                    <a:pt x="1645528" y="1185989"/>
                  </a:lnTo>
                  <a:lnTo>
                    <a:pt x="1152004" y="1006487"/>
                  </a:lnTo>
                  <a:close/>
                </a:path>
                <a:path w="2304415" h="2235835">
                  <a:moveTo>
                    <a:pt x="1800009" y="723176"/>
                  </a:moveTo>
                  <a:lnTo>
                    <a:pt x="1654352" y="723176"/>
                  </a:lnTo>
                  <a:lnTo>
                    <a:pt x="1656003" y="1189799"/>
                  </a:lnTo>
                  <a:lnTo>
                    <a:pt x="1800009" y="1189799"/>
                  </a:lnTo>
                  <a:lnTo>
                    <a:pt x="1800009" y="723176"/>
                  </a:lnTo>
                  <a:close/>
                </a:path>
                <a:path w="2304415" h="2235835">
                  <a:moveTo>
                    <a:pt x="1656003" y="147167"/>
                  </a:moveTo>
                  <a:lnTo>
                    <a:pt x="648004" y="147167"/>
                  </a:lnTo>
                  <a:lnTo>
                    <a:pt x="648004" y="578599"/>
                  </a:lnTo>
                  <a:lnTo>
                    <a:pt x="792010" y="578599"/>
                  </a:lnTo>
                  <a:lnTo>
                    <a:pt x="792010" y="435178"/>
                  </a:lnTo>
                  <a:lnTo>
                    <a:pt x="1656003" y="435178"/>
                  </a:lnTo>
                  <a:lnTo>
                    <a:pt x="1656003" y="147167"/>
                  </a:lnTo>
                  <a:close/>
                </a:path>
                <a:path w="2304415" h="2235835">
                  <a:moveTo>
                    <a:pt x="1656003" y="435178"/>
                  </a:moveTo>
                  <a:lnTo>
                    <a:pt x="1512011" y="435178"/>
                  </a:lnTo>
                  <a:lnTo>
                    <a:pt x="1512011" y="578599"/>
                  </a:lnTo>
                  <a:lnTo>
                    <a:pt x="1656003" y="578599"/>
                  </a:lnTo>
                  <a:lnTo>
                    <a:pt x="1656003" y="435178"/>
                  </a:lnTo>
                  <a:close/>
                </a:path>
                <a:path w="2304415" h="2235835">
                  <a:moveTo>
                    <a:pt x="1368005" y="0"/>
                  </a:moveTo>
                  <a:lnTo>
                    <a:pt x="936002" y="0"/>
                  </a:lnTo>
                  <a:lnTo>
                    <a:pt x="936002" y="147167"/>
                  </a:lnTo>
                  <a:lnTo>
                    <a:pt x="1368005" y="147167"/>
                  </a:lnTo>
                  <a:lnTo>
                    <a:pt x="1368005" y="0"/>
                  </a:lnTo>
                  <a:close/>
                </a:path>
              </a:pathLst>
            </a:custGeom>
            <a:solidFill>
              <a:srgbClr val="3350B8"/>
            </a:solidFill>
          </p:spPr>
          <p:txBody>
            <a:bodyPr wrap="square" lIns="0" tIns="0" rIns="0" bIns="0" rtlCol="0"/>
            <a:lstStyle/>
            <a:p>
              <a:endParaRPr/>
            </a:p>
          </p:txBody>
        </p:sp>
        <p:sp>
          <p:nvSpPr>
            <p:cNvPr id="8" name="object 4">
              <a:extLst>
                <a:ext uri="{FF2B5EF4-FFF2-40B4-BE49-F238E27FC236}">
                  <a16:creationId xmlns:a16="http://schemas.microsoft.com/office/drawing/2014/main" id="{1D427A3B-F990-319D-4AEF-A76F10A7077F}"/>
                </a:ext>
              </a:extLst>
            </p:cNvPr>
            <p:cNvSpPr/>
            <p:nvPr/>
          </p:nvSpPr>
          <p:spPr>
            <a:xfrm>
              <a:off x="291175" y="1959869"/>
              <a:ext cx="0" cy="2494915"/>
            </a:xfrm>
            <a:custGeom>
              <a:avLst/>
              <a:gdLst/>
              <a:ahLst/>
              <a:cxnLst/>
              <a:rect l="l" t="t" r="r" b="b"/>
              <a:pathLst>
                <a:path h="2494915">
                  <a:moveTo>
                    <a:pt x="0" y="0"/>
                  </a:moveTo>
                  <a:lnTo>
                    <a:pt x="0" y="2494610"/>
                  </a:lnTo>
                </a:path>
              </a:pathLst>
            </a:custGeom>
            <a:ln w="6350">
              <a:solidFill>
                <a:srgbClr val="899AD4"/>
              </a:solidFill>
              <a:prstDash val="dot"/>
            </a:ln>
          </p:spPr>
          <p:txBody>
            <a:bodyPr wrap="square" lIns="0" tIns="0" rIns="0" bIns="0" rtlCol="0"/>
            <a:lstStyle/>
            <a:p>
              <a:endParaRPr/>
            </a:p>
          </p:txBody>
        </p:sp>
        <p:sp>
          <p:nvSpPr>
            <p:cNvPr id="11" name="object 5">
              <a:extLst>
                <a:ext uri="{FF2B5EF4-FFF2-40B4-BE49-F238E27FC236}">
                  <a16:creationId xmlns:a16="http://schemas.microsoft.com/office/drawing/2014/main" id="{F507B9C8-3F51-9DCC-5BBF-C583566EE89A}"/>
                </a:ext>
              </a:extLst>
            </p:cNvPr>
            <p:cNvSpPr/>
            <p:nvPr/>
          </p:nvSpPr>
          <p:spPr>
            <a:xfrm>
              <a:off x="287997" y="1944001"/>
              <a:ext cx="6350" cy="2520315"/>
            </a:xfrm>
            <a:custGeom>
              <a:avLst/>
              <a:gdLst/>
              <a:ahLst/>
              <a:cxnLst/>
              <a:rect l="l" t="t" r="r" b="b"/>
              <a:pathLst>
                <a:path w="6350" h="2520315">
                  <a:moveTo>
                    <a:pt x="6350" y="2516822"/>
                  </a:moveTo>
                  <a:lnTo>
                    <a:pt x="5410" y="2514587"/>
                  </a:lnTo>
                  <a:lnTo>
                    <a:pt x="3175" y="2513647"/>
                  </a:lnTo>
                  <a:lnTo>
                    <a:pt x="927" y="2514587"/>
                  </a:lnTo>
                  <a:lnTo>
                    <a:pt x="0" y="2516822"/>
                  </a:lnTo>
                  <a:lnTo>
                    <a:pt x="927" y="2519070"/>
                  </a:lnTo>
                  <a:lnTo>
                    <a:pt x="3175" y="2519997"/>
                  </a:lnTo>
                  <a:lnTo>
                    <a:pt x="5410" y="2519070"/>
                  </a:lnTo>
                  <a:lnTo>
                    <a:pt x="6350" y="2516822"/>
                  </a:lnTo>
                  <a:close/>
                </a:path>
                <a:path w="6350" h="2520315">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17" name="object 6">
              <a:extLst>
                <a:ext uri="{FF2B5EF4-FFF2-40B4-BE49-F238E27FC236}">
                  <a16:creationId xmlns:a16="http://schemas.microsoft.com/office/drawing/2014/main" id="{872155E5-7212-1CD3-5137-5B057AC24927}"/>
                </a:ext>
              </a:extLst>
            </p:cNvPr>
            <p:cNvSpPr/>
            <p:nvPr/>
          </p:nvSpPr>
          <p:spPr>
            <a:xfrm>
              <a:off x="300697" y="1947180"/>
              <a:ext cx="2494915" cy="0"/>
            </a:xfrm>
            <a:custGeom>
              <a:avLst/>
              <a:gdLst/>
              <a:ahLst/>
              <a:cxnLst/>
              <a:rect l="l" t="t" r="r" b="b"/>
              <a:pathLst>
                <a:path w="2494915">
                  <a:moveTo>
                    <a:pt x="2494610" y="0"/>
                  </a:moveTo>
                  <a:lnTo>
                    <a:pt x="0" y="0"/>
                  </a:lnTo>
                </a:path>
              </a:pathLst>
            </a:custGeom>
            <a:ln w="6350">
              <a:solidFill>
                <a:srgbClr val="899AD4"/>
              </a:solidFill>
              <a:prstDash val="dot"/>
            </a:ln>
          </p:spPr>
          <p:txBody>
            <a:bodyPr wrap="square" lIns="0" tIns="0" rIns="0" bIns="0" rtlCol="0"/>
            <a:lstStyle/>
            <a:p>
              <a:endParaRPr/>
            </a:p>
          </p:txBody>
        </p:sp>
        <p:sp>
          <p:nvSpPr>
            <p:cNvPr id="18" name="object 7">
              <a:extLst>
                <a:ext uri="{FF2B5EF4-FFF2-40B4-BE49-F238E27FC236}">
                  <a16:creationId xmlns:a16="http://schemas.microsoft.com/office/drawing/2014/main" id="{95F4D3DA-66C6-93F4-A652-18EE4BC7296B}"/>
                </a:ext>
              </a:extLst>
            </p:cNvPr>
            <p:cNvSpPr/>
            <p:nvPr/>
          </p:nvSpPr>
          <p:spPr>
            <a:xfrm>
              <a:off x="291185" y="1944014"/>
              <a:ext cx="2520315" cy="6350"/>
            </a:xfrm>
            <a:custGeom>
              <a:avLst/>
              <a:gdLst/>
              <a:ahLst/>
              <a:cxnLst/>
              <a:rect l="l" t="t" r="r" b="b"/>
              <a:pathLst>
                <a:path w="2520315" h="6350">
                  <a:moveTo>
                    <a:pt x="6350" y="3175"/>
                  </a:moveTo>
                  <a:lnTo>
                    <a:pt x="5410" y="927"/>
                  </a:lnTo>
                  <a:lnTo>
                    <a:pt x="3175" y="0"/>
                  </a:lnTo>
                  <a:lnTo>
                    <a:pt x="927" y="927"/>
                  </a:lnTo>
                  <a:lnTo>
                    <a:pt x="0" y="3175"/>
                  </a:lnTo>
                  <a:lnTo>
                    <a:pt x="927" y="5422"/>
                  </a:lnTo>
                  <a:lnTo>
                    <a:pt x="3175" y="6350"/>
                  </a:lnTo>
                  <a:lnTo>
                    <a:pt x="5410" y="5422"/>
                  </a:lnTo>
                  <a:lnTo>
                    <a:pt x="6350" y="3175"/>
                  </a:lnTo>
                  <a:close/>
                </a:path>
                <a:path w="2520315" h="6350">
                  <a:moveTo>
                    <a:pt x="2519997" y="3175"/>
                  </a:moveTo>
                  <a:lnTo>
                    <a:pt x="2519057" y="927"/>
                  </a:lnTo>
                  <a:lnTo>
                    <a:pt x="2516822" y="0"/>
                  </a:lnTo>
                  <a:lnTo>
                    <a:pt x="2514574" y="927"/>
                  </a:lnTo>
                  <a:lnTo>
                    <a:pt x="2513647" y="3175"/>
                  </a:lnTo>
                  <a:lnTo>
                    <a:pt x="2514574" y="5422"/>
                  </a:lnTo>
                  <a:lnTo>
                    <a:pt x="2516822" y="6350"/>
                  </a:lnTo>
                  <a:lnTo>
                    <a:pt x="2519057" y="5422"/>
                  </a:lnTo>
                  <a:lnTo>
                    <a:pt x="2519997" y="3175"/>
                  </a:lnTo>
                  <a:close/>
                </a:path>
              </a:pathLst>
            </a:custGeom>
            <a:solidFill>
              <a:srgbClr val="899AD4"/>
            </a:solidFill>
          </p:spPr>
          <p:txBody>
            <a:bodyPr wrap="square" lIns="0" tIns="0" rIns="0" bIns="0" rtlCol="0"/>
            <a:lstStyle/>
            <a:p>
              <a:endParaRPr/>
            </a:p>
          </p:txBody>
        </p:sp>
        <p:sp>
          <p:nvSpPr>
            <p:cNvPr id="19" name="object 8">
              <a:extLst>
                <a:ext uri="{FF2B5EF4-FFF2-40B4-BE49-F238E27FC236}">
                  <a16:creationId xmlns:a16="http://schemas.microsoft.com/office/drawing/2014/main" id="{668DC2FE-9A45-64DF-4434-208D1827038B}"/>
                </a:ext>
              </a:extLst>
            </p:cNvPr>
            <p:cNvSpPr/>
            <p:nvPr/>
          </p:nvSpPr>
          <p:spPr>
            <a:xfrm>
              <a:off x="300697" y="4248005"/>
              <a:ext cx="2494915" cy="0"/>
            </a:xfrm>
            <a:custGeom>
              <a:avLst/>
              <a:gdLst/>
              <a:ahLst/>
              <a:cxnLst/>
              <a:rect l="l" t="t" r="r" b="b"/>
              <a:pathLst>
                <a:path w="2494915">
                  <a:moveTo>
                    <a:pt x="2494610" y="0"/>
                  </a:moveTo>
                  <a:lnTo>
                    <a:pt x="0" y="0"/>
                  </a:lnTo>
                </a:path>
              </a:pathLst>
            </a:custGeom>
            <a:ln w="6350">
              <a:solidFill>
                <a:srgbClr val="899AD4"/>
              </a:solidFill>
              <a:prstDash val="dot"/>
            </a:ln>
          </p:spPr>
          <p:txBody>
            <a:bodyPr wrap="square" lIns="0" tIns="0" rIns="0" bIns="0" rtlCol="0"/>
            <a:lstStyle/>
            <a:p>
              <a:endParaRPr/>
            </a:p>
          </p:txBody>
        </p:sp>
        <p:sp>
          <p:nvSpPr>
            <p:cNvPr id="20" name="object 9">
              <a:extLst>
                <a:ext uri="{FF2B5EF4-FFF2-40B4-BE49-F238E27FC236}">
                  <a16:creationId xmlns:a16="http://schemas.microsoft.com/office/drawing/2014/main" id="{666DD871-CC75-68BF-DBC3-1871E5340415}"/>
                </a:ext>
              </a:extLst>
            </p:cNvPr>
            <p:cNvSpPr/>
            <p:nvPr/>
          </p:nvSpPr>
          <p:spPr>
            <a:xfrm>
              <a:off x="291185" y="4244835"/>
              <a:ext cx="2520315" cy="6350"/>
            </a:xfrm>
            <a:custGeom>
              <a:avLst/>
              <a:gdLst/>
              <a:ahLst/>
              <a:cxnLst/>
              <a:rect l="l" t="t" r="r" b="b"/>
              <a:pathLst>
                <a:path w="2520315" h="6350">
                  <a:moveTo>
                    <a:pt x="6350" y="3175"/>
                  </a:moveTo>
                  <a:lnTo>
                    <a:pt x="5410" y="927"/>
                  </a:lnTo>
                  <a:lnTo>
                    <a:pt x="3175" y="0"/>
                  </a:lnTo>
                  <a:lnTo>
                    <a:pt x="927" y="927"/>
                  </a:lnTo>
                  <a:lnTo>
                    <a:pt x="0" y="3175"/>
                  </a:lnTo>
                  <a:lnTo>
                    <a:pt x="927" y="5422"/>
                  </a:lnTo>
                  <a:lnTo>
                    <a:pt x="3175" y="6350"/>
                  </a:lnTo>
                  <a:lnTo>
                    <a:pt x="5410" y="5422"/>
                  </a:lnTo>
                  <a:lnTo>
                    <a:pt x="6350" y="3175"/>
                  </a:lnTo>
                  <a:close/>
                </a:path>
                <a:path w="2520315" h="6350">
                  <a:moveTo>
                    <a:pt x="2519997" y="3175"/>
                  </a:moveTo>
                  <a:lnTo>
                    <a:pt x="2519057" y="927"/>
                  </a:lnTo>
                  <a:lnTo>
                    <a:pt x="2516822" y="0"/>
                  </a:lnTo>
                  <a:lnTo>
                    <a:pt x="2514574" y="927"/>
                  </a:lnTo>
                  <a:lnTo>
                    <a:pt x="2513647" y="3175"/>
                  </a:lnTo>
                  <a:lnTo>
                    <a:pt x="2514574" y="5422"/>
                  </a:lnTo>
                  <a:lnTo>
                    <a:pt x="2516822" y="6350"/>
                  </a:lnTo>
                  <a:lnTo>
                    <a:pt x="2519057" y="5422"/>
                  </a:lnTo>
                  <a:lnTo>
                    <a:pt x="2519997" y="3175"/>
                  </a:lnTo>
                  <a:close/>
                </a:path>
              </a:pathLst>
            </a:custGeom>
            <a:solidFill>
              <a:srgbClr val="899AD4"/>
            </a:solidFill>
          </p:spPr>
          <p:txBody>
            <a:bodyPr wrap="square" lIns="0" tIns="0" rIns="0" bIns="0" rtlCol="0"/>
            <a:lstStyle/>
            <a:p>
              <a:endParaRPr/>
            </a:p>
          </p:txBody>
        </p:sp>
        <p:sp>
          <p:nvSpPr>
            <p:cNvPr id="21" name="object 10">
              <a:extLst>
                <a:ext uri="{FF2B5EF4-FFF2-40B4-BE49-F238E27FC236}">
                  <a16:creationId xmlns:a16="http://schemas.microsoft.com/office/drawing/2014/main" id="{F089E82B-D8BD-6218-F39D-AE956E9D0486}"/>
                </a:ext>
              </a:extLst>
            </p:cNvPr>
            <p:cNvSpPr/>
            <p:nvPr/>
          </p:nvSpPr>
          <p:spPr>
            <a:xfrm>
              <a:off x="363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22" name="object 11">
              <a:extLst>
                <a:ext uri="{FF2B5EF4-FFF2-40B4-BE49-F238E27FC236}">
                  <a16:creationId xmlns:a16="http://schemas.microsoft.com/office/drawing/2014/main" id="{10D19EEE-7DC0-0CE6-A86B-F4108C95207F}"/>
                </a:ext>
              </a:extLst>
            </p:cNvPr>
            <p:cNvSpPr/>
            <p:nvPr/>
          </p:nvSpPr>
          <p:spPr>
            <a:xfrm>
              <a:off x="359994"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23" name="object 12">
              <a:extLst>
                <a:ext uri="{FF2B5EF4-FFF2-40B4-BE49-F238E27FC236}">
                  <a16:creationId xmlns:a16="http://schemas.microsoft.com/office/drawing/2014/main" id="{B1686E79-66D9-FEFF-BD1F-07A0211D9495}"/>
                </a:ext>
              </a:extLst>
            </p:cNvPr>
            <p:cNvSpPr/>
            <p:nvPr/>
          </p:nvSpPr>
          <p:spPr>
            <a:xfrm>
              <a:off x="435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24" name="object 13">
              <a:extLst>
                <a:ext uri="{FF2B5EF4-FFF2-40B4-BE49-F238E27FC236}">
                  <a16:creationId xmlns:a16="http://schemas.microsoft.com/office/drawing/2014/main" id="{74F0B1FF-13D2-35FA-2343-C470D8D2C509}"/>
                </a:ext>
              </a:extLst>
            </p:cNvPr>
            <p:cNvSpPr/>
            <p:nvPr/>
          </p:nvSpPr>
          <p:spPr>
            <a:xfrm>
              <a:off x="431990"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25" name="object 14">
              <a:extLst>
                <a:ext uri="{FF2B5EF4-FFF2-40B4-BE49-F238E27FC236}">
                  <a16:creationId xmlns:a16="http://schemas.microsoft.com/office/drawing/2014/main" id="{B5054C2E-4C09-D0DD-259F-029D75DBE6C2}"/>
                </a:ext>
              </a:extLst>
            </p:cNvPr>
            <p:cNvSpPr/>
            <p:nvPr/>
          </p:nvSpPr>
          <p:spPr>
            <a:xfrm>
              <a:off x="507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26" name="object 15">
              <a:extLst>
                <a:ext uri="{FF2B5EF4-FFF2-40B4-BE49-F238E27FC236}">
                  <a16:creationId xmlns:a16="http://schemas.microsoft.com/office/drawing/2014/main" id="{B81D6491-1A1D-3CFF-E4FC-3C7ECFA1E0FA}"/>
                </a:ext>
              </a:extLst>
            </p:cNvPr>
            <p:cNvSpPr/>
            <p:nvPr/>
          </p:nvSpPr>
          <p:spPr>
            <a:xfrm>
              <a:off x="503999"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27" name="object 16">
              <a:extLst>
                <a:ext uri="{FF2B5EF4-FFF2-40B4-BE49-F238E27FC236}">
                  <a16:creationId xmlns:a16="http://schemas.microsoft.com/office/drawing/2014/main" id="{39E0C111-F75B-69C7-D0D6-7F4C079F3846}"/>
                </a:ext>
              </a:extLst>
            </p:cNvPr>
            <p:cNvSpPr/>
            <p:nvPr/>
          </p:nvSpPr>
          <p:spPr>
            <a:xfrm>
              <a:off x="579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2" name="object 17">
              <a:extLst>
                <a:ext uri="{FF2B5EF4-FFF2-40B4-BE49-F238E27FC236}">
                  <a16:creationId xmlns:a16="http://schemas.microsoft.com/office/drawing/2014/main" id="{72ED9B6F-7DC8-CFEC-A3D9-918A5ECB909A}"/>
                </a:ext>
              </a:extLst>
            </p:cNvPr>
            <p:cNvSpPr/>
            <p:nvPr/>
          </p:nvSpPr>
          <p:spPr>
            <a:xfrm>
              <a:off x="575995"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3" name="object 18">
              <a:extLst>
                <a:ext uri="{FF2B5EF4-FFF2-40B4-BE49-F238E27FC236}">
                  <a16:creationId xmlns:a16="http://schemas.microsoft.com/office/drawing/2014/main" id="{89A66881-22CC-A6F3-2D2F-A36F52076F31}"/>
                </a:ext>
              </a:extLst>
            </p:cNvPr>
            <p:cNvSpPr/>
            <p:nvPr/>
          </p:nvSpPr>
          <p:spPr>
            <a:xfrm>
              <a:off x="651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4" name="object 19">
              <a:extLst>
                <a:ext uri="{FF2B5EF4-FFF2-40B4-BE49-F238E27FC236}">
                  <a16:creationId xmlns:a16="http://schemas.microsoft.com/office/drawing/2014/main" id="{21CEDA62-3CA7-B752-0510-139438E16520}"/>
                </a:ext>
              </a:extLst>
            </p:cNvPr>
            <p:cNvSpPr/>
            <p:nvPr/>
          </p:nvSpPr>
          <p:spPr>
            <a:xfrm>
              <a:off x="647992"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5" name="object 20">
              <a:extLst>
                <a:ext uri="{FF2B5EF4-FFF2-40B4-BE49-F238E27FC236}">
                  <a16:creationId xmlns:a16="http://schemas.microsoft.com/office/drawing/2014/main" id="{6FB5EE0F-B22A-7082-E211-30F9FEEDC025}"/>
                </a:ext>
              </a:extLst>
            </p:cNvPr>
            <p:cNvSpPr/>
            <p:nvPr/>
          </p:nvSpPr>
          <p:spPr>
            <a:xfrm>
              <a:off x="723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6" name="object 21">
              <a:extLst>
                <a:ext uri="{FF2B5EF4-FFF2-40B4-BE49-F238E27FC236}">
                  <a16:creationId xmlns:a16="http://schemas.microsoft.com/office/drawing/2014/main" id="{FDA2967B-46CF-901A-D46E-4A6483F975D5}"/>
                </a:ext>
              </a:extLst>
            </p:cNvPr>
            <p:cNvSpPr/>
            <p:nvPr/>
          </p:nvSpPr>
          <p:spPr>
            <a:xfrm>
              <a:off x="719988" y="1954796"/>
              <a:ext cx="6350" cy="2293620"/>
            </a:xfrm>
            <a:custGeom>
              <a:avLst/>
              <a:gdLst/>
              <a:ahLst/>
              <a:cxnLst/>
              <a:rect l="l" t="t" r="r" b="b"/>
              <a:pathLst>
                <a:path w="6350" h="2293620">
                  <a:moveTo>
                    <a:pt x="6350" y="2290026"/>
                  </a:moveTo>
                  <a:lnTo>
                    <a:pt x="5422" y="2287790"/>
                  </a:lnTo>
                  <a:lnTo>
                    <a:pt x="3175" y="2286851"/>
                  </a:lnTo>
                  <a:lnTo>
                    <a:pt x="939" y="2287790"/>
                  </a:lnTo>
                  <a:lnTo>
                    <a:pt x="0" y="2290026"/>
                  </a:lnTo>
                  <a:lnTo>
                    <a:pt x="939" y="2292273"/>
                  </a:lnTo>
                  <a:lnTo>
                    <a:pt x="3175" y="2293201"/>
                  </a:lnTo>
                  <a:lnTo>
                    <a:pt x="5422" y="2292273"/>
                  </a:lnTo>
                  <a:lnTo>
                    <a:pt x="6350" y="2290026"/>
                  </a:lnTo>
                  <a:close/>
                </a:path>
                <a:path w="6350" h="2293620">
                  <a:moveTo>
                    <a:pt x="6350" y="3175"/>
                  </a:moveTo>
                  <a:lnTo>
                    <a:pt x="5422" y="939"/>
                  </a:lnTo>
                  <a:lnTo>
                    <a:pt x="3175" y="0"/>
                  </a:lnTo>
                  <a:lnTo>
                    <a:pt x="939" y="939"/>
                  </a:lnTo>
                  <a:lnTo>
                    <a:pt x="0" y="3175"/>
                  </a:lnTo>
                  <a:lnTo>
                    <a:pt x="939"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37" name="object 22">
              <a:extLst>
                <a:ext uri="{FF2B5EF4-FFF2-40B4-BE49-F238E27FC236}">
                  <a16:creationId xmlns:a16="http://schemas.microsoft.com/office/drawing/2014/main" id="{476C43EE-512A-C742-1D5A-55C5590124F1}"/>
                </a:ext>
              </a:extLst>
            </p:cNvPr>
            <p:cNvSpPr/>
            <p:nvPr/>
          </p:nvSpPr>
          <p:spPr>
            <a:xfrm>
              <a:off x="795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38" name="object 23">
              <a:extLst>
                <a:ext uri="{FF2B5EF4-FFF2-40B4-BE49-F238E27FC236}">
                  <a16:creationId xmlns:a16="http://schemas.microsoft.com/office/drawing/2014/main" id="{7BB98E30-FB48-2B3E-DBF8-D90F1EE611EB}"/>
                </a:ext>
              </a:extLst>
            </p:cNvPr>
            <p:cNvSpPr/>
            <p:nvPr/>
          </p:nvSpPr>
          <p:spPr>
            <a:xfrm>
              <a:off x="791997"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39" name="object 24">
              <a:extLst>
                <a:ext uri="{FF2B5EF4-FFF2-40B4-BE49-F238E27FC236}">
                  <a16:creationId xmlns:a16="http://schemas.microsoft.com/office/drawing/2014/main" id="{97CE1D7D-2D08-72C2-E46A-20B76B509565}"/>
                </a:ext>
              </a:extLst>
            </p:cNvPr>
            <p:cNvSpPr/>
            <p:nvPr/>
          </p:nvSpPr>
          <p:spPr>
            <a:xfrm>
              <a:off x="867175"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40" name="object 25">
              <a:extLst>
                <a:ext uri="{FF2B5EF4-FFF2-40B4-BE49-F238E27FC236}">
                  <a16:creationId xmlns:a16="http://schemas.microsoft.com/office/drawing/2014/main" id="{B158A632-CD49-1250-FE58-050A641BB607}"/>
                </a:ext>
              </a:extLst>
            </p:cNvPr>
            <p:cNvSpPr/>
            <p:nvPr/>
          </p:nvSpPr>
          <p:spPr>
            <a:xfrm>
              <a:off x="863993"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41" name="object 26">
              <a:extLst>
                <a:ext uri="{FF2B5EF4-FFF2-40B4-BE49-F238E27FC236}">
                  <a16:creationId xmlns:a16="http://schemas.microsoft.com/office/drawing/2014/main" id="{641570FF-A657-6478-6BF7-1C3804428F6B}"/>
                </a:ext>
              </a:extLst>
            </p:cNvPr>
            <p:cNvSpPr/>
            <p:nvPr/>
          </p:nvSpPr>
          <p:spPr>
            <a:xfrm>
              <a:off x="939173"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42" name="object 27">
              <a:extLst>
                <a:ext uri="{FF2B5EF4-FFF2-40B4-BE49-F238E27FC236}">
                  <a16:creationId xmlns:a16="http://schemas.microsoft.com/office/drawing/2014/main" id="{118C372A-2EA3-8D51-ABD1-54726F1576E4}"/>
                </a:ext>
              </a:extLst>
            </p:cNvPr>
            <p:cNvSpPr/>
            <p:nvPr/>
          </p:nvSpPr>
          <p:spPr>
            <a:xfrm>
              <a:off x="935990"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44" name="object 28">
              <a:extLst>
                <a:ext uri="{FF2B5EF4-FFF2-40B4-BE49-F238E27FC236}">
                  <a16:creationId xmlns:a16="http://schemas.microsoft.com/office/drawing/2014/main" id="{1A0371B2-6E46-01A0-9DD3-432EC6C5356D}"/>
                </a:ext>
              </a:extLst>
            </p:cNvPr>
            <p:cNvSpPr/>
            <p:nvPr/>
          </p:nvSpPr>
          <p:spPr>
            <a:xfrm>
              <a:off x="1011175"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45" name="object 29">
              <a:extLst>
                <a:ext uri="{FF2B5EF4-FFF2-40B4-BE49-F238E27FC236}">
                  <a16:creationId xmlns:a16="http://schemas.microsoft.com/office/drawing/2014/main" id="{BA1F2915-9FFF-D6E3-37B1-EC0E74E263AF}"/>
                </a:ext>
              </a:extLst>
            </p:cNvPr>
            <p:cNvSpPr/>
            <p:nvPr/>
          </p:nvSpPr>
          <p:spPr>
            <a:xfrm>
              <a:off x="1007999"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60" name="object 30">
              <a:extLst>
                <a:ext uri="{FF2B5EF4-FFF2-40B4-BE49-F238E27FC236}">
                  <a16:creationId xmlns:a16="http://schemas.microsoft.com/office/drawing/2014/main" id="{D584CE24-DE99-C157-A837-E6CC39FC3C4A}"/>
                </a:ext>
              </a:extLst>
            </p:cNvPr>
            <p:cNvSpPr/>
            <p:nvPr/>
          </p:nvSpPr>
          <p:spPr>
            <a:xfrm>
              <a:off x="1083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61" name="object 31">
              <a:extLst>
                <a:ext uri="{FF2B5EF4-FFF2-40B4-BE49-F238E27FC236}">
                  <a16:creationId xmlns:a16="http://schemas.microsoft.com/office/drawing/2014/main" id="{B2CEEDCC-7F26-2A3C-2497-D6D4FEB9A361}"/>
                </a:ext>
              </a:extLst>
            </p:cNvPr>
            <p:cNvSpPr/>
            <p:nvPr/>
          </p:nvSpPr>
          <p:spPr>
            <a:xfrm>
              <a:off x="1079995"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65" name="object 32">
              <a:extLst>
                <a:ext uri="{FF2B5EF4-FFF2-40B4-BE49-F238E27FC236}">
                  <a16:creationId xmlns:a16="http://schemas.microsoft.com/office/drawing/2014/main" id="{B19AB180-F4F7-BE49-0350-F9F647DD6DF2}"/>
                </a:ext>
              </a:extLst>
            </p:cNvPr>
            <p:cNvSpPr/>
            <p:nvPr/>
          </p:nvSpPr>
          <p:spPr>
            <a:xfrm>
              <a:off x="1155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66" name="object 33">
              <a:extLst>
                <a:ext uri="{FF2B5EF4-FFF2-40B4-BE49-F238E27FC236}">
                  <a16:creationId xmlns:a16="http://schemas.microsoft.com/office/drawing/2014/main" id="{04B0003F-C5D4-D333-9055-9B626675B093}"/>
                </a:ext>
              </a:extLst>
            </p:cNvPr>
            <p:cNvSpPr/>
            <p:nvPr/>
          </p:nvSpPr>
          <p:spPr>
            <a:xfrm>
              <a:off x="1151991"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67" name="object 34">
              <a:extLst>
                <a:ext uri="{FF2B5EF4-FFF2-40B4-BE49-F238E27FC236}">
                  <a16:creationId xmlns:a16="http://schemas.microsoft.com/office/drawing/2014/main" id="{590943DB-5DFA-F674-DCE8-3411FAB6C23D}"/>
                </a:ext>
              </a:extLst>
            </p:cNvPr>
            <p:cNvSpPr/>
            <p:nvPr/>
          </p:nvSpPr>
          <p:spPr>
            <a:xfrm>
              <a:off x="1227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70" name="object 35">
              <a:extLst>
                <a:ext uri="{FF2B5EF4-FFF2-40B4-BE49-F238E27FC236}">
                  <a16:creationId xmlns:a16="http://schemas.microsoft.com/office/drawing/2014/main" id="{DC24F1E4-900A-8CBF-B209-6617972E48E8}"/>
                </a:ext>
              </a:extLst>
            </p:cNvPr>
            <p:cNvSpPr/>
            <p:nvPr/>
          </p:nvSpPr>
          <p:spPr>
            <a:xfrm>
              <a:off x="1223987" y="1954796"/>
              <a:ext cx="6350" cy="2293620"/>
            </a:xfrm>
            <a:custGeom>
              <a:avLst/>
              <a:gdLst/>
              <a:ahLst/>
              <a:cxnLst/>
              <a:rect l="l" t="t" r="r" b="b"/>
              <a:pathLst>
                <a:path w="6350" h="2293620">
                  <a:moveTo>
                    <a:pt x="6350" y="2290026"/>
                  </a:moveTo>
                  <a:lnTo>
                    <a:pt x="5422" y="2287790"/>
                  </a:lnTo>
                  <a:lnTo>
                    <a:pt x="3175" y="2286851"/>
                  </a:lnTo>
                  <a:lnTo>
                    <a:pt x="939" y="2287790"/>
                  </a:lnTo>
                  <a:lnTo>
                    <a:pt x="0" y="2290026"/>
                  </a:lnTo>
                  <a:lnTo>
                    <a:pt x="939" y="2292273"/>
                  </a:lnTo>
                  <a:lnTo>
                    <a:pt x="3175" y="2293201"/>
                  </a:lnTo>
                  <a:lnTo>
                    <a:pt x="5422" y="2292273"/>
                  </a:lnTo>
                  <a:lnTo>
                    <a:pt x="6350" y="2290026"/>
                  </a:lnTo>
                  <a:close/>
                </a:path>
                <a:path w="6350" h="2293620">
                  <a:moveTo>
                    <a:pt x="6350" y="3175"/>
                  </a:moveTo>
                  <a:lnTo>
                    <a:pt x="5422" y="939"/>
                  </a:lnTo>
                  <a:lnTo>
                    <a:pt x="3175" y="0"/>
                  </a:lnTo>
                  <a:lnTo>
                    <a:pt x="939" y="939"/>
                  </a:lnTo>
                  <a:lnTo>
                    <a:pt x="0" y="3175"/>
                  </a:lnTo>
                  <a:lnTo>
                    <a:pt x="939"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73" name="object 36">
              <a:extLst>
                <a:ext uri="{FF2B5EF4-FFF2-40B4-BE49-F238E27FC236}">
                  <a16:creationId xmlns:a16="http://schemas.microsoft.com/office/drawing/2014/main" id="{E2780B78-44C2-1609-D619-7BCAE4E0C5A3}"/>
                </a:ext>
              </a:extLst>
            </p:cNvPr>
            <p:cNvSpPr/>
            <p:nvPr/>
          </p:nvSpPr>
          <p:spPr>
            <a:xfrm>
              <a:off x="1299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82" name="object 37">
              <a:extLst>
                <a:ext uri="{FF2B5EF4-FFF2-40B4-BE49-F238E27FC236}">
                  <a16:creationId xmlns:a16="http://schemas.microsoft.com/office/drawing/2014/main" id="{388291DB-186F-CA6C-BD0B-72AD7430AD40}"/>
                </a:ext>
              </a:extLst>
            </p:cNvPr>
            <p:cNvSpPr/>
            <p:nvPr/>
          </p:nvSpPr>
          <p:spPr>
            <a:xfrm>
              <a:off x="1295996"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85" name="object 38">
              <a:extLst>
                <a:ext uri="{FF2B5EF4-FFF2-40B4-BE49-F238E27FC236}">
                  <a16:creationId xmlns:a16="http://schemas.microsoft.com/office/drawing/2014/main" id="{E0F28A2B-AE41-409B-A0F8-82A216A62ACF}"/>
                </a:ext>
              </a:extLst>
            </p:cNvPr>
            <p:cNvSpPr/>
            <p:nvPr/>
          </p:nvSpPr>
          <p:spPr>
            <a:xfrm>
              <a:off x="1371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97" name="object 39">
              <a:extLst>
                <a:ext uri="{FF2B5EF4-FFF2-40B4-BE49-F238E27FC236}">
                  <a16:creationId xmlns:a16="http://schemas.microsoft.com/office/drawing/2014/main" id="{8FA98D1D-3857-BD26-9F44-7F5A3A1F30A5}"/>
                </a:ext>
              </a:extLst>
            </p:cNvPr>
            <p:cNvSpPr/>
            <p:nvPr/>
          </p:nvSpPr>
          <p:spPr>
            <a:xfrm>
              <a:off x="1367993"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00" name="object 40">
              <a:extLst>
                <a:ext uri="{FF2B5EF4-FFF2-40B4-BE49-F238E27FC236}">
                  <a16:creationId xmlns:a16="http://schemas.microsoft.com/office/drawing/2014/main" id="{9DB503C5-044E-0D73-0857-1F9BE87A196A}"/>
                </a:ext>
              </a:extLst>
            </p:cNvPr>
            <p:cNvSpPr/>
            <p:nvPr/>
          </p:nvSpPr>
          <p:spPr>
            <a:xfrm>
              <a:off x="1443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03" name="object 41">
              <a:extLst>
                <a:ext uri="{FF2B5EF4-FFF2-40B4-BE49-F238E27FC236}">
                  <a16:creationId xmlns:a16="http://schemas.microsoft.com/office/drawing/2014/main" id="{8660A546-EB62-958A-2FD1-02F2AAA0589E}"/>
                </a:ext>
              </a:extLst>
            </p:cNvPr>
            <p:cNvSpPr/>
            <p:nvPr/>
          </p:nvSpPr>
          <p:spPr>
            <a:xfrm>
              <a:off x="1439989" y="1954796"/>
              <a:ext cx="6350" cy="2293620"/>
            </a:xfrm>
            <a:custGeom>
              <a:avLst/>
              <a:gdLst/>
              <a:ahLst/>
              <a:cxnLst/>
              <a:rect l="l" t="t" r="r" b="b"/>
              <a:pathLst>
                <a:path w="6350" h="2293620">
                  <a:moveTo>
                    <a:pt x="6350" y="2290026"/>
                  </a:moveTo>
                  <a:lnTo>
                    <a:pt x="5422" y="2287790"/>
                  </a:lnTo>
                  <a:lnTo>
                    <a:pt x="3175" y="2286851"/>
                  </a:lnTo>
                  <a:lnTo>
                    <a:pt x="939" y="2287790"/>
                  </a:lnTo>
                  <a:lnTo>
                    <a:pt x="0" y="2290026"/>
                  </a:lnTo>
                  <a:lnTo>
                    <a:pt x="939" y="2292273"/>
                  </a:lnTo>
                  <a:lnTo>
                    <a:pt x="3175" y="2293201"/>
                  </a:lnTo>
                  <a:lnTo>
                    <a:pt x="5422" y="2292273"/>
                  </a:lnTo>
                  <a:lnTo>
                    <a:pt x="6350" y="2290026"/>
                  </a:lnTo>
                  <a:close/>
                </a:path>
                <a:path w="6350" h="2293620">
                  <a:moveTo>
                    <a:pt x="6350" y="3175"/>
                  </a:moveTo>
                  <a:lnTo>
                    <a:pt x="5422" y="939"/>
                  </a:lnTo>
                  <a:lnTo>
                    <a:pt x="3175" y="0"/>
                  </a:lnTo>
                  <a:lnTo>
                    <a:pt x="939" y="939"/>
                  </a:lnTo>
                  <a:lnTo>
                    <a:pt x="0" y="3175"/>
                  </a:lnTo>
                  <a:lnTo>
                    <a:pt x="939"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06" name="object 42">
              <a:extLst>
                <a:ext uri="{FF2B5EF4-FFF2-40B4-BE49-F238E27FC236}">
                  <a16:creationId xmlns:a16="http://schemas.microsoft.com/office/drawing/2014/main" id="{1AC145AC-F787-4160-56C4-5988F42D9252}"/>
                </a:ext>
              </a:extLst>
            </p:cNvPr>
            <p:cNvSpPr/>
            <p:nvPr/>
          </p:nvSpPr>
          <p:spPr>
            <a:xfrm>
              <a:off x="1515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07" name="object 43">
              <a:extLst>
                <a:ext uri="{FF2B5EF4-FFF2-40B4-BE49-F238E27FC236}">
                  <a16:creationId xmlns:a16="http://schemas.microsoft.com/office/drawing/2014/main" id="{9EDFB5D5-50B7-C4A8-D109-2DA6B51C6D6D}"/>
                </a:ext>
              </a:extLst>
            </p:cNvPr>
            <p:cNvSpPr/>
            <p:nvPr/>
          </p:nvSpPr>
          <p:spPr>
            <a:xfrm>
              <a:off x="1511998"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108" name="object 44">
              <a:extLst>
                <a:ext uri="{FF2B5EF4-FFF2-40B4-BE49-F238E27FC236}">
                  <a16:creationId xmlns:a16="http://schemas.microsoft.com/office/drawing/2014/main" id="{6A8AFA3D-3AC3-3678-2513-6A5F1147D115}"/>
                </a:ext>
              </a:extLst>
            </p:cNvPr>
            <p:cNvSpPr/>
            <p:nvPr/>
          </p:nvSpPr>
          <p:spPr>
            <a:xfrm>
              <a:off x="1587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09" name="object 45">
              <a:extLst>
                <a:ext uri="{FF2B5EF4-FFF2-40B4-BE49-F238E27FC236}">
                  <a16:creationId xmlns:a16="http://schemas.microsoft.com/office/drawing/2014/main" id="{4F23F39C-49F5-A92D-DF9E-724E632A3CEA}"/>
                </a:ext>
              </a:extLst>
            </p:cNvPr>
            <p:cNvSpPr/>
            <p:nvPr/>
          </p:nvSpPr>
          <p:spPr>
            <a:xfrm>
              <a:off x="1583994"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10" name="object 46">
              <a:extLst>
                <a:ext uri="{FF2B5EF4-FFF2-40B4-BE49-F238E27FC236}">
                  <a16:creationId xmlns:a16="http://schemas.microsoft.com/office/drawing/2014/main" id="{51A06520-76AA-3BCA-7AF4-C831AD46844A}"/>
                </a:ext>
              </a:extLst>
            </p:cNvPr>
            <p:cNvSpPr/>
            <p:nvPr/>
          </p:nvSpPr>
          <p:spPr>
            <a:xfrm>
              <a:off x="1659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11" name="object 47">
              <a:extLst>
                <a:ext uri="{FF2B5EF4-FFF2-40B4-BE49-F238E27FC236}">
                  <a16:creationId xmlns:a16="http://schemas.microsoft.com/office/drawing/2014/main" id="{69D2CD5C-FA6A-BAF5-A6FA-9077AC26630C}"/>
                </a:ext>
              </a:extLst>
            </p:cNvPr>
            <p:cNvSpPr/>
            <p:nvPr/>
          </p:nvSpPr>
          <p:spPr>
            <a:xfrm>
              <a:off x="1655991"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12" name="object 48">
              <a:extLst>
                <a:ext uri="{FF2B5EF4-FFF2-40B4-BE49-F238E27FC236}">
                  <a16:creationId xmlns:a16="http://schemas.microsoft.com/office/drawing/2014/main" id="{B8C5E744-22F5-1CE3-BB09-5002DEBB36E2}"/>
                </a:ext>
              </a:extLst>
            </p:cNvPr>
            <p:cNvSpPr/>
            <p:nvPr/>
          </p:nvSpPr>
          <p:spPr>
            <a:xfrm>
              <a:off x="1731175"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13" name="object 49">
              <a:extLst>
                <a:ext uri="{FF2B5EF4-FFF2-40B4-BE49-F238E27FC236}">
                  <a16:creationId xmlns:a16="http://schemas.microsoft.com/office/drawing/2014/main" id="{11EF9212-E4BB-73E7-6E06-2A2163CA5FDD}"/>
                </a:ext>
              </a:extLst>
            </p:cNvPr>
            <p:cNvSpPr/>
            <p:nvPr/>
          </p:nvSpPr>
          <p:spPr>
            <a:xfrm>
              <a:off x="1728000"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114" name="object 50">
              <a:extLst>
                <a:ext uri="{FF2B5EF4-FFF2-40B4-BE49-F238E27FC236}">
                  <a16:creationId xmlns:a16="http://schemas.microsoft.com/office/drawing/2014/main" id="{40AEB7A4-88C6-CBD3-90B9-F1D91845FDC9}"/>
                </a:ext>
              </a:extLst>
            </p:cNvPr>
            <p:cNvSpPr/>
            <p:nvPr/>
          </p:nvSpPr>
          <p:spPr>
            <a:xfrm>
              <a:off x="1803173"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15" name="object 51">
              <a:extLst>
                <a:ext uri="{FF2B5EF4-FFF2-40B4-BE49-F238E27FC236}">
                  <a16:creationId xmlns:a16="http://schemas.microsoft.com/office/drawing/2014/main" id="{EA4F2149-85DF-FB7F-3657-C5D7E2B2F7DB}"/>
                </a:ext>
              </a:extLst>
            </p:cNvPr>
            <p:cNvSpPr/>
            <p:nvPr/>
          </p:nvSpPr>
          <p:spPr>
            <a:xfrm>
              <a:off x="1799996"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116" name="object 52">
              <a:extLst>
                <a:ext uri="{FF2B5EF4-FFF2-40B4-BE49-F238E27FC236}">
                  <a16:creationId xmlns:a16="http://schemas.microsoft.com/office/drawing/2014/main" id="{994692CA-D5D8-6D96-078D-C7229A9A33B5}"/>
                </a:ext>
              </a:extLst>
            </p:cNvPr>
            <p:cNvSpPr/>
            <p:nvPr/>
          </p:nvSpPr>
          <p:spPr>
            <a:xfrm>
              <a:off x="1875175"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17" name="object 53">
              <a:extLst>
                <a:ext uri="{FF2B5EF4-FFF2-40B4-BE49-F238E27FC236}">
                  <a16:creationId xmlns:a16="http://schemas.microsoft.com/office/drawing/2014/main" id="{62859569-AA34-6BB6-8914-384BA3C94A11}"/>
                </a:ext>
              </a:extLst>
            </p:cNvPr>
            <p:cNvSpPr/>
            <p:nvPr/>
          </p:nvSpPr>
          <p:spPr>
            <a:xfrm>
              <a:off x="1871992"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18" name="object 54">
              <a:extLst>
                <a:ext uri="{FF2B5EF4-FFF2-40B4-BE49-F238E27FC236}">
                  <a16:creationId xmlns:a16="http://schemas.microsoft.com/office/drawing/2014/main" id="{D36B97AE-5B90-7C63-D263-9195F036529D}"/>
                </a:ext>
              </a:extLst>
            </p:cNvPr>
            <p:cNvSpPr/>
            <p:nvPr/>
          </p:nvSpPr>
          <p:spPr>
            <a:xfrm>
              <a:off x="1947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19" name="object 55">
              <a:extLst>
                <a:ext uri="{FF2B5EF4-FFF2-40B4-BE49-F238E27FC236}">
                  <a16:creationId xmlns:a16="http://schemas.microsoft.com/office/drawing/2014/main" id="{3AED4552-2B21-70F8-F754-0FDF901E2ED5}"/>
                </a:ext>
              </a:extLst>
            </p:cNvPr>
            <p:cNvSpPr/>
            <p:nvPr/>
          </p:nvSpPr>
          <p:spPr>
            <a:xfrm>
              <a:off x="1943989" y="1954796"/>
              <a:ext cx="6350" cy="2293620"/>
            </a:xfrm>
            <a:custGeom>
              <a:avLst/>
              <a:gdLst/>
              <a:ahLst/>
              <a:cxnLst/>
              <a:rect l="l" t="t" r="r" b="b"/>
              <a:pathLst>
                <a:path w="6350" h="2293620">
                  <a:moveTo>
                    <a:pt x="6350" y="2290026"/>
                  </a:moveTo>
                  <a:lnTo>
                    <a:pt x="5422" y="2287790"/>
                  </a:lnTo>
                  <a:lnTo>
                    <a:pt x="3175" y="2286851"/>
                  </a:lnTo>
                  <a:lnTo>
                    <a:pt x="939" y="2287790"/>
                  </a:lnTo>
                  <a:lnTo>
                    <a:pt x="0" y="2290026"/>
                  </a:lnTo>
                  <a:lnTo>
                    <a:pt x="939" y="2292273"/>
                  </a:lnTo>
                  <a:lnTo>
                    <a:pt x="3175" y="2293201"/>
                  </a:lnTo>
                  <a:lnTo>
                    <a:pt x="5422" y="2292273"/>
                  </a:lnTo>
                  <a:lnTo>
                    <a:pt x="6350" y="2290026"/>
                  </a:lnTo>
                  <a:close/>
                </a:path>
                <a:path w="6350" h="2293620">
                  <a:moveTo>
                    <a:pt x="6350" y="3175"/>
                  </a:moveTo>
                  <a:lnTo>
                    <a:pt x="5422" y="939"/>
                  </a:lnTo>
                  <a:lnTo>
                    <a:pt x="3175" y="0"/>
                  </a:lnTo>
                  <a:lnTo>
                    <a:pt x="939" y="939"/>
                  </a:lnTo>
                  <a:lnTo>
                    <a:pt x="0" y="3175"/>
                  </a:lnTo>
                  <a:lnTo>
                    <a:pt x="939"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20" name="object 56">
              <a:extLst>
                <a:ext uri="{FF2B5EF4-FFF2-40B4-BE49-F238E27FC236}">
                  <a16:creationId xmlns:a16="http://schemas.microsoft.com/office/drawing/2014/main" id="{17874173-5009-6EB7-093B-498CF7BC8AE8}"/>
                </a:ext>
              </a:extLst>
            </p:cNvPr>
            <p:cNvSpPr/>
            <p:nvPr/>
          </p:nvSpPr>
          <p:spPr>
            <a:xfrm>
              <a:off x="2019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21" name="object 57">
              <a:extLst>
                <a:ext uri="{FF2B5EF4-FFF2-40B4-BE49-F238E27FC236}">
                  <a16:creationId xmlns:a16="http://schemas.microsoft.com/office/drawing/2014/main" id="{876F296A-D729-CE5D-6C85-7DAC030EBF82}"/>
                </a:ext>
              </a:extLst>
            </p:cNvPr>
            <p:cNvSpPr/>
            <p:nvPr/>
          </p:nvSpPr>
          <p:spPr>
            <a:xfrm>
              <a:off x="2015998"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122" name="object 58">
              <a:extLst>
                <a:ext uri="{FF2B5EF4-FFF2-40B4-BE49-F238E27FC236}">
                  <a16:creationId xmlns:a16="http://schemas.microsoft.com/office/drawing/2014/main" id="{40737311-22BA-375F-5059-3ADB3EBAD703}"/>
                </a:ext>
              </a:extLst>
            </p:cNvPr>
            <p:cNvSpPr/>
            <p:nvPr/>
          </p:nvSpPr>
          <p:spPr>
            <a:xfrm>
              <a:off x="2091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23" name="object 59">
              <a:extLst>
                <a:ext uri="{FF2B5EF4-FFF2-40B4-BE49-F238E27FC236}">
                  <a16:creationId xmlns:a16="http://schemas.microsoft.com/office/drawing/2014/main" id="{B7B072FD-3FBE-7070-309D-7312E83AC7D8}"/>
                </a:ext>
              </a:extLst>
            </p:cNvPr>
            <p:cNvSpPr/>
            <p:nvPr/>
          </p:nvSpPr>
          <p:spPr>
            <a:xfrm>
              <a:off x="2087994"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24" name="object 60">
              <a:extLst>
                <a:ext uri="{FF2B5EF4-FFF2-40B4-BE49-F238E27FC236}">
                  <a16:creationId xmlns:a16="http://schemas.microsoft.com/office/drawing/2014/main" id="{EBB551E9-0836-BFE4-03B3-BC979AF00C38}"/>
                </a:ext>
              </a:extLst>
            </p:cNvPr>
            <p:cNvSpPr/>
            <p:nvPr/>
          </p:nvSpPr>
          <p:spPr>
            <a:xfrm>
              <a:off x="2163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25" name="object 61">
              <a:extLst>
                <a:ext uri="{FF2B5EF4-FFF2-40B4-BE49-F238E27FC236}">
                  <a16:creationId xmlns:a16="http://schemas.microsoft.com/office/drawing/2014/main" id="{B0812812-6DEE-1393-54BB-60904893AFE6}"/>
                </a:ext>
              </a:extLst>
            </p:cNvPr>
            <p:cNvSpPr/>
            <p:nvPr/>
          </p:nvSpPr>
          <p:spPr>
            <a:xfrm>
              <a:off x="2159990"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26" name="object 62">
              <a:extLst>
                <a:ext uri="{FF2B5EF4-FFF2-40B4-BE49-F238E27FC236}">
                  <a16:creationId xmlns:a16="http://schemas.microsoft.com/office/drawing/2014/main" id="{E622E2FB-155C-5817-9669-122A3CECC160}"/>
                </a:ext>
              </a:extLst>
            </p:cNvPr>
            <p:cNvSpPr/>
            <p:nvPr/>
          </p:nvSpPr>
          <p:spPr>
            <a:xfrm>
              <a:off x="2235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27" name="object 63">
              <a:extLst>
                <a:ext uri="{FF2B5EF4-FFF2-40B4-BE49-F238E27FC236}">
                  <a16:creationId xmlns:a16="http://schemas.microsoft.com/office/drawing/2014/main" id="{DAE33997-A4B6-7910-8C88-A6A6C929895D}"/>
                </a:ext>
              </a:extLst>
            </p:cNvPr>
            <p:cNvSpPr/>
            <p:nvPr/>
          </p:nvSpPr>
          <p:spPr>
            <a:xfrm>
              <a:off x="2231999"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128" name="object 64">
              <a:extLst>
                <a:ext uri="{FF2B5EF4-FFF2-40B4-BE49-F238E27FC236}">
                  <a16:creationId xmlns:a16="http://schemas.microsoft.com/office/drawing/2014/main" id="{2D0F62B9-8296-07FD-6C63-7B678C21C363}"/>
                </a:ext>
              </a:extLst>
            </p:cNvPr>
            <p:cNvSpPr/>
            <p:nvPr/>
          </p:nvSpPr>
          <p:spPr>
            <a:xfrm>
              <a:off x="2307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29" name="object 65">
              <a:extLst>
                <a:ext uri="{FF2B5EF4-FFF2-40B4-BE49-F238E27FC236}">
                  <a16:creationId xmlns:a16="http://schemas.microsoft.com/office/drawing/2014/main" id="{295AEC45-DDD6-B5D8-7D48-E372AA53E7CC}"/>
                </a:ext>
              </a:extLst>
            </p:cNvPr>
            <p:cNvSpPr/>
            <p:nvPr/>
          </p:nvSpPr>
          <p:spPr>
            <a:xfrm>
              <a:off x="2303995"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30" name="object 66">
              <a:extLst>
                <a:ext uri="{FF2B5EF4-FFF2-40B4-BE49-F238E27FC236}">
                  <a16:creationId xmlns:a16="http://schemas.microsoft.com/office/drawing/2014/main" id="{8DD294FC-72E1-90D6-226A-8E7D0F95099F}"/>
                </a:ext>
              </a:extLst>
            </p:cNvPr>
            <p:cNvSpPr/>
            <p:nvPr/>
          </p:nvSpPr>
          <p:spPr>
            <a:xfrm>
              <a:off x="2379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31" name="object 67">
              <a:extLst>
                <a:ext uri="{FF2B5EF4-FFF2-40B4-BE49-F238E27FC236}">
                  <a16:creationId xmlns:a16="http://schemas.microsoft.com/office/drawing/2014/main" id="{35A064A3-1576-EB13-108C-744FB13757B3}"/>
                </a:ext>
              </a:extLst>
            </p:cNvPr>
            <p:cNvSpPr/>
            <p:nvPr/>
          </p:nvSpPr>
          <p:spPr>
            <a:xfrm>
              <a:off x="2375992" y="1954796"/>
              <a:ext cx="6350" cy="2293620"/>
            </a:xfrm>
            <a:custGeom>
              <a:avLst/>
              <a:gdLst/>
              <a:ahLst/>
              <a:cxnLst/>
              <a:rect l="l" t="t" r="r" b="b"/>
              <a:pathLst>
                <a:path w="6350" h="2293620">
                  <a:moveTo>
                    <a:pt x="6350" y="2290026"/>
                  </a:moveTo>
                  <a:lnTo>
                    <a:pt x="5422" y="2287790"/>
                  </a:lnTo>
                  <a:lnTo>
                    <a:pt x="3175" y="2286851"/>
                  </a:lnTo>
                  <a:lnTo>
                    <a:pt x="927" y="2287790"/>
                  </a:lnTo>
                  <a:lnTo>
                    <a:pt x="0" y="2290026"/>
                  </a:lnTo>
                  <a:lnTo>
                    <a:pt x="927" y="2292273"/>
                  </a:lnTo>
                  <a:lnTo>
                    <a:pt x="3175" y="2293201"/>
                  </a:lnTo>
                  <a:lnTo>
                    <a:pt x="5422" y="2292273"/>
                  </a:lnTo>
                  <a:lnTo>
                    <a:pt x="6350" y="2290026"/>
                  </a:lnTo>
                  <a:close/>
                </a:path>
                <a:path w="6350" h="2293620">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32" name="object 68">
              <a:extLst>
                <a:ext uri="{FF2B5EF4-FFF2-40B4-BE49-F238E27FC236}">
                  <a16:creationId xmlns:a16="http://schemas.microsoft.com/office/drawing/2014/main" id="{9AAD8009-5154-0C37-EDB5-5CBA81E048B6}"/>
                </a:ext>
              </a:extLst>
            </p:cNvPr>
            <p:cNvSpPr/>
            <p:nvPr/>
          </p:nvSpPr>
          <p:spPr>
            <a:xfrm>
              <a:off x="2451174"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33" name="object 69">
              <a:extLst>
                <a:ext uri="{FF2B5EF4-FFF2-40B4-BE49-F238E27FC236}">
                  <a16:creationId xmlns:a16="http://schemas.microsoft.com/office/drawing/2014/main" id="{45A59C1A-92DF-53F4-B571-DB85707566B3}"/>
                </a:ext>
              </a:extLst>
            </p:cNvPr>
            <p:cNvSpPr/>
            <p:nvPr/>
          </p:nvSpPr>
          <p:spPr>
            <a:xfrm>
              <a:off x="2447988" y="1954796"/>
              <a:ext cx="6350" cy="2293620"/>
            </a:xfrm>
            <a:custGeom>
              <a:avLst/>
              <a:gdLst/>
              <a:ahLst/>
              <a:cxnLst/>
              <a:rect l="l" t="t" r="r" b="b"/>
              <a:pathLst>
                <a:path w="6350" h="2293620">
                  <a:moveTo>
                    <a:pt x="6350" y="2290026"/>
                  </a:moveTo>
                  <a:lnTo>
                    <a:pt x="5422" y="2287790"/>
                  </a:lnTo>
                  <a:lnTo>
                    <a:pt x="3175" y="2286851"/>
                  </a:lnTo>
                  <a:lnTo>
                    <a:pt x="939" y="2287790"/>
                  </a:lnTo>
                  <a:lnTo>
                    <a:pt x="0" y="2290026"/>
                  </a:lnTo>
                  <a:lnTo>
                    <a:pt x="939" y="2292273"/>
                  </a:lnTo>
                  <a:lnTo>
                    <a:pt x="3175" y="2293201"/>
                  </a:lnTo>
                  <a:lnTo>
                    <a:pt x="5422" y="2292273"/>
                  </a:lnTo>
                  <a:lnTo>
                    <a:pt x="6350" y="2290026"/>
                  </a:lnTo>
                  <a:close/>
                </a:path>
                <a:path w="6350" h="2293620">
                  <a:moveTo>
                    <a:pt x="6350" y="3175"/>
                  </a:moveTo>
                  <a:lnTo>
                    <a:pt x="5422" y="939"/>
                  </a:lnTo>
                  <a:lnTo>
                    <a:pt x="3175" y="0"/>
                  </a:lnTo>
                  <a:lnTo>
                    <a:pt x="939" y="939"/>
                  </a:lnTo>
                  <a:lnTo>
                    <a:pt x="0" y="3175"/>
                  </a:lnTo>
                  <a:lnTo>
                    <a:pt x="939"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34" name="object 70">
              <a:extLst>
                <a:ext uri="{FF2B5EF4-FFF2-40B4-BE49-F238E27FC236}">
                  <a16:creationId xmlns:a16="http://schemas.microsoft.com/office/drawing/2014/main" id="{887108F7-1ACA-4B64-215B-08068E50EDA8}"/>
                </a:ext>
              </a:extLst>
            </p:cNvPr>
            <p:cNvSpPr/>
            <p:nvPr/>
          </p:nvSpPr>
          <p:spPr>
            <a:xfrm>
              <a:off x="2523173" y="1970678"/>
              <a:ext cx="0" cy="2268220"/>
            </a:xfrm>
            <a:custGeom>
              <a:avLst/>
              <a:gdLst/>
              <a:ahLst/>
              <a:cxnLst/>
              <a:rect l="l" t="t" r="r" b="b"/>
              <a:pathLst>
                <a:path h="2268220">
                  <a:moveTo>
                    <a:pt x="0" y="0"/>
                  </a:moveTo>
                  <a:lnTo>
                    <a:pt x="0" y="2267788"/>
                  </a:lnTo>
                </a:path>
              </a:pathLst>
            </a:custGeom>
            <a:ln w="6350">
              <a:solidFill>
                <a:srgbClr val="899AD4"/>
              </a:solidFill>
              <a:prstDash val="dot"/>
            </a:ln>
          </p:spPr>
          <p:txBody>
            <a:bodyPr wrap="square" lIns="0" tIns="0" rIns="0" bIns="0" rtlCol="0"/>
            <a:lstStyle/>
            <a:p>
              <a:endParaRPr/>
            </a:p>
          </p:txBody>
        </p:sp>
        <p:sp>
          <p:nvSpPr>
            <p:cNvPr id="135" name="object 71">
              <a:extLst>
                <a:ext uri="{FF2B5EF4-FFF2-40B4-BE49-F238E27FC236}">
                  <a16:creationId xmlns:a16="http://schemas.microsoft.com/office/drawing/2014/main" id="{C1E3AE7C-78D2-5BE2-99DE-526F13573F9D}"/>
                </a:ext>
              </a:extLst>
            </p:cNvPr>
            <p:cNvSpPr/>
            <p:nvPr/>
          </p:nvSpPr>
          <p:spPr>
            <a:xfrm>
              <a:off x="2519997" y="1954796"/>
              <a:ext cx="6350" cy="2293620"/>
            </a:xfrm>
            <a:custGeom>
              <a:avLst/>
              <a:gdLst/>
              <a:ahLst/>
              <a:cxnLst/>
              <a:rect l="l" t="t" r="r" b="b"/>
              <a:pathLst>
                <a:path w="6350" h="2293620">
                  <a:moveTo>
                    <a:pt x="6350" y="2290026"/>
                  </a:moveTo>
                  <a:lnTo>
                    <a:pt x="5410" y="2287790"/>
                  </a:lnTo>
                  <a:lnTo>
                    <a:pt x="3175" y="2286851"/>
                  </a:lnTo>
                  <a:lnTo>
                    <a:pt x="927" y="2287790"/>
                  </a:lnTo>
                  <a:lnTo>
                    <a:pt x="0" y="2290026"/>
                  </a:lnTo>
                  <a:lnTo>
                    <a:pt x="927" y="2292273"/>
                  </a:lnTo>
                  <a:lnTo>
                    <a:pt x="3175" y="2293201"/>
                  </a:lnTo>
                  <a:lnTo>
                    <a:pt x="5410" y="2292273"/>
                  </a:lnTo>
                  <a:lnTo>
                    <a:pt x="6350" y="2290026"/>
                  </a:lnTo>
                  <a:close/>
                </a:path>
                <a:path w="6350" h="2293620">
                  <a:moveTo>
                    <a:pt x="6350" y="3175"/>
                  </a:moveTo>
                  <a:lnTo>
                    <a:pt x="5410" y="939"/>
                  </a:lnTo>
                  <a:lnTo>
                    <a:pt x="3175" y="0"/>
                  </a:lnTo>
                  <a:lnTo>
                    <a:pt x="927" y="939"/>
                  </a:lnTo>
                  <a:lnTo>
                    <a:pt x="0" y="3175"/>
                  </a:lnTo>
                  <a:lnTo>
                    <a:pt x="927" y="5422"/>
                  </a:lnTo>
                  <a:lnTo>
                    <a:pt x="3175" y="6350"/>
                  </a:lnTo>
                  <a:lnTo>
                    <a:pt x="5410" y="5422"/>
                  </a:lnTo>
                  <a:lnTo>
                    <a:pt x="6350" y="3175"/>
                  </a:lnTo>
                  <a:close/>
                </a:path>
              </a:pathLst>
            </a:custGeom>
            <a:solidFill>
              <a:srgbClr val="899AD4"/>
            </a:solidFill>
          </p:spPr>
          <p:txBody>
            <a:bodyPr wrap="square" lIns="0" tIns="0" rIns="0" bIns="0" rtlCol="0"/>
            <a:lstStyle/>
            <a:p>
              <a:endParaRPr/>
            </a:p>
          </p:txBody>
        </p:sp>
        <p:sp>
          <p:nvSpPr>
            <p:cNvPr id="136" name="object 72">
              <a:extLst>
                <a:ext uri="{FF2B5EF4-FFF2-40B4-BE49-F238E27FC236}">
                  <a16:creationId xmlns:a16="http://schemas.microsoft.com/office/drawing/2014/main" id="{1426866C-F5AC-437A-C370-265BC41B9018}"/>
                </a:ext>
              </a:extLst>
            </p:cNvPr>
            <p:cNvSpPr/>
            <p:nvPr/>
          </p:nvSpPr>
          <p:spPr>
            <a:xfrm>
              <a:off x="2595175" y="1959869"/>
              <a:ext cx="0" cy="2494915"/>
            </a:xfrm>
            <a:custGeom>
              <a:avLst/>
              <a:gdLst/>
              <a:ahLst/>
              <a:cxnLst/>
              <a:rect l="l" t="t" r="r" b="b"/>
              <a:pathLst>
                <a:path h="2494915">
                  <a:moveTo>
                    <a:pt x="0" y="0"/>
                  </a:moveTo>
                  <a:lnTo>
                    <a:pt x="0" y="2494610"/>
                  </a:lnTo>
                </a:path>
              </a:pathLst>
            </a:custGeom>
            <a:ln w="6350">
              <a:solidFill>
                <a:srgbClr val="899AD4"/>
              </a:solidFill>
              <a:prstDash val="dot"/>
            </a:ln>
          </p:spPr>
          <p:txBody>
            <a:bodyPr wrap="square" lIns="0" tIns="0" rIns="0" bIns="0" rtlCol="0"/>
            <a:lstStyle/>
            <a:p>
              <a:endParaRPr/>
            </a:p>
          </p:txBody>
        </p:sp>
        <p:sp>
          <p:nvSpPr>
            <p:cNvPr id="137" name="object 73">
              <a:extLst>
                <a:ext uri="{FF2B5EF4-FFF2-40B4-BE49-F238E27FC236}">
                  <a16:creationId xmlns:a16="http://schemas.microsoft.com/office/drawing/2014/main" id="{2ABBE675-4738-12A1-859C-3296297A83E5}"/>
                </a:ext>
              </a:extLst>
            </p:cNvPr>
            <p:cNvSpPr/>
            <p:nvPr/>
          </p:nvSpPr>
          <p:spPr>
            <a:xfrm>
              <a:off x="2591993" y="1944001"/>
              <a:ext cx="6350" cy="2520315"/>
            </a:xfrm>
            <a:custGeom>
              <a:avLst/>
              <a:gdLst/>
              <a:ahLst/>
              <a:cxnLst/>
              <a:rect l="l" t="t" r="r" b="b"/>
              <a:pathLst>
                <a:path w="6350" h="2520315">
                  <a:moveTo>
                    <a:pt x="6350" y="2516822"/>
                  </a:moveTo>
                  <a:lnTo>
                    <a:pt x="5422" y="2514587"/>
                  </a:lnTo>
                  <a:lnTo>
                    <a:pt x="3175" y="2513647"/>
                  </a:lnTo>
                  <a:lnTo>
                    <a:pt x="927" y="2514587"/>
                  </a:lnTo>
                  <a:lnTo>
                    <a:pt x="0" y="2516822"/>
                  </a:lnTo>
                  <a:lnTo>
                    <a:pt x="927" y="2519070"/>
                  </a:lnTo>
                  <a:lnTo>
                    <a:pt x="3175" y="2519997"/>
                  </a:lnTo>
                  <a:lnTo>
                    <a:pt x="5422" y="2519070"/>
                  </a:lnTo>
                  <a:lnTo>
                    <a:pt x="6350" y="2516822"/>
                  </a:lnTo>
                  <a:close/>
                </a:path>
                <a:path w="6350" h="2520315">
                  <a:moveTo>
                    <a:pt x="6350" y="3175"/>
                  </a:moveTo>
                  <a:lnTo>
                    <a:pt x="5422" y="939"/>
                  </a:lnTo>
                  <a:lnTo>
                    <a:pt x="3175" y="0"/>
                  </a:lnTo>
                  <a:lnTo>
                    <a:pt x="927" y="939"/>
                  </a:lnTo>
                  <a:lnTo>
                    <a:pt x="0" y="3175"/>
                  </a:lnTo>
                  <a:lnTo>
                    <a:pt x="927" y="5422"/>
                  </a:lnTo>
                  <a:lnTo>
                    <a:pt x="3175" y="6350"/>
                  </a:lnTo>
                  <a:lnTo>
                    <a:pt x="5422" y="5422"/>
                  </a:lnTo>
                  <a:lnTo>
                    <a:pt x="6350" y="3175"/>
                  </a:lnTo>
                  <a:close/>
                </a:path>
              </a:pathLst>
            </a:custGeom>
            <a:solidFill>
              <a:srgbClr val="899AD4"/>
            </a:solidFill>
          </p:spPr>
          <p:txBody>
            <a:bodyPr wrap="square" lIns="0" tIns="0" rIns="0" bIns="0" rtlCol="0"/>
            <a:lstStyle/>
            <a:p>
              <a:endParaRPr/>
            </a:p>
          </p:txBody>
        </p:sp>
        <p:sp>
          <p:nvSpPr>
            <p:cNvPr id="138" name="object 74">
              <a:extLst>
                <a:ext uri="{FF2B5EF4-FFF2-40B4-BE49-F238E27FC236}">
                  <a16:creationId xmlns:a16="http://schemas.microsoft.com/office/drawing/2014/main" id="{DAFA54FD-A73A-25DA-12D6-58CE3688E163}"/>
                </a:ext>
              </a:extLst>
            </p:cNvPr>
            <p:cNvSpPr/>
            <p:nvPr/>
          </p:nvSpPr>
          <p:spPr>
            <a:xfrm>
              <a:off x="308615" y="201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39" name="object 75">
              <a:extLst>
                <a:ext uri="{FF2B5EF4-FFF2-40B4-BE49-F238E27FC236}">
                  <a16:creationId xmlns:a16="http://schemas.microsoft.com/office/drawing/2014/main" id="{CBF109EB-DDDE-2290-B91D-27E24F2E78C7}"/>
                </a:ext>
              </a:extLst>
            </p:cNvPr>
            <p:cNvSpPr/>
            <p:nvPr/>
          </p:nvSpPr>
          <p:spPr>
            <a:xfrm>
              <a:off x="299097" y="2012835"/>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40" name="object 76">
              <a:extLst>
                <a:ext uri="{FF2B5EF4-FFF2-40B4-BE49-F238E27FC236}">
                  <a16:creationId xmlns:a16="http://schemas.microsoft.com/office/drawing/2014/main" id="{E1215B53-68C8-45F0-52D7-A52334E87E5F}"/>
                </a:ext>
              </a:extLst>
            </p:cNvPr>
            <p:cNvSpPr/>
            <p:nvPr/>
          </p:nvSpPr>
          <p:spPr>
            <a:xfrm>
              <a:off x="308615" y="2088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41" name="object 77">
              <a:extLst>
                <a:ext uri="{FF2B5EF4-FFF2-40B4-BE49-F238E27FC236}">
                  <a16:creationId xmlns:a16="http://schemas.microsoft.com/office/drawing/2014/main" id="{1719C4BC-A00A-6F35-3BFE-4985202AD365}"/>
                </a:ext>
              </a:extLst>
            </p:cNvPr>
            <p:cNvSpPr/>
            <p:nvPr/>
          </p:nvSpPr>
          <p:spPr>
            <a:xfrm>
              <a:off x="299097" y="2084831"/>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42" name="object 78">
              <a:extLst>
                <a:ext uri="{FF2B5EF4-FFF2-40B4-BE49-F238E27FC236}">
                  <a16:creationId xmlns:a16="http://schemas.microsoft.com/office/drawing/2014/main" id="{7926652E-3D42-8FF3-7D0E-D762869F2FED}"/>
                </a:ext>
              </a:extLst>
            </p:cNvPr>
            <p:cNvSpPr/>
            <p:nvPr/>
          </p:nvSpPr>
          <p:spPr>
            <a:xfrm>
              <a:off x="308615" y="2160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43" name="object 79">
              <a:extLst>
                <a:ext uri="{FF2B5EF4-FFF2-40B4-BE49-F238E27FC236}">
                  <a16:creationId xmlns:a16="http://schemas.microsoft.com/office/drawing/2014/main" id="{C5A6DAF8-3F18-0B2B-2278-6D6A2EB5C4EA}"/>
                </a:ext>
              </a:extLst>
            </p:cNvPr>
            <p:cNvSpPr/>
            <p:nvPr/>
          </p:nvSpPr>
          <p:spPr>
            <a:xfrm>
              <a:off x="299097" y="2156840"/>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144" name="object 80">
              <a:extLst>
                <a:ext uri="{FF2B5EF4-FFF2-40B4-BE49-F238E27FC236}">
                  <a16:creationId xmlns:a16="http://schemas.microsoft.com/office/drawing/2014/main" id="{1274E986-753A-CFC0-9C4F-9F50A29B89E9}"/>
                </a:ext>
              </a:extLst>
            </p:cNvPr>
            <p:cNvSpPr/>
            <p:nvPr/>
          </p:nvSpPr>
          <p:spPr>
            <a:xfrm>
              <a:off x="308615" y="2232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45" name="object 81">
              <a:extLst>
                <a:ext uri="{FF2B5EF4-FFF2-40B4-BE49-F238E27FC236}">
                  <a16:creationId xmlns:a16="http://schemas.microsoft.com/office/drawing/2014/main" id="{AB3CB4F3-B363-C083-6D29-7DF876C254ED}"/>
                </a:ext>
              </a:extLst>
            </p:cNvPr>
            <p:cNvSpPr/>
            <p:nvPr/>
          </p:nvSpPr>
          <p:spPr>
            <a:xfrm>
              <a:off x="299097" y="2228837"/>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46" name="object 82">
              <a:extLst>
                <a:ext uri="{FF2B5EF4-FFF2-40B4-BE49-F238E27FC236}">
                  <a16:creationId xmlns:a16="http://schemas.microsoft.com/office/drawing/2014/main" id="{D033B88C-7F98-CC44-50A5-5B04DAD5E34E}"/>
                </a:ext>
              </a:extLst>
            </p:cNvPr>
            <p:cNvSpPr/>
            <p:nvPr/>
          </p:nvSpPr>
          <p:spPr>
            <a:xfrm>
              <a:off x="308615" y="2304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47" name="object 83">
              <a:extLst>
                <a:ext uri="{FF2B5EF4-FFF2-40B4-BE49-F238E27FC236}">
                  <a16:creationId xmlns:a16="http://schemas.microsoft.com/office/drawing/2014/main" id="{A3ADE7EE-7F96-1A16-F15E-2873F42E9E94}"/>
                </a:ext>
              </a:extLst>
            </p:cNvPr>
            <p:cNvSpPr/>
            <p:nvPr/>
          </p:nvSpPr>
          <p:spPr>
            <a:xfrm>
              <a:off x="299097" y="2300833"/>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48" name="object 84">
              <a:extLst>
                <a:ext uri="{FF2B5EF4-FFF2-40B4-BE49-F238E27FC236}">
                  <a16:creationId xmlns:a16="http://schemas.microsoft.com/office/drawing/2014/main" id="{4B9198F1-D444-5079-A3E3-B05431764166}"/>
                </a:ext>
              </a:extLst>
            </p:cNvPr>
            <p:cNvSpPr/>
            <p:nvPr/>
          </p:nvSpPr>
          <p:spPr>
            <a:xfrm>
              <a:off x="308615" y="237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49" name="object 85">
              <a:extLst>
                <a:ext uri="{FF2B5EF4-FFF2-40B4-BE49-F238E27FC236}">
                  <a16:creationId xmlns:a16="http://schemas.microsoft.com/office/drawing/2014/main" id="{12458EF9-A7DB-DAC2-F994-5E018D641D5C}"/>
                </a:ext>
              </a:extLst>
            </p:cNvPr>
            <p:cNvSpPr/>
            <p:nvPr/>
          </p:nvSpPr>
          <p:spPr>
            <a:xfrm>
              <a:off x="299097" y="2372829"/>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50" name="object 86">
              <a:extLst>
                <a:ext uri="{FF2B5EF4-FFF2-40B4-BE49-F238E27FC236}">
                  <a16:creationId xmlns:a16="http://schemas.microsoft.com/office/drawing/2014/main" id="{4795F7A5-B78A-8ABA-80EB-C6407708F959}"/>
                </a:ext>
              </a:extLst>
            </p:cNvPr>
            <p:cNvSpPr/>
            <p:nvPr/>
          </p:nvSpPr>
          <p:spPr>
            <a:xfrm>
              <a:off x="308615" y="2448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51" name="object 87">
              <a:extLst>
                <a:ext uri="{FF2B5EF4-FFF2-40B4-BE49-F238E27FC236}">
                  <a16:creationId xmlns:a16="http://schemas.microsoft.com/office/drawing/2014/main" id="{87D6B514-1EB6-1F1F-8B5C-AFF49B5447CA}"/>
                </a:ext>
              </a:extLst>
            </p:cNvPr>
            <p:cNvSpPr/>
            <p:nvPr/>
          </p:nvSpPr>
          <p:spPr>
            <a:xfrm>
              <a:off x="299097" y="2444838"/>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52" name="object 88">
              <a:extLst>
                <a:ext uri="{FF2B5EF4-FFF2-40B4-BE49-F238E27FC236}">
                  <a16:creationId xmlns:a16="http://schemas.microsoft.com/office/drawing/2014/main" id="{F26B40A5-6B96-26C0-83F3-A5BFAE282A81}"/>
                </a:ext>
              </a:extLst>
            </p:cNvPr>
            <p:cNvSpPr/>
            <p:nvPr/>
          </p:nvSpPr>
          <p:spPr>
            <a:xfrm>
              <a:off x="308615" y="2520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53" name="object 89">
              <a:extLst>
                <a:ext uri="{FF2B5EF4-FFF2-40B4-BE49-F238E27FC236}">
                  <a16:creationId xmlns:a16="http://schemas.microsoft.com/office/drawing/2014/main" id="{E359D73A-0119-B5CB-4A12-3C3A14574F9D}"/>
                </a:ext>
              </a:extLst>
            </p:cNvPr>
            <p:cNvSpPr/>
            <p:nvPr/>
          </p:nvSpPr>
          <p:spPr>
            <a:xfrm>
              <a:off x="299097" y="2516835"/>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54" name="object 90">
              <a:extLst>
                <a:ext uri="{FF2B5EF4-FFF2-40B4-BE49-F238E27FC236}">
                  <a16:creationId xmlns:a16="http://schemas.microsoft.com/office/drawing/2014/main" id="{A0111A4A-6E5A-442D-6001-C8D0BE6AF006}"/>
                </a:ext>
              </a:extLst>
            </p:cNvPr>
            <p:cNvSpPr/>
            <p:nvPr/>
          </p:nvSpPr>
          <p:spPr>
            <a:xfrm>
              <a:off x="308615" y="2592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55" name="object 91">
              <a:extLst>
                <a:ext uri="{FF2B5EF4-FFF2-40B4-BE49-F238E27FC236}">
                  <a16:creationId xmlns:a16="http://schemas.microsoft.com/office/drawing/2014/main" id="{E7CE83C5-6E64-8647-DE85-72828EE3BD2B}"/>
                </a:ext>
              </a:extLst>
            </p:cNvPr>
            <p:cNvSpPr/>
            <p:nvPr/>
          </p:nvSpPr>
          <p:spPr>
            <a:xfrm>
              <a:off x="299097" y="2588831"/>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56" name="object 92">
              <a:extLst>
                <a:ext uri="{FF2B5EF4-FFF2-40B4-BE49-F238E27FC236}">
                  <a16:creationId xmlns:a16="http://schemas.microsoft.com/office/drawing/2014/main" id="{248A98DC-4482-790E-6024-9917DD8A22F7}"/>
                </a:ext>
              </a:extLst>
            </p:cNvPr>
            <p:cNvSpPr/>
            <p:nvPr/>
          </p:nvSpPr>
          <p:spPr>
            <a:xfrm>
              <a:off x="308615" y="2664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57" name="object 93">
              <a:extLst>
                <a:ext uri="{FF2B5EF4-FFF2-40B4-BE49-F238E27FC236}">
                  <a16:creationId xmlns:a16="http://schemas.microsoft.com/office/drawing/2014/main" id="{9271738C-3F94-4271-8634-9EC288A42A14}"/>
                </a:ext>
              </a:extLst>
            </p:cNvPr>
            <p:cNvSpPr/>
            <p:nvPr/>
          </p:nvSpPr>
          <p:spPr>
            <a:xfrm>
              <a:off x="299097" y="2660840"/>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158" name="object 94">
              <a:extLst>
                <a:ext uri="{FF2B5EF4-FFF2-40B4-BE49-F238E27FC236}">
                  <a16:creationId xmlns:a16="http://schemas.microsoft.com/office/drawing/2014/main" id="{DF54CBE7-CDC4-DA4A-F024-DE9A76433A78}"/>
                </a:ext>
              </a:extLst>
            </p:cNvPr>
            <p:cNvSpPr/>
            <p:nvPr/>
          </p:nvSpPr>
          <p:spPr>
            <a:xfrm>
              <a:off x="308615" y="273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59" name="object 95">
              <a:extLst>
                <a:ext uri="{FF2B5EF4-FFF2-40B4-BE49-F238E27FC236}">
                  <a16:creationId xmlns:a16="http://schemas.microsoft.com/office/drawing/2014/main" id="{0630FE50-5808-7678-6C99-A79A8BDE191A}"/>
                </a:ext>
              </a:extLst>
            </p:cNvPr>
            <p:cNvSpPr/>
            <p:nvPr/>
          </p:nvSpPr>
          <p:spPr>
            <a:xfrm>
              <a:off x="299097" y="2732836"/>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60" name="object 96">
              <a:extLst>
                <a:ext uri="{FF2B5EF4-FFF2-40B4-BE49-F238E27FC236}">
                  <a16:creationId xmlns:a16="http://schemas.microsoft.com/office/drawing/2014/main" id="{D7FEC198-017C-BEA1-09F7-BD9960A3D3C1}"/>
                </a:ext>
              </a:extLst>
            </p:cNvPr>
            <p:cNvSpPr/>
            <p:nvPr/>
          </p:nvSpPr>
          <p:spPr>
            <a:xfrm>
              <a:off x="308615" y="2808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61" name="object 97">
              <a:extLst>
                <a:ext uri="{FF2B5EF4-FFF2-40B4-BE49-F238E27FC236}">
                  <a16:creationId xmlns:a16="http://schemas.microsoft.com/office/drawing/2014/main" id="{7B767898-F9AD-81C4-CDAF-0509FC1441E7}"/>
                </a:ext>
              </a:extLst>
            </p:cNvPr>
            <p:cNvSpPr/>
            <p:nvPr/>
          </p:nvSpPr>
          <p:spPr>
            <a:xfrm>
              <a:off x="299097" y="2804832"/>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62" name="object 98">
              <a:extLst>
                <a:ext uri="{FF2B5EF4-FFF2-40B4-BE49-F238E27FC236}">
                  <a16:creationId xmlns:a16="http://schemas.microsoft.com/office/drawing/2014/main" id="{99581D9A-61BD-AD9E-57CA-7B7DE5C40F68}"/>
                </a:ext>
              </a:extLst>
            </p:cNvPr>
            <p:cNvSpPr/>
            <p:nvPr/>
          </p:nvSpPr>
          <p:spPr>
            <a:xfrm>
              <a:off x="308615" y="2880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63" name="object 99">
              <a:extLst>
                <a:ext uri="{FF2B5EF4-FFF2-40B4-BE49-F238E27FC236}">
                  <a16:creationId xmlns:a16="http://schemas.microsoft.com/office/drawing/2014/main" id="{2B7A259A-0C20-898F-9A17-4221FD12AF3F}"/>
                </a:ext>
              </a:extLst>
            </p:cNvPr>
            <p:cNvSpPr/>
            <p:nvPr/>
          </p:nvSpPr>
          <p:spPr>
            <a:xfrm>
              <a:off x="299097" y="2876841"/>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164" name="object 100">
              <a:extLst>
                <a:ext uri="{FF2B5EF4-FFF2-40B4-BE49-F238E27FC236}">
                  <a16:creationId xmlns:a16="http://schemas.microsoft.com/office/drawing/2014/main" id="{14C6558B-366C-D921-FF46-42C07CFFC802}"/>
                </a:ext>
              </a:extLst>
            </p:cNvPr>
            <p:cNvSpPr/>
            <p:nvPr/>
          </p:nvSpPr>
          <p:spPr>
            <a:xfrm>
              <a:off x="308615" y="2952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65" name="object 101">
              <a:extLst>
                <a:ext uri="{FF2B5EF4-FFF2-40B4-BE49-F238E27FC236}">
                  <a16:creationId xmlns:a16="http://schemas.microsoft.com/office/drawing/2014/main" id="{3D75FA4D-6F50-C2AC-8353-370D2B4469C6}"/>
                </a:ext>
              </a:extLst>
            </p:cNvPr>
            <p:cNvSpPr/>
            <p:nvPr/>
          </p:nvSpPr>
          <p:spPr>
            <a:xfrm>
              <a:off x="299097" y="2948838"/>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66" name="object 102">
              <a:extLst>
                <a:ext uri="{FF2B5EF4-FFF2-40B4-BE49-F238E27FC236}">
                  <a16:creationId xmlns:a16="http://schemas.microsoft.com/office/drawing/2014/main" id="{349F90D3-C6DC-1B33-CD82-BB96B8BC85D7}"/>
                </a:ext>
              </a:extLst>
            </p:cNvPr>
            <p:cNvSpPr/>
            <p:nvPr/>
          </p:nvSpPr>
          <p:spPr>
            <a:xfrm>
              <a:off x="308615" y="3024006"/>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67" name="object 103">
              <a:extLst>
                <a:ext uri="{FF2B5EF4-FFF2-40B4-BE49-F238E27FC236}">
                  <a16:creationId xmlns:a16="http://schemas.microsoft.com/office/drawing/2014/main" id="{E11BEF36-983C-D1C0-4D23-158A6484A0D2}"/>
                </a:ext>
              </a:extLst>
            </p:cNvPr>
            <p:cNvSpPr/>
            <p:nvPr/>
          </p:nvSpPr>
          <p:spPr>
            <a:xfrm>
              <a:off x="299097" y="3020834"/>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68" name="object 104">
              <a:extLst>
                <a:ext uri="{FF2B5EF4-FFF2-40B4-BE49-F238E27FC236}">
                  <a16:creationId xmlns:a16="http://schemas.microsoft.com/office/drawing/2014/main" id="{1734AD87-DF36-7F95-74E5-6F85FC57734B}"/>
                </a:ext>
              </a:extLst>
            </p:cNvPr>
            <p:cNvSpPr/>
            <p:nvPr/>
          </p:nvSpPr>
          <p:spPr>
            <a:xfrm>
              <a:off x="308615" y="3096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69" name="object 105">
              <a:extLst>
                <a:ext uri="{FF2B5EF4-FFF2-40B4-BE49-F238E27FC236}">
                  <a16:creationId xmlns:a16="http://schemas.microsoft.com/office/drawing/2014/main" id="{F7B675C3-E6AC-F0FD-77E5-1FB7C58CBF37}"/>
                </a:ext>
              </a:extLst>
            </p:cNvPr>
            <p:cNvSpPr/>
            <p:nvPr/>
          </p:nvSpPr>
          <p:spPr>
            <a:xfrm>
              <a:off x="299097" y="3092830"/>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70" name="object 106">
              <a:extLst>
                <a:ext uri="{FF2B5EF4-FFF2-40B4-BE49-F238E27FC236}">
                  <a16:creationId xmlns:a16="http://schemas.microsoft.com/office/drawing/2014/main" id="{2D76B651-FE2C-AB01-52B4-752D9266D1DF}"/>
                </a:ext>
              </a:extLst>
            </p:cNvPr>
            <p:cNvSpPr/>
            <p:nvPr/>
          </p:nvSpPr>
          <p:spPr>
            <a:xfrm>
              <a:off x="308615" y="3168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71" name="object 107">
              <a:extLst>
                <a:ext uri="{FF2B5EF4-FFF2-40B4-BE49-F238E27FC236}">
                  <a16:creationId xmlns:a16="http://schemas.microsoft.com/office/drawing/2014/main" id="{508B1469-5916-32F1-DF0B-E878C49B9E2C}"/>
                </a:ext>
              </a:extLst>
            </p:cNvPr>
            <p:cNvSpPr/>
            <p:nvPr/>
          </p:nvSpPr>
          <p:spPr>
            <a:xfrm>
              <a:off x="299097" y="3164839"/>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172" name="object 108">
              <a:extLst>
                <a:ext uri="{FF2B5EF4-FFF2-40B4-BE49-F238E27FC236}">
                  <a16:creationId xmlns:a16="http://schemas.microsoft.com/office/drawing/2014/main" id="{2B2FBBC8-1AA7-8D14-2347-58033DF9D1B6}"/>
                </a:ext>
              </a:extLst>
            </p:cNvPr>
            <p:cNvSpPr/>
            <p:nvPr/>
          </p:nvSpPr>
          <p:spPr>
            <a:xfrm>
              <a:off x="308615" y="3240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73" name="object 109">
              <a:extLst>
                <a:ext uri="{FF2B5EF4-FFF2-40B4-BE49-F238E27FC236}">
                  <a16:creationId xmlns:a16="http://schemas.microsoft.com/office/drawing/2014/main" id="{E789D3FC-2877-6F7F-6685-FBBD9702B31D}"/>
                </a:ext>
              </a:extLst>
            </p:cNvPr>
            <p:cNvSpPr/>
            <p:nvPr/>
          </p:nvSpPr>
          <p:spPr>
            <a:xfrm>
              <a:off x="299097" y="3236836"/>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74" name="object 110">
              <a:extLst>
                <a:ext uri="{FF2B5EF4-FFF2-40B4-BE49-F238E27FC236}">
                  <a16:creationId xmlns:a16="http://schemas.microsoft.com/office/drawing/2014/main" id="{788E47CF-F3CF-4DDB-AEA1-E8188E280E9C}"/>
                </a:ext>
              </a:extLst>
            </p:cNvPr>
            <p:cNvSpPr/>
            <p:nvPr/>
          </p:nvSpPr>
          <p:spPr>
            <a:xfrm>
              <a:off x="308615" y="3312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75" name="object 111">
              <a:extLst>
                <a:ext uri="{FF2B5EF4-FFF2-40B4-BE49-F238E27FC236}">
                  <a16:creationId xmlns:a16="http://schemas.microsoft.com/office/drawing/2014/main" id="{34C5C8D2-049D-C0D7-495F-B24F9D109CEC}"/>
                </a:ext>
              </a:extLst>
            </p:cNvPr>
            <p:cNvSpPr/>
            <p:nvPr/>
          </p:nvSpPr>
          <p:spPr>
            <a:xfrm>
              <a:off x="299097" y="3308832"/>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76" name="object 112">
              <a:extLst>
                <a:ext uri="{FF2B5EF4-FFF2-40B4-BE49-F238E27FC236}">
                  <a16:creationId xmlns:a16="http://schemas.microsoft.com/office/drawing/2014/main" id="{FC1D5B6C-433E-9277-6326-F5B90D5E8B94}"/>
                </a:ext>
              </a:extLst>
            </p:cNvPr>
            <p:cNvSpPr/>
            <p:nvPr/>
          </p:nvSpPr>
          <p:spPr>
            <a:xfrm>
              <a:off x="308615" y="3384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77" name="object 113">
              <a:extLst>
                <a:ext uri="{FF2B5EF4-FFF2-40B4-BE49-F238E27FC236}">
                  <a16:creationId xmlns:a16="http://schemas.microsoft.com/office/drawing/2014/main" id="{E96EC70C-E54C-7D5B-6973-865438CC4718}"/>
                </a:ext>
              </a:extLst>
            </p:cNvPr>
            <p:cNvSpPr/>
            <p:nvPr/>
          </p:nvSpPr>
          <p:spPr>
            <a:xfrm>
              <a:off x="299097" y="3380841"/>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178" name="object 114">
              <a:extLst>
                <a:ext uri="{FF2B5EF4-FFF2-40B4-BE49-F238E27FC236}">
                  <a16:creationId xmlns:a16="http://schemas.microsoft.com/office/drawing/2014/main" id="{28BB562F-71A1-1AB7-9DC8-71096E24D9BD}"/>
                </a:ext>
              </a:extLst>
            </p:cNvPr>
            <p:cNvSpPr/>
            <p:nvPr/>
          </p:nvSpPr>
          <p:spPr>
            <a:xfrm>
              <a:off x="308615" y="345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79" name="object 115">
              <a:extLst>
                <a:ext uri="{FF2B5EF4-FFF2-40B4-BE49-F238E27FC236}">
                  <a16:creationId xmlns:a16="http://schemas.microsoft.com/office/drawing/2014/main" id="{3BA926D4-24A2-2C04-DDFB-20B0CC6883DD}"/>
                </a:ext>
              </a:extLst>
            </p:cNvPr>
            <p:cNvSpPr/>
            <p:nvPr/>
          </p:nvSpPr>
          <p:spPr>
            <a:xfrm>
              <a:off x="299097" y="3452837"/>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80" name="object 116">
              <a:extLst>
                <a:ext uri="{FF2B5EF4-FFF2-40B4-BE49-F238E27FC236}">
                  <a16:creationId xmlns:a16="http://schemas.microsoft.com/office/drawing/2014/main" id="{12B7F41B-0333-2310-191E-E2883669FD94}"/>
                </a:ext>
              </a:extLst>
            </p:cNvPr>
            <p:cNvSpPr/>
            <p:nvPr/>
          </p:nvSpPr>
          <p:spPr>
            <a:xfrm>
              <a:off x="308615" y="3528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81" name="object 117">
              <a:extLst>
                <a:ext uri="{FF2B5EF4-FFF2-40B4-BE49-F238E27FC236}">
                  <a16:creationId xmlns:a16="http://schemas.microsoft.com/office/drawing/2014/main" id="{1589EC0B-E29B-969B-8CD2-538D2CDB20F5}"/>
                </a:ext>
              </a:extLst>
            </p:cNvPr>
            <p:cNvSpPr/>
            <p:nvPr/>
          </p:nvSpPr>
          <p:spPr>
            <a:xfrm>
              <a:off x="299097" y="3524834"/>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82" name="object 118">
              <a:extLst>
                <a:ext uri="{FF2B5EF4-FFF2-40B4-BE49-F238E27FC236}">
                  <a16:creationId xmlns:a16="http://schemas.microsoft.com/office/drawing/2014/main" id="{2B2DF46E-DACF-3F5F-3BA1-FB4FE33EF7EB}"/>
                </a:ext>
              </a:extLst>
            </p:cNvPr>
            <p:cNvSpPr/>
            <p:nvPr/>
          </p:nvSpPr>
          <p:spPr>
            <a:xfrm>
              <a:off x="308615" y="3600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83" name="object 119">
              <a:extLst>
                <a:ext uri="{FF2B5EF4-FFF2-40B4-BE49-F238E27FC236}">
                  <a16:creationId xmlns:a16="http://schemas.microsoft.com/office/drawing/2014/main" id="{F97686D0-B0CF-0837-D290-71608BD0C7A8}"/>
                </a:ext>
              </a:extLst>
            </p:cNvPr>
            <p:cNvSpPr/>
            <p:nvPr/>
          </p:nvSpPr>
          <p:spPr>
            <a:xfrm>
              <a:off x="299097" y="3596830"/>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84" name="object 120">
              <a:extLst>
                <a:ext uri="{FF2B5EF4-FFF2-40B4-BE49-F238E27FC236}">
                  <a16:creationId xmlns:a16="http://schemas.microsoft.com/office/drawing/2014/main" id="{F77FD399-0E46-AC1F-5DB6-16DFCB680044}"/>
                </a:ext>
              </a:extLst>
            </p:cNvPr>
            <p:cNvSpPr/>
            <p:nvPr/>
          </p:nvSpPr>
          <p:spPr>
            <a:xfrm>
              <a:off x="308615" y="3672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85" name="object 121">
              <a:extLst>
                <a:ext uri="{FF2B5EF4-FFF2-40B4-BE49-F238E27FC236}">
                  <a16:creationId xmlns:a16="http://schemas.microsoft.com/office/drawing/2014/main" id="{549C7ED6-595C-1EFC-91D1-A4FC3F3C60B2}"/>
                </a:ext>
              </a:extLst>
            </p:cNvPr>
            <p:cNvSpPr/>
            <p:nvPr/>
          </p:nvSpPr>
          <p:spPr>
            <a:xfrm>
              <a:off x="299097" y="3668839"/>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86" name="object 122">
              <a:extLst>
                <a:ext uri="{FF2B5EF4-FFF2-40B4-BE49-F238E27FC236}">
                  <a16:creationId xmlns:a16="http://schemas.microsoft.com/office/drawing/2014/main" id="{C27C12F1-4825-C8CA-B491-EE369B2D49E0}"/>
                </a:ext>
              </a:extLst>
            </p:cNvPr>
            <p:cNvSpPr/>
            <p:nvPr/>
          </p:nvSpPr>
          <p:spPr>
            <a:xfrm>
              <a:off x="308615" y="3744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87" name="object 123">
              <a:extLst>
                <a:ext uri="{FF2B5EF4-FFF2-40B4-BE49-F238E27FC236}">
                  <a16:creationId xmlns:a16="http://schemas.microsoft.com/office/drawing/2014/main" id="{F4DE5982-3041-BBB2-3566-52D5CEE0A7A4}"/>
                </a:ext>
              </a:extLst>
            </p:cNvPr>
            <p:cNvSpPr/>
            <p:nvPr/>
          </p:nvSpPr>
          <p:spPr>
            <a:xfrm>
              <a:off x="299097" y="3740835"/>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88" name="object 124">
              <a:extLst>
                <a:ext uri="{FF2B5EF4-FFF2-40B4-BE49-F238E27FC236}">
                  <a16:creationId xmlns:a16="http://schemas.microsoft.com/office/drawing/2014/main" id="{A02CE472-1B1B-1CED-B95D-2B5C8AA66829}"/>
                </a:ext>
              </a:extLst>
            </p:cNvPr>
            <p:cNvSpPr/>
            <p:nvPr/>
          </p:nvSpPr>
          <p:spPr>
            <a:xfrm>
              <a:off x="308615" y="381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89" name="object 125">
              <a:extLst>
                <a:ext uri="{FF2B5EF4-FFF2-40B4-BE49-F238E27FC236}">
                  <a16:creationId xmlns:a16="http://schemas.microsoft.com/office/drawing/2014/main" id="{137429D8-71A4-7C07-74E7-6B3B7C23D8B3}"/>
                </a:ext>
              </a:extLst>
            </p:cNvPr>
            <p:cNvSpPr/>
            <p:nvPr/>
          </p:nvSpPr>
          <p:spPr>
            <a:xfrm>
              <a:off x="299097" y="3812831"/>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90" name="object 126">
              <a:extLst>
                <a:ext uri="{FF2B5EF4-FFF2-40B4-BE49-F238E27FC236}">
                  <a16:creationId xmlns:a16="http://schemas.microsoft.com/office/drawing/2014/main" id="{6E878CAD-C3AD-3BEF-8BD6-DCEC710781B1}"/>
                </a:ext>
              </a:extLst>
            </p:cNvPr>
            <p:cNvSpPr/>
            <p:nvPr/>
          </p:nvSpPr>
          <p:spPr>
            <a:xfrm>
              <a:off x="308615" y="3888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91" name="object 127">
              <a:extLst>
                <a:ext uri="{FF2B5EF4-FFF2-40B4-BE49-F238E27FC236}">
                  <a16:creationId xmlns:a16="http://schemas.microsoft.com/office/drawing/2014/main" id="{1EF45E29-DA32-AC6C-3132-065F89ABEAE0}"/>
                </a:ext>
              </a:extLst>
            </p:cNvPr>
            <p:cNvSpPr/>
            <p:nvPr/>
          </p:nvSpPr>
          <p:spPr>
            <a:xfrm>
              <a:off x="299097" y="3884840"/>
              <a:ext cx="2289810" cy="6350"/>
            </a:xfrm>
            <a:custGeom>
              <a:avLst/>
              <a:gdLst/>
              <a:ahLst/>
              <a:cxnLst/>
              <a:rect l="l" t="t" r="r" b="b"/>
              <a:pathLst>
                <a:path w="2289810" h="6350">
                  <a:moveTo>
                    <a:pt x="6350" y="3175"/>
                  </a:moveTo>
                  <a:lnTo>
                    <a:pt x="5410" y="927"/>
                  </a:lnTo>
                  <a:lnTo>
                    <a:pt x="3175" y="0"/>
                  </a:lnTo>
                  <a:lnTo>
                    <a:pt x="927" y="927"/>
                  </a:lnTo>
                  <a:lnTo>
                    <a:pt x="0" y="3175"/>
                  </a:lnTo>
                  <a:lnTo>
                    <a:pt x="927" y="5410"/>
                  </a:lnTo>
                  <a:lnTo>
                    <a:pt x="3175" y="6350"/>
                  </a:lnTo>
                  <a:lnTo>
                    <a:pt x="5410" y="5410"/>
                  </a:lnTo>
                  <a:lnTo>
                    <a:pt x="6350" y="3175"/>
                  </a:lnTo>
                  <a:close/>
                </a:path>
                <a:path w="2289810" h="6350">
                  <a:moveTo>
                    <a:pt x="2289594" y="3175"/>
                  </a:moveTo>
                  <a:lnTo>
                    <a:pt x="2288654" y="927"/>
                  </a:lnTo>
                  <a:lnTo>
                    <a:pt x="2286419" y="0"/>
                  </a:lnTo>
                  <a:lnTo>
                    <a:pt x="2284171" y="927"/>
                  </a:lnTo>
                  <a:lnTo>
                    <a:pt x="2283244" y="3175"/>
                  </a:lnTo>
                  <a:lnTo>
                    <a:pt x="2284171" y="5410"/>
                  </a:lnTo>
                  <a:lnTo>
                    <a:pt x="2286419" y="6350"/>
                  </a:lnTo>
                  <a:lnTo>
                    <a:pt x="2288654" y="5410"/>
                  </a:lnTo>
                  <a:lnTo>
                    <a:pt x="2289594" y="3175"/>
                  </a:lnTo>
                  <a:close/>
                </a:path>
              </a:pathLst>
            </a:custGeom>
            <a:solidFill>
              <a:srgbClr val="899AD4"/>
            </a:solidFill>
          </p:spPr>
          <p:txBody>
            <a:bodyPr wrap="square" lIns="0" tIns="0" rIns="0" bIns="0" rtlCol="0"/>
            <a:lstStyle/>
            <a:p>
              <a:endParaRPr/>
            </a:p>
          </p:txBody>
        </p:sp>
        <p:sp>
          <p:nvSpPr>
            <p:cNvPr id="192" name="object 128">
              <a:extLst>
                <a:ext uri="{FF2B5EF4-FFF2-40B4-BE49-F238E27FC236}">
                  <a16:creationId xmlns:a16="http://schemas.microsoft.com/office/drawing/2014/main" id="{D997317B-1DC1-FA61-2ECC-44AC0F48D976}"/>
                </a:ext>
              </a:extLst>
            </p:cNvPr>
            <p:cNvSpPr/>
            <p:nvPr/>
          </p:nvSpPr>
          <p:spPr>
            <a:xfrm>
              <a:off x="308615" y="3960004"/>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93" name="object 129">
              <a:extLst>
                <a:ext uri="{FF2B5EF4-FFF2-40B4-BE49-F238E27FC236}">
                  <a16:creationId xmlns:a16="http://schemas.microsoft.com/office/drawing/2014/main" id="{E13545B5-700A-3551-40EF-43A8CBA7460F}"/>
                </a:ext>
              </a:extLst>
            </p:cNvPr>
            <p:cNvSpPr/>
            <p:nvPr/>
          </p:nvSpPr>
          <p:spPr>
            <a:xfrm>
              <a:off x="299097" y="3956837"/>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94" name="object 130">
              <a:extLst>
                <a:ext uri="{FF2B5EF4-FFF2-40B4-BE49-F238E27FC236}">
                  <a16:creationId xmlns:a16="http://schemas.microsoft.com/office/drawing/2014/main" id="{7ACC9EF0-9692-5DDD-CC59-BC5DCC3E3825}"/>
                </a:ext>
              </a:extLst>
            </p:cNvPr>
            <p:cNvSpPr/>
            <p:nvPr/>
          </p:nvSpPr>
          <p:spPr>
            <a:xfrm>
              <a:off x="308615" y="4032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95" name="object 131">
              <a:extLst>
                <a:ext uri="{FF2B5EF4-FFF2-40B4-BE49-F238E27FC236}">
                  <a16:creationId xmlns:a16="http://schemas.microsoft.com/office/drawing/2014/main" id="{061F2322-E999-F053-E50C-E6454805050B}"/>
                </a:ext>
              </a:extLst>
            </p:cNvPr>
            <p:cNvSpPr/>
            <p:nvPr/>
          </p:nvSpPr>
          <p:spPr>
            <a:xfrm>
              <a:off x="299097" y="4028833"/>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96" name="object 132">
              <a:extLst>
                <a:ext uri="{FF2B5EF4-FFF2-40B4-BE49-F238E27FC236}">
                  <a16:creationId xmlns:a16="http://schemas.microsoft.com/office/drawing/2014/main" id="{A91399E2-B12C-A3E2-B37F-5AE118DEFD6B}"/>
                </a:ext>
              </a:extLst>
            </p:cNvPr>
            <p:cNvSpPr/>
            <p:nvPr/>
          </p:nvSpPr>
          <p:spPr>
            <a:xfrm>
              <a:off x="308615" y="4104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97" name="object 133">
              <a:extLst>
                <a:ext uri="{FF2B5EF4-FFF2-40B4-BE49-F238E27FC236}">
                  <a16:creationId xmlns:a16="http://schemas.microsoft.com/office/drawing/2014/main" id="{183F9FD6-B720-D1CD-F0E7-255A5C8D28D8}"/>
                </a:ext>
              </a:extLst>
            </p:cNvPr>
            <p:cNvSpPr/>
            <p:nvPr/>
          </p:nvSpPr>
          <p:spPr>
            <a:xfrm>
              <a:off x="299097" y="4100829"/>
              <a:ext cx="2289810" cy="6350"/>
            </a:xfrm>
            <a:custGeom>
              <a:avLst/>
              <a:gdLst/>
              <a:ahLst/>
              <a:cxnLst/>
              <a:rect l="l" t="t" r="r" b="b"/>
              <a:pathLst>
                <a:path w="2289810" h="6350">
                  <a:moveTo>
                    <a:pt x="6350" y="3175"/>
                  </a:moveTo>
                  <a:lnTo>
                    <a:pt x="5410" y="939"/>
                  </a:lnTo>
                  <a:lnTo>
                    <a:pt x="3175" y="0"/>
                  </a:lnTo>
                  <a:lnTo>
                    <a:pt x="927" y="939"/>
                  </a:lnTo>
                  <a:lnTo>
                    <a:pt x="0" y="3175"/>
                  </a:lnTo>
                  <a:lnTo>
                    <a:pt x="927" y="5422"/>
                  </a:lnTo>
                  <a:lnTo>
                    <a:pt x="3175" y="6350"/>
                  </a:lnTo>
                  <a:lnTo>
                    <a:pt x="5410" y="5422"/>
                  </a:lnTo>
                  <a:lnTo>
                    <a:pt x="6350" y="3175"/>
                  </a:lnTo>
                  <a:close/>
                </a:path>
                <a:path w="2289810" h="6350">
                  <a:moveTo>
                    <a:pt x="2289594" y="3175"/>
                  </a:moveTo>
                  <a:lnTo>
                    <a:pt x="2288654" y="939"/>
                  </a:lnTo>
                  <a:lnTo>
                    <a:pt x="2286419" y="0"/>
                  </a:lnTo>
                  <a:lnTo>
                    <a:pt x="2284171" y="939"/>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sp>
          <p:nvSpPr>
            <p:cNvPr id="198" name="object 134">
              <a:extLst>
                <a:ext uri="{FF2B5EF4-FFF2-40B4-BE49-F238E27FC236}">
                  <a16:creationId xmlns:a16="http://schemas.microsoft.com/office/drawing/2014/main" id="{FD0A7C39-9AC6-D3D0-0327-9E5FC9EDC306}"/>
                </a:ext>
              </a:extLst>
            </p:cNvPr>
            <p:cNvSpPr/>
            <p:nvPr/>
          </p:nvSpPr>
          <p:spPr>
            <a:xfrm>
              <a:off x="308615" y="4176005"/>
              <a:ext cx="2264410" cy="0"/>
            </a:xfrm>
            <a:custGeom>
              <a:avLst/>
              <a:gdLst/>
              <a:ahLst/>
              <a:cxnLst/>
              <a:rect l="l" t="t" r="r" b="b"/>
              <a:pathLst>
                <a:path w="2264410">
                  <a:moveTo>
                    <a:pt x="2264219" y="0"/>
                  </a:moveTo>
                  <a:lnTo>
                    <a:pt x="0" y="0"/>
                  </a:lnTo>
                </a:path>
              </a:pathLst>
            </a:custGeom>
            <a:ln w="6350">
              <a:solidFill>
                <a:srgbClr val="899AD4"/>
              </a:solidFill>
              <a:prstDash val="dot"/>
            </a:ln>
          </p:spPr>
          <p:txBody>
            <a:bodyPr wrap="square" lIns="0" tIns="0" rIns="0" bIns="0" rtlCol="0"/>
            <a:lstStyle/>
            <a:p>
              <a:endParaRPr/>
            </a:p>
          </p:txBody>
        </p:sp>
        <p:sp>
          <p:nvSpPr>
            <p:cNvPr id="199" name="object 135">
              <a:extLst>
                <a:ext uri="{FF2B5EF4-FFF2-40B4-BE49-F238E27FC236}">
                  <a16:creationId xmlns:a16="http://schemas.microsoft.com/office/drawing/2014/main" id="{70503917-70ED-AA0D-FD0E-738E05BEC3E4}"/>
                </a:ext>
              </a:extLst>
            </p:cNvPr>
            <p:cNvSpPr/>
            <p:nvPr/>
          </p:nvSpPr>
          <p:spPr>
            <a:xfrm>
              <a:off x="299097" y="4172838"/>
              <a:ext cx="2289810" cy="6350"/>
            </a:xfrm>
            <a:custGeom>
              <a:avLst/>
              <a:gdLst/>
              <a:ahLst/>
              <a:cxnLst/>
              <a:rect l="l" t="t" r="r" b="b"/>
              <a:pathLst>
                <a:path w="2289810" h="6350">
                  <a:moveTo>
                    <a:pt x="6350" y="3175"/>
                  </a:moveTo>
                  <a:lnTo>
                    <a:pt x="5410" y="927"/>
                  </a:lnTo>
                  <a:lnTo>
                    <a:pt x="3175" y="0"/>
                  </a:lnTo>
                  <a:lnTo>
                    <a:pt x="927" y="927"/>
                  </a:lnTo>
                  <a:lnTo>
                    <a:pt x="0" y="3175"/>
                  </a:lnTo>
                  <a:lnTo>
                    <a:pt x="927" y="5422"/>
                  </a:lnTo>
                  <a:lnTo>
                    <a:pt x="3175" y="6350"/>
                  </a:lnTo>
                  <a:lnTo>
                    <a:pt x="5410" y="5422"/>
                  </a:lnTo>
                  <a:lnTo>
                    <a:pt x="6350" y="3175"/>
                  </a:lnTo>
                  <a:close/>
                </a:path>
                <a:path w="2289810" h="6350">
                  <a:moveTo>
                    <a:pt x="2289594" y="3175"/>
                  </a:moveTo>
                  <a:lnTo>
                    <a:pt x="2288654" y="927"/>
                  </a:lnTo>
                  <a:lnTo>
                    <a:pt x="2286419" y="0"/>
                  </a:lnTo>
                  <a:lnTo>
                    <a:pt x="2284171" y="927"/>
                  </a:lnTo>
                  <a:lnTo>
                    <a:pt x="2283244" y="3175"/>
                  </a:lnTo>
                  <a:lnTo>
                    <a:pt x="2284171" y="5422"/>
                  </a:lnTo>
                  <a:lnTo>
                    <a:pt x="2286419" y="6350"/>
                  </a:lnTo>
                  <a:lnTo>
                    <a:pt x="2288654" y="5422"/>
                  </a:lnTo>
                  <a:lnTo>
                    <a:pt x="2289594" y="3175"/>
                  </a:lnTo>
                  <a:close/>
                </a:path>
              </a:pathLst>
            </a:custGeom>
            <a:solidFill>
              <a:srgbClr val="899AD4"/>
            </a:solidFill>
          </p:spPr>
          <p:txBody>
            <a:bodyPr wrap="square" lIns="0" tIns="0" rIns="0" bIns="0" rtlCol="0"/>
            <a:lstStyle/>
            <a:p>
              <a:endParaRPr/>
            </a:p>
          </p:txBody>
        </p:sp>
      </p:grpSp>
      <p:sp>
        <p:nvSpPr>
          <p:cNvPr id="202" name="object 138">
            <a:extLst>
              <a:ext uri="{FF2B5EF4-FFF2-40B4-BE49-F238E27FC236}">
                <a16:creationId xmlns:a16="http://schemas.microsoft.com/office/drawing/2014/main" id="{46B578C5-BA54-EF16-F525-1DFA9969B262}"/>
              </a:ext>
            </a:extLst>
          </p:cNvPr>
          <p:cNvSpPr txBox="1">
            <a:spLocks/>
          </p:cNvSpPr>
          <p:nvPr/>
        </p:nvSpPr>
        <p:spPr>
          <a:xfrm>
            <a:off x="275300" y="190732"/>
            <a:ext cx="4166441" cy="790281"/>
          </a:xfrm>
          <a:prstGeom prst="rect">
            <a:avLst/>
          </a:prstGeom>
        </p:spPr>
        <p:txBody>
          <a:bodyPr vert="horz" wrap="square" lIns="0" tIns="12700" rIns="0" bIns="0" rtlCol="0" anchor="t" anchorCtr="0">
            <a:spAutoFit/>
          </a:bodyPr>
          <a:lstStyle>
            <a:lvl1pPr algn="l" defTabSz="270000" rtl="0" eaLnBrk="1" latinLnBrk="0" hangingPunct="1">
              <a:spcBef>
                <a:spcPct val="0"/>
              </a:spcBef>
              <a:buNone/>
              <a:defRPr sz="2000" kern="1200">
                <a:solidFill>
                  <a:schemeClr val="accent1"/>
                </a:solidFill>
                <a:latin typeface="+mj-lt"/>
                <a:ea typeface="+mj-ea"/>
                <a:cs typeface="+mj-cs"/>
              </a:defRPr>
            </a:lvl1pPr>
          </a:lstStyle>
          <a:p>
            <a:pPr marL="12700">
              <a:spcBef>
                <a:spcPts val="100"/>
              </a:spcBef>
            </a:pPr>
            <a:r>
              <a:rPr lang="en-US" sz="1000" b="1" spc="-10" dirty="0">
                <a:solidFill>
                  <a:schemeClr val="bg1"/>
                </a:solidFill>
              </a:rPr>
              <a:t>Icons</a:t>
            </a:r>
          </a:p>
          <a:p>
            <a:pPr marL="12700" marR="5080">
              <a:lnSpc>
                <a:spcPct val="103299"/>
              </a:lnSpc>
            </a:pPr>
            <a:r>
              <a:rPr lang="en-US" sz="1000" spc="55" dirty="0">
                <a:solidFill>
                  <a:schemeClr val="bg1"/>
                </a:solidFill>
                <a:latin typeface="Arial"/>
                <a:cs typeface="Arial"/>
              </a:rPr>
              <a:t>While</a:t>
            </a:r>
            <a:r>
              <a:rPr lang="en-US" sz="1000" spc="-35" dirty="0">
                <a:solidFill>
                  <a:schemeClr val="bg1"/>
                </a:solidFill>
                <a:latin typeface="Arial"/>
                <a:cs typeface="Arial"/>
              </a:rPr>
              <a:t> </a:t>
            </a:r>
            <a:r>
              <a:rPr lang="en-US" sz="1000" dirty="0">
                <a:solidFill>
                  <a:schemeClr val="bg1"/>
                </a:solidFill>
                <a:latin typeface="Arial"/>
                <a:cs typeface="Arial"/>
              </a:rPr>
              <a:t>an</a:t>
            </a:r>
            <a:r>
              <a:rPr lang="en-US" sz="1000" spc="-30" dirty="0">
                <a:solidFill>
                  <a:schemeClr val="bg1"/>
                </a:solidFill>
                <a:latin typeface="Arial"/>
                <a:cs typeface="Arial"/>
              </a:rPr>
              <a:t> </a:t>
            </a:r>
            <a:r>
              <a:rPr lang="en-US" sz="1000" dirty="0">
                <a:solidFill>
                  <a:schemeClr val="bg1"/>
                </a:solidFill>
                <a:latin typeface="Arial"/>
                <a:cs typeface="Arial"/>
              </a:rPr>
              <a:t>image</a:t>
            </a:r>
            <a:r>
              <a:rPr lang="en-US" sz="1000" spc="-30" dirty="0">
                <a:solidFill>
                  <a:schemeClr val="bg1"/>
                </a:solidFill>
                <a:latin typeface="Arial"/>
                <a:cs typeface="Arial"/>
              </a:rPr>
              <a:t> </a:t>
            </a:r>
            <a:r>
              <a:rPr lang="en-US" sz="1000" dirty="0">
                <a:solidFill>
                  <a:schemeClr val="bg1"/>
                </a:solidFill>
                <a:latin typeface="Arial"/>
                <a:cs typeface="Arial"/>
              </a:rPr>
              <a:t>speaks</a:t>
            </a:r>
            <a:r>
              <a:rPr lang="en-US" sz="1000" spc="-35" dirty="0">
                <a:solidFill>
                  <a:schemeClr val="bg1"/>
                </a:solidFill>
                <a:latin typeface="Arial"/>
                <a:cs typeface="Arial"/>
              </a:rPr>
              <a:t> </a:t>
            </a:r>
            <a:r>
              <a:rPr lang="en-US" sz="1000" spc="-10" dirty="0">
                <a:solidFill>
                  <a:schemeClr val="bg1"/>
                </a:solidFill>
                <a:latin typeface="Arial"/>
                <a:cs typeface="Arial"/>
              </a:rPr>
              <a:t>a</a:t>
            </a:r>
            <a:r>
              <a:rPr lang="en-US" sz="1000" spc="-30" dirty="0">
                <a:solidFill>
                  <a:schemeClr val="bg1"/>
                </a:solidFill>
                <a:latin typeface="Arial"/>
                <a:cs typeface="Arial"/>
              </a:rPr>
              <a:t> </a:t>
            </a:r>
            <a:r>
              <a:rPr lang="en-US" sz="1000" dirty="0">
                <a:solidFill>
                  <a:schemeClr val="bg1"/>
                </a:solidFill>
                <a:latin typeface="Arial"/>
                <a:cs typeface="Arial"/>
              </a:rPr>
              <a:t>thousand</a:t>
            </a:r>
            <a:r>
              <a:rPr lang="en-US" sz="1000" spc="-30" dirty="0">
                <a:solidFill>
                  <a:schemeClr val="bg1"/>
                </a:solidFill>
                <a:latin typeface="Arial"/>
                <a:cs typeface="Arial"/>
              </a:rPr>
              <a:t> </a:t>
            </a:r>
            <a:r>
              <a:rPr lang="en-US" sz="1000" dirty="0">
                <a:solidFill>
                  <a:schemeClr val="bg1"/>
                </a:solidFill>
                <a:latin typeface="Arial"/>
                <a:cs typeface="Arial"/>
              </a:rPr>
              <a:t>words,</a:t>
            </a:r>
            <a:r>
              <a:rPr lang="en-US" sz="1000" spc="-30" dirty="0">
                <a:solidFill>
                  <a:schemeClr val="bg1"/>
                </a:solidFill>
                <a:latin typeface="Arial"/>
                <a:cs typeface="Arial"/>
              </a:rPr>
              <a:t> </a:t>
            </a:r>
            <a:r>
              <a:rPr lang="en-US" sz="1000" dirty="0">
                <a:solidFill>
                  <a:schemeClr val="bg1"/>
                </a:solidFill>
                <a:latin typeface="Arial"/>
                <a:cs typeface="Arial"/>
              </a:rPr>
              <a:t>icons</a:t>
            </a:r>
            <a:r>
              <a:rPr lang="en-US" sz="1000" spc="-35" dirty="0">
                <a:solidFill>
                  <a:schemeClr val="bg1"/>
                </a:solidFill>
                <a:latin typeface="Arial"/>
                <a:cs typeface="Arial"/>
              </a:rPr>
              <a:t> </a:t>
            </a:r>
            <a:r>
              <a:rPr lang="en-US" sz="1000" dirty="0">
                <a:solidFill>
                  <a:schemeClr val="bg1"/>
                </a:solidFill>
                <a:latin typeface="Arial"/>
                <a:cs typeface="Arial"/>
              </a:rPr>
              <a:t>only</a:t>
            </a:r>
            <a:r>
              <a:rPr lang="en-US" sz="1000" spc="-30" dirty="0">
                <a:solidFill>
                  <a:schemeClr val="bg1"/>
                </a:solidFill>
                <a:latin typeface="Arial"/>
                <a:cs typeface="Arial"/>
              </a:rPr>
              <a:t> </a:t>
            </a:r>
            <a:r>
              <a:rPr lang="en-US" sz="1000" dirty="0">
                <a:solidFill>
                  <a:schemeClr val="bg1"/>
                </a:solidFill>
                <a:latin typeface="Arial"/>
                <a:cs typeface="Arial"/>
              </a:rPr>
              <a:t>need</a:t>
            </a:r>
            <a:r>
              <a:rPr lang="en-US" sz="1000" spc="-30" dirty="0">
                <a:solidFill>
                  <a:schemeClr val="bg1"/>
                </a:solidFill>
                <a:latin typeface="Arial"/>
                <a:cs typeface="Arial"/>
              </a:rPr>
              <a:t> </a:t>
            </a:r>
            <a:r>
              <a:rPr lang="en-US" sz="1000" spc="65" dirty="0">
                <a:solidFill>
                  <a:schemeClr val="bg1"/>
                </a:solidFill>
                <a:latin typeface="Arial"/>
                <a:cs typeface="Arial"/>
              </a:rPr>
              <a:t>to</a:t>
            </a:r>
            <a:r>
              <a:rPr lang="en-US" sz="1000" spc="-30" dirty="0">
                <a:solidFill>
                  <a:schemeClr val="bg1"/>
                </a:solidFill>
                <a:latin typeface="Arial"/>
                <a:cs typeface="Arial"/>
              </a:rPr>
              <a:t> </a:t>
            </a:r>
            <a:r>
              <a:rPr lang="en-US" sz="1000" spc="-25" dirty="0">
                <a:solidFill>
                  <a:schemeClr val="bg1"/>
                </a:solidFill>
                <a:latin typeface="Arial"/>
                <a:cs typeface="Arial"/>
              </a:rPr>
              <a:t>say </a:t>
            </a:r>
            <a:r>
              <a:rPr lang="en-US" sz="1000" dirty="0">
                <a:solidFill>
                  <a:schemeClr val="bg1"/>
                </a:solidFill>
                <a:latin typeface="Arial"/>
                <a:cs typeface="Arial"/>
              </a:rPr>
              <a:t>one</a:t>
            </a:r>
            <a:r>
              <a:rPr lang="en-US" sz="1000" spc="-60" dirty="0">
                <a:solidFill>
                  <a:schemeClr val="bg1"/>
                </a:solidFill>
                <a:latin typeface="Arial"/>
                <a:cs typeface="Arial"/>
              </a:rPr>
              <a:t> </a:t>
            </a:r>
            <a:r>
              <a:rPr lang="en-US" sz="1000" dirty="0">
                <a:solidFill>
                  <a:schemeClr val="bg1"/>
                </a:solidFill>
                <a:latin typeface="Arial"/>
                <a:cs typeface="Arial"/>
              </a:rPr>
              <a:t>thing.</a:t>
            </a:r>
            <a:r>
              <a:rPr lang="en-US" sz="1000" spc="-55" dirty="0">
                <a:solidFill>
                  <a:schemeClr val="bg1"/>
                </a:solidFill>
                <a:latin typeface="Arial"/>
                <a:cs typeface="Arial"/>
              </a:rPr>
              <a:t> </a:t>
            </a:r>
            <a:r>
              <a:rPr lang="en-US" sz="1000" dirty="0">
                <a:solidFill>
                  <a:schemeClr val="bg1"/>
                </a:solidFill>
                <a:latin typeface="Arial"/>
                <a:cs typeface="Arial"/>
              </a:rPr>
              <a:t>Icons</a:t>
            </a:r>
            <a:r>
              <a:rPr lang="en-US" sz="1000" spc="-55" dirty="0">
                <a:solidFill>
                  <a:schemeClr val="bg1"/>
                </a:solidFill>
                <a:latin typeface="Arial"/>
                <a:cs typeface="Arial"/>
              </a:rPr>
              <a:t> </a:t>
            </a:r>
            <a:r>
              <a:rPr lang="en-US" sz="1000" spc="-10" dirty="0">
                <a:solidFill>
                  <a:schemeClr val="bg1"/>
                </a:solidFill>
                <a:latin typeface="Arial"/>
                <a:cs typeface="Arial"/>
              </a:rPr>
              <a:t>are</a:t>
            </a:r>
            <a:r>
              <a:rPr lang="en-US" sz="1000" spc="-55" dirty="0">
                <a:solidFill>
                  <a:schemeClr val="bg1"/>
                </a:solidFill>
                <a:latin typeface="Arial"/>
                <a:cs typeface="Arial"/>
              </a:rPr>
              <a:t> </a:t>
            </a:r>
            <a:r>
              <a:rPr lang="en-US" sz="1000" spc="-10" dirty="0">
                <a:solidFill>
                  <a:schemeClr val="bg1"/>
                </a:solidFill>
                <a:latin typeface="Arial"/>
                <a:cs typeface="Arial"/>
              </a:rPr>
              <a:t>a</a:t>
            </a:r>
            <a:r>
              <a:rPr lang="en-US" sz="1000" spc="-55" dirty="0">
                <a:solidFill>
                  <a:schemeClr val="bg1"/>
                </a:solidFill>
                <a:latin typeface="Arial"/>
                <a:cs typeface="Arial"/>
              </a:rPr>
              <a:t> </a:t>
            </a:r>
            <a:r>
              <a:rPr lang="en-US" sz="1000" spc="50" dirty="0">
                <a:solidFill>
                  <a:schemeClr val="bg1"/>
                </a:solidFill>
                <a:latin typeface="Arial"/>
                <a:cs typeface="Arial"/>
              </a:rPr>
              <a:t>legitimate</a:t>
            </a:r>
            <a:r>
              <a:rPr lang="en-US" sz="1000" spc="-55" dirty="0">
                <a:solidFill>
                  <a:schemeClr val="bg1"/>
                </a:solidFill>
                <a:latin typeface="Arial"/>
                <a:cs typeface="Arial"/>
              </a:rPr>
              <a:t> </a:t>
            </a:r>
            <a:r>
              <a:rPr lang="en-US" sz="1000" dirty="0">
                <a:solidFill>
                  <a:schemeClr val="bg1"/>
                </a:solidFill>
                <a:latin typeface="Arial"/>
                <a:cs typeface="Arial"/>
              </a:rPr>
              <a:t>way</a:t>
            </a:r>
            <a:r>
              <a:rPr lang="en-US" sz="1000" spc="-55" dirty="0">
                <a:solidFill>
                  <a:schemeClr val="bg1"/>
                </a:solidFill>
                <a:latin typeface="Arial"/>
                <a:cs typeface="Arial"/>
              </a:rPr>
              <a:t> </a:t>
            </a:r>
            <a:r>
              <a:rPr lang="en-US" sz="1000" spc="70" dirty="0">
                <a:solidFill>
                  <a:schemeClr val="bg1"/>
                </a:solidFill>
                <a:latin typeface="Arial"/>
                <a:cs typeface="Arial"/>
              </a:rPr>
              <a:t>to</a:t>
            </a:r>
            <a:r>
              <a:rPr lang="en-US" sz="1000" spc="-55" dirty="0">
                <a:solidFill>
                  <a:schemeClr val="bg1"/>
                </a:solidFill>
                <a:latin typeface="Arial"/>
                <a:cs typeface="Arial"/>
              </a:rPr>
              <a:t> </a:t>
            </a:r>
            <a:r>
              <a:rPr lang="en-US" sz="1000" spc="50" dirty="0">
                <a:solidFill>
                  <a:schemeClr val="bg1"/>
                </a:solidFill>
                <a:latin typeface="Arial"/>
                <a:cs typeface="Arial"/>
              </a:rPr>
              <a:t>communicate</a:t>
            </a:r>
            <a:r>
              <a:rPr lang="en-US" sz="1000" spc="-55" dirty="0">
                <a:solidFill>
                  <a:schemeClr val="bg1"/>
                </a:solidFill>
                <a:latin typeface="Arial"/>
                <a:cs typeface="Arial"/>
              </a:rPr>
              <a:t> </a:t>
            </a:r>
            <a:r>
              <a:rPr lang="en-US" sz="1000" spc="-10" dirty="0">
                <a:solidFill>
                  <a:schemeClr val="bg1"/>
                </a:solidFill>
                <a:latin typeface="Arial"/>
                <a:cs typeface="Arial"/>
              </a:rPr>
              <a:t>specific </a:t>
            </a:r>
            <a:r>
              <a:rPr lang="en-US" sz="1000" dirty="0">
                <a:solidFill>
                  <a:schemeClr val="bg1"/>
                </a:solidFill>
                <a:latin typeface="Arial"/>
                <a:cs typeface="Arial"/>
              </a:rPr>
              <a:t>themes</a:t>
            </a:r>
            <a:r>
              <a:rPr lang="en-US" sz="1000" spc="80" dirty="0">
                <a:solidFill>
                  <a:schemeClr val="bg1"/>
                </a:solidFill>
                <a:latin typeface="Arial"/>
                <a:cs typeface="Arial"/>
              </a:rPr>
              <a:t> </a:t>
            </a:r>
            <a:r>
              <a:rPr lang="en-US" sz="1000" dirty="0">
                <a:solidFill>
                  <a:schemeClr val="bg1"/>
                </a:solidFill>
                <a:latin typeface="Arial"/>
                <a:cs typeface="Arial"/>
              </a:rPr>
              <a:t>or</a:t>
            </a:r>
            <a:r>
              <a:rPr lang="en-US" sz="1000" spc="85" dirty="0">
                <a:solidFill>
                  <a:schemeClr val="bg1"/>
                </a:solidFill>
                <a:latin typeface="Arial"/>
                <a:cs typeface="Arial"/>
              </a:rPr>
              <a:t> </a:t>
            </a:r>
            <a:r>
              <a:rPr lang="en-US" sz="1000" dirty="0">
                <a:solidFill>
                  <a:schemeClr val="bg1"/>
                </a:solidFill>
                <a:latin typeface="Arial"/>
                <a:cs typeface="Arial"/>
              </a:rPr>
              <a:t>singular</a:t>
            </a:r>
            <a:r>
              <a:rPr lang="en-US" sz="1000" spc="80" dirty="0">
                <a:solidFill>
                  <a:schemeClr val="bg1"/>
                </a:solidFill>
                <a:latin typeface="Arial"/>
                <a:cs typeface="Arial"/>
              </a:rPr>
              <a:t> </a:t>
            </a:r>
            <a:r>
              <a:rPr lang="en-US" sz="1000" spc="-10" dirty="0">
                <a:solidFill>
                  <a:schemeClr val="bg1"/>
                </a:solidFill>
                <a:latin typeface="Arial"/>
                <a:cs typeface="Arial"/>
              </a:rPr>
              <a:t>ideas.</a:t>
            </a:r>
            <a:r>
              <a:rPr lang="en-US" sz="1000" spc="85" dirty="0">
                <a:solidFill>
                  <a:schemeClr val="bg1"/>
                </a:solidFill>
                <a:latin typeface="Arial"/>
                <a:cs typeface="Arial"/>
              </a:rPr>
              <a:t> </a:t>
            </a:r>
            <a:r>
              <a:rPr lang="en-US" sz="1000" dirty="0">
                <a:solidFill>
                  <a:schemeClr val="bg1"/>
                </a:solidFill>
                <a:latin typeface="Arial"/>
                <a:cs typeface="Arial"/>
              </a:rPr>
              <a:t>They</a:t>
            </a:r>
            <a:r>
              <a:rPr lang="en-US" sz="1000" spc="85" dirty="0">
                <a:solidFill>
                  <a:schemeClr val="bg1"/>
                </a:solidFill>
                <a:latin typeface="Arial"/>
                <a:cs typeface="Arial"/>
              </a:rPr>
              <a:t> </a:t>
            </a:r>
            <a:r>
              <a:rPr lang="en-US" sz="1000" dirty="0">
                <a:solidFill>
                  <a:schemeClr val="bg1"/>
                </a:solidFill>
                <a:latin typeface="Arial"/>
                <a:cs typeface="Arial"/>
              </a:rPr>
              <a:t>offer</a:t>
            </a:r>
            <a:r>
              <a:rPr lang="en-US" sz="1000" spc="80" dirty="0">
                <a:solidFill>
                  <a:schemeClr val="bg1"/>
                </a:solidFill>
                <a:latin typeface="Arial"/>
                <a:cs typeface="Arial"/>
              </a:rPr>
              <a:t> </a:t>
            </a:r>
            <a:r>
              <a:rPr lang="en-US" sz="1000" dirty="0">
                <a:solidFill>
                  <a:schemeClr val="bg1"/>
                </a:solidFill>
                <a:latin typeface="Arial"/>
                <a:cs typeface="Arial"/>
              </a:rPr>
              <a:t>orientation,</a:t>
            </a:r>
            <a:r>
              <a:rPr lang="en-US" sz="1000" spc="85" dirty="0">
                <a:solidFill>
                  <a:schemeClr val="bg1"/>
                </a:solidFill>
                <a:latin typeface="Arial"/>
                <a:cs typeface="Arial"/>
              </a:rPr>
              <a:t> </a:t>
            </a:r>
            <a:r>
              <a:rPr lang="en-US" sz="1000" dirty="0">
                <a:solidFill>
                  <a:schemeClr val="bg1"/>
                </a:solidFill>
                <a:latin typeface="Arial"/>
                <a:cs typeface="Arial"/>
              </a:rPr>
              <a:t>information,</a:t>
            </a:r>
            <a:r>
              <a:rPr lang="en-US" sz="1000" spc="85" dirty="0">
                <a:solidFill>
                  <a:schemeClr val="bg1"/>
                </a:solidFill>
                <a:latin typeface="Arial"/>
                <a:cs typeface="Arial"/>
              </a:rPr>
              <a:t> </a:t>
            </a:r>
            <a:r>
              <a:rPr lang="en-US" sz="1000" spc="-25" dirty="0">
                <a:solidFill>
                  <a:schemeClr val="bg1"/>
                </a:solidFill>
                <a:latin typeface="Arial"/>
                <a:cs typeface="Arial"/>
              </a:rPr>
              <a:t>and </a:t>
            </a:r>
            <a:r>
              <a:rPr lang="en-US" sz="1000" spc="50" dirty="0">
                <a:solidFill>
                  <a:schemeClr val="bg1"/>
                </a:solidFill>
                <a:latin typeface="Arial"/>
                <a:cs typeface="Arial"/>
              </a:rPr>
              <a:t>communication</a:t>
            </a:r>
            <a:r>
              <a:rPr lang="en-US" sz="1000" spc="-85" dirty="0">
                <a:solidFill>
                  <a:schemeClr val="bg1"/>
                </a:solidFill>
                <a:latin typeface="Arial"/>
                <a:cs typeface="Arial"/>
              </a:rPr>
              <a:t> </a:t>
            </a:r>
            <a:r>
              <a:rPr lang="en-US" sz="1000" spc="75" dirty="0">
                <a:solidFill>
                  <a:schemeClr val="bg1"/>
                </a:solidFill>
                <a:latin typeface="Arial"/>
                <a:cs typeface="Arial"/>
              </a:rPr>
              <a:t>without</a:t>
            </a:r>
            <a:r>
              <a:rPr lang="en-US" sz="1000" spc="-80" dirty="0">
                <a:solidFill>
                  <a:schemeClr val="bg1"/>
                </a:solidFill>
                <a:latin typeface="Arial"/>
                <a:cs typeface="Arial"/>
              </a:rPr>
              <a:t> </a:t>
            </a:r>
            <a:r>
              <a:rPr lang="en-US" sz="1000" spc="-10" dirty="0">
                <a:solidFill>
                  <a:schemeClr val="bg1"/>
                </a:solidFill>
                <a:latin typeface="Arial"/>
                <a:cs typeface="Arial"/>
              </a:rPr>
              <a:t>words.</a:t>
            </a:r>
          </a:p>
        </p:txBody>
      </p:sp>
      <p:sp>
        <p:nvSpPr>
          <p:cNvPr id="206" name="object 142">
            <a:extLst>
              <a:ext uri="{FF2B5EF4-FFF2-40B4-BE49-F238E27FC236}">
                <a16:creationId xmlns:a16="http://schemas.microsoft.com/office/drawing/2014/main" id="{6FD2DFAC-8F30-1F6A-C5F5-8148EDC4AA1E}"/>
              </a:ext>
            </a:extLst>
          </p:cNvPr>
          <p:cNvSpPr txBox="1"/>
          <p:nvPr/>
        </p:nvSpPr>
        <p:spPr>
          <a:xfrm>
            <a:off x="276400" y="4071442"/>
            <a:ext cx="2012711" cy="725326"/>
          </a:xfrm>
          <a:prstGeom prst="rect">
            <a:avLst/>
          </a:prstGeom>
        </p:spPr>
        <p:txBody>
          <a:bodyPr vert="horz" wrap="square" lIns="0" tIns="26034" rIns="0" bIns="0" rtlCol="0">
            <a:spAutoFit/>
          </a:bodyPr>
          <a:lstStyle/>
          <a:p>
            <a:pPr marL="12700">
              <a:lnSpc>
                <a:spcPct val="100000"/>
              </a:lnSpc>
              <a:spcBef>
                <a:spcPts val="204"/>
              </a:spcBef>
            </a:pPr>
            <a:r>
              <a:rPr sz="600" b="1" dirty="0">
                <a:solidFill>
                  <a:srgbClr val="FFFFFF"/>
                </a:solidFill>
                <a:latin typeface="Arial"/>
                <a:cs typeface="Arial"/>
              </a:rPr>
              <a:t>Grid, line weight, and style</a:t>
            </a:r>
            <a:endParaRPr sz="600" dirty="0">
              <a:latin typeface="Arial"/>
              <a:cs typeface="Arial"/>
            </a:endParaRPr>
          </a:p>
          <a:p>
            <a:pPr marL="12700" marR="5080">
              <a:lnSpc>
                <a:spcPct val="111200"/>
              </a:lnSpc>
            </a:pPr>
            <a:r>
              <a:rPr sz="600" dirty="0">
                <a:solidFill>
                  <a:srgbClr val="FFFFFF"/>
                </a:solidFill>
                <a:latin typeface="Arial"/>
                <a:cs typeface="Arial"/>
              </a:rPr>
              <a:t>The form of the icon is constructed by flat geometric lines and shapes that align to a 32 × 32 pixel grid. Lines are usually 2 pixels wide; 1 and 4 pixel wide lines are optional.</a:t>
            </a:r>
            <a:r>
              <a:rPr lang="en-US" sz="600" dirty="0">
                <a:solidFill>
                  <a:srgbClr val="FFFFFF"/>
                </a:solidFill>
                <a:latin typeface="Arial"/>
                <a:cs typeface="Arial"/>
              </a:rPr>
              <a:t> </a:t>
            </a:r>
            <a:r>
              <a:rPr sz="600" dirty="0">
                <a:solidFill>
                  <a:srgbClr val="FFFFFF"/>
                </a:solidFill>
                <a:latin typeface="Arial"/>
                <a:cs typeface="Arial"/>
              </a:rPr>
              <a:t>Angles should be kept at 30, 45, or 60 degrees. Allow for an 8-pixel-wide exclusion zone around icons when applying them in layouts.</a:t>
            </a:r>
            <a:endParaRPr sz="600" dirty="0">
              <a:latin typeface="Arial"/>
              <a:cs typeface="Arial"/>
            </a:endParaRPr>
          </a:p>
        </p:txBody>
      </p:sp>
      <p:sp>
        <p:nvSpPr>
          <p:cNvPr id="207" name="object 143">
            <a:extLst>
              <a:ext uri="{FF2B5EF4-FFF2-40B4-BE49-F238E27FC236}">
                <a16:creationId xmlns:a16="http://schemas.microsoft.com/office/drawing/2014/main" id="{E40BC53A-78BD-633B-1CDF-F58E4B87CE6A}"/>
              </a:ext>
            </a:extLst>
          </p:cNvPr>
          <p:cNvSpPr txBox="1"/>
          <p:nvPr/>
        </p:nvSpPr>
        <p:spPr>
          <a:xfrm>
            <a:off x="4636056" y="4071442"/>
            <a:ext cx="2002883" cy="622862"/>
          </a:xfrm>
          <a:prstGeom prst="rect">
            <a:avLst/>
          </a:prstGeom>
        </p:spPr>
        <p:txBody>
          <a:bodyPr vert="horz" wrap="square" lIns="0" tIns="26034" rIns="0" bIns="0" rtlCol="0">
            <a:spAutoFit/>
          </a:bodyPr>
          <a:lstStyle/>
          <a:p>
            <a:pPr marL="12700">
              <a:lnSpc>
                <a:spcPct val="100000"/>
              </a:lnSpc>
              <a:spcBef>
                <a:spcPts val="204"/>
              </a:spcBef>
            </a:pPr>
            <a:r>
              <a:rPr sz="600" b="1" dirty="0">
                <a:solidFill>
                  <a:srgbClr val="FFFFFF"/>
                </a:solidFill>
                <a:latin typeface="Arial"/>
                <a:cs typeface="Arial"/>
              </a:rPr>
              <a:t>Usage</a:t>
            </a:r>
            <a:endParaRPr sz="600" dirty="0">
              <a:latin typeface="Arial"/>
              <a:cs typeface="Arial"/>
            </a:endParaRPr>
          </a:p>
          <a:p>
            <a:pPr marL="12700" marR="5080">
              <a:lnSpc>
                <a:spcPct val="111200"/>
              </a:lnSpc>
            </a:pPr>
            <a:r>
              <a:rPr sz="600" dirty="0">
                <a:solidFill>
                  <a:srgbClr val="FFFFFF"/>
                </a:solidFill>
                <a:latin typeface="Arial"/>
                <a:cs typeface="Arial"/>
              </a:rPr>
              <a:t>Munich Re icons are always simple, open, contemporary, and friendly. Each icon is reduced to a minimal shape and edited to its essence. This design ensures readability and clarity in all sizes. Icons are meant to be used small and not to be blown up to larger sizes.</a:t>
            </a:r>
            <a:endParaRPr sz="600" dirty="0">
              <a:latin typeface="Arial"/>
              <a:cs typeface="Arial"/>
            </a:endParaRPr>
          </a:p>
        </p:txBody>
      </p:sp>
      <p:sp>
        <p:nvSpPr>
          <p:cNvPr id="208" name="object 144">
            <a:extLst>
              <a:ext uri="{FF2B5EF4-FFF2-40B4-BE49-F238E27FC236}">
                <a16:creationId xmlns:a16="http://schemas.microsoft.com/office/drawing/2014/main" id="{4228DA6D-8883-6A7B-5322-915F5772BE40}"/>
              </a:ext>
            </a:extLst>
          </p:cNvPr>
          <p:cNvSpPr txBox="1"/>
          <p:nvPr/>
        </p:nvSpPr>
        <p:spPr>
          <a:xfrm>
            <a:off x="6816435" y="4071442"/>
            <a:ext cx="2049034" cy="622862"/>
          </a:xfrm>
          <a:prstGeom prst="rect">
            <a:avLst/>
          </a:prstGeom>
        </p:spPr>
        <p:txBody>
          <a:bodyPr vert="horz" wrap="square" lIns="0" tIns="26034" rIns="0" bIns="0" rtlCol="0">
            <a:spAutoFit/>
          </a:bodyPr>
          <a:lstStyle/>
          <a:p>
            <a:pPr marL="12700">
              <a:lnSpc>
                <a:spcPct val="100000"/>
              </a:lnSpc>
              <a:spcBef>
                <a:spcPts val="204"/>
              </a:spcBef>
            </a:pPr>
            <a:r>
              <a:rPr sz="600" b="1" dirty="0">
                <a:solidFill>
                  <a:srgbClr val="FFFFFF"/>
                </a:solidFill>
                <a:latin typeface="Arial"/>
                <a:cs typeface="Arial"/>
              </a:rPr>
              <a:t>Artwork</a:t>
            </a:r>
            <a:endParaRPr sz="600" dirty="0">
              <a:latin typeface="Arial"/>
              <a:cs typeface="Arial"/>
            </a:endParaRPr>
          </a:p>
          <a:p>
            <a:pPr marL="12700" marR="5080">
              <a:lnSpc>
                <a:spcPct val="111200"/>
              </a:lnSpc>
            </a:pPr>
            <a:r>
              <a:rPr sz="600" dirty="0">
                <a:solidFill>
                  <a:srgbClr val="FFFFFF"/>
                </a:solidFill>
                <a:latin typeface="Arial"/>
                <a:cs typeface="Arial"/>
              </a:rPr>
              <a:t>An extensive set of icons for all kinds of purposes has been designed. Please use the existing set whenever possible</a:t>
            </a:r>
            <a:r>
              <a:rPr lang="en-US" sz="600" dirty="0">
                <a:solidFill>
                  <a:srgbClr val="FFFFFF"/>
                </a:solidFill>
                <a:latin typeface="Arial"/>
                <a:cs typeface="Arial"/>
              </a:rPr>
              <a:t> </a:t>
            </a:r>
            <a:r>
              <a:rPr sz="600" dirty="0">
                <a:solidFill>
                  <a:srgbClr val="FFFFFF"/>
                </a:solidFill>
                <a:latin typeface="Arial"/>
                <a:cs typeface="Arial"/>
              </a:rPr>
              <a:t>to</a:t>
            </a:r>
            <a:r>
              <a:rPr lang="en-US" sz="600" dirty="0">
                <a:solidFill>
                  <a:srgbClr val="FFFFFF"/>
                </a:solidFill>
                <a:latin typeface="Arial"/>
                <a:cs typeface="Arial"/>
              </a:rPr>
              <a:t> </a:t>
            </a:r>
            <a:r>
              <a:rPr sz="600" dirty="0">
                <a:solidFill>
                  <a:srgbClr val="FFFFFF"/>
                </a:solidFill>
                <a:latin typeface="Arial"/>
                <a:cs typeface="Arial"/>
              </a:rPr>
              <a:t>avoid duplicate icons and inconsistencies. Note:</a:t>
            </a:r>
            <a:r>
              <a:rPr lang="en-US" sz="600" dirty="0">
                <a:solidFill>
                  <a:srgbClr val="FFFFFF"/>
                </a:solidFill>
                <a:latin typeface="Arial"/>
                <a:cs typeface="Arial"/>
              </a:rPr>
              <a:t> </a:t>
            </a:r>
            <a:r>
              <a:rPr sz="600" dirty="0">
                <a:solidFill>
                  <a:srgbClr val="FFFFFF"/>
                </a:solidFill>
                <a:latin typeface="Arial"/>
                <a:cs typeface="Arial"/>
              </a:rPr>
              <a:t>Only</a:t>
            </a:r>
            <a:r>
              <a:rPr lang="en-US" sz="600" dirty="0">
                <a:solidFill>
                  <a:srgbClr val="FFFFFF"/>
                </a:solidFill>
                <a:latin typeface="Arial"/>
                <a:cs typeface="Arial"/>
              </a:rPr>
              <a:t> </a:t>
            </a:r>
            <a:r>
              <a:rPr sz="600" dirty="0">
                <a:solidFill>
                  <a:srgbClr val="FFFFFF"/>
                </a:solidFill>
                <a:latin typeface="Arial"/>
                <a:cs typeface="Arial"/>
              </a:rPr>
              <a:t>a selection is shown here. Contact Brand Management to obtain the full set.</a:t>
            </a:r>
            <a:endParaRPr sz="600" dirty="0">
              <a:latin typeface="Arial"/>
              <a:cs typeface="Arial"/>
            </a:endParaRPr>
          </a:p>
        </p:txBody>
      </p:sp>
      <p:sp>
        <p:nvSpPr>
          <p:cNvPr id="209" name="object 145">
            <a:extLst>
              <a:ext uri="{FF2B5EF4-FFF2-40B4-BE49-F238E27FC236}">
                <a16:creationId xmlns:a16="http://schemas.microsoft.com/office/drawing/2014/main" id="{C963C2B0-B22A-2888-DD55-FE52C5DA165D}"/>
              </a:ext>
            </a:extLst>
          </p:cNvPr>
          <p:cNvSpPr txBox="1"/>
          <p:nvPr/>
        </p:nvSpPr>
        <p:spPr>
          <a:xfrm>
            <a:off x="2456778" y="4071442"/>
            <a:ext cx="2045188" cy="622862"/>
          </a:xfrm>
          <a:prstGeom prst="rect">
            <a:avLst/>
          </a:prstGeom>
        </p:spPr>
        <p:txBody>
          <a:bodyPr vert="horz" wrap="square" lIns="0" tIns="26034" rIns="0" bIns="0" rtlCol="0">
            <a:spAutoFit/>
          </a:bodyPr>
          <a:lstStyle/>
          <a:p>
            <a:pPr marL="12700">
              <a:lnSpc>
                <a:spcPct val="100000"/>
              </a:lnSpc>
              <a:spcBef>
                <a:spcPts val="204"/>
              </a:spcBef>
            </a:pPr>
            <a:r>
              <a:rPr sz="600" b="1" dirty="0">
                <a:solidFill>
                  <a:srgbClr val="FFFFFF"/>
                </a:solidFill>
                <a:latin typeface="Arial"/>
                <a:cs typeface="Arial"/>
              </a:rPr>
              <a:t>Colour</a:t>
            </a:r>
            <a:endParaRPr sz="600" dirty="0">
              <a:latin typeface="Arial"/>
              <a:cs typeface="Arial"/>
            </a:endParaRPr>
          </a:p>
          <a:p>
            <a:pPr marL="12700" marR="5080">
              <a:lnSpc>
                <a:spcPct val="111200"/>
              </a:lnSpc>
            </a:pPr>
            <a:r>
              <a:rPr sz="600" dirty="0">
                <a:solidFill>
                  <a:srgbClr val="FFFFFF"/>
                </a:solidFill>
                <a:latin typeface="Arial"/>
                <a:cs typeface="Arial"/>
              </a:rPr>
              <a:t>Icons can be filled in with any of the primary or accent palette colours as long as accessibility standards are met. However, within one piece of communication, icons should always remain the same colour. Also, never mix icon and pictogram styles.</a:t>
            </a:r>
            <a:endParaRPr sz="600" dirty="0">
              <a:latin typeface="Arial"/>
              <a:cs typeface="Arial"/>
            </a:endParaRPr>
          </a:p>
        </p:txBody>
      </p:sp>
      <p:grpSp>
        <p:nvGrpSpPr>
          <p:cNvPr id="210" name="object 146">
            <a:extLst>
              <a:ext uri="{FF2B5EF4-FFF2-40B4-BE49-F238E27FC236}">
                <a16:creationId xmlns:a16="http://schemas.microsoft.com/office/drawing/2014/main" id="{EF1FE7CA-5129-B0ED-91B5-1E8BE16317D9}"/>
              </a:ext>
            </a:extLst>
          </p:cNvPr>
          <p:cNvGrpSpPr/>
          <p:nvPr/>
        </p:nvGrpSpPr>
        <p:grpSpPr>
          <a:xfrm>
            <a:off x="2464222" y="1339408"/>
            <a:ext cx="436301" cy="436301"/>
            <a:chOff x="3527996" y="1944014"/>
            <a:chExt cx="648335" cy="648335"/>
          </a:xfrm>
        </p:grpSpPr>
        <p:sp>
          <p:nvSpPr>
            <p:cNvPr id="211" name="object 147">
              <a:extLst>
                <a:ext uri="{FF2B5EF4-FFF2-40B4-BE49-F238E27FC236}">
                  <a16:creationId xmlns:a16="http://schemas.microsoft.com/office/drawing/2014/main" id="{7D2FFEBB-47DF-8C5F-0D83-9F3BD63C5ABA}"/>
                </a:ext>
              </a:extLst>
            </p:cNvPr>
            <p:cNvSpPr/>
            <p:nvPr/>
          </p:nvSpPr>
          <p:spPr>
            <a:xfrm>
              <a:off x="3527996" y="1944014"/>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FFFFFF"/>
            </a:solidFill>
          </p:spPr>
          <p:txBody>
            <a:bodyPr wrap="square" lIns="0" tIns="0" rIns="0" bIns="0" rtlCol="0"/>
            <a:lstStyle/>
            <a:p>
              <a:endParaRPr/>
            </a:p>
          </p:txBody>
        </p:sp>
        <p:sp>
          <p:nvSpPr>
            <p:cNvPr id="212" name="object 148">
              <a:extLst>
                <a:ext uri="{FF2B5EF4-FFF2-40B4-BE49-F238E27FC236}">
                  <a16:creationId xmlns:a16="http://schemas.microsoft.com/office/drawing/2014/main" id="{019AEF07-8F1F-DEF8-AA10-CF829492E61F}"/>
                </a:ext>
              </a:extLst>
            </p:cNvPr>
            <p:cNvSpPr/>
            <p:nvPr/>
          </p:nvSpPr>
          <p:spPr>
            <a:xfrm>
              <a:off x="3635998" y="2052006"/>
              <a:ext cx="432434" cy="419734"/>
            </a:xfrm>
            <a:custGeom>
              <a:avLst/>
              <a:gdLst/>
              <a:ahLst/>
              <a:cxnLst/>
              <a:rect l="l" t="t" r="r" b="b"/>
              <a:pathLst>
                <a:path w="432435" h="419735">
                  <a:moveTo>
                    <a:pt x="172064" y="381584"/>
                  </a:moveTo>
                  <a:lnTo>
                    <a:pt x="119748" y="381584"/>
                  </a:lnTo>
                  <a:lnTo>
                    <a:pt x="134859" y="392773"/>
                  </a:lnTo>
                  <a:lnTo>
                    <a:pt x="156664" y="405118"/>
                  </a:lnTo>
                  <a:lnTo>
                    <a:pt x="184074" y="415104"/>
                  </a:lnTo>
                  <a:lnTo>
                    <a:pt x="216001" y="419214"/>
                  </a:lnTo>
                  <a:lnTo>
                    <a:pt x="247923" y="415102"/>
                  </a:lnTo>
                  <a:lnTo>
                    <a:pt x="275334" y="405114"/>
                  </a:lnTo>
                  <a:lnTo>
                    <a:pt x="297142" y="392768"/>
                  </a:lnTo>
                  <a:lnTo>
                    <a:pt x="297873" y="392226"/>
                  </a:lnTo>
                  <a:lnTo>
                    <a:pt x="216001" y="392226"/>
                  </a:lnTo>
                  <a:lnTo>
                    <a:pt x="182727" y="386548"/>
                  </a:lnTo>
                  <a:lnTo>
                    <a:pt x="172064" y="381584"/>
                  </a:lnTo>
                  <a:close/>
                </a:path>
                <a:path w="432435" h="419735">
                  <a:moveTo>
                    <a:pt x="123596" y="348094"/>
                  </a:moveTo>
                  <a:lnTo>
                    <a:pt x="75674" y="372945"/>
                  </a:lnTo>
                  <a:lnTo>
                    <a:pt x="38774" y="386114"/>
                  </a:lnTo>
                  <a:lnTo>
                    <a:pt x="0" y="392087"/>
                  </a:lnTo>
                  <a:lnTo>
                    <a:pt x="0" y="419087"/>
                  </a:lnTo>
                  <a:lnTo>
                    <a:pt x="35160" y="414806"/>
                  </a:lnTo>
                  <a:lnTo>
                    <a:pt x="69337" y="404545"/>
                  </a:lnTo>
                  <a:lnTo>
                    <a:pt x="98781" y="392180"/>
                  </a:lnTo>
                  <a:lnTo>
                    <a:pt x="119748" y="381584"/>
                  </a:lnTo>
                  <a:lnTo>
                    <a:pt x="172064" y="381584"/>
                  </a:lnTo>
                  <a:lnTo>
                    <a:pt x="155835" y="374029"/>
                  </a:lnTo>
                  <a:lnTo>
                    <a:pt x="137791" y="361446"/>
                  </a:lnTo>
                  <a:lnTo>
                    <a:pt x="131063" y="355574"/>
                  </a:lnTo>
                  <a:lnTo>
                    <a:pt x="123596" y="348094"/>
                  </a:lnTo>
                  <a:close/>
                </a:path>
                <a:path w="432435" h="419735">
                  <a:moveTo>
                    <a:pt x="380591" y="381584"/>
                  </a:moveTo>
                  <a:lnTo>
                    <a:pt x="312254" y="381584"/>
                  </a:lnTo>
                  <a:lnTo>
                    <a:pt x="333326" y="392226"/>
                  </a:lnTo>
                  <a:lnTo>
                    <a:pt x="362661" y="404545"/>
                  </a:lnTo>
                  <a:lnTo>
                    <a:pt x="396840" y="414806"/>
                  </a:lnTo>
                  <a:lnTo>
                    <a:pt x="432003" y="419087"/>
                  </a:lnTo>
                  <a:lnTo>
                    <a:pt x="432003" y="392087"/>
                  </a:lnTo>
                  <a:lnTo>
                    <a:pt x="393287" y="386114"/>
                  </a:lnTo>
                  <a:lnTo>
                    <a:pt x="380591" y="381584"/>
                  </a:lnTo>
                  <a:close/>
                </a:path>
                <a:path w="432435" h="419735">
                  <a:moveTo>
                    <a:pt x="308394" y="348094"/>
                  </a:moveTo>
                  <a:lnTo>
                    <a:pt x="276277" y="374038"/>
                  </a:lnTo>
                  <a:lnTo>
                    <a:pt x="216001" y="392226"/>
                  </a:lnTo>
                  <a:lnTo>
                    <a:pt x="297873" y="392226"/>
                  </a:lnTo>
                  <a:lnTo>
                    <a:pt x="312254" y="381584"/>
                  </a:lnTo>
                  <a:lnTo>
                    <a:pt x="380591" y="381584"/>
                  </a:lnTo>
                  <a:lnTo>
                    <a:pt x="356379" y="372945"/>
                  </a:lnTo>
                  <a:lnTo>
                    <a:pt x="328642" y="359704"/>
                  </a:lnTo>
                  <a:lnTo>
                    <a:pt x="317436" y="353517"/>
                  </a:lnTo>
                  <a:lnTo>
                    <a:pt x="308394" y="348094"/>
                  </a:lnTo>
                  <a:close/>
                </a:path>
                <a:path w="432435" h="419735">
                  <a:moveTo>
                    <a:pt x="229501" y="222377"/>
                  </a:moveTo>
                  <a:lnTo>
                    <a:pt x="202501" y="222377"/>
                  </a:lnTo>
                  <a:lnTo>
                    <a:pt x="202501" y="363880"/>
                  </a:lnTo>
                  <a:lnTo>
                    <a:pt x="206895" y="364604"/>
                  </a:lnTo>
                  <a:lnTo>
                    <a:pt x="211353" y="365086"/>
                  </a:lnTo>
                  <a:lnTo>
                    <a:pt x="220662" y="365086"/>
                  </a:lnTo>
                  <a:lnTo>
                    <a:pt x="225132" y="364604"/>
                  </a:lnTo>
                  <a:lnTo>
                    <a:pt x="229501" y="363880"/>
                  </a:lnTo>
                  <a:lnTo>
                    <a:pt x="229501" y="222377"/>
                  </a:lnTo>
                  <a:close/>
                </a:path>
                <a:path w="432435" h="419735">
                  <a:moveTo>
                    <a:pt x="308547" y="222377"/>
                  </a:moveTo>
                  <a:lnTo>
                    <a:pt x="229501" y="222377"/>
                  </a:lnTo>
                  <a:lnTo>
                    <a:pt x="345655" y="264617"/>
                  </a:lnTo>
                  <a:lnTo>
                    <a:pt x="316737" y="322440"/>
                  </a:lnTo>
                  <a:lnTo>
                    <a:pt x="320232" y="324583"/>
                  </a:lnTo>
                  <a:lnTo>
                    <a:pt x="325431" y="327663"/>
                  </a:lnTo>
                  <a:lnTo>
                    <a:pt x="332154" y="331480"/>
                  </a:lnTo>
                  <a:lnTo>
                    <a:pt x="340220" y="335838"/>
                  </a:lnTo>
                  <a:lnTo>
                    <a:pt x="383349" y="249567"/>
                  </a:lnTo>
                  <a:lnTo>
                    <a:pt x="337502" y="232905"/>
                  </a:lnTo>
                  <a:lnTo>
                    <a:pt x="337502" y="223088"/>
                  </a:lnTo>
                  <a:lnTo>
                    <a:pt x="310502" y="223088"/>
                  </a:lnTo>
                  <a:lnTo>
                    <a:pt x="308547" y="222377"/>
                  </a:lnTo>
                  <a:close/>
                </a:path>
                <a:path w="432435" h="419735">
                  <a:moveTo>
                    <a:pt x="337502" y="108483"/>
                  </a:moveTo>
                  <a:lnTo>
                    <a:pt x="94500" y="108483"/>
                  </a:lnTo>
                  <a:lnTo>
                    <a:pt x="94500" y="232905"/>
                  </a:lnTo>
                  <a:lnTo>
                    <a:pt x="48653" y="249580"/>
                  </a:lnTo>
                  <a:lnTo>
                    <a:pt x="91617" y="335508"/>
                  </a:lnTo>
                  <a:lnTo>
                    <a:pt x="100112" y="330801"/>
                  </a:lnTo>
                  <a:lnTo>
                    <a:pt x="106995" y="326782"/>
                  </a:lnTo>
                  <a:lnTo>
                    <a:pt x="112029" y="323712"/>
                  </a:lnTo>
                  <a:lnTo>
                    <a:pt x="114973" y="321856"/>
                  </a:lnTo>
                  <a:lnTo>
                    <a:pt x="86347" y="264617"/>
                  </a:lnTo>
                  <a:lnTo>
                    <a:pt x="200545" y="223088"/>
                  </a:lnTo>
                  <a:lnTo>
                    <a:pt x="121500" y="223088"/>
                  </a:lnTo>
                  <a:lnTo>
                    <a:pt x="121196" y="135597"/>
                  </a:lnTo>
                  <a:lnTo>
                    <a:pt x="337502" y="135597"/>
                  </a:lnTo>
                  <a:lnTo>
                    <a:pt x="337502" y="108483"/>
                  </a:lnTo>
                  <a:close/>
                </a:path>
                <a:path w="432435" h="419735">
                  <a:moveTo>
                    <a:pt x="216001" y="188709"/>
                  </a:moveTo>
                  <a:lnTo>
                    <a:pt x="121500" y="223088"/>
                  </a:lnTo>
                  <a:lnTo>
                    <a:pt x="200545" y="223088"/>
                  </a:lnTo>
                  <a:lnTo>
                    <a:pt x="202501" y="222377"/>
                  </a:lnTo>
                  <a:lnTo>
                    <a:pt x="308547" y="222377"/>
                  </a:lnTo>
                  <a:lnTo>
                    <a:pt x="216001" y="188709"/>
                  </a:lnTo>
                  <a:close/>
                </a:path>
                <a:path w="432435" h="419735">
                  <a:moveTo>
                    <a:pt x="337502" y="135597"/>
                  </a:moveTo>
                  <a:lnTo>
                    <a:pt x="310184" y="135597"/>
                  </a:lnTo>
                  <a:lnTo>
                    <a:pt x="310502" y="223088"/>
                  </a:lnTo>
                  <a:lnTo>
                    <a:pt x="337502" y="223088"/>
                  </a:lnTo>
                  <a:lnTo>
                    <a:pt x="337502" y="135597"/>
                  </a:lnTo>
                  <a:close/>
                </a:path>
                <a:path w="432435" h="419735">
                  <a:moveTo>
                    <a:pt x="310502" y="27597"/>
                  </a:moveTo>
                  <a:lnTo>
                    <a:pt x="121500" y="27597"/>
                  </a:lnTo>
                  <a:lnTo>
                    <a:pt x="121500" y="108483"/>
                  </a:lnTo>
                  <a:lnTo>
                    <a:pt x="148501" y="108483"/>
                  </a:lnTo>
                  <a:lnTo>
                    <a:pt x="148501" y="81597"/>
                  </a:lnTo>
                  <a:lnTo>
                    <a:pt x="310502" y="81597"/>
                  </a:lnTo>
                  <a:lnTo>
                    <a:pt x="310502" y="27597"/>
                  </a:lnTo>
                  <a:close/>
                </a:path>
                <a:path w="432435" h="419735">
                  <a:moveTo>
                    <a:pt x="310502" y="81597"/>
                  </a:moveTo>
                  <a:lnTo>
                    <a:pt x="283502" y="81597"/>
                  </a:lnTo>
                  <a:lnTo>
                    <a:pt x="283502" y="108483"/>
                  </a:lnTo>
                  <a:lnTo>
                    <a:pt x="310502" y="108483"/>
                  </a:lnTo>
                  <a:lnTo>
                    <a:pt x="310502" y="81597"/>
                  </a:lnTo>
                  <a:close/>
                </a:path>
                <a:path w="432435" h="419735">
                  <a:moveTo>
                    <a:pt x="256501" y="0"/>
                  </a:moveTo>
                  <a:lnTo>
                    <a:pt x="175501" y="0"/>
                  </a:lnTo>
                  <a:lnTo>
                    <a:pt x="175501" y="27597"/>
                  </a:lnTo>
                  <a:lnTo>
                    <a:pt x="256501" y="27597"/>
                  </a:lnTo>
                  <a:lnTo>
                    <a:pt x="256501" y="0"/>
                  </a:lnTo>
                  <a:close/>
                </a:path>
              </a:pathLst>
            </a:custGeom>
            <a:solidFill>
              <a:srgbClr val="0F1E32"/>
            </a:solidFill>
          </p:spPr>
          <p:txBody>
            <a:bodyPr wrap="square" lIns="0" tIns="0" rIns="0" bIns="0" rtlCol="0"/>
            <a:lstStyle/>
            <a:p>
              <a:endParaRPr/>
            </a:p>
          </p:txBody>
        </p:sp>
      </p:grpSp>
      <p:grpSp>
        <p:nvGrpSpPr>
          <p:cNvPr id="213" name="object 149">
            <a:extLst>
              <a:ext uri="{FF2B5EF4-FFF2-40B4-BE49-F238E27FC236}">
                <a16:creationId xmlns:a16="http://schemas.microsoft.com/office/drawing/2014/main" id="{2E539D28-3849-EC0A-B382-8CC98EBF65FB}"/>
              </a:ext>
            </a:extLst>
          </p:cNvPr>
          <p:cNvGrpSpPr/>
          <p:nvPr/>
        </p:nvGrpSpPr>
        <p:grpSpPr>
          <a:xfrm>
            <a:off x="3917810" y="1339408"/>
            <a:ext cx="436301" cy="436301"/>
            <a:chOff x="5687999" y="1944014"/>
            <a:chExt cx="648335" cy="648335"/>
          </a:xfrm>
        </p:grpSpPr>
        <p:sp>
          <p:nvSpPr>
            <p:cNvPr id="214" name="object 150">
              <a:extLst>
                <a:ext uri="{FF2B5EF4-FFF2-40B4-BE49-F238E27FC236}">
                  <a16:creationId xmlns:a16="http://schemas.microsoft.com/office/drawing/2014/main" id="{ED515730-0802-00F8-28AB-F915E08AB2FA}"/>
                </a:ext>
              </a:extLst>
            </p:cNvPr>
            <p:cNvSpPr/>
            <p:nvPr/>
          </p:nvSpPr>
          <p:spPr>
            <a:xfrm>
              <a:off x="5687999" y="1944014"/>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D9DADC"/>
            </a:solidFill>
          </p:spPr>
          <p:txBody>
            <a:bodyPr wrap="square" lIns="0" tIns="0" rIns="0" bIns="0" rtlCol="0"/>
            <a:lstStyle/>
            <a:p>
              <a:endParaRPr/>
            </a:p>
          </p:txBody>
        </p:sp>
        <p:sp>
          <p:nvSpPr>
            <p:cNvPr id="215" name="object 151">
              <a:extLst>
                <a:ext uri="{FF2B5EF4-FFF2-40B4-BE49-F238E27FC236}">
                  <a16:creationId xmlns:a16="http://schemas.microsoft.com/office/drawing/2014/main" id="{76D3AEAA-5F6B-C68F-338F-9925241AF770}"/>
                </a:ext>
              </a:extLst>
            </p:cNvPr>
            <p:cNvSpPr/>
            <p:nvPr/>
          </p:nvSpPr>
          <p:spPr>
            <a:xfrm>
              <a:off x="5795996" y="2052002"/>
              <a:ext cx="432434" cy="432434"/>
            </a:xfrm>
            <a:custGeom>
              <a:avLst/>
              <a:gdLst/>
              <a:ahLst/>
              <a:cxnLst/>
              <a:rect l="l" t="t" r="r" b="b"/>
              <a:pathLst>
                <a:path w="432435" h="432435">
                  <a:moveTo>
                    <a:pt x="81000" y="391502"/>
                  </a:moveTo>
                  <a:lnTo>
                    <a:pt x="27000" y="391502"/>
                  </a:lnTo>
                  <a:lnTo>
                    <a:pt x="27000" y="432003"/>
                  </a:lnTo>
                  <a:lnTo>
                    <a:pt x="81000" y="432003"/>
                  </a:lnTo>
                  <a:lnTo>
                    <a:pt x="81000" y="391502"/>
                  </a:lnTo>
                  <a:close/>
                </a:path>
                <a:path w="432435" h="432435">
                  <a:moveTo>
                    <a:pt x="351002" y="391502"/>
                  </a:moveTo>
                  <a:lnTo>
                    <a:pt x="297002" y="391502"/>
                  </a:lnTo>
                  <a:lnTo>
                    <a:pt x="297002" y="432003"/>
                  </a:lnTo>
                  <a:lnTo>
                    <a:pt x="351002" y="432003"/>
                  </a:lnTo>
                  <a:lnTo>
                    <a:pt x="351002" y="391502"/>
                  </a:lnTo>
                  <a:close/>
                </a:path>
                <a:path w="432435" h="432435">
                  <a:moveTo>
                    <a:pt x="270052" y="135001"/>
                  </a:moveTo>
                  <a:lnTo>
                    <a:pt x="57327" y="135001"/>
                  </a:lnTo>
                  <a:lnTo>
                    <a:pt x="30264" y="229501"/>
                  </a:lnTo>
                  <a:lnTo>
                    <a:pt x="0" y="229501"/>
                  </a:lnTo>
                  <a:lnTo>
                    <a:pt x="0" y="391502"/>
                  </a:lnTo>
                  <a:lnTo>
                    <a:pt x="378002" y="391502"/>
                  </a:lnTo>
                  <a:lnTo>
                    <a:pt x="378002" y="364502"/>
                  </a:lnTo>
                  <a:lnTo>
                    <a:pt x="27000" y="364502"/>
                  </a:lnTo>
                  <a:lnTo>
                    <a:pt x="27000" y="256705"/>
                  </a:lnTo>
                  <a:lnTo>
                    <a:pt x="378002" y="256514"/>
                  </a:lnTo>
                  <a:lnTo>
                    <a:pt x="378002" y="229514"/>
                  </a:lnTo>
                  <a:lnTo>
                    <a:pt x="58381" y="229501"/>
                  </a:lnTo>
                  <a:lnTo>
                    <a:pt x="77698" y="162318"/>
                  </a:lnTo>
                  <a:lnTo>
                    <a:pt x="277736" y="162318"/>
                  </a:lnTo>
                  <a:lnTo>
                    <a:pt x="274526" y="156066"/>
                  </a:lnTo>
                  <a:lnTo>
                    <a:pt x="272108" y="149398"/>
                  </a:lnTo>
                  <a:lnTo>
                    <a:pt x="270583" y="142360"/>
                  </a:lnTo>
                  <a:lnTo>
                    <a:pt x="270052" y="135001"/>
                  </a:lnTo>
                  <a:close/>
                </a:path>
                <a:path w="432435" h="432435">
                  <a:moveTo>
                    <a:pt x="378002" y="256514"/>
                  </a:moveTo>
                  <a:lnTo>
                    <a:pt x="351002" y="256514"/>
                  </a:lnTo>
                  <a:lnTo>
                    <a:pt x="351002" y="364502"/>
                  </a:lnTo>
                  <a:lnTo>
                    <a:pt x="378002" y="364502"/>
                  </a:lnTo>
                  <a:lnTo>
                    <a:pt x="378002" y="256514"/>
                  </a:lnTo>
                  <a:close/>
                </a:path>
                <a:path w="432435" h="432435">
                  <a:moveTo>
                    <a:pt x="81000" y="283502"/>
                  </a:moveTo>
                  <a:lnTo>
                    <a:pt x="70497" y="285624"/>
                  </a:lnTo>
                  <a:lnTo>
                    <a:pt x="61914" y="291411"/>
                  </a:lnTo>
                  <a:lnTo>
                    <a:pt x="56124" y="299993"/>
                  </a:lnTo>
                  <a:lnTo>
                    <a:pt x="54000" y="310502"/>
                  </a:lnTo>
                  <a:lnTo>
                    <a:pt x="56124" y="321016"/>
                  </a:lnTo>
                  <a:lnTo>
                    <a:pt x="61914" y="329598"/>
                  </a:lnTo>
                  <a:lnTo>
                    <a:pt x="70497" y="335382"/>
                  </a:lnTo>
                  <a:lnTo>
                    <a:pt x="81000" y="337502"/>
                  </a:lnTo>
                  <a:lnTo>
                    <a:pt x="91509" y="335382"/>
                  </a:lnTo>
                  <a:lnTo>
                    <a:pt x="100091" y="329598"/>
                  </a:lnTo>
                  <a:lnTo>
                    <a:pt x="105878" y="321016"/>
                  </a:lnTo>
                  <a:lnTo>
                    <a:pt x="108000" y="310502"/>
                  </a:lnTo>
                  <a:lnTo>
                    <a:pt x="105878" y="299993"/>
                  </a:lnTo>
                  <a:lnTo>
                    <a:pt x="100091" y="291411"/>
                  </a:lnTo>
                  <a:lnTo>
                    <a:pt x="91509" y="285624"/>
                  </a:lnTo>
                  <a:lnTo>
                    <a:pt x="81000" y="283502"/>
                  </a:lnTo>
                  <a:close/>
                </a:path>
                <a:path w="432435" h="432435">
                  <a:moveTo>
                    <a:pt x="297002" y="283502"/>
                  </a:moveTo>
                  <a:lnTo>
                    <a:pt x="286493" y="285624"/>
                  </a:lnTo>
                  <a:lnTo>
                    <a:pt x="277910" y="291411"/>
                  </a:lnTo>
                  <a:lnTo>
                    <a:pt x="272124" y="299993"/>
                  </a:lnTo>
                  <a:lnTo>
                    <a:pt x="270002" y="310502"/>
                  </a:lnTo>
                  <a:lnTo>
                    <a:pt x="272124" y="321016"/>
                  </a:lnTo>
                  <a:lnTo>
                    <a:pt x="277910" y="329598"/>
                  </a:lnTo>
                  <a:lnTo>
                    <a:pt x="286493" y="335382"/>
                  </a:lnTo>
                  <a:lnTo>
                    <a:pt x="297002" y="337502"/>
                  </a:lnTo>
                  <a:lnTo>
                    <a:pt x="307511" y="335382"/>
                  </a:lnTo>
                  <a:lnTo>
                    <a:pt x="316093" y="329598"/>
                  </a:lnTo>
                  <a:lnTo>
                    <a:pt x="321880" y="321016"/>
                  </a:lnTo>
                  <a:lnTo>
                    <a:pt x="324002" y="310502"/>
                  </a:lnTo>
                  <a:lnTo>
                    <a:pt x="321880" y="299993"/>
                  </a:lnTo>
                  <a:lnTo>
                    <a:pt x="316093" y="291411"/>
                  </a:lnTo>
                  <a:lnTo>
                    <a:pt x="307511" y="285624"/>
                  </a:lnTo>
                  <a:lnTo>
                    <a:pt x="297002" y="283502"/>
                  </a:lnTo>
                  <a:close/>
                </a:path>
                <a:path w="432435" h="432435">
                  <a:moveTo>
                    <a:pt x="307149" y="186016"/>
                  </a:moveTo>
                  <a:lnTo>
                    <a:pt x="319633" y="229514"/>
                  </a:lnTo>
                  <a:lnTo>
                    <a:pt x="378002" y="229514"/>
                  </a:lnTo>
                  <a:lnTo>
                    <a:pt x="347658" y="229489"/>
                  </a:lnTo>
                  <a:lnTo>
                    <a:pt x="336108" y="189001"/>
                  </a:lnTo>
                  <a:lnTo>
                    <a:pt x="318122" y="189001"/>
                  </a:lnTo>
                  <a:lnTo>
                    <a:pt x="312496" y="187794"/>
                  </a:lnTo>
                  <a:lnTo>
                    <a:pt x="307149" y="186016"/>
                  </a:lnTo>
                  <a:close/>
                </a:path>
                <a:path w="432435" h="432435">
                  <a:moveTo>
                    <a:pt x="378002" y="229489"/>
                  </a:moveTo>
                  <a:lnTo>
                    <a:pt x="347662" y="229501"/>
                  </a:lnTo>
                  <a:lnTo>
                    <a:pt x="378002" y="229501"/>
                  </a:lnTo>
                  <a:close/>
                </a:path>
                <a:path w="432435" h="432435">
                  <a:moveTo>
                    <a:pt x="335724" y="187655"/>
                  </a:moveTo>
                  <a:lnTo>
                    <a:pt x="331952" y="188493"/>
                  </a:lnTo>
                  <a:lnTo>
                    <a:pt x="328079" y="189001"/>
                  </a:lnTo>
                  <a:lnTo>
                    <a:pt x="336108" y="189001"/>
                  </a:lnTo>
                  <a:lnTo>
                    <a:pt x="335724" y="187655"/>
                  </a:lnTo>
                  <a:close/>
                </a:path>
                <a:path w="432435" h="432435">
                  <a:moveTo>
                    <a:pt x="324002" y="108000"/>
                  </a:moveTo>
                  <a:lnTo>
                    <a:pt x="313493" y="110124"/>
                  </a:lnTo>
                  <a:lnTo>
                    <a:pt x="304911" y="115914"/>
                  </a:lnTo>
                  <a:lnTo>
                    <a:pt x="299124" y="124497"/>
                  </a:lnTo>
                  <a:lnTo>
                    <a:pt x="297002" y="135001"/>
                  </a:lnTo>
                  <a:lnTo>
                    <a:pt x="299124" y="145509"/>
                  </a:lnTo>
                  <a:lnTo>
                    <a:pt x="304911" y="154092"/>
                  </a:lnTo>
                  <a:lnTo>
                    <a:pt x="313493" y="159879"/>
                  </a:lnTo>
                  <a:lnTo>
                    <a:pt x="324002" y="162001"/>
                  </a:lnTo>
                  <a:lnTo>
                    <a:pt x="334511" y="159879"/>
                  </a:lnTo>
                  <a:lnTo>
                    <a:pt x="343093" y="154092"/>
                  </a:lnTo>
                  <a:lnTo>
                    <a:pt x="348880" y="145509"/>
                  </a:lnTo>
                  <a:lnTo>
                    <a:pt x="351002" y="135001"/>
                  </a:lnTo>
                  <a:lnTo>
                    <a:pt x="348880" y="124497"/>
                  </a:lnTo>
                  <a:lnTo>
                    <a:pt x="343093" y="115914"/>
                  </a:lnTo>
                  <a:lnTo>
                    <a:pt x="334511" y="110124"/>
                  </a:lnTo>
                  <a:lnTo>
                    <a:pt x="324002" y="108000"/>
                  </a:lnTo>
                  <a:close/>
                </a:path>
                <a:path w="432435" h="432435">
                  <a:moveTo>
                    <a:pt x="324053" y="54000"/>
                  </a:moveTo>
                  <a:lnTo>
                    <a:pt x="302816" y="56827"/>
                  </a:lnTo>
                  <a:lnTo>
                    <a:pt x="283710" y="64806"/>
                  </a:lnTo>
                  <a:lnTo>
                    <a:pt x="267458" y="77183"/>
                  </a:lnTo>
                  <a:lnTo>
                    <a:pt x="254787" y="93205"/>
                  </a:lnTo>
                  <a:lnTo>
                    <a:pt x="274726" y="113144"/>
                  </a:lnTo>
                  <a:lnTo>
                    <a:pt x="282889" y="100144"/>
                  </a:lnTo>
                  <a:lnTo>
                    <a:pt x="294298" y="89981"/>
                  </a:lnTo>
                  <a:lnTo>
                    <a:pt x="308253" y="83363"/>
                  </a:lnTo>
                  <a:lnTo>
                    <a:pt x="324053" y="81000"/>
                  </a:lnTo>
                  <a:lnTo>
                    <a:pt x="383688" y="81000"/>
                  </a:lnTo>
                  <a:lnTo>
                    <a:pt x="380574" y="77081"/>
                  </a:lnTo>
                  <a:lnTo>
                    <a:pt x="364331" y="64757"/>
                  </a:lnTo>
                  <a:lnTo>
                    <a:pt x="345249" y="56814"/>
                  </a:lnTo>
                  <a:lnTo>
                    <a:pt x="324053" y="54000"/>
                  </a:lnTo>
                  <a:close/>
                </a:path>
                <a:path w="432435" h="432435">
                  <a:moveTo>
                    <a:pt x="383688" y="81000"/>
                  </a:moveTo>
                  <a:lnTo>
                    <a:pt x="324053" y="81000"/>
                  </a:lnTo>
                  <a:lnTo>
                    <a:pt x="339845" y="83363"/>
                  </a:lnTo>
                  <a:lnTo>
                    <a:pt x="353747" y="89936"/>
                  </a:lnTo>
                  <a:lnTo>
                    <a:pt x="365142" y="100047"/>
                  </a:lnTo>
                  <a:lnTo>
                    <a:pt x="373316" y="112979"/>
                  </a:lnTo>
                  <a:lnTo>
                    <a:pt x="393255" y="93040"/>
                  </a:lnTo>
                  <a:lnTo>
                    <a:pt x="383688" y="81000"/>
                  </a:lnTo>
                  <a:close/>
                </a:path>
                <a:path w="432435" h="432435">
                  <a:moveTo>
                    <a:pt x="403692" y="27000"/>
                  </a:moveTo>
                  <a:lnTo>
                    <a:pt x="324065" y="27000"/>
                  </a:lnTo>
                  <a:lnTo>
                    <a:pt x="350652" y="30315"/>
                  </a:lnTo>
                  <a:lnTo>
                    <a:pt x="374821" y="39712"/>
                  </a:lnTo>
                  <a:lnTo>
                    <a:pt x="395771" y="54367"/>
                  </a:lnTo>
                  <a:lnTo>
                    <a:pt x="412699" y="73456"/>
                  </a:lnTo>
                  <a:lnTo>
                    <a:pt x="432003" y="54165"/>
                  </a:lnTo>
                  <a:lnTo>
                    <a:pt x="410962" y="31852"/>
                  </a:lnTo>
                  <a:lnTo>
                    <a:pt x="403692" y="27000"/>
                  </a:lnTo>
                  <a:close/>
                </a:path>
                <a:path w="432435" h="432435">
                  <a:moveTo>
                    <a:pt x="324065" y="0"/>
                  </a:moveTo>
                  <a:lnTo>
                    <a:pt x="292100" y="3826"/>
                  </a:lnTo>
                  <a:lnTo>
                    <a:pt x="262907" y="14697"/>
                  </a:lnTo>
                  <a:lnTo>
                    <a:pt x="237360" y="31696"/>
                  </a:lnTo>
                  <a:lnTo>
                    <a:pt x="216331" y="53911"/>
                  </a:lnTo>
                  <a:lnTo>
                    <a:pt x="235635" y="73215"/>
                  </a:lnTo>
                  <a:lnTo>
                    <a:pt x="252551" y="54223"/>
                  </a:lnTo>
                  <a:lnTo>
                    <a:pt x="273464" y="39644"/>
                  </a:lnTo>
                  <a:lnTo>
                    <a:pt x="297570" y="30297"/>
                  </a:lnTo>
                  <a:lnTo>
                    <a:pt x="324065" y="27000"/>
                  </a:lnTo>
                  <a:lnTo>
                    <a:pt x="403692" y="27000"/>
                  </a:lnTo>
                  <a:lnTo>
                    <a:pt x="385368" y="14771"/>
                  </a:lnTo>
                  <a:lnTo>
                    <a:pt x="356108" y="3846"/>
                  </a:lnTo>
                  <a:lnTo>
                    <a:pt x="324065" y="0"/>
                  </a:lnTo>
                  <a:close/>
                </a:path>
              </a:pathLst>
            </a:custGeom>
            <a:solidFill>
              <a:srgbClr val="3350B8"/>
            </a:solidFill>
          </p:spPr>
          <p:txBody>
            <a:bodyPr wrap="square" lIns="0" tIns="0" rIns="0" bIns="0" rtlCol="0"/>
            <a:lstStyle/>
            <a:p>
              <a:endParaRPr/>
            </a:p>
          </p:txBody>
        </p:sp>
      </p:grpSp>
      <p:grpSp>
        <p:nvGrpSpPr>
          <p:cNvPr id="216" name="object 152">
            <a:extLst>
              <a:ext uri="{FF2B5EF4-FFF2-40B4-BE49-F238E27FC236}">
                <a16:creationId xmlns:a16="http://schemas.microsoft.com/office/drawing/2014/main" id="{98EEBFCB-D622-CD10-CBE0-012F5AD6D16B}"/>
              </a:ext>
            </a:extLst>
          </p:cNvPr>
          <p:cNvGrpSpPr/>
          <p:nvPr/>
        </p:nvGrpSpPr>
        <p:grpSpPr>
          <a:xfrm>
            <a:off x="3191020" y="2066197"/>
            <a:ext cx="436301" cy="436301"/>
            <a:chOff x="4608004" y="3024009"/>
            <a:chExt cx="648335" cy="648335"/>
          </a:xfrm>
        </p:grpSpPr>
        <p:sp>
          <p:nvSpPr>
            <p:cNvPr id="217" name="object 153">
              <a:extLst>
                <a:ext uri="{FF2B5EF4-FFF2-40B4-BE49-F238E27FC236}">
                  <a16:creationId xmlns:a16="http://schemas.microsoft.com/office/drawing/2014/main" id="{BD3DB48E-6713-CBD7-297C-FD9FB144519C}"/>
                </a:ext>
              </a:extLst>
            </p:cNvPr>
            <p:cNvSpPr/>
            <p:nvPr/>
          </p:nvSpPr>
          <p:spPr>
            <a:xfrm>
              <a:off x="4608004" y="3024009"/>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FFFFFF"/>
            </a:solidFill>
          </p:spPr>
          <p:txBody>
            <a:bodyPr wrap="square" lIns="0" tIns="0" rIns="0" bIns="0" rtlCol="0"/>
            <a:lstStyle/>
            <a:p>
              <a:endParaRPr/>
            </a:p>
          </p:txBody>
        </p:sp>
        <p:sp>
          <p:nvSpPr>
            <p:cNvPr id="218" name="object 154">
              <a:extLst>
                <a:ext uri="{FF2B5EF4-FFF2-40B4-BE49-F238E27FC236}">
                  <a16:creationId xmlns:a16="http://schemas.microsoft.com/office/drawing/2014/main" id="{F3DB6922-2547-88C0-835D-B3BE13272800}"/>
                </a:ext>
              </a:extLst>
            </p:cNvPr>
            <p:cNvSpPr/>
            <p:nvPr/>
          </p:nvSpPr>
          <p:spPr>
            <a:xfrm>
              <a:off x="4715996" y="3132008"/>
              <a:ext cx="432434" cy="432434"/>
            </a:xfrm>
            <a:custGeom>
              <a:avLst/>
              <a:gdLst/>
              <a:ahLst/>
              <a:cxnLst/>
              <a:rect l="l" t="t" r="r" b="b"/>
              <a:pathLst>
                <a:path w="432435" h="432435">
                  <a:moveTo>
                    <a:pt x="215811" y="0"/>
                  </a:moveTo>
                  <a:lnTo>
                    <a:pt x="0" y="124637"/>
                  </a:lnTo>
                  <a:lnTo>
                    <a:pt x="0" y="432003"/>
                  </a:lnTo>
                  <a:lnTo>
                    <a:pt x="432003" y="432003"/>
                  </a:lnTo>
                  <a:lnTo>
                    <a:pt x="432003" y="405003"/>
                  </a:lnTo>
                  <a:lnTo>
                    <a:pt x="27000" y="405003"/>
                  </a:lnTo>
                  <a:lnTo>
                    <a:pt x="27000" y="140322"/>
                  </a:lnTo>
                  <a:lnTo>
                    <a:pt x="215823" y="31305"/>
                  </a:lnTo>
                  <a:lnTo>
                    <a:pt x="270057" y="31305"/>
                  </a:lnTo>
                  <a:lnTo>
                    <a:pt x="215811" y="0"/>
                  </a:lnTo>
                  <a:close/>
                </a:path>
                <a:path w="432435" h="432435">
                  <a:moveTo>
                    <a:pt x="350901" y="243052"/>
                  </a:moveTo>
                  <a:lnTo>
                    <a:pt x="242925" y="243052"/>
                  </a:lnTo>
                  <a:lnTo>
                    <a:pt x="242925" y="405003"/>
                  </a:lnTo>
                  <a:lnTo>
                    <a:pt x="350901" y="405003"/>
                  </a:lnTo>
                  <a:lnTo>
                    <a:pt x="350901" y="243052"/>
                  </a:lnTo>
                  <a:close/>
                </a:path>
                <a:path w="432435" h="432435">
                  <a:moveTo>
                    <a:pt x="270057" y="31305"/>
                  </a:moveTo>
                  <a:lnTo>
                    <a:pt x="215823" y="31305"/>
                  </a:lnTo>
                  <a:lnTo>
                    <a:pt x="404876" y="140449"/>
                  </a:lnTo>
                  <a:lnTo>
                    <a:pt x="404876" y="405003"/>
                  </a:lnTo>
                  <a:lnTo>
                    <a:pt x="432003" y="405003"/>
                  </a:lnTo>
                  <a:lnTo>
                    <a:pt x="432003" y="124764"/>
                  </a:lnTo>
                  <a:lnTo>
                    <a:pt x="270057" y="31305"/>
                  </a:lnTo>
                  <a:close/>
                </a:path>
              </a:pathLst>
            </a:custGeom>
            <a:solidFill>
              <a:srgbClr val="3350B8"/>
            </a:solidFill>
          </p:spPr>
          <p:txBody>
            <a:bodyPr wrap="square" lIns="0" tIns="0" rIns="0" bIns="0" rtlCol="0"/>
            <a:lstStyle/>
            <a:p>
              <a:endParaRPr/>
            </a:p>
          </p:txBody>
        </p:sp>
      </p:grpSp>
      <p:grpSp>
        <p:nvGrpSpPr>
          <p:cNvPr id="219" name="object 155">
            <a:extLst>
              <a:ext uri="{FF2B5EF4-FFF2-40B4-BE49-F238E27FC236}">
                <a16:creationId xmlns:a16="http://schemas.microsoft.com/office/drawing/2014/main" id="{B27703EB-1BA3-E548-50A1-99281CBF9AD7}"/>
              </a:ext>
            </a:extLst>
          </p:cNvPr>
          <p:cNvGrpSpPr/>
          <p:nvPr/>
        </p:nvGrpSpPr>
        <p:grpSpPr>
          <a:xfrm>
            <a:off x="3917810" y="2064060"/>
            <a:ext cx="436301" cy="436301"/>
            <a:chOff x="5687999" y="3024009"/>
            <a:chExt cx="648335" cy="648335"/>
          </a:xfrm>
        </p:grpSpPr>
        <p:sp>
          <p:nvSpPr>
            <p:cNvPr id="220" name="object 156">
              <a:extLst>
                <a:ext uri="{FF2B5EF4-FFF2-40B4-BE49-F238E27FC236}">
                  <a16:creationId xmlns:a16="http://schemas.microsoft.com/office/drawing/2014/main" id="{EF43E173-F7A1-AEDD-0093-D6D6B9F70A6D}"/>
                </a:ext>
              </a:extLst>
            </p:cNvPr>
            <p:cNvSpPr/>
            <p:nvPr/>
          </p:nvSpPr>
          <p:spPr>
            <a:xfrm>
              <a:off x="5687999" y="3024009"/>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3350B8"/>
            </a:solidFill>
          </p:spPr>
          <p:txBody>
            <a:bodyPr wrap="square" lIns="0" tIns="0" rIns="0" bIns="0" rtlCol="0"/>
            <a:lstStyle/>
            <a:p>
              <a:endParaRPr/>
            </a:p>
          </p:txBody>
        </p:sp>
        <p:sp>
          <p:nvSpPr>
            <p:cNvPr id="221" name="object 157">
              <a:extLst>
                <a:ext uri="{FF2B5EF4-FFF2-40B4-BE49-F238E27FC236}">
                  <a16:creationId xmlns:a16="http://schemas.microsoft.com/office/drawing/2014/main" id="{F63F660A-01F0-1E8F-873C-191521DEC8D0}"/>
                </a:ext>
              </a:extLst>
            </p:cNvPr>
            <p:cNvSpPr/>
            <p:nvPr/>
          </p:nvSpPr>
          <p:spPr>
            <a:xfrm>
              <a:off x="5822996" y="3132002"/>
              <a:ext cx="378460" cy="432434"/>
            </a:xfrm>
            <a:custGeom>
              <a:avLst/>
              <a:gdLst/>
              <a:ahLst/>
              <a:cxnLst/>
              <a:rect l="l" t="t" r="r" b="b"/>
              <a:pathLst>
                <a:path w="378460" h="432435">
                  <a:moveTo>
                    <a:pt x="46735" y="351002"/>
                  </a:moveTo>
                  <a:lnTo>
                    <a:pt x="40500" y="351002"/>
                  </a:lnTo>
                  <a:lnTo>
                    <a:pt x="24737" y="354185"/>
                  </a:lnTo>
                  <a:lnTo>
                    <a:pt x="11863" y="362865"/>
                  </a:lnTo>
                  <a:lnTo>
                    <a:pt x="3183" y="375739"/>
                  </a:lnTo>
                  <a:lnTo>
                    <a:pt x="0" y="391502"/>
                  </a:lnTo>
                  <a:lnTo>
                    <a:pt x="3183" y="407266"/>
                  </a:lnTo>
                  <a:lnTo>
                    <a:pt x="11863" y="420139"/>
                  </a:lnTo>
                  <a:lnTo>
                    <a:pt x="24737" y="428820"/>
                  </a:lnTo>
                  <a:lnTo>
                    <a:pt x="40500" y="432003"/>
                  </a:lnTo>
                  <a:lnTo>
                    <a:pt x="56268" y="428820"/>
                  </a:lnTo>
                  <a:lnTo>
                    <a:pt x="69141" y="420139"/>
                  </a:lnTo>
                  <a:lnTo>
                    <a:pt x="77819" y="407266"/>
                  </a:lnTo>
                  <a:lnTo>
                    <a:pt x="81000" y="391502"/>
                  </a:lnTo>
                  <a:lnTo>
                    <a:pt x="81000" y="385254"/>
                  </a:lnTo>
                  <a:lnTo>
                    <a:pt x="79476" y="379399"/>
                  </a:lnTo>
                  <a:lnTo>
                    <a:pt x="76949" y="374142"/>
                  </a:lnTo>
                  <a:lnTo>
                    <a:pt x="96037" y="355053"/>
                  </a:lnTo>
                  <a:lnTo>
                    <a:pt x="57861" y="355053"/>
                  </a:lnTo>
                  <a:lnTo>
                    <a:pt x="52590" y="352526"/>
                  </a:lnTo>
                  <a:lnTo>
                    <a:pt x="46735" y="351002"/>
                  </a:lnTo>
                  <a:close/>
                </a:path>
                <a:path w="378460" h="432435">
                  <a:moveTo>
                    <a:pt x="301078" y="281990"/>
                  </a:moveTo>
                  <a:lnTo>
                    <a:pt x="262889" y="281990"/>
                  </a:lnTo>
                  <a:lnTo>
                    <a:pt x="301053" y="320154"/>
                  </a:lnTo>
                  <a:lnTo>
                    <a:pt x="298526" y="325424"/>
                  </a:lnTo>
                  <a:lnTo>
                    <a:pt x="297002" y="331266"/>
                  </a:lnTo>
                  <a:lnTo>
                    <a:pt x="297002" y="337502"/>
                  </a:lnTo>
                  <a:lnTo>
                    <a:pt x="300185" y="353265"/>
                  </a:lnTo>
                  <a:lnTo>
                    <a:pt x="308865" y="366139"/>
                  </a:lnTo>
                  <a:lnTo>
                    <a:pt x="321739" y="374819"/>
                  </a:lnTo>
                  <a:lnTo>
                    <a:pt x="337502" y="378002"/>
                  </a:lnTo>
                  <a:lnTo>
                    <a:pt x="353265" y="374819"/>
                  </a:lnTo>
                  <a:lnTo>
                    <a:pt x="366139" y="366139"/>
                  </a:lnTo>
                  <a:lnTo>
                    <a:pt x="374819" y="353265"/>
                  </a:lnTo>
                  <a:lnTo>
                    <a:pt x="378002" y="337502"/>
                  </a:lnTo>
                  <a:lnTo>
                    <a:pt x="374819" y="321739"/>
                  </a:lnTo>
                  <a:lnTo>
                    <a:pt x="366139" y="308865"/>
                  </a:lnTo>
                  <a:lnTo>
                    <a:pt x="354553" y="301053"/>
                  </a:lnTo>
                  <a:lnTo>
                    <a:pt x="320141" y="301053"/>
                  </a:lnTo>
                  <a:lnTo>
                    <a:pt x="301078" y="281990"/>
                  </a:lnTo>
                  <a:close/>
                </a:path>
                <a:path w="378460" h="432435">
                  <a:moveTo>
                    <a:pt x="164741" y="229565"/>
                  </a:moveTo>
                  <a:lnTo>
                    <a:pt x="136232" y="229565"/>
                  </a:lnTo>
                  <a:lnTo>
                    <a:pt x="138287" y="238583"/>
                  </a:lnTo>
                  <a:lnTo>
                    <a:pt x="141309" y="247180"/>
                  </a:lnTo>
                  <a:lnTo>
                    <a:pt x="145241" y="255300"/>
                  </a:lnTo>
                  <a:lnTo>
                    <a:pt x="150025" y="262890"/>
                  </a:lnTo>
                  <a:lnTo>
                    <a:pt x="57861" y="355053"/>
                  </a:lnTo>
                  <a:lnTo>
                    <a:pt x="96037" y="355053"/>
                  </a:lnTo>
                  <a:lnTo>
                    <a:pt x="169113" y="281978"/>
                  </a:lnTo>
                  <a:lnTo>
                    <a:pt x="301066" y="281978"/>
                  </a:lnTo>
                  <a:lnTo>
                    <a:pt x="289090" y="270002"/>
                  </a:lnTo>
                  <a:lnTo>
                    <a:pt x="216001" y="270002"/>
                  </a:lnTo>
                  <a:lnTo>
                    <a:pt x="194989" y="265756"/>
                  </a:lnTo>
                  <a:lnTo>
                    <a:pt x="177823" y="254179"/>
                  </a:lnTo>
                  <a:lnTo>
                    <a:pt x="166247" y="237013"/>
                  </a:lnTo>
                  <a:lnTo>
                    <a:pt x="164741" y="229565"/>
                  </a:lnTo>
                  <a:close/>
                </a:path>
                <a:path w="378460" h="432435">
                  <a:moveTo>
                    <a:pt x="337502" y="297002"/>
                  </a:moveTo>
                  <a:lnTo>
                    <a:pt x="331254" y="297002"/>
                  </a:lnTo>
                  <a:lnTo>
                    <a:pt x="325412" y="298526"/>
                  </a:lnTo>
                  <a:lnTo>
                    <a:pt x="320141" y="301053"/>
                  </a:lnTo>
                  <a:lnTo>
                    <a:pt x="354553" y="301053"/>
                  </a:lnTo>
                  <a:lnTo>
                    <a:pt x="353265" y="300185"/>
                  </a:lnTo>
                  <a:lnTo>
                    <a:pt x="337502" y="297002"/>
                  </a:lnTo>
                  <a:close/>
                </a:path>
                <a:path w="378460" h="432435">
                  <a:moveTo>
                    <a:pt x="301066" y="281978"/>
                  </a:moveTo>
                  <a:lnTo>
                    <a:pt x="169113" y="281978"/>
                  </a:lnTo>
                  <a:lnTo>
                    <a:pt x="179579" y="288306"/>
                  </a:lnTo>
                  <a:lnTo>
                    <a:pt x="190968" y="293025"/>
                  </a:lnTo>
                  <a:lnTo>
                    <a:pt x="203157" y="295980"/>
                  </a:lnTo>
                  <a:lnTo>
                    <a:pt x="216001" y="297002"/>
                  </a:lnTo>
                  <a:lnTo>
                    <a:pt x="228841" y="295979"/>
                  </a:lnTo>
                  <a:lnTo>
                    <a:pt x="241035" y="293023"/>
                  </a:lnTo>
                  <a:lnTo>
                    <a:pt x="252438" y="288301"/>
                  </a:lnTo>
                  <a:lnTo>
                    <a:pt x="262889" y="281990"/>
                  </a:lnTo>
                  <a:lnTo>
                    <a:pt x="301078" y="281990"/>
                  </a:lnTo>
                  <a:close/>
                </a:path>
                <a:path w="378460" h="432435">
                  <a:moveTo>
                    <a:pt x="289113" y="162001"/>
                  </a:moveTo>
                  <a:lnTo>
                    <a:pt x="216001" y="162001"/>
                  </a:lnTo>
                  <a:lnTo>
                    <a:pt x="237013" y="166247"/>
                  </a:lnTo>
                  <a:lnTo>
                    <a:pt x="254179" y="177823"/>
                  </a:lnTo>
                  <a:lnTo>
                    <a:pt x="265756" y="194989"/>
                  </a:lnTo>
                  <a:lnTo>
                    <a:pt x="270001" y="216001"/>
                  </a:lnTo>
                  <a:lnTo>
                    <a:pt x="265756" y="237013"/>
                  </a:lnTo>
                  <a:lnTo>
                    <a:pt x="254179" y="254179"/>
                  </a:lnTo>
                  <a:lnTo>
                    <a:pt x="237013" y="265756"/>
                  </a:lnTo>
                  <a:lnTo>
                    <a:pt x="216001" y="270002"/>
                  </a:lnTo>
                  <a:lnTo>
                    <a:pt x="289090" y="270002"/>
                  </a:lnTo>
                  <a:lnTo>
                    <a:pt x="281978" y="262890"/>
                  </a:lnTo>
                  <a:lnTo>
                    <a:pt x="288301" y="252436"/>
                  </a:lnTo>
                  <a:lnTo>
                    <a:pt x="293023" y="241041"/>
                  </a:lnTo>
                  <a:lnTo>
                    <a:pt x="295979" y="228848"/>
                  </a:lnTo>
                  <a:lnTo>
                    <a:pt x="297002" y="216001"/>
                  </a:lnTo>
                  <a:lnTo>
                    <a:pt x="295981" y="203162"/>
                  </a:lnTo>
                  <a:lnTo>
                    <a:pt x="293030" y="190973"/>
                  </a:lnTo>
                  <a:lnTo>
                    <a:pt x="288311" y="179579"/>
                  </a:lnTo>
                  <a:lnTo>
                    <a:pt x="281990" y="169125"/>
                  </a:lnTo>
                  <a:lnTo>
                    <a:pt x="289113" y="162001"/>
                  </a:lnTo>
                  <a:close/>
                </a:path>
                <a:path w="378460" h="432435">
                  <a:moveTo>
                    <a:pt x="40500" y="175501"/>
                  </a:moveTo>
                  <a:lnTo>
                    <a:pt x="24737" y="178684"/>
                  </a:lnTo>
                  <a:lnTo>
                    <a:pt x="11863" y="187364"/>
                  </a:lnTo>
                  <a:lnTo>
                    <a:pt x="3183" y="200238"/>
                  </a:lnTo>
                  <a:lnTo>
                    <a:pt x="0" y="216001"/>
                  </a:lnTo>
                  <a:lnTo>
                    <a:pt x="3183" y="231764"/>
                  </a:lnTo>
                  <a:lnTo>
                    <a:pt x="11863" y="244638"/>
                  </a:lnTo>
                  <a:lnTo>
                    <a:pt x="24737" y="253318"/>
                  </a:lnTo>
                  <a:lnTo>
                    <a:pt x="40500" y="256501"/>
                  </a:lnTo>
                  <a:lnTo>
                    <a:pt x="53070" y="254495"/>
                  </a:lnTo>
                  <a:lnTo>
                    <a:pt x="63996" y="248905"/>
                  </a:lnTo>
                  <a:lnTo>
                    <a:pt x="72677" y="240380"/>
                  </a:lnTo>
                  <a:lnTo>
                    <a:pt x="78511" y="229565"/>
                  </a:lnTo>
                  <a:lnTo>
                    <a:pt x="164741" y="229565"/>
                  </a:lnTo>
                  <a:lnTo>
                    <a:pt x="162001" y="216001"/>
                  </a:lnTo>
                  <a:lnTo>
                    <a:pt x="164741" y="202438"/>
                  </a:lnTo>
                  <a:lnTo>
                    <a:pt x="78511" y="202438"/>
                  </a:lnTo>
                  <a:lnTo>
                    <a:pt x="72677" y="191622"/>
                  </a:lnTo>
                  <a:lnTo>
                    <a:pt x="63996" y="183097"/>
                  </a:lnTo>
                  <a:lnTo>
                    <a:pt x="53070" y="177508"/>
                  </a:lnTo>
                  <a:lnTo>
                    <a:pt x="40500" y="175501"/>
                  </a:lnTo>
                  <a:close/>
                </a:path>
                <a:path w="378460" h="432435">
                  <a:moveTo>
                    <a:pt x="96060" y="76949"/>
                  </a:moveTo>
                  <a:lnTo>
                    <a:pt x="57861" y="76949"/>
                  </a:lnTo>
                  <a:lnTo>
                    <a:pt x="150025" y="169113"/>
                  </a:lnTo>
                  <a:lnTo>
                    <a:pt x="145235" y="176702"/>
                  </a:lnTo>
                  <a:lnTo>
                    <a:pt x="141304" y="184823"/>
                  </a:lnTo>
                  <a:lnTo>
                    <a:pt x="138286" y="193419"/>
                  </a:lnTo>
                  <a:lnTo>
                    <a:pt x="136232" y="202438"/>
                  </a:lnTo>
                  <a:lnTo>
                    <a:pt x="164741" y="202438"/>
                  </a:lnTo>
                  <a:lnTo>
                    <a:pt x="166247" y="194989"/>
                  </a:lnTo>
                  <a:lnTo>
                    <a:pt x="177823" y="177823"/>
                  </a:lnTo>
                  <a:lnTo>
                    <a:pt x="194989" y="166247"/>
                  </a:lnTo>
                  <a:lnTo>
                    <a:pt x="216001" y="162001"/>
                  </a:lnTo>
                  <a:lnTo>
                    <a:pt x="289113" y="162001"/>
                  </a:lnTo>
                  <a:lnTo>
                    <a:pt x="301072" y="150037"/>
                  </a:lnTo>
                  <a:lnTo>
                    <a:pt x="262889" y="150037"/>
                  </a:lnTo>
                  <a:lnTo>
                    <a:pt x="169113" y="150012"/>
                  </a:lnTo>
                  <a:lnTo>
                    <a:pt x="96060" y="76949"/>
                  </a:lnTo>
                  <a:close/>
                </a:path>
                <a:path w="378460" h="432435">
                  <a:moveTo>
                    <a:pt x="337502" y="54000"/>
                  </a:moveTo>
                  <a:lnTo>
                    <a:pt x="321739" y="57183"/>
                  </a:lnTo>
                  <a:lnTo>
                    <a:pt x="308865" y="65863"/>
                  </a:lnTo>
                  <a:lnTo>
                    <a:pt x="300185" y="78737"/>
                  </a:lnTo>
                  <a:lnTo>
                    <a:pt x="297002" y="94500"/>
                  </a:lnTo>
                  <a:lnTo>
                    <a:pt x="297002" y="100736"/>
                  </a:lnTo>
                  <a:lnTo>
                    <a:pt x="298526" y="106603"/>
                  </a:lnTo>
                  <a:lnTo>
                    <a:pt x="301053" y="111874"/>
                  </a:lnTo>
                  <a:lnTo>
                    <a:pt x="262889" y="150037"/>
                  </a:lnTo>
                  <a:lnTo>
                    <a:pt x="301072" y="150037"/>
                  </a:lnTo>
                  <a:lnTo>
                    <a:pt x="320154" y="130949"/>
                  </a:lnTo>
                  <a:lnTo>
                    <a:pt x="354553" y="130949"/>
                  </a:lnTo>
                  <a:lnTo>
                    <a:pt x="366139" y="123137"/>
                  </a:lnTo>
                  <a:lnTo>
                    <a:pt x="374819" y="110263"/>
                  </a:lnTo>
                  <a:lnTo>
                    <a:pt x="378002" y="94500"/>
                  </a:lnTo>
                  <a:lnTo>
                    <a:pt x="374819" y="78737"/>
                  </a:lnTo>
                  <a:lnTo>
                    <a:pt x="366139" y="65863"/>
                  </a:lnTo>
                  <a:lnTo>
                    <a:pt x="353265" y="57183"/>
                  </a:lnTo>
                  <a:lnTo>
                    <a:pt x="337502" y="54000"/>
                  </a:lnTo>
                  <a:close/>
                </a:path>
                <a:path w="378460" h="432435">
                  <a:moveTo>
                    <a:pt x="216001" y="0"/>
                  </a:moveTo>
                  <a:lnTo>
                    <a:pt x="200238" y="3183"/>
                  </a:lnTo>
                  <a:lnTo>
                    <a:pt x="187364" y="11863"/>
                  </a:lnTo>
                  <a:lnTo>
                    <a:pt x="178684" y="24737"/>
                  </a:lnTo>
                  <a:lnTo>
                    <a:pt x="175501" y="40500"/>
                  </a:lnTo>
                  <a:lnTo>
                    <a:pt x="177512" y="53088"/>
                  </a:lnTo>
                  <a:lnTo>
                    <a:pt x="183114" y="64027"/>
                  </a:lnTo>
                  <a:lnTo>
                    <a:pt x="191660" y="72707"/>
                  </a:lnTo>
                  <a:lnTo>
                    <a:pt x="202501" y="78524"/>
                  </a:lnTo>
                  <a:lnTo>
                    <a:pt x="202389" y="136232"/>
                  </a:lnTo>
                  <a:lnTo>
                    <a:pt x="193409" y="138280"/>
                  </a:lnTo>
                  <a:lnTo>
                    <a:pt x="184821" y="141301"/>
                  </a:lnTo>
                  <a:lnTo>
                    <a:pt x="176691" y="145239"/>
                  </a:lnTo>
                  <a:lnTo>
                    <a:pt x="169113" y="150012"/>
                  </a:lnTo>
                  <a:lnTo>
                    <a:pt x="262849" y="150012"/>
                  </a:lnTo>
                  <a:lnTo>
                    <a:pt x="255245" y="145219"/>
                  </a:lnTo>
                  <a:lnTo>
                    <a:pt x="247089" y="141281"/>
                  </a:lnTo>
                  <a:lnTo>
                    <a:pt x="238429" y="138257"/>
                  </a:lnTo>
                  <a:lnTo>
                    <a:pt x="229501" y="136232"/>
                  </a:lnTo>
                  <a:lnTo>
                    <a:pt x="229501" y="78524"/>
                  </a:lnTo>
                  <a:lnTo>
                    <a:pt x="240342" y="72707"/>
                  </a:lnTo>
                  <a:lnTo>
                    <a:pt x="248888" y="64027"/>
                  </a:lnTo>
                  <a:lnTo>
                    <a:pt x="254490" y="53088"/>
                  </a:lnTo>
                  <a:lnTo>
                    <a:pt x="256501" y="40500"/>
                  </a:lnTo>
                  <a:lnTo>
                    <a:pt x="253318" y="24737"/>
                  </a:lnTo>
                  <a:lnTo>
                    <a:pt x="244638" y="11863"/>
                  </a:lnTo>
                  <a:lnTo>
                    <a:pt x="231764" y="3183"/>
                  </a:lnTo>
                  <a:lnTo>
                    <a:pt x="216001" y="0"/>
                  </a:lnTo>
                  <a:close/>
                </a:path>
                <a:path w="378460" h="432435">
                  <a:moveTo>
                    <a:pt x="354553" y="130949"/>
                  </a:moveTo>
                  <a:lnTo>
                    <a:pt x="320154" y="130949"/>
                  </a:lnTo>
                  <a:lnTo>
                    <a:pt x="325424" y="133477"/>
                  </a:lnTo>
                  <a:lnTo>
                    <a:pt x="331266" y="135001"/>
                  </a:lnTo>
                  <a:lnTo>
                    <a:pt x="337502" y="135001"/>
                  </a:lnTo>
                  <a:lnTo>
                    <a:pt x="353265" y="131817"/>
                  </a:lnTo>
                  <a:lnTo>
                    <a:pt x="354553" y="130949"/>
                  </a:lnTo>
                  <a:close/>
                </a:path>
                <a:path w="378460" h="432435">
                  <a:moveTo>
                    <a:pt x="40500" y="0"/>
                  </a:moveTo>
                  <a:lnTo>
                    <a:pt x="24737" y="3183"/>
                  </a:lnTo>
                  <a:lnTo>
                    <a:pt x="11863" y="11863"/>
                  </a:lnTo>
                  <a:lnTo>
                    <a:pt x="3183" y="24737"/>
                  </a:lnTo>
                  <a:lnTo>
                    <a:pt x="0" y="40500"/>
                  </a:lnTo>
                  <a:lnTo>
                    <a:pt x="3183" y="56268"/>
                  </a:lnTo>
                  <a:lnTo>
                    <a:pt x="11863" y="69141"/>
                  </a:lnTo>
                  <a:lnTo>
                    <a:pt x="24737" y="77819"/>
                  </a:lnTo>
                  <a:lnTo>
                    <a:pt x="40500" y="81000"/>
                  </a:lnTo>
                  <a:lnTo>
                    <a:pt x="46735" y="81000"/>
                  </a:lnTo>
                  <a:lnTo>
                    <a:pt x="52590" y="79476"/>
                  </a:lnTo>
                  <a:lnTo>
                    <a:pt x="57861" y="76949"/>
                  </a:lnTo>
                  <a:lnTo>
                    <a:pt x="96060" y="76949"/>
                  </a:lnTo>
                  <a:lnTo>
                    <a:pt x="76961" y="57848"/>
                  </a:lnTo>
                  <a:lnTo>
                    <a:pt x="79476" y="52578"/>
                  </a:lnTo>
                  <a:lnTo>
                    <a:pt x="81000" y="46736"/>
                  </a:lnTo>
                  <a:lnTo>
                    <a:pt x="81000" y="40500"/>
                  </a:lnTo>
                  <a:lnTo>
                    <a:pt x="77819" y="24737"/>
                  </a:lnTo>
                  <a:lnTo>
                    <a:pt x="69141" y="11863"/>
                  </a:lnTo>
                  <a:lnTo>
                    <a:pt x="56268" y="3183"/>
                  </a:lnTo>
                  <a:lnTo>
                    <a:pt x="40500" y="0"/>
                  </a:lnTo>
                  <a:close/>
                </a:path>
              </a:pathLst>
            </a:custGeom>
            <a:solidFill>
              <a:srgbClr val="0F1E32"/>
            </a:solidFill>
          </p:spPr>
          <p:txBody>
            <a:bodyPr wrap="square" lIns="0" tIns="0" rIns="0" bIns="0" rtlCol="0"/>
            <a:lstStyle/>
            <a:p>
              <a:endParaRPr/>
            </a:p>
          </p:txBody>
        </p:sp>
      </p:grpSp>
      <p:grpSp>
        <p:nvGrpSpPr>
          <p:cNvPr id="222" name="object 158">
            <a:extLst>
              <a:ext uri="{FF2B5EF4-FFF2-40B4-BE49-F238E27FC236}">
                <a16:creationId xmlns:a16="http://schemas.microsoft.com/office/drawing/2014/main" id="{F117671C-1AD3-D9A6-7B65-84C9E08F11B6}"/>
              </a:ext>
            </a:extLst>
          </p:cNvPr>
          <p:cNvGrpSpPr/>
          <p:nvPr/>
        </p:nvGrpSpPr>
        <p:grpSpPr>
          <a:xfrm>
            <a:off x="2464222" y="2792987"/>
            <a:ext cx="436301" cy="436301"/>
            <a:chOff x="3527996" y="4104004"/>
            <a:chExt cx="648335" cy="648335"/>
          </a:xfrm>
        </p:grpSpPr>
        <p:sp>
          <p:nvSpPr>
            <p:cNvPr id="223" name="object 159">
              <a:extLst>
                <a:ext uri="{FF2B5EF4-FFF2-40B4-BE49-F238E27FC236}">
                  <a16:creationId xmlns:a16="http://schemas.microsoft.com/office/drawing/2014/main" id="{7A81B782-A22F-FA15-3139-E7DD8CC21E0F}"/>
                </a:ext>
              </a:extLst>
            </p:cNvPr>
            <p:cNvSpPr/>
            <p:nvPr/>
          </p:nvSpPr>
          <p:spPr>
            <a:xfrm>
              <a:off x="3527996" y="4104004"/>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FFFFFF"/>
            </a:solidFill>
          </p:spPr>
          <p:txBody>
            <a:bodyPr wrap="square" lIns="0" tIns="0" rIns="0" bIns="0" rtlCol="0"/>
            <a:lstStyle/>
            <a:p>
              <a:endParaRPr/>
            </a:p>
          </p:txBody>
        </p:sp>
        <p:sp>
          <p:nvSpPr>
            <p:cNvPr id="224" name="object 160">
              <a:extLst>
                <a:ext uri="{FF2B5EF4-FFF2-40B4-BE49-F238E27FC236}">
                  <a16:creationId xmlns:a16="http://schemas.microsoft.com/office/drawing/2014/main" id="{BD344AE5-0AE1-C4A9-332C-3EEBE46E0E68}"/>
                </a:ext>
              </a:extLst>
            </p:cNvPr>
            <p:cNvSpPr/>
            <p:nvPr/>
          </p:nvSpPr>
          <p:spPr>
            <a:xfrm>
              <a:off x="3635997" y="4212004"/>
              <a:ext cx="432434" cy="432434"/>
            </a:xfrm>
            <a:custGeom>
              <a:avLst/>
              <a:gdLst/>
              <a:ahLst/>
              <a:cxnLst/>
              <a:rect l="l" t="t" r="r" b="b"/>
              <a:pathLst>
                <a:path w="432435" h="432435">
                  <a:moveTo>
                    <a:pt x="216001" y="175513"/>
                  </a:moveTo>
                  <a:lnTo>
                    <a:pt x="200243" y="178698"/>
                  </a:lnTo>
                  <a:lnTo>
                    <a:pt x="187369" y="187382"/>
                  </a:lnTo>
                  <a:lnTo>
                    <a:pt x="178686" y="200256"/>
                  </a:lnTo>
                  <a:lnTo>
                    <a:pt x="175501" y="216014"/>
                  </a:lnTo>
                  <a:lnTo>
                    <a:pt x="178686" y="231772"/>
                  </a:lnTo>
                  <a:lnTo>
                    <a:pt x="187369" y="244646"/>
                  </a:lnTo>
                  <a:lnTo>
                    <a:pt x="200243" y="253329"/>
                  </a:lnTo>
                  <a:lnTo>
                    <a:pt x="216001" y="256514"/>
                  </a:lnTo>
                  <a:lnTo>
                    <a:pt x="231759" y="253329"/>
                  </a:lnTo>
                  <a:lnTo>
                    <a:pt x="244633" y="244646"/>
                  </a:lnTo>
                  <a:lnTo>
                    <a:pt x="253316" y="231772"/>
                  </a:lnTo>
                  <a:lnTo>
                    <a:pt x="256501" y="216014"/>
                  </a:lnTo>
                  <a:lnTo>
                    <a:pt x="253316" y="200256"/>
                  </a:lnTo>
                  <a:lnTo>
                    <a:pt x="244633" y="187382"/>
                  </a:lnTo>
                  <a:lnTo>
                    <a:pt x="231759" y="178698"/>
                  </a:lnTo>
                  <a:lnTo>
                    <a:pt x="216001" y="175513"/>
                  </a:lnTo>
                  <a:close/>
                </a:path>
                <a:path w="432435" h="432435">
                  <a:moveTo>
                    <a:pt x="229501" y="335178"/>
                  </a:moveTo>
                  <a:lnTo>
                    <a:pt x="202501" y="335178"/>
                  </a:lnTo>
                  <a:lnTo>
                    <a:pt x="202501" y="432003"/>
                  </a:lnTo>
                  <a:lnTo>
                    <a:pt x="229501" y="432003"/>
                  </a:lnTo>
                  <a:lnTo>
                    <a:pt x="229501" y="335178"/>
                  </a:lnTo>
                  <a:close/>
                </a:path>
                <a:path w="432435" h="432435">
                  <a:moveTo>
                    <a:pt x="216001" y="283502"/>
                  </a:moveTo>
                  <a:lnTo>
                    <a:pt x="138963" y="360540"/>
                  </a:lnTo>
                  <a:lnTo>
                    <a:pt x="158051" y="379628"/>
                  </a:lnTo>
                  <a:lnTo>
                    <a:pt x="202501" y="335178"/>
                  </a:lnTo>
                  <a:lnTo>
                    <a:pt x="267686" y="335178"/>
                  </a:lnTo>
                  <a:lnTo>
                    <a:pt x="216001" y="283502"/>
                  </a:lnTo>
                  <a:close/>
                </a:path>
                <a:path w="432435" h="432435">
                  <a:moveTo>
                    <a:pt x="267686" y="335178"/>
                  </a:moveTo>
                  <a:lnTo>
                    <a:pt x="229501" y="335178"/>
                  </a:lnTo>
                  <a:lnTo>
                    <a:pt x="273951" y="379628"/>
                  </a:lnTo>
                  <a:lnTo>
                    <a:pt x="293052" y="360540"/>
                  </a:lnTo>
                  <a:lnTo>
                    <a:pt x="267686" y="335178"/>
                  </a:lnTo>
                  <a:close/>
                </a:path>
                <a:path w="432435" h="432435">
                  <a:moveTo>
                    <a:pt x="71462" y="138950"/>
                  </a:moveTo>
                  <a:lnTo>
                    <a:pt x="52374" y="158051"/>
                  </a:lnTo>
                  <a:lnTo>
                    <a:pt x="96824" y="202501"/>
                  </a:lnTo>
                  <a:lnTo>
                    <a:pt x="0" y="202501"/>
                  </a:lnTo>
                  <a:lnTo>
                    <a:pt x="0" y="229501"/>
                  </a:lnTo>
                  <a:lnTo>
                    <a:pt x="96824" y="229501"/>
                  </a:lnTo>
                  <a:lnTo>
                    <a:pt x="52374" y="273951"/>
                  </a:lnTo>
                  <a:lnTo>
                    <a:pt x="71462" y="293039"/>
                  </a:lnTo>
                  <a:lnTo>
                    <a:pt x="148501" y="216001"/>
                  </a:lnTo>
                  <a:lnTo>
                    <a:pt x="71462" y="138950"/>
                  </a:lnTo>
                  <a:close/>
                </a:path>
                <a:path w="432435" h="432435">
                  <a:moveTo>
                    <a:pt x="360553" y="138950"/>
                  </a:moveTo>
                  <a:lnTo>
                    <a:pt x="283502" y="216001"/>
                  </a:lnTo>
                  <a:lnTo>
                    <a:pt x="360553" y="293039"/>
                  </a:lnTo>
                  <a:lnTo>
                    <a:pt x="379641" y="273951"/>
                  </a:lnTo>
                  <a:lnTo>
                    <a:pt x="335178" y="229501"/>
                  </a:lnTo>
                  <a:lnTo>
                    <a:pt x="432003" y="229501"/>
                  </a:lnTo>
                  <a:lnTo>
                    <a:pt x="432003" y="202501"/>
                  </a:lnTo>
                  <a:lnTo>
                    <a:pt x="335191" y="202501"/>
                  </a:lnTo>
                  <a:lnTo>
                    <a:pt x="379641" y="158051"/>
                  </a:lnTo>
                  <a:lnTo>
                    <a:pt x="360553" y="138950"/>
                  </a:lnTo>
                  <a:close/>
                </a:path>
                <a:path w="432435" h="432435">
                  <a:moveTo>
                    <a:pt x="158051" y="52362"/>
                  </a:moveTo>
                  <a:lnTo>
                    <a:pt x="138963" y="71450"/>
                  </a:lnTo>
                  <a:lnTo>
                    <a:pt x="216001" y="148501"/>
                  </a:lnTo>
                  <a:lnTo>
                    <a:pt x="267677" y="96824"/>
                  </a:lnTo>
                  <a:lnTo>
                    <a:pt x="229501" y="96824"/>
                  </a:lnTo>
                  <a:lnTo>
                    <a:pt x="202501" y="96812"/>
                  </a:lnTo>
                  <a:lnTo>
                    <a:pt x="158051" y="52362"/>
                  </a:lnTo>
                  <a:close/>
                </a:path>
                <a:path w="432435" h="432435">
                  <a:moveTo>
                    <a:pt x="273951" y="52362"/>
                  </a:moveTo>
                  <a:lnTo>
                    <a:pt x="229501" y="96824"/>
                  </a:lnTo>
                  <a:lnTo>
                    <a:pt x="267690" y="96812"/>
                  </a:lnTo>
                  <a:lnTo>
                    <a:pt x="293052" y="71450"/>
                  </a:lnTo>
                  <a:lnTo>
                    <a:pt x="273951" y="52362"/>
                  </a:lnTo>
                  <a:close/>
                </a:path>
                <a:path w="432435" h="432435">
                  <a:moveTo>
                    <a:pt x="229501" y="0"/>
                  </a:moveTo>
                  <a:lnTo>
                    <a:pt x="202501" y="0"/>
                  </a:lnTo>
                  <a:lnTo>
                    <a:pt x="202501" y="96812"/>
                  </a:lnTo>
                  <a:lnTo>
                    <a:pt x="229501" y="96812"/>
                  </a:lnTo>
                  <a:lnTo>
                    <a:pt x="229501" y="0"/>
                  </a:lnTo>
                  <a:close/>
                </a:path>
              </a:pathLst>
            </a:custGeom>
            <a:solidFill>
              <a:srgbClr val="9FA4A8"/>
            </a:solidFill>
          </p:spPr>
          <p:txBody>
            <a:bodyPr wrap="square" lIns="0" tIns="0" rIns="0" bIns="0" rtlCol="0"/>
            <a:lstStyle/>
            <a:p>
              <a:endParaRPr/>
            </a:p>
          </p:txBody>
        </p:sp>
      </p:grpSp>
      <p:grpSp>
        <p:nvGrpSpPr>
          <p:cNvPr id="225" name="object 161">
            <a:extLst>
              <a:ext uri="{FF2B5EF4-FFF2-40B4-BE49-F238E27FC236}">
                <a16:creationId xmlns:a16="http://schemas.microsoft.com/office/drawing/2014/main" id="{F45FA6B8-169B-9FD8-DAB4-18F020D2AAD3}"/>
              </a:ext>
            </a:extLst>
          </p:cNvPr>
          <p:cNvGrpSpPr/>
          <p:nvPr/>
        </p:nvGrpSpPr>
        <p:grpSpPr>
          <a:xfrm>
            <a:off x="3191020" y="2792987"/>
            <a:ext cx="436301" cy="436301"/>
            <a:chOff x="4608004" y="4104004"/>
            <a:chExt cx="648335" cy="648335"/>
          </a:xfrm>
        </p:grpSpPr>
        <p:sp>
          <p:nvSpPr>
            <p:cNvPr id="226" name="object 162">
              <a:extLst>
                <a:ext uri="{FF2B5EF4-FFF2-40B4-BE49-F238E27FC236}">
                  <a16:creationId xmlns:a16="http://schemas.microsoft.com/office/drawing/2014/main" id="{F25BD139-B3C4-97FC-7411-467FF24C3FBA}"/>
                </a:ext>
              </a:extLst>
            </p:cNvPr>
            <p:cNvSpPr/>
            <p:nvPr/>
          </p:nvSpPr>
          <p:spPr>
            <a:xfrm>
              <a:off x="4608004" y="4104004"/>
              <a:ext cx="648335" cy="648335"/>
            </a:xfrm>
            <a:custGeom>
              <a:avLst/>
              <a:gdLst/>
              <a:ahLst/>
              <a:cxnLst/>
              <a:rect l="l" t="t" r="r" b="b"/>
              <a:pathLst>
                <a:path w="648335" h="648335">
                  <a:moveTo>
                    <a:pt x="648004" y="0"/>
                  </a:moveTo>
                  <a:lnTo>
                    <a:pt x="0" y="0"/>
                  </a:lnTo>
                  <a:lnTo>
                    <a:pt x="0" y="647992"/>
                  </a:lnTo>
                  <a:lnTo>
                    <a:pt x="648004" y="647992"/>
                  </a:lnTo>
                  <a:lnTo>
                    <a:pt x="648004" y="0"/>
                  </a:lnTo>
                  <a:close/>
                </a:path>
              </a:pathLst>
            </a:custGeom>
            <a:solidFill>
              <a:srgbClr val="9FA4A8"/>
            </a:solidFill>
          </p:spPr>
          <p:txBody>
            <a:bodyPr wrap="square" lIns="0" tIns="0" rIns="0" bIns="0" rtlCol="0"/>
            <a:lstStyle/>
            <a:p>
              <a:endParaRPr/>
            </a:p>
          </p:txBody>
        </p:sp>
        <p:sp>
          <p:nvSpPr>
            <p:cNvPr id="227" name="object 163">
              <a:extLst>
                <a:ext uri="{FF2B5EF4-FFF2-40B4-BE49-F238E27FC236}">
                  <a16:creationId xmlns:a16="http://schemas.microsoft.com/office/drawing/2014/main" id="{795BE4AE-4158-E440-C45F-8C08D35BDEBC}"/>
                </a:ext>
              </a:extLst>
            </p:cNvPr>
            <p:cNvSpPr/>
            <p:nvPr/>
          </p:nvSpPr>
          <p:spPr>
            <a:xfrm>
              <a:off x="4715997" y="4212206"/>
              <a:ext cx="432434" cy="431800"/>
            </a:xfrm>
            <a:custGeom>
              <a:avLst/>
              <a:gdLst/>
              <a:ahLst/>
              <a:cxnLst/>
              <a:rect l="l" t="t" r="r" b="b"/>
              <a:pathLst>
                <a:path w="432435" h="431800">
                  <a:moveTo>
                    <a:pt x="266706" y="312419"/>
                  </a:moveTo>
                  <a:lnTo>
                    <a:pt x="225176" y="312421"/>
                  </a:lnTo>
                  <a:lnTo>
                    <a:pt x="236918" y="316229"/>
                  </a:lnTo>
                  <a:lnTo>
                    <a:pt x="243001" y="321309"/>
                  </a:lnTo>
                  <a:lnTo>
                    <a:pt x="243001" y="323849"/>
                  </a:lnTo>
                  <a:lnTo>
                    <a:pt x="236092" y="331469"/>
                  </a:lnTo>
                  <a:lnTo>
                    <a:pt x="215576" y="340359"/>
                  </a:lnTo>
                  <a:lnTo>
                    <a:pt x="181772" y="347979"/>
                  </a:lnTo>
                  <a:lnTo>
                    <a:pt x="135000" y="351789"/>
                  </a:lnTo>
                  <a:lnTo>
                    <a:pt x="15697" y="351789"/>
                  </a:lnTo>
                  <a:lnTo>
                    <a:pt x="9113" y="356869"/>
                  </a:lnTo>
                  <a:lnTo>
                    <a:pt x="4179" y="363219"/>
                  </a:lnTo>
                  <a:lnTo>
                    <a:pt x="1077" y="370839"/>
                  </a:lnTo>
                  <a:lnTo>
                    <a:pt x="0" y="378459"/>
                  </a:lnTo>
                  <a:lnTo>
                    <a:pt x="11951" y="402589"/>
                  </a:lnTo>
                  <a:lnTo>
                    <a:pt x="43121" y="419099"/>
                  </a:lnTo>
                  <a:lnTo>
                    <a:pt x="86480" y="429259"/>
                  </a:lnTo>
                  <a:lnTo>
                    <a:pt x="135000" y="431799"/>
                  </a:lnTo>
                  <a:lnTo>
                    <a:pt x="183521" y="429259"/>
                  </a:lnTo>
                  <a:lnTo>
                    <a:pt x="226880" y="419099"/>
                  </a:lnTo>
                  <a:lnTo>
                    <a:pt x="253254" y="405129"/>
                  </a:lnTo>
                  <a:lnTo>
                    <a:pt x="135000" y="405129"/>
                  </a:lnTo>
                  <a:lnTo>
                    <a:pt x="88229" y="402589"/>
                  </a:lnTo>
                  <a:lnTo>
                    <a:pt x="54425" y="394969"/>
                  </a:lnTo>
                  <a:lnTo>
                    <a:pt x="33909" y="386079"/>
                  </a:lnTo>
                  <a:lnTo>
                    <a:pt x="27000" y="378459"/>
                  </a:lnTo>
                  <a:lnTo>
                    <a:pt x="27000" y="375919"/>
                  </a:lnTo>
                  <a:lnTo>
                    <a:pt x="33096" y="370839"/>
                  </a:lnTo>
                  <a:lnTo>
                    <a:pt x="44826" y="365762"/>
                  </a:lnTo>
                  <a:lnTo>
                    <a:pt x="266728" y="365759"/>
                  </a:lnTo>
                  <a:lnTo>
                    <a:pt x="265483" y="363219"/>
                  </a:lnTo>
                  <a:lnTo>
                    <a:pt x="260673" y="356869"/>
                  </a:lnTo>
                  <a:lnTo>
                    <a:pt x="254292" y="351789"/>
                  </a:lnTo>
                  <a:lnTo>
                    <a:pt x="255282" y="350519"/>
                  </a:lnTo>
                  <a:lnTo>
                    <a:pt x="256070" y="349249"/>
                  </a:lnTo>
                  <a:lnTo>
                    <a:pt x="256926" y="349249"/>
                  </a:lnTo>
                  <a:lnTo>
                    <a:pt x="260877" y="345439"/>
                  </a:lnTo>
                  <a:lnTo>
                    <a:pt x="265818" y="339089"/>
                  </a:lnTo>
                  <a:lnTo>
                    <a:pt x="268924" y="332739"/>
                  </a:lnTo>
                  <a:lnTo>
                    <a:pt x="270001" y="323849"/>
                  </a:lnTo>
                  <a:lnTo>
                    <a:pt x="269836" y="323849"/>
                  </a:lnTo>
                  <a:lnTo>
                    <a:pt x="268571" y="316229"/>
                  </a:lnTo>
                  <a:lnTo>
                    <a:pt x="266706" y="312419"/>
                  </a:lnTo>
                  <a:close/>
                </a:path>
                <a:path w="432435" h="431800">
                  <a:moveTo>
                    <a:pt x="266728" y="365759"/>
                  </a:moveTo>
                  <a:lnTo>
                    <a:pt x="225175" y="365762"/>
                  </a:lnTo>
                  <a:lnTo>
                    <a:pt x="236918" y="370839"/>
                  </a:lnTo>
                  <a:lnTo>
                    <a:pt x="243001" y="375919"/>
                  </a:lnTo>
                  <a:lnTo>
                    <a:pt x="243001" y="378459"/>
                  </a:lnTo>
                  <a:lnTo>
                    <a:pt x="236092" y="386079"/>
                  </a:lnTo>
                  <a:lnTo>
                    <a:pt x="215576" y="394969"/>
                  </a:lnTo>
                  <a:lnTo>
                    <a:pt x="181772" y="402589"/>
                  </a:lnTo>
                  <a:lnTo>
                    <a:pt x="135000" y="405129"/>
                  </a:lnTo>
                  <a:lnTo>
                    <a:pt x="253254" y="405129"/>
                  </a:lnTo>
                  <a:lnTo>
                    <a:pt x="258050" y="402589"/>
                  </a:lnTo>
                  <a:lnTo>
                    <a:pt x="270001" y="378459"/>
                  </a:lnTo>
                  <a:lnTo>
                    <a:pt x="269640" y="375919"/>
                  </a:lnTo>
                  <a:lnTo>
                    <a:pt x="268721" y="370340"/>
                  </a:lnTo>
                  <a:lnTo>
                    <a:pt x="267487" y="367311"/>
                  </a:lnTo>
                  <a:lnTo>
                    <a:pt x="266728" y="365759"/>
                  </a:lnTo>
                  <a:close/>
                </a:path>
                <a:path w="432435" h="431800">
                  <a:moveTo>
                    <a:pt x="225170" y="365759"/>
                  </a:moveTo>
                  <a:lnTo>
                    <a:pt x="44826" y="365762"/>
                  </a:lnTo>
                  <a:lnTo>
                    <a:pt x="65158" y="370839"/>
                  </a:lnTo>
                  <a:lnTo>
                    <a:pt x="87514" y="375919"/>
                  </a:lnTo>
                  <a:lnTo>
                    <a:pt x="135000" y="378459"/>
                  </a:lnTo>
                  <a:lnTo>
                    <a:pt x="182487" y="375919"/>
                  </a:lnTo>
                  <a:lnTo>
                    <a:pt x="204843" y="370839"/>
                  </a:lnTo>
                  <a:lnTo>
                    <a:pt x="225175" y="365762"/>
                  </a:lnTo>
                  <a:close/>
                </a:path>
                <a:path w="432435" h="431800">
                  <a:moveTo>
                    <a:pt x="429064" y="312419"/>
                  </a:moveTo>
                  <a:lnTo>
                    <a:pt x="387177" y="312421"/>
                  </a:lnTo>
                  <a:lnTo>
                    <a:pt x="398919" y="316229"/>
                  </a:lnTo>
                  <a:lnTo>
                    <a:pt x="405002" y="321309"/>
                  </a:lnTo>
                  <a:lnTo>
                    <a:pt x="405002" y="323849"/>
                  </a:lnTo>
                  <a:lnTo>
                    <a:pt x="398093" y="331469"/>
                  </a:lnTo>
                  <a:lnTo>
                    <a:pt x="377577" y="340359"/>
                  </a:lnTo>
                  <a:lnTo>
                    <a:pt x="343773" y="347979"/>
                  </a:lnTo>
                  <a:lnTo>
                    <a:pt x="297002" y="351789"/>
                  </a:lnTo>
                  <a:lnTo>
                    <a:pt x="254317" y="351789"/>
                  </a:lnTo>
                  <a:lnTo>
                    <a:pt x="260888" y="356869"/>
                  </a:lnTo>
                  <a:lnTo>
                    <a:pt x="265822" y="363219"/>
                  </a:lnTo>
                  <a:lnTo>
                    <a:pt x="267487" y="367311"/>
                  </a:lnTo>
                  <a:lnTo>
                    <a:pt x="268594" y="369569"/>
                  </a:lnTo>
                  <a:lnTo>
                    <a:pt x="268721" y="370340"/>
                  </a:lnTo>
                  <a:lnTo>
                    <a:pt x="268924" y="370839"/>
                  </a:lnTo>
                  <a:lnTo>
                    <a:pt x="269658" y="376027"/>
                  </a:lnTo>
                  <a:lnTo>
                    <a:pt x="269849" y="377189"/>
                  </a:lnTo>
                  <a:lnTo>
                    <a:pt x="276628" y="378459"/>
                  </a:lnTo>
                  <a:lnTo>
                    <a:pt x="297002" y="378459"/>
                  </a:lnTo>
                  <a:lnTo>
                    <a:pt x="345522" y="374649"/>
                  </a:lnTo>
                  <a:lnTo>
                    <a:pt x="388881" y="365759"/>
                  </a:lnTo>
                  <a:lnTo>
                    <a:pt x="420051" y="347979"/>
                  </a:lnTo>
                  <a:lnTo>
                    <a:pt x="432003" y="323849"/>
                  </a:lnTo>
                  <a:lnTo>
                    <a:pt x="430925" y="316229"/>
                  </a:lnTo>
                  <a:lnTo>
                    <a:pt x="429064" y="312419"/>
                  </a:lnTo>
                  <a:close/>
                </a:path>
                <a:path w="432435" h="431800">
                  <a:moveTo>
                    <a:pt x="268721" y="370340"/>
                  </a:moveTo>
                  <a:lnTo>
                    <a:pt x="269658" y="376027"/>
                  </a:lnTo>
                  <a:lnTo>
                    <a:pt x="268924" y="370839"/>
                  </a:lnTo>
                  <a:lnTo>
                    <a:pt x="268721" y="370340"/>
                  </a:lnTo>
                  <a:close/>
                </a:path>
                <a:path w="432435" h="431800">
                  <a:moveTo>
                    <a:pt x="256971" y="349249"/>
                  </a:moveTo>
                  <a:lnTo>
                    <a:pt x="254292" y="351789"/>
                  </a:lnTo>
                  <a:lnTo>
                    <a:pt x="260673" y="356869"/>
                  </a:lnTo>
                  <a:lnTo>
                    <a:pt x="265483" y="363219"/>
                  </a:lnTo>
                  <a:lnTo>
                    <a:pt x="267487" y="367311"/>
                  </a:lnTo>
                  <a:lnTo>
                    <a:pt x="265822" y="363219"/>
                  </a:lnTo>
                  <a:lnTo>
                    <a:pt x="260888" y="356869"/>
                  </a:lnTo>
                  <a:lnTo>
                    <a:pt x="254317" y="351789"/>
                  </a:lnTo>
                  <a:lnTo>
                    <a:pt x="286143" y="351789"/>
                  </a:lnTo>
                  <a:lnTo>
                    <a:pt x="275863" y="350519"/>
                  </a:lnTo>
                  <a:lnTo>
                    <a:pt x="266144" y="350519"/>
                  </a:lnTo>
                  <a:lnTo>
                    <a:pt x="256971" y="349249"/>
                  </a:lnTo>
                  <a:close/>
                </a:path>
                <a:path w="432435" h="431800">
                  <a:moveTo>
                    <a:pt x="266706" y="257809"/>
                  </a:moveTo>
                  <a:lnTo>
                    <a:pt x="225175" y="257812"/>
                  </a:lnTo>
                  <a:lnTo>
                    <a:pt x="236918" y="262889"/>
                  </a:lnTo>
                  <a:lnTo>
                    <a:pt x="243001" y="267969"/>
                  </a:lnTo>
                  <a:lnTo>
                    <a:pt x="243001" y="270509"/>
                  </a:lnTo>
                  <a:lnTo>
                    <a:pt x="236092" y="278129"/>
                  </a:lnTo>
                  <a:lnTo>
                    <a:pt x="215576" y="287019"/>
                  </a:lnTo>
                  <a:lnTo>
                    <a:pt x="181772" y="294639"/>
                  </a:lnTo>
                  <a:lnTo>
                    <a:pt x="135000" y="297179"/>
                  </a:lnTo>
                  <a:lnTo>
                    <a:pt x="15697" y="297179"/>
                  </a:lnTo>
                  <a:lnTo>
                    <a:pt x="9113" y="303529"/>
                  </a:lnTo>
                  <a:lnTo>
                    <a:pt x="4179" y="309879"/>
                  </a:lnTo>
                  <a:lnTo>
                    <a:pt x="1077" y="316229"/>
                  </a:lnTo>
                  <a:lnTo>
                    <a:pt x="0" y="323849"/>
                  </a:lnTo>
                  <a:lnTo>
                    <a:pt x="1077" y="332739"/>
                  </a:lnTo>
                  <a:lnTo>
                    <a:pt x="4184" y="339089"/>
                  </a:lnTo>
                  <a:lnTo>
                    <a:pt x="9129" y="345439"/>
                  </a:lnTo>
                  <a:lnTo>
                    <a:pt x="15722" y="351789"/>
                  </a:lnTo>
                  <a:lnTo>
                    <a:pt x="135000" y="351789"/>
                  </a:lnTo>
                  <a:lnTo>
                    <a:pt x="88229" y="347979"/>
                  </a:lnTo>
                  <a:lnTo>
                    <a:pt x="54425" y="340359"/>
                  </a:lnTo>
                  <a:lnTo>
                    <a:pt x="33909" y="331469"/>
                  </a:lnTo>
                  <a:lnTo>
                    <a:pt x="27000" y="323849"/>
                  </a:lnTo>
                  <a:lnTo>
                    <a:pt x="27000" y="321309"/>
                  </a:lnTo>
                  <a:lnTo>
                    <a:pt x="33096" y="316229"/>
                  </a:lnTo>
                  <a:lnTo>
                    <a:pt x="44825" y="312421"/>
                  </a:lnTo>
                  <a:lnTo>
                    <a:pt x="266706" y="312419"/>
                  </a:lnTo>
                  <a:lnTo>
                    <a:pt x="265463" y="309879"/>
                  </a:lnTo>
                  <a:lnTo>
                    <a:pt x="260662" y="303529"/>
                  </a:lnTo>
                  <a:lnTo>
                    <a:pt x="254292" y="297179"/>
                  </a:lnTo>
                  <a:lnTo>
                    <a:pt x="256229" y="295685"/>
                  </a:lnTo>
                  <a:lnTo>
                    <a:pt x="256971" y="294639"/>
                  </a:lnTo>
                  <a:lnTo>
                    <a:pt x="257584" y="294639"/>
                  </a:lnTo>
                  <a:lnTo>
                    <a:pt x="260877" y="292099"/>
                  </a:lnTo>
                  <a:lnTo>
                    <a:pt x="265818" y="285749"/>
                  </a:lnTo>
                  <a:lnTo>
                    <a:pt x="268924" y="278129"/>
                  </a:lnTo>
                  <a:lnTo>
                    <a:pt x="270001" y="270509"/>
                  </a:lnTo>
                  <a:lnTo>
                    <a:pt x="269625" y="267969"/>
                  </a:lnTo>
                  <a:lnTo>
                    <a:pt x="268683" y="262298"/>
                  </a:lnTo>
                  <a:lnTo>
                    <a:pt x="267598" y="259632"/>
                  </a:lnTo>
                  <a:lnTo>
                    <a:pt x="266706" y="257809"/>
                  </a:lnTo>
                  <a:close/>
                </a:path>
                <a:path w="432435" h="431800">
                  <a:moveTo>
                    <a:pt x="256926" y="349249"/>
                  </a:moveTo>
                  <a:lnTo>
                    <a:pt x="256070" y="349249"/>
                  </a:lnTo>
                  <a:lnTo>
                    <a:pt x="255282" y="350519"/>
                  </a:lnTo>
                  <a:lnTo>
                    <a:pt x="254292" y="351789"/>
                  </a:lnTo>
                  <a:lnTo>
                    <a:pt x="256926" y="349249"/>
                  </a:lnTo>
                  <a:close/>
                </a:path>
                <a:path w="432435" h="431800">
                  <a:moveTo>
                    <a:pt x="225170" y="312419"/>
                  </a:moveTo>
                  <a:lnTo>
                    <a:pt x="44825" y="312421"/>
                  </a:lnTo>
                  <a:lnTo>
                    <a:pt x="65158" y="317499"/>
                  </a:lnTo>
                  <a:lnTo>
                    <a:pt x="87514" y="321309"/>
                  </a:lnTo>
                  <a:lnTo>
                    <a:pt x="111067" y="323849"/>
                  </a:lnTo>
                  <a:lnTo>
                    <a:pt x="158934" y="323849"/>
                  </a:lnTo>
                  <a:lnTo>
                    <a:pt x="182487" y="321309"/>
                  </a:lnTo>
                  <a:lnTo>
                    <a:pt x="204843" y="317499"/>
                  </a:lnTo>
                  <a:lnTo>
                    <a:pt x="225176" y="312421"/>
                  </a:lnTo>
                  <a:close/>
                </a:path>
                <a:path w="432435" h="431800">
                  <a:moveTo>
                    <a:pt x="254317" y="297179"/>
                  </a:moveTo>
                  <a:lnTo>
                    <a:pt x="260662" y="303529"/>
                  </a:lnTo>
                  <a:lnTo>
                    <a:pt x="265463" y="309879"/>
                  </a:lnTo>
                  <a:lnTo>
                    <a:pt x="268571" y="316229"/>
                  </a:lnTo>
                  <a:lnTo>
                    <a:pt x="269836" y="323849"/>
                  </a:lnTo>
                  <a:lnTo>
                    <a:pt x="270001" y="323849"/>
                  </a:lnTo>
                  <a:lnTo>
                    <a:pt x="268924" y="316229"/>
                  </a:lnTo>
                  <a:lnTo>
                    <a:pt x="265822" y="309879"/>
                  </a:lnTo>
                  <a:lnTo>
                    <a:pt x="260888" y="303529"/>
                  </a:lnTo>
                  <a:lnTo>
                    <a:pt x="254317" y="297179"/>
                  </a:lnTo>
                  <a:close/>
                </a:path>
                <a:path w="432435" h="431800">
                  <a:moveTo>
                    <a:pt x="416318" y="297179"/>
                  </a:moveTo>
                  <a:lnTo>
                    <a:pt x="254317" y="297179"/>
                  </a:lnTo>
                  <a:lnTo>
                    <a:pt x="260888" y="303529"/>
                  </a:lnTo>
                  <a:lnTo>
                    <a:pt x="265822" y="309879"/>
                  </a:lnTo>
                  <a:lnTo>
                    <a:pt x="268924" y="316229"/>
                  </a:lnTo>
                  <a:lnTo>
                    <a:pt x="270001" y="323849"/>
                  </a:lnTo>
                  <a:lnTo>
                    <a:pt x="320935" y="323849"/>
                  </a:lnTo>
                  <a:lnTo>
                    <a:pt x="344489" y="321309"/>
                  </a:lnTo>
                  <a:lnTo>
                    <a:pt x="366844" y="317499"/>
                  </a:lnTo>
                  <a:lnTo>
                    <a:pt x="387177" y="312421"/>
                  </a:lnTo>
                  <a:lnTo>
                    <a:pt x="429064" y="312419"/>
                  </a:lnTo>
                  <a:lnTo>
                    <a:pt x="427823" y="309879"/>
                  </a:lnTo>
                  <a:lnTo>
                    <a:pt x="422889" y="303529"/>
                  </a:lnTo>
                  <a:lnTo>
                    <a:pt x="416318" y="297179"/>
                  </a:lnTo>
                  <a:close/>
                </a:path>
                <a:path w="432435" h="431800">
                  <a:moveTo>
                    <a:pt x="267017" y="204469"/>
                  </a:moveTo>
                  <a:lnTo>
                    <a:pt x="225183" y="204469"/>
                  </a:lnTo>
                  <a:lnTo>
                    <a:pt x="236918" y="208279"/>
                  </a:lnTo>
                  <a:lnTo>
                    <a:pt x="243001" y="213359"/>
                  </a:lnTo>
                  <a:lnTo>
                    <a:pt x="243001" y="215899"/>
                  </a:lnTo>
                  <a:lnTo>
                    <a:pt x="236092" y="223519"/>
                  </a:lnTo>
                  <a:lnTo>
                    <a:pt x="215576" y="232409"/>
                  </a:lnTo>
                  <a:lnTo>
                    <a:pt x="181772" y="240029"/>
                  </a:lnTo>
                  <a:lnTo>
                    <a:pt x="135000" y="243839"/>
                  </a:lnTo>
                  <a:lnTo>
                    <a:pt x="15697" y="243839"/>
                  </a:lnTo>
                  <a:lnTo>
                    <a:pt x="9113" y="248919"/>
                  </a:lnTo>
                  <a:lnTo>
                    <a:pt x="4179" y="255269"/>
                  </a:lnTo>
                  <a:lnTo>
                    <a:pt x="1077" y="262889"/>
                  </a:lnTo>
                  <a:lnTo>
                    <a:pt x="0" y="270509"/>
                  </a:lnTo>
                  <a:lnTo>
                    <a:pt x="1077" y="278129"/>
                  </a:lnTo>
                  <a:lnTo>
                    <a:pt x="4184" y="285749"/>
                  </a:lnTo>
                  <a:lnTo>
                    <a:pt x="9129" y="292099"/>
                  </a:lnTo>
                  <a:lnTo>
                    <a:pt x="15722" y="297179"/>
                  </a:lnTo>
                  <a:lnTo>
                    <a:pt x="135000" y="297179"/>
                  </a:lnTo>
                  <a:lnTo>
                    <a:pt x="88229" y="294639"/>
                  </a:lnTo>
                  <a:lnTo>
                    <a:pt x="54425" y="287019"/>
                  </a:lnTo>
                  <a:lnTo>
                    <a:pt x="33909" y="278129"/>
                  </a:lnTo>
                  <a:lnTo>
                    <a:pt x="27000" y="270509"/>
                  </a:lnTo>
                  <a:lnTo>
                    <a:pt x="27000" y="267969"/>
                  </a:lnTo>
                  <a:lnTo>
                    <a:pt x="33096" y="262889"/>
                  </a:lnTo>
                  <a:lnTo>
                    <a:pt x="44826" y="257812"/>
                  </a:lnTo>
                  <a:lnTo>
                    <a:pt x="266706" y="257809"/>
                  </a:lnTo>
                  <a:lnTo>
                    <a:pt x="265463" y="255269"/>
                  </a:lnTo>
                  <a:lnTo>
                    <a:pt x="260662" y="248919"/>
                  </a:lnTo>
                  <a:lnTo>
                    <a:pt x="254292" y="243839"/>
                  </a:lnTo>
                  <a:lnTo>
                    <a:pt x="255282" y="242569"/>
                  </a:lnTo>
                  <a:lnTo>
                    <a:pt x="256070" y="241299"/>
                  </a:lnTo>
                  <a:lnTo>
                    <a:pt x="256926" y="241299"/>
                  </a:lnTo>
                  <a:lnTo>
                    <a:pt x="260877" y="237489"/>
                  </a:lnTo>
                  <a:lnTo>
                    <a:pt x="265818" y="231139"/>
                  </a:lnTo>
                  <a:lnTo>
                    <a:pt x="268924" y="223519"/>
                  </a:lnTo>
                  <a:lnTo>
                    <a:pt x="270001" y="215899"/>
                  </a:lnTo>
                  <a:lnTo>
                    <a:pt x="269836" y="215899"/>
                  </a:lnTo>
                  <a:lnTo>
                    <a:pt x="268571" y="208279"/>
                  </a:lnTo>
                  <a:lnTo>
                    <a:pt x="267017" y="204469"/>
                  </a:lnTo>
                  <a:close/>
                </a:path>
                <a:path w="432435" h="431800">
                  <a:moveTo>
                    <a:pt x="257491" y="294711"/>
                  </a:moveTo>
                  <a:lnTo>
                    <a:pt x="256229" y="295685"/>
                  </a:lnTo>
                  <a:lnTo>
                    <a:pt x="256070" y="295909"/>
                  </a:lnTo>
                  <a:lnTo>
                    <a:pt x="255282" y="297179"/>
                  </a:lnTo>
                  <a:lnTo>
                    <a:pt x="275863" y="297179"/>
                  </a:lnTo>
                  <a:lnTo>
                    <a:pt x="257491" y="294711"/>
                  </a:lnTo>
                  <a:close/>
                </a:path>
                <a:path w="432435" h="431800">
                  <a:moveTo>
                    <a:pt x="428857" y="257809"/>
                  </a:moveTo>
                  <a:lnTo>
                    <a:pt x="387176" y="257812"/>
                  </a:lnTo>
                  <a:lnTo>
                    <a:pt x="398919" y="262889"/>
                  </a:lnTo>
                  <a:lnTo>
                    <a:pt x="405002" y="267969"/>
                  </a:lnTo>
                  <a:lnTo>
                    <a:pt x="405002" y="270509"/>
                  </a:lnTo>
                  <a:lnTo>
                    <a:pt x="398093" y="278129"/>
                  </a:lnTo>
                  <a:lnTo>
                    <a:pt x="377577" y="287019"/>
                  </a:lnTo>
                  <a:lnTo>
                    <a:pt x="343773" y="294639"/>
                  </a:lnTo>
                  <a:lnTo>
                    <a:pt x="297002" y="297179"/>
                  </a:lnTo>
                  <a:lnTo>
                    <a:pt x="416293" y="297179"/>
                  </a:lnTo>
                  <a:lnTo>
                    <a:pt x="422878" y="292099"/>
                  </a:lnTo>
                  <a:lnTo>
                    <a:pt x="427820" y="285749"/>
                  </a:lnTo>
                  <a:lnTo>
                    <a:pt x="430925" y="278129"/>
                  </a:lnTo>
                  <a:lnTo>
                    <a:pt x="432003" y="270509"/>
                  </a:lnTo>
                  <a:lnTo>
                    <a:pt x="430925" y="262889"/>
                  </a:lnTo>
                  <a:lnTo>
                    <a:pt x="428857" y="257809"/>
                  </a:lnTo>
                  <a:close/>
                </a:path>
                <a:path w="432435" h="431800">
                  <a:moveTo>
                    <a:pt x="256971" y="294639"/>
                  </a:moveTo>
                  <a:lnTo>
                    <a:pt x="256229" y="295685"/>
                  </a:lnTo>
                  <a:lnTo>
                    <a:pt x="257491" y="294711"/>
                  </a:lnTo>
                  <a:lnTo>
                    <a:pt x="256971" y="294639"/>
                  </a:lnTo>
                  <a:close/>
                </a:path>
                <a:path w="432435" h="431800">
                  <a:moveTo>
                    <a:pt x="257584" y="294639"/>
                  </a:moveTo>
                  <a:lnTo>
                    <a:pt x="256971" y="294639"/>
                  </a:lnTo>
                  <a:lnTo>
                    <a:pt x="257491" y="294711"/>
                  </a:lnTo>
                  <a:close/>
                </a:path>
                <a:path w="432435" h="431800">
                  <a:moveTo>
                    <a:pt x="225170" y="257809"/>
                  </a:moveTo>
                  <a:lnTo>
                    <a:pt x="44826" y="257812"/>
                  </a:lnTo>
                  <a:lnTo>
                    <a:pt x="65158" y="262889"/>
                  </a:lnTo>
                  <a:lnTo>
                    <a:pt x="87514" y="266699"/>
                  </a:lnTo>
                  <a:lnTo>
                    <a:pt x="111067" y="269239"/>
                  </a:lnTo>
                  <a:lnTo>
                    <a:pt x="135000" y="270509"/>
                  </a:lnTo>
                  <a:lnTo>
                    <a:pt x="158934" y="269239"/>
                  </a:lnTo>
                  <a:lnTo>
                    <a:pt x="182487" y="266699"/>
                  </a:lnTo>
                  <a:lnTo>
                    <a:pt x="204843" y="262889"/>
                  </a:lnTo>
                  <a:lnTo>
                    <a:pt x="225175" y="257812"/>
                  </a:lnTo>
                  <a:close/>
                </a:path>
                <a:path w="432435" h="431800">
                  <a:moveTo>
                    <a:pt x="416318" y="243839"/>
                  </a:moveTo>
                  <a:lnTo>
                    <a:pt x="254317" y="243839"/>
                  </a:lnTo>
                  <a:lnTo>
                    <a:pt x="260888" y="248919"/>
                  </a:lnTo>
                  <a:lnTo>
                    <a:pt x="265822" y="255269"/>
                  </a:lnTo>
                  <a:lnTo>
                    <a:pt x="267598" y="259632"/>
                  </a:lnTo>
                  <a:lnTo>
                    <a:pt x="268571" y="261619"/>
                  </a:lnTo>
                  <a:lnTo>
                    <a:pt x="268683" y="262298"/>
                  </a:lnTo>
                  <a:lnTo>
                    <a:pt x="268924" y="262889"/>
                  </a:lnTo>
                  <a:lnTo>
                    <a:pt x="269739" y="268655"/>
                  </a:lnTo>
                  <a:lnTo>
                    <a:pt x="269836" y="269239"/>
                  </a:lnTo>
                  <a:lnTo>
                    <a:pt x="276619" y="269239"/>
                  </a:lnTo>
                  <a:lnTo>
                    <a:pt x="283414" y="270509"/>
                  </a:lnTo>
                  <a:lnTo>
                    <a:pt x="297002" y="270509"/>
                  </a:lnTo>
                  <a:lnTo>
                    <a:pt x="320935" y="269239"/>
                  </a:lnTo>
                  <a:lnTo>
                    <a:pt x="344489" y="266699"/>
                  </a:lnTo>
                  <a:lnTo>
                    <a:pt x="366844" y="262889"/>
                  </a:lnTo>
                  <a:lnTo>
                    <a:pt x="387176" y="257812"/>
                  </a:lnTo>
                  <a:lnTo>
                    <a:pt x="428857" y="257809"/>
                  </a:lnTo>
                  <a:lnTo>
                    <a:pt x="427823" y="255269"/>
                  </a:lnTo>
                  <a:lnTo>
                    <a:pt x="422889" y="248919"/>
                  </a:lnTo>
                  <a:lnTo>
                    <a:pt x="416318" y="243839"/>
                  </a:lnTo>
                  <a:close/>
                </a:path>
                <a:path w="432435" h="431800">
                  <a:moveTo>
                    <a:pt x="268683" y="262298"/>
                  </a:moveTo>
                  <a:lnTo>
                    <a:pt x="269739" y="268655"/>
                  </a:lnTo>
                  <a:lnTo>
                    <a:pt x="268924" y="262889"/>
                  </a:lnTo>
                  <a:lnTo>
                    <a:pt x="268683" y="262298"/>
                  </a:lnTo>
                  <a:close/>
                </a:path>
                <a:path w="432435" h="431800">
                  <a:moveTo>
                    <a:pt x="256971" y="241299"/>
                  </a:moveTo>
                  <a:lnTo>
                    <a:pt x="254292" y="243839"/>
                  </a:lnTo>
                  <a:lnTo>
                    <a:pt x="260662" y="248919"/>
                  </a:lnTo>
                  <a:lnTo>
                    <a:pt x="265463" y="255269"/>
                  </a:lnTo>
                  <a:lnTo>
                    <a:pt x="267598" y="259632"/>
                  </a:lnTo>
                  <a:lnTo>
                    <a:pt x="265822" y="255269"/>
                  </a:lnTo>
                  <a:lnTo>
                    <a:pt x="260888" y="248919"/>
                  </a:lnTo>
                  <a:lnTo>
                    <a:pt x="254317" y="243839"/>
                  </a:lnTo>
                  <a:lnTo>
                    <a:pt x="286143" y="243839"/>
                  </a:lnTo>
                  <a:lnTo>
                    <a:pt x="275863" y="242569"/>
                  </a:lnTo>
                  <a:lnTo>
                    <a:pt x="266144" y="242569"/>
                  </a:lnTo>
                  <a:lnTo>
                    <a:pt x="256971" y="241299"/>
                  </a:lnTo>
                  <a:close/>
                </a:path>
                <a:path w="432435" h="431800">
                  <a:moveTo>
                    <a:pt x="253254" y="135889"/>
                  </a:moveTo>
                  <a:lnTo>
                    <a:pt x="135000" y="135889"/>
                  </a:lnTo>
                  <a:lnTo>
                    <a:pt x="181772" y="138429"/>
                  </a:lnTo>
                  <a:lnTo>
                    <a:pt x="215576" y="146049"/>
                  </a:lnTo>
                  <a:lnTo>
                    <a:pt x="236092" y="154939"/>
                  </a:lnTo>
                  <a:lnTo>
                    <a:pt x="243001" y="162559"/>
                  </a:lnTo>
                  <a:lnTo>
                    <a:pt x="236092" y="170179"/>
                  </a:lnTo>
                  <a:lnTo>
                    <a:pt x="215576" y="179069"/>
                  </a:lnTo>
                  <a:lnTo>
                    <a:pt x="181772" y="186689"/>
                  </a:lnTo>
                  <a:lnTo>
                    <a:pt x="135000" y="189229"/>
                  </a:lnTo>
                  <a:lnTo>
                    <a:pt x="15697" y="189229"/>
                  </a:lnTo>
                  <a:lnTo>
                    <a:pt x="9113" y="195579"/>
                  </a:lnTo>
                  <a:lnTo>
                    <a:pt x="4179" y="201929"/>
                  </a:lnTo>
                  <a:lnTo>
                    <a:pt x="1077" y="208279"/>
                  </a:lnTo>
                  <a:lnTo>
                    <a:pt x="0" y="215899"/>
                  </a:lnTo>
                  <a:lnTo>
                    <a:pt x="1077" y="223519"/>
                  </a:lnTo>
                  <a:lnTo>
                    <a:pt x="4184" y="231139"/>
                  </a:lnTo>
                  <a:lnTo>
                    <a:pt x="9129" y="237489"/>
                  </a:lnTo>
                  <a:lnTo>
                    <a:pt x="15722" y="243839"/>
                  </a:lnTo>
                  <a:lnTo>
                    <a:pt x="135000" y="243839"/>
                  </a:lnTo>
                  <a:lnTo>
                    <a:pt x="88229" y="240029"/>
                  </a:lnTo>
                  <a:lnTo>
                    <a:pt x="54425" y="232409"/>
                  </a:lnTo>
                  <a:lnTo>
                    <a:pt x="33909" y="223519"/>
                  </a:lnTo>
                  <a:lnTo>
                    <a:pt x="27000" y="215899"/>
                  </a:lnTo>
                  <a:lnTo>
                    <a:pt x="27000" y="213359"/>
                  </a:lnTo>
                  <a:lnTo>
                    <a:pt x="33096" y="208279"/>
                  </a:lnTo>
                  <a:lnTo>
                    <a:pt x="44830" y="204469"/>
                  </a:lnTo>
                  <a:lnTo>
                    <a:pt x="267017" y="204469"/>
                  </a:lnTo>
                  <a:lnTo>
                    <a:pt x="266785" y="203901"/>
                  </a:lnTo>
                  <a:lnTo>
                    <a:pt x="265822" y="201929"/>
                  </a:lnTo>
                  <a:lnTo>
                    <a:pt x="261932" y="196923"/>
                  </a:lnTo>
                  <a:lnTo>
                    <a:pt x="260662" y="195579"/>
                  </a:lnTo>
                  <a:lnTo>
                    <a:pt x="254292" y="189229"/>
                  </a:lnTo>
                  <a:lnTo>
                    <a:pt x="256229" y="187735"/>
                  </a:lnTo>
                  <a:lnTo>
                    <a:pt x="256971" y="186689"/>
                  </a:lnTo>
                  <a:lnTo>
                    <a:pt x="257584" y="186689"/>
                  </a:lnTo>
                  <a:lnTo>
                    <a:pt x="260877" y="184149"/>
                  </a:lnTo>
                  <a:lnTo>
                    <a:pt x="265818" y="177799"/>
                  </a:lnTo>
                  <a:lnTo>
                    <a:pt x="268924" y="170179"/>
                  </a:lnTo>
                  <a:lnTo>
                    <a:pt x="270001" y="162559"/>
                  </a:lnTo>
                  <a:lnTo>
                    <a:pt x="258319" y="138973"/>
                  </a:lnTo>
                  <a:lnTo>
                    <a:pt x="257777" y="138429"/>
                  </a:lnTo>
                  <a:lnTo>
                    <a:pt x="257153" y="137954"/>
                  </a:lnTo>
                  <a:lnTo>
                    <a:pt x="253254" y="135889"/>
                  </a:lnTo>
                  <a:close/>
                </a:path>
                <a:path w="432435" h="431800">
                  <a:moveTo>
                    <a:pt x="256926" y="241299"/>
                  </a:moveTo>
                  <a:lnTo>
                    <a:pt x="256070" y="241299"/>
                  </a:lnTo>
                  <a:lnTo>
                    <a:pt x="255282" y="242569"/>
                  </a:lnTo>
                  <a:lnTo>
                    <a:pt x="254292" y="243839"/>
                  </a:lnTo>
                  <a:lnTo>
                    <a:pt x="256926" y="241299"/>
                  </a:lnTo>
                  <a:close/>
                </a:path>
                <a:path w="432435" h="431800">
                  <a:moveTo>
                    <a:pt x="429064" y="204469"/>
                  </a:moveTo>
                  <a:lnTo>
                    <a:pt x="387177" y="204471"/>
                  </a:lnTo>
                  <a:lnTo>
                    <a:pt x="398919" y="208279"/>
                  </a:lnTo>
                  <a:lnTo>
                    <a:pt x="405002" y="213359"/>
                  </a:lnTo>
                  <a:lnTo>
                    <a:pt x="405002" y="215899"/>
                  </a:lnTo>
                  <a:lnTo>
                    <a:pt x="398093" y="223519"/>
                  </a:lnTo>
                  <a:lnTo>
                    <a:pt x="377577" y="232409"/>
                  </a:lnTo>
                  <a:lnTo>
                    <a:pt x="343773" y="240029"/>
                  </a:lnTo>
                  <a:lnTo>
                    <a:pt x="297002" y="243839"/>
                  </a:lnTo>
                  <a:lnTo>
                    <a:pt x="416293" y="243839"/>
                  </a:lnTo>
                  <a:lnTo>
                    <a:pt x="422878" y="237489"/>
                  </a:lnTo>
                  <a:lnTo>
                    <a:pt x="427820" y="231139"/>
                  </a:lnTo>
                  <a:lnTo>
                    <a:pt x="430925" y="223519"/>
                  </a:lnTo>
                  <a:lnTo>
                    <a:pt x="432003" y="215899"/>
                  </a:lnTo>
                  <a:lnTo>
                    <a:pt x="430925" y="208279"/>
                  </a:lnTo>
                  <a:lnTo>
                    <a:pt x="429064" y="204469"/>
                  </a:lnTo>
                  <a:close/>
                </a:path>
                <a:path w="432435" h="431800">
                  <a:moveTo>
                    <a:pt x="225183" y="204469"/>
                  </a:moveTo>
                  <a:lnTo>
                    <a:pt x="44830" y="204469"/>
                  </a:lnTo>
                  <a:lnTo>
                    <a:pt x="65169" y="209549"/>
                  </a:lnTo>
                  <a:lnTo>
                    <a:pt x="87520" y="213359"/>
                  </a:lnTo>
                  <a:lnTo>
                    <a:pt x="111069" y="215899"/>
                  </a:lnTo>
                  <a:lnTo>
                    <a:pt x="158932" y="215899"/>
                  </a:lnTo>
                  <a:lnTo>
                    <a:pt x="182483" y="213359"/>
                  </a:lnTo>
                  <a:lnTo>
                    <a:pt x="204838" y="209549"/>
                  </a:lnTo>
                  <a:lnTo>
                    <a:pt x="225183" y="204469"/>
                  </a:lnTo>
                  <a:close/>
                </a:path>
                <a:path w="432435" h="431800">
                  <a:moveTo>
                    <a:pt x="266785" y="203901"/>
                  </a:moveTo>
                  <a:lnTo>
                    <a:pt x="268571" y="208279"/>
                  </a:lnTo>
                  <a:lnTo>
                    <a:pt x="269836" y="215899"/>
                  </a:lnTo>
                  <a:lnTo>
                    <a:pt x="270001" y="215899"/>
                  </a:lnTo>
                  <a:lnTo>
                    <a:pt x="268924" y="208279"/>
                  </a:lnTo>
                  <a:lnTo>
                    <a:pt x="266785" y="203901"/>
                  </a:lnTo>
                  <a:close/>
                </a:path>
                <a:path w="432435" h="431800">
                  <a:moveTo>
                    <a:pt x="416318" y="189229"/>
                  </a:moveTo>
                  <a:lnTo>
                    <a:pt x="254317" y="189229"/>
                  </a:lnTo>
                  <a:lnTo>
                    <a:pt x="260888" y="195579"/>
                  </a:lnTo>
                  <a:lnTo>
                    <a:pt x="261932" y="196923"/>
                  </a:lnTo>
                  <a:lnTo>
                    <a:pt x="265463" y="200659"/>
                  </a:lnTo>
                  <a:lnTo>
                    <a:pt x="266785" y="203901"/>
                  </a:lnTo>
                  <a:lnTo>
                    <a:pt x="268924" y="208279"/>
                  </a:lnTo>
                  <a:lnTo>
                    <a:pt x="270001" y="215899"/>
                  </a:lnTo>
                  <a:lnTo>
                    <a:pt x="320935" y="215899"/>
                  </a:lnTo>
                  <a:lnTo>
                    <a:pt x="344489" y="213359"/>
                  </a:lnTo>
                  <a:lnTo>
                    <a:pt x="366844" y="209549"/>
                  </a:lnTo>
                  <a:lnTo>
                    <a:pt x="387177" y="204471"/>
                  </a:lnTo>
                  <a:lnTo>
                    <a:pt x="429064" y="204469"/>
                  </a:lnTo>
                  <a:lnTo>
                    <a:pt x="427823" y="201929"/>
                  </a:lnTo>
                  <a:lnTo>
                    <a:pt x="422889" y="195579"/>
                  </a:lnTo>
                  <a:lnTo>
                    <a:pt x="416318" y="189229"/>
                  </a:lnTo>
                  <a:close/>
                </a:path>
                <a:path w="432435" h="431800">
                  <a:moveTo>
                    <a:pt x="254317" y="189229"/>
                  </a:moveTo>
                  <a:lnTo>
                    <a:pt x="260662" y="195579"/>
                  </a:lnTo>
                  <a:lnTo>
                    <a:pt x="261932" y="196923"/>
                  </a:lnTo>
                  <a:lnTo>
                    <a:pt x="260888" y="195579"/>
                  </a:lnTo>
                  <a:lnTo>
                    <a:pt x="254317" y="189229"/>
                  </a:lnTo>
                  <a:close/>
                </a:path>
                <a:path w="432435" h="431800">
                  <a:moveTo>
                    <a:pt x="135000" y="107949"/>
                  </a:moveTo>
                  <a:lnTo>
                    <a:pt x="86480" y="111759"/>
                  </a:lnTo>
                  <a:lnTo>
                    <a:pt x="43121" y="121919"/>
                  </a:lnTo>
                  <a:lnTo>
                    <a:pt x="11951" y="138429"/>
                  </a:lnTo>
                  <a:lnTo>
                    <a:pt x="0" y="162559"/>
                  </a:lnTo>
                  <a:lnTo>
                    <a:pt x="1077" y="170179"/>
                  </a:lnTo>
                  <a:lnTo>
                    <a:pt x="4184" y="177799"/>
                  </a:lnTo>
                  <a:lnTo>
                    <a:pt x="9129" y="184149"/>
                  </a:lnTo>
                  <a:lnTo>
                    <a:pt x="15722" y="189229"/>
                  </a:lnTo>
                  <a:lnTo>
                    <a:pt x="135000" y="189229"/>
                  </a:lnTo>
                  <a:lnTo>
                    <a:pt x="88229" y="186689"/>
                  </a:lnTo>
                  <a:lnTo>
                    <a:pt x="54425" y="179069"/>
                  </a:lnTo>
                  <a:lnTo>
                    <a:pt x="33909" y="170179"/>
                  </a:lnTo>
                  <a:lnTo>
                    <a:pt x="27000" y="162559"/>
                  </a:lnTo>
                  <a:lnTo>
                    <a:pt x="33909" y="154939"/>
                  </a:lnTo>
                  <a:lnTo>
                    <a:pt x="54425" y="146049"/>
                  </a:lnTo>
                  <a:lnTo>
                    <a:pt x="88229" y="138429"/>
                  </a:lnTo>
                  <a:lnTo>
                    <a:pt x="135000" y="135889"/>
                  </a:lnTo>
                  <a:lnTo>
                    <a:pt x="253254" y="135889"/>
                  </a:lnTo>
                  <a:lnTo>
                    <a:pt x="226880" y="121919"/>
                  </a:lnTo>
                  <a:lnTo>
                    <a:pt x="183521" y="111759"/>
                  </a:lnTo>
                  <a:lnTo>
                    <a:pt x="135000" y="107949"/>
                  </a:lnTo>
                  <a:close/>
                </a:path>
                <a:path w="432435" h="431800">
                  <a:moveTo>
                    <a:pt x="257491" y="186761"/>
                  </a:moveTo>
                  <a:lnTo>
                    <a:pt x="256229" y="187735"/>
                  </a:lnTo>
                  <a:lnTo>
                    <a:pt x="256070" y="187959"/>
                  </a:lnTo>
                  <a:lnTo>
                    <a:pt x="255282" y="189229"/>
                  </a:lnTo>
                  <a:lnTo>
                    <a:pt x="275863" y="189229"/>
                  </a:lnTo>
                  <a:lnTo>
                    <a:pt x="257491" y="186761"/>
                  </a:lnTo>
                  <a:close/>
                </a:path>
                <a:path w="432435" h="431800">
                  <a:moveTo>
                    <a:pt x="428857" y="149859"/>
                  </a:moveTo>
                  <a:lnTo>
                    <a:pt x="387176" y="149862"/>
                  </a:lnTo>
                  <a:lnTo>
                    <a:pt x="398919" y="154939"/>
                  </a:lnTo>
                  <a:lnTo>
                    <a:pt x="405002" y="160019"/>
                  </a:lnTo>
                  <a:lnTo>
                    <a:pt x="405002" y="162559"/>
                  </a:lnTo>
                  <a:lnTo>
                    <a:pt x="398093" y="170179"/>
                  </a:lnTo>
                  <a:lnTo>
                    <a:pt x="377577" y="179069"/>
                  </a:lnTo>
                  <a:lnTo>
                    <a:pt x="343773" y="186689"/>
                  </a:lnTo>
                  <a:lnTo>
                    <a:pt x="297002" y="189229"/>
                  </a:lnTo>
                  <a:lnTo>
                    <a:pt x="416293" y="189229"/>
                  </a:lnTo>
                  <a:lnTo>
                    <a:pt x="422878" y="184149"/>
                  </a:lnTo>
                  <a:lnTo>
                    <a:pt x="427820" y="177799"/>
                  </a:lnTo>
                  <a:lnTo>
                    <a:pt x="430925" y="170179"/>
                  </a:lnTo>
                  <a:lnTo>
                    <a:pt x="432003" y="162559"/>
                  </a:lnTo>
                  <a:lnTo>
                    <a:pt x="430925" y="154939"/>
                  </a:lnTo>
                  <a:lnTo>
                    <a:pt x="428857" y="149859"/>
                  </a:lnTo>
                  <a:close/>
                </a:path>
                <a:path w="432435" h="431800">
                  <a:moveTo>
                    <a:pt x="256971" y="186689"/>
                  </a:moveTo>
                  <a:lnTo>
                    <a:pt x="256229" y="187735"/>
                  </a:lnTo>
                  <a:lnTo>
                    <a:pt x="257491" y="186761"/>
                  </a:lnTo>
                  <a:lnTo>
                    <a:pt x="256971" y="186689"/>
                  </a:lnTo>
                  <a:close/>
                </a:path>
                <a:path w="432435" h="431800">
                  <a:moveTo>
                    <a:pt x="257584" y="186689"/>
                  </a:moveTo>
                  <a:lnTo>
                    <a:pt x="256971" y="186689"/>
                  </a:lnTo>
                  <a:lnTo>
                    <a:pt x="257491" y="186761"/>
                  </a:lnTo>
                  <a:close/>
                </a:path>
                <a:path w="432435" h="431800">
                  <a:moveTo>
                    <a:pt x="249440" y="132079"/>
                  </a:moveTo>
                  <a:lnTo>
                    <a:pt x="257153" y="137954"/>
                  </a:lnTo>
                  <a:lnTo>
                    <a:pt x="258050" y="138429"/>
                  </a:lnTo>
                  <a:lnTo>
                    <a:pt x="258319" y="138973"/>
                  </a:lnTo>
                  <a:lnTo>
                    <a:pt x="264115" y="144779"/>
                  </a:lnTo>
                  <a:lnTo>
                    <a:pt x="268225" y="152399"/>
                  </a:lnTo>
                  <a:lnTo>
                    <a:pt x="269874" y="161289"/>
                  </a:lnTo>
                  <a:lnTo>
                    <a:pt x="276642" y="161289"/>
                  </a:lnTo>
                  <a:lnTo>
                    <a:pt x="283429" y="162559"/>
                  </a:lnTo>
                  <a:lnTo>
                    <a:pt x="297002" y="162559"/>
                  </a:lnTo>
                  <a:lnTo>
                    <a:pt x="320935" y="161289"/>
                  </a:lnTo>
                  <a:lnTo>
                    <a:pt x="344489" y="158749"/>
                  </a:lnTo>
                  <a:lnTo>
                    <a:pt x="366844" y="154939"/>
                  </a:lnTo>
                  <a:lnTo>
                    <a:pt x="387176" y="149862"/>
                  </a:lnTo>
                  <a:lnTo>
                    <a:pt x="428857" y="149859"/>
                  </a:lnTo>
                  <a:lnTo>
                    <a:pt x="427823" y="147319"/>
                  </a:lnTo>
                  <a:lnTo>
                    <a:pt x="422889" y="140969"/>
                  </a:lnTo>
                  <a:lnTo>
                    <a:pt x="416318" y="135889"/>
                  </a:lnTo>
                  <a:lnTo>
                    <a:pt x="297002" y="135889"/>
                  </a:lnTo>
                  <a:lnTo>
                    <a:pt x="283862" y="134619"/>
                  </a:lnTo>
                  <a:lnTo>
                    <a:pt x="271554" y="134619"/>
                  </a:lnTo>
                  <a:lnTo>
                    <a:pt x="249440" y="132079"/>
                  </a:lnTo>
                  <a:close/>
                </a:path>
                <a:path w="432435" h="431800">
                  <a:moveTo>
                    <a:pt x="257153" y="137954"/>
                  </a:moveTo>
                  <a:lnTo>
                    <a:pt x="257777" y="138429"/>
                  </a:lnTo>
                  <a:lnTo>
                    <a:pt x="258319" y="138973"/>
                  </a:lnTo>
                  <a:lnTo>
                    <a:pt x="258050" y="138429"/>
                  </a:lnTo>
                  <a:lnTo>
                    <a:pt x="257153" y="137954"/>
                  </a:lnTo>
                  <a:close/>
                </a:path>
                <a:path w="432435" h="431800">
                  <a:moveTo>
                    <a:pt x="428443" y="95249"/>
                  </a:moveTo>
                  <a:lnTo>
                    <a:pt x="387177" y="95252"/>
                  </a:lnTo>
                  <a:lnTo>
                    <a:pt x="398919" y="100329"/>
                  </a:lnTo>
                  <a:lnTo>
                    <a:pt x="405002" y="105409"/>
                  </a:lnTo>
                  <a:lnTo>
                    <a:pt x="405002" y="107949"/>
                  </a:lnTo>
                  <a:lnTo>
                    <a:pt x="398093" y="115569"/>
                  </a:lnTo>
                  <a:lnTo>
                    <a:pt x="377577" y="124459"/>
                  </a:lnTo>
                  <a:lnTo>
                    <a:pt x="343773" y="132079"/>
                  </a:lnTo>
                  <a:lnTo>
                    <a:pt x="297002" y="135889"/>
                  </a:lnTo>
                  <a:lnTo>
                    <a:pt x="416293" y="135889"/>
                  </a:lnTo>
                  <a:lnTo>
                    <a:pt x="422878" y="129539"/>
                  </a:lnTo>
                  <a:lnTo>
                    <a:pt x="427820" y="123189"/>
                  </a:lnTo>
                  <a:lnTo>
                    <a:pt x="430925" y="115569"/>
                  </a:lnTo>
                  <a:lnTo>
                    <a:pt x="432003" y="107949"/>
                  </a:lnTo>
                  <a:lnTo>
                    <a:pt x="430925" y="100329"/>
                  </a:lnTo>
                  <a:lnTo>
                    <a:pt x="428443" y="95249"/>
                  </a:lnTo>
                  <a:close/>
                </a:path>
                <a:path w="432435" h="431800">
                  <a:moveTo>
                    <a:pt x="416318" y="81279"/>
                  </a:moveTo>
                  <a:lnTo>
                    <a:pt x="177685" y="81279"/>
                  </a:lnTo>
                  <a:lnTo>
                    <a:pt x="171114" y="87629"/>
                  </a:lnTo>
                  <a:lnTo>
                    <a:pt x="166181" y="93979"/>
                  </a:lnTo>
                  <a:lnTo>
                    <a:pt x="163078" y="100329"/>
                  </a:lnTo>
                  <a:lnTo>
                    <a:pt x="162001" y="107949"/>
                  </a:lnTo>
                  <a:lnTo>
                    <a:pt x="162001" y="109219"/>
                  </a:lnTo>
                  <a:lnTo>
                    <a:pt x="162153" y="109219"/>
                  </a:lnTo>
                  <a:lnTo>
                    <a:pt x="169862" y="110489"/>
                  </a:lnTo>
                  <a:lnTo>
                    <a:pt x="177487" y="110489"/>
                  </a:lnTo>
                  <a:lnTo>
                    <a:pt x="192392" y="113029"/>
                  </a:lnTo>
                  <a:lnTo>
                    <a:pt x="190195" y="111759"/>
                  </a:lnTo>
                  <a:lnTo>
                    <a:pt x="189001" y="109219"/>
                  </a:lnTo>
                  <a:lnTo>
                    <a:pt x="189001" y="105409"/>
                  </a:lnTo>
                  <a:lnTo>
                    <a:pt x="195084" y="100329"/>
                  </a:lnTo>
                  <a:lnTo>
                    <a:pt x="206826" y="95252"/>
                  </a:lnTo>
                  <a:lnTo>
                    <a:pt x="428443" y="95249"/>
                  </a:lnTo>
                  <a:lnTo>
                    <a:pt x="427823" y="93979"/>
                  </a:lnTo>
                  <a:lnTo>
                    <a:pt x="422889" y="87629"/>
                  </a:lnTo>
                  <a:lnTo>
                    <a:pt x="416318" y="81279"/>
                  </a:lnTo>
                  <a:close/>
                </a:path>
                <a:path w="432435" h="431800">
                  <a:moveTo>
                    <a:pt x="387172" y="95249"/>
                  </a:moveTo>
                  <a:lnTo>
                    <a:pt x="206826" y="95252"/>
                  </a:lnTo>
                  <a:lnTo>
                    <a:pt x="227159" y="101599"/>
                  </a:lnTo>
                  <a:lnTo>
                    <a:pt x="249515" y="105409"/>
                  </a:lnTo>
                  <a:lnTo>
                    <a:pt x="273068" y="107949"/>
                  </a:lnTo>
                  <a:lnTo>
                    <a:pt x="320935" y="107949"/>
                  </a:lnTo>
                  <a:lnTo>
                    <a:pt x="344489" y="105409"/>
                  </a:lnTo>
                  <a:lnTo>
                    <a:pt x="366844" y="101599"/>
                  </a:lnTo>
                  <a:lnTo>
                    <a:pt x="387177" y="95252"/>
                  </a:lnTo>
                  <a:close/>
                </a:path>
                <a:path w="432435" h="431800">
                  <a:moveTo>
                    <a:pt x="297002" y="0"/>
                  </a:moveTo>
                  <a:lnTo>
                    <a:pt x="248481" y="3809"/>
                  </a:lnTo>
                  <a:lnTo>
                    <a:pt x="205122" y="13969"/>
                  </a:lnTo>
                  <a:lnTo>
                    <a:pt x="173952" y="30479"/>
                  </a:lnTo>
                  <a:lnTo>
                    <a:pt x="162001" y="54609"/>
                  </a:lnTo>
                  <a:lnTo>
                    <a:pt x="163078" y="62229"/>
                  </a:lnTo>
                  <a:lnTo>
                    <a:pt x="166184" y="68579"/>
                  </a:lnTo>
                  <a:lnTo>
                    <a:pt x="171125" y="76199"/>
                  </a:lnTo>
                  <a:lnTo>
                    <a:pt x="177711" y="81279"/>
                  </a:lnTo>
                  <a:lnTo>
                    <a:pt x="297002" y="81279"/>
                  </a:lnTo>
                  <a:lnTo>
                    <a:pt x="250230" y="78739"/>
                  </a:lnTo>
                  <a:lnTo>
                    <a:pt x="216427" y="71119"/>
                  </a:lnTo>
                  <a:lnTo>
                    <a:pt x="195910" y="60959"/>
                  </a:lnTo>
                  <a:lnTo>
                    <a:pt x="189001" y="54609"/>
                  </a:lnTo>
                  <a:lnTo>
                    <a:pt x="195910" y="46989"/>
                  </a:lnTo>
                  <a:lnTo>
                    <a:pt x="216427" y="38099"/>
                  </a:lnTo>
                  <a:lnTo>
                    <a:pt x="250230" y="30479"/>
                  </a:lnTo>
                  <a:lnTo>
                    <a:pt x="297002" y="27939"/>
                  </a:lnTo>
                  <a:lnTo>
                    <a:pt x="415256" y="27939"/>
                  </a:lnTo>
                  <a:lnTo>
                    <a:pt x="388881" y="13969"/>
                  </a:lnTo>
                  <a:lnTo>
                    <a:pt x="345522" y="3809"/>
                  </a:lnTo>
                  <a:lnTo>
                    <a:pt x="297002" y="0"/>
                  </a:lnTo>
                  <a:close/>
                </a:path>
                <a:path w="432435" h="431800">
                  <a:moveTo>
                    <a:pt x="415256" y="27939"/>
                  </a:moveTo>
                  <a:lnTo>
                    <a:pt x="297002" y="27939"/>
                  </a:lnTo>
                  <a:lnTo>
                    <a:pt x="343773" y="30479"/>
                  </a:lnTo>
                  <a:lnTo>
                    <a:pt x="377577" y="38099"/>
                  </a:lnTo>
                  <a:lnTo>
                    <a:pt x="398093" y="46989"/>
                  </a:lnTo>
                  <a:lnTo>
                    <a:pt x="405002" y="54609"/>
                  </a:lnTo>
                  <a:lnTo>
                    <a:pt x="398093" y="60959"/>
                  </a:lnTo>
                  <a:lnTo>
                    <a:pt x="377577" y="71119"/>
                  </a:lnTo>
                  <a:lnTo>
                    <a:pt x="343773" y="78739"/>
                  </a:lnTo>
                  <a:lnTo>
                    <a:pt x="297002" y="81279"/>
                  </a:lnTo>
                  <a:lnTo>
                    <a:pt x="416293" y="81279"/>
                  </a:lnTo>
                  <a:lnTo>
                    <a:pt x="422878" y="76199"/>
                  </a:lnTo>
                  <a:lnTo>
                    <a:pt x="427820" y="68579"/>
                  </a:lnTo>
                  <a:lnTo>
                    <a:pt x="430925" y="62229"/>
                  </a:lnTo>
                  <a:lnTo>
                    <a:pt x="432003" y="54609"/>
                  </a:lnTo>
                  <a:lnTo>
                    <a:pt x="420051" y="30479"/>
                  </a:lnTo>
                  <a:lnTo>
                    <a:pt x="415256" y="27939"/>
                  </a:lnTo>
                  <a:close/>
                </a:path>
              </a:pathLst>
            </a:custGeom>
            <a:solidFill>
              <a:srgbClr val="502D8F"/>
            </a:solidFill>
          </p:spPr>
          <p:txBody>
            <a:bodyPr wrap="square" lIns="0" tIns="0" rIns="0" bIns="0" rtlCol="0"/>
            <a:lstStyle/>
            <a:p>
              <a:endParaRPr/>
            </a:p>
          </p:txBody>
        </p:sp>
      </p:grpSp>
      <p:sp>
        <p:nvSpPr>
          <p:cNvPr id="228" name="object 164">
            <a:extLst>
              <a:ext uri="{FF2B5EF4-FFF2-40B4-BE49-F238E27FC236}">
                <a16:creationId xmlns:a16="http://schemas.microsoft.com/office/drawing/2014/main" id="{A4D597C1-3A6A-F78F-8B7F-389052B7EF23}"/>
              </a:ext>
            </a:extLst>
          </p:cNvPr>
          <p:cNvSpPr txBox="1"/>
          <p:nvPr/>
        </p:nvSpPr>
        <p:spPr>
          <a:xfrm>
            <a:off x="3294302" y="1807350"/>
            <a:ext cx="230192"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Aviation</a:t>
            </a:r>
            <a:endParaRPr sz="500">
              <a:latin typeface="Arial"/>
              <a:cs typeface="Arial"/>
            </a:endParaRPr>
          </a:p>
        </p:txBody>
      </p:sp>
      <p:sp>
        <p:nvSpPr>
          <p:cNvPr id="229" name="object 165">
            <a:extLst>
              <a:ext uri="{FF2B5EF4-FFF2-40B4-BE49-F238E27FC236}">
                <a16:creationId xmlns:a16="http://schemas.microsoft.com/office/drawing/2014/main" id="{0B651044-893C-1087-3444-18C7E9E79FC1}"/>
              </a:ext>
            </a:extLst>
          </p:cNvPr>
          <p:cNvSpPr txBox="1"/>
          <p:nvPr/>
        </p:nvSpPr>
        <p:spPr>
          <a:xfrm>
            <a:off x="3323049" y="2534143"/>
            <a:ext cx="172484" cy="89768"/>
          </a:xfrm>
          <a:prstGeom prst="rect">
            <a:avLst/>
          </a:prstGeom>
        </p:spPr>
        <p:txBody>
          <a:bodyPr vert="horz" wrap="square" lIns="0" tIns="12700" rIns="0" bIns="0" rtlCol="0">
            <a:spAutoFit/>
          </a:bodyPr>
          <a:lstStyle/>
          <a:p>
            <a:pPr marL="12700" algn="ctr">
              <a:lnSpc>
                <a:spcPct val="100000"/>
              </a:lnSpc>
              <a:spcBef>
                <a:spcPts val="100"/>
              </a:spcBef>
            </a:pPr>
            <a:r>
              <a:rPr sz="500" spc="-20" dirty="0">
                <a:solidFill>
                  <a:srgbClr val="FFFFFF"/>
                </a:solidFill>
                <a:latin typeface="Arial"/>
                <a:cs typeface="Arial"/>
              </a:rPr>
              <a:t>Home</a:t>
            </a:r>
            <a:endParaRPr sz="500">
              <a:latin typeface="Arial"/>
              <a:cs typeface="Arial"/>
            </a:endParaRPr>
          </a:p>
        </p:txBody>
      </p:sp>
      <p:sp>
        <p:nvSpPr>
          <p:cNvPr id="230" name="object 166">
            <a:extLst>
              <a:ext uri="{FF2B5EF4-FFF2-40B4-BE49-F238E27FC236}">
                <a16:creationId xmlns:a16="http://schemas.microsoft.com/office/drawing/2014/main" id="{B46E44FE-CA06-ADC2-4090-60D307FCF1F2}"/>
              </a:ext>
            </a:extLst>
          </p:cNvPr>
          <p:cNvSpPr txBox="1"/>
          <p:nvPr/>
        </p:nvSpPr>
        <p:spPr>
          <a:xfrm>
            <a:off x="3294164" y="3260935"/>
            <a:ext cx="229871"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Finance</a:t>
            </a:r>
            <a:endParaRPr sz="500">
              <a:latin typeface="Arial"/>
              <a:cs typeface="Arial"/>
            </a:endParaRPr>
          </a:p>
        </p:txBody>
      </p:sp>
      <p:sp>
        <p:nvSpPr>
          <p:cNvPr id="231" name="object 167">
            <a:extLst>
              <a:ext uri="{FF2B5EF4-FFF2-40B4-BE49-F238E27FC236}">
                <a16:creationId xmlns:a16="http://schemas.microsoft.com/office/drawing/2014/main" id="{F988A2DA-26F9-8174-F316-16DC54BE2FAA}"/>
              </a:ext>
            </a:extLst>
          </p:cNvPr>
          <p:cNvSpPr txBox="1"/>
          <p:nvPr/>
        </p:nvSpPr>
        <p:spPr>
          <a:xfrm>
            <a:off x="3838412" y="1807350"/>
            <a:ext cx="595356" cy="89768"/>
          </a:xfrm>
          <a:prstGeom prst="rect">
            <a:avLst/>
          </a:prstGeom>
        </p:spPr>
        <p:txBody>
          <a:bodyPr vert="horz" wrap="square" lIns="0" tIns="12700" rIns="0" bIns="0" rtlCol="0">
            <a:spAutoFit/>
          </a:bodyPr>
          <a:lstStyle/>
          <a:p>
            <a:pPr marL="12700" algn="ctr">
              <a:lnSpc>
                <a:spcPct val="100000"/>
              </a:lnSpc>
              <a:spcBef>
                <a:spcPts val="100"/>
              </a:spcBef>
            </a:pPr>
            <a:r>
              <a:rPr sz="500" dirty="0">
                <a:solidFill>
                  <a:srgbClr val="FFFFFF"/>
                </a:solidFill>
                <a:latin typeface="Arial"/>
                <a:cs typeface="Arial"/>
              </a:rPr>
              <a:t>Autonomous</a:t>
            </a:r>
            <a:r>
              <a:rPr sz="500" spc="225" dirty="0">
                <a:solidFill>
                  <a:srgbClr val="FFFFFF"/>
                </a:solidFill>
                <a:latin typeface="Arial"/>
                <a:cs typeface="Arial"/>
              </a:rPr>
              <a:t> </a:t>
            </a:r>
            <a:r>
              <a:rPr sz="500" spc="-10" dirty="0">
                <a:solidFill>
                  <a:srgbClr val="FFFFFF"/>
                </a:solidFill>
                <a:latin typeface="Arial"/>
                <a:cs typeface="Arial"/>
              </a:rPr>
              <a:t>driving</a:t>
            </a:r>
            <a:endParaRPr sz="500">
              <a:latin typeface="Arial"/>
              <a:cs typeface="Arial"/>
            </a:endParaRPr>
          </a:p>
        </p:txBody>
      </p:sp>
      <p:sp>
        <p:nvSpPr>
          <p:cNvPr id="232" name="object 168">
            <a:extLst>
              <a:ext uri="{FF2B5EF4-FFF2-40B4-BE49-F238E27FC236}">
                <a16:creationId xmlns:a16="http://schemas.microsoft.com/office/drawing/2014/main" id="{C1C25698-9ED9-ADF3-3BD9-32A7FEB4E6B3}"/>
              </a:ext>
            </a:extLst>
          </p:cNvPr>
          <p:cNvSpPr txBox="1"/>
          <p:nvPr/>
        </p:nvSpPr>
        <p:spPr>
          <a:xfrm>
            <a:off x="3951836" y="2534143"/>
            <a:ext cx="368371"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Infrastructure</a:t>
            </a:r>
            <a:endParaRPr sz="500">
              <a:latin typeface="Arial"/>
              <a:cs typeface="Arial"/>
            </a:endParaRPr>
          </a:p>
        </p:txBody>
      </p:sp>
      <p:sp>
        <p:nvSpPr>
          <p:cNvPr id="233" name="object 169">
            <a:extLst>
              <a:ext uri="{FF2B5EF4-FFF2-40B4-BE49-F238E27FC236}">
                <a16:creationId xmlns:a16="http://schemas.microsoft.com/office/drawing/2014/main" id="{B75A60F3-7E22-55B8-D373-E78780BB6FFA}"/>
              </a:ext>
            </a:extLst>
          </p:cNvPr>
          <p:cNvSpPr txBox="1"/>
          <p:nvPr/>
        </p:nvSpPr>
        <p:spPr>
          <a:xfrm>
            <a:off x="3918932" y="3260935"/>
            <a:ext cx="434094"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Pharmaceutical</a:t>
            </a:r>
            <a:endParaRPr sz="500">
              <a:latin typeface="Arial"/>
              <a:cs typeface="Arial"/>
            </a:endParaRPr>
          </a:p>
        </p:txBody>
      </p:sp>
      <p:sp>
        <p:nvSpPr>
          <p:cNvPr id="234" name="object 170">
            <a:extLst>
              <a:ext uri="{FF2B5EF4-FFF2-40B4-BE49-F238E27FC236}">
                <a16:creationId xmlns:a16="http://schemas.microsoft.com/office/drawing/2014/main" id="{0FB094BA-ED4A-8A98-14E5-0A9D9204B882}"/>
              </a:ext>
            </a:extLst>
          </p:cNvPr>
          <p:cNvSpPr txBox="1"/>
          <p:nvPr/>
        </p:nvSpPr>
        <p:spPr>
          <a:xfrm>
            <a:off x="4700129" y="1807350"/>
            <a:ext cx="325410"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Earthquake</a:t>
            </a:r>
            <a:endParaRPr sz="500">
              <a:latin typeface="Arial"/>
              <a:cs typeface="Arial"/>
            </a:endParaRPr>
          </a:p>
        </p:txBody>
      </p:sp>
      <p:sp>
        <p:nvSpPr>
          <p:cNvPr id="235" name="object 171">
            <a:extLst>
              <a:ext uri="{FF2B5EF4-FFF2-40B4-BE49-F238E27FC236}">
                <a16:creationId xmlns:a16="http://schemas.microsoft.com/office/drawing/2014/main" id="{00CA906B-4B10-A71C-290F-2BD947BFF3C5}"/>
              </a:ext>
            </a:extLst>
          </p:cNvPr>
          <p:cNvSpPr txBox="1"/>
          <p:nvPr/>
        </p:nvSpPr>
        <p:spPr>
          <a:xfrm>
            <a:off x="4789715" y="2534143"/>
            <a:ext cx="146836" cy="89768"/>
          </a:xfrm>
          <a:prstGeom prst="rect">
            <a:avLst/>
          </a:prstGeom>
        </p:spPr>
        <p:txBody>
          <a:bodyPr vert="horz" wrap="square" lIns="0" tIns="12700" rIns="0" bIns="0" rtlCol="0">
            <a:spAutoFit/>
          </a:bodyPr>
          <a:lstStyle/>
          <a:p>
            <a:pPr marL="12700" algn="ctr">
              <a:lnSpc>
                <a:spcPct val="100000"/>
              </a:lnSpc>
              <a:spcBef>
                <a:spcPts val="100"/>
              </a:spcBef>
            </a:pPr>
            <a:r>
              <a:rPr sz="500" spc="-20" dirty="0">
                <a:solidFill>
                  <a:srgbClr val="FFFFFF"/>
                </a:solidFill>
                <a:latin typeface="Arial"/>
                <a:cs typeface="Arial"/>
              </a:rPr>
              <a:t>Food</a:t>
            </a:r>
            <a:endParaRPr sz="500">
              <a:latin typeface="Arial"/>
              <a:cs typeface="Arial"/>
            </a:endParaRPr>
          </a:p>
        </p:txBody>
      </p:sp>
      <p:sp>
        <p:nvSpPr>
          <p:cNvPr id="236" name="object 172">
            <a:extLst>
              <a:ext uri="{FF2B5EF4-FFF2-40B4-BE49-F238E27FC236}">
                <a16:creationId xmlns:a16="http://schemas.microsoft.com/office/drawing/2014/main" id="{6C9CC054-75FE-B875-1245-C80DB69BD53B}"/>
              </a:ext>
            </a:extLst>
          </p:cNvPr>
          <p:cNvSpPr txBox="1"/>
          <p:nvPr/>
        </p:nvSpPr>
        <p:spPr>
          <a:xfrm>
            <a:off x="4795849" y="3260935"/>
            <a:ext cx="134012" cy="89768"/>
          </a:xfrm>
          <a:prstGeom prst="rect">
            <a:avLst/>
          </a:prstGeom>
        </p:spPr>
        <p:txBody>
          <a:bodyPr vert="horz" wrap="square" lIns="0" tIns="12700" rIns="0" bIns="0" rtlCol="0">
            <a:spAutoFit/>
          </a:bodyPr>
          <a:lstStyle/>
          <a:p>
            <a:pPr marL="12700" algn="ctr">
              <a:lnSpc>
                <a:spcPct val="100000"/>
              </a:lnSpc>
              <a:spcBef>
                <a:spcPts val="100"/>
              </a:spcBef>
            </a:pPr>
            <a:r>
              <a:rPr sz="500" spc="-20" dirty="0">
                <a:solidFill>
                  <a:srgbClr val="FFFFFF"/>
                </a:solidFill>
                <a:latin typeface="Arial"/>
                <a:cs typeface="Arial"/>
              </a:rPr>
              <a:t>Rain</a:t>
            </a:r>
            <a:endParaRPr sz="500">
              <a:latin typeface="Arial"/>
              <a:cs typeface="Arial"/>
            </a:endParaRPr>
          </a:p>
        </p:txBody>
      </p:sp>
      <p:sp>
        <p:nvSpPr>
          <p:cNvPr id="237" name="object 173">
            <a:extLst>
              <a:ext uri="{FF2B5EF4-FFF2-40B4-BE49-F238E27FC236}">
                <a16:creationId xmlns:a16="http://schemas.microsoft.com/office/drawing/2014/main" id="{1F7212CE-9D68-2A82-CFC2-289EDBD0EE8F}"/>
              </a:ext>
            </a:extLst>
          </p:cNvPr>
          <p:cNvSpPr txBox="1"/>
          <p:nvPr/>
        </p:nvSpPr>
        <p:spPr>
          <a:xfrm>
            <a:off x="5486286" y="1807350"/>
            <a:ext cx="207108"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Energy</a:t>
            </a:r>
            <a:endParaRPr sz="500">
              <a:latin typeface="Arial"/>
              <a:cs typeface="Arial"/>
            </a:endParaRPr>
          </a:p>
        </p:txBody>
      </p:sp>
      <p:sp>
        <p:nvSpPr>
          <p:cNvPr id="238" name="object 174">
            <a:extLst>
              <a:ext uri="{FF2B5EF4-FFF2-40B4-BE49-F238E27FC236}">
                <a16:creationId xmlns:a16="http://schemas.microsoft.com/office/drawing/2014/main" id="{4E01D94F-3EDE-C93C-E737-4EC2401300D1}"/>
              </a:ext>
            </a:extLst>
          </p:cNvPr>
          <p:cNvSpPr txBox="1"/>
          <p:nvPr/>
        </p:nvSpPr>
        <p:spPr>
          <a:xfrm>
            <a:off x="6207362" y="1807350"/>
            <a:ext cx="218330"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Abacus</a:t>
            </a:r>
            <a:endParaRPr sz="500">
              <a:latin typeface="Arial"/>
              <a:cs typeface="Arial"/>
            </a:endParaRPr>
          </a:p>
        </p:txBody>
      </p:sp>
      <p:sp>
        <p:nvSpPr>
          <p:cNvPr id="239" name="object 175">
            <a:extLst>
              <a:ext uri="{FF2B5EF4-FFF2-40B4-BE49-F238E27FC236}">
                <a16:creationId xmlns:a16="http://schemas.microsoft.com/office/drawing/2014/main" id="{B14F5AD7-86E8-7D86-3625-978BFA420F13}"/>
              </a:ext>
            </a:extLst>
          </p:cNvPr>
          <p:cNvSpPr txBox="1"/>
          <p:nvPr/>
        </p:nvSpPr>
        <p:spPr>
          <a:xfrm>
            <a:off x="6244668" y="2534143"/>
            <a:ext cx="143629" cy="89768"/>
          </a:xfrm>
          <a:prstGeom prst="rect">
            <a:avLst/>
          </a:prstGeom>
        </p:spPr>
        <p:txBody>
          <a:bodyPr vert="horz" wrap="square" lIns="0" tIns="12700" rIns="0" bIns="0" rtlCol="0">
            <a:spAutoFit/>
          </a:bodyPr>
          <a:lstStyle/>
          <a:p>
            <a:pPr marL="12700" algn="ctr">
              <a:lnSpc>
                <a:spcPct val="100000"/>
              </a:lnSpc>
              <a:spcBef>
                <a:spcPts val="100"/>
              </a:spcBef>
            </a:pPr>
            <a:r>
              <a:rPr sz="500" spc="-20" dirty="0">
                <a:solidFill>
                  <a:srgbClr val="FFFFFF"/>
                </a:solidFill>
                <a:latin typeface="Arial"/>
                <a:cs typeface="Arial"/>
              </a:rPr>
              <a:t>Time</a:t>
            </a:r>
            <a:endParaRPr sz="500">
              <a:latin typeface="Arial"/>
              <a:cs typeface="Arial"/>
            </a:endParaRPr>
          </a:p>
        </p:txBody>
      </p:sp>
      <p:sp>
        <p:nvSpPr>
          <p:cNvPr id="240" name="object 176">
            <a:extLst>
              <a:ext uri="{FF2B5EF4-FFF2-40B4-BE49-F238E27FC236}">
                <a16:creationId xmlns:a16="http://schemas.microsoft.com/office/drawing/2014/main" id="{0F029848-E7AD-279A-C71B-33AE746EE9B0}"/>
              </a:ext>
            </a:extLst>
          </p:cNvPr>
          <p:cNvSpPr txBox="1"/>
          <p:nvPr/>
        </p:nvSpPr>
        <p:spPr>
          <a:xfrm>
            <a:off x="6221681" y="3260935"/>
            <a:ext cx="189475"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Delete</a:t>
            </a:r>
            <a:endParaRPr sz="500">
              <a:latin typeface="Arial"/>
              <a:cs typeface="Arial"/>
            </a:endParaRPr>
          </a:p>
        </p:txBody>
      </p:sp>
      <p:sp>
        <p:nvSpPr>
          <p:cNvPr id="241" name="object 177">
            <a:extLst>
              <a:ext uri="{FF2B5EF4-FFF2-40B4-BE49-F238E27FC236}">
                <a16:creationId xmlns:a16="http://schemas.microsoft.com/office/drawing/2014/main" id="{DD652EC5-C196-558F-C654-6B950B0A5AFF}"/>
              </a:ext>
            </a:extLst>
          </p:cNvPr>
          <p:cNvSpPr txBox="1"/>
          <p:nvPr/>
        </p:nvSpPr>
        <p:spPr>
          <a:xfrm>
            <a:off x="6940149" y="1807350"/>
            <a:ext cx="205827"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Battery</a:t>
            </a:r>
            <a:endParaRPr sz="500">
              <a:latin typeface="Arial"/>
              <a:cs typeface="Arial"/>
            </a:endParaRPr>
          </a:p>
        </p:txBody>
      </p:sp>
      <p:sp>
        <p:nvSpPr>
          <p:cNvPr id="242" name="object 178">
            <a:extLst>
              <a:ext uri="{FF2B5EF4-FFF2-40B4-BE49-F238E27FC236}">
                <a16:creationId xmlns:a16="http://schemas.microsoft.com/office/drawing/2014/main" id="{3CA8D1B6-589B-DA31-B430-0BA7915FE356}"/>
              </a:ext>
            </a:extLst>
          </p:cNvPr>
          <p:cNvSpPr txBox="1"/>
          <p:nvPr/>
        </p:nvSpPr>
        <p:spPr>
          <a:xfrm>
            <a:off x="6903515" y="2534143"/>
            <a:ext cx="279564"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Comment</a:t>
            </a:r>
            <a:endParaRPr sz="500" dirty="0">
              <a:latin typeface="Arial"/>
              <a:cs typeface="Arial"/>
            </a:endParaRPr>
          </a:p>
        </p:txBody>
      </p:sp>
      <p:sp>
        <p:nvSpPr>
          <p:cNvPr id="243" name="object 179">
            <a:extLst>
              <a:ext uri="{FF2B5EF4-FFF2-40B4-BE49-F238E27FC236}">
                <a16:creationId xmlns:a16="http://schemas.microsoft.com/office/drawing/2014/main" id="{A06DFB9B-51B3-C431-7D89-8C85A610C8C1}"/>
              </a:ext>
            </a:extLst>
          </p:cNvPr>
          <p:cNvSpPr txBox="1"/>
          <p:nvPr/>
        </p:nvSpPr>
        <p:spPr>
          <a:xfrm>
            <a:off x="6928426" y="3260935"/>
            <a:ext cx="229871"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Drought</a:t>
            </a:r>
            <a:endParaRPr sz="500">
              <a:latin typeface="Arial"/>
              <a:cs typeface="Arial"/>
            </a:endParaRPr>
          </a:p>
        </p:txBody>
      </p:sp>
      <p:sp>
        <p:nvSpPr>
          <p:cNvPr id="244" name="object 180">
            <a:extLst>
              <a:ext uri="{FF2B5EF4-FFF2-40B4-BE49-F238E27FC236}">
                <a16:creationId xmlns:a16="http://schemas.microsoft.com/office/drawing/2014/main" id="{256D3DC0-6AFD-095C-CEF8-2770308120E4}"/>
              </a:ext>
            </a:extLst>
          </p:cNvPr>
          <p:cNvSpPr txBox="1"/>
          <p:nvPr/>
        </p:nvSpPr>
        <p:spPr>
          <a:xfrm>
            <a:off x="7675396" y="1807350"/>
            <a:ext cx="189475"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Rating</a:t>
            </a:r>
            <a:endParaRPr sz="500">
              <a:latin typeface="Arial"/>
              <a:cs typeface="Arial"/>
            </a:endParaRPr>
          </a:p>
        </p:txBody>
      </p:sp>
      <p:sp>
        <p:nvSpPr>
          <p:cNvPr id="245" name="object 181">
            <a:extLst>
              <a:ext uri="{FF2B5EF4-FFF2-40B4-BE49-F238E27FC236}">
                <a16:creationId xmlns:a16="http://schemas.microsoft.com/office/drawing/2014/main" id="{4CD0BAC9-BC66-D50D-02C0-A1D97F86089E}"/>
              </a:ext>
            </a:extLst>
          </p:cNvPr>
          <p:cNvSpPr txBox="1"/>
          <p:nvPr/>
        </p:nvSpPr>
        <p:spPr>
          <a:xfrm>
            <a:off x="7683464" y="2534143"/>
            <a:ext cx="173124"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Cloud</a:t>
            </a:r>
            <a:endParaRPr sz="500">
              <a:latin typeface="Arial"/>
              <a:cs typeface="Arial"/>
            </a:endParaRPr>
          </a:p>
        </p:txBody>
      </p:sp>
      <p:sp>
        <p:nvSpPr>
          <p:cNvPr id="246" name="object 182">
            <a:extLst>
              <a:ext uri="{FF2B5EF4-FFF2-40B4-BE49-F238E27FC236}">
                <a16:creationId xmlns:a16="http://schemas.microsoft.com/office/drawing/2014/main" id="{E7B5E9DC-2747-F0EA-994F-CA5397A95E19}"/>
              </a:ext>
            </a:extLst>
          </p:cNvPr>
          <p:cNvSpPr txBox="1"/>
          <p:nvPr/>
        </p:nvSpPr>
        <p:spPr>
          <a:xfrm>
            <a:off x="7604763" y="3260935"/>
            <a:ext cx="330540" cy="89768"/>
          </a:xfrm>
          <a:prstGeom prst="rect">
            <a:avLst/>
          </a:prstGeom>
        </p:spPr>
        <p:txBody>
          <a:bodyPr vert="horz" wrap="square" lIns="0" tIns="12700" rIns="0" bIns="0" rtlCol="0">
            <a:spAutoFit/>
          </a:bodyPr>
          <a:lstStyle/>
          <a:p>
            <a:pPr marL="12700" algn="ctr">
              <a:lnSpc>
                <a:spcPct val="100000"/>
              </a:lnSpc>
              <a:spcBef>
                <a:spcPts val="100"/>
              </a:spcBef>
            </a:pPr>
            <a:r>
              <a:rPr sz="500" dirty="0">
                <a:solidFill>
                  <a:srgbClr val="FFFFFF"/>
                </a:solidFill>
                <a:latin typeface="Arial"/>
                <a:cs typeface="Arial"/>
              </a:rPr>
              <a:t>Dress</a:t>
            </a:r>
            <a:r>
              <a:rPr sz="500" spc="45" dirty="0">
                <a:solidFill>
                  <a:srgbClr val="FFFFFF"/>
                </a:solidFill>
                <a:latin typeface="Arial"/>
                <a:cs typeface="Arial"/>
              </a:rPr>
              <a:t> </a:t>
            </a:r>
            <a:r>
              <a:rPr sz="500" spc="-20" dirty="0">
                <a:solidFill>
                  <a:srgbClr val="FFFFFF"/>
                </a:solidFill>
                <a:latin typeface="Arial"/>
                <a:cs typeface="Arial"/>
              </a:rPr>
              <a:t>code</a:t>
            </a:r>
            <a:endParaRPr sz="500">
              <a:latin typeface="Arial"/>
              <a:cs typeface="Arial"/>
            </a:endParaRPr>
          </a:p>
        </p:txBody>
      </p:sp>
      <p:sp>
        <p:nvSpPr>
          <p:cNvPr id="247" name="object 183">
            <a:extLst>
              <a:ext uri="{FF2B5EF4-FFF2-40B4-BE49-F238E27FC236}">
                <a16:creationId xmlns:a16="http://schemas.microsoft.com/office/drawing/2014/main" id="{66A2BF0A-09E8-D41A-7035-21C63F35FD72}"/>
              </a:ext>
            </a:extLst>
          </p:cNvPr>
          <p:cNvSpPr txBox="1"/>
          <p:nvPr/>
        </p:nvSpPr>
        <p:spPr>
          <a:xfrm>
            <a:off x="8269475" y="1807350"/>
            <a:ext cx="454613" cy="89768"/>
          </a:xfrm>
          <a:prstGeom prst="rect">
            <a:avLst/>
          </a:prstGeom>
        </p:spPr>
        <p:txBody>
          <a:bodyPr vert="horz" wrap="square" lIns="0" tIns="12700" rIns="0" bIns="0" rtlCol="0">
            <a:spAutoFit/>
          </a:bodyPr>
          <a:lstStyle/>
          <a:p>
            <a:pPr marL="12700" algn="ctr">
              <a:lnSpc>
                <a:spcPct val="100000"/>
              </a:lnSpc>
              <a:spcBef>
                <a:spcPts val="100"/>
              </a:spcBef>
            </a:pPr>
            <a:r>
              <a:rPr sz="500" dirty="0">
                <a:solidFill>
                  <a:srgbClr val="FFFFFF"/>
                </a:solidFill>
                <a:latin typeface="Arial"/>
                <a:cs typeface="Arial"/>
              </a:rPr>
              <a:t>Public</a:t>
            </a:r>
            <a:r>
              <a:rPr sz="500" spc="85" dirty="0">
                <a:solidFill>
                  <a:srgbClr val="FFFFFF"/>
                </a:solidFill>
                <a:latin typeface="Arial"/>
                <a:cs typeface="Arial"/>
              </a:rPr>
              <a:t> </a:t>
            </a:r>
            <a:r>
              <a:rPr sz="500" spc="-10" dirty="0">
                <a:solidFill>
                  <a:srgbClr val="FFFFFF"/>
                </a:solidFill>
                <a:latin typeface="Arial"/>
                <a:cs typeface="Arial"/>
              </a:rPr>
              <a:t>transport</a:t>
            </a:r>
            <a:endParaRPr sz="500">
              <a:latin typeface="Arial"/>
              <a:cs typeface="Arial"/>
            </a:endParaRPr>
          </a:p>
        </p:txBody>
      </p:sp>
      <p:sp>
        <p:nvSpPr>
          <p:cNvPr id="248" name="object 184">
            <a:extLst>
              <a:ext uri="{FF2B5EF4-FFF2-40B4-BE49-F238E27FC236}">
                <a16:creationId xmlns:a16="http://schemas.microsoft.com/office/drawing/2014/main" id="{883103A1-1BAD-C810-6EC8-33115CFA91E5}"/>
              </a:ext>
            </a:extLst>
          </p:cNvPr>
          <p:cNvSpPr txBox="1"/>
          <p:nvPr/>
        </p:nvSpPr>
        <p:spPr>
          <a:xfrm>
            <a:off x="8396428" y="2534143"/>
            <a:ext cx="200696"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Events</a:t>
            </a:r>
            <a:endParaRPr sz="500" dirty="0">
              <a:latin typeface="Arial"/>
              <a:cs typeface="Arial"/>
            </a:endParaRPr>
          </a:p>
        </p:txBody>
      </p:sp>
      <p:sp>
        <p:nvSpPr>
          <p:cNvPr id="249" name="object 185">
            <a:extLst>
              <a:ext uri="{FF2B5EF4-FFF2-40B4-BE49-F238E27FC236}">
                <a16:creationId xmlns:a16="http://schemas.microsoft.com/office/drawing/2014/main" id="{12D89D41-BF04-2A15-872B-B2D2449C501A}"/>
              </a:ext>
            </a:extLst>
          </p:cNvPr>
          <p:cNvSpPr txBox="1"/>
          <p:nvPr/>
        </p:nvSpPr>
        <p:spPr>
          <a:xfrm>
            <a:off x="8379606" y="3260935"/>
            <a:ext cx="234681"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Podcast</a:t>
            </a:r>
            <a:endParaRPr sz="500">
              <a:latin typeface="Arial"/>
              <a:cs typeface="Arial"/>
            </a:endParaRPr>
          </a:p>
        </p:txBody>
      </p:sp>
      <p:sp>
        <p:nvSpPr>
          <p:cNvPr id="250" name="object 186">
            <a:extLst>
              <a:ext uri="{FF2B5EF4-FFF2-40B4-BE49-F238E27FC236}">
                <a16:creationId xmlns:a16="http://schemas.microsoft.com/office/drawing/2014/main" id="{9D41FDA2-4BAE-7886-4BE9-156B8ACAF5E3}"/>
              </a:ext>
            </a:extLst>
          </p:cNvPr>
          <p:cNvSpPr txBox="1"/>
          <p:nvPr/>
        </p:nvSpPr>
        <p:spPr>
          <a:xfrm>
            <a:off x="5526521" y="2534143"/>
            <a:ext cx="126638" cy="89768"/>
          </a:xfrm>
          <a:prstGeom prst="rect">
            <a:avLst/>
          </a:prstGeom>
        </p:spPr>
        <p:txBody>
          <a:bodyPr vert="horz" wrap="square" lIns="0" tIns="12700" rIns="0" bIns="0" rtlCol="0">
            <a:spAutoFit/>
          </a:bodyPr>
          <a:lstStyle/>
          <a:p>
            <a:pPr marL="12700" algn="ctr">
              <a:lnSpc>
                <a:spcPct val="100000"/>
              </a:lnSpc>
              <a:spcBef>
                <a:spcPts val="100"/>
              </a:spcBef>
            </a:pPr>
            <a:r>
              <a:rPr sz="500" spc="-25" dirty="0">
                <a:solidFill>
                  <a:srgbClr val="FFFFFF"/>
                </a:solidFill>
                <a:latin typeface="Arial"/>
                <a:cs typeface="Arial"/>
              </a:rPr>
              <a:t>Map</a:t>
            </a:r>
            <a:endParaRPr sz="500">
              <a:latin typeface="Arial"/>
              <a:cs typeface="Arial"/>
            </a:endParaRPr>
          </a:p>
        </p:txBody>
      </p:sp>
      <p:sp>
        <p:nvSpPr>
          <p:cNvPr id="251" name="object 187">
            <a:extLst>
              <a:ext uri="{FF2B5EF4-FFF2-40B4-BE49-F238E27FC236}">
                <a16:creationId xmlns:a16="http://schemas.microsoft.com/office/drawing/2014/main" id="{9EB39CDF-3383-BFD9-71A4-D731AB79BCD5}"/>
              </a:ext>
            </a:extLst>
          </p:cNvPr>
          <p:cNvSpPr txBox="1"/>
          <p:nvPr/>
        </p:nvSpPr>
        <p:spPr>
          <a:xfrm>
            <a:off x="5494782" y="3260935"/>
            <a:ext cx="189475"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Global</a:t>
            </a:r>
            <a:endParaRPr sz="500">
              <a:latin typeface="Arial"/>
              <a:cs typeface="Arial"/>
            </a:endParaRPr>
          </a:p>
        </p:txBody>
      </p:sp>
      <p:sp>
        <p:nvSpPr>
          <p:cNvPr id="252" name="object 188">
            <a:extLst>
              <a:ext uri="{FF2B5EF4-FFF2-40B4-BE49-F238E27FC236}">
                <a16:creationId xmlns:a16="http://schemas.microsoft.com/office/drawing/2014/main" id="{D8CFB723-34F6-6E05-1793-53365EC485DF}"/>
              </a:ext>
            </a:extLst>
          </p:cNvPr>
          <p:cNvSpPr txBox="1"/>
          <p:nvPr/>
        </p:nvSpPr>
        <p:spPr>
          <a:xfrm>
            <a:off x="2583036" y="1807350"/>
            <a:ext cx="199093"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Marine</a:t>
            </a:r>
            <a:endParaRPr sz="500">
              <a:latin typeface="Arial"/>
              <a:cs typeface="Arial"/>
            </a:endParaRPr>
          </a:p>
        </p:txBody>
      </p:sp>
      <p:sp>
        <p:nvSpPr>
          <p:cNvPr id="253" name="object 189">
            <a:extLst>
              <a:ext uri="{FF2B5EF4-FFF2-40B4-BE49-F238E27FC236}">
                <a16:creationId xmlns:a16="http://schemas.microsoft.com/office/drawing/2014/main" id="{9465BEB7-A732-AE48-12A9-8938759B280D}"/>
              </a:ext>
            </a:extLst>
          </p:cNvPr>
          <p:cNvSpPr txBox="1"/>
          <p:nvPr/>
        </p:nvSpPr>
        <p:spPr>
          <a:xfrm>
            <a:off x="2504447" y="2534143"/>
            <a:ext cx="356188" cy="89768"/>
          </a:xfrm>
          <a:prstGeom prst="rect">
            <a:avLst/>
          </a:prstGeom>
        </p:spPr>
        <p:txBody>
          <a:bodyPr vert="horz" wrap="square" lIns="0" tIns="12700" rIns="0" bIns="0" rtlCol="0">
            <a:spAutoFit/>
          </a:bodyPr>
          <a:lstStyle/>
          <a:p>
            <a:pPr marL="12700" algn="ctr">
              <a:lnSpc>
                <a:spcPct val="100000"/>
              </a:lnSpc>
              <a:spcBef>
                <a:spcPts val="100"/>
              </a:spcBef>
            </a:pPr>
            <a:r>
              <a:rPr sz="500" spc="-10" dirty="0">
                <a:solidFill>
                  <a:srgbClr val="FFFFFF"/>
                </a:solidFill>
                <a:latin typeface="Arial"/>
                <a:cs typeface="Arial"/>
              </a:rPr>
              <a:t>Environment</a:t>
            </a:r>
            <a:endParaRPr sz="500">
              <a:latin typeface="Arial"/>
              <a:cs typeface="Arial"/>
            </a:endParaRPr>
          </a:p>
        </p:txBody>
      </p:sp>
      <p:sp>
        <p:nvSpPr>
          <p:cNvPr id="254" name="object 190">
            <a:extLst>
              <a:ext uri="{FF2B5EF4-FFF2-40B4-BE49-F238E27FC236}">
                <a16:creationId xmlns:a16="http://schemas.microsoft.com/office/drawing/2014/main" id="{78F71BCE-AE4E-98D0-23EC-45F2E21A7E97}"/>
              </a:ext>
            </a:extLst>
          </p:cNvPr>
          <p:cNvSpPr txBox="1"/>
          <p:nvPr/>
        </p:nvSpPr>
        <p:spPr>
          <a:xfrm>
            <a:off x="2478046" y="3260935"/>
            <a:ext cx="409087" cy="89768"/>
          </a:xfrm>
          <a:prstGeom prst="rect">
            <a:avLst/>
          </a:prstGeom>
        </p:spPr>
        <p:txBody>
          <a:bodyPr vert="horz" wrap="square" lIns="0" tIns="12700" rIns="0" bIns="0" rtlCol="0">
            <a:spAutoFit/>
          </a:bodyPr>
          <a:lstStyle/>
          <a:p>
            <a:pPr marL="12700" algn="ctr">
              <a:lnSpc>
                <a:spcPct val="100000"/>
              </a:lnSpc>
              <a:spcBef>
                <a:spcPts val="100"/>
              </a:spcBef>
            </a:pPr>
            <a:r>
              <a:rPr sz="500" dirty="0">
                <a:solidFill>
                  <a:srgbClr val="FFFFFF"/>
                </a:solidFill>
                <a:latin typeface="Arial"/>
                <a:cs typeface="Arial"/>
              </a:rPr>
              <a:t>Meeting</a:t>
            </a:r>
            <a:r>
              <a:rPr sz="500" spc="165" dirty="0">
                <a:solidFill>
                  <a:srgbClr val="FFFFFF"/>
                </a:solidFill>
                <a:latin typeface="Arial"/>
                <a:cs typeface="Arial"/>
              </a:rPr>
              <a:t> </a:t>
            </a:r>
            <a:r>
              <a:rPr sz="500" spc="-10" dirty="0">
                <a:solidFill>
                  <a:srgbClr val="FFFFFF"/>
                </a:solidFill>
                <a:latin typeface="Arial"/>
                <a:cs typeface="Arial"/>
              </a:rPr>
              <a:t>point</a:t>
            </a:r>
            <a:endParaRPr sz="500">
              <a:latin typeface="Arial"/>
              <a:cs typeface="Arial"/>
            </a:endParaRPr>
          </a:p>
        </p:txBody>
      </p:sp>
      <p:sp>
        <p:nvSpPr>
          <p:cNvPr id="255" name="object 191">
            <a:extLst>
              <a:ext uri="{FF2B5EF4-FFF2-40B4-BE49-F238E27FC236}">
                <a16:creationId xmlns:a16="http://schemas.microsoft.com/office/drawing/2014/main" id="{E8468811-D4E3-4DED-238B-249A2150ECD2}"/>
              </a:ext>
            </a:extLst>
          </p:cNvPr>
          <p:cNvSpPr/>
          <p:nvPr/>
        </p:nvSpPr>
        <p:spPr>
          <a:xfrm>
            <a:off x="3263695" y="1412079"/>
            <a:ext cx="291009" cy="291009"/>
          </a:xfrm>
          <a:custGeom>
            <a:avLst/>
            <a:gdLst/>
            <a:ahLst/>
            <a:cxnLst/>
            <a:rect l="l" t="t" r="r" b="b"/>
            <a:pathLst>
              <a:path w="432435" h="432435">
                <a:moveTo>
                  <a:pt x="215925" y="0"/>
                </a:moveTo>
                <a:lnTo>
                  <a:pt x="205416" y="2144"/>
                </a:lnTo>
                <a:lnTo>
                  <a:pt x="196834" y="7991"/>
                </a:lnTo>
                <a:lnTo>
                  <a:pt x="191047" y="16662"/>
                </a:lnTo>
                <a:lnTo>
                  <a:pt x="188925" y="27279"/>
                </a:lnTo>
                <a:lnTo>
                  <a:pt x="189001" y="148310"/>
                </a:lnTo>
                <a:lnTo>
                  <a:pt x="0" y="256895"/>
                </a:lnTo>
                <a:lnTo>
                  <a:pt x="0" y="297815"/>
                </a:lnTo>
                <a:lnTo>
                  <a:pt x="189001" y="230225"/>
                </a:lnTo>
                <a:lnTo>
                  <a:pt x="189001" y="364312"/>
                </a:lnTo>
                <a:lnTo>
                  <a:pt x="121500" y="408597"/>
                </a:lnTo>
                <a:lnTo>
                  <a:pt x="121500" y="432015"/>
                </a:lnTo>
                <a:lnTo>
                  <a:pt x="216141" y="393331"/>
                </a:lnTo>
                <a:lnTo>
                  <a:pt x="310565" y="432015"/>
                </a:lnTo>
                <a:lnTo>
                  <a:pt x="310565" y="408597"/>
                </a:lnTo>
                <a:lnTo>
                  <a:pt x="243001" y="364159"/>
                </a:lnTo>
                <a:lnTo>
                  <a:pt x="243001" y="230670"/>
                </a:lnTo>
                <a:lnTo>
                  <a:pt x="432003" y="297472"/>
                </a:lnTo>
                <a:lnTo>
                  <a:pt x="432003" y="257340"/>
                </a:lnTo>
                <a:lnTo>
                  <a:pt x="243001" y="148755"/>
                </a:lnTo>
                <a:lnTo>
                  <a:pt x="242900" y="27470"/>
                </a:lnTo>
                <a:lnTo>
                  <a:pt x="240801" y="16662"/>
                </a:lnTo>
                <a:lnTo>
                  <a:pt x="235011" y="7991"/>
                </a:lnTo>
                <a:lnTo>
                  <a:pt x="226428" y="2144"/>
                </a:lnTo>
                <a:lnTo>
                  <a:pt x="215925" y="0"/>
                </a:lnTo>
                <a:close/>
              </a:path>
            </a:pathLst>
          </a:custGeom>
          <a:solidFill>
            <a:srgbClr val="914BFF"/>
          </a:solidFill>
        </p:spPr>
        <p:txBody>
          <a:bodyPr wrap="square" lIns="0" tIns="0" rIns="0" bIns="0" rtlCol="0"/>
          <a:lstStyle/>
          <a:p>
            <a:endParaRPr/>
          </a:p>
        </p:txBody>
      </p:sp>
      <p:sp>
        <p:nvSpPr>
          <p:cNvPr id="256" name="object 192">
            <a:extLst>
              <a:ext uri="{FF2B5EF4-FFF2-40B4-BE49-F238E27FC236}">
                <a16:creationId xmlns:a16="http://schemas.microsoft.com/office/drawing/2014/main" id="{FDB53A5D-5091-3CB3-37BF-1E262EFAF5CD}"/>
              </a:ext>
            </a:extLst>
          </p:cNvPr>
          <p:cNvSpPr/>
          <p:nvPr/>
        </p:nvSpPr>
        <p:spPr>
          <a:xfrm>
            <a:off x="4717281" y="1412080"/>
            <a:ext cx="291009" cy="291009"/>
          </a:xfrm>
          <a:custGeom>
            <a:avLst/>
            <a:gdLst/>
            <a:ahLst/>
            <a:cxnLst/>
            <a:rect l="l" t="t" r="r" b="b"/>
            <a:pathLst>
              <a:path w="432434" h="432435">
                <a:moveTo>
                  <a:pt x="216001" y="0"/>
                </a:moveTo>
                <a:lnTo>
                  <a:pt x="0" y="216001"/>
                </a:lnTo>
                <a:lnTo>
                  <a:pt x="216001" y="432003"/>
                </a:lnTo>
                <a:lnTo>
                  <a:pt x="254393" y="393611"/>
                </a:lnTo>
                <a:lnTo>
                  <a:pt x="216001" y="393611"/>
                </a:lnTo>
                <a:lnTo>
                  <a:pt x="51968" y="229565"/>
                </a:lnTo>
                <a:lnTo>
                  <a:pt x="121589" y="229565"/>
                </a:lnTo>
                <a:lnTo>
                  <a:pt x="149148" y="202438"/>
                </a:lnTo>
                <a:lnTo>
                  <a:pt x="51968" y="202438"/>
                </a:lnTo>
                <a:lnTo>
                  <a:pt x="216001" y="38379"/>
                </a:lnTo>
                <a:lnTo>
                  <a:pt x="254381" y="38379"/>
                </a:lnTo>
                <a:lnTo>
                  <a:pt x="216001" y="0"/>
                </a:lnTo>
                <a:close/>
              </a:path>
              <a:path w="432434" h="432435">
                <a:moveTo>
                  <a:pt x="418426" y="229577"/>
                </a:moveTo>
                <a:lnTo>
                  <a:pt x="380022" y="229577"/>
                </a:lnTo>
                <a:lnTo>
                  <a:pt x="216001" y="393611"/>
                </a:lnTo>
                <a:lnTo>
                  <a:pt x="254393" y="393611"/>
                </a:lnTo>
                <a:lnTo>
                  <a:pt x="418426" y="229577"/>
                </a:lnTo>
                <a:close/>
              </a:path>
              <a:path w="432434" h="432435">
                <a:moveTo>
                  <a:pt x="208091" y="175247"/>
                </a:moveTo>
                <a:lnTo>
                  <a:pt x="176771" y="175247"/>
                </a:lnTo>
                <a:lnTo>
                  <a:pt x="244195" y="292176"/>
                </a:lnTo>
                <a:lnTo>
                  <a:pt x="290016" y="248818"/>
                </a:lnTo>
                <a:lnTo>
                  <a:pt x="250507" y="248818"/>
                </a:lnTo>
                <a:lnTo>
                  <a:pt x="208091" y="175247"/>
                </a:lnTo>
                <a:close/>
              </a:path>
              <a:path w="432434" h="432435">
                <a:moveTo>
                  <a:pt x="254381" y="38379"/>
                </a:moveTo>
                <a:lnTo>
                  <a:pt x="216001" y="38379"/>
                </a:lnTo>
                <a:lnTo>
                  <a:pt x="380047" y="202450"/>
                </a:lnTo>
                <a:lnTo>
                  <a:pt x="299529" y="202450"/>
                </a:lnTo>
                <a:lnTo>
                  <a:pt x="250507" y="248818"/>
                </a:lnTo>
                <a:lnTo>
                  <a:pt x="290016" y="248818"/>
                </a:lnTo>
                <a:lnTo>
                  <a:pt x="310349" y="229577"/>
                </a:lnTo>
                <a:lnTo>
                  <a:pt x="418439" y="229565"/>
                </a:lnTo>
                <a:lnTo>
                  <a:pt x="432003" y="216001"/>
                </a:lnTo>
                <a:lnTo>
                  <a:pt x="254381" y="38379"/>
                </a:lnTo>
                <a:close/>
              </a:path>
              <a:path w="432434" h="432435">
                <a:moveTo>
                  <a:pt x="182727" y="131254"/>
                </a:moveTo>
                <a:lnTo>
                  <a:pt x="110477" y="202438"/>
                </a:lnTo>
                <a:lnTo>
                  <a:pt x="149148" y="202438"/>
                </a:lnTo>
                <a:lnTo>
                  <a:pt x="176771" y="175247"/>
                </a:lnTo>
                <a:lnTo>
                  <a:pt x="208091" y="175247"/>
                </a:lnTo>
                <a:lnTo>
                  <a:pt x="182727" y="131254"/>
                </a:lnTo>
                <a:close/>
              </a:path>
            </a:pathLst>
          </a:custGeom>
          <a:solidFill>
            <a:srgbClr val="FFFFFF"/>
          </a:solidFill>
        </p:spPr>
        <p:txBody>
          <a:bodyPr wrap="square" lIns="0" tIns="0" rIns="0" bIns="0" rtlCol="0"/>
          <a:lstStyle/>
          <a:p>
            <a:endParaRPr/>
          </a:p>
        </p:txBody>
      </p:sp>
      <p:sp>
        <p:nvSpPr>
          <p:cNvPr id="257" name="object 193">
            <a:extLst>
              <a:ext uri="{FF2B5EF4-FFF2-40B4-BE49-F238E27FC236}">
                <a16:creationId xmlns:a16="http://schemas.microsoft.com/office/drawing/2014/main" id="{1B4D4FC4-D105-F756-79BB-547CB2DE92D7}"/>
              </a:ext>
            </a:extLst>
          </p:cNvPr>
          <p:cNvSpPr/>
          <p:nvPr/>
        </p:nvSpPr>
        <p:spPr>
          <a:xfrm>
            <a:off x="5444073" y="1484760"/>
            <a:ext cx="291009" cy="145719"/>
          </a:xfrm>
          <a:custGeom>
            <a:avLst/>
            <a:gdLst/>
            <a:ahLst/>
            <a:cxnLst/>
            <a:rect l="l" t="t" r="r" b="b"/>
            <a:pathLst>
              <a:path w="432434" h="216535">
                <a:moveTo>
                  <a:pt x="337502" y="0"/>
                </a:moveTo>
                <a:lnTo>
                  <a:pt x="202501" y="0"/>
                </a:lnTo>
                <a:lnTo>
                  <a:pt x="166630" y="6105"/>
                </a:lnTo>
                <a:lnTo>
                  <a:pt x="135888" y="23031"/>
                </a:lnTo>
                <a:lnTo>
                  <a:pt x="112334" y="48691"/>
                </a:lnTo>
                <a:lnTo>
                  <a:pt x="98031" y="81000"/>
                </a:lnTo>
                <a:lnTo>
                  <a:pt x="0" y="81000"/>
                </a:lnTo>
                <a:lnTo>
                  <a:pt x="0" y="135001"/>
                </a:lnTo>
                <a:lnTo>
                  <a:pt x="98043" y="135001"/>
                </a:lnTo>
                <a:lnTo>
                  <a:pt x="112367" y="167299"/>
                </a:lnTo>
                <a:lnTo>
                  <a:pt x="135923" y="192960"/>
                </a:lnTo>
                <a:lnTo>
                  <a:pt x="166654" y="209892"/>
                </a:lnTo>
                <a:lnTo>
                  <a:pt x="202501" y="216001"/>
                </a:lnTo>
                <a:lnTo>
                  <a:pt x="337502" y="216001"/>
                </a:lnTo>
                <a:lnTo>
                  <a:pt x="337502" y="189001"/>
                </a:lnTo>
                <a:lnTo>
                  <a:pt x="202501" y="189001"/>
                </a:lnTo>
                <a:lnTo>
                  <a:pt x="172147" y="182635"/>
                </a:lnTo>
                <a:lnTo>
                  <a:pt x="147356" y="165274"/>
                </a:lnTo>
                <a:lnTo>
                  <a:pt x="130640" y="139527"/>
                </a:lnTo>
                <a:lnTo>
                  <a:pt x="124510" y="108000"/>
                </a:lnTo>
                <a:lnTo>
                  <a:pt x="130640" y="76468"/>
                </a:lnTo>
                <a:lnTo>
                  <a:pt x="147356" y="50722"/>
                </a:lnTo>
                <a:lnTo>
                  <a:pt x="172147" y="33364"/>
                </a:lnTo>
                <a:lnTo>
                  <a:pt x="202501" y="27000"/>
                </a:lnTo>
                <a:lnTo>
                  <a:pt x="337502" y="27000"/>
                </a:lnTo>
                <a:lnTo>
                  <a:pt x="337502" y="0"/>
                </a:lnTo>
                <a:close/>
              </a:path>
              <a:path w="432434" h="216535">
                <a:moveTo>
                  <a:pt x="337502" y="27000"/>
                </a:moveTo>
                <a:lnTo>
                  <a:pt x="310502" y="27000"/>
                </a:lnTo>
                <a:lnTo>
                  <a:pt x="310502" y="189001"/>
                </a:lnTo>
                <a:lnTo>
                  <a:pt x="337502" y="189001"/>
                </a:lnTo>
                <a:lnTo>
                  <a:pt x="337502" y="175501"/>
                </a:lnTo>
                <a:lnTo>
                  <a:pt x="432003" y="175501"/>
                </a:lnTo>
                <a:lnTo>
                  <a:pt x="432003" y="148501"/>
                </a:lnTo>
                <a:lnTo>
                  <a:pt x="337502" y="148501"/>
                </a:lnTo>
                <a:lnTo>
                  <a:pt x="337502" y="67500"/>
                </a:lnTo>
                <a:lnTo>
                  <a:pt x="432003" y="67500"/>
                </a:lnTo>
                <a:lnTo>
                  <a:pt x="432003" y="40500"/>
                </a:lnTo>
                <a:lnTo>
                  <a:pt x="337502" y="40500"/>
                </a:lnTo>
                <a:lnTo>
                  <a:pt x="337502" y="27000"/>
                </a:lnTo>
                <a:close/>
              </a:path>
            </a:pathLst>
          </a:custGeom>
          <a:solidFill>
            <a:srgbClr val="FFFFFF"/>
          </a:solidFill>
        </p:spPr>
        <p:txBody>
          <a:bodyPr wrap="square" lIns="0" tIns="0" rIns="0" bIns="0" rtlCol="0"/>
          <a:lstStyle/>
          <a:p>
            <a:endParaRPr/>
          </a:p>
        </p:txBody>
      </p:sp>
      <p:sp>
        <p:nvSpPr>
          <p:cNvPr id="258" name="object 194">
            <a:extLst>
              <a:ext uri="{FF2B5EF4-FFF2-40B4-BE49-F238E27FC236}">
                <a16:creationId xmlns:a16="http://schemas.microsoft.com/office/drawing/2014/main" id="{C1152DCA-7182-A2BD-BC34-9DB4B1E6AD3F}"/>
              </a:ext>
            </a:extLst>
          </p:cNvPr>
          <p:cNvSpPr/>
          <p:nvPr/>
        </p:nvSpPr>
        <p:spPr>
          <a:xfrm>
            <a:off x="2564156" y="2138872"/>
            <a:ext cx="236312" cy="291009"/>
          </a:xfrm>
          <a:custGeom>
            <a:avLst/>
            <a:gdLst/>
            <a:ahLst/>
            <a:cxnLst/>
            <a:rect l="l" t="t" r="r" b="b"/>
            <a:pathLst>
              <a:path w="351154" h="432435">
                <a:moveTo>
                  <a:pt x="175501" y="0"/>
                </a:moveTo>
                <a:lnTo>
                  <a:pt x="123065" y="30225"/>
                </a:lnTo>
                <a:lnTo>
                  <a:pt x="82548" y="61790"/>
                </a:lnTo>
                <a:lnTo>
                  <a:pt x="42609" y="103865"/>
                </a:lnTo>
                <a:lnTo>
                  <a:pt x="12132" y="155565"/>
                </a:lnTo>
                <a:lnTo>
                  <a:pt x="0" y="216001"/>
                </a:lnTo>
                <a:lnTo>
                  <a:pt x="8293" y="274065"/>
                </a:lnTo>
                <a:lnTo>
                  <a:pt x="30138" y="318304"/>
                </a:lnTo>
                <a:lnTo>
                  <a:pt x="60983" y="350399"/>
                </a:lnTo>
                <a:lnTo>
                  <a:pt x="96277" y="372033"/>
                </a:lnTo>
                <a:lnTo>
                  <a:pt x="162001" y="390651"/>
                </a:lnTo>
                <a:lnTo>
                  <a:pt x="162001" y="432003"/>
                </a:lnTo>
                <a:lnTo>
                  <a:pt x="189001" y="432003"/>
                </a:lnTo>
                <a:lnTo>
                  <a:pt x="189001" y="391045"/>
                </a:lnTo>
                <a:lnTo>
                  <a:pt x="229020" y="384949"/>
                </a:lnTo>
                <a:lnTo>
                  <a:pt x="266866" y="370798"/>
                </a:lnTo>
                <a:lnTo>
                  <a:pt x="276689" y="364007"/>
                </a:lnTo>
                <a:lnTo>
                  <a:pt x="189001" y="364007"/>
                </a:lnTo>
                <a:lnTo>
                  <a:pt x="189001" y="363283"/>
                </a:lnTo>
                <a:lnTo>
                  <a:pt x="162001" y="363283"/>
                </a:lnTo>
                <a:lnTo>
                  <a:pt x="133911" y="357439"/>
                </a:lnTo>
                <a:lnTo>
                  <a:pt x="98674" y="343380"/>
                </a:lnTo>
                <a:lnTo>
                  <a:pt x="63983" y="317515"/>
                </a:lnTo>
                <a:lnTo>
                  <a:pt x="37527" y="276252"/>
                </a:lnTo>
                <a:lnTo>
                  <a:pt x="27000" y="216001"/>
                </a:lnTo>
                <a:lnTo>
                  <a:pt x="39865" y="159702"/>
                </a:lnTo>
                <a:lnTo>
                  <a:pt x="71536" y="111082"/>
                </a:lnTo>
                <a:lnTo>
                  <a:pt x="111625" y="71955"/>
                </a:lnTo>
                <a:lnTo>
                  <a:pt x="149742" y="44132"/>
                </a:lnTo>
                <a:lnTo>
                  <a:pt x="175501" y="29425"/>
                </a:lnTo>
                <a:lnTo>
                  <a:pt x="226660" y="29425"/>
                </a:lnTo>
                <a:lnTo>
                  <a:pt x="195723" y="10056"/>
                </a:lnTo>
                <a:lnTo>
                  <a:pt x="180695" y="2171"/>
                </a:lnTo>
                <a:lnTo>
                  <a:pt x="175501" y="0"/>
                </a:lnTo>
                <a:close/>
              </a:path>
              <a:path w="351154" h="432435">
                <a:moveTo>
                  <a:pt x="226660" y="29425"/>
                </a:moveTo>
                <a:lnTo>
                  <a:pt x="175501" y="29425"/>
                </a:lnTo>
                <a:lnTo>
                  <a:pt x="201259" y="44132"/>
                </a:lnTo>
                <a:lnTo>
                  <a:pt x="239377" y="71955"/>
                </a:lnTo>
                <a:lnTo>
                  <a:pt x="279465" y="111082"/>
                </a:lnTo>
                <a:lnTo>
                  <a:pt x="311136" y="159702"/>
                </a:lnTo>
                <a:lnTo>
                  <a:pt x="324002" y="216001"/>
                </a:lnTo>
                <a:lnTo>
                  <a:pt x="314678" y="277923"/>
                </a:lnTo>
                <a:lnTo>
                  <a:pt x="290629" y="319878"/>
                </a:lnTo>
                <a:lnTo>
                  <a:pt x="257743" y="345672"/>
                </a:lnTo>
                <a:lnTo>
                  <a:pt x="221904" y="359113"/>
                </a:lnTo>
                <a:lnTo>
                  <a:pt x="189001" y="364007"/>
                </a:lnTo>
                <a:lnTo>
                  <a:pt x="276689" y="364007"/>
                </a:lnTo>
                <a:lnTo>
                  <a:pt x="300262" y="347710"/>
                </a:lnTo>
                <a:lnTo>
                  <a:pt x="326934" y="314802"/>
                </a:lnTo>
                <a:lnTo>
                  <a:pt x="344606" y="271193"/>
                </a:lnTo>
                <a:lnTo>
                  <a:pt x="351002" y="216001"/>
                </a:lnTo>
                <a:lnTo>
                  <a:pt x="338869" y="155565"/>
                </a:lnTo>
                <a:lnTo>
                  <a:pt x="308392" y="103865"/>
                </a:lnTo>
                <a:lnTo>
                  <a:pt x="268454" y="61790"/>
                </a:lnTo>
                <a:lnTo>
                  <a:pt x="227936" y="30225"/>
                </a:lnTo>
                <a:lnTo>
                  <a:pt x="226660" y="29425"/>
                </a:lnTo>
                <a:close/>
              </a:path>
              <a:path w="351154" h="432435">
                <a:moveTo>
                  <a:pt x="88849" y="232016"/>
                </a:moveTo>
                <a:lnTo>
                  <a:pt x="73164" y="253974"/>
                </a:lnTo>
                <a:lnTo>
                  <a:pt x="162001" y="317449"/>
                </a:lnTo>
                <a:lnTo>
                  <a:pt x="162001" y="363283"/>
                </a:lnTo>
                <a:lnTo>
                  <a:pt x="189001" y="363283"/>
                </a:lnTo>
                <a:lnTo>
                  <a:pt x="189001" y="303136"/>
                </a:lnTo>
                <a:lnTo>
                  <a:pt x="210550" y="284276"/>
                </a:lnTo>
                <a:lnTo>
                  <a:pt x="162001" y="284276"/>
                </a:lnTo>
                <a:lnTo>
                  <a:pt x="88849" y="232016"/>
                </a:lnTo>
                <a:close/>
              </a:path>
              <a:path w="351154" h="432435">
                <a:moveTo>
                  <a:pt x="116446" y="124459"/>
                </a:moveTo>
                <a:lnTo>
                  <a:pt x="99567" y="145541"/>
                </a:lnTo>
                <a:lnTo>
                  <a:pt x="162001" y="195491"/>
                </a:lnTo>
                <a:lnTo>
                  <a:pt x="162001" y="284276"/>
                </a:lnTo>
                <a:lnTo>
                  <a:pt x="210550" y="284276"/>
                </a:lnTo>
                <a:lnTo>
                  <a:pt x="230010" y="267246"/>
                </a:lnTo>
                <a:lnTo>
                  <a:pt x="189001" y="267246"/>
                </a:lnTo>
                <a:lnTo>
                  <a:pt x="189017" y="195491"/>
                </a:lnTo>
                <a:lnTo>
                  <a:pt x="232242" y="160908"/>
                </a:lnTo>
                <a:lnTo>
                  <a:pt x="162001" y="160908"/>
                </a:lnTo>
                <a:lnTo>
                  <a:pt x="116446" y="124459"/>
                </a:lnTo>
                <a:close/>
              </a:path>
              <a:path w="351154" h="432435">
                <a:moveTo>
                  <a:pt x="274624" y="192341"/>
                </a:moveTo>
                <a:lnTo>
                  <a:pt x="189001" y="267246"/>
                </a:lnTo>
                <a:lnTo>
                  <a:pt x="230010" y="267246"/>
                </a:lnTo>
                <a:lnTo>
                  <a:pt x="292379" y="212661"/>
                </a:lnTo>
                <a:lnTo>
                  <a:pt x="274624" y="192341"/>
                </a:lnTo>
                <a:close/>
              </a:path>
              <a:path w="351154" h="432435">
                <a:moveTo>
                  <a:pt x="189001" y="108000"/>
                </a:moveTo>
                <a:lnTo>
                  <a:pt x="162001" y="108000"/>
                </a:lnTo>
                <a:lnTo>
                  <a:pt x="162001" y="160908"/>
                </a:lnTo>
                <a:lnTo>
                  <a:pt x="189001" y="160908"/>
                </a:lnTo>
                <a:lnTo>
                  <a:pt x="189001" y="108000"/>
                </a:lnTo>
                <a:close/>
              </a:path>
              <a:path w="351154" h="432435">
                <a:moveTo>
                  <a:pt x="234568" y="124472"/>
                </a:moveTo>
                <a:lnTo>
                  <a:pt x="189001" y="160908"/>
                </a:lnTo>
                <a:lnTo>
                  <a:pt x="232242" y="160908"/>
                </a:lnTo>
                <a:lnTo>
                  <a:pt x="251434" y="145554"/>
                </a:lnTo>
                <a:lnTo>
                  <a:pt x="234568" y="124472"/>
                </a:lnTo>
                <a:close/>
              </a:path>
            </a:pathLst>
          </a:custGeom>
          <a:solidFill>
            <a:srgbClr val="5C75C3"/>
          </a:solidFill>
        </p:spPr>
        <p:txBody>
          <a:bodyPr wrap="square" lIns="0" tIns="0" rIns="0" bIns="0" rtlCol="0"/>
          <a:lstStyle/>
          <a:p>
            <a:endParaRPr/>
          </a:p>
        </p:txBody>
      </p:sp>
      <p:sp>
        <p:nvSpPr>
          <p:cNvPr id="259" name="object 195">
            <a:extLst>
              <a:ext uri="{FF2B5EF4-FFF2-40B4-BE49-F238E27FC236}">
                <a16:creationId xmlns:a16="http://schemas.microsoft.com/office/drawing/2014/main" id="{3380ED51-6FBE-5BA0-1346-D34D16096883}"/>
              </a:ext>
            </a:extLst>
          </p:cNvPr>
          <p:cNvSpPr/>
          <p:nvPr/>
        </p:nvSpPr>
        <p:spPr>
          <a:xfrm>
            <a:off x="4717283" y="2138874"/>
            <a:ext cx="291009" cy="291009"/>
          </a:xfrm>
          <a:custGeom>
            <a:avLst/>
            <a:gdLst/>
            <a:ahLst/>
            <a:cxnLst/>
            <a:rect l="l" t="t" r="r" b="b"/>
            <a:pathLst>
              <a:path w="432434" h="432435">
                <a:moveTo>
                  <a:pt x="264248" y="0"/>
                </a:moveTo>
                <a:lnTo>
                  <a:pt x="249313" y="0"/>
                </a:lnTo>
                <a:lnTo>
                  <a:pt x="243281" y="6045"/>
                </a:lnTo>
                <a:lnTo>
                  <a:pt x="243281" y="150418"/>
                </a:lnTo>
                <a:lnTo>
                  <a:pt x="259424" y="157563"/>
                </a:lnTo>
                <a:lnTo>
                  <a:pt x="272256" y="169297"/>
                </a:lnTo>
                <a:lnTo>
                  <a:pt x="280725" y="184612"/>
                </a:lnTo>
                <a:lnTo>
                  <a:pt x="283781" y="202501"/>
                </a:lnTo>
                <a:lnTo>
                  <a:pt x="283781" y="425970"/>
                </a:lnTo>
                <a:lnTo>
                  <a:pt x="289813" y="432003"/>
                </a:lnTo>
                <a:lnTo>
                  <a:pt x="304749" y="432003"/>
                </a:lnTo>
                <a:lnTo>
                  <a:pt x="310781" y="425970"/>
                </a:lnTo>
                <a:lnTo>
                  <a:pt x="310781" y="202501"/>
                </a:lnTo>
                <a:lnTo>
                  <a:pt x="313838" y="184612"/>
                </a:lnTo>
                <a:lnTo>
                  <a:pt x="322306" y="169297"/>
                </a:lnTo>
                <a:lnTo>
                  <a:pt x="335138" y="157563"/>
                </a:lnTo>
                <a:lnTo>
                  <a:pt x="351281" y="150418"/>
                </a:lnTo>
                <a:lnTo>
                  <a:pt x="351281" y="121500"/>
                </a:lnTo>
                <a:lnTo>
                  <a:pt x="270281" y="121500"/>
                </a:lnTo>
                <a:lnTo>
                  <a:pt x="270281" y="6045"/>
                </a:lnTo>
                <a:lnTo>
                  <a:pt x="264248" y="0"/>
                </a:lnTo>
                <a:close/>
              </a:path>
              <a:path w="432434" h="432435">
                <a:moveTo>
                  <a:pt x="304736" y="0"/>
                </a:moveTo>
                <a:lnTo>
                  <a:pt x="289826" y="0"/>
                </a:lnTo>
                <a:lnTo>
                  <a:pt x="283781" y="6045"/>
                </a:lnTo>
                <a:lnTo>
                  <a:pt x="283781" y="121500"/>
                </a:lnTo>
                <a:lnTo>
                  <a:pt x="310781" y="121500"/>
                </a:lnTo>
                <a:lnTo>
                  <a:pt x="310781" y="6045"/>
                </a:lnTo>
                <a:lnTo>
                  <a:pt x="304736" y="0"/>
                </a:lnTo>
                <a:close/>
              </a:path>
              <a:path w="432434" h="432435">
                <a:moveTo>
                  <a:pt x="345236" y="0"/>
                </a:moveTo>
                <a:lnTo>
                  <a:pt x="330326" y="0"/>
                </a:lnTo>
                <a:lnTo>
                  <a:pt x="324281" y="6045"/>
                </a:lnTo>
                <a:lnTo>
                  <a:pt x="324281" y="121500"/>
                </a:lnTo>
                <a:lnTo>
                  <a:pt x="351281" y="121500"/>
                </a:lnTo>
                <a:lnTo>
                  <a:pt x="351281" y="6045"/>
                </a:lnTo>
                <a:lnTo>
                  <a:pt x="345236" y="0"/>
                </a:lnTo>
                <a:close/>
              </a:path>
              <a:path w="432434" h="432435">
                <a:moveTo>
                  <a:pt x="432003" y="0"/>
                </a:moveTo>
                <a:lnTo>
                  <a:pt x="394831" y="14628"/>
                </a:lnTo>
                <a:lnTo>
                  <a:pt x="378002" y="50317"/>
                </a:lnTo>
                <a:lnTo>
                  <a:pt x="378002" y="243001"/>
                </a:lnTo>
                <a:lnTo>
                  <a:pt x="405002" y="243001"/>
                </a:lnTo>
                <a:lnTo>
                  <a:pt x="405002" y="425970"/>
                </a:lnTo>
                <a:lnTo>
                  <a:pt x="411035" y="432003"/>
                </a:lnTo>
                <a:lnTo>
                  <a:pt x="425957" y="432003"/>
                </a:lnTo>
                <a:lnTo>
                  <a:pt x="432003" y="425970"/>
                </a:lnTo>
                <a:lnTo>
                  <a:pt x="432003" y="0"/>
                </a:lnTo>
                <a:close/>
              </a:path>
              <a:path w="432434" h="432435">
                <a:moveTo>
                  <a:pt x="216001" y="0"/>
                </a:moveTo>
                <a:lnTo>
                  <a:pt x="166535" y="5714"/>
                </a:lnTo>
                <a:lnTo>
                  <a:pt x="121094" y="21988"/>
                </a:lnTo>
                <a:lnTo>
                  <a:pt x="80984" y="47514"/>
                </a:lnTo>
                <a:lnTo>
                  <a:pt x="47514" y="80984"/>
                </a:lnTo>
                <a:lnTo>
                  <a:pt x="21988" y="121094"/>
                </a:lnTo>
                <a:lnTo>
                  <a:pt x="5714" y="166535"/>
                </a:lnTo>
                <a:lnTo>
                  <a:pt x="0" y="216001"/>
                </a:lnTo>
                <a:lnTo>
                  <a:pt x="5714" y="265467"/>
                </a:lnTo>
                <a:lnTo>
                  <a:pt x="21988" y="310908"/>
                </a:lnTo>
                <a:lnTo>
                  <a:pt x="47514" y="351018"/>
                </a:lnTo>
                <a:lnTo>
                  <a:pt x="80984" y="384489"/>
                </a:lnTo>
                <a:lnTo>
                  <a:pt x="121094" y="410014"/>
                </a:lnTo>
                <a:lnTo>
                  <a:pt x="166535" y="426288"/>
                </a:lnTo>
                <a:lnTo>
                  <a:pt x="216001" y="432003"/>
                </a:lnTo>
                <a:lnTo>
                  <a:pt x="216001" y="405002"/>
                </a:lnTo>
                <a:lnTo>
                  <a:pt x="165810" y="398240"/>
                </a:lnTo>
                <a:lnTo>
                  <a:pt x="120677" y="379161"/>
                </a:lnTo>
                <a:lnTo>
                  <a:pt x="82415" y="349583"/>
                </a:lnTo>
                <a:lnTo>
                  <a:pt x="52838" y="311320"/>
                </a:lnTo>
                <a:lnTo>
                  <a:pt x="33762" y="266187"/>
                </a:lnTo>
                <a:lnTo>
                  <a:pt x="27000" y="216001"/>
                </a:lnTo>
                <a:lnTo>
                  <a:pt x="33762" y="165815"/>
                </a:lnTo>
                <a:lnTo>
                  <a:pt x="52838" y="120682"/>
                </a:lnTo>
                <a:lnTo>
                  <a:pt x="82415" y="82419"/>
                </a:lnTo>
                <a:lnTo>
                  <a:pt x="120677" y="52841"/>
                </a:lnTo>
                <a:lnTo>
                  <a:pt x="165810" y="33763"/>
                </a:lnTo>
                <a:lnTo>
                  <a:pt x="216001" y="27000"/>
                </a:lnTo>
                <a:lnTo>
                  <a:pt x="216001" y="0"/>
                </a:lnTo>
                <a:close/>
              </a:path>
            </a:pathLst>
          </a:custGeom>
          <a:solidFill>
            <a:srgbClr val="FFFFFF"/>
          </a:solidFill>
        </p:spPr>
        <p:txBody>
          <a:bodyPr wrap="square" lIns="0" tIns="0" rIns="0" bIns="0" rtlCol="0"/>
          <a:lstStyle/>
          <a:p>
            <a:endParaRPr/>
          </a:p>
        </p:txBody>
      </p:sp>
      <p:sp>
        <p:nvSpPr>
          <p:cNvPr id="260" name="object 196">
            <a:extLst>
              <a:ext uri="{FF2B5EF4-FFF2-40B4-BE49-F238E27FC236}">
                <a16:creationId xmlns:a16="http://schemas.microsoft.com/office/drawing/2014/main" id="{D2E057BD-9F2F-7A96-9AB2-DB9A399C53D5}"/>
              </a:ext>
            </a:extLst>
          </p:cNvPr>
          <p:cNvSpPr/>
          <p:nvPr/>
        </p:nvSpPr>
        <p:spPr>
          <a:xfrm>
            <a:off x="5444073" y="2147959"/>
            <a:ext cx="291009" cy="272635"/>
          </a:xfrm>
          <a:custGeom>
            <a:avLst/>
            <a:gdLst/>
            <a:ahLst/>
            <a:cxnLst/>
            <a:rect l="l" t="t" r="r" b="b"/>
            <a:pathLst>
              <a:path w="432434" h="405129">
                <a:moveTo>
                  <a:pt x="149110" y="406"/>
                </a:moveTo>
                <a:lnTo>
                  <a:pt x="0" y="81216"/>
                </a:lnTo>
                <a:lnTo>
                  <a:pt x="0" y="405003"/>
                </a:lnTo>
                <a:lnTo>
                  <a:pt x="82359" y="360908"/>
                </a:lnTo>
                <a:lnTo>
                  <a:pt x="27000" y="360908"/>
                </a:lnTo>
                <a:lnTo>
                  <a:pt x="27000" y="97662"/>
                </a:lnTo>
                <a:lnTo>
                  <a:pt x="135000" y="39446"/>
                </a:lnTo>
                <a:lnTo>
                  <a:pt x="217137" y="39446"/>
                </a:lnTo>
                <a:lnTo>
                  <a:pt x="149110" y="406"/>
                </a:lnTo>
                <a:close/>
              </a:path>
              <a:path w="432434" h="405129">
                <a:moveTo>
                  <a:pt x="202638" y="325272"/>
                </a:moveTo>
                <a:lnTo>
                  <a:pt x="148920" y="325272"/>
                </a:lnTo>
                <a:lnTo>
                  <a:pt x="283705" y="403529"/>
                </a:lnTo>
                <a:lnTo>
                  <a:pt x="354515" y="365556"/>
                </a:lnTo>
                <a:lnTo>
                  <a:pt x="296786" y="365556"/>
                </a:lnTo>
                <a:lnTo>
                  <a:pt x="296787" y="363880"/>
                </a:lnTo>
                <a:lnTo>
                  <a:pt x="270217" y="363880"/>
                </a:lnTo>
                <a:lnTo>
                  <a:pt x="202638" y="325272"/>
                </a:lnTo>
                <a:close/>
              </a:path>
              <a:path w="432434" h="405129">
                <a:moveTo>
                  <a:pt x="432003" y="44729"/>
                </a:moveTo>
                <a:lnTo>
                  <a:pt x="405002" y="44729"/>
                </a:lnTo>
                <a:lnTo>
                  <a:pt x="405002" y="308813"/>
                </a:lnTo>
                <a:lnTo>
                  <a:pt x="296786" y="365556"/>
                </a:lnTo>
                <a:lnTo>
                  <a:pt x="354515" y="365556"/>
                </a:lnTo>
                <a:lnTo>
                  <a:pt x="432003" y="324002"/>
                </a:lnTo>
                <a:lnTo>
                  <a:pt x="432003" y="44729"/>
                </a:lnTo>
                <a:close/>
              </a:path>
              <a:path w="432434" h="405129">
                <a:moveTo>
                  <a:pt x="217137" y="39446"/>
                </a:moveTo>
                <a:lnTo>
                  <a:pt x="162001" y="39446"/>
                </a:lnTo>
                <a:lnTo>
                  <a:pt x="270001" y="100914"/>
                </a:lnTo>
                <a:lnTo>
                  <a:pt x="270217" y="363880"/>
                </a:lnTo>
                <a:lnTo>
                  <a:pt x="296787" y="363880"/>
                </a:lnTo>
                <a:lnTo>
                  <a:pt x="297002" y="101333"/>
                </a:lnTo>
                <a:lnTo>
                  <a:pt x="342024" y="77736"/>
                </a:lnTo>
                <a:lnTo>
                  <a:pt x="283857" y="77736"/>
                </a:lnTo>
                <a:lnTo>
                  <a:pt x="217137" y="39446"/>
                </a:lnTo>
                <a:close/>
              </a:path>
              <a:path w="432434" h="405129">
                <a:moveTo>
                  <a:pt x="162001" y="39446"/>
                </a:moveTo>
                <a:lnTo>
                  <a:pt x="135000" y="39446"/>
                </a:lnTo>
                <a:lnTo>
                  <a:pt x="135216" y="302056"/>
                </a:lnTo>
                <a:lnTo>
                  <a:pt x="27000" y="360908"/>
                </a:lnTo>
                <a:lnTo>
                  <a:pt x="82359" y="360908"/>
                </a:lnTo>
                <a:lnTo>
                  <a:pt x="148920" y="325272"/>
                </a:lnTo>
                <a:lnTo>
                  <a:pt x="202638" y="325272"/>
                </a:lnTo>
                <a:lnTo>
                  <a:pt x="162001" y="302056"/>
                </a:lnTo>
                <a:lnTo>
                  <a:pt x="162001" y="39446"/>
                </a:lnTo>
                <a:close/>
              </a:path>
              <a:path w="432434" h="405129">
                <a:moveTo>
                  <a:pt x="432003" y="0"/>
                </a:moveTo>
                <a:lnTo>
                  <a:pt x="283857" y="77736"/>
                </a:lnTo>
                <a:lnTo>
                  <a:pt x="342024" y="77736"/>
                </a:lnTo>
                <a:lnTo>
                  <a:pt x="405002" y="44729"/>
                </a:lnTo>
                <a:lnTo>
                  <a:pt x="432003" y="44729"/>
                </a:lnTo>
                <a:lnTo>
                  <a:pt x="432003" y="0"/>
                </a:lnTo>
                <a:close/>
              </a:path>
            </a:pathLst>
          </a:custGeom>
          <a:solidFill>
            <a:srgbClr val="FFFFFF"/>
          </a:solidFill>
        </p:spPr>
        <p:txBody>
          <a:bodyPr wrap="square" lIns="0" tIns="0" rIns="0" bIns="0" rtlCol="0"/>
          <a:lstStyle/>
          <a:p>
            <a:endParaRPr/>
          </a:p>
        </p:txBody>
      </p:sp>
      <p:sp>
        <p:nvSpPr>
          <p:cNvPr id="261" name="object 197">
            <a:extLst>
              <a:ext uri="{FF2B5EF4-FFF2-40B4-BE49-F238E27FC236}">
                <a16:creationId xmlns:a16="http://schemas.microsoft.com/office/drawing/2014/main" id="{26AA7951-EDC7-E80C-4D9A-3F03C05F8F3A}"/>
              </a:ext>
            </a:extLst>
          </p:cNvPr>
          <p:cNvSpPr/>
          <p:nvPr/>
        </p:nvSpPr>
        <p:spPr>
          <a:xfrm>
            <a:off x="4008659" y="2865667"/>
            <a:ext cx="254687" cy="291009"/>
          </a:xfrm>
          <a:custGeom>
            <a:avLst/>
            <a:gdLst/>
            <a:ahLst/>
            <a:cxnLst/>
            <a:rect l="l" t="t" r="r" b="b"/>
            <a:pathLst>
              <a:path w="378460" h="432435">
                <a:moveTo>
                  <a:pt x="81000" y="0"/>
                </a:moveTo>
                <a:lnTo>
                  <a:pt x="49474" y="6366"/>
                </a:lnTo>
                <a:lnTo>
                  <a:pt x="23726" y="23726"/>
                </a:lnTo>
                <a:lnTo>
                  <a:pt x="6366" y="49474"/>
                </a:lnTo>
                <a:lnTo>
                  <a:pt x="0" y="81000"/>
                </a:lnTo>
                <a:lnTo>
                  <a:pt x="0" y="350989"/>
                </a:lnTo>
                <a:lnTo>
                  <a:pt x="6366" y="382513"/>
                </a:lnTo>
                <a:lnTo>
                  <a:pt x="23726" y="408265"/>
                </a:lnTo>
                <a:lnTo>
                  <a:pt x="49474" y="425633"/>
                </a:lnTo>
                <a:lnTo>
                  <a:pt x="81000" y="432003"/>
                </a:lnTo>
                <a:lnTo>
                  <a:pt x="112532" y="425633"/>
                </a:lnTo>
                <a:lnTo>
                  <a:pt x="138279" y="408265"/>
                </a:lnTo>
                <a:lnTo>
                  <a:pt x="155636" y="382513"/>
                </a:lnTo>
                <a:lnTo>
                  <a:pt x="162001" y="350989"/>
                </a:lnTo>
                <a:lnTo>
                  <a:pt x="162001" y="216001"/>
                </a:lnTo>
                <a:lnTo>
                  <a:pt x="27000" y="216001"/>
                </a:lnTo>
                <a:lnTo>
                  <a:pt x="27000" y="81000"/>
                </a:lnTo>
                <a:lnTo>
                  <a:pt x="31244" y="59982"/>
                </a:lnTo>
                <a:lnTo>
                  <a:pt x="42818" y="42818"/>
                </a:lnTo>
                <a:lnTo>
                  <a:pt x="59982" y="31244"/>
                </a:lnTo>
                <a:lnTo>
                  <a:pt x="81000" y="27000"/>
                </a:lnTo>
                <a:lnTo>
                  <a:pt x="140485" y="27000"/>
                </a:lnTo>
                <a:lnTo>
                  <a:pt x="138279" y="23726"/>
                </a:lnTo>
                <a:lnTo>
                  <a:pt x="112532" y="6366"/>
                </a:lnTo>
                <a:lnTo>
                  <a:pt x="81000" y="0"/>
                </a:lnTo>
                <a:close/>
              </a:path>
              <a:path w="378460" h="432435">
                <a:moveTo>
                  <a:pt x="140485" y="27000"/>
                </a:moveTo>
                <a:lnTo>
                  <a:pt x="81000" y="27000"/>
                </a:lnTo>
                <a:lnTo>
                  <a:pt x="102018" y="31246"/>
                </a:lnTo>
                <a:lnTo>
                  <a:pt x="119183" y="42822"/>
                </a:lnTo>
                <a:lnTo>
                  <a:pt x="130756" y="59988"/>
                </a:lnTo>
                <a:lnTo>
                  <a:pt x="135000" y="81000"/>
                </a:lnTo>
                <a:lnTo>
                  <a:pt x="135000" y="216001"/>
                </a:lnTo>
                <a:lnTo>
                  <a:pt x="162001" y="216001"/>
                </a:lnTo>
                <a:lnTo>
                  <a:pt x="162001" y="81000"/>
                </a:lnTo>
                <a:lnTo>
                  <a:pt x="155636" y="49474"/>
                </a:lnTo>
                <a:lnTo>
                  <a:pt x="140485" y="27000"/>
                </a:lnTo>
                <a:close/>
              </a:path>
              <a:path w="378460" h="432435">
                <a:moveTo>
                  <a:pt x="297002" y="0"/>
                </a:moveTo>
                <a:lnTo>
                  <a:pt x="265473" y="6366"/>
                </a:lnTo>
                <a:lnTo>
                  <a:pt x="239722" y="23726"/>
                </a:lnTo>
                <a:lnTo>
                  <a:pt x="222357" y="49474"/>
                </a:lnTo>
                <a:lnTo>
                  <a:pt x="215988" y="81000"/>
                </a:lnTo>
                <a:lnTo>
                  <a:pt x="215991" y="351002"/>
                </a:lnTo>
                <a:lnTo>
                  <a:pt x="222357" y="382513"/>
                </a:lnTo>
                <a:lnTo>
                  <a:pt x="239722" y="408265"/>
                </a:lnTo>
                <a:lnTo>
                  <a:pt x="265473" y="425633"/>
                </a:lnTo>
                <a:lnTo>
                  <a:pt x="297002" y="432003"/>
                </a:lnTo>
                <a:lnTo>
                  <a:pt x="328534" y="425633"/>
                </a:lnTo>
                <a:lnTo>
                  <a:pt x="354280" y="408265"/>
                </a:lnTo>
                <a:lnTo>
                  <a:pt x="356479" y="405003"/>
                </a:lnTo>
                <a:lnTo>
                  <a:pt x="297002" y="405003"/>
                </a:lnTo>
                <a:lnTo>
                  <a:pt x="275984" y="400758"/>
                </a:lnTo>
                <a:lnTo>
                  <a:pt x="258819" y="389185"/>
                </a:lnTo>
                <a:lnTo>
                  <a:pt x="247245" y="372020"/>
                </a:lnTo>
                <a:lnTo>
                  <a:pt x="243001" y="351002"/>
                </a:lnTo>
                <a:lnTo>
                  <a:pt x="243001" y="216001"/>
                </a:lnTo>
                <a:lnTo>
                  <a:pt x="378002" y="216001"/>
                </a:lnTo>
                <a:lnTo>
                  <a:pt x="378002" y="81000"/>
                </a:lnTo>
                <a:lnTo>
                  <a:pt x="371638" y="49474"/>
                </a:lnTo>
                <a:lnTo>
                  <a:pt x="354280" y="23726"/>
                </a:lnTo>
                <a:lnTo>
                  <a:pt x="328534" y="6366"/>
                </a:lnTo>
                <a:lnTo>
                  <a:pt x="297002" y="0"/>
                </a:lnTo>
                <a:close/>
              </a:path>
              <a:path w="378460" h="432435">
                <a:moveTo>
                  <a:pt x="378002" y="216001"/>
                </a:moveTo>
                <a:lnTo>
                  <a:pt x="351002" y="216001"/>
                </a:lnTo>
                <a:lnTo>
                  <a:pt x="351002" y="351002"/>
                </a:lnTo>
                <a:lnTo>
                  <a:pt x="346758" y="372020"/>
                </a:lnTo>
                <a:lnTo>
                  <a:pt x="335184" y="389185"/>
                </a:lnTo>
                <a:lnTo>
                  <a:pt x="318019" y="400758"/>
                </a:lnTo>
                <a:lnTo>
                  <a:pt x="297002" y="405003"/>
                </a:lnTo>
                <a:lnTo>
                  <a:pt x="356479" y="405003"/>
                </a:lnTo>
                <a:lnTo>
                  <a:pt x="371638" y="382513"/>
                </a:lnTo>
                <a:lnTo>
                  <a:pt x="378000" y="351002"/>
                </a:lnTo>
                <a:lnTo>
                  <a:pt x="378002" y="216001"/>
                </a:lnTo>
                <a:close/>
              </a:path>
            </a:pathLst>
          </a:custGeom>
          <a:solidFill>
            <a:srgbClr val="D9DADC"/>
          </a:solidFill>
        </p:spPr>
        <p:txBody>
          <a:bodyPr wrap="square" lIns="0" tIns="0" rIns="0" bIns="0" rtlCol="0"/>
          <a:lstStyle/>
          <a:p>
            <a:endParaRPr/>
          </a:p>
        </p:txBody>
      </p:sp>
      <p:sp>
        <p:nvSpPr>
          <p:cNvPr id="262" name="object 198">
            <a:extLst>
              <a:ext uri="{FF2B5EF4-FFF2-40B4-BE49-F238E27FC236}">
                <a16:creationId xmlns:a16="http://schemas.microsoft.com/office/drawing/2014/main" id="{E7E67C21-AD60-111B-E5AD-91CCB0FB5DFE}"/>
              </a:ext>
            </a:extLst>
          </p:cNvPr>
          <p:cNvSpPr/>
          <p:nvPr/>
        </p:nvSpPr>
        <p:spPr>
          <a:xfrm>
            <a:off x="4717283" y="2865669"/>
            <a:ext cx="291009" cy="291009"/>
          </a:xfrm>
          <a:custGeom>
            <a:avLst/>
            <a:gdLst/>
            <a:ahLst/>
            <a:cxnLst/>
            <a:rect l="l" t="t" r="r" b="b"/>
            <a:pathLst>
              <a:path w="432434" h="432435">
                <a:moveTo>
                  <a:pt x="252920" y="208038"/>
                </a:moveTo>
                <a:lnTo>
                  <a:pt x="131394" y="418490"/>
                </a:lnTo>
                <a:lnTo>
                  <a:pt x="154762" y="431990"/>
                </a:lnTo>
                <a:lnTo>
                  <a:pt x="276301" y="221526"/>
                </a:lnTo>
                <a:lnTo>
                  <a:pt x="252920" y="208038"/>
                </a:lnTo>
                <a:close/>
              </a:path>
              <a:path w="432434" h="432435">
                <a:moveTo>
                  <a:pt x="189268" y="210273"/>
                </a:moveTo>
                <a:lnTo>
                  <a:pt x="94767" y="373938"/>
                </a:lnTo>
                <a:lnTo>
                  <a:pt x="118148" y="387438"/>
                </a:lnTo>
                <a:lnTo>
                  <a:pt x="212648" y="223774"/>
                </a:lnTo>
                <a:lnTo>
                  <a:pt x="189268" y="210273"/>
                </a:lnTo>
                <a:close/>
              </a:path>
              <a:path w="432434" h="432435">
                <a:moveTo>
                  <a:pt x="316547" y="205816"/>
                </a:moveTo>
                <a:lnTo>
                  <a:pt x="222046" y="369481"/>
                </a:lnTo>
                <a:lnTo>
                  <a:pt x="245427" y="382981"/>
                </a:lnTo>
                <a:lnTo>
                  <a:pt x="339928" y="219303"/>
                </a:lnTo>
                <a:lnTo>
                  <a:pt x="316547" y="205816"/>
                </a:lnTo>
                <a:close/>
              </a:path>
              <a:path w="432434" h="432435">
                <a:moveTo>
                  <a:pt x="329594" y="27000"/>
                </a:moveTo>
                <a:lnTo>
                  <a:pt x="256501" y="27000"/>
                </a:lnTo>
                <a:lnTo>
                  <a:pt x="293245" y="34440"/>
                </a:lnTo>
                <a:lnTo>
                  <a:pt x="323288" y="54714"/>
                </a:lnTo>
                <a:lnTo>
                  <a:pt x="343562" y="84757"/>
                </a:lnTo>
                <a:lnTo>
                  <a:pt x="351002" y="121500"/>
                </a:lnTo>
                <a:lnTo>
                  <a:pt x="350760" y="128119"/>
                </a:lnTo>
                <a:lnTo>
                  <a:pt x="350035" y="134756"/>
                </a:lnTo>
                <a:lnTo>
                  <a:pt x="348832" y="141389"/>
                </a:lnTo>
                <a:lnTo>
                  <a:pt x="347154" y="147993"/>
                </a:lnTo>
                <a:lnTo>
                  <a:pt x="343382" y="160972"/>
                </a:lnTo>
                <a:lnTo>
                  <a:pt x="356349" y="164719"/>
                </a:lnTo>
                <a:lnTo>
                  <a:pt x="376038" y="174162"/>
                </a:lnTo>
                <a:lnTo>
                  <a:pt x="391420" y="189052"/>
                </a:lnTo>
                <a:lnTo>
                  <a:pt x="401429" y="207970"/>
                </a:lnTo>
                <a:lnTo>
                  <a:pt x="405002" y="229501"/>
                </a:lnTo>
                <a:lnTo>
                  <a:pt x="399688" y="255747"/>
                </a:lnTo>
                <a:lnTo>
                  <a:pt x="385206" y="277206"/>
                </a:lnTo>
                <a:lnTo>
                  <a:pt x="363747" y="291688"/>
                </a:lnTo>
                <a:lnTo>
                  <a:pt x="337502" y="297002"/>
                </a:lnTo>
                <a:lnTo>
                  <a:pt x="326085" y="297002"/>
                </a:lnTo>
                <a:lnTo>
                  <a:pt x="310502" y="324002"/>
                </a:lnTo>
                <a:lnTo>
                  <a:pt x="337502" y="324002"/>
                </a:lnTo>
                <a:lnTo>
                  <a:pt x="374245" y="316562"/>
                </a:lnTo>
                <a:lnTo>
                  <a:pt x="404288" y="296287"/>
                </a:lnTo>
                <a:lnTo>
                  <a:pt x="424563" y="266245"/>
                </a:lnTo>
                <a:lnTo>
                  <a:pt x="432003" y="229501"/>
                </a:lnTo>
                <a:lnTo>
                  <a:pt x="427966" y="202352"/>
                </a:lnTo>
                <a:lnTo>
                  <a:pt x="416572" y="177976"/>
                </a:lnTo>
                <a:lnTo>
                  <a:pt x="398891" y="157798"/>
                </a:lnTo>
                <a:lnTo>
                  <a:pt x="375996" y="143243"/>
                </a:lnTo>
                <a:lnTo>
                  <a:pt x="377329" y="136017"/>
                </a:lnTo>
                <a:lnTo>
                  <a:pt x="377905" y="129794"/>
                </a:lnTo>
                <a:lnTo>
                  <a:pt x="378002" y="121500"/>
                </a:lnTo>
                <a:lnTo>
                  <a:pt x="368439" y="74248"/>
                </a:lnTo>
                <a:lnTo>
                  <a:pt x="342374" y="35623"/>
                </a:lnTo>
                <a:lnTo>
                  <a:pt x="329594" y="27000"/>
                </a:lnTo>
                <a:close/>
              </a:path>
              <a:path w="432434" h="432435">
                <a:moveTo>
                  <a:pt x="108000" y="108000"/>
                </a:moveTo>
                <a:lnTo>
                  <a:pt x="65997" y="116501"/>
                </a:lnTo>
                <a:lnTo>
                  <a:pt x="31664" y="139669"/>
                </a:lnTo>
                <a:lnTo>
                  <a:pt x="8499" y="174003"/>
                </a:lnTo>
                <a:lnTo>
                  <a:pt x="0" y="216001"/>
                </a:lnTo>
                <a:lnTo>
                  <a:pt x="7160" y="254646"/>
                </a:lnTo>
                <a:lnTo>
                  <a:pt x="26850" y="287105"/>
                </a:lnTo>
                <a:lnTo>
                  <a:pt x="56385" y="310720"/>
                </a:lnTo>
                <a:lnTo>
                  <a:pt x="93078" y="322834"/>
                </a:lnTo>
                <a:lnTo>
                  <a:pt x="108000" y="297002"/>
                </a:lnTo>
                <a:lnTo>
                  <a:pt x="76495" y="290626"/>
                </a:lnTo>
                <a:lnTo>
                  <a:pt x="50746" y="273251"/>
                </a:lnTo>
                <a:lnTo>
                  <a:pt x="33373" y="247501"/>
                </a:lnTo>
                <a:lnTo>
                  <a:pt x="27000" y="216001"/>
                </a:lnTo>
                <a:lnTo>
                  <a:pt x="33375" y="184496"/>
                </a:lnTo>
                <a:lnTo>
                  <a:pt x="50750" y="158746"/>
                </a:lnTo>
                <a:lnTo>
                  <a:pt x="76501" y="141374"/>
                </a:lnTo>
                <a:lnTo>
                  <a:pt x="108000" y="135001"/>
                </a:lnTo>
                <a:lnTo>
                  <a:pt x="162857" y="135001"/>
                </a:lnTo>
                <a:lnTo>
                  <a:pt x="162292" y="128119"/>
                </a:lnTo>
                <a:lnTo>
                  <a:pt x="162001" y="124307"/>
                </a:lnTo>
                <a:lnTo>
                  <a:pt x="162001" y="121500"/>
                </a:lnTo>
                <a:lnTo>
                  <a:pt x="164014" y="111556"/>
                </a:lnTo>
                <a:lnTo>
                  <a:pt x="135420" y="111556"/>
                </a:lnTo>
                <a:lnTo>
                  <a:pt x="128680" y="110004"/>
                </a:lnTo>
                <a:lnTo>
                  <a:pt x="121858" y="108892"/>
                </a:lnTo>
                <a:lnTo>
                  <a:pt x="114962" y="108224"/>
                </a:lnTo>
                <a:lnTo>
                  <a:pt x="108000" y="108000"/>
                </a:lnTo>
                <a:close/>
              </a:path>
              <a:path w="432434" h="432435">
                <a:moveTo>
                  <a:pt x="162857" y="135001"/>
                </a:moveTo>
                <a:lnTo>
                  <a:pt x="108000" y="135001"/>
                </a:lnTo>
                <a:lnTo>
                  <a:pt x="117046" y="135509"/>
                </a:lnTo>
                <a:lnTo>
                  <a:pt x="125934" y="137031"/>
                </a:lnTo>
                <a:lnTo>
                  <a:pt x="134634" y="139560"/>
                </a:lnTo>
                <a:lnTo>
                  <a:pt x="143116" y="143090"/>
                </a:lnTo>
                <a:lnTo>
                  <a:pt x="164401" y="153365"/>
                </a:lnTo>
                <a:lnTo>
                  <a:pt x="162857" y="135001"/>
                </a:lnTo>
                <a:close/>
              </a:path>
              <a:path w="432434" h="432435">
                <a:moveTo>
                  <a:pt x="256501" y="0"/>
                </a:moveTo>
                <a:lnTo>
                  <a:pt x="211438" y="8661"/>
                </a:lnTo>
                <a:lnTo>
                  <a:pt x="173982" y="32394"/>
                </a:lnTo>
                <a:lnTo>
                  <a:pt x="147515" y="67819"/>
                </a:lnTo>
                <a:lnTo>
                  <a:pt x="135420" y="111556"/>
                </a:lnTo>
                <a:lnTo>
                  <a:pt x="164014" y="111556"/>
                </a:lnTo>
                <a:lnTo>
                  <a:pt x="169441" y="84757"/>
                </a:lnTo>
                <a:lnTo>
                  <a:pt x="189715" y="54714"/>
                </a:lnTo>
                <a:lnTo>
                  <a:pt x="219758" y="34440"/>
                </a:lnTo>
                <a:lnTo>
                  <a:pt x="256501" y="27000"/>
                </a:lnTo>
                <a:lnTo>
                  <a:pt x="329594" y="27000"/>
                </a:lnTo>
                <a:lnTo>
                  <a:pt x="303748" y="9561"/>
                </a:lnTo>
                <a:lnTo>
                  <a:pt x="256501" y="0"/>
                </a:lnTo>
                <a:close/>
              </a:path>
            </a:pathLst>
          </a:custGeom>
          <a:solidFill>
            <a:srgbClr val="FFFFFF"/>
          </a:solidFill>
        </p:spPr>
        <p:txBody>
          <a:bodyPr wrap="square" lIns="0" tIns="0" rIns="0" bIns="0" rtlCol="0"/>
          <a:lstStyle/>
          <a:p>
            <a:endParaRPr/>
          </a:p>
        </p:txBody>
      </p:sp>
      <p:sp>
        <p:nvSpPr>
          <p:cNvPr id="263" name="object 199">
            <a:extLst>
              <a:ext uri="{FF2B5EF4-FFF2-40B4-BE49-F238E27FC236}">
                <a16:creationId xmlns:a16="http://schemas.microsoft.com/office/drawing/2014/main" id="{7A990BAE-BAED-6829-3482-8432DD36E24B}"/>
              </a:ext>
            </a:extLst>
          </p:cNvPr>
          <p:cNvSpPr/>
          <p:nvPr/>
        </p:nvSpPr>
        <p:spPr>
          <a:xfrm>
            <a:off x="5444073" y="2865667"/>
            <a:ext cx="291009" cy="291009"/>
          </a:xfrm>
          <a:custGeom>
            <a:avLst/>
            <a:gdLst/>
            <a:ahLst/>
            <a:cxnLst/>
            <a:rect l="l" t="t" r="r" b="b"/>
            <a:pathLst>
              <a:path w="432434" h="432435">
                <a:moveTo>
                  <a:pt x="216001" y="0"/>
                </a:moveTo>
                <a:lnTo>
                  <a:pt x="166475" y="5704"/>
                </a:lnTo>
                <a:lnTo>
                  <a:pt x="121011" y="21953"/>
                </a:lnTo>
                <a:lnTo>
                  <a:pt x="80904" y="47450"/>
                </a:lnTo>
                <a:lnTo>
                  <a:pt x="47454" y="80899"/>
                </a:lnTo>
                <a:lnTo>
                  <a:pt x="21955" y="121005"/>
                </a:lnTo>
                <a:lnTo>
                  <a:pt x="5704" y="166471"/>
                </a:lnTo>
                <a:lnTo>
                  <a:pt x="0" y="216001"/>
                </a:lnTo>
                <a:lnTo>
                  <a:pt x="5704" y="265523"/>
                </a:lnTo>
                <a:lnTo>
                  <a:pt x="21955" y="310986"/>
                </a:lnTo>
                <a:lnTo>
                  <a:pt x="47454" y="351092"/>
                </a:lnTo>
                <a:lnTo>
                  <a:pt x="80904" y="384545"/>
                </a:lnTo>
                <a:lnTo>
                  <a:pt x="121011" y="410045"/>
                </a:lnTo>
                <a:lnTo>
                  <a:pt x="166475" y="426297"/>
                </a:lnTo>
                <a:lnTo>
                  <a:pt x="216001" y="432003"/>
                </a:lnTo>
                <a:lnTo>
                  <a:pt x="265531" y="426297"/>
                </a:lnTo>
                <a:lnTo>
                  <a:pt x="310997" y="410045"/>
                </a:lnTo>
                <a:lnTo>
                  <a:pt x="320546" y="403974"/>
                </a:lnTo>
                <a:lnTo>
                  <a:pt x="202501" y="403974"/>
                </a:lnTo>
                <a:lnTo>
                  <a:pt x="185775" y="393923"/>
                </a:lnTo>
                <a:lnTo>
                  <a:pt x="184962" y="393052"/>
                </a:lnTo>
                <a:lnTo>
                  <a:pt x="150380" y="393052"/>
                </a:lnTo>
                <a:lnTo>
                  <a:pt x="124160" y="380955"/>
                </a:lnTo>
                <a:lnTo>
                  <a:pt x="100285" y="365166"/>
                </a:lnTo>
                <a:lnTo>
                  <a:pt x="79125" y="346057"/>
                </a:lnTo>
                <a:lnTo>
                  <a:pt x="61048" y="324002"/>
                </a:lnTo>
                <a:lnTo>
                  <a:pt x="401775" y="324002"/>
                </a:lnTo>
                <a:lnTo>
                  <a:pt x="410050" y="310986"/>
                </a:lnTo>
                <a:lnTo>
                  <a:pt x="415048" y="297002"/>
                </a:lnTo>
                <a:lnTo>
                  <a:pt x="45377" y="297002"/>
                </a:lnTo>
                <a:lnTo>
                  <a:pt x="38701" y="281095"/>
                </a:lnTo>
                <a:lnTo>
                  <a:pt x="33518" y="264482"/>
                </a:lnTo>
                <a:lnTo>
                  <a:pt x="29913" y="247478"/>
                </a:lnTo>
                <a:lnTo>
                  <a:pt x="29845" y="247087"/>
                </a:lnTo>
                <a:lnTo>
                  <a:pt x="27774" y="229476"/>
                </a:lnTo>
                <a:lnTo>
                  <a:pt x="430451" y="229476"/>
                </a:lnTo>
                <a:lnTo>
                  <a:pt x="432003" y="216001"/>
                </a:lnTo>
                <a:lnTo>
                  <a:pt x="430448" y="202501"/>
                </a:lnTo>
                <a:lnTo>
                  <a:pt x="27546" y="202501"/>
                </a:lnTo>
                <a:lnTo>
                  <a:pt x="29639" y="184882"/>
                </a:lnTo>
                <a:lnTo>
                  <a:pt x="29708" y="184491"/>
                </a:lnTo>
                <a:lnTo>
                  <a:pt x="33386" y="167493"/>
                </a:lnTo>
                <a:lnTo>
                  <a:pt x="38645" y="150895"/>
                </a:lnTo>
                <a:lnTo>
                  <a:pt x="45351" y="135001"/>
                </a:lnTo>
                <a:lnTo>
                  <a:pt x="415051" y="135001"/>
                </a:lnTo>
                <a:lnTo>
                  <a:pt x="410050" y="121005"/>
                </a:lnTo>
                <a:lnTo>
                  <a:pt x="401782" y="108000"/>
                </a:lnTo>
                <a:lnTo>
                  <a:pt x="61175" y="108000"/>
                </a:lnTo>
                <a:lnTo>
                  <a:pt x="79229" y="85936"/>
                </a:lnTo>
                <a:lnTo>
                  <a:pt x="100350" y="66821"/>
                </a:lnTo>
                <a:lnTo>
                  <a:pt x="124189" y="51029"/>
                </a:lnTo>
                <a:lnTo>
                  <a:pt x="150393" y="38938"/>
                </a:lnTo>
                <a:lnTo>
                  <a:pt x="184953" y="38938"/>
                </a:lnTo>
                <a:lnTo>
                  <a:pt x="185773" y="38059"/>
                </a:lnTo>
                <a:lnTo>
                  <a:pt x="202501" y="28016"/>
                </a:lnTo>
                <a:lnTo>
                  <a:pt x="320534" y="28016"/>
                </a:lnTo>
                <a:lnTo>
                  <a:pt x="310997" y="21953"/>
                </a:lnTo>
                <a:lnTo>
                  <a:pt x="265531" y="5704"/>
                </a:lnTo>
                <a:lnTo>
                  <a:pt x="216001" y="0"/>
                </a:lnTo>
                <a:close/>
              </a:path>
              <a:path w="432434" h="432435">
                <a:moveTo>
                  <a:pt x="229501" y="324002"/>
                </a:moveTo>
                <a:lnTo>
                  <a:pt x="202501" y="324002"/>
                </a:lnTo>
                <a:lnTo>
                  <a:pt x="202501" y="403974"/>
                </a:lnTo>
                <a:lnTo>
                  <a:pt x="229501" y="403974"/>
                </a:lnTo>
                <a:lnTo>
                  <a:pt x="229501" y="324002"/>
                </a:lnTo>
                <a:close/>
              </a:path>
              <a:path w="432434" h="432435">
                <a:moveTo>
                  <a:pt x="315150" y="324002"/>
                </a:moveTo>
                <a:lnTo>
                  <a:pt x="288874" y="324002"/>
                </a:lnTo>
                <a:lnTo>
                  <a:pt x="276612" y="353319"/>
                </a:lnTo>
                <a:lnTo>
                  <a:pt x="262164" y="376832"/>
                </a:lnTo>
                <a:lnTo>
                  <a:pt x="246227" y="393923"/>
                </a:lnTo>
                <a:lnTo>
                  <a:pt x="229501" y="403974"/>
                </a:lnTo>
                <a:lnTo>
                  <a:pt x="320546" y="403974"/>
                </a:lnTo>
                <a:lnTo>
                  <a:pt x="337723" y="393052"/>
                </a:lnTo>
                <a:lnTo>
                  <a:pt x="281609" y="393052"/>
                </a:lnTo>
                <a:lnTo>
                  <a:pt x="291449" y="378494"/>
                </a:lnTo>
                <a:lnTo>
                  <a:pt x="300356" y="362003"/>
                </a:lnTo>
                <a:lnTo>
                  <a:pt x="308275" y="343774"/>
                </a:lnTo>
                <a:lnTo>
                  <a:pt x="315150" y="324002"/>
                </a:lnTo>
                <a:close/>
              </a:path>
              <a:path w="432434" h="432435">
                <a:moveTo>
                  <a:pt x="143129" y="324002"/>
                </a:moveTo>
                <a:lnTo>
                  <a:pt x="116840" y="324002"/>
                </a:lnTo>
                <a:lnTo>
                  <a:pt x="123714" y="343774"/>
                </a:lnTo>
                <a:lnTo>
                  <a:pt x="131633" y="362003"/>
                </a:lnTo>
                <a:lnTo>
                  <a:pt x="140541" y="378494"/>
                </a:lnTo>
                <a:lnTo>
                  <a:pt x="150380" y="393052"/>
                </a:lnTo>
                <a:lnTo>
                  <a:pt x="184962" y="393052"/>
                </a:lnTo>
                <a:lnTo>
                  <a:pt x="169838" y="376832"/>
                </a:lnTo>
                <a:lnTo>
                  <a:pt x="155390" y="353319"/>
                </a:lnTo>
                <a:lnTo>
                  <a:pt x="143129" y="324002"/>
                </a:lnTo>
                <a:close/>
              </a:path>
              <a:path w="432434" h="432435">
                <a:moveTo>
                  <a:pt x="401775" y="324002"/>
                </a:moveTo>
                <a:lnTo>
                  <a:pt x="370941" y="324002"/>
                </a:lnTo>
                <a:lnTo>
                  <a:pt x="352868" y="346057"/>
                </a:lnTo>
                <a:lnTo>
                  <a:pt x="331714" y="365166"/>
                </a:lnTo>
                <a:lnTo>
                  <a:pt x="307840" y="380955"/>
                </a:lnTo>
                <a:lnTo>
                  <a:pt x="281609" y="393052"/>
                </a:lnTo>
                <a:lnTo>
                  <a:pt x="337723" y="393052"/>
                </a:lnTo>
                <a:lnTo>
                  <a:pt x="351103" y="384545"/>
                </a:lnTo>
                <a:lnTo>
                  <a:pt x="384553" y="351092"/>
                </a:lnTo>
                <a:lnTo>
                  <a:pt x="401775" y="324002"/>
                </a:lnTo>
                <a:close/>
              </a:path>
              <a:path w="432434" h="432435">
                <a:moveTo>
                  <a:pt x="126796" y="229476"/>
                </a:moveTo>
                <a:lnTo>
                  <a:pt x="101600" y="229476"/>
                </a:lnTo>
                <a:lnTo>
                  <a:pt x="102571" y="247087"/>
                </a:lnTo>
                <a:lnTo>
                  <a:pt x="104257" y="264244"/>
                </a:lnTo>
                <a:lnTo>
                  <a:pt x="106643" y="280898"/>
                </a:lnTo>
                <a:lnTo>
                  <a:pt x="109715" y="297002"/>
                </a:lnTo>
                <a:lnTo>
                  <a:pt x="135407" y="297002"/>
                </a:lnTo>
                <a:lnTo>
                  <a:pt x="132174" y="281300"/>
                </a:lnTo>
                <a:lnTo>
                  <a:pt x="129640" y="264772"/>
                </a:lnTo>
                <a:lnTo>
                  <a:pt x="127836" y="247478"/>
                </a:lnTo>
                <a:lnTo>
                  <a:pt x="126796" y="229476"/>
                </a:lnTo>
                <a:close/>
              </a:path>
              <a:path w="432434" h="432435">
                <a:moveTo>
                  <a:pt x="229501" y="229476"/>
                </a:moveTo>
                <a:lnTo>
                  <a:pt x="202501" y="229476"/>
                </a:lnTo>
                <a:lnTo>
                  <a:pt x="202501" y="297002"/>
                </a:lnTo>
                <a:lnTo>
                  <a:pt x="229501" y="297002"/>
                </a:lnTo>
                <a:lnTo>
                  <a:pt x="229501" y="229476"/>
                </a:lnTo>
                <a:close/>
              </a:path>
              <a:path w="432434" h="432435">
                <a:moveTo>
                  <a:pt x="330403" y="229476"/>
                </a:moveTo>
                <a:lnTo>
                  <a:pt x="305193" y="229476"/>
                </a:lnTo>
                <a:lnTo>
                  <a:pt x="304159" y="247478"/>
                </a:lnTo>
                <a:lnTo>
                  <a:pt x="302355" y="264772"/>
                </a:lnTo>
                <a:lnTo>
                  <a:pt x="299818" y="281300"/>
                </a:lnTo>
                <a:lnTo>
                  <a:pt x="296583" y="297002"/>
                </a:lnTo>
                <a:lnTo>
                  <a:pt x="322287" y="297002"/>
                </a:lnTo>
                <a:lnTo>
                  <a:pt x="325359" y="280898"/>
                </a:lnTo>
                <a:lnTo>
                  <a:pt x="327745" y="264244"/>
                </a:lnTo>
                <a:lnTo>
                  <a:pt x="329431" y="247087"/>
                </a:lnTo>
                <a:lnTo>
                  <a:pt x="330403" y="229476"/>
                </a:lnTo>
                <a:close/>
              </a:path>
              <a:path w="432434" h="432435">
                <a:moveTo>
                  <a:pt x="430451" y="229476"/>
                </a:moveTo>
                <a:lnTo>
                  <a:pt x="404241" y="229476"/>
                </a:lnTo>
                <a:lnTo>
                  <a:pt x="402156" y="247087"/>
                </a:lnTo>
                <a:lnTo>
                  <a:pt x="402088" y="247478"/>
                </a:lnTo>
                <a:lnTo>
                  <a:pt x="398478" y="264482"/>
                </a:lnTo>
                <a:lnTo>
                  <a:pt x="393300" y="281095"/>
                </a:lnTo>
                <a:lnTo>
                  <a:pt x="386638" y="297002"/>
                </a:lnTo>
                <a:lnTo>
                  <a:pt x="415048" y="297002"/>
                </a:lnTo>
                <a:lnTo>
                  <a:pt x="426298" y="265523"/>
                </a:lnTo>
                <a:lnTo>
                  <a:pt x="430451" y="229476"/>
                </a:lnTo>
                <a:close/>
              </a:path>
              <a:path w="432434" h="432435">
                <a:moveTo>
                  <a:pt x="135470" y="135001"/>
                </a:moveTo>
                <a:lnTo>
                  <a:pt x="109918" y="135001"/>
                </a:lnTo>
                <a:lnTo>
                  <a:pt x="106838" y="151091"/>
                </a:lnTo>
                <a:lnTo>
                  <a:pt x="104411" y="167732"/>
                </a:lnTo>
                <a:lnTo>
                  <a:pt x="102687" y="184882"/>
                </a:lnTo>
                <a:lnTo>
                  <a:pt x="101714" y="202501"/>
                </a:lnTo>
                <a:lnTo>
                  <a:pt x="126758" y="202501"/>
                </a:lnTo>
                <a:lnTo>
                  <a:pt x="127798" y="184491"/>
                </a:lnTo>
                <a:lnTo>
                  <a:pt x="129638" y="167212"/>
                </a:lnTo>
                <a:lnTo>
                  <a:pt x="132216" y="150703"/>
                </a:lnTo>
                <a:lnTo>
                  <a:pt x="135470" y="135001"/>
                </a:lnTo>
                <a:close/>
              </a:path>
              <a:path w="432434" h="432435">
                <a:moveTo>
                  <a:pt x="229501" y="135001"/>
                </a:moveTo>
                <a:lnTo>
                  <a:pt x="202501" y="135001"/>
                </a:lnTo>
                <a:lnTo>
                  <a:pt x="202501" y="202501"/>
                </a:lnTo>
                <a:lnTo>
                  <a:pt x="229501" y="202501"/>
                </a:lnTo>
                <a:lnTo>
                  <a:pt x="229501" y="135001"/>
                </a:lnTo>
                <a:close/>
              </a:path>
              <a:path w="432434" h="432435">
                <a:moveTo>
                  <a:pt x="322097" y="135001"/>
                </a:moveTo>
                <a:lnTo>
                  <a:pt x="296545" y="135001"/>
                </a:lnTo>
                <a:lnTo>
                  <a:pt x="299794" y="150703"/>
                </a:lnTo>
                <a:lnTo>
                  <a:pt x="302374" y="167212"/>
                </a:lnTo>
                <a:lnTo>
                  <a:pt x="304220" y="184491"/>
                </a:lnTo>
                <a:lnTo>
                  <a:pt x="305269" y="202501"/>
                </a:lnTo>
                <a:lnTo>
                  <a:pt x="330301" y="202501"/>
                </a:lnTo>
                <a:lnTo>
                  <a:pt x="329323" y="184882"/>
                </a:lnTo>
                <a:lnTo>
                  <a:pt x="327599" y="167732"/>
                </a:lnTo>
                <a:lnTo>
                  <a:pt x="325175" y="151091"/>
                </a:lnTo>
                <a:lnTo>
                  <a:pt x="322097" y="135001"/>
                </a:lnTo>
                <a:close/>
              </a:path>
              <a:path w="432434" h="432435">
                <a:moveTo>
                  <a:pt x="415051" y="135001"/>
                </a:moveTo>
                <a:lnTo>
                  <a:pt x="386664" y="135001"/>
                </a:lnTo>
                <a:lnTo>
                  <a:pt x="393364" y="150895"/>
                </a:lnTo>
                <a:lnTo>
                  <a:pt x="398624" y="167493"/>
                </a:lnTo>
                <a:lnTo>
                  <a:pt x="402305" y="184491"/>
                </a:lnTo>
                <a:lnTo>
                  <a:pt x="402374" y="184882"/>
                </a:lnTo>
                <a:lnTo>
                  <a:pt x="404469" y="202501"/>
                </a:lnTo>
                <a:lnTo>
                  <a:pt x="430448" y="202501"/>
                </a:lnTo>
                <a:lnTo>
                  <a:pt x="426298" y="166471"/>
                </a:lnTo>
                <a:lnTo>
                  <a:pt x="415051" y="135001"/>
                </a:lnTo>
                <a:close/>
              </a:path>
              <a:path w="432434" h="432435">
                <a:moveTo>
                  <a:pt x="184953" y="38938"/>
                </a:moveTo>
                <a:lnTo>
                  <a:pt x="140525" y="53508"/>
                </a:lnTo>
                <a:lnTo>
                  <a:pt x="123658" y="88199"/>
                </a:lnTo>
                <a:lnTo>
                  <a:pt x="116814" y="108000"/>
                </a:lnTo>
                <a:lnTo>
                  <a:pt x="143129" y="108000"/>
                </a:lnTo>
                <a:lnTo>
                  <a:pt x="155384" y="78654"/>
                </a:lnTo>
                <a:lnTo>
                  <a:pt x="169833" y="55140"/>
                </a:lnTo>
                <a:lnTo>
                  <a:pt x="184953" y="38938"/>
                </a:lnTo>
                <a:close/>
              </a:path>
              <a:path w="432434" h="432435">
                <a:moveTo>
                  <a:pt x="229501" y="28016"/>
                </a:moveTo>
                <a:lnTo>
                  <a:pt x="202501" y="28016"/>
                </a:lnTo>
                <a:lnTo>
                  <a:pt x="202501" y="108000"/>
                </a:lnTo>
                <a:lnTo>
                  <a:pt x="229501" y="108000"/>
                </a:lnTo>
                <a:lnTo>
                  <a:pt x="229501" y="28016"/>
                </a:lnTo>
                <a:close/>
              </a:path>
              <a:path w="432434" h="432435">
                <a:moveTo>
                  <a:pt x="320534" y="28016"/>
                </a:moveTo>
                <a:lnTo>
                  <a:pt x="229501" y="28016"/>
                </a:lnTo>
                <a:lnTo>
                  <a:pt x="246234" y="38059"/>
                </a:lnTo>
                <a:lnTo>
                  <a:pt x="262172" y="55140"/>
                </a:lnTo>
                <a:lnTo>
                  <a:pt x="276614" y="78654"/>
                </a:lnTo>
                <a:lnTo>
                  <a:pt x="288861" y="108000"/>
                </a:lnTo>
                <a:lnTo>
                  <a:pt x="315201" y="108000"/>
                </a:lnTo>
                <a:lnTo>
                  <a:pt x="308344" y="88192"/>
                </a:lnTo>
                <a:lnTo>
                  <a:pt x="300406" y="69969"/>
                </a:lnTo>
                <a:lnTo>
                  <a:pt x="291468" y="53495"/>
                </a:lnTo>
                <a:lnTo>
                  <a:pt x="281622" y="38950"/>
                </a:lnTo>
                <a:lnTo>
                  <a:pt x="337734" y="38950"/>
                </a:lnTo>
                <a:lnTo>
                  <a:pt x="320534" y="28016"/>
                </a:lnTo>
                <a:close/>
              </a:path>
              <a:path w="432434" h="432435">
                <a:moveTo>
                  <a:pt x="337734" y="38950"/>
                </a:moveTo>
                <a:lnTo>
                  <a:pt x="281622" y="38950"/>
                </a:lnTo>
                <a:lnTo>
                  <a:pt x="307819" y="51034"/>
                </a:lnTo>
                <a:lnTo>
                  <a:pt x="331654" y="66822"/>
                </a:lnTo>
                <a:lnTo>
                  <a:pt x="352774" y="85937"/>
                </a:lnTo>
                <a:lnTo>
                  <a:pt x="370827" y="108000"/>
                </a:lnTo>
                <a:lnTo>
                  <a:pt x="401782" y="108000"/>
                </a:lnTo>
                <a:lnTo>
                  <a:pt x="384553" y="80899"/>
                </a:lnTo>
                <a:lnTo>
                  <a:pt x="351103" y="47450"/>
                </a:lnTo>
                <a:lnTo>
                  <a:pt x="337734" y="38950"/>
                </a:lnTo>
                <a:close/>
              </a:path>
            </a:pathLst>
          </a:custGeom>
          <a:solidFill>
            <a:srgbClr val="FFFFFF"/>
          </a:solidFill>
        </p:spPr>
        <p:txBody>
          <a:bodyPr wrap="square" lIns="0" tIns="0" rIns="0" bIns="0" rtlCol="0"/>
          <a:lstStyle/>
          <a:p>
            <a:endParaRPr/>
          </a:p>
        </p:txBody>
      </p:sp>
      <p:sp>
        <p:nvSpPr>
          <p:cNvPr id="264" name="object 200">
            <a:extLst>
              <a:ext uri="{FF2B5EF4-FFF2-40B4-BE49-F238E27FC236}">
                <a16:creationId xmlns:a16="http://schemas.microsoft.com/office/drawing/2014/main" id="{0F615C37-4DB6-5516-E6F2-AD4338F812AA}"/>
              </a:ext>
            </a:extLst>
          </p:cNvPr>
          <p:cNvSpPr/>
          <p:nvPr/>
        </p:nvSpPr>
        <p:spPr>
          <a:xfrm>
            <a:off x="6176929" y="1415105"/>
            <a:ext cx="279045" cy="277763"/>
          </a:xfrm>
          <a:custGeom>
            <a:avLst/>
            <a:gdLst/>
            <a:ahLst/>
            <a:cxnLst/>
            <a:rect l="l" t="t" r="r" b="b"/>
            <a:pathLst>
              <a:path w="414654" h="412750">
                <a:moveTo>
                  <a:pt x="25895" y="0"/>
                </a:moveTo>
                <a:lnTo>
                  <a:pt x="0" y="0"/>
                </a:lnTo>
                <a:lnTo>
                  <a:pt x="0" y="412749"/>
                </a:lnTo>
                <a:lnTo>
                  <a:pt x="414324" y="412749"/>
                </a:lnTo>
                <a:lnTo>
                  <a:pt x="414324" y="386956"/>
                </a:lnTo>
                <a:lnTo>
                  <a:pt x="25895" y="386956"/>
                </a:lnTo>
                <a:lnTo>
                  <a:pt x="25895" y="316014"/>
                </a:lnTo>
                <a:lnTo>
                  <a:pt x="414324" y="316014"/>
                </a:lnTo>
                <a:lnTo>
                  <a:pt x="414324" y="303123"/>
                </a:lnTo>
                <a:lnTo>
                  <a:pt x="25895" y="303123"/>
                </a:lnTo>
                <a:lnTo>
                  <a:pt x="25895" y="199936"/>
                </a:lnTo>
                <a:lnTo>
                  <a:pt x="414324" y="199936"/>
                </a:lnTo>
                <a:lnTo>
                  <a:pt x="414324" y="187032"/>
                </a:lnTo>
                <a:lnTo>
                  <a:pt x="25895" y="187032"/>
                </a:lnTo>
                <a:lnTo>
                  <a:pt x="25895" y="83845"/>
                </a:lnTo>
                <a:lnTo>
                  <a:pt x="414324" y="83845"/>
                </a:lnTo>
                <a:lnTo>
                  <a:pt x="414324" y="70942"/>
                </a:lnTo>
                <a:lnTo>
                  <a:pt x="25895" y="70942"/>
                </a:lnTo>
                <a:lnTo>
                  <a:pt x="25895" y="0"/>
                </a:lnTo>
                <a:close/>
              </a:path>
              <a:path w="414654" h="412750">
                <a:moveTo>
                  <a:pt x="414324" y="316014"/>
                </a:moveTo>
                <a:lnTo>
                  <a:pt x="388429" y="316014"/>
                </a:lnTo>
                <a:lnTo>
                  <a:pt x="388429" y="386956"/>
                </a:lnTo>
                <a:lnTo>
                  <a:pt x="414324" y="386956"/>
                </a:lnTo>
                <a:lnTo>
                  <a:pt x="414324" y="316014"/>
                </a:lnTo>
                <a:close/>
              </a:path>
              <a:path w="414654" h="412750">
                <a:moveTo>
                  <a:pt x="207162" y="316014"/>
                </a:moveTo>
                <a:lnTo>
                  <a:pt x="129476" y="316014"/>
                </a:lnTo>
                <a:lnTo>
                  <a:pt x="134180" y="329217"/>
                </a:lnTo>
                <a:lnTo>
                  <a:pt x="142827" y="339394"/>
                </a:lnTo>
                <a:lnTo>
                  <a:pt x="154508" y="345942"/>
                </a:lnTo>
                <a:lnTo>
                  <a:pt x="168313" y="348259"/>
                </a:lnTo>
                <a:lnTo>
                  <a:pt x="182125" y="345942"/>
                </a:lnTo>
                <a:lnTo>
                  <a:pt x="193809" y="339394"/>
                </a:lnTo>
                <a:lnTo>
                  <a:pt x="202458" y="329217"/>
                </a:lnTo>
                <a:lnTo>
                  <a:pt x="207162" y="316014"/>
                </a:lnTo>
                <a:close/>
              </a:path>
              <a:path w="414654" h="412750">
                <a:moveTo>
                  <a:pt x="284848" y="316014"/>
                </a:moveTo>
                <a:lnTo>
                  <a:pt x="207162" y="316014"/>
                </a:lnTo>
                <a:lnTo>
                  <a:pt x="211866" y="329217"/>
                </a:lnTo>
                <a:lnTo>
                  <a:pt x="220513" y="339394"/>
                </a:lnTo>
                <a:lnTo>
                  <a:pt x="232194" y="345942"/>
                </a:lnTo>
                <a:lnTo>
                  <a:pt x="245999" y="348259"/>
                </a:lnTo>
                <a:lnTo>
                  <a:pt x="259805" y="345942"/>
                </a:lnTo>
                <a:lnTo>
                  <a:pt x="271491" y="339394"/>
                </a:lnTo>
                <a:lnTo>
                  <a:pt x="280142" y="329217"/>
                </a:lnTo>
                <a:lnTo>
                  <a:pt x="284848" y="316014"/>
                </a:lnTo>
                <a:close/>
              </a:path>
              <a:path w="414654" h="412750">
                <a:moveTo>
                  <a:pt x="168313" y="270878"/>
                </a:moveTo>
                <a:lnTo>
                  <a:pt x="154508" y="273194"/>
                </a:lnTo>
                <a:lnTo>
                  <a:pt x="142827" y="279742"/>
                </a:lnTo>
                <a:lnTo>
                  <a:pt x="134180" y="289919"/>
                </a:lnTo>
                <a:lnTo>
                  <a:pt x="129476" y="303123"/>
                </a:lnTo>
                <a:lnTo>
                  <a:pt x="207162" y="303123"/>
                </a:lnTo>
                <a:lnTo>
                  <a:pt x="202458" y="289919"/>
                </a:lnTo>
                <a:lnTo>
                  <a:pt x="193809" y="279742"/>
                </a:lnTo>
                <a:lnTo>
                  <a:pt x="182125" y="273194"/>
                </a:lnTo>
                <a:lnTo>
                  <a:pt x="168313" y="270878"/>
                </a:lnTo>
                <a:close/>
              </a:path>
              <a:path w="414654" h="412750">
                <a:moveTo>
                  <a:pt x="245999" y="270878"/>
                </a:moveTo>
                <a:lnTo>
                  <a:pt x="232194" y="273194"/>
                </a:lnTo>
                <a:lnTo>
                  <a:pt x="220513" y="279742"/>
                </a:lnTo>
                <a:lnTo>
                  <a:pt x="211866" y="289919"/>
                </a:lnTo>
                <a:lnTo>
                  <a:pt x="207162" y="303123"/>
                </a:lnTo>
                <a:lnTo>
                  <a:pt x="284848" y="303123"/>
                </a:lnTo>
                <a:lnTo>
                  <a:pt x="280142" y="289919"/>
                </a:lnTo>
                <a:lnTo>
                  <a:pt x="271491" y="279742"/>
                </a:lnTo>
                <a:lnTo>
                  <a:pt x="259805" y="273194"/>
                </a:lnTo>
                <a:lnTo>
                  <a:pt x="245999" y="270878"/>
                </a:lnTo>
                <a:close/>
              </a:path>
              <a:path w="414654" h="412750">
                <a:moveTo>
                  <a:pt x="414324" y="199936"/>
                </a:moveTo>
                <a:lnTo>
                  <a:pt x="388429" y="199936"/>
                </a:lnTo>
                <a:lnTo>
                  <a:pt x="388429" y="303123"/>
                </a:lnTo>
                <a:lnTo>
                  <a:pt x="414324" y="303123"/>
                </a:lnTo>
                <a:lnTo>
                  <a:pt x="414324" y="199936"/>
                </a:lnTo>
                <a:close/>
              </a:path>
              <a:path w="414654" h="412750">
                <a:moveTo>
                  <a:pt x="207162" y="199936"/>
                </a:moveTo>
                <a:lnTo>
                  <a:pt x="129476" y="199936"/>
                </a:lnTo>
                <a:lnTo>
                  <a:pt x="134180" y="213134"/>
                </a:lnTo>
                <a:lnTo>
                  <a:pt x="142827" y="223312"/>
                </a:lnTo>
                <a:lnTo>
                  <a:pt x="154508" y="229863"/>
                </a:lnTo>
                <a:lnTo>
                  <a:pt x="168313" y="232181"/>
                </a:lnTo>
                <a:lnTo>
                  <a:pt x="182125" y="229863"/>
                </a:lnTo>
                <a:lnTo>
                  <a:pt x="193809" y="223312"/>
                </a:lnTo>
                <a:lnTo>
                  <a:pt x="202458" y="213134"/>
                </a:lnTo>
                <a:lnTo>
                  <a:pt x="207162" y="199936"/>
                </a:lnTo>
                <a:close/>
              </a:path>
              <a:path w="414654" h="412750">
                <a:moveTo>
                  <a:pt x="362534" y="199936"/>
                </a:moveTo>
                <a:lnTo>
                  <a:pt x="284848" y="199936"/>
                </a:lnTo>
                <a:lnTo>
                  <a:pt x="289552" y="213134"/>
                </a:lnTo>
                <a:lnTo>
                  <a:pt x="298199" y="223312"/>
                </a:lnTo>
                <a:lnTo>
                  <a:pt x="309880" y="229863"/>
                </a:lnTo>
                <a:lnTo>
                  <a:pt x="323684" y="232181"/>
                </a:lnTo>
                <a:lnTo>
                  <a:pt x="337497" y="229863"/>
                </a:lnTo>
                <a:lnTo>
                  <a:pt x="349181" y="223312"/>
                </a:lnTo>
                <a:lnTo>
                  <a:pt x="357830" y="213134"/>
                </a:lnTo>
                <a:lnTo>
                  <a:pt x="362534" y="199936"/>
                </a:lnTo>
                <a:close/>
              </a:path>
              <a:path w="414654" h="412750">
                <a:moveTo>
                  <a:pt x="168313" y="154787"/>
                </a:moveTo>
                <a:lnTo>
                  <a:pt x="154508" y="157105"/>
                </a:lnTo>
                <a:lnTo>
                  <a:pt x="142827" y="163656"/>
                </a:lnTo>
                <a:lnTo>
                  <a:pt x="134180" y="173834"/>
                </a:lnTo>
                <a:lnTo>
                  <a:pt x="129476" y="187032"/>
                </a:lnTo>
                <a:lnTo>
                  <a:pt x="207162" y="187032"/>
                </a:lnTo>
                <a:lnTo>
                  <a:pt x="202458" y="173834"/>
                </a:lnTo>
                <a:lnTo>
                  <a:pt x="193809" y="163656"/>
                </a:lnTo>
                <a:lnTo>
                  <a:pt x="182125" y="157105"/>
                </a:lnTo>
                <a:lnTo>
                  <a:pt x="168313" y="154787"/>
                </a:lnTo>
                <a:close/>
              </a:path>
              <a:path w="414654" h="412750">
                <a:moveTo>
                  <a:pt x="323684" y="154787"/>
                </a:moveTo>
                <a:lnTo>
                  <a:pt x="309880" y="157105"/>
                </a:lnTo>
                <a:lnTo>
                  <a:pt x="298199" y="163656"/>
                </a:lnTo>
                <a:lnTo>
                  <a:pt x="289552" y="173834"/>
                </a:lnTo>
                <a:lnTo>
                  <a:pt x="284848" y="187032"/>
                </a:lnTo>
                <a:lnTo>
                  <a:pt x="362534" y="187032"/>
                </a:lnTo>
                <a:lnTo>
                  <a:pt x="357830" y="173834"/>
                </a:lnTo>
                <a:lnTo>
                  <a:pt x="349181" y="163656"/>
                </a:lnTo>
                <a:lnTo>
                  <a:pt x="337497" y="157105"/>
                </a:lnTo>
                <a:lnTo>
                  <a:pt x="323684" y="154787"/>
                </a:lnTo>
                <a:close/>
              </a:path>
              <a:path w="414654" h="412750">
                <a:moveTo>
                  <a:pt x="414324" y="83845"/>
                </a:moveTo>
                <a:lnTo>
                  <a:pt x="388429" y="83845"/>
                </a:lnTo>
                <a:lnTo>
                  <a:pt x="388429" y="187032"/>
                </a:lnTo>
                <a:lnTo>
                  <a:pt x="414324" y="187032"/>
                </a:lnTo>
                <a:lnTo>
                  <a:pt x="414324" y="83845"/>
                </a:lnTo>
                <a:close/>
              </a:path>
              <a:path w="414654" h="412750">
                <a:moveTo>
                  <a:pt x="129476" y="83845"/>
                </a:moveTo>
                <a:lnTo>
                  <a:pt x="51790" y="83845"/>
                </a:lnTo>
                <a:lnTo>
                  <a:pt x="56494" y="97043"/>
                </a:lnTo>
                <a:lnTo>
                  <a:pt x="65141" y="107221"/>
                </a:lnTo>
                <a:lnTo>
                  <a:pt x="76822" y="113772"/>
                </a:lnTo>
                <a:lnTo>
                  <a:pt x="90627" y="116090"/>
                </a:lnTo>
                <a:lnTo>
                  <a:pt x="104439" y="113772"/>
                </a:lnTo>
                <a:lnTo>
                  <a:pt x="116124" y="107221"/>
                </a:lnTo>
                <a:lnTo>
                  <a:pt x="124772" y="97043"/>
                </a:lnTo>
                <a:lnTo>
                  <a:pt x="129476" y="83845"/>
                </a:lnTo>
                <a:close/>
              </a:path>
              <a:path w="414654" h="412750">
                <a:moveTo>
                  <a:pt x="207162" y="83845"/>
                </a:moveTo>
                <a:lnTo>
                  <a:pt x="129476" y="83845"/>
                </a:lnTo>
                <a:lnTo>
                  <a:pt x="134180" y="97043"/>
                </a:lnTo>
                <a:lnTo>
                  <a:pt x="142827" y="107221"/>
                </a:lnTo>
                <a:lnTo>
                  <a:pt x="154508" y="113772"/>
                </a:lnTo>
                <a:lnTo>
                  <a:pt x="168313" y="116090"/>
                </a:lnTo>
                <a:lnTo>
                  <a:pt x="182125" y="113772"/>
                </a:lnTo>
                <a:lnTo>
                  <a:pt x="193809" y="107221"/>
                </a:lnTo>
                <a:lnTo>
                  <a:pt x="202458" y="97043"/>
                </a:lnTo>
                <a:lnTo>
                  <a:pt x="207162" y="83845"/>
                </a:lnTo>
                <a:close/>
              </a:path>
              <a:path w="414654" h="412750">
                <a:moveTo>
                  <a:pt x="90627" y="38696"/>
                </a:moveTo>
                <a:lnTo>
                  <a:pt x="76822" y="41015"/>
                </a:lnTo>
                <a:lnTo>
                  <a:pt x="65141" y="47566"/>
                </a:lnTo>
                <a:lnTo>
                  <a:pt x="56494" y="57743"/>
                </a:lnTo>
                <a:lnTo>
                  <a:pt x="51790" y="70942"/>
                </a:lnTo>
                <a:lnTo>
                  <a:pt x="129476" y="70942"/>
                </a:lnTo>
                <a:lnTo>
                  <a:pt x="124772" y="57743"/>
                </a:lnTo>
                <a:lnTo>
                  <a:pt x="116124" y="47566"/>
                </a:lnTo>
                <a:lnTo>
                  <a:pt x="104439" y="41015"/>
                </a:lnTo>
                <a:lnTo>
                  <a:pt x="90627" y="38696"/>
                </a:lnTo>
                <a:close/>
              </a:path>
              <a:path w="414654" h="412750">
                <a:moveTo>
                  <a:pt x="168313" y="38696"/>
                </a:moveTo>
                <a:lnTo>
                  <a:pt x="154508" y="41015"/>
                </a:lnTo>
                <a:lnTo>
                  <a:pt x="142827" y="47566"/>
                </a:lnTo>
                <a:lnTo>
                  <a:pt x="134180" y="57743"/>
                </a:lnTo>
                <a:lnTo>
                  <a:pt x="129476" y="70942"/>
                </a:lnTo>
                <a:lnTo>
                  <a:pt x="207162" y="70942"/>
                </a:lnTo>
                <a:lnTo>
                  <a:pt x="202458" y="57743"/>
                </a:lnTo>
                <a:lnTo>
                  <a:pt x="193809" y="47566"/>
                </a:lnTo>
                <a:lnTo>
                  <a:pt x="182125" y="41015"/>
                </a:lnTo>
                <a:lnTo>
                  <a:pt x="168313" y="38696"/>
                </a:lnTo>
                <a:close/>
              </a:path>
              <a:path w="414654" h="412750">
                <a:moveTo>
                  <a:pt x="414324" y="0"/>
                </a:moveTo>
                <a:lnTo>
                  <a:pt x="388429" y="0"/>
                </a:lnTo>
                <a:lnTo>
                  <a:pt x="388429" y="70942"/>
                </a:lnTo>
                <a:lnTo>
                  <a:pt x="414324" y="70942"/>
                </a:lnTo>
                <a:lnTo>
                  <a:pt x="414324" y="0"/>
                </a:lnTo>
                <a:close/>
              </a:path>
            </a:pathLst>
          </a:custGeom>
          <a:solidFill>
            <a:srgbClr val="FFFFFF"/>
          </a:solidFill>
        </p:spPr>
        <p:txBody>
          <a:bodyPr wrap="square" lIns="0" tIns="0" rIns="0" bIns="0" rtlCol="0"/>
          <a:lstStyle/>
          <a:p>
            <a:endParaRPr/>
          </a:p>
        </p:txBody>
      </p:sp>
      <p:sp>
        <p:nvSpPr>
          <p:cNvPr id="265" name="object 201">
            <a:extLst>
              <a:ext uri="{FF2B5EF4-FFF2-40B4-BE49-F238E27FC236}">
                <a16:creationId xmlns:a16="http://schemas.microsoft.com/office/drawing/2014/main" id="{40A718D1-4158-9825-4242-5AECEA5BD3F6}"/>
              </a:ext>
            </a:extLst>
          </p:cNvPr>
          <p:cNvSpPr/>
          <p:nvPr/>
        </p:nvSpPr>
        <p:spPr>
          <a:xfrm>
            <a:off x="6963431" y="1418557"/>
            <a:ext cx="159392" cy="278189"/>
          </a:xfrm>
          <a:custGeom>
            <a:avLst/>
            <a:gdLst/>
            <a:ahLst/>
            <a:cxnLst/>
            <a:rect l="l" t="t" r="r" b="b"/>
            <a:pathLst>
              <a:path w="236854" h="413385">
                <a:moveTo>
                  <a:pt x="171450" y="322262"/>
                </a:moveTo>
                <a:lnTo>
                  <a:pt x="66675" y="322262"/>
                </a:lnTo>
                <a:lnTo>
                  <a:pt x="66675" y="347662"/>
                </a:lnTo>
                <a:lnTo>
                  <a:pt x="171450" y="347662"/>
                </a:lnTo>
                <a:lnTo>
                  <a:pt x="171450" y="322262"/>
                </a:lnTo>
                <a:close/>
              </a:path>
              <a:path w="236854" h="413385">
                <a:moveTo>
                  <a:pt x="171450" y="128587"/>
                </a:moveTo>
                <a:lnTo>
                  <a:pt x="131762" y="128587"/>
                </a:lnTo>
                <a:lnTo>
                  <a:pt x="131762" y="90487"/>
                </a:lnTo>
                <a:lnTo>
                  <a:pt x="104775" y="90487"/>
                </a:lnTo>
                <a:lnTo>
                  <a:pt x="104775" y="128587"/>
                </a:lnTo>
                <a:lnTo>
                  <a:pt x="66675" y="128587"/>
                </a:lnTo>
                <a:lnTo>
                  <a:pt x="66675" y="153987"/>
                </a:lnTo>
                <a:lnTo>
                  <a:pt x="104775" y="153987"/>
                </a:lnTo>
                <a:lnTo>
                  <a:pt x="104775" y="193675"/>
                </a:lnTo>
                <a:lnTo>
                  <a:pt x="131762" y="193675"/>
                </a:lnTo>
                <a:lnTo>
                  <a:pt x="131762" y="153987"/>
                </a:lnTo>
                <a:lnTo>
                  <a:pt x="171450" y="153987"/>
                </a:lnTo>
                <a:lnTo>
                  <a:pt x="171450" y="128587"/>
                </a:lnTo>
                <a:close/>
              </a:path>
              <a:path w="236854" h="413385">
                <a:moveTo>
                  <a:pt x="171450" y="0"/>
                </a:moveTo>
                <a:lnTo>
                  <a:pt x="66675" y="0"/>
                </a:lnTo>
                <a:lnTo>
                  <a:pt x="66675" y="38100"/>
                </a:lnTo>
                <a:lnTo>
                  <a:pt x="171450" y="38100"/>
                </a:lnTo>
                <a:lnTo>
                  <a:pt x="171450" y="0"/>
                </a:lnTo>
                <a:close/>
              </a:path>
              <a:path w="236854" h="413385">
                <a:moveTo>
                  <a:pt x="236537" y="38646"/>
                </a:moveTo>
                <a:lnTo>
                  <a:pt x="0" y="38646"/>
                </a:lnTo>
                <a:lnTo>
                  <a:pt x="0" y="65316"/>
                </a:lnTo>
                <a:lnTo>
                  <a:pt x="0" y="387896"/>
                </a:lnTo>
                <a:lnTo>
                  <a:pt x="0" y="413296"/>
                </a:lnTo>
                <a:lnTo>
                  <a:pt x="236537" y="413296"/>
                </a:lnTo>
                <a:lnTo>
                  <a:pt x="236537" y="387896"/>
                </a:lnTo>
                <a:lnTo>
                  <a:pt x="26987" y="387896"/>
                </a:lnTo>
                <a:lnTo>
                  <a:pt x="26987" y="65316"/>
                </a:lnTo>
                <a:lnTo>
                  <a:pt x="211137" y="65316"/>
                </a:lnTo>
                <a:lnTo>
                  <a:pt x="211137" y="387350"/>
                </a:lnTo>
                <a:lnTo>
                  <a:pt x="236537" y="387350"/>
                </a:lnTo>
                <a:lnTo>
                  <a:pt x="236537" y="65316"/>
                </a:lnTo>
                <a:lnTo>
                  <a:pt x="236537" y="65087"/>
                </a:lnTo>
                <a:lnTo>
                  <a:pt x="236537" y="38646"/>
                </a:lnTo>
                <a:close/>
              </a:path>
            </a:pathLst>
          </a:custGeom>
          <a:solidFill>
            <a:srgbClr val="FFFFFF"/>
          </a:solidFill>
        </p:spPr>
        <p:txBody>
          <a:bodyPr wrap="square" lIns="0" tIns="0" rIns="0" bIns="0" rtlCol="0"/>
          <a:lstStyle/>
          <a:p>
            <a:endParaRPr/>
          </a:p>
        </p:txBody>
      </p:sp>
      <p:sp>
        <p:nvSpPr>
          <p:cNvPr id="266" name="object 202">
            <a:extLst>
              <a:ext uri="{FF2B5EF4-FFF2-40B4-BE49-F238E27FC236}">
                <a16:creationId xmlns:a16="http://schemas.microsoft.com/office/drawing/2014/main" id="{EC42BFE8-A138-414A-841B-9DCE3F0EA4F2}"/>
              </a:ext>
            </a:extLst>
          </p:cNvPr>
          <p:cNvSpPr/>
          <p:nvPr/>
        </p:nvSpPr>
        <p:spPr>
          <a:xfrm>
            <a:off x="7633138" y="1497647"/>
            <a:ext cx="273489" cy="119652"/>
          </a:xfrm>
          <a:custGeom>
            <a:avLst/>
            <a:gdLst/>
            <a:ahLst/>
            <a:cxnLst/>
            <a:rect l="l" t="t" r="r" b="b"/>
            <a:pathLst>
              <a:path w="406400" h="177800">
                <a:moveTo>
                  <a:pt x="406196" y="88988"/>
                </a:moveTo>
                <a:lnTo>
                  <a:pt x="342722" y="88988"/>
                </a:lnTo>
                <a:lnTo>
                  <a:pt x="342722" y="114414"/>
                </a:lnTo>
                <a:lnTo>
                  <a:pt x="406196" y="114414"/>
                </a:lnTo>
                <a:lnTo>
                  <a:pt x="406196" y="88988"/>
                </a:lnTo>
                <a:close/>
              </a:path>
              <a:path w="406400" h="177800">
                <a:moveTo>
                  <a:pt x="272694" y="0"/>
                </a:moveTo>
                <a:lnTo>
                  <a:pt x="236740" y="0"/>
                </a:lnTo>
                <a:lnTo>
                  <a:pt x="174358" y="177711"/>
                </a:lnTo>
                <a:lnTo>
                  <a:pt x="204977" y="177711"/>
                </a:lnTo>
                <a:lnTo>
                  <a:pt x="220040" y="132168"/>
                </a:lnTo>
                <a:lnTo>
                  <a:pt x="319779" y="132168"/>
                </a:lnTo>
                <a:lnTo>
                  <a:pt x="311504" y="108940"/>
                </a:lnTo>
                <a:lnTo>
                  <a:pt x="227939" y="108940"/>
                </a:lnTo>
                <a:lnTo>
                  <a:pt x="246481" y="52031"/>
                </a:lnTo>
                <a:lnTo>
                  <a:pt x="250901" y="38798"/>
                </a:lnTo>
                <a:lnTo>
                  <a:pt x="253682" y="27876"/>
                </a:lnTo>
                <a:lnTo>
                  <a:pt x="282625" y="27876"/>
                </a:lnTo>
                <a:lnTo>
                  <a:pt x="272694" y="0"/>
                </a:lnTo>
                <a:close/>
              </a:path>
              <a:path w="406400" h="177800">
                <a:moveTo>
                  <a:pt x="319779" y="132168"/>
                </a:moveTo>
                <a:lnTo>
                  <a:pt x="287070" y="132168"/>
                </a:lnTo>
                <a:lnTo>
                  <a:pt x="302615" y="177711"/>
                </a:lnTo>
                <a:lnTo>
                  <a:pt x="336003" y="177711"/>
                </a:lnTo>
                <a:lnTo>
                  <a:pt x="319779" y="132168"/>
                </a:lnTo>
                <a:close/>
              </a:path>
              <a:path w="406400" h="177800">
                <a:moveTo>
                  <a:pt x="282625" y="27876"/>
                </a:moveTo>
                <a:lnTo>
                  <a:pt x="254152" y="27876"/>
                </a:lnTo>
                <a:lnTo>
                  <a:pt x="256451" y="38569"/>
                </a:lnTo>
                <a:lnTo>
                  <a:pt x="279425" y="108940"/>
                </a:lnTo>
                <a:lnTo>
                  <a:pt x="311504" y="108940"/>
                </a:lnTo>
                <a:lnTo>
                  <a:pt x="282625" y="27876"/>
                </a:lnTo>
                <a:close/>
              </a:path>
              <a:path w="406400" h="177800">
                <a:moveTo>
                  <a:pt x="98336" y="0"/>
                </a:moveTo>
                <a:lnTo>
                  <a:pt x="62382" y="0"/>
                </a:lnTo>
                <a:lnTo>
                  <a:pt x="0" y="177711"/>
                </a:lnTo>
                <a:lnTo>
                  <a:pt x="30606" y="177711"/>
                </a:lnTo>
                <a:lnTo>
                  <a:pt x="45694" y="132168"/>
                </a:lnTo>
                <a:lnTo>
                  <a:pt x="145421" y="132168"/>
                </a:lnTo>
                <a:lnTo>
                  <a:pt x="137146" y="108940"/>
                </a:lnTo>
                <a:lnTo>
                  <a:pt x="53568" y="108940"/>
                </a:lnTo>
                <a:lnTo>
                  <a:pt x="72135" y="52031"/>
                </a:lnTo>
                <a:lnTo>
                  <a:pt x="76530" y="38798"/>
                </a:lnTo>
                <a:lnTo>
                  <a:pt x="79311" y="27876"/>
                </a:lnTo>
                <a:lnTo>
                  <a:pt x="108267" y="27876"/>
                </a:lnTo>
                <a:lnTo>
                  <a:pt x="98336" y="0"/>
                </a:lnTo>
                <a:close/>
              </a:path>
              <a:path w="406400" h="177800">
                <a:moveTo>
                  <a:pt x="145421" y="132168"/>
                </a:moveTo>
                <a:lnTo>
                  <a:pt x="112712" y="132168"/>
                </a:lnTo>
                <a:lnTo>
                  <a:pt x="128244" y="177711"/>
                </a:lnTo>
                <a:lnTo>
                  <a:pt x="161645" y="177711"/>
                </a:lnTo>
                <a:lnTo>
                  <a:pt x="145421" y="132168"/>
                </a:lnTo>
                <a:close/>
              </a:path>
              <a:path w="406400" h="177800">
                <a:moveTo>
                  <a:pt x="108267" y="27876"/>
                </a:moveTo>
                <a:lnTo>
                  <a:pt x="79781" y="27876"/>
                </a:lnTo>
                <a:lnTo>
                  <a:pt x="82105" y="38569"/>
                </a:lnTo>
                <a:lnTo>
                  <a:pt x="86512" y="52031"/>
                </a:lnTo>
                <a:lnTo>
                  <a:pt x="105054" y="108940"/>
                </a:lnTo>
                <a:lnTo>
                  <a:pt x="137146" y="108940"/>
                </a:lnTo>
                <a:lnTo>
                  <a:pt x="108267" y="27876"/>
                </a:lnTo>
                <a:close/>
              </a:path>
            </a:pathLst>
          </a:custGeom>
          <a:solidFill>
            <a:srgbClr val="FFFFFF"/>
          </a:solidFill>
        </p:spPr>
        <p:txBody>
          <a:bodyPr wrap="square" lIns="0" tIns="0" rIns="0" bIns="0" rtlCol="0"/>
          <a:lstStyle/>
          <a:p>
            <a:endParaRPr/>
          </a:p>
        </p:txBody>
      </p:sp>
      <p:sp>
        <p:nvSpPr>
          <p:cNvPr id="267" name="object 203">
            <a:extLst>
              <a:ext uri="{FF2B5EF4-FFF2-40B4-BE49-F238E27FC236}">
                <a16:creationId xmlns:a16="http://schemas.microsoft.com/office/drawing/2014/main" id="{7C8CF7D0-91DB-AD10-4D46-FC84DDE0345C}"/>
              </a:ext>
            </a:extLst>
          </p:cNvPr>
          <p:cNvSpPr/>
          <p:nvPr/>
        </p:nvSpPr>
        <p:spPr>
          <a:xfrm>
            <a:off x="8357185" y="1418558"/>
            <a:ext cx="279045" cy="277763"/>
          </a:xfrm>
          <a:custGeom>
            <a:avLst/>
            <a:gdLst/>
            <a:ahLst/>
            <a:cxnLst/>
            <a:rect l="l" t="t" r="r" b="b"/>
            <a:pathLst>
              <a:path w="414654" h="412750">
                <a:moveTo>
                  <a:pt x="116535" y="361162"/>
                </a:moveTo>
                <a:lnTo>
                  <a:pt x="64744" y="361162"/>
                </a:lnTo>
                <a:lnTo>
                  <a:pt x="64744" y="412750"/>
                </a:lnTo>
                <a:lnTo>
                  <a:pt x="116535" y="412750"/>
                </a:lnTo>
                <a:lnTo>
                  <a:pt x="116535" y="361162"/>
                </a:lnTo>
                <a:close/>
              </a:path>
              <a:path w="414654" h="412750">
                <a:moveTo>
                  <a:pt x="349605" y="361162"/>
                </a:moveTo>
                <a:lnTo>
                  <a:pt x="297815" y="361162"/>
                </a:lnTo>
                <a:lnTo>
                  <a:pt x="297815" y="412750"/>
                </a:lnTo>
                <a:lnTo>
                  <a:pt x="349605" y="412750"/>
                </a:lnTo>
                <a:lnTo>
                  <a:pt x="349605" y="361162"/>
                </a:lnTo>
                <a:close/>
              </a:path>
              <a:path w="414654" h="412750">
                <a:moveTo>
                  <a:pt x="388454" y="0"/>
                </a:moveTo>
                <a:lnTo>
                  <a:pt x="25908" y="0"/>
                </a:lnTo>
                <a:lnTo>
                  <a:pt x="25908" y="103187"/>
                </a:lnTo>
                <a:lnTo>
                  <a:pt x="0" y="103187"/>
                </a:lnTo>
                <a:lnTo>
                  <a:pt x="0" y="180581"/>
                </a:lnTo>
                <a:lnTo>
                  <a:pt x="25908" y="180581"/>
                </a:lnTo>
                <a:lnTo>
                  <a:pt x="25908" y="361162"/>
                </a:lnTo>
                <a:lnTo>
                  <a:pt x="388454" y="361162"/>
                </a:lnTo>
                <a:lnTo>
                  <a:pt x="388454" y="335356"/>
                </a:lnTo>
                <a:lnTo>
                  <a:pt x="51790" y="335356"/>
                </a:lnTo>
                <a:lnTo>
                  <a:pt x="51790" y="25793"/>
                </a:lnTo>
                <a:lnTo>
                  <a:pt x="388454" y="25793"/>
                </a:lnTo>
                <a:lnTo>
                  <a:pt x="388454" y="0"/>
                </a:lnTo>
                <a:close/>
              </a:path>
              <a:path w="414654" h="412750">
                <a:moveTo>
                  <a:pt x="388454" y="25793"/>
                </a:moveTo>
                <a:lnTo>
                  <a:pt x="362546" y="25793"/>
                </a:lnTo>
                <a:lnTo>
                  <a:pt x="362546" y="335356"/>
                </a:lnTo>
                <a:lnTo>
                  <a:pt x="388454" y="335356"/>
                </a:lnTo>
                <a:lnTo>
                  <a:pt x="388454" y="180581"/>
                </a:lnTo>
                <a:lnTo>
                  <a:pt x="414350" y="180581"/>
                </a:lnTo>
                <a:lnTo>
                  <a:pt x="414350" y="103187"/>
                </a:lnTo>
                <a:lnTo>
                  <a:pt x="388454" y="103187"/>
                </a:lnTo>
                <a:lnTo>
                  <a:pt x="388454" y="25793"/>
                </a:lnTo>
                <a:close/>
              </a:path>
              <a:path w="414654" h="412750">
                <a:moveTo>
                  <a:pt x="103593" y="257975"/>
                </a:moveTo>
                <a:lnTo>
                  <a:pt x="94082" y="260190"/>
                </a:lnTo>
                <a:lnTo>
                  <a:pt x="85788" y="266033"/>
                </a:lnTo>
                <a:lnTo>
                  <a:pt x="79923" y="274294"/>
                </a:lnTo>
                <a:lnTo>
                  <a:pt x="77698" y="283768"/>
                </a:lnTo>
                <a:lnTo>
                  <a:pt x="79923" y="293237"/>
                </a:lnTo>
                <a:lnTo>
                  <a:pt x="85788" y="301499"/>
                </a:lnTo>
                <a:lnTo>
                  <a:pt x="94082" y="307344"/>
                </a:lnTo>
                <a:lnTo>
                  <a:pt x="103593" y="309562"/>
                </a:lnTo>
                <a:lnTo>
                  <a:pt x="113099" y="307344"/>
                </a:lnTo>
                <a:lnTo>
                  <a:pt x="121394" y="301499"/>
                </a:lnTo>
                <a:lnTo>
                  <a:pt x="127262" y="293237"/>
                </a:lnTo>
                <a:lnTo>
                  <a:pt x="129489" y="283768"/>
                </a:lnTo>
                <a:lnTo>
                  <a:pt x="127262" y="274294"/>
                </a:lnTo>
                <a:lnTo>
                  <a:pt x="121394" y="266033"/>
                </a:lnTo>
                <a:lnTo>
                  <a:pt x="113099" y="260190"/>
                </a:lnTo>
                <a:lnTo>
                  <a:pt x="103593" y="257975"/>
                </a:lnTo>
                <a:close/>
              </a:path>
              <a:path w="414654" h="412750">
                <a:moveTo>
                  <a:pt x="310756" y="257975"/>
                </a:moveTo>
                <a:lnTo>
                  <a:pt x="301250" y="260190"/>
                </a:lnTo>
                <a:lnTo>
                  <a:pt x="292955" y="266033"/>
                </a:lnTo>
                <a:lnTo>
                  <a:pt x="287087" y="274294"/>
                </a:lnTo>
                <a:lnTo>
                  <a:pt x="284861" y="283768"/>
                </a:lnTo>
                <a:lnTo>
                  <a:pt x="287087" y="293237"/>
                </a:lnTo>
                <a:lnTo>
                  <a:pt x="292955" y="301499"/>
                </a:lnTo>
                <a:lnTo>
                  <a:pt x="301250" y="307344"/>
                </a:lnTo>
                <a:lnTo>
                  <a:pt x="310756" y="309562"/>
                </a:lnTo>
                <a:lnTo>
                  <a:pt x="320267" y="307344"/>
                </a:lnTo>
                <a:lnTo>
                  <a:pt x="328561" y="301499"/>
                </a:lnTo>
                <a:lnTo>
                  <a:pt x="334427" y="293237"/>
                </a:lnTo>
                <a:lnTo>
                  <a:pt x="336651" y="283768"/>
                </a:lnTo>
                <a:lnTo>
                  <a:pt x="334427" y="274294"/>
                </a:lnTo>
                <a:lnTo>
                  <a:pt x="328561" y="266033"/>
                </a:lnTo>
                <a:lnTo>
                  <a:pt x="320267" y="260190"/>
                </a:lnTo>
                <a:lnTo>
                  <a:pt x="310756" y="257975"/>
                </a:lnTo>
                <a:close/>
              </a:path>
              <a:path w="414654" h="412750">
                <a:moveTo>
                  <a:pt x="336651" y="51600"/>
                </a:moveTo>
                <a:lnTo>
                  <a:pt x="77685" y="51600"/>
                </a:lnTo>
                <a:lnTo>
                  <a:pt x="77685" y="180581"/>
                </a:lnTo>
                <a:lnTo>
                  <a:pt x="336651" y="180581"/>
                </a:lnTo>
                <a:lnTo>
                  <a:pt x="336651" y="51600"/>
                </a:lnTo>
                <a:close/>
              </a:path>
            </a:pathLst>
          </a:custGeom>
          <a:solidFill>
            <a:srgbClr val="FFFFFF"/>
          </a:solidFill>
        </p:spPr>
        <p:txBody>
          <a:bodyPr wrap="square" lIns="0" tIns="0" rIns="0" bIns="0" rtlCol="0"/>
          <a:lstStyle/>
          <a:p>
            <a:endParaRPr/>
          </a:p>
        </p:txBody>
      </p:sp>
      <p:sp>
        <p:nvSpPr>
          <p:cNvPr id="268" name="object 204">
            <a:extLst>
              <a:ext uri="{FF2B5EF4-FFF2-40B4-BE49-F238E27FC236}">
                <a16:creationId xmlns:a16="http://schemas.microsoft.com/office/drawing/2014/main" id="{0DA9FB85-AE63-7A0E-325F-F8BEEA9D9174}"/>
              </a:ext>
            </a:extLst>
          </p:cNvPr>
          <p:cNvSpPr/>
          <p:nvPr/>
        </p:nvSpPr>
        <p:spPr>
          <a:xfrm>
            <a:off x="6177341" y="2144821"/>
            <a:ext cx="277763" cy="279045"/>
          </a:xfrm>
          <a:custGeom>
            <a:avLst/>
            <a:gdLst/>
            <a:ahLst/>
            <a:cxnLst/>
            <a:rect l="l" t="t" r="r" b="b"/>
            <a:pathLst>
              <a:path w="412750" h="414654">
                <a:moveTo>
                  <a:pt x="206374" y="0"/>
                </a:moveTo>
                <a:lnTo>
                  <a:pt x="159409" y="5529"/>
                </a:lnTo>
                <a:lnTo>
                  <a:pt x="116108" y="21251"/>
                </a:lnTo>
                <a:lnTo>
                  <a:pt x="77770" y="45862"/>
                </a:lnTo>
                <a:lnTo>
                  <a:pt x="45692" y="78061"/>
                </a:lnTo>
                <a:lnTo>
                  <a:pt x="21173" y="116545"/>
                </a:lnTo>
                <a:lnTo>
                  <a:pt x="5509" y="160013"/>
                </a:lnTo>
                <a:lnTo>
                  <a:pt x="0" y="207162"/>
                </a:lnTo>
                <a:lnTo>
                  <a:pt x="5509" y="254311"/>
                </a:lnTo>
                <a:lnTo>
                  <a:pt x="21187" y="297802"/>
                </a:lnTo>
                <a:lnTo>
                  <a:pt x="45692" y="336263"/>
                </a:lnTo>
                <a:lnTo>
                  <a:pt x="77770" y="368462"/>
                </a:lnTo>
                <a:lnTo>
                  <a:pt x="116108" y="393073"/>
                </a:lnTo>
                <a:lnTo>
                  <a:pt x="159409" y="408794"/>
                </a:lnTo>
                <a:lnTo>
                  <a:pt x="206374" y="414324"/>
                </a:lnTo>
                <a:lnTo>
                  <a:pt x="253344" y="408794"/>
                </a:lnTo>
                <a:lnTo>
                  <a:pt x="296646" y="393073"/>
                </a:lnTo>
                <a:lnTo>
                  <a:pt x="303880" y="388429"/>
                </a:lnTo>
                <a:lnTo>
                  <a:pt x="206374" y="388429"/>
                </a:lnTo>
                <a:lnTo>
                  <a:pt x="170807" y="384889"/>
                </a:lnTo>
                <a:lnTo>
                  <a:pt x="105710" y="358388"/>
                </a:lnTo>
                <a:lnTo>
                  <a:pt x="55729" y="308217"/>
                </a:lnTo>
                <a:lnTo>
                  <a:pt x="29332" y="242870"/>
                </a:lnTo>
                <a:lnTo>
                  <a:pt x="25806" y="207162"/>
                </a:lnTo>
                <a:lnTo>
                  <a:pt x="29332" y="171454"/>
                </a:lnTo>
                <a:lnTo>
                  <a:pt x="55729" y="106106"/>
                </a:lnTo>
                <a:lnTo>
                  <a:pt x="105710" y="55934"/>
                </a:lnTo>
                <a:lnTo>
                  <a:pt x="170807" y="29424"/>
                </a:lnTo>
                <a:lnTo>
                  <a:pt x="206374" y="25882"/>
                </a:lnTo>
                <a:lnTo>
                  <a:pt x="303861" y="25882"/>
                </a:lnTo>
                <a:lnTo>
                  <a:pt x="296646" y="21251"/>
                </a:lnTo>
                <a:lnTo>
                  <a:pt x="253344" y="5529"/>
                </a:lnTo>
                <a:lnTo>
                  <a:pt x="206374" y="0"/>
                </a:lnTo>
                <a:close/>
              </a:path>
              <a:path w="412750" h="414654">
                <a:moveTo>
                  <a:pt x="303861" y="25882"/>
                </a:moveTo>
                <a:lnTo>
                  <a:pt x="206374" y="25882"/>
                </a:lnTo>
                <a:lnTo>
                  <a:pt x="241950" y="29424"/>
                </a:lnTo>
                <a:lnTo>
                  <a:pt x="275710" y="39644"/>
                </a:lnTo>
                <a:lnTo>
                  <a:pt x="335368" y="77685"/>
                </a:lnTo>
                <a:lnTo>
                  <a:pt x="373254" y="137566"/>
                </a:lnTo>
                <a:lnTo>
                  <a:pt x="386956" y="207162"/>
                </a:lnTo>
                <a:lnTo>
                  <a:pt x="383430" y="242870"/>
                </a:lnTo>
                <a:lnTo>
                  <a:pt x="357032" y="308217"/>
                </a:lnTo>
                <a:lnTo>
                  <a:pt x="307051" y="358388"/>
                </a:lnTo>
                <a:lnTo>
                  <a:pt x="241950" y="384889"/>
                </a:lnTo>
                <a:lnTo>
                  <a:pt x="206374" y="388429"/>
                </a:lnTo>
                <a:lnTo>
                  <a:pt x="303880" y="388429"/>
                </a:lnTo>
                <a:lnTo>
                  <a:pt x="367061" y="336263"/>
                </a:lnTo>
                <a:lnTo>
                  <a:pt x="391579" y="297779"/>
                </a:lnTo>
                <a:lnTo>
                  <a:pt x="407241" y="254311"/>
                </a:lnTo>
                <a:lnTo>
                  <a:pt x="412749" y="207162"/>
                </a:lnTo>
                <a:lnTo>
                  <a:pt x="407241" y="160013"/>
                </a:lnTo>
                <a:lnTo>
                  <a:pt x="391579" y="116545"/>
                </a:lnTo>
                <a:lnTo>
                  <a:pt x="367061" y="78061"/>
                </a:lnTo>
                <a:lnTo>
                  <a:pt x="334984" y="45862"/>
                </a:lnTo>
                <a:lnTo>
                  <a:pt x="303861" y="25882"/>
                </a:lnTo>
                <a:close/>
              </a:path>
              <a:path w="412750" h="414654">
                <a:moveTo>
                  <a:pt x="219278" y="90627"/>
                </a:moveTo>
                <a:lnTo>
                  <a:pt x="193484" y="90627"/>
                </a:lnTo>
                <a:lnTo>
                  <a:pt x="193484" y="220103"/>
                </a:lnTo>
                <a:lnTo>
                  <a:pt x="293446" y="320459"/>
                </a:lnTo>
                <a:lnTo>
                  <a:pt x="309562" y="297802"/>
                </a:lnTo>
                <a:lnTo>
                  <a:pt x="219278" y="207162"/>
                </a:lnTo>
                <a:lnTo>
                  <a:pt x="219278" y="90627"/>
                </a:lnTo>
                <a:close/>
              </a:path>
            </a:pathLst>
          </a:custGeom>
          <a:solidFill>
            <a:srgbClr val="FFFFFF"/>
          </a:solidFill>
        </p:spPr>
        <p:txBody>
          <a:bodyPr wrap="square" lIns="0" tIns="0" rIns="0" bIns="0" rtlCol="0"/>
          <a:lstStyle/>
          <a:p>
            <a:endParaRPr/>
          </a:p>
        </p:txBody>
      </p:sp>
      <p:sp>
        <p:nvSpPr>
          <p:cNvPr id="269" name="object 205">
            <a:extLst>
              <a:ext uri="{FF2B5EF4-FFF2-40B4-BE49-F238E27FC236}">
                <a16:creationId xmlns:a16="http://schemas.microsoft.com/office/drawing/2014/main" id="{6F5D6363-C55E-AB29-8802-E0480F04796D}"/>
              </a:ext>
            </a:extLst>
          </p:cNvPr>
          <p:cNvSpPr/>
          <p:nvPr/>
        </p:nvSpPr>
        <p:spPr>
          <a:xfrm>
            <a:off x="6903605" y="2153363"/>
            <a:ext cx="279045" cy="261952"/>
          </a:xfrm>
          <a:custGeom>
            <a:avLst/>
            <a:gdLst/>
            <a:ahLst/>
            <a:cxnLst/>
            <a:rect l="l" t="t" r="r" b="b"/>
            <a:pathLst>
              <a:path w="414654" h="389254">
                <a:moveTo>
                  <a:pt x="361950" y="285750"/>
                </a:moveTo>
                <a:lnTo>
                  <a:pt x="258762" y="285750"/>
                </a:lnTo>
                <a:lnTo>
                  <a:pt x="361950" y="388937"/>
                </a:lnTo>
                <a:lnTo>
                  <a:pt x="361950" y="285750"/>
                </a:lnTo>
                <a:close/>
              </a:path>
              <a:path w="414654" h="389254">
                <a:moveTo>
                  <a:pt x="414337" y="0"/>
                </a:moveTo>
                <a:lnTo>
                  <a:pt x="0" y="0"/>
                </a:lnTo>
                <a:lnTo>
                  <a:pt x="0" y="285750"/>
                </a:lnTo>
                <a:lnTo>
                  <a:pt x="414337" y="285750"/>
                </a:lnTo>
                <a:lnTo>
                  <a:pt x="414337" y="258762"/>
                </a:lnTo>
                <a:lnTo>
                  <a:pt x="25400" y="258762"/>
                </a:lnTo>
                <a:lnTo>
                  <a:pt x="25400" y="25400"/>
                </a:lnTo>
                <a:lnTo>
                  <a:pt x="414337" y="25400"/>
                </a:lnTo>
                <a:lnTo>
                  <a:pt x="414337" y="0"/>
                </a:lnTo>
                <a:close/>
              </a:path>
              <a:path w="414654" h="389254">
                <a:moveTo>
                  <a:pt x="414337" y="25400"/>
                </a:moveTo>
                <a:lnTo>
                  <a:pt x="388937" y="25400"/>
                </a:lnTo>
                <a:lnTo>
                  <a:pt x="388937" y="258762"/>
                </a:lnTo>
                <a:lnTo>
                  <a:pt x="414337" y="258762"/>
                </a:lnTo>
                <a:lnTo>
                  <a:pt x="414337" y="25400"/>
                </a:lnTo>
                <a:close/>
              </a:path>
              <a:path w="414654" h="389254">
                <a:moveTo>
                  <a:pt x="336550" y="180975"/>
                </a:moveTo>
                <a:lnTo>
                  <a:pt x="77787" y="180975"/>
                </a:lnTo>
                <a:lnTo>
                  <a:pt x="77787" y="207962"/>
                </a:lnTo>
                <a:lnTo>
                  <a:pt x="336550" y="207962"/>
                </a:lnTo>
                <a:lnTo>
                  <a:pt x="336550" y="180975"/>
                </a:lnTo>
                <a:close/>
              </a:path>
              <a:path w="414654" h="389254">
                <a:moveTo>
                  <a:pt x="336550" y="130175"/>
                </a:moveTo>
                <a:lnTo>
                  <a:pt x="77787" y="130175"/>
                </a:lnTo>
                <a:lnTo>
                  <a:pt x="77787" y="155575"/>
                </a:lnTo>
                <a:lnTo>
                  <a:pt x="336550" y="155575"/>
                </a:lnTo>
                <a:lnTo>
                  <a:pt x="336550" y="130175"/>
                </a:lnTo>
                <a:close/>
              </a:path>
              <a:path w="414654" h="389254">
                <a:moveTo>
                  <a:pt x="336550" y="77787"/>
                </a:moveTo>
                <a:lnTo>
                  <a:pt x="77787" y="77787"/>
                </a:lnTo>
                <a:lnTo>
                  <a:pt x="77787" y="103187"/>
                </a:lnTo>
                <a:lnTo>
                  <a:pt x="336550" y="103187"/>
                </a:lnTo>
                <a:lnTo>
                  <a:pt x="336550" y="77787"/>
                </a:lnTo>
                <a:close/>
              </a:path>
            </a:pathLst>
          </a:custGeom>
          <a:solidFill>
            <a:srgbClr val="FFFFFF"/>
          </a:solidFill>
        </p:spPr>
        <p:txBody>
          <a:bodyPr wrap="square" lIns="0" tIns="0" rIns="0" bIns="0" rtlCol="0"/>
          <a:lstStyle/>
          <a:p>
            <a:endParaRPr/>
          </a:p>
        </p:txBody>
      </p:sp>
      <p:sp>
        <p:nvSpPr>
          <p:cNvPr id="270" name="object 206">
            <a:extLst>
              <a:ext uri="{FF2B5EF4-FFF2-40B4-BE49-F238E27FC236}">
                <a16:creationId xmlns:a16="http://schemas.microsoft.com/office/drawing/2014/main" id="{B0694614-C5F1-132B-A098-872A0C041D23}"/>
              </a:ext>
            </a:extLst>
          </p:cNvPr>
          <p:cNvSpPr/>
          <p:nvPr/>
        </p:nvSpPr>
        <p:spPr>
          <a:xfrm>
            <a:off x="7630932" y="2179002"/>
            <a:ext cx="277763" cy="210672"/>
          </a:xfrm>
          <a:custGeom>
            <a:avLst/>
            <a:gdLst/>
            <a:ahLst/>
            <a:cxnLst/>
            <a:rect l="l" t="t" r="r" b="b"/>
            <a:pathLst>
              <a:path w="412750" h="313054">
                <a:moveTo>
                  <a:pt x="174129" y="0"/>
                </a:moveTo>
                <a:lnTo>
                  <a:pt x="126414" y="9722"/>
                </a:lnTo>
                <a:lnTo>
                  <a:pt x="87464" y="36244"/>
                </a:lnTo>
                <a:lnTo>
                  <a:pt x="61212" y="75593"/>
                </a:lnTo>
                <a:lnTo>
                  <a:pt x="51587" y="123799"/>
                </a:lnTo>
                <a:lnTo>
                  <a:pt x="51587" y="140080"/>
                </a:lnTo>
                <a:lnTo>
                  <a:pt x="31284" y="153263"/>
                </a:lnTo>
                <a:lnTo>
                  <a:pt x="14911" y="172250"/>
                </a:lnTo>
                <a:lnTo>
                  <a:pt x="3979" y="195512"/>
                </a:lnTo>
                <a:lnTo>
                  <a:pt x="0" y="221526"/>
                </a:lnTo>
                <a:lnTo>
                  <a:pt x="6751" y="255932"/>
                </a:lnTo>
                <a:lnTo>
                  <a:pt x="24990" y="284233"/>
                </a:lnTo>
                <a:lnTo>
                  <a:pt x="51692" y="303984"/>
                </a:lnTo>
                <a:lnTo>
                  <a:pt x="83832" y="312737"/>
                </a:lnTo>
                <a:lnTo>
                  <a:pt x="303110" y="312737"/>
                </a:lnTo>
                <a:lnTo>
                  <a:pt x="347448" y="304134"/>
                </a:lnTo>
                <a:lnTo>
                  <a:pt x="373126" y="286677"/>
                </a:lnTo>
                <a:lnTo>
                  <a:pt x="90284" y="286677"/>
                </a:lnTo>
                <a:lnTo>
                  <a:pt x="65243" y="281535"/>
                </a:lnTo>
                <a:lnTo>
                  <a:pt x="44737" y="267536"/>
                </a:lnTo>
                <a:lnTo>
                  <a:pt x="30882" y="246820"/>
                </a:lnTo>
                <a:lnTo>
                  <a:pt x="25793" y="221526"/>
                </a:lnTo>
                <a:lnTo>
                  <a:pt x="28112" y="204624"/>
                </a:lnTo>
                <a:lnTo>
                  <a:pt x="58038" y="166141"/>
                </a:lnTo>
                <a:lnTo>
                  <a:pt x="77086" y="158356"/>
                </a:lnTo>
                <a:lnTo>
                  <a:pt x="83832" y="156375"/>
                </a:lnTo>
                <a:lnTo>
                  <a:pt x="80110" y="148536"/>
                </a:lnTo>
                <a:lnTo>
                  <a:pt x="78198" y="142530"/>
                </a:lnTo>
                <a:lnTo>
                  <a:pt x="77519" y="135556"/>
                </a:lnTo>
                <a:lnTo>
                  <a:pt x="77393" y="123799"/>
                </a:lnTo>
                <a:lnTo>
                  <a:pt x="85252" y="86534"/>
                </a:lnTo>
                <a:lnTo>
                  <a:pt x="106411" y="55379"/>
                </a:lnTo>
                <a:lnTo>
                  <a:pt x="137245" y="34000"/>
                </a:lnTo>
                <a:lnTo>
                  <a:pt x="174129" y="26060"/>
                </a:lnTo>
                <a:lnTo>
                  <a:pt x="251243" y="26060"/>
                </a:lnTo>
                <a:lnTo>
                  <a:pt x="223153" y="8754"/>
                </a:lnTo>
                <a:lnTo>
                  <a:pt x="174129" y="0"/>
                </a:lnTo>
                <a:close/>
              </a:path>
              <a:path w="412750" h="313054">
                <a:moveTo>
                  <a:pt x="373831" y="117271"/>
                </a:moveTo>
                <a:lnTo>
                  <a:pt x="303110" y="117271"/>
                </a:lnTo>
                <a:lnTo>
                  <a:pt x="316208" y="118546"/>
                </a:lnTo>
                <a:lnTo>
                  <a:pt x="330517" y="122570"/>
                </a:lnTo>
                <a:lnTo>
                  <a:pt x="370625" y="152962"/>
                </a:lnTo>
                <a:lnTo>
                  <a:pt x="386956" y="201980"/>
                </a:lnTo>
                <a:lnTo>
                  <a:pt x="379297" y="237203"/>
                </a:lnTo>
                <a:lnTo>
                  <a:pt x="359544" y="263874"/>
                </a:lnTo>
                <a:lnTo>
                  <a:pt x="332536" y="280772"/>
                </a:lnTo>
                <a:lnTo>
                  <a:pt x="303110" y="286677"/>
                </a:lnTo>
                <a:lnTo>
                  <a:pt x="373126" y="286677"/>
                </a:lnTo>
                <a:lnTo>
                  <a:pt x="382114" y="280566"/>
                </a:lnTo>
                <a:lnTo>
                  <a:pt x="404687" y="245395"/>
                </a:lnTo>
                <a:lnTo>
                  <a:pt x="412749" y="201980"/>
                </a:lnTo>
                <a:lnTo>
                  <a:pt x="409524" y="173729"/>
                </a:lnTo>
                <a:lnTo>
                  <a:pt x="401461" y="151893"/>
                </a:lnTo>
                <a:lnTo>
                  <a:pt x="390981" y="135556"/>
                </a:lnTo>
                <a:lnTo>
                  <a:pt x="380504" y="123799"/>
                </a:lnTo>
                <a:lnTo>
                  <a:pt x="373831" y="117271"/>
                </a:lnTo>
                <a:close/>
              </a:path>
              <a:path w="412750" h="313054">
                <a:moveTo>
                  <a:pt x="251243" y="26060"/>
                </a:moveTo>
                <a:lnTo>
                  <a:pt x="174129" y="26060"/>
                </a:lnTo>
                <a:lnTo>
                  <a:pt x="204606" y="31303"/>
                </a:lnTo>
                <a:lnTo>
                  <a:pt x="231762" y="46015"/>
                </a:lnTo>
                <a:lnTo>
                  <a:pt x="267639" y="97726"/>
                </a:lnTo>
                <a:lnTo>
                  <a:pt x="270865" y="123799"/>
                </a:lnTo>
                <a:lnTo>
                  <a:pt x="278625" y="121402"/>
                </a:lnTo>
                <a:lnTo>
                  <a:pt x="286988" y="119311"/>
                </a:lnTo>
                <a:lnTo>
                  <a:pt x="295350" y="117832"/>
                </a:lnTo>
                <a:lnTo>
                  <a:pt x="303110" y="117271"/>
                </a:lnTo>
                <a:lnTo>
                  <a:pt x="373831" y="117271"/>
                </a:lnTo>
                <a:lnTo>
                  <a:pt x="367805" y="111376"/>
                </a:lnTo>
                <a:lnTo>
                  <a:pt x="349061" y="100176"/>
                </a:lnTo>
                <a:lnTo>
                  <a:pt x="324270" y="92640"/>
                </a:lnTo>
                <a:lnTo>
                  <a:pt x="293433" y="91211"/>
                </a:lnTo>
                <a:lnTo>
                  <a:pt x="282500" y="60468"/>
                </a:lnTo>
                <a:lnTo>
                  <a:pt x="259175" y="30946"/>
                </a:lnTo>
                <a:lnTo>
                  <a:pt x="251243" y="26060"/>
                </a:lnTo>
                <a:close/>
              </a:path>
            </a:pathLst>
          </a:custGeom>
          <a:solidFill>
            <a:srgbClr val="FFFFFF"/>
          </a:solidFill>
        </p:spPr>
        <p:txBody>
          <a:bodyPr wrap="square" lIns="0" tIns="0" rIns="0" bIns="0" rtlCol="0"/>
          <a:lstStyle/>
          <a:p>
            <a:endParaRPr/>
          </a:p>
        </p:txBody>
      </p:sp>
      <p:sp>
        <p:nvSpPr>
          <p:cNvPr id="271" name="object 207">
            <a:extLst>
              <a:ext uri="{FF2B5EF4-FFF2-40B4-BE49-F238E27FC236}">
                <a16:creationId xmlns:a16="http://schemas.microsoft.com/office/drawing/2014/main" id="{AA672A10-52E3-3D85-BDEF-ED8EF258A0CC}"/>
              </a:ext>
            </a:extLst>
          </p:cNvPr>
          <p:cNvSpPr/>
          <p:nvPr/>
        </p:nvSpPr>
        <p:spPr>
          <a:xfrm>
            <a:off x="6228087" y="2872145"/>
            <a:ext cx="176486" cy="277763"/>
          </a:xfrm>
          <a:custGeom>
            <a:avLst/>
            <a:gdLst/>
            <a:ahLst/>
            <a:cxnLst/>
            <a:rect l="l" t="t" r="r" b="b"/>
            <a:pathLst>
              <a:path w="262254" h="412750">
                <a:moveTo>
                  <a:pt x="92075" y="141287"/>
                </a:moveTo>
                <a:lnTo>
                  <a:pt x="65087" y="141287"/>
                </a:lnTo>
                <a:lnTo>
                  <a:pt x="65087" y="347662"/>
                </a:lnTo>
                <a:lnTo>
                  <a:pt x="92075" y="347662"/>
                </a:lnTo>
                <a:lnTo>
                  <a:pt x="92075" y="141287"/>
                </a:lnTo>
                <a:close/>
              </a:path>
              <a:path w="262254" h="412750">
                <a:moveTo>
                  <a:pt x="144462" y="141287"/>
                </a:moveTo>
                <a:lnTo>
                  <a:pt x="117475" y="141287"/>
                </a:lnTo>
                <a:lnTo>
                  <a:pt x="117475" y="347662"/>
                </a:lnTo>
                <a:lnTo>
                  <a:pt x="144462" y="347662"/>
                </a:lnTo>
                <a:lnTo>
                  <a:pt x="144462" y="141287"/>
                </a:lnTo>
                <a:close/>
              </a:path>
              <a:path w="262254" h="412750">
                <a:moveTo>
                  <a:pt x="196850" y="141287"/>
                </a:moveTo>
                <a:lnTo>
                  <a:pt x="169862" y="141287"/>
                </a:lnTo>
                <a:lnTo>
                  <a:pt x="169862" y="347662"/>
                </a:lnTo>
                <a:lnTo>
                  <a:pt x="196850" y="347662"/>
                </a:lnTo>
                <a:lnTo>
                  <a:pt x="196850" y="141287"/>
                </a:lnTo>
                <a:close/>
              </a:path>
              <a:path w="262254" h="412750">
                <a:moveTo>
                  <a:pt x="261937" y="78282"/>
                </a:moveTo>
                <a:lnTo>
                  <a:pt x="234950" y="78282"/>
                </a:lnTo>
                <a:lnTo>
                  <a:pt x="234950" y="103682"/>
                </a:lnTo>
                <a:lnTo>
                  <a:pt x="234950" y="386892"/>
                </a:lnTo>
                <a:lnTo>
                  <a:pt x="26987" y="386892"/>
                </a:lnTo>
                <a:lnTo>
                  <a:pt x="26987" y="103682"/>
                </a:lnTo>
                <a:lnTo>
                  <a:pt x="234950" y="103682"/>
                </a:lnTo>
                <a:lnTo>
                  <a:pt x="234950" y="78282"/>
                </a:lnTo>
                <a:lnTo>
                  <a:pt x="0" y="78282"/>
                </a:lnTo>
                <a:lnTo>
                  <a:pt x="0" y="103682"/>
                </a:lnTo>
                <a:lnTo>
                  <a:pt x="0" y="386892"/>
                </a:lnTo>
                <a:lnTo>
                  <a:pt x="0" y="412292"/>
                </a:lnTo>
                <a:lnTo>
                  <a:pt x="261937" y="412292"/>
                </a:lnTo>
                <a:lnTo>
                  <a:pt x="261937" y="387350"/>
                </a:lnTo>
                <a:lnTo>
                  <a:pt x="261937" y="386892"/>
                </a:lnTo>
                <a:lnTo>
                  <a:pt x="261937" y="103682"/>
                </a:lnTo>
                <a:lnTo>
                  <a:pt x="261937" y="103187"/>
                </a:lnTo>
                <a:lnTo>
                  <a:pt x="261937" y="78282"/>
                </a:lnTo>
                <a:close/>
              </a:path>
              <a:path w="262254" h="412750">
                <a:moveTo>
                  <a:pt x="261937" y="25412"/>
                </a:moveTo>
                <a:lnTo>
                  <a:pt x="209550" y="25412"/>
                </a:lnTo>
                <a:lnTo>
                  <a:pt x="209550" y="0"/>
                </a:lnTo>
                <a:lnTo>
                  <a:pt x="52387" y="0"/>
                </a:lnTo>
                <a:lnTo>
                  <a:pt x="52387" y="25412"/>
                </a:lnTo>
                <a:lnTo>
                  <a:pt x="0" y="25412"/>
                </a:lnTo>
                <a:lnTo>
                  <a:pt x="0" y="50812"/>
                </a:lnTo>
                <a:lnTo>
                  <a:pt x="261937" y="50812"/>
                </a:lnTo>
                <a:lnTo>
                  <a:pt x="261937" y="25412"/>
                </a:lnTo>
                <a:close/>
              </a:path>
            </a:pathLst>
          </a:custGeom>
          <a:solidFill>
            <a:srgbClr val="FFFFFF"/>
          </a:solidFill>
        </p:spPr>
        <p:txBody>
          <a:bodyPr wrap="square" lIns="0" tIns="0" rIns="0" bIns="0" rtlCol="0"/>
          <a:lstStyle/>
          <a:p>
            <a:endParaRPr/>
          </a:p>
        </p:txBody>
      </p:sp>
      <p:sp>
        <p:nvSpPr>
          <p:cNvPr id="272" name="object 208">
            <a:extLst>
              <a:ext uri="{FF2B5EF4-FFF2-40B4-BE49-F238E27FC236}">
                <a16:creationId xmlns:a16="http://schemas.microsoft.com/office/drawing/2014/main" id="{19243F63-C071-C75F-2F0F-5CCAD4C818D5}"/>
              </a:ext>
            </a:extLst>
          </p:cNvPr>
          <p:cNvSpPr/>
          <p:nvPr/>
        </p:nvSpPr>
        <p:spPr>
          <a:xfrm>
            <a:off x="6926137" y="2894144"/>
            <a:ext cx="234175" cy="234175"/>
          </a:xfrm>
          <a:custGeom>
            <a:avLst/>
            <a:gdLst/>
            <a:ahLst/>
            <a:cxnLst/>
            <a:rect l="l" t="t" r="r" b="b"/>
            <a:pathLst>
              <a:path w="347979" h="347979">
                <a:moveTo>
                  <a:pt x="207365" y="90893"/>
                </a:moveTo>
                <a:lnTo>
                  <a:pt x="140017" y="90893"/>
                </a:lnTo>
                <a:lnTo>
                  <a:pt x="147241" y="93929"/>
                </a:lnTo>
                <a:lnTo>
                  <a:pt x="154863" y="95935"/>
                </a:lnTo>
                <a:lnTo>
                  <a:pt x="162839" y="96939"/>
                </a:lnTo>
                <a:lnTo>
                  <a:pt x="162839" y="141109"/>
                </a:lnTo>
                <a:lnTo>
                  <a:pt x="184556" y="141109"/>
                </a:lnTo>
                <a:lnTo>
                  <a:pt x="184556" y="96939"/>
                </a:lnTo>
                <a:lnTo>
                  <a:pt x="192592" y="95935"/>
                </a:lnTo>
                <a:lnTo>
                  <a:pt x="200232" y="93916"/>
                </a:lnTo>
                <a:lnTo>
                  <a:pt x="207365" y="90893"/>
                </a:lnTo>
                <a:close/>
              </a:path>
              <a:path w="347979" h="347979">
                <a:moveTo>
                  <a:pt x="232448" y="90893"/>
                </a:moveTo>
                <a:lnTo>
                  <a:pt x="207365" y="90893"/>
                </a:lnTo>
                <a:lnTo>
                  <a:pt x="229425" y="129095"/>
                </a:lnTo>
                <a:lnTo>
                  <a:pt x="248234" y="118249"/>
                </a:lnTo>
                <a:lnTo>
                  <a:pt x="232448" y="90893"/>
                </a:lnTo>
                <a:close/>
              </a:path>
              <a:path w="347979" h="347979">
                <a:moveTo>
                  <a:pt x="137090" y="63258"/>
                </a:moveTo>
                <a:lnTo>
                  <a:pt x="104609" y="63258"/>
                </a:lnTo>
                <a:lnTo>
                  <a:pt x="109397" y="69557"/>
                </a:lnTo>
                <a:lnTo>
                  <a:pt x="115019" y="75158"/>
                </a:lnTo>
                <a:lnTo>
                  <a:pt x="121272" y="79921"/>
                </a:lnTo>
                <a:lnTo>
                  <a:pt x="99161" y="118237"/>
                </a:lnTo>
                <a:lnTo>
                  <a:pt x="117957" y="129082"/>
                </a:lnTo>
                <a:lnTo>
                  <a:pt x="140017" y="90893"/>
                </a:lnTo>
                <a:lnTo>
                  <a:pt x="232448" y="90893"/>
                </a:lnTo>
                <a:lnTo>
                  <a:pt x="226123" y="79933"/>
                </a:lnTo>
                <a:lnTo>
                  <a:pt x="231312" y="75984"/>
                </a:lnTo>
                <a:lnTo>
                  <a:pt x="173685" y="75984"/>
                </a:lnTo>
                <a:lnTo>
                  <a:pt x="148355" y="70858"/>
                </a:lnTo>
                <a:lnTo>
                  <a:pt x="137090" y="63258"/>
                </a:lnTo>
                <a:close/>
              </a:path>
              <a:path w="347979" h="347979">
                <a:moveTo>
                  <a:pt x="286204" y="63271"/>
                </a:moveTo>
                <a:lnTo>
                  <a:pt x="242785" y="63271"/>
                </a:lnTo>
                <a:lnTo>
                  <a:pt x="281089" y="85394"/>
                </a:lnTo>
                <a:lnTo>
                  <a:pt x="291947" y="66586"/>
                </a:lnTo>
                <a:lnTo>
                  <a:pt x="286204" y="63271"/>
                </a:lnTo>
                <a:close/>
              </a:path>
              <a:path w="347979" h="347979">
                <a:moveTo>
                  <a:pt x="108623" y="0"/>
                </a:moveTo>
                <a:lnTo>
                  <a:pt x="43421" y="0"/>
                </a:lnTo>
                <a:lnTo>
                  <a:pt x="43421" y="21704"/>
                </a:lnTo>
                <a:lnTo>
                  <a:pt x="87593" y="21717"/>
                </a:lnTo>
                <a:lnTo>
                  <a:pt x="88598" y="29692"/>
                </a:lnTo>
                <a:lnTo>
                  <a:pt x="90607" y="37376"/>
                </a:lnTo>
                <a:lnTo>
                  <a:pt x="93637" y="44526"/>
                </a:lnTo>
                <a:lnTo>
                  <a:pt x="55448" y="66586"/>
                </a:lnTo>
                <a:lnTo>
                  <a:pt x="66306" y="85382"/>
                </a:lnTo>
                <a:lnTo>
                  <a:pt x="104609" y="63258"/>
                </a:lnTo>
                <a:lnTo>
                  <a:pt x="137090" y="63258"/>
                </a:lnTo>
                <a:lnTo>
                  <a:pt x="127647" y="56888"/>
                </a:lnTo>
                <a:lnTo>
                  <a:pt x="113674" y="36180"/>
                </a:lnTo>
                <a:lnTo>
                  <a:pt x="108546" y="10845"/>
                </a:lnTo>
                <a:lnTo>
                  <a:pt x="108623" y="0"/>
                </a:lnTo>
                <a:close/>
              </a:path>
              <a:path w="347979" h="347979">
                <a:moveTo>
                  <a:pt x="303898" y="0"/>
                </a:moveTo>
                <a:lnTo>
                  <a:pt x="238747" y="0"/>
                </a:lnTo>
                <a:lnTo>
                  <a:pt x="238747" y="10845"/>
                </a:lnTo>
                <a:lnTo>
                  <a:pt x="233698" y="36180"/>
                </a:lnTo>
                <a:lnTo>
                  <a:pt x="219727" y="56888"/>
                </a:lnTo>
                <a:lnTo>
                  <a:pt x="199020" y="70858"/>
                </a:lnTo>
                <a:lnTo>
                  <a:pt x="173685" y="75984"/>
                </a:lnTo>
                <a:lnTo>
                  <a:pt x="231312" y="75984"/>
                </a:lnTo>
                <a:lnTo>
                  <a:pt x="232422" y="75133"/>
                </a:lnTo>
                <a:lnTo>
                  <a:pt x="238007" y="69545"/>
                </a:lnTo>
                <a:lnTo>
                  <a:pt x="242785" y="63271"/>
                </a:lnTo>
                <a:lnTo>
                  <a:pt x="286204" y="63271"/>
                </a:lnTo>
                <a:lnTo>
                  <a:pt x="253745" y="44538"/>
                </a:lnTo>
                <a:lnTo>
                  <a:pt x="256771" y="37363"/>
                </a:lnTo>
                <a:lnTo>
                  <a:pt x="258789" y="29679"/>
                </a:lnTo>
                <a:lnTo>
                  <a:pt x="259791" y="21717"/>
                </a:lnTo>
                <a:lnTo>
                  <a:pt x="303898" y="21717"/>
                </a:lnTo>
                <a:lnTo>
                  <a:pt x="303898" y="0"/>
                </a:lnTo>
                <a:close/>
              </a:path>
              <a:path w="347979" h="347979">
                <a:moveTo>
                  <a:pt x="239052" y="237413"/>
                </a:moveTo>
                <a:lnTo>
                  <a:pt x="130492" y="260007"/>
                </a:lnTo>
                <a:lnTo>
                  <a:pt x="118757" y="346811"/>
                </a:lnTo>
                <a:lnTo>
                  <a:pt x="261124" y="347370"/>
                </a:lnTo>
                <a:lnTo>
                  <a:pt x="256744" y="325551"/>
                </a:lnTo>
                <a:lnTo>
                  <a:pt x="234607" y="325551"/>
                </a:lnTo>
                <a:lnTo>
                  <a:pt x="143586" y="325208"/>
                </a:lnTo>
                <a:lnTo>
                  <a:pt x="149961" y="278142"/>
                </a:lnTo>
                <a:lnTo>
                  <a:pt x="222072" y="263131"/>
                </a:lnTo>
                <a:lnTo>
                  <a:pt x="244214" y="263131"/>
                </a:lnTo>
                <a:lnTo>
                  <a:pt x="239052" y="237413"/>
                </a:lnTo>
                <a:close/>
              </a:path>
              <a:path w="347979" h="347979">
                <a:moveTo>
                  <a:pt x="260527" y="239204"/>
                </a:moveTo>
                <a:lnTo>
                  <a:pt x="281050" y="347370"/>
                </a:lnTo>
                <a:lnTo>
                  <a:pt x="346989" y="347370"/>
                </a:lnTo>
                <a:lnTo>
                  <a:pt x="347073" y="325666"/>
                </a:lnTo>
                <a:lnTo>
                  <a:pt x="299021" y="325666"/>
                </a:lnTo>
                <a:lnTo>
                  <a:pt x="288023" y="267589"/>
                </a:lnTo>
                <a:lnTo>
                  <a:pt x="347297" y="267589"/>
                </a:lnTo>
                <a:lnTo>
                  <a:pt x="347332" y="258572"/>
                </a:lnTo>
                <a:lnTo>
                  <a:pt x="260527" y="239204"/>
                </a:lnTo>
                <a:close/>
              </a:path>
              <a:path w="347979" h="347979">
                <a:moveTo>
                  <a:pt x="347297" y="267589"/>
                </a:moveTo>
                <a:lnTo>
                  <a:pt x="288023" y="267589"/>
                </a:lnTo>
                <a:lnTo>
                  <a:pt x="325564" y="275971"/>
                </a:lnTo>
                <a:lnTo>
                  <a:pt x="325361" y="325666"/>
                </a:lnTo>
                <a:lnTo>
                  <a:pt x="347073" y="325666"/>
                </a:lnTo>
                <a:lnTo>
                  <a:pt x="347297" y="267589"/>
                </a:lnTo>
                <a:close/>
              </a:path>
              <a:path w="347979" h="347979">
                <a:moveTo>
                  <a:pt x="244214" y="263131"/>
                </a:moveTo>
                <a:lnTo>
                  <a:pt x="222072" y="263131"/>
                </a:lnTo>
                <a:lnTo>
                  <a:pt x="234607" y="325551"/>
                </a:lnTo>
                <a:lnTo>
                  <a:pt x="256744" y="325551"/>
                </a:lnTo>
                <a:lnTo>
                  <a:pt x="244214" y="263131"/>
                </a:lnTo>
                <a:close/>
              </a:path>
              <a:path w="347979" h="347979">
                <a:moveTo>
                  <a:pt x="130263" y="162826"/>
                </a:moveTo>
                <a:lnTo>
                  <a:pt x="130263" y="238760"/>
                </a:lnTo>
                <a:lnTo>
                  <a:pt x="240017" y="217347"/>
                </a:lnTo>
                <a:lnTo>
                  <a:pt x="237991" y="212407"/>
                </a:lnTo>
                <a:lnTo>
                  <a:pt x="151968" y="212407"/>
                </a:lnTo>
                <a:lnTo>
                  <a:pt x="151968" y="184556"/>
                </a:lnTo>
                <a:lnTo>
                  <a:pt x="226568" y="184556"/>
                </a:lnTo>
                <a:lnTo>
                  <a:pt x="217677" y="162877"/>
                </a:lnTo>
                <a:lnTo>
                  <a:pt x="130263" y="162826"/>
                </a:lnTo>
                <a:close/>
              </a:path>
              <a:path w="347979" h="347979">
                <a:moveTo>
                  <a:pt x="238048" y="162826"/>
                </a:moveTo>
                <a:lnTo>
                  <a:pt x="259905" y="217360"/>
                </a:lnTo>
                <a:lnTo>
                  <a:pt x="346862" y="237642"/>
                </a:lnTo>
                <a:lnTo>
                  <a:pt x="347048" y="210324"/>
                </a:lnTo>
                <a:lnTo>
                  <a:pt x="325348" y="210324"/>
                </a:lnTo>
                <a:lnTo>
                  <a:pt x="275843" y="198780"/>
                </a:lnTo>
                <a:lnTo>
                  <a:pt x="270167" y="184619"/>
                </a:lnTo>
                <a:lnTo>
                  <a:pt x="347223" y="184619"/>
                </a:lnTo>
                <a:lnTo>
                  <a:pt x="347370" y="163093"/>
                </a:lnTo>
                <a:lnTo>
                  <a:pt x="238048" y="162826"/>
                </a:lnTo>
                <a:close/>
              </a:path>
              <a:path w="347979" h="347979">
                <a:moveTo>
                  <a:pt x="226568" y="184556"/>
                </a:moveTo>
                <a:lnTo>
                  <a:pt x="151968" y="184556"/>
                </a:lnTo>
                <a:lnTo>
                  <a:pt x="203098" y="184581"/>
                </a:lnTo>
                <a:lnTo>
                  <a:pt x="209880" y="201091"/>
                </a:lnTo>
                <a:lnTo>
                  <a:pt x="151968" y="212407"/>
                </a:lnTo>
                <a:lnTo>
                  <a:pt x="237991" y="212407"/>
                </a:lnTo>
                <a:lnTo>
                  <a:pt x="226568" y="184556"/>
                </a:lnTo>
                <a:close/>
              </a:path>
              <a:path w="347979" h="347979">
                <a:moveTo>
                  <a:pt x="347223" y="184619"/>
                </a:moveTo>
                <a:lnTo>
                  <a:pt x="270167" y="184619"/>
                </a:lnTo>
                <a:lnTo>
                  <a:pt x="325526" y="184746"/>
                </a:lnTo>
                <a:lnTo>
                  <a:pt x="325348" y="210324"/>
                </a:lnTo>
                <a:lnTo>
                  <a:pt x="347048" y="210324"/>
                </a:lnTo>
                <a:lnTo>
                  <a:pt x="347223" y="184619"/>
                </a:lnTo>
                <a:close/>
              </a:path>
              <a:path w="347979" h="347979">
                <a:moveTo>
                  <a:pt x="0" y="237642"/>
                </a:moveTo>
                <a:lnTo>
                  <a:pt x="0" y="347370"/>
                </a:lnTo>
                <a:lnTo>
                  <a:pt x="97510" y="347370"/>
                </a:lnTo>
                <a:lnTo>
                  <a:pt x="100219" y="325666"/>
                </a:lnTo>
                <a:lnTo>
                  <a:pt x="21704" y="325666"/>
                </a:lnTo>
                <a:lnTo>
                  <a:pt x="21704" y="264414"/>
                </a:lnTo>
                <a:lnTo>
                  <a:pt x="107863" y="264414"/>
                </a:lnTo>
                <a:lnTo>
                  <a:pt x="108343" y="260565"/>
                </a:lnTo>
                <a:lnTo>
                  <a:pt x="0" y="237642"/>
                </a:lnTo>
                <a:close/>
              </a:path>
              <a:path w="347979" h="347979">
                <a:moveTo>
                  <a:pt x="107863" y="264414"/>
                </a:moveTo>
                <a:lnTo>
                  <a:pt x="21704" y="264414"/>
                </a:lnTo>
                <a:lnTo>
                  <a:pt x="84327" y="277685"/>
                </a:lnTo>
                <a:lnTo>
                  <a:pt x="78346" y="325666"/>
                </a:lnTo>
                <a:lnTo>
                  <a:pt x="100219" y="325666"/>
                </a:lnTo>
                <a:lnTo>
                  <a:pt x="107863" y="264414"/>
                </a:lnTo>
                <a:close/>
              </a:path>
              <a:path w="347979" h="347979">
                <a:moveTo>
                  <a:pt x="108534" y="162826"/>
                </a:moveTo>
                <a:lnTo>
                  <a:pt x="76" y="162826"/>
                </a:lnTo>
                <a:lnTo>
                  <a:pt x="76" y="214503"/>
                </a:lnTo>
                <a:lnTo>
                  <a:pt x="109156" y="239115"/>
                </a:lnTo>
                <a:lnTo>
                  <a:pt x="108934" y="211912"/>
                </a:lnTo>
                <a:lnTo>
                  <a:pt x="87223" y="211912"/>
                </a:lnTo>
                <a:lnTo>
                  <a:pt x="21780" y="197129"/>
                </a:lnTo>
                <a:lnTo>
                  <a:pt x="21780" y="184543"/>
                </a:lnTo>
                <a:lnTo>
                  <a:pt x="108711" y="184543"/>
                </a:lnTo>
                <a:lnTo>
                  <a:pt x="108534" y="162826"/>
                </a:lnTo>
                <a:close/>
              </a:path>
              <a:path w="347979" h="347979">
                <a:moveTo>
                  <a:pt x="108711" y="184543"/>
                </a:moveTo>
                <a:lnTo>
                  <a:pt x="86994" y="184543"/>
                </a:lnTo>
                <a:lnTo>
                  <a:pt x="87223" y="211912"/>
                </a:lnTo>
                <a:lnTo>
                  <a:pt x="108934" y="211912"/>
                </a:lnTo>
                <a:lnTo>
                  <a:pt x="108711" y="184543"/>
                </a:lnTo>
                <a:close/>
              </a:path>
            </a:pathLst>
          </a:custGeom>
          <a:solidFill>
            <a:srgbClr val="FFFFFF"/>
          </a:solidFill>
        </p:spPr>
        <p:txBody>
          <a:bodyPr wrap="square" lIns="0" tIns="0" rIns="0" bIns="0" rtlCol="0"/>
          <a:lstStyle/>
          <a:p>
            <a:endParaRPr/>
          </a:p>
        </p:txBody>
      </p:sp>
      <p:sp>
        <p:nvSpPr>
          <p:cNvPr id="273" name="object 209">
            <a:extLst>
              <a:ext uri="{FF2B5EF4-FFF2-40B4-BE49-F238E27FC236}">
                <a16:creationId xmlns:a16="http://schemas.microsoft.com/office/drawing/2014/main" id="{569EF057-CE15-A7DD-5EF8-39CEA4BD4A86}"/>
              </a:ext>
            </a:extLst>
          </p:cNvPr>
          <p:cNvSpPr/>
          <p:nvPr/>
        </p:nvSpPr>
        <p:spPr>
          <a:xfrm>
            <a:off x="8357189" y="2144818"/>
            <a:ext cx="279045" cy="279045"/>
          </a:xfrm>
          <a:custGeom>
            <a:avLst/>
            <a:gdLst/>
            <a:ahLst/>
            <a:cxnLst/>
            <a:rect l="l" t="t" r="r" b="b"/>
            <a:pathLst>
              <a:path w="414654" h="414654">
                <a:moveTo>
                  <a:pt x="207175" y="0"/>
                </a:moveTo>
                <a:lnTo>
                  <a:pt x="160025" y="5530"/>
                </a:lnTo>
                <a:lnTo>
                  <a:pt x="116555" y="21253"/>
                </a:lnTo>
                <a:lnTo>
                  <a:pt x="78069" y="45866"/>
                </a:lnTo>
                <a:lnTo>
                  <a:pt x="45867" y="78066"/>
                </a:lnTo>
                <a:lnTo>
                  <a:pt x="21253" y="116551"/>
                </a:lnTo>
                <a:lnTo>
                  <a:pt x="5530" y="160017"/>
                </a:lnTo>
                <a:lnTo>
                  <a:pt x="0" y="207162"/>
                </a:lnTo>
                <a:lnTo>
                  <a:pt x="5530" y="254312"/>
                </a:lnTo>
                <a:lnTo>
                  <a:pt x="21267" y="297802"/>
                </a:lnTo>
                <a:lnTo>
                  <a:pt x="45867" y="336268"/>
                </a:lnTo>
                <a:lnTo>
                  <a:pt x="78069" y="368469"/>
                </a:lnTo>
                <a:lnTo>
                  <a:pt x="116555" y="393083"/>
                </a:lnTo>
                <a:lnTo>
                  <a:pt x="160025" y="408806"/>
                </a:lnTo>
                <a:lnTo>
                  <a:pt x="207175" y="414337"/>
                </a:lnTo>
                <a:lnTo>
                  <a:pt x="254320" y="408806"/>
                </a:lnTo>
                <a:lnTo>
                  <a:pt x="297786" y="393083"/>
                </a:lnTo>
                <a:lnTo>
                  <a:pt x="310106" y="385203"/>
                </a:lnTo>
                <a:lnTo>
                  <a:pt x="194221" y="385203"/>
                </a:lnTo>
                <a:lnTo>
                  <a:pt x="187060" y="381965"/>
                </a:lnTo>
                <a:lnTo>
                  <a:pt x="158610" y="381965"/>
                </a:lnTo>
                <a:lnTo>
                  <a:pt x="125989" y="369273"/>
                </a:lnTo>
                <a:lnTo>
                  <a:pt x="96704" y="350813"/>
                </a:lnTo>
                <a:lnTo>
                  <a:pt x="71667" y="326888"/>
                </a:lnTo>
                <a:lnTo>
                  <a:pt x="51790" y="297802"/>
                </a:lnTo>
                <a:lnTo>
                  <a:pt x="252488" y="297802"/>
                </a:lnTo>
                <a:lnTo>
                  <a:pt x="252488" y="284860"/>
                </a:lnTo>
                <a:lnTo>
                  <a:pt x="42075" y="284860"/>
                </a:lnTo>
                <a:lnTo>
                  <a:pt x="37275" y="269733"/>
                </a:lnTo>
                <a:lnTo>
                  <a:pt x="32775" y="253698"/>
                </a:lnTo>
                <a:lnTo>
                  <a:pt x="28880" y="237058"/>
                </a:lnTo>
                <a:lnTo>
                  <a:pt x="25895" y="220116"/>
                </a:lnTo>
                <a:lnTo>
                  <a:pt x="61506" y="220116"/>
                </a:lnTo>
                <a:lnTo>
                  <a:pt x="58267" y="216877"/>
                </a:lnTo>
                <a:lnTo>
                  <a:pt x="58267" y="197459"/>
                </a:lnTo>
                <a:lnTo>
                  <a:pt x="61506" y="194221"/>
                </a:lnTo>
                <a:lnTo>
                  <a:pt x="25895" y="194221"/>
                </a:lnTo>
                <a:lnTo>
                  <a:pt x="28880" y="177278"/>
                </a:lnTo>
                <a:lnTo>
                  <a:pt x="32775" y="160639"/>
                </a:lnTo>
                <a:lnTo>
                  <a:pt x="37275" y="144604"/>
                </a:lnTo>
                <a:lnTo>
                  <a:pt x="42075" y="129476"/>
                </a:lnTo>
                <a:lnTo>
                  <a:pt x="252488" y="129476"/>
                </a:lnTo>
                <a:lnTo>
                  <a:pt x="252488" y="116535"/>
                </a:lnTo>
                <a:lnTo>
                  <a:pt x="51790" y="116535"/>
                </a:lnTo>
                <a:lnTo>
                  <a:pt x="71667" y="87448"/>
                </a:lnTo>
                <a:lnTo>
                  <a:pt x="96704" y="63523"/>
                </a:lnTo>
                <a:lnTo>
                  <a:pt x="125989" y="45063"/>
                </a:lnTo>
                <a:lnTo>
                  <a:pt x="158610" y="32372"/>
                </a:lnTo>
                <a:lnTo>
                  <a:pt x="187060" y="32372"/>
                </a:lnTo>
                <a:lnTo>
                  <a:pt x="194221" y="29133"/>
                </a:lnTo>
                <a:lnTo>
                  <a:pt x="310107" y="29133"/>
                </a:lnTo>
                <a:lnTo>
                  <a:pt x="297786" y="21253"/>
                </a:lnTo>
                <a:lnTo>
                  <a:pt x="254320" y="5530"/>
                </a:lnTo>
                <a:lnTo>
                  <a:pt x="207175" y="0"/>
                </a:lnTo>
                <a:close/>
              </a:path>
              <a:path w="414654" h="414654">
                <a:moveTo>
                  <a:pt x="220116" y="297802"/>
                </a:moveTo>
                <a:lnTo>
                  <a:pt x="194221" y="297802"/>
                </a:lnTo>
                <a:lnTo>
                  <a:pt x="194221" y="385203"/>
                </a:lnTo>
                <a:lnTo>
                  <a:pt x="220116" y="385203"/>
                </a:lnTo>
                <a:lnTo>
                  <a:pt x="220116" y="297802"/>
                </a:lnTo>
                <a:close/>
              </a:path>
              <a:path w="414654" h="414654">
                <a:moveTo>
                  <a:pt x="278384" y="330174"/>
                </a:moveTo>
                <a:lnTo>
                  <a:pt x="265639" y="351974"/>
                </a:lnTo>
                <a:lnTo>
                  <a:pt x="251679" y="368614"/>
                </a:lnTo>
                <a:lnTo>
                  <a:pt x="236503" y="379791"/>
                </a:lnTo>
                <a:lnTo>
                  <a:pt x="220116" y="385203"/>
                </a:lnTo>
                <a:lnTo>
                  <a:pt x="310106" y="385203"/>
                </a:lnTo>
                <a:lnTo>
                  <a:pt x="315170" y="381965"/>
                </a:lnTo>
                <a:lnTo>
                  <a:pt x="255727" y="381965"/>
                </a:lnTo>
                <a:lnTo>
                  <a:pt x="264878" y="372156"/>
                </a:lnTo>
                <a:lnTo>
                  <a:pt x="273123" y="361737"/>
                </a:lnTo>
                <a:lnTo>
                  <a:pt x="280762" y="350104"/>
                </a:lnTo>
                <a:lnTo>
                  <a:pt x="288099" y="336651"/>
                </a:lnTo>
                <a:lnTo>
                  <a:pt x="284861" y="333413"/>
                </a:lnTo>
                <a:lnTo>
                  <a:pt x="281622" y="333413"/>
                </a:lnTo>
                <a:lnTo>
                  <a:pt x="278384" y="330174"/>
                </a:lnTo>
                <a:close/>
              </a:path>
              <a:path w="414654" h="414654">
                <a:moveTo>
                  <a:pt x="123012" y="297802"/>
                </a:moveTo>
                <a:lnTo>
                  <a:pt x="110058" y="297802"/>
                </a:lnTo>
                <a:lnTo>
                  <a:pt x="119012" y="323245"/>
                </a:lnTo>
                <a:lnTo>
                  <a:pt x="130695" y="345955"/>
                </a:lnTo>
                <a:lnTo>
                  <a:pt x="144198" y="365630"/>
                </a:lnTo>
                <a:lnTo>
                  <a:pt x="158610" y="381965"/>
                </a:lnTo>
                <a:lnTo>
                  <a:pt x="187060" y="381965"/>
                </a:lnTo>
                <a:lnTo>
                  <a:pt x="173079" y="375642"/>
                </a:lnTo>
                <a:lnTo>
                  <a:pt x="153758" y="357281"/>
                </a:lnTo>
                <a:lnTo>
                  <a:pt x="136867" y="331030"/>
                </a:lnTo>
                <a:lnTo>
                  <a:pt x="123012" y="297802"/>
                </a:lnTo>
                <a:close/>
              </a:path>
              <a:path w="414654" h="414654">
                <a:moveTo>
                  <a:pt x="315171" y="32372"/>
                </a:moveTo>
                <a:lnTo>
                  <a:pt x="255727" y="32372"/>
                </a:lnTo>
                <a:lnTo>
                  <a:pt x="288348" y="45063"/>
                </a:lnTo>
                <a:lnTo>
                  <a:pt x="317633" y="63523"/>
                </a:lnTo>
                <a:lnTo>
                  <a:pt x="342670" y="87448"/>
                </a:lnTo>
                <a:lnTo>
                  <a:pt x="362546" y="116535"/>
                </a:lnTo>
                <a:lnTo>
                  <a:pt x="343128" y="116535"/>
                </a:lnTo>
                <a:lnTo>
                  <a:pt x="343128" y="129476"/>
                </a:lnTo>
                <a:lnTo>
                  <a:pt x="372262" y="129476"/>
                </a:lnTo>
                <a:lnTo>
                  <a:pt x="377062" y="144604"/>
                </a:lnTo>
                <a:lnTo>
                  <a:pt x="381561" y="160639"/>
                </a:lnTo>
                <a:lnTo>
                  <a:pt x="385456" y="177278"/>
                </a:lnTo>
                <a:lnTo>
                  <a:pt x="388442" y="194221"/>
                </a:lnTo>
                <a:lnTo>
                  <a:pt x="145669" y="194221"/>
                </a:lnTo>
                <a:lnTo>
                  <a:pt x="148907" y="197459"/>
                </a:lnTo>
                <a:lnTo>
                  <a:pt x="148907" y="216877"/>
                </a:lnTo>
                <a:lnTo>
                  <a:pt x="145669" y="220116"/>
                </a:lnTo>
                <a:lnTo>
                  <a:pt x="388442" y="220116"/>
                </a:lnTo>
                <a:lnTo>
                  <a:pt x="385456" y="237058"/>
                </a:lnTo>
                <a:lnTo>
                  <a:pt x="381561" y="253698"/>
                </a:lnTo>
                <a:lnTo>
                  <a:pt x="377062" y="269733"/>
                </a:lnTo>
                <a:lnTo>
                  <a:pt x="372262" y="284860"/>
                </a:lnTo>
                <a:lnTo>
                  <a:pt x="343128" y="284860"/>
                </a:lnTo>
                <a:lnTo>
                  <a:pt x="343128" y="297802"/>
                </a:lnTo>
                <a:lnTo>
                  <a:pt x="362546" y="297802"/>
                </a:lnTo>
                <a:lnTo>
                  <a:pt x="342670" y="326888"/>
                </a:lnTo>
                <a:lnTo>
                  <a:pt x="317633" y="350813"/>
                </a:lnTo>
                <a:lnTo>
                  <a:pt x="288348" y="369273"/>
                </a:lnTo>
                <a:lnTo>
                  <a:pt x="255727" y="381965"/>
                </a:lnTo>
                <a:lnTo>
                  <a:pt x="315170" y="381965"/>
                </a:lnTo>
                <a:lnTo>
                  <a:pt x="368470" y="336268"/>
                </a:lnTo>
                <a:lnTo>
                  <a:pt x="393083" y="297781"/>
                </a:lnTo>
                <a:lnTo>
                  <a:pt x="408806" y="254312"/>
                </a:lnTo>
                <a:lnTo>
                  <a:pt x="414337" y="207162"/>
                </a:lnTo>
                <a:lnTo>
                  <a:pt x="408806" y="160017"/>
                </a:lnTo>
                <a:lnTo>
                  <a:pt x="393073" y="116535"/>
                </a:lnTo>
                <a:lnTo>
                  <a:pt x="368470" y="78066"/>
                </a:lnTo>
                <a:lnTo>
                  <a:pt x="336270" y="45866"/>
                </a:lnTo>
                <a:lnTo>
                  <a:pt x="315171" y="32372"/>
                </a:lnTo>
                <a:close/>
              </a:path>
              <a:path w="414654" h="414654">
                <a:moveTo>
                  <a:pt x="297802" y="265429"/>
                </a:moveTo>
                <a:lnTo>
                  <a:pt x="288296" y="267656"/>
                </a:lnTo>
                <a:lnTo>
                  <a:pt x="280001" y="273524"/>
                </a:lnTo>
                <a:lnTo>
                  <a:pt x="274133" y="281819"/>
                </a:lnTo>
                <a:lnTo>
                  <a:pt x="271907" y="291325"/>
                </a:lnTo>
                <a:lnTo>
                  <a:pt x="274133" y="300836"/>
                </a:lnTo>
                <a:lnTo>
                  <a:pt x="280001" y="309130"/>
                </a:lnTo>
                <a:lnTo>
                  <a:pt x="288296" y="314996"/>
                </a:lnTo>
                <a:lnTo>
                  <a:pt x="297802" y="317220"/>
                </a:lnTo>
                <a:lnTo>
                  <a:pt x="307313" y="314996"/>
                </a:lnTo>
                <a:lnTo>
                  <a:pt x="315607" y="309130"/>
                </a:lnTo>
                <a:lnTo>
                  <a:pt x="321473" y="300836"/>
                </a:lnTo>
                <a:lnTo>
                  <a:pt x="323697" y="291325"/>
                </a:lnTo>
                <a:lnTo>
                  <a:pt x="321473" y="281819"/>
                </a:lnTo>
                <a:lnTo>
                  <a:pt x="315607" y="273524"/>
                </a:lnTo>
                <a:lnTo>
                  <a:pt x="307313" y="267656"/>
                </a:lnTo>
                <a:lnTo>
                  <a:pt x="297802" y="265429"/>
                </a:lnTo>
                <a:close/>
              </a:path>
              <a:path w="414654" h="414654">
                <a:moveTo>
                  <a:pt x="113296" y="252488"/>
                </a:moveTo>
                <a:lnTo>
                  <a:pt x="100342" y="252488"/>
                </a:lnTo>
                <a:lnTo>
                  <a:pt x="100899" y="260273"/>
                </a:lnTo>
                <a:lnTo>
                  <a:pt x="102366" y="268670"/>
                </a:lnTo>
                <a:lnTo>
                  <a:pt x="104441" y="277068"/>
                </a:lnTo>
                <a:lnTo>
                  <a:pt x="106819" y="284860"/>
                </a:lnTo>
                <a:lnTo>
                  <a:pt x="119773" y="284860"/>
                </a:lnTo>
                <a:lnTo>
                  <a:pt x="117395" y="277068"/>
                </a:lnTo>
                <a:lnTo>
                  <a:pt x="115320" y="268670"/>
                </a:lnTo>
                <a:lnTo>
                  <a:pt x="113853" y="260273"/>
                </a:lnTo>
                <a:lnTo>
                  <a:pt x="113296" y="252488"/>
                </a:lnTo>
                <a:close/>
              </a:path>
              <a:path w="414654" h="414654">
                <a:moveTo>
                  <a:pt x="220116" y="220116"/>
                </a:moveTo>
                <a:lnTo>
                  <a:pt x="194221" y="220116"/>
                </a:lnTo>
                <a:lnTo>
                  <a:pt x="194221" y="284860"/>
                </a:lnTo>
                <a:lnTo>
                  <a:pt x="220116" y="284860"/>
                </a:lnTo>
                <a:lnTo>
                  <a:pt x="220116" y="220116"/>
                </a:lnTo>
                <a:close/>
              </a:path>
              <a:path w="414654" h="414654">
                <a:moveTo>
                  <a:pt x="317233" y="220116"/>
                </a:moveTo>
                <a:lnTo>
                  <a:pt x="304279" y="220116"/>
                </a:lnTo>
                <a:lnTo>
                  <a:pt x="304199" y="227401"/>
                </a:lnTo>
                <a:lnTo>
                  <a:pt x="303873" y="233070"/>
                </a:lnTo>
                <a:lnTo>
                  <a:pt x="302913" y="239233"/>
                </a:lnTo>
                <a:lnTo>
                  <a:pt x="301040" y="246011"/>
                </a:lnTo>
                <a:lnTo>
                  <a:pt x="307517" y="246011"/>
                </a:lnTo>
                <a:lnTo>
                  <a:pt x="310756" y="249250"/>
                </a:lnTo>
                <a:lnTo>
                  <a:pt x="313994" y="249250"/>
                </a:lnTo>
                <a:lnTo>
                  <a:pt x="315867" y="241965"/>
                </a:lnTo>
                <a:lnTo>
                  <a:pt x="316828" y="234683"/>
                </a:lnTo>
                <a:lnTo>
                  <a:pt x="317182" y="227401"/>
                </a:lnTo>
                <a:lnTo>
                  <a:pt x="317233" y="220116"/>
                </a:lnTo>
                <a:close/>
              </a:path>
              <a:path w="414654" h="414654">
                <a:moveTo>
                  <a:pt x="103581" y="181267"/>
                </a:moveTo>
                <a:lnTo>
                  <a:pt x="94075" y="183493"/>
                </a:lnTo>
                <a:lnTo>
                  <a:pt x="85780" y="189361"/>
                </a:lnTo>
                <a:lnTo>
                  <a:pt x="79912" y="197656"/>
                </a:lnTo>
                <a:lnTo>
                  <a:pt x="77685" y="207162"/>
                </a:lnTo>
                <a:lnTo>
                  <a:pt x="79912" y="216675"/>
                </a:lnTo>
                <a:lnTo>
                  <a:pt x="85780" y="224974"/>
                </a:lnTo>
                <a:lnTo>
                  <a:pt x="94075" y="230843"/>
                </a:lnTo>
                <a:lnTo>
                  <a:pt x="103608" y="233064"/>
                </a:lnTo>
                <a:lnTo>
                  <a:pt x="113092" y="230843"/>
                </a:lnTo>
                <a:lnTo>
                  <a:pt x="121386" y="224974"/>
                </a:lnTo>
                <a:lnTo>
                  <a:pt x="127252" y="216675"/>
                </a:lnTo>
                <a:lnTo>
                  <a:pt x="129476" y="207162"/>
                </a:lnTo>
                <a:lnTo>
                  <a:pt x="127252" y="197656"/>
                </a:lnTo>
                <a:lnTo>
                  <a:pt x="121386" y="189361"/>
                </a:lnTo>
                <a:lnTo>
                  <a:pt x="113092" y="183493"/>
                </a:lnTo>
                <a:lnTo>
                  <a:pt x="103581" y="181267"/>
                </a:lnTo>
                <a:close/>
              </a:path>
              <a:path w="414654" h="414654">
                <a:moveTo>
                  <a:pt x="220116" y="129476"/>
                </a:moveTo>
                <a:lnTo>
                  <a:pt x="194221" y="129476"/>
                </a:lnTo>
                <a:lnTo>
                  <a:pt x="194221" y="194221"/>
                </a:lnTo>
                <a:lnTo>
                  <a:pt x="220116" y="194221"/>
                </a:lnTo>
                <a:lnTo>
                  <a:pt x="220116" y="129476"/>
                </a:lnTo>
                <a:close/>
              </a:path>
              <a:path w="414654" h="414654">
                <a:moveTo>
                  <a:pt x="313994" y="165087"/>
                </a:moveTo>
                <a:lnTo>
                  <a:pt x="310756" y="165087"/>
                </a:lnTo>
                <a:lnTo>
                  <a:pt x="307517" y="168325"/>
                </a:lnTo>
                <a:lnTo>
                  <a:pt x="301040" y="168325"/>
                </a:lnTo>
                <a:lnTo>
                  <a:pt x="302913" y="175104"/>
                </a:lnTo>
                <a:lnTo>
                  <a:pt x="303874" y="181273"/>
                </a:lnTo>
                <a:lnTo>
                  <a:pt x="304199" y="186936"/>
                </a:lnTo>
                <a:lnTo>
                  <a:pt x="304279" y="194221"/>
                </a:lnTo>
                <a:lnTo>
                  <a:pt x="317233" y="194221"/>
                </a:lnTo>
                <a:lnTo>
                  <a:pt x="317182" y="186936"/>
                </a:lnTo>
                <a:lnTo>
                  <a:pt x="316828" y="179654"/>
                </a:lnTo>
                <a:lnTo>
                  <a:pt x="315867" y="172371"/>
                </a:lnTo>
                <a:lnTo>
                  <a:pt x="313994" y="165087"/>
                </a:lnTo>
                <a:close/>
              </a:path>
              <a:path w="414654" h="414654">
                <a:moveTo>
                  <a:pt x="119773" y="129476"/>
                </a:moveTo>
                <a:lnTo>
                  <a:pt x="106819" y="129476"/>
                </a:lnTo>
                <a:lnTo>
                  <a:pt x="104441" y="137267"/>
                </a:lnTo>
                <a:lnTo>
                  <a:pt x="102366" y="145662"/>
                </a:lnTo>
                <a:lnTo>
                  <a:pt x="100899" y="154058"/>
                </a:lnTo>
                <a:lnTo>
                  <a:pt x="100342" y="161848"/>
                </a:lnTo>
                <a:lnTo>
                  <a:pt x="113296" y="161848"/>
                </a:lnTo>
                <a:lnTo>
                  <a:pt x="113853" y="154058"/>
                </a:lnTo>
                <a:lnTo>
                  <a:pt x="115320" y="145662"/>
                </a:lnTo>
                <a:lnTo>
                  <a:pt x="117395" y="137267"/>
                </a:lnTo>
                <a:lnTo>
                  <a:pt x="119773" y="129476"/>
                </a:lnTo>
                <a:close/>
              </a:path>
              <a:path w="414654" h="414654">
                <a:moveTo>
                  <a:pt x="297802" y="97104"/>
                </a:moveTo>
                <a:lnTo>
                  <a:pt x="288296" y="99330"/>
                </a:lnTo>
                <a:lnTo>
                  <a:pt x="280001" y="105200"/>
                </a:lnTo>
                <a:lnTo>
                  <a:pt x="274133" y="113499"/>
                </a:lnTo>
                <a:lnTo>
                  <a:pt x="271907" y="123012"/>
                </a:lnTo>
                <a:lnTo>
                  <a:pt x="274133" y="132517"/>
                </a:lnTo>
                <a:lnTo>
                  <a:pt x="280001" y="140812"/>
                </a:lnTo>
                <a:lnTo>
                  <a:pt x="288296" y="146681"/>
                </a:lnTo>
                <a:lnTo>
                  <a:pt x="297802" y="148907"/>
                </a:lnTo>
                <a:lnTo>
                  <a:pt x="307313" y="146681"/>
                </a:lnTo>
                <a:lnTo>
                  <a:pt x="315607" y="140812"/>
                </a:lnTo>
                <a:lnTo>
                  <a:pt x="321473" y="132517"/>
                </a:lnTo>
                <a:lnTo>
                  <a:pt x="323697" y="123012"/>
                </a:lnTo>
                <a:lnTo>
                  <a:pt x="321473" y="113499"/>
                </a:lnTo>
                <a:lnTo>
                  <a:pt x="315607" y="105200"/>
                </a:lnTo>
                <a:lnTo>
                  <a:pt x="307313" y="99330"/>
                </a:lnTo>
                <a:lnTo>
                  <a:pt x="297802" y="97104"/>
                </a:lnTo>
                <a:close/>
              </a:path>
              <a:path w="414654" h="414654">
                <a:moveTo>
                  <a:pt x="187060" y="32372"/>
                </a:moveTo>
                <a:lnTo>
                  <a:pt x="158610" y="32372"/>
                </a:lnTo>
                <a:lnTo>
                  <a:pt x="144198" y="48707"/>
                </a:lnTo>
                <a:lnTo>
                  <a:pt x="130695" y="68381"/>
                </a:lnTo>
                <a:lnTo>
                  <a:pt x="119012" y="91092"/>
                </a:lnTo>
                <a:lnTo>
                  <a:pt x="110058" y="116535"/>
                </a:lnTo>
                <a:lnTo>
                  <a:pt x="123012" y="116535"/>
                </a:lnTo>
                <a:lnTo>
                  <a:pt x="136867" y="83306"/>
                </a:lnTo>
                <a:lnTo>
                  <a:pt x="153758" y="57056"/>
                </a:lnTo>
                <a:lnTo>
                  <a:pt x="173079" y="38695"/>
                </a:lnTo>
                <a:lnTo>
                  <a:pt x="187060" y="32372"/>
                </a:lnTo>
                <a:close/>
              </a:path>
              <a:path w="414654" h="414654">
                <a:moveTo>
                  <a:pt x="220116" y="29133"/>
                </a:moveTo>
                <a:lnTo>
                  <a:pt x="194221" y="29133"/>
                </a:lnTo>
                <a:lnTo>
                  <a:pt x="194221" y="116535"/>
                </a:lnTo>
                <a:lnTo>
                  <a:pt x="220116" y="116535"/>
                </a:lnTo>
                <a:lnTo>
                  <a:pt x="220116" y="29133"/>
                </a:lnTo>
                <a:close/>
              </a:path>
              <a:path w="414654" h="414654">
                <a:moveTo>
                  <a:pt x="310107" y="29133"/>
                </a:moveTo>
                <a:lnTo>
                  <a:pt x="220116" y="29133"/>
                </a:lnTo>
                <a:lnTo>
                  <a:pt x="236503" y="34545"/>
                </a:lnTo>
                <a:lnTo>
                  <a:pt x="251679" y="45723"/>
                </a:lnTo>
                <a:lnTo>
                  <a:pt x="265639" y="62362"/>
                </a:lnTo>
                <a:lnTo>
                  <a:pt x="278384" y="84162"/>
                </a:lnTo>
                <a:lnTo>
                  <a:pt x="281622" y="80924"/>
                </a:lnTo>
                <a:lnTo>
                  <a:pt x="284861" y="80924"/>
                </a:lnTo>
                <a:lnTo>
                  <a:pt x="288099" y="77685"/>
                </a:lnTo>
                <a:lnTo>
                  <a:pt x="280762" y="64233"/>
                </a:lnTo>
                <a:lnTo>
                  <a:pt x="273123" y="52600"/>
                </a:lnTo>
                <a:lnTo>
                  <a:pt x="264878" y="42181"/>
                </a:lnTo>
                <a:lnTo>
                  <a:pt x="255727" y="32372"/>
                </a:lnTo>
                <a:lnTo>
                  <a:pt x="315171" y="32372"/>
                </a:lnTo>
                <a:lnTo>
                  <a:pt x="310107" y="29133"/>
                </a:lnTo>
                <a:close/>
              </a:path>
            </a:pathLst>
          </a:custGeom>
          <a:solidFill>
            <a:srgbClr val="FFFFFF"/>
          </a:solidFill>
        </p:spPr>
        <p:txBody>
          <a:bodyPr wrap="square" lIns="0" tIns="0" rIns="0" bIns="0" rtlCol="0"/>
          <a:lstStyle/>
          <a:p>
            <a:endParaRPr/>
          </a:p>
        </p:txBody>
      </p:sp>
      <p:sp>
        <p:nvSpPr>
          <p:cNvPr id="274" name="object 210">
            <a:extLst>
              <a:ext uri="{FF2B5EF4-FFF2-40B4-BE49-F238E27FC236}">
                <a16:creationId xmlns:a16="http://schemas.microsoft.com/office/drawing/2014/main" id="{2C62E6B9-95D4-7DE2-822B-5EBA2342EC1B}"/>
              </a:ext>
            </a:extLst>
          </p:cNvPr>
          <p:cNvSpPr/>
          <p:nvPr/>
        </p:nvSpPr>
        <p:spPr>
          <a:xfrm>
            <a:off x="7630927" y="2910066"/>
            <a:ext cx="277763" cy="202126"/>
          </a:xfrm>
          <a:custGeom>
            <a:avLst/>
            <a:gdLst/>
            <a:ahLst/>
            <a:cxnLst/>
            <a:rect l="l" t="t" r="r" b="b"/>
            <a:pathLst>
              <a:path w="412750" h="300354">
                <a:moveTo>
                  <a:pt x="247988" y="26098"/>
                </a:moveTo>
                <a:lnTo>
                  <a:pt x="206374" y="26098"/>
                </a:lnTo>
                <a:lnTo>
                  <a:pt x="215346" y="27830"/>
                </a:lnTo>
                <a:lnTo>
                  <a:pt x="222503" y="32618"/>
                </a:lnTo>
                <a:lnTo>
                  <a:pt x="227241" y="39852"/>
                </a:lnTo>
                <a:lnTo>
                  <a:pt x="228955" y="48920"/>
                </a:lnTo>
                <a:lnTo>
                  <a:pt x="227241" y="59008"/>
                </a:lnTo>
                <a:lnTo>
                  <a:pt x="222503" y="68486"/>
                </a:lnTo>
                <a:lnTo>
                  <a:pt x="215346" y="75518"/>
                </a:lnTo>
                <a:lnTo>
                  <a:pt x="206374" y="78270"/>
                </a:lnTo>
                <a:lnTo>
                  <a:pt x="193484" y="78270"/>
                </a:lnTo>
                <a:lnTo>
                  <a:pt x="193484" y="123926"/>
                </a:lnTo>
                <a:lnTo>
                  <a:pt x="0" y="280479"/>
                </a:lnTo>
                <a:lnTo>
                  <a:pt x="0" y="300037"/>
                </a:lnTo>
                <a:lnTo>
                  <a:pt x="412749" y="300037"/>
                </a:lnTo>
                <a:lnTo>
                  <a:pt x="412749" y="280479"/>
                </a:lnTo>
                <a:lnTo>
                  <a:pt x="404682" y="273951"/>
                </a:lnTo>
                <a:lnTo>
                  <a:pt x="48374" y="273951"/>
                </a:lnTo>
                <a:lnTo>
                  <a:pt x="206374" y="146761"/>
                </a:lnTo>
                <a:lnTo>
                  <a:pt x="247497" y="146761"/>
                </a:lnTo>
                <a:lnTo>
                  <a:pt x="219278" y="123926"/>
                </a:lnTo>
                <a:lnTo>
                  <a:pt x="219278" y="97840"/>
                </a:lnTo>
                <a:lnTo>
                  <a:pt x="232980" y="90659"/>
                </a:lnTo>
                <a:lnTo>
                  <a:pt x="244267" y="79500"/>
                </a:lnTo>
                <a:lnTo>
                  <a:pt x="251926" y="65281"/>
                </a:lnTo>
                <a:lnTo>
                  <a:pt x="254749" y="48920"/>
                </a:lnTo>
                <a:lnTo>
                  <a:pt x="250819" y="30271"/>
                </a:lnTo>
                <a:lnTo>
                  <a:pt x="247988" y="26098"/>
                </a:lnTo>
                <a:close/>
              </a:path>
              <a:path w="412750" h="300354">
                <a:moveTo>
                  <a:pt x="247497" y="146761"/>
                </a:moveTo>
                <a:lnTo>
                  <a:pt x="206374" y="146761"/>
                </a:lnTo>
                <a:lnTo>
                  <a:pt x="364388" y="273951"/>
                </a:lnTo>
                <a:lnTo>
                  <a:pt x="404682" y="273951"/>
                </a:lnTo>
                <a:lnTo>
                  <a:pt x="247497" y="146761"/>
                </a:lnTo>
                <a:close/>
              </a:path>
              <a:path w="412750" h="300354">
                <a:moveTo>
                  <a:pt x="206374" y="0"/>
                </a:moveTo>
                <a:lnTo>
                  <a:pt x="186575" y="3975"/>
                </a:lnTo>
                <a:lnTo>
                  <a:pt x="171311" y="14678"/>
                </a:lnTo>
                <a:lnTo>
                  <a:pt x="161489" y="30271"/>
                </a:lnTo>
                <a:lnTo>
                  <a:pt x="158013" y="48920"/>
                </a:lnTo>
                <a:lnTo>
                  <a:pt x="158013" y="52184"/>
                </a:lnTo>
                <a:lnTo>
                  <a:pt x="183807" y="52184"/>
                </a:lnTo>
                <a:lnTo>
                  <a:pt x="183807" y="48920"/>
                </a:lnTo>
                <a:lnTo>
                  <a:pt x="185520" y="39852"/>
                </a:lnTo>
                <a:lnTo>
                  <a:pt x="190257" y="32618"/>
                </a:lnTo>
                <a:lnTo>
                  <a:pt x="197410" y="27830"/>
                </a:lnTo>
                <a:lnTo>
                  <a:pt x="206374" y="26098"/>
                </a:lnTo>
                <a:lnTo>
                  <a:pt x="247988" y="26098"/>
                </a:lnTo>
                <a:lnTo>
                  <a:pt x="240239" y="14678"/>
                </a:lnTo>
                <a:lnTo>
                  <a:pt x="224820" y="3975"/>
                </a:lnTo>
                <a:lnTo>
                  <a:pt x="206374" y="0"/>
                </a:lnTo>
                <a:close/>
              </a:path>
            </a:pathLst>
          </a:custGeom>
          <a:solidFill>
            <a:srgbClr val="FFFFFF"/>
          </a:solidFill>
        </p:spPr>
        <p:txBody>
          <a:bodyPr wrap="square" lIns="0" tIns="0" rIns="0" bIns="0" rtlCol="0"/>
          <a:lstStyle/>
          <a:p>
            <a:endParaRPr/>
          </a:p>
        </p:txBody>
      </p:sp>
      <p:sp>
        <p:nvSpPr>
          <p:cNvPr id="275" name="object 211">
            <a:extLst>
              <a:ext uri="{FF2B5EF4-FFF2-40B4-BE49-F238E27FC236}">
                <a16:creationId xmlns:a16="http://schemas.microsoft.com/office/drawing/2014/main" id="{BEA860D0-1722-C801-5026-73A120DA32B2}"/>
              </a:ext>
            </a:extLst>
          </p:cNvPr>
          <p:cNvSpPr/>
          <p:nvPr/>
        </p:nvSpPr>
        <p:spPr>
          <a:xfrm>
            <a:off x="8366270" y="2872145"/>
            <a:ext cx="260670" cy="277763"/>
          </a:xfrm>
          <a:custGeom>
            <a:avLst/>
            <a:gdLst/>
            <a:ahLst/>
            <a:cxnLst/>
            <a:rect l="l" t="t" r="r" b="b"/>
            <a:pathLst>
              <a:path w="387350" h="412750">
                <a:moveTo>
                  <a:pt x="161391" y="261188"/>
                </a:moveTo>
                <a:lnTo>
                  <a:pt x="114085" y="280639"/>
                </a:lnTo>
                <a:lnTo>
                  <a:pt x="75853" y="312788"/>
                </a:lnTo>
                <a:lnTo>
                  <a:pt x="49729" y="354603"/>
                </a:lnTo>
                <a:lnTo>
                  <a:pt x="38735" y="403072"/>
                </a:lnTo>
                <a:lnTo>
                  <a:pt x="38735" y="412749"/>
                </a:lnTo>
                <a:lnTo>
                  <a:pt x="348615" y="412749"/>
                </a:lnTo>
                <a:lnTo>
                  <a:pt x="339485" y="360046"/>
                </a:lnTo>
                <a:lnTo>
                  <a:pt x="318385" y="322452"/>
                </a:lnTo>
                <a:lnTo>
                  <a:pt x="193675" y="322452"/>
                </a:lnTo>
                <a:lnTo>
                  <a:pt x="161391" y="261188"/>
                </a:lnTo>
                <a:close/>
              </a:path>
              <a:path w="387350" h="412750">
                <a:moveTo>
                  <a:pt x="229184" y="261188"/>
                </a:moveTo>
                <a:lnTo>
                  <a:pt x="193675" y="322452"/>
                </a:lnTo>
                <a:lnTo>
                  <a:pt x="318385" y="322452"/>
                </a:lnTo>
                <a:lnTo>
                  <a:pt x="314317" y="315204"/>
                </a:lnTo>
                <a:lnTo>
                  <a:pt x="276439" y="281244"/>
                </a:lnTo>
                <a:lnTo>
                  <a:pt x="229184" y="261188"/>
                </a:lnTo>
                <a:close/>
              </a:path>
              <a:path w="387350" h="412750">
                <a:moveTo>
                  <a:pt x="193675" y="0"/>
                </a:moveTo>
                <a:lnTo>
                  <a:pt x="149404" y="5132"/>
                </a:lnTo>
                <a:lnTo>
                  <a:pt x="108692" y="19741"/>
                </a:lnTo>
                <a:lnTo>
                  <a:pt x="72724" y="42641"/>
                </a:lnTo>
                <a:lnTo>
                  <a:pt x="42685" y="72649"/>
                </a:lnTo>
                <a:lnTo>
                  <a:pt x="19761" y="108579"/>
                </a:lnTo>
                <a:lnTo>
                  <a:pt x="5137" y="149248"/>
                </a:lnTo>
                <a:lnTo>
                  <a:pt x="0" y="193471"/>
                </a:lnTo>
                <a:lnTo>
                  <a:pt x="2925" y="226627"/>
                </a:lnTo>
                <a:lnTo>
                  <a:pt x="11298" y="257968"/>
                </a:lnTo>
                <a:lnTo>
                  <a:pt x="24511" y="286890"/>
                </a:lnTo>
                <a:lnTo>
                  <a:pt x="41960" y="312788"/>
                </a:lnTo>
                <a:lnTo>
                  <a:pt x="48412" y="306336"/>
                </a:lnTo>
                <a:lnTo>
                  <a:pt x="51650" y="299885"/>
                </a:lnTo>
                <a:lnTo>
                  <a:pt x="58102" y="293433"/>
                </a:lnTo>
                <a:lnTo>
                  <a:pt x="44887" y="271013"/>
                </a:lnTo>
                <a:lnTo>
                  <a:pt x="34697" y="247081"/>
                </a:lnTo>
                <a:lnTo>
                  <a:pt x="28139" y="221335"/>
                </a:lnTo>
                <a:lnTo>
                  <a:pt x="25819" y="193471"/>
                </a:lnTo>
                <a:lnTo>
                  <a:pt x="31752" y="148582"/>
                </a:lnTo>
                <a:lnTo>
                  <a:pt x="48534" y="108439"/>
                </a:lnTo>
                <a:lnTo>
                  <a:pt x="74642" y="74566"/>
                </a:lnTo>
                <a:lnTo>
                  <a:pt x="108551" y="48485"/>
                </a:lnTo>
                <a:lnTo>
                  <a:pt x="148737" y="31720"/>
                </a:lnTo>
                <a:lnTo>
                  <a:pt x="193675" y="25793"/>
                </a:lnTo>
                <a:lnTo>
                  <a:pt x="288163" y="25793"/>
                </a:lnTo>
                <a:lnTo>
                  <a:pt x="278657" y="19741"/>
                </a:lnTo>
                <a:lnTo>
                  <a:pt x="237945" y="5132"/>
                </a:lnTo>
                <a:lnTo>
                  <a:pt x="193675" y="0"/>
                </a:lnTo>
                <a:close/>
              </a:path>
              <a:path w="387350" h="412750">
                <a:moveTo>
                  <a:pt x="288163" y="25793"/>
                </a:moveTo>
                <a:lnTo>
                  <a:pt x="193675" y="25793"/>
                </a:lnTo>
                <a:lnTo>
                  <a:pt x="238612" y="31720"/>
                </a:lnTo>
                <a:lnTo>
                  <a:pt x="278798" y="48485"/>
                </a:lnTo>
                <a:lnTo>
                  <a:pt x="312707" y="74566"/>
                </a:lnTo>
                <a:lnTo>
                  <a:pt x="338815" y="108439"/>
                </a:lnTo>
                <a:lnTo>
                  <a:pt x="355597" y="148582"/>
                </a:lnTo>
                <a:lnTo>
                  <a:pt x="361530" y="193471"/>
                </a:lnTo>
                <a:lnTo>
                  <a:pt x="359210" y="221335"/>
                </a:lnTo>
                <a:lnTo>
                  <a:pt x="352652" y="247081"/>
                </a:lnTo>
                <a:lnTo>
                  <a:pt x="342462" y="271013"/>
                </a:lnTo>
                <a:lnTo>
                  <a:pt x="329247" y="293433"/>
                </a:lnTo>
                <a:lnTo>
                  <a:pt x="335699" y="299885"/>
                </a:lnTo>
                <a:lnTo>
                  <a:pt x="338937" y="306336"/>
                </a:lnTo>
                <a:lnTo>
                  <a:pt x="345389" y="312788"/>
                </a:lnTo>
                <a:lnTo>
                  <a:pt x="362838" y="286890"/>
                </a:lnTo>
                <a:lnTo>
                  <a:pt x="376051" y="257968"/>
                </a:lnTo>
                <a:lnTo>
                  <a:pt x="384424" y="226627"/>
                </a:lnTo>
                <a:lnTo>
                  <a:pt x="387350" y="193471"/>
                </a:lnTo>
                <a:lnTo>
                  <a:pt x="382212" y="149248"/>
                </a:lnTo>
                <a:lnTo>
                  <a:pt x="367588" y="108579"/>
                </a:lnTo>
                <a:lnTo>
                  <a:pt x="344664" y="72649"/>
                </a:lnTo>
                <a:lnTo>
                  <a:pt x="314625" y="42641"/>
                </a:lnTo>
                <a:lnTo>
                  <a:pt x="288163" y="25793"/>
                </a:lnTo>
                <a:close/>
              </a:path>
              <a:path w="387350" h="412750">
                <a:moveTo>
                  <a:pt x="193675" y="64490"/>
                </a:moveTo>
                <a:lnTo>
                  <a:pt x="143538" y="74667"/>
                </a:lnTo>
                <a:lnTo>
                  <a:pt x="102482" y="102377"/>
                </a:lnTo>
                <a:lnTo>
                  <a:pt x="74742" y="143389"/>
                </a:lnTo>
                <a:lnTo>
                  <a:pt x="64554" y="193471"/>
                </a:lnTo>
                <a:lnTo>
                  <a:pt x="66269" y="212774"/>
                </a:lnTo>
                <a:lnTo>
                  <a:pt x="71012" y="231770"/>
                </a:lnTo>
                <a:lnTo>
                  <a:pt x="78173" y="250159"/>
                </a:lnTo>
                <a:lnTo>
                  <a:pt x="87147" y="267639"/>
                </a:lnTo>
                <a:lnTo>
                  <a:pt x="92497" y="263355"/>
                </a:lnTo>
                <a:lnTo>
                  <a:pt x="98450" y="259980"/>
                </a:lnTo>
                <a:lnTo>
                  <a:pt x="109753" y="254749"/>
                </a:lnTo>
                <a:lnTo>
                  <a:pt x="101278" y="240184"/>
                </a:lnTo>
                <a:lnTo>
                  <a:pt x="95226" y="225320"/>
                </a:lnTo>
                <a:lnTo>
                  <a:pt x="91592" y="209800"/>
                </a:lnTo>
                <a:lnTo>
                  <a:pt x="90385" y="193471"/>
                </a:lnTo>
                <a:lnTo>
                  <a:pt x="98354" y="152863"/>
                </a:lnTo>
                <a:lnTo>
                  <a:pt x="120242" y="120113"/>
                </a:lnTo>
                <a:lnTo>
                  <a:pt x="153024" y="98245"/>
                </a:lnTo>
                <a:lnTo>
                  <a:pt x="193675" y="90284"/>
                </a:lnTo>
                <a:lnTo>
                  <a:pt x="266949" y="90284"/>
                </a:lnTo>
                <a:lnTo>
                  <a:pt x="243811" y="74667"/>
                </a:lnTo>
                <a:lnTo>
                  <a:pt x="193675" y="64490"/>
                </a:lnTo>
                <a:close/>
              </a:path>
              <a:path w="387350" h="412750">
                <a:moveTo>
                  <a:pt x="266949" y="90284"/>
                </a:moveTo>
                <a:lnTo>
                  <a:pt x="193675" y="90284"/>
                </a:lnTo>
                <a:lnTo>
                  <a:pt x="234325" y="98245"/>
                </a:lnTo>
                <a:lnTo>
                  <a:pt x="267107" y="120113"/>
                </a:lnTo>
                <a:lnTo>
                  <a:pt x="288995" y="152863"/>
                </a:lnTo>
                <a:lnTo>
                  <a:pt x="296964" y="193471"/>
                </a:lnTo>
                <a:lnTo>
                  <a:pt x="295742" y="209850"/>
                </a:lnTo>
                <a:lnTo>
                  <a:pt x="292123" y="224916"/>
                </a:lnTo>
                <a:lnTo>
                  <a:pt x="286071" y="238823"/>
                </a:lnTo>
                <a:lnTo>
                  <a:pt x="277596" y="251523"/>
                </a:lnTo>
                <a:lnTo>
                  <a:pt x="290109" y="259576"/>
                </a:lnTo>
                <a:lnTo>
                  <a:pt x="295362" y="263355"/>
                </a:lnTo>
                <a:lnTo>
                  <a:pt x="300202" y="267639"/>
                </a:lnTo>
                <a:lnTo>
                  <a:pt x="309176" y="250159"/>
                </a:lnTo>
                <a:lnTo>
                  <a:pt x="316337" y="231770"/>
                </a:lnTo>
                <a:lnTo>
                  <a:pt x="321080" y="212774"/>
                </a:lnTo>
                <a:lnTo>
                  <a:pt x="322795" y="193471"/>
                </a:lnTo>
                <a:lnTo>
                  <a:pt x="312607" y="143389"/>
                </a:lnTo>
                <a:lnTo>
                  <a:pt x="284867" y="102377"/>
                </a:lnTo>
                <a:lnTo>
                  <a:pt x="266949" y="90284"/>
                </a:lnTo>
                <a:close/>
              </a:path>
              <a:path w="387350" h="412750">
                <a:moveTo>
                  <a:pt x="193675" y="135432"/>
                </a:moveTo>
                <a:lnTo>
                  <a:pt x="170976" y="139966"/>
                </a:lnTo>
                <a:lnTo>
                  <a:pt x="152517" y="152360"/>
                </a:lnTo>
                <a:lnTo>
                  <a:pt x="140111" y="170799"/>
                </a:lnTo>
                <a:lnTo>
                  <a:pt x="135572" y="193471"/>
                </a:lnTo>
                <a:lnTo>
                  <a:pt x="140111" y="216145"/>
                </a:lnTo>
                <a:lnTo>
                  <a:pt x="152517" y="234589"/>
                </a:lnTo>
                <a:lnTo>
                  <a:pt x="170976" y="246987"/>
                </a:lnTo>
                <a:lnTo>
                  <a:pt x="193675" y="251523"/>
                </a:lnTo>
                <a:lnTo>
                  <a:pt x="216373" y="246987"/>
                </a:lnTo>
                <a:lnTo>
                  <a:pt x="234832" y="234589"/>
                </a:lnTo>
                <a:lnTo>
                  <a:pt x="247238" y="216145"/>
                </a:lnTo>
                <a:lnTo>
                  <a:pt x="251777" y="193471"/>
                </a:lnTo>
                <a:lnTo>
                  <a:pt x="247238" y="170799"/>
                </a:lnTo>
                <a:lnTo>
                  <a:pt x="234832" y="152360"/>
                </a:lnTo>
                <a:lnTo>
                  <a:pt x="216373" y="139966"/>
                </a:lnTo>
                <a:lnTo>
                  <a:pt x="193675" y="135432"/>
                </a:lnTo>
                <a:close/>
              </a:path>
            </a:pathLst>
          </a:custGeom>
          <a:solidFill>
            <a:srgbClr val="FFFFFF"/>
          </a:solidFill>
        </p:spPr>
        <p:txBody>
          <a:bodyPr wrap="square" lIns="0" tIns="0" rIns="0" bIns="0" rtlCol="0"/>
          <a:lstStyle/>
          <a:p>
            <a:endParaRPr/>
          </a:p>
        </p:txBody>
      </p:sp>
      <p:pic>
        <p:nvPicPr>
          <p:cNvPr id="276" name="object 212">
            <a:extLst>
              <a:ext uri="{FF2B5EF4-FFF2-40B4-BE49-F238E27FC236}">
                <a16:creationId xmlns:a16="http://schemas.microsoft.com/office/drawing/2014/main" id="{904F9997-08BD-215E-087B-52A324486308}"/>
              </a:ext>
            </a:extLst>
          </p:cNvPr>
          <p:cNvPicPr/>
          <p:nvPr/>
        </p:nvPicPr>
        <p:blipFill>
          <a:blip r:embed="rId7" cstate="print"/>
          <a:stretch>
            <a:fillRect/>
          </a:stretch>
        </p:blipFill>
        <p:spPr>
          <a:xfrm>
            <a:off x="6824980" y="3877120"/>
            <a:ext cx="145359" cy="127189"/>
          </a:xfrm>
          <a:prstGeom prst="rect">
            <a:avLst/>
          </a:prstGeom>
        </p:spPr>
      </p:pic>
      <p:sp>
        <p:nvSpPr>
          <p:cNvPr id="9" name="object 136">
            <a:extLst>
              <a:ext uri="{FF2B5EF4-FFF2-40B4-BE49-F238E27FC236}">
                <a16:creationId xmlns:a16="http://schemas.microsoft.com/office/drawing/2014/main" id="{E6FD9E4D-1BDC-75D3-C618-A53A5580AB78}"/>
              </a:ext>
            </a:extLst>
          </p:cNvPr>
          <p:cNvSpPr txBox="1"/>
          <p:nvPr/>
        </p:nvSpPr>
        <p:spPr>
          <a:xfrm>
            <a:off x="960713" y="2967808"/>
            <a:ext cx="201338" cy="105157"/>
          </a:xfrm>
          <a:prstGeom prst="rect">
            <a:avLst/>
          </a:prstGeom>
        </p:spPr>
        <p:txBody>
          <a:bodyPr vert="horz" wrap="none" lIns="0" tIns="12700" rIns="0" bIns="0" rtlCol="0">
            <a:spAutoFit/>
          </a:bodyPr>
          <a:lstStyle/>
          <a:p>
            <a:pPr marL="12700" algn="ctr">
              <a:lnSpc>
                <a:spcPct val="100000"/>
              </a:lnSpc>
              <a:spcBef>
                <a:spcPts val="100"/>
              </a:spcBef>
            </a:pPr>
            <a:r>
              <a:rPr sz="600" dirty="0">
                <a:solidFill>
                  <a:srgbClr val="FFFFFF"/>
                </a:solidFill>
                <a:latin typeface="Arial"/>
                <a:cs typeface="Arial"/>
              </a:rPr>
              <a:t>32</a:t>
            </a:r>
            <a:r>
              <a:rPr sz="600" spc="45" dirty="0">
                <a:solidFill>
                  <a:srgbClr val="FFFFFF"/>
                </a:solidFill>
                <a:latin typeface="Arial"/>
                <a:cs typeface="Arial"/>
              </a:rPr>
              <a:t> </a:t>
            </a:r>
            <a:r>
              <a:rPr sz="600" spc="-25" dirty="0">
                <a:solidFill>
                  <a:srgbClr val="FFFFFF"/>
                </a:solidFill>
                <a:latin typeface="Arial"/>
                <a:cs typeface="Arial"/>
              </a:rPr>
              <a:t>px</a:t>
            </a:r>
            <a:endParaRPr sz="600">
              <a:latin typeface="Arial"/>
              <a:cs typeface="Arial"/>
            </a:endParaRPr>
          </a:p>
        </p:txBody>
      </p:sp>
      <p:sp>
        <p:nvSpPr>
          <p:cNvPr id="12" name="object 137">
            <a:extLst>
              <a:ext uri="{FF2B5EF4-FFF2-40B4-BE49-F238E27FC236}">
                <a16:creationId xmlns:a16="http://schemas.microsoft.com/office/drawing/2014/main" id="{46628142-D1A5-DE53-8FA5-7B7AFC03D3BE}"/>
              </a:ext>
            </a:extLst>
          </p:cNvPr>
          <p:cNvSpPr txBox="1"/>
          <p:nvPr/>
        </p:nvSpPr>
        <p:spPr>
          <a:xfrm>
            <a:off x="1904723" y="2000654"/>
            <a:ext cx="92333" cy="228268"/>
          </a:xfrm>
          <a:prstGeom prst="rect">
            <a:avLst/>
          </a:prstGeom>
        </p:spPr>
        <p:txBody>
          <a:bodyPr vert="vert270" wrap="none" lIns="0" tIns="26670" rIns="0" bIns="0" rtlCol="0">
            <a:spAutoFit/>
          </a:bodyPr>
          <a:lstStyle/>
          <a:p>
            <a:pPr marL="12700" algn="ctr">
              <a:lnSpc>
                <a:spcPct val="100000"/>
              </a:lnSpc>
              <a:spcBef>
                <a:spcPts val="210"/>
              </a:spcBef>
            </a:pPr>
            <a:r>
              <a:rPr sz="600" dirty="0">
                <a:solidFill>
                  <a:srgbClr val="FFFFFF"/>
                </a:solidFill>
                <a:latin typeface="Arial"/>
                <a:cs typeface="Arial"/>
              </a:rPr>
              <a:t>32</a:t>
            </a:r>
            <a:r>
              <a:rPr sz="600" spc="45" dirty="0">
                <a:solidFill>
                  <a:srgbClr val="FFFFFF"/>
                </a:solidFill>
                <a:latin typeface="Arial"/>
                <a:cs typeface="Arial"/>
              </a:rPr>
              <a:t> </a:t>
            </a:r>
            <a:r>
              <a:rPr sz="600" spc="-25" dirty="0">
                <a:solidFill>
                  <a:srgbClr val="FFFFFF"/>
                </a:solidFill>
                <a:latin typeface="Arial"/>
                <a:cs typeface="Arial"/>
              </a:rPr>
              <a:t>px</a:t>
            </a:r>
            <a:endParaRPr sz="600">
              <a:latin typeface="Arial"/>
              <a:cs typeface="Arial"/>
            </a:endParaRPr>
          </a:p>
        </p:txBody>
      </p:sp>
      <p:sp>
        <p:nvSpPr>
          <p:cNvPr id="13" name="Foliennummernplatzhalter 1">
            <a:extLst>
              <a:ext uri="{FF2B5EF4-FFF2-40B4-BE49-F238E27FC236}">
                <a16:creationId xmlns:a16="http://schemas.microsoft.com/office/drawing/2014/main" id="{D0942378-C07C-B47C-CF2B-EA2E74A59212}"/>
              </a:ext>
            </a:extLst>
          </p:cNvPr>
          <p:cNvSpPr>
            <a:spLocks noGrp="1"/>
          </p:cNvSpPr>
          <p:nvPr>
            <p:ph type="sldNum" sz="quarter" idx="11"/>
          </p:nvPr>
        </p:nvSpPr>
        <p:spPr>
          <a:xfrm>
            <a:off x="8478000" y="4896000"/>
            <a:ext cx="360000" cy="180000"/>
          </a:xfrm>
        </p:spPr>
        <p:txBody>
          <a:bodyPr/>
          <a:lstStyle/>
          <a:p>
            <a:fld id="{D56DB8AA-803C-49D2-90AA-1140CE72DCD7}" type="slidenum">
              <a:rPr lang="en-GB" smtClean="0">
                <a:solidFill>
                  <a:schemeClr val="bg1"/>
                </a:solidFill>
              </a:rPr>
              <a:pPr/>
              <a:t>2</a:t>
            </a:fld>
            <a:endParaRPr lang="en-GB" dirty="0">
              <a:solidFill>
                <a:schemeClr val="bg1"/>
              </a:solidFill>
            </a:endParaRPr>
          </a:p>
        </p:txBody>
      </p:sp>
      <p:pic>
        <p:nvPicPr>
          <p:cNvPr id="15" name="Logo 1">
            <a:extLst>
              <a:ext uri="{FF2B5EF4-FFF2-40B4-BE49-F238E27FC236}">
                <a16:creationId xmlns:a16="http://schemas.microsoft.com/office/drawing/2014/main" id="{8E6231FD-2E51-DC3E-0212-865EFB568863}"/>
              </a:ext>
            </a:extLst>
          </p:cNvPr>
          <p:cNvPicPr preferRelativeResize="0">
            <a:picLocks/>
          </p:cNvPicPr>
          <p:nvPr/>
        </p:nvPicPr>
        <p:blipFill>
          <a:blip r:embed="rId8">
            <a:biLevel thresh="25000"/>
          </a:blip>
          <a:stretch>
            <a:fillRect/>
          </a:stretch>
        </p:blipFill>
        <p:spPr>
          <a:xfrm>
            <a:off x="7584788" y="307350"/>
            <a:ext cx="1306800" cy="302400"/>
          </a:xfrm>
          <a:prstGeom prst="rect">
            <a:avLst/>
          </a:prstGeom>
        </p:spPr>
      </p:pic>
    </p:spTree>
    <p:extLst>
      <p:ext uri="{BB962C8B-B14F-4D97-AF65-F5344CB8AC3E}">
        <p14:creationId xmlns:p14="http://schemas.microsoft.com/office/powerpoint/2010/main" val="3450322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04CDB12-6BE7-43A5-95AC-DA3E8AD87812}"/>
              </a:ext>
            </a:extLst>
          </p:cNvPr>
          <p:cNvGraphicFramePr>
            <a:graphicFrameLocks noChangeAspect="1"/>
          </p:cNvGraphicFramePr>
          <p:nvPr>
            <p:custDataLst>
              <p:tags r:id="rId1"/>
            </p:custDataLst>
            <p:extLst>
              <p:ext uri="{D42A27DB-BD31-4B8C-83A1-F6EECF244321}">
                <p14:modId xmlns:p14="http://schemas.microsoft.com/office/powerpoint/2010/main" val="658656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304CDB12-6BE7-43A5-95AC-DA3E8AD8781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79A2CD4-53F1-4CF2-9B78-F1B8BAEF8B49}"/>
              </a:ext>
            </a:extLst>
          </p:cNvPr>
          <p:cNvSpPr>
            <a:spLocks noGrp="1"/>
          </p:cNvSpPr>
          <p:nvPr>
            <p:ph type="sldNum" sz="quarter" idx="11"/>
          </p:nvPr>
        </p:nvSpPr>
        <p:spPr/>
        <p:txBody>
          <a:bodyPr/>
          <a:lstStyle/>
          <a:p>
            <a:fld id="{D56DB8AA-803C-49D2-90AA-1140CE72DCD7}" type="slidenum">
              <a:rPr lang="en-GB" smtClean="0"/>
              <a:pPr/>
              <a:t>20</a:t>
            </a:fld>
            <a:endParaRPr lang="en-GB" dirty="0"/>
          </a:p>
        </p:txBody>
      </p:sp>
      <p:sp>
        <p:nvSpPr>
          <p:cNvPr id="3" name="Title 2">
            <a:extLst>
              <a:ext uri="{FF2B5EF4-FFF2-40B4-BE49-F238E27FC236}">
                <a16:creationId xmlns:a16="http://schemas.microsoft.com/office/drawing/2014/main" id="{CFAB768F-7BC6-7B4A-EEC2-7319D6F25482}"/>
              </a:ext>
            </a:extLst>
          </p:cNvPr>
          <p:cNvSpPr>
            <a:spLocks noGrp="1"/>
          </p:cNvSpPr>
          <p:nvPr>
            <p:ph type="title"/>
          </p:nvPr>
        </p:nvSpPr>
        <p:spPr>
          <a:xfrm>
            <a:off x="252000" y="252000"/>
            <a:ext cx="6748875" cy="576000"/>
          </a:xfrm>
        </p:spPr>
        <p:txBody>
          <a:bodyPr vert="horz"/>
          <a:lstStyle/>
          <a:p>
            <a:r>
              <a:rPr lang="en-US" dirty="0"/>
              <a:t>Finance/Business 1/2</a:t>
            </a:r>
          </a:p>
        </p:txBody>
      </p:sp>
      <p:sp>
        <p:nvSpPr>
          <p:cNvPr id="41" name="TextBox 40">
            <a:extLst>
              <a:ext uri="{FF2B5EF4-FFF2-40B4-BE49-F238E27FC236}">
                <a16:creationId xmlns:a16="http://schemas.microsoft.com/office/drawing/2014/main" id="{2EE0237C-609D-42DC-8F6F-DBB40E1284B3}"/>
              </a:ext>
            </a:extLst>
          </p:cNvPr>
          <p:cNvSpPr txBox="1"/>
          <p:nvPr/>
        </p:nvSpPr>
        <p:spPr>
          <a:xfrm>
            <a:off x="4908600" y="3723675"/>
            <a:ext cx="798548" cy="107722"/>
          </a:xfrm>
          <a:prstGeom prst="rect">
            <a:avLst/>
          </a:prstGeom>
          <a:noFill/>
          <a:effectLst/>
        </p:spPr>
        <p:txBody>
          <a:bodyPr wrap="square" lIns="0" tIns="0" rIns="0" bIns="0" rtlCol="0" anchor="t">
            <a:spAutoFit/>
          </a:bodyPr>
          <a:lstStyle/>
          <a:p>
            <a:pPr algn="ctr"/>
            <a:r>
              <a:rPr lang="en-GB" sz="700" dirty="0">
                <a:solidFill>
                  <a:schemeClr val="tx2"/>
                </a:solidFill>
              </a:rPr>
              <a:t>Analyst</a:t>
            </a:r>
          </a:p>
        </p:txBody>
      </p:sp>
      <p:sp>
        <p:nvSpPr>
          <p:cNvPr id="17" name="TextBox 16">
            <a:extLst>
              <a:ext uri="{FF2B5EF4-FFF2-40B4-BE49-F238E27FC236}">
                <a16:creationId xmlns:a16="http://schemas.microsoft.com/office/drawing/2014/main" id="{4EC3702E-D634-4BBF-924B-846FE8131613}"/>
              </a:ext>
            </a:extLst>
          </p:cNvPr>
          <p:cNvSpPr txBox="1"/>
          <p:nvPr/>
        </p:nvSpPr>
        <p:spPr>
          <a:xfrm>
            <a:off x="452119"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ortfolio management</a:t>
            </a:r>
          </a:p>
        </p:txBody>
      </p:sp>
      <p:sp>
        <p:nvSpPr>
          <p:cNvPr id="18" name="TextBox 17">
            <a:extLst>
              <a:ext uri="{FF2B5EF4-FFF2-40B4-BE49-F238E27FC236}">
                <a16:creationId xmlns:a16="http://schemas.microsoft.com/office/drawing/2014/main" id="{87D8A6D9-1552-44F9-90F4-E6F7DF99DE86}"/>
              </a:ext>
            </a:extLst>
          </p:cNvPr>
          <p:cNvSpPr txBox="1"/>
          <p:nvPr/>
        </p:nvSpPr>
        <p:spPr>
          <a:xfrm>
            <a:off x="3588420"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tocks </a:t>
            </a:r>
          </a:p>
        </p:txBody>
      </p:sp>
      <p:sp>
        <p:nvSpPr>
          <p:cNvPr id="19" name="TextBox 18">
            <a:extLst>
              <a:ext uri="{FF2B5EF4-FFF2-40B4-BE49-F238E27FC236}">
                <a16:creationId xmlns:a16="http://schemas.microsoft.com/office/drawing/2014/main" id="{D96C191D-F76F-46CA-A71D-F7185CE36A00}"/>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argin</a:t>
            </a:r>
            <a:br>
              <a:rPr lang="en-GB" sz="700" dirty="0">
                <a:solidFill>
                  <a:schemeClr val="tx2"/>
                </a:solidFill>
              </a:rPr>
            </a:br>
            <a:r>
              <a:rPr lang="en-GB" sz="700" dirty="0">
                <a:solidFill>
                  <a:schemeClr val="tx2"/>
                </a:solidFill>
              </a:rPr>
              <a:t>trading</a:t>
            </a:r>
          </a:p>
        </p:txBody>
      </p:sp>
      <p:sp>
        <p:nvSpPr>
          <p:cNvPr id="20" name="TextBox 19">
            <a:extLst>
              <a:ext uri="{FF2B5EF4-FFF2-40B4-BE49-F238E27FC236}">
                <a16:creationId xmlns:a16="http://schemas.microsoft.com/office/drawing/2014/main" id="{E0D98BB0-220F-4C2E-89C7-5CE1A62638EE}"/>
              </a:ext>
            </a:extLst>
          </p:cNvPr>
          <p:cNvSpPr txBox="1"/>
          <p:nvPr/>
        </p:nvSpPr>
        <p:spPr>
          <a:xfrm>
            <a:off x="1497553"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vestment products</a:t>
            </a:r>
          </a:p>
        </p:txBody>
      </p:sp>
      <p:sp>
        <p:nvSpPr>
          <p:cNvPr id="21" name="TextBox 20">
            <a:extLst>
              <a:ext uri="{FF2B5EF4-FFF2-40B4-BE49-F238E27FC236}">
                <a16:creationId xmlns:a16="http://schemas.microsoft.com/office/drawing/2014/main" id="{265A77DC-02E4-4903-9E80-6538FB0D8499}"/>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batement</a:t>
            </a:r>
          </a:p>
        </p:txBody>
      </p:sp>
      <p:sp>
        <p:nvSpPr>
          <p:cNvPr id="22" name="TextBox 21">
            <a:extLst>
              <a:ext uri="{FF2B5EF4-FFF2-40B4-BE49-F238E27FC236}">
                <a16:creationId xmlns:a16="http://schemas.microsoft.com/office/drawing/2014/main" id="{FF9E1EDC-8221-43EE-BF62-605EA3737F65}"/>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payment</a:t>
            </a:r>
          </a:p>
        </p:txBody>
      </p:sp>
      <p:sp>
        <p:nvSpPr>
          <p:cNvPr id="23" name="TextBox 22">
            <a:extLst>
              <a:ext uri="{FF2B5EF4-FFF2-40B4-BE49-F238E27FC236}">
                <a16:creationId xmlns:a16="http://schemas.microsoft.com/office/drawing/2014/main" id="{6DFBF099-3DCF-40EA-A3DD-FB9546313D23}"/>
              </a:ext>
            </a:extLst>
          </p:cNvPr>
          <p:cNvSpPr txBox="1"/>
          <p:nvPr/>
        </p:nvSpPr>
        <p:spPr>
          <a:xfrm>
            <a:off x="254298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sset</a:t>
            </a:r>
            <a:br>
              <a:rPr lang="en-GB" sz="700" dirty="0">
                <a:solidFill>
                  <a:schemeClr val="tx2"/>
                </a:solidFill>
              </a:rPr>
            </a:br>
            <a:r>
              <a:rPr lang="en-GB" sz="700" dirty="0">
                <a:solidFill>
                  <a:schemeClr val="tx2"/>
                </a:solidFill>
              </a:rPr>
              <a:t>allocation</a:t>
            </a:r>
          </a:p>
        </p:txBody>
      </p:sp>
      <p:sp>
        <p:nvSpPr>
          <p:cNvPr id="24" name="TextBox 23">
            <a:extLst>
              <a:ext uri="{FF2B5EF4-FFF2-40B4-BE49-F238E27FC236}">
                <a16:creationId xmlns:a16="http://schemas.microsoft.com/office/drawing/2014/main" id="{1BEE4C5F-CE60-456F-AD0A-6E5CE92F05E5}"/>
              </a:ext>
            </a:extLst>
          </p:cNvPr>
          <p:cNvSpPr txBox="1"/>
          <p:nvPr/>
        </p:nvSpPr>
        <p:spPr>
          <a:xfrm>
            <a:off x="1497553"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Financial statements</a:t>
            </a:r>
          </a:p>
        </p:txBody>
      </p:sp>
      <p:sp>
        <p:nvSpPr>
          <p:cNvPr id="25" name="TextBox 24">
            <a:extLst>
              <a:ext uri="{FF2B5EF4-FFF2-40B4-BE49-F238E27FC236}">
                <a16:creationId xmlns:a16="http://schemas.microsoft.com/office/drawing/2014/main" id="{F2607004-F482-4492-BBB3-42655F6C75E3}"/>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redit history</a:t>
            </a:r>
          </a:p>
        </p:txBody>
      </p:sp>
      <p:sp>
        <p:nvSpPr>
          <p:cNvPr id="26" name="TextBox 25">
            <a:extLst>
              <a:ext uri="{FF2B5EF4-FFF2-40B4-BE49-F238E27FC236}">
                <a16:creationId xmlns:a16="http://schemas.microsoft.com/office/drawing/2014/main" id="{DB559FDE-C462-463E-BE89-E2CC0B7EB204}"/>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ntribution</a:t>
            </a:r>
          </a:p>
        </p:txBody>
      </p:sp>
      <p:sp>
        <p:nvSpPr>
          <p:cNvPr id="27" name="TextBox 26">
            <a:extLst>
              <a:ext uri="{FF2B5EF4-FFF2-40B4-BE49-F238E27FC236}">
                <a16:creationId xmlns:a16="http://schemas.microsoft.com/office/drawing/2014/main" id="{BE7A6965-23F6-4FBA-9F0B-AC745FE1CABE}"/>
              </a:ext>
            </a:extLst>
          </p:cNvPr>
          <p:cNvSpPr txBox="1"/>
          <p:nvPr/>
        </p:nvSpPr>
        <p:spPr>
          <a:xfrm>
            <a:off x="2542987"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hareholder</a:t>
            </a:r>
            <a:br>
              <a:rPr lang="en-GB" sz="700" dirty="0">
                <a:solidFill>
                  <a:schemeClr val="tx2"/>
                </a:solidFill>
              </a:rPr>
            </a:br>
            <a:r>
              <a:rPr lang="en-GB" sz="700" dirty="0">
                <a:solidFill>
                  <a:schemeClr val="tx2"/>
                </a:solidFill>
              </a:rPr>
              <a:t>value</a:t>
            </a:r>
          </a:p>
        </p:txBody>
      </p:sp>
      <p:sp>
        <p:nvSpPr>
          <p:cNvPr id="28" name="TextBox 27">
            <a:extLst>
              <a:ext uri="{FF2B5EF4-FFF2-40B4-BE49-F238E27FC236}">
                <a16:creationId xmlns:a16="http://schemas.microsoft.com/office/drawing/2014/main" id="{50FECC9A-BCCF-48EB-8A7A-AFB4EEE9460E}"/>
              </a:ext>
            </a:extLst>
          </p:cNvPr>
          <p:cNvSpPr txBox="1"/>
          <p:nvPr/>
        </p:nvSpPr>
        <p:spPr>
          <a:xfrm>
            <a:off x="1497553"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ccumulated</a:t>
            </a:r>
            <a:br>
              <a:rPr lang="en-GB" sz="700" dirty="0">
                <a:solidFill>
                  <a:schemeClr val="tx2"/>
                </a:solidFill>
              </a:rPr>
            </a:br>
            <a:r>
              <a:rPr lang="en-GB" sz="700" dirty="0">
                <a:solidFill>
                  <a:schemeClr val="tx2"/>
                </a:solidFill>
              </a:rPr>
              <a:t>income</a:t>
            </a:r>
          </a:p>
        </p:txBody>
      </p:sp>
      <p:sp>
        <p:nvSpPr>
          <p:cNvPr id="29" name="TextBox 28">
            <a:extLst>
              <a:ext uri="{FF2B5EF4-FFF2-40B4-BE49-F238E27FC236}">
                <a16:creationId xmlns:a16="http://schemas.microsoft.com/office/drawing/2014/main" id="{48B2F9CE-47F4-4122-80BD-7AD1A2965902}"/>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epository</a:t>
            </a:r>
          </a:p>
        </p:txBody>
      </p:sp>
      <p:sp>
        <p:nvSpPr>
          <p:cNvPr id="30" name="TextBox 29">
            <a:extLst>
              <a:ext uri="{FF2B5EF4-FFF2-40B4-BE49-F238E27FC236}">
                <a16:creationId xmlns:a16="http://schemas.microsoft.com/office/drawing/2014/main" id="{1468463D-5F22-4837-9A94-3724A7F1FC9B}"/>
              </a:ext>
            </a:extLst>
          </p:cNvPr>
          <p:cNvSpPr txBox="1"/>
          <p:nvPr/>
        </p:nvSpPr>
        <p:spPr>
          <a:xfrm>
            <a:off x="3588420"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Finance</a:t>
            </a:r>
            <a:br>
              <a:rPr lang="en-GB" sz="700" dirty="0">
                <a:solidFill>
                  <a:schemeClr val="tx2"/>
                </a:solidFill>
              </a:rPr>
            </a:br>
            <a:r>
              <a:rPr lang="en-GB" sz="700" dirty="0">
                <a:solidFill>
                  <a:schemeClr val="tx2"/>
                </a:solidFill>
              </a:rPr>
              <a:t>insurance</a:t>
            </a:r>
          </a:p>
        </p:txBody>
      </p:sp>
      <p:sp>
        <p:nvSpPr>
          <p:cNvPr id="31" name="TextBox 30">
            <a:extLst>
              <a:ext uri="{FF2B5EF4-FFF2-40B4-BE49-F238E27FC236}">
                <a16:creationId xmlns:a16="http://schemas.microsoft.com/office/drawing/2014/main" id="{04796D37-6DD9-4261-886A-AE35D2022AC7}"/>
              </a:ext>
            </a:extLst>
          </p:cNvPr>
          <p:cNvSpPr txBox="1"/>
          <p:nvPr/>
        </p:nvSpPr>
        <p:spPr>
          <a:xfrm>
            <a:off x="254298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vestment</a:t>
            </a:r>
            <a:br>
              <a:rPr lang="en-GB" sz="700" dirty="0">
                <a:solidFill>
                  <a:schemeClr val="tx2"/>
                </a:solidFill>
              </a:rPr>
            </a:br>
            <a:r>
              <a:rPr lang="en-GB" sz="700" dirty="0">
                <a:solidFill>
                  <a:schemeClr val="tx2"/>
                </a:solidFill>
              </a:rPr>
              <a:t>strategy</a:t>
            </a:r>
          </a:p>
        </p:txBody>
      </p:sp>
      <p:sp>
        <p:nvSpPr>
          <p:cNvPr id="32" name="TextBox 31">
            <a:extLst>
              <a:ext uri="{FF2B5EF4-FFF2-40B4-BE49-F238E27FC236}">
                <a16:creationId xmlns:a16="http://schemas.microsoft.com/office/drawing/2014/main" id="{B1EF4F16-0024-4D40-9906-1FCB705DDFE5}"/>
              </a:ext>
            </a:extLst>
          </p:cNvPr>
          <p:cNvSpPr txBox="1"/>
          <p:nvPr/>
        </p:nvSpPr>
        <p:spPr>
          <a:xfrm>
            <a:off x="1497553"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ower</a:t>
            </a:r>
            <a:br>
              <a:rPr lang="en-GB" sz="700" dirty="0">
                <a:solidFill>
                  <a:schemeClr val="tx2"/>
                </a:solidFill>
              </a:rPr>
            </a:br>
            <a:r>
              <a:rPr lang="en-GB" sz="700" dirty="0">
                <a:solidFill>
                  <a:schemeClr val="tx2"/>
                </a:solidFill>
              </a:rPr>
              <a:t>of attorney</a:t>
            </a:r>
          </a:p>
        </p:txBody>
      </p:sp>
      <p:grpSp>
        <p:nvGrpSpPr>
          <p:cNvPr id="49" name="Group 48">
            <a:extLst>
              <a:ext uri="{FF2B5EF4-FFF2-40B4-BE49-F238E27FC236}">
                <a16:creationId xmlns:a16="http://schemas.microsoft.com/office/drawing/2014/main" id="{CE0DCC19-0628-1CAD-66FF-92A162008CC6}"/>
              </a:ext>
            </a:extLst>
          </p:cNvPr>
          <p:cNvGrpSpPr/>
          <p:nvPr/>
        </p:nvGrpSpPr>
        <p:grpSpPr>
          <a:xfrm>
            <a:off x="470050" y="1623584"/>
            <a:ext cx="648000" cy="356801"/>
            <a:chOff x="470050" y="1623584"/>
            <a:chExt cx="648000" cy="356801"/>
          </a:xfrm>
        </p:grpSpPr>
        <p:grpSp>
          <p:nvGrpSpPr>
            <p:cNvPr id="50" name="Grafik 325">
              <a:extLst>
                <a:ext uri="{FF2B5EF4-FFF2-40B4-BE49-F238E27FC236}">
                  <a16:creationId xmlns:a16="http://schemas.microsoft.com/office/drawing/2014/main" id="{7B76D71C-5E43-4E94-BB71-E239C28C8FC6}"/>
                </a:ext>
              </a:extLst>
            </p:cNvPr>
            <p:cNvGrpSpPr/>
            <p:nvPr/>
          </p:nvGrpSpPr>
          <p:grpSpPr>
            <a:xfrm>
              <a:off x="470050" y="1670615"/>
              <a:ext cx="356966" cy="308357"/>
              <a:chOff x="827791" y="1814640"/>
              <a:chExt cx="281823" cy="243447"/>
            </a:xfrm>
            <a:solidFill>
              <a:schemeClr val="tx2"/>
            </a:solidFill>
          </p:grpSpPr>
          <p:sp>
            <p:nvSpPr>
              <p:cNvPr id="63" name="Freihandform: Form 476">
                <a:extLst>
                  <a:ext uri="{FF2B5EF4-FFF2-40B4-BE49-F238E27FC236}">
                    <a16:creationId xmlns:a16="http://schemas.microsoft.com/office/drawing/2014/main" id="{62485661-7931-46B8-8EBB-0CD9BBB8CB2D}"/>
                  </a:ext>
                </a:extLst>
              </p:cNvPr>
              <p:cNvSpPr/>
              <p:nvPr/>
            </p:nvSpPr>
            <p:spPr>
              <a:xfrm>
                <a:off x="842194" y="1921961"/>
                <a:ext cx="253037" cy="136126"/>
              </a:xfrm>
              <a:custGeom>
                <a:avLst/>
                <a:gdLst>
                  <a:gd name="connsiteX0" fmla="*/ 233375 w 253037"/>
                  <a:gd name="connsiteY0" fmla="*/ 136126 h 136126"/>
                  <a:gd name="connsiteX1" fmla="*/ 19662 w 253037"/>
                  <a:gd name="connsiteY1" fmla="*/ 136126 h 136126"/>
                  <a:gd name="connsiteX2" fmla="*/ 0 w 253037"/>
                  <a:gd name="connsiteY2" fmla="*/ 116465 h 136126"/>
                  <a:gd name="connsiteX3" fmla="*/ 0 w 253037"/>
                  <a:gd name="connsiteY3" fmla="*/ 0 h 136126"/>
                  <a:gd name="connsiteX4" fmla="*/ 13102 w 253037"/>
                  <a:gd name="connsiteY4" fmla="*/ 0 h 136126"/>
                  <a:gd name="connsiteX5" fmla="*/ 13102 w 253037"/>
                  <a:gd name="connsiteY5" fmla="*/ 116465 h 136126"/>
                  <a:gd name="connsiteX6" fmla="*/ 19662 w 253037"/>
                  <a:gd name="connsiteY6" fmla="*/ 123025 h 136126"/>
                  <a:gd name="connsiteX7" fmla="*/ 233375 w 253037"/>
                  <a:gd name="connsiteY7" fmla="*/ 123025 h 136126"/>
                  <a:gd name="connsiteX8" fmla="*/ 239935 w 253037"/>
                  <a:gd name="connsiteY8" fmla="*/ 116465 h 136126"/>
                  <a:gd name="connsiteX9" fmla="*/ 239935 w 253037"/>
                  <a:gd name="connsiteY9" fmla="*/ 0 h 136126"/>
                  <a:gd name="connsiteX10" fmla="*/ 253037 w 253037"/>
                  <a:gd name="connsiteY10" fmla="*/ 0 h 136126"/>
                  <a:gd name="connsiteX11" fmla="*/ 253037 w 253037"/>
                  <a:gd name="connsiteY11" fmla="*/ 116465 h 136126"/>
                  <a:gd name="connsiteX12" fmla="*/ 233375 w 253037"/>
                  <a:gd name="connsiteY12" fmla="*/ 136126 h 136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037" h="136126">
                    <a:moveTo>
                      <a:pt x="233375" y="136126"/>
                    </a:moveTo>
                    <a:lnTo>
                      <a:pt x="19662" y="136126"/>
                    </a:lnTo>
                    <a:cubicBezTo>
                      <a:pt x="8827" y="136126"/>
                      <a:pt x="0" y="127299"/>
                      <a:pt x="0" y="116465"/>
                    </a:cubicBezTo>
                    <a:lnTo>
                      <a:pt x="0" y="0"/>
                    </a:lnTo>
                    <a:lnTo>
                      <a:pt x="13102" y="0"/>
                    </a:lnTo>
                    <a:lnTo>
                      <a:pt x="13102" y="116465"/>
                    </a:lnTo>
                    <a:cubicBezTo>
                      <a:pt x="13102" y="120070"/>
                      <a:pt x="16038" y="123025"/>
                      <a:pt x="19662" y="123025"/>
                    </a:cubicBezTo>
                    <a:lnTo>
                      <a:pt x="233375" y="123025"/>
                    </a:lnTo>
                    <a:cubicBezTo>
                      <a:pt x="236981" y="123025"/>
                      <a:pt x="239935" y="120089"/>
                      <a:pt x="239935" y="116465"/>
                    </a:cubicBezTo>
                    <a:lnTo>
                      <a:pt x="239935" y="0"/>
                    </a:lnTo>
                    <a:lnTo>
                      <a:pt x="253037" y="0"/>
                    </a:lnTo>
                    <a:lnTo>
                      <a:pt x="253037" y="116465"/>
                    </a:lnTo>
                    <a:cubicBezTo>
                      <a:pt x="253037" y="127299"/>
                      <a:pt x="244210" y="136126"/>
                      <a:pt x="233375" y="136126"/>
                    </a:cubicBezTo>
                    <a:close/>
                  </a:path>
                </a:pathLst>
              </a:custGeom>
              <a:grpFill/>
              <a:ln w="1858" cap="flat">
                <a:noFill/>
                <a:prstDash val="solid"/>
                <a:miter/>
              </a:ln>
            </p:spPr>
            <p:txBody>
              <a:bodyPr rtlCol="0" anchor="ctr"/>
              <a:lstStyle/>
              <a:p>
                <a:endParaRPr lang="en-GB" dirty="0"/>
              </a:p>
            </p:txBody>
          </p:sp>
          <p:sp>
            <p:nvSpPr>
              <p:cNvPr id="64" name="Freihandform: Form 477">
                <a:extLst>
                  <a:ext uri="{FF2B5EF4-FFF2-40B4-BE49-F238E27FC236}">
                    <a16:creationId xmlns:a16="http://schemas.microsoft.com/office/drawing/2014/main" id="{4948A671-83B4-4DD0-900D-0ADD2724D3ED}"/>
                  </a:ext>
                </a:extLst>
              </p:cNvPr>
              <p:cNvSpPr/>
              <p:nvPr/>
            </p:nvSpPr>
            <p:spPr>
              <a:xfrm>
                <a:off x="827791" y="1843426"/>
                <a:ext cx="281823" cy="100854"/>
              </a:xfrm>
              <a:custGeom>
                <a:avLst/>
                <a:gdLst>
                  <a:gd name="connsiteX0" fmla="*/ 121705 w 281823"/>
                  <a:gd name="connsiteY0" fmla="*/ 100854 h 100854"/>
                  <a:gd name="connsiteX1" fmla="*/ 120553 w 281823"/>
                  <a:gd name="connsiteY1" fmla="*/ 100743 h 100854"/>
                  <a:gd name="connsiteX2" fmla="*/ 5408 w 281823"/>
                  <a:gd name="connsiteY2" fmla="*/ 80189 h 100854"/>
                  <a:gd name="connsiteX3" fmla="*/ 0 w 281823"/>
                  <a:gd name="connsiteY3" fmla="*/ 73741 h 100854"/>
                  <a:gd name="connsiteX4" fmla="*/ 0 w 281823"/>
                  <a:gd name="connsiteY4" fmla="*/ 19662 h 100854"/>
                  <a:gd name="connsiteX5" fmla="*/ 19662 w 281823"/>
                  <a:gd name="connsiteY5" fmla="*/ 0 h 100854"/>
                  <a:gd name="connsiteX6" fmla="*/ 262162 w 281823"/>
                  <a:gd name="connsiteY6" fmla="*/ 0 h 100854"/>
                  <a:gd name="connsiteX7" fmla="*/ 281823 w 281823"/>
                  <a:gd name="connsiteY7" fmla="*/ 19662 h 100854"/>
                  <a:gd name="connsiteX8" fmla="*/ 281823 w 281823"/>
                  <a:gd name="connsiteY8" fmla="*/ 73741 h 100854"/>
                  <a:gd name="connsiteX9" fmla="*/ 276415 w 281823"/>
                  <a:gd name="connsiteY9" fmla="*/ 80189 h 100854"/>
                  <a:gd name="connsiteX10" fmla="*/ 161512 w 281823"/>
                  <a:gd name="connsiteY10" fmla="*/ 100706 h 100854"/>
                  <a:gd name="connsiteX11" fmla="*/ 153911 w 281823"/>
                  <a:gd name="connsiteY11" fmla="*/ 95409 h 100854"/>
                  <a:gd name="connsiteX12" fmla="*/ 159207 w 281823"/>
                  <a:gd name="connsiteY12" fmla="*/ 87808 h 100854"/>
                  <a:gd name="connsiteX13" fmla="*/ 268703 w 281823"/>
                  <a:gd name="connsiteY13" fmla="*/ 68258 h 100854"/>
                  <a:gd name="connsiteX14" fmla="*/ 268703 w 281823"/>
                  <a:gd name="connsiteY14" fmla="*/ 19680 h 100854"/>
                  <a:gd name="connsiteX15" fmla="*/ 262143 w 281823"/>
                  <a:gd name="connsiteY15" fmla="*/ 13120 h 100854"/>
                  <a:gd name="connsiteX16" fmla="*/ 19662 w 281823"/>
                  <a:gd name="connsiteY16" fmla="*/ 13120 h 100854"/>
                  <a:gd name="connsiteX17" fmla="*/ 13102 w 281823"/>
                  <a:gd name="connsiteY17" fmla="*/ 19680 h 100854"/>
                  <a:gd name="connsiteX18" fmla="*/ 13102 w 281823"/>
                  <a:gd name="connsiteY18" fmla="*/ 68258 h 100854"/>
                  <a:gd name="connsiteX19" fmla="*/ 122839 w 281823"/>
                  <a:gd name="connsiteY19" fmla="*/ 87846 h 100854"/>
                  <a:gd name="connsiteX20" fmla="*/ 128135 w 281823"/>
                  <a:gd name="connsiteY20" fmla="*/ 95446 h 100854"/>
                  <a:gd name="connsiteX21" fmla="*/ 121705 w 281823"/>
                  <a:gd name="connsiteY21" fmla="*/ 100854 h 100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1823" h="100854">
                    <a:moveTo>
                      <a:pt x="121705" y="100854"/>
                    </a:moveTo>
                    <a:cubicBezTo>
                      <a:pt x="121334" y="100854"/>
                      <a:pt x="120943" y="100817"/>
                      <a:pt x="120553" y="100743"/>
                    </a:cubicBezTo>
                    <a:lnTo>
                      <a:pt x="5408" y="80189"/>
                    </a:lnTo>
                    <a:cubicBezTo>
                      <a:pt x="2286" y="79632"/>
                      <a:pt x="0" y="76918"/>
                      <a:pt x="0" y="73741"/>
                    </a:cubicBezTo>
                    <a:lnTo>
                      <a:pt x="0" y="19662"/>
                    </a:lnTo>
                    <a:cubicBezTo>
                      <a:pt x="0" y="8827"/>
                      <a:pt x="8827" y="0"/>
                      <a:pt x="19662" y="0"/>
                    </a:cubicBezTo>
                    <a:lnTo>
                      <a:pt x="262162" y="0"/>
                    </a:lnTo>
                    <a:cubicBezTo>
                      <a:pt x="272996" y="0"/>
                      <a:pt x="281823" y="8827"/>
                      <a:pt x="281823" y="19662"/>
                    </a:cubicBezTo>
                    <a:lnTo>
                      <a:pt x="281823" y="73741"/>
                    </a:lnTo>
                    <a:cubicBezTo>
                      <a:pt x="281823" y="76918"/>
                      <a:pt x="279556" y="79632"/>
                      <a:pt x="276415" y="80189"/>
                    </a:cubicBezTo>
                    <a:lnTo>
                      <a:pt x="161512" y="100706"/>
                    </a:lnTo>
                    <a:cubicBezTo>
                      <a:pt x="157925" y="101356"/>
                      <a:pt x="154543" y="98977"/>
                      <a:pt x="153911" y="95409"/>
                    </a:cubicBezTo>
                    <a:cubicBezTo>
                      <a:pt x="153279" y="91841"/>
                      <a:pt x="155639" y="88440"/>
                      <a:pt x="159207" y="87808"/>
                    </a:cubicBezTo>
                    <a:lnTo>
                      <a:pt x="268703" y="68258"/>
                    </a:lnTo>
                    <a:lnTo>
                      <a:pt x="268703" y="19680"/>
                    </a:lnTo>
                    <a:cubicBezTo>
                      <a:pt x="268703" y="16075"/>
                      <a:pt x="265767" y="13120"/>
                      <a:pt x="262143" y="13120"/>
                    </a:cubicBezTo>
                    <a:lnTo>
                      <a:pt x="19662" y="13120"/>
                    </a:lnTo>
                    <a:cubicBezTo>
                      <a:pt x="16056" y="13120"/>
                      <a:pt x="13102" y="16056"/>
                      <a:pt x="13102" y="19680"/>
                    </a:cubicBezTo>
                    <a:lnTo>
                      <a:pt x="13102" y="68258"/>
                    </a:lnTo>
                    <a:lnTo>
                      <a:pt x="122839" y="87846"/>
                    </a:lnTo>
                    <a:cubicBezTo>
                      <a:pt x="126407" y="88477"/>
                      <a:pt x="128767" y="91897"/>
                      <a:pt x="128135" y="95446"/>
                    </a:cubicBezTo>
                    <a:cubicBezTo>
                      <a:pt x="127578" y="98624"/>
                      <a:pt x="124809" y="100854"/>
                      <a:pt x="121705" y="100854"/>
                    </a:cubicBezTo>
                    <a:close/>
                  </a:path>
                </a:pathLst>
              </a:custGeom>
              <a:grpFill/>
              <a:ln w="1858" cap="flat">
                <a:noFill/>
                <a:prstDash val="solid"/>
                <a:miter/>
              </a:ln>
            </p:spPr>
            <p:txBody>
              <a:bodyPr rtlCol="0" anchor="ctr"/>
              <a:lstStyle/>
              <a:p>
                <a:endParaRPr lang="en-GB" dirty="0"/>
              </a:p>
            </p:txBody>
          </p:sp>
          <p:sp>
            <p:nvSpPr>
              <p:cNvPr id="65" name="Freihandform: Form 478">
                <a:extLst>
                  <a:ext uri="{FF2B5EF4-FFF2-40B4-BE49-F238E27FC236}">
                    <a16:creationId xmlns:a16="http://schemas.microsoft.com/office/drawing/2014/main" id="{02F0ADBD-0E9D-40CE-BF35-6642DDD4667D}"/>
                  </a:ext>
                </a:extLst>
              </p:cNvPr>
              <p:cNvSpPr/>
              <p:nvPr/>
            </p:nvSpPr>
            <p:spPr>
              <a:xfrm>
                <a:off x="933347" y="1814640"/>
                <a:ext cx="70692" cy="41906"/>
              </a:xfrm>
              <a:custGeom>
                <a:avLst/>
                <a:gdLst>
                  <a:gd name="connsiteX0" fmla="*/ 64151 w 70692"/>
                  <a:gd name="connsiteY0" fmla="*/ 41906 h 41906"/>
                  <a:gd name="connsiteX1" fmla="*/ 6560 w 70692"/>
                  <a:gd name="connsiteY1" fmla="*/ 41906 h 41906"/>
                  <a:gd name="connsiteX2" fmla="*/ 0 w 70692"/>
                  <a:gd name="connsiteY2" fmla="*/ 35346 h 41906"/>
                  <a:gd name="connsiteX3" fmla="*/ 0 w 70692"/>
                  <a:gd name="connsiteY3" fmla="*/ 16149 h 41906"/>
                  <a:gd name="connsiteX4" fmla="*/ 16149 w 70692"/>
                  <a:gd name="connsiteY4" fmla="*/ 0 h 41906"/>
                  <a:gd name="connsiteX5" fmla="*/ 54543 w 70692"/>
                  <a:gd name="connsiteY5" fmla="*/ 0 h 41906"/>
                  <a:gd name="connsiteX6" fmla="*/ 70693 w 70692"/>
                  <a:gd name="connsiteY6" fmla="*/ 16149 h 41906"/>
                  <a:gd name="connsiteX7" fmla="*/ 70693 w 70692"/>
                  <a:gd name="connsiteY7" fmla="*/ 35346 h 41906"/>
                  <a:gd name="connsiteX8" fmla="*/ 64151 w 70692"/>
                  <a:gd name="connsiteY8" fmla="*/ 41906 h 41906"/>
                  <a:gd name="connsiteX9" fmla="*/ 13120 w 70692"/>
                  <a:gd name="connsiteY9" fmla="*/ 28786 h 41906"/>
                  <a:gd name="connsiteX10" fmla="*/ 57591 w 70692"/>
                  <a:gd name="connsiteY10" fmla="*/ 28786 h 41906"/>
                  <a:gd name="connsiteX11" fmla="*/ 57591 w 70692"/>
                  <a:gd name="connsiteY11" fmla="*/ 16149 h 41906"/>
                  <a:gd name="connsiteX12" fmla="*/ 54543 w 70692"/>
                  <a:gd name="connsiteY12" fmla="*/ 13102 h 41906"/>
                  <a:gd name="connsiteX13" fmla="*/ 16168 w 70692"/>
                  <a:gd name="connsiteY13" fmla="*/ 13102 h 41906"/>
                  <a:gd name="connsiteX14" fmla="*/ 13120 w 70692"/>
                  <a:gd name="connsiteY14" fmla="*/ 16149 h 41906"/>
                  <a:gd name="connsiteX15" fmla="*/ 13120 w 70692"/>
                  <a:gd name="connsiteY15" fmla="*/ 28786 h 4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692" h="41906">
                    <a:moveTo>
                      <a:pt x="64151" y="41906"/>
                    </a:moveTo>
                    <a:lnTo>
                      <a:pt x="6560" y="41906"/>
                    </a:lnTo>
                    <a:cubicBezTo>
                      <a:pt x="2936" y="41906"/>
                      <a:pt x="0" y="38970"/>
                      <a:pt x="0" y="35346"/>
                    </a:cubicBezTo>
                    <a:lnTo>
                      <a:pt x="0" y="16149"/>
                    </a:lnTo>
                    <a:cubicBezTo>
                      <a:pt x="0" y="7248"/>
                      <a:pt x="7248" y="0"/>
                      <a:pt x="16149" y="0"/>
                    </a:cubicBezTo>
                    <a:lnTo>
                      <a:pt x="54543" y="0"/>
                    </a:lnTo>
                    <a:cubicBezTo>
                      <a:pt x="63445" y="0"/>
                      <a:pt x="70693" y="7248"/>
                      <a:pt x="70693" y="16149"/>
                    </a:cubicBezTo>
                    <a:lnTo>
                      <a:pt x="70693" y="35346"/>
                    </a:lnTo>
                    <a:cubicBezTo>
                      <a:pt x="70711" y="38970"/>
                      <a:pt x="67775" y="41906"/>
                      <a:pt x="64151" y="41906"/>
                    </a:cubicBezTo>
                    <a:close/>
                    <a:moveTo>
                      <a:pt x="13120" y="28786"/>
                    </a:moveTo>
                    <a:lnTo>
                      <a:pt x="57591" y="28786"/>
                    </a:lnTo>
                    <a:lnTo>
                      <a:pt x="57591" y="16149"/>
                    </a:lnTo>
                    <a:cubicBezTo>
                      <a:pt x="57591" y="14477"/>
                      <a:pt x="56216" y="13102"/>
                      <a:pt x="54543" y="13102"/>
                    </a:cubicBezTo>
                    <a:lnTo>
                      <a:pt x="16168" y="13102"/>
                    </a:lnTo>
                    <a:cubicBezTo>
                      <a:pt x="14495" y="13102"/>
                      <a:pt x="13120" y="14477"/>
                      <a:pt x="13120" y="16149"/>
                    </a:cubicBezTo>
                    <a:lnTo>
                      <a:pt x="13120" y="28786"/>
                    </a:lnTo>
                    <a:close/>
                  </a:path>
                </a:pathLst>
              </a:custGeom>
              <a:grpFill/>
              <a:ln w="1858" cap="flat">
                <a:noFill/>
                <a:prstDash val="solid"/>
                <a:miter/>
              </a:ln>
            </p:spPr>
            <p:txBody>
              <a:bodyPr rtlCol="0" anchor="ctr"/>
              <a:lstStyle/>
              <a:p>
                <a:endParaRPr lang="en-GB" dirty="0"/>
              </a:p>
            </p:txBody>
          </p:sp>
          <p:sp>
            <p:nvSpPr>
              <p:cNvPr id="66" name="Freihandform: Form 479">
                <a:extLst>
                  <a:ext uri="{FF2B5EF4-FFF2-40B4-BE49-F238E27FC236}">
                    <a16:creationId xmlns:a16="http://schemas.microsoft.com/office/drawing/2014/main" id="{7C7B47C0-A3E3-4ABB-AED5-7AFD34F8A184}"/>
                  </a:ext>
                </a:extLst>
              </p:cNvPr>
              <p:cNvSpPr/>
              <p:nvPr/>
            </p:nvSpPr>
            <p:spPr>
              <a:xfrm>
                <a:off x="942955" y="1915401"/>
                <a:ext cx="51514" cy="51514"/>
              </a:xfrm>
              <a:custGeom>
                <a:avLst/>
                <a:gdLst>
                  <a:gd name="connsiteX0" fmla="*/ 25757 w 51514"/>
                  <a:gd name="connsiteY0" fmla="*/ 51514 h 51514"/>
                  <a:gd name="connsiteX1" fmla="*/ 0 w 51514"/>
                  <a:gd name="connsiteY1" fmla="*/ 25757 h 51514"/>
                  <a:gd name="connsiteX2" fmla="*/ 25757 w 51514"/>
                  <a:gd name="connsiteY2" fmla="*/ 0 h 51514"/>
                  <a:gd name="connsiteX3" fmla="*/ 51514 w 51514"/>
                  <a:gd name="connsiteY3" fmla="*/ 25757 h 51514"/>
                  <a:gd name="connsiteX4" fmla="*/ 25757 w 51514"/>
                  <a:gd name="connsiteY4" fmla="*/ 51514 h 51514"/>
                  <a:gd name="connsiteX5" fmla="*/ 25757 w 51514"/>
                  <a:gd name="connsiteY5" fmla="*/ 13120 h 51514"/>
                  <a:gd name="connsiteX6" fmla="*/ 13120 w 51514"/>
                  <a:gd name="connsiteY6" fmla="*/ 25757 h 51514"/>
                  <a:gd name="connsiteX7" fmla="*/ 25757 w 51514"/>
                  <a:gd name="connsiteY7" fmla="*/ 38394 h 51514"/>
                  <a:gd name="connsiteX8" fmla="*/ 38394 w 51514"/>
                  <a:gd name="connsiteY8" fmla="*/ 25757 h 51514"/>
                  <a:gd name="connsiteX9" fmla="*/ 25757 w 51514"/>
                  <a:gd name="connsiteY9" fmla="*/ 13120 h 5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514" h="51514">
                    <a:moveTo>
                      <a:pt x="25757" y="51514"/>
                    </a:moveTo>
                    <a:cubicBezTo>
                      <a:pt x="11559" y="51514"/>
                      <a:pt x="0" y="39974"/>
                      <a:pt x="0" y="25757"/>
                    </a:cubicBezTo>
                    <a:cubicBezTo>
                      <a:pt x="0" y="11541"/>
                      <a:pt x="11541" y="0"/>
                      <a:pt x="25757" y="0"/>
                    </a:cubicBezTo>
                    <a:cubicBezTo>
                      <a:pt x="39974" y="0"/>
                      <a:pt x="51514" y="11541"/>
                      <a:pt x="51514" y="25757"/>
                    </a:cubicBezTo>
                    <a:cubicBezTo>
                      <a:pt x="51514" y="39974"/>
                      <a:pt x="39955" y="51514"/>
                      <a:pt x="25757" y="51514"/>
                    </a:cubicBezTo>
                    <a:close/>
                    <a:moveTo>
                      <a:pt x="25757" y="13120"/>
                    </a:moveTo>
                    <a:cubicBezTo>
                      <a:pt x="18788" y="13120"/>
                      <a:pt x="13120" y="18788"/>
                      <a:pt x="13120" y="25757"/>
                    </a:cubicBezTo>
                    <a:cubicBezTo>
                      <a:pt x="13120" y="32726"/>
                      <a:pt x="18788" y="38394"/>
                      <a:pt x="25757" y="38394"/>
                    </a:cubicBezTo>
                    <a:cubicBezTo>
                      <a:pt x="32726" y="38394"/>
                      <a:pt x="38394" y="32726"/>
                      <a:pt x="38394" y="25757"/>
                    </a:cubicBezTo>
                    <a:cubicBezTo>
                      <a:pt x="38394" y="18788"/>
                      <a:pt x="32726" y="13120"/>
                      <a:pt x="25757" y="13120"/>
                    </a:cubicBezTo>
                    <a:close/>
                  </a:path>
                </a:pathLst>
              </a:custGeom>
              <a:grpFill/>
              <a:ln w="1858" cap="flat">
                <a:noFill/>
                <a:prstDash val="solid"/>
                <a:miter/>
              </a:ln>
            </p:spPr>
            <p:txBody>
              <a:bodyPr rtlCol="0" anchor="ctr"/>
              <a:lstStyle/>
              <a:p>
                <a:endParaRPr lang="en-GB" dirty="0"/>
              </a:p>
            </p:txBody>
          </p:sp>
        </p:grpSp>
        <p:grpSp>
          <p:nvGrpSpPr>
            <p:cNvPr id="51" name="Grafik 325">
              <a:extLst>
                <a:ext uri="{FF2B5EF4-FFF2-40B4-BE49-F238E27FC236}">
                  <a16:creationId xmlns:a16="http://schemas.microsoft.com/office/drawing/2014/main" id="{29E76467-16DA-450D-B4B0-BA631EC8373E}"/>
                </a:ext>
              </a:extLst>
            </p:cNvPr>
            <p:cNvGrpSpPr/>
            <p:nvPr/>
          </p:nvGrpSpPr>
          <p:grpSpPr>
            <a:xfrm>
              <a:off x="776875" y="1623584"/>
              <a:ext cx="341175" cy="356801"/>
              <a:chOff x="1070028" y="1777509"/>
              <a:chExt cx="269356" cy="281693"/>
            </a:xfrm>
            <a:solidFill>
              <a:schemeClr val="accent1"/>
            </a:solidFill>
          </p:grpSpPr>
          <p:sp>
            <p:nvSpPr>
              <p:cNvPr id="52" name="Freihandform: Form 481">
                <a:extLst>
                  <a:ext uri="{FF2B5EF4-FFF2-40B4-BE49-F238E27FC236}">
                    <a16:creationId xmlns:a16="http://schemas.microsoft.com/office/drawing/2014/main" id="{31F747FF-230D-4552-85D2-35F46FB70C18}"/>
                  </a:ext>
                </a:extLst>
              </p:cNvPr>
              <p:cNvSpPr/>
              <p:nvPr/>
            </p:nvSpPr>
            <p:spPr>
              <a:xfrm>
                <a:off x="1070028" y="1777509"/>
                <a:ext cx="220258" cy="189461"/>
              </a:xfrm>
              <a:custGeom>
                <a:avLst/>
                <a:gdLst>
                  <a:gd name="connsiteX0" fmla="*/ 198088 w 220258"/>
                  <a:gd name="connsiteY0" fmla="*/ 189462 h 189461"/>
                  <a:gd name="connsiteX1" fmla="*/ 194835 w 220258"/>
                  <a:gd name="connsiteY1" fmla="*/ 188588 h 189461"/>
                  <a:gd name="connsiteX2" fmla="*/ 192420 w 220258"/>
                  <a:gd name="connsiteY2" fmla="*/ 179650 h 189461"/>
                  <a:gd name="connsiteX3" fmla="*/ 207156 w 220258"/>
                  <a:gd name="connsiteY3" fmla="*/ 124307 h 189461"/>
                  <a:gd name="connsiteX4" fmla="*/ 95951 w 220258"/>
                  <a:gd name="connsiteY4" fmla="*/ 13102 h 189461"/>
                  <a:gd name="connsiteX5" fmla="*/ 11525 w 220258"/>
                  <a:gd name="connsiteY5" fmla="*/ 51923 h 189461"/>
                  <a:gd name="connsiteX6" fmla="*/ 2289 w 220258"/>
                  <a:gd name="connsiteY6" fmla="*/ 52629 h 189461"/>
                  <a:gd name="connsiteX7" fmla="*/ 1583 w 220258"/>
                  <a:gd name="connsiteY7" fmla="*/ 43393 h 189461"/>
                  <a:gd name="connsiteX8" fmla="*/ 95951 w 220258"/>
                  <a:gd name="connsiteY8" fmla="*/ 0 h 189461"/>
                  <a:gd name="connsiteX9" fmla="*/ 220258 w 220258"/>
                  <a:gd name="connsiteY9" fmla="*/ 124307 h 189461"/>
                  <a:gd name="connsiteX10" fmla="*/ 203774 w 220258"/>
                  <a:gd name="connsiteY10" fmla="*/ 186191 h 189461"/>
                  <a:gd name="connsiteX11" fmla="*/ 198088 w 220258"/>
                  <a:gd name="connsiteY11" fmla="*/ 189462 h 18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0258" h="189461">
                    <a:moveTo>
                      <a:pt x="198088" y="189462"/>
                    </a:moveTo>
                    <a:cubicBezTo>
                      <a:pt x="196973" y="189462"/>
                      <a:pt x="195858" y="189183"/>
                      <a:pt x="194835" y="188588"/>
                    </a:cubicBezTo>
                    <a:cubicBezTo>
                      <a:pt x="191695" y="186786"/>
                      <a:pt x="190617" y="182772"/>
                      <a:pt x="192420" y="179650"/>
                    </a:cubicBezTo>
                    <a:cubicBezTo>
                      <a:pt x="202065" y="162887"/>
                      <a:pt x="207156" y="143746"/>
                      <a:pt x="207156" y="124307"/>
                    </a:cubicBezTo>
                    <a:cubicBezTo>
                      <a:pt x="207156" y="62999"/>
                      <a:pt x="157278" y="13102"/>
                      <a:pt x="95951" y="13102"/>
                    </a:cubicBezTo>
                    <a:cubicBezTo>
                      <a:pt x="63467" y="13102"/>
                      <a:pt x="32692" y="27262"/>
                      <a:pt x="11525" y="51923"/>
                    </a:cubicBezTo>
                    <a:cubicBezTo>
                      <a:pt x="9165" y="54674"/>
                      <a:pt x="5039" y="54989"/>
                      <a:pt x="2289" y="52629"/>
                    </a:cubicBezTo>
                    <a:cubicBezTo>
                      <a:pt x="-462" y="50269"/>
                      <a:pt x="-778" y="46144"/>
                      <a:pt x="1583" y="43393"/>
                    </a:cubicBezTo>
                    <a:cubicBezTo>
                      <a:pt x="25240" y="15815"/>
                      <a:pt x="59638" y="0"/>
                      <a:pt x="95951" y="0"/>
                    </a:cubicBezTo>
                    <a:cubicBezTo>
                      <a:pt x="164488" y="0"/>
                      <a:pt x="220258" y="55770"/>
                      <a:pt x="220258" y="124307"/>
                    </a:cubicBezTo>
                    <a:cubicBezTo>
                      <a:pt x="220258" y="146050"/>
                      <a:pt x="214553" y="167440"/>
                      <a:pt x="203774" y="186191"/>
                    </a:cubicBezTo>
                    <a:cubicBezTo>
                      <a:pt x="202566" y="188291"/>
                      <a:pt x="200355" y="189462"/>
                      <a:pt x="198088" y="189462"/>
                    </a:cubicBezTo>
                    <a:close/>
                  </a:path>
                </a:pathLst>
              </a:custGeom>
              <a:solidFill>
                <a:schemeClr val="accent1"/>
              </a:solidFill>
              <a:ln w="1858" cap="flat">
                <a:noFill/>
                <a:prstDash val="solid"/>
                <a:miter/>
              </a:ln>
            </p:spPr>
            <p:txBody>
              <a:bodyPr rtlCol="0" anchor="ctr"/>
              <a:lstStyle/>
              <a:p>
                <a:endParaRPr lang="en-GB" dirty="0"/>
              </a:p>
            </p:txBody>
          </p:sp>
          <p:sp>
            <p:nvSpPr>
              <p:cNvPr id="53" name="Freihandform: Form 482">
                <a:extLst>
                  <a:ext uri="{FF2B5EF4-FFF2-40B4-BE49-F238E27FC236}">
                    <a16:creationId xmlns:a16="http://schemas.microsoft.com/office/drawing/2014/main" id="{7F471894-7643-4595-9DC0-8C813980D931}"/>
                  </a:ext>
                </a:extLst>
              </p:cNvPr>
              <p:cNvSpPr/>
              <p:nvPr/>
            </p:nvSpPr>
            <p:spPr>
              <a:xfrm>
                <a:off x="1099209" y="1969363"/>
                <a:ext cx="164861" cy="56760"/>
              </a:xfrm>
              <a:custGeom>
                <a:avLst/>
                <a:gdLst>
                  <a:gd name="connsiteX0" fmla="*/ 66770 w 164861"/>
                  <a:gd name="connsiteY0" fmla="*/ 56761 h 56760"/>
                  <a:gd name="connsiteX1" fmla="*/ 3195 w 164861"/>
                  <a:gd name="connsiteY1" fmla="*/ 39292 h 56760"/>
                  <a:gd name="connsiteX2" fmla="*/ 928 w 164861"/>
                  <a:gd name="connsiteY2" fmla="*/ 30297 h 56760"/>
                  <a:gd name="connsiteX3" fmla="*/ 9923 w 164861"/>
                  <a:gd name="connsiteY3" fmla="*/ 28030 h 56760"/>
                  <a:gd name="connsiteX4" fmla="*/ 66789 w 164861"/>
                  <a:gd name="connsiteY4" fmla="*/ 43659 h 56760"/>
                  <a:gd name="connsiteX5" fmla="*/ 153222 w 164861"/>
                  <a:gd name="connsiteY5" fmla="*/ 2422 h 56760"/>
                  <a:gd name="connsiteX6" fmla="*/ 162440 w 164861"/>
                  <a:gd name="connsiteY6" fmla="*/ 1455 h 56760"/>
                  <a:gd name="connsiteX7" fmla="*/ 163406 w 164861"/>
                  <a:gd name="connsiteY7" fmla="*/ 10673 h 56760"/>
                  <a:gd name="connsiteX8" fmla="*/ 66770 w 164861"/>
                  <a:gd name="connsiteY8" fmla="*/ 56761 h 56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4861" h="56760">
                    <a:moveTo>
                      <a:pt x="66770" y="56761"/>
                    </a:moveTo>
                    <a:cubicBezTo>
                      <a:pt x="44340" y="56761"/>
                      <a:pt x="22355" y="50721"/>
                      <a:pt x="3195" y="39292"/>
                    </a:cubicBezTo>
                    <a:cubicBezTo>
                      <a:pt x="92" y="37433"/>
                      <a:pt x="-930" y="33419"/>
                      <a:pt x="928" y="30297"/>
                    </a:cubicBezTo>
                    <a:cubicBezTo>
                      <a:pt x="2786" y="27194"/>
                      <a:pt x="6800" y="26172"/>
                      <a:pt x="9923" y="28030"/>
                    </a:cubicBezTo>
                    <a:cubicBezTo>
                      <a:pt x="27057" y="38251"/>
                      <a:pt x="46719" y="43659"/>
                      <a:pt x="66789" y="43659"/>
                    </a:cubicBezTo>
                    <a:cubicBezTo>
                      <a:pt x="100481" y="43659"/>
                      <a:pt x="131981" y="28625"/>
                      <a:pt x="153222" y="2422"/>
                    </a:cubicBezTo>
                    <a:cubicBezTo>
                      <a:pt x="155508" y="-385"/>
                      <a:pt x="159634" y="-812"/>
                      <a:pt x="162440" y="1455"/>
                    </a:cubicBezTo>
                    <a:cubicBezTo>
                      <a:pt x="165246" y="3741"/>
                      <a:pt x="165673" y="7867"/>
                      <a:pt x="163406" y="10673"/>
                    </a:cubicBezTo>
                    <a:cubicBezTo>
                      <a:pt x="139638" y="39961"/>
                      <a:pt x="104421" y="56761"/>
                      <a:pt x="66770" y="56761"/>
                    </a:cubicBezTo>
                    <a:close/>
                  </a:path>
                </a:pathLst>
              </a:custGeom>
              <a:solidFill>
                <a:schemeClr val="accent1"/>
              </a:solidFill>
              <a:ln w="1858" cap="flat">
                <a:noFill/>
                <a:prstDash val="solid"/>
                <a:miter/>
              </a:ln>
            </p:spPr>
            <p:txBody>
              <a:bodyPr rtlCol="0" anchor="ctr"/>
              <a:lstStyle/>
              <a:p>
                <a:endParaRPr lang="en-GB" dirty="0"/>
              </a:p>
            </p:txBody>
          </p:sp>
          <p:sp>
            <p:nvSpPr>
              <p:cNvPr id="54" name="Freihandform: Form 483">
                <a:extLst>
                  <a:ext uri="{FF2B5EF4-FFF2-40B4-BE49-F238E27FC236}">
                    <a16:creationId xmlns:a16="http://schemas.microsoft.com/office/drawing/2014/main" id="{FDFA4C53-B52F-4DEB-9B39-11B5CC6A3301}"/>
                  </a:ext>
                </a:extLst>
              </p:cNvPr>
              <p:cNvSpPr/>
              <p:nvPr/>
            </p:nvSpPr>
            <p:spPr>
              <a:xfrm>
                <a:off x="1121750" y="1857587"/>
                <a:ext cx="88458" cy="88458"/>
              </a:xfrm>
              <a:custGeom>
                <a:avLst/>
                <a:gdLst>
                  <a:gd name="connsiteX0" fmla="*/ 44229 w 88458"/>
                  <a:gd name="connsiteY0" fmla="*/ 88459 h 88458"/>
                  <a:gd name="connsiteX1" fmla="*/ 0 w 88458"/>
                  <a:gd name="connsiteY1" fmla="*/ 44229 h 88458"/>
                  <a:gd name="connsiteX2" fmla="*/ 44229 w 88458"/>
                  <a:gd name="connsiteY2" fmla="*/ 0 h 88458"/>
                  <a:gd name="connsiteX3" fmla="*/ 88459 w 88458"/>
                  <a:gd name="connsiteY3" fmla="*/ 44229 h 88458"/>
                  <a:gd name="connsiteX4" fmla="*/ 83125 w 88458"/>
                  <a:gd name="connsiteY4" fmla="*/ 65322 h 88458"/>
                  <a:gd name="connsiteX5" fmla="*/ 74242 w 88458"/>
                  <a:gd name="connsiteY5" fmla="*/ 67961 h 88458"/>
                  <a:gd name="connsiteX6" fmla="*/ 71603 w 88458"/>
                  <a:gd name="connsiteY6" fmla="*/ 59078 h 88458"/>
                  <a:gd name="connsiteX7" fmla="*/ 75357 w 88458"/>
                  <a:gd name="connsiteY7" fmla="*/ 44248 h 88458"/>
                  <a:gd name="connsiteX8" fmla="*/ 44229 w 88458"/>
                  <a:gd name="connsiteY8" fmla="*/ 13120 h 88458"/>
                  <a:gd name="connsiteX9" fmla="*/ 13102 w 88458"/>
                  <a:gd name="connsiteY9" fmla="*/ 44248 h 88458"/>
                  <a:gd name="connsiteX10" fmla="*/ 44229 w 88458"/>
                  <a:gd name="connsiteY10" fmla="*/ 75376 h 88458"/>
                  <a:gd name="connsiteX11" fmla="*/ 55863 w 88458"/>
                  <a:gd name="connsiteY11" fmla="*/ 73127 h 88458"/>
                  <a:gd name="connsiteX12" fmla="*/ 64393 w 88458"/>
                  <a:gd name="connsiteY12" fmla="*/ 76751 h 88458"/>
                  <a:gd name="connsiteX13" fmla="*/ 60769 w 88458"/>
                  <a:gd name="connsiteY13" fmla="*/ 85281 h 88458"/>
                  <a:gd name="connsiteX14" fmla="*/ 44229 w 88458"/>
                  <a:gd name="connsiteY14" fmla="*/ 88459 h 88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458" h="88458">
                    <a:moveTo>
                      <a:pt x="44229" y="88459"/>
                    </a:moveTo>
                    <a:cubicBezTo>
                      <a:pt x="19829" y="88459"/>
                      <a:pt x="0" y="68611"/>
                      <a:pt x="0" y="44229"/>
                    </a:cubicBezTo>
                    <a:cubicBezTo>
                      <a:pt x="0" y="19847"/>
                      <a:pt x="19848" y="0"/>
                      <a:pt x="44229" y="0"/>
                    </a:cubicBezTo>
                    <a:cubicBezTo>
                      <a:pt x="68611" y="0"/>
                      <a:pt x="88459" y="19847"/>
                      <a:pt x="88459" y="44229"/>
                    </a:cubicBezTo>
                    <a:cubicBezTo>
                      <a:pt x="88459" y="51589"/>
                      <a:pt x="86619" y="58892"/>
                      <a:pt x="83125" y="65322"/>
                    </a:cubicBezTo>
                    <a:cubicBezTo>
                      <a:pt x="81397" y="68500"/>
                      <a:pt x="77402" y="69689"/>
                      <a:pt x="74242" y="67961"/>
                    </a:cubicBezTo>
                    <a:cubicBezTo>
                      <a:pt x="71064" y="66233"/>
                      <a:pt x="69875" y="62256"/>
                      <a:pt x="71603" y="59078"/>
                    </a:cubicBezTo>
                    <a:cubicBezTo>
                      <a:pt x="74056" y="54562"/>
                      <a:pt x="75357" y="49414"/>
                      <a:pt x="75357" y="44248"/>
                    </a:cubicBezTo>
                    <a:cubicBezTo>
                      <a:pt x="75357" y="27077"/>
                      <a:pt x="61401" y="13120"/>
                      <a:pt x="44229" y="13120"/>
                    </a:cubicBezTo>
                    <a:cubicBezTo>
                      <a:pt x="27058" y="13120"/>
                      <a:pt x="13102" y="27077"/>
                      <a:pt x="13102" y="44248"/>
                    </a:cubicBezTo>
                    <a:cubicBezTo>
                      <a:pt x="13102" y="61419"/>
                      <a:pt x="27077" y="75376"/>
                      <a:pt x="44229" y="75376"/>
                    </a:cubicBezTo>
                    <a:cubicBezTo>
                      <a:pt x="48244" y="75376"/>
                      <a:pt x="52165" y="74614"/>
                      <a:pt x="55863" y="73127"/>
                    </a:cubicBezTo>
                    <a:cubicBezTo>
                      <a:pt x="59227" y="71771"/>
                      <a:pt x="63036" y="73406"/>
                      <a:pt x="64393" y="76751"/>
                    </a:cubicBezTo>
                    <a:cubicBezTo>
                      <a:pt x="65749" y="80115"/>
                      <a:pt x="64133" y="83924"/>
                      <a:pt x="60769" y="85281"/>
                    </a:cubicBezTo>
                    <a:cubicBezTo>
                      <a:pt x="55491" y="87381"/>
                      <a:pt x="49935" y="88459"/>
                      <a:pt x="44229" y="88459"/>
                    </a:cubicBezTo>
                    <a:close/>
                  </a:path>
                </a:pathLst>
              </a:custGeom>
              <a:solidFill>
                <a:schemeClr val="accent1"/>
              </a:solidFill>
              <a:ln w="1858" cap="flat">
                <a:noFill/>
                <a:prstDash val="solid"/>
                <a:miter/>
              </a:ln>
            </p:spPr>
            <p:txBody>
              <a:bodyPr rtlCol="0" anchor="ctr"/>
              <a:lstStyle/>
              <a:p>
                <a:endParaRPr lang="en-GB" dirty="0"/>
              </a:p>
            </p:txBody>
          </p:sp>
          <p:sp>
            <p:nvSpPr>
              <p:cNvPr id="55" name="Freihandform: Form 484">
                <a:extLst>
                  <a:ext uri="{FF2B5EF4-FFF2-40B4-BE49-F238E27FC236}">
                    <a16:creationId xmlns:a16="http://schemas.microsoft.com/office/drawing/2014/main" id="{4B638438-A0FF-4C72-830D-3C6836B271DC}"/>
                  </a:ext>
                </a:extLst>
              </p:cNvPr>
              <p:cNvSpPr/>
              <p:nvPr/>
            </p:nvSpPr>
            <p:spPr>
              <a:xfrm>
                <a:off x="1112914" y="1815179"/>
                <a:ext cx="139666" cy="133301"/>
              </a:xfrm>
              <a:custGeom>
                <a:avLst/>
                <a:gdLst>
                  <a:gd name="connsiteX0" fmla="*/ 122365 w 139666"/>
                  <a:gd name="connsiteY0" fmla="*/ 133302 h 133301"/>
                  <a:gd name="connsiteX1" fmla="*/ 119075 w 139666"/>
                  <a:gd name="connsiteY1" fmla="*/ 132410 h 133301"/>
                  <a:gd name="connsiteX2" fmla="*/ 116697 w 139666"/>
                  <a:gd name="connsiteY2" fmla="*/ 123452 h 133301"/>
                  <a:gd name="connsiteX3" fmla="*/ 126565 w 139666"/>
                  <a:gd name="connsiteY3" fmla="*/ 86619 h 133301"/>
                  <a:gd name="connsiteX4" fmla="*/ 53047 w 139666"/>
                  <a:gd name="connsiteY4" fmla="*/ 13102 h 133301"/>
                  <a:gd name="connsiteX5" fmla="*/ 10360 w 139666"/>
                  <a:gd name="connsiteY5" fmla="*/ 26761 h 133301"/>
                  <a:gd name="connsiteX6" fmla="*/ 1217 w 139666"/>
                  <a:gd name="connsiteY6" fmla="*/ 25237 h 133301"/>
                  <a:gd name="connsiteX7" fmla="*/ 2741 w 139666"/>
                  <a:gd name="connsiteY7" fmla="*/ 16094 h 133301"/>
                  <a:gd name="connsiteX8" fmla="*/ 53047 w 139666"/>
                  <a:gd name="connsiteY8" fmla="*/ 0 h 133301"/>
                  <a:gd name="connsiteX9" fmla="*/ 139666 w 139666"/>
                  <a:gd name="connsiteY9" fmla="*/ 86619 h 133301"/>
                  <a:gd name="connsiteX10" fmla="*/ 128033 w 139666"/>
                  <a:gd name="connsiteY10" fmla="*/ 130031 h 133301"/>
                  <a:gd name="connsiteX11" fmla="*/ 122365 w 139666"/>
                  <a:gd name="connsiteY11" fmla="*/ 133302 h 13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9666" h="133301">
                    <a:moveTo>
                      <a:pt x="122365" y="133302"/>
                    </a:moveTo>
                    <a:cubicBezTo>
                      <a:pt x="121250" y="133302"/>
                      <a:pt x="120116" y="133023"/>
                      <a:pt x="119075" y="132410"/>
                    </a:cubicBezTo>
                    <a:cubicBezTo>
                      <a:pt x="115953" y="130588"/>
                      <a:pt x="114876" y="126574"/>
                      <a:pt x="116697" y="123452"/>
                    </a:cubicBezTo>
                    <a:cubicBezTo>
                      <a:pt x="123164" y="112320"/>
                      <a:pt x="126565" y="99572"/>
                      <a:pt x="126565" y="86619"/>
                    </a:cubicBezTo>
                    <a:cubicBezTo>
                      <a:pt x="126565" y="46088"/>
                      <a:pt x="93578" y="13102"/>
                      <a:pt x="53047" y="13102"/>
                    </a:cubicBezTo>
                    <a:cubicBezTo>
                      <a:pt x="37623" y="13102"/>
                      <a:pt x="22867" y="17822"/>
                      <a:pt x="10360" y="26761"/>
                    </a:cubicBezTo>
                    <a:cubicBezTo>
                      <a:pt x="7405" y="28861"/>
                      <a:pt x="3317" y="28173"/>
                      <a:pt x="1217" y="25237"/>
                    </a:cubicBezTo>
                    <a:cubicBezTo>
                      <a:pt x="-883" y="22301"/>
                      <a:pt x="-195" y="18194"/>
                      <a:pt x="2741" y="16094"/>
                    </a:cubicBezTo>
                    <a:cubicBezTo>
                      <a:pt x="17478" y="5575"/>
                      <a:pt x="34872" y="0"/>
                      <a:pt x="53047" y="0"/>
                    </a:cubicBezTo>
                    <a:cubicBezTo>
                      <a:pt x="100808" y="0"/>
                      <a:pt x="139666" y="38859"/>
                      <a:pt x="139666" y="86619"/>
                    </a:cubicBezTo>
                    <a:cubicBezTo>
                      <a:pt x="139666" y="101876"/>
                      <a:pt x="135634" y="116892"/>
                      <a:pt x="128033" y="130031"/>
                    </a:cubicBezTo>
                    <a:cubicBezTo>
                      <a:pt x="126825" y="132131"/>
                      <a:pt x="124632" y="133302"/>
                      <a:pt x="122365" y="133302"/>
                    </a:cubicBezTo>
                    <a:close/>
                  </a:path>
                </a:pathLst>
              </a:custGeom>
              <a:solidFill>
                <a:schemeClr val="accent1"/>
              </a:solidFill>
              <a:ln w="1858" cap="flat">
                <a:noFill/>
                <a:prstDash val="solid"/>
                <a:miter/>
              </a:ln>
            </p:spPr>
            <p:txBody>
              <a:bodyPr rtlCol="0" anchor="ctr"/>
              <a:lstStyle/>
              <a:p>
                <a:endParaRPr lang="en-GB" dirty="0"/>
              </a:p>
            </p:txBody>
          </p:sp>
          <p:sp>
            <p:nvSpPr>
              <p:cNvPr id="56" name="Freihandform: Form 485">
                <a:extLst>
                  <a:ext uri="{FF2B5EF4-FFF2-40B4-BE49-F238E27FC236}">
                    <a16:creationId xmlns:a16="http://schemas.microsoft.com/office/drawing/2014/main" id="{92453A13-1F86-4C31-9C95-3F1C529D6443}"/>
                  </a:ext>
                </a:extLst>
              </p:cNvPr>
              <p:cNvSpPr/>
              <p:nvPr/>
            </p:nvSpPr>
            <p:spPr>
              <a:xfrm>
                <a:off x="1103822" y="1952872"/>
                <a:ext cx="123813" cy="35563"/>
              </a:xfrm>
              <a:custGeom>
                <a:avLst/>
                <a:gdLst>
                  <a:gd name="connsiteX0" fmla="*/ 62157 w 123813"/>
                  <a:gd name="connsiteY0" fmla="*/ 35563 h 35563"/>
                  <a:gd name="connsiteX1" fmla="*/ 2001 w 123813"/>
                  <a:gd name="connsiteY1" fmla="*/ 11274 h 35563"/>
                  <a:gd name="connsiteX2" fmla="*/ 1834 w 123813"/>
                  <a:gd name="connsiteY2" fmla="*/ 2001 h 35563"/>
                  <a:gd name="connsiteX3" fmla="*/ 11107 w 123813"/>
                  <a:gd name="connsiteY3" fmla="*/ 1834 h 35563"/>
                  <a:gd name="connsiteX4" fmla="*/ 62157 w 123813"/>
                  <a:gd name="connsiteY4" fmla="*/ 22443 h 35563"/>
                  <a:gd name="connsiteX5" fmla="*/ 112742 w 123813"/>
                  <a:gd name="connsiteY5" fmla="*/ 2261 h 35563"/>
                  <a:gd name="connsiteX6" fmla="*/ 122015 w 123813"/>
                  <a:gd name="connsiteY6" fmla="*/ 2503 h 35563"/>
                  <a:gd name="connsiteX7" fmla="*/ 121774 w 123813"/>
                  <a:gd name="connsiteY7" fmla="*/ 11776 h 35563"/>
                  <a:gd name="connsiteX8" fmla="*/ 62157 w 123813"/>
                  <a:gd name="connsiteY8" fmla="*/ 35563 h 35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3813" h="35563">
                    <a:moveTo>
                      <a:pt x="62157" y="35563"/>
                    </a:moveTo>
                    <a:cubicBezTo>
                      <a:pt x="39596" y="35563"/>
                      <a:pt x="18243" y="26941"/>
                      <a:pt x="2001" y="11274"/>
                    </a:cubicBezTo>
                    <a:cubicBezTo>
                      <a:pt x="-601" y="8766"/>
                      <a:pt x="-675" y="4603"/>
                      <a:pt x="1834" y="2001"/>
                    </a:cubicBezTo>
                    <a:cubicBezTo>
                      <a:pt x="4361" y="-601"/>
                      <a:pt x="8505" y="-675"/>
                      <a:pt x="11107" y="1834"/>
                    </a:cubicBezTo>
                    <a:cubicBezTo>
                      <a:pt x="24878" y="15121"/>
                      <a:pt x="43016" y="22443"/>
                      <a:pt x="62157" y="22443"/>
                    </a:cubicBezTo>
                    <a:cubicBezTo>
                      <a:pt x="81057" y="22443"/>
                      <a:pt x="99027" y="15270"/>
                      <a:pt x="112742" y="2261"/>
                    </a:cubicBezTo>
                    <a:cubicBezTo>
                      <a:pt x="115362" y="-229"/>
                      <a:pt x="119507" y="-117"/>
                      <a:pt x="122015" y="2503"/>
                    </a:cubicBezTo>
                    <a:cubicBezTo>
                      <a:pt x="124506" y="5123"/>
                      <a:pt x="124394" y="9286"/>
                      <a:pt x="121774" y="11776"/>
                    </a:cubicBezTo>
                    <a:cubicBezTo>
                      <a:pt x="105606" y="27126"/>
                      <a:pt x="84439" y="35563"/>
                      <a:pt x="62157" y="35563"/>
                    </a:cubicBezTo>
                    <a:close/>
                  </a:path>
                </a:pathLst>
              </a:custGeom>
              <a:solidFill>
                <a:schemeClr val="accent1"/>
              </a:solidFill>
              <a:ln w="1858" cap="flat">
                <a:noFill/>
                <a:prstDash val="solid"/>
                <a:miter/>
              </a:ln>
            </p:spPr>
            <p:txBody>
              <a:bodyPr rtlCol="0" anchor="ctr"/>
              <a:lstStyle/>
              <a:p>
                <a:endParaRPr lang="en-GB" dirty="0"/>
              </a:p>
            </p:txBody>
          </p:sp>
          <p:sp>
            <p:nvSpPr>
              <p:cNvPr id="57" name="Freihandform: Form 486">
                <a:extLst>
                  <a:ext uri="{FF2B5EF4-FFF2-40B4-BE49-F238E27FC236}">
                    <a16:creationId xmlns:a16="http://schemas.microsoft.com/office/drawing/2014/main" id="{129D5076-DF18-43DF-8E22-C53E8236C765}"/>
                  </a:ext>
                </a:extLst>
              </p:cNvPr>
              <p:cNvSpPr/>
              <p:nvPr/>
            </p:nvSpPr>
            <p:spPr>
              <a:xfrm>
                <a:off x="1200323" y="1997585"/>
                <a:ext cx="48018" cy="61617"/>
              </a:xfrm>
              <a:custGeom>
                <a:avLst/>
                <a:gdLst>
                  <a:gd name="connsiteX0" fmla="*/ 27373 w 48018"/>
                  <a:gd name="connsiteY0" fmla="*/ 61618 h 61617"/>
                  <a:gd name="connsiteX1" fmla="*/ 9421 w 48018"/>
                  <a:gd name="connsiteY1" fmla="*/ 51285 h 61617"/>
                  <a:gd name="connsiteX2" fmla="*/ 965 w 48018"/>
                  <a:gd name="connsiteY2" fmla="*/ 37459 h 61617"/>
                  <a:gd name="connsiteX3" fmla="*/ 3140 w 48018"/>
                  <a:gd name="connsiteY3" fmla="*/ 28446 h 61617"/>
                  <a:gd name="connsiteX4" fmla="*/ 12153 w 48018"/>
                  <a:gd name="connsiteY4" fmla="*/ 30620 h 61617"/>
                  <a:gd name="connsiteX5" fmla="*/ 20683 w 48018"/>
                  <a:gd name="connsiteY5" fmla="*/ 44576 h 61617"/>
                  <a:gd name="connsiteX6" fmla="*/ 31127 w 48018"/>
                  <a:gd name="connsiteY6" fmla="*/ 47494 h 61617"/>
                  <a:gd name="connsiteX7" fmla="*/ 33896 w 48018"/>
                  <a:gd name="connsiteY7" fmla="*/ 37143 h 61617"/>
                  <a:gd name="connsiteX8" fmla="*/ 18137 w 48018"/>
                  <a:gd name="connsiteY8" fmla="*/ 9843 h 61617"/>
                  <a:gd name="connsiteX9" fmla="*/ 20534 w 48018"/>
                  <a:gd name="connsiteY9" fmla="*/ 886 h 61617"/>
                  <a:gd name="connsiteX10" fmla="*/ 29492 w 48018"/>
                  <a:gd name="connsiteY10" fmla="*/ 3283 h 61617"/>
                  <a:gd name="connsiteX11" fmla="*/ 45251 w 48018"/>
                  <a:gd name="connsiteY11" fmla="*/ 30583 h 61617"/>
                  <a:gd name="connsiteX12" fmla="*/ 37687 w 48018"/>
                  <a:gd name="connsiteY12" fmla="*/ 58830 h 61617"/>
                  <a:gd name="connsiteX13" fmla="*/ 27373 w 48018"/>
                  <a:gd name="connsiteY13" fmla="*/ 61618 h 61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018" h="61617">
                    <a:moveTo>
                      <a:pt x="27373" y="61618"/>
                    </a:moveTo>
                    <a:cubicBezTo>
                      <a:pt x="20218" y="61618"/>
                      <a:pt x="13249" y="57901"/>
                      <a:pt x="9421" y="51285"/>
                    </a:cubicBezTo>
                    <a:lnTo>
                      <a:pt x="965" y="37459"/>
                    </a:lnTo>
                    <a:cubicBezTo>
                      <a:pt x="-930" y="34374"/>
                      <a:pt x="55" y="30341"/>
                      <a:pt x="3140" y="28446"/>
                    </a:cubicBezTo>
                    <a:cubicBezTo>
                      <a:pt x="6225" y="26550"/>
                      <a:pt x="10257" y="27535"/>
                      <a:pt x="12153" y="30620"/>
                    </a:cubicBezTo>
                    <a:lnTo>
                      <a:pt x="20683" y="44576"/>
                    </a:lnTo>
                    <a:cubicBezTo>
                      <a:pt x="22857" y="48330"/>
                      <a:pt x="27503" y="49575"/>
                      <a:pt x="31127" y="47494"/>
                    </a:cubicBezTo>
                    <a:cubicBezTo>
                      <a:pt x="34751" y="45413"/>
                      <a:pt x="35996" y="40767"/>
                      <a:pt x="33896" y="37143"/>
                    </a:cubicBezTo>
                    <a:lnTo>
                      <a:pt x="18137" y="9843"/>
                    </a:lnTo>
                    <a:cubicBezTo>
                      <a:pt x="16334" y="6703"/>
                      <a:pt x="17393" y="2707"/>
                      <a:pt x="20534" y="886"/>
                    </a:cubicBezTo>
                    <a:cubicBezTo>
                      <a:pt x="23656" y="-935"/>
                      <a:pt x="27670" y="143"/>
                      <a:pt x="29492" y="3283"/>
                    </a:cubicBezTo>
                    <a:lnTo>
                      <a:pt x="45251" y="30583"/>
                    </a:lnTo>
                    <a:cubicBezTo>
                      <a:pt x="50956" y="40469"/>
                      <a:pt x="47555" y="53144"/>
                      <a:pt x="37687" y="58830"/>
                    </a:cubicBezTo>
                    <a:cubicBezTo>
                      <a:pt x="34435" y="60726"/>
                      <a:pt x="30885" y="61618"/>
                      <a:pt x="27373" y="61618"/>
                    </a:cubicBezTo>
                    <a:close/>
                  </a:path>
                </a:pathLst>
              </a:custGeom>
              <a:solidFill>
                <a:schemeClr val="accent1"/>
              </a:solidFill>
              <a:ln w="1858" cap="flat">
                <a:noFill/>
                <a:prstDash val="solid"/>
                <a:miter/>
              </a:ln>
            </p:spPr>
            <p:txBody>
              <a:bodyPr rtlCol="0" anchor="ctr"/>
              <a:lstStyle/>
              <a:p>
                <a:endParaRPr lang="en-GB" dirty="0"/>
              </a:p>
            </p:txBody>
          </p:sp>
          <p:sp>
            <p:nvSpPr>
              <p:cNvPr id="58" name="Freihandform: Form 487">
                <a:extLst>
                  <a:ext uri="{FF2B5EF4-FFF2-40B4-BE49-F238E27FC236}">
                    <a16:creationId xmlns:a16="http://schemas.microsoft.com/office/drawing/2014/main" id="{05220280-6128-4C17-B32A-7BEFB7815F2D}"/>
                  </a:ext>
                </a:extLst>
              </p:cNvPr>
              <p:cNvSpPr/>
              <p:nvPr/>
            </p:nvSpPr>
            <p:spPr>
              <a:xfrm>
                <a:off x="1107227" y="2025073"/>
                <a:ext cx="21631" cy="27067"/>
              </a:xfrm>
              <a:custGeom>
                <a:avLst/>
                <a:gdLst>
                  <a:gd name="connsiteX0" fmla="*/ 6551 w 21631"/>
                  <a:gd name="connsiteY0" fmla="*/ 27067 h 27067"/>
                  <a:gd name="connsiteX1" fmla="*/ 3131 w 21631"/>
                  <a:gd name="connsiteY1" fmla="*/ 26101 h 27067"/>
                  <a:gd name="connsiteX2" fmla="*/ 957 w 21631"/>
                  <a:gd name="connsiteY2" fmla="*/ 17088 h 27067"/>
                  <a:gd name="connsiteX3" fmla="*/ 9487 w 21631"/>
                  <a:gd name="connsiteY3" fmla="*/ 3131 h 27067"/>
                  <a:gd name="connsiteX4" fmla="*/ 18500 w 21631"/>
                  <a:gd name="connsiteY4" fmla="*/ 957 h 27067"/>
                  <a:gd name="connsiteX5" fmla="*/ 20675 w 21631"/>
                  <a:gd name="connsiteY5" fmla="*/ 9970 h 27067"/>
                  <a:gd name="connsiteX6" fmla="*/ 12145 w 21631"/>
                  <a:gd name="connsiteY6" fmla="*/ 23927 h 27067"/>
                  <a:gd name="connsiteX7" fmla="*/ 6551 w 21631"/>
                  <a:gd name="connsiteY7" fmla="*/ 27067 h 27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31" h="27067">
                    <a:moveTo>
                      <a:pt x="6551" y="27067"/>
                    </a:moveTo>
                    <a:cubicBezTo>
                      <a:pt x="5380" y="27067"/>
                      <a:pt x="4209" y="26751"/>
                      <a:pt x="3131" y="26101"/>
                    </a:cubicBezTo>
                    <a:cubicBezTo>
                      <a:pt x="47" y="24205"/>
                      <a:pt x="-920" y="20173"/>
                      <a:pt x="957" y="17088"/>
                    </a:cubicBezTo>
                    <a:lnTo>
                      <a:pt x="9487" y="3131"/>
                    </a:lnTo>
                    <a:cubicBezTo>
                      <a:pt x="11383" y="47"/>
                      <a:pt x="15415" y="-920"/>
                      <a:pt x="18500" y="957"/>
                    </a:cubicBezTo>
                    <a:cubicBezTo>
                      <a:pt x="21585" y="2853"/>
                      <a:pt x="22552" y="6885"/>
                      <a:pt x="20675" y="9970"/>
                    </a:cubicBezTo>
                    <a:lnTo>
                      <a:pt x="12145" y="23927"/>
                    </a:lnTo>
                    <a:cubicBezTo>
                      <a:pt x="10899" y="25952"/>
                      <a:pt x="8744" y="27067"/>
                      <a:pt x="6551" y="27067"/>
                    </a:cubicBezTo>
                    <a:close/>
                  </a:path>
                </a:pathLst>
              </a:custGeom>
              <a:solidFill>
                <a:schemeClr val="accent1"/>
              </a:solidFill>
              <a:ln w="1858" cap="flat">
                <a:noFill/>
                <a:prstDash val="solid"/>
                <a:miter/>
              </a:ln>
            </p:spPr>
            <p:txBody>
              <a:bodyPr rtlCol="0" anchor="ctr"/>
              <a:lstStyle/>
              <a:p>
                <a:endParaRPr lang="en-GB" dirty="0"/>
              </a:p>
            </p:txBody>
          </p:sp>
          <p:grpSp>
            <p:nvGrpSpPr>
              <p:cNvPr id="59" name="Grafik 325">
                <a:extLst>
                  <a:ext uri="{FF2B5EF4-FFF2-40B4-BE49-F238E27FC236}">
                    <a16:creationId xmlns:a16="http://schemas.microsoft.com/office/drawing/2014/main" id="{A8FE488B-BDD2-43AE-98E4-154C4A5724AC}"/>
                  </a:ext>
                </a:extLst>
              </p:cNvPr>
              <p:cNvGrpSpPr/>
              <p:nvPr/>
            </p:nvGrpSpPr>
            <p:grpSpPr>
              <a:xfrm>
                <a:off x="1159471" y="1895262"/>
                <a:ext cx="179914" cy="123018"/>
                <a:chOff x="1159471" y="1895262"/>
                <a:chExt cx="179914" cy="123018"/>
              </a:xfrm>
              <a:solidFill>
                <a:schemeClr val="accent1"/>
              </a:solidFill>
            </p:grpSpPr>
            <p:sp>
              <p:nvSpPr>
                <p:cNvPr id="60" name="Freihandform: Form 489">
                  <a:extLst>
                    <a:ext uri="{FF2B5EF4-FFF2-40B4-BE49-F238E27FC236}">
                      <a16:creationId xmlns:a16="http://schemas.microsoft.com/office/drawing/2014/main" id="{C42F7146-A985-4940-AA0E-CFDDDF4E795E}"/>
                    </a:ext>
                  </a:extLst>
                </p:cNvPr>
                <p:cNvSpPr/>
                <p:nvPr/>
              </p:nvSpPr>
              <p:spPr>
                <a:xfrm>
                  <a:off x="1273709" y="1947918"/>
                  <a:ext cx="65675" cy="42896"/>
                </a:xfrm>
                <a:custGeom>
                  <a:avLst/>
                  <a:gdLst>
                    <a:gd name="connsiteX0" fmla="*/ 35086 w 65675"/>
                    <a:gd name="connsiteY0" fmla="*/ 42896 h 42896"/>
                    <a:gd name="connsiteX1" fmla="*/ 31816 w 65675"/>
                    <a:gd name="connsiteY1" fmla="*/ 42023 h 42896"/>
                    <a:gd name="connsiteX2" fmla="*/ 3271 w 65675"/>
                    <a:gd name="connsiteY2" fmla="*/ 25539 h 42896"/>
                    <a:gd name="connsiteX3" fmla="*/ 0 w 65675"/>
                    <a:gd name="connsiteY3" fmla="*/ 19815 h 42896"/>
                    <a:gd name="connsiteX4" fmla="*/ 3382 w 65675"/>
                    <a:gd name="connsiteY4" fmla="*/ 14147 h 42896"/>
                    <a:gd name="connsiteX5" fmla="*/ 27393 w 65675"/>
                    <a:gd name="connsiteY5" fmla="*/ 823 h 42896"/>
                    <a:gd name="connsiteX6" fmla="*/ 33860 w 65675"/>
                    <a:gd name="connsiteY6" fmla="*/ 878 h 42896"/>
                    <a:gd name="connsiteX7" fmla="*/ 62405 w 65675"/>
                    <a:gd name="connsiteY7" fmla="*/ 17362 h 42896"/>
                    <a:gd name="connsiteX8" fmla="*/ 65675 w 65675"/>
                    <a:gd name="connsiteY8" fmla="*/ 23086 h 42896"/>
                    <a:gd name="connsiteX9" fmla="*/ 62312 w 65675"/>
                    <a:gd name="connsiteY9" fmla="*/ 28754 h 42896"/>
                    <a:gd name="connsiteX10" fmla="*/ 38301 w 65675"/>
                    <a:gd name="connsiteY10" fmla="*/ 42079 h 42896"/>
                    <a:gd name="connsiteX11" fmla="*/ 35086 w 65675"/>
                    <a:gd name="connsiteY11" fmla="*/ 42896 h 42896"/>
                    <a:gd name="connsiteX12" fmla="*/ 19829 w 65675"/>
                    <a:gd name="connsiteY12" fmla="*/ 19964 h 42896"/>
                    <a:gd name="connsiteX13" fmla="*/ 35142 w 65675"/>
                    <a:gd name="connsiteY13" fmla="*/ 28810 h 42896"/>
                    <a:gd name="connsiteX14" fmla="*/ 45791 w 65675"/>
                    <a:gd name="connsiteY14" fmla="*/ 22900 h 42896"/>
                    <a:gd name="connsiteX15" fmla="*/ 30478 w 65675"/>
                    <a:gd name="connsiteY15" fmla="*/ 14054 h 42896"/>
                    <a:gd name="connsiteX16" fmla="*/ 19829 w 65675"/>
                    <a:gd name="connsiteY16" fmla="*/ 19964 h 42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675" h="42896">
                      <a:moveTo>
                        <a:pt x="35086" y="42896"/>
                      </a:moveTo>
                      <a:cubicBezTo>
                        <a:pt x="33953" y="42896"/>
                        <a:pt x="32819" y="42599"/>
                        <a:pt x="31816" y="42023"/>
                      </a:cubicBezTo>
                      <a:lnTo>
                        <a:pt x="3271" y="25539"/>
                      </a:lnTo>
                      <a:cubicBezTo>
                        <a:pt x="1227" y="24350"/>
                        <a:pt x="-18" y="22175"/>
                        <a:pt x="0" y="19815"/>
                      </a:cubicBezTo>
                      <a:cubicBezTo>
                        <a:pt x="19" y="17455"/>
                        <a:pt x="1301" y="15281"/>
                        <a:pt x="3382" y="14147"/>
                      </a:cubicBezTo>
                      <a:lnTo>
                        <a:pt x="27393" y="823"/>
                      </a:lnTo>
                      <a:cubicBezTo>
                        <a:pt x="29400" y="-292"/>
                        <a:pt x="31853" y="-274"/>
                        <a:pt x="33860" y="878"/>
                      </a:cubicBezTo>
                      <a:lnTo>
                        <a:pt x="62405" y="17362"/>
                      </a:lnTo>
                      <a:cubicBezTo>
                        <a:pt x="64449" y="18552"/>
                        <a:pt x="65694" y="20744"/>
                        <a:pt x="65675" y="23086"/>
                      </a:cubicBezTo>
                      <a:cubicBezTo>
                        <a:pt x="65657" y="25446"/>
                        <a:pt x="64375" y="27620"/>
                        <a:pt x="62312" y="28754"/>
                      </a:cubicBezTo>
                      <a:lnTo>
                        <a:pt x="38301" y="42079"/>
                      </a:lnTo>
                      <a:cubicBezTo>
                        <a:pt x="37279" y="42618"/>
                        <a:pt x="36183" y="42896"/>
                        <a:pt x="35086" y="42896"/>
                      </a:cubicBezTo>
                      <a:close/>
                      <a:moveTo>
                        <a:pt x="19829" y="19964"/>
                      </a:moveTo>
                      <a:lnTo>
                        <a:pt x="35142" y="28810"/>
                      </a:lnTo>
                      <a:lnTo>
                        <a:pt x="45791" y="22900"/>
                      </a:lnTo>
                      <a:lnTo>
                        <a:pt x="30478" y="14054"/>
                      </a:lnTo>
                      <a:lnTo>
                        <a:pt x="19829" y="19964"/>
                      </a:lnTo>
                      <a:close/>
                    </a:path>
                  </a:pathLst>
                </a:custGeom>
                <a:solidFill>
                  <a:schemeClr val="accent1"/>
                </a:solidFill>
                <a:ln w="1858" cap="flat">
                  <a:noFill/>
                  <a:prstDash val="solid"/>
                  <a:miter/>
                </a:ln>
              </p:spPr>
              <p:txBody>
                <a:bodyPr rtlCol="0" anchor="ctr"/>
                <a:lstStyle/>
                <a:p>
                  <a:endParaRPr lang="en-GB" dirty="0"/>
                </a:p>
              </p:txBody>
            </p:sp>
            <p:sp>
              <p:nvSpPr>
                <p:cNvPr id="61" name="Freihandform: Form 490">
                  <a:extLst>
                    <a:ext uri="{FF2B5EF4-FFF2-40B4-BE49-F238E27FC236}">
                      <a16:creationId xmlns:a16="http://schemas.microsoft.com/office/drawing/2014/main" id="{7DD6C5BD-DC77-4B78-9B51-7A20E8F4832F}"/>
                    </a:ext>
                  </a:extLst>
                </p:cNvPr>
                <p:cNvSpPr/>
                <p:nvPr/>
              </p:nvSpPr>
              <p:spPr>
                <a:xfrm>
                  <a:off x="1273690" y="1961210"/>
                  <a:ext cx="42112" cy="57070"/>
                </a:xfrm>
                <a:custGeom>
                  <a:avLst/>
                  <a:gdLst>
                    <a:gd name="connsiteX0" fmla="*/ 35570 w 42112"/>
                    <a:gd name="connsiteY0" fmla="*/ 57071 h 57070"/>
                    <a:gd name="connsiteX1" fmla="*/ 32299 w 42112"/>
                    <a:gd name="connsiteY1" fmla="*/ 56197 h 57070"/>
                    <a:gd name="connsiteX2" fmla="*/ 3736 w 42112"/>
                    <a:gd name="connsiteY2" fmla="*/ 39714 h 57070"/>
                    <a:gd name="connsiteX3" fmla="*/ 465 w 42112"/>
                    <a:gd name="connsiteY3" fmla="*/ 34138 h 57070"/>
                    <a:gd name="connsiteX4" fmla="*/ 1 w 42112"/>
                    <a:gd name="connsiteY4" fmla="*/ 6672 h 57070"/>
                    <a:gd name="connsiteX5" fmla="*/ 3234 w 42112"/>
                    <a:gd name="connsiteY5" fmla="*/ 911 h 57070"/>
                    <a:gd name="connsiteX6" fmla="*/ 9832 w 42112"/>
                    <a:gd name="connsiteY6" fmla="*/ 873 h 57070"/>
                    <a:gd name="connsiteX7" fmla="*/ 38376 w 42112"/>
                    <a:gd name="connsiteY7" fmla="*/ 17357 h 57070"/>
                    <a:gd name="connsiteX8" fmla="*/ 41647 w 42112"/>
                    <a:gd name="connsiteY8" fmla="*/ 22914 h 57070"/>
                    <a:gd name="connsiteX9" fmla="*/ 42112 w 42112"/>
                    <a:gd name="connsiteY9" fmla="*/ 50381 h 57070"/>
                    <a:gd name="connsiteX10" fmla="*/ 38878 w 42112"/>
                    <a:gd name="connsiteY10" fmla="*/ 56142 h 57070"/>
                    <a:gd name="connsiteX11" fmla="*/ 35570 w 42112"/>
                    <a:gd name="connsiteY11" fmla="*/ 57071 h 57070"/>
                    <a:gd name="connsiteX12" fmla="*/ 13511 w 42112"/>
                    <a:gd name="connsiteY12" fmla="*/ 30199 h 57070"/>
                    <a:gd name="connsiteX13" fmla="*/ 28824 w 42112"/>
                    <a:gd name="connsiteY13" fmla="*/ 39045 h 57070"/>
                    <a:gd name="connsiteX14" fmla="*/ 28620 w 42112"/>
                    <a:gd name="connsiteY14" fmla="*/ 26872 h 57070"/>
                    <a:gd name="connsiteX15" fmla="*/ 13307 w 42112"/>
                    <a:gd name="connsiteY15" fmla="*/ 18026 h 57070"/>
                    <a:gd name="connsiteX16" fmla="*/ 13511 w 42112"/>
                    <a:gd name="connsiteY16" fmla="*/ 30199 h 57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112" h="57070">
                      <a:moveTo>
                        <a:pt x="35570" y="57071"/>
                      </a:moveTo>
                      <a:cubicBezTo>
                        <a:pt x="34437" y="57071"/>
                        <a:pt x="33303" y="56774"/>
                        <a:pt x="32299" y="56197"/>
                      </a:cubicBezTo>
                      <a:lnTo>
                        <a:pt x="3736" y="39714"/>
                      </a:lnTo>
                      <a:cubicBezTo>
                        <a:pt x="1748" y="38561"/>
                        <a:pt x="503" y="36443"/>
                        <a:pt x="465" y="34138"/>
                      </a:cubicBezTo>
                      <a:lnTo>
                        <a:pt x="1" y="6672"/>
                      </a:lnTo>
                      <a:cubicBezTo>
                        <a:pt x="-36" y="4311"/>
                        <a:pt x="1190" y="2119"/>
                        <a:pt x="3234" y="911"/>
                      </a:cubicBezTo>
                      <a:cubicBezTo>
                        <a:pt x="5260" y="-297"/>
                        <a:pt x="7787" y="-297"/>
                        <a:pt x="9832" y="873"/>
                      </a:cubicBezTo>
                      <a:lnTo>
                        <a:pt x="38376" y="17357"/>
                      </a:lnTo>
                      <a:cubicBezTo>
                        <a:pt x="40365" y="18510"/>
                        <a:pt x="41610" y="20628"/>
                        <a:pt x="41647" y="22914"/>
                      </a:cubicBezTo>
                      <a:lnTo>
                        <a:pt x="42112" y="50381"/>
                      </a:lnTo>
                      <a:cubicBezTo>
                        <a:pt x="42149" y="52741"/>
                        <a:pt x="40922" y="54952"/>
                        <a:pt x="38878" y="56142"/>
                      </a:cubicBezTo>
                      <a:cubicBezTo>
                        <a:pt x="37875" y="56755"/>
                        <a:pt x="36722" y="57071"/>
                        <a:pt x="35570" y="57071"/>
                      </a:cubicBezTo>
                      <a:close/>
                      <a:moveTo>
                        <a:pt x="13511" y="30199"/>
                      </a:moveTo>
                      <a:lnTo>
                        <a:pt x="28824" y="39045"/>
                      </a:lnTo>
                      <a:lnTo>
                        <a:pt x="28620" y="26872"/>
                      </a:lnTo>
                      <a:lnTo>
                        <a:pt x="13307" y="18026"/>
                      </a:lnTo>
                      <a:lnTo>
                        <a:pt x="13511" y="30199"/>
                      </a:lnTo>
                      <a:close/>
                    </a:path>
                  </a:pathLst>
                </a:custGeom>
                <a:solidFill>
                  <a:schemeClr val="accent1"/>
                </a:solidFill>
                <a:ln w="1858" cap="flat">
                  <a:noFill/>
                  <a:prstDash val="solid"/>
                  <a:miter/>
                </a:ln>
              </p:spPr>
              <p:txBody>
                <a:bodyPr rtlCol="0" anchor="ctr"/>
                <a:lstStyle/>
                <a:p>
                  <a:endParaRPr lang="en-GB" dirty="0"/>
                </a:p>
              </p:txBody>
            </p:sp>
            <p:sp>
              <p:nvSpPr>
                <p:cNvPr id="62" name="Freihandform: Form 491">
                  <a:extLst>
                    <a:ext uri="{FF2B5EF4-FFF2-40B4-BE49-F238E27FC236}">
                      <a16:creationId xmlns:a16="http://schemas.microsoft.com/office/drawing/2014/main" id="{69875179-9554-4B57-8145-6953EC370DD8}"/>
                    </a:ext>
                  </a:extLst>
                </p:cNvPr>
                <p:cNvSpPr/>
                <p:nvPr/>
              </p:nvSpPr>
              <p:spPr>
                <a:xfrm>
                  <a:off x="1159471" y="1895262"/>
                  <a:ext cx="168117" cy="102613"/>
                </a:xfrm>
                <a:custGeom>
                  <a:avLst/>
                  <a:gdLst>
                    <a:gd name="connsiteX0" fmla="*/ 161553 w 168117"/>
                    <a:gd name="connsiteY0" fmla="*/ 102614 h 102613"/>
                    <a:gd name="connsiteX1" fmla="*/ 158282 w 168117"/>
                    <a:gd name="connsiteY1" fmla="*/ 101740 h 102613"/>
                    <a:gd name="connsiteX2" fmla="*/ 3275 w 168117"/>
                    <a:gd name="connsiteY2" fmla="*/ 12241 h 102613"/>
                    <a:gd name="connsiteX3" fmla="*/ 878 w 168117"/>
                    <a:gd name="connsiteY3" fmla="*/ 3283 h 102613"/>
                    <a:gd name="connsiteX4" fmla="*/ 9835 w 168117"/>
                    <a:gd name="connsiteY4" fmla="*/ 886 h 102613"/>
                    <a:gd name="connsiteX5" fmla="*/ 164843 w 168117"/>
                    <a:gd name="connsiteY5" fmla="*/ 90386 h 102613"/>
                    <a:gd name="connsiteX6" fmla="*/ 167240 w 168117"/>
                    <a:gd name="connsiteY6" fmla="*/ 99343 h 102613"/>
                    <a:gd name="connsiteX7" fmla="*/ 161553 w 168117"/>
                    <a:gd name="connsiteY7" fmla="*/ 102614 h 102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117" h="102613">
                      <a:moveTo>
                        <a:pt x="161553" y="102614"/>
                      </a:moveTo>
                      <a:cubicBezTo>
                        <a:pt x="160438" y="102614"/>
                        <a:pt x="159323" y="102335"/>
                        <a:pt x="158282" y="101740"/>
                      </a:cubicBezTo>
                      <a:lnTo>
                        <a:pt x="3275" y="12241"/>
                      </a:lnTo>
                      <a:cubicBezTo>
                        <a:pt x="134" y="10438"/>
                        <a:pt x="-925" y="6424"/>
                        <a:pt x="878" y="3283"/>
                      </a:cubicBezTo>
                      <a:cubicBezTo>
                        <a:pt x="2680" y="143"/>
                        <a:pt x="6676" y="-935"/>
                        <a:pt x="9835" y="886"/>
                      </a:cubicBezTo>
                      <a:lnTo>
                        <a:pt x="164843" y="90386"/>
                      </a:lnTo>
                      <a:cubicBezTo>
                        <a:pt x="167983" y="92188"/>
                        <a:pt x="169042" y="96202"/>
                        <a:pt x="167240" y="99343"/>
                      </a:cubicBezTo>
                      <a:cubicBezTo>
                        <a:pt x="166032" y="101443"/>
                        <a:pt x="163820" y="102614"/>
                        <a:pt x="161553" y="102614"/>
                      </a:cubicBezTo>
                      <a:close/>
                    </a:path>
                  </a:pathLst>
                </a:custGeom>
                <a:solidFill>
                  <a:schemeClr val="accent1"/>
                </a:solidFill>
                <a:ln w="1858" cap="flat">
                  <a:noFill/>
                  <a:prstDash val="solid"/>
                  <a:miter/>
                </a:ln>
              </p:spPr>
              <p:txBody>
                <a:bodyPr rtlCol="0" anchor="ctr"/>
                <a:lstStyle/>
                <a:p>
                  <a:endParaRPr lang="en-GB" dirty="0"/>
                </a:p>
              </p:txBody>
            </p:sp>
          </p:grpSp>
        </p:grpSp>
      </p:grpSp>
      <p:grpSp>
        <p:nvGrpSpPr>
          <p:cNvPr id="127" name="Group 126">
            <a:extLst>
              <a:ext uri="{FF2B5EF4-FFF2-40B4-BE49-F238E27FC236}">
                <a16:creationId xmlns:a16="http://schemas.microsoft.com/office/drawing/2014/main" id="{9EA22B59-BD82-0BAA-B13E-E49ED370D1F1}"/>
              </a:ext>
            </a:extLst>
          </p:cNvPr>
          <p:cNvGrpSpPr/>
          <p:nvPr/>
        </p:nvGrpSpPr>
        <p:grpSpPr>
          <a:xfrm>
            <a:off x="1697412" y="1585984"/>
            <a:ext cx="284145" cy="432000"/>
            <a:chOff x="1697412" y="1585984"/>
            <a:chExt cx="284145" cy="432000"/>
          </a:xfrm>
        </p:grpSpPr>
        <p:grpSp>
          <p:nvGrpSpPr>
            <p:cNvPr id="68" name="Grafik 325">
              <a:extLst>
                <a:ext uri="{FF2B5EF4-FFF2-40B4-BE49-F238E27FC236}">
                  <a16:creationId xmlns:a16="http://schemas.microsoft.com/office/drawing/2014/main" id="{4877D7C5-EDB8-4256-B292-AEE9AE14C076}"/>
                </a:ext>
              </a:extLst>
            </p:cNvPr>
            <p:cNvGrpSpPr/>
            <p:nvPr/>
          </p:nvGrpSpPr>
          <p:grpSpPr>
            <a:xfrm>
              <a:off x="1697412" y="1793346"/>
              <a:ext cx="284145" cy="224638"/>
              <a:chOff x="2596876" y="2665858"/>
              <a:chExt cx="319213" cy="252361"/>
            </a:xfrm>
            <a:solidFill>
              <a:schemeClr val="tx2"/>
            </a:solidFill>
          </p:grpSpPr>
          <p:sp>
            <p:nvSpPr>
              <p:cNvPr id="83" name="Freihandform: Form 195">
                <a:extLst>
                  <a:ext uri="{FF2B5EF4-FFF2-40B4-BE49-F238E27FC236}">
                    <a16:creationId xmlns:a16="http://schemas.microsoft.com/office/drawing/2014/main" id="{9681F171-A3E2-4623-A5A0-4C322B8C7E22}"/>
                  </a:ext>
                </a:extLst>
              </p:cNvPr>
              <p:cNvSpPr/>
              <p:nvPr/>
            </p:nvSpPr>
            <p:spPr>
              <a:xfrm>
                <a:off x="2643354" y="2776054"/>
                <a:ext cx="226164" cy="142166"/>
              </a:xfrm>
              <a:custGeom>
                <a:avLst/>
                <a:gdLst>
                  <a:gd name="connsiteX0" fmla="*/ 113082 w 226164"/>
                  <a:gd name="connsiteY0" fmla="*/ 142166 h 142166"/>
                  <a:gd name="connsiteX1" fmla="*/ 109830 w 226164"/>
                  <a:gd name="connsiteY1" fmla="*/ 141311 h 142166"/>
                  <a:gd name="connsiteX2" fmla="*/ 3308 w 226164"/>
                  <a:gd name="connsiteY2" fmla="*/ 80449 h 142166"/>
                  <a:gd name="connsiteX3" fmla="*/ 0 w 226164"/>
                  <a:gd name="connsiteY3" fmla="*/ 74763 h 142166"/>
                  <a:gd name="connsiteX4" fmla="*/ 0 w 226164"/>
                  <a:gd name="connsiteY4" fmla="*/ 6560 h 142166"/>
                  <a:gd name="connsiteX5" fmla="*/ 6560 w 226164"/>
                  <a:gd name="connsiteY5" fmla="*/ 0 h 142166"/>
                  <a:gd name="connsiteX6" fmla="*/ 13120 w 226164"/>
                  <a:gd name="connsiteY6" fmla="*/ 6560 h 142166"/>
                  <a:gd name="connsiteX7" fmla="*/ 13120 w 226164"/>
                  <a:gd name="connsiteY7" fmla="*/ 70972 h 142166"/>
                  <a:gd name="connsiteX8" fmla="*/ 113082 w 226164"/>
                  <a:gd name="connsiteY8" fmla="*/ 128098 h 142166"/>
                  <a:gd name="connsiteX9" fmla="*/ 213045 w 226164"/>
                  <a:gd name="connsiteY9" fmla="*/ 70972 h 142166"/>
                  <a:gd name="connsiteX10" fmla="*/ 213045 w 226164"/>
                  <a:gd name="connsiteY10" fmla="*/ 6560 h 142166"/>
                  <a:gd name="connsiteX11" fmla="*/ 219605 w 226164"/>
                  <a:gd name="connsiteY11" fmla="*/ 0 h 142166"/>
                  <a:gd name="connsiteX12" fmla="*/ 226165 w 226164"/>
                  <a:gd name="connsiteY12" fmla="*/ 6560 h 142166"/>
                  <a:gd name="connsiteX13" fmla="*/ 226165 w 226164"/>
                  <a:gd name="connsiteY13" fmla="*/ 74763 h 142166"/>
                  <a:gd name="connsiteX14" fmla="*/ 222857 w 226164"/>
                  <a:gd name="connsiteY14" fmla="*/ 80449 h 142166"/>
                  <a:gd name="connsiteX15" fmla="*/ 116335 w 226164"/>
                  <a:gd name="connsiteY15" fmla="*/ 141311 h 142166"/>
                  <a:gd name="connsiteX16" fmla="*/ 113082 w 226164"/>
                  <a:gd name="connsiteY16" fmla="*/ 142166 h 142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6164" h="142166">
                    <a:moveTo>
                      <a:pt x="113082" y="142166"/>
                    </a:moveTo>
                    <a:cubicBezTo>
                      <a:pt x="111968" y="142166"/>
                      <a:pt x="110834" y="141869"/>
                      <a:pt x="109830" y="141311"/>
                    </a:cubicBezTo>
                    <a:lnTo>
                      <a:pt x="3308" y="80449"/>
                    </a:lnTo>
                    <a:cubicBezTo>
                      <a:pt x="1264" y="79278"/>
                      <a:pt x="0" y="77104"/>
                      <a:pt x="0" y="74763"/>
                    </a:cubicBezTo>
                    <a:lnTo>
                      <a:pt x="0" y="6560"/>
                    </a:lnTo>
                    <a:cubicBezTo>
                      <a:pt x="0" y="2936"/>
                      <a:pt x="2936" y="0"/>
                      <a:pt x="6560" y="0"/>
                    </a:cubicBezTo>
                    <a:cubicBezTo>
                      <a:pt x="10184" y="0"/>
                      <a:pt x="13120" y="2936"/>
                      <a:pt x="13120" y="6560"/>
                    </a:cubicBezTo>
                    <a:lnTo>
                      <a:pt x="13120" y="70972"/>
                    </a:lnTo>
                    <a:lnTo>
                      <a:pt x="113082" y="128098"/>
                    </a:lnTo>
                    <a:lnTo>
                      <a:pt x="213045" y="70972"/>
                    </a:lnTo>
                    <a:lnTo>
                      <a:pt x="213045" y="6560"/>
                    </a:lnTo>
                    <a:cubicBezTo>
                      <a:pt x="213045" y="2936"/>
                      <a:pt x="215981" y="0"/>
                      <a:pt x="219605" y="0"/>
                    </a:cubicBezTo>
                    <a:cubicBezTo>
                      <a:pt x="223229" y="0"/>
                      <a:pt x="226165" y="2936"/>
                      <a:pt x="226165" y="6560"/>
                    </a:cubicBezTo>
                    <a:lnTo>
                      <a:pt x="226165" y="74763"/>
                    </a:lnTo>
                    <a:cubicBezTo>
                      <a:pt x="226165" y="77123"/>
                      <a:pt x="224901" y="79278"/>
                      <a:pt x="222857" y="80449"/>
                    </a:cubicBezTo>
                    <a:lnTo>
                      <a:pt x="116335" y="141311"/>
                    </a:lnTo>
                    <a:cubicBezTo>
                      <a:pt x="115331" y="141869"/>
                      <a:pt x="114216" y="142166"/>
                      <a:pt x="113082" y="142166"/>
                    </a:cubicBezTo>
                    <a:close/>
                  </a:path>
                </a:pathLst>
              </a:custGeom>
              <a:grpFill/>
              <a:ln w="1858" cap="flat">
                <a:noFill/>
                <a:prstDash val="solid"/>
                <a:miter/>
              </a:ln>
            </p:spPr>
            <p:txBody>
              <a:bodyPr rtlCol="0" anchor="ctr"/>
              <a:lstStyle/>
              <a:p>
                <a:endParaRPr lang="en-GB" dirty="0"/>
              </a:p>
            </p:txBody>
          </p:sp>
          <p:sp>
            <p:nvSpPr>
              <p:cNvPr id="84" name="Freihandform: Form 196">
                <a:extLst>
                  <a:ext uri="{FF2B5EF4-FFF2-40B4-BE49-F238E27FC236}">
                    <a16:creationId xmlns:a16="http://schemas.microsoft.com/office/drawing/2014/main" id="{0B77563D-E23A-4A5E-B2B0-F82ACE2C20CE}"/>
                  </a:ext>
                </a:extLst>
              </p:cNvPr>
              <p:cNvSpPr/>
              <p:nvPr/>
            </p:nvSpPr>
            <p:spPr>
              <a:xfrm>
                <a:off x="2776104" y="2676259"/>
                <a:ext cx="93414" cy="59337"/>
              </a:xfrm>
              <a:custGeom>
                <a:avLst/>
                <a:gdLst>
                  <a:gd name="connsiteX0" fmla="*/ 86855 w 93414"/>
                  <a:gd name="connsiteY0" fmla="*/ 59338 h 59337"/>
                  <a:gd name="connsiteX1" fmla="*/ 83584 w 93414"/>
                  <a:gd name="connsiteY1" fmla="*/ 58464 h 59337"/>
                  <a:gd name="connsiteX2" fmla="*/ 3283 w 93414"/>
                  <a:gd name="connsiteY2" fmla="*/ 12246 h 59337"/>
                  <a:gd name="connsiteX3" fmla="*/ 886 w 93414"/>
                  <a:gd name="connsiteY3" fmla="*/ 3289 h 59337"/>
                  <a:gd name="connsiteX4" fmla="*/ 9825 w 93414"/>
                  <a:gd name="connsiteY4" fmla="*/ 873 h 59337"/>
                  <a:gd name="connsiteX5" fmla="*/ 90125 w 93414"/>
                  <a:gd name="connsiteY5" fmla="*/ 47091 h 59337"/>
                  <a:gd name="connsiteX6" fmla="*/ 92541 w 93414"/>
                  <a:gd name="connsiteY6" fmla="*/ 56048 h 59337"/>
                  <a:gd name="connsiteX7" fmla="*/ 86855 w 93414"/>
                  <a:gd name="connsiteY7" fmla="*/ 59338 h 59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14" h="59337">
                    <a:moveTo>
                      <a:pt x="86855" y="59338"/>
                    </a:moveTo>
                    <a:cubicBezTo>
                      <a:pt x="85740" y="59338"/>
                      <a:pt x="84625" y="59059"/>
                      <a:pt x="83584" y="58464"/>
                    </a:cubicBezTo>
                    <a:lnTo>
                      <a:pt x="3283" y="12246"/>
                    </a:lnTo>
                    <a:cubicBezTo>
                      <a:pt x="143" y="10444"/>
                      <a:pt x="-935" y="6430"/>
                      <a:pt x="886" y="3289"/>
                    </a:cubicBezTo>
                    <a:cubicBezTo>
                      <a:pt x="2689" y="148"/>
                      <a:pt x="6684" y="-930"/>
                      <a:pt x="9825" y="873"/>
                    </a:cubicBezTo>
                    <a:lnTo>
                      <a:pt x="90125" y="47091"/>
                    </a:lnTo>
                    <a:cubicBezTo>
                      <a:pt x="93266" y="48893"/>
                      <a:pt x="94344" y="52908"/>
                      <a:pt x="92541" y="56048"/>
                    </a:cubicBezTo>
                    <a:cubicBezTo>
                      <a:pt x="91333" y="58167"/>
                      <a:pt x="89122" y="59338"/>
                      <a:pt x="86855" y="59338"/>
                    </a:cubicBezTo>
                    <a:close/>
                  </a:path>
                </a:pathLst>
              </a:custGeom>
              <a:grpFill/>
              <a:ln w="1858" cap="flat">
                <a:noFill/>
                <a:prstDash val="solid"/>
                <a:miter/>
              </a:ln>
            </p:spPr>
            <p:txBody>
              <a:bodyPr rtlCol="0" anchor="ctr"/>
              <a:lstStyle/>
              <a:p>
                <a:endParaRPr lang="en-GB" dirty="0"/>
              </a:p>
            </p:txBody>
          </p:sp>
          <p:sp>
            <p:nvSpPr>
              <p:cNvPr id="85" name="Freihandform: Form 197">
                <a:extLst>
                  <a:ext uri="{FF2B5EF4-FFF2-40B4-BE49-F238E27FC236}">
                    <a16:creationId xmlns:a16="http://schemas.microsoft.com/office/drawing/2014/main" id="{24CD9AB2-F3C5-463C-90A1-C89288F0D7DA}"/>
                  </a:ext>
                </a:extLst>
              </p:cNvPr>
              <p:cNvSpPr/>
              <p:nvPr/>
            </p:nvSpPr>
            <p:spPr>
              <a:xfrm>
                <a:off x="2643373" y="2677913"/>
                <a:ext cx="90502" cy="57683"/>
              </a:xfrm>
              <a:custGeom>
                <a:avLst/>
                <a:gdLst>
                  <a:gd name="connsiteX0" fmla="*/ 6560 w 90502"/>
                  <a:gd name="connsiteY0" fmla="*/ 57684 h 57683"/>
                  <a:gd name="connsiteX1" fmla="*/ 874 w 90502"/>
                  <a:gd name="connsiteY1" fmla="*/ 54394 h 57683"/>
                  <a:gd name="connsiteX2" fmla="*/ 3271 w 90502"/>
                  <a:gd name="connsiteY2" fmla="*/ 45437 h 57683"/>
                  <a:gd name="connsiteX3" fmla="*/ 80672 w 90502"/>
                  <a:gd name="connsiteY3" fmla="*/ 873 h 57683"/>
                  <a:gd name="connsiteX4" fmla="*/ 89630 w 90502"/>
                  <a:gd name="connsiteY4" fmla="*/ 3289 h 57683"/>
                  <a:gd name="connsiteX5" fmla="*/ 87214 w 90502"/>
                  <a:gd name="connsiteY5" fmla="*/ 12246 h 57683"/>
                  <a:gd name="connsiteX6" fmla="*/ 9812 w 90502"/>
                  <a:gd name="connsiteY6" fmla="*/ 56810 h 57683"/>
                  <a:gd name="connsiteX7" fmla="*/ 6560 w 90502"/>
                  <a:gd name="connsiteY7" fmla="*/ 57684 h 57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502" h="57683">
                    <a:moveTo>
                      <a:pt x="6560" y="57684"/>
                    </a:moveTo>
                    <a:cubicBezTo>
                      <a:pt x="4293" y="57684"/>
                      <a:pt x="2082" y="56513"/>
                      <a:pt x="874" y="54394"/>
                    </a:cubicBezTo>
                    <a:cubicBezTo>
                      <a:pt x="-929" y="51254"/>
                      <a:pt x="149" y="47258"/>
                      <a:pt x="3271" y="45437"/>
                    </a:cubicBezTo>
                    <a:lnTo>
                      <a:pt x="80672" y="873"/>
                    </a:lnTo>
                    <a:cubicBezTo>
                      <a:pt x="83813" y="-930"/>
                      <a:pt x="87827" y="148"/>
                      <a:pt x="89630" y="3289"/>
                    </a:cubicBezTo>
                    <a:cubicBezTo>
                      <a:pt x="91432" y="6430"/>
                      <a:pt x="90355" y="10425"/>
                      <a:pt x="87214" y="12246"/>
                    </a:cubicBezTo>
                    <a:lnTo>
                      <a:pt x="9812" y="56810"/>
                    </a:lnTo>
                    <a:cubicBezTo>
                      <a:pt x="8790" y="57405"/>
                      <a:pt x="7657" y="57684"/>
                      <a:pt x="6560" y="57684"/>
                    </a:cubicBezTo>
                    <a:close/>
                  </a:path>
                </a:pathLst>
              </a:custGeom>
              <a:grpFill/>
              <a:ln w="1858" cap="flat">
                <a:noFill/>
                <a:prstDash val="solid"/>
                <a:miter/>
              </a:ln>
            </p:spPr>
            <p:txBody>
              <a:bodyPr rtlCol="0" anchor="ctr"/>
              <a:lstStyle/>
              <a:p>
                <a:endParaRPr lang="en-GB" dirty="0"/>
              </a:p>
            </p:txBody>
          </p:sp>
          <p:sp>
            <p:nvSpPr>
              <p:cNvPr id="86" name="Freihandform: Form 198">
                <a:extLst>
                  <a:ext uri="{FF2B5EF4-FFF2-40B4-BE49-F238E27FC236}">
                    <a16:creationId xmlns:a16="http://schemas.microsoft.com/office/drawing/2014/main" id="{279EB162-90DF-4144-A42F-0CFC186B550C}"/>
                  </a:ext>
                </a:extLst>
              </p:cNvPr>
              <p:cNvSpPr/>
              <p:nvPr/>
            </p:nvSpPr>
            <p:spPr>
              <a:xfrm>
                <a:off x="2749882" y="2722129"/>
                <a:ext cx="119632" cy="73976"/>
              </a:xfrm>
              <a:custGeom>
                <a:avLst/>
                <a:gdLst>
                  <a:gd name="connsiteX0" fmla="*/ 6574 w 119632"/>
                  <a:gd name="connsiteY0" fmla="*/ 73977 h 73976"/>
                  <a:gd name="connsiteX1" fmla="*/ 868 w 119632"/>
                  <a:gd name="connsiteY1" fmla="*/ 70669 h 73976"/>
                  <a:gd name="connsiteX2" fmla="*/ 3303 w 119632"/>
                  <a:gd name="connsiteY2" fmla="*/ 61730 h 73976"/>
                  <a:gd name="connsiteX3" fmla="*/ 109825 w 119632"/>
                  <a:gd name="connsiteY3" fmla="*/ 868 h 73976"/>
                  <a:gd name="connsiteX4" fmla="*/ 118764 w 119632"/>
                  <a:gd name="connsiteY4" fmla="*/ 3303 h 73976"/>
                  <a:gd name="connsiteX5" fmla="*/ 116329 w 119632"/>
                  <a:gd name="connsiteY5" fmla="*/ 12242 h 73976"/>
                  <a:gd name="connsiteX6" fmla="*/ 9807 w 119632"/>
                  <a:gd name="connsiteY6" fmla="*/ 73104 h 73976"/>
                  <a:gd name="connsiteX7" fmla="*/ 6574 w 119632"/>
                  <a:gd name="connsiteY7" fmla="*/ 73977 h 73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32" h="73976">
                    <a:moveTo>
                      <a:pt x="6574" y="73977"/>
                    </a:moveTo>
                    <a:cubicBezTo>
                      <a:pt x="4288" y="73977"/>
                      <a:pt x="2095" y="72788"/>
                      <a:pt x="868" y="70669"/>
                    </a:cubicBezTo>
                    <a:cubicBezTo>
                      <a:pt x="-934" y="67528"/>
                      <a:pt x="162" y="63514"/>
                      <a:pt x="3303" y="61730"/>
                    </a:cubicBezTo>
                    <a:lnTo>
                      <a:pt x="109825" y="868"/>
                    </a:lnTo>
                    <a:cubicBezTo>
                      <a:pt x="112966" y="-934"/>
                      <a:pt x="116961" y="162"/>
                      <a:pt x="118764" y="3303"/>
                    </a:cubicBezTo>
                    <a:cubicBezTo>
                      <a:pt x="120567" y="6443"/>
                      <a:pt x="119470" y="10458"/>
                      <a:pt x="116329" y="12242"/>
                    </a:cubicBezTo>
                    <a:lnTo>
                      <a:pt x="9807" y="73104"/>
                    </a:lnTo>
                    <a:cubicBezTo>
                      <a:pt x="8785" y="73698"/>
                      <a:pt x="7670" y="73977"/>
                      <a:pt x="6574" y="73977"/>
                    </a:cubicBezTo>
                    <a:close/>
                  </a:path>
                </a:pathLst>
              </a:custGeom>
              <a:grpFill/>
              <a:ln w="1858" cap="flat">
                <a:noFill/>
                <a:prstDash val="solid"/>
                <a:miter/>
              </a:ln>
            </p:spPr>
            <p:txBody>
              <a:bodyPr rtlCol="0" anchor="ctr"/>
              <a:lstStyle/>
              <a:p>
                <a:endParaRPr lang="en-GB" dirty="0"/>
              </a:p>
            </p:txBody>
          </p:sp>
          <p:sp>
            <p:nvSpPr>
              <p:cNvPr id="87" name="Freihandform: Form 199">
                <a:extLst>
                  <a:ext uri="{FF2B5EF4-FFF2-40B4-BE49-F238E27FC236}">
                    <a16:creationId xmlns:a16="http://schemas.microsoft.com/office/drawing/2014/main" id="{48E1BC53-53C9-4041-98E0-F64AAA536B6F}"/>
                  </a:ext>
                </a:extLst>
              </p:cNvPr>
              <p:cNvSpPr/>
              <p:nvPr/>
            </p:nvSpPr>
            <p:spPr>
              <a:xfrm>
                <a:off x="2749877" y="2783543"/>
                <a:ext cx="13120" cy="134305"/>
              </a:xfrm>
              <a:custGeom>
                <a:avLst/>
                <a:gdLst>
                  <a:gd name="connsiteX0" fmla="*/ 6560 w 13120"/>
                  <a:gd name="connsiteY0" fmla="*/ 134305 h 134305"/>
                  <a:gd name="connsiteX1" fmla="*/ 0 w 13120"/>
                  <a:gd name="connsiteY1" fmla="*/ 127745 h 134305"/>
                  <a:gd name="connsiteX2" fmla="*/ 0 w 13120"/>
                  <a:gd name="connsiteY2" fmla="*/ 6560 h 134305"/>
                  <a:gd name="connsiteX3" fmla="*/ 6560 w 13120"/>
                  <a:gd name="connsiteY3" fmla="*/ 0 h 134305"/>
                  <a:gd name="connsiteX4" fmla="*/ 13120 w 13120"/>
                  <a:gd name="connsiteY4" fmla="*/ 6560 h 134305"/>
                  <a:gd name="connsiteX5" fmla="*/ 13120 w 13120"/>
                  <a:gd name="connsiteY5" fmla="*/ 127745 h 134305"/>
                  <a:gd name="connsiteX6" fmla="*/ 6560 w 13120"/>
                  <a:gd name="connsiteY6" fmla="*/ 134305 h 134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20" h="134305">
                    <a:moveTo>
                      <a:pt x="6560" y="134305"/>
                    </a:moveTo>
                    <a:cubicBezTo>
                      <a:pt x="2936" y="134305"/>
                      <a:pt x="0" y="131369"/>
                      <a:pt x="0" y="127745"/>
                    </a:cubicBezTo>
                    <a:lnTo>
                      <a:pt x="0" y="6560"/>
                    </a:lnTo>
                    <a:cubicBezTo>
                      <a:pt x="0" y="2936"/>
                      <a:pt x="2936" y="0"/>
                      <a:pt x="6560" y="0"/>
                    </a:cubicBezTo>
                    <a:cubicBezTo>
                      <a:pt x="10184" y="0"/>
                      <a:pt x="13120" y="2936"/>
                      <a:pt x="13120" y="6560"/>
                    </a:cubicBezTo>
                    <a:lnTo>
                      <a:pt x="13120" y="127745"/>
                    </a:lnTo>
                    <a:cubicBezTo>
                      <a:pt x="13120" y="131369"/>
                      <a:pt x="10184" y="134305"/>
                      <a:pt x="6560" y="134305"/>
                    </a:cubicBezTo>
                    <a:close/>
                  </a:path>
                </a:pathLst>
              </a:custGeom>
              <a:grpFill/>
              <a:ln w="1858" cap="flat">
                <a:noFill/>
                <a:prstDash val="solid"/>
                <a:miter/>
              </a:ln>
            </p:spPr>
            <p:txBody>
              <a:bodyPr rtlCol="0" anchor="ctr"/>
              <a:lstStyle/>
              <a:p>
                <a:endParaRPr lang="en-GB" dirty="0"/>
              </a:p>
            </p:txBody>
          </p:sp>
          <p:sp>
            <p:nvSpPr>
              <p:cNvPr id="88" name="Freihandform: Form 200">
                <a:extLst>
                  <a:ext uri="{FF2B5EF4-FFF2-40B4-BE49-F238E27FC236}">
                    <a16:creationId xmlns:a16="http://schemas.microsoft.com/office/drawing/2014/main" id="{F0602A22-B2AE-4F35-B6E0-A8984C3B98A9}"/>
                  </a:ext>
                </a:extLst>
              </p:cNvPr>
              <p:cNvSpPr/>
              <p:nvPr/>
            </p:nvSpPr>
            <p:spPr>
              <a:xfrm>
                <a:off x="2596876" y="2722426"/>
                <a:ext cx="166092" cy="100292"/>
              </a:xfrm>
              <a:custGeom>
                <a:avLst/>
                <a:gdLst>
                  <a:gd name="connsiteX0" fmla="*/ 112989 w 166092"/>
                  <a:gd name="connsiteY0" fmla="*/ 100292 h 100292"/>
                  <a:gd name="connsiteX1" fmla="*/ 109737 w 166092"/>
                  <a:gd name="connsiteY1" fmla="*/ 99437 h 100292"/>
                  <a:gd name="connsiteX2" fmla="*/ 3308 w 166092"/>
                  <a:gd name="connsiteY2" fmla="*/ 38743 h 100292"/>
                  <a:gd name="connsiteX3" fmla="*/ 0 w 166092"/>
                  <a:gd name="connsiteY3" fmla="*/ 33037 h 100292"/>
                  <a:gd name="connsiteX4" fmla="*/ 3308 w 166092"/>
                  <a:gd name="connsiteY4" fmla="*/ 27332 h 100292"/>
                  <a:gd name="connsiteX5" fmla="*/ 49879 w 166092"/>
                  <a:gd name="connsiteY5" fmla="*/ 850 h 100292"/>
                  <a:gd name="connsiteX6" fmla="*/ 56365 w 166092"/>
                  <a:gd name="connsiteY6" fmla="*/ 850 h 100292"/>
                  <a:gd name="connsiteX7" fmla="*/ 162775 w 166092"/>
                  <a:gd name="connsiteY7" fmla="*/ 61396 h 100292"/>
                  <a:gd name="connsiteX8" fmla="*/ 165228 w 166092"/>
                  <a:gd name="connsiteY8" fmla="*/ 70335 h 100292"/>
                  <a:gd name="connsiteX9" fmla="*/ 162608 w 166092"/>
                  <a:gd name="connsiteY9" fmla="*/ 72881 h 100292"/>
                  <a:gd name="connsiteX10" fmla="*/ 116223 w 166092"/>
                  <a:gd name="connsiteY10" fmla="*/ 99400 h 100292"/>
                  <a:gd name="connsiteX11" fmla="*/ 112989 w 166092"/>
                  <a:gd name="connsiteY11" fmla="*/ 100292 h 100292"/>
                  <a:gd name="connsiteX12" fmla="*/ 19829 w 166092"/>
                  <a:gd name="connsiteY12" fmla="*/ 33056 h 100292"/>
                  <a:gd name="connsiteX13" fmla="*/ 112989 w 166092"/>
                  <a:gd name="connsiteY13" fmla="*/ 86187 h 100292"/>
                  <a:gd name="connsiteX14" fmla="*/ 146329 w 166092"/>
                  <a:gd name="connsiteY14" fmla="*/ 67139 h 100292"/>
                  <a:gd name="connsiteX15" fmla="*/ 53150 w 166092"/>
                  <a:gd name="connsiteY15" fmla="*/ 14119 h 100292"/>
                  <a:gd name="connsiteX16" fmla="*/ 19829 w 166092"/>
                  <a:gd name="connsiteY16" fmla="*/ 33056 h 10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6092" h="100292">
                    <a:moveTo>
                      <a:pt x="112989" y="100292"/>
                    </a:moveTo>
                    <a:cubicBezTo>
                      <a:pt x="111874" y="100292"/>
                      <a:pt x="110741" y="99995"/>
                      <a:pt x="109737" y="99437"/>
                    </a:cubicBezTo>
                    <a:lnTo>
                      <a:pt x="3308" y="38743"/>
                    </a:lnTo>
                    <a:cubicBezTo>
                      <a:pt x="1264" y="37572"/>
                      <a:pt x="0" y="35398"/>
                      <a:pt x="0" y="33037"/>
                    </a:cubicBezTo>
                    <a:cubicBezTo>
                      <a:pt x="0" y="30677"/>
                      <a:pt x="1264" y="28503"/>
                      <a:pt x="3308" y="27332"/>
                    </a:cubicBezTo>
                    <a:lnTo>
                      <a:pt x="49879" y="850"/>
                    </a:lnTo>
                    <a:cubicBezTo>
                      <a:pt x="51886" y="-283"/>
                      <a:pt x="54339" y="-283"/>
                      <a:pt x="56365" y="850"/>
                    </a:cubicBezTo>
                    <a:lnTo>
                      <a:pt x="162775" y="61396"/>
                    </a:lnTo>
                    <a:cubicBezTo>
                      <a:pt x="165916" y="63180"/>
                      <a:pt x="167031" y="67194"/>
                      <a:pt x="165228" y="70335"/>
                    </a:cubicBezTo>
                    <a:cubicBezTo>
                      <a:pt x="164597" y="71450"/>
                      <a:pt x="163667" y="72324"/>
                      <a:pt x="162608" y="72881"/>
                    </a:cubicBezTo>
                    <a:lnTo>
                      <a:pt x="116223" y="99400"/>
                    </a:lnTo>
                    <a:cubicBezTo>
                      <a:pt x="115238" y="100013"/>
                      <a:pt x="114123" y="100292"/>
                      <a:pt x="112989" y="100292"/>
                    </a:cubicBezTo>
                    <a:close/>
                    <a:moveTo>
                      <a:pt x="19829" y="33056"/>
                    </a:moveTo>
                    <a:lnTo>
                      <a:pt x="112989" y="86187"/>
                    </a:lnTo>
                    <a:lnTo>
                      <a:pt x="146329" y="67139"/>
                    </a:lnTo>
                    <a:lnTo>
                      <a:pt x="53150" y="14119"/>
                    </a:lnTo>
                    <a:lnTo>
                      <a:pt x="19829" y="33056"/>
                    </a:lnTo>
                    <a:close/>
                  </a:path>
                </a:pathLst>
              </a:custGeom>
              <a:grpFill/>
              <a:ln w="1858" cap="flat">
                <a:noFill/>
                <a:prstDash val="solid"/>
                <a:miter/>
              </a:ln>
            </p:spPr>
            <p:txBody>
              <a:bodyPr rtlCol="0" anchor="ctr"/>
              <a:lstStyle/>
              <a:p>
                <a:endParaRPr lang="en-GB" dirty="0"/>
              </a:p>
            </p:txBody>
          </p:sp>
          <p:sp>
            <p:nvSpPr>
              <p:cNvPr id="89" name="Freihandform: Form 201">
                <a:extLst>
                  <a:ext uri="{FF2B5EF4-FFF2-40B4-BE49-F238E27FC236}">
                    <a16:creationId xmlns:a16="http://schemas.microsoft.com/office/drawing/2014/main" id="{57512B5F-2FCE-4E97-9DAF-151730899CA2}"/>
                  </a:ext>
                </a:extLst>
              </p:cNvPr>
              <p:cNvSpPr/>
              <p:nvPr/>
            </p:nvSpPr>
            <p:spPr>
              <a:xfrm>
                <a:off x="2851183" y="2665858"/>
                <a:ext cx="64888" cy="69590"/>
              </a:xfrm>
              <a:custGeom>
                <a:avLst/>
                <a:gdLst>
                  <a:gd name="connsiteX0" fmla="*/ 11776 w 64888"/>
                  <a:gd name="connsiteY0" fmla="*/ 69590 h 69590"/>
                  <a:gd name="connsiteX1" fmla="*/ 6071 w 64888"/>
                  <a:gd name="connsiteY1" fmla="*/ 66282 h 69590"/>
                  <a:gd name="connsiteX2" fmla="*/ 8505 w 64888"/>
                  <a:gd name="connsiteY2" fmla="*/ 57344 h 69590"/>
                  <a:gd name="connsiteX3" fmla="*/ 45171 w 64888"/>
                  <a:gd name="connsiteY3" fmla="*/ 36400 h 69590"/>
                  <a:gd name="connsiteX4" fmla="*/ 3283 w 64888"/>
                  <a:gd name="connsiteY4" fmla="*/ 12241 h 69590"/>
                  <a:gd name="connsiteX5" fmla="*/ 886 w 64888"/>
                  <a:gd name="connsiteY5" fmla="*/ 3283 h 69590"/>
                  <a:gd name="connsiteX6" fmla="*/ 9843 w 64888"/>
                  <a:gd name="connsiteY6" fmla="*/ 886 h 69590"/>
                  <a:gd name="connsiteX7" fmla="*/ 61618 w 64888"/>
                  <a:gd name="connsiteY7" fmla="*/ 30750 h 69590"/>
                  <a:gd name="connsiteX8" fmla="*/ 64889 w 64888"/>
                  <a:gd name="connsiteY8" fmla="*/ 36437 h 69590"/>
                  <a:gd name="connsiteX9" fmla="*/ 61581 w 64888"/>
                  <a:gd name="connsiteY9" fmla="*/ 42123 h 69590"/>
                  <a:gd name="connsiteX10" fmla="*/ 15010 w 64888"/>
                  <a:gd name="connsiteY10" fmla="*/ 68735 h 69590"/>
                  <a:gd name="connsiteX11" fmla="*/ 11776 w 64888"/>
                  <a:gd name="connsiteY11" fmla="*/ 69590 h 6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888" h="69590">
                    <a:moveTo>
                      <a:pt x="11776" y="69590"/>
                    </a:moveTo>
                    <a:cubicBezTo>
                      <a:pt x="9490" y="69590"/>
                      <a:pt x="7297" y="68401"/>
                      <a:pt x="6071" y="66282"/>
                    </a:cubicBezTo>
                    <a:cubicBezTo>
                      <a:pt x="4268" y="63142"/>
                      <a:pt x="5365" y="59128"/>
                      <a:pt x="8505" y="57344"/>
                    </a:cubicBezTo>
                    <a:lnTo>
                      <a:pt x="45171" y="36400"/>
                    </a:lnTo>
                    <a:lnTo>
                      <a:pt x="3283" y="12241"/>
                    </a:lnTo>
                    <a:cubicBezTo>
                      <a:pt x="143" y="10438"/>
                      <a:pt x="-935" y="6424"/>
                      <a:pt x="886" y="3283"/>
                    </a:cubicBezTo>
                    <a:cubicBezTo>
                      <a:pt x="2688" y="143"/>
                      <a:pt x="6684" y="-935"/>
                      <a:pt x="9843" y="886"/>
                    </a:cubicBezTo>
                    <a:lnTo>
                      <a:pt x="61618" y="30750"/>
                    </a:lnTo>
                    <a:cubicBezTo>
                      <a:pt x="63643" y="31921"/>
                      <a:pt x="64907" y="34095"/>
                      <a:pt x="64889" y="36437"/>
                    </a:cubicBezTo>
                    <a:cubicBezTo>
                      <a:pt x="64889" y="38778"/>
                      <a:pt x="63625" y="40953"/>
                      <a:pt x="61581" y="42123"/>
                    </a:cubicBezTo>
                    <a:lnTo>
                      <a:pt x="15010" y="68735"/>
                    </a:lnTo>
                    <a:cubicBezTo>
                      <a:pt x="14006" y="69311"/>
                      <a:pt x="12873" y="69590"/>
                      <a:pt x="11776" y="69590"/>
                    </a:cubicBezTo>
                    <a:close/>
                  </a:path>
                </a:pathLst>
              </a:custGeom>
              <a:grpFill/>
              <a:ln w="1858" cap="flat">
                <a:noFill/>
                <a:prstDash val="solid"/>
                <a:miter/>
              </a:ln>
            </p:spPr>
            <p:txBody>
              <a:bodyPr rtlCol="0" anchor="ctr"/>
              <a:lstStyle/>
              <a:p>
                <a:endParaRPr lang="en-GB" dirty="0"/>
              </a:p>
            </p:txBody>
          </p:sp>
          <p:sp>
            <p:nvSpPr>
              <p:cNvPr id="90" name="Freihandform: Form 202">
                <a:extLst>
                  <a:ext uri="{FF2B5EF4-FFF2-40B4-BE49-F238E27FC236}">
                    <a16:creationId xmlns:a16="http://schemas.microsoft.com/office/drawing/2014/main" id="{62AB46A0-36B8-4DC6-A913-FE4BC960B66E}"/>
                  </a:ext>
                </a:extLst>
              </p:cNvPr>
              <p:cNvSpPr/>
              <p:nvPr/>
            </p:nvSpPr>
            <p:spPr>
              <a:xfrm>
                <a:off x="2750007" y="2722493"/>
                <a:ext cx="166083" cy="100261"/>
              </a:xfrm>
              <a:custGeom>
                <a:avLst/>
                <a:gdLst>
                  <a:gd name="connsiteX0" fmla="*/ 53131 w 166083"/>
                  <a:gd name="connsiteY0" fmla="*/ 100262 h 100261"/>
                  <a:gd name="connsiteX1" fmla="*/ 49879 w 166083"/>
                  <a:gd name="connsiteY1" fmla="*/ 99407 h 100261"/>
                  <a:gd name="connsiteX2" fmla="*/ 3308 w 166083"/>
                  <a:gd name="connsiteY2" fmla="*/ 72795 h 100261"/>
                  <a:gd name="connsiteX3" fmla="*/ 0 w 166083"/>
                  <a:gd name="connsiteY3" fmla="*/ 67090 h 100261"/>
                  <a:gd name="connsiteX4" fmla="*/ 3308 w 166083"/>
                  <a:gd name="connsiteY4" fmla="*/ 61403 h 100261"/>
                  <a:gd name="connsiteX5" fmla="*/ 109719 w 166083"/>
                  <a:gd name="connsiteY5" fmla="*/ 857 h 100261"/>
                  <a:gd name="connsiteX6" fmla="*/ 116204 w 166083"/>
                  <a:gd name="connsiteY6" fmla="*/ 857 h 100261"/>
                  <a:gd name="connsiteX7" fmla="*/ 162775 w 166083"/>
                  <a:gd name="connsiteY7" fmla="*/ 27321 h 100261"/>
                  <a:gd name="connsiteX8" fmla="*/ 166083 w 166083"/>
                  <a:gd name="connsiteY8" fmla="*/ 33026 h 100261"/>
                  <a:gd name="connsiteX9" fmla="*/ 162775 w 166083"/>
                  <a:gd name="connsiteY9" fmla="*/ 38731 h 100261"/>
                  <a:gd name="connsiteX10" fmla="*/ 56346 w 166083"/>
                  <a:gd name="connsiteY10" fmla="*/ 99426 h 100261"/>
                  <a:gd name="connsiteX11" fmla="*/ 53131 w 166083"/>
                  <a:gd name="connsiteY11" fmla="*/ 100262 h 100261"/>
                  <a:gd name="connsiteX12" fmla="*/ 19792 w 166083"/>
                  <a:gd name="connsiteY12" fmla="*/ 67108 h 100261"/>
                  <a:gd name="connsiteX13" fmla="*/ 53131 w 166083"/>
                  <a:gd name="connsiteY13" fmla="*/ 86157 h 100261"/>
                  <a:gd name="connsiteX14" fmla="*/ 146292 w 166083"/>
                  <a:gd name="connsiteY14" fmla="*/ 33026 h 100261"/>
                  <a:gd name="connsiteX15" fmla="*/ 112971 w 166083"/>
                  <a:gd name="connsiteY15" fmla="*/ 14089 h 100261"/>
                  <a:gd name="connsiteX16" fmla="*/ 19792 w 166083"/>
                  <a:gd name="connsiteY16" fmla="*/ 67108 h 100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6083" h="100261">
                    <a:moveTo>
                      <a:pt x="53131" y="100262"/>
                    </a:moveTo>
                    <a:cubicBezTo>
                      <a:pt x="52016" y="100262"/>
                      <a:pt x="50882" y="99983"/>
                      <a:pt x="49879" y="99407"/>
                    </a:cubicBezTo>
                    <a:lnTo>
                      <a:pt x="3308" y="72795"/>
                    </a:lnTo>
                    <a:cubicBezTo>
                      <a:pt x="1264" y="71624"/>
                      <a:pt x="0" y="69450"/>
                      <a:pt x="0" y="67090"/>
                    </a:cubicBezTo>
                    <a:cubicBezTo>
                      <a:pt x="0" y="64730"/>
                      <a:pt x="1264" y="62574"/>
                      <a:pt x="3308" y="61403"/>
                    </a:cubicBezTo>
                    <a:lnTo>
                      <a:pt x="109719" y="857"/>
                    </a:lnTo>
                    <a:cubicBezTo>
                      <a:pt x="111726" y="-295"/>
                      <a:pt x="114179" y="-276"/>
                      <a:pt x="116204" y="857"/>
                    </a:cubicBezTo>
                    <a:lnTo>
                      <a:pt x="162775" y="27321"/>
                    </a:lnTo>
                    <a:cubicBezTo>
                      <a:pt x="164820" y="28491"/>
                      <a:pt x="166083" y="30666"/>
                      <a:pt x="166083" y="33026"/>
                    </a:cubicBezTo>
                    <a:cubicBezTo>
                      <a:pt x="166083" y="35386"/>
                      <a:pt x="164820" y="37560"/>
                      <a:pt x="162775" y="38731"/>
                    </a:cubicBezTo>
                    <a:lnTo>
                      <a:pt x="56346" y="99426"/>
                    </a:lnTo>
                    <a:cubicBezTo>
                      <a:pt x="55361" y="99983"/>
                      <a:pt x="54246" y="100262"/>
                      <a:pt x="53131" y="100262"/>
                    </a:cubicBezTo>
                    <a:close/>
                    <a:moveTo>
                      <a:pt x="19792" y="67108"/>
                    </a:moveTo>
                    <a:lnTo>
                      <a:pt x="53131" y="86157"/>
                    </a:lnTo>
                    <a:lnTo>
                      <a:pt x="146292" y="33026"/>
                    </a:lnTo>
                    <a:lnTo>
                      <a:pt x="112971" y="14089"/>
                    </a:lnTo>
                    <a:lnTo>
                      <a:pt x="19792" y="67108"/>
                    </a:lnTo>
                    <a:close/>
                  </a:path>
                </a:pathLst>
              </a:custGeom>
              <a:grpFill/>
              <a:ln w="1858" cap="flat">
                <a:noFill/>
                <a:prstDash val="solid"/>
                <a:miter/>
              </a:ln>
            </p:spPr>
            <p:txBody>
              <a:bodyPr rtlCol="0" anchor="ctr"/>
              <a:lstStyle/>
              <a:p>
                <a:endParaRPr lang="en-GB" dirty="0"/>
              </a:p>
            </p:txBody>
          </p:sp>
          <p:sp>
            <p:nvSpPr>
              <p:cNvPr id="91" name="Freihandform: Form 203">
                <a:extLst>
                  <a:ext uri="{FF2B5EF4-FFF2-40B4-BE49-F238E27FC236}">
                    <a16:creationId xmlns:a16="http://schemas.microsoft.com/office/drawing/2014/main" id="{6E5AE722-C4F3-4014-8B6C-A085A66F3769}"/>
                  </a:ext>
                </a:extLst>
              </p:cNvPr>
              <p:cNvSpPr/>
              <p:nvPr/>
            </p:nvSpPr>
            <p:spPr>
              <a:xfrm>
                <a:off x="2596895" y="2668067"/>
                <a:ext cx="65151" cy="67492"/>
              </a:xfrm>
              <a:custGeom>
                <a:avLst/>
                <a:gdLst>
                  <a:gd name="connsiteX0" fmla="*/ 53131 w 65151"/>
                  <a:gd name="connsiteY0" fmla="*/ 67492 h 67492"/>
                  <a:gd name="connsiteX1" fmla="*/ 49879 w 65151"/>
                  <a:gd name="connsiteY1" fmla="*/ 66638 h 67492"/>
                  <a:gd name="connsiteX2" fmla="*/ 3308 w 65151"/>
                  <a:gd name="connsiteY2" fmla="*/ 40026 h 67492"/>
                  <a:gd name="connsiteX3" fmla="*/ 0 w 65151"/>
                  <a:gd name="connsiteY3" fmla="*/ 34246 h 67492"/>
                  <a:gd name="connsiteX4" fmla="*/ 3475 w 65151"/>
                  <a:gd name="connsiteY4" fmla="*/ 28559 h 67492"/>
                  <a:gd name="connsiteX5" fmla="*/ 55510 w 65151"/>
                  <a:gd name="connsiteY5" fmla="*/ 777 h 67492"/>
                  <a:gd name="connsiteX6" fmla="*/ 64375 w 65151"/>
                  <a:gd name="connsiteY6" fmla="*/ 3471 h 67492"/>
                  <a:gd name="connsiteX7" fmla="*/ 61680 w 65151"/>
                  <a:gd name="connsiteY7" fmla="*/ 12336 h 67492"/>
                  <a:gd name="connsiteX8" fmla="*/ 20108 w 65151"/>
                  <a:gd name="connsiteY8" fmla="*/ 34525 h 67492"/>
                  <a:gd name="connsiteX9" fmla="*/ 56384 w 65151"/>
                  <a:gd name="connsiteY9" fmla="*/ 55246 h 67492"/>
                  <a:gd name="connsiteX10" fmla="*/ 58818 w 65151"/>
                  <a:gd name="connsiteY10" fmla="*/ 64184 h 67492"/>
                  <a:gd name="connsiteX11" fmla="*/ 53131 w 65151"/>
                  <a:gd name="connsiteY11" fmla="*/ 67492 h 67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151" h="67492">
                    <a:moveTo>
                      <a:pt x="53131" y="67492"/>
                    </a:moveTo>
                    <a:cubicBezTo>
                      <a:pt x="52035" y="67492"/>
                      <a:pt x="50901" y="67214"/>
                      <a:pt x="49879" y="66638"/>
                    </a:cubicBezTo>
                    <a:lnTo>
                      <a:pt x="3308" y="40026"/>
                    </a:lnTo>
                    <a:cubicBezTo>
                      <a:pt x="1227" y="38836"/>
                      <a:pt x="-18" y="36625"/>
                      <a:pt x="0" y="34246"/>
                    </a:cubicBezTo>
                    <a:cubicBezTo>
                      <a:pt x="37" y="31867"/>
                      <a:pt x="1357" y="29674"/>
                      <a:pt x="3475" y="28559"/>
                    </a:cubicBezTo>
                    <a:lnTo>
                      <a:pt x="55510" y="777"/>
                    </a:lnTo>
                    <a:cubicBezTo>
                      <a:pt x="58688" y="-933"/>
                      <a:pt x="62665" y="275"/>
                      <a:pt x="64375" y="3471"/>
                    </a:cubicBezTo>
                    <a:cubicBezTo>
                      <a:pt x="66084" y="6668"/>
                      <a:pt x="64876" y="10645"/>
                      <a:pt x="61680" y="12336"/>
                    </a:cubicBezTo>
                    <a:lnTo>
                      <a:pt x="20108" y="34525"/>
                    </a:lnTo>
                    <a:lnTo>
                      <a:pt x="56384" y="55246"/>
                    </a:lnTo>
                    <a:cubicBezTo>
                      <a:pt x="59524" y="57048"/>
                      <a:pt x="60621" y="61044"/>
                      <a:pt x="58818" y="64184"/>
                    </a:cubicBezTo>
                    <a:cubicBezTo>
                      <a:pt x="57629" y="66303"/>
                      <a:pt x="55417" y="67492"/>
                      <a:pt x="53131" y="67492"/>
                    </a:cubicBezTo>
                    <a:close/>
                  </a:path>
                </a:pathLst>
              </a:custGeom>
              <a:grpFill/>
              <a:ln w="1858" cap="flat">
                <a:noFill/>
                <a:prstDash val="solid"/>
                <a:miter/>
              </a:ln>
            </p:spPr>
            <p:txBody>
              <a:bodyPr rtlCol="0" anchor="ctr"/>
              <a:lstStyle/>
              <a:p>
                <a:endParaRPr lang="en-GB" dirty="0"/>
              </a:p>
            </p:txBody>
          </p:sp>
        </p:grpSp>
        <p:grpSp>
          <p:nvGrpSpPr>
            <p:cNvPr id="69" name="Grafik 325">
              <a:extLst>
                <a:ext uri="{FF2B5EF4-FFF2-40B4-BE49-F238E27FC236}">
                  <a16:creationId xmlns:a16="http://schemas.microsoft.com/office/drawing/2014/main" id="{2CFF5D97-4D4D-4DDA-96CA-32C2C1F47C8B}"/>
                </a:ext>
              </a:extLst>
            </p:cNvPr>
            <p:cNvGrpSpPr/>
            <p:nvPr/>
          </p:nvGrpSpPr>
          <p:grpSpPr>
            <a:xfrm>
              <a:off x="1720144" y="1585984"/>
              <a:ext cx="239212" cy="271821"/>
              <a:chOff x="2622413" y="2432904"/>
              <a:chExt cx="268734" cy="305368"/>
            </a:xfrm>
            <a:solidFill>
              <a:schemeClr val="accent1"/>
            </a:solidFill>
          </p:grpSpPr>
          <p:grpSp>
            <p:nvGrpSpPr>
              <p:cNvPr id="70" name="Grafik 325">
                <a:extLst>
                  <a:ext uri="{FF2B5EF4-FFF2-40B4-BE49-F238E27FC236}">
                    <a16:creationId xmlns:a16="http://schemas.microsoft.com/office/drawing/2014/main" id="{7881AB53-373B-4BC1-88F1-B5B28D5F90D9}"/>
                  </a:ext>
                </a:extLst>
              </p:cNvPr>
              <p:cNvGrpSpPr/>
              <p:nvPr/>
            </p:nvGrpSpPr>
            <p:grpSpPr>
              <a:xfrm>
                <a:off x="2750235" y="2588427"/>
                <a:ext cx="140912" cy="87330"/>
                <a:chOff x="2750235" y="2588427"/>
                <a:chExt cx="140912" cy="87330"/>
              </a:xfrm>
              <a:solidFill>
                <a:schemeClr val="accent1"/>
              </a:solidFill>
            </p:grpSpPr>
            <p:sp>
              <p:nvSpPr>
                <p:cNvPr id="81" name="Freihandform: Form 206">
                  <a:extLst>
                    <a:ext uri="{FF2B5EF4-FFF2-40B4-BE49-F238E27FC236}">
                      <a16:creationId xmlns:a16="http://schemas.microsoft.com/office/drawing/2014/main" id="{0788313B-42A5-4268-A1FB-A5E6C0D032A3}"/>
                    </a:ext>
                  </a:extLst>
                </p:cNvPr>
                <p:cNvSpPr/>
                <p:nvPr/>
              </p:nvSpPr>
              <p:spPr>
                <a:xfrm>
                  <a:off x="2750235" y="2622576"/>
                  <a:ext cx="86144" cy="52698"/>
                </a:xfrm>
                <a:custGeom>
                  <a:avLst/>
                  <a:gdLst>
                    <a:gd name="connsiteX0" fmla="*/ 6555 w 86144"/>
                    <a:gd name="connsiteY0" fmla="*/ 52698 h 52698"/>
                    <a:gd name="connsiteX1" fmla="*/ 794 w 86144"/>
                    <a:gd name="connsiteY1" fmla="*/ 49260 h 52698"/>
                    <a:gd name="connsiteX2" fmla="*/ 3433 w 86144"/>
                    <a:gd name="connsiteY2" fmla="*/ 40377 h 52698"/>
                    <a:gd name="connsiteX3" fmla="*/ 76467 w 86144"/>
                    <a:gd name="connsiteY3" fmla="*/ 794 h 52698"/>
                    <a:gd name="connsiteX4" fmla="*/ 85350 w 86144"/>
                    <a:gd name="connsiteY4" fmla="*/ 3433 h 52698"/>
                    <a:gd name="connsiteX5" fmla="*/ 82711 w 86144"/>
                    <a:gd name="connsiteY5" fmla="*/ 12316 h 52698"/>
                    <a:gd name="connsiteX6" fmla="*/ 9677 w 86144"/>
                    <a:gd name="connsiteY6" fmla="*/ 51899 h 52698"/>
                    <a:gd name="connsiteX7" fmla="*/ 6555 w 86144"/>
                    <a:gd name="connsiteY7" fmla="*/ 52698 h 5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44" h="52698">
                      <a:moveTo>
                        <a:pt x="6555" y="52698"/>
                      </a:moveTo>
                      <a:cubicBezTo>
                        <a:pt x="4232" y="52698"/>
                        <a:pt x="1965" y="51453"/>
                        <a:pt x="794" y="49260"/>
                      </a:cubicBezTo>
                      <a:cubicBezTo>
                        <a:pt x="-934" y="46083"/>
                        <a:pt x="255" y="42106"/>
                        <a:pt x="3433" y="40377"/>
                      </a:cubicBezTo>
                      <a:lnTo>
                        <a:pt x="76467" y="794"/>
                      </a:lnTo>
                      <a:cubicBezTo>
                        <a:pt x="79664" y="-934"/>
                        <a:pt x="83622" y="255"/>
                        <a:pt x="85350" y="3433"/>
                      </a:cubicBezTo>
                      <a:cubicBezTo>
                        <a:pt x="87078" y="6611"/>
                        <a:pt x="85889" y="10588"/>
                        <a:pt x="82711" y="12316"/>
                      </a:cubicBezTo>
                      <a:lnTo>
                        <a:pt x="9677" y="51899"/>
                      </a:lnTo>
                      <a:cubicBezTo>
                        <a:pt x="8673" y="52457"/>
                        <a:pt x="7614" y="52698"/>
                        <a:pt x="6555" y="52698"/>
                      </a:cubicBezTo>
                      <a:close/>
                    </a:path>
                  </a:pathLst>
                </a:custGeom>
                <a:solidFill>
                  <a:schemeClr val="accent1"/>
                </a:solidFill>
                <a:ln w="1858" cap="flat">
                  <a:noFill/>
                  <a:prstDash val="solid"/>
                  <a:miter/>
                </a:ln>
              </p:spPr>
              <p:txBody>
                <a:bodyPr rtlCol="0" anchor="ctr"/>
                <a:lstStyle/>
                <a:p>
                  <a:endParaRPr lang="en-GB" dirty="0"/>
                </a:p>
              </p:txBody>
            </p:sp>
            <p:sp>
              <p:nvSpPr>
                <p:cNvPr id="82" name="Freihandform: Form 207">
                  <a:extLst>
                    <a:ext uri="{FF2B5EF4-FFF2-40B4-BE49-F238E27FC236}">
                      <a16:creationId xmlns:a16="http://schemas.microsoft.com/office/drawing/2014/main" id="{1E0FC544-77A0-4C7B-BD41-357A83E474A3}"/>
                    </a:ext>
                  </a:extLst>
                </p:cNvPr>
                <p:cNvSpPr/>
                <p:nvPr/>
              </p:nvSpPr>
              <p:spPr>
                <a:xfrm>
                  <a:off x="2778991" y="2588427"/>
                  <a:ext cx="112156" cy="87330"/>
                </a:xfrm>
                <a:custGeom>
                  <a:avLst/>
                  <a:gdLst>
                    <a:gd name="connsiteX0" fmla="*/ 40482 w 112156"/>
                    <a:gd name="connsiteY0" fmla="*/ 87330 h 87330"/>
                    <a:gd name="connsiteX1" fmla="*/ 7644 w 112156"/>
                    <a:gd name="connsiteY1" fmla="*/ 62335 h 87330"/>
                    <a:gd name="connsiteX2" fmla="*/ 5098 w 112156"/>
                    <a:gd name="connsiteY2" fmla="*/ 20336 h 87330"/>
                    <a:gd name="connsiteX3" fmla="*/ 106547 w 112156"/>
                    <a:gd name="connsiteY3" fmla="*/ 2588 h 87330"/>
                    <a:gd name="connsiteX4" fmla="*/ 111360 w 112156"/>
                    <a:gd name="connsiteY4" fmla="*/ 5952 h 87330"/>
                    <a:gd name="connsiteX5" fmla="*/ 111565 w 112156"/>
                    <a:gd name="connsiteY5" fmla="*/ 11806 h 87330"/>
                    <a:gd name="connsiteX6" fmla="*/ 41485 w 112156"/>
                    <a:gd name="connsiteY6" fmla="*/ 87312 h 87330"/>
                    <a:gd name="connsiteX7" fmla="*/ 40482 w 112156"/>
                    <a:gd name="connsiteY7" fmla="*/ 87330 h 87330"/>
                    <a:gd name="connsiteX8" fmla="*/ 69937 w 112156"/>
                    <a:gd name="connsiteY8" fmla="*/ 13181 h 87330"/>
                    <a:gd name="connsiteX9" fmla="*/ 15858 w 112156"/>
                    <a:gd name="connsiteY9" fmla="*/ 27844 h 87330"/>
                    <a:gd name="connsiteX10" fmla="*/ 19166 w 112156"/>
                    <a:gd name="connsiteY10" fmla="*/ 56073 h 87330"/>
                    <a:gd name="connsiteX11" fmla="*/ 40556 w 112156"/>
                    <a:gd name="connsiteY11" fmla="*/ 74210 h 87330"/>
                    <a:gd name="connsiteX12" fmla="*/ 41058 w 112156"/>
                    <a:gd name="connsiteY12" fmla="*/ 74210 h 87330"/>
                    <a:gd name="connsiteX13" fmla="*/ 95657 w 112156"/>
                    <a:gd name="connsiteY13" fmla="*/ 14463 h 87330"/>
                    <a:gd name="connsiteX14" fmla="*/ 69937 w 112156"/>
                    <a:gd name="connsiteY14" fmla="*/ 13181 h 87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156" h="87330">
                      <a:moveTo>
                        <a:pt x="40482" y="87330"/>
                      </a:moveTo>
                      <a:cubicBezTo>
                        <a:pt x="27715" y="87330"/>
                        <a:pt x="16657" y="78931"/>
                        <a:pt x="7644" y="62335"/>
                      </a:cubicBezTo>
                      <a:cubicBezTo>
                        <a:pt x="-1610" y="45312"/>
                        <a:pt x="-2465" y="31189"/>
                        <a:pt x="5098" y="20336"/>
                      </a:cubicBezTo>
                      <a:cubicBezTo>
                        <a:pt x="25187" y="-8432"/>
                        <a:pt x="98278" y="1362"/>
                        <a:pt x="106547" y="2588"/>
                      </a:cubicBezTo>
                      <a:cubicBezTo>
                        <a:pt x="108591" y="2886"/>
                        <a:pt x="110376" y="4131"/>
                        <a:pt x="111360" y="5952"/>
                      </a:cubicBezTo>
                      <a:cubicBezTo>
                        <a:pt x="112345" y="7755"/>
                        <a:pt x="112420" y="9929"/>
                        <a:pt x="111565" y="11806"/>
                      </a:cubicBezTo>
                      <a:cubicBezTo>
                        <a:pt x="108090" y="19407"/>
                        <a:pt x="76553" y="86122"/>
                        <a:pt x="41485" y="87312"/>
                      </a:cubicBezTo>
                      <a:cubicBezTo>
                        <a:pt x="41151" y="87312"/>
                        <a:pt x="40816" y="87330"/>
                        <a:pt x="40482" y="87330"/>
                      </a:cubicBezTo>
                      <a:close/>
                      <a:moveTo>
                        <a:pt x="69937" y="13181"/>
                      </a:moveTo>
                      <a:cubicBezTo>
                        <a:pt x="47916" y="13181"/>
                        <a:pt x="23905" y="16303"/>
                        <a:pt x="15858" y="27844"/>
                      </a:cubicBezTo>
                      <a:cubicBezTo>
                        <a:pt x="11380" y="34274"/>
                        <a:pt x="12495" y="43770"/>
                        <a:pt x="19166" y="56073"/>
                      </a:cubicBezTo>
                      <a:cubicBezTo>
                        <a:pt x="25708" y="68115"/>
                        <a:pt x="32900" y="74210"/>
                        <a:pt x="40556" y="74210"/>
                      </a:cubicBezTo>
                      <a:cubicBezTo>
                        <a:pt x="40723" y="74210"/>
                        <a:pt x="40891" y="74210"/>
                        <a:pt x="41058" y="74210"/>
                      </a:cubicBezTo>
                      <a:cubicBezTo>
                        <a:pt x="60961" y="73523"/>
                        <a:pt x="84637" y="35686"/>
                        <a:pt x="95657" y="14463"/>
                      </a:cubicBezTo>
                      <a:cubicBezTo>
                        <a:pt x="88372" y="13739"/>
                        <a:pt x="79322" y="13181"/>
                        <a:pt x="69937" y="13181"/>
                      </a:cubicBezTo>
                      <a:close/>
                    </a:path>
                  </a:pathLst>
                </a:custGeom>
                <a:solidFill>
                  <a:schemeClr val="accent1"/>
                </a:solidFill>
                <a:ln w="1858" cap="flat">
                  <a:noFill/>
                  <a:prstDash val="solid"/>
                  <a:miter/>
                </a:ln>
              </p:spPr>
              <p:txBody>
                <a:bodyPr rtlCol="0" anchor="ctr"/>
                <a:lstStyle/>
                <a:p>
                  <a:endParaRPr lang="en-GB" dirty="0"/>
                </a:p>
              </p:txBody>
            </p:sp>
          </p:grpSp>
          <p:grpSp>
            <p:nvGrpSpPr>
              <p:cNvPr id="71" name="Grafik 325">
                <a:extLst>
                  <a:ext uri="{FF2B5EF4-FFF2-40B4-BE49-F238E27FC236}">
                    <a16:creationId xmlns:a16="http://schemas.microsoft.com/office/drawing/2014/main" id="{A0F27695-7DB3-46CB-9F16-8B0FD66FE370}"/>
                  </a:ext>
                </a:extLst>
              </p:cNvPr>
              <p:cNvGrpSpPr/>
              <p:nvPr/>
            </p:nvGrpSpPr>
            <p:grpSpPr>
              <a:xfrm>
                <a:off x="2622413" y="2588435"/>
                <a:ext cx="140912" cy="87322"/>
                <a:chOff x="2622413" y="2588435"/>
                <a:chExt cx="140912" cy="87322"/>
              </a:xfrm>
              <a:solidFill>
                <a:schemeClr val="accent1"/>
              </a:solidFill>
            </p:grpSpPr>
            <p:sp>
              <p:nvSpPr>
                <p:cNvPr id="79" name="Freihandform: Form 209">
                  <a:extLst>
                    <a:ext uri="{FF2B5EF4-FFF2-40B4-BE49-F238E27FC236}">
                      <a16:creationId xmlns:a16="http://schemas.microsoft.com/office/drawing/2014/main" id="{63085AD4-B805-434B-9D7F-58A2AD25A6E0}"/>
                    </a:ext>
                  </a:extLst>
                </p:cNvPr>
                <p:cNvSpPr/>
                <p:nvPr/>
              </p:nvSpPr>
              <p:spPr>
                <a:xfrm>
                  <a:off x="2677182" y="2622576"/>
                  <a:ext cx="86144" cy="52698"/>
                </a:xfrm>
                <a:custGeom>
                  <a:avLst/>
                  <a:gdLst>
                    <a:gd name="connsiteX0" fmla="*/ 79589 w 86144"/>
                    <a:gd name="connsiteY0" fmla="*/ 52698 h 52698"/>
                    <a:gd name="connsiteX1" fmla="*/ 76467 w 86144"/>
                    <a:gd name="connsiteY1" fmla="*/ 51899 h 52698"/>
                    <a:gd name="connsiteX2" fmla="*/ 3433 w 86144"/>
                    <a:gd name="connsiteY2" fmla="*/ 12316 h 52698"/>
                    <a:gd name="connsiteX3" fmla="*/ 794 w 86144"/>
                    <a:gd name="connsiteY3" fmla="*/ 3433 h 52698"/>
                    <a:gd name="connsiteX4" fmla="*/ 9677 w 86144"/>
                    <a:gd name="connsiteY4" fmla="*/ 794 h 52698"/>
                    <a:gd name="connsiteX5" fmla="*/ 82711 w 86144"/>
                    <a:gd name="connsiteY5" fmla="*/ 40377 h 52698"/>
                    <a:gd name="connsiteX6" fmla="*/ 85350 w 86144"/>
                    <a:gd name="connsiteY6" fmla="*/ 49260 h 52698"/>
                    <a:gd name="connsiteX7" fmla="*/ 79589 w 86144"/>
                    <a:gd name="connsiteY7" fmla="*/ 52698 h 52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44" h="52698">
                      <a:moveTo>
                        <a:pt x="79589" y="52698"/>
                      </a:moveTo>
                      <a:cubicBezTo>
                        <a:pt x="78530" y="52698"/>
                        <a:pt x="77471" y="52438"/>
                        <a:pt x="76467" y="51899"/>
                      </a:cubicBezTo>
                      <a:lnTo>
                        <a:pt x="3433" y="12316"/>
                      </a:lnTo>
                      <a:cubicBezTo>
                        <a:pt x="255" y="10588"/>
                        <a:pt x="-934" y="6611"/>
                        <a:pt x="794" y="3433"/>
                      </a:cubicBezTo>
                      <a:cubicBezTo>
                        <a:pt x="2522" y="255"/>
                        <a:pt x="6499" y="-934"/>
                        <a:pt x="9677" y="794"/>
                      </a:cubicBezTo>
                      <a:lnTo>
                        <a:pt x="82711" y="40377"/>
                      </a:lnTo>
                      <a:cubicBezTo>
                        <a:pt x="85889" y="42106"/>
                        <a:pt x="87078" y="46083"/>
                        <a:pt x="85350" y="49260"/>
                      </a:cubicBezTo>
                      <a:cubicBezTo>
                        <a:pt x="84179" y="51472"/>
                        <a:pt x="81931" y="52698"/>
                        <a:pt x="79589" y="52698"/>
                      </a:cubicBezTo>
                      <a:close/>
                    </a:path>
                  </a:pathLst>
                </a:custGeom>
                <a:solidFill>
                  <a:schemeClr val="accent1"/>
                </a:solidFill>
                <a:ln w="1858" cap="flat">
                  <a:noFill/>
                  <a:prstDash val="solid"/>
                  <a:miter/>
                </a:ln>
              </p:spPr>
              <p:txBody>
                <a:bodyPr rtlCol="0" anchor="ctr"/>
                <a:lstStyle/>
                <a:p>
                  <a:endParaRPr lang="en-GB" dirty="0"/>
                </a:p>
              </p:txBody>
            </p:sp>
            <p:sp>
              <p:nvSpPr>
                <p:cNvPr id="80" name="Freihandform: Form 210">
                  <a:extLst>
                    <a:ext uri="{FF2B5EF4-FFF2-40B4-BE49-F238E27FC236}">
                      <a16:creationId xmlns:a16="http://schemas.microsoft.com/office/drawing/2014/main" id="{1957FD21-B87E-47EC-AD8D-4457B192AA33}"/>
                    </a:ext>
                  </a:extLst>
                </p:cNvPr>
                <p:cNvSpPr/>
                <p:nvPr/>
              </p:nvSpPr>
              <p:spPr>
                <a:xfrm>
                  <a:off x="2622413" y="2588435"/>
                  <a:ext cx="112156" cy="87322"/>
                </a:xfrm>
                <a:custGeom>
                  <a:avLst/>
                  <a:gdLst>
                    <a:gd name="connsiteX0" fmla="*/ 71675 w 112156"/>
                    <a:gd name="connsiteY0" fmla="*/ 87323 h 87322"/>
                    <a:gd name="connsiteX1" fmla="*/ 70671 w 112156"/>
                    <a:gd name="connsiteY1" fmla="*/ 87304 h 87322"/>
                    <a:gd name="connsiteX2" fmla="*/ 592 w 112156"/>
                    <a:gd name="connsiteY2" fmla="*/ 11798 h 87322"/>
                    <a:gd name="connsiteX3" fmla="*/ 796 w 112156"/>
                    <a:gd name="connsiteY3" fmla="*/ 5944 h 87322"/>
                    <a:gd name="connsiteX4" fmla="*/ 5609 w 112156"/>
                    <a:gd name="connsiteY4" fmla="*/ 2580 h 87322"/>
                    <a:gd name="connsiteX5" fmla="*/ 107058 w 112156"/>
                    <a:gd name="connsiteY5" fmla="*/ 20328 h 87322"/>
                    <a:gd name="connsiteX6" fmla="*/ 104512 w 112156"/>
                    <a:gd name="connsiteY6" fmla="*/ 62327 h 87322"/>
                    <a:gd name="connsiteX7" fmla="*/ 71675 w 112156"/>
                    <a:gd name="connsiteY7" fmla="*/ 87323 h 87322"/>
                    <a:gd name="connsiteX8" fmla="*/ 16481 w 112156"/>
                    <a:gd name="connsiteY8" fmla="*/ 14456 h 87322"/>
                    <a:gd name="connsiteX9" fmla="*/ 71117 w 112156"/>
                    <a:gd name="connsiteY9" fmla="*/ 74202 h 87322"/>
                    <a:gd name="connsiteX10" fmla="*/ 92990 w 112156"/>
                    <a:gd name="connsiteY10" fmla="*/ 56065 h 87322"/>
                    <a:gd name="connsiteX11" fmla="*/ 96298 w 112156"/>
                    <a:gd name="connsiteY11" fmla="*/ 27836 h 87322"/>
                    <a:gd name="connsiteX12" fmla="*/ 16481 w 112156"/>
                    <a:gd name="connsiteY12" fmla="*/ 14456 h 87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156" h="87322">
                      <a:moveTo>
                        <a:pt x="71675" y="87323"/>
                      </a:moveTo>
                      <a:cubicBezTo>
                        <a:pt x="71340" y="87323"/>
                        <a:pt x="71006" y="87323"/>
                        <a:pt x="70671" y="87304"/>
                      </a:cubicBezTo>
                      <a:cubicBezTo>
                        <a:pt x="35604" y="86096"/>
                        <a:pt x="4085" y="19399"/>
                        <a:pt x="592" y="11798"/>
                      </a:cubicBezTo>
                      <a:cubicBezTo>
                        <a:pt x="-263" y="9921"/>
                        <a:pt x="-189" y="7747"/>
                        <a:pt x="796" y="5944"/>
                      </a:cubicBezTo>
                      <a:cubicBezTo>
                        <a:pt x="1781" y="4123"/>
                        <a:pt x="3565" y="2896"/>
                        <a:pt x="5609" y="2580"/>
                      </a:cubicBezTo>
                      <a:cubicBezTo>
                        <a:pt x="13879" y="1372"/>
                        <a:pt x="86988" y="-8440"/>
                        <a:pt x="107058" y="20328"/>
                      </a:cubicBezTo>
                      <a:cubicBezTo>
                        <a:pt x="114622" y="31162"/>
                        <a:pt x="113767" y="45286"/>
                        <a:pt x="104512" y="62327"/>
                      </a:cubicBezTo>
                      <a:cubicBezTo>
                        <a:pt x="95499" y="78904"/>
                        <a:pt x="84460" y="87323"/>
                        <a:pt x="71675" y="87323"/>
                      </a:cubicBezTo>
                      <a:close/>
                      <a:moveTo>
                        <a:pt x="16481" y="14456"/>
                      </a:moveTo>
                      <a:cubicBezTo>
                        <a:pt x="27687" y="36199"/>
                        <a:pt x="51028" y="73515"/>
                        <a:pt x="71117" y="74202"/>
                      </a:cubicBezTo>
                      <a:cubicBezTo>
                        <a:pt x="78829" y="74518"/>
                        <a:pt x="86300" y="68367"/>
                        <a:pt x="92990" y="56065"/>
                      </a:cubicBezTo>
                      <a:cubicBezTo>
                        <a:pt x="99681" y="43762"/>
                        <a:pt x="100777" y="34266"/>
                        <a:pt x="96298" y="27836"/>
                      </a:cubicBezTo>
                      <a:cubicBezTo>
                        <a:pt x="84813" y="11352"/>
                        <a:pt x="40807" y="12040"/>
                        <a:pt x="16481" y="14456"/>
                      </a:cubicBezTo>
                      <a:close/>
                    </a:path>
                  </a:pathLst>
                </a:custGeom>
                <a:solidFill>
                  <a:schemeClr val="accent1"/>
                </a:solidFill>
                <a:ln w="1858" cap="flat">
                  <a:noFill/>
                  <a:prstDash val="solid"/>
                  <a:miter/>
                </a:ln>
              </p:spPr>
              <p:txBody>
                <a:bodyPr rtlCol="0" anchor="ctr"/>
                <a:lstStyle/>
                <a:p>
                  <a:endParaRPr lang="en-GB" dirty="0"/>
                </a:p>
              </p:txBody>
            </p:sp>
          </p:grpSp>
          <p:grpSp>
            <p:nvGrpSpPr>
              <p:cNvPr id="72" name="Grafik 325">
                <a:extLst>
                  <a:ext uri="{FF2B5EF4-FFF2-40B4-BE49-F238E27FC236}">
                    <a16:creationId xmlns:a16="http://schemas.microsoft.com/office/drawing/2014/main" id="{E105CCD1-6C06-47D9-8076-B91C677642E9}"/>
                  </a:ext>
                </a:extLst>
              </p:cNvPr>
              <p:cNvGrpSpPr/>
              <p:nvPr/>
            </p:nvGrpSpPr>
            <p:grpSpPr>
              <a:xfrm>
                <a:off x="2678905" y="2432904"/>
                <a:ext cx="155769" cy="155769"/>
                <a:chOff x="2678905" y="2432904"/>
                <a:chExt cx="155769" cy="155769"/>
              </a:xfrm>
              <a:solidFill>
                <a:schemeClr val="accent1"/>
              </a:solidFill>
            </p:grpSpPr>
            <p:grpSp>
              <p:nvGrpSpPr>
                <p:cNvPr id="74" name="Grafik 325">
                  <a:extLst>
                    <a:ext uri="{FF2B5EF4-FFF2-40B4-BE49-F238E27FC236}">
                      <a16:creationId xmlns:a16="http://schemas.microsoft.com/office/drawing/2014/main" id="{89478DC5-A470-4370-85A5-0B2BB5DD03F8}"/>
                    </a:ext>
                  </a:extLst>
                </p:cNvPr>
                <p:cNvGrpSpPr/>
                <p:nvPr/>
              </p:nvGrpSpPr>
              <p:grpSpPr>
                <a:xfrm>
                  <a:off x="2732501" y="2457026"/>
                  <a:ext cx="48578" cy="107525"/>
                  <a:chOff x="2732501" y="2457026"/>
                  <a:chExt cx="48578" cy="107525"/>
                </a:xfrm>
                <a:solidFill>
                  <a:schemeClr val="accent1"/>
                </a:solidFill>
              </p:grpSpPr>
              <p:sp>
                <p:nvSpPr>
                  <p:cNvPr id="76" name="Freihandform: Form 213">
                    <a:extLst>
                      <a:ext uri="{FF2B5EF4-FFF2-40B4-BE49-F238E27FC236}">
                        <a16:creationId xmlns:a16="http://schemas.microsoft.com/office/drawing/2014/main" id="{5A3C8356-224B-4692-BC38-0FAF95C1992E}"/>
                      </a:ext>
                    </a:extLst>
                  </p:cNvPr>
                  <p:cNvSpPr/>
                  <p:nvPr/>
                </p:nvSpPr>
                <p:spPr>
                  <a:xfrm>
                    <a:off x="2732501" y="2468864"/>
                    <a:ext cx="48578" cy="83905"/>
                  </a:xfrm>
                  <a:custGeom>
                    <a:avLst/>
                    <a:gdLst>
                      <a:gd name="connsiteX0" fmla="*/ 24289 w 48578"/>
                      <a:gd name="connsiteY0" fmla="*/ 83906 h 83905"/>
                      <a:gd name="connsiteX1" fmla="*/ 8084 w 48578"/>
                      <a:gd name="connsiteY1" fmla="*/ 77699 h 83905"/>
                      <a:gd name="connsiteX2" fmla="*/ 7564 w 48578"/>
                      <a:gd name="connsiteY2" fmla="*/ 68444 h 83905"/>
                      <a:gd name="connsiteX3" fmla="*/ 16818 w 48578"/>
                      <a:gd name="connsiteY3" fmla="*/ 67942 h 83905"/>
                      <a:gd name="connsiteX4" fmla="*/ 24289 w 48578"/>
                      <a:gd name="connsiteY4" fmla="*/ 70804 h 83905"/>
                      <a:gd name="connsiteX5" fmla="*/ 35458 w 48578"/>
                      <a:gd name="connsiteY5" fmla="*/ 59654 h 83905"/>
                      <a:gd name="connsiteX6" fmla="*/ 24289 w 48578"/>
                      <a:gd name="connsiteY6" fmla="*/ 48504 h 83905"/>
                      <a:gd name="connsiteX7" fmla="*/ 0 w 48578"/>
                      <a:gd name="connsiteY7" fmla="*/ 24252 h 83905"/>
                      <a:gd name="connsiteX8" fmla="*/ 24289 w 48578"/>
                      <a:gd name="connsiteY8" fmla="*/ 0 h 83905"/>
                      <a:gd name="connsiteX9" fmla="*/ 42408 w 48578"/>
                      <a:gd name="connsiteY9" fmla="*/ 8103 h 83905"/>
                      <a:gd name="connsiteX10" fmla="*/ 41888 w 48578"/>
                      <a:gd name="connsiteY10" fmla="*/ 17357 h 83905"/>
                      <a:gd name="connsiteX11" fmla="*/ 32633 w 48578"/>
                      <a:gd name="connsiteY11" fmla="*/ 16837 h 83905"/>
                      <a:gd name="connsiteX12" fmla="*/ 24289 w 48578"/>
                      <a:gd name="connsiteY12" fmla="*/ 13102 h 83905"/>
                      <a:gd name="connsiteX13" fmla="*/ 13120 w 48578"/>
                      <a:gd name="connsiteY13" fmla="*/ 24252 h 83905"/>
                      <a:gd name="connsiteX14" fmla="*/ 24289 w 48578"/>
                      <a:gd name="connsiteY14" fmla="*/ 35402 h 83905"/>
                      <a:gd name="connsiteX15" fmla="*/ 48578 w 48578"/>
                      <a:gd name="connsiteY15" fmla="*/ 59654 h 83905"/>
                      <a:gd name="connsiteX16" fmla="*/ 24289 w 48578"/>
                      <a:gd name="connsiteY16" fmla="*/ 83906 h 8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578" h="83905">
                        <a:moveTo>
                          <a:pt x="24289" y="83906"/>
                        </a:moveTo>
                        <a:cubicBezTo>
                          <a:pt x="18305" y="83906"/>
                          <a:pt x="12544" y="81713"/>
                          <a:pt x="8084" y="77699"/>
                        </a:cubicBezTo>
                        <a:cubicBezTo>
                          <a:pt x="5389" y="75283"/>
                          <a:pt x="5166" y="71139"/>
                          <a:pt x="7564" y="68444"/>
                        </a:cubicBezTo>
                        <a:cubicBezTo>
                          <a:pt x="9998" y="65749"/>
                          <a:pt x="14142" y="65526"/>
                          <a:pt x="16818" y="67942"/>
                        </a:cubicBezTo>
                        <a:cubicBezTo>
                          <a:pt x="18881" y="69782"/>
                          <a:pt x="21539" y="70804"/>
                          <a:pt x="24289" y="70804"/>
                        </a:cubicBezTo>
                        <a:cubicBezTo>
                          <a:pt x="30459" y="70804"/>
                          <a:pt x="35458" y="65805"/>
                          <a:pt x="35458" y="59654"/>
                        </a:cubicBezTo>
                        <a:cubicBezTo>
                          <a:pt x="35458" y="53503"/>
                          <a:pt x="30440" y="48504"/>
                          <a:pt x="24289" y="48504"/>
                        </a:cubicBezTo>
                        <a:cubicBezTo>
                          <a:pt x="10890" y="48504"/>
                          <a:pt x="0" y="37632"/>
                          <a:pt x="0" y="24252"/>
                        </a:cubicBezTo>
                        <a:cubicBezTo>
                          <a:pt x="0" y="10871"/>
                          <a:pt x="10890" y="0"/>
                          <a:pt x="24289" y="0"/>
                        </a:cubicBezTo>
                        <a:cubicBezTo>
                          <a:pt x="31202" y="0"/>
                          <a:pt x="37799" y="2955"/>
                          <a:pt x="42408" y="8103"/>
                        </a:cubicBezTo>
                        <a:cubicBezTo>
                          <a:pt x="44824" y="10797"/>
                          <a:pt x="44583" y="14941"/>
                          <a:pt x="41888" y="17357"/>
                        </a:cubicBezTo>
                        <a:cubicBezTo>
                          <a:pt x="39193" y="19773"/>
                          <a:pt x="35068" y="19532"/>
                          <a:pt x="32633" y="16837"/>
                        </a:cubicBezTo>
                        <a:cubicBezTo>
                          <a:pt x="30515" y="14458"/>
                          <a:pt x="27467" y="13102"/>
                          <a:pt x="24289" y="13102"/>
                        </a:cubicBezTo>
                        <a:cubicBezTo>
                          <a:pt x="18119" y="13102"/>
                          <a:pt x="13120" y="18101"/>
                          <a:pt x="13120" y="24252"/>
                        </a:cubicBezTo>
                        <a:cubicBezTo>
                          <a:pt x="13120" y="30403"/>
                          <a:pt x="18138" y="35402"/>
                          <a:pt x="24289" y="35402"/>
                        </a:cubicBezTo>
                        <a:cubicBezTo>
                          <a:pt x="37688" y="35402"/>
                          <a:pt x="48578" y="46292"/>
                          <a:pt x="48578" y="59654"/>
                        </a:cubicBezTo>
                        <a:cubicBezTo>
                          <a:pt x="48559" y="73016"/>
                          <a:pt x="37669" y="83906"/>
                          <a:pt x="24289" y="83906"/>
                        </a:cubicBezTo>
                        <a:close/>
                      </a:path>
                    </a:pathLst>
                  </a:custGeom>
                  <a:solidFill>
                    <a:schemeClr val="accent1"/>
                  </a:solidFill>
                  <a:ln w="1858" cap="flat">
                    <a:noFill/>
                    <a:prstDash val="solid"/>
                    <a:miter/>
                  </a:ln>
                </p:spPr>
                <p:txBody>
                  <a:bodyPr rtlCol="0" anchor="ctr"/>
                  <a:lstStyle/>
                  <a:p>
                    <a:endParaRPr lang="en-GB" dirty="0"/>
                  </a:p>
                </p:txBody>
              </p:sp>
              <p:sp>
                <p:nvSpPr>
                  <p:cNvPr id="77" name="Freihandform: Form 214">
                    <a:extLst>
                      <a:ext uri="{FF2B5EF4-FFF2-40B4-BE49-F238E27FC236}">
                        <a16:creationId xmlns:a16="http://schemas.microsoft.com/office/drawing/2014/main" id="{02C88A2C-D5F8-4558-BD0D-EE0EDD63A481}"/>
                      </a:ext>
                    </a:extLst>
                  </p:cNvPr>
                  <p:cNvSpPr/>
                  <p:nvPr/>
                </p:nvSpPr>
                <p:spPr>
                  <a:xfrm>
                    <a:off x="2750230" y="2457026"/>
                    <a:ext cx="13120" cy="24920"/>
                  </a:xfrm>
                  <a:custGeom>
                    <a:avLst/>
                    <a:gdLst>
                      <a:gd name="connsiteX0" fmla="*/ 6560 w 13120"/>
                      <a:gd name="connsiteY0" fmla="*/ 24921 h 24920"/>
                      <a:gd name="connsiteX1" fmla="*/ 0 w 13120"/>
                      <a:gd name="connsiteY1" fmla="*/ 18361 h 24920"/>
                      <a:gd name="connsiteX2" fmla="*/ 0 w 13120"/>
                      <a:gd name="connsiteY2" fmla="*/ 6560 h 24920"/>
                      <a:gd name="connsiteX3" fmla="*/ 6560 w 13120"/>
                      <a:gd name="connsiteY3" fmla="*/ 0 h 24920"/>
                      <a:gd name="connsiteX4" fmla="*/ 13120 w 13120"/>
                      <a:gd name="connsiteY4" fmla="*/ 6560 h 24920"/>
                      <a:gd name="connsiteX5" fmla="*/ 13120 w 13120"/>
                      <a:gd name="connsiteY5" fmla="*/ 18361 h 24920"/>
                      <a:gd name="connsiteX6" fmla="*/ 6560 w 13120"/>
                      <a:gd name="connsiteY6" fmla="*/ 24921 h 2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20" h="24920">
                        <a:moveTo>
                          <a:pt x="6560" y="24921"/>
                        </a:moveTo>
                        <a:cubicBezTo>
                          <a:pt x="2936" y="24921"/>
                          <a:pt x="0" y="21985"/>
                          <a:pt x="0" y="18361"/>
                        </a:cubicBezTo>
                        <a:lnTo>
                          <a:pt x="0" y="6560"/>
                        </a:lnTo>
                        <a:cubicBezTo>
                          <a:pt x="0" y="2936"/>
                          <a:pt x="2936" y="0"/>
                          <a:pt x="6560" y="0"/>
                        </a:cubicBezTo>
                        <a:cubicBezTo>
                          <a:pt x="10184" y="0"/>
                          <a:pt x="13120" y="2936"/>
                          <a:pt x="13120" y="6560"/>
                        </a:cubicBezTo>
                        <a:lnTo>
                          <a:pt x="13120" y="18361"/>
                        </a:lnTo>
                        <a:cubicBezTo>
                          <a:pt x="13101" y="21985"/>
                          <a:pt x="10184" y="24921"/>
                          <a:pt x="6560" y="24921"/>
                        </a:cubicBezTo>
                        <a:close/>
                      </a:path>
                    </a:pathLst>
                  </a:custGeom>
                  <a:solidFill>
                    <a:schemeClr val="accent1"/>
                  </a:solidFill>
                  <a:ln w="1858" cap="flat">
                    <a:noFill/>
                    <a:prstDash val="solid"/>
                    <a:miter/>
                  </a:ln>
                </p:spPr>
                <p:txBody>
                  <a:bodyPr rtlCol="0" anchor="ctr"/>
                  <a:lstStyle/>
                  <a:p>
                    <a:endParaRPr lang="en-GB" dirty="0"/>
                  </a:p>
                </p:txBody>
              </p:sp>
              <p:sp>
                <p:nvSpPr>
                  <p:cNvPr id="78" name="Freihandform: Form 215">
                    <a:extLst>
                      <a:ext uri="{FF2B5EF4-FFF2-40B4-BE49-F238E27FC236}">
                        <a16:creationId xmlns:a16="http://schemas.microsoft.com/office/drawing/2014/main" id="{4EC405C0-9290-411E-B56B-1A1A7D2A1744}"/>
                      </a:ext>
                    </a:extLst>
                  </p:cNvPr>
                  <p:cNvSpPr/>
                  <p:nvPr/>
                </p:nvSpPr>
                <p:spPr>
                  <a:xfrm>
                    <a:off x="2750230" y="2539631"/>
                    <a:ext cx="13120" cy="24920"/>
                  </a:xfrm>
                  <a:custGeom>
                    <a:avLst/>
                    <a:gdLst>
                      <a:gd name="connsiteX0" fmla="*/ 6560 w 13120"/>
                      <a:gd name="connsiteY0" fmla="*/ 24921 h 24920"/>
                      <a:gd name="connsiteX1" fmla="*/ 0 w 13120"/>
                      <a:gd name="connsiteY1" fmla="*/ 18361 h 24920"/>
                      <a:gd name="connsiteX2" fmla="*/ 0 w 13120"/>
                      <a:gd name="connsiteY2" fmla="*/ 6560 h 24920"/>
                      <a:gd name="connsiteX3" fmla="*/ 6560 w 13120"/>
                      <a:gd name="connsiteY3" fmla="*/ 0 h 24920"/>
                      <a:gd name="connsiteX4" fmla="*/ 13120 w 13120"/>
                      <a:gd name="connsiteY4" fmla="*/ 6560 h 24920"/>
                      <a:gd name="connsiteX5" fmla="*/ 13120 w 13120"/>
                      <a:gd name="connsiteY5" fmla="*/ 18361 h 24920"/>
                      <a:gd name="connsiteX6" fmla="*/ 6560 w 13120"/>
                      <a:gd name="connsiteY6" fmla="*/ 24921 h 2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20" h="24920">
                        <a:moveTo>
                          <a:pt x="6560" y="24921"/>
                        </a:moveTo>
                        <a:cubicBezTo>
                          <a:pt x="2936" y="24921"/>
                          <a:pt x="0" y="21985"/>
                          <a:pt x="0" y="18361"/>
                        </a:cubicBezTo>
                        <a:lnTo>
                          <a:pt x="0" y="6560"/>
                        </a:lnTo>
                        <a:cubicBezTo>
                          <a:pt x="0" y="2936"/>
                          <a:pt x="2936" y="0"/>
                          <a:pt x="6560" y="0"/>
                        </a:cubicBezTo>
                        <a:cubicBezTo>
                          <a:pt x="10184" y="0"/>
                          <a:pt x="13120" y="2936"/>
                          <a:pt x="13120" y="6560"/>
                        </a:cubicBezTo>
                        <a:lnTo>
                          <a:pt x="13120" y="18361"/>
                        </a:lnTo>
                        <a:cubicBezTo>
                          <a:pt x="13101" y="22003"/>
                          <a:pt x="10184" y="24921"/>
                          <a:pt x="6560" y="24921"/>
                        </a:cubicBezTo>
                        <a:close/>
                      </a:path>
                    </a:pathLst>
                  </a:custGeom>
                  <a:solidFill>
                    <a:schemeClr val="accent1"/>
                  </a:solidFill>
                  <a:ln w="1858" cap="flat">
                    <a:noFill/>
                    <a:prstDash val="solid"/>
                    <a:miter/>
                  </a:ln>
                </p:spPr>
                <p:txBody>
                  <a:bodyPr rtlCol="0" anchor="ctr"/>
                  <a:lstStyle/>
                  <a:p>
                    <a:endParaRPr lang="en-GB" dirty="0"/>
                  </a:p>
                </p:txBody>
              </p:sp>
            </p:grpSp>
            <p:sp>
              <p:nvSpPr>
                <p:cNvPr id="75" name="Freihandform: Form 216">
                  <a:extLst>
                    <a:ext uri="{FF2B5EF4-FFF2-40B4-BE49-F238E27FC236}">
                      <a16:creationId xmlns:a16="http://schemas.microsoft.com/office/drawing/2014/main" id="{166DE4BE-E7EB-4982-9E02-9A44F8A935EB}"/>
                    </a:ext>
                  </a:extLst>
                </p:cNvPr>
                <p:cNvSpPr/>
                <p:nvPr/>
              </p:nvSpPr>
              <p:spPr>
                <a:xfrm>
                  <a:off x="2678905" y="2432904"/>
                  <a:ext cx="155769" cy="155769"/>
                </a:xfrm>
                <a:custGeom>
                  <a:avLst/>
                  <a:gdLst>
                    <a:gd name="connsiteX0" fmla="*/ 77885 w 155769"/>
                    <a:gd name="connsiteY0" fmla="*/ 155769 h 155769"/>
                    <a:gd name="connsiteX1" fmla="*/ 0 w 155769"/>
                    <a:gd name="connsiteY1" fmla="*/ 77885 h 155769"/>
                    <a:gd name="connsiteX2" fmla="*/ 77885 w 155769"/>
                    <a:gd name="connsiteY2" fmla="*/ 0 h 155769"/>
                    <a:gd name="connsiteX3" fmla="*/ 155769 w 155769"/>
                    <a:gd name="connsiteY3" fmla="*/ 77885 h 155769"/>
                    <a:gd name="connsiteX4" fmla="*/ 77885 w 155769"/>
                    <a:gd name="connsiteY4" fmla="*/ 155769 h 155769"/>
                    <a:gd name="connsiteX5" fmla="*/ 77885 w 155769"/>
                    <a:gd name="connsiteY5" fmla="*/ 13139 h 155769"/>
                    <a:gd name="connsiteX6" fmla="*/ 13120 w 155769"/>
                    <a:gd name="connsiteY6" fmla="*/ 77903 h 155769"/>
                    <a:gd name="connsiteX7" fmla="*/ 77885 w 155769"/>
                    <a:gd name="connsiteY7" fmla="*/ 142668 h 155769"/>
                    <a:gd name="connsiteX8" fmla="*/ 142649 w 155769"/>
                    <a:gd name="connsiteY8" fmla="*/ 77903 h 155769"/>
                    <a:gd name="connsiteX9" fmla="*/ 77885 w 155769"/>
                    <a:gd name="connsiteY9" fmla="*/ 13139 h 155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769" h="155769">
                      <a:moveTo>
                        <a:pt x="77885" y="155769"/>
                      </a:moveTo>
                      <a:cubicBezTo>
                        <a:pt x="34938" y="155769"/>
                        <a:pt x="0" y="120832"/>
                        <a:pt x="0" y="77885"/>
                      </a:cubicBezTo>
                      <a:cubicBezTo>
                        <a:pt x="0" y="34938"/>
                        <a:pt x="34938" y="0"/>
                        <a:pt x="77885" y="0"/>
                      </a:cubicBezTo>
                      <a:cubicBezTo>
                        <a:pt x="120832" y="0"/>
                        <a:pt x="155769" y="34938"/>
                        <a:pt x="155769" y="77885"/>
                      </a:cubicBezTo>
                      <a:cubicBezTo>
                        <a:pt x="155751" y="120850"/>
                        <a:pt x="120813" y="155769"/>
                        <a:pt x="77885" y="155769"/>
                      </a:cubicBezTo>
                      <a:close/>
                      <a:moveTo>
                        <a:pt x="77885" y="13139"/>
                      </a:moveTo>
                      <a:cubicBezTo>
                        <a:pt x="42167" y="13139"/>
                        <a:pt x="13120" y="42185"/>
                        <a:pt x="13120" y="77903"/>
                      </a:cubicBezTo>
                      <a:cubicBezTo>
                        <a:pt x="13120" y="113621"/>
                        <a:pt x="42167" y="142668"/>
                        <a:pt x="77885" y="142668"/>
                      </a:cubicBezTo>
                      <a:cubicBezTo>
                        <a:pt x="113603" y="142668"/>
                        <a:pt x="142649" y="113621"/>
                        <a:pt x="142649" y="77903"/>
                      </a:cubicBezTo>
                      <a:cubicBezTo>
                        <a:pt x="142649" y="42185"/>
                        <a:pt x="113584" y="13139"/>
                        <a:pt x="77885" y="13139"/>
                      </a:cubicBezTo>
                      <a:close/>
                    </a:path>
                  </a:pathLst>
                </a:custGeom>
                <a:solidFill>
                  <a:schemeClr val="accent1"/>
                </a:solidFill>
                <a:ln w="1858" cap="flat">
                  <a:noFill/>
                  <a:prstDash val="solid"/>
                  <a:miter/>
                </a:ln>
              </p:spPr>
              <p:txBody>
                <a:bodyPr rtlCol="0" anchor="ctr"/>
                <a:lstStyle/>
                <a:p>
                  <a:endParaRPr lang="en-GB" dirty="0"/>
                </a:p>
              </p:txBody>
            </p:sp>
          </p:grpSp>
          <p:sp>
            <p:nvSpPr>
              <p:cNvPr id="73" name="Freihandform: Form 217">
                <a:extLst>
                  <a:ext uri="{FF2B5EF4-FFF2-40B4-BE49-F238E27FC236}">
                    <a16:creationId xmlns:a16="http://schemas.microsoft.com/office/drawing/2014/main" id="{B011214D-485E-4CED-A92D-6D5E1C5C693C}"/>
                  </a:ext>
                </a:extLst>
              </p:cNvPr>
              <p:cNvSpPr/>
              <p:nvPr/>
            </p:nvSpPr>
            <p:spPr>
              <a:xfrm>
                <a:off x="2750230" y="2575553"/>
                <a:ext cx="13120" cy="162719"/>
              </a:xfrm>
              <a:custGeom>
                <a:avLst/>
                <a:gdLst>
                  <a:gd name="connsiteX0" fmla="*/ 6560 w 13120"/>
                  <a:gd name="connsiteY0" fmla="*/ 162720 h 162719"/>
                  <a:gd name="connsiteX1" fmla="*/ 0 w 13120"/>
                  <a:gd name="connsiteY1" fmla="*/ 156160 h 162719"/>
                  <a:gd name="connsiteX2" fmla="*/ 0 w 13120"/>
                  <a:gd name="connsiteY2" fmla="*/ 6560 h 162719"/>
                  <a:gd name="connsiteX3" fmla="*/ 6560 w 13120"/>
                  <a:gd name="connsiteY3" fmla="*/ 0 h 162719"/>
                  <a:gd name="connsiteX4" fmla="*/ 13120 w 13120"/>
                  <a:gd name="connsiteY4" fmla="*/ 6560 h 162719"/>
                  <a:gd name="connsiteX5" fmla="*/ 13120 w 13120"/>
                  <a:gd name="connsiteY5" fmla="*/ 156160 h 162719"/>
                  <a:gd name="connsiteX6" fmla="*/ 6560 w 13120"/>
                  <a:gd name="connsiteY6" fmla="*/ 162720 h 16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20" h="162719">
                    <a:moveTo>
                      <a:pt x="6560" y="162720"/>
                    </a:moveTo>
                    <a:cubicBezTo>
                      <a:pt x="2936" y="162720"/>
                      <a:pt x="0" y="159784"/>
                      <a:pt x="0" y="156160"/>
                    </a:cubicBezTo>
                    <a:lnTo>
                      <a:pt x="0" y="6560"/>
                    </a:lnTo>
                    <a:cubicBezTo>
                      <a:pt x="0" y="2936"/>
                      <a:pt x="2936" y="0"/>
                      <a:pt x="6560" y="0"/>
                    </a:cubicBezTo>
                    <a:cubicBezTo>
                      <a:pt x="10184" y="0"/>
                      <a:pt x="13120" y="2936"/>
                      <a:pt x="13120" y="6560"/>
                    </a:cubicBezTo>
                    <a:lnTo>
                      <a:pt x="13120" y="156160"/>
                    </a:lnTo>
                    <a:cubicBezTo>
                      <a:pt x="13101" y="159784"/>
                      <a:pt x="10184" y="162720"/>
                      <a:pt x="6560" y="162720"/>
                    </a:cubicBezTo>
                    <a:close/>
                  </a:path>
                </a:pathLst>
              </a:custGeom>
              <a:solidFill>
                <a:schemeClr val="accent1"/>
              </a:solidFill>
              <a:ln w="1858" cap="flat">
                <a:noFill/>
                <a:prstDash val="solid"/>
                <a:miter/>
              </a:ln>
            </p:spPr>
            <p:txBody>
              <a:bodyPr rtlCol="0" anchor="ctr"/>
              <a:lstStyle/>
              <a:p>
                <a:endParaRPr lang="en-GB" dirty="0"/>
              </a:p>
            </p:txBody>
          </p:sp>
        </p:grpSp>
      </p:grpSp>
      <p:grpSp>
        <p:nvGrpSpPr>
          <p:cNvPr id="8" name="Group 7">
            <a:extLst>
              <a:ext uri="{FF2B5EF4-FFF2-40B4-BE49-F238E27FC236}">
                <a16:creationId xmlns:a16="http://schemas.microsoft.com/office/drawing/2014/main" id="{D01D41C6-D1FA-4C70-B0D2-7BBA01F5CAD9}"/>
              </a:ext>
            </a:extLst>
          </p:cNvPr>
          <p:cNvGrpSpPr/>
          <p:nvPr/>
        </p:nvGrpSpPr>
        <p:grpSpPr>
          <a:xfrm>
            <a:off x="2618504" y="1585984"/>
            <a:ext cx="532829" cy="432000"/>
            <a:chOff x="2618504" y="1585984"/>
            <a:chExt cx="532829" cy="432000"/>
          </a:xfrm>
        </p:grpSpPr>
        <p:grpSp>
          <p:nvGrpSpPr>
            <p:cNvPr id="93" name="Gruppieren 1296">
              <a:extLst>
                <a:ext uri="{FF2B5EF4-FFF2-40B4-BE49-F238E27FC236}">
                  <a16:creationId xmlns:a16="http://schemas.microsoft.com/office/drawing/2014/main" id="{B66578F7-1AE5-43E8-BB3A-91D3A570DB41}"/>
                </a:ext>
              </a:extLst>
            </p:cNvPr>
            <p:cNvGrpSpPr/>
            <p:nvPr/>
          </p:nvGrpSpPr>
          <p:grpSpPr>
            <a:xfrm>
              <a:off x="2618504" y="1585984"/>
              <a:ext cx="532829" cy="432000"/>
              <a:chOff x="3338054" y="3311193"/>
              <a:chExt cx="485036" cy="393251"/>
            </a:xfrm>
          </p:grpSpPr>
          <p:sp>
            <p:nvSpPr>
              <p:cNvPr id="107" name="Freihandform: Form 294">
                <a:extLst>
                  <a:ext uri="{FF2B5EF4-FFF2-40B4-BE49-F238E27FC236}">
                    <a16:creationId xmlns:a16="http://schemas.microsoft.com/office/drawing/2014/main" id="{E613E8F3-801B-49FB-92F8-BD5ECAA06283}"/>
                  </a:ext>
                </a:extLst>
              </p:cNvPr>
              <p:cNvSpPr/>
              <p:nvPr/>
            </p:nvSpPr>
            <p:spPr>
              <a:xfrm>
                <a:off x="3534689" y="3429144"/>
                <a:ext cx="288401" cy="275300"/>
              </a:xfrm>
              <a:custGeom>
                <a:avLst/>
                <a:gdLst>
                  <a:gd name="connsiteX0" fmla="*/ 222838 w 288401"/>
                  <a:gd name="connsiteY0" fmla="*/ 275300 h 275300"/>
                  <a:gd name="connsiteX1" fmla="*/ 218211 w 288401"/>
                  <a:gd name="connsiteY1" fmla="*/ 273386 h 275300"/>
                  <a:gd name="connsiteX2" fmla="*/ 154580 w 288401"/>
                  <a:gd name="connsiteY2" fmla="*/ 209755 h 275300"/>
                  <a:gd name="connsiteX3" fmla="*/ 19662 w 288401"/>
                  <a:gd name="connsiteY3" fmla="*/ 209755 h 275300"/>
                  <a:gd name="connsiteX4" fmla="*/ 0 w 288401"/>
                  <a:gd name="connsiteY4" fmla="*/ 190094 h 275300"/>
                  <a:gd name="connsiteX5" fmla="*/ 0 w 288401"/>
                  <a:gd name="connsiteY5" fmla="*/ 85225 h 275300"/>
                  <a:gd name="connsiteX6" fmla="*/ 6560 w 288401"/>
                  <a:gd name="connsiteY6" fmla="*/ 78665 h 275300"/>
                  <a:gd name="connsiteX7" fmla="*/ 13120 w 288401"/>
                  <a:gd name="connsiteY7" fmla="*/ 85225 h 275300"/>
                  <a:gd name="connsiteX8" fmla="*/ 13120 w 288401"/>
                  <a:gd name="connsiteY8" fmla="*/ 190094 h 275300"/>
                  <a:gd name="connsiteX9" fmla="*/ 19680 w 288401"/>
                  <a:gd name="connsiteY9" fmla="*/ 196654 h 275300"/>
                  <a:gd name="connsiteX10" fmla="*/ 157312 w 288401"/>
                  <a:gd name="connsiteY10" fmla="*/ 196654 h 275300"/>
                  <a:gd name="connsiteX11" fmla="*/ 161939 w 288401"/>
                  <a:gd name="connsiteY11" fmla="*/ 198568 h 275300"/>
                  <a:gd name="connsiteX12" fmla="*/ 216297 w 288401"/>
                  <a:gd name="connsiteY12" fmla="*/ 252925 h 275300"/>
                  <a:gd name="connsiteX13" fmla="*/ 216297 w 288401"/>
                  <a:gd name="connsiteY13" fmla="*/ 203214 h 275300"/>
                  <a:gd name="connsiteX14" fmla="*/ 222857 w 288401"/>
                  <a:gd name="connsiteY14" fmla="*/ 196654 h 275300"/>
                  <a:gd name="connsiteX15" fmla="*/ 268740 w 288401"/>
                  <a:gd name="connsiteY15" fmla="*/ 196654 h 275300"/>
                  <a:gd name="connsiteX16" fmla="*/ 275300 w 288401"/>
                  <a:gd name="connsiteY16" fmla="*/ 190094 h 275300"/>
                  <a:gd name="connsiteX17" fmla="*/ 275300 w 288401"/>
                  <a:gd name="connsiteY17" fmla="*/ 19680 h 275300"/>
                  <a:gd name="connsiteX18" fmla="*/ 268740 w 288401"/>
                  <a:gd name="connsiteY18" fmla="*/ 13120 h 275300"/>
                  <a:gd name="connsiteX19" fmla="*/ 85225 w 288401"/>
                  <a:gd name="connsiteY19" fmla="*/ 13120 h 275300"/>
                  <a:gd name="connsiteX20" fmla="*/ 78665 w 288401"/>
                  <a:gd name="connsiteY20" fmla="*/ 6560 h 275300"/>
                  <a:gd name="connsiteX21" fmla="*/ 85225 w 288401"/>
                  <a:gd name="connsiteY21" fmla="*/ 0 h 275300"/>
                  <a:gd name="connsiteX22" fmla="*/ 268740 w 288401"/>
                  <a:gd name="connsiteY22" fmla="*/ 0 h 275300"/>
                  <a:gd name="connsiteX23" fmla="*/ 288402 w 288401"/>
                  <a:gd name="connsiteY23" fmla="*/ 19662 h 275300"/>
                  <a:gd name="connsiteX24" fmla="*/ 288402 w 288401"/>
                  <a:gd name="connsiteY24" fmla="*/ 190075 h 275300"/>
                  <a:gd name="connsiteX25" fmla="*/ 268740 w 288401"/>
                  <a:gd name="connsiteY25" fmla="*/ 209737 h 275300"/>
                  <a:gd name="connsiteX26" fmla="*/ 229417 w 288401"/>
                  <a:gd name="connsiteY26" fmla="*/ 209737 h 275300"/>
                  <a:gd name="connsiteX27" fmla="*/ 229417 w 288401"/>
                  <a:gd name="connsiteY27" fmla="*/ 268722 h 275300"/>
                  <a:gd name="connsiteX28" fmla="*/ 225366 w 288401"/>
                  <a:gd name="connsiteY28" fmla="*/ 274780 h 275300"/>
                  <a:gd name="connsiteX29" fmla="*/ 222838 w 288401"/>
                  <a:gd name="connsiteY29" fmla="*/ 275300 h 27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88401" h="275300">
                    <a:moveTo>
                      <a:pt x="222838" y="275300"/>
                    </a:moveTo>
                    <a:cubicBezTo>
                      <a:pt x="221129" y="275300"/>
                      <a:pt x="219456" y="274631"/>
                      <a:pt x="218211" y="273386"/>
                    </a:cubicBezTo>
                    <a:lnTo>
                      <a:pt x="154580" y="209755"/>
                    </a:lnTo>
                    <a:lnTo>
                      <a:pt x="19662" y="209755"/>
                    </a:lnTo>
                    <a:cubicBezTo>
                      <a:pt x="8827" y="209755"/>
                      <a:pt x="0" y="200928"/>
                      <a:pt x="0" y="190094"/>
                    </a:cubicBezTo>
                    <a:lnTo>
                      <a:pt x="0" y="85225"/>
                    </a:lnTo>
                    <a:cubicBezTo>
                      <a:pt x="0" y="81602"/>
                      <a:pt x="2936" y="78665"/>
                      <a:pt x="6560" y="78665"/>
                    </a:cubicBezTo>
                    <a:cubicBezTo>
                      <a:pt x="10184" y="78665"/>
                      <a:pt x="13120" y="81602"/>
                      <a:pt x="13120" y="85225"/>
                    </a:cubicBezTo>
                    <a:lnTo>
                      <a:pt x="13120" y="190094"/>
                    </a:lnTo>
                    <a:cubicBezTo>
                      <a:pt x="13120" y="193718"/>
                      <a:pt x="16056" y="196654"/>
                      <a:pt x="19680" y="196654"/>
                    </a:cubicBezTo>
                    <a:lnTo>
                      <a:pt x="157312" y="196654"/>
                    </a:lnTo>
                    <a:cubicBezTo>
                      <a:pt x="159059" y="196654"/>
                      <a:pt x="160713" y="197341"/>
                      <a:pt x="161939" y="198568"/>
                    </a:cubicBezTo>
                    <a:lnTo>
                      <a:pt x="216297" y="252925"/>
                    </a:lnTo>
                    <a:lnTo>
                      <a:pt x="216297" y="203214"/>
                    </a:lnTo>
                    <a:cubicBezTo>
                      <a:pt x="216297" y="199590"/>
                      <a:pt x="219233" y="196654"/>
                      <a:pt x="222857" y="196654"/>
                    </a:cubicBezTo>
                    <a:lnTo>
                      <a:pt x="268740" y="196654"/>
                    </a:lnTo>
                    <a:cubicBezTo>
                      <a:pt x="272364" y="196654"/>
                      <a:pt x="275300" y="193718"/>
                      <a:pt x="275300" y="190094"/>
                    </a:cubicBezTo>
                    <a:lnTo>
                      <a:pt x="275300" y="19680"/>
                    </a:lnTo>
                    <a:cubicBezTo>
                      <a:pt x="275300" y="16056"/>
                      <a:pt x="272364" y="13120"/>
                      <a:pt x="268740" y="13120"/>
                    </a:cubicBezTo>
                    <a:lnTo>
                      <a:pt x="85225" y="13120"/>
                    </a:lnTo>
                    <a:cubicBezTo>
                      <a:pt x="81601" y="13120"/>
                      <a:pt x="78665" y="10184"/>
                      <a:pt x="78665" y="6560"/>
                    </a:cubicBezTo>
                    <a:cubicBezTo>
                      <a:pt x="78665" y="2936"/>
                      <a:pt x="81601" y="0"/>
                      <a:pt x="85225" y="0"/>
                    </a:cubicBezTo>
                    <a:lnTo>
                      <a:pt x="268740" y="0"/>
                    </a:lnTo>
                    <a:cubicBezTo>
                      <a:pt x="279575" y="0"/>
                      <a:pt x="288402" y="8827"/>
                      <a:pt x="288402" y="19662"/>
                    </a:cubicBezTo>
                    <a:lnTo>
                      <a:pt x="288402" y="190075"/>
                    </a:lnTo>
                    <a:cubicBezTo>
                      <a:pt x="288402" y="200909"/>
                      <a:pt x="279575" y="209737"/>
                      <a:pt x="268740" y="209737"/>
                    </a:cubicBezTo>
                    <a:lnTo>
                      <a:pt x="229417" y="209737"/>
                    </a:lnTo>
                    <a:lnTo>
                      <a:pt x="229417" y="268722"/>
                    </a:lnTo>
                    <a:cubicBezTo>
                      <a:pt x="229417" y="271379"/>
                      <a:pt x="227819" y="273758"/>
                      <a:pt x="225366" y="274780"/>
                    </a:cubicBezTo>
                    <a:cubicBezTo>
                      <a:pt x="224529" y="275133"/>
                      <a:pt x="223675" y="275300"/>
                      <a:pt x="222838" y="275300"/>
                    </a:cubicBezTo>
                    <a:close/>
                  </a:path>
                </a:pathLst>
              </a:custGeom>
              <a:solidFill>
                <a:schemeClr val="tx2"/>
              </a:solidFill>
              <a:ln w="1858" cap="flat">
                <a:noFill/>
                <a:prstDash val="solid"/>
                <a:miter/>
              </a:ln>
            </p:spPr>
            <p:txBody>
              <a:bodyPr rtlCol="0" anchor="ctr"/>
              <a:lstStyle/>
              <a:p>
                <a:endParaRPr lang="en-GB" dirty="0"/>
              </a:p>
            </p:txBody>
          </p:sp>
          <p:sp>
            <p:nvSpPr>
              <p:cNvPr id="108" name="Freihandform: Form 295">
                <a:extLst>
                  <a:ext uri="{FF2B5EF4-FFF2-40B4-BE49-F238E27FC236}">
                    <a16:creationId xmlns:a16="http://schemas.microsoft.com/office/drawing/2014/main" id="{8D06F7CE-D8DC-4A3C-B148-C1CC7912C8A4}"/>
                  </a:ext>
                </a:extLst>
              </p:cNvPr>
              <p:cNvSpPr/>
              <p:nvPr/>
            </p:nvSpPr>
            <p:spPr>
              <a:xfrm>
                <a:off x="3338054" y="3311193"/>
                <a:ext cx="288383" cy="275281"/>
              </a:xfrm>
              <a:custGeom>
                <a:avLst/>
                <a:gdLst>
                  <a:gd name="connsiteX0" fmla="*/ 65545 w 288383"/>
                  <a:gd name="connsiteY0" fmla="*/ 275282 h 275281"/>
                  <a:gd name="connsiteX1" fmla="*/ 63036 w 288383"/>
                  <a:gd name="connsiteY1" fmla="*/ 274780 h 275281"/>
                  <a:gd name="connsiteX2" fmla="*/ 58985 w 288383"/>
                  <a:gd name="connsiteY2" fmla="*/ 268722 h 275281"/>
                  <a:gd name="connsiteX3" fmla="*/ 58985 w 288383"/>
                  <a:gd name="connsiteY3" fmla="*/ 209737 h 275281"/>
                  <a:gd name="connsiteX4" fmla="*/ 19662 w 288383"/>
                  <a:gd name="connsiteY4" fmla="*/ 209737 h 275281"/>
                  <a:gd name="connsiteX5" fmla="*/ 0 w 288383"/>
                  <a:gd name="connsiteY5" fmla="*/ 190075 h 275281"/>
                  <a:gd name="connsiteX6" fmla="*/ 0 w 288383"/>
                  <a:gd name="connsiteY6" fmla="*/ 19662 h 275281"/>
                  <a:gd name="connsiteX7" fmla="*/ 19662 w 288383"/>
                  <a:gd name="connsiteY7" fmla="*/ 0 h 275281"/>
                  <a:gd name="connsiteX8" fmla="*/ 268722 w 288383"/>
                  <a:gd name="connsiteY8" fmla="*/ 0 h 275281"/>
                  <a:gd name="connsiteX9" fmla="*/ 288384 w 288383"/>
                  <a:gd name="connsiteY9" fmla="*/ 19662 h 275281"/>
                  <a:gd name="connsiteX10" fmla="*/ 288384 w 288383"/>
                  <a:gd name="connsiteY10" fmla="*/ 190075 h 275281"/>
                  <a:gd name="connsiteX11" fmla="*/ 268722 w 288383"/>
                  <a:gd name="connsiteY11" fmla="*/ 209737 h 275281"/>
                  <a:gd name="connsiteX12" fmla="*/ 133803 w 288383"/>
                  <a:gd name="connsiteY12" fmla="*/ 209737 h 275281"/>
                  <a:gd name="connsiteX13" fmla="*/ 70172 w 288383"/>
                  <a:gd name="connsiteY13" fmla="*/ 273368 h 275281"/>
                  <a:gd name="connsiteX14" fmla="*/ 65545 w 288383"/>
                  <a:gd name="connsiteY14" fmla="*/ 275282 h 275281"/>
                  <a:gd name="connsiteX15" fmla="*/ 19662 w 288383"/>
                  <a:gd name="connsiteY15" fmla="*/ 13102 h 275281"/>
                  <a:gd name="connsiteX16" fmla="*/ 13102 w 288383"/>
                  <a:gd name="connsiteY16" fmla="*/ 19662 h 275281"/>
                  <a:gd name="connsiteX17" fmla="*/ 13102 w 288383"/>
                  <a:gd name="connsiteY17" fmla="*/ 190075 h 275281"/>
                  <a:gd name="connsiteX18" fmla="*/ 19662 w 288383"/>
                  <a:gd name="connsiteY18" fmla="*/ 196635 h 275281"/>
                  <a:gd name="connsiteX19" fmla="*/ 65545 w 288383"/>
                  <a:gd name="connsiteY19" fmla="*/ 196635 h 275281"/>
                  <a:gd name="connsiteX20" fmla="*/ 72105 w 288383"/>
                  <a:gd name="connsiteY20" fmla="*/ 203195 h 275281"/>
                  <a:gd name="connsiteX21" fmla="*/ 72105 w 288383"/>
                  <a:gd name="connsiteY21" fmla="*/ 252907 h 275281"/>
                  <a:gd name="connsiteX22" fmla="*/ 126463 w 288383"/>
                  <a:gd name="connsiteY22" fmla="*/ 198549 h 275281"/>
                  <a:gd name="connsiteX23" fmla="*/ 131090 w 288383"/>
                  <a:gd name="connsiteY23" fmla="*/ 196635 h 275281"/>
                  <a:gd name="connsiteX24" fmla="*/ 268722 w 288383"/>
                  <a:gd name="connsiteY24" fmla="*/ 196635 h 275281"/>
                  <a:gd name="connsiteX25" fmla="*/ 275282 w 288383"/>
                  <a:gd name="connsiteY25" fmla="*/ 190075 h 275281"/>
                  <a:gd name="connsiteX26" fmla="*/ 275282 w 288383"/>
                  <a:gd name="connsiteY26" fmla="*/ 19662 h 275281"/>
                  <a:gd name="connsiteX27" fmla="*/ 268722 w 288383"/>
                  <a:gd name="connsiteY27" fmla="*/ 13102 h 275281"/>
                  <a:gd name="connsiteX28" fmla="*/ 19662 w 288383"/>
                  <a:gd name="connsiteY28" fmla="*/ 13102 h 275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8383" h="275281">
                    <a:moveTo>
                      <a:pt x="65545" y="275282"/>
                    </a:moveTo>
                    <a:cubicBezTo>
                      <a:pt x="64709" y="275282"/>
                      <a:pt x="63854" y="275114"/>
                      <a:pt x="63036" y="274780"/>
                    </a:cubicBezTo>
                    <a:cubicBezTo>
                      <a:pt x="60583" y="273776"/>
                      <a:pt x="58985" y="271379"/>
                      <a:pt x="58985" y="268722"/>
                    </a:cubicBezTo>
                    <a:lnTo>
                      <a:pt x="58985" y="209737"/>
                    </a:lnTo>
                    <a:lnTo>
                      <a:pt x="19662" y="209737"/>
                    </a:lnTo>
                    <a:cubicBezTo>
                      <a:pt x="8827" y="209737"/>
                      <a:pt x="0" y="200909"/>
                      <a:pt x="0" y="190075"/>
                    </a:cubicBezTo>
                    <a:lnTo>
                      <a:pt x="0" y="19662"/>
                    </a:lnTo>
                    <a:cubicBezTo>
                      <a:pt x="0" y="8827"/>
                      <a:pt x="8827" y="0"/>
                      <a:pt x="19662" y="0"/>
                    </a:cubicBezTo>
                    <a:lnTo>
                      <a:pt x="268722" y="0"/>
                    </a:lnTo>
                    <a:cubicBezTo>
                      <a:pt x="279556" y="0"/>
                      <a:pt x="288384" y="8827"/>
                      <a:pt x="288384" y="19662"/>
                    </a:cubicBezTo>
                    <a:lnTo>
                      <a:pt x="288384" y="190075"/>
                    </a:lnTo>
                    <a:cubicBezTo>
                      <a:pt x="288384" y="200909"/>
                      <a:pt x="279556" y="209737"/>
                      <a:pt x="268722" y="209737"/>
                    </a:cubicBezTo>
                    <a:lnTo>
                      <a:pt x="133803" y="209737"/>
                    </a:lnTo>
                    <a:lnTo>
                      <a:pt x="70172" y="273368"/>
                    </a:lnTo>
                    <a:cubicBezTo>
                      <a:pt x="68927" y="274613"/>
                      <a:pt x="67236" y="275282"/>
                      <a:pt x="65545" y="275282"/>
                    </a:cubicBezTo>
                    <a:close/>
                    <a:moveTo>
                      <a:pt x="19662" y="13102"/>
                    </a:moveTo>
                    <a:cubicBezTo>
                      <a:pt x="16038" y="13102"/>
                      <a:pt x="13102" y="16038"/>
                      <a:pt x="13102" y="19662"/>
                    </a:cubicBezTo>
                    <a:lnTo>
                      <a:pt x="13102" y="190075"/>
                    </a:lnTo>
                    <a:cubicBezTo>
                      <a:pt x="13102" y="193699"/>
                      <a:pt x="16038" y="196635"/>
                      <a:pt x="19662" y="196635"/>
                    </a:cubicBezTo>
                    <a:lnTo>
                      <a:pt x="65545" y="196635"/>
                    </a:lnTo>
                    <a:cubicBezTo>
                      <a:pt x="69169" y="196635"/>
                      <a:pt x="72105" y="199571"/>
                      <a:pt x="72105" y="203195"/>
                    </a:cubicBezTo>
                    <a:lnTo>
                      <a:pt x="72105" y="252907"/>
                    </a:lnTo>
                    <a:lnTo>
                      <a:pt x="126463" y="198549"/>
                    </a:lnTo>
                    <a:cubicBezTo>
                      <a:pt x="127689" y="197323"/>
                      <a:pt x="129362" y="196635"/>
                      <a:pt x="131090" y="196635"/>
                    </a:cubicBezTo>
                    <a:lnTo>
                      <a:pt x="268722" y="196635"/>
                    </a:lnTo>
                    <a:cubicBezTo>
                      <a:pt x="272346" y="196635"/>
                      <a:pt x="275282" y="193699"/>
                      <a:pt x="275282" y="190075"/>
                    </a:cubicBezTo>
                    <a:lnTo>
                      <a:pt x="275282" y="19662"/>
                    </a:lnTo>
                    <a:cubicBezTo>
                      <a:pt x="275282" y="16038"/>
                      <a:pt x="272346" y="13102"/>
                      <a:pt x="268722" y="13102"/>
                    </a:cubicBezTo>
                    <a:lnTo>
                      <a:pt x="19662" y="13102"/>
                    </a:lnTo>
                    <a:close/>
                  </a:path>
                </a:pathLst>
              </a:custGeom>
              <a:solidFill>
                <a:schemeClr val="tx2"/>
              </a:solidFill>
              <a:ln w="1858" cap="flat">
                <a:noFill/>
                <a:prstDash val="solid"/>
                <a:miter/>
              </a:ln>
            </p:spPr>
            <p:txBody>
              <a:bodyPr rtlCol="0" anchor="ctr"/>
              <a:lstStyle/>
              <a:p>
                <a:endParaRPr lang="en-GB" dirty="0"/>
              </a:p>
            </p:txBody>
          </p:sp>
        </p:grpSp>
        <p:grpSp>
          <p:nvGrpSpPr>
            <p:cNvPr id="94" name="Gruppieren 1295">
              <a:extLst>
                <a:ext uri="{FF2B5EF4-FFF2-40B4-BE49-F238E27FC236}">
                  <a16:creationId xmlns:a16="http://schemas.microsoft.com/office/drawing/2014/main" id="{97F6D341-4B92-485F-BFC3-D19D96983138}"/>
                </a:ext>
              </a:extLst>
            </p:cNvPr>
            <p:cNvGrpSpPr/>
            <p:nvPr/>
          </p:nvGrpSpPr>
          <p:grpSpPr>
            <a:xfrm>
              <a:off x="2661710" y="1634115"/>
              <a:ext cx="445983" cy="275875"/>
              <a:chOff x="3377385" y="3355007"/>
              <a:chExt cx="405980" cy="251130"/>
            </a:xfrm>
          </p:grpSpPr>
          <p:grpSp>
            <p:nvGrpSpPr>
              <p:cNvPr id="95" name="Grafik 325">
                <a:extLst>
                  <a:ext uri="{FF2B5EF4-FFF2-40B4-BE49-F238E27FC236}">
                    <a16:creationId xmlns:a16="http://schemas.microsoft.com/office/drawing/2014/main" id="{273E8D1D-A8C8-4034-BA3B-1C3DDE062BD9}"/>
                  </a:ext>
                </a:extLst>
              </p:cNvPr>
              <p:cNvGrpSpPr/>
              <p:nvPr/>
            </p:nvGrpSpPr>
            <p:grpSpPr>
              <a:xfrm>
                <a:off x="3377385" y="3355007"/>
                <a:ext cx="206156" cy="78913"/>
                <a:chOff x="3377385" y="3355007"/>
                <a:chExt cx="206156" cy="78913"/>
              </a:xfrm>
              <a:solidFill>
                <a:schemeClr val="accent1"/>
              </a:solidFill>
            </p:grpSpPr>
            <p:sp>
              <p:nvSpPr>
                <p:cNvPr id="105" name="Freihandform: Form 297">
                  <a:extLst>
                    <a:ext uri="{FF2B5EF4-FFF2-40B4-BE49-F238E27FC236}">
                      <a16:creationId xmlns:a16="http://schemas.microsoft.com/office/drawing/2014/main" id="{AC29ECBE-442F-4EC3-90A7-E081B59C37CA}"/>
                    </a:ext>
                  </a:extLst>
                </p:cNvPr>
                <p:cNvSpPr/>
                <p:nvPr/>
              </p:nvSpPr>
              <p:spPr>
                <a:xfrm>
                  <a:off x="3377385" y="3357071"/>
                  <a:ext cx="202272" cy="76849"/>
                </a:xfrm>
                <a:custGeom>
                  <a:avLst/>
                  <a:gdLst>
                    <a:gd name="connsiteX0" fmla="*/ 37959 w 202272"/>
                    <a:gd name="connsiteY0" fmla="*/ 76849 h 76849"/>
                    <a:gd name="connsiteX1" fmla="*/ 34131 w 202272"/>
                    <a:gd name="connsiteY1" fmla="*/ 75604 h 76849"/>
                    <a:gd name="connsiteX2" fmla="*/ 2724 w 202272"/>
                    <a:gd name="connsiteY2" fmla="*/ 52951 h 76849"/>
                    <a:gd name="connsiteX3" fmla="*/ 1238 w 202272"/>
                    <a:gd name="connsiteY3" fmla="*/ 43807 h 76849"/>
                    <a:gd name="connsiteX4" fmla="*/ 10381 w 202272"/>
                    <a:gd name="connsiteY4" fmla="*/ 42321 h 76849"/>
                    <a:gd name="connsiteX5" fmla="*/ 37309 w 202272"/>
                    <a:gd name="connsiteY5" fmla="*/ 61741 h 76849"/>
                    <a:gd name="connsiteX6" fmla="*/ 93711 w 202272"/>
                    <a:gd name="connsiteY6" fmla="*/ 6621 h 76849"/>
                    <a:gd name="connsiteX7" fmla="*/ 102315 w 202272"/>
                    <a:gd name="connsiteY7" fmla="*/ 6138 h 76849"/>
                    <a:gd name="connsiteX8" fmla="*/ 156059 w 202272"/>
                    <a:gd name="connsiteY8" fmla="*/ 47952 h 76849"/>
                    <a:gd name="connsiteX9" fmla="*/ 190495 w 202272"/>
                    <a:gd name="connsiteY9" fmla="*/ 2589 h 76849"/>
                    <a:gd name="connsiteX10" fmla="*/ 199675 w 202272"/>
                    <a:gd name="connsiteY10" fmla="*/ 1325 h 76849"/>
                    <a:gd name="connsiteX11" fmla="*/ 200939 w 202272"/>
                    <a:gd name="connsiteY11" fmla="*/ 10505 h 76849"/>
                    <a:gd name="connsiteX12" fmla="*/ 162526 w 202272"/>
                    <a:gd name="connsiteY12" fmla="*/ 61165 h 76849"/>
                    <a:gd name="connsiteX13" fmla="*/ 158159 w 202272"/>
                    <a:gd name="connsiteY13" fmla="*/ 63692 h 76849"/>
                    <a:gd name="connsiteX14" fmla="*/ 153290 w 202272"/>
                    <a:gd name="connsiteY14" fmla="*/ 62373 h 76849"/>
                    <a:gd name="connsiteX15" fmla="*/ 98821 w 202272"/>
                    <a:gd name="connsiteY15" fmla="*/ 20002 h 76849"/>
                    <a:gd name="connsiteX16" fmla="*/ 42568 w 202272"/>
                    <a:gd name="connsiteY16" fmla="*/ 74991 h 76849"/>
                    <a:gd name="connsiteX17" fmla="*/ 37959 w 202272"/>
                    <a:gd name="connsiteY17" fmla="*/ 76849 h 7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2272" h="76849">
                      <a:moveTo>
                        <a:pt x="37959" y="76849"/>
                      </a:moveTo>
                      <a:cubicBezTo>
                        <a:pt x="36621" y="76849"/>
                        <a:pt x="35283" y="76441"/>
                        <a:pt x="34131" y="75604"/>
                      </a:cubicBezTo>
                      <a:lnTo>
                        <a:pt x="2724" y="52951"/>
                      </a:lnTo>
                      <a:cubicBezTo>
                        <a:pt x="-212" y="50832"/>
                        <a:pt x="-881" y="46744"/>
                        <a:pt x="1238" y="43807"/>
                      </a:cubicBezTo>
                      <a:cubicBezTo>
                        <a:pt x="3338" y="40871"/>
                        <a:pt x="7445" y="40202"/>
                        <a:pt x="10381" y="42321"/>
                      </a:cubicBezTo>
                      <a:lnTo>
                        <a:pt x="37309" y="61741"/>
                      </a:lnTo>
                      <a:lnTo>
                        <a:pt x="93711" y="6621"/>
                      </a:lnTo>
                      <a:cubicBezTo>
                        <a:pt x="96052" y="4335"/>
                        <a:pt x="99732" y="4112"/>
                        <a:pt x="102315" y="6138"/>
                      </a:cubicBezTo>
                      <a:lnTo>
                        <a:pt x="156059" y="47952"/>
                      </a:lnTo>
                      <a:lnTo>
                        <a:pt x="190495" y="2589"/>
                      </a:lnTo>
                      <a:cubicBezTo>
                        <a:pt x="192688" y="-292"/>
                        <a:pt x="196795" y="-849"/>
                        <a:pt x="199675" y="1325"/>
                      </a:cubicBezTo>
                      <a:cubicBezTo>
                        <a:pt x="202556" y="3518"/>
                        <a:pt x="203132" y="7625"/>
                        <a:pt x="200939" y="10505"/>
                      </a:cubicBezTo>
                      <a:lnTo>
                        <a:pt x="162526" y="61165"/>
                      </a:lnTo>
                      <a:cubicBezTo>
                        <a:pt x="161467" y="62559"/>
                        <a:pt x="159888" y="63469"/>
                        <a:pt x="158159" y="63692"/>
                      </a:cubicBezTo>
                      <a:cubicBezTo>
                        <a:pt x="156431" y="63915"/>
                        <a:pt x="154666" y="63451"/>
                        <a:pt x="153290" y="62373"/>
                      </a:cubicBezTo>
                      <a:lnTo>
                        <a:pt x="98821" y="20002"/>
                      </a:lnTo>
                      <a:lnTo>
                        <a:pt x="42568" y="74991"/>
                      </a:lnTo>
                      <a:cubicBezTo>
                        <a:pt x="41267" y="76218"/>
                        <a:pt x="39613" y="76849"/>
                        <a:pt x="37959" y="76849"/>
                      </a:cubicBezTo>
                      <a:close/>
                    </a:path>
                  </a:pathLst>
                </a:custGeom>
                <a:solidFill>
                  <a:schemeClr val="accent1"/>
                </a:solidFill>
                <a:ln w="1858" cap="flat">
                  <a:noFill/>
                  <a:prstDash val="solid"/>
                  <a:miter/>
                </a:ln>
              </p:spPr>
              <p:txBody>
                <a:bodyPr rtlCol="0" anchor="ctr"/>
                <a:lstStyle/>
                <a:p>
                  <a:endParaRPr lang="en-GB" dirty="0"/>
                </a:p>
              </p:txBody>
            </p:sp>
            <p:sp>
              <p:nvSpPr>
                <p:cNvPr id="106" name="Freihandform: Form 298">
                  <a:extLst>
                    <a:ext uri="{FF2B5EF4-FFF2-40B4-BE49-F238E27FC236}">
                      <a16:creationId xmlns:a16="http://schemas.microsoft.com/office/drawing/2014/main" id="{95314787-8170-4B5B-9976-42AFEA74ADBF}"/>
                    </a:ext>
                  </a:extLst>
                </p:cNvPr>
                <p:cNvSpPr/>
                <p:nvPr/>
              </p:nvSpPr>
              <p:spPr>
                <a:xfrm>
                  <a:off x="3537760" y="3355007"/>
                  <a:ext cx="45780" cy="42135"/>
                </a:xfrm>
                <a:custGeom>
                  <a:avLst/>
                  <a:gdLst>
                    <a:gd name="connsiteX0" fmla="*/ 39225 w 45780"/>
                    <a:gd name="connsiteY0" fmla="*/ 42136 h 42135"/>
                    <a:gd name="connsiteX1" fmla="*/ 32721 w 45780"/>
                    <a:gd name="connsiteY1" fmla="*/ 36394 h 42135"/>
                    <a:gd name="connsiteX2" fmla="*/ 29896 w 45780"/>
                    <a:gd name="connsiteY2" fmla="*/ 13870 h 42135"/>
                    <a:gd name="connsiteX3" fmla="*/ 7373 w 45780"/>
                    <a:gd name="connsiteY3" fmla="*/ 16695 h 42135"/>
                    <a:gd name="connsiteX4" fmla="*/ 51 w 45780"/>
                    <a:gd name="connsiteY4" fmla="*/ 11008 h 42135"/>
                    <a:gd name="connsiteX5" fmla="*/ 5737 w 45780"/>
                    <a:gd name="connsiteY5" fmla="*/ 3686 h 42135"/>
                    <a:gd name="connsiteX6" fmla="*/ 34765 w 45780"/>
                    <a:gd name="connsiteY6" fmla="*/ 44 h 42135"/>
                    <a:gd name="connsiteX7" fmla="*/ 42087 w 45780"/>
                    <a:gd name="connsiteY7" fmla="*/ 5730 h 42135"/>
                    <a:gd name="connsiteX8" fmla="*/ 45730 w 45780"/>
                    <a:gd name="connsiteY8" fmla="*/ 34758 h 42135"/>
                    <a:gd name="connsiteX9" fmla="*/ 40043 w 45780"/>
                    <a:gd name="connsiteY9" fmla="*/ 42080 h 42135"/>
                    <a:gd name="connsiteX10" fmla="*/ 39225 w 45780"/>
                    <a:gd name="connsiteY10" fmla="*/ 42136 h 42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780" h="42135">
                      <a:moveTo>
                        <a:pt x="39225" y="42136"/>
                      </a:moveTo>
                      <a:cubicBezTo>
                        <a:pt x="35973" y="42136"/>
                        <a:pt x="33149" y="39701"/>
                        <a:pt x="32721" y="36394"/>
                      </a:cubicBezTo>
                      <a:lnTo>
                        <a:pt x="29896" y="13870"/>
                      </a:lnTo>
                      <a:lnTo>
                        <a:pt x="7373" y="16695"/>
                      </a:lnTo>
                      <a:cubicBezTo>
                        <a:pt x="3749" y="17104"/>
                        <a:pt x="497" y="14595"/>
                        <a:pt x="51" y="11008"/>
                      </a:cubicBezTo>
                      <a:cubicBezTo>
                        <a:pt x="-395" y="7421"/>
                        <a:pt x="2151" y="4132"/>
                        <a:pt x="5737" y="3686"/>
                      </a:cubicBezTo>
                      <a:lnTo>
                        <a:pt x="34765" y="44"/>
                      </a:lnTo>
                      <a:cubicBezTo>
                        <a:pt x="38370" y="-365"/>
                        <a:pt x="41641" y="2144"/>
                        <a:pt x="42087" y="5730"/>
                      </a:cubicBezTo>
                      <a:lnTo>
                        <a:pt x="45730" y="34758"/>
                      </a:lnTo>
                      <a:cubicBezTo>
                        <a:pt x="46176" y="38345"/>
                        <a:pt x="43630" y="41634"/>
                        <a:pt x="40043" y="42080"/>
                      </a:cubicBezTo>
                      <a:cubicBezTo>
                        <a:pt x="39764" y="42117"/>
                        <a:pt x="39485" y="42136"/>
                        <a:pt x="39225" y="42136"/>
                      </a:cubicBezTo>
                      <a:close/>
                    </a:path>
                  </a:pathLst>
                </a:custGeom>
                <a:solidFill>
                  <a:schemeClr val="accent1"/>
                </a:solidFill>
                <a:ln w="1858" cap="flat">
                  <a:noFill/>
                  <a:prstDash val="solid"/>
                  <a:miter/>
                </a:ln>
              </p:spPr>
              <p:txBody>
                <a:bodyPr rtlCol="0" anchor="ctr"/>
                <a:lstStyle/>
                <a:p>
                  <a:endParaRPr lang="en-GB" dirty="0"/>
                </a:p>
              </p:txBody>
            </p:sp>
          </p:grpSp>
          <p:grpSp>
            <p:nvGrpSpPr>
              <p:cNvPr id="96" name="Grafik 325">
                <a:extLst>
                  <a:ext uri="{FF2B5EF4-FFF2-40B4-BE49-F238E27FC236}">
                    <a16:creationId xmlns:a16="http://schemas.microsoft.com/office/drawing/2014/main" id="{4B30FFDF-B908-4A35-ADAD-E8FED3FEDA29}"/>
                  </a:ext>
                </a:extLst>
              </p:cNvPr>
              <p:cNvGrpSpPr/>
              <p:nvPr/>
            </p:nvGrpSpPr>
            <p:grpSpPr>
              <a:xfrm>
                <a:off x="3575760" y="3494715"/>
                <a:ext cx="207605" cy="85143"/>
                <a:chOff x="3575760" y="3494715"/>
                <a:chExt cx="207605" cy="85143"/>
              </a:xfrm>
              <a:solidFill>
                <a:schemeClr val="accent1"/>
              </a:solidFill>
            </p:grpSpPr>
            <p:sp>
              <p:nvSpPr>
                <p:cNvPr id="103" name="Freihandform: Form 300">
                  <a:extLst>
                    <a:ext uri="{FF2B5EF4-FFF2-40B4-BE49-F238E27FC236}">
                      <a16:creationId xmlns:a16="http://schemas.microsoft.com/office/drawing/2014/main" id="{593270ED-1893-47AB-803F-5633209D3716}"/>
                    </a:ext>
                  </a:extLst>
                </p:cNvPr>
                <p:cNvSpPr/>
                <p:nvPr/>
              </p:nvSpPr>
              <p:spPr>
                <a:xfrm>
                  <a:off x="3742004" y="3495910"/>
                  <a:ext cx="41361" cy="48974"/>
                </a:xfrm>
                <a:custGeom>
                  <a:avLst/>
                  <a:gdLst>
                    <a:gd name="connsiteX0" fmla="*/ 6548 w 41361"/>
                    <a:gd name="connsiteY0" fmla="*/ 48974 h 48974"/>
                    <a:gd name="connsiteX1" fmla="*/ 229 w 41361"/>
                    <a:gd name="connsiteY1" fmla="*/ 44124 h 48974"/>
                    <a:gd name="connsiteX2" fmla="*/ 4856 w 41361"/>
                    <a:gd name="connsiteY2" fmla="*/ 36096 h 48974"/>
                    <a:gd name="connsiteX3" fmla="*/ 26785 w 41361"/>
                    <a:gd name="connsiteY3" fmla="*/ 30186 h 48974"/>
                    <a:gd name="connsiteX4" fmla="*/ 20876 w 41361"/>
                    <a:gd name="connsiteY4" fmla="*/ 8257 h 48974"/>
                    <a:gd name="connsiteX5" fmla="*/ 25503 w 41361"/>
                    <a:gd name="connsiteY5" fmla="*/ 229 h 48974"/>
                    <a:gd name="connsiteX6" fmla="*/ 33531 w 41361"/>
                    <a:gd name="connsiteY6" fmla="*/ 4856 h 48974"/>
                    <a:gd name="connsiteX7" fmla="*/ 41132 w 41361"/>
                    <a:gd name="connsiteY7" fmla="*/ 33104 h 48974"/>
                    <a:gd name="connsiteX8" fmla="*/ 36505 w 41361"/>
                    <a:gd name="connsiteY8" fmla="*/ 41132 h 48974"/>
                    <a:gd name="connsiteX9" fmla="*/ 8257 w 41361"/>
                    <a:gd name="connsiteY9" fmla="*/ 48751 h 48974"/>
                    <a:gd name="connsiteX10" fmla="*/ 6548 w 41361"/>
                    <a:gd name="connsiteY10" fmla="*/ 48974 h 4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361" h="48974">
                      <a:moveTo>
                        <a:pt x="6548" y="48974"/>
                      </a:moveTo>
                      <a:cubicBezTo>
                        <a:pt x="3667" y="48974"/>
                        <a:pt x="1010" y="47042"/>
                        <a:pt x="229" y="44124"/>
                      </a:cubicBezTo>
                      <a:cubicBezTo>
                        <a:pt x="-719" y="40630"/>
                        <a:pt x="1363" y="37025"/>
                        <a:pt x="4856" y="36096"/>
                      </a:cubicBezTo>
                      <a:lnTo>
                        <a:pt x="26785" y="30186"/>
                      </a:lnTo>
                      <a:lnTo>
                        <a:pt x="20876" y="8257"/>
                      </a:lnTo>
                      <a:cubicBezTo>
                        <a:pt x="19928" y="4763"/>
                        <a:pt x="22009" y="1158"/>
                        <a:pt x="25503" y="229"/>
                      </a:cubicBezTo>
                      <a:cubicBezTo>
                        <a:pt x="28997" y="-719"/>
                        <a:pt x="32602" y="1363"/>
                        <a:pt x="33531" y="4856"/>
                      </a:cubicBezTo>
                      <a:lnTo>
                        <a:pt x="41132" y="33104"/>
                      </a:lnTo>
                      <a:cubicBezTo>
                        <a:pt x="42080" y="36598"/>
                        <a:pt x="39998" y="40203"/>
                        <a:pt x="36505" y="41132"/>
                      </a:cubicBezTo>
                      <a:lnTo>
                        <a:pt x="8257" y="48751"/>
                      </a:lnTo>
                      <a:cubicBezTo>
                        <a:pt x="7681" y="48900"/>
                        <a:pt x="7124" y="48974"/>
                        <a:pt x="6548" y="48974"/>
                      </a:cubicBezTo>
                      <a:close/>
                    </a:path>
                  </a:pathLst>
                </a:custGeom>
                <a:solidFill>
                  <a:schemeClr val="accent1"/>
                </a:solidFill>
                <a:ln w="1858" cap="flat">
                  <a:noFill/>
                  <a:prstDash val="solid"/>
                  <a:miter/>
                </a:ln>
              </p:spPr>
              <p:txBody>
                <a:bodyPr rtlCol="0" anchor="ctr"/>
                <a:lstStyle/>
                <a:p>
                  <a:endParaRPr lang="en-GB" dirty="0"/>
                </a:p>
              </p:txBody>
            </p:sp>
            <p:sp>
              <p:nvSpPr>
                <p:cNvPr id="104" name="Freihandform: Form 301">
                  <a:extLst>
                    <a:ext uri="{FF2B5EF4-FFF2-40B4-BE49-F238E27FC236}">
                      <a16:creationId xmlns:a16="http://schemas.microsoft.com/office/drawing/2014/main" id="{4CCFA5D3-05D2-4C1F-9ABB-15C0B73094D5}"/>
                    </a:ext>
                  </a:extLst>
                </p:cNvPr>
                <p:cNvSpPr/>
                <p:nvPr/>
              </p:nvSpPr>
              <p:spPr>
                <a:xfrm>
                  <a:off x="3575760" y="3494715"/>
                  <a:ext cx="201432" cy="85143"/>
                </a:xfrm>
                <a:custGeom>
                  <a:avLst/>
                  <a:gdLst>
                    <a:gd name="connsiteX0" fmla="*/ 6560 w 201432"/>
                    <a:gd name="connsiteY0" fmla="*/ 85144 h 85143"/>
                    <a:gd name="connsiteX1" fmla="*/ 1542 w 201432"/>
                    <a:gd name="connsiteY1" fmla="*/ 82821 h 85143"/>
                    <a:gd name="connsiteX2" fmla="*/ 2323 w 201432"/>
                    <a:gd name="connsiteY2" fmla="*/ 73585 h 85143"/>
                    <a:gd name="connsiteX3" fmla="*/ 33339 w 201432"/>
                    <a:gd name="connsiteY3" fmla="*/ 47419 h 85143"/>
                    <a:gd name="connsiteX4" fmla="*/ 38951 w 201432"/>
                    <a:gd name="connsiteY4" fmla="*/ 46025 h 85143"/>
                    <a:gd name="connsiteX5" fmla="*/ 93811 w 201432"/>
                    <a:gd name="connsiteY5" fmla="*/ 57956 h 85143"/>
                    <a:gd name="connsiteX6" fmla="*/ 150956 w 201432"/>
                    <a:gd name="connsiteY6" fmla="*/ 1870 h 85143"/>
                    <a:gd name="connsiteX7" fmla="*/ 159189 w 201432"/>
                    <a:gd name="connsiteY7" fmla="*/ 1089 h 85143"/>
                    <a:gd name="connsiteX8" fmla="*/ 198512 w 201432"/>
                    <a:gd name="connsiteY8" fmla="*/ 27311 h 85143"/>
                    <a:gd name="connsiteX9" fmla="*/ 200333 w 201432"/>
                    <a:gd name="connsiteY9" fmla="*/ 36399 h 85143"/>
                    <a:gd name="connsiteX10" fmla="*/ 191246 w 201432"/>
                    <a:gd name="connsiteY10" fmla="*/ 38220 h 85143"/>
                    <a:gd name="connsiteX11" fmla="*/ 156345 w 201432"/>
                    <a:gd name="connsiteY11" fmla="*/ 14953 h 85143"/>
                    <a:gd name="connsiteX12" fmla="*/ 100482 w 201432"/>
                    <a:gd name="connsiteY12" fmla="*/ 69794 h 85143"/>
                    <a:gd name="connsiteX13" fmla="*/ 94498 w 201432"/>
                    <a:gd name="connsiteY13" fmla="*/ 71522 h 85143"/>
                    <a:gd name="connsiteX14" fmla="*/ 39341 w 201432"/>
                    <a:gd name="connsiteY14" fmla="*/ 59535 h 85143"/>
                    <a:gd name="connsiteX15" fmla="*/ 10797 w 201432"/>
                    <a:gd name="connsiteY15" fmla="*/ 83620 h 85143"/>
                    <a:gd name="connsiteX16" fmla="*/ 6560 w 201432"/>
                    <a:gd name="connsiteY16" fmla="*/ 85144 h 8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1432" h="85143">
                      <a:moveTo>
                        <a:pt x="6560" y="85144"/>
                      </a:moveTo>
                      <a:cubicBezTo>
                        <a:pt x="4683" y="85144"/>
                        <a:pt x="2843" y="84345"/>
                        <a:pt x="1542" y="82821"/>
                      </a:cubicBezTo>
                      <a:cubicBezTo>
                        <a:pt x="-781" y="80052"/>
                        <a:pt x="-446" y="75926"/>
                        <a:pt x="2323" y="73585"/>
                      </a:cubicBezTo>
                      <a:lnTo>
                        <a:pt x="33339" y="47419"/>
                      </a:lnTo>
                      <a:cubicBezTo>
                        <a:pt x="34881" y="46118"/>
                        <a:pt x="36944" y="45616"/>
                        <a:pt x="38951" y="46025"/>
                      </a:cubicBezTo>
                      <a:lnTo>
                        <a:pt x="93811" y="57956"/>
                      </a:lnTo>
                      <a:lnTo>
                        <a:pt x="150956" y="1870"/>
                      </a:lnTo>
                      <a:cubicBezTo>
                        <a:pt x="153167" y="-286"/>
                        <a:pt x="156605" y="-620"/>
                        <a:pt x="159189" y="1089"/>
                      </a:cubicBezTo>
                      <a:lnTo>
                        <a:pt x="198512" y="27311"/>
                      </a:lnTo>
                      <a:cubicBezTo>
                        <a:pt x="201522" y="29318"/>
                        <a:pt x="202340" y="33388"/>
                        <a:pt x="200333" y="36399"/>
                      </a:cubicBezTo>
                      <a:cubicBezTo>
                        <a:pt x="198326" y="39409"/>
                        <a:pt x="194256" y="40208"/>
                        <a:pt x="191246" y="38220"/>
                      </a:cubicBezTo>
                      <a:lnTo>
                        <a:pt x="156345" y="14953"/>
                      </a:lnTo>
                      <a:lnTo>
                        <a:pt x="100482" y="69794"/>
                      </a:lnTo>
                      <a:cubicBezTo>
                        <a:pt x="98921" y="71336"/>
                        <a:pt x="96691" y="71968"/>
                        <a:pt x="94498" y="71522"/>
                      </a:cubicBezTo>
                      <a:lnTo>
                        <a:pt x="39341" y="59535"/>
                      </a:lnTo>
                      <a:lnTo>
                        <a:pt x="10797" y="83620"/>
                      </a:lnTo>
                      <a:cubicBezTo>
                        <a:pt x="9552" y="84642"/>
                        <a:pt x="8046" y="85144"/>
                        <a:pt x="6560" y="85144"/>
                      </a:cubicBezTo>
                      <a:close/>
                    </a:path>
                  </a:pathLst>
                </a:custGeom>
                <a:solidFill>
                  <a:schemeClr val="accent1"/>
                </a:solidFill>
                <a:ln w="1858" cap="flat">
                  <a:noFill/>
                  <a:prstDash val="solid"/>
                  <a:miter/>
                </a:ln>
              </p:spPr>
              <p:txBody>
                <a:bodyPr rtlCol="0" anchor="ctr"/>
                <a:lstStyle/>
                <a:p>
                  <a:endParaRPr lang="en-GB" dirty="0"/>
                </a:p>
              </p:txBody>
            </p:sp>
          </p:grpSp>
          <p:sp>
            <p:nvSpPr>
              <p:cNvPr id="97" name="Freihandform: Form 302">
                <a:extLst>
                  <a:ext uri="{FF2B5EF4-FFF2-40B4-BE49-F238E27FC236}">
                    <a16:creationId xmlns:a16="http://schemas.microsoft.com/office/drawing/2014/main" id="{C0120EFF-88C5-42CB-B073-2A984DFAF0F1}"/>
                  </a:ext>
                </a:extLst>
              </p:cNvPr>
              <p:cNvSpPr/>
              <p:nvPr/>
            </p:nvSpPr>
            <p:spPr>
              <a:xfrm>
                <a:off x="3397039" y="3448825"/>
                <a:ext cx="39323" cy="39323"/>
              </a:xfrm>
              <a:custGeom>
                <a:avLst/>
                <a:gdLst>
                  <a:gd name="connsiteX0" fmla="*/ 32782 w 39323"/>
                  <a:gd name="connsiteY0" fmla="*/ 39323 h 39323"/>
                  <a:gd name="connsiteX1" fmla="*/ 6560 w 39323"/>
                  <a:gd name="connsiteY1" fmla="*/ 39323 h 39323"/>
                  <a:gd name="connsiteX2" fmla="*/ 0 w 39323"/>
                  <a:gd name="connsiteY2" fmla="*/ 32763 h 39323"/>
                  <a:gd name="connsiteX3" fmla="*/ 0 w 39323"/>
                  <a:gd name="connsiteY3" fmla="*/ 19662 h 39323"/>
                  <a:gd name="connsiteX4" fmla="*/ 19662 w 39323"/>
                  <a:gd name="connsiteY4" fmla="*/ 0 h 39323"/>
                  <a:gd name="connsiteX5" fmla="*/ 39323 w 39323"/>
                  <a:gd name="connsiteY5" fmla="*/ 19662 h 39323"/>
                  <a:gd name="connsiteX6" fmla="*/ 39323 w 39323"/>
                  <a:gd name="connsiteY6" fmla="*/ 32763 h 39323"/>
                  <a:gd name="connsiteX7" fmla="*/ 32782 w 39323"/>
                  <a:gd name="connsiteY7" fmla="*/ 39323 h 39323"/>
                  <a:gd name="connsiteX8" fmla="*/ 13102 w 39323"/>
                  <a:gd name="connsiteY8" fmla="*/ 26222 h 39323"/>
                  <a:gd name="connsiteX9" fmla="*/ 26203 w 39323"/>
                  <a:gd name="connsiteY9" fmla="*/ 26222 h 39323"/>
                  <a:gd name="connsiteX10" fmla="*/ 26203 w 39323"/>
                  <a:gd name="connsiteY10" fmla="*/ 19662 h 39323"/>
                  <a:gd name="connsiteX11" fmla="*/ 19643 w 39323"/>
                  <a:gd name="connsiteY11" fmla="*/ 13102 h 39323"/>
                  <a:gd name="connsiteX12" fmla="*/ 13083 w 39323"/>
                  <a:gd name="connsiteY12" fmla="*/ 19662 h 39323"/>
                  <a:gd name="connsiteX13" fmla="*/ 13083 w 39323"/>
                  <a:gd name="connsiteY13" fmla="*/ 26222 h 3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23" h="39323">
                    <a:moveTo>
                      <a:pt x="32782" y="39323"/>
                    </a:moveTo>
                    <a:lnTo>
                      <a:pt x="6560" y="39323"/>
                    </a:lnTo>
                    <a:cubicBezTo>
                      <a:pt x="2936" y="39323"/>
                      <a:pt x="0" y="36387"/>
                      <a:pt x="0" y="32763"/>
                    </a:cubicBezTo>
                    <a:lnTo>
                      <a:pt x="0" y="19662"/>
                    </a:lnTo>
                    <a:cubicBezTo>
                      <a:pt x="0" y="8827"/>
                      <a:pt x="8827" y="0"/>
                      <a:pt x="19662" y="0"/>
                    </a:cubicBezTo>
                    <a:cubicBezTo>
                      <a:pt x="30496" y="0"/>
                      <a:pt x="39323" y="8827"/>
                      <a:pt x="39323" y="19662"/>
                    </a:cubicBezTo>
                    <a:lnTo>
                      <a:pt x="39323" y="32763"/>
                    </a:lnTo>
                    <a:cubicBezTo>
                      <a:pt x="39323" y="36406"/>
                      <a:pt x="36387" y="39323"/>
                      <a:pt x="32782" y="39323"/>
                    </a:cubicBezTo>
                    <a:close/>
                    <a:moveTo>
                      <a:pt x="13102" y="26222"/>
                    </a:moveTo>
                    <a:lnTo>
                      <a:pt x="26203" y="26222"/>
                    </a:lnTo>
                    <a:lnTo>
                      <a:pt x="26203" y="19662"/>
                    </a:lnTo>
                    <a:cubicBezTo>
                      <a:pt x="26203" y="16038"/>
                      <a:pt x="23267" y="13102"/>
                      <a:pt x="19643" y="13102"/>
                    </a:cubicBezTo>
                    <a:cubicBezTo>
                      <a:pt x="16019" y="13102"/>
                      <a:pt x="13083" y="16038"/>
                      <a:pt x="13083" y="19662"/>
                    </a:cubicBezTo>
                    <a:lnTo>
                      <a:pt x="13083" y="26222"/>
                    </a:lnTo>
                    <a:close/>
                  </a:path>
                </a:pathLst>
              </a:custGeom>
              <a:solidFill>
                <a:schemeClr val="accent1"/>
              </a:solidFill>
              <a:ln w="1858" cap="flat">
                <a:noFill/>
                <a:prstDash val="solid"/>
                <a:miter/>
              </a:ln>
            </p:spPr>
            <p:txBody>
              <a:bodyPr rtlCol="0" anchor="ctr"/>
              <a:lstStyle/>
              <a:p>
                <a:endParaRPr lang="en-GB" dirty="0"/>
              </a:p>
            </p:txBody>
          </p:sp>
          <p:sp>
            <p:nvSpPr>
              <p:cNvPr id="98" name="Freihandform: Form 303">
                <a:extLst>
                  <a:ext uri="{FF2B5EF4-FFF2-40B4-BE49-F238E27FC236}">
                    <a16:creationId xmlns:a16="http://schemas.microsoft.com/office/drawing/2014/main" id="{EB400F11-5242-466B-B9BD-D39642F68BF3}"/>
                  </a:ext>
                </a:extLst>
              </p:cNvPr>
              <p:cNvSpPr/>
              <p:nvPr/>
            </p:nvSpPr>
            <p:spPr>
              <a:xfrm>
                <a:off x="3456024" y="3422603"/>
                <a:ext cx="39323" cy="65545"/>
              </a:xfrm>
              <a:custGeom>
                <a:avLst/>
                <a:gdLst>
                  <a:gd name="connsiteX0" fmla="*/ 32782 w 39323"/>
                  <a:gd name="connsiteY0" fmla="*/ 65545 h 65545"/>
                  <a:gd name="connsiteX1" fmla="*/ 6560 w 39323"/>
                  <a:gd name="connsiteY1" fmla="*/ 65545 h 65545"/>
                  <a:gd name="connsiteX2" fmla="*/ 0 w 39323"/>
                  <a:gd name="connsiteY2" fmla="*/ 58985 h 65545"/>
                  <a:gd name="connsiteX3" fmla="*/ 0 w 39323"/>
                  <a:gd name="connsiteY3" fmla="*/ 19662 h 65545"/>
                  <a:gd name="connsiteX4" fmla="*/ 19662 w 39323"/>
                  <a:gd name="connsiteY4" fmla="*/ 0 h 65545"/>
                  <a:gd name="connsiteX5" fmla="*/ 39323 w 39323"/>
                  <a:gd name="connsiteY5" fmla="*/ 19662 h 65545"/>
                  <a:gd name="connsiteX6" fmla="*/ 39323 w 39323"/>
                  <a:gd name="connsiteY6" fmla="*/ 58985 h 65545"/>
                  <a:gd name="connsiteX7" fmla="*/ 32782 w 39323"/>
                  <a:gd name="connsiteY7" fmla="*/ 65545 h 65545"/>
                  <a:gd name="connsiteX8" fmla="*/ 13120 w 39323"/>
                  <a:gd name="connsiteY8" fmla="*/ 52444 h 65545"/>
                  <a:gd name="connsiteX9" fmla="*/ 26222 w 39323"/>
                  <a:gd name="connsiteY9" fmla="*/ 52444 h 65545"/>
                  <a:gd name="connsiteX10" fmla="*/ 26222 w 39323"/>
                  <a:gd name="connsiteY10" fmla="*/ 19680 h 65545"/>
                  <a:gd name="connsiteX11" fmla="*/ 19662 w 39323"/>
                  <a:gd name="connsiteY11" fmla="*/ 13120 h 65545"/>
                  <a:gd name="connsiteX12" fmla="*/ 13102 w 39323"/>
                  <a:gd name="connsiteY12" fmla="*/ 19680 h 65545"/>
                  <a:gd name="connsiteX13" fmla="*/ 13102 w 39323"/>
                  <a:gd name="connsiteY13" fmla="*/ 52444 h 65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23" h="65545">
                    <a:moveTo>
                      <a:pt x="32782" y="65545"/>
                    </a:moveTo>
                    <a:lnTo>
                      <a:pt x="6560" y="65545"/>
                    </a:lnTo>
                    <a:cubicBezTo>
                      <a:pt x="2936" y="65545"/>
                      <a:pt x="0" y="62609"/>
                      <a:pt x="0" y="58985"/>
                    </a:cubicBezTo>
                    <a:lnTo>
                      <a:pt x="0" y="19662"/>
                    </a:lnTo>
                    <a:cubicBezTo>
                      <a:pt x="0" y="8827"/>
                      <a:pt x="8827" y="0"/>
                      <a:pt x="19662" y="0"/>
                    </a:cubicBezTo>
                    <a:cubicBezTo>
                      <a:pt x="30496" y="0"/>
                      <a:pt x="39323" y="8827"/>
                      <a:pt x="39323" y="19662"/>
                    </a:cubicBezTo>
                    <a:lnTo>
                      <a:pt x="39323" y="58985"/>
                    </a:lnTo>
                    <a:cubicBezTo>
                      <a:pt x="39323" y="62627"/>
                      <a:pt x="36406" y="65545"/>
                      <a:pt x="32782" y="65545"/>
                    </a:cubicBezTo>
                    <a:close/>
                    <a:moveTo>
                      <a:pt x="13120" y="52444"/>
                    </a:moveTo>
                    <a:lnTo>
                      <a:pt x="26222" y="52444"/>
                    </a:lnTo>
                    <a:lnTo>
                      <a:pt x="26222" y="19680"/>
                    </a:lnTo>
                    <a:cubicBezTo>
                      <a:pt x="26222" y="16056"/>
                      <a:pt x="23286" y="13120"/>
                      <a:pt x="19662" y="13120"/>
                    </a:cubicBezTo>
                    <a:cubicBezTo>
                      <a:pt x="16038" y="13120"/>
                      <a:pt x="13102" y="16056"/>
                      <a:pt x="13102" y="19680"/>
                    </a:cubicBezTo>
                    <a:lnTo>
                      <a:pt x="13102" y="52444"/>
                    </a:lnTo>
                    <a:close/>
                  </a:path>
                </a:pathLst>
              </a:custGeom>
              <a:solidFill>
                <a:schemeClr val="accent1"/>
              </a:solidFill>
              <a:ln w="1858" cap="flat">
                <a:noFill/>
                <a:prstDash val="solid"/>
                <a:miter/>
              </a:ln>
            </p:spPr>
            <p:txBody>
              <a:bodyPr rtlCol="0" anchor="ctr"/>
              <a:lstStyle/>
              <a:p>
                <a:endParaRPr lang="en-GB" dirty="0"/>
              </a:p>
            </p:txBody>
          </p:sp>
          <p:sp>
            <p:nvSpPr>
              <p:cNvPr id="99" name="Freihandform: Form 304">
                <a:extLst>
                  <a:ext uri="{FF2B5EF4-FFF2-40B4-BE49-F238E27FC236}">
                    <a16:creationId xmlns:a16="http://schemas.microsoft.com/office/drawing/2014/main" id="{622F0FEB-4713-4C68-BDBB-E071D37DD22B}"/>
                  </a:ext>
                </a:extLst>
              </p:cNvPr>
              <p:cNvSpPr/>
              <p:nvPr/>
            </p:nvSpPr>
            <p:spPr>
              <a:xfrm>
                <a:off x="3515009" y="3448825"/>
                <a:ext cx="39323" cy="39323"/>
              </a:xfrm>
              <a:custGeom>
                <a:avLst/>
                <a:gdLst>
                  <a:gd name="connsiteX0" fmla="*/ 32782 w 39323"/>
                  <a:gd name="connsiteY0" fmla="*/ 39323 h 39323"/>
                  <a:gd name="connsiteX1" fmla="*/ 6560 w 39323"/>
                  <a:gd name="connsiteY1" fmla="*/ 39323 h 39323"/>
                  <a:gd name="connsiteX2" fmla="*/ 0 w 39323"/>
                  <a:gd name="connsiteY2" fmla="*/ 32763 h 39323"/>
                  <a:gd name="connsiteX3" fmla="*/ 0 w 39323"/>
                  <a:gd name="connsiteY3" fmla="*/ 19662 h 39323"/>
                  <a:gd name="connsiteX4" fmla="*/ 19662 w 39323"/>
                  <a:gd name="connsiteY4" fmla="*/ 0 h 39323"/>
                  <a:gd name="connsiteX5" fmla="*/ 39323 w 39323"/>
                  <a:gd name="connsiteY5" fmla="*/ 19662 h 39323"/>
                  <a:gd name="connsiteX6" fmla="*/ 39323 w 39323"/>
                  <a:gd name="connsiteY6" fmla="*/ 32763 h 39323"/>
                  <a:gd name="connsiteX7" fmla="*/ 32782 w 39323"/>
                  <a:gd name="connsiteY7" fmla="*/ 39323 h 39323"/>
                  <a:gd name="connsiteX8" fmla="*/ 13120 w 39323"/>
                  <a:gd name="connsiteY8" fmla="*/ 26222 h 39323"/>
                  <a:gd name="connsiteX9" fmla="*/ 26222 w 39323"/>
                  <a:gd name="connsiteY9" fmla="*/ 26222 h 39323"/>
                  <a:gd name="connsiteX10" fmla="*/ 26222 w 39323"/>
                  <a:gd name="connsiteY10" fmla="*/ 19662 h 39323"/>
                  <a:gd name="connsiteX11" fmla="*/ 19662 w 39323"/>
                  <a:gd name="connsiteY11" fmla="*/ 13102 h 39323"/>
                  <a:gd name="connsiteX12" fmla="*/ 13102 w 39323"/>
                  <a:gd name="connsiteY12" fmla="*/ 19662 h 39323"/>
                  <a:gd name="connsiteX13" fmla="*/ 13102 w 39323"/>
                  <a:gd name="connsiteY13" fmla="*/ 26222 h 3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23" h="39323">
                    <a:moveTo>
                      <a:pt x="32782" y="39323"/>
                    </a:moveTo>
                    <a:lnTo>
                      <a:pt x="6560" y="39323"/>
                    </a:lnTo>
                    <a:cubicBezTo>
                      <a:pt x="2936" y="39323"/>
                      <a:pt x="0" y="36387"/>
                      <a:pt x="0" y="32763"/>
                    </a:cubicBezTo>
                    <a:lnTo>
                      <a:pt x="0" y="19662"/>
                    </a:lnTo>
                    <a:cubicBezTo>
                      <a:pt x="0" y="8827"/>
                      <a:pt x="8827" y="0"/>
                      <a:pt x="19662" y="0"/>
                    </a:cubicBezTo>
                    <a:cubicBezTo>
                      <a:pt x="30496" y="0"/>
                      <a:pt x="39323" y="8827"/>
                      <a:pt x="39323" y="19662"/>
                    </a:cubicBezTo>
                    <a:lnTo>
                      <a:pt x="39323" y="32763"/>
                    </a:lnTo>
                    <a:cubicBezTo>
                      <a:pt x="39342" y="36406"/>
                      <a:pt x="36406" y="39323"/>
                      <a:pt x="32782" y="39323"/>
                    </a:cubicBezTo>
                    <a:close/>
                    <a:moveTo>
                      <a:pt x="13120" y="26222"/>
                    </a:moveTo>
                    <a:lnTo>
                      <a:pt x="26222" y="26222"/>
                    </a:lnTo>
                    <a:lnTo>
                      <a:pt x="26222" y="19662"/>
                    </a:lnTo>
                    <a:cubicBezTo>
                      <a:pt x="26222" y="16038"/>
                      <a:pt x="23286" y="13102"/>
                      <a:pt x="19662" y="13102"/>
                    </a:cubicBezTo>
                    <a:cubicBezTo>
                      <a:pt x="16038" y="13102"/>
                      <a:pt x="13102" y="16038"/>
                      <a:pt x="13102" y="19662"/>
                    </a:cubicBezTo>
                    <a:lnTo>
                      <a:pt x="13102" y="26222"/>
                    </a:lnTo>
                    <a:close/>
                  </a:path>
                </a:pathLst>
              </a:custGeom>
              <a:solidFill>
                <a:schemeClr val="accent1"/>
              </a:solidFill>
              <a:ln w="1858" cap="flat">
                <a:noFill/>
                <a:prstDash val="solid"/>
                <a:miter/>
              </a:ln>
            </p:spPr>
            <p:txBody>
              <a:bodyPr rtlCol="0" anchor="ctr"/>
              <a:lstStyle/>
              <a:p>
                <a:endParaRPr lang="en-GB" dirty="0"/>
              </a:p>
            </p:txBody>
          </p:sp>
          <p:sp>
            <p:nvSpPr>
              <p:cNvPr id="100" name="Freihandform: Form 305">
                <a:extLst>
                  <a:ext uri="{FF2B5EF4-FFF2-40B4-BE49-F238E27FC236}">
                    <a16:creationId xmlns:a16="http://schemas.microsoft.com/office/drawing/2014/main" id="{5CCF9DE4-92EC-4A0D-98D3-17A2274A685B}"/>
                  </a:ext>
                </a:extLst>
              </p:cNvPr>
              <p:cNvSpPr/>
              <p:nvPr/>
            </p:nvSpPr>
            <p:spPr>
              <a:xfrm>
                <a:off x="3711625" y="3566813"/>
                <a:ext cx="39323" cy="39323"/>
              </a:xfrm>
              <a:custGeom>
                <a:avLst/>
                <a:gdLst>
                  <a:gd name="connsiteX0" fmla="*/ 32782 w 39323"/>
                  <a:gd name="connsiteY0" fmla="*/ 39323 h 39323"/>
                  <a:gd name="connsiteX1" fmla="*/ 6560 w 39323"/>
                  <a:gd name="connsiteY1" fmla="*/ 39323 h 39323"/>
                  <a:gd name="connsiteX2" fmla="*/ 0 w 39323"/>
                  <a:gd name="connsiteY2" fmla="*/ 32763 h 39323"/>
                  <a:gd name="connsiteX3" fmla="*/ 0 w 39323"/>
                  <a:gd name="connsiteY3" fmla="*/ 19662 h 39323"/>
                  <a:gd name="connsiteX4" fmla="*/ 19662 w 39323"/>
                  <a:gd name="connsiteY4" fmla="*/ 0 h 39323"/>
                  <a:gd name="connsiteX5" fmla="*/ 39323 w 39323"/>
                  <a:gd name="connsiteY5" fmla="*/ 19662 h 39323"/>
                  <a:gd name="connsiteX6" fmla="*/ 39323 w 39323"/>
                  <a:gd name="connsiteY6" fmla="*/ 32763 h 39323"/>
                  <a:gd name="connsiteX7" fmla="*/ 32782 w 39323"/>
                  <a:gd name="connsiteY7" fmla="*/ 39323 h 39323"/>
                  <a:gd name="connsiteX8" fmla="*/ 13120 w 39323"/>
                  <a:gd name="connsiteY8" fmla="*/ 26203 h 39323"/>
                  <a:gd name="connsiteX9" fmla="*/ 26222 w 39323"/>
                  <a:gd name="connsiteY9" fmla="*/ 26203 h 39323"/>
                  <a:gd name="connsiteX10" fmla="*/ 26222 w 39323"/>
                  <a:gd name="connsiteY10" fmla="*/ 19643 h 39323"/>
                  <a:gd name="connsiteX11" fmla="*/ 19662 w 39323"/>
                  <a:gd name="connsiteY11" fmla="*/ 13083 h 39323"/>
                  <a:gd name="connsiteX12" fmla="*/ 13102 w 39323"/>
                  <a:gd name="connsiteY12" fmla="*/ 19643 h 39323"/>
                  <a:gd name="connsiteX13" fmla="*/ 13102 w 39323"/>
                  <a:gd name="connsiteY13" fmla="*/ 26203 h 39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323" h="39323">
                    <a:moveTo>
                      <a:pt x="32782" y="39323"/>
                    </a:moveTo>
                    <a:lnTo>
                      <a:pt x="6560" y="39323"/>
                    </a:lnTo>
                    <a:cubicBezTo>
                      <a:pt x="2936" y="39323"/>
                      <a:pt x="0" y="36387"/>
                      <a:pt x="0" y="32763"/>
                    </a:cubicBezTo>
                    <a:lnTo>
                      <a:pt x="0" y="19662"/>
                    </a:lnTo>
                    <a:cubicBezTo>
                      <a:pt x="0" y="8827"/>
                      <a:pt x="8827" y="0"/>
                      <a:pt x="19662" y="0"/>
                    </a:cubicBezTo>
                    <a:cubicBezTo>
                      <a:pt x="30496" y="0"/>
                      <a:pt x="39323" y="8827"/>
                      <a:pt x="39323" y="19662"/>
                    </a:cubicBezTo>
                    <a:lnTo>
                      <a:pt x="39323" y="32763"/>
                    </a:lnTo>
                    <a:cubicBezTo>
                      <a:pt x="39342" y="36387"/>
                      <a:pt x="36406" y="39323"/>
                      <a:pt x="32782" y="39323"/>
                    </a:cubicBezTo>
                    <a:close/>
                    <a:moveTo>
                      <a:pt x="13120" y="26203"/>
                    </a:moveTo>
                    <a:lnTo>
                      <a:pt x="26222" y="26203"/>
                    </a:lnTo>
                    <a:lnTo>
                      <a:pt x="26222" y="19643"/>
                    </a:lnTo>
                    <a:cubicBezTo>
                      <a:pt x="26222" y="16019"/>
                      <a:pt x="23286" y="13083"/>
                      <a:pt x="19662" y="13083"/>
                    </a:cubicBezTo>
                    <a:cubicBezTo>
                      <a:pt x="16038" y="13083"/>
                      <a:pt x="13102" y="16019"/>
                      <a:pt x="13102" y="19643"/>
                    </a:cubicBezTo>
                    <a:lnTo>
                      <a:pt x="13102" y="26203"/>
                    </a:lnTo>
                    <a:close/>
                  </a:path>
                </a:pathLst>
              </a:custGeom>
              <a:solidFill>
                <a:schemeClr val="accent1"/>
              </a:solidFill>
              <a:ln w="1858" cap="flat">
                <a:noFill/>
                <a:prstDash val="solid"/>
                <a:miter/>
              </a:ln>
            </p:spPr>
            <p:txBody>
              <a:bodyPr rtlCol="0" anchor="ctr"/>
              <a:lstStyle/>
              <a:p>
                <a:endParaRPr lang="en-GB" dirty="0"/>
              </a:p>
            </p:txBody>
          </p:sp>
          <p:sp>
            <p:nvSpPr>
              <p:cNvPr id="101" name="Freihandform: Form 306">
                <a:extLst>
                  <a:ext uri="{FF2B5EF4-FFF2-40B4-BE49-F238E27FC236}">
                    <a16:creationId xmlns:a16="http://schemas.microsoft.com/office/drawing/2014/main" id="{CDFCA01D-D523-4E1C-A122-153B513F5AFA}"/>
                  </a:ext>
                </a:extLst>
              </p:cNvPr>
              <p:cNvSpPr/>
              <p:nvPr/>
            </p:nvSpPr>
            <p:spPr>
              <a:xfrm>
                <a:off x="3593656" y="3593017"/>
                <a:ext cx="39341" cy="13120"/>
              </a:xfrm>
              <a:custGeom>
                <a:avLst/>
                <a:gdLst>
                  <a:gd name="connsiteX0" fmla="*/ 32782 w 39341"/>
                  <a:gd name="connsiteY0" fmla="*/ 13120 h 13120"/>
                  <a:gd name="connsiteX1" fmla="*/ 6560 w 39341"/>
                  <a:gd name="connsiteY1" fmla="*/ 13120 h 13120"/>
                  <a:gd name="connsiteX2" fmla="*/ 0 w 39341"/>
                  <a:gd name="connsiteY2" fmla="*/ 6560 h 13120"/>
                  <a:gd name="connsiteX3" fmla="*/ 6560 w 39341"/>
                  <a:gd name="connsiteY3" fmla="*/ 0 h 13120"/>
                  <a:gd name="connsiteX4" fmla="*/ 32782 w 39341"/>
                  <a:gd name="connsiteY4" fmla="*/ 0 h 13120"/>
                  <a:gd name="connsiteX5" fmla="*/ 39342 w 39341"/>
                  <a:gd name="connsiteY5" fmla="*/ 6560 h 13120"/>
                  <a:gd name="connsiteX6" fmla="*/ 32782 w 39341"/>
                  <a:gd name="connsiteY6" fmla="*/ 13120 h 1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1" h="13120">
                    <a:moveTo>
                      <a:pt x="32782" y="13120"/>
                    </a:moveTo>
                    <a:lnTo>
                      <a:pt x="6560" y="13120"/>
                    </a:lnTo>
                    <a:cubicBezTo>
                      <a:pt x="2936" y="13120"/>
                      <a:pt x="0" y="10184"/>
                      <a:pt x="0" y="6560"/>
                    </a:cubicBezTo>
                    <a:cubicBezTo>
                      <a:pt x="0" y="2936"/>
                      <a:pt x="2936" y="0"/>
                      <a:pt x="6560" y="0"/>
                    </a:cubicBezTo>
                    <a:lnTo>
                      <a:pt x="32782" y="0"/>
                    </a:lnTo>
                    <a:cubicBezTo>
                      <a:pt x="36406" y="0"/>
                      <a:pt x="39342" y="2936"/>
                      <a:pt x="39342" y="6560"/>
                    </a:cubicBezTo>
                    <a:cubicBezTo>
                      <a:pt x="39342" y="10184"/>
                      <a:pt x="36406" y="13120"/>
                      <a:pt x="32782" y="13120"/>
                    </a:cubicBezTo>
                    <a:close/>
                  </a:path>
                </a:pathLst>
              </a:custGeom>
              <a:solidFill>
                <a:schemeClr val="accent1"/>
              </a:solidFill>
              <a:ln w="1858" cap="flat">
                <a:noFill/>
                <a:prstDash val="solid"/>
                <a:miter/>
              </a:ln>
            </p:spPr>
            <p:txBody>
              <a:bodyPr rtlCol="0" anchor="ctr"/>
              <a:lstStyle/>
              <a:p>
                <a:endParaRPr lang="en-GB" dirty="0"/>
              </a:p>
            </p:txBody>
          </p:sp>
          <p:sp>
            <p:nvSpPr>
              <p:cNvPr id="102" name="Freihandform: Form 307">
                <a:extLst>
                  <a:ext uri="{FF2B5EF4-FFF2-40B4-BE49-F238E27FC236}">
                    <a16:creationId xmlns:a16="http://schemas.microsoft.com/office/drawing/2014/main" id="{1366CD3B-2CD8-496D-9637-F2DC9EB5539D}"/>
                  </a:ext>
                </a:extLst>
              </p:cNvPr>
              <p:cNvSpPr/>
              <p:nvPr/>
            </p:nvSpPr>
            <p:spPr>
              <a:xfrm>
                <a:off x="3652640" y="3593017"/>
                <a:ext cx="39341" cy="13120"/>
              </a:xfrm>
              <a:custGeom>
                <a:avLst/>
                <a:gdLst>
                  <a:gd name="connsiteX0" fmla="*/ 32782 w 39341"/>
                  <a:gd name="connsiteY0" fmla="*/ 13120 h 13120"/>
                  <a:gd name="connsiteX1" fmla="*/ 6560 w 39341"/>
                  <a:gd name="connsiteY1" fmla="*/ 13120 h 13120"/>
                  <a:gd name="connsiteX2" fmla="*/ 0 w 39341"/>
                  <a:gd name="connsiteY2" fmla="*/ 6560 h 13120"/>
                  <a:gd name="connsiteX3" fmla="*/ 6560 w 39341"/>
                  <a:gd name="connsiteY3" fmla="*/ 0 h 13120"/>
                  <a:gd name="connsiteX4" fmla="*/ 32782 w 39341"/>
                  <a:gd name="connsiteY4" fmla="*/ 0 h 13120"/>
                  <a:gd name="connsiteX5" fmla="*/ 39342 w 39341"/>
                  <a:gd name="connsiteY5" fmla="*/ 6560 h 13120"/>
                  <a:gd name="connsiteX6" fmla="*/ 32782 w 39341"/>
                  <a:gd name="connsiteY6" fmla="*/ 13120 h 1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41" h="13120">
                    <a:moveTo>
                      <a:pt x="32782" y="13120"/>
                    </a:moveTo>
                    <a:lnTo>
                      <a:pt x="6560" y="13120"/>
                    </a:lnTo>
                    <a:cubicBezTo>
                      <a:pt x="2936" y="13120"/>
                      <a:pt x="0" y="10184"/>
                      <a:pt x="0" y="6560"/>
                    </a:cubicBezTo>
                    <a:cubicBezTo>
                      <a:pt x="0" y="2936"/>
                      <a:pt x="2936" y="0"/>
                      <a:pt x="6560" y="0"/>
                    </a:cubicBezTo>
                    <a:lnTo>
                      <a:pt x="32782" y="0"/>
                    </a:lnTo>
                    <a:cubicBezTo>
                      <a:pt x="36406" y="0"/>
                      <a:pt x="39342" y="2936"/>
                      <a:pt x="39342" y="6560"/>
                    </a:cubicBezTo>
                    <a:cubicBezTo>
                      <a:pt x="39342" y="10184"/>
                      <a:pt x="36406" y="13120"/>
                      <a:pt x="32782" y="13120"/>
                    </a:cubicBezTo>
                    <a:close/>
                  </a:path>
                </a:pathLst>
              </a:custGeom>
              <a:solidFill>
                <a:schemeClr val="accent1"/>
              </a:solidFill>
              <a:ln w="1858" cap="flat">
                <a:noFill/>
                <a:prstDash val="solid"/>
                <a:miter/>
              </a:ln>
            </p:spPr>
            <p:txBody>
              <a:bodyPr rtlCol="0" anchor="ctr"/>
              <a:lstStyle/>
              <a:p>
                <a:endParaRPr lang="en-GB" dirty="0"/>
              </a:p>
            </p:txBody>
          </p:sp>
        </p:grpSp>
      </p:grpSp>
      <p:grpSp>
        <p:nvGrpSpPr>
          <p:cNvPr id="353" name="Group 352">
            <a:extLst>
              <a:ext uri="{FF2B5EF4-FFF2-40B4-BE49-F238E27FC236}">
                <a16:creationId xmlns:a16="http://schemas.microsoft.com/office/drawing/2014/main" id="{CC7E9E38-4594-D107-9B80-8E32ECE3C12A}"/>
              </a:ext>
            </a:extLst>
          </p:cNvPr>
          <p:cNvGrpSpPr/>
          <p:nvPr/>
        </p:nvGrpSpPr>
        <p:grpSpPr>
          <a:xfrm>
            <a:off x="3678341" y="1585984"/>
            <a:ext cx="558022" cy="432000"/>
            <a:chOff x="3678341" y="1585984"/>
            <a:chExt cx="558022" cy="432000"/>
          </a:xfrm>
        </p:grpSpPr>
        <p:grpSp>
          <p:nvGrpSpPr>
            <p:cNvPr id="110" name="Gruppieren 1337">
              <a:extLst>
                <a:ext uri="{FF2B5EF4-FFF2-40B4-BE49-F238E27FC236}">
                  <a16:creationId xmlns:a16="http://schemas.microsoft.com/office/drawing/2014/main" id="{9CBEFAC7-DD02-46E7-B3F9-2DC1BD56C5A5}"/>
                </a:ext>
              </a:extLst>
            </p:cNvPr>
            <p:cNvGrpSpPr/>
            <p:nvPr/>
          </p:nvGrpSpPr>
          <p:grpSpPr>
            <a:xfrm>
              <a:off x="3678355" y="1648962"/>
              <a:ext cx="558008" cy="204759"/>
              <a:chOff x="885541" y="4286489"/>
              <a:chExt cx="406371" cy="149116"/>
            </a:xfrm>
          </p:grpSpPr>
          <p:sp>
            <p:nvSpPr>
              <p:cNvPr id="117" name="Freihandform: Form 101">
                <a:extLst>
                  <a:ext uri="{FF2B5EF4-FFF2-40B4-BE49-F238E27FC236}">
                    <a16:creationId xmlns:a16="http://schemas.microsoft.com/office/drawing/2014/main" id="{4F2499C0-E7F0-48B3-BD3E-7D147956F68A}"/>
                  </a:ext>
                </a:extLst>
              </p:cNvPr>
              <p:cNvSpPr/>
              <p:nvPr/>
            </p:nvSpPr>
            <p:spPr>
              <a:xfrm>
                <a:off x="885541" y="4364823"/>
                <a:ext cx="76117" cy="70782"/>
              </a:xfrm>
              <a:custGeom>
                <a:avLst/>
                <a:gdLst>
                  <a:gd name="connsiteX0" fmla="*/ 6550 w 76117"/>
                  <a:gd name="connsiteY0" fmla="*/ 70783 h 70782"/>
                  <a:gd name="connsiteX1" fmla="*/ 1718 w 76117"/>
                  <a:gd name="connsiteY1" fmla="*/ 68646 h 70782"/>
                  <a:gd name="connsiteX2" fmla="*/ 2127 w 76117"/>
                  <a:gd name="connsiteY2" fmla="*/ 59391 h 70782"/>
                  <a:gd name="connsiteX3" fmla="*/ 65145 w 76117"/>
                  <a:gd name="connsiteY3" fmla="*/ 1726 h 70782"/>
                  <a:gd name="connsiteX4" fmla="*/ 74399 w 76117"/>
                  <a:gd name="connsiteY4" fmla="*/ 2134 h 70782"/>
                  <a:gd name="connsiteX5" fmla="*/ 73991 w 76117"/>
                  <a:gd name="connsiteY5" fmla="*/ 11389 h 70782"/>
                  <a:gd name="connsiteX6" fmla="*/ 10973 w 76117"/>
                  <a:gd name="connsiteY6" fmla="*/ 69055 h 70782"/>
                  <a:gd name="connsiteX7" fmla="*/ 6550 w 76117"/>
                  <a:gd name="connsiteY7" fmla="*/ 70783 h 70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117" h="70782">
                    <a:moveTo>
                      <a:pt x="6550" y="70783"/>
                    </a:moveTo>
                    <a:cubicBezTo>
                      <a:pt x="4766" y="70783"/>
                      <a:pt x="3000" y="70058"/>
                      <a:pt x="1718" y="68646"/>
                    </a:cubicBezTo>
                    <a:cubicBezTo>
                      <a:pt x="-716" y="65970"/>
                      <a:pt x="-549" y="61826"/>
                      <a:pt x="2127" y="59391"/>
                    </a:cubicBezTo>
                    <a:lnTo>
                      <a:pt x="65145" y="1726"/>
                    </a:lnTo>
                    <a:cubicBezTo>
                      <a:pt x="67821" y="-728"/>
                      <a:pt x="71965" y="-542"/>
                      <a:pt x="74399" y="2134"/>
                    </a:cubicBezTo>
                    <a:cubicBezTo>
                      <a:pt x="76834" y="4810"/>
                      <a:pt x="76667" y="8955"/>
                      <a:pt x="73991" y="11389"/>
                    </a:cubicBezTo>
                    <a:lnTo>
                      <a:pt x="10973" y="69055"/>
                    </a:lnTo>
                    <a:cubicBezTo>
                      <a:pt x="9709" y="70207"/>
                      <a:pt x="8130" y="70783"/>
                      <a:pt x="6550" y="70783"/>
                    </a:cubicBezTo>
                    <a:close/>
                  </a:path>
                </a:pathLst>
              </a:custGeom>
              <a:solidFill>
                <a:schemeClr val="accent1"/>
              </a:solidFill>
              <a:ln w="1858" cap="flat">
                <a:noFill/>
                <a:prstDash val="solid"/>
                <a:miter/>
              </a:ln>
            </p:spPr>
            <p:txBody>
              <a:bodyPr rtlCol="0" anchor="ctr"/>
              <a:lstStyle/>
              <a:p>
                <a:endParaRPr lang="en-GB" dirty="0"/>
              </a:p>
            </p:txBody>
          </p:sp>
          <p:sp>
            <p:nvSpPr>
              <p:cNvPr id="118" name="Freihandform: Form 102">
                <a:extLst>
                  <a:ext uri="{FF2B5EF4-FFF2-40B4-BE49-F238E27FC236}">
                    <a16:creationId xmlns:a16="http://schemas.microsoft.com/office/drawing/2014/main" id="{5CFCB173-1A9E-4354-AC4C-088136FA54AC}"/>
                  </a:ext>
                </a:extLst>
              </p:cNvPr>
              <p:cNvSpPr/>
              <p:nvPr/>
            </p:nvSpPr>
            <p:spPr>
              <a:xfrm>
                <a:off x="983230" y="4361052"/>
                <a:ext cx="60965" cy="38687"/>
              </a:xfrm>
              <a:custGeom>
                <a:avLst/>
                <a:gdLst>
                  <a:gd name="connsiteX0" fmla="*/ 54409 w 60965"/>
                  <a:gd name="connsiteY0" fmla="*/ 38688 h 38687"/>
                  <a:gd name="connsiteX1" fmla="*/ 51325 w 60965"/>
                  <a:gd name="connsiteY1" fmla="*/ 37907 h 38687"/>
                  <a:gd name="connsiteX2" fmla="*/ 3471 w 60965"/>
                  <a:gd name="connsiteY2" fmla="*/ 12336 h 38687"/>
                  <a:gd name="connsiteX3" fmla="*/ 777 w 60965"/>
                  <a:gd name="connsiteY3" fmla="*/ 3471 h 38687"/>
                  <a:gd name="connsiteX4" fmla="*/ 9641 w 60965"/>
                  <a:gd name="connsiteY4" fmla="*/ 777 h 38687"/>
                  <a:gd name="connsiteX5" fmla="*/ 57494 w 60965"/>
                  <a:gd name="connsiteY5" fmla="*/ 26348 h 38687"/>
                  <a:gd name="connsiteX6" fmla="*/ 60189 w 60965"/>
                  <a:gd name="connsiteY6" fmla="*/ 35212 h 38687"/>
                  <a:gd name="connsiteX7" fmla="*/ 54409 w 60965"/>
                  <a:gd name="connsiteY7" fmla="*/ 38688 h 3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5" h="38687">
                    <a:moveTo>
                      <a:pt x="54409" y="38688"/>
                    </a:moveTo>
                    <a:cubicBezTo>
                      <a:pt x="53369" y="38688"/>
                      <a:pt x="52309" y="38446"/>
                      <a:pt x="51325" y="37907"/>
                    </a:cubicBezTo>
                    <a:lnTo>
                      <a:pt x="3471" y="12336"/>
                    </a:lnTo>
                    <a:cubicBezTo>
                      <a:pt x="275" y="10626"/>
                      <a:pt x="-933" y="6649"/>
                      <a:pt x="777" y="3471"/>
                    </a:cubicBezTo>
                    <a:cubicBezTo>
                      <a:pt x="2486" y="275"/>
                      <a:pt x="6463" y="-933"/>
                      <a:pt x="9641" y="777"/>
                    </a:cubicBezTo>
                    <a:lnTo>
                      <a:pt x="57494" y="26348"/>
                    </a:lnTo>
                    <a:cubicBezTo>
                      <a:pt x="60691" y="28058"/>
                      <a:pt x="61899" y="32016"/>
                      <a:pt x="60189" y="35212"/>
                    </a:cubicBezTo>
                    <a:cubicBezTo>
                      <a:pt x="59018" y="37442"/>
                      <a:pt x="56751" y="38688"/>
                      <a:pt x="54409" y="38688"/>
                    </a:cubicBezTo>
                    <a:close/>
                  </a:path>
                </a:pathLst>
              </a:custGeom>
              <a:solidFill>
                <a:schemeClr val="accent1"/>
              </a:solidFill>
              <a:ln w="1858" cap="flat">
                <a:noFill/>
                <a:prstDash val="solid"/>
                <a:miter/>
              </a:ln>
            </p:spPr>
            <p:txBody>
              <a:bodyPr rtlCol="0" anchor="ctr"/>
              <a:lstStyle/>
              <a:p>
                <a:endParaRPr lang="en-GB" dirty="0"/>
              </a:p>
            </p:txBody>
          </p:sp>
          <p:sp>
            <p:nvSpPr>
              <p:cNvPr id="119" name="Freihandform: Form 103">
                <a:extLst>
                  <a:ext uri="{FF2B5EF4-FFF2-40B4-BE49-F238E27FC236}">
                    <a16:creationId xmlns:a16="http://schemas.microsoft.com/office/drawing/2014/main" id="{7139201B-B001-426D-9617-DE33CBC05300}"/>
                  </a:ext>
                </a:extLst>
              </p:cNvPr>
              <p:cNvSpPr/>
              <p:nvPr/>
            </p:nvSpPr>
            <p:spPr>
              <a:xfrm>
                <a:off x="1062268" y="4320670"/>
                <a:ext cx="70589" cy="74980"/>
              </a:xfrm>
              <a:custGeom>
                <a:avLst/>
                <a:gdLst>
                  <a:gd name="connsiteX0" fmla="*/ 6555 w 70589"/>
                  <a:gd name="connsiteY0" fmla="*/ 74980 h 74980"/>
                  <a:gd name="connsiteX1" fmla="*/ 2095 w 70589"/>
                  <a:gd name="connsiteY1" fmla="*/ 73234 h 74980"/>
                  <a:gd name="connsiteX2" fmla="*/ 1760 w 70589"/>
                  <a:gd name="connsiteY2" fmla="*/ 63979 h 74980"/>
                  <a:gd name="connsiteX3" fmla="*/ 59222 w 70589"/>
                  <a:gd name="connsiteY3" fmla="*/ 2095 h 74980"/>
                  <a:gd name="connsiteX4" fmla="*/ 68495 w 70589"/>
                  <a:gd name="connsiteY4" fmla="*/ 1761 h 74980"/>
                  <a:gd name="connsiteX5" fmla="*/ 68829 w 70589"/>
                  <a:gd name="connsiteY5" fmla="*/ 11015 h 74980"/>
                  <a:gd name="connsiteX6" fmla="*/ 11368 w 70589"/>
                  <a:gd name="connsiteY6" fmla="*/ 72899 h 74980"/>
                  <a:gd name="connsiteX7" fmla="*/ 6555 w 70589"/>
                  <a:gd name="connsiteY7" fmla="*/ 74980 h 7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589" h="74980">
                    <a:moveTo>
                      <a:pt x="6555" y="74980"/>
                    </a:moveTo>
                    <a:cubicBezTo>
                      <a:pt x="4957" y="74980"/>
                      <a:pt x="3359" y="74405"/>
                      <a:pt x="2095" y="73234"/>
                    </a:cubicBezTo>
                    <a:cubicBezTo>
                      <a:pt x="-563" y="70781"/>
                      <a:pt x="-711" y="66636"/>
                      <a:pt x="1760" y="63979"/>
                    </a:cubicBezTo>
                    <a:lnTo>
                      <a:pt x="59222" y="2095"/>
                    </a:lnTo>
                    <a:cubicBezTo>
                      <a:pt x="61693" y="-562"/>
                      <a:pt x="65837" y="-711"/>
                      <a:pt x="68495" y="1761"/>
                    </a:cubicBezTo>
                    <a:cubicBezTo>
                      <a:pt x="71152" y="4213"/>
                      <a:pt x="71301" y="8358"/>
                      <a:pt x="68829" y="11015"/>
                    </a:cubicBezTo>
                    <a:lnTo>
                      <a:pt x="11368" y="72899"/>
                    </a:lnTo>
                    <a:cubicBezTo>
                      <a:pt x="10067" y="74274"/>
                      <a:pt x="8321" y="74980"/>
                      <a:pt x="6555" y="74980"/>
                    </a:cubicBezTo>
                    <a:close/>
                  </a:path>
                </a:pathLst>
              </a:custGeom>
              <a:solidFill>
                <a:schemeClr val="accent1"/>
              </a:solidFill>
              <a:ln w="1858" cap="flat">
                <a:noFill/>
                <a:prstDash val="solid"/>
                <a:miter/>
              </a:ln>
            </p:spPr>
            <p:txBody>
              <a:bodyPr rtlCol="0" anchor="ctr"/>
              <a:lstStyle/>
              <a:p>
                <a:endParaRPr lang="en-GB" dirty="0"/>
              </a:p>
            </p:txBody>
          </p:sp>
          <p:sp>
            <p:nvSpPr>
              <p:cNvPr id="120" name="Freihandform: Form 104">
                <a:extLst>
                  <a:ext uri="{FF2B5EF4-FFF2-40B4-BE49-F238E27FC236}">
                    <a16:creationId xmlns:a16="http://schemas.microsoft.com/office/drawing/2014/main" id="{49034CC5-2D00-44D2-9832-35A7F8D90544}"/>
                  </a:ext>
                </a:extLst>
              </p:cNvPr>
              <p:cNvSpPr/>
              <p:nvPr/>
            </p:nvSpPr>
            <p:spPr>
              <a:xfrm>
                <a:off x="1150345" y="4319364"/>
                <a:ext cx="58531" cy="46180"/>
              </a:xfrm>
              <a:custGeom>
                <a:avLst/>
                <a:gdLst>
                  <a:gd name="connsiteX0" fmla="*/ 51966 w 58531"/>
                  <a:gd name="connsiteY0" fmla="*/ 46181 h 46180"/>
                  <a:gd name="connsiteX1" fmla="*/ 48119 w 58531"/>
                  <a:gd name="connsiteY1" fmla="*/ 44917 h 46180"/>
                  <a:gd name="connsiteX2" fmla="*/ 2700 w 58531"/>
                  <a:gd name="connsiteY2" fmla="*/ 11857 h 46180"/>
                  <a:gd name="connsiteX3" fmla="*/ 1251 w 58531"/>
                  <a:gd name="connsiteY3" fmla="*/ 2695 h 46180"/>
                  <a:gd name="connsiteX4" fmla="*/ 10412 w 58531"/>
                  <a:gd name="connsiteY4" fmla="*/ 1245 h 46180"/>
                  <a:gd name="connsiteX5" fmla="*/ 55831 w 58531"/>
                  <a:gd name="connsiteY5" fmla="*/ 34306 h 46180"/>
                  <a:gd name="connsiteX6" fmla="*/ 57281 w 58531"/>
                  <a:gd name="connsiteY6" fmla="*/ 43468 h 46180"/>
                  <a:gd name="connsiteX7" fmla="*/ 51966 w 58531"/>
                  <a:gd name="connsiteY7" fmla="*/ 46181 h 4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31" h="46180">
                    <a:moveTo>
                      <a:pt x="51966" y="46181"/>
                    </a:moveTo>
                    <a:cubicBezTo>
                      <a:pt x="50628" y="46181"/>
                      <a:pt x="49290" y="45772"/>
                      <a:pt x="48119" y="44917"/>
                    </a:cubicBezTo>
                    <a:lnTo>
                      <a:pt x="2700" y="11857"/>
                    </a:lnTo>
                    <a:cubicBezTo>
                      <a:pt x="-236" y="9720"/>
                      <a:pt x="-868" y="5631"/>
                      <a:pt x="1251" y="2695"/>
                    </a:cubicBezTo>
                    <a:cubicBezTo>
                      <a:pt x="3388" y="-223"/>
                      <a:pt x="7476" y="-873"/>
                      <a:pt x="10412" y="1245"/>
                    </a:cubicBezTo>
                    <a:lnTo>
                      <a:pt x="55831" y="34306"/>
                    </a:lnTo>
                    <a:cubicBezTo>
                      <a:pt x="58768" y="36443"/>
                      <a:pt x="59399" y="40531"/>
                      <a:pt x="57281" y="43468"/>
                    </a:cubicBezTo>
                    <a:cubicBezTo>
                      <a:pt x="55999" y="45233"/>
                      <a:pt x="53991" y="46181"/>
                      <a:pt x="51966" y="46181"/>
                    </a:cubicBezTo>
                    <a:close/>
                  </a:path>
                </a:pathLst>
              </a:custGeom>
              <a:solidFill>
                <a:schemeClr val="accent1"/>
              </a:solidFill>
              <a:ln w="1858" cap="flat">
                <a:noFill/>
                <a:prstDash val="solid"/>
                <a:miter/>
              </a:ln>
            </p:spPr>
            <p:txBody>
              <a:bodyPr rtlCol="0" anchor="ctr"/>
              <a:lstStyle/>
              <a:p>
                <a:endParaRPr lang="en-GB" dirty="0"/>
              </a:p>
            </p:txBody>
          </p:sp>
          <p:sp>
            <p:nvSpPr>
              <p:cNvPr id="121" name="Freihandform: Form 105">
                <a:extLst>
                  <a:ext uri="{FF2B5EF4-FFF2-40B4-BE49-F238E27FC236}">
                    <a16:creationId xmlns:a16="http://schemas.microsoft.com/office/drawing/2014/main" id="{C94BA352-9B9A-4724-8B06-63298844B002}"/>
                  </a:ext>
                </a:extLst>
              </p:cNvPr>
              <p:cNvSpPr/>
              <p:nvPr/>
            </p:nvSpPr>
            <p:spPr>
              <a:xfrm>
                <a:off x="1227390" y="4299619"/>
                <a:ext cx="64522" cy="64513"/>
              </a:xfrm>
              <a:custGeom>
                <a:avLst/>
                <a:gdLst>
                  <a:gd name="connsiteX0" fmla="*/ 6551 w 64522"/>
                  <a:gd name="connsiteY0" fmla="*/ 64514 h 64513"/>
                  <a:gd name="connsiteX1" fmla="*/ 1923 w 64522"/>
                  <a:gd name="connsiteY1" fmla="*/ 62599 h 64513"/>
                  <a:gd name="connsiteX2" fmla="*/ 1923 w 64522"/>
                  <a:gd name="connsiteY2" fmla="*/ 53326 h 64513"/>
                  <a:gd name="connsiteX3" fmla="*/ 53326 w 64522"/>
                  <a:gd name="connsiteY3" fmla="*/ 1923 h 64513"/>
                  <a:gd name="connsiteX4" fmla="*/ 62600 w 64522"/>
                  <a:gd name="connsiteY4" fmla="*/ 1923 h 64513"/>
                  <a:gd name="connsiteX5" fmla="*/ 62600 w 64522"/>
                  <a:gd name="connsiteY5" fmla="*/ 11197 h 64513"/>
                  <a:gd name="connsiteX6" fmla="*/ 11197 w 64522"/>
                  <a:gd name="connsiteY6" fmla="*/ 62599 h 64513"/>
                  <a:gd name="connsiteX7" fmla="*/ 6551 w 64522"/>
                  <a:gd name="connsiteY7" fmla="*/ 64514 h 64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22" h="64513">
                    <a:moveTo>
                      <a:pt x="6551" y="64514"/>
                    </a:moveTo>
                    <a:cubicBezTo>
                      <a:pt x="4878" y="64514"/>
                      <a:pt x="3206" y="63882"/>
                      <a:pt x="1923" y="62599"/>
                    </a:cubicBezTo>
                    <a:cubicBezTo>
                      <a:pt x="-641" y="60035"/>
                      <a:pt x="-641" y="55891"/>
                      <a:pt x="1923" y="53326"/>
                    </a:cubicBezTo>
                    <a:lnTo>
                      <a:pt x="53326" y="1923"/>
                    </a:lnTo>
                    <a:cubicBezTo>
                      <a:pt x="55891" y="-641"/>
                      <a:pt x="60035" y="-641"/>
                      <a:pt x="62600" y="1923"/>
                    </a:cubicBezTo>
                    <a:cubicBezTo>
                      <a:pt x="65164" y="4488"/>
                      <a:pt x="65164" y="8632"/>
                      <a:pt x="62600" y="11197"/>
                    </a:cubicBezTo>
                    <a:lnTo>
                      <a:pt x="11197" y="62599"/>
                    </a:lnTo>
                    <a:cubicBezTo>
                      <a:pt x="9896" y="63882"/>
                      <a:pt x="8223" y="64514"/>
                      <a:pt x="6551" y="64514"/>
                    </a:cubicBezTo>
                    <a:close/>
                  </a:path>
                </a:pathLst>
              </a:custGeom>
              <a:solidFill>
                <a:schemeClr val="accent1"/>
              </a:solidFill>
              <a:ln w="1858" cap="flat">
                <a:noFill/>
                <a:prstDash val="solid"/>
                <a:miter/>
              </a:ln>
            </p:spPr>
            <p:txBody>
              <a:bodyPr rtlCol="0" anchor="ctr"/>
              <a:lstStyle/>
              <a:p>
                <a:endParaRPr lang="en-GB" dirty="0"/>
              </a:p>
            </p:txBody>
          </p:sp>
          <p:sp>
            <p:nvSpPr>
              <p:cNvPr id="122" name="Freihandform: Form 106">
                <a:extLst>
                  <a:ext uri="{FF2B5EF4-FFF2-40B4-BE49-F238E27FC236}">
                    <a16:creationId xmlns:a16="http://schemas.microsoft.com/office/drawing/2014/main" id="{4EC719C6-E853-4328-960B-EEC5635E820C}"/>
                  </a:ext>
                </a:extLst>
              </p:cNvPr>
              <p:cNvSpPr/>
              <p:nvPr/>
            </p:nvSpPr>
            <p:spPr>
              <a:xfrm>
                <a:off x="1114930" y="4286489"/>
                <a:ext cx="52443" cy="52443"/>
              </a:xfrm>
              <a:custGeom>
                <a:avLst/>
                <a:gdLst>
                  <a:gd name="connsiteX0" fmla="*/ 26222 w 52443"/>
                  <a:gd name="connsiteY0" fmla="*/ 52444 h 52443"/>
                  <a:gd name="connsiteX1" fmla="*/ 0 w 52443"/>
                  <a:gd name="connsiteY1" fmla="*/ 26222 h 52443"/>
                  <a:gd name="connsiteX2" fmla="*/ 26222 w 52443"/>
                  <a:gd name="connsiteY2" fmla="*/ 0 h 52443"/>
                  <a:gd name="connsiteX3" fmla="*/ 52443 w 52443"/>
                  <a:gd name="connsiteY3" fmla="*/ 26222 h 52443"/>
                  <a:gd name="connsiteX4" fmla="*/ 26222 w 52443"/>
                  <a:gd name="connsiteY4" fmla="*/ 52444 h 52443"/>
                  <a:gd name="connsiteX5" fmla="*/ 26222 w 52443"/>
                  <a:gd name="connsiteY5" fmla="*/ 13120 h 52443"/>
                  <a:gd name="connsiteX6" fmla="*/ 13120 w 52443"/>
                  <a:gd name="connsiteY6" fmla="*/ 26222 h 52443"/>
                  <a:gd name="connsiteX7" fmla="*/ 26222 w 52443"/>
                  <a:gd name="connsiteY7" fmla="*/ 39323 h 52443"/>
                  <a:gd name="connsiteX8" fmla="*/ 39323 w 52443"/>
                  <a:gd name="connsiteY8" fmla="*/ 26222 h 52443"/>
                  <a:gd name="connsiteX9" fmla="*/ 26222 w 52443"/>
                  <a:gd name="connsiteY9" fmla="*/ 13120 h 5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43" h="52443">
                    <a:moveTo>
                      <a:pt x="26222" y="52444"/>
                    </a:moveTo>
                    <a:cubicBezTo>
                      <a:pt x="11764" y="52444"/>
                      <a:pt x="0" y="40680"/>
                      <a:pt x="0" y="26222"/>
                    </a:cubicBezTo>
                    <a:cubicBezTo>
                      <a:pt x="0" y="11764"/>
                      <a:pt x="11764" y="0"/>
                      <a:pt x="26222" y="0"/>
                    </a:cubicBezTo>
                    <a:cubicBezTo>
                      <a:pt x="40680" y="0"/>
                      <a:pt x="52443" y="11764"/>
                      <a:pt x="52443" y="26222"/>
                    </a:cubicBezTo>
                    <a:cubicBezTo>
                      <a:pt x="52443" y="40699"/>
                      <a:pt x="40680" y="52444"/>
                      <a:pt x="26222" y="52444"/>
                    </a:cubicBezTo>
                    <a:close/>
                    <a:moveTo>
                      <a:pt x="26222" y="13120"/>
                    </a:moveTo>
                    <a:cubicBezTo>
                      <a:pt x="18993" y="13120"/>
                      <a:pt x="13120" y="19011"/>
                      <a:pt x="13120" y="26222"/>
                    </a:cubicBezTo>
                    <a:cubicBezTo>
                      <a:pt x="13120" y="33451"/>
                      <a:pt x="18993" y="39323"/>
                      <a:pt x="26222" y="39323"/>
                    </a:cubicBezTo>
                    <a:cubicBezTo>
                      <a:pt x="33451" y="39323"/>
                      <a:pt x="39323" y="33451"/>
                      <a:pt x="39323" y="26222"/>
                    </a:cubicBezTo>
                    <a:cubicBezTo>
                      <a:pt x="39323" y="19011"/>
                      <a:pt x="33451" y="13120"/>
                      <a:pt x="26222" y="13120"/>
                    </a:cubicBezTo>
                    <a:close/>
                  </a:path>
                </a:pathLst>
              </a:custGeom>
              <a:solidFill>
                <a:schemeClr val="accent1"/>
              </a:solidFill>
              <a:ln w="1858" cap="flat">
                <a:noFill/>
                <a:prstDash val="solid"/>
                <a:miter/>
              </a:ln>
            </p:spPr>
            <p:txBody>
              <a:bodyPr rtlCol="0" anchor="ctr"/>
              <a:lstStyle/>
              <a:p>
                <a:endParaRPr lang="en-GB" dirty="0"/>
              </a:p>
            </p:txBody>
          </p:sp>
          <p:sp>
            <p:nvSpPr>
              <p:cNvPr id="123" name="Freihandform: Form 107">
                <a:extLst>
                  <a:ext uri="{FF2B5EF4-FFF2-40B4-BE49-F238E27FC236}">
                    <a16:creationId xmlns:a16="http://schemas.microsoft.com/office/drawing/2014/main" id="{986A2351-1B0B-4D9B-A76F-A7C513CAF309}"/>
                  </a:ext>
                </a:extLst>
              </p:cNvPr>
              <p:cNvSpPr/>
              <p:nvPr/>
            </p:nvSpPr>
            <p:spPr>
              <a:xfrm>
                <a:off x="1193576" y="4345493"/>
                <a:ext cx="52443" cy="52443"/>
              </a:xfrm>
              <a:custGeom>
                <a:avLst/>
                <a:gdLst>
                  <a:gd name="connsiteX0" fmla="*/ 26222 w 52443"/>
                  <a:gd name="connsiteY0" fmla="*/ 52444 h 52443"/>
                  <a:gd name="connsiteX1" fmla="*/ 0 w 52443"/>
                  <a:gd name="connsiteY1" fmla="*/ 26222 h 52443"/>
                  <a:gd name="connsiteX2" fmla="*/ 26222 w 52443"/>
                  <a:gd name="connsiteY2" fmla="*/ 0 h 52443"/>
                  <a:gd name="connsiteX3" fmla="*/ 52443 w 52443"/>
                  <a:gd name="connsiteY3" fmla="*/ 26222 h 52443"/>
                  <a:gd name="connsiteX4" fmla="*/ 26222 w 52443"/>
                  <a:gd name="connsiteY4" fmla="*/ 52444 h 52443"/>
                  <a:gd name="connsiteX5" fmla="*/ 26222 w 52443"/>
                  <a:gd name="connsiteY5" fmla="*/ 13102 h 52443"/>
                  <a:gd name="connsiteX6" fmla="*/ 13120 w 52443"/>
                  <a:gd name="connsiteY6" fmla="*/ 26203 h 52443"/>
                  <a:gd name="connsiteX7" fmla="*/ 26222 w 52443"/>
                  <a:gd name="connsiteY7" fmla="*/ 39305 h 52443"/>
                  <a:gd name="connsiteX8" fmla="*/ 39323 w 52443"/>
                  <a:gd name="connsiteY8" fmla="*/ 26203 h 52443"/>
                  <a:gd name="connsiteX9" fmla="*/ 26222 w 52443"/>
                  <a:gd name="connsiteY9" fmla="*/ 13102 h 5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43" h="52443">
                    <a:moveTo>
                      <a:pt x="26222" y="52444"/>
                    </a:moveTo>
                    <a:cubicBezTo>
                      <a:pt x="11764" y="52444"/>
                      <a:pt x="0" y="40680"/>
                      <a:pt x="0" y="26222"/>
                    </a:cubicBezTo>
                    <a:cubicBezTo>
                      <a:pt x="0" y="11764"/>
                      <a:pt x="11764" y="0"/>
                      <a:pt x="26222" y="0"/>
                    </a:cubicBezTo>
                    <a:cubicBezTo>
                      <a:pt x="40680" y="0"/>
                      <a:pt x="52443" y="11764"/>
                      <a:pt x="52443" y="26222"/>
                    </a:cubicBezTo>
                    <a:cubicBezTo>
                      <a:pt x="52443" y="40680"/>
                      <a:pt x="40680" y="52444"/>
                      <a:pt x="26222" y="52444"/>
                    </a:cubicBezTo>
                    <a:close/>
                    <a:moveTo>
                      <a:pt x="26222" y="13102"/>
                    </a:moveTo>
                    <a:cubicBezTo>
                      <a:pt x="18993" y="13102"/>
                      <a:pt x="13120" y="18993"/>
                      <a:pt x="13120" y="26203"/>
                    </a:cubicBezTo>
                    <a:cubicBezTo>
                      <a:pt x="13120" y="33432"/>
                      <a:pt x="18993" y="39305"/>
                      <a:pt x="26222" y="39305"/>
                    </a:cubicBezTo>
                    <a:cubicBezTo>
                      <a:pt x="33451" y="39305"/>
                      <a:pt x="39323" y="33432"/>
                      <a:pt x="39323" y="26203"/>
                    </a:cubicBezTo>
                    <a:cubicBezTo>
                      <a:pt x="39323" y="18993"/>
                      <a:pt x="33451" y="13102"/>
                      <a:pt x="26222" y="13102"/>
                    </a:cubicBezTo>
                    <a:close/>
                  </a:path>
                </a:pathLst>
              </a:custGeom>
              <a:solidFill>
                <a:schemeClr val="accent1"/>
              </a:solidFill>
              <a:ln w="1858" cap="flat">
                <a:noFill/>
                <a:prstDash val="solid"/>
                <a:miter/>
              </a:ln>
            </p:spPr>
            <p:txBody>
              <a:bodyPr rtlCol="0" anchor="ctr"/>
              <a:lstStyle/>
              <a:p>
                <a:endParaRPr lang="en-GB" dirty="0"/>
              </a:p>
            </p:txBody>
          </p:sp>
          <p:sp>
            <p:nvSpPr>
              <p:cNvPr id="124" name="Freihandform: Form 108">
                <a:extLst>
                  <a:ext uri="{FF2B5EF4-FFF2-40B4-BE49-F238E27FC236}">
                    <a16:creationId xmlns:a16="http://schemas.microsoft.com/office/drawing/2014/main" id="{8C9504EA-99A0-45DB-A15C-13236B53D09F}"/>
                  </a:ext>
                </a:extLst>
              </p:cNvPr>
              <p:cNvSpPr/>
              <p:nvPr/>
            </p:nvSpPr>
            <p:spPr>
              <a:xfrm>
                <a:off x="1029723" y="4378256"/>
                <a:ext cx="52443" cy="52443"/>
              </a:xfrm>
              <a:custGeom>
                <a:avLst/>
                <a:gdLst>
                  <a:gd name="connsiteX0" fmla="*/ 26222 w 52443"/>
                  <a:gd name="connsiteY0" fmla="*/ 52444 h 52443"/>
                  <a:gd name="connsiteX1" fmla="*/ 0 w 52443"/>
                  <a:gd name="connsiteY1" fmla="*/ 26222 h 52443"/>
                  <a:gd name="connsiteX2" fmla="*/ 26222 w 52443"/>
                  <a:gd name="connsiteY2" fmla="*/ 0 h 52443"/>
                  <a:gd name="connsiteX3" fmla="*/ 52444 w 52443"/>
                  <a:gd name="connsiteY3" fmla="*/ 26222 h 52443"/>
                  <a:gd name="connsiteX4" fmla="*/ 26222 w 52443"/>
                  <a:gd name="connsiteY4" fmla="*/ 52444 h 52443"/>
                  <a:gd name="connsiteX5" fmla="*/ 26222 w 52443"/>
                  <a:gd name="connsiteY5" fmla="*/ 13120 h 52443"/>
                  <a:gd name="connsiteX6" fmla="*/ 13120 w 52443"/>
                  <a:gd name="connsiteY6" fmla="*/ 26222 h 52443"/>
                  <a:gd name="connsiteX7" fmla="*/ 26222 w 52443"/>
                  <a:gd name="connsiteY7" fmla="*/ 39323 h 52443"/>
                  <a:gd name="connsiteX8" fmla="*/ 39323 w 52443"/>
                  <a:gd name="connsiteY8" fmla="*/ 26222 h 52443"/>
                  <a:gd name="connsiteX9" fmla="*/ 26222 w 52443"/>
                  <a:gd name="connsiteY9" fmla="*/ 13120 h 5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43" h="52443">
                    <a:moveTo>
                      <a:pt x="26222" y="52444"/>
                    </a:moveTo>
                    <a:cubicBezTo>
                      <a:pt x="11764" y="52444"/>
                      <a:pt x="0" y="40680"/>
                      <a:pt x="0" y="26222"/>
                    </a:cubicBezTo>
                    <a:cubicBezTo>
                      <a:pt x="0" y="11764"/>
                      <a:pt x="11764" y="0"/>
                      <a:pt x="26222" y="0"/>
                    </a:cubicBezTo>
                    <a:cubicBezTo>
                      <a:pt x="40680" y="0"/>
                      <a:pt x="52444" y="11764"/>
                      <a:pt x="52444" y="26222"/>
                    </a:cubicBezTo>
                    <a:cubicBezTo>
                      <a:pt x="52444" y="40680"/>
                      <a:pt x="40680" y="52444"/>
                      <a:pt x="26222" y="52444"/>
                    </a:cubicBezTo>
                    <a:close/>
                    <a:moveTo>
                      <a:pt x="26222" y="13120"/>
                    </a:moveTo>
                    <a:cubicBezTo>
                      <a:pt x="18993" y="13120"/>
                      <a:pt x="13120" y="19011"/>
                      <a:pt x="13120" y="26222"/>
                    </a:cubicBezTo>
                    <a:cubicBezTo>
                      <a:pt x="13120" y="33451"/>
                      <a:pt x="18993" y="39323"/>
                      <a:pt x="26222" y="39323"/>
                    </a:cubicBezTo>
                    <a:cubicBezTo>
                      <a:pt x="33451" y="39323"/>
                      <a:pt x="39323" y="33432"/>
                      <a:pt x="39323" y="26222"/>
                    </a:cubicBezTo>
                    <a:cubicBezTo>
                      <a:pt x="39323" y="18993"/>
                      <a:pt x="33451" y="13120"/>
                      <a:pt x="26222" y="13120"/>
                    </a:cubicBezTo>
                    <a:close/>
                  </a:path>
                </a:pathLst>
              </a:custGeom>
              <a:solidFill>
                <a:schemeClr val="accent1"/>
              </a:solidFill>
              <a:ln w="1858" cap="flat">
                <a:noFill/>
                <a:prstDash val="solid"/>
                <a:miter/>
              </a:ln>
            </p:spPr>
            <p:txBody>
              <a:bodyPr rtlCol="0" anchor="ctr"/>
              <a:lstStyle/>
              <a:p>
                <a:endParaRPr lang="en-GB" dirty="0"/>
              </a:p>
            </p:txBody>
          </p:sp>
          <p:sp>
            <p:nvSpPr>
              <p:cNvPr id="125" name="Freihandform: Form 109">
                <a:extLst>
                  <a:ext uri="{FF2B5EF4-FFF2-40B4-BE49-F238E27FC236}">
                    <a16:creationId xmlns:a16="http://schemas.microsoft.com/office/drawing/2014/main" id="{4197F431-C741-473A-8B29-38E3F051429B}"/>
                  </a:ext>
                </a:extLst>
              </p:cNvPr>
              <p:cNvSpPr/>
              <p:nvPr/>
            </p:nvSpPr>
            <p:spPr>
              <a:xfrm>
                <a:off x="944516" y="4332373"/>
                <a:ext cx="52443" cy="52443"/>
              </a:xfrm>
              <a:custGeom>
                <a:avLst/>
                <a:gdLst>
                  <a:gd name="connsiteX0" fmla="*/ 26222 w 52443"/>
                  <a:gd name="connsiteY0" fmla="*/ 52443 h 52443"/>
                  <a:gd name="connsiteX1" fmla="*/ 0 w 52443"/>
                  <a:gd name="connsiteY1" fmla="*/ 26222 h 52443"/>
                  <a:gd name="connsiteX2" fmla="*/ 26222 w 52443"/>
                  <a:gd name="connsiteY2" fmla="*/ 0 h 52443"/>
                  <a:gd name="connsiteX3" fmla="*/ 52443 w 52443"/>
                  <a:gd name="connsiteY3" fmla="*/ 26222 h 52443"/>
                  <a:gd name="connsiteX4" fmla="*/ 26222 w 52443"/>
                  <a:gd name="connsiteY4" fmla="*/ 52443 h 52443"/>
                  <a:gd name="connsiteX5" fmla="*/ 26222 w 52443"/>
                  <a:gd name="connsiteY5" fmla="*/ 13120 h 52443"/>
                  <a:gd name="connsiteX6" fmla="*/ 13120 w 52443"/>
                  <a:gd name="connsiteY6" fmla="*/ 26222 h 52443"/>
                  <a:gd name="connsiteX7" fmla="*/ 26222 w 52443"/>
                  <a:gd name="connsiteY7" fmla="*/ 39323 h 52443"/>
                  <a:gd name="connsiteX8" fmla="*/ 39323 w 52443"/>
                  <a:gd name="connsiteY8" fmla="*/ 26222 h 52443"/>
                  <a:gd name="connsiteX9" fmla="*/ 26222 w 52443"/>
                  <a:gd name="connsiteY9" fmla="*/ 13120 h 5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43" h="52443">
                    <a:moveTo>
                      <a:pt x="26222" y="52443"/>
                    </a:moveTo>
                    <a:cubicBezTo>
                      <a:pt x="11764" y="52443"/>
                      <a:pt x="0" y="40680"/>
                      <a:pt x="0" y="26222"/>
                    </a:cubicBezTo>
                    <a:cubicBezTo>
                      <a:pt x="0" y="11763"/>
                      <a:pt x="11764" y="0"/>
                      <a:pt x="26222" y="0"/>
                    </a:cubicBezTo>
                    <a:cubicBezTo>
                      <a:pt x="40680" y="0"/>
                      <a:pt x="52443" y="11763"/>
                      <a:pt x="52443" y="26222"/>
                    </a:cubicBezTo>
                    <a:cubicBezTo>
                      <a:pt x="52443" y="40680"/>
                      <a:pt x="40680" y="52443"/>
                      <a:pt x="26222" y="52443"/>
                    </a:cubicBezTo>
                    <a:close/>
                    <a:moveTo>
                      <a:pt x="26222" y="13120"/>
                    </a:moveTo>
                    <a:cubicBezTo>
                      <a:pt x="18993" y="13120"/>
                      <a:pt x="13120" y="19011"/>
                      <a:pt x="13120" y="26222"/>
                    </a:cubicBezTo>
                    <a:cubicBezTo>
                      <a:pt x="13120" y="33451"/>
                      <a:pt x="18993" y="39323"/>
                      <a:pt x="26222" y="39323"/>
                    </a:cubicBezTo>
                    <a:cubicBezTo>
                      <a:pt x="33451" y="39323"/>
                      <a:pt x="39323" y="33451"/>
                      <a:pt x="39323" y="26222"/>
                    </a:cubicBezTo>
                    <a:cubicBezTo>
                      <a:pt x="39323" y="19011"/>
                      <a:pt x="33451" y="13120"/>
                      <a:pt x="26222" y="13120"/>
                    </a:cubicBezTo>
                    <a:close/>
                  </a:path>
                </a:pathLst>
              </a:custGeom>
              <a:solidFill>
                <a:schemeClr val="accent1"/>
              </a:solidFill>
              <a:ln w="1858" cap="flat">
                <a:noFill/>
                <a:prstDash val="solid"/>
                <a:miter/>
              </a:ln>
            </p:spPr>
            <p:txBody>
              <a:bodyPr rtlCol="0" anchor="ctr"/>
              <a:lstStyle/>
              <a:p>
                <a:endParaRPr lang="en-GB" dirty="0"/>
              </a:p>
            </p:txBody>
          </p:sp>
          <p:sp>
            <p:nvSpPr>
              <p:cNvPr id="126" name="Freihandform: Form 110">
                <a:extLst>
                  <a:ext uri="{FF2B5EF4-FFF2-40B4-BE49-F238E27FC236}">
                    <a16:creationId xmlns:a16="http://schemas.microsoft.com/office/drawing/2014/main" id="{C9B4CC76-5117-4DB2-97B4-23E026256AE7}"/>
                  </a:ext>
                </a:extLst>
              </p:cNvPr>
              <p:cNvSpPr/>
              <p:nvPr/>
            </p:nvSpPr>
            <p:spPr>
              <a:xfrm>
                <a:off x="1246001" y="4299591"/>
                <a:ext cx="45883" cy="45901"/>
              </a:xfrm>
              <a:custGeom>
                <a:avLst/>
                <a:gdLst>
                  <a:gd name="connsiteX0" fmla="*/ 39342 w 45883"/>
                  <a:gd name="connsiteY0" fmla="*/ 45902 h 45901"/>
                  <a:gd name="connsiteX1" fmla="*/ 32782 w 45883"/>
                  <a:gd name="connsiteY1" fmla="*/ 39342 h 45901"/>
                  <a:gd name="connsiteX2" fmla="*/ 32782 w 45883"/>
                  <a:gd name="connsiteY2" fmla="*/ 13120 h 45901"/>
                  <a:gd name="connsiteX3" fmla="*/ 6560 w 45883"/>
                  <a:gd name="connsiteY3" fmla="*/ 13120 h 45901"/>
                  <a:gd name="connsiteX4" fmla="*/ 0 w 45883"/>
                  <a:gd name="connsiteY4" fmla="*/ 6560 h 45901"/>
                  <a:gd name="connsiteX5" fmla="*/ 6560 w 45883"/>
                  <a:gd name="connsiteY5" fmla="*/ 0 h 45901"/>
                  <a:gd name="connsiteX6" fmla="*/ 39323 w 45883"/>
                  <a:gd name="connsiteY6" fmla="*/ 0 h 45901"/>
                  <a:gd name="connsiteX7" fmla="*/ 45883 w 45883"/>
                  <a:gd name="connsiteY7" fmla="*/ 6560 h 45901"/>
                  <a:gd name="connsiteX8" fmla="*/ 45883 w 45883"/>
                  <a:gd name="connsiteY8" fmla="*/ 39323 h 45901"/>
                  <a:gd name="connsiteX9" fmla="*/ 39342 w 45883"/>
                  <a:gd name="connsiteY9" fmla="*/ 45902 h 45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883" h="45901">
                    <a:moveTo>
                      <a:pt x="39342" y="45902"/>
                    </a:moveTo>
                    <a:cubicBezTo>
                      <a:pt x="35718" y="45902"/>
                      <a:pt x="32782" y="42966"/>
                      <a:pt x="32782" y="39342"/>
                    </a:cubicBezTo>
                    <a:lnTo>
                      <a:pt x="32782" y="13120"/>
                    </a:lnTo>
                    <a:lnTo>
                      <a:pt x="6560" y="13120"/>
                    </a:lnTo>
                    <a:cubicBezTo>
                      <a:pt x="2936" y="13120"/>
                      <a:pt x="0" y="10184"/>
                      <a:pt x="0" y="6560"/>
                    </a:cubicBezTo>
                    <a:cubicBezTo>
                      <a:pt x="0" y="2936"/>
                      <a:pt x="2936" y="0"/>
                      <a:pt x="6560" y="0"/>
                    </a:cubicBezTo>
                    <a:lnTo>
                      <a:pt x="39323" y="0"/>
                    </a:lnTo>
                    <a:cubicBezTo>
                      <a:pt x="42947" y="0"/>
                      <a:pt x="45883" y="2936"/>
                      <a:pt x="45883" y="6560"/>
                    </a:cubicBezTo>
                    <a:lnTo>
                      <a:pt x="45883" y="39323"/>
                    </a:lnTo>
                    <a:cubicBezTo>
                      <a:pt x="45902" y="42966"/>
                      <a:pt x="42966" y="45902"/>
                      <a:pt x="39342" y="45902"/>
                    </a:cubicBezTo>
                    <a:close/>
                  </a:path>
                </a:pathLst>
              </a:custGeom>
              <a:solidFill>
                <a:schemeClr val="accent1"/>
              </a:solidFill>
              <a:ln w="1858" cap="flat">
                <a:noFill/>
                <a:prstDash val="solid"/>
                <a:miter/>
              </a:ln>
            </p:spPr>
            <p:txBody>
              <a:bodyPr rtlCol="0" anchor="ctr"/>
              <a:lstStyle/>
              <a:p>
                <a:endParaRPr lang="en-GB" dirty="0"/>
              </a:p>
            </p:txBody>
          </p:sp>
        </p:grpSp>
        <p:grpSp>
          <p:nvGrpSpPr>
            <p:cNvPr id="111" name="Gruppieren 1338">
              <a:extLst>
                <a:ext uri="{FF2B5EF4-FFF2-40B4-BE49-F238E27FC236}">
                  <a16:creationId xmlns:a16="http://schemas.microsoft.com/office/drawing/2014/main" id="{94BDC337-4577-4B74-9E87-CED045296E5A}"/>
                </a:ext>
              </a:extLst>
            </p:cNvPr>
            <p:cNvGrpSpPr/>
            <p:nvPr/>
          </p:nvGrpSpPr>
          <p:grpSpPr>
            <a:xfrm>
              <a:off x="3678341" y="1585984"/>
              <a:ext cx="558008" cy="432000"/>
              <a:chOff x="885531" y="4240625"/>
              <a:chExt cx="406371" cy="314605"/>
            </a:xfrm>
            <a:solidFill>
              <a:schemeClr val="tx2"/>
            </a:solidFill>
          </p:grpSpPr>
          <p:sp>
            <p:nvSpPr>
              <p:cNvPr id="112" name="Freihandform: Form 111">
                <a:extLst>
                  <a:ext uri="{FF2B5EF4-FFF2-40B4-BE49-F238E27FC236}">
                    <a16:creationId xmlns:a16="http://schemas.microsoft.com/office/drawing/2014/main" id="{14A3CA46-CBB9-486B-9D3B-5F8A4F6380E4}"/>
                  </a:ext>
                </a:extLst>
              </p:cNvPr>
              <p:cNvSpPr/>
              <p:nvPr/>
            </p:nvSpPr>
            <p:spPr>
              <a:xfrm>
                <a:off x="964178" y="4397918"/>
                <a:ext cx="13120" cy="157311"/>
              </a:xfrm>
              <a:custGeom>
                <a:avLst/>
                <a:gdLst>
                  <a:gd name="connsiteX0" fmla="*/ 6560 w 13120"/>
                  <a:gd name="connsiteY0" fmla="*/ 157312 h 157311"/>
                  <a:gd name="connsiteX1" fmla="*/ 6560 w 13120"/>
                  <a:gd name="connsiteY1" fmla="*/ 157312 h 157311"/>
                  <a:gd name="connsiteX2" fmla="*/ 0 w 13120"/>
                  <a:gd name="connsiteY2" fmla="*/ 150752 h 157311"/>
                  <a:gd name="connsiteX3" fmla="*/ 0 w 13120"/>
                  <a:gd name="connsiteY3" fmla="*/ 6560 h 157311"/>
                  <a:gd name="connsiteX4" fmla="*/ 6560 w 13120"/>
                  <a:gd name="connsiteY4" fmla="*/ 0 h 157311"/>
                  <a:gd name="connsiteX5" fmla="*/ 6560 w 13120"/>
                  <a:gd name="connsiteY5" fmla="*/ 0 h 157311"/>
                  <a:gd name="connsiteX6" fmla="*/ 13120 w 13120"/>
                  <a:gd name="connsiteY6" fmla="*/ 6560 h 157311"/>
                  <a:gd name="connsiteX7" fmla="*/ 13120 w 13120"/>
                  <a:gd name="connsiteY7" fmla="*/ 150752 h 157311"/>
                  <a:gd name="connsiteX8" fmla="*/ 6560 w 13120"/>
                  <a:gd name="connsiteY8" fmla="*/ 157312 h 157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20" h="157311">
                    <a:moveTo>
                      <a:pt x="6560" y="157312"/>
                    </a:moveTo>
                    <a:lnTo>
                      <a:pt x="6560" y="157312"/>
                    </a:lnTo>
                    <a:cubicBezTo>
                      <a:pt x="2936" y="157312"/>
                      <a:pt x="0" y="154376"/>
                      <a:pt x="0" y="150752"/>
                    </a:cubicBezTo>
                    <a:lnTo>
                      <a:pt x="0" y="6560"/>
                    </a:lnTo>
                    <a:cubicBezTo>
                      <a:pt x="0" y="2936"/>
                      <a:pt x="2936" y="0"/>
                      <a:pt x="6560" y="0"/>
                    </a:cubicBezTo>
                    <a:lnTo>
                      <a:pt x="6560" y="0"/>
                    </a:lnTo>
                    <a:cubicBezTo>
                      <a:pt x="10184" y="0"/>
                      <a:pt x="13120" y="2936"/>
                      <a:pt x="13120" y="6560"/>
                    </a:cubicBezTo>
                    <a:lnTo>
                      <a:pt x="13120" y="150752"/>
                    </a:lnTo>
                    <a:cubicBezTo>
                      <a:pt x="13102" y="154376"/>
                      <a:pt x="10184" y="157312"/>
                      <a:pt x="6560" y="157312"/>
                    </a:cubicBezTo>
                    <a:close/>
                  </a:path>
                </a:pathLst>
              </a:custGeom>
              <a:grpFill/>
              <a:ln w="1858" cap="flat">
                <a:noFill/>
                <a:prstDash val="solid"/>
                <a:miter/>
              </a:ln>
            </p:spPr>
            <p:txBody>
              <a:bodyPr rtlCol="0" anchor="ctr"/>
              <a:lstStyle/>
              <a:p>
                <a:endParaRPr lang="en-GB" dirty="0"/>
              </a:p>
            </p:txBody>
          </p:sp>
          <p:sp>
            <p:nvSpPr>
              <p:cNvPr id="113" name="Freihandform: Form 112">
                <a:extLst>
                  <a:ext uri="{FF2B5EF4-FFF2-40B4-BE49-F238E27FC236}">
                    <a16:creationId xmlns:a16="http://schemas.microsoft.com/office/drawing/2014/main" id="{52F0CE50-D3E9-47B8-87CB-04FEF8C89EF0}"/>
                  </a:ext>
                </a:extLst>
              </p:cNvPr>
              <p:cNvSpPr/>
              <p:nvPr/>
            </p:nvSpPr>
            <p:spPr>
              <a:xfrm>
                <a:off x="1049385" y="4443801"/>
                <a:ext cx="13120" cy="111428"/>
              </a:xfrm>
              <a:custGeom>
                <a:avLst/>
                <a:gdLst>
                  <a:gd name="connsiteX0" fmla="*/ 6560 w 13120"/>
                  <a:gd name="connsiteY0" fmla="*/ 111428 h 111428"/>
                  <a:gd name="connsiteX1" fmla="*/ 6560 w 13120"/>
                  <a:gd name="connsiteY1" fmla="*/ 111428 h 111428"/>
                  <a:gd name="connsiteX2" fmla="*/ 0 w 13120"/>
                  <a:gd name="connsiteY2" fmla="*/ 104868 h 111428"/>
                  <a:gd name="connsiteX3" fmla="*/ 0 w 13120"/>
                  <a:gd name="connsiteY3" fmla="*/ 6560 h 111428"/>
                  <a:gd name="connsiteX4" fmla="*/ 6560 w 13120"/>
                  <a:gd name="connsiteY4" fmla="*/ 0 h 111428"/>
                  <a:gd name="connsiteX5" fmla="*/ 6560 w 13120"/>
                  <a:gd name="connsiteY5" fmla="*/ 0 h 111428"/>
                  <a:gd name="connsiteX6" fmla="*/ 13120 w 13120"/>
                  <a:gd name="connsiteY6" fmla="*/ 6560 h 111428"/>
                  <a:gd name="connsiteX7" fmla="*/ 13120 w 13120"/>
                  <a:gd name="connsiteY7" fmla="*/ 104868 h 111428"/>
                  <a:gd name="connsiteX8" fmla="*/ 6560 w 13120"/>
                  <a:gd name="connsiteY8" fmla="*/ 111428 h 111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20" h="111428">
                    <a:moveTo>
                      <a:pt x="6560" y="111428"/>
                    </a:moveTo>
                    <a:lnTo>
                      <a:pt x="6560" y="111428"/>
                    </a:lnTo>
                    <a:cubicBezTo>
                      <a:pt x="2936" y="111428"/>
                      <a:pt x="0" y="108492"/>
                      <a:pt x="0" y="104868"/>
                    </a:cubicBezTo>
                    <a:lnTo>
                      <a:pt x="0" y="6560"/>
                    </a:lnTo>
                    <a:cubicBezTo>
                      <a:pt x="0" y="2936"/>
                      <a:pt x="2936" y="0"/>
                      <a:pt x="6560" y="0"/>
                    </a:cubicBezTo>
                    <a:lnTo>
                      <a:pt x="6560" y="0"/>
                    </a:lnTo>
                    <a:cubicBezTo>
                      <a:pt x="10184" y="0"/>
                      <a:pt x="13120" y="2936"/>
                      <a:pt x="13120" y="6560"/>
                    </a:cubicBezTo>
                    <a:lnTo>
                      <a:pt x="13120" y="104868"/>
                    </a:lnTo>
                    <a:cubicBezTo>
                      <a:pt x="13102" y="108492"/>
                      <a:pt x="10165" y="111428"/>
                      <a:pt x="6560" y="111428"/>
                    </a:cubicBezTo>
                    <a:close/>
                  </a:path>
                </a:pathLst>
              </a:custGeom>
              <a:grpFill/>
              <a:ln w="1858" cap="flat">
                <a:noFill/>
                <a:prstDash val="solid"/>
                <a:miter/>
              </a:ln>
            </p:spPr>
            <p:txBody>
              <a:bodyPr rtlCol="0" anchor="ctr"/>
              <a:lstStyle/>
              <a:p>
                <a:endParaRPr lang="en-GB" dirty="0"/>
              </a:p>
            </p:txBody>
          </p:sp>
          <p:sp>
            <p:nvSpPr>
              <p:cNvPr id="114" name="Freihandform: Form 113">
                <a:extLst>
                  <a:ext uri="{FF2B5EF4-FFF2-40B4-BE49-F238E27FC236}">
                    <a16:creationId xmlns:a16="http://schemas.microsoft.com/office/drawing/2014/main" id="{4763B05C-C9CB-42AC-A375-25FFD0D8185E}"/>
                  </a:ext>
                </a:extLst>
              </p:cNvPr>
              <p:cNvSpPr/>
              <p:nvPr/>
            </p:nvSpPr>
            <p:spPr>
              <a:xfrm>
                <a:off x="1134591" y="4352035"/>
                <a:ext cx="13120" cy="203195"/>
              </a:xfrm>
              <a:custGeom>
                <a:avLst/>
                <a:gdLst>
                  <a:gd name="connsiteX0" fmla="*/ 6560 w 13120"/>
                  <a:gd name="connsiteY0" fmla="*/ 203195 h 203195"/>
                  <a:gd name="connsiteX1" fmla="*/ 6560 w 13120"/>
                  <a:gd name="connsiteY1" fmla="*/ 203195 h 203195"/>
                  <a:gd name="connsiteX2" fmla="*/ 0 w 13120"/>
                  <a:gd name="connsiteY2" fmla="*/ 196635 h 203195"/>
                  <a:gd name="connsiteX3" fmla="*/ 0 w 13120"/>
                  <a:gd name="connsiteY3" fmla="*/ 6560 h 203195"/>
                  <a:gd name="connsiteX4" fmla="*/ 6560 w 13120"/>
                  <a:gd name="connsiteY4" fmla="*/ 0 h 203195"/>
                  <a:gd name="connsiteX5" fmla="*/ 6560 w 13120"/>
                  <a:gd name="connsiteY5" fmla="*/ 0 h 203195"/>
                  <a:gd name="connsiteX6" fmla="*/ 13120 w 13120"/>
                  <a:gd name="connsiteY6" fmla="*/ 6560 h 203195"/>
                  <a:gd name="connsiteX7" fmla="*/ 13120 w 13120"/>
                  <a:gd name="connsiteY7" fmla="*/ 196635 h 203195"/>
                  <a:gd name="connsiteX8" fmla="*/ 6560 w 13120"/>
                  <a:gd name="connsiteY8" fmla="*/ 203195 h 20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20" h="203195">
                    <a:moveTo>
                      <a:pt x="6560" y="203195"/>
                    </a:moveTo>
                    <a:lnTo>
                      <a:pt x="6560" y="203195"/>
                    </a:lnTo>
                    <a:cubicBezTo>
                      <a:pt x="2936" y="203195"/>
                      <a:pt x="0" y="200259"/>
                      <a:pt x="0" y="196635"/>
                    </a:cubicBezTo>
                    <a:lnTo>
                      <a:pt x="0" y="6560"/>
                    </a:lnTo>
                    <a:cubicBezTo>
                      <a:pt x="0" y="2936"/>
                      <a:pt x="2936" y="0"/>
                      <a:pt x="6560" y="0"/>
                    </a:cubicBezTo>
                    <a:lnTo>
                      <a:pt x="6560" y="0"/>
                    </a:lnTo>
                    <a:cubicBezTo>
                      <a:pt x="10184" y="0"/>
                      <a:pt x="13120" y="2936"/>
                      <a:pt x="13120" y="6560"/>
                    </a:cubicBezTo>
                    <a:lnTo>
                      <a:pt x="13120" y="196635"/>
                    </a:lnTo>
                    <a:cubicBezTo>
                      <a:pt x="13120" y="200259"/>
                      <a:pt x="10184" y="203195"/>
                      <a:pt x="6560" y="203195"/>
                    </a:cubicBezTo>
                    <a:close/>
                  </a:path>
                </a:pathLst>
              </a:custGeom>
              <a:grpFill/>
              <a:ln w="1858" cap="flat">
                <a:noFill/>
                <a:prstDash val="solid"/>
                <a:miter/>
              </a:ln>
            </p:spPr>
            <p:txBody>
              <a:bodyPr rtlCol="0" anchor="ctr"/>
              <a:lstStyle/>
              <a:p>
                <a:endParaRPr lang="en-GB" dirty="0"/>
              </a:p>
            </p:txBody>
          </p:sp>
          <p:sp>
            <p:nvSpPr>
              <p:cNvPr id="115" name="Freihandform: Form 114">
                <a:extLst>
                  <a:ext uri="{FF2B5EF4-FFF2-40B4-BE49-F238E27FC236}">
                    <a16:creationId xmlns:a16="http://schemas.microsoft.com/office/drawing/2014/main" id="{96893280-6D7D-41CE-8C6A-A69EA54CEB11}"/>
                  </a:ext>
                </a:extLst>
              </p:cNvPr>
              <p:cNvSpPr/>
              <p:nvPr/>
            </p:nvSpPr>
            <p:spPr>
              <a:xfrm>
                <a:off x="1213238" y="4411019"/>
                <a:ext cx="13120" cy="144210"/>
              </a:xfrm>
              <a:custGeom>
                <a:avLst/>
                <a:gdLst>
                  <a:gd name="connsiteX0" fmla="*/ 6560 w 13120"/>
                  <a:gd name="connsiteY0" fmla="*/ 144210 h 144210"/>
                  <a:gd name="connsiteX1" fmla="*/ 6560 w 13120"/>
                  <a:gd name="connsiteY1" fmla="*/ 144210 h 144210"/>
                  <a:gd name="connsiteX2" fmla="*/ 0 w 13120"/>
                  <a:gd name="connsiteY2" fmla="*/ 137650 h 144210"/>
                  <a:gd name="connsiteX3" fmla="*/ 0 w 13120"/>
                  <a:gd name="connsiteY3" fmla="*/ 6560 h 144210"/>
                  <a:gd name="connsiteX4" fmla="*/ 6560 w 13120"/>
                  <a:gd name="connsiteY4" fmla="*/ 0 h 144210"/>
                  <a:gd name="connsiteX5" fmla="*/ 6560 w 13120"/>
                  <a:gd name="connsiteY5" fmla="*/ 0 h 144210"/>
                  <a:gd name="connsiteX6" fmla="*/ 13120 w 13120"/>
                  <a:gd name="connsiteY6" fmla="*/ 6560 h 144210"/>
                  <a:gd name="connsiteX7" fmla="*/ 13120 w 13120"/>
                  <a:gd name="connsiteY7" fmla="*/ 137650 h 144210"/>
                  <a:gd name="connsiteX8" fmla="*/ 6560 w 13120"/>
                  <a:gd name="connsiteY8" fmla="*/ 144210 h 144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20" h="144210">
                    <a:moveTo>
                      <a:pt x="6560" y="144210"/>
                    </a:moveTo>
                    <a:lnTo>
                      <a:pt x="6560" y="144210"/>
                    </a:lnTo>
                    <a:cubicBezTo>
                      <a:pt x="2936" y="144210"/>
                      <a:pt x="0" y="141274"/>
                      <a:pt x="0" y="137650"/>
                    </a:cubicBezTo>
                    <a:lnTo>
                      <a:pt x="0" y="6560"/>
                    </a:lnTo>
                    <a:cubicBezTo>
                      <a:pt x="0" y="2936"/>
                      <a:pt x="2936" y="0"/>
                      <a:pt x="6560" y="0"/>
                    </a:cubicBezTo>
                    <a:lnTo>
                      <a:pt x="6560" y="0"/>
                    </a:lnTo>
                    <a:cubicBezTo>
                      <a:pt x="10184" y="0"/>
                      <a:pt x="13120" y="2936"/>
                      <a:pt x="13120" y="6560"/>
                    </a:cubicBezTo>
                    <a:lnTo>
                      <a:pt x="13120" y="137650"/>
                    </a:lnTo>
                    <a:cubicBezTo>
                      <a:pt x="13102" y="141274"/>
                      <a:pt x="10184" y="144210"/>
                      <a:pt x="6560" y="144210"/>
                    </a:cubicBezTo>
                    <a:close/>
                  </a:path>
                </a:pathLst>
              </a:custGeom>
              <a:grpFill/>
              <a:ln w="1858" cap="flat">
                <a:noFill/>
                <a:prstDash val="solid"/>
                <a:miter/>
              </a:ln>
            </p:spPr>
            <p:txBody>
              <a:bodyPr rtlCol="0" anchor="ctr"/>
              <a:lstStyle/>
              <a:p>
                <a:endParaRPr lang="en-GB" dirty="0"/>
              </a:p>
            </p:txBody>
          </p:sp>
          <p:sp>
            <p:nvSpPr>
              <p:cNvPr id="116" name="Freihandform: Form 115">
                <a:extLst>
                  <a:ext uri="{FF2B5EF4-FFF2-40B4-BE49-F238E27FC236}">
                    <a16:creationId xmlns:a16="http://schemas.microsoft.com/office/drawing/2014/main" id="{76C9BD94-0AFC-44C1-8569-395FD6E9FDC4}"/>
                  </a:ext>
                </a:extLst>
              </p:cNvPr>
              <p:cNvSpPr/>
              <p:nvPr/>
            </p:nvSpPr>
            <p:spPr>
              <a:xfrm>
                <a:off x="885531" y="4240625"/>
                <a:ext cx="406371" cy="314604"/>
              </a:xfrm>
              <a:custGeom>
                <a:avLst/>
                <a:gdLst>
                  <a:gd name="connsiteX0" fmla="*/ 399812 w 406371"/>
                  <a:gd name="connsiteY0" fmla="*/ 314605 h 314604"/>
                  <a:gd name="connsiteX1" fmla="*/ 0 w 406371"/>
                  <a:gd name="connsiteY1" fmla="*/ 314605 h 314604"/>
                  <a:gd name="connsiteX2" fmla="*/ 0 w 406371"/>
                  <a:gd name="connsiteY2" fmla="*/ 6560 h 314604"/>
                  <a:gd name="connsiteX3" fmla="*/ 6560 w 406371"/>
                  <a:gd name="connsiteY3" fmla="*/ 0 h 314604"/>
                  <a:gd name="connsiteX4" fmla="*/ 13120 w 406371"/>
                  <a:gd name="connsiteY4" fmla="*/ 6560 h 314604"/>
                  <a:gd name="connsiteX5" fmla="*/ 13120 w 406371"/>
                  <a:gd name="connsiteY5" fmla="*/ 301504 h 314604"/>
                  <a:gd name="connsiteX6" fmla="*/ 399812 w 406371"/>
                  <a:gd name="connsiteY6" fmla="*/ 301504 h 314604"/>
                  <a:gd name="connsiteX7" fmla="*/ 406372 w 406371"/>
                  <a:gd name="connsiteY7" fmla="*/ 308064 h 314604"/>
                  <a:gd name="connsiteX8" fmla="*/ 399812 w 406371"/>
                  <a:gd name="connsiteY8" fmla="*/ 314605 h 314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371" h="314604">
                    <a:moveTo>
                      <a:pt x="399812" y="314605"/>
                    </a:moveTo>
                    <a:lnTo>
                      <a:pt x="0" y="314605"/>
                    </a:lnTo>
                    <a:lnTo>
                      <a:pt x="0" y="6560"/>
                    </a:lnTo>
                    <a:cubicBezTo>
                      <a:pt x="0" y="2936"/>
                      <a:pt x="2936" y="0"/>
                      <a:pt x="6560" y="0"/>
                    </a:cubicBezTo>
                    <a:cubicBezTo>
                      <a:pt x="10184" y="0"/>
                      <a:pt x="13120" y="2936"/>
                      <a:pt x="13120" y="6560"/>
                    </a:cubicBezTo>
                    <a:lnTo>
                      <a:pt x="13120" y="301504"/>
                    </a:lnTo>
                    <a:lnTo>
                      <a:pt x="399812" y="301504"/>
                    </a:lnTo>
                    <a:cubicBezTo>
                      <a:pt x="403436" y="301504"/>
                      <a:pt x="406372" y="304440"/>
                      <a:pt x="406372" y="308064"/>
                    </a:cubicBezTo>
                    <a:cubicBezTo>
                      <a:pt x="406372" y="311669"/>
                      <a:pt x="403436" y="314605"/>
                      <a:pt x="399812" y="314605"/>
                    </a:cubicBezTo>
                    <a:close/>
                  </a:path>
                </a:pathLst>
              </a:custGeom>
              <a:grpFill/>
              <a:ln w="1858" cap="flat">
                <a:noFill/>
                <a:prstDash val="solid"/>
                <a:miter/>
              </a:ln>
            </p:spPr>
            <p:txBody>
              <a:bodyPr rtlCol="0" anchor="ctr"/>
              <a:lstStyle/>
              <a:p>
                <a:endParaRPr lang="en-GB" dirty="0"/>
              </a:p>
            </p:txBody>
          </p:sp>
        </p:grpSp>
      </p:grpSp>
      <p:grpSp>
        <p:nvGrpSpPr>
          <p:cNvPr id="67" name="Group 66">
            <a:extLst>
              <a:ext uri="{FF2B5EF4-FFF2-40B4-BE49-F238E27FC236}">
                <a16:creationId xmlns:a16="http://schemas.microsoft.com/office/drawing/2014/main" id="{23FB39D2-525F-18F6-0CC6-AEAD63033F0F}"/>
              </a:ext>
            </a:extLst>
          </p:cNvPr>
          <p:cNvGrpSpPr/>
          <p:nvPr/>
        </p:nvGrpSpPr>
        <p:grpSpPr>
          <a:xfrm>
            <a:off x="552436" y="2391526"/>
            <a:ext cx="483229" cy="432000"/>
            <a:chOff x="552436" y="2391526"/>
            <a:chExt cx="483229" cy="432000"/>
          </a:xfrm>
        </p:grpSpPr>
        <p:grpSp>
          <p:nvGrpSpPr>
            <p:cNvPr id="128" name="Gruppieren 1299">
              <a:extLst>
                <a:ext uri="{FF2B5EF4-FFF2-40B4-BE49-F238E27FC236}">
                  <a16:creationId xmlns:a16="http://schemas.microsoft.com/office/drawing/2014/main" id="{6D3EB666-4A30-430D-AD5A-E2BBF215FEE9}"/>
                </a:ext>
              </a:extLst>
            </p:cNvPr>
            <p:cNvGrpSpPr/>
            <p:nvPr/>
          </p:nvGrpSpPr>
          <p:grpSpPr>
            <a:xfrm>
              <a:off x="617339" y="2391526"/>
              <a:ext cx="418243" cy="405189"/>
              <a:chOff x="5343432" y="1626758"/>
              <a:chExt cx="421596" cy="408437"/>
            </a:xfrm>
            <a:solidFill>
              <a:schemeClr val="tx2"/>
            </a:solidFill>
          </p:grpSpPr>
          <p:sp>
            <p:nvSpPr>
              <p:cNvPr id="145" name="Freihandform: Form 642">
                <a:extLst>
                  <a:ext uri="{FF2B5EF4-FFF2-40B4-BE49-F238E27FC236}">
                    <a16:creationId xmlns:a16="http://schemas.microsoft.com/office/drawing/2014/main" id="{B97BDA0B-4D1B-476D-9860-D9EFABE3289F}"/>
                  </a:ext>
                </a:extLst>
              </p:cNvPr>
              <p:cNvSpPr/>
              <p:nvPr/>
            </p:nvSpPr>
            <p:spPr>
              <a:xfrm>
                <a:off x="5429936" y="2022036"/>
                <a:ext cx="335092" cy="13159"/>
              </a:xfrm>
              <a:custGeom>
                <a:avLst/>
                <a:gdLst>
                  <a:gd name="connsiteX0" fmla="*/ 328513 w 335092"/>
                  <a:gd name="connsiteY0" fmla="*/ 13159 h 13159"/>
                  <a:gd name="connsiteX1" fmla="*/ 6580 w 335092"/>
                  <a:gd name="connsiteY1" fmla="*/ 13159 h 13159"/>
                  <a:gd name="connsiteX2" fmla="*/ 0 w 335092"/>
                  <a:gd name="connsiteY2" fmla="*/ 6580 h 13159"/>
                  <a:gd name="connsiteX3" fmla="*/ 6580 w 335092"/>
                  <a:gd name="connsiteY3" fmla="*/ 0 h 13159"/>
                  <a:gd name="connsiteX4" fmla="*/ 328513 w 335092"/>
                  <a:gd name="connsiteY4" fmla="*/ 0 h 13159"/>
                  <a:gd name="connsiteX5" fmla="*/ 335093 w 335092"/>
                  <a:gd name="connsiteY5" fmla="*/ 6580 h 13159"/>
                  <a:gd name="connsiteX6" fmla="*/ 328513 w 335092"/>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5092" h="13159">
                    <a:moveTo>
                      <a:pt x="328513" y="13159"/>
                    </a:moveTo>
                    <a:lnTo>
                      <a:pt x="6580" y="13159"/>
                    </a:lnTo>
                    <a:cubicBezTo>
                      <a:pt x="2945" y="13159"/>
                      <a:pt x="0" y="10214"/>
                      <a:pt x="0" y="6580"/>
                    </a:cubicBezTo>
                    <a:cubicBezTo>
                      <a:pt x="0" y="2945"/>
                      <a:pt x="2945" y="0"/>
                      <a:pt x="6580" y="0"/>
                    </a:cubicBezTo>
                    <a:lnTo>
                      <a:pt x="328513" y="0"/>
                    </a:lnTo>
                    <a:cubicBezTo>
                      <a:pt x="332148" y="0"/>
                      <a:pt x="335093" y="2945"/>
                      <a:pt x="335093" y="6580"/>
                    </a:cubicBezTo>
                    <a:cubicBezTo>
                      <a:pt x="335093" y="10214"/>
                      <a:pt x="332148" y="13159"/>
                      <a:pt x="328513" y="13159"/>
                    </a:cubicBezTo>
                    <a:close/>
                  </a:path>
                </a:pathLst>
              </a:custGeom>
              <a:grpFill/>
              <a:ln w="1863" cap="flat">
                <a:noFill/>
                <a:prstDash val="solid"/>
                <a:miter/>
              </a:ln>
            </p:spPr>
            <p:txBody>
              <a:bodyPr rtlCol="0" anchor="ctr"/>
              <a:lstStyle/>
              <a:p>
                <a:endParaRPr lang="en-GB" dirty="0"/>
              </a:p>
            </p:txBody>
          </p:sp>
          <p:sp>
            <p:nvSpPr>
              <p:cNvPr id="146" name="Freihandform: Form 644">
                <a:extLst>
                  <a:ext uri="{FF2B5EF4-FFF2-40B4-BE49-F238E27FC236}">
                    <a16:creationId xmlns:a16="http://schemas.microsoft.com/office/drawing/2014/main" id="{69178B3F-A38E-4752-8BCB-8432B90DAED8}"/>
                  </a:ext>
                </a:extLst>
              </p:cNvPr>
              <p:cNvSpPr/>
              <p:nvPr/>
            </p:nvSpPr>
            <p:spPr>
              <a:xfrm>
                <a:off x="5343432" y="1626758"/>
                <a:ext cx="13159" cy="256920"/>
              </a:xfrm>
              <a:custGeom>
                <a:avLst/>
                <a:gdLst>
                  <a:gd name="connsiteX0" fmla="*/ 6580 w 13159"/>
                  <a:gd name="connsiteY0" fmla="*/ 256921 h 256920"/>
                  <a:gd name="connsiteX1" fmla="*/ 0 w 13159"/>
                  <a:gd name="connsiteY1" fmla="*/ 250341 h 256920"/>
                  <a:gd name="connsiteX2" fmla="*/ 0 w 13159"/>
                  <a:gd name="connsiteY2" fmla="*/ 6580 h 256920"/>
                  <a:gd name="connsiteX3" fmla="*/ 6580 w 13159"/>
                  <a:gd name="connsiteY3" fmla="*/ 0 h 256920"/>
                  <a:gd name="connsiteX4" fmla="*/ 13159 w 13159"/>
                  <a:gd name="connsiteY4" fmla="*/ 6580 h 256920"/>
                  <a:gd name="connsiteX5" fmla="*/ 13159 w 13159"/>
                  <a:gd name="connsiteY5" fmla="*/ 250322 h 256920"/>
                  <a:gd name="connsiteX6" fmla="*/ 6580 w 13159"/>
                  <a:gd name="connsiteY6" fmla="*/ 256921 h 256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59" h="256920">
                    <a:moveTo>
                      <a:pt x="6580" y="256921"/>
                    </a:moveTo>
                    <a:cubicBezTo>
                      <a:pt x="2945" y="256921"/>
                      <a:pt x="0" y="253976"/>
                      <a:pt x="0" y="250341"/>
                    </a:cubicBezTo>
                    <a:lnTo>
                      <a:pt x="0" y="6580"/>
                    </a:lnTo>
                    <a:cubicBezTo>
                      <a:pt x="0" y="2945"/>
                      <a:pt x="2945" y="0"/>
                      <a:pt x="6580" y="0"/>
                    </a:cubicBezTo>
                    <a:cubicBezTo>
                      <a:pt x="10214" y="0"/>
                      <a:pt x="13159" y="2945"/>
                      <a:pt x="13159" y="6580"/>
                    </a:cubicBezTo>
                    <a:lnTo>
                      <a:pt x="13159" y="250322"/>
                    </a:lnTo>
                    <a:cubicBezTo>
                      <a:pt x="13159" y="253976"/>
                      <a:pt x="10214" y="256921"/>
                      <a:pt x="6580" y="256921"/>
                    </a:cubicBezTo>
                    <a:close/>
                  </a:path>
                </a:pathLst>
              </a:custGeom>
              <a:grpFill/>
              <a:ln w="1863" cap="flat">
                <a:noFill/>
                <a:prstDash val="solid"/>
                <a:miter/>
              </a:ln>
            </p:spPr>
            <p:txBody>
              <a:bodyPr rtlCol="0" anchor="ctr"/>
              <a:lstStyle/>
              <a:p>
                <a:endParaRPr lang="en-GB" dirty="0"/>
              </a:p>
            </p:txBody>
          </p:sp>
          <p:sp>
            <p:nvSpPr>
              <p:cNvPr id="147" name="Freihandform: Form 647">
                <a:extLst>
                  <a:ext uri="{FF2B5EF4-FFF2-40B4-BE49-F238E27FC236}">
                    <a16:creationId xmlns:a16="http://schemas.microsoft.com/office/drawing/2014/main" id="{164C3B36-5E52-4EE6-992A-36DA68046FD1}"/>
                  </a:ext>
                </a:extLst>
              </p:cNvPr>
              <p:cNvSpPr/>
              <p:nvPr/>
            </p:nvSpPr>
            <p:spPr>
              <a:xfrm>
                <a:off x="5429060" y="1857341"/>
                <a:ext cx="13159" cy="39514"/>
              </a:xfrm>
              <a:custGeom>
                <a:avLst/>
                <a:gdLst>
                  <a:gd name="connsiteX0" fmla="*/ 6580 w 13159"/>
                  <a:gd name="connsiteY0" fmla="*/ 39515 h 39514"/>
                  <a:gd name="connsiteX1" fmla="*/ 0 w 13159"/>
                  <a:gd name="connsiteY1" fmla="*/ 32935 h 39514"/>
                  <a:gd name="connsiteX2" fmla="*/ 0 w 13159"/>
                  <a:gd name="connsiteY2" fmla="*/ 6580 h 39514"/>
                  <a:gd name="connsiteX3" fmla="*/ 6580 w 13159"/>
                  <a:gd name="connsiteY3" fmla="*/ 0 h 39514"/>
                  <a:gd name="connsiteX4" fmla="*/ 13159 w 13159"/>
                  <a:gd name="connsiteY4" fmla="*/ 6580 h 39514"/>
                  <a:gd name="connsiteX5" fmla="*/ 13159 w 13159"/>
                  <a:gd name="connsiteY5" fmla="*/ 32935 h 39514"/>
                  <a:gd name="connsiteX6" fmla="*/ 6580 w 13159"/>
                  <a:gd name="connsiteY6" fmla="*/ 39515 h 3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59" h="39514">
                    <a:moveTo>
                      <a:pt x="6580" y="39515"/>
                    </a:moveTo>
                    <a:cubicBezTo>
                      <a:pt x="2945" y="39515"/>
                      <a:pt x="0" y="36570"/>
                      <a:pt x="0" y="32935"/>
                    </a:cubicBezTo>
                    <a:lnTo>
                      <a:pt x="0" y="6580"/>
                    </a:lnTo>
                    <a:cubicBezTo>
                      <a:pt x="0" y="2945"/>
                      <a:pt x="2945" y="0"/>
                      <a:pt x="6580" y="0"/>
                    </a:cubicBezTo>
                    <a:cubicBezTo>
                      <a:pt x="10214" y="0"/>
                      <a:pt x="13159" y="2945"/>
                      <a:pt x="13159" y="6580"/>
                    </a:cubicBezTo>
                    <a:lnTo>
                      <a:pt x="13159" y="32935"/>
                    </a:lnTo>
                    <a:cubicBezTo>
                      <a:pt x="13178" y="36570"/>
                      <a:pt x="10233" y="39515"/>
                      <a:pt x="6580" y="39515"/>
                    </a:cubicBezTo>
                    <a:close/>
                  </a:path>
                </a:pathLst>
              </a:custGeom>
              <a:grpFill/>
              <a:ln w="1863" cap="flat">
                <a:noFill/>
                <a:prstDash val="solid"/>
                <a:miter/>
              </a:ln>
            </p:spPr>
            <p:txBody>
              <a:bodyPr rtlCol="0" anchor="ctr"/>
              <a:lstStyle/>
              <a:p>
                <a:endParaRPr lang="en-GB" dirty="0"/>
              </a:p>
            </p:txBody>
          </p:sp>
          <p:sp>
            <p:nvSpPr>
              <p:cNvPr id="148" name="Freihandform: Form 648">
                <a:extLst>
                  <a:ext uri="{FF2B5EF4-FFF2-40B4-BE49-F238E27FC236}">
                    <a16:creationId xmlns:a16="http://schemas.microsoft.com/office/drawing/2014/main" id="{AA433127-47E2-4ADC-9BD2-C6757DF6F0F5}"/>
                  </a:ext>
                </a:extLst>
              </p:cNvPr>
              <p:cNvSpPr/>
              <p:nvPr/>
            </p:nvSpPr>
            <p:spPr>
              <a:xfrm>
                <a:off x="5514706" y="1811228"/>
                <a:ext cx="13159" cy="223966"/>
              </a:xfrm>
              <a:custGeom>
                <a:avLst/>
                <a:gdLst>
                  <a:gd name="connsiteX0" fmla="*/ 6580 w 13159"/>
                  <a:gd name="connsiteY0" fmla="*/ 223967 h 223966"/>
                  <a:gd name="connsiteX1" fmla="*/ 0 w 13159"/>
                  <a:gd name="connsiteY1" fmla="*/ 217387 h 223966"/>
                  <a:gd name="connsiteX2" fmla="*/ 0 w 13159"/>
                  <a:gd name="connsiteY2" fmla="*/ 6580 h 223966"/>
                  <a:gd name="connsiteX3" fmla="*/ 6580 w 13159"/>
                  <a:gd name="connsiteY3" fmla="*/ 0 h 223966"/>
                  <a:gd name="connsiteX4" fmla="*/ 13159 w 13159"/>
                  <a:gd name="connsiteY4" fmla="*/ 6580 h 223966"/>
                  <a:gd name="connsiteX5" fmla="*/ 13159 w 13159"/>
                  <a:gd name="connsiteY5" fmla="*/ 217387 h 223966"/>
                  <a:gd name="connsiteX6" fmla="*/ 6580 w 13159"/>
                  <a:gd name="connsiteY6" fmla="*/ 223967 h 22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59" h="223966">
                    <a:moveTo>
                      <a:pt x="6580" y="223967"/>
                    </a:moveTo>
                    <a:cubicBezTo>
                      <a:pt x="2945" y="223967"/>
                      <a:pt x="0" y="221022"/>
                      <a:pt x="0" y="217387"/>
                    </a:cubicBezTo>
                    <a:lnTo>
                      <a:pt x="0" y="6580"/>
                    </a:lnTo>
                    <a:cubicBezTo>
                      <a:pt x="0" y="2945"/>
                      <a:pt x="2945" y="0"/>
                      <a:pt x="6580" y="0"/>
                    </a:cubicBezTo>
                    <a:cubicBezTo>
                      <a:pt x="10214" y="0"/>
                      <a:pt x="13159" y="2945"/>
                      <a:pt x="13159" y="6580"/>
                    </a:cubicBezTo>
                    <a:lnTo>
                      <a:pt x="13159" y="217387"/>
                    </a:lnTo>
                    <a:cubicBezTo>
                      <a:pt x="13178" y="221022"/>
                      <a:pt x="10214" y="223967"/>
                      <a:pt x="6580" y="223967"/>
                    </a:cubicBezTo>
                    <a:close/>
                  </a:path>
                </a:pathLst>
              </a:custGeom>
              <a:grpFill/>
              <a:ln w="1863" cap="flat">
                <a:noFill/>
                <a:prstDash val="solid"/>
                <a:miter/>
              </a:ln>
            </p:spPr>
            <p:txBody>
              <a:bodyPr rtlCol="0" anchor="ctr"/>
              <a:lstStyle/>
              <a:p>
                <a:endParaRPr lang="en-GB" dirty="0"/>
              </a:p>
            </p:txBody>
          </p:sp>
          <p:sp>
            <p:nvSpPr>
              <p:cNvPr id="149" name="Freihandform: Form 649">
                <a:extLst>
                  <a:ext uri="{FF2B5EF4-FFF2-40B4-BE49-F238E27FC236}">
                    <a16:creationId xmlns:a16="http://schemas.microsoft.com/office/drawing/2014/main" id="{91C4DE86-5C60-47BD-B793-A447A830B7C9}"/>
                  </a:ext>
                </a:extLst>
              </p:cNvPr>
              <p:cNvSpPr/>
              <p:nvPr/>
            </p:nvSpPr>
            <p:spPr>
              <a:xfrm>
                <a:off x="5600353" y="1896875"/>
                <a:ext cx="13159" cy="138320"/>
              </a:xfrm>
              <a:custGeom>
                <a:avLst/>
                <a:gdLst>
                  <a:gd name="connsiteX0" fmla="*/ 6580 w 13159"/>
                  <a:gd name="connsiteY0" fmla="*/ 138320 h 138320"/>
                  <a:gd name="connsiteX1" fmla="*/ 0 w 13159"/>
                  <a:gd name="connsiteY1" fmla="*/ 131741 h 138320"/>
                  <a:gd name="connsiteX2" fmla="*/ 0 w 13159"/>
                  <a:gd name="connsiteY2" fmla="*/ 6580 h 138320"/>
                  <a:gd name="connsiteX3" fmla="*/ 6580 w 13159"/>
                  <a:gd name="connsiteY3" fmla="*/ 0 h 138320"/>
                  <a:gd name="connsiteX4" fmla="*/ 13159 w 13159"/>
                  <a:gd name="connsiteY4" fmla="*/ 6580 h 138320"/>
                  <a:gd name="connsiteX5" fmla="*/ 13159 w 13159"/>
                  <a:gd name="connsiteY5" fmla="*/ 131741 h 138320"/>
                  <a:gd name="connsiteX6" fmla="*/ 6580 w 13159"/>
                  <a:gd name="connsiteY6" fmla="*/ 138320 h 138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59" h="138320">
                    <a:moveTo>
                      <a:pt x="6580" y="138320"/>
                    </a:moveTo>
                    <a:cubicBezTo>
                      <a:pt x="2945" y="138320"/>
                      <a:pt x="0" y="135375"/>
                      <a:pt x="0" y="131741"/>
                    </a:cubicBezTo>
                    <a:lnTo>
                      <a:pt x="0" y="6580"/>
                    </a:lnTo>
                    <a:cubicBezTo>
                      <a:pt x="0" y="2945"/>
                      <a:pt x="2945" y="0"/>
                      <a:pt x="6580" y="0"/>
                    </a:cubicBezTo>
                    <a:cubicBezTo>
                      <a:pt x="10214" y="0"/>
                      <a:pt x="13159" y="2945"/>
                      <a:pt x="13159" y="6580"/>
                    </a:cubicBezTo>
                    <a:lnTo>
                      <a:pt x="13159" y="131741"/>
                    </a:lnTo>
                    <a:cubicBezTo>
                      <a:pt x="13159" y="135375"/>
                      <a:pt x="10214" y="138320"/>
                      <a:pt x="6580" y="138320"/>
                    </a:cubicBezTo>
                    <a:close/>
                  </a:path>
                </a:pathLst>
              </a:custGeom>
              <a:grpFill/>
              <a:ln w="1863" cap="flat">
                <a:noFill/>
                <a:prstDash val="solid"/>
                <a:miter/>
              </a:ln>
            </p:spPr>
            <p:txBody>
              <a:bodyPr rtlCol="0" anchor="ctr"/>
              <a:lstStyle/>
              <a:p>
                <a:endParaRPr lang="en-GB" dirty="0"/>
              </a:p>
            </p:txBody>
          </p:sp>
          <p:sp>
            <p:nvSpPr>
              <p:cNvPr id="150" name="Freihandform: Form 650">
                <a:extLst>
                  <a:ext uri="{FF2B5EF4-FFF2-40B4-BE49-F238E27FC236}">
                    <a16:creationId xmlns:a16="http://schemas.microsoft.com/office/drawing/2014/main" id="{564346AD-CD0A-4653-B31F-7F041AD57DC8}"/>
                  </a:ext>
                </a:extLst>
              </p:cNvPr>
              <p:cNvSpPr/>
              <p:nvPr/>
            </p:nvSpPr>
            <p:spPr>
              <a:xfrm>
                <a:off x="5685999" y="1877098"/>
                <a:ext cx="13159" cy="158096"/>
              </a:xfrm>
              <a:custGeom>
                <a:avLst/>
                <a:gdLst>
                  <a:gd name="connsiteX0" fmla="*/ 6580 w 13159"/>
                  <a:gd name="connsiteY0" fmla="*/ 158096 h 158096"/>
                  <a:gd name="connsiteX1" fmla="*/ 0 w 13159"/>
                  <a:gd name="connsiteY1" fmla="*/ 151517 h 158096"/>
                  <a:gd name="connsiteX2" fmla="*/ 0 w 13159"/>
                  <a:gd name="connsiteY2" fmla="*/ 6580 h 158096"/>
                  <a:gd name="connsiteX3" fmla="*/ 6580 w 13159"/>
                  <a:gd name="connsiteY3" fmla="*/ 0 h 158096"/>
                  <a:gd name="connsiteX4" fmla="*/ 13159 w 13159"/>
                  <a:gd name="connsiteY4" fmla="*/ 6580 h 158096"/>
                  <a:gd name="connsiteX5" fmla="*/ 13159 w 13159"/>
                  <a:gd name="connsiteY5" fmla="*/ 151517 h 158096"/>
                  <a:gd name="connsiteX6" fmla="*/ 6580 w 13159"/>
                  <a:gd name="connsiteY6" fmla="*/ 158096 h 15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59" h="158096">
                    <a:moveTo>
                      <a:pt x="6580" y="158096"/>
                    </a:moveTo>
                    <a:cubicBezTo>
                      <a:pt x="2945" y="158096"/>
                      <a:pt x="0" y="155151"/>
                      <a:pt x="0" y="151517"/>
                    </a:cubicBezTo>
                    <a:lnTo>
                      <a:pt x="0" y="6580"/>
                    </a:lnTo>
                    <a:cubicBezTo>
                      <a:pt x="0" y="2945"/>
                      <a:pt x="2945" y="0"/>
                      <a:pt x="6580" y="0"/>
                    </a:cubicBezTo>
                    <a:cubicBezTo>
                      <a:pt x="10214" y="0"/>
                      <a:pt x="13159" y="2945"/>
                      <a:pt x="13159" y="6580"/>
                    </a:cubicBezTo>
                    <a:lnTo>
                      <a:pt x="13159" y="151517"/>
                    </a:lnTo>
                    <a:cubicBezTo>
                      <a:pt x="13159" y="155151"/>
                      <a:pt x="10214" y="158096"/>
                      <a:pt x="6580" y="158096"/>
                    </a:cubicBezTo>
                    <a:close/>
                  </a:path>
                </a:pathLst>
              </a:custGeom>
              <a:grpFill/>
              <a:ln w="1863" cap="flat">
                <a:noFill/>
                <a:prstDash val="solid"/>
                <a:miter/>
              </a:ln>
            </p:spPr>
            <p:txBody>
              <a:bodyPr rtlCol="0" anchor="ctr"/>
              <a:lstStyle/>
              <a:p>
                <a:endParaRPr lang="en-GB" dirty="0"/>
              </a:p>
            </p:txBody>
          </p:sp>
        </p:grpSp>
        <p:grpSp>
          <p:nvGrpSpPr>
            <p:cNvPr id="129" name="Gruppieren 1298">
              <a:extLst>
                <a:ext uri="{FF2B5EF4-FFF2-40B4-BE49-F238E27FC236}">
                  <a16:creationId xmlns:a16="http://schemas.microsoft.com/office/drawing/2014/main" id="{7946AAA1-A7F9-4A15-B4D5-5A0782BDCDF6}"/>
                </a:ext>
              </a:extLst>
            </p:cNvPr>
            <p:cNvGrpSpPr/>
            <p:nvPr/>
          </p:nvGrpSpPr>
          <p:grpSpPr>
            <a:xfrm>
              <a:off x="552436" y="2522246"/>
              <a:ext cx="483229" cy="301280"/>
              <a:chOff x="5278009" y="1758526"/>
              <a:chExt cx="487103" cy="303695"/>
            </a:xfrm>
          </p:grpSpPr>
          <p:sp>
            <p:nvSpPr>
              <p:cNvPr id="130" name="Freihandform: Form 645">
                <a:extLst>
                  <a:ext uri="{FF2B5EF4-FFF2-40B4-BE49-F238E27FC236}">
                    <a16:creationId xmlns:a16="http://schemas.microsoft.com/office/drawing/2014/main" id="{42635A52-75D4-4512-BE85-1309981189FF}"/>
                  </a:ext>
                </a:extLst>
              </p:cNvPr>
              <p:cNvSpPr/>
              <p:nvPr/>
            </p:nvSpPr>
            <p:spPr>
              <a:xfrm>
                <a:off x="5369770" y="1758526"/>
                <a:ext cx="388678" cy="158087"/>
              </a:xfrm>
              <a:custGeom>
                <a:avLst/>
                <a:gdLst>
                  <a:gd name="connsiteX0" fmla="*/ 382099 w 388678"/>
                  <a:gd name="connsiteY0" fmla="*/ 158087 h 158087"/>
                  <a:gd name="connsiteX1" fmla="*/ 377197 w 388678"/>
                  <a:gd name="connsiteY1" fmla="*/ 155907 h 158087"/>
                  <a:gd name="connsiteX2" fmla="*/ 320944 w 388678"/>
                  <a:gd name="connsiteY2" fmla="*/ 93391 h 158087"/>
                  <a:gd name="connsiteX3" fmla="*/ 239529 w 388678"/>
                  <a:gd name="connsiteY3" fmla="*/ 124705 h 158087"/>
                  <a:gd name="connsiteX4" fmla="*/ 232185 w 388678"/>
                  <a:gd name="connsiteY4" fmla="*/ 122860 h 158087"/>
                  <a:gd name="connsiteX5" fmla="*/ 150416 w 388678"/>
                  <a:gd name="connsiteY5" fmla="*/ 28527 h 158087"/>
                  <a:gd name="connsiteX6" fmla="*/ 69634 w 388678"/>
                  <a:gd name="connsiteY6" fmla="*/ 84463 h 158087"/>
                  <a:gd name="connsiteX7" fmla="*/ 60781 w 388678"/>
                  <a:gd name="connsiteY7" fmla="*/ 83214 h 158087"/>
                  <a:gd name="connsiteX8" fmla="*/ 1490 w 388678"/>
                  <a:gd name="connsiteY8" fmla="*/ 10746 h 158087"/>
                  <a:gd name="connsiteX9" fmla="*/ 2422 w 388678"/>
                  <a:gd name="connsiteY9" fmla="*/ 1482 h 158087"/>
                  <a:gd name="connsiteX10" fmla="*/ 11685 w 388678"/>
                  <a:gd name="connsiteY10" fmla="*/ 2414 h 158087"/>
                  <a:gd name="connsiteX11" fmla="*/ 67118 w 388678"/>
                  <a:gd name="connsiteY11" fmla="*/ 70167 h 158087"/>
                  <a:gd name="connsiteX12" fmla="*/ 147769 w 388678"/>
                  <a:gd name="connsiteY12" fmla="*/ 14343 h 158087"/>
                  <a:gd name="connsiteX13" fmla="*/ 156492 w 388678"/>
                  <a:gd name="connsiteY13" fmla="*/ 15443 h 158087"/>
                  <a:gd name="connsiteX14" fmla="*/ 239100 w 388678"/>
                  <a:gd name="connsiteY14" fmla="*/ 110763 h 158087"/>
                  <a:gd name="connsiteX15" fmla="*/ 320423 w 388678"/>
                  <a:gd name="connsiteY15" fmla="*/ 79487 h 158087"/>
                  <a:gd name="connsiteX16" fmla="*/ 327692 w 388678"/>
                  <a:gd name="connsiteY16" fmla="*/ 81239 h 158087"/>
                  <a:gd name="connsiteX17" fmla="*/ 386983 w 388678"/>
                  <a:gd name="connsiteY17" fmla="*/ 147109 h 158087"/>
                  <a:gd name="connsiteX18" fmla="*/ 386498 w 388678"/>
                  <a:gd name="connsiteY18" fmla="*/ 156410 h 158087"/>
                  <a:gd name="connsiteX19" fmla="*/ 382099 w 388678"/>
                  <a:gd name="connsiteY19" fmla="*/ 158087 h 158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8678" h="158087">
                    <a:moveTo>
                      <a:pt x="382099" y="158087"/>
                    </a:moveTo>
                    <a:cubicBezTo>
                      <a:pt x="380291" y="158087"/>
                      <a:pt x="378502" y="157342"/>
                      <a:pt x="377197" y="155907"/>
                    </a:cubicBezTo>
                    <a:lnTo>
                      <a:pt x="320944" y="93391"/>
                    </a:lnTo>
                    <a:lnTo>
                      <a:pt x="239529" y="124705"/>
                    </a:lnTo>
                    <a:cubicBezTo>
                      <a:pt x="236938" y="125693"/>
                      <a:pt x="234012" y="124966"/>
                      <a:pt x="232185" y="122860"/>
                    </a:cubicBezTo>
                    <a:lnTo>
                      <a:pt x="150416" y="28527"/>
                    </a:lnTo>
                    <a:lnTo>
                      <a:pt x="69634" y="84463"/>
                    </a:lnTo>
                    <a:cubicBezTo>
                      <a:pt x="66820" y="86420"/>
                      <a:pt x="62961" y="85880"/>
                      <a:pt x="60781" y="83214"/>
                    </a:cubicBezTo>
                    <a:lnTo>
                      <a:pt x="1490" y="10746"/>
                    </a:lnTo>
                    <a:cubicBezTo>
                      <a:pt x="-821" y="7931"/>
                      <a:pt x="-393" y="3775"/>
                      <a:pt x="2422" y="1482"/>
                    </a:cubicBezTo>
                    <a:cubicBezTo>
                      <a:pt x="5236" y="-810"/>
                      <a:pt x="9393" y="-400"/>
                      <a:pt x="11685" y="2414"/>
                    </a:cubicBezTo>
                    <a:lnTo>
                      <a:pt x="67118" y="70167"/>
                    </a:lnTo>
                    <a:lnTo>
                      <a:pt x="147769" y="14343"/>
                    </a:lnTo>
                    <a:cubicBezTo>
                      <a:pt x="150528" y="12442"/>
                      <a:pt x="154293" y="12908"/>
                      <a:pt x="156492" y="15443"/>
                    </a:cubicBezTo>
                    <a:lnTo>
                      <a:pt x="239100" y="110763"/>
                    </a:lnTo>
                    <a:lnTo>
                      <a:pt x="320423" y="79487"/>
                    </a:lnTo>
                    <a:cubicBezTo>
                      <a:pt x="322957" y="78499"/>
                      <a:pt x="325847" y="79207"/>
                      <a:pt x="327692" y="81239"/>
                    </a:cubicBezTo>
                    <a:lnTo>
                      <a:pt x="386983" y="147109"/>
                    </a:lnTo>
                    <a:cubicBezTo>
                      <a:pt x="389424" y="149812"/>
                      <a:pt x="389201" y="153987"/>
                      <a:pt x="386498" y="156410"/>
                    </a:cubicBezTo>
                    <a:cubicBezTo>
                      <a:pt x="385231" y="157528"/>
                      <a:pt x="383665" y="158087"/>
                      <a:pt x="382099" y="158087"/>
                    </a:cubicBezTo>
                    <a:close/>
                  </a:path>
                </a:pathLst>
              </a:custGeom>
              <a:solidFill>
                <a:schemeClr val="accent1"/>
              </a:solidFill>
              <a:ln w="1863" cap="flat">
                <a:noFill/>
                <a:prstDash val="solid"/>
                <a:miter/>
              </a:ln>
            </p:spPr>
            <p:txBody>
              <a:bodyPr rtlCol="0" anchor="ctr"/>
              <a:lstStyle/>
              <a:p>
                <a:endParaRPr lang="en-GB" dirty="0"/>
              </a:p>
            </p:txBody>
          </p:sp>
          <p:sp>
            <p:nvSpPr>
              <p:cNvPr id="131" name="Freihandform: Form 646">
                <a:extLst>
                  <a:ext uri="{FF2B5EF4-FFF2-40B4-BE49-F238E27FC236}">
                    <a16:creationId xmlns:a16="http://schemas.microsoft.com/office/drawing/2014/main" id="{1546D35D-F7D0-4BF4-AE26-405977F62E77}"/>
                  </a:ext>
                </a:extLst>
              </p:cNvPr>
              <p:cNvSpPr/>
              <p:nvPr/>
            </p:nvSpPr>
            <p:spPr>
              <a:xfrm>
                <a:off x="5725113" y="1884983"/>
                <a:ext cx="39999" cy="39402"/>
              </a:xfrm>
              <a:custGeom>
                <a:avLst/>
                <a:gdLst>
                  <a:gd name="connsiteX0" fmla="*/ 33429 w 39999"/>
                  <a:gd name="connsiteY0" fmla="*/ 39402 h 39402"/>
                  <a:gd name="connsiteX1" fmla="*/ 32404 w 39999"/>
                  <a:gd name="connsiteY1" fmla="*/ 39328 h 39402"/>
                  <a:gd name="connsiteX2" fmla="*/ 5564 w 39999"/>
                  <a:gd name="connsiteY2" fmla="*/ 35134 h 39402"/>
                  <a:gd name="connsiteX3" fmla="*/ 84 w 39999"/>
                  <a:gd name="connsiteY3" fmla="*/ 27604 h 39402"/>
                  <a:gd name="connsiteX4" fmla="*/ 7614 w 39999"/>
                  <a:gd name="connsiteY4" fmla="*/ 22124 h 39402"/>
                  <a:gd name="connsiteX5" fmla="*/ 26104 w 39999"/>
                  <a:gd name="connsiteY5" fmla="*/ 25013 h 39402"/>
                  <a:gd name="connsiteX6" fmla="*/ 24501 w 39999"/>
                  <a:gd name="connsiteY6" fmla="*/ 7175 h 39402"/>
                  <a:gd name="connsiteX7" fmla="*/ 30466 w 39999"/>
                  <a:gd name="connsiteY7" fmla="*/ 18 h 39402"/>
                  <a:gd name="connsiteX8" fmla="*/ 37623 w 39999"/>
                  <a:gd name="connsiteY8" fmla="*/ 5982 h 39402"/>
                  <a:gd name="connsiteX9" fmla="*/ 39972 w 39999"/>
                  <a:gd name="connsiteY9" fmla="*/ 32226 h 39402"/>
                  <a:gd name="connsiteX10" fmla="*/ 37921 w 39999"/>
                  <a:gd name="connsiteY10" fmla="*/ 37632 h 39402"/>
                  <a:gd name="connsiteX11" fmla="*/ 33429 w 39999"/>
                  <a:gd name="connsiteY11" fmla="*/ 39402 h 39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9999" h="39402">
                    <a:moveTo>
                      <a:pt x="33429" y="39402"/>
                    </a:moveTo>
                    <a:cubicBezTo>
                      <a:pt x="33094" y="39402"/>
                      <a:pt x="32758" y="39384"/>
                      <a:pt x="32404" y="39328"/>
                    </a:cubicBezTo>
                    <a:lnTo>
                      <a:pt x="5564" y="35134"/>
                    </a:lnTo>
                    <a:cubicBezTo>
                      <a:pt x="1967" y="34575"/>
                      <a:pt x="-494" y="31201"/>
                      <a:pt x="84" y="27604"/>
                    </a:cubicBezTo>
                    <a:cubicBezTo>
                      <a:pt x="643" y="24006"/>
                      <a:pt x="4017" y="21546"/>
                      <a:pt x="7614" y="22124"/>
                    </a:cubicBezTo>
                    <a:lnTo>
                      <a:pt x="26104" y="25013"/>
                    </a:lnTo>
                    <a:lnTo>
                      <a:pt x="24501" y="7175"/>
                    </a:lnTo>
                    <a:cubicBezTo>
                      <a:pt x="24184" y="3559"/>
                      <a:pt x="26850" y="353"/>
                      <a:pt x="30466" y="18"/>
                    </a:cubicBezTo>
                    <a:cubicBezTo>
                      <a:pt x="34063" y="-243"/>
                      <a:pt x="37288" y="2366"/>
                      <a:pt x="37623" y="5982"/>
                    </a:cubicBezTo>
                    <a:lnTo>
                      <a:pt x="39972" y="32226"/>
                    </a:lnTo>
                    <a:cubicBezTo>
                      <a:pt x="40158" y="34239"/>
                      <a:pt x="39394" y="36234"/>
                      <a:pt x="37921" y="37632"/>
                    </a:cubicBezTo>
                    <a:cubicBezTo>
                      <a:pt x="36710" y="38769"/>
                      <a:pt x="35088" y="39402"/>
                      <a:pt x="33429" y="39402"/>
                    </a:cubicBezTo>
                    <a:close/>
                  </a:path>
                </a:pathLst>
              </a:custGeom>
              <a:solidFill>
                <a:schemeClr val="accent1"/>
              </a:solidFill>
              <a:ln w="1863" cap="flat">
                <a:noFill/>
                <a:prstDash val="solid"/>
                <a:miter/>
              </a:ln>
            </p:spPr>
            <p:txBody>
              <a:bodyPr rtlCol="0" anchor="ctr"/>
              <a:lstStyle/>
              <a:p>
                <a:endParaRPr lang="en-GB" dirty="0"/>
              </a:p>
            </p:txBody>
          </p:sp>
          <p:grpSp>
            <p:nvGrpSpPr>
              <p:cNvPr id="132" name="Grafik 318">
                <a:extLst>
                  <a:ext uri="{FF2B5EF4-FFF2-40B4-BE49-F238E27FC236}">
                    <a16:creationId xmlns:a16="http://schemas.microsoft.com/office/drawing/2014/main" id="{58E485E0-BFC6-47DF-A260-86A6B7FE44B2}"/>
                  </a:ext>
                </a:extLst>
              </p:cNvPr>
              <p:cNvGrpSpPr/>
              <p:nvPr/>
            </p:nvGrpSpPr>
            <p:grpSpPr>
              <a:xfrm>
                <a:off x="5278009" y="1900807"/>
                <a:ext cx="165085" cy="161414"/>
                <a:chOff x="5278009" y="1900807"/>
                <a:chExt cx="165085" cy="161414"/>
              </a:xfrm>
              <a:solidFill>
                <a:schemeClr val="accent1"/>
              </a:solidFill>
            </p:grpSpPr>
            <p:grpSp>
              <p:nvGrpSpPr>
                <p:cNvPr id="133" name="Grafik 318">
                  <a:extLst>
                    <a:ext uri="{FF2B5EF4-FFF2-40B4-BE49-F238E27FC236}">
                      <a16:creationId xmlns:a16="http://schemas.microsoft.com/office/drawing/2014/main" id="{3C2B9BFD-9973-4545-8C29-9B6189AB885E}"/>
                    </a:ext>
                  </a:extLst>
                </p:cNvPr>
                <p:cNvGrpSpPr/>
                <p:nvPr/>
              </p:nvGrpSpPr>
              <p:grpSpPr>
                <a:xfrm>
                  <a:off x="5278009" y="1990592"/>
                  <a:ext cx="165048" cy="71629"/>
                  <a:chOff x="5278009" y="1990592"/>
                  <a:chExt cx="165048" cy="71629"/>
                </a:xfrm>
                <a:solidFill>
                  <a:schemeClr val="accent1"/>
                </a:solidFill>
              </p:grpSpPr>
              <p:sp>
                <p:nvSpPr>
                  <p:cNvPr id="141" name="Freihandform: Form 653">
                    <a:extLst>
                      <a:ext uri="{FF2B5EF4-FFF2-40B4-BE49-F238E27FC236}">
                        <a16:creationId xmlns:a16="http://schemas.microsoft.com/office/drawing/2014/main" id="{C9A53A3D-6FBD-406E-8288-44759045E5A7}"/>
                      </a:ext>
                    </a:extLst>
                  </p:cNvPr>
                  <p:cNvSpPr/>
                  <p:nvPr/>
                </p:nvSpPr>
                <p:spPr>
                  <a:xfrm>
                    <a:off x="5278009" y="2022259"/>
                    <a:ext cx="165048" cy="39141"/>
                  </a:xfrm>
                  <a:custGeom>
                    <a:avLst/>
                    <a:gdLst>
                      <a:gd name="connsiteX0" fmla="*/ 82552 w 165048"/>
                      <a:gd name="connsiteY0" fmla="*/ 39142 h 39141"/>
                      <a:gd name="connsiteX1" fmla="*/ 0 w 165048"/>
                      <a:gd name="connsiteY1" fmla="*/ 6580 h 39141"/>
                      <a:gd name="connsiteX2" fmla="*/ 6580 w 165048"/>
                      <a:gd name="connsiteY2" fmla="*/ 0 h 39141"/>
                      <a:gd name="connsiteX3" fmla="*/ 13159 w 165048"/>
                      <a:gd name="connsiteY3" fmla="*/ 6580 h 39141"/>
                      <a:gd name="connsiteX4" fmla="*/ 82534 w 165048"/>
                      <a:gd name="connsiteY4" fmla="*/ 25964 h 39141"/>
                      <a:gd name="connsiteX5" fmla="*/ 151890 w 165048"/>
                      <a:gd name="connsiteY5" fmla="*/ 6580 h 39141"/>
                      <a:gd name="connsiteX6" fmla="*/ 158469 w 165048"/>
                      <a:gd name="connsiteY6" fmla="*/ 0 h 39141"/>
                      <a:gd name="connsiteX7" fmla="*/ 165049 w 165048"/>
                      <a:gd name="connsiteY7" fmla="*/ 6580 h 39141"/>
                      <a:gd name="connsiteX8" fmla="*/ 82552 w 165048"/>
                      <a:gd name="connsiteY8" fmla="*/ 39142 h 39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48" h="39141">
                        <a:moveTo>
                          <a:pt x="82552" y="39142"/>
                        </a:moveTo>
                        <a:cubicBezTo>
                          <a:pt x="41528" y="39142"/>
                          <a:pt x="0" y="27959"/>
                          <a:pt x="0" y="6580"/>
                        </a:cubicBezTo>
                        <a:cubicBezTo>
                          <a:pt x="0" y="2945"/>
                          <a:pt x="2945" y="0"/>
                          <a:pt x="6580" y="0"/>
                        </a:cubicBezTo>
                        <a:cubicBezTo>
                          <a:pt x="10214" y="0"/>
                          <a:pt x="13159" y="2945"/>
                          <a:pt x="13159" y="6580"/>
                        </a:cubicBezTo>
                        <a:cubicBezTo>
                          <a:pt x="13159" y="13159"/>
                          <a:pt x="37651" y="25964"/>
                          <a:pt x="82534" y="25964"/>
                        </a:cubicBezTo>
                        <a:cubicBezTo>
                          <a:pt x="127416" y="25964"/>
                          <a:pt x="151890" y="13159"/>
                          <a:pt x="151890" y="6580"/>
                        </a:cubicBezTo>
                        <a:cubicBezTo>
                          <a:pt x="151890" y="2945"/>
                          <a:pt x="154835" y="0"/>
                          <a:pt x="158469" y="0"/>
                        </a:cubicBezTo>
                        <a:cubicBezTo>
                          <a:pt x="162104" y="0"/>
                          <a:pt x="165049" y="2945"/>
                          <a:pt x="165049" y="6580"/>
                        </a:cubicBezTo>
                        <a:cubicBezTo>
                          <a:pt x="165105" y="27959"/>
                          <a:pt x="123577" y="39142"/>
                          <a:pt x="82552" y="39142"/>
                        </a:cubicBezTo>
                        <a:close/>
                      </a:path>
                    </a:pathLst>
                  </a:custGeom>
                  <a:solidFill>
                    <a:schemeClr val="accent1"/>
                  </a:solidFill>
                  <a:ln w="1863" cap="flat">
                    <a:noFill/>
                    <a:prstDash val="solid"/>
                    <a:miter/>
                  </a:ln>
                </p:spPr>
                <p:txBody>
                  <a:bodyPr rtlCol="0" anchor="ctr"/>
                  <a:lstStyle/>
                  <a:p>
                    <a:endParaRPr lang="en-GB" dirty="0"/>
                  </a:p>
                </p:txBody>
              </p:sp>
              <p:grpSp>
                <p:nvGrpSpPr>
                  <p:cNvPr id="142" name="Grafik 318">
                    <a:extLst>
                      <a:ext uri="{FF2B5EF4-FFF2-40B4-BE49-F238E27FC236}">
                        <a16:creationId xmlns:a16="http://schemas.microsoft.com/office/drawing/2014/main" id="{DE6CE218-3DFE-4D5E-A545-672A9B8CB7CA}"/>
                      </a:ext>
                    </a:extLst>
                  </p:cNvPr>
                  <p:cNvGrpSpPr/>
                  <p:nvPr/>
                </p:nvGrpSpPr>
                <p:grpSpPr>
                  <a:xfrm>
                    <a:off x="5278009" y="1990592"/>
                    <a:ext cx="165048" cy="71629"/>
                    <a:chOff x="5278009" y="1990592"/>
                    <a:chExt cx="165048" cy="71629"/>
                  </a:xfrm>
                  <a:solidFill>
                    <a:schemeClr val="accent1"/>
                  </a:solidFill>
                </p:grpSpPr>
                <p:sp>
                  <p:nvSpPr>
                    <p:cNvPr id="143" name="Freihandform: Form 655">
                      <a:extLst>
                        <a:ext uri="{FF2B5EF4-FFF2-40B4-BE49-F238E27FC236}">
                          <a16:creationId xmlns:a16="http://schemas.microsoft.com/office/drawing/2014/main" id="{389A27BE-8DBB-42F8-8753-74FC12EF0168}"/>
                        </a:ext>
                      </a:extLst>
                    </p:cNvPr>
                    <p:cNvSpPr/>
                    <p:nvPr/>
                  </p:nvSpPr>
                  <p:spPr>
                    <a:xfrm>
                      <a:off x="5278009" y="1990592"/>
                      <a:ext cx="165048" cy="39141"/>
                    </a:xfrm>
                    <a:custGeom>
                      <a:avLst/>
                      <a:gdLst>
                        <a:gd name="connsiteX0" fmla="*/ 82552 w 165048"/>
                        <a:gd name="connsiteY0" fmla="*/ 39142 h 39141"/>
                        <a:gd name="connsiteX1" fmla="*/ 0 w 165048"/>
                        <a:gd name="connsiteY1" fmla="*/ 6580 h 39141"/>
                        <a:gd name="connsiteX2" fmla="*/ 6580 w 165048"/>
                        <a:gd name="connsiteY2" fmla="*/ 0 h 39141"/>
                        <a:gd name="connsiteX3" fmla="*/ 13159 w 165048"/>
                        <a:gd name="connsiteY3" fmla="*/ 6580 h 39141"/>
                        <a:gd name="connsiteX4" fmla="*/ 82534 w 165048"/>
                        <a:gd name="connsiteY4" fmla="*/ 25964 h 39141"/>
                        <a:gd name="connsiteX5" fmla="*/ 151890 w 165048"/>
                        <a:gd name="connsiteY5" fmla="*/ 6580 h 39141"/>
                        <a:gd name="connsiteX6" fmla="*/ 158469 w 165048"/>
                        <a:gd name="connsiteY6" fmla="*/ 0 h 39141"/>
                        <a:gd name="connsiteX7" fmla="*/ 165049 w 165048"/>
                        <a:gd name="connsiteY7" fmla="*/ 6580 h 39141"/>
                        <a:gd name="connsiteX8" fmla="*/ 82552 w 165048"/>
                        <a:gd name="connsiteY8" fmla="*/ 39142 h 39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48" h="39141">
                          <a:moveTo>
                            <a:pt x="82552" y="39142"/>
                          </a:moveTo>
                          <a:cubicBezTo>
                            <a:pt x="41528" y="39142"/>
                            <a:pt x="0" y="27959"/>
                            <a:pt x="0" y="6580"/>
                          </a:cubicBezTo>
                          <a:cubicBezTo>
                            <a:pt x="0" y="2945"/>
                            <a:pt x="2945" y="0"/>
                            <a:pt x="6580" y="0"/>
                          </a:cubicBezTo>
                          <a:cubicBezTo>
                            <a:pt x="10214" y="0"/>
                            <a:pt x="13159" y="2945"/>
                            <a:pt x="13159" y="6580"/>
                          </a:cubicBezTo>
                          <a:cubicBezTo>
                            <a:pt x="13159" y="13159"/>
                            <a:pt x="37651" y="25964"/>
                            <a:pt x="82534" y="25964"/>
                          </a:cubicBezTo>
                          <a:cubicBezTo>
                            <a:pt x="127416" y="25964"/>
                            <a:pt x="151890" y="13159"/>
                            <a:pt x="151890" y="6580"/>
                          </a:cubicBezTo>
                          <a:cubicBezTo>
                            <a:pt x="151890" y="2945"/>
                            <a:pt x="154835" y="0"/>
                            <a:pt x="158469" y="0"/>
                          </a:cubicBezTo>
                          <a:cubicBezTo>
                            <a:pt x="162104" y="0"/>
                            <a:pt x="165049" y="2945"/>
                            <a:pt x="165049" y="6580"/>
                          </a:cubicBezTo>
                          <a:cubicBezTo>
                            <a:pt x="165105" y="27959"/>
                            <a:pt x="123577" y="39142"/>
                            <a:pt x="82552" y="39142"/>
                          </a:cubicBezTo>
                          <a:close/>
                        </a:path>
                      </a:pathLst>
                    </a:custGeom>
                    <a:solidFill>
                      <a:schemeClr val="accent1"/>
                    </a:solidFill>
                    <a:ln w="1863" cap="flat">
                      <a:noFill/>
                      <a:prstDash val="solid"/>
                      <a:miter/>
                    </a:ln>
                  </p:spPr>
                  <p:txBody>
                    <a:bodyPr rtlCol="0" anchor="ctr"/>
                    <a:lstStyle/>
                    <a:p>
                      <a:endParaRPr lang="en-GB" dirty="0"/>
                    </a:p>
                  </p:txBody>
                </p:sp>
                <p:sp>
                  <p:nvSpPr>
                    <p:cNvPr id="144" name="Freihandform: Form 656">
                      <a:extLst>
                        <a:ext uri="{FF2B5EF4-FFF2-40B4-BE49-F238E27FC236}">
                          <a16:creationId xmlns:a16="http://schemas.microsoft.com/office/drawing/2014/main" id="{933AF6A3-D478-4110-A21D-E2C79213EB3C}"/>
                        </a:ext>
                      </a:extLst>
                    </p:cNvPr>
                    <p:cNvSpPr/>
                    <p:nvPr/>
                  </p:nvSpPr>
                  <p:spPr>
                    <a:xfrm>
                      <a:off x="5278009" y="1990592"/>
                      <a:ext cx="165048" cy="71629"/>
                    </a:xfrm>
                    <a:custGeom>
                      <a:avLst/>
                      <a:gdLst>
                        <a:gd name="connsiteX0" fmla="*/ 82552 w 165048"/>
                        <a:gd name="connsiteY0" fmla="*/ 71630 h 71629"/>
                        <a:gd name="connsiteX1" fmla="*/ 0 w 165048"/>
                        <a:gd name="connsiteY1" fmla="*/ 39067 h 71629"/>
                        <a:gd name="connsiteX2" fmla="*/ 0 w 165048"/>
                        <a:gd name="connsiteY2" fmla="*/ 6580 h 71629"/>
                        <a:gd name="connsiteX3" fmla="*/ 6580 w 165048"/>
                        <a:gd name="connsiteY3" fmla="*/ 0 h 71629"/>
                        <a:gd name="connsiteX4" fmla="*/ 13159 w 165048"/>
                        <a:gd name="connsiteY4" fmla="*/ 6580 h 71629"/>
                        <a:gd name="connsiteX5" fmla="*/ 13159 w 165048"/>
                        <a:gd name="connsiteY5" fmla="*/ 39067 h 71629"/>
                        <a:gd name="connsiteX6" fmla="*/ 82534 w 165048"/>
                        <a:gd name="connsiteY6" fmla="*/ 58452 h 71629"/>
                        <a:gd name="connsiteX7" fmla="*/ 151890 w 165048"/>
                        <a:gd name="connsiteY7" fmla="*/ 39067 h 71629"/>
                        <a:gd name="connsiteX8" fmla="*/ 151890 w 165048"/>
                        <a:gd name="connsiteY8" fmla="*/ 6580 h 71629"/>
                        <a:gd name="connsiteX9" fmla="*/ 158469 w 165048"/>
                        <a:gd name="connsiteY9" fmla="*/ 0 h 71629"/>
                        <a:gd name="connsiteX10" fmla="*/ 165049 w 165048"/>
                        <a:gd name="connsiteY10" fmla="*/ 6580 h 71629"/>
                        <a:gd name="connsiteX11" fmla="*/ 165049 w 165048"/>
                        <a:gd name="connsiteY11" fmla="*/ 39067 h 71629"/>
                        <a:gd name="connsiteX12" fmla="*/ 82552 w 165048"/>
                        <a:gd name="connsiteY12" fmla="*/ 71630 h 7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048" h="71629">
                          <a:moveTo>
                            <a:pt x="82552" y="71630"/>
                          </a:moveTo>
                          <a:cubicBezTo>
                            <a:pt x="41528" y="71630"/>
                            <a:pt x="0" y="60446"/>
                            <a:pt x="0" y="39067"/>
                          </a:cubicBezTo>
                          <a:lnTo>
                            <a:pt x="0" y="6580"/>
                          </a:lnTo>
                          <a:cubicBezTo>
                            <a:pt x="0" y="2945"/>
                            <a:pt x="2945" y="0"/>
                            <a:pt x="6580" y="0"/>
                          </a:cubicBezTo>
                          <a:cubicBezTo>
                            <a:pt x="10214" y="0"/>
                            <a:pt x="13159" y="2945"/>
                            <a:pt x="13159" y="6580"/>
                          </a:cubicBezTo>
                          <a:lnTo>
                            <a:pt x="13159" y="39067"/>
                          </a:lnTo>
                          <a:cubicBezTo>
                            <a:pt x="13159" y="45647"/>
                            <a:pt x="37651" y="58452"/>
                            <a:pt x="82534" y="58452"/>
                          </a:cubicBezTo>
                          <a:cubicBezTo>
                            <a:pt x="127416" y="58452"/>
                            <a:pt x="151890" y="45647"/>
                            <a:pt x="151890" y="39067"/>
                          </a:cubicBezTo>
                          <a:lnTo>
                            <a:pt x="151890" y="6580"/>
                          </a:lnTo>
                          <a:cubicBezTo>
                            <a:pt x="151890" y="2945"/>
                            <a:pt x="154835" y="0"/>
                            <a:pt x="158469" y="0"/>
                          </a:cubicBezTo>
                          <a:cubicBezTo>
                            <a:pt x="162104" y="0"/>
                            <a:pt x="165049" y="2945"/>
                            <a:pt x="165049" y="6580"/>
                          </a:cubicBezTo>
                          <a:lnTo>
                            <a:pt x="165049" y="39067"/>
                          </a:lnTo>
                          <a:cubicBezTo>
                            <a:pt x="165105" y="60446"/>
                            <a:pt x="123577" y="71630"/>
                            <a:pt x="82552" y="71630"/>
                          </a:cubicBezTo>
                          <a:close/>
                        </a:path>
                      </a:pathLst>
                    </a:custGeom>
                    <a:solidFill>
                      <a:schemeClr val="accent1"/>
                    </a:solidFill>
                    <a:ln w="1863" cap="flat">
                      <a:noFill/>
                      <a:prstDash val="solid"/>
                      <a:miter/>
                    </a:ln>
                  </p:spPr>
                  <p:txBody>
                    <a:bodyPr rtlCol="0" anchor="ctr"/>
                    <a:lstStyle/>
                    <a:p>
                      <a:endParaRPr lang="en-GB" dirty="0"/>
                    </a:p>
                  </p:txBody>
                </p:sp>
              </p:grpSp>
            </p:grpSp>
            <p:grpSp>
              <p:nvGrpSpPr>
                <p:cNvPr id="134" name="Grafik 318">
                  <a:extLst>
                    <a:ext uri="{FF2B5EF4-FFF2-40B4-BE49-F238E27FC236}">
                      <a16:creationId xmlns:a16="http://schemas.microsoft.com/office/drawing/2014/main" id="{85BA8F9A-3E16-4926-B17A-A36029F8B504}"/>
                    </a:ext>
                  </a:extLst>
                </p:cNvPr>
                <p:cNvGrpSpPr/>
                <p:nvPr/>
              </p:nvGrpSpPr>
              <p:grpSpPr>
                <a:xfrm>
                  <a:off x="5278009" y="1900807"/>
                  <a:ext cx="165085" cy="129261"/>
                  <a:chOff x="5278009" y="1900807"/>
                  <a:chExt cx="165085" cy="129261"/>
                </a:xfrm>
                <a:solidFill>
                  <a:schemeClr val="accent1"/>
                </a:solidFill>
              </p:grpSpPr>
              <p:grpSp>
                <p:nvGrpSpPr>
                  <p:cNvPr id="135" name="Grafik 318">
                    <a:extLst>
                      <a:ext uri="{FF2B5EF4-FFF2-40B4-BE49-F238E27FC236}">
                        <a16:creationId xmlns:a16="http://schemas.microsoft.com/office/drawing/2014/main" id="{E04D5567-5DB0-4369-94DF-F5E91CABF788}"/>
                      </a:ext>
                    </a:extLst>
                  </p:cNvPr>
                  <p:cNvGrpSpPr/>
                  <p:nvPr/>
                </p:nvGrpSpPr>
                <p:grpSpPr>
                  <a:xfrm>
                    <a:off x="5278009" y="1958439"/>
                    <a:ext cx="165048" cy="71629"/>
                    <a:chOff x="5278009" y="1958439"/>
                    <a:chExt cx="165048" cy="71629"/>
                  </a:xfrm>
                  <a:solidFill>
                    <a:schemeClr val="accent1"/>
                  </a:solidFill>
                </p:grpSpPr>
                <p:sp>
                  <p:nvSpPr>
                    <p:cNvPr id="139" name="Freihandform: Form 659">
                      <a:extLst>
                        <a:ext uri="{FF2B5EF4-FFF2-40B4-BE49-F238E27FC236}">
                          <a16:creationId xmlns:a16="http://schemas.microsoft.com/office/drawing/2014/main" id="{00C730E4-C4FB-4F22-A3DC-930AF6AD198C}"/>
                        </a:ext>
                      </a:extLst>
                    </p:cNvPr>
                    <p:cNvSpPr/>
                    <p:nvPr/>
                  </p:nvSpPr>
                  <p:spPr>
                    <a:xfrm>
                      <a:off x="5278009" y="1958439"/>
                      <a:ext cx="165048" cy="39160"/>
                    </a:xfrm>
                    <a:custGeom>
                      <a:avLst/>
                      <a:gdLst>
                        <a:gd name="connsiteX0" fmla="*/ 82552 w 165048"/>
                        <a:gd name="connsiteY0" fmla="*/ 39161 h 39160"/>
                        <a:gd name="connsiteX1" fmla="*/ 0 w 165048"/>
                        <a:gd name="connsiteY1" fmla="*/ 6580 h 39160"/>
                        <a:gd name="connsiteX2" fmla="*/ 6580 w 165048"/>
                        <a:gd name="connsiteY2" fmla="*/ 0 h 39160"/>
                        <a:gd name="connsiteX3" fmla="*/ 13159 w 165048"/>
                        <a:gd name="connsiteY3" fmla="*/ 6580 h 39160"/>
                        <a:gd name="connsiteX4" fmla="*/ 82534 w 165048"/>
                        <a:gd name="connsiteY4" fmla="*/ 25983 h 39160"/>
                        <a:gd name="connsiteX5" fmla="*/ 151890 w 165048"/>
                        <a:gd name="connsiteY5" fmla="*/ 6580 h 39160"/>
                        <a:gd name="connsiteX6" fmla="*/ 158469 w 165048"/>
                        <a:gd name="connsiteY6" fmla="*/ 0 h 39160"/>
                        <a:gd name="connsiteX7" fmla="*/ 165049 w 165048"/>
                        <a:gd name="connsiteY7" fmla="*/ 6580 h 39160"/>
                        <a:gd name="connsiteX8" fmla="*/ 82552 w 165048"/>
                        <a:gd name="connsiteY8" fmla="*/ 39161 h 3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5048" h="39160">
                          <a:moveTo>
                            <a:pt x="82552" y="39161"/>
                          </a:moveTo>
                          <a:cubicBezTo>
                            <a:pt x="41528" y="39161"/>
                            <a:pt x="0" y="27977"/>
                            <a:pt x="0" y="6580"/>
                          </a:cubicBezTo>
                          <a:cubicBezTo>
                            <a:pt x="0" y="2945"/>
                            <a:pt x="2945" y="0"/>
                            <a:pt x="6580" y="0"/>
                          </a:cubicBezTo>
                          <a:cubicBezTo>
                            <a:pt x="10214" y="0"/>
                            <a:pt x="13159" y="2945"/>
                            <a:pt x="13159" y="6580"/>
                          </a:cubicBezTo>
                          <a:cubicBezTo>
                            <a:pt x="13159" y="13159"/>
                            <a:pt x="37651" y="25983"/>
                            <a:pt x="82534" y="25983"/>
                          </a:cubicBezTo>
                          <a:cubicBezTo>
                            <a:pt x="127416" y="25983"/>
                            <a:pt x="151890" y="13178"/>
                            <a:pt x="151890" y="6580"/>
                          </a:cubicBezTo>
                          <a:cubicBezTo>
                            <a:pt x="151890" y="2945"/>
                            <a:pt x="154835" y="0"/>
                            <a:pt x="158469" y="0"/>
                          </a:cubicBezTo>
                          <a:cubicBezTo>
                            <a:pt x="162104" y="0"/>
                            <a:pt x="165049" y="2945"/>
                            <a:pt x="165049" y="6580"/>
                          </a:cubicBezTo>
                          <a:cubicBezTo>
                            <a:pt x="165105" y="27977"/>
                            <a:pt x="123577" y="39161"/>
                            <a:pt x="82552" y="39161"/>
                          </a:cubicBezTo>
                          <a:close/>
                        </a:path>
                      </a:pathLst>
                    </a:custGeom>
                    <a:solidFill>
                      <a:schemeClr val="accent1"/>
                    </a:solidFill>
                    <a:ln w="1863" cap="flat">
                      <a:noFill/>
                      <a:prstDash val="solid"/>
                      <a:miter/>
                    </a:ln>
                  </p:spPr>
                  <p:txBody>
                    <a:bodyPr rtlCol="0" anchor="ctr"/>
                    <a:lstStyle/>
                    <a:p>
                      <a:endParaRPr lang="en-GB" dirty="0"/>
                    </a:p>
                  </p:txBody>
                </p:sp>
                <p:sp>
                  <p:nvSpPr>
                    <p:cNvPr id="140" name="Freihandform: Form 660">
                      <a:extLst>
                        <a:ext uri="{FF2B5EF4-FFF2-40B4-BE49-F238E27FC236}">
                          <a16:creationId xmlns:a16="http://schemas.microsoft.com/office/drawing/2014/main" id="{2D9B452A-E784-4D9C-AF64-0DB494BE8B02}"/>
                        </a:ext>
                      </a:extLst>
                    </p:cNvPr>
                    <p:cNvSpPr/>
                    <p:nvPr/>
                  </p:nvSpPr>
                  <p:spPr>
                    <a:xfrm>
                      <a:off x="5278009" y="1958439"/>
                      <a:ext cx="165048" cy="71629"/>
                    </a:xfrm>
                    <a:custGeom>
                      <a:avLst/>
                      <a:gdLst>
                        <a:gd name="connsiteX0" fmla="*/ 82552 w 165048"/>
                        <a:gd name="connsiteY0" fmla="*/ 71630 h 71629"/>
                        <a:gd name="connsiteX1" fmla="*/ 0 w 165048"/>
                        <a:gd name="connsiteY1" fmla="*/ 39067 h 71629"/>
                        <a:gd name="connsiteX2" fmla="*/ 0 w 165048"/>
                        <a:gd name="connsiteY2" fmla="*/ 6580 h 71629"/>
                        <a:gd name="connsiteX3" fmla="*/ 6580 w 165048"/>
                        <a:gd name="connsiteY3" fmla="*/ 0 h 71629"/>
                        <a:gd name="connsiteX4" fmla="*/ 13159 w 165048"/>
                        <a:gd name="connsiteY4" fmla="*/ 6580 h 71629"/>
                        <a:gd name="connsiteX5" fmla="*/ 13159 w 165048"/>
                        <a:gd name="connsiteY5" fmla="*/ 39067 h 71629"/>
                        <a:gd name="connsiteX6" fmla="*/ 82534 w 165048"/>
                        <a:gd name="connsiteY6" fmla="*/ 58452 h 71629"/>
                        <a:gd name="connsiteX7" fmla="*/ 151890 w 165048"/>
                        <a:gd name="connsiteY7" fmla="*/ 39067 h 71629"/>
                        <a:gd name="connsiteX8" fmla="*/ 151890 w 165048"/>
                        <a:gd name="connsiteY8" fmla="*/ 6580 h 71629"/>
                        <a:gd name="connsiteX9" fmla="*/ 158469 w 165048"/>
                        <a:gd name="connsiteY9" fmla="*/ 0 h 71629"/>
                        <a:gd name="connsiteX10" fmla="*/ 165049 w 165048"/>
                        <a:gd name="connsiteY10" fmla="*/ 6580 h 71629"/>
                        <a:gd name="connsiteX11" fmla="*/ 165049 w 165048"/>
                        <a:gd name="connsiteY11" fmla="*/ 39067 h 71629"/>
                        <a:gd name="connsiteX12" fmla="*/ 82552 w 165048"/>
                        <a:gd name="connsiteY12" fmla="*/ 71630 h 71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048" h="71629">
                          <a:moveTo>
                            <a:pt x="82552" y="71630"/>
                          </a:moveTo>
                          <a:cubicBezTo>
                            <a:pt x="41528" y="71630"/>
                            <a:pt x="0" y="60446"/>
                            <a:pt x="0" y="39067"/>
                          </a:cubicBezTo>
                          <a:lnTo>
                            <a:pt x="0" y="6580"/>
                          </a:lnTo>
                          <a:cubicBezTo>
                            <a:pt x="0" y="2945"/>
                            <a:pt x="2945" y="0"/>
                            <a:pt x="6580" y="0"/>
                          </a:cubicBezTo>
                          <a:cubicBezTo>
                            <a:pt x="10214" y="0"/>
                            <a:pt x="13159" y="2945"/>
                            <a:pt x="13159" y="6580"/>
                          </a:cubicBezTo>
                          <a:lnTo>
                            <a:pt x="13159" y="39067"/>
                          </a:lnTo>
                          <a:cubicBezTo>
                            <a:pt x="13159" y="45647"/>
                            <a:pt x="37651" y="58452"/>
                            <a:pt x="82534" y="58452"/>
                          </a:cubicBezTo>
                          <a:cubicBezTo>
                            <a:pt x="127416" y="58452"/>
                            <a:pt x="151890" y="45647"/>
                            <a:pt x="151890" y="39067"/>
                          </a:cubicBezTo>
                          <a:lnTo>
                            <a:pt x="151890" y="6580"/>
                          </a:lnTo>
                          <a:cubicBezTo>
                            <a:pt x="151890" y="2945"/>
                            <a:pt x="154835" y="0"/>
                            <a:pt x="158469" y="0"/>
                          </a:cubicBezTo>
                          <a:cubicBezTo>
                            <a:pt x="162104" y="0"/>
                            <a:pt x="165049" y="2945"/>
                            <a:pt x="165049" y="6580"/>
                          </a:cubicBezTo>
                          <a:lnTo>
                            <a:pt x="165049" y="39067"/>
                          </a:lnTo>
                          <a:cubicBezTo>
                            <a:pt x="165105" y="60446"/>
                            <a:pt x="123577" y="71630"/>
                            <a:pt x="82552" y="71630"/>
                          </a:cubicBezTo>
                          <a:close/>
                        </a:path>
                      </a:pathLst>
                    </a:custGeom>
                    <a:solidFill>
                      <a:schemeClr val="accent1"/>
                    </a:solidFill>
                    <a:ln w="1863" cap="flat">
                      <a:noFill/>
                      <a:prstDash val="solid"/>
                      <a:miter/>
                    </a:ln>
                  </p:spPr>
                  <p:txBody>
                    <a:bodyPr rtlCol="0" anchor="ctr"/>
                    <a:lstStyle/>
                    <a:p>
                      <a:endParaRPr lang="en-GB" dirty="0"/>
                    </a:p>
                  </p:txBody>
                </p:sp>
              </p:grpSp>
              <p:grpSp>
                <p:nvGrpSpPr>
                  <p:cNvPr id="136" name="Grafik 318">
                    <a:extLst>
                      <a:ext uri="{FF2B5EF4-FFF2-40B4-BE49-F238E27FC236}">
                        <a16:creationId xmlns:a16="http://schemas.microsoft.com/office/drawing/2014/main" id="{070C4B52-57BA-4EC0-8294-D2563FADA2B7}"/>
                      </a:ext>
                    </a:extLst>
                  </p:cNvPr>
                  <p:cNvGrpSpPr/>
                  <p:nvPr/>
                </p:nvGrpSpPr>
                <p:grpSpPr>
                  <a:xfrm>
                    <a:off x="5278009" y="1900807"/>
                    <a:ext cx="165085" cy="97594"/>
                    <a:chOff x="5278009" y="1900807"/>
                    <a:chExt cx="165085" cy="97594"/>
                  </a:xfrm>
                  <a:solidFill>
                    <a:schemeClr val="accent1"/>
                  </a:solidFill>
                </p:grpSpPr>
                <p:sp>
                  <p:nvSpPr>
                    <p:cNvPr id="137" name="Freihandform: Form 662">
                      <a:extLst>
                        <a:ext uri="{FF2B5EF4-FFF2-40B4-BE49-F238E27FC236}">
                          <a16:creationId xmlns:a16="http://schemas.microsoft.com/office/drawing/2014/main" id="{09E88495-1965-485E-96F1-69254B197A03}"/>
                        </a:ext>
                      </a:extLst>
                    </p:cNvPr>
                    <p:cNvSpPr/>
                    <p:nvPr/>
                  </p:nvSpPr>
                  <p:spPr>
                    <a:xfrm>
                      <a:off x="5278009" y="1900807"/>
                      <a:ext cx="165085" cy="65124"/>
                    </a:xfrm>
                    <a:custGeom>
                      <a:avLst/>
                      <a:gdLst>
                        <a:gd name="connsiteX0" fmla="*/ 82552 w 165085"/>
                        <a:gd name="connsiteY0" fmla="*/ 65125 h 65124"/>
                        <a:gd name="connsiteX1" fmla="*/ 0 w 165085"/>
                        <a:gd name="connsiteY1" fmla="*/ 32562 h 65124"/>
                        <a:gd name="connsiteX2" fmla="*/ 82552 w 165085"/>
                        <a:gd name="connsiteY2" fmla="*/ 0 h 65124"/>
                        <a:gd name="connsiteX3" fmla="*/ 165086 w 165085"/>
                        <a:gd name="connsiteY3" fmla="*/ 32562 h 65124"/>
                        <a:gd name="connsiteX4" fmla="*/ 82552 w 165085"/>
                        <a:gd name="connsiteY4" fmla="*/ 65125 h 65124"/>
                        <a:gd name="connsiteX5" fmla="*/ 82552 w 165085"/>
                        <a:gd name="connsiteY5" fmla="*/ 13159 h 65124"/>
                        <a:gd name="connsiteX6" fmla="*/ 13178 w 165085"/>
                        <a:gd name="connsiteY6" fmla="*/ 32544 h 65124"/>
                        <a:gd name="connsiteX7" fmla="*/ 82552 w 165085"/>
                        <a:gd name="connsiteY7" fmla="*/ 51928 h 65124"/>
                        <a:gd name="connsiteX8" fmla="*/ 151908 w 165085"/>
                        <a:gd name="connsiteY8" fmla="*/ 32544 h 65124"/>
                        <a:gd name="connsiteX9" fmla="*/ 82552 w 165085"/>
                        <a:gd name="connsiteY9" fmla="*/ 13159 h 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5085" h="65124">
                          <a:moveTo>
                            <a:pt x="82552" y="65125"/>
                          </a:moveTo>
                          <a:cubicBezTo>
                            <a:pt x="41528" y="65125"/>
                            <a:pt x="0" y="53941"/>
                            <a:pt x="0" y="32562"/>
                          </a:cubicBezTo>
                          <a:cubicBezTo>
                            <a:pt x="0" y="11183"/>
                            <a:pt x="41528" y="0"/>
                            <a:pt x="82552" y="0"/>
                          </a:cubicBezTo>
                          <a:cubicBezTo>
                            <a:pt x="123577" y="0"/>
                            <a:pt x="165086" y="11183"/>
                            <a:pt x="165086" y="32562"/>
                          </a:cubicBezTo>
                          <a:cubicBezTo>
                            <a:pt x="165105" y="53941"/>
                            <a:pt x="123577" y="65125"/>
                            <a:pt x="82552" y="65125"/>
                          </a:cubicBezTo>
                          <a:close/>
                          <a:moveTo>
                            <a:pt x="82552" y="13159"/>
                          </a:moveTo>
                          <a:cubicBezTo>
                            <a:pt x="37669" y="13159"/>
                            <a:pt x="13178" y="25964"/>
                            <a:pt x="13178" y="32544"/>
                          </a:cubicBezTo>
                          <a:cubicBezTo>
                            <a:pt x="13178" y="39123"/>
                            <a:pt x="37669" y="51928"/>
                            <a:pt x="82552" y="51928"/>
                          </a:cubicBezTo>
                          <a:cubicBezTo>
                            <a:pt x="127435" y="51928"/>
                            <a:pt x="151908" y="39123"/>
                            <a:pt x="151908" y="32544"/>
                          </a:cubicBezTo>
                          <a:cubicBezTo>
                            <a:pt x="151927" y="25964"/>
                            <a:pt x="127435" y="13159"/>
                            <a:pt x="82552" y="13159"/>
                          </a:cubicBezTo>
                          <a:close/>
                        </a:path>
                      </a:pathLst>
                    </a:custGeom>
                    <a:solidFill>
                      <a:schemeClr val="accent1"/>
                    </a:solidFill>
                    <a:ln w="1863" cap="flat">
                      <a:noFill/>
                      <a:prstDash val="solid"/>
                      <a:miter/>
                    </a:ln>
                  </p:spPr>
                  <p:txBody>
                    <a:bodyPr rtlCol="0" anchor="ctr"/>
                    <a:lstStyle/>
                    <a:p>
                      <a:endParaRPr lang="en-GB" dirty="0"/>
                    </a:p>
                  </p:txBody>
                </p:sp>
                <p:sp>
                  <p:nvSpPr>
                    <p:cNvPr id="138" name="Freihandform: Form 663">
                      <a:extLst>
                        <a:ext uri="{FF2B5EF4-FFF2-40B4-BE49-F238E27FC236}">
                          <a16:creationId xmlns:a16="http://schemas.microsoft.com/office/drawing/2014/main" id="{1B64D7E8-A014-4D94-99D4-7D8C980C45CD}"/>
                        </a:ext>
                      </a:extLst>
                    </p:cNvPr>
                    <p:cNvSpPr/>
                    <p:nvPr/>
                  </p:nvSpPr>
                  <p:spPr>
                    <a:xfrm>
                      <a:off x="5278009" y="1926790"/>
                      <a:ext cx="165048" cy="71611"/>
                    </a:xfrm>
                    <a:custGeom>
                      <a:avLst/>
                      <a:gdLst>
                        <a:gd name="connsiteX0" fmla="*/ 82552 w 165048"/>
                        <a:gd name="connsiteY0" fmla="*/ 71611 h 71611"/>
                        <a:gd name="connsiteX1" fmla="*/ 0 w 165048"/>
                        <a:gd name="connsiteY1" fmla="*/ 39049 h 71611"/>
                        <a:gd name="connsiteX2" fmla="*/ 0 w 165048"/>
                        <a:gd name="connsiteY2" fmla="*/ 6580 h 71611"/>
                        <a:gd name="connsiteX3" fmla="*/ 6580 w 165048"/>
                        <a:gd name="connsiteY3" fmla="*/ 0 h 71611"/>
                        <a:gd name="connsiteX4" fmla="*/ 13159 w 165048"/>
                        <a:gd name="connsiteY4" fmla="*/ 6580 h 71611"/>
                        <a:gd name="connsiteX5" fmla="*/ 13159 w 165048"/>
                        <a:gd name="connsiteY5" fmla="*/ 39067 h 71611"/>
                        <a:gd name="connsiteX6" fmla="*/ 82534 w 165048"/>
                        <a:gd name="connsiteY6" fmla="*/ 58452 h 71611"/>
                        <a:gd name="connsiteX7" fmla="*/ 151890 w 165048"/>
                        <a:gd name="connsiteY7" fmla="*/ 39067 h 71611"/>
                        <a:gd name="connsiteX8" fmla="*/ 151890 w 165048"/>
                        <a:gd name="connsiteY8" fmla="*/ 6580 h 71611"/>
                        <a:gd name="connsiteX9" fmla="*/ 158469 w 165048"/>
                        <a:gd name="connsiteY9" fmla="*/ 0 h 71611"/>
                        <a:gd name="connsiteX10" fmla="*/ 165049 w 165048"/>
                        <a:gd name="connsiteY10" fmla="*/ 6580 h 71611"/>
                        <a:gd name="connsiteX11" fmla="*/ 165049 w 165048"/>
                        <a:gd name="connsiteY11" fmla="*/ 39067 h 71611"/>
                        <a:gd name="connsiteX12" fmla="*/ 82552 w 165048"/>
                        <a:gd name="connsiteY12" fmla="*/ 71611 h 7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048" h="71611">
                          <a:moveTo>
                            <a:pt x="82552" y="71611"/>
                          </a:moveTo>
                          <a:cubicBezTo>
                            <a:pt x="41528" y="71611"/>
                            <a:pt x="0" y="60428"/>
                            <a:pt x="0" y="39049"/>
                          </a:cubicBezTo>
                          <a:lnTo>
                            <a:pt x="0" y="6580"/>
                          </a:lnTo>
                          <a:cubicBezTo>
                            <a:pt x="0" y="2945"/>
                            <a:pt x="2945" y="0"/>
                            <a:pt x="6580" y="0"/>
                          </a:cubicBezTo>
                          <a:cubicBezTo>
                            <a:pt x="10214" y="0"/>
                            <a:pt x="13159" y="2945"/>
                            <a:pt x="13159" y="6580"/>
                          </a:cubicBezTo>
                          <a:lnTo>
                            <a:pt x="13159" y="39067"/>
                          </a:lnTo>
                          <a:cubicBezTo>
                            <a:pt x="13159" y="45647"/>
                            <a:pt x="37651" y="58452"/>
                            <a:pt x="82534" y="58452"/>
                          </a:cubicBezTo>
                          <a:cubicBezTo>
                            <a:pt x="127416" y="58452"/>
                            <a:pt x="151890" y="45647"/>
                            <a:pt x="151890" y="39067"/>
                          </a:cubicBezTo>
                          <a:lnTo>
                            <a:pt x="151890" y="6580"/>
                          </a:lnTo>
                          <a:cubicBezTo>
                            <a:pt x="151890" y="2945"/>
                            <a:pt x="154835" y="0"/>
                            <a:pt x="158469" y="0"/>
                          </a:cubicBezTo>
                          <a:cubicBezTo>
                            <a:pt x="162104" y="0"/>
                            <a:pt x="165049" y="2945"/>
                            <a:pt x="165049" y="6580"/>
                          </a:cubicBezTo>
                          <a:lnTo>
                            <a:pt x="165049" y="39067"/>
                          </a:lnTo>
                          <a:cubicBezTo>
                            <a:pt x="165105" y="60428"/>
                            <a:pt x="123577" y="71611"/>
                            <a:pt x="82552" y="71611"/>
                          </a:cubicBezTo>
                          <a:close/>
                        </a:path>
                      </a:pathLst>
                    </a:custGeom>
                    <a:solidFill>
                      <a:schemeClr val="accent1"/>
                    </a:solidFill>
                    <a:ln w="1863" cap="flat">
                      <a:noFill/>
                      <a:prstDash val="solid"/>
                      <a:miter/>
                    </a:ln>
                  </p:spPr>
                  <p:txBody>
                    <a:bodyPr rtlCol="0" anchor="ctr"/>
                    <a:lstStyle/>
                    <a:p>
                      <a:endParaRPr lang="en-GB" dirty="0"/>
                    </a:p>
                  </p:txBody>
                </p:sp>
              </p:grpSp>
            </p:grpSp>
          </p:grpSp>
        </p:grpSp>
      </p:grpSp>
      <p:grpSp>
        <p:nvGrpSpPr>
          <p:cNvPr id="151" name="Group 150">
            <a:extLst>
              <a:ext uri="{FF2B5EF4-FFF2-40B4-BE49-F238E27FC236}">
                <a16:creationId xmlns:a16="http://schemas.microsoft.com/office/drawing/2014/main" id="{D87F7F90-C9CF-8821-01FE-00F61C3F9BA4}"/>
              </a:ext>
            </a:extLst>
          </p:cNvPr>
          <p:cNvGrpSpPr/>
          <p:nvPr/>
        </p:nvGrpSpPr>
        <p:grpSpPr>
          <a:xfrm>
            <a:off x="1597296" y="2391526"/>
            <a:ext cx="484376" cy="432000"/>
            <a:chOff x="1597296" y="2391526"/>
            <a:chExt cx="484376" cy="432000"/>
          </a:xfrm>
        </p:grpSpPr>
        <p:grpSp>
          <p:nvGrpSpPr>
            <p:cNvPr id="152" name="Gruppieren 1306">
              <a:extLst>
                <a:ext uri="{FF2B5EF4-FFF2-40B4-BE49-F238E27FC236}">
                  <a16:creationId xmlns:a16="http://schemas.microsoft.com/office/drawing/2014/main" id="{9CED063A-FE6E-4BB1-8D05-766DE2B50804}"/>
                </a:ext>
              </a:extLst>
            </p:cNvPr>
            <p:cNvGrpSpPr/>
            <p:nvPr/>
          </p:nvGrpSpPr>
          <p:grpSpPr>
            <a:xfrm>
              <a:off x="1597296" y="2391526"/>
              <a:ext cx="405831" cy="432000"/>
              <a:chOff x="7780897" y="1639954"/>
              <a:chExt cx="408436" cy="434773"/>
            </a:xfrm>
            <a:solidFill>
              <a:schemeClr val="tx2"/>
            </a:solidFill>
          </p:grpSpPr>
          <p:sp>
            <p:nvSpPr>
              <p:cNvPr id="170" name="Freihandform: Form 895">
                <a:extLst>
                  <a:ext uri="{FF2B5EF4-FFF2-40B4-BE49-F238E27FC236}">
                    <a16:creationId xmlns:a16="http://schemas.microsoft.com/office/drawing/2014/main" id="{81F6109A-401B-4D3B-9F6D-644DCBE00DF7}"/>
                  </a:ext>
                </a:extLst>
              </p:cNvPr>
              <p:cNvSpPr/>
              <p:nvPr/>
            </p:nvSpPr>
            <p:spPr>
              <a:xfrm>
                <a:off x="7892880" y="1712404"/>
                <a:ext cx="65870" cy="85627"/>
              </a:xfrm>
              <a:custGeom>
                <a:avLst/>
                <a:gdLst>
                  <a:gd name="connsiteX0" fmla="*/ 6580 w 65870"/>
                  <a:gd name="connsiteY0" fmla="*/ 85628 h 85627"/>
                  <a:gd name="connsiteX1" fmla="*/ 0 w 65870"/>
                  <a:gd name="connsiteY1" fmla="*/ 79048 h 85627"/>
                  <a:gd name="connsiteX2" fmla="*/ 0 w 65870"/>
                  <a:gd name="connsiteY2" fmla="*/ 6580 h 85627"/>
                  <a:gd name="connsiteX3" fmla="*/ 6580 w 65870"/>
                  <a:gd name="connsiteY3" fmla="*/ 0 h 85627"/>
                  <a:gd name="connsiteX4" fmla="*/ 59291 w 65870"/>
                  <a:gd name="connsiteY4" fmla="*/ 0 h 85627"/>
                  <a:gd name="connsiteX5" fmla="*/ 65870 w 65870"/>
                  <a:gd name="connsiteY5" fmla="*/ 6580 h 85627"/>
                  <a:gd name="connsiteX6" fmla="*/ 59291 w 65870"/>
                  <a:gd name="connsiteY6" fmla="*/ 13159 h 85627"/>
                  <a:gd name="connsiteX7" fmla="*/ 13178 w 65870"/>
                  <a:gd name="connsiteY7" fmla="*/ 13159 h 85627"/>
                  <a:gd name="connsiteX8" fmla="*/ 13178 w 65870"/>
                  <a:gd name="connsiteY8" fmla="*/ 79030 h 85627"/>
                  <a:gd name="connsiteX9" fmla="*/ 6580 w 65870"/>
                  <a:gd name="connsiteY9" fmla="*/ 85628 h 8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870" h="85627">
                    <a:moveTo>
                      <a:pt x="6580" y="85628"/>
                    </a:moveTo>
                    <a:cubicBezTo>
                      <a:pt x="2945" y="85628"/>
                      <a:pt x="0" y="82683"/>
                      <a:pt x="0" y="79048"/>
                    </a:cubicBezTo>
                    <a:lnTo>
                      <a:pt x="0" y="6580"/>
                    </a:lnTo>
                    <a:cubicBezTo>
                      <a:pt x="0" y="2945"/>
                      <a:pt x="2945" y="0"/>
                      <a:pt x="6580" y="0"/>
                    </a:cubicBezTo>
                    <a:lnTo>
                      <a:pt x="59291" y="0"/>
                    </a:lnTo>
                    <a:cubicBezTo>
                      <a:pt x="62925" y="0"/>
                      <a:pt x="65870" y="2945"/>
                      <a:pt x="65870" y="6580"/>
                    </a:cubicBezTo>
                    <a:cubicBezTo>
                      <a:pt x="65870" y="10214"/>
                      <a:pt x="62925" y="13159"/>
                      <a:pt x="59291" y="13159"/>
                    </a:cubicBezTo>
                    <a:lnTo>
                      <a:pt x="13178" y="13159"/>
                    </a:lnTo>
                    <a:lnTo>
                      <a:pt x="13178" y="79030"/>
                    </a:lnTo>
                    <a:cubicBezTo>
                      <a:pt x="13178" y="82683"/>
                      <a:pt x="10233" y="85628"/>
                      <a:pt x="6580" y="85628"/>
                    </a:cubicBezTo>
                    <a:close/>
                  </a:path>
                </a:pathLst>
              </a:custGeom>
              <a:grpFill/>
              <a:ln w="1863" cap="flat">
                <a:noFill/>
                <a:prstDash val="solid"/>
                <a:miter/>
              </a:ln>
            </p:spPr>
            <p:txBody>
              <a:bodyPr rtlCol="0" anchor="ctr"/>
              <a:lstStyle/>
              <a:p>
                <a:endParaRPr lang="en-GB" dirty="0"/>
              </a:p>
            </p:txBody>
          </p:sp>
          <p:sp>
            <p:nvSpPr>
              <p:cNvPr id="171" name="Freihandform: Form 896">
                <a:extLst>
                  <a:ext uri="{FF2B5EF4-FFF2-40B4-BE49-F238E27FC236}">
                    <a16:creationId xmlns:a16="http://schemas.microsoft.com/office/drawing/2014/main" id="{6A96BDF7-C1AB-41D0-A47D-302C629CD5CC}"/>
                  </a:ext>
                </a:extLst>
              </p:cNvPr>
              <p:cNvSpPr/>
              <p:nvPr/>
            </p:nvSpPr>
            <p:spPr>
              <a:xfrm>
                <a:off x="7965349" y="2002278"/>
                <a:ext cx="59272" cy="13159"/>
              </a:xfrm>
              <a:custGeom>
                <a:avLst/>
                <a:gdLst>
                  <a:gd name="connsiteX0" fmla="*/ 52693 w 59272"/>
                  <a:gd name="connsiteY0" fmla="*/ 13159 h 13159"/>
                  <a:gd name="connsiteX1" fmla="*/ 6579 w 59272"/>
                  <a:gd name="connsiteY1" fmla="*/ 13159 h 13159"/>
                  <a:gd name="connsiteX2" fmla="*/ 0 w 59272"/>
                  <a:gd name="connsiteY2" fmla="*/ 6580 h 13159"/>
                  <a:gd name="connsiteX3" fmla="*/ 6579 w 59272"/>
                  <a:gd name="connsiteY3" fmla="*/ 0 h 13159"/>
                  <a:gd name="connsiteX4" fmla="*/ 52693 w 59272"/>
                  <a:gd name="connsiteY4" fmla="*/ 0 h 13159"/>
                  <a:gd name="connsiteX5" fmla="*/ 59272 w 59272"/>
                  <a:gd name="connsiteY5" fmla="*/ 6580 h 13159"/>
                  <a:gd name="connsiteX6" fmla="*/ 52693 w 59272"/>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72" h="13159">
                    <a:moveTo>
                      <a:pt x="52693" y="13159"/>
                    </a:moveTo>
                    <a:lnTo>
                      <a:pt x="6579" y="13159"/>
                    </a:lnTo>
                    <a:cubicBezTo>
                      <a:pt x="2945" y="13159"/>
                      <a:pt x="0" y="10214"/>
                      <a:pt x="0" y="6580"/>
                    </a:cubicBezTo>
                    <a:cubicBezTo>
                      <a:pt x="0" y="2945"/>
                      <a:pt x="2945" y="0"/>
                      <a:pt x="6579" y="0"/>
                    </a:cubicBezTo>
                    <a:lnTo>
                      <a:pt x="52693" y="0"/>
                    </a:lnTo>
                    <a:cubicBezTo>
                      <a:pt x="56327" y="0"/>
                      <a:pt x="59272" y="2945"/>
                      <a:pt x="59272" y="6580"/>
                    </a:cubicBezTo>
                    <a:cubicBezTo>
                      <a:pt x="59291" y="10214"/>
                      <a:pt x="56327" y="13159"/>
                      <a:pt x="52693" y="13159"/>
                    </a:cubicBezTo>
                    <a:close/>
                  </a:path>
                </a:pathLst>
              </a:custGeom>
              <a:grpFill/>
              <a:ln w="1863" cap="flat">
                <a:noFill/>
                <a:prstDash val="solid"/>
                <a:miter/>
              </a:ln>
            </p:spPr>
            <p:txBody>
              <a:bodyPr rtlCol="0" anchor="ctr"/>
              <a:lstStyle/>
              <a:p>
                <a:endParaRPr lang="en-GB" dirty="0"/>
              </a:p>
            </p:txBody>
          </p:sp>
          <p:sp>
            <p:nvSpPr>
              <p:cNvPr id="172" name="Freihandform: Form 897">
                <a:extLst>
                  <a:ext uri="{FF2B5EF4-FFF2-40B4-BE49-F238E27FC236}">
                    <a16:creationId xmlns:a16="http://schemas.microsoft.com/office/drawing/2014/main" id="{00111601-C66A-491D-A217-AF23364DD5E1}"/>
                  </a:ext>
                </a:extLst>
              </p:cNvPr>
              <p:cNvSpPr/>
              <p:nvPr/>
            </p:nvSpPr>
            <p:spPr>
              <a:xfrm>
                <a:off x="8090528" y="1712423"/>
                <a:ext cx="65870" cy="217368"/>
              </a:xfrm>
              <a:custGeom>
                <a:avLst/>
                <a:gdLst>
                  <a:gd name="connsiteX0" fmla="*/ 59272 w 65870"/>
                  <a:gd name="connsiteY0" fmla="*/ 217369 h 217368"/>
                  <a:gd name="connsiteX1" fmla="*/ 52693 w 65870"/>
                  <a:gd name="connsiteY1" fmla="*/ 210789 h 217368"/>
                  <a:gd name="connsiteX2" fmla="*/ 52693 w 65870"/>
                  <a:gd name="connsiteY2" fmla="*/ 13159 h 217368"/>
                  <a:gd name="connsiteX3" fmla="*/ 6580 w 65870"/>
                  <a:gd name="connsiteY3" fmla="*/ 13159 h 217368"/>
                  <a:gd name="connsiteX4" fmla="*/ 0 w 65870"/>
                  <a:gd name="connsiteY4" fmla="*/ 6580 h 217368"/>
                  <a:gd name="connsiteX5" fmla="*/ 6580 w 65870"/>
                  <a:gd name="connsiteY5" fmla="*/ 0 h 217368"/>
                  <a:gd name="connsiteX6" fmla="*/ 59291 w 65870"/>
                  <a:gd name="connsiteY6" fmla="*/ 0 h 217368"/>
                  <a:gd name="connsiteX7" fmla="*/ 65871 w 65870"/>
                  <a:gd name="connsiteY7" fmla="*/ 6580 h 217368"/>
                  <a:gd name="connsiteX8" fmla="*/ 65871 w 65870"/>
                  <a:gd name="connsiteY8" fmla="*/ 210808 h 217368"/>
                  <a:gd name="connsiteX9" fmla="*/ 59272 w 65870"/>
                  <a:gd name="connsiteY9" fmla="*/ 217369 h 21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870" h="217368">
                    <a:moveTo>
                      <a:pt x="59272" y="217369"/>
                    </a:moveTo>
                    <a:cubicBezTo>
                      <a:pt x="55638" y="217369"/>
                      <a:pt x="52693" y="214424"/>
                      <a:pt x="52693" y="210789"/>
                    </a:cubicBezTo>
                    <a:lnTo>
                      <a:pt x="52693" y="13159"/>
                    </a:lnTo>
                    <a:lnTo>
                      <a:pt x="6580" y="13159"/>
                    </a:lnTo>
                    <a:cubicBezTo>
                      <a:pt x="2945" y="13159"/>
                      <a:pt x="0" y="10214"/>
                      <a:pt x="0" y="6580"/>
                    </a:cubicBezTo>
                    <a:cubicBezTo>
                      <a:pt x="0" y="2945"/>
                      <a:pt x="2945" y="0"/>
                      <a:pt x="6580" y="0"/>
                    </a:cubicBezTo>
                    <a:lnTo>
                      <a:pt x="59291" y="0"/>
                    </a:lnTo>
                    <a:cubicBezTo>
                      <a:pt x="62925" y="0"/>
                      <a:pt x="65871" y="2945"/>
                      <a:pt x="65871" y="6580"/>
                    </a:cubicBezTo>
                    <a:lnTo>
                      <a:pt x="65871" y="210808"/>
                    </a:lnTo>
                    <a:cubicBezTo>
                      <a:pt x="65852" y="214424"/>
                      <a:pt x="62907" y="217369"/>
                      <a:pt x="59272" y="217369"/>
                    </a:cubicBezTo>
                    <a:close/>
                  </a:path>
                </a:pathLst>
              </a:custGeom>
              <a:grpFill/>
              <a:ln w="1863" cap="flat">
                <a:noFill/>
                <a:prstDash val="solid"/>
                <a:miter/>
              </a:ln>
            </p:spPr>
            <p:txBody>
              <a:bodyPr rtlCol="0" anchor="ctr"/>
              <a:lstStyle/>
              <a:p>
                <a:endParaRPr lang="en-GB" dirty="0"/>
              </a:p>
            </p:txBody>
          </p:sp>
          <p:sp>
            <p:nvSpPr>
              <p:cNvPr id="173" name="Freihandform: Form 898">
                <a:extLst>
                  <a:ext uri="{FF2B5EF4-FFF2-40B4-BE49-F238E27FC236}">
                    <a16:creationId xmlns:a16="http://schemas.microsoft.com/office/drawing/2014/main" id="{19B26EC3-A736-4897-ABAD-C8E080080EEC}"/>
                  </a:ext>
                </a:extLst>
              </p:cNvPr>
              <p:cNvSpPr/>
              <p:nvPr/>
            </p:nvSpPr>
            <p:spPr>
              <a:xfrm>
                <a:off x="7945573" y="1639954"/>
                <a:ext cx="158096" cy="85627"/>
              </a:xfrm>
              <a:custGeom>
                <a:avLst/>
                <a:gdLst>
                  <a:gd name="connsiteX0" fmla="*/ 151517 w 158096"/>
                  <a:gd name="connsiteY0" fmla="*/ 85628 h 85627"/>
                  <a:gd name="connsiteX1" fmla="*/ 6579 w 158096"/>
                  <a:gd name="connsiteY1" fmla="*/ 85628 h 85627"/>
                  <a:gd name="connsiteX2" fmla="*/ 0 w 158096"/>
                  <a:gd name="connsiteY2" fmla="*/ 79048 h 85627"/>
                  <a:gd name="connsiteX3" fmla="*/ 0 w 158096"/>
                  <a:gd name="connsiteY3" fmla="*/ 26337 h 85627"/>
                  <a:gd name="connsiteX4" fmla="*/ 6579 w 158096"/>
                  <a:gd name="connsiteY4" fmla="*/ 19757 h 85627"/>
                  <a:gd name="connsiteX5" fmla="*/ 48946 w 158096"/>
                  <a:gd name="connsiteY5" fmla="*/ 19757 h 85627"/>
                  <a:gd name="connsiteX6" fmla="*/ 79048 w 158096"/>
                  <a:gd name="connsiteY6" fmla="*/ 0 h 85627"/>
                  <a:gd name="connsiteX7" fmla="*/ 109150 w 158096"/>
                  <a:gd name="connsiteY7" fmla="*/ 19757 h 85627"/>
                  <a:gd name="connsiteX8" fmla="*/ 151517 w 158096"/>
                  <a:gd name="connsiteY8" fmla="*/ 19757 h 85627"/>
                  <a:gd name="connsiteX9" fmla="*/ 158096 w 158096"/>
                  <a:gd name="connsiteY9" fmla="*/ 26337 h 85627"/>
                  <a:gd name="connsiteX10" fmla="*/ 158096 w 158096"/>
                  <a:gd name="connsiteY10" fmla="*/ 79048 h 85627"/>
                  <a:gd name="connsiteX11" fmla="*/ 151517 w 158096"/>
                  <a:gd name="connsiteY11" fmla="*/ 85628 h 85627"/>
                  <a:gd name="connsiteX12" fmla="*/ 13178 w 158096"/>
                  <a:gd name="connsiteY12" fmla="*/ 72450 h 85627"/>
                  <a:gd name="connsiteX13" fmla="*/ 144937 w 158096"/>
                  <a:gd name="connsiteY13" fmla="*/ 72450 h 85627"/>
                  <a:gd name="connsiteX14" fmla="*/ 144937 w 158096"/>
                  <a:gd name="connsiteY14" fmla="*/ 32917 h 85627"/>
                  <a:gd name="connsiteX15" fmla="*/ 104472 w 158096"/>
                  <a:gd name="connsiteY15" fmla="*/ 32917 h 85627"/>
                  <a:gd name="connsiteX16" fmla="*/ 98097 w 158096"/>
                  <a:gd name="connsiteY16" fmla="*/ 27977 h 85627"/>
                  <a:gd name="connsiteX17" fmla="*/ 79048 w 158096"/>
                  <a:gd name="connsiteY17" fmla="*/ 13141 h 85627"/>
                  <a:gd name="connsiteX18" fmla="*/ 59999 w 158096"/>
                  <a:gd name="connsiteY18" fmla="*/ 27977 h 85627"/>
                  <a:gd name="connsiteX19" fmla="*/ 53624 w 158096"/>
                  <a:gd name="connsiteY19" fmla="*/ 32917 h 85627"/>
                  <a:gd name="connsiteX20" fmla="*/ 13159 w 158096"/>
                  <a:gd name="connsiteY20" fmla="*/ 32917 h 85627"/>
                  <a:gd name="connsiteX21" fmla="*/ 13159 w 158096"/>
                  <a:gd name="connsiteY21" fmla="*/ 72450 h 85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8096" h="85627">
                    <a:moveTo>
                      <a:pt x="151517" y="85628"/>
                    </a:moveTo>
                    <a:lnTo>
                      <a:pt x="6579" y="85628"/>
                    </a:lnTo>
                    <a:cubicBezTo>
                      <a:pt x="2945" y="85628"/>
                      <a:pt x="0" y="82683"/>
                      <a:pt x="0" y="79048"/>
                    </a:cubicBezTo>
                    <a:lnTo>
                      <a:pt x="0" y="26337"/>
                    </a:lnTo>
                    <a:cubicBezTo>
                      <a:pt x="0" y="22702"/>
                      <a:pt x="2945" y="19757"/>
                      <a:pt x="6579" y="19757"/>
                    </a:cubicBezTo>
                    <a:lnTo>
                      <a:pt x="48946" y="19757"/>
                    </a:lnTo>
                    <a:cubicBezTo>
                      <a:pt x="54109" y="7903"/>
                      <a:pt x="65852" y="0"/>
                      <a:pt x="79048" y="0"/>
                    </a:cubicBezTo>
                    <a:cubicBezTo>
                      <a:pt x="92245" y="0"/>
                      <a:pt x="103968" y="7903"/>
                      <a:pt x="109150" y="19757"/>
                    </a:cubicBezTo>
                    <a:lnTo>
                      <a:pt x="151517" y="19757"/>
                    </a:lnTo>
                    <a:cubicBezTo>
                      <a:pt x="155151" y="19757"/>
                      <a:pt x="158096" y="22702"/>
                      <a:pt x="158096" y="26337"/>
                    </a:cubicBezTo>
                    <a:lnTo>
                      <a:pt x="158096" y="79048"/>
                    </a:lnTo>
                    <a:cubicBezTo>
                      <a:pt x="158115" y="82664"/>
                      <a:pt x="155170" y="85628"/>
                      <a:pt x="151517" y="85628"/>
                    </a:cubicBezTo>
                    <a:close/>
                    <a:moveTo>
                      <a:pt x="13178" y="72450"/>
                    </a:moveTo>
                    <a:lnTo>
                      <a:pt x="144937" y="72450"/>
                    </a:lnTo>
                    <a:lnTo>
                      <a:pt x="144937" y="32917"/>
                    </a:lnTo>
                    <a:lnTo>
                      <a:pt x="104472" y="32917"/>
                    </a:lnTo>
                    <a:cubicBezTo>
                      <a:pt x="101471" y="32917"/>
                      <a:pt x="98843" y="30885"/>
                      <a:pt x="98097" y="27977"/>
                    </a:cubicBezTo>
                    <a:cubicBezTo>
                      <a:pt x="95842" y="19254"/>
                      <a:pt x="87995" y="13141"/>
                      <a:pt x="79048" y="13141"/>
                    </a:cubicBezTo>
                    <a:cubicBezTo>
                      <a:pt x="70101" y="13141"/>
                      <a:pt x="62273" y="19235"/>
                      <a:pt x="59999" y="27977"/>
                    </a:cubicBezTo>
                    <a:cubicBezTo>
                      <a:pt x="59253" y="30885"/>
                      <a:pt x="56625" y="32917"/>
                      <a:pt x="53624" y="32917"/>
                    </a:cubicBezTo>
                    <a:lnTo>
                      <a:pt x="13159" y="32917"/>
                    </a:lnTo>
                    <a:lnTo>
                      <a:pt x="13159" y="72450"/>
                    </a:lnTo>
                    <a:close/>
                  </a:path>
                </a:pathLst>
              </a:custGeom>
              <a:grpFill/>
              <a:ln w="1863" cap="flat">
                <a:noFill/>
                <a:prstDash val="solid"/>
                <a:miter/>
              </a:ln>
            </p:spPr>
            <p:txBody>
              <a:bodyPr rtlCol="0" anchor="ctr"/>
              <a:lstStyle/>
              <a:p>
                <a:endParaRPr lang="en-GB" dirty="0"/>
              </a:p>
            </p:txBody>
          </p:sp>
          <p:sp>
            <p:nvSpPr>
              <p:cNvPr id="174" name="Freihandform: Form 899">
                <a:extLst>
                  <a:ext uri="{FF2B5EF4-FFF2-40B4-BE49-F238E27FC236}">
                    <a16:creationId xmlns:a16="http://schemas.microsoft.com/office/drawing/2014/main" id="{6B6FF53E-C30C-48AA-9B81-F97998BE6ED7}"/>
                  </a:ext>
                </a:extLst>
              </p:cNvPr>
              <p:cNvSpPr/>
              <p:nvPr/>
            </p:nvSpPr>
            <p:spPr>
              <a:xfrm>
                <a:off x="7859945" y="1679469"/>
                <a:ext cx="98805" cy="118562"/>
              </a:xfrm>
              <a:custGeom>
                <a:avLst/>
                <a:gdLst>
                  <a:gd name="connsiteX0" fmla="*/ 6580 w 98805"/>
                  <a:gd name="connsiteY0" fmla="*/ 118563 h 118562"/>
                  <a:gd name="connsiteX1" fmla="*/ 0 w 98805"/>
                  <a:gd name="connsiteY1" fmla="*/ 111983 h 118562"/>
                  <a:gd name="connsiteX2" fmla="*/ 0 w 98805"/>
                  <a:gd name="connsiteY2" fmla="*/ 6580 h 118562"/>
                  <a:gd name="connsiteX3" fmla="*/ 6580 w 98805"/>
                  <a:gd name="connsiteY3" fmla="*/ 0 h 118562"/>
                  <a:gd name="connsiteX4" fmla="*/ 92226 w 98805"/>
                  <a:gd name="connsiteY4" fmla="*/ 0 h 118562"/>
                  <a:gd name="connsiteX5" fmla="*/ 98806 w 98805"/>
                  <a:gd name="connsiteY5" fmla="*/ 6580 h 118562"/>
                  <a:gd name="connsiteX6" fmla="*/ 92226 w 98805"/>
                  <a:gd name="connsiteY6" fmla="*/ 13159 h 118562"/>
                  <a:gd name="connsiteX7" fmla="*/ 13178 w 98805"/>
                  <a:gd name="connsiteY7" fmla="*/ 13159 h 118562"/>
                  <a:gd name="connsiteX8" fmla="*/ 13178 w 98805"/>
                  <a:gd name="connsiteY8" fmla="*/ 111983 h 118562"/>
                  <a:gd name="connsiteX9" fmla="*/ 6580 w 98805"/>
                  <a:gd name="connsiteY9" fmla="*/ 118563 h 11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805" h="118562">
                    <a:moveTo>
                      <a:pt x="6580" y="118563"/>
                    </a:moveTo>
                    <a:cubicBezTo>
                      <a:pt x="2945" y="118563"/>
                      <a:pt x="0" y="115618"/>
                      <a:pt x="0" y="111983"/>
                    </a:cubicBezTo>
                    <a:lnTo>
                      <a:pt x="0" y="6580"/>
                    </a:lnTo>
                    <a:cubicBezTo>
                      <a:pt x="0" y="2945"/>
                      <a:pt x="2945" y="0"/>
                      <a:pt x="6580" y="0"/>
                    </a:cubicBezTo>
                    <a:lnTo>
                      <a:pt x="92226" y="0"/>
                    </a:lnTo>
                    <a:cubicBezTo>
                      <a:pt x="95861" y="0"/>
                      <a:pt x="98806" y="2945"/>
                      <a:pt x="98806" y="6580"/>
                    </a:cubicBezTo>
                    <a:cubicBezTo>
                      <a:pt x="98806" y="10214"/>
                      <a:pt x="95861" y="13159"/>
                      <a:pt x="92226" y="13159"/>
                    </a:cubicBezTo>
                    <a:lnTo>
                      <a:pt x="13178" y="13159"/>
                    </a:lnTo>
                    <a:lnTo>
                      <a:pt x="13178" y="111983"/>
                    </a:lnTo>
                    <a:cubicBezTo>
                      <a:pt x="13178" y="115618"/>
                      <a:pt x="10214" y="118563"/>
                      <a:pt x="6580" y="118563"/>
                    </a:cubicBezTo>
                    <a:close/>
                  </a:path>
                </a:pathLst>
              </a:custGeom>
              <a:grpFill/>
              <a:ln w="1863" cap="flat">
                <a:noFill/>
                <a:prstDash val="solid"/>
                <a:miter/>
              </a:ln>
            </p:spPr>
            <p:txBody>
              <a:bodyPr rtlCol="0" anchor="ctr"/>
              <a:lstStyle/>
              <a:p>
                <a:endParaRPr lang="en-GB" dirty="0"/>
              </a:p>
            </p:txBody>
          </p:sp>
          <p:sp>
            <p:nvSpPr>
              <p:cNvPr id="175" name="Freihandform: Form 900">
                <a:extLst>
                  <a:ext uri="{FF2B5EF4-FFF2-40B4-BE49-F238E27FC236}">
                    <a16:creationId xmlns:a16="http://schemas.microsoft.com/office/drawing/2014/main" id="{0EE4EE66-F76F-451C-83F8-E7C814070B14}"/>
                  </a:ext>
                </a:extLst>
              </p:cNvPr>
              <p:cNvSpPr/>
              <p:nvPr/>
            </p:nvSpPr>
            <p:spPr>
              <a:xfrm>
                <a:off x="7965349" y="2035213"/>
                <a:ext cx="59272" cy="13159"/>
              </a:xfrm>
              <a:custGeom>
                <a:avLst/>
                <a:gdLst>
                  <a:gd name="connsiteX0" fmla="*/ 52693 w 59272"/>
                  <a:gd name="connsiteY0" fmla="*/ 13159 h 13159"/>
                  <a:gd name="connsiteX1" fmla="*/ 6579 w 59272"/>
                  <a:gd name="connsiteY1" fmla="*/ 13159 h 13159"/>
                  <a:gd name="connsiteX2" fmla="*/ 0 w 59272"/>
                  <a:gd name="connsiteY2" fmla="*/ 6580 h 13159"/>
                  <a:gd name="connsiteX3" fmla="*/ 6579 w 59272"/>
                  <a:gd name="connsiteY3" fmla="*/ 0 h 13159"/>
                  <a:gd name="connsiteX4" fmla="*/ 52693 w 59272"/>
                  <a:gd name="connsiteY4" fmla="*/ 0 h 13159"/>
                  <a:gd name="connsiteX5" fmla="*/ 59272 w 59272"/>
                  <a:gd name="connsiteY5" fmla="*/ 6580 h 13159"/>
                  <a:gd name="connsiteX6" fmla="*/ 52693 w 59272"/>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72" h="13159">
                    <a:moveTo>
                      <a:pt x="52693" y="13159"/>
                    </a:moveTo>
                    <a:lnTo>
                      <a:pt x="6579" y="13159"/>
                    </a:lnTo>
                    <a:cubicBezTo>
                      <a:pt x="2945" y="13159"/>
                      <a:pt x="0" y="10214"/>
                      <a:pt x="0" y="6580"/>
                    </a:cubicBezTo>
                    <a:cubicBezTo>
                      <a:pt x="0" y="2945"/>
                      <a:pt x="2945" y="0"/>
                      <a:pt x="6579" y="0"/>
                    </a:cubicBezTo>
                    <a:lnTo>
                      <a:pt x="52693" y="0"/>
                    </a:lnTo>
                    <a:cubicBezTo>
                      <a:pt x="56327" y="0"/>
                      <a:pt x="59272" y="2945"/>
                      <a:pt x="59272" y="6580"/>
                    </a:cubicBezTo>
                    <a:cubicBezTo>
                      <a:pt x="59291" y="10214"/>
                      <a:pt x="56327" y="13159"/>
                      <a:pt x="52693" y="13159"/>
                    </a:cubicBezTo>
                    <a:close/>
                  </a:path>
                </a:pathLst>
              </a:custGeom>
              <a:grpFill/>
              <a:ln w="1863" cap="flat">
                <a:noFill/>
                <a:prstDash val="solid"/>
                <a:miter/>
              </a:ln>
            </p:spPr>
            <p:txBody>
              <a:bodyPr rtlCol="0" anchor="ctr"/>
              <a:lstStyle/>
              <a:p>
                <a:endParaRPr lang="en-GB" dirty="0"/>
              </a:p>
            </p:txBody>
          </p:sp>
          <p:sp>
            <p:nvSpPr>
              <p:cNvPr id="176" name="Freihandform: Form 901">
                <a:extLst>
                  <a:ext uri="{FF2B5EF4-FFF2-40B4-BE49-F238E27FC236}">
                    <a16:creationId xmlns:a16="http://schemas.microsoft.com/office/drawing/2014/main" id="{CEED3B4A-50B4-42CD-B2BE-243099E05356}"/>
                  </a:ext>
                </a:extLst>
              </p:cNvPr>
              <p:cNvSpPr/>
              <p:nvPr/>
            </p:nvSpPr>
            <p:spPr>
              <a:xfrm>
                <a:off x="8090528" y="1679469"/>
                <a:ext cx="98805" cy="296435"/>
              </a:xfrm>
              <a:custGeom>
                <a:avLst/>
                <a:gdLst>
                  <a:gd name="connsiteX0" fmla="*/ 92208 w 98805"/>
                  <a:gd name="connsiteY0" fmla="*/ 296435 h 296435"/>
                  <a:gd name="connsiteX1" fmla="*/ 85628 w 98805"/>
                  <a:gd name="connsiteY1" fmla="*/ 289856 h 296435"/>
                  <a:gd name="connsiteX2" fmla="*/ 85628 w 98805"/>
                  <a:gd name="connsiteY2" fmla="*/ 13159 h 296435"/>
                  <a:gd name="connsiteX3" fmla="*/ 6580 w 98805"/>
                  <a:gd name="connsiteY3" fmla="*/ 13159 h 296435"/>
                  <a:gd name="connsiteX4" fmla="*/ 0 w 98805"/>
                  <a:gd name="connsiteY4" fmla="*/ 6580 h 296435"/>
                  <a:gd name="connsiteX5" fmla="*/ 6580 w 98805"/>
                  <a:gd name="connsiteY5" fmla="*/ 0 h 296435"/>
                  <a:gd name="connsiteX6" fmla="*/ 92226 w 98805"/>
                  <a:gd name="connsiteY6" fmla="*/ 0 h 296435"/>
                  <a:gd name="connsiteX7" fmla="*/ 98806 w 98805"/>
                  <a:gd name="connsiteY7" fmla="*/ 6580 h 296435"/>
                  <a:gd name="connsiteX8" fmla="*/ 98806 w 98805"/>
                  <a:gd name="connsiteY8" fmla="*/ 289856 h 296435"/>
                  <a:gd name="connsiteX9" fmla="*/ 92208 w 98805"/>
                  <a:gd name="connsiteY9" fmla="*/ 296435 h 29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805" h="296435">
                    <a:moveTo>
                      <a:pt x="92208" y="296435"/>
                    </a:moveTo>
                    <a:cubicBezTo>
                      <a:pt x="88573" y="296435"/>
                      <a:pt x="85628" y="293490"/>
                      <a:pt x="85628" y="289856"/>
                    </a:cubicBezTo>
                    <a:lnTo>
                      <a:pt x="85628" y="13159"/>
                    </a:lnTo>
                    <a:lnTo>
                      <a:pt x="6580" y="13159"/>
                    </a:lnTo>
                    <a:cubicBezTo>
                      <a:pt x="2945" y="13159"/>
                      <a:pt x="0" y="10214"/>
                      <a:pt x="0" y="6580"/>
                    </a:cubicBezTo>
                    <a:cubicBezTo>
                      <a:pt x="0" y="2945"/>
                      <a:pt x="2945" y="0"/>
                      <a:pt x="6580" y="0"/>
                    </a:cubicBezTo>
                    <a:lnTo>
                      <a:pt x="92226" y="0"/>
                    </a:lnTo>
                    <a:cubicBezTo>
                      <a:pt x="95861" y="0"/>
                      <a:pt x="98806" y="2945"/>
                      <a:pt x="98806" y="6580"/>
                    </a:cubicBezTo>
                    <a:lnTo>
                      <a:pt x="98806" y="289856"/>
                    </a:lnTo>
                    <a:cubicBezTo>
                      <a:pt x="98806" y="293490"/>
                      <a:pt x="95842" y="296435"/>
                      <a:pt x="92208" y="296435"/>
                    </a:cubicBezTo>
                    <a:close/>
                  </a:path>
                </a:pathLst>
              </a:custGeom>
              <a:grpFill/>
              <a:ln w="1863" cap="flat">
                <a:noFill/>
                <a:prstDash val="solid"/>
                <a:miter/>
              </a:ln>
            </p:spPr>
            <p:txBody>
              <a:bodyPr rtlCol="0" anchor="ctr"/>
              <a:lstStyle/>
              <a:p>
                <a:endParaRPr lang="en-GB" dirty="0"/>
              </a:p>
            </p:txBody>
          </p:sp>
          <p:sp>
            <p:nvSpPr>
              <p:cNvPr id="177" name="Freihandform: Form 902">
                <a:extLst>
                  <a:ext uri="{FF2B5EF4-FFF2-40B4-BE49-F238E27FC236}">
                    <a16:creationId xmlns:a16="http://schemas.microsoft.com/office/drawing/2014/main" id="{E09A5E13-58BF-4481-845C-46135C4A098A}"/>
                  </a:ext>
                </a:extLst>
              </p:cNvPr>
              <p:cNvSpPr/>
              <p:nvPr/>
            </p:nvSpPr>
            <p:spPr>
              <a:xfrm>
                <a:off x="7985106" y="1771713"/>
                <a:ext cx="131740" cy="13159"/>
              </a:xfrm>
              <a:custGeom>
                <a:avLst/>
                <a:gdLst>
                  <a:gd name="connsiteX0" fmla="*/ 125161 w 131740"/>
                  <a:gd name="connsiteY0" fmla="*/ 13159 h 13159"/>
                  <a:gd name="connsiteX1" fmla="*/ 6580 w 131740"/>
                  <a:gd name="connsiteY1" fmla="*/ 13159 h 13159"/>
                  <a:gd name="connsiteX2" fmla="*/ 0 w 131740"/>
                  <a:gd name="connsiteY2" fmla="*/ 6580 h 13159"/>
                  <a:gd name="connsiteX3" fmla="*/ 6580 w 131740"/>
                  <a:gd name="connsiteY3" fmla="*/ 0 h 13159"/>
                  <a:gd name="connsiteX4" fmla="*/ 125161 w 131740"/>
                  <a:gd name="connsiteY4" fmla="*/ 0 h 13159"/>
                  <a:gd name="connsiteX5" fmla="*/ 131741 w 131740"/>
                  <a:gd name="connsiteY5" fmla="*/ 6580 h 13159"/>
                  <a:gd name="connsiteX6" fmla="*/ 125161 w 131740"/>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740" h="13159">
                    <a:moveTo>
                      <a:pt x="125161" y="13159"/>
                    </a:moveTo>
                    <a:lnTo>
                      <a:pt x="6580" y="13159"/>
                    </a:lnTo>
                    <a:cubicBezTo>
                      <a:pt x="2945" y="13159"/>
                      <a:pt x="0" y="10214"/>
                      <a:pt x="0" y="6580"/>
                    </a:cubicBezTo>
                    <a:cubicBezTo>
                      <a:pt x="0" y="2945"/>
                      <a:pt x="2945" y="0"/>
                      <a:pt x="6580" y="0"/>
                    </a:cubicBezTo>
                    <a:lnTo>
                      <a:pt x="125161" y="0"/>
                    </a:lnTo>
                    <a:cubicBezTo>
                      <a:pt x="128796" y="0"/>
                      <a:pt x="131741" y="2945"/>
                      <a:pt x="131741" y="6580"/>
                    </a:cubicBezTo>
                    <a:cubicBezTo>
                      <a:pt x="131759" y="10196"/>
                      <a:pt x="128814" y="13159"/>
                      <a:pt x="125161" y="13159"/>
                    </a:cubicBezTo>
                    <a:close/>
                  </a:path>
                </a:pathLst>
              </a:custGeom>
              <a:grpFill/>
              <a:ln w="1863" cap="flat">
                <a:noFill/>
                <a:prstDash val="solid"/>
                <a:miter/>
              </a:ln>
            </p:spPr>
            <p:txBody>
              <a:bodyPr rtlCol="0" anchor="ctr"/>
              <a:lstStyle/>
              <a:p>
                <a:endParaRPr lang="en-GB" dirty="0"/>
              </a:p>
            </p:txBody>
          </p:sp>
          <p:sp>
            <p:nvSpPr>
              <p:cNvPr id="178" name="Freihandform: Form 903">
                <a:extLst>
                  <a:ext uri="{FF2B5EF4-FFF2-40B4-BE49-F238E27FC236}">
                    <a16:creationId xmlns:a16="http://schemas.microsoft.com/office/drawing/2014/main" id="{55095255-5FE4-443A-B39E-24BE020ED9EA}"/>
                  </a:ext>
                </a:extLst>
              </p:cNvPr>
              <p:cNvSpPr/>
              <p:nvPr/>
            </p:nvSpPr>
            <p:spPr>
              <a:xfrm>
                <a:off x="7991704" y="1811228"/>
                <a:ext cx="125142" cy="13159"/>
              </a:xfrm>
              <a:custGeom>
                <a:avLst/>
                <a:gdLst>
                  <a:gd name="connsiteX0" fmla="*/ 118563 w 125142"/>
                  <a:gd name="connsiteY0" fmla="*/ 13159 h 13159"/>
                  <a:gd name="connsiteX1" fmla="*/ 6579 w 125142"/>
                  <a:gd name="connsiteY1" fmla="*/ 13159 h 13159"/>
                  <a:gd name="connsiteX2" fmla="*/ 0 w 125142"/>
                  <a:gd name="connsiteY2" fmla="*/ 6580 h 13159"/>
                  <a:gd name="connsiteX3" fmla="*/ 6579 w 125142"/>
                  <a:gd name="connsiteY3" fmla="*/ 0 h 13159"/>
                  <a:gd name="connsiteX4" fmla="*/ 118563 w 125142"/>
                  <a:gd name="connsiteY4" fmla="*/ 0 h 13159"/>
                  <a:gd name="connsiteX5" fmla="*/ 125142 w 125142"/>
                  <a:gd name="connsiteY5" fmla="*/ 6580 h 13159"/>
                  <a:gd name="connsiteX6" fmla="*/ 118563 w 125142"/>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142" h="13159">
                    <a:moveTo>
                      <a:pt x="118563" y="13159"/>
                    </a:moveTo>
                    <a:lnTo>
                      <a:pt x="6579" y="13159"/>
                    </a:lnTo>
                    <a:cubicBezTo>
                      <a:pt x="2945" y="13159"/>
                      <a:pt x="0" y="10214"/>
                      <a:pt x="0" y="6580"/>
                    </a:cubicBezTo>
                    <a:cubicBezTo>
                      <a:pt x="0" y="2945"/>
                      <a:pt x="2945" y="0"/>
                      <a:pt x="6579" y="0"/>
                    </a:cubicBezTo>
                    <a:lnTo>
                      <a:pt x="118563" y="0"/>
                    </a:lnTo>
                    <a:cubicBezTo>
                      <a:pt x="122197" y="0"/>
                      <a:pt x="125142" y="2945"/>
                      <a:pt x="125142" y="6580"/>
                    </a:cubicBezTo>
                    <a:cubicBezTo>
                      <a:pt x="125142" y="10214"/>
                      <a:pt x="122216" y="13159"/>
                      <a:pt x="118563" y="13159"/>
                    </a:cubicBezTo>
                    <a:close/>
                  </a:path>
                </a:pathLst>
              </a:custGeom>
              <a:grpFill/>
              <a:ln w="1863" cap="flat">
                <a:noFill/>
                <a:prstDash val="solid"/>
                <a:miter/>
              </a:ln>
            </p:spPr>
            <p:txBody>
              <a:bodyPr rtlCol="0" anchor="ctr"/>
              <a:lstStyle/>
              <a:p>
                <a:endParaRPr lang="en-GB" dirty="0"/>
              </a:p>
            </p:txBody>
          </p:sp>
          <p:sp>
            <p:nvSpPr>
              <p:cNvPr id="179" name="Freihandform: Form 904">
                <a:extLst>
                  <a:ext uri="{FF2B5EF4-FFF2-40B4-BE49-F238E27FC236}">
                    <a16:creationId xmlns:a16="http://schemas.microsoft.com/office/drawing/2014/main" id="{BA03EF48-C5C4-4D4E-A71B-5DD312365C9B}"/>
                  </a:ext>
                </a:extLst>
              </p:cNvPr>
              <p:cNvSpPr/>
              <p:nvPr/>
            </p:nvSpPr>
            <p:spPr>
              <a:xfrm>
                <a:off x="7991704" y="1896875"/>
                <a:ext cx="125142" cy="13159"/>
              </a:xfrm>
              <a:custGeom>
                <a:avLst/>
                <a:gdLst>
                  <a:gd name="connsiteX0" fmla="*/ 118563 w 125142"/>
                  <a:gd name="connsiteY0" fmla="*/ 13159 h 13159"/>
                  <a:gd name="connsiteX1" fmla="*/ 6579 w 125142"/>
                  <a:gd name="connsiteY1" fmla="*/ 13159 h 13159"/>
                  <a:gd name="connsiteX2" fmla="*/ 0 w 125142"/>
                  <a:gd name="connsiteY2" fmla="*/ 6580 h 13159"/>
                  <a:gd name="connsiteX3" fmla="*/ 6579 w 125142"/>
                  <a:gd name="connsiteY3" fmla="*/ 0 h 13159"/>
                  <a:gd name="connsiteX4" fmla="*/ 118563 w 125142"/>
                  <a:gd name="connsiteY4" fmla="*/ 0 h 13159"/>
                  <a:gd name="connsiteX5" fmla="*/ 125142 w 125142"/>
                  <a:gd name="connsiteY5" fmla="*/ 6580 h 13159"/>
                  <a:gd name="connsiteX6" fmla="*/ 118563 w 125142"/>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142" h="13159">
                    <a:moveTo>
                      <a:pt x="118563" y="13159"/>
                    </a:moveTo>
                    <a:lnTo>
                      <a:pt x="6579" y="13159"/>
                    </a:lnTo>
                    <a:cubicBezTo>
                      <a:pt x="2945" y="13159"/>
                      <a:pt x="0" y="10214"/>
                      <a:pt x="0" y="6580"/>
                    </a:cubicBezTo>
                    <a:cubicBezTo>
                      <a:pt x="0" y="2945"/>
                      <a:pt x="2945" y="0"/>
                      <a:pt x="6579" y="0"/>
                    </a:cubicBezTo>
                    <a:lnTo>
                      <a:pt x="118563" y="0"/>
                    </a:lnTo>
                    <a:cubicBezTo>
                      <a:pt x="122197" y="0"/>
                      <a:pt x="125142" y="2945"/>
                      <a:pt x="125142" y="6580"/>
                    </a:cubicBezTo>
                    <a:cubicBezTo>
                      <a:pt x="125161" y="10214"/>
                      <a:pt x="122216" y="13159"/>
                      <a:pt x="118563" y="13159"/>
                    </a:cubicBezTo>
                    <a:close/>
                  </a:path>
                </a:pathLst>
              </a:custGeom>
              <a:grpFill/>
              <a:ln w="1863" cap="flat">
                <a:noFill/>
                <a:prstDash val="solid"/>
                <a:miter/>
              </a:ln>
            </p:spPr>
            <p:txBody>
              <a:bodyPr rtlCol="0" anchor="ctr"/>
              <a:lstStyle/>
              <a:p>
                <a:endParaRPr lang="en-GB" dirty="0"/>
              </a:p>
            </p:txBody>
          </p:sp>
          <p:sp>
            <p:nvSpPr>
              <p:cNvPr id="180" name="Freihandform: Form 905">
                <a:extLst>
                  <a:ext uri="{FF2B5EF4-FFF2-40B4-BE49-F238E27FC236}">
                    <a16:creationId xmlns:a16="http://schemas.microsoft.com/office/drawing/2014/main" id="{DB35B066-6178-4A24-93F1-D3ABB85D1EF1}"/>
                  </a:ext>
                </a:extLst>
              </p:cNvPr>
              <p:cNvSpPr/>
              <p:nvPr/>
            </p:nvSpPr>
            <p:spPr>
              <a:xfrm>
                <a:off x="7991704" y="1857341"/>
                <a:ext cx="125142" cy="13159"/>
              </a:xfrm>
              <a:custGeom>
                <a:avLst/>
                <a:gdLst>
                  <a:gd name="connsiteX0" fmla="*/ 118563 w 125142"/>
                  <a:gd name="connsiteY0" fmla="*/ 13159 h 13159"/>
                  <a:gd name="connsiteX1" fmla="*/ 6579 w 125142"/>
                  <a:gd name="connsiteY1" fmla="*/ 13159 h 13159"/>
                  <a:gd name="connsiteX2" fmla="*/ 0 w 125142"/>
                  <a:gd name="connsiteY2" fmla="*/ 6580 h 13159"/>
                  <a:gd name="connsiteX3" fmla="*/ 6579 w 125142"/>
                  <a:gd name="connsiteY3" fmla="*/ 0 h 13159"/>
                  <a:gd name="connsiteX4" fmla="*/ 118563 w 125142"/>
                  <a:gd name="connsiteY4" fmla="*/ 0 h 13159"/>
                  <a:gd name="connsiteX5" fmla="*/ 125142 w 125142"/>
                  <a:gd name="connsiteY5" fmla="*/ 6580 h 13159"/>
                  <a:gd name="connsiteX6" fmla="*/ 118563 w 125142"/>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142" h="13159">
                    <a:moveTo>
                      <a:pt x="118563" y="13159"/>
                    </a:moveTo>
                    <a:lnTo>
                      <a:pt x="6579" y="13159"/>
                    </a:lnTo>
                    <a:cubicBezTo>
                      <a:pt x="2945" y="13159"/>
                      <a:pt x="0" y="10214"/>
                      <a:pt x="0" y="6580"/>
                    </a:cubicBezTo>
                    <a:cubicBezTo>
                      <a:pt x="0" y="2945"/>
                      <a:pt x="2945" y="0"/>
                      <a:pt x="6579" y="0"/>
                    </a:cubicBezTo>
                    <a:lnTo>
                      <a:pt x="118563" y="0"/>
                    </a:lnTo>
                    <a:cubicBezTo>
                      <a:pt x="122197" y="0"/>
                      <a:pt x="125142" y="2945"/>
                      <a:pt x="125142" y="6580"/>
                    </a:cubicBezTo>
                    <a:cubicBezTo>
                      <a:pt x="125161" y="10214"/>
                      <a:pt x="122216" y="13159"/>
                      <a:pt x="118563" y="13159"/>
                    </a:cubicBezTo>
                    <a:close/>
                  </a:path>
                </a:pathLst>
              </a:custGeom>
              <a:grpFill/>
              <a:ln w="1863" cap="flat">
                <a:noFill/>
                <a:prstDash val="solid"/>
                <a:miter/>
              </a:ln>
            </p:spPr>
            <p:txBody>
              <a:bodyPr rtlCol="0" anchor="ctr"/>
              <a:lstStyle/>
              <a:p>
                <a:endParaRPr lang="en-GB" dirty="0"/>
              </a:p>
            </p:txBody>
          </p:sp>
          <p:sp>
            <p:nvSpPr>
              <p:cNvPr id="181" name="Freihandform: Form 906">
                <a:extLst>
                  <a:ext uri="{FF2B5EF4-FFF2-40B4-BE49-F238E27FC236}">
                    <a16:creationId xmlns:a16="http://schemas.microsoft.com/office/drawing/2014/main" id="{C12B3FE5-2E8D-4F35-9467-12EBD13BA8DF}"/>
                  </a:ext>
                </a:extLst>
              </p:cNvPr>
              <p:cNvSpPr/>
              <p:nvPr/>
            </p:nvSpPr>
            <p:spPr>
              <a:xfrm>
                <a:off x="7932414" y="1771713"/>
                <a:ext cx="26336" cy="13159"/>
              </a:xfrm>
              <a:custGeom>
                <a:avLst/>
                <a:gdLst>
                  <a:gd name="connsiteX0" fmla="*/ 19757 w 26336"/>
                  <a:gd name="connsiteY0" fmla="*/ 13159 h 13159"/>
                  <a:gd name="connsiteX1" fmla="*/ 6580 w 26336"/>
                  <a:gd name="connsiteY1" fmla="*/ 13159 h 13159"/>
                  <a:gd name="connsiteX2" fmla="*/ 0 w 26336"/>
                  <a:gd name="connsiteY2" fmla="*/ 6580 h 13159"/>
                  <a:gd name="connsiteX3" fmla="*/ 6580 w 26336"/>
                  <a:gd name="connsiteY3" fmla="*/ 0 h 13159"/>
                  <a:gd name="connsiteX4" fmla="*/ 19757 w 26336"/>
                  <a:gd name="connsiteY4" fmla="*/ 0 h 13159"/>
                  <a:gd name="connsiteX5" fmla="*/ 26337 w 26336"/>
                  <a:gd name="connsiteY5" fmla="*/ 6580 h 13159"/>
                  <a:gd name="connsiteX6" fmla="*/ 19757 w 26336"/>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6" h="13159">
                    <a:moveTo>
                      <a:pt x="19757" y="13159"/>
                    </a:moveTo>
                    <a:lnTo>
                      <a:pt x="6580" y="13159"/>
                    </a:lnTo>
                    <a:cubicBezTo>
                      <a:pt x="2945" y="13159"/>
                      <a:pt x="0" y="10214"/>
                      <a:pt x="0" y="6580"/>
                    </a:cubicBezTo>
                    <a:cubicBezTo>
                      <a:pt x="0" y="2945"/>
                      <a:pt x="2945" y="0"/>
                      <a:pt x="6580" y="0"/>
                    </a:cubicBezTo>
                    <a:lnTo>
                      <a:pt x="19757" y="0"/>
                    </a:lnTo>
                    <a:cubicBezTo>
                      <a:pt x="23392" y="0"/>
                      <a:pt x="26337" y="2945"/>
                      <a:pt x="26337" y="6580"/>
                    </a:cubicBezTo>
                    <a:cubicBezTo>
                      <a:pt x="26337" y="10196"/>
                      <a:pt x="23392" y="13159"/>
                      <a:pt x="19757" y="13159"/>
                    </a:cubicBezTo>
                    <a:close/>
                  </a:path>
                </a:pathLst>
              </a:custGeom>
              <a:grpFill/>
              <a:ln w="1863" cap="flat">
                <a:noFill/>
                <a:prstDash val="solid"/>
                <a:miter/>
              </a:ln>
            </p:spPr>
            <p:txBody>
              <a:bodyPr rtlCol="0" anchor="ctr"/>
              <a:lstStyle/>
              <a:p>
                <a:endParaRPr lang="en-GB" dirty="0"/>
              </a:p>
            </p:txBody>
          </p:sp>
          <p:grpSp>
            <p:nvGrpSpPr>
              <p:cNvPr id="182" name="Grafik 318">
                <a:extLst>
                  <a:ext uri="{FF2B5EF4-FFF2-40B4-BE49-F238E27FC236}">
                    <a16:creationId xmlns:a16="http://schemas.microsoft.com/office/drawing/2014/main" id="{0A3C3233-62F2-46E1-8B9F-FECECD537E35}"/>
                  </a:ext>
                </a:extLst>
              </p:cNvPr>
              <p:cNvGrpSpPr/>
              <p:nvPr/>
            </p:nvGrpSpPr>
            <p:grpSpPr>
              <a:xfrm>
                <a:off x="7780897" y="1811209"/>
                <a:ext cx="197629" cy="263518"/>
                <a:chOff x="7780897" y="1811209"/>
                <a:chExt cx="197629" cy="263518"/>
              </a:xfrm>
              <a:grpFill/>
            </p:grpSpPr>
            <p:sp>
              <p:nvSpPr>
                <p:cNvPr id="183" name="Freihandform: Form 908">
                  <a:extLst>
                    <a:ext uri="{FF2B5EF4-FFF2-40B4-BE49-F238E27FC236}">
                      <a16:creationId xmlns:a16="http://schemas.microsoft.com/office/drawing/2014/main" id="{979C6266-1DEC-4FC3-953F-26C359969817}"/>
                    </a:ext>
                  </a:extLst>
                </p:cNvPr>
                <p:cNvSpPr/>
                <p:nvPr/>
              </p:nvSpPr>
              <p:spPr>
                <a:xfrm>
                  <a:off x="7780897" y="1811209"/>
                  <a:ext cx="197629" cy="263518"/>
                </a:xfrm>
                <a:custGeom>
                  <a:avLst/>
                  <a:gdLst>
                    <a:gd name="connsiteX0" fmla="*/ 184452 w 197629"/>
                    <a:gd name="connsiteY0" fmla="*/ 263519 h 263518"/>
                    <a:gd name="connsiteX1" fmla="*/ 13178 w 197629"/>
                    <a:gd name="connsiteY1" fmla="*/ 263519 h 263518"/>
                    <a:gd name="connsiteX2" fmla="*/ 0 w 197629"/>
                    <a:gd name="connsiteY2" fmla="*/ 250341 h 263518"/>
                    <a:gd name="connsiteX3" fmla="*/ 0 w 197629"/>
                    <a:gd name="connsiteY3" fmla="*/ 13178 h 263518"/>
                    <a:gd name="connsiteX4" fmla="*/ 13178 w 197629"/>
                    <a:gd name="connsiteY4" fmla="*/ 0 h 263518"/>
                    <a:gd name="connsiteX5" fmla="*/ 184452 w 197629"/>
                    <a:gd name="connsiteY5" fmla="*/ 0 h 263518"/>
                    <a:gd name="connsiteX6" fmla="*/ 197630 w 197629"/>
                    <a:gd name="connsiteY6" fmla="*/ 13178 h 263518"/>
                    <a:gd name="connsiteX7" fmla="*/ 197630 w 197629"/>
                    <a:gd name="connsiteY7" fmla="*/ 250341 h 263518"/>
                    <a:gd name="connsiteX8" fmla="*/ 184452 w 197629"/>
                    <a:gd name="connsiteY8" fmla="*/ 263519 h 263518"/>
                    <a:gd name="connsiteX9" fmla="*/ 13159 w 197629"/>
                    <a:gd name="connsiteY9" fmla="*/ 13178 h 263518"/>
                    <a:gd name="connsiteX10" fmla="*/ 13159 w 197629"/>
                    <a:gd name="connsiteY10" fmla="*/ 250341 h 263518"/>
                    <a:gd name="connsiteX11" fmla="*/ 184433 w 197629"/>
                    <a:gd name="connsiteY11" fmla="*/ 250341 h 263518"/>
                    <a:gd name="connsiteX12" fmla="*/ 184433 w 197629"/>
                    <a:gd name="connsiteY12" fmla="*/ 13178 h 263518"/>
                    <a:gd name="connsiteX13" fmla="*/ 13159 w 197629"/>
                    <a:gd name="connsiteY13" fmla="*/ 13178 h 26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629" h="263518">
                      <a:moveTo>
                        <a:pt x="184452" y="263519"/>
                      </a:moveTo>
                      <a:lnTo>
                        <a:pt x="13178" y="263519"/>
                      </a:lnTo>
                      <a:cubicBezTo>
                        <a:pt x="5909" y="263519"/>
                        <a:pt x="0" y="257610"/>
                        <a:pt x="0" y="250341"/>
                      </a:cubicBezTo>
                      <a:lnTo>
                        <a:pt x="0" y="13178"/>
                      </a:lnTo>
                      <a:cubicBezTo>
                        <a:pt x="0" y="5909"/>
                        <a:pt x="5909" y="0"/>
                        <a:pt x="13178" y="0"/>
                      </a:cubicBezTo>
                      <a:lnTo>
                        <a:pt x="184452" y="0"/>
                      </a:lnTo>
                      <a:cubicBezTo>
                        <a:pt x="191721" y="0"/>
                        <a:pt x="197630" y="5909"/>
                        <a:pt x="197630" y="13178"/>
                      </a:cubicBezTo>
                      <a:lnTo>
                        <a:pt x="197630" y="250341"/>
                      </a:lnTo>
                      <a:cubicBezTo>
                        <a:pt x="197630" y="257610"/>
                        <a:pt x="191703" y="263519"/>
                        <a:pt x="184452" y="263519"/>
                      </a:cubicBezTo>
                      <a:close/>
                      <a:moveTo>
                        <a:pt x="13159" y="13178"/>
                      </a:moveTo>
                      <a:lnTo>
                        <a:pt x="13159" y="250341"/>
                      </a:lnTo>
                      <a:lnTo>
                        <a:pt x="184433" y="250341"/>
                      </a:lnTo>
                      <a:lnTo>
                        <a:pt x="184433" y="13178"/>
                      </a:lnTo>
                      <a:lnTo>
                        <a:pt x="13159" y="13178"/>
                      </a:lnTo>
                      <a:close/>
                    </a:path>
                  </a:pathLst>
                </a:custGeom>
                <a:grpFill/>
                <a:ln w="1863" cap="flat">
                  <a:noFill/>
                  <a:prstDash val="solid"/>
                  <a:miter/>
                </a:ln>
              </p:spPr>
              <p:txBody>
                <a:bodyPr rtlCol="0" anchor="ctr"/>
                <a:lstStyle/>
                <a:p>
                  <a:endParaRPr lang="en-GB" dirty="0"/>
                </a:p>
              </p:txBody>
            </p:sp>
            <p:sp>
              <p:nvSpPr>
                <p:cNvPr id="184" name="Freihandform: Form 909">
                  <a:extLst>
                    <a:ext uri="{FF2B5EF4-FFF2-40B4-BE49-F238E27FC236}">
                      <a16:creationId xmlns:a16="http://schemas.microsoft.com/office/drawing/2014/main" id="{F5DEDC49-DF6B-4820-969A-D9C5E104F4E7}"/>
                    </a:ext>
                  </a:extLst>
                </p:cNvPr>
                <p:cNvSpPr/>
                <p:nvPr/>
              </p:nvSpPr>
              <p:spPr>
                <a:xfrm>
                  <a:off x="7807234" y="1844182"/>
                  <a:ext cx="144918" cy="46094"/>
                </a:xfrm>
                <a:custGeom>
                  <a:avLst/>
                  <a:gdLst>
                    <a:gd name="connsiteX0" fmla="*/ 138339 w 144918"/>
                    <a:gd name="connsiteY0" fmla="*/ 46094 h 46094"/>
                    <a:gd name="connsiteX1" fmla="*/ 6580 w 144918"/>
                    <a:gd name="connsiteY1" fmla="*/ 46094 h 46094"/>
                    <a:gd name="connsiteX2" fmla="*/ 0 w 144918"/>
                    <a:gd name="connsiteY2" fmla="*/ 39515 h 46094"/>
                    <a:gd name="connsiteX3" fmla="*/ 0 w 144918"/>
                    <a:gd name="connsiteY3" fmla="*/ 6580 h 46094"/>
                    <a:gd name="connsiteX4" fmla="*/ 6580 w 144918"/>
                    <a:gd name="connsiteY4" fmla="*/ 0 h 46094"/>
                    <a:gd name="connsiteX5" fmla="*/ 138339 w 144918"/>
                    <a:gd name="connsiteY5" fmla="*/ 0 h 46094"/>
                    <a:gd name="connsiteX6" fmla="*/ 144919 w 144918"/>
                    <a:gd name="connsiteY6" fmla="*/ 6580 h 46094"/>
                    <a:gd name="connsiteX7" fmla="*/ 144919 w 144918"/>
                    <a:gd name="connsiteY7" fmla="*/ 39515 h 46094"/>
                    <a:gd name="connsiteX8" fmla="*/ 138339 w 144918"/>
                    <a:gd name="connsiteY8" fmla="*/ 46094 h 46094"/>
                    <a:gd name="connsiteX9" fmla="*/ 13178 w 144918"/>
                    <a:gd name="connsiteY9" fmla="*/ 32917 h 46094"/>
                    <a:gd name="connsiteX10" fmla="*/ 131759 w 144918"/>
                    <a:gd name="connsiteY10" fmla="*/ 32917 h 46094"/>
                    <a:gd name="connsiteX11" fmla="*/ 131759 w 144918"/>
                    <a:gd name="connsiteY11" fmla="*/ 13159 h 46094"/>
                    <a:gd name="connsiteX12" fmla="*/ 13178 w 144918"/>
                    <a:gd name="connsiteY12" fmla="*/ 13159 h 46094"/>
                    <a:gd name="connsiteX13" fmla="*/ 13178 w 144918"/>
                    <a:gd name="connsiteY13" fmla="*/ 32917 h 4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918" h="46094">
                      <a:moveTo>
                        <a:pt x="138339" y="46094"/>
                      </a:moveTo>
                      <a:lnTo>
                        <a:pt x="6580" y="46094"/>
                      </a:lnTo>
                      <a:cubicBezTo>
                        <a:pt x="2945" y="46094"/>
                        <a:pt x="0" y="43149"/>
                        <a:pt x="0" y="39515"/>
                      </a:cubicBezTo>
                      <a:lnTo>
                        <a:pt x="0" y="6580"/>
                      </a:lnTo>
                      <a:cubicBezTo>
                        <a:pt x="0" y="2945"/>
                        <a:pt x="2945" y="0"/>
                        <a:pt x="6580" y="0"/>
                      </a:cubicBezTo>
                      <a:lnTo>
                        <a:pt x="138339" y="0"/>
                      </a:lnTo>
                      <a:cubicBezTo>
                        <a:pt x="141974" y="0"/>
                        <a:pt x="144919" y="2945"/>
                        <a:pt x="144919" y="6580"/>
                      </a:cubicBezTo>
                      <a:lnTo>
                        <a:pt x="144919" y="39515"/>
                      </a:lnTo>
                      <a:cubicBezTo>
                        <a:pt x="144937" y="43131"/>
                        <a:pt x="141992" y="46094"/>
                        <a:pt x="138339" y="46094"/>
                      </a:cubicBezTo>
                      <a:close/>
                      <a:moveTo>
                        <a:pt x="13178" y="32917"/>
                      </a:moveTo>
                      <a:lnTo>
                        <a:pt x="131759" y="32917"/>
                      </a:lnTo>
                      <a:lnTo>
                        <a:pt x="131759" y="13159"/>
                      </a:lnTo>
                      <a:lnTo>
                        <a:pt x="13178" y="13159"/>
                      </a:lnTo>
                      <a:lnTo>
                        <a:pt x="13178" y="32917"/>
                      </a:lnTo>
                      <a:close/>
                    </a:path>
                  </a:pathLst>
                </a:custGeom>
                <a:grpFill/>
                <a:ln w="1863" cap="flat">
                  <a:noFill/>
                  <a:prstDash val="solid"/>
                  <a:miter/>
                </a:ln>
              </p:spPr>
              <p:txBody>
                <a:bodyPr rtlCol="0" anchor="ctr"/>
                <a:lstStyle/>
                <a:p>
                  <a:endParaRPr lang="en-GB" dirty="0"/>
                </a:p>
              </p:txBody>
            </p:sp>
            <p:grpSp>
              <p:nvGrpSpPr>
                <p:cNvPr id="185" name="Grafik 318">
                  <a:extLst>
                    <a:ext uri="{FF2B5EF4-FFF2-40B4-BE49-F238E27FC236}">
                      <a16:creationId xmlns:a16="http://schemas.microsoft.com/office/drawing/2014/main" id="{534E32F1-1A7D-4CEE-B52A-C19C3CFFE2D6}"/>
                    </a:ext>
                  </a:extLst>
                </p:cNvPr>
                <p:cNvGrpSpPr/>
                <p:nvPr/>
              </p:nvGrpSpPr>
              <p:grpSpPr>
                <a:xfrm>
                  <a:off x="7807234" y="1929810"/>
                  <a:ext cx="144918" cy="13159"/>
                  <a:chOff x="7807234" y="1929810"/>
                  <a:chExt cx="144918" cy="13159"/>
                </a:xfrm>
                <a:grpFill/>
              </p:grpSpPr>
              <p:sp>
                <p:nvSpPr>
                  <p:cNvPr id="194" name="Freihandform: Form 911">
                    <a:extLst>
                      <a:ext uri="{FF2B5EF4-FFF2-40B4-BE49-F238E27FC236}">
                        <a16:creationId xmlns:a16="http://schemas.microsoft.com/office/drawing/2014/main" id="{C4155559-2299-4012-8ED1-51B88511E39F}"/>
                      </a:ext>
                    </a:extLst>
                  </p:cNvPr>
                  <p:cNvSpPr/>
                  <p:nvPr/>
                </p:nvSpPr>
                <p:spPr>
                  <a:xfrm>
                    <a:off x="7925815" y="1929810"/>
                    <a:ext cx="26337" cy="13159"/>
                  </a:xfrm>
                  <a:custGeom>
                    <a:avLst/>
                    <a:gdLst>
                      <a:gd name="connsiteX0" fmla="*/ 19758 w 26337"/>
                      <a:gd name="connsiteY0" fmla="*/ 13159 h 13159"/>
                      <a:gd name="connsiteX1" fmla="*/ 6580 w 26337"/>
                      <a:gd name="connsiteY1" fmla="*/ 13159 h 13159"/>
                      <a:gd name="connsiteX2" fmla="*/ 0 w 26337"/>
                      <a:gd name="connsiteY2" fmla="*/ 6580 h 13159"/>
                      <a:gd name="connsiteX3" fmla="*/ 6580 w 26337"/>
                      <a:gd name="connsiteY3" fmla="*/ 0 h 13159"/>
                      <a:gd name="connsiteX4" fmla="*/ 19758 w 26337"/>
                      <a:gd name="connsiteY4" fmla="*/ 0 h 13159"/>
                      <a:gd name="connsiteX5" fmla="*/ 26337 w 26337"/>
                      <a:gd name="connsiteY5" fmla="*/ 6580 h 13159"/>
                      <a:gd name="connsiteX6" fmla="*/ 19758 w 26337"/>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7" h="13159">
                        <a:moveTo>
                          <a:pt x="19758" y="13159"/>
                        </a:moveTo>
                        <a:lnTo>
                          <a:pt x="6580" y="13159"/>
                        </a:lnTo>
                        <a:cubicBezTo>
                          <a:pt x="2945" y="13159"/>
                          <a:pt x="0" y="10214"/>
                          <a:pt x="0" y="6580"/>
                        </a:cubicBezTo>
                        <a:cubicBezTo>
                          <a:pt x="0" y="2945"/>
                          <a:pt x="2945" y="0"/>
                          <a:pt x="6580" y="0"/>
                        </a:cubicBezTo>
                        <a:lnTo>
                          <a:pt x="19758" y="0"/>
                        </a:lnTo>
                        <a:cubicBezTo>
                          <a:pt x="23392" y="0"/>
                          <a:pt x="26337" y="2945"/>
                          <a:pt x="26337" y="6580"/>
                        </a:cubicBezTo>
                        <a:cubicBezTo>
                          <a:pt x="26356" y="10214"/>
                          <a:pt x="23411" y="13159"/>
                          <a:pt x="19758" y="13159"/>
                        </a:cubicBezTo>
                        <a:close/>
                      </a:path>
                    </a:pathLst>
                  </a:custGeom>
                  <a:grpFill/>
                  <a:ln w="1863" cap="flat">
                    <a:noFill/>
                    <a:prstDash val="solid"/>
                    <a:miter/>
                  </a:ln>
                </p:spPr>
                <p:txBody>
                  <a:bodyPr rtlCol="0" anchor="ctr"/>
                  <a:lstStyle/>
                  <a:p>
                    <a:endParaRPr lang="en-GB" dirty="0"/>
                  </a:p>
                </p:txBody>
              </p:sp>
              <p:sp>
                <p:nvSpPr>
                  <p:cNvPr id="195" name="Freihandform: Form 912">
                    <a:extLst>
                      <a:ext uri="{FF2B5EF4-FFF2-40B4-BE49-F238E27FC236}">
                        <a16:creationId xmlns:a16="http://schemas.microsoft.com/office/drawing/2014/main" id="{E5E72320-7574-4D3A-8E38-280E4AEF255D}"/>
                      </a:ext>
                    </a:extLst>
                  </p:cNvPr>
                  <p:cNvSpPr/>
                  <p:nvPr/>
                </p:nvSpPr>
                <p:spPr>
                  <a:xfrm>
                    <a:off x="7866525" y="1929810"/>
                    <a:ext cx="26337" cy="13159"/>
                  </a:xfrm>
                  <a:custGeom>
                    <a:avLst/>
                    <a:gdLst>
                      <a:gd name="connsiteX0" fmla="*/ 19757 w 26337"/>
                      <a:gd name="connsiteY0" fmla="*/ 13159 h 13159"/>
                      <a:gd name="connsiteX1" fmla="*/ 6580 w 26337"/>
                      <a:gd name="connsiteY1" fmla="*/ 13159 h 13159"/>
                      <a:gd name="connsiteX2" fmla="*/ 0 w 26337"/>
                      <a:gd name="connsiteY2" fmla="*/ 6580 h 13159"/>
                      <a:gd name="connsiteX3" fmla="*/ 6580 w 26337"/>
                      <a:gd name="connsiteY3" fmla="*/ 0 h 13159"/>
                      <a:gd name="connsiteX4" fmla="*/ 19757 w 26337"/>
                      <a:gd name="connsiteY4" fmla="*/ 0 h 13159"/>
                      <a:gd name="connsiteX5" fmla="*/ 26337 w 26337"/>
                      <a:gd name="connsiteY5" fmla="*/ 6580 h 13159"/>
                      <a:gd name="connsiteX6" fmla="*/ 19757 w 26337"/>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7" h="13159">
                        <a:moveTo>
                          <a:pt x="19757" y="13159"/>
                        </a:moveTo>
                        <a:lnTo>
                          <a:pt x="6580" y="13159"/>
                        </a:lnTo>
                        <a:cubicBezTo>
                          <a:pt x="2945" y="13159"/>
                          <a:pt x="0" y="10214"/>
                          <a:pt x="0" y="6580"/>
                        </a:cubicBezTo>
                        <a:cubicBezTo>
                          <a:pt x="0" y="2945"/>
                          <a:pt x="2945" y="0"/>
                          <a:pt x="6580" y="0"/>
                        </a:cubicBezTo>
                        <a:lnTo>
                          <a:pt x="19757" y="0"/>
                        </a:lnTo>
                        <a:cubicBezTo>
                          <a:pt x="23392" y="0"/>
                          <a:pt x="26337" y="2945"/>
                          <a:pt x="26337" y="6580"/>
                        </a:cubicBezTo>
                        <a:cubicBezTo>
                          <a:pt x="26356" y="10214"/>
                          <a:pt x="23411" y="13159"/>
                          <a:pt x="19757" y="13159"/>
                        </a:cubicBezTo>
                        <a:close/>
                      </a:path>
                    </a:pathLst>
                  </a:custGeom>
                  <a:grpFill/>
                  <a:ln w="1863" cap="flat">
                    <a:noFill/>
                    <a:prstDash val="solid"/>
                    <a:miter/>
                  </a:ln>
                </p:spPr>
                <p:txBody>
                  <a:bodyPr rtlCol="0" anchor="ctr"/>
                  <a:lstStyle/>
                  <a:p>
                    <a:endParaRPr lang="en-GB" dirty="0"/>
                  </a:p>
                </p:txBody>
              </p:sp>
              <p:sp>
                <p:nvSpPr>
                  <p:cNvPr id="196" name="Freihandform: Form 913">
                    <a:extLst>
                      <a:ext uri="{FF2B5EF4-FFF2-40B4-BE49-F238E27FC236}">
                        <a16:creationId xmlns:a16="http://schemas.microsoft.com/office/drawing/2014/main" id="{DC16AAF7-DB1F-4C18-83BA-C37E7DCCA951}"/>
                      </a:ext>
                    </a:extLst>
                  </p:cNvPr>
                  <p:cNvSpPr/>
                  <p:nvPr/>
                </p:nvSpPr>
                <p:spPr>
                  <a:xfrm>
                    <a:off x="7807234" y="1929810"/>
                    <a:ext cx="26337" cy="13159"/>
                  </a:xfrm>
                  <a:custGeom>
                    <a:avLst/>
                    <a:gdLst>
                      <a:gd name="connsiteX0" fmla="*/ 19758 w 26337"/>
                      <a:gd name="connsiteY0" fmla="*/ 13159 h 13159"/>
                      <a:gd name="connsiteX1" fmla="*/ 6580 w 26337"/>
                      <a:gd name="connsiteY1" fmla="*/ 13159 h 13159"/>
                      <a:gd name="connsiteX2" fmla="*/ 0 w 26337"/>
                      <a:gd name="connsiteY2" fmla="*/ 6580 h 13159"/>
                      <a:gd name="connsiteX3" fmla="*/ 6580 w 26337"/>
                      <a:gd name="connsiteY3" fmla="*/ 0 h 13159"/>
                      <a:gd name="connsiteX4" fmla="*/ 19758 w 26337"/>
                      <a:gd name="connsiteY4" fmla="*/ 0 h 13159"/>
                      <a:gd name="connsiteX5" fmla="*/ 26337 w 26337"/>
                      <a:gd name="connsiteY5" fmla="*/ 6580 h 13159"/>
                      <a:gd name="connsiteX6" fmla="*/ 19758 w 26337"/>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7" h="13159">
                        <a:moveTo>
                          <a:pt x="19758" y="13159"/>
                        </a:moveTo>
                        <a:lnTo>
                          <a:pt x="6580" y="13159"/>
                        </a:lnTo>
                        <a:cubicBezTo>
                          <a:pt x="2945" y="13159"/>
                          <a:pt x="0" y="10214"/>
                          <a:pt x="0" y="6580"/>
                        </a:cubicBezTo>
                        <a:cubicBezTo>
                          <a:pt x="0" y="2945"/>
                          <a:pt x="2945" y="0"/>
                          <a:pt x="6580" y="0"/>
                        </a:cubicBezTo>
                        <a:lnTo>
                          <a:pt x="19758" y="0"/>
                        </a:lnTo>
                        <a:cubicBezTo>
                          <a:pt x="23392" y="0"/>
                          <a:pt x="26337" y="2945"/>
                          <a:pt x="26337" y="6580"/>
                        </a:cubicBezTo>
                        <a:cubicBezTo>
                          <a:pt x="26356" y="10214"/>
                          <a:pt x="23411" y="13159"/>
                          <a:pt x="19758" y="13159"/>
                        </a:cubicBezTo>
                        <a:close/>
                      </a:path>
                    </a:pathLst>
                  </a:custGeom>
                  <a:grpFill/>
                  <a:ln w="1863" cap="flat">
                    <a:noFill/>
                    <a:prstDash val="solid"/>
                    <a:miter/>
                  </a:ln>
                </p:spPr>
                <p:txBody>
                  <a:bodyPr rtlCol="0" anchor="ctr"/>
                  <a:lstStyle/>
                  <a:p>
                    <a:endParaRPr lang="en-GB" dirty="0"/>
                  </a:p>
                </p:txBody>
              </p:sp>
            </p:grpSp>
            <p:grpSp>
              <p:nvGrpSpPr>
                <p:cNvPr id="186" name="Grafik 318">
                  <a:extLst>
                    <a:ext uri="{FF2B5EF4-FFF2-40B4-BE49-F238E27FC236}">
                      <a16:creationId xmlns:a16="http://schemas.microsoft.com/office/drawing/2014/main" id="{CA7F3F74-E741-4C86-991C-5E9600BF4DD9}"/>
                    </a:ext>
                  </a:extLst>
                </p:cNvPr>
                <p:cNvGrpSpPr/>
                <p:nvPr/>
              </p:nvGrpSpPr>
              <p:grpSpPr>
                <a:xfrm>
                  <a:off x="7807234" y="1975923"/>
                  <a:ext cx="144918" cy="13159"/>
                  <a:chOff x="7807234" y="1975923"/>
                  <a:chExt cx="144918" cy="13159"/>
                </a:xfrm>
                <a:grpFill/>
              </p:grpSpPr>
              <p:sp>
                <p:nvSpPr>
                  <p:cNvPr id="191" name="Freihandform: Form 915">
                    <a:extLst>
                      <a:ext uri="{FF2B5EF4-FFF2-40B4-BE49-F238E27FC236}">
                        <a16:creationId xmlns:a16="http://schemas.microsoft.com/office/drawing/2014/main" id="{831C8BDA-D6B7-435F-AC2C-CB085598A111}"/>
                      </a:ext>
                    </a:extLst>
                  </p:cNvPr>
                  <p:cNvSpPr/>
                  <p:nvPr/>
                </p:nvSpPr>
                <p:spPr>
                  <a:xfrm>
                    <a:off x="7925815" y="1975923"/>
                    <a:ext cx="26336" cy="13159"/>
                  </a:xfrm>
                  <a:custGeom>
                    <a:avLst/>
                    <a:gdLst>
                      <a:gd name="connsiteX0" fmla="*/ 19758 w 26336"/>
                      <a:gd name="connsiteY0" fmla="*/ 13159 h 13159"/>
                      <a:gd name="connsiteX1" fmla="*/ 6580 w 26336"/>
                      <a:gd name="connsiteY1" fmla="*/ 13159 h 13159"/>
                      <a:gd name="connsiteX2" fmla="*/ 0 w 26336"/>
                      <a:gd name="connsiteY2" fmla="*/ 6580 h 13159"/>
                      <a:gd name="connsiteX3" fmla="*/ 6580 w 26336"/>
                      <a:gd name="connsiteY3" fmla="*/ 0 h 13159"/>
                      <a:gd name="connsiteX4" fmla="*/ 19758 w 26336"/>
                      <a:gd name="connsiteY4" fmla="*/ 0 h 13159"/>
                      <a:gd name="connsiteX5" fmla="*/ 26337 w 26336"/>
                      <a:gd name="connsiteY5" fmla="*/ 6580 h 13159"/>
                      <a:gd name="connsiteX6" fmla="*/ 19758 w 26336"/>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6" h="13159">
                        <a:moveTo>
                          <a:pt x="19758" y="13159"/>
                        </a:moveTo>
                        <a:lnTo>
                          <a:pt x="6580" y="13159"/>
                        </a:lnTo>
                        <a:cubicBezTo>
                          <a:pt x="2945" y="13159"/>
                          <a:pt x="0" y="10214"/>
                          <a:pt x="0" y="6580"/>
                        </a:cubicBezTo>
                        <a:cubicBezTo>
                          <a:pt x="0" y="2945"/>
                          <a:pt x="2945" y="0"/>
                          <a:pt x="6580" y="0"/>
                        </a:cubicBezTo>
                        <a:lnTo>
                          <a:pt x="19758" y="0"/>
                        </a:lnTo>
                        <a:cubicBezTo>
                          <a:pt x="23392" y="0"/>
                          <a:pt x="26337" y="2945"/>
                          <a:pt x="26337" y="6580"/>
                        </a:cubicBezTo>
                        <a:cubicBezTo>
                          <a:pt x="26337" y="10214"/>
                          <a:pt x="23411" y="13159"/>
                          <a:pt x="19758" y="13159"/>
                        </a:cubicBezTo>
                        <a:close/>
                      </a:path>
                    </a:pathLst>
                  </a:custGeom>
                  <a:grpFill/>
                  <a:ln w="1863" cap="flat">
                    <a:noFill/>
                    <a:prstDash val="solid"/>
                    <a:miter/>
                  </a:ln>
                </p:spPr>
                <p:txBody>
                  <a:bodyPr rtlCol="0" anchor="ctr"/>
                  <a:lstStyle/>
                  <a:p>
                    <a:endParaRPr lang="en-GB" dirty="0"/>
                  </a:p>
                </p:txBody>
              </p:sp>
              <p:sp>
                <p:nvSpPr>
                  <p:cNvPr id="192" name="Freihandform: Form 916">
                    <a:extLst>
                      <a:ext uri="{FF2B5EF4-FFF2-40B4-BE49-F238E27FC236}">
                        <a16:creationId xmlns:a16="http://schemas.microsoft.com/office/drawing/2014/main" id="{C844E5D7-1D57-4142-BCF9-A6ACE1F2E743}"/>
                      </a:ext>
                    </a:extLst>
                  </p:cNvPr>
                  <p:cNvSpPr/>
                  <p:nvPr/>
                </p:nvSpPr>
                <p:spPr>
                  <a:xfrm>
                    <a:off x="7866525" y="1975923"/>
                    <a:ext cx="26336" cy="13159"/>
                  </a:xfrm>
                  <a:custGeom>
                    <a:avLst/>
                    <a:gdLst>
                      <a:gd name="connsiteX0" fmla="*/ 19757 w 26336"/>
                      <a:gd name="connsiteY0" fmla="*/ 13159 h 13159"/>
                      <a:gd name="connsiteX1" fmla="*/ 6580 w 26336"/>
                      <a:gd name="connsiteY1" fmla="*/ 13159 h 13159"/>
                      <a:gd name="connsiteX2" fmla="*/ 0 w 26336"/>
                      <a:gd name="connsiteY2" fmla="*/ 6580 h 13159"/>
                      <a:gd name="connsiteX3" fmla="*/ 6580 w 26336"/>
                      <a:gd name="connsiteY3" fmla="*/ 0 h 13159"/>
                      <a:gd name="connsiteX4" fmla="*/ 19757 w 26336"/>
                      <a:gd name="connsiteY4" fmla="*/ 0 h 13159"/>
                      <a:gd name="connsiteX5" fmla="*/ 26337 w 26336"/>
                      <a:gd name="connsiteY5" fmla="*/ 6580 h 13159"/>
                      <a:gd name="connsiteX6" fmla="*/ 19757 w 26336"/>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6" h="13159">
                        <a:moveTo>
                          <a:pt x="19757" y="13159"/>
                        </a:moveTo>
                        <a:lnTo>
                          <a:pt x="6580" y="13159"/>
                        </a:lnTo>
                        <a:cubicBezTo>
                          <a:pt x="2945" y="13159"/>
                          <a:pt x="0" y="10214"/>
                          <a:pt x="0" y="6580"/>
                        </a:cubicBezTo>
                        <a:cubicBezTo>
                          <a:pt x="0" y="2945"/>
                          <a:pt x="2945" y="0"/>
                          <a:pt x="6580" y="0"/>
                        </a:cubicBezTo>
                        <a:lnTo>
                          <a:pt x="19757" y="0"/>
                        </a:lnTo>
                        <a:cubicBezTo>
                          <a:pt x="23392" y="0"/>
                          <a:pt x="26337" y="2945"/>
                          <a:pt x="26337" y="6580"/>
                        </a:cubicBezTo>
                        <a:cubicBezTo>
                          <a:pt x="26337" y="10214"/>
                          <a:pt x="23411" y="13159"/>
                          <a:pt x="19757" y="13159"/>
                        </a:cubicBezTo>
                        <a:close/>
                      </a:path>
                    </a:pathLst>
                  </a:custGeom>
                  <a:grpFill/>
                  <a:ln w="1863" cap="flat">
                    <a:noFill/>
                    <a:prstDash val="solid"/>
                    <a:miter/>
                  </a:ln>
                </p:spPr>
                <p:txBody>
                  <a:bodyPr rtlCol="0" anchor="ctr"/>
                  <a:lstStyle/>
                  <a:p>
                    <a:endParaRPr lang="en-GB" dirty="0"/>
                  </a:p>
                </p:txBody>
              </p:sp>
              <p:sp>
                <p:nvSpPr>
                  <p:cNvPr id="193" name="Freihandform: Form 917">
                    <a:extLst>
                      <a:ext uri="{FF2B5EF4-FFF2-40B4-BE49-F238E27FC236}">
                        <a16:creationId xmlns:a16="http://schemas.microsoft.com/office/drawing/2014/main" id="{1D847766-2AA1-49A7-BEF8-6284CD635731}"/>
                      </a:ext>
                    </a:extLst>
                  </p:cNvPr>
                  <p:cNvSpPr/>
                  <p:nvPr/>
                </p:nvSpPr>
                <p:spPr>
                  <a:xfrm>
                    <a:off x="7807234" y="1975923"/>
                    <a:ext cx="26336" cy="13159"/>
                  </a:xfrm>
                  <a:custGeom>
                    <a:avLst/>
                    <a:gdLst>
                      <a:gd name="connsiteX0" fmla="*/ 19758 w 26336"/>
                      <a:gd name="connsiteY0" fmla="*/ 13159 h 13159"/>
                      <a:gd name="connsiteX1" fmla="*/ 6580 w 26336"/>
                      <a:gd name="connsiteY1" fmla="*/ 13159 h 13159"/>
                      <a:gd name="connsiteX2" fmla="*/ 0 w 26336"/>
                      <a:gd name="connsiteY2" fmla="*/ 6580 h 13159"/>
                      <a:gd name="connsiteX3" fmla="*/ 6580 w 26336"/>
                      <a:gd name="connsiteY3" fmla="*/ 0 h 13159"/>
                      <a:gd name="connsiteX4" fmla="*/ 19758 w 26336"/>
                      <a:gd name="connsiteY4" fmla="*/ 0 h 13159"/>
                      <a:gd name="connsiteX5" fmla="*/ 26337 w 26336"/>
                      <a:gd name="connsiteY5" fmla="*/ 6580 h 13159"/>
                      <a:gd name="connsiteX6" fmla="*/ 19758 w 26336"/>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6" h="13159">
                        <a:moveTo>
                          <a:pt x="19758" y="13159"/>
                        </a:moveTo>
                        <a:lnTo>
                          <a:pt x="6580" y="13159"/>
                        </a:lnTo>
                        <a:cubicBezTo>
                          <a:pt x="2945" y="13159"/>
                          <a:pt x="0" y="10214"/>
                          <a:pt x="0" y="6580"/>
                        </a:cubicBezTo>
                        <a:cubicBezTo>
                          <a:pt x="0" y="2945"/>
                          <a:pt x="2945" y="0"/>
                          <a:pt x="6580" y="0"/>
                        </a:cubicBezTo>
                        <a:lnTo>
                          <a:pt x="19758" y="0"/>
                        </a:lnTo>
                        <a:cubicBezTo>
                          <a:pt x="23392" y="0"/>
                          <a:pt x="26337" y="2945"/>
                          <a:pt x="26337" y="6580"/>
                        </a:cubicBezTo>
                        <a:cubicBezTo>
                          <a:pt x="26337" y="10214"/>
                          <a:pt x="23411" y="13159"/>
                          <a:pt x="19758" y="13159"/>
                        </a:cubicBezTo>
                        <a:close/>
                      </a:path>
                    </a:pathLst>
                  </a:custGeom>
                  <a:grpFill/>
                  <a:ln w="1863" cap="flat">
                    <a:noFill/>
                    <a:prstDash val="solid"/>
                    <a:miter/>
                  </a:ln>
                </p:spPr>
                <p:txBody>
                  <a:bodyPr rtlCol="0" anchor="ctr"/>
                  <a:lstStyle/>
                  <a:p>
                    <a:endParaRPr lang="en-GB" dirty="0"/>
                  </a:p>
                </p:txBody>
              </p:sp>
            </p:grpSp>
            <p:grpSp>
              <p:nvGrpSpPr>
                <p:cNvPr id="187" name="Grafik 318">
                  <a:extLst>
                    <a:ext uri="{FF2B5EF4-FFF2-40B4-BE49-F238E27FC236}">
                      <a16:creationId xmlns:a16="http://schemas.microsoft.com/office/drawing/2014/main" id="{450EB18C-B630-487B-81DB-F46692DF1E91}"/>
                    </a:ext>
                  </a:extLst>
                </p:cNvPr>
                <p:cNvGrpSpPr/>
                <p:nvPr/>
              </p:nvGrpSpPr>
              <p:grpSpPr>
                <a:xfrm>
                  <a:off x="7807234" y="2022036"/>
                  <a:ext cx="144918" cy="13159"/>
                  <a:chOff x="7807234" y="2022036"/>
                  <a:chExt cx="144918" cy="13159"/>
                </a:xfrm>
                <a:grpFill/>
              </p:grpSpPr>
              <p:sp>
                <p:nvSpPr>
                  <p:cNvPr id="188" name="Freihandform: Form 919">
                    <a:extLst>
                      <a:ext uri="{FF2B5EF4-FFF2-40B4-BE49-F238E27FC236}">
                        <a16:creationId xmlns:a16="http://schemas.microsoft.com/office/drawing/2014/main" id="{A1F77F99-4FAC-4AC3-8945-E678FE012E1E}"/>
                      </a:ext>
                    </a:extLst>
                  </p:cNvPr>
                  <p:cNvSpPr/>
                  <p:nvPr/>
                </p:nvSpPr>
                <p:spPr>
                  <a:xfrm>
                    <a:off x="7925815" y="2022036"/>
                    <a:ext cx="26337" cy="13159"/>
                  </a:xfrm>
                  <a:custGeom>
                    <a:avLst/>
                    <a:gdLst>
                      <a:gd name="connsiteX0" fmla="*/ 19758 w 26337"/>
                      <a:gd name="connsiteY0" fmla="*/ 13159 h 13159"/>
                      <a:gd name="connsiteX1" fmla="*/ 6580 w 26337"/>
                      <a:gd name="connsiteY1" fmla="*/ 13159 h 13159"/>
                      <a:gd name="connsiteX2" fmla="*/ 0 w 26337"/>
                      <a:gd name="connsiteY2" fmla="*/ 6580 h 13159"/>
                      <a:gd name="connsiteX3" fmla="*/ 6580 w 26337"/>
                      <a:gd name="connsiteY3" fmla="*/ 0 h 13159"/>
                      <a:gd name="connsiteX4" fmla="*/ 19758 w 26337"/>
                      <a:gd name="connsiteY4" fmla="*/ 0 h 13159"/>
                      <a:gd name="connsiteX5" fmla="*/ 26337 w 26337"/>
                      <a:gd name="connsiteY5" fmla="*/ 6580 h 13159"/>
                      <a:gd name="connsiteX6" fmla="*/ 19758 w 26337"/>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7" h="13159">
                        <a:moveTo>
                          <a:pt x="19758" y="13159"/>
                        </a:moveTo>
                        <a:lnTo>
                          <a:pt x="6580" y="13159"/>
                        </a:lnTo>
                        <a:cubicBezTo>
                          <a:pt x="2945" y="13159"/>
                          <a:pt x="0" y="10214"/>
                          <a:pt x="0" y="6580"/>
                        </a:cubicBezTo>
                        <a:cubicBezTo>
                          <a:pt x="0" y="2945"/>
                          <a:pt x="2945" y="0"/>
                          <a:pt x="6580" y="0"/>
                        </a:cubicBezTo>
                        <a:lnTo>
                          <a:pt x="19758" y="0"/>
                        </a:lnTo>
                        <a:cubicBezTo>
                          <a:pt x="23392" y="0"/>
                          <a:pt x="26337" y="2945"/>
                          <a:pt x="26337" y="6580"/>
                        </a:cubicBezTo>
                        <a:cubicBezTo>
                          <a:pt x="26356" y="10214"/>
                          <a:pt x="23411" y="13159"/>
                          <a:pt x="19758" y="13159"/>
                        </a:cubicBezTo>
                        <a:close/>
                      </a:path>
                    </a:pathLst>
                  </a:custGeom>
                  <a:grpFill/>
                  <a:ln w="1863" cap="flat">
                    <a:noFill/>
                    <a:prstDash val="solid"/>
                    <a:miter/>
                  </a:ln>
                </p:spPr>
                <p:txBody>
                  <a:bodyPr rtlCol="0" anchor="ctr"/>
                  <a:lstStyle/>
                  <a:p>
                    <a:endParaRPr lang="en-GB" dirty="0"/>
                  </a:p>
                </p:txBody>
              </p:sp>
              <p:sp>
                <p:nvSpPr>
                  <p:cNvPr id="189" name="Freihandform: Form 920">
                    <a:extLst>
                      <a:ext uri="{FF2B5EF4-FFF2-40B4-BE49-F238E27FC236}">
                        <a16:creationId xmlns:a16="http://schemas.microsoft.com/office/drawing/2014/main" id="{DC757ED1-CF1A-40DB-955A-1D43A6909C3D}"/>
                      </a:ext>
                    </a:extLst>
                  </p:cNvPr>
                  <p:cNvSpPr/>
                  <p:nvPr/>
                </p:nvSpPr>
                <p:spPr>
                  <a:xfrm>
                    <a:off x="7866525" y="2022036"/>
                    <a:ext cx="26337" cy="13159"/>
                  </a:xfrm>
                  <a:custGeom>
                    <a:avLst/>
                    <a:gdLst>
                      <a:gd name="connsiteX0" fmla="*/ 19757 w 26337"/>
                      <a:gd name="connsiteY0" fmla="*/ 13159 h 13159"/>
                      <a:gd name="connsiteX1" fmla="*/ 6580 w 26337"/>
                      <a:gd name="connsiteY1" fmla="*/ 13159 h 13159"/>
                      <a:gd name="connsiteX2" fmla="*/ 0 w 26337"/>
                      <a:gd name="connsiteY2" fmla="*/ 6580 h 13159"/>
                      <a:gd name="connsiteX3" fmla="*/ 6580 w 26337"/>
                      <a:gd name="connsiteY3" fmla="*/ 0 h 13159"/>
                      <a:gd name="connsiteX4" fmla="*/ 19757 w 26337"/>
                      <a:gd name="connsiteY4" fmla="*/ 0 h 13159"/>
                      <a:gd name="connsiteX5" fmla="*/ 26337 w 26337"/>
                      <a:gd name="connsiteY5" fmla="*/ 6580 h 13159"/>
                      <a:gd name="connsiteX6" fmla="*/ 19757 w 26337"/>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7" h="13159">
                        <a:moveTo>
                          <a:pt x="19757" y="13159"/>
                        </a:moveTo>
                        <a:lnTo>
                          <a:pt x="6580" y="13159"/>
                        </a:lnTo>
                        <a:cubicBezTo>
                          <a:pt x="2945" y="13159"/>
                          <a:pt x="0" y="10214"/>
                          <a:pt x="0" y="6580"/>
                        </a:cubicBezTo>
                        <a:cubicBezTo>
                          <a:pt x="0" y="2945"/>
                          <a:pt x="2945" y="0"/>
                          <a:pt x="6580" y="0"/>
                        </a:cubicBezTo>
                        <a:lnTo>
                          <a:pt x="19757" y="0"/>
                        </a:lnTo>
                        <a:cubicBezTo>
                          <a:pt x="23392" y="0"/>
                          <a:pt x="26337" y="2945"/>
                          <a:pt x="26337" y="6580"/>
                        </a:cubicBezTo>
                        <a:cubicBezTo>
                          <a:pt x="26356" y="10214"/>
                          <a:pt x="23411" y="13159"/>
                          <a:pt x="19757" y="13159"/>
                        </a:cubicBezTo>
                        <a:close/>
                      </a:path>
                    </a:pathLst>
                  </a:custGeom>
                  <a:grpFill/>
                  <a:ln w="1863" cap="flat">
                    <a:noFill/>
                    <a:prstDash val="solid"/>
                    <a:miter/>
                  </a:ln>
                </p:spPr>
                <p:txBody>
                  <a:bodyPr rtlCol="0" anchor="ctr"/>
                  <a:lstStyle/>
                  <a:p>
                    <a:endParaRPr lang="en-GB" dirty="0"/>
                  </a:p>
                </p:txBody>
              </p:sp>
              <p:sp>
                <p:nvSpPr>
                  <p:cNvPr id="190" name="Freihandform: Form 921">
                    <a:extLst>
                      <a:ext uri="{FF2B5EF4-FFF2-40B4-BE49-F238E27FC236}">
                        <a16:creationId xmlns:a16="http://schemas.microsoft.com/office/drawing/2014/main" id="{A1901C85-A6FC-42F5-AAE5-8D05938EBBF1}"/>
                      </a:ext>
                    </a:extLst>
                  </p:cNvPr>
                  <p:cNvSpPr/>
                  <p:nvPr/>
                </p:nvSpPr>
                <p:spPr>
                  <a:xfrm>
                    <a:off x="7807234" y="2022036"/>
                    <a:ext cx="26337" cy="13159"/>
                  </a:xfrm>
                  <a:custGeom>
                    <a:avLst/>
                    <a:gdLst>
                      <a:gd name="connsiteX0" fmla="*/ 19758 w 26337"/>
                      <a:gd name="connsiteY0" fmla="*/ 13159 h 13159"/>
                      <a:gd name="connsiteX1" fmla="*/ 6580 w 26337"/>
                      <a:gd name="connsiteY1" fmla="*/ 13159 h 13159"/>
                      <a:gd name="connsiteX2" fmla="*/ 0 w 26337"/>
                      <a:gd name="connsiteY2" fmla="*/ 6580 h 13159"/>
                      <a:gd name="connsiteX3" fmla="*/ 6580 w 26337"/>
                      <a:gd name="connsiteY3" fmla="*/ 0 h 13159"/>
                      <a:gd name="connsiteX4" fmla="*/ 19758 w 26337"/>
                      <a:gd name="connsiteY4" fmla="*/ 0 h 13159"/>
                      <a:gd name="connsiteX5" fmla="*/ 26337 w 26337"/>
                      <a:gd name="connsiteY5" fmla="*/ 6580 h 13159"/>
                      <a:gd name="connsiteX6" fmla="*/ 19758 w 26337"/>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37" h="13159">
                        <a:moveTo>
                          <a:pt x="19758" y="13159"/>
                        </a:moveTo>
                        <a:lnTo>
                          <a:pt x="6580" y="13159"/>
                        </a:lnTo>
                        <a:cubicBezTo>
                          <a:pt x="2945" y="13159"/>
                          <a:pt x="0" y="10214"/>
                          <a:pt x="0" y="6580"/>
                        </a:cubicBezTo>
                        <a:cubicBezTo>
                          <a:pt x="0" y="2945"/>
                          <a:pt x="2945" y="0"/>
                          <a:pt x="6580" y="0"/>
                        </a:cubicBezTo>
                        <a:lnTo>
                          <a:pt x="19758" y="0"/>
                        </a:lnTo>
                        <a:cubicBezTo>
                          <a:pt x="23392" y="0"/>
                          <a:pt x="26337" y="2945"/>
                          <a:pt x="26337" y="6580"/>
                        </a:cubicBezTo>
                        <a:cubicBezTo>
                          <a:pt x="26356" y="10214"/>
                          <a:pt x="23411" y="13159"/>
                          <a:pt x="19758" y="13159"/>
                        </a:cubicBezTo>
                        <a:close/>
                      </a:path>
                    </a:pathLst>
                  </a:custGeom>
                  <a:grpFill/>
                  <a:ln w="1863" cap="flat">
                    <a:noFill/>
                    <a:prstDash val="solid"/>
                    <a:miter/>
                  </a:ln>
                </p:spPr>
                <p:txBody>
                  <a:bodyPr rtlCol="0" anchor="ctr"/>
                  <a:lstStyle/>
                  <a:p>
                    <a:endParaRPr lang="en-GB" dirty="0"/>
                  </a:p>
                </p:txBody>
              </p:sp>
            </p:grpSp>
          </p:grpSp>
        </p:grpSp>
        <p:grpSp>
          <p:nvGrpSpPr>
            <p:cNvPr id="153" name="Gruppieren 1305">
              <a:extLst>
                <a:ext uri="{FF2B5EF4-FFF2-40B4-BE49-F238E27FC236}">
                  <a16:creationId xmlns:a16="http://schemas.microsoft.com/office/drawing/2014/main" id="{FA6E6623-2102-423B-9530-BF706002C888}"/>
                </a:ext>
              </a:extLst>
            </p:cNvPr>
            <p:cNvGrpSpPr/>
            <p:nvPr/>
          </p:nvGrpSpPr>
          <p:grpSpPr>
            <a:xfrm>
              <a:off x="1832168" y="2688330"/>
              <a:ext cx="249504" cy="135196"/>
              <a:chOff x="8017277" y="1938663"/>
              <a:chExt cx="251105" cy="136064"/>
            </a:xfrm>
          </p:grpSpPr>
          <p:grpSp>
            <p:nvGrpSpPr>
              <p:cNvPr id="154" name="Grafik 318">
                <a:extLst>
                  <a:ext uri="{FF2B5EF4-FFF2-40B4-BE49-F238E27FC236}">
                    <a16:creationId xmlns:a16="http://schemas.microsoft.com/office/drawing/2014/main" id="{D99EAC51-0E6F-4A58-9304-DC60273CDC9C}"/>
                  </a:ext>
                </a:extLst>
              </p:cNvPr>
              <p:cNvGrpSpPr/>
              <p:nvPr/>
            </p:nvGrpSpPr>
            <p:grpSpPr>
              <a:xfrm>
                <a:off x="8017277" y="1938663"/>
                <a:ext cx="138730" cy="135729"/>
                <a:chOff x="8017277" y="1938663"/>
                <a:chExt cx="138730" cy="135729"/>
              </a:xfrm>
              <a:solidFill>
                <a:schemeClr val="accent1"/>
              </a:solidFill>
            </p:grpSpPr>
            <p:grpSp>
              <p:nvGrpSpPr>
                <p:cNvPr id="158" name="Grafik 318">
                  <a:extLst>
                    <a:ext uri="{FF2B5EF4-FFF2-40B4-BE49-F238E27FC236}">
                      <a16:creationId xmlns:a16="http://schemas.microsoft.com/office/drawing/2014/main" id="{3B0DAD4A-165F-4DAE-A67D-441326D2991E}"/>
                    </a:ext>
                  </a:extLst>
                </p:cNvPr>
                <p:cNvGrpSpPr/>
                <p:nvPr/>
              </p:nvGrpSpPr>
              <p:grpSpPr>
                <a:xfrm>
                  <a:off x="8017277" y="2012884"/>
                  <a:ext cx="138711" cy="61508"/>
                  <a:chOff x="8017277" y="2012884"/>
                  <a:chExt cx="138711" cy="61508"/>
                </a:xfrm>
                <a:solidFill>
                  <a:schemeClr val="accent1"/>
                </a:solidFill>
              </p:grpSpPr>
              <p:sp>
                <p:nvSpPr>
                  <p:cNvPr id="166" name="Freihandform: Form 924">
                    <a:extLst>
                      <a:ext uri="{FF2B5EF4-FFF2-40B4-BE49-F238E27FC236}">
                        <a16:creationId xmlns:a16="http://schemas.microsoft.com/office/drawing/2014/main" id="{1EF5B111-4842-419D-B4E4-2F06BD27B0E6}"/>
                      </a:ext>
                    </a:extLst>
                  </p:cNvPr>
                  <p:cNvSpPr/>
                  <p:nvPr/>
                </p:nvSpPr>
                <p:spPr>
                  <a:xfrm>
                    <a:off x="8017277" y="2039072"/>
                    <a:ext cx="138711" cy="34649"/>
                  </a:xfrm>
                  <a:custGeom>
                    <a:avLst/>
                    <a:gdLst>
                      <a:gd name="connsiteX0" fmla="*/ 69356 w 138711"/>
                      <a:gd name="connsiteY0" fmla="*/ 34650 h 34649"/>
                      <a:gd name="connsiteX1" fmla="*/ 0 w 138711"/>
                      <a:gd name="connsiteY1" fmla="*/ 6580 h 34649"/>
                      <a:gd name="connsiteX2" fmla="*/ 6580 w 138711"/>
                      <a:gd name="connsiteY2" fmla="*/ 0 h 34649"/>
                      <a:gd name="connsiteX3" fmla="*/ 13159 w 138711"/>
                      <a:gd name="connsiteY3" fmla="*/ 6580 h 34649"/>
                      <a:gd name="connsiteX4" fmla="*/ 69356 w 138711"/>
                      <a:gd name="connsiteY4" fmla="*/ 21472 h 34649"/>
                      <a:gd name="connsiteX5" fmla="*/ 125553 w 138711"/>
                      <a:gd name="connsiteY5" fmla="*/ 6580 h 34649"/>
                      <a:gd name="connsiteX6" fmla="*/ 132132 w 138711"/>
                      <a:gd name="connsiteY6" fmla="*/ 0 h 34649"/>
                      <a:gd name="connsiteX7" fmla="*/ 138712 w 138711"/>
                      <a:gd name="connsiteY7" fmla="*/ 6580 h 34649"/>
                      <a:gd name="connsiteX8" fmla="*/ 69356 w 138711"/>
                      <a:gd name="connsiteY8" fmla="*/ 34650 h 3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11" h="34649">
                        <a:moveTo>
                          <a:pt x="69356" y="34650"/>
                        </a:moveTo>
                        <a:cubicBezTo>
                          <a:pt x="35955" y="34650"/>
                          <a:pt x="0" y="25871"/>
                          <a:pt x="0" y="6580"/>
                        </a:cubicBezTo>
                        <a:cubicBezTo>
                          <a:pt x="0" y="2945"/>
                          <a:pt x="2945" y="0"/>
                          <a:pt x="6580" y="0"/>
                        </a:cubicBezTo>
                        <a:cubicBezTo>
                          <a:pt x="10214" y="0"/>
                          <a:pt x="13159" y="2945"/>
                          <a:pt x="13159" y="6580"/>
                        </a:cubicBezTo>
                        <a:cubicBezTo>
                          <a:pt x="13159" y="10904"/>
                          <a:pt x="32861" y="21472"/>
                          <a:pt x="69356" y="21472"/>
                        </a:cubicBezTo>
                        <a:cubicBezTo>
                          <a:pt x="105851" y="21472"/>
                          <a:pt x="125553" y="10904"/>
                          <a:pt x="125553" y="6580"/>
                        </a:cubicBezTo>
                        <a:cubicBezTo>
                          <a:pt x="125553" y="2945"/>
                          <a:pt x="128497" y="0"/>
                          <a:pt x="132132" y="0"/>
                        </a:cubicBezTo>
                        <a:cubicBezTo>
                          <a:pt x="135767" y="0"/>
                          <a:pt x="138712" y="2945"/>
                          <a:pt x="138712" y="6580"/>
                        </a:cubicBezTo>
                        <a:cubicBezTo>
                          <a:pt x="138730" y="25871"/>
                          <a:pt x="102757" y="34650"/>
                          <a:pt x="69356" y="34650"/>
                        </a:cubicBezTo>
                        <a:close/>
                      </a:path>
                    </a:pathLst>
                  </a:custGeom>
                  <a:solidFill>
                    <a:schemeClr val="accent1"/>
                  </a:solidFill>
                  <a:ln w="1863" cap="flat">
                    <a:noFill/>
                    <a:prstDash val="solid"/>
                    <a:miter/>
                  </a:ln>
                </p:spPr>
                <p:txBody>
                  <a:bodyPr rtlCol="0" anchor="ctr"/>
                  <a:lstStyle/>
                  <a:p>
                    <a:endParaRPr lang="en-GB" dirty="0"/>
                  </a:p>
                </p:txBody>
              </p:sp>
              <p:grpSp>
                <p:nvGrpSpPr>
                  <p:cNvPr id="167" name="Grafik 318">
                    <a:extLst>
                      <a:ext uri="{FF2B5EF4-FFF2-40B4-BE49-F238E27FC236}">
                        <a16:creationId xmlns:a16="http://schemas.microsoft.com/office/drawing/2014/main" id="{0D4BBFC3-2056-4C37-8B31-854D0DF3E74C}"/>
                      </a:ext>
                    </a:extLst>
                  </p:cNvPr>
                  <p:cNvGrpSpPr/>
                  <p:nvPr/>
                </p:nvGrpSpPr>
                <p:grpSpPr>
                  <a:xfrm>
                    <a:off x="8017277" y="2012884"/>
                    <a:ext cx="138711" cy="61508"/>
                    <a:chOff x="8017277" y="2012884"/>
                    <a:chExt cx="138711" cy="61508"/>
                  </a:xfrm>
                  <a:solidFill>
                    <a:schemeClr val="accent1"/>
                  </a:solidFill>
                </p:grpSpPr>
                <p:sp>
                  <p:nvSpPr>
                    <p:cNvPr id="168" name="Freihandform: Form 926">
                      <a:extLst>
                        <a:ext uri="{FF2B5EF4-FFF2-40B4-BE49-F238E27FC236}">
                          <a16:creationId xmlns:a16="http://schemas.microsoft.com/office/drawing/2014/main" id="{B7927ACB-C59A-433E-9EC5-347EAF057884}"/>
                        </a:ext>
                      </a:extLst>
                    </p:cNvPr>
                    <p:cNvSpPr/>
                    <p:nvPr/>
                  </p:nvSpPr>
                  <p:spPr>
                    <a:xfrm>
                      <a:off x="8017277" y="2012884"/>
                      <a:ext cx="138711" cy="34649"/>
                    </a:xfrm>
                    <a:custGeom>
                      <a:avLst/>
                      <a:gdLst>
                        <a:gd name="connsiteX0" fmla="*/ 69356 w 138711"/>
                        <a:gd name="connsiteY0" fmla="*/ 34650 h 34649"/>
                        <a:gd name="connsiteX1" fmla="*/ 0 w 138711"/>
                        <a:gd name="connsiteY1" fmla="*/ 6580 h 34649"/>
                        <a:gd name="connsiteX2" fmla="*/ 6580 w 138711"/>
                        <a:gd name="connsiteY2" fmla="*/ 0 h 34649"/>
                        <a:gd name="connsiteX3" fmla="*/ 13159 w 138711"/>
                        <a:gd name="connsiteY3" fmla="*/ 6580 h 34649"/>
                        <a:gd name="connsiteX4" fmla="*/ 69356 w 138711"/>
                        <a:gd name="connsiteY4" fmla="*/ 21472 h 34649"/>
                        <a:gd name="connsiteX5" fmla="*/ 125553 w 138711"/>
                        <a:gd name="connsiteY5" fmla="*/ 6580 h 34649"/>
                        <a:gd name="connsiteX6" fmla="*/ 132132 w 138711"/>
                        <a:gd name="connsiteY6" fmla="*/ 0 h 34649"/>
                        <a:gd name="connsiteX7" fmla="*/ 138712 w 138711"/>
                        <a:gd name="connsiteY7" fmla="*/ 6580 h 34649"/>
                        <a:gd name="connsiteX8" fmla="*/ 69356 w 138711"/>
                        <a:gd name="connsiteY8" fmla="*/ 34650 h 3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11" h="34649">
                          <a:moveTo>
                            <a:pt x="69356" y="34650"/>
                          </a:moveTo>
                          <a:cubicBezTo>
                            <a:pt x="35955" y="34650"/>
                            <a:pt x="0" y="25871"/>
                            <a:pt x="0" y="6580"/>
                          </a:cubicBezTo>
                          <a:cubicBezTo>
                            <a:pt x="0" y="2945"/>
                            <a:pt x="2945" y="0"/>
                            <a:pt x="6580" y="0"/>
                          </a:cubicBezTo>
                          <a:cubicBezTo>
                            <a:pt x="10214" y="0"/>
                            <a:pt x="13159" y="2945"/>
                            <a:pt x="13159" y="6580"/>
                          </a:cubicBezTo>
                          <a:cubicBezTo>
                            <a:pt x="13159" y="10904"/>
                            <a:pt x="32861" y="21472"/>
                            <a:pt x="69356" y="21472"/>
                          </a:cubicBezTo>
                          <a:cubicBezTo>
                            <a:pt x="105851" y="21472"/>
                            <a:pt x="125553" y="10904"/>
                            <a:pt x="125553" y="6580"/>
                          </a:cubicBezTo>
                          <a:cubicBezTo>
                            <a:pt x="125553" y="2945"/>
                            <a:pt x="128497" y="0"/>
                            <a:pt x="132132" y="0"/>
                          </a:cubicBezTo>
                          <a:cubicBezTo>
                            <a:pt x="135767" y="0"/>
                            <a:pt x="138712" y="2945"/>
                            <a:pt x="138712" y="6580"/>
                          </a:cubicBezTo>
                          <a:cubicBezTo>
                            <a:pt x="138730" y="25871"/>
                            <a:pt x="102757" y="34650"/>
                            <a:pt x="69356" y="34650"/>
                          </a:cubicBezTo>
                          <a:close/>
                        </a:path>
                      </a:pathLst>
                    </a:custGeom>
                    <a:solidFill>
                      <a:schemeClr val="accent1"/>
                    </a:solidFill>
                    <a:ln w="1863" cap="flat">
                      <a:noFill/>
                      <a:prstDash val="solid"/>
                      <a:miter/>
                    </a:ln>
                  </p:spPr>
                  <p:txBody>
                    <a:bodyPr rtlCol="0" anchor="ctr"/>
                    <a:lstStyle/>
                    <a:p>
                      <a:endParaRPr lang="en-GB" dirty="0"/>
                    </a:p>
                  </p:txBody>
                </p:sp>
                <p:sp>
                  <p:nvSpPr>
                    <p:cNvPr id="169" name="Freihandform: Form 927">
                      <a:extLst>
                        <a:ext uri="{FF2B5EF4-FFF2-40B4-BE49-F238E27FC236}">
                          <a16:creationId xmlns:a16="http://schemas.microsoft.com/office/drawing/2014/main" id="{F835A5FE-CB17-47E6-8398-E1A07A87880C}"/>
                        </a:ext>
                      </a:extLst>
                    </p:cNvPr>
                    <p:cNvSpPr/>
                    <p:nvPr/>
                  </p:nvSpPr>
                  <p:spPr>
                    <a:xfrm>
                      <a:off x="8017277" y="2012903"/>
                      <a:ext cx="138711" cy="61490"/>
                    </a:xfrm>
                    <a:custGeom>
                      <a:avLst/>
                      <a:gdLst>
                        <a:gd name="connsiteX0" fmla="*/ 69356 w 138711"/>
                        <a:gd name="connsiteY0" fmla="*/ 61490 h 61490"/>
                        <a:gd name="connsiteX1" fmla="*/ 0 w 138711"/>
                        <a:gd name="connsiteY1" fmla="*/ 33420 h 61490"/>
                        <a:gd name="connsiteX2" fmla="*/ 0 w 138711"/>
                        <a:gd name="connsiteY2" fmla="*/ 6580 h 61490"/>
                        <a:gd name="connsiteX3" fmla="*/ 6580 w 138711"/>
                        <a:gd name="connsiteY3" fmla="*/ 0 h 61490"/>
                        <a:gd name="connsiteX4" fmla="*/ 13159 w 138711"/>
                        <a:gd name="connsiteY4" fmla="*/ 6580 h 61490"/>
                        <a:gd name="connsiteX5" fmla="*/ 13159 w 138711"/>
                        <a:gd name="connsiteY5" fmla="*/ 33420 h 61490"/>
                        <a:gd name="connsiteX6" fmla="*/ 69356 w 138711"/>
                        <a:gd name="connsiteY6" fmla="*/ 48312 h 61490"/>
                        <a:gd name="connsiteX7" fmla="*/ 125553 w 138711"/>
                        <a:gd name="connsiteY7" fmla="*/ 33420 h 61490"/>
                        <a:gd name="connsiteX8" fmla="*/ 125553 w 138711"/>
                        <a:gd name="connsiteY8" fmla="*/ 6580 h 61490"/>
                        <a:gd name="connsiteX9" fmla="*/ 132132 w 138711"/>
                        <a:gd name="connsiteY9" fmla="*/ 0 h 61490"/>
                        <a:gd name="connsiteX10" fmla="*/ 138712 w 138711"/>
                        <a:gd name="connsiteY10" fmla="*/ 6580 h 61490"/>
                        <a:gd name="connsiteX11" fmla="*/ 138712 w 138711"/>
                        <a:gd name="connsiteY11" fmla="*/ 33420 h 61490"/>
                        <a:gd name="connsiteX12" fmla="*/ 69356 w 138711"/>
                        <a:gd name="connsiteY12" fmla="*/ 61490 h 6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711" h="61490">
                          <a:moveTo>
                            <a:pt x="69356" y="61490"/>
                          </a:moveTo>
                          <a:cubicBezTo>
                            <a:pt x="35955" y="61490"/>
                            <a:pt x="0" y="52711"/>
                            <a:pt x="0" y="33420"/>
                          </a:cubicBezTo>
                          <a:lnTo>
                            <a:pt x="0" y="6580"/>
                          </a:lnTo>
                          <a:cubicBezTo>
                            <a:pt x="0" y="2945"/>
                            <a:pt x="2945" y="0"/>
                            <a:pt x="6580" y="0"/>
                          </a:cubicBezTo>
                          <a:cubicBezTo>
                            <a:pt x="10214" y="0"/>
                            <a:pt x="13159" y="2945"/>
                            <a:pt x="13159" y="6580"/>
                          </a:cubicBezTo>
                          <a:lnTo>
                            <a:pt x="13159" y="33420"/>
                          </a:lnTo>
                          <a:cubicBezTo>
                            <a:pt x="13159" y="37744"/>
                            <a:pt x="32861" y="48312"/>
                            <a:pt x="69356" y="48312"/>
                          </a:cubicBezTo>
                          <a:cubicBezTo>
                            <a:pt x="105851" y="48312"/>
                            <a:pt x="125553" y="37744"/>
                            <a:pt x="125553" y="33420"/>
                          </a:cubicBezTo>
                          <a:lnTo>
                            <a:pt x="125553" y="6580"/>
                          </a:lnTo>
                          <a:cubicBezTo>
                            <a:pt x="125553" y="2945"/>
                            <a:pt x="128497" y="0"/>
                            <a:pt x="132132" y="0"/>
                          </a:cubicBezTo>
                          <a:cubicBezTo>
                            <a:pt x="135767" y="0"/>
                            <a:pt x="138712" y="2945"/>
                            <a:pt x="138712" y="6580"/>
                          </a:cubicBezTo>
                          <a:lnTo>
                            <a:pt x="138712" y="33420"/>
                          </a:lnTo>
                          <a:cubicBezTo>
                            <a:pt x="138730" y="52711"/>
                            <a:pt x="102757" y="61490"/>
                            <a:pt x="69356" y="61490"/>
                          </a:cubicBezTo>
                          <a:close/>
                        </a:path>
                      </a:pathLst>
                    </a:custGeom>
                    <a:solidFill>
                      <a:schemeClr val="accent1"/>
                    </a:solidFill>
                    <a:ln w="1863" cap="flat">
                      <a:noFill/>
                      <a:prstDash val="solid"/>
                      <a:miter/>
                    </a:ln>
                  </p:spPr>
                  <p:txBody>
                    <a:bodyPr rtlCol="0" anchor="ctr"/>
                    <a:lstStyle/>
                    <a:p>
                      <a:endParaRPr lang="en-GB" dirty="0"/>
                    </a:p>
                  </p:txBody>
                </p:sp>
              </p:grpSp>
            </p:grpSp>
            <p:grpSp>
              <p:nvGrpSpPr>
                <p:cNvPr id="159" name="Grafik 318">
                  <a:extLst>
                    <a:ext uri="{FF2B5EF4-FFF2-40B4-BE49-F238E27FC236}">
                      <a16:creationId xmlns:a16="http://schemas.microsoft.com/office/drawing/2014/main" id="{4BB7A8FC-08C2-42A6-8B5A-69DE69D84665}"/>
                    </a:ext>
                  </a:extLst>
                </p:cNvPr>
                <p:cNvGrpSpPr/>
                <p:nvPr/>
              </p:nvGrpSpPr>
              <p:grpSpPr>
                <a:xfrm>
                  <a:off x="8017277" y="1938663"/>
                  <a:ext cx="138730" cy="109150"/>
                  <a:chOff x="8017277" y="1938663"/>
                  <a:chExt cx="138730" cy="109150"/>
                </a:xfrm>
                <a:solidFill>
                  <a:schemeClr val="accent1"/>
                </a:solidFill>
              </p:grpSpPr>
              <p:grpSp>
                <p:nvGrpSpPr>
                  <p:cNvPr id="160" name="Grafik 318">
                    <a:extLst>
                      <a:ext uri="{FF2B5EF4-FFF2-40B4-BE49-F238E27FC236}">
                        <a16:creationId xmlns:a16="http://schemas.microsoft.com/office/drawing/2014/main" id="{4EC7F9D5-A0B6-4262-8050-17EF4E586C3C}"/>
                      </a:ext>
                    </a:extLst>
                  </p:cNvPr>
                  <p:cNvGrpSpPr/>
                  <p:nvPr/>
                </p:nvGrpSpPr>
                <p:grpSpPr>
                  <a:xfrm>
                    <a:off x="8017277" y="1986323"/>
                    <a:ext cx="138711" cy="61490"/>
                    <a:chOff x="8017277" y="1986323"/>
                    <a:chExt cx="138711" cy="61490"/>
                  </a:xfrm>
                  <a:solidFill>
                    <a:schemeClr val="accent1"/>
                  </a:solidFill>
                </p:grpSpPr>
                <p:sp>
                  <p:nvSpPr>
                    <p:cNvPr id="164" name="Freihandform: Form 930">
                      <a:extLst>
                        <a:ext uri="{FF2B5EF4-FFF2-40B4-BE49-F238E27FC236}">
                          <a16:creationId xmlns:a16="http://schemas.microsoft.com/office/drawing/2014/main" id="{F5CBA7E8-D64D-46C2-8A6A-C979F4C3055F}"/>
                        </a:ext>
                      </a:extLst>
                    </p:cNvPr>
                    <p:cNvSpPr/>
                    <p:nvPr/>
                  </p:nvSpPr>
                  <p:spPr>
                    <a:xfrm>
                      <a:off x="8017277" y="1986323"/>
                      <a:ext cx="138711" cy="34649"/>
                    </a:xfrm>
                    <a:custGeom>
                      <a:avLst/>
                      <a:gdLst>
                        <a:gd name="connsiteX0" fmla="*/ 69356 w 138711"/>
                        <a:gd name="connsiteY0" fmla="*/ 34650 h 34649"/>
                        <a:gd name="connsiteX1" fmla="*/ 0 w 138711"/>
                        <a:gd name="connsiteY1" fmla="*/ 6580 h 34649"/>
                        <a:gd name="connsiteX2" fmla="*/ 6580 w 138711"/>
                        <a:gd name="connsiteY2" fmla="*/ 0 h 34649"/>
                        <a:gd name="connsiteX3" fmla="*/ 13159 w 138711"/>
                        <a:gd name="connsiteY3" fmla="*/ 6580 h 34649"/>
                        <a:gd name="connsiteX4" fmla="*/ 69356 w 138711"/>
                        <a:gd name="connsiteY4" fmla="*/ 21472 h 34649"/>
                        <a:gd name="connsiteX5" fmla="*/ 125553 w 138711"/>
                        <a:gd name="connsiteY5" fmla="*/ 6580 h 34649"/>
                        <a:gd name="connsiteX6" fmla="*/ 132132 w 138711"/>
                        <a:gd name="connsiteY6" fmla="*/ 0 h 34649"/>
                        <a:gd name="connsiteX7" fmla="*/ 138712 w 138711"/>
                        <a:gd name="connsiteY7" fmla="*/ 6580 h 34649"/>
                        <a:gd name="connsiteX8" fmla="*/ 69356 w 138711"/>
                        <a:gd name="connsiteY8" fmla="*/ 34650 h 3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11" h="34649">
                          <a:moveTo>
                            <a:pt x="69356" y="34650"/>
                          </a:moveTo>
                          <a:cubicBezTo>
                            <a:pt x="35955" y="34650"/>
                            <a:pt x="0" y="25871"/>
                            <a:pt x="0" y="6580"/>
                          </a:cubicBezTo>
                          <a:cubicBezTo>
                            <a:pt x="0" y="2945"/>
                            <a:pt x="2945" y="0"/>
                            <a:pt x="6580" y="0"/>
                          </a:cubicBezTo>
                          <a:cubicBezTo>
                            <a:pt x="10214" y="0"/>
                            <a:pt x="13159" y="2945"/>
                            <a:pt x="13159" y="6580"/>
                          </a:cubicBezTo>
                          <a:cubicBezTo>
                            <a:pt x="13159" y="10904"/>
                            <a:pt x="32861" y="21472"/>
                            <a:pt x="69356" y="21472"/>
                          </a:cubicBezTo>
                          <a:cubicBezTo>
                            <a:pt x="105851" y="21472"/>
                            <a:pt x="125553" y="10904"/>
                            <a:pt x="125553" y="6580"/>
                          </a:cubicBezTo>
                          <a:cubicBezTo>
                            <a:pt x="125553" y="2945"/>
                            <a:pt x="128497" y="0"/>
                            <a:pt x="132132" y="0"/>
                          </a:cubicBezTo>
                          <a:cubicBezTo>
                            <a:pt x="135767" y="0"/>
                            <a:pt x="138712" y="2945"/>
                            <a:pt x="138712" y="6580"/>
                          </a:cubicBezTo>
                          <a:cubicBezTo>
                            <a:pt x="138730" y="25871"/>
                            <a:pt x="102757" y="34650"/>
                            <a:pt x="69356" y="34650"/>
                          </a:cubicBezTo>
                          <a:close/>
                        </a:path>
                      </a:pathLst>
                    </a:custGeom>
                    <a:solidFill>
                      <a:schemeClr val="accent1"/>
                    </a:solidFill>
                    <a:ln w="1863" cap="flat">
                      <a:noFill/>
                      <a:prstDash val="solid"/>
                      <a:miter/>
                    </a:ln>
                  </p:spPr>
                  <p:txBody>
                    <a:bodyPr rtlCol="0" anchor="ctr"/>
                    <a:lstStyle/>
                    <a:p>
                      <a:endParaRPr lang="en-GB" dirty="0"/>
                    </a:p>
                  </p:txBody>
                </p:sp>
                <p:sp>
                  <p:nvSpPr>
                    <p:cNvPr id="165" name="Freihandform: Form 931">
                      <a:extLst>
                        <a:ext uri="{FF2B5EF4-FFF2-40B4-BE49-F238E27FC236}">
                          <a16:creationId xmlns:a16="http://schemas.microsoft.com/office/drawing/2014/main" id="{2147AE9A-4DD1-4E08-ABDF-FA60544D8EC0}"/>
                        </a:ext>
                      </a:extLst>
                    </p:cNvPr>
                    <p:cNvSpPr/>
                    <p:nvPr/>
                  </p:nvSpPr>
                  <p:spPr>
                    <a:xfrm>
                      <a:off x="8017277" y="1986323"/>
                      <a:ext cx="138711" cy="61490"/>
                    </a:xfrm>
                    <a:custGeom>
                      <a:avLst/>
                      <a:gdLst>
                        <a:gd name="connsiteX0" fmla="*/ 69356 w 138711"/>
                        <a:gd name="connsiteY0" fmla="*/ 61490 h 61490"/>
                        <a:gd name="connsiteX1" fmla="*/ 0 w 138711"/>
                        <a:gd name="connsiteY1" fmla="*/ 33420 h 61490"/>
                        <a:gd name="connsiteX2" fmla="*/ 0 w 138711"/>
                        <a:gd name="connsiteY2" fmla="*/ 6580 h 61490"/>
                        <a:gd name="connsiteX3" fmla="*/ 6580 w 138711"/>
                        <a:gd name="connsiteY3" fmla="*/ 0 h 61490"/>
                        <a:gd name="connsiteX4" fmla="*/ 13159 w 138711"/>
                        <a:gd name="connsiteY4" fmla="*/ 6580 h 61490"/>
                        <a:gd name="connsiteX5" fmla="*/ 13159 w 138711"/>
                        <a:gd name="connsiteY5" fmla="*/ 33420 h 61490"/>
                        <a:gd name="connsiteX6" fmla="*/ 69356 w 138711"/>
                        <a:gd name="connsiteY6" fmla="*/ 48312 h 61490"/>
                        <a:gd name="connsiteX7" fmla="*/ 125553 w 138711"/>
                        <a:gd name="connsiteY7" fmla="*/ 33420 h 61490"/>
                        <a:gd name="connsiteX8" fmla="*/ 125553 w 138711"/>
                        <a:gd name="connsiteY8" fmla="*/ 6580 h 61490"/>
                        <a:gd name="connsiteX9" fmla="*/ 132132 w 138711"/>
                        <a:gd name="connsiteY9" fmla="*/ 0 h 61490"/>
                        <a:gd name="connsiteX10" fmla="*/ 138712 w 138711"/>
                        <a:gd name="connsiteY10" fmla="*/ 6580 h 61490"/>
                        <a:gd name="connsiteX11" fmla="*/ 138712 w 138711"/>
                        <a:gd name="connsiteY11" fmla="*/ 33420 h 61490"/>
                        <a:gd name="connsiteX12" fmla="*/ 69356 w 138711"/>
                        <a:gd name="connsiteY12" fmla="*/ 61490 h 6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711" h="61490">
                          <a:moveTo>
                            <a:pt x="69356" y="61490"/>
                          </a:moveTo>
                          <a:cubicBezTo>
                            <a:pt x="35955" y="61490"/>
                            <a:pt x="0" y="52711"/>
                            <a:pt x="0" y="33420"/>
                          </a:cubicBezTo>
                          <a:lnTo>
                            <a:pt x="0" y="6580"/>
                          </a:lnTo>
                          <a:cubicBezTo>
                            <a:pt x="0" y="2945"/>
                            <a:pt x="2945" y="0"/>
                            <a:pt x="6580" y="0"/>
                          </a:cubicBezTo>
                          <a:cubicBezTo>
                            <a:pt x="10214" y="0"/>
                            <a:pt x="13159" y="2945"/>
                            <a:pt x="13159" y="6580"/>
                          </a:cubicBezTo>
                          <a:lnTo>
                            <a:pt x="13159" y="33420"/>
                          </a:lnTo>
                          <a:cubicBezTo>
                            <a:pt x="13159" y="37744"/>
                            <a:pt x="32861" y="48312"/>
                            <a:pt x="69356" y="48312"/>
                          </a:cubicBezTo>
                          <a:cubicBezTo>
                            <a:pt x="105851" y="48312"/>
                            <a:pt x="125553" y="37744"/>
                            <a:pt x="125553" y="33420"/>
                          </a:cubicBezTo>
                          <a:lnTo>
                            <a:pt x="125553" y="6580"/>
                          </a:lnTo>
                          <a:cubicBezTo>
                            <a:pt x="125553" y="2945"/>
                            <a:pt x="128497" y="0"/>
                            <a:pt x="132132" y="0"/>
                          </a:cubicBezTo>
                          <a:cubicBezTo>
                            <a:pt x="135767" y="0"/>
                            <a:pt x="138712" y="2945"/>
                            <a:pt x="138712" y="6580"/>
                          </a:cubicBezTo>
                          <a:lnTo>
                            <a:pt x="138712" y="33420"/>
                          </a:lnTo>
                          <a:cubicBezTo>
                            <a:pt x="138730" y="52711"/>
                            <a:pt x="102757" y="61490"/>
                            <a:pt x="69356" y="61490"/>
                          </a:cubicBezTo>
                          <a:close/>
                        </a:path>
                      </a:pathLst>
                    </a:custGeom>
                    <a:solidFill>
                      <a:schemeClr val="accent1"/>
                    </a:solidFill>
                    <a:ln w="1863" cap="flat">
                      <a:noFill/>
                      <a:prstDash val="solid"/>
                      <a:miter/>
                    </a:ln>
                  </p:spPr>
                  <p:txBody>
                    <a:bodyPr rtlCol="0" anchor="ctr"/>
                    <a:lstStyle/>
                    <a:p>
                      <a:endParaRPr lang="en-GB" dirty="0"/>
                    </a:p>
                  </p:txBody>
                </p:sp>
              </p:grpSp>
              <p:grpSp>
                <p:nvGrpSpPr>
                  <p:cNvPr id="161" name="Grafik 318">
                    <a:extLst>
                      <a:ext uri="{FF2B5EF4-FFF2-40B4-BE49-F238E27FC236}">
                        <a16:creationId xmlns:a16="http://schemas.microsoft.com/office/drawing/2014/main" id="{3F495C72-FBF7-4338-A8E9-19B6168058ED}"/>
                      </a:ext>
                    </a:extLst>
                  </p:cNvPr>
                  <p:cNvGrpSpPr/>
                  <p:nvPr/>
                </p:nvGrpSpPr>
                <p:grpSpPr>
                  <a:xfrm>
                    <a:off x="8017277" y="1938663"/>
                    <a:ext cx="138730" cy="82981"/>
                    <a:chOff x="8017277" y="1938663"/>
                    <a:chExt cx="138730" cy="82981"/>
                  </a:xfrm>
                  <a:solidFill>
                    <a:schemeClr val="accent1"/>
                  </a:solidFill>
                </p:grpSpPr>
                <p:sp>
                  <p:nvSpPr>
                    <p:cNvPr id="162" name="Freihandform: Form 933">
                      <a:extLst>
                        <a:ext uri="{FF2B5EF4-FFF2-40B4-BE49-F238E27FC236}">
                          <a16:creationId xmlns:a16="http://schemas.microsoft.com/office/drawing/2014/main" id="{86921B76-8C1F-418E-A84D-F314CC1639CC}"/>
                        </a:ext>
                      </a:extLst>
                    </p:cNvPr>
                    <p:cNvSpPr/>
                    <p:nvPr/>
                  </p:nvSpPr>
                  <p:spPr>
                    <a:xfrm>
                      <a:off x="8017277" y="1938663"/>
                      <a:ext cx="138730" cy="56140"/>
                    </a:xfrm>
                    <a:custGeom>
                      <a:avLst/>
                      <a:gdLst>
                        <a:gd name="connsiteX0" fmla="*/ 69356 w 138730"/>
                        <a:gd name="connsiteY0" fmla="*/ 56141 h 56140"/>
                        <a:gd name="connsiteX1" fmla="*/ 0 w 138730"/>
                        <a:gd name="connsiteY1" fmla="*/ 28070 h 56140"/>
                        <a:gd name="connsiteX2" fmla="*/ 69356 w 138730"/>
                        <a:gd name="connsiteY2" fmla="*/ 0 h 56140"/>
                        <a:gd name="connsiteX3" fmla="*/ 138730 w 138730"/>
                        <a:gd name="connsiteY3" fmla="*/ 28070 h 56140"/>
                        <a:gd name="connsiteX4" fmla="*/ 69356 w 138730"/>
                        <a:gd name="connsiteY4" fmla="*/ 56141 h 56140"/>
                        <a:gd name="connsiteX5" fmla="*/ 69356 w 138730"/>
                        <a:gd name="connsiteY5" fmla="*/ 13178 h 56140"/>
                        <a:gd name="connsiteX6" fmla="*/ 13159 w 138730"/>
                        <a:gd name="connsiteY6" fmla="*/ 28070 h 56140"/>
                        <a:gd name="connsiteX7" fmla="*/ 69356 w 138730"/>
                        <a:gd name="connsiteY7" fmla="*/ 42963 h 56140"/>
                        <a:gd name="connsiteX8" fmla="*/ 125553 w 138730"/>
                        <a:gd name="connsiteY8" fmla="*/ 28070 h 56140"/>
                        <a:gd name="connsiteX9" fmla="*/ 69356 w 138730"/>
                        <a:gd name="connsiteY9" fmla="*/ 13178 h 5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730" h="56140">
                          <a:moveTo>
                            <a:pt x="69356" y="56141"/>
                          </a:moveTo>
                          <a:cubicBezTo>
                            <a:pt x="35955" y="56141"/>
                            <a:pt x="0" y="47362"/>
                            <a:pt x="0" y="28070"/>
                          </a:cubicBezTo>
                          <a:cubicBezTo>
                            <a:pt x="0" y="8779"/>
                            <a:pt x="35955" y="0"/>
                            <a:pt x="69356" y="0"/>
                          </a:cubicBezTo>
                          <a:cubicBezTo>
                            <a:pt x="102757" y="0"/>
                            <a:pt x="138730" y="8779"/>
                            <a:pt x="138730" y="28070"/>
                          </a:cubicBezTo>
                          <a:cubicBezTo>
                            <a:pt x="138730" y="47362"/>
                            <a:pt x="102757" y="56141"/>
                            <a:pt x="69356" y="56141"/>
                          </a:cubicBezTo>
                          <a:close/>
                          <a:moveTo>
                            <a:pt x="69356" y="13178"/>
                          </a:moveTo>
                          <a:cubicBezTo>
                            <a:pt x="32861" y="13178"/>
                            <a:pt x="13159" y="23746"/>
                            <a:pt x="13159" y="28070"/>
                          </a:cubicBezTo>
                          <a:cubicBezTo>
                            <a:pt x="13159" y="32395"/>
                            <a:pt x="32861" y="42963"/>
                            <a:pt x="69356" y="42963"/>
                          </a:cubicBezTo>
                          <a:cubicBezTo>
                            <a:pt x="105851" y="42963"/>
                            <a:pt x="125553" y="32395"/>
                            <a:pt x="125553" y="28070"/>
                          </a:cubicBezTo>
                          <a:cubicBezTo>
                            <a:pt x="125553" y="23746"/>
                            <a:pt x="105851" y="13178"/>
                            <a:pt x="69356" y="13178"/>
                          </a:cubicBezTo>
                          <a:close/>
                        </a:path>
                      </a:pathLst>
                    </a:custGeom>
                    <a:solidFill>
                      <a:schemeClr val="accent1"/>
                    </a:solidFill>
                    <a:ln w="1863" cap="flat">
                      <a:noFill/>
                      <a:prstDash val="solid"/>
                      <a:miter/>
                    </a:ln>
                  </p:spPr>
                  <p:txBody>
                    <a:bodyPr rtlCol="0" anchor="ctr"/>
                    <a:lstStyle/>
                    <a:p>
                      <a:endParaRPr lang="en-GB" dirty="0"/>
                    </a:p>
                  </p:txBody>
                </p:sp>
                <p:sp>
                  <p:nvSpPr>
                    <p:cNvPr id="163" name="Freihandform: Form 934">
                      <a:extLst>
                        <a:ext uri="{FF2B5EF4-FFF2-40B4-BE49-F238E27FC236}">
                          <a16:creationId xmlns:a16="http://schemas.microsoft.com/office/drawing/2014/main" id="{15854C05-4384-4236-B52C-D2FF312BABBD}"/>
                        </a:ext>
                      </a:extLst>
                    </p:cNvPr>
                    <p:cNvSpPr/>
                    <p:nvPr/>
                  </p:nvSpPr>
                  <p:spPr>
                    <a:xfrm>
                      <a:off x="8017277" y="1960154"/>
                      <a:ext cx="138711" cy="61490"/>
                    </a:xfrm>
                    <a:custGeom>
                      <a:avLst/>
                      <a:gdLst>
                        <a:gd name="connsiteX0" fmla="*/ 69356 w 138711"/>
                        <a:gd name="connsiteY0" fmla="*/ 61490 h 61490"/>
                        <a:gd name="connsiteX1" fmla="*/ 0 w 138711"/>
                        <a:gd name="connsiteY1" fmla="*/ 33420 h 61490"/>
                        <a:gd name="connsiteX2" fmla="*/ 0 w 138711"/>
                        <a:gd name="connsiteY2" fmla="*/ 6580 h 61490"/>
                        <a:gd name="connsiteX3" fmla="*/ 6580 w 138711"/>
                        <a:gd name="connsiteY3" fmla="*/ 0 h 61490"/>
                        <a:gd name="connsiteX4" fmla="*/ 13159 w 138711"/>
                        <a:gd name="connsiteY4" fmla="*/ 6580 h 61490"/>
                        <a:gd name="connsiteX5" fmla="*/ 13159 w 138711"/>
                        <a:gd name="connsiteY5" fmla="*/ 33420 h 61490"/>
                        <a:gd name="connsiteX6" fmla="*/ 69356 w 138711"/>
                        <a:gd name="connsiteY6" fmla="*/ 48312 h 61490"/>
                        <a:gd name="connsiteX7" fmla="*/ 125553 w 138711"/>
                        <a:gd name="connsiteY7" fmla="*/ 33420 h 61490"/>
                        <a:gd name="connsiteX8" fmla="*/ 125553 w 138711"/>
                        <a:gd name="connsiteY8" fmla="*/ 6580 h 61490"/>
                        <a:gd name="connsiteX9" fmla="*/ 132132 w 138711"/>
                        <a:gd name="connsiteY9" fmla="*/ 0 h 61490"/>
                        <a:gd name="connsiteX10" fmla="*/ 138712 w 138711"/>
                        <a:gd name="connsiteY10" fmla="*/ 6580 h 61490"/>
                        <a:gd name="connsiteX11" fmla="*/ 138712 w 138711"/>
                        <a:gd name="connsiteY11" fmla="*/ 33420 h 61490"/>
                        <a:gd name="connsiteX12" fmla="*/ 69356 w 138711"/>
                        <a:gd name="connsiteY12" fmla="*/ 61490 h 6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711" h="61490">
                          <a:moveTo>
                            <a:pt x="69356" y="61490"/>
                          </a:moveTo>
                          <a:cubicBezTo>
                            <a:pt x="35955" y="61490"/>
                            <a:pt x="0" y="52711"/>
                            <a:pt x="0" y="33420"/>
                          </a:cubicBezTo>
                          <a:lnTo>
                            <a:pt x="0" y="6580"/>
                          </a:lnTo>
                          <a:cubicBezTo>
                            <a:pt x="0" y="2945"/>
                            <a:pt x="2945" y="0"/>
                            <a:pt x="6580" y="0"/>
                          </a:cubicBezTo>
                          <a:cubicBezTo>
                            <a:pt x="10214" y="0"/>
                            <a:pt x="13159" y="2945"/>
                            <a:pt x="13159" y="6580"/>
                          </a:cubicBezTo>
                          <a:lnTo>
                            <a:pt x="13159" y="33420"/>
                          </a:lnTo>
                          <a:cubicBezTo>
                            <a:pt x="13159" y="37744"/>
                            <a:pt x="32861" y="48312"/>
                            <a:pt x="69356" y="48312"/>
                          </a:cubicBezTo>
                          <a:cubicBezTo>
                            <a:pt x="105851" y="48312"/>
                            <a:pt x="125553" y="37744"/>
                            <a:pt x="125553" y="33420"/>
                          </a:cubicBezTo>
                          <a:lnTo>
                            <a:pt x="125553" y="6580"/>
                          </a:lnTo>
                          <a:cubicBezTo>
                            <a:pt x="125553" y="2945"/>
                            <a:pt x="128497" y="0"/>
                            <a:pt x="132132" y="0"/>
                          </a:cubicBezTo>
                          <a:cubicBezTo>
                            <a:pt x="135767" y="0"/>
                            <a:pt x="138712" y="2945"/>
                            <a:pt x="138712" y="6580"/>
                          </a:cubicBezTo>
                          <a:lnTo>
                            <a:pt x="138712" y="33420"/>
                          </a:lnTo>
                          <a:cubicBezTo>
                            <a:pt x="138730" y="52711"/>
                            <a:pt x="102757" y="61490"/>
                            <a:pt x="69356" y="61490"/>
                          </a:cubicBezTo>
                          <a:close/>
                        </a:path>
                      </a:pathLst>
                    </a:custGeom>
                    <a:solidFill>
                      <a:schemeClr val="accent1"/>
                    </a:solidFill>
                    <a:ln w="1863" cap="flat">
                      <a:noFill/>
                      <a:prstDash val="solid"/>
                      <a:miter/>
                    </a:ln>
                  </p:spPr>
                  <p:txBody>
                    <a:bodyPr rtlCol="0" anchor="ctr"/>
                    <a:lstStyle/>
                    <a:p>
                      <a:endParaRPr lang="en-GB" dirty="0"/>
                    </a:p>
                  </p:txBody>
                </p:sp>
              </p:grpSp>
            </p:grpSp>
          </p:grpSp>
          <p:grpSp>
            <p:nvGrpSpPr>
              <p:cNvPr id="155" name="Grafik 318">
                <a:extLst>
                  <a:ext uri="{FF2B5EF4-FFF2-40B4-BE49-F238E27FC236}">
                    <a16:creationId xmlns:a16="http://schemas.microsoft.com/office/drawing/2014/main" id="{77157877-58D3-423B-B748-5EDE503772C7}"/>
                  </a:ext>
                </a:extLst>
              </p:cNvPr>
              <p:cNvGrpSpPr/>
              <p:nvPr/>
            </p:nvGrpSpPr>
            <p:grpSpPr>
              <a:xfrm>
                <a:off x="8136664" y="1991747"/>
                <a:ext cx="131718" cy="82980"/>
                <a:chOff x="8136664" y="1991747"/>
                <a:chExt cx="131718" cy="82980"/>
              </a:xfrm>
              <a:solidFill>
                <a:schemeClr val="accent1"/>
              </a:solidFill>
            </p:grpSpPr>
            <p:sp>
              <p:nvSpPr>
                <p:cNvPr id="156" name="Freihandform: Form 936">
                  <a:extLst>
                    <a:ext uri="{FF2B5EF4-FFF2-40B4-BE49-F238E27FC236}">
                      <a16:creationId xmlns:a16="http://schemas.microsoft.com/office/drawing/2014/main" id="{EA4EF070-C9E2-4A1A-B567-943A14FC1A4B}"/>
                    </a:ext>
                  </a:extLst>
                </p:cNvPr>
                <p:cNvSpPr/>
                <p:nvPr/>
              </p:nvSpPr>
              <p:spPr>
                <a:xfrm>
                  <a:off x="8142233" y="1991747"/>
                  <a:ext cx="126149" cy="56140"/>
                </a:xfrm>
                <a:custGeom>
                  <a:avLst/>
                  <a:gdLst>
                    <a:gd name="connsiteX0" fmla="*/ 56775 w 126149"/>
                    <a:gd name="connsiteY0" fmla="*/ 56141 h 56140"/>
                    <a:gd name="connsiteX1" fmla="*/ 3858 w 126149"/>
                    <a:gd name="connsiteY1" fmla="*/ 46970 h 56140"/>
                    <a:gd name="connsiteX2" fmla="*/ 596 w 126149"/>
                    <a:gd name="connsiteY2" fmla="*/ 38247 h 56140"/>
                    <a:gd name="connsiteX3" fmla="*/ 9320 w 126149"/>
                    <a:gd name="connsiteY3" fmla="*/ 34985 h 56140"/>
                    <a:gd name="connsiteX4" fmla="*/ 56793 w 126149"/>
                    <a:gd name="connsiteY4" fmla="*/ 42963 h 56140"/>
                    <a:gd name="connsiteX5" fmla="*/ 112990 w 126149"/>
                    <a:gd name="connsiteY5" fmla="*/ 28070 h 56140"/>
                    <a:gd name="connsiteX6" fmla="*/ 56793 w 126149"/>
                    <a:gd name="connsiteY6" fmla="*/ 13178 h 56140"/>
                    <a:gd name="connsiteX7" fmla="*/ 10140 w 126149"/>
                    <a:gd name="connsiteY7" fmla="*/ 20801 h 56140"/>
                    <a:gd name="connsiteX8" fmla="*/ 1472 w 126149"/>
                    <a:gd name="connsiteY8" fmla="*/ 17372 h 56140"/>
                    <a:gd name="connsiteX9" fmla="*/ 4902 w 126149"/>
                    <a:gd name="connsiteY9" fmla="*/ 8704 h 56140"/>
                    <a:gd name="connsiteX10" fmla="*/ 56793 w 126149"/>
                    <a:gd name="connsiteY10" fmla="*/ 0 h 56140"/>
                    <a:gd name="connsiteX11" fmla="*/ 126149 w 126149"/>
                    <a:gd name="connsiteY11" fmla="*/ 28070 h 56140"/>
                    <a:gd name="connsiteX12" fmla="*/ 56775 w 126149"/>
                    <a:gd name="connsiteY12" fmla="*/ 56141 h 5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49" h="56140">
                      <a:moveTo>
                        <a:pt x="56775" y="56141"/>
                      </a:moveTo>
                      <a:cubicBezTo>
                        <a:pt x="35955" y="56141"/>
                        <a:pt x="16663" y="52804"/>
                        <a:pt x="3858" y="46970"/>
                      </a:cubicBezTo>
                      <a:cubicBezTo>
                        <a:pt x="541" y="45461"/>
                        <a:pt x="-913" y="41565"/>
                        <a:pt x="596" y="38247"/>
                      </a:cubicBezTo>
                      <a:cubicBezTo>
                        <a:pt x="2088" y="34948"/>
                        <a:pt x="5983" y="33457"/>
                        <a:pt x="9320" y="34985"/>
                      </a:cubicBezTo>
                      <a:cubicBezTo>
                        <a:pt x="20317" y="39981"/>
                        <a:pt x="38061" y="42963"/>
                        <a:pt x="56793" y="42963"/>
                      </a:cubicBezTo>
                      <a:cubicBezTo>
                        <a:pt x="93288" y="42963"/>
                        <a:pt x="112990" y="32395"/>
                        <a:pt x="112990" y="28070"/>
                      </a:cubicBezTo>
                      <a:cubicBezTo>
                        <a:pt x="112990" y="23746"/>
                        <a:pt x="93288" y="13178"/>
                        <a:pt x="56793" y="13178"/>
                      </a:cubicBezTo>
                      <a:cubicBezTo>
                        <a:pt x="38620" y="13178"/>
                        <a:pt x="21174" y="16030"/>
                        <a:pt x="10140" y="20801"/>
                      </a:cubicBezTo>
                      <a:cubicBezTo>
                        <a:pt x="6785" y="22255"/>
                        <a:pt x="2926" y="20708"/>
                        <a:pt x="1472" y="17372"/>
                      </a:cubicBezTo>
                      <a:cubicBezTo>
                        <a:pt x="37" y="14035"/>
                        <a:pt x="1566" y="10158"/>
                        <a:pt x="4902" y="8704"/>
                      </a:cubicBezTo>
                      <a:cubicBezTo>
                        <a:pt x="17707" y="3169"/>
                        <a:pt x="36607" y="0"/>
                        <a:pt x="56793" y="0"/>
                      </a:cubicBezTo>
                      <a:cubicBezTo>
                        <a:pt x="90194" y="0"/>
                        <a:pt x="126149" y="8779"/>
                        <a:pt x="126149" y="28070"/>
                      </a:cubicBezTo>
                      <a:cubicBezTo>
                        <a:pt x="126149" y="47343"/>
                        <a:pt x="90194" y="56141"/>
                        <a:pt x="56775" y="56141"/>
                      </a:cubicBezTo>
                      <a:close/>
                    </a:path>
                  </a:pathLst>
                </a:custGeom>
                <a:solidFill>
                  <a:schemeClr val="accent1"/>
                </a:solidFill>
                <a:ln w="1863" cap="flat">
                  <a:noFill/>
                  <a:prstDash val="solid"/>
                  <a:miter/>
                </a:ln>
              </p:spPr>
              <p:txBody>
                <a:bodyPr rtlCol="0" anchor="ctr"/>
                <a:lstStyle/>
                <a:p>
                  <a:endParaRPr lang="en-GB" dirty="0"/>
                </a:p>
              </p:txBody>
            </p:sp>
            <p:sp>
              <p:nvSpPr>
                <p:cNvPr id="157" name="Freihandform: Form 937">
                  <a:extLst>
                    <a:ext uri="{FF2B5EF4-FFF2-40B4-BE49-F238E27FC236}">
                      <a16:creationId xmlns:a16="http://schemas.microsoft.com/office/drawing/2014/main" id="{DA0B01C5-4563-4229-BE9E-831E69D62A1C}"/>
                    </a:ext>
                  </a:extLst>
                </p:cNvPr>
                <p:cNvSpPr/>
                <p:nvPr/>
              </p:nvSpPr>
              <p:spPr>
                <a:xfrm>
                  <a:off x="8136664" y="2013257"/>
                  <a:ext cx="131718" cy="61471"/>
                </a:xfrm>
                <a:custGeom>
                  <a:avLst/>
                  <a:gdLst>
                    <a:gd name="connsiteX0" fmla="*/ 62344 w 131718"/>
                    <a:gd name="connsiteY0" fmla="*/ 61472 h 61471"/>
                    <a:gd name="connsiteX1" fmla="*/ 2960 w 131718"/>
                    <a:gd name="connsiteY1" fmla="*/ 48797 h 61471"/>
                    <a:gd name="connsiteX2" fmla="*/ 1096 w 131718"/>
                    <a:gd name="connsiteY2" fmla="*/ 39664 h 61471"/>
                    <a:gd name="connsiteX3" fmla="*/ 10230 w 131718"/>
                    <a:gd name="connsiteY3" fmla="*/ 37800 h 61471"/>
                    <a:gd name="connsiteX4" fmla="*/ 62363 w 131718"/>
                    <a:gd name="connsiteY4" fmla="*/ 48312 h 61471"/>
                    <a:gd name="connsiteX5" fmla="*/ 118560 w 131718"/>
                    <a:gd name="connsiteY5" fmla="*/ 33420 h 61471"/>
                    <a:gd name="connsiteX6" fmla="*/ 118560 w 131718"/>
                    <a:gd name="connsiteY6" fmla="*/ 6580 h 61471"/>
                    <a:gd name="connsiteX7" fmla="*/ 125139 w 131718"/>
                    <a:gd name="connsiteY7" fmla="*/ 0 h 61471"/>
                    <a:gd name="connsiteX8" fmla="*/ 131719 w 131718"/>
                    <a:gd name="connsiteY8" fmla="*/ 6580 h 61471"/>
                    <a:gd name="connsiteX9" fmla="*/ 131719 w 131718"/>
                    <a:gd name="connsiteY9" fmla="*/ 33420 h 61471"/>
                    <a:gd name="connsiteX10" fmla="*/ 62344 w 131718"/>
                    <a:gd name="connsiteY10" fmla="*/ 61472 h 61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1718" h="61471">
                      <a:moveTo>
                        <a:pt x="62344" y="61472"/>
                      </a:moveTo>
                      <a:cubicBezTo>
                        <a:pt x="37573" y="61472"/>
                        <a:pt x="14815" y="56607"/>
                        <a:pt x="2960" y="48797"/>
                      </a:cubicBezTo>
                      <a:cubicBezTo>
                        <a:pt x="-78" y="46784"/>
                        <a:pt x="-917" y="42702"/>
                        <a:pt x="1096" y="39664"/>
                      </a:cubicBezTo>
                      <a:cubicBezTo>
                        <a:pt x="3091" y="36644"/>
                        <a:pt x="7191" y="35787"/>
                        <a:pt x="10230" y="37800"/>
                      </a:cubicBezTo>
                      <a:cubicBezTo>
                        <a:pt x="19903" y="44193"/>
                        <a:pt x="40369" y="48312"/>
                        <a:pt x="62363" y="48312"/>
                      </a:cubicBezTo>
                      <a:cubicBezTo>
                        <a:pt x="98858" y="48312"/>
                        <a:pt x="118560" y="37744"/>
                        <a:pt x="118560" y="33420"/>
                      </a:cubicBezTo>
                      <a:lnTo>
                        <a:pt x="118560" y="6580"/>
                      </a:lnTo>
                      <a:cubicBezTo>
                        <a:pt x="118560" y="2945"/>
                        <a:pt x="121505" y="0"/>
                        <a:pt x="125139" y="0"/>
                      </a:cubicBezTo>
                      <a:cubicBezTo>
                        <a:pt x="128774" y="0"/>
                        <a:pt x="131719" y="2945"/>
                        <a:pt x="131719" y="6580"/>
                      </a:cubicBezTo>
                      <a:lnTo>
                        <a:pt x="131719" y="33420"/>
                      </a:lnTo>
                      <a:cubicBezTo>
                        <a:pt x="131719" y="52693"/>
                        <a:pt x="95764" y="61472"/>
                        <a:pt x="62344" y="61472"/>
                      </a:cubicBezTo>
                      <a:close/>
                    </a:path>
                  </a:pathLst>
                </a:custGeom>
                <a:solidFill>
                  <a:schemeClr val="accent1"/>
                </a:solidFill>
                <a:ln w="1863" cap="flat">
                  <a:noFill/>
                  <a:prstDash val="solid"/>
                  <a:miter/>
                </a:ln>
              </p:spPr>
              <p:txBody>
                <a:bodyPr rtlCol="0" anchor="ctr"/>
                <a:lstStyle/>
                <a:p>
                  <a:endParaRPr lang="en-GB" dirty="0"/>
                </a:p>
              </p:txBody>
            </p:sp>
          </p:grpSp>
        </p:grpSp>
      </p:grpSp>
      <p:grpSp>
        <p:nvGrpSpPr>
          <p:cNvPr id="11" name="Group 10">
            <a:extLst>
              <a:ext uri="{FF2B5EF4-FFF2-40B4-BE49-F238E27FC236}">
                <a16:creationId xmlns:a16="http://schemas.microsoft.com/office/drawing/2014/main" id="{9A58BFCB-44BB-432D-8FB6-2ACD6C792CD7}"/>
              </a:ext>
            </a:extLst>
          </p:cNvPr>
          <p:cNvGrpSpPr/>
          <p:nvPr/>
        </p:nvGrpSpPr>
        <p:grpSpPr>
          <a:xfrm>
            <a:off x="2658252" y="2391526"/>
            <a:ext cx="453333" cy="432000"/>
            <a:chOff x="2658252" y="2391526"/>
            <a:chExt cx="453333" cy="432000"/>
          </a:xfrm>
        </p:grpSpPr>
        <p:grpSp>
          <p:nvGrpSpPr>
            <p:cNvPr id="198" name="Gruppieren 1309">
              <a:extLst>
                <a:ext uri="{FF2B5EF4-FFF2-40B4-BE49-F238E27FC236}">
                  <a16:creationId xmlns:a16="http://schemas.microsoft.com/office/drawing/2014/main" id="{8B6122C6-0635-4F36-9C20-CC4DA884D314}"/>
                </a:ext>
              </a:extLst>
            </p:cNvPr>
            <p:cNvGrpSpPr/>
            <p:nvPr/>
          </p:nvGrpSpPr>
          <p:grpSpPr>
            <a:xfrm>
              <a:off x="2708642" y="2547427"/>
              <a:ext cx="354338" cy="131208"/>
              <a:chOff x="5347328" y="2614422"/>
              <a:chExt cx="355726" cy="131722"/>
            </a:xfrm>
          </p:grpSpPr>
          <p:sp>
            <p:nvSpPr>
              <p:cNvPr id="223" name="Freihandform: Form 1267">
                <a:extLst>
                  <a:ext uri="{FF2B5EF4-FFF2-40B4-BE49-F238E27FC236}">
                    <a16:creationId xmlns:a16="http://schemas.microsoft.com/office/drawing/2014/main" id="{DAA0E0B2-5127-4C3C-8217-0E20592CAC15}"/>
                  </a:ext>
                </a:extLst>
              </p:cNvPr>
              <p:cNvSpPr/>
              <p:nvPr/>
            </p:nvSpPr>
            <p:spPr>
              <a:xfrm>
                <a:off x="5518602" y="2647338"/>
                <a:ext cx="13159" cy="98805"/>
              </a:xfrm>
              <a:custGeom>
                <a:avLst/>
                <a:gdLst>
                  <a:gd name="connsiteX0" fmla="*/ 6580 w 13159"/>
                  <a:gd name="connsiteY0" fmla="*/ 98806 h 98805"/>
                  <a:gd name="connsiteX1" fmla="*/ 0 w 13159"/>
                  <a:gd name="connsiteY1" fmla="*/ 92226 h 98805"/>
                  <a:gd name="connsiteX2" fmla="*/ 0 w 13159"/>
                  <a:gd name="connsiteY2" fmla="*/ 6580 h 98805"/>
                  <a:gd name="connsiteX3" fmla="*/ 6580 w 13159"/>
                  <a:gd name="connsiteY3" fmla="*/ 0 h 98805"/>
                  <a:gd name="connsiteX4" fmla="*/ 13159 w 13159"/>
                  <a:gd name="connsiteY4" fmla="*/ 6580 h 98805"/>
                  <a:gd name="connsiteX5" fmla="*/ 13159 w 13159"/>
                  <a:gd name="connsiteY5" fmla="*/ 92226 h 98805"/>
                  <a:gd name="connsiteX6" fmla="*/ 6580 w 13159"/>
                  <a:gd name="connsiteY6" fmla="*/ 98806 h 9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59" h="98805">
                    <a:moveTo>
                      <a:pt x="6580" y="98806"/>
                    </a:moveTo>
                    <a:cubicBezTo>
                      <a:pt x="2945" y="98806"/>
                      <a:pt x="0" y="95861"/>
                      <a:pt x="0" y="92226"/>
                    </a:cubicBezTo>
                    <a:lnTo>
                      <a:pt x="0" y="6580"/>
                    </a:lnTo>
                    <a:cubicBezTo>
                      <a:pt x="0" y="2945"/>
                      <a:pt x="2945" y="0"/>
                      <a:pt x="6580" y="0"/>
                    </a:cubicBezTo>
                    <a:cubicBezTo>
                      <a:pt x="10214" y="0"/>
                      <a:pt x="13159" y="2945"/>
                      <a:pt x="13159" y="6580"/>
                    </a:cubicBezTo>
                    <a:lnTo>
                      <a:pt x="13159" y="92226"/>
                    </a:lnTo>
                    <a:cubicBezTo>
                      <a:pt x="13159" y="95861"/>
                      <a:pt x="10214" y="98806"/>
                      <a:pt x="6580" y="98806"/>
                    </a:cubicBezTo>
                    <a:close/>
                  </a:path>
                </a:pathLst>
              </a:custGeom>
              <a:solidFill>
                <a:schemeClr val="tx2"/>
              </a:solidFill>
              <a:ln w="1863" cap="flat">
                <a:noFill/>
                <a:prstDash val="solid"/>
                <a:miter/>
              </a:ln>
            </p:spPr>
            <p:txBody>
              <a:bodyPr rtlCol="0" anchor="ctr"/>
              <a:lstStyle/>
              <a:p>
                <a:endParaRPr lang="en-GB" dirty="0"/>
              </a:p>
            </p:txBody>
          </p:sp>
          <p:sp>
            <p:nvSpPr>
              <p:cNvPr id="224" name="Freihandform: Form 1268">
                <a:extLst>
                  <a:ext uri="{FF2B5EF4-FFF2-40B4-BE49-F238E27FC236}">
                    <a16:creationId xmlns:a16="http://schemas.microsoft.com/office/drawing/2014/main" id="{9EEA3CA4-2D67-48AA-8AF8-4FC4F0549A99}"/>
                  </a:ext>
                </a:extLst>
              </p:cNvPr>
              <p:cNvSpPr/>
              <p:nvPr/>
            </p:nvSpPr>
            <p:spPr>
              <a:xfrm>
                <a:off x="5518602" y="2614422"/>
                <a:ext cx="13159" cy="19738"/>
              </a:xfrm>
              <a:custGeom>
                <a:avLst/>
                <a:gdLst>
                  <a:gd name="connsiteX0" fmla="*/ 6580 w 13159"/>
                  <a:gd name="connsiteY0" fmla="*/ 19739 h 19738"/>
                  <a:gd name="connsiteX1" fmla="*/ 0 w 13159"/>
                  <a:gd name="connsiteY1" fmla="*/ 13159 h 19738"/>
                  <a:gd name="connsiteX2" fmla="*/ 0 w 13159"/>
                  <a:gd name="connsiteY2" fmla="*/ 6580 h 19738"/>
                  <a:gd name="connsiteX3" fmla="*/ 6580 w 13159"/>
                  <a:gd name="connsiteY3" fmla="*/ 0 h 19738"/>
                  <a:gd name="connsiteX4" fmla="*/ 13159 w 13159"/>
                  <a:gd name="connsiteY4" fmla="*/ 6580 h 19738"/>
                  <a:gd name="connsiteX5" fmla="*/ 13159 w 13159"/>
                  <a:gd name="connsiteY5" fmla="*/ 13159 h 19738"/>
                  <a:gd name="connsiteX6" fmla="*/ 6580 w 13159"/>
                  <a:gd name="connsiteY6" fmla="*/ 19739 h 19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59" h="19738">
                    <a:moveTo>
                      <a:pt x="6580" y="19739"/>
                    </a:moveTo>
                    <a:cubicBezTo>
                      <a:pt x="2945" y="19739"/>
                      <a:pt x="0" y="16794"/>
                      <a:pt x="0" y="13159"/>
                    </a:cubicBezTo>
                    <a:lnTo>
                      <a:pt x="0" y="6580"/>
                    </a:lnTo>
                    <a:cubicBezTo>
                      <a:pt x="0" y="2945"/>
                      <a:pt x="2945" y="0"/>
                      <a:pt x="6580" y="0"/>
                    </a:cubicBezTo>
                    <a:cubicBezTo>
                      <a:pt x="10214" y="0"/>
                      <a:pt x="13159" y="2945"/>
                      <a:pt x="13159" y="6580"/>
                    </a:cubicBezTo>
                    <a:lnTo>
                      <a:pt x="13159" y="13159"/>
                    </a:lnTo>
                    <a:cubicBezTo>
                      <a:pt x="13159" y="16775"/>
                      <a:pt x="10214" y="19739"/>
                      <a:pt x="6580" y="19739"/>
                    </a:cubicBezTo>
                    <a:close/>
                  </a:path>
                </a:pathLst>
              </a:custGeom>
              <a:solidFill>
                <a:schemeClr val="tx2"/>
              </a:solidFill>
              <a:ln w="1863" cap="flat">
                <a:noFill/>
                <a:prstDash val="solid"/>
                <a:miter/>
              </a:ln>
            </p:spPr>
            <p:txBody>
              <a:bodyPr rtlCol="0" anchor="ctr"/>
              <a:lstStyle/>
              <a:p>
                <a:endParaRPr lang="en-GB" dirty="0"/>
              </a:p>
            </p:txBody>
          </p:sp>
          <p:sp>
            <p:nvSpPr>
              <p:cNvPr id="225" name="Freihandform: Form 1269">
                <a:extLst>
                  <a:ext uri="{FF2B5EF4-FFF2-40B4-BE49-F238E27FC236}">
                    <a16:creationId xmlns:a16="http://schemas.microsoft.com/office/drawing/2014/main" id="{C51010A2-3F07-43ED-9456-0880F3DB16EB}"/>
                  </a:ext>
                </a:extLst>
              </p:cNvPr>
              <p:cNvSpPr/>
              <p:nvPr/>
            </p:nvSpPr>
            <p:spPr>
              <a:xfrm>
                <a:off x="5347328" y="2667096"/>
                <a:ext cx="355726" cy="79048"/>
              </a:xfrm>
              <a:custGeom>
                <a:avLst/>
                <a:gdLst>
                  <a:gd name="connsiteX0" fmla="*/ 349128 w 355726"/>
                  <a:gd name="connsiteY0" fmla="*/ 79048 h 79048"/>
                  <a:gd name="connsiteX1" fmla="*/ 342548 w 355726"/>
                  <a:gd name="connsiteY1" fmla="*/ 72469 h 79048"/>
                  <a:gd name="connsiteX2" fmla="*/ 342548 w 355726"/>
                  <a:gd name="connsiteY2" fmla="*/ 19757 h 79048"/>
                  <a:gd name="connsiteX3" fmla="*/ 335969 w 355726"/>
                  <a:gd name="connsiteY3" fmla="*/ 13178 h 79048"/>
                  <a:gd name="connsiteX4" fmla="*/ 19739 w 355726"/>
                  <a:gd name="connsiteY4" fmla="*/ 13178 h 79048"/>
                  <a:gd name="connsiteX5" fmla="*/ 13159 w 355726"/>
                  <a:gd name="connsiteY5" fmla="*/ 19757 h 79048"/>
                  <a:gd name="connsiteX6" fmla="*/ 13159 w 355726"/>
                  <a:gd name="connsiteY6" fmla="*/ 72469 h 79048"/>
                  <a:gd name="connsiteX7" fmla="*/ 6580 w 355726"/>
                  <a:gd name="connsiteY7" fmla="*/ 79048 h 79048"/>
                  <a:gd name="connsiteX8" fmla="*/ 0 w 355726"/>
                  <a:gd name="connsiteY8" fmla="*/ 72469 h 79048"/>
                  <a:gd name="connsiteX9" fmla="*/ 0 w 355726"/>
                  <a:gd name="connsiteY9" fmla="*/ 19757 h 79048"/>
                  <a:gd name="connsiteX10" fmla="*/ 19757 w 355726"/>
                  <a:gd name="connsiteY10" fmla="*/ 0 h 79048"/>
                  <a:gd name="connsiteX11" fmla="*/ 335969 w 355726"/>
                  <a:gd name="connsiteY11" fmla="*/ 0 h 79048"/>
                  <a:gd name="connsiteX12" fmla="*/ 355726 w 355726"/>
                  <a:gd name="connsiteY12" fmla="*/ 19757 h 79048"/>
                  <a:gd name="connsiteX13" fmla="*/ 355726 w 355726"/>
                  <a:gd name="connsiteY13" fmla="*/ 72469 h 79048"/>
                  <a:gd name="connsiteX14" fmla="*/ 349128 w 355726"/>
                  <a:gd name="connsiteY14" fmla="*/ 79048 h 7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5726" h="79048">
                    <a:moveTo>
                      <a:pt x="349128" y="79048"/>
                    </a:moveTo>
                    <a:cubicBezTo>
                      <a:pt x="345493" y="79048"/>
                      <a:pt x="342548" y="76103"/>
                      <a:pt x="342548" y="72469"/>
                    </a:cubicBezTo>
                    <a:lnTo>
                      <a:pt x="342548" y="19757"/>
                    </a:lnTo>
                    <a:cubicBezTo>
                      <a:pt x="342548" y="16123"/>
                      <a:pt x="339585" y="13178"/>
                      <a:pt x="335969" y="13178"/>
                    </a:cubicBezTo>
                    <a:lnTo>
                      <a:pt x="19739" y="13178"/>
                    </a:lnTo>
                    <a:cubicBezTo>
                      <a:pt x="16104" y="13178"/>
                      <a:pt x="13159" y="16141"/>
                      <a:pt x="13159" y="19757"/>
                    </a:cubicBezTo>
                    <a:lnTo>
                      <a:pt x="13159" y="72469"/>
                    </a:lnTo>
                    <a:cubicBezTo>
                      <a:pt x="13159" y="76103"/>
                      <a:pt x="10214" y="79048"/>
                      <a:pt x="6580" y="79048"/>
                    </a:cubicBezTo>
                    <a:cubicBezTo>
                      <a:pt x="2945" y="79048"/>
                      <a:pt x="0" y="76103"/>
                      <a:pt x="0" y="72469"/>
                    </a:cubicBezTo>
                    <a:lnTo>
                      <a:pt x="0" y="19757"/>
                    </a:lnTo>
                    <a:cubicBezTo>
                      <a:pt x="0" y="8854"/>
                      <a:pt x="8872" y="0"/>
                      <a:pt x="19757" y="0"/>
                    </a:cubicBezTo>
                    <a:lnTo>
                      <a:pt x="335969" y="0"/>
                    </a:lnTo>
                    <a:cubicBezTo>
                      <a:pt x="346873" y="0"/>
                      <a:pt x="355726" y="8872"/>
                      <a:pt x="355726" y="19757"/>
                    </a:cubicBezTo>
                    <a:lnTo>
                      <a:pt x="355726" y="72469"/>
                    </a:lnTo>
                    <a:cubicBezTo>
                      <a:pt x="355707" y="76103"/>
                      <a:pt x="352762" y="79048"/>
                      <a:pt x="349128" y="79048"/>
                    </a:cubicBezTo>
                    <a:close/>
                  </a:path>
                </a:pathLst>
              </a:custGeom>
              <a:solidFill>
                <a:schemeClr val="tx2"/>
              </a:solidFill>
              <a:ln w="1863" cap="flat">
                <a:noFill/>
                <a:prstDash val="solid"/>
                <a:miter/>
              </a:ln>
            </p:spPr>
            <p:txBody>
              <a:bodyPr rtlCol="0" anchor="ctr"/>
              <a:lstStyle/>
              <a:p>
                <a:endParaRPr lang="en-GB" dirty="0"/>
              </a:p>
            </p:txBody>
          </p:sp>
        </p:grpSp>
        <p:grpSp>
          <p:nvGrpSpPr>
            <p:cNvPr id="199" name="Gruppieren 1308">
              <a:extLst>
                <a:ext uri="{FF2B5EF4-FFF2-40B4-BE49-F238E27FC236}">
                  <a16:creationId xmlns:a16="http://schemas.microsoft.com/office/drawing/2014/main" id="{9B024C22-D503-4690-89D3-C5F5F7C72659}"/>
                </a:ext>
              </a:extLst>
            </p:cNvPr>
            <p:cNvGrpSpPr/>
            <p:nvPr/>
          </p:nvGrpSpPr>
          <p:grpSpPr>
            <a:xfrm>
              <a:off x="2658252" y="2391526"/>
              <a:ext cx="453333" cy="432000"/>
              <a:chOff x="5296741" y="2457910"/>
              <a:chExt cx="455109" cy="433692"/>
            </a:xfrm>
          </p:grpSpPr>
          <p:grpSp>
            <p:nvGrpSpPr>
              <p:cNvPr id="200" name="Grafik 318">
                <a:extLst>
                  <a:ext uri="{FF2B5EF4-FFF2-40B4-BE49-F238E27FC236}">
                    <a16:creationId xmlns:a16="http://schemas.microsoft.com/office/drawing/2014/main" id="{0126922D-C61A-46B7-91B1-A65BF40C1081}"/>
                  </a:ext>
                </a:extLst>
              </p:cNvPr>
              <p:cNvGrpSpPr/>
              <p:nvPr/>
            </p:nvGrpSpPr>
            <p:grpSpPr>
              <a:xfrm>
                <a:off x="5362407" y="2457910"/>
                <a:ext cx="324748" cy="135729"/>
                <a:chOff x="5362407" y="2457910"/>
                <a:chExt cx="324748" cy="135729"/>
              </a:xfrm>
              <a:solidFill>
                <a:schemeClr val="accent1"/>
              </a:solidFill>
            </p:grpSpPr>
            <p:grpSp>
              <p:nvGrpSpPr>
                <p:cNvPr id="207" name="Grafik 318">
                  <a:extLst>
                    <a:ext uri="{FF2B5EF4-FFF2-40B4-BE49-F238E27FC236}">
                      <a16:creationId xmlns:a16="http://schemas.microsoft.com/office/drawing/2014/main" id="{FD1B869C-ED8E-4030-A6C6-B8F395938762}"/>
                    </a:ext>
                  </a:extLst>
                </p:cNvPr>
                <p:cNvGrpSpPr/>
                <p:nvPr/>
              </p:nvGrpSpPr>
              <p:grpSpPr>
                <a:xfrm>
                  <a:off x="5581320" y="2491236"/>
                  <a:ext cx="105834" cy="82981"/>
                  <a:chOff x="5581320" y="2491236"/>
                  <a:chExt cx="105834" cy="82981"/>
                </a:xfrm>
                <a:solidFill>
                  <a:schemeClr val="accent1"/>
                </a:solidFill>
              </p:grpSpPr>
              <p:sp>
                <p:nvSpPr>
                  <p:cNvPr id="221" name="Freihandform: Form 1252">
                    <a:extLst>
                      <a:ext uri="{FF2B5EF4-FFF2-40B4-BE49-F238E27FC236}">
                        <a16:creationId xmlns:a16="http://schemas.microsoft.com/office/drawing/2014/main" id="{D314B5E7-067D-4F15-965E-A9B76A07116A}"/>
                      </a:ext>
                    </a:extLst>
                  </p:cNvPr>
                  <p:cNvSpPr/>
                  <p:nvPr/>
                </p:nvSpPr>
                <p:spPr>
                  <a:xfrm>
                    <a:off x="5582544" y="2491236"/>
                    <a:ext cx="104610" cy="56140"/>
                  </a:xfrm>
                  <a:custGeom>
                    <a:avLst/>
                    <a:gdLst>
                      <a:gd name="connsiteX0" fmla="*/ 35236 w 104610"/>
                      <a:gd name="connsiteY0" fmla="*/ 56141 h 56140"/>
                      <a:gd name="connsiteX1" fmla="*/ 5451 w 104610"/>
                      <a:gd name="connsiteY1" fmla="*/ 53680 h 56140"/>
                      <a:gd name="connsiteX2" fmla="*/ 101 w 104610"/>
                      <a:gd name="connsiteY2" fmla="*/ 46057 h 56140"/>
                      <a:gd name="connsiteX3" fmla="*/ 7725 w 104610"/>
                      <a:gd name="connsiteY3" fmla="*/ 40708 h 56140"/>
                      <a:gd name="connsiteX4" fmla="*/ 35236 w 104610"/>
                      <a:gd name="connsiteY4" fmla="*/ 42963 h 56140"/>
                      <a:gd name="connsiteX5" fmla="*/ 91433 w 104610"/>
                      <a:gd name="connsiteY5" fmla="*/ 28070 h 56140"/>
                      <a:gd name="connsiteX6" fmla="*/ 35236 w 104610"/>
                      <a:gd name="connsiteY6" fmla="*/ 13178 h 56140"/>
                      <a:gd name="connsiteX7" fmla="*/ 7986 w 104610"/>
                      <a:gd name="connsiteY7" fmla="*/ 15396 h 56140"/>
                      <a:gd name="connsiteX8" fmla="*/ 362 w 104610"/>
                      <a:gd name="connsiteY8" fmla="*/ 10028 h 56140"/>
                      <a:gd name="connsiteX9" fmla="*/ 5730 w 104610"/>
                      <a:gd name="connsiteY9" fmla="*/ 2404 h 56140"/>
                      <a:gd name="connsiteX10" fmla="*/ 35236 w 104610"/>
                      <a:gd name="connsiteY10" fmla="*/ 0 h 56140"/>
                      <a:gd name="connsiteX11" fmla="*/ 104610 w 104610"/>
                      <a:gd name="connsiteY11" fmla="*/ 28070 h 56140"/>
                      <a:gd name="connsiteX12" fmla="*/ 35236 w 104610"/>
                      <a:gd name="connsiteY12" fmla="*/ 56141 h 5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610" h="56140">
                        <a:moveTo>
                          <a:pt x="35236" y="56141"/>
                        </a:moveTo>
                        <a:cubicBezTo>
                          <a:pt x="24761" y="56141"/>
                          <a:pt x="14752" y="55321"/>
                          <a:pt x="5451" y="53680"/>
                        </a:cubicBezTo>
                        <a:cubicBezTo>
                          <a:pt x="1872" y="53047"/>
                          <a:pt x="-532" y="49636"/>
                          <a:pt x="101" y="46057"/>
                        </a:cubicBezTo>
                        <a:cubicBezTo>
                          <a:pt x="735" y="42478"/>
                          <a:pt x="4127" y="40074"/>
                          <a:pt x="7725" y="40708"/>
                        </a:cubicBezTo>
                        <a:cubicBezTo>
                          <a:pt x="16150" y="42180"/>
                          <a:pt x="25655" y="42963"/>
                          <a:pt x="35236" y="42963"/>
                        </a:cubicBezTo>
                        <a:cubicBezTo>
                          <a:pt x="71731" y="42963"/>
                          <a:pt x="91433" y="32395"/>
                          <a:pt x="91433" y="28070"/>
                        </a:cubicBezTo>
                        <a:cubicBezTo>
                          <a:pt x="91433" y="23746"/>
                          <a:pt x="71750" y="13178"/>
                          <a:pt x="35236" y="13178"/>
                        </a:cubicBezTo>
                        <a:cubicBezTo>
                          <a:pt x="25637" y="13178"/>
                          <a:pt x="16466" y="13923"/>
                          <a:pt x="7986" y="15396"/>
                        </a:cubicBezTo>
                        <a:cubicBezTo>
                          <a:pt x="4407" y="16011"/>
                          <a:pt x="996" y="13607"/>
                          <a:pt x="362" y="10028"/>
                        </a:cubicBezTo>
                        <a:cubicBezTo>
                          <a:pt x="-253" y="6449"/>
                          <a:pt x="2133" y="3038"/>
                          <a:pt x="5730" y="2404"/>
                        </a:cubicBezTo>
                        <a:cubicBezTo>
                          <a:pt x="14957" y="802"/>
                          <a:pt x="24873" y="0"/>
                          <a:pt x="35236" y="0"/>
                        </a:cubicBezTo>
                        <a:cubicBezTo>
                          <a:pt x="68637" y="0"/>
                          <a:pt x="104610" y="8779"/>
                          <a:pt x="104610" y="28070"/>
                        </a:cubicBezTo>
                        <a:cubicBezTo>
                          <a:pt x="104610" y="47362"/>
                          <a:pt x="68656" y="56141"/>
                          <a:pt x="35236" y="56141"/>
                        </a:cubicBezTo>
                        <a:close/>
                      </a:path>
                    </a:pathLst>
                  </a:custGeom>
                  <a:solidFill>
                    <a:schemeClr val="accent1"/>
                  </a:solidFill>
                  <a:ln w="1863" cap="flat">
                    <a:noFill/>
                    <a:prstDash val="solid"/>
                    <a:miter/>
                  </a:ln>
                </p:spPr>
                <p:txBody>
                  <a:bodyPr rtlCol="0" anchor="ctr"/>
                  <a:lstStyle/>
                  <a:p>
                    <a:endParaRPr lang="en-GB" dirty="0"/>
                  </a:p>
                </p:txBody>
              </p:sp>
              <p:sp>
                <p:nvSpPr>
                  <p:cNvPr id="222" name="Freihandform: Form 1253">
                    <a:extLst>
                      <a:ext uri="{FF2B5EF4-FFF2-40B4-BE49-F238E27FC236}">
                        <a16:creationId xmlns:a16="http://schemas.microsoft.com/office/drawing/2014/main" id="{9C04DADB-A0DE-472D-9D43-2A504C8DD2DD}"/>
                      </a:ext>
                    </a:extLst>
                  </p:cNvPr>
                  <p:cNvSpPr/>
                  <p:nvPr/>
                </p:nvSpPr>
                <p:spPr>
                  <a:xfrm>
                    <a:off x="5581320" y="2512746"/>
                    <a:ext cx="105815" cy="61471"/>
                  </a:xfrm>
                  <a:custGeom>
                    <a:avLst/>
                    <a:gdLst>
                      <a:gd name="connsiteX0" fmla="*/ 36460 w 105815"/>
                      <a:gd name="connsiteY0" fmla="*/ 61472 h 61471"/>
                      <a:gd name="connsiteX1" fmla="*/ 5389 w 105815"/>
                      <a:gd name="connsiteY1" fmla="*/ 58788 h 61471"/>
                      <a:gd name="connsiteX2" fmla="*/ 114 w 105815"/>
                      <a:gd name="connsiteY2" fmla="*/ 51108 h 61471"/>
                      <a:gd name="connsiteX3" fmla="*/ 7793 w 105815"/>
                      <a:gd name="connsiteY3" fmla="*/ 45833 h 61471"/>
                      <a:gd name="connsiteX4" fmla="*/ 36460 w 105815"/>
                      <a:gd name="connsiteY4" fmla="*/ 48312 h 61471"/>
                      <a:gd name="connsiteX5" fmla="*/ 92657 w 105815"/>
                      <a:gd name="connsiteY5" fmla="*/ 33420 h 61471"/>
                      <a:gd name="connsiteX6" fmla="*/ 92657 w 105815"/>
                      <a:gd name="connsiteY6" fmla="*/ 6580 h 61471"/>
                      <a:gd name="connsiteX7" fmla="*/ 99236 w 105815"/>
                      <a:gd name="connsiteY7" fmla="*/ 0 h 61471"/>
                      <a:gd name="connsiteX8" fmla="*/ 105816 w 105815"/>
                      <a:gd name="connsiteY8" fmla="*/ 6580 h 61471"/>
                      <a:gd name="connsiteX9" fmla="*/ 105816 w 105815"/>
                      <a:gd name="connsiteY9" fmla="*/ 33420 h 61471"/>
                      <a:gd name="connsiteX10" fmla="*/ 36460 w 105815"/>
                      <a:gd name="connsiteY10" fmla="*/ 61472 h 61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815" h="61471">
                        <a:moveTo>
                          <a:pt x="36460" y="61472"/>
                        </a:moveTo>
                        <a:cubicBezTo>
                          <a:pt x="25631" y="61472"/>
                          <a:pt x="14895" y="60540"/>
                          <a:pt x="5389" y="58788"/>
                        </a:cubicBezTo>
                        <a:cubicBezTo>
                          <a:pt x="1810" y="58117"/>
                          <a:pt x="-557" y="54687"/>
                          <a:pt x="114" y="51108"/>
                        </a:cubicBezTo>
                        <a:cubicBezTo>
                          <a:pt x="785" y="47530"/>
                          <a:pt x="4214" y="45162"/>
                          <a:pt x="7793" y="45833"/>
                        </a:cubicBezTo>
                        <a:cubicBezTo>
                          <a:pt x="16516" y="47455"/>
                          <a:pt x="26432" y="48312"/>
                          <a:pt x="36460" y="48312"/>
                        </a:cubicBezTo>
                        <a:cubicBezTo>
                          <a:pt x="72955" y="48312"/>
                          <a:pt x="92657" y="37744"/>
                          <a:pt x="92657" y="33420"/>
                        </a:cubicBezTo>
                        <a:lnTo>
                          <a:pt x="92657" y="6580"/>
                        </a:lnTo>
                        <a:cubicBezTo>
                          <a:pt x="92657" y="2945"/>
                          <a:pt x="95602" y="0"/>
                          <a:pt x="99236" y="0"/>
                        </a:cubicBezTo>
                        <a:cubicBezTo>
                          <a:pt x="102871" y="0"/>
                          <a:pt x="105816" y="2945"/>
                          <a:pt x="105816" y="6580"/>
                        </a:cubicBezTo>
                        <a:lnTo>
                          <a:pt x="105816" y="33420"/>
                        </a:lnTo>
                        <a:cubicBezTo>
                          <a:pt x="105834" y="52693"/>
                          <a:pt x="69880" y="61472"/>
                          <a:pt x="36460" y="61472"/>
                        </a:cubicBezTo>
                        <a:close/>
                      </a:path>
                    </a:pathLst>
                  </a:custGeom>
                  <a:solidFill>
                    <a:schemeClr val="accent1"/>
                  </a:solidFill>
                  <a:ln w="1863" cap="flat">
                    <a:noFill/>
                    <a:prstDash val="solid"/>
                    <a:miter/>
                  </a:ln>
                </p:spPr>
                <p:txBody>
                  <a:bodyPr rtlCol="0" anchor="ctr"/>
                  <a:lstStyle/>
                  <a:p>
                    <a:endParaRPr lang="en-GB" dirty="0"/>
                  </a:p>
                </p:txBody>
              </p:sp>
            </p:grpSp>
            <p:grpSp>
              <p:nvGrpSpPr>
                <p:cNvPr id="208" name="Grafik 318">
                  <a:extLst>
                    <a:ext uri="{FF2B5EF4-FFF2-40B4-BE49-F238E27FC236}">
                      <a16:creationId xmlns:a16="http://schemas.microsoft.com/office/drawing/2014/main" id="{6AD4C2D2-A742-4EE5-9F85-9FCD590DE3F4}"/>
                    </a:ext>
                  </a:extLst>
                </p:cNvPr>
                <p:cNvGrpSpPr/>
                <p:nvPr/>
              </p:nvGrpSpPr>
              <p:grpSpPr>
                <a:xfrm>
                  <a:off x="5362407" y="2491236"/>
                  <a:ext cx="105815" cy="82981"/>
                  <a:chOff x="5362407" y="2491236"/>
                  <a:chExt cx="105815" cy="82981"/>
                </a:xfrm>
                <a:solidFill>
                  <a:schemeClr val="accent1"/>
                </a:solidFill>
              </p:grpSpPr>
              <p:sp>
                <p:nvSpPr>
                  <p:cNvPr id="219" name="Freihandform: Form 1255">
                    <a:extLst>
                      <a:ext uri="{FF2B5EF4-FFF2-40B4-BE49-F238E27FC236}">
                        <a16:creationId xmlns:a16="http://schemas.microsoft.com/office/drawing/2014/main" id="{FB32E06A-A491-4AEA-AA22-6D4E6C22D182}"/>
                      </a:ext>
                    </a:extLst>
                  </p:cNvPr>
                  <p:cNvSpPr/>
                  <p:nvPr/>
                </p:nvSpPr>
                <p:spPr>
                  <a:xfrm>
                    <a:off x="5362407" y="2491236"/>
                    <a:ext cx="104591" cy="56140"/>
                  </a:xfrm>
                  <a:custGeom>
                    <a:avLst/>
                    <a:gdLst>
                      <a:gd name="connsiteX0" fmla="*/ 69356 w 104591"/>
                      <a:gd name="connsiteY0" fmla="*/ 56141 h 56140"/>
                      <a:gd name="connsiteX1" fmla="*/ 0 w 104591"/>
                      <a:gd name="connsiteY1" fmla="*/ 28070 h 56140"/>
                      <a:gd name="connsiteX2" fmla="*/ 69356 w 104591"/>
                      <a:gd name="connsiteY2" fmla="*/ 0 h 56140"/>
                      <a:gd name="connsiteX3" fmla="*/ 98861 w 104591"/>
                      <a:gd name="connsiteY3" fmla="*/ 2404 h 56140"/>
                      <a:gd name="connsiteX4" fmla="*/ 104230 w 104591"/>
                      <a:gd name="connsiteY4" fmla="*/ 10028 h 56140"/>
                      <a:gd name="connsiteX5" fmla="*/ 96606 w 104591"/>
                      <a:gd name="connsiteY5" fmla="*/ 15396 h 56140"/>
                      <a:gd name="connsiteX6" fmla="*/ 69356 w 104591"/>
                      <a:gd name="connsiteY6" fmla="*/ 13178 h 56140"/>
                      <a:gd name="connsiteX7" fmla="*/ 13159 w 104591"/>
                      <a:gd name="connsiteY7" fmla="*/ 28070 h 56140"/>
                      <a:gd name="connsiteX8" fmla="*/ 69356 w 104591"/>
                      <a:gd name="connsiteY8" fmla="*/ 42963 h 56140"/>
                      <a:gd name="connsiteX9" fmla="*/ 96867 w 104591"/>
                      <a:gd name="connsiteY9" fmla="*/ 40708 h 56140"/>
                      <a:gd name="connsiteX10" fmla="*/ 104490 w 104591"/>
                      <a:gd name="connsiteY10" fmla="*/ 46057 h 56140"/>
                      <a:gd name="connsiteX11" fmla="*/ 99141 w 104591"/>
                      <a:gd name="connsiteY11" fmla="*/ 53680 h 56140"/>
                      <a:gd name="connsiteX12" fmla="*/ 69356 w 104591"/>
                      <a:gd name="connsiteY12" fmla="*/ 56141 h 5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591" h="56140">
                        <a:moveTo>
                          <a:pt x="69356" y="56141"/>
                        </a:moveTo>
                        <a:cubicBezTo>
                          <a:pt x="35955" y="56141"/>
                          <a:pt x="0" y="47362"/>
                          <a:pt x="0" y="28070"/>
                        </a:cubicBezTo>
                        <a:cubicBezTo>
                          <a:pt x="0" y="8779"/>
                          <a:pt x="35955" y="0"/>
                          <a:pt x="69356" y="0"/>
                        </a:cubicBezTo>
                        <a:cubicBezTo>
                          <a:pt x="79719" y="0"/>
                          <a:pt x="89635" y="802"/>
                          <a:pt x="98861" y="2404"/>
                        </a:cubicBezTo>
                        <a:cubicBezTo>
                          <a:pt x="102440" y="3020"/>
                          <a:pt x="104845" y="6430"/>
                          <a:pt x="104230" y="10028"/>
                        </a:cubicBezTo>
                        <a:cubicBezTo>
                          <a:pt x="103614" y="13607"/>
                          <a:pt x="100203" y="16011"/>
                          <a:pt x="96606" y="15396"/>
                        </a:cubicBezTo>
                        <a:cubicBezTo>
                          <a:pt x="88237" y="13942"/>
                          <a:pt x="78824" y="13178"/>
                          <a:pt x="69356" y="13178"/>
                        </a:cubicBezTo>
                        <a:cubicBezTo>
                          <a:pt x="32861" y="13178"/>
                          <a:pt x="13159" y="23746"/>
                          <a:pt x="13159" y="28070"/>
                        </a:cubicBezTo>
                        <a:cubicBezTo>
                          <a:pt x="13159" y="32395"/>
                          <a:pt x="32842" y="42963"/>
                          <a:pt x="69356" y="42963"/>
                        </a:cubicBezTo>
                        <a:cubicBezTo>
                          <a:pt x="78918" y="42963"/>
                          <a:pt x="88442" y="42180"/>
                          <a:pt x="96867" y="40708"/>
                        </a:cubicBezTo>
                        <a:cubicBezTo>
                          <a:pt x="100446" y="40055"/>
                          <a:pt x="103857" y="42478"/>
                          <a:pt x="104490" y="46057"/>
                        </a:cubicBezTo>
                        <a:cubicBezTo>
                          <a:pt x="105124" y="49636"/>
                          <a:pt x="102720" y="53047"/>
                          <a:pt x="99141" y="53680"/>
                        </a:cubicBezTo>
                        <a:cubicBezTo>
                          <a:pt x="89859" y="55302"/>
                          <a:pt x="79831" y="56141"/>
                          <a:pt x="69356" y="56141"/>
                        </a:cubicBezTo>
                        <a:close/>
                      </a:path>
                    </a:pathLst>
                  </a:custGeom>
                  <a:solidFill>
                    <a:schemeClr val="accent1"/>
                  </a:solidFill>
                  <a:ln w="1863" cap="flat">
                    <a:noFill/>
                    <a:prstDash val="solid"/>
                    <a:miter/>
                  </a:ln>
                </p:spPr>
                <p:txBody>
                  <a:bodyPr rtlCol="0" anchor="ctr"/>
                  <a:lstStyle/>
                  <a:p>
                    <a:endParaRPr lang="en-GB" dirty="0"/>
                  </a:p>
                </p:txBody>
              </p:sp>
              <p:sp>
                <p:nvSpPr>
                  <p:cNvPr id="220" name="Freihandform: Form 1256">
                    <a:extLst>
                      <a:ext uri="{FF2B5EF4-FFF2-40B4-BE49-F238E27FC236}">
                        <a16:creationId xmlns:a16="http://schemas.microsoft.com/office/drawing/2014/main" id="{65989C5D-0E8B-4A87-97DA-7735DAC20662}"/>
                      </a:ext>
                    </a:extLst>
                  </p:cNvPr>
                  <p:cNvSpPr/>
                  <p:nvPr/>
                </p:nvSpPr>
                <p:spPr>
                  <a:xfrm>
                    <a:off x="5362407" y="2512727"/>
                    <a:ext cx="105815" cy="61490"/>
                  </a:xfrm>
                  <a:custGeom>
                    <a:avLst/>
                    <a:gdLst>
                      <a:gd name="connsiteX0" fmla="*/ 69356 w 105815"/>
                      <a:gd name="connsiteY0" fmla="*/ 61490 h 61490"/>
                      <a:gd name="connsiteX1" fmla="*/ 0 w 105815"/>
                      <a:gd name="connsiteY1" fmla="*/ 33420 h 61490"/>
                      <a:gd name="connsiteX2" fmla="*/ 0 w 105815"/>
                      <a:gd name="connsiteY2" fmla="*/ 6580 h 61490"/>
                      <a:gd name="connsiteX3" fmla="*/ 6580 w 105815"/>
                      <a:gd name="connsiteY3" fmla="*/ 0 h 61490"/>
                      <a:gd name="connsiteX4" fmla="*/ 13159 w 105815"/>
                      <a:gd name="connsiteY4" fmla="*/ 6580 h 61490"/>
                      <a:gd name="connsiteX5" fmla="*/ 13159 w 105815"/>
                      <a:gd name="connsiteY5" fmla="*/ 33420 h 61490"/>
                      <a:gd name="connsiteX6" fmla="*/ 69356 w 105815"/>
                      <a:gd name="connsiteY6" fmla="*/ 48312 h 61490"/>
                      <a:gd name="connsiteX7" fmla="*/ 98023 w 105815"/>
                      <a:gd name="connsiteY7" fmla="*/ 45833 h 61490"/>
                      <a:gd name="connsiteX8" fmla="*/ 105702 w 105815"/>
                      <a:gd name="connsiteY8" fmla="*/ 51108 h 61490"/>
                      <a:gd name="connsiteX9" fmla="*/ 100427 w 105815"/>
                      <a:gd name="connsiteY9" fmla="*/ 58788 h 61490"/>
                      <a:gd name="connsiteX10" fmla="*/ 69356 w 105815"/>
                      <a:gd name="connsiteY10" fmla="*/ 61490 h 6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815" h="61490">
                        <a:moveTo>
                          <a:pt x="69356" y="61490"/>
                        </a:moveTo>
                        <a:cubicBezTo>
                          <a:pt x="35955" y="61490"/>
                          <a:pt x="0" y="52711"/>
                          <a:pt x="0" y="33420"/>
                        </a:cubicBezTo>
                        <a:lnTo>
                          <a:pt x="0" y="6580"/>
                        </a:lnTo>
                        <a:cubicBezTo>
                          <a:pt x="0" y="2945"/>
                          <a:pt x="2945" y="0"/>
                          <a:pt x="6580" y="0"/>
                        </a:cubicBezTo>
                        <a:cubicBezTo>
                          <a:pt x="10214" y="0"/>
                          <a:pt x="13159" y="2945"/>
                          <a:pt x="13159" y="6580"/>
                        </a:cubicBezTo>
                        <a:lnTo>
                          <a:pt x="13159" y="33420"/>
                        </a:lnTo>
                        <a:cubicBezTo>
                          <a:pt x="13159" y="37744"/>
                          <a:pt x="32842" y="48312"/>
                          <a:pt x="69356" y="48312"/>
                        </a:cubicBezTo>
                        <a:cubicBezTo>
                          <a:pt x="79384" y="48312"/>
                          <a:pt x="89300" y="47455"/>
                          <a:pt x="98023" y="45833"/>
                        </a:cubicBezTo>
                        <a:cubicBezTo>
                          <a:pt x="101583" y="45181"/>
                          <a:pt x="105031" y="47530"/>
                          <a:pt x="105702" y="51108"/>
                        </a:cubicBezTo>
                        <a:cubicBezTo>
                          <a:pt x="106373" y="54687"/>
                          <a:pt x="104006" y="58117"/>
                          <a:pt x="100427" y="58788"/>
                        </a:cubicBezTo>
                        <a:cubicBezTo>
                          <a:pt x="90921" y="60558"/>
                          <a:pt x="80185" y="61490"/>
                          <a:pt x="69356" y="61490"/>
                        </a:cubicBezTo>
                        <a:close/>
                      </a:path>
                    </a:pathLst>
                  </a:custGeom>
                  <a:solidFill>
                    <a:schemeClr val="accent1"/>
                  </a:solidFill>
                  <a:ln w="1863" cap="flat">
                    <a:noFill/>
                    <a:prstDash val="solid"/>
                    <a:miter/>
                  </a:ln>
                </p:spPr>
                <p:txBody>
                  <a:bodyPr rtlCol="0" anchor="ctr"/>
                  <a:lstStyle/>
                  <a:p>
                    <a:endParaRPr lang="en-GB" dirty="0"/>
                  </a:p>
                </p:txBody>
              </p:sp>
            </p:grpSp>
            <p:grpSp>
              <p:nvGrpSpPr>
                <p:cNvPr id="209" name="Grafik 318">
                  <a:extLst>
                    <a:ext uri="{FF2B5EF4-FFF2-40B4-BE49-F238E27FC236}">
                      <a16:creationId xmlns:a16="http://schemas.microsoft.com/office/drawing/2014/main" id="{6DC03DC2-790D-4096-9DE2-457A68CAEB2D}"/>
                    </a:ext>
                  </a:extLst>
                </p:cNvPr>
                <p:cNvGrpSpPr/>
                <p:nvPr/>
              </p:nvGrpSpPr>
              <p:grpSpPr>
                <a:xfrm>
                  <a:off x="5455826" y="2457910"/>
                  <a:ext cx="138730" cy="109168"/>
                  <a:chOff x="5455826" y="2457910"/>
                  <a:chExt cx="138730" cy="109168"/>
                </a:xfrm>
                <a:solidFill>
                  <a:schemeClr val="accent1"/>
                </a:solidFill>
              </p:grpSpPr>
              <p:grpSp>
                <p:nvGrpSpPr>
                  <p:cNvPr id="213" name="Grafik 318">
                    <a:extLst>
                      <a:ext uri="{FF2B5EF4-FFF2-40B4-BE49-F238E27FC236}">
                        <a16:creationId xmlns:a16="http://schemas.microsoft.com/office/drawing/2014/main" id="{DD0DA408-60CE-421E-9351-18585A789936}"/>
                      </a:ext>
                    </a:extLst>
                  </p:cNvPr>
                  <p:cNvGrpSpPr/>
                  <p:nvPr/>
                </p:nvGrpSpPr>
                <p:grpSpPr>
                  <a:xfrm>
                    <a:off x="5455826" y="2505570"/>
                    <a:ext cx="138711" cy="61508"/>
                    <a:chOff x="5455826" y="2505570"/>
                    <a:chExt cx="138711" cy="61508"/>
                  </a:xfrm>
                  <a:solidFill>
                    <a:schemeClr val="accent1"/>
                  </a:solidFill>
                </p:grpSpPr>
                <p:sp>
                  <p:nvSpPr>
                    <p:cNvPr id="217" name="Freihandform: Form 1259">
                      <a:extLst>
                        <a:ext uri="{FF2B5EF4-FFF2-40B4-BE49-F238E27FC236}">
                          <a16:creationId xmlns:a16="http://schemas.microsoft.com/office/drawing/2014/main" id="{C72989D4-1AF1-4B66-94DF-747AF2624C74}"/>
                        </a:ext>
                      </a:extLst>
                    </p:cNvPr>
                    <p:cNvSpPr/>
                    <p:nvPr/>
                  </p:nvSpPr>
                  <p:spPr>
                    <a:xfrm>
                      <a:off x="5455826" y="2505570"/>
                      <a:ext cx="138711" cy="34649"/>
                    </a:xfrm>
                    <a:custGeom>
                      <a:avLst/>
                      <a:gdLst>
                        <a:gd name="connsiteX0" fmla="*/ 69356 w 138711"/>
                        <a:gd name="connsiteY0" fmla="*/ 34650 h 34649"/>
                        <a:gd name="connsiteX1" fmla="*/ 0 w 138711"/>
                        <a:gd name="connsiteY1" fmla="*/ 6580 h 34649"/>
                        <a:gd name="connsiteX2" fmla="*/ 6580 w 138711"/>
                        <a:gd name="connsiteY2" fmla="*/ 0 h 34649"/>
                        <a:gd name="connsiteX3" fmla="*/ 13159 w 138711"/>
                        <a:gd name="connsiteY3" fmla="*/ 6580 h 34649"/>
                        <a:gd name="connsiteX4" fmla="*/ 69356 w 138711"/>
                        <a:gd name="connsiteY4" fmla="*/ 21472 h 34649"/>
                        <a:gd name="connsiteX5" fmla="*/ 125553 w 138711"/>
                        <a:gd name="connsiteY5" fmla="*/ 6580 h 34649"/>
                        <a:gd name="connsiteX6" fmla="*/ 132132 w 138711"/>
                        <a:gd name="connsiteY6" fmla="*/ 0 h 34649"/>
                        <a:gd name="connsiteX7" fmla="*/ 138712 w 138711"/>
                        <a:gd name="connsiteY7" fmla="*/ 6580 h 34649"/>
                        <a:gd name="connsiteX8" fmla="*/ 69356 w 138711"/>
                        <a:gd name="connsiteY8" fmla="*/ 34650 h 3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11" h="34649">
                          <a:moveTo>
                            <a:pt x="69356" y="34650"/>
                          </a:moveTo>
                          <a:cubicBezTo>
                            <a:pt x="35955" y="34650"/>
                            <a:pt x="0" y="25871"/>
                            <a:pt x="0" y="6580"/>
                          </a:cubicBezTo>
                          <a:cubicBezTo>
                            <a:pt x="0" y="2945"/>
                            <a:pt x="2945" y="0"/>
                            <a:pt x="6580" y="0"/>
                          </a:cubicBezTo>
                          <a:cubicBezTo>
                            <a:pt x="10214" y="0"/>
                            <a:pt x="13159" y="2945"/>
                            <a:pt x="13159" y="6580"/>
                          </a:cubicBezTo>
                          <a:cubicBezTo>
                            <a:pt x="13159" y="10904"/>
                            <a:pt x="32842" y="21472"/>
                            <a:pt x="69356" y="21472"/>
                          </a:cubicBezTo>
                          <a:cubicBezTo>
                            <a:pt x="105851" y="21472"/>
                            <a:pt x="125553" y="10904"/>
                            <a:pt x="125553" y="6580"/>
                          </a:cubicBezTo>
                          <a:cubicBezTo>
                            <a:pt x="125553" y="2945"/>
                            <a:pt x="128498" y="0"/>
                            <a:pt x="132132" y="0"/>
                          </a:cubicBezTo>
                          <a:cubicBezTo>
                            <a:pt x="135767" y="0"/>
                            <a:pt x="138712" y="2945"/>
                            <a:pt x="138712" y="6580"/>
                          </a:cubicBezTo>
                          <a:cubicBezTo>
                            <a:pt x="138712" y="25871"/>
                            <a:pt x="102757" y="34650"/>
                            <a:pt x="69356" y="34650"/>
                          </a:cubicBezTo>
                          <a:close/>
                        </a:path>
                      </a:pathLst>
                    </a:custGeom>
                    <a:solidFill>
                      <a:schemeClr val="accent1"/>
                    </a:solidFill>
                    <a:ln w="1863" cap="flat">
                      <a:noFill/>
                      <a:prstDash val="solid"/>
                      <a:miter/>
                    </a:ln>
                  </p:spPr>
                  <p:txBody>
                    <a:bodyPr rtlCol="0" anchor="ctr"/>
                    <a:lstStyle/>
                    <a:p>
                      <a:endParaRPr lang="en-GB" dirty="0"/>
                    </a:p>
                  </p:txBody>
                </p:sp>
                <p:sp>
                  <p:nvSpPr>
                    <p:cNvPr id="218" name="Freihandform: Form 1260">
                      <a:extLst>
                        <a:ext uri="{FF2B5EF4-FFF2-40B4-BE49-F238E27FC236}">
                          <a16:creationId xmlns:a16="http://schemas.microsoft.com/office/drawing/2014/main" id="{343E3D66-C5E7-401C-8497-1B49EB55F774}"/>
                        </a:ext>
                      </a:extLst>
                    </p:cNvPr>
                    <p:cNvSpPr/>
                    <p:nvPr/>
                  </p:nvSpPr>
                  <p:spPr>
                    <a:xfrm>
                      <a:off x="5455826" y="2505588"/>
                      <a:ext cx="138711" cy="61490"/>
                    </a:xfrm>
                    <a:custGeom>
                      <a:avLst/>
                      <a:gdLst>
                        <a:gd name="connsiteX0" fmla="*/ 69356 w 138711"/>
                        <a:gd name="connsiteY0" fmla="*/ 61490 h 61490"/>
                        <a:gd name="connsiteX1" fmla="*/ 0 w 138711"/>
                        <a:gd name="connsiteY1" fmla="*/ 33420 h 61490"/>
                        <a:gd name="connsiteX2" fmla="*/ 0 w 138711"/>
                        <a:gd name="connsiteY2" fmla="*/ 6580 h 61490"/>
                        <a:gd name="connsiteX3" fmla="*/ 6580 w 138711"/>
                        <a:gd name="connsiteY3" fmla="*/ 0 h 61490"/>
                        <a:gd name="connsiteX4" fmla="*/ 13159 w 138711"/>
                        <a:gd name="connsiteY4" fmla="*/ 6580 h 61490"/>
                        <a:gd name="connsiteX5" fmla="*/ 13159 w 138711"/>
                        <a:gd name="connsiteY5" fmla="*/ 33420 h 61490"/>
                        <a:gd name="connsiteX6" fmla="*/ 69356 w 138711"/>
                        <a:gd name="connsiteY6" fmla="*/ 48312 h 61490"/>
                        <a:gd name="connsiteX7" fmla="*/ 125553 w 138711"/>
                        <a:gd name="connsiteY7" fmla="*/ 33420 h 61490"/>
                        <a:gd name="connsiteX8" fmla="*/ 125553 w 138711"/>
                        <a:gd name="connsiteY8" fmla="*/ 6580 h 61490"/>
                        <a:gd name="connsiteX9" fmla="*/ 132132 w 138711"/>
                        <a:gd name="connsiteY9" fmla="*/ 0 h 61490"/>
                        <a:gd name="connsiteX10" fmla="*/ 138712 w 138711"/>
                        <a:gd name="connsiteY10" fmla="*/ 6580 h 61490"/>
                        <a:gd name="connsiteX11" fmla="*/ 138712 w 138711"/>
                        <a:gd name="connsiteY11" fmla="*/ 33420 h 61490"/>
                        <a:gd name="connsiteX12" fmla="*/ 69356 w 138711"/>
                        <a:gd name="connsiteY12" fmla="*/ 61490 h 6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711" h="61490">
                          <a:moveTo>
                            <a:pt x="69356" y="61490"/>
                          </a:moveTo>
                          <a:cubicBezTo>
                            <a:pt x="35955" y="61490"/>
                            <a:pt x="0" y="52711"/>
                            <a:pt x="0" y="33420"/>
                          </a:cubicBezTo>
                          <a:lnTo>
                            <a:pt x="0" y="6580"/>
                          </a:lnTo>
                          <a:cubicBezTo>
                            <a:pt x="0" y="2945"/>
                            <a:pt x="2945" y="0"/>
                            <a:pt x="6580" y="0"/>
                          </a:cubicBezTo>
                          <a:cubicBezTo>
                            <a:pt x="10214" y="0"/>
                            <a:pt x="13159" y="2945"/>
                            <a:pt x="13159" y="6580"/>
                          </a:cubicBezTo>
                          <a:lnTo>
                            <a:pt x="13159" y="33420"/>
                          </a:lnTo>
                          <a:cubicBezTo>
                            <a:pt x="13159" y="37744"/>
                            <a:pt x="32842" y="48312"/>
                            <a:pt x="69356" y="48312"/>
                          </a:cubicBezTo>
                          <a:cubicBezTo>
                            <a:pt x="105851" y="48312"/>
                            <a:pt x="125553" y="37744"/>
                            <a:pt x="125553" y="33420"/>
                          </a:cubicBezTo>
                          <a:lnTo>
                            <a:pt x="125553" y="6580"/>
                          </a:lnTo>
                          <a:cubicBezTo>
                            <a:pt x="125553" y="2945"/>
                            <a:pt x="128498" y="0"/>
                            <a:pt x="132132" y="0"/>
                          </a:cubicBezTo>
                          <a:cubicBezTo>
                            <a:pt x="135767" y="0"/>
                            <a:pt x="138712" y="2945"/>
                            <a:pt x="138712" y="6580"/>
                          </a:cubicBezTo>
                          <a:lnTo>
                            <a:pt x="138712" y="33420"/>
                          </a:lnTo>
                          <a:cubicBezTo>
                            <a:pt x="138712" y="52711"/>
                            <a:pt x="102757" y="61490"/>
                            <a:pt x="69356" y="61490"/>
                          </a:cubicBezTo>
                          <a:close/>
                        </a:path>
                      </a:pathLst>
                    </a:custGeom>
                    <a:solidFill>
                      <a:schemeClr val="accent1"/>
                    </a:solidFill>
                    <a:ln w="1863" cap="flat">
                      <a:noFill/>
                      <a:prstDash val="solid"/>
                      <a:miter/>
                    </a:ln>
                  </p:spPr>
                  <p:txBody>
                    <a:bodyPr rtlCol="0" anchor="ctr"/>
                    <a:lstStyle/>
                    <a:p>
                      <a:endParaRPr lang="en-GB" dirty="0"/>
                    </a:p>
                  </p:txBody>
                </p:sp>
              </p:grpSp>
              <p:grpSp>
                <p:nvGrpSpPr>
                  <p:cNvPr id="214" name="Grafik 318">
                    <a:extLst>
                      <a:ext uri="{FF2B5EF4-FFF2-40B4-BE49-F238E27FC236}">
                        <a16:creationId xmlns:a16="http://schemas.microsoft.com/office/drawing/2014/main" id="{5DCF2605-360A-4935-9C3F-3861F897F047}"/>
                      </a:ext>
                    </a:extLst>
                  </p:cNvPr>
                  <p:cNvGrpSpPr/>
                  <p:nvPr/>
                </p:nvGrpSpPr>
                <p:grpSpPr>
                  <a:xfrm>
                    <a:off x="5455826" y="2457910"/>
                    <a:ext cx="138730" cy="82999"/>
                    <a:chOff x="5455826" y="2457910"/>
                    <a:chExt cx="138730" cy="82999"/>
                  </a:xfrm>
                  <a:solidFill>
                    <a:schemeClr val="accent1"/>
                  </a:solidFill>
                </p:grpSpPr>
                <p:sp>
                  <p:nvSpPr>
                    <p:cNvPr id="215" name="Freihandform: Form 1262">
                      <a:extLst>
                        <a:ext uri="{FF2B5EF4-FFF2-40B4-BE49-F238E27FC236}">
                          <a16:creationId xmlns:a16="http://schemas.microsoft.com/office/drawing/2014/main" id="{4603C365-3472-49C1-8093-7FFAE9B2FB27}"/>
                        </a:ext>
                      </a:extLst>
                    </p:cNvPr>
                    <p:cNvSpPr/>
                    <p:nvPr/>
                  </p:nvSpPr>
                  <p:spPr>
                    <a:xfrm>
                      <a:off x="5455826" y="2457910"/>
                      <a:ext cx="138730" cy="56140"/>
                    </a:xfrm>
                    <a:custGeom>
                      <a:avLst/>
                      <a:gdLst>
                        <a:gd name="connsiteX0" fmla="*/ 69356 w 138730"/>
                        <a:gd name="connsiteY0" fmla="*/ 56141 h 56140"/>
                        <a:gd name="connsiteX1" fmla="*/ 0 w 138730"/>
                        <a:gd name="connsiteY1" fmla="*/ 28070 h 56140"/>
                        <a:gd name="connsiteX2" fmla="*/ 69356 w 138730"/>
                        <a:gd name="connsiteY2" fmla="*/ 0 h 56140"/>
                        <a:gd name="connsiteX3" fmla="*/ 138730 w 138730"/>
                        <a:gd name="connsiteY3" fmla="*/ 28070 h 56140"/>
                        <a:gd name="connsiteX4" fmla="*/ 69356 w 138730"/>
                        <a:gd name="connsiteY4" fmla="*/ 56141 h 56140"/>
                        <a:gd name="connsiteX5" fmla="*/ 69356 w 138730"/>
                        <a:gd name="connsiteY5" fmla="*/ 13196 h 56140"/>
                        <a:gd name="connsiteX6" fmla="*/ 13159 w 138730"/>
                        <a:gd name="connsiteY6" fmla="*/ 28089 h 56140"/>
                        <a:gd name="connsiteX7" fmla="*/ 69356 w 138730"/>
                        <a:gd name="connsiteY7" fmla="*/ 42982 h 56140"/>
                        <a:gd name="connsiteX8" fmla="*/ 125553 w 138730"/>
                        <a:gd name="connsiteY8" fmla="*/ 28089 h 56140"/>
                        <a:gd name="connsiteX9" fmla="*/ 69356 w 138730"/>
                        <a:gd name="connsiteY9" fmla="*/ 13196 h 56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730" h="56140">
                          <a:moveTo>
                            <a:pt x="69356" y="56141"/>
                          </a:moveTo>
                          <a:cubicBezTo>
                            <a:pt x="35955" y="56141"/>
                            <a:pt x="0" y="47362"/>
                            <a:pt x="0" y="28070"/>
                          </a:cubicBezTo>
                          <a:cubicBezTo>
                            <a:pt x="0" y="8779"/>
                            <a:pt x="35955" y="0"/>
                            <a:pt x="69356" y="0"/>
                          </a:cubicBezTo>
                          <a:cubicBezTo>
                            <a:pt x="102757" y="0"/>
                            <a:pt x="138730" y="8779"/>
                            <a:pt x="138730" y="28070"/>
                          </a:cubicBezTo>
                          <a:cubicBezTo>
                            <a:pt x="138712" y="47362"/>
                            <a:pt x="102757" y="56141"/>
                            <a:pt x="69356" y="56141"/>
                          </a:cubicBezTo>
                          <a:close/>
                          <a:moveTo>
                            <a:pt x="69356" y="13196"/>
                          </a:moveTo>
                          <a:cubicBezTo>
                            <a:pt x="32861" y="13196"/>
                            <a:pt x="13159" y="23765"/>
                            <a:pt x="13159" y="28089"/>
                          </a:cubicBezTo>
                          <a:cubicBezTo>
                            <a:pt x="13159" y="32413"/>
                            <a:pt x="32842" y="42982"/>
                            <a:pt x="69356" y="42982"/>
                          </a:cubicBezTo>
                          <a:cubicBezTo>
                            <a:pt x="105851" y="42982"/>
                            <a:pt x="125553" y="32413"/>
                            <a:pt x="125553" y="28089"/>
                          </a:cubicBezTo>
                          <a:cubicBezTo>
                            <a:pt x="125534" y="23765"/>
                            <a:pt x="105851" y="13196"/>
                            <a:pt x="69356" y="13196"/>
                          </a:cubicBezTo>
                          <a:close/>
                        </a:path>
                      </a:pathLst>
                    </a:custGeom>
                    <a:solidFill>
                      <a:schemeClr val="accent1"/>
                    </a:solidFill>
                    <a:ln w="1863" cap="flat">
                      <a:noFill/>
                      <a:prstDash val="solid"/>
                      <a:miter/>
                    </a:ln>
                  </p:spPr>
                  <p:txBody>
                    <a:bodyPr rtlCol="0" anchor="ctr"/>
                    <a:lstStyle/>
                    <a:p>
                      <a:endParaRPr lang="en-GB" dirty="0"/>
                    </a:p>
                  </p:txBody>
                </p:sp>
                <p:sp>
                  <p:nvSpPr>
                    <p:cNvPr id="216" name="Freihandform: Form 1263">
                      <a:extLst>
                        <a:ext uri="{FF2B5EF4-FFF2-40B4-BE49-F238E27FC236}">
                          <a16:creationId xmlns:a16="http://schemas.microsoft.com/office/drawing/2014/main" id="{F7CA2BF2-5854-4144-85C5-7E3253FC689D}"/>
                        </a:ext>
                      </a:extLst>
                    </p:cNvPr>
                    <p:cNvSpPr/>
                    <p:nvPr/>
                  </p:nvSpPr>
                  <p:spPr>
                    <a:xfrm>
                      <a:off x="5455826" y="2479419"/>
                      <a:ext cx="138711" cy="61490"/>
                    </a:xfrm>
                    <a:custGeom>
                      <a:avLst/>
                      <a:gdLst>
                        <a:gd name="connsiteX0" fmla="*/ 69356 w 138711"/>
                        <a:gd name="connsiteY0" fmla="*/ 61490 h 61490"/>
                        <a:gd name="connsiteX1" fmla="*/ 0 w 138711"/>
                        <a:gd name="connsiteY1" fmla="*/ 33420 h 61490"/>
                        <a:gd name="connsiteX2" fmla="*/ 0 w 138711"/>
                        <a:gd name="connsiteY2" fmla="*/ 6580 h 61490"/>
                        <a:gd name="connsiteX3" fmla="*/ 6580 w 138711"/>
                        <a:gd name="connsiteY3" fmla="*/ 0 h 61490"/>
                        <a:gd name="connsiteX4" fmla="*/ 13159 w 138711"/>
                        <a:gd name="connsiteY4" fmla="*/ 6580 h 61490"/>
                        <a:gd name="connsiteX5" fmla="*/ 13159 w 138711"/>
                        <a:gd name="connsiteY5" fmla="*/ 33420 h 61490"/>
                        <a:gd name="connsiteX6" fmla="*/ 69356 w 138711"/>
                        <a:gd name="connsiteY6" fmla="*/ 48312 h 61490"/>
                        <a:gd name="connsiteX7" fmla="*/ 125553 w 138711"/>
                        <a:gd name="connsiteY7" fmla="*/ 33420 h 61490"/>
                        <a:gd name="connsiteX8" fmla="*/ 125553 w 138711"/>
                        <a:gd name="connsiteY8" fmla="*/ 6580 h 61490"/>
                        <a:gd name="connsiteX9" fmla="*/ 132132 w 138711"/>
                        <a:gd name="connsiteY9" fmla="*/ 0 h 61490"/>
                        <a:gd name="connsiteX10" fmla="*/ 138712 w 138711"/>
                        <a:gd name="connsiteY10" fmla="*/ 6580 h 61490"/>
                        <a:gd name="connsiteX11" fmla="*/ 138712 w 138711"/>
                        <a:gd name="connsiteY11" fmla="*/ 33420 h 61490"/>
                        <a:gd name="connsiteX12" fmla="*/ 69356 w 138711"/>
                        <a:gd name="connsiteY12" fmla="*/ 61490 h 6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711" h="61490">
                          <a:moveTo>
                            <a:pt x="69356" y="61490"/>
                          </a:moveTo>
                          <a:cubicBezTo>
                            <a:pt x="35955" y="61490"/>
                            <a:pt x="0" y="52711"/>
                            <a:pt x="0" y="33420"/>
                          </a:cubicBezTo>
                          <a:lnTo>
                            <a:pt x="0" y="6580"/>
                          </a:lnTo>
                          <a:cubicBezTo>
                            <a:pt x="0" y="2945"/>
                            <a:pt x="2945" y="0"/>
                            <a:pt x="6580" y="0"/>
                          </a:cubicBezTo>
                          <a:cubicBezTo>
                            <a:pt x="10214" y="0"/>
                            <a:pt x="13159" y="2945"/>
                            <a:pt x="13159" y="6580"/>
                          </a:cubicBezTo>
                          <a:lnTo>
                            <a:pt x="13159" y="33420"/>
                          </a:lnTo>
                          <a:cubicBezTo>
                            <a:pt x="13159" y="37744"/>
                            <a:pt x="32842" y="48312"/>
                            <a:pt x="69356" y="48312"/>
                          </a:cubicBezTo>
                          <a:cubicBezTo>
                            <a:pt x="105851" y="48312"/>
                            <a:pt x="125553" y="37744"/>
                            <a:pt x="125553" y="33420"/>
                          </a:cubicBezTo>
                          <a:lnTo>
                            <a:pt x="125553" y="6580"/>
                          </a:lnTo>
                          <a:cubicBezTo>
                            <a:pt x="125553" y="2945"/>
                            <a:pt x="128498" y="0"/>
                            <a:pt x="132132" y="0"/>
                          </a:cubicBezTo>
                          <a:cubicBezTo>
                            <a:pt x="135767" y="0"/>
                            <a:pt x="138712" y="2945"/>
                            <a:pt x="138712" y="6580"/>
                          </a:cubicBezTo>
                          <a:lnTo>
                            <a:pt x="138712" y="33420"/>
                          </a:lnTo>
                          <a:cubicBezTo>
                            <a:pt x="138712" y="52693"/>
                            <a:pt x="102757" y="61490"/>
                            <a:pt x="69356" y="61490"/>
                          </a:cubicBezTo>
                          <a:close/>
                        </a:path>
                      </a:pathLst>
                    </a:custGeom>
                    <a:solidFill>
                      <a:schemeClr val="accent1"/>
                    </a:solidFill>
                    <a:ln w="1863" cap="flat">
                      <a:noFill/>
                      <a:prstDash val="solid"/>
                      <a:miter/>
                    </a:ln>
                  </p:spPr>
                  <p:txBody>
                    <a:bodyPr rtlCol="0" anchor="ctr"/>
                    <a:lstStyle/>
                    <a:p>
                      <a:endParaRPr lang="en-GB" dirty="0"/>
                    </a:p>
                  </p:txBody>
                </p:sp>
              </p:grpSp>
            </p:grpSp>
            <p:grpSp>
              <p:nvGrpSpPr>
                <p:cNvPr id="210" name="Grafik 318">
                  <a:extLst>
                    <a:ext uri="{FF2B5EF4-FFF2-40B4-BE49-F238E27FC236}">
                      <a16:creationId xmlns:a16="http://schemas.microsoft.com/office/drawing/2014/main" id="{694A837B-4910-4927-8C9B-AB99C7941DA5}"/>
                    </a:ext>
                  </a:extLst>
                </p:cNvPr>
                <p:cNvGrpSpPr/>
                <p:nvPr/>
              </p:nvGrpSpPr>
              <p:grpSpPr>
                <a:xfrm>
                  <a:off x="5455826" y="2532149"/>
                  <a:ext cx="138711" cy="61490"/>
                  <a:chOff x="5455826" y="2532149"/>
                  <a:chExt cx="138711" cy="61490"/>
                </a:xfrm>
                <a:solidFill>
                  <a:schemeClr val="accent1"/>
                </a:solidFill>
              </p:grpSpPr>
              <p:sp>
                <p:nvSpPr>
                  <p:cNvPr id="211" name="Freihandform: Form 1265">
                    <a:extLst>
                      <a:ext uri="{FF2B5EF4-FFF2-40B4-BE49-F238E27FC236}">
                        <a16:creationId xmlns:a16="http://schemas.microsoft.com/office/drawing/2014/main" id="{F6AF92B6-3F66-499A-AF1D-1015D59424B0}"/>
                      </a:ext>
                    </a:extLst>
                  </p:cNvPr>
                  <p:cNvSpPr/>
                  <p:nvPr/>
                </p:nvSpPr>
                <p:spPr>
                  <a:xfrm>
                    <a:off x="5455826" y="2532149"/>
                    <a:ext cx="138711" cy="61490"/>
                  </a:xfrm>
                  <a:custGeom>
                    <a:avLst/>
                    <a:gdLst>
                      <a:gd name="connsiteX0" fmla="*/ 69356 w 138711"/>
                      <a:gd name="connsiteY0" fmla="*/ 61490 h 61490"/>
                      <a:gd name="connsiteX1" fmla="*/ 0 w 138711"/>
                      <a:gd name="connsiteY1" fmla="*/ 33420 h 61490"/>
                      <a:gd name="connsiteX2" fmla="*/ 0 w 138711"/>
                      <a:gd name="connsiteY2" fmla="*/ 6580 h 61490"/>
                      <a:gd name="connsiteX3" fmla="*/ 6580 w 138711"/>
                      <a:gd name="connsiteY3" fmla="*/ 0 h 61490"/>
                      <a:gd name="connsiteX4" fmla="*/ 13159 w 138711"/>
                      <a:gd name="connsiteY4" fmla="*/ 6580 h 61490"/>
                      <a:gd name="connsiteX5" fmla="*/ 13159 w 138711"/>
                      <a:gd name="connsiteY5" fmla="*/ 33420 h 61490"/>
                      <a:gd name="connsiteX6" fmla="*/ 69356 w 138711"/>
                      <a:gd name="connsiteY6" fmla="*/ 48312 h 61490"/>
                      <a:gd name="connsiteX7" fmla="*/ 125553 w 138711"/>
                      <a:gd name="connsiteY7" fmla="*/ 33420 h 61490"/>
                      <a:gd name="connsiteX8" fmla="*/ 125553 w 138711"/>
                      <a:gd name="connsiteY8" fmla="*/ 6580 h 61490"/>
                      <a:gd name="connsiteX9" fmla="*/ 132132 w 138711"/>
                      <a:gd name="connsiteY9" fmla="*/ 0 h 61490"/>
                      <a:gd name="connsiteX10" fmla="*/ 138712 w 138711"/>
                      <a:gd name="connsiteY10" fmla="*/ 6580 h 61490"/>
                      <a:gd name="connsiteX11" fmla="*/ 138712 w 138711"/>
                      <a:gd name="connsiteY11" fmla="*/ 33420 h 61490"/>
                      <a:gd name="connsiteX12" fmla="*/ 69356 w 138711"/>
                      <a:gd name="connsiteY12" fmla="*/ 61490 h 6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711" h="61490">
                        <a:moveTo>
                          <a:pt x="69356" y="61490"/>
                        </a:moveTo>
                        <a:cubicBezTo>
                          <a:pt x="35955" y="61490"/>
                          <a:pt x="0" y="52711"/>
                          <a:pt x="0" y="33420"/>
                        </a:cubicBezTo>
                        <a:lnTo>
                          <a:pt x="0" y="6580"/>
                        </a:lnTo>
                        <a:cubicBezTo>
                          <a:pt x="0" y="2945"/>
                          <a:pt x="2945" y="0"/>
                          <a:pt x="6580" y="0"/>
                        </a:cubicBezTo>
                        <a:cubicBezTo>
                          <a:pt x="10214" y="0"/>
                          <a:pt x="13159" y="2945"/>
                          <a:pt x="13159" y="6580"/>
                        </a:cubicBezTo>
                        <a:lnTo>
                          <a:pt x="13159" y="33420"/>
                        </a:lnTo>
                        <a:cubicBezTo>
                          <a:pt x="13159" y="37744"/>
                          <a:pt x="32842" y="48312"/>
                          <a:pt x="69356" y="48312"/>
                        </a:cubicBezTo>
                        <a:cubicBezTo>
                          <a:pt x="105851" y="48312"/>
                          <a:pt x="125553" y="37744"/>
                          <a:pt x="125553" y="33420"/>
                        </a:cubicBezTo>
                        <a:lnTo>
                          <a:pt x="125553" y="6580"/>
                        </a:lnTo>
                        <a:cubicBezTo>
                          <a:pt x="125553" y="2945"/>
                          <a:pt x="128498" y="0"/>
                          <a:pt x="132132" y="0"/>
                        </a:cubicBezTo>
                        <a:cubicBezTo>
                          <a:pt x="135767" y="0"/>
                          <a:pt x="138712" y="2945"/>
                          <a:pt x="138712" y="6580"/>
                        </a:cubicBezTo>
                        <a:lnTo>
                          <a:pt x="138712" y="33420"/>
                        </a:lnTo>
                        <a:cubicBezTo>
                          <a:pt x="138712" y="52711"/>
                          <a:pt x="102757" y="61490"/>
                          <a:pt x="69356" y="61490"/>
                        </a:cubicBezTo>
                        <a:close/>
                      </a:path>
                    </a:pathLst>
                  </a:custGeom>
                  <a:solidFill>
                    <a:schemeClr val="accent1"/>
                  </a:solidFill>
                  <a:ln w="1863" cap="flat">
                    <a:noFill/>
                    <a:prstDash val="solid"/>
                    <a:miter/>
                  </a:ln>
                </p:spPr>
                <p:txBody>
                  <a:bodyPr rtlCol="0" anchor="ctr"/>
                  <a:lstStyle/>
                  <a:p>
                    <a:endParaRPr lang="en-GB" dirty="0"/>
                  </a:p>
                </p:txBody>
              </p:sp>
              <p:sp>
                <p:nvSpPr>
                  <p:cNvPr id="212" name="Freihandform: Form 1266">
                    <a:extLst>
                      <a:ext uri="{FF2B5EF4-FFF2-40B4-BE49-F238E27FC236}">
                        <a16:creationId xmlns:a16="http://schemas.microsoft.com/office/drawing/2014/main" id="{EA2124D5-B5A6-4D1B-8AF3-459BDA5A02D5}"/>
                      </a:ext>
                    </a:extLst>
                  </p:cNvPr>
                  <p:cNvSpPr/>
                  <p:nvPr/>
                </p:nvSpPr>
                <p:spPr>
                  <a:xfrm>
                    <a:off x="5455826" y="2532149"/>
                    <a:ext cx="138711" cy="34649"/>
                  </a:xfrm>
                  <a:custGeom>
                    <a:avLst/>
                    <a:gdLst>
                      <a:gd name="connsiteX0" fmla="*/ 69356 w 138711"/>
                      <a:gd name="connsiteY0" fmla="*/ 34650 h 34649"/>
                      <a:gd name="connsiteX1" fmla="*/ 0 w 138711"/>
                      <a:gd name="connsiteY1" fmla="*/ 6580 h 34649"/>
                      <a:gd name="connsiteX2" fmla="*/ 6580 w 138711"/>
                      <a:gd name="connsiteY2" fmla="*/ 0 h 34649"/>
                      <a:gd name="connsiteX3" fmla="*/ 13159 w 138711"/>
                      <a:gd name="connsiteY3" fmla="*/ 6580 h 34649"/>
                      <a:gd name="connsiteX4" fmla="*/ 69356 w 138711"/>
                      <a:gd name="connsiteY4" fmla="*/ 21472 h 34649"/>
                      <a:gd name="connsiteX5" fmla="*/ 125553 w 138711"/>
                      <a:gd name="connsiteY5" fmla="*/ 6580 h 34649"/>
                      <a:gd name="connsiteX6" fmla="*/ 132132 w 138711"/>
                      <a:gd name="connsiteY6" fmla="*/ 0 h 34649"/>
                      <a:gd name="connsiteX7" fmla="*/ 138712 w 138711"/>
                      <a:gd name="connsiteY7" fmla="*/ 6580 h 34649"/>
                      <a:gd name="connsiteX8" fmla="*/ 69356 w 138711"/>
                      <a:gd name="connsiteY8" fmla="*/ 34650 h 34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11" h="34649">
                        <a:moveTo>
                          <a:pt x="69356" y="34650"/>
                        </a:moveTo>
                        <a:cubicBezTo>
                          <a:pt x="35955" y="34650"/>
                          <a:pt x="0" y="25871"/>
                          <a:pt x="0" y="6580"/>
                        </a:cubicBezTo>
                        <a:cubicBezTo>
                          <a:pt x="0" y="2945"/>
                          <a:pt x="2945" y="0"/>
                          <a:pt x="6580" y="0"/>
                        </a:cubicBezTo>
                        <a:cubicBezTo>
                          <a:pt x="10214" y="0"/>
                          <a:pt x="13159" y="2945"/>
                          <a:pt x="13159" y="6580"/>
                        </a:cubicBezTo>
                        <a:cubicBezTo>
                          <a:pt x="13159" y="10904"/>
                          <a:pt x="32842" y="21472"/>
                          <a:pt x="69356" y="21472"/>
                        </a:cubicBezTo>
                        <a:cubicBezTo>
                          <a:pt x="105851" y="21472"/>
                          <a:pt x="125553" y="10904"/>
                          <a:pt x="125553" y="6580"/>
                        </a:cubicBezTo>
                        <a:cubicBezTo>
                          <a:pt x="125553" y="2945"/>
                          <a:pt x="128498" y="0"/>
                          <a:pt x="132132" y="0"/>
                        </a:cubicBezTo>
                        <a:cubicBezTo>
                          <a:pt x="135767" y="0"/>
                          <a:pt x="138712" y="2945"/>
                          <a:pt x="138712" y="6580"/>
                        </a:cubicBezTo>
                        <a:cubicBezTo>
                          <a:pt x="138712" y="25871"/>
                          <a:pt x="102757" y="34650"/>
                          <a:pt x="69356" y="34650"/>
                        </a:cubicBezTo>
                        <a:close/>
                      </a:path>
                    </a:pathLst>
                  </a:custGeom>
                  <a:solidFill>
                    <a:schemeClr val="accent1"/>
                  </a:solidFill>
                  <a:ln w="1863" cap="flat">
                    <a:noFill/>
                    <a:prstDash val="solid"/>
                    <a:miter/>
                  </a:ln>
                </p:spPr>
                <p:txBody>
                  <a:bodyPr rtlCol="0" anchor="ctr"/>
                  <a:lstStyle/>
                  <a:p>
                    <a:endParaRPr lang="en-GB" dirty="0"/>
                  </a:p>
                </p:txBody>
              </p:sp>
            </p:grpSp>
          </p:grpSp>
          <p:sp>
            <p:nvSpPr>
              <p:cNvPr id="201" name="Freihandform: Form 1270">
                <a:extLst>
                  <a:ext uri="{FF2B5EF4-FFF2-40B4-BE49-F238E27FC236}">
                    <a16:creationId xmlns:a16="http://schemas.microsoft.com/office/drawing/2014/main" id="{FCCF4840-5E12-4417-9A6A-4A16C7CF2663}"/>
                  </a:ext>
                </a:extLst>
              </p:cNvPr>
              <p:cNvSpPr/>
              <p:nvPr/>
            </p:nvSpPr>
            <p:spPr>
              <a:xfrm>
                <a:off x="5638581" y="2762858"/>
                <a:ext cx="113269" cy="128744"/>
              </a:xfrm>
              <a:custGeom>
                <a:avLst/>
                <a:gdLst>
                  <a:gd name="connsiteX0" fmla="*/ 56644 w 113269"/>
                  <a:gd name="connsiteY0" fmla="*/ 128744 h 128744"/>
                  <a:gd name="connsiteX1" fmla="*/ 53345 w 113269"/>
                  <a:gd name="connsiteY1" fmla="*/ 127869 h 128744"/>
                  <a:gd name="connsiteX2" fmla="*/ 3299 w 113269"/>
                  <a:gd name="connsiteY2" fmla="*/ 98978 h 128744"/>
                  <a:gd name="connsiteX3" fmla="*/ 0 w 113269"/>
                  <a:gd name="connsiteY3" fmla="*/ 93274 h 128744"/>
                  <a:gd name="connsiteX4" fmla="*/ 0 w 113269"/>
                  <a:gd name="connsiteY4" fmla="*/ 35493 h 128744"/>
                  <a:gd name="connsiteX5" fmla="*/ 3299 w 113269"/>
                  <a:gd name="connsiteY5" fmla="*/ 29790 h 128744"/>
                  <a:gd name="connsiteX6" fmla="*/ 53345 w 113269"/>
                  <a:gd name="connsiteY6" fmla="*/ 881 h 128744"/>
                  <a:gd name="connsiteX7" fmla="*/ 59925 w 113269"/>
                  <a:gd name="connsiteY7" fmla="*/ 881 h 128744"/>
                  <a:gd name="connsiteX8" fmla="*/ 109970 w 113269"/>
                  <a:gd name="connsiteY8" fmla="*/ 29771 h 128744"/>
                  <a:gd name="connsiteX9" fmla="*/ 113269 w 113269"/>
                  <a:gd name="connsiteY9" fmla="*/ 35475 h 128744"/>
                  <a:gd name="connsiteX10" fmla="*/ 113269 w 113269"/>
                  <a:gd name="connsiteY10" fmla="*/ 93256 h 128744"/>
                  <a:gd name="connsiteX11" fmla="*/ 109970 w 113269"/>
                  <a:gd name="connsiteY11" fmla="*/ 98959 h 128744"/>
                  <a:gd name="connsiteX12" fmla="*/ 59925 w 113269"/>
                  <a:gd name="connsiteY12" fmla="*/ 127850 h 128744"/>
                  <a:gd name="connsiteX13" fmla="*/ 56644 w 113269"/>
                  <a:gd name="connsiteY13" fmla="*/ 128744 h 128744"/>
                  <a:gd name="connsiteX14" fmla="*/ 13178 w 113269"/>
                  <a:gd name="connsiteY14" fmla="*/ 89453 h 128744"/>
                  <a:gd name="connsiteX15" fmla="*/ 56644 w 113269"/>
                  <a:gd name="connsiteY15" fmla="*/ 114542 h 128744"/>
                  <a:gd name="connsiteX16" fmla="*/ 100110 w 113269"/>
                  <a:gd name="connsiteY16" fmla="*/ 89453 h 128744"/>
                  <a:gd name="connsiteX17" fmla="*/ 100110 w 113269"/>
                  <a:gd name="connsiteY17" fmla="*/ 39277 h 128744"/>
                  <a:gd name="connsiteX18" fmla="*/ 56644 w 113269"/>
                  <a:gd name="connsiteY18" fmla="*/ 14189 h 128744"/>
                  <a:gd name="connsiteX19" fmla="*/ 13178 w 113269"/>
                  <a:gd name="connsiteY19" fmla="*/ 39277 h 128744"/>
                  <a:gd name="connsiteX20" fmla="*/ 13178 w 113269"/>
                  <a:gd name="connsiteY20" fmla="*/ 89453 h 128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269" h="128744">
                    <a:moveTo>
                      <a:pt x="56644" y="128744"/>
                    </a:moveTo>
                    <a:cubicBezTo>
                      <a:pt x="55507" y="128744"/>
                      <a:pt x="54370" y="128446"/>
                      <a:pt x="53345" y="127869"/>
                    </a:cubicBezTo>
                    <a:lnTo>
                      <a:pt x="3299" y="98978"/>
                    </a:lnTo>
                    <a:cubicBezTo>
                      <a:pt x="1267" y="97804"/>
                      <a:pt x="0" y="95623"/>
                      <a:pt x="0" y="93274"/>
                    </a:cubicBezTo>
                    <a:lnTo>
                      <a:pt x="0" y="35493"/>
                    </a:lnTo>
                    <a:cubicBezTo>
                      <a:pt x="0" y="33145"/>
                      <a:pt x="1249" y="30964"/>
                      <a:pt x="3299" y="29790"/>
                    </a:cubicBezTo>
                    <a:lnTo>
                      <a:pt x="53345" y="881"/>
                    </a:lnTo>
                    <a:cubicBezTo>
                      <a:pt x="55377" y="-294"/>
                      <a:pt x="57893" y="-294"/>
                      <a:pt x="59925" y="881"/>
                    </a:cubicBezTo>
                    <a:lnTo>
                      <a:pt x="109970" y="29771"/>
                    </a:lnTo>
                    <a:cubicBezTo>
                      <a:pt x="112002" y="30945"/>
                      <a:pt x="113269" y="33126"/>
                      <a:pt x="113269" y="35475"/>
                    </a:cubicBezTo>
                    <a:lnTo>
                      <a:pt x="113269" y="93256"/>
                    </a:lnTo>
                    <a:cubicBezTo>
                      <a:pt x="113269" y="95604"/>
                      <a:pt x="112021" y="97785"/>
                      <a:pt x="109970" y="98959"/>
                    </a:cubicBezTo>
                    <a:lnTo>
                      <a:pt x="59925" y="127850"/>
                    </a:lnTo>
                    <a:cubicBezTo>
                      <a:pt x="58918" y="128446"/>
                      <a:pt x="57781" y="128744"/>
                      <a:pt x="56644" y="128744"/>
                    </a:cubicBezTo>
                    <a:close/>
                    <a:moveTo>
                      <a:pt x="13178" y="89453"/>
                    </a:moveTo>
                    <a:lnTo>
                      <a:pt x="56644" y="114542"/>
                    </a:lnTo>
                    <a:lnTo>
                      <a:pt x="100110" y="89453"/>
                    </a:lnTo>
                    <a:lnTo>
                      <a:pt x="100110" y="39277"/>
                    </a:lnTo>
                    <a:lnTo>
                      <a:pt x="56644" y="14189"/>
                    </a:lnTo>
                    <a:lnTo>
                      <a:pt x="13178" y="39277"/>
                    </a:lnTo>
                    <a:lnTo>
                      <a:pt x="13178" y="89453"/>
                    </a:lnTo>
                    <a:close/>
                  </a:path>
                </a:pathLst>
              </a:custGeom>
              <a:solidFill>
                <a:schemeClr val="accent1"/>
              </a:solidFill>
              <a:ln w="1863" cap="flat">
                <a:noFill/>
                <a:prstDash val="solid"/>
                <a:miter/>
              </a:ln>
            </p:spPr>
            <p:txBody>
              <a:bodyPr rtlCol="0" anchor="ctr"/>
              <a:lstStyle/>
              <a:p>
                <a:endParaRPr lang="en-GB" dirty="0"/>
              </a:p>
            </p:txBody>
          </p:sp>
          <p:sp>
            <p:nvSpPr>
              <p:cNvPr id="202" name="Freihandform: Form 1271">
                <a:extLst>
                  <a:ext uri="{FF2B5EF4-FFF2-40B4-BE49-F238E27FC236}">
                    <a16:creationId xmlns:a16="http://schemas.microsoft.com/office/drawing/2014/main" id="{C7AD5A4A-8867-468A-A159-61CA2C94A19A}"/>
                  </a:ext>
                </a:extLst>
              </p:cNvPr>
              <p:cNvSpPr/>
              <p:nvPr/>
            </p:nvSpPr>
            <p:spPr>
              <a:xfrm>
                <a:off x="5468444" y="2762877"/>
                <a:ext cx="113269" cy="128725"/>
              </a:xfrm>
              <a:custGeom>
                <a:avLst/>
                <a:gdLst>
                  <a:gd name="connsiteX0" fmla="*/ 56644 w 113269"/>
                  <a:gd name="connsiteY0" fmla="*/ 128726 h 128725"/>
                  <a:gd name="connsiteX1" fmla="*/ 53345 w 113269"/>
                  <a:gd name="connsiteY1" fmla="*/ 127850 h 128725"/>
                  <a:gd name="connsiteX2" fmla="*/ 3299 w 113269"/>
                  <a:gd name="connsiteY2" fmla="*/ 98959 h 128725"/>
                  <a:gd name="connsiteX3" fmla="*/ 0 w 113269"/>
                  <a:gd name="connsiteY3" fmla="*/ 93256 h 128725"/>
                  <a:gd name="connsiteX4" fmla="*/ 0 w 113269"/>
                  <a:gd name="connsiteY4" fmla="*/ 35475 h 128725"/>
                  <a:gd name="connsiteX5" fmla="*/ 3299 w 113269"/>
                  <a:gd name="connsiteY5" fmla="*/ 29771 h 128725"/>
                  <a:gd name="connsiteX6" fmla="*/ 53345 w 113269"/>
                  <a:gd name="connsiteY6" fmla="*/ 881 h 128725"/>
                  <a:gd name="connsiteX7" fmla="*/ 59925 w 113269"/>
                  <a:gd name="connsiteY7" fmla="*/ 881 h 128725"/>
                  <a:gd name="connsiteX8" fmla="*/ 109970 w 113269"/>
                  <a:gd name="connsiteY8" fmla="*/ 29771 h 128725"/>
                  <a:gd name="connsiteX9" fmla="*/ 113269 w 113269"/>
                  <a:gd name="connsiteY9" fmla="*/ 35475 h 128725"/>
                  <a:gd name="connsiteX10" fmla="*/ 113269 w 113269"/>
                  <a:gd name="connsiteY10" fmla="*/ 93256 h 128725"/>
                  <a:gd name="connsiteX11" fmla="*/ 109970 w 113269"/>
                  <a:gd name="connsiteY11" fmla="*/ 98959 h 128725"/>
                  <a:gd name="connsiteX12" fmla="*/ 59925 w 113269"/>
                  <a:gd name="connsiteY12" fmla="*/ 127850 h 128725"/>
                  <a:gd name="connsiteX13" fmla="*/ 56644 w 113269"/>
                  <a:gd name="connsiteY13" fmla="*/ 128726 h 128725"/>
                  <a:gd name="connsiteX14" fmla="*/ 13178 w 113269"/>
                  <a:gd name="connsiteY14" fmla="*/ 89435 h 128725"/>
                  <a:gd name="connsiteX15" fmla="*/ 56644 w 113269"/>
                  <a:gd name="connsiteY15" fmla="*/ 114523 h 128725"/>
                  <a:gd name="connsiteX16" fmla="*/ 100092 w 113269"/>
                  <a:gd name="connsiteY16" fmla="*/ 89435 h 128725"/>
                  <a:gd name="connsiteX17" fmla="*/ 100092 w 113269"/>
                  <a:gd name="connsiteY17" fmla="*/ 39258 h 128725"/>
                  <a:gd name="connsiteX18" fmla="*/ 56625 w 113269"/>
                  <a:gd name="connsiteY18" fmla="*/ 14170 h 128725"/>
                  <a:gd name="connsiteX19" fmla="*/ 13159 w 113269"/>
                  <a:gd name="connsiteY19" fmla="*/ 39258 h 128725"/>
                  <a:gd name="connsiteX20" fmla="*/ 13159 w 113269"/>
                  <a:gd name="connsiteY20" fmla="*/ 89435 h 128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269" h="128725">
                    <a:moveTo>
                      <a:pt x="56644" y="128726"/>
                    </a:moveTo>
                    <a:cubicBezTo>
                      <a:pt x="55507" y="128726"/>
                      <a:pt x="54370" y="128428"/>
                      <a:pt x="53345" y="127850"/>
                    </a:cubicBezTo>
                    <a:lnTo>
                      <a:pt x="3299" y="98959"/>
                    </a:lnTo>
                    <a:cubicBezTo>
                      <a:pt x="1267" y="97785"/>
                      <a:pt x="0" y="95604"/>
                      <a:pt x="0" y="93256"/>
                    </a:cubicBezTo>
                    <a:lnTo>
                      <a:pt x="0" y="35475"/>
                    </a:lnTo>
                    <a:cubicBezTo>
                      <a:pt x="0" y="33126"/>
                      <a:pt x="1249" y="30945"/>
                      <a:pt x="3299" y="29771"/>
                    </a:cubicBezTo>
                    <a:lnTo>
                      <a:pt x="53345" y="881"/>
                    </a:lnTo>
                    <a:cubicBezTo>
                      <a:pt x="55377" y="-294"/>
                      <a:pt x="57893" y="-294"/>
                      <a:pt x="59925" y="881"/>
                    </a:cubicBezTo>
                    <a:lnTo>
                      <a:pt x="109970" y="29771"/>
                    </a:lnTo>
                    <a:cubicBezTo>
                      <a:pt x="112002" y="30945"/>
                      <a:pt x="113269" y="33126"/>
                      <a:pt x="113269" y="35475"/>
                    </a:cubicBezTo>
                    <a:lnTo>
                      <a:pt x="113269" y="93256"/>
                    </a:lnTo>
                    <a:cubicBezTo>
                      <a:pt x="113269" y="95604"/>
                      <a:pt x="112021" y="97785"/>
                      <a:pt x="109970" y="98959"/>
                    </a:cubicBezTo>
                    <a:lnTo>
                      <a:pt x="59925" y="127850"/>
                    </a:lnTo>
                    <a:cubicBezTo>
                      <a:pt x="58918" y="128428"/>
                      <a:pt x="57781" y="128726"/>
                      <a:pt x="56644" y="128726"/>
                    </a:cubicBezTo>
                    <a:close/>
                    <a:moveTo>
                      <a:pt x="13178" y="89435"/>
                    </a:moveTo>
                    <a:lnTo>
                      <a:pt x="56644" y="114523"/>
                    </a:lnTo>
                    <a:lnTo>
                      <a:pt x="100092" y="89435"/>
                    </a:lnTo>
                    <a:lnTo>
                      <a:pt x="100092" y="39258"/>
                    </a:lnTo>
                    <a:lnTo>
                      <a:pt x="56625" y="14170"/>
                    </a:lnTo>
                    <a:lnTo>
                      <a:pt x="13159" y="39258"/>
                    </a:lnTo>
                    <a:lnTo>
                      <a:pt x="13159" y="89435"/>
                    </a:lnTo>
                    <a:close/>
                  </a:path>
                </a:pathLst>
              </a:custGeom>
              <a:solidFill>
                <a:schemeClr val="accent1"/>
              </a:solidFill>
              <a:ln w="1863" cap="flat">
                <a:noFill/>
                <a:prstDash val="solid"/>
                <a:miter/>
              </a:ln>
            </p:spPr>
            <p:txBody>
              <a:bodyPr rtlCol="0" anchor="ctr"/>
              <a:lstStyle/>
              <a:p>
                <a:endParaRPr lang="en-GB" dirty="0"/>
              </a:p>
            </p:txBody>
          </p:sp>
          <p:sp>
            <p:nvSpPr>
              <p:cNvPr id="203" name="Freihandform: Form 1272">
                <a:extLst>
                  <a:ext uri="{FF2B5EF4-FFF2-40B4-BE49-F238E27FC236}">
                    <a16:creationId xmlns:a16="http://schemas.microsoft.com/office/drawing/2014/main" id="{6319F219-3E34-472A-A443-DD09984A93CB}"/>
                  </a:ext>
                </a:extLst>
              </p:cNvPr>
              <p:cNvSpPr/>
              <p:nvPr/>
            </p:nvSpPr>
            <p:spPr>
              <a:xfrm>
                <a:off x="5296741" y="2762858"/>
                <a:ext cx="113288" cy="128744"/>
              </a:xfrm>
              <a:custGeom>
                <a:avLst/>
                <a:gdLst>
                  <a:gd name="connsiteX0" fmla="*/ 56644 w 113288"/>
                  <a:gd name="connsiteY0" fmla="*/ 128744 h 128744"/>
                  <a:gd name="connsiteX1" fmla="*/ 53345 w 113288"/>
                  <a:gd name="connsiteY1" fmla="*/ 127869 h 128744"/>
                  <a:gd name="connsiteX2" fmla="*/ 3299 w 113288"/>
                  <a:gd name="connsiteY2" fmla="*/ 98978 h 128744"/>
                  <a:gd name="connsiteX3" fmla="*/ 0 w 113288"/>
                  <a:gd name="connsiteY3" fmla="*/ 93274 h 128744"/>
                  <a:gd name="connsiteX4" fmla="*/ 0 w 113288"/>
                  <a:gd name="connsiteY4" fmla="*/ 35493 h 128744"/>
                  <a:gd name="connsiteX5" fmla="*/ 3299 w 113288"/>
                  <a:gd name="connsiteY5" fmla="*/ 29790 h 128744"/>
                  <a:gd name="connsiteX6" fmla="*/ 53364 w 113288"/>
                  <a:gd name="connsiteY6" fmla="*/ 881 h 128744"/>
                  <a:gd name="connsiteX7" fmla="*/ 59943 w 113288"/>
                  <a:gd name="connsiteY7" fmla="*/ 881 h 128744"/>
                  <a:gd name="connsiteX8" fmla="*/ 109989 w 113288"/>
                  <a:gd name="connsiteY8" fmla="*/ 29771 h 128744"/>
                  <a:gd name="connsiteX9" fmla="*/ 113288 w 113288"/>
                  <a:gd name="connsiteY9" fmla="*/ 35475 h 128744"/>
                  <a:gd name="connsiteX10" fmla="*/ 113288 w 113288"/>
                  <a:gd name="connsiteY10" fmla="*/ 93256 h 128744"/>
                  <a:gd name="connsiteX11" fmla="*/ 109989 w 113288"/>
                  <a:gd name="connsiteY11" fmla="*/ 98959 h 128744"/>
                  <a:gd name="connsiteX12" fmla="*/ 59943 w 113288"/>
                  <a:gd name="connsiteY12" fmla="*/ 127850 h 128744"/>
                  <a:gd name="connsiteX13" fmla="*/ 56644 w 113288"/>
                  <a:gd name="connsiteY13" fmla="*/ 128744 h 128744"/>
                  <a:gd name="connsiteX14" fmla="*/ 13196 w 113288"/>
                  <a:gd name="connsiteY14" fmla="*/ 89453 h 128744"/>
                  <a:gd name="connsiteX15" fmla="*/ 56663 w 113288"/>
                  <a:gd name="connsiteY15" fmla="*/ 114542 h 128744"/>
                  <a:gd name="connsiteX16" fmla="*/ 100129 w 113288"/>
                  <a:gd name="connsiteY16" fmla="*/ 89453 h 128744"/>
                  <a:gd name="connsiteX17" fmla="*/ 100129 w 113288"/>
                  <a:gd name="connsiteY17" fmla="*/ 39277 h 128744"/>
                  <a:gd name="connsiteX18" fmla="*/ 56663 w 113288"/>
                  <a:gd name="connsiteY18" fmla="*/ 14189 h 128744"/>
                  <a:gd name="connsiteX19" fmla="*/ 13196 w 113288"/>
                  <a:gd name="connsiteY19" fmla="*/ 39277 h 128744"/>
                  <a:gd name="connsiteX20" fmla="*/ 13196 w 113288"/>
                  <a:gd name="connsiteY20" fmla="*/ 89453 h 128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3288" h="128744">
                    <a:moveTo>
                      <a:pt x="56644" y="128744"/>
                    </a:moveTo>
                    <a:cubicBezTo>
                      <a:pt x="55507" y="128744"/>
                      <a:pt x="54370" y="128446"/>
                      <a:pt x="53345" y="127869"/>
                    </a:cubicBezTo>
                    <a:lnTo>
                      <a:pt x="3299" y="98978"/>
                    </a:lnTo>
                    <a:cubicBezTo>
                      <a:pt x="1267" y="97804"/>
                      <a:pt x="0" y="95623"/>
                      <a:pt x="0" y="93274"/>
                    </a:cubicBezTo>
                    <a:lnTo>
                      <a:pt x="0" y="35493"/>
                    </a:lnTo>
                    <a:cubicBezTo>
                      <a:pt x="0" y="33145"/>
                      <a:pt x="1249" y="30964"/>
                      <a:pt x="3299" y="29790"/>
                    </a:cubicBezTo>
                    <a:lnTo>
                      <a:pt x="53364" y="881"/>
                    </a:lnTo>
                    <a:cubicBezTo>
                      <a:pt x="55395" y="-294"/>
                      <a:pt x="57911" y="-294"/>
                      <a:pt x="59943" y="881"/>
                    </a:cubicBezTo>
                    <a:lnTo>
                      <a:pt x="109989" y="29771"/>
                    </a:lnTo>
                    <a:cubicBezTo>
                      <a:pt x="112021" y="30945"/>
                      <a:pt x="113288" y="33126"/>
                      <a:pt x="113288" y="35475"/>
                    </a:cubicBezTo>
                    <a:lnTo>
                      <a:pt x="113288" y="93256"/>
                    </a:lnTo>
                    <a:cubicBezTo>
                      <a:pt x="113288" y="95604"/>
                      <a:pt x="112039" y="97785"/>
                      <a:pt x="109989" y="98959"/>
                    </a:cubicBezTo>
                    <a:lnTo>
                      <a:pt x="59943" y="127850"/>
                    </a:lnTo>
                    <a:cubicBezTo>
                      <a:pt x="58918" y="128446"/>
                      <a:pt x="57781" y="128744"/>
                      <a:pt x="56644" y="128744"/>
                    </a:cubicBezTo>
                    <a:close/>
                    <a:moveTo>
                      <a:pt x="13196" y="89453"/>
                    </a:moveTo>
                    <a:lnTo>
                      <a:pt x="56663" y="114542"/>
                    </a:lnTo>
                    <a:lnTo>
                      <a:pt x="100129" y="89453"/>
                    </a:lnTo>
                    <a:lnTo>
                      <a:pt x="100129" y="39277"/>
                    </a:lnTo>
                    <a:lnTo>
                      <a:pt x="56663" y="14189"/>
                    </a:lnTo>
                    <a:lnTo>
                      <a:pt x="13196" y="39277"/>
                    </a:lnTo>
                    <a:lnTo>
                      <a:pt x="13196" y="89453"/>
                    </a:lnTo>
                    <a:close/>
                  </a:path>
                </a:pathLst>
              </a:custGeom>
              <a:solidFill>
                <a:schemeClr val="accent1"/>
              </a:solidFill>
              <a:ln w="1863" cap="flat">
                <a:noFill/>
                <a:prstDash val="solid"/>
                <a:miter/>
              </a:ln>
            </p:spPr>
            <p:txBody>
              <a:bodyPr rtlCol="0" anchor="ctr"/>
              <a:lstStyle/>
              <a:p>
                <a:endParaRPr lang="en-GB" dirty="0"/>
              </a:p>
            </p:txBody>
          </p:sp>
          <p:sp>
            <p:nvSpPr>
              <p:cNvPr id="204" name="Freihandform: Form 1273">
                <a:extLst>
                  <a:ext uri="{FF2B5EF4-FFF2-40B4-BE49-F238E27FC236}">
                    <a16:creationId xmlns:a16="http://schemas.microsoft.com/office/drawing/2014/main" id="{42203005-04A5-4089-8CD5-B878DE0FBD5E}"/>
                  </a:ext>
                </a:extLst>
              </p:cNvPr>
              <p:cNvSpPr/>
              <p:nvPr/>
            </p:nvSpPr>
            <p:spPr>
              <a:xfrm>
                <a:off x="5505443" y="2805453"/>
                <a:ext cx="39514" cy="26336"/>
              </a:xfrm>
              <a:custGeom>
                <a:avLst/>
                <a:gdLst>
                  <a:gd name="connsiteX0" fmla="*/ 32898 w 39514"/>
                  <a:gd name="connsiteY0" fmla="*/ 26337 h 26336"/>
                  <a:gd name="connsiteX1" fmla="*/ 26318 w 39514"/>
                  <a:gd name="connsiteY1" fmla="*/ 19757 h 26336"/>
                  <a:gd name="connsiteX2" fmla="*/ 19739 w 39514"/>
                  <a:gd name="connsiteY2" fmla="*/ 13178 h 26336"/>
                  <a:gd name="connsiteX3" fmla="*/ 13159 w 39514"/>
                  <a:gd name="connsiteY3" fmla="*/ 19757 h 26336"/>
                  <a:gd name="connsiteX4" fmla="*/ 6580 w 39514"/>
                  <a:gd name="connsiteY4" fmla="*/ 26337 h 26336"/>
                  <a:gd name="connsiteX5" fmla="*/ 0 w 39514"/>
                  <a:gd name="connsiteY5" fmla="*/ 19757 h 26336"/>
                  <a:gd name="connsiteX6" fmla="*/ 19757 w 39514"/>
                  <a:gd name="connsiteY6" fmla="*/ 0 h 26336"/>
                  <a:gd name="connsiteX7" fmla="*/ 39515 w 39514"/>
                  <a:gd name="connsiteY7" fmla="*/ 19757 h 26336"/>
                  <a:gd name="connsiteX8" fmla="*/ 32898 w 39514"/>
                  <a:gd name="connsiteY8" fmla="*/ 26337 h 2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14" h="26336">
                    <a:moveTo>
                      <a:pt x="32898" y="26337"/>
                    </a:moveTo>
                    <a:cubicBezTo>
                      <a:pt x="29263" y="26337"/>
                      <a:pt x="26318" y="23392"/>
                      <a:pt x="26318" y="19757"/>
                    </a:cubicBezTo>
                    <a:cubicBezTo>
                      <a:pt x="26318" y="16123"/>
                      <a:pt x="23355" y="13178"/>
                      <a:pt x="19739" y="13178"/>
                    </a:cubicBezTo>
                    <a:cubicBezTo>
                      <a:pt x="16104" y="13178"/>
                      <a:pt x="13159" y="16141"/>
                      <a:pt x="13159" y="19757"/>
                    </a:cubicBezTo>
                    <a:cubicBezTo>
                      <a:pt x="13159" y="23392"/>
                      <a:pt x="10214" y="26337"/>
                      <a:pt x="6580" y="26337"/>
                    </a:cubicBezTo>
                    <a:cubicBezTo>
                      <a:pt x="2945" y="26337"/>
                      <a:pt x="0" y="23392"/>
                      <a:pt x="0" y="19757"/>
                    </a:cubicBezTo>
                    <a:cubicBezTo>
                      <a:pt x="0" y="8854"/>
                      <a:pt x="8872" y="0"/>
                      <a:pt x="19757" y="0"/>
                    </a:cubicBezTo>
                    <a:cubicBezTo>
                      <a:pt x="30643" y="0"/>
                      <a:pt x="39515" y="8872"/>
                      <a:pt x="39515" y="19757"/>
                    </a:cubicBezTo>
                    <a:cubicBezTo>
                      <a:pt x="39496" y="23373"/>
                      <a:pt x="36551" y="26337"/>
                      <a:pt x="32898" y="26337"/>
                    </a:cubicBezTo>
                    <a:close/>
                  </a:path>
                </a:pathLst>
              </a:custGeom>
              <a:solidFill>
                <a:schemeClr val="accent1"/>
              </a:solidFill>
              <a:ln w="1863" cap="flat">
                <a:noFill/>
                <a:prstDash val="solid"/>
                <a:miter/>
              </a:ln>
            </p:spPr>
            <p:txBody>
              <a:bodyPr rtlCol="0" anchor="ctr"/>
              <a:lstStyle/>
              <a:p>
                <a:endParaRPr lang="en-GB" dirty="0"/>
              </a:p>
            </p:txBody>
          </p:sp>
          <p:sp>
            <p:nvSpPr>
              <p:cNvPr id="205" name="Freihandform: Form 1274">
                <a:extLst>
                  <a:ext uri="{FF2B5EF4-FFF2-40B4-BE49-F238E27FC236}">
                    <a16:creationId xmlns:a16="http://schemas.microsoft.com/office/drawing/2014/main" id="{6B334F78-403D-468C-A5B4-DB2DAD9FCFD4}"/>
                  </a:ext>
                </a:extLst>
              </p:cNvPr>
              <p:cNvSpPr/>
              <p:nvPr/>
            </p:nvSpPr>
            <p:spPr>
              <a:xfrm>
                <a:off x="5334169" y="2805453"/>
                <a:ext cx="39514" cy="26336"/>
              </a:xfrm>
              <a:custGeom>
                <a:avLst/>
                <a:gdLst>
                  <a:gd name="connsiteX0" fmla="*/ 32898 w 39514"/>
                  <a:gd name="connsiteY0" fmla="*/ 26337 h 26336"/>
                  <a:gd name="connsiteX1" fmla="*/ 26318 w 39514"/>
                  <a:gd name="connsiteY1" fmla="*/ 19757 h 26336"/>
                  <a:gd name="connsiteX2" fmla="*/ 19739 w 39514"/>
                  <a:gd name="connsiteY2" fmla="*/ 13178 h 26336"/>
                  <a:gd name="connsiteX3" fmla="*/ 13159 w 39514"/>
                  <a:gd name="connsiteY3" fmla="*/ 19757 h 26336"/>
                  <a:gd name="connsiteX4" fmla="*/ 6580 w 39514"/>
                  <a:gd name="connsiteY4" fmla="*/ 26337 h 26336"/>
                  <a:gd name="connsiteX5" fmla="*/ 0 w 39514"/>
                  <a:gd name="connsiteY5" fmla="*/ 19757 h 26336"/>
                  <a:gd name="connsiteX6" fmla="*/ 19757 w 39514"/>
                  <a:gd name="connsiteY6" fmla="*/ 0 h 26336"/>
                  <a:gd name="connsiteX7" fmla="*/ 39515 w 39514"/>
                  <a:gd name="connsiteY7" fmla="*/ 19757 h 26336"/>
                  <a:gd name="connsiteX8" fmla="*/ 32898 w 39514"/>
                  <a:gd name="connsiteY8" fmla="*/ 26337 h 2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14" h="26336">
                    <a:moveTo>
                      <a:pt x="32898" y="26337"/>
                    </a:moveTo>
                    <a:cubicBezTo>
                      <a:pt x="29263" y="26337"/>
                      <a:pt x="26318" y="23392"/>
                      <a:pt x="26318" y="19757"/>
                    </a:cubicBezTo>
                    <a:cubicBezTo>
                      <a:pt x="26318" y="16123"/>
                      <a:pt x="23355" y="13178"/>
                      <a:pt x="19739" y="13178"/>
                    </a:cubicBezTo>
                    <a:cubicBezTo>
                      <a:pt x="16104" y="13178"/>
                      <a:pt x="13159" y="16141"/>
                      <a:pt x="13159" y="19757"/>
                    </a:cubicBezTo>
                    <a:cubicBezTo>
                      <a:pt x="13159" y="23392"/>
                      <a:pt x="10214" y="26337"/>
                      <a:pt x="6580" y="26337"/>
                    </a:cubicBezTo>
                    <a:cubicBezTo>
                      <a:pt x="2945" y="26337"/>
                      <a:pt x="0" y="23392"/>
                      <a:pt x="0" y="19757"/>
                    </a:cubicBezTo>
                    <a:cubicBezTo>
                      <a:pt x="0" y="8854"/>
                      <a:pt x="8872" y="0"/>
                      <a:pt x="19757" y="0"/>
                    </a:cubicBezTo>
                    <a:cubicBezTo>
                      <a:pt x="30643" y="0"/>
                      <a:pt x="39515" y="8872"/>
                      <a:pt x="39515" y="19757"/>
                    </a:cubicBezTo>
                    <a:cubicBezTo>
                      <a:pt x="39477" y="23373"/>
                      <a:pt x="36533" y="26337"/>
                      <a:pt x="32898" y="26337"/>
                    </a:cubicBezTo>
                    <a:close/>
                  </a:path>
                </a:pathLst>
              </a:custGeom>
              <a:solidFill>
                <a:schemeClr val="accent1"/>
              </a:solidFill>
              <a:ln w="1863" cap="flat">
                <a:noFill/>
                <a:prstDash val="solid"/>
                <a:miter/>
              </a:ln>
            </p:spPr>
            <p:txBody>
              <a:bodyPr rtlCol="0" anchor="ctr"/>
              <a:lstStyle/>
              <a:p>
                <a:endParaRPr lang="en-GB" dirty="0"/>
              </a:p>
            </p:txBody>
          </p:sp>
          <p:sp>
            <p:nvSpPr>
              <p:cNvPr id="206" name="Freihandform: Form 1275">
                <a:extLst>
                  <a:ext uri="{FF2B5EF4-FFF2-40B4-BE49-F238E27FC236}">
                    <a16:creationId xmlns:a16="http://schemas.microsoft.com/office/drawing/2014/main" id="{D5D3D877-C2EF-4CE0-B897-E07449F92FFD}"/>
                  </a:ext>
                </a:extLst>
              </p:cNvPr>
              <p:cNvSpPr/>
              <p:nvPr/>
            </p:nvSpPr>
            <p:spPr>
              <a:xfrm>
                <a:off x="5676736" y="2805453"/>
                <a:ext cx="39514" cy="26336"/>
              </a:xfrm>
              <a:custGeom>
                <a:avLst/>
                <a:gdLst>
                  <a:gd name="connsiteX0" fmla="*/ 32898 w 39514"/>
                  <a:gd name="connsiteY0" fmla="*/ 26337 h 26336"/>
                  <a:gd name="connsiteX1" fmla="*/ 26318 w 39514"/>
                  <a:gd name="connsiteY1" fmla="*/ 19757 h 26336"/>
                  <a:gd name="connsiteX2" fmla="*/ 19739 w 39514"/>
                  <a:gd name="connsiteY2" fmla="*/ 13178 h 26336"/>
                  <a:gd name="connsiteX3" fmla="*/ 13159 w 39514"/>
                  <a:gd name="connsiteY3" fmla="*/ 19757 h 26336"/>
                  <a:gd name="connsiteX4" fmla="*/ 6580 w 39514"/>
                  <a:gd name="connsiteY4" fmla="*/ 26337 h 26336"/>
                  <a:gd name="connsiteX5" fmla="*/ 0 w 39514"/>
                  <a:gd name="connsiteY5" fmla="*/ 19757 h 26336"/>
                  <a:gd name="connsiteX6" fmla="*/ 19757 w 39514"/>
                  <a:gd name="connsiteY6" fmla="*/ 0 h 26336"/>
                  <a:gd name="connsiteX7" fmla="*/ 39515 w 39514"/>
                  <a:gd name="connsiteY7" fmla="*/ 19757 h 26336"/>
                  <a:gd name="connsiteX8" fmla="*/ 32898 w 39514"/>
                  <a:gd name="connsiteY8" fmla="*/ 26337 h 2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14" h="26336">
                    <a:moveTo>
                      <a:pt x="32898" y="26337"/>
                    </a:moveTo>
                    <a:cubicBezTo>
                      <a:pt x="29263" y="26337"/>
                      <a:pt x="26318" y="23392"/>
                      <a:pt x="26318" y="19757"/>
                    </a:cubicBezTo>
                    <a:cubicBezTo>
                      <a:pt x="26318" y="16123"/>
                      <a:pt x="23355" y="13178"/>
                      <a:pt x="19739" y="13178"/>
                    </a:cubicBezTo>
                    <a:cubicBezTo>
                      <a:pt x="16104" y="13178"/>
                      <a:pt x="13159" y="16141"/>
                      <a:pt x="13159" y="19757"/>
                    </a:cubicBezTo>
                    <a:cubicBezTo>
                      <a:pt x="13159" y="23392"/>
                      <a:pt x="10214" y="26337"/>
                      <a:pt x="6580" y="26337"/>
                    </a:cubicBezTo>
                    <a:cubicBezTo>
                      <a:pt x="2945" y="26337"/>
                      <a:pt x="0" y="23392"/>
                      <a:pt x="0" y="19757"/>
                    </a:cubicBezTo>
                    <a:cubicBezTo>
                      <a:pt x="0" y="8854"/>
                      <a:pt x="8872" y="0"/>
                      <a:pt x="19757" y="0"/>
                    </a:cubicBezTo>
                    <a:cubicBezTo>
                      <a:pt x="30661" y="0"/>
                      <a:pt x="39515" y="8872"/>
                      <a:pt x="39515" y="19757"/>
                    </a:cubicBezTo>
                    <a:cubicBezTo>
                      <a:pt x="39478" y="23373"/>
                      <a:pt x="36533" y="26337"/>
                      <a:pt x="32898" y="26337"/>
                    </a:cubicBezTo>
                    <a:close/>
                  </a:path>
                </a:pathLst>
              </a:custGeom>
              <a:solidFill>
                <a:schemeClr val="accent1"/>
              </a:solidFill>
              <a:ln w="1863" cap="flat">
                <a:noFill/>
                <a:prstDash val="solid"/>
                <a:miter/>
              </a:ln>
            </p:spPr>
            <p:txBody>
              <a:bodyPr rtlCol="0" anchor="ctr"/>
              <a:lstStyle/>
              <a:p>
                <a:endParaRPr lang="en-GB" dirty="0"/>
              </a:p>
            </p:txBody>
          </p:sp>
        </p:grpSp>
      </p:grpSp>
      <p:grpSp>
        <p:nvGrpSpPr>
          <p:cNvPr id="323" name="Group 322">
            <a:extLst>
              <a:ext uri="{FF2B5EF4-FFF2-40B4-BE49-F238E27FC236}">
                <a16:creationId xmlns:a16="http://schemas.microsoft.com/office/drawing/2014/main" id="{EA481382-D09E-C550-8A0E-50CC3E5D60B4}"/>
              </a:ext>
            </a:extLst>
          </p:cNvPr>
          <p:cNvGrpSpPr/>
          <p:nvPr/>
        </p:nvGrpSpPr>
        <p:grpSpPr>
          <a:xfrm>
            <a:off x="3695870" y="2391526"/>
            <a:ext cx="522965" cy="432000"/>
            <a:chOff x="3695870" y="2391526"/>
            <a:chExt cx="522965" cy="432000"/>
          </a:xfrm>
        </p:grpSpPr>
        <p:grpSp>
          <p:nvGrpSpPr>
            <p:cNvPr id="227" name="Grafik 318">
              <a:extLst>
                <a:ext uri="{FF2B5EF4-FFF2-40B4-BE49-F238E27FC236}">
                  <a16:creationId xmlns:a16="http://schemas.microsoft.com/office/drawing/2014/main" id="{0DB56A5C-19AC-46A1-BD14-0AC197FC7C6B}"/>
                </a:ext>
              </a:extLst>
            </p:cNvPr>
            <p:cNvGrpSpPr/>
            <p:nvPr/>
          </p:nvGrpSpPr>
          <p:grpSpPr>
            <a:xfrm>
              <a:off x="3974839" y="2391526"/>
              <a:ext cx="198294" cy="207652"/>
              <a:chOff x="7210896" y="2521804"/>
              <a:chExt cx="184861" cy="193585"/>
            </a:xfrm>
            <a:solidFill>
              <a:schemeClr val="accent1"/>
            </a:solidFill>
          </p:grpSpPr>
          <p:grpSp>
            <p:nvGrpSpPr>
              <p:cNvPr id="241" name="Grafik 318">
                <a:extLst>
                  <a:ext uri="{FF2B5EF4-FFF2-40B4-BE49-F238E27FC236}">
                    <a16:creationId xmlns:a16="http://schemas.microsoft.com/office/drawing/2014/main" id="{8FF063DF-2C18-428C-80E3-7C8B83185FF6}"/>
                  </a:ext>
                </a:extLst>
              </p:cNvPr>
              <p:cNvGrpSpPr/>
              <p:nvPr/>
            </p:nvGrpSpPr>
            <p:grpSpPr>
              <a:xfrm>
                <a:off x="7210896" y="2631085"/>
                <a:ext cx="184843" cy="84304"/>
                <a:chOff x="7210896" y="2631085"/>
                <a:chExt cx="184843" cy="84304"/>
              </a:xfrm>
              <a:solidFill>
                <a:schemeClr val="accent1"/>
              </a:solidFill>
            </p:grpSpPr>
            <p:sp>
              <p:nvSpPr>
                <p:cNvPr id="249" name="Freihandform: Form 962">
                  <a:extLst>
                    <a:ext uri="{FF2B5EF4-FFF2-40B4-BE49-F238E27FC236}">
                      <a16:creationId xmlns:a16="http://schemas.microsoft.com/office/drawing/2014/main" id="{8A9C61E5-7140-46CB-BCF4-9EEE2EF00D37}"/>
                    </a:ext>
                  </a:extLst>
                </p:cNvPr>
                <p:cNvSpPr/>
                <p:nvPr/>
              </p:nvSpPr>
              <p:spPr>
                <a:xfrm>
                  <a:off x="7210915" y="2631085"/>
                  <a:ext cx="184824" cy="44789"/>
                </a:xfrm>
                <a:custGeom>
                  <a:avLst/>
                  <a:gdLst>
                    <a:gd name="connsiteX0" fmla="*/ 92412 w 184824"/>
                    <a:gd name="connsiteY0" fmla="*/ 44790 h 44789"/>
                    <a:gd name="connsiteX1" fmla="*/ 0 w 184824"/>
                    <a:gd name="connsiteY1" fmla="*/ 6580 h 44789"/>
                    <a:gd name="connsiteX2" fmla="*/ 6580 w 184824"/>
                    <a:gd name="connsiteY2" fmla="*/ 0 h 44789"/>
                    <a:gd name="connsiteX3" fmla="*/ 13159 w 184824"/>
                    <a:gd name="connsiteY3" fmla="*/ 6580 h 44789"/>
                    <a:gd name="connsiteX4" fmla="*/ 92412 w 184824"/>
                    <a:gd name="connsiteY4" fmla="*/ 31612 h 44789"/>
                    <a:gd name="connsiteX5" fmla="*/ 171666 w 184824"/>
                    <a:gd name="connsiteY5" fmla="*/ 6580 h 44789"/>
                    <a:gd name="connsiteX6" fmla="*/ 178245 w 184824"/>
                    <a:gd name="connsiteY6" fmla="*/ 0 h 44789"/>
                    <a:gd name="connsiteX7" fmla="*/ 184825 w 184824"/>
                    <a:gd name="connsiteY7" fmla="*/ 6580 h 44789"/>
                    <a:gd name="connsiteX8" fmla="*/ 92412 w 184824"/>
                    <a:gd name="connsiteY8" fmla="*/ 44790 h 4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824" h="44789">
                      <a:moveTo>
                        <a:pt x="92412" y="44790"/>
                      </a:moveTo>
                      <a:cubicBezTo>
                        <a:pt x="47604" y="44790"/>
                        <a:pt x="0" y="31407"/>
                        <a:pt x="0" y="6580"/>
                      </a:cubicBezTo>
                      <a:cubicBezTo>
                        <a:pt x="0" y="2945"/>
                        <a:pt x="2945" y="0"/>
                        <a:pt x="6580" y="0"/>
                      </a:cubicBezTo>
                      <a:cubicBezTo>
                        <a:pt x="10214" y="0"/>
                        <a:pt x="13159" y="2945"/>
                        <a:pt x="13159" y="6580"/>
                      </a:cubicBezTo>
                      <a:cubicBezTo>
                        <a:pt x="13159" y="16794"/>
                        <a:pt x="44025" y="31612"/>
                        <a:pt x="92412" y="31612"/>
                      </a:cubicBezTo>
                      <a:cubicBezTo>
                        <a:pt x="140799" y="31612"/>
                        <a:pt x="171666" y="16794"/>
                        <a:pt x="171666" y="6580"/>
                      </a:cubicBezTo>
                      <a:cubicBezTo>
                        <a:pt x="171666" y="2945"/>
                        <a:pt x="174610" y="0"/>
                        <a:pt x="178245" y="0"/>
                      </a:cubicBezTo>
                      <a:cubicBezTo>
                        <a:pt x="181880" y="0"/>
                        <a:pt x="184825" y="2945"/>
                        <a:pt x="184825" y="6580"/>
                      </a:cubicBezTo>
                      <a:cubicBezTo>
                        <a:pt x="184825" y="31407"/>
                        <a:pt x="137221" y="44790"/>
                        <a:pt x="92412" y="44790"/>
                      </a:cubicBezTo>
                      <a:close/>
                    </a:path>
                  </a:pathLst>
                </a:custGeom>
                <a:solidFill>
                  <a:schemeClr val="accent1"/>
                </a:solidFill>
                <a:ln w="1863" cap="flat">
                  <a:noFill/>
                  <a:prstDash val="solid"/>
                  <a:miter/>
                </a:ln>
              </p:spPr>
              <p:txBody>
                <a:bodyPr rtlCol="0" anchor="ctr"/>
                <a:lstStyle/>
                <a:p>
                  <a:endParaRPr lang="en-GB" dirty="0"/>
                </a:p>
              </p:txBody>
            </p:sp>
            <p:sp>
              <p:nvSpPr>
                <p:cNvPr id="250" name="Freihandform: Form 963">
                  <a:extLst>
                    <a:ext uri="{FF2B5EF4-FFF2-40B4-BE49-F238E27FC236}">
                      <a16:creationId xmlns:a16="http://schemas.microsoft.com/office/drawing/2014/main" id="{E578FEDB-E34E-4586-A0F6-5F773A486049}"/>
                    </a:ext>
                  </a:extLst>
                </p:cNvPr>
                <p:cNvSpPr/>
                <p:nvPr/>
              </p:nvSpPr>
              <p:spPr>
                <a:xfrm>
                  <a:off x="7296748" y="2631104"/>
                  <a:ext cx="98992" cy="84285"/>
                </a:xfrm>
                <a:custGeom>
                  <a:avLst/>
                  <a:gdLst>
                    <a:gd name="connsiteX0" fmla="*/ 6580 w 98992"/>
                    <a:gd name="connsiteY0" fmla="*/ 84286 h 84285"/>
                    <a:gd name="connsiteX1" fmla="*/ 0 w 98992"/>
                    <a:gd name="connsiteY1" fmla="*/ 77706 h 84285"/>
                    <a:gd name="connsiteX2" fmla="*/ 6580 w 98992"/>
                    <a:gd name="connsiteY2" fmla="*/ 71127 h 84285"/>
                    <a:gd name="connsiteX3" fmla="*/ 23392 w 98992"/>
                    <a:gd name="connsiteY3" fmla="*/ 70511 h 84285"/>
                    <a:gd name="connsiteX4" fmla="*/ 85833 w 98992"/>
                    <a:gd name="connsiteY4" fmla="*/ 46094 h 84285"/>
                    <a:gd name="connsiteX5" fmla="*/ 85833 w 98992"/>
                    <a:gd name="connsiteY5" fmla="*/ 6580 h 84285"/>
                    <a:gd name="connsiteX6" fmla="*/ 92413 w 98992"/>
                    <a:gd name="connsiteY6" fmla="*/ 0 h 84285"/>
                    <a:gd name="connsiteX7" fmla="*/ 98992 w 98992"/>
                    <a:gd name="connsiteY7" fmla="*/ 6580 h 84285"/>
                    <a:gd name="connsiteX8" fmla="*/ 98992 w 98992"/>
                    <a:gd name="connsiteY8" fmla="*/ 46094 h 84285"/>
                    <a:gd name="connsiteX9" fmla="*/ 24361 w 98992"/>
                    <a:gd name="connsiteY9" fmla="*/ 83633 h 84285"/>
                    <a:gd name="connsiteX10" fmla="*/ 6580 w 98992"/>
                    <a:gd name="connsiteY10" fmla="*/ 84286 h 8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992" h="84285">
                      <a:moveTo>
                        <a:pt x="6580" y="84286"/>
                      </a:moveTo>
                      <a:cubicBezTo>
                        <a:pt x="2945" y="84286"/>
                        <a:pt x="0" y="81341"/>
                        <a:pt x="0" y="77706"/>
                      </a:cubicBezTo>
                      <a:cubicBezTo>
                        <a:pt x="0" y="74072"/>
                        <a:pt x="2945" y="71127"/>
                        <a:pt x="6580" y="71127"/>
                      </a:cubicBezTo>
                      <a:cubicBezTo>
                        <a:pt x="12227" y="71127"/>
                        <a:pt x="17875" y="70922"/>
                        <a:pt x="23392" y="70511"/>
                      </a:cubicBezTo>
                      <a:cubicBezTo>
                        <a:pt x="64137" y="67436"/>
                        <a:pt x="85833" y="54351"/>
                        <a:pt x="85833" y="46094"/>
                      </a:cubicBezTo>
                      <a:lnTo>
                        <a:pt x="85833" y="6580"/>
                      </a:lnTo>
                      <a:cubicBezTo>
                        <a:pt x="85833" y="2945"/>
                        <a:pt x="88778" y="0"/>
                        <a:pt x="92413" y="0"/>
                      </a:cubicBezTo>
                      <a:cubicBezTo>
                        <a:pt x="96047" y="0"/>
                        <a:pt x="98992" y="2945"/>
                        <a:pt x="98992" y="6580"/>
                      </a:cubicBezTo>
                      <a:lnTo>
                        <a:pt x="98992" y="46094"/>
                      </a:lnTo>
                      <a:cubicBezTo>
                        <a:pt x="98992" y="68144"/>
                        <a:pt x="61509" y="80838"/>
                        <a:pt x="24361" y="83633"/>
                      </a:cubicBezTo>
                      <a:cubicBezTo>
                        <a:pt x="18527" y="84081"/>
                        <a:pt x="12544" y="84286"/>
                        <a:pt x="6580" y="84286"/>
                      </a:cubicBezTo>
                      <a:close/>
                    </a:path>
                  </a:pathLst>
                </a:custGeom>
                <a:solidFill>
                  <a:schemeClr val="accent1"/>
                </a:solidFill>
                <a:ln w="1863" cap="flat">
                  <a:noFill/>
                  <a:prstDash val="solid"/>
                  <a:miter/>
                </a:ln>
              </p:spPr>
              <p:txBody>
                <a:bodyPr rtlCol="0" anchor="ctr"/>
                <a:lstStyle/>
                <a:p>
                  <a:endParaRPr lang="en-GB" dirty="0"/>
                </a:p>
              </p:txBody>
            </p:sp>
            <p:sp>
              <p:nvSpPr>
                <p:cNvPr id="251" name="Freihandform: Form 964">
                  <a:extLst>
                    <a:ext uri="{FF2B5EF4-FFF2-40B4-BE49-F238E27FC236}">
                      <a16:creationId xmlns:a16="http://schemas.microsoft.com/office/drawing/2014/main" id="{672FC5FF-A0AB-45D4-B1DC-E83112216001}"/>
                    </a:ext>
                  </a:extLst>
                </p:cNvPr>
                <p:cNvSpPr/>
                <p:nvPr/>
              </p:nvSpPr>
              <p:spPr>
                <a:xfrm>
                  <a:off x="7210896" y="2631104"/>
                  <a:ext cx="13159" cy="52673"/>
                </a:xfrm>
                <a:custGeom>
                  <a:avLst/>
                  <a:gdLst>
                    <a:gd name="connsiteX0" fmla="*/ 6580 w 13159"/>
                    <a:gd name="connsiteY0" fmla="*/ 52674 h 52673"/>
                    <a:gd name="connsiteX1" fmla="*/ 0 w 13159"/>
                    <a:gd name="connsiteY1" fmla="*/ 46094 h 52673"/>
                    <a:gd name="connsiteX2" fmla="*/ 0 w 13159"/>
                    <a:gd name="connsiteY2" fmla="*/ 6580 h 52673"/>
                    <a:gd name="connsiteX3" fmla="*/ 6580 w 13159"/>
                    <a:gd name="connsiteY3" fmla="*/ 0 h 52673"/>
                    <a:gd name="connsiteX4" fmla="*/ 13159 w 13159"/>
                    <a:gd name="connsiteY4" fmla="*/ 6580 h 52673"/>
                    <a:gd name="connsiteX5" fmla="*/ 13159 w 13159"/>
                    <a:gd name="connsiteY5" fmla="*/ 46094 h 52673"/>
                    <a:gd name="connsiteX6" fmla="*/ 6580 w 13159"/>
                    <a:gd name="connsiteY6" fmla="*/ 52674 h 52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59" h="52673">
                      <a:moveTo>
                        <a:pt x="6580" y="52674"/>
                      </a:moveTo>
                      <a:cubicBezTo>
                        <a:pt x="2945" y="52674"/>
                        <a:pt x="0" y="49729"/>
                        <a:pt x="0" y="46094"/>
                      </a:cubicBezTo>
                      <a:lnTo>
                        <a:pt x="0" y="6580"/>
                      </a:lnTo>
                      <a:cubicBezTo>
                        <a:pt x="0" y="2945"/>
                        <a:pt x="2945" y="0"/>
                        <a:pt x="6580" y="0"/>
                      </a:cubicBezTo>
                      <a:cubicBezTo>
                        <a:pt x="10214" y="0"/>
                        <a:pt x="13159" y="2945"/>
                        <a:pt x="13159" y="6580"/>
                      </a:cubicBezTo>
                      <a:lnTo>
                        <a:pt x="13159" y="46094"/>
                      </a:lnTo>
                      <a:cubicBezTo>
                        <a:pt x="13178" y="49729"/>
                        <a:pt x="10233" y="52674"/>
                        <a:pt x="6580" y="52674"/>
                      </a:cubicBezTo>
                      <a:close/>
                    </a:path>
                  </a:pathLst>
                </a:custGeom>
                <a:solidFill>
                  <a:schemeClr val="accent1"/>
                </a:solidFill>
                <a:ln w="1863" cap="flat">
                  <a:noFill/>
                  <a:prstDash val="solid"/>
                  <a:miter/>
                </a:ln>
              </p:spPr>
              <p:txBody>
                <a:bodyPr rtlCol="0" anchor="ctr"/>
                <a:lstStyle/>
                <a:p>
                  <a:endParaRPr lang="en-GB" dirty="0"/>
                </a:p>
              </p:txBody>
            </p:sp>
          </p:grpSp>
          <p:grpSp>
            <p:nvGrpSpPr>
              <p:cNvPr id="242" name="Grafik 318">
                <a:extLst>
                  <a:ext uri="{FF2B5EF4-FFF2-40B4-BE49-F238E27FC236}">
                    <a16:creationId xmlns:a16="http://schemas.microsoft.com/office/drawing/2014/main" id="{15A98DC9-97F6-43E1-835E-47C9B33891BF}"/>
                  </a:ext>
                </a:extLst>
              </p:cNvPr>
              <p:cNvGrpSpPr/>
              <p:nvPr/>
            </p:nvGrpSpPr>
            <p:grpSpPr>
              <a:xfrm>
                <a:off x="7210915" y="2521804"/>
                <a:ext cx="184843" cy="154480"/>
                <a:chOff x="7210915" y="2521804"/>
                <a:chExt cx="184843" cy="154480"/>
              </a:xfrm>
              <a:solidFill>
                <a:schemeClr val="accent1"/>
              </a:solidFill>
            </p:grpSpPr>
            <p:grpSp>
              <p:nvGrpSpPr>
                <p:cNvPr id="243" name="Grafik 318">
                  <a:extLst>
                    <a:ext uri="{FF2B5EF4-FFF2-40B4-BE49-F238E27FC236}">
                      <a16:creationId xmlns:a16="http://schemas.microsoft.com/office/drawing/2014/main" id="{EAC0061E-CCEC-468F-8701-74DAC7DEE6E8}"/>
                    </a:ext>
                  </a:extLst>
                </p:cNvPr>
                <p:cNvGrpSpPr/>
                <p:nvPr/>
              </p:nvGrpSpPr>
              <p:grpSpPr>
                <a:xfrm>
                  <a:off x="7210915" y="2591980"/>
                  <a:ext cx="184824" cy="84304"/>
                  <a:chOff x="7210915" y="2591980"/>
                  <a:chExt cx="184824" cy="84304"/>
                </a:xfrm>
                <a:solidFill>
                  <a:schemeClr val="accent1"/>
                </a:solidFill>
              </p:grpSpPr>
              <p:sp>
                <p:nvSpPr>
                  <p:cNvPr id="247" name="Freihandform: Form 967">
                    <a:extLst>
                      <a:ext uri="{FF2B5EF4-FFF2-40B4-BE49-F238E27FC236}">
                        <a16:creationId xmlns:a16="http://schemas.microsoft.com/office/drawing/2014/main" id="{06EADDAA-A553-4CB8-A6A8-4D6A1A273EC1}"/>
                      </a:ext>
                    </a:extLst>
                  </p:cNvPr>
                  <p:cNvSpPr/>
                  <p:nvPr/>
                </p:nvSpPr>
                <p:spPr>
                  <a:xfrm>
                    <a:off x="7210915" y="2591980"/>
                    <a:ext cx="184824" cy="44789"/>
                  </a:xfrm>
                  <a:custGeom>
                    <a:avLst/>
                    <a:gdLst>
                      <a:gd name="connsiteX0" fmla="*/ 92412 w 184824"/>
                      <a:gd name="connsiteY0" fmla="*/ 44790 h 44789"/>
                      <a:gd name="connsiteX1" fmla="*/ 0 w 184824"/>
                      <a:gd name="connsiteY1" fmla="*/ 6580 h 44789"/>
                      <a:gd name="connsiteX2" fmla="*/ 6580 w 184824"/>
                      <a:gd name="connsiteY2" fmla="*/ 0 h 44789"/>
                      <a:gd name="connsiteX3" fmla="*/ 13159 w 184824"/>
                      <a:gd name="connsiteY3" fmla="*/ 6580 h 44789"/>
                      <a:gd name="connsiteX4" fmla="*/ 92412 w 184824"/>
                      <a:gd name="connsiteY4" fmla="*/ 31612 h 44789"/>
                      <a:gd name="connsiteX5" fmla="*/ 171666 w 184824"/>
                      <a:gd name="connsiteY5" fmla="*/ 6580 h 44789"/>
                      <a:gd name="connsiteX6" fmla="*/ 178245 w 184824"/>
                      <a:gd name="connsiteY6" fmla="*/ 0 h 44789"/>
                      <a:gd name="connsiteX7" fmla="*/ 184825 w 184824"/>
                      <a:gd name="connsiteY7" fmla="*/ 6580 h 44789"/>
                      <a:gd name="connsiteX8" fmla="*/ 92412 w 184824"/>
                      <a:gd name="connsiteY8" fmla="*/ 44790 h 44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4824" h="44789">
                        <a:moveTo>
                          <a:pt x="92412" y="44790"/>
                        </a:moveTo>
                        <a:cubicBezTo>
                          <a:pt x="47604" y="44790"/>
                          <a:pt x="0" y="31407"/>
                          <a:pt x="0" y="6580"/>
                        </a:cubicBezTo>
                        <a:cubicBezTo>
                          <a:pt x="0" y="2945"/>
                          <a:pt x="2945" y="0"/>
                          <a:pt x="6580" y="0"/>
                        </a:cubicBezTo>
                        <a:cubicBezTo>
                          <a:pt x="10214" y="0"/>
                          <a:pt x="13159" y="2945"/>
                          <a:pt x="13159" y="6580"/>
                        </a:cubicBezTo>
                        <a:cubicBezTo>
                          <a:pt x="13159" y="16794"/>
                          <a:pt x="44025" y="31612"/>
                          <a:pt x="92412" y="31612"/>
                        </a:cubicBezTo>
                        <a:cubicBezTo>
                          <a:pt x="140799" y="31612"/>
                          <a:pt x="171666" y="16794"/>
                          <a:pt x="171666" y="6580"/>
                        </a:cubicBezTo>
                        <a:cubicBezTo>
                          <a:pt x="171666" y="2945"/>
                          <a:pt x="174610" y="0"/>
                          <a:pt x="178245" y="0"/>
                        </a:cubicBezTo>
                        <a:cubicBezTo>
                          <a:pt x="181880" y="0"/>
                          <a:pt x="184825" y="2945"/>
                          <a:pt x="184825" y="6580"/>
                        </a:cubicBezTo>
                        <a:cubicBezTo>
                          <a:pt x="184825" y="31388"/>
                          <a:pt x="137221" y="44790"/>
                          <a:pt x="92412" y="44790"/>
                        </a:cubicBezTo>
                        <a:close/>
                      </a:path>
                    </a:pathLst>
                  </a:custGeom>
                  <a:solidFill>
                    <a:schemeClr val="accent1"/>
                  </a:solidFill>
                  <a:ln w="1863" cap="flat">
                    <a:noFill/>
                    <a:prstDash val="solid"/>
                    <a:miter/>
                  </a:ln>
                </p:spPr>
                <p:txBody>
                  <a:bodyPr rtlCol="0" anchor="ctr"/>
                  <a:lstStyle/>
                  <a:p>
                    <a:endParaRPr lang="en-GB" dirty="0"/>
                  </a:p>
                </p:txBody>
              </p:sp>
              <p:sp>
                <p:nvSpPr>
                  <p:cNvPr id="248" name="Freihandform: Form 968">
                    <a:extLst>
                      <a:ext uri="{FF2B5EF4-FFF2-40B4-BE49-F238E27FC236}">
                        <a16:creationId xmlns:a16="http://schemas.microsoft.com/office/drawing/2014/main" id="{3CE93C62-C2B5-4EAE-9ADF-BC4802842B8D}"/>
                      </a:ext>
                    </a:extLst>
                  </p:cNvPr>
                  <p:cNvSpPr/>
                  <p:nvPr/>
                </p:nvSpPr>
                <p:spPr>
                  <a:xfrm>
                    <a:off x="7210915" y="2591980"/>
                    <a:ext cx="184824" cy="84304"/>
                  </a:xfrm>
                  <a:custGeom>
                    <a:avLst/>
                    <a:gdLst>
                      <a:gd name="connsiteX0" fmla="*/ 92412 w 184824"/>
                      <a:gd name="connsiteY0" fmla="*/ 84304 h 84304"/>
                      <a:gd name="connsiteX1" fmla="*/ 0 w 184824"/>
                      <a:gd name="connsiteY1" fmla="*/ 46094 h 84304"/>
                      <a:gd name="connsiteX2" fmla="*/ 0 w 184824"/>
                      <a:gd name="connsiteY2" fmla="*/ 6580 h 84304"/>
                      <a:gd name="connsiteX3" fmla="*/ 6580 w 184824"/>
                      <a:gd name="connsiteY3" fmla="*/ 0 h 84304"/>
                      <a:gd name="connsiteX4" fmla="*/ 13159 w 184824"/>
                      <a:gd name="connsiteY4" fmla="*/ 6580 h 84304"/>
                      <a:gd name="connsiteX5" fmla="*/ 13159 w 184824"/>
                      <a:gd name="connsiteY5" fmla="*/ 46094 h 84304"/>
                      <a:gd name="connsiteX6" fmla="*/ 92412 w 184824"/>
                      <a:gd name="connsiteY6" fmla="*/ 71127 h 84304"/>
                      <a:gd name="connsiteX7" fmla="*/ 171666 w 184824"/>
                      <a:gd name="connsiteY7" fmla="*/ 46094 h 84304"/>
                      <a:gd name="connsiteX8" fmla="*/ 171666 w 184824"/>
                      <a:gd name="connsiteY8" fmla="*/ 6580 h 84304"/>
                      <a:gd name="connsiteX9" fmla="*/ 178245 w 184824"/>
                      <a:gd name="connsiteY9" fmla="*/ 0 h 84304"/>
                      <a:gd name="connsiteX10" fmla="*/ 184825 w 184824"/>
                      <a:gd name="connsiteY10" fmla="*/ 6580 h 84304"/>
                      <a:gd name="connsiteX11" fmla="*/ 184825 w 184824"/>
                      <a:gd name="connsiteY11" fmla="*/ 46094 h 84304"/>
                      <a:gd name="connsiteX12" fmla="*/ 92412 w 184824"/>
                      <a:gd name="connsiteY12" fmla="*/ 84304 h 8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824" h="84304">
                        <a:moveTo>
                          <a:pt x="92412" y="84304"/>
                        </a:moveTo>
                        <a:cubicBezTo>
                          <a:pt x="47604" y="84304"/>
                          <a:pt x="0" y="70922"/>
                          <a:pt x="0" y="46094"/>
                        </a:cubicBezTo>
                        <a:lnTo>
                          <a:pt x="0" y="6580"/>
                        </a:lnTo>
                        <a:cubicBezTo>
                          <a:pt x="0" y="2945"/>
                          <a:pt x="2945" y="0"/>
                          <a:pt x="6580" y="0"/>
                        </a:cubicBezTo>
                        <a:cubicBezTo>
                          <a:pt x="10214" y="0"/>
                          <a:pt x="13159" y="2945"/>
                          <a:pt x="13159" y="6580"/>
                        </a:cubicBezTo>
                        <a:lnTo>
                          <a:pt x="13159" y="46094"/>
                        </a:lnTo>
                        <a:cubicBezTo>
                          <a:pt x="13159" y="56309"/>
                          <a:pt x="44025" y="71127"/>
                          <a:pt x="92412" y="71127"/>
                        </a:cubicBezTo>
                        <a:cubicBezTo>
                          <a:pt x="140799" y="71127"/>
                          <a:pt x="171666" y="56309"/>
                          <a:pt x="171666" y="46094"/>
                        </a:cubicBezTo>
                        <a:lnTo>
                          <a:pt x="171666" y="6580"/>
                        </a:lnTo>
                        <a:cubicBezTo>
                          <a:pt x="171666" y="2945"/>
                          <a:pt x="174610" y="0"/>
                          <a:pt x="178245" y="0"/>
                        </a:cubicBezTo>
                        <a:cubicBezTo>
                          <a:pt x="181880" y="0"/>
                          <a:pt x="184825" y="2945"/>
                          <a:pt x="184825" y="6580"/>
                        </a:cubicBezTo>
                        <a:lnTo>
                          <a:pt x="184825" y="46094"/>
                        </a:lnTo>
                        <a:cubicBezTo>
                          <a:pt x="184825" y="70903"/>
                          <a:pt x="137221" y="84304"/>
                          <a:pt x="92412" y="84304"/>
                        </a:cubicBezTo>
                        <a:close/>
                      </a:path>
                    </a:pathLst>
                  </a:custGeom>
                  <a:solidFill>
                    <a:schemeClr val="accent1"/>
                  </a:solidFill>
                  <a:ln w="1863" cap="flat">
                    <a:noFill/>
                    <a:prstDash val="solid"/>
                    <a:miter/>
                  </a:ln>
                </p:spPr>
                <p:txBody>
                  <a:bodyPr rtlCol="0" anchor="ctr"/>
                  <a:lstStyle/>
                  <a:p>
                    <a:endParaRPr lang="en-GB" dirty="0"/>
                  </a:p>
                </p:txBody>
              </p:sp>
            </p:grpSp>
            <p:grpSp>
              <p:nvGrpSpPr>
                <p:cNvPr id="244" name="Grafik 318">
                  <a:extLst>
                    <a:ext uri="{FF2B5EF4-FFF2-40B4-BE49-F238E27FC236}">
                      <a16:creationId xmlns:a16="http://schemas.microsoft.com/office/drawing/2014/main" id="{F2A6F203-1760-4967-82CE-D9B40D62A7BF}"/>
                    </a:ext>
                  </a:extLst>
                </p:cNvPr>
                <p:cNvGrpSpPr/>
                <p:nvPr/>
              </p:nvGrpSpPr>
              <p:grpSpPr>
                <a:xfrm>
                  <a:off x="7210915" y="2521804"/>
                  <a:ext cx="184843" cy="115953"/>
                  <a:chOff x="7210915" y="2521804"/>
                  <a:chExt cx="184843" cy="115953"/>
                </a:xfrm>
                <a:solidFill>
                  <a:schemeClr val="accent1"/>
                </a:solidFill>
              </p:grpSpPr>
              <p:sp>
                <p:nvSpPr>
                  <p:cNvPr id="245" name="Freihandform: Form 970">
                    <a:extLst>
                      <a:ext uri="{FF2B5EF4-FFF2-40B4-BE49-F238E27FC236}">
                        <a16:creationId xmlns:a16="http://schemas.microsoft.com/office/drawing/2014/main" id="{1E159214-9A43-48E0-8702-84D0ACDEA39F}"/>
                      </a:ext>
                    </a:extLst>
                  </p:cNvPr>
                  <p:cNvSpPr/>
                  <p:nvPr/>
                </p:nvSpPr>
                <p:spPr>
                  <a:xfrm>
                    <a:off x="7210915" y="2521804"/>
                    <a:ext cx="184843" cy="76420"/>
                  </a:xfrm>
                  <a:custGeom>
                    <a:avLst/>
                    <a:gdLst>
                      <a:gd name="connsiteX0" fmla="*/ 92412 w 184843"/>
                      <a:gd name="connsiteY0" fmla="*/ 76420 h 76420"/>
                      <a:gd name="connsiteX1" fmla="*/ 0 w 184843"/>
                      <a:gd name="connsiteY1" fmla="*/ 38210 h 76420"/>
                      <a:gd name="connsiteX2" fmla="*/ 92412 w 184843"/>
                      <a:gd name="connsiteY2" fmla="*/ 0 h 76420"/>
                      <a:gd name="connsiteX3" fmla="*/ 184843 w 184843"/>
                      <a:gd name="connsiteY3" fmla="*/ 38210 h 76420"/>
                      <a:gd name="connsiteX4" fmla="*/ 92412 w 184843"/>
                      <a:gd name="connsiteY4" fmla="*/ 76420 h 76420"/>
                      <a:gd name="connsiteX5" fmla="*/ 92412 w 184843"/>
                      <a:gd name="connsiteY5" fmla="*/ 13196 h 76420"/>
                      <a:gd name="connsiteX6" fmla="*/ 13159 w 184843"/>
                      <a:gd name="connsiteY6" fmla="*/ 38229 h 76420"/>
                      <a:gd name="connsiteX7" fmla="*/ 92412 w 184843"/>
                      <a:gd name="connsiteY7" fmla="*/ 63261 h 76420"/>
                      <a:gd name="connsiteX8" fmla="*/ 171666 w 184843"/>
                      <a:gd name="connsiteY8" fmla="*/ 38229 h 76420"/>
                      <a:gd name="connsiteX9" fmla="*/ 92412 w 184843"/>
                      <a:gd name="connsiteY9" fmla="*/ 13196 h 7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843" h="76420">
                        <a:moveTo>
                          <a:pt x="92412" y="76420"/>
                        </a:moveTo>
                        <a:cubicBezTo>
                          <a:pt x="47604" y="76420"/>
                          <a:pt x="0" y="63037"/>
                          <a:pt x="0" y="38210"/>
                        </a:cubicBezTo>
                        <a:cubicBezTo>
                          <a:pt x="0" y="13383"/>
                          <a:pt x="47623" y="0"/>
                          <a:pt x="92412" y="0"/>
                        </a:cubicBezTo>
                        <a:cubicBezTo>
                          <a:pt x="137221" y="0"/>
                          <a:pt x="184843" y="13383"/>
                          <a:pt x="184843" y="38210"/>
                        </a:cubicBezTo>
                        <a:cubicBezTo>
                          <a:pt x="184843" y="63037"/>
                          <a:pt x="137221" y="76420"/>
                          <a:pt x="92412" y="76420"/>
                        </a:cubicBezTo>
                        <a:close/>
                        <a:moveTo>
                          <a:pt x="92412" y="13196"/>
                        </a:moveTo>
                        <a:cubicBezTo>
                          <a:pt x="44044" y="13196"/>
                          <a:pt x="13159" y="28014"/>
                          <a:pt x="13159" y="38229"/>
                        </a:cubicBezTo>
                        <a:cubicBezTo>
                          <a:pt x="13159" y="48443"/>
                          <a:pt x="44025" y="63261"/>
                          <a:pt x="92412" y="63261"/>
                        </a:cubicBezTo>
                        <a:cubicBezTo>
                          <a:pt x="140799" y="63261"/>
                          <a:pt x="171666" y="48443"/>
                          <a:pt x="171666" y="38229"/>
                        </a:cubicBezTo>
                        <a:cubicBezTo>
                          <a:pt x="171647" y="28014"/>
                          <a:pt x="140781" y="13196"/>
                          <a:pt x="92412" y="13196"/>
                        </a:cubicBezTo>
                        <a:close/>
                      </a:path>
                    </a:pathLst>
                  </a:custGeom>
                  <a:solidFill>
                    <a:schemeClr val="accent1"/>
                  </a:solidFill>
                  <a:ln w="1863" cap="flat">
                    <a:noFill/>
                    <a:prstDash val="solid"/>
                    <a:miter/>
                  </a:ln>
                </p:spPr>
                <p:txBody>
                  <a:bodyPr rtlCol="0" anchor="ctr"/>
                  <a:lstStyle/>
                  <a:p>
                    <a:endParaRPr lang="en-GB" dirty="0"/>
                  </a:p>
                </p:txBody>
              </p:sp>
              <p:sp>
                <p:nvSpPr>
                  <p:cNvPr id="246" name="Freihandform: Form 971">
                    <a:extLst>
                      <a:ext uri="{FF2B5EF4-FFF2-40B4-BE49-F238E27FC236}">
                        <a16:creationId xmlns:a16="http://schemas.microsoft.com/office/drawing/2014/main" id="{6AA42682-8258-43EE-A9F5-78D5207E6FBE}"/>
                      </a:ext>
                    </a:extLst>
                  </p:cNvPr>
                  <p:cNvSpPr/>
                  <p:nvPr/>
                </p:nvSpPr>
                <p:spPr>
                  <a:xfrm>
                    <a:off x="7210915" y="2553453"/>
                    <a:ext cx="184824" cy="84304"/>
                  </a:xfrm>
                  <a:custGeom>
                    <a:avLst/>
                    <a:gdLst>
                      <a:gd name="connsiteX0" fmla="*/ 92412 w 184824"/>
                      <a:gd name="connsiteY0" fmla="*/ 84304 h 84304"/>
                      <a:gd name="connsiteX1" fmla="*/ 0 w 184824"/>
                      <a:gd name="connsiteY1" fmla="*/ 46094 h 84304"/>
                      <a:gd name="connsiteX2" fmla="*/ 0 w 184824"/>
                      <a:gd name="connsiteY2" fmla="*/ 6580 h 84304"/>
                      <a:gd name="connsiteX3" fmla="*/ 6580 w 184824"/>
                      <a:gd name="connsiteY3" fmla="*/ 0 h 84304"/>
                      <a:gd name="connsiteX4" fmla="*/ 13159 w 184824"/>
                      <a:gd name="connsiteY4" fmla="*/ 6580 h 84304"/>
                      <a:gd name="connsiteX5" fmla="*/ 13159 w 184824"/>
                      <a:gd name="connsiteY5" fmla="*/ 46094 h 84304"/>
                      <a:gd name="connsiteX6" fmla="*/ 92412 w 184824"/>
                      <a:gd name="connsiteY6" fmla="*/ 71127 h 84304"/>
                      <a:gd name="connsiteX7" fmla="*/ 171666 w 184824"/>
                      <a:gd name="connsiteY7" fmla="*/ 46094 h 84304"/>
                      <a:gd name="connsiteX8" fmla="*/ 171666 w 184824"/>
                      <a:gd name="connsiteY8" fmla="*/ 6580 h 84304"/>
                      <a:gd name="connsiteX9" fmla="*/ 178245 w 184824"/>
                      <a:gd name="connsiteY9" fmla="*/ 0 h 84304"/>
                      <a:gd name="connsiteX10" fmla="*/ 184825 w 184824"/>
                      <a:gd name="connsiteY10" fmla="*/ 6580 h 84304"/>
                      <a:gd name="connsiteX11" fmla="*/ 184825 w 184824"/>
                      <a:gd name="connsiteY11" fmla="*/ 46094 h 84304"/>
                      <a:gd name="connsiteX12" fmla="*/ 92412 w 184824"/>
                      <a:gd name="connsiteY12" fmla="*/ 84304 h 8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824" h="84304">
                        <a:moveTo>
                          <a:pt x="92412" y="84304"/>
                        </a:moveTo>
                        <a:cubicBezTo>
                          <a:pt x="47604" y="84304"/>
                          <a:pt x="0" y="70922"/>
                          <a:pt x="0" y="46094"/>
                        </a:cubicBezTo>
                        <a:lnTo>
                          <a:pt x="0" y="6580"/>
                        </a:lnTo>
                        <a:cubicBezTo>
                          <a:pt x="0" y="2945"/>
                          <a:pt x="2945" y="0"/>
                          <a:pt x="6580" y="0"/>
                        </a:cubicBezTo>
                        <a:cubicBezTo>
                          <a:pt x="10214" y="0"/>
                          <a:pt x="13159" y="2945"/>
                          <a:pt x="13159" y="6580"/>
                        </a:cubicBezTo>
                        <a:lnTo>
                          <a:pt x="13159" y="46094"/>
                        </a:lnTo>
                        <a:cubicBezTo>
                          <a:pt x="13159" y="56309"/>
                          <a:pt x="44025" y="71127"/>
                          <a:pt x="92412" y="71127"/>
                        </a:cubicBezTo>
                        <a:cubicBezTo>
                          <a:pt x="140799" y="71127"/>
                          <a:pt x="171666" y="56309"/>
                          <a:pt x="171666" y="46094"/>
                        </a:cubicBezTo>
                        <a:lnTo>
                          <a:pt x="171666" y="6580"/>
                        </a:lnTo>
                        <a:cubicBezTo>
                          <a:pt x="171666" y="2945"/>
                          <a:pt x="174610" y="0"/>
                          <a:pt x="178245" y="0"/>
                        </a:cubicBezTo>
                        <a:cubicBezTo>
                          <a:pt x="181880" y="0"/>
                          <a:pt x="184825" y="2945"/>
                          <a:pt x="184825" y="6580"/>
                        </a:cubicBezTo>
                        <a:lnTo>
                          <a:pt x="184825" y="46094"/>
                        </a:lnTo>
                        <a:cubicBezTo>
                          <a:pt x="184825" y="70903"/>
                          <a:pt x="137221" y="84304"/>
                          <a:pt x="92412" y="84304"/>
                        </a:cubicBezTo>
                        <a:close/>
                      </a:path>
                    </a:pathLst>
                  </a:custGeom>
                  <a:solidFill>
                    <a:schemeClr val="accent1"/>
                  </a:solidFill>
                  <a:ln w="1863" cap="flat">
                    <a:noFill/>
                    <a:prstDash val="solid"/>
                    <a:miter/>
                  </a:ln>
                </p:spPr>
                <p:txBody>
                  <a:bodyPr rtlCol="0" anchor="ctr"/>
                  <a:lstStyle/>
                  <a:p>
                    <a:endParaRPr lang="en-GB" dirty="0"/>
                  </a:p>
                </p:txBody>
              </p:sp>
            </p:grpSp>
          </p:grpSp>
        </p:grpSp>
        <p:sp>
          <p:nvSpPr>
            <p:cNvPr id="228" name="Freihandform: Form 973">
              <a:extLst>
                <a:ext uri="{FF2B5EF4-FFF2-40B4-BE49-F238E27FC236}">
                  <a16:creationId xmlns:a16="http://schemas.microsoft.com/office/drawing/2014/main" id="{804502ED-D35F-4135-8632-F1FC06B8EDCC}"/>
                </a:ext>
              </a:extLst>
            </p:cNvPr>
            <p:cNvSpPr/>
            <p:nvPr/>
          </p:nvSpPr>
          <p:spPr>
            <a:xfrm>
              <a:off x="3830146" y="2441790"/>
              <a:ext cx="157677" cy="81973"/>
            </a:xfrm>
            <a:custGeom>
              <a:avLst/>
              <a:gdLst>
                <a:gd name="connsiteX0" fmla="*/ 92412 w 146995"/>
                <a:gd name="connsiteY0" fmla="*/ 76420 h 76420"/>
                <a:gd name="connsiteX1" fmla="*/ 0 w 146995"/>
                <a:gd name="connsiteY1" fmla="*/ 38210 h 76420"/>
                <a:gd name="connsiteX2" fmla="*/ 92412 w 146995"/>
                <a:gd name="connsiteY2" fmla="*/ 0 h 76420"/>
                <a:gd name="connsiteX3" fmla="*/ 141992 w 146995"/>
                <a:gd name="connsiteY3" fmla="*/ 5592 h 76420"/>
                <a:gd name="connsiteX4" fmla="*/ 146801 w 146995"/>
                <a:gd name="connsiteY4" fmla="*/ 13569 h 76420"/>
                <a:gd name="connsiteX5" fmla="*/ 138824 w 146995"/>
                <a:gd name="connsiteY5" fmla="*/ 18359 h 76420"/>
                <a:gd name="connsiteX6" fmla="*/ 92412 w 146995"/>
                <a:gd name="connsiteY6" fmla="*/ 13159 h 76420"/>
                <a:gd name="connsiteX7" fmla="*/ 13159 w 146995"/>
                <a:gd name="connsiteY7" fmla="*/ 38191 h 76420"/>
                <a:gd name="connsiteX8" fmla="*/ 92412 w 146995"/>
                <a:gd name="connsiteY8" fmla="*/ 63224 h 76420"/>
                <a:gd name="connsiteX9" fmla="*/ 138693 w 146995"/>
                <a:gd name="connsiteY9" fmla="*/ 58042 h 76420"/>
                <a:gd name="connsiteX10" fmla="*/ 146671 w 146995"/>
                <a:gd name="connsiteY10" fmla="*/ 62851 h 76420"/>
                <a:gd name="connsiteX11" fmla="*/ 141862 w 146995"/>
                <a:gd name="connsiteY11" fmla="*/ 70828 h 76420"/>
                <a:gd name="connsiteX12" fmla="*/ 92412 w 146995"/>
                <a:gd name="connsiteY12" fmla="*/ 76420 h 7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6995" h="76420">
                  <a:moveTo>
                    <a:pt x="92412" y="76420"/>
                  </a:moveTo>
                  <a:cubicBezTo>
                    <a:pt x="47604" y="76420"/>
                    <a:pt x="0" y="63037"/>
                    <a:pt x="0" y="38210"/>
                  </a:cubicBezTo>
                  <a:cubicBezTo>
                    <a:pt x="0" y="13402"/>
                    <a:pt x="47623" y="0"/>
                    <a:pt x="92412" y="0"/>
                  </a:cubicBezTo>
                  <a:cubicBezTo>
                    <a:pt x="110138" y="0"/>
                    <a:pt x="127286" y="1938"/>
                    <a:pt x="141992" y="5592"/>
                  </a:cubicBezTo>
                  <a:cubicBezTo>
                    <a:pt x="145515" y="6468"/>
                    <a:pt x="147677" y="10046"/>
                    <a:pt x="146801" y="13569"/>
                  </a:cubicBezTo>
                  <a:cubicBezTo>
                    <a:pt x="145925" y="17092"/>
                    <a:pt x="142328" y="19254"/>
                    <a:pt x="138824" y="18359"/>
                  </a:cubicBezTo>
                  <a:cubicBezTo>
                    <a:pt x="125143" y="14948"/>
                    <a:pt x="109094" y="13159"/>
                    <a:pt x="92412" y="13159"/>
                  </a:cubicBezTo>
                  <a:cubicBezTo>
                    <a:pt x="44044" y="13159"/>
                    <a:pt x="13159" y="27977"/>
                    <a:pt x="13159" y="38191"/>
                  </a:cubicBezTo>
                  <a:cubicBezTo>
                    <a:pt x="13159" y="48406"/>
                    <a:pt x="44025" y="63224"/>
                    <a:pt x="92412" y="63224"/>
                  </a:cubicBezTo>
                  <a:cubicBezTo>
                    <a:pt x="109038" y="63224"/>
                    <a:pt x="125049" y="61434"/>
                    <a:pt x="138693" y="58042"/>
                  </a:cubicBezTo>
                  <a:cubicBezTo>
                    <a:pt x="142179" y="57166"/>
                    <a:pt x="145795" y="59309"/>
                    <a:pt x="146671" y="62851"/>
                  </a:cubicBezTo>
                  <a:cubicBezTo>
                    <a:pt x="147547" y="66374"/>
                    <a:pt x="145385" y="69952"/>
                    <a:pt x="141862" y="70828"/>
                  </a:cubicBezTo>
                  <a:cubicBezTo>
                    <a:pt x="127193" y="74500"/>
                    <a:pt x="110082" y="76420"/>
                    <a:pt x="92412" y="76420"/>
                  </a:cubicBezTo>
                  <a:close/>
                </a:path>
              </a:pathLst>
            </a:custGeom>
            <a:solidFill>
              <a:schemeClr val="accent1"/>
            </a:solidFill>
            <a:ln w="1863" cap="flat">
              <a:noFill/>
              <a:prstDash val="solid"/>
              <a:miter/>
            </a:ln>
          </p:spPr>
          <p:txBody>
            <a:bodyPr rtlCol="0" anchor="ctr"/>
            <a:lstStyle/>
            <a:p>
              <a:endParaRPr lang="en-GB" dirty="0"/>
            </a:p>
          </p:txBody>
        </p:sp>
        <p:grpSp>
          <p:nvGrpSpPr>
            <p:cNvPr id="229" name="Gruppieren 1313">
              <a:extLst>
                <a:ext uri="{FF2B5EF4-FFF2-40B4-BE49-F238E27FC236}">
                  <a16:creationId xmlns:a16="http://schemas.microsoft.com/office/drawing/2014/main" id="{14A71DDB-4DD4-4953-9FD7-6298E6175880}"/>
                </a:ext>
              </a:extLst>
            </p:cNvPr>
            <p:cNvGrpSpPr/>
            <p:nvPr/>
          </p:nvGrpSpPr>
          <p:grpSpPr>
            <a:xfrm>
              <a:off x="3695870" y="2475739"/>
              <a:ext cx="522965" cy="347787"/>
              <a:chOff x="6950826" y="2600312"/>
              <a:chExt cx="487537" cy="324226"/>
            </a:xfrm>
            <a:solidFill>
              <a:schemeClr val="tx2"/>
            </a:solidFill>
          </p:grpSpPr>
          <p:sp>
            <p:nvSpPr>
              <p:cNvPr id="230" name="Freihandform: Form 957">
                <a:extLst>
                  <a:ext uri="{FF2B5EF4-FFF2-40B4-BE49-F238E27FC236}">
                    <a16:creationId xmlns:a16="http://schemas.microsoft.com/office/drawing/2014/main" id="{2858DAFF-E055-4A0C-8C2C-EF49B9F2C079}"/>
                  </a:ext>
                </a:extLst>
              </p:cNvPr>
              <p:cNvSpPr/>
              <p:nvPr/>
            </p:nvSpPr>
            <p:spPr>
              <a:xfrm>
                <a:off x="7110868" y="2696808"/>
                <a:ext cx="327495" cy="99549"/>
              </a:xfrm>
              <a:custGeom>
                <a:avLst/>
                <a:gdLst>
                  <a:gd name="connsiteX0" fmla="*/ 131174 w 327495"/>
                  <a:gd name="connsiteY0" fmla="*/ 99549 h 99549"/>
                  <a:gd name="connsiteX1" fmla="*/ 26050 w 327495"/>
                  <a:gd name="connsiteY1" fmla="*/ 85849 h 99549"/>
                  <a:gd name="connsiteX2" fmla="*/ 9107 w 327495"/>
                  <a:gd name="connsiteY2" fmla="*/ 81805 h 99549"/>
                  <a:gd name="connsiteX3" fmla="*/ 5230 w 327495"/>
                  <a:gd name="connsiteY3" fmla="*/ 81003 h 99549"/>
                  <a:gd name="connsiteX4" fmla="*/ 141 w 327495"/>
                  <a:gd name="connsiteY4" fmla="*/ 73193 h 99549"/>
                  <a:gd name="connsiteX5" fmla="*/ 7951 w 327495"/>
                  <a:gd name="connsiteY5" fmla="*/ 68105 h 99549"/>
                  <a:gd name="connsiteX6" fmla="*/ 11772 w 327495"/>
                  <a:gd name="connsiteY6" fmla="*/ 68906 h 99549"/>
                  <a:gd name="connsiteX7" fmla="*/ 29740 w 327495"/>
                  <a:gd name="connsiteY7" fmla="*/ 73212 h 99549"/>
                  <a:gd name="connsiteX8" fmla="*/ 313706 w 327495"/>
                  <a:gd name="connsiteY8" fmla="*/ 17146 h 99549"/>
                  <a:gd name="connsiteX9" fmla="*/ 313948 w 327495"/>
                  <a:gd name="connsiteY9" fmla="*/ 16848 h 99549"/>
                  <a:gd name="connsiteX10" fmla="*/ 278907 w 327495"/>
                  <a:gd name="connsiteY10" fmla="*/ 17985 h 99549"/>
                  <a:gd name="connsiteX11" fmla="*/ 259392 w 327495"/>
                  <a:gd name="connsiteY11" fmla="*/ 26950 h 99549"/>
                  <a:gd name="connsiteX12" fmla="*/ 188806 w 327495"/>
                  <a:gd name="connsiteY12" fmla="*/ 43800 h 99549"/>
                  <a:gd name="connsiteX13" fmla="*/ 182692 w 327495"/>
                  <a:gd name="connsiteY13" fmla="*/ 36773 h 99549"/>
                  <a:gd name="connsiteX14" fmla="*/ 189719 w 327495"/>
                  <a:gd name="connsiteY14" fmla="*/ 30659 h 99549"/>
                  <a:gd name="connsiteX15" fmla="*/ 253278 w 327495"/>
                  <a:gd name="connsiteY15" fmla="*/ 15263 h 99549"/>
                  <a:gd name="connsiteX16" fmla="*/ 274266 w 327495"/>
                  <a:gd name="connsiteY16" fmla="*/ 5646 h 99549"/>
                  <a:gd name="connsiteX17" fmla="*/ 325523 w 327495"/>
                  <a:gd name="connsiteY17" fmla="*/ 10436 h 99549"/>
                  <a:gd name="connsiteX18" fmla="*/ 323417 w 327495"/>
                  <a:gd name="connsiteY18" fmla="*/ 26018 h 99549"/>
                  <a:gd name="connsiteX19" fmla="*/ 131174 w 327495"/>
                  <a:gd name="connsiteY19" fmla="*/ 99549 h 99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7495" h="99549">
                    <a:moveTo>
                      <a:pt x="131174" y="99549"/>
                    </a:moveTo>
                    <a:cubicBezTo>
                      <a:pt x="86999" y="99549"/>
                      <a:pt x="48007" y="92336"/>
                      <a:pt x="26050" y="85849"/>
                    </a:cubicBezTo>
                    <a:cubicBezTo>
                      <a:pt x="19172" y="83874"/>
                      <a:pt x="14736" y="82960"/>
                      <a:pt x="9107" y="81805"/>
                    </a:cubicBezTo>
                    <a:lnTo>
                      <a:pt x="5230" y="81003"/>
                    </a:lnTo>
                    <a:cubicBezTo>
                      <a:pt x="1670" y="80258"/>
                      <a:pt x="-604" y="76753"/>
                      <a:pt x="141" y="73193"/>
                    </a:cubicBezTo>
                    <a:cubicBezTo>
                      <a:pt x="887" y="69633"/>
                      <a:pt x="4391" y="67341"/>
                      <a:pt x="7951" y="68105"/>
                    </a:cubicBezTo>
                    <a:lnTo>
                      <a:pt x="11772" y="68906"/>
                    </a:lnTo>
                    <a:cubicBezTo>
                      <a:pt x="17438" y="70062"/>
                      <a:pt x="22322" y="71068"/>
                      <a:pt x="29740" y="73212"/>
                    </a:cubicBezTo>
                    <a:cubicBezTo>
                      <a:pt x="82097" y="88664"/>
                      <a:pt x="235087" y="108701"/>
                      <a:pt x="313706" y="17146"/>
                    </a:cubicBezTo>
                    <a:lnTo>
                      <a:pt x="313948" y="16848"/>
                    </a:lnTo>
                    <a:cubicBezTo>
                      <a:pt x="311208" y="13921"/>
                      <a:pt x="298478" y="9877"/>
                      <a:pt x="278907" y="17985"/>
                    </a:cubicBezTo>
                    <a:cubicBezTo>
                      <a:pt x="272104" y="20314"/>
                      <a:pt x="265916" y="23539"/>
                      <a:pt x="259392" y="26950"/>
                    </a:cubicBezTo>
                    <a:cubicBezTo>
                      <a:pt x="242170" y="35953"/>
                      <a:pt x="222617" y="46167"/>
                      <a:pt x="188806" y="43800"/>
                    </a:cubicBezTo>
                    <a:cubicBezTo>
                      <a:pt x="185171" y="43539"/>
                      <a:pt x="182431" y="40407"/>
                      <a:pt x="182692" y="36773"/>
                    </a:cubicBezTo>
                    <a:cubicBezTo>
                      <a:pt x="182953" y="33138"/>
                      <a:pt x="186103" y="30417"/>
                      <a:pt x="189719" y="30659"/>
                    </a:cubicBezTo>
                    <a:cubicBezTo>
                      <a:pt x="219821" y="32747"/>
                      <a:pt x="236839" y="23875"/>
                      <a:pt x="253278" y="15263"/>
                    </a:cubicBezTo>
                    <a:cubicBezTo>
                      <a:pt x="260287" y="11610"/>
                      <a:pt x="266904" y="8143"/>
                      <a:pt x="274266" y="5646"/>
                    </a:cubicBezTo>
                    <a:cubicBezTo>
                      <a:pt x="299019" y="-4625"/>
                      <a:pt x="319261" y="408"/>
                      <a:pt x="325523" y="10436"/>
                    </a:cubicBezTo>
                    <a:cubicBezTo>
                      <a:pt x="328785" y="15673"/>
                      <a:pt x="327946" y="21731"/>
                      <a:pt x="323417" y="26018"/>
                    </a:cubicBezTo>
                    <a:cubicBezTo>
                      <a:pt x="273688" y="83687"/>
                      <a:pt x="196709" y="99549"/>
                      <a:pt x="131174" y="99549"/>
                    </a:cubicBezTo>
                    <a:close/>
                  </a:path>
                </a:pathLst>
              </a:custGeom>
              <a:grpFill/>
              <a:ln w="1863" cap="flat">
                <a:noFill/>
                <a:prstDash val="solid"/>
                <a:miter/>
              </a:ln>
            </p:spPr>
            <p:txBody>
              <a:bodyPr rtlCol="0" anchor="ctr"/>
              <a:lstStyle/>
              <a:p>
                <a:endParaRPr lang="en-GB" dirty="0"/>
              </a:p>
            </p:txBody>
          </p:sp>
          <p:sp>
            <p:nvSpPr>
              <p:cNvPr id="231" name="Freihandform: Form 958">
                <a:extLst>
                  <a:ext uri="{FF2B5EF4-FFF2-40B4-BE49-F238E27FC236}">
                    <a16:creationId xmlns:a16="http://schemas.microsoft.com/office/drawing/2014/main" id="{3D1934AC-E89E-4B83-A985-52CB5D855201}"/>
                  </a:ext>
                </a:extLst>
              </p:cNvPr>
              <p:cNvSpPr/>
              <p:nvPr/>
            </p:nvSpPr>
            <p:spPr>
              <a:xfrm>
                <a:off x="6950882" y="2628121"/>
                <a:ext cx="92170" cy="79029"/>
              </a:xfrm>
              <a:custGeom>
                <a:avLst/>
                <a:gdLst>
                  <a:gd name="connsiteX0" fmla="*/ 85590 w 92170"/>
                  <a:gd name="connsiteY0" fmla="*/ 79030 h 79029"/>
                  <a:gd name="connsiteX1" fmla="*/ 79011 w 92170"/>
                  <a:gd name="connsiteY1" fmla="*/ 72450 h 79029"/>
                  <a:gd name="connsiteX2" fmla="*/ 79011 w 92170"/>
                  <a:gd name="connsiteY2" fmla="*/ 13159 h 79029"/>
                  <a:gd name="connsiteX3" fmla="*/ 6580 w 92170"/>
                  <a:gd name="connsiteY3" fmla="*/ 13159 h 79029"/>
                  <a:gd name="connsiteX4" fmla="*/ 0 w 92170"/>
                  <a:gd name="connsiteY4" fmla="*/ 6580 h 79029"/>
                  <a:gd name="connsiteX5" fmla="*/ 6580 w 92170"/>
                  <a:gd name="connsiteY5" fmla="*/ 0 h 79029"/>
                  <a:gd name="connsiteX6" fmla="*/ 85590 w 92170"/>
                  <a:gd name="connsiteY6" fmla="*/ 0 h 79029"/>
                  <a:gd name="connsiteX7" fmla="*/ 92170 w 92170"/>
                  <a:gd name="connsiteY7" fmla="*/ 6580 h 79029"/>
                  <a:gd name="connsiteX8" fmla="*/ 92170 w 92170"/>
                  <a:gd name="connsiteY8" fmla="*/ 72450 h 79029"/>
                  <a:gd name="connsiteX9" fmla="*/ 85590 w 92170"/>
                  <a:gd name="connsiteY9" fmla="*/ 79030 h 7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170" h="79029">
                    <a:moveTo>
                      <a:pt x="85590" y="79030"/>
                    </a:moveTo>
                    <a:cubicBezTo>
                      <a:pt x="81956" y="79030"/>
                      <a:pt x="79011" y="76085"/>
                      <a:pt x="79011" y="72450"/>
                    </a:cubicBezTo>
                    <a:lnTo>
                      <a:pt x="79011" y="13159"/>
                    </a:lnTo>
                    <a:lnTo>
                      <a:pt x="6580" y="13159"/>
                    </a:lnTo>
                    <a:cubicBezTo>
                      <a:pt x="2945" y="13159"/>
                      <a:pt x="0" y="10214"/>
                      <a:pt x="0" y="6580"/>
                    </a:cubicBezTo>
                    <a:cubicBezTo>
                      <a:pt x="0" y="2945"/>
                      <a:pt x="2945" y="0"/>
                      <a:pt x="6580" y="0"/>
                    </a:cubicBezTo>
                    <a:lnTo>
                      <a:pt x="85590" y="0"/>
                    </a:lnTo>
                    <a:cubicBezTo>
                      <a:pt x="89225" y="0"/>
                      <a:pt x="92170" y="2945"/>
                      <a:pt x="92170" y="6580"/>
                    </a:cubicBezTo>
                    <a:lnTo>
                      <a:pt x="92170" y="72450"/>
                    </a:lnTo>
                    <a:cubicBezTo>
                      <a:pt x="92170" y="76066"/>
                      <a:pt x="89225" y="79030"/>
                      <a:pt x="85590" y="79030"/>
                    </a:cubicBezTo>
                    <a:close/>
                  </a:path>
                </a:pathLst>
              </a:custGeom>
              <a:grpFill/>
              <a:ln w="1863" cap="flat">
                <a:noFill/>
                <a:prstDash val="solid"/>
                <a:miter/>
              </a:ln>
            </p:spPr>
            <p:txBody>
              <a:bodyPr rtlCol="0" anchor="ctr"/>
              <a:lstStyle/>
              <a:p>
                <a:endParaRPr lang="en-GB" dirty="0"/>
              </a:p>
            </p:txBody>
          </p:sp>
          <p:sp>
            <p:nvSpPr>
              <p:cNvPr id="232" name="Freihandform: Form 959">
                <a:extLst>
                  <a:ext uri="{FF2B5EF4-FFF2-40B4-BE49-F238E27FC236}">
                    <a16:creationId xmlns:a16="http://schemas.microsoft.com/office/drawing/2014/main" id="{938BAACE-67E4-4D07-A827-A96EC60A30D2}"/>
                  </a:ext>
                </a:extLst>
              </p:cNvPr>
              <p:cNvSpPr/>
              <p:nvPr/>
            </p:nvSpPr>
            <p:spPr>
              <a:xfrm>
                <a:off x="7379660" y="2678934"/>
                <a:ext cx="27167" cy="32094"/>
              </a:xfrm>
              <a:custGeom>
                <a:avLst/>
                <a:gdLst>
                  <a:gd name="connsiteX0" fmla="*/ 19044 w 27167"/>
                  <a:gd name="connsiteY0" fmla="*/ 32094 h 32094"/>
                  <a:gd name="connsiteX1" fmla="*/ 16285 w 27167"/>
                  <a:gd name="connsiteY1" fmla="*/ 31479 h 32094"/>
                  <a:gd name="connsiteX2" fmla="*/ 13079 w 27167"/>
                  <a:gd name="connsiteY2" fmla="*/ 22737 h 32094"/>
                  <a:gd name="connsiteX3" fmla="*/ 13638 w 27167"/>
                  <a:gd name="connsiteY3" fmla="*/ 17183 h 32094"/>
                  <a:gd name="connsiteX4" fmla="*/ 5940 w 27167"/>
                  <a:gd name="connsiteY4" fmla="*/ 13138 h 32094"/>
                  <a:gd name="connsiteX5" fmla="*/ 32 w 27167"/>
                  <a:gd name="connsiteY5" fmla="*/ 5925 h 32094"/>
                  <a:gd name="connsiteX6" fmla="*/ 7245 w 27167"/>
                  <a:gd name="connsiteY6" fmla="*/ 35 h 32094"/>
                  <a:gd name="connsiteX7" fmla="*/ 25772 w 27167"/>
                  <a:gd name="connsiteY7" fmla="*/ 12057 h 32094"/>
                  <a:gd name="connsiteX8" fmla="*/ 25027 w 27167"/>
                  <a:gd name="connsiteY8" fmla="*/ 28292 h 32094"/>
                  <a:gd name="connsiteX9" fmla="*/ 19044 w 27167"/>
                  <a:gd name="connsiteY9" fmla="*/ 32094 h 32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167" h="32094">
                    <a:moveTo>
                      <a:pt x="19044" y="32094"/>
                    </a:moveTo>
                    <a:cubicBezTo>
                      <a:pt x="18112" y="32094"/>
                      <a:pt x="17180" y="31908"/>
                      <a:pt x="16285" y="31479"/>
                    </a:cubicBezTo>
                    <a:cubicBezTo>
                      <a:pt x="12986" y="29951"/>
                      <a:pt x="11551" y="26036"/>
                      <a:pt x="13079" y="22737"/>
                    </a:cubicBezTo>
                    <a:cubicBezTo>
                      <a:pt x="13769" y="21246"/>
                      <a:pt x="14421" y="19065"/>
                      <a:pt x="13638" y="17183"/>
                    </a:cubicBezTo>
                    <a:cubicBezTo>
                      <a:pt x="12725" y="15039"/>
                      <a:pt x="9855" y="13530"/>
                      <a:pt x="5940" y="13138"/>
                    </a:cubicBezTo>
                    <a:cubicBezTo>
                      <a:pt x="2325" y="12765"/>
                      <a:pt x="-322" y="9541"/>
                      <a:pt x="32" y="5925"/>
                    </a:cubicBezTo>
                    <a:cubicBezTo>
                      <a:pt x="405" y="2309"/>
                      <a:pt x="3704" y="-338"/>
                      <a:pt x="7245" y="35"/>
                    </a:cubicBezTo>
                    <a:cubicBezTo>
                      <a:pt x="16155" y="930"/>
                      <a:pt x="22902" y="5310"/>
                      <a:pt x="25772" y="12057"/>
                    </a:cubicBezTo>
                    <a:cubicBezTo>
                      <a:pt x="27860" y="16997"/>
                      <a:pt x="27599" y="22756"/>
                      <a:pt x="25027" y="28292"/>
                    </a:cubicBezTo>
                    <a:cubicBezTo>
                      <a:pt x="23908" y="30678"/>
                      <a:pt x="21523" y="32094"/>
                      <a:pt x="19044" y="32094"/>
                    </a:cubicBezTo>
                    <a:close/>
                  </a:path>
                </a:pathLst>
              </a:custGeom>
              <a:grpFill/>
              <a:ln w="1863" cap="flat">
                <a:noFill/>
                <a:prstDash val="solid"/>
                <a:miter/>
              </a:ln>
            </p:spPr>
            <p:txBody>
              <a:bodyPr rtlCol="0" anchor="ctr"/>
              <a:lstStyle/>
              <a:p>
                <a:endParaRPr lang="en-GB" dirty="0"/>
              </a:p>
            </p:txBody>
          </p:sp>
          <p:grpSp>
            <p:nvGrpSpPr>
              <p:cNvPr id="233" name="Grafik 318">
                <a:extLst>
                  <a:ext uri="{FF2B5EF4-FFF2-40B4-BE49-F238E27FC236}">
                    <a16:creationId xmlns:a16="http://schemas.microsoft.com/office/drawing/2014/main" id="{50B414A7-0C89-4700-BD7B-5E36CF784B9D}"/>
                  </a:ext>
                </a:extLst>
              </p:cNvPr>
              <p:cNvGrpSpPr/>
              <p:nvPr/>
            </p:nvGrpSpPr>
            <p:grpSpPr>
              <a:xfrm>
                <a:off x="6950826" y="2717235"/>
                <a:ext cx="177443" cy="207303"/>
                <a:chOff x="6950826" y="2717235"/>
                <a:chExt cx="177443" cy="207303"/>
              </a:xfrm>
              <a:grpFill/>
            </p:grpSpPr>
            <p:sp>
              <p:nvSpPr>
                <p:cNvPr id="236" name="Freihandform: Form 977">
                  <a:extLst>
                    <a:ext uri="{FF2B5EF4-FFF2-40B4-BE49-F238E27FC236}">
                      <a16:creationId xmlns:a16="http://schemas.microsoft.com/office/drawing/2014/main" id="{5FA93D9E-A5E5-4490-8E5E-7B4273BCAB4E}"/>
                    </a:ext>
                  </a:extLst>
                </p:cNvPr>
                <p:cNvSpPr/>
                <p:nvPr/>
              </p:nvSpPr>
              <p:spPr>
                <a:xfrm>
                  <a:off x="6980704" y="2911379"/>
                  <a:ext cx="117686" cy="13159"/>
                </a:xfrm>
                <a:custGeom>
                  <a:avLst/>
                  <a:gdLst>
                    <a:gd name="connsiteX0" fmla="*/ 111107 w 117686"/>
                    <a:gd name="connsiteY0" fmla="*/ 13159 h 13159"/>
                    <a:gd name="connsiteX1" fmla="*/ 6580 w 117686"/>
                    <a:gd name="connsiteY1" fmla="*/ 13159 h 13159"/>
                    <a:gd name="connsiteX2" fmla="*/ 0 w 117686"/>
                    <a:gd name="connsiteY2" fmla="*/ 6580 h 13159"/>
                    <a:gd name="connsiteX3" fmla="*/ 6580 w 117686"/>
                    <a:gd name="connsiteY3" fmla="*/ 0 h 13159"/>
                    <a:gd name="connsiteX4" fmla="*/ 111107 w 117686"/>
                    <a:gd name="connsiteY4" fmla="*/ 0 h 13159"/>
                    <a:gd name="connsiteX5" fmla="*/ 117687 w 117686"/>
                    <a:gd name="connsiteY5" fmla="*/ 6580 h 13159"/>
                    <a:gd name="connsiteX6" fmla="*/ 111107 w 117686"/>
                    <a:gd name="connsiteY6" fmla="*/ 13159 h 13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686" h="13159">
                      <a:moveTo>
                        <a:pt x="111107" y="13159"/>
                      </a:moveTo>
                      <a:lnTo>
                        <a:pt x="6580" y="13159"/>
                      </a:lnTo>
                      <a:cubicBezTo>
                        <a:pt x="2945" y="13159"/>
                        <a:pt x="0" y="10214"/>
                        <a:pt x="0" y="6580"/>
                      </a:cubicBezTo>
                      <a:cubicBezTo>
                        <a:pt x="0" y="2945"/>
                        <a:pt x="2945" y="0"/>
                        <a:pt x="6580" y="0"/>
                      </a:cubicBezTo>
                      <a:lnTo>
                        <a:pt x="111107" y="0"/>
                      </a:lnTo>
                      <a:cubicBezTo>
                        <a:pt x="114742" y="0"/>
                        <a:pt x="117687" y="2945"/>
                        <a:pt x="117687" y="6580"/>
                      </a:cubicBezTo>
                      <a:cubicBezTo>
                        <a:pt x="117687" y="10214"/>
                        <a:pt x="114742" y="13159"/>
                        <a:pt x="111107" y="13159"/>
                      </a:cubicBezTo>
                      <a:close/>
                    </a:path>
                  </a:pathLst>
                </a:custGeom>
                <a:grpFill/>
                <a:ln w="1863" cap="flat">
                  <a:noFill/>
                  <a:prstDash val="solid"/>
                  <a:miter/>
                </a:ln>
              </p:spPr>
              <p:txBody>
                <a:bodyPr rtlCol="0" anchor="ctr"/>
                <a:lstStyle/>
                <a:p>
                  <a:endParaRPr lang="en-GB" dirty="0"/>
                </a:p>
              </p:txBody>
            </p:sp>
            <p:sp>
              <p:nvSpPr>
                <p:cNvPr id="237" name="Freihandform: Form 978">
                  <a:extLst>
                    <a:ext uri="{FF2B5EF4-FFF2-40B4-BE49-F238E27FC236}">
                      <a16:creationId xmlns:a16="http://schemas.microsoft.com/office/drawing/2014/main" id="{7207C2ED-785B-4CE4-9A17-518D6D2EA39E}"/>
                    </a:ext>
                  </a:extLst>
                </p:cNvPr>
                <p:cNvSpPr/>
                <p:nvPr/>
              </p:nvSpPr>
              <p:spPr>
                <a:xfrm>
                  <a:off x="6950826" y="2717235"/>
                  <a:ext cx="177443" cy="177443"/>
                </a:xfrm>
                <a:custGeom>
                  <a:avLst/>
                  <a:gdLst>
                    <a:gd name="connsiteX0" fmla="*/ 88722 w 177443"/>
                    <a:gd name="connsiteY0" fmla="*/ 177444 h 177443"/>
                    <a:gd name="connsiteX1" fmla="*/ 0 w 177443"/>
                    <a:gd name="connsiteY1" fmla="*/ 88722 h 177443"/>
                    <a:gd name="connsiteX2" fmla="*/ 88722 w 177443"/>
                    <a:gd name="connsiteY2" fmla="*/ 0 h 177443"/>
                    <a:gd name="connsiteX3" fmla="*/ 177444 w 177443"/>
                    <a:gd name="connsiteY3" fmla="*/ 88722 h 177443"/>
                    <a:gd name="connsiteX4" fmla="*/ 88722 w 177443"/>
                    <a:gd name="connsiteY4" fmla="*/ 177444 h 177443"/>
                    <a:gd name="connsiteX5" fmla="*/ 88722 w 177443"/>
                    <a:gd name="connsiteY5" fmla="*/ 13196 h 177443"/>
                    <a:gd name="connsiteX6" fmla="*/ 13178 w 177443"/>
                    <a:gd name="connsiteY6" fmla="*/ 88740 h 177443"/>
                    <a:gd name="connsiteX7" fmla="*/ 88722 w 177443"/>
                    <a:gd name="connsiteY7" fmla="*/ 164285 h 177443"/>
                    <a:gd name="connsiteX8" fmla="*/ 164266 w 177443"/>
                    <a:gd name="connsiteY8" fmla="*/ 88740 h 177443"/>
                    <a:gd name="connsiteX9" fmla="*/ 88722 w 177443"/>
                    <a:gd name="connsiteY9" fmla="*/ 13196 h 177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7443" h="177443">
                      <a:moveTo>
                        <a:pt x="88722" y="177444"/>
                      </a:moveTo>
                      <a:cubicBezTo>
                        <a:pt x="39794" y="177444"/>
                        <a:pt x="0" y="137649"/>
                        <a:pt x="0" y="88722"/>
                      </a:cubicBezTo>
                      <a:cubicBezTo>
                        <a:pt x="0" y="39794"/>
                        <a:pt x="39794" y="0"/>
                        <a:pt x="88722" y="0"/>
                      </a:cubicBezTo>
                      <a:cubicBezTo>
                        <a:pt x="137649" y="0"/>
                        <a:pt x="177444" y="39794"/>
                        <a:pt x="177444" y="88722"/>
                      </a:cubicBezTo>
                      <a:cubicBezTo>
                        <a:pt x="177444" y="137649"/>
                        <a:pt x="137631" y="177444"/>
                        <a:pt x="88722" y="177444"/>
                      </a:cubicBezTo>
                      <a:close/>
                      <a:moveTo>
                        <a:pt x="88722" y="13196"/>
                      </a:moveTo>
                      <a:cubicBezTo>
                        <a:pt x="47064" y="13196"/>
                        <a:pt x="13178" y="47082"/>
                        <a:pt x="13178" y="88740"/>
                      </a:cubicBezTo>
                      <a:cubicBezTo>
                        <a:pt x="13178" y="130399"/>
                        <a:pt x="47064" y="164285"/>
                        <a:pt x="88722" y="164285"/>
                      </a:cubicBezTo>
                      <a:cubicBezTo>
                        <a:pt x="130380" y="164285"/>
                        <a:pt x="164266" y="130399"/>
                        <a:pt x="164266" y="88740"/>
                      </a:cubicBezTo>
                      <a:cubicBezTo>
                        <a:pt x="164266" y="47082"/>
                        <a:pt x="130380" y="13196"/>
                        <a:pt x="88722" y="13196"/>
                      </a:cubicBezTo>
                      <a:close/>
                    </a:path>
                  </a:pathLst>
                </a:custGeom>
                <a:grpFill/>
                <a:ln w="1863" cap="flat">
                  <a:noFill/>
                  <a:prstDash val="solid"/>
                  <a:miter/>
                </a:ln>
              </p:spPr>
              <p:txBody>
                <a:bodyPr rtlCol="0" anchor="ctr"/>
                <a:lstStyle/>
                <a:p>
                  <a:endParaRPr lang="en-GB" dirty="0"/>
                </a:p>
              </p:txBody>
            </p:sp>
            <p:sp>
              <p:nvSpPr>
                <p:cNvPr id="238" name="Freihandform: Form 979">
                  <a:extLst>
                    <a:ext uri="{FF2B5EF4-FFF2-40B4-BE49-F238E27FC236}">
                      <a16:creationId xmlns:a16="http://schemas.microsoft.com/office/drawing/2014/main" id="{4F34A7B0-DC88-4B1A-B548-155619D123BA}"/>
                    </a:ext>
                  </a:extLst>
                </p:cNvPr>
                <p:cNvSpPr/>
                <p:nvPr/>
              </p:nvSpPr>
              <p:spPr>
                <a:xfrm>
                  <a:off x="7085223" y="2717244"/>
                  <a:ext cx="28107" cy="28116"/>
                </a:xfrm>
                <a:custGeom>
                  <a:avLst/>
                  <a:gdLst>
                    <a:gd name="connsiteX0" fmla="*/ 6589 w 28107"/>
                    <a:gd name="connsiteY0" fmla="*/ 28117 h 28116"/>
                    <a:gd name="connsiteX1" fmla="*/ 1929 w 28107"/>
                    <a:gd name="connsiteY1" fmla="*/ 26178 h 28116"/>
                    <a:gd name="connsiteX2" fmla="*/ 1929 w 28107"/>
                    <a:gd name="connsiteY2" fmla="*/ 16859 h 28116"/>
                    <a:gd name="connsiteX3" fmla="*/ 16859 w 28107"/>
                    <a:gd name="connsiteY3" fmla="*/ 1929 h 28116"/>
                    <a:gd name="connsiteX4" fmla="*/ 26179 w 28107"/>
                    <a:gd name="connsiteY4" fmla="*/ 1929 h 28116"/>
                    <a:gd name="connsiteX5" fmla="*/ 26179 w 28107"/>
                    <a:gd name="connsiteY5" fmla="*/ 11249 h 28116"/>
                    <a:gd name="connsiteX6" fmla="*/ 11249 w 28107"/>
                    <a:gd name="connsiteY6" fmla="*/ 26178 h 28116"/>
                    <a:gd name="connsiteX7" fmla="*/ 6589 w 28107"/>
                    <a:gd name="connsiteY7" fmla="*/ 28117 h 2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07" h="28116">
                      <a:moveTo>
                        <a:pt x="6589" y="28117"/>
                      </a:moveTo>
                      <a:cubicBezTo>
                        <a:pt x="4911" y="28117"/>
                        <a:pt x="3215" y="27465"/>
                        <a:pt x="1929" y="26178"/>
                      </a:cubicBezTo>
                      <a:cubicBezTo>
                        <a:pt x="-643" y="23606"/>
                        <a:pt x="-643" y="19431"/>
                        <a:pt x="1929" y="16859"/>
                      </a:cubicBezTo>
                      <a:lnTo>
                        <a:pt x="16859" y="1929"/>
                      </a:lnTo>
                      <a:cubicBezTo>
                        <a:pt x="19431" y="-643"/>
                        <a:pt x="23606" y="-643"/>
                        <a:pt x="26179" y="1929"/>
                      </a:cubicBezTo>
                      <a:cubicBezTo>
                        <a:pt x="28751" y="4501"/>
                        <a:pt x="28751" y="8676"/>
                        <a:pt x="26179" y="11249"/>
                      </a:cubicBezTo>
                      <a:lnTo>
                        <a:pt x="11249" y="26178"/>
                      </a:lnTo>
                      <a:cubicBezTo>
                        <a:pt x="9963" y="27465"/>
                        <a:pt x="8266" y="28117"/>
                        <a:pt x="6589" y="28117"/>
                      </a:cubicBezTo>
                      <a:close/>
                    </a:path>
                  </a:pathLst>
                </a:custGeom>
                <a:grpFill/>
                <a:ln w="1863" cap="flat">
                  <a:noFill/>
                  <a:prstDash val="solid"/>
                  <a:miter/>
                </a:ln>
              </p:spPr>
              <p:txBody>
                <a:bodyPr rtlCol="0" anchor="ctr"/>
                <a:lstStyle/>
                <a:p>
                  <a:endParaRPr lang="en-GB" dirty="0"/>
                </a:p>
              </p:txBody>
            </p:sp>
            <p:sp>
              <p:nvSpPr>
                <p:cNvPr id="239" name="Freihandform: Form 980">
                  <a:extLst>
                    <a:ext uri="{FF2B5EF4-FFF2-40B4-BE49-F238E27FC236}">
                      <a16:creationId xmlns:a16="http://schemas.microsoft.com/office/drawing/2014/main" id="{FC913629-72E9-4AAD-A7D2-1F217B88D801}"/>
                    </a:ext>
                  </a:extLst>
                </p:cNvPr>
                <p:cNvSpPr/>
                <p:nvPr/>
              </p:nvSpPr>
              <p:spPr>
                <a:xfrm>
                  <a:off x="6965765" y="2717244"/>
                  <a:ext cx="28107" cy="28116"/>
                </a:xfrm>
                <a:custGeom>
                  <a:avLst/>
                  <a:gdLst>
                    <a:gd name="connsiteX0" fmla="*/ 21519 w 28107"/>
                    <a:gd name="connsiteY0" fmla="*/ 28117 h 28116"/>
                    <a:gd name="connsiteX1" fmla="*/ 16859 w 28107"/>
                    <a:gd name="connsiteY1" fmla="*/ 26178 h 28116"/>
                    <a:gd name="connsiteX2" fmla="*/ 1929 w 28107"/>
                    <a:gd name="connsiteY2" fmla="*/ 11249 h 28116"/>
                    <a:gd name="connsiteX3" fmla="*/ 1929 w 28107"/>
                    <a:gd name="connsiteY3" fmla="*/ 1929 h 28116"/>
                    <a:gd name="connsiteX4" fmla="*/ 11249 w 28107"/>
                    <a:gd name="connsiteY4" fmla="*/ 1929 h 28116"/>
                    <a:gd name="connsiteX5" fmla="*/ 26178 w 28107"/>
                    <a:gd name="connsiteY5" fmla="*/ 16859 h 28116"/>
                    <a:gd name="connsiteX6" fmla="*/ 26178 w 28107"/>
                    <a:gd name="connsiteY6" fmla="*/ 26178 h 28116"/>
                    <a:gd name="connsiteX7" fmla="*/ 21519 w 28107"/>
                    <a:gd name="connsiteY7" fmla="*/ 28117 h 28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07" h="28116">
                      <a:moveTo>
                        <a:pt x="21519" y="28117"/>
                      </a:moveTo>
                      <a:cubicBezTo>
                        <a:pt x="19841" y="28117"/>
                        <a:pt x="18145" y="27465"/>
                        <a:pt x="16859" y="26178"/>
                      </a:cubicBezTo>
                      <a:lnTo>
                        <a:pt x="1929" y="11249"/>
                      </a:lnTo>
                      <a:cubicBezTo>
                        <a:pt x="-643" y="8676"/>
                        <a:pt x="-643" y="4501"/>
                        <a:pt x="1929" y="1929"/>
                      </a:cubicBezTo>
                      <a:cubicBezTo>
                        <a:pt x="4501" y="-643"/>
                        <a:pt x="8676" y="-643"/>
                        <a:pt x="11249" y="1929"/>
                      </a:cubicBezTo>
                      <a:lnTo>
                        <a:pt x="26178" y="16859"/>
                      </a:lnTo>
                      <a:cubicBezTo>
                        <a:pt x="28751" y="19431"/>
                        <a:pt x="28751" y="23606"/>
                        <a:pt x="26178" y="26178"/>
                      </a:cubicBezTo>
                      <a:cubicBezTo>
                        <a:pt x="24892" y="27465"/>
                        <a:pt x="23196" y="28117"/>
                        <a:pt x="21519" y="28117"/>
                      </a:cubicBezTo>
                      <a:close/>
                    </a:path>
                  </a:pathLst>
                </a:custGeom>
                <a:grpFill/>
                <a:ln w="1863" cap="flat">
                  <a:noFill/>
                  <a:prstDash val="solid"/>
                  <a:miter/>
                </a:ln>
              </p:spPr>
              <p:txBody>
                <a:bodyPr rtlCol="0" anchor="ctr"/>
                <a:lstStyle/>
                <a:p>
                  <a:endParaRPr lang="en-GB" dirty="0"/>
                </a:p>
              </p:txBody>
            </p:sp>
            <p:sp>
              <p:nvSpPr>
                <p:cNvPr id="240" name="Freihandform: Form 981">
                  <a:extLst>
                    <a:ext uri="{FF2B5EF4-FFF2-40B4-BE49-F238E27FC236}">
                      <a16:creationId xmlns:a16="http://schemas.microsoft.com/office/drawing/2014/main" id="{480E2E77-CCEE-4BF5-ACBC-5C0C70CE9EDA}"/>
                    </a:ext>
                  </a:extLst>
                </p:cNvPr>
                <p:cNvSpPr/>
                <p:nvPr/>
              </p:nvSpPr>
              <p:spPr>
                <a:xfrm>
                  <a:off x="7032949" y="2762043"/>
                  <a:ext cx="43026" cy="87845"/>
                </a:xfrm>
                <a:custGeom>
                  <a:avLst/>
                  <a:gdLst>
                    <a:gd name="connsiteX0" fmla="*/ 36458 w 43026"/>
                    <a:gd name="connsiteY0" fmla="*/ 87846 h 87845"/>
                    <a:gd name="connsiteX1" fmla="*/ 31314 w 43026"/>
                    <a:gd name="connsiteY1" fmla="*/ 85367 h 87845"/>
                    <a:gd name="connsiteX2" fmla="*/ 0 w 43026"/>
                    <a:gd name="connsiteY2" fmla="*/ 46225 h 87845"/>
                    <a:gd name="connsiteX3" fmla="*/ 0 w 43026"/>
                    <a:gd name="connsiteY3" fmla="*/ 6580 h 87845"/>
                    <a:gd name="connsiteX4" fmla="*/ 6580 w 43026"/>
                    <a:gd name="connsiteY4" fmla="*/ 0 h 87845"/>
                    <a:gd name="connsiteX5" fmla="*/ 13159 w 43026"/>
                    <a:gd name="connsiteY5" fmla="*/ 6580 h 87845"/>
                    <a:gd name="connsiteX6" fmla="*/ 13159 w 43026"/>
                    <a:gd name="connsiteY6" fmla="*/ 41602 h 87845"/>
                    <a:gd name="connsiteX7" fmla="*/ 41584 w 43026"/>
                    <a:gd name="connsiteY7" fmla="*/ 77128 h 87845"/>
                    <a:gd name="connsiteX8" fmla="*/ 40559 w 43026"/>
                    <a:gd name="connsiteY8" fmla="*/ 86392 h 87845"/>
                    <a:gd name="connsiteX9" fmla="*/ 36458 w 43026"/>
                    <a:gd name="connsiteY9" fmla="*/ 87846 h 87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026" h="87845">
                      <a:moveTo>
                        <a:pt x="36458" y="87846"/>
                      </a:moveTo>
                      <a:cubicBezTo>
                        <a:pt x="34520" y="87846"/>
                        <a:pt x="32618" y="87007"/>
                        <a:pt x="31314" y="85367"/>
                      </a:cubicBezTo>
                      <a:lnTo>
                        <a:pt x="0" y="46225"/>
                      </a:lnTo>
                      <a:lnTo>
                        <a:pt x="0" y="6580"/>
                      </a:lnTo>
                      <a:cubicBezTo>
                        <a:pt x="0" y="2945"/>
                        <a:pt x="2945" y="0"/>
                        <a:pt x="6580" y="0"/>
                      </a:cubicBezTo>
                      <a:cubicBezTo>
                        <a:pt x="10214" y="0"/>
                        <a:pt x="13159" y="2945"/>
                        <a:pt x="13159" y="6580"/>
                      </a:cubicBezTo>
                      <a:lnTo>
                        <a:pt x="13159" y="41602"/>
                      </a:lnTo>
                      <a:lnTo>
                        <a:pt x="41584" y="77128"/>
                      </a:lnTo>
                      <a:cubicBezTo>
                        <a:pt x="43858" y="79961"/>
                        <a:pt x="43392" y="84118"/>
                        <a:pt x="40559" y="86392"/>
                      </a:cubicBezTo>
                      <a:cubicBezTo>
                        <a:pt x="39366" y="87361"/>
                        <a:pt x="37912" y="87846"/>
                        <a:pt x="36458" y="87846"/>
                      </a:cubicBezTo>
                      <a:close/>
                    </a:path>
                  </a:pathLst>
                </a:custGeom>
                <a:grpFill/>
                <a:ln w="1863" cap="flat">
                  <a:noFill/>
                  <a:prstDash val="solid"/>
                  <a:miter/>
                </a:ln>
              </p:spPr>
              <p:txBody>
                <a:bodyPr rtlCol="0" anchor="ctr"/>
                <a:lstStyle/>
                <a:p>
                  <a:endParaRPr lang="en-GB" dirty="0"/>
                </a:p>
              </p:txBody>
            </p:sp>
          </p:grpSp>
          <p:sp>
            <p:nvSpPr>
              <p:cNvPr id="234" name="Freihandform: Form 975">
                <a:extLst>
                  <a:ext uri="{FF2B5EF4-FFF2-40B4-BE49-F238E27FC236}">
                    <a16:creationId xmlns:a16="http://schemas.microsoft.com/office/drawing/2014/main" id="{AAC43859-558B-4759-8404-6DFEB655FCCC}"/>
                  </a:ext>
                </a:extLst>
              </p:cNvPr>
              <p:cNvSpPr/>
              <p:nvPr/>
            </p:nvSpPr>
            <p:spPr>
              <a:xfrm>
                <a:off x="7076006" y="2600312"/>
                <a:ext cx="13159" cy="52673"/>
              </a:xfrm>
              <a:custGeom>
                <a:avLst/>
                <a:gdLst>
                  <a:gd name="connsiteX0" fmla="*/ 6580 w 13159"/>
                  <a:gd name="connsiteY0" fmla="*/ 52674 h 52673"/>
                  <a:gd name="connsiteX1" fmla="*/ 0 w 13159"/>
                  <a:gd name="connsiteY1" fmla="*/ 46094 h 52673"/>
                  <a:gd name="connsiteX2" fmla="*/ 0 w 13159"/>
                  <a:gd name="connsiteY2" fmla="*/ 6580 h 52673"/>
                  <a:gd name="connsiteX3" fmla="*/ 6580 w 13159"/>
                  <a:gd name="connsiteY3" fmla="*/ 0 h 52673"/>
                  <a:gd name="connsiteX4" fmla="*/ 13159 w 13159"/>
                  <a:gd name="connsiteY4" fmla="*/ 6580 h 52673"/>
                  <a:gd name="connsiteX5" fmla="*/ 13159 w 13159"/>
                  <a:gd name="connsiteY5" fmla="*/ 46094 h 52673"/>
                  <a:gd name="connsiteX6" fmla="*/ 6580 w 13159"/>
                  <a:gd name="connsiteY6" fmla="*/ 52674 h 52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59" h="52673">
                    <a:moveTo>
                      <a:pt x="6580" y="52674"/>
                    </a:moveTo>
                    <a:cubicBezTo>
                      <a:pt x="2945" y="52674"/>
                      <a:pt x="0" y="49729"/>
                      <a:pt x="0" y="46094"/>
                    </a:cubicBezTo>
                    <a:lnTo>
                      <a:pt x="0" y="6580"/>
                    </a:lnTo>
                    <a:cubicBezTo>
                      <a:pt x="0" y="2945"/>
                      <a:pt x="2945" y="0"/>
                      <a:pt x="6580" y="0"/>
                    </a:cubicBezTo>
                    <a:cubicBezTo>
                      <a:pt x="10214" y="0"/>
                      <a:pt x="13159" y="2945"/>
                      <a:pt x="13159" y="6580"/>
                    </a:cubicBezTo>
                    <a:lnTo>
                      <a:pt x="13159" y="46094"/>
                    </a:lnTo>
                    <a:cubicBezTo>
                      <a:pt x="13159" y="49729"/>
                      <a:pt x="10214" y="52674"/>
                      <a:pt x="6580" y="52674"/>
                    </a:cubicBezTo>
                    <a:close/>
                  </a:path>
                </a:pathLst>
              </a:custGeom>
              <a:solidFill>
                <a:schemeClr val="accent1"/>
              </a:solidFill>
              <a:ln w="1863" cap="flat">
                <a:noFill/>
                <a:prstDash val="solid"/>
                <a:miter/>
              </a:ln>
            </p:spPr>
            <p:txBody>
              <a:bodyPr rtlCol="0" anchor="ctr"/>
              <a:lstStyle/>
              <a:p>
                <a:endParaRPr lang="en-GB" dirty="0"/>
              </a:p>
            </p:txBody>
          </p:sp>
          <p:sp>
            <p:nvSpPr>
              <p:cNvPr id="235" name="Freihandform: Form 982">
                <a:extLst>
                  <a:ext uri="{FF2B5EF4-FFF2-40B4-BE49-F238E27FC236}">
                    <a16:creationId xmlns:a16="http://schemas.microsoft.com/office/drawing/2014/main" id="{040B9248-E8DC-4117-99F5-574E4A298C9D}"/>
                  </a:ext>
                </a:extLst>
              </p:cNvPr>
              <p:cNvSpPr/>
              <p:nvPr/>
            </p:nvSpPr>
            <p:spPr>
              <a:xfrm>
                <a:off x="7032783" y="2630394"/>
                <a:ext cx="277612" cy="121025"/>
              </a:xfrm>
              <a:custGeom>
                <a:avLst/>
                <a:gdLst>
                  <a:gd name="connsiteX0" fmla="*/ 208700 w 277612"/>
                  <a:gd name="connsiteY0" fmla="*/ 121025 h 121025"/>
                  <a:gd name="connsiteX1" fmla="*/ 136716 w 277612"/>
                  <a:gd name="connsiteY1" fmla="*/ 102405 h 121025"/>
                  <a:gd name="connsiteX2" fmla="*/ 135355 w 277612"/>
                  <a:gd name="connsiteY2" fmla="*/ 93197 h 121025"/>
                  <a:gd name="connsiteX3" fmla="*/ 144582 w 277612"/>
                  <a:gd name="connsiteY3" fmla="*/ 91836 h 121025"/>
                  <a:gd name="connsiteX4" fmla="*/ 246910 w 277612"/>
                  <a:gd name="connsiteY4" fmla="*/ 105089 h 121025"/>
                  <a:gd name="connsiteX5" fmla="*/ 263704 w 277612"/>
                  <a:gd name="connsiteY5" fmla="*/ 95583 h 121025"/>
                  <a:gd name="connsiteX6" fmla="*/ 261523 w 277612"/>
                  <a:gd name="connsiteY6" fmla="*/ 83113 h 121025"/>
                  <a:gd name="connsiteX7" fmla="*/ 258000 w 277612"/>
                  <a:gd name="connsiteY7" fmla="*/ 80914 h 121025"/>
                  <a:gd name="connsiteX8" fmla="*/ 256844 w 277612"/>
                  <a:gd name="connsiteY8" fmla="*/ 81026 h 121025"/>
                  <a:gd name="connsiteX9" fmla="*/ 252744 w 277612"/>
                  <a:gd name="connsiteY9" fmla="*/ 81342 h 121025"/>
                  <a:gd name="connsiteX10" fmla="*/ 187265 w 277612"/>
                  <a:gd name="connsiteY10" fmla="*/ 66338 h 121025"/>
                  <a:gd name="connsiteX11" fmla="*/ 91199 w 277612"/>
                  <a:gd name="connsiteY11" fmla="*/ 13590 h 121025"/>
                  <a:gd name="connsiteX12" fmla="*/ 84918 w 277612"/>
                  <a:gd name="connsiteY12" fmla="*/ 13888 h 121025"/>
                  <a:gd name="connsiteX13" fmla="*/ 59755 w 277612"/>
                  <a:gd name="connsiteY13" fmla="*/ 20188 h 121025"/>
                  <a:gd name="connsiteX14" fmla="*/ 7063 w 277612"/>
                  <a:gd name="connsiteY14" fmla="*/ 33254 h 121025"/>
                  <a:gd name="connsiteX15" fmla="*/ 17 w 277612"/>
                  <a:gd name="connsiteY15" fmla="*/ 27159 h 121025"/>
                  <a:gd name="connsiteX16" fmla="*/ 6112 w 277612"/>
                  <a:gd name="connsiteY16" fmla="*/ 20113 h 121025"/>
                  <a:gd name="connsiteX17" fmla="*/ 53884 w 277612"/>
                  <a:gd name="connsiteY17" fmla="*/ 8389 h 121025"/>
                  <a:gd name="connsiteX18" fmla="*/ 84899 w 277612"/>
                  <a:gd name="connsiteY18" fmla="*/ 710 h 121025"/>
                  <a:gd name="connsiteX19" fmla="*/ 90267 w 277612"/>
                  <a:gd name="connsiteY19" fmla="*/ 430 h 121025"/>
                  <a:gd name="connsiteX20" fmla="*/ 197554 w 277612"/>
                  <a:gd name="connsiteY20" fmla="*/ 58137 h 121025"/>
                  <a:gd name="connsiteX21" fmla="*/ 197982 w 277612"/>
                  <a:gd name="connsiteY21" fmla="*/ 58715 h 121025"/>
                  <a:gd name="connsiteX22" fmla="*/ 251551 w 277612"/>
                  <a:gd name="connsiteY22" fmla="*/ 68221 h 121025"/>
                  <a:gd name="connsiteX23" fmla="*/ 256192 w 277612"/>
                  <a:gd name="connsiteY23" fmla="*/ 67866 h 121025"/>
                  <a:gd name="connsiteX24" fmla="*/ 271662 w 277612"/>
                  <a:gd name="connsiteY24" fmla="*/ 74763 h 121025"/>
                  <a:gd name="connsiteX25" fmla="*/ 275931 w 277612"/>
                  <a:gd name="connsiteY25" fmla="*/ 100429 h 121025"/>
                  <a:gd name="connsiteX26" fmla="*/ 248625 w 277612"/>
                  <a:gd name="connsiteY26" fmla="*/ 118173 h 121025"/>
                  <a:gd name="connsiteX27" fmla="*/ 208700 w 277612"/>
                  <a:gd name="connsiteY27" fmla="*/ 121025 h 12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77612" h="121025">
                    <a:moveTo>
                      <a:pt x="208700" y="121025"/>
                    </a:moveTo>
                    <a:cubicBezTo>
                      <a:pt x="177517" y="121025"/>
                      <a:pt x="153398" y="114800"/>
                      <a:pt x="136716" y="102405"/>
                    </a:cubicBezTo>
                    <a:cubicBezTo>
                      <a:pt x="133790" y="100242"/>
                      <a:pt x="133193" y="96105"/>
                      <a:pt x="135355" y="93197"/>
                    </a:cubicBezTo>
                    <a:cubicBezTo>
                      <a:pt x="137517" y="90289"/>
                      <a:pt x="141655" y="89674"/>
                      <a:pt x="144582" y="91836"/>
                    </a:cubicBezTo>
                    <a:cubicBezTo>
                      <a:pt x="164675" y="106766"/>
                      <a:pt x="200070" y="111333"/>
                      <a:pt x="246910" y="105089"/>
                    </a:cubicBezTo>
                    <a:cubicBezTo>
                      <a:pt x="255913" y="103877"/>
                      <a:pt x="261728" y="100597"/>
                      <a:pt x="263704" y="95583"/>
                    </a:cubicBezTo>
                    <a:cubicBezTo>
                      <a:pt x="265493" y="91035"/>
                      <a:pt x="263834" y="85928"/>
                      <a:pt x="261523" y="83113"/>
                    </a:cubicBezTo>
                    <a:cubicBezTo>
                      <a:pt x="260311" y="81622"/>
                      <a:pt x="258876" y="80746"/>
                      <a:pt x="258000" y="80914"/>
                    </a:cubicBezTo>
                    <a:lnTo>
                      <a:pt x="256844" y="81026"/>
                    </a:lnTo>
                    <a:cubicBezTo>
                      <a:pt x="256080" y="81026"/>
                      <a:pt x="254664" y="81175"/>
                      <a:pt x="252744" y="81342"/>
                    </a:cubicBezTo>
                    <a:cubicBezTo>
                      <a:pt x="237143" y="82722"/>
                      <a:pt x="200722" y="85909"/>
                      <a:pt x="187265" y="66338"/>
                    </a:cubicBezTo>
                    <a:cubicBezTo>
                      <a:pt x="140183" y="10197"/>
                      <a:pt x="108347" y="12397"/>
                      <a:pt x="91199" y="13590"/>
                    </a:cubicBezTo>
                    <a:cubicBezTo>
                      <a:pt x="88832" y="13757"/>
                      <a:pt x="86726" y="13888"/>
                      <a:pt x="84918" y="13888"/>
                    </a:cubicBezTo>
                    <a:cubicBezTo>
                      <a:pt x="72448" y="13888"/>
                      <a:pt x="67118" y="16535"/>
                      <a:pt x="59755" y="20188"/>
                    </a:cubicBezTo>
                    <a:cubicBezTo>
                      <a:pt x="50007" y="25034"/>
                      <a:pt x="37854" y="31054"/>
                      <a:pt x="7063" y="33254"/>
                    </a:cubicBezTo>
                    <a:cubicBezTo>
                      <a:pt x="3298" y="33422"/>
                      <a:pt x="278" y="30775"/>
                      <a:pt x="17" y="27159"/>
                    </a:cubicBezTo>
                    <a:cubicBezTo>
                      <a:pt x="-244" y="23524"/>
                      <a:pt x="2496" y="20374"/>
                      <a:pt x="6112" y="20113"/>
                    </a:cubicBezTo>
                    <a:cubicBezTo>
                      <a:pt x="34313" y="18100"/>
                      <a:pt x="44714" y="12937"/>
                      <a:pt x="53884" y="8389"/>
                    </a:cubicBezTo>
                    <a:cubicBezTo>
                      <a:pt x="61843" y="4438"/>
                      <a:pt x="69336" y="710"/>
                      <a:pt x="84899" y="710"/>
                    </a:cubicBezTo>
                    <a:cubicBezTo>
                      <a:pt x="86446" y="710"/>
                      <a:pt x="88236" y="580"/>
                      <a:pt x="90267" y="430"/>
                    </a:cubicBezTo>
                    <a:cubicBezTo>
                      <a:pt x="108347" y="-800"/>
                      <a:pt x="146035" y="-3447"/>
                      <a:pt x="197554" y="58137"/>
                    </a:cubicBezTo>
                    <a:lnTo>
                      <a:pt x="197982" y="58715"/>
                    </a:lnTo>
                    <a:cubicBezTo>
                      <a:pt x="206910" y="72135"/>
                      <a:pt x="240498" y="69171"/>
                      <a:pt x="251551" y="68221"/>
                    </a:cubicBezTo>
                    <a:cubicBezTo>
                      <a:pt x="253564" y="68034"/>
                      <a:pt x="255148" y="67922"/>
                      <a:pt x="256192" y="67866"/>
                    </a:cubicBezTo>
                    <a:cubicBezTo>
                      <a:pt x="261691" y="67084"/>
                      <a:pt x="267469" y="69656"/>
                      <a:pt x="271662" y="74763"/>
                    </a:cubicBezTo>
                    <a:cubicBezTo>
                      <a:pt x="277571" y="81958"/>
                      <a:pt x="279249" y="92023"/>
                      <a:pt x="275931" y="100429"/>
                    </a:cubicBezTo>
                    <a:cubicBezTo>
                      <a:pt x="273750" y="105983"/>
                      <a:pt x="267282" y="115676"/>
                      <a:pt x="248625" y="118173"/>
                    </a:cubicBezTo>
                    <a:cubicBezTo>
                      <a:pt x="234273" y="120056"/>
                      <a:pt x="220927" y="121025"/>
                      <a:pt x="208700" y="121025"/>
                    </a:cubicBezTo>
                    <a:close/>
                  </a:path>
                </a:pathLst>
              </a:custGeom>
              <a:grpFill/>
              <a:ln w="1863" cap="flat">
                <a:noFill/>
                <a:prstDash val="solid"/>
                <a:miter/>
              </a:ln>
            </p:spPr>
            <p:txBody>
              <a:bodyPr rtlCol="0" anchor="ctr"/>
              <a:lstStyle/>
              <a:p>
                <a:endParaRPr lang="en-GB" dirty="0"/>
              </a:p>
            </p:txBody>
          </p:sp>
        </p:grpSp>
      </p:grpSp>
      <p:grpSp>
        <p:nvGrpSpPr>
          <p:cNvPr id="92" name="Group 91">
            <a:extLst>
              <a:ext uri="{FF2B5EF4-FFF2-40B4-BE49-F238E27FC236}">
                <a16:creationId xmlns:a16="http://schemas.microsoft.com/office/drawing/2014/main" id="{270C6146-D96D-E1D3-93C5-BA9748CD4113}"/>
              </a:ext>
            </a:extLst>
          </p:cNvPr>
          <p:cNvGrpSpPr/>
          <p:nvPr/>
        </p:nvGrpSpPr>
        <p:grpSpPr>
          <a:xfrm>
            <a:off x="470050" y="3207277"/>
            <a:ext cx="648000" cy="411583"/>
            <a:chOff x="470050" y="3207277"/>
            <a:chExt cx="648000" cy="411583"/>
          </a:xfrm>
        </p:grpSpPr>
        <p:grpSp>
          <p:nvGrpSpPr>
            <p:cNvPr id="253" name="Gruppieren 1335">
              <a:extLst>
                <a:ext uri="{FF2B5EF4-FFF2-40B4-BE49-F238E27FC236}">
                  <a16:creationId xmlns:a16="http://schemas.microsoft.com/office/drawing/2014/main" id="{74A8E43C-4F38-47E8-B7B4-3D9A356AFC3A}"/>
                </a:ext>
              </a:extLst>
            </p:cNvPr>
            <p:cNvGrpSpPr/>
            <p:nvPr/>
          </p:nvGrpSpPr>
          <p:grpSpPr>
            <a:xfrm>
              <a:off x="470050" y="3284876"/>
              <a:ext cx="648000" cy="333984"/>
              <a:chOff x="7780903" y="4259205"/>
              <a:chExt cx="487486" cy="251254"/>
            </a:xfrm>
            <a:solidFill>
              <a:schemeClr val="tx2"/>
            </a:solidFill>
          </p:grpSpPr>
          <p:sp>
            <p:nvSpPr>
              <p:cNvPr id="259" name="Freihandform: Form 984">
                <a:extLst>
                  <a:ext uri="{FF2B5EF4-FFF2-40B4-BE49-F238E27FC236}">
                    <a16:creationId xmlns:a16="http://schemas.microsoft.com/office/drawing/2014/main" id="{F2D5AE30-AF43-423B-9076-D77553E8053E}"/>
                  </a:ext>
                </a:extLst>
              </p:cNvPr>
              <p:cNvSpPr/>
              <p:nvPr/>
            </p:nvSpPr>
            <p:spPr>
              <a:xfrm>
                <a:off x="7854130" y="4259205"/>
                <a:ext cx="38750" cy="235411"/>
              </a:xfrm>
              <a:custGeom>
                <a:avLst/>
                <a:gdLst>
                  <a:gd name="connsiteX0" fmla="*/ 6580 w 38750"/>
                  <a:gd name="connsiteY0" fmla="*/ 235411 h 235411"/>
                  <a:gd name="connsiteX1" fmla="*/ 0 w 38750"/>
                  <a:gd name="connsiteY1" fmla="*/ 228832 h 235411"/>
                  <a:gd name="connsiteX2" fmla="*/ 0 w 38750"/>
                  <a:gd name="connsiteY2" fmla="*/ 19310 h 235411"/>
                  <a:gd name="connsiteX3" fmla="*/ 18098 w 38750"/>
                  <a:gd name="connsiteY3" fmla="*/ 0 h 235411"/>
                  <a:gd name="connsiteX4" fmla="*/ 32171 w 38750"/>
                  <a:gd name="connsiteY4" fmla="*/ 0 h 235411"/>
                  <a:gd name="connsiteX5" fmla="*/ 38751 w 38750"/>
                  <a:gd name="connsiteY5" fmla="*/ 6580 h 235411"/>
                  <a:gd name="connsiteX6" fmla="*/ 32171 w 38750"/>
                  <a:gd name="connsiteY6" fmla="*/ 13159 h 235411"/>
                  <a:gd name="connsiteX7" fmla="*/ 18117 w 38750"/>
                  <a:gd name="connsiteY7" fmla="*/ 13159 h 235411"/>
                  <a:gd name="connsiteX8" fmla="*/ 13178 w 38750"/>
                  <a:gd name="connsiteY8" fmla="*/ 19292 h 235411"/>
                  <a:gd name="connsiteX9" fmla="*/ 13178 w 38750"/>
                  <a:gd name="connsiteY9" fmla="*/ 228813 h 235411"/>
                  <a:gd name="connsiteX10" fmla="*/ 6580 w 38750"/>
                  <a:gd name="connsiteY10" fmla="*/ 235411 h 235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750" h="235411">
                    <a:moveTo>
                      <a:pt x="6580" y="235411"/>
                    </a:moveTo>
                    <a:cubicBezTo>
                      <a:pt x="2945" y="235411"/>
                      <a:pt x="0" y="232466"/>
                      <a:pt x="0" y="228832"/>
                    </a:cubicBezTo>
                    <a:lnTo>
                      <a:pt x="0" y="19310"/>
                    </a:lnTo>
                    <a:cubicBezTo>
                      <a:pt x="0" y="8872"/>
                      <a:pt x="8294" y="37"/>
                      <a:pt x="18098" y="0"/>
                    </a:cubicBezTo>
                    <a:lnTo>
                      <a:pt x="32171" y="0"/>
                    </a:lnTo>
                    <a:cubicBezTo>
                      <a:pt x="35806" y="0"/>
                      <a:pt x="38751" y="2945"/>
                      <a:pt x="38751" y="6580"/>
                    </a:cubicBezTo>
                    <a:cubicBezTo>
                      <a:pt x="38751" y="10214"/>
                      <a:pt x="35806" y="13159"/>
                      <a:pt x="32171" y="13159"/>
                    </a:cubicBezTo>
                    <a:lnTo>
                      <a:pt x="18117" y="13159"/>
                    </a:lnTo>
                    <a:cubicBezTo>
                      <a:pt x="15694" y="13159"/>
                      <a:pt x="13178" y="16272"/>
                      <a:pt x="13178" y="19292"/>
                    </a:cubicBezTo>
                    <a:lnTo>
                      <a:pt x="13178" y="228813"/>
                    </a:lnTo>
                    <a:cubicBezTo>
                      <a:pt x="13159" y="232466"/>
                      <a:pt x="10214" y="235411"/>
                      <a:pt x="6580" y="235411"/>
                    </a:cubicBezTo>
                    <a:close/>
                  </a:path>
                </a:pathLst>
              </a:custGeom>
              <a:grpFill/>
              <a:ln w="1863" cap="flat">
                <a:noFill/>
                <a:prstDash val="solid"/>
                <a:miter/>
              </a:ln>
            </p:spPr>
            <p:txBody>
              <a:bodyPr rtlCol="0" anchor="ctr"/>
              <a:lstStyle/>
              <a:p>
                <a:endParaRPr lang="en-GB" dirty="0"/>
              </a:p>
            </p:txBody>
          </p:sp>
          <p:sp>
            <p:nvSpPr>
              <p:cNvPr id="260" name="Freihandform: Form 985">
                <a:extLst>
                  <a:ext uri="{FF2B5EF4-FFF2-40B4-BE49-F238E27FC236}">
                    <a16:creationId xmlns:a16="http://schemas.microsoft.com/office/drawing/2014/main" id="{F9818F63-5977-47B1-91D6-7B51063903E7}"/>
                  </a:ext>
                </a:extLst>
              </p:cNvPr>
              <p:cNvSpPr/>
              <p:nvPr/>
            </p:nvSpPr>
            <p:spPr>
              <a:xfrm>
                <a:off x="8169558" y="4259243"/>
                <a:ext cx="43224" cy="65646"/>
              </a:xfrm>
              <a:custGeom>
                <a:avLst/>
                <a:gdLst>
                  <a:gd name="connsiteX0" fmla="*/ 36626 w 43224"/>
                  <a:gd name="connsiteY0" fmla="*/ 65647 h 65646"/>
                  <a:gd name="connsiteX1" fmla="*/ 30046 w 43224"/>
                  <a:gd name="connsiteY1" fmla="*/ 59067 h 65646"/>
                  <a:gd name="connsiteX2" fmla="*/ 30046 w 43224"/>
                  <a:gd name="connsiteY2" fmla="*/ 18248 h 65646"/>
                  <a:gd name="connsiteX3" fmla="*/ 28536 w 43224"/>
                  <a:gd name="connsiteY3" fmla="*/ 14595 h 65646"/>
                  <a:gd name="connsiteX4" fmla="*/ 25107 w 43224"/>
                  <a:gd name="connsiteY4" fmla="*/ 13159 h 65646"/>
                  <a:gd name="connsiteX5" fmla="*/ 25088 w 43224"/>
                  <a:gd name="connsiteY5" fmla="*/ 13159 h 65646"/>
                  <a:gd name="connsiteX6" fmla="*/ 6580 w 43224"/>
                  <a:gd name="connsiteY6" fmla="*/ 13159 h 65646"/>
                  <a:gd name="connsiteX7" fmla="*/ 0 w 43224"/>
                  <a:gd name="connsiteY7" fmla="*/ 6580 h 65646"/>
                  <a:gd name="connsiteX8" fmla="*/ 6580 w 43224"/>
                  <a:gd name="connsiteY8" fmla="*/ 0 h 65646"/>
                  <a:gd name="connsiteX9" fmla="*/ 25070 w 43224"/>
                  <a:gd name="connsiteY9" fmla="*/ 0 h 65646"/>
                  <a:gd name="connsiteX10" fmla="*/ 25125 w 43224"/>
                  <a:gd name="connsiteY10" fmla="*/ 0 h 65646"/>
                  <a:gd name="connsiteX11" fmla="*/ 37837 w 43224"/>
                  <a:gd name="connsiteY11" fmla="*/ 5275 h 65646"/>
                  <a:gd name="connsiteX12" fmla="*/ 43224 w 43224"/>
                  <a:gd name="connsiteY12" fmla="*/ 18266 h 65646"/>
                  <a:gd name="connsiteX13" fmla="*/ 43224 w 43224"/>
                  <a:gd name="connsiteY13" fmla="*/ 59086 h 65646"/>
                  <a:gd name="connsiteX14" fmla="*/ 36626 w 43224"/>
                  <a:gd name="connsiteY14" fmla="*/ 65647 h 65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224" h="65646">
                    <a:moveTo>
                      <a:pt x="36626" y="65647"/>
                    </a:moveTo>
                    <a:cubicBezTo>
                      <a:pt x="32991" y="65647"/>
                      <a:pt x="30046" y="62702"/>
                      <a:pt x="30046" y="59067"/>
                    </a:cubicBezTo>
                    <a:lnTo>
                      <a:pt x="30046" y="18248"/>
                    </a:lnTo>
                    <a:cubicBezTo>
                      <a:pt x="30046" y="16850"/>
                      <a:pt x="29506" y="15564"/>
                      <a:pt x="28536" y="14595"/>
                    </a:cubicBezTo>
                    <a:cubicBezTo>
                      <a:pt x="27623" y="13681"/>
                      <a:pt x="26393" y="13159"/>
                      <a:pt x="25107" y="13159"/>
                    </a:cubicBezTo>
                    <a:cubicBezTo>
                      <a:pt x="25107" y="13159"/>
                      <a:pt x="25107" y="13159"/>
                      <a:pt x="25088" y="13159"/>
                    </a:cubicBezTo>
                    <a:lnTo>
                      <a:pt x="6580" y="13159"/>
                    </a:lnTo>
                    <a:cubicBezTo>
                      <a:pt x="2945" y="13159"/>
                      <a:pt x="0" y="10214"/>
                      <a:pt x="0" y="6580"/>
                    </a:cubicBezTo>
                    <a:cubicBezTo>
                      <a:pt x="0" y="2945"/>
                      <a:pt x="2945" y="0"/>
                      <a:pt x="6580" y="0"/>
                    </a:cubicBezTo>
                    <a:lnTo>
                      <a:pt x="25070" y="0"/>
                    </a:lnTo>
                    <a:cubicBezTo>
                      <a:pt x="25088" y="0"/>
                      <a:pt x="25107" y="0"/>
                      <a:pt x="25125" y="0"/>
                    </a:cubicBezTo>
                    <a:cubicBezTo>
                      <a:pt x="29897" y="0"/>
                      <a:pt x="34426" y="1864"/>
                      <a:pt x="37837" y="5275"/>
                    </a:cubicBezTo>
                    <a:cubicBezTo>
                      <a:pt x="41304" y="8723"/>
                      <a:pt x="43224" y="13346"/>
                      <a:pt x="43224" y="18266"/>
                    </a:cubicBezTo>
                    <a:lnTo>
                      <a:pt x="43224" y="59086"/>
                    </a:lnTo>
                    <a:cubicBezTo>
                      <a:pt x="43224" y="62702"/>
                      <a:pt x="40279" y="65647"/>
                      <a:pt x="36626" y="65647"/>
                    </a:cubicBezTo>
                    <a:close/>
                  </a:path>
                </a:pathLst>
              </a:custGeom>
              <a:grpFill/>
              <a:ln w="1863" cap="flat">
                <a:noFill/>
                <a:prstDash val="solid"/>
                <a:miter/>
              </a:ln>
            </p:spPr>
            <p:txBody>
              <a:bodyPr rtlCol="0" anchor="ctr"/>
              <a:lstStyle/>
              <a:p>
                <a:endParaRPr lang="en-GB" dirty="0"/>
              </a:p>
            </p:txBody>
          </p:sp>
          <p:sp>
            <p:nvSpPr>
              <p:cNvPr id="261" name="Freihandform: Form 986">
                <a:extLst>
                  <a:ext uri="{FF2B5EF4-FFF2-40B4-BE49-F238E27FC236}">
                    <a16:creationId xmlns:a16="http://schemas.microsoft.com/office/drawing/2014/main" id="{2FACC10A-5A93-424D-8660-5E459C9B9A81}"/>
                  </a:ext>
                </a:extLst>
              </p:cNvPr>
              <p:cNvSpPr/>
              <p:nvPr/>
            </p:nvSpPr>
            <p:spPr>
              <a:xfrm>
                <a:off x="7854111" y="4480954"/>
                <a:ext cx="347115" cy="24845"/>
              </a:xfrm>
              <a:custGeom>
                <a:avLst/>
                <a:gdLst>
                  <a:gd name="connsiteX0" fmla="*/ 340554 w 347115"/>
                  <a:gd name="connsiteY0" fmla="*/ 24846 h 24845"/>
                  <a:gd name="connsiteX1" fmla="*/ 18117 w 347115"/>
                  <a:gd name="connsiteY1" fmla="*/ 24846 h 24845"/>
                  <a:gd name="connsiteX2" fmla="*/ 0 w 347115"/>
                  <a:gd name="connsiteY2" fmla="*/ 6579 h 24845"/>
                  <a:gd name="connsiteX3" fmla="*/ 6580 w 347115"/>
                  <a:gd name="connsiteY3" fmla="*/ 0 h 24845"/>
                  <a:gd name="connsiteX4" fmla="*/ 13159 w 347115"/>
                  <a:gd name="connsiteY4" fmla="*/ 6579 h 24845"/>
                  <a:gd name="connsiteX5" fmla="*/ 18098 w 347115"/>
                  <a:gd name="connsiteY5" fmla="*/ 11668 h 24845"/>
                  <a:gd name="connsiteX6" fmla="*/ 340535 w 347115"/>
                  <a:gd name="connsiteY6" fmla="*/ 11668 h 24845"/>
                  <a:gd name="connsiteX7" fmla="*/ 347115 w 347115"/>
                  <a:gd name="connsiteY7" fmla="*/ 18247 h 24845"/>
                  <a:gd name="connsiteX8" fmla="*/ 340554 w 347115"/>
                  <a:gd name="connsiteY8" fmla="*/ 24846 h 24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7115" h="24845">
                    <a:moveTo>
                      <a:pt x="340554" y="24846"/>
                    </a:moveTo>
                    <a:lnTo>
                      <a:pt x="18117" y="24846"/>
                    </a:lnTo>
                    <a:cubicBezTo>
                      <a:pt x="8127" y="24846"/>
                      <a:pt x="0" y="16645"/>
                      <a:pt x="0" y="6579"/>
                    </a:cubicBezTo>
                    <a:cubicBezTo>
                      <a:pt x="0" y="2945"/>
                      <a:pt x="2945" y="0"/>
                      <a:pt x="6580" y="0"/>
                    </a:cubicBezTo>
                    <a:cubicBezTo>
                      <a:pt x="10214" y="0"/>
                      <a:pt x="13159" y="2945"/>
                      <a:pt x="13159" y="6579"/>
                    </a:cubicBezTo>
                    <a:cubicBezTo>
                      <a:pt x="13159" y="9375"/>
                      <a:pt x="15377" y="11668"/>
                      <a:pt x="18098" y="11668"/>
                    </a:cubicBezTo>
                    <a:lnTo>
                      <a:pt x="340535" y="11668"/>
                    </a:lnTo>
                    <a:cubicBezTo>
                      <a:pt x="344170" y="11668"/>
                      <a:pt x="347115" y="14613"/>
                      <a:pt x="347115" y="18247"/>
                    </a:cubicBezTo>
                    <a:cubicBezTo>
                      <a:pt x="347152" y="21901"/>
                      <a:pt x="344207" y="24846"/>
                      <a:pt x="340554" y="24846"/>
                    </a:cubicBezTo>
                    <a:close/>
                  </a:path>
                </a:pathLst>
              </a:custGeom>
              <a:grpFill/>
              <a:ln w="1863" cap="flat">
                <a:noFill/>
                <a:prstDash val="solid"/>
                <a:miter/>
              </a:ln>
            </p:spPr>
            <p:txBody>
              <a:bodyPr rtlCol="0" anchor="ctr"/>
              <a:lstStyle/>
              <a:p>
                <a:endParaRPr lang="en-GB" dirty="0"/>
              </a:p>
            </p:txBody>
          </p:sp>
          <p:sp>
            <p:nvSpPr>
              <p:cNvPr id="262" name="Freihandform: Form 991">
                <a:extLst>
                  <a:ext uri="{FF2B5EF4-FFF2-40B4-BE49-F238E27FC236}">
                    <a16:creationId xmlns:a16="http://schemas.microsoft.com/office/drawing/2014/main" id="{04EDD1BF-FA47-4498-AB1B-04B90CCB8963}"/>
                  </a:ext>
                </a:extLst>
              </p:cNvPr>
              <p:cNvSpPr/>
              <p:nvPr/>
            </p:nvSpPr>
            <p:spPr>
              <a:xfrm>
                <a:off x="7862856" y="4314153"/>
                <a:ext cx="405533" cy="191646"/>
              </a:xfrm>
              <a:custGeom>
                <a:avLst/>
                <a:gdLst>
                  <a:gd name="connsiteX0" fmla="*/ 331809 w 405533"/>
                  <a:gd name="connsiteY0" fmla="*/ 191647 h 191646"/>
                  <a:gd name="connsiteX1" fmla="*/ 15113 w 405533"/>
                  <a:gd name="connsiteY1" fmla="*/ 191647 h 191646"/>
                  <a:gd name="connsiteX2" fmla="*/ 2084 w 405533"/>
                  <a:gd name="connsiteY2" fmla="*/ 185552 h 191646"/>
                  <a:gd name="connsiteX3" fmla="*/ 985 w 405533"/>
                  <a:gd name="connsiteY3" fmla="*/ 173716 h 191646"/>
                  <a:gd name="connsiteX4" fmla="*/ 21935 w 405533"/>
                  <a:gd name="connsiteY4" fmla="*/ 119942 h 191646"/>
                  <a:gd name="connsiteX5" fmla="*/ 30472 w 405533"/>
                  <a:gd name="connsiteY5" fmla="*/ 116196 h 191646"/>
                  <a:gd name="connsiteX6" fmla="*/ 34218 w 405533"/>
                  <a:gd name="connsiteY6" fmla="*/ 124732 h 191646"/>
                  <a:gd name="connsiteX7" fmla="*/ 13380 w 405533"/>
                  <a:gd name="connsiteY7" fmla="*/ 178264 h 191646"/>
                  <a:gd name="connsiteX8" fmla="*/ 15132 w 405533"/>
                  <a:gd name="connsiteY8" fmla="*/ 178487 h 191646"/>
                  <a:gd name="connsiteX9" fmla="*/ 331828 w 405533"/>
                  <a:gd name="connsiteY9" fmla="*/ 178487 h 191646"/>
                  <a:gd name="connsiteX10" fmla="*/ 339991 w 405533"/>
                  <a:gd name="connsiteY10" fmla="*/ 174107 h 191646"/>
                  <a:gd name="connsiteX11" fmla="*/ 392293 w 405533"/>
                  <a:gd name="connsiteY11" fmla="*/ 13476 h 191646"/>
                  <a:gd name="connsiteX12" fmla="*/ 390354 w 405533"/>
                  <a:gd name="connsiteY12" fmla="*/ 13178 h 191646"/>
                  <a:gd name="connsiteX13" fmla="*/ 295966 w 405533"/>
                  <a:gd name="connsiteY13" fmla="*/ 13178 h 191646"/>
                  <a:gd name="connsiteX14" fmla="*/ 287970 w 405533"/>
                  <a:gd name="connsiteY14" fmla="*/ 17688 h 191646"/>
                  <a:gd name="connsiteX15" fmla="*/ 281726 w 405533"/>
                  <a:gd name="connsiteY15" fmla="*/ 35526 h 191646"/>
                  <a:gd name="connsiteX16" fmla="*/ 261204 w 405533"/>
                  <a:gd name="connsiteY16" fmla="*/ 48853 h 191646"/>
                  <a:gd name="connsiteX17" fmla="*/ 136770 w 405533"/>
                  <a:gd name="connsiteY17" fmla="*/ 48853 h 191646"/>
                  <a:gd name="connsiteX18" fmla="*/ 130191 w 405533"/>
                  <a:gd name="connsiteY18" fmla="*/ 42273 h 191646"/>
                  <a:gd name="connsiteX19" fmla="*/ 136770 w 405533"/>
                  <a:gd name="connsiteY19" fmla="*/ 35694 h 191646"/>
                  <a:gd name="connsiteX20" fmla="*/ 261204 w 405533"/>
                  <a:gd name="connsiteY20" fmla="*/ 35694 h 191646"/>
                  <a:gd name="connsiteX21" fmla="*/ 269294 w 405533"/>
                  <a:gd name="connsiteY21" fmla="*/ 31183 h 191646"/>
                  <a:gd name="connsiteX22" fmla="*/ 275538 w 405533"/>
                  <a:gd name="connsiteY22" fmla="*/ 13345 h 191646"/>
                  <a:gd name="connsiteX23" fmla="*/ 295985 w 405533"/>
                  <a:gd name="connsiteY23" fmla="*/ 0 h 191646"/>
                  <a:gd name="connsiteX24" fmla="*/ 390373 w 405533"/>
                  <a:gd name="connsiteY24" fmla="*/ 0 h 191646"/>
                  <a:gd name="connsiteX25" fmla="*/ 403159 w 405533"/>
                  <a:gd name="connsiteY25" fmla="*/ 5890 h 191646"/>
                  <a:gd name="connsiteX26" fmla="*/ 404837 w 405533"/>
                  <a:gd name="connsiteY26" fmla="*/ 17558 h 191646"/>
                  <a:gd name="connsiteX27" fmla="*/ 352517 w 405533"/>
                  <a:gd name="connsiteY27" fmla="*/ 178208 h 191646"/>
                  <a:gd name="connsiteX28" fmla="*/ 331809 w 405533"/>
                  <a:gd name="connsiteY28" fmla="*/ 191647 h 191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5533" h="191646">
                    <a:moveTo>
                      <a:pt x="331809" y="191647"/>
                    </a:moveTo>
                    <a:lnTo>
                      <a:pt x="15113" y="191647"/>
                    </a:lnTo>
                    <a:cubicBezTo>
                      <a:pt x="9465" y="191647"/>
                      <a:pt x="4712" y="189428"/>
                      <a:pt x="2084" y="185552"/>
                    </a:cubicBezTo>
                    <a:cubicBezTo>
                      <a:pt x="-245" y="182141"/>
                      <a:pt x="-637" y="177835"/>
                      <a:pt x="985" y="173716"/>
                    </a:cubicBezTo>
                    <a:lnTo>
                      <a:pt x="21935" y="119942"/>
                    </a:lnTo>
                    <a:cubicBezTo>
                      <a:pt x="23258" y="116550"/>
                      <a:pt x="27061" y="114872"/>
                      <a:pt x="30472" y="116196"/>
                    </a:cubicBezTo>
                    <a:cubicBezTo>
                      <a:pt x="33864" y="117519"/>
                      <a:pt x="35541" y="121340"/>
                      <a:pt x="34218" y="124732"/>
                    </a:cubicBezTo>
                    <a:lnTo>
                      <a:pt x="13380" y="178264"/>
                    </a:lnTo>
                    <a:cubicBezTo>
                      <a:pt x="13753" y="178376"/>
                      <a:pt x="14330" y="178487"/>
                      <a:pt x="15132" y="178487"/>
                    </a:cubicBezTo>
                    <a:lnTo>
                      <a:pt x="331828" y="178487"/>
                    </a:lnTo>
                    <a:cubicBezTo>
                      <a:pt x="335872" y="178487"/>
                      <a:pt x="339414" y="175841"/>
                      <a:pt x="339991" y="174107"/>
                    </a:cubicBezTo>
                    <a:lnTo>
                      <a:pt x="392293" y="13476"/>
                    </a:lnTo>
                    <a:cubicBezTo>
                      <a:pt x="392218" y="13457"/>
                      <a:pt x="391547" y="13178"/>
                      <a:pt x="390354" y="13178"/>
                    </a:cubicBezTo>
                    <a:lnTo>
                      <a:pt x="295966" y="13178"/>
                    </a:lnTo>
                    <a:cubicBezTo>
                      <a:pt x="292406" y="13178"/>
                      <a:pt x="288678" y="15657"/>
                      <a:pt x="287970" y="17688"/>
                    </a:cubicBezTo>
                    <a:lnTo>
                      <a:pt x="281726" y="35526"/>
                    </a:lnTo>
                    <a:cubicBezTo>
                      <a:pt x="279061" y="43131"/>
                      <a:pt x="270244" y="48853"/>
                      <a:pt x="261204" y="48853"/>
                    </a:cubicBezTo>
                    <a:lnTo>
                      <a:pt x="136770" y="48853"/>
                    </a:lnTo>
                    <a:cubicBezTo>
                      <a:pt x="133135" y="48853"/>
                      <a:pt x="130191" y="45908"/>
                      <a:pt x="130191" y="42273"/>
                    </a:cubicBezTo>
                    <a:cubicBezTo>
                      <a:pt x="130191" y="38639"/>
                      <a:pt x="133135" y="35694"/>
                      <a:pt x="136770" y="35694"/>
                    </a:cubicBezTo>
                    <a:lnTo>
                      <a:pt x="261204" y="35694"/>
                    </a:lnTo>
                    <a:cubicBezTo>
                      <a:pt x="264820" y="35694"/>
                      <a:pt x="268585" y="33215"/>
                      <a:pt x="269294" y="31183"/>
                    </a:cubicBezTo>
                    <a:lnTo>
                      <a:pt x="275538" y="13345"/>
                    </a:lnTo>
                    <a:cubicBezTo>
                      <a:pt x="278203" y="5741"/>
                      <a:pt x="286982" y="0"/>
                      <a:pt x="295985" y="0"/>
                    </a:cubicBezTo>
                    <a:lnTo>
                      <a:pt x="390373" y="0"/>
                    </a:lnTo>
                    <a:cubicBezTo>
                      <a:pt x="395778" y="0"/>
                      <a:pt x="400438" y="2143"/>
                      <a:pt x="403159" y="5890"/>
                    </a:cubicBezTo>
                    <a:cubicBezTo>
                      <a:pt x="405564" y="9208"/>
                      <a:pt x="406179" y="13457"/>
                      <a:pt x="404837" y="17558"/>
                    </a:cubicBezTo>
                    <a:lnTo>
                      <a:pt x="352517" y="178208"/>
                    </a:lnTo>
                    <a:cubicBezTo>
                      <a:pt x="350001" y="185868"/>
                      <a:pt x="341091" y="191647"/>
                      <a:pt x="331809" y="191647"/>
                    </a:cubicBezTo>
                    <a:close/>
                  </a:path>
                </a:pathLst>
              </a:custGeom>
              <a:grpFill/>
              <a:ln w="1863" cap="flat">
                <a:noFill/>
                <a:prstDash val="solid"/>
                <a:miter/>
              </a:ln>
            </p:spPr>
            <p:txBody>
              <a:bodyPr rtlCol="0" anchor="ctr"/>
              <a:lstStyle/>
              <a:p>
                <a:endParaRPr lang="en-GB" dirty="0"/>
              </a:p>
            </p:txBody>
          </p:sp>
          <p:grpSp>
            <p:nvGrpSpPr>
              <p:cNvPr id="263" name="Grafik 318">
                <a:extLst>
                  <a:ext uri="{FF2B5EF4-FFF2-40B4-BE49-F238E27FC236}">
                    <a16:creationId xmlns:a16="http://schemas.microsoft.com/office/drawing/2014/main" id="{B42E90B3-FE27-45A6-B498-A8C7493295CD}"/>
                  </a:ext>
                </a:extLst>
              </p:cNvPr>
              <p:cNvGrpSpPr/>
              <p:nvPr/>
            </p:nvGrpSpPr>
            <p:grpSpPr>
              <a:xfrm>
                <a:off x="7780903" y="4301233"/>
                <a:ext cx="227668" cy="209226"/>
                <a:chOff x="7780903" y="4301233"/>
                <a:chExt cx="227668" cy="209226"/>
              </a:xfrm>
              <a:grpFill/>
            </p:grpSpPr>
            <p:sp>
              <p:nvSpPr>
                <p:cNvPr id="264" name="Freihandform: Form 993">
                  <a:extLst>
                    <a:ext uri="{FF2B5EF4-FFF2-40B4-BE49-F238E27FC236}">
                      <a16:creationId xmlns:a16="http://schemas.microsoft.com/office/drawing/2014/main" id="{805FBD2A-1839-4E9E-9F11-D5CC84F80F55}"/>
                    </a:ext>
                  </a:extLst>
                </p:cNvPr>
                <p:cNvSpPr/>
                <p:nvPr/>
              </p:nvSpPr>
              <p:spPr>
                <a:xfrm>
                  <a:off x="7857273" y="4301233"/>
                  <a:ext cx="151298" cy="153272"/>
                </a:xfrm>
                <a:custGeom>
                  <a:avLst/>
                  <a:gdLst>
                    <a:gd name="connsiteX0" fmla="*/ 75774 w 151298"/>
                    <a:gd name="connsiteY0" fmla="*/ 153272 h 153272"/>
                    <a:gd name="connsiteX1" fmla="*/ 68934 w 151298"/>
                    <a:gd name="connsiteY1" fmla="*/ 152955 h 153272"/>
                    <a:gd name="connsiteX2" fmla="*/ 17527 w 151298"/>
                    <a:gd name="connsiteY2" fmla="*/ 125705 h 153272"/>
                    <a:gd name="connsiteX3" fmla="*/ 27108 w 151298"/>
                    <a:gd name="connsiteY3" fmla="*/ 17841 h 153272"/>
                    <a:gd name="connsiteX4" fmla="*/ 82354 w 151298"/>
                    <a:gd name="connsiteY4" fmla="*/ 302 h 153272"/>
                    <a:gd name="connsiteX5" fmla="*/ 133779 w 151298"/>
                    <a:gd name="connsiteY5" fmla="*/ 27552 h 153272"/>
                    <a:gd name="connsiteX6" fmla="*/ 124199 w 151298"/>
                    <a:gd name="connsiteY6" fmla="*/ 135416 h 153272"/>
                    <a:gd name="connsiteX7" fmla="*/ 124199 w 151298"/>
                    <a:gd name="connsiteY7" fmla="*/ 135416 h 153272"/>
                    <a:gd name="connsiteX8" fmla="*/ 75774 w 151298"/>
                    <a:gd name="connsiteY8" fmla="*/ 153272 h 153272"/>
                    <a:gd name="connsiteX9" fmla="*/ 75551 w 151298"/>
                    <a:gd name="connsiteY9" fmla="*/ 13200 h 153272"/>
                    <a:gd name="connsiteX10" fmla="*/ 35626 w 151298"/>
                    <a:gd name="connsiteY10" fmla="*/ 27925 h 153272"/>
                    <a:gd name="connsiteX11" fmla="*/ 27704 w 151298"/>
                    <a:gd name="connsiteY11" fmla="*/ 117355 h 153272"/>
                    <a:gd name="connsiteX12" fmla="*/ 70127 w 151298"/>
                    <a:gd name="connsiteY12" fmla="*/ 139852 h 153272"/>
                    <a:gd name="connsiteX13" fmla="*/ 115681 w 151298"/>
                    <a:gd name="connsiteY13" fmla="*/ 125388 h 153272"/>
                    <a:gd name="connsiteX14" fmla="*/ 123602 w 151298"/>
                    <a:gd name="connsiteY14" fmla="*/ 35958 h 153272"/>
                    <a:gd name="connsiteX15" fmla="*/ 81161 w 151298"/>
                    <a:gd name="connsiteY15" fmla="*/ 13461 h 153272"/>
                    <a:gd name="connsiteX16" fmla="*/ 75551 w 151298"/>
                    <a:gd name="connsiteY16" fmla="*/ 13200 h 153272"/>
                    <a:gd name="connsiteX17" fmla="*/ 119930 w 151298"/>
                    <a:gd name="connsiteY17" fmla="*/ 130402 h 153272"/>
                    <a:gd name="connsiteX18" fmla="*/ 119986 w 151298"/>
                    <a:gd name="connsiteY18" fmla="*/ 130402 h 153272"/>
                    <a:gd name="connsiteX19" fmla="*/ 119930 w 151298"/>
                    <a:gd name="connsiteY19" fmla="*/ 130402 h 15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1298" h="153272">
                      <a:moveTo>
                        <a:pt x="75774" y="153272"/>
                      </a:moveTo>
                      <a:cubicBezTo>
                        <a:pt x="73500" y="153272"/>
                        <a:pt x="71227" y="153161"/>
                        <a:pt x="68934" y="152955"/>
                      </a:cubicBezTo>
                      <a:cubicBezTo>
                        <a:pt x="48748" y="151129"/>
                        <a:pt x="30500" y="141455"/>
                        <a:pt x="17527" y="125705"/>
                      </a:cubicBezTo>
                      <a:cubicBezTo>
                        <a:pt x="-9182" y="93292"/>
                        <a:pt x="-4877" y="44905"/>
                        <a:pt x="27108" y="17841"/>
                      </a:cubicBezTo>
                      <a:cubicBezTo>
                        <a:pt x="42597" y="4719"/>
                        <a:pt x="62261" y="-1488"/>
                        <a:pt x="82354" y="302"/>
                      </a:cubicBezTo>
                      <a:cubicBezTo>
                        <a:pt x="102540" y="2110"/>
                        <a:pt x="120806" y="11783"/>
                        <a:pt x="133779" y="27552"/>
                      </a:cubicBezTo>
                      <a:cubicBezTo>
                        <a:pt x="160470" y="59965"/>
                        <a:pt x="156183" y="108352"/>
                        <a:pt x="124199" y="135416"/>
                      </a:cubicBezTo>
                      <a:lnTo>
                        <a:pt x="124199" y="135416"/>
                      </a:lnTo>
                      <a:cubicBezTo>
                        <a:pt x="110443" y="147066"/>
                        <a:pt x="93463" y="153272"/>
                        <a:pt x="75774" y="153272"/>
                      </a:cubicBezTo>
                      <a:close/>
                      <a:moveTo>
                        <a:pt x="75551" y="13200"/>
                      </a:moveTo>
                      <a:cubicBezTo>
                        <a:pt x="60975" y="13200"/>
                        <a:pt x="46958" y="18326"/>
                        <a:pt x="35626" y="27925"/>
                      </a:cubicBezTo>
                      <a:cubicBezTo>
                        <a:pt x="9121" y="50366"/>
                        <a:pt x="5561" y="90478"/>
                        <a:pt x="27704" y="117355"/>
                      </a:cubicBezTo>
                      <a:cubicBezTo>
                        <a:pt x="38422" y="130365"/>
                        <a:pt x="53482" y="138361"/>
                        <a:pt x="70127" y="139852"/>
                      </a:cubicBezTo>
                      <a:cubicBezTo>
                        <a:pt x="86753" y="141381"/>
                        <a:pt x="102894" y="136218"/>
                        <a:pt x="115681" y="125388"/>
                      </a:cubicBezTo>
                      <a:cubicBezTo>
                        <a:pt x="142185" y="102966"/>
                        <a:pt x="145745" y="62836"/>
                        <a:pt x="123602" y="35958"/>
                      </a:cubicBezTo>
                      <a:cubicBezTo>
                        <a:pt x="112885" y="22948"/>
                        <a:pt x="97806" y="14952"/>
                        <a:pt x="81161" y="13461"/>
                      </a:cubicBezTo>
                      <a:cubicBezTo>
                        <a:pt x="79297" y="13293"/>
                        <a:pt x="77415" y="13200"/>
                        <a:pt x="75551" y="13200"/>
                      </a:cubicBezTo>
                      <a:close/>
                      <a:moveTo>
                        <a:pt x="119930" y="130402"/>
                      </a:moveTo>
                      <a:lnTo>
                        <a:pt x="119986" y="130402"/>
                      </a:lnTo>
                      <a:lnTo>
                        <a:pt x="119930" y="130402"/>
                      </a:lnTo>
                      <a:close/>
                    </a:path>
                  </a:pathLst>
                </a:custGeom>
                <a:grpFill/>
                <a:ln w="1863" cap="flat">
                  <a:noFill/>
                  <a:prstDash val="solid"/>
                  <a:miter/>
                </a:ln>
              </p:spPr>
              <p:txBody>
                <a:bodyPr rtlCol="0" anchor="ctr"/>
                <a:lstStyle/>
                <a:p>
                  <a:endParaRPr lang="en-GB" dirty="0"/>
                </a:p>
              </p:txBody>
            </p:sp>
            <p:sp>
              <p:nvSpPr>
                <p:cNvPr id="265" name="Freihandform: Form 994">
                  <a:extLst>
                    <a:ext uri="{FF2B5EF4-FFF2-40B4-BE49-F238E27FC236}">
                      <a16:creationId xmlns:a16="http://schemas.microsoft.com/office/drawing/2014/main" id="{4BCE1AD8-6F39-4905-87CF-5F1B3883A65E}"/>
                    </a:ext>
                  </a:extLst>
                </p:cNvPr>
                <p:cNvSpPr/>
                <p:nvPr/>
              </p:nvSpPr>
              <p:spPr>
                <a:xfrm>
                  <a:off x="7843130" y="4416198"/>
                  <a:ext cx="43360" cy="39109"/>
                </a:xfrm>
                <a:custGeom>
                  <a:avLst/>
                  <a:gdLst>
                    <a:gd name="connsiteX0" fmla="*/ 6582 w 43360"/>
                    <a:gd name="connsiteY0" fmla="*/ 39109 h 39109"/>
                    <a:gd name="connsiteX1" fmla="*/ 1587 w 43360"/>
                    <a:gd name="connsiteY1" fmla="*/ 36817 h 39109"/>
                    <a:gd name="connsiteX2" fmla="*/ 2295 w 43360"/>
                    <a:gd name="connsiteY2" fmla="*/ 27534 h 39109"/>
                    <a:gd name="connsiteX3" fmla="*/ 32472 w 43360"/>
                    <a:gd name="connsiteY3" fmla="*/ 1589 h 39109"/>
                    <a:gd name="connsiteX4" fmla="*/ 41773 w 43360"/>
                    <a:gd name="connsiteY4" fmla="*/ 2279 h 39109"/>
                    <a:gd name="connsiteX5" fmla="*/ 41065 w 43360"/>
                    <a:gd name="connsiteY5" fmla="*/ 11561 h 39109"/>
                    <a:gd name="connsiteX6" fmla="*/ 10888 w 43360"/>
                    <a:gd name="connsiteY6" fmla="*/ 37506 h 39109"/>
                    <a:gd name="connsiteX7" fmla="*/ 6582 w 43360"/>
                    <a:gd name="connsiteY7" fmla="*/ 39109 h 3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60" h="39109">
                      <a:moveTo>
                        <a:pt x="6582" y="39109"/>
                      </a:moveTo>
                      <a:cubicBezTo>
                        <a:pt x="4737" y="39109"/>
                        <a:pt x="2892" y="38326"/>
                        <a:pt x="1587" y="36817"/>
                      </a:cubicBezTo>
                      <a:cubicBezTo>
                        <a:pt x="-780" y="34058"/>
                        <a:pt x="-463" y="29902"/>
                        <a:pt x="2295" y="27534"/>
                      </a:cubicBezTo>
                      <a:lnTo>
                        <a:pt x="32472" y="1589"/>
                      </a:lnTo>
                      <a:cubicBezTo>
                        <a:pt x="35231" y="-778"/>
                        <a:pt x="39387" y="-461"/>
                        <a:pt x="41773" y="2279"/>
                      </a:cubicBezTo>
                      <a:cubicBezTo>
                        <a:pt x="44140" y="5037"/>
                        <a:pt x="43823" y="9194"/>
                        <a:pt x="41065" y="11561"/>
                      </a:cubicBezTo>
                      <a:lnTo>
                        <a:pt x="10888" y="37506"/>
                      </a:lnTo>
                      <a:cubicBezTo>
                        <a:pt x="9639" y="38587"/>
                        <a:pt x="8111" y="39109"/>
                        <a:pt x="6582" y="39109"/>
                      </a:cubicBezTo>
                      <a:close/>
                    </a:path>
                  </a:pathLst>
                </a:custGeom>
                <a:grpFill/>
                <a:ln w="1863" cap="flat">
                  <a:noFill/>
                  <a:prstDash val="solid"/>
                  <a:miter/>
                </a:ln>
              </p:spPr>
              <p:txBody>
                <a:bodyPr rtlCol="0" anchor="ctr"/>
                <a:lstStyle/>
                <a:p>
                  <a:endParaRPr lang="en-GB" dirty="0"/>
                </a:p>
              </p:txBody>
            </p:sp>
            <p:sp>
              <p:nvSpPr>
                <p:cNvPr id="266" name="Freihandform: Form 995">
                  <a:extLst>
                    <a:ext uri="{FF2B5EF4-FFF2-40B4-BE49-F238E27FC236}">
                      <a16:creationId xmlns:a16="http://schemas.microsoft.com/office/drawing/2014/main" id="{CD9FD844-0276-47B5-902B-F6E60816A123}"/>
                    </a:ext>
                  </a:extLst>
                </p:cNvPr>
                <p:cNvSpPr/>
                <p:nvPr/>
              </p:nvSpPr>
              <p:spPr>
                <a:xfrm>
                  <a:off x="7780903" y="4428922"/>
                  <a:ext cx="85707" cy="81537"/>
                </a:xfrm>
                <a:custGeom>
                  <a:avLst/>
                  <a:gdLst>
                    <a:gd name="connsiteX0" fmla="*/ 23889 w 85707"/>
                    <a:gd name="connsiteY0" fmla="*/ 81538 h 81537"/>
                    <a:gd name="connsiteX1" fmla="*/ 21727 w 85707"/>
                    <a:gd name="connsiteY1" fmla="*/ 81444 h 81537"/>
                    <a:gd name="connsiteX2" fmla="*/ 5493 w 85707"/>
                    <a:gd name="connsiteY2" fmla="*/ 72852 h 81537"/>
                    <a:gd name="connsiteX3" fmla="*/ 5493 w 85707"/>
                    <a:gd name="connsiteY3" fmla="*/ 72852 h 81537"/>
                    <a:gd name="connsiteX4" fmla="*/ 8512 w 85707"/>
                    <a:gd name="connsiteY4" fmla="*/ 38966 h 81537"/>
                    <a:gd name="connsiteX5" fmla="*/ 52724 w 85707"/>
                    <a:gd name="connsiteY5" fmla="*/ 1558 h 81537"/>
                    <a:gd name="connsiteX6" fmla="*/ 57570 w 85707"/>
                    <a:gd name="connsiteY6" fmla="*/ 29 h 81537"/>
                    <a:gd name="connsiteX7" fmla="*/ 62062 w 85707"/>
                    <a:gd name="connsiteY7" fmla="*/ 2396 h 81537"/>
                    <a:gd name="connsiteX8" fmla="*/ 84205 w 85707"/>
                    <a:gd name="connsiteY8" fmla="*/ 29274 h 81537"/>
                    <a:gd name="connsiteX9" fmla="*/ 83367 w 85707"/>
                    <a:gd name="connsiteY9" fmla="*/ 38500 h 81537"/>
                    <a:gd name="connsiteX10" fmla="*/ 39173 w 85707"/>
                    <a:gd name="connsiteY10" fmla="*/ 75909 h 81537"/>
                    <a:gd name="connsiteX11" fmla="*/ 23889 w 85707"/>
                    <a:gd name="connsiteY11" fmla="*/ 81538 h 81537"/>
                    <a:gd name="connsiteX12" fmla="*/ 15669 w 85707"/>
                    <a:gd name="connsiteY12" fmla="*/ 64464 h 81537"/>
                    <a:gd name="connsiteX13" fmla="*/ 22920 w 85707"/>
                    <a:gd name="connsiteY13" fmla="*/ 68304 h 81537"/>
                    <a:gd name="connsiteX14" fmla="*/ 30674 w 85707"/>
                    <a:gd name="connsiteY14" fmla="*/ 65844 h 81537"/>
                    <a:gd name="connsiteX15" fmla="*/ 69909 w 85707"/>
                    <a:gd name="connsiteY15" fmla="*/ 32648 h 81537"/>
                    <a:gd name="connsiteX16" fmla="*/ 56153 w 85707"/>
                    <a:gd name="connsiteY16" fmla="*/ 15928 h 81537"/>
                    <a:gd name="connsiteX17" fmla="*/ 17049 w 85707"/>
                    <a:gd name="connsiteY17" fmla="*/ 49031 h 81537"/>
                    <a:gd name="connsiteX18" fmla="*/ 15669 w 85707"/>
                    <a:gd name="connsiteY18" fmla="*/ 64464 h 81537"/>
                    <a:gd name="connsiteX19" fmla="*/ 15669 w 85707"/>
                    <a:gd name="connsiteY19" fmla="*/ 64464 h 8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707" h="81537">
                      <a:moveTo>
                        <a:pt x="23889" y="81538"/>
                      </a:moveTo>
                      <a:cubicBezTo>
                        <a:pt x="23181" y="81538"/>
                        <a:pt x="22454" y="81500"/>
                        <a:pt x="21727" y="81444"/>
                      </a:cubicBezTo>
                      <a:cubicBezTo>
                        <a:pt x="15353" y="80867"/>
                        <a:pt x="9593" y="77829"/>
                        <a:pt x="5493" y="72852"/>
                      </a:cubicBezTo>
                      <a:cubicBezTo>
                        <a:pt x="5493" y="72852"/>
                        <a:pt x="5493" y="72852"/>
                        <a:pt x="5493" y="72852"/>
                      </a:cubicBezTo>
                      <a:cubicBezTo>
                        <a:pt x="-2876" y="62675"/>
                        <a:pt x="-1534" y="47484"/>
                        <a:pt x="8512" y="38966"/>
                      </a:cubicBezTo>
                      <a:lnTo>
                        <a:pt x="52724" y="1558"/>
                      </a:lnTo>
                      <a:cubicBezTo>
                        <a:pt x="54066" y="421"/>
                        <a:pt x="55818" y="-138"/>
                        <a:pt x="57570" y="29"/>
                      </a:cubicBezTo>
                      <a:cubicBezTo>
                        <a:pt x="59322" y="197"/>
                        <a:pt x="60944" y="1054"/>
                        <a:pt x="62062" y="2396"/>
                      </a:cubicBezTo>
                      <a:lnTo>
                        <a:pt x="84205" y="29274"/>
                      </a:lnTo>
                      <a:cubicBezTo>
                        <a:pt x="86498" y="32051"/>
                        <a:pt x="86125" y="36170"/>
                        <a:pt x="83367" y="38500"/>
                      </a:cubicBezTo>
                      <a:lnTo>
                        <a:pt x="39173" y="75909"/>
                      </a:lnTo>
                      <a:cubicBezTo>
                        <a:pt x="34830" y="79581"/>
                        <a:pt x="29481" y="81538"/>
                        <a:pt x="23889" y="81538"/>
                      </a:cubicBezTo>
                      <a:close/>
                      <a:moveTo>
                        <a:pt x="15669" y="64464"/>
                      </a:moveTo>
                      <a:cubicBezTo>
                        <a:pt x="17496" y="66682"/>
                        <a:pt x="20068" y="68062"/>
                        <a:pt x="22920" y="68304"/>
                      </a:cubicBezTo>
                      <a:cubicBezTo>
                        <a:pt x="25697" y="68584"/>
                        <a:pt x="28493" y="67689"/>
                        <a:pt x="30674" y="65844"/>
                      </a:cubicBezTo>
                      <a:lnTo>
                        <a:pt x="69909" y="32648"/>
                      </a:lnTo>
                      <a:lnTo>
                        <a:pt x="56153" y="15928"/>
                      </a:lnTo>
                      <a:lnTo>
                        <a:pt x="17049" y="49031"/>
                      </a:lnTo>
                      <a:cubicBezTo>
                        <a:pt x="12464" y="52890"/>
                        <a:pt x="11849" y="59823"/>
                        <a:pt x="15669" y="64464"/>
                      </a:cubicBezTo>
                      <a:lnTo>
                        <a:pt x="15669" y="64464"/>
                      </a:lnTo>
                      <a:close/>
                    </a:path>
                  </a:pathLst>
                </a:custGeom>
                <a:grpFill/>
                <a:ln w="1863" cap="flat">
                  <a:noFill/>
                  <a:prstDash val="solid"/>
                  <a:miter/>
                </a:ln>
              </p:spPr>
              <p:txBody>
                <a:bodyPr rtlCol="0" anchor="ctr"/>
                <a:lstStyle/>
                <a:p>
                  <a:endParaRPr lang="en-GB" dirty="0"/>
                </a:p>
              </p:txBody>
            </p:sp>
          </p:grpSp>
        </p:grpSp>
        <p:grpSp>
          <p:nvGrpSpPr>
            <p:cNvPr id="254" name="Gruppieren 1334">
              <a:extLst>
                <a:ext uri="{FF2B5EF4-FFF2-40B4-BE49-F238E27FC236}">
                  <a16:creationId xmlns:a16="http://schemas.microsoft.com/office/drawing/2014/main" id="{BFBA1887-7BA8-473F-B89D-F478BEBE7FF6}"/>
                </a:ext>
              </a:extLst>
            </p:cNvPr>
            <p:cNvGrpSpPr/>
            <p:nvPr/>
          </p:nvGrpSpPr>
          <p:grpSpPr>
            <a:xfrm>
              <a:off x="605667" y="3207277"/>
              <a:ext cx="400236" cy="277320"/>
              <a:chOff x="7882927" y="4200828"/>
              <a:chExt cx="301095" cy="208626"/>
            </a:xfrm>
          </p:grpSpPr>
          <p:grpSp>
            <p:nvGrpSpPr>
              <p:cNvPr id="255" name="Grafik 318">
                <a:extLst>
                  <a:ext uri="{FF2B5EF4-FFF2-40B4-BE49-F238E27FC236}">
                    <a16:creationId xmlns:a16="http://schemas.microsoft.com/office/drawing/2014/main" id="{1A11E67E-20E4-4D83-83E8-60B11B4BF2AD}"/>
                  </a:ext>
                </a:extLst>
              </p:cNvPr>
              <p:cNvGrpSpPr/>
              <p:nvPr/>
            </p:nvGrpSpPr>
            <p:grpSpPr>
              <a:xfrm>
                <a:off x="7882927" y="4200828"/>
                <a:ext cx="301095" cy="104285"/>
                <a:chOff x="7882927" y="4200828"/>
                <a:chExt cx="301095" cy="104285"/>
              </a:xfrm>
              <a:solidFill>
                <a:schemeClr val="accent1"/>
              </a:solidFill>
            </p:grpSpPr>
            <p:sp>
              <p:nvSpPr>
                <p:cNvPr id="257" name="Freihandform: Form 988">
                  <a:extLst>
                    <a:ext uri="{FF2B5EF4-FFF2-40B4-BE49-F238E27FC236}">
                      <a16:creationId xmlns:a16="http://schemas.microsoft.com/office/drawing/2014/main" id="{284BFD13-852E-4464-BBB3-3050A93E38B1}"/>
                    </a:ext>
                  </a:extLst>
                </p:cNvPr>
                <p:cNvSpPr/>
                <p:nvPr/>
              </p:nvSpPr>
              <p:spPr>
                <a:xfrm>
                  <a:off x="7882964" y="4200828"/>
                  <a:ext cx="301057" cy="104285"/>
                </a:xfrm>
                <a:custGeom>
                  <a:avLst/>
                  <a:gdLst>
                    <a:gd name="connsiteX0" fmla="*/ 294441 w 301057"/>
                    <a:gd name="connsiteY0" fmla="*/ 104285 h 104285"/>
                    <a:gd name="connsiteX1" fmla="*/ 287861 w 301057"/>
                    <a:gd name="connsiteY1" fmla="*/ 97706 h 104285"/>
                    <a:gd name="connsiteX2" fmla="*/ 287861 w 301057"/>
                    <a:gd name="connsiteY2" fmla="*/ 18266 h 104285"/>
                    <a:gd name="connsiteX3" fmla="*/ 282941 w 301057"/>
                    <a:gd name="connsiteY3" fmla="*/ 13178 h 104285"/>
                    <a:gd name="connsiteX4" fmla="*/ 18080 w 301057"/>
                    <a:gd name="connsiteY4" fmla="*/ 13178 h 104285"/>
                    <a:gd name="connsiteX5" fmla="*/ 13159 w 301057"/>
                    <a:gd name="connsiteY5" fmla="*/ 18266 h 104285"/>
                    <a:gd name="connsiteX6" fmla="*/ 13159 w 301057"/>
                    <a:gd name="connsiteY6" fmla="*/ 93475 h 104285"/>
                    <a:gd name="connsiteX7" fmla="*/ 6580 w 301057"/>
                    <a:gd name="connsiteY7" fmla="*/ 100054 h 104285"/>
                    <a:gd name="connsiteX8" fmla="*/ 0 w 301057"/>
                    <a:gd name="connsiteY8" fmla="*/ 93475 h 104285"/>
                    <a:gd name="connsiteX9" fmla="*/ 0 w 301057"/>
                    <a:gd name="connsiteY9" fmla="*/ 18266 h 104285"/>
                    <a:gd name="connsiteX10" fmla="*/ 18099 w 301057"/>
                    <a:gd name="connsiteY10" fmla="*/ 0 h 104285"/>
                    <a:gd name="connsiteX11" fmla="*/ 282959 w 301057"/>
                    <a:gd name="connsiteY11" fmla="*/ 0 h 104285"/>
                    <a:gd name="connsiteX12" fmla="*/ 301058 w 301057"/>
                    <a:gd name="connsiteY12" fmla="*/ 18266 h 104285"/>
                    <a:gd name="connsiteX13" fmla="*/ 301058 w 301057"/>
                    <a:gd name="connsiteY13" fmla="*/ 97706 h 104285"/>
                    <a:gd name="connsiteX14" fmla="*/ 294441 w 301057"/>
                    <a:gd name="connsiteY14" fmla="*/ 104285 h 10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1057" h="104285">
                      <a:moveTo>
                        <a:pt x="294441" y="104285"/>
                      </a:moveTo>
                      <a:cubicBezTo>
                        <a:pt x="290806" y="104285"/>
                        <a:pt x="287861" y="101340"/>
                        <a:pt x="287861" y="97706"/>
                      </a:cubicBezTo>
                      <a:lnTo>
                        <a:pt x="287861" y="18266"/>
                      </a:lnTo>
                      <a:cubicBezTo>
                        <a:pt x="287861" y="15470"/>
                        <a:pt x="285643" y="13178"/>
                        <a:pt x="282941" y="13178"/>
                      </a:cubicBezTo>
                      <a:lnTo>
                        <a:pt x="18080" y="13178"/>
                      </a:lnTo>
                      <a:cubicBezTo>
                        <a:pt x="15359" y="13178"/>
                        <a:pt x="13159" y="15452"/>
                        <a:pt x="13159" y="18266"/>
                      </a:cubicBezTo>
                      <a:lnTo>
                        <a:pt x="13159" y="93475"/>
                      </a:lnTo>
                      <a:cubicBezTo>
                        <a:pt x="13159" y="97109"/>
                        <a:pt x="10214" y="100054"/>
                        <a:pt x="6580" y="100054"/>
                      </a:cubicBezTo>
                      <a:cubicBezTo>
                        <a:pt x="2945" y="100054"/>
                        <a:pt x="0" y="97109"/>
                        <a:pt x="0" y="93475"/>
                      </a:cubicBezTo>
                      <a:lnTo>
                        <a:pt x="0" y="18266"/>
                      </a:lnTo>
                      <a:cubicBezTo>
                        <a:pt x="0" y="8201"/>
                        <a:pt x="8127" y="0"/>
                        <a:pt x="18099" y="0"/>
                      </a:cubicBezTo>
                      <a:lnTo>
                        <a:pt x="282959" y="0"/>
                      </a:lnTo>
                      <a:cubicBezTo>
                        <a:pt x="292950" y="0"/>
                        <a:pt x="301058" y="8183"/>
                        <a:pt x="301058" y="18266"/>
                      </a:cubicBezTo>
                      <a:lnTo>
                        <a:pt x="301058" y="97706"/>
                      </a:lnTo>
                      <a:cubicBezTo>
                        <a:pt x="301021" y="101340"/>
                        <a:pt x="298076" y="104285"/>
                        <a:pt x="294441" y="104285"/>
                      </a:cubicBezTo>
                      <a:close/>
                    </a:path>
                  </a:pathLst>
                </a:custGeom>
                <a:solidFill>
                  <a:schemeClr val="accent1"/>
                </a:solidFill>
                <a:ln w="1863" cap="flat">
                  <a:noFill/>
                  <a:prstDash val="solid"/>
                  <a:miter/>
                </a:ln>
              </p:spPr>
              <p:txBody>
                <a:bodyPr rtlCol="0" anchor="ctr"/>
                <a:lstStyle/>
                <a:p>
                  <a:endParaRPr lang="en-GB" dirty="0"/>
                </a:p>
              </p:txBody>
            </p:sp>
            <p:sp>
              <p:nvSpPr>
                <p:cNvPr id="258" name="Freihandform: Form 989">
                  <a:extLst>
                    <a:ext uri="{FF2B5EF4-FFF2-40B4-BE49-F238E27FC236}">
                      <a16:creationId xmlns:a16="http://schemas.microsoft.com/office/drawing/2014/main" id="{4A9EC835-5DB3-4F30-94B8-B68AF761633E}"/>
                    </a:ext>
                  </a:extLst>
                </p:cNvPr>
                <p:cNvSpPr/>
                <p:nvPr/>
              </p:nvSpPr>
              <p:spPr>
                <a:xfrm>
                  <a:off x="7882927" y="4230017"/>
                  <a:ext cx="301057" cy="42347"/>
                </a:xfrm>
                <a:custGeom>
                  <a:avLst/>
                  <a:gdLst>
                    <a:gd name="connsiteX0" fmla="*/ 294478 w 301057"/>
                    <a:gd name="connsiteY0" fmla="*/ 42348 h 42347"/>
                    <a:gd name="connsiteX1" fmla="*/ 6580 w 301057"/>
                    <a:gd name="connsiteY1" fmla="*/ 42348 h 42347"/>
                    <a:gd name="connsiteX2" fmla="*/ 0 w 301057"/>
                    <a:gd name="connsiteY2" fmla="*/ 35768 h 42347"/>
                    <a:gd name="connsiteX3" fmla="*/ 0 w 301057"/>
                    <a:gd name="connsiteY3" fmla="*/ 6579 h 42347"/>
                    <a:gd name="connsiteX4" fmla="*/ 6580 w 301057"/>
                    <a:gd name="connsiteY4" fmla="*/ 0 h 42347"/>
                    <a:gd name="connsiteX5" fmla="*/ 294478 w 301057"/>
                    <a:gd name="connsiteY5" fmla="*/ 0 h 42347"/>
                    <a:gd name="connsiteX6" fmla="*/ 301058 w 301057"/>
                    <a:gd name="connsiteY6" fmla="*/ 6579 h 42347"/>
                    <a:gd name="connsiteX7" fmla="*/ 301058 w 301057"/>
                    <a:gd name="connsiteY7" fmla="*/ 35768 h 42347"/>
                    <a:gd name="connsiteX8" fmla="*/ 294478 w 301057"/>
                    <a:gd name="connsiteY8" fmla="*/ 42348 h 42347"/>
                    <a:gd name="connsiteX9" fmla="*/ 13159 w 301057"/>
                    <a:gd name="connsiteY9" fmla="*/ 29170 h 42347"/>
                    <a:gd name="connsiteX10" fmla="*/ 287880 w 301057"/>
                    <a:gd name="connsiteY10" fmla="*/ 29170 h 42347"/>
                    <a:gd name="connsiteX11" fmla="*/ 287880 w 301057"/>
                    <a:gd name="connsiteY11" fmla="*/ 13159 h 42347"/>
                    <a:gd name="connsiteX12" fmla="*/ 13159 w 301057"/>
                    <a:gd name="connsiteY12" fmla="*/ 13159 h 42347"/>
                    <a:gd name="connsiteX13" fmla="*/ 13159 w 301057"/>
                    <a:gd name="connsiteY13" fmla="*/ 29170 h 4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1057" h="42347">
                      <a:moveTo>
                        <a:pt x="294478" y="42348"/>
                      </a:moveTo>
                      <a:lnTo>
                        <a:pt x="6580" y="42348"/>
                      </a:lnTo>
                      <a:cubicBezTo>
                        <a:pt x="2945" y="42348"/>
                        <a:pt x="0" y="39403"/>
                        <a:pt x="0" y="35768"/>
                      </a:cubicBezTo>
                      <a:lnTo>
                        <a:pt x="0" y="6579"/>
                      </a:lnTo>
                      <a:cubicBezTo>
                        <a:pt x="0" y="2945"/>
                        <a:pt x="2945" y="0"/>
                        <a:pt x="6580" y="0"/>
                      </a:cubicBezTo>
                      <a:lnTo>
                        <a:pt x="294478" y="0"/>
                      </a:lnTo>
                      <a:cubicBezTo>
                        <a:pt x="298113" y="0"/>
                        <a:pt x="301058" y="2945"/>
                        <a:pt x="301058" y="6579"/>
                      </a:cubicBezTo>
                      <a:lnTo>
                        <a:pt x="301058" y="35768"/>
                      </a:lnTo>
                      <a:cubicBezTo>
                        <a:pt x="301058" y="39403"/>
                        <a:pt x="298113" y="42348"/>
                        <a:pt x="294478" y="42348"/>
                      </a:cubicBezTo>
                      <a:close/>
                      <a:moveTo>
                        <a:pt x="13159" y="29170"/>
                      </a:moveTo>
                      <a:lnTo>
                        <a:pt x="287880" y="29170"/>
                      </a:lnTo>
                      <a:lnTo>
                        <a:pt x="287880" y="13159"/>
                      </a:lnTo>
                      <a:lnTo>
                        <a:pt x="13159" y="13159"/>
                      </a:lnTo>
                      <a:lnTo>
                        <a:pt x="13159" y="29170"/>
                      </a:lnTo>
                      <a:close/>
                    </a:path>
                  </a:pathLst>
                </a:custGeom>
                <a:solidFill>
                  <a:schemeClr val="accent1"/>
                </a:solidFill>
                <a:ln w="1863" cap="flat">
                  <a:noFill/>
                  <a:prstDash val="solid"/>
                  <a:miter/>
                </a:ln>
              </p:spPr>
              <p:txBody>
                <a:bodyPr rtlCol="0" anchor="ctr"/>
                <a:lstStyle/>
                <a:p>
                  <a:endParaRPr lang="en-GB" dirty="0"/>
                </a:p>
              </p:txBody>
            </p:sp>
          </p:grpSp>
          <p:sp>
            <p:nvSpPr>
              <p:cNvPr id="256" name="Freihandform: Form 990">
                <a:extLst>
                  <a:ext uri="{FF2B5EF4-FFF2-40B4-BE49-F238E27FC236}">
                    <a16:creationId xmlns:a16="http://schemas.microsoft.com/office/drawing/2014/main" id="{5D5F9AAA-04EA-4CDE-9A59-D4E7837DCB8A}"/>
                  </a:ext>
                </a:extLst>
              </p:cNvPr>
              <p:cNvSpPr/>
              <p:nvPr/>
            </p:nvSpPr>
            <p:spPr>
              <a:xfrm>
                <a:off x="7900546" y="4349602"/>
                <a:ext cx="76869" cy="59852"/>
              </a:xfrm>
              <a:custGeom>
                <a:avLst/>
                <a:gdLst>
                  <a:gd name="connsiteX0" fmla="*/ 31848 w 76869"/>
                  <a:gd name="connsiteY0" fmla="*/ 59834 h 59852"/>
                  <a:gd name="connsiteX1" fmla="*/ 27040 w 76869"/>
                  <a:gd name="connsiteY1" fmla="*/ 57765 h 59852"/>
                  <a:gd name="connsiteX2" fmla="*/ 1784 w 76869"/>
                  <a:gd name="connsiteY2" fmla="*/ 30869 h 59852"/>
                  <a:gd name="connsiteX3" fmla="*/ 2082 w 76869"/>
                  <a:gd name="connsiteY3" fmla="*/ 21550 h 59852"/>
                  <a:gd name="connsiteX4" fmla="*/ 11401 w 76869"/>
                  <a:gd name="connsiteY4" fmla="*/ 21848 h 59852"/>
                  <a:gd name="connsiteX5" fmla="*/ 31532 w 76869"/>
                  <a:gd name="connsiteY5" fmla="*/ 43283 h 59852"/>
                  <a:gd name="connsiteX6" fmla="*/ 65194 w 76869"/>
                  <a:gd name="connsiteY6" fmla="*/ 2407 h 59852"/>
                  <a:gd name="connsiteX7" fmla="*/ 74476 w 76869"/>
                  <a:gd name="connsiteY7" fmla="*/ 1513 h 59852"/>
                  <a:gd name="connsiteX8" fmla="*/ 75371 w 76869"/>
                  <a:gd name="connsiteY8" fmla="*/ 10795 h 59852"/>
                  <a:gd name="connsiteX9" fmla="*/ 36956 w 76869"/>
                  <a:gd name="connsiteY9" fmla="*/ 57467 h 59852"/>
                  <a:gd name="connsiteX10" fmla="*/ 32072 w 76869"/>
                  <a:gd name="connsiteY10" fmla="*/ 59853 h 59852"/>
                  <a:gd name="connsiteX11" fmla="*/ 31848 w 76869"/>
                  <a:gd name="connsiteY11" fmla="*/ 59834 h 59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869" h="59852">
                    <a:moveTo>
                      <a:pt x="31848" y="59834"/>
                    </a:moveTo>
                    <a:cubicBezTo>
                      <a:pt x="30040" y="59834"/>
                      <a:pt x="28288" y="59089"/>
                      <a:pt x="27040" y="57765"/>
                    </a:cubicBezTo>
                    <a:lnTo>
                      <a:pt x="1784" y="30869"/>
                    </a:lnTo>
                    <a:cubicBezTo>
                      <a:pt x="-714" y="28222"/>
                      <a:pt x="-565" y="24047"/>
                      <a:pt x="2082" y="21550"/>
                    </a:cubicBezTo>
                    <a:cubicBezTo>
                      <a:pt x="4747" y="19071"/>
                      <a:pt x="8904" y="19201"/>
                      <a:pt x="11401" y="21848"/>
                    </a:cubicBezTo>
                    <a:lnTo>
                      <a:pt x="31532" y="43283"/>
                    </a:lnTo>
                    <a:lnTo>
                      <a:pt x="65194" y="2407"/>
                    </a:lnTo>
                    <a:cubicBezTo>
                      <a:pt x="67505" y="-407"/>
                      <a:pt x="71661" y="-817"/>
                      <a:pt x="74476" y="1513"/>
                    </a:cubicBezTo>
                    <a:cubicBezTo>
                      <a:pt x="77272" y="3824"/>
                      <a:pt x="77682" y="7980"/>
                      <a:pt x="75371" y="10795"/>
                    </a:cubicBezTo>
                    <a:lnTo>
                      <a:pt x="36956" y="57467"/>
                    </a:lnTo>
                    <a:cubicBezTo>
                      <a:pt x="35744" y="58921"/>
                      <a:pt x="33973" y="59797"/>
                      <a:pt x="32072" y="59853"/>
                    </a:cubicBezTo>
                    <a:cubicBezTo>
                      <a:pt x="31998" y="59834"/>
                      <a:pt x="31923" y="59834"/>
                      <a:pt x="31848" y="59834"/>
                    </a:cubicBezTo>
                    <a:close/>
                  </a:path>
                </a:pathLst>
              </a:custGeom>
              <a:solidFill>
                <a:schemeClr val="accent1"/>
              </a:solidFill>
              <a:ln w="1863" cap="flat">
                <a:noFill/>
                <a:prstDash val="solid"/>
                <a:miter/>
              </a:ln>
            </p:spPr>
            <p:txBody>
              <a:bodyPr rtlCol="0" anchor="ctr"/>
              <a:lstStyle/>
              <a:p>
                <a:endParaRPr lang="en-GB" dirty="0"/>
              </a:p>
            </p:txBody>
          </p:sp>
        </p:grpSp>
      </p:grpSp>
      <p:grpSp>
        <p:nvGrpSpPr>
          <p:cNvPr id="15" name="Group 14">
            <a:extLst>
              <a:ext uri="{FF2B5EF4-FFF2-40B4-BE49-F238E27FC236}">
                <a16:creationId xmlns:a16="http://schemas.microsoft.com/office/drawing/2014/main" id="{794872E2-2270-465F-A2F0-F3495CACD890}"/>
              </a:ext>
            </a:extLst>
          </p:cNvPr>
          <p:cNvGrpSpPr/>
          <p:nvPr/>
        </p:nvGrpSpPr>
        <p:grpSpPr>
          <a:xfrm>
            <a:off x="1569970" y="3197068"/>
            <a:ext cx="539028" cy="432000"/>
            <a:chOff x="1569970" y="3197068"/>
            <a:chExt cx="539028" cy="432000"/>
          </a:xfrm>
        </p:grpSpPr>
        <p:grpSp>
          <p:nvGrpSpPr>
            <p:cNvPr id="268" name="Gruppieren 1305">
              <a:extLst>
                <a:ext uri="{FF2B5EF4-FFF2-40B4-BE49-F238E27FC236}">
                  <a16:creationId xmlns:a16="http://schemas.microsoft.com/office/drawing/2014/main" id="{35D22BBB-CE49-4738-90AA-510A14A226A8}"/>
                </a:ext>
              </a:extLst>
            </p:cNvPr>
            <p:cNvGrpSpPr/>
            <p:nvPr/>
          </p:nvGrpSpPr>
          <p:grpSpPr>
            <a:xfrm>
              <a:off x="1569970" y="3292589"/>
              <a:ext cx="394091" cy="335565"/>
              <a:chOff x="2508804" y="1722969"/>
              <a:chExt cx="396938" cy="337989"/>
            </a:xfrm>
          </p:grpSpPr>
          <p:sp>
            <p:nvSpPr>
              <p:cNvPr id="297" name="Freihandform: Form 631">
                <a:extLst>
                  <a:ext uri="{FF2B5EF4-FFF2-40B4-BE49-F238E27FC236}">
                    <a16:creationId xmlns:a16="http://schemas.microsoft.com/office/drawing/2014/main" id="{849FE9C0-01A7-4722-8E66-7898E64625E2}"/>
                  </a:ext>
                </a:extLst>
              </p:cNvPr>
              <p:cNvSpPr/>
              <p:nvPr/>
            </p:nvSpPr>
            <p:spPr>
              <a:xfrm>
                <a:off x="2586583" y="1722969"/>
                <a:ext cx="65137" cy="80929"/>
              </a:xfrm>
              <a:custGeom>
                <a:avLst/>
                <a:gdLst>
                  <a:gd name="connsiteX0" fmla="*/ 23875 w 65137"/>
                  <a:gd name="connsiteY0" fmla="*/ 80929 h 80929"/>
                  <a:gd name="connsiteX1" fmla="*/ 17494 w 65137"/>
                  <a:gd name="connsiteY1" fmla="*/ 76004 h 80929"/>
                  <a:gd name="connsiteX2" fmla="*/ 212 w 65137"/>
                  <a:gd name="connsiteY2" fmla="*/ 10004 h 80929"/>
                  <a:gd name="connsiteX3" fmla="*/ 3938 w 65137"/>
                  <a:gd name="connsiteY3" fmla="*/ 2295 h 80929"/>
                  <a:gd name="connsiteX4" fmla="*/ 5052 w 65137"/>
                  <a:gd name="connsiteY4" fmla="*/ 1824 h 80929"/>
                  <a:gd name="connsiteX5" fmla="*/ 39958 w 65137"/>
                  <a:gd name="connsiteY5" fmla="*/ 8570 h 80929"/>
                  <a:gd name="connsiteX6" fmla="*/ 64670 w 65137"/>
                  <a:gd name="connsiteY6" fmla="*/ 38271 h 80929"/>
                  <a:gd name="connsiteX7" fmla="*/ 60965 w 65137"/>
                  <a:gd name="connsiteY7" fmla="*/ 46837 h 80929"/>
                  <a:gd name="connsiteX8" fmla="*/ 52421 w 65137"/>
                  <a:gd name="connsiteY8" fmla="*/ 43133 h 80929"/>
                  <a:gd name="connsiteX9" fmla="*/ 32634 w 65137"/>
                  <a:gd name="connsiteY9" fmla="*/ 19555 h 80929"/>
                  <a:gd name="connsiteX10" fmla="*/ 14689 w 65137"/>
                  <a:gd name="connsiteY10" fmla="*/ 13216 h 80929"/>
                  <a:gd name="connsiteX11" fmla="*/ 30278 w 65137"/>
                  <a:gd name="connsiteY11" fmla="*/ 72685 h 80929"/>
                  <a:gd name="connsiteX12" fmla="*/ 25567 w 65137"/>
                  <a:gd name="connsiteY12" fmla="*/ 80736 h 80929"/>
                  <a:gd name="connsiteX13" fmla="*/ 23875 w 65137"/>
                  <a:gd name="connsiteY13" fmla="*/ 80929 h 80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5137" h="80929">
                    <a:moveTo>
                      <a:pt x="23875" y="80929"/>
                    </a:moveTo>
                    <a:cubicBezTo>
                      <a:pt x="20942" y="80929"/>
                      <a:pt x="18286" y="78959"/>
                      <a:pt x="17494" y="76004"/>
                    </a:cubicBezTo>
                    <a:lnTo>
                      <a:pt x="212" y="10004"/>
                    </a:lnTo>
                    <a:cubicBezTo>
                      <a:pt x="-601" y="6878"/>
                      <a:pt x="983" y="3601"/>
                      <a:pt x="3938" y="2295"/>
                    </a:cubicBezTo>
                    <a:lnTo>
                      <a:pt x="5052" y="1824"/>
                    </a:lnTo>
                    <a:cubicBezTo>
                      <a:pt x="14967" y="-2095"/>
                      <a:pt x="27687" y="368"/>
                      <a:pt x="39958" y="8570"/>
                    </a:cubicBezTo>
                    <a:cubicBezTo>
                      <a:pt x="51008" y="15936"/>
                      <a:pt x="60237" y="27050"/>
                      <a:pt x="64670" y="38271"/>
                    </a:cubicBezTo>
                    <a:cubicBezTo>
                      <a:pt x="66019" y="41655"/>
                      <a:pt x="64349" y="45488"/>
                      <a:pt x="60965" y="46837"/>
                    </a:cubicBezTo>
                    <a:cubicBezTo>
                      <a:pt x="57582" y="48165"/>
                      <a:pt x="53749" y="46516"/>
                      <a:pt x="52421" y="43133"/>
                    </a:cubicBezTo>
                    <a:cubicBezTo>
                      <a:pt x="48930" y="34310"/>
                      <a:pt x="41542" y="25487"/>
                      <a:pt x="32634" y="19555"/>
                    </a:cubicBezTo>
                    <a:cubicBezTo>
                      <a:pt x="26274" y="15315"/>
                      <a:pt x="19999" y="13067"/>
                      <a:pt x="14689" y="13216"/>
                    </a:cubicBezTo>
                    <a:lnTo>
                      <a:pt x="30278" y="72685"/>
                    </a:lnTo>
                    <a:cubicBezTo>
                      <a:pt x="31199" y="76218"/>
                      <a:pt x="29101" y="79816"/>
                      <a:pt x="25567" y="80736"/>
                    </a:cubicBezTo>
                    <a:cubicBezTo>
                      <a:pt x="24989" y="80865"/>
                      <a:pt x="24432" y="80929"/>
                      <a:pt x="23875" y="80929"/>
                    </a:cubicBezTo>
                    <a:close/>
                  </a:path>
                </a:pathLst>
              </a:custGeom>
              <a:solidFill>
                <a:schemeClr val="tx2"/>
              </a:solidFill>
              <a:ln w="2139" cap="flat">
                <a:noFill/>
                <a:prstDash val="solid"/>
                <a:miter/>
              </a:ln>
            </p:spPr>
            <p:txBody>
              <a:bodyPr rtlCol="0" anchor="ctr"/>
              <a:lstStyle/>
              <a:p>
                <a:endParaRPr lang="en-GB" dirty="0"/>
              </a:p>
            </p:txBody>
          </p:sp>
          <p:sp>
            <p:nvSpPr>
              <p:cNvPr id="298" name="Freihandform: Form 632">
                <a:extLst>
                  <a:ext uri="{FF2B5EF4-FFF2-40B4-BE49-F238E27FC236}">
                    <a16:creationId xmlns:a16="http://schemas.microsoft.com/office/drawing/2014/main" id="{CCA2474B-F6AC-403D-BC2D-95EBA61F181C}"/>
                  </a:ext>
                </a:extLst>
              </p:cNvPr>
              <p:cNvSpPr/>
              <p:nvPr/>
            </p:nvSpPr>
            <p:spPr>
              <a:xfrm>
                <a:off x="2593892" y="1819269"/>
                <a:ext cx="14404" cy="34076"/>
              </a:xfrm>
              <a:custGeom>
                <a:avLst/>
                <a:gdLst>
                  <a:gd name="connsiteX0" fmla="*/ 6609 w 14404"/>
                  <a:gd name="connsiteY0" fmla="*/ 34076 h 34076"/>
                  <a:gd name="connsiteX1" fmla="*/ 5239 w 14404"/>
                  <a:gd name="connsiteY1" fmla="*/ 33926 h 34076"/>
                  <a:gd name="connsiteX2" fmla="*/ 142 w 14404"/>
                  <a:gd name="connsiteY2" fmla="*/ 26110 h 34076"/>
                  <a:gd name="connsiteX3" fmla="*/ 1213 w 14404"/>
                  <a:gd name="connsiteY3" fmla="*/ 15874 h 34076"/>
                  <a:gd name="connsiteX4" fmla="*/ 528 w 14404"/>
                  <a:gd name="connsiteY4" fmla="*/ 7693 h 34076"/>
                  <a:gd name="connsiteX5" fmla="*/ 5945 w 14404"/>
                  <a:gd name="connsiteY5" fmla="*/ 91 h 34076"/>
                  <a:gd name="connsiteX6" fmla="*/ 13548 w 14404"/>
                  <a:gd name="connsiteY6" fmla="*/ 5509 h 34076"/>
                  <a:gd name="connsiteX7" fmla="*/ 14404 w 14404"/>
                  <a:gd name="connsiteY7" fmla="*/ 15895 h 34076"/>
                  <a:gd name="connsiteX8" fmla="*/ 13055 w 14404"/>
                  <a:gd name="connsiteY8" fmla="*/ 28872 h 34076"/>
                  <a:gd name="connsiteX9" fmla="*/ 6609 w 14404"/>
                  <a:gd name="connsiteY9" fmla="*/ 34076 h 3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04" h="34076">
                    <a:moveTo>
                      <a:pt x="6609" y="34076"/>
                    </a:moveTo>
                    <a:cubicBezTo>
                      <a:pt x="6160" y="34076"/>
                      <a:pt x="5710" y="34033"/>
                      <a:pt x="5239" y="33926"/>
                    </a:cubicBezTo>
                    <a:cubicBezTo>
                      <a:pt x="1684" y="33177"/>
                      <a:pt x="-607" y="29665"/>
                      <a:pt x="142" y="26110"/>
                    </a:cubicBezTo>
                    <a:cubicBezTo>
                      <a:pt x="849" y="22769"/>
                      <a:pt x="1213" y="19321"/>
                      <a:pt x="1213" y="15874"/>
                    </a:cubicBezTo>
                    <a:cubicBezTo>
                      <a:pt x="1213" y="13133"/>
                      <a:pt x="977" y="10370"/>
                      <a:pt x="528" y="7693"/>
                    </a:cubicBezTo>
                    <a:cubicBezTo>
                      <a:pt x="-72" y="4096"/>
                      <a:pt x="2348" y="691"/>
                      <a:pt x="5945" y="91"/>
                    </a:cubicBezTo>
                    <a:cubicBezTo>
                      <a:pt x="9500" y="-508"/>
                      <a:pt x="12948" y="1911"/>
                      <a:pt x="13548" y="5509"/>
                    </a:cubicBezTo>
                    <a:cubicBezTo>
                      <a:pt x="14126" y="8914"/>
                      <a:pt x="14404" y="12405"/>
                      <a:pt x="14404" y="15895"/>
                    </a:cubicBezTo>
                    <a:cubicBezTo>
                      <a:pt x="14404" y="20264"/>
                      <a:pt x="13954" y="24611"/>
                      <a:pt x="13055" y="28872"/>
                    </a:cubicBezTo>
                    <a:cubicBezTo>
                      <a:pt x="12391" y="31935"/>
                      <a:pt x="9650" y="34076"/>
                      <a:pt x="6609" y="34076"/>
                    </a:cubicBezTo>
                    <a:close/>
                  </a:path>
                </a:pathLst>
              </a:custGeom>
              <a:solidFill>
                <a:schemeClr val="tx2"/>
              </a:solidFill>
              <a:ln w="2139" cap="flat">
                <a:noFill/>
                <a:prstDash val="solid"/>
                <a:miter/>
              </a:ln>
            </p:spPr>
            <p:txBody>
              <a:bodyPr rtlCol="0" anchor="ctr"/>
              <a:lstStyle/>
              <a:p>
                <a:endParaRPr lang="en-GB" dirty="0"/>
              </a:p>
            </p:txBody>
          </p:sp>
          <p:sp>
            <p:nvSpPr>
              <p:cNvPr id="299" name="Freihandform: Form 633">
                <a:extLst>
                  <a:ext uri="{FF2B5EF4-FFF2-40B4-BE49-F238E27FC236}">
                    <a16:creationId xmlns:a16="http://schemas.microsoft.com/office/drawing/2014/main" id="{C4A52017-3996-4D32-9E59-98D269E4D6FD}"/>
                  </a:ext>
                </a:extLst>
              </p:cNvPr>
              <p:cNvSpPr/>
              <p:nvPr/>
            </p:nvSpPr>
            <p:spPr>
              <a:xfrm>
                <a:off x="2633081" y="1741025"/>
                <a:ext cx="43912" cy="18352"/>
              </a:xfrm>
              <a:custGeom>
                <a:avLst/>
                <a:gdLst>
                  <a:gd name="connsiteX0" fmla="*/ 6609 w 43912"/>
                  <a:gd name="connsiteY0" fmla="*/ 18352 h 18352"/>
                  <a:gd name="connsiteX1" fmla="*/ 441 w 43912"/>
                  <a:gd name="connsiteY1" fmla="*/ 14112 h 18352"/>
                  <a:gd name="connsiteX2" fmla="*/ 4231 w 43912"/>
                  <a:gd name="connsiteY2" fmla="*/ 5589 h 18352"/>
                  <a:gd name="connsiteX3" fmla="*/ 37317 w 43912"/>
                  <a:gd name="connsiteY3" fmla="*/ 0 h 18352"/>
                  <a:gd name="connsiteX4" fmla="*/ 43913 w 43912"/>
                  <a:gd name="connsiteY4" fmla="*/ 6596 h 18352"/>
                  <a:gd name="connsiteX5" fmla="*/ 37317 w 43912"/>
                  <a:gd name="connsiteY5" fmla="*/ 13191 h 18352"/>
                  <a:gd name="connsiteX6" fmla="*/ 37317 w 43912"/>
                  <a:gd name="connsiteY6" fmla="*/ 13191 h 18352"/>
                  <a:gd name="connsiteX7" fmla="*/ 8986 w 43912"/>
                  <a:gd name="connsiteY7" fmla="*/ 17903 h 18352"/>
                  <a:gd name="connsiteX8" fmla="*/ 6609 w 43912"/>
                  <a:gd name="connsiteY8" fmla="*/ 18352 h 18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12" h="18352">
                    <a:moveTo>
                      <a:pt x="6609" y="18352"/>
                    </a:moveTo>
                    <a:cubicBezTo>
                      <a:pt x="3953" y="18352"/>
                      <a:pt x="1469" y="16746"/>
                      <a:pt x="441" y="14112"/>
                    </a:cubicBezTo>
                    <a:cubicBezTo>
                      <a:pt x="-865" y="10707"/>
                      <a:pt x="827" y="6895"/>
                      <a:pt x="4231" y="5589"/>
                    </a:cubicBezTo>
                    <a:cubicBezTo>
                      <a:pt x="18194" y="214"/>
                      <a:pt x="22969" y="0"/>
                      <a:pt x="37317" y="0"/>
                    </a:cubicBezTo>
                    <a:cubicBezTo>
                      <a:pt x="40957" y="0"/>
                      <a:pt x="43913" y="2955"/>
                      <a:pt x="43913" y="6596"/>
                    </a:cubicBezTo>
                    <a:cubicBezTo>
                      <a:pt x="43913" y="10236"/>
                      <a:pt x="40957" y="13191"/>
                      <a:pt x="37317" y="13191"/>
                    </a:cubicBezTo>
                    <a:lnTo>
                      <a:pt x="37317" y="13191"/>
                    </a:lnTo>
                    <a:cubicBezTo>
                      <a:pt x="24276" y="13191"/>
                      <a:pt x="21277" y="13191"/>
                      <a:pt x="8986" y="17903"/>
                    </a:cubicBezTo>
                    <a:cubicBezTo>
                      <a:pt x="8215" y="18202"/>
                      <a:pt x="7401" y="18352"/>
                      <a:pt x="6609" y="18352"/>
                    </a:cubicBezTo>
                    <a:close/>
                  </a:path>
                </a:pathLst>
              </a:custGeom>
              <a:solidFill>
                <a:schemeClr val="tx2"/>
              </a:solidFill>
              <a:ln w="2139" cap="flat">
                <a:noFill/>
                <a:prstDash val="solid"/>
                <a:miter/>
              </a:ln>
            </p:spPr>
            <p:txBody>
              <a:bodyPr rtlCol="0" anchor="ctr"/>
              <a:lstStyle/>
              <a:p>
                <a:endParaRPr lang="en-GB" dirty="0"/>
              </a:p>
            </p:txBody>
          </p:sp>
          <p:sp>
            <p:nvSpPr>
              <p:cNvPr id="300" name="Freihandform: Form 634">
                <a:extLst>
                  <a:ext uri="{FF2B5EF4-FFF2-40B4-BE49-F238E27FC236}">
                    <a16:creationId xmlns:a16="http://schemas.microsoft.com/office/drawing/2014/main" id="{553C1D36-B862-4CDC-9C37-52835DDAE376}"/>
                  </a:ext>
                </a:extLst>
              </p:cNvPr>
              <p:cNvSpPr/>
              <p:nvPr/>
            </p:nvSpPr>
            <p:spPr>
              <a:xfrm>
                <a:off x="2814041" y="1746502"/>
                <a:ext cx="91701" cy="81551"/>
              </a:xfrm>
              <a:custGeom>
                <a:avLst/>
                <a:gdLst>
                  <a:gd name="connsiteX0" fmla="*/ 85128 w 91701"/>
                  <a:gd name="connsiteY0" fmla="*/ 81552 h 81551"/>
                  <a:gd name="connsiteX1" fmla="*/ 79154 w 91701"/>
                  <a:gd name="connsiteY1" fmla="*/ 77740 h 81551"/>
                  <a:gd name="connsiteX2" fmla="*/ 4674 w 91701"/>
                  <a:gd name="connsiteY2" fmla="*/ 12918 h 81551"/>
                  <a:gd name="connsiteX3" fmla="*/ 284 w 91701"/>
                  <a:gd name="connsiteY3" fmla="*/ 4674 h 81551"/>
                  <a:gd name="connsiteX4" fmla="*/ 8507 w 91701"/>
                  <a:gd name="connsiteY4" fmla="*/ 284 h 81551"/>
                  <a:gd name="connsiteX5" fmla="*/ 91081 w 91701"/>
                  <a:gd name="connsiteY5" fmla="*/ 72130 h 81551"/>
                  <a:gd name="connsiteX6" fmla="*/ 87891 w 91701"/>
                  <a:gd name="connsiteY6" fmla="*/ 80888 h 81551"/>
                  <a:gd name="connsiteX7" fmla="*/ 85128 w 91701"/>
                  <a:gd name="connsiteY7" fmla="*/ 81552 h 81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01" h="81551">
                    <a:moveTo>
                      <a:pt x="85128" y="81552"/>
                    </a:moveTo>
                    <a:cubicBezTo>
                      <a:pt x="82644" y="81552"/>
                      <a:pt x="80267" y="80139"/>
                      <a:pt x="79154" y="77740"/>
                    </a:cubicBezTo>
                    <a:cubicBezTo>
                      <a:pt x="64592" y="46561"/>
                      <a:pt x="37438" y="22940"/>
                      <a:pt x="4674" y="12918"/>
                    </a:cubicBezTo>
                    <a:cubicBezTo>
                      <a:pt x="1183" y="11848"/>
                      <a:pt x="-766" y="8164"/>
                      <a:pt x="284" y="4674"/>
                    </a:cubicBezTo>
                    <a:cubicBezTo>
                      <a:pt x="1333" y="1183"/>
                      <a:pt x="4995" y="-766"/>
                      <a:pt x="8507" y="284"/>
                    </a:cubicBezTo>
                    <a:cubicBezTo>
                      <a:pt x="44847" y="11377"/>
                      <a:pt x="74956" y="37566"/>
                      <a:pt x="91081" y="72130"/>
                    </a:cubicBezTo>
                    <a:cubicBezTo>
                      <a:pt x="92623" y="75427"/>
                      <a:pt x="91189" y="79346"/>
                      <a:pt x="87891" y="80888"/>
                    </a:cubicBezTo>
                    <a:cubicBezTo>
                      <a:pt x="87013" y="81359"/>
                      <a:pt x="86070" y="81552"/>
                      <a:pt x="85128" y="81552"/>
                    </a:cubicBezTo>
                    <a:close/>
                  </a:path>
                </a:pathLst>
              </a:custGeom>
              <a:solidFill>
                <a:schemeClr val="tx2"/>
              </a:solidFill>
              <a:ln w="2139" cap="flat">
                <a:noFill/>
                <a:prstDash val="solid"/>
                <a:miter/>
              </a:ln>
            </p:spPr>
            <p:txBody>
              <a:bodyPr rtlCol="0" anchor="ctr"/>
              <a:lstStyle/>
              <a:p>
                <a:endParaRPr lang="en-GB" dirty="0"/>
              </a:p>
            </p:txBody>
          </p:sp>
          <p:sp>
            <p:nvSpPr>
              <p:cNvPr id="301" name="Freihandform: Form 635">
                <a:extLst>
                  <a:ext uri="{FF2B5EF4-FFF2-40B4-BE49-F238E27FC236}">
                    <a16:creationId xmlns:a16="http://schemas.microsoft.com/office/drawing/2014/main" id="{941D3F6A-75D9-4252-8959-BE525CB99D62}"/>
                  </a:ext>
                </a:extLst>
              </p:cNvPr>
              <p:cNvSpPr/>
              <p:nvPr/>
            </p:nvSpPr>
            <p:spPr>
              <a:xfrm>
                <a:off x="2508804" y="1765969"/>
                <a:ext cx="274748" cy="294989"/>
              </a:xfrm>
              <a:custGeom>
                <a:avLst/>
                <a:gdLst>
                  <a:gd name="connsiteX0" fmla="*/ 268089 w 274748"/>
                  <a:gd name="connsiteY0" fmla="*/ 294990 h 294989"/>
                  <a:gd name="connsiteX1" fmla="*/ 267168 w 274748"/>
                  <a:gd name="connsiteY1" fmla="*/ 294990 h 294989"/>
                  <a:gd name="connsiteX2" fmla="*/ 257381 w 274748"/>
                  <a:gd name="connsiteY2" fmla="*/ 291435 h 294989"/>
                  <a:gd name="connsiteX3" fmla="*/ 252177 w 274748"/>
                  <a:gd name="connsiteY3" fmla="*/ 282591 h 294989"/>
                  <a:gd name="connsiteX4" fmla="*/ 244618 w 274748"/>
                  <a:gd name="connsiteY4" fmla="*/ 242952 h 294989"/>
                  <a:gd name="connsiteX5" fmla="*/ 199840 w 274748"/>
                  <a:gd name="connsiteY5" fmla="*/ 242952 h 294989"/>
                  <a:gd name="connsiteX6" fmla="*/ 192281 w 274748"/>
                  <a:gd name="connsiteY6" fmla="*/ 282591 h 294989"/>
                  <a:gd name="connsiteX7" fmla="*/ 177312 w 274748"/>
                  <a:gd name="connsiteY7" fmla="*/ 294990 h 294989"/>
                  <a:gd name="connsiteX8" fmla="*/ 136967 w 274748"/>
                  <a:gd name="connsiteY8" fmla="*/ 294990 h 294989"/>
                  <a:gd name="connsiteX9" fmla="*/ 121999 w 274748"/>
                  <a:gd name="connsiteY9" fmla="*/ 282655 h 294989"/>
                  <a:gd name="connsiteX10" fmla="*/ 112019 w 274748"/>
                  <a:gd name="connsiteY10" fmla="*/ 231410 h 294989"/>
                  <a:gd name="connsiteX11" fmla="*/ 111141 w 274748"/>
                  <a:gd name="connsiteY11" fmla="*/ 230596 h 294989"/>
                  <a:gd name="connsiteX12" fmla="*/ 46898 w 274748"/>
                  <a:gd name="connsiteY12" fmla="*/ 167744 h 294989"/>
                  <a:gd name="connsiteX13" fmla="*/ 9786 w 274748"/>
                  <a:gd name="connsiteY13" fmla="*/ 153568 h 294989"/>
                  <a:gd name="connsiteX14" fmla="*/ 0 w 274748"/>
                  <a:gd name="connsiteY14" fmla="*/ 139327 h 294989"/>
                  <a:gd name="connsiteX15" fmla="*/ 0 w 274748"/>
                  <a:gd name="connsiteY15" fmla="*/ 95877 h 294989"/>
                  <a:gd name="connsiteX16" fmla="*/ 10386 w 274748"/>
                  <a:gd name="connsiteY16" fmla="*/ 81423 h 294989"/>
                  <a:gd name="connsiteX17" fmla="*/ 37368 w 274748"/>
                  <a:gd name="connsiteY17" fmla="*/ 72364 h 294989"/>
                  <a:gd name="connsiteX18" fmla="*/ 87842 w 274748"/>
                  <a:gd name="connsiteY18" fmla="*/ 1289 h 294989"/>
                  <a:gd name="connsiteX19" fmla="*/ 97072 w 274748"/>
                  <a:gd name="connsiteY19" fmla="*/ 2681 h 294989"/>
                  <a:gd name="connsiteX20" fmla="*/ 95702 w 274748"/>
                  <a:gd name="connsiteY20" fmla="*/ 11911 h 294989"/>
                  <a:gd name="connsiteX21" fmla="*/ 49211 w 274748"/>
                  <a:gd name="connsiteY21" fmla="*/ 79131 h 294989"/>
                  <a:gd name="connsiteX22" fmla="*/ 44928 w 274748"/>
                  <a:gd name="connsiteY22" fmla="*/ 83757 h 294989"/>
                  <a:gd name="connsiteX23" fmla="*/ 14626 w 274748"/>
                  <a:gd name="connsiteY23" fmla="*/ 93950 h 294989"/>
                  <a:gd name="connsiteX24" fmla="*/ 13234 w 274748"/>
                  <a:gd name="connsiteY24" fmla="*/ 95899 h 294989"/>
                  <a:gd name="connsiteX25" fmla="*/ 13234 w 274748"/>
                  <a:gd name="connsiteY25" fmla="*/ 139349 h 294989"/>
                  <a:gd name="connsiteX26" fmla="*/ 14562 w 274748"/>
                  <a:gd name="connsiteY26" fmla="*/ 141276 h 294989"/>
                  <a:gd name="connsiteX27" fmla="*/ 54136 w 274748"/>
                  <a:gd name="connsiteY27" fmla="*/ 156395 h 294989"/>
                  <a:gd name="connsiteX28" fmla="*/ 57755 w 274748"/>
                  <a:gd name="connsiteY28" fmla="*/ 159757 h 294989"/>
                  <a:gd name="connsiteX29" fmla="*/ 116773 w 274748"/>
                  <a:gd name="connsiteY29" fmla="*/ 218668 h 294989"/>
                  <a:gd name="connsiteX30" fmla="*/ 124975 w 274748"/>
                  <a:gd name="connsiteY30" fmla="*/ 228712 h 294989"/>
                  <a:gd name="connsiteX31" fmla="*/ 134997 w 274748"/>
                  <a:gd name="connsiteY31" fmla="*/ 280171 h 294989"/>
                  <a:gd name="connsiteX32" fmla="*/ 137010 w 274748"/>
                  <a:gd name="connsiteY32" fmla="*/ 281841 h 294989"/>
                  <a:gd name="connsiteX33" fmla="*/ 177355 w 274748"/>
                  <a:gd name="connsiteY33" fmla="*/ 281841 h 294989"/>
                  <a:gd name="connsiteX34" fmla="*/ 179368 w 274748"/>
                  <a:gd name="connsiteY34" fmla="*/ 280171 h 294989"/>
                  <a:gd name="connsiteX35" fmla="*/ 187955 w 274748"/>
                  <a:gd name="connsiteY35" fmla="*/ 235157 h 294989"/>
                  <a:gd name="connsiteX36" fmla="*/ 194444 w 274748"/>
                  <a:gd name="connsiteY36" fmla="*/ 229804 h 294989"/>
                  <a:gd name="connsiteX37" fmla="*/ 250143 w 274748"/>
                  <a:gd name="connsiteY37" fmla="*/ 229804 h 294989"/>
                  <a:gd name="connsiteX38" fmla="*/ 256632 w 274748"/>
                  <a:gd name="connsiteY38" fmla="*/ 235157 h 294989"/>
                  <a:gd name="connsiteX39" fmla="*/ 265219 w 274748"/>
                  <a:gd name="connsiteY39" fmla="*/ 280171 h 294989"/>
                  <a:gd name="connsiteX40" fmla="*/ 265904 w 274748"/>
                  <a:gd name="connsiteY40" fmla="*/ 281370 h 294989"/>
                  <a:gd name="connsiteX41" fmla="*/ 267232 w 274748"/>
                  <a:gd name="connsiteY41" fmla="*/ 281863 h 294989"/>
                  <a:gd name="connsiteX42" fmla="*/ 268153 w 274748"/>
                  <a:gd name="connsiteY42" fmla="*/ 281863 h 294989"/>
                  <a:gd name="connsiteX43" fmla="*/ 274748 w 274748"/>
                  <a:gd name="connsiteY43" fmla="*/ 288458 h 294989"/>
                  <a:gd name="connsiteX44" fmla="*/ 268089 w 274748"/>
                  <a:gd name="connsiteY44" fmla="*/ 294990 h 294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74748" h="294989">
                    <a:moveTo>
                      <a:pt x="268089" y="294990"/>
                    </a:moveTo>
                    <a:lnTo>
                      <a:pt x="267168" y="294990"/>
                    </a:lnTo>
                    <a:cubicBezTo>
                      <a:pt x="263591" y="294990"/>
                      <a:pt x="260122" y="293726"/>
                      <a:pt x="257381" y="291435"/>
                    </a:cubicBezTo>
                    <a:cubicBezTo>
                      <a:pt x="254704" y="289186"/>
                      <a:pt x="252841" y="286060"/>
                      <a:pt x="252177" y="282591"/>
                    </a:cubicBezTo>
                    <a:lnTo>
                      <a:pt x="244618" y="242952"/>
                    </a:lnTo>
                    <a:lnTo>
                      <a:pt x="199840" y="242952"/>
                    </a:lnTo>
                    <a:lnTo>
                      <a:pt x="192281" y="282591"/>
                    </a:lnTo>
                    <a:cubicBezTo>
                      <a:pt x="190932" y="289765"/>
                      <a:pt x="184615" y="294990"/>
                      <a:pt x="177312" y="294990"/>
                    </a:cubicBezTo>
                    <a:lnTo>
                      <a:pt x="136967" y="294990"/>
                    </a:lnTo>
                    <a:cubicBezTo>
                      <a:pt x="129686" y="294990"/>
                      <a:pt x="123391" y="289807"/>
                      <a:pt x="121999" y="282655"/>
                    </a:cubicBezTo>
                    <a:lnTo>
                      <a:pt x="112019" y="231410"/>
                    </a:lnTo>
                    <a:cubicBezTo>
                      <a:pt x="111955" y="231196"/>
                      <a:pt x="111634" y="230810"/>
                      <a:pt x="111141" y="230596"/>
                    </a:cubicBezTo>
                    <a:cubicBezTo>
                      <a:pt x="83195" y="217619"/>
                      <a:pt x="60475" y="195369"/>
                      <a:pt x="46898" y="167744"/>
                    </a:cubicBezTo>
                    <a:lnTo>
                      <a:pt x="9786" y="153568"/>
                    </a:lnTo>
                    <a:cubicBezTo>
                      <a:pt x="3919" y="151320"/>
                      <a:pt x="0" y="145602"/>
                      <a:pt x="0" y="139327"/>
                    </a:cubicBezTo>
                    <a:lnTo>
                      <a:pt x="0" y="95877"/>
                    </a:lnTo>
                    <a:cubicBezTo>
                      <a:pt x="0" y="89324"/>
                      <a:pt x="4176" y="83521"/>
                      <a:pt x="10386" y="81423"/>
                    </a:cubicBezTo>
                    <a:lnTo>
                      <a:pt x="37368" y="72364"/>
                    </a:lnTo>
                    <a:cubicBezTo>
                      <a:pt x="45249" y="45360"/>
                      <a:pt x="63901" y="18999"/>
                      <a:pt x="87842" y="1289"/>
                    </a:cubicBezTo>
                    <a:cubicBezTo>
                      <a:pt x="90776" y="-874"/>
                      <a:pt x="94909" y="-252"/>
                      <a:pt x="97072" y="2681"/>
                    </a:cubicBezTo>
                    <a:cubicBezTo>
                      <a:pt x="99235" y="5615"/>
                      <a:pt x="98614" y="9748"/>
                      <a:pt x="95702" y="11911"/>
                    </a:cubicBezTo>
                    <a:cubicBezTo>
                      <a:pt x="73088" y="28636"/>
                      <a:pt x="55699" y="53755"/>
                      <a:pt x="49211" y="79131"/>
                    </a:cubicBezTo>
                    <a:cubicBezTo>
                      <a:pt x="48654" y="81294"/>
                      <a:pt x="47048" y="83029"/>
                      <a:pt x="44928" y="83757"/>
                    </a:cubicBezTo>
                    <a:lnTo>
                      <a:pt x="14626" y="93950"/>
                    </a:lnTo>
                    <a:cubicBezTo>
                      <a:pt x="13791" y="94228"/>
                      <a:pt x="13234" y="95021"/>
                      <a:pt x="13234" y="95899"/>
                    </a:cubicBezTo>
                    <a:lnTo>
                      <a:pt x="13234" y="139349"/>
                    </a:lnTo>
                    <a:cubicBezTo>
                      <a:pt x="13234" y="140205"/>
                      <a:pt x="13748" y="140955"/>
                      <a:pt x="14562" y="141276"/>
                    </a:cubicBezTo>
                    <a:lnTo>
                      <a:pt x="54136" y="156395"/>
                    </a:lnTo>
                    <a:cubicBezTo>
                      <a:pt x="55742" y="157016"/>
                      <a:pt x="57027" y="158215"/>
                      <a:pt x="57755" y="159757"/>
                    </a:cubicBezTo>
                    <a:cubicBezTo>
                      <a:pt x="69876" y="185711"/>
                      <a:pt x="90840" y="206633"/>
                      <a:pt x="116773" y="218668"/>
                    </a:cubicBezTo>
                    <a:cubicBezTo>
                      <a:pt x="120971" y="220617"/>
                      <a:pt x="123969" y="224279"/>
                      <a:pt x="124975" y="228712"/>
                    </a:cubicBezTo>
                    <a:lnTo>
                      <a:pt x="134997" y="280171"/>
                    </a:lnTo>
                    <a:cubicBezTo>
                      <a:pt x="135190" y="281134"/>
                      <a:pt x="136025" y="281841"/>
                      <a:pt x="137010" y="281841"/>
                    </a:cubicBezTo>
                    <a:lnTo>
                      <a:pt x="177355" y="281841"/>
                    </a:lnTo>
                    <a:cubicBezTo>
                      <a:pt x="178340" y="281841"/>
                      <a:pt x="179197" y="281134"/>
                      <a:pt x="179368" y="280171"/>
                    </a:cubicBezTo>
                    <a:lnTo>
                      <a:pt x="187955" y="235157"/>
                    </a:lnTo>
                    <a:cubicBezTo>
                      <a:pt x="188555" y="232052"/>
                      <a:pt x="191275" y="229804"/>
                      <a:pt x="194444" y="229804"/>
                    </a:cubicBezTo>
                    <a:lnTo>
                      <a:pt x="250143" y="229804"/>
                    </a:lnTo>
                    <a:cubicBezTo>
                      <a:pt x="253312" y="229804"/>
                      <a:pt x="256032" y="232052"/>
                      <a:pt x="256632" y="235157"/>
                    </a:cubicBezTo>
                    <a:lnTo>
                      <a:pt x="265219" y="280171"/>
                    </a:lnTo>
                    <a:cubicBezTo>
                      <a:pt x="265326" y="280770"/>
                      <a:pt x="265647" y="281156"/>
                      <a:pt x="265904" y="281370"/>
                    </a:cubicBezTo>
                    <a:cubicBezTo>
                      <a:pt x="266183" y="281606"/>
                      <a:pt x="266611" y="281863"/>
                      <a:pt x="267232" y="281863"/>
                    </a:cubicBezTo>
                    <a:lnTo>
                      <a:pt x="268153" y="281863"/>
                    </a:lnTo>
                    <a:cubicBezTo>
                      <a:pt x="271793" y="281863"/>
                      <a:pt x="274748" y="284818"/>
                      <a:pt x="274748" y="288458"/>
                    </a:cubicBezTo>
                    <a:cubicBezTo>
                      <a:pt x="274684" y="292056"/>
                      <a:pt x="271729" y="294990"/>
                      <a:pt x="268089" y="294990"/>
                    </a:cubicBezTo>
                    <a:close/>
                  </a:path>
                </a:pathLst>
              </a:custGeom>
              <a:solidFill>
                <a:schemeClr val="tx2"/>
              </a:solidFill>
              <a:ln w="2139" cap="flat">
                <a:noFill/>
                <a:prstDash val="solid"/>
                <a:miter/>
              </a:ln>
            </p:spPr>
            <p:txBody>
              <a:bodyPr rtlCol="0" anchor="ctr"/>
              <a:lstStyle/>
              <a:p>
                <a:endParaRPr lang="en-GB" dirty="0"/>
              </a:p>
            </p:txBody>
          </p:sp>
          <p:sp>
            <p:nvSpPr>
              <p:cNvPr id="302" name="Freihandform: Form 636">
                <a:extLst>
                  <a:ext uri="{FF2B5EF4-FFF2-40B4-BE49-F238E27FC236}">
                    <a16:creationId xmlns:a16="http://schemas.microsoft.com/office/drawing/2014/main" id="{E4F01C16-A436-4067-94FC-E03398666062}"/>
                  </a:ext>
                </a:extLst>
              </p:cNvPr>
              <p:cNvSpPr/>
              <p:nvPr/>
            </p:nvSpPr>
            <p:spPr>
              <a:xfrm>
                <a:off x="2570999" y="1933103"/>
                <a:ext cx="40509" cy="27613"/>
              </a:xfrm>
              <a:custGeom>
                <a:avLst/>
                <a:gdLst>
                  <a:gd name="connsiteX0" fmla="*/ 6588 w 40509"/>
                  <a:gd name="connsiteY0" fmla="*/ 27614 h 27613"/>
                  <a:gd name="connsiteX1" fmla="*/ 207 w 40509"/>
                  <a:gd name="connsiteY1" fmla="*/ 22646 h 27613"/>
                  <a:gd name="connsiteX2" fmla="*/ 4961 w 40509"/>
                  <a:gd name="connsiteY2" fmla="*/ 14637 h 27613"/>
                  <a:gd name="connsiteX3" fmla="*/ 27853 w 40509"/>
                  <a:gd name="connsiteY3" fmla="*/ 3972 h 27613"/>
                  <a:gd name="connsiteX4" fmla="*/ 36526 w 40509"/>
                  <a:gd name="connsiteY4" fmla="*/ 546 h 27613"/>
                  <a:gd name="connsiteX5" fmla="*/ 39973 w 40509"/>
                  <a:gd name="connsiteY5" fmla="*/ 9155 h 27613"/>
                  <a:gd name="connsiteX6" fmla="*/ 8216 w 40509"/>
                  <a:gd name="connsiteY6" fmla="*/ 27421 h 27613"/>
                  <a:gd name="connsiteX7" fmla="*/ 6588 w 40509"/>
                  <a:gd name="connsiteY7" fmla="*/ 27614 h 27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09" h="27613">
                    <a:moveTo>
                      <a:pt x="6588" y="27614"/>
                    </a:moveTo>
                    <a:cubicBezTo>
                      <a:pt x="3654" y="27614"/>
                      <a:pt x="956" y="25622"/>
                      <a:pt x="207" y="22646"/>
                    </a:cubicBezTo>
                    <a:cubicBezTo>
                      <a:pt x="-693" y="19112"/>
                      <a:pt x="1427" y="15536"/>
                      <a:pt x="4961" y="14637"/>
                    </a:cubicBezTo>
                    <a:cubicBezTo>
                      <a:pt x="15497" y="11938"/>
                      <a:pt x="26611" y="6756"/>
                      <a:pt x="27853" y="3972"/>
                    </a:cubicBezTo>
                    <a:cubicBezTo>
                      <a:pt x="29309" y="653"/>
                      <a:pt x="33185" y="-910"/>
                      <a:pt x="36526" y="546"/>
                    </a:cubicBezTo>
                    <a:cubicBezTo>
                      <a:pt x="39866" y="2002"/>
                      <a:pt x="41408" y="5835"/>
                      <a:pt x="39973" y="9155"/>
                    </a:cubicBezTo>
                    <a:cubicBezTo>
                      <a:pt x="35433" y="19755"/>
                      <a:pt x="14533" y="25815"/>
                      <a:pt x="8216" y="27421"/>
                    </a:cubicBezTo>
                    <a:cubicBezTo>
                      <a:pt x="7680" y="27550"/>
                      <a:pt x="7124" y="27614"/>
                      <a:pt x="6588" y="27614"/>
                    </a:cubicBezTo>
                    <a:close/>
                  </a:path>
                </a:pathLst>
              </a:custGeom>
              <a:solidFill>
                <a:schemeClr val="tx2"/>
              </a:solidFill>
              <a:ln w="2139" cap="flat">
                <a:noFill/>
                <a:prstDash val="solid"/>
                <a:miter/>
              </a:ln>
            </p:spPr>
            <p:txBody>
              <a:bodyPr rtlCol="0" anchor="ctr"/>
              <a:lstStyle/>
              <a:p>
                <a:endParaRPr lang="en-GB" dirty="0"/>
              </a:p>
            </p:txBody>
          </p:sp>
          <p:sp>
            <p:nvSpPr>
              <p:cNvPr id="303" name="Freihandform: Form 637">
                <a:extLst>
                  <a:ext uri="{FF2B5EF4-FFF2-40B4-BE49-F238E27FC236}">
                    <a16:creationId xmlns:a16="http://schemas.microsoft.com/office/drawing/2014/main" id="{C5D2428E-D36C-4761-8484-E395E3808150}"/>
                  </a:ext>
                </a:extLst>
              </p:cNvPr>
              <p:cNvSpPr/>
              <p:nvPr/>
            </p:nvSpPr>
            <p:spPr>
              <a:xfrm>
                <a:off x="2686202" y="1995730"/>
                <a:ext cx="36576" cy="13319"/>
              </a:xfrm>
              <a:custGeom>
                <a:avLst/>
                <a:gdLst>
                  <a:gd name="connsiteX0" fmla="*/ 6596 w 36576"/>
                  <a:gd name="connsiteY0" fmla="*/ 13320 h 13319"/>
                  <a:gd name="connsiteX1" fmla="*/ 0 w 36576"/>
                  <a:gd name="connsiteY1" fmla="*/ 6767 h 13319"/>
                  <a:gd name="connsiteX2" fmla="*/ 6553 w 36576"/>
                  <a:gd name="connsiteY2" fmla="*/ 128 h 13319"/>
                  <a:gd name="connsiteX3" fmla="*/ 29938 w 36576"/>
                  <a:gd name="connsiteY3" fmla="*/ 0 h 13319"/>
                  <a:gd name="connsiteX4" fmla="*/ 29980 w 36576"/>
                  <a:gd name="connsiteY4" fmla="*/ 0 h 13319"/>
                  <a:gd name="connsiteX5" fmla="*/ 36576 w 36576"/>
                  <a:gd name="connsiteY5" fmla="*/ 6553 h 13319"/>
                  <a:gd name="connsiteX6" fmla="*/ 30023 w 36576"/>
                  <a:gd name="connsiteY6" fmla="*/ 13191 h 13319"/>
                  <a:gd name="connsiteX7" fmla="*/ 6639 w 36576"/>
                  <a:gd name="connsiteY7" fmla="*/ 13320 h 13319"/>
                  <a:gd name="connsiteX8" fmla="*/ 6596 w 36576"/>
                  <a:gd name="connsiteY8" fmla="*/ 13320 h 1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76" h="13319">
                    <a:moveTo>
                      <a:pt x="6596" y="13320"/>
                    </a:moveTo>
                    <a:cubicBezTo>
                      <a:pt x="2977" y="13320"/>
                      <a:pt x="22" y="10386"/>
                      <a:pt x="0" y="6767"/>
                    </a:cubicBezTo>
                    <a:cubicBezTo>
                      <a:pt x="-21" y="3127"/>
                      <a:pt x="2912" y="150"/>
                      <a:pt x="6553" y="128"/>
                    </a:cubicBezTo>
                    <a:lnTo>
                      <a:pt x="29938" y="0"/>
                    </a:lnTo>
                    <a:cubicBezTo>
                      <a:pt x="29938" y="0"/>
                      <a:pt x="29959" y="0"/>
                      <a:pt x="29980" y="0"/>
                    </a:cubicBezTo>
                    <a:cubicBezTo>
                      <a:pt x="33600" y="0"/>
                      <a:pt x="36555" y="2934"/>
                      <a:pt x="36576" y="6553"/>
                    </a:cubicBezTo>
                    <a:cubicBezTo>
                      <a:pt x="36598" y="10193"/>
                      <a:pt x="33664" y="13170"/>
                      <a:pt x="30023" y="13191"/>
                    </a:cubicBezTo>
                    <a:lnTo>
                      <a:pt x="6639" y="13320"/>
                    </a:lnTo>
                    <a:cubicBezTo>
                      <a:pt x="6617" y="13320"/>
                      <a:pt x="6617" y="13320"/>
                      <a:pt x="6596" y="13320"/>
                    </a:cubicBezTo>
                    <a:close/>
                  </a:path>
                </a:pathLst>
              </a:custGeom>
              <a:solidFill>
                <a:schemeClr val="tx2"/>
              </a:solidFill>
              <a:ln w="2139" cap="flat">
                <a:noFill/>
                <a:prstDash val="solid"/>
                <a:miter/>
              </a:ln>
            </p:spPr>
            <p:txBody>
              <a:bodyPr rtlCol="0" anchor="ctr"/>
              <a:lstStyle/>
              <a:p>
                <a:endParaRPr lang="en-GB" dirty="0"/>
              </a:p>
            </p:txBody>
          </p:sp>
          <p:sp>
            <p:nvSpPr>
              <p:cNvPr id="304" name="Freihandform: Form 638">
                <a:extLst>
                  <a:ext uri="{FF2B5EF4-FFF2-40B4-BE49-F238E27FC236}">
                    <a16:creationId xmlns:a16="http://schemas.microsoft.com/office/drawing/2014/main" id="{02AA9B62-0783-44B5-A21C-7146328F4C7D}"/>
                  </a:ext>
                </a:extLst>
              </p:cNvPr>
              <p:cNvSpPr/>
              <p:nvPr/>
            </p:nvSpPr>
            <p:spPr>
              <a:xfrm>
                <a:off x="2738111" y="1995730"/>
                <a:ext cx="36576" cy="13319"/>
              </a:xfrm>
              <a:custGeom>
                <a:avLst/>
                <a:gdLst>
                  <a:gd name="connsiteX0" fmla="*/ 6596 w 36576"/>
                  <a:gd name="connsiteY0" fmla="*/ 13320 h 13319"/>
                  <a:gd name="connsiteX1" fmla="*/ 0 w 36576"/>
                  <a:gd name="connsiteY1" fmla="*/ 6767 h 13319"/>
                  <a:gd name="connsiteX2" fmla="*/ 6553 w 36576"/>
                  <a:gd name="connsiteY2" fmla="*/ 128 h 13319"/>
                  <a:gd name="connsiteX3" fmla="*/ 29938 w 36576"/>
                  <a:gd name="connsiteY3" fmla="*/ 0 h 13319"/>
                  <a:gd name="connsiteX4" fmla="*/ 29980 w 36576"/>
                  <a:gd name="connsiteY4" fmla="*/ 0 h 13319"/>
                  <a:gd name="connsiteX5" fmla="*/ 36576 w 36576"/>
                  <a:gd name="connsiteY5" fmla="*/ 6553 h 13319"/>
                  <a:gd name="connsiteX6" fmla="*/ 30023 w 36576"/>
                  <a:gd name="connsiteY6" fmla="*/ 13191 h 13319"/>
                  <a:gd name="connsiteX7" fmla="*/ 6639 w 36576"/>
                  <a:gd name="connsiteY7" fmla="*/ 13320 h 13319"/>
                  <a:gd name="connsiteX8" fmla="*/ 6596 w 36576"/>
                  <a:gd name="connsiteY8" fmla="*/ 13320 h 1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76" h="13319">
                    <a:moveTo>
                      <a:pt x="6596" y="13320"/>
                    </a:moveTo>
                    <a:cubicBezTo>
                      <a:pt x="2977" y="13320"/>
                      <a:pt x="22" y="10386"/>
                      <a:pt x="0" y="6767"/>
                    </a:cubicBezTo>
                    <a:cubicBezTo>
                      <a:pt x="-21" y="3127"/>
                      <a:pt x="2913" y="150"/>
                      <a:pt x="6553" y="128"/>
                    </a:cubicBezTo>
                    <a:lnTo>
                      <a:pt x="29938" y="0"/>
                    </a:lnTo>
                    <a:cubicBezTo>
                      <a:pt x="29938" y="0"/>
                      <a:pt x="29959" y="0"/>
                      <a:pt x="29980" y="0"/>
                    </a:cubicBezTo>
                    <a:cubicBezTo>
                      <a:pt x="33600" y="0"/>
                      <a:pt x="36555" y="2934"/>
                      <a:pt x="36576" y="6553"/>
                    </a:cubicBezTo>
                    <a:cubicBezTo>
                      <a:pt x="36598" y="10193"/>
                      <a:pt x="33664" y="13170"/>
                      <a:pt x="30023" y="13191"/>
                    </a:cubicBezTo>
                    <a:lnTo>
                      <a:pt x="6639" y="13320"/>
                    </a:lnTo>
                    <a:cubicBezTo>
                      <a:pt x="6617" y="13320"/>
                      <a:pt x="6617" y="13320"/>
                      <a:pt x="6596" y="13320"/>
                    </a:cubicBezTo>
                    <a:close/>
                  </a:path>
                </a:pathLst>
              </a:custGeom>
              <a:solidFill>
                <a:schemeClr val="tx2"/>
              </a:solidFill>
              <a:ln w="2139" cap="flat">
                <a:noFill/>
                <a:prstDash val="solid"/>
                <a:miter/>
              </a:ln>
            </p:spPr>
            <p:txBody>
              <a:bodyPr rtlCol="0" anchor="ctr"/>
              <a:lstStyle/>
              <a:p>
                <a:endParaRPr lang="en-GB" dirty="0"/>
              </a:p>
            </p:txBody>
          </p:sp>
        </p:grpSp>
        <p:grpSp>
          <p:nvGrpSpPr>
            <p:cNvPr id="269" name="Gruppieren 1306">
              <a:extLst>
                <a:ext uri="{FF2B5EF4-FFF2-40B4-BE49-F238E27FC236}">
                  <a16:creationId xmlns:a16="http://schemas.microsoft.com/office/drawing/2014/main" id="{68EBBEB1-FB67-4648-8C99-B9B33BB68469}"/>
                </a:ext>
              </a:extLst>
            </p:cNvPr>
            <p:cNvGrpSpPr/>
            <p:nvPr/>
          </p:nvGrpSpPr>
          <p:grpSpPr>
            <a:xfrm>
              <a:off x="1734019" y="3197068"/>
              <a:ext cx="374979" cy="432000"/>
              <a:chOff x="2674038" y="1626758"/>
              <a:chExt cx="377688" cy="435121"/>
            </a:xfrm>
          </p:grpSpPr>
          <p:grpSp>
            <p:nvGrpSpPr>
              <p:cNvPr id="270" name="Grafik 319">
                <a:extLst>
                  <a:ext uri="{FF2B5EF4-FFF2-40B4-BE49-F238E27FC236}">
                    <a16:creationId xmlns:a16="http://schemas.microsoft.com/office/drawing/2014/main" id="{066D0FF4-43D6-4F7B-B6D3-AEDF5938C444}"/>
                  </a:ext>
                </a:extLst>
              </p:cNvPr>
              <p:cNvGrpSpPr/>
              <p:nvPr/>
            </p:nvGrpSpPr>
            <p:grpSpPr>
              <a:xfrm>
                <a:off x="2785330" y="1842423"/>
                <a:ext cx="266396" cy="219456"/>
                <a:chOff x="2785330" y="1842423"/>
                <a:chExt cx="266396" cy="219456"/>
              </a:xfrm>
              <a:solidFill>
                <a:schemeClr val="accent1"/>
              </a:solidFill>
            </p:grpSpPr>
            <p:grpSp>
              <p:nvGrpSpPr>
                <p:cNvPr id="274" name="Grafik 319">
                  <a:extLst>
                    <a:ext uri="{FF2B5EF4-FFF2-40B4-BE49-F238E27FC236}">
                      <a16:creationId xmlns:a16="http://schemas.microsoft.com/office/drawing/2014/main" id="{17E11640-24FA-435D-B3BE-BAA272134F29}"/>
                    </a:ext>
                  </a:extLst>
                </p:cNvPr>
                <p:cNvGrpSpPr/>
                <p:nvPr/>
              </p:nvGrpSpPr>
              <p:grpSpPr>
                <a:xfrm>
                  <a:off x="2930064" y="1922171"/>
                  <a:ext cx="121662" cy="122769"/>
                  <a:chOff x="2930064" y="1922171"/>
                  <a:chExt cx="121662" cy="122769"/>
                </a:xfrm>
                <a:solidFill>
                  <a:schemeClr val="accent1"/>
                </a:solidFill>
              </p:grpSpPr>
              <p:sp>
                <p:nvSpPr>
                  <p:cNvPr id="293" name="Freihandform: Form 641">
                    <a:extLst>
                      <a:ext uri="{FF2B5EF4-FFF2-40B4-BE49-F238E27FC236}">
                        <a16:creationId xmlns:a16="http://schemas.microsoft.com/office/drawing/2014/main" id="{F2187C9C-FAB1-4940-9AD9-32AFC1AE1D80}"/>
                      </a:ext>
                    </a:extLst>
                  </p:cNvPr>
                  <p:cNvSpPr/>
                  <p:nvPr/>
                </p:nvSpPr>
                <p:spPr>
                  <a:xfrm>
                    <a:off x="2930064" y="1976607"/>
                    <a:ext cx="121640" cy="68333"/>
                  </a:xfrm>
                  <a:custGeom>
                    <a:avLst/>
                    <a:gdLst>
                      <a:gd name="connsiteX0" fmla="*/ 42771 w 121640"/>
                      <a:gd name="connsiteY0" fmla="*/ 68334 h 68333"/>
                      <a:gd name="connsiteX1" fmla="*/ 5274 w 121640"/>
                      <a:gd name="connsiteY1" fmla="*/ 64758 h 68333"/>
                      <a:gd name="connsiteX2" fmla="*/ 135 w 121640"/>
                      <a:gd name="connsiteY2" fmla="*/ 56984 h 68333"/>
                      <a:gd name="connsiteX3" fmla="*/ 7908 w 121640"/>
                      <a:gd name="connsiteY3" fmla="*/ 51845 h 68333"/>
                      <a:gd name="connsiteX4" fmla="*/ 42771 w 121640"/>
                      <a:gd name="connsiteY4" fmla="*/ 55164 h 68333"/>
                      <a:gd name="connsiteX5" fmla="*/ 108449 w 121640"/>
                      <a:gd name="connsiteY5" fmla="*/ 37240 h 68333"/>
                      <a:gd name="connsiteX6" fmla="*/ 108449 w 121640"/>
                      <a:gd name="connsiteY6" fmla="*/ 6596 h 68333"/>
                      <a:gd name="connsiteX7" fmla="*/ 115045 w 121640"/>
                      <a:gd name="connsiteY7" fmla="*/ 0 h 68333"/>
                      <a:gd name="connsiteX8" fmla="*/ 121641 w 121640"/>
                      <a:gd name="connsiteY8" fmla="*/ 6596 h 68333"/>
                      <a:gd name="connsiteX9" fmla="*/ 121641 w 121640"/>
                      <a:gd name="connsiteY9" fmla="*/ 37240 h 68333"/>
                      <a:gd name="connsiteX10" fmla="*/ 42771 w 121640"/>
                      <a:gd name="connsiteY10" fmla="*/ 68334 h 68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640" h="68333">
                        <a:moveTo>
                          <a:pt x="42771" y="68334"/>
                        </a:moveTo>
                        <a:cubicBezTo>
                          <a:pt x="29301" y="68334"/>
                          <a:pt x="17052" y="67156"/>
                          <a:pt x="5274" y="64758"/>
                        </a:cubicBezTo>
                        <a:cubicBezTo>
                          <a:pt x="1698" y="64029"/>
                          <a:pt x="-593" y="60539"/>
                          <a:pt x="135" y="56984"/>
                        </a:cubicBezTo>
                        <a:cubicBezTo>
                          <a:pt x="863" y="53408"/>
                          <a:pt x="4354" y="51095"/>
                          <a:pt x="7908" y="51845"/>
                        </a:cubicBezTo>
                        <a:cubicBezTo>
                          <a:pt x="18808" y="54072"/>
                          <a:pt x="30201" y="55164"/>
                          <a:pt x="42771" y="55164"/>
                        </a:cubicBezTo>
                        <a:cubicBezTo>
                          <a:pt x="83523" y="55164"/>
                          <a:pt x="108449" y="43557"/>
                          <a:pt x="108449" y="37240"/>
                        </a:cubicBezTo>
                        <a:lnTo>
                          <a:pt x="108449" y="6596"/>
                        </a:lnTo>
                        <a:cubicBezTo>
                          <a:pt x="108449" y="2955"/>
                          <a:pt x="111405" y="0"/>
                          <a:pt x="115045" y="0"/>
                        </a:cubicBezTo>
                        <a:cubicBezTo>
                          <a:pt x="118686" y="0"/>
                          <a:pt x="121641" y="2955"/>
                          <a:pt x="121641" y="6596"/>
                        </a:cubicBezTo>
                        <a:lnTo>
                          <a:pt x="121641" y="37240"/>
                        </a:lnTo>
                        <a:cubicBezTo>
                          <a:pt x="121641" y="57648"/>
                          <a:pt x="81960" y="68334"/>
                          <a:pt x="42771" y="68334"/>
                        </a:cubicBezTo>
                        <a:close/>
                      </a:path>
                    </a:pathLst>
                  </a:custGeom>
                  <a:solidFill>
                    <a:schemeClr val="accent1"/>
                  </a:solidFill>
                  <a:ln w="2139" cap="flat">
                    <a:noFill/>
                    <a:prstDash val="solid"/>
                    <a:miter/>
                  </a:ln>
                </p:spPr>
                <p:txBody>
                  <a:bodyPr rtlCol="0" anchor="ctr"/>
                  <a:lstStyle/>
                  <a:p>
                    <a:endParaRPr lang="en-GB" dirty="0"/>
                  </a:p>
                </p:txBody>
              </p:sp>
              <p:grpSp>
                <p:nvGrpSpPr>
                  <p:cNvPr id="294" name="Grafik 319">
                    <a:extLst>
                      <a:ext uri="{FF2B5EF4-FFF2-40B4-BE49-F238E27FC236}">
                        <a16:creationId xmlns:a16="http://schemas.microsoft.com/office/drawing/2014/main" id="{A6D1C0E3-EBC1-4000-81B3-E6935615A340}"/>
                      </a:ext>
                    </a:extLst>
                  </p:cNvPr>
                  <p:cNvGrpSpPr/>
                  <p:nvPr/>
                </p:nvGrpSpPr>
                <p:grpSpPr>
                  <a:xfrm>
                    <a:off x="2930222" y="1922171"/>
                    <a:ext cx="121504" cy="92896"/>
                    <a:chOff x="2930222" y="1922171"/>
                    <a:chExt cx="121504" cy="92896"/>
                  </a:xfrm>
                  <a:solidFill>
                    <a:schemeClr val="accent1"/>
                  </a:solidFill>
                </p:grpSpPr>
                <p:sp>
                  <p:nvSpPr>
                    <p:cNvPr id="295" name="Freihandform: Form 643">
                      <a:extLst>
                        <a:ext uri="{FF2B5EF4-FFF2-40B4-BE49-F238E27FC236}">
                          <a16:creationId xmlns:a16="http://schemas.microsoft.com/office/drawing/2014/main" id="{61D2103A-7BF5-4C9D-BD54-6E9872222426}"/>
                        </a:ext>
                      </a:extLst>
                    </p:cNvPr>
                    <p:cNvSpPr/>
                    <p:nvPr/>
                  </p:nvSpPr>
                  <p:spPr>
                    <a:xfrm>
                      <a:off x="2930222" y="1922171"/>
                      <a:ext cx="121504" cy="62230"/>
                    </a:xfrm>
                    <a:custGeom>
                      <a:avLst/>
                      <a:gdLst>
                        <a:gd name="connsiteX0" fmla="*/ 42614 w 121504"/>
                        <a:gd name="connsiteY0" fmla="*/ 62231 h 62230"/>
                        <a:gd name="connsiteX1" fmla="*/ 6016 w 121504"/>
                        <a:gd name="connsiteY1" fmla="*/ 58976 h 62230"/>
                        <a:gd name="connsiteX2" fmla="*/ 769 w 121504"/>
                        <a:gd name="connsiteY2" fmla="*/ 51266 h 62230"/>
                        <a:gd name="connsiteX3" fmla="*/ 8479 w 121504"/>
                        <a:gd name="connsiteY3" fmla="*/ 46020 h 62230"/>
                        <a:gd name="connsiteX4" fmla="*/ 42614 w 121504"/>
                        <a:gd name="connsiteY4" fmla="*/ 49039 h 62230"/>
                        <a:gd name="connsiteX5" fmla="*/ 108292 w 121504"/>
                        <a:gd name="connsiteY5" fmla="*/ 31115 h 62230"/>
                        <a:gd name="connsiteX6" fmla="*/ 42614 w 121504"/>
                        <a:gd name="connsiteY6" fmla="*/ 13191 h 62230"/>
                        <a:gd name="connsiteX7" fmla="*/ 7879 w 121504"/>
                        <a:gd name="connsiteY7" fmla="*/ 16318 h 62230"/>
                        <a:gd name="connsiteX8" fmla="*/ 127 w 121504"/>
                        <a:gd name="connsiteY8" fmla="*/ 11157 h 62230"/>
                        <a:gd name="connsiteX9" fmla="*/ 5309 w 121504"/>
                        <a:gd name="connsiteY9" fmla="*/ 3383 h 62230"/>
                        <a:gd name="connsiteX10" fmla="*/ 42635 w 121504"/>
                        <a:gd name="connsiteY10" fmla="*/ 0 h 62230"/>
                        <a:gd name="connsiteX11" fmla="*/ 121505 w 121504"/>
                        <a:gd name="connsiteY11" fmla="*/ 31115 h 62230"/>
                        <a:gd name="connsiteX12" fmla="*/ 42614 w 121504"/>
                        <a:gd name="connsiteY12" fmla="*/ 62231 h 62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504" h="62230">
                          <a:moveTo>
                            <a:pt x="42614" y="62231"/>
                          </a:moveTo>
                          <a:cubicBezTo>
                            <a:pt x="29808" y="62231"/>
                            <a:pt x="17152" y="61117"/>
                            <a:pt x="6016" y="58976"/>
                          </a:cubicBezTo>
                          <a:cubicBezTo>
                            <a:pt x="2440" y="58290"/>
                            <a:pt x="84" y="54843"/>
                            <a:pt x="769" y="51266"/>
                          </a:cubicBezTo>
                          <a:cubicBezTo>
                            <a:pt x="1455" y="47690"/>
                            <a:pt x="4902" y="45356"/>
                            <a:pt x="8479" y="46020"/>
                          </a:cubicBezTo>
                          <a:cubicBezTo>
                            <a:pt x="18822" y="47990"/>
                            <a:pt x="30621" y="49039"/>
                            <a:pt x="42614" y="49039"/>
                          </a:cubicBezTo>
                          <a:cubicBezTo>
                            <a:pt x="83365" y="49039"/>
                            <a:pt x="108292" y="37433"/>
                            <a:pt x="108292" y="31115"/>
                          </a:cubicBezTo>
                          <a:cubicBezTo>
                            <a:pt x="108292" y="24798"/>
                            <a:pt x="83365" y="13191"/>
                            <a:pt x="42614" y="13191"/>
                          </a:cubicBezTo>
                          <a:cubicBezTo>
                            <a:pt x="29722" y="13191"/>
                            <a:pt x="18351" y="14219"/>
                            <a:pt x="7879" y="16318"/>
                          </a:cubicBezTo>
                          <a:cubicBezTo>
                            <a:pt x="4324" y="17025"/>
                            <a:pt x="834" y="14712"/>
                            <a:pt x="127" y="11157"/>
                          </a:cubicBezTo>
                          <a:cubicBezTo>
                            <a:pt x="-580" y="7602"/>
                            <a:pt x="1733" y="4112"/>
                            <a:pt x="5309" y="3383"/>
                          </a:cubicBezTo>
                          <a:cubicBezTo>
                            <a:pt x="16659" y="1114"/>
                            <a:pt x="28865" y="0"/>
                            <a:pt x="42635" y="0"/>
                          </a:cubicBezTo>
                          <a:cubicBezTo>
                            <a:pt x="81823" y="0"/>
                            <a:pt x="121505" y="10686"/>
                            <a:pt x="121505" y="31115"/>
                          </a:cubicBezTo>
                          <a:cubicBezTo>
                            <a:pt x="121483" y="51545"/>
                            <a:pt x="81802" y="62231"/>
                            <a:pt x="42614" y="62231"/>
                          </a:cubicBezTo>
                          <a:close/>
                        </a:path>
                      </a:pathLst>
                    </a:custGeom>
                    <a:solidFill>
                      <a:schemeClr val="accent1"/>
                    </a:solidFill>
                    <a:ln w="2139" cap="flat">
                      <a:noFill/>
                      <a:prstDash val="solid"/>
                      <a:miter/>
                    </a:ln>
                  </p:spPr>
                  <p:txBody>
                    <a:bodyPr rtlCol="0" anchor="ctr"/>
                    <a:lstStyle/>
                    <a:p>
                      <a:endParaRPr lang="en-GB" dirty="0"/>
                    </a:p>
                  </p:txBody>
                </p:sp>
                <p:sp>
                  <p:nvSpPr>
                    <p:cNvPr id="296" name="Freihandform: Form 644">
                      <a:extLst>
                        <a:ext uri="{FF2B5EF4-FFF2-40B4-BE49-F238E27FC236}">
                          <a16:creationId xmlns:a16="http://schemas.microsoft.com/office/drawing/2014/main" id="{0DC63CB6-91AD-4830-A60D-F886CDA891BA}"/>
                        </a:ext>
                      </a:extLst>
                    </p:cNvPr>
                    <p:cNvSpPr/>
                    <p:nvPr/>
                  </p:nvSpPr>
                  <p:spPr>
                    <a:xfrm>
                      <a:off x="2930686" y="1946691"/>
                      <a:ext cx="121019" cy="68376"/>
                    </a:xfrm>
                    <a:custGeom>
                      <a:avLst/>
                      <a:gdLst>
                        <a:gd name="connsiteX0" fmla="*/ 42149 w 121019"/>
                        <a:gd name="connsiteY0" fmla="*/ 68377 h 68376"/>
                        <a:gd name="connsiteX1" fmla="*/ 5359 w 121019"/>
                        <a:gd name="connsiteY1" fmla="*/ 65079 h 68376"/>
                        <a:gd name="connsiteX2" fmla="*/ 113 w 121019"/>
                        <a:gd name="connsiteY2" fmla="*/ 57348 h 68376"/>
                        <a:gd name="connsiteX3" fmla="*/ 7843 w 121019"/>
                        <a:gd name="connsiteY3" fmla="*/ 52123 h 68376"/>
                        <a:gd name="connsiteX4" fmla="*/ 42149 w 121019"/>
                        <a:gd name="connsiteY4" fmla="*/ 55164 h 68376"/>
                        <a:gd name="connsiteX5" fmla="*/ 107828 w 121019"/>
                        <a:gd name="connsiteY5" fmla="*/ 37240 h 68376"/>
                        <a:gd name="connsiteX6" fmla="*/ 107828 w 121019"/>
                        <a:gd name="connsiteY6" fmla="*/ 6596 h 68376"/>
                        <a:gd name="connsiteX7" fmla="*/ 114424 w 121019"/>
                        <a:gd name="connsiteY7" fmla="*/ 0 h 68376"/>
                        <a:gd name="connsiteX8" fmla="*/ 121019 w 121019"/>
                        <a:gd name="connsiteY8" fmla="*/ 6596 h 68376"/>
                        <a:gd name="connsiteX9" fmla="*/ 121019 w 121019"/>
                        <a:gd name="connsiteY9" fmla="*/ 37240 h 68376"/>
                        <a:gd name="connsiteX10" fmla="*/ 42149 w 121019"/>
                        <a:gd name="connsiteY10" fmla="*/ 68377 h 68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019" h="68376">
                          <a:moveTo>
                            <a:pt x="42149" y="68377"/>
                          </a:moveTo>
                          <a:cubicBezTo>
                            <a:pt x="29258" y="68377"/>
                            <a:pt x="16538" y="67242"/>
                            <a:pt x="5359" y="65079"/>
                          </a:cubicBezTo>
                          <a:cubicBezTo>
                            <a:pt x="1783" y="64394"/>
                            <a:pt x="-551" y="60924"/>
                            <a:pt x="113" y="57348"/>
                          </a:cubicBezTo>
                          <a:cubicBezTo>
                            <a:pt x="798" y="53772"/>
                            <a:pt x="4288" y="51459"/>
                            <a:pt x="7843" y="52123"/>
                          </a:cubicBezTo>
                          <a:cubicBezTo>
                            <a:pt x="18229" y="54115"/>
                            <a:pt x="30093" y="55164"/>
                            <a:pt x="42149" y="55164"/>
                          </a:cubicBezTo>
                          <a:cubicBezTo>
                            <a:pt x="82901" y="55164"/>
                            <a:pt x="107828" y="43557"/>
                            <a:pt x="107828" y="37240"/>
                          </a:cubicBezTo>
                          <a:lnTo>
                            <a:pt x="107828" y="6596"/>
                          </a:lnTo>
                          <a:cubicBezTo>
                            <a:pt x="107828" y="2955"/>
                            <a:pt x="110783" y="0"/>
                            <a:pt x="114424" y="0"/>
                          </a:cubicBezTo>
                          <a:cubicBezTo>
                            <a:pt x="118064" y="0"/>
                            <a:pt x="121019" y="2955"/>
                            <a:pt x="121019" y="6596"/>
                          </a:cubicBezTo>
                          <a:lnTo>
                            <a:pt x="121019" y="37240"/>
                          </a:lnTo>
                          <a:cubicBezTo>
                            <a:pt x="121019" y="57691"/>
                            <a:pt x="81338" y="68377"/>
                            <a:pt x="42149" y="68377"/>
                          </a:cubicBezTo>
                          <a:close/>
                        </a:path>
                      </a:pathLst>
                    </a:custGeom>
                    <a:solidFill>
                      <a:schemeClr val="accent1"/>
                    </a:solidFill>
                    <a:ln w="2139" cap="flat">
                      <a:noFill/>
                      <a:prstDash val="solid"/>
                      <a:miter/>
                    </a:ln>
                  </p:spPr>
                  <p:txBody>
                    <a:bodyPr rtlCol="0" anchor="ctr"/>
                    <a:lstStyle/>
                    <a:p>
                      <a:endParaRPr lang="en-GB" dirty="0"/>
                    </a:p>
                  </p:txBody>
                </p:sp>
              </p:grpSp>
            </p:grpSp>
            <p:grpSp>
              <p:nvGrpSpPr>
                <p:cNvPr id="275" name="Grafik 319">
                  <a:extLst>
                    <a:ext uri="{FF2B5EF4-FFF2-40B4-BE49-F238E27FC236}">
                      <a16:creationId xmlns:a16="http://schemas.microsoft.com/office/drawing/2014/main" id="{149C91E6-B42C-4852-9B4B-75C51541B3DE}"/>
                    </a:ext>
                  </a:extLst>
                </p:cNvPr>
                <p:cNvGrpSpPr/>
                <p:nvPr/>
              </p:nvGrpSpPr>
              <p:grpSpPr>
                <a:xfrm>
                  <a:off x="2785330" y="1842423"/>
                  <a:ext cx="157739" cy="219456"/>
                  <a:chOff x="2785330" y="1842423"/>
                  <a:chExt cx="157739" cy="219456"/>
                </a:xfrm>
                <a:solidFill>
                  <a:schemeClr val="accent1"/>
                </a:solidFill>
              </p:grpSpPr>
              <p:grpSp>
                <p:nvGrpSpPr>
                  <p:cNvPr id="276" name="Grafik 319">
                    <a:extLst>
                      <a:ext uri="{FF2B5EF4-FFF2-40B4-BE49-F238E27FC236}">
                        <a16:creationId xmlns:a16="http://schemas.microsoft.com/office/drawing/2014/main" id="{25DC1195-8912-4E6C-BEF6-BB1C27B7523C}"/>
                      </a:ext>
                    </a:extLst>
                  </p:cNvPr>
                  <p:cNvGrpSpPr/>
                  <p:nvPr/>
                </p:nvGrpSpPr>
                <p:grpSpPr>
                  <a:xfrm>
                    <a:off x="2785330" y="1991704"/>
                    <a:ext cx="157739" cy="70175"/>
                    <a:chOff x="2785330" y="1991704"/>
                    <a:chExt cx="157739" cy="70175"/>
                  </a:xfrm>
                  <a:solidFill>
                    <a:schemeClr val="accent1"/>
                  </a:solidFill>
                </p:grpSpPr>
                <p:sp>
                  <p:nvSpPr>
                    <p:cNvPr id="291" name="Freihandform: Form 647">
                      <a:extLst>
                        <a:ext uri="{FF2B5EF4-FFF2-40B4-BE49-F238E27FC236}">
                          <a16:creationId xmlns:a16="http://schemas.microsoft.com/office/drawing/2014/main" id="{CC6590D3-E21A-48DC-ADB4-516A6A065087}"/>
                        </a:ext>
                      </a:extLst>
                    </p:cNvPr>
                    <p:cNvSpPr/>
                    <p:nvPr/>
                  </p:nvSpPr>
                  <p:spPr>
                    <a:xfrm>
                      <a:off x="2785330" y="1991704"/>
                      <a:ext cx="157739" cy="38524"/>
                    </a:xfrm>
                    <a:custGeom>
                      <a:avLst/>
                      <a:gdLst>
                        <a:gd name="connsiteX0" fmla="*/ 78870 w 157739"/>
                        <a:gd name="connsiteY0" fmla="*/ 38525 h 38524"/>
                        <a:gd name="connsiteX1" fmla="*/ 0 w 157739"/>
                        <a:gd name="connsiteY1" fmla="*/ 6596 h 38524"/>
                        <a:gd name="connsiteX2" fmla="*/ 6596 w 157739"/>
                        <a:gd name="connsiteY2" fmla="*/ 0 h 38524"/>
                        <a:gd name="connsiteX3" fmla="*/ 13191 w 157739"/>
                        <a:gd name="connsiteY3" fmla="*/ 6596 h 38524"/>
                        <a:gd name="connsiteX4" fmla="*/ 78870 w 157739"/>
                        <a:gd name="connsiteY4" fmla="*/ 25333 h 38524"/>
                        <a:gd name="connsiteX5" fmla="*/ 144548 w 157739"/>
                        <a:gd name="connsiteY5" fmla="*/ 6596 h 38524"/>
                        <a:gd name="connsiteX6" fmla="*/ 151144 w 157739"/>
                        <a:gd name="connsiteY6" fmla="*/ 0 h 38524"/>
                        <a:gd name="connsiteX7" fmla="*/ 157739 w 157739"/>
                        <a:gd name="connsiteY7" fmla="*/ 6596 h 38524"/>
                        <a:gd name="connsiteX8" fmla="*/ 78870 w 157739"/>
                        <a:gd name="connsiteY8" fmla="*/ 38525 h 3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739" h="38524">
                          <a:moveTo>
                            <a:pt x="78870" y="38525"/>
                          </a:moveTo>
                          <a:cubicBezTo>
                            <a:pt x="39681" y="38525"/>
                            <a:pt x="0" y="27560"/>
                            <a:pt x="0" y="6596"/>
                          </a:cubicBezTo>
                          <a:cubicBezTo>
                            <a:pt x="0" y="2955"/>
                            <a:pt x="2955" y="0"/>
                            <a:pt x="6596" y="0"/>
                          </a:cubicBezTo>
                          <a:cubicBezTo>
                            <a:pt x="10236" y="0"/>
                            <a:pt x="13191" y="2955"/>
                            <a:pt x="13191" y="6596"/>
                          </a:cubicBezTo>
                          <a:cubicBezTo>
                            <a:pt x="13191" y="12956"/>
                            <a:pt x="36383" y="25333"/>
                            <a:pt x="78870" y="25333"/>
                          </a:cubicBezTo>
                          <a:cubicBezTo>
                            <a:pt x="121378" y="25333"/>
                            <a:pt x="144548" y="12956"/>
                            <a:pt x="144548" y="6596"/>
                          </a:cubicBezTo>
                          <a:cubicBezTo>
                            <a:pt x="144548" y="2955"/>
                            <a:pt x="147503" y="0"/>
                            <a:pt x="151144" y="0"/>
                          </a:cubicBezTo>
                          <a:cubicBezTo>
                            <a:pt x="154784" y="0"/>
                            <a:pt x="157739" y="2955"/>
                            <a:pt x="157739" y="6596"/>
                          </a:cubicBezTo>
                          <a:cubicBezTo>
                            <a:pt x="157739" y="27560"/>
                            <a:pt x="118058" y="38525"/>
                            <a:pt x="78870" y="38525"/>
                          </a:cubicBezTo>
                          <a:close/>
                        </a:path>
                      </a:pathLst>
                    </a:custGeom>
                    <a:solidFill>
                      <a:schemeClr val="accent1"/>
                    </a:solidFill>
                    <a:ln w="2139" cap="flat">
                      <a:noFill/>
                      <a:prstDash val="solid"/>
                      <a:miter/>
                    </a:ln>
                  </p:spPr>
                  <p:txBody>
                    <a:bodyPr rtlCol="0" anchor="ctr"/>
                    <a:lstStyle/>
                    <a:p>
                      <a:endParaRPr lang="en-GB" dirty="0"/>
                    </a:p>
                  </p:txBody>
                </p:sp>
                <p:sp>
                  <p:nvSpPr>
                    <p:cNvPr id="292" name="Freihandform: Form 648">
                      <a:extLst>
                        <a:ext uri="{FF2B5EF4-FFF2-40B4-BE49-F238E27FC236}">
                          <a16:creationId xmlns:a16="http://schemas.microsoft.com/office/drawing/2014/main" id="{9AADF82E-95F2-4AB4-86E7-A50E6A8512D5}"/>
                        </a:ext>
                      </a:extLst>
                    </p:cNvPr>
                    <p:cNvSpPr/>
                    <p:nvPr/>
                  </p:nvSpPr>
                  <p:spPr>
                    <a:xfrm>
                      <a:off x="2785330" y="1991704"/>
                      <a:ext cx="157739" cy="70175"/>
                    </a:xfrm>
                    <a:custGeom>
                      <a:avLst/>
                      <a:gdLst>
                        <a:gd name="connsiteX0" fmla="*/ 78870 w 157739"/>
                        <a:gd name="connsiteY0" fmla="*/ 70175 h 70175"/>
                        <a:gd name="connsiteX1" fmla="*/ 0 w 157739"/>
                        <a:gd name="connsiteY1" fmla="*/ 38246 h 70175"/>
                        <a:gd name="connsiteX2" fmla="*/ 0 w 157739"/>
                        <a:gd name="connsiteY2" fmla="*/ 6596 h 70175"/>
                        <a:gd name="connsiteX3" fmla="*/ 6596 w 157739"/>
                        <a:gd name="connsiteY3" fmla="*/ 0 h 70175"/>
                        <a:gd name="connsiteX4" fmla="*/ 13191 w 157739"/>
                        <a:gd name="connsiteY4" fmla="*/ 6596 h 70175"/>
                        <a:gd name="connsiteX5" fmla="*/ 13191 w 157739"/>
                        <a:gd name="connsiteY5" fmla="*/ 38246 h 70175"/>
                        <a:gd name="connsiteX6" fmla="*/ 78870 w 157739"/>
                        <a:gd name="connsiteY6" fmla="*/ 56984 h 70175"/>
                        <a:gd name="connsiteX7" fmla="*/ 144548 w 157739"/>
                        <a:gd name="connsiteY7" fmla="*/ 38246 h 70175"/>
                        <a:gd name="connsiteX8" fmla="*/ 144548 w 157739"/>
                        <a:gd name="connsiteY8" fmla="*/ 6596 h 70175"/>
                        <a:gd name="connsiteX9" fmla="*/ 151144 w 157739"/>
                        <a:gd name="connsiteY9" fmla="*/ 0 h 70175"/>
                        <a:gd name="connsiteX10" fmla="*/ 157739 w 157739"/>
                        <a:gd name="connsiteY10" fmla="*/ 6596 h 70175"/>
                        <a:gd name="connsiteX11" fmla="*/ 157739 w 157739"/>
                        <a:gd name="connsiteY11" fmla="*/ 38246 h 70175"/>
                        <a:gd name="connsiteX12" fmla="*/ 78870 w 157739"/>
                        <a:gd name="connsiteY12" fmla="*/ 70175 h 7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739" h="70175">
                          <a:moveTo>
                            <a:pt x="78870" y="70175"/>
                          </a:moveTo>
                          <a:cubicBezTo>
                            <a:pt x="39681" y="70175"/>
                            <a:pt x="0" y="59211"/>
                            <a:pt x="0" y="38246"/>
                          </a:cubicBezTo>
                          <a:lnTo>
                            <a:pt x="0" y="6596"/>
                          </a:lnTo>
                          <a:cubicBezTo>
                            <a:pt x="0" y="2955"/>
                            <a:pt x="2955" y="0"/>
                            <a:pt x="6596" y="0"/>
                          </a:cubicBezTo>
                          <a:cubicBezTo>
                            <a:pt x="10236" y="0"/>
                            <a:pt x="13191" y="2955"/>
                            <a:pt x="13191" y="6596"/>
                          </a:cubicBezTo>
                          <a:lnTo>
                            <a:pt x="13191" y="38246"/>
                          </a:lnTo>
                          <a:cubicBezTo>
                            <a:pt x="13191" y="44606"/>
                            <a:pt x="36383" y="56984"/>
                            <a:pt x="78870" y="56984"/>
                          </a:cubicBezTo>
                          <a:cubicBezTo>
                            <a:pt x="121378" y="56984"/>
                            <a:pt x="144548" y="44606"/>
                            <a:pt x="144548" y="38246"/>
                          </a:cubicBezTo>
                          <a:lnTo>
                            <a:pt x="144548" y="6596"/>
                          </a:lnTo>
                          <a:cubicBezTo>
                            <a:pt x="144548" y="2955"/>
                            <a:pt x="147503" y="0"/>
                            <a:pt x="151144" y="0"/>
                          </a:cubicBezTo>
                          <a:cubicBezTo>
                            <a:pt x="154784" y="0"/>
                            <a:pt x="157739" y="2955"/>
                            <a:pt x="157739" y="6596"/>
                          </a:cubicBezTo>
                          <a:lnTo>
                            <a:pt x="157739" y="38246"/>
                          </a:lnTo>
                          <a:cubicBezTo>
                            <a:pt x="157739" y="59211"/>
                            <a:pt x="118058" y="70175"/>
                            <a:pt x="78870" y="70175"/>
                          </a:cubicBezTo>
                          <a:close/>
                        </a:path>
                      </a:pathLst>
                    </a:custGeom>
                    <a:solidFill>
                      <a:schemeClr val="accent1"/>
                    </a:solidFill>
                    <a:ln w="2139" cap="flat">
                      <a:noFill/>
                      <a:prstDash val="solid"/>
                      <a:miter/>
                    </a:ln>
                  </p:spPr>
                  <p:txBody>
                    <a:bodyPr rtlCol="0" anchor="ctr"/>
                    <a:lstStyle/>
                    <a:p>
                      <a:endParaRPr lang="en-GB" dirty="0"/>
                    </a:p>
                  </p:txBody>
                </p:sp>
              </p:grpSp>
              <p:grpSp>
                <p:nvGrpSpPr>
                  <p:cNvPr id="277" name="Grafik 319">
                    <a:extLst>
                      <a:ext uri="{FF2B5EF4-FFF2-40B4-BE49-F238E27FC236}">
                        <a16:creationId xmlns:a16="http://schemas.microsoft.com/office/drawing/2014/main" id="{A7ED5A6B-FB22-4C70-B30C-B63C6658AC00}"/>
                      </a:ext>
                    </a:extLst>
                  </p:cNvPr>
                  <p:cNvGrpSpPr/>
                  <p:nvPr/>
                </p:nvGrpSpPr>
                <p:grpSpPr>
                  <a:xfrm>
                    <a:off x="2785330" y="1929944"/>
                    <a:ext cx="157739" cy="101076"/>
                    <a:chOff x="2785330" y="1929944"/>
                    <a:chExt cx="157739" cy="101076"/>
                  </a:xfrm>
                  <a:solidFill>
                    <a:schemeClr val="accent1"/>
                  </a:solidFill>
                </p:grpSpPr>
                <p:grpSp>
                  <p:nvGrpSpPr>
                    <p:cNvPr id="285" name="Grafik 319">
                      <a:extLst>
                        <a:ext uri="{FF2B5EF4-FFF2-40B4-BE49-F238E27FC236}">
                          <a16:creationId xmlns:a16="http://schemas.microsoft.com/office/drawing/2014/main" id="{CC43B969-195A-44F4-8F91-8540ECE06607}"/>
                        </a:ext>
                      </a:extLst>
                    </p:cNvPr>
                    <p:cNvGrpSpPr/>
                    <p:nvPr/>
                  </p:nvGrpSpPr>
                  <p:grpSpPr>
                    <a:xfrm>
                      <a:off x="2785330" y="1960824"/>
                      <a:ext cx="157739" cy="70196"/>
                      <a:chOff x="2785330" y="1960824"/>
                      <a:chExt cx="157739" cy="70196"/>
                    </a:xfrm>
                    <a:solidFill>
                      <a:schemeClr val="accent1"/>
                    </a:solidFill>
                  </p:grpSpPr>
                  <p:sp>
                    <p:nvSpPr>
                      <p:cNvPr id="289" name="Freihandform: Form 651">
                        <a:extLst>
                          <a:ext uri="{FF2B5EF4-FFF2-40B4-BE49-F238E27FC236}">
                            <a16:creationId xmlns:a16="http://schemas.microsoft.com/office/drawing/2014/main" id="{39641850-7187-412E-A33E-36E427403A81}"/>
                          </a:ext>
                        </a:extLst>
                      </p:cNvPr>
                      <p:cNvSpPr/>
                      <p:nvPr/>
                    </p:nvSpPr>
                    <p:spPr>
                      <a:xfrm>
                        <a:off x="2785330" y="1960824"/>
                        <a:ext cx="157739" cy="38524"/>
                      </a:xfrm>
                      <a:custGeom>
                        <a:avLst/>
                        <a:gdLst>
                          <a:gd name="connsiteX0" fmla="*/ 78870 w 157739"/>
                          <a:gd name="connsiteY0" fmla="*/ 38525 h 38524"/>
                          <a:gd name="connsiteX1" fmla="*/ 0 w 157739"/>
                          <a:gd name="connsiteY1" fmla="*/ 6596 h 38524"/>
                          <a:gd name="connsiteX2" fmla="*/ 6596 w 157739"/>
                          <a:gd name="connsiteY2" fmla="*/ 0 h 38524"/>
                          <a:gd name="connsiteX3" fmla="*/ 13191 w 157739"/>
                          <a:gd name="connsiteY3" fmla="*/ 6596 h 38524"/>
                          <a:gd name="connsiteX4" fmla="*/ 78870 w 157739"/>
                          <a:gd name="connsiteY4" fmla="*/ 25333 h 38524"/>
                          <a:gd name="connsiteX5" fmla="*/ 144548 w 157739"/>
                          <a:gd name="connsiteY5" fmla="*/ 6596 h 38524"/>
                          <a:gd name="connsiteX6" fmla="*/ 151144 w 157739"/>
                          <a:gd name="connsiteY6" fmla="*/ 0 h 38524"/>
                          <a:gd name="connsiteX7" fmla="*/ 157739 w 157739"/>
                          <a:gd name="connsiteY7" fmla="*/ 6596 h 38524"/>
                          <a:gd name="connsiteX8" fmla="*/ 78870 w 157739"/>
                          <a:gd name="connsiteY8" fmla="*/ 38525 h 3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739" h="38524">
                            <a:moveTo>
                              <a:pt x="78870" y="38525"/>
                            </a:moveTo>
                            <a:cubicBezTo>
                              <a:pt x="39681" y="38525"/>
                              <a:pt x="0" y="27560"/>
                              <a:pt x="0" y="6596"/>
                            </a:cubicBezTo>
                            <a:cubicBezTo>
                              <a:pt x="0" y="2955"/>
                              <a:pt x="2955" y="0"/>
                              <a:pt x="6596" y="0"/>
                            </a:cubicBezTo>
                            <a:cubicBezTo>
                              <a:pt x="10236" y="0"/>
                              <a:pt x="13191" y="2955"/>
                              <a:pt x="13191" y="6596"/>
                            </a:cubicBezTo>
                            <a:cubicBezTo>
                              <a:pt x="13191" y="12956"/>
                              <a:pt x="36383" y="25333"/>
                              <a:pt x="78870" y="25333"/>
                            </a:cubicBezTo>
                            <a:cubicBezTo>
                              <a:pt x="121378" y="25333"/>
                              <a:pt x="144548" y="12956"/>
                              <a:pt x="144548" y="6596"/>
                            </a:cubicBezTo>
                            <a:cubicBezTo>
                              <a:pt x="144548" y="2955"/>
                              <a:pt x="147503" y="0"/>
                              <a:pt x="151144" y="0"/>
                            </a:cubicBezTo>
                            <a:cubicBezTo>
                              <a:pt x="154784" y="0"/>
                              <a:pt x="157739" y="2955"/>
                              <a:pt x="157739" y="6596"/>
                            </a:cubicBezTo>
                            <a:cubicBezTo>
                              <a:pt x="157739" y="27560"/>
                              <a:pt x="118058" y="38525"/>
                              <a:pt x="78870" y="38525"/>
                            </a:cubicBezTo>
                            <a:close/>
                          </a:path>
                        </a:pathLst>
                      </a:custGeom>
                      <a:solidFill>
                        <a:schemeClr val="accent1"/>
                      </a:solidFill>
                      <a:ln w="2139" cap="flat">
                        <a:noFill/>
                        <a:prstDash val="solid"/>
                        <a:miter/>
                      </a:ln>
                    </p:spPr>
                    <p:txBody>
                      <a:bodyPr rtlCol="0" anchor="ctr"/>
                      <a:lstStyle/>
                      <a:p>
                        <a:endParaRPr lang="en-GB" dirty="0"/>
                      </a:p>
                    </p:txBody>
                  </p:sp>
                  <p:sp>
                    <p:nvSpPr>
                      <p:cNvPr id="290" name="Freihandform: Form 652">
                        <a:extLst>
                          <a:ext uri="{FF2B5EF4-FFF2-40B4-BE49-F238E27FC236}">
                            <a16:creationId xmlns:a16="http://schemas.microsoft.com/office/drawing/2014/main" id="{AFBA62B8-C312-454C-809B-0360E2034D25}"/>
                          </a:ext>
                        </a:extLst>
                      </p:cNvPr>
                      <p:cNvSpPr/>
                      <p:nvPr/>
                    </p:nvSpPr>
                    <p:spPr>
                      <a:xfrm>
                        <a:off x="2785330" y="1960824"/>
                        <a:ext cx="157739" cy="70196"/>
                      </a:xfrm>
                      <a:custGeom>
                        <a:avLst/>
                        <a:gdLst>
                          <a:gd name="connsiteX0" fmla="*/ 78870 w 157739"/>
                          <a:gd name="connsiteY0" fmla="*/ 70197 h 70196"/>
                          <a:gd name="connsiteX1" fmla="*/ 0 w 157739"/>
                          <a:gd name="connsiteY1" fmla="*/ 38268 h 70196"/>
                          <a:gd name="connsiteX2" fmla="*/ 0 w 157739"/>
                          <a:gd name="connsiteY2" fmla="*/ 6596 h 70196"/>
                          <a:gd name="connsiteX3" fmla="*/ 6596 w 157739"/>
                          <a:gd name="connsiteY3" fmla="*/ 0 h 70196"/>
                          <a:gd name="connsiteX4" fmla="*/ 13191 w 157739"/>
                          <a:gd name="connsiteY4" fmla="*/ 6596 h 70196"/>
                          <a:gd name="connsiteX5" fmla="*/ 13191 w 157739"/>
                          <a:gd name="connsiteY5" fmla="*/ 38268 h 70196"/>
                          <a:gd name="connsiteX6" fmla="*/ 78870 w 157739"/>
                          <a:gd name="connsiteY6" fmla="*/ 57005 h 70196"/>
                          <a:gd name="connsiteX7" fmla="*/ 144548 w 157739"/>
                          <a:gd name="connsiteY7" fmla="*/ 38268 h 70196"/>
                          <a:gd name="connsiteX8" fmla="*/ 144548 w 157739"/>
                          <a:gd name="connsiteY8" fmla="*/ 6596 h 70196"/>
                          <a:gd name="connsiteX9" fmla="*/ 151144 w 157739"/>
                          <a:gd name="connsiteY9" fmla="*/ 0 h 70196"/>
                          <a:gd name="connsiteX10" fmla="*/ 157739 w 157739"/>
                          <a:gd name="connsiteY10" fmla="*/ 6596 h 70196"/>
                          <a:gd name="connsiteX11" fmla="*/ 157739 w 157739"/>
                          <a:gd name="connsiteY11" fmla="*/ 38268 h 70196"/>
                          <a:gd name="connsiteX12" fmla="*/ 78870 w 157739"/>
                          <a:gd name="connsiteY12" fmla="*/ 70197 h 70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739" h="70196">
                            <a:moveTo>
                              <a:pt x="78870" y="70197"/>
                            </a:moveTo>
                            <a:cubicBezTo>
                              <a:pt x="39681" y="70197"/>
                              <a:pt x="0" y="59233"/>
                              <a:pt x="0" y="38268"/>
                            </a:cubicBezTo>
                            <a:lnTo>
                              <a:pt x="0" y="6596"/>
                            </a:lnTo>
                            <a:cubicBezTo>
                              <a:pt x="0" y="2955"/>
                              <a:pt x="2955" y="0"/>
                              <a:pt x="6596" y="0"/>
                            </a:cubicBezTo>
                            <a:cubicBezTo>
                              <a:pt x="10236" y="0"/>
                              <a:pt x="13191" y="2955"/>
                              <a:pt x="13191" y="6596"/>
                            </a:cubicBezTo>
                            <a:lnTo>
                              <a:pt x="13191" y="38268"/>
                            </a:lnTo>
                            <a:cubicBezTo>
                              <a:pt x="13191" y="44628"/>
                              <a:pt x="36383" y="57005"/>
                              <a:pt x="78870" y="57005"/>
                            </a:cubicBezTo>
                            <a:cubicBezTo>
                              <a:pt x="121378" y="57005"/>
                              <a:pt x="144548" y="44628"/>
                              <a:pt x="144548" y="38268"/>
                            </a:cubicBezTo>
                            <a:lnTo>
                              <a:pt x="144548" y="6596"/>
                            </a:lnTo>
                            <a:cubicBezTo>
                              <a:pt x="144548" y="2955"/>
                              <a:pt x="147503" y="0"/>
                              <a:pt x="151144" y="0"/>
                            </a:cubicBezTo>
                            <a:cubicBezTo>
                              <a:pt x="154784" y="0"/>
                              <a:pt x="157739" y="2955"/>
                              <a:pt x="157739" y="6596"/>
                            </a:cubicBezTo>
                            <a:lnTo>
                              <a:pt x="157739" y="38268"/>
                            </a:lnTo>
                            <a:cubicBezTo>
                              <a:pt x="157739" y="59233"/>
                              <a:pt x="118058" y="70197"/>
                              <a:pt x="78870" y="70197"/>
                            </a:cubicBezTo>
                            <a:close/>
                          </a:path>
                        </a:pathLst>
                      </a:custGeom>
                      <a:solidFill>
                        <a:schemeClr val="accent1"/>
                      </a:solidFill>
                      <a:ln w="2139" cap="flat">
                        <a:noFill/>
                        <a:prstDash val="solid"/>
                        <a:miter/>
                      </a:ln>
                    </p:spPr>
                    <p:txBody>
                      <a:bodyPr rtlCol="0" anchor="ctr"/>
                      <a:lstStyle/>
                      <a:p>
                        <a:endParaRPr lang="en-GB" dirty="0"/>
                      </a:p>
                    </p:txBody>
                  </p:sp>
                </p:grpSp>
                <p:grpSp>
                  <p:nvGrpSpPr>
                    <p:cNvPr id="286" name="Grafik 319">
                      <a:extLst>
                        <a:ext uri="{FF2B5EF4-FFF2-40B4-BE49-F238E27FC236}">
                          <a16:creationId xmlns:a16="http://schemas.microsoft.com/office/drawing/2014/main" id="{467B0DF0-8CAD-40C9-9208-B42D2ECCB7CC}"/>
                        </a:ext>
                      </a:extLst>
                    </p:cNvPr>
                    <p:cNvGrpSpPr/>
                    <p:nvPr/>
                  </p:nvGrpSpPr>
                  <p:grpSpPr>
                    <a:xfrm>
                      <a:off x="2785330" y="1929944"/>
                      <a:ext cx="157739" cy="70196"/>
                      <a:chOff x="2785330" y="1929944"/>
                      <a:chExt cx="157739" cy="70196"/>
                    </a:xfrm>
                    <a:solidFill>
                      <a:schemeClr val="accent1"/>
                    </a:solidFill>
                  </p:grpSpPr>
                  <p:sp>
                    <p:nvSpPr>
                      <p:cNvPr id="287" name="Freihandform: Form 654">
                        <a:extLst>
                          <a:ext uri="{FF2B5EF4-FFF2-40B4-BE49-F238E27FC236}">
                            <a16:creationId xmlns:a16="http://schemas.microsoft.com/office/drawing/2014/main" id="{A724FE90-DA11-4176-BF37-5CF7EEC6FC8A}"/>
                          </a:ext>
                        </a:extLst>
                      </p:cNvPr>
                      <p:cNvSpPr/>
                      <p:nvPr/>
                    </p:nvSpPr>
                    <p:spPr>
                      <a:xfrm>
                        <a:off x="2785330" y="1929966"/>
                        <a:ext cx="157739" cy="38524"/>
                      </a:xfrm>
                      <a:custGeom>
                        <a:avLst/>
                        <a:gdLst>
                          <a:gd name="connsiteX0" fmla="*/ 78870 w 157739"/>
                          <a:gd name="connsiteY0" fmla="*/ 38525 h 38524"/>
                          <a:gd name="connsiteX1" fmla="*/ 0 w 157739"/>
                          <a:gd name="connsiteY1" fmla="*/ 6596 h 38524"/>
                          <a:gd name="connsiteX2" fmla="*/ 6596 w 157739"/>
                          <a:gd name="connsiteY2" fmla="*/ 0 h 38524"/>
                          <a:gd name="connsiteX3" fmla="*/ 13191 w 157739"/>
                          <a:gd name="connsiteY3" fmla="*/ 6596 h 38524"/>
                          <a:gd name="connsiteX4" fmla="*/ 78870 w 157739"/>
                          <a:gd name="connsiteY4" fmla="*/ 25333 h 38524"/>
                          <a:gd name="connsiteX5" fmla="*/ 144548 w 157739"/>
                          <a:gd name="connsiteY5" fmla="*/ 6596 h 38524"/>
                          <a:gd name="connsiteX6" fmla="*/ 151144 w 157739"/>
                          <a:gd name="connsiteY6" fmla="*/ 0 h 38524"/>
                          <a:gd name="connsiteX7" fmla="*/ 157739 w 157739"/>
                          <a:gd name="connsiteY7" fmla="*/ 6596 h 38524"/>
                          <a:gd name="connsiteX8" fmla="*/ 78870 w 157739"/>
                          <a:gd name="connsiteY8" fmla="*/ 38525 h 3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739" h="38524">
                            <a:moveTo>
                              <a:pt x="78870" y="38525"/>
                            </a:moveTo>
                            <a:cubicBezTo>
                              <a:pt x="39681" y="38525"/>
                              <a:pt x="0" y="27561"/>
                              <a:pt x="0" y="6596"/>
                            </a:cubicBezTo>
                            <a:cubicBezTo>
                              <a:pt x="0" y="2955"/>
                              <a:pt x="2955" y="0"/>
                              <a:pt x="6596" y="0"/>
                            </a:cubicBezTo>
                            <a:cubicBezTo>
                              <a:pt x="10236" y="0"/>
                              <a:pt x="13191" y="2955"/>
                              <a:pt x="13191" y="6596"/>
                            </a:cubicBezTo>
                            <a:cubicBezTo>
                              <a:pt x="13191" y="12956"/>
                              <a:pt x="36383" y="25333"/>
                              <a:pt x="78870" y="25333"/>
                            </a:cubicBezTo>
                            <a:cubicBezTo>
                              <a:pt x="121378" y="25333"/>
                              <a:pt x="144548" y="12956"/>
                              <a:pt x="144548" y="6596"/>
                            </a:cubicBezTo>
                            <a:cubicBezTo>
                              <a:pt x="144548" y="2955"/>
                              <a:pt x="147503" y="0"/>
                              <a:pt x="151144" y="0"/>
                            </a:cubicBezTo>
                            <a:cubicBezTo>
                              <a:pt x="154784" y="0"/>
                              <a:pt x="157739" y="2955"/>
                              <a:pt x="157739" y="6596"/>
                            </a:cubicBezTo>
                            <a:cubicBezTo>
                              <a:pt x="157739" y="27561"/>
                              <a:pt x="118058" y="38525"/>
                              <a:pt x="78870" y="38525"/>
                            </a:cubicBezTo>
                            <a:close/>
                          </a:path>
                        </a:pathLst>
                      </a:custGeom>
                      <a:solidFill>
                        <a:schemeClr val="accent1"/>
                      </a:solidFill>
                      <a:ln w="2139" cap="flat">
                        <a:noFill/>
                        <a:prstDash val="solid"/>
                        <a:miter/>
                      </a:ln>
                    </p:spPr>
                    <p:txBody>
                      <a:bodyPr rtlCol="0" anchor="ctr"/>
                      <a:lstStyle/>
                      <a:p>
                        <a:endParaRPr lang="en-GB" dirty="0"/>
                      </a:p>
                    </p:txBody>
                  </p:sp>
                  <p:sp>
                    <p:nvSpPr>
                      <p:cNvPr id="288" name="Freihandform: Form 655">
                        <a:extLst>
                          <a:ext uri="{FF2B5EF4-FFF2-40B4-BE49-F238E27FC236}">
                            <a16:creationId xmlns:a16="http://schemas.microsoft.com/office/drawing/2014/main" id="{81684A56-9E6D-4C20-B199-50DF1B4EC00A}"/>
                          </a:ext>
                        </a:extLst>
                      </p:cNvPr>
                      <p:cNvSpPr/>
                      <p:nvPr/>
                    </p:nvSpPr>
                    <p:spPr>
                      <a:xfrm>
                        <a:off x="2785330" y="1929944"/>
                        <a:ext cx="157739" cy="70196"/>
                      </a:xfrm>
                      <a:custGeom>
                        <a:avLst/>
                        <a:gdLst>
                          <a:gd name="connsiteX0" fmla="*/ 78870 w 157739"/>
                          <a:gd name="connsiteY0" fmla="*/ 70197 h 70196"/>
                          <a:gd name="connsiteX1" fmla="*/ 0 w 157739"/>
                          <a:gd name="connsiteY1" fmla="*/ 38268 h 70196"/>
                          <a:gd name="connsiteX2" fmla="*/ 0 w 157739"/>
                          <a:gd name="connsiteY2" fmla="*/ 6596 h 70196"/>
                          <a:gd name="connsiteX3" fmla="*/ 6596 w 157739"/>
                          <a:gd name="connsiteY3" fmla="*/ 0 h 70196"/>
                          <a:gd name="connsiteX4" fmla="*/ 13191 w 157739"/>
                          <a:gd name="connsiteY4" fmla="*/ 6596 h 70196"/>
                          <a:gd name="connsiteX5" fmla="*/ 13191 w 157739"/>
                          <a:gd name="connsiteY5" fmla="*/ 38268 h 70196"/>
                          <a:gd name="connsiteX6" fmla="*/ 78870 w 157739"/>
                          <a:gd name="connsiteY6" fmla="*/ 57005 h 70196"/>
                          <a:gd name="connsiteX7" fmla="*/ 144548 w 157739"/>
                          <a:gd name="connsiteY7" fmla="*/ 38268 h 70196"/>
                          <a:gd name="connsiteX8" fmla="*/ 144548 w 157739"/>
                          <a:gd name="connsiteY8" fmla="*/ 6596 h 70196"/>
                          <a:gd name="connsiteX9" fmla="*/ 151144 w 157739"/>
                          <a:gd name="connsiteY9" fmla="*/ 0 h 70196"/>
                          <a:gd name="connsiteX10" fmla="*/ 157739 w 157739"/>
                          <a:gd name="connsiteY10" fmla="*/ 6596 h 70196"/>
                          <a:gd name="connsiteX11" fmla="*/ 157739 w 157739"/>
                          <a:gd name="connsiteY11" fmla="*/ 38268 h 70196"/>
                          <a:gd name="connsiteX12" fmla="*/ 78870 w 157739"/>
                          <a:gd name="connsiteY12" fmla="*/ 70197 h 70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739" h="70196">
                            <a:moveTo>
                              <a:pt x="78870" y="70197"/>
                            </a:moveTo>
                            <a:cubicBezTo>
                              <a:pt x="39681" y="70197"/>
                              <a:pt x="0" y="59233"/>
                              <a:pt x="0" y="38268"/>
                            </a:cubicBezTo>
                            <a:lnTo>
                              <a:pt x="0" y="6596"/>
                            </a:lnTo>
                            <a:cubicBezTo>
                              <a:pt x="0" y="2955"/>
                              <a:pt x="2955" y="0"/>
                              <a:pt x="6596" y="0"/>
                            </a:cubicBezTo>
                            <a:cubicBezTo>
                              <a:pt x="10236" y="0"/>
                              <a:pt x="13191" y="2955"/>
                              <a:pt x="13191" y="6596"/>
                            </a:cubicBezTo>
                            <a:lnTo>
                              <a:pt x="13191" y="38268"/>
                            </a:lnTo>
                            <a:cubicBezTo>
                              <a:pt x="13191" y="44628"/>
                              <a:pt x="36383" y="57005"/>
                              <a:pt x="78870" y="57005"/>
                            </a:cubicBezTo>
                            <a:cubicBezTo>
                              <a:pt x="121378" y="57005"/>
                              <a:pt x="144548" y="44628"/>
                              <a:pt x="144548" y="38268"/>
                            </a:cubicBezTo>
                            <a:lnTo>
                              <a:pt x="144548" y="6596"/>
                            </a:lnTo>
                            <a:cubicBezTo>
                              <a:pt x="144548" y="2955"/>
                              <a:pt x="147503" y="0"/>
                              <a:pt x="151144" y="0"/>
                            </a:cubicBezTo>
                            <a:cubicBezTo>
                              <a:pt x="154784" y="0"/>
                              <a:pt x="157739" y="2955"/>
                              <a:pt x="157739" y="6596"/>
                            </a:cubicBezTo>
                            <a:lnTo>
                              <a:pt x="157739" y="38268"/>
                            </a:lnTo>
                            <a:cubicBezTo>
                              <a:pt x="157739" y="59233"/>
                              <a:pt x="118058" y="70197"/>
                              <a:pt x="78870" y="70197"/>
                            </a:cubicBezTo>
                            <a:close/>
                          </a:path>
                        </a:pathLst>
                      </a:custGeom>
                      <a:solidFill>
                        <a:schemeClr val="accent1"/>
                      </a:solidFill>
                      <a:ln w="2139" cap="flat">
                        <a:noFill/>
                        <a:prstDash val="solid"/>
                        <a:miter/>
                      </a:ln>
                    </p:spPr>
                    <p:txBody>
                      <a:bodyPr rtlCol="0" anchor="ctr"/>
                      <a:lstStyle/>
                      <a:p>
                        <a:endParaRPr lang="en-GB" dirty="0"/>
                      </a:p>
                    </p:txBody>
                  </p:sp>
                </p:grpSp>
              </p:grpSp>
              <p:grpSp>
                <p:nvGrpSpPr>
                  <p:cNvPr id="278" name="Grafik 319">
                    <a:extLst>
                      <a:ext uri="{FF2B5EF4-FFF2-40B4-BE49-F238E27FC236}">
                        <a16:creationId xmlns:a16="http://schemas.microsoft.com/office/drawing/2014/main" id="{A35FECC2-FBEB-46EE-B1B5-B4F375F4EBD7}"/>
                      </a:ext>
                    </a:extLst>
                  </p:cNvPr>
                  <p:cNvGrpSpPr/>
                  <p:nvPr/>
                </p:nvGrpSpPr>
                <p:grpSpPr>
                  <a:xfrm>
                    <a:off x="2785330" y="1842423"/>
                    <a:ext cx="157739" cy="126388"/>
                    <a:chOff x="2785330" y="1842423"/>
                    <a:chExt cx="157739" cy="126388"/>
                  </a:xfrm>
                  <a:solidFill>
                    <a:schemeClr val="accent1"/>
                  </a:solidFill>
                </p:grpSpPr>
                <p:grpSp>
                  <p:nvGrpSpPr>
                    <p:cNvPr id="279" name="Grafik 319">
                      <a:extLst>
                        <a:ext uri="{FF2B5EF4-FFF2-40B4-BE49-F238E27FC236}">
                          <a16:creationId xmlns:a16="http://schemas.microsoft.com/office/drawing/2014/main" id="{1739A4C4-D076-47A0-B514-731DE7207C6A}"/>
                        </a:ext>
                      </a:extLst>
                    </p:cNvPr>
                    <p:cNvGrpSpPr/>
                    <p:nvPr/>
                  </p:nvGrpSpPr>
                  <p:grpSpPr>
                    <a:xfrm>
                      <a:off x="2785330" y="1898615"/>
                      <a:ext cx="157739" cy="70196"/>
                      <a:chOff x="2785330" y="1898615"/>
                      <a:chExt cx="157739" cy="70196"/>
                    </a:xfrm>
                    <a:solidFill>
                      <a:schemeClr val="accent1"/>
                    </a:solidFill>
                  </p:grpSpPr>
                  <p:sp>
                    <p:nvSpPr>
                      <p:cNvPr id="283" name="Freihandform: Form 658">
                        <a:extLst>
                          <a:ext uri="{FF2B5EF4-FFF2-40B4-BE49-F238E27FC236}">
                            <a16:creationId xmlns:a16="http://schemas.microsoft.com/office/drawing/2014/main" id="{1D62CA53-2EF3-4432-906A-2C69477C69EC}"/>
                          </a:ext>
                        </a:extLst>
                      </p:cNvPr>
                      <p:cNvSpPr/>
                      <p:nvPr/>
                    </p:nvSpPr>
                    <p:spPr>
                      <a:xfrm>
                        <a:off x="2785330" y="1898615"/>
                        <a:ext cx="157739" cy="38524"/>
                      </a:xfrm>
                      <a:custGeom>
                        <a:avLst/>
                        <a:gdLst>
                          <a:gd name="connsiteX0" fmla="*/ 78870 w 157739"/>
                          <a:gd name="connsiteY0" fmla="*/ 38525 h 38524"/>
                          <a:gd name="connsiteX1" fmla="*/ 0 w 157739"/>
                          <a:gd name="connsiteY1" fmla="*/ 6596 h 38524"/>
                          <a:gd name="connsiteX2" fmla="*/ 6596 w 157739"/>
                          <a:gd name="connsiteY2" fmla="*/ 0 h 38524"/>
                          <a:gd name="connsiteX3" fmla="*/ 13191 w 157739"/>
                          <a:gd name="connsiteY3" fmla="*/ 6596 h 38524"/>
                          <a:gd name="connsiteX4" fmla="*/ 78870 w 157739"/>
                          <a:gd name="connsiteY4" fmla="*/ 25333 h 38524"/>
                          <a:gd name="connsiteX5" fmla="*/ 144548 w 157739"/>
                          <a:gd name="connsiteY5" fmla="*/ 6596 h 38524"/>
                          <a:gd name="connsiteX6" fmla="*/ 151144 w 157739"/>
                          <a:gd name="connsiteY6" fmla="*/ 0 h 38524"/>
                          <a:gd name="connsiteX7" fmla="*/ 157739 w 157739"/>
                          <a:gd name="connsiteY7" fmla="*/ 6596 h 38524"/>
                          <a:gd name="connsiteX8" fmla="*/ 78870 w 157739"/>
                          <a:gd name="connsiteY8" fmla="*/ 38525 h 3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739" h="38524">
                            <a:moveTo>
                              <a:pt x="78870" y="38525"/>
                            </a:moveTo>
                            <a:cubicBezTo>
                              <a:pt x="39681" y="38525"/>
                              <a:pt x="0" y="27561"/>
                              <a:pt x="0" y="6596"/>
                            </a:cubicBezTo>
                            <a:cubicBezTo>
                              <a:pt x="0" y="2955"/>
                              <a:pt x="2955" y="0"/>
                              <a:pt x="6596" y="0"/>
                            </a:cubicBezTo>
                            <a:cubicBezTo>
                              <a:pt x="10236" y="0"/>
                              <a:pt x="13191" y="2955"/>
                              <a:pt x="13191" y="6596"/>
                            </a:cubicBezTo>
                            <a:cubicBezTo>
                              <a:pt x="13191" y="12956"/>
                              <a:pt x="36383" y="25333"/>
                              <a:pt x="78870" y="25333"/>
                            </a:cubicBezTo>
                            <a:cubicBezTo>
                              <a:pt x="121378" y="25333"/>
                              <a:pt x="144548" y="12956"/>
                              <a:pt x="144548" y="6596"/>
                            </a:cubicBezTo>
                            <a:cubicBezTo>
                              <a:pt x="144548" y="2955"/>
                              <a:pt x="147503" y="0"/>
                              <a:pt x="151144" y="0"/>
                            </a:cubicBezTo>
                            <a:cubicBezTo>
                              <a:pt x="154784" y="0"/>
                              <a:pt x="157739" y="2955"/>
                              <a:pt x="157739" y="6596"/>
                            </a:cubicBezTo>
                            <a:cubicBezTo>
                              <a:pt x="157739" y="27561"/>
                              <a:pt x="118058" y="38525"/>
                              <a:pt x="78870" y="38525"/>
                            </a:cubicBezTo>
                            <a:close/>
                          </a:path>
                        </a:pathLst>
                      </a:custGeom>
                      <a:solidFill>
                        <a:schemeClr val="accent1"/>
                      </a:solidFill>
                      <a:ln w="2139" cap="flat">
                        <a:noFill/>
                        <a:prstDash val="solid"/>
                        <a:miter/>
                      </a:ln>
                    </p:spPr>
                    <p:txBody>
                      <a:bodyPr rtlCol="0" anchor="ctr"/>
                      <a:lstStyle/>
                      <a:p>
                        <a:endParaRPr lang="en-GB" dirty="0"/>
                      </a:p>
                    </p:txBody>
                  </p:sp>
                  <p:sp>
                    <p:nvSpPr>
                      <p:cNvPr id="284" name="Freihandform: Form 659">
                        <a:extLst>
                          <a:ext uri="{FF2B5EF4-FFF2-40B4-BE49-F238E27FC236}">
                            <a16:creationId xmlns:a16="http://schemas.microsoft.com/office/drawing/2014/main" id="{80B5B0D1-94F3-4F2E-9E23-9538376AE2C3}"/>
                          </a:ext>
                        </a:extLst>
                      </p:cNvPr>
                      <p:cNvSpPr/>
                      <p:nvPr/>
                    </p:nvSpPr>
                    <p:spPr>
                      <a:xfrm>
                        <a:off x="2785330" y="1898636"/>
                        <a:ext cx="157739" cy="70175"/>
                      </a:xfrm>
                      <a:custGeom>
                        <a:avLst/>
                        <a:gdLst>
                          <a:gd name="connsiteX0" fmla="*/ 78870 w 157739"/>
                          <a:gd name="connsiteY0" fmla="*/ 70175 h 70175"/>
                          <a:gd name="connsiteX1" fmla="*/ 0 w 157739"/>
                          <a:gd name="connsiteY1" fmla="*/ 38246 h 70175"/>
                          <a:gd name="connsiteX2" fmla="*/ 0 w 157739"/>
                          <a:gd name="connsiteY2" fmla="*/ 6596 h 70175"/>
                          <a:gd name="connsiteX3" fmla="*/ 6596 w 157739"/>
                          <a:gd name="connsiteY3" fmla="*/ 0 h 70175"/>
                          <a:gd name="connsiteX4" fmla="*/ 13191 w 157739"/>
                          <a:gd name="connsiteY4" fmla="*/ 6596 h 70175"/>
                          <a:gd name="connsiteX5" fmla="*/ 13191 w 157739"/>
                          <a:gd name="connsiteY5" fmla="*/ 38246 h 70175"/>
                          <a:gd name="connsiteX6" fmla="*/ 78870 w 157739"/>
                          <a:gd name="connsiteY6" fmla="*/ 56984 h 70175"/>
                          <a:gd name="connsiteX7" fmla="*/ 144548 w 157739"/>
                          <a:gd name="connsiteY7" fmla="*/ 38246 h 70175"/>
                          <a:gd name="connsiteX8" fmla="*/ 144548 w 157739"/>
                          <a:gd name="connsiteY8" fmla="*/ 6596 h 70175"/>
                          <a:gd name="connsiteX9" fmla="*/ 151144 w 157739"/>
                          <a:gd name="connsiteY9" fmla="*/ 0 h 70175"/>
                          <a:gd name="connsiteX10" fmla="*/ 157739 w 157739"/>
                          <a:gd name="connsiteY10" fmla="*/ 6596 h 70175"/>
                          <a:gd name="connsiteX11" fmla="*/ 157739 w 157739"/>
                          <a:gd name="connsiteY11" fmla="*/ 38246 h 70175"/>
                          <a:gd name="connsiteX12" fmla="*/ 78870 w 157739"/>
                          <a:gd name="connsiteY12" fmla="*/ 70175 h 7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739" h="70175">
                            <a:moveTo>
                              <a:pt x="78870" y="70175"/>
                            </a:moveTo>
                            <a:cubicBezTo>
                              <a:pt x="39681" y="70175"/>
                              <a:pt x="0" y="59211"/>
                              <a:pt x="0" y="38246"/>
                            </a:cubicBezTo>
                            <a:lnTo>
                              <a:pt x="0" y="6596"/>
                            </a:lnTo>
                            <a:cubicBezTo>
                              <a:pt x="0" y="2955"/>
                              <a:pt x="2955" y="0"/>
                              <a:pt x="6596" y="0"/>
                            </a:cubicBezTo>
                            <a:cubicBezTo>
                              <a:pt x="10236" y="0"/>
                              <a:pt x="13191" y="2955"/>
                              <a:pt x="13191" y="6596"/>
                            </a:cubicBezTo>
                            <a:lnTo>
                              <a:pt x="13191" y="38246"/>
                            </a:lnTo>
                            <a:cubicBezTo>
                              <a:pt x="13191" y="44606"/>
                              <a:pt x="36383" y="56984"/>
                              <a:pt x="78870" y="56984"/>
                            </a:cubicBezTo>
                            <a:cubicBezTo>
                              <a:pt x="121378" y="56984"/>
                              <a:pt x="144548" y="44606"/>
                              <a:pt x="144548" y="38246"/>
                            </a:cubicBezTo>
                            <a:lnTo>
                              <a:pt x="144548" y="6596"/>
                            </a:lnTo>
                            <a:cubicBezTo>
                              <a:pt x="144548" y="2955"/>
                              <a:pt x="147503" y="0"/>
                              <a:pt x="151144" y="0"/>
                            </a:cubicBezTo>
                            <a:cubicBezTo>
                              <a:pt x="154784" y="0"/>
                              <a:pt x="157739" y="2955"/>
                              <a:pt x="157739" y="6596"/>
                            </a:cubicBezTo>
                            <a:lnTo>
                              <a:pt x="157739" y="38246"/>
                            </a:lnTo>
                            <a:cubicBezTo>
                              <a:pt x="157739" y="59211"/>
                              <a:pt x="118058" y="70175"/>
                              <a:pt x="78870" y="70175"/>
                            </a:cubicBezTo>
                            <a:close/>
                          </a:path>
                        </a:pathLst>
                      </a:custGeom>
                      <a:solidFill>
                        <a:schemeClr val="accent1"/>
                      </a:solidFill>
                      <a:ln w="2139" cap="flat">
                        <a:noFill/>
                        <a:prstDash val="solid"/>
                        <a:miter/>
                      </a:ln>
                    </p:spPr>
                    <p:txBody>
                      <a:bodyPr rtlCol="0" anchor="ctr"/>
                      <a:lstStyle/>
                      <a:p>
                        <a:endParaRPr lang="en-GB" dirty="0"/>
                      </a:p>
                    </p:txBody>
                  </p:sp>
                </p:grpSp>
                <p:grpSp>
                  <p:nvGrpSpPr>
                    <p:cNvPr id="280" name="Grafik 319">
                      <a:extLst>
                        <a:ext uri="{FF2B5EF4-FFF2-40B4-BE49-F238E27FC236}">
                          <a16:creationId xmlns:a16="http://schemas.microsoft.com/office/drawing/2014/main" id="{10FA057F-6351-4F88-A5E1-61B462E2A6E7}"/>
                        </a:ext>
                      </a:extLst>
                    </p:cNvPr>
                    <p:cNvGrpSpPr/>
                    <p:nvPr/>
                  </p:nvGrpSpPr>
                  <p:grpSpPr>
                    <a:xfrm>
                      <a:off x="2785330" y="1842423"/>
                      <a:ext cx="157739" cy="95508"/>
                      <a:chOff x="2785330" y="1842423"/>
                      <a:chExt cx="157739" cy="95508"/>
                    </a:xfrm>
                    <a:solidFill>
                      <a:schemeClr val="accent1"/>
                    </a:solidFill>
                  </p:grpSpPr>
                  <p:sp>
                    <p:nvSpPr>
                      <p:cNvPr id="281" name="Freihandform: Form 661">
                        <a:extLst>
                          <a:ext uri="{FF2B5EF4-FFF2-40B4-BE49-F238E27FC236}">
                            <a16:creationId xmlns:a16="http://schemas.microsoft.com/office/drawing/2014/main" id="{AE2359DE-0DA9-4447-B4DB-5E5F9C7908AC}"/>
                          </a:ext>
                        </a:extLst>
                      </p:cNvPr>
                      <p:cNvSpPr/>
                      <p:nvPr/>
                    </p:nvSpPr>
                    <p:spPr>
                      <a:xfrm>
                        <a:off x="2785330" y="1842423"/>
                        <a:ext cx="157739" cy="63858"/>
                      </a:xfrm>
                      <a:custGeom>
                        <a:avLst/>
                        <a:gdLst>
                          <a:gd name="connsiteX0" fmla="*/ 78870 w 157739"/>
                          <a:gd name="connsiteY0" fmla="*/ 63858 h 63858"/>
                          <a:gd name="connsiteX1" fmla="*/ 0 w 157739"/>
                          <a:gd name="connsiteY1" fmla="*/ 31929 h 63858"/>
                          <a:gd name="connsiteX2" fmla="*/ 78870 w 157739"/>
                          <a:gd name="connsiteY2" fmla="*/ 0 h 63858"/>
                          <a:gd name="connsiteX3" fmla="*/ 157739 w 157739"/>
                          <a:gd name="connsiteY3" fmla="*/ 31929 h 63858"/>
                          <a:gd name="connsiteX4" fmla="*/ 78870 w 157739"/>
                          <a:gd name="connsiteY4" fmla="*/ 63858 h 63858"/>
                          <a:gd name="connsiteX5" fmla="*/ 78870 w 157739"/>
                          <a:gd name="connsiteY5" fmla="*/ 13191 h 63858"/>
                          <a:gd name="connsiteX6" fmla="*/ 13191 w 157739"/>
                          <a:gd name="connsiteY6" fmla="*/ 31929 h 63858"/>
                          <a:gd name="connsiteX7" fmla="*/ 78870 w 157739"/>
                          <a:gd name="connsiteY7" fmla="*/ 50667 h 63858"/>
                          <a:gd name="connsiteX8" fmla="*/ 144548 w 157739"/>
                          <a:gd name="connsiteY8" fmla="*/ 31929 h 63858"/>
                          <a:gd name="connsiteX9" fmla="*/ 78870 w 157739"/>
                          <a:gd name="connsiteY9" fmla="*/ 13191 h 6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739" h="63858">
                            <a:moveTo>
                              <a:pt x="78870" y="63858"/>
                            </a:moveTo>
                            <a:cubicBezTo>
                              <a:pt x="39681" y="63858"/>
                              <a:pt x="0" y="52894"/>
                              <a:pt x="0" y="31929"/>
                            </a:cubicBezTo>
                            <a:cubicBezTo>
                              <a:pt x="0" y="10964"/>
                              <a:pt x="39681" y="0"/>
                              <a:pt x="78870" y="0"/>
                            </a:cubicBezTo>
                            <a:cubicBezTo>
                              <a:pt x="118058" y="0"/>
                              <a:pt x="157739" y="10964"/>
                              <a:pt x="157739" y="31929"/>
                            </a:cubicBezTo>
                            <a:cubicBezTo>
                              <a:pt x="157739" y="52894"/>
                              <a:pt x="118058" y="63858"/>
                              <a:pt x="78870" y="63858"/>
                            </a:cubicBezTo>
                            <a:close/>
                            <a:moveTo>
                              <a:pt x="78870" y="13191"/>
                            </a:moveTo>
                            <a:cubicBezTo>
                              <a:pt x="36362" y="13191"/>
                              <a:pt x="13191" y="25569"/>
                              <a:pt x="13191" y="31929"/>
                            </a:cubicBezTo>
                            <a:cubicBezTo>
                              <a:pt x="13191" y="38289"/>
                              <a:pt x="36383" y="50667"/>
                              <a:pt x="78870" y="50667"/>
                            </a:cubicBezTo>
                            <a:cubicBezTo>
                              <a:pt x="121378" y="50667"/>
                              <a:pt x="144548" y="38289"/>
                              <a:pt x="144548" y="31929"/>
                            </a:cubicBezTo>
                            <a:cubicBezTo>
                              <a:pt x="144548" y="25569"/>
                              <a:pt x="121378" y="13191"/>
                              <a:pt x="78870" y="13191"/>
                            </a:cubicBezTo>
                            <a:close/>
                          </a:path>
                        </a:pathLst>
                      </a:custGeom>
                      <a:solidFill>
                        <a:schemeClr val="accent1"/>
                      </a:solidFill>
                      <a:ln w="2139" cap="flat">
                        <a:noFill/>
                        <a:prstDash val="solid"/>
                        <a:miter/>
                      </a:ln>
                    </p:spPr>
                    <p:txBody>
                      <a:bodyPr rtlCol="0" anchor="ctr"/>
                      <a:lstStyle/>
                      <a:p>
                        <a:endParaRPr lang="en-GB" dirty="0"/>
                      </a:p>
                    </p:txBody>
                  </p:sp>
                  <p:sp>
                    <p:nvSpPr>
                      <p:cNvPr id="282" name="Freihandform: Form 662">
                        <a:extLst>
                          <a:ext uri="{FF2B5EF4-FFF2-40B4-BE49-F238E27FC236}">
                            <a16:creationId xmlns:a16="http://schemas.microsoft.com/office/drawing/2014/main" id="{8FB53A3A-59EF-4878-9D89-60A093C6D38A}"/>
                          </a:ext>
                        </a:extLst>
                      </p:cNvPr>
                      <p:cNvSpPr/>
                      <p:nvPr/>
                    </p:nvSpPr>
                    <p:spPr>
                      <a:xfrm>
                        <a:off x="2785330" y="1867757"/>
                        <a:ext cx="157739" cy="70175"/>
                      </a:xfrm>
                      <a:custGeom>
                        <a:avLst/>
                        <a:gdLst>
                          <a:gd name="connsiteX0" fmla="*/ 78870 w 157739"/>
                          <a:gd name="connsiteY0" fmla="*/ 70175 h 70175"/>
                          <a:gd name="connsiteX1" fmla="*/ 0 w 157739"/>
                          <a:gd name="connsiteY1" fmla="*/ 38246 h 70175"/>
                          <a:gd name="connsiteX2" fmla="*/ 0 w 157739"/>
                          <a:gd name="connsiteY2" fmla="*/ 6596 h 70175"/>
                          <a:gd name="connsiteX3" fmla="*/ 6596 w 157739"/>
                          <a:gd name="connsiteY3" fmla="*/ 0 h 70175"/>
                          <a:gd name="connsiteX4" fmla="*/ 13191 w 157739"/>
                          <a:gd name="connsiteY4" fmla="*/ 6596 h 70175"/>
                          <a:gd name="connsiteX5" fmla="*/ 13191 w 157739"/>
                          <a:gd name="connsiteY5" fmla="*/ 38246 h 70175"/>
                          <a:gd name="connsiteX6" fmla="*/ 78870 w 157739"/>
                          <a:gd name="connsiteY6" fmla="*/ 56984 h 70175"/>
                          <a:gd name="connsiteX7" fmla="*/ 144548 w 157739"/>
                          <a:gd name="connsiteY7" fmla="*/ 38246 h 70175"/>
                          <a:gd name="connsiteX8" fmla="*/ 144548 w 157739"/>
                          <a:gd name="connsiteY8" fmla="*/ 6596 h 70175"/>
                          <a:gd name="connsiteX9" fmla="*/ 151144 w 157739"/>
                          <a:gd name="connsiteY9" fmla="*/ 0 h 70175"/>
                          <a:gd name="connsiteX10" fmla="*/ 157739 w 157739"/>
                          <a:gd name="connsiteY10" fmla="*/ 6596 h 70175"/>
                          <a:gd name="connsiteX11" fmla="*/ 157739 w 157739"/>
                          <a:gd name="connsiteY11" fmla="*/ 38246 h 70175"/>
                          <a:gd name="connsiteX12" fmla="*/ 78870 w 157739"/>
                          <a:gd name="connsiteY12" fmla="*/ 70175 h 70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739" h="70175">
                            <a:moveTo>
                              <a:pt x="78870" y="70175"/>
                            </a:moveTo>
                            <a:cubicBezTo>
                              <a:pt x="39681" y="70175"/>
                              <a:pt x="0" y="59211"/>
                              <a:pt x="0" y="38246"/>
                            </a:cubicBezTo>
                            <a:lnTo>
                              <a:pt x="0" y="6596"/>
                            </a:lnTo>
                            <a:cubicBezTo>
                              <a:pt x="0" y="2955"/>
                              <a:pt x="2955" y="0"/>
                              <a:pt x="6596" y="0"/>
                            </a:cubicBezTo>
                            <a:cubicBezTo>
                              <a:pt x="10236" y="0"/>
                              <a:pt x="13191" y="2955"/>
                              <a:pt x="13191" y="6596"/>
                            </a:cubicBezTo>
                            <a:lnTo>
                              <a:pt x="13191" y="38246"/>
                            </a:lnTo>
                            <a:cubicBezTo>
                              <a:pt x="13191" y="44606"/>
                              <a:pt x="36383" y="56984"/>
                              <a:pt x="78870" y="56984"/>
                            </a:cubicBezTo>
                            <a:cubicBezTo>
                              <a:pt x="121378" y="56984"/>
                              <a:pt x="144548" y="44606"/>
                              <a:pt x="144548" y="38246"/>
                            </a:cubicBezTo>
                            <a:lnTo>
                              <a:pt x="144548" y="6596"/>
                            </a:lnTo>
                            <a:cubicBezTo>
                              <a:pt x="144548" y="2955"/>
                              <a:pt x="147503" y="0"/>
                              <a:pt x="151144" y="0"/>
                            </a:cubicBezTo>
                            <a:cubicBezTo>
                              <a:pt x="154784" y="0"/>
                              <a:pt x="157739" y="2955"/>
                              <a:pt x="157739" y="6596"/>
                            </a:cubicBezTo>
                            <a:lnTo>
                              <a:pt x="157739" y="38246"/>
                            </a:lnTo>
                            <a:cubicBezTo>
                              <a:pt x="157739" y="59211"/>
                              <a:pt x="118058" y="70175"/>
                              <a:pt x="78870" y="70175"/>
                            </a:cubicBezTo>
                            <a:close/>
                          </a:path>
                        </a:pathLst>
                      </a:custGeom>
                      <a:solidFill>
                        <a:schemeClr val="accent1"/>
                      </a:solidFill>
                      <a:ln w="2139" cap="flat">
                        <a:noFill/>
                        <a:prstDash val="solid"/>
                        <a:miter/>
                      </a:ln>
                    </p:spPr>
                    <p:txBody>
                      <a:bodyPr rtlCol="0" anchor="ctr"/>
                      <a:lstStyle/>
                      <a:p>
                        <a:endParaRPr lang="en-GB" dirty="0"/>
                      </a:p>
                    </p:txBody>
                  </p:sp>
                </p:grpSp>
              </p:grpSp>
            </p:grpSp>
          </p:grpSp>
          <p:sp>
            <p:nvSpPr>
              <p:cNvPr id="271" name="Freihandform: Form 663">
                <a:extLst>
                  <a:ext uri="{FF2B5EF4-FFF2-40B4-BE49-F238E27FC236}">
                    <a16:creationId xmlns:a16="http://schemas.microsoft.com/office/drawing/2014/main" id="{A23D92CF-3099-426B-84E7-9A006255A30A}"/>
                  </a:ext>
                </a:extLst>
              </p:cNvPr>
              <p:cNvSpPr/>
              <p:nvPr/>
            </p:nvSpPr>
            <p:spPr>
              <a:xfrm>
                <a:off x="2674038" y="1626758"/>
                <a:ext cx="145104" cy="145104"/>
              </a:xfrm>
              <a:custGeom>
                <a:avLst/>
                <a:gdLst>
                  <a:gd name="connsiteX0" fmla="*/ 72552 w 145104"/>
                  <a:gd name="connsiteY0" fmla="*/ 145105 h 145104"/>
                  <a:gd name="connsiteX1" fmla="*/ 0 w 145104"/>
                  <a:gd name="connsiteY1" fmla="*/ 72552 h 145104"/>
                  <a:gd name="connsiteX2" fmla="*/ 72552 w 145104"/>
                  <a:gd name="connsiteY2" fmla="*/ 0 h 145104"/>
                  <a:gd name="connsiteX3" fmla="*/ 145105 w 145104"/>
                  <a:gd name="connsiteY3" fmla="*/ 72552 h 145104"/>
                  <a:gd name="connsiteX4" fmla="*/ 72552 w 145104"/>
                  <a:gd name="connsiteY4" fmla="*/ 145105 h 145104"/>
                  <a:gd name="connsiteX5" fmla="*/ 72552 w 145104"/>
                  <a:gd name="connsiteY5" fmla="*/ 13191 h 145104"/>
                  <a:gd name="connsiteX6" fmla="*/ 13191 w 145104"/>
                  <a:gd name="connsiteY6" fmla="*/ 72552 h 145104"/>
                  <a:gd name="connsiteX7" fmla="*/ 72552 w 145104"/>
                  <a:gd name="connsiteY7" fmla="*/ 131914 h 145104"/>
                  <a:gd name="connsiteX8" fmla="*/ 131913 w 145104"/>
                  <a:gd name="connsiteY8" fmla="*/ 72552 h 145104"/>
                  <a:gd name="connsiteX9" fmla="*/ 72552 w 145104"/>
                  <a:gd name="connsiteY9" fmla="*/ 13191 h 14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104" h="145104">
                    <a:moveTo>
                      <a:pt x="72552" y="145105"/>
                    </a:moveTo>
                    <a:cubicBezTo>
                      <a:pt x="32550" y="145105"/>
                      <a:pt x="0" y="112555"/>
                      <a:pt x="0" y="72552"/>
                    </a:cubicBezTo>
                    <a:cubicBezTo>
                      <a:pt x="0" y="32550"/>
                      <a:pt x="32550" y="0"/>
                      <a:pt x="72552" y="0"/>
                    </a:cubicBezTo>
                    <a:cubicBezTo>
                      <a:pt x="112555" y="0"/>
                      <a:pt x="145105" y="32550"/>
                      <a:pt x="145105" y="72552"/>
                    </a:cubicBezTo>
                    <a:cubicBezTo>
                      <a:pt x="145105" y="112555"/>
                      <a:pt x="112576" y="145105"/>
                      <a:pt x="72552" y="145105"/>
                    </a:cubicBezTo>
                    <a:close/>
                    <a:moveTo>
                      <a:pt x="72552" y="13191"/>
                    </a:moveTo>
                    <a:cubicBezTo>
                      <a:pt x="39810" y="13191"/>
                      <a:pt x="13191" y="39831"/>
                      <a:pt x="13191" y="72552"/>
                    </a:cubicBezTo>
                    <a:cubicBezTo>
                      <a:pt x="13191" y="105274"/>
                      <a:pt x="39810" y="131914"/>
                      <a:pt x="72552" y="131914"/>
                    </a:cubicBezTo>
                    <a:cubicBezTo>
                      <a:pt x="105295" y="131914"/>
                      <a:pt x="131913" y="105274"/>
                      <a:pt x="131913" y="72552"/>
                    </a:cubicBezTo>
                    <a:cubicBezTo>
                      <a:pt x="131913" y="39831"/>
                      <a:pt x="105295" y="13191"/>
                      <a:pt x="72552" y="13191"/>
                    </a:cubicBezTo>
                    <a:close/>
                  </a:path>
                </a:pathLst>
              </a:custGeom>
              <a:solidFill>
                <a:schemeClr val="accent1"/>
              </a:solidFill>
              <a:ln w="2139" cap="flat">
                <a:noFill/>
                <a:prstDash val="solid"/>
                <a:miter/>
              </a:ln>
            </p:spPr>
            <p:txBody>
              <a:bodyPr rtlCol="0" anchor="ctr"/>
              <a:lstStyle/>
              <a:p>
                <a:endParaRPr lang="en-GB" dirty="0"/>
              </a:p>
            </p:txBody>
          </p:sp>
          <p:sp>
            <p:nvSpPr>
              <p:cNvPr id="272" name="Freihandform: Form 664">
                <a:extLst>
                  <a:ext uri="{FF2B5EF4-FFF2-40B4-BE49-F238E27FC236}">
                    <a16:creationId xmlns:a16="http://schemas.microsoft.com/office/drawing/2014/main" id="{640D9BD7-1697-4DEC-85D3-605EC4621179}"/>
                  </a:ext>
                </a:extLst>
              </p:cNvPr>
              <p:cNvSpPr/>
              <p:nvPr/>
            </p:nvSpPr>
            <p:spPr>
              <a:xfrm>
                <a:off x="2764035" y="1661260"/>
                <a:ext cx="19587" cy="19354"/>
              </a:xfrm>
              <a:custGeom>
                <a:avLst/>
                <a:gdLst>
                  <a:gd name="connsiteX0" fmla="*/ 13007 w 19587"/>
                  <a:gd name="connsiteY0" fmla="*/ 19355 h 19354"/>
                  <a:gd name="connsiteX1" fmla="*/ 7932 w 19587"/>
                  <a:gd name="connsiteY1" fmla="*/ 16978 h 19354"/>
                  <a:gd name="connsiteX2" fmla="*/ 2578 w 19587"/>
                  <a:gd name="connsiteY2" fmla="*/ 11838 h 19354"/>
                  <a:gd name="connsiteX3" fmla="*/ 1357 w 19587"/>
                  <a:gd name="connsiteY3" fmla="*/ 2587 h 19354"/>
                  <a:gd name="connsiteX4" fmla="*/ 10608 w 19587"/>
                  <a:gd name="connsiteY4" fmla="*/ 1367 h 19354"/>
                  <a:gd name="connsiteX5" fmla="*/ 18061 w 19587"/>
                  <a:gd name="connsiteY5" fmla="*/ 8540 h 19354"/>
                  <a:gd name="connsiteX6" fmla="*/ 17204 w 19587"/>
                  <a:gd name="connsiteY6" fmla="*/ 17834 h 19354"/>
                  <a:gd name="connsiteX7" fmla="*/ 13007 w 19587"/>
                  <a:gd name="connsiteY7" fmla="*/ 19355 h 19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87" h="19354">
                    <a:moveTo>
                      <a:pt x="13007" y="19355"/>
                    </a:moveTo>
                    <a:cubicBezTo>
                      <a:pt x="11122" y="19355"/>
                      <a:pt x="9238" y="18541"/>
                      <a:pt x="7932" y="16978"/>
                    </a:cubicBezTo>
                    <a:cubicBezTo>
                      <a:pt x="6347" y="15072"/>
                      <a:pt x="4548" y="13337"/>
                      <a:pt x="2578" y="11838"/>
                    </a:cubicBezTo>
                    <a:cubicBezTo>
                      <a:pt x="-313" y="9633"/>
                      <a:pt x="-848" y="5478"/>
                      <a:pt x="1357" y="2587"/>
                    </a:cubicBezTo>
                    <a:cubicBezTo>
                      <a:pt x="3563" y="-304"/>
                      <a:pt x="7718" y="-861"/>
                      <a:pt x="10608" y="1367"/>
                    </a:cubicBezTo>
                    <a:cubicBezTo>
                      <a:pt x="13350" y="3465"/>
                      <a:pt x="15855" y="5885"/>
                      <a:pt x="18061" y="8540"/>
                    </a:cubicBezTo>
                    <a:cubicBezTo>
                      <a:pt x="20395" y="11346"/>
                      <a:pt x="20009" y="15500"/>
                      <a:pt x="17204" y="17834"/>
                    </a:cubicBezTo>
                    <a:cubicBezTo>
                      <a:pt x="16005" y="18862"/>
                      <a:pt x="14506" y="19355"/>
                      <a:pt x="13007" y="19355"/>
                    </a:cubicBezTo>
                    <a:close/>
                  </a:path>
                </a:pathLst>
              </a:custGeom>
              <a:solidFill>
                <a:schemeClr val="accent1"/>
              </a:solidFill>
              <a:ln w="2139" cap="flat">
                <a:noFill/>
                <a:prstDash val="solid"/>
                <a:miter/>
              </a:ln>
            </p:spPr>
            <p:txBody>
              <a:bodyPr rtlCol="0" anchor="ctr"/>
              <a:lstStyle/>
              <a:p>
                <a:endParaRPr lang="en-GB" dirty="0"/>
              </a:p>
            </p:txBody>
          </p:sp>
          <p:sp>
            <p:nvSpPr>
              <p:cNvPr id="273" name="Freihandform: Form 665">
                <a:extLst>
                  <a:ext uri="{FF2B5EF4-FFF2-40B4-BE49-F238E27FC236}">
                    <a16:creationId xmlns:a16="http://schemas.microsoft.com/office/drawing/2014/main" id="{9F36E4F3-F461-49FE-AF38-0E92B9C7A713}"/>
                  </a:ext>
                </a:extLst>
              </p:cNvPr>
              <p:cNvSpPr/>
              <p:nvPr/>
            </p:nvSpPr>
            <p:spPr>
              <a:xfrm>
                <a:off x="2700421" y="1653140"/>
                <a:ext cx="92137" cy="92339"/>
              </a:xfrm>
              <a:custGeom>
                <a:avLst/>
                <a:gdLst>
                  <a:gd name="connsiteX0" fmla="*/ 46170 w 92137"/>
                  <a:gd name="connsiteY0" fmla="*/ 92339 h 92339"/>
                  <a:gd name="connsiteX1" fmla="*/ 0 w 92137"/>
                  <a:gd name="connsiteY1" fmla="*/ 46170 h 92339"/>
                  <a:gd name="connsiteX2" fmla="*/ 46170 w 92137"/>
                  <a:gd name="connsiteY2" fmla="*/ 0 h 92339"/>
                  <a:gd name="connsiteX3" fmla="*/ 52765 w 92137"/>
                  <a:gd name="connsiteY3" fmla="*/ 6596 h 92339"/>
                  <a:gd name="connsiteX4" fmla="*/ 46170 w 92137"/>
                  <a:gd name="connsiteY4" fmla="*/ 13191 h 92339"/>
                  <a:gd name="connsiteX5" fmla="*/ 13191 w 92137"/>
                  <a:gd name="connsiteY5" fmla="*/ 46170 h 92339"/>
                  <a:gd name="connsiteX6" fmla="*/ 46170 w 92137"/>
                  <a:gd name="connsiteY6" fmla="*/ 79148 h 92339"/>
                  <a:gd name="connsiteX7" fmla="*/ 78977 w 92137"/>
                  <a:gd name="connsiteY7" fmla="*/ 49553 h 92339"/>
                  <a:gd name="connsiteX8" fmla="*/ 86193 w 92137"/>
                  <a:gd name="connsiteY8" fmla="*/ 43643 h 92339"/>
                  <a:gd name="connsiteX9" fmla="*/ 92104 w 92137"/>
                  <a:gd name="connsiteY9" fmla="*/ 50860 h 92339"/>
                  <a:gd name="connsiteX10" fmla="*/ 46170 w 92137"/>
                  <a:gd name="connsiteY10" fmla="*/ 92339 h 92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137" h="92339">
                    <a:moveTo>
                      <a:pt x="46170" y="92339"/>
                    </a:moveTo>
                    <a:cubicBezTo>
                      <a:pt x="20708" y="92339"/>
                      <a:pt x="0" y="71632"/>
                      <a:pt x="0" y="46170"/>
                    </a:cubicBezTo>
                    <a:cubicBezTo>
                      <a:pt x="0" y="20708"/>
                      <a:pt x="20708" y="0"/>
                      <a:pt x="46170" y="0"/>
                    </a:cubicBezTo>
                    <a:cubicBezTo>
                      <a:pt x="49810" y="0"/>
                      <a:pt x="52765" y="2955"/>
                      <a:pt x="52765" y="6596"/>
                    </a:cubicBezTo>
                    <a:cubicBezTo>
                      <a:pt x="52765" y="10236"/>
                      <a:pt x="49810" y="13191"/>
                      <a:pt x="46170" y="13191"/>
                    </a:cubicBezTo>
                    <a:cubicBezTo>
                      <a:pt x="27989" y="13191"/>
                      <a:pt x="13191" y="27989"/>
                      <a:pt x="13191" y="46170"/>
                    </a:cubicBezTo>
                    <a:cubicBezTo>
                      <a:pt x="13191" y="64351"/>
                      <a:pt x="27989" y="79148"/>
                      <a:pt x="46170" y="79148"/>
                    </a:cubicBezTo>
                    <a:cubicBezTo>
                      <a:pt x="63151" y="79148"/>
                      <a:pt x="77264" y="66428"/>
                      <a:pt x="78977" y="49553"/>
                    </a:cubicBezTo>
                    <a:cubicBezTo>
                      <a:pt x="79341" y="45934"/>
                      <a:pt x="82574" y="43343"/>
                      <a:pt x="86193" y="43643"/>
                    </a:cubicBezTo>
                    <a:cubicBezTo>
                      <a:pt x="89813" y="44007"/>
                      <a:pt x="92468" y="47240"/>
                      <a:pt x="92104" y="50860"/>
                    </a:cubicBezTo>
                    <a:cubicBezTo>
                      <a:pt x="89706" y="74523"/>
                      <a:pt x="69961" y="92339"/>
                      <a:pt x="46170" y="92339"/>
                    </a:cubicBezTo>
                    <a:close/>
                  </a:path>
                </a:pathLst>
              </a:custGeom>
              <a:solidFill>
                <a:schemeClr val="accent1"/>
              </a:solidFill>
              <a:ln w="2139" cap="flat">
                <a:noFill/>
                <a:prstDash val="solid"/>
                <a:miter/>
              </a:ln>
            </p:spPr>
            <p:txBody>
              <a:bodyPr rtlCol="0" anchor="ctr"/>
              <a:lstStyle/>
              <a:p>
                <a:endParaRPr lang="en-GB" dirty="0"/>
              </a:p>
            </p:txBody>
          </p:sp>
        </p:grpSp>
      </p:grpSp>
      <p:grpSp>
        <p:nvGrpSpPr>
          <p:cNvPr id="226" name="Group 225">
            <a:extLst>
              <a:ext uri="{FF2B5EF4-FFF2-40B4-BE49-F238E27FC236}">
                <a16:creationId xmlns:a16="http://schemas.microsoft.com/office/drawing/2014/main" id="{D99A7EEC-29BB-233C-EA06-F1287DE0B582}"/>
              </a:ext>
            </a:extLst>
          </p:cNvPr>
          <p:cNvGrpSpPr/>
          <p:nvPr/>
        </p:nvGrpSpPr>
        <p:grpSpPr>
          <a:xfrm>
            <a:off x="2671939" y="3197068"/>
            <a:ext cx="425958" cy="432000"/>
            <a:chOff x="2671939" y="3197068"/>
            <a:chExt cx="425958" cy="432000"/>
          </a:xfrm>
        </p:grpSpPr>
        <p:grpSp>
          <p:nvGrpSpPr>
            <p:cNvPr id="306" name="Grafik 319">
              <a:extLst>
                <a:ext uri="{FF2B5EF4-FFF2-40B4-BE49-F238E27FC236}">
                  <a16:creationId xmlns:a16="http://schemas.microsoft.com/office/drawing/2014/main" id="{ADB5ED4E-34BB-40BB-BCB4-534D357A9F3F}"/>
                </a:ext>
              </a:extLst>
            </p:cNvPr>
            <p:cNvGrpSpPr/>
            <p:nvPr/>
          </p:nvGrpSpPr>
          <p:grpSpPr>
            <a:xfrm>
              <a:off x="2671939" y="3314245"/>
              <a:ext cx="233552" cy="314823"/>
              <a:chOff x="1705930" y="2563536"/>
              <a:chExt cx="249543" cy="336379"/>
            </a:xfrm>
            <a:solidFill>
              <a:schemeClr val="tx2"/>
            </a:solidFill>
          </p:grpSpPr>
          <p:sp>
            <p:nvSpPr>
              <p:cNvPr id="319" name="Freihandform: Form 345">
                <a:extLst>
                  <a:ext uri="{FF2B5EF4-FFF2-40B4-BE49-F238E27FC236}">
                    <a16:creationId xmlns:a16="http://schemas.microsoft.com/office/drawing/2014/main" id="{78BE5A77-11EE-4CCC-BA31-B7370DC002FF}"/>
                  </a:ext>
                </a:extLst>
              </p:cNvPr>
              <p:cNvSpPr/>
              <p:nvPr/>
            </p:nvSpPr>
            <p:spPr>
              <a:xfrm>
                <a:off x="1705930" y="2682258"/>
                <a:ext cx="249543" cy="158296"/>
              </a:xfrm>
              <a:custGeom>
                <a:avLst/>
                <a:gdLst>
                  <a:gd name="connsiteX0" fmla="*/ 100820 w 249543"/>
                  <a:gd name="connsiteY0" fmla="*/ 158296 h 158296"/>
                  <a:gd name="connsiteX1" fmla="*/ 26383 w 249543"/>
                  <a:gd name="connsiteY1" fmla="*/ 158296 h 158296"/>
                  <a:gd name="connsiteX2" fmla="*/ 0 w 249543"/>
                  <a:gd name="connsiteY2" fmla="*/ 131913 h 158296"/>
                  <a:gd name="connsiteX3" fmla="*/ 0 w 249543"/>
                  <a:gd name="connsiteY3" fmla="*/ 85744 h 158296"/>
                  <a:gd name="connsiteX4" fmla="*/ 85744 w 249543"/>
                  <a:gd name="connsiteY4" fmla="*/ 0 h 158296"/>
                  <a:gd name="connsiteX5" fmla="*/ 242948 w 249543"/>
                  <a:gd name="connsiteY5" fmla="*/ 0 h 158296"/>
                  <a:gd name="connsiteX6" fmla="*/ 249544 w 249543"/>
                  <a:gd name="connsiteY6" fmla="*/ 6596 h 158296"/>
                  <a:gd name="connsiteX7" fmla="*/ 242948 w 249543"/>
                  <a:gd name="connsiteY7" fmla="*/ 13191 h 158296"/>
                  <a:gd name="connsiteX8" fmla="*/ 85744 w 249543"/>
                  <a:gd name="connsiteY8" fmla="*/ 13191 h 158296"/>
                  <a:gd name="connsiteX9" fmla="*/ 13191 w 249543"/>
                  <a:gd name="connsiteY9" fmla="*/ 85744 h 158296"/>
                  <a:gd name="connsiteX10" fmla="*/ 13191 w 249543"/>
                  <a:gd name="connsiteY10" fmla="*/ 131913 h 158296"/>
                  <a:gd name="connsiteX11" fmla="*/ 26383 w 249543"/>
                  <a:gd name="connsiteY11" fmla="*/ 145105 h 158296"/>
                  <a:gd name="connsiteX12" fmla="*/ 100820 w 249543"/>
                  <a:gd name="connsiteY12" fmla="*/ 145105 h 158296"/>
                  <a:gd name="connsiteX13" fmla="*/ 112126 w 249543"/>
                  <a:gd name="connsiteY13" fmla="*/ 133798 h 158296"/>
                  <a:gd name="connsiteX14" fmla="*/ 112126 w 249543"/>
                  <a:gd name="connsiteY14" fmla="*/ 130029 h 158296"/>
                  <a:gd name="connsiteX15" fmla="*/ 100820 w 249543"/>
                  <a:gd name="connsiteY15" fmla="*/ 118722 h 158296"/>
                  <a:gd name="connsiteX16" fmla="*/ 39574 w 249543"/>
                  <a:gd name="connsiteY16" fmla="*/ 118722 h 158296"/>
                  <a:gd name="connsiteX17" fmla="*/ 39574 w 249543"/>
                  <a:gd name="connsiteY17" fmla="*/ 85744 h 158296"/>
                  <a:gd name="connsiteX18" fmla="*/ 46170 w 249543"/>
                  <a:gd name="connsiteY18" fmla="*/ 79148 h 158296"/>
                  <a:gd name="connsiteX19" fmla="*/ 52765 w 249543"/>
                  <a:gd name="connsiteY19" fmla="*/ 85744 h 158296"/>
                  <a:gd name="connsiteX20" fmla="*/ 52765 w 249543"/>
                  <a:gd name="connsiteY20" fmla="*/ 105531 h 158296"/>
                  <a:gd name="connsiteX21" fmla="*/ 100820 w 249543"/>
                  <a:gd name="connsiteY21" fmla="*/ 105531 h 158296"/>
                  <a:gd name="connsiteX22" fmla="*/ 125318 w 249543"/>
                  <a:gd name="connsiteY22" fmla="*/ 130029 h 158296"/>
                  <a:gd name="connsiteX23" fmla="*/ 125318 w 249543"/>
                  <a:gd name="connsiteY23" fmla="*/ 133798 h 158296"/>
                  <a:gd name="connsiteX24" fmla="*/ 100820 w 249543"/>
                  <a:gd name="connsiteY24" fmla="*/ 158296 h 158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49543" h="158296">
                    <a:moveTo>
                      <a:pt x="100820" y="158296"/>
                    </a:moveTo>
                    <a:lnTo>
                      <a:pt x="26383" y="158296"/>
                    </a:lnTo>
                    <a:cubicBezTo>
                      <a:pt x="11842" y="158296"/>
                      <a:pt x="0" y="146454"/>
                      <a:pt x="0" y="131913"/>
                    </a:cubicBezTo>
                    <a:lnTo>
                      <a:pt x="0" y="85744"/>
                    </a:lnTo>
                    <a:cubicBezTo>
                      <a:pt x="0" y="38460"/>
                      <a:pt x="38460" y="0"/>
                      <a:pt x="85744" y="0"/>
                    </a:cubicBezTo>
                    <a:lnTo>
                      <a:pt x="242948" y="0"/>
                    </a:lnTo>
                    <a:cubicBezTo>
                      <a:pt x="246588" y="0"/>
                      <a:pt x="249544" y="2955"/>
                      <a:pt x="249544" y="6596"/>
                    </a:cubicBezTo>
                    <a:cubicBezTo>
                      <a:pt x="249544" y="10236"/>
                      <a:pt x="246588" y="13191"/>
                      <a:pt x="242948" y="13191"/>
                    </a:cubicBezTo>
                    <a:lnTo>
                      <a:pt x="85744" y="13191"/>
                    </a:lnTo>
                    <a:cubicBezTo>
                      <a:pt x="45741" y="13191"/>
                      <a:pt x="13191" y="45741"/>
                      <a:pt x="13191" y="85744"/>
                    </a:cubicBezTo>
                    <a:lnTo>
                      <a:pt x="13191" y="131913"/>
                    </a:lnTo>
                    <a:cubicBezTo>
                      <a:pt x="13191" y="139194"/>
                      <a:pt x="19102" y="145105"/>
                      <a:pt x="26383" y="145105"/>
                    </a:cubicBezTo>
                    <a:lnTo>
                      <a:pt x="100820" y="145105"/>
                    </a:lnTo>
                    <a:cubicBezTo>
                      <a:pt x="107051" y="145105"/>
                      <a:pt x="112126" y="140030"/>
                      <a:pt x="112126" y="133798"/>
                    </a:cubicBezTo>
                    <a:lnTo>
                      <a:pt x="112126" y="130029"/>
                    </a:lnTo>
                    <a:cubicBezTo>
                      <a:pt x="112126" y="123797"/>
                      <a:pt x="107051" y="118722"/>
                      <a:pt x="100820" y="118722"/>
                    </a:cubicBezTo>
                    <a:lnTo>
                      <a:pt x="39574" y="118722"/>
                    </a:lnTo>
                    <a:lnTo>
                      <a:pt x="39574" y="85744"/>
                    </a:lnTo>
                    <a:cubicBezTo>
                      <a:pt x="39574" y="82103"/>
                      <a:pt x="42529" y="79148"/>
                      <a:pt x="46170" y="79148"/>
                    </a:cubicBezTo>
                    <a:cubicBezTo>
                      <a:pt x="49810" y="79148"/>
                      <a:pt x="52765" y="82103"/>
                      <a:pt x="52765" y="85744"/>
                    </a:cubicBezTo>
                    <a:lnTo>
                      <a:pt x="52765" y="105531"/>
                    </a:lnTo>
                    <a:lnTo>
                      <a:pt x="100820" y="105531"/>
                    </a:lnTo>
                    <a:cubicBezTo>
                      <a:pt x="114332" y="105531"/>
                      <a:pt x="125318" y="116516"/>
                      <a:pt x="125318" y="130029"/>
                    </a:cubicBezTo>
                    <a:lnTo>
                      <a:pt x="125318" y="133798"/>
                    </a:lnTo>
                    <a:cubicBezTo>
                      <a:pt x="125318" y="147311"/>
                      <a:pt x="114332" y="158296"/>
                      <a:pt x="100820" y="158296"/>
                    </a:cubicBezTo>
                    <a:close/>
                  </a:path>
                </a:pathLst>
              </a:custGeom>
              <a:grpFill/>
              <a:ln w="2139" cap="flat">
                <a:noFill/>
                <a:prstDash val="solid"/>
                <a:miter/>
              </a:ln>
            </p:spPr>
            <p:txBody>
              <a:bodyPr rtlCol="0" anchor="ctr"/>
              <a:lstStyle/>
              <a:p>
                <a:endParaRPr lang="en-GB" dirty="0"/>
              </a:p>
            </p:txBody>
          </p:sp>
          <p:sp>
            <p:nvSpPr>
              <p:cNvPr id="320" name="Freihandform: Form 346">
                <a:extLst>
                  <a:ext uri="{FF2B5EF4-FFF2-40B4-BE49-F238E27FC236}">
                    <a16:creationId xmlns:a16="http://schemas.microsoft.com/office/drawing/2014/main" id="{4C966A71-49BC-4BEC-8B86-C7A25EC0CE31}"/>
                  </a:ext>
                </a:extLst>
              </p:cNvPr>
              <p:cNvSpPr/>
              <p:nvPr/>
            </p:nvSpPr>
            <p:spPr>
              <a:xfrm>
                <a:off x="1745504" y="2827363"/>
                <a:ext cx="13191" cy="72552"/>
              </a:xfrm>
              <a:custGeom>
                <a:avLst/>
                <a:gdLst>
                  <a:gd name="connsiteX0" fmla="*/ 6596 w 13191"/>
                  <a:gd name="connsiteY0" fmla="*/ 72552 h 72552"/>
                  <a:gd name="connsiteX1" fmla="*/ 0 w 13191"/>
                  <a:gd name="connsiteY1" fmla="*/ 65957 h 72552"/>
                  <a:gd name="connsiteX2" fmla="*/ 0 w 13191"/>
                  <a:gd name="connsiteY2" fmla="*/ 6596 h 72552"/>
                  <a:gd name="connsiteX3" fmla="*/ 6596 w 13191"/>
                  <a:gd name="connsiteY3" fmla="*/ 0 h 72552"/>
                  <a:gd name="connsiteX4" fmla="*/ 13191 w 13191"/>
                  <a:gd name="connsiteY4" fmla="*/ 6596 h 72552"/>
                  <a:gd name="connsiteX5" fmla="*/ 13191 w 13191"/>
                  <a:gd name="connsiteY5" fmla="*/ 65957 h 72552"/>
                  <a:gd name="connsiteX6" fmla="*/ 6596 w 13191"/>
                  <a:gd name="connsiteY6" fmla="*/ 72552 h 7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1" h="72552">
                    <a:moveTo>
                      <a:pt x="6596" y="72552"/>
                    </a:moveTo>
                    <a:cubicBezTo>
                      <a:pt x="2955" y="72552"/>
                      <a:pt x="0" y="69597"/>
                      <a:pt x="0" y="65957"/>
                    </a:cubicBezTo>
                    <a:lnTo>
                      <a:pt x="0" y="6596"/>
                    </a:lnTo>
                    <a:cubicBezTo>
                      <a:pt x="0" y="2955"/>
                      <a:pt x="2955" y="0"/>
                      <a:pt x="6596" y="0"/>
                    </a:cubicBezTo>
                    <a:cubicBezTo>
                      <a:pt x="10236" y="0"/>
                      <a:pt x="13191" y="2955"/>
                      <a:pt x="13191" y="6596"/>
                    </a:cubicBezTo>
                    <a:lnTo>
                      <a:pt x="13191" y="65957"/>
                    </a:lnTo>
                    <a:cubicBezTo>
                      <a:pt x="13191" y="69597"/>
                      <a:pt x="10236" y="72552"/>
                      <a:pt x="6596" y="72552"/>
                    </a:cubicBezTo>
                    <a:close/>
                  </a:path>
                </a:pathLst>
              </a:custGeom>
              <a:grpFill/>
              <a:ln w="2139" cap="flat">
                <a:noFill/>
                <a:prstDash val="solid"/>
                <a:miter/>
              </a:ln>
            </p:spPr>
            <p:txBody>
              <a:bodyPr rtlCol="0" anchor="ctr"/>
              <a:lstStyle/>
              <a:p>
                <a:endParaRPr lang="en-GB" dirty="0"/>
              </a:p>
            </p:txBody>
          </p:sp>
          <p:sp>
            <p:nvSpPr>
              <p:cNvPr id="321" name="Freihandform: Form 347">
                <a:extLst>
                  <a:ext uri="{FF2B5EF4-FFF2-40B4-BE49-F238E27FC236}">
                    <a16:creationId xmlns:a16="http://schemas.microsoft.com/office/drawing/2014/main" id="{B223C7BC-A4D0-4A5D-A04C-59A027F42470}"/>
                  </a:ext>
                </a:extLst>
              </p:cNvPr>
              <p:cNvSpPr/>
              <p:nvPr/>
            </p:nvSpPr>
            <p:spPr>
              <a:xfrm>
                <a:off x="1864226" y="2732274"/>
                <a:ext cx="40678" cy="167641"/>
              </a:xfrm>
              <a:custGeom>
                <a:avLst/>
                <a:gdLst>
                  <a:gd name="connsiteX0" fmla="*/ 6596 w 40678"/>
                  <a:gd name="connsiteY0" fmla="*/ 167642 h 167641"/>
                  <a:gd name="connsiteX1" fmla="*/ 0 w 40678"/>
                  <a:gd name="connsiteY1" fmla="*/ 161046 h 167641"/>
                  <a:gd name="connsiteX2" fmla="*/ 0 w 40678"/>
                  <a:gd name="connsiteY2" fmla="*/ 3371 h 167641"/>
                  <a:gd name="connsiteX3" fmla="*/ 33428 w 40678"/>
                  <a:gd name="connsiteY3" fmla="*/ 30 h 167641"/>
                  <a:gd name="connsiteX4" fmla="*/ 40645 w 40678"/>
                  <a:gd name="connsiteY4" fmla="*/ 5940 h 167641"/>
                  <a:gd name="connsiteX5" fmla="*/ 34734 w 40678"/>
                  <a:gd name="connsiteY5" fmla="*/ 13157 h 167641"/>
                  <a:gd name="connsiteX6" fmla="*/ 13191 w 40678"/>
                  <a:gd name="connsiteY6" fmla="*/ 15299 h 167641"/>
                  <a:gd name="connsiteX7" fmla="*/ 13191 w 40678"/>
                  <a:gd name="connsiteY7" fmla="*/ 161024 h 167641"/>
                  <a:gd name="connsiteX8" fmla="*/ 6596 w 40678"/>
                  <a:gd name="connsiteY8" fmla="*/ 167642 h 16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678" h="167641">
                    <a:moveTo>
                      <a:pt x="6596" y="167642"/>
                    </a:moveTo>
                    <a:cubicBezTo>
                      <a:pt x="2955" y="167642"/>
                      <a:pt x="0" y="164686"/>
                      <a:pt x="0" y="161046"/>
                    </a:cubicBezTo>
                    <a:lnTo>
                      <a:pt x="0" y="3371"/>
                    </a:lnTo>
                    <a:lnTo>
                      <a:pt x="33428" y="30"/>
                    </a:lnTo>
                    <a:cubicBezTo>
                      <a:pt x="37047" y="-313"/>
                      <a:pt x="40281" y="2321"/>
                      <a:pt x="40645" y="5940"/>
                    </a:cubicBezTo>
                    <a:cubicBezTo>
                      <a:pt x="41009" y="9559"/>
                      <a:pt x="38353" y="12793"/>
                      <a:pt x="34734" y="13157"/>
                    </a:cubicBezTo>
                    <a:lnTo>
                      <a:pt x="13191" y="15299"/>
                    </a:lnTo>
                    <a:lnTo>
                      <a:pt x="13191" y="161024"/>
                    </a:lnTo>
                    <a:cubicBezTo>
                      <a:pt x="13191" y="164686"/>
                      <a:pt x="10236" y="167642"/>
                      <a:pt x="6596" y="167642"/>
                    </a:cubicBezTo>
                    <a:close/>
                  </a:path>
                </a:pathLst>
              </a:custGeom>
              <a:grpFill/>
              <a:ln w="2139" cap="flat">
                <a:noFill/>
                <a:prstDash val="solid"/>
                <a:miter/>
              </a:ln>
            </p:spPr>
            <p:txBody>
              <a:bodyPr rtlCol="0" anchor="ctr"/>
              <a:lstStyle/>
              <a:p>
                <a:endParaRPr lang="en-GB" dirty="0"/>
              </a:p>
            </p:txBody>
          </p:sp>
          <p:sp>
            <p:nvSpPr>
              <p:cNvPr id="322" name="Freihandform: Form 348">
                <a:extLst>
                  <a:ext uri="{FF2B5EF4-FFF2-40B4-BE49-F238E27FC236}">
                    <a16:creationId xmlns:a16="http://schemas.microsoft.com/office/drawing/2014/main" id="{6C2CD83B-E630-46E1-BA41-85F546ECA30C}"/>
                  </a:ext>
                </a:extLst>
              </p:cNvPr>
              <p:cNvSpPr/>
              <p:nvPr/>
            </p:nvSpPr>
            <p:spPr>
              <a:xfrm>
                <a:off x="1765291" y="2563536"/>
                <a:ext cx="92339" cy="105530"/>
              </a:xfrm>
              <a:custGeom>
                <a:avLst/>
                <a:gdLst>
                  <a:gd name="connsiteX0" fmla="*/ 46170 w 92339"/>
                  <a:gd name="connsiteY0" fmla="*/ 105531 h 105530"/>
                  <a:gd name="connsiteX1" fmla="*/ 0 w 92339"/>
                  <a:gd name="connsiteY1" fmla="*/ 52765 h 105530"/>
                  <a:gd name="connsiteX2" fmla="*/ 46170 w 92339"/>
                  <a:gd name="connsiteY2" fmla="*/ 0 h 105530"/>
                  <a:gd name="connsiteX3" fmla="*/ 92339 w 92339"/>
                  <a:gd name="connsiteY3" fmla="*/ 52765 h 105530"/>
                  <a:gd name="connsiteX4" fmla="*/ 46170 w 92339"/>
                  <a:gd name="connsiteY4" fmla="*/ 105531 h 105530"/>
                  <a:gd name="connsiteX5" fmla="*/ 46170 w 92339"/>
                  <a:gd name="connsiteY5" fmla="*/ 13191 h 105530"/>
                  <a:gd name="connsiteX6" fmla="*/ 13191 w 92339"/>
                  <a:gd name="connsiteY6" fmla="*/ 52765 h 105530"/>
                  <a:gd name="connsiteX7" fmla="*/ 46170 w 92339"/>
                  <a:gd name="connsiteY7" fmla="*/ 92339 h 105530"/>
                  <a:gd name="connsiteX8" fmla="*/ 79148 w 92339"/>
                  <a:gd name="connsiteY8" fmla="*/ 52765 h 105530"/>
                  <a:gd name="connsiteX9" fmla="*/ 46170 w 92339"/>
                  <a:gd name="connsiteY9" fmla="*/ 13191 h 105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339" h="105530">
                    <a:moveTo>
                      <a:pt x="46170" y="105531"/>
                    </a:moveTo>
                    <a:cubicBezTo>
                      <a:pt x="18545" y="105531"/>
                      <a:pt x="0" y="84330"/>
                      <a:pt x="0" y="52765"/>
                    </a:cubicBezTo>
                    <a:cubicBezTo>
                      <a:pt x="0" y="21200"/>
                      <a:pt x="18545" y="0"/>
                      <a:pt x="46170" y="0"/>
                    </a:cubicBezTo>
                    <a:cubicBezTo>
                      <a:pt x="73794" y="0"/>
                      <a:pt x="92339" y="21200"/>
                      <a:pt x="92339" y="52765"/>
                    </a:cubicBezTo>
                    <a:cubicBezTo>
                      <a:pt x="92339" y="84330"/>
                      <a:pt x="73794" y="105531"/>
                      <a:pt x="46170" y="105531"/>
                    </a:cubicBezTo>
                    <a:close/>
                    <a:moveTo>
                      <a:pt x="46170" y="13191"/>
                    </a:moveTo>
                    <a:cubicBezTo>
                      <a:pt x="21821" y="13191"/>
                      <a:pt x="13191" y="34499"/>
                      <a:pt x="13191" y="52765"/>
                    </a:cubicBezTo>
                    <a:cubicBezTo>
                      <a:pt x="13191" y="71032"/>
                      <a:pt x="21821" y="92339"/>
                      <a:pt x="46170" y="92339"/>
                    </a:cubicBezTo>
                    <a:cubicBezTo>
                      <a:pt x="70518" y="92339"/>
                      <a:pt x="79148" y="71032"/>
                      <a:pt x="79148" y="52765"/>
                    </a:cubicBezTo>
                    <a:cubicBezTo>
                      <a:pt x="79148" y="34499"/>
                      <a:pt x="70518" y="13191"/>
                      <a:pt x="46170" y="13191"/>
                    </a:cubicBezTo>
                    <a:close/>
                  </a:path>
                </a:pathLst>
              </a:custGeom>
              <a:grpFill/>
              <a:ln w="2139" cap="flat">
                <a:noFill/>
                <a:prstDash val="solid"/>
                <a:miter/>
              </a:ln>
            </p:spPr>
            <p:txBody>
              <a:bodyPr rtlCol="0" anchor="ctr"/>
              <a:lstStyle/>
              <a:p>
                <a:endParaRPr lang="en-GB" dirty="0"/>
              </a:p>
            </p:txBody>
          </p:sp>
        </p:grpSp>
        <p:grpSp>
          <p:nvGrpSpPr>
            <p:cNvPr id="307" name="Gruppieren 1311">
              <a:extLst>
                <a:ext uri="{FF2B5EF4-FFF2-40B4-BE49-F238E27FC236}">
                  <a16:creationId xmlns:a16="http://schemas.microsoft.com/office/drawing/2014/main" id="{F8A352D2-AEE2-454D-ABBE-00AE97346F2E}"/>
                </a:ext>
              </a:extLst>
            </p:cNvPr>
            <p:cNvGrpSpPr/>
            <p:nvPr/>
          </p:nvGrpSpPr>
          <p:grpSpPr>
            <a:xfrm>
              <a:off x="2863302" y="3197068"/>
              <a:ext cx="234595" cy="432000"/>
              <a:chOff x="1910396" y="2438336"/>
              <a:chExt cx="250657" cy="461579"/>
            </a:xfrm>
          </p:grpSpPr>
          <p:grpSp>
            <p:nvGrpSpPr>
              <p:cNvPr id="308" name="Grafik 319">
                <a:extLst>
                  <a:ext uri="{FF2B5EF4-FFF2-40B4-BE49-F238E27FC236}">
                    <a16:creationId xmlns:a16="http://schemas.microsoft.com/office/drawing/2014/main" id="{3408A6E4-4D4D-467D-8A37-45894718F37A}"/>
                  </a:ext>
                </a:extLst>
              </p:cNvPr>
              <p:cNvGrpSpPr/>
              <p:nvPr/>
            </p:nvGrpSpPr>
            <p:grpSpPr>
              <a:xfrm>
                <a:off x="1910396" y="2649280"/>
                <a:ext cx="250657" cy="250635"/>
                <a:chOff x="1910396" y="2649280"/>
                <a:chExt cx="250657" cy="250635"/>
              </a:xfrm>
              <a:solidFill>
                <a:schemeClr val="accent1"/>
              </a:solidFill>
            </p:grpSpPr>
            <p:sp>
              <p:nvSpPr>
                <p:cNvPr id="316" name="Freihandform: Form 350">
                  <a:extLst>
                    <a:ext uri="{FF2B5EF4-FFF2-40B4-BE49-F238E27FC236}">
                      <a16:creationId xmlns:a16="http://schemas.microsoft.com/office/drawing/2014/main" id="{8F469913-EF52-493F-8C62-56BA80C00D57}"/>
                    </a:ext>
                  </a:extLst>
                </p:cNvPr>
                <p:cNvSpPr/>
                <p:nvPr/>
              </p:nvSpPr>
              <p:spPr>
                <a:xfrm>
                  <a:off x="2029140" y="2649280"/>
                  <a:ext cx="131913" cy="232947"/>
                </a:xfrm>
                <a:custGeom>
                  <a:avLst/>
                  <a:gdLst>
                    <a:gd name="connsiteX0" fmla="*/ 68976 w 131913"/>
                    <a:gd name="connsiteY0" fmla="*/ 232947 h 232947"/>
                    <a:gd name="connsiteX1" fmla="*/ 63366 w 131913"/>
                    <a:gd name="connsiteY1" fmla="*/ 229821 h 232947"/>
                    <a:gd name="connsiteX2" fmla="*/ 65507 w 131913"/>
                    <a:gd name="connsiteY2" fmla="*/ 220741 h 232947"/>
                    <a:gd name="connsiteX3" fmla="*/ 118722 w 131913"/>
                    <a:gd name="connsiteY3" fmla="*/ 125318 h 232947"/>
                    <a:gd name="connsiteX4" fmla="*/ 6596 w 131913"/>
                    <a:gd name="connsiteY4" fmla="*/ 13191 h 232947"/>
                    <a:gd name="connsiteX5" fmla="*/ 0 w 131913"/>
                    <a:gd name="connsiteY5" fmla="*/ 6596 h 232947"/>
                    <a:gd name="connsiteX6" fmla="*/ 6596 w 131913"/>
                    <a:gd name="connsiteY6" fmla="*/ 0 h 232947"/>
                    <a:gd name="connsiteX7" fmla="*/ 131914 w 131913"/>
                    <a:gd name="connsiteY7" fmla="*/ 125318 h 232947"/>
                    <a:gd name="connsiteX8" fmla="*/ 72445 w 131913"/>
                    <a:gd name="connsiteY8" fmla="*/ 231962 h 232947"/>
                    <a:gd name="connsiteX9" fmla="*/ 68976 w 131913"/>
                    <a:gd name="connsiteY9" fmla="*/ 232947 h 232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913" h="232947">
                      <a:moveTo>
                        <a:pt x="68976" y="232947"/>
                      </a:moveTo>
                      <a:cubicBezTo>
                        <a:pt x="66771" y="232947"/>
                        <a:pt x="64608" y="231834"/>
                        <a:pt x="63366" y="229821"/>
                      </a:cubicBezTo>
                      <a:cubicBezTo>
                        <a:pt x="61460" y="226716"/>
                        <a:pt x="62402" y="222668"/>
                        <a:pt x="65507" y="220741"/>
                      </a:cubicBezTo>
                      <a:cubicBezTo>
                        <a:pt x="98828" y="200119"/>
                        <a:pt x="118722" y="164442"/>
                        <a:pt x="118722" y="125318"/>
                      </a:cubicBezTo>
                      <a:cubicBezTo>
                        <a:pt x="118722" y="63494"/>
                        <a:pt x="68419" y="13191"/>
                        <a:pt x="6596" y="13191"/>
                      </a:cubicBezTo>
                      <a:cubicBezTo>
                        <a:pt x="2955" y="13191"/>
                        <a:pt x="0" y="10236"/>
                        <a:pt x="0" y="6596"/>
                      </a:cubicBezTo>
                      <a:cubicBezTo>
                        <a:pt x="0" y="2955"/>
                        <a:pt x="2955" y="0"/>
                        <a:pt x="6596" y="0"/>
                      </a:cubicBezTo>
                      <a:cubicBezTo>
                        <a:pt x="75700" y="0"/>
                        <a:pt x="131914" y="56213"/>
                        <a:pt x="131914" y="125318"/>
                      </a:cubicBezTo>
                      <a:cubicBezTo>
                        <a:pt x="131914" y="169046"/>
                        <a:pt x="109685" y="208920"/>
                        <a:pt x="72445" y="231962"/>
                      </a:cubicBezTo>
                      <a:cubicBezTo>
                        <a:pt x="71353" y="232626"/>
                        <a:pt x="70154" y="232947"/>
                        <a:pt x="68976" y="232947"/>
                      </a:cubicBezTo>
                      <a:close/>
                    </a:path>
                  </a:pathLst>
                </a:custGeom>
                <a:solidFill>
                  <a:schemeClr val="accent1"/>
                </a:solidFill>
                <a:ln w="2139" cap="flat">
                  <a:noFill/>
                  <a:prstDash val="solid"/>
                  <a:miter/>
                </a:ln>
              </p:spPr>
              <p:txBody>
                <a:bodyPr rtlCol="0" anchor="ctr"/>
                <a:lstStyle/>
                <a:p>
                  <a:endParaRPr lang="en-GB" dirty="0"/>
                </a:p>
              </p:txBody>
            </p:sp>
            <p:sp>
              <p:nvSpPr>
                <p:cNvPr id="317" name="Freihandform: Form 351">
                  <a:extLst>
                    <a:ext uri="{FF2B5EF4-FFF2-40B4-BE49-F238E27FC236}">
                      <a16:creationId xmlns:a16="http://schemas.microsoft.com/office/drawing/2014/main" id="{61258570-1CF4-467D-9DE3-97014425BD26}"/>
                    </a:ext>
                  </a:extLst>
                </p:cNvPr>
                <p:cNvSpPr/>
                <p:nvPr/>
              </p:nvSpPr>
              <p:spPr>
                <a:xfrm>
                  <a:off x="1910396" y="2652217"/>
                  <a:ext cx="168638" cy="247698"/>
                </a:xfrm>
                <a:custGeom>
                  <a:avLst/>
                  <a:gdLst>
                    <a:gd name="connsiteX0" fmla="*/ 125318 w 168638"/>
                    <a:gd name="connsiteY0" fmla="*/ 247698 h 247698"/>
                    <a:gd name="connsiteX1" fmla="*/ 0 w 168638"/>
                    <a:gd name="connsiteY1" fmla="*/ 122380 h 247698"/>
                    <a:gd name="connsiteX2" fmla="*/ 97479 w 168638"/>
                    <a:gd name="connsiteY2" fmla="*/ 168 h 247698"/>
                    <a:gd name="connsiteX3" fmla="*/ 105359 w 168638"/>
                    <a:gd name="connsiteY3" fmla="*/ 5136 h 247698"/>
                    <a:gd name="connsiteX4" fmla="*/ 100391 w 168638"/>
                    <a:gd name="connsiteY4" fmla="*/ 13016 h 247698"/>
                    <a:gd name="connsiteX5" fmla="*/ 13191 w 168638"/>
                    <a:gd name="connsiteY5" fmla="*/ 122359 h 247698"/>
                    <a:gd name="connsiteX6" fmla="*/ 125318 w 168638"/>
                    <a:gd name="connsiteY6" fmla="*/ 234485 h 247698"/>
                    <a:gd name="connsiteX7" fmla="*/ 160009 w 168638"/>
                    <a:gd name="connsiteY7" fmla="*/ 229025 h 247698"/>
                    <a:gd name="connsiteX8" fmla="*/ 168318 w 168638"/>
                    <a:gd name="connsiteY8" fmla="*/ 233265 h 247698"/>
                    <a:gd name="connsiteX9" fmla="*/ 164078 w 168638"/>
                    <a:gd name="connsiteY9" fmla="*/ 241574 h 247698"/>
                    <a:gd name="connsiteX10" fmla="*/ 125318 w 168638"/>
                    <a:gd name="connsiteY10" fmla="*/ 247698 h 247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8638" h="247698">
                      <a:moveTo>
                        <a:pt x="125318" y="247698"/>
                      </a:moveTo>
                      <a:cubicBezTo>
                        <a:pt x="56213" y="247698"/>
                        <a:pt x="0" y="191485"/>
                        <a:pt x="0" y="122380"/>
                      </a:cubicBezTo>
                      <a:cubicBezTo>
                        <a:pt x="0" y="63448"/>
                        <a:pt x="40088" y="13188"/>
                        <a:pt x="97479" y="168"/>
                      </a:cubicBezTo>
                      <a:cubicBezTo>
                        <a:pt x="101034" y="-646"/>
                        <a:pt x="104567" y="1581"/>
                        <a:pt x="105359" y="5136"/>
                      </a:cubicBezTo>
                      <a:cubicBezTo>
                        <a:pt x="106173" y="8691"/>
                        <a:pt x="103946" y="12224"/>
                        <a:pt x="100391" y="13016"/>
                      </a:cubicBezTo>
                      <a:cubicBezTo>
                        <a:pt x="49039" y="24666"/>
                        <a:pt x="13191" y="69636"/>
                        <a:pt x="13191" y="122359"/>
                      </a:cubicBezTo>
                      <a:cubicBezTo>
                        <a:pt x="13191" y="184183"/>
                        <a:pt x="63494" y="234485"/>
                        <a:pt x="125318" y="234485"/>
                      </a:cubicBezTo>
                      <a:cubicBezTo>
                        <a:pt x="137181" y="234485"/>
                        <a:pt x="148852" y="232644"/>
                        <a:pt x="160009" y="229025"/>
                      </a:cubicBezTo>
                      <a:cubicBezTo>
                        <a:pt x="163500" y="227911"/>
                        <a:pt x="167183" y="229796"/>
                        <a:pt x="168318" y="233265"/>
                      </a:cubicBezTo>
                      <a:cubicBezTo>
                        <a:pt x="169432" y="236734"/>
                        <a:pt x="167547" y="240439"/>
                        <a:pt x="164078" y="241574"/>
                      </a:cubicBezTo>
                      <a:cubicBezTo>
                        <a:pt x="151615" y="245642"/>
                        <a:pt x="138573" y="247698"/>
                        <a:pt x="125318" y="247698"/>
                      </a:cubicBezTo>
                      <a:close/>
                    </a:path>
                  </a:pathLst>
                </a:custGeom>
                <a:solidFill>
                  <a:schemeClr val="accent1"/>
                </a:solidFill>
                <a:ln w="2139" cap="flat">
                  <a:noFill/>
                  <a:prstDash val="solid"/>
                  <a:miter/>
                </a:ln>
              </p:spPr>
              <p:txBody>
                <a:bodyPr rtlCol="0" anchor="ctr"/>
                <a:lstStyle/>
                <a:p>
                  <a:endParaRPr lang="en-GB" dirty="0"/>
                </a:p>
              </p:txBody>
            </p:sp>
            <p:sp>
              <p:nvSpPr>
                <p:cNvPr id="318" name="Freihandform: Form 352">
                  <a:extLst>
                    <a:ext uri="{FF2B5EF4-FFF2-40B4-BE49-F238E27FC236}">
                      <a16:creationId xmlns:a16="http://schemas.microsoft.com/office/drawing/2014/main" id="{F5836A96-B98E-4B17-909B-BEF8926D1E85}"/>
                    </a:ext>
                  </a:extLst>
                </p:cNvPr>
                <p:cNvSpPr/>
                <p:nvPr/>
              </p:nvSpPr>
              <p:spPr>
                <a:xfrm>
                  <a:off x="2029140" y="2649301"/>
                  <a:ext cx="75287" cy="232476"/>
                </a:xfrm>
                <a:custGeom>
                  <a:avLst/>
                  <a:gdLst>
                    <a:gd name="connsiteX0" fmla="*/ 68698 w 75287"/>
                    <a:gd name="connsiteY0" fmla="*/ 232476 h 232476"/>
                    <a:gd name="connsiteX1" fmla="*/ 63087 w 75287"/>
                    <a:gd name="connsiteY1" fmla="*/ 229350 h 232476"/>
                    <a:gd name="connsiteX2" fmla="*/ 0 w 75287"/>
                    <a:gd name="connsiteY2" fmla="*/ 127181 h 232476"/>
                    <a:gd name="connsiteX3" fmla="*/ 0 w 75287"/>
                    <a:gd name="connsiteY3" fmla="*/ 6596 h 232476"/>
                    <a:gd name="connsiteX4" fmla="*/ 6596 w 75287"/>
                    <a:gd name="connsiteY4" fmla="*/ 0 h 232476"/>
                    <a:gd name="connsiteX5" fmla="*/ 13191 w 75287"/>
                    <a:gd name="connsiteY5" fmla="*/ 6596 h 232476"/>
                    <a:gd name="connsiteX6" fmla="*/ 13191 w 75287"/>
                    <a:gd name="connsiteY6" fmla="*/ 123455 h 232476"/>
                    <a:gd name="connsiteX7" fmla="*/ 74308 w 75287"/>
                    <a:gd name="connsiteY7" fmla="*/ 222433 h 232476"/>
                    <a:gd name="connsiteX8" fmla="*/ 72167 w 75287"/>
                    <a:gd name="connsiteY8" fmla="*/ 231512 h 232476"/>
                    <a:gd name="connsiteX9" fmla="*/ 68698 w 75287"/>
                    <a:gd name="connsiteY9" fmla="*/ 232476 h 232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87" h="232476">
                      <a:moveTo>
                        <a:pt x="68698" y="232476"/>
                      </a:moveTo>
                      <a:cubicBezTo>
                        <a:pt x="66492" y="232476"/>
                        <a:pt x="64329" y="231363"/>
                        <a:pt x="63087" y="229350"/>
                      </a:cubicBezTo>
                      <a:lnTo>
                        <a:pt x="0" y="127181"/>
                      </a:lnTo>
                      <a:lnTo>
                        <a:pt x="0" y="6596"/>
                      </a:lnTo>
                      <a:cubicBezTo>
                        <a:pt x="0" y="2955"/>
                        <a:pt x="2955" y="0"/>
                        <a:pt x="6596" y="0"/>
                      </a:cubicBezTo>
                      <a:cubicBezTo>
                        <a:pt x="10236" y="0"/>
                        <a:pt x="13191" y="2955"/>
                        <a:pt x="13191" y="6596"/>
                      </a:cubicBezTo>
                      <a:lnTo>
                        <a:pt x="13191" y="123455"/>
                      </a:lnTo>
                      <a:lnTo>
                        <a:pt x="74308" y="222433"/>
                      </a:lnTo>
                      <a:cubicBezTo>
                        <a:pt x="76214" y="225538"/>
                        <a:pt x="75251" y="229585"/>
                        <a:pt x="72167" y="231512"/>
                      </a:cubicBezTo>
                      <a:cubicBezTo>
                        <a:pt x="71075" y="232155"/>
                        <a:pt x="69876" y="232476"/>
                        <a:pt x="68698" y="232476"/>
                      </a:cubicBezTo>
                      <a:close/>
                    </a:path>
                  </a:pathLst>
                </a:custGeom>
                <a:solidFill>
                  <a:schemeClr val="accent1"/>
                </a:solidFill>
                <a:ln w="2139" cap="flat">
                  <a:noFill/>
                  <a:prstDash val="solid"/>
                  <a:miter/>
                </a:ln>
              </p:spPr>
              <p:txBody>
                <a:bodyPr rtlCol="0" anchor="ctr"/>
                <a:lstStyle/>
                <a:p>
                  <a:endParaRPr lang="en-GB" dirty="0"/>
                </a:p>
              </p:txBody>
            </p:sp>
          </p:grpSp>
          <p:sp>
            <p:nvSpPr>
              <p:cNvPr id="309" name="Freihandform: Form 353">
                <a:extLst>
                  <a:ext uri="{FF2B5EF4-FFF2-40B4-BE49-F238E27FC236}">
                    <a16:creationId xmlns:a16="http://schemas.microsoft.com/office/drawing/2014/main" id="{77189F91-91B4-43E0-AF14-944AF06DDB2B}"/>
                  </a:ext>
                </a:extLst>
              </p:cNvPr>
              <p:cNvSpPr/>
              <p:nvPr/>
            </p:nvSpPr>
            <p:spPr>
              <a:xfrm>
                <a:off x="2000551" y="2556940"/>
                <a:ext cx="13191" cy="72552"/>
              </a:xfrm>
              <a:custGeom>
                <a:avLst/>
                <a:gdLst>
                  <a:gd name="connsiteX0" fmla="*/ 6596 w 13191"/>
                  <a:gd name="connsiteY0" fmla="*/ 72552 h 72552"/>
                  <a:gd name="connsiteX1" fmla="*/ 0 w 13191"/>
                  <a:gd name="connsiteY1" fmla="*/ 65957 h 72552"/>
                  <a:gd name="connsiteX2" fmla="*/ 0 w 13191"/>
                  <a:gd name="connsiteY2" fmla="*/ 6596 h 72552"/>
                  <a:gd name="connsiteX3" fmla="*/ 6596 w 13191"/>
                  <a:gd name="connsiteY3" fmla="*/ 0 h 72552"/>
                  <a:gd name="connsiteX4" fmla="*/ 13191 w 13191"/>
                  <a:gd name="connsiteY4" fmla="*/ 6596 h 72552"/>
                  <a:gd name="connsiteX5" fmla="*/ 13191 w 13191"/>
                  <a:gd name="connsiteY5" fmla="*/ 65957 h 72552"/>
                  <a:gd name="connsiteX6" fmla="*/ 6596 w 13191"/>
                  <a:gd name="connsiteY6" fmla="*/ 72552 h 7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1" h="72552">
                    <a:moveTo>
                      <a:pt x="6596" y="72552"/>
                    </a:moveTo>
                    <a:cubicBezTo>
                      <a:pt x="2955" y="72552"/>
                      <a:pt x="0" y="69597"/>
                      <a:pt x="0" y="65957"/>
                    </a:cubicBezTo>
                    <a:lnTo>
                      <a:pt x="0" y="6596"/>
                    </a:lnTo>
                    <a:cubicBezTo>
                      <a:pt x="0" y="2955"/>
                      <a:pt x="2955" y="0"/>
                      <a:pt x="6596" y="0"/>
                    </a:cubicBezTo>
                    <a:cubicBezTo>
                      <a:pt x="10236" y="0"/>
                      <a:pt x="13191" y="2955"/>
                      <a:pt x="13191" y="6596"/>
                    </a:cubicBezTo>
                    <a:lnTo>
                      <a:pt x="13191" y="65957"/>
                    </a:lnTo>
                    <a:cubicBezTo>
                      <a:pt x="13191" y="69597"/>
                      <a:pt x="10236" y="72552"/>
                      <a:pt x="6596" y="72552"/>
                    </a:cubicBezTo>
                    <a:close/>
                  </a:path>
                </a:pathLst>
              </a:custGeom>
              <a:solidFill>
                <a:schemeClr val="accent1"/>
              </a:solidFill>
              <a:ln w="2139" cap="flat">
                <a:noFill/>
                <a:prstDash val="solid"/>
                <a:miter/>
              </a:ln>
            </p:spPr>
            <p:txBody>
              <a:bodyPr rtlCol="0" anchor="ctr"/>
              <a:lstStyle/>
              <a:p>
                <a:endParaRPr lang="en-GB" dirty="0"/>
              </a:p>
            </p:txBody>
          </p:sp>
          <p:sp>
            <p:nvSpPr>
              <p:cNvPr id="310" name="Freihandform: Form 354">
                <a:extLst>
                  <a:ext uri="{FF2B5EF4-FFF2-40B4-BE49-F238E27FC236}">
                    <a16:creationId xmlns:a16="http://schemas.microsoft.com/office/drawing/2014/main" id="{C10A1543-6A01-4179-A3B5-6E788C8A3960}"/>
                  </a:ext>
                </a:extLst>
              </p:cNvPr>
              <p:cNvSpPr/>
              <p:nvPr/>
            </p:nvSpPr>
            <p:spPr>
              <a:xfrm>
                <a:off x="1936793" y="2504293"/>
                <a:ext cx="102429" cy="85625"/>
              </a:xfrm>
              <a:custGeom>
                <a:avLst/>
                <a:gdLst>
                  <a:gd name="connsiteX0" fmla="*/ 32087 w 102429"/>
                  <a:gd name="connsiteY0" fmla="*/ 85626 h 85625"/>
                  <a:gd name="connsiteX1" fmla="*/ 25491 w 102429"/>
                  <a:gd name="connsiteY1" fmla="*/ 79030 h 85625"/>
                  <a:gd name="connsiteX2" fmla="*/ 25491 w 102429"/>
                  <a:gd name="connsiteY2" fmla="*/ 65839 h 85625"/>
                  <a:gd name="connsiteX3" fmla="*/ 6582 w 102429"/>
                  <a:gd name="connsiteY3" fmla="*/ 65839 h 85625"/>
                  <a:gd name="connsiteX4" fmla="*/ 607 w 102429"/>
                  <a:gd name="connsiteY4" fmla="*/ 62027 h 85625"/>
                  <a:gd name="connsiteX5" fmla="*/ 1550 w 102429"/>
                  <a:gd name="connsiteY5" fmla="*/ 54982 h 85625"/>
                  <a:gd name="connsiteX6" fmla="*/ 46177 w 102429"/>
                  <a:gd name="connsiteY6" fmla="*/ 2216 h 85625"/>
                  <a:gd name="connsiteX7" fmla="*/ 56242 w 102429"/>
                  <a:gd name="connsiteY7" fmla="*/ 2216 h 85625"/>
                  <a:gd name="connsiteX8" fmla="*/ 100870 w 102429"/>
                  <a:gd name="connsiteY8" fmla="*/ 54982 h 85625"/>
                  <a:gd name="connsiteX9" fmla="*/ 101812 w 102429"/>
                  <a:gd name="connsiteY9" fmla="*/ 62027 h 85625"/>
                  <a:gd name="connsiteX10" fmla="*/ 95838 w 102429"/>
                  <a:gd name="connsiteY10" fmla="*/ 65839 h 85625"/>
                  <a:gd name="connsiteX11" fmla="*/ 63952 w 102429"/>
                  <a:gd name="connsiteY11" fmla="*/ 65839 h 85625"/>
                  <a:gd name="connsiteX12" fmla="*/ 57356 w 102429"/>
                  <a:gd name="connsiteY12" fmla="*/ 59243 h 85625"/>
                  <a:gd name="connsiteX13" fmla="*/ 63952 w 102429"/>
                  <a:gd name="connsiteY13" fmla="*/ 52648 h 85625"/>
                  <a:gd name="connsiteX14" fmla="*/ 81619 w 102429"/>
                  <a:gd name="connsiteY14" fmla="*/ 52648 h 85625"/>
                  <a:gd name="connsiteX15" fmla="*/ 51210 w 102429"/>
                  <a:gd name="connsiteY15" fmla="*/ 16693 h 85625"/>
                  <a:gd name="connsiteX16" fmla="*/ 20801 w 102429"/>
                  <a:gd name="connsiteY16" fmla="*/ 52648 h 85625"/>
                  <a:gd name="connsiteX17" fmla="*/ 32087 w 102429"/>
                  <a:gd name="connsiteY17" fmla="*/ 52648 h 85625"/>
                  <a:gd name="connsiteX18" fmla="*/ 38682 w 102429"/>
                  <a:gd name="connsiteY18" fmla="*/ 59243 h 85625"/>
                  <a:gd name="connsiteX19" fmla="*/ 38682 w 102429"/>
                  <a:gd name="connsiteY19" fmla="*/ 79030 h 85625"/>
                  <a:gd name="connsiteX20" fmla="*/ 32087 w 102429"/>
                  <a:gd name="connsiteY20" fmla="*/ 85626 h 85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429" h="85625">
                    <a:moveTo>
                      <a:pt x="32087" y="85626"/>
                    </a:moveTo>
                    <a:cubicBezTo>
                      <a:pt x="28446" y="85626"/>
                      <a:pt x="25491" y="82671"/>
                      <a:pt x="25491" y="79030"/>
                    </a:cubicBezTo>
                    <a:lnTo>
                      <a:pt x="25491" y="65839"/>
                    </a:lnTo>
                    <a:lnTo>
                      <a:pt x="6582" y="65839"/>
                    </a:lnTo>
                    <a:cubicBezTo>
                      <a:pt x="4012" y="65839"/>
                      <a:pt x="1678" y="64340"/>
                      <a:pt x="607" y="62027"/>
                    </a:cubicBezTo>
                    <a:cubicBezTo>
                      <a:pt x="-463" y="59693"/>
                      <a:pt x="-99" y="56952"/>
                      <a:pt x="1550" y="54982"/>
                    </a:cubicBezTo>
                    <a:lnTo>
                      <a:pt x="46177" y="2216"/>
                    </a:lnTo>
                    <a:cubicBezTo>
                      <a:pt x="48683" y="-739"/>
                      <a:pt x="53737" y="-739"/>
                      <a:pt x="56242" y="2216"/>
                    </a:cubicBezTo>
                    <a:lnTo>
                      <a:pt x="100870" y="54982"/>
                    </a:lnTo>
                    <a:cubicBezTo>
                      <a:pt x="102519" y="56952"/>
                      <a:pt x="102905" y="59693"/>
                      <a:pt x="101812" y="62027"/>
                    </a:cubicBezTo>
                    <a:cubicBezTo>
                      <a:pt x="100720" y="64361"/>
                      <a:pt x="98386" y="65839"/>
                      <a:pt x="95838" y="65839"/>
                    </a:cubicBezTo>
                    <a:lnTo>
                      <a:pt x="63952" y="65839"/>
                    </a:lnTo>
                    <a:cubicBezTo>
                      <a:pt x="60311" y="65839"/>
                      <a:pt x="57356" y="62884"/>
                      <a:pt x="57356" y="59243"/>
                    </a:cubicBezTo>
                    <a:cubicBezTo>
                      <a:pt x="57356" y="55603"/>
                      <a:pt x="60311" y="52648"/>
                      <a:pt x="63952" y="52648"/>
                    </a:cubicBezTo>
                    <a:lnTo>
                      <a:pt x="81619" y="52648"/>
                    </a:lnTo>
                    <a:lnTo>
                      <a:pt x="51210" y="16693"/>
                    </a:lnTo>
                    <a:lnTo>
                      <a:pt x="20801" y="52648"/>
                    </a:lnTo>
                    <a:lnTo>
                      <a:pt x="32087" y="52648"/>
                    </a:lnTo>
                    <a:cubicBezTo>
                      <a:pt x="35727" y="52648"/>
                      <a:pt x="38682" y="55603"/>
                      <a:pt x="38682" y="59243"/>
                    </a:cubicBezTo>
                    <a:lnTo>
                      <a:pt x="38682" y="79030"/>
                    </a:lnTo>
                    <a:cubicBezTo>
                      <a:pt x="38682" y="82671"/>
                      <a:pt x="35727" y="85626"/>
                      <a:pt x="32087" y="85626"/>
                    </a:cubicBezTo>
                    <a:close/>
                  </a:path>
                </a:pathLst>
              </a:custGeom>
              <a:solidFill>
                <a:schemeClr val="accent1"/>
              </a:solidFill>
              <a:ln w="2139" cap="flat">
                <a:noFill/>
                <a:prstDash val="solid"/>
                <a:miter/>
              </a:ln>
            </p:spPr>
            <p:txBody>
              <a:bodyPr rtlCol="0" anchor="ctr"/>
              <a:lstStyle/>
              <a:p>
                <a:endParaRPr lang="en-GB" dirty="0"/>
              </a:p>
            </p:txBody>
          </p:sp>
          <p:sp>
            <p:nvSpPr>
              <p:cNvPr id="311" name="Freihandform: Form 355">
                <a:extLst>
                  <a:ext uri="{FF2B5EF4-FFF2-40B4-BE49-F238E27FC236}">
                    <a16:creationId xmlns:a16="http://schemas.microsoft.com/office/drawing/2014/main" id="{5EEDDA84-1DA0-46E5-8214-FA2A35457F1D}"/>
                  </a:ext>
                </a:extLst>
              </p:cNvPr>
              <p:cNvSpPr/>
              <p:nvPr/>
            </p:nvSpPr>
            <p:spPr>
              <a:xfrm>
                <a:off x="2099251" y="2490984"/>
                <a:ext cx="13191" cy="151700"/>
              </a:xfrm>
              <a:custGeom>
                <a:avLst/>
                <a:gdLst>
                  <a:gd name="connsiteX0" fmla="*/ 6596 w 13191"/>
                  <a:gd name="connsiteY0" fmla="*/ 151701 h 151700"/>
                  <a:gd name="connsiteX1" fmla="*/ 0 w 13191"/>
                  <a:gd name="connsiteY1" fmla="*/ 145105 h 151700"/>
                  <a:gd name="connsiteX2" fmla="*/ 0 w 13191"/>
                  <a:gd name="connsiteY2" fmla="*/ 6596 h 151700"/>
                  <a:gd name="connsiteX3" fmla="*/ 6596 w 13191"/>
                  <a:gd name="connsiteY3" fmla="*/ 0 h 151700"/>
                  <a:gd name="connsiteX4" fmla="*/ 13191 w 13191"/>
                  <a:gd name="connsiteY4" fmla="*/ 6596 h 151700"/>
                  <a:gd name="connsiteX5" fmla="*/ 13191 w 13191"/>
                  <a:gd name="connsiteY5" fmla="*/ 145105 h 151700"/>
                  <a:gd name="connsiteX6" fmla="*/ 6596 w 13191"/>
                  <a:gd name="connsiteY6" fmla="*/ 151701 h 15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1" h="151700">
                    <a:moveTo>
                      <a:pt x="6596" y="151701"/>
                    </a:moveTo>
                    <a:cubicBezTo>
                      <a:pt x="2955" y="151701"/>
                      <a:pt x="0" y="148745"/>
                      <a:pt x="0" y="145105"/>
                    </a:cubicBezTo>
                    <a:lnTo>
                      <a:pt x="0" y="6596"/>
                    </a:lnTo>
                    <a:cubicBezTo>
                      <a:pt x="0" y="2955"/>
                      <a:pt x="2955" y="0"/>
                      <a:pt x="6596" y="0"/>
                    </a:cubicBezTo>
                    <a:cubicBezTo>
                      <a:pt x="10236" y="0"/>
                      <a:pt x="13191" y="2955"/>
                      <a:pt x="13191" y="6596"/>
                    </a:cubicBezTo>
                    <a:lnTo>
                      <a:pt x="13191" y="145105"/>
                    </a:lnTo>
                    <a:cubicBezTo>
                      <a:pt x="13191" y="148745"/>
                      <a:pt x="10236" y="151701"/>
                      <a:pt x="6596" y="151701"/>
                    </a:cubicBezTo>
                    <a:close/>
                  </a:path>
                </a:pathLst>
              </a:custGeom>
              <a:solidFill>
                <a:schemeClr val="accent1"/>
              </a:solidFill>
              <a:ln w="2139" cap="flat">
                <a:noFill/>
                <a:prstDash val="solid"/>
                <a:miter/>
              </a:ln>
            </p:spPr>
            <p:txBody>
              <a:bodyPr rtlCol="0" anchor="ctr"/>
              <a:lstStyle/>
              <a:p>
                <a:endParaRPr lang="en-GB" dirty="0"/>
              </a:p>
            </p:txBody>
          </p:sp>
          <p:sp>
            <p:nvSpPr>
              <p:cNvPr id="312" name="Freihandform: Form 356">
                <a:extLst>
                  <a:ext uri="{FF2B5EF4-FFF2-40B4-BE49-F238E27FC236}">
                    <a16:creationId xmlns:a16="http://schemas.microsoft.com/office/drawing/2014/main" id="{9D34AD5F-9FDC-452B-A02C-5C9510545602}"/>
                  </a:ext>
                </a:extLst>
              </p:cNvPr>
              <p:cNvSpPr/>
              <p:nvPr/>
            </p:nvSpPr>
            <p:spPr>
              <a:xfrm>
                <a:off x="2062097" y="2580025"/>
                <a:ext cx="13191" cy="19787"/>
              </a:xfrm>
              <a:custGeom>
                <a:avLst/>
                <a:gdLst>
                  <a:gd name="connsiteX0" fmla="*/ 6596 w 13191"/>
                  <a:gd name="connsiteY0" fmla="*/ 19787 h 19787"/>
                  <a:gd name="connsiteX1" fmla="*/ 0 w 13191"/>
                  <a:gd name="connsiteY1" fmla="*/ 13191 h 19787"/>
                  <a:gd name="connsiteX2" fmla="*/ 0 w 13191"/>
                  <a:gd name="connsiteY2" fmla="*/ 6596 h 19787"/>
                  <a:gd name="connsiteX3" fmla="*/ 6596 w 13191"/>
                  <a:gd name="connsiteY3" fmla="*/ 0 h 19787"/>
                  <a:gd name="connsiteX4" fmla="*/ 13191 w 13191"/>
                  <a:gd name="connsiteY4" fmla="*/ 6596 h 19787"/>
                  <a:gd name="connsiteX5" fmla="*/ 13191 w 13191"/>
                  <a:gd name="connsiteY5" fmla="*/ 13191 h 19787"/>
                  <a:gd name="connsiteX6" fmla="*/ 6596 w 13191"/>
                  <a:gd name="connsiteY6" fmla="*/ 19787 h 1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1" h="19787">
                    <a:moveTo>
                      <a:pt x="6596" y="19787"/>
                    </a:moveTo>
                    <a:cubicBezTo>
                      <a:pt x="2955" y="19787"/>
                      <a:pt x="0" y="16832"/>
                      <a:pt x="0" y="13191"/>
                    </a:cubicBezTo>
                    <a:lnTo>
                      <a:pt x="0" y="6596"/>
                    </a:lnTo>
                    <a:cubicBezTo>
                      <a:pt x="0" y="2955"/>
                      <a:pt x="2955" y="0"/>
                      <a:pt x="6596" y="0"/>
                    </a:cubicBezTo>
                    <a:cubicBezTo>
                      <a:pt x="10236" y="0"/>
                      <a:pt x="13191" y="2955"/>
                      <a:pt x="13191" y="6596"/>
                    </a:cubicBezTo>
                    <a:lnTo>
                      <a:pt x="13191" y="13191"/>
                    </a:lnTo>
                    <a:cubicBezTo>
                      <a:pt x="13191" y="16832"/>
                      <a:pt x="10236" y="19787"/>
                      <a:pt x="6596" y="19787"/>
                    </a:cubicBezTo>
                    <a:close/>
                  </a:path>
                </a:pathLst>
              </a:custGeom>
              <a:solidFill>
                <a:schemeClr val="accent1"/>
              </a:solidFill>
              <a:ln w="2139" cap="flat">
                <a:noFill/>
                <a:prstDash val="solid"/>
                <a:miter/>
              </a:ln>
            </p:spPr>
            <p:txBody>
              <a:bodyPr rtlCol="0" anchor="ctr"/>
              <a:lstStyle/>
              <a:p>
                <a:endParaRPr lang="en-GB" dirty="0"/>
              </a:p>
            </p:txBody>
          </p:sp>
          <p:sp>
            <p:nvSpPr>
              <p:cNvPr id="313" name="Freihandform: Form 357">
                <a:extLst>
                  <a:ext uri="{FF2B5EF4-FFF2-40B4-BE49-F238E27FC236}">
                    <a16:creationId xmlns:a16="http://schemas.microsoft.com/office/drawing/2014/main" id="{2E6B8CEC-035D-4C44-875A-8A22DAAD9F86}"/>
                  </a:ext>
                </a:extLst>
              </p:cNvPr>
              <p:cNvSpPr/>
              <p:nvPr/>
            </p:nvSpPr>
            <p:spPr>
              <a:xfrm>
                <a:off x="2062097" y="2547047"/>
                <a:ext cx="13191" cy="19787"/>
              </a:xfrm>
              <a:custGeom>
                <a:avLst/>
                <a:gdLst>
                  <a:gd name="connsiteX0" fmla="*/ 6596 w 13191"/>
                  <a:gd name="connsiteY0" fmla="*/ 19787 h 19787"/>
                  <a:gd name="connsiteX1" fmla="*/ 0 w 13191"/>
                  <a:gd name="connsiteY1" fmla="*/ 13191 h 19787"/>
                  <a:gd name="connsiteX2" fmla="*/ 0 w 13191"/>
                  <a:gd name="connsiteY2" fmla="*/ 6596 h 19787"/>
                  <a:gd name="connsiteX3" fmla="*/ 6596 w 13191"/>
                  <a:gd name="connsiteY3" fmla="*/ 0 h 19787"/>
                  <a:gd name="connsiteX4" fmla="*/ 13191 w 13191"/>
                  <a:gd name="connsiteY4" fmla="*/ 6596 h 19787"/>
                  <a:gd name="connsiteX5" fmla="*/ 13191 w 13191"/>
                  <a:gd name="connsiteY5" fmla="*/ 13191 h 19787"/>
                  <a:gd name="connsiteX6" fmla="*/ 6596 w 13191"/>
                  <a:gd name="connsiteY6" fmla="*/ 19787 h 1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1" h="19787">
                    <a:moveTo>
                      <a:pt x="6596" y="19787"/>
                    </a:moveTo>
                    <a:cubicBezTo>
                      <a:pt x="2955" y="19787"/>
                      <a:pt x="0" y="16832"/>
                      <a:pt x="0" y="13191"/>
                    </a:cubicBezTo>
                    <a:lnTo>
                      <a:pt x="0" y="6596"/>
                    </a:lnTo>
                    <a:cubicBezTo>
                      <a:pt x="0" y="2955"/>
                      <a:pt x="2955" y="0"/>
                      <a:pt x="6596" y="0"/>
                    </a:cubicBezTo>
                    <a:cubicBezTo>
                      <a:pt x="10236" y="0"/>
                      <a:pt x="13191" y="2955"/>
                      <a:pt x="13191" y="6596"/>
                    </a:cubicBezTo>
                    <a:lnTo>
                      <a:pt x="13191" y="13191"/>
                    </a:lnTo>
                    <a:cubicBezTo>
                      <a:pt x="13191" y="16832"/>
                      <a:pt x="10236" y="19787"/>
                      <a:pt x="6596" y="19787"/>
                    </a:cubicBezTo>
                    <a:close/>
                  </a:path>
                </a:pathLst>
              </a:custGeom>
              <a:solidFill>
                <a:schemeClr val="accent1"/>
              </a:solidFill>
              <a:ln w="2139" cap="flat">
                <a:noFill/>
                <a:prstDash val="solid"/>
                <a:miter/>
              </a:ln>
            </p:spPr>
            <p:txBody>
              <a:bodyPr rtlCol="0" anchor="ctr"/>
              <a:lstStyle/>
              <a:p>
                <a:endParaRPr lang="en-GB" dirty="0"/>
              </a:p>
            </p:txBody>
          </p:sp>
          <p:sp>
            <p:nvSpPr>
              <p:cNvPr id="314" name="Freihandform: Form 358">
                <a:extLst>
                  <a:ext uri="{FF2B5EF4-FFF2-40B4-BE49-F238E27FC236}">
                    <a16:creationId xmlns:a16="http://schemas.microsoft.com/office/drawing/2014/main" id="{235855A8-FE7C-4835-9645-8069FB0E9908}"/>
                  </a:ext>
                </a:extLst>
              </p:cNvPr>
              <p:cNvSpPr/>
              <p:nvPr/>
            </p:nvSpPr>
            <p:spPr>
              <a:xfrm>
                <a:off x="1962348" y="2606408"/>
                <a:ext cx="13191" cy="19787"/>
              </a:xfrm>
              <a:custGeom>
                <a:avLst/>
                <a:gdLst>
                  <a:gd name="connsiteX0" fmla="*/ 6596 w 13191"/>
                  <a:gd name="connsiteY0" fmla="*/ 19787 h 19787"/>
                  <a:gd name="connsiteX1" fmla="*/ 0 w 13191"/>
                  <a:gd name="connsiteY1" fmla="*/ 13191 h 19787"/>
                  <a:gd name="connsiteX2" fmla="*/ 0 w 13191"/>
                  <a:gd name="connsiteY2" fmla="*/ 6596 h 19787"/>
                  <a:gd name="connsiteX3" fmla="*/ 6596 w 13191"/>
                  <a:gd name="connsiteY3" fmla="*/ 0 h 19787"/>
                  <a:gd name="connsiteX4" fmla="*/ 13191 w 13191"/>
                  <a:gd name="connsiteY4" fmla="*/ 6596 h 19787"/>
                  <a:gd name="connsiteX5" fmla="*/ 13191 w 13191"/>
                  <a:gd name="connsiteY5" fmla="*/ 13191 h 19787"/>
                  <a:gd name="connsiteX6" fmla="*/ 6596 w 13191"/>
                  <a:gd name="connsiteY6" fmla="*/ 19787 h 1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1" h="19787">
                    <a:moveTo>
                      <a:pt x="6596" y="19787"/>
                    </a:moveTo>
                    <a:cubicBezTo>
                      <a:pt x="2955" y="19787"/>
                      <a:pt x="0" y="16832"/>
                      <a:pt x="0" y="13191"/>
                    </a:cubicBezTo>
                    <a:lnTo>
                      <a:pt x="0" y="6596"/>
                    </a:lnTo>
                    <a:cubicBezTo>
                      <a:pt x="0" y="2955"/>
                      <a:pt x="2955" y="0"/>
                      <a:pt x="6596" y="0"/>
                    </a:cubicBezTo>
                    <a:cubicBezTo>
                      <a:pt x="10236" y="0"/>
                      <a:pt x="13191" y="2955"/>
                      <a:pt x="13191" y="6596"/>
                    </a:cubicBezTo>
                    <a:lnTo>
                      <a:pt x="13191" y="13191"/>
                    </a:lnTo>
                    <a:cubicBezTo>
                      <a:pt x="13191" y="16832"/>
                      <a:pt x="10236" y="19787"/>
                      <a:pt x="6596" y="19787"/>
                    </a:cubicBezTo>
                    <a:close/>
                  </a:path>
                </a:pathLst>
              </a:custGeom>
              <a:solidFill>
                <a:schemeClr val="accent1"/>
              </a:solidFill>
              <a:ln w="2139" cap="flat">
                <a:noFill/>
                <a:prstDash val="solid"/>
                <a:miter/>
              </a:ln>
            </p:spPr>
            <p:txBody>
              <a:bodyPr rtlCol="0" anchor="ctr"/>
              <a:lstStyle/>
              <a:p>
                <a:endParaRPr lang="en-GB" dirty="0"/>
              </a:p>
            </p:txBody>
          </p:sp>
          <p:sp>
            <p:nvSpPr>
              <p:cNvPr id="315" name="Freihandform: Form 359">
                <a:extLst>
                  <a:ext uri="{FF2B5EF4-FFF2-40B4-BE49-F238E27FC236}">
                    <a16:creationId xmlns:a16="http://schemas.microsoft.com/office/drawing/2014/main" id="{A68A851F-C2B3-4604-A1BC-6169A1F13348}"/>
                  </a:ext>
                </a:extLst>
              </p:cNvPr>
              <p:cNvSpPr/>
              <p:nvPr/>
            </p:nvSpPr>
            <p:spPr>
              <a:xfrm>
                <a:off x="2035514" y="2438336"/>
                <a:ext cx="102429" cy="92221"/>
              </a:xfrm>
              <a:custGeom>
                <a:avLst/>
                <a:gdLst>
                  <a:gd name="connsiteX0" fmla="*/ 32087 w 102429"/>
                  <a:gd name="connsiteY0" fmla="*/ 92222 h 92221"/>
                  <a:gd name="connsiteX1" fmla="*/ 25491 w 102429"/>
                  <a:gd name="connsiteY1" fmla="*/ 85626 h 92221"/>
                  <a:gd name="connsiteX2" fmla="*/ 25491 w 102429"/>
                  <a:gd name="connsiteY2" fmla="*/ 65839 h 92221"/>
                  <a:gd name="connsiteX3" fmla="*/ 6582 w 102429"/>
                  <a:gd name="connsiteY3" fmla="*/ 65839 h 92221"/>
                  <a:gd name="connsiteX4" fmla="*/ 607 w 102429"/>
                  <a:gd name="connsiteY4" fmla="*/ 62027 h 92221"/>
                  <a:gd name="connsiteX5" fmla="*/ 1550 w 102429"/>
                  <a:gd name="connsiteY5" fmla="*/ 54982 h 92221"/>
                  <a:gd name="connsiteX6" fmla="*/ 46177 w 102429"/>
                  <a:gd name="connsiteY6" fmla="*/ 2216 h 92221"/>
                  <a:gd name="connsiteX7" fmla="*/ 56242 w 102429"/>
                  <a:gd name="connsiteY7" fmla="*/ 2216 h 92221"/>
                  <a:gd name="connsiteX8" fmla="*/ 100870 w 102429"/>
                  <a:gd name="connsiteY8" fmla="*/ 54982 h 92221"/>
                  <a:gd name="connsiteX9" fmla="*/ 101812 w 102429"/>
                  <a:gd name="connsiteY9" fmla="*/ 62027 h 92221"/>
                  <a:gd name="connsiteX10" fmla="*/ 95838 w 102429"/>
                  <a:gd name="connsiteY10" fmla="*/ 65839 h 92221"/>
                  <a:gd name="connsiteX11" fmla="*/ 63952 w 102429"/>
                  <a:gd name="connsiteY11" fmla="*/ 65839 h 92221"/>
                  <a:gd name="connsiteX12" fmla="*/ 57356 w 102429"/>
                  <a:gd name="connsiteY12" fmla="*/ 59243 h 92221"/>
                  <a:gd name="connsiteX13" fmla="*/ 63952 w 102429"/>
                  <a:gd name="connsiteY13" fmla="*/ 52648 h 92221"/>
                  <a:gd name="connsiteX14" fmla="*/ 81618 w 102429"/>
                  <a:gd name="connsiteY14" fmla="*/ 52648 h 92221"/>
                  <a:gd name="connsiteX15" fmla="*/ 51210 w 102429"/>
                  <a:gd name="connsiteY15" fmla="*/ 16693 h 92221"/>
                  <a:gd name="connsiteX16" fmla="*/ 20801 w 102429"/>
                  <a:gd name="connsiteY16" fmla="*/ 52648 h 92221"/>
                  <a:gd name="connsiteX17" fmla="*/ 32087 w 102429"/>
                  <a:gd name="connsiteY17" fmla="*/ 52648 h 92221"/>
                  <a:gd name="connsiteX18" fmla="*/ 38682 w 102429"/>
                  <a:gd name="connsiteY18" fmla="*/ 59243 h 92221"/>
                  <a:gd name="connsiteX19" fmla="*/ 38682 w 102429"/>
                  <a:gd name="connsiteY19" fmla="*/ 85626 h 92221"/>
                  <a:gd name="connsiteX20" fmla="*/ 32087 w 102429"/>
                  <a:gd name="connsiteY20" fmla="*/ 92222 h 9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429" h="92221">
                    <a:moveTo>
                      <a:pt x="32087" y="92222"/>
                    </a:moveTo>
                    <a:cubicBezTo>
                      <a:pt x="28446" y="92222"/>
                      <a:pt x="25491" y="89266"/>
                      <a:pt x="25491" y="85626"/>
                    </a:cubicBezTo>
                    <a:lnTo>
                      <a:pt x="25491" y="65839"/>
                    </a:lnTo>
                    <a:lnTo>
                      <a:pt x="6582" y="65839"/>
                    </a:lnTo>
                    <a:cubicBezTo>
                      <a:pt x="4012" y="65839"/>
                      <a:pt x="1678" y="64340"/>
                      <a:pt x="607" y="62027"/>
                    </a:cubicBezTo>
                    <a:cubicBezTo>
                      <a:pt x="-463" y="59693"/>
                      <a:pt x="-99" y="56952"/>
                      <a:pt x="1550" y="54982"/>
                    </a:cubicBezTo>
                    <a:lnTo>
                      <a:pt x="46177" y="2216"/>
                    </a:lnTo>
                    <a:cubicBezTo>
                      <a:pt x="48683" y="-739"/>
                      <a:pt x="53737" y="-739"/>
                      <a:pt x="56242" y="2216"/>
                    </a:cubicBezTo>
                    <a:lnTo>
                      <a:pt x="100870" y="54982"/>
                    </a:lnTo>
                    <a:cubicBezTo>
                      <a:pt x="102519" y="56952"/>
                      <a:pt x="102905" y="59693"/>
                      <a:pt x="101812" y="62027"/>
                    </a:cubicBezTo>
                    <a:cubicBezTo>
                      <a:pt x="100720" y="64361"/>
                      <a:pt x="98386" y="65839"/>
                      <a:pt x="95838" y="65839"/>
                    </a:cubicBezTo>
                    <a:lnTo>
                      <a:pt x="63952" y="65839"/>
                    </a:lnTo>
                    <a:cubicBezTo>
                      <a:pt x="60311" y="65839"/>
                      <a:pt x="57356" y="62884"/>
                      <a:pt x="57356" y="59243"/>
                    </a:cubicBezTo>
                    <a:cubicBezTo>
                      <a:pt x="57356" y="55603"/>
                      <a:pt x="60311" y="52648"/>
                      <a:pt x="63952" y="52648"/>
                    </a:cubicBezTo>
                    <a:lnTo>
                      <a:pt x="81618" y="52648"/>
                    </a:lnTo>
                    <a:lnTo>
                      <a:pt x="51210" y="16693"/>
                    </a:lnTo>
                    <a:lnTo>
                      <a:pt x="20801" y="52648"/>
                    </a:lnTo>
                    <a:lnTo>
                      <a:pt x="32087" y="52648"/>
                    </a:lnTo>
                    <a:cubicBezTo>
                      <a:pt x="35727" y="52648"/>
                      <a:pt x="38682" y="55603"/>
                      <a:pt x="38682" y="59243"/>
                    </a:cubicBezTo>
                    <a:lnTo>
                      <a:pt x="38682" y="85626"/>
                    </a:lnTo>
                    <a:cubicBezTo>
                      <a:pt x="38682" y="89266"/>
                      <a:pt x="35727" y="92222"/>
                      <a:pt x="32087" y="92222"/>
                    </a:cubicBezTo>
                    <a:close/>
                  </a:path>
                </a:pathLst>
              </a:custGeom>
              <a:solidFill>
                <a:schemeClr val="accent1"/>
              </a:solidFill>
              <a:ln w="2139" cap="flat">
                <a:noFill/>
                <a:prstDash val="solid"/>
                <a:miter/>
              </a:ln>
            </p:spPr>
            <p:txBody>
              <a:bodyPr rtlCol="0" anchor="ctr"/>
              <a:lstStyle/>
              <a:p>
                <a:endParaRPr lang="en-GB" dirty="0"/>
              </a:p>
            </p:txBody>
          </p:sp>
        </p:grpSp>
      </p:grpSp>
      <p:grpSp>
        <p:nvGrpSpPr>
          <p:cNvPr id="305" name="Group 304">
            <a:extLst>
              <a:ext uri="{FF2B5EF4-FFF2-40B4-BE49-F238E27FC236}">
                <a16:creationId xmlns:a16="http://schemas.microsoft.com/office/drawing/2014/main" id="{31664690-190E-5BB1-58D8-9288ED3F2E0F}"/>
              </a:ext>
            </a:extLst>
          </p:cNvPr>
          <p:cNvGrpSpPr/>
          <p:nvPr/>
        </p:nvGrpSpPr>
        <p:grpSpPr>
          <a:xfrm>
            <a:off x="3752208" y="3197065"/>
            <a:ext cx="410295" cy="432004"/>
            <a:chOff x="3752208" y="3197065"/>
            <a:chExt cx="410295" cy="432004"/>
          </a:xfrm>
        </p:grpSpPr>
        <p:grpSp>
          <p:nvGrpSpPr>
            <p:cNvPr id="338" name="Gruppieren 1326">
              <a:extLst>
                <a:ext uri="{FF2B5EF4-FFF2-40B4-BE49-F238E27FC236}">
                  <a16:creationId xmlns:a16="http://schemas.microsoft.com/office/drawing/2014/main" id="{3C8B38DB-AB92-4245-830F-D6375E16849E}"/>
                </a:ext>
              </a:extLst>
            </p:cNvPr>
            <p:cNvGrpSpPr/>
            <p:nvPr/>
          </p:nvGrpSpPr>
          <p:grpSpPr>
            <a:xfrm>
              <a:off x="3752227" y="3197087"/>
              <a:ext cx="190147" cy="297182"/>
              <a:chOff x="3375605" y="3236384"/>
              <a:chExt cx="215168" cy="336289"/>
            </a:xfrm>
          </p:grpSpPr>
          <p:sp>
            <p:nvSpPr>
              <p:cNvPr id="347" name="Freihandform: Form 485">
                <a:extLst>
                  <a:ext uri="{FF2B5EF4-FFF2-40B4-BE49-F238E27FC236}">
                    <a16:creationId xmlns:a16="http://schemas.microsoft.com/office/drawing/2014/main" id="{3427BA47-D7F1-46F6-A3C6-E5ED68EBF377}"/>
                  </a:ext>
                </a:extLst>
              </p:cNvPr>
              <p:cNvSpPr/>
              <p:nvPr/>
            </p:nvSpPr>
            <p:spPr>
              <a:xfrm>
                <a:off x="3483791" y="3476587"/>
                <a:ext cx="106982" cy="96086"/>
              </a:xfrm>
              <a:custGeom>
                <a:avLst/>
                <a:gdLst>
                  <a:gd name="connsiteX0" fmla="*/ 18048 w 106982"/>
                  <a:gd name="connsiteY0" fmla="*/ 96087 h 96086"/>
                  <a:gd name="connsiteX1" fmla="*/ 15885 w 106982"/>
                  <a:gd name="connsiteY1" fmla="*/ 96001 h 96086"/>
                  <a:gd name="connsiteX2" fmla="*/ 5156 w 106982"/>
                  <a:gd name="connsiteY2" fmla="*/ 94652 h 96086"/>
                  <a:gd name="connsiteX3" fmla="*/ 167 w 106982"/>
                  <a:gd name="connsiteY3" fmla="*/ 86772 h 96086"/>
                  <a:gd name="connsiteX4" fmla="*/ 8047 w 106982"/>
                  <a:gd name="connsiteY4" fmla="*/ 81782 h 96086"/>
                  <a:gd name="connsiteX5" fmla="*/ 16420 w 106982"/>
                  <a:gd name="connsiteY5" fmla="*/ 82831 h 96086"/>
                  <a:gd name="connsiteX6" fmla="*/ 17341 w 106982"/>
                  <a:gd name="connsiteY6" fmla="*/ 82853 h 96086"/>
                  <a:gd name="connsiteX7" fmla="*/ 17769 w 106982"/>
                  <a:gd name="connsiteY7" fmla="*/ 82831 h 96086"/>
                  <a:gd name="connsiteX8" fmla="*/ 54453 w 106982"/>
                  <a:gd name="connsiteY8" fmla="*/ 49832 h 96086"/>
                  <a:gd name="connsiteX9" fmla="*/ 38456 w 106982"/>
                  <a:gd name="connsiteY9" fmla="*/ 15354 h 96086"/>
                  <a:gd name="connsiteX10" fmla="*/ 36764 w 106982"/>
                  <a:gd name="connsiteY10" fmla="*/ 11221 h 96086"/>
                  <a:gd name="connsiteX11" fmla="*/ 36571 w 106982"/>
                  <a:gd name="connsiteY11" fmla="*/ 6874 h 96086"/>
                  <a:gd name="connsiteX12" fmla="*/ 38392 w 106982"/>
                  <a:gd name="connsiteY12" fmla="*/ 2034 h 96086"/>
                  <a:gd name="connsiteX13" fmla="*/ 43146 w 106982"/>
                  <a:gd name="connsiteY13" fmla="*/ 0 h 96086"/>
                  <a:gd name="connsiteX14" fmla="*/ 100387 w 106982"/>
                  <a:gd name="connsiteY14" fmla="*/ 0 h 96086"/>
                  <a:gd name="connsiteX15" fmla="*/ 106982 w 106982"/>
                  <a:gd name="connsiteY15" fmla="*/ 6596 h 96086"/>
                  <a:gd name="connsiteX16" fmla="*/ 100387 w 106982"/>
                  <a:gd name="connsiteY16" fmla="*/ 13191 h 96086"/>
                  <a:gd name="connsiteX17" fmla="*/ 53767 w 106982"/>
                  <a:gd name="connsiteY17" fmla="*/ 13191 h 96086"/>
                  <a:gd name="connsiteX18" fmla="*/ 67622 w 106982"/>
                  <a:gd name="connsiteY18" fmla="*/ 49746 h 96086"/>
                  <a:gd name="connsiteX19" fmla="*/ 19354 w 106982"/>
                  <a:gd name="connsiteY19" fmla="*/ 95959 h 96086"/>
                  <a:gd name="connsiteX20" fmla="*/ 18048 w 106982"/>
                  <a:gd name="connsiteY20" fmla="*/ 96087 h 9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6982" h="96086">
                    <a:moveTo>
                      <a:pt x="18048" y="96087"/>
                    </a:moveTo>
                    <a:cubicBezTo>
                      <a:pt x="17662" y="96087"/>
                      <a:pt x="15885" y="96001"/>
                      <a:pt x="15885" y="96001"/>
                    </a:cubicBezTo>
                    <a:cubicBezTo>
                      <a:pt x="12330" y="95894"/>
                      <a:pt x="8668" y="95445"/>
                      <a:pt x="5156" y="94652"/>
                    </a:cubicBezTo>
                    <a:cubicBezTo>
                      <a:pt x="1601" y="93860"/>
                      <a:pt x="-647" y="90326"/>
                      <a:pt x="167" y="86772"/>
                    </a:cubicBezTo>
                    <a:cubicBezTo>
                      <a:pt x="959" y="83217"/>
                      <a:pt x="4514" y="80990"/>
                      <a:pt x="8047" y="81782"/>
                    </a:cubicBezTo>
                    <a:cubicBezTo>
                      <a:pt x="10767" y="82382"/>
                      <a:pt x="13594" y="82746"/>
                      <a:pt x="16420" y="82831"/>
                    </a:cubicBezTo>
                    <a:lnTo>
                      <a:pt x="17341" y="82853"/>
                    </a:lnTo>
                    <a:cubicBezTo>
                      <a:pt x="17491" y="82831"/>
                      <a:pt x="17619" y="82831"/>
                      <a:pt x="17769" y="82831"/>
                    </a:cubicBezTo>
                    <a:cubicBezTo>
                      <a:pt x="38434" y="81889"/>
                      <a:pt x="54538" y="67391"/>
                      <a:pt x="54453" y="49832"/>
                    </a:cubicBezTo>
                    <a:cubicBezTo>
                      <a:pt x="54367" y="38632"/>
                      <a:pt x="48992" y="27025"/>
                      <a:pt x="38456" y="15354"/>
                    </a:cubicBezTo>
                    <a:cubicBezTo>
                      <a:pt x="37428" y="14219"/>
                      <a:pt x="36828" y="12742"/>
                      <a:pt x="36764" y="11221"/>
                    </a:cubicBezTo>
                    <a:lnTo>
                      <a:pt x="36571" y="6874"/>
                    </a:lnTo>
                    <a:cubicBezTo>
                      <a:pt x="36486" y="5075"/>
                      <a:pt x="37149" y="3319"/>
                      <a:pt x="38392" y="2034"/>
                    </a:cubicBezTo>
                    <a:cubicBezTo>
                      <a:pt x="39634" y="728"/>
                      <a:pt x="41347" y="0"/>
                      <a:pt x="43146" y="0"/>
                    </a:cubicBezTo>
                    <a:lnTo>
                      <a:pt x="100387" y="0"/>
                    </a:lnTo>
                    <a:cubicBezTo>
                      <a:pt x="104027" y="0"/>
                      <a:pt x="106982" y="2955"/>
                      <a:pt x="106982" y="6596"/>
                    </a:cubicBezTo>
                    <a:cubicBezTo>
                      <a:pt x="106982" y="10236"/>
                      <a:pt x="104027" y="13191"/>
                      <a:pt x="100387" y="13191"/>
                    </a:cubicBezTo>
                    <a:lnTo>
                      <a:pt x="53767" y="13191"/>
                    </a:lnTo>
                    <a:cubicBezTo>
                      <a:pt x="62890" y="25226"/>
                      <a:pt x="67537" y="37475"/>
                      <a:pt x="67622" y="49746"/>
                    </a:cubicBezTo>
                    <a:cubicBezTo>
                      <a:pt x="67772" y="74137"/>
                      <a:pt x="46636" y="94267"/>
                      <a:pt x="19354" y="95959"/>
                    </a:cubicBezTo>
                    <a:cubicBezTo>
                      <a:pt x="18926" y="96044"/>
                      <a:pt x="18498" y="96087"/>
                      <a:pt x="18048" y="96087"/>
                    </a:cubicBezTo>
                    <a:close/>
                  </a:path>
                </a:pathLst>
              </a:custGeom>
              <a:solidFill>
                <a:schemeClr val="tx2"/>
              </a:solidFill>
              <a:ln w="2139" cap="flat">
                <a:noFill/>
                <a:prstDash val="solid"/>
                <a:miter/>
              </a:ln>
            </p:spPr>
            <p:txBody>
              <a:bodyPr rtlCol="0" anchor="ctr"/>
              <a:lstStyle/>
              <a:p>
                <a:endParaRPr lang="en-GB" dirty="0"/>
              </a:p>
            </p:txBody>
          </p:sp>
          <p:sp>
            <p:nvSpPr>
              <p:cNvPr id="348" name="Freihandform: Form 486">
                <a:extLst>
                  <a:ext uri="{FF2B5EF4-FFF2-40B4-BE49-F238E27FC236}">
                    <a16:creationId xmlns:a16="http://schemas.microsoft.com/office/drawing/2014/main" id="{51F63585-6DCA-4511-8B20-1F6C6595B91A}"/>
                  </a:ext>
                </a:extLst>
              </p:cNvPr>
              <p:cNvSpPr/>
              <p:nvPr/>
            </p:nvSpPr>
            <p:spPr>
              <a:xfrm>
                <a:off x="3390868" y="3372430"/>
                <a:ext cx="89600" cy="175939"/>
              </a:xfrm>
              <a:custGeom>
                <a:avLst/>
                <a:gdLst>
                  <a:gd name="connsiteX0" fmla="*/ 69083 w 89600"/>
                  <a:gd name="connsiteY0" fmla="*/ 175939 h 175939"/>
                  <a:gd name="connsiteX1" fmla="*/ 63109 w 89600"/>
                  <a:gd name="connsiteY1" fmla="*/ 172170 h 175939"/>
                  <a:gd name="connsiteX2" fmla="*/ 59061 w 89600"/>
                  <a:gd name="connsiteY2" fmla="*/ 154546 h 175939"/>
                  <a:gd name="connsiteX3" fmla="*/ 72809 w 89600"/>
                  <a:gd name="connsiteY3" fmla="*/ 117349 h 175939"/>
                  <a:gd name="connsiteX4" fmla="*/ 6596 w 89600"/>
                  <a:gd name="connsiteY4" fmla="*/ 117349 h 175939"/>
                  <a:gd name="connsiteX5" fmla="*/ 0 w 89600"/>
                  <a:gd name="connsiteY5" fmla="*/ 110753 h 175939"/>
                  <a:gd name="connsiteX6" fmla="*/ 13877 w 89600"/>
                  <a:gd name="connsiteY6" fmla="*/ 34303 h 175939"/>
                  <a:gd name="connsiteX7" fmla="*/ 28460 w 89600"/>
                  <a:gd name="connsiteY7" fmla="*/ 3338 h 175939"/>
                  <a:gd name="connsiteX8" fmla="*/ 37454 w 89600"/>
                  <a:gd name="connsiteY8" fmla="*/ 875 h 175939"/>
                  <a:gd name="connsiteX9" fmla="*/ 39917 w 89600"/>
                  <a:gd name="connsiteY9" fmla="*/ 9869 h 175939"/>
                  <a:gd name="connsiteX10" fmla="*/ 26233 w 89600"/>
                  <a:gd name="connsiteY10" fmla="*/ 38929 h 175939"/>
                  <a:gd name="connsiteX11" fmla="*/ 13298 w 89600"/>
                  <a:gd name="connsiteY11" fmla="*/ 104136 h 175939"/>
                  <a:gd name="connsiteX12" fmla="*/ 83003 w 89600"/>
                  <a:gd name="connsiteY12" fmla="*/ 104136 h 175939"/>
                  <a:gd name="connsiteX13" fmla="*/ 87714 w 89600"/>
                  <a:gd name="connsiteY13" fmla="*/ 106128 h 175939"/>
                  <a:gd name="connsiteX14" fmla="*/ 89598 w 89600"/>
                  <a:gd name="connsiteY14" fmla="*/ 110903 h 175939"/>
                  <a:gd name="connsiteX15" fmla="*/ 89491 w 89600"/>
                  <a:gd name="connsiteY15" fmla="*/ 115571 h 175939"/>
                  <a:gd name="connsiteX16" fmla="*/ 87842 w 89600"/>
                  <a:gd name="connsiteY16" fmla="*/ 119769 h 175939"/>
                  <a:gd name="connsiteX17" fmla="*/ 72274 w 89600"/>
                  <a:gd name="connsiteY17" fmla="*/ 154460 h 175939"/>
                  <a:gd name="connsiteX18" fmla="*/ 75058 w 89600"/>
                  <a:gd name="connsiteY18" fmla="*/ 166495 h 175939"/>
                  <a:gd name="connsiteX19" fmla="*/ 71931 w 89600"/>
                  <a:gd name="connsiteY19" fmla="*/ 175275 h 175939"/>
                  <a:gd name="connsiteX20" fmla="*/ 69083 w 89600"/>
                  <a:gd name="connsiteY20" fmla="*/ 175939 h 17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600" h="175939">
                    <a:moveTo>
                      <a:pt x="69083" y="175939"/>
                    </a:moveTo>
                    <a:cubicBezTo>
                      <a:pt x="66621" y="175939"/>
                      <a:pt x="64244" y="174547"/>
                      <a:pt x="63109" y="172170"/>
                    </a:cubicBezTo>
                    <a:cubicBezTo>
                      <a:pt x="60453" y="166581"/>
                      <a:pt x="59083" y="160649"/>
                      <a:pt x="59061" y="154546"/>
                    </a:cubicBezTo>
                    <a:cubicBezTo>
                      <a:pt x="58976" y="142125"/>
                      <a:pt x="63601" y="129641"/>
                      <a:pt x="72809" y="117349"/>
                    </a:cubicBezTo>
                    <a:lnTo>
                      <a:pt x="6596" y="117349"/>
                    </a:lnTo>
                    <a:cubicBezTo>
                      <a:pt x="2955" y="117349"/>
                      <a:pt x="0" y="114394"/>
                      <a:pt x="0" y="110753"/>
                    </a:cubicBezTo>
                    <a:cubicBezTo>
                      <a:pt x="0" y="84435"/>
                      <a:pt x="4668" y="58716"/>
                      <a:pt x="13877" y="34303"/>
                    </a:cubicBezTo>
                    <a:cubicBezTo>
                      <a:pt x="17881" y="23682"/>
                      <a:pt x="22785" y="13274"/>
                      <a:pt x="28460" y="3338"/>
                    </a:cubicBezTo>
                    <a:cubicBezTo>
                      <a:pt x="30259" y="169"/>
                      <a:pt x="34285" y="-945"/>
                      <a:pt x="37454" y="875"/>
                    </a:cubicBezTo>
                    <a:cubicBezTo>
                      <a:pt x="40623" y="2695"/>
                      <a:pt x="41715" y="6721"/>
                      <a:pt x="39917" y="9869"/>
                    </a:cubicBezTo>
                    <a:cubicBezTo>
                      <a:pt x="34585" y="19185"/>
                      <a:pt x="29980" y="28971"/>
                      <a:pt x="26233" y="38929"/>
                    </a:cubicBezTo>
                    <a:cubicBezTo>
                      <a:pt x="18352" y="59808"/>
                      <a:pt x="14027" y="81715"/>
                      <a:pt x="13298" y="104136"/>
                    </a:cubicBezTo>
                    <a:lnTo>
                      <a:pt x="83003" y="104136"/>
                    </a:lnTo>
                    <a:cubicBezTo>
                      <a:pt x="84780" y="104136"/>
                      <a:pt x="86472" y="104843"/>
                      <a:pt x="87714" y="106128"/>
                    </a:cubicBezTo>
                    <a:cubicBezTo>
                      <a:pt x="88956" y="107413"/>
                      <a:pt x="89641" y="109126"/>
                      <a:pt x="89598" y="110903"/>
                    </a:cubicBezTo>
                    <a:lnTo>
                      <a:pt x="89491" y="115571"/>
                    </a:lnTo>
                    <a:cubicBezTo>
                      <a:pt x="89449" y="117135"/>
                      <a:pt x="88870" y="118612"/>
                      <a:pt x="87842" y="119769"/>
                    </a:cubicBezTo>
                    <a:cubicBezTo>
                      <a:pt x="77456" y="131568"/>
                      <a:pt x="72210" y="143239"/>
                      <a:pt x="72274" y="154460"/>
                    </a:cubicBezTo>
                    <a:cubicBezTo>
                      <a:pt x="72295" y="158615"/>
                      <a:pt x="73238" y="162662"/>
                      <a:pt x="75058" y="166495"/>
                    </a:cubicBezTo>
                    <a:cubicBezTo>
                      <a:pt x="76621" y="169793"/>
                      <a:pt x="75229" y="173712"/>
                      <a:pt x="71931" y="175275"/>
                    </a:cubicBezTo>
                    <a:cubicBezTo>
                      <a:pt x="70989" y="175725"/>
                      <a:pt x="70026" y="175939"/>
                      <a:pt x="69083" y="175939"/>
                    </a:cubicBezTo>
                    <a:close/>
                  </a:path>
                </a:pathLst>
              </a:custGeom>
              <a:solidFill>
                <a:schemeClr val="tx2"/>
              </a:solidFill>
              <a:ln w="2139" cap="flat">
                <a:noFill/>
                <a:prstDash val="solid"/>
                <a:miter/>
              </a:ln>
            </p:spPr>
            <p:txBody>
              <a:bodyPr rtlCol="0" anchor="ctr"/>
              <a:lstStyle/>
              <a:p>
                <a:endParaRPr lang="en-GB" dirty="0"/>
              </a:p>
            </p:txBody>
          </p:sp>
          <p:sp>
            <p:nvSpPr>
              <p:cNvPr id="349" name="Freihandform: Form 487">
                <a:extLst>
                  <a:ext uri="{FF2B5EF4-FFF2-40B4-BE49-F238E27FC236}">
                    <a16:creationId xmlns:a16="http://schemas.microsoft.com/office/drawing/2014/main" id="{46469AD0-6160-4913-A7DC-9E1FEA0011B8}"/>
                  </a:ext>
                </a:extLst>
              </p:cNvPr>
              <p:cNvSpPr/>
              <p:nvPr/>
            </p:nvSpPr>
            <p:spPr>
              <a:xfrm>
                <a:off x="3467351" y="3267746"/>
                <a:ext cx="122929" cy="59882"/>
              </a:xfrm>
              <a:custGeom>
                <a:avLst/>
                <a:gdLst>
                  <a:gd name="connsiteX0" fmla="*/ 6606 w 122929"/>
                  <a:gd name="connsiteY0" fmla="*/ 59882 h 59882"/>
                  <a:gd name="connsiteX1" fmla="*/ 1510 w 122929"/>
                  <a:gd name="connsiteY1" fmla="*/ 57484 h 59882"/>
                  <a:gd name="connsiteX2" fmla="*/ 2387 w 122929"/>
                  <a:gd name="connsiteY2" fmla="*/ 48190 h 59882"/>
                  <a:gd name="connsiteX3" fmla="*/ 115585 w 122929"/>
                  <a:gd name="connsiteY3" fmla="*/ 50 h 59882"/>
                  <a:gd name="connsiteX4" fmla="*/ 122887 w 122929"/>
                  <a:gd name="connsiteY4" fmla="*/ 5853 h 59882"/>
                  <a:gd name="connsiteX5" fmla="*/ 117084 w 122929"/>
                  <a:gd name="connsiteY5" fmla="*/ 13156 h 59882"/>
                  <a:gd name="connsiteX6" fmla="*/ 10803 w 122929"/>
                  <a:gd name="connsiteY6" fmla="*/ 58362 h 59882"/>
                  <a:gd name="connsiteX7" fmla="*/ 6606 w 122929"/>
                  <a:gd name="connsiteY7" fmla="*/ 59882 h 5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929" h="59882">
                    <a:moveTo>
                      <a:pt x="6606" y="59882"/>
                    </a:moveTo>
                    <a:cubicBezTo>
                      <a:pt x="4700" y="59882"/>
                      <a:pt x="2816" y="59068"/>
                      <a:pt x="1510" y="57484"/>
                    </a:cubicBezTo>
                    <a:cubicBezTo>
                      <a:pt x="-803" y="54679"/>
                      <a:pt x="-418" y="50524"/>
                      <a:pt x="2387" y="48190"/>
                    </a:cubicBezTo>
                    <a:cubicBezTo>
                      <a:pt x="34788" y="21443"/>
                      <a:pt x="73933" y="4804"/>
                      <a:pt x="115585" y="50"/>
                    </a:cubicBezTo>
                    <a:cubicBezTo>
                      <a:pt x="119225" y="-400"/>
                      <a:pt x="122480" y="2234"/>
                      <a:pt x="122887" y="5853"/>
                    </a:cubicBezTo>
                    <a:cubicBezTo>
                      <a:pt x="123294" y="9472"/>
                      <a:pt x="120703" y="12749"/>
                      <a:pt x="117084" y="13156"/>
                    </a:cubicBezTo>
                    <a:cubicBezTo>
                      <a:pt x="77981" y="17610"/>
                      <a:pt x="41233" y="33243"/>
                      <a:pt x="10803" y="58362"/>
                    </a:cubicBezTo>
                    <a:cubicBezTo>
                      <a:pt x="9583" y="59368"/>
                      <a:pt x="8084" y="59882"/>
                      <a:pt x="6606" y="59882"/>
                    </a:cubicBezTo>
                    <a:close/>
                  </a:path>
                </a:pathLst>
              </a:custGeom>
              <a:solidFill>
                <a:schemeClr val="tx2"/>
              </a:solidFill>
              <a:ln w="2139" cap="flat">
                <a:noFill/>
                <a:prstDash val="solid"/>
                <a:miter/>
              </a:ln>
            </p:spPr>
            <p:txBody>
              <a:bodyPr rtlCol="0" anchor="ctr"/>
              <a:lstStyle/>
              <a:p>
                <a:endParaRPr lang="en-GB" dirty="0"/>
              </a:p>
            </p:txBody>
          </p:sp>
          <p:sp>
            <p:nvSpPr>
              <p:cNvPr id="350" name="Freihandform: Form 502">
                <a:extLst>
                  <a:ext uri="{FF2B5EF4-FFF2-40B4-BE49-F238E27FC236}">
                    <a16:creationId xmlns:a16="http://schemas.microsoft.com/office/drawing/2014/main" id="{664B4D77-92AA-437F-9838-ECB6063ED866}"/>
                  </a:ext>
                </a:extLst>
              </p:cNvPr>
              <p:cNvSpPr/>
              <p:nvPr/>
            </p:nvSpPr>
            <p:spPr>
              <a:xfrm>
                <a:off x="3449397" y="3236384"/>
                <a:ext cx="77485" cy="55888"/>
              </a:xfrm>
              <a:custGeom>
                <a:avLst/>
                <a:gdLst>
                  <a:gd name="connsiteX0" fmla="*/ 70879 w 77485"/>
                  <a:gd name="connsiteY0" fmla="*/ 55889 h 55888"/>
                  <a:gd name="connsiteX1" fmla="*/ 66682 w 77485"/>
                  <a:gd name="connsiteY1" fmla="*/ 54368 h 55888"/>
                  <a:gd name="connsiteX2" fmla="*/ 55825 w 77485"/>
                  <a:gd name="connsiteY2" fmla="*/ 45374 h 55888"/>
                  <a:gd name="connsiteX3" fmla="*/ 32140 w 77485"/>
                  <a:gd name="connsiteY3" fmla="*/ 39678 h 55888"/>
                  <a:gd name="connsiteX4" fmla="*/ 25866 w 77485"/>
                  <a:gd name="connsiteY4" fmla="*/ 37665 h 55888"/>
                  <a:gd name="connsiteX5" fmla="*/ 1710 w 77485"/>
                  <a:gd name="connsiteY5" fmla="*/ 11025 h 55888"/>
                  <a:gd name="connsiteX6" fmla="*/ 2160 w 77485"/>
                  <a:gd name="connsiteY6" fmla="*/ 1710 h 55888"/>
                  <a:gd name="connsiteX7" fmla="*/ 11475 w 77485"/>
                  <a:gd name="connsiteY7" fmla="*/ 2160 h 55888"/>
                  <a:gd name="connsiteX8" fmla="*/ 33211 w 77485"/>
                  <a:gd name="connsiteY8" fmla="*/ 26144 h 55888"/>
                  <a:gd name="connsiteX9" fmla="*/ 64219 w 77485"/>
                  <a:gd name="connsiteY9" fmla="*/ 35224 h 55888"/>
                  <a:gd name="connsiteX10" fmla="*/ 75098 w 77485"/>
                  <a:gd name="connsiteY10" fmla="*/ 44218 h 55888"/>
                  <a:gd name="connsiteX11" fmla="*/ 75976 w 77485"/>
                  <a:gd name="connsiteY11" fmla="*/ 53512 h 55888"/>
                  <a:gd name="connsiteX12" fmla="*/ 70879 w 77485"/>
                  <a:gd name="connsiteY12" fmla="*/ 55889 h 55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485" h="55888">
                    <a:moveTo>
                      <a:pt x="70879" y="55889"/>
                    </a:moveTo>
                    <a:cubicBezTo>
                      <a:pt x="69401" y="55889"/>
                      <a:pt x="67902" y="55396"/>
                      <a:pt x="66682" y="54368"/>
                    </a:cubicBezTo>
                    <a:lnTo>
                      <a:pt x="55825" y="45374"/>
                    </a:lnTo>
                    <a:cubicBezTo>
                      <a:pt x="49229" y="39913"/>
                      <a:pt x="40577" y="37858"/>
                      <a:pt x="32140" y="39678"/>
                    </a:cubicBezTo>
                    <a:cubicBezTo>
                      <a:pt x="29849" y="40170"/>
                      <a:pt x="27450" y="39400"/>
                      <a:pt x="25866" y="37665"/>
                    </a:cubicBezTo>
                    <a:lnTo>
                      <a:pt x="1710" y="11025"/>
                    </a:lnTo>
                    <a:cubicBezTo>
                      <a:pt x="-731" y="8327"/>
                      <a:pt x="-539" y="4151"/>
                      <a:pt x="2160" y="1710"/>
                    </a:cubicBezTo>
                    <a:cubicBezTo>
                      <a:pt x="4858" y="-731"/>
                      <a:pt x="9034" y="-539"/>
                      <a:pt x="11475" y="2160"/>
                    </a:cubicBezTo>
                    <a:lnTo>
                      <a:pt x="33211" y="26144"/>
                    </a:lnTo>
                    <a:cubicBezTo>
                      <a:pt x="44346" y="24795"/>
                      <a:pt x="55482" y="28028"/>
                      <a:pt x="64219" y="35224"/>
                    </a:cubicBezTo>
                    <a:lnTo>
                      <a:pt x="75098" y="44218"/>
                    </a:lnTo>
                    <a:cubicBezTo>
                      <a:pt x="77903" y="46552"/>
                      <a:pt x="78288" y="50706"/>
                      <a:pt x="75976" y="53512"/>
                    </a:cubicBezTo>
                    <a:cubicBezTo>
                      <a:pt x="74669" y="55075"/>
                      <a:pt x="72785" y="55889"/>
                      <a:pt x="70879" y="55889"/>
                    </a:cubicBezTo>
                    <a:close/>
                  </a:path>
                </a:pathLst>
              </a:custGeom>
              <a:solidFill>
                <a:schemeClr val="tx2"/>
              </a:solidFill>
              <a:ln w="2139" cap="flat">
                <a:noFill/>
                <a:prstDash val="solid"/>
                <a:miter/>
              </a:ln>
            </p:spPr>
            <p:txBody>
              <a:bodyPr rtlCol="0" anchor="ctr"/>
              <a:lstStyle/>
              <a:p>
                <a:endParaRPr lang="en-GB" dirty="0"/>
              </a:p>
            </p:txBody>
          </p:sp>
          <p:sp>
            <p:nvSpPr>
              <p:cNvPr id="351" name="Freihandform: Form 503">
                <a:extLst>
                  <a:ext uri="{FF2B5EF4-FFF2-40B4-BE49-F238E27FC236}">
                    <a16:creationId xmlns:a16="http://schemas.microsoft.com/office/drawing/2014/main" id="{C03EB4F2-ADED-436B-A5A5-2E7E31547F85}"/>
                  </a:ext>
                </a:extLst>
              </p:cNvPr>
              <p:cNvSpPr/>
              <p:nvPr/>
            </p:nvSpPr>
            <p:spPr>
              <a:xfrm>
                <a:off x="3375605" y="3286560"/>
                <a:ext cx="42550" cy="117432"/>
              </a:xfrm>
              <a:custGeom>
                <a:avLst/>
                <a:gdLst>
                  <a:gd name="connsiteX0" fmla="*/ 35972 w 42550"/>
                  <a:gd name="connsiteY0" fmla="*/ 117432 h 117432"/>
                  <a:gd name="connsiteX1" fmla="*/ 30896 w 42550"/>
                  <a:gd name="connsiteY1" fmla="*/ 115034 h 117432"/>
                  <a:gd name="connsiteX2" fmla="*/ 12716 w 42550"/>
                  <a:gd name="connsiteY2" fmla="*/ 62440 h 117432"/>
                  <a:gd name="connsiteX3" fmla="*/ 14814 w 42550"/>
                  <a:gd name="connsiteY3" fmla="*/ 27149 h 117432"/>
                  <a:gd name="connsiteX4" fmla="*/ 1473 w 42550"/>
                  <a:gd name="connsiteY4" fmla="*/ 10745 h 117432"/>
                  <a:gd name="connsiteX5" fmla="*/ 2436 w 42550"/>
                  <a:gd name="connsiteY5" fmla="*/ 1473 h 117432"/>
                  <a:gd name="connsiteX6" fmla="*/ 11709 w 42550"/>
                  <a:gd name="connsiteY6" fmla="*/ 2436 h 117432"/>
                  <a:gd name="connsiteX7" fmla="*/ 26656 w 42550"/>
                  <a:gd name="connsiteY7" fmla="*/ 20832 h 117432"/>
                  <a:gd name="connsiteX8" fmla="*/ 28112 w 42550"/>
                  <a:gd name="connsiteY8" fmla="*/ 25393 h 117432"/>
                  <a:gd name="connsiteX9" fmla="*/ 25864 w 42550"/>
                  <a:gd name="connsiteY9" fmla="*/ 63254 h 117432"/>
                  <a:gd name="connsiteX10" fmla="*/ 41025 w 42550"/>
                  <a:gd name="connsiteY10" fmla="*/ 106661 h 117432"/>
                  <a:gd name="connsiteX11" fmla="*/ 40147 w 42550"/>
                  <a:gd name="connsiteY11" fmla="*/ 115933 h 117432"/>
                  <a:gd name="connsiteX12" fmla="*/ 35972 w 42550"/>
                  <a:gd name="connsiteY12" fmla="*/ 117432 h 11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50" h="117432">
                    <a:moveTo>
                      <a:pt x="35972" y="117432"/>
                    </a:moveTo>
                    <a:cubicBezTo>
                      <a:pt x="34066" y="117432"/>
                      <a:pt x="32181" y="116619"/>
                      <a:pt x="30896" y="115034"/>
                    </a:cubicBezTo>
                    <a:cubicBezTo>
                      <a:pt x="19183" y="100900"/>
                      <a:pt x="11709" y="79272"/>
                      <a:pt x="12716" y="62440"/>
                    </a:cubicBezTo>
                    <a:lnTo>
                      <a:pt x="14814" y="27149"/>
                    </a:lnTo>
                    <a:lnTo>
                      <a:pt x="1473" y="10745"/>
                    </a:lnTo>
                    <a:cubicBezTo>
                      <a:pt x="-819" y="7919"/>
                      <a:pt x="-390" y="3764"/>
                      <a:pt x="2436" y="1473"/>
                    </a:cubicBezTo>
                    <a:cubicBezTo>
                      <a:pt x="5284" y="-819"/>
                      <a:pt x="9418" y="-390"/>
                      <a:pt x="11709" y="2436"/>
                    </a:cubicBezTo>
                    <a:lnTo>
                      <a:pt x="26656" y="20832"/>
                    </a:lnTo>
                    <a:cubicBezTo>
                      <a:pt x="27684" y="22116"/>
                      <a:pt x="28220" y="23744"/>
                      <a:pt x="28112" y="25393"/>
                    </a:cubicBezTo>
                    <a:lnTo>
                      <a:pt x="25864" y="63254"/>
                    </a:lnTo>
                    <a:cubicBezTo>
                      <a:pt x="25050" y="76809"/>
                      <a:pt x="31432" y="95076"/>
                      <a:pt x="41025" y="106661"/>
                    </a:cubicBezTo>
                    <a:cubicBezTo>
                      <a:pt x="43360" y="109466"/>
                      <a:pt x="42974" y="113621"/>
                      <a:pt x="40147" y="115933"/>
                    </a:cubicBezTo>
                    <a:cubicBezTo>
                      <a:pt x="38927" y="116940"/>
                      <a:pt x="37449" y="117432"/>
                      <a:pt x="35972" y="117432"/>
                    </a:cubicBezTo>
                    <a:close/>
                  </a:path>
                </a:pathLst>
              </a:custGeom>
              <a:solidFill>
                <a:schemeClr val="tx2"/>
              </a:solidFill>
              <a:ln w="2139" cap="flat">
                <a:noFill/>
                <a:prstDash val="solid"/>
                <a:miter/>
              </a:ln>
            </p:spPr>
            <p:txBody>
              <a:bodyPr rtlCol="0" anchor="ctr"/>
              <a:lstStyle/>
              <a:p>
                <a:endParaRPr lang="en-GB" dirty="0"/>
              </a:p>
            </p:txBody>
          </p:sp>
          <p:sp>
            <p:nvSpPr>
              <p:cNvPr id="352" name="Freihandform: Form 504">
                <a:extLst>
                  <a:ext uri="{FF2B5EF4-FFF2-40B4-BE49-F238E27FC236}">
                    <a16:creationId xmlns:a16="http://schemas.microsoft.com/office/drawing/2014/main" id="{445A1FF8-B871-4EC5-AA0A-944354316C3E}"/>
                  </a:ext>
                </a:extLst>
              </p:cNvPr>
              <p:cNvSpPr/>
              <p:nvPr/>
            </p:nvSpPr>
            <p:spPr>
              <a:xfrm>
                <a:off x="3415770" y="3297601"/>
                <a:ext cx="89427" cy="148213"/>
              </a:xfrm>
              <a:custGeom>
                <a:avLst/>
                <a:gdLst>
                  <a:gd name="connsiteX0" fmla="*/ 69023 w 89427"/>
                  <a:gd name="connsiteY0" fmla="*/ 148214 h 148213"/>
                  <a:gd name="connsiteX1" fmla="*/ 54076 w 89427"/>
                  <a:gd name="connsiteY1" fmla="*/ 141447 h 148213"/>
                  <a:gd name="connsiteX2" fmla="*/ 1632 w 89427"/>
                  <a:gd name="connsiteY2" fmla="*/ 81679 h 148213"/>
                  <a:gd name="connsiteX3" fmla="*/ 2253 w 89427"/>
                  <a:gd name="connsiteY3" fmla="*/ 72364 h 148213"/>
                  <a:gd name="connsiteX4" fmla="*/ 11568 w 89427"/>
                  <a:gd name="connsiteY4" fmla="*/ 72985 h 148213"/>
                  <a:gd name="connsiteX5" fmla="*/ 63991 w 89427"/>
                  <a:gd name="connsiteY5" fmla="*/ 132753 h 148213"/>
                  <a:gd name="connsiteX6" fmla="*/ 70394 w 89427"/>
                  <a:gd name="connsiteY6" fmla="*/ 134915 h 148213"/>
                  <a:gd name="connsiteX7" fmla="*/ 75404 w 89427"/>
                  <a:gd name="connsiteY7" fmla="*/ 130761 h 148213"/>
                  <a:gd name="connsiteX8" fmla="*/ 71250 w 89427"/>
                  <a:gd name="connsiteY8" fmla="*/ 109646 h 148213"/>
                  <a:gd name="connsiteX9" fmla="*/ 50521 w 89427"/>
                  <a:gd name="connsiteY9" fmla="*/ 79752 h 148213"/>
                  <a:gd name="connsiteX10" fmla="*/ 49836 w 89427"/>
                  <a:gd name="connsiteY10" fmla="*/ 73456 h 148213"/>
                  <a:gd name="connsiteX11" fmla="*/ 44396 w 89427"/>
                  <a:gd name="connsiteY11" fmla="*/ 10197 h 148213"/>
                  <a:gd name="connsiteX12" fmla="*/ 46302 w 89427"/>
                  <a:gd name="connsiteY12" fmla="*/ 1075 h 148213"/>
                  <a:gd name="connsiteX13" fmla="*/ 55425 w 89427"/>
                  <a:gd name="connsiteY13" fmla="*/ 2981 h 148213"/>
                  <a:gd name="connsiteX14" fmla="*/ 63284 w 89427"/>
                  <a:gd name="connsiteY14" fmla="*/ 74998 h 148213"/>
                  <a:gd name="connsiteX15" fmla="*/ 82107 w 89427"/>
                  <a:gd name="connsiteY15" fmla="*/ 102130 h 148213"/>
                  <a:gd name="connsiteX16" fmla="*/ 87782 w 89427"/>
                  <a:gd name="connsiteY16" fmla="*/ 135301 h 148213"/>
                  <a:gd name="connsiteX17" fmla="*/ 72813 w 89427"/>
                  <a:gd name="connsiteY17" fmla="*/ 147871 h 148213"/>
                  <a:gd name="connsiteX18" fmla="*/ 69023 w 89427"/>
                  <a:gd name="connsiteY18" fmla="*/ 148214 h 14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427" h="148213">
                    <a:moveTo>
                      <a:pt x="69023" y="148214"/>
                    </a:moveTo>
                    <a:cubicBezTo>
                      <a:pt x="63327" y="148214"/>
                      <a:pt x="57930" y="145816"/>
                      <a:pt x="54076" y="141447"/>
                    </a:cubicBezTo>
                    <a:lnTo>
                      <a:pt x="1632" y="81679"/>
                    </a:lnTo>
                    <a:cubicBezTo>
                      <a:pt x="-767" y="78938"/>
                      <a:pt x="-489" y="74783"/>
                      <a:pt x="2253" y="72364"/>
                    </a:cubicBezTo>
                    <a:cubicBezTo>
                      <a:pt x="4993" y="69965"/>
                      <a:pt x="9148" y="70222"/>
                      <a:pt x="11568" y="72985"/>
                    </a:cubicBezTo>
                    <a:lnTo>
                      <a:pt x="63991" y="132753"/>
                    </a:lnTo>
                    <a:cubicBezTo>
                      <a:pt x="65575" y="134551"/>
                      <a:pt x="67931" y="135365"/>
                      <a:pt x="70394" y="134915"/>
                    </a:cubicBezTo>
                    <a:cubicBezTo>
                      <a:pt x="71507" y="134701"/>
                      <a:pt x="74248" y="133888"/>
                      <a:pt x="75404" y="130761"/>
                    </a:cubicBezTo>
                    <a:cubicBezTo>
                      <a:pt x="77675" y="124637"/>
                      <a:pt x="75062" y="115214"/>
                      <a:pt x="71250" y="109646"/>
                    </a:cubicBezTo>
                    <a:lnTo>
                      <a:pt x="50521" y="79752"/>
                    </a:lnTo>
                    <a:cubicBezTo>
                      <a:pt x="49236" y="77910"/>
                      <a:pt x="48979" y="75533"/>
                      <a:pt x="49836" y="73456"/>
                    </a:cubicBezTo>
                    <a:cubicBezTo>
                      <a:pt x="49964" y="73135"/>
                      <a:pt x="63434" y="39364"/>
                      <a:pt x="44396" y="10197"/>
                    </a:cubicBezTo>
                    <a:cubicBezTo>
                      <a:pt x="42405" y="7135"/>
                      <a:pt x="43261" y="3066"/>
                      <a:pt x="46302" y="1075"/>
                    </a:cubicBezTo>
                    <a:cubicBezTo>
                      <a:pt x="49365" y="-917"/>
                      <a:pt x="53433" y="-60"/>
                      <a:pt x="55425" y="2981"/>
                    </a:cubicBezTo>
                    <a:cubicBezTo>
                      <a:pt x="74655" y="32447"/>
                      <a:pt x="66732" y="64505"/>
                      <a:pt x="63284" y="74998"/>
                    </a:cubicBezTo>
                    <a:lnTo>
                      <a:pt x="82107" y="102130"/>
                    </a:lnTo>
                    <a:cubicBezTo>
                      <a:pt x="87718" y="110332"/>
                      <a:pt x="91872" y="124187"/>
                      <a:pt x="87782" y="135301"/>
                    </a:cubicBezTo>
                    <a:cubicBezTo>
                      <a:pt x="85362" y="141875"/>
                      <a:pt x="79752" y="146565"/>
                      <a:pt x="72813" y="147871"/>
                    </a:cubicBezTo>
                    <a:cubicBezTo>
                      <a:pt x="71529" y="148085"/>
                      <a:pt x="70265" y="148214"/>
                      <a:pt x="69023" y="148214"/>
                    </a:cubicBezTo>
                    <a:close/>
                  </a:path>
                </a:pathLst>
              </a:custGeom>
              <a:solidFill>
                <a:schemeClr val="tx2"/>
              </a:solidFill>
              <a:ln w="2139" cap="flat">
                <a:noFill/>
                <a:prstDash val="solid"/>
                <a:miter/>
              </a:ln>
            </p:spPr>
            <p:txBody>
              <a:bodyPr rtlCol="0" anchor="ctr"/>
              <a:lstStyle/>
              <a:p>
                <a:endParaRPr lang="en-GB" dirty="0"/>
              </a:p>
            </p:txBody>
          </p:sp>
        </p:grpSp>
        <p:grpSp>
          <p:nvGrpSpPr>
            <p:cNvPr id="339" name="Gruppieren 1325">
              <a:extLst>
                <a:ext uri="{FF2B5EF4-FFF2-40B4-BE49-F238E27FC236}">
                  <a16:creationId xmlns:a16="http://schemas.microsoft.com/office/drawing/2014/main" id="{FBECEBB5-454E-45ED-BDCC-B78C6CD8917D}"/>
                </a:ext>
              </a:extLst>
            </p:cNvPr>
            <p:cNvGrpSpPr/>
            <p:nvPr/>
          </p:nvGrpSpPr>
          <p:grpSpPr>
            <a:xfrm>
              <a:off x="3972697" y="3336570"/>
              <a:ext cx="189806" cy="292492"/>
              <a:chOff x="3625079" y="3394227"/>
              <a:chExt cx="214782" cy="330982"/>
            </a:xfrm>
            <a:solidFill>
              <a:schemeClr val="tx2"/>
            </a:solidFill>
          </p:grpSpPr>
          <p:sp>
            <p:nvSpPr>
              <p:cNvPr id="340" name="Freihandform: Form 491">
                <a:extLst>
                  <a:ext uri="{FF2B5EF4-FFF2-40B4-BE49-F238E27FC236}">
                    <a16:creationId xmlns:a16="http://schemas.microsoft.com/office/drawing/2014/main" id="{1F0F454D-2A04-4B0A-B4B5-4800FB21F916}"/>
                  </a:ext>
                </a:extLst>
              </p:cNvPr>
              <p:cNvSpPr/>
              <p:nvPr/>
            </p:nvSpPr>
            <p:spPr>
              <a:xfrm>
                <a:off x="3625079" y="3394227"/>
                <a:ext cx="103902" cy="96108"/>
              </a:xfrm>
              <a:custGeom>
                <a:avLst/>
                <a:gdLst>
                  <a:gd name="connsiteX0" fmla="*/ 63837 w 103902"/>
                  <a:gd name="connsiteY0" fmla="*/ 96108 h 96108"/>
                  <a:gd name="connsiteX1" fmla="*/ 6596 w 103902"/>
                  <a:gd name="connsiteY1" fmla="*/ 96108 h 96108"/>
                  <a:gd name="connsiteX2" fmla="*/ 0 w 103902"/>
                  <a:gd name="connsiteY2" fmla="*/ 89513 h 96108"/>
                  <a:gd name="connsiteX3" fmla="*/ 6596 w 103902"/>
                  <a:gd name="connsiteY3" fmla="*/ 82917 h 96108"/>
                  <a:gd name="connsiteX4" fmla="*/ 53215 w 103902"/>
                  <a:gd name="connsiteY4" fmla="*/ 82917 h 96108"/>
                  <a:gd name="connsiteX5" fmla="*/ 39360 w 103902"/>
                  <a:gd name="connsiteY5" fmla="*/ 46363 h 96108"/>
                  <a:gd name="connsiteX6" fmla="*/ 87671 w 103902"/>
                  <a:gd name="connsiteY6" fmla="*/ 150 h 96108"/>
                  <a:gd name="connsiteX7" fmla="*/ 88913 w 103902"/>
                  <a:gd name="connsiteY7" fmla="*/ 21 h 96108"/>
                  <a:gd name="connsiteX8" fmla="*/ 90455 w 103902"/>
                  <a:gd name="connsiteY8" fmla="*/ 0 h 96108"/>
                  <a:gd name="connsiteX9" fmla="*/ 91976 w 103902"/>
                  <a:gd name="connsiteY9" fmla="*/ 128 h 96108"/>
                  <a:gd name="connsiteX10" fmla="*/ 98357 w 103902"/>
                  <a:gd name="connsiteY10" fmla="*/ 792 h 96108"/>
                  <a:gd name="connsiteX11" fmla="*/ 103818 w 103902"/>
                  <a:gd name="connsiteY11" fmla="*/ 8352 h 96108"/>
                  <a:gd name="connsiteX12" fmla="*/ 96258 w 103902"/>
                  <a:gd name="connsiteY12" fmla="*/ 13812 h 96108"/>
                  <a:gd name="connsiteX13" fmla="*/ 90562 w 103902"/>
                  <a:gd name="connsiteY13" fmla="*/ 13256 h 96108"/>
                  <a:gd name="connsiteX14" fmla="*/ 89834 w 103902"/>
                  <a:gd name="connsiteY14" fmla="*/ 13191 h 96108"/>
                  <a:gd name="connsiteX15" fmla="*/ 89213 w 103902"/>
                  <a:gd name="connsiteY15" fmla="*/ 13256 h 96108"/>
                  <a:gd name="connsiteX16" fmla="*/ 52530 w 103902"/>
                  <a:gd name="connsiteY16" fmla="*/ 46255 h 96108"/>
                  <a:gd name="connsiteX17" fmla="*/ 68527 w 103902"/>
                  <a:gd name="connsiteY17" fmla="*/ 80733 h 96108"/>
                  <a:gd name="connsiteX18" fmla="*/ 70218 w 103902"/>
                  <a:gd name="connsiteY18" fmla="*/ 84866 h 96108"/>
                  <a:gd name="connsiteX19" fmla="*/ 70411 w 103902"/>
                  <a:gd name="connsiteY19" fmla="*/ 89213 h 96108"/>
                  <a:gd name="connsiteX20" fmla="*/ 68591 w 103902"/>
                  <a:gd name="connsiteY20" fmla="*/ 94053 h 96108"/>
                  <a:gd name="connsiteX21" fmla="*/ 63837 w 103902"/>
                  <a:gd name="connsiteY21" fmla="*/ 96108 h 9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3902" h="96108">
                    <a:moveTo>
                      <a:pt x="63837" y="96108"/>
                    </a:moveTo>
                    <a:lnTo>
                      <a:pt x="6596" y="96108"/>
                    </a:lnTo>
                    <a:cubicBezTo>
                      <a:pt x="2955" y="96108"/>
                      <a:pt x="0" y="93153"/>
                      <a:pt x="0" y="89513"/>
                    </a:cubicBezTo>
                    <a:cubicBezTo>
                      <a:pt x="0" y="85872"/>
                      <a:pt x="2955" y="82917"/>
                      <a:pt x="6596" y="82917"/>
                    </a:cubicBezTo>
                    <a:lnTo>
                      <a:pt x="53215" y="82917"/>
                    </a:lnTo>
                    <a:cubicBezTo>
                      <a:pt x="44092" y="70882"/>
                      <a:pt x="39446" y="58612"/>
                      <a:pt x="39360" y="46363"/>
                    </a:cubicBezTo>
                    <a:cubicBezTo>
                      <a:pt x="39210" y="21971"/>
                      <a:pt x="60368" y="1820"/>
                      <a:pt x="87671" y="150"/>
                    </a:cubicBezTo>
                    <a:cubicBezTo>
                      <a:pt x="88078" y="64"/>
                      <a:pt x="88485" y="21"/>
                      <a:pt x="88913" y="21"/>
                    </a:cubicBezTo>
                    <a:lnTo>
                      <a:pt x="90455" y="0"/>
                    </a:lnTo>
                    <a:cubicBezTo>
                      <a:pt x="91012" y="0"/>
                      <a:pt x="91483" y="21"/>
                      <a:pt x="91976" y="128"/>
                    </a:cubicBezTo>
                    <a:cubicBezTo>
                      <a:pt x="94117" y="236"/>
                      <a:pt x="96258" y="450"/>
                      <a:pt x="98357" y="792"/>
                    </a:cubicBezTo>
                    <a:cubicBezTo>
                      <a:pt x="101955" y="1371"/>
                      <a:pt x="104396" y="4754"/>
                      <a:pt x="103818" y="8352"/>
                    </a:cubicBezTo>
                    <a:cubicBezTo>
                      <a:pt x="103239" y="11949"/>
                      <a:pt x="99835" y="14391"/>
                      <a:pt x="96258" y="13812"/>
                    </a:cubicBezTo>
                    <a:cubicBezTo>
                      <a:pt x="94395" y="13513"/>
                      <a:pt x="92490" y="13320"/>
                      <a:pt x="90562" y="13256"/>
                    </a:cubicBezTo>
                    <a:cubicBezTo>
                      <a:pt x="90327" y="13256"/>
                      <a:pt x="90070" y="13234"/>
                      <a:pt x="89834" y="13191"/>
                    </a:cubicBezTo>
                    <a:cubicBezTo>
                      <a:pt x="89620" y="13213"/>
                      <a:pt x="89427" y="13234"/>
                      <a:pt x="89213" y="13256"/>
                    </a:cubicBezTo>
                    <a:cubicBezTo>
                      <a:pt x="68548" y="14198"/>
                      <a:pt x="52444" y="28696"/>
                      <a:pt x="52530" y="46255"/>
                    </a:cubicBezTo>
                    <a:cubicBezTo>
                      <a:pt x="52594" y="57455"/>
                      <a:pt x="57991" y="69062"/>
                      <a:pt x="68527" y="80733"/>
                    </a:cubicBezTo>
                    <a:cubicBezTo>
                      <a:pt x="69554" y="81868"/>
                      <a:pt x="70154" y="83345"/>
                      <a:pt x="70218" y="84866"/>
                    </a:cubicBezTo>
                    <a:lnTo>
                      <a:pt x="70411" y="89213"/>
                    </a:lnTo>
                    <a:cubicBezTo>
                      <a:pt x="70497" y="91012"/>
                      <a:pt x="69833" y="92768"/>
                      <a:pt x="68591" y="94053"/>
                    </a:cubicBezTo>
                    <a:cubicBezTo>
                      <a:pt x="67370" y="95359"/>
                      <a:pt x="65636" y="96108"/>
                      <a:pt x="63837" y="96108"/>
                    </a:cubicBezTo>
                    <a:close/>
                  </a:path>
                </a:pathLst>
              </a:custGeom>
              <a:grpFill/>
              <a:ln w="2139" cap="flat">
                <a:noFill/>
                <a:prstDash val="solid"/>
                <a:miter/>
              </a:ln>
            </p:spPr>
            <p:txBody>
              <a:bodyPr rtlCol="0" anchor="ctr"/>
              <a:lstStyle/>
              <a:p>
                <a:endParaRPr lang="en-GB" dirty="0"/>
              </a:p>
            </p:txBody>
          </p:sp>
          <p:sp>
            <p:nvSpPr>
              <p:cNvPr id="341" name="Freihandform: Form 492">
                <a:extLst>
                  <a:ext uri="{FF2B5EF4-FFF2-40B4-BE49-F238E27FC236}">
                    <a16:creationId xmlns:a16="http://schemas.microsoft.com/office/drawing/2014/main" id="{BDAD9284-F76D-465D-8110-5CBC359CF451}"/>
                  </a:ext>
                </a:extLst>
              </p:cNvPr>
              <p:cNvSpPr/>
              <p:nvPr/>
            </p:nvSpPr>
            <p:spPr>
              <a:xfrm>
                <a:off x="3735406" y="3415383"/>
                <a:ext cx="89598" cy="174466"/>
              </a:xfrm>
              <a:custGeom>
                <a:avLst/>
                <a:gdLst>
                  <a:gd name="connsiteX0" fmla="*/ 56171 w 89598"/>
                  <a:gd name="connsiteY0" fmla="*/ 174466 h 174466"/>
                  <a:gd name="connsiteX1" fmla="*/ 52916 w 89598"/>
                  <a:gd name="connsiteY1" fmla="*/ 173609 h 174466"/>
                  <a:gd name="connsiteX2" fmla="*/ 50432 w 89598"/>
                  <a:gd name="connsiteY2" fmla="*/ 164615 h 174466"/>
                  <a:gd name="connsiteX3" fmla="*/ 54650 w 89598"/>
                  <a:gd name="connsiteY3" fmla="*/ 158127 h 174466"/>
                  <a:gd name="connsiteX4" fmla="*/ 58890 w 89598"/>
                  <a:gd name="connsiteY4" fmla="*/ 150996 h 174466"/>
                  <a:gd name="connsiteX5" fmla="*/ 76279 w 89598"/>
                  <a:gd name="connsiteY5" fmla="*/ 74953 h 174466"/>
                  <a:gd name="connsiteX6" fmla="*/ 6596 w 89598"/>
                  <a:gd name="connsiteY6" fmla="*/ 74953 h 174466"/>
                  <a:gd name="connsiteX7" fmla="*/ 1885 w 89598"/>
                  <a:gd name="connsiteY7" fmla="*/ 72961 h 174466"/>
                  <a:gd name="connsiteX8" fmla="*/ 1 w 89598"/>
                  <a:gd name="connsiteY8" fmla="*/ 68186 h 174466"/>
                  <a:gd name="connsiteX9" fmla="*/ 108 w 89598"/>
                  <a:gd name="connsiteY9" fmla="*/ 63517 h 174466"/>
                  <a:gd name="connsiteX10" fmla="*/ 1756 w 89598"/>
                  <a:gd name="connsiteY10" fmla="*/ 59320 h 174466"/>
                  <a:gd name="connsiteX11" fmla="*/ 17325 w 89598"/>
                  <a:gd name="connsiteY11" fmla="*/ 24629 h 174466"/>
                  <a:gd name="connsiteX12" fmla="*/ 13149 w 89598"/>
                  <a:gd name="connsiteY12" fmla="*/ 10002 h 174466"/>
                  <a:gd name="connsiteX13" fmla="*/ 15419 w 89598"/>
                  <a:gd name="connsiteY13" fmla="*/ 944 h 174466"/>
                  <a:gd name="connsiteX14" fmla="*/ 24477 w 89598"/>
                  <a:gd name="connsiteY14" fmla="*/ 3214 h 174466"/>
                  <a:gd name="connsiteX15" fmla="*/ 30538 w 89598"/>
                  <a:gd name="connsiteY15" fmla="*/ 24543 h 174466"/>
                  <a:gd name="connsiteX16" fmla="*/ 16789 w 89598"/>
                  <a:gd name="connsiteY16" fmla="*/ 61761 h 174466"/>
                  <a:gd name="connsiteX17" fmla="*/ 83003 w 89598"/>
                  <a:gd name="connsiteY17" fmla="*/ 61761 h 174466"/>
                  <a:gd name="connsiteX18" fmla="*/ 89599 w 89598"/>
                  <a:gd name="connsiteY18" fmla="*/ 68357 h 174466"/>
                  <a:gd name="connsiteX19" fmla="*/ 70968 w 89598"/>
                  <a:gd name="connsiteY19" fmla="*/ 156371 h 174466"/>
                  <a:gd name="connsiteX20" fmla="*/ 65443 w 89598"/>
                  <a:gd name="connsiteY20" fmla="*/ 165750 h 174466"/>
                  <a:gd name="connsiteX21" fmla="*/ 61931 w 89598"/>
                  <a:gd name="connsiteY21" fmla="*/ 171125 h 174466"/>
                  <a:gd name="connsiteX22" fmla="*/ 56171 w 89598"/>
                  <a:gd name="connsiteY22" fmla="*/ 174466 h 17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9598" h="174466">
                    <a:moveTo>
                      <a:pt x="56171" y="174466"/>
                    </a:moveTo>
                    <a:cubicBezTo>
                      <a:pt x="55079" y="174466"/>
                      <a:pt x="53965" y="174188"/>
                      <a:pt x="52916" y="173609"/>
                    </a:cubicBezTo>
                    <a:cubicBezTo>
                      <a:pt x="49746" y="171811"/>
                      <a:pt x="48633" y="167785"/>
                      <a:pt x="50432" y="164615"/>
                    </a:cubicBezTo>
                    <a:cubicBezTo>
                      <a:pt x="51931" y="161960"/>
                      <a:pt x="53323" y="159990"/>
                      <a:pt x="54650" y="158127"/>
                    </a:cubicBezTo>
                    <a:cubicBezTo>
                      <a:pt x="56278" y="155835"/>
                      <a:pt x="57563" y="154015"/>
                      <a:pt x="58890" y="150996"/>
                    </a:cubicBezTo>
                    <a:cubicBezTo>
                      <a:pt x="69598" y="126926"/>
                      <a:pt x="75444" y="101378"/>
                      <a:pt x="76279" y="74953"/>
                    </a:cubicBezTo>
                    <a:lnTo>
                      <a:pt x="6596" y="74953"/>
                    </a:lnTo>
                    <a:cubicBezTo>
                      <a:pt x="4819" y="74953"/>
                      <a:pt x="3127" y="74246"/>
                      <a:pt x="1885" y="72961"/>
                    </a:cubicBezTo>
                    <a:cubicBezTo>
                      <a:pt x="643" y="71676"/>
                      <a:pt x="-21" y="69963"/>
                      <a:pt x="1" y="68186"/>
                    </a:cubicBezTo>
                    <a:lnTo>
                      <a:pt x="108" y="63517"/>
                    </a:lnTo>
                    <a:cubicBezTo>
                      <a:pt x="150" y="61954"/>
                      <a:pt x="729" y="60476"/>
                      <a:pt x="1756" y="59320"/>
                    </a:cubicBezTo>
                    <a:cubicBezTo>
                      <a:pt x="12143" y="47521"/>
                      <a:pt x="17389" y="35850"/>
                      <a:pt x="17325" y="24629"/>
                    </a:cubicBezTo>
                    <a:cubicBezTo>
                      <a:pt x="17282" y="19489"/>
                      <a:pt x="15890" y="14564"/>
                      <a:pt x="13149" y="10002"/>
                    </a:cubicBezTo>
                    <a:cubicBezTo>
                      <a:pt x="11265" y="6876"/>
                      <a:pt x="12292" y="2829"/>
                      <a:pt x="15419" y="944"/>
                    </a:cubicBezTo>
                    <a:cubicBezTo>
                      <a:pt x="18546" y="-940"/>
                      <a:pt x="22593" y="88"/>
                      <a:pt x="24477" y="3214"/>
                    </a:cubicBezTo>
                    <a:cubicBezTo>
                      <a:pt x="28396" y="9745"/>
                      <a:pt x="30495" y="17112"/>
                      <a:pt x="30538" y="24543"/>
                    </a:cubicBezTo>
                    <a:cubicBezTo>
                      <a:pt x="30602" y="36985"/>
                      <a:pt x="25998" y="49470"/>
                      <a:pt x="16789" y="61761"/>
                    </a:cubicBezTo>
                    <a:lnTo>
                      <a:pt x="83003" y="61761"/>
                    </a:lnTo>
                    <a:cubicBezTo>
                      <a:pt x="86644" y="61761"/>
                      <a:pt x="89599" y="64717"/>
                      <a:pt x="89599" y="68357"/>
                    </a:cubicBezTo>
                    <a:cubicBezTo>
                      <a:pt x="89599" y="99001"/>
                      <a:pt x="83325" y="128596"/>
                      <a:pt x="70968" y="156371"/>
                    </a:cubicBezTo>
                    <a:cubicBezTo>
                      <a:pt x="69105" y="160568"/>
                      <a:pt x="67242" y="163202"/>
                      <a:pt x="65443" y="165750"/>
                    </a:cubicBezTo>
                    <a:cubicBezTo>
                      <a:pt x="64351" y="167314"/>
                      <a:pt x="63195" y="168920"/>
                      <a:pt x="61931" y="171125"/>
                    </a:cubicBezTo>
                    <a:cubicBezTo>
                      <a:pt x="60711" y="173245"/>
                      <a:pt x="58484" y="174466"/>
                      <a:pt x="56171" y="174466"/>
                    </a:cubicBezTo>
                    <a:close/>
                  </a:path>
                </a:pathLst>
              </a:custGeom>
              <a:grpFill/>
              <a:ln w="2139" cap="flat">
                <a:noFill/>
                <a:prstDash val="solid"/>
                <a:miter/>
              </a:ln>
            </p:spPr>
            <p:txBody>
              <a:bodyPr rtlCol="0" anchor="ctr"/>
              <a:lstStyle/>
              <a:p>
                <a:endParaRPr lang="en-GB" dirty="0"/>
              </a:p>
            </p:txBody>
          </p:sp>
          <p:sp>
            <p:nvSpPr>
              <p:cNvPr id="342" name="Freihandform: Form 493">
                <a:extLst>
                  <a:ext uri="{FF2B5EF4-FFF2-40B4-BE49-F238E27FC236}">
                    <a16:creationId xmlns:a16="http://schemas.microsoft.com/office/drawing/2014/main" id="{1676FEC3-2CC6-491B-8B4A-2C930DD89596}"/>
                  </a:ext>
                </a:extLst>
              </p:cNvPr>
              <p:cNvSpPr/>
              <p:nvPr/>
            </p:nvSpPr>
            <p:spPr>
              <a:xfrm>
                <a:off x="3625482" y="3642447"/>
                <a:ext cx="120284" cy="56701"/>
              </a:xfrm>
              <a:custGeom>
                <a:avLst/>
                <a:gdLst>
                  <a:gd name="connsiteX0" fmla="*/ 6599 w 120284"/>
                  <a:gd name="connsiteY0" fmla="*/ 56702 h 56701"/>
                  <a:gd name="connsiteX1" fmla="*/ 46 w 120284"/>
                  <a:gd name="connsiteY1" fmla="*/ 50856 h 56701"/>
                  <a:gd name="connsiteX2" fmla="*/ 5828 w 120284"/>
                  <a:gd name="connsiteY2" fmla="*/ 43553 h 56701"/>
                  <a:gd name="connsiteX3" fmla="*/ 109667 w 120284"/>
                  <a:gd name="connsiteY3" fmla="*/ 1366 h 56701"/>
                  <a:gd name="connsiteX4" fmla="*/ 118918 w 120284"/>
                  <a:gd name="connsiteY4" fmla="*/ 2587 h 56701"/>
                  <a:gd name="connsiteX5" fmla="*/ 117698 w 120284"/>
                  <a:gd name="connsiteY5" fmla="*/ 11838 h 56701"/>
                  <a:gd name="connsiteX6" fmla="*/ 7349 w 120284"/>
                  <a:gd name="connsiteY6" fmla="*/ 56659 h 56701"/>
                  <a:gd name="connsiteX7" fmla="*/ 6599 w 120284"/>
                  <a:gd name="connsiteY7" fmla="*/ 56702 h 56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284" h="56701">
                    <a:moveTo>
                      <a:pt x="6599" y="56702"/>
                    </a:moveTo>
                    <a:cubicBezTo>
                      <a:pt x="3301" y="56702"/>
                      <a:pt x="432" y="54239"/>
                      <a:pt x="46" y="50856"/>
                    </a:cubicBezTo>
                    <a:cubicBezTo>
                      <a:pt x="-382" y="47237"/>
                      <a:pt x="2209" y="43960"/>
                      <a:pt x="5828" y="43553"/>
                    </a:cubicBezTo>
                    <a:cubicBezTo>
                      <a:pt x="42404" y="39313"/>
                      <a:pt x="80244" y="23937"/>
                      <a:pt x="109667" y="1366"/>
                    </a:cubicBezTo>
                    <a:cubicBezTo>
                      <a:pt x="112558" y="-861"/>
                      <a:pt x="116713" y="-304"/>
                      <a:pt x="118918" y="2587"/>
                    </a:cubicBezTo>
                    <a:cubicBezTo>
                      <a:pt x="121146" y="5478"/>
                      <a:pt x="120589" y="9611"/>
                      <a:pt x="117698" y="11838"/>
                    </a:cubicBezTo>
                    <a:cubicBezTo>
                      <a:pt x="86454" y="35823"/>
                      <a:pt x="46238" y="52162"/>
                      <a:pt x="7349" y="56659"/>
                    </a:cubicBezTo>
                    <a:cubicBezTo>
                      <a:pt x="7113" y="56702"/>
                      <a:pt x="6856" y="56702"/>
                      <a:pt x="6599" y="56702"/>
                    </a:cubicBezTo>
                    <a:close/>
                  </a:path>
                </a:pathLst>
              </a:custGeom>
              <a:grpFill/>
              <a:ln w="2139" cap="flat">
                <a:noFill/>
                <a:prstDash val="solid"/>
                <a:miter/>
              </a:ln>
            </p:spPr>
            <p:txBody>
              <a:bodyPr rtlCol="0" anchor="ctr"/>
              <a:lstStyle/>
              <a:p>
                <a:endParaRPr lang="en-GB" dirty="0"/>
              </a:p>
            </p:txBody>
          </p:sp>
          <p:grpSp>
            <p:nvGrpSpPr>
              <p:cNvPr id="343" name="Grafik 319">
                <a:extLst>
                  <a:ext uri="{FF2B5EF4-FFF2-40B4-BE49-F238E27FC236}">
                    <a16:creationId xmlns:a16="http://schemas.microsoft.com/office/drawing/2014/main" id="{216763E5-084D-495A-A7C0-A915B0FF8577}"/>
                  </a:ext>
                </a:extLst>
              </p:cNvPr>
              <p:cNvGrpSpPr/>
              <p:nvPr/>
            </p:nvGrpSpPr>
            <p:grpSpPr>
              <a:xfrm>
                <a:off x="3688541" y="3515761"/>
                <a:ext cx="151320" cy="209448"/>
                <a:chOff x="3688541" y="3515761"/>
                <a:chExt cx="151320" cy="209448"/>
              </a:xfrm>
              <a:grpFill/>
            </p:grpSpPr>
            <p:sp>
              <p:nvSpPr>
                <p:cNvPr id="344" name="Freihandform: Form 495">
                  <a:extLst>
                    <a:ext uri="{FF2B5EF4-FFF2-40B4-BE49-F238E27FC236}">
                      <a16:creationId xmlns:a16="http://schemas.microsoft.com/office/drawing/2014/main" id="{827B00FC-D627-49D3-ADB0-BA29D1D316D2}"/>
                    </a:ext>
                  </a:extLst>
                </p:cNvPr>
                <p:cNvSpPr/>
                <p:nvPr/>
              </p:nvSpPr>
              <p:spPr>
                <a:xfrm>
                  <a:off x="3688541" y="3669277"/>
                  <a:ext cx="77485" cy="55932"/>
                </a:xfrm>
                <a:custGeom>
                  <a:avLst/>
                  <a:gdLst>
                    <a:gd name="connsiteX0" fmla="*/ 70892 w 77485"/>
                    <a:gd name="connsiteY0" fmla="*/ 55933 h 55932"/>
                    <a:gd name="connsiteX1" fmla="*/ 66010 w 77485"/>
                    <a:gd name="connsiteY1" fmla="*/ 53770 h 55932"/>
                    <a:gd name="connsiteX2" fmla="*/ 44274 w 77485"/>
                    <a:gd name="connsiteY2" fmla="*/ 29786 h 55932"/>
                    <a:gd name="connsiteX3" fmla="*/ 13245 w 77485"/>
                    <a:gd name="connsiteY3" fmla="*/ 20684 h 55932"/>
                    <a:gd name="connsiteX4" fmla="*/ 2387 w 77485"/>
                    <a:gd name="connsiteY4" fmla="*/ 11690 h 55932"/>
                    <a:gd name="connsiteX5" fmla="*/ 1509 w 77485"/>
                    <a:gd name="connsiteY5" fmla="*/ 2396 h 55932"/>
                    <a:gd name="connsiteX6" fmla="*/ 10803 w 77485"/>
                    <a:gd name="connsiteY6" fmla="*/ 1518 h 55932"/>
                    <a:gd name="connsiteX7" fmla="*/ 21660 w 77485"/>
                    <a:gd name="connsiteY7" fmla="*/ 10513 h 55932"/>
                    <a:gd name="connsiteX8" fmla="*/ 45345 w 77485"/>
                    <a:gd name="connsiteY8" fmla="*/ 16230 h 55932"/>
                    <a:gd name="connsiteX9" fmla="*/ 51619 w 77485"/>
                    <a:gd name="connsiteY9" fmla="*/ 18243 h 55932"/>
                    <a:gd name="connsiteX10" fmla="*/ 75775 w 77485"/>
                    <a:gd name="connsiteY10" fmla="*/ 44883 h 55932"/>
                    <a:gd name="connsiteX11" fmla="*/ 75325 w 77485"/>
                    <a:gd name="connsiteY11" fmla="*/ 54198 h 55932"/>
                    <a:gd name="connsiteX12" fmla="*/ 70892 w 77485"/>
                    <a:gd name="connsiteY12" fmla="*/ 55933 h 5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485" h="55932">
                      <a:moveTo>
                        <a:pt x="70892" y="55933"/>
                      </a:moveTo>
                      <a:cubicBezTo>
                        <a:pt x="69094" y="55933"/>
                        <a:pt x="67295" y="55205"/>
                        <a:pt x="66010" y="53770"/>
                      </a:cubicBezTo>
                      <a:lnTo>
                        <a:pt x="44274" y="29786"/>
                      </a:lnTo>
                      <a:cubicBezTo>
                        <a:pt x="33117" y="31135"/>
                        <a:pt x="21982" y="27901"/>
                        <a:pt x="13245" y="20684"/>
                      </a:cubicBezTo>
                      <a:lnTo>
                        <a:pt x="2387" y="11690"/>
                      </a:lnTo>
                      <a:cubicBezTo>
                        <a:pt x="-418" y="9377"/>
                        <a:pt x="-803" y="5202"/>
                        <a:pt x="1509" y="2396"/>
                      </a:cubicBezTo>
                      <a:cubicBezTo>
                        <a:pt x="3822" y="-409"/>
                        <a:pt x="7977" y="-816"/>
                        <a:pt x="10803" y="1518"/>
                      </a:cubicBezTo>
                      <a:lnTo>
                        <a:pt x="21660" y="10513"/>
                      </a:lnTo>
                      <a:cubicBezTo>
                        <a:pt x="28256" y="15973"/>
                        <a:pt x="36886" y="18050"/>
                        <a:pt x="45345" y="16230"/>
                      </a:cubicBezTo>
                      <a:cubicBezTo>
                        <a:pt x="47658" y="15759"/>
                        <a:pt x="50035" y="16509"/>
                        <a:pt x="51619" y="18243"/>
                      </a:cubicBezTo>
                      <a:lnTo>
                        <a:pt x="75775" y="44883"/>
                      </a:lnTo>
                      <a:cubicBezTo>
                        <a:pt x="78216" y="47581"/>
                        <a:pt x="78024" y="51757"/>
                        <a:pt x="75325" y="54198"/>
                      </a:cubicBezTo>
                      <a:cubicBezTo>
                        <a:pt x="74062" y="55376"/>
                        <a:pt x="72477" y="55933"/>
                        <a:pt x="70892" y="55933"/>
                      </a:cubicBezTo>
                      <a:close/>
                    </a:path>
                  </a:pathLst>
                </a:custGeom>
                <a:grpFill/>
                <a:ln w="2139" cap="flat">
                  <a:noFill/>
                  <a:prstDash val="solid"/>
                  <a:miter/>
                </a:ln>
              </p:spPr>
              <p:txBody>
                <a:bodyPr rtlCol="0" anchor="ctr"/>
                <a:lstStyle/>
                <a:p>
                  <a:endParaRPr lang="en-GB" dirty="0"/>
                </a:p>
              </p:txBody>
            </p:sp>
            <p:sp>
              <p:nvSpPr>
                <p:cNvPr id="345" name="Freihandform: Form 496">
                  <a:extLst>
                    <a:ext uri="{FF2B5EF4-FFF2-40B4-BE49-F238E27FC236}">
                      <a16:creationId xmlns:a16="http://schemas.microsoft.com/office/drawing/2014/main" id="{FF2D6640-629D-4B8B-80BC-F53D386A4287}"/>
                    </a:ext>
                  </a:extLst>
                </p:cNvPr>
                <p:cNvSpPr/>
                <p:nvPr/>
              </p:nvSpPr>
              <p:spPr>
                <a:xfrm>
                  <a:off x="3797284" y="3557551"/>
                  <a:ext cx="42577" cy="117484"/>
                </a:xfrm>
                <a:custGeom>
                  <a:avLst/>
                  <a:gdLst>
                    <a:gd name="connsiteX0" fmla="*/ 35965 w 42577"/>
                    <a:gd name="connsiteY0" fmla="*/ 117485 h 117484"/>
                    <a:gd name="connsiteX1" fmla="*/ 30847 w 42577"/>
                    <a:gd name="connsiteY1" fmla="*/ 115044 h 117484"/>
                    <a:gd name="connsiteX2" fmla="*/ 15900 w 42577"/>
                    <a:gd name="connsiteY2" fmla="*/ 96649 h 117484"/>
                    <a:gd name="connsiteX3" fmla="*/ 14444 w 42577"/>
                    <a:gd name="connsiteY3" fmla="*/ 92087 h 117484"/>
                    <a:gd name="connsiteX4" fmla="*/ 16692 w 42577"/>
                    <a:gd name="connsiteY4" fmla="*/ 54226 h 117484"/>
                    <a:gd name="connsiteX5" fmla="*/ 1509 w 42577"/>
                    <a:gd name="connsiteY5" fmla="*/ 10819 h 117484"/>
                    <a:gd name="connsiteX6" fmla="*/ 2387 w 42577"/>
                    <a:gd name="connsiteY6" fmla="*/ 1525 h 117484"/>
                    <a:gd name="connsiteX7" fmla="*/ 11681 w 42577"/>
                    <a:gd name="connsiteY7" fmla="*/ 2403 h 117484"/>
                    <a:gd name="connsiteX8" fmla="*/ 29862 w 42577"/>
                    <a:gd name="connsiteY8" fmla="*/ 54997 h 117484"/>
                    <a:gd name="connsiteX9" fmla="*/ 27764 w 42577"/>
                    <a:gd name="connsiteY9" fmla="*/ 90288 h 117484"/>
                    <a:gd name="connsiteX10" fmla="*/ 41105 w 42577"/>
                    <a:gd name="connsiteY10" fmla="*/ 106692 h 117484"/>
                    <a:gd name="connsiteX11" fmla="*/ 40141 w 42577"/>
                    <a:gd name="connsiteY11" fmla="*/ 115965 h 117484"/>
                    <a:gd name="connsiteX12" fmla="*/ 35965 w 42577"/>
                    <a:gd name="connsiteY12" fmla="*/ 117485 h 11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117484">
                      <a:moveTo>
                        <a:pt x="35965" y="117485"/>
                      </a:moveTo>
                      <a:cubicBezTo>
                        <a:pt x="34038" y="117485"/>
                        <a:pt x="32154" y="116650"/>
                        <a:pt x="30847" y="115044"/>
                      </a:cubicBezTo>
                      <a:lnTo>
                        <a:pt x="15900" y="96649"/>
                      </a:lnTo>
                      <a:cubicBezTo>
                        <a:pt x="14872" y="95364"/>
                        <a:pt x="14337" y="93736"/>
                        <a:pt x="14444" y="92087"/>
                      </a:cubicBezTo>
                      <a:lnTo>
                        <a:pt x="16692" y="54226"/>
                      </a:lnTo>
                      <a:cubicBezTo>
                        <a:pt x="17506" y="40671"/>
                        <a:pt x="11125" y="22404"/>
                        <a:pt x="1509" y="10819"/>
                      </a:cubicBezTo>
                      <a:cubicBezTo>
                        <a:pt x="-803" y="8014"/>
                        <a:pt x="-418" y="3859"/>
                        <a:pt x="2387" y="1525"/>
                      </a:cubicBezTo>
                      <a:cubicBezTo>
                        <a:pt x="5193" y="-809"/>
                        <a:pt x="9347" y="-423"/>
                        <a:pt x="11681" y="2403"/>
                      </a:cubicBezTo>
                      <a:cubicBezTo>
                        <a:pt x="23395" y="16537"/>
                        <a:pt x="30869" y="38166"/>
                        <a:pt x="29862" y="54997"/>
                      </a:cubicBezTo>
                      <a:lnTo>
                        <a:pt x="27764" y="90288"/>
                      </a:lnTo>
                      <a:lnTo>
                        <a:pt x="41105" y="106692"/>
                      </a:lnTo>
                      <a:cubicBezTo>
                        <a:pt x="43396" y="109519"/>
                        <a:pt x="42968" y="113673"/>
                        <a:pt x="40141" y="115965"/>
                      </a:cubicBezTo>
                      <a:cubicBezTo>
                        <a:pt x="38899" y="117014"/>
                        <a:pt x="37422" y="117485"/>
                        <a:pt x="35965" y="117485"/>
                      </a:cubicBezTo>
                      <a:close/>
                    </a:path>
                  </a:pathLst>
                </a:custGeom>
                <a:grpFill/>
                <a:ln w="2139" cap="flat">
                  <a:noFill/>
                  <a:prstDash val="solid"/>
                  <a:miter/>
                </a:ln>
              </p:spPr>
              <p:txBody>
                <a:bodyPr rtlCol="0" anchor="ctr"/>
                <a:lstStyle/>
                <a:p>
                  <a:endParaRPr lang="en-GB" dirty="0"/>
                </a:p>
              </p:txBody>
            </p:sp>
            <p:sp>
              <p:nvSpPr>
                <p:cNvPr id="346" name="Freihandform: Form 497">
                  <a:extLst>
                    <a:ext uri="{FF2B5EF4-FFF2-40B4-BE49-F238E27FC236}">
                      <a16:creationId xmlns:a16="http://schemas.microsoft.com/office/drawing/2014/main" id="{3E340D52-3551-42B1-B195-EF3EC8165B63}"/>
                    </a:ext>
                  </a:extLst>
                </p:cNvPr>
                <p:cNvSpPr/>
                <p:nvPr/>
              </p:nvSpPr>
              <p:spPr>
                <a:xfrm>
                  <a:off x="3710227" y="3515761"/>
                  <a:ext cx="89406" cy="148246"/>
                </a:xfrm>
                <a:custGeom>
                  <a:avLst/>
                  <a:gdLst>
                    <a:gd name="connsiteX0" fmla="*/ 39528 w 89406"/>
                    <a:gd name="connsiteY0" fmla="*/ 148246 h 148246"/>
                    <a:gd name="connsiteX1" fmla="*/ 34003 w 89406"/>
                    <a:gd name="connsiteY1" fmla="*/ 145248 h 148246"/>
                    <a:gd name="connsiteX2" fmla="*/ 26144 w 89406"/>
                    <a:gd name="connsiteY2" fmla="*/ 73231 h 148246"/>
                    <a:gd name="connsiteX3" fmla="*/ 7321 w 89406"/>
                    <a:gd name="connsiteY3" fmla="*/ 46099 h 148246"/>
                    <a:gd name="connsiteX4" fmla="*/ 1646 w 89406"/>
                    <a:gd name="connsiteY4" fmla="*/ 12928 h 148246"/>
                    <a:gd name="connsiteX5" fmla="*/ 16614 w 89406"/>
                    <a:gd name="connsiteY5" fmla="*/ 358 h 148246"/>
                    <a:gd name="connsiteX6" fmla="*/ 35331 w 89406"/>
                    <a:gd name="connsiteY6" fmla="*/ 6782 h 148246"/>
                    <a:gd name="connsiteX7" fmla="*/ 87775 w 89406"/>
                    <a:gd name="connsiteY7" fmla="*/ 66571 h 148246"/>
                    <a:gd name="connsiteX8" fmla="*/ 87154 w 89406"/>
                    <a:gd name="connsiteY8" fmla="*/ 75887 h 148246"/>
                    <a:gd name="connsiteX9" fmla="*/ 77838 w 89406"/>
                    <a:gd name="connsiteY9" fmla="*/ 75266 h 148246"/>
                    <a:gd name="connsiteX10" fmla="*/ 25416 w 89406"/>
                    <a:gd name="connsiteY10" fmla="*/ 15498 h 148246"/>
                    <a:gd name="connsiteX11" fmla="*/ 19013 w 89406"/>
                    <a:gd name="connsiteY11" fmla="*/ 13335 h 148246"/>
                    <a:gd name="connsiteX12" fmla="*/ 14002 w 89406"/>
                    <a:gd name="connsiteY12" fmla="*/ 17489 h 148246"/>
                    <a:gd name="connsiteX13" fmla="*/ 18156 w 89406"/>
                    <a:gd name="connsiteY13" fmla="*/ 38604 h 148246"/>
                    <a:gd name="connsiteX14" fmla="*/ 38886 w 89406"/>
                    <a:gd name="connsiteY14" fmla="*/ 68499 h 148246"/>
                    <a:gd name="connsiteX15" fmla="*/ 39571 w 89406"/>
                    <a:gd name="connsiteY15" fmla="*/ 74794 h 148246"/>
                    <a:gd name="connsiteX16" fmla="*/ 45010 w 89406"/>
                    <a:gd name="connsiteY16" fmla="*/ 138053 h 148246"/>
                    <a:gd name="connsiteX17" fmla="*/ 43104 w 89406"/>
                    <a:gd name="connsiteY17" fmla="*/ 147176 h 148246"/>
                    <a:gd name="connsiteX18" fmla="*/ 39528 w 89406"/>
                    <a:gd name="connsiteY18" fmla="*/ 148246 h 148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406" h="148246">
                      <a:moveTo>
                        <a:pt x="39528" y="148246"/>
                      </a:moveTo>
                      <a:cubicBezTo>
                        <a:pt x="37386" y="148246"/>
                        <a:pt x="35266" y="147197"/>
                        <a:pt x="34003" y="145248"/>
                      </a:cubicBezTo>
                      <a:cubicBezTo>
                        <a:pt x="14773" y="115782"/>
                        <a:pt x="22696" y="83724"/>
                        <a:pt x="26144" y="73231"/>
                      </a:cubicBezTo>
                      <a:lnTo>
                        <a:pt x="7321" y="46099"/>
                      </a:lnTo>
                      <a:cubicBezTo>
                        <a:pt x="1710" y="37897"/>
                        <a:pt x="-2445" y="24042"/>
                        <a:pt x="1646" y="12928"/>
                      </a:cubicBezTo>
                      <a:cubicBezTo>
                        <a:pt x="4066" y="6354"/>
                        <a:pt x="9676" y="1664"/>
                        <a:pt x="16614" y="358"/>
                      </a:cubicBezTo>
                      <a:cubicBezTo>
                        <a:pt x="23660" y="-970"/>
                        <a:pt x="30641" y="1450"/>
                        <a:pt x="35331" y="6782"/>
                      </a:cubicBezTo>
                      <a:lnTo>
                        <a:pt x="87775" y="66571"/>
                      </a:lnTo>
                      <a:cubicBezTo>
                        <a:pt x="90173" y="69312"/>
                        <a:pt x="89895" y="73467"/>
                        <a:pt x="87154" y="75887"/>
                      </a:cubicBezTo>
                      <a:cubicBezTo>
                        <a:pt x="84434" y="78285"/>
                        <a:pt x="80258" y="78028"/>
                        <a:pt x="77838" y="75266"/>
                      </a:cubicBezTo>
                      <a:lnTo>
                        <a:pt x="25416" y="15498"/>
                      </a:lnTo>
                      <a:cubicBezTo>
                        <a:pt x="23831" y="13699"/>
                        <a:pt x="21390" y="12928"/>
                        <a:pt x="19013" y="13335"/>
                      </a:cubicBezTo>
                      <a:cubicBezTo>
                        <a:pt x="17878" y="13549"/>
                        <a:pt x="15158" y="14363"/>
                        <a:pt x="14002" y="17489"/>
                      </a:cubicBezTo>
                      <a:cubicBezTo>
                        <a:pt x="11732" y="23614"/>
                        <a:pt x="14344" y="33036"/>
                        <a:pt x="18156" y="38604"/>
                      </a:cubicBezTo>
                      <a:lnTo>
                        <a:pt x="38886" y="68499"/>
                      </a:lnTo>
                      <a:cubicBezTo>
                        <a:pt x="40170" y="70340"/>
                        <a:pt x="40427" y="72717"/>
                        <a:pt x="39571" y="74794"/>
                      </a:cubicBezTo>
                      <a:cubicBezTo>
                        <a:pt x="39442" y="75116"/>
                        <a:pt x="25973" y="108886"/>
                        <a:pt x="45010" y="138053"/>
                      </a:cubicBezTo>
                      <a:cubicBezTo>
                        <a:pt x="47001" y="141115"/>
                        <a:pt x="46145" y="145184"/>
                        <a:pt x="43104" y="147176"/>
                      </a:cubicBezTo>
                      <a:cubicBezTo>
                        <a:pt x="42012" y="147882"/>
                        <a:pt x="40770" y="148246"/>
                        <a:pt x="39528" y="148246"/>
                      </a:cubicBezTo>
                      <a:close/>
                    </a:path>
                  </a:pathLst>
                </a:custGeom>
                <a:grpFill/>
                <a:ln w="2139" cap="flat">
                  <a:noFill/>
                  <a:prstDash val="solid"/>
                  <a:miter/>
                </a:ln>
              </p:spPr>
              <p:txBody>
                <a:bodyPr rtlCol="0" anchor="ctr"/>
                <a:lstStyle/>
                <a:p>
                  <a:endParaRPr lang="en-GB" dirty="0"/>
                </a:p>
              </p:txBody>
            </p:sp>
          </p:grpSp>
        </p:grpSp>
        <p:grpSp>
          <p:nvGrpSpPr>
            <p:cNvPr id="326" name="Gruppieren 1327">
              <a:extLst>
                <a:ext uri="{FF2B5EF4-FFF2-40B4-BE49-F238E27FC236}">
                  <a16:creationId xmlns:a16="http://schemas.microsoft.com/office/drawing/2014/main" id="{963770D4-CCF9-439C-9B05-8AAE49A77216}"/>
                </a:ext>
              </a:extLst>
            </p:cNvPr>
            <p:cNvGrpSpPr/>
            <p:nvPr/>
          </p:nvGrpSpPr>
          <p:grpSpPr>
            <a:xfrm>
              <a:off x="3752208" y="3409870"/>
              <a:ext cx="284356" cy="219199"/>
              <a:chOff x="3375585" y="3477161"/>
              <a:chExt cx="321771" cy="248055"/>
            </a:xfrm>
          </p:grpSpPr>
          <p:sp>
            <p:nvSpPr>
              <p:cNvPr id="333" name="Freihandform: Form 489">
                <a:extLst>
                  <a:ext uri="{FF2B5EF4-FFF2-40B4-BE49-F238E27FC236}">
                    <a16:creationId xmlns:a16="http://schemas.microsoft.com/office/drawing/2014/main" id="{C78900B9-3E0A-4342-A72E-152148F6787B}"/>
                  </a:ext>
                </a:extLst>
              </p:cNvPr>
              <p:cNvSpPr/>
              <p:nvPr/>
            </p:nvSpPr>
            <p:spPr>
              <a:xfrm>
                <a:off x="3465663" y="3477161"/>
                <a:ext cx="231693" cy="223352"/>
              </a:xfrm>
              <a:custGeom>
                <a:avLst/>
                <a:gdLst>
                  <a:gd name="connsiteX0" fmla="*/ 142133 w 231693"/>
                  <a:gd name="connsiteY0" fmla="*/ 223354 h 223353"/>
                  <a:gd name="connsiteX1" fmla="*/ 2339 w 231693"/>
                  <a:gd name="connsiteY1" fmla="*/ 172344 h 223353"/>
                  <a:gd name="connsiteX2" fmla="*/ 1547 w 231693"/>
                  <a:gd name="connsiteY2" fmla="*/ 163050 h 223353"/>
                  <a:gd name="connsiteX3" fmla="*/ 10841 w 231693"/>
                  <a:gd name="connsiteY3" fmla="*/ 162258 h 223353"/>
                  <a:gd name="connsiteX4" fmla="*/ 135537 w 231693"/>
                  <a:gd name="connsiteY4" fmla="*/ 210055 h 223353"/>
                  <a:gd name="connsiteX5" fmla="*/ 135537 w 231693"/>
                  <a:gd name="connsiteY5" fmla="*/ 140415 h 223353"/>
                  <a:gd name="connsiteX6" fmla="*/ 137529 w 231693"/>
                  <a:gd name="connsiteY6" fmla="*/ 135704 h 223353"/>
                  <a:gd name="connsiteX7" fmla="*/ 142304 w 231693"/>
                  <a:gd name="connsiteY7" fmla="*/ 133819 h 223353"/>
                  <a:gd name="connsiteX8" fmla="*/ 146973 w 231693"/>
                  <a:gd name="connsiteY8" fmla="*/ 133926 h 223353"/>
                  <a:gd name="connsiteX9" fmla="*/ 151170 w 231693"/>
                  <a:gd name="connsiteY9" fmla="*/ 135575 h 223353"/>
                  <a:gd name="connsiteX10" fmla="*/ 185690 w 231693"/>
                  <a:gd name="connsiteY10" fmla="*/ 151144 h 223353"/>
                  <a:gd name="connsiteX11" fmla="*/ 185883 w 231693"/>
                  <a:gd name="connsiteY11" fmla="*/ 151144 h 223353"/>
                  <a:gd name="connsiteX12" fmla="*/ 218433 w 231693"/>
                  <a:gd name="connsiteY12" fmla="*/ 114097 h 223353"/>
                  <a:gd name="connsiteX13" fmla="*/ 218476 w 231693"/>
                  <a:gd name="connsiteY13" fmla="*/ 113497 h 223353"/>
                  <a:gd name="connsiteX14" fmla="*/ 218476 w 231693"/>
                  <a:gd name="connsiteY14" fmla="*/ 113369 h 223353"/>
                  <a:gd name="connsiteX15" fmla="*/ 218476 w 231693"/>
                  <a:gd name="connsiteY15" fmla="*/ 113240 h 223353"/>
                  <a:gd name="connsiteX16" fmla="*/ 218433 w 231693"/>
                  <a:gd name="connsiteY16" fmla="*/ 112747 h 223353"/>
                  <a:gd name="connsiteX17" fmla="*/ 185562 w 231693"/>
                  <a:gd name="connsiteY17" fmla="*/ 76107 h 223353"/>
                  <a:gd name="connsiteX18" fmla="*/ 185390 w 231693"/>
                  <a:gd name="connsiteY18" fmla="*/ 76107 h 223353"/>
                  <a:gd name="connsiteX19" fmla="*/ 150892 w 231693"/>
                  <a:gd name="connsiteY19" fmla="*/ 92104 h 223353"/>
                  <a:gd name="connsiteX20" fmla="*/ 146758 w 231693"/>
                  <a:gd name="connsiteY20" fmla="*/ 93796 h 223353"/>
                  <a:gd name="connsiteX21" fmla="*/ 142412 w 231693"/>
                  <a:gd name="connsiteY21" fmla="*/ 93988 h 223353"/>
                  <a:gd name="connsiteX22" fmla="*/ 137572 w 231693"/>
                  <a:gd name="connsiteY22" fmla="*/ 92168 h 223353"/>
                  <a:gd name="connsiteX23" fmla="*/ 135537 w 231693"/>
                  <a:gd name="connsiteY23" fmla="*/ 87414 h 223353"/>
                  <a:gd name="connsiteX24" fmla="*/ 135537 w 231693"/>
                  <a:gd name="connsiteY24" fmla="*/ 6596 h 223353"/>
                  <a:gd name="connsiteX25" fmla="*/ 142133 w 231693"/>
                  <a:gd name="connsiteY25" fmla="*/ 0 h 223353"/>
                  <a:gd name="connsiteX26" fmla="*/ 148729 w 231693"/>
                  <a:gd name="connsiteY26" fmla="*/ 6596 h 223353"/>
                  <a:gd name="connsiteX27" fmla="*/ 148729 w 231693"/>
                  <a:gd name="connsiteY27" fmla="*/ 76792 h 223353"/>
                  <a:gd name="connsiteX28" fmla="*/ 185326 w 231693"/>
                  <a:gd name="connsiteY28" fmla="*/ 62937 h 223353"/>
                  <a:gd name="connsiteX29" fmla="*/ 185562 w 231693"/>
                  <a:gd name="connsiteY29" fmla="*/ 62937 h 223353"/>
                  <a:gd name="connsiteX30" fmla="*/ 231560 w 231693"/>
                  <a:gd name="connsiteY30" fmla="*/ 111163 h 223353"/>
                  <a:gd name="connsiteX31" fmla="*/ 231689 w 231693"/>
                  <a:gd name="connsiteY31" fmla="*/ 112448 h 223353"/>
                  <a:gd name="connsiteX32" fmla="*/ 231667 w 231693"/>
                  <a:gd name="connsiteY32" fmla="*/ 113219 h 223353"/>
                  <a:gd name="connsiteX33" fmla="*/ 231689 w 231693"/>
                  <a:gd name="connsiteY33" fmla="*/ 114075 h 223353"/>
                  <a:gd name="connsiteX34" fmla="*/ 231560 w 231693"/>
                  <a:gd name="connsiteY34" fmla="*/ 115638 h 223353"/>
                  <a:gd name="connsiteX35" fmla="*/ 185947 w 231693"/>
                  <a:gd name="connsiteY35" fmla="*/ 164357 h 223353"/>
                  <a:gd name="connsiteX36" fmla="*/ 148707 w 231693"/>
                  <a:gd name="connsiteY36" fmla="*/ 150608 h 223353"/>
                  <a:gd name="connsiteX37" fmla="*/ 148707 w 231693"/>
                  <a:gd name="connsiteY37" fmla="*/ 216779 h 223353"/>
                  <a:gd name="connsiteX38" fmla="*/ 142133 w 231693"/>
                  <a:gd name="connsiteY38" fmla="*/ 223354 h 22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1693" h="223353">
                    <a:moveTo>
                      <a:pt x="142133" y="223354"/>
                    </a:moveTo>
                    <a:cubicBezTo>
                      <a:pt x="90995" y="223354"/>
                      <a:pt x="41356" y="205237"/>
                      <a:pt x="2339" y="172344"/>
                    </a:cubicBezTo>
                    <a:cubicBezTo>
                      <a:pt x="-445" y="169988"/>
                      <a:pt x="-787" y="165834"/>
                      <a:pt x="1547" y="163050"/>
                    </a:cubicBezTo>
                    <a:cubicBezTo>
                      <a:pt x="3881" y="160266"/>
                      <a:pt x="8057" y="159902"/>
                      <a:pt x="10841" y="162258"/>
                    </a:cubicBezTo>
                    <a:cubicBezTo>
                      <a:pt x="45811" y="191746"/>
                      <a:pt x="89860" y="208577"/>
                      <a:pt x="135537" y="210055"/>
                    </a:cubicBezTo>
                    <a:lnTo>
                      <a:pt x="135537" y="140415"/>
                    </a:lnTo>
                    <a:cubicBezTo>
                      <a:pt x="135537" y="138638"/>
                      <a:pt x="136244" y="136946"/>
                      <a:pt x="137529" y="135704"/>
                    </a:cubicBezTo>
                    <a:cubicBezTo>
                      <a:pt x="138814" y="134462"/>
                      <a:pt x="140570" y="133819"/>
                      <a:pt x="142304" y="133819"/>
                    </a:cubicBezTo>
                    <a:lnTo>
                      <a:pt x="146973" y="133926"/>
                    </a:lnTo>
                    <a:cubicBezTo>
                      <a:pt x="148515" y="133969"/>
                      <a:pt x="150014" y="134547"/>
                      <a:pt x="151170" y="135575"/>
                    </a:cubicBezTo>
                    <a:cubicBezTo>
                      <a:pt x="162927" y="145897"/>
                      <a:pt x="174533" y="151144"/>
                      <a:pt x="185690" y="151144"/>
                    </a:cubicBezTo>
                    <a:cubicBezTo>
                      <a:pt x="185755" y="151144"/>
                      <a:pt x="185819" y="151144"/>
                      <a:pt x="185883" y="151144"/>
                    </a:cubicBezTo>
                    <a:cubicBezTo>
                      <a:pt x="203486" y="151015"/>
                      <a:pt x="217791" y="134762"/>
                      <a:pt x="218433" y="114097"/>
                    </a:cubicBezTo>
                    <a:cubicBezTo>
                      <a:pt x="218433" y="113882"/>
                      <a:pt x="218455" y="113690"/>
                      <a:pt x="218476" y="113497"/>
                    </a:cubicBezTo>
                    <a:lnTo>
                      <a:pt x="218476" y="113369"/>
                    </a:lnTo>
                    <a:cubicBezTo>
                      <a:pt x="218476" y="113347"/>
                      <a:pt x="218476" y="113304"/>
                      <a:pt x="218476" y="113240"/>
                    </a:cubicBezTo>
                    <a:cubicBezTo>
                      <a:pt x="218455" y="113069"/>
                      <a:pt x="218433" y="112919"/>
                      <a:pt x="218433" y="112747"/>
                    </a:cubicBezTo>
                    <a:cubicBezTo>
                      <a:pt x="217491" y="92168"/>
                      <a:pt x="203079" y="76107"/>
                      <a:pt x="185562" y="76107"/>
                    </a:cubicBezTo>
                    <a:cubicBezTo>
                      <a:pt x="185498" y="76107"/>
                      <a:pt x="185455" y="76107"/>
                      <a:pt x="185390" y="76107"/>
                    </a:cubicBezTo>
                    <a:cubicBezTo>
                      <a:pt x="174169" y="76193"/>
                      <a:pt x="162562" y="81568"/>
                      <a:pt x="150892" y="92104"/>
                    </a:cubicBezTo>
                    <a:cubicBezTo>
                      <a:pt x="149757" y="93132"/>
                      <a:pt x="148279" y="93731"/>
                      <a:pt x="146758" y="93796"/>
                    </a:cubicBezTo>
                    <a:lnTo>
                      <a:pt x="142412" y="93988"/>
                    </a:lnTo>
                    <a:cubicBezTo>
                      <a:pt x="140570" y="94074"/>
                      <a:pt x="138857" y="93410"/>
                      <a:pt x="137572" y="92168"/>
                    </a:cubicBezTo>
                    <a:cubicBezTo>
                      <a:pt x="136266" y="90926"/>
                      <a:pt x="135537" y="89213"/>
                      <a:pt x="135537" y="87414"/>
                    </a:cubicBezTo>
                    <a:lnTo>
                      <a:pt x="135537" y="6596"/>
                    </a:lnTo>
                    <a:cubicBezTo>
                      <a:pt x="135537" y="2955"/>
                      <a:pt x="138493" y="0"/>
                      <a:pt x="142133" y="0"/>
                    </a:cubicBezTo>
                    <a:cubicBezTo>
                      <a:pt x="145773" y="0"/>
                      <a:pt x="148729" y="2955"/>
                      <a:pt x="148729" y="6596"/>
                    </a:cubicBezTo>
                    <a:lnTo>
                      <a:pt x="148729" y="76792"/>
                    </a:lnTo>
                    <a:cubicBezTo>
                      <a:pt x="160764" y="67670"/>
                      <a:pt x="173034" y="63023"/>
                      <a:pt x="185326" y="62937"/>
                    </a:cubicBezTo>
                    <a:cubicBezTo>
                      <a:pt x="185412" y="62937"/>
                      <a:pt x="185498" y="62937"/>
                      <a:pt x="185562" y="62937"/>
                    </a:cubicBezTo>
                    <a:cubicBezTo>
                      <a:pt x="209867" y="62937"/>
                      <a:pt x="229868" y="83988"/>
                      <a:pt x="231560" y="111163"/>
                    </a:cubicBezTo>
                    <a:cubicBezTo>
                      <a:pt x="231646" y="111591"/>
                      <a:pt x="231689" y="112019"/>
                      <a:pt x="231689" y="112448"/>
                    </a:cubicBezTo>
                    <a:cubicBezTo>
                      <a:pt x="231689" y="112533"/>
                      <a:pt x="231667" y="113133"/>
                      <a:pt x="231667" y="113219"/>
                    </a:cubicBezTo>
                    <a:cubicBezTo>
                      <a:pt x="231667" y="113261"/>
                      <a:pt x="231689" y="114032"/>
                      <a:pt x="231689" y="114075"/>
                    </a:cubicBezTo>
                    <a:cubicBezTo>
                      <a:pt x="231710" y="114610"/>
                      <a:pt x="231667" y="115124"/>
                      <a:pt x="231560" y="115638"/>
                    </a:cubicBezTo>
                    <a:cubicBezTo>
                      <a:pt x="230190" y="142878"/>
                      <a:pt x="210360" y="164185"/>
                      <a:pt x="185947" y="164357"/>
                    </a:cubicBezTo>
                    <a:cubicBezTo>
                      <a:pt x="173355" y="164485"/>
                      <a:pt x="161021" y="159817"/>
                      <a:pt x="148707" y="150608"/>
                    </a:cubicBezTo>
                    <a:lnTo>
                      <a:pt x="148707" y="216779"/>
                    </a:lnTo>
                    <a:cubicBezTo>
                      <a:pt x="148707" y="220398"/>
                      <a:pt x="145773" y="223354"/>
                      <a:pt x="142133" y="223354"/>
                    </a:cubicBezTo>
                    <a:close/>
                  </a:path>
                </a:pathLst>
              </a:custGeom>
              <a:solidFill>
                <a:schemeClr val="accent1"/>
              </a:solidFill>
              <a:ln w="2139" cap="flat">
                <a:noFill/>
                <a:prstDash val="solid"/>
                <a:miter/>
              </a:ln>
            </p:spPr>
            <p:txBody>
              <a:bodyPr rtlCol="0" anchor="ctr"/>
              <a:lstStyle/>
              <a:p>
                <a:endParaRPr lang="en-GB" dirty="0"/>
              </a:p>
            </p:txBody>
          </p:sp>
          <p:sp>
            <p:nvSpPr>
              <p:cNvPr id="334" name="Freihandform: Form 490">
                <a:extLst>
                  <a:ext uri="{FF2B5EF4-FFF2-40B4-BE49-F238E27FC236}">
                    <a16:creationId xmlns:a16="http://schemas.microsoft.com/office/drawing/2014/main" id="{4966D06D-D608-4897-B3E0-F3134F8F7CA6}"/>
                  </a:ext>
                </a:extLst>
              </p:cNvPr>
              <p:cNvSpPr/>
              <p:nvPr/>
            </p:nvSpPr>
            <p:spPr>
              <a:xfrm>
                <a:off x="3392239" y="3501179"/>
                <a:ext cx="37203" cy="89309"/>
              </a:xfrm>
              <a:custGeom>
                <a:avLst/>
                <a:gdLst>
                  <a:gd name="connsiteX0" fmla="*/ 30601 w 37203"/>
                  <a:gd name="connsiteY0" fmla="*/ 89310 h 89309"/>
                  <a:gd name="connsiteX1" fmla="*/ 24797 w 37203"/>
                  <a:gd name="connsiteY1" fmla="*/ 85862 h 89309"/>
                  <a:gd name="connsiteX2" fmla="*/ 42 w 37203"/>
                  <a:gd name="connsiteY2" fmla="*/ 7357 h 89309"/>
                  <a:gd name="connsiteX3" fmla="*/ 5845 w 37203"/>
                  <a:gd name="connsiteY3" fmla="*/ 54 h 89309"/>
                  <a:gd name="connsiteX4" fmla="*/ 13148 w 37203"/>
                  <a:gd name="connsiteY4" fmla="*/ 5857 h 89309"/>
                  <a:gd name="connsiteX5" fmla="*/ 36404 w 37203"/>
                  <a:gd name="connsiteY5" fmla="*/ 79566 h 89309"/>
                  <a:gd name="connsiteX6" fmla="*/ 33749 w 37203"/>
                  <a:gd name="connsiteY6" fmla="*/ 88518 h 89309"/>
                  <a:gd name="connsiteX7" fmla="*/ 30601 w 37203"/>
                  <a:gd name="connsiteY7" fmla="*/ 89310 h 89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03" h="89309">
                    <a:moveTo>
                      <a:pt x="30601" y="89310"/>
                    </a:moveTo>
                    <a:cubicBezTo>
                      <a:pt x="28266" y="89310"/>
                      <a:pt x="25996" y="88068"/>
                      <a:pt x="24797" y="85862"/>
                    </a:cubicBezTo>
                    <a:cubicBezTo>
                      <a:pt x="11520" y="61428"/>
                      <a:pt x="3190" y="35024"/>
                      <a:pt x="42" y="7357"/>
                    </a:cubicBezTo>
                    <a:cubicBezTo>
                      <a:pt x="-365" y="3737"/>
                      <a:pt x="2226" y="461"/>
                      <a:pt x="5845" y="54"/>
                    </a:cubicBezTo>
                    <a:cubicBezTo>
                      <a:pt x="9486" y="-417"/>
                      <a:pt x="12741" y="2238"/>
                      <a:pt x="13148" y="5857"/>
                    </a:cubicBezTo>
                    <a:cubicBezTo>
                      <a:pt x="16103" y="31812"/>
                      <a:pt x="23941" y="56610"/>
                      <a:pt x="36404" y="79566"/>
                    </a:cubicBezTo>
                    <a:cubicBezTo>
                      <a:pt x="38139" y="82757"/>
                      <a:pt x="36961" y="86783"/>
                      <a:pt x="33749" y="88518"/>
                    </a:cubicBezTo>
                    <a:cubicBezTo>
                      <a:pt x="32742" y="89053"/>
                      <a:pt x="31671" y="89310"/>
                      <a:pt x="30601" y="89310"/>
                    </a:cubicBezTo>
                    <a:close/>
                  </a:path>
                </a:pathLst>
              </a:custGeom>
              <a:solidFill>
                <a:schemeClr val="accent1"/>
              </a:solidFill>
              <a:ln w="2139" cap="flat">
                <a:noFill/>
                <a:prstDash val="solid"/>
                <a:miter/>
              </a:ln>
            </p:spPr>
            <p:txBody>
              <a:bodyPr rtlCol="0" anchor="ctr"/>
              <a:lstStyle/>
              <a:p>
                <a:endParaRPr lang="en-GB" dirty="0"/>
              </a:p>
            </p:txBody>
          </p:sp>
          <p:sp>
            <p:nvSpPr>
              <p:cNvPr id="335" name="Freihandform: Form 498">
                <a:extLst>
                  <a:ext uri="{FF2B5EF4-FFF2-40B4-BE49-F238E27FC236}">
                    <a16:creationId xmlns:a16="http://schemas.microsoft.com/office/drawing/2014/main" id="{CE4960D3-3D4E-4D4E-9E93-1EA69094C87D}"/>
                  </a:ext>
                </a:extLst>
              </p:cNvPr>
              <p:cNvSpPr/>
              <p:nvPr/>
            </p:nvSpPr>
            <p:spPr>
              <a:xfrm>
                <a:off x="3449387" y="3669312"/>
                <a:ext cx="77502" cy="55904"/>
              </a:xfrm>
              <a:custGeom>
                <a:avLst/>
                <a:gdLst>
                  <a:gd name="connsiteX0" fmla="*/ 6601 w 77502"/>
                  <a:gd name="connsiteY0" fmla="*/ 55904 h 55904"/>
                  <a:gd name="connsiteX1" fmla="*/ 2168 w 77502"/>
                  <a:gd name="connsiteY1" fmla="*/ 54191 h 55904"/>
                  <a:gd name="connsiteX2" fmla="*/ 1719 w 77502"/>
                  <a:gd name="connsiteY2" fmla="*/ 44876 h 55904"/>
                  <a:gd name="connsiteX3" fmla="*/ 25874 w 77502"/>
                  <a:gd name="connsiteY3" fmla="*/ 18236 h 55904"/>
                  <a:gd name="connsiteX4" fmla="*/ 32149 w 77502"/>
                  <a:gd name="connsiteY4" fmla="*/ 16223 h 55904"/>
                  <a:gd name="connsiteX5" fmla="*/ 55833 w 77502"/>
                  <a:gd name="connsiteY5" fmla="*/ 10505 h 55904"/>
                  <a:gd name="connsiteX6" fmla="*/ 66690 w 77502"/>
                  <a:gd name="connsiteY6" fmla="*/ 1511 h 55904"/>
                  <a:gd name="connsiteX7" fmla="*/ 75984 w 77502"/>
                  <a:gd name="connsiteY7" fmla="*/ 2389 h 55904"/>
                  <a:gd name="connsiteX8" fmla="*/ 75106 w 77502"/>
                  <a:gd name="connsiteY8" fmla="*/ 11683 h 55904"/>
                  <a:gd name="connsiteX9" fmla="*/ 64249 w 77502"/>
                  <a:gd name="connsiteY9" fmla="*/ 20677 h 55904"/>
                  <a:gd name="connsiteX10" fmla="*/ 33219 w 77502"/>
                  <a:gd name="connsiteY10" fmla="*/ 29779 h 55904"/>
                  <a:gd name="connsiteX11" fmla="*/ 11484 w 77502"/>
                  <a:gd name="connsiteY11" fmla="*/ 53763 h 55904"/>
                  <a:gd name="connsiteX12" fmla="*/ 6601 w 77502"/>
                  <a:gd name="connsiteY12" fmla="*/ 55904 h 55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502" h="55904">
                    <a:moveTo>
                      <a:pt x="6601" y="55904"/>
                    </a:moveTo>
                    <a:cubicBezTo>
                      <a:pt x="5016" y="55904"/>
                      <a:pt x="3432" y="55347"/>
                      <a:pt x="2168" y="54191"/>
                    </a:cubicBezTo>
                    <a:cubicBezTo>
                      <a:pt x="-530" y="51750"/>
                      <a:pt x="-744" y="47574"/>
                      <a:pt x="1719" y="44876"/>
                    </a:cubicBezTo>
                    <a:lnTo>
                      <a:pt x="25874" y="18236"/>
                    </a:lnTo>
                    <a:cubicBezTo>
                      <a:pt x="27459" y="16502"/>
                      <a:pt x="29857" y="15752"/>
                      <a:pt x="32149" y="16223"/>
                    </a:cubicBezTo>
                    <a:cubicBezTo>
                      <a:pt x="40629" y="18043"/>
                      <a:pt x="49238" y="15966"/>
                      <a:pt x="55833" y="10505"/>
                    </a:cubicBezTo>
                    <a:lnTo>
                      <a:pt x="66690" y="1511"/>
                    </a:lnTo>
                    <a:cubicBezTo>
                      <a:pt x="69496" y="-823"/>
                      <a:pt x="73671" y="-394"/>
                      <a:pt x="75984" y="2389"/>
                    </a:cubicBezTo>
                    <a:cubicBezTo>
                      <a:pt x="78318" y="5195"/>
                      <a:pt x="77911" y="9349"/>
                      <a:pt x="75106" y="11683"/>
                    </a:cubicBezTo>
                    <a:lnTo>
                      <a:pt x="64249" y="20677"/>
                    </a:lnTo>
                    <a:cubicBezTo>
                      <a:pt x="55512" y="27894"/>
                      <a:pt x="44376" y="31128"/>
                      <a:pt x="33219" y="29779"/>
                    </a:cubicBezTo>
                    <a:lnTo>
                      <a:pt x="11484" y="53763"/>
                    </a:lnTo>
                    <a:cubicBezTo>
                      <a:pt x="10177" y="55176"/>
                      <a:pt x="8400" y="55904"/>
                      <a:pt x="6601" y="55904"/>
                    </a:cubicBezTo>
                    <a:close/>
                  </a:path>
                </a:pathLst>
              </a:custGeom>
              <a:solidFill>
                <a:schemeClr val="accent1"/>
              </a:solidFill>
              <a:ln w="2139" cap="flat">
                <a:noFill/>
                <a:prstDash val="solid"/>
                <a:miter/>
              </a:ln>
            </p:spPr>
            <p:txBody>
              <a:bodyPr rtlCol="0" anchor="ctr"/>
              <a:lstStyle/>
              <a:p>
                <a:endParaRPr lang="en-GB" dirty="0"/>
              </a:p>
            </p:txBody>
          </p:sp>
          <p:sp>
            <p:nvSpPr>
              <p:cNvPr id="336" name="Freihandform: Form 499">
                <a:extLst>
                  <a:ext uri="{FF2B5EF4-FFF2-40B4-BE49-F238E27FC236}">
                    <a16:creationId xmlns:a16="http://schemas.microsoft.com/office/drawing/2014/main" id="{B301F88E-C109-433A-A1D8-DF6AF8B0611A}"/>
                  </a:ext>
                </a:extLst>
              </p:cNvPr>
              <p:cNvSpPr/>
              <p:nvPr/>
            </p:nvSpPr>
            <p:spPr>
              <a:xfrm>
                <a:off x="3375585" y="3557610"/>
                <a:ext cx="42577" cy="117427"/>
              </a:xfrm>
              <a:custGeom>
                <a:avLst/>
                <a:gdLst>
                  <a:gd name="connsiteX0" fmla="*/ 6591 w 42577"/>
                  <a:gd name="connsiteY0" fmla="*/ 117426 h 117426"/>
                  <a:gd name="connsiteX1" fmla="*/ 2436 w 42577"/>
                  <a:gd name="connsiteY1" fmla="*/ 115949 h 117426"/>
                  <a:gd name="connsiteX2" fmla="*/ 1473 w 42577"/>
                  <a:gd name="connsiteY2" fmla="*/ 106676 h 117426"/>
                  <a:gd name="connsiteX3" fmla="*/ 14814 w 42577"/>
                  <a:gd name="connsiteY3" fmla="*/ 90273 h 117426"/>
                  <a:gd name="connsiteX4" fmla="*/ 12716 w 42577"/>
                  <a:gd name="connsiteY4" fmla="*/ 54982 h 117426"/>
                  <a:gd name="connsiteX5" fmla="*/ 30896 w 42577"/>
                  <a:gd name="connsiteY5" fmla="*/ 2387 h 117426"/>
                  <a:gd name="connsiteX6" fmla="*/ 40190 w 42577"/>
                  <a:gd name="connsiteY6" fmla="*/ 1509 h 117426"/>
                  <a:gd name="connsiteX7" fmla="*/ 41068 w 42577"/>
                  <a:gd name="connsiteY7" fmla="*/ 10803 h 117426"/>
                  <a:gd name="connsiteX8" fmla="*/ 25886 w 42577"/>
                  <a:gd name="connsiteY8" fmla="*/ 54211 h 117426"/>
                  <a:gd name="connsiteX9" fmla="*/ 28134 w 42577"/>
                  <a:gd name="connsiteY9" fmla="*/ 92072 h 117426"/>
                  <a:gd name="connsiteX10" fmla="*/ 26678 w 42577"/>
                  <a:gd name="connsiteY10" fmla="*/ 96633 h 117426"/>
                  <a:gd name="connsiteX11" fmla="*/ 11730 w 42577"/>
                  <a:gd name="connsiteY11" fmla="*/ 115028 h 117426"/>
                  <a:gd name="connsiteX12" fmla="*/ 6591 w 42577"/>
                  <a:gd name="connsiteY12" fmla="*/ 117426 h 11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77" h="117426">
                    <a:moveTo>
                      <a:pt x="6591" y="117426"/>
                    </a:moveTo>
                    <a:cubicBezTo>
                      <a:pt x="5135" y="117426"/>
                      <a:pt x="3657" y="116934"/>
                      <a:pt x="2436" y="115949"/>
                    </a:cubicBezTo>
                    <a:cubicBezTo>
                      <a:pt x="-390" y="113657"/>
                      <a:pt x="-819" y="109503"/>
                      <a:pt x="1473" y="106676"/>
                    </a:cubicBezTo>
                    <a:lnTo>
                      <a:pt x="14814" y="90273"/>
                    </a:lnTo>
                    <a:lnTo>
                      <a:pt x="12716" y="54982"/>
                    </a:lnTo>
                    <a:cubicBezTo>
                      <a:pt x="11709" y="38150"/>
                      <a:pt x="19183" y="16521"/>
                      <a:pt x="30896" y="2387"/>
                    </a:cubicBezTo>
                    <a:cubicBezTo>
                      <a:pt x="33231" y="-418"/>
                      <a:pt x="37385" y="-803"/>
                      <a:pt x="40190" y="1509"/>
                    </a:cubicBezTo>
                    <a:cubicBezTo>
                      <a:pt x="42996" y="3844"/>
                      <a:pt x="43381" y="7998"/>
                      <a:pt x="41068" y="10803"/>
                    </a:cubicBezTo>
                    <a:cubicBezTo>
                      <a:pt x="31475" y="22389"/>
                      <a:pt x="25093" y="40655"/>
                      <a:pt x="25886" y="54211"/>
                    </a:cubicBezTo>
                    <a:lnTo>
                      <a:pt x="28134" y="92072"/>
                    </a:lnTo>
                    <a:cubicBezTo>
                      <a:pt x="28241" y="93720"/>
                      <a:pt x="27706" y="95348"/>
                      <a:pt x="26678" y="96633"/>
                    </a:cubicBezTo>
                    <a:lnTo>
                      <a:pt x="11730" y="115028"/>
                    </a:lnTo>
                    <a:cubicBezTo>
                      <a:pt x="10424" y="116591"/>
                      <a:pt x="8518" y="117426"/>
                      <a:pt x="6591" y="117426"/>
                    </a:cubicBezTo>
                    <a:close/>
                  </a:path>
                </a:pathLst>
              </a:custGeom>
              <a:solidFill>
                <a:schemeClr val="accent1"/>
              </a:solidFill>
              <a:ln w="2139" cap="flat">
                <a:noFill/>
                <a:prstDash val="solid"/>
                <a:miter/>
              </a:ln>
            </p:spPr>
            <p:txBody>
              <a:bodyPr rtlCol="0" anchor="ctr"/>
              <a:lstStyle/>
              <a:p>
                <a:endParaRPr lang="en-GB" dirty="0"/>
              </a:p>
            </p:txBody>
          </p:sp>
          <p:sp>
            <p:nvSpPr>
              <p:cNvPr id="337" name="Freihandform: Form 500">
                <a:extLst>
                  <a:ext uri="{FF2B5EF4-FFF2-40B4-BE49-F238E27FC236}">
                    <a16:creationId xmlns:a16="http://schemas.microsoft.com/office/drawing/2014/main" id="{52404D88-D41A-41ED-9891-3DF5A3AC94B8}"/>
                  </a:ext>
                </a:extLst>
              </p:cNvPr>
              <p:cNvSpPr/>
              <p:nvPr/>
            </p:nvSpPr>
            <p:spPr>
              <a:xfrm>
                <a:off x="3415770" y="3515782"/>
                <a:ext cx="89406" cy="148224"/>
              </a:xfrm>
              <a:custGeom>
                <a:avLst/>
                <a:gdLst>
                  <a:gd name="connsiteX0" fmla="*/ 49900 w 89406"/>
                  <a:gd name="connsiteY0" fmla="*/ 148225 h 148224"/>
                  <a:gd name="connsiteX1" fmla="*/ 46302 w 89406"/>
                  <a:gd name="connsiteY1" fmla="*/ 147154 h 148224"/>
                  <a:gd name="connsiteX2" fmla="*/ 44396 w 89406"/>
                  <a:gd name="connsiteY2" fmla="*/ 138032 h 148224"/>
                  <a:gd name="connsiteX3" fmla="*/ 49836 w 89406"/>
                  <a:gd name="connsiteY3" fmla="*/ 74773 h 148224"/>
                  <a:gd name="connsiteX4" fmla="*/ 50521 w 89406"/>
                  <a:gd name="connsiteY4" fmla="*/ 68499 h 148224"/>
                  <a:gd name="connsiteX5" fmla="*/ 71272 w 89406"/>
                  <a:gd name="connsiteY5" fmla="*/ 38583 h 148224"/>
                  <a:gd name="connsiteX6" fmla="*/ 75404 w 89406"/>
                  <a:gd name="connsiteY6" fmla="*/ 17489 h 148224"/>
                  <a:gd name="connsiteX7" fmla="*/ 70394 w 89406"/>
                  <a:gd name="connsiteY7" fmla="*/ 13335 h 148224"/>
                  <a:gd name="connsiteX8" fmla="*/ 63991 w 89406"/>
                  <a:gd name="connsiteY8" fmla="*/ 15498 h 148224"/>
                  <a:gd name="connsiteX9" fmla="*/ 11568 w 89406"/>
                  <a:gd name="connsiteY9" fmla="*/ 75244 h 148224"/>
                  <a:gd name="connsiteX10" fmla="*/ 2253 w 89406"/>
                  <a:gd name="connsiteY10" fmla="*/ 75865 h 148224"/>
                  <a:gd name="connsiteX11" fmla="*/ 1632 w 89406"/>
                  <a:gd name="connsiteY11" fmla="*/ 66550 h 148224"/>
                  <a:gd name="connsiteX12" fmla="*/ 54054 w 89406"/>
                  <a:gd name="connsiteY12" fmla="*/ 6782 h 148224"/>
                  <a:gd name="connsiteX13" fmla="*/ 72792 w 89406"/>
                  <a:gd name="connsiteY13" fmla="*/ 358 h 148224"/>
                  <a:gd name="connsiteX14" fmla="*/ 87761 w 89406"/>
                  <a:gd name="connsiteY14" fmla="*/ 12907 h 148224"/>
                  <a:gd name="connsiteX15" fmla="*/ 82107 w 89406"/>
                  <a:gd name="connsiteY15" fmla="*/ 46056 h 148224"/>
                  <a:gd name="connsiteX16" fmla="*/ 63263 w 89406"/>
                  <a:gd name="connsiteY16" fmla="*/ 73210 h 148224"/>
                  <a:gd name="connsiteX17" fmla="*/ 55403 w 89406"/>
                  <a:gd name="connsiteY17" fmla="*/ 145227 h 148224"/>
                  <a:gd name="connsiteX18" fmla="*/ 49900 w 89406"/>
                  <a:gd name="connsiteY18" fmla="*/ 148225 h 14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406" h="148224">
                    <a:moveTo>
                      <a:pt x="49900" y="148225"/>
                    </a:moveTo>
                    <a:cubicBezTo>
                      <a:pt x="48658" y="148225"/>
                      <a:pt x="47416" y="147882"/>
                      <a:pt x="46302" y="147154"/>
                    </a:cubicBezTo>
                    <a:cubicBezTo>
                      <a:pt x="43261" y="145163"/>
                      <a:pt x="42383" y="141072"/>
                      <a:pt x="44396" y="138032"/>
                    </a:cubicBezTo>
                    <a:cubicBezTo>
                      <a:pt x="63434" y="108865"/>
                      <a:pt x="49985" y="75094"/>
                      <a:pt x="49836" y="74773"/>
                    </a:cubicBezTo>
                    <a:cubicBezTo>
                      <a:pt x="49000" y="72696"/>
                      <a:pt x="49236" y="70340"/>
                      <a:pt x="50521" y="68499"/>
                    </a:cubicBezTo>
                    <a:lnTo>
                      <a:pt x="71272" y="38583"/>
                    </a:lnTo>
                    <a:cubicBezTo>
                      <a:pt x="75062" y="33036"/>
                      <a:pt x="77653" y="23635"/>
                      <a:pt x="75404" y="17489"/>
                    </a:cubicBezTo>
                    <a:cubicBezTo>
                      <a:pt x="74248" y="14363"/>
                      <a:pt x="71529" y="13549"/>
                      <a:pt x="70394" y="13335"/>
                    </a:cubicBezTo>
                    <a:cubicBezTo>
                      <a:pt x="67995" y="12907"/>
                      <a:pt x="65597" y="13699"/>
                      <a:pt x="63991" y="15498"/>
                    </a:cubicBezTo>
                    <a:lnTo>
                      <a:pt x="11568" y="75244"/>
                    </a:lnTo>
                    <a:cubicBezTo>
                      <a:pt x="9169" y="77985"/>
                      <a:pt x="4993" y="78242"/>
                      <a:pt x="2253" y="75865"/>
                    </a:cubicBezTo>
                    <a:cubicBezTo>
                      <a:pt x="-489" y="73467"/>
                      <a:pt x="-767" y="69291"/>
                      <a:pt x="1632" y="66550"/>
                    </a:cubicBezTo>
                    <a:lnTo>
                      <a:pt x="54054" y="6782"/>
                    </a:lnTo>
                    <a:cubicBezTo>
                      <a:pt x="58766" y="1450"/>
                      <a:pt x="65725" y="-970"/>
                      <a:pt x="72792" y="358"/>
                    </a:cubicBezTo>
                    <a:cubicBezTo>
                      <a:pt x="79730" y="1643"/>
                      <a:pt x="85341" y="6354"/>
                      <a:pt x="87761" y="12907"/>
                    </a:cubicBezTo>
                    <a:cubicBezTo>
                      <a:pt x="91851" y="24021"/>
                      <a:pt x="87696" y="37876"/>
                      <a:pt x="82107" y="46056"/>
                    </a:cubicBezTo>
                    <a:lnTo>
                      <a:pt x="63263" y="73210"/>
                    </a:lnTo>
                    <a:cubicBezTo>
                      <a:pt x="66710" y="83724"/>
                      <a:pt x="74634" y="115782"/>
                      <a:pt x="55403" y="145227"/>
                    </a:cubicBezTo>
                    <a:cubicBezTo>
                      <a:pt x="54161" y="147176"/>
                      <a:pt x="52063" y="148225"/>
                      <a:pt x="49900" y="148225"/>
                    </a:cubicBezTo>
                    <a:close/>
                  </a:path>
                </a:pathLst>
              </a:custGeom>
              <a:solidFill>
                <a:schemeClr val="accent1"/>
              </a:solidFill>
              <a:ln w="2139" cap="flat">
                <a:noFill/>
                <a:prstDash val="solid"/>
                <a:miter/>
              </a:ln>
            </p:spPr>
            <p:txBody>
              <a:bodyPr rtlCol="0" anchor="ctr"/>
              <a:lstStyle/>
              <a:p>
                <a:endParaRPr lang="en-GB" dirty="0"/>
              </a:p>
            </p:txBody>
          </p:sp>
        </p:grpSp>
        <p:grpSp>
          <p:nvGrpSpPr>
            <p:cNvPr id="327" name="Gruppieren 1328">
              <a:extLst>
                <a:ext uri="{FF2B5EF4-FFF2-40B4-BE49-F238E27FC236}">
                  <a16:creationId xmlns:a16="http://schemas.microsoft.com/office/drawing/2014/main" id="{3B2FA9FA-59F1-4D06-A9DE-56F58C87C4B8}"/>
                </a:ext>
              </a:extLst>
            </p:cNvPr>
            <p:cNvGrpSpPr/>
            <p:nvPr/>
          </p:nvGrpSpPr>
          <p:grpSpPr>
            <a:xfrm>
              <a:off x="3878494" y="3197065"/>
              <a:ext cx="283950" cy="223946"/>
              <a:chOff x="3518452" y="3236355"/>
              <a:chExt cx="321312" cy="253417"/>
            </a:xfrm>
          </p:grpSpPr>
          <p:sp>
            <p:nvSpPr>
              <p:cNvPr id="328" name="Freihandform: Form 480">
                <a:extLst>
                  <a:ext uri="{FF2B5EF4-FFF2-40B4-BE49-F238E27FC236}">
                    <a16:creationId xmlns:a16="http://schemas.microsoft.com/office/drawing/2014/main" id="{B6116EC2-6DFB-4966-B2EF-CA76A71F6FF8}"/>
                  </a:ext>
                </a:extLst>
              </p:cNvPr>
              <p:cNvSpPr/>
              <p:nvPr/>
            </p:nvSpPr>
            <p:spPr>
              <a:xfrm>
                <a:off x="3688507" y="3236355"/>
                <a:ext cx="77493" cy="55910"/>
              </a:xfrm>
              <a:custGeom>
                <a:avLst/>
                <a:gdLst>
                  <a:gd name="connsiteX0" fmla="*/ 6606 w 77493"/>
                  <a:gd name="connsiteY0" fmla="*/ 55910 h 55910"/>
                  <a:gd name="connsiteX1" fmla="*/ 1509 w 77493"/>
                  <a:gd name="connsiteY1" fmla="*/ 53512 h 55910"/>
                  <a:gd name="connsiteX2" fmla="*/ 2387 w 77493"/>
                  <a:gd name="connsiteY2" fmla="*/ 44218 h 55910"/>
                  <a:gd name="connsiteX3" fmla="*/ 13245 w 77493"/>
                  <a:gd name="connsiteY3" fmla="*/ 35224 h 55910"/>
                  <a:gd name="connsiteX4" fmla="*/ 44274 w 77493"/>
                  <a:gd name="connsiteY4" fmla="*/ 26144 h 55910"/>
                  <a:gd name="connsiteX5" fmla="*/ 66010 w 77493"/>
                  <a:gd name="connsiteY5" fmla="*/ 2160 h 55910"/>
                  <a:gd name="connsiteX6" fmla="*/ 75325 w 77493"/>
                  <a:gd name="connsiteY6" fmla="*/ 1710 h 55910"/>
                  <a:gd name="connsiteX7" fmla="*/ 75775 w 77493"/>
                  <a:gd name="connsiteY7" fmla="*/ 11025 h 55910"/>
                  <a:gd name="connsiteX8" fmla="*/ 51619 w 77493"/>
                  <a:gd name="connsiteY8" fmla="*/ 37665 h 55910"/>
                  <a:gd name="connsiteX9" fmla="*/ 45345 w 77493"/>
                  <a:gd name="connsiteY9" fmla="*/ 39678 h 55910"/>
                  <a:gd name="connsiteX10" fmla="*/ 21639 w 77493"/>
                  <a:gd name="connsiteY10" fmla="*/ 45374 h 55910"/>
                  <a:gd name="connsiteX11" fmla="*/ 10782 w 77493"/>
                  <a:gd name="connsiteY11" fmla="*/ 54368 h 55910"/>
                  <a:gd name="connsiteX12" fmla="*/ 6606 w 77493"/>
                  <a:gd name="connsiteY12" fmla="*/ 55910 h 5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493" h="55910">
                    <a:moveTo>
                      <a:pt x="6606" y="55910"/>
                    </a:moveTo>
                    <a:cubicBezTo>
                      <a:pt x="4700" y="55910"/>
                      <a:pt x="2816" y="55096"/>
                      <a:pt x="1509" y="53512"/>
                    </a:cubicBezTo>
                    <a:cubicBezTo>
                      <a:pt x="-803" y="50706"/>
                      <a:pt x="-418" y="46552"/>
                      <a:pt x="2387" y="44218"/>
                    </a:cubicBezTo>
                    <a:lnTo>
                      <a:pt x="13245" y="35224"/>
                    </a:lnTo>
                    <a:cubicBezTo>
                      <a:pt x="21982" y="28007"/>
                      <a:pt x="33117" y="24795"/>
                      <a:pt x="44274" y="26144"/>
                    </a:cubicBezTo>
                    <a:lnTo>
                      <a:pt x="66010" y="2160"/>
                    </a:lnTo>
                    <a:cubicBezTo>
                      <a:pt x="68451" y="-539"/>
                      <a:pt x="72627" y="-731"/>
                      <a:pt x="75325" y="1710"/>
                    </a:cubicBezTo>
                    <a:cubicBezTo>
                      <a:pt x="78024" y="4151"/>
                      <a:pt x="78238" y="8327"/>
                      <a:pt x="75775" y="11025"/>
                    </a:cubicBezTo>
                    <a:lnTo>
                      <a:pt x="51619" y="37665"/>
                    </a:lnTo>
                    <a:cubicBezTo>
                      <a:pt x="50035" y="39399"/>
                      <a:pt x="47658" y="40171"/>
                      <a:pt x="45345" y="39678"/>
                    </a:cubicBezTo>
                    <a:cubicBezTo>
                      <a:pt x="36908" y="37858"/>
                      <a:pt x="28256" y="39935"/>
                      <a:pt x="21639" y="45374"/>
                    </a:cubicBezTo>
                    <a:lnTo>
                      <a:pt x="10782" y="54368"/>
                    </a:lnTo>
                    <a:cubicBezTo>
                      <a:pt x="9583" y="55418"/>
                      <a:pt x="8084" y="55910"/>
                      <a:pt x="6606" y="55910"/>
                    </a:cubicBezTo>
                    <a:close/>
                  </a:path>
                </a:pathLst>
              </a:custGeom>
              <a:solidFill>
                <a:schemeClr val="accent1"/>
              </a:solidFill>
              <a:ln w="2139" cap="flat">
                <a:noFill/>
                <a:prstDash val="solid"/>
                <a:miter/>
              </a:ln>
            </p:spPr>
            <p:txBody>
              <a:bodyPr rtlCol="0" anchor="ctr"/>
              <a:lstStyle/>
              <a:p>
                <a:endParaRPr lang="en-GB" dirty="0"/>
              </a:p>
            </p:txBody>
          </p:sp>
          <p:sp>
            <p:nvSpPr>
              <p:cNvPr id="329" name="Freihandform: Form 481">
                <a:extLst>
                  <a:ext uri="{FF2B5EF4-FFF2-40B4-BE49-F238E27FC236}">
                    <a16:creationId xmlns:a16="http://schemas.microsoft.com/office/drawing/2014/main" id="{40588B6B-4D39-4E4D-B933-BD89FC7ABF04}"/>
                  </a:ext>
                </a:extLst>
              </p:cNvPr>
              <p:cNvSpPr/>
              <p:nvPr/>
            </p:nvSpPr>
            <p:spPr>
              <a:xfrm>
                <a:off x="3797229" y="3286531"/>
                <a:ext cx="42535" cy="117452"/>
              </a:xfrm>
              <a:custGeom>
                <a:avLst/>
                <a:gdLst>
                  <a:gd name="connsiteX0" fmla="*/ 6585 w 42535"/>
                  <a:gd name="connsiteY0" fmla="*/ 117454 h 117453"/>
                  <a:gd name="connsiteX1" fmla="*/ 2387 w 42535"/>
                  <a:gd name="connsiteY1" fmla="*/ 115934 h 117453"/>
                  <a:gd name="connsiteX2" fmla="*/ 1509 w 42535"/>
                  <a:gd name="connsiteY2" fmla="*/ 106661 h 117453"/>
                  <a:gd name="connsiteX3" fmla="*/ 16671 w 42535"/>
                  <a:gd name="connsiteY3" fmla="*/ 63254 h 117453"/>
                  <a:gd name="connsiteX4" fmla="*/ 14422 w 42535"/>
                  <a:gd name="connsiteY4" fmla="*/ 25393 h 117453"/>
                  <a:gd name="connsiteX5" fmla="*/ 15879 w 42535"/>
                  <a:gd name="connsiteY5" fmla="*/ 20832 h 117453"/>
                  <a:gd name="connsiteX6" fmla="*/ 30826 w 42535"/>
                  <a:gd name="connsiteY6" fmla="*/ 2437 h 117453"/>
                  <a:gd name="connsiteX7" fmla="*/ 40098 w 42535"/>
                  <a:gd name="connsiteY7" fmla="*/ 1473 h 117453"/>
                  <a:gd name="connsiteX8" fmla="*/ 41062 w 42535"/>
                  <a:gd name="connsiteY8" fmla="*/ 10745 h 117453"/>
                  <a:gd name="connsiteX9" fmla="*/ 27721 w 42535"/>
                  <a:gd name="connsiteY9" fmla="*/ 27149 h 117453"/>
                  <a:gd name="connsiteX10" fmla="*/ 29820 w 42535"/>
                  <a:gd name="connsiteY10" fmla="*/ 62440 h 117453"/>
                  <a:gd name="connsiteX11" fmla="*/ 11638 w 42535"/>
                  <a:gd name="connsiteY11" fmla="*/ 115034 h 117453"/>
                  <a:gd name="connsiteX12" fmla="*/ 6585 w 42535"/>
                  <a:gd name="connsiteY12" fmla="*/ 117454 h 11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535" h="117453">
                    <a:moveTo>
                      <a:pt x="6585" y="117454"/>
                    </a:moveTo>
                    <a:cubicBezTo>
                      <a:pt x="5107" y="117454"/>
                      <a:pt x="3608" y="116961"/>
                      <a:pt x="2387" y="115934"/>
                    </a:cubicBezTo>
                    <a:cubicBezTo>
                      <a:pt x="-418" y="113621"/>
                      <a:pt x="-803" y="109445"/>
                      <a:pt x="1509" y="106661"/>
                    </a:cubicBezTo>
                    <a:cubicBezTo>
                      <a:pt x="11103" y="95076"/>
                      <a:pt x="17485" y="76831"/>
                      <a:pt x="16671" y="63254"/>
                    </a:cubicBezTo>
                    <a:lnTo>
                      <a:pt x="14422" y="25393"/>
                    </a:lnTo>
                    <a:cubicBezTo>
                      <a:pt x="14315" y="23744"/>
                      <a:pt x="14851" y="22116"/>
                      <a:pt x="15879" y="20832"/>
                    </a:cubicBezTo>
                    <a:lnTo>
                      <a:pt x="30826" y="2437"/>
                    </a:lnTo>
                    <a:cubicBezTo>
                      <a:pt x="33139" y="-390"/>
                      <a:pt x="37272" y="-819"/>
                      <a:pt x="40098" y="1473"/>
                    </a:cubicBezTo>
                    <a:cubicBezTo>
                      <a:pt x="42925" y="3764"/>
                      <a:pt x="43354" y="7919"/>
                      <a:pt x="41062" y="10745"/>
                    </a:cubicBezTo>
                    <a:lnTo>
                      <a:pt x="27721" y="27149"/>
                    </a:lnTo>
                    <a:lnTo>
                      <a:pt x="29820" y="62440"/>
                    </a:lnTo>
                    <a:cubicBezTo>
                      <a:pt x="30826" y="79272"/>
                      <a:pt x="23352" y="100922"/>
                      <a:pt x="11638" y="115034"/>
                    </a:cubicBezTo>
                    <a:cubicBezTo>
                      <a:pt x="10375" y="116640"/>
                      <a:pt x="8491" y="117454"/>
                      <a:pt x="6585" y="117454"/>
                    </a:cubicBezTo>
                    <a:close/>
                  </a:path>
                </a:pathLst>
              </a:custGeom>
              <a:solidFill>
                <a:schemeClr val="accent1"/>
              </a:solidFill>
              <a:ln w="2139" cap="flat">
                <a:noFill/>
                <a:prstDash val="solid"/>
                <a:miter/>
              </a:ln>
            </p:spPr>
            <p:txBody>
              <a:bodyPr rtlCol="0" anchor="ctr"/>
              <a:lstStyle/>
              <a:p>
                <a:endParaRPr lang="en-GB" dirty="0"/>
              </a:p>
            </p:txBody>
          </p:sp>
          <p:sp>
            <p:nvSpPr>
              <p:cNvPr id="330" name="Freihandform: Form 483">
                <a:extLst>
                  <a:ext uri="{FF2B5EF4-FFF2-40B4-BE49-F238E27FC236}">
                    <a16:creationId xmlns:a16="http://schemas.microsoft.com/office/drawing/2014/main" id="{82A82A9C-AADA-4E3D-9C49-DE1FC81B4800}"/>
                  </a:ext>
                </a:extLst>
              </p:cNvPr>
              <p:cNvSpPr/>
              <p:nvPr/>
            </p:nvSpPr>
            <p:spPr>
              <a:xfrm>
                <a:off x="3518452" y="3266398"/>
                <a:ext cx="229579" cy="223374"/>
              </a:xfrm>
              <a:custGeom>
                <a:avLst/>
                <a:gdLst>
                  <a:gd name="connsiteX0" fmla="*/ 89572 w 229582"/>
                  <a:gd name="connsiteY0" fmla="*/ 223375 h 223374"/>
                  <a:gd name="connsiteX1" fmla="*/ 82976 w 229582"/>
                  <a:gd name="connsiteY1" fmla="*/ 216779 h 223374"/>
                  <a:gd name="connsiteX2" fmla="*/ 82976 w 229582"/>
                  <a:gd name="connsiteY2" fmla="*/ 146582 h 223374"/>
                  <a:gd name="connsiteX3" fmla="*/ 46379 w 229582"/>
                  <a:gd name="connsiteY3" fmla="*/ 160438 h 223374"/>
                  <a:gd name="connsiteX4" fmla="*/ 46143 w 229582"/>
                  <a:gd name="connsiteY4" fmla="*/ 160438 h 223374"/>
                  <a:gd name="connsiteX5" fmla="*/ 145 w 229582"/>
                  <a:gd name="connsiteY5" fmla="*/ 112169 h 223374"/>
                  <a:gd name="connsiteX6" fmla="*/ 16 w 229582"/>
                  <a:gd name="connsiteY6" fmla="*/ 110927 h 223374"/>
                  <a:gd name="connsiteX7" fmla="*/ 38 w 229582"/>
                  <a:gd name="connsiteY7" fmla="*/ 110156 h 223374"/>
                  <a:gd name="connsiteX8" fmla="*/ 16 w 229582"/>
                  <a:gd name="connsiteY8" fmla="*/ 109428 h 223374"/>
                  <a:gd name="connsiteX9" fmla="*/ 124 w 229582"/>
                  <a:gd name="connsiteY9" fmla="*/ 107736 h 223374"/>
                  <a:gd name="connsiteX10" fmla="*/ 45737 w 229582"/>
                  <a:gd name="connsiteY10" fmla="*/ 59018 h 223374"/>
                  <a:gd name="connsiteX11" fmla="*/ 82976 w 229582"/>
                  <a:gd name="connsiteY11" fmla="*/ 72767 h 223374"/>
                  <a:gd name="connsiteX12" fmla="*/ 82976 w 229582"/>
                  <a:gd name="connsiteY12" fmla="*/ 6596 h 223374"/>
                  <a:gd name="connsiteX13" fmla="*/ 89572 w 229582"/>
                  <a:gd name="connsiteY13" fmla="*/ 0 h 223374"/>
                  <a:gd name="connsiteX14" fmla="*/ 227182 w 229582"/>
                  <a:gd name="connsiteY14" fmla="*/ 49189 h 223374"/>
                  <a:gd name="connsiteX15" fmla="*/ 228081 w 229582"/>
                  <a:gd name="connsiteY15" fmla="*/ 58462 h 223374"/>
                  <a:gd name="connsiteX16" fmla="*/ 218809 w 229582"/>
                  <a:gd name="connsiteY16" fmla="*/ 59361 h 223374"/>
                  <a:gd name="connsiteX17" fmla="*/ 96168 w 229582"/>
                  <a:gd name="connsiteY17" fmla="*/ 13277 h 223374"/>
                  <a:gd name="connsiteX18" fmla="*/ 96168 w 229582"/>
                  <a:gd name="connsiteY18" fmla="*/ 82917 h 223374"/>
                  <a:gd name="connsiteX19" fmla="*/ 94176 w 229582"/>
                  <a:gd name="connsiteY19" fmla="*/ 87628 h 223374"/>
                  <a:gd name="connsiteX20" fmla="*/ 89401 w 229582"/>
                  <a:gd name="connsiteY20" fmla="*/ 89513 h 223374"/>
                  <a:gd name="connsiteX21" fmla="*/ 84732 w 229582"/>
                  <a:gd name="connsiteY21" fmla="*/ 89406 h 223374"/>
                  <a:gd name="connsiteX22" fmla="*/ 80535 w 229582"/>
                  <a:gd name="connsiteY22" fmla="*/ 87757 h 223374"/>
                  <a:gd name="connsiteX23" fmla="*/ 46015 w 229582"/>
                  <a:gd name="connsiteY23" fmla="*/ 72188 h 223374"/>
                  <a:gd name="connsiteX24" fmla="*/ 45822 w 229582"/>
                  <a:gd name="connsiteY24" fmla="*/ 72188 h 223374"/>
                  <a:gd name="connsiteX25" fmla="*/ 13272 w 229582"/>
                  <a:gd name="connsiteY25" fmla="*/ 109236 h 223374"/>
                  <a:gd name="connsiteX26" fmla="*/ 13229 w 229582"/>
                  <a:gd name="connsiteY26" fmla="*/ 109771 h 223374"/>
                  <a:gd name="connsiteX27" fmla="*/ 13229 w 229582"/>
                  <a:gd name="connsiteY27" fmla="*/ 109964 h 223374"/>
                  <a:gd name="connsiteX28" fmla="*/ 13229 w 229582"/>
                  <a:gd name="connsiteY28" fmla="*/ 110135 h 223374"/>
                  <a:gd name="connsiteX29" fmla="*/ 13272 w 229582"/>
                  <a:gd name="connsiteY29" fmla="*/ 110563 h 223374"/>
                  <a:gd name="connsiteX30" fmla="*/ 46293 w 229582"/>
                  <a:gd name="connsiteY30" fmla="*/ 147225 h 223374"/>
                  <a:gd name="connsiteX31" fmla="*/ 80813 w 229582"/>
                  <a:gd name="connsiteY31" fmla="*/ 131228 h 223374"/>
                  <a:gd name="connsiteX32" fmla="*/ 84947 w 229582"/>
                  <a:gd name="connsiteY32" fmla="*/ 129536 h 223374"/>
                  <a:gd name="connsiteX33" fmla="*/ 89294 w 229582"/>
                  <a:gd name="connsiteY33" fmla="*/ 129344 h 223374"/>
                  <a:gd name="connsiteX34" fmla="*/ 94133 w 229582"/>
                  <a:gd name="connsiteY34" fmla="*/ 131164 h 223374"/>
                  <a:gd name="connsiteX35" fmla="*/ 96168 w 229582"/>
                  <a:gd name="connsiteY35" fmla="*/ 135918 h 223374"/>
                  <a:gd name="connsiteX36" fmla="*/ 96168 w 229582"/>
                  <a:gd name="connsiteY36" fmla="*/ 216736 h 223374"/>
                  <a:gd name="connsiteX37" fmla="*/ 89572 w 229582"/>
                  <a:gd name="connsiteY37" fmla="*/ 223375 h 22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29582" h="223374">
                    <a:moveTo>
                      <a:pt x="89572" y="223375"/>
                    </a:moveTo>
                    <a:cubicBezTo>
                      <a:pt x="85932" y="223375"/>
                      <a:pt x="82976" y="220420"/>
                      <a:pt x="82976" y="216779"/>
                    </a:cubicBezTo>
                    <a:lnTo>
                      <a:pt x="82976" y="146582"/>
                    </a:lnTo>
                    <a:cubicBezTo>
                      <a:pt x="70941" y="155705"/>
                      <a:pt x="58671" y="160352"/>
                      <a:pt x="46379" y="160438"/>
                    </a:cubicBezTo>
                    <a:cubicBezTo>
                      <a:pt x="46293" y="160438"/>
                      <a:pt x="46208" y="160438"/>
                      <a:pt x="46143" y="160438"/>
                    </a:cubicBezTo>
                    <a:cubicBezTo>
                      <a:pt x="21838" y="160438"/>
                      <a:pt x="1815" y="139366"/>
                      <a:pt x="145" y="112169"/>
                    </a:cubicBezTo>
                    <a:cubicBezTo>
                      <a:pt x="59" y="111762"/>
                      <a:pt x="16" y="111334"/>
                      <a:pt x="16" y="110927"/>
                    </a:cubicBezTo>
                    <a:cubicBezTo>
                      <a:pt x="16" y="110842"/>
                      <a:pt x="38" y="110242"/>
                      <a:pt x="38" y="110156"/>
                    </a:cubicBezTo>
                    <a:cubicBezTo>
                      <a:pt x="38" y="110135"/>
                      <a:pt x="16" y="109450"/>
                      <a:pt x="16" y="109428"/>
                    </a:cubicBezTo>
                    <a:cubicBezTo>
                      <a:pt x="-26" y="108850"/>
                      <a:pt x="16" y="108293"/>
                      <a:pt x="124" y="107736"/>
                    </a:cubicBezTo>
                    <a:cubicBezTo>
                      <a:pt x="1494" y="80497"/>
                      <a:pt x="21324" y="59190"/>
                      <a:pt x="45737" y="59018"/>
                    </a:cubicBezTo>
                    <a:cubicBezTo>
                      <a:pt x="58500" y="59018"/>
                      <a:pt x="70684" y="63580"/>
                      <a:pt x="82976" y="72767"/>
                    </a:cubicBezTo>
                    <a:lnTo>
                      <a:pt x="82976" y="6596"/>
                    </a:lnTo>
                    <a:cubicBezTo>
                      <a:pt x="82976" y="2955"/>
                      <a:pt x="85932" y="0"/>
                      <a:pt x="89572" y="0"/>
                    </a:cubicBezTo>
                    <a:cubicBezTo>
                      <a:pt x="139661" y="0"/>
                      <a:pt x="188550" y="17474"/>
                      <a:pt x="227182" y="49189"/>
                    </a:cubicBezTo>
                    <a:cubicBezTo>
                      <a:pt x="229987" y="51502"/>
                      <a:pt x="230394" y="55656"/>
                      <a:pt x="228081" y="58462"/>
                    </a:cubicBezTo>
                    <a:cubicBezTo>
                      <a:pt x="225790" y="61267"/>
                      <a:pt x="221635" y="61695"/>
                      <a:pt x="218809" y="59361"/>
                    </a:cubicBezTo>
                    <a:cubicBezTo>
                      <a:pt x="184224" y="30965"/>
                      <a:pt x="140903" y="14733"/>
                      <a:pt x="96168" y="13277"/>
                    </a:cubicBezTo>
                    <a:lnTo>
                      <a:pt x="96168" y="82917"/>
                    </a:lnTo>
                    <a:cubicBezTo>
                      <a:pt x="96168" y="84694"/>
                      <a:pt x="95461" y="86386"/>
                      <a:pt x="94176" y="87628"/>
                    </a:cubicBezTo>
                    <a:cubicBezTo>
                      <a:pt x="92913" y="88870"/>
                      <a:pt x="91264" y="89598"/>
                      <a:pt x="89401" y="89513"/>
                    </a:cubicBezTo>
                    <a:lnTo>
                      <a:pt x="84732" y="89406"/>
                    </a:lnTo>
                    <a:cubicBezTo>
                      <a:pt x="83191" y="89363"/>
                      <a:pt x="81691" y="88785"/>
                      <a:pt x="80535" y="87757"/>
                    </a:cubicBezTo>
                    <a:cubicBezTo>
                      <a:pt x="68800" y="77435"/>
                      <a:pt x="57193" y="72188"/>
                      <a:pt x="46015" y="72188"/>
                    </a:cubicBezTo>
                    <a:cubicBezTo>
                      <a:pt x="45951" y="72188"/>
                      <a:pt x="45886" y="72188"/>
                      <a:pt x="45822" y="72188"/>
                    </a:cubicBezTo>
                    <a:cubicBezTo>
                      <a:pt x="28219" y="72317"/>
                      <a:pt x="13914" y="88571"/>
                      <a:pt x="13272" y="109236"/>
                    </a:cubicBezTo>
                    <a:cubicBezTo>
                      <a:pt x="13272" y="109407"/>
                      <a:pt x="13251" y="109600"/>
                      <a:pt x="13229" y="109771"/>
                    </a:cubicBezTo>
                    <a:cubicBezTo>
                      <a:pt x="13229" y="109835"/>
                      <a:pt x="13229" y="109899"/>
                      <a:pt x="13229" y="109964"/>
                    </a:cubicBezTo>
                    <a:cubicBezTo>
                      <a:pt x="13229" y="109985"/>
                      <a:pt x="13229" y="110071"/>
                      <a:pt x="13229" y="110135"/>
                    </a:cubicBezTo>
                    <a:cubicBezTo>
                      <a:pt x="13251" y="110285"/>
                      <a:pt x="13251" y="110435"/>
                      <a:pt x="13272" y="110563"/>
                    </a:cubicBezTo>
                    <a:cubicBezTo>
                      <a:pt x="14214" y="131228"/>
                      <a:pt x="28841" y="147332"/>
                      <a:pt x="46293" y="147225"/>
                    </a:cubicBezTo>
                    <a:cubicBezTo>
                      <a:pt x="57515" y="147139"/>
                      <a:pt x="69121" y="141764"/>
                      <a:pt x="80813" y="131228"/>
                    </a:cubicBezTo>
                    <a:cubicBezTo>
                      <a:pt x="81948" y="130200"/>
                      <a:pt x="83426" y="129601"/>
                      <a:pt x="84947" y="129536"/>
                    </a:cubicBezTo>
                    <a:lnTo>
                      <a:pt x="89294" y="129344"/>
                    </a:lnTo>
                    <a:cubicBezTo>
                      <a:pt x="91050" y="129194"/>
                      <a:pt x="92827" y="129922"/>
                      <a:pt x="94133" y="131164"/>
                    </a:cubicBezTo>
                    <a:cubicBezTo>
                      <a:pt x="95440" y="132406"/>
                      <a:pt x="96168" y="134119"/>
                      <a:pt x="96168" y="135918"/>
                    </a:cubicBezTo>
                    <a:lnTo>
                      <a:pt x="96168" y="216736"/>
                    </a:lnTo>
                    <a:cubicBezTo>
                      <a:pt x="96168" y="220420"/>
                      <a:pt x="93213" y="223375"/>
                      <a:pt x="89572" y="223375"/>
                    </a:cubicBezTo>
                    <a:close/>
                  </a:path>
                </a:pathLst>
              </a:custGeom>
              <a:solidFill>
                <a:schemeClr val="accent1"/>
              </a:solidFill>
              <a:ln w="2139" cap="flat">
                <a:noFill/>
                <a:prstDash val="solid"/>
                <a:miter/>
              </a:ln>
            </p:spPr>
            <p:txBody>
              <a:bodyPr rtlCol="0" anchor="ctr"/>
              <a:lstStyle/>
              <a:p>
                <a:endParaRPr lang="en-GB" dirty="0"/>
              </a:p>
            </p:txBody>
          </p:sp>
          <p:sp>
            <p:nvSpPr>
              <p:cNvPr id="331" name="Freihandform: Form 484">
                <a:extLst>
                  <a:ext uri="{FF2B5EF4-FFF2-40B4-BE49-F238E27FC236}">
                    <a16:creationId xmlns:a16="http://schemas.microsoft.com/office/drawing/2014/main" id="{9D40019C-AAE3-49D0-9998-3A25A1A57951}"/>
                  </a:ext>
                </a:extLst>
              </p:cNvPr>
              <p:cNvSpPr/>
              <p:nvPr/>
            </p:nvSpPr>
            <p:spPr>
              <a:xfrm>
                <a:off x="3784040" y="3372237"/>
                <a:ext cx="39366" cy="92059"/>
              </a:xfrm>
              <a:custGeom>
                <a:avLst/>
                <a:gdLst>
                  <a:gd name="connsiteX0" fmla="*/ 32788 w 39366"/>
                  <a:gd name="connsiteY0" fmla="*/ 92059 h 92059"/>
                  <a:gd name="connsiteX1" fmla="*/ 26235 w 39366"/>
                  <a:gd name="connsiteY1" fmla="*/ 86256 h 92059"/>
                  <a:gd name="connsiteX2" fmla="*/ 881 w 39366"/>
                  <a:gd name="connsiteY2" fmla="*/ 9870 h 92059"/>
                  <a:gd name="connsiteX3" fmla="*/ 3322 w 39366"/>
                  <a:gd name="connsiteY3" fmla="*/ 876 h 92059"/>
                  <a:gd name="connsiteX4" fmla="*/ 12316 w 39366"/>
                  <a:gd name="connsiteY4" fmla="*/ 3317 h 92059"/>
                  <a:gd name="connsiteX5" fmla="*/ 39320 w 39366"/>
                  <a:gd name="connsiteY5" fmla="*/ 84671 h 92059"/>
                  <a:gd name="connsiteX6" fmla="*/ 33559 w 39366"/>
                  <a:gd name="connsiteY6" fmla="*/ 92016 h 92059"/>
                  <a:gd name="connsiteX7" fmla="*/ 32788 w 39366"/>
                  <a:gd name="connsiteY7" fmla="*/ 92059 h 9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66" h="92059">
                    <a:moveTo>
                      <a:pt x="32788" y="92059"/>
                    </a:moveTo>
                    <a:cubicBezTo>
                      <a:pt x="29490" y="92059"/>
                      <a:pt x="26642" y="89596"/>
                      <a:pt x="26235" y="86256"/>
                    </a:cubicBezTo>
                    <a:cubicBezTo>
                      <a:pt x="22980" y="59231"/>
                      <a:pt x="14436" y="33533"/>
                      <a:pt x="881" y="9870"/>
                    </a:cubicBezTo>
                    <a:cubicBezTo>
                      <a:pt x="-940" y="6722"/>
                      <a:pt x="153" y="2675"/>
                      <a:pt x="3322" y="876"/>
                    </a:cubicBezTo>
                    <a:cubicBezTo>
                      <a:pt x="6470" y="-944"/>
                      <a:pt x="10517" y="169"/>
                      <a:pt x="12316" y="3317"/>
                    </a:cubicBezTo>
                    <a:cubicBezTo>
                      <a:pt x="26749" y="28501"/>
                      <a:pt x="35850" y="55890"/>
                      <a:pt x="39320" y="84671"/>
                    </a:cubicBezTo>
                    <a:cubicBezTo>
                      <a:pt x="39748" y="88290"/>
                      <a:pt x="37178" y="91566"/>
                      <a:pt x="33559" y="92016"/>
                    </a:cubicBezTo>
                    <a:cubicBezTo>
                      <a:pt x="33324" y="92038"/>
                      <a:pt x="33045" y="92059"/>
                      <a:pt x="32788" y="92059"/>
                    </a:cubicBezTo>
                    <a:close/>
                  </a:path>
                </a:pathLst>
              </a:custGeom>
              <a:solidFill>
                <a:schemeClr val="accent1"/>
              </a:solidFill>
              <a:ln w="2139" cap="flat">
                <a:noFill/>
                <a:prstDash val="solid"/>
                <a:miter/>
              </a:ln>
            </p:spPr>
            <p:txBody>
              <a:bodyPr rtlCol="0" anchor="ctr"/>
              <a:lstStyle/>
              <a:p>
                <a:endParaRPr lang="en-GB" dirty="0"/>
              </a:p>
            </p:txBody>
          </p:sp>
          <p:sp>
            <p:nvSpPr>
              <p:cNvPr id="332" name="Freihandform: Form 501">
                <a:extLst>
                  <a:ext uri="{FF2B5EF4-FFF2-40B4-BE49-F238E27FC236}">
                    <a16:creationId xmlns:a16="http://schemas.microsoft.com/office/drawing/2014/main" id="{F8D25BE2-94B4-42A8-9932-2ECCE223455B}"/>
                  </a:ext>
                </a:extLst>
              </p:cNvPr>
              <p:cNvSpPr/>
              <p:nvPr/>
            </p:nvSpPr>
            <p:spPr>
              <a:xfrm>
                <a:off x="3710248" y="3297617"/>
                <a:ext cx="89428" cy="148197"/>
              </a:xfrm>
              <a:custGeom>
                <a:avLst/>
                <a:gdLst>
                  <a:gd name="connsiteX0" fmla="*/ 20384 w 89428"/>
                  <a:gd name="connsiteY0" fmla="*/ 148198 h 148197"/>
                  <a:gd name="connsiteX1" fmla="*/ 16615 w 89428"/>
                  <a:gd name="connsiteY1" fmla="*/ 147834 h 148197"/>
                  <a:gd name="connsiteX2" fmla="*/ 1646 w 89428"/>
                  <a:gd name="connsiteY2" fmla="*/ 135285 h 148197"/>
                  <a:gd name="connsiteX3" fmla="*/ 7300 w 89428"/>
                  <a:gd name="connsiteY3" fmla="*/ 102157 h 148197"/>
                  <a:gd name="connsiteX4" fmla="*/ 26144 w 89428"/>
                  <a:gd name="connsiteY4" fmla="*/ 75003 h 148197"/>
                  <a:gd name="connsiteX5" fmla="*/ 34003 w 89428"/>
                  <a:gd name="connsiteY5" fmla="*/ 2986 h 148197"/>
                  <a:gd name="connsiteX6" fmla="*/ 43126 w 89428"/>
                  <a:gd name="connsiteY6" fmla="*/ 1080 h 148197"/>
                  <a:gd name="connsiteX7" fmla="*/ 45032 w 89428"/>
                  <a:gd name="connsiteY7" fmla="*/ 10203 h 148197"/>
                  <a:gd name="connsiteX8" fmla="*/ 39593 w 89428"/>
                  <a:gd name="connsiteY8" fmla="*/ 73461 h 148197"/>
                  <a:gd name="connsiteX9" fmla="*/ 38907 w 89428"/>
                  <a:gd name="connsiteY9" fmla="*/ 79736 h 148197"/>
                  <a:gd name="connsiteX10" fmla="*/ 18157 w 89428"/>
                  <a:gd name="connsiteY10" fmla="*/ 109652 h 148197"/>
                  <a:gd name="connsiteX11" fmla="*/ 14024 w 89428"/>
                  <a:gd name="connsiteY11" fmla="*/ 130724 h 148197"/>
                  <a:gd name="connsiteX12" fmla="*/ 19035 w 89428"/>
                  <a:gd name="connsiteY12" fmla="*/ 134878 h 148197"/>
                  <a:gd name="connsiteX13" fmla="*/ 25438 w 89428"/>
                  <a:gd name="connsiteY13" fmla="*/ 132715 h 148197"/>
                  <a:gd name="connsiteX14" fmla="*/ 77860 w 89428"/>
                  <a:gd name="connsiteY14" fmla="*/ 72969 h 148197"/>
                  <a:gd name="connsiteX15" fmla="*/ 87176 w 89428"/>
                  <a:gd name="connsiteY15" fmla="*/ 72348 h 148197"/>
                  <a:gd name="connsiteX16" fmla="*/ 87797 w 89428"/>
                  <a:gd name="connsiteY16" fmla="*/ 81663 h 148197"/>
                  <a:gd name="connsiteX17" fmla="*/ 35374 w 89428"/>
                  <a:gd name="connsiteY17" fmla="*/ 141431 h 148197"/>
                  <a:gd name="connsiteX18" fmla="*/ 20384 w 89428"/>
                  <a:gd name="connsiteY18" fmla="*/ 148198 h 148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428" h="148197">
                    <a:moveTo>
                      <a:pt x="20384" y="148198"/>
                    </a:moveTo>
                    <a:cubicBezTo>
                      <a:pt x="19142" y="148198"/>
                      <a:pt x="17878" y="148091"/>
                      <a:pt x="16615" y="147834"/>
                    </a:cubicBezTo>
                    <a:cubicBezTo>
                      <a:pt x="9655" y="146549"/>
                      <a:pt x="4066" y="141859"/>
                      <a:pt x="1646" y="135285"/>
                    </a:cubicBezTo>
                    <a:cubicBezTo>
                      <a:pt x="-2444" y="124171"/>
                      <a:pt x="1710" y="110316"/>
                      <a:pt x="7300" y="102157"/>
                    </a:cubicBezTo>
                    <a:lnTo>
                      <a:pt x="26144" y="75003"/>
                    </a:lnTo>
                    <a:cubicBezTo>
                      <a:pt x="22697" y="64489"/>
                      <a:pt x="14773" y="32431"/>
                      <a:pt x="34003" y="2986"/>
                    </a:cubicBezTo>
                    <a:cubicBezTo>
                      <a:pt x="35995" y="-76"/>
                      <a:pt x="40085" y="-911"/>
                      <a:pt x="43126" y="1080"/>
                    </a:cubicBezTo>
                    <a:cubicBezTo>
                      <a:pt x="46167" y="3072"/>
                      <a:pt x="47045" y="7162"/>
                      <a:pt x="45032" y="10203"/>
                    </a:cubicBezTo>
                    <a:cubicBezTo>
                      <a:pt x="25994" y="39369"/>
                      <a:pt x="39443" y="73140"/>
                      <a:pt x="39593" y="73461"/>
                    </a:cubicBezTo>
                    <a:cubicBezTo>
                      <a:pt x="40428" y="75538"/>
                      <a:pt x="40192" y="77894"/>
                      <a:pt x="38907" y="79736"/>
                    </a:cubicBezTo>
                    <a:lnTo>
                      <a:pt x="18157" y="109652"/>
                    </a:lnTo>
                    <a:cubicBezTo>
                      <a:pt x="14366" y="115177"/>
                      <a:pt x="11775" y="124599"/>
                      <a:pt x="14024" y="130724"/>
                    </a:cubicBezTo>
                    <a:cubicBezTo>
                      <a:pt x="15180" y="133850"/>
                      <a:pt x="17921" y="134664"/>
                      <a:pt x="19035" y="134878"/>
                    </a:cubicBezTo>
                    <a:cubicBezTo>
                      <a:pt x="21455" y="135328"/>
                      <a:pt x="23853" y="134514"/>
                      <a:pt x="25438" y="132715"/>
                    </a:cubicBezTo>
                    <a:lnTo>
                      <a:pt x="77860" y="72969"/>
                    </a:lnTo>
                    <a:cubicBezTo>
                      <a:pt x="80280" y="70228"/>
                      <a:pt x="84435" y="69971"/>
                      <a:pt x="87176" y="72348"/>
                    </a:cubicBezTo>
                    <a:cubicBezTo>
                      <a:pt x="89917" y="74746"/>
                      <a:pt x="90195" y="78922"/>
                      <a:pt x="87797" y="81663"/>
                    </a:cubicBezTo>
                    <a:lnTo>
                      <a:pt x="35374" y="141431"/>
                    </a:lnTo>
                    <a:cubicBezTo>
                      <a:pt x="31476" y="145778"/>
                      <a:pt x="26080" y="148198"/>
                      <a:pt x="20384" y="148198"/>
                    </a:cubicBezTo>
                    <a:close/>
                  </a:path>
                </a:pathLst>
              </a:custGeom>
              <a:solidFill>
                <a:schemeClr val="accent1"/>
              </a:solidFill>
              <a:ln w="2139" cap="flat">
                <a:noFill/>
                <a:prstDash val="solid"/>
                <a:miter/>
              </a:ln>
            </p:spPr>
            <p:txBody>
              <a:bodyPr rtlCol="0" anchor="ctr"/>
              <a:lstStyle/>
              <a:p>
                <a:endParaRPr lang="en-GB" dirty="0"/>
              </a:p>
            </p:txBody>
          </p:sp>
        </p:grpSp>
      </p:grpSp>
      <p:grpSp>
        <p:nvGrpSpPr>
          <p:cNvPr id="109" name="Group 108">
            <a:extLst>
              <a:ext uri="{FF2B5EF4-FFF2-40B4-BE49-F238E27FC236}">
                <a16:creationId xmlns:a16="http://schemas.microsoft.com/office/drawing/2014/main" id="{C20A2256-A5BF-0F0D-8DA6-8ED48FBEE5BD}"/>
              </a:ext>
            </a:extLst>
          </p:cNvPr>
          <p:cNvGrpSpPr/>
          <p:nvPr/>
        </p:nvGrpSpPr>
        <p:grpSpPr>
          <a:xfrm>
            <a:off x="521801" y="4002611"/>
            <a:ext cx="544498" cy="432000"/>
            <a:chOff x="521801" y="4002611"/>
            <a:chExt cx="544498" cy="432000"/>
          </a:xfrm>
        </p:grpSpPr>
        <p:grpSp>
          <p:nvGrpSpPr>
            <p:cNvPr id="354" name="Grafik 300">
              <a:extLst>
                <a:ext uri="{FF2B5EF4-FFF2-40B4-BE49-F238E27FC236}">
                  <a16:creationId xmlns:a16="http://schemas.microsoft.com/office/drawing/2014/main" id="{69FD0462-AC85-4A83-9C38-78ED5F934A4F}"/>
                </a:ext>
              </a:extLst>
            </p:cNvPr>
            <p:cNvGrpSpPr/>
            <p:nvPr/>
          </p:nvGrpSpPr>
          <p:grpSpPr>
            <a:xfrm>
              <a:off x="521801" y="4002611"/>
              <a:ext cx="410129" cy="358840"/>
              <a:chOff x="5310235" y="2550910"/>
              <a:chExt cx="372356" cy="325790"/>
            </a:xfrm>
            <a:solidFill>
              <a:schemeClr val="tx2"/>
            </a:solidFill>
          </p:grpSpPr>
          <p:sp>
            <p:nvSpPr>
              <p:cNvPr id="365" name="Freihandform: Form 938">
                <a:extLst>
                  <a:ext uri="{FF2B5EF4-FFF2-40B4-BE49-F238E27FC236}">
                    <a16:creationId xmlns:a16="http://schemas.microsoft.com/office/drawing/2014/main" id="{E56F9C1B-A927-42E3-AD4D-B9AC9881AAE8}"/>
                  </a:ext>
                </a:extLst>
              </p:cNvPr>
              <p:cNvSpPr/>
              <p:nvPr/>
            </p:nvSpPr>
            <p:spPr>
              <a:xfrm>
                <a:off x="5310235" y="2550910"/>
                <a:ext cx="372356" cy="292553"/>
              </a:xfrm>
              <a:custGeom>
                <a:avLst/>
                <a:gdLst>
                  <a:gd name="connsiteX0" fmla="*/ 159582 w 372356"/>
                  <a:gd name="connsiteY0" fmla="*/ 292554 h 292553"/>
                  <a:gd name="connsiteX1" fmla="*/ 19957 w 372356"/>
                  <a:gd name="connsiteY1" fmla="*/ 292554 h 292553"/>
                  <a:gd name="connsiteX2" fmla="*/ 0 w 372356"/>
                  <a:gd name="connsiteY2" fmla="*/ 272596 h 292553"/>
                  <a:gd name="connsiteX3" fmla="*/ 0 w 372356"/>
                  <a:gd name="connsiteY3" fmla="*/ 19957 h 292553"/>
                  <a:gd name="connsiteX4" fmla="*/ 19957 w 372356"/>
                  <a:gd name="connsiteY4" fmla="*/ 0 h 292553"/>
                  <a:gd name="connsiteX5" fmla="*/ 352400 w 372356"/>
                  <a:gd name="connsiteY5" fmla="*/ 0 h 292553"/>
                  <a:gd name="connsiteX6" fmla="*/ 372357 w 372356"/>
                  <a:gd name="connsiteY6" fmla="*/ 19957 h 292553"/>
                  <a:gd name="connsiteX7" fmla="*/ 372357 w 372356"/>
                  <a:gd name="connsiteY7" fmla="*/ 166234 h 292553"/>
                  <a:gd name="connsiteX8" fmla="*/ 365705 w 372356"/>
                  <a:gd name="connsiteY8" fmla="*/ 172886 h 292553"/>
                  <a:gd name="connsiteX9" fmla="*/ 359052 w 372356"/>
                  <a:gd name="connsiteY9" fmla="*/ 166234 h 292553"/>
                  <a:gd name="connsiteX10" fmla="*/ 359052 w 372356"/>
                  <a:gd name="connsiteY10" fmla="*/ 19957 h 292553"/>
                  <a:gd name="connsiteX11" fmla="*/ 352400 w 372356"/>
                  <a:gd name="connsiteY11" fmla="*/ 13305 h 292553"/>
                  <a:gd name="connsiteX12" fmla="*/ 19957 w 372356"/>
                  <a:gd name="connsiteY12" fmla="*/ 13305 h 292553"/>
                  <a:gd name="connsiteX13" fmla="*/ 13305 w 372356"/>
                  <a:gd name="connsiteY13" fmla="*/ 19957 h 292553"/>
                  <a:gd name="connsiteX14" fmla="*/ 13305 w 372356"/>
                  <a:gd name="connsiteY14" fmla="*/ 272596 h 292553"/>
                  <a:gd name="connsiteX15" fmla="*/ 19957 w 372356"/>
                  <a:gd name="connsiteY15" fmla="*/ 279249 h 292553"/>
                  <a:gd name="connsiteX16" fmla="*/ 159582 w 372356"/>
                  <a:gd name="connsiteY16" fmla="*/ 279249 h 292553"/>
                  <a:gd name="connsiteX17" fmla="*/ 166234 w 372356"/>
                  <a:gd name="connsiteY17" fmla="*/ 285901 h 292553"/>
                  <a:gd name="connsiteX18" fmla="*/ 159582 w 372356"/>
                  <a:gd name="connsiteY18" fmla="*/ 292554 h 29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2356" h="292553">
                    <a:moveTo>
                      <a:pt x="159582" y="292554"/>
                    </a:moveTo>
                    <a:lnTo>
                      <a:pt x="19957" y="292554"/>
                    </a:lnTo>
                    <a:cubicBezTo>
                      <a:pt x="8953" y="292554"/>
                      <a:pt x="0" y="283600"/>
                      <a:pt x="0" y="272596"/>
                    </a:cubicBezTo>
                    <a:lnTo>
                      <a:pt x="0" y="19957"/>
                    </a:lnTo>
                    <a:cubicBezTo>
                      <a:pt x="0" y="8953"/>
                      <a:pt x="8953" y="0"/>
                      <a:pt x="19957" y="0"/>
                    </a:cubicBezTo>
                    <a:lnTo>
                      <a:pt x="352400" y="0"/>
                    </a:lnTo>
                    <a:cubicBezTo>
                      <a:pt x="363404" y="0"/>
                      <a:pt x="372357" y="8953"/>
                      <a:pt x="372357" y="19957"/>
                    </a:cubicBezTo>
                    <a:lnTo>
                      <a:pt x="372357" y="166234"/>
                    </a:lnTo>
                    <a:cubicBezTo>
                      <a:pt x="372357" y="169910"/>
                      <a:pt x="369381" y="172886"/>
                      <a:pt x="365705" y="172886"/>
                    </a:cubicBezTo>
                    <a:cubicBezTo>
                      <a:pt x="362028" y="172886"/>
                      <a:pt x="359052" y="169910"/>
                      <a:pt x="359052" y="166234"/>
                    </a:cubicBezTo>
                    <a:lnTo>
                      <a:pt x="359052" y="19957"/>
                    </a:lnTo>
                    <a:cubicBezTo>
                      <a:pt x="359052" y="16281"/>
                      <a:pt x="356076" y="13305"/>
                      <a:pt x="352400" y="13305"/>
                    </a:cubicBezTo>
                    <a:lnTo>
                      <a:pt x="19957" y="13305"/>
                    </a:lnTo>
                    <a:cubicBezTo>
                      <a:pt x="16281" y="13305"/>
                      <a:pt x="13305" y="16281"/>
                      <a:pt x="13305" y="19957"/>
                    </a:cubicBezTo>
                    <a:lnTo>
                      <a:pt x="13305" y="272596"/>
                    </a:lnTo>
                    <a:cubicBezTo>
                      <a:pt x="13305" y="276273"/>
                      <a:pt x="16281" y="279249"/>
                      <a:pt x="19957" y="279249"/>
                    </a:cubicBezTo>
                    <a:lnTo>
                      <a:pt x="159582" y="279249"/>
                    </a:lnTo>
                    <a:cubicBezTo>
                      <a:pt x="163258" y="279249"/>
                      <a:pt x="166234" y="282225"/>
                      <a:pt x="166234" y="285901"/>
                    </a:cubicBezTo>
                    <a:cubicBezTo>
                      <a:pt x="166234" y="289578"/>
                      <a:pt x="163258" y="292554"/>
                      <a:pt x="159582" y="292554"/>
                    </a:cubicBezTo>
                    <a:close/>
                  </a:path>
                </a:pathLst>
              </a:custGeom>
              <a:grpFill/>
              <a:ln w="2497" cap="flat">
                <a:noFill/>
                <a:prstDash val="solid"/>
                <a:miter/>
              </a:ln>
            </p:spPr>
            <p:txBody>
              <a:bodyPr rtlCol="0" anchor="ctr"/>
              <a:lstStyle/>
              <a:p>
                <a:endParaRPr lang="en-GB" dirty="0"/>
              </a:p>
            </p:txBody>
          </p:sp>
          <p:sp>
            <p:nvSpPr>
              <p:cNvPr id="366" name="Freihandform: Form 939">
                <a:extLst>
                  <a:ext uri="{FF2B5EF4-FFF2-40B4-BE49-F238E27FC236}">
                    <a16:creationId xmlns:a16="http://schemas.microsoft.com/office/drawing/2014/main" id="{28C322DB-4CB3-41C4-B891-EF6CD486AFA9}"/>
                  </a:ext>
                </a:extLst>
              </p:cNvPr>
              <p:cNvSpPr/>
              <p:nvPr/>
            </p:nvSpPr>
            <p:spPr>
              <a:xfrm>
                <a:off x="5350149" y="2830158"/>
                <a:ext cx="66508" cy="46541"/>
              </a:xfrm>
              <a:custGeom>
                <a:avLst/>
                <a:gdLst>
                  <a:gd name="connsiteX0" fmla="*/ 53194 w 66508"/>
                  <a:gd name="connsiteY0" fmla="*/ 46541 h 46541"/>
                  <a:gd name="connsiteX1" fmla="*/ 6652 w 66508"/>
                  <a:gd name="connsiteY1" fmla="*/ 46541 h 46541"/>
                  <a:gd name="connsiteX2" fmla="*/ 0 w 66508"/>
                  <a:gd name="connsiteY2" fmla="*/ 39889 h 46541"/>
                  <a:gd name="connsiteX3" fmla="*/ 0 w 66508"/>
                  <a:gd name="connsiteY3" fmla="*/ 6652 h 46541"/>
                  <a:gd name="connsiteX4" fmla="*/ 6652 w 66508"/>
                  <a:gd name="connsiteY4" fmla="*/ 0 h 46541"/>
                  <a:gd name="connsiteX5" fmla="*/ 59846 w 66508"/>
                  <a:gd name="connsiteY5" fmla="*/ 0 h 46541"/>
                  <a:gd name="connsiteX6" fmla="*/ 64998 w 66508"/>
                  <a:gd name="connsiteY6" fmla="*/ 2426 h 46541"/>
                  <a:gd name="connsiteX7" fmla="*/ 66374 w 66508"/>
                  <a:gd name="connsiteY7" fmla="*/ 7953 h 46541"/>
                  <a:gd name="connsiteX8" fmla="*/ 59721 w 66508"/>
                  <a:gd name="connsiteY8" fmla="*/ 41190 h 46541"/>
                  <a:gd name="connsiteX9" fmla="*/ 53194 w 66508"/>
                  <a:gd name="connsiteY9" fmla="*/ 46541 h 46541"/>
                  <a:gd name="connsiteX10" fmla="*/ 13305 w 66508"/>
                  <a:gd name="connsiteY10" fmla="*/ 33237 h 46541"/>
                  <a:gd name="connsiteX11" fmla="*/ 47742 w 66508"/>
                  <a:gd name="connsiteY11" fmla="*/ 33237 h 46541"/>
                  <a:gd name="connsiteX12" fmla="*/ 51743 w 66508"/>
                  <a:gd name="connsiteY12" fmla="*/ 13280 h 46541"/>
                  <a:gd name="connsiteX13" fmla="*/ 13305 w 66508"/>
                  <a:gd name="connsiteY13" fmla="*/ 13280 h 46541"/>
                  <a:gd name="connsiteX14" fmla="*/ 13305 w 66508"/>
                  <a:gd name="connsiteY14" fmla="*/ 33237 h 46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508" h="46541">
                    <a:moveTo>
                      <a:pt x="53194" y="46541"/>
                    </a:moveTo>
                    <a:lnTo>
                      <a:pt x="6652" y="46541"/>
                    </a:lnTo>
                    <a:cubicBezTo>
                      <a:pt x="2976" y="46541"/>
                      <a:pt x="0" y="43565"/>
                      <a:pt x="0" y="39889"/>
                    </a:cubicBezTo>
                    <a:lnTo>
                      <a:pt x="0" y="6652"/>
                    </a:lnTo>
                    <a:cubicBezTo>
                      <a:pt x="0" y="2976"/>
                      <a:pt x="2976" y="0"/>
                      <a:pt x="6652" y="0"/>
                    </a:cubicBezTo>
                    <a:lnTo>
                      <a:pt x="59846" y="0"/>
                    </a:lnTo>
                    <a:cubicBezTo>
                      <a:pt x="61847" y="0"/>
                      <a:pt x="63723" y="900"/>
                      <a:pt x="64998" y="2426"/>
                    </a:cubicBezTo>
                    <a:cubicBezTo>
                      <a:pt x="66273" y="3976"/>
                      <a:pt x="66774" y="6002"/>
                      <a:pt x="66374" y="7953"/>
                    </a:cubicBezTo>
                    <a:lnTo>
                      <a:pt x="59721" y="41190"/>
                    </a:lnTo>
                    <a:cubicBezTo>
                      <a:pt x="59096" y="44316"/>
                      <a:pt x="56370" y="46541"/>
                      <a:pt x="53194" y="46541"/>
                    </a:cubicBezTo>
                    <a:close/>
                    <a:moveTo>
                      <a:pt x="13305" y="33237"/>
                    </a:moveTo>
                    <a:lnTo>
                      <a:pt x="47742" y="33237"/>
                    </a:lnTo>
                    <a:lnTo>
                      <a:pt x="51743" y="13280"/>
                    </a:lnTo>
                    <a:lnTo>
                      <a:pt x="13305" y="13280"/>
                    </a:lnTo>
                    <a:lnTo>
                      <a:pt x="13305" y="33237"/>
                    </a:lnTo>
                    <a:close/>
                  </a:path>
                </a:pathLst>
              </a:custGeom>
              <a:grpFill/>
              <a:ln w="2497" cap="flat">
                <a:noFill/>
                <a:prstDash val="solid"/>
                <a:miter/>
              </a:ln>
            </p:spPr>
            <p:txBody>
              <a:bodyPr rtlCol="0" anchor="ctr"/>
              <a:lstStyle/>
              <a:p>
                <a:endParaRPr lang="en-GB" dirty="0"/>
              </a:p>
            </p:txBody>
          </p:sp>
          <p:sp>
            <p:nvSpPr>
              <p:cNvPr id="367" name="Freihandform: Form 940">
                <a:extLst>
                  <a:ext uri="{FF2B5EF4-FFF2-40B4-BE49-F238E27FC236}">
                    <a16:creationId xmlns:a16="http://schemas.microsoft.com/office/drawing/2014/main" id="{A7D8F620-0D1A-4085-9F78-C8A2EECFC089}"/>
                  </a:ext>
                </a:extLst>
              </p:cNvPr>
              <p:cNvSpPr/>
              <p:nvPr/>
            </p:nvSpPr>
            <p:spPr>
              <a:xfrm>
                <a:off x="5356801" y="2584146"/>
                <a:ext cx="292553" cy="226054"/>
              </a:xfrm>
              <a:custGeom>
                <a:avLst/>
                <a:gdLst>
                  <a:gd name="connsiteX0" fmla="*/ 139624 w 292553"/>
                  <a:gd name="connsiteY0" fmla="*/ 226055 h 226054"/>
                  <a:gd name="connsiteX1" fmla="*/ 6652 w 292553"/>
                  <a:gd name="connsiteY1" fmla="*/ 226055 h 226054"/>
                  <a:gd name="connsiteX2" fmla="*/ 0 w 292553"/>
                  <a:gd name="connsiteY2" fmla="*/ 219403 h 226054"/>
                  <a:gd name="connsiteX3" fmla="*/ 0 w 292553"/>
                  <a:gd name="connsiteY3" fmla="*/ 6652 h 226054"/>
                  <a:gd name="connsiteX4" fmla="*/ 6652 w 292553"/>
                  <a:gd name="connsiteY4" fmla="*/ 0 h 226054"/>
                  <a:gd name="connsiteX5" fmla="*/ 285901 w 292553"/>
                  <a:gd name="connsiteY5" fmla="*/ 0 h 226054"/>
                  <a:gd name="connsiteX6" fmla="*/ 292554 w 292553"/>
                  <a:gd name="connsiteY6" fmla="*/ 6652 h 226054"/>
                  <a:gd name="connsiteX7" fmla="*/ 292554 w 292553"/>
                  <a:gd name="connsiteY7" fmla="*/ 146277 h 226054"/>
                  <a:gd name="connsiteX8" fmla="*/ 285901 w 292553"/>
                  <a:gd name="connsiteY8" fmla="*/ 152929 h 226054"/>
                  <a:gd name="connsiteX9" fmla="*/ 279249 w 292553"/>
                  <a:gd name="connsiteY9" fmla="*/ 146277 h 226054"/>
                  <a:gd name="connsiteX10" fmla="*/ 279249 w 292553"/>
                  <a:gd name="connsiteY10" fmla="*/ 13305 h 226054"/>
                  <a:gd name="connsiteX11" fmla="*/ 13305 w 292553"/>
                  <a:gd name="connsiteY11" fmla="*/ 13305 h 226054"/>
                  <a:gd name="connsiteX12" fmla="*/ 13305 w 292553"/>
                  <a:gd name="connsiteY12" fmla="*/ 212775 h 226054"/>
                  <a:gd name="connsiteX13" fmla="*/ 139624 w 292553"/>
                  <a:gd name="connsiteY13" fmla="*/ 212775 h 226054"/>
                  <a:gd name="connsiteX14" fmla="*/ 146277 w 292553"/>
                  <a:gd name="connsiteY14" fmla="*/ 219428 h 226054"/>
                  <a:gd name="connsiteX15" fmla="*/ 139624 w 292553"/>
                  <a:gd name="connsiteY15" fmla="*/ 226055 h 226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2553" h="226054">
                    <a:moveTo>
                      <a:pt x="139624" y="226055"/>
                    </a:moveTo>
                    <a:lnTo>
                      <a:pt x="6652" y="226055"/>
                    </a:lnTo>
                    <a:cubicBezTo>
                      <a:pt x="2976" y="226055"/>
                      <a:pt x="0" y="223079"/>
                      <a:pt x="0" y="219403"/>
                    </a:cubicBezTo>
                    <a:lnTo>
                      <a:pt x="0" y="6652"/>
                    </a:lnTo>
                    <a:cubicBezTo>
                      <a:pt x="0" y="2976"/>
                      <a:pt x="2976" y="0"/>
                      <a:pt x="6652" y="0"/>
                    </a:cubicBezTo>
                    <a:lnTo>
                      <a:pt x="285901" y="0"/>
                    </a:lnTo>
                    <a:cubicBezTo>
                      <a:pt x="289578" y="0"/>
                      <a:pt x="292554" y="2976"/>
                      <a:pt x="292554" y="6652"/>
                    </a:cubicBezTo>
                    <a:lnTo>
                      <a:pt x="292554" y="146277"/>
                    </a:lnTo>
                    <a:cubicBezTo>
                      <a:pt x="292554" y="149953"/>
                      <a:pt x="289578" y="152929"/>
                      <a:pt x="285901" y="152929"/>
                    </a:cubicBezTo>
                    <a:cubicBezTo>
                      <a:pt x="282225" y="152929"/>
                      <a:pt x="279249" y="149953"/>
                      <a:pt x="279249" y="146277"/>
                    </a:cubicBezTo>
                    <a:lnTo>
                      <a:pt x="279249" y="13305"/>
                    </a:lnTo>
                    <a:lnTo>
                      <a:pt x="13305" y="13305"/>
                    </a:lnTo>
                    <a:lnTo>
                      <a:pt x="13305" y="212775"/>
                    </a:lnTo>
                    <a:lnTo>
                      <a:pt x="139624" y="212775"/>
                    </a:lnTo>
                    <a:cubicBezTo>
                      <a:pt x="143301" y="212775"/>
                      <a:pt x="146277" y="215751"/>
                      <a:pt x="146277" y="219428"/>
                    </a:cubicBezTo>
                    <a:cubicBezTo>
                      <a:pt x="146277" y="223079"/>
                      <a:pt x="143301" y="226055"/>
                      <a:pt x="139624" y="226055"/>
                    </a:cubicBezTo>
                    <a:close/>
                  </a:path>
                </a:pathLst>
              </a:custGeom>
              <a:grpFill/>
              <a:ln w="2497" cap="flat">
                <a:noFill/>
                <a:prstDash val="solid"/>
                <a:miter/>
              </a:ln>
            </p:spPr>
            <p:txBody>
              <a:bodyPr rtlCol="0" anchor="ctr"/>
              <a:lstStyle/>
              <a:p>
                <a:endParaRPr lang="en-GB" dirty="0"/>
              </a:p>
            </p:txBody>
          </p:sp>
          <p:grpSp>
            <p:nvGrpSpPr>
              <p:cNvPr id="368" name="Grafik 300">
                <a:extLst>
                  <a:ext uri="{FF2B5EF4-FFF2-40B4-BE49-F238E27FC236}">
                    <a16:creationId xmlns:a16="http://schemas.microsoft.com/office/drawing/2014/main" id="{82559E23-25B7-4F57-A6ED-0A4B6FB144A3}"/>
                  </a:ext>
                </a:extLst>
              </p:cNvPr>
              <p:cNvGrpSpPr/>
              <p:nvPr/>
            </p:nvGrpSpPr>
            <p:grpSpPr>
              <a:xfrm>
                <a:off x="5350149" y="2617408"/>
                <a:ext cx="26609" cy="39889"/>
                <a:chOff x="5350149" y="2617408"/>
                <a:chExt cx="26609" cy="39889"/>
              </a:xfrm>
              <a:grpFill/>
            </p:grpSpPr>
            <p:sp>
              <p:nvSpPr>
                <p:cNvPr id="378" name="Freihandform: Form 942">
                  <a:extLst>
                    <a:ext uri="{FF2B5EF4-FFF2-40B4-BE49-F238E27FC236}">
                      <a16:creationId xmlns:a16="http://schemas.microsoft.com/office/drawing/2014/main" id="{201766FE-3C96-418F-B3BD-48FE56DDEBD1}"/>
                    </a:ext>
                  </a:extLst>
                </p:cNvPr>
                <p:cNvSpPr/>
                <p:nvPr/>
              </p:nvSpPr>
              <p:spPr>
                <a:xfrm>
                  <a:off x="5350149" y="2617408"/>
                  <a:ext cx="26609" cy="13304"/>
                </a:xfrm>
                <a:custGeom>
                  <a:avLst/>
                  <a:gdLst>
                    <a:gd name="connsiteX0" fmla="*/ 19957 w 26609"/>
                    <a:gd name="connsiteY0" fmla="*/ 13305 h 13304"/>
                    <a:gd name="connsiteX1" fmla="*/ 6652 w 26609"/>
                    <a:gd name="connsiteY1" fmla="*/ 13305 h 13304"/>
                    <a:gd name="connsiteX2" fmla="*/ 0 w 26609"/>
                    <a:gd name="connsiteY2" fmla="*/ 6652 h 13304"/>
                    <a:gd name="connsiteX3" fmla="*/ 6652 w 26609"/>
                    <a:gd name="connsiteY3" fmla="*/ 0 h 13304"/>
                    <a:gd name="connsiteX4" fmla="*/ 19957 w 26609"/>
                    <a:gd name="connsiteY4" fmla="*/ 0 h 13304"/>
                    <a:gd name="connsiteX5" fmla="*/ 26609 w 26609"/>
                    <a:gd name="connsiteY5" fmla="*/ 6652 h 13304"/>
                    <a:gd name="connsiteX6" fmla="*/ 19957 w 26609"/>
                    <a:gd name="connsiteY6" fmla="*/ 13305 h 1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09" h="13304">
                      <a:moveTo>
                        <a:pt x="19957" y="13305"/>
                      </a:moveTo>
                      <a:lnTo>
                        <a:pt x="6652" y="13305"/>
                      </a:lnTo>
                      <a:cubicBezTo>
                        <a:pt x="2976" y="13305"/>
                        <a:pt x="0" y="10329"/>
                        <a:pt x="0" y="6652"/>
                      </a:cubicBezTo>
                      <a:cubicBezTo>
                        <a:pt x="0" y="2976"/>
                        <a:pt x="2976" y="0"/>
                        <a:pt x="6652" y="0"/>
                      </a:cubicBezTo>
                      <a:lnTo>
                        <a:pt x="19957" y="0"/>
                      </a:lnTo>
                      <a:cubicBezTo>
                        <a:pt x="23633" y="0"/>
                        <a:pt x="26609" y="2976"/>
                        <a:pt x="26609" y="6652"/>
                      </a:cubicBezTo>
                      <a:cubicBezTo>
                        <a:pt x="26609" y="10329"/>
                        <a:pt x="23608" y="13305"/>
                        <a:pt x="19957" y="13305"/>
                      </a:cubicBezTo>
                      <a:close/>
                    </a:path>
                  </a:pathLst>
                </a:custGeom>
                <a:grpFill/>
                <a:ln w="2497" cap="flat">
                  <a:noFill/>
                  <a:prstDash val="solid"/>
                  <a:miter/>
                </a:ln>
              </p:spPr>
              <p:txBody>
                <a:bodyPr rtlCol="0" anchor="ctr"/>
                <a:lstStyle/>
                <a:p>
                  <a:endParaRPr lang="en-GB" dirty="0"/>
                </a:p>
              </p:txBody>
            </p:sp>
            <p:sp>
              <p:nvSpPr>
                <p:cNvPr id="379" name="Freihandform: Form 943">
                  <a:extLst>
                    <a:ext uri="{FF2B5EF4-FFF2-40B4-BE49-F238E27FC236}">
                      <a16:creationId xmlns:a16="http://schemas.microsoft.com/office/drawing/2014/main" id="{2328A67A-DDD7-4633-A0B4-F1EBC88E2E5D}"/>
                    </a:ext>
                  </a:extLst>
                </p:cNvPr>
                <p:cNvSpPr/>
                <p:nvPr/>
              </p:nvSpPr>
              <p:spPr>
                <a:xfrm>
                  <a:off x="5350149" y="2643993"/>
                  <a:ext cx="26609" cy="13304"/>
                </a:xfrm>
                <a:custGeom>
                  <a:avLst/>
                  <a:gdLst>
                    <a:gd name="connsiteX0" fmla="*/ 19957 w 26609"/>
                    <a:gd name="connsiteY0" fmla="*/ 13305 h 13304"/>
                    <a:gd name="connsiteX1" fmla="*/ 6652 w 26609"/>
                    <a:gd name="connsiteY1" fmla="*/ 13305 h 13304"/>
                    <a:gd name="connsiteX2" fmla="*/ 0 w 26609"/>
                    <a:gd name="connsiteY2" fmla="*/ 6652 h 13304"/>
                    <a:gd name="connsiteX3" fmla="*/ 6652 w 26609"/>
                    <a:gd name="connsiteY3" fmla="*/ 0 h 13304"/>
                    <a:gd name="connsiteX4" fmla="*/ 19957 w 26609"/>
                    <a:gd name="connsiteY4" fmla="*/ 0 h 13304"/>
                    <a:gd name="connsiteX5" fmla="*/ 26609 w 26609"/>
                    <a:gd name="connsiteY5" fmla="*/ 6652 h 13304"/>
                    <a:gd name="connsiteX6" fmla="*/ 19957 w 26609"/>
                    <a:gd name="connsiteY6" fmla="*/ 13305 h 1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09" h="13304">
                      <a:moveTo>
                        <a:pt x="19957" y="13305"/>
                      </a:moveTo>
                      <a:lnTo>
                        <a:pt x="6652" y="13305"/>
                      </a:lnTo>
                      <a:cubicBezTo>
                        <a:pt x="2976" y="13305"/>
                        <a:pt x="0" y="10329"/>
                        <a:pt x="0" y="6652"/>
                      </a:cubicBezTo>
                      <a:cubicBezTo>
                        <a:pt x="0" y="2976"/>
                        <a:pt x="2976" y="0"/>
                        <a:pt x="6652" y="0"/>
                      </a:cubicBezTo>
                      <a:lnTo>
                        <a:pt x="19957" y="0"/>
                      </a:lnTo>
                      <a:cubicBezTo>
                        <a:pt x="23633" y="0"/>
                        <a:pt x="26609" y="2976"/>
                        <a:pt x="26609" y="6652"/>
                      </a:cubicBezTo>
                      <a:cubicBezTo>
                        <a:pt x="26584" y="10329"/>
                        <a:pt x="23608" y="13305"/>
                        <a:pt x="19957" y="13305"/>
                      </a:cubicBezTo>
                      <a:close/>
                    </a:path>
                  </a:pathLst>
                </a:custGeom>
                <a:grpFill/>
                <a:ln w="2497" cap="flat">
                  <a:noFill/>
                  <a:prstDash val="solid"/>
                  <a:miter/>
                </a:ln>
              </p:spPr>
              <p:txBody>
                <a:bodyPr rtlCol="0" anchor="ctr"/>
                <a:lstStyle/>
                <a:p>
                  <a:endParaRPr lang="en-GB" dirty="0"/>
                </a:p>
              </p:txBody>
            </p:sp>
          </p:grpSp>
          <p:grpSp>
            <p:nvGrpSpPr>
              <p:cNvPr id="369" name="Grafik 300">
                <a:extLst>
                  <a:ext uri="{FF2B5EF4-FFF2-40B4-BE49-F238E27FC236}">
                    <a16:creationId xmlns:a16="http://schemas.microsoft.com/office/drawing/2014/main" id="{13BFF713-131E-4194-90A9-9154B7F42B3E}"/>
                  </a:ext>
                </a:extLst>
              </p:cNvPr>
              <p:cNvGrpSpPr/>
              <p:nvPr/>
            </p:nvGrpSpPr>
            <p:grpSpPr>
              <a:xfrm>
                <a:off x="5350149" y="2737075"/>
                <a:ext cx="26609" cy="39889"/>
                <a:chOff x="5350149" y="2737075"/>
                <a:chExt cx="26609" cy="39889"/>
              </a:xfrm>
              <a:grpFill/>
            </p:grpSpPr>
            <p:sp>
              <p:nvSpPr>
                <p:cNvPr id="376" name="Freihandform: Form 945">
                  <a:extLst>
                    <a:ext uri="{FF2B5EF4-FFF2-40B4-BE49-F238E27FC236}">
                      <a16:creationId xmlns:a16="http://schemas.microsoft.com/office/drawing/2014/main" id="{7BEAA408-279F-4937-8646-AC09937EEC7E}"/>
                    </a:ext>
                  </a:extLst>
                </p:cNvPr>
                <p:cNvSpPr/>
                <p:nvPr/>
              </p:nvSpPr>
              <p:spPr>
                <a:xfrm>
                  <a:off x="5350149" y="2737075"/>
                  <a:ext cx="26609" cy="13304"/>
                </a:xfrm>
                <a:custGeom>
                  <a:avLst/>
                  <a:gdLst>
                    <a:gd name="connsiteX0" fmla="*/ 19957 w 26609"/>
                    <a:gd name="connsiteY0" fmla="*/ 13305 h 13304"/>
                    <a:gd name="connsiteX1" fmla="*/ 6652 w 26609"/>
                    <a:gd name="connsiteY1" fmla="*/ 13305 h 13304"/>
                    <a:gd name="connsiteX2" fmla="*/ 0 w 26609"/>
                    <a:gd name="connsiteY2" fmla="*/ 6652 h 13304"/>
                    <a:gd name="connsiteX3" fmla="*/ 6652 w 26609"/>
                    <a:gd name="connsiteY3" fmla="*/ 0 h 13304"/>
                    <a:gd name="connsiteX4" fmla="*/ 19957 w 26609"/>
                    <a:gd name="connsiteY4" fmla="*/ 0 h 13304"/>
                    <a:gd name="connsiteX5" fmla="*/ 26609 w 26609"/>
                    <a:gd name="connsiteY5" fmla="*/ 6652 h 13304"/>
                    <a:gd name="connsiteX6" fmla="*/ 19957 w 26609"/>
                    <a:gd name="connsiteY6" fmla="*/ 13305 h 1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09" h="13304">
                      <a:moveTo>
                        <a:pt x="19957" y="13305"/>
                      </a:moveTo>
                      <a:lnTo>
                        <a:pt x="6652" y="13305"/>
                      </a:lnTo>
                      <a:cubicBezTo>
                        <a:pt x="2976" y="13305"/>
                        <a:pt x="0" y="10329"/>
                        <a:pt x="0" y="6652"/>
                      </a:cubicBezTo>
                      <a:cubicBezTo>
                        <a:pt x="0" y="2976"/>
                        <a:pt x="2976" y="0"/>
                        <a:pt x="6652" y="0"/>
                      </a:cubicBezTo>
                      <a:lnTo>
                        <a:pt x="19957" y="0"/>
                      </a:lnTo>
                      <a:cubicBezTo>
                        <a:pt x="23633" y="0"/>
                        <a:pt x="26609" y="2976"/>
                        <a:pt x="26609" y="6652"/>
                      </a:cubicBezTo>
                      <a:cubicBezTo>
                        <a:pt x="26584" y="10329"/>
                        <a:pt x="23608" y="13305"/>
                        <a:pt x="19957" y="13305"/>
                      </a:cubicBezTo>
                      <a:close/>
                    </a:path>
                  </a:pathLst>
                </a:custGeom>
                <a:grpFill/>
                <a:ln w="2497" cap="flat">
                  <a:noFill/>
                  <a:prstDash val="solid"/>
                  <a:miter/>
                </a:ln>
              </p:spPr>
              <p:txBody>
                <a:bodyPr rtlCol="0" anchor="ctr"/>
                <a:lstStyle/>
                <a:p>
                  <a:endParaRPr lang="en-GB" dirty="0"/>
                </a:p>
              </p:txBody>
            </p:sp>
            <p:sp>
              <p:nvSpPr>
                <p:cNvPr id="377" name="Freihandform: Form 946">
                  <a:extLst>
                    <a:ext uri="{FF2B5EF4-FFF2-40B4-BE49-F238E27FC236}">
                      <a16:creationId xmlns:a16="http://schemas.microsoft.com/office/drawing/2014/main" id="{22ED61CC-84C9-4466-A3A1-C43A62C60851}"/>
                    </a:ext>
                  </a:extLst>
                </p:cNvPr>
                <p:cNvSpPr/>
                <p:nvPr/>
              </p:nvSpPr>
              <p:spPr>
                <a:xfrm>
                  <a:off x="5350149" y="2763660"/>
                  <a:ext cx="26609" cy="13304"/>
                </a:xfrm>
                <a:custGeom>
                  <a:avLst/>
                  <a:gdLst>
                    <a:gd name="connsiteX0" fmla="*/ 19957 w 26609"/>
                    <a:gd name="connsiteY0" fmla="*/ 13305 h 13304"/>
                    <a:gd name="connsiteX1" fmla="*/ 6652 w 26609"/>
                    <a:gd name="connsiteY1" fmla="*/ 13305 h 13304"/>
                    <a:gd name="connsiteX2" fmla="*/ 0 w 26609"/>
                    <a:gd name="connsiteY2" fmla="*/ 6652 h 13304"/>
                    <a:gd name="connsiteX3" fmla="*/ 6652 w 26609"/>
                    <a:gd name="connsiteY3" fmla="*/ 0 h 13304"/>
                    <a:gd name="connsiteX4" fmla="*/ 19957 w 26609"/>
                    <a:gd name="connsiteY4" fmla="*/ 0 h 13304"/>
                    <a:gd name="connsiteX5" fmla="*/ 26609 w 26609"/>
                    <a:gd name="connsiteY5" fmla="*/ 6652 h 13304"/>
                    <a:gd name="connsiteX6" fmla="*/ 19957 w 26609"/>
                    <a:gd name="connsiteY6" fmla="*/ 13305 h 1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09" h="13304">
                      <a:moveTo>
                        <a:pt x="19957" y="13305"/>
                      </a:moveTo>
                      <a:lnTo>
                        <a:pt x="6652" y="13305"/>
                      </a:lnTo>
                      <a:cubicBezTo>
                        <a:pt x="2976" y="13305"/>
                        <a:pt x="0" y="10329"/>
                        <a:pt x="0" y="6652"/>
                      </a:cubicBezTo>
                      <a:cubicBezTo>
                        <a:pt x="0" y="2976"/>
                        <a:pt x="2976" y="0"/>
                        <a:pt x="6652" y="0"/>
                      </a:cubicBezTo>
                      <a:lnTo>
                        <a:pt x="19957" y="0"/>
                      </a:lnTo>
                      <a:cubicBezTo>
                        <a:pt x="23633" y="0"/>
                        <a:pt x="26609" y="2976"/>
                        <a:pt x="26609" y="6652"/>
                      </a:cubicBezTo>
                      <a:cubicBezTo>
                        <a:pt x="26609" y="10329"/>
                        <a:pt x="23608" y="13305"/>
                        <a:pt x="19957" y="13305"/>
                      </a:cubicBezTo>
                      <a:close/>
                    </a:path>
                  </a:pathLst>
                </a:custGeom>
                <a:grpFill/>
                <a:ln w="2497" cap="flat">
                  <a:noFill/>
                  <a:prstDash val="solid"/>
                  <a:miter/>
                </a:ln>
              </p:spPr>
              <p:txBody>
                <a:bodyPr rtlCol="0" anchor="ctr"/>
                <a:lstStyle/>
                <a:p>
                  <a:endParaRPr lang="en-GB" dirty="0"/>
                </a:p>
              </p:txBody>
            </p:sp>
          </p:grpSp>
          <p:sp>
            <p:nvSpPr>
              <p:cNvPr id="370" name="Freihandform: Form 947">
                <a:extLst>
                  <a:ext uri="{FF2B5EF4-FFF2-40B4-BE49-F238E27FC236}">
                    <a16:creationId xmlns:a16="http://schemas.microsoft.com/office/drawing/2014/main" id="{B0B24225-A1EA-4BBA-8BA0-9E07639CAA5C}"/>
                  </a:ext>
                </a:extLst>
              </p:cNvPr>
              <p:cNvSpPr/>
              <p:nvPr/>
            </p:nvSpPr>
            <p:spPr>
              <a:xfrm>
                <a:off x="5536315" y="2683907"/>
                <a:ext cx="79778" cy="79778"/>
              </a:xfrm>
              <a:custGeom>
                <a:avLst/>
                <a:gdLst>
                  <a:gd name="connsiteX0" fmla="*/ 39889 w 79778"/>
                  <a:gd name="connsiteY0" fmla="*/ 79778 h 79778"/>
                  <a:gd name="connsiteX1" fmla="*/ 0 w 79778"/>
                  <a:gd name="connsiteY1" fmla="*/ 39889 h 79778"/>
                  <a:gd name="connsiteX2" fmla="*/ 39889 w 79778"/>
                  <a:gd name="connsiteY2" fmla="*/ 0 h 79778"/>
                  <a:gd name="connsiteX3" fmla="*/ 79778 w 79778"/>
                  <a:gd name="connsiteY3" fmla="*/ 39889 h 79778"/>
                  <a:gd name="connsiteX4" fmla="*/ 39889 w 79778"/>
                  <a:gd name="connsiteY4" fmla="*/ 79778 h 79778"/>
                  <a:gd name="connsiteX5" fmla="*/ 39889 w 79778"/>
                  <a:gd name="connsiteY5" fmla="*/ 13280 h 79778"/>
                  <a:gd name="connsiteX6" fmla="*/ 13305 w 79778"/>
                  <a:gd name="connsiteY6" fmla="*/ 39864 h 79778"/>
                  <a:gd name="connsiteX7" fmla="*/ 39889 w 79778"/>
                  <a:gd name="connsiteY7" fmla="*/ 66449 h 79778"/>
                  <a:gd name="connsiteX8" fmla="*/ 66474 w 79778"/>
                  <a:gd name="connsiteY8" fmla="*/ 39864 h 79778"/>
                  <a:gd name="connsiteX9" fmla="*/ 39889 w 79778"/>
                  <a:gd name="connsiteY9" fmla="*/ 13280 h 7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778" h="79778">
                    <a:moveTo>
                      <a:pt x="39889" y="79778"/>
                    </a:moveTo>
                    <a:cubicBezTo>
                      <a:pt x="17881" y="79778"/>
                      <a:pt x="0" y="61872"/>
                      <a:pt x="0" y="39889"/>
                    </a:cubicBezTo>
                    <a:cubicBezTo>
                      <a:pt x="0" y="17906"/>
                      <a:pt x="17906" y="0"/>
                      <a:pt x="39889" y="0"/>
                    </a:cubicBezTo>
                    <a:cubicBezTo>
                      <a:pt x="61897" y="0"/>
                      <a:pt x="79778" y="17906"/>
                      <a:pt x="79778" y="39889"/>
                    </a:cubicBezTo>
                    <a:cubicBezTo>
                      <a:pt x="79778" y="61872"/>
                      <a:pt x="61897" y="79778"/>
                      <a:pt x="39889" y="79778"/>
                    </a:cubicBezTo>
                    <a:close/>
                    <a:moveTo>
                      <a:pt x="39889" y="13280"/>
                    </a:moveTo>
                    <a:cubicBezTo>
                      <a:pt x="25234" y="13280"/>
                      <a:pt x="13305" y="25209"/>
                      <a:pt x="13305" y="39864"/>
                    </a:cubicBezTo>
                    <a:cubicBezTo>
                      <a:pt x="13305" y="54519"/>
                      <a:pt x="25234" y="66449"/>
                      <a:pt x="39889" y="66449"/>
                    </a:cubicBezTo>
                    <a:cubicBezTo>
                      <a:pt x="54544" y="66449"/>
                      <a:pt x="66474" y="54519"/>
                      <a:pt x="66474" y="39864"/>
                    </a:cubicBezTo>
                    <a:cubicBezTo>
                      <a:pt x="66474" y="25209"/>
                      <a:pt x="54544" y="13280"/>
                      <a:pt x="39889" y="13280"/>
                    </a:cubicBezTo>
                    <a:close/>
                  </a:path>
                </a:pathLst>
              </a:custGeom>
              <a:grpFill/>
              <a:ln w="2497" cap="flat">
                <a:noFill/>
                <a:prstDash val="solid"/>
                <a:miter/>
              </a:ln>
            </p:spPr>
            <p:txBody>
              <a:bodyPr rtlCol="0" anchor="ctr"/>
              <a:lstStyle/>
              <a:p>
                <a:endParaRPr lang="en-GB" dirty="0"/>
              </a:p>
            </p:txBody>
          </p:sp>
          <p:grpSp>
            <p:nvGrpSpPr>
              <p:cNvPr id="371" name="Grafik 300">
                <a:extLst>
                  <a:ext uri="{FF2B5EF4-FFF2-40B4-BE49-F238E27FC236}">
                    <a16:creationId xmlns:a16="http://schemas.microsoft.com/office/drawing/2014/main" id="{1A34A3C3-5F21-4176-BAC1-620840C8A512}"/>
                  </a:ext>
                </a:extLst>
              </p:cNvPr>
              <p:cNvGrpSpPr/>
              <p:nvPr/>
            </p:nvGrpSpPr>
            <p:grpSpPr>
              <a:xfrm>
                <a:off x="5546044" y="2693610"/>
                <a:ext cx="60321" cy="60321"/>
                <a:chOff x="5546044" y="2693610"/>
                <a:chExt cx="60321" cy="60321"/>
              </a:xfrm>
              <a:grpFill/>
            </p:grpSpPr>
            <p:sp>
              <p:nvSpPr>
                <p:cNvPr id="372" name="Freihandform: Form 949">
                  <a:extLst>
                    <a:ext uri="{FF2B5EF4-FFF2-40B4-BE49-F238E27FC236}">
                      <a16:creationId xmlns:a16="http://schemas.microsoft.com/office/drawing/2014/main" id="{477392DF-E617-48EE-8C54-F92E3302AA53}"/>
                    </a:ext>
                  </a:extLst>
                </p:cNvPr>
                <p:cNvSpPr/>
                <p:nvPr/>
              </p:nvSpPr>
              <p:spPr>
                <a:xfrm>
                  <a:off x="5546044" y="2693610"/>
                  <a:ext cx="22708" cy="22708"/>
                </a:xfrm>
                <a:custGeom>
                  <a:avLst/>
                  <a:gdLst>
                    <a:gd name="connsiteX0" fmla="*/ 16056 w 22708"/>
                    <a:gd name="connsiteY0" fmla="*/ 22708 h 22708"/>
                    <a:gd name="connsiteX1" fmla="*/ 11354 w 22708"/>
                    <a:gd name="connsiteY1" fmla="*/ 20757 h 22708"/>
                    <a:gd name="connsiteX2" fmla="*/ 1951 w 22708"/>
                    <a:gd name="connsiteY2" fmla="*/ 11354 h 22708"/>
                    <a:gd name="connsiteX3" fmla="*/ 1951 w 22708"/>
                    <a:gd name="connsiteY3" fmla="*/ 1951 h 22708"/>
                    <a:gd name="connsiteX4" fmla="*/ 11354 w 22708"/>
                    <a:gd name="connsiteY4" fmla="*/ 1951 h 22708"/>
                    <a:gd name="connsiteX5" fmla="*/ 20757 w 22708"/>
                    <a:gd name="connsiteY5" fmla="*/ 11354 h 22708"/>
                    <a:gd name="connsiteX6" fmla="*/ 20757 w 22708"/>
                    <a:gd name="connsiteY6" fmla="*/ 20757 h 22708"/>
                    <a:gd name="connsiteX7" fmla="*/ 16056 w 22708"/>
                    <a:gd name="connsiteY7" fmla="*/ 22708 h 2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8" h="22708">
                      <a:moveTo>
                        <a:pt x="16056" y="22708"/>
                      </a:moveTo>
                      <a:cubicBezTo>
                        <a:pt x="14355" y="22708"/>
                        <a:pt x="12654" y="22058"/>
                        <a:pt x="11354" y="20757"/>
                      </a:cubicBezTo>
                      <a:lnTo>
                        <a:pt x="1951" y="11354"/>
                      </a:lnTo>
                      <a:cubicBezTo>
                        <a:pt x="-650" y="8753"/>
                        <a:pt x="-650" y="4552"/>
                        <a:pt x="1951" y="1951"/>
                      </a:cubicBezTo>
                      <a:cubicBezTo>
                        <a:pt x="4552" y="-650"/>
                        <a:pt x="8753" y="-650"/>
                        <a:pt x="11354" y="1951"/>
                      </a:cubicBezTo>
                      <a:lnTo>
                        <a:pt x="20757" y="11354"/>
                      </a:lnTo>
                      <a:cubicBezTo>
                        <a:pt x="23358" y="13955"/>
                        <a:pt x="23358" y="18156"/>
                        <a:pt x="20757" y="20757"/>
                      </a:cubicBezTo>
                      <a:cubicBezTo>
                        <a:pt x="19457" y="22058"/>
                        <a:pt x="17756" y="22708"/>
                        <a:pt x="16056" y="22708"/>
                      </a:cubicBezTo>
                      <a:close/>
                    </a:path>
                  </a:pathLst>
                </a:custGeom>
                <a:grpFill/>
                <a:ln w="2497" cap="flat">
                  <a:noFill/>
                  <a:prstDash val="solid"/>
                  <a:miter/>
                </a:ln>
              </p:spPr>
              <p:txBody>
                <a:bodyPr rtlCol="0" anchor="ctr"/>
                <a:lstStyle/>
                <a:p>
                  <a:endParaRPr lang="en-GB" dirty="0"/>
                </a:p>
              </p:txBody>
            </p:sp>
            <p:sp>
              <p:nvSpPr>
                <p:cNvPr id="373" name="Freihandform: Form 950">
                  <a:extLst>
                    <a:ext uri="{FF2B5EF4-FFF2-40B4-BE49-F238E27FC236}">
                      <a16:creationId xmlns:a16="http://schemas.microsoft.com/office/drawing/2014/main" id="{7844C4E4-F07D-476E-AB3D-D29E6F89CE40}"/>
                    </a:ext>
                  </a:extLst>
                </p:cNvPr>
                <p:cNvSpPr/>
                <p:nvPr/>
              </p:nvSpPr>
              <p:spPr>
                <a:xfrm>
                  <a:off x="5583657" y="2731223"/>
                  <a:ext cx="22708" cy="22708"/>
                </a:xfrm>
                <a:custGeom>
                  <a:avLst/>
                  <a:gdLst>
                    <a:gd name="connsiteX0" fmla="*/ 16056 w 22708"/>
                    <a:gd name="connsiteY0" fmla="*/ 22708 h 22708"/>
                    <a:gd name="connsiteX1" fmla="*/ 11354 w 22708"/>
                    <a:gd name="connsiteY1" fmla="*/ 20757 h 22708"/>
                    <a:gd name="connsiteX2" fmla="*/ 1951 w 22708"/>
                    <a:gd name="connsiteY2" fmla="*/ 11354 h 22708"/>
                    <a:gd name="connsiteX3" fmla="*/ 1951 w 22708"/>
                    <a:gd name="connsiteY3" fmla="*/ 1951 h 22708"/>
                    <a:gd name="connsiteX4" fmla="*/ 11354 w 22708"/>
                    <a:gd name="connsiteY4" fmla="*/ 1951 h 22708"/>
                    <a:gd name="connsiteX5" fmla="*/ 20757 w 22708"/>
                    <a:gd name="connsiteY5" fmla="*/ 11354 h 22708"/>
                    <a:gd name="connsiteX6" fmla="*/ 20757 w 22708"/>
                    <a:gd name="connsiteY6" fmla="*/ 20757 h 22708"/>
                    <a:gd name="connsiteX7" fmla="*/ 16056 w 22708"/>
                    <a:gd name="connsiteY7" fmla="*/ 22708 h 2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8" h="22708">
                      <a:moveTo>
                        <a:pt x="16056" y="22708"/>
                      </a:moveTo>
                      <a:cubicBezTo>
                        <a:pt x="14355" y="22708"/>
                        <a:pt x="12654" y="22058"/>
                        <a:pt x="11354" y="20757"/>
                      </a:cubicBezTo>
                      <a:lnTo>
                        <a:pt x="1951" y="11354"/>
                      </a:lnTo>
                      <a:cubicBezTo>
                        <a:pt x="-650" y="8753"/>
                        <a:pt x="-650" y="4552"/>
                        <a:pt x="1951" y="1951"/>
                      </a:cubicBezTo>
                      <a:cubicBezTo>
                        <a:pt x="4552" y="-650"/>
                        <a:pt x="8753" y="-650"/>
                        <a:pt x="11354" y="1951"/>
                      </a:cubicBezTo>
                      <a:lnTo>
                        <a:pt x="20757" y="11354"/>
                      </a:lnTo>
                      <a:cubicBezTo>
                        <a:pt x="23358" y="13955"/>
                        <a:pt x="23358" y="18156"/>
                        <a:pt x="20757" y="20757"/>
                      </a:cubicBezTo>
                      <a:cubicBezTo>
                        <a:pt x="19457" y="22058"/>
                        <a:pt x="17756" y="22708"/>
                        <a:pt x="16056" y="22708"/>
                      </a:cubicBezTo>
                      <a:close/>
                    </a:path>
                  </a:pathLst>
                </a:custGeom>
                <a:grpFill/>
                <a:ln w="2497" cap="flat">
                  <a:noFill/>
                  <a:prstDash val="solid"/>
                  <a:miter/>
                </a:ln>
              </p:spPr>
              <p:txBody>
                <a:bodyPr rtlCol="0" anchor="ctr"/>
                <a:lstStyle/>
                <a:p>
                  <a:endParaRPr lang="en-GB" dirty="0"/>
                </a:p>
              </p:txBody>
            </p:sp>
            <p:sp>
              <p:nvSpPr>
                <p:cNvPr id="374" name="Freihandform: Form 951">
                  <a:extLst>
                    <a:ext uri="{FF2B5EF4-FFF2-40B4-BE49-F238E27FC236}">
                      <a16:creationId xmlns:a16="http://schemas.microsoft.com/office/drawing/2014/main" id="{51D123D2-A7A0-4A3A-B6F2-69337058230F}"/>
                    </a:ext>
                  </a:extLst>
                </p:cNvPr>
                <p:cNvSpPr/>
                <p:nvPr/>
              </p:nvSpPr>
              <p:spPr>
                <a:xfrm>
                  <a:off x="5546044" y="2731223"/>
                  <a:ext cx="22708" cy="22708"/>
                </a:xfrm>
                <a:custGeom>
                  <a:avLst/>
                  <a:gdLst>
                    <a:gd name="connsiteX0" fmla="*/ 6652 w 22708"/>
                    <a:gd name="connsiteY0" fmla="*/ 22708 h 22708"/>
                    <a:gd name="connsiteX1" fmla="*/ 1951 w 22708"/>
                    <a:gd name="connsiteY1" fmla="*/ 20757 h 22708"/>
                    <a:gd name="connsiteX2" fmla="*/ 1951 w 22708"/>
                    <a:gd name="connsiteY2" fmla="*/ 11354 h 22708"/>
                    <a:gd name="connsiteX3" fmla="*/ 11354 w 22708"/>
                    <a:gd name="connsiteY3" fmla="*/ 1951 h 22708"/>
                    <a:gd name="connsiteX4" fmla="*/ 20757 w 22708"/>
                    <a:gd name="connsiteY4" fmla="*/ 1951 h 22708"/>
                    <a:gd name="connsiteX5" fmla="*/ 20757 w 22708"/>
                    <a:gd name="connsiteY5" fmla="*/ 11354 h 22708"/>
                    <a:gd name="connsiteX6" fmla="*/ 11354 w 22708"/>
                    <a:gd name="connsiteY6" fmla="*/ 20757 h 22708"/>
                    <a:gd name="connsiteX7" fmla="*/ 6652 w 22708"/>
                    <a:gd name="connsiteY7" fmla="*/ 22708 h 2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8" h="22708">
                      <a:moveTo>
                        <a:pt x="6652" y="22708"/>
                      </a:moveTo>
                      <a:cubicBezTo>
                        <a:pt x="4952" y="22708"/>
                        <a:pt x="3251" y="22058"/>
                        <a:pt x="1951" y="20757"/>
                      </a:cubicBezTo>
                      <a:cubicBezTo>
                        <a:pt x="-650" y="18156"/>
                        <a:pt x="-650" y="13955"/>
                        <a:pt x="1951" y="11354"/>
                      </a:cubicBezTo>
                      <a:lnTo>
                        <a:pt x="11354" y="1951"/>
                      </a:lnTo>
                      <a:cubicBezTo>
                        <a:pt x="13955" y="-650"/>
                        <a:pt x="18156" y="-650"/>
                        <a:pt x="20757" y="1951"/>
                      </a:cubicBezTo>
                      <a:cubicBezTo>
                        <a:pt x="23358" y="4552"/>
                        <a:pt x="23358" y="8753"/>
                        <a:pt x="20757" y="11354"/>
                      </a:cubicBezTo>
                      <a:lnTo>
                        <a:pt x="11354" y="20757"/>
                      </a:lnTo>
                      <a:cubicBezTo>
                        <a:pt x="10054" y="22058"/>
                        <a:pt x="8353" y="22708"/>
                        <a:pt x="6652" y="22708"/>
                      </a:cubicBezTo>
                      <a:close/>
                    </a:path>
                  </a:pathLst>
                </a:custGeom>
                <a:grpFill/>
                <a:ln w="2497" cap="flat">
                  <a:noFill/>
                  <a:prstDash val="solid"/>
                  <a:miter/>
                </a:ln>
              </p:spPr>
              <p:txBody>
                <a:bodyPr rtlCol="0" anchor="ctr"/>
                <a:lstStyle/>
                <a:p>
                  <a:endParaRPr lang="en-GB" dirty="0"/>
                </a:p>
              </p:txBody>
            </p:sp>
            <p:sp>
              <p:nvSpPr>
                <p:cNvPr id="375" name="Freihandform: Form 952">
                  <a:extLst>
                    <a:ext uri="{FF2B5EF4-FFF2-40B4-BE49-F238E27FC236}">
                      <a16:creationId xmlns:a16="http://schemas.microsoft.com/office/drawing/2014/main" id="{D718B8C2-4530-4F9D-8CBD-BE0D1D0CD4AD}"/>
                    </a:ext>
                  </a:extLst>
                </p:cNvPr>
                <p:cNvSpPr/>
                <p:nvPr/>
              </p:nvSpPr>
              <p:spPr>
                <a:xfrm>
                  <a:off x="5583657" y="2693610"/>
                  <a:ext cx="22708" cy="22708"/>
                </a:xfrm>
                <a:custGeom>
                  <a:avLst/>
                  <a:gdLst>
                    <a:gd name="connsiteX0" fmla="*/ 6652 w 22708"/>
                    <a:gd name="connsiteY0" fmla="*/ 22708 h 22708"/>
                    <a:gd name="connsiteX1" fmla="*/ 1951 w 22708"/>
                    <a:gd name="connsiteY1" fmla="*/ 20757 h 22708"/>
                    <a:gd name="connsiteX2" fmla="*/ 1951 w 22708"/>
                    <a:gd name="connsiteY2" fmla="*/ 11354 h 22708"/>
                    <a:gd name="connsiteX3" fmla="*/ 11354 w 22708"/>
                    <a:gd name="connsiteY3" fmla="*/ 1951 h 22708"/>
                    <a:gd name="connsiteX4" fmla="*/ 20757 w 22708"/>
                    <a:gd name="connsiteY4" fmla="*/ 1951 h 22708"/>
                    <a:gd name="connsiteX5" fmla="*/ 20757 w 22708"/>
                    <a:gd name="connsiteY5" fmla="*/ 11354 h 22708"/>
                    <a:gd name="connsiteX6" fmla="*/ 11354 w 22708"/>
                    <a:gd name="connsiteY6" fmla="*/ 20757 h 22708"/>
                    <a:gd name="connsiteX7" fmla="*/ 6652 w 22708"/>
                    <a:gd name="connsiteY7" fmla="*/ 22708 h 22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08" h="22708">
                      <a:moveTo>
                        <a:pt x="6652" y="22708"/>
                      </a:moveTo>
                      <a:cubicBezTo>
                        <a:pt x="4952" y="22708"/>
                        <a:pt x="3251" y="22058"/>
                        <a:pt x="1951" y="20757"/>
                      </a:cubicBezTo>
                      <a:cubicBezTo>
                        <a:pt x="-650" y="18156"/>
                        <a:pt x="-650" y="13955"/>
                        <a:pt x="1951" y="11354"/>
                      </a:cubicBezTo>
                      <a:lnTo>
                        <a:pt x="11354" y="1951"/>
                      </a:lnTo>
                      <a:cubicBezTo>
                        <a:pt x="13955" y="-650"/>
                        <a:pt x="18156" y="-650"/>
                        <a:pt x="20757" y="1951"/>
                      </a:cubicBezTo>
                      <a:cubicBezTo>
                        <a:pt x="23358" y="4552"/>
                        <a:pt x="23358" y="8753"/>
                        <a:pt x="20757" y="11354"/>
                      </a:cubicBezTo>
                      <a:lnTo>
                        <a:pt x="11354" y="20757"/>
                      </a:lnTo>
                      <a:cubicBezTo>
                        <a:pt x="10054" y="22058"/>
                        <a:pt x="8353" y="22708"/>
                        <a:pt x="6652" y="22708"/>
                      </a:cubicBezTo>
                      <a:close/>
                    </a:path>
                  </a:pathLst>
                </a:custGeom>
                <a:grpFill/>
                <a:ln w="2497" cap="flat">
                  <a:noFill/>
                  <a:prstDash val="solid"/>
                  <a:miter/>
                </a:ln>
              </p:spPr>
              <p:txBody>
                <a:bodyPr rtlCol="0" anchor="ctr"/>
                <a:lstStyle/>
                <a:p>
                  <a:endParaRPr lang="en-GB" dirty="0"/>
                </a:p>
              </p:txBody>
            </p:sp>
          </p:grpSp>
        </p:grpSp>
        <p:grpSp>
          <p:nvGrpSpPr>
            <p:cNvPr id="355" name="Grafik 300">
              <a:extLst>
                <a:ext uri="{FF2B5EF4-FFF2-40B4-BE49-F238E27FC236}">
                  <a16:creationId xmlns:a16="http://schemas.microsoft.com/office/drawing/2014/main" id="{E0076540-F700-40FF-B937-EE81FA5B7914}"/>
                </a:ext>
              </a:extLst>
            </p:cNvPr>
            <p:cNvGrpSpPr/>
            <p:nvPr/>
          </p:nvGrpSpPr>
          <p:grpSpPr>
            <a:xfrm>
              <a:off x="717706" y="4209162"/>
              <a:ext cx="348593" cy="225449"/>
              <a:chOff x="5488097" y="2738437"/>
              <a:chExt cx="316487" cy="204685"/>
            </a:xfrm>
            <a:solidFill>
              <a:schemeClr val="accent1"/>
            </a:solidFill>
          </p:grpSpPr>
          <p:sp>
            <p:nvSpPr>
              <p:cNvPr id="356" name="Freihandform: Form 954">
                <a:extLst>
                  <a:ext uri="{FF2B5EF4-FFF2-40B4-BE49-F238E27FC236}">
                    <a16:creationId xmlns:a16="http://schemas.microsoft.com/office/drawing/2014/main" id="{42EDA1DD-4DD9-469D-8D5B-B326E97A4AB1}"/>
                  </a:ext>
                </a:extLst>
              </p:cNvPr>
              <p:cNvSpPr/>
              <p:nvPr/>
            </p:nvSpPr>
            <p:spPr>
              <a:xfrm>
                <a:off x="5491224" y="2738437"/>
                <a:ext cx="313360" cy="145865"/>
              </a:xfrm>
              <a:custGeom>
                <a:avLst/>
                <a:gdLst>
                  <a:gd name="connsiteX0" fmla="*/ 108338 w 313360"/>
                  <a:gd name="connsiteY0" fmla="*/ 145865 h 145865"/>
                  <a:gd name="connsiteX1" fmla="*/ 99085 w 313360"/>
                  <a:gd name="connsiteY1" fmla="*/ 143964 h 145865"/>
                  <a:gd name="connsiteX2" fmla="*/ 6577 w 313360"/>
                  <a:gd name="connsiteY2" fmla="*/ 99774 h 145865"/>
                  <a:gd name="connsiteX3" fmla="*/ 0 w 313360"/>
                  <a:gd name="connsiteY3" fmla="*/ 90546 h 145865"/>
                  <a:gd name="connsiteX4" fmla="*/ 6502 w 313360"/>
                  <a:gd name="connsiteY4" fmla="*/ 81617 h 145865"/>
                  <a:gd name="connsiteX5" fmla="*/ 180689 w 313360"/>
                  <a:gd name="connsiteY5" fmla="*/ 2039 h 145865"/>
                  <a:gd name="connsiteX6" fmla="*/ 180689 w 313360"/>
                  <a:gd name="connsiteY6" fmla="*/ 2039 h 145865"/>
                  <a:gd name="connsiteX7" fmla="*/ 199446 w 313360"/>
                  <a:gd name="connsiteY7" fmla="*/ 1114 h 145865"/>
                  <a:gd name="connsiteX8" fmla="*/ 305358 w 313360"/>
                  <a:gd name="connsiteY8" fmla="*/ 33775 h 145865"/>
                  <a:gd name="connsiteX9" fmla="*/ 313336 w 313360"/>
                  <a:gd name="connsiteY9" fmla="*/ 42304 h 145865"/>
                  <a:gd name="connsiteX10" fmla="*/ 306909 w 313360"/>
                  <a:gd name="connsiteY10" fmla="*/ 51832 h 145865"/>
                  <a:gd name="connsiteX11" fmla="*/ 118467 w 313360"/>
                  <a:gd name="connsiteY11" fmla="*/ 143664 h 145865"/>
                  <a:gd name="connsiteX12" fmla="*/ 108338 w 313360"/>
                  <a:gd name="connsiteY12" fmla="*/ 145865 h 145865"/>
                  <a:gd name="connsiteX13" fmla="*/ 18557 w 313360"/>
                  <a:gd name="connsiteY13" fmla="*/ 90746 h 145865"/>
                  <a:gd name="connsiteX14" fmla="*/ 104837 w 313360"/>
                  <a:gd name="connsiteY14" fmla="*/ 131985 h 145865"/>
                  <a:gd name="connsiteX15" fmla="*/ 112640 w 313360"/>
                  <a:gd name="connsiteY15" fmla="*/ 131760 h 145865"/>
                  <a:gd name="connsiteX16" fmla="*/ 292904 w 313360"/>
                  <a:gd name="connsiteY16" fmla="*/ 43904 h 145865"/>
                  <a:gd name="connsiteX17" fmla="*/ 195519 w 313360"/>
                  <a:gd name="connsiteY17" fmla="*/ 13843 h 145865"/>
                  <a:gd name="connsiteX18" fmla="*/ 186216 w 313360"/>
                  <a:gd name="connsiteY18" fmla="*/ 14144 h 145865"/>
                  <a:gd name="connsiteX19" fmla="*/ 186216 w 313360"/>
                  <a:gd name="connsiteY19" fmla="*/ 14144 h 145865"/>
                  <a:gd name="connsiteX20" fmla="*/ 18557 w 313360"/>
                  <a:gd name="connsiteY20" fmla="*/ 90746 h 145865"/>
                  <a:gd name="connsiteX21" fmla="*/ 183465 w 313360"/>
                  <a:gd name="connsiteY21" fmla="*/ 8091 h 145865"/>
                  <a:gd name="connsiteX22" fmla="*/ 183540 w 313360"/>
                  <a:gd name="connsiteY22" fmla="*/ 8091 h 145865"/>
                  <a:gd name="connsiteX23" fmla="*/ 183465 w 313360"/>
                  <a:gd name="connsiteY23" fmla="*/ 8091 h 145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3360" h="145865">
                    <a:moveTo>
                      <a:pt x="108338" y="145865"/>
                    </a:moveTo>
                    <a:cubicBezTo>
                      <a:pt x="105012" y="145865"/>
                      <a:pt x="101761" y="145240"/>
                      <a:pt x="99085" y="143964"/>
                    </a:cubicBezTo>
                    <a:lnTo>
                      <a:pt x="6577" y="99774"/>
                    </a:lnTo>
                    <a:cubicBezTo>
                      <a:pt x="600" y="96923"/>
                      <a:pt x="0" y="92371"/>
                      <a:pt x="0" y="90546"/>
                    </a:cubicBezTo>
                    <a:cubicBezTo>
                      <a:pt x="25" y="88745"/>
                      <a:pt x="675" y="84293"/>
                      <a:pt x="6502" y="81617"/>
                    </a:cubicBezTo>
                    <a:lnTo>
                      <a:pt x="180689" y="2039"/>
                    </a:lnTo>
                    <a:lnTo>
                      <a:pt x="180689" y="2039"/>
                    </a:lnTo>
                    <a:cubicBezTo>
                      <a:pt x="185766" y="-287"/>
                      <a:pt x="193644" y="-662"/>
                      <a:pt x="199446" y="1114"/>
                    </a:cubicBezTo>
                    <a:lnTo>
                      <a:pt x="305358" y="33775"/>
                    </a:lnTo>
                    <a:cubicBezTo>
                      <a:pt x="312136" y="35851"/>
                      <a:pt x="313186" y="40428"/>
                      <a:pt x="313336" y="42304"/>
                    </a:cubicBezTo>
                    <a:cubicBezTo>
                      <a:pt x="313486" y="44154"/>
                      <a:pt x="313136" y="48806"/>
                      <a:pt x="306909" y="51832"/>
                    </a:cubicBezTo>
                    <a:lnTo>
                      <a:pt x="118467" y="143664"/>
                    </a:lnTo>
                    <a:cubicBezTo>
                      <a:pt x="115516" y="145140"/>
                      <a:pt x="111890" y="145865"/>
                      <a:pt x="108338" y="145865"/>
                    </a:cubicBezTo>
                    <a:close/>
                    <a:moveTo>
                      <a:pt x="18557" y="90746"/>
                    </a:moveTo>
                    <a:lnTo>
                      <a:pt x="104837" y="131985"/>
                    </a:lnTo>
                    <a:cubicBezTo>
                      <a:pt x="106513" y="132786"/>
                      <a:pt x="110439" y="132836"/>
                      <a:pt x="112640" y="131760"/>
                    </a:cubicBezTo>
                    <a:lnTo>
                      <a:pt x="292904" y="43904"/>
                    </a:lnTo>
                    <a:lnTo>
                      <a:pt x="195519" y="13843"/>
                    </a:lnTo>
                    <a:cubicBezTo>
                      <a:pt x="192668" y="12968"/>
                      <a:pt x="188117" y="13293"/>
                      <a:pt x="186216" y="14144"/>
                    </a:cubicBezTo>
                    <a:lnTo>
                      <a:pt x="186216" y="14144"/>
                    </a:lnTo>
                    <a:lnTo>
                      <a:pt x="18557" y="90746"/>
                    </a:lnTo>
                    <a:close/>
                    <a:moveTo>
                      <a:pt x="183465" y="8091"/>
                    </a:moveTo>
                    <a:lnTo>
                      <a:pt x="183540" y="8091"/>
                    </a:lnTo>
                    <a:lnTo>
                      <a:pt x="183465" y="8091"/>
                    </a:lnTo>
                    <a:close/>
                  </a:path>
                </a:pathLst>
              </a:custGeom>
              <a:solidFill>
                <a:schemeClr val="accent1"/>
              </a:solidFill>
              <a:ln w="2497" cap="flat">
                <a:noFill/>
                <a:prstDash val="solid"/>
                <a:miter/>
              </a:ln>
            </p:spPr>
            <p:txBody>
              <a:bodyPr rtlCol="0" anchor="ctr"/>
              <a:lstStyle/>
              <a:p>
                <a:endParaRPr lang="en-GB" dirty="0"/>
              </a:p>
            </p:txBody>
          </p:sp>
          <p:sp>
            <p:nvSpPr>
              <p:cNvPr id="357" name="Freihandform: Form 955">
                <a:extLst>
                  <a:ext uri="{FF2B5EF4-FFF2-40B4-BE49-F238E27FC236}">
                    <a16:creationId xmlns:a16="http://schemas.microsoft.com/office/drawing/2014/main" id="{6DBE19C6-B18C-4731-A36C-CBAB48E70D90}"/>
                  </a:ext>
                </a:extLst>
              </p:cNvPr>
              <p:cNvSpPr/>
              <p:nvPr/>
            </p:nvSpPr>
            <p:spPr>
              <a:xfrm>
                <a:off x="5714211" y="2801962"/>
                <a:ext cx="87222" cy="53705"/>
              </a:xfrm>
              <a:custGeom>
                <a:avLst/>
                <a:gdLst>
                  <a:gd name="connsiteX0" fmla="*/ 6645 w 87222"/>
                  <a:gd name="connsiteY0" fmla="*/ 53706 h 53705"/>
                  <a:gd name="connsiteX1" fmla="*/ 668 w 87222"/>
                  <a:gd name="connsiteY1" fmla="*/ 49979 h 53705"/>
                  <a:gd name="connsiteX2" fmla="*/ 3744 w 87222"/>
                  <a:gd name="connsiteY2" fmla="*/ 41101 h 53705"/>
                  <a:gd name="connsiteX3" fmla="*/ 71068 w 87222"/>
                  <a:gd name="connsiteY3" fmla="*/ 8289 h 53705"/>
                  <a:gd name="connsiteX4" fmla="*/ 71118 w 87222"/>
                  <a:gd name="connsiteY4" fmla="*/ 4763 h 53705"/>
                  <a:gd name="connsiteX5" fmla="*/ 79220 w 87222"/>
                  <a:gd name="connsiteY5" fmla="*/ 287 h 53705"/>
                  <a:gd name="connsiteX6" fmla="*/ 87198 w 87222"/>
                  <a:gd name="connsiteY6" fmla="*/ 8815 h 53705"/>
                  <a:gd name="connsiteX7" fmla="*/ 80746 w 87222"/>
                  <a:gd name="connsiteY7" fmla="*/ 18343 h 53705"/>
                  <a:gd name="connsiteX8" fmla="*/ 9546 w 87222"/>
                  <a:gd name="connsiteY8" fmla="*/ 53055 h 53705"/>
                  <a:gd name="connsiteX9" fmla="*/ 6645 w 87222"/>
                  <a:gd name="connsiteY9" fmla="*/ 53706 h 5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222" h="53705">
                    <a:moveTo>
                      <a:pt x="6645" y="53706"/>
                    </a:moveTo>
                    <a:cubicBezTo>
                      <a:pt x="4169" y="53706"/>
                      <a:pt x="1818" y="52330"/>
                      <a:pt x="668" y="49979"/>
                    </a:cubicBezTo>
                    <a:cubicBezTo>
                      <a:pt x="-933" y="46678"/>
                      <a:pt x="443" y="42702"/>
                      <a:pt x="3744" y="41101"/>
                    </a:cubicBezTo>
                    <a:lnTo>
                      <a:pt x="71068" y="8289"/>
                    </a:lnTo>
                    <a:cubicBezTo>
                      <a:pt x="70767" y="7164"/>
                      <a:pt x="70767" y="5939"/>
                      <a:pt x="71118" y="4763"/>
                    </a:cubicBezTo>
                    <a:cubicBezTo>
                      <a:pt x="72193" y="1262"/>
                      <a:pt x="75719" y="-789"/>
                      <a:pt x="79220" y="287"/>
                    </a:cubicBezTo>
                    <a:cubicBezTo>
                      <a:pt x="85998" y="2362"/>
                      <a:pt x="87048" y="6939"/>
                      <a:pt x="87198" y="8815"/>
                    </a:cubicBezTo>
                    <a:cubicBezTo>
                      <a:pt x="87348" y="10665"/>
                      <a:pt x="86998" y="15317"/>
                      <a:pt x="80746" y="18343"/>
                    </a:cubicBezTo>
                    <a:lnTo>
                      <a:pt x="9546" y="53055"/>
                    </a:lnTo>
                    <a:cubicBezTo>
                      <a:pt x="8620" y="53505"/>
                      <a:pt x="7620" y="53706"/>
                      <a:pt x="6645" y="53706"/>
                    </a:cubicBezTo>
                    <a:close/>
                  </a:path>
                </a:pathLst>
              </a:custGeom>
              <a:solidFill>
                <a:schemeClr val="accent1"/>
              </a:solidFill>
              <a:ln w="2497" cap="flat">
                <a:noFill/>
                <a:prstDash val="solid"/>
                <a:miter/>
              </a:ln>
            </p:spPr>
            <p:txBody>
              <a:bodyPr rtlCol="0" anchor="ctr"/>
              <a:lstStyle/>
              <a:p>
                <a:endParaRPr lang="en-GB" dirty="0"/>
              </a:p>
            </p:txBody>
          </p:sp>
          <p:sp>
            <p:nvSpPr>
              <p:cNvPr id="358" name="Freihandform: Form 956">
                <a:extLst>
                  <a:ext uri="{FF2B5EF4-FFF2-40B4-BE49-F238E27FC236}">
                    <a16:creationId xmlns:a16="http://schemas.microsoft.com/office/drawing/2014/main" id="{703E8BB9-AE52-4C98-968D-1D32F12EFDE0}"/>
                  </a:ext>
                </a:extLst>
              </p:cNvPr>
              <p:cNvSpPr/>
              <p:nvPr/>
            </p:nvSpPr>
            <p:spPr>
              <a:xfrm>
                <a:off x="5488097" y="2849438"/>
                <a:ext cx="186459" cy="64874"/>
              </a:xfrm>
              <a:custGeom>
                <a:avLst/>
                <a:gdLst>
                  <a:gd name="connsiteX0" fmla="*/ 108314 w 186459"/>
                  <a:gd name="connsiteY0" fmla="*/ 64875 h 64874"/>
                  <a:gd name="connsiteX1" fmla="*/ 99061 w 186459"/>
                  <a:gd name="connsiteY1" fmla="*/ 62974 h 64874"/>
                  <a:gd name="connsiteX2" fmla="*/ 6553 w 186459"/>
                  <a:gd name="connsiteY2" fmla="*/ 18758 h 64874"/>
                  <a:gd name="connsiteX3" fmla="*/ 1 w 186459"/>
                  <a:gd name="connsiteY3" fmla="*/ 9530 h 64874"/>
                  <a:gd name="connsiteX4" fmla="*/ 6528 w 186459"/>
                  <a:gd name="connsiteY4" fmla="*/ 602 h 64874"/>
                  <a:gd name="connsiteX5" fmla="*/ 15331 w 186459"/>
                  <a:gd name="connsiteY5" fmla="*/ 3878 h 64874"/>
                  <a:gd name="connsiteX6" fmla="*/ 15706 w 186459"/>
                  <a:gd name="connsiteY6" fmla="*/ 8355 h 64874"/>
                  <a:gd name="connsiteX7" fmla="*/ 104813 w 186459"/>
                  <a:gd name="connsiteY7" fmla="*/ 50945 h 64874"/>
                  <a:gd name="connsiteX8" fmla="*/ 112616 w 186459"/>
                  <a:gd name="connsiteY8" fmla="*/ 50720 h 64874"/>
                  <a:gd name="connsiteX9" fmla="*/ 176913 w 186459"/>
                  <a:gd name="connsiteY9" fmla="*/ 19384 h 64874"/>
                  <a:gd name="connsiteX10" fmla="*/ 185792 w 186459"/>
                  <a:gd name="connsiteY10" fmla="*/ 22460 h 64874"/>
                  <a:gd name="connsiteX11" fmla="*/ 182715 w 186459"/>
                  <a:gd name="connsiteY11" fmla="*/ 31338 h 64874"/>
                  <a:gd name="connsiteX12" fmla="*/ 118418 w 186459"/>
                  <a:gd name="connsiteY12" fmla="*/ 62674 h 64874"/>
                  <a:gd name="connsiteX13" fmla="*/ 108314 w 186459"/>
                  <a:gd name="connsiteY13" fmla="*/ 64875 h 64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459" h="64874">
                    <a:moveTo>
                      <a:pt x="108314" y="64875"/>
                    </a:moveTo>
                    <a:cubicBezTo>
                      <a:pt x="104988" y="64875"/>
                      <a:pt x="101737" y="64250"/>
                      <a:pt x="99061" y="62974"/>
                    </a:cubicBezTo>
                    <a:lnTo>
                      <a:pt x="6553" y="18758"/>
                    </a:lnTo>
                    <a:cubicBezTo>
                      <a:pt x="576" y="15907"/>
                      <a:pt x="-24" y="11356"/>
                      <a:pt x="1" y="9530"/>
                    </a:cubicBezTo>
                    <a:cubicBezTo>
                      <a:pt x="26" y="7730"/>
                      <a:pt x="676" y="3253"/>
                      <a:pt x="6528" y="602"/>
                    </a:cubicBezTo>
                    <a:cubicBezTo>
                      <a:pt x="9854" y="-924"/>
                      <a:pt x="13806" y="552"/>
                      <a:pt x="15331" y="3878"/>
                    </a:cubicBezTo>
                    <a:cubicBezTo>
                      <a:pt x="16006" y="5329"/>
                      <a:pt x="16081" y="6904"/>
                      <a:pt x="15706" y="8355"/>
                    </a:cubicBezTo>
                    <a:lnTo>
                      <a:pt x="104813" y="50945"/>
                    </a:lnTo>
                    <a:cubicBezTo>
                      <a:pt x="106488" y="51745"/>
                      <a:pt x="110415" y="51795"/>
                      <a:pt x="112616" y="50720"/>
                    </a:cubicBezTo>
                    <a:lnTo>
                      <a:pt x="176913" y="19384"/>
                    </a:lnTo>
                    <a:cubicBezTo>
                      <a:pt x="180215" y="17758"/>
                      <a:pt x="184191" y="19159"/>
                      <a:pt x="185792" y="22460"/>
                    </a:cubicBezTo>
                    <a:cubicBezTo>
                      <a:pt x="187392" y="25761"/>
                      <a:pt x="186017" y="29737"/>
                      <a:pt x="182715" y="31338"/>
                    </a:cubicBezTo>
                    <a:lnTo>
                      <a:pt x="118418" y="62674"/>
                    </a:lnTo>
                    <a:cubicBezTo>
                      <a:pt x="115467" y="64149"/>
                      <a:pt x="111865" y="64875"/>
                      <a:pt x="108314" y="64875"/>
                    </a:cubicBezTo>
                    <a:close/>
                  </a:path>
                </a:pathLst>
              </a:custGeom>
              <a:solidFill>
                <a:schemeClr val="accent1"/>
              </a:solidFill>
              <a:ln w="2497" cap="flat">
                <a:noFill/>
                <a:prstDash val="solid"/>
                <a:miter/>
              </a:ln>
            </p:spPr>
            <p:txBody>
              <a:bodyPr rtlCol="0" anchor="ctr"/>
              <a:lstStyle/>
              <a:p>
                <a:endParaRPr lang="en-GB" dirty="0"/>
              </a:p>
            </p:txBody>
          </p:sp>
          <p:sp>
            <p:nvSpPr>
              <p:cNvPr id="359" name="Freihandform: Form 957">
                <a:extLst>
                  <a:ext uri="{FF2B5EF4-FFF2-40B4-BE49-F238E27FC236}">
                    <a16:creationId xmlns:a16="http://schemas.microsoft.com/office/drawing/2014/main" id="{2400FE07-E635-468F-81FE-16BD612AEC38}"/>
                  </a:ext>
                </a:extLst>
              </p:cNvPr>
              <p:cNvSpPr/>
              <p:nvPr/>
            </p:nvSpPr>
            <p:spPr>
              <a:xfrm>
                <a:off x="5713861" y="2830747"/>
                <a:ext cx="90724" cy="55431"/>
              </a:xfrm>
              <a:custGeom>
                <a:avLst/>
                <a:gdLst>
                  <a:gd name="connsiteX0" fmla="*/ 6645 w 90724"/>
                  <a:gd name="connsiteY0" fmla="*/ 55431 h 55431"/>
                  <a:gd name="connsiteX1" fmla="*/ 668 w 90724"/>
                  <a:gd name="connsiteY1" fmla="*/ 51705 h 55431"/>
                  <a:gd name="connsiteX2" fmla="*/ 3744 w 90724"/>
                  <a:gd name="connsiteY2" fmla="*/ 42827 h 55431"/>
                  <a:gd name="connsiteX3" fmla="*/ 74569 w 90724"/>
                  <a:gd name="connsiteY3" fmla="*/ 8289 h 55431"/>
                  <a:gd name="connsiteX4" fmla="*/ 74619 w 90724"/>
                  <a:gd name="connsiteY4" fmla="*/ 4763 h 55431"/>
                  <a:gd name="connsiteX5" fmla="*/ 82722 w 90724"/>
                  <a:gd name="connsiteY5" fmla="*/ 287 h 55431"/>
                  <a:gd name="connsiteX6" fmla="*/ 90700 w 90724"/>
                  <a:gd name="connsiteY6" fmla="*/ 8815 h 55431"/>
                  <a:gd name="connsiteX7" fmla="*/ 84272 w 90724"/>
                  <a:gd name="connsiteY7" fmla="*/ 18343 h 55431"/>
                  <a:gd name="connsiteX8" fmla="*/ 9546 w 90724"/>
                  <a:gd name="connsiteY8" fmla="*/ 54756 h 55431"/>
                  <a:gd name="connsiteX9" fmla="*/ 6645 w 90724"/>
                  <a:gd name="connsiteY9" fmla="*/ 55431 h 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724" h="55431">
                    <a:moveTo>
                      <a:pt x="6645" y="55431"/>
                    </a:moveTo>
                    <a:cubicBezTo>
                      <a:pt x="4169" y="55431"/>
                      <a:pt x="1818" y="54056"/>
                      <a:pt x="668" y="51705"/>
                    </a:cubicBezTo>
                    <a:cubicBezTo>
                      <a:pt x="-933" y="48404"/>
                      <a:pt x="443" y="44427"/>
                      <a:pt x="3744" y="42827"/>
                    </a:cubicBezTo>
                    <a:lnTo>
                      <a:pt x="74569" y="8289"/>
                    </a:lnTo>
                    <a:cubicBezTo>
                      <a:pt x="74269" y="7164"/>
                      <a:pt x="74269" y="5939"/>
                      <a:pt x="74619" y="4763"/>
                    </a:cubicBezTo>
                    <a:cubicBezTo>
                      <a:pt x="75694" y="1262"/>
                      <a:pt x="79220" y="-789"/>
                      <a:pt x="82722" y="287"/>
                    </a:cubicBezTo>
                    <a:cubicBezTo>
                      <a:pt x="89499" y="2362"/>
                      <a:pt x="90549" y="6939"/>
                      <a:pt x="90700" y="8815"/>
                    </a:cubicBezTo>
                    <a:cubicBezTo>
                      <a:pt x="90850" y="10665"/>
                      <a:pt x="90499" y="15317"/>
                      <a:pt x="84272" y="18343"/>
                    </a:cubicBezTo>
                    <a:lnTo>
                      <a:pt x="9546" y="54756"/>
                    </a:lnTo>
                    <a:cubicBezTo>
                      <a:pt x="8620" y="55231"/>
                      <a:pt x="7620" y="55431"/>
                      <a:pt x="6645" y="55431"/>
                    </a:cubicBezTo>
                    <a:close/>
                  </a:path>
                </a:pathLst>
              </a:custGeom>
              <a:solidFill>
                <a:schemeClr val="accent1"/>
              </a:solidFill>
              <a:ln w="2497" cap="flat">
                <a:noFill/>
                <a:prstDash val="solid"/>
                <a:miter/>
              </a:ln>
            </p:spPr>
            <p:txBody>
              <a:bodyPr rtlCol="0" anchor="ctr"/>
              <a:lstStyle/>
              <a:p>
                <a:endParaRPr lang="en-GB" dirty="0"/>
              </a:p>
            </p:txBody>
          </p:sp>
          <p:sp>
            <p:nvSpPr>
              <p:cNvPr id="360" name="Freihandform: Form 958">
                <a:extLst>
                  <a:ext uri="{FF2B5EF4-FFF2-40B4-BE49-F238E27FC236}">
                    <a16:creationId xmlns:a16="http://schemas.microsoft.com/office/drawing/2014/main" id="{A778A00A-19B2-40A7-8A7D-6DCC8CF1B9AD}"/>
                  </a:ext>
                </a:extLst>
              </p:cNvPr>
              <p:cNvSpPr/>
              <p:nvPr/>
            </p:nvSpPr>
            <p:spPr>
              <a:xfrm>
                <a:off x="5491224" y="2878274"/>
                <a:ext cx="183082" cy="64849"/>
              </a:xfrm>
              <a:custGeom>
                <a:avLst/>
                <a:gdLst>
                  <a:gd name="connsiteX0" fmla="*/ 108338 w 183082"/>
                  <a:gd name="connsiteY0" fmla="*/ 64850 h 64849"/>
                  <a:gd name="connsiteX1" fmla="*/ 99085 w 183082"/>
                  <a:gd name="connsiteY1" fmla="*/ 62949 h 64849"/>
                  <a:gd name="connsiteX2" fmla="*/ 6577 w 183082"/>
                  <a:gd name="connsiteY2" fmla="*/ 18758 h 64849"/>
                  <a:gd name="connsiteX3" fmla="*/ 0 w 183082"/>
                  <a:gd name="connsiteY3" fmla="*/ 9530 h 64849"/>
                  <a:gd name="connsiteX4" fmla="*/ 6502 w 183082"/>
                  <a:gd name="connsiteY4" fmla="*/ 602 h 64849"/>
                  <a:gd name="connsiteX5" fmla="*/ 15305 w 183082"/>
                  <a:gd name="connsiteY5" fmla="*/ 3878 h 64849"/>
                  <a:gd name="connsiteX6" fmla="*/ 15681 w 183082"/>
                  <a:gd name="connsiteY6" fmla="*/ 8355 h 64849"/>
                  <a:gd name="connsiteX7" fmla="*/ 104787 w 183082"/>
                  <a:gd name="connsiteY7" fmla="*/ 50945 h 64849"/>
                  <a:gd name="connsiteX8" fmla="*/ 112590 w 183082"/>
                  <a:gd name="connsiteY8" fmla="*/ 50720 h 64849"/>
                  <a:gd name="connsiteX9" fmla="*/ 173536 w 183082"/>
                  <a:gd name="connsiteY9" fmla="*/ 21009 h 64849"/>
                  <a:gd name="connsiteX10" fmla="*/ 182415 w 183082"/>
                  <a:gd name="connsiteY10" fmla="*/ 24085 h 64849"/>
                  <a:gd name="connsiteX11" fmla="*/ 179339 w 183082"/>
                  <a:gd name="connsiteY11" fmla="*/ 32963 h 64849"/>
                  <a:gd name="connsiteX12" fmla="*/ 118392 w 183082"/>
                  <a:gd name="connsiteY12" fmla="*/ 62674 h 64849"/>
                  <a:gd name="connsiteX13" fmla="*/ 108338 w 183082"/>
                  <a:gd name="connsiteY13" fmla="*/ 64850 h 64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3082" h="64849">
                    <a:moveTo>
                      <a:pt x="108338" y="64850"/>
                    </a:moveTo>
                    <a:cubicBezTo>
                      <a:pt x="105012" y="64850"/>
                      <a:pt x="101761" y="64225"/>
                      <a:pt x="99085" y="62949"/>
                    </a:cubicBezTo>
                    <a:lnTo>
                      <a:pt x="6577" y="18758"/>
                    </a:lnTo>
                    <a:cubicBezTo>
                      <a:pt x="600" y="15907"/>
                      <a:pt x="0" y="11356"/>
                      <a:pt x="0" y="9530"/>
                    </a:cubicBezTo>
                    <a:cubicBezTo>
                      <a:pt x="25" y="7730"/>
                      <a:pt x="675" y="3278"/>
                      <a:pt x="6502" y="602"/>
                    </a:cubicBezTo>
                    <a:cubicBezTo>
                      <a:pt x="9853" y="-924"/>
                      <a:pt x="13780" y="552"/>
                      <a:pt x="15305" y="3878"/>
                    </a:cubicBezTo>
                    <a:cubicBezTo>
                      <a:pt x="15981" y="5329"/>
                      <a:pt x="16081" y="6929"/>
                      <a:pt x="15681" y="8355"/>
                    </a:cubicBezTo>
                    <a:lnTo>
                      <a:pt x="104787" y="50945"/>
                    </a:lnTo>
                    <a:cubicBezTo>
                      <a:pt x="106463" y="51745"/>
                      <a:pt x="110389" y="51795"/>
                      <a:pt x="112590" y="50720"/>
                    </a:cubicBezTo>
                    <a:lnTo>
                      <a:pt x="173536" y="21009"/>
                    </a:lnTo>
                    <a:cubicBezTo>
                      <a:pt x="176838" y="19409"/>
                      <a:pt x="180814" y="20784"/>
                      <a:pt x="182415" y="24085"/>
                    </a:cubicBezTo>
                    <a:cubicBezTo>
                      <a:pt x="184015" y="27387"/>
                      <a:pt x="182640" y="31363"/>
                      <a:pt x="179339" y="32963"/>
                    </a:cubicBezTo>
                    <a:lnTo>
                      <a:pt x="118392" y="62674"/>
                    </a:lnTo>
                    <a:cubicBezTo>
                      <a:pt x="115516" y="64099"/>
                      <a:pt x="111890" y="64850"/>
                      <a:pt x="108338" y="64850"/>
                    </a:cubicBezTo>
                    <a:close/>
                  </a:path>
                </a:pathLst>
              </a:custGeom>
              <a:solidFill>
                <a:schemeClr val="accent1"/>
              </a:solidFill>
              <a:ln w="2497" cap="flat">
                <a:noFill/>
                <a:prstDash val="solid"/>
                <a:miter/>
              </a:ln>
            </p:spPr>
            <p:txBody>
              <a:bodyPr rtlCol="0" anchor="ctr"/>
              <a:lstStyle/>
              <a:p>
                <a:endParaRPr lang="en-GB" dirty="0"/>
              </a:p>
            </p:txBody>
          </p:sp>
          <p:sp>
            <p:nvSpPr>
              <p:cNvPr id="361" name="Freihandform: Form 959">
                <a:extLst>
                  <a:ext uri="{FF2B5EF4-FFF2-40B4-BE49-F238E27FC236}">
                    <a16:creationId xmlns:a16="http://schemas.microsoft.com/office/drawing/2014/main" id="{1EF85D7B-CEB2-4CA3-B619-A80278761C3C}"/>
                  </a:ext>
                </a:extLst>
              </p:cNvPr>
              <p:cNvSpPr/>
              <p:nvPr/>
            </p:nvSpPr>
            <p:spPr>
              <a:xfrm>
                <a:off x="5548869" y="2801042"/>
                <a:ext cx="102987" cy="55700"/>
              </a:xfrm>
              <a:custGeom>
                <a:avLst/>
                <a:gdLst>
                  <a:gd name="connsiteX0" fmla="*/ 41265 w 102987"/>
                  <a:gd name="connsiteY0" fmla="*/ 55701 h 55700"/>
                  <a:gd name="connsiteX1" fmla="*/ 38489 w 102987"/>
                  <a:gd name="connsiteY1" fmla="*/ 55100 h 55700"/>
                  <a:gd name="connsiteX2" fmla="*/ 4202 w 102987"/>
                  <a:gd name="connsiteY2" fmla="*/ 39270 h 55700"/>
                  <a:gd name="connsiteX3" fmla="*/ 350 w 102987"/>
                  <a:gd name="connsiteY3" fmla="*/ 33243 h 55700"/>
                  <a:gd name="connsiteX4" fmla="*/ 4177 w 102987"/>
                  <a:gd name="connsiteY4" fmla="*/ 27190 h 55700"/>
                  <a:gd name="connsiteX5" fmla="*/ 5002 w 102987"/>
                  <a:gd name="connsiteY5" fmla="*/ 26765 h 55700"/>
                  <a:gd name="connsiteX6" fmla="*/ 3952 w 102987"/>
                  <a:gd name="connsiteY6" fmla="*/ 26240 h 55700"/>
                  <a:gd name="connsiteX7" fmla="*/ 0 w 102987"/>
                  <a:gd name="connsiteY7" fmla="*/ 20238 h 55700"/>
                  <a:gd name="connsiteX8" fmla="*/ 3802 w 102987"/>
                  <a:gd name="connsiteY8" fmla="*/ 14161 h 55700"/>
                  <a:gd name="connsiteX9" fmla="*/ 32437 w 102987"/>
                  <a:gd name="connsiteY9" fmla="*/ 631 h 55700"/>
                  <a:gd name="connsiteX10" fmla="*/ 41290 w 102987"/>
                  <a:gd name="connsiteY10" fmla="*/ 3807 h 55700"/>
                  <a:gd name="connsiteX11" fmla="*/ 38114 w 102987"/>
                  <a:gd name="connsiteY11" fmla="*/ 12660 h 55700"/>
                  <a:gd name="connsiteX12" fmla="*/ 18307 w 102987"/>
                  <a:gd name="connsiteY12" fmla="*/ 22014 h 55700"/>
                  <a:gd name="connsiteX13" fmla="*/ 19357 w 102987"/>
                  <a:gd name="connsiteY13" fmla="*/ 26665 h 55700"/>
                  <a:gd name="connsiteX14" fmla="*/ 18407 w 102987"/>
                  <a:gd name="connsiteY14" fmla="*/ 31167 h 55700"/>
                  <a:gd name="connsiteX15" fmla="*/ 41390 w 102987"/>
                  <a:gd name="connsiteY15" fmla="*/ 41771 h 55700"/>
                  <a:gd name="connsiteX16" fmla="*/ 69975 w 102987"/>
                  <a:gd name="connsiteY16" fmla="*/ 41295 h 55700"/>
                  <a:gd name="connsiteX17" fmla="*/ 93508 w 102987"/>
                  <a:gd name="connsiteY17" fmla="*/ 30242 h 55700"/>
                  <a:gd name="connsiteX18" fmla="*/ 102362 w 102987"/>
                  <a:gd name="connsiteY18" fmla="*/ 33443 h 55700"/>
                  <a:gd name="connsiteX19" fmla="*/ 99160 w 102987"/>
                  <a:gd name="connsiteY19" fmla="*/ 42296 h 55700"/>
                  <a:gd name="connsiteX20" fmla="*/ 73076 w 102987"/>
                  <a:gd name="connsiteY20" fmla="*/ 54525 h 55700"/>
                  <a:gd name="connsiteX21" fmla="*/ 67549 w 102987"/>
                  <a:gd name="connsiteY21" fmla="*/ 54575 h 55700"/>
                  <a:gd name="connsiteX22" fmla="*/ 44116 w 102987"/>
                  <a:gd name="connsiteY22" fmla="*/ 55025 h 55700"/>
                  <a:gd name="connsiteX23" fmla="*/ 41265 w 102987"/>
                  <a:gd name="connsiteY23" fmla="*/ 55701 h 5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2987" h="55700">
                    <a:moveTo>
                      <a:pt x="41265" y="55701"/>
                    </a:moveTo>
                    <a:cubicBezTo>
                      <a:pt x="40315" y="55701"/>
                      <a:pt x="39364" y="55500"/>
                      <a:pt x="38489" y="55100"/>
                    </a:cubicBezTo>
                    <a:lnTo>
                      <a:pt x="4202" y="39270"/>
                    </a:lnTo>
                    <a:cubicBezTo>
                      <a:pt x="1851" y="38194"/>
                      <a:pt x="350" y="35844"/>
                      <a:pt x="350" y="33243"/>
                    </a:cubicBezTo>
                    <a:cubicBezTo>
                      <a:pt x="350" y="30667"/>
                      <a:pt x="1851" y="28291"/>
                      <a:pt x="4177" y="27190"/>
                    </a:cubicBezTo>
                    <a:cubicBezTo>
                      <a:pt x="4477" y="27040"/>
                      <a:pt x="4752" y="26915"/>
                      <a:pt x="5002" y="26765"/>
                    </a:cubicBezTo>
                    <a:cubicBezTo>
                      <a:pt x="4702" y="26590"/>
                      <a:pt x="4352" y="26415"/>
                      <a:pt x="3952" y="26240"/>
                    </a:cubicBezTo>
                    <a:cubicBezTo>
                      <a:pt x="1576" y="25190"/>
                      <a:pt x="25" y="22839"/>
                      <a:pt x="0" y="20238"/>
                    </a:cubicBezTo>
                    <a:cubicBezTo>
                      <a:pt x="-25" y="17637"/>
                      <a:pt x="1451" y="15261"/>
                      <a:pt x="3802" y="14161"/>
                    </a:cubicBezTo>
                    <a:lnTo>
                      <a:pt x="32437" y="631"/>
                    </a:lnTo>
                    <a:cubicBezTo>
                      <a:pt x="35763" y="-920"/>
                      <a:pt x="39714" y="481"/>
                      <a:pt x="41290" y="3807"/>
                    </a:cubicBezTo>
                    <a:cubicBezTo>
                      <a:pt x="42866" y="7133"/>
                      <a:pt x="41440" y="11085"/>
                      <a:pt x="38114" y="12660"/>
                    </a:cubicBezTo>
                    <a:lnTo>
                      <a:pt x="18307" y="22014"/>
                    </a:lnTo>
                    <a:cubicBezTo>
                      <a:pt x="19132" y="23814"/>
                      <a:pt x="19357" y="25440"/>
                      <a:pt x="19357" y="26665"/>
                    </a:cubicBezTo>
                    <a:cubicBezTo>
                      <a:pt x="19357" y="27666"/>
                      <a:pt x="19207" y="29316"/>
                      <a:pt x="18407" y="31167"/>
                    </a:cubicBezTo>
                    <a:lnTo>
                      <a:pt x="41390" y="41771"/>
                    </a:lnTo>
                    <a:cubicBezTo>
                      <a:pt x="50068" y="38670"/>
                      <a:pt x="61347" y="38494"/>
                      <a:pt x="69975" y="41295"/>
                    </a:cubicBezTo>
                    <a:lnTo>
                      <a:pt x="93508" y="30242"/>
                    </a:lnTo>
                    <a:cubicBezTo>
                      <a:pt x="96835" y="28691"/>
                      <a:pt x="100786" y="30116"/>
                      <a:pt x="102362" y="33443"/>
                    </a:cubicBezTo>
                    <a:cubicBezTo>
                      <a:pt x="103912" y="36769"/>
                      <a:pt x="102487" y="40720"/>
                      <a:pt x="99160" y="42296"/>
                    </a:cubicBezTo>
                    <a:lnTo>
                      <a:pt x="73076" y="54525"/>
                    </a:lnTo>
                    <a:cubicBezTo>
                      <a:pt x="71326" y="55350"/>
                      <a:pt x="69300" y="55375"/>
                      <a:pt x="67549" y="54575"/>
                    </a:cubicBezTo>
                    <a:cubicBezTo>
                      <a:pt x="61322" y="51799"/>
                      <a:pt x="50368" y="51999"/>
                      <a:pt x="44116" y="55025"/>
                    </a:cubicBezTo>
                    <a:cubicBezTo>
                      <a:pt x="43241" y="55475"/>
                      <a:pt x="42265" y="55701"/>
                      <a:pt x="41265" y="55701"/>
                    </a:cubicBezTo>
                    <a:close/>
                  </a:path>
                </a:pathLst>
              </a:custGeom>
              <a:solidFill>
                <a:schemeClr val="accent1"/>
              </a:solidFill>
              <a:ln w="2497" cap="flat">
                <a:noFill/>
                <a:prstDash val="solid"/>
                <a:miter/>
              </a:ln>
            </p:spPr>
            <p:txBody>
              <a:bodyPr rtlCol="0" anchor="ctr"/>
              <a:lstStyle/>
              <a:p>
                <a:endParaRPr lang="en-GB" dirty="0"/>
              </a:p>
            </p:txBody>
          </p:sp>
          <p:sp>
            <p:nvSpPr>
              <p:cNvPr id="362" name="Freihandform: Form 960">
                <a:extLst>
                  <a:ext uri="{FF2B5EF4-FFF2-40B4-BE49-F238E27FC236}">
                    <a16:creationId xmlns:a16="http://schemas.microsoft.com/office/drawing/2014/main" id="{EE5A46C0-58E0-43AB-B78A-74BC644E423A}"/>
                  </a:ext>
                </a:extLst>
              </p:cNvPr>
              <p:cNvSpPr/>
              <p:nvPr/>
            </p:nvSpPr>
            <p:spPr>
              <a:xfrm>
                <a:off x="5632728" y="2764337"/>
                <a:ext cx="105022" cy="53041"/>
              </a:xfrm>
              <a:custGeom>
                <a:avLst/>
                <a:gdLst>
                  <a:gd name="connsiteX0" fmla="*/ 66870 w 105022"/>
                  <a:gd name="connsiteY0" fmla="*/ 53042 h 53041"/>
                  <a:gd name="connsiteX1" fmla="*/ 60868 w 105022"/>
                  <a:gd name="connsiteY1" fmla="*/ 49291 h 53041"/>
                  <a:gd name="connsiteX2" fmla="*/ 63969 w 105022"/>
                  <a:gd name="connsiteY2" fmla="*/ 40412 h 53041"/>
                  <a:gd name="connsiteX3" fmla="*/ 85952 w 105022"/>
                  <a:gd name="connsiteY3" fmla="*/ 29809 h 53041"/>
                  <a:gd name="connsiteX4" fmla="*/ 84826 w 105022"/>
                  <a:gd name="connsiteY4" fmla="*/ 25682 h 53041"/>
                  <a:gd name="connsiteX5" fmla="*/ 85226 w 105022"/>
                  <a:gd name="connsiteY5" fmla="*/ 22106 h 53041"/>
                  <a:gd name="connsiteX6" fmla="*/ 59042 w 105022"/>
                  <a:gd name="connsiteY6" fmla="*/ 13703 h 53041"/>
                  <a:gd name="connsiteX7" fmla="*/ 29382 w 105022"/>
                  <a:gd name="connsiteY7" fmla="*/ 15028 h 53041"/>
                  <a:gd name="connsiteX8" fmla="*/ 9449 w 105022"/>
                  <a:gd name="connsiteY8" fmla="*/ 24232 h 53041"/>
                  <a:gd name="connsiteX9" fmla="*/ 621 w 105022"/>
                  <a:gd name="connsiteY9" fmla="*/ 20981 h 53041"/>
                  <a:gd name="connsiteX10" fmla="*/ 3872 w 105022"/>
                  <a:gd name="connsiteY10" fmla="*/ 12152 h 53041"/>
                  <a:gd name="connsiteX11" fmla="*/ 26030 w 105022"/>
                  <a:gd name="connsiteY11" fmla="*/ 1924 h 53041"/>
                  <a:gd name="connsiteX12" fmla="*/ 30932 w 105022"/>
                  <a:gd name="connsiteY12" fmla="*/ 1649 h 53041"/>
                  <a:gd name="connsiteX13" fmla="*/ 55941 w 105022"/>
                  <a:gd name="connsiteY13" fmla="*/ 623 h 53041"/>
                  <a:gd name="connsiteX14" fmla="*/ 60793 w 105022"/>
                  <a:gd name="connsiteY14" fmla="*/ 323 h 53041"/>
                  <a:gd name="connsiteX15" fmla="*/ 99156 w 105022"/>
                  <a:gd name="connsiteY15" fmla="*/ 12653 h 53041"/>
                  <a:gd name="connsiteX16" fmla="*/ 103758 w 105022"/>
                  <a:gd name="connsiteY16" fmla="*/ 18530 h 53041"/>
                  <a:gd name="connsiteX17" fmla="*/ 100257 w 105022"/>
                  <a:gd name="connsiteY17" fmla="*/ 24832 h 53041"/>
                  <a:gd name="connsiteX18" fmla="*/ 100482 w 105022"/>
                  <a:gd name="connsiteY18" fmla="*/ 24907 h 53041"/>
                  <a:gd name="connsiteX19" fmla="*/ 105008 w 105022"/>
                  <a:gd name="connsiteY19" fmla="*/ 30784 h 53041"/>
                  <a:gd name="connsiteX20" fmla="*/ 101257 w 105022"/>
                  <a:gd name="connsiteY20" fmla="*/ 37186 h 53041"/>
                  <a:gd name="connsiteX21" fmla="*/ 69746 w 105022"/>
                  <a:gd name="connsiteY21" fmla="*/ 52417 h 53041"/>
                  <a:gd name="connsiteX22" fmla="*/ 66870 w 105022"/>
                  <a:gd name="connsiteY22" fmla="*/ 53042 h 53041"/>
                  <a:gd name="connsiteX23" fmla="*/ 97606 w 105022"/>
                  <a:gd name="connsiteY23" fmla="*/ 23456 h 53041"/>
                  <a:gd name="connsiteX24" fmla="*/ 97606 w 105022"/>
                  <a:gd name="connsiteY24" fmla="*/ 23456 h 53041"/>
                  <a:gd name="connsiteX25" fmla="*/ 97606 w 105022"/>
                  <a:gd name="connsiteY25" fmla="*/ 23456 h 53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5022" h="53041">
                    <a:moveTo>
                      <a:pt x="66870" y="53042"/>
                    </a:moveTo>
                    <a:cubicBezTo>
                      <a:pt x="64394" y="53042"/>
                      <a:pt x="62018" y="51666"/>
                      <a:pt x="60868" y="49291"/>
                    </a:cubicBezTo>
                    <a:cubicBezTo>
                      <a:pt x="59267" y="45989"/>
                      <a:pt x="60668" y="42013"/>
                      <a:pt x="63969" y="40412"/>
                    </a:cubicBezTo>
                    <a:lnTo>
                      <a:pt x="85952" y="29809"/>
                    </a:lnTo>
                    <a:cubicBezTo>
                      <a:pt x="85151" y="28258"/>
                      <a:pt x="84876" y="26808"/>
                      <a:pt x="84826" y="25682"/>
                    </a:cubicBezTo>
                    <a:cubicBezTo>
                      <a:pt x="84776" y="24732"/>
                      <a:pt x="84826" y="23481"/>
                      <a:pt x="85226" y="22106"/>
                    </a:cubicBezTo>
                    <a:lnTo>
                      <a:pt x="59042" y="13703"/>
                    </a:lnTo>
                    <a:cubicBezTo>
                      <a:pt x="50539" y="16754"/>
                      <a:pt x="38535" y="17304"/>
                      <a:pt x="29382" y="15028"/>
                    </a:cubicBezTo>
                    <a:lnTo>
                      <a:pt x="9449" y="24232"/>
                    </a:lnTo>
                    <a:cubicBezTo>
                      <a:pt x="6123" y="25757"/>
                      <a:pt x="2172" y="24332"/>
                      <a:pt x="621" y="20981"/>
                    </a:cubicBezTo>
                    <a:cubicBezTo>
                      <a:pt x="-929" y="17654"/>
                      <a:pt x="521" y="13703"/>
                      <a:pt x="3872" y="12152"/>
                    </a:cubicBezTo>
                    <a:lnTo>
                      <a:pt x="26030" y="1924"/>
                    </a:lnTo>
                    <a:cubicBezTo>
                      <a:pt x="27556" y="1199"/>
                      <a:pt x="29331" y="1124"/>
                      <a:pt x="30932" y="1649"/>
                    </a:cubicBezTo>
                    <a:cubicBezTo>
                      <a:pt x="38010" y="4000"/>
                      <a:pt x="49689" y="3524"/>
                      <a:pt x="55941" y="623"/>
                    </a:cubicBezTo>
                    <a:cubicBezTo>
                      <a:pt x="57441" y="-77"/>
                      <a:pt x="59192" y="-202"/>
                      <a:pt x="60793" y="323"/>
                    </a:cubicBezTo>
                    <a:lnTo>
                      <a:pt x="99156" y="12653"/>
                    </a:lnTo>
                    <a:cubicBezTo>
                      <a:pt x="101757" y="13478"/>
                      <a:pt x="103583" y="15829"/>
                      <a:pt x="103758" y="18530"/>
                    </a:cubicBezTo>
                    <a:cubicBezTo>
                      <a:pt x="103933" y="21156"/>
                      <a:pt x="102557" y="23606"/>
                      <a:pt x="100257" y="24832"/>
                    </a:cubicBezTo>
                    <a:cubicBezTo>
                      <a:pt x="100332" y="24857"/>
                      <a:pt x="100407" y="24882"/>
                      <a:pt x="100482" y="24907"/>
                    </a:cubicBezTo>
                    <a:cubicBezTo>
                      <a:pt x="103058" y="25757"/>
                      <a:pt x="104833" y="28083"/>
                      <a:pt x="105008" y="30784"/>
                    </a:cubicBezTo>
                    <a:cubicBezTo>
                      <a:pt x="105183" y="33485"/>
                      <a:pt x="103708" y="36011"/>
                      <a:pt x="101257" y="37186"/>
                    </a:cubicBezTo>
                    <a:lnTo>
                      <a:pt x="69746" y="52417"/>
                    </a:lnTo>
                    <a:cubicBezTo>
                      <a:pt x="68820" y="52842"/>
                      <a:pt x="67845" y="53042"/>
                      <a:pt x="66870" y="53042"/>
                    </a:cubicBezTo>
                    <a:close/>
                    <a:moveTo>
                      <a:pt x="97606" y="23456"/>
                    </a:moveTo>
                    <a:lnTo>
                      <a:pt x="97606" y="23456"/>
                    </a:lnTo>
                    <a:lnTo>
                      <a:pt x="97606" y="23456"/>
                    </a:lnTo>
                    <a:close/>
                  </a:path>
                </a:pathLst>
              </a:custGeom>
              <a:solidFill>
                <a:schemeClr val="accent1"/>
              </a:solidFill>
              <a:ln w="2497" cap="flat">
                <a:noFill/>
                <a:prstDash val="solid"/>
                <a:miter/>
              </a:ln>
            </p:spPr>
            <p:txBody>
              <a:bodyPr rtlCol="0" anchor="ctr"/>
              <a:lstStyle/>
              <a:p>
                <a:endParaRPr lang="en-GB" dirty="0"/>
              </a:p>
            </p:txBody>
          </p:sp>
          <p:sp>
            <p:nvSpPr>
              <p:cNvPr id="363" name="Freihandform: Form 961">
                <a:extLst>
                  <a:ext uri="{FF2B5EF4-FFF2-40B4-BE49-F238E27FC236}">
                    <a16:creationId xmlns:a16="http://schemas.microsoft.com/office/drawing/2014/main" id="{726221C2-0F0B-4F08-B90D-959687AB676C}"/>
                  </a:ext>
                </a:extLst>
              </p:cNvPr>
              <p:cNvSpPr/>
              <p:nvPr/>
            </p:nvSpPr>
            <p:spPr>
              <a:xfrm>
                <a:off x="5559422" y="2766726"/>
                <a:ext cx="166192" cy="85940"/>
              </a:xfrm>
              <a:custGeom>
                <a:avLst/>
                <a:gdLst>
                  <a:gd name="connsiteX0" fmla="*/ 109465 w 166192"/>
                  <a:gd name="connsiteY0" fmla="*/ 85940 h 85940"/>
                  <a:gd name="connsiteX1" fmla="*/ 106589 w 166192"/>
                  <a:gd name="connsiteY1" fmla="*/ 85290 h 85940"/>
                  <a:gd name="connsiteX2" fmla="*/ 3753 w 166192"/>
                  <a:gd name="connsiteY2" fmla="*/ 35722 h 85940"/>
                  <a:gd name="connsiteX3" fmla="*/ 1 w 166192"/>
                  <a:gd name="connsiteY3" fmla="*/ 29645 h 85940"/>
                  <a:gd name="connsiteX4" fmla="*/ 3928 w 166192"/>
                  <a:gd name="connsiteY4" fmla="*/ 23668 h 85940"/>
                  <a:gd name="connsiteX5" fmla="*/ 55121 w 166192"/>
                  <a:gd name="connsiteY5" fmla="*/ 585 h 85940"/>
                  <a:gd name="connsiteX6" fmla="*/ 60723 w 166192"/>
                  <a:gd name="connsiteY6" fmla="*/ 635 h 85940"/>
                  <a:gd name="connsiteX7" fmla="*/ 162409 w 166192"/>
                  <a:gd name="connsiteY7" fmla="*/ 49202 h 85940"/>
                  <a:gd name="connsiteX8" fmla="*/ 165535 w 166192"/>
                  <a:gd name="connsiteY8" fmla="*/ 58080 h 85940"/>
                  <a:gd name="connsiteX9" fmla="*/ 156657 w 166192"/>
                  <a:gd name="connsiteY9" fmla="*/ 61206 h 85940"/>
                  <a:gd name="connsiteX10" fmla="*/ 57747 w 166192"/>
                  <a:gd name="connsiteY10" fmla="*/ 13965 h 85940"/>
                  <a:gd name="connsiteX11" fmla="*/ 22359 w 166192"/>
                  <a:gd name="connsiteY11" fmla="*/ 29920 h 85940"/>
                  <a:gd name="connsiteX12" fmla="*/ 112366 w 166192"/>
                  <a:gd name="connsiteY12" fmla="*/ 73311 h 85940"/>
                  <a:gd name="connsiteX13" fmla="*/ 115467 w 166192"/>
                  <a:gd name="connsiteY13" fmla="*/ 82189 h 85940"/>
                  <a:gd name="connsiteX14" fmla="*/ 109465 w 166192"/>
                  <a:gd name="connsiteY14" fmla="*/ 85940 h 8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192" h="85940">
                    <a:moveTo>
                      <a:pt x="109465" y="85940"/>
                    </a:moveTo>
                    <a:cubicBezTo>
                      <a:pt x="108490" y="85940"/>
                      <a:pt x="107514" y="85740"/>
                      <a:pt x="106589" y="85290"/>
                    </a:cubicBezTo>
                    <a:lnTo>
                      <a:pt x="3753" y="35722"/>
                    </a:lnTo>
                    <a:cubicBezTo>
                      <a:pt x="1427" y="34597"/>
                      <a:pt x="-49" y="32221"/>
                      <a:pt x="1" y="29645"/>
                    </a:cubicBezTo>
                    <a:cubicBezTo>
                      <a:pt x="26" y="27069"/>
                      <a:pt x="1552" y="24718"/>
                      <a:pt x="3928" y="23668"/>
                    </a:cubicBezTo>
                    <a:lnTo>
                      <a:pt x="55121" y="585"/>
                    </a:lnTo>
                    <a:cubicBezTo>
                      <a:pt x="56921" y="-215"/>
                      <a:pt x="58947" y="-190"/>
                      <a:pt x="60723" y="635"/>
                    </a:cubicBezTo>
                    <a:lnTo>
                      <a:pt x="162409" y="49202"/>
                    </a:lnTo>
                    <a:cubicBezTo>
                      <a:pt x="165710" y="50778"/>
                      <a:pt x="167135" y="54754"/>
                      <a:pt x="165535" y="58080"/>
                    </a:cubicBezTo>
                    <a:cubicBezTo>
                      <a:pt x="163959" y="61381"/>
                      <a:pt x="159983" y="62807"/>
                      <a:pt x="156657" y="61206"/>
                    </a:cubicBezTo>
                    <a:lnTo>
                      <a:pt x="57747" y="13965"/>
                    </a:lnTo>
                    <a:lnTo>
                      <a:pt x="22359" y="29920"/>
                    </a:lnTo>
                    <a:lnTo>
                      <a:pt x="112366" y="73311"/>
                    </a:lnTo>
                    <a:cubicBezTo>
                      <a:pt x="115667" y="74911"/>
                      <a:pt x="117068" y="78888"/>
                      <a:pt x="115467" y="82189"/>
                    </a:cubicBezTo>
                    <a:cubicBezTo>
                      <a:pt x="114317" y="84565"/>
                      <a:pt x="111941" y="85940"/>
                      <a:pt x="109465" y="85940"/>
                    </a:cubicBezTo>
                    <a:close/>
                  </a:path>
                </a:pathLst>
              </a:custGeom>
              <a:solidFill>
                <a:schemeClr val="accent1"/>
              </a:solidFill>
              <a:ln w="2497" cap="flat">
                <a:noFill/>
                <a:prstDash val="solid"/>
                <a:miter/>
              </a:ln>
            </p:spPr>
            <p:txBody>
              <a:bodyPr rtlCol="0" anchor="ctr"/>
              <a:lstStyle/>
              <a:p>
                <a:endParaRPr lang="en-GB" dirty="0"/>
              </a:p>
            </p:txBody>
          </p:sp>
          <p:sp>
            <p:nvSpPr>
              <p:cNvPr id="364" name="Freihandform: Form 962">
                <a:extLst>
                  <a:ext uri="{FF2B5EF4-FFF2-40B4-BE49-F238E27FC236}">
                    <a16:creationId xmlns:a16="http://schemas.microsoft.com/office/drawing/2014/main" id="{D68E9907-F734-47F4-9171-BB348FAC6521}"/>
                  </a:ext>
                </a:extLst>
              </p:cNvPr>
              <p:cNvSpPr/>
              <p:nvPr/>
            </p:nvSpPr>
            <p:spPr>
              <a:xfrm>
                <a:off x="5661935" y="2817704"/>
                <a:ext cx="65248" cy="94633"/>
              </a:xfrm>
              <a:custGeom>
                <a:avLst/>
                <a:gdLst>
                  <a:gd name="connsiteX0" fmla="*/ 6652 w 65248"/>
                  <a:gd name="connsiteY0" fmla="*/ 94633 h 94633"/>
                  <a:gd name="connsiteX1" fmla="*/ 3126 w 65248"/>
                  <a:gd name="connsiteY1" fmla="*/ 93633 h 94633"/>
                  <a:gd name="connsiteX2" fmla="*/ 0 w 65248"/>
                  <a:gd name="connsiteY2" fmla="*/ 88006 h 94633"/>
                  <a:gd name="connsiteX3" fmla="*/ 0 w 65248"/>
                  <a:gd name="connsiteY3" fmla="*/ 28835 h 94633"/>
                  <a:gd name="connsiteX4" fmla="*/ 6652 w 65248"/>
                  <a:gd name="connsiteY4" fmla="*/ 22183 h 94633"/>
                  <a:gd name="connsiteX5" fmla="*/ 13305 w 65248"/>
                  <a:gd name="connsiteY5" fmla="*/ 28835 h 94633"/>
                  <a:gd name="connsiteX6" fmla="*/ 13305 w 65248"/>
                  <a:gd name="connsiteY6" fmla="*/ 77377 h 94633"/>
                  <a:gd name="connsiteX7" fmla="*/ 51918 w 65248"/>
                  <a:gd name="connsiteY7" fmla="*/ 58571 h 94633"/>
                  <a:gd name="connsiteX8" fmla="*/ 51668 w 65248"/>
                  <a:gd name="connsiteY8" fmla="*/ 6677 h 94633"/>
                  <a:gd name="connsiteX9" fmla="*/ 58296 w 65248"/>
                  <a:gd name="connsiteY9" fmla="*/ 0 h 94633"/>
                  <a:gd name="connsiteX10" fmla="*/ 58321 w 65248"/>
                  <a:gd name="connsiteY10" fmla="*/ 0 h 94633"/>
                  <a:gd name="connsiteX11" fmla="*/ 64973 w 65248"/>
                  <a:gd name="connsiteY11" fmla="*/ 6627 h 94633"/>
                  <a:gd name="connsiteX12" fmla="*/ 65248 w 65248"/>
                  <a:gd name="connsiteY12" fmla="*/ 62697 h 94633"/>
                  <a:gd name="connsiteX13" fmla="*/ 61522 w 65248"/>
                  <a:gd name="connsiteY13" fmla="*/ 68699 h 94633"/>
                  <a:gd name="connsiteX14" fmla="*/ 9578 w 65248"/>
                  <a:gd name="connsiteY14" fmla="*/ 94008 h 94633"/>
                  <a:gd name="connsiteX15" fmla="*/ 6652 w 65248"/>
                  <a:gd name="connsiteY15" fmla="*/ 94633 h 9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248" h="94633">
                    <a:moveTo>
                      <a:pt x="6652" y="94633"/>
                    </a:moveTo>
                    <a:cubicBezTo>
                      <a:pt x="5427" y="94633"/>
                      <a:pt x="4202" y="94283"/>
                      <a:pt x="3126" y="93633"/>
                    </a:cubicBezTo>
                    <a:cubicBezTo>
                      <a:pt x="1175" y="92408"/>
                      <a:pt x="0" y="90282"/>
                      <a:pt x="0" y="88006"/>
                    </a:cubicBezTo>
                    <a:lnTo>
                      <a:pt x="0" y="28835"/>
                    </a:lnTo>
                    <a:cubicBezTo>
                      <a:pt x="0" y="25159"/>
                      <a:pt x="2976" y="22183"/>
                      <a:pt x="6652" y="22183"/>
                    </a:cubicBezTo>
                    <a:cubicBezTo>
                      <a:pt x="10329" y="22183"/>
                      <a:pt x="13305" y="25159"/>
                      <a:pt x="13305" y="28835"/>
                    </a:cubicBezTo>
                    <a:lnTo>
                      <a:pt x="13305" y="77377"/>
                    </a:lnTo>
                    <a:lnTo>
                      <a:pt x="51918" y="58571"/>
                    </a:lnTo>
                    <a:lnTo>
                      <a:pt x="51668" y="6677"/>
                    </a:lnTo>
                    <a:cubicBezTo>
                      <a:pt x="51643" y="3001"/>
                      <a:pt x="54619" y="25"/>
                      <a:pt x="58296" y="0"/>
                    </a:cubicBezTo>
                    <a:cubicBezTo>
                      <a:pt x="58296" y="0"/>
                      <a:pt x="58321" y="0"/>
                      <a:pt x="58321" y="0"/>
                    </a:cubicBezTo>
                    <a:cubicBezTo>
                      <a:pt x="61972" y="0"/>
                      <a:pt x="64948" y="2951"/>
                      <a:pt x="64973" y="6627"/>
                    </a:cubicBezTo>
                    <a:lnTo>
                      <a:pt x="65248" y="62697"/>
                    </a:lnTo>
                    <a:cubicBezTo>
                      <a:pt x="65273" y="65248"/>
                      <a:pt x="63798" y="67599"/>
                      <a:pt x="61522" y="68699"/>
                    </a:cubicBezTo>
                    <a:lnTo>
                      <a:pt x="9578" y="94008"/>
                    </a:lnTo>
                    <a:cubicBezTo>
                      <a:pt x="8653" y="94408"/>
                      <a:pt x="7653" y="94633"/>
                      <a:pt x="6652" y="94633"/>
                    </a:cubicBezTo>
                    <a:close/>
                  </a:path>
                </a:pathLst>
              </a:custGeom>
              <a:solidFill>
                <a:schemeClr val="accent1"/>
              </a:solidFill>
              <a:ln w="2497" cap="flat">
                <a:noFill/>
                <a:prstDash val="solid"/>
                <a:miter/>
              </a:ln>
            </p:spPr>
            <p:txBody>
              <a:bodyPr rtlCol="0" anchor="ctr"/>
              <a:lstStyle/>
              <a:p>
                <a:endParaRPr lang="en-GB" dirty="0"/>
              </a:p>
            </p:txBody>
          </p:sp>
        </p:grpSp>
      </p:grpSp>
      <p:grpSp>
        <p:nvGrpSpPr>
          <p:cNvPr id="197" name="Group 196">
            <a:extLst>
              <a:ext uri="{FF2B5EF4-FFF2-40B4-BE49-F238E27FC236}">
                <a16:creationId xmlns:a16="http://schemas.microsoft.com/office/drawing/2014/main" id="{27FA3781-27C2-9427-2AEA-9320053A939C}"/>
              </a:ext>
            </a:extLst>
          </p:cNvPr>
          <p:cNvGrpSpPr/>
          <p:nvPr/>
        </p:nvGrpSpPr>
        <p:grpSpPr>
          <a:xfrm>
            <a:off x="1572420" y="4002611"/>
            <a:ext cx="534129" cy="432000"/>
            <a:chOff x="1572420" y="4002611"/>
            <a:chExt cx="534129" cy="432000"/>
          </a:xfrm>
        </p:grpSpPr>
        <p:grpSp>
          <p:nvGrpSpPr>
            <p:cNvPr id="381" name="Grafik 300">
              <a:extLst>
                <a:ext uri="{FF2B5EF4-FFF2-40B4-BE49-F238E27FC236}">
                  <a16:creationId xmlns:a16="http://schemas.microsoft.com/office/drawing/2014/main" id="{24E2D0E6-9EA1-4CFB-9089-B26E8ED0C850}"/>
                </a:ext>
              </a:extLst>
            </p:cNvPr>
            <p:cNvGrpSpPr/>
            <p:nvPr/>
          </p:nvGrpSpPr>
          <p:grpSpPr>
            <a:xfrm>
              <a:off x="1572420" y="4134015"/>
              <a:ext cx="272462" cy="240105"/>
              <a:chOff x="7785130" y="3453739"/>
              <a:chExt cx="276770" cy="243901"/>
            </a:xfrm>
            <a:solidFill>
              <a:schemeClr val="accent1"/>
            </a:solidFill>
          </p:grpSpPr>
          <p:sp>
            <p:nvSpPr>
              <p:cNvPr id="390" name="Freihandform: Form 1136">
                <a:extLst>
                  <a:ext uri="{FF2B5EF4-FFF2-40B4-BE49-F238E27FC236}">
                    <a16:creationId xmlns:a16="http://schemas.microsoft.com/office/drawing/2014/main" id="{4A9B5EC5-C95A-4D56-95F2-BD90D3F4C48A}"/>
                  </a:ext>
                </a:extLst>
              </p:cNvPr>
              <p:cNvSpPr/>
              <p:nvPr/>
            </p:nvSpPr>
            <p:spPr>
              <a:xfrm>
                <a:off x="7904289" y="3477122"/>
                <a:ext cx="138029" cy="143366"/>
              </a:xfrm>
              <a:custGeom>
                <a:avLst/>
                <a:gdLst>
                  <a:gd name="connsiteX0" fmla="*/ 70565 w 138029"/>
                  <a:gd name="connsiteY0" fmla="*/ 143366 h 143366"/>
                  <a:gd name="connsiteX1" fmla="*/ 65288 w 138029"/>
                  <a:gd name="connsiteY1" fmla="*/ 140765 h 143366"/>
                  <a:gd name="connsiteX2" fmla="*/ 1365 w 138029"/>
                  <a:gd name="connsiteY2" fmla="*/ 57186 h 143366"/>
                  <a:gd name="connsiteX3" fmla="*/ 2616 w 138029"/>
                  <a:gd name="connsiteY3" fmla="*/ 47857 h 143366"/>
                  <a:gd name="connsiteX4" fmla="*/ 63412 w 138029"/>
                  <a:gd name="connsiteY4" fmla="*/ 1366 h 143366"/>
                  <a:gd name="connsiteX5" fmla="*/ 68339 w 138029"/>
                  <a:gd name="connsiteY5" fmla="*/ 65 h 143366"/>
                  <a:gd name="connsiteX6" fmla="*/ 72741 w 138029"/>
                  <a:gd name="connsiteY6" fmla="*/ 2616 h 143366"/>
                  <a:gd name="connsiteX7" fmla="*/ 136663 w 138029"/>
                  <a:gd name="connsiteY7" fmla="*/ 86196 h 143366"/>
                  <a:gd name="connsiteX8" fmla="*/ 137964 w 138029"/>
                  <a:gd name="connsiteY8" fmla="*/ 91123 h 143366"/>
                  <a:gd name="connsiteX9" fmla="*/ 135413 w 138029"/>
                  <a:gd name="connsiteY9" fmla="*/ 95524 h 143366"/>
                  <a:gd name="connsiteX10" fmla="*/ 74616 w 138029"/>
                  <a:gd name="connsiteY10" fmla="*/ 142016 h 143366"/>
                  <a:gd name="connsiteX11" fmla="*/ 70565 w 138029"/>
                  <a:gd name="connsiteY11" fmla="*/ 143366 h 143366"/>
                  <a:gd name="connsiteX12" fmla="*/ 15971 w 138029"/>
                  <a:gd name="connsiteY12" fmla="*/ 54385 h 143366"/>
                  <a:gd name="connsiteX13" fmla="*/ 71815 w 138029"/>
                  <a:gd name="connsiteY13" fmla="*/ 127410 h 143366"/>
                  <a:gd name="connsiteX14" fmla="*/ 122058 w 138029"/>
                  <a:gd name="connsiteY14" fmla="*/ 88997 h 143366"/>
                  <a:gd name="connsiteX15" fmla="*/ 66213 w 138029"/>
                  <a:gd name="connsiteY15" fmla="*/ 15971 h 143366"/>
                  <a:gd name="connsiteX16" fmla="*/ 15971 w 138029"/>
                  <a:gd name="connsiteY16" fmla="*/ 54385 h 143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029" h="143366">
                    <a:moveTo>
                      <a:pt x="70565" y="143366"/>
                    </a:moveTo>
                    <a:cubicBezTo>
                      <a:pt x="68564" y="143366"/>
                      <a:pt x="66589" y="142466"/>
                      <a:pt x="65288" y="140765"/>
                    </a:cubicBezTo>
                    <a:lnTo>
                      <a:pt x="1365" y="57186"/>
                    </a:lnTo>
                    <a:cubicBezTo>
                      <a:pt x="-860" y="54260"/>
                      <a:pt x="-310" y="50083"/>
                      <a:pt x="2616" y="47857"/>
                    </a:cubicBezTo>
                    <a:lnTo>
                      <a:pt x="63412" y="1366"/>
                    </a:lnTo>
                    <a:cubicBezTo>
                      <a:pt x="64813" y="290"/>
                      <a:pt x="66589" y="-185"/>
                      <a:pt x="68339" y="65"/>
                    </a:cubicBezTo>
                    <a:cubicBezTo>
                      <a:pt x="70090" y="290"/>
                      <a:pt x="71665" y="1216"/>
                      <a:pt x="72741" y="2616"/>
                    </a:cubicBezTo>
                    <a:lnTo>
                      <a:pt x="136663" y="86196"/>
                    </a:lnTo>
                    <a:cubicBezTo>
                      <a:pt x="137739" y="87596"/>
                      <a:pt x="138214" y="89372"/>
                      <a:pt x="137964" y="91123"/>
                    </a:cubicBezTo>
                    <a:cubicBezTo>
                      <a:pt x="137739" y="92873"/>
                      <a:pt x="136813" y="94449"/>
                      <a:pt x="135413" y="95524"/>
                    </a:cubicBezTo>
                    <a:lnTo>
                      <a:pt x="74616" y="142016"/>
                    </a:lnTo>
                    <a:cubicBezTo>
                      <a:pt x="73391" y="142916"/>
                      <a:pt x="71990" y="143366"/>
                      <a:pt x="70565" y="143366"/>
                    </a:cubicBezTo>
                    <a:close/>
                    <a:moveTo>
                      <a:pt x="15971" y="54385"/>
                    </a:moveTo>
                    <a:lnTo>
                      <a:pt x="71815" y="127410"/>
                    </a:lnTo>
                    <a:lnTo>
                      <a:pt x="122058" y="88997"/>
                    </a:lnTo>
                    <a:lnTo>
                      <a:pt x="66213" y="15971"/>
                    </a:lnTo>
                    <a:lnTo>
                      <a:pt x="15971" y="54385"/>
                    </a:lnTo>
                    <a:close/>
                  </a:path>
                </a:pathLst>
              </a:custGeom>
              <a:solidFill>
                <a:schemeClr val="accent1"/>
              </a:solidFill>
              <a:ln w="2497" cap="flat">
                <a:noFill/>
                <a:prstDash val="solid"/>
                <a:miter/>
              </a:ln>
            </p:spPr>
            <p:txBody>
              <a:bodyPr rtlCol="0" anchor="ctr"/>
              <a:lstStyle/>
              <a:p>
                <a:endParaRPr lang="en-GB" dirty="0"/>
              </a:p>
            </p:txBody>
          </p:sp>
          <p:sp>
            <p:nvSpPr>
              <p:cNvPr id="391" name="Freihandform: Form 1137">
                <a:extLst>
                  <a:ext uri="{FF2B5EF4-FFF2-40B4-BE49-F238E27FC236}">
                    <a16:creationId xmlns:a16="http://schemas.microsoft.com/office/drawing/2014/main" id="{96947827-2252-4BF9-A7CE-729FE7CCE048}"/>
                  </a:ext>
                </a:extLst>
              </p:cNvPr>
              <p:cNvSpPr/>
              <p:nvPr/>
            </p:nvSpPr>
            <p:spPr>
              <a:xfrm>
                <a:off x="7882806" y="3453739"/>
                <a:ext cx="87660" cy="70139"/>
              </a:xfrm>
              <a:custGeom>
                <a:avLst/>
                <a:gdLst>
                  <a:gd name="connsiteX0" fmla="*/ 6642 w 87660"/>
                  <a:gd name="connsiteY0" fmla="*/ 70140 h 70139"/>
                  <a:gd name="connsiteX1" fmla="*/ 1365 w 87660"/>
                  <a:gd name="connsiteY1" fmla="*/ 67539 h 70139"/>
                  <a:gd name="connsiteX2" fmla="*/ 2616 w 87660"/>
                  <a:gd name="connsiteY2" fmla="*/ 58211 h 70139"/>
                  <a:gd name="connsiteX3" fmla="*/ 76967 w 87660"/>
                  <a:gd name="connsiteY3" fmla="*/ 1365 h 70139"/>
                  <a:gd name="connsiteX4" fmla="*/ 86295 w 87660"/>
                  <a:gd name="connsiteY4" fmla="*/ 2616 h 70139"/>
                  <a:gd name="connsiteX5" fmla="*/ 85045 w 87660"/>
                  <a:gd name="connsiteY5" fmla="*/ 11944 h 70139"/>
                  <a:gd name="connsiteX6" fmla="*/ 10694 w 87660"/>
                  <a:gd name="connsiteY6" fmla="*/ 68789 h 70139"/>
                  <a:gd name="connsiteX7" fmla="*/ 6642 w 87660"/>
                  <a:gd name="connsiteY7" fmla="*/ 70140 h 7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60" h="70139">
                    <a:moveTo>
                      <a:pt x="6642" y="70140"/>
                    </a:moveTo>
                    <a:cubicBezTo>
                      <a:pt x="4642" y="70140"/>
                      <a:pt x="2666" y="69239"/>
                      <a:pt x="1365" y="67539"/>
                    </a:cubicBezTo>
                    <a:cubicBezTo>
                      <a:pt x="-860" y="64613"/>
                      <a:pt x="-310" y="60436"/>
                      <a:pt x="2616" y="58211"/>
                    </a:cubicBezTo>
                    <a:lnTo>
                      <a:pt x="76967" y="1365"/>
                    </a:lnTo>
                    <a:cubicBezTo>
                      <a:pt x="79893" y="-860"/>
                      <a:pt x="84045" y="-310"/>
                      <a:pt x="86295" y="2616"/>
                    </a:cubicBezTo>
                    <a:cubicBezTo>
                      <a:pt x="88521" y="5542"/>
                      <a:pt x="87971" y="9718"/>
                      <a:pt x="85045" y="11944"/>
                    </a:cubicBezTo>
                    <a:lnTo>
                      <a:pt x="10694" y="68789"/>
                    </a:lnTo>
                    <a:cubicBezTo>
                      <a:pt x="9468" y="69690"/>
                      <a:pt x="8068" y="70140"/>
                      <a:pt x="6642" y="70140"/>
                    </a:cubicBezTo>
                    <a:close/>
                  </a:path>
                </a:pathLst>
              </a:custGeom>
              <a:solidFill>
                <a:schemeClr val="accent1"/>
              </a:solidFill>
              <a:ln w="2497" cap="flat">
                <a:noFill/>
                <a:prstDash val="solid"/>
                <a:miter/>
              </a:ln>
            </p:spPr>
            <p:txBody>
              <a:bodyPr rtlCol="0" anchor="ctr"/>
              <a:lstStyle/>
              <a:p>
                <a:endParaRPr lang="en-GB" dirty="0"/>
              </a:p>
            </p:txBody>
          </p:sp>
          <p:sp>
            <p:nvSpPr>
              <p:cNvPr id="392" name="Freihandform: Form 1138">
                <a:extLst>
                  <a:ext uri="{FF2B5EF4-FFF2-40B4-BE49-F238E27FC236}">
                    <a16:creationId xmlns:a16="http://schemas.microsoft.com/office/drawing/2014/main" id="{6E41FA2D-7A73-4F6C-AABB-90AE0ABEFDD2}"/>
                  </a:ext>
                </a:extLst>
              </p:cNvPr>
              <p:cNvSpPr/>
              <p:nvPr/>
            </p:nvSpPr>
            <p:spPr>
              <a:xfrm>
                <a:off x="7974239" y="3574232"/>
                <a:ext cx="87660" cy="70139"/>
              </a:xfrm>
              <a:custGeom>
                <a:avLst/>
                <a:gdLst>
                  <a:gd name="connsiteX0" fmla="*/ 6642 w 87660"/>
                  <a:gd name="connsiteY0" fmla="*/ 70140 h 70139"/>
                  <a:gd name="connsiteX1" fmla="*/ 1365 w 87660"/>
                  <a:gd name="connsiteY1" fmla="*/ 67539 h 70139"/>
                  <a:gd name="connsiteX2" fmla="*/ 2616 w 87660"/>
                  <a:gd name="connsiteY2" fmla="*/ 58211 h 70139"/>
                  <a:gd name="connsiteX3" fmla="*/ 76967 w 87660"/>
                  <a:gd name="connsiteY3" fmla="*/ 1365 h 70139"/>
                  <a:gd name="connsiteX4" fmla="*/ 86295 w 87660"/>
                  <a:gd name="connsiteY4" fmla="*/ 2616 h 70139"/>
                  <a:gd name="connsiteX5" fmla="*/ 85045 w 87660"/>
                  <a:gd name="connsiteY5" fmla="*/ 11944 h 70139"/>
                  <a:gd name="connsiteX6" fmla="*/ 10694 w 87660"/>
                  <a:gd name="connsiteY6" fmla="*/ 68789 h 70139"/>
                  <a:gd name="connsiteX7" fmla="*/ 6642 w 87660"/>
                  <a:gd name="connsiteY7" fmla="*/ 70140 h 70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60" h="70139">
                    <a:moveTo>
                      <a:pt x="6642" y="70140"/>
                    </a:moveTo>
                    <a:cubicBezTo>
                      <a:pt x="4642" y="70140"/>
                      <a:pt x="2666" y="69240"/>
                      <a:pt x="1365" y="67539"/>
                    </a:cubicBezTo>
                    <a:cubicBezTo>
                      <a:pt x="-860" y="64613"/>
                      <a:pt x="-310" y="60436"/>
                      <a:pt x="2616" y="58211"/>
                    </a:cubicBezTo>
                    <a:lnTo>
                      <a:pt x="76967" y="1365"/>
                    </a:lnTo>
                    <a:cubicBezTo>
                      <a:pt x="79893" y="-860"/>
                      <a:pt x="84070" y="-310"/>
                      <a:pt x="86295" y="2616"/>
                    </a:cubicBezTo>
                    <a:cubicBezTo>
                      <a:pt x="88521" y="5542"/>
                      <a:pt x="87971" y="9718"/>
                      <a:pt x="85045" y="11944"/>
                    </a:cubicBezTo>
                    <a:lnTo>
                      <a:pt x="10694" y="68789"/>
                    </a:lnTo>
                    <a:cubicBezTo>
                      <a:pt x="9468" y="69690"/>
                      <a:pt x="8043" y="70140"/>
                      <a:pt x="6642" y="70140"/>
                    </a:cubicBezTo>
                    <a:close/>
                  </a:path>
                </a:pathLst>
              </a:custGeom>
              <a:solidFill>
                <a:schemeClr val="accent1"/>
              </a:solidFill>
              <a:ln w="2497" cap="flat">
                <a:noFill/>
                <a:prstDash val="solid"/>
                <a:miter/>
              </a:ln>
            </p:spPr>
            <p:txBody>
              <a:bodyPr rtlCol="0" anchor="ctr"/>
              <a:lstStyle/>
              <a:p>
                <a:endParaRPr lang="en-GB" dirty="0"/>
              </a:p>
            </p:txBody>
          </p:sp>
          <p:sp>
            <p:nvSpPr>
              <p:cNvPr id="393" name="Freihandform: Form 1139">
                <a:extLst>
                  <a:ext uri="{FF2B5EF4-FFF2-40B4-BE49-F238E27FC236}">
                    <a16:creationId xmlns:a16="http://schemas.microsoft.com/office/drawing/2014/main" id="{2EBF3502-CDC7-45E3-8193-2255820E162D}"/>
                  </a:ext>
                </a:extLst>
              </p:cNvPr>
              <p:cNvSpPr/>
              <p:nvPr/>
            </p:nvSpPr>
            <p:spPr>
              <a:xfrm>
                <a:off x="7869566" y="3578281"/>
                <a:ext cx="55467" cy="57287"/>
              </a:xfrm>
              <a:custGeom>
                <a:avLst/>
                <a:gdLst>
                  <a:gd name="connsiteX0" fmla="*/ 28886 w 55467"/>
                  <a:gd name="connsiteY0" fmla="*/ 57287 h 57287"/>
                  <a:gd name="connsiteX1" fmla="*/ 27335 w 55467"/>
                  <a:gd name="connsiteY1" fmla="*/ 57187 h 57287"/>
                  <a:gd name="connsiteX2" fmla="*/ 19783 w 55467"/>
                  <a:gd name="connsiteY2" fmla="*/ 52786 h 57287"/>
                  <a:gd name="connsiteX3" fmla="*/ 2351 w 55467"/>
                  <a:gd name="connsiteY3" fmla="*/ 29978 h 57287"/>
                  <a:gd name="connsiteX4" fmla="*/ 101 w 55467"/>
                  <a:gd name="connsiteY4" fmla="*/ 21500 h 57287"/>
                  <a:gd name="connsiteX5" fmla="*/ 4502 w 55467"/>
                  <a:gd name="connsiteY5" fmla="*/ 13947 h 57287"/>
                  <a:gd name="connsiteX6" fmla="*/ 19683 w 55467"/>
                  <a:gd name="connsiteY6" fmla="*/ 2343 h 57287"/>
                  <a:gd name="connsiteX7" fmla="*/ 28136 w 55467"/>
                  <a:gd name="connsiteY7" fmla="*/ 92 h 57287"/>
                  <a:gd name="connsiteX8" fmla="*/ 35688 w 55467"/>
                  <a:gd name="connsiteY8" fmla="*/ 4494 h 57287"/>
                  <a:gd name="connsiteX9" fmla="*/ 53119 w 55467"/>
                  <a:gd name="connsiteY9" fmla="*/ 27302 h 57287"/>
                  <a:gd name="connsiteX10" fmla="*/ 50994 w 55467"/>
                  <a:gd name="connsiteY10" fmla="*/ 43332 h 57287"/>
                  <a:gd name="connsiteX11" fmla="*/ 35788 w 55467"/>
                  <a:gd name="connsiteY11" fmla="*/ 54962 h 57287"/>
                  <a:gd name="connsiteX12" fmla="*/ 28886 w 55467"/>
                  <a:gd name="connsiteY12" fmla="*/ 57287 h 57287"/>
                  <a:gd name="connsiteX13" fmla="*/ 30336 w 55467"/>
                  <a:gd name="connsiteY13" fmla="*/ 44708 h 57287"/>
                  <a:gd name="connsiteX14" fmla="*/ 30336 w 55467"/>
                  <a:gd name="connsiteY14" fmla="*/ 44708 h 57287"/>
                  <a:gd name="connsiteX15" fmla="*/ 30336 w 55467"/>
                  <a:gd name="connsiteY15" fmla="*/ 44708 h 57287"/>
                  <a:gd name="connsiteX16" fmla="*/ 30336 w 55467"/>
                  <a:gd name="connsiteY16" fmla="*/ 44708 h 57287"/>
                  <a:gd name="connsiteX17" fmla="*/ 14056 w 55467"/>
                  <a:gd name="connsiteY17" fmla="*/ 23400 h 57287"/>
                  <a:gd name="connsiteX18" fmla="*/ 29211 w 55467"/>
                  <a:gd name="connsiteY18" fmla="*/ 43232 h 57287"/>
                  <a:gd name="connsiteX19" fmla="*/ 41440 w 55467"/>
                  <a:gd name="connsiteY19" fmla="*/ 33879 h 57287"/>
                  <a:gd name="connsiteX20" fmla="*/ 26285 w 55467"/>
                  <a:gd name="connsiteY20" fmla="*/ 14047 h 57287"/>
                  <a:gd name="connsiteX21" fmla="*/ 14056 w 55467"/>
                  <a:gd name="connsiteY21" fmla="*/ 23400 h 57287"/>
                  <a:gd name="connsiteX22" fmla="*/ 12580 w 55467"/>
                  <a:gd name="connsiteY22" fmla="*/ 24526 h 57287"/>
                  <a:gd name="connsiteX23" fmla="*/ 12580 w 55467"/>
                  <a:gd name="connsiteY23" fmla="*/ 24526 h 57287"/>
                  <a:gd name="connsiteX24" fmla="*/ 12580 w 55467"/>
                  <a:gd name="connsiteY24" fmla="*/ 24526 h 5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467" h="57287">
                    <a:moveTo>
                      <a:pt x="28886" y="57287"/>
                    </a:moveTo>
                    <a:cubicBezTo>
                      <a:pt x="28386" y="57287"/>
                      <a:pt x="27861" y="57237"/>
                      <a:pt x="27335" y="57187"/>
                    </a:cubicBezTo>
                    <a:cubicBezTo>
                      <a:pt x="24309" y="56787"/>
                      <a:pt x="21633" y="55212"/>
                      <a:pt x="19783" y="52786"/>
                    </a:cubicBezTo>
                    <a:lnTo>
                      <a:pt x="2351" y="29978"/>
                    </a:lnTo>
                    <a:cubicBezTo>
                      <a:pt x="501" y="27552"/>
                      <a:pt x="-299" y="24551"/>
                      <a:pt x="101" y="21500"/>
                    </a:cubicBezTo>
                    <a:cubicBezTo>
                      <a:pt x="501" y="18474"/>
                      <a:pt x="2076" y="15798"/>
                      <a:pt x="4502" y="13947"/>
                    </a:cubicBezTo>
                    <a:lnTo>
                      <a:pt x="19683" y="2343"/>
                    </a:lnTo>
                    <a:cubicBezTo>
                      <a:pt x="22108" y="492"/>
                      <a:pt x="25085" y="-283"/>
                      <a:pt x="28136" y="92"/>
                    </a:cubicBezTo>
                    <a:cubicBezTo>
                      <a:pt x="31162" y="492"/>
                      <a:pt x="33838" y="2068"/>
                      <a:pt x="35688" y="4494"/>
                    </a:cubicBezTo>
                    <a:lnTo>
                      <a:pt x="53119" y="27302"/>
                    </a:lnTo>
                    <a:cubicBezTo>
                      <a:pt x="56946" y="32304"/>
                      <a:pt x="55996" y="39506"/>
                      <a:pt x="50994" y="43332"/>
                    </a:cubicBezTo>
                    <a:lnTo>
                      <a:pt x="35788" y="54962"/>
                    </a:lnTo>
                    <a:cubicBezTo>
                      <a:pt x="33788" y="56462"/>
                      <a:pt x="31387" y="57287"/>
                      <a:pt x="28886" y="57287"/>
                    </a:cubicBezTo>
                    <a:close/>
                    <a:moveTo>
                      <a:pt x="30336" y="44708"/>
                    </a:moveTo>
                    <a:lnTo>
                      <a:pt x="30336" y="44708"/>
                    </a:lnTo>
                    <a:lnTo>
                      <a:pt x="30336" y="44708"/>
                    </a:lnTo>
                    <a:lnTo>
                      <a:pt x="30336" y="44708"/>
                    </a:lnTo>
                    <a:close/>
                    <a:moveTo>
                      <a:pt x="14056" y="23400"/>
                    </a:moveTo>
                    <a:lnTo>
                      <a:pt x="29211" y="43232"/>
                    </a:lnTo>
                    <a:lnTo>
                      <a:pt x="41440" y="33879"/>
                    </a:lnTo>
                    <a:lnTo>
                      <a:pt x="26285" y="14047"/>
                    </a:lnTo>
                    <a:lnTo>
                      <a:pt x="14056" y="23400"/>
                    </a:lnTo>
                    <a:close/>
                    <a:moveTo>
                      <a:pt x="12580" y="24526"/>
                    </a:moveTo>
                    <a:lnTo>
                      <a:pt x="12580" y="24526"/>
                    </a:lnTo>
                    <a:lnTo>
                      <a:pt x="12580" y="24526"/>
                    </a:lnTo>
                    <a:close/>
                  </a:path>
                </a:pathLst>
              </a:custGeom>
              <a:solidFill>
                <a:schemeClr val="accent1"/>
              </a:solidFill>
              <a:ln w="2497" cap="flat">
                <a:noFill/>
                <a:prstDash val="solid"/>
                <a:miter/>
              </a:ln>
            </p:spPr>
            <p:txBody>
              <a:bodyPr rtlCol="0" anchor="ctr"/>
              <a:lstStyle/>
              <a:p>
                <a:endParaRPr lang="en-GB" dirty="0"/>
              </a:p>
            </p:txBody>
          </p:sp>
          <p:sp>
            <p:nvSpPr>
              <p:cNvPr id="394" name="Freihandform: Form 1140">
                <a:extLst>
                  <a:ext uri="{FF2B5EF4-FFF2-40B4-BE49-F238E27FC236}">
                    <a16:creationId xmlns:a16="http://schemas.microsoft.com/office/drawing/2014/main" id="{6D6D93F8-26DB-460D-B202-1B95B5050034}"/>
                  </a:ext>
                </a:extLst>
              </p:cNvPr>
              <p:cNvSpPr/>
              <p:nvPr/>
            </p:nvSpPr>
            <p:spPr>
              <a:xfrm>
                <a:off x="7893354" y="3542584"/>
                <a:ext cx="73636" cy="73652"/>
              </a:xfrm>
              <a:custGeom>
                <a:avLst/>
                <a:gdLst>
                  <a:gd name="connsiteX0" fmla="*/ 24080 w 73636"/>
                  <a:gd name="connsiteY0" fmla="*/ 73653 h 73652"/>
                  <a:gd name="connsiteX1" fmla="*/ 18803 w 73636"/>
                  <a:gd name="connsiteY1" fmla="*/ 71052 h 73652"/>
                  <a:gd name="connsiteX2" fmla="*/ 1372 w 73636"/>
                  <a:gd name="connsiteY2" fmla="*/ 48244 h 73652"/>
                  <a:gd name="connsiteX3" fmla="*/ 1147 w 73636"/>
                  <a:gd name="connsiteY3" fmla="*/ 40466 h 73652"/>
                  <a:gd name="connsiteX4" fmla="*/ 26631 w 73636"/>
                  <a:gd name="connsiteY4" fmla="*/ 2928 h 73652"/>
                  <a:gd name="connsiteX5" fmla="*/ 31933 w 73636"/>
                  <a:gd name="connsiteY5" fmla="*/ 2 h 73652"/>
                  <a:gd name="connsiteX6" fmla="*/ 37410 w 73636"/>
                  <a:gd name="connsiteY6" fmla="*/ 2603 h 73652"/>
                  <a:gd name="connsiteX7" fmla="*/ 72272 w 73636"/>
                  <a:gd name="connsiteY7" fmla="*/ 48194 h 73652"/>
                  <a:gd name="connsiteX8" fmla="*/ 73347 w 73636"/>
                  <a:gd name="connsiteY8" fmla="*/ 54146 h 73652"/>
                  <a:gd name="connsiteX9" fmla="*/ 69146 w 73636"/>
                  <a:gd name="connsiteY9" fmla="*/ 58498 h 73652"/>
                  <a:gd name="connsiteX10" fmla="*/ 26231 w 73636"/>
                  <a:gd name="connsiteY10" fmla="*/ 73253 h 73652"/>
                  <a:gd name="connsiteX11" fmla="*/ 24080 w 73636"/>
                  <a:gd name="connsiteY11" fmla="*/ 73653 h 73652"/>
                  <a:gd name="connsiteX12" fmla="*/ 14826 w 73636"/>
                  <a:gd name="connsiteY12" fmla="*/ 43967 h 73652"/>
                  <a:gd name="connsiteX13" fmla="*/ 26431 w 73636"/>
                  <a:gd name="connsiteY13" fmla="*/ 59148 h 73652"/>
                  <a:gd name="connsiteX14" fmla="*/ 56091 w 73636"/>
                  <a:gd name="connsiteY14" fmla="*/ 48944 h 73652"/>
                  <a:gd name="connsiteX15" fmla="*/ 32433 w 73636"/>
                  <a:gd name="connsiteY15" fmla="*/ 18008 h 73652"/>
                  <a:gd name="connsiteX16" fmla="*/ 14826 w 73636"/>
                  <a:gd name="connsiteY16" fmla="*/ 43967 h 7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636" h="73652">
                    <a:moveTo>
                      <a:pt x="24080" y="73653"/>
                    </a:moveTo>
                    <a:cubicBezTo>
                      <a:pt x="22054" y="73653"/>
                      <a:pt x="20079" y="72728"/>
                      <a:pt x="18803" y="71052"/>
                    </a:cubicBezTo>
                    <a:lnTo>
                      <a:pt x="1372" y="48244"/>
                    </a:lnTo>
                    <a:cubicBezTo>
                      <a:pt x="-379" y="45968"/>
                      <a:pt x="-454" y="42842"/>
                      <a:pt x="1147" y="40466"/>
                    </a:cubicBezTo>
                    <a:lnTo>
                      <a:pt x="26631" y="2928"/>
                    </a:lnTo>
                    <a:cubicBezTo>
                      <a:pt x="27831" y="1152"/>
                      <a:pt x="29807" y="77"/>
                      <a:pt x="31933" y="2"/>
                    </a:cubicBezTo>
                    <a:cubicBezTo>
                      <a:pt x="34008" y="-48"/>
                      <a:pt x="36109" y="902"/>
                      <a:pt x="37410" y="2603"/>
                    </a:cubicBezTo>
                    <a:lnTo>
                      <a:pt x="72272" y="48194"/>
                    </a:lnTo>
                    <a:cubicBezTo>
                      <a:pt x="73572" y="49895"/>
                      <a:pt x="73972" y="52120"/>
                      <a:pt x="73347" y="54146"/>
                    </a:cubicBezTo>
                    <a:cubicBezTo>
                      <a:pt x="72722" y="56197"/>
                      <a:pt x="71171" y="57822"/>
                      <a:pt x="69146" y="58498"/>
                    </a:cubicBezTo>
                    <a:lnTo>
                      <a:pt x="26231" y="73253"/>
                    </a:lnTo>
                    <a:cubicBezTo>
                      <a:pt x="25530" y="73528"/>
                      <a:pt x="24780" y="73653"/>
                      <a:pt x="24080" y="73653"/>
                    </a:cubicBezTo>
                    <a:close/>
                    <a:moveTo>
                      <a:pt x="14826" y="43967"/>
                    </a:moveTo>
                    <a:lnTo>
                      <a:pt x="26431" y="59148"/>
                    </a:lnTo>
                    <a:lnTo>
                      <a:pt x="56091" y="48944"/>
                    </a:lnTo>
                    <a:lnTo>
                      <a:pt x="32433" y="18008"/>
                    </a:lnTo>
                    <a:lnTo>
                      <a:pt x="14826" y="43967"/>
                    </a:lnTo>
                    <a:close/>
                  </a:path>
                </a:pathLst>
              </a:custGeom>
              <a:solidFill>
                <a:schemeClr val="accent1"/>
              </a:solidFill>
              <a:ln w="2497" cap="flat">
                <a:noFill/>
                <a:prstDash val="solid"/>
                <a:miter/>
              </a:ln>
            </p:spPr>
            <p:txBody>
              <a:bodyPr rtlCol="0" anchor="ctr"/>
              <a:lstStyle/>
              <a:p>
                <a:endParaRPr lang="en-GB" dirty="0"/>
              </a:p>
            </p:txBody>
          </p:sp>
          <p:sp>
            <p:nvSpPr>
              <p:cNvPr id="395" name="Freihandform: Form 1141">
                <a:extLst>
                  <a:ext uri="{FF2B5EF4-FFF2-40B4-BE49-F238E27FC236}">
                    <a16:creationId xmlns:a16="http://schemas.microsoft.com/office/drawing/2014/main" id="{D6A671C5-A5A7-47B6-A516-885C648B544D}"/>
                  </a:ext>
                </a:extLst>
              </p:cNvPr>
              <p:cNvSpPr/>
              <p:nvPr/>
            </p:nvSpPr>
            <p:spPr>
              <a:xfrm>
                <a:off x="7785130" y="3597590"/>
                <a:ext cx="116138" cy="100050"/>
              </a:xfrm>
              <a:custGeom>
                <a:avLst/>
                <a:gdLst>
                  <a:gd name="connsiteX0" fmla="*/ 21015 w 116138"/>
                  <a:gd name="connsiteY0" fmla="*/ 100050 h 100050"/>
                  <a:gd name="connsiteX1" fmla="*/ 4309 w 116138"/>
                  <a:gd name="connsiteY1" fmla="*/ 91823 h 100050"/>
                  <a:gd name="connsiteX2" fmla="*/ 4309 w 116138"/>
                  <a:gd name="connsiteY2" fmla="*/ 91823 h 100050"/>
                  <a:gd name="connsiteX3" fmla="*/ 8235 w 116138"/>
                  <a:gd name="connsiteY3" fmla="*/ 62387 h 100050"/>
                  <a:gd name="connsiteX4" fmla="*/ 88013 w 116138"/>
                  <a:gd name="connsiteY4" fmla="*/ 1365 h 100050"/>
                  <a:gd name="connsiteX5" fmla="*/ 97342 w 116138"/>
                  <a:gd name="connsiteY5" fmla="*/ 2616 h 100050"/>
                  <a:gd name="connsiteX6" fmla="*/ 114773 w 116138"/>
                  <a:gd name="connsiteY6" fmla="*/ 25424 h 100050"/>
                  <a:gd name="connsiteX7" fmla="*/ 116073 w 116138"/>
                  <a:gd name="connsiteY7" fmla="*/ 30351 h 100050"/>
                  <a:gd name="connsiteX8" fmla="*/ 113522 w 116138"/>
                  <a:gd name="connsiteY8" fmla="*/ 34752 h 100050"/>
                  <a:gd name="connsiteX9" fmla="*/ 33744 w 116138"/>
                  <a:gd name="connsiteY9" fmla="*/ 95774 h 100050"/>
                  <a:gd name="connsiteX10" fmla="*/ 21015 w 116138"/>
                  <a:gd name="connsiteY10" fmla="*/ 100050 h 100050"/>
                  <a:gd name="connsiteX11" fmla="*/ 14887 w 116138"/>
                  <a:gd name="connsiteY11" fmla="*/ 83720 h 100050"/>
                  <a:gd name="connsiteX12" fmla="*/ 25666 w 116138"/>
                  <a:gd name="connsiteY12" fmla="*/ 85145 h 100050"/>
                  <a:gd name="connsiteX13" fmla="*/ 100168 w 116138"/>
                  <a:gd name="connsiteY13" fmla="*/ 28175 h 100050"/>
                  <a:gd name="connsiteX14" fmla="*/ 90814 w 116138"/>
                  <a:gd name="connsiteY14" fmla="*/ 15946 h 100050"/>
                  <a:gd name="connsiteX15" fmla="*/ 16313 w 116138"/>
                  <a:gd name="connsiteY15" fmla="*/ 72916 h 100050"/>
                  <a:gd name="connsiteX16" fmla="*/ 14887 w 116138"/>
                  <a:gd name="connsiteY16" fmla="*/ 83720 h 100050"/>
                  <a:gd name="connsiteX17" fmla="*/ 14887 w 116138"/>
                  <a:gd name="connsiteY17" fmla="*/ 83720 h 1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138" h="100050">
                    <a:moveTo>
                      <a:pt x="21015" y="100050"/>
                    </a:moveTo>
                    <a:cubicBezTo>
                      <a:pt x="14687" y="100050"/>
                      <a:pt x="8435" y="97224"/>
                      <a:pt x="4309" y="91823"/>
                    </a:cubicBezTo>
                    <a:cubicBezTo>
                      <a:pt x="4309" y="91823"/>
                      <a:pt x="4309" y="91823"/>
                      <a:pt x="4309" y="91823"/>
                    </a:cubicBezTo>
                    <a:cubicBezTo>
                      <a:pt x="-2719" y="82619"/>
                      <a:pt x="-968" y="69415"/>
                      <a:pt x="8235" y="62387"/>
                    </a:cubicBezTo>
                    <a:lnTo>
                      <a:pt x="88013" y="1365"/>
                    </a:lnTo>
                    <a:cubicBezTo>
                      <a:pt x="90939" y="-860"/>
                      <a:pt x="95116" y="-310"/>
                      <a:pt x="97342" y="2616"/>
                    </a:cubicBezTo>
                    <a:lnTo>
                      <a:pt x="114773" y="25424"/>
                    </a:lnTo>
                    <a:cubicBezTo>
                      <a:pt x="115848" y="26825"/>
                      <a:pt x="116323" y="28600"/>
                      <a:pt x="116073" y="30351"/>
                    </a:cubicBezTo>
                    <a:cubicBezTo>
                      <a:pt x="115848" y="32101"/>
                      <a:pt x="114923" y="33677"/>
                      <a:pt x="113522" y="34752"/>
                    </a:cubicBezTo>
                    <a:lnTo>
                      <a:pt x="33744" y="95774"/>
                    </a:lnTo>
                    <a:cubicBezTo>
                      <a:pt x="29943" y="98625"/>
                      <a:pt x="25466" y="100050"/>
                      <a:pt x="21015" y="100050"/>
                    </a:cubicBezTo>
                    <a:close/>
                    <a:moveTo>
                      <a:pt x="14887" y="83720"/>
                    </a:moveTo>
                    <a:cubicBezTo>
                      <a:pt x="17463" y="87096"/>
                      <a:pt x="22315" y="87746"/>
                      <a:pt x="25666" y="85145"/>
                    </a:cubicBezTo>
                    <a:lnTo>
                      <a:pt x="100168" y="28175"/>
                    </a:lnTo>
                    <a:lnTo>
                      <a:pt x="90814" y="15946"/>
                    </a:lnTo>
                    <a:lnTo>
                      <a:pt x="16313" y="72916"/>
                    </a:lnTo>
                    <a:cubicBezTo>
                      <a:pt x="12937" y="75517"/>
                      <a:pt x="12312" y="80343"/>
                      <a:pt x="14887" y="83720"/>
                    </a:cubicBezTo>
                    <a:lnTo>
                      <a:pt x="14887" y="83720"/>
                    </a:lnTo>
                    <a:close/>
                  </a:path>
                </a:pathLst>
              </a:custGeom>
              <a:solidFill>
                <a:schemeClr val="accent1"/>
              </a:solidFill>
              <a:ln w="2497" cap="flat">
                <a:noFill/>
                <a:prstDash val="solid"/>
                <a:miter/>
              </a:ln>
            </p:spPr>
            <p:txBody>
              <a:bodyPr rtlCol="0" anchor="ctr"/>
              <a:lstStyle/>
              <a:p>
                <a:endParaRPr lang="en-GB" dirty="0"/>
              </a:p>
            </p:txBody>
          </p:sp>
        </p:grpSp>
        <p:grpSp>
          <p:nvGrpSpPr>
            <p:cNvPr id="382" name="Grafik 300">
              <a:extLst>
                <a:ext uri="{FF2B5EF4-FFF2-40B4-BE49-F238E27FC236}">
                  <a16:creationId xmlns:a16="http://schemas.microsoft.com/office/drawing/2014/main" id="{DC636025-D18A-4C5A-B290-429ED749922F}"/>
                </a:ext>
              </a:extLst>
            </p:cNvPr>
            <p:cNvGrpSpPr/>
            <p:nvPr/>
          </p:nvGrpSpPr>
          <p:grpSpPr>
            <a:xfrm>
              <a:off x="1622208" y="4002611"/>
              <a:ext cx="484341" cy="432000"/>
              <a:chOff x="7835705" y="3320257"/>
              <a:chExt cx="491999" cy="438830"/>
            </a:xfrm>
            <a:solidFill>
              <a:schemeClr val="tx2"/>
            </a:solidFill>
          </p:grpSpPr>
          <p:sp>
            <p:nvSpPr>
              <p:cNvPr id="383" name="Freihandform: Form 1143">
                <a:extLst>
                  <a:ext uri="{FF2B5EF4-FFF2-40B4-BE49-F238E27FC236}">
                    <a16:creationId xmlns:a16="http://schemas.microsoft.com/office/drawing/2014/main" id="{AEF491F4-5B06-47B9-96CA-3F011EB586CF}"/>
                  </a:ext>
                </a:extLst>
              </p:cNvPr>
              <p:cNvSpPr/>
              <p:nvPr/>
            </p:nvSpPr>
            <p:spPr>
              <a:xfrm>
                <a:off x="7895526" y="3320282"/>
                <a:ext cx="312510" cy="359027"/>
              </a:xfrm>
              <a:custGeom>
                <a:avLst/>
                <a:gdLst>
                  <a:gd name="connsiteX0" fmla="*/ 305858 w 312510"/>
                  <a:gd name="connsiteY0" fmla="*/ 359027 h 359027"/>
                  <a:gd name="connsiteX1" fmla="*/ 299206 w 312510"/>
                  <a:gd name="connsiteY1" fmla="*/ 352375 h 359027"/>
                  <a:gd name="connsiteX2" fmla="*/ 299206 w 312510"/>
                  <a:gd name="connsiteY2" fmla="*/ 66499 h 359027"/>
                  <a:gd name="connsiteX3" fmla="*/ 246012 w 312510"/>
                  <a:gd name="connsiteY3" fmla="*/ 13305 h 359027"/>
                  <a:gd name="connsiteX4" fmla="*/ 6652 w 312510"/>
                  <a:gd name="connsiteY4" fmla="*/ 13305 h 359027"/>
                  <a:gd name="connsiteX5" fmla="*/ 0 w 312510"/>
                  <a:gd name="connsiteY5" fmla="*/ 6652 h 359027"/>
                  <a:gd name="connsiteX6" fmla="*/ 6652 w 312510"/>
                  <a:gd name="connsiteY6" fmla="*/ 0 h 359027"/>
                  <a:gd name="connsiteX7" fmla="*/ 246012 w 312510"/>
                  <a:gd name="connsiteY7" fmla="*/ 0 h 359027"/>
                  <a:gd name="connsiteX8" fmla="*/ 312511 w 312510"/>
                  <a:gd name="connsiteY8" fmla="*/ 66499 h 359027"/>
                  <a:gd name="connsiteX9" fmla="*/ 312511 w 312510"/>
                  <a:gd name="connsiteY9" fmla="*/ 352400 h 359027"/>
                  <a:gd name="connsiteX10" fmla="*/ 305858 w 312510"/>
                  <a:gd name="connsiteY10" fmla="*/ 359027 h 35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2510" h="359027">
                    <a:moveTo>
                      <a:pt x="305858" y="359027"/>
                    </a:moveTo>
                    <a:cubicBezTo>
                      <a:pt x="302182" y="359027"/>
                      <a:pt x="299206" y="356051"/>
                      <a:pt x="299206" y="352375"/>
                    </a:cubicBezTo>
                    <a:lnTo>
                      <a:pt x="299206" y="66499"/>
                    </a:lnTo>
                    <a:cubicBezTo>
                      <a:pt x="299206" y="37163"/>
                      <a:pt x="275347" y="13305"/>
                      <a:pt x="246012" y="13305"/>
                    </a:cubicBezTo>
                    <a:lnTo>
                      <a:pt x="6652" y="13305"/>
                    </a:lnTo>
                    <a:cubicBezTo>
                      <a:pt x="2976" y="13305"/>
                      <a:pt x="0" y="10329"/>
                      <a:pt x="0" y="6652"/>
                    </a:cubicBezTo>
                    <a:cubicBezTo>
                      <a:pt x="0" y="2976"/>
                      <a:pt x="2976" y="0"/>
                      <a:pt x="6652" y="0"/>
                    </a:cubicBezTo>
                    <a:lnTo>
                      <a:pt x="246012" y="0"/>
                    </a:lnTo>
                    <a:cubicBezTo>
                      <a:pt x="282675" y="0"/>
                      <a:pt x="312511" y="29836"/>
                      <a:pt x="312511" y="66499"/>
                    </a:cubicBezTo>
                    <a:lnTo>
                      <a:pt x="312511" y="352400"/>
                    </a:lnTo>
                    <a:cubicBezTo>
                      <a:pt x="312486" y="356051"/>
                      <a:pt x="309535" y="359027"/>
                      <a:pt x="305858" y="359027"/>
                    </a:cubicBezTo>
                    <a:close/>
                  </a:path>
                </a:pathLst>
              </a:custGeom>
              <a:grpFill/>
              <a:ln w="2497" cap="flat">
                <a:noFill/>
                <a:prstDash val="solid"/>
                <a:miter/>
              </a:ln>
            </p:spPr>
            <p:txBody>
              <a:bodyPr rtlCol="0" anchor="ctr"/>
              <a:lstStyle/>
              <a:p>
                <a:endParaRPr lang="en-GB" dirty="0"/>
              </a:p>
            </p:txBody>
          </p:sp>
          <p:sp>
            <p:nvSpPr>
              <p:cNvPr id="384" name="Freihandform: Form 1144">
                <a:extLst>
                  <a:ext uri="{FF2B5EF4-FFF2-40B4-BE49-F238E27FC236}">
                    <a16:creationId xmlns:a16="http://schemas.microsoft.com/office/drawing/2014/main" id="{37001874-A5F0-40CB-96B0-BD3F3EA36D4C}"/>
                  </a:ext>
                </a:extLst>
              </p:cNvPr>
              <p:cNvSpPr/>
              <p:nvPr/>
            </p:nvSpPr>
            <p:spPr>
              <a:xfrm>
                <a:off x="7955347" y="3647923"/>
                <a:ext cx="372356" cy="111164"/>
              </a:xfrm>
              <a:custGeom>
                <a:avLst/>
                <a:gdLst>
                  <a:gd name="connsiteX0" fmla="*/ 305858 w 372356"/>
                  <a:gd name="connsiteY0" fmla="*/ 111164 h 111164"/>
                  <a:gd name="connsiteX1" fmla="*/ 66499 w 372356"/>
                  <a:gd name="connsiteY1" fmla="*/ 111164 h 111164"/>
                  <a:gd name="connsiteX2" fmla="*/ 0 w 372356"/>
                  <a:gd name="connsiteY2" fmla="*/ 44666 h 111164"/>
                  <a:gd name="connsiteX3" fmla="*/ 0 w 372356"/>
                  <a:gd name="connsiteY3" fmla="*/ 6652 h 111164"/>
                  <a:gd name="connsiteX4" fmla="*/ 6652 w 372356"/>
                  <a:gd name="connsiteY4" fmla="*/ 0 h 111164"/>
                  <a:gd name="connsiteX5" fmla="*/ 13305 w 372356"/>
                  <a:gd name="connsiteY5" fmla="*/ 6652 h 111164"/>
                  <a:gd name="connsiteX6" fmla="*/ 13305 w 372356"/>
                  <a:gd name="connsiteY6" fmla="*/ 44666 h 111164"/>
                  <a:gd name="connsiteX7" fmla="*/ 66499 w 372356"/>
                  <a:gd name="connsiteY7" fmla="*/ 97860 h 111164"/>
                  <a:gd name="connsiteX8" fmla="*/ 119693 w 372356"/>
                  <a:gd name="connsiteY8" fmla="*/ 44666 h 111164"/>
                  <a:gd name="connsiteX9" fmla="*/ 126345 w 372356"/>
                  <a:gd name="connsiteY9" fmla="*/ 38013 h 111164"/>
                  <a:gd name="connsiteX10" fmla="*/ 365705 w 372356"/>
                  <a:gd name="connsiteY10" fmla="*/ 38013 h 111164"/>
                  <a:gd name="connsiteX11" fmla="*/ 372357 w 372356"/>
                  <a:gd name="connsiteY11" fmla="*/ 44666 h 111164"/>
                  <a:gd name="connsiteX12" fmla="*/ 305858 w 372356"/>
                  <a:gd name="connsiteY12" fmla="*/ 111164 h 111164"/>
                  <a:gd name="connsiteX13" fmla="*/ 106363 w 372356"/>
                  <a:gd name="connsiteY13" fmla="*/ 97885 h 111164"/>
                  <a:gd name="connsiteX14" fmla="*/ 305858 w 372356"/>
                  <a:gd name="connsiteY14" fmla="*/ 97885 h 111164"/>
                  <a:gd name="connsiteX15" fmla="*/ 358627 w 372356"/>
                  <a:gd name="connsiteY15" fmla="*/ 51343 h 111164"/>
                  <a:gd name="connsiteX16" fmla="*/ 132647 w 372356"/>
                  <a:gd name="connsiteY16" fmla="*/ 51343 h 111164"/>
                  <a:gd name="connsiteX17" fmla="*/ 106363 w 372356"/>
                  <a:gd name="connsiteY17" fmla="*/ 97885 h 11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72356" h="111164">
                    <a:moveTo>
                      <a:pt x="305858" y="111164"/>
                    </a:moveTo>
                    <a:lnTo>
                      <a:pt x="66499" y="111164"/>
                    </a:lnTo>
                    <a:cubicBezTo>
                      <a:pt x="29836" y="111164"/>
                      <a:pt x="0" y="81329"/>
                      <a:pt x="0" y="44666"/>
                    </a:cubicBezTo>
                    <a:lnTo>
                      <a:pt x="0" y="6652"/>
                    </a:lnTo>
                    <a:cubicBezTo>
                      <a:pt x="0" y="2976"/>
                      <a:pt x="2976" y="0"/>
                      <a:pt x="6652" y="0"/>
                    </a:cubicBezTo>
                    <a:cubicBezTo>
                      <a:pt x="10329" y="0"/>
                      <a:pt x="13305" y="2976"/>
                      <a:pt x="13305" y="6652"/>
                    </a:cubicBezTo>
                    <a:lnTo>
                      <a:pt x="13305" y="44666"/>
                    </a:lnTo>
                    <a:cubicBezTo>
                      <a:pt x="13305" y="74001"/>
                      <a:pt x="37163" y="97860"/>
                      <a:pt x="66499" y="97860"/>
                    </a:cubicBezTo>
                    <a:cubicBezTo>
                      <a:pt x="95834" y="97860"/>
                      <a:pt x="119693" y="74001"/>
                      <a:pt x="119693" y="44666"/>
                    </a:cubicBezTo>
                    <a:cubicBezTo>
                      <a:pt x="119693" y="40990"/>
                      <a:pt x="122669" y="38013"/>
                      <a:pt x="126345" y="38013"/>
                    </a:cubicBezTo>
                    <a:lnTo>
                      <a:pt x="365705" y="38013"/>
                    </a:lnTo>
                    <a:cubicBezTo>
                      <a:pt x="369381" y="38013"/>
                      <a:pt x="372357" y="40990"/>
                      <a:pt x="372357" y="44666"/>
                    </a:cubicBezTo>
                    <a:cubicBezTo>
                      <a:pt x="372357" y="81354"/>
                      <a:pt x="342522" y="111164"/>
                      <a:pt x="305858" y="111164"/>
                    </a:cubicBezTo>
                    <a:close/>
                    <a:moveTo>
                      <a:pt x="106363" y="97885"/>
                    </a:moveTo>
                    <a:lnTo>
                      <a:pt x="305858" y="97885"/>
                    </a:lnTo>
                    <a:cubicBezTo>
                      <a:pt x="332943" y="97885"/>
                      <a:pt x="355351" y="77552"/>
                      <a:pt x="358627" y="51343"/>
                    </a:cubicBezTo>
                    <a:lnTo>
                      <a:pt x="132647" y="51343"/>
                    </a:lnTo>
                    <a:cubicBezTo>
                      <a:pt x="130771" y="70325"/>
                      <a:pt x="120868" y="86981"/>
                      <a:pt x="106363" y="97885"/>
                    </a:cubicBezTo>
                    <a:close/>
                  </a:path>
                </a:pathLst>
              </a:custGeom>
              <a:grpFill/>
              <a:ln w="2497" cap="flat">
                <a:noFill/>
                <a:prstDash val="solid"/>
                <a:miter/>
              </a:ln>
            </p:spPr>
            <p:txBody>
              <a:bodyPr rtlCol="0" anchor="ctr"/>
              <a:lstStyle/>
              <a:p>
                <a:endParaRPr lang="en-GB" dirty="0"/>
              </a:p>
            </p:txBody>
          </p:sp>
          <p:sp>
            <p:nvSpPr>
              <p:cNvPr id="385" name="Freihandform: Form 1145">
                <a:extLst>
                  <a:ext uri="{FF2B5EF4-FFF2-40B4-BE49-F238E27FC236}">
                    <a16:creationId xmlns:a16="http://schemas.microsoft.com/office/drawing/2014/main" id="{EAC292DC-CD48-4E1F-8EC4-33FB4C057A6E}"/>
                  </a:ext>
                </a:extLst>
              </p:cNvPr>
              <p:cNvSpPr/>
              <p:nvPr/>
            </p:nvSpPr>
            <p:spPr>
              <a:xfrm>
                <a:off x="7835705" y="3320257"/>
                <a:ext cx="132972" cy="114915"/>
              </a:xfrm>
              <a:custGeom>
                <a:avLst/>
                <a:gdLst>
                  <a:gd name="connsiteX0" fmla="*/ 126320 w 132972"/>
                  <a:gd name="connsiteY0" fmla="*/ 114916 h 114915"/>
                  <a:gd name="connsiteX1" fmla="*/ 119667 w 132972"/>
                  <a:gd name="connsiteY1" fmla="*/ 108263 h 114915"/>
                  <a:gd name="connsiteX2" fmla="*/ 119667 w 132972"/>
                  <a:gd name="connsiteY2" fmla="*/ 73151 h 114915"/>
                  <a:gd name="connsiteX3" fmla="*/ 6652 w 132972"/>
                  <a:gd name="connsiteY3" fmla="*/ 73151 h 114915"/>
                  <a:gd name="connsiteX4" fmla="*/ 0 w 132972"/>
                  <a:gd name="connsiteY4" fmla="*/ 66499 h 114915"/>
                  <a:gd name="connsiteX5" fmla="*/ 66474 w 132972"/>
                  <a:gd name="connsiteY5" fmla="*/ 0 h 114915"/>
                  <a:gd name="connsiteX6" fmla="*/ 132972 w 132972"/>
                  <a:gd name="connsiteY6" fmla="*/ 66499 h 114915"/>
                  <a:gd name="connsiteX7" fmla="*/ 132972 w 132972"/>
                  <a:gd name="connsiteY7" fmla="*/ 108263 h 114915"/>
                  <a:gd name="connsiteX8" fmla="*/ 126320 w 132972"/>
                  <a:gd name="connsiteY8" fmla="*/ 114916 h 114915"/>
                  <a:gd name="connsiteX9" fmla="*/ 13705 w 132972"/>
                  <a:gd name="connsiteY9" fmla="*/ 59871 h 114915"/>
                  <a:gd name="connsiteX10" fmla="*/ 119242 w 132972"/>
                  <a:gd name="connsiteY10" fmla="*/ 59871 h 114915"/>
                  <a:gd name="connsiteX11" fmla="*/ 66474 w 132972"/>
                  <a:gd name="connsiteY11" fmla="*/ 13330 h 114915"/>
                  <a:gd name="connsiteX12" fmla="*/ 13705 w 132972"/>
                  <a:gd name="connsiteY12" fmla="*/ 59871 h 114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972" h="114915">
                    <a:moveTo>
                      <a:pt x="126320" y="114916"/>
                    </a:moveTo>
                    <a:cubicBezTo>
                      <a:pt x="122644" y="114916"/>
                      <a:pt x="119667" y="111940"/>
                      <a:pt x="119667" y="108263"/>
                    </a:cubicBezTo>
                    <a:lnTo>
                      <a:pt x="119667" y="73151"/>
                    </a:lnTo>
                    <a:lnTo>
                      <a:pt x="6652" y="73151"/>
                    </a:lnTo>
                    <a:cubicBezTo>
                      <a:pt x="2976" y="73151"/>
                      <a:pt x="0" y="70175"/>
                      <a:pt x="0" y="66499"/>
                    </a:cubicBezTo>
                    <a:cubicBezTo>
                      <a:pt x="0" y="29836"/>
                      <a:pt x="29836" y="0"/>
                      <a:pt x="66474" y="0"/>
                    </a:cubicBezTo>
                    <a:cubicBezTo>
                      <a:pt x="103137" y="0"/>
                      <a:pt x="132972" y="29836"/>
                      <a:pt x="132972" y="66499"/>
                    </a:cubicBezTo>
                    <a:lnTo>
                      <a:pt x="132972" y="108263"/>
                    </a:lnTo>
                    <a:cubicBezTo>
                      <a:pt x="132972" y="111965"/>
                      <a:pt x="129996" y="114916"/>
                      <a:pt x="126320" y="114916"/>
                    </a:cubicBezTo>
                    <a:close/>
                    <a:moveTo>
                      <a:pt x="13705" y="59871"/>
                    </a:moveTo>
                    <a:lnTo>
                      <a:pt x="119242" y="59871"/>
                    </a:lnTo>
                    <a:cubicBezTo>
                      <a:pt x="115966" y="33662"/>
                      <a:pt x="93533" y="13330"/>
                      <a:pt x="66474" y="13330"/>
                    </a:cubicBezTo>
                    <a:cubicBezTo>
                      <a:pt x="39414" y="13330"/>
                      <a:pt x="16981" y="33662"/>
                      <a:pt x="13705" y="59871"/>
                    </a:cubicBezTo>
                    <a:close/>
                  </a:path>
                </a:pathLst>
              </a:custGeom>
              <a:grpFill/>
              <a:ln w="2497" cap="flat">
                <a:noFill/>
                <a:prstDash val="solid"/>
                <a:miter/>
              </a:ln>
            </p:spPr>
            <p:txBody>
              <a:bodyPr rtlCol="0" anchor="ctr"/>
              <a:lstStyle/>
              <a:p>
                <a:endParaRPr lang="en-GB" dirty="0"/>
              </a:p>
            </p:txBody>
          </p:sp>
          <p:sp>
            <p:nvSpPr>
              <p:cNvPr id="386" name="Freihandform: Form 1146">
                <a:extLst>
                  <a:ext uri="{FF2B5EF4-FFF2-40B4-BE49-F238E27FC236}">
                    <a16:creationId xmlns:a16="http://schemas.microsoft.com/office/drawing/2014/main" id="{40D5BAD6-3018-4B66-87FA-4A0FCC1DE74B}"/>
                  </a:ext>
                </a:extLst>
              </p:cNvPr>
              <p:cNvSpPr/>
              <p:nvPr/>
            </p:nvSpPr>
            <p:spPr>
              <a:xfrm>
                <a:off x="8028498" y="3426670"/>
                <a:ext cx="106387" cy="13304"/>
              </a:xfrm>
              <a:custGeom>
                <a:avLst/>
                <a:gdLst>
                  <a:gd name="connsiteX0" fmla="*/ 99735 w 106387"/>
                  <a:gd name="connsiteY0" fmla="*/ 13305 h 13304"/>
                  <a:gd name="connsiteX1" fmla="*/ 6652 w 106387"/>
                  <a:gd name="connsiteY1" fmla="*/ 13305 h 13304"/>
                  <a:gd name="connsiteX2" fmla="*/ 0 w 106387"/>
                  <a:gd name="connsiteY2" fmla="*/ 6652 h 13304"/>
                  <a:gd name="connsiteX3" fmla="*/ 6652 w 106387"/>
                  <a:gd name="connsiteY3" fmla="*/ 0 h 13304"/>
                  <a:gd name="connsiteX4" fmla="*/ 99735 w 106387"/>
                  <a:gd name="connsiteY4" fmla="*/ 0 h 13304"/>
                  <a:gd name="connsiteX5" fmla="*/ 106388 w 106387"/>
                  <a:gd name="connsiteY5" fmla="*/ 6652 h 13304"/>
                  <a:gd name="connsiteX6" fmla="*/ 99735 w 106387"/>
                  <a:gd name="connsiteY6" fmla="*/ 13305 h 1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387" h="13304">
                    <a:moveTo>
                      <a:pt x="99735" y="13305"/>
                    </a:moveTo>
                    <a:lnTo>
                      <a:pt x="6652" y="13305"/>
                    </a:lnTo>
                    <a:cubicBezTo>
                      <a:pt x="2976" y="13305"/>
                      <a:pt x="0" y="10329"/>
                      <a:pt x="0" y="6652"/>
                    </a:cubicBezTo>
                    <a:cubicBezTo>
                      <a:pt x="0" y="2976"/>
                      <a:pt x="2976" y="0"/>
                      <a:pt x="6652" y="0"/>
                    </a:cubicBezTo>
                    <a:lnTo>
                      <a:pt x="99735" y="0"/>
                    </a:lnTo>
                    <a:cubicBezTo>
                      <a:pt x="103412" y="0"/>
                      <a:pt x="106388" y="2976"/>
                      <a:pt x="106388" y="6652"/>
                    </a:cubicBezTo>
                    <a:cubicBezTo>
                      <a:pt x="106388" y="10329"/>
                      <a:pt x="103412" y="13305"/>
                      <a:pt x="99735" y="13305"/>
                    </a:cubicBezTo>
                    <a:close/>
                  </a:path>
                </a:pathLst>
              </a:custGeom>
              <a:grpFill/>
              <a:ln w="2497" cap="flat">
                <a:noFill/>
                <a:prstDash val="solid"/>
                <a:miter/>
              </a:ln>
            </p:spPr>
            <p:txBody>
              <a:bodyPr rtlCol="0" anchor="ctr"/>
              <a:lstStyle/>
              <a:p>
                <a:endParaRPr lang="en-GB" dirty="0"/>
              </a:p>
            </p:txBody>
          </p:sp>
          <p:sp>
            <p:nvSpPr>
              <p:cNvPr id="387" name="Freihandform: Form 1147">
                <a:extLst>
                  <a:ext uri="{FF2B5EF4-FFF2-40B4-BE49-F238E27FC236}">
                    <a16:creationId xmlns:a16="http://schemas.microsoft.com/office/drawing/2014/main" id="{CBA47775-86D0-4376-AA9A-B7721C01EFB2}"/>
                  </a:ext>
                </a:extLst>
              </p:cNvPr>
              <p:cNvSpPr/>
              <p:nvPr/>
            </p:nvSpPr>
            <p:spPr>
              <a:xfrm>
                <a:off x="8008566" y="3639420"/>
                <a:ext cx="152929" cy="13304"/>
              </a:xfrm>
              <a:custGeom>
                <a:avLst/>
                <a:gdLst>
                  <a:gd name="connsiteX0" fmla="*/ 146277 w 152929"/>
                  <a:gd name="connsiteY0" fmla="*/ 13305 h 13304"/>
                  <a:gd name="connsiteX1" fmla="*/ 6652 w 152929"/>
                  <a:gd name="connsiteY1" fmla="*/ 13305 h 13304"/>
                  <a:gd name="connsiteX2" fmla="*/ 0 w 152929"/>
                  <a:gd name="connsiteY2" fmla="*/ 6652 h 13304"/>
                  <a:gd name="connsiteX3" fmla="*/ 6652 w 152929"/>
                  <a:gd name="connsiteY3" fmla="*/ 0 h 13304"/>
                  <a:gd name="connsiteX4" fmla="*/ 146277 w 152929"/>
                  <a:gd name="connsiteY4" fmla="*/ 0 h 13304"/>
                  <a:gd name="connsiteX5" fmla="*/ 152929 w 152929"/>
                  <a:gd name="connsiteY5" fmla="*/ 6652 h 13304"/>
                  <a:gd name="connsiteX6" fmla="*/ 146277 w 152929"/>
                  <a:gd name="connsiteY6" fmla="*/ 13305 h 1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929" h="13304">
                    <a:moveTo>
                      <a:pt x="146277" y="13305"/>
                    </a:moveTo>
                    <a:lnTo>
                      <a:pt x="6652" y="13305"/>
                    </a:lnTo>
                    <a:cubicBezTo>
                      <a:pt x="2976" y="13305"/>
                      <a:pt x="0" y="10329"/>
                      <a:pt x="0" y="6652"/>
                    </a:cubicBezTo>
                    <a:cubicBezTo>
                      <a:pt x="0" y="2976"/>
                      <a:pt x="2976" y="0"/>
                      <a:pt x="6652" y="0"/>
                    </a:cubicBezTo>
                    <a:lnTo>
                      <a:pt x="146277" y="0"/>
                    </a:lnTo>
                    <a:cubicBezTo>
                      <a:pt x="149953" y="0"/>
                      <a:pt x="152929" y="2976"/>
                      <a:pt x="152929" y="6652"/>
                    </a:cubicBezTo>
                    <a:cubicBezTo>
                      <a:pt x="152904" y="10329"/>
                      <a:pt x="149953" y="13305"/>
                      <a:pt x="146277" y="13305"/>
                    </a:cubicBezTo>
                    <a:close/>
                  </a:path>
                </a:pathLst>
              </a:custGeom>
              <a:grpFill/>
              <a:ln w="2497" cap="flat">
                <a:noFill/>
                <a:prstDash val="solid"/>
                <a:miter/>
              </a:ln>
            </p:spPr>
            <p:txBody>
              <a:bodyPr rtlCol="0" anchor="ctr"/>
              <a:lstStyle/>
              <a:p>
                <a:endParaRPr lang="en-GB" dirty="0"/>
              </a:p>
            </p:txBody>
          </p:sp>
          <p:sp>
            <p:nvSpPr>
              <p:cNvPr id="388" name="Freihandform: Form 1148">
                <a:extLst>
                  <a:ext uri="{FF2B5EF4-FFF2-40B4-BE49-F238E27FC236}">
                    <a16:creationId xmlns:a16="http://schemas.microsoft.com/office/drawing/2014/main" id="{5A807256-F833-435A-B0D4-BC6A46EBBCB2}"/>
                  </a:ext>
                </a:extLst>
              </p:cNvPr>
              <p:cNvSpPr/>
              <p:nvPr/>
            </p:nvSpPr>
            <p:spPr>
              <a:xfrm>
                <a:off x="8068412" y="3586226"/>
                <a:ext cx="93082" cy="13304"/>
              </a:xfrm>
              <a:custGeom>
                <a:avLst/>
                <a:gdLst>
                  <a:gd name="connsiteX0" fmla="*/ 86430 w 93082"/>
                  <a:gd name="connsiteY0" fmla="*/ 13305 h 13304"/>
                  <a:gd name="connsiteX1" fmla="*/ 6652 w 93082"/>
                  <a:gd name="connsiteY1" fmla="*/ 13305 h 13304"/>
                  <a:gd name="connsiteX2" fmla="*/ 0 w 93082"/>
                  <a:gd name="connsiteY2" fmla="*/ 6652 h 13304"/>
                  <a:gd name="connsiteX3" fmla="*/ 6652 w 93082"/>
                  <a:gd name="connsiteY3" fmla="*/ 0 h 13304"/>
                  <a:gd name="connsiteX4" fmla="*/ 86430 w 93082"/>
                  <a:gd name="connsiteY4" fmla="*/ 0 h 13304"/>
                  <a:gd name="connsiteX5" fmla="*/ 93083 w 93082"/>
                  <a:gd name="connsiteY5" fmla="*/ 6652 h 13304"/>
                  <a:gd name="connsiteX6" fmla="*/ 86430 w 93082"/>
                  <a:gd name="connsiteY6" fmla="*/ 13305 h 1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082" h="13304">
                    <a:moveTo>
                      <a:pt x="86430" y="13305"/>
                    </a:moveTo>
                    <a:lnTo>
                      <a:pt x="6652" y="13305"/>
                    </a:lnTo>
                    <a:cubicBezTo>
                      <a:pt x="2976" y="13305"/>
                      <a:pt x="0" y="10329"/>
                      <a:pt x="0" y="6652"/>
                    </a:cubicBezTo>
                    <a:cubicBezTo>
                      <a:pt x="0" y="2976"/>
                      <a:pt x="2976" y="0"/>
                      <a:pt x="6652" y="0"/>
                    </a:cubicBezTo>
                    <a:lnTo>
                      <a:pt x="86430" y="0"/>
                    </a:lnTo>
                    <a:cubicBezTo>
                      <a:pt x="90107" y="0"/>
                      <a:pt x="93083" y="2976"/>
                      <a:pt x="93083" y="6652"/>
                    </a:cubicBezTo>
                    <a:cubicBezTo>
                      <a:pt x="93058" y="10329"/>
                      <a:pt x="90107" y="13305"/>
                      <a:pt x="86430" y="13305"/>
                    </a:cubicBezTo>
                    <a:close/>
                  </a:path>
                </a:pathLst>
              </a:custGeom>
              <a:grpFill/>
              <a:ln w="2497" cap="flat">
                <a:noFill/>
                <a:prstDash val="solid"/>
                <a:miter/>
              </a:ln>
            </p:spPr>
            <p:txBody>
              <a:bodyPr rtlCol="0" anchor="ctr"/>
              <a:lstStyle/>
              <a:p>
                <a:endParaRPr lang="en-GB" dirty="0"/>
              </a:p>
            </p:txBody>
          </p:sp>
          <p:sp>
            <p:nvSpPr>
              <p:cNvPr id="389" name="Freihandform: Form 1149">
                <a:extLst>
                  <a:ext uri="{FF2B5EF4-FFF2-40B4-BE49-F238E27FC236}">
                    <a16:creationId xmlns:a16="http://schemas.microsoft.com/office/drawing/2014/main" id="{79A625B9-B244-472F-845E-5ED25F17D53C}"/>
                  </a:ext>
                </a:extLst>
              </p:cNvPr>
              <p:cNvSpPr/>
              <p:nvPr/>
            </p:nvSpPr>
            <p:spPr>
              <a:xfrm>
                <a:off x="8048455" y="3533032"/>
                <a:ext cx="113039" cy="13304"/>
              </a:xfrm>
              <a:custGeom>
                <a:avLst/>
                <a:gdLst>
                  <a:gd name="connsiteX0" fmla="*/ 106387 w 113039"/>
                  <a:gd name="connsiteY0" fmla="*/ 13305 h 13304"/>
                  <a:gd name="connsiteX1" fmla="*/ 6652 w 113039"/>
                  <a:gd name="connsiteY1" fmla="*/ 13305 h 13304"/>
                  <a:gd name="connsiteX2" fmla="*/ 0 w 113039"/>
                  <a:gd name="connsiteY2" fmla="*/ 6652 h 13304"/>
                  <a:gd name="connsiteX3" fmla="*/ 6652 w 113039"/>
                  <a:gd name="connsiteY3" fmla="*/ 0 h 13304"/>
                  <a:gd name="connsiteX4" fmla="*/ 106387 w 113039"/>
                  <a:gd name="connsiteY4" fmla="*/ 0 h 13304"/>
                  <a:gd name="connsiteX5" fmla="*/ 113040 w 113039"/>
                  <a:gd name="connsiteY5" fmla="*/ 6652 h 13304"/>
                  <a:gd name="connsiteX6" fmla="*/ 106387 w 113039"/>
                  <a:gd name="connsiteY6" fmla="*/ 13305 h 13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039" h="13304">
                    <a:moveTo>
                      <a:pt x="106387" y="13305"/>
                    </a:moveTo>
                    <a:lnTo>
                      <a:pt x="6652" y="13305"/>
                    </a:lnTo>
                    <a:cubicBezTo>
                      <a:pt x="2976" y="13305"/>
                      <a:pt x="0" y="10329"/>
                      <a:pt x="0" y="6652"/>
                    </a:cubicBezTo>
                    <a:cubicBezTo>
                      <a:pt x="0" y="2976"/>
                      <a:pt x="2976" y="0"/>
                      <a:pt x="6652" y="0"/>
                    </a:cubicBezTo>
                    <a:lnTo>
                      <a:pt x="106387" y="0"/>
                    </a:lnTo>
                    <a:cubicBezTo>
                      <a:pt x="110064" y="0"/>
                      <a:pt x="113040" y="2976"/>
                      <a:pt x="113040" y="6652"/>
                    </a:cubicBezTo>
                    <a:cubicBezTo>
                      <a:pt x="113015" y="10329"/>
                      <a:pt x="110064" y="13305"/>
                      <a:pt x="106387" y="13305"/>
                    </a:cubicBezTo>
                    <a:close/>
                  </a:path>
                </a:pathLst>
              </a:custGeom>
              <a:grpFill/>
              <a:ln w="2497" cap="flat">
                <a:noFill/>
                <a:prstDash val="solid"/>
                <a:miter/>
              </a:ln>
            </p:spPr>
            <p:txBody>
              <a:bodyPr rtlCol="0" anchor="ctr"/>
              <a:lstStyle/>
              <a:p>
                <a:endParaRPr lang="en-GB" dirty="0"/>
              </a:p>
            </p:txBody>
          </p:sp>
        </p:grpSp>
      </p:grpSp>
      <p:grpSp>
        <p:nvGrpSpPr>
          <p:cNvPr id="252" name="Group 251">
            <a:extLst>
              <a:ext uri="{FF2B5EF4-FFF2-40B4-BE49-F238E27FC236}">
                <a16:creationId xmlns:a16="http://schemas.microsoft.com/office/drawing/2014/main" id="{AFAC291B-9D53-F337-AE06-1E8CDD86BCA8}"/>
              </a:ext>
            </a:extLst>
          </p:cNvPr>
          <p:cNvGrpSpPr/>
          <p:nvPr/>
        </p:nvGrpSpPr>
        <p:grpSpPr>
          <a:xfrm>
            <a:off x="2668918" y="4002611"/>
            <a:ext cx="432000" cy="432000"/>
            <a:chOff x="2668918" y="4002611"/>
            <a:chExt cx="432000" cy="432000"/>
          </a:xfrm>
        </p:grpSpPr>
        <p:grpSp>
          <p:nvGrpSpPr>
            <p:cNvPr id="397" name="Gruppieren 1188">
              <a:extLst>
                <a:ext uri="{FF2B5EF4-FFF2-40B4-BE49-F238E27FC236}">
                  <a16:creationId xmlns:a16="http://schemas.microsoft.com/office/drawing/2014/main" id="{1B4E24D2-EDBB-4183-8E08-3A06650520E3}"/>
                </a:ext>
              </a:extLst>
            </p:cNvPr>
            <p:cNvGrpSpPr/>
            <p:nvPr/>
          </p:nvGrpSpPr>
          <p:grpSpPr>
            <a:xfrm>
              <a:off x="2668918" y="4002611"/>
              <a:ext cx="432000" cy="432000"/>
              <a:chOff x="905768" y="4103476"/>
              <a:chExt cx="434696" cy="434696"/>
            </a:xfrm>
            <a:solidFill>
              <a:schemeClr val="tx2"/>
            </a:solidFill>
          </p:grpSpPr>
          <p:grpSp>
            <p:nvGrpSpPr>
              <p:cNvPr id="409" name="Grafik 212">
                <a:extLst>
                  <a:ext uri="{FF2B5EF4-FFF2-40B4-BE49-F238E27FC236}">
                    <a16:creationId xmlns:a16="http://schemas.microsoft.com/office/drawing/2014/main" id="{204FC3A7-987E-456A-85A7-88E2500F583C}"/>
                  </a:ext>
                </a:extLst>
              </p:cNvPr>
              <p:cNvGrpSpPr/>
              <p:nvPr/>
            </p:nvGrpSpPr>
            <p:grpSpPr>
              <a:xfrm>
                <a:off x="905768" y="4103476"/>
                <a:ext cx="434696" cy="434696"/>
                <a:chOff x="905768" y="4103476"/>
                <a:chExt cx="434696" cy="434696"/>
              </a:xfrm>
              <a:grpFill/>
            </p:grpSpPr>
            <p:sp>
              <p:nvSpPr>
                <p:cNvPr id="412" name="Freihandform: Form 510">
                  <a:extLst>
                    <a:ext uri="{FF2B5EF4-FFF2-40B4-BE49-F238E27FC236}">
                      <a16:creationId xmlns:a16="http://schemas.microsoft.com/office/drawing/2014/main" id="{877C1E23-82E0-4A2E-9F89-0B6B9BEE6AEC}"/>
                    </a:ext>
                  </a:extLst>
                </p:cNvPr>
                <p:cNvSpPr/>
                <p:nvPr/>
              </p:nvSpPr>
              <p:spPr>
                <a:xfrm>
                  <a:off x="967465" y="4103476"/>
                  <a:ext cx="372999" cy="434696"/>
                </a:xfrm>
                <a:custGeom>
                  <a:avLst/>
                  <a:gdLst>
                    <a:gd name="connsiteX0" fmla="*/ 155651 w 372999"/>
                    <a:gd name="connsiteY0" fmla="*/ 434697 h 434696"/>
                    <a:gd name="connsiteX1" fmla="*/ 1926 w 372999"/>
                    <a:gd name="connsiteY1" fmla="*/ 371007 h 434696"/>
                    <a:gd name="connsiteX2" fmla="*/ 1926 w 372999"/>
                    <a:gd name="connsiteY2" fmla="*/ 361720 h 434696"/>
                    <a:gd name="connsiteX3" fmla="*/ 44540 w 372999"/>
                    <a:gd name="connsiteY3" fmla="*/ 319173 h 434696"/>
                    <a:gd name="connsiteX4" fmla="*/ 53827 w 372999"/>
                    <a:gd name="connsiteY4" fmla="*/ 319173 h 434696"/>
                    <a:gd name="connsiteX5" fmla="*/ 155651 w 372999"/>
                    <a:gd name="connsiteY5" fmla="*/ 361325 h 434696"/>
                    <a:gd name="connsiteX6" fmla="*/ 299628 w 372999"/>
                    <a:gd name="connsiteY6" fmla="*/ 217348 h 434696"/>
                    <a:gd name="connsiteX7" fmla="*/ 155651 w 372999"/>
                    <a:gd name="connsiteY7" fmla="*/ 73371 h 434696"/>
                    <a:gd name="connsiteX8" fmla="*/ 149065 w 372999"/>
                    <a:gd name="connsiteY8" fmla="*/ 66785 h 434696"/>
                    <a:gd name="connsiteX9" fmla="*/ 149065 w 372999"/>
                    <a:gd name="connsiteY9" fmla="*/ 6586 h 434696"/>
                    <a:gd name="connsiteX10" fmla="*/ 155651 w 372999"/>
                    <a:gd name="connsiteY10" fmla="*/ 0 h 434696"/>
                    <a:gd name="connsiteX11" fmla="*/ 373000 w 372999"/>
                    <a:gd name="connsiteY11" fmla="*/ 217348 h 434696"/>
                    <a:gd name="connsiteX12" fmla="*/ 155651 w 372999"/>
                    <a:gd name="connsiteY12" fmla="*/ 434697 h 434696"/>
                    <a:gd name="connsiteX13" fmla="*/ 15955 w 372999"/>
                    <a:gd name="connsiteY13" fmla="*/ 366265 h 434696"/>
                    <a:gd name="connsiteX14" fmla="*/ 155585 w 372999"/>
                    <a:gd name="connsiteY14" fmla="*/ 421524 h 434696"/>
                    <a:gd name="connsiteX15" fmla="*/ 359761 w 372999"/>
                    <a:gd name="connsiteY15" fmla="*/ 217348 h 434696"/>
                    <a:gd name="connsiteX16" fmla="*/ 162172 w 372999"/>
                    <a:gd name="connsiteY16" fmla="*/ 13304 h 434696"/>
                    <a:gd name="connsiteX17" fmla="*/ 162172 w 372999"/>
                    <a:gd name="connsiteY17" fmla="*/ 60396 h 434696"/>
                    <a:gd name="connsiteX18" fmla="*/ 312735 w 372999"/>
                    <a:gd name="connsiteY18" fmla="*/ 217414 h 434696"/>
                    <a:gd name="connsiteX19" fmla="*/ 155585 w 372999"/>
                    <a:gd name="connsiteY19" fmla="*/ 374564 h 434696"/>
                    <a:gd name="connsiteX20" fmla="*/ 49216 w 372999"/>
                    <a:gd name="connsiteY20" fmla="*/ 333070 h 434696"/>
                    <a:gd name="connsiteX21" fmla="*/ 15955 w 372999"/>
                    <a:gd name="connsiteY21" fmla="*/ 366265 h 43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72999" h="434696">
                      <a:moveTo>
                        <a:pt x="155651" y="434697"/>
                      </a:moveTo>
                      <a:cubicBezTo>
                        <a:pt x="97560" y="434697"/>
                        <a:pt x="43025" y="412106"/>
                        <a:pt x="1926" y="371007"/>
                      </a:cubicBezTo>
                      <a:cubicBezTo>
                        <a:pt x="-642" y="368439"/>
                        <a:pt x="-642" y="364289"/>
                        <a:pt x="1926" y="361720"/>
                      </a:cubicBezTo>
                      <a:lnTo>
                        <a:pt x="44540" y="319173"/>
                      </a:lnTo>
                      <a:cubicBezTo>
                        <a:pt x="47109" y="316604"/>
                        <a:pt x="51258" y="316604"/>
                        <a:pt x="53827" y="319173"/>
                      </a:cubicBezTo>
                      <a:cubicBezTo>
                        <a:pt x="81028" y="346374"/>
                        <a:pt x="117187" y="361325"/>
                        <a:pt x="155651" y="361325"/>
                      </a:cubicBezTo>
                      <a:cubicBezTo>
                        <a:pt x="235016" y="361325"/>
                        <a:pt x="299628" y="296714"/>
                        <a:pt x="299628" y="217348"/>
                      </a:cubicBezTo>
                      <a:cubicBezTo>
                        <a:pt x="299628" y="137983"/>
                        <a:pt x="235016" y="73371"/>
                        <a:pt x="155651" y="73371"/>
                      </a:cubicBezTo>
                      <a:cubicBezTo>
                        <a:pt x="152029" y="73371"/>
                        <a:pt x="149065" y="70408"/>
                        <a:pt x="149065" y="66785"/>
                      </a:cubicBezTo>
                      <a:lnTo>
                        <a:pt x="149065" y="6586"/>
                      </a:lnTo>
                      <a:cubicBezTo>
                        <a:pt x="149065" y="2964"/>
                        <a:pt x="152029" y="0"/>
                        <a:pt x="155651" y="0"/>
                      </a:cubicBezTo>
                      <a:cubicBezTo>
                        <a:pt x="275522" y="0"/>
                        <a:pt x="373000" y="97477"/>
                        <a:pt x="373000" y="217348"/>
                      </a:cubicBezTo>
                      <a:cubicBezTo>
                        <a:pt x="373000" y="337219"/>
                        <a:pt x="275456" y="434697"/>
                        <a:pt x="155651" y="434697"/>
                      </a:cubicBezTo>
                      <a:close/>
                      <a:moveTo>
                        <a:pt x="15955" y="366265"/>
                      </a:moveTo>
                      <a:cubicBezTo>
                        <a:pt x="53958" y="401963"/>
                        <a:pt x="103290" y="421524"/>
                        <a:pt x="155585" y="421524"/>
                      </a:cubicBezTo>
                      <a:cubicBezTo>
                        <a:pt x="268145" y="421524"/>
                        <a:pt x="359761" y="329909"/>
                        <a:pt x="359761" y="217348"/>
                      </a:cubicBezTo>
                      <a:cubicBezTo>
                        <a:pt x="359761" y="106962"/>
                        <a:pt x="271702" y="16795"/>
                        <a:pt x="162172" y="13304"/>
                      </a:cubicBezTo>
                      <a:lnTo>
                        <a:pt x="162172" y="60396"/>
                      </a:lnTo>
                      <a:cubicBezTo>
                        <a:pt x="245752" y="63887"/>
                        <a:pt x="312735" y="132978"/>
                        <a:pt x="312735" y="217414"/>
                      </a:cubicBezTo>
                      <a:cubicBezTo>
                        <a:pt x="312735" y="304090"/>
                        <a:pt x="242261" y="374564"/>
                        <a:pt x="155585" y="374564"/>
                      </a:cubicBezTo>
                      <a:cubicBezTo>
                        <a:pt x="115804" y="374564"/>
                        <a:pt x="78328" y="359876"/>
                        <a:pt x="49216" y="333070"/>
                      </a:cubicBezTo>
                      <a:lnTo>
                        <a:pt x="15955" y="366265"/>
                      </a:lnTo>
                      <a:close/>
                    </a:path>
                  </a:pathLst>
                </a:custGeom>
                <a:grpFill/>
                <a:ln w="6578" cap="flat">
                  <a:noFill/>
                  <a:prstDash val="solid"/>
                  <a:miter/>
                </a:ln>
              </p:spPr>
              <p:txBody>
                <a:bodyPr rtlCol="0" anchor="ctr"/>
                <a:lstStyle/>
                <a:p>
                  <a:endParaRPr lang="en-GB" dirty="0"/>
                </a:p>
              </p:txBody>
            </p:sp>
            <p:sp>
              <p:nvSpPr>
                <p:cNvPr id="413" name="Freihandform: Form 511">
                  <a:extLst>
                    <a:ext uri="{FF2B5EF4-FFF2-40B4-BE49-F238E27FC236}">
                      <a16:creationId xmlns:a16="http://schemas.microsoft.com/office/drawing/2014/main" id="{7140EB03-C58A-43BE-9908-AD025C48F0E9}"/>
                    </a:ext>
                  </a:extLst>
                </p:cNvPr>
                <p:cNvSpPr/>
                <p:nvPr/>
              </p:nvSpPr>
              <p:spPr>
                <a:xfrm>
                  <a:off x="905768" y="4314238"/>
                  <a:ext cx="81717" cy="88783"/>
                </a:xfrm>
                <a:custGeom>
                  <a:avLst/>
                  <a:gdLst>
                    <a:gd name="connsiteX0" fmla="*/ 20549 w 81717"/>
                    <a:gd name="connsiteY0" fmla="*/ 88783 h 88783"/>
                    <a:gd name="connsiteX1" fmla="*/ 18112 w 81717"/>
                    <a:gd name="connsiteY1" fmla="*/ 88323 h 88783"/>
                    <a:gd name="connsiteX2" fmla="*/ 14424 w 81717"/>
                    <a:gd name="connsiteY2" fmla="*/ 84568 h 88783"/>
                    <a:gd name="connsiteX3" fmla="*/ 0 w 81717"/>
                    <a:gd name="connsiteY3" fmla="*/ 6586 h 88783"/>
                    <a:gd name="connsiteX4" fmla="*/ 6586 w 81717"/>
                    <a:gd name="connsiteY4" fmla="*/ 0 h 88783"/>
                    <a:gd name="connsiteX5" fmla="*/ 66785 w 81717"/>
                    <a:gd name="connsiteY5" fmla="*/ 0 h 88783"/>
                    <a:gd name="connsiteX6" fmla="*/ 73372 w 81717"/>
                    <a:gd name="connsiteY6" fmla="*/ 6586 h 88783"/>
                    <a:gd name="connsiteX7" fmla="*/ 81341 w 81717"/>
                    <a:gd name="connsiteY7" fmla="*/ 54008 h 88783"/>
                    <a:gd name="connsiteX8" fmla="*/ 77982 w 81717"/>
                    <a:gd name="connsiteY8" fmla="*/ 62109 h 88783"/>
                    <a:gd name="connsiteX9" fmla="*/ 23381 w 81717"/>
                    <a:gd name="connsiteY9" fmla="*/ 88125 h 88783"/>
                    <a:gd name="connsiteX10" fmla="*/ 20549 w 81717"/>
                    <a:gd name="connsiteY10" fmla="*/ 88783 h 88783"/>
                    <a:gd name="connsiteX11" fmla="*/ 13238 w 81717"/>
                    <a:gd name="connsiteY11" fmla="*/ 13173 h 88783"/>
                    <a:gd name="connsiteX12" fmla="*/ 24238 w 81717"/>
                    <a:gd name="connsiteY12" fmla="*/ 73174 h 88783"/>
                    <a:gd name="connsiteX13" fmla="*/ 67049 w 81717"/>
                    <a:gd name="connsiteY13" fmla="*/ 52756 h 88783"/>
                    <a:gd name="connsiteX14" fmla="*/ 60331 w 81717"/>
                    <a:gd name="connsiteY14" fmla="*/ 13238 h 88783"/>
                    <a:gd name="connsiteX15" fmla="*/ 13238 w 81717"/>
                    <a:gd name="connsiteY15" fmla="*/ 13238 h 8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1717" h="88783">
                      <a:moveTo>
                        <a:pt x="20549" y="88783"/>
                      </a:moveTo>
                      <a:cubicBezTo>
                        <a:pt x="19693" y="88783"/>
                        <a:pt x="18903" y="88652"/>
                        <a:pt x="18112" y="88323"/>
                      </a:cubicBezTo>
                      <a:cubicBezTo>
                        <a:pt x="16400" y="87664"/>
                        <a:pt x="15083" y="86281"/>
                        <a:pt x="14424" y="84568"/>
                      </a:cubicBezTo>
                      <a:cubicBezTo>
                        <a:pt x="4874" y="59672"/>
                        <a:pt x="0" y="33458"/>
                        <a:pt x="0" y="6586"/>
                      </a:cubicBezTo>
                      <a:cubicBezTo>
                        <a:pt x="0" y="2964"/>
                        <a:pt x="2964" y="0"/>
                        <a:pt x="6586" y="0"/>
                      </a:cubicBezTo>
                      <a:lnTo>
                        <a:pt x="66785" y="0"/>
                      </a:lnTo>
                      <a:cubicBezTo>
                        <a:pt x="70408" y="0"/>
                        <a:pt x="73372" y="2964"/>
                        <a:pt x="73372" y="6586"/>
                      </a:cubicBezTo>
                      <a:cubicBezTo>
                        <a:pt x="73372" y="22855"/>
                        <a:pt x="76072" y="38793"/>
                        <a:pt x="81341" y="54008"/>
                      </a:cubicBezTo>
                      <a:cubicBezTo>
                        <a:pt x="82461" y="57169"/>
                        <a:pt x="81012" y="60660"/>
                        <a:pt x="77982" y="62109"/>
                      </a:cubicBezTo>
                      <a:lnTo>
                        <a:pt x="23381" y="88125"/>
                      </a:lnTo>
                      <a:cubicBezTo>
                        <a:pt x="22459" y="88586"/>
                        <a:pt x="21537" y="88783"/>
                        <a:pt x="20549" y="88783"/>
                      </a:cubicBezTo>
                      <a:close/>
                      <a:moveTo>
                        <a:pt x="13238" y="13173"/>
                      </a:moveTo>
                      <a:cubicBezTo>
                        <a:pt x="13897" y="33722"/>
                        <a:pt x="17585" y="53876"/>
                        <a:pt x="24238" y="73174"/>
                      </a:cubicBezTo>
                      <a:lnTo>
                        <a:pt x="67049" y="52756"/>
                      </a:lnTo>
                      <a:cubicBezTo>
                        <a:pt x="63097" y="39913"/>
                        <a:pt x="60858" y="26675"/>
                        <a:pt x="60331" y="13238"/>
                      </a:cubicBezTo>
                      <a:lnTo>
                        <a:pt x="13238" y="13238"/>
                      </a:lnTo>
                      <a:close/>
                    </a:path>
                  </a:pathLst>
                </a:custGeom>
                <a:grpFill/>
                <a:ln w="6578" cap="flat">
                  <a:noFill/>
                  <a:prstDash val="solid"/>
                  <a:miter/>
                </a:ln>
              </p:spPr>
              <p:txBody>
                <a:bodyPr rtlCol="0" anchor="ctr"/>
                <a:lstStyle/>
                <a:p>
                  <a:endParaRPr lang="en-GB" dirty="0"/>
                </a:p>
              </p:txBody>
            </p:sp>
            <p:sp>
              <p:nvSpPr>
                <p:cNvPr id="414" name="Freihandform: Form 512">
                  <a:extLst>
                    <a:ext uri="{FF2B5EF4-FFF2-40B4-BE49-F238E27FC236}">
                      <a16:creationId xmlns:a16="http://schemas.microsoft.com/office/drawing/2014/main" id="{EB080F69-3B44-464E-ABEF-36D273469AD9}"/>
                    </a:ext>
                  </a:extLst>
                </p:cNvPr>
                <p:cNvSpPr/>
                <p:nvPr/>
              </p:nvSpPr>
              <p:spPr>
                <a:xfrm>
                  <a:off x="930668" y="4165239"/>
                  <a:ext cx="92533" cy="92224"/>
                </a:xfrm>
                <a:custGeom>
                  <a:avLst/>
                  <a:gdLst>
                    <a:gd name="connsiteX0" fmla="*/ 59075 w 92533"/>
                    <a:gd name="connsiteY0" fmla="*/ 92225 h 92224"/>
                    <a:gd name="connsiteX1" fmla="*/ 55848 w 92533"/>
                    <a:gd name="connsiteY1" fmla="*/ 91369 h 92224"/>
                    <a:gd name="connsiteX2" fmla="*/ 3355 w 92533"/>
                    <a:gd name="connsiteY2" fmla="*/ 61796 h 92224"/>
                    <a:gd name="connsiteX3" fmla="*/ 787 w 92533"/>
                    <a:gd name="connsiteY3" fmla="*/ 52970 h 92224"/>
                    <a:gd name="connsiteX4" fmla="*/ 38724 w 92533"/>
                    <a:gd name="connsiteY4" fmla="*/ 1926 h 92224"/>
                    <a:gd name="connsiteX5" fmla="*/ 48010 w 92533"/>
                    <a:gd name="connsiteY5" fmla="*/ 1926 h 92224"/>
                    <a:gd name="connsiteX6" fmla="*/ 90624 w 92533"/>
                    <a:gd name="connsiteY6" fmla="*/ 44474 h 92224"/>
                    <a:gd name="connsiteX7" fmla="*/ 92534 w 92533"/>
                    <a:gd name="connsiteY7" fmla="*/ 49150 h 92224"/>
                    <a:gd name="connsiteX8" fmla="*/ 90624 w 92533"/>
                    <a:gd name="connsiteY8" fmla="*/ 53827 h 92224"/>
                    <a:gd name="connsiteX9" fmla="*/ 64937 w 92533"/>
                    <a:gd name="connsiteY9" fmla="*/ 88734 h 92224"/>
                    <a:gd name="connsiteX10" fmla="*/ 60985 w 92533"/>
                    <a:gd name="connsiteY10" fmla="*/ 91961 h 92224"/>
                    <a:gd name="connsiteX11" fmla="*/ 59075 w 92533"/>
                    <a:gd name="connsiteY11" fmla="*/ 92225 h 92224"/>
                    <a:gd name="connsiteX12" fmla="*/ 15540 w 92533"/>
                    <a:gd name="connsiteY12" fmla="*/ 53563 h 92224"/>
                    <a:gd name="connsiteX13" fmla="*/ 56573 w 92533"/>
                    <a:gd name="connsiteY13" fmla="*/ 76615 h 92224"/>
                    <a:gd name="connsiteX14" fmla="*/ 76793 w 92533"/>
                    <a:gd name="connsiteY14" fmla="*/ 49216 h 92224"/>
                    <a:gd name="connsiteX15" fmla="*/ 43532 w 92533"/>
                    <a:gd name="connsiteY15" fmla="*/ 15955 h 92224"/>
                    <a:gd name="connsiteX16" fmla="*/ 15540 w 92533"/>
                    <a:gd name="connsiteY16" fmla="*/ 53563 h 9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533" h="92224">
                      <a:moveTo>
                        <a:pt x="59075" y="92225"/>
                      </a:moveTo>
                      <a:cubicBezTo>
                        <a:pt x="57956" y="92225"/>
                        <a:pt x="56836" y="91961"/>
                        <a:pt x="55848" y="91369"/>
                      </a:cubicBezTo>
                      <a:lnTo>
                        <a:pt x="3355" y="61796"/>
                      </a:lnTo>
                      <a:cubicBezTo>
                        <a:pt x="260" y="60018"/>
                        <a:pt x="-926" y="56132"/>
                        <a:pt x="787" y="52970"/>
                      </a:cubicBezTo>
                      <a:cubicBezTo>
                        <a:pt x="10864" y="34199"/>
                        <a:pt x="23641" y="17009"/>
                        <a:pt x="38724" y="1926"/>
                      </a:cubicBezTo>
                      <a:cubicBezTo>
                        <a:pt x="41292" y="-642"/>
                        <a:pt x="45442" y="-642"/>
                        <a:pt x="48010" y="1926"/>
                      </a:cubicBezTo>
                      <a:lnTo>
                        <a:pt x="90624" y="44474"/>
                      </a:lnTo>
                      <a:cubicBezTo>
                        <a:pt x="91875" y="45725"/>
                        <a:pt x="92534" y="47372"/>
                        <a:pt x="92534" y="49150"/>
                      </a:cubicBezTo>
                      <a:cubicBezTo>
                        <a:pt x="92534" y="50929"/>
                        <a:pt x="91809" y="52575"/>
                        <a:pt x="90624" y="53827"/>
                      </a:cubicBezTo>
                      <a:cubicBezTo>
                        <a:pt x="80349" y="64101"/>
                        <a:pt x="71655" y="75891"/>
                        <a:pt x="64937" y="88734"/>
                      </a:cubicBezTo>
                      <a:cubicBezTo>
                        <a:pt x="64081" y="90315"/>
                        <a:pt x="62698" y="91500"/>
                        <a:pt x="60985" y="91961"/>
                      </a:cubicBezTo>
                      <a:cubicBezTo>
                        <a:pt x="60327" y="92093"/>
                        <a:pt x="59734" y="92225"/>
                        <a:pt x="59075" y="92225"/>
                      </a:cubicBezTo>
                      <a:close/>
                      <a:moveTo>
                        <a:pt x="15540" y="53563"/>
                      </a:moveTo>
                      <a:lnTo>
                        <a:pt x="56573" y="76615"/>
                      </a:lnTo>
                      <a:cubicBezTo>
                        <a:pt x="62303" y="66802"/>
                        <a:pt x="69087" y="57581"/>
                        <a:pt x="76793" y="49216"/>
                      </a:cubicBezTo>
                      <a:lnTo>
                        <a:pt x="43532" y="15955"/>
                      </a:lnTo>
                      <a:cubicBezTo>
                        <a:pt x="32730" y="27415"/>
                        <a:pt x="23378" y="39995"/>
                        <a:pt x="15540" y="53563"/>
                      </a:cubicBezTo>
                      <a:close/>
                    </a:path>
                  </a:pathLst>
                </a:custGeom>
                <a:grpFill/>
                <a:ln w="6578" cap="flat">
                  <a:noFill/>
                  <a:prstDash val="solid"/>
                  <a:miter/>
                </a:ln>
              </p:spPr>
              <p:txBody>
                <a:bodyPr rtlCol="0" anchor="ctr"/>
                <a:lstStyle/>
                <a:p>
                  <a:endParaRPr lang="en-GB" dirty="0"/>
                </a:p>
              </p:txBody>
            </p:sp>
            <p:sp>
              <p:nvSpPr>
                <p:cNvPr id="415" name="Freihandform: Form 513">
                  <a:extLst>
                    <a:ext uri="{FF2B5EF4-FFF2-40B4-BE49-F238E27FC236}">
                      <a16:creationId xmlns:a16="http://schemas.microsoft.com/office/drawing/2014/main" id="{03A2635E-3C51-4F6D-A34C-333592723123}"/>
                    </a:ext>
                  </a:extLst>
                </p:cNvPr>
                <p:cNvSpPr/>
                <p:nvPr/>
              </p:nvSpPr>
              <p:spPr>
                <a:xfrm>
                  <a:off x="1033032" y="4124269"/>
                  <a:ext cx="36914" cy="63446"/>
                </a:xfrm>
                <a:custGeom>
                  <a:avLst/>
                  <a:gdLst>
                    <a:gd name="connsiteX0" fmla="*/ 30346 w 36914"/>
                    <a:gd name="connsiteY0" fmla="*/ 63446 h 63446"/>
                    <a:gd name="connsiteX1" fmla="*/ 24352 w 36914"/>
                    <a:gd name="connsiteY1" fmla="*/ 59692 h 63446"/>
                    <a:gd name="connsiteX2" fmla="*/ 641 w 36914"/>
                    <a:gd name="connsiteY2" fmla="*/ 9373 h 63446"/>
                    <a:gd name="connsiteX3" fmla="*/ 3803 w 36914"/>
                    <a:gd name="connsiteY3" fmla="*/ 613 h 63446"/>
                    <a:gd name="connsiteX4" fmla="*/ 12563 w 36914"/>
                    <a:gd name="connsiteY4" fmla="*/ 3774 h 63446"/>
                    <a:gd name="connsiteX5" fmla="*/ 36273 w 36914"/>
                    <a:gd name="connsiteY5" fmla="*/ 54094 h 63446"/>
                    <a:gd name="connsiteX6" fmla="*/ 33112 w 36914"/>
                    <a:gd name="connsiteY6" fmla="*/ 62853 h 63446"/>
                    <a:gd name="connsiteX7" fmla="*/ 30346 w 36914"/>
                    <a:gd name="connsiteY7" fmla="*/ 63446 h 63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14" h="63446">
                      <a:moveTo>
                        <a:pt x="30346" y="63446"/>
                      </a:moveTo>
                      <a:cubicBezTo>
                        <a:pt x="27843" y="63446"/>
                        <a:pt x="25538" y="62063"/>
                        <a:pt x="24352" y="59692"/>
                      </a:cubicBezTo>
                      <a:lnTo>
                        <a:pt x="641" y="9373"/>
                      </a:lnTo>
                      <a:cubicBezTo>
                        <a:pt x="-939" y="6079"/>
                        <a:pt x="510" y="2128"/>
                        <a:pt x="3803" y="613"/>
                      </a:cubicBezTo>
                      <a:cubicBezTo>
                        <a:pt x="7096" y="-902"/>
                        <a:pt x="11048" y="481"/>
                        <a:pt x="12563" y="3774"/>
                      </a:cubicBezTo>
                      <a:lnTo>
                        <a:pt x="36273" y="54094"/>
                      </a:lnTo>
                      <a:cubicBezTo>
                        <a:pt x="37854" y="57387"/>
                        <a:pt x="36405" y="61339"/>
                        <a:pt x="33112" y="62853"/>
                      </a:cubicBezTo>
                      <a:cubicBezTo>
                        <a:pt x="32190" y="63249"/>
                        <a:pt x="31268" y="63446"/>
                        <a:pt x="30346" y="63446"/>
                      </a:cubicBezTo>
                      <a:close/>
                    </a:path>
                  </a:pathLst>
                </a:custGeom>
                <a:grpFill/>
                <a:ln w="6578" cap="flat">
                  <a:noFill/>
                  <a:prstDash val="solid"/>
                  <a:miter/>
                </a:ln>
              </p:spPr>
              <p:txBody>
                <a:bodyPr rtlCol="0" anchor="ctr"/>
                <a:lstStyle/>
                <a:p>
                  <a:endParaRPr lang="en-GB" dirty="0"/>
                </a:p>
              </p:txBody>
            </p:sp>
          </p:grpSp>
          <p:sp>
            <p:nvSpPr>
              <p:cNvPr id="410" name="Freihandform: Form 514">
                <a:extLst>
                  <a:ext uri="{FF2B5EF4-FFF2-40B4-BE49-F238E27FC236}">
                    <a16:creationId xmlns:a16="http://schemas.microsoft.com/office/drawing/2014/main" id="{27BFC973-36A8-4049-BB3C-FFD24A068B0B}"/>
                  </a:ext>
                </a:extLst>
              </p:cNvPr>
              <p:cNvSpPr/>
              <p:nvPr/>
            </p:nvSpPr>
            <p:spPr>
              <a:xfrm>
                <a:off x="1137517" y="4274201"/>
                <a:ext cx="99139" cy="60520"/>
              </a:xfrm>
              <a:custGeom>
                <a:avLst/>
                <a:gdLst>
                  <a:gd name="connsiteX0" fmla="*/ 43625 w 99139"/>
                  <a:gd name="connsiteY0" fmla="*/ 60521 h 60520"/>
                  <a:gd name="connsiteX1" fmla="*/ 40990 w 99139"/>
                  <a:gd name="connsiteY1" fmla="*/ 59994 h 60520"/>
                  <a:gd name="connsiteX2" fmla="*/ 3909 w 99139"/>
                  <a:gd name="connsiteY2" fmla="*/ 43594 h 60520"/>
                  <a:gd name="connsiteX3" fmla="*/ 550 w 99139"/>
                  <a:gd name="connsiteY3" fmla="*/ 34900 h 60520"/>
                  <a:gd name="connsiteX4" fmla="*/ 9244 w 99139"/>
                  <a:gd name="connsiteY4" fmla="*/ 31541 h 60520"/>
                  <a:gd name="connsiteX5" fmla="*/ 42241 w 99139"/>
                  <a:gd name="connsiteY5" fmla="*/ 46163 h 60520"/>
                  <a:gd name="connsiteX6" fmla="*/ 88016 w 99139"/>
                  <a:gd name="connsiteY6" fmla="*/ 1837 h 60520"/>
                  <a:gd name="connsiteX7" fmla="*/ 97303 w 99139"/>
                  <a:gd name="connsiteY7" fmla="*/ 1968 h 60520"/>
                  <a:gd name="connsiteX8" fmla="*/ 97171 w 99139"/>
                  <a:gd name="connsiteY8" fmla="*/ 11255 h 60520"/>
                  <a:gd name="connsiteX9" fmla="*/ 48235 w 99139"/>
                  <a:gd name="connsiteY9" fmla="*/ 58677 h 60520"/>
                  <a:gd name="connsiteX10" fmla="*/ 43625 w 99139"/>
                  <a:gd name="connsiteY10" fmla="*/ 60521 h 6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9139" h="60520">
                    <a:moveTo>
                      <a:pt x="43625" y="60521"/>
                    </a:moveTo>
                    <a:cubicBezTo>
                      <a:pt x="42702" y="60521"/>
                      <a:pt x="41846" y="60323"/>
                      <a:pt x="40990" y="59994"/>
                    </a:cubicBezTo>
                    <a:lnTo>
                      <a:pt x="3909" y="43594"/>
                    </a:lnTo>
                    <a:cubicBezTo>
                      <a:pt x="616" y="42145"/>
                      <a:pt x="-899" y="38259"/>
                      <a:pt x="550" y="34900"/>
                    </a:cubicBezTo>
                    <a:cubicBezTo>
                      <a:pt x="1999" y="31541"/>
                      <a:pt x="5885" y="30092"/>
                      <a:pt x="9244" y="31541"/>
                    </a:cubicBezTo>
                    <a:lnTo>
                      <a:pt x="42241" y="46163"/>
                    </a:lnTo>
                    <a:lnTo>
                      <a:pt x="88016" y="1837"/>
                    </a:lnTo>
                    <a:cubicBezTo>
                      <a:pt x="90651" y="-666"/>
                      <a:pt x="94800" y="-600"/>
                      <a:pt x="97303" y="1968"/>
                    </a:cubicBezTo>
                    <a:cubicBezTo>
                      <a:pt x="99806" y="4603"/>
                      <a:pt x="99740" y="8752"/>
                      <a:pt x="97171" y="11255"/>
                    </a:cubicBezTo>
                    <a:lnTo>
                      <a:pt x="48235" y="58677"/>
                    </a:lnTo>
                    <a:cubicBezTo>
                      <a:pt x="46984" y="59862"/>
                      <a:pt x="45337" y="60521"/>
                      <a:pt x="43625" y="60521"/>
                    </a:cubicBezTo>
                    <a:close/>
                  </a:path>
                </a:pathLst>
              </a:custGeom>
              <a:grpFill/>
              <a:ln w="6578" cap="flat">
                <a:noFill/>
                <a:prstDash val="solid"/>
                <a:miter/>
              </a:ln>
            </p:spPr>
            <p:txBody>
              <a:bodyPr rtlCol="0" anchor="ctr"/>
              <a:lstStyle/>
              <a:p>
                <a:endParaRPr lang="en-GB" dirty="0"/>
              </a:p>
            </p:txBody>
          </p:sp>
          <p:sp>
            <p:nvSpPr>
              <p:cNvPr id="411" name="Freihandform: Form 515">
                <a:extLst>
                  <a:ext uri="{FF2B5EF4-FFF2-40B4-BE49-F238E27FC236}">
                    <a16:creationId xmlns:a16="http://schemas.microsoft.com/office/drawing/2014/main" id="{F6D4FCDE-4F2D-44B1-994A-64B92E81729B}"/>
                  </a:ext>
                </a:extLst>
              </p:cNvPr>
              <p:cNvSpPr/>
              <p:nvPr/>
            </p:nvSpPr>
            <p:spPr>
              <a:xfrm>
                <a:off x="1002040" y="4314281"/>
                <a:ext cx="107070" cy="38685"/>
              </a:xfrm>
              <a:custGeom>
                <a:avLst/>
                <a:gdLst>
                  <a:gd name="connsiteX0" fmla="*/ 64236 w 107070"/>
                  <a:gd name="connsiteY0" fmla="*/ 38685 h 38685"/>
                  <a:gd name="connsiteX1" fmla="*/ 59494 w 107070"/>
                  <a:gd name="connsiteY1" fmla="*/ 36709 h 38685"/>
                  <a:gd name="connsiteX2" fmla="*/ 38681 w 107070"/>
                  <a:gd name="connsiteY2" fmla="*/ 15238 h 38685"/>
                  <a:gd name="connsiteX3" fmla="*/ 10360 w 107070"/>
                  <a:gd name="connsiteY3" fmla="*/ 35062 h 38685"/>
                  <a:gd name="connsiteX4" fmla="*/ 1205 w 107070"/>
                  <a:gd name="connsiteY4" fmla="*/ 33416 h 38685"/>
                  <a:gd name="connsiteX5" fmla="*/ 2852 w 107070"/>
                  <a:gd name="connsiteY5" fmla="*/ 24261 h 38685"/>
                  <a:gd name="connsiteX6" fmla="*/ 35783 w 107070"/>
                  <a:gd name="connsiteY6" fmla="*/ 1209 h 38685"/>
                  <a:gd name="connsiteX7" fmla="*/ 44280 w 107070"/>
                  <a:gd name="connsiteY7" fmla="*/ 1999 h 38685"/>
                  <a:gd name="connsiteX8" fmla="*/ 65092 w 107070"/>
                  <a:gd name="connsiteY8" fmla="*/ 23470 h 38685"/>
                  <a:gd name="connsiteX9" fmla="*/ 96707 w 107070"/>
                  <a:gd name="connsiteY9" fmla="*/ 1209 h 38685"/>
                  <a:gd name="connsiteX10" fmla="*/ 105862 w 107070"/>
                  <a:gd name="connsiteY10" fmla="*/ 2790 h 38685"/>
                  <a:gd name="connsiteX11" fmla="*/ 104281 w 107070"/>
                  <a:gd name="connsiteY11" fmla="*/ 11944 h 38685"/>
                  <a:gd name="connsiteX12" fmla="*/ 68056 w 107070"/>
                  <a:gd name="connsiteY12" fmla="*/ 37499 h 38685"/>
                  <a:gd name="connsiteX13" fmla="*/ 64236 w 107070"/>
                  <a:gd name="connsiteY13" fmla="*/ 38685 h 3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070" h="38685">
                    <a:moveTo>
                      <a:pt x="64236" y="38685"/>
                    </a:moveTo>
                    <a:cubicBezTo>
                      <a:pt x="62524" y="38685"/>
                      <a:pt x="60811" y="38026"/>
                      <a:pt x="59494" y="36709"/>
                    </a:cubicBezTo>
                    <a:lnTo>
                      <a:pt x="38681" y="15238"/>
                    </a:lnTo>
                    <a:lnTo>
                      <a:pt x="10360" y="35062"/>
                    </a:lnTo>
                    <a:cubicBezTo>
                      <a:pt x="7396" y="37170"/>
                      <a:pt x="3247" y="36446"/>
                      <a:pt x="1205" y="33416"/>
                    </a:cubicBezTo>
                    <a:cubicBezTo>
                      <a:pt x="-903" y="30452"/>
                      <a:pt x="-178" y="26303"/>
                      <a:pt x="2852" y="24261"/>
                    </a:cubicBezTo>
                    <a:lnTo>
                      <a:pt x="35783" y="1209"/>
                    </a:lnTo>
                    <a:cubicBezTo>
                      <a:pt x="38418" y="-635"/>
                      <a:pt x="42040" y="-306"/>
                      <a:pt x="44280" y="1999"/>
                    </a:cubicBezTo>
                    <a:lnTo>
                      <a:pt x="65092" y="23470"/>
                    </a:lnTo>
                    <a:lnTo>
                      <a:pt x="96707" y="1209"/>
                    </a:lnTo>
                    <a:cubicBezTo>
                      <a:pt x="99670" y="-899"/>
                      <a:pt x="103820" y="-174"/>
                      <a:pt x="105862" y="2790"/>
                    </a:cubicBezTo>
                    <a:cubicBezTo>
                      <a:pt x="107969" y="5753"/>
                      <a:pt x="107245" y="9903"/>
                      <a:pt x="104281" y="11944"/>
                    </a:cubicBezTo>
                    <a:lnTo>
                      <a:pt x="68056" y="37499"/>
                    </a:lnTo>
                    <a:cubicBezTo>
                      <a:pt x="66871" y="38290"/>
                      <a:pt x="65553" y="38685"/>
                      <a:pt x="64236" y="38685"/>
                    </a:cubicBezTo>
                    <a:close/>
                  </a:path>
                </a:pathLst>
              </a:custGeom>
              <a:grpFill/>
              <a:ln w="6578" cap="flat">
                <a:noFill/>
                <a:prstDash val="solid"/>
                <a:miter/>
              </a:ln>
            </p:spPr>
            <p:txBody>
              <a:bodyPr rtlCol="0" anchor="ctr"/>
              <a:lstStyle/>
              <a:p>
                <a:endParaRPr lang="en-GB" dirty="0"/>
              </a:p>
            </p:txBody>
          </p:sp>
        </p:grpSp>
        <p:grpSp>
          <p:nvGrpSpPr>
            <p:cNvPr id="398" name="Grafik 212">
              <a:extLst>
                <a:ext uri="{FF2B5EF4-FFF2-40B4-BE49-F238E27FC236}">
                  <a16:creationId xmlns:a16="http://schemas.microsoft.com/office/drawing/2014/main" id="{2B56CB27-27FA-4DF0-8876-0E4A1E6C7FAD}"/>
                </a:ext>
              </a:extLst>
            </p:cNvPr>
            <p:cNvGrpSpPr/>
            <p:nvPr/>
          </p:nvGrpSpPr>
          <p:grpSpPr>
            <a:xfrm>
              <a:off x="2816191" y="4090452"/>
              <a:ext cx="137454" cy="237993"/>
              <a:chOff x="1053960" y="4191865"/>
              <a:chExt cx="138312" cy="239478"/>
            </a:xfrm>
            <a:solidFill>
              <a:schemeClr val="accent1"/>
            </a:solidFill>
          </p:grpSpPr>
          <p:sp>
            <p:nvSpPr>
              <p:cNvPr id="399" name="Freihandform: Form 517">
                <a:extLst>
                  <a:ext uri="{FF2B5EF4-FFF2-40B4-BE49-F238E27FC236}">
                    <a16:creationId xmlns:a16="http://schemas.microsoft.com/office/drawing/2014/main" id="{443218B1-7184-4E57-BFCB-BD1C5F116E07}"/>
                  </a:ext>
                </a:extLst>
              </p:cNvPr>
              <p:cNvSpPr/>
              <p:nvPr/>
            </p:nvSpPr>
            <p:spPr>
              <a:xfrm>
                <a:off x="1091041" y="4284929"/>
                <a:ext cx="64084" cy="13172"/>
              </a:xfrm>
              <a:custGeom>
                <a:avLst/>
                <a:gdLst>
                  <a:gd name="connsiteX0" fmla="*/ 57499 w 64084"/>
                  <a:gd name="connsiteY0" fmla="*/ 13173 h 13172"/>
                  <a:gd name="connsiteX1" fmla="*/ 6586 w 64084"/>
                  <a:gd name="connsiteY1" fmla="*/ 13173 h 13172"/>
                  <a:gd name="connsiteX2" fmla="*/ 0 w 64084"/>
                  <a:gd name="connsiteY2" fmla="*/ 6586 h 13172"/>
                  <a:gd name="connsiteX3" fmla="*/ 6586 w 64084"/>
                  <a:gd name="connsiteY3" fmla="*/ 0 h 13172"/>
                  <a:gd name="connsiteX4" fmla="*/ 57499 w 64084"/>
                  <a:gd name="connsiteY4" fmla="*/ 0 h 13172"/>
                  <a:gd name="connsiteX5" fmla="*/ 64085 w 64084"/>
                  <a:gd name="connsiteY5" fmla="*/ 6586 h 13172"/>
                  <a:gd name="connsiteX6" fmla="*/ 57499 w 64084"/>
                  <a:gd name="connsiteY6" fmla="*/ 13173 h 1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084" h="13172">
                    <a:moveTo>
                      <a:pt x="57499" y="13173"/>
                    </a:moveTo>
                    <a:lnTo>
                      <a:pt x="6586" y="13173"/>
                    </a:lnTo>
                    <a:cubicBezTo>
                      <a:pt x="2964" y="13173"/>
                      <a:pt x="0" y="10209"/>
                      <a:pt x="0" y="6586"/>
                    </a:cubicBezTo>
                    <a:cubicBezTo>
                      <a:pt x="0" y="2964"/>
                      <a:pt x="2964" y="0"/>
                      <a:pt x="6586" y="0"/>
                    </a:cubicBezTo>
                    <a:lnTo>
                      <a:pt x="57499" y="0"/>
                    </a:lnTo>
                    <a:cubicBezTo>
                      <a:pt x="61121" y="0"/>
                      <a:pt x="64085" y="2964"/>
                      <a:pt x="64085" y="6586"/>
                    </a:cubicBezTo>
                    <a:cubicBezTo>
                      <a:pt x="64085" y="10275"/>
                      <a:pt x="61121" y="13173"/>
                      <a:pt x="57499" y="13173"/>
                    </a:cubicBezTo>
                    <a:close/>
                  </a:path>
                </a:pathLst>
              </a:custGeom>
              <a:grpFill/>
              <a:ln w="6578" cap="flat">
                <a:noFill/>
                <a:prstDash val="solid"/>
                <a:miter/>
              </a:ln>
            </p:spPr>
            <p:txBody>
              <a:bodyPr rtlCol="0" anchor="ctr"/>
              <a:lstStyle/>
              <a:p>
                <a:endParaRPr lang="en-GB" dirty="0"/>
              </a:p>
            </p:txBody>
          </p:sp>
          <p:grpSp>
            <p:nvGrpSpPr>
              <p:cNvPr id="400" name="Grafik 212">
                <a:extLst>
                  <a:ext uri="{FF2B5EF4-FFF2-40B4-BE49-F238E27FC236}">
                    <a16:creationId xmlns:a16="http://schemas.microsoft.com/office/drawing/2014/main" id="{7113FD1E-6E31-4EDC-8E43-F9A0A57EF3E4}"/>
                  </a:ext>
                </a:extLst>
              </p:cNvPr>
              <p:cNvGrpSpPr/>
              <p:nvPr/>
            </p:nvGrpSpPr>
            <p:grpSpPr>
              <a:xfrm>
                <a:off x="1053960" y="4191865"/>
                <a:ext cx="138312" cy="239478"/>
                <a:chOff x="1053960" y="4191865"/>
                <a:chExt cx="138312" cy="239478"/>
              </a:xfrm>
              <a:grpFill/>
            </p:grpSpPr>
            <p:sp>
              <p:nvSpPr>
                <p:cNvPr id="401" name="Freihandform: Form 519">
                  <a:extLst>
                    <a:ext uri="{FF2B5EF4-FFF2-40B4-BE49-F238E27FC236}">
                      <a16:creationId xmlns:a16="http://schemas.microsoft.com/office/drawing/2014/main" id="{3E7E998F-98D3-4188-B931-A9A991FD4B12}"/>
                    </a:ext>
                  </a:extLst>
                </p:cNvPr>
                <p:cNvSpPr/>
                <p:nvPr/>
              </p:nvSpPr>
              <p:spPr>
                <a:xfrm>
                  <a:off x="1096178" y="4191865"/>
                  <a:ext cx="53876" cy="53876"/>
                </a:xfrm>
                <a:custGeom>
                  <a:avLst/>
                  <a:gdLst>
                    <a:gd name="connsiteX0" fmla="*/ 26938 w 53876"/>
                    <a:gd name="connsiteY0" fmla="*/ 53876 h 53876"/>
                    <a:gd name="connsiteX1" fmla="*/ 0 w 53876"/>
                    <a:gd name="connsiteY1" fmla="*/ 26938 h 53876"/>
                    <a:gd name="connsiteX2" fmla="*/ 26938 w 53876"/>
                    <a:gd name="connsiteY2" fmla="*/ 0 h 53876"/>
                    <a:gd name="connsiteX3" fmla="*/ 53876 w 53876"/>
                    <a:gd name="connsiteY3" fmla="*/ 26938 h 53876"/>
                    <a:gd name="connsiteX4" fmla="*/ 26938 w 53876"/>
                    <a:gd name="connsiteY4" fmla="*/ 53876 h 53876"/>
                    <a:gd name="connsiteX5" fmla="*/ 26938 w 53876"/>
                    <a:gd name="connsiteY5" fmla="*/ 13173 h 53876"/>
                    <a:gd name="connsiteX6" fmla="*/ 13173 w 53876"/>
                    <a:gd name="connsiteY6" fmla="*/ 26938 h 53876"/>
                    <a:gd name="connsiteX7" fmla="*/ 26938 w 53876"/>
                    <a:gd name="connsiteY7" fmla="*/ 40704 h 53876"/>
                    <a:gd name="connsiteX8" fmla="*/ 40703 w 53876"/>
                    <a:gd name="connsiteY8" fmla="*/ 26938 h 53876"/>
                    <a:gd name="connsiteX9" fmla="*/ 26938 w 53876"/>
                    <a:gd name="connsiteY9" fmla="*/ 13173 h 53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76" h="53876">
                      <a:moveTo>
                        <a:pt x="26938" y="53876"/>
                      </a:moveTo>
                      <a:cubicBezTo>
                        <a:pt x="12053" y="53876"/>
                        <a:pt x="0" y="41823"/>
                        <a:pt x="0" y="26938"/>
                      </a:cubicBezTo>
                      <a:cubicBezTo>
                        <a:pt x="0" y="12053"/>
                        <a:pt x="12053" y="0"/>
                        <a:pt x="26938" y="0"/>
                      </a:cubicBezTo>
                      <a:cubicBezTo>
                        <a:pt x="41823" y="0"/>
                        <a:pt x="53876" y="12053"/>
                        <a:pt x="53876" y="26938"/>
                      </a:cubicBezTo>
                      <a:cubicBezTo>
                        <a:pt x="53876" y="41757"/>
                        <a:pt x="41757" y="53876"/>
                        <a:pt x="26938" y="53876"/>
                      </a:cubicBezTo>
                      <a:close/>
                      <a:moveTo>
                        <a:pt x="26938" y="13173"/>
                      </a:moveTo>
                      <a:cubicBezTo>
                        <a:pt x="19364" y="13173"/>
                        <a:pt x="13173" y="19364"/>
                        <a:pt x="13173" y="26938"/>
                      </a:cubicBezTo>
                      <a:cubicBezTo>
                        <a:pt x="13173" y="34512"/>
                        <a:pt x="19364" y="40704"/>
                        <a:pt x="26938" y="40704"/>
                      </a:cubicBezTo>
                      <a:cubicBezTo>
                        <a:pt x="34512" y="40704"/>
                        <a:pt x="40703" y="34512"/>
                        <a:pt x="40703" y="26938"/>
                      </a:cubicBezTo>
                      <a:cubicBezTo>
                        <a:pt x="40703" y="19298"/>
                        <a:pt x="34512" y="13173"/>
                        <a:pt x="26938" y="13173"/>
                      </a:cubicBezTo>
                      <a:close/>
                    </a:path>
                  </a:pathLst>
                </a:custGeom>
                <a:grpFill/>
                <a:ln w="6578" cap="flat">
                  <a:noFill/>
                  <a:prstDash val="solid"/>
                  <a:miter/>
                </a:ln>
              </p:spPr>
              <p:txBody>
                <a:bodyPr rtlCol="0" anchor="ctr"/>
                <a:lstStyle/>
                <a:p>
                  <a:endParaRPr lang="en-GB" dirty="0"/>
                </a:p>
              </p:txBody>
            </p:sp>
            <p:sp>
              <p:nvSpPr>
                <p:cNvPr id="402" name="Freihandform: Form 520">
                  <a:extLst>
                    <a:ext uri="{FF2B5EF4-FFF2-40B4-BE49-F238E27FC236}">
                      <a16:creationId xmlns:a16="http://schemas.microsoft.com/office/drawing/2014/main" id="{8034F0C1-644F-4F38-9EAA-B0F4222E4133}"/>
                    </a:ext>
                  </a:extLst>
                </p:cNvPr>
                <p:cNvSpPr/>
                <p:nvPr/>
              </p:nvSpPr>
              <p:spPr>
                <a:xfrm>
                  <a:off x="1085969" y="4259506"/>
                  <a:ext cx="74227" cy="13172"/>
                </a:xfrm>
                <a:custGeom>
                  <a:avLst/>
                  <a:gdLst>
                    <a:gd name="connsiteX0" fmla="*/ 67641 w 74227"/>
                    <a:gd name="connsiteY0" fmla="*/ 13173 h 13172"/>
                    <a:gd name="connsiteX1" fmla="*/ 6586 w 74227"/>
                    <a:gd name="connsiteY1" fmla="*/ 13173 h 13172"/>
                    <a:gd name="connsiteX2" fmla="*/ 0 w 74227"/>
                    <a:gd name="connsiteY2" fmla="*/ 6586 h 13172"/>
                    <a:gd name="connsiteX3" fmla="*/ 6586 w 74227"/>
                    <a:gd name="connsiteY3" fmla="*/ 0 h 13172"/>
                    <a:gd name="connsiteX4" fmla="*/ 67641 w 74227"/>
                    <a:gd name="connsiteY4" fmla="*/ 0 h 13172"/>
                    <a:gd name="connsiteX5" fmla="*/ 74228 w 74227"/>
                    <a:gd name="connsiteY5" fmla="*/ 6586 h 13172"/>
                    <a:gd name="connsiteX6" fmla="*/ 67641 w 74227"/>
                    <a:gd name="connsiteY6" fmla="*/ 13173 h 1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227" h="13172">
                      <a:moveTo>
                        <a:pt x="67641" y="13173"/>
                      </a:moveTo>
                      <a:lnTo>
                        <a:pt x="6586" y="13173"/>
                      </a:lnTo>
                      <a:cubicBezTo>
                        <a:pt x="2964" y="13173"/>
                        <a:pt x="0" y="10209"/>
                        <a:pt x="0" y="6586"/>
                      </a:cubicBezTo>
                      <a:cubicBezTo>
                        <a:pt x="0" y="2964"/>
                        <a:pt x="2964" y="0"/>
                        <a:pt x="6586" y="0"/>
                      </a:cubicBezTo>
                      <a:lnTo>
                        <a:pt x="67641" y="0"/>
                      </a:lnTo>
                      <a:cubicBezTo>
                        <a:pt x="71264" y="0"/>
                        <a:pt x="74228" y="2964"/>
                        <a:pt x="74228" y="6586"/>
                      </a:cubicBezTo>
                      <a:cubicBezTo>
                        <a:pt x="74228" y="10209"/>
                        <a:pt x="71330" y="13173"/>
                        <a:pt x="67641" y="13173"/>
                      </a:cubicBezTo>
                      <a:close/>
                    </a:path>
                  </a:pathLst>
                </a:custGeom>
                <a:grpFill/>
                <a:ln w="6578" cap="flat">
                  <a:noFill/>
                  <a:prstDash val="solid"/>
                  <a:miter/>
                </a:ln>
              </p:spPr>
              <p:txBody>
                <a:bodyPr rtlCol="0" anchor="ctr"/>
                <a:lstStyle/>
                <a:p>
                  <a:endParaRPr lang="en-GB" dirty="0"/>
                </a:p>
              </p:txBody>
            </p:sp>
            <p:sp>
              <p:nvSpPr>
                <p:cNvPr id="403" name="Freihandform: Form 521">
                  <a:extLst>
                    <a:ext uri="{FF2B5EF4-FFF2-40B4-BE49-F238E27FC236}">
                      <a16:creationId xmlns:a16="http://schemas.microsoft.com/office/drawing/2014/main" id="{4C8C52A0-F10A-4BF0-A4C5-AAAF11ABCE38}"/>
                    </a:ext>
                  </a:extLst>
                </p:cNvPr>
                <p:cNvSpPr/>
                <p:nvPr/>
              </p:nvSpPr>
              <p:spPr>
                <a:xfrm>
                  <a:off x="1091012" y="4259477"/>
                  <a:ext cx="23438" cy="38624"/>
                </a:xfrm>
                <a:custGeom>
                  <a:avLst/>
                  <a:gdLst>
                    <a:gd name="connsiteX0" fmla="*/ 16824 w 23438"/>
                    <a:gd name="connsiteY0" fmla="*/ 38624 h 38624"/>
                    <a:gd name="connsiteX1" fmla="*/ 10698 w 23438"/>
                    <a:gd name="connsiteY1" fmla="*/ 34475 h 38624"/>
                    <a:gd name="connsiteX2" fmla="*/ 490 w 23438"/>
                    <a:gd name="connsiteY2" fmla="*/ 9052 h 38624"/>
                    <a:gd name="connsiteX3" fmla="*/ 4178 w 23438"/>
                    <a:gd name="connsiteY3" fmla="*/ 490 h 38624"/>
                    <a:gd name="connsiteX4" fmla="*/ 12740 w 23438"/>
                    <a:gd name="connsiteY4" fmla="*/ 4178 h 38624"/>
                    <a:gd name="connsiteX5" fmla="*/ 22949 w 23438"/>
                    <a:gd name="connsiteY5" fmla="*/ 29601 h 38624"/>
                    <a:gd name="connsiteX6" fmla="*/ 19261 w 23438"/>
                    <a:gd name="connsiteY6" fmla="*/ 38163 h 38624"/>
                    <a:gd name="connsiteX7" fmla="*/ 16824 w 23438"/>
                    <a:gd name="connsiteY7" fmla="*/ 38624 h 38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38" h="38624">
                      <a:moveTo>
                        <a:pt x="16824" y="38624"/>
                      </a:moveTo>
                      <a:cubicBezTo>
                        <a:pt x="14189" y="38624"/>
                        <a:pt x="11752" y="37044"/>
                        <a:pt x="10698" y="34475"/>
                      </a:cubicBezTo>
                      <a:lnTo>
                        <a:pt x="490" y="9052"/>
                      </a:lnTo>
                      <a:cubicBezTo>
                        <a:pt x="-894" y="5693"/>
                        <a:pt x="753" y="1873"/>
                        <a:pt x="4178" y="490"/>
                      </a:cubicBezTo>
                      <a:cubicBezTo>
                        <a:pt x="7537" y="-893"/>
                        <a:pt x="11423" y="753"/>
                        <a:pt x="12740" y="4178"/>
                      </a:cubicBezTo>
                      <a:lnTo>
                        <a:pt x="22949" y="29601"/>
                      </a:lnTo>
                      <a:cubicBezTo>
                        <a:pt x="24332" y="32960"/>
                        <a:pt x="22685" y="36780"/>
                        <a:pt x="19261" y="38163"/>
                      </a:cubicBezTo>
                      <a:cubicBezTo>
                        <a:pt x="18470" y="38493"/>
                        <a:pt x="17614" y="38624"/>
                        <a:pt x="16824" y="38624"/>
                      </a:cubicBezTo>
                      <a:close/>
                    </a:path>
                  </a:pathLst>
                </a:custGeom>
                <a:grpFill/>
                <a:ln w="6578" cap="flat">
                  <a:noFill/>
                  <a:prstDash val="solid"/>
                  <a:miter/>
                </a:ln>
              </p:spPr>
              <p:txBody>
                <a:bodyPr rtlCol="0" anchor="ctr"/>
                <a:lstStyle/>
                <a:p>
                  <a:endParaRPr lang="en-GB" dirty="0"/>
                </a:p>
              </p:txBody>
            </p:sp>
            <p:sp>
              <p:nvSpPr>
                <p:cNvPr id="404" name="Freihandform: Form 522">
                  <a:extLst>
                    <a:ext uri="{FF2B5EF4-FFF2-40B4-BE49-F238E27FC236}">
                      <a16:creationId xmlns:a16="http://schemas.microsoft.com/office/drawing/2014/main" id="{1B548BAF-1D09-4C72-B818-2D9B0024D8D3}"/>
                    </a:ext>
                  </a:extLst>
                </p:cNvPr>
                <p:cNvSpPr/>
                <p:nvPr/>
              </p:nvSpPr>
              <p:spPr>
                <a:xfrm>
                  <a:off x="1131817" y="4259513"/>
                  <a:ext cx="23367" cy="38588"/>
                </a:xfrm>
                <a:custGeom>
                  <a:avLst/>
                  <a:gdLst>
                    <a:gd name="connsiteX0" fmla="*/ 6579 w 23367"/>
                    <a:gd name="connsiteY0" fmla="*/ 38589 h 38588"/>
                    <a:gd name="connsiteX1" fmla="*/ 4142 w 23367"/>
                    <a:gd name="connsiteY1" fmla="*/ 38128 h 38588"/>
                    <a:gd name="connsiteX2" fmla="*/ 454 w 23367"/>
                    <a:gd name="connsiteY2" fmla="*/ 29565 h 38588"/>
                    <a:gd name="connsiteX3" fmla="*/ 10663 w 23367"/>
                    <a:gd name="connsiteY3" fmla="*/ 4142 h 38588"/>
                    <a:gd name="connsiteX4" fmla="*/ 19225 w 23367"/>
                    <a:gd name="connsiteY4" fmla="*/ 454 h 38588"/>
                    <a:gd name="connsiteX5" fmla="*/ 22913 w 23367"/>
                    <a:gd name="connsiteY5" fmla="*/ 9016 h 38588"/>
                    <a:gd name="connsiteX6" fmla="*/ 12704 w 23367"/>
                    <a:gd name="connsiteY6" fmla="*/ 34439 h 38588"/>
                    <a:gd name="connsiteX7" fmla="*/ 6579 w 23367"/>
                    <a:gd name="connsiteY7" fmla="*/ 38589 h 3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67" h="38588">
                      <a:moveTo>
                        <a:pt x="6579" y="38589"/>
                      </a:moveTo>
                      <a:cubicBezTo>
                        <a:pt x="5789" y="38589"/>
                        <a:pt x="4933" y="38457"/>
                        <a:pt x="4142" y="38128"/>
                      </a:cubicBezTo>
                      <a:cubicBezTo>
                        <a:pt x="783" y="36744"/>
                        <a:pt x="-863" y="32925"/>
                        <a:pt x="454" y="29565"/>
                      </a:cubicBezTo>
                      <a:lnTo>
                        <a:pt x="10663" y="4142"/>
                      </a:lnTo>
                      <a:cubicBezTo>
                        <a:pt x="12046" y="783"/>
                        <a:pt x="15800" y="-863"/>
                        <a:pt x="19225" y="454"/>
                      </a:cubicBezTo>
                      <a:cubicBezTo>
                        <a:pt x="22584" y="1837"/>
                        <a:pt x="24230" y="5657"/>
                        <a:pt x="22913" y="9016"/>
                      </a:cubicBezTo>
                      <a:lnTo>
                        <a:pt x="12704" y="34439"/>
                      </a:lnTo>
                      <a:cubicBezTo>
                        <a:pt x="11651" y="37074"/>
                        <a:pt x="9148" y="38589"/>
                        <a:pt x="6579" y="38589"/>
                      </a:cubicBezTo>
                      <a:close/>
                    </a:path>
                  </a:pathLst>
                </a:custGeom>
                <a:grpFill/>
                <a:ln w="6578" cap="flat">
                  <a:noFill/>
                  <a:prstDash val="solid"/>
                  <a:miter/>
                </a:ln>
              </p:spPr>
              <p:txBody>
                <a:bodyPr rtlCol="0" anchor="ctr"/>
                <a:lstStyle/>
                <a:p>
                  <a:endParaRPr lang="en-GB" dirty="0"/>
                </a:p>
              </p:txBody>
            </p:sp>
            <p:sp>
              <p:nvSpPr>
                <p:cNvPr id="405" name="Freihandform: Form 523">
                  <a:extLst>
                    <a:ext uri="{FF2B5EF4-FFF2-40B4-BE49-F238E27FC236}">
                      <a16:creationId xmlns:a16="http://schemas.microsoft.com/office/drawing/2014/main" id="{3FC5E29B-A6C1-4F50-ACD5-77C4E24379F0}"/>
                    </a:ext>
                  </a:extLst>
                </p:cNvPr>
                <p:cNvSpPr/>
                <p:nvPr/>
              </p:nvSpPr>
              <p:spPr>
                <a:xfrm>
                  <a:off x="1065620" y="4391298"/>
                  <a:ext cx="114925" cy="40044"/>
                </a:xfrm>
                <a:custGeom>
                  <a:avLst/>
                  <a:gdLst>
                    <a:gd name="connsiteX0" fmla="*/ 108342 w 114925"/>
                    <a:gd name="connsiteY0" fmla="*/ 40045 h 40044"/>
                    <a:gd name="connsiteX1" fmla="*/ 6584 w 114925"/>
                    <a:gd name="connsiteY1" fmla="*/ 40045 h 40044"/>
                    <a:gd name="connsiteX2" fmla="*/ 1512 w 114925"/>
                    <a:gd name="connsiteY2" fmla="*/ 37674 h 40044"/>
                    <a:gd name="connsiteX3" fmla="*/ 129 w 114925"/>
                    <a:gd name="connsiteY3" fmla="*/ 32273 h 40044"/>
                    <a:gd name="connsiteX4" fmla="*/ 5201 w 114925"/>
                    <a:gd name="connsiteY4" fmla="*/ 5335 h 40044"/>
                    <a:gd name="connsiteX5" fmla="*/ 11655 w 114925"/>
                    <a:gd name="connsiteY5" fmla="*/ 0 h 40044"/>
                    <a:gd name="connsiteX6" fmla="*/ 103271 w 114925"/>
                    <a:gd name="connsiteY6" fmla="*/ 0 h 40044"/>
                    <a:gd name="connsiteX7" fmla="*/ 109725 w 114925"/>
                    <a:gd name="connsiteY7" fmla="*/ 5335 h 40044"/>
                    <a:gd name="connsiteX8" fmla="*/ 114797 w 114925"/>
                    <a:gd name="connsiteY8" fmla="*/ 32273 h 40044"/>
                    <a:gd name="connsiteX9" fmla="*/ 113414 w 114925"/>
                    <a:gd name="connsiteY9" fmla="*/ 37674 h 40044"/>
                    <a:gd name="connsiteX10" fmla="*/ 108342 w 114925"/>
                    <a:gd name="connsiteY10" fmla="*/ 40045 h 40044"/>
                    <a:gd name="connsiteX11" fmla="*/ 14553 w 114925"/>
                    <a:gd name="connsiteY11" fmla="*/ 26872 h 40044"/>
                    <a:gd name="connsiteX12" fmla="*/ 100439 w 114925"/>
                    <a:gd name="connsiteY12" fmla="*/ 26872 h 40044"/>
                    <a:gd name="connsiteX13" fmla="*/ 97804 w 114925"/>
                    <a:gd name="connsiteY13" fmla="*/ 13107 h 40044"/>
                    <a:gd name="connsiteX14" fmla="*/ 17122 w 114925"/>
                    <a:gd name="connsiteY14" fmla="*/ 13107 h 40044"/>
                    <a:gd name="connsiteX15" fmla="*/ 14553 w 114925"/>
                    <a:gd name="connsiteY15" fmla="*/ 26872 h 4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925" h="40044">
                      <a:moveTo>
                        <a:pt x="108342" y="40045"/>
                      </a:moveTo>
                      <a:lnTo>
                        <a:pt x="6584" y="40045"/>
                      </a:lnTo>
                      <a:cubicBezTo>
                        <a:pt x="4608" y="40045"/>
                        <a:pt x="2764" y="39189"/>
                        <a:pt x="1512" y="37674"/>
                      </a:cubicBezTo>
                      <a:cubicBezTo>
                        <a:pt x="261" y="36159"/>
                        <a:pt x="-266" y="34183"/>
                        <a:pt x="129" y="32273"/>
                      </a:cubicBezTo>
                      <a:lnTo>
                        <a:pt x="5201" y="5335"/>
                      </a:lnTo>
                      <a:cubicBezTo>
                        <a:pt x="5793" y="2239"/>
                        <a:pt x="8494" y="0"/>
                        <a:pt x="11655" y="0"/>
                      </a:cubicBezTo>
                      <a:lnTo>
                        <a:pt x="103271" y="0"/>
                      </a:lnTo>
                      <a:cubicBezTo>
                        <a:pt x="106432" y="0"/>
                        <a:pt x="109133" y="2239"/>
                        <a:pt x="109725" y="5335"/>
                      </a:cubicBezTo>
                      <a:lnTo>
                        <a:pt x="114797" y="32273"/>
                      </a:lnTo>
                      <a:cubicBezTo>
                        <a:pt x="115192" y="34183"/>
                        <a:pt x="114665" y="36159"/>
                        <a:pt x="113414" y="37674"/>
                      </a:cubicBezTo>
                      <a:cubicBezTo>
                        <a:pt x="112162" y="39189"/>
                        <a:pt x="110318" y="40045"/>
                        <a:pt x="108342" y="40045"/>
                      </a:cubicBezTo>
                      <a:close/>
                      <a:moveTo>
                        <a:pt x="14553" y="26872"/>
                      </a:moveTo>
                      <a:lnTo>
                        <a:pt x="100439" y="26872"/>
                      </a:lnTo>
                      <a:lnTo>
                        <a:pt x="97804" y="13107"/>
                      </a:lnTo>
                      <a:lnTo>
                        <a:pt x="17122" y="13107"/>
                      </a:lnTo>
                      <a:lnTo>
                        <a:pt x="14553" y="26872"/>
                      </a:lnTo>
                      <a:close/>
                    </a:path>
                  </a:pathLst>
                </a:custGeom>
                <a:grpFill/>
                <a:ln w="6578" cap="flat">
                  <a:noFill/>
                  <a:prstDash val="solid"/>
                  <a:miter/>
                </a:ln>
              </p:spPr>
              <p:txBody>
                <a:bodyPr rtlCol="0" anchor="ctr"/>
                <a:lstStyle/>
                <a:p>
                  <a:endParaRPr lang="en-GB" dirty="0"/>
                </a:p>
              </p:txBody>
            </p:sp>
            <p:sp>
              <p:nvSpPr>
                <p:cNvPr id="406" name="Freihandform: Form 524">
                  <a:extLst>
                    <a:ext uri="{FF2B5EF4-FFF2-40B4-BE49-F238E27FC236}">
                      <a16:creationId xmlns:a16="http://schemas.microsoft.com/office/drawing/2014/main" id="{D9AA6427-0D89-4F23-AD3E-23E1C7D72E57}"/>
                    </a:ext>
                  </a:extLst>
                </p:cNvPr>
                <p:cNvSpPr/>
                <p:nvPr/>
              </p:nvSpPr>
              <p:spPr>
                <a:xfrm>
                  <a:off x="1053960" y="4418171"/>
                  <a:ext cx="138312" cy="13172"/>
                </a:xfrm>
                <a:custGeom>
                  <a:avLst/>
                  <a:gdLst>
                    <a:gd name="connsiteX0" fmla="*/ 131726 w 138312"/>
                    <a:gd name="connsiteY0" fmla="*/ 13173 h 13172"/>
                    <a:gd name="connsiteX1" fmla="*/ 6586 w 138312"/>
                    <a:gd name="connsiteY1" fmla="*/ 13173 h 13172"/>
                    <a:gd name="connsiteX2" fmla="*/ 0 w 138312"/>
                    <a:gd name="connsiteY2" fmla="*/ 6586 h 13172"/>
                    <a:gd name="connsiteX3" fmla="*/ 6586 w 138312"/>
                    <a:gd name="connsiteY3" fmla="*/ 0 h 13172"/>
                    <a:gd name="connsiteX4" fmla="*/ 131726 w 138312"/>
                    <a:gd name="connsiteY4" fmla="*/ 0 h 13172"/>
                    <a:gd name="connsiteX5" fmla="*/ 138313 w 138312"/>
                    <a:gd name="connsiteY5" fmla="*/ 6586 h 13172"/>
                    <a:gd name="connsiteX6" fmla="*/ 131726 w 138312"/>
                    <a:gd name="connsiteY6" fmla="*/ 13173 h 1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312" h="13172">
                      <a:moveTo>
                        <a:pt x="131726" y="13173"/>
                      </a:moveTo>
                      <a:lnTo>
                        <a:pt x="6586" y="13173"/>
                      </a:lnTo>
                      <a:cubicBezTo>
                        <a:pt x="2964" y="13173"/>
                        <a:pt x="0" y="10209"/>
                        <a:pt x="0" y="6586"/>
                      </a:cubicBezTo>
                      <a:cubicBezTo>
                        <a:pt x="0" y="2964"/>
                        <a:pt x="2964" y="0"/>
                        <a:pt x="6586" y="0"/>
                      </a:cubicBezTo>
                      <a:lnTo>
                        <a:pt x="131726" y="0"/>
                      </a:lnTo>
                      <a:cubicBezTo>
                        <a:pt x="135349" y="0"/>
                        <a:pt x="138313" y="2964"/>
                        <a:pt x="138313" y="6586"/>
                      </a:cubicBezTo>
                      <a:cubicBezTo>
                        <a:pt x="138313" y="10209"/>
                        <a:pt x="135349" y="13173"/>
                        <a:pt x="131726" y="13173"/>
                      </a:cubicBezTo>
                      <a:close/>
                    </a:path>
                  </a:pathLst>
                </a:custGeom>
                <a:grpFill/>
                <a:ln w="6578" cap="flat">
                  <a:noFill/>
                  <a:prstDash val="solid"/>
                  <a:miter/>
                </a:ln>
              </p:spPr>
              <p:txBody>
                <a:bodyPr rtlCol="0" anchor="ctr"/>
                <a:lstStyle/>
                <a:p>
                  <a:endParaRPr lang="en-GB" dirty="0"/>
                </a:p>
              </p:txBody>
            </p:sp>
            <p:sp>
              <p:nvSpPr>
                <p:cNvPr id="407" name="Freihandform: Form 525">
                  <a:extLst>
                    <a:ext uri="{FF2B5EF4-FFF2-40B4-BE49-F238E27FC236}">
                      <a16:creationId xmlns:a16="http://schemas.microsoft.com/office/drawing/2014/main" id="{D4BE0BB9-5C66-4C8E-9A2C-1DE7BFDC997A}"/>
                    </a:ext>
                  </a:extLst>
                </p:cNvPr>
                <p:cNvSpPr/>
                <p:nvPr/>
              </p:nvSpPr>
              <p:spPr>
                <a:xfrm>
                  <a:off x="1080907" y="4284929"/>
                  <a:ext cx="33515" cy="117368"/>
                </a:xfrm>
                <a:custGeom>
                  <a:avLst/>
                  <a:gdLst>
                    <a:gd name="connsiteX0" fmla="*/ 6577 w 33515"/>
                    <a:gd name="connsiteY0" fmla="*/ 117368 h 117368"/>
                    <a:gd name="connsiteX1" fmla="*/ 4733 w 33515"/>
                    <a:gd name="connsiteY1" fmla="*/ 117105 h 117368"/>
                    <a:gd name="connsiteX2" fmla="*/ 254 w 33515"/>
                    <a:gd name="connsiteY2" fmla="*/ 108938 h 117368"/>
                    <a:gd name="connsiteX3" fmla="*/ 20342 w 33515"/>
                    <a:gd name="connsiteY3" fmla="*/ 6520 h 117368"/>
                    <a:gd name="connsiteX4" fmla="*/ 26929 w 33515"/>
                    <a:gd name="connsiteY4" fmla="*/ 0 h 117368"/>
                    <a:gd name="connsiteX5" fmla="*/ 26995 w 33515"/>
                    <a:gd name="connsiteY5" fmla="*/ 0 h 117368"/>
                    <a:gd name="connsiteX6" fmla="*/ 33515 w 33515"/>
                    <a:gd name="connsiteY6" fmla="*/ 6652 h 117368"/>
                    <a:gd name="connsiteX7" fmla="*/ 12900 w 33515"/>
                    <a:gd name="connsiteY7" fmla="*/ 112560 h 117368"/>
                    <a:gd name="connsiteX8" fmla="*/ 6577 w 33515"/>
                    <a:gd name="connsiteY8" fmla="*/ 117368 h 11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15" h="117368">
                      <a:moveTo>
                        <a:pt x="6577" y="117368"/>
                      </a:moveTo>
                      <a:cubicBezTo>
                        <a:pt x="5984" y="117368"/>
                        <a:pt x="5326" y="117302"/>
                        <a:pt x="4733" y="117105"/>
                      </a:cubicBezTo>
                      <a:cubicBezTo>
                        <a:pt x="1242" y="116117"/>
                        <a:pt x="-734" y="112428"/>
                        <a:pt x="254" y="108938"/>
                      </a:cubicBezTo>
                      <a:cubicBezTo>
                        <a:pt x="452" y="108279"/>
                        <a:pt x="19947" y="40967"/>
                        <a:pt x="20342" y="6520"/>
                      </a:cubicBezTo>
                      <a:cubicBezTo>
                        <a:pt x="20408" y="2898"/>
                        <a:pt x="23306" y="0"/>
                        <a:pt x="26929" y="0"/>
                      </a:cubicBezTo>
                      <a:cubicBezTo>
                        <a:pt x="26929" y="0"/>
                        <a:pt x="26995" y="0"/>
                        <a:pt x="26995" y="0"/>
                      </a:cubicBezTo>
                      <a:cubicBezTo>
                        <a:pt x="30617" y="66"/>
                        <a:pt x="33515" y="3030"/>
                        <a:pt x="33515" y="6652"/>
                      </a:cubicBezTo>
                      <a:cubicBezTo>
                        <a:pt x="33054" y="42877"/>
                        <a:pt x="13690" y="109794"/>
                        <a:pt x="12900" y="112560"/>
                      </a:cubicBezTo>
                      <a:cubicBezTo>
                        <a:pt x="12044" y="115524"/>
                        <a:pt x="9409" y="117368"/>
                        <a:pt x="6577" y="117368"/>
                      </a:cubicBezTo>
                      <a:close/>
                    </a:path>
                  </a:pathLst>
                </a:custGeom>
                <a:grpFill/>
                <a:ln w="6578" cap="flat">
                  <a:noFill/>
                  <a:prstDash val="solid"/>
                  <a:miter/>
                </a:ln>
              </p:spPr>
              <p:txBody>
                <a:bodyPr rtlCol="0" anchor="ctr"/>
                <a:lstStyle/>
                <a:p>
                  <a:endParaRPr lang="en-GB" dirty="0"/>
                </a:p>
              </p:txBody>
            </p:sp>
            <p:sp>
              <p:nvSpPr>
                <p:cNvPr id="408" name="Freihandform: Form 526">
                  <a:extLst>
                    <a:ext uri="{FF2B5EF4-FFF2-40B4-BE49-F238E27FC236}">
                      <a16:creationId xmlns:a16="http://schemas.microsoft.com/office/drawing/2014/main" id="{1FBE3FC2-071D-4D47-B5F0-E3481825648C}"/>
                    </a:ext>
                  </a:extLst>
                </p:cNvPr>
                <p:cNvSpPr/>
                <p:nvPr/>
              </p:nvSpPr>
              <p:spPr>
                <a:xfrm>
                  <a:off x="1131809" y="4284995"/>
                  <a:ext cx="33516" cy="117302"/>
                </a:xfrm>
                <a:custGeom>
                  <a:avLst/>
                  <a:gdLst>
                    <a:gd name="connsiteX0" fmla="*/ 26939 w 33516"/>
                    <a:gd name="connsiteY0" fmla="*/ 117302 h 117302"/>
                    <a:gd name="connsiteX1" fmla="*/ 20616 w 33516"/>
                    <a:gd name="connsiteY1" fmla="*/ 112560 h 117302"/>
                    <a:gd name="connsiteX2" fmla="*/ 1 w 33516"/>
                    <a:gd name="connsiteY2" fmla="*/ 6652 h 117302"/>
                    <a:gd name="connsiteX3" fmla="*/ 6522 w 33516"/>
                    <a:gd name="connsiteY3" fmla="*/ 0 h 117302"/>
                    <a:gd name="connsiteX4" fmla="*/ 6587 w 33516"/>
                    <a:gd name="connsiteY4" fmla="*/ 0 h 117302"/>
                    <a:gd name="connsiteX5" fmla="*/ 13174 w 33516"/>
                    <a:gd name="connsiteY5" fmla="*/ 6520 h 117302"/>
                    <a:gd name="connsiteX6" fmla="*/ 33262 w 33516"/>
                    <a:gd name="connsiteY6" fmla="*/ 108938 h 117302"/>
                    <a:gd name="connsiteX7" fmla="*/ 28783 w 33516"/>
                    <a:gd name="connsiteY7" fmla="*/ 117105 h 117302"/>
                    <a:gd name="connsiteX8" fmla="*/ 26939 w 33516"/>
                    <a:gd name="connsiteY8" fmla="*/ 117302 h 117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16" h="117302">
                      <a:moveTo>
                        <a:pt x="26939" y="117302"/>
                      </a:moveTo>
                      <a:cubicBezTo>
                        <a:pt x="24107" y="117302"/>
                        <a:pt x="21472" y="115458"/>
                        <a:pt x="20616" y="112560"/>
                      </a:cubicBezTo>
                      <a:cubicBezTo>
                        <a:pt x="19760" y="109728"/>
                        <a:pt x="462" y="42482"/>
                        <a:pt x="1" y="6652"/>
                      </a:cubicBezTo>
                      <a:cubicBezTo>
                        <a:pt x="-65" y="3030"/>
                        <a:pt x="2899" y="0"/>
                        <a:pt x="6522" y="0"/>
                      </a:cubicBezTo>
                      <a:cubicBezTo>
                        <a:pt x="6522" y="0"/>
                        <a:pt x="6587" y="0"/>
                        <a:pt x="6587" y="0"/>
                      </a:cubicBezTo>
                      <a:cubicBezTo>
                        <a:pt x="10210" y="0"/>
                        <a:pt x="13108" y="2898"/>
                        <a:pt x="13174" y="6520"/>
                      </a:cubicBezTo>
                      <a:cubicBezTo>
                        <a:pt x="13635" y="40572"/>
                        <a:pt x="33064" y="108279"/>
                        <a:pt x="33262" y="108938"/>
                      </a:cubicBezTo>
                      <a:cubicBezTo>
                        <a:pt x="34250" y="112428"/>
                        <a:pt x="32274" y="116117"/>
                        <a:pt x="28783" y="117105"/>
                      </a:cubicBezTo>
                      <a:cubicBezTo>
                        <a:pt x="28125" y="117236"/>
                        <a:pt x="27532" y="117302"/>
                        <a:pt x="26939" y="117302"/>
                      </a:cubicBezTo>
                      <a:close/>
                    </a:path>
                  </a:pathLst>
                </a:custGeom>
                <a:grpFill/>
                <a:ln w="6578" cap="flat">
                  <a:noFill/>
                  <a:prstDash val="solid"/>
                  <a:miter/>
                </a:ln>
              </p:spPr>
              <p:txBody>
                <a:bodyPr rtlCol="0" anchor="ctr"/>
                <a:lstStyle/>
                <a:p>
                  <a:endParaRPr lang="en-GB" dirty="0"/>
                </a:p>
              </p:txBody>
            </p:sp>
          </p:grpSp>
        </p:grpSp>
      </p:grpSp>
      <p:grpSp>
        <p:nvGrpSpPr>
          <p:cNvPr id="267" name="Group 266">
            <a:extLst>
              <a:ext uri="{FF2B5EF4-FFF2-40B4-BE49-F238E27FC236}">
                <a16:creationId xmlns:a16="http://schemas.microsoft.com/office/drawing/2014/main" id="{B66B73AA-785E-14CB-C7DF-9F779F5DD119}"/>
              </a:ext>
            </a:extLst>
          </p:cNvPr>
          <p:cNvGrpSpPr/>
          <p:nvPr/>
        </p:nvGrpSpPr>
        <p:grpSpPr>
          <a:xfrm>
            <a:off x="3645746" y="4002611"/>
            <a:ext cx="623213" cy="432000"/>
            <a:chOff x="3645746" y="4002611"/>
            <a:chExt cx="623213" cy="432000"/>
          </a:xfrm>
        </p:grpSpPr>
        <p:grpSp>
          <p:nvGrpSpPr>
            <p:cNvPr id="417" name="Grafik 212">
              <a:extLst>
                <a:ext uri="{FF2B5EF4-FFF2-40B4-BE49-F238E27FC236}">
                  <a16:creationId xmlns:a16="http://schemas.microsoft.com/office/drawing/2014/main" id="{43DF9D4C-F124-4F9B-8469-6422710EB074}"/>
                </a:ext>
              </a:extLst>
            </p:cNvPr>
            <p:cNvGrpSpPr/>
            <p:nvPr/>
          </p:nvGrpSpPr>
          <p:grpSpPr>
            <a:xfrm>
              <a:off x="3858036" y="4002611"/>
              <a:ext cx="410923" cy="432000"/>
              <a:chOff x="3544443" y="3306005"/>
              <a:chExt cx="321016" cy="337482"/>
            </a:xfrm>
            <a:solidFill>
              <a:schemeClr val="accent1"/>
            </a:solidFill>
          </p:grpSpPr>
          <p:sp>
            <p:nvSpPr>
              <p:cNvPr id="434" name="Freihandform: Form 371">
                <a:extLst>
                  <a:ext uri="{FF2B5EF4-FFF2-40B4-BE49-F238E27FC236}">
                    <a16:creationId xmlns:a16="http://schemas.microsoft.com/office/drawing/2014/main" id="{8B780A2D-DFAA-4794-BB53-364EF9BE32D0}"/>
                  </a:ext>
                </a:extLst>
              </p:cNvPr>
              <p:cNvSpPr/>
              <p:nvPr/>
            </p:nvSpPr>
            <p:spPr>
              <a:xfrm>
                <a:off x="3544443" y="3306005"/>
                <a:ext cx="321016" cy="337482"/>
              </a:xfrm>
              <a:custGeom>
                <a:avLst/>
                <a:gdLst>
                  <a:gd name="connsiteX0" fmla="*/ 160772 w 321016"/>
                  <a:gd name="connsiteY0" fmla="*/ 337351 h 337482"/>
                  <a:gd name="connsiteX1" fmla="*/ 160113 w 321016"/>
                  <a:gd name="connsiteY1" fmla="*/ 337351 h 337482"/>
                  <a:gd name="connsiteX2" fmla="*/ 150761 w 321016"/>
                  <a:gd name="connsiteY2" fmla="*/ 334321 h 337482"/>
                  <a:gd name="connsiteX3" fmla="*/ 395 w 321016"/>
                  <a:gd name="connsiteY3" fmla="*/ 95699 h 337482"/>
                  <a:gd name="connsiteX4" fmla="*/ 264 w 321016"/>
                  <a:gd name="connsiteY4" fmla="*/ 94975 h 337482"/>
                  <a:gd name="connsiteX5" fmla="*/ 0 w 321016"/>
                  <a:gd name="connsiteY5" fmla="*/ 92604 h 337482"/>
                  <a:gd name="connsiteX6" fmla="*/ 10275 w 321016"/>
                  <a:gd name="connsiteY6" fmla="*/ 80551 h 337482"/>
                  <a:gd name="connsiteX7" fmla="*/ 47882 w 321016"/>
                  <a:gd name="connsiteY7" fmla="*/ 73833 h 337482"/>
                  <a:gd name="connsiteX8" fmla="*/ 53152 w 321016"/>
                  <a:gd name="connsiteY8" fmla="*/ 50122 h 337482"/>
                  <a:gd name="connsiteX9" fmla="*/ 55654 w 321016"/>
                  <a:gd name="connsiteY9" fmla="*/ 41362 h 337482"/>
                  <a:gd name="connsiteX10" fmla="*/ 160838 w 321016"/>
                  <a:gd name="connsiteY10" fmla="*/ 0 h 337482"/>
                  <a:gd name="connsiteX11" fmla="*/ 213397 w 321016"/>
                  <a:gd name="connsiteY11" fmla="*/ 19825 h 337482"/>
                  <a:gd name="connsiteX12" fmla="*/ 266746 w 321016"/>
                  <a:gd name="connsiteY12" fmla="*/ 44194 h 337482"/>
                  <a:gd name="connsiteX13" fmla="*/ 267075 w 321016"/>
                  <a:gd name="connsiteY13" fmla="*/ 45380 h 337482"/>
                  <a:gd name="connsiteX14" fmla="*/ 273069 w 321016"/>
                  <a:gd name="connsiteY14" fmla="*/ 73898 h 337482"/>
                  <a:gd name="connsiteX15" fmla="*/ 310677 w 321016"/>
                  <a:gd name="connsiteY15" fmla="*/ 80617 h 337482"/>
                  <a:gd name="connsiteX16" fmla="*/ 321017 w 321016"/>
                  <a:gd name="connsiteY16" fmla="*/ 92669 h 337482"/>
                  <a:gd name="connsiteX17" fmla="*/ 320819 w 321016"/>
                  <a:gd name="connsiteY17" fmla="*/ 94843 h 337482"/>
                  <a:gd name="connsiteX18" fmla="*/ 320622 w 321016"/>
                  <a:gd name="connsiteY18" fmla="*/ 95897 h 337482"/>
                  <a:gd name="connsiteX19" fmla="*/ 170256 w 321016"/>
                  <a:gd name="connsiteY19" fmla="*/ 334453 h 337482"/>
                  <a:gd name="connsiteX20" fmla="*/ 161299 w 321016"/>
                  <a:gd name="connsiteY20" fmla="*/ 337483 h 337482"/>
                  <a:gd name="connsiteX21" fmla="*/ 160772 w 321016"/>
                  <a:gd name="connsiteY21" fmla="*/ 337351 h 337482"/>
                  <a:gd name="connsiteX22" fmla="*/ 13370 w 321016"/>
                  <a:gd name="connsiteY22" fmla="*/ 93262 h 337482"/>
                  <a:gd name="connsiteX23" fmla="*/ 13370 w 321016"/>
                  <a:gd name="connsiteY23" fmla="*/ 93262 h 337482"/>
                  <a:gd name="connsiteX24" fmla="*/ 158138 w 321016"/>
                  <a:gd name="connsiteY24" fmla="*/ 323322 h 337482"/>
                  <a:gd name="connsiteX25" fmla="*/ 160706 w 321016"/>
                  <a:gd name="connsiteY25" fmla="*/ 324178 h 337482"/>
                  <a:gd name="connsiteX26" fmla="*/ 160838 w 321016"/>
                  <a:gd name="connsiteY26" fmla="*/ 330765 h 337482"/>
                  <a:gd name="connsiteX27" fmla="*/ 160838 w 321016"/>
                  <a:gd name="connsiteY27" fmla="*/ 324178 h 337482"/>
                  <a:gd name="connsiteX28" fmla="*/ 160838 w 321016"/>
                  <a:gd name="connsiteY28" fmla="*/ 330765 h 337482"/>
                  <a:gd name="connsiteX29" fmla="*/ 160838 w 321016"/>
                  <a:gd name="connsiteY29" fmla="*/ 324178 h 337482"/>
                  <a:gd name="connsiteX30" fmla="*/ 162880 w 321016"/>
                  <a:gd name="connsiteY30" fmla="*/ 323322 h 337482"/>
                  <a:gd name="connsiteX31" fmla="*/ 307647 w 321016"/>
                  <a:gd name="connsiteY31" fmla="*/ 93394 h 337482"/>
                  <a:gd name="connsiteX32" fmla="*/ 307647 w 321016"/>
                  <a:gd name="connsiteY32" fmla="*/ 93262 h 337482"/>
                  <a:gd name="connsiteX33" fmla="*/ 267207 w 321016"/>
                  <a:gd name="connsiteY33" fmla="*/ 86017 h 337482"/>
                  <a:gd name="connsiteX34" fmla="*/ 254693 w 321016"/>
                  <a:gd name="connsiteY34" fmla="*/ 50649 h 337482"/>
                  <a:gd name="connsiteX35" fmla="*/ 160772 w 321016"/>
                  <a:gd name="connsiteY35" fmla="*/ 13304 h 337482"/>
                  <a:gd name="connsiteX36" fmla="*/ 66653 w 321016"/>
                  <a:gd name="connsiteY36" fmla="*/ 49727 h 337482"/>
                  <a:gd name="connsiteX37" fmla="*/ 66061 w 321016"/>
                  <a:gd name="connsiteY37" fmla="*/ 52559 h 337482"/>
                  <a:gd name="connsiteX38" fmla="*/ 53613 w 321016"/>
                  <a:gd name="connsiteY38" fmla="*/ 86017 h 337482"/>
                  <a:gd name="connsiteX39" fmla="*/ 13370 w 321016"/>
                  <a:gd name="connsiteY39" fmla="*/ 93262 h 337482"/>
                  <a:gd name="connsiteX40" fmla="*/ 308767 w 321016"/>
                  <a:gd name="connsiteY40" fmla="*/ 93460 h 337482"/>
                  <a:gd name="connsiteX41" fmla="*/ 308767 w 321016"/>
                  <a:gd name="connsiteY41" fmla="*/ 93460 h 337482"/>
                  <a:gd name="connsiteX42" fmla="*/ 308767 w 321016"/>
                  <a:gd name="connsiteY42" fmla="*/ 93460 h 337482"/>
                  <a:gd name="connsiteX43" fmla="*/ 12250 w 321016"/>
                  <a:gd name="connsiteY43" fmla="*/ 93460 h 337482"/>
                  <a:gd name="connsiteX44" fmla="*/ 12250 w 321016"/>
                  <a:gd name="connsiteY44" fmla="*/ 93460 h 337482"/>
                  <a:gd name="connsiteX45" fmla="*/ 12250 w 321016"/>
                  <a:gd name="connsiteY45" fmla="*/ 93460 h 337482"/>
                  <a:gd name="connsiteX46" fmla="*/ 51373 w 321016"/>
                  <a:gd name="connsiteY46" fmla="*/ 73108 h 337482"/>
                  <a:gd name="connsiteX47" fmla="*/ 51307 w 321016"/>
                  <a:gd name="connsiteY47" fmla="*/ 73108 h 337482"/>
                  <a:gd name="connsiteX48" fmla="*/ 51373 w 321016"/>
                  <a:gd name="connsiteY48" fmla="*/ 73108 h 337482"/>
                  <a:gd name="connsiteX49" fmla="*/ 269578 w 321016"/>
                  <a:gd name="connsiteY49" fmla="*/ 73108 h 337482"/>
                  <a:gd name="connsiteX50" fmla="*/ 269644 w 321016"/>
                  <a:gd name="connsiteY50" fmla="*/ 73108 h 337482"/>
                  <a:gd name="connsiteX51" fmla="*/ 269578 w 321016"/>
                  <a:gd name="connsiteY51" fmla="*/ 73108 h 33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21016" h="337482">
                    <a:moveTo>
                      <a:pt x="160772" y="337351"/>
                    </a:moveTo>
                    <a:cubicBezTo>
                      <a:pt x="160640" y="337351"/>
                      <a:pt x="160179" y="337351"/>
                      <a:pt x="160113" y="337351"/>
                    </a:cubicBezTo>
                    <a:cubicBezTo>
                      <a:pt x="157808" y="337285"/>
                      <a:pt x="154581" y="336824"/>
                      <a:pt x="150761" y="334321"/>
                    </a:cubicBezTo>
                    <a:cubicBezTo>
                      <a:pt x="39650" y="260094"/>
                      <a:pt x="8562" y="142660"/>
                      <a:pt x="395" y="95699"/>
                    </a:cubicBezTo>
                    <a:lnTo>
                      <a:pt x="264" y="94975"/>
                    </a:lnTo>
                    <a:cubicBezTo>
                      <a:pt x="132" y="94316"/>
                      <a:pt x="0" y="93460"/>
                      <a:pt x="0" y="92604"/>
                    </a:cubicBezTo>
                    <a:cubicBezTo>
                      <a:pt x="0" y="86610"/>
                      <a:pt x="4413" y="81407"/>
                      <a:pt x="10275" y="80551"/>
                    </a:cubicBezTo>
                    <a:cubicBezTo>
                      <a:pt x="11855" y="80287"/>
                      <a:pt x="30231" y="76994"/>
                      <a:pt x="47882" y="73833"/>
                    </a:cubicBezTo>
                    <a:cubicBezTo>
                      <a:pt x="49463" y="68234"/>
                      <a:pt x="52098" y="55457"/>
                      <a:pt x="53152" y="50122"/>
                    </a:cubicBezTo>
                    <a:cubicBezTo>
                      <a:pt x="54666" y="42679"/>
                      <a:pt x="54666" y="42679"/>
                      <a:pt x="55654" y="41362"/>
                    </a:cubicBezTo>
                    <a:cubicBezTo>
                      <a:pt x="58948" y="36949"/>
                      <a:pt x="160113" y="0"/>
                      <a:pt x="160838" y="0"/>
                    </a:cubicBezTo>
                    <a:cubicBezTo>
                      <a:pt x="162155" y="0"/>
                      <a:pt x="163406" y="0"/>
                      <a:pt x="213397" y="19825"/>
                    </a:cubicBezTo>
                    <a:cubicBezTo>
                      <a:pt x="265297" y="40374"/>
                      <a:pt x="265363" y="40638"/>
                      <a:pt x="266746" y="44194"/>
                    </a:cubicBezTo>
                    <a:cubicBezTo>
                      <a:pt x="266877" y="44589"/>
                      <a:pt x="267009" y="44985"/>
                      <a:pt x="267075" y="45380"/>
                    </a:cubicBezTo>
                    <a:cubicBezTo>
                      <a:pt x="268985" y="56050"/>
                      <a:pt x="271554" y="68498"/>
                      <a:pt x="273069" y="73898"/>
                    </a:cubicBezTo>
                    <a:cubicBezTo>
                      <a:pt x="285056" y="76072"/>
                      <a:pt x="308437" y="80287"/>
                      <a:pt x="310677" y="80617"/>
                    </a:cubicBezTo>
                    <a:cubicBezTo>
                      <a:pt x="316472" y="81407"/>
                      <a:pt x="321017" y="86610"/>
                      <a:pt x="321017" y="92669"/>
                    </a:cubicBezTo>
                    <a:cubicBezTo>
                      <a:pt x="321017" y="93394"/>
                      <a:pt x="320951" y="94184"/>
                      <a:pt x="320819" y="94843"/>
                    </a:cubicBezTo>
                    <a:lnTo>
                      <a:pt x="320622" y="95897"/>
                    </a:lnTo>
                    <a:cubicBezTo>
                      <a:pt x="312389" y="142857"/>
                      <a:pt x="281301" y="260291"/>
                      <a:pt x="170256" y="334453"/>
                    </a:cubicBezTo>
                    <a:cubicBezTo>
                      <a:pt x="167490" y="336363"/>
                      <a:pt x="164460" y="337351"/>
                      <a:pt x="161299" y="337483"/>
                    </a:cubicBezTo>
                    <a:cubicBezTo>
                      <a:pt x="161167" y="337351"/>
                      <a:pt x="160904" y="337351"/>
                      <a:pt x="160772" y="337351"/>
                    </a:cubicBezTo>
                    <a:close/>
                    <a:moveTo>
                      <a:pt x="13370" y="93262"/>
                    </a:moveTo>
                    <a:lnTo>
                      <a:pt x="13370" y="93262"/>
                    </a:lnTo>
                    <a:cubicBezTo>
                      <a:pt x="21274" y="138708"/>
                      <a:pt x="51176" y="251861"/>
                      <a:pt x="158138" y="323322"/>
                    </a:cubicBezTo>
                    <a:cubicBezTo>
                      <a:pt x="159257" y="324047"/>
                      <a:pt x="159850" y="324113"/>
                      <a:pt x="160706" y="324178"/>
                    </a:cubicBezTo>
                    <a:lnTo>
                      <a:pt x="160838" y="330765"/>
                    </a:lnTo>
                    <a:lnTo>
                      <a:pt x="160838" y="324178"/>
                    </a:lnTo>
                    <a:lnTo>
                      <a:pt x="160838" y="330765"/>
                    </a:lnTo>
                    <a:lnTo>
                      <a:pt x="160838" y="324178"/>
                    </a:lnTo>
                    <a:cubicBezTo>
                      <a:pt x="161233" y="324178"/>
                      <a:pt x="161892" y="324047"/>
                      <a:pt x="162880" y="323322"/>
                    </a:cubicBezTo>
                    <a:cubicBezTo>
                      <a:pt x="269710" y="251992"/>
                      <a:pt x="299743" y="138774"/>
                      <a:pt x="307647" y="93394"/>
                    </a:cubicBezTo>
                    <a:lnTo>
                      <a:pt x="307647" y="93262"/>
                    </a:lnTo>
                    <a:cubicBezTo>
                      <a:pt x="301456" y="92208"/>
                      <a:pt x="275703" y="87598"/>
                      <a:pt x="267207" y="86017"/>
                    </a:cubicBezTo>
                    <a:cubicBezTo>
                      <a:pt x="262596" y="85227"/>
                      <a:pt x="260950" y="84898"/>
                      <a:pt x="254693" y="50649"/>
                    </a:cubicBezTo>
                    <a:cubicBezTo>
                      <a:pt x="240796" y="44392"/>
                      <a:pt x="173154" y="17717"/>
                      <a:pt x="160772" y="13304"/>
                    </a:cubicBezTo>
                    <a:cubicBezTo>
                      <a:pt x="148851" y="17454"/>
                      <a:pt x="81012" y="43667"/>
                      <a:pt x="66653" y="49727"/>
                    </a:cubicBezTo>
                    <a:cubicBezTo>
                      <a:pt x="66456" y="50583"/>
                      <a:pt x="66258" y="51505"/>
                      <a:pt x="66061" y="52559"/>
                    </a:cubicBezTo>
                    <a:cubicBezTo>
                      <a:pt x="59936" y="82592"/>
                      <a:pt x="59013" y="85095"/>
                      <a:pt x="53613" y="86017"/>
                    </a:cubicBezTo>
                    <a:cubicBezTo>
                      <a:pt x="47751" y="87137"/>
                      <a:pt x="19693" y="92208"/>
                      <a:pt x="13370" y="93262"/>
                    </a:cubicBezTo>
                    <a:close/>
                    <a:moveTo>
                      <a:pt x="308767" y="93460"/>
                    </a:moveTo>
                    <a:cubicBezTo>
                      <a:pt x="308767" y="93460"/>
                      <a:pt x="308767" y="93460"/>
                      <a:pt x="308767" y="93460"/>
                    </a:cubicBezTo>
                    <a:cubicBezTo>
                      <a:pt x="308767" y="93460"/>
                      <a:pt x="308767" y="93460"/>
                      <a:pt x="308767" y="93460"/>
                    </a:cubicBezTo>
                    <a:close/>
                    <a:moveTo>
                      <a:pt x="12250" y="93460"/>
                    </a:moveTo>
                    <a:cubicBezTo>
                      <a:pt x="12250" y="93460"/>
                      <a:pt x="12250" y="93460"/>
                      <a:pt x="12250" y="93460"/>
                    </a:cubicBezTo>
                    <a:cubicBezTo>
                      <a:pt x="12250" y="93460"/>
                      <a:pt x="12250" y="93460"/>
                      <a:pt x="12250" y="93460"/>
                    </a:cubicBezTo>
                    <a:close/>
                    <a:moveTo>
                      <a:pt x="51373" y="73108"/>
                    </a:moveTo>
                    <a:cubicBezTo>
                      <a:pt x="51373" y="73108"/>
                      <a:pt x="51307" y="73108"/>
                      <a:pt x="51307" y="73108"/>
                    </a:cubicBezTo>
                    <a:cubicBezTo>
                      <a:pt x="51373" y="73108"/>
                      <a:pt x="51373" y="73108"/>
                      <a:pt x="51373" y="73108"/>
                    </a:cubicBezTo>
                    <a:close/>
                    <a:moveTo>
                      <a:pt x="269578" y="73108"/>
                    </a:moveTo>
                    <a:cubicBezTo>
                      <a:pt x="269578" y="73108"/>
                      <a:pt x="269644" y="73108"/>
                      <a:pt x="269644" y="73108"/>
                    </a:cubicBezTo>
                    <a:cubicBezTo>
                      <a:pt x="269644" y="73108"/>
                      <a:pt x="269578" y="73108"/>
                      <a:pt x="269578" y="73108"/>
                    </a:cubicBezTo>
                    <a:close/>
                  </a:path>
                </a:pathLst>
              </a:custGeom>
              <a:solidFill>
                <a:schemeClr val="accent1"/>
              </a:solidFill>
              <a:ln w="6578" cap="flat">
                <a:noFill/>
                <a:prstDash val="solid"/>
                <a:miter/>
              </a:ln>
            </p:spPr>
            <p:txBody>
              <a:bodyPr rtlCol="0" anchor="ctr"/>
              <a:lstStyle/>
              <a:p>
                <a:endParaRPr lang="en-GB" dirty="0"/>
              </a:p>
            </p:txBody>
          </p:sp>
          <p:sp>
            <p:nvSpPr>
              <p:cNvPr id="435" name="Freihandform: Form 372">
                <a:extLst>
                  <a:ext uri="{FF2B5EF4-FFF2-40B4-BE49-F238E27FC236}">
                    <a16:creationId xmlns:a16="http://schemas.microsoft.com/office/drawing/2014/main" id="{3AAD415D-50C4-4639-98FA-C803DE154DD9}"/>
                  </a:ext>
                </a:extLst>
              </p:cNvPr>
              <p:cNvSpPr/>
              <p:nvPr/>
            </p:nvSpPr>
            <p:spPr>
              <a:xfrm>
                <a:off x="3583763" y="3346379"/>
                <a:ext cx="242442" cy="256405"/>
              </a:xfrm>
              <a:custGeom>
                <a:avLst/>
                <a:gdLst>
                  <a:gd name="connsiteX0" fmla="*/ 121386 w 242442"/>
                  <a:gd name="connsiteY0" fmla="*/ 256405 h 256405"/>
                  <a:gd name="connsiteX1" fmla="*/ 120661 w 242442"/>
                  <a:gd name="connsiteY1" fmla="*/ 256405 h 256405"/>
                  <a:gd name="connsiteX2" fmla="*/ 113021 w 242442"/>
                  <a:gd name="connsiteY2" fmla="*/ 253837 h 256405"/>
                  <a:gd name="connsiteX3" fmla="*/ 264 w 242442"/>
                  <a:gd name="connsiteY3" fmla="*/ 74952 h 256405"/>
                  <a:gd name="connsiteX4" fmla="*/ 0 w 242442"/>
                  <a:gd name="connsiteY4" fmla="*/ 72384 h 256405"/>
                  <a:gd name="connsiteX5" fmla="*/ 9089 w 242442"/>
                  <a:gd name="connsiteY5" fmla="*/ 61714 h 256405"/>
                  <a:gd name="connsiteX6" fmla="*/ 35961 w 242442"/>
                  <a:gd name="connsiteY6" fmla="*/ 56906 h 256405"/>
                  <a:gd name="connsiteX7" fmla="*/ 39650 w 242442"/>
                  <a:gd name="connsiteY7" fmla="*/ 39189 h 256405"/>
                  <a:gd name="connsiteX8" fmla="*/ 41823 w 242442"/>
                  <a:gd name="connsiteY8" fmla="*/ 31549 h 256405"/>
                  <a:gd name="connsiteX9" fmla="*/ 121518 w 242442"/>
                  <a:gd name="connsiteY9" fmla="*/ 0 h 256405"/>
                  <a:gd name="connsiteX10" fmla="*/ 161299 w 242442"/>
                  <a:gd name="connsiteY10" fmla="*/ 14885 h 256405"/>
                  <a:gd name="connsiteX11" fmla="*/ 201936 w 242442"/>
                  <a:gd name="connsiteY11" fmla="*/ 33985 h 256405"/>
                  <a:gd name="connsiteX12" fmla="*/ 202266 w 242442"/>
                  <a:gd name="connsiteY12" fmla="*/ 35237 h 256405"/>
                  <a:gd name="connsiteX13" fmla="*/ 206481 w 242442"/>
                  <a:gd name="connsiteY13" fmla="*/ 56840 h 256405"/>
                  <a:gd name="connsiteX14" fmla="*/ 233353 w 242442"/>
                  <a:gd name="connsiteY14" fmla="*/ 61648 h 256405"/>
                  <a:gd name="connsiteX15" fmla="*/ 242442 w 242442"/>
                  <a:gd name="connsiteY15" fmla="*/ 72318 h 256405"/>
                  <a:gd name="connsiteX16" fmla="*/ 242245 w 242442"/>
                  <a:gd name="connsiteY16" fmla="*/ 74294 h 256405"/>
                  <a:gd name="connsiteX17" fmla="*/ 242113 w 242442"/>
                  <a:gd name="connsiteY17" fmla="*/ 75018 h 256405"/>
                  <a:gd name="connsiteX18" fmla="*/ 129355 w 242442"/>
                  <a:gd name="connsiteY18" fmla="*/ 253837 h 256405"/>
                  <a:gd name="connsiteX19" fmla="*/ 121781 w 242442"/>
                  <a:gd name="connsiteY19" fmla="*/ 256405 h 256405"/>
                  <a:gd name="connsiteX20" fmla="*/ 121386 w 242442"/>
                  <a:gd name="connsiteY20" fmla="*/ 256405 h 256405"/>
                  <a:gd name="connsiteX21" fmla="*/ 121386 w 242442"/>
                  <a:gd name="connsiteY21" fmla="*/ 249621 h 256405"/>
                  <a:gd name="connsiteX22" fmla="*/ 121386 w 242442"/>
                  <a:gd name="connsiteY22" fmla="*/ 249819 h 256405"/>
                  <a:gd name="connsiteX23" fmla="*/ 121386 w 242442"/>
                  <a:gd name="connsiteY23" fmla="*/ 249621 h 256405"/>
                  <a:gd name="connsiteX24" fmla="*/ 121386 w 242442"/>
                  <a:gd name="connsiteY24" fmla="*/ 249621 h 256405"/>
                  <a:gd name="connsiteX25" fmla="*/ 121386 w 242442"/>
                  <a:gd name="connsiteY25" fmla="*/ 249819 h 256405"/>
                  <a:gd name="connsiteX26" fmla="*/ 121386 w 242442"/>
                  <a:gd name="connsiteY26" fmla="*/ 249621 h 256405"/>
                  <a:gd name="connsiteX27" fmla="*/ 13502 w 242442"/>
                  <a:gd name="connsiteY27" fmla="*/ 74294 h 256405"/>
                  <a:gd name="connsiteX28" fmla="*/ 120332 w 242442"/>
                  <a:gd name="connsiteY28" fmla="*/ 242903 h 256405"/>
                  <a:gd name="connsiteX29" fmla="*/ 121188 w 242442"/>
                  <a:gd name="connsiteY29" fmla="*/ 243233 h 256405"/>
                  <a:gd name="connsiteX30" fmla="*/ 121978 w 242442"/>
                  <a:gd name="connsiteY30" fmla="*/ 242903 h 256405"/>
                  <a:gd name="connsiteX31" fmla="*/ 228809 w 242442"/>
                  <a:gd name="connsiteY31" fmla="*/ 74294 h 256405"/>
                  <a:gd name="connsiteX32" fmla="*/ 200356 w 242442"/>
                  <a:gd name="connsiteY32" fmla="*/ 69222 h 256405"/>
                  <a:gd name="connsiteX33" fmla="*/ 189818 w 242442"/>
                  <a:gd name="connsiteY33" fmla="*/ 40835 h 256405"/>
                  <a:gd name="connsiteX34" fmla="*/ 121386 w 242442"/>
                  <a:gd name="connsiteY34" fmla="*/ 13634 h 256405"/>
                  <a:gd name="connsiteX35" fmla="*/ 52822 w 242442"/>
                  <a:gd name="connsiteY35" fmla="*/ 40177 h 256405"/>
                  <a:gd name="connsiteX36" fmla="*/ 52493 w 242442"/>
                  <a:gd name="connsiteY36" fmla="*/ 41757 h 256405"/>
                  <a:gd name="connsiteX37" fmla="*/ 41889 w 242442"/>
                  <a:gd name="connsiteY37" fmla="*/ 69288 h 256405"/>
                  <a:gd name="connsiteX38" fmla="*/ 13502 w 242442"/>
                  <a:gd name="connsiteY38" fmla="*/ 74294 h 256405"/>
                  <a:gd name="connsiteX39" fmla="*/ 231311 w 242442"/>
                  <a:gd name="connsiteY39" fmla="*/ 74689 h 256405"/>
                  <a:gd name="connsiteX40" fmla="*/ 231443 w 242442"/>
                  <a:gd name="connsiteY40" fmla="*/ 74689 h 256405"/>
                  <a:gd name="connsiteX41" fmla="*/ 231311 w 242442"/>
                  <a:gd name="connsiteY41" fmla="*/ 74689 h 256405"/>
                  <a:gd name="connsiteX42" fmla="*/ 11065 w 242442"/>
                  <a:gd name="connsiteY42" fmla="*/ 74689 h 256405"/>
                  <a:gd name="connsiteX43" fmla="*/ 11065 w 242442"/>
                  <a:gd name="connsiteY43" fmla="*/ 74689 h 256405"/>
                  <a:gd name="connsiteX44" fmla="*/ 11065 w 242442"/>
                  <a:gd name="connsiteY44" fmla="*/ 74689 h 256405"/>
                  <a:gd name="connsiteX45" fmla="*/ 39584 w 242442"/>
                  <a:gd name="connsiteY45" fmla="*/ 56247 h 256405"/>
                  <a:gd name="connsiteX46" fmla="*/ 39584 w 242442"/>
                  <a:gd name="connsiteY46" fmla="*/ 56247 h 256405"/>
                  <a:gd name="connsiteX47" fmla="*/ 39584 w 242442"/>
                  <a:gd name="connsiteY47" fmla="*/ 56247 h 256405"/>
                  <a:gd name="connsiteX48" fmla="*/ 202727 w 242442"/>
                  <a:gd name="connsiteY48" fmla="*/ 56247 h 256405"/>
                  <a:gd name="connsiteX49" fmla="*/ 202793 w 242442"/>
                  <a:gd name="connsiteY49" fmla="*/ 56247 h 256405"/>
                  <a:gd name="connsiteX50" fmla="*/ 202727 w 242442"/>
                  <a:gd name="connsiteY50" fmla="*/ 56247 h 25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42442" h="256405">
                    <a:moveTo>
                      <a:pt x="121386" y="256405"/>
                    </a:moveTo>
                    <a:cubicBezTo>
                      <a:pt x="121254" y="256405"/>
                      <a:pt x="120859" y="256405"/>
                      <a:pt x="120661" y="256405"/>
                    </a:cubicBezTo>
                    <a:cubicBezTo>
                      <a:pt x="118883" y="256340"/>
                      <a:pt x="116183" y="256010"/>
                      <a:pt x="113021" y="253837"/>
                    </a:cubicBezTo>
                    <a:cubicBezTo>
                      <a:pt x="29704" y="198182"/>
                      <a:pt x="6389" y="110189"/>
                      <a:pt x="264" y="74952"/>
                    </a:cubicBezTo>
                    <a:cubicBezTo>
                      <a:pt x="66" y="73964"/>
                      <a:pt x="0" y="73174"/>
                      <a:pt x="0" y="72384"/>
                    </a:cubicBezTo>
                    <a:cubicBezTo>
                      <a:pt x="0" y="67049"/>
                      <a:pt x="3886" y="62504"/>
                      <a:pt x="9089" y="61714"/>
                    </a:cubicBezTo>
                    <a:cubicBezTo>
                      <a:pt x="10406" y="61516"/>
                      <a:pt x="25753" y="58750"/>
                      <a:pt x="35961" y="56906"/>
                    </a:cubicBezTo>
                    <a:cubicBezTo>
                      <a:pt x="37147" y="52164"/>
                      <a:pt x="38859" y="43075"/>
                      <a:pt x="39650" y="39189"/>
                    </a:cubicBezTo>
                    <a:cubicBezTo>
                      <a:pt x="40835" y="32866"/>
                      <a:pt x="40835" y="32866"/>
                      <a:pt x="41823" y="31549"/>
                    </a:cubicBezTo>
                    <a:cubicBezTo>
                      <a:pt x="44787" y="27663"/>
                      <a:pt x="120991" y="0"/>
                      <a:pt x="121518" y="0"/>
                    </a:cubicBezTo>
                    <a:cubicBezTo>
                      <a:pt x="122901" y="0"/>
                      <a:pt x="123757" y="0"/>
                      <a:pt x="161299" y="14885"/>
                    </a:cubicBezTo>
                    <a:cubicBezTo>
                      <a:pt x="200619" y="30495"/>
                      <a:pt x="200685" y="30561"/>
                      <a:pt x="201936" y="33985"/>
                    </a:cubicBezTo>
                    <a:cubicBezTo>
                      <a:pt x="202068" y="34381"/>
                      <a:pt x="202200" y="34776"/>
                      <a:pt x="202266" y="35237"/>
                    </a:cubicBezTo>
                    <a:cubicBezTo>
                      <a:pt x="203583" y="43075"/>
                      <a:pt x="205361" y="52229"/>
                      <a:pt x="206481" y="56840"/>
                    </a:cubicBezTo>
                    <a:cubicBezTo>
                      <a:pt x="215636" y="58487"/>
                      <a:pt x="231641" y="61385"/>
                      <a:pt x="233353" y="61648"/>
                    </a:cubicBezTo>
                    <a:cubicBezTo>
                      <a:pt x="238490" y="62307"/>
                      <a:pt x="242442" y="66917"/>
                      <a:pt x="242442" y="72318"/>
                    </a:cubicBezTo>
                    <a:cubicBezTo>
                      <a:pt x="242442" y="72911"/>
                      <a:pt x="242376" y="73701"/>
                      <a:pt x="242245" y="74294"/>
                    </a:cubicBezTo>
                    <a:lnTo>
                      <a:pt x="242113" y="75018"/>
                    </a:lnTo>
                    <a:cubicBezTo>
                      <a:pt x="235988" y="110189"/>
                      <a:pt x="212672" y="198182"/>
                      <a:pt x="129355" y="253837"/>
                    </a:cubicBezTo>
                    <a:cubicBezTo>
                      <a:pt x="126984" y="255417"/>
                      <a:pt x="124481" y="256274"/>
                      <a:pt x="121781" y="256405"/>
                    </a:cubicBezTo>
                    <a:cubicBezTo>
                      <a:pt x="121781" y="256405"/>
                      <a:pt x="121518" y="256405"/>
                      <a:pt x="121386" y="256405"/>
                    </a:cubicBezTo>
                    <a:close/>
                    <a:moveTo>
                      <a:pt x="121386" y="249621"/>
                    </a:moveTo>
                    <a:lnTo>
                      <a:pt x="121386" y="249819"/>
                    </a:lnTo>
                    <a:lnTo>
                      <a:pt x="121386" y="249621"/>
                    </a:lnTo>
                    <a:close/>
                    <a:moveTo>
                      <a:pt x="121386" y="249621"/>
                    </a:moveTo>
                    <a:lnTo>
                      <a:pt x="121386" y="249819"/>
                    </a:lnTo>
                    <a:lnTo>
                      <a:pt x="121386" y="249621"/>
                    </a:lnTo>
                    <a:close/>
                    <a:moveTo>
                      <a:pt x="13502" y="74294"/>
                    </a:moveTo>
                    <a:cubicBezTo>
                      <a:pt x="19957" y="109333"/>
                      <a:pt x="42745" y="191003"/>
                      <a:pt x="120332" y="242903"/>
                    </a:cubicBezTo>
                    <a:cubicBezTo>
                      <a:pt x="120727" y="243167"/>
                      <a:pt x="120859" y="243233"/>
                      <a:pt x="121188" y="243233"/>
                    </a:cubicBezTo>
                    <a:cubicBezTo>
                      <a:pt x="121583" y="243167"/>
                      <a:pt x="121847" y="243035"/>
                      <a:pt x="121978" y="242903"/>
                    </a:cubicBezTo>
                    <a:cubicBezTo>
                      <a:pt x="199829" y="190872"/>
                      <a:pt x="222552" y="108806"/>
                      <a:pt x="228809" y="74294"/>
                    </a:cubicBezTo>
                    <a:cubicBezTo>
                      <a:pt x="222420" y="73174"/>
                      <a:pt x="206613" y="70342"/>
                      <a:pt x="200356" y="69222"/>
                    </a:cubicBezTo>
                    <a:cubicBezTo>
                      <a:pt x="195877" y="68432"/>
                      <a:pt x="194494" y="68234"/>
                      <a:pt x="189818" y="40835"/>
                    </a:cubicBezTo>
                    <a:cubicBezTo>
                      <a:pt x="178226" y="35764"/>
                      <a:pt x="131595" y="17322"/>
                      <a:pt x="121386" y="13634"/>
                    </a:cubicBezTo>
                    <a:cubicBezTo>
                      <a:pt x="111506" y="17124"/>
                      <a:pt x="64743" y="35237"/>
                      <a:pt x="52822" y="40177"/>
                    </a:cubicBezTo>
                    <a:cubicBezTo>
                      <a:pt x="52756" y="40638"/>
                      <a:pt x="52625" y="41164"/>
                      <a:pt x="52493" y="41757"/>
                    </a:cubicBezTo>
                    <a:cubicBezTo>
                      <a:pt x="47948" y="65336"/>
                      <a:pt x="47422" y="68300"/>
                      <a:pt x="41889" y="69288"/>
                    </a:cubicBezTo>
                    <a:cubicBezTo>
                      <a:pt x="33985" y="70605"/>
                      <a:pt x="19430" y="73240"/>
                      <a:pt x="13502" y="74294"/>
                    </a:cubicBezTo>
                    <a:close/>
                    <a:moveTo>
                      <a:pt x="231311" y="74689"/>
                    </a:moveTo>
                    <a:cubicBezTo>
                      <a:pt x="231377" y="74689"/>
                      <a:pt x="231377" y="74689"/>
                      <a:pt x="231443" y="74689"/>
                    </a:cubicBezTo>
                    <a:cubicBezTo>
                      <a:pt x="231377" y="74689"/>
                      <a:pt x="231377" y="74689"/>
                      <a:pt x="231311" y="74689"/>
                    </a:cubicBezTo>
                    <a:close/>
                    <a:moveTo>
                      <a:pt x="11065" y="74689"/>
                    </a:moveTo>
                    <a:cubicBezTo>
                      <a:pt x="11065" y="74689"/>
                      <a:pt x="10999" y="74689"/>
                      <a:pt x="11065" y="74689"/>
                    </a:cubicBezTo>
                    <a:cubicBezTo>
                      <a:pt x="10999" y="74689"/>
                      <a:pt x="11065" y="74689"/>
                      <a:pt x="11065" y="74689"/>
                    </a:cubicBezTo>
                    <a:close/>
                    <a:moveTo>
                      <a:pt x="39584" y="56247"/>
                    </a:moveTo>
                    <a:cubicBezTo>
                      <a:pt x="39584" y="56247"/>
                      <a:pt x="39584" y="56247"/>
                      <a:pt x="39584" y="56247"/>
                    </a:cubicBezTo>
                    <a:cubicBezTo>
                      <a:pt x="39584" y="56247"/>
                      <a:pt x="39584" y="56247"/>
                      <a:pt x="39584" y="56247"/>
                    </a:cubicBezTo>
                    <a:close/>
                    <a:moveTo>
                      <a:pt x="202727" y="56247"/>
                    </a:moveTo>
                    <a:cubicBezTo>
                      <a:pt x="202727" y="56247"/>
                      <a:pt x="202793" y="56247"/>
                      <a:pt x="202793" y="56247"/>
                    </a:cubicBezTo>
                    <a:cubicBezTo>
                      <a:pt x="202793" y="56247"/>
                      <a:pt x="202793" y="56247"/>
                      <a:pt x="202727" y="56247"/>
                    </a:cubicBezTo>
                    <a:close/>
                  </a:path>
                </a:pathLst>
              </a:custGeom>
              <a:solidFill>
                <a:schemeClr val="accent1"/>
              </a:solidFill>
              <a:ln w="6578" cap="flat">
                <a:noFill/>
                <a:prstDash val="solid"/>
                <a:miter/>
              </a:ln>
            </p:spPr>
            <p:txBody>
              <a:bodyPr rtlCol="0" anchor="ctr"/>
              <a:lstStyle/>
              <a:p>
                <a:endParaRPr lang="en-GB" dirty="0"/>
              </a:p>
            </p:txBody>
          </p:sp>
        </p:grpSp>
        <p:grpSp>
          <p:nvGrpSpPr>
            <p:cNvPr id="418" name="Grafik 212">
              <a:extLst>
                <a:ext uri="{FF2B5EF4-FFF2-40B4-BE49-F238E27FC236}">
                  <a16:creationId xmlns:a16="http://schemas.microsoft.com/office/drawing/2014/main" id="{F3760131-7283-4C4B-9800-0EAC9A9DFA12}"/>
                </a:ext>
              </a:extLst>
            </p:cNvPr>
            <p:cNvGrpSpPr/>
            <p:nvPr/>
          </p:nvGrpSpPr>
          <p:grpSpPr>
            <a:xfrm>
              <a:off x="3645746" y="4157349"/>
              <a:ext cx="340525" cy="277094"/>
              <a:chOff x="3378600" y="3426888"/>
              <a:chExt cx="266021" cy="216468"/>
            </a:xfrm>
            <a:solidFill>
              <a:schemeClr val="tx2"/>
            </a:solidFill>
          </p:grpSpPr>
          <p:grpSp>
            <p:nvGrpSpPr>
              <p:cNvPr id="419" name="Grafik 212">
                <a:extLst>
                  <a:ext uri="{FF2B5EF4-FFF2-40B4-BE49-F238E27FC236}">
                    <a16:creationId xmlns:a16="http://schemas.microsoft.com/office/drawing/2014/main" id="{517EA911-1C27-4FE7-B168-8FA20E6180A7}"/>
                  </a:ext>
                </a:extLst>
              </p:cNvPr>
              <p:cNvGrpSpPr/>
              <p:nvPr/>
            </p:nvGrpSpPr>
            <p:grpSpPr>
              <a:xfrm>
                <a:off x="3378600" y="3503792"/>
                <a:ext cx="121782" cy="122637"/>
                <a:chOff x="3378600" y="3503792"/>
                <a:chExt cx="121782" cy="122637"/>
              </a:xfrm>
              <a:grpFill/>
            </p:grpSpPr>
            <p:sp>
              <p:nvSpPr>
                <p:cNvPr id="430" name="Freihandform: Form 375">
                  <a:extLst>
                    <a:ext uri="{FF2B5EF4-FFF2-40B4-BE49-F238E27FC236}">
                      <a16:creationId xmlns:a16="http://schemas.microsoft.com/office/drawing/2014/main" id="{7E4D2716-2261-4749-B765-5145987421C1}"/>
                    </a:ext>
                  </a:extLst>
                </p:cNvPr>
                <p:cNvSpPr/>
                <p:nvPr/>
              </p:nvSpPr>
              <p:spPr>
                <a:xfrm>
                  <a:off x="3378600" y="3558129"/>
                  <a:ext cx="121716" cy="68300"/>
                </a:xfrm>
                <a:custGeom>
                  <a:avLst/>
                  <a:gdLst>
                    <a:gd name="connsiteX0" fmla="*/ 78772 w 121716"/>
                    <a:gd name="connsiteY0" fmla="*/ 68300 h 68300"/>
                    <a:gd name="connsiteX1" fmla="*/ 0 w 121716"/>
                    <a:gd name="connsiteY1" fmla="*/ 37213 h 68300"/>
                    <a:gd name="connsiteX2" fmla="*/ 0 w 121716"/>
                    <a:gd name="connsiteY2" fmla="*/ 6586 h 68300"/>
                    <a:gd name="connsiteX3" fmla="*/ 6586 w 121716"/>
                    <a:gd name="connsiteY3" fmla="*/ 0 h 68300"/>
                    <a:gd name="connsiteX4" fmla="*/ 13173 w 121716"/>
                    <a:gd name="connsiteY4" fmla="*/ 6586 h 68300"/>
                    <a:gd name="connsiteX5" fmla="*/ 13173 w 121716"/>
                    <a:gd name="connsiteY5" fmla="*/ 37213 h 68300"/>
                    <a:gd name="connsiteX6" fmla="*/ 78772 w 121716"/>
                    <a:gd name="connsiteY6" fmla="*/ 55127 h 68300"/>
                    <a:gd name="connsiteX7" fmla="*/ 113812 w 121716"/>
                    <a:gd name="connsiteY7" fmla="*/ 52164 h 68300"/>
                    <a:gd name="connsiteX8" fmla="*/ 121583 w 121716"/>
                    <a:gd name="connsiteY8" fmla="*/ 57301 h 68300"/>
                    <a:gd name="connsiteX9" fmla="*/ 116446 w 121716"/>
                    <a:gd name="connsiteY9" fmla="*/ 65073 h 68300"/>
                    <a:gd name="connsiteX10" fmla="*/ 78772 w 121716"/>
                    <a:gd name="connsiteY10" fmla="*/ 68300 h 6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716" h="68300">
                      <a:moveTo>
                        <a:pt x="78772" y="68300"/>
                      </a:moveTo>
                      <a:cubicBezTo>
                        <a:pt x="39650" y="68300"/>
                        <a:pt x="0" y="57630"/>
                        <a:pt x="0" y="37213"/>
                      </a:cubicBezTo>
                      <a:lnTo>
                        <a:pt x="0" y="6586"/>
                      </a:lnTo>
                      <a:cubicBezTo>
                        <a:pt x="0" y="2964"/>
                        <a:pt x="2964" y="0"/>
                        <a:pt x="6586" y="0"/>
                      </a:cubicBezTo>
                      <a:cubicBezTo>
                        <a:pt x="10209" y="0"/>
                        <a:pt x="13173" y="2964"/>
                        <a:pt x="13173" y="6586"/>
                      </a:cubicBezTo>
                      <a:lnTo>
                        <a:pt x="13173" y="37213"/>
                      </a:lnTo>
                      <a:cubicBezTo>
                        <a:pt x="13173" y="43536"/>
                        <a:pt x="38069" y="55127"/>
                        <a:pt x="78772" y="55127"/>
                      </a:cubicBezTo>
                      <a:cubicBezTo>
                        <a:pt x="93196" y="55127"/>
                        <a:pt x="103998" y="54205"/>
                        <a:pt x="113812" y="52164"/>
                      </a:cubicBezTo>
                      <a:cubicBezTo>
                        <a:pt x="117368" y="51439"/>
                        <a:pt x="120859" y="53679"/>
                        <a:pt x="121583" y="57301"/>
                      </a:cubicBezTo>
                      <a:cubicBezTo>
                        <a:pt x="122308" y="60858"/>
                        <a:pt x="120003" y="64348"/>
                        <a:pt x="116446" y="65073"/>
                      </a:cubicBezTo>
                      <a:cubicBezTo>
                        <a:pt x="105776" y="67312"/>
                        <a:pt x="94118" y="68300"/>
                        <a:pt x="78772" y="68300"/>
                      </a:cubicBezTo>
                      <a:close/>
                    </a:path>
                  </a:pathLst>
                </a:custGeom>
                <a:grpFill/>
                <a:ln w="6578" cap="flat">
                  <a:noFill/>
                  <a:prstDash val="solid"/>
                  <a:miter/>
                </a:ln>
              </p:spPr>
              <p:txBody>
                <a:bodyPr rtlCol="0" anchor="ctr"/>
                <a:lstStyle/>
                <a:p>
                  <a:endParaRPr lang="en-GB" dirty="0"/>
                </a:p>
              </p:txBody>
            </p:sp>
            <p:grpSp>
              <p:nvGrpSpPr>
                <p:cNvPr id="431" name="Grafik 212">
                  <a:extLst>
                    <a:ext uri="{FF2B5EF4-FFF2-40B4-BE49-F238E27FC236}">
                      <a16:creationId xmlns:a16="http://schemas.microsoft.com/office/drawing/2014/main" id="{61BB82A6-D5B0-440D-9AC1-A59A9D7A7949}"/>
                    </a:ext>
                  </a:extLst>
                </p:cNvPr>
                <p:cNvGrpSpPr/>
                <p:nvPr/>
              </p:nvGrpSpPr>
              <p:grpSpPr>
                <a:xfrm>
                  <a:off x="3378600" y="3503792"/>
                  <a:ext cx="121782" cy="92801"/>
                  <a:chOff x="3378600" y="3503792"/>
                  <a:chExt cx="121782" cy="92801"/>
                </a:xfrm>
                <a:grpFill/>
              </p:grpSpPr>
              <p:sp>
                <p:nvSpPr>
                  <p:cNvPr id="432" name="Freihandform: Form 377">
                    <a:extLst>
                      <a:ext uri="{FF2B5EF4-FFF2-40B4-BE49-F238E27FC236}">
                        <a16:creationId xmlns:a16="http://schemas.microsoft.com/office/drawing/2014/main" id="{C2EA4082-3099-4324-B8BF-81533CB0155C}"/>
                      </a:ext>
                    </a:extLst>
                  </p:cNvPr>
                  <p:cNvSpPr/>
                  <p:nvPr/>
                </p:nvSpPr>
                <p:spPr>
                  <a:xfrm>
                    <a:off x="3378600" y="3503792"/>
                    <a:ext cx="121782" cy="62174"/>
                  </a:xfrm>
                  <a:custGeom>
                    <a:avLst/>
                    <a:gdLst>
                      <a:gd name="connsiteX0" fmla="*/ 78772 w 121782"/>
                      <a:gd name="connsiteY0" fmla="*/ 62175 h 62174"/>
                      <a:gd name="connsiteX1" fmla="*/ 0 w 121782"/>
                      <a:gd name="connsiteY1" fmla="*/ 31087 h 62174"/>
                      <a:gd name="connsiteX2" fmla="*/ 78772 w 121782"/>
                      <a:gd name="connsiteY2" fmla="*/ 0 h 62174"/>
                      <a:gd name="connsiteX3" fmla="*/ 115722 w 121782"/>
                      <a:gd name="connsiteY3" fmla="*/ 3293 h 62174"/>
                      <a:gd name="connsiteX4" fmla="*/ 120925 w 121782"/>
                      <a:gd name="connsiteY4" fmla="*/ 10999 h 62174"/>
                      <a:gd name="connsiteX5" fmla="*/ 113219 w 121782"/>
                      <a:gd name="connsiteY5" fmla="*/ 16202 h 62174"/>
                      <a:gd name="connsiteX6" fmla="*/ 78772 w 121782"/>
                      <a:gd name="connsiteY6" fmla="*/ 13107 h 62174"/>
                      <a:gd name="connsiteX7" fmla="*/ 13173 w 121782"/>
                      <a:gd name="connsiteY7" fmla="*/ 31022 h 62174"/>
                      <a:gd name="connsiteX8" fmla="*/ 78772 w 121782"/>
                      <a:gd name="connsiteY8" fmla="*/ 48936 h 62174"/>
                      <a:gd name="connsiteX9" fmla="*/ 113943 w 121782"/>
                      <a:gd name="connsiteY9" fmla="*/ 45709 h 62174"/>
                      <a:gd name="connsiteX10" fmla="*/ 121649 w 121782"/>
                      <a:gd name="connsiteY10" fmla="*/ 50912 h 62174"/>
                      <a:gd name="connsiteX11" fmla="*/ 116446 w 121782"/>
                      <a:gd name="connsiteY11" fmla="*/ 58618 h 62174"/>
                      <a:gd name="connsiteX12" fmla="*/ 78772 w 121782"/>
                      <a:gd name="connsiteY12" fmla="*/ 62175 h 6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782" h="62174">
                        <a:moveTo>
                          <a:pt x="78772" y="62175"/>
                        </a:moveTo>
                        <a:cubicBezTo>
                          <a:pt x="39650" y="62175"/>
                          <a:pt x="0" y="51505"/>
                          <a:pt x="0" y="31087"/>
                        </a:cubicBezTo>
                        <a:cubicBezTo>
                          <a:pt x="0" y="10670"/>
                          <a:pt x="39650" y="0"/>
                          <a:pt x="78772" y="0"/>
                        </a:cubicBezTo>
                        <a:cubicBezTo>
                          <a:pt x="91681" y="0"/>
                          <a:pt x="104459" y="1120"/>
                          <a:pt x="115722" y="3293"/>
                        </a:cubicBezTo>
                        <a:cubicBezTo>
                          <a:pt x="119278" y="3952"/>
                          <a:pt x="121649" y="7443"/>
                          <a:pt x="120925" y="10999"/>
                        </a:cubicBezTo>
                        <a:cubicBezTo>
                          <a:pt x="120266" y="14556"/>
                          <a:pt x="116775" y="16927"/>
                          <a:pt x="113219" y="16202"/>
                        </a:cubicBezTo>
                        <a:cubicBezTo>
                          <a:pt x="102812" y="14161"/>
                          <a:pt x="90891" y="13107"/>
                          <a:pt x="78772" y="13107"/>
                        </a:cubicBezTo>
                        <a:cubicBezTo>
                          <a:pt x="38069" y="13107"/>
                          <a:pt x="13173" y="24699"/>
                          <a:pt x="13173" y="31022"/>
                        </a:cubicBezTo>
                        <a:cubicBezTo>
                          <a:pt x="13173" y="37345"/>
                          <a:pt x="38069" y="48936"/>
                          <a:pt x="78772" y="48936"/>
                        </a:cubicBezTo>
                        <a:cubicBezTo>
                          <a:pt x="91155" y="48936"/>
                          <a:pt x="103339" y="47817"/>
                          <a:pt x="113943" y="45709"/>
                        </a:cubicBezTo>
                        <a:cubicBezTo>
                          <a:pt x="117500" y="44919"/>
                          <a:pt x="120991" y="47290"/>
                          <a:pt x="121649" y="50912"/>
                        </a:cubicBezTo>
                        <a:cubicBezTo>
                          <a:pt x="122374" y="54469"/>
                          <a:pt x="120068" y="57960"/>
                          <a:pt x="116446" y="58618"/>
                        </a:cubicBezTo>
                        <a:cubicBezTo>
                          <a:pt x="105052" y="60989"/>
                          <a:pt x="92011" y="62175"/>
                          <a:pt x="78772" y="62175"/>
                        </a:cubicBezTo>
                        <a:close/>
                      </a:path>
                    </a:pathLst>
                  </a:custGeom>
                  <a:grpFill/>
                  <a:ln w="6578" cap="flat">
                    <a:noFill/>
                    <a:prstDash val="solid"/>
                    <a:miter/>
                  </a:ln>
                </p:spPr>
                <p:txBody>
                  <a:bodyPr rtlCol="0" anchor="ctr"/>
                  <a:lstStyle/>
                  <a:p>
                    <a:endParaRPr lang="en-GB" dirty="0"/>
                  </a:p>
                </p:txBody>
              </p:sp>
              <p:sp>
                <p:nvSpPr>
                  <p:cNvPr id="433" name="Freihandform: Form 378">
                    <a:extLst>
                      <a:ext uri="{FF2B5EF4-FFF2-40B4-BE49-F238E27FC236}">
                        <a16:creationId xmlns:a16="http://schemas.microsoft.com/office/drawing/2014/main" id="{05EF7CB3-23F4-4EDE-B251-04FBD3191856}"/>
                      </a:ext>
                    </a:extLst>
                  </p:cNvPr>
                  <p:cNvSpPr/>
                  <p:nvPr/>
                </p:nvSpPr>
                <p:spPr>
                  <a:xfrm>
                    <a:off x="3378600" y="3528293"/>
                    <a:ext cx="120971" cy="68300"/>
                  </a:xfrm>
                  <a:custGeom>
                    <a:avLst/>
                    <a:gdLst>
                      <a:gd name="connsiteX0" fmla="*/ 78772 w 120971"/>
                      <a:gd name="connsiteY0" fmla="*/ 68300 h 68300"/>
                      <a:gd name="connsiteX1" fmla="*/ 0 w 120971"/>
                      <a:gd name="connsiteY1" fmla="*/ 37213 h 68300"/>
                      <a:gd name="connsiteX2" fmla="*/ 0 w 120971"/>
                      <a:gd name="connsiteY2" fmla="*/ 6586 h 68300"/>
                      <a:gd name="connsiteX3" fmla="*/ 6586 w 120971"/>
                      <a:gd name="connsiteY3" fmla="*/ 0 h 68300"/>
                      <a:gd name="connsiteX4" fmla="*/ 13173 w 120971"/>
                      <a:gd name="connsiteY4" fmla="*/ 6586 h 68300"/>
                      <a:gd name="connsiteX5" fmla="*/ 13173 w 120971"/>
                      <a:gd name="connsiteY5" fmla="*/ 37213 h 68300"/>
                      <a:gd name="connsiteX6" fmla="*/ 78772 w 120971"/>
                      <a:gd name="connsiteY6" fmla="*/ 55127 h 68300"/>
                      <a:gd name="connsiteX7" fmla="*/ 113153 w 120971"/>
                      <a:gd name="connsiteY7" fmla="*/ 52032 h 68300"/>
                      <a:gd name="connsiteX8" fmla="*/ 120859 w 120971"/>
                      <a:gd name="connsiteY8" fmla="*/ 57235 h 68300"/>
                      <a:gd name="connsiteX9" fmla="*/ 115656 w 120971"/>
                      <a:gd name="connsiteY9" fmla="*/ 64941 h 68300"/>
                      <a:gd name="connsiteX10" fmla="*/ 78772 w 120971"/>
                      <a:gd name="connsiteY10" fmla="*/ 68300 h 6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971" h="68300">
                        <a:moveTo>
                          <a:pt x="78772" y="68300"/>
                        </a:moveTo>
                        <a:cubicBezTo>
                          <a:pt x="39650" y="68300"/>
                          <a:pt x="0" y="57630"/>
                          <a:pt x="0" y="37213"/>
                        </a:cubicBezTo>
                        <a:lnTo>
                          <a:pt x="0" y="6586"/>
                        </a:lnTo>
                        <a:cubicBezTo>
                          <a:pt x="0" y="2964"/>
                          <a:pt x="2964" y="0"/>
                          <a:pt x="6586" y="0"/>
                        </a:cubicBezTo>
                        <a:cubicBezTo>
                          <a:pt x="10209" y="0"/>
                          <a:pt x="13173" y="2964"/>
                          <a:pt x="13173" y="6586"/>
                        </a:cubicBezTo>
                        <a:lnTo>
                          <a:pt x="13173" y="37213"/>
                        </a:lnTo>
                        <a:cubicBezTo>
                          <a:pt x="13173" y="43536"/>
                          <a:pt x="38069" y="55127"/>
                          <a:pt x="78772" y="55127"/>
                        </a:cubicBezTo>
                        <a:cubicBezTo>
                          <a:pt x="90825" y="55127"/>
                          <a:pt x="102747" y="54074"/>
                          <a:pt x="113153" y="52032"/>
                        </a:cubicBezTo>
                        <a:cubicBezTo>
                          <a:pt x="116775" y="51373"/>
                          <a:pt x="120200" y="53678"/>
                          <a:pt x="120859" y="57235"/>
                        </a:cubicBezTo>
                        <a:cubicBezTo>
                          <a:pt x="121517" y="60792"/>
                          <a:pt x="119212" y="64283"/>
                          <a:pt x="115656" y="64941"/>
                        </a:cubicBezTo>
                        <a:cubicBezTo>
                          <a:pt x="104459" y="67115"/>
                          <a:pt x="91681" y="68300"/>
                          <a:pt x="78772" y="68300"/>
                        </a:cubicBezTo>
                        <a:close/>
                      </a:path>
                    </a:pathLst>
                  </a:custGeom>
                  <a:grpFill/>
                  <a:ln w="6578" cap="flat">
                    <a:noFill/>
                    <a:prstDash val="solid"/>
                    <a:miter/>
                  </a:ln>
                </p:spPr>
                <p:txBody>
                  <a:bodyPr rtlCol="0" anchor="ctr"/>
                  <a:lstStyle/>
                  <a:p>
                    <a:endParaRPr lang="en-GB" dirty="0"/>
                  </a:p>
                </p:txBody>
              </p:sp>
            </p:grpSp>
          </p:grpSp>
          <p:grpSp>
            <p:nvGrpSpPr>
              <p:cNvPr id="420" name="Grafik 212">
                <a:extLst>
                  <a:ext uri="{FF2B5EF4-FFF2-40B4-BE49-F238E27FC236}">
                    <a16:creationId xmlns:a16="http://schemas.microsoft.com/office/drawing/2014/main" id="{8A32A1DC-A315-458B-BED4-F7D1F2112869}"/>
                  </a:ext>
                </a:extLst>
              </p:cNvPr>
              <p:cNvGrpSpPr/>
              <p:nvPr/>
            </p:nvGrpSpPr>
            <p:grpSpPr>
              <a:xfrm>
                <a:off x="3487076" y="3426888"/>
                <a:ext cx="157544" cy="216468"/>
                <a:chOff x="3487076" y="3426888"/>
                <a:chExt cx="157544" cy="216468"/>
              </a:xfrm>
              <a:grpFill/>
            </p:grpSpPr>
            <p:sp>
              <p:nvSpPr>
                <p:cNvPr id="421" name="Freihandform: Form 380">
                  <a:extLst>
                    <a:ext uri="{FF2B5EF4-FFF2-40B4-BE49-F238E27FC236}">
                      <a16:creationId xmlns:a16="http://schemas.microsoft.com/office/drawing/2014/main" id="{7CA84DA9-B8BE-4003-B4A1-4D920C6149AB}"/>
                    </a:ext>
                  </a:extLst>
                </p:cNvPr>
                <p:cNvSpPr/>
                <p:nvPr/>
              </p:nvSpPr>
              <p:spPr>
                <a:xfrm>
                  <a:off x="3487076" y="3573278"/>
                  <a:ext cx="157544" cy="70078"/>
                </a:xfrm>
                <a:custGeom>
                  <a:avLst/>
                  <a:gdLst>
                    <a:gd name="connsiteX0" fmla="*/ 78772 w 157544"/>
                    <a:gd name="connsiteY0" fmla="*/ 70078 h 70078"/>
                    <a:gd name="connsiteX1" fmla="*/ 0 w 157544"/>
                    <a:gd name="connsiteY1" fmla="*/ 38201 h 70078"/>
                    <a:gd name="connsiteX2" fmla="*/ 0 w 157544"/>
                    <a:gd name="connsiteY2" fmla="*/ 6586 h 70078"/>
                    <a:gd name="connsiteX3" fmla="*/ 6586 w 157544"/>
                    <a:gd name="connsiteY3" fmla="*/ 0 h 70078"/>
                    <a:gd name="connsiteX4" fmla="*/ 13173 w 157544"/>
                    <a:gd name="connsiteY4" fmla="*/ 6586 h 70078"/>
                    <a:gd name="connsiteX5" fmla="*/ 13173 w 157544"/>
                    <a:gd name="connsiteY5" fmla="*/ 38201 h 70078"/>
                    <a:gd name="connsiteX6" fmla="*/ 78772 w 157544"/>
                    <a:gd name="connsiteY6" fmla="*/ 56906 h 70078"/>
                    <a:gd name="connsiteX7" fmla="*/ 144372 w 157544"/>
                    <a:gd name="connsiteY7" fmla="*/ 38201 h 70078"/>
                    <a:gd name="connsiteX8" fmla="*/ 150958 w 157544"/>
                    <a:gd name="connsiteY8" fmla="*/ 31614 h 70078"/>
                    <a:gd name="connsiteX9" fmla="*/ 157545 w 157544"/>
                    <a:gd name="connsiteY9" fmla="*/ 38201 h 70078"/>
                    <a:gd name="connsiteX10" fmla="*/ 78772 w 157544"/>
                    <a:gd name="connsiteY10" fmla="*/ 70078 h 7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544" h="70078">
                      <a:moveTo>
                        <a:pt x="78772" y="70078"/>
                      </a:moveTo>
                      <a:cubicBezTo>
                        <a:pt x="39650" y="70078"/>
                        <a:pt x="0" y="59145"/>
                        <a:pt x="0" y="38201"/>
                      </a:cubicBezTo>
                      <a:lnTo>
                        <a:pt x="0" y="6586"/>
                      </a:lnTo>
                      <a:cubicBezTo>
                        <a:pt x="0" y="2964"/>
                        <a:pt x="2964" y="0"/>
                        <a:pt x="6586" y="0"/>
                      </a:cubicBezTo>
                      <a:cubicBezTo>
                        <a:pt x="10209" y="0"/>
                        <a:pt x="13173" y="2964"/>
                        <a:pt x="13173" y="6586"/>
                      </a:cubicBezTo>
                      <a:lnTo>
                        <a:pt x="13173" y="38201"/>
                      </a:lnTo>
                      <a:cubicBezTo>
                        <a:pt x="13173" y="44523"/>
                        <a:pt x="36290" y="56906"/>
                        <a:pt x="78772" y="56906"/>
                      </a:cubicBezTo>
                      <a:cubicBezTo>
                        <a:pt x="121188" y="56906"/>
                        <a:pt x="144372" y="44523"/>
                        <a:pt x="144372" y="38201"/>
                      </a:cubicBezTo>
                      <a:cubicBezTo>
                        <a:pt x="144372" y="34578"/>
                        <a:pt x="147336" y="31614"/>
                        <a:pt x="150958" y="31614"/>
                      </a:cubicBezTo>
                      <a:cubicBezTo>
                        <a:pt x="154581" y="31614"/>
                        <a:pt x="157545" y="34578"/>
                        <a:pt x="157545" y="38201"/>
                      </a:cubicBezTo>
                      <a:cubicBezTo>
                        <a:pt x="157545" y="59079"/>
                        <a:pt x="117895" y="70078"/>
                        <a:pt x="78772" y="70078"/>
                      </a:cubicBezTo>
                      <a:close/>
                    </a:path>
                  </a:pathLst>
                </a:custGeom>
                <a:grpFill/>
                <a:ln w="6578" cap="flat">
                  <a:noFill/>
                  <a:prstDash val="solid"/>
                  <a:miter/>
                </a:ln>
              </p:spPr>
              <p:txBody>
                <a:bodyPr rtlCol="0" anchor="ctr"/>
                <a:lstStyle/>
                <a:p>
                  <a:endParaRPr lang="en-GB" dirty="0"/>
                </a:p>
              </p:txBody>
            </p:sp>
            <p:grpSp>
              <p:nvGrpSpPr>
                <p:cNvPr id="422" name="Grafik 212">
                  <a:extLst>
                    <a:ext uri="{FF2B5EF4-FFF2-40B4-BE49-F238E27FC236}">
                      <a16:creationId xmlns:a16="http://schemas.microsoft.com/office/drawing/2014/main" id="{9209C09F-6478-4D9E-A13D-D5AB17859ED2}"/>
                    </a:ext>
                  </a:extLst>
                </p:cNvPr>
                <p:cNvGrpSpPr/>
                <p:nvPr/>
              </p:nvGrpSpPr>
              <p:grpSpPr>
                <a:xfrm>
                  <a:off x="3487076" y="3511630"/>
                  <a:ext cx="136374" cy="100902"/>
                  <a:chOff x="3487076" y="3511630"/>
                  <a:chExt cx="136374" cy="100902"/>
                </a:xfrm>
                <a:grpFill/>
              </p:grpSpPr>
              <p:sp>
                <p:nvSpPr>
                  <p:cNvPr id="428" name="Freihandform: Form 382">
                    <a:extLst>
                      <a:ext uri="{FF2B5EF4-FFF2-40B4-BE49-F238E27FC236}">
                        <a16:creationId xmlns:a16="http://schemas.microsoft.com/office/drawing/2014/main" id="{14313778-2A83-4BD8-9179-80D9E2FA1BBC}"/>
                      </a:ext>
                    </a:extLst>
                  </p:cNvPr>
                  <p:cNvSpPr/>
                  <p:nvPr/>
                </p:nvSpPr>
                <p:spPr>
                  <a:xfrm>
                    <a:off x="3487076" y="3542454"/>
                    <a:ext cx="136374" cy="70078"/>
                  </a:xfrm>
                  <a:custGeom>
                    <a:avLst/>
                    <a:gdLst>
                      <a:gd name="connsiteX0" fmla="*/ 78772 w 136374"/>
                      <a:gd name="connsiteY0" fmla="*/ 70079 h 70078"/>
                      <a:gd name="connsiteX1" fmla="*/ 0 w 136374"/>
                      <a:gd name="connsiteY1" fmla="*/ 38201 h 70078"/>
                      <a:gd name="connsiteX2" fmla="*/ 0 w 136374"/>
                      <a:gd name="connsiteY2" fmla="*/ 6586 h 70078"/>
                      <a:gd name="connsiteX3" fmla="*/ 6586 w 136374"/>
                      <a:gd name="connsiteY3" fmla="*/ 0 h 70078"/>
                      <a:gd name="connsiteX4" fmla="*/ 13173 w 136374"/>
                      <a:gd name="connsiteY4" fmla="*/ 6586 h 70078"/>
                      <a:gd name="connsiteX5" fmla="*/ 13173 w 136374"/>
                      <a:gd name="connsiteY5" fmla="*/ 38201 h 70078"/>
                      <a:gd name="connsiteX6" fmla="*/ 78772 w 136374"/>
                      <a:gd name="connsiteY6" fmla="*/ 56906 h 70078"/>
                      <a:gd name="connsiteX7" fmla="*/ 127643 w 136374"/>
                      <a:gd name="connsiteY7" fmla="*/ 49858 h 70078"/>
                      <a:gd name="connsiteX8" fmla="*/ 136007 w 136374"/>
                      <a:gd name="connsiteY8" fmla="*/ 53876 h 70078"/>
                      <a:gd name="connsiteX9" fmla="*/ 131990 w 136374"/>
                      <a:gd name="connsiteY9" fmla="*/ 62241 h 70078"/>
                      <a:gd name="connsiteX10" fmla="*/ 78772 w 136374"/>
                      <a:gd name="connsiteY10" fmla="*/ 70079 h 7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374" h="70078">
                        <a:moveTo>
                          <a:pt x="78772" y="70079"/>
                        </a:moveTo>
                        <a:cubicBezTo>
                          <a:pt x="39650" y="70079"/>
                          <a:pt x="0" y="59145"/>
                          <a:pt x="0" y="38201"/>
                        </a:cubicBezTo>
                        <a:lnTo>
                          <a:pt x="0" y="6586"/>
                        </a:lnTo>
                        <a:cubicBezTo>
                          <a:pt x="0" y="2964"/>
                          <a:pt x="2964" y="0"/>
                          <a:pt x="6586" y="0"/>
                        </a:cubicBezTo>
                        <a:cubicBezTo>
                          <a:pt x="10209" y="0"/>
                          <a:pt x="13173" y="2964"/>
                          <a:pt x="13173" y="6586"/>
                        </a:cubicBezTo>
                        <a:lnTo>
                          <a:pt x="13173" y="38201"/>
                        </a:lnTo>
                        <a:cubicBezTo>
                          <a:pt x="13173" y="44524"/>
                          <a:pt x="36290" y="56906"/>
                          <a:pt x="78772" y="56906"/>
                        </a:cubicBezTo>
                        <a:cubicBezTo>
                          <a:pt x="97346" y="56906"/>
                          <a:pt x="114734" y="54403"/>
                          <a:pt x="127643" y="49858"/>
                        </a:cubicBezTo>
                        <a:cubicBezTo>
                          <a:pt x="131068" y="48673"/>
                          <a:pt x="134822" y="50451"/>
                          <a:pt x="136007" y="53876"/>
                        </a:cubicBezTo>
                        <a:cubicBezTo>
                          <a:pt x="137193" y="57301"/>
                          <a:pt x="135415" y="61055"/>
                          <a:pt x="131990" y="62241"/>
                        </a:cubicBezTo>
                        <a:cubicBezTo>
                          <a:pt x="117697" y="67312"/>
                          <a:pt x="98795" y="70079"/>
                          <a:pt x="78772" y="70079"/>
                        </a:cubicBezTo>
                        <a:close/>
                      </a:path>
                    </a:pathLst>
                  </a:custGeom>
                  <a:grpFill/>
                  <a:ln w="6578" cap="flat">
                    <a:noFill/>
                    <a:prstDash val="solid"/>
                    <a:miter/>
                  </a:ln>
                </p:spPr>
                <p:txBody>
                  <a:bodyPr rtlCol="0" anchor="ctr"/>
                  <a:lstStyle/>
                  <a:p>
                    <a:endParaRPr lang="en-GB" dirty="0"/>
                  </a:p>
                </p:txBody>
              </p:sp>
              <p:sp>
                <p:nvSpPr>
                  <p:cNvPr id="429" name="Freihandform: Form 383">
                    <a:extLst>
                      <a:ext uri="{FF2B5EF4-FFF2-40B4-BE49-F238E27FC236}">
                        <a16:creationId xmlns:a16="http://schemas.microsoft.com/office/drawing/2014/main" id="{E3AFCB5E-19A3-4034-85F7-26F4B7141068}"/>
                      </a:ext>
                    </a:extLst>
                  </p:cNvPr>
                  <p:cNvSpPr/>
                  <p:nvPr/>
                </p:nvSpPr>
                <p:spPr>
                  <a:xfrm>
                    <a:off x="3487076" y="3511630"/>
                    <a:ext cx="116865" cy="70078"/>
                  </a:xfrm>
                  <a:custGeom>
                    <a:avLst/>
                    <a:gdLst>
                      <a:gd name="connsiteX0" fmla="*/ 78772 w 116865"/>
                      <a:gd name="connsiteY0" fmla="*/ 70079 h 70078"/>
                      <a:gd name="connsiteX1" fmla="*/ 0 w 116865"/>
                      <a:gd name="connsiteY1" fmla="*/ 38201 h 70078"/>
                      <a:gd name="connsiteX2" fmla="*/ 0 w 116865"/>
                      <a:gd name="connsiteY2" fmla="*/ 6586 h 70078"/>
                      <a:gd name="connsiteX3" fmla="*/ 6586 w 116865"/>
                      <a:gd name="connsiteY3" fmla="*/ 0 h 70078"/>
                      <a:gd name="connsiteX4" fmla="*/ 13173 w 116865"/>
                      <a:gd name="connsiteY4" fmla="*/ 6586 h 70078"/>
                      <a:gd name="connsiteX5" fmla="*/ 13173 w 116865"/>
                      <a:gd name="connsiteY5" fmla="*/ 38201 h 70078"/>
                      <a:gd name="connsiteX6" fmla="*/ 78772 w 116865"/>
                      <a:gd name="connsiteY6" fmla="*/ 56906 h 70078"/>
                      <a:gd name="connsiteX7" fmla="*/ 109201 w 116865"/>
                      <a:gd name="connsiteY7" fmla="*/ 54469 h 70078"/>
                      <a:gd name="connsiteX8" fmla="*/ 116775 w 116865"/>
                      <a:gd name="connsiteY8" fmla="*/ 59870 h 70078"/>
                      <a:gd name="connsiteX9" fmla="*/ 111375 w 116865"/>
                      <a:gd name="connsiteY9" fmla="*/ 67444 h 70078"/>
                      <a:gd name="connsiteX10" fmla="*/ 78772 w 116865"/>
                      <a:gd name="connsiteY10" fmla="*/ 70079 h 7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65" h="70078">
                        <a:moveTo>
                          <a:pt x="78772" y="70079"/>
                        </a:moveTo>
                        <a:cubicBezTo>
                          <a:pt x="39650" y="70079"/>
                          <a:pt x="0" y="59145"/>
                          <a:pt x="0" y="38201"/>
                        </a:cubicBezTo>
                        <a:lnTo>
                          <a:pt x="0" y="6586"/>
                        </a:lnTo>
                        <a:cubicBezTo>
                          <a:pt x="0" y="2964"/>
                          <a:pt x="2964" y="0"/>
                          <a:pt x="6586" y="0"/>
                        </a:cubicBezTo>
                        <a:cubicBezTo>
                          <a:pt x="10209" y="0"/>
                          <a:pt x="13173" y="2964"/>
                          <a:pt x="13173" y="6586"/>
                        </a:cubicBezTo>
                        <a:lnTo>
                          <a:pt x="13173" y="38201"/>
                        </a:lnTo>
                        <a:cubicBezTo>
                          <a:pt x="13173" y="44524"/>
                          <a:pt x="36290" y="56906"/>
                          <a:pt x="78772" y="56906"/>
                        </a:cubicBezTo>
                        <a:cubicBezTo>
                          <a:pt x="89508" y="56906"/>
                          <a:pt x="99717" y="56050"/>
                          <a:pt x="109201" y="54469"/>
                        </a:cubicBezTo>
                        <a:cubicBezTo>
                          <a:pt x="112824" y="53876"/>
                          <a:pt x="116183" y="56247"/>
                          <a:pt x="116775" y="59870"/>
                        </a:cubicBezTo>
                        <a:cubicBezTo>
                          <a:pt x="117368" y="63426"/>
                          <a:pt x="114997" y="66851"/>
                          <a:pt x="111375" y="67444"/>
                        </a:cubicBezTo>
                        <a:cubicBezTo>
                          <a:pt x="101232" y="69156"/>
                          <a:pt x="90232" y="70079"/>
                          <a:pt x="78772" y="70079"/>
                        </a:cubicBezTo>
                        <a:close/>
                      </a:path>
                    </a:pathLst>
                  </a:custGeom>
                  <a:grpFill/>
                  <a:ln w="6578" cap="flat">
                    <a:noFill/>
                    <a:prstDash val="solid"/>
                    <a:miter/>
                  </a:ln>
                </p:spPr>
                <p:txBody>
                  <a:bodyPr rtlCol="0" anchor="ctr"/>
                  <a:lstStyle/>
                  <a:p>
                    <a:endParaRPr lang="en-GB" dirty="0"/>
                  </a:p>
                </p:txBody>
              </p:sp>
            </p:grpSp>
            <p:grpSp>
              <p:nvGrpSpPr>
                <p:cNvPr id="423" name="Grafik 212">
                  <a:extLst>
                    <a:ext uri="{FF2B5EF4-FFF2-40B4-BE49-F238E27FC236}">
                      <a16:creationId xmlns:a16="http://schemas.microsoft.com/office/drawing/2014/main" id="{CCE25AED-7E63-49D7-B038-1A1D2BE3C489}"/>
                    </a:ext>
                  </a:extLst>
                </p:cNvPr>
                <p:cNvGrpSpPr/>
                <p:nvPr/>
              </p:nvGrpSpPr>
              <p:grpSpPr>
                <a:xfrm>
                  <a:off x="3487076" y="3426888"/>
                  <a:ext cx="98014" cy="123469"/>
                  <a:chOff x="3487076" y="3426888"/>
                  <a:chExt cx="98014" cy="123469"/>
                </a:xfrm>
                <a:grpFill/>
              </p:grpSpPr>
              <p:sp>
                <p:nvSpPr>
                  <p:cNvPr id="424" name="Freihandform: Form 385">
                    <a:extLst>
                      <a:ext uri="{FF2B5EF4-FFF2-40B4-BE49-F238E27FC236}">
                        <a16:creationId xmlns:a16="http://schemas.microsoft.com/office/drawing/2014/main" id="{6D55A033-2D36-4167-A9E8-ACE3FB015403}"/>
                      </a:ext>
                    </a:extLst>
                  </p:cNvPr>
                  <p:cNvSpPr/>
                  <p:nvPr/>
                </p:nvSpPr>
                <p:spPr>
                  <a:xfrm>
                    <a:off x="3487076" y="3480279"/>
                    <a:ext cx="98014" cy="70078"/>
                  </a:xfrm>
                  <a:custGeom>
                    <a:avLst/>
                    <a:gdLst>
                      <a:gd name="connsiteX0" fmla="*/ 78772 w 98014"/>
                      <a:gd name="connsiteY0" fmla="*/ 70078 h 70078"/>
                      <a:gd name="connsiteX1" fmla="*/ 0 w 98014"/>
                      <a:gd name="connsiteY1" fmla="*/ 38201 h 70078"/>
                      <a:gd name="connsiteX2" fmla="*/ 0 w 98014"/>
                      <a:gd name="connsiteY2" fmla="*/ 6586 h 70078"/>
                      <a:gd name="connsiteX3" fmla="*/ 6586 w 98014"/>
                      <a:gd name="connsiteY3" fmla="*/ 0 h 70078"/>
                      <a:gd name="connsiteX4" fmla="*/ 13173 w 98014"/>
                      <a:gd name="connsiteY4" fmla="*/ 6586 h 70078"/>
                      <a:gd name="connsiteX5" fmla="*/ 13173 w 98014"/>
                      <a:gd name="connsiteY5" fmla="*/ 38201 h 70078"/>
                      <a:gd name="connsiteX6" fmla="*/ 78772 w 98014"/>
                      <a:gd name="connsiteY6" fmla="*/ 56906 h 70078"/>
                      <a:gd name="connsiteX7" fmla="*/ 91023 w 98014"/>
                      <a:gd name="connsiteY7" fmla="*/ 56511 h 70078"/>
                      <a:gd name="connsiteX8" fmla="*/ 98004 w 98014"/>
                      <a:gd name="connsiteY8" fmla="*/ 62702 h 70078"/>
                      <a:gd name="connsiteX9" fmla="*/ 91813 w 98014"/>
                      <a:gd name="connsiteY9" fmla="*/ 69683 h 70078"/>
                      <a:gd name="connsiteX10" fmla="*/ 78772 w 98014"/>
                      <a:gd name="connsiteY10" fmla="*/ 70078 h 7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14" h="70078">
                        <a:moveTo>
                          <a:pt x="78772" y="70078"/>
                        </a:moveTo>
                        <a:cubicBezTo>
                          <a:pt x="39650" y="70078"/>
                          <a:pt x="0" y="59145"/>
                          <a:pt x="0" y="38201"/>
                        </a:cubicBezTo>
                        <a:lnTo>
                          <a:pt x="0" y="6586"/>
                        </a:lnTo>
                        <a:cubicBezTo>
                          <a:pt x="0" y="2964"/>
                          <a:pt x="2964" y="0"/>
                          <a:pt x="6586" y="0"/>
                        </a:cubicBezTo>
                        <a:cubicBezTo>
                          <a:pt x="10209" y="0"/>
                          <a:pt x="13173" y="2964"/>
                          <a:pt x="13173" y="6586"/>
                        </a:cubicBezTo>
                        <a:lnTo>
                          <a:pt x="13173" y="38201"/>
                        </a:lnTo>
                        <a:cubicBezTo>
                          <a:pt x="13173" y="44523"/>
                          <a:pt x="36290" y="56906"/>
                          <a:pt x="78772" y="56906"/>
                        </a:cubicBezTo>
                        <a:cubicBezTo>
                          <a:pt x="82922" y="56906"/>
                          <a:pt x="87071" y="56774"/>
                          <a:pt x="91023" y="56511"/>
                        </a:cubicBezTo>
                        <a:cubicBezTo>
                          <a:pt x="94579" y="56379"/>
                          <a:pt x="97807" y="59079"/>
                          <a:pt x="98004" y="62702"/>
                        </a:cubicBezTo>
                        <a:cubicBezTo>
                          <a:pt x="98202" y="66324"/>
                          <a:pt x="95436" y="69486"/>
                          <a:pt x="91813" y="69683"/>
                        </a:cubicBezTo>
                        <a:cubicBezTo>
                          <a:pt x="87598" y="69947"/>
                          <a:pt x="83251" y="70078"/>
                          <a:pt x="78772" y="70078"/>
                        </a:cubicBezTo>
                        <a:close/>
                      </a:path>
                    </a:pathLst>
                  </a:custGeom>
                  <a:grpFill/>
                  <a:ln w="6578" cap="flat">
                    <a:noFill/>
                    <a:prstDash val="solid"/>
                    <a:miter/>
                  </a:ln>
                </p:spPr>
                <p:txBody>
                  <a:bodyPr rtlCol="0" anchor="ctr"/>
                  <a:lstStyle/>
                  <a:p>
                    <a:endParaRPr lang="en-GB" dirty="0"/>
                  </a:p>
                </p:txBody>
              </p:sp>
              <p:grpSp>
                <p:nvGrpSpPr>
                  <p:cNvPr id="425" name="Grafik 212">
                    <a:extLst>
                      <a:ext uri="{FF2B5EF4-FFF2-40B4-BE49-F238E27FC236}">
                        <a16:creationId xmlns:a16="http://schemas.microsoft.com/office/drawing/2014/main" id="{C449B61D-8A1A-4AD5-A3C4-DFF59851301D}"/>
                      </a:ext>
                    </a:extLst>
                  </p:cNvPr>
                  <p:cNvGrpSpPr/>
                  <p:nvPr/>
                </p:nvGrpSpPr>
                <p:grpSpPr>
                  <a:xfrm>
                    <a:off x="3487076" y="3426888"/>
                    <a:ext cx="85358" cy="92645"/>
                    <a:chOff x="3487076" y="3426888"/>
                    <a:chExt cx="85358" cy="92645"/>
                  </a:xfrm>
                  <a:grpFill/>
                </p:grpSpPr>
                <p:sp>
                  <p:nvSpPr>
                    <p:cNvPr id="426" name="Freihandform: Form 387">
                      <a:extLst>
                        <a:ext uri="{FF2B5EF4-FFF2-40B4-BE49-F238E27FC236}">
                          <a16:creationId xmlns:a16="http://schemas.microsoft.com/office/drawing/2014/main" id="{5B76BFFF-4271-4D98-B7B6-4E452B4B3F1C}"/>
                        </a:ext>
                      </a:extLst>
                    </p:cNvPr>
                    <p:cNvSpPr/>
                    <p:nvPr/>
                  </p:nvSpPr>
                  <p:spPr>
                    <a:xfrm>
                      <a:off x="3487076" y="3426888"/>
                      <a:ext cx="71874" cy="60635"/>
                    </a:xfrm>
                    <a:custGeom>
                      <a:avLst/>
                      <a:gdLst>
                        <a:gd name="connsiteX0" fmla="*/ 65336 w 71874"/>
                        <a:gd name="connsiteY0" fmla="*/ 60636 h 60635"/>
                        <a:gd name="connsiteX1" fmla="*/ 64875 w 71874"/>
                        <a:gd name="connsiteY1" fmla="*/ 60636 h 60635"/>
                        <a:gd name="connsiteX2" fmla="*/ 0 w 71874"/>
                        <a:gd name="connsiteY2" fmla="*/ 29219 h 60635"/>
                        <a:gd name="connsiteX3" fmla="*/ 45182 w 71874"/>
                        <a:gd name="connsiteY3" fmla="*/ 108 h 60635"/>
                        <a:gd name="connsiteX4" fmla="*/ 52822 w 71874"/>
                        <a:gd name="connsiteY4" fmla="*/ 5443 h 60635"/>
                        <a:gd name="connsiteX5" fmla="*/ 47487 w 71874"/>
                        <a:gd name="connsiteY5" fmla="*/ 13083 h 60635"/>
                        <a:gd name="connsiteX6" fmla="*/ 13173 w 71874"/>
                        <a:gd name="connsiteY6" fmla="*/ 29219 h 60635"/>
                        <a:gd name="connsiteX7" fmla="*/ 65731 w 71874"/>
                        <a:gd name="connsiteY7" fmla="*/ 47529 h 60635"/>
                        <a:gd name="connsiteX8" fmla="*/ 71857 w 71874"/>
                        <a:gd name="connsiteY8" fmla="*/ 54511 h 60635"/>
                        <a:gd name="connsiteX9" fmla="*/ 65336 w 71874"/>
                        <a:gd name="connsiteY9" fmla="*/ 60636 h 60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874" h="60635">
                          <a:moveTo>
                            <a:pt x="65336" y="60636"/>
                          </a:moveTo>
                          <a:cubicBezTo>
                            <a:pt x="65204" y="60636"/>
                            <a:pt x="65073" y="60636"/>
                            <a:pt x="64875" y="60636"/>
                          </a:cubicBezTo>
                          <a:cubicBezTo>
                            <a:pt x="34973" y="58660"/>
                            <a:pt x="0" y="49242"/>
                            <a:pt x="0" y="29219"/>
                          </a:cubicBezTo>
                          <a:cubicBezTo>
                            <a:pt x="0" y="15783"/>
                            <a:pt x="16466" y="5179"/>
                            <a:pt x="45182" y="108"/>
                          </a:cubicBezTo>
                          <a:cubicBezTo>
                            <a:pt x="48739" y="-551"/>
                            <a:pt x="52164" y="1886"/>
                            <a:pt x="52822" y="5443"/>
                          </a:cubicBezTo>
                          <a:cubicBezTo>
                            <a:pt x="53481" y="8999"/>
                            <a:pt x="51044" y="12424"/>
                            <a:pt x="47487" y="13083"/>
                          </a:cubicBezTo>
                          <a:cubicBezTo>
                            <a:pt x="23842" y="17232"/>
                            <a:pt x="13173" y="25004"/>
                            <a:pt x="13173" y="29219"/>
                          </a:cubicBezTo>
                          <a:cubicBezTo>
                            <a:pt x="13173" y="34554"/>
                            <a:pt x="30758" y="45158"/>
                            <a:pt x="65731" y="47529"/>
                          </a:cubicBezTo>
                          <a:cubicBezTo>
                            <a:pt x="69354" y="47793"/>
                            <a:pt x="72120" y="50888"/>
                            <a:pt x="71857" y="54511"/>
                          </a:cubicBezTo>
                          <a:cubicBezTo>
                            <a:pt x="71659" y="57935"/>
                            <a:pt x="68761" y="60636"/>
                            <a:pt x="65336" y="60636"/>
                          </a:cubicBezTo>
                          <a:close/>
                        </a:path>
                      </a:pathLst>
                    </a:custGeom>
                    <a:grpFill/>
                    <a:ln w="6578" cap="flat">
                      <a:noFill/>
                      <a:prstDash val="solid"/>
                      <a:miter/>
                    </a:ln>
                  </p:spPr>
                  <p:txBody>
                    <a:bodyPr rtlCol="0" anchor="ctr"/>
                    <a:lstStyle/>
                    <a:p>
                      <a:endParaRPr lang="en-GB" dirty="0"/>
                    </a:p>
                  </p:txBody>
                </p:sp>
                <p:sp>
                  <p:nvSpPr>
                    <p:cNvPr id="427" name="Freihandform: Form 388">
                      <a:extLst>
                        <a:ext uri="{FF2B5EF4-FFF2-40B4-BE49-F238E27FC236}">
                          <a16:creationId xmlns:a16="http://schemas.microsoft.com/office/drawing/2014/main" id="{06754AA8-CD9D-4122-BD78-F7F72F247C1A}"/>
                        </a:ext>
                      </a:extLst>
                    </p:cNvPr>
                    <p:cNvSpPr/>
                    <p:nvPr/>
                  </p:nvSpPr>
                  <p:spPr>
                    <a:xfrm>
                      <a:off x="3487076" y="3449455"/>
                      <a:ext cx="85358" cy="70078"/>
                    </a:xfrm>
                    <a:custGeom>
                      <a:avLst/>
                      <a:gdLst>
                        <a:gd name="connsiteX0" fmla="*/ 78772 w 85358"/>
                        <a:gd name="connsiteY0" fmla="*/ 70079 h 70078"/>
                        <a:gd name="connsiteX1" fmla="*/ 0 w 85358"/>
                        <a:gd name="connsiteY1" fmla="*/ 38201 h 70078"/>
                        <a:gd name="connsiteX2" fmla="*/ 0 w 85358"/>
                        <a:gd name="connsiteY2" fmla="*/ 6586 h 70078"/>
                        <a:gd name="connsiteX3" fmla="*/ 6586 w 85358"/>
                        <a:gd name="connsiteY3" fmla="*/ 0 h 70078"/>
                        <a:gd name="connsiteX4" fmla="*/ 13173 w 85358"/>
                        <a:gd name="connsiteY4" fmla="*/ 6586 h 70078"/>
                        <a:gd name="connsiteX5" fmla="*/ 13173 w 85358"/>
                        <a:gd name="connsiteY5" fmla="*/ 38201 h 70078"/>
                        <a:gd name="connsiteX6" fmla="*/ 78772 w 85358"/>
                        <a:gd name="connsiteY6" fmla="*/ 56906 h 70078"/>
                        <a:gd name="connsiteX7" fmla="*/ 85359 w 85358"/>
                        <a:gd name="connsiteY7" fmla="*/ 63492 h 70078"/>
                        <a:gd name="connsiteX8" fmla="*/ 78772 w 85358"/>
                        <a:gd name="connsiteY8" fmla="*/ 70079 h 7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58" h="70078">
                          <a:moveTo>
                            <a:pt x="78772" y="70079"/>
                          </a:moveTo>
                          <a:cubicBezTo>
                            <a:pt x="39650" y="70079"/>
                            <a:pt x="0" y="59145"/>
                            <a:pt x="0" y="38201"/>
                          </a:cubicBezTo>
                          <a:lnTo>
                            <a:pt x="0" y="6586"/>
                          </a:lnTo>
                          <a:cubicBezTo>
                            <a:pt x="0" y="2964"/>
                            <a:pt x="2964" y="0"/>
                            <a:pt x="6586" y="0"/>
                          </a:cubicBezTo>
                          <a:cubicBezTo>
                            <a:pt x="10209" y="0"/>
                            <a:pt x="13173" y="2964"/>
                            <a:pt x="13173" y="6586"/>
                          </a:cubicBezTo>
                          <a:lnTo>
                            <a:pt x="13173" y="38201"/>
                          </a:lnTo>
                          <a:cubicBezTo>
                            <a:pt x="13173" y="44524"/>
                            <a:pt x="36290" y="56906"/>
                            <a:pt x="78772" y="56906"/>
                          </a:cubicBezTo>
                          <a:cubicBezTo>
                            <a:pt x="82395" y="56906"/>
                            <a:pt x="85359" y="59870"/>
                            <a:pt x="85359" y="63492"/>
                          </a:cubicBezTo>
                          <a:cubicBezTo>
                            <a:pt x="85359" y="67115"/>
                            <a:pt x="82395" y="70079"/>
                            <a:pt x="78772" y="70079"/>
                          </a:cubicBezTo>
                          <a:close/>
                        </a:path>
                      </a:pathLst>
                    </a:custGeom>
                    <a:grpFill/>
                    <a:ln w="6578" cap="flat">
                      <a:noFill/>
                      <a:prstDash val="solid"/>
                      <a:miter/>
                    </a:ln>
                  </p:spPr>
                  <p:txBody>
                    <a:bodyPr rtlCol="0" anchor="ctr"/>
                    <a:lstStyle/>
                    <a:p>
                      <a:endParaRPr lang="en-GB" dirty="0"/>
                    </a:p>
                  </p:txBody>
                </p:sp>
              </p:grpSp>
            </p:grpSp>
          </p:grpSp>
        </p:grpSp>
      </p:grpSp>
      <p:sp>
        <p:nvSpPr>
          <p:cNvPr id="33" name="TextBox 32">
            <a:extLst>
              <a:ext uri="{FF2B5EF4-FFF2-40B4-BE49-F238E27FC236}">
                <a16:creationId xmlns:a16="http://schemas.microsoft.com/office/drawing/2014/main" id="{848751B0-30DC-4608-A186-903BDD52DBCF}"/>
              </a:ext>
            </a:extLst>
          </p:cNvPr>
          <p:cNvSpPr txBox="1"/>
          <p:nvPr/>
        </p:nvSpPr>
        <p:spPr>
          <a:xfrm>
            <a:off x="487133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ebinars</a:t>
            </a:r>
          </a:p>
        </p:txBody>
      </p:sp>
      <p:sp>
        <p:nvSpPr>
          <p:cNvPr id="34" name="TextBox 33">
            <a:extLst>
              <a:ext uri="{FF2B5EF4-FFF2-40B4-BE49-F238E27FC236}">
                <a16:creationId xmlns:a16="http://schemas.microsoft.com/office/drawing/2014/main" id="{E38F7C72-FBF9-43B4-9DF8-0D0DE87B4DDD}"/>
              </a:ext>
            </a:extLst>
          </p:cNvPr>
          <p:cNvSpPr txBox="1"/>
          <p:nvPr/>
        </p:nvSpPr>
        <p:spPr>
          <a:xfrm>
            <a:off x="8007638"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vestment</a:t>
            </a:r>
            <a:br>
              <a:rPr lang="en-GB" sz="700" dirty="0">
                <a:solidFill>
                  <a:schemeClr val="tx2"/>
                </a:solidFill>
              </a:rPr>
            </a:br>
            <a:r>
              <a:rPr lang="en-GB" sz="700" dirty="0">
                <a:solidFill>
                  <a:schemeClr val="tx2"/>
                </a:solidFill>
              </a:rPr>
              <a:t>management</a:t>
            </a:r>
          </a:p>
        </p:txBody>
      </p:sp>
      <p:sp>
        <p:nvSpPr>
          <p:cNvPr id="35" name="TextBox 34">
            <a:extLst>
              <a:ext uri="{FF2B5EF4-FFF2-40B4-BE49-F238E27FC236}">
                <a16:creationId xmlns:a16="http://schemas.microsoft.com/office/drawing/2014/main" id="{1A09DE0B-2BE5-402F-B8BD-B4A6AF64EBF2}"/>
              </a:ext>
            </a:extLst>
          </p:cNvPr>
          <p:cNvSpPr txBox="1"/>
          <p:nvPr/>
        </p:nvSpPr>
        <p:spPr>
          <a:xfrm>
            <a:off x="6962205"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ecurities</a:t>
            </a:r>
          </a:p>
        </p:txBody>
      </p:sp>
      <p:sp>
        <p:nvSpPr>
          <p:cNvPr id="36" name="TextBox 35">
            <a:extLst>
              <a:ext uri="{FF2B5EF4-FFF2-40B4-BE49-F238E27FC236}">
                <a16:creationId xmlns:a16="http://schemas.microsoft.com/office/drawing/2014/main" id="{E32764CD-C62D-4FD0-ABB7-A051652B43C8}"/>
              </a:ext>
            </a:extLst>
          </p:cNvPr>
          <p:cNvSpPr txBox="1"/>
          <p:nvPr/>
        </p:nvSpPr>
        <p:spPr>
          <a:xfrm>
            <a:off x="5916771"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arket analysis</a:t>
            </a:r>
            <a:br>
              <a:rPr lang="en-GB" sz="700" dirty="0">
                <a:solidFill>
                  <a:schemeClr val="tx2"/>
                </a:solidFill>
              </a:rPr>
            </a:br>
            <a:r>
              <a:rPr lang="en-GB" sz="700" dirty="0">
                <a:solidFill>
                  <a:schemeClr val="tx2"/>
                </a:solidFill>
              </a:rPr>
              <a:t>workshop</a:t>
            </a:r>
          </a:p>
        </p:txBody>
      </p:sp>
      <p:sp>
        <p:nvSpPr>
          <p:cNvPr id="37" name="TextBox 36">
            <a:extLst>
              <a:ext uri="{FF2B5EF4-FFF2-40B4-BE49-F238E27FC236}">
                <a16:creationId xmlns:a16="http://schemas.microsoft.com/office/drawing/2014/main" id="{E627D3D7-B314-4388-A688-1A678A294F20}"/>
              </a:ext>
            </a:extLst>
          </p:cNvPr>
          <p:cNvSpPr txBox="1"/>
          <p:nvPr/>
        </p:nvSpPr>
        <p:spPr>
          <a:xfrm>
            <a:off x="487133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Goal planning</a:t>
            </a:r>
          </a:p>
        </p:txBody>
      </p:sp>
      <p:sp>
        <p:nvSpPr>
          <p:cNvPr id="38" name="TextBox 37">
            <a:extLst>
              <a:ext uri="{FF2B5EF4-FFF2-40B4-BE49-F238E27FC236}">
                <a16:creationId xmlns:a16="http://schemas.microsoft.com/office/drawing/2014/main" id="{CD36A2B1-6C88-42D0-A79B-49C1FAC3C558}"/>
              </a:ext>
            </a:extLst>
          </p:cNvPr>
          <p:cNvSpPr txBox="1"/>
          <p:nvPr/>
        </p:nvSpPr>
        <p:spPr>
          <a:xfrm>
            <a:off x="8007638"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dependent</a:t>
            </a:r>
            <a:br>
              <a:rPr lang="en-GB" sz="700" dirty="0">
                <a:solidFill>
                  <a:schemeClr val="tx2"/>
                </a:solidFill>
              </a:rPr>
            </a:br>
            <a:r>
              <a:rPr lang="en-GB" sz="700" dirty="0">
                <a:solidFill>
                  <a:schemeClr val="tx2"/>
                </a:solidFill>
              </a:rPr>
              <a:t>advisor</a:t>
            </a:r>
          </a:p>
        </p:txBody>
      </p:sp>
      <p:sp>
        <p:nvSpPr>
          <p:cNvPr id="39" name="TextBox 38">
            <a:extLst>
              <a:ext uri="{FF2B5EF4-FFF2-40B4-BE49-F238E27FC236}">
                <a16:creationId xmlns:a16="http://schemas.microsoft.com/office/drawing/2014/main" id="{5BC4C54E-C041-488D-97A4-E8B5BBFC4391}"/>
              </a:ext>
            </a:extLst>
          </p:cNvPr>
          <p:cNvSpPr txBox="1"/>
          <p:nvPr/>
        </p:nvSpPr>
        <p:spPr>
          <a:xfrm>
            <a:off x="6962205"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vesting</a:t>
            </a:r>
            <a:br>
              <a:rPr lang="en-GB" sz="700" dirty="0">
                <a:solidFill>
                  <a:schemeClr val="tx2"/>
                </a:solidFill>
              </a:rPr>
            </a:br>
            <a:r>
              <a:rPr lang="en-GB" sz="700" dirty="0">
                <a:solidFill>
                  <a:schemeClr val="tx2"/>
                </a:solidFill>
              </a:rPr>
              <a:t>for college</a:t>
            </a:r>
          </a:p>
        </p:txBody>
      </p:sp>
      <p:sp>
        <p:nvSpPr>
          <p:cNvPr id="40" name="TextBox 39">
            <a:extLst>
              <a:ext uri="{FF2B5EF4-FFF2-40B4-BE49-F238E27FC236}">
                <a16:creationId xmlns:a16="http://schemas.microsoft.com/office/drawing/2014/main" id="{8DB25D07-7390-41BD-AA7D-83B0E3FC2E6E}"/>
              </a:ext>
            </a:extLst>
          </p:cNvPr>
          <p:cNvSpPr txBox="1"/>
          <p:nvPr/>
        </p:nvSpPr>
        <p:spPr>
          <a:xfrm>
            <a:off x="5916771"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rticles</a:t>
            </a:r>
          </a:p>
        </p:txBody>
      </p:sp>
      <p:sp>
        <p:nvSpPr>
          <p:cNvPr id="42" name="TextBox 41">
            <a:extLst>
              <a:ext uri="{FF2B5EF4-FFF2-40B4-BE49-F238E27FC236}">
                <a16:creationId xmlns:a16="http://schemas.microsoft.com/office/drawing/2014/main" id="{0ED18E66-B313-4C9C-94CC-CC8D3A1B0F0B}"/>
              </a:ext>
            </a:extLst>
          </p:cNvPr>
          <p:cNvSpPr txBox="1"/>
          <p:nvPr/>
        </p:nvSpPr>
        <p:spPr>
          <a:xfrm>
            <a:off x="8007638"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hare</a:t>
            </a:r>
            <a:br>
              <a:rPr lang="en-GB" sz="700" dirty="0">
                <a:solidFill>
                  <a:schemeClr val="tx2"/>
                </a:solidFill>
              </a:rPr>
            </a:br>
            <a:r>
              <a:rPr lang="en-GB" sz="700" dirty="0">
                <a:solidFill>
                  <a:schemeClr val="tx2"/>
                </a:solidFill>
              </a:rPr>
              <a:t>valuation</a:t>
            </a:r>
          </a:p>
        </p:txBody>
      </p:sp>
      <p:sp>
        <p:nvSpPr>
          <p:cNvPr id="43" name="TextBox 42">
            <a:extLst>
              <a:ext uri="{FF2B5EF4-FFF2-40B4-BE49-F238E27FC236}">
                <a16:creationId xmlns:a16="http://schemas.microsoft.com/office/drawing/2014/main" id="{C07DC8C7-7F6F-47D4-B1CD-417DB3C918DC}"/>
              </a:ext>
            </a:extLst>
          </p:cNvPr>
          <p:cNvSpPr txBox="1"/>
          <p:nvPr/>
        </p:nvSpPr>
        <p:spPr>
          <a:xfrm>
            <a:off x="6962205"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roker</a:t>
            </a:r>
          </a:p>
        </p:txBody>
      </p:sp>
      <p:sp>
        <p:nvSpPr>
          <p:cNvPr id="44" name="TextBox 43">
            <a:extLst>
              <a:ext uri="{FF2B5EF4-FFF2-40B4-BE49-F238E27FC236}">
                <a16:creationId xmlns:a16="http://schemas.microsoft.com/office/drawing/2014/main" id="{820FB704-14AE-48DA-985C-47AD82B57454}"/>
              </a:ext>
            </a:extLst>
          </p:cNvPr>
          <p:cNvSpPr txBox="1"/>
          <p:nvPr/>
        </p:nvSpPr>
        <p:spPr>
          <a:xfrm>
            <a:off x="5916771"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Venture</a:t>
            </a:r>
            <a:br>
              <a:rPr lang="en-GB" sz="700" dirty="0">
                <a:solidFill>
                  <a:schemeClr val="tx2"/>
                </a:solidFill>
              </a:rPr>
            </a:br>
            <a:r>
              <a:rPr lang="en-GB" sz="700" dirty="0">
                <a:solidFill>
                  <a:schemeClr val="tx2"/>
                </a:solidFill>
              </a:rPr>
              <a:t>capital</a:t>
            </a:r>
          </a:p>
        </p:txBody>
      </p:sp>
      <p:sp>
        <p:nvSpPr>
          <p:cNvPr id="45" name="TextBox 44">
            <a:extLst>
              <a:ext uri="{FF2B5EF4-FFF2-40B4-BE49-F238E27FC236}">
                <a16:creationId xmlns:a16="http://schemas.microsoft.com/office/drawing/2014/main" id="{33E6D658-7184-447D-9F4F-C03458B1CA58}"/>
              </a:ext>
            </a:extLst>
          </p:cNvPr>
          <p:cNvSpPr txBox="1"/>
          <p:nvPr/>
        </p:nvSpPr>
        <p:spPr>
          <a:xfrm>
            <a:off x="487133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trategic</a:t>
            </a:r>
            <a:br>
              <a:rPr lang="en-GB" sz="700" dirty="0">
                <a:solidFill>
                  <a:schemeClr val="tx2"/>
                </a:solidFill>
              </a:rPr>
            </a:br>
            <a:r>
              <a:rPr lang="en-GB" sz="700" dirty="0">
                <a:solidFill>
                  <a:schemeClr val="tx2"/>
                </a:solidFill>
              </a:rPr>
              <a:t>decisions</a:t>
            </a:r>
          </a:p>
        </p:txBody>
      </p:sp>
      <p:sp>
        <p:nvSpPr>
          <p:cNvPr id="46" name="TextBox 45">
            <a:extLst>
              <a:ext uri="{FF2B5EF4-FFF2-40B4-BE49-F238E27FC236}">
                <a16:creationId xmlns:a16="http://schemas.microsoft.com/office/drawing/2014/main" id="{4836FDEC-5205-4613-9782-579A93BFB933}"/>
              </a:ext>
            </a:extLst>
          </p:cNvPr>
          <p:cNvSpPr txBox="1"/>
          <p:nvPr/>
        </p:nvSpPr>
        <p:spPr>
          <a:xfrm>
            <a:off x="8007638"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malgamation</a:t>
            </a:r>
          </a:p>
        </p:txBody>
      </p:sp>
      <p:sp>
        <p:nvSpPr>
          <p:cNvPr id="47" name="TextBox 46">
            <a:extLst>
              <a:ext uri="{FF2B5EF4-FFF2-40B4-BE49-F238E27FC236}">
                <a16:creationId xmlns:a16="http://schemas.microsoft.com/office/drawing/2014/main" id="{EABCB57D-04CB-4A40-90B4-8619CEB676B9}"/>
              </a:ext>
            </a:extLst>
          </p:cNvPr>
          <p:cNvSpPr txBox="1"/>
          <p:nvPr/>
        </p:nvSpPr>
        <p:spPr>
          <a:xfrm>
            <a:off x="6962205"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itcoin</a:t>
            </a:r>
            <a:br>
              <a:rPr lang="en-GB" sz="700" dirty="0">
                <a:solidFill>
                  <a:schemeClr val="tx2"/>
                </a:solidFill>
              </a:rPr>
            </a:br>
            <a:r>
              <a:rPr lang="en-GB" sz="700" dirty="0">
                <a:solidFill>
                  <a:schemeClr val="tx2"/>
                </a:solidFill>
              </a:rPr>
              <a:t>wallet</a:t>
            </a:r>
          </a:p>
        </p:txBody>
      </p:sp>
      <p:sp>
        <p:nvSpPr>
          <p:cNvPr id="48" name="TextBox 47">
            <a:extLst>
              <a:ext uri="{FF2B5EF4-FFF2-40B4-BE49-F238E27FC236}">
                <a16:creationId xmlns:a16="http://schemas.microsoft.com/office/drawing/2014/main" id="{963C46A5-6523-4A4B-A2FF-1780F456D316}"/>
              </a:ext>
            </a:extLst>
          </p:cNvPr>
          <p:cNvSpPr txBox="1"/>
          <p:nvPr/>
        </p:nvSpPr>
        <p:spPr>
          <a:xfrm>
            <a:off x="5916771"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ransactions</a:t>
            </a:r>
          </a:p>
        </p:txBody>
      </p:sp>
      <p:grpSp>
        <p:nvGrpSpPr>
          <p:cNvPr id="380" name="Group 379">
            <a:extLst>
              <a:ext uri="{FF2B5EF4-FFF2-40B4-BE49-F238E27FC236}">
                <a16:creationId xmlns:a16="http://schemas.microsoft.com/office/drawing/2014/main" id="{CF4D6910-9E87-1C22-56E6-1EE1D0D43F7D}"/>
              </a:ext>
            </a:extLst>
          </p:cNvPr>
          <p:cNvGrpSpPr/>
          <p:nvPr/>
        </p:nvGrpSpPr>
        <p:grpSpPr>
          <a:xfrm>
            <a:off x="4902953" y="1585984"/>
            <a:ext cx="620631" cy="432000"/>
            <a:chOff x="4902541" y="1585984"/>
            <a:chExt cx="620631" cy="432000"/>
          </a:xfrm>
        </p:grpSpPr>
        <p:grpSp>
          <p:nvGrpSpPr>
            <p:cNvPr id="437" name="Grafik 213">
              <a:extLst>
                <a:ext uri="{FF2B5EF4-FFF2-40B4-BE49-F238E27FC236}">
                  <a16:creationId xmlns:a16="http://schemas.microsoft.com/office/drawing/2014/main" id="{8546106B-C4B0-433B-8611-AB0D5032A0A1}"/>
                </a:ext>
              </a:extLst>
            </p:cNvPr>
            <p:cNvGrpSpPr/>
            <p:nvPr/>
          </p:nvGrpSpPr>
          <p:grpSpPr>
            <a:xfrm>
              <a:off x="4902541" y="1632161"/>
              <a:ext cx="620631" cy="385823"/>
              <a:chOff x="6129160" y="1784142"/>
              <a:chExt cx="485351" cy="301724"/>
            </a:xfrm>
            <a:solidFill>
              <a:schemeClr val="tx2"/>
            </a:solidFill>
          </p:grpSpPr>
          <p:sp>
            <p:nvSpPr>
              <p:cNvPr id="449" name="Freihandform: Form 760">
                <a:extLst>
                  <a:ext uri="{FF2B5EF4-FFF2-40B4-BE49-F238E27FC236}">
                    <a16:creationId xmlns:a16="http://schemas.microsoft.com/office/drawing/2014/main" id="{E55CE75C-6E1A-4229-8913-7450237FDCF8}"/>
                  </a:ext>
                </a:extLst>
              </p:cNvPr>
              <p:cNvSpPr/>
              <p:nvPr/>
            </p:nvSpPr>
            <p:spPr>
              <a:xfrm>
                <a:off x="6188296" y="1810406"/>
                <a:ext cx="104945" cy="196758"/>
              </a:xfrm>
              <a:custGeom>
                <a:avLst/>
                <a:gdLst>
                  <a:gd name="connsiteX0" fmla="*/ 6566 w 104945"/>
                  <a:gd name="connsiteY0" fmla="*/ 196758 h 196758"/>
                  <a:gd name="connsiteX1" fmla="*/ 0 w 104945"/>
                  <a:gd name="connsiteY1" fmla="*/ 190192 h 196758"/>
                  <a:gd name="connsiteX2" fmla="*/ 0 w 104945"/>
                  <a:gd name="connsiteY2" fmla="*/ 6566 h 196758"/>
                  <a:gd name="connsiteX3" fmla="*/ 6566 w 104945"/>
                  <a:gd name="connsiteY3" fmla="*/ 0 h 196758"/>
                  <a:gd name="connsiteX4" fmla="*/ 98379 w 104945"/>
                  <a:gd name="connsiteY4" fmla="*/ 0 h 196758"/>
                  <a:gd name="connsiteX5" fmla="*/ 104945 w 104945"/>
                  <a:gd name="connsiteY5" fmla="*/ 6566 h 196758"/>
                  <a:gd name="connsiteX6" fmla="*/ 98379 w 104945"/>
                  <a:gd name="connsiteY6" fmla="*/ 13132 h 196758"/>
                  <a:gd name="connsiteX7" fmla="*/ 13110 w 104945"/>
                  <a:gd name="connsiteY7" fmla="*/ 13132 h 196758"/>
                  <a:gd name="connsiteX8" fmla="*/ 13110 w 104945"/>
                  <a:gd name="connsiteY8" fmla="*/ 190214 h 196758"/>
                  <a:gd name="connsiteX9" fmla="*/ 6566 w 104945"/>
                  <a:gd name="connsiteY9" fmla="*/ 196758 h 196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45" h="196758">
                    <a:moveTo>
                      <a:pt x="6566" y="196758"/>
                    </a:moveTo>
                    <a:cubicBezTo>
                      <a:pt x="2935" y="196758"/>
                      <a:pt x="0" y="193823"/>
                      <a:pt x="0" y="190192"/>
                    </a:cubicBezTo>
                    <a:lnTo>
                      <a:pt x="0" y="6566"/>
                    </a:lnTo>
                    <a:cubicBezTo>
                      <a:pt x="0" y="2935"/>
                      <a:pt x="2935" y="0"/>
                      <a:pt x="6566" y="0"/>
                    </a:cubicBezTo>
                    <a:lnTo>
                      <a:pt x="98379" y="0"/>
                    </a:lnTo>
                    <a:cubicBezTo>
                      <a:pt x="102010" y="0"/>
                      <a:pt x="104945" y="2935"/>
                      <a:pt x="104945" y="6566"/>
                    </a:cubicBezTo>
                    <a:cubicBezTo>
                      <a:pt x="104945" y="10197"/>
                      <a:pt x="102010" y="13132"/>
                      <a:pt x="98379" y="13132"/>
                    </a:cubicBezTo>
                    <a:lnTo>
                      <a:pt x="13110" y="13132"/>
                    </a:lnTo>
                    <a:lnTo>
                      <a:pt x="13110" y="190214"/>
                    </a:lnTo>
                    <a:cubicBezTo>
                      <a:pt x="13132" y="193823"/>
                      <a:pt x="10197" y="196758"/>
                      <a:pt x="6566" y="196758"/>
                    </a:cubicBezTo>
                    <a:close/>
                  </a:path>
                </a:pathLst>
              </a:custGeom>
              <a:grpFill/>
              <a:ln w="2168" cap="flat">
                <a:noFill/>
                <a:prstDash val="solid"/>
                <a:miter/>
              </a:ln>
            </p:spPr>
            <p:txBody>
              <a:bodyPr rtlCol="0" anchor="ctr"/>
              <a:lstStyle/>
              <a:p>
                <a:endParaRPr lang="en-GB" dirty="0"/>
              </a:p>
            </p:txBody>
          </p:sp>
          <p:sp>
            <p:nvSpPr>
              <p:cNvPr id="450" name="Freihandform: Form 761">
                <a:extLst>
                  <a:ext uri="{FF2B5EF4-FFF2-40B4-BE49-F238E27FC236}">
                    <a16:creationId xmlns:a16="http://schemas.microsoft.com/office/drawing/2014/main" id="{E0649090-CD1F-4DEC-B5A3-479F19BA6ED3}"/>
                  </a:ext>
                </a:extLst>
              </p:cNvPr>
              <p:cNvSpPr/>
              <p:nvPr/>
            </p:nvSpPr>
            <p:spPr>
              <a:xfrm>
                <a:off x="6450648" y="1810384"/>
                <a:ext cx="104945" cy="196779"/>
              </a:xfrm>
              <a:custGeom>
                <a:avLst/>
                <a:gdLst>
                  <a:gd name="connsiteX0" fmla="*/ 98401 w 104945"/>
                  <a:gd name="connsiteY0" fmla="*/ 196780 h 196779"/>
                  <a:gd name="connsiteX1" fmla="*/ 91835 w 104945"/>
                  <a:gd name="connsiteY1" fmla="*/ 190214 h 196779"/>
                  <a:gd name="connsiteX2" fmla="*/ 91835 w 104945"/>
                  <a:gd name="connsiteY2" fmla="*/ 13132 h 196779"/>
                  <a:gd name="connsiteX3" fmla="*/ 6566 w 104945"/>
                  <a:gd name="connsiteY3" fmla="*/ 13132 h 196779"/>
                  <a:gd name="connsiteX4" fmla="*/ 0 w 104945"/>
                  <a:gd name="connsiteY4" fmla="*/ 6566 h 196779"/>
                  <a:gd name="connsiteX5" fmla="*/ 6566 w 104945"/>
                  <a:gd name="connsiteY5" fmla="*/ 0 h 196779"/>
                  <a:gd name="connsiteX6" fmla="*/ 98379 w 104945"/>
                  <a:gd name="connsiteY6" fmla="*/ 0 h 196779"/>
                  <a:gd name="connsiteX7" fmla="*/ 104945 w 104945"/>
                  <a:gd name="connsiteY7" fmla="*/ 6566 h 196779"/>
                  <a:gd name="connsiteX8" fmla="*/ 104945 w 104945"/>
                  <a:gd name="connsiteY8" fmla="*/ 190214 h 196779"/>
                  <a:gd name="connsiteX9" fmla="*/ 98401 w 104945"/>
                  <a:gd name="connsiteY9" fmla="*/ 196780 h 19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945" h="196779">
                    <a:moveTo>
                      <a:pt x="98401" y="196780"/>
                    </a:moveTo>
                    <a:cubicBezTo>
                      <a:pt x="94770" y="196780"/>
                      <a:pt x="91835" y="193845"/>
                      <a:pt x="91835" y="190214"/>
                    </a:cubicBezTo>
                    <a:lnTo>
                      <a:pt x="91835" y="13132"/>
                    </a:lnTo>
                    <a:lnTo>
                      <a:pt x="6566" y="13132"/>
                    </a:lnTo>
                    <a:cubicBezTo>
                      <a:pt x="2935" y="13132"/>
                      <a:pt x="0" y="10197"/>
                      <a:pt x="0" y="6566"/>
                    </a:cubicBezTo>
                    <a:cubicBezTo>
                      <a:pt x="0" y="2935"/>
                      <a:pt x="2935" y="0"/>
                      <a:pt x="6566" y="0"/>
                    </a:cubicBezTo>
                    <a:lnTo>
                      <a:pt x="98379" y="0"/>
                    </a:lnTo>
                    <a:cubicBezTo>
                      <a:pt x="102010" y="0"/>
                      <a:pt x="104945" y="2935"/>
                      <a:pt x="104945" y="6566"/>
                    </a:cubicBezTo>
                    <a:lnTo>
                      <a:pt x="104945" y="190214"/>
                    </a:lnTo>
                    <a:cubicBezTo>
                      <a:pt x="104945" y="193845"/>
                      <a:pt x="102010" y="196780"/>
                      <a:pt x="98401" y="196780"/>
                    </a:cubicBezTo>
                    <a:close/>
                  </a:path>
                </a:pathLst>
              </a:custGeom>
              <a:grpFill/>
              <a:ln w="2168" cap="flat">
                <a:noFill/>
                <a:prstDash val="solid"/>
                <a:miter/>
              </a:ln>
            </p:spPr>
            <p:txBody>
              <a:bodyPr rtlCol="0" anchor="ctr"/>
              <a:lstStyle/>
              <a:p>
                <a:endParaRPr lang="en-GB" dirty="0"/>
              </a:p>
            </p:txBody>
          </p:sp>
          <p:sp>
            <p:nvSpPr>
              <p:cNvPr id="451" name="Freihandform: Form 762">
                <a:extLst>
                  <a:ext uri="{FF2B5EF4-FFF2-40B4-BE49-F238E27FC236}">
                    <a16:creationId xmlns:a16="http://schemas.microsoft.com/office/drawing/2014/main" id="{5229FD72-853C-459C-90D6-15BE6AE1AD67}"/>
                  </a:ext>
                </a:extLst>
              </p:cNvPr>
              <p:cNvSpPr/>
              <p:nvPr/>
            </p:nvSpPr>
            <p:spPr>
              <a:xfrm>
                <a:off x="6162076" y="1784142"/>
                <a:ext cx="419758" cy="255807"/>
              </a:xfrm>
              <a:custGeom>
                <a:avLst/>
                <a:gdLst>
                  <a:gd name="connsiteX0" fmla="*/ 419758 w 419758"/>
                  <a:gd name="connsiteY0" fmla="*/ 255807 h 255807"/>
                  <a:gd name="connsiteX1" fmla="*/ 0 w 419758"/>
                  <a:gd name="connsiteY1" fmla="*/ 255807 h 255807"/>
                  <a:gd name="connsiteX2" fmla="*/ 0 w 419758"/>
                  <a:gd name="connsiteY2" fmla="*/ 19698 h 255807"/>
                  <a:gd name="connsiteX3" fmla="*/ 19676 w 419758"/>
                  <a:gd name="connsiteY3" fmla="*/ 22 h 255807"/>
                  <a:gd name="connsiteX4" fmla="*/ 124621 w 419758"/>
                  <a:gd name="connsiteY4" fmla="*/ 22 h 255807"/>
                  <a:gd name="connsiteX5" fmla="*/ 131187 w 419758"/>
                  <a:gd name="connsiteY5" fmla="*/ 6588 h 255807"/>
                  <a:gd name="connsiteX6" fmla="*/ 124621 w 419758"/>
                  <a:gd name="connsiteY6" fmla="*/ 13153 h 255807"/>
                  <a:gd name="connsiteX7" fmla="*/ 19676 w 419758"/>
                  <a:gd name="connsiteY7" fmla="*/ 13153 h 255807"/>
                  <a:gd name="connsiteX8" fmla="*/ 13110 w 419758"/>
                  <a:gd name="connsiteY8" fmla="*/ 19719 h 255807"/>
                  <a:gd name="connsiteX9" fmla="*/ 13110 w 419758"/>
                  <a:gd name="connsiteY9" fmla="*/ 242719 h 255807"/>
                  <a:gd name="connsiteX10" fmla="*/ 406626 w 419758"/>
                  <a:gd name="connsiteY10" fmla="*/ 242719 h 255807"/>
                  <a:gd name="connsiteX11" fmla="*/ 406626 w 419758"/>
                  <a:gd name="connsiteY11" fmla="*/ 19698 h 255807"/>
                  <a:gd name="connsiteX12" fmla="*/ 400061 w 419758"/>
                  <a:gd name="connsiteY12" fmla="*/ 13132 h 255807"/>
                  <a:gd name="connsiteX13" fmla="*/ 295116 w 419758"/>
                  <a:gd name="connsiteY13" fmla="*/ 13132 h 255807"/>
                  <a:gd name="connsiteX14" fmla="*/ 288550 w 419758"/>
                  <a:gd name="connsiteY14" fmla="*/ 6566 h 255807"/>
                  <a:gd name="connsiteX15" fmla="*/ 295116 w 419758"/>
                  <a:gd name="connsiteY15" fmla="*/ 0 h 255807"/>
                  <a:gd name="connsiteX16" fmla="*/ 400061 w 419758"/>
                  <a:gd name="connsiteY16" fmla="*/ 0 h 255807"/>
                  <a:gd name="connsiteX17" fmla="*/ 419736 w 419758"/>
                  <a:gd name="connsiteY17" fmla="*/ 19676 h 255807"/>
                  <a:gd name="connsiteX18" fmla="*/ 419736 w 419758"/>
                  <a:gd name="connsiteY18" fmla="*/ 255807 h 25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9758" h="255807">
                    <a:moveTo>
                      <a:pt x="419758" y="255807"/>
                    </a:moveTo>
                    <a:lnTo>
                      <a:pt x="0" y="255807"/>
                    </a:lnTo>
                    <a:lnTo>
                      <a:pt x="0" y="19698"/>
                    </a:lnTo>
                    <a:cubicBezTo>
                      <a:pt x="0" y="8849"/>
                      <a:pt x="8827" y="22"/>
                      <a:pt x="19676" y="22"/>
                    </a:cubicBezTo>
                    <a:lnTo>
                      <a:pt x="124621" y="22"/>
                    </a:lnTo>
                    <a:cubicBezTo>
                      <a:pt x="128252" y="22"/>
                      <a:pt x="131187" y="2957"/>
                      <a:pt x="131187" y="6588"/>
                    </a:cubicBezTo>
                    <a:cubicBezTo>
                      <a:pt x="131187" y="10218"/>
                      <a:pt x="128252" y="13153"/>
                      <a:pt x="124621" y="13153"/>
                    </a:cubicBezTo>
                    <a:lnTo>
                      <a:pt x="19676" y="13153"/>
                    </a:lnTo>
                    <a:cubicBezTo>
                      <a:pt x="16067" y="13153"/>
                      <a:pt x="13110" y="16089"/>
                      <a:pt x="13110" y="19719"/>
                    </a:cubicBezTo>
                    <a:lnTo>
                      <a:pt x="13110" y="242719"/>
                    </a:lnTo>
                    <a:lnTo>
                      <a:pt x="406626" y="242719"/>
                    </a:lnTo>
                    <a:lnTo>
                      <a:pt x="406626" y="19698"/>
                    </a:lnTo>
                    <a:cubicBezTo>
                      <a:pt x="406626" y="16089"/>
                      <a:pt x="403691" y="13132"/>
                      <a:pt x="400061" y="13132"/>
                    </a:cubicBezTo>
                    <a:lnTo>
                      <a:pt x="295116" y="13132"/>
                    </a:lnTo>
                    <a:cubicBezTo>
                      <a:pt x="291485" y="13132"/>
                      <a:pt x="288550" y="10197"/>
                      <a:pt x="288550" y="6566"/>
                    </a:cubicBezTo>
                    <a:cubicBezTo>
                      <a:pt x="288550" y="2935"/>
                      <a:pt x="291485" y="0"/>
                      <a:pt x="295116" y="0"/>
                    </a:cubicBezTo>
                    <a:lnTo>
                      <a:pt x="400061" y="0"/>
                    </a:lnTo>
                    <a:cubicBezTo>
                      <a:pt x="410909" y="0"/>
                      <a:pt x="419736" y="8827"/>
                      <a:pt x="419736" y="19676"/>
                    </a:cubicBezTo>
                    <a:lnTo>
                      <a:pt x="419736" y="255807"/>
                    </a:lnTo>
                    <a:close/>
                  </a:path>
                </a:pathLst>
              </a:custGeom>
              <a:grpFill/>
              <a:ln w="2168" cap="flat">
                <a:noFill/>
                <a:prstDash val="solid"/>
                <a:miter/>
              </a:ln>
            </p:spPr>
            <p:txBody>
              <a:bodyPr rtlCol="0" anchor="ctr"/>
              <a:lstStyle/>
              <a:p>
                <a:endParaRPr lang="en-GB" dirty="0"/>
              </a:p>
            </p:txBody>
          </p:sp>
          <p:sp>
            <p:nvSpPr>
              <p:cNvPr id="452" name="Freihandform: Form 763">
                <a:extLst>
                  <a:ext uri="{FF2B5EF4-FFF2-40B4-BE49-F238E27FC236}">
                    <a16:creationId xmlns:a16="http://schemas.microsoft.com/office/drawing/2014/main" id="{BAF76722-0009-4275-8D76-485DBA10F96C}"/>
                  </a:ext>
                </a:extLst>
              </p:cNvPr>
              <p:cNvSpPr/>
              <p:nvPr/>
            </p:nvSpPr>
            <p:spPr>
              <a:xfrm>
                <a:off x="6129160" y="2026818"/>
                <a:ext cx="485351" cy="59049"/>
              </a:xfrm>
              <a:custGeom>
                <a:avLst/>
                <a:gdLst>
                  <a:gd name="connsiteX0" fmla="*/ 440586 w 485351"/>
                  <a:gd name="connsiteY0" fmla="*/ 59049 h 59049"/>
                  <a:gd name="connsiteX1" fmla="*/ 44744 w 485351"/>
                  <a:gd name="connsiteY1" fmla="*/ 59049 h 59049"/>
                  <a:gd name="connsiteX2" fmla="*/ 0 w 485351"/>
                  <a:gd name="connsiteY2" fmla="*/ 14284 h 59049"/>
                  <a:gd name="connsiteX3" fmla="*/ 0 w 485351"/>
                  <a:gd name="connsiteY3" fmla="*/ 6566 h 59049"/>
                  <a:gd name="connsiteX4" fmla="*/ 6566 w 485351"/>
                  <a:gd name="connsiteY4" fmla="*/ 0 h 59049"/>
                  <a:gd name="connsiteX5" fmla="*/ 478786 w 485351"/>
                  <a:gd name="connsiteY5" fmla="*/ 0 h 59049"/>
                  <a:gd name="connsiteX6" fmla="*/ 485351 w 485351"/>
                  <a:gd name="connsiteY6" fmla="*/ 6566 h 59049"/>
                  <a:gd name="connsiteX7" fmla="*/ 485351 w 485351"/>
                  <a:gd name="connsiteY7" fmla="*/ 14284 h 59049"/>
                  <a:gd name="connsiteX8" fmla="*/ 440586 w 485351"/>
                  <a:gd name="connsiteY8" fmla="*/ 59049 h 59049"/>
                  <a:gd name="connsiteX9" fmla="*/ 13110 w 485351"/>
                  <a:gd name="connsiteY9" fmla="*/ 13132 h 59049"/>
                  <a:gd name="connsiteX10" fmla="*/ 13110 w 485351"/>
                  <a:gd name="connsiteY10" fmla="*/ 14284 h 59049"/>
                  <a:gd name="connsiteX11" fmla="*/ 44744 w 485351"/>
                  <a:gd name="connsiteY11" fmla="*/ 45918 h 59049"/>
                  <a:gd name="connsiteX12" fmla="*/ 440586 w 485351"/>
                  <a:gd name="connsiteY12" fmla="*/ 45918 h 59049"/>
                  <a:gd name="connsiteX13" fmla="*/ 472220 w 485351"/>
                  <a:gd name="connsiteY13" fmla="*/ 14284 h 59049"/>
                  <a:gd name="connsiteX14" fmla="*/ 472220 w 485351"/>
                  <a:gd name="connsiteY14" fmla="*/ 13132 h 59049"/>
                  <a:gd name="connsiteX15" fmla="*/ 13110 w 485351"/>
                  <a:gd name="connsiteY15" fmla="*/ 13132 h 5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351" h="59049">
                    <a:moveTo>
                      <a:pt x="440586" y="59049"/>
                    </a:moveTo>
                    <a:lnTo>
                      <a:pt x="44744" y="59049"/>
                    </a:lnTo>
                    <a:cubicBezTo>
                      <a:pt x="20067" y="59049"/>
                      <a:pt x="0" y="38982"/>
                      <a:pt x="0" y="14284"/>
                    </a:cubicBezTo>
                    <a:lnTo>
                      <a:pt x="0" y="6566"/>
                    </a:lnTo>
                    <a:cubicBezTo>
                      <a:pt x="0" y="2935"/>
                      <a:pt x="2935" y="0"/>
                      <a:pt x="6566" y="0"/>
                    </a:cubicBezTo>
                    <a:lnTo>
                      <a:pt x="478786" y="0"/>
                    </a:lnTo>
                    <a:cubicBezTo>
                      <a:pt x="482416" y="0"/>
                      <a:pt x="485351" y="2935"/>
                      <a:pt x="485351" y="6566"/>
                    </a:cubicBezTo>
                    <a:lnTo>
                      <a:pt x="485351" y="14284"/>
                    </a:lnTo>
                    <a:cubicBezTo>
                      <a:pt x="485351" y="38982"/>
                      <a:pt x="465284" y="59049"/>
                      <a:pt x="440586" y="59049"/>
                    </a:cubicBezTo>
                    <a:close/>
                    <a:moveTo>
                      <a:pt x="13110" y="13132"/>
                    </a:moveTo>
                    <a:lnTo>
                      <a:pt x="13110" y="14284"/>
                    </a:lnTo>
                    <a:cubicBezTo>
                      <a:pt x="13110" y="31720"/>
                      <a:pt x="27307" y="45918"/>
                      <a:pt x="44744" y="45918"/>
                    </a:cubicBezTo>
                    <a:lnTo>
                      <a:pt x="440586" y="45918"/>
                    </a:lnTo>
                    <a:cubicBezTo>
                      <a:pt x="458023" y="45918"/>
                      <a:pt x="472220" y="31720"/>
                      <a:pt x="472220" y="14284"/>
                    </a:cubicBezTo>
                    <a:lnTo>
                      <a:pt x="472220" y="13132"/>
                    </a:lnTo>
                    <a:lnTo>
                      <a:pt x="13110" y="13132"/>
                    </a:lnTo>
                    <a:close/>
                  </a:path>
                </a:pathLst>
              </a:custGeom>
              <a:grpFill/>
              <a:ln w="2168" cap="flat">
                <a:noFill/>
                <a:prstDash val="solid"/>
                <a:miter/>
              </a:ln>
            </p:spPr>
            <p:txBody>
              <a:bodyPr rtlCol="0" anchor="ctr"/>
              <a:lstStyle/>
              <a:p>
                <a:endParaRPr lang="en-GB" dirty="0"/>
              </a:p>
            </p:txBody>
          </p:sp>
        </p:grpSp>
        <p:grpSp>
          <p:nvGrpSpPr>
            <p:cNvPr id="438" name="Grafik 213">
              <a:extLst>
                <a:ext uri="{FF2B5EF4-FFF2-40B4-BE49-F238E27FC236}">
                  <a16:creationId xmlns:a16="http://schemas.microsoft.com/office/drawing/2014/main" id="{1552FF15-064C-4F65-B24F-33A8B45E6161}"/>
                </a:ext>
              </a:extLst>
            </p:cNvPr>
            <p:cNvGrpSpPr/>
            <p:nvPr/>
          </p:nvGrpSpPr>
          <p:grpSpPr>
            <a:xfrm>
              <a:off x="5063952" y="1585984"/>
              <a:ext cx="298338" cy="370810"/>
              <a:chOff x="6255388" y="1748030"/>
              <a:chExt cx="233309" cy="289984"/>
            </a:xfrm>
            <a:solidFill>
              <a:schemeClr val="accent1"/>
            </a:solidFill>
          </p:grpSpPr>
          <p:grpSp>
            <p:nvGrpSpPr>
              <p:cNvPr id="439" name="Grafik 213">
                <a:extLst>
                  <a:ext uri="{FF2B5EF4-FFF2-40B4-BE49-F238E27FC236}">
                    <a16:creationId xmlns:a16="http://schemas.microsoft.com/office/drawing/2014/main" id="{109AF4DC-B989-4AB3-AF93-7314473F0992}"/>
                  </a:ext>
                </a:extLst>
              </p:cNvPr>
              <p:cNvGrpSpPr/>
              <p:nvPr/>
            </p:nvGrpSpPr>
            <p:grpSpPr>
              <a:xfrm>
                <a:off x="6303829" y="1748030"/>
                <a:ext cx="136513" cy="131186"/>
                <a:chOff x="6303829" y="1748030"/>
                <a:chExt cx="136513" cy="131186"/>
              </a:xfrm>
              <a:solidFill>
                <a:schemeClr val="accent1"/>
              </a:solidFill>
            </p:grpSpPr>
            <p:sp>
              <p:nvSpPr>
                <p:cNvPr id="444" name="Freihandform: Form 766">
                  <a:extLst>
                    <a:ext uri="{FF2B5EF4-FFF2-40B4-BE49-F238E27FC236}">
                      <a16:creationId xmlns:a16="http://schemas.microsoft.com/office/drawing/2014/main" id="{AB0215B2-2C57-4C55-9C47-162313D142D2}"/>
                    </a:ext>
                  </a:extLst>
                </p:cNvPr>
                <p:cNvSpPr/>
                <p:nvPr/>
              </p:nvSpPr>
              <p:spPr>
                <a:xfrm>
                  <a:off x="6326027" y="1774294"/>
                  <a:ext cx="91834" cy="104923"/>
                </a:xfrm>
                <a:custGeom>
                  <a:avLst/>
                  <a:gdLst>
                    <a:gd name="connsiteX0" fmla="*/ 45917 w 91834"/>
                    <a:gd name="connsiteY0" fmla="*/ 104923 h 104923"/>
                    <a:gd name="connsiteX1" fmla="*/ 0 w 91834"/>
                    <a:gd name="connsiteY1" fmla="*/ 52462 h 104923"/>
                    <a:gd name="connsiteX2" fmla="*/ 45917 w 91834"/>
                    <a:gd name="connsiteY2" fmla="*/ 0 h 104923"/>
                    <a:gd name="connsiteX3" fmla="*/ 91835 w 91834"/>
                    <a:gd name="connsiteY3" fmla="*/ 52462 h 104923"/>
                    <a:gd name="connsiteX4" fmla="*/ 45917 w 91834"/>
                    <a:gd name="connsiteY4" fmla="*/ 104923 h 104923"/>
                    <a:gd name="connsiteX5" fmla="*/ 45917 w 91834"/>
                    <a:gd name="connsiteY5" fmla="*/ 13110 h 104923"/>
                    <a:gd name="connsiteX6" fmla="*/ 13132 w 91834"/>
                    <a:gd name="connsiteY6" fmla="*/ 52462 h 104923"/>
                    <a:gd name="connsiteX7" fmla="*/ 45917 w 91834"/>
                    <a:gd name="connsiteY7" fmla="*/ 91813 h 104923"/>
                    <a:gd name="connsiteX8" fmla="*/ 78703 w 91834"/>
                    <a:gd name="connsiteY8" fmla="*/ 52462 h 104923"/>
                    <a:gd name="connsiteX9" fmla="*/ 45917 w 91834"/>
                    <a:gd name="connsiteY9" fmla="*/ 13110 h 10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34" h="104923">
                      <a:moveTo>
                        <a:pt x="45917" y="104923"/>
                      </a:moveTo>
                      <a:cubicBezTo>
                        <a:pt x="18458" y="104923"/>
                        <a:pt x="0" y="83834"/>
                        <a:pt x="0" y="52462"/>
                      </a:cubicBezTo>
                      <a:cubicBezTo>
                        <a:pt x="0" y="21089"/>
                        <a:pt x="18458" y="0"/>
                        <a:pt x="45917" y="0"/>
                      </a:cubicBezTo>
                      <a:cubicBezTo>
                        <a:pt x="73377" y="0"/>
                        <a:pt x="91835" y="21089"/>
                        <a:pt x="91835" y="52462"/>
                      </a:cubicBezTo>
                      <a:cubicBezTo>
                        <a:pt x="91835" y="83834"/>
                        <a:pt x="73377" y="104923"/>
                        <a:pt x="45917" y="104923"/>
                      </a:cubicBezTo>
                      <a:close/>
                      <a:moveTo>
                        <a:pt x="45917" y="13110"/>
                      </a:moveTo>
                      <a:cubicBezTo>
                        <a:pt x="21719" y="13110"/>
                        <a:pt x="13132" y="34308"/>
                        <a:pt x="13132" y="52462"/>
                      </a:cubicBezTo>
                      <a:cubicBezTo>
                        <a:pt x="13132" y="70616"/>
                        <a:pt x="21719" y="91813"/>
                        <a:pt x="45917" y="91813"/>
                      </a:cubicBezTo>
                      <a:cubicBezTo>
                        <a:pt x="70116" y="91813"/>
                        <a:pt x="78703" y="70616"/>
                        <a:pt x="78703" y="52462"/>
                      </a:cubicBezTo>
                      <a:cubicBezTo>
                        <a:pt x="78703" y="34308"/>
                        <a:pt x="70137" y="13110"/>
                        <a:pt x="45917" y="13110"/>
                      </a:cubicBezTo>
                      <a:close/>
                    </a:path>
                  </a:pathLst>
                </a:custGeom>
                <a:solidFill>
                  <a:schemeClr val="accent1"/>
                </a:solidFill>
                <a:ln w="2168" cap="flat">
                  <a:noFill/>
                  <a:prstDash val="solid"/>
                  <a:miter/>
                </a:ln>
              </p:spPr>
              <p:txBody>
                <a:bodyPr rtlCol="0" anchor="ctr"/>
                <a:lstStyle/>
                <a:p>
                  <a:endParaRPr lang="en-GB" dirty="0"/>
                </a:p>
              </p:txBody>
            </p:sp>
            <p:sp>
              <p:nvSpPr>
                <p:cNvPr id="445" name="Freihandform: Form 767">
                  <a:extLst>
                    <a:ext uri="{FF2B5EF4-FFF2-40B4-BE49-F238E27FC236}">
                      <a16:creationId xmlns:a16="http://schemas.microsoft.com/office/drawing/2014/main" id="{48EB1954-3962-4010-B697-8DD47C87E1E5}"/>
                    </a:ext>
                  </a:extLst>
                </p:cNvPr>
                <p:cNvSpPr/>
                <p:nvPr/>
              </p:nvSpPr>
              <p:spPr>
                <a:xfrm>
                  <a:off x="6303829" y="1787404"/>
                  <a:ext cx="45917" cy="52461"/>
                </a:xfrm>
                <a:custGeom>
                  <a:avLst/>
                  <a:gdLst>
                    <a:gd name="connsiteX0" fmla="*/ 28698 w 45917"/>
                    <a:gd name="connsiteY0" fmla="*/ 52462 h 52461"/>
                    <a:gd name="connsiteX1" fmla="*/ 21546 w 45917"/>
                    <a:gd name="connsiteY1" fmla="*/ 52462 h 52461"/>
                    <a:gd name="connsiteX2" fmla="*/ 0 w 45917"/>
                    <a:gd name="connsiteY2" fmla="*/ 30916 h 52461"/>
                    <a:gd name="connsiteX3" fmla="*/ 0 w 45917"/>
                    <a:gd name="connsiteY3" fmla="*/ 21546 h 52461"/>
                    <a:gd name="connsiteX4" fmla="*/ 21546 w 45917"/>
                    <a:gd name="connsiteY4" fmla="*/ 0 h 52461"/>
                    <a:gd name="connsiteX5" fmla="*/ 39352 w 45917"/>
                    <a:gd name="connsiteY5" fmla="*/ 0 h 52461"/>
                    <a:gd name="connsiteX6" fmla="*/ 45917 w 45917"/>
                    <a:gd name="connsiteY6" fmla="*/ 6566 h 52461"/>
                    <a:gd name="connsiteX7" fmla="*/ 39352 w 45917"/>
                    <a:gd name="connsiteY7" fmla="*/ 13132 h 52461"/>
                    <a:gd name="connsiteX8" fmla="*/ 21546 w 45917"/>
                    <a:gd name="connsiteY8" fmla="*/ 13132 h 52461"/>
                    <a:gd name="connsiteX9" fmla="*/ 13110 w 45917"/>
                    <a:gd name="connsiteY9" fmla="*/ 21567 h 52461"/>
                    <a:gd name="connsiteX10" fmla="*/ 13110 w 45917"/>
                    <a:gd name="connsiteY10" fmla="*/ 30938 h 52461"/>
                    <a:gd name="connsiteX11" fmla="*/ 21546 w 45917"/>
                    <a:gd name="connsiteY11" fmla="*/ 39373 h 52461"/>
                    <a:gd name="connsiteX12" fmla="*/ 28698 w 45917"/>
                    <a:gd name="connsiteY12" fmla="*/ 39373 h 52461"/>
                    <a:gd name="connsiteX13" fmla="*/ 35264 w 45917"/>
                    <a:gd name="connsiteY13" fmla="*/ 45939 h 52461"/>
                    <a:gd name="connsiteX14" fmla="*/ 28698 w 45917"/>
                    <a:gd name="connsiteY14" fmla="*/ 52462 h 52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917" h="52461">
                      <a:moveTo>
                        <a:pt x="28698" y="52462"/>
                      </a:moveTo>
                      <a:lnTo>
                        <a:pt x="21546" y="52462"/>
                      </a:lnTo>
                      <a:cubicBezTo>
                        <a:pt x="9675" y="52462"/>
                        <a:pt x="0" y="42787"/>
                        <a:pt x="0" y="30916"/>
                      </a:cubicBezTo>
                      <a:lnTo>
                        <a:pt x="0" y="21546"/>
                      </a:lnTo>
                      <a:cubicBezTo>
                        <a:pt x="0" y="9653"/>
                        <a:pt x="9675" y="0"/>
                        <a:pt x="21546" y="0"/>
                      </a:cubicBezTo>
                      <a:lnTo>
                        <a:pt x="39352" y="0"/>
                      </a:lnTo>
                      <a:cubicBezTo>
                        <a:pt x="42982" y="0"/>
                        <a:pt x="45917" y="2935"/>
                        <a:pt x="45917" y="6566"/>
                      </a:cubicBezTo>
                      <a:cubicBezTo>
                        <a:pt x="45917" y="10197"/>
                        <a:pt x="42982" y="13132"/>
                        <a:pt x="39352" y="13132"/>
                      </a:cubicBezTo>
                      <a:lnTo>
                        <a:pt x="21546" y="13132"/>
                      </a:lnTo>
                      <a:cubicBezTo>
                        <a:pt x="16893" y="13132"/>
                        <a:pt x="13110" y="16915"/>
                        <a:pt x="13110" y="21567"/>
                      </a:cubicBezTo>
                      <a:lnTo>
                        <a:pt x="13110" y="30938"/>
                      </a:lnTo>
                      <a:cubicBezTo>
                        <a:pt x="13110" y="35590"/>
                        <a:pt x="16893" y="39373"/>
                        <a:pt x="21546" y="39373"/>
                      </a:cubicBezTo>
                      <a:lnTo>
                        <a:pt x="28698" y="39373"/>
                      </a:lnTo>
                      <a:cubicBezTo>
                        <a:pt x="32329" y="39373"/>
                        <a:pt x="35264" y="42308"/>
                        <a:pt x="35264" y="45939"/>
                      </a:cubicBezTo>
                      <a:cubicBezTo>
                        <a:pt x="35264" y="49570"/>
                        <a:pt x="32307" y="52462"/>
                        <a:pt x="28698" y="52462"/>
                      </a:cubicBezTo>
                      <a:close/>
                    </a:path>
                  </a:pathLst>
                </a:custGeom>
                <a:solidFill>
                  <a:schemeClr val="accent1"/>
                </a:solidFill>
                <a:ln w="2168" cap="flat">
                  <a:noFill/>
                  <a:prstDash val="solid"/>
                  <a:miter/>
                </a:ln>
              </p:spPr>
              <p:txBody>
                <a:bodyPr rtlCol="0" anchor="ctr"/>
                <a:lstStyle/>
                <a:p>
                  <a:endParaRPr lang="en-GB" dirty="0"/>
                </a:p>
              </p:txBody>
            </p:sp>
            <p:sp>
              <p:nvSpPr>
                <p:cNvPr id="446" name="Freihandform: Form 768">
                  <a:extLst>
                    <a:ext uri="{FF2B5EF4-FFF2-40B4-BE49-F238E27FC236}">
                      <a16:creationId xmlns:a16="http://schemas.microsoft.com/office/drawing/2014/main" id="{54A3A530-6162-4588-86EC-7870383CC7BF}"/>
                    </a:ext>
                  </a:extLst>
                </p:cNvPr>
                <p:cNvSpPr/>
                <p:nvPr/>
              </p:nvSpPr>
              <p:spPr>
                <a:xfrm>
                  <a:off x="6394425" y="1787382"/>
                  <a:ext cx="45917" cy="52483"/>
                </a:xfrm>
                <a:custGeom>
                  <a:avLst/>
                  <a:gdLst>
                    <a:gd name="connsiteX0" fmla="*/ 24372 w 45917"/>
                    <a:gd name="connsiteY0" fmla="*/ 52483 h 52483"/>
                    <a:gd name="connsiteX1" fmla="*/ 19676 w 45917"/>
                    <a:gd name="connsiteY1" fmla="*/ 52483 h 52483"/>
                    <a:gd name="connsiteX2" fmla="*/ 13110 w 45917"/>
                    <a:gd name="connsiteY2" fmla="*/ 45918 h 52483"/>
                    <a:gd name="connsiteX3" fmla="*/ 19676 w 45917"/>
                    <a:gd name="connsiteY3" fmla="*/ 39352 h 52483"/>
                    <a:gd name="connsiteX4" fmla="*/ 24372 w 45917"/>
                    <a:gd name="connsiteY4" fmla="*/ 39352 h 52483"/>
                    <a:gd name="connsiteX5" fmla="*/ 32808 w 45917"/>
                    <a:gd name="connsiteY5" fmla="*/ 30916 h 52483"/>
                    <a:gd name="connsiteX6" fmla="*/ 32808 w 45917"/>
                    <a:gd name="connsiteY6" fmla="*/ 21567 h 52483"/>
                    <a:gd name="connsiteX7" fmla="*/ 24372 w 45917"/>
                    <a:gd name="connsiteY7" fmla="*/ 13132 h 52483"/>
                    <a:gd name="connsiteX8" fmla="*/ 6566 w 45917"/>
                    <a:gd name="connsiteY8" fmla="*/ 13132 h 52483"/>
                    <a:gd name="connsiteX9" fmla="*/ 0 w 45917"/>
                    <a:gd name="connsiteY9" fmla="*/ 6566 h 52483"/>
                    <a:gd name="connsiteX10" fmla="*/ 6566 w 45917"/>
                    <a:gd name="connsiteY10" fmla="*/ 0 h 52483"/>
                    <a:gd name="connsiteX11" fmla="*/ 24372 w 45917"/>
                    <a:gd name="connsiteY11" fmla="*/ 0 h 52483"/>
                    <a:gd name="connsiteX12" fmla="*/ 45917 w 45917"/>
                    <a:gd name="connsiteY12" fmla="*/ 21546 h 52483"/>
                    <a:gd name="connsiteX13" fmla="*/ 45917 w 45917"/>
                    <a:gd name="connsiteY13" fmla="*/ 30916 h 52483"/>
                    <a:gd name="connsiteX14" fmla="*/ 24372 w 45917"/>
                    <a:gd name="connsiteY14" fmla="*/ 52483 h 5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917" h="52483">
                      <a:moveTo>
                        <a:pt x="24372" y="52483"/>
                      </a:moveTo>
                      <a:lnTo>
                        <a:pt x="19676" y="52483"/>
                      </a:lnTo>
                      <a:cubicBezTo>
                        <a:pt x="16045" y="52483"/>
                        <a:pt x="13110" y="49548"/>
                        <a:pt x="13110" y="45918"/>
                      </a:cubicBezTo>
                      <a:cubicBezTo>
                        <a:pt x="13110" y="42287"/>
                        <a:pt x="16045" y="39352"/>
                        <a:pt x="19676" y="39352"/>
                      </a:cubicBezTo>
                      <a:lnTo>
                        <a:pt x="24372" y="39352"/>
                      </a:lnTo>
                      <a:cubicBezTo>
                        <a:pt x="29025" y="39352"/>
                        <a:pt x="32808" y="35569"/>
                        <a:pt x="32808" y="30916"/>
                      </a:cubicBezTo>
                      <a:lnTo>
                        <a:pt x="32808" y="21567"/>
                      </a:lnTo>
                      <a:cubicBezTo>
                        <a:pt x="32808" y="16915"/>
                        <a:pt x="29025" y="13132"/>
                        <a:pt x="24372" y="13132"/>
                      </a:cubicBezTo>
                      <a:lnTo>
                        <a:pt x="6566" y="13132"/>
                      </a:lnTo>
                      <a:cubicBezTo>
                        <a:pt x="2935" y="13132"/>
                        <a:pt x="0" y="10197"/>
                        <a:pt x="0" y="6566"/>
                      </a:cubicBezTo>
                      <a:cubicBezTo>
                        <a:pt x="0" y="2935"/>
                        <a:pt x="2935" y="0"/>
                        <a:pt x="6566" y="0"/>
                      </a:cubicBezTo>
                      <a:lnTo>
                        <a:pt x="24372" y="0"/>
                      </a:lnTo>
                      <a:cubicBezTo>
                        <a:pt x="36243" y="0"/>
                        <a:pt x="45917" y="9675"/>
                        <a:pt x="45917" y="21546"/>
                      </a:cubicBezTo>
                      <a:lnTo>
                        <a:pt x="45917" y="30916"/>
                      </a:lnTo>
                      <a:cubicBezTo>
                        <a:pt x="45917" y="42809"/>
                        <a:pt x="36243" y="52483"/>
                        <a:pt x="24372" y="52483"/>
                      </a:cubicBezTo>
                      <a:close/>
                    </a:path>
                  </a:pathLst>
                </a:custGeom>
                <a:solidFill>
                  <a:schemeClr val="accent1"/>
                </a:solidFill>
                <a:ln w="2168" cap="flat">
                  <a:noFill/>
                  <a:prstDash val="solid"/>
                  <a:miter/>
                </a:ln>
              </p:spPr>
              <p:txBody>
                <a:bodyPr rtlCol="0" anchor="ctr"/>
                <a:lstStyle/>
                <a:p>
                  <a:endParaRPr lang="en-GB" dirty="0"/>
                </a:p>
              </p:txBody>
            </p:sp>
            <p:sp>
              <p:nvSpPr>
                <p:cNvPr id="447" name="Freihandform: Form 769">
                  <a:extLst>
                    <a:ext uri="{FF2B5EF4-FFF2-40B4-BE49-F238E27FC236}">
                      <a16:creationId xmlns:a16="http://schemas.microsoft.com/office/drawing/2014/main" id="{A55AFC8E-DBBE-4C5E-A552-C6836C3B5AAC}"/>
                    </a:ext>
                  </a:extLst>
                </p:cNvPr>
                <p:cNvSpPr/>
                <p:nvPr/>
              </p:nvSpPr>
              <p:spPr>
                <a:xfrm>
                  <a:off x="6316939" y="1748030"/>
                  <a:ext cx="111510" cy="52483"/>
                </a:xfrm>
                <a:custGeom>
                  <a:avLst/>
                  <a:gdLst>
                    <a:gd name="connsiteX0" fmla="*/ 104945 w 111510"/>
                    <a:gd name="connsiteY0" fmla="*/ 52483 h 52483"/>
                    <a:gd name="connsiteX1" fmla="*/ 98379 w 111510"/>
                    <a:gd name="connsiteY1" fmla="*/ 45918 h 52483"/>
                    <a:gd name="connsiteX2" fmla="*/ 65593 w 111510"/>
                    <a:gd name="connsiteY2" fmla="*/ 13132 h 52483"/>
                    <a:gd name="connsiteX3" fmla="*/ 45917 w 111510"/>
                    <a:gd name="connsiteY3" fmla="*/ 13132 h 52483"/>
                    <a:gd name="connsiteX4" fmla="*/ 13132 w 111510"/>
                    <a:gd name="connsiteY4" fmla="*/ 45918 h 52483"/>
                    <a:gd name="connsiteX5" fmla="*/ 6566 w 111510"/>
                    <a:gd name="connsiteY5" fmla="*/ 52483 h 52483"/>
                    <a:gd name="connsiteX6" fmla="*/ 0 w 111510"/>
                    <a:gd name="connsiteY6" fmla="*/ 45918 h 52483"/>
                    <a:gd name="connsiteX7" fmla="*/ 45917 w 111510"/>
                    <a:gd name="connsiteY7" fmla="*/ 0 h 52483"/>
                    <a:gd name="connsiteX8" fmla="*/ 65593 w 111510"/>
                    <a:gd name="connsiteY8" fmla="*/ 0 h 52483"/>
                    <a:gd name="connsiteX9" fmla="*/ 111511 w 111510"/>
                    <a:gd name="connsiteY9" fmla="*/ 45918 h 52483"/>
                    <a:gd name="connsiteX10" fmla="*/ 104945 w 111510"/>
                    <a:gd name="connsiteY10" fmla="*/ 52483 h 5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510" h="52483">
                      <a:moveTo>
                        <a:pt x="104945" y="52483"/>
                      </a:moveTo>
                      <a:cubicBezTo>
                        <a:pt x="101314" y="52483"/>
                        <a:pt x="98379" y="49548"/>
                        <a:pt x="98379" y="45918"/>
                      </a:cubicBezTo>
                      <a:cubicBezTo>
                        <a:pt x="98379" y="27829"/>
                        <a:pt x="83660" y="13132"/>
                        <a:pt x="65593" y="13132"/>
                      </a:cubicBezTo>
                      <a:lnTo>
                        <a:pt x="45917" y="13132"/>
                      </a:lnTo>
                      <a:cubicBezTo>
                        <a:pt x="27829" y="13132"/>
                        <a:pt x="13132" y="27851"/>
                        <a:pt x="13132" y="45918"/>
                      </a:cubicBezTo>
                      <a:cubicBezTo>
                        <a:pt x="13132" y="49548"/>
                        <a:pt x="10197" y="52483"/>
                        <a:pt x="6566" y="52483"/>
                      </a:cubicBezTo>
                      <a:cubicBezTo>
                        <a:pt x="2935" y="52483"/>
                        <a:pt x="0" y="49548"/>
                        <a:pt x="0" y="45918"/>
                      </a:cubicBezTo>
                      <a:cubicBezTo>
                        <a:pt x="0" y="20611"/>
                        <a:pt x="20589" y="0"/>
                        <a:pt x="45917" y="0"/>
                      </a:cubicBezTo>
                      <a:lnTo>
                        <a:pt x="65593" y="0"/>
                      </a:lnTo>
                      <a:cubicBezTo>
                        <a:pt x="90900" y="0"/>
                        <a:pt x="111511" y="20589"/>
                        <a:pt x="111511" y="45918"/>
                      </a:cubicBezTo>
                      <a:cubicBezTo>
                        <a:pt x="111511" y="49548"/>
                        <a:pt x="108576" y="52483"/>
                        <a:pt x="104945" y="52483"/>
                      </a:cubicBezTo>
                      <a:close/>
                    </a:path>
                  </a:pathLst>
                </a:custGeom>
                <a:solidFill>
                  <a:schemeClr val="accent1"/>
                </a:solidFill>
                <a:ln w="2168" cap="flat">
                  <a:noFill/>
                  <a:prstDash val="solid"/>
                  <a:miter/>
                </a:ln>
              </p:spPr>
              <p:txBody>
                <a:bodyPr rtlCol="0" anchor="ctr"/>
                <a:lstStyle/>
                <a:p>
                  <a:endParaRPr lang="en-GB" dirty="0"/>
                </a:p>
              </p:txBody>
            </p:sp>
            <p:sp>
              <p:nvSpPr>
                <p:cNvPr id="448" name="Freihandform: Form 770">
                  <a:extLst>
                    <a:ext uri="{FF2B5EF4-FFF2-40B4-BE49-F238E27FC236}">
                      <a16:creationId xmlns:a16="http://schemas.microsoft.com/office/drawing/2014/main" id="{D85ECE30-B617-428E-892A-520369FC15BC}"/>
                    </a:ext>
                  </a:extLst>
                </p:cNvPr>
                <p:cNvSpPr/>
                <p:nvPr/>
              </p:nvSpPr>
              <p:spPr>
                <a:xfrm>
                  <a:off x="6310395" y="1826733"/>
                  <a:ext cx="52483" cy="32807"/>
                </a:xfrm>
                <a:custGeom>
                  <a:avLst/>
                  <a:gdLst>
                    <a:gd name="connsiteX0" fmla="*/ 45917 w 52483"/>
                    <a:gd name="connsiteY0" fmla="*/ 32808 h 32807"/>
                    <a:gd name="connsiteX1" fmla="*/ 6566 w 52483"/>
                    <a:gd name="connsiteY1" fmla="*/ 32808 h 32807"/>
                    <a:gd name="connsiteX2" fmla="*/ 0 w 52483"/>
                    <a:gd name="connsiteY2" fmla="*/ 26242 h 32807"/>
                    <a:gd name="connsiteX3" fmla="*/ 0 w 52483"/>
                    <a:gd name="connsiteY3" fmla="*/ 6566 h 32807"/>
                    <a:gd name="connsiteX4" fmla="*/ 6566 w 52483"/>
                    <a:gd name="connsiteY4" fmla="*/ 0 h 32807"/>
                    <a:gd name="connsiteX5" fmla="*/ 13132 w 52483"/>
                    <a:gd name="connsiteY5" fmla="*/ 6566 h 32807"/>
                    <a:gd name="connsiteX6" fmla="*/ 13132 w 52483"/>
                    <a:gd name="connsiteY6" fmla="*/ 19676 h 32807"/>
                    <a:gd name="connsiteX7" fmla="*/ 45917 w 52483"/>
                    <a:gd name="connsiteY7" fmla="*/ 19676 h 32807"/>
                    <a:gd name="connsiteX8" fmla="*/ 52483 w 52483"/>
                    <a:gd name="connsiteY8" fmla="*/ 26242 h 32807"/>
                    <a:gd name="connsiteX9" fmla="*/ 45917 w 52483"/>
                    <a:gd name="connsiteY9" fmla="*/ 32808 h 32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83" h="32807">
                      <a:moveTo>
                        <a:pt x="45917" y="32808"/>
                      </a:moveTo>
                      <a:lnTo>
                        <a:pt x="6566" y="32808"/>
                      </a:lnTo>
                      <a:cubicBezTo>
                        <a:pt x="2935" y="32808"/>
                        <a:pt x="0" y="29872"/>
                        <a:pt x="0" y="26242"/>
                      </a:cubicBezTo>
                      <a:lnTo>
                        <a:pt x="0" y="6566"/>
                      </a:lnTo>
                      <a:cubicBezTo>
                        <a:pt x="0" y="2935"/>
                        <a:pt x="2935" y="0"/>
                        <a:pt x="6566" y="0"/>
                      </a:cubicBezTo>
                      <a:cubicBezTo>
                        <a:pt x="10197" y="0"/>
                        <a:pt x="13132" y="2935"/>
                        <a:pt x="13132" y="6566"/>
                      </a:cubicBezTo>
                      <a:lnTo>
                        <a:pt x="13132" y="19676"/>
                      </a:lnTo>
                      <a:lnTo>
                        <a:pt x="45917" y="19676"/>
                      </a:lnTo>
                      <a:cubicBezTo>
                        <a:pt x="49548" y="19676"/>
                        <a:pt x="52483" y="22611"/>
                        <a:pt x="52483" y="26242"/>
                      </a:cubicBezTo>
                      <a:cubicBezTo>
                        <a:pt x="52483" y="29872"/>
                        <a:pt x="49527" y="32808"/>
                        <a:pt x="45917" y="32808"/>
                      </a:cubicBezTo>
                      <a:close/>
                    </a:path>
                  </a:pathLst>
                </a:custGeom>
                <a:solidFill>
                  <a:schemeClr val="accent1"/>
                </a:solidFill>
                <a:ln w="2168" cap="flat">
                  <a:noFill/>
                  <a:prstDash val="solid"/>
                  <a:miter/>
                </a:ln>
              </p:spPr>
              <p:txBody>
                <a:bodyPr rtlCol="0" anchor="ctr"/>
                <a:lstStyle/>
                <a:p>
                  <a:endParaRPr lang="en-GB" dirty="0"/>
                </a:p>
              </p:txBody>
            </p:sp>
          </p:grpSp>
          <p:grpSp>
            <p:nvGrpSpPr>
              <p:cNvPr id="440" name="Grafik 213">
                <a:extLst>
                  <a:ext uri="{FF2B5EF4-FFF2-40B4-BE49-F238E27FC236}">
                    <a16:creationId xmlns:a16="http://schemas.microsoft.com/office/drawing/2014/main" id="{53A992E1-EABA-43F0-8CDC-51C0DAAF5AEA}"/>
                  </a:ext>
                </a:extLst>
              </p:cNvPr>
              <p:cNvGrpSpPr/>
              <p:nvPr/>
            </p:nvGrpSpPr>
            <p:grpSpPr>
              <a:xfrm>
                <a:off x="6255388" y="1893696"/>
                <a:ext cx="233309" cy="144318"/>
                <a:chOff x="6255388" y="1893696"/>
                <a:chExt cx="233309" cy="144318"/>
              </a:xfrm>
              <a:solidFill>
                <a:schemeClr val="accent1"/>
              </a:solidFill>
            </p:grpSpPr>
            <p:sp>
              <p:nvSpPr>
                <p:cNvPr id="441" name="Freihandform: Form 772">
                  <a:extLst>
                    <a:ext uri="{FF2B5EF4-FFF2-40B4-BE49-F238E27FC236}">
                      <a16:creationId xmlns:a16="http://schemas.microsoft.com/office/drawing/2014/main" id="{88232CCA-985C-4BA5-9C7A-8F05653BE5CF}"/>
                    </a:ext>
                  </a:extLst>
                </p:cNvPr>
                <p:cNvSpPr/>
                <p:nvPr/>
              </p:nvSpPr>
              <p:spPr>
                <a:xfrm>
                  <a:off x="6358900" y="1893696"/>
                  <a:ext cx="26241" cy="13131"/>
                </a:xfrm>
                <a:custGeom>
                  <a:avLst/>
                  <a:gdLst>
                    <a:gd name="connsiteX0" fmla="*/ 19676 w 26241"/>
                    <a:gd name="connsiteY0" fmla="*/ 13132 h 13131"/>
                    <a:gd name="connsiteX1" fmla="*/ 6566 w 26241"/>
                    <a:gd name="connsiteY1" fmla="*/ 13132 h 13131"/>
                    <a:gd name="connsiteX2" fmla="*/ 0 w 26241"/>
                    <a:gd name="connsiteY2" fmla="*/ 6566 h 13131"/>
                    <a:gd name="connsiteX3" fmla="*/ 6566 w 26241"/>
                    <a:gd name="connsiteY3" fmla="*/ 0 h 13131"/>
                    <a:gd name="connsiteX4" fmla="*/ 19676 w 26241"/>
                    <a:gd name="connsiteY4" fmla="*/ 0 h 13131"/>
                    <a:gd name="connsiteX5" fmla="*/ 26242 w 26241"/>
                    <a:gd name="connsiteY5" fmla="*/ 6566 h 13131"/>
                    <a:gd name="connsiteX6" fmla="*/ 19676 w 26241"/>
                    <a:gd name="connsiteY6" fmla="*/ 13132 h 1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41" h="13131">
                      <a:moveTo>
                        <a:pt x="19676" y="13132"/>
                      </a:moveTo>
                      <a:lnTo>
                        <a:pt x="6566" y="13132"/>
                      </a:lnTo>
                      <a:cubicBezTo>
                        <a:pt x="2935" y="13132"/>
                        <a:pt x="0" y="10197"/>
                        <a:pt x="0" y="6566"/>
                      </a:cubicBezTo>
                      <a:cubicBezTo>
                        <a:pt x="0" y="2935"/>
                        <a:pt x="2935" y="0"/>
                        <a:pt x="6566" y="0"/>
                      </a:cubicBezTo>
                      <a:lnTo>
                        <a:pt x="19676" y="0"/>
                      </a:lnTo>
                      <a:cubicBezTo>
                        <a:pt x="23307" y="0"/>
                        <a:pt x="26242" y="2935"/>
                        <a:pt x="26242" y="6566"/>
                      </a:cubicBezTo>
                      <a:cubicBezTo>
                        <a:pt x="26242" y="10197"/>
                        <a:pt x="23307" y="13132"/>
                        <a:pt x="19676" y="13132"/>
                      </a:cubicBezTo>
                      <a:close/>
                    </a:path>
                  </a:pathLst>
                </a:custGeom>
                <a:solidFill>
                  <a:schemeClr val="accent1"/>
                </a:solidFill>
                <a:ln w="2168" cap="flat">
                  <a:noFill/>
                  <a:prstDash val="solid"/>
                  <a:miter/>
                </a:ln>
              </p:spPr>
              <p:txBody>
                <a:bodyPr rtlCol="0" anchor="ctr"/>
                <a:lstStyle/>
                <a:p>
                  <a:endParaRPr lang="en-GB" dirty="0"/>
                </a:p>
              </p:txBody>
            </p:sp>
            <p:sp>
              <p:nvSpPr>
                <p:cNvPr id="442" name="Freihandform: Form 773">
                  <a:extLst>
                    <a:ext uri="{FF2B5EF4-FFF2-40B4-BE49-F238E27FC236}">
                      <a16:creationId xmlns:a16="http://schemas.microsoft.com/office/drawing/2014/main" id="{36090EC8-811F-424C-B311-9DAD48DC3726}"/>
                    </a:ext>
                  </a:extLst>
                </p:cNvPr>
                <p:cNvSpPr/>
                <p:nvPr/>
              </p:nvSpPr>
              <p:spPr>
                <a:xfrm>
                  <a:off x="6365444" y="1893696"/>
                  <a:ext cx="13131" cy="65593"/>
                </a:xfrm>
                <a:custGeom>
                  <a:avLst/>
                  <a:gdLst>
                    <a:gd name="connsiteX0" fmla="*/ 6566 w 13131"/>
                    <a:gd name="connsiteY0" fmla="*/ 65593 h 65593"/>
                    <a:gd name="connsiteX1" fmla="*/ 0 w 13131"/>
                    <a:gd name="connsiteY1" fmla="*/ 59027 h 65593"/>
                    <a:gd name="connsiteX2" fmla="*/ 0 w 13131"/>
                    <a:gd name="connsiteY2" fmla="*/ 6566 h 65593"/>
                    <a:gd name="connsiteX3" fmla="*/ 6566 w 13131"/>
                    <a:gd name="connsiteY3" fmla="*/ 0 h 65593"/>
                    <a:gd name="connsiteX4" fmla="*/ 13132 w 13131"/>
                    <a:gd name="connsiteY4" fmla="*/ 6566 h 65593"/>
                    <a:gd name="connsiteX5" fmla="*/ 13132 w 13131"/>
                    <a:gd name="connsiteY5" fmla="*/ 59027 h 65593"/>
                    <a:gd name="connsiteX6" fmla="*/ 6566 w 13131"/>
                    <a:gd name="connsiteY6" fmla="*/ 65593 h 6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1" h="65593">
                      <a:moveTo>
                        <a:pt x="6566" y="65593"/>
                      </a:moveTo>
                      <a:cubicBezTo>
                        <a:pt x="2935" y="65593"/>
                        <a:pt x="0" y="62658"/>
                        <a:pt x="0" y="59027"/>
                      </a:cubicBezTo>
                      <a:lnTo>
                        <a:pt x="0" y="6566"/>
                      </a:lnTo>
                      <a:cubicBezTo>
                        <a:pt x="0" y="2935"/>
                        <a:pt x="2935" y="0"/>
                        <a:pt x="6566" y="0"/>
                      </a:cubicBezTo>
                      <a:cubicBezTo>
                        <a:pt x="10197" y="0"/>
                        <a:pt x="13132" y="2935"/>
                        <a:pt x="13132" y="6566"/>
                      </a:cubicBezTo>
                      <a:lnTo>
                        <a:pt x="13132" y="59027"/>
                      </a:lnTo>
                      <a:cubicBezTo>
                        <a:pt x="13132" y="62658"/>
                        <a:pt x="10197" y="65593"/>
                        <a:pt x="6566" y="65593"/>
                      </a:cubicBezTo>
                      <a:close/>
                    </a:path>
                  </a:pathLst>
                </a:custGeom>
                <a:solidFill>
                  <a:schemeClr val="accent1"/>
                </a:solidFill>
                <a:ln w="2168" cap="flat">
                  <a:noFill/>
                  <a:prstDash val="solid"/>
                  <a:miter/>
                </a:ln>
              </p:spPr>
              <p:txBody>
                <a:bodyPr rtlCol="0" anchor="ctr"/>
                <a:lstStyle/>
                <a:p>
                  <a:endParaRPr lang="en-GB" dirty="0"/>
                </a:p>
              </p:txBody>
            </p:sp>
            <p:sp>
              <p:nvSpPr>
                <p:cNvPr id="443" name="Freihandform: Form 774">
                  <a:extLst>
                    <a:ext uri="{FF2B5EF4-FFF2-40B4-BE49-F238E27FC236}">
                      <a16:creationId xmlns:a16="http://schemas.microsoft.com/office/drawing/2014/main" id="{9461CD38-9747-4387-9C25-0E94A333337E}"/>
                    </a:ext>
                  </a:extLst>
                </p:cNvPr>
                <p:cNvSpPr/>
                <p:nvPr/>
              </p:nvSpPr>
              <p:spPr>
                <a:xfrm>
                  <a:off x="6255388" y="1893718"/>
                  <a:ext cx="233309" cy="144296"/>
                </a:xfrm>
                <a:custGeom>
                  <a:avLst/>
                  <a:gdLst>
                    <a:gd name="connsiteX0" fmla="*/ 208457 w 233309"/>
                    <a:gd name="connsiteY0" fmla="*/ 144297 h 144296"/>
                    <a:gd name="connsiteX1" fmla="*/ 128167 w 233309"/>
                    <a:gd name="connsiteY1" fmla="*/ 144297 h 144296"/>
                    <a:gd name="connsiteX2" fmla="*/ 116644 w 233309"/>
                    <a:gd name="connsiteY2" fmla="*/ 140144 h 144296"/>
                    <a:gd name="connsiteX3" fmla="*/ 105121 w 233309"/>
                    <a:gd name="connsiteY3" fmla="*/ 144297 h 144296"/>
                    <a:gd name="connsiteX4" fmla="*/ 24830 w 233309"/>
                    <a:gd name="connsiteY4" fmla="*/ 144297 h 144296"/>
                    <a:gd name="connsiteX5" fmla="*/ 4937 w 233309"/>
                    <a:gd name="connsiteY5" fmla="*/ 135057 h 144296"/>
                    <a:gd name="connsiteX6" fmla="*/ 2198 w 233309"/>
                    <a:gd name="connsiteY6" fmla="*/ 105010 h 144296"/>
                    <a:gd name="connsiteX7" fmla="*/ 22504 w 233309"/>
                    <a:gd name="connsiteY7" fmla="*/ 42156 h 144296"/>
                    <a:gd name="connsiteX8" fmla="*/ 72640 w 233309"/>
                    <a:gd name="connsiteY8" fmla="*/ 0 h 144296"/>
                    <a:gd name="connsiteX9" fmla="*/ 77314 w 233309"/>
                    <a:gd name="connsiteY9" fmla="*/ 0 h 144296"/>
                    <a:gd name="connsiteX10" fmla="*/ 82901 w 233309"/>
                    <a:gd name="connsiteY10" fmla="*/ 3131 h 144296"/>
                    <a:gd name="connsiteX11" fmla="*/ 116470 w 233309"/>
                    <a:gd name="connsiteY11" fmla="*/ 58006 h 144296"/>
                    <a:gd name="connsiteX12" fmla="*/ 150408 w 233309"/>
                    <a:gd name="connsiteY12" fmla="*/ 3131 h 144296"/>
                    <a:gd name="connsiteX13" fmla="*/ 155995 w 233309"/>
                    <a:gd name="connsiteY13" fmla="*/ 0 h 144296"/>
                    <a:gd name="connsiteX14" fmla="*/ 160692 w 233309"/>
                    <a:gd name="connsiteY14" fmla="*/ 0 h 144296"/>
                    <a:gd name="connsiteX15" fmla="*/ 210762 w 233309"/>
                    <a:gd name="connsiteY15" fmla="*/ 41982 h 144296"/>
                    <a:gd name="connsiteX16" fmla="*/ 231111 w 233309"/>
                    <a:gd name="connsiteY16" fmla="*/ 104988 h 144296"/>
                    <a:gd name="connsiteX17" fmla="*/ 228372 w 233309"/>
                    <a:gd name="connsiteY17" fmla="*/ 135078 h 144296"/>
                    <a:gd name="connsiteX18" fmla="*/ 208457 w 233309"/>
                    <a:gd name="connsiteY18" fmla="*/ 144297 h 144296"/>
                    <a:gd name="connsiteX19" fmla="*/ 123188 w 233309"/>
                    <a:gd name="connsiteY19" fmla="*/ 106902 h 144296"/>
                    <a:gd name="connsiteX20" fmla="*/ 123188 w 233309"/>
                    <a:gd name="connsiteY20" fmla="*/ 126208 h 144296"/>
                    <a:gd name="connsiteX21" fmla="*/ 128145 w 233309"/>
                    <a:gd name="connsiteY21" fmla="*/ 131165 h 144296"/>
                    <a:gd name="connsiteX22" fmla="*/ 208435 w 233309"/>
                    <a:gd name="connsiteY22" fmla="*/ 131165 h 144296"/>
                    <a:gd name="connsiteX23" fmla="*/ 217762 w 233309"/>
                    <a:gd name="connsiteY23" fmla="*/ 127295 h 144296"/>
                    <a:gd name="connsiteX24" fmla="*/ 218588 w 233309"/>
                    <a:gd name="connsiteY24" fmla="*/ 108967 h 144296"/>
                    <a:gd name="connsiteX25" fmla="*/ 198304 w 233309"/>
                    <a:gd name="connsiteY25" fmla="*/ 46178 h 144296"/>
                    <a:gd name="connsiteX26" fmla="*/ 160648 w 233309"/>
                    <a:gd name="connsiteY26" fmla="*/ 13110 h 144296"/>
                    <a:gd name="connsiteX27" fmla="*/ 159648 w 233309"/>
                    <a:gd name="connsiteY27" fmla="*/ 13110 h 144296"/>
                    <a:gd name="connsiteX28" fmla="*/ 127993 w 233309"/>
                    <a:gd name="connsiteY28" fmla="*/ 64832 h 144296"/>
                    <a:gd name="connsiteX29" fmla="*/ 116622 w 233309"/>
                    <a:gd name="connsiteY29" fmla="*/ 71420 h 144296"/>
                    <a:gd name="connsiteX30" fmla="*/ 105077 w 233309"/>
                    <a:gd name="connsiteY30" fmla="*/ 64528 h 144296"/>
                    <a:gd name="connsiteX31" fmla="*/ 73596 w 233309"/>
                    <a:gd name="connsiteY31" fmla="*/ 13110 h 144296"/>
                    <a:gd name="connsiteX32" fmla="*/ 72574 w 233309"/>
                    <a:gd name="connsiteY32" fmla="*/ 13110 h 144296"/>
                    <a:gd name="connsiteX33" fmla="*/ 34853 w 233309"/>
                    <a:gd name="connsiteY33" fmla="*/ 46352 h 144296"/>
                    <a:gd name="connsiteX34" fmla="*/ 14634 w 233309"/>
                    <a:gd name="connsiteY34" fmla="*/ 108989 h 144296"/>
                    <a:gd name="connsiteX35" fmla="*/ 15460 w 233309"/>
                    <a:gd name="connsiteY35" fmla="*/ 127295 h 144296"/>
                    <a:gd name="connsiteX36" fmla="*/ 24787 w 233309"/>
                    <a:gd name="connsiteY36" fmla="*/ 131165 h 144296"/>
                    <a:gd name="connsiteX37" fmla="*/ 105077 w 233309"/>
                    <a:gd name="connsiteY37" fmla="*/ 131165 h 144296"/>
                    <a:gd name="connsiteX38" fmla="*/ 110034 w 233309"/>
                    <a:gd name="connsiteY38" fmla="*/ 126208 h 144296"/>
                    <a:gd name="connsiteX39" fmla="*/ 110034 w 233309"/>
                    <a:gd name="connsiteY39" fmla="*/ 106967 h 144296"/>
                    <a:gd name="connsiteX40" fmla="*/ 50268 w 233309"/>
                    <a:gd name="connsiteY40" fmla="*/ 106989 h 144296"/>
                    <a:gd name="connsiteX41" fmla="*/ 44811 w 233309"/>
                    <a:gd name="connsiteY41" fmla="*/ 104206 h 144296"/>
                    <a:gd name="connsiteX42" fmla="*/ 44028 w 233309"/>
                    <a:gd name="connsiteY42" fmla="*/ 98140 h 144296"/>
                    <a:gd name="connsiteX43" fmla="*/ 53985 w 233309"/>
                    <a:gd name="connsiteY43" fmla="*/ 71529 h 144296"/>
                    <a:gd name="connsiteX44" fmla="*/ 62421 w 233309"/>
                    <a:gd name="connsiteY44" fmla="*/ 67680 h 144296"/>
                    <a:gd name="connsiteX45" fmla="*/ 66269 w 233309"/>
                    <a:gd name="connsiteY45" fmla="*/ 76116 h 144296"/>
                    <a:gd name="connsiteX46" fmla="*/ 59660 w 233309"/>
                    <a:gd name="connsiteY46" fmla="*/ 93792 h 144296"/>
                    <a:gd name="connsiteX47" fmla="*/ 116296 w 233309"/>
                    <a:gd name="connsiteY47" fmla="*/ 93922 h 144296"/>
                    <a:gd name="connsiteX48" fmla="*/ 116448 w 233309"/>
                    <a:gd name="connsiteY48" fmla="*/ 93922 h 144296"/>
                    <a:gd name="connsiteX49" fmla="*/ 172997 w 233309"/>
                    <a:gd name="connsiteY49" fmla="*/ 93661 h 144296"/>
                    <a:gd name="connsiteX50" fmla="*/ 165866 w 233309"/>
                    <a:gd name="connsiteY50" fmla="*/ 76921 h 144296"/>
                    <a:gd name="connsiteX51" fmla="*/ 169345 w 233309"/>
                    <a:gd name="connsiteY51" fmla="*/ 68311 h 144296"/>
                    <a:gd name="connsiteX52" fmla="*/ 177954 w 233309"/>
                    <a:gd name="connsiteY52" fmla="*/ 71790 h 144296"/>
                    <a:gd name="connsiteX53" fmla="*/ 189042 w 233309"/>
                    <a:gd name="connsiteY53" fmla="*/ 97857 h 144296"/>
                    <a:gd name="connsiteX54" fmla="*/ 188433 w 233309"/>
                    <a:gd name="connsiteY54" fmla="*/ 104119 h 144296"/>
                    <a:gd name="connsiteX55" fmla="*/ 182824 w 233309"/>
                    <a:gd name="connsiteY55" fmla="*/ 106989 h 144296"/>
                    <a:gd name="connsiteX56" fmla="*/ 123188 w 233309"/>
                    <a:gd name="connsiteY56" fmla="*/ 106902 h 14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33309" h="144296">
                      <a:moveTo>
                        <a:pt x="208457" y="144297"/>
                      </a:moveTo>
                      <a:lnTo>
                        <a:pt x="128167" y="144297"/>
                      </a:lnTo>
                      <a:cubicBezTo>
                        <a:pt x="123797" y="144297"/>
                        <a:pt x="119775" y="142731"/>
                        <a:pt x="116644" y="140144"/>
                      </a:cubicBezTo>
                      <a:cubicBezTo>
                        <a:pt x="113513" y="142731"/>
                        <a:pt x="109491" y="144297"/>
                        <a:pt x="105121" y="144297"/>
                      </a:cubicBezTo>
                      <a:lnTo>
                        <a:pt x="24830" y="144297"/>
                      </a:lnTo>
                      <a:cubicBezTo>
                        <a:pt x="13982" y="144297"/>
                        <a:pt x="8024" y="139274"/>
                        <a:pt x="4937" y="135057"/>
                      </a:cubicBezTo>
                      <a:cubicBezTo>
                        <a:pt x="-498" y="127643"/>
                        <a:pt x="-1498" y="116685"/>
                        <a:pt x="2198" y="105010"/>
                      </a:cubicBezTo>
                      <a:lnTo>
                        <a:pt x="22504" y="42156"/>
                      </a:lnTo>
                      <a:cubicBezTo>
                        <a:pt x="32462" y="14132"/>
                        <a:pt x="49311" y="0"/>
                        <a:pt x="72640" y="0"/>
                      </a:cubicBezTo>
                      <a:lnTo>
                        <a:pt x="77314" y="0"/>
                      </a:lnTo>
                      <a:cubicBezTo>
                        <a:pt x="79597" y="0"/>
                        <a:pt x="81727" y="1196"/>
                        <a:pt x="82901" y="3131"/>
                      </a:cubicBezTo>
                      <a:lnTo>
                        <a:pt x="116470" y="58006"/>
                      </a:lnTo>
                      <a:lnTo>
                        <a:pt x="150408" y="3131"/>
                      </a:lnTo>
                      <a:cubicBezTo>
                        <a:pt x="151604" y="1174"/>
                        <a:pt x="153713" y="0"/>
                        <a:pt x="155995" y="0"/>
                      </a:cubicBezTo>
                      <a:lnTo>
                        <a:pt x="160692" y="0"/>
                      </a:lnTo>
                      <a:cubicBezTo>
                        <a:pt x="184020" y="0"/>
                        <a:pt x="200869" y="14132"/>
                        <a:pt x="210762" y="41982"/>
                      </a:cubicBezTo>
                      <a:lnTo>
                        <a:pt x="231111" y="104988"/>
                      </a:lnTo>
                      <a:cubicBezTo>
                        <a:pt x="234807" y="116707"/>
                        <a:pt x="233807" y="127665"/>
                        <a:pt x="228372" y="135078"/>
                      </a:cubicBezTo>
                      <a:cubicBezTo>
                        <a:pt x="225263" y="139274"/>
                        <a:pt x="219306" y="144297"/>
                        <a:pt x="208457" y="144297"/>
                      </a:cubicBezTo>
                      <a:close/>
                      <a:moveTo>
                        <a:pt x="123188" y="106902"/>
                      </a:moveTo>
                      <a:lnTo>
                        <a:pt x="123188" y="126208"/>
                      </a:lnTo>
                      <a:cubicBezTo>
                        <a:pt x="123188" y="128947"/>
                        <a:pt x="125405" y="131165"/>
                        <a:pt x="128145" y="131165"/>
                      </a:cubicBezTo>
                      <a:lnTo>
                        <a:pt x="208435" y="131165"/>
                      </a:lnTo>
                      <a:cubicBezTo>
                        <a:pt x="212805" y="131165"/>
                        <a:pt x="215849" y="129904"/>
                        <a:pt x="217762" y="127295"/>
                      </a:cubicBezTo>
                      <a:cubicBezTo>
                        <a:pt x="220610" y="123403"/>
                        <a:pt x="220936" y="116381"/>
                        <a:pt x="218588" y="108967"/>
                      </a:cubicBezTo>
                      <a:lnTo>
                        <a:pt x="198304" y="46178"/>
                      </a:lnTo>
                      <a:cubicBezTo>
                        <a:pt x="190303" y="23676"/>
                        <a:pt x="178324" y="13110"/>
                        <a:pt x="160648" y="13110"/>
                      </a:cubicBezTo>
                      <a:lnTo>
                        <a:pt x="159648" y="13110"/>
                      </a:lnTo>
                      <a:lnTo>
                        <a:pt x="127993" y="64832"/>
                      </a:lnTo>
                      <a:cubicBezTo>
                        <a:pt x="125884" y="68768"/>
                        <a:pt x="121448" y="71420"/>
                        <a:pt x="116622" y="71420"/>
                      </a:cubicBezTo>
                      <a:cubicBezTo>
                        <a:pt x="111795" y="71420"/>
                        <a:pt x="107360" y="68768"/>
                        <a:pt x="105077" y="64528"/>
                      </a:cubicBezTo>
                      <a:lnTo>
                        <a:pt x="73596" y="13110"/>
                      </a:lnTo>
                      <a:lnTo>
                        <a:pt x="72574" y="13110"/>
                      </a:lnTo>
                      <a:cubicBezTo>
                        <a:pt x="54899" y="13110"/>
                        <a:pt x="42919" y="23676"/>
                        <a:pt x="34853" y="46352"/>
                      </a:cubicBezTo>
                      <a:lnTo>
                        <a:pt x="14634" y="108989"/>
                      </a:lnTo>
                      <a:cubicBezTo>
                        <a:pt x="12308" y="116381"/>
                        <a:pt x="12612" y="123403"/>
                        <a:pt x="15460" y="127295"/>
                      </a:cubicBezTo>
                      <a:cubicBezTo>
                        <a:pt x="17373" y="129904"/>
                        <a:pt x="20417" y="131165"/>
                        <a:pt x="24787" y="131165"/>
                      </a:cubicBezTo>
                      <a:lnTo>
                        <a:pt x="105077" y="131165"/>
                      </a:lnTo>
                      <a:cubicBezTo>
                        <a:pt x="107817" y="131165"/>
                        <a:pt x="110034" y="128947"/>
                        <a:pt x="110034" y="126208"/>
                      </a:cubicBezTo>
                      <a:lnTo>
                        <a:pt x="110034" y="106967"/>
                      </a:lnTo>
                      <a:cubicBezTo>
                        <a:pt x="97968" y="106858"/>
                        <a:pt x="71400" y="106684"/>
                        <a:pt x="50268" y="106989"/>
                      </a:cubicBezTo>
                      <a:cubicBezTo>
                        <a:pt x="47811" y="106967"/>
                        <a:pt x="46050" y="105967"/>
                        <a:pt x="44811" y="104206"/>
                      </a:cubicBezTo>
                      <a:cubicBezTo>
                        <a:pt x="43571" y="102445"/>
                        <a:pt x="43267" y="100162"/>
                        <a:pt x="44028" y="98140"/>
                      </a:cubicBezTo>
                      <a:lnTo>
                        <a:pt x="53985" y="71529"/>
                      </a:lnTo>
                      <a:cubicBezTo>
                        <a:pt x="55247" y="68137"/>
                        <a:pt x="59051" y="66419"/>
                        <a:pt x="62421" y="67680"/>
                      </a:cubicBezTo>
                      <a:cubicBezTo>
                        <a:pt x="65813" y="68941"/>
                        <a:pt x="67530" y="72724"/>
                        <a:pt x="66269" y="76116"/>
                      </a:cubicBezTo>
                      <a:lnTo>
                        <a:pt x="59660" y="93792"/>
                      </a:lnTo>
                      <a:cubicBezTo>
                        <a:pt x="84684" y="93596"/>
                        <a:pt x="112796" y="93900"/>
                        <a:pt x="116296" y="93922"/>
                      </a:cubicBezTo>
                      <a:cubicBezTo>
                        <a:pt x="116339" y="93922"/>
                        <a:pt x="116383" y="93922"/>
                        <a:pt x="116448" y="93922"/>
                      </a:cubicBezTo>
                      <a:cubicBezTo>
                        <a:pt x="116796" y="93922"/>
                        <a:pt x="146799" y="93292"/>
                        <a:pt x="172997" y="93661"/>
                      </a:cubicBezTo>
                      <a:lnTo>
                        <a:pt x="165866" y="76921"/>
                      </a:lnTo>
                      <a:cubicBezTo>
                        <a:pt x="164453" y="73594"/>
                        <a:pt x="165996" y="69724"/>
                        <a:pt x="169345" y="68311"/>
                      </a:cubicBezTo>
                      <a:cubicBezTo>
                        <a:pt x="172693" y="66898"/>
                        <a:pt x="176541" y="68441"/>
                        <a:pt x="177954" y="71790"/>
                      </a:cubicBezTo>
                      <a:lnTo>
                        <a:pt x="189042" y="97857"/>
                      </a:lnTo>
                      <a:cubicBezTo>
                        <a:pt x="189912" y="99923"/>
                        <a:pt x="189673" y="102271"/>
                        <a:pt x="188433" y="104119"/>
                      </a:cubicBezTo>
                      <a:cubicBezTo>
                        <a:pt x="187172" y="105967"/>
                        <a:pt x="185107" y="107119"/>
                        <a:pt x="182824" y="106989"/>
                      </a:cubicBezTo>
                      <a:cubicBezTo>
                        <a:pt x="162083" y="106402"/>
                        <a:pt x="135276" y="106706"/>
                        <a:pt x="123188" y="106902"/>
                      </a:cubicBezTo>
                      <a:close/>
                    </a:path>
                  </a:pathLst>
                </a:custGeom>
                <a:solidFill>
                  <a:schemeClr val="accent1"/>
                </a:solidFill>
                <a:ln w="2168" cap="flat">
                  <a:noFill/>
                  <a:prstDash val="solid"/>
                  <a:miter/>
                </a:ln>
              </p:spPr>
              <p:txBody>
                <a:bodyPr rtlCol="0" anchor="ctr"/>
                <a:lstStyle/>
                <a:p>
                  <a:endParaRPr lang="en-GB" dirty="0"/>
                </a:p>
              </p:txBody>
            </p:sp>
          </p:grpSp>
        </p:grpSp>
      </p:grpSp>
      <p:grpSp>
        <p:nvGrpSpPr>
          <p:cNvPr id="474" name="Group 473">
            <a:extLst>
              <a:ext uri="{FF2B5EF4-FFF2-40B4-BE49-F238E27FC236}">
                <a16:creationId xmlns:a16="http://schemas.microsoft.com/office/drawing/2014/main" id="{511AE89B-C3CC-D335-DC75-690280557B41}"/>
              </a:ext>
            </a:extLst>
          </p:cNvPr>
          <p:cNvGrpSpPr/>
          <p:nvPr/>
        </p:nvGrpSpPr>
        <p:grpSpPr>
          <a:xfrm>
            <a:off x="6014225" y="1585984"/>
            <a:ext cx="484353" cy="432000"/>
            <a:chOff x="6013813" y="1585984"/>
            <a:chExt cx="484353" cy="432000"/>
          </a:xfrm>
        </p:grpSpPr>
        <p:grpSp>
          <p:nvGrpSpPr>
            <p:cNvPr id="454" name="Grafik 213">
              <a:extLst>
                <a:ext uri="{FF2B5EF4-FFF2-40B4-BE49-F238E27FC236}">
                  <a16:creationId xmlns:a16="http://schemas.microsoft.com/office/drawing/2014/main" id="{D5A898DF-F639-412A-8480-C46ED86074DE}"/>
                </a:ext>
              </a:extLst>
            </p:cNvPr>
            <p:cNvGrpSpPr/>
            <p:nvPr/>
          </p:nvGrpSpPr>
          <p:grpSpPr>
            <a:xfrm>
              <a:off x="6013813" y="1828183"/>
              <a:ext cx="484353" cy="189801"/>
              <a:chOff x="7788104" y="1895675"/>
              <a:chExt cx="485351" cy="190192"/>
            </a:xfrm>
            <a:solidFill>
              <a:schemeClr val="tx2"/>
            </a:solidFill>
          </p:grpSpPr>
          <p:sp>
            <p:nvSpPr>
              <p:cNvPr id="468" name="Freihandform: Form 724">
                <a:extLst>
                  <a:ext uri="{FF2B5EF4-FFF2-40B4-BE49-F238E27FC236}">
                    <a16:creationId xmlns:a16="http://schemas.microsoft.com/office/drawing/2014/main" id="{0DF9B6E3-2BE8-4A3D-8192-541EDDF02E66}"/>
                  </a:ext>
                </a:extLst>
              </p:cNvPr>
              <p:cNvSpPr/>
              <p:nvPr/>
            </p:nvSpPr>
            <p:spPr>
              <a:xfrm>
                <a:off x="7788104" y="2013708"/>
                <a:ext cx="170538" cy="72159"/>
              </a:xfrm>
              <a:custGeom>
                <a:avLst/>
                <a:gdLst>
                  <a:gd name="connsiteX0" fmla="*/ 163973 w 170538"/>
                  <a:gd name="connsiteY0" fmla="*/ 72159 h 72159"/>
                  <a:gd name="connsiteX1" fmla="*/ 157407 w 170538"/>
                  <a:gd name="connsiteY1" fmla="*/ 65593 h 72159"/>
                  <a:gd name="connsiteX2" fmla="*/ 104945 w 170538"/>
                  <a:gd name="connsiteY2" fmla="*/ 13132 h 72159"/>
                  <a:gd name="connsiteX3" fmla="*/ 65593 w 170538"/>
                  <a:gd name="connsiteY3" fmla="*/ 13132 h 72159"/>
                  <a:gd name="connsiteX4" fmla="*/ 13132 w 170538"/>
                  <a:gd name="connsiteY4" fmla="*/ 65593 h 72159"/>
                  <a:gd name="connsiteX5" fmla="*/ 6566 w 170538"/>
                  <a:gd name="connsiteY5" fmla="*/ 72159 h 72159"/>
                  <a:gd name="connsiteX6" fmla="*/ 0 w 170538"/>
                  <a:gd name="connsiteY6" fmla="*/ 65593 h 72159"/>
                  <a:gd name="connsiteX7" fmla="*/ 65593 w 170538"/>
                  <a:gd name="connsiteY7" fmla="*/ 0 h 72159"/>
                  <a:gd name="connsiteX8" fmla="*/ 104945 w 170538"/>
                  <a:gd name="connsiteY8" fmla="*/ 0 h 72159"/>
                  <a:gd name="connsiteX9" fmla="*/ 170538 w 170538"/>
                  <a:gd name="connsiteY9" fmla="*/ 65593 h 72159"/>
                  <a:gd name="connsiteX10" fmla="*/ 163973 w 170538"/>
                  <a:gd name="connsiteY10" fmla="*/ 72159 h 72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0538" h="72159">
                    <a:moveTo>
                      <a:pt x="163973" y="72159"/>
                    </a:moveTo>
                    <a:cubicBezTo>
                      <a:pt x="160342" y="72159"/>
                      <a:pt x="157407" y="69224"/>
                      <a:pt x="157407" y="65593"/>
                    </a:cubicBezTo>
                    <a:cubicBezTo>
                      <a:pt x="157407" y="36656"/>
                      <a:pt x="133861" y="13132"/>
                      <a:pt x="104945" y="13132"/>
                    </a:cubicBezTo>
                    <a:lnTo>
                      <a:pt x="65593" y="13132"/>
                    </a:lnTo>
                    <a:cubicBezTo>
                      <a:pt x="36656" y="13132"/>
                      <a:pt x="13132" y="36677"/>
                      <a:pt x="13132" y="65593"/>
                    </a:cubicBezTo>
                    <a:cubicBezTo>
                      <a:pt x="13132" y="69224"/>
                      <a:pt x="10197" y="72159"/>
                      <a:pt x="6566" y="72159"/>
                    </a:cubicBezTo>
                    <a:cubicBezTo>
                      <a:pt x="2935" y="72159"/>
                      <a:pt x="0" y="69224"/>
                      <a:pt x="0" y="65593"/>
                    </a:cubicBezTo>
                    <a:cubicBezTo>
                      <a:pt x="0" y="29438"/>
                      <a:pt x="29416" y="0"/>
                      <a:pt x="65593" y="0"/>
                    </a:cubicBezTo>
                    <a:lnTo>
                      <a:pt x="104945" y="0"/>
                    </a:lnTo>
                    <a:cubicBezTo>
                      <a:pt x="141101" y="0"/>
                      <a:pt x="170538" y="29416"/>
                      <a:pt x="170538" y="65593"/>
                    </a:cubicBezTo>
                    <a:cubicBezTo>
                      <a:pt x="170517" y="69224"/>
                      <a:pt x="167582" y="72159"/>
                      <a:pt x="163973" y="72159"/>
                    </a:cubicBezTo>
                    <a:close/>
                  </a:path>
                </a:pathLst>
              </a:custGeom>
              <a:grpFill/>
              <a:ln w="2168" cap="flat">
                <a:noFill/>
                <a:prstDash val="solid"/>
                <a:miter/>
              </a:ln>
            </p:spPr>
            <p:txBody>
              <a:bodyPr rtlCol="0" anchor="ctr"/>
              <a:lstStyle/>
              <a:p>
                <a:endParaRPr lang="en-GB" dirty="0"/>
              </a:p>
            </p:txBody>
          </p:sp>
          <p:sp>
            <p:nvSpPr>
              <p:cNvPr id="469" name="Freihandform: Form 725">
                <a:extLst>
                  <a:ext uri="{FF2B5EF4-FFF2-40B4-BE49-F238E27FC236}">
                    <a16:creationId xmlns:a16="http://schemas.microsoft.com/office/drawing/2014/main" id="{1DC53E6C-FC0D-4030-83F7-F775524BA747}"/>
                  </a:ext>
                </a:extLst>
              </p:cNvPr>
              <p:cNvSpPr/>
              <p:nvPr/>
            </p:nvSpPr>
            <p:spPr>
              <a:xfrm>
                <a:off x="8102917" y="2013708"/>
                <a:ext cx="170538" cy="72159"/>
              </a:xfrm>
              <a:custGeom>
                <a:avLst/>
                <a:gdLst>
                  <a:gd name="connsiteX0" fmla="*/ 163972 w 170538"/>
                  <a:gd name="connsiteY0" fmla="*/ 72159 h 72159"/>
                  <a:gd name="connsiteX1" fmla="*/ 157407 w 170538"/>
                  <a:gd name="connsiteY1" fmla="*/ 65593 h 72159"/>
                  <a:gd name="connsiteX2" fmla="*/ 104945 w 170538"/>
                  <a:gd name="connsiteY2" fmla="*/ 13132 h 72159"/>
                  <a:gd name="connsiteX3" fmla="*/ 65593 w 170538"/>
                  <a:gd name="connsiteY3" fmla="*/ 13132 h 72159"/>
                  <a:gd name="connsiteX4" fmla="*/ 13132 w 170538"/>
                  <a:gd name="connsiteY4" fmla="*/ 65593 h 72159"/>
                  <a:gd name="connsiteX5" fmla="*/ 6566 w 170538"/>
                  <a:gd name="connsiteY5" fmla="*/ 72159 h 72159"/>
                  <a:gd name="connsiteX6" fmla="*/ 0 w 170538"/>
                  <a:gd name="connsiteY6" fmla="*/ 65593 h 72159"/>
                  <a:gd name="connsiteX7" fmla="*/ 65593 w 170538"/>
                  <a:gd name="connsiteY7" fmla="*/ 0 h 72159"/>
                  <a:gd name="connsiteX8" fmla="*/ 104945 w 170538"/>
                  <a:gd name="connsiteY8" fmla="*/ 0 h 72159"/>
                  <a:gd name="connsiteX9" fmla="*/ 170538 w 170538"/>
                  <a:gd name="connsiteY9" fmla="*/ 65593 h 72159"/>
                  <a:gd name="connsiteX10" fmla="*/ 163972 w 170538"/>
                  <a:gd name="connsiteY10" fmla="*/ 72159 h 72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0538" h="72159">
                    <a:moveTo>
                      <a:pt x="163972" y="72159"/>
                    </a:moveTo>
                    <a:cubicBezTo>
                      <a:pt x="160342" y="72159"/>
                      <a:pt x="157407" y="69224"/>
                      <a:pt x="157407" y="65593"/>
                    </a:cubicBezTo>
                    <a:cubicBezTo>
                      <a:pt x="157407" y="36656"/>
                      <a:pt x="133861" y="13132"/>
                      <a:pt x="104945" y="13132"/>
                    </a:cubicBezTo>
                    <a:lnTo>
                      <a:pt x="65593" y="13132"/>
                    </a:lnTo>
                    <a:cubicBezTo>
                      <a:pt x="36656" y="13132"/>
                      <a:pt x="13132" y="36677"/>
                      <a:pt x="13132" y="65593"/>
                    </a:cubicBezTo>
                    <a:cubicBezTo>
                      <a:pt x="13132" y="69224"/>
                      <a:pt x="10197" y="72159"/>
                      <a:pt x="6566" y="72159"/>
                    </a:cubicBezTo>
                    <a:cubicBezTo>
                      <a:pt x="2935" y="72159"/>
                      <a:pt x="0" y="69224"/>
                      <a:pt x="0" y="65593"/>
                    </a:cubicBezTo>
                    <a:cubicBezTo>
                      <a:pt x="0" y="29438"/>
                      <a:pt x="29416" y="0"/>
                      <a:pt x="65593" y="0"/>
                    </a:cubicBezTo>
                    <a:lnTo>
                      <a:pt x="104945" y="0"/>
                    </a:lnTo>
                    <a:cubicBezTo>
                      <a:pt x="141101" y="0"/>
                      <a:pt x="170538" y="29416"/>
                      <a:pt x="170538" y="65593"/>
                    </a:cubicBezTo>
                    <a:cubicBezTo>
                      <a:pt x="170538" y="69224"/>
                      <a:pt x="167603" y="72159"/>
                      <a:pt x="163972" y="72159"/>
                    </a:cubicBezTo>
                    <a:close/>
                  </a:path>
                </a:pathLst>
              </a:custGeom>
              <a:grpFill/>
              <a:ln w="2168" cap="flat">
                <a:noFill/>
                <a:prstDash val="solid"/>
                <a:miter/>
              </a:ln>
            </p:spPr>
            <p:txBody>
              <a:bodyPr rtlCol="0" anchor="ctr"/>
              <a:lstStyle/>
              <a:p>
                <a:endParaRPr lang="en-GB" dirty="0"/>
              </a:p>
            </p:txBody>
          </p:sp>
          <p:sp>
            <p:nvSpPr>
              <p:cNvPr id="470" name="Freihandform: Form 726">
                <a:extLst>
                  <a:ext uri="{FF2B5EF4-FFF2-40B4-BE49-F238E27FC236}">
                    <a16:creationId xmlns:a16="http://schemas.microsoft.com/office/drawing/2014/main" id="{A9FE824E-CD6B-4F88-BFD1-C337DA661417}"/>
                  </a:ext>
                </a:extLst>
              </p:cNvPr>
              <p:cNvSpPr/>
              <p:nvPr/>
            </p:nvSpPr>
            <p:spPr>
              <a:xfrm>
                <a:off x="7945510" y="2013708"/>
                <a:ext cx="170538" cy="72159"/>
              </a:xfrm>
              <a:custGeom>
                <a:avLst/>
                <a:gdLst>
                  <a:gd name="connsiteX0" fmla="*/ 163973 w 170538"/>
                  <a:gd name="connsiteY0" fmla="*/ 72159 h 72159"/>
                  <a:gd name="connsiteX1" fmla="*/ 157407 w 170538"/>
                  <a:gd name="connsiteY1" fmla="*/ 65593 h 72159"/>
                  <a:gd name="connsiteX2" fmla="*/ 104945 w 170538"/>
                  <a:gd name="connsiteY2" fmla="*/ 13132 h 72159"/>
                  <a:gd name="connsiteX3" fmla="*/ 65593 w 170538"/>
                  <a:gd name="connsiteY3" fmla="*/ 13132 h 72159"/>
                  <a:gd name="connsiteX4" fmla="*/ 13132 w 170538"/>
                  <a:gd name="connsiteY4" fmla="*/ 65593 h 72159"/>
                  <a:gd name="connsiteX5" fmla="*/ 6566 w 170538"/>
                  <a:gd name="connsiteY5" fmla="*/ 72159 h 72159"/>
                  <a:gd name="connsiteX6" fmla="*/ 0 w 170538"/>
                  <a:gd name="connsiteY6" fmla="*/ 65593 h 72159"/>
                  <a:gd name="connsiteX7" fmla="*/ 65593 w 170538"/>
                  <a:gd name="connsiteY7" fmla="*/ 0 h 72159"/>
                  <a:gd name="connsiteX8" fmla="*/ 104945 w 170538"/>
                  <a:gd name="connsiteY8" fmla="*/ 0 h 72159"/>
                  <a:gd name="connsiteX9" fmla="*/ 170538 w 170538"/>
                  <a:gd name="connsiteY9" fmla="*/ 65593 h 72159"/>
                  <a:gd name="connsiteX10" fmla="*/ 163973 w 170538"/>
                  <a:gd name="connsiteY10" fmla="*/ 72159 h 72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0538" h="72159">
                    <a:moveTo>
                      <a:pt x="163973" y="72159"/>
                    </a:moveTo>
                    <a:cubicBezTo>
                      <a:pt x="160342" y="72159"/>
                      <a:pt x="157407" y="69224"/>
                      <a:pt x="157407" y="65593"/>
                    </a:cubicBezTo>
                    <a:cubicBezTo>
                      <a:pt x="157407" y="36656"/>
                      <a:pt x="133861" y="13132"/>
                      <a:pt x="104945" y="13132"/>
                    </a:cubicBezTo>
                    <a:lnTo>
                      <a:pt x="65593" y="13132"/>
                    </a:lnTo>
                    <a:cubicBezTo>
                      <a:pt x="36656" y="13132"/>
                      <a:pt x="13132" y="36677"/>
                      <a:pt x="13132" y="65593"/>
                    </a:cubicBezTo>
                    <a:cubicBezTo>
                      <a:pt x="13132" y="69224"/>
                      <a:pt x="10197" y="72159"/>
                      <a:pt x="6566" y="72159"/>
                    </a:cubicBezTo>
                    <a:cubicBezTo>
                      <a:pt x="2935" y="72159"/>
                      <a:pt x="0" y="69224"/>
                      <a:pt x="0" y="65593"/>
                    </a:cubicBezTo>
                    <a:cubicBezTo>
                      <a:pt x="0" y="29438"/>
                      <a:pt x="29416" y="0"/>
                      <a:pt x="65593" y="0"/>
                    </a:cubicBezTo>
                    <a:lnTo>
                      <a:pt x="104945" y="0"/>
                    </a:lnTo>
                    <a:cubicBezTo>
                      <a:pt x="141101" y="0"/>
                      <a:pt x="170538" y="29416"/>
                      <a:pt x="170538" y="65593"/>
                    </a:cubicBezTo>
                    <a:cubicBezTo>
                      <a:pt x="170517" y="69224"/>
                      <a:pt x="167603" y="72159"/>
                      <a:pt x="163973" y="72159"/>
                    </a:cubicBezTo>
                    <a:close/>
                  </a:path>
                </a:pathLst>
              </a:custGeom>
              <a:grpFill/>
              <a:ln w="2168" cap="flat">
                <a:noFill/>
                <a:prstDash val="solid"/>
                <a:miter/>
              </a:ln>
            </p:spPr>
            <p:txBody>
              <a:bodyPr rtlCol="0" anchor="ctr"/>
              <a:lstStyle/>
              <a:p>
                <a:endParaRPr lang="en-GB" dirty="0"/>
              </a:p>
            </p:txBody>
          </p:sp>
          <p:sp>
            <p:nvSpPr>
              <p:cNvPr id="471" name="Freihandform: Form 727">
                <a:extLst>
                  <a:ext uri="{FF2B5EF4-FFF2-40B4-BE49-F238E27FC236}">
                    <a16:creationId xmlns:a16="http://schemas.microsoft.com/office/drawing/2014/main" id="{45538532-23A1-4DC8-9BA0-4B63A394CD47}"/>
                  </a:ext>
                </a:extLst>
              </p:cNvPr>
              <p:cNvSpPr/>
              <p:nvPr/>
            </p:nvSpPr>
            <p:spPr>
              <a:xfrm>
                <a:off x="8142268" y="1895675"/>
                <a:ext cx="91834" cy="104923"/>
              </a:xfrm>
              <a:custGeom>
                <a:avLst/>
                <a:gdLst>
                  <a:gd name="connsiteX0" fmla="*/ 45917 w 91834"/>
                  <a:gd name="connsiteY0" fmla="*/ 104923 h 104923"/>
                  <a:gd name="connsiteX1" fmla="*/ 0 w 91834"/>
                  <a:gd name="connsiteY1" fmla="*/ 52462 h 104923"/>
                  <a:gd name="connsiteX2" fmla="*/ 45917 w 91834"/>
                  <a:gd name="connsiteY2" fmla="*/ 0 h 104923"/>
                  <a:gd name="connsiteX3" fmla="*/ 91835 w 91834"/>
                  <a:gd name="connsiteY3" fmla="*/ 52462 h 104923"/>
                  <a:gd name="connsiteX4" fmla="*/ 45917 w 91834"/>
                  <a:gd name="connsiteY4" fmla="*/ 104923 h 104923"/>
                  <a:gd name="connsiteX5" fmla="*/ 45917 w 91834"/>
                  <a:gd name="connsiteY5" fmla="*/ 13110 h 104923"/>
                  <a:gd name="connsiteX6" fmla="*/ 13132 w 91834"/>
                  <a:gd name="connsiteY6" fmla="*/ 52462 h 104923"/>
                  <a:gd name="connsiteX7" fmla="*/ 45917 w 91834"/>
                  <a:gd name="connsiteY7" fmla="*/ 91813 h 104923"/>
                  <a:gd name="connsiteX8" fmla="*/ 78703 w 91834"/>
                  <a:gd name="connsiteY8" fmla="*/ 52462 h 104923"/>
                  <a:gd name="connsiteX9" fmla="*/ 45917 w 91834"/>
                  <a:gd name="connsiteY9" fmla="*/ 13110 h 10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34" h="104923">
                    <a:moveTo>
                      <a:pt x="45917" y="104923"/>
                    </a:moveTo>
                    <a:cubicBezTo>
                      <a:pt x="18458" y="104923"/>
                      <a:pt x="0" y="83834"/>
                      <a:pt x="0" y="52462"/>
                    </a:cubicBezTo>
                    <a:cubicBezTo>
                      <a:pt x="0" y="21089"/>
                      <a:pt x="18458" y="0"/>
                      <a:pt x="45917" y="0"/>
                    </a:cubicBezTo>
                    <a:cubicBezTo>
                      <a:pt x="73377" y="0"/>
                      <a:pt x="91835" y="21089"/>
                      <a:pt x="91835" y="52462"/>
                    </a:cubicBezTo>
                    <a:cubicBezTo>
                      <a:pt x="91835" y="83834"/>
                      <a:pt x="73377" y="104923"/>
                      <a:pt x="45917" y="104923"/>
                    </a:cubicBezTo>
                    <a:close/>
                    <a:moveTo>
                      <a:pt x="45917" y="13110"/>
                    </a:moveTo>
                    <a:cubicBezTo>
                      <a:pt x="21719" y="13110"/>
                      <a:pt x="13132" y="34308"/>
                      <a:pt x="13132" y="52462"/>
                    </a:cubicBezTo>
                    <a:cubicBezTo>
                      <a:pt x="13132" y="70616"/>
                      <a:pt x="21719" y="91813"/>
                      <a:pt x="45917" y="91813"/>
                    </a:cubicBezTo>
                    <a:cubicBezTo>
                      <a:pt x="70116" y="91813"/>
                      <a:pt x="78703" y="70616"/>
                      <a:pt x="78703" y="52462"/>
                    </a:cubicBezTo>
                    <a:cubicBezTo>
                      <a:pt x="78703" y="34308"/>
                      <a:pt x="70116" y="13110"/>
                      <a:pt x="45917" y="13110"/>
                    </a:cubicBezTo>
                    <a:close/>
                  </a:path>
                </a:pathLst>
              </a:custGeom>
              <a:grpFill/>
              <a:ln w="2168" cap="flat">
                <a:noFill/>
                <a:prstDash val="solid"/>
                <a:miter/>
              </a:ln>
            </p:spPr>
            <p:txBody>
              <a:bodyPr rtlCol="0" anchor="ctr"/>
              <a:lstStyle/>
              <a:p>
                <a:endParaRPr lang="en-GB" dirty="0"/>
              </a:p>
            </p:txBody>
          </p:sp>
          <p:sp>
            <p:nvSpPr>
              <p:cNvPr id="472" name="Freihandform: Form 728">
                <a:extLst>
                  <a:ext uri="{FF2B5EF4-FFF2-40B4-BE49-F238E27FC236}">
                    <a16:creationId xmlns:a16="http://schemas.microsoft.com/office/drawing/2014/main" id="{5E59D69C-E6C2-4D7F-A532-EACC7FC5E44C}"/>
                  </a:ext>
                </a:extLst>
              </p:cNvPr>
              <p:cNvSpPr/>
              <p:nvPr/>
            </p:nvSpPr>
            <p:spPr>
              <a:xfrm>
                <a:off x="7984862" y="1895675"/>
                <a:ext cx="91834" cy="104923"/>
              </a:xfrm>
              <a:custGeom>
                <a:avLst/>
                <a:gdLst>
                  <a:gd name="connsiteX0" fmla="*/ 45917 w 91834"/>
                  <a:gd name="connsiteY0" fmla="*/ 104923 h 104923"/>
                  <a:gd name="connsiteX1" fmla="*/ 0 w 91834"/>
                  <a:gd name="connsiteY1" fmla="*/ 52462 h 104923"/>
                  <a:gd name="connsiteX2" fmla="*/ 45917 w 91834"/>
                  <a:gd name="connsiteY2" fmla="*/ 0 h 104923"/>
                  <a:gd name="connsiteX3" fmla="*/ 91835 w 91834"/>
                  <a:gd name="connsiteY3" fmla="*/ 52462 h 104923"/>
                  <a:gd name="connsiteX4" fmla="*/ 45917 w 91834"/>
                  <a:gd name="connsiteY4" fmla="*/ 104923 h 104923"/>
                  <a:gd name="connsiteX5" fmla="*/ 45917 w 91834"/>
                  <a:gd name="connsiteY5" fmla="*/ 13110 h 104923"/>
                  <a:gd name="connsiteX6" fmla="*/ 13132 w 91834"/>
                  <a:gd name="connsiteY6" fmla="*/ 52462 h 104923"/>
                  <a:gd name="connsiteX7" fmla="*/ 45917 w 91834"/>
                  <a:gd name="connsiteY7" fmla="*/ 91813 h 104923"/>
                  <a:gd name="connsiteX8" fmla="*/ 78703 w 91834"/>
                  <a:gd name="connsiteY8" fmla="*/ 52462 h 104923"/>
                  <a:gd name="connsiteX9" fmla="*/ 45917 w 91834"/>
                  <a:gd name="connsiteY9" fmla="*/ 13110 h 10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34" h="104923">
                    <a:moveTo>
                      <a:pt x="45917" y="104923"/>
                    </a:moveTo>
                    <a:cubicBezTo>
                      <a:pt x="18458" y="104923"/>
                      <a:pt x="0" y="83834"/>
                      <a:pt x="0" y="52462"/>
                    </a:cubicBezTo>
                    <a:cubicBezTo>
                      <a:pt x="0" y="21089"/>
                      <a:pt x="18458" y="0"/>
                      <a:pt x="45917" y="0"/>
                    </a:cubicBezTo>
                    <a:cubicBezTo>
                      <a:pt x="73377" y="0"/>
                      <a:pt x="91835" y="21089"/>
                      <a:pt x="91835" y="52462"/>
                    </a:cubicBezTo>
                    <a:cubicBezTo>
                      <a:pt x="91835" y="83834"/>
                      <a:pt x="73377" y="104923"/>
                      <a:pt x="45917" y="104923"/>
                    </a:cubicBezTo>
                    <a:close/>
                    <a:moveTo>
                      <a:pt x="45917" y="13110"/>
                    </a:moveTo>
                    <a:cubicBezTo>
                      <a:pt x="21719" y="13110"/>
                      <a:pt x="13132" y="34308"/>
                      <a:pt x="13132" y="52462"/>
                    </a:cubicBezTo>
                    <a:cubicBezTo>
                      <a:pt x="13132" y="70616"/>
                      <a:pt x="21719" y="91813"/>
                      <a:pt x="45917" y="91813"/>
                    </a:cubicBezTo>
                    <a:cubicBezTo>
                      <a:pt x="70116" y="91813"/>
                      <a:pt x="78703" y="70616"/>
                      <a:pt x="78703" y="52462"/>
                    </a:cubicBezTo>
                    <a:cubicBezTo>
                      <a:pt x="78703" y="34308"/>
                      <a:pt x="70116" y="13110"/>
                      <a:pt x="45917" y="13110"/>
                    </a:cubicBezTo>
                    <a:close/>
                  </a:path>
                </a:pathLst>
              </a:custGeom>
              <a:grpFill/>
              <a:ln w="2168" cap="flat">
                <a:noFill/>
                <a:prstDash val="solid"/>
                <a:miter/>
              </a:ln>
            </p:spPr>
            <p:txBody>
              <a:bodyPr rtlCol="0" anchor="ctr"/>
              <a:lstStyle/>
              <a:p>
                <a:endParaRPr lang="en-GB" dirty="0"/>
              </a:p>
            </p:txBody>
          </p:sp>
          <p:sp>
            <p:nvSpPr>
              <p:cNvPr id="473" name="Freihandform: Form 729">
                <a:extLst>
                  <a:ext uri="{FF2B5EF4-FFF2-40B4-BE49-F238E27FC236}">
                    <a16:creationId xmlns:a16="http://schemas.microsoft.com/office/drawing/2014/main" id="{B2A57A14-2D1E-4FA1-BB8F-EFFF34D6F579}"/>
                  </a:ext>
                </a:extLst>
              </p:cNvPr>
              <p:cNvSpPr/>
              <p:nvPr/>
            </p:nvSpPr>
            <p:spPr>
              <a:xfrm>
                <a:off x="7827455" y="1895675"/>
                <a:ext cx="91835" cy="104923"/>
              </a:xfrm>
              <a:custGeom>
                <a:avLst/>
                <a:gdLst>
                  <a:gd name="connsiteX0" fmla="*/ 45917 w 91835"/>
                  <a:gd name="connsiteY0" fmla="*/ 104923 h 104923"/>
                  <a:gd name="connsiteX1" fmla="*/ 0 w 91835"/>
                  <a:gd name="connsiteY1" fmla="*/ 52462 h 104923"/>
                  <a:gd name="connsiteX2" fmla="*/ 45917 w 91835"/>
                  <a:gd name="connsiteY2" fmla="*/ 0 h 104923"/>
                  <a:gd name="connsiteX3" fmla="*/ 91835 w 91835"/>
                  <a:gd name="connsiteY3" fmla="*/ 52462 h 104923"/>
                  <a:gd name="connsiteX4" fmla="*/ 45917 w 91835"/>
                  <a:gd name="connsiteY4" fmla="*/ 104923 h 104923"/>
                  <a:gd name="connsiteX5" fmla="*/ 45917 w 91835"/>
                  <a:gd name="connsiteY5" fmla="*/ 13110 h 104923"/>
                  <a:gd name="connsiteX6" fmla="*/ 13132 w 91835"/>
                  <a:gd name="connsiteY6" fmla="*/ 52462 h 104923"/>
                  <a:gd name="connsiteX7" fmla="*/ 45917 w 91835"/>
                  <a:gd name="connsiteY7" fmla="*/ 91813 h 104923"/>
                  <a:gd name="connsiteX8" fmla="*/ 78703 w 91835"/>
                  <a:gd name="connsiteY8" fmla="*/ 52462 h 104923"/>
                  <a:gd name="connsiteX9" fmla="*/ 45917 w 91835"/>
                  <a:gd name="connsiteY9" fmla="*/ 13110 h 10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35" h="104923">
                    <a:moveTo>
                      <a:pt x="45917" y="104923"/>
                    </a:moveTo>
                    <a:cubicBezTo>
                      <a:pt x="18459" y="104923"/>
                      <a:pt x="0" y="83834"/>
                      <a:pt x="0" y="52462"/>
                    </a:cubicBezTo>
                    <a:cubicBezTo>
                      <a:pt x="0" y="21089"/>
                      <a:pt x="18459" y="0"/>
                      <a:pt x="45917" y="0"/>
                    </a:cubicBezTo>
                    <a:cubicBezTo>
                      <a:pt x="73377" y="0"/>
                      <a:pt x="91835" y="21089"/>
                      <a:pt x="91835" y="52462"/>
                    </a:cubicBezTo>
                    <a:cubicBezTo>
                      <a:pt x="91835" y="83834"/>
                      <a:pt x="73377" y="104923"/>
                      <a:pt x="45917" y="104923"/>
                    </a:cubicBezTo>
                    <a:close/>
                    <a:moveTo>
                      <a:pt x="45917" y="13110"/>
                    </a:moveTo>
                    <a:cubicBezTo>
                      <a:pt x="21720" y="13110"/>
                      <a:pt x="13132" y="34308"/>
                      <a:pt x="13132" y="52462"/>
                    </a:cubicBezTo>
                    <a:cubicBezTo>
                      <a:pt x="13132" y="70616"/>
                      <a:pt x="21720" y="91813"/>
                      <a:pt x="45917" y="91813"/>
                    </a:cubicBezTo>
                    <a:cubicBezTo>
                      <a:pt x="70116" y="91813"/>
                      <a:pt x="78703" y="70616"/>
                      <a:pt x="78703" y="52462"/>
                    </a:cubicBezTo>
                    <a:cubicBezTo>
                      <a:pt x="78703" y="34308"/>
                      <a:pt x="70116" y="13110"/>
                      <a:pt x="45917" y="13110"/>
                    </a:cubicBezTo>
                    <a:close/>
                  </a:path>
                </a:pathLst>
              </a:custGeom>
              <a:grpFill/>
              <a:ln w="2168" cap="flat">
                <a:noFill/>
                <a:prstDash val="solid"/>
                <a:miter/>
              </a:ln>
            </p:spPr>
            <p:txBody>
              <a:bodyPr rtlCol="0" anchor="ctr"/>
              <a:lstStyle/>
              <a:p>
                <a:endParaRPr lang="en-GB" dirty="0"/>
              </a:p>
            </p:txBody>
          </p:sp>
        </p:grpSp>
        <p:grpSp>
          <p:nvGrpSpPr>
            <p:cNvPr id="455" name="Gruppieren 1203">
              <a:extLst>
                <a:ext uri="{FF2B5EF4-FFF2-40B4-BE49-F238E27FC236}">
                  <a16:creationId xmlns:a16="http://schemas.microsoft.com/office/drawing/2014/main" id="{AE2F766A-29A4-4115-86B3-C0280AF27050}"/>
                </a:ext>
              </a:extLst>
            </p:cNvPr>
            <p:cNvGrpSpPr/>
            <p:nvPr/>
          </p:nvGrpSpPr>
          <p:grpSpPr>
            <a:xfrm>
              <a:off x="6020344" y="1585984"/>
              <a:ext cx="471270" cy="230091"/>
              <a:chOff x="7794648" y="1652977"/>
              <a:chExt cx="472241" cy="230565"/>
            </a:xfrm>
          </p:grpSpPr>
          <p:grpSp>
            <p:nvGrpSpPr>
              <p:cNvPr id="456" name="Grafik 213">
                <a:extLst>
                  <a:ext uri="{FF2B5EF4-FFF2-40B4-BE49-F238E27FC236}">
                    <a16:creationId xmlns:a16="http://schemas.microsoft.com/office/drawing/2014/main" id="{356284F7-E3DA-4B5D-B7B1-BA0156B8FF74}"/>
                  </a:ext>
                </a:extLst>
              </p:cNvPr>
              <p:cNvGrpSpPr/>
              <p:nvPr/>
            </p:nvGrpSpPr>
            <p:grpSpPr>
              <a:xfrm>
                <a:off x="7938966" y="1679263"/>
                <a:ext cx="183648" cy="183604"/>
                <a:chOff x="7938966" y="1679263"/>
                <a:chExt cx="183648" cy="183604"/>
              </a:xfrm>
              <a:solidFill>
                <a:schemeClr val="accent1"/>
              </a:solidFill>
            </p:grpSpPr>
            <p:sp>
              <p:nvSpPr>
                <p:cNvPr id="466" name="Freihandform: Form 731">
                  <a:extLst>
                    <a:ext uri="{FF2B5EF4-FFF2-40B4-BE49-F238E27FC236}">
                      <a16:creationId xmlns:a16="http://schemas.microsoft.com/office/drawing/2014/main" id="{3B807DF8-ED66-4E1C-A896-1895EDC6FC2D}"/>
                    </a:ext>
                  </a:extLst>
                </p:cNvPr>
                <p:cNvSpPr/>
                <p:nvPr/>
              </p:nvSpPr>
              <p:spPr>
                <a:xfrm>
                  <a:off x="8024453" y="1679263"/>
                  <a:ext cx="98161" cy="159276"/>
                </a:xfrm>
                <a:custGeom>
                  <a:avLst/>
                  <a:gdLst>
                    <a:gd name="connsiteX0" fmla="*/ 64767 w 98161"/>
                    <a:gd name="connsiteY0" fmla="*/ 159276 h 159276"/>
                    <a:gd name="connsiteX1" fmla="*/ 60310 w 98161"/>
                    <a:gd name="connsiteY1" fmla="*/ 157559 h 159276"/>
                    <a:gd name="connsiteX2" fmla="*/ 1913 w 98161"/>
                    <a:gd name="connsiteY2" fmla="*/ 99162 h 159276"/>
                    <a:gd name="connsiteX3" fmla="*/ 0 w 98161"/>
                    <a:gd name="connsiteY3" fmla="*/ 94553 h 159276"/>
                    <a:gd name="connsiteX4" fmla="*/ 0 w 98161"/>
                    <a:gd name="connsiteY4" fmla="*/ 6566 h 159276"/>
                    <a:gd name="connsiteX5" fmla="*/ 6566 w 98161"/>
                    <a:gd name="connsiteY5" fmla="*/ 0 h 159276"/>
                    <a:gd name="connsiteX6" fmla="*/ 6587 w 98161"/>
                    <a:gd name="connsiteY6" fmla="*/ 0 h 159276"/>
                    <a:gd name="connsiteX7" fmla="*/ 98161 w 98161"/>
                    <a:gd name="connsiteY7" fmla="*/ 91313 h 159276"/>
                    <a:gd name="connsiteX8" fmla="*/ 70441 w 98161"/>
                    <a:gd name="connsiteY8" fmla="*/ 156841 h 159276"/>
                    <a:gd name="connsiteX9" fmla="*/ 69659 w 98161"/>
                    <a:gd name="connsiteY9" fmla="*/ 157537 h 159276"/>
                    <a:gd name="connsiteX10" fmla="*/ 64767 w 98161"/>
                    <a:gd name="connsiteY10" fmla="*/ 159276 h 159276"/>
                    <a:gd name="connsiteX11" fmla="*/ 13110 w 98161"/>
                    <a:gd name="connsiteY11" fmla="*/ 91792 h 159276"/>
                    <a:gd name="connsiteX12" fmla="*/ 64941 w 98161"/>
                    <a:gd name="connsiteY12" fmla="*/ 143601 h 159276"/>
                    <a:gd name="connsiteX13" fmla="*/ 85030 w 98161"/>
                    <a:gd name="connsiteY13" fmla="*/ 91291 h 159276"/>
                    <a:gd name="connsiteX14" fmla="*/ 13110 w 98161"/>
                    <a:gd name="connsiteY14" fmla="*/ 13327 h 159276"/>
                    <a:gd name="connsiteX15" fmla="*/ 13110 w 98161"/>
                    <a:gd name="connsiteY15" fmla="*/ 91792 h 15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161" h="159276">
                      <a:moveTo>
                        <a:pt x="64767" y="159276"/>
                      </a:moveTo>
                      <a:cubicBezTo>
                        <a:pt x="63115" y="159276"/>
                        <a:pt x="61484" y="158733"/>
                        <a:pt x="60310" y="157559"/>
                      </a:cubicBezTo>
                      <a:lnTo>
                        <a:pt x="1913" y="99162"/>
                      </a:lnTo>
                      <a:cubicBezTo>
                        <a:pt x="696" y="97944"/>
                        <a:pt x="0" y="96270"/>
                        <a:pt x="0" y="94553"/>
                      </a:cubicBezTo>
                      <a:lnTo>
                        <a:pt x="0" y="6566"/>
                      </a:lnTo>
                      <a:cubicBezTo>
                        <a:pt x="0" y="2935"/>
                        <a:pt x="2935" y="0"/>
                        <a:pt x="6566" y="0"/>
                      </a:cubicBezTo>
                      <a:cubicBezTo>
                        <a:pt x="6566" y="0"/>
                        <a:pt x="6587" y="0"/>
                        <a:pt x="6587" y="0"/>
                      </a:cubicBezTo>
                      <a:cubicBezTo>
                        <a:pt x="57201" y="0"/>
                        <a:pt x="98161" y="40961"/>
                        <a:pt x="98161" y="91313"/>
                      </a:cubicBezTo>
                      <a:cubicBezTo>
                        <a:pt x="98161" y="116207"/>
                        <a:pt x="88313" y="139492"/>
                        <a:pt x="70441" y="156841"/>
                      </a:cubicBezTo>
                      <a:cubicBezTo>
                        <a:pt x="70333" y="156950"/>
                        <a:pt x="69768" y="157450"/>
                        <a:pt x="69659" y="157537"/>
                      </a:cubicBezTo>
                      <a:cubicBezTo>
                        <a:pt x="68311" y="158646"/>
                        <a:pt x="66528" y="159276"/>
                        <a:pt x="64767" y="159276"/>
                      </a:cubicBezTo>
                      <a:close/>
                      <a:moveTo>
                        <a:pt x="13110" y="91792"/>
                      </a:moveTo>
                      <a:lnTo>
                        <a:pt x="64941" y="143601"/>
                      </a:lnTo>
                      <a:cubicBezTo>
                        <a:pt x="77986" y="129143"/>
                        <a:pt x="85030" y="110793"/>
                        <a:pt x="85030" y="91291"/>
                      </a:cubicBezTo>
                      <a:cubicBezTo>
                        <a:pt x="85030" y="50287"/>
                        <a:pt x="53309" y="16545"/>
                        <a:pt x="13110" y="13327"/>
                      </a:cubicBezTo>
                      <a:lnTo>
                        <a:pt x="13110" y="91792"/>
                      </a:lnTo>
                      <a:close/>
                    </a:path>
                  </a:pathLst>
                </a:custGeom>
                <a:solidFill>
                  <a:schemeClr val="accent1"/>
                </a:solidFill>
                <a:ln w="2168" cap="flat">
                  <a:noFill/>
                  <a:prstDash val="solid"/>
                  <a:miter/>
                </a:ln>
              </p:spPr>
              <p:txBody>
                <a:bodyPr rtlCol="0" anchor="ctr"/>
                <a:lstStyle/>
                <a:p>
                  <a:endParaRPr lang="en-GB" dirty="0"/>
                </a:p>
              </p:txBody>
            </p:sp>
            <p:sp>
              <p:nvSpPr>
                <p:cNvPr id="467" name="Freihandform: Form 732">
                  <a:extLst>
                    <a:ext uri="{FF2B5EF4-FFF2-40B4-BE49-F238E27FC236}">
                      <a16:creationId xmlns:a16="http://schemas.microsoft.com/office/drawing/2014/main" id="{B5F3ADA3-2E68-4625-AD19-2BBE723C59F5}"/>
                    </a:ext>
                  </a:extLst>
                </p:cNvPr>
                <p:cNvSpPr/>
                <p:nvPr/>
              </p:nvSpPr>
              <p:spPr>
                <a:xfrm>
                  <a:off x="7938966" y="1682711"/>
                  <a:ext cx="136516" cy="180155"/>
                </a:xfrm>
                <a:custGeom>
                  <a:avLst/>
                  <a:gdLst>
                    <a:gd name="connsiteX0" fmla="*/ 91813 w 136516"/>
                    <a:gd name="connsiteY0" fmla="*/ 180156 h 180155"/>
                    <a:gd name="connsiteX1" fmla="*/ 0 w 136516"/>
                    <a:gd name="connsiteY1" fmla="*/ 88343 h 180155"/>
                    <a:gd name="connsiteX2" fmla="*/ 65724 w 136516"/>
                    <a:gd name="connsiteY2" fmla="*/ 269 h 180155"/>
                    <a:gd name="connsiteX3" fmla="*/ 73877 w 136516"/>
                    <a:gd name="connsiteY3" fmla="*/ 4704 h 180155"/>
                    <a:gd name="connsiteX4" fmla="*/ 69442 w 136516"/>
                    <a:gd name="connsiteY4" fmla="*/ 12857 h 180155"/>
                    <a:gd name="connsiteX5" fmla="*/ 13110 w 136516"/>
                    <a:gd name="connsiteY5" fmla="*/ 88343 h 180155"/>
                    <a:gd name="connsiteX6" fmla="*/ 91813 w 136516"/>
                    <a:gd name="connsiteY6" fmla="*/ 167046 h 180155"/>
                    <a:gd name="connsiteX7" fmla="*/ 127012 w 136516"/>
                    <a:gd name="connsiteY7" fmla="*/ 158763 h 180155"/>
                    <a:gd name="connsiteX8" fmla="*/ 135817 w 136516"/>
                    <a:gd name="connsiteY8" fmla="*/ 161676 h 180155"/>
                    <a:gd name="connsiteX9" fmla="*/ 132904 w 136516"/>
                    <a:gd name="connsiteY9" fmla="*/ 170481 h 180155"/>
                    <a:gd name="connsiteX10" fmla="*/ 91813 w 136516"/>
                    <a:gd name="connsiteY10" fmla="*/ 180156 h 18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516" h="180155">
                      <a:moveTo>
                        <a:pt x="91813" y="180156"/>
                      </a:moveTo>
                      <a:cubicBezTo>
                        <a:pt x="41178" y="180156"/>
                        <a:pt x="0" y="138956"/>
                        <a:pt x="0" y="88343"/>
                      </a:cubicBezTo>
                      <a:cubicBezTo>
                        <a:pt x="0" y="47947"/>
                        <a:pt x="27024" y="11727"/>
                        <a:pt x="65724" y="269"/>
                      </a:cubicBezTo>
                      <a:cubicBezTo>
                        <a:pt x="69202" y="-753"/>
                        <a:pt x="72855" y="1226"/>
                        <a:pt x="73877" y="4704"/>
                      </a:cubicBezTo>
                      <a:cubicBezTo>
                        <a:pt x="74899" y="8183"/>
                        <a:pt x="72920" y="11835"/>
                        <a:pt x="69442" y="12857"/>
                      </a:cubicBezTo>
                      <a:cubicBezTo>
                        <a:pt x="36265" y="22662"/>
                        <a:pt x="13110" y="53709"/>
                        <a:pt x="13110" y="88343"/>
                      </a:cubicBezTo>
                      <a:cubicBezTo>
                        <a:pt x="13110" y="131738"/>
                        <a:pt x="48418" y="167046"/>
                        <a:pt x="91813" y="167046"/>
                      </a:cubicBezTo>
                      <a:cubicBezTo>
                        <a:pt x="104184" y="167046"/>
                        <a:pt x="116033" y="164263"/>
                        <a:pt x="127012" y="158763"/>
                      </a:cubicBezTo>
                      <a:cubicBezTo>
                        <a:pt x="130252" y="157132"/>
                        <a:pt x="134209" y="158458"/>
                        <a:pt x="135817" y="161676"/>
                      </a:cubicBezTo>
                      <a:cubicBezTo>
                        <a:pt x="137448" y="164915"/>
                        <a:pt x="136122" y="168851"/>
                        <a:pt x="132904" y="170481"/>
                      </a:cubicBezTo>
                      <a:cubicBezTo>
                        <a:pt x="120077" y="176895"/>
                        <a:pt x="106249" y="180156"/>
                        <a:pt x="91813" y="180156"/>
                      </a:cubicBezTo>
                      <a:close/>
                    </a:path>
                  </a:pathLst>
                </a:custGeom>
                <a:solidFill>
                  <a:schemeClr val="accent1"/>
                </a:solidFill>
                <a:ln w="2168" cap="flat">
                  <a:noFill/>
                  <a:prstDash val="solid"/>
                  <a:miter/>
                </a:ln>
              </p:spPr>
              <p:txBody>
                <a:bodyPr rtlCol="0" anchor="ctr"/>
                <a:lstStyle/>
                <a:p>
                  <a:endParaRPr lang="en-GB" dirty="0"/>
                </a:p>
              </p:txBody>
            </p:sp>
          </p:grpSp>
          <p:sp>
            <p:nvSpPr>
              <p:cNvPr id="457" name="Freihandform: Form 733">
                <a:extLst>
                  <a:ext uri="{FF2B5EF4-FFF2-40B4-BE49-F238E27FC236}">
                    <a16:creationId xmlns:a16="http://schemas.microsoft.com/office/drawing/2014/main" id="{A421EB8B-6175-417B-A7D0-FC1FA3DAB69B}"/>
                  </a:ext>
                </a:extLst>
              </p:cNvPr>
              <p:cNvSpPr/>
              <p:nvPr/>
            </p:nvSpPr>
            <p:spPr>
              <a:xfrm>
                <a:off x="8167892" y="1681679"/>
                <a:ext cx="61002" cy="38718"/>
              </a:xfrm>
              <a:custGeom>
                <a:avLst/>
                <a:gdLst>
                  <a:gd name="connsiteX0" fmla="*/ 54449 w 61002"/>
                  <a:gd name="connsiteY0" fmla="*/ 38718 h 38718"/>
                  <a:gd name="connsiteX1" fmla="*/ 51362 w 61002"/>
                  <a:gd name="connsiteY1" fmla="*/ 37935 h 38718"/>
                  <a:gd name="connsiteX2" fmla="*/ 3466 w 61002"/>
                  <a:gd name="connsiteY2" fmla="*/ 12346 h 38718"/>
                  <a:gd name="connsiteX3" fmla="*/ 770 w 61002"/>
                  <a:gd name="connsiteY3" fmla="*/ 3476 h 38718"/>
                  <a:gd name="connsiteX4" fmla="*/ 9640 w 61002"/>
                  <a:gd name="connsiteY4" fmla="*/ 780 h 38718"/>
                  <a:gd name="connsiteX5" fmla="*/ 57536 w 61002"/>
                  <a:gd name="connsiteY5" fmla="*/ 26369 h 38718"/>
                  <a:gd name="connsiteX6" fmla="*/ 60232 w 61002"/>
                  <a:gd name="connsiteY6" fmla="*/ 35240 h 38718"/>
                  <a:gd name="connsiteX7" fmla="*/ 54449 w 61002"/>
                  <a:gd name="connsiteY7" fmla="*/ 38718 h 38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002" h="38718">
                    <a:moveTo>
                      <a:pt x="54449" y="38718"/>
                    </a:moveTo>
                    <a:cubicBezTo>
                      <a:pt x="53406" y="38718"/>
                      <a:pt x="52340" y="38479"/>
                      <a:pt x="51362" y="37935"/>
                    </a:cubicBezTo>
                    <a:lnTo>
                      <a:pt x="3466" y="12346"/>
                    </a:lnTo>
                    <a:cubicBezTo>
                      <a:pt x="270" y="10650"/>
                      <a:pt x="-926" y="6672"/>
                      <a:pt x="770" y="3476"/>
                    </a:cubicBezTo>
                    <a:cubicBezTo>
                      <a:pt x="2466" y="280"/>
                      <a:pt x="6445" y="-938"/>
                      <a:pt x="9640" y="780"/>
                    </a:cubicBezTo>
                    <a:lnTo>
                      <a:pt x="57536" y="26369"/>
                    </a:lnTo>
                    <a:cubicBezTo>
                      <a:pt x="60732" y="28087"/>
                      <a:pt x="61928" y="32044"/>
                      <a:pt x="60232" y="35240"/>
                    </a:cubicBezTo>
                    <a:cubicBezTo>
                      <a:pt x="59058" y="37457"/>
                      <a:pt x="56797" y="38718"/>
                      <a:pt x="54449" y="38718"/>
                    </a:cubicBezTo>
                    <a:close/>
                  </a:path>
                </a:pathLst>
              </a:custGeom>
              <a:solidFill>
                <a:schemeClr val="accent1"/>
              </a:solidFill>
              <a:ln w="2168" cap="flat">
                <a:noFill/>
                <a:prstDash val="solid"/>
                <a:miter/>
              </a:ln>
            </p:spPr>
            <p:txBody>
              <a:bodyPr rtlCol="0" anchor="ctr"/>
              <a:lstStyle/>
              <a:p>
                <a:endParaRPr lang="en-GB" dirty="0"/>
              </a:p>
            </p:txBody>
          </p:sp>
          <p:grpSp>
            <p:nvGrpSpPr>
              <p:cNvPr id="458" name="Grafik 213">
                <a:extLst>
                  <a:ext uri="{FF2B5EF4-FFF2-40B4-BE49-F238E27FC236}">
                    <a16:creationId xmlns:a16="http://schemas.microsoft.com/office/drawing/2014/main" id="{C381123C-4AEF-4F51-93EC-E8C149D66DAD}"/>
                  </a:ext>
                </a:extLst>
              </p:cNvPr>
              <p:cNvGrpSpPr/>
              <p:nvPr/>
            </p:nvGrpSpPr>
            <p:grpSpPr>
              <a:xfrm>
                <a:off x="7794648" y="1686606"/>
                <a:ext cx="348729" cy="196936"/>
                <a:chOff x="7794648" y="1686606"/>
                <a:chExt cx="348729" cy="196936"/>
              </a:xfrm>
              <a:solidFill>
                <a:schemeClr val="accent1"/>
              </a:solidFill>
            </p:grpSpPr>
            <p:sp>
              <p:nvSpPr>
                <p:cNvPr id="461" name="Freihandform: Form 735">
                  <a:extLst>
                    <a:ext uri="{FF2B5EF4-FFF2-40B4-BE49-F238E27FC236}">
                      <a16:creationId xmlns:a16="http://schemas.microsoft.com/office/drawing/2014/main" id="{0C248C9B-F4B5-4B5D-B171-DAC736CE3BBC}"/>
                    </a:ext>
                  </a:extLst>
                </p:cNvPr>
                <p:cNvSpPr/>
                <p:nvPr/>
              </p:nvSpPr>
              <p:spPr>
                <a:xfrm>
                  <a:off x="7830108" y="1804940"/>
                  <a:ext cx="58570" cy="46187"/>
                </a:xfrm>
                <a:custGeom>
                  <a:avLst/>
                  <a:gdLst>
                    <a:gd name="connsiteX0" fmla="*/ 51983 w 58570"/>
                    <a:gd name="connsiteY0" fmla="*/ 46187 h 46187"/>
                    <a:gd name="connsiteX1" fmla="*/ 48135 w 58570"/>
                    <a:gd name="connsiteY1" fmla="*/ 44926 h 46187"/>
                    <a:gd name="connsiteX2" fmla="*/ 2696 w 58570"/>
                    <a:gd name="connsiteY2" fmla="*/ 11858 h 46187"/>
                    <a:gd name="connsiteX3" fmla="*/ 1261 w 58570"/>
                    <a:gd name="connsiteY3" fmla="*/ 2705 h 46187"/>
                    <a:gd name="connsiteX4" fmla="*/ 10435 w 58570"/>
                    <a:gd name="connsiteY4" fmla="*/ 1270 h 46187"/>
                    <a:gd name="connsiteX5" fmla="*/ 55875 w 58570"/>
                    <a:gd name="connsiteY5" fmla="*/ 34338 h 46187"/>
                    <a:gd name="connsiteX6" fmla="*/ 57310 w 58570"/>
                    <a:gd name="connsiteY6" fmla="*/ 43492 h 46187"/>
                    <a:gd name="connsiteX7" fmla="*/ 51983 w 58570"/>
                    <a:gd name="connsiteY7" fmla="*/ 46187 h 46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570" h="46187">
                      <a:moveTo>
                        <a:pt x="51983" y="46187"/>
                      </a:moveTo>
                      <a:cubicBezTo>
                        <a:pt x="50635" y="46187"/>
                        <a:pt x="49287" y="45774"/>
                        <a:pt x="48135" y="44926"/>
                      </a:cubicBezTo>
                      <a:lnTo>
                        <a:pt x="2696" y="11858"/>
                      </a:lnTo>
                      <a:cubicBezTo>
                        <a:pt x="-239" y="9727"/>
                        <a:pt x="-870" y="5618"/>
                        <a:pt x="1261" y="2705"/>
                      </a:cubicBezTo>
                      <a:cubicBezTo>
                        <a:pt x="3391" y="-230"/>
                        <a:pt x="7479" y="-882"/>
                        <a:pt x="10435" y="1270"/>
                      </a:cubicBezTo>
                      <a:lnTo>
                        <a:pt x="55875" y="34338"/>
                      </a:lnTo>
                      <a:cubicBezTo>
                        <a:pt x="58810" y="36469"/>
                        <a:pt x="59440" y="40578"/>
                        <a:pt x="57310" y="43492"/>
                      </a:cubicBezTo>
                      <a:cubicBezTo>
                        <a:pt x="56005" y="45253"/>
                        <a:pt x="54005" y="46187"/>
                        <a:pt x="51983" y="46187"/>
                      </a:cubicBezTo>
                      <a:close/>
                    </a:path>
                  </a:pathLst>
                </a:custGeom>
                <a:solidFill>
                  <a:schemeClr val="accent1"/>
                </a:solidFill>
                <a:ln w="2168" cap="flat">
                  <a:noFill/>
                  <a:prstDash val="solid"/>
                  <a:miter/>
                </a:ln>
              </p:spPr>
              <p:txBody>
                <a:bodyPr rtlCol="0" anchor="ctr"/>
                <a:lstStyle/>
                <a:p>
                  <a:endParaRPr lang="en-GB" dirty="0"/>
                </a:p>
              </p:txBody>
            </p:sp>
            <p:sp>
              <p:nvSpPr>
                <p:cNvPr id="462" name="Freihandform: Form 736">
                  <a:extLst>
                    <a:ext uri="{FF2B5EF4-FFF2-40B4-BE49-F238E27FC236}">
                      <a16:creationId xmlns:a16="http://schemas.microsoft.com/office/drawing/2014/main" id="{3E23BA33-DB61-4FF1-8CA3-44B50DE1B5FA}"/>
                    </a:ext>
                  </a:extLst>
                </p:cNvPr>
                <p:cNvSpPr/>
                <p:nvPr/>
              </p:nvSpPr>
              <p:spPr>
                <a:xfrm rot="-1965436">
                  <a:off x="7911464" y="1828508"/>
                  <a:ext cx="29938" cy="13110"/>
                </a:xfrm>
                <a:custGeom>
                  <a:avLst/>
                  <a:gdLst>
                    <a:gd name="connsiteX0" fmla="*/ 0 w 29938"/>
                    <a:gd name="connsiteY0" fmla="*/ 0 h 13110"/>
                    <a:gd name="connsiteX1" fmla="*/ 29939 w 29938"/>
                    <a:gd name="connsiteY1" fmla="*/ 0 h 13110"/>
                    <a:gd name="connsiteX2" fmla="*/ 29939 w 29938"/>
                    <a:gd name="connsiteY2" fmla="*/ 13110 h 13110"/>
                    <a:gd name="connsiteX3" fmla="*/ 0 w 29938"/>
                    <a:gd name="connsiteY3" fmla="*/ 13110 h 13110"/>
                  </a:gdLst>
                  <a:ahLst/>
                  <a:cxnLst>
                    <a:cxn ang="0">
                      <a:pos x="connsiteX0" y="connsiteY0"/>
                    </a:cxn>
                    <a:cxn ang="0">
                      <a:pos x="connsiteX1" y="connsiteY1"/>
                    </a:cxn>
                    <a:cxn ang="0">
                      <a:pos x="connsiteX2" y="connsiteY2"/>
                    </a:cxn>
                    <a:cxn ang="0">
                      <a:pos x="connsiteX3" y="connsiteY3"/>
                    </a:cxn>
                  </a:cxnLst>
                  <a:rect l="l" t="t" r="r" b="b"/>
                  <a:pathLst>
                    <a:path w="29938" h="13110">
                      <a:moveTo>
                        <a:pt x="0" y="0"/>
                      </a:moveTo>
                      <a:lnTo>
                        <a:pt x="29939" y="0"/>
                      </a:lnTo>
                      <a:lnTo>
                        <a:pt x="29939" y="13110"/>
                      </a:lnTo>
                      <a:lnTo>
                        <a:pt x="0" y="13110"/>
                      </a:lnTo>
                      <a:close/>
                    </a:path>
                  </a:pathLst>
                </a:custGeom>
                <a:solidFill>
                  <a:schemeClr val="accent1"/>
                </a:solidFill>
                <a:ln w="2168" cap="flat">
                  <a:noFill/>
                  <a:prstDash val="solid"/>
                  <a:miter/>
                </a:ln>
              </p:spPr>
              <p:txBody>
                <a:bodyPr rtlCol="0" anchor="ctr"/>
                <a:lstStyle/>
                <a:p>
                  <a:endParaRPr lang="en-GB" dirty="0"/>
                </a:p>
              </p:txBody>
            </p:sp>
            <p:sp>
              <p:nvSpPr>
                <p:cNvPr id="463" name="Freihandform: Form 737">
                  <a:extLst>
                    <a:ext uri="{FF2B5EF4-FFF2-40B4-BE49-F238E27FC236}">
                      <a16:creationId xmlns:a16="http://schemas.microsoft.com/office/drawing/2014/main" id="{3C45FB3B-FB51-4EE7-8435-83B00FA31556}"/>
                    </a:ext>
                  </a:extLst>
                </p:cNvPr>
                <p:cNvSpPr/>
                <p:nvPr/>
              </p:nvSpPr>
              <p:spPr>
                <a:xfrm rot="-1936539">
                  <a:off x="8113108" y="1693336"/>
                  <a:ext cx="29003" cy="13131"/>
                </a:xfrm>
                <a:custGeom>
                  <a:avLst/>
                  <a:gdLst>
                    <a:gd name="connsiteX0" fmla="*/ 0 w 29003"/>
                    <a:gd name="connsiteY0" fmla="*/ 0 h 13131"/>
                    <a:gd name="connsiteX1" fmla="*/ 29003 w 29003"/>
                    <a:gd name="connsiteY1" fmla="*/ 0 h 13131"/>
                    <a:gd name="connsiteX2" fmla="*/ 29003 w 29003"/>
                    <a:gd name="connsiteY2" fmla="*/ 13132 h 13131"/>
                    <a:gd name="connsiteX3" fmla="*/ 0 w 29003"/>
                    <a:gd name="connsiteY3" fmla="*/ 13132 h 13131"/>
                  </a:gdLst>
                  <a:ahLst/>
                  <a:cxnLst>
                    <a:cxn ang="0">
                      <a:pos x="connsiteX0" y="connsiteY0"/>
                    </a:cxn>
                    <a:cxn ang="0">
                      <a:pos x="connsiteX1" y="connsiteY1"/>
                    </a:cxn>
                    <a:cxn ang="0">
                      <a:pos x="connsiteX2" y="connsiteY2"/>
                    </a:cxn>
                    <a:cxn ang="0">
                      <a:pos x="connsiteX3" y="connsiteY3"/>
                    </a:cxn>
                  </a:cxnLst>
                  <a:rect l="l" t="t" r="r" b="b"/>
                  <a:pathLst>
                    <a:path w="29003" h="13131">
                      <a:moveTo>
                        <a:pt x="0" y="0"/>
                      </a:moveTo>
                      <a:lnTo>
                        <a:pt x="29003" y="0"/>
                      </a:lnTo>
                      <a:lnTo>
                        <a:pt x="29003" y="13132"/>
                      </a:lnTo>
                      <a:lnTo>
                        <a:pt x="0" y="13132"/>
                      </a:lnTo>
                      <a:close/>
                    </a:path>
                  </a:pathLst>
                </a:custGeom>
                <a:solidFill>
                  <a:schemeClr val="accent1"/>
                </a:solidFill>
                <a:ln w="2168" cap="flat">
                  <a:noFill/>
                  <a:prstDash val="solid"/>
                  <a:miter/>
                </a:ln>
              </p:spPr>
              <p:txBody>
                <a:bodyPr rtlCol="0" anchor="ctr"/>
                <a:lstStyle/>
                <a:p>
                  <a:endParaRPr lang="en-GB" dirty="0"/>
                </a:p>
              </p:txBody>
            </p:sp>
            <p:sp>
              <p:nvSpPr>
                <p:cNvPr id="464" name="Freihandform: Form 738">
                  <a:extLst>
                    <a:ext uri="{FF2B5EF4-FFF2-40B4-BE49-F238E27FC236}">
                      <a16:creationId xmlns:a16="http://schemas.microsoft.com/office/drawing/2014/main" id="{E6BFDFD7-F75F-434A-B659-BE767D358EED}"/>
                    </a:ext>
                  </a:extLst>
                </p:cNvPr>
                <p:cNvSpPr/>
                <p:nvPr/>
              </p:nvSpPr>
              <p:spPr>
                <a:xfrm>
                  <a:off x="7794648" y="1772032"/>
                  <a:ext cx="52483" cy="52483"/>
                </a:xfrm>
                <a:custGeom>
                  <a:avLst/>
                  <a:gdLst>
                    <a:gd name="connsiteX0" fmla="*/ 26242 w 52483"/>
                    <a:gd name="connsiteY0" fmla="*/ 52483 h 52483"/>
                    <a:gd name="connsiteX1" fmla="*/ 0 w 52483"/>
                    <a:gd name="connsiteY1" fmla="*/ 26242 h 52483"/>
                    <a:gd name="connsiteX2" fmla="*/ 26242 w 52483"/>
                    <a:gd name="connsiteY2" fmla="*/ 0 h 52483"/>
                    <a:gd name="connsiteX3" fmla="*/ 52483 w 52483"/>
                    <a:gd name="connsiteY3" fmla="*/ 26242 h 52483"/>
                    <a:gd name="connsiteX4" fmla="*/ 26242 w 52483"/>
                    <a:gd name="connsiteY4" fmla="*/ 52483 h 52483"/>
                    <a:gd name="connsiteX5" fmla="*/ 26242 w 52483"/>
                    <a:gd name="connsiteY5" fmla="*/ 13132 h 52483"/>
                    <a:gd name="connsiteX6" fmla="*/ 13132 w 52483"/>
                    <a:gd name="connsiteY6" fmla="*/ 26242 h 52483"/>
                    <a:gd name="connsiteX7" fmla="*/ 26242 w 52483"/>
                    <a:gd name="connsiteY7" fmla="*/ 39352 h 52483"/>
                    <a:gd name="connsiteX8" fmla="*/ 39352 w 52483"/>
                    <a:gd name="connsiteY8" fmla="*/ 26242 h 52483"/>
                    <a:gd name="connsiteX9" fmla="*/ 26242 w 52483"/>
                    <a:gd name="connsiteY9" fmla="*/ 13132 h 5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83" h="52483">
                      <a:moveTo>
                        <a:pt x="26242" y="52483"/>
                      </a:moveTo>
                      <a:cubicBezTo>
                        <a:pt x="11762" y="52483"/>
                        <a:pt x="0" y="40721"/>
                        <a:pt x="0" y="26242"/>
                      </a:cubicBezTo>
                      <a:cubicBezTo>
                        <a:pt x="0" y="11784"/>
                        <a:pt x="11762" y="0"/>
                        <a:pt x="26242" y="0"/>
                      </a:cubicBezTo>
                      <a:cubicBezTo>
                        <a:pt x="40700" y="0"/>
                        <a:pt x="52483" y="11762"/>
                        <a:pt x="52483" y="26242"/>
                      </a:cubicBezTo>
                      <a:cubicBezTo>
                        <a:pt x="52483" y="40700"/>
                        <a:pt x="40721" y="52483"/>
                        <a:pt x="26242" y="52483"/>
                      </a:cubicBezTo>
                      <a:close/>
                      <a:moveTo>
                        <a:pt x="26242" y="13132"/>
                      </a:moveTo>
                      <a:cubicBezTo>
                        <a:pt x="19002" y="13132"/>
                        <a:pt x="13132" y="19024"/>
                        <a:pt x="13132" y="26242"/>
                      </a:cubicBezTo>
                      <a:cubicBezTo>
                        <a:pt x="13132" y="33460"/>
                        <a:pt x="19024" y="39352"/>
                        <a:pt x="26242" y="39352"/>
                      </a:cubicBezTo>
                      <a:cubicBezTo>
                        <a:pt x="33482" y="39352"/>
                        <a:pt x="39352" y="33460"/>
                        <a:pt x="39352" y="26242"/>
                      </a:cubicBezTo>
                      <a:cubicBezTo>
                        <a:pt x="39352" y="19024"/>
                        <a:pt x="33482" y="13132"/>
                        <a:pt x="26242" y="13132"/>
                      </a:cubicBezTo>
                      <a:close/>
                    </a:path>
                  </a:pathLst>
                </a:custGeom>
                <a:solidFill>
                  <a:schemeClr val="accent1"/>
                </a:solidFill>
                <a:ln w="2168" cap="flat">
                  <a:noFill/>
                  <a:prstDash val="solid"/>
                  <a:miter/>
                </a:ln>
              </p:spPr>
              <p:txBody>
                <a:bodyPr rtlCol="0" anchor="ctr"/>
                <a:lstStyle/>
                <a:p>
                  <a:endParaRPr lang="en-GB" dirty="0"/>
                </a:p>
              </p:txBody>
            </p:sp>
            <p:sp>
              <p:nvSpPr>
                <p:cNvPr id="465" name="Freihandform: Form 739">
                  <a:extLst>
                    <a:ext uri="{FF2B5EF4-FFF2-40B4-BE49-F238E27FC236}">
                      <a16:creationId xmlns:a16="http://schemas.microsoft.com/office/drawing/2014/main" id="{820FD446-99B7-47DA-8199-485DB76918B6}"/>
                    </a:ext>
                  </a:extLst>
                </p:cNvPr>
                <p:cNvSpPr/>
                <p:nvPr/>
              </p:nvSpPr>
              <p:spPr>
                <a:xfrm>
                  <a:off x="7873351" y="1831060"/>
                  <a:ext cx="52483" cy="52483"/>
                </a:xfrm>
                <a:custGeom>
                  <a:avLst/>
                  <a:gdLst>
                    <a:gd name="connsiteX0" fmla="*/ 26242 w 52483"/>
                    <a:gd name="connsiteY0" fmla="*/ 52483 h 52483"/>
                    <a:gd name="connsiteX1" fmla="*/ 0 w 52483"/>
                    <a:gd name="connsiteY1" fmla="*/ 26242 h 52483"/>
                    <a:gd name="connsiteX2" fmla="*/ 26242 w 52483"/>
                    <a:gd name="connsiteY2" fmla="*/ 0 h 52483"/>
                    <a:gd name="connsiteX3" fmla="*/ 52483 w 52483"/>
                    <a:gd name="connsiteY3" fmla="*/ 26242 h 52483"/>
                    <a:gd name="connsiteX4" fmla="*/ 26242 w 52483"/>
                    <a:gd name="connsiteY4" fmla="*/ 52483 h 52483"/>
                    <a:gd name="connsiteX5" fmla="*/ 26242 w 52483"/>
                    <a:gd name="connsiteY5" fmla="*/ 13132 h 52483"/>
                    <a:gd name="connsiteX6" fmla="*/ 13132 w 52483"/>
                    <a:gd name="connsiteY6" fmla="*/ 26242 h 52483"/>
                    <a:gd name="connsiteX7" fmla="*/ 26242 w 52483"/>
                    <a:gd name="connsiteY7" fmla="*/ 39352 h 52483"/>
                    <a:gd name="connsiteX8" fmla="*/ 39352 w 52483"/>
                    <a:gd name="connsiteY8" fmla="*/ 26242 h 52483"/>
                    <a:gd name="connsiteX9" fmla="*/ 26242 w 52483"/>
                    <a:gd name="connsiteY9" fmla="*/ 13132 h 5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83" h="52483">
                      <a:moveTo>
                        <a:pt x="26242" y="52483"/>
                      </a:moveTo>
                      <a:cubicBezTo>
                        <a:pt x="11762" y="52483"/>
                        <a:pt x="0" y="40721"/>
                        <a:pt x="0" y="26242"/>
                      </a:cubicBezTo>
                      <a:cubicBezTo>
                        <a:pt x="0" y="11784"/>
                        <a:pt x="11762" y="0"/>
                        <a:pt x="26242" y="0"/>
                      </a:cubicBezTo>
                      <a:cubicBezTo>
                        <a:pt x="40700" y="0"/>
                        <a:pt x="52483" y="11762"/>
                        <a:pt x="52483" y="26242"/>
                      </a:cubicBezTo>
                      <a:cubicBezTo>
                        <a:pt x="52483" y="40700"/>
                        <a:pt x="40721" y="52483"/>
                        <a:pt x="26242" y="52483"/>
                      </a:cubicBezTo>
                      <a:close/>
                      <a:moveTo>
                        <a:pt x="26242" y="13132"/>
                      </a:moveTo>
                      <a:cubicBezTo>
                        <a:pt x="19002" y="13132"/>
                        <a:pt x="13132" y="19024"/>
                        <a:pt x="13132" y="26242"/>
                      </a:cubicBezTo>
                      <a:cubicBezTo>
                        <a:pt x="13132" y="33460"/>
                        <a:pt x="19024" y="39352"/>
                        <a:pt x="26242" y="39352"/>
                      </a:cubicBezTo>
                      <a:cubicBezTo>
                        <a:pt x="33481" y="39352"/>
                        <a:pt x="39352" y="33460"/>
                        <a:pt x="39352" y="26242"/>
                      </a:cubicBezTo>
                      <a:cubicBezTo>
                        <a:pt x="39352" y="19024"/>
                        <a:pt x="33481" y="13132"/>
                        <a:pt x="26242" y="13132"/>
                      </a:cubicBezTo>
                      <a:close/>
                    </a:path>
                  </a:pathLst>
                </a:custGeom>
                <a:solidFill>
                  <a:schemeClr val="accent1"/>
                </a:solidFill>
                <a:ln w="2168" cap="flat">
                  <a:noFill/>
                  <a:prstDash val="solid"/>
                  <a:miter/>
                </a:ln>
              </p:spPr>
              <p:txBody>
                <a:bodyPr rtlCol="0" anchor="ctr"/>
                <a:lstStyle/>
                <a:p>
                  <a:endParaRPr lang="en-GB" dirty="0"/>
                </a:p>
              </p:txBody>
            </p:sp>
          </p:grpSp>
          <p:sp>
            <p:nvSpPr>
              <p:cNvPr id="459" name="Freihandform: Form 740">
                <a:extLst>
                  <a:ext uri="{FF2B5EF4-FFF2-40B4-BE49-F238E27FC236}">
                    <a16:creationId xmlns:a16="http://schemas.microsoft.com/office/drawing/2014/main" id="{BA0AD2B1-A949-4386-9EB9-73B7B35B843F}"/>
                  </a:ext>
                </a:extLst>
              </p:cNvPr>
              <p:cNvSpPr/>
              <p:nvPr/>
            </p:nvSpPr>
            <p:spPr>
              <a:xfrm>
                <a:off x="8214406" y="1698895"/>
                <a:ext cx="52483" cy="52483"/>
              </a:xfrm>
              <a:custGeom>
                <a:avLst/>
                <a:gdLst>
                  <a:gd name="connsiteX0" fmla="*/ 26242 w 52483"/>
                  <a:gd name="connsiteY0" fmla="*/ 52483 h 52483"/>
                  <a:gd name="connsiteX1" fmla="*/ 0 w 52483"/>
                  <a:gd name="connsiteY1" fmla="*/ 26242 h 52483"/>
                  <a:gd name="connsiteX2" fmla="*/ 26242 w 52483"/>
                  <a:gd name="connsiteY2" fmla="*/ 0 h 52483"/>
                  <a:gd name="connsiteX3" fmla="*/ 52483 w 52483"/>
                  <a:gd name="connsiteY3" fmla="*/ 26242 h 52483"/>
                  <a:gd name="connsiteX4" fmla="*/ 26242 w 52483"/>
                  <a:gd name="connsiteY4" fmla="*/ 52483 h 52483"/>
                  <a:gd name="connsiteX5" fmla="*/ 26242 w 52483"/>
                  <a:gd name="connsiteY5" fmla="*/ 13132 h 52483"/>
                  <a:gd name="connsiteX6" fmla="*/ 13132 w 52483"/>
                  <a:gd name="connsiteY6" fmla="*/ 26242 h 52483"/>
                  <a:gd name="connsiteX7" fmla="*/ 26242 w 52483"/>
                  <a:gd name="connsiteY7" fmla="*/ 39352 h 52483"/>
                  <a:gd name="connsiteX8" fmla="*/ 39352 w 52483"/>
                  <a:gd name="connsiteY8" fmla="*/ 26242 h 52483"/>
                  <a:gd name="connsiteX9" fmla="*/ 26242 w 52483"/>
                  <a:gd name="connsiteY9" fmla="*/ 13132 h 5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83" h="52483">
                    <a:moveTo>
                      <a:pt x="26242" y="52483"/>
                    </a:moveTo>
                    <a:cubicBezTo>
                      <a:pt x="11762" y="52483"/>
                      <a:pt x="0" y="40721"/>
                      <a:pt x="0" y="26242"/>
                    </a:cubicBezTo>
                    <a:cubicBezTo>
                      <a:pt x="0" y="11762"/>
                      <a:pt x="11762" y="0"/>
                      <a:pt x="26242" y="0"/>
                    </a:cubicBezTo>
                    <a:cubicBezTo>
                      <a:pt x="40700" y="0"/>
                      <a:pt x="52483" y="11762"/>
                      <a:pt x="52483" y="26242"/>
                    </a:cubicBezTo>
                    <a:cubicBezTo>
                      <a:pt x="52483" y="40721"/>
                      <a:pt x="40721" y="52483"/>
                      <a:pt x="26242" y="52483"/>
                    </a:cubicBezTo>
                    <a:close/>
                    <a:moveTo>
                      <a:pt x="26242" y="13132"/>
                    </a:moveTo>
                    <a:cubicBezTo>
                      <a:pt x="19002" y="13132"/>
                      <a:pt x="13132" y="19024"/>
                      <a:pt x="13132" y="26242"/>
                    </a:cubicBezTo>
                    <a:cubicBezTo>
                      <a:pt x="13132" y="33460"/>
                      <a:pt x="19024" y="39352"/>
                      <a:pt x="26242" y="39352"/>
                    </a:cubicBezTo>
                    <a:cubicBezTo>
                      <a:pt x="33481" y="39352"/>
                      <a:pt x="39352" y="33460"/>
                      <a:pt x="39352" y="26242"/>
                    </a:cubicBezTo>
                    <a:cubicBezTo>
                      <a:pt x="39352" y="19024"/>
                      <a:pt x="33481" y="13132"/>
                      <a:pt x="26242" y="13132"/>
                    </a:cubicBezTo>
                    <a:close/>
                  </a:path>
                </a:pathLst>
              </a:custGeom>
              <a:solidFill>
                <a:schemeClr val="accent1"/>
              </a:solidFill>
              <a:ln w="2168" cap="flat">
                <a:noFill/>
                <a:prstDash val="solid"/>
                <a:miter/>
              </a:ln>
            </p:spPr>
            <p:txBody>
              <a:bodyPr rtlCol="0" anchor="ctr"/>
              <a:lstStyle/>
              <a:p>
                <a:endParaRPr lang="en-GB" dirty="0"/>
              </a:p>
            </p:txBody>
          </p:sp>
          <p:sp>
            <p:nvSpPr>
              <p:cNvPr id="460" name="Freihandform: Form 741">
                <a:extLst>
                  <a:ext uri="{FF2B5EF4-FFF2-40B4-BE49-F238E27FC236}">
                    <a16:creationId xmlns:a16="http://schemas.microsoft.com/office/drawing/2014/main" id="{6FAB0DE2-F759-42BA-976C-7755C86E6E6E}"/>
                  </a:ext>
                </a:extLst>
              </p:cNvPr>
              <p:cNvSpPr/>
              <p:nvPr/>
            </p:nvSpPr>
            <p:spPr>
              <a:xfrm>
                <a:off x="8129158" y="1652977"/>
                <a:ext cx="52483" cy="52483"/>
              </a:xfrm>
              <a:custGeom>
                <a:avLst/>
                <a:gdLst>
                  <a:gd name="connsiteX0" fmla="*/ 26242 w 52483"/>
                  <a:gd name="connsiteY0" fmla="*/ 52483 h 52483"/>
                  <a:gd name="connsiteX1" fmla="*/ 0 w 52483"/>
                  <a:gd name="connsiteY1" fmla="*/ 26242 h 52483"/>
                  <a:gd name="connsiteX2" fmla="*/ 26242 w 52483"/>
                  <a:gd name="connsiteY2" fmla="*/ 0 h 52483"/>
                  <a:gd name="connsiteX3" fmla="*/ 52483 w 52483"/>
                  <a:gd name="connsiteY3" fmla="*/ 26242 h 52483"/>
                  <a:gd name="connsiteX4" fmla="*/ 26242 w 52483"/>
                  <a:gd name="connsiteY4" fmla="*/ 52483 h 52483"/>
                  <a:gd name="connsiteX5" fmla="*/ 26242 w 52483"/>
                  <a:gd name="connsiteY5" fmla="*/ 13132 h 52483"/>
                  <a:gd name="connsiteX6" fmla="*/ 13132 w 52483"/>
                  <a:gd name="connsiteY6" fmla="*/ 26242 h 52483"/>
                  <a:gd name="connsiteX7" fmla="*/ 26242 w 52483"/>
                  <a:gd name="connsiteY7" fmla="*/ 39352 h 52483"/>
                  <a:gd name="connsiteX8" fmla="*/ 39352 w 52483"/>
                  <a:gd name="connsiteY8" fmla="*/ 26242 h 52483"/>
                  <a:gd name="connsiteX9" fmla="*/ 26242 w 52483"/>
                  <a:gd name="connsiteY9" fmla="*/ 13132 h 52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83" h="52483">
                    <a:moveTo>
                      <a:pt x="26242" y="52483"/>
                    </a:moveTo>
                    <a:cubicBezTo>
                      <a:pt x="11762" y="52483"/>
                      <a:pt x="0" y="40721"/>
                      <a:pt x="0" y="26242"/>
                    </a:cubicBezTo>
                    <a:cubicBezTo>
                      <a:pt x="0" y="11762"/>
                      <a:pt x="11762" y="0"/>
                      <a:pt x="26242" y="0"/>
                    </a:cubicBezTo>
                    <a:cubicBezTo>
                      <a:pt x="40700" y="0"/>
                      <a:pt x="52483" y="11762"/>
                      <a:pt x="52483" y="26242"/>
                    </a:cubicBezTo>
                    <a:cubicBezTo>
                      <a:pt x="52483" y="40721"/>
                      <a:pt x="40700" y="52483"/>
                      <a:pt x="26242" y="52483"/>
                    </a:cubicBezTo>
                    <a:close/>
                    <a:moveTo>
                      <a:pt x="26242" y="13132"/>
                    </a:moveTo>
                    <a:cubicBezTo>
                      <a:pt x="19002" y="13132"/>
                      <a:pt x="13132" y="19024"/>
                      <a:pt x="13132" y="26242"/>
                    </a:cubicBezTo>
                    <a:cubicBezTo>
                      <a:pt x="13132" y="33460"/>
                      <a:pt x="19024" y="39352"/>
                      <a:pt x="26242" y="39352"/>
                    </a:cubicBezTo>
                    <a:cubicBezTo>
                      <a:pt x="33482" y="39352"/>
                      <a:pt x="39352" y="33460"/>
                      <a:pt x="39352" y="26242"/>
                    </a:cubicBezTo>
                    <a:cubicBezTo>
                      <a:pt x="39352" y="19024"/>
                      <a:pt x="33460" y="13132"/>
                      <a:pt x="26242" y="13132"/>
                    </a:cubicBezTo>
                    <a:close/>
                  </a:path>
                </a:pathLst>
              </a:custGeom>
              <a:solidFill>
                <a:schemeClr val="accent1"/>
              </a:solidFill>
              <a:ln w="2168" cap="flat">
                <a:noFill/>
                <a:prstDash val="solid"/>
                <a:miter/>
              </a:ln>
            </p:spPr>
            <p:txBody>
              <a:bodyPr rtlCol="0" anchor="ctr"/>
              <a:lstStyle/>
              <a:p>
                <a:endParaRPr lang="en-GB" dirty="0"/>
              </a:p>
            </p:txBody>
          </p:sp>
        </p:grpSp>
      </p:grpSp>
      <p:grpSp>
        <p:nvGrpSpPr>
          <p:cNvPr id="489" name="Group 488">
            <a:extLst>
              <a:ext uri="{FF2B5EF4-FFF2-40B4-BE49-F238E27FC236}">
                <a16:creationId xmlns:a16="http://schemas.microsoft.com/office/drawing/2014/main" id="{A4D0E7AA-B784-B029-B345-CC0EA1D9F92E}"/>
              </a:ext>
            </a:extLst>
          </p:cNvPr>
          <p:cNvGrpSpPr/>
          <p:nvPr/>
        </p:nvGrpSpPr>
        <p:grpSpPr>
          <a:xfrm>
            <a:off x="7046944" y="1585984"/>
            <a:ext cx="505180" cy="432000"/>
            <a:chOff x="7046532" y="1585984"/>
            <a:chExt cx="505180" cy="432000"/>
          </a:xfrm>
        </p:grpSpPr>
        <p:grpSp>
          <p:nvGrpSpPr>
            <p:cNvPr id="475" name="Gruppieren 1229">
              <a:extLst>
                <a:ext uri="{FF2B5EF4-FFF2-40B4-BE49-F238E27FC236}">
                  <a16:creationId xmlns:a16="http://schemas.microsoft.com/office/drawing/2014/main" id="{74D0ACCB-D562-4A05-B8D5-920885127910}"/>
                </a:ext>
              </a:extLst>
            </p:cNvPr>
            <p:cNvGrpSpPr/>
            <p:nvPr/>
          </p:nvGrpSpPr>
          <p:grpSpPr>
            <a:xfrm>
              <a:off x="7046532" y="1585984"/>
              <a:ext cx="381570" cy="432000"/>
              <a:chOff x="6975264" y="4123087"/>
              <a:chExt cx="347598" cy="393538"/>
            </a:xfrm>
            <a:solidFill>
              <a:schemeClr val="tx2"/>
            </a:solidFill>
          </p:grpSpPr>
          <p:grpSp>
            <p:nvGrpSpPr>
              <p:cNvPr id="480" name="Grafik 213">
                <a:extLst>
                  <a:ext uri="{FF2B5EF4-FFF2-40B4-BE49-F238E27FC236}">
                    <a16:creationId xmlns:a16="http://schemas.microsoft.com/office/drawing/2014/main" id="{B956542D-19C2-4B66-B7F1-138779977CF6}"/>
                  </a:ext>
                </a:extLst>
              </p:cNvPr>
              <p:cNvGrpSpPr/>
              <p:nvPr/>
            </p:nvGrpSpPr>
            <p:grpSpPr>
              <a:xfrm>
                <a:off x="6975264" y="4123087"/>
                <a:ext cx="347598" cy="393538"/>
                <a:chOff x="6975264" y="4123087"/>
                <a:chExt cx="347598" cy="393538"/>
              </a:xfrm>
              <a:grpFill/>
            </p:grpSpPr>
            <p:sp>
              <p:nvSpPr>
                <p:cNvPr id="485" name="Freihandform: Form 647">
                  <a:extLst>
                    <a:ext uri="{FF2B5EF4-FFF2-40B4-BE49-F238E27FC236}">
                      <a16:creationId xmlns:a16="http://schemas.microsoft.com/office/drawing/2014/main" id="{873C68F5-8417-4D7D-B772-93D85DD41800}"/>
                    </a:ext>
                  </a:extLst>
                </p:cNvPr>
                <p:cNvSpPr/>
                <p:nvPr/>
              </p:nvSpPr>
              <p:spPr>
                <a:xfrm>
                  <a:off x="7276945" y="4385417"/>
                  <a:ext cx="13131" cy="65615"/>
                </a:xfrm>
                <a:custGeom>
                  <a:avLst/>
                  <a:gdLst>
                    <a:gd name="connsiteX0" fmla="*/ 6566 w 13131"/>
                    <a:gd name="connsiteY0" fmla="*/ 65615 h 65615"/>
                    <a:gd name="connsiteX1" fmla="*/ 0 w 13131"/>
                    <a:gd name="connsiteY1" fmla="*/ 59049 h 65615"/>
                    <a:gd name="connsiteX2" fmla="*/ 0 w 13131"/>
                    <a:gd name="connsiteY2" fmla="*/ 6566 h 65615"/>
                    <a:gd name="connsiteX3" fmla="*/ 6566 w 13131"/>
                    <a:gd name="connsiteY3" fmla="*/ 0 h 65615"/>
                    <a:gd name="connsiteX4" fmla="*/ 13132 w 13131"/>
                    <a:gd name="connsiteY4" fmla="*/ 6566 h 65615"/>
                    <a:gd name="connsiteX5" fmla="*/ 13132 w 13131"/>
                    <a:gd name="connsiteY5" fmla="*/ 59049 h 65615"/>
                    <a:gd name="connsiteX6" fmla="*/ 6566 w 13131"/>
                    <a:gd name="connsiteY6" fmla="*/ 65615 h 6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1" h="65615">
                      <a:moveTo>
                        <a:pt x="6566" y="65615"/>
                      </a:moveTo>
                      <a:cubicBezTo>
                        <a:pt x="2935" y="65615"/>
                        <a:pt x="0" y="62680"/>
                        <a:pt x="0" y="59049"/>
                      </a:cubicBezTo>
                      <a:lnTo>
                        <a:pt x="0" y="6566"/>
                      </a:lnTo>
                      <a:cubicBezTo>
                        <a:pt x="0" y="2935"/>
                        <a:pt x="2935" y="0"/>
                        <a:pt x="6566" y="0"/>
                      </a:cubicBezTo>
                      <a:cubicBezTo>
                        <a:pt x="10197" y="0"/>
                        <a:pt x="13132" y="2935"/>
                        <a:pt x="13132" y="6566"/>
                      </a:cubicBezTo>
                      <a:lnTo>
                        <a:pt x="13132" y="59049"/>
                      </a:lnTo>
                      <a:cubicBezTo>
                        <a:pt x="13110" y="62680"/>
                        <a:pt x="10175" y="65615"/>
                        <a:pt x="6566" y="65615"/>
                      </a:cubicBezTo>
                      <a:close/>
                    </a:path>
                  </a:pathLst>
                </a:custGeom>
                <a:grpFill/>
                <a:ln w="2168" cap="flat">
                  <a:noFill/>
                  <a:prstDash val="solid"/>
                  <a:miter/>
                </a:ln>
              </p:spPr>
              <p:txBody>
                <a:bodyPr rtlCol="0" anchor="ctr"/>
                <a:lstStyle/>
                <a:p>
                  <a:endParaRPr lang="en-GB" dirty="0"/>
                </a:p>
              </p:txBody>
            </p:sp>
            <p:sp>
              <p:nvSpPr>
                <p:cNvPr id="486" name="Freihandform: Form 648">
                  <a:extLst>
                    <a:ext uri="{FF2B5EF4-FFF2-40B4-BE49-F238E27FC236}">
                      <a16:creationId xmlns:a16="http://schemas.microsoft.com/office/drawing/2014/main" id="{4CAD5854-6264-4163-9B33-8518EA4C4947}"/>
                    </a:ext>
                  </a:extLst>
                </p:cNvPr>
                <p:cNvSpPr/>
                <p:nvPr/>
              </p:nvSpPr>
              <p:spPr>
                <a:xfrm>
                  <a:off x="7283490" y="4254252"/>
                  <a:ext cx="13131" cy="111510"/>
                </a:xfrm>
                <a:custGeom>
                  <a:avLst/>
                  <a:gdLst>
                    <a:gd name="connsiteX0" fmla="*/ 6566 w 13131"/>
                    <a:gd name="connsiteY0" fmla="*/ 111511 h 111510"/>
                    <a:gd name="connsiteX1" fmla="*/ 0 w 13131"/>
                    <a:gd name="connsiteY1" fmla="*/ 104945 h 111510"/>
                    <a:gd name="connsiteX2" fmla="*/ 0 w 13131"/>
                    <a:gd name="connsiteY2" fmla="*/ 6566 h 111510"/>
                    <a:gd name="connsiteX3" fmla="*/ 6566 w 13131"/>
                    <a:gd name="connsiteY3" fmla="*/ 0 h 111510"/>
                    <a:gd name="connsiteX4" fmla="*/ 13132 w 13131"/>
                    <a:gd name="connsiteY4" fmla="*/ 6566 h 111510"/>
                    <a:gd name="connsiteX5" fmla="*/ 13132 w 13131"/>
                    <a:gd name="connsiteY5" fmla="*/ 104945 h 111510"/>
                    <a:gd name="connsiteX6" fmla="*/ 6566 w 13131"/>
                    <a:gd name="connsiteY6" fmla="*/ 111511 h 11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1" h="111510">
                      <a:moveTo>
                        <a:pt x="6566" y="111511"/>
                      </a:moveTo>
                      <a:cubicBezTo>
                        <a:pt x="2935" y="111511"/>
                        <a:pt x="0" y="108576"/>
                        <a:pt x="0" y="104945"/>
                      </a:cubicBezTo>
                      <a:lnTo>
                        <a:pt x="0" y="6566"/>
                      </a:lnTo>
                      <a:cubicBezTo>
                        <a:pt x="0" y="2935"/>
                        <a:pt x="2935" y="0"/>
                        <a:pt x="6566" y="0"/>
                      </a:cubicBezTo>
                      <a:cubicBezTo>
                        <a:pt x="10197" y="0"/>
                        <a:pt x="13132" y="2935"/>
                        <a:pt x="13132" y="6566"/>
                      </a:cubicBezTo>
                      <a:lnTo>
                        <a:pt x="13132" y="104945"/>
                      </a:lnTo>
                      <a:cubicBezTo>
                        <a:pt x="13132" y="108576"/>
                        <a:pt x="10197" y="111511"/>
                        <a:pt x="6566" y="111511"/>
                      </a:cubicBezTo>
                      <a:close/>
                    </a:path>
                  </a:pathLst>
                </a:custGeom>
                <a:grpFill/>
                <a:ln w="2168" cap="flat">
                  <a:noFill/>
                  <a:prstDash val="solid"/>
                  <a:miter/>
                </a:ln>
              </p:spPr>
              <p:txBody>
                <a:bodyPr rtlCol="0" anchor="ctr"/>
                <a:lstStyle/>
                <a:p>
                  <a:endParaRPr lang="en-GB" dirty="0"/>
                </a:p>
              </p:txBody>
            </p:sp>
            <p:sp>
              <p:nvSpPr>
                <p:cNvPr id="487" name="Freihandform: Form 649">
                  <a:extLst>
                    <a:ext uri="{FF2B5EF4-FFF2-40B4-BE49-F238E27FC236}">
                      <a16:creationId xmlns:a16="http://schemas.microsoft.com/office/drawing/2014/main" id="{2F2A8C4C-323E-4F78-BC66-AF52B23B711B}"/>
                    </a:ext>
                  </a:extLst>
                </p:cNvPr>
                <p:cNvSpPr/>
                <p:nvPr/>
              </p:nvSpPr>
              <p:spPr>
                <a:xfrm>
                  <a:off x="7014594" y="4162439"/>
                  <a:ext cx="308268" cy="354186"/>
                </a:xfrm>
                <a:custGeom>
                  <a:avLst/>
                  <a:gdLst>
                    <a:gd name="connsiteX0" fmla="*/ 268917 w 308268"/>
                    <a:gd name="connsiteY0" fmla="*/ 354186 h 354186"/>
                    <a:gd name="connsiteX1" fmla="*/ 39352 w 308268"/>
                    <a:gd name="connsiteY1" fmla="*/ 354186 h 354186"/>
                    <a:gd name="connsiteX2" fmla="*/ 0 w 308268"/>
                    <a:gd name="connsiteY2" fmla="*/ 314835 h 354186"/>
                    <a:gd name="connsiteX3" fmla="*/ 0 w 308268"/>
                    <a:gd name="connsiteY3" fmla="*/ 6566 h 354186"/>
                    <a:gd name="connsiteX4" fmla="*/ 6566 w 308268"/>
                    <a:gd name="connsiteY4" fmla="*/ 0 h 354186"/>
                    <a:gd name="connsiteX5" fmla="*/ 268917 w 308268"/>
                    <a:gd name="connsiteY5" fmla="*/ 0 h 354186"/>
                    <a:gd name="connsiteX6" fmla="*/ 275483 w 308268"/>
                    <a:gd name="connsiteY6" fmla="*/ 6566 h 354186"/>
                    <a:gd name="connsiteX7" fmla="*/ 275483 w 308268"/>
                    <a:gd name="connsiteY7" fmla="*/ 59027 h 354186"/>
                    <a:gd name="connsiteX8" fmla="*/ 268917 w 308268"/>
                    <a:gd name="connsiteY8" fmla="*/ 65593 h 354186"/>
                    <a:gd name="connsiteX9" fmla="*/ 262352 w 308268"/>
                    <a:gd name="connsiteY9" fmla="*/ 59027 h 354186"/>
                    <a:gd name="connsiteX10" fmla="*/ 262352 w 308268"/>
                    <a:gd name="connsiteY10" fmla="*/ 13110 h 354186"/>
                    <a:gd name="connsiteX11" fmla="*/ 13110 w 308268"/>
                    <a:gd name="connsiteY11" fmla="*/ 13110 h 354186"/>
                    <a:gd name="connsiteX12" fmla="*/ 13110 w 308268"/>
                    <a:gd name="connsiteY12" fmla="*/ 314813 h 354186"/>
                    <a:gd name="connsiteX13" fmla="*/ 39352 w 308268"/>
                    <a:gd name="connsiteY13" fmla="*/ 341055 h 354186"/>
                    <a:gd name="connsiteX14" fmla="*/ 65593 w 308268"/>
                    <a:gd name="connsiteY14" fmla="*/ 314813 h 354186"/>
                    <a:gd name="connsiteX15" fmla="*/ 45917 w 308268"/>
                    <a:gd name="connsiteY15" fmla="*/ 288571 h 354186"/>
                    <a:gd name="connsiteX16" fmla="*/ 39352 w 308268"/>
                    <a:gd name="connsiteY16" fmla="*/ 282006 h 354186"/>
                    <a:gd name="connsiteX17" fmla="*/ 45917 w 308268"/>
                    <a:gd name="connsiteY17" fmla="*/ 275440 h 354186"/>
                    <a:gd name="connsiteX18" fmla="*/ 275483 w 308268"/>
                    <a:gd name="connsiteY18" fmla="*/ 275440 h 354186"/>
                    <a:gd name="connsiteX19" fmla="*/ 308269 w 308268"/>
                    <a:gd name="connsiteY19" fmla="*/ 314791 h 354186"/>
                    <a:gd name="connsiteX20" fmla="*/ 268917 w 308268"/>
                    <a:gd name="connsiteY20" fmla="*/ 354186 h 354186"/>
                    <a:gd name="connsiteX21" fmla="*/ 68659 w 308268"/>
                    <a:gd name="connsiteY21" fmla="*/ 341077 h 354186"/>
                    <a:gd name="connsiteX22" fmla="*/ 268896 w 308268"/>
                    <a:gd name="connsiteY22" fmla="*/ 341077 h 354186"/>
                    <a:gd name="connsiteX23" fmla="*/ 295137 w 308268"/>
                    <a:gd name="connsiteY23" fmla="*/ 314835 h 354186"/>
                    <a:gd name="connsiteX24" fmla="*/ 275462 w 308268"/>
                    <a:gd name="connsiteY24" fmla="*/ 288593 h 354186"/>
                    <a:gd name="connsiteX25" fmla="*/ 71594 w 308268"/>
                    <a:gd name="connsiteY25" fmla="*/ 288593 h 354186"/>
                    <a:gd name="connsiteX26" fmla="*/ 78703 w 308268"/>
                    <a:gd name="connsiteY26" fmla="*/ 314835 h 354186"/>
                    <a:gd name="connsiteX27" fmla="*/ 68659 w 308268"/>
                    <a:gd name="connsiteY27" fmla="*/ 341077 h 35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8268" h="354186">
                      <a:moveTo>
                        <a:pt x="268917" y="354186"/>
                      </a:moveTo>
                      <a:lnTo>
                        <a:pt x="39352" y="354186"/>
                      </a:lnTo>
                      <a:cubicBezTo>
                        <a:pt x="17654" y="354186"/>
                        <a:pt x="0" y="336533"/>
                        <a:pt x="0" y="314835"/>
                      </a:cubicBezTo>
                      <a:lnTo>
                        <a:pt x="0" y="6566"/>
                      </a:lnTo>
                      <a:cubicBezTo>
                        <a:pt x="0" y="2935"/>
                        <a:pt x="2935" y="0"/>
                        <a:pt x="6566" y="0"/>
                      </a:cubicBezTo>
                      <a:lnTo>
                        <a:pt x="268917" y="0"/>
                      </a:lnTo>
                      <a:cubicBezTo>
                        <a:pt x="272548" y="0"/>
                        <a:pt x="275483" y="2935"/>
                        <a:pt x="275483" y="6566"/>
                      </a:cubicBezTo>
                      <a:lnTo>
                        <a:pt x="275483" y="59027"/>
                      </a:lnTo>
                      <a:cubicBezTo>
                        <a:pt x="275483" y="62658"/>
                        <a:pt x="272548" y="65593"/>
                        <a:pt x="268917" y="65593"/>
                      </a:cubicBezTo>
                      <a:cubicBezTo>
                        <a:pt x="265287" y="65593"/>
                        <a:pt x="262352" y="62658"/>
                        <a:pt x="262352" y="59027"/>
                      </a:cubicBezTo>
                      <a:lnTo>
                        <a:pt x="262352" y="13110"/>
                      </a:lnTo>
                      <a:lnTo>
                        <a:pt x="13110" y="13110"/>
                      </a:lnTo>
                      <a:lnTo>
                        <a:pt x="13110" y="314813"/>
                      </a:lnTo>
                      <a:cubicBezTo>
                        <a:pt x="13110" y="329271"/>
                        <a:pt x="24872" y="341055"/>
                        <a:pt x="39352" y="341055"/>
                      </a:cubicBezTo>
                      <a:cubicBezTo>
                        <a:pt x="53831" y="341055"/>
                        <a:pt x="65593" y="329293"/>
                        <a:pt x="65593" y="314813"/>
                      </a:cubicBezTo>
                      <a:cubicBezTo>
                        <a:pt x="65593" y="306921"/>
                        <a:pt x="63680" y="288571"/>
                        <a:pt x="45917" y="288571"/>
                      </a:cubicBezTo>
                      <a:cubicBezTo>
                        <a:pt x="42287" y="288571"/>
                        <a:pt x="39352" y="285636"/>
                        <a:pt x="39352" y="282006"/>
                      </a:cubicBezTo>
                      <a:cubicBezTo>
                        <a:pt x="39352" y="278375"/>
                        <a:pt x="42287" y="275440"/>
                        <a:pt x="45917" y="275440"/>
                      </a:cubicBezTo>
                      <a:lnTo>
                        <a:pt x="275483" y="275440"/>
                      </a:lnTo>
                      <a:cubicBezTo>
                        <a:pt x="295398" y="275440"/>
                        <a:pt x="308269" y="290876"/>
                        <a:pt x="308269" y="314791"/>
                      </a:cubicBezTo>
                      <a:cubicBezTo>
                        <a:pt x="308269" y="336533"/>
                        <a:pt x="290615" y="354186"/>
                        <a:pt x="268917" y="354186"/>
                      </a:cubicBezTo>
                      <a:close/>
                      <a:moveTo>
                        <a:pt x="68659" y="341077"/>
                      </a:moveTo>
                      <a:lnTo>
                        <a:pt x="268896" y="341077"/>
                      </a:lnTo>
                      <a:cubicBezTo>
                        <a:pt x="283375" y="341077"/>
                        <a:pt x="295137" y="329315"/>
                        <a:pt x="295137" y="314835"/>
                      </a:cubicBezTo>
                      <a:cubicBezTo>
                        <a:pt x="295137" y="306943"/>
                        <a:pt x="293224" y="288593"/>
                        <a:pt x="275462" y="288593"/>
                      </a:cubicBezTo>
                      <a:lnTo>
                        <a:pt x="71594" y="288593"/>
                      </a:lnTo>
                      <a:cubicBezTo>
                        <a:pt x="76159" y="295268"/>
                        <a:pt x="78703" y="304203"/>
                        <a:pt x="78703" y="314835"/>
                      </a:cubicBezTo>
                      <a:cubicBezTo>
                        <a:pt x="78703" y="324901"/>
                        <a:pt x="74899" y="334098"/>
                        <a:pt x="68659" y="341077"/>
                      </a:cubicBezTo>
                      <a:close/>
                    </a:path>
                  </a:pathLst>
                </a:custGeom>
                <a:grpFill/>
                <a:ln w="2168" cap="flat">
                  <a:noFill/>
                  <a:prstDash val="solid"/>
                  <a:miter/>
                </a:ln>
              </p:spPr>
              <p:txBody>
                <a:bodyPr rtlCol="0" anchor="ctr"/>
                <a:lstStyle/>
                <a:p>
                  <a:endParaRPr lang="en-GB" dirty="0"/>
                </a:p>
              </p:txBody>
            </p:sp>
            <p:sp>
              <p:nvSpPr>
                <p:cNvPr id="488" name="Freihandform: Form 650">
                  <a:extLst>
                    <a:ext uri="{FF2B5EF4-FFF2-40B4-BE49-F238E27FC236}">
                      <a16:creationId xmlns:a16="http://schemas.microsoft.com/office/drawing/2014/main" id="{C84E3913-B7FE-4AE8-A30B-ECD3AC01345D}"/>
                    </a:ext>
                  </a:extLst>
                </p:cNvPr>
                <p:cNvSpPr/>
                <p:nvPr/>
              </p:nvSpPr>
              <p:spPr>
                <a:xfrm>
                  <a:off x="6975264" y="4123087"/>
                  <a:ext cx="275483" cy="347620"/>
                </a:xfrm>
                <a:custGeom>
                  <a:avLst/>
                  <a:gdLst>
                    <a:gd name="connsiteX0" fmla="*/ 19632 w 275483"/>
                    <a:gd name="connsiteY0" fmla="*/ 347621 h 347620"/>
                    <a:gd name="connsiteX1" fmla="*/ 15697 w 275483"/>
                    <a:gd name="connsiteY1" fmla="*/ 346295 h 347620"/>
                    <a:gd name="connsiteX2" fmla="*/ 0 w 275483"/>
                    <a:gd name="connsiteY2" fmla="*/ 314835 h 347620"/>
                    <a:gd name="connsiteX3" fmla="*/ 0 w 275483"/>
                    <a:gd name="connsiteY3" fmla="*/ 6566 h 347620"/>
                    <a:gd name="connsiteX4" fmla="*/ 6566 w 275483"/>
                    <a:gd name="connsiteY4" fmla="*/ 0 h 347620"/>
                    <a:gd name="connsiteX5" fmla="*/ 268917 w 275483"/>
                    <a:gd name="connsiteY5" fmla="*/ 0 h 347620"/>
                    <a:gd name="connsiteX6" fmla="*/ 275483 w 275483"/>
                    <a:gd name="connsiteY6" fmla="*/ 6566 h 347620"/>
                    <a:gd name="connsiteX7" fmla="*/ 275483 w 275483"/>
                    <a:gd name="connsiteY7" fmla="*/ 19676 h 347620"/>
                    <a:gd name="connsiteX8" fmla="*/ 268917 w 275483"/>
                    <a:gd name="connsiteY8" fmla="*/ 26242 h 347620"/>
                    <a:gd name="connsiteX9" fmla="*/ 262352 w 275483"/>
                    <a:gd name="connsiteY9" fmla="*/ 19676 h 347620"/>
                    <a:gd name="connsiteX10" fmla="*/ 262352 w 275483"/>
                    <a:gd name="connsiteY10" fmla="*/ 13110 h 347620"/>
                    <a:gd name="connsiteX11" fmla="*/ 13088 w 275483"/>
                    <a:gd name="connsiteY11" fmla="*/ 13110 h 347620"/>
                    <a:gd name="connsiteX12" fmla="*/ 13088 w 275483"/>
                    <a:gd name="connsiteY12" fmla="*/ 314813 h 347620"/>
                    <a:gd name="connsiteX13" fmla="*/ 23568 w 275483"/>
                    <a:gd name="connsiteY13" fmla="*/ 335794 h 347620"/>
                    <a:gd name="connsiteX14" fmla="*/ 24850 w 275483"/>
                    <a:gd name="connsiteY14" fmla="*/ 344968 h 347620"/>
                    <a:gd name="connsiteX15" fmla="*/ 19632 w 275483"/>
                    <a:gd name="connsiteY15" fmla="*/ 347621 h 34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5483" h="347620">
                      <a:moveTo>
                        <a:pt x="19632" y="347621"/>
                      </a:moveTo>
                      <a:cubicBezTo>
                        <a:pt x="18263" y="347621"/>
                        <a:pt x="16871" y="347186"/>
                        <a:pt x="15697" y="346295"/>
                      </a:cubicBezTo>
                      <a:cubicBezTo>
                        <a:pt x="5718" y="338794"/>
                        <a:pt x="0" y="327315"/>
                        <a:pt x="0" y="314835"/>
                      </a:cubicBezTo>
                      <a:lnTo>
                        <a:pt x="0" y="6566"/>
                      </a:lnTo>
                      <a:cubicBezTo>
                        <a:pt x="0" y="2935"/>
                        <a:pt x="2935" y="0"/>
                        <a:pt x="6566" y="0"/>
                      </a:cubicBezTo>
                      <a:lnTo>
                        <a:pt x="268917" y="0"/>
                      </a:lnTo>
                      <a:cubicBezTo>
                        <a:pt x="272548" y="0"/>
                        <a:pt x="275483" y="2935"/>
                        <a:pt x="275483" y="6566"/>
                      </a:cubicBezTo>
                      <a:lnTo>
                        <a:pt x="275483" y="19676"/>
                      </a:lnTo>
                      <a:cubicBezTo>
                        <a:pt x="275483" y="23307"/>
                        <a:pt x="272548" y="26242"/>
                        <a:pt x="268917" y="26242"/>
                      </a:cubicBezTo>
                      <a:cubicBezTo>
                        <a:pt x="265287" y="26242"/>
                        <a:pt x="262352" y="23307"/>
                        <a:pt x="262352" y="19676"/>
                      </a:cubicBezTo>
                      <a:lnTo>
                        <a:pt x="262352" y="13110"/>
                      </a:lnTo>
                      <a:lnTo>
                        <a:pt x="13088" y="13110"/>
                      </a:lnTo>
                      <a:lnTo>
                        <a:pt x="13088" y="314813"/>
                      </a:lnTo>
                      <a:cubicBezTo>
                        <a:pt x="13088" y="323140"/>
                        <a:pt x="16915" y="330771"/>
                        <a:pt x="23568" y="335794"/>
                      </a:cubicBezTo>
                      <a:cubicBezTo>
                        <a:pt x="26459" y="337968"/>
                        <a:pt x="27046" y="342077"/>
                        <a:pt x="24850" y="344968"/>
                      </a:cubicBezTo>
                      <a:cubicBezTo>
                        <a:pt x="23589" y="346708"/>
                        <a:pt x="21611" y="347621"/>
                        <a:pt x="19632" y="347621"/>
                      </a:cubicBezTo>
                      <a:close/>
                    </a:path>
                  </a:pathLst>
                </a:custGeom>
                <a:grpFill/>
                <a:ln w="2168" cap="flat">
                  <a:noFill/>
                  <a:prstDash val="solid"/>
                  <a:miter/>
                </a:ln>
              </p:spPr>
              <p:txBody>
                <a:bodyPr rtlCol="0" anchor="ctr"/>
                <a:lstStyle/>
                <a:p>
                  <a:endParaRPr lang="en-GB" dirty="0"/>
                </a:p>
              </p:txBody>
            </p:sp>
          </p:grpSp>
          <p:sp>
            <p:nvSpPr>
              <p:cNvPr id="481" name="Freihandform: Form 651">
                <a:extLst>
                  <a:ext uri="{FF2B5EF4-FFF2-40B4-BE49-F238E27FC236}">
                    <a16:creationId xmlns:a16="http://schemas.microsoft.com/office/drawing/2014/main" id="{8CC54492-CB5C-47F7-ADC8-7CA1F5420D06}"/>
                  </a:ext>
                </a:extLst>
              </p:cNvPr>
              <p:cNvSpPr/>
              <p:nvPr/>
            </p:nvSpPr>
            <p:spPr>
              <a:xfrm>
                <a:off x="7060490" y="4280493"/>
                <a:ext cx="78725" cy="13131"/>
              </a:xfrm>
              <a:custGeom>
                <a:avLst/>
                <a:gdLst>
                  <a:gd name="connsiteX0" fmla="*/ 72159 w 78725"/>
                  <a:gd name="connsiteY0" fmla="*/ 13132 h 13131"/>
                  <a:gd name="connsiteX1" fmla="*/ 6566 w 78725"/>
                  <a:gd name="connsiteY1" fmla="*/ 13132 h 13131"/>
                  <a:gd name="connsiteX2" fmla="*/ 0 w 78725"/>
                  <a:gd name="connsiteY2" fmla="*/ 6566 h 13131"/>
                  <a:gd name="connsiteX3" fmla="*/ 6566 w 78725"/>
                  <a:gd name="connsiteY3" fmla="*/ 0 h 13131"/>
                  <a:gd name="connsiteX4" fmla="*/ 72159 w 78725"/>
                  <a:gd name="connsiteY4" fmla="*/ 0 h 13131"/>
                  <a:gd name="connsiteX5" fmla="*/ 78725 w 78725"/>
                  <a:gd name="connsiteY5" fmla="*/ 6566 h 13131"/>
                  <a:gd name="connsiteX6" fmla="*/ 72159 w 78725"/>
                  <a:gd name="connsiteY6" fmla="*/ 13132 h 1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725" h="13131">
                    <a:moveTo>
                      <a:pt x="72159" y="13132"/>
                    </a:moveTo>
                    <a:lnTo>
                      <a:pt x="6566" y="13132"/>
                    </a:lnTo>
                    <a:cubicBezTo>
                      <a:pt x="2935" y="13132"/>
                      <a:pt x="0" y="10197"/>
                      <a:pt x="0" y="6566"/>
                    </a:cubicBezTo>
                    <a:cubicBezTo>
                      <a:pt x="0" y="2935"/>
                      <a:pt x="2935" y="0"/>
                      <a:pt x="6566" y="0"/>
                    </a:cubicBezTo>
                    <a:lnTo>
                      <a:pt x="72159" y="0"/>
                    </a:lnTo>
                    <a:cubicBezTo>
                      <a:pt x="75790" y="0"/>
                      <a:pt x="78725" y="2935"/>
                      <a:pt x="78725" y="6566"/>
                    </a:cubicBezTo>
                    <a:cubicBezTo>
                      <a:pt x="78725" y="10197"/>
                      <a:pt x="75790" y="13132"/>
                      <a:pt x="72159" y="13132"/>
                    </a:cubicBezTo>
                    <a:close/>
                  </a:path>
                </a:pathLst>
              </a:custGeom>
              <a:grpFill/>
              <a:ln w="2168" cap="flat">
                <a:noFill/>
                <a:prstDash val="solid"/>
                <a:miter/>
              </a:ln>
            </p:spPr>
            <p:txBody>
              <a:bodyPr rtlCol="0" anchor="ctr"/>
              <a:lstStyle/>
              <a:p>
                <a:endParaRPr lang="en-GB" dirty="0"/>
              </a:p>
            </p:txBody>
          </p:sp>
          <p:sp>
            <p:nvSpPr>
              <p:cNvPr id="482" name="Freihandform: Form 652">
                <a:extLst>
                  <a:ext uri="{FF2B5EF4-FFF2-40B4-BE49-F238E27FC236}">
                    <a16:creationId xmlns:a16="http://schemas.microsoft.com/office/drawing/2014/main" id="{79575DE4-2CBD-489D-A9FF-B7E23B218C5E}"/>
                  </a:ext>
                </a:extLst>
              </p:cNvPr>
              <p:cNvSpPr/>
              <p:nvPr/>
            </p:nvSpPr>
            <p:spPr>
              <a:xfrm>
                <a:off x="7060511" y="4234576"/>
                <a:ext cx="91834" cy="13131"/>
              </a:xfrm>
              <a:custGeom>
                <a:avLst/>
                <a:gdLst>
                  <a:gd name="connsiteX0" fmla="*/ 85269 w 91834"/>
                  <a:gd name="connsiteY0" fmla="*/ 13132 h 13131"/>
                  <a:gd name="connsiteX1" fmla="*/ 6566 w 91834"/>
                  <a:gd name="connsiteY1" fmla="*/ 13132 h 13131"/>
                  <a:gd name="connsiteX2" fmla="*/ 0 w 91834"/>
                  <a:gd name="connsiteY2" fmla="*/ 6566 h 13131"/>
                  <a:gd name="connsiteX3" fmla="*/ 6566 w 91834"/>
                  <a:gd name="connsiteY3" fmla="*/ 0 h 13131"/>
                  <a:gd name="connsiteX4" fmla="*/ 85269 w 91834"/>
                  <a:gd name="connsiteY4" fmla="*/ 0 h 13131"/>
                  <a:gd name="connsiteX5" fmla="*/ 91835 w 91834"/>
                  <a:gd name="connsiteY5" fmla="*/ 6566 h 13131"/>
                  <a:gd name="connsiteX6" fmla="*/ 85269 w 91834"/>
                  <a:gd name="connsiteY6" fmla="*/ 13132 h 1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834" h="13131">
                    <a:moveTo>
                      <a:pt x="85269" y="13132"/>
                    </a:moveTo>
                    <a:lnTo>
                      <a:pt x="6566" y="13132"/>
                    </a:lnTo>
                    <a:cubicBezTo>
                      <a:pt x="2935" y="13132"/>
                      <a:pt x="0" y="10197"/>
                      <a:pt x="0" y="6566"/>
                    </a:cubicBezTo>
                    <a:cubicBezTo>
                      <a:pt x="0" y="2935"/>
                      <a:pt x="2935" y="0"/>
                      <a:pt x="6566" y="0"/>
                    </a:cubicBezTo>
                    <a:lnTo>
                      <a:pt x="85269" y="0"/>
                    </a:lnTo>
                    <a:cubicBezTo>
                      <a:pt x="88900" y="0"/>
                      <a:pt x="91835" y="2935"/>
                      <a:pt x="91835" y="6566"/>
                    </a:cubicBezTo>
                    <a:cubicBezTo>
                      <a:pt x="91813" y="10197"/>
                      <a:pt x="88878" y="13132"/>
                      <a:pt x="85269" y="13132"/>
                    </a:cubicBezTo>
                    <a:close/>
                  </a:path>
                </a:pathLst>
              </a:custGeom>
              <a:grpFill/>
              <a:ln w="2168" cap="flat">
                <a:noFill/>
                <a:prstDash val="solid"/>
                <a:miter/>
              </a:ln>
            </p:spPr>
            <p:txBody>
              <a:bodyPr rtlCol="0" anchor="ctr"/>
              <a:lstStyle/>
              <a:p>
                <a:endParaRPr lang="en-GB" dirty="0"/>
              </a:p>
            </p:txBody>
          </p:sp>
          <p:sp>
            <p:nvSpPr>
              <p:cNvPr id="483" name="Freihandform: Form 653">
                <a:extLst>
                  <a:ext uri="{FF2B5EF4-FFF2-40B4-BE49-F238E27FC236}">
                    <a16:creationId xmlns:a16="http://schemas.microsoft.com/office/drawing/2014/main" id="{0D9C070E-BFC4-4D93-8B45-F95CBDC2F879}"/>
                  </a:ext>
                </a:extLst>
              </p:cNvPr>
              <p:cNvSpPr/>
              <p:nvPr/>
            </p:nvSpPr>
            <p:spPr>
              <a:xfrm>
                <a:off x="7060511" y="4326411"/>
                <a:ext cx="85269" cy="13131"/>
              </a:xfrm>
              <a:custGeom>
                <a:avLst/>
                <a:gdLst>
                  <a:gd name="connsiteX0" fmla="*/ 78703 w 85269"/>
                  <a:gd name="connsiteY0" fmla="*/ 13132 h 13131"/>
                  <a:gd name="connsiteX1" fmla="*/ 6566 w 85269"/>
                  <a:gd name="connsiteY1" fmla="*/ 13132 h 13131"/>
                  <a:gd name="connsiteX2" fmla="*/ 0 w 85269"/>
                  <a:gd name="connsiteY2" fmla="*/ 6566 h 13131"/>
                  <a:gd name="connsiteX3" fmla="*/ 6566 w 85269"/>
                  <a:gd name="connsiteY3" fmla="*/ 0 h 13131"/>
                  <a:gd name="connsiteX4" fmla="*/ 78703 w 85269"/>
                  <a:gd name="connsiteY4" fmla="*/ 0 h 13131"/>
                  <a:gd name="connsiteX5" fmla="*/ 85269 w 85269"/>
                  <a:gd name="connsiteY5" fmla="*/ 6566 h 13131"/>
                  <a:gd name="connsiteX6" fmla="*/ 78703 w 85269"/>
                  <a:gd name="connsiteY6" fmla="*/ 13132 h 1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269" h="13131">
                    <a:moveTo>
                      <a:pt x="78703" y="13132"/>
                    </a:moveTo>
                    <a:lnTo>
                      <a:pt x="6566" y="13132"/>
                    </a:lnTo>
                    <a:cubicBezTo>
                      <a:pt x="2935" y="13132"/>
                      <a:pt x="0" y="10197"/>
                      <a:pt x="0" y="6566"/>
                    </a:cubicBezTo>
                    <a:cubicBezTo>
                      <a:pt x="0" y="2935"/>
                      <a:pt x="2935" y="0"/>
                      <a:pt x="6566" y="0"/>
                    </a:cubicBezTo>
                    <a:lnTo>
                      <a:pt x="78703" y="0"/>
                    </a:lnTo>
                    <a:cubicBezTo>
                      <a:pt x="82334" y="0"/>
                      <a:pt x="85269" y="2935"/>
                      <a:pt x="85269" y="6566"/>
                    </a:cubicBezTo>
                    <a:cubicBezTo>
                      <a:pt x="85269" y="10197"/>
                      <a:pt x="82334" y="13132"/>
                      <a:pt x="78703" y="13132"/>
                    </a:cubicBezTo>
                    <a:close/>
                  </a:path>
                </a:pathLst>
              </a:custGeom>
              <a:grpFill/>
              <a:ln w="2168" cap="flat">
                <a:noFill/>
                <a:prstDash val="solid"/>
                <a:miter/>
              </a:ln>
            </p:spPr>
            <p:txBody>
              <a:bodyPr rtlCol="0" anchor="ctr"/>
              <a:lstStyle/>
              <a:p>
                <a:endParaRPr lang="en-GB" dirty="0"/>
              </a:p>
            </p:txBody>
          </p:sp>
          <p:sp>
            <p:nvSpPr>
              <p:cNvPr id="484" name="Freihandform: Form 654">
                <a:extLst>
                  <a:ext uri="{FF2B5EF4-FFF2-40B4-BE49-F238E27FC236}">
                    <a16:creationId xmlns:a16="http://schemas.microsoft.com/office/drawing/2014/main" id="{BAB5C781-42FE-4E70-8B4E-BFBB0E46FDDF}"/>
                  </a:ext>
                </a:extLst>
              </p:cNvPr>
              <p:cNvSpPr/>
              <p:nvPr/>
            </p:nvSpPr>
            <p:spPr>
              <a:xfrm>
                <a:off x="7060511" y="4372328"/>
                <a:ext cx="111510" cy="13131"/>
              </a:xfrm>
              <a:custGeom>
                <a:avLst/>
                <a:gdLst>
                  <a:gd name="connsiteX0" fmla="*/ 104945 w 111510"/>
                  <a:gd name="connsiteY0" fmla="*/ 13132 h 13131"/>
                  <a:gd name="connsiteX1" fmla="*/ 6566 w 111510"/>
                  <a:gd name="connsiteY1" fmla="*/ 13132 h 13131"/>
                  <a:gd name="connsiteX2" fmla="*/ 0 w 111510"/>
                  <a:gd name="connsiteY2" fmla="*/ 6566 h 13131"/>
                  <a:gd name="connsiteX3" fmla="*/ 6566 w 111510"/>
                  <a:gd name="connsiteY3" fmla="*/ 0 h 13131"/>
                  <a:gd name="connsiteX4" fmla="*/ 104945 w 111510"/>
                  <a:gd name="connsiteY4" fmla="*/ 0 h 13131"/>
                  <a:gd name="connsiteX5" fmla="*/ 111511 w 111510"/>
                  <a:gd name="connsiteY5" fmla="*/ 6566 h 13131"/>
                  <a:gd name="connsiteX6" fmla="*/ 104945 w 111510"/>
                  <a:gd name="connsiteY6" fmla="*/ 13132 h 1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510" h="13131">
                    <a:moveTo>
                      <a:pt x="104945" y="13132"/>
                    </a:moveTo>
                    <a:lnTo>
                      <a:pt x="6566" y="13132"/>
                    </a:lnTo>
                    <a:cubicBezTo>
                      <a:pt x="2935" y="13132"/>
                      <a:pt x="0" y="10197"/>
                      <a:pt x="0" y="6566"/>
                    </a:cubicBezTo>
                    <a:cubicBezTo>
                      <a:pt x="0" y="2935"/>
                      <a:pt x="2935" y="0"/>
                      <a:pt x="6566" y="0"/>
                    </a:cubicBezTo>
                    <a:lnTo>
                      <a:pt x="104945" y="0"/>
                    </a:lnTo>
                    <a:cubicBezTo>
                      <a:pt x="108576" y="0"/>
                      <a:pt x="111511" y="2935"/>
                      <a:pt x="111511" y="6566"/>
                    </a:cubicBezTo>
                    <a:cubicBezTo>
                      <a:pt x="111489" y="10175"/>
                      <a:pt x="108554" y="13132"/>
                      <a:pt x="104945" y="13132"/>
                    </a:cubicBezTo>
                    <a:close/>
                  </a:path>
                </a:pathLst>
              </a:custGeom>
              <a:grpFill/>
              <a:ln w="2168" cap="flat">
                <a:noFill/>
                <a:prstDash val="solid"/>
                <a:miter/>
              </a:ln>
            </p:spPr>
            <p:txBody>
              <a:bodyPr rtlCol="0" anchor="ctr"/>
              <a:lstStyle/>
              <a:p>
                <a:endParaRPr lang="en-GB" dirty="0"/>
              </a:p>
            </p:txBody>
          </p:sp>
        </p:grpSp>
        <p:grpSp>
          <p:nvGrpSpPr>
            <p:cNvPr id="476" name="Grafik 213">
              <a:extLst>
                <a:ext uri="{FF2B5EF4-FFF2-40B4-BE49-F238E27FC236}">
                  <a16:creationId xmlns:a16="http://schemas.microsoft.com/office/drawing/2014/main" id="{29BFE2C6-1E5B-4D02-9A30-B0272DDC2459}"/>
                </a:ext>
              </a:extLst>
            </p:cNvPr>
            <p:cNvGrpSpPr/>
            <p:nvPr/>
          </p:nvGrpSpPr>
          <p:grpSpPr>
            <a:xfrm>
              <a:off x="7248153" y="1681872"/>
              <a:ext cx="303559" cy="226375"/>
              <a:chOff x="7158934" y="4210438"/>
              <a:chExt cx="276533" cy="206220"/>
            </a:xfrm>
            <a:solidFill>
              <a:schemeClr val="accent1"/>
            </a:solidFill>
          </p:grpSpPr>
          <p:sp>
            <p:nvSpPr>
              <p:cNvPr id="477" name="Freihandform: Form 656">
                <a:extLst>
                  <a:ext uri="{FF2B5EF4-FFF2-40B4-BE49-F238E27FC236}">
                    <a16:creationId xmlns:a16="http://schemas.microsoft.com/office/drawing/2014/main" id="{64CD3A9C-DFDF-48C7-9516-9CD17CFC6E23}"/>
                  </a:ext>
                </a:extLst>
              </p:cNvPr>
              <p:cNvSpPr/>
              <p:nvPr/>
            </p:nvSpPr>
            <p:spPr>
              <a:xfrm>
                <a:off x="7158934" y="4210438"/>
                <a:ext cx="170604" cy="170565"/>
              </a:xfrm>
              <a:custGeom>
                <a:avLst/>
                <a:gdLst>
                  <a:gd name="connsiteX0" fmla="*/ 85161 w 170604"/>
                  <a:gd name="connsiteY0" fmla="*/ 170565 h 170565"/>
                  <a:gd name="connsiteX1" fmla="*/ 42852 w 170604"/>
                  <a:gd name="connsiteY1" fmla="*/ 159260 h 170565"/>
                  <a:gd name="connsiteX2" fmla="*/ 3001 w 170604"/>
                  <a:gd name="connsiteY2" fmla="*/ 107581 h 170565"/>
                  <a:gd name="connsiteX3" fmla="*/ 11349 w 170604"/>
                  <a:gd name="connsiteY3" fmla="*/ 42857 h 170565"/>
                  <a:gd name="connsiteX4" fmla="*/ 63028 w 170604"/>
                  <a:gd name="connsiteY4" fmla="*/ 3006 h 170565"/>
                  <a:gd name="connsiteX5" fmla="*/ 127752 w 170604"/>
                  <a:gd name="connsiteY5" fmla="*/ 11354 h 170565"/>
                  <a:gd name="connsiteX6" fmla="*/ 167604 w 170604"/>
                  <a:gd name="connsiteY6" fmla="*/ 63033 h 170565"/>
                  <a:gd name="connsiteX7" fmla="*/ 159255 w 170604"/>
                  <a:gd name="connsiteY7" fmla="*/ 127757 h 170565"/>
                  <a:gd name="connsiteX8" fmla="*/ 85161 w 170604"/>
                  <a:gd name="connsiteY8" fmla="*/ 170565 h 170565"/>
                  <a:gd name="connsiteX9" fmla="*/ 85422 w 170604"/>
                  <a:gd name="connsiteY9" fmla="*/ 13159 h 170565"/>
                  <a:gd name="connsiteX10" fmla="*/ 66463 w 170604"/>
                  <a:gd name="connsiteY10" fmla="*/ 15702 h 170565"/>
                  <a:gd name="connsiteX11" fmla="*/ 22742 w 170604"/>
                  <a:gd name="connsiteY11" fmla="*/ 49423 h 170565"/>
                  <a:gd name="connsiteX12" fmla="*/ 15676 w 170604"/>
                  <a:gd name="connsiteY12" fmla="*/ 104189 h 170565"/>
                  <a:gd name="connsiteX13" fmla="*/ 49396 w 170604"/>
                  <a:gd name="connsiteY13" fmla="*/ 147911 h 170565"/>
                  <a:gd name="connsiteX14" fmla="*/ 104163 w 170604"/>
                  <a:gd name="connsiteY14" fmla="*/ 154977 h 170565"/>
                  <a:gd name="connsiteX15" fmla="*/ 147884 w 170604"/>
                  <a:gd name="connsiteY15" fmla="*/ 121256 h 170565"/>
                  <a:gd name="connsiteX16" fmla="*/ 154950 w 170604"/>
                  <a:gd name="connsiteY16" fmla="*/ 66490 h 170565"/>
                  <a:gd name="connsiteX17" fmla="*/ 121230 w 170604"/>
                  <a:gd name="connsiteY17" fmla="*/ 22768 h 170565"/>
                  <a:gd name="connsiteX18" fmla="*/ 121230 w 170604"/>
                  <a:gd name="connsiteY18" fmla="*/ 22768 h 170565"/>
                  <a:gd name="connsiteX19" fmla="*/ 85422 w 170604"/>
                  <a:gd name="connsiteY19" fmla="*/ 13159 h 170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0604" h="170565">
                    <a:moveTo>
                      <a:pt x="85161" y="170565"/>
                    </a:moveTo>
                    <a:cubicBezTo>
                      <a:pt x="70768" y="170565"/>
                      <a:pt x="56201" y="166935"/>
                      <a:pt x="42852" y="159260"/>
                    </a:cubicBezTo>
                    <a:cubicBezTo>
                      <a:pt x="23090" y="147933"/>
                      <a:pt x="8936" y="129583"/>
                      <a:pt x="3001" y="107581"/>
                    </a:cubicBezTo>
                    <a:cubicBezTo>
                      <a:pt x="-2957" y="85601"/>
                      <a:pt x="22" y="62620"/>
                      <a:pt x="11349" y="42857"/>
                    </a:cubicBezTo>
                    <a:cubicBezTo>
                      <a:pt x="22677" y="23094"/>
                      <a:pt x="41026" y="8941"/>
                      <a:pt x="63028" y="3006"/>
                    </a:cubicBezTo>
                    <a:cubicBezTo>
                      <a:pt x="84987" y="-2952"/>
                      <a:pt x="107989" y="5"/>
                      <a:pt x="127752" y="11354"/>
                    </a:cubicBezTo>
                    <a:cubicBezTo>
                      <a:pt x="147515" y="22681"/>
                      <a:pt x="161668" y="41031"/>
                      <a:pt x="167604" y="63033"/>
                    </a:cubicBezTo>
                    <a:cubicBezTo>
                      <a:pt x="173561" y="85013"/>
                      <a:pt x="170582" y="107994"/>
                      <a:pt x="159255" y="127757"/>
                    </a:cubicBezTo>
                    <a:cubicBezTo>
                      <a:pt x="143514" y="155194"/>
                      <a:pt x="114729" y="170565"/>
                      <a:pt x="85161" y="170565"/>
                    </a:cubicBezTo>
                    <a:close/>
                    <a:moveTo>
                      <a:pt x="85422" y="13159"/>
                    </a:moveTo>
                    <a:cubicBezTo>
                      <a:pt x="79095" y="13159"/>
                      <a:pt x="72725" y="14006"/>
                      <a:pt x="66463" y="15702"/>
                    </a:cubicBezTo>
                    <a:cubicBezTo>
                      <a:pt x="47853" y="20746"/>
                      <a:pt x="32330" y="32726"/>
                      <a:pt x="22742" y="49423"/>
                    </a:cubicBezTo>
                    <a:cubicBezTo>
                      <a:pt x="13154" y="66142"/>
                      <a:pt x="10632" y="85579"/>
                      <a:pt x="15676" y="104189"/>
                    </a:cubicBezTo>
                    <a:cubicBezTo>
                      <a:pt x="20720" y="122800"/>
                      <a:pt x="32677" y="138323"/>
                      <a:pt x="49396" y="147911"/>
                    </a:cubicBezTo>
                    <a:cubicBezTo>
                      <a:pt x="66115" y="157499"/>
                      <a:pt x="85574" y="160021"/>
                      <a:pt x="104163" y="154977"/>
                    </a:cubicBezTo>
                    <a:cubicBezTo>
                      <a:pt x="122773" y="149933"/>
                      <a:pt x="138296" y="137975"/>
                      <a:pt x="147884" y="121256"/>
                    </a:cubicBezTo>
                    <a:cubicBezTo>
                      <a:pt x="157472" y="104537"/>
                      <a:pt x="159994" y="85101"/>
                      <a:pt x="154950" y="66490"/>
                    </a:cubicBezTo>
                    <a:cubicBezTo>
                      <a:pt x="149906" y="47880"/>
                      <a:pt x="137949" y="32356"/>
                      <a:pt x="121230" y="22768"/>
                    </a:cubicBezTo>
                    <a:lnTo>
                      <a:pt x="121230" y="22768"/>
                    </a:lnTo>
                    <a:cubicBezTo>
                      <a:pt x="110141" y="16398"/>
                      <a:pt x="97858" y="13159"/>
                      <a:pt x="85422" y="13159"/>
                    </a:cubicBezTo>
                    <a:close/>
                  </a:path>
                </a:pathLst>
              </a:custGeom>
              <a:solidFill>
                <a:schemeClr val="accent1"/>
              </a:solidFill>
              <a:ln w="2168" cap="flat">
                <a:noFill/>
                <a:prstDash val="solid"/>
                <a:miter/>
              </a:ln>
            </p:spPr>
            <p:txBody>
              <a:bodyPr rtlCol="0" anchor="ctr"/>
              <a:lstStyle/>
              <a:p>
                <a:endParaRPr lang="en-GB" dirty="0"/>
              </a:p>
            </p:txBody>
          </p:sp>
          <p:sp>
            <p:nvSpPr>
              <p:cNvPr id="478" name="Freihandform: Form 657">
                <a:extLst>
                  <a:ext uri="{FF2B5EF4-FFF2-40B4-BE49-F238E27FC236}">
                    <a16:creationId xmlns:a16="http://schemas.microsoft.com/office/drawing/2014/main" id="{27E2DEAB-FEAA-46EC-9FD8-2409A3BB4C6C}"/>
                  </a:ext>
                </a:extLst>
              </p:cNvPr>
              <p:cNvSpPr/>
              <p:nvPr/>
            </p:nvSpPr>
            <p:spPr>
              <a:xfrm rot="-3609039">
                <a:off x="7328521" y="4321683"/>
                <a:ext cx="13109" cy="52459"/>
              </a:xfrm>
              <a:custGeom>
                <a:avLst/>
                <a:gdLst>
                  <a:gd name="connsiteX0" fmla="*/ 0 w 13109"/>
                  <a:gd name="connsiteY0" fmla="*/ 0 h 52459"/>
                  <a:gd name="connsiteX1" fmla="*/ 13109 w 13109"/>
                  <a:gd name="connsiteY1" fmla="*/ 0 h 52459"/>
                  <a:gd name="connsiteX2" fmla="*/ 13109 w 13109"/>
                  <a:gd name="connsiteY2" fmla="*/ 52459 h 52459"/>
                  <a:gd name="connsiteX3" fmla="*/ 0 w 13109"/>
                  <a:gd name="connsiteY3" fmla="*/ 52459 h 52459"/>
                </a:gdLst>
                <a:ahLst/>
                <a:cxnLst>
                  <a:cxn ang="0">
                    <a:pos x="connsiteX0" y="connsiteY0"/>
                  </a:cxn>
                  <a:cxn ang="0">
                    <a:pos x="connsiteX1" y="connsiteY1"/>
                  </a:cxn>
                  <a:cxn ang="0">
                    <a:pos x="connsiteX2" y="connsiteY2"/>
                  </a:cxn>
                  <a:cxn ang="0">
                    <a:pos x="connsiteX3" y="connsiteY3"/>
                  </a:cxn>
                </a:cxnLst>
                <a:rect l="l" t="t" r="r" b="b"/>
                <a:pathLst>
                  <a:path w="13109" h="52459">
                    <a:moveTo>
                      <a:pt x="0" y="0"/>
                    </a:moveTo>
                    <a:lnTo>
                      <a:pt x="13109" y="0"/>
                    </a:lnTo>
                    <a:lnTo>
                      <a:pt x="13109" y="52459"/>
                    </a:lnTo>
                    <a:lnTo>
                      <a:pt x="0" y="52459"/>
                    </a:lnTo>
                    <a:close/>
                  </a:path>
                </a:pathLst>
              </a:custGeom>
              <a:solidFill>
                <a:schemeClr val="accent1"/>
              </a:solidFill>
              <a:ln w="2168" cap="flat">
                <a:noFill/>
                <a:prstDash val="solid"/>
                <a:miter/>
              </a:ln>
            </p:spPr>
            <p:txBody>
              <a:bodyPr rtlCol="0" anchor="ctr"/>
              <a:lstStyle/>
              <a:p>
                <a:endParaRPr lang="en-GB" dirty="0"/>
              </a:p>
            </p:txBody>
          </p:sp>
          <p:sp>
            <p:nvSpPr>
              <p:cNvPr id="479" name="Freihandform: Form 658">
                <a:extLst>
                  <a:ext uri="{FF2B5EF4-FFF2-40B4-BE49-F238E27FC236}">
                    <a16:creationId xmlns:a16="http://schemas.microsoft.com/office/drawing/2014/main" id="{97C72E82-ECE8-4562-B849-9A78A0E5D49B}"/>
                  </a:ext>
                </a:extLst>
              </p:cNvPr>
              <p:cNvSpPr/>
              <p:nvPr/>
            </p:nvSpPr>
            <p:spPr>
              <a:xfrm>
                <a:off x="7335970" y="4334134"/>
                <a:ext cx="99497" cy="82525"/>
              </a:xfrm>
              <a:custGeom>
                <a:avLst/>
                <a:gdLst>
                  <a:gd name="connsiteX0" fmla="*/ 73184 w 99497"/>
                  <a:gd name="connsiteY0" fmla="*/ 82525 h 82525"/>
                  <a:gd name="connsiteX1" fmla="*/ 60161 w 99497"/>
                  <a:gd name="connsiteY1" fmla="*/ 79046 h 82525"/>
                  <a:gd name="connsiteX2" fmla="*/ 3286 w 99497"/>
                  <a:gd name="connsiteY2" fmla="*/ 46391 h 82525"/>
                  <a:gd name="connsiteX3" fmla="*/ 872 w 99497"/>
                  <a:gd name="connsiteY3" fmla="*/ 37434 h 82525"/>
                  <a:gd name="connsiteX4" fmla="*/ 20461 w 99497"/>
                  <a:gd name="connsiteY4" fmla="*/ 3300 h 82525"/>
                  <a:gd name="connsiteX5" fmla="*/ 29418 w 99497"/>
                  <a:gd name="connsiteY5" fmla="*/ 887 h 82525"/>
                  <a:gd name="connsiteX6" fmla="*/ 86315 w 99497"/>
                  <a:gd name="connsiteY6" fmla="*/ 33542 h 82525"/>
                  <a:gd name="connsiteX7" fmla="*/ 98577 w 99497"/>
                  <a:gd name="connsiteY7" fmla="*/ 49435 h 82525"/>
                  <a:gd name="connsiteX8" fmla="*/ 96012 w 99497"/>
                  <a:gd name="connsiteY8" fmla="*/ 69350 h 82525"/>
                  <a:gd name="connsiteX9" fmla="*/ 73184 w 99497"/>
                  <a:gd name="connsiteY9" fmla="*/ 82525 h 82525"/>
                  <a:gd name="connsiteX10" fmla="*/ 15504 w 99497"/>
                  <a:gd name="connsiteY10" fmla="*/ 38303 h 82525"/>
                  <a:gd name="connsiteX11" fmla="*/ 66705 w 99497"/>
                  <a:gd name="connsiteY11" fmla="*/ 67698 h 82525"/>
                  <a:gd name="connsiteX12" fmla="*/ 84620 w 99497"/>
                  <a:gd name="connsiteY12" fmla="*/ 62849 h 82525"/>
                  <a:gd name="connsiteX13" fmla="*/ 85902 w 99497"/>
                  <a:gd name="connsiteY13" fmla="*/ 52892 h 82525"/>
                  <a:gd name="connsiteX14" fmla="*/ 79771 w 99497"/>
                  <a:gd name="connsiteY14" fmla="*/ 44934 h 82525"/>
                  <a:gd name="connsiteX15" fmla="*/ 28571 w 99497"/>
                  <a:gd name="connsiteY15" fmla="*/ 15562 h 82525"/>
                  <a:gd name="connsiteX16" fmla="*/ 15504 w 99497"/>
                  <a:gd name="connsiteY16" fmla="*/ 38303 h 8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9497" h="82525">
                    <a:moveTo>
                      <a:pt x="73184" y="82525"/>
                    </a:moveTo>
                    <a:cubicBezTo>
                      <a:pt x="68748" y="82525"/>
                      <a:pt x="64270" y="81416"/>
                      <a:pt x="60161" y="79046"/>
                    </a:cubicBezTo>
                    <a:lnTo>
                      <a:pt x="3286" y="46391"/>
                    </a:lnTo>
                    <a:cubicBezTo>
                      <a:pt x="155" y="44587"/>
                      <a:pt x="-932" y="40586"/>
                      <a:pt x="872" y="37434"/>
                    </a:cubicBezTo>
                    <a:lnTo>
                      <a:pt x="20461" y="3300"/>
                    </a:lnTo>
                    <a:cubicBezTo>
                      <a:pt x="22266" y="147"/>
                      <a:pt x="26266" y="-940"/>
                      <a:pt x="29418" y="887"/>
                    </a:cubicBezTo>
                    <a:lnTo>
                      <a:pt x="86315" y="33542"/>
                    </a:lnTo>
                    <a:cubicBezTo>
                      <a:pt x="92403" y="37021"/>
                      <a:pt x="96751" y="42673"/>
                      <a:pt x="98577" y="49435"/>
                    </a:cubicBezTo>
                    <a:cubicBezTo>
                      <a:pt x="100404" y="56196"/>
                      <a:pt x="99491" y="63262"/>
                      <a:pt x="96012" y="69350"/>
                    </a:cubicBezTo>
                    <a:cubicBezTo>
                      <a:pt x="91142" y="77807"/>
                      <a:pt x="82293" y="82525"/>
                      <a:pt x="73184" y="82525"/>
                    </a:cubicBezTo>
                    <a:close/>
                    <a:moveTo>
                      <a:pt x="15504" y="38303"/>
                    </a:moveTo>
                    <a:lnTo>
                      <a:pt x="66705" y="67698"/>
                    </a:lnTo>
                    <a:cubicBezTo>
                      <a:pt x="72966" y="71285"/>
                      <a:pt x="81011" y="69111"/>
                      <a:pt x="84620" y="62849"/>
                    </a:cubicBezTo>
                    <a:cubicBezTo>
                      <a:pt x="86359" y="59806"/>
                      <a:pt x="86815" y="56283"/>
                      <a:pt x="85902" y="52892"/>
                    </a:cubicBezTo>
                    <a:cubicBezTo>
                      <a:pt x="84989" y="49500"/>
                      <a:pt x="82815" y="46696"/>
                      <a:pt x="79771" y="44934"/>
                    </a:cubicBezTo>
                    <a:lnTo>
                      <a:pt x="28571" y="15562"/>
                    </a:lnTo>
                    <a:lnTo>
                      <a:pt x="15504" y="38303"/>
                    </a:lnTo>
                    <a:close/>
                  </a:path>
                </a:pathLst>
              </a:custGeom>
              <a:solidFill>
                <a:schemeClr val="accent1"/>
              </a:solidFill>
              <a:ln w="2168" cap="flat">
                <a:noFill/>
                <a:prstDash val="solid"/>
                <a:miter/>
              </a:ln>
            </p:spPr>
            <p:txBody>
              <a:bodyPr rtlCol="0" anchor="ctr"/>
              <a:lstStyle/>
              <a:p>
                <a:endParaRPr lang="en-GB" dirty="0"/>
              </a:p>
            </p:txBody>
          </p:sp>
        </p:grpSp>
      </p:grpSp>
      <p:grpSp>
        <p:nvGrpSpPr>
          <p:cNvPr id="513" name="Group 512">
            <a:extLst>
              <a:ext uri="{FF2B5EF4-FFF2-40B4-BE49-F238E27FC236}">
                <a16:creationId xmlns:a16="http://schemas.microsoft.com/office/drawing/2014/main" id="{FD3D7958-7FEA-1F04-7165-893AFE154704}"/>
              </a:ext>
            </a:extLst>
          </p:cNvPr>
          <p:cNvGrpSpPr/>
          <p:nvPr/>
        </p:nvGrpSpPr>
        <p:grpSpPr>
          <a:xfrm>
            <a:off x="8068084" y="1585984"/>
            <a:ext cx="549169" cy="432000"/>
            <a:chOff x="8067672" y="1585984"/>
            <a:chExt cx="549169" cy="432000"/>
          </a:xfrm>
        </p:grpSpPr>
        <p:grpSp>
          <p:nvGrpSpPr>
            <p:cNvPr id="490" name="Gruppieren 5">
              <a:extLst>
                <a:ext uri="{FF2B5EF4-FFF2-40B4-BE49-F238E27FC236}">
                  <a16:creationId xmlns:a16="http://schemas.microsoft.com/office/drawing/2014/main" id="{DC156DCB-77B4-4F00-9849-3E05F09C82A2}"/>
                </a:ext>
              </a:extLst>
            </p:cNvPr>
            <p:cNvGrpSpPr/>
            <p:nvPr/>
          </p:nvGrpSpPr>
          <p:grpSpPr>
            <a:xfrm>
              <a:off x="8067672" y="1613488"/>
              <a:ext cx="549169" cy="404496"/>
              <a:chOff x="850498" y="1656368"/>
              <a:chExt cx="591220" cy="435469"/>
            </a:xfrm>
          </p:grpSpPr>
          <p:grpSp>
            <p:nvGrpSpPr>
              <p:cNvPr id="497" name="Grafik 301">
                <a:extLst>
                  <a:ext uri="{FF2B5EF4-FFF2-40B4-BE49-F238E27FC236}">
                    <a16:creationId xmlns:a16="http://schemas.microsoft.com/office/drawing/2014/main" id="{3559D5C2-8229-41C5-B5A6-99AE16288C02}"/>
                  </a:ext>
                </a:extLst>
              </p:cNvPr>
              <p:cNvGrpSpPr/>
              <p:nvPr/>
            </p:nvGrpSpPr>
            <p:grpSpPr>
              <a:xfrm>
                <a:off x="850498" y="1656368"/>
                <a:ext cx="182284" cy="435469"/>
                <a:chOff x="850498" y="1656368"/>
                <a:chExt cx="182284" cy="435469"/>
              </a:xfrm>
              <a:solidFill>
                <a:schemeClr val="accent1"/>
              </a:solidFill>
            </p:grpSpPr>
            <p:grpSp>
              <p:nvGrpSpPr>
                <p:cNvPr id="506" name="Grafik 301">
                  <a:extLst>
                    <a:ext uri="{FF2B5EF4-FFF2-40B4-BE49-F238E27FC236}">
                      <a16:creationId xmlns:a16="http://schemas.microsoft.com/office/drawing/2014/main" id="{EFD3A200-AFE2-46AF-B229-D07C663F0971}"/>
                    </a:ext>
                  </a:extLst>
                </p:cNvPr>
                <p:cNvGrpSpPr/>
                <p:nvPr/>
              </p:nvGrpSpPr>
              <p:grpSpPr>
                <a:xfrm>
                  <a:off x="850498" y="1835086"/>
                  <a:ext cx="124260" cy="65394"/>
                  <a:chOff x="850498" y="1835086"/>
                  <a:chExt cx="124260" cy="65394"/>
                </a:xfrm>
                <a:solidFill>
                  <a:schemeClr val="accent1"/>
                </a:solidFill>
              </p:grpSpPr>
              <p:sp>
                <p:nvSpPr>
                  <p:cNvPr id="511" name="Freihandform: Form 33">
                    <a:extLst>
                      <a:ext uri="{FF2B5EF4-FFF2-40B4-BE49-F238E27FC236}">
                        <a16:creationId xmlns:a16="http://schemas.microsoft.com/office/drawing/2014/main" id="{A679AB07-F4D0-4B79-B176-DBC4A0C8BA52}"/>
                      </a:ext>
                    </a:extLst>
                  </p:cNvPr>
                  <p:cNvSpPr/>
                  <p:nvPr/>
                </p:nvSpPr>
                <p:spPr>
                  <a:xfrm>
                    <a:off x="902834" y="1861254"/>
                    <a:ext cx="71924" cy="13058"/>
                  </a:xfrm>
                  <a:custGeom>
                    <a:avLst/>
                    <a:gdLst>
                      <a:gd name="connsiteX0" fmla="*/ 65420 w 71924"/>
                      <a:gd name="connsiteY0" fmla="*/ 13059 h 13058"/>
                      <a:gd name="connsiteX1" fmla="*/ 6529 w 71924"/>
                      <a:gd name="connsiteY1" fmla="*/ 13059 h 13058"/>
                      <a:gd name="connsiteX2" fmla="*/ 0 w 71924"/>
                      <a:gd name="connsiteY2" fmla="*/ 6529 h 13058"/>
                      <a:gd name="connsiteX3" fmla="*/ 6529 w 71924"/>
                      <a:gd name="connsiteY3" fmla="*/ 0 h 13058"/>
                      <a:gd name="connsiteX4" fmla="*/ 65395 w 71924"/>
                      <a:gd name="connsiteY4" fmla="*/ 0 h 13058"/>
                      <a:gd name="connsiteX5" fmla="*/ 71924 w 71924"/>
                      <a:gd name="connsiteY5" fmla="*/ 6529 h 13058"/>
                      <a:gd name="connsiteX6" fmla="*/ 65420 w 71924"/>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24" h="13058">
                        <a:moveTo>
                          <a:pt x="65420" y="13059"/>
                        </a:moveTo>
                        <a:lnTo>
                          <a:pt x="6529" y="13059"/>
                        </a:lnTo>
                        <a:cubicBezTo>
                          <a:pt x="2922" y="13059"/>
                          <a:pt x="0" y="10137"/>
                          <a:pt x="0" y="6529"/>
                        </a:cubicBezTo>
                        <a:cubicBezTo>
                          <a:pt x="0" y="2922"/>
                          <a:pt x="2922" y="0"/>
                          <a:pt x="6529" y="0"/>
                        </a:cubicBezTo>
                        <a:lnTo>
                          <a:pt x="65395" y="0"/>
                        </a:lnTo>
                        <a:cubicBezTo>
                          <a:pt x="69002" y="0"/>
                          <a:pt x="71924" y="2922"/>
                          <a:pt x="71924" y="6529"/>
                        </a:cubicBezTo>
                        <a:cubicBezTo>
                          <a:pt x="71924" y="10137"/>
                          <a:pt x="69028" y="13059"/>
                          <a:pt x="65420" y="13059"/>
                        </a:cubicBezTo>
                        <a:close/>
                      </a:path>
                    </a:pathLst>
                  </a:custGeom>
                  <a:solidFill>
                    <a:schemeClr val="accent1"/>
                  </a:solidFill>
                  <a:ln w="2536" cap="flat">
                    <a:noFill/>
                    <a:prstDash val="solid"/>
                    <a:miter/>
                  </a:ln>
                </p:spPr>
                <p:txBody>
                  <a:bodyPr rtlCol="0" anchor="ctr"/>
                  <a:lstStyle/>
                  <a:p>
                    <a:endParaRPr lang="en-GB" dirty="0"/>
                  </a:p>
                </p:txBody>
              </p:sp>
              <p:sp>
                <p:nvSpPr>
                  <p:cNvPr id="512" name="Freihandform: Form 34">
                    <a:extLst>
                      <a:ext uri="{FF2B5EF4-FFF2-40B4-BE49-F238E27FC236}">
                        <a16:creationId xmlns:a16="http://schemas.microsoft.com/office/drawing/2014/main" id="{4785A52C-4EE6-4ED5-9D11-C277DC7E4BB5}"/>
                      </a:ext>
                    </a:extLst>
                  </p:cNvPr>
                  <p:cNvSpPr/>
                  <p:nvPr/>
                </p:nvSpPr>
                <p:spPr>
                  <a:xfrm>
                    <a:off x="850498" y="1835086"/>
                    <a:ext cx="65394" cy="65394"/>
                  </a:xfrm>
                  <a:custGeom>
                    <a:avLst/>
                    <a:gdLst>
                      <a:gd name="connsiteX0" fmla="*/ 32697 w 65394"/>
                      <a:gd name="connsiteY0" fmla="*/ 65395 h 65394"/>
                      <a:gd name="connsiteX1" fmla="*/ 0 w 65394"/>
                      <a:gd name="connsiteY1" fmla="*/ 32697 h 65394"/>
                      <a:gd name="connsiteX2" fmla="*/ 32697 w 65394"/>
                      <a:gd name="connsiteY2" fmla="*/ 0 h 65394"/>
                      <a:gd name="connsiteX3" fmla="*/ 65395 w 65394"/>
                      <a:gd name="connsiteY3" fmla="*/ 32697 h 65394"/>
                      <a:gd name="connsiteX4" fmla="*/ 32697 w 65394"/>
                      <a:gd name="connsiteY4" fmla="*/ 65395 h 65394"/>
                      <a:gd name="connsiteX5" fmla="*/ 32697 w 65394"/>
                      <a:gd name="connsiteY5" fmla="*/ 13059 h 65394"/>
                      <a:gd name="connsiteX6" fmla="*/ 13084 w 65394"/>
                      <a:gd name="connsiteY6" fmla="*/ 32672 h 65394"/>
                      <a:gd name="connsiteX7" fmla="*/ 32697 w 65394"/>
                      <a:gd name="connsiteY7" fmla="*/ 52285 h 65394"/>
                      <a:gd name="connsiteX8" fmla="*/ 52311 w 65394"/>
                      <a:gd name="connsiteY8" fmla="*/ 32672 h 65394"/>
                      <a:gd name="connsiteX9" fmla="*/ 32697 w 65394"/>
                      <a:gd name="connsiteY9" fmla="*/ 13059 h 6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394" h="65394">
                        <a:moveTo>
                          <a:pt x="32697" y="65395"/>
                        </a:moveTo>
                        <a:cubicBezTo>
                          <a:pt x="14659" y="65395"/>
                          <a:pt x="0" y="50710"/>
                          <a:pt x="0" y="32697"/>
                        </a:cubicBezTo>
                        <a:cubicBezTo>
                          <a:pt x="0" y="14685"/>
                          <a:pt x="14685" y="0"/>
                          <a:pt x="32697" y="0"/>
                        </a:cubicBezTo>
                        <a:cubicBezTo>
                          <a:pt x="50710" y="0"/>
                          <a:pt x="65395" y="14685"/>
                          <a:pt x="65395" y="32697"/>
                        </a:cubicBezTo>
                        <a:cubicBezTo>
                          <a:pt x="65395" y="50710"/>
                          <a:pt x="50736" y="65395"/>
                          <a:pt x="32697" y="65395"/>
                        </a:cubicBezTo>
                        <a:close/>
                        <a:moveTo>
                          <a:pt x="32697" y="13059"/>
                        </a:moveTo>
                        <a:cubicBezTo>
                          <a:pt x="21874" y="13059"/>
                          <a:pt x="13084" y="21849"/>
                          <a:pt x="13084" y="32672"/>
                        </a:cubicBezTo>
                        <a:cubicBezTo>
                          <a:pt x="13084" y="43495"/>
                          <a:pt x="21874" y="52285"/>
                          <a:pt x="32697" y="52285"/>
                        </a:cubicBezTo>
                        <a:cubicBezTo>
                          <a:pt x="43520" y="52285"/>
                          <a:pt x="52311" y="43495"/>
                          <a:pt x="52311" y="32672"/>
                        </a:cubicBezTo>
                        <a:cubicBezTo>
                          <a:pt x="52336" y="21874"/>
                          <a:pt x="43520" y="13059"/>
                          <a:pt x="32697" y="13059"/>
                        </a:cubicBezTo>
                        <a:close/>
                      </a:path>
                    </a:pathLst>
                  </a:custGeom>
                  <a:solidFill>
                    <a:schemeClr val="accent1"/>
                  </a:solidFill>
                  <a:ln w="2536" cap="flat">
                    <a:noFill/>
                    <a:prstDash val="solid"/>
                    <a:miter/>
                  </a:ln>
                </p:spPr>
                <p:txBody>
                  <a:bodyPr rtlCol="0" anchor="ctr"/>
                  <a:lstStyle/>
                  <a:p>
                    <a:endParaRPr lang="en-GB" dirty="0"/>
                  </a:p>
                </p:txBody>
              </p:sp>
            </p:grpSp>
            <p:sp>
              <p:nvSpPr>
                <p:cNvPr id="507" name="Freihandform: Form 35">
                  <a:extLst>
                    <a:ext uri="{FF2B5EF4-FFF2-40B4-BE49-F238E27FC236}">
                      <a16:creationId xmlns:a16="http://schemas.microsoft.com/office/drawing/2014/main" id="{F1AE94FB-02E5-4076-AC83-845C3B93C536}"/>
                    </a:ext>
                  </a:extLst>
                </p:cNvPr>
                <p:cNvSpPr/>
                <p:nvPr/>
              </p:nvSpPr>
              <p:spPr>
                <a:xfrm>
                  <a:off x="933537" y="2026456"/>
                  <a:ext cx="65394" cy="65382"/>
                </a:xfrm>
                <a:custGeom>
                  <a:avLst/>
                  <a:gdLst>
                    <a:gd name="connsiteX0" fmla="*/ 32685 w 65394"/>
                    <a:gd name="connsiteY0" fmla="*/ 65382 h 65382"/>
                    <a:gd name="connsiteX1" fmla="*/ 9565 w 65394"/>
                    <a:gd name="connsiteY1" fmla="*/ 55829 h 65382"/>
                    <a:gd name="connsiteX2" fmla="*/ 9565 w 65394"/>
                    <a:gd name="connsiteY2" fmla="*/ 9565 h 65382"/>
                    <a:gd name="connsiteX3" fmla="*/ 55829 w 65394"/>
                    <a:gd name="connsiteY3" fmla="*/ 9565 h 65382"/>
                    <a:gd name="connsiteX4" fmla="*/ 55829 w 65394"/>
                    <a:gd name="connsiteY4" fmla="*/ 9565 h 65382"/>
                    <a:gd name="connsiteX5" fmla="*/ 55829 w 65394"/>
                    <a:gd name="connsiteY5" fmla="*/ 55829 h 65382"/>
                    <a:gd name="connsiteX6" fmla="*/ 32685 w 65394"/>
                    <a:gd name="connsiteY6" fmla="*/ 65382 h 65382"/>
                    <a:gd name="connsiteX7" fmla="*/ 32685 w 65394"/>
                    <a:gd name="connsiteY7" fmla="*/ 13071 h 65382"/>
                    <a:gd name="connsiteX8" fmla="*/ 18813 w 65394"/>
                    <a:gd name="connsiteY8" fmla="*/ 18813 h 65382"/>
                    <a:gd name="connsiteX9" fmla="*/ 18813 w 65394"/>
                    <a:gd name="connsiteY9" fmla="*/ 46582 h 65382"/>
                    <a:gd name="connsiteX10" fmla="*/ 46582 w 65394"/>
                    <a:gd name="connsiteY10" fmla="*/ 46582 h 65382"/>
                    <a:gd name="connsiteX11" fmla="*/ 46582 w 65394"/>
                    <a:gd name="connsiteY11" fmla="*/ 18813 h 65382"/>
                    <a:gd name="connsiteX12" fmla="*/ 32685 w 65394"/>
                    <a:gd name="connsiteY12" fmla="*/ 13071 h 6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394" h="65382">
                      <a:moveTo>
                        <a:pt x="32685" y="65382"/>
                      </a:moveTo>
                      <a:cubicBezTo>
                        <a:pt x="24301" y="65382"/>
                        <a:pt x="15942" y="62206"/>
                        <a:pt x="9565" y="55829"/>
                      </a:cubicBezTo>
                      <a:cubicBezTo>
                        <a:pt x="-3188" y="43076"/>
                        <a:pt x="-3188" y="22319"/>
                        <a:pt x="9565" y="9565"/>
                      </a:cubicBezTo>
                      <a:cubicBezTo>
                        <a:pt x="22319" y="-3188"/>
                        <a:pt x="43076" y="-3188"/>
                        <a:pt x="55829" y="9565"/>
                      </a:cubicBezTo>
                      <a:lnTo>
                        <a:pt x="55829" y="9565"/>
                      </a:lnTo>
                      <a:cubicBezTo>
                        <a:pt x="68583" y="22319"/>
                        <a:pt x="68583" y="43076"/>
                        <a:pt x="55829" y="55829"/>
                      </a:cubicBezTo>
                      <a:cubicBezTo>
                        <a:pt x="49427" y="62206"/>
                        <a:pt x="41043" y="65382"/>
                        <a:pt x="32685" y="65382"/>
                      </a:cubicBezTo>
                      <a:close/>
                      <a:moveTo>
                        <a:pt x="32685" y="13071"/>
                      </a:moveTo>
                      <a:cubicBezTo>
                        <a:pt x="27654" y="13071"/>
                        <a:pt x="22624" y="14977"/>
                        <a:pt x="18813" y="18813"/>
                      </a:cubicBezTo>
                      <a:cubicBezTo>
                        <a:pt x="11166" y="26460"/>
                        <a:pt x="11166" y="38909"/>
                        <a:pt x="18813" y="46582"/>
                      </a:cubicBezTo>
                      <a:cubicBezTo>
                        <a:pt x="26460" y="54229"/>
                        <a:pt x="38909" y="54229"/>
                        <a:pt x="46582" y="46582"/>
                      </a:cubicBezTo>
                      <a:cubicBezTo>
                        <a:pt x="54229" y="38935"/>
                        <a:pt x="54229" y="26486"/>
                        <a:pt x="46582" y="18813"/>
                      </a:cubicBezTo>
                      <a:cubicBezTo>
                        <a:pt x="42720" y="15002"/>
                        <a:pt x="37690" y="13071"/>
                        <a:pt x="32685" y="13071"/>
                      </a:cubicBezTo>
                      <a:close/>
                    </a:path>
                  </a:pathLst>
                </a:custGeom>
                <a:solidFill>
                  <a:schemeClr val="accent1"/>
                </a:solidFill>
                <a:ln w="2536" cap="flat">
                  <a:noFill/>
                  <a:prstDash val="solid"/>
                  <a:miter/>
                </a:ln>
              </p:spPr>
              <p:txBody>
                <a:bodyPr rtlCol="0" anchor="ctr"/>
                <a:lstStyle/>
                <a:p>
                  <a:endParaRPr lang="en-GB" dirty="0"/>
                </a:p>
              </p:txBody>
            </p:sp>
            <p:grpSp>
              <p:nvGrpSpPr>
                <p:cNvPr id="508" name="Grafik 301">
                  <a:extLst>
                    <a:ext uri="{FF2B5EF4-FFF2-40B4-BE49-F238E27FC236}">
                      <a16:creationId xmlns:a16="http://schemas.microsoft.com/office/drawing/2014/main" id="{8899C13D-7662-4FB1-B6A4-F73CCDF43AA1}"/>
                    </a:ext>
                  </a:extLst>
                </p:cNvPr>
                <p:cNvGrpSpPr/>
                <p:nvPr/>
              </p:nvGrpSpPr>
              <p:grpSpPr>
                <a:xfrm>
                  <a:off x="921139" y="1656368"/>
                  <a:ext cx="111643" cy="390831"/>
                  <a:chOff x="921139" y="1656368"/>
                  <a:chExt cx="111643" cy="390831"/>
                </a:xfrm>
                <a:solidFill>
                  <a:schemeClr val="accent1"/>
                </a:solidFill>
              </p:grpSpPr>
              <p:sp>
                <p:nvSpPr>
                  <p:cNvPr id="509" name="Freihandform: Form 37">
                    <a:extLst>
                      <a:ext uri="{FF2B5EF4-FFF2-40B4-BE49-F238E27FC236}">
                        <a16:creationId xmlns:a16="http://schemas.microsoft.com/office/drawing/2014/main" id="{E7650563-6547-4E75-A47A-C142BBF0C6EF}"/>
                      </a:ext>
                    </a:extLst>
                  </p:cNvPr>
                  <p:cNvSpPr/>
                  <p:nvPr/>
                </p:nvSpPr>
                <p:spPr>
                  <a:xfrm>
                    <a:off x="961725" y="1701051"/>
                    <a:ext cx="71057" cy="346148"/>
                  </a:xfrm>
                  <a:custGeom>
                    <a:avLst/>
                    <a:gdLst>
                      <a:gd name="connsiteX0" fmla="*/ 22992 w 71057"/>
                      <a:gd name="connsiteY0" fmla="*/ 346149 h 346148"/>
                      <a:gd name="connsiteX1" fmla="*/ 18368 w 71057"/>
                      <a:gd name="connsiteY1" fmla="*/ 344244 h 346148"/>
                      <a:gd name="connsiteX2" fmla="*/ 18368 w 71057"/>
                      <a:gd name="connsiteY2" fmla="*/ 334996 h 346148"/>
                      <a:gd name="connsiteX3" fmla="*/ 55385 w 71057"/>
                      <a:gd name="connsiteY3" fmla="*/ 297979 h 346148"/>
                      <a:gd name="connsiteX4" fmla="*/ 0 w 71057"/>
                      <a:gd name="connsiteY4" fmla="*/ 166733 h 346148"/>
                      <a:gd name="connsiteX5" fmla="*/ 43292 w 71057"/>
                      <a:gd name="connsiteY5" fmla="*/ 48468 h 346148"/>
                      <a:gd name="connsiteX6" fmla="*/ 5970 w 71057"/>
                      <a:gd name="connsiteY6" fmla="*/ 11172 h 346148"/>
                      <a:gd name="connsiteX7" fmla="*/ 5970 w 71057"/>
                      <a:gd name="connsiteY7" fmla="*/ 1924 h 346148"/>
                      <a:gd name="connsiteX8" fmla="*/ 15218 w 71057"/>
                      <a:gd name="connsiteY8" fmla="*/ 1924 h 346148"/>
                      <a:gd name="connsiteX9" fmla="*/ 56223 w 71057"/>
                      <a:gd name="connsiteY9" fmla="*/ 42930 h 346148"/>
                      <a:gd name="connsiteX10" fmla="*/ 56731 w 71057"/>
                      <a:gd name="connsiteY10" fmla="*/ 43362 h 346148"/>
                      <a:gd name="connsiteX11" fmla="*/ 57138 w 71057"/>
                      <a:gd name="connsiteY11" fmla="*/ 52482 h 346148"/>
                      <a:gd name="connsiteX12" fmla="*/ 13059 w 71057"/>
                      <a:gd name="connsiteY12" fmla="*/ 166733 h 346148"/>
                      <a:gd name="connsiteX13" fmla="*/ 68875 w 71057"/>
                      <a:gd name="connsiteY13" fmla="*/ 292720 h 346148"/>
                      <a:gd name="connsiteX14" fmla="*/ 70730 w 71057"/>
                      <a:gd name="connsiteY14" fmla="*/ 295617 h 346148"/>
                      <a:gd name="connsiteX15" fmla="*/ 69231 w 71057"/>
                      <a:gd name="connsiteY15" fmla="*/ 302603 h 346148"/>
                      <a:gd name="connsiteX16" fmla="*/ 27591 w 71057"/>
                      <a:gd name="connsiteY16" fmla="*/ 344244 h 346148"/>
                      <a:gd name="connsiteX17" fmla="*/ 22992 w 71057"/>
                      <a:gd name="connsiteY17" fmla="*/ 346149 h 34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057" h="346148">
                        <a:moveTo>
                          <a:pt x="22992" y="346149"/>
                        </a:moveTo>
                        <a:cubicBezTo>
                          <a:pt x="21316" y="346149"/>
                          <a:pt x="19639" y="345514"/>
                          <a:pt x="18368" y="344244"/>
                        </a:cubicBezTo>
                        <a:cubicBezTo>
                          <a:pt x="15802" y="341677"/>
                          <a:pt x="15802" y="337536"/>
                          <a:pt x="18368" y="334996"/>
                        </a:cubicBezTo>
                        <a:lnTo>
                          <a:pt x="55385" y="297979"/>
                        </a:lnTo>
                        <a:cubicBezTo>
                          <a:pt x="20096" y="263605"/>
                          <a:pt x="0" y="216147"/>
                          <a:pt x="0" y="166733"/>
                        </a:cubicBezTo>
                        <a:cubicBezTo>
                          <a:pt x="0" y="123263"/>
                          <a:pt x="15320" y="81521"/>
                          <a:pt x="43292" y="48468"/>
                        </a:cubicBezTo>
                        <a:lnTo>
                          <a:pt x="5970" y="11172"/>
                        </a:lnTo>
                        <a:cubicBezTo>
                          <a:pt x="3404" y="8606"/>
                          <a:pt x="3404" y="4465"/>
                          <a:pt x="5970" y="1924"/>
                        </a:cubicBezTo>
                        <a:cubicBezTo>
                          <a:pt x="8536" y="-641"/>
                          <a:pt x="12678" y="-641"/>
                          <a:pt x="15218" y="1924"/>
                        </a:cubicBezTo>
                        <a:lnTo>
                          <a:pt x="56223" y="42930"/>
                        </a:lnTo>
                        <a:cubicBezTo>
                          <a:pt x="56401" y="43057"/>
                          <a:pt x="56554" y="43209"/>
                          <a:pt x="56731" y="43362"/>
                        </a:cubicBezTo>
                        <a:cubicBezTo>
                          <a:pt x="59348" y="45800"/>
                          <a:pt x="59551" y="49840"/>
                          <a:pt x="57138" y="52482"/>
                        </a:cubicBezTo>
                        <a:cubicBezTo>
                          <a:pt x="28734" y="83808"/>
                          <a:pt x="13059" y="124381"/>
                          <a:pt x="13059" y="166733"/>
                        </a:cubicBezTo>
                        <a:cubicBezTo>
                          <a:pt x="13059" y="214597"/>
                          <a:pt x="33409" y="260531"/>
                          <a:pt x="68875" y="292720"/>
                        </a:cubicBezTo>
                        <a:cubicBezTo>
                          <a:pt x="69739" y="293508"/>
                          <a:pt x="70374" y="294499"/>
                          <a:pt x="70730" y="295617"/>
                        </a:cubicBezTo>
                        <a:cubicBezTo>
                          <a:pt x="71467" y="297929"/>
                          <a:pt x="70959" y="300876"/>
                          <a:pt x="69231" y="302603"/>
                        </a:cubicBezTo>
                        <a:lnTo>
                          <a:pt x="27591" y="344244"/>
                        </a:lnTo>
                        <a:cubicBezTo>
                          <a:pt x="26346" y="345514"/>
                          <a:pt x="24669" y="346149"/>
                          <a:pt x="22992" y="346149"/>
                        </a:cubicBezTo>
                        <a:close/>
                      </a:path>
                    </a:pathLst>
                  </a:custGeom>
                  <a:solidFill>
                    <a:schemeClr val="accent1"/>
                  </a:solidFill>
                  <a:ln w="2536" cap="flat">
                    <a:noFill/>
                    <a:prstDash val="solid"/>
                    <a:miter/>
                  </a:ln>
                </p:spPr>
                <p:txBody>
                  <a:bodyPr rtlCol="0" anchor="ctr"/>
                  <a:lstStyle/>
                  <a:p>
                    <a:endParaRPr lang="en-GB" dirty="0"/>
                  </a:p>
                </p:txBody>
              </p:sp>
              <p:sp>
                <p:nvSpPr>
                  <p:cNvPr id="510" name="Freihandform: Form 38">
                    <a:extLst>
                      <a:ext uri="{FF2B5EF4-FFF2-40B4-BE49-F238E27FC236}">
                        <a16:creationId xmlns:a16="http://schemas.microsoft.com/office/drawing/2014/main" id="{1ABB1DF1-8250-45E0-815E-F5808B2216A6}"/>
                      </a:ext>
                    </a:extLst>
                  </p:cNvPr>
                  <p:cNvSpPr/>
                  <p:nvPr/>
                </p:nvSpPr>
                <p:spPr>
                  <a:xfrm>
                    <a:off x="921139" y="1656368"/>
                    <a:ext cx="65394" cy="65407"/>
                  </a:xfrm>
                  <a:custGeom>
                    <a:avLst/>
                    <a:gdLst>
                      <a:gd name="connsiteX0" fmla="*/ 32685 w 65394"/>
                      <a:gd name="connsiteY0" fmla="*/ 65407 h 65407"/>
                      <a:gd name="connsiteX1" fmla="*/ 9565 w 65394"/>
                      <a:gd name="connsiteY1" fmla="*/ 55829 h 65407"/>
                      <a:gd name="connsiteX2" fmla="*/ 9565 w 65394"/>
                      <a:gd name="connsiteY2" fmla="*/ 9565 h 65407"/>
                      <a:gd name="connsiteX3" fmla="*/ 55829 w 65394"/>
                      <a:gd name="connsiteY3" fmla="*/ 9565 h 65407"/>
                      <a:gd name="connsiteX4" fmla="*/ 55829 w 65394"/>
                      <a:gd name="connsiteY4" fmla="*/ 55829 h 65407"/>
                      <a:gd name="connsiteX5" fmla="*/ 32685 w 65394"/>
                      <a:gd name="connsiteY5" fmla="*/ 65407 h 65407"/>
                      <a:gd name="connsiteX6" fmla="*/ 32685 w 65394"/>
                      <a:gd name="connsiteY6" fmla="*/ 13097 h 65407"/>
                      <a:gd name="connsiteX7" fmla="*/ 18813 w 65394"/>
                      <a:gd name="connsiteY7" fmla="*/ 18838 h 65407"/>
                      <a:gd name="connsiteX8" fmla="*/ 18813 w 65394"/>
                      <a:gd name="connsiteY8" fmla="*/ 46607 h 65407"/>
                      <a:gd name="connsiteX9" fmla="*/ 46556 w 65394"/>
                      <a:gd name="connsiteY9" fmla="*/ 46607 h 65407"/>
                      <a:gd name="connsiteX10" fmla="*/ 46556 w 65394"/>
                      <a:gd name="connsiteY10" fmla="*/ 18838 h 65407"/>
                      <a:gd name="connsiteX11" fmla="*/ 32685 w 65394"/>
                      <a:gd name="connsiteY11" fmla="*/ 13097 h 65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394" h="65407">
                        <a:moveTo>
                          <a:pt x="32685" y="65407"/>
                        </a:moveTo>
                        <a:cubicBezTo>
                          <a:pt x="24301" y="65407"/>
                          <a:pt x="15942" y="62206"/>
                          <a:pt x="9565" y="55829"/>
                        </a:cubicBezTo>
                        <a:cubicBezTo>
                          <a:pt x="-3188" y="43076"/>
                          <a:pt x="-3188" y="22319"/>
                          <a:pt x="9565" y="9565"/>
                        </a:cubicBezTo>
                        <a:cubicBezTo>
                          <a:pt x="22319" y="-3188"/>
                          <a:pt x="43076" y="-3188"/>
                          <a:pt x="55829" y="9565"/>
                        </a:cubicBezTo>
                        <a:cubicBezTo>
                          <a:pt x="68583" y="22319"/>
                          <a:pt x="68583" y="43076"/>
                          <a:pt x="55829" y="55829"/>
                        </a:cubicBezTo>
                        <a:cubicBezTo>
                          <a:pt x="49427" y="62232"/>
                          <a:pt x="41043" y="65407"/>
                          <a:pt x="32685" y="65407"/>
                        </a:cubicBezTo>
                        <a:close/>
                        <a:moveTo>
                          <a:pt x="32685" y="13097"/>
                        </a:moveTo>
                        <a:cubicBezTo>
                          <a:pt x="27654" y="13097"/>
                          <a:pt x="22624" y="15002"/>
                          <a:pt x="18813" y="18838"/>
                        </a:cubicBezTo>
                        <a:cubicBezTo>
                          <a:pt x="11166" y="26486"/>
                          <a:pt x="11166" y="38935"/>
                          <a:pt x="18813" y="46607"/>
                        </a:cubicBezTo>
                        <a:cubicBezTo>
                          <a:pt x="26460" y="54254"/>
                          <a:pt x="38909" y="54254"/>
                          <a:pt x="46556" y="46607"/>
                        </a:cubicBezTo>
                        <a:cubicBezTo>
                          <a:pt x="54203" y="38960"/>
                          <a:pt x="54203" y="26511"/>
                          <a:pt x="46556" y="18838"/>
                        </a:cubicBezTo>
                        <a:cubicBezTo>
                          <a:pt x="42720" y="15002"/>
                          <a:pt x="37715" y="13097"/>
                          <a:pt x="32685" y="13097"/>
                        </a:cubicBezTo>
                        <a:close/>
                      </a:path>
                    </a:pathLst>
                  </a:custGeom>
                  <a:solidFill>
                    <a:schemeClr val="accent1"/>
                  </a:solidFill>
                  <a:ln w="2536" cap="flat">
                    <a:noFill/>
                    <a:prstDash val="solid"/>
                    <a:miter/>
                  </a:ln>
                </p:spPr>
                <p:txBody>
                  <a:bodyPr rtlCol="0" anchor="ctr"/>
                  <a:lstStyle/>
                  <a:p>
                    <a:endParaRPr lang="en-GB" dirty="0"/>
                  </a:p>
                </p:txBody>
              </p:sp>
            </p:grpSp>
          </p:grpSp>
          <p:grpSp>
            <p:nvGrpSpPr>
              <p:cNvPr id="498" name="Grafik 301">
                <a:extLst>
                  <a:ext uri="{FF2B5EF4-FFF2-40B4-BE49-F238E27FC236}">
                    <a16:creationId xmlns:a16="http://schemas.microsoft.com/office/drawing/2014/main" id="{913E5267-257D-42EE-B4F6-EE7C6B72543A}"/>
                  </a:ext>
                </a:extLst>
              </p:cNvPr>
              <p:cNvGrpSpPr/>
              <p:nvPr/>
            </p:nvGrpSpPr>
            <p:grpSpPr>
              <a:xfrm>
                <a:off x="1259343" y="1656368"/>
                <a:ext cx="182375" cy="435469"/>
                <a:chOff x="1259343" y="1656368"/>
                <a:chExt cx="182375" cy="435469"/>
              </a:xfrm>
              <a:solidFill>
                <a:schemeClr val="accent1"/>
              </a:solidFill>
            </p:grpSpPr>
            <p:grpSp>
              <p:nvGrpSpPr>
                <p:cNvPr id="499" name="Grafik 301">
                  <a:extLst>
                    <a:ext uri="{FF2B5EF4-FFF2-40B4-BE49-F238E27FC236}">
                      <a16:creationId xmlns:a16="http://schemas.microsoft.com/office/drawing/2014/main" id="{651AA042-0AE1-4D87-809E-C97E3C917DB3}"/>
                    </a:ext>
                  </a:extLst>
                </p:cNvPr>
                <p:cNvGrpSpPr/>
                <p:nvPr/>
              </p:nvGrpSpPr>
              <p:grpSpPr>
                <a:xfrm>
                  <a:off x="1317458" y="1835086"/>
                  <a:ext cx="124260" cy="65394"/>
                  <a:chOff x="1317458" y="1835086"/>
                  <a:chExt cx="124260" cy="65394"/>
                </a:xfrm>
                <a:solidFill>
                  <a:schemeClr val="accent1"/>
                </a:solidFill>
              </p:grpSpPr>
              <p:sp>
                <p:nvSpPr>
                  <p:cNvPr id="504" name="Freihandform: Form 45">
                    <a:extLst>
                      <a:ext uri="{FF2B5EF4-FFF2-40B4-BE49-F238E27FC236}">
                        <a16:creationId xmlns:a16="http://schemas.microsoft.com/office/drawing/2014/main" id="{61F547EF-8DE3-4E23-A5A4-CC7F2922920B}"/>
                      </a:ext>
                    </a:extLst>
                  </p:cNvPr>
                  <p:cNvSpPr/>
                  <p:nvPr/>
                </p:nvSpPr>
                <p:spPr>
                  <a:xfrm>
                    <a:off x="1317458" y="1861254"/>
                    <a:ext cx="71924" cy="13058"/>
                  </a:xfrm>
                  <a:custGeom>
                    <a:avLst/>
                    <a:gdLst>
                      <a:gd name="connsiteX0" fmla="*/ 65395 w 71924"/>
                      <a:gd name="connsiteY0" fmla="*/ 13059 h 13058"/>
                      <a:gd name="connsiteX1" fmla="*/ 6529 w 71924"/>
                      <a:gd name="connsiteY1" fmla="*/ 13059 h 13058"/>
                      <a:gd name="connsiteX2" fmla="*/ 0 w 71924"/>
                      <a:gd name="connsiteY2" fmla="*/ 6529 h 13058"/>
                      <a:gd name="connsiteX3" fmla="*/ 6529 w 71924"/>
                      <a:gd name="connsiteY3" fmla="*/ 0 h 13058"/>
                      <a:gd name="connsiteX4" fmla="*/ 65395 w 71924"/>
                      <a:gd name="connsiteY4" fmla="*/ 0 h 13058"/>
                      <a:gd name="connsiteX5" fmla="*/ 71924 w 71924"/>
                      <a:gd name="connsiteY5" fmla="*/ 6529 h 13058"/>
                      <a:gd name="connsiteX6" fmla="*/ 65395 w 71924"/>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24" h="13058">
                        <a:moveTo>
                          <a:pt x="65395" y="13059"/>
                        </a:moveTo>
                        <a:lnTo>
                          <a:pt x="6529" y="13059"/>
                        </a:lnTo>
                        <a:cubicBezTo>
                          <a:pt x="2922" y="13059"/>
                          <a:pt x="0" y="10137"/>
                          <a:pt x="0" y="6529"/>
                        </a:cubicBezTo>
                        <a:cubicBezTo>
                          <a:pt x="0" y="2922"/>
                          <a:pt x="2922" y="0"/>
                          <a:pt x="6529" y="0"/>
                        </a:cubicBezTo>
                        <a:lnTo>
                          <a:pt x="65395" y="0"/>
                        </a:lnTo>
                        <a:cubicBezTo>
                          <a:pt x="69002" y="0"/>
                          <a:pt x="71924" y="2922"/>
                          <a:pt x="71924" y="6529"/>
                        </a:cubicBezTo>
                        <a:cubicBezTo>
                          <a:pt x="71924" y="10137"/>
                          <a:pt x="69028" y="13059"/>
                          <a:pt x="65395" y="13059"/>
                        </a:cubicBezTo>
                        <a:close/>
                      </a:path>
                    </a:pathLst>
                  </a:custGeom>
                  <a:solidFill>
                    <a:schemeClr val="accent1"/>
                  </a:solidFill>
                  <a:ln w="2536" cap="flat">
                    <a:noFill/>
                    <a:prstDash val="solid"/>
                    <a:miter/>
                  </a:ln>
                </p:spPr>
                <p:txBody>
                  <a:bodyPr rtlCol="0" anchor="ctr"/>
                  <a:lstStyle/>
                  <a:p>
                    <a:endParaRPr lang="en-GB" dirty="0"/>
                  </a:p>
                </p:txBody>
              </p:sp>
              <p:sp>
                <p:nvSpPr>
                  <p:cNvPr id="505" name="Freihandform: Form 46">
                    <a:extLst>
                      <a:ext uri="{FF2B5EF4-FFF2-40B4-BE49-F238E27FC236}">
                        <a16:creationId xmlns:a16="http://schemas.microsoft.com/office/drawing/2014/main" id="{8EED36D8-009B-49A1-A835-EBA950F64296}"/>
                      </a:ext>
                    </a:extLst>
                  </p:cNvPr>
                  <p:cNvSpPr/>
                  <p:nvPr/>
                </p:nvSpPr>
                <p:spPr>
                  <a:xfrm>
                    <a:off x="1376324" y="1835086"/>
                    <a:ext cx="65394" cy="65394"/>
                  </a:xfrm>
                  <a:custGeom>
                    <a:avLst/>
                    <a:gdLst>
                      <a:gd name="connsiteX0" fmla="*/ 32697 w 65394"/>
                      <a:gd name="connsiteY0" fmla="*/ 65395 h 65394"/>
                      <a:gd name="connsiteX1" fmla="*/ 0 w 65394"/>
                      <a:gd name="connsiteY1" fmla="*/ 32697 h 65394"/>
                      <a:gd name="connsiteX2" fmla="*/ 32697 w 65394"/>
                      <a:gd name="connsiteY2" fmla="*/ 0 h 65394"/>
                      <a:gd name="connsiteX3" fmla="*/ 65395 w 65394"/>
                      <a:gd name="connsiteY3" fmla="*/ 32697 h 65394"/>
                      <a:gd name="connsiteX4" fmla="*/ 32697 w 65394"/>
                      <a:gd name="connsiteY4" fmla="*/ 65395 h 65394"/>
                      <a:gd name="connsiteX5" fmla="*/ 32697 w 65394"/>
                      <a:gd name="connsiteY5" fmla="*/ 13059 h 65394"/>
                      <a:gd name="connsiteX6" fmla="*/ 13084 w 65394"/>
                      <a:gd name="connsiteY6" fmla="*/ 32672 h 65394"/>
                      <a:gd name="connsiteX7" fmla="*/ 32697 w 65394"/>
                      <a:gd name="connsiteY7" fmla="*/ 52285 h 65394"/>
                      <a:gd name="connsiteX8" fmla="*/ 52311 w 65394"/>
                      <a:gd name="connsiteY8" fmla="*/ 32672 h 65394"/>
                      <a:gd name="connsiteX9" fmla="*/ 32697 w 65394"/>
                      <a:gd name="connsiteY9" fmla="*/ 13059 h 6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394" h="65394">
                        <a:moveTo>
                          <a:pt x="32697" y="65395"/>
                        </a:moveTo>
                        <a:cubicBezTo>
                          <a:pt x="14659" y="65395"/>
                          <a:pt x="0" y="50710"/>
                          <a:pt x="0" y="32697"/>
                        </a:cubicBezTo>
                        <a:cubicBezTo>
                          <a:pt x="0" y="14685"/>
                          <a:pt x="14685" y="0"/>
                          <a:pt x="32697" y="0"/>
                        </a:cubicBezTo>
                        <a:cubicBezTo>
                          <a:pt x="50736" y="0"/>
                          <a:pt x="65395" y="14685"/>
                          <a:pt x="65395" y="32697"/>
                        </a:cubicBezTo>
                        <a:cubicBezTo>
                          <a:pt x="65395" y="50710"/>
                          <a:pt x="50736" y="65395"/>
                          <a:pt x="32697" y="65395"/>
                        </a:cubicBezTo>
                        <a:close/>
                        <a:moveTo>
                          <a:pt x="32697" y="13059"/>
                        </a:moveTo>
                        <a:cubicBezTo>
                          <a:pt x="21874" y="13059"/>
                          <a:pt x="13084" y="21849"/>
                          <a:pt x="13084" y="32672"/>
                        </a:cubicBezTo>
                        <a:cubicBezTo>
                          <a:pt x="13084" y="43495"/>
                          <a:pt x="21874" y="52285"/>
                          <a:pt x="32697" y="52285"/>
                        </a:cubicBezTo>
                        <a:cubicBezTo>
                          <a:pt x="43520" y="52285"/>
                          <a:pt x="52311" y="43495"/>
                          <a:pt x="52311" y="32672"/>
                        </a:cubicBezTo>
                        <a:cubicBezTo>
                          <a:pt x="52336" y="21874"/>
                          <a:pt x="43520" y="13059"/>
                          <a:pt x="32697" y="13059"/>
                        </a:cubicBezTo>
                        <a:close/>
                      </a:path>
                    </a:pathLst>
                  </a:custGeom>
                  <a:solidFill>
                    <a:schemeClr val="accent1"/>
                  </a:solidFill>
                  <a:ln w="2536" cap="flat">
                    <a:noFill/>
                    <a:prstDash val="solid"/>
                    <a:miter/>
                  </a:ln>
                </p:spPr>
                <p:txBody>
                  <a:bodyPr rtlCol="0" anchor="ctr"/>
                  <a:lstStyle/>
                  <a:p>
                    <a:endParaRPr lang="en-GB" dirty="0"/>
                  </a:p>
                </p:txBody>
              </p:sp>
            </p:grpSp>
            <p:sp>
              <p:nvSpPr>
                <p:cNvPr id="500" name="Freihandform: Form 47">
                  <a:extLst>
                    <a:ext uri="{FF2B5EF4-FFF2-40B4-BE49-F238E27FC236}">
                      <a16:creationId xmlns:a16="http://schemas.microsoft.com/office/drawing/2014/main" id="{0FBB25C9-4C7B-4730-A174-E9D56B918BCF}"/>
                    </a:ext>
                  </a:extLst>
                </p:cNvPr>
                <p:cNvSpPr/>
                <p:nvPr/>
              </p:nvSpPr>
              <p:spPr>
                <a:xfrm>
                  <a:off x="1293335" y="2026456"/>
                  <a:ext cx="65394" cy="65382"/>
                </a:xfrm>
                <a:custGeom>
                  <a:avLst/>
                  <a:gdLst>
                    <a:gd name="connsiteX0" fmla="*/ 32685 w 65394"/>
                    <a:gd name="connsiteY0" fmla="*/ 65382 h 65382"/>
                    <a:gd name="connsiteX1" fmla="*/ 9565 w 65394"/>
                    <a:gd name="connsiteY1" fmla="*/ 55829 h 65382"/>
                    <a:gd name="connsiteX2" fmla="*/ 9565 w 65394"/>
                    <a:gd name="connsiteY2" fmla="*/ 9565 h 65382"/>
                    <a:gd name="connsiteX3" fmla="*/ 9565 w 65394"/>
                    <a:gd name="connsiteY3" fmla="*/ 9565 h 65382"/>
                    <a:gd name="connsiteX4" fmla="*/ 55829 w 65394"/>
                    <a:gd name="connsiteY4" fmla="*/ 9565 h 65382"/>
                    <a:gd name="connsiteX5" fmla="*/ 55829 w 65394"/>
                    <a:gd name="connsiteY5" fmla="*/ 55829 h 65382"/>
                    <a:gd name="connsiteX6" fmla="*/ 32685 w 65394"/>
                    <a:gd name="connsiteY6" fmla="*/ 65382 h 65382"/>
                    <a:gd name="connsiteX7" fmla="*/ 18813 w 65394"/>
                    <a:gd name="connsiteY7" fmla="*/ 18813 h 65382"/>
                    <a:gd name="connsiteX8" fmla="*/ 18813 w 65394"/>
                    <a:gd name="connsiteY8" fmla="*/ 46582 h 65382"/>
                    <a:gd name="connsiteX9" fmla="*/ 46582 w 65394"/>
                    <a:gd name="connsiteY9" fmla="*/ 46582 h 65382"/>
                    <a:gd name="connsiteX10" fmla="*/ 46582 w 65394"/>
                    <a:gd name="connsiteY10" fmla="*/ 18813 h 65382"/>
                    <a:gd name="connsiteX11" fmla="*/ 18813 w 65394"/>
                    <a:gd name="connsiteY11" fmla="*/ 18813 h 6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394" h="65382">
                      <a:moveTo>
                        <a:pt x="32685" y="65382"/>
                      </a:moveTo>
                      <a:cubicBezTo>
                        <a:pt x="24301" y="65382"/>
                        <a:pt x="15942" y="62206"/>
                        <a:pt x="9565" y="55829"/>
                      </a:cubicBezTo>
                      <a:cubicBezTo>
                        <a:pt x="-3188" y="43076"/>
                        <a:pt x="-3188" y="22319"/>
                        <a:pt x="9565" y="9565"/>
                      </a:cubicBezTo>
                      <a:lnTo>
                        <a:pt x="9565" y="9565"/>
                      </a:lnTo>
                      <a:cubicBezTo>
                        <a:pt x="22319" y="-3188"/>
                        <a:pt x="43076" y="-3188"/>
                        <a:pt x="55829" y="9565"/>
                      </a:cubicBezTo>
                      <a:cubicBezTo>
                        <a:pt x="68583" y="22319"/>
                        <a:pt x="68583" y="43076"/>
                        <a:pt x="55829" y="55829"/>
                      </a:cubicBezTo>
                      <a:cubicBezTo>
                        <a:pt x="49453" y="62206"/>
                        <a:pt x="41069" y="65382"/>
                        <a:pt x="32685" y="65382"/>
                      </a:cubicBezTo>
                      <a:close/>
                      <a:moveTo>
                        <a:pt x="18813" y="18813"/>
                      </a:moveTo>
                      <a:cubicBezTo>
                        <a:pt x="11166" y="26460"/>
                        <a:pt x="11166" y="38909"/>
                        <a:pt x="18813" y="46582"/>
                      </a:cubicBezTo>
                      <a:cubicBezTo>
                        <a:pt x="26460" y="54229"/>
                        <a:pt x="38909" y="54229"/>
                        <a:pt x="46582" y="46582"/>
                      </a:cubicBezTo>
                      <a:cubicBezTo>
                        <a:pt x="54229" y="38935"/>
                        <a:pt x="54229" y="26486"/>
                        <a:pt x="46582" y="18813"/>
                      </a:cubicBezTo>
                      <a:cubicBezTo>
                        <a:pt x="38909" y="11166"/>
                        <a:pt x="26460" y="11166"/>
                        <a:pt x="18813" y="18813"/>
                      </a:cubicBezTo>
                      <a:close/>
                    </a:path>
                  </a:pathLst>
                </a:custGeom>
                <a:solidFill>
                  <a:schemeClr val="accent1"/>
                </a:solidFill>
                <a:ln w="2536" cap="flat">
                  <a:noFill/>
                  <a:prstDash val="solid"/>
                  <a:miter/>
                </a:ln>
              </p:spPr>
              <p:txBody>
                <a:bodyPr rtlCol="0" anchor="ctr"/>
                <a:lstStyle/>
                <a:p>
                  <a:endParaRPr lang="en-GB" dirty="0"/>
                </a:p>
              </p:txBody>
            </p:sp>
            <p:grpSp>
              <p:nvGrpSpPr>
                <p:cNvPr id="501" name="Grafik 301">
                  <a:extLst>
                    <a:ext uri="{FF2B5EF4-FFF2-40B4-BE49-F238E27FC236}">
                      <a16:creationId xmlns:a16="http://schemas.microsoft.com/office/drawing/2014/main" id="{4E859E3F-7F18-4191-80BD-D9D6315E0575}"/>
                    </a:ext>
                  </a:extLst>
                </p:cNvPr>
                <p:cNvGrpSpPr/>
                <p:nvPr/>
              </p:nvGrpSpPr>
              <p:grpSpPr>
                <a:xfrm>
                  <a:off x="1259343" y="1656368"/>
                  <a:ext cx="111785" cy="390831"/>
                  <a:chOff x="1259343" y="1656368"/>
                  <a:chExt cx="111785" cy="390831"/>
                </a:xfrm>
                <a:solidFill>
                  <a:schemeClr val="accent1"/>
                </a:solidFill>
              </p:grpSpPr>
              <p:sp>
                <p:nvSpPr>
                  <p:cNvPr id="502" name="Freihandform: Form 49">
                    <a:extLst>
                      <a:ext uri="{FF2B5EF4-FFF2-40B4-BE49-F238E27FC236}">
                        <a16:creationId xmlns:a16="http://schemas.microsoft.com/office/drawing/2014/main" id="{E5AE5D38-FBD5-4C61-8A6E-8AA7C47969D2}"/>
                      </a:ext>
                    </a:extLst>
                  </p:cNvPr>
                  <p:cNvSpPr/>
                  <p:nvPr/>
                </p:nvSpPr>
                <p:spPr>
                  <a:xfrm>
                    <a:off x="1259343" y="1701051"/>
                    <a:ext cx="71199" cy="346148"/>
                  </a:xfrm>
                  <a:custGeom>
                    <a:avLst/>
                    <a:gdLst>
                      <a:gd name="connsiteX0" fmla="*/ 48181 w 71199"/>
                      <a:gd name="connsiteY0" fmla="*/ 346149 h 346148"/>
                      <a:gd name="connsiteX1" fmla="*/ 43558 w 71199"/>
                      <a:gd name="connsiteY1" fmla="*/ 344244 h 346148"/>
                      <a:gd name="connsiteX2" fmla="*/ 1917 w 71199"/>
                      <a:gd name="connsiteY2" fmla="*/ 302603 h 346148"/>
                      <a:gd name="connsiteX3" fmla="*/ 291 w 71199"/>
                      <a:gd name="connsiteY3" fmla="*/ 296023 h 346148"/>
                      <a:gd name="connsiteX4" fmla="*/ 2273 w 71199"/>
                      <a:gd name="connsiteY4" fmla="*/ 292720 h 346148"/>
                      <a:gd name="connsiteX5" fmla="*/ 58090 w 71199"/>
                      <a:gd name="connsiteY5" fmla="*/ 166733 h 346148"/>
                      <a:gd name="connsiteX6" fmla="*/ 14011 w 71199"/>
                      <a:gd name="connsiteY6" fmla="*/ 52482 h 346148"/>
                      <a:gd name="connsiteX7" fmla="*/ 14392 w 71199"/>
                      <a:gd name="connsiteY7" fmla="*/ 43311 h 346148"/>
                      <a:gd name="connsiteX8" fmla="*/ 15205 w 71199"/>
                      <a:gd name="connsiteY8" fmla="*/ 42650 h 346148"/>
                      <a:gd name="connsiteX9" fmla="*/ 55956 w 71199"/>
                      <a:gd name="connsiteY9" fmla="*/ 1924 h 346148"/>
                      <a:gd name="connsiteX10" fmla="*/ 65203 w 71199"/>
                      <a:gd name="connsiteY10" fmla="*/ 1924 h 346148"/>
                      <a:gd name="connsiteX11" fmla="*/ 65203 w 71199"/>
                      <a:gd name="connsiteY11" fmla="*/ 11172 h 346148"/>
                      <a:gd name="connsiteX12" fmla="*/ 27908 w 71199"/>
                      <a:gd name="connsiteY12" fmla="*/ 48468 h 346148"/>
                      <a:gd name="connsiteX13" fmla="*/ 71199 w 71199"/>
                      <a:gd name="connsiteY13" fmla="*/ 166733 h 346148"/>
                      <a:gd name="connsiteX14" fmla="*/ 15814 w 71199"/>
                      <a:gd name="connsiteY14" fmla="*/ 297979 h 346148"/>
                      <a:gd name="connsiteX15" fmla="*/ 52831 w 71199"/>
                      <a:gd name="connsiteY15" fmla="*/ 334996 h 346148"/>
                      <a:gd name="connsiteX16" fmla="*/ 52831 w 71199"/>
                      <a:gd name="connsiteY16" fmla="*/ 344244 h 346148"/>
                      <a:gd name="connsiteX17" fmla="*/ 48181 w 71199"/>
                      <a:gd name="connsiteY17" fmla="*/ 346149 h 34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199" h="346148">
                        <a:moveTo>
                          <a:pt x="48181" y="346149"/>
                        </a:moveTo>
                        <a:cubicBezTo>
                          <a:pt x="46505" y="346149"/>
                          <a:pt x="44828" y="345514"/>
                          <a:pt x="43558" y="344244"/>
                        </a:cubicBezTo>
                        <a:lnTo>
                          <a:pt x="1917" y="302603"/>
                        </a:lnTo>
                        <a:cubicBezTo>
                          <a:pt x="190" y="300876"/>
                          <a:pt x="-420" y="298360"/>
                          <a:pt x="291" y="296023"/>
                        </a:cubicBezTo>
                        <a:cubicBezTo>
                          <a:pt x="647" y="294905"/>
                          <a:pt x="1409" y="293508"/>
                          <a:pt x="2273" y="292720"/>
                        </a:cubicBezTo>
                        <a:cubicBezTo>
                          <a:pt x="37740" y="260531"/>
                          <a:pt x="58090" y="214597"/>
                          <a:pt x="58090" y="166733"/>
                        </a:cubicBezTo>
                        <a:cubicBezTo>
                          <a:pt x="58090" y="124381"/>
                          <a:pt x="42440" y="83808"/>
                          <a:pt x="14011" y="52482"/>
                        </a:cubicBezTo>
                        <a:cubicBezTo>
                          <a:pt x="11597" y="49840"/>
                          <a:pt x="11775" y="45750"/>
                          <a:pt x="14392" y="43311"/>
                        </a:cubicBezTo>
                        <a:cubicBezTo>
                          <a:pt x="14646" y="43082"/>
                          <a:pt x="14925" y="42853"/>
                          <a:pt x="15205" y="42650"/>
                        </a:cubicBezTo>
                        <a:lnTo>
                          <a:pt x="55956" y="1924"/>
                        </a:lnTo>
                        <a:cubicBezTo>
                          <a:pt x="58522" y="-641"/>
                          <a:pt x="62663" y="-641"/>
                          <a:pt x="65203" y="1924"/>
                        </a:cubicBezTo>
                        <a:cubicBezTo>
                          <a:pt x="67769" y="4490"/>
                          <a:pt x="67769" y="8632"/>
                          <a:pt x="65203" y="11172"/>
                        </a:cubicBezTo>
                        <a:lnTo>
                          <a:pt x="27908" y="48468"/>
                        </a:lnTo>
                        <a:cubicBezTo>
                          <a:pt x="55879" y="81496"/>
                          <a:pt x="71199" y="123263"/>
                          <a:pt x="71199" y="166733"/>
                        </a:cubicBezTo>
                        <a:cubicBezTo>
                          <a:pt x="71199" y="216122"/>
                          <a:pt x="51103" y="263580"/>
                          <a:pt x="15814" y="297979"/>
                        </a:cubicBezTo>
                        <a:lnTo>
                          <a:pt x="52831" y="334996"/>
                        </a:lnTo>
                        <a:cubicBezTo>
                          <a:pt x="55397" y="337562"/>
                          <a:pt x="55397" y="341703"/>
                          <a:pt x="52831" y="344244"/>
                        </a:cubicBezTo>
                        <a:cubicBezTo>
                          <a:pt x="51535" y="345514"/>
                          <a:pt x="49858" y="346149"/>
                          <a:pt x="48181" y="346149"/>
                        </a:cubicBezTo>
                        <a:close/>
                      </a:path>
                    </a:pathLst>
                  </a:custGeom>
                  <a:solidFill>
                    <a:schemeClr val="accent1"/>
                  </a:solidFill>
                  <a:ln w="2536" cap="flat">
                    <a:noFill/>
                    <a:prstDash val="solid"/>
                    <a:miter/>
                  </a:ln>
                </p:spPr>
                <p:txBody>
                  <a:bodyPr rtlCol="0" anchor="ctr"/>
                  <a:lstStyle/>
                  <a:p>
                    <a:endParaRPr lang="en-GB" dirty="0"/>
                  </a:p>
                </p:txBody>
              </p:sp>
              <p:sp>
                <p:nvSpPr>
                  <p:cNvPr id="503" name="Freihandform: Form 50">
                    <a:extLst>
                      <a:ext uri="{FF2B5EF4-FFF2-40B4-BE49-F238E27FC236}">
                        <a16:creationId xmlns:a16="http://schemas.microsoft.com/office/drawing/2014/main" id="{2718C2CD-F91F-4CE6-A4E8-E7AF84DF40B4}"/>
                      </a:ext>
                    </a:extLst>
                  </p:cNvPr>
                  <p:cNvSpPr/>
                  <p:nvPr/>
                </p:nvSpPr>
                <p:spPr>
                  <a:xfrm>
                    <a:off x="1305734" y="1656368"/>
                    <a:ext cx="65394" cy="65407"/>
                  </a:xfrm>
                  <a:custGeom>
                    <a:avLst/>
                    <a:gdLst>
                      <a:gd name="connsiteX0" fmla="*/ 32685 w 65394"/>
                      <a:gd name="connsiteY0" fmla="*/ 65407 h 65407"/>
                      <a:gd name="connsiteX1" fmla="*/ 9565 w 65394"/>
                      <a:gd name="connsiteY1" fmla="*/ 55829 h 65407"/>
                      <a:gd name="connsiteX2" fmla="*/ 9565 w 65394"/>
                      <a:gd name="connsiteY2" fmla="*/ 9565 h 65407"/>
                      <a:gd name="connsiteX3" fmla="*/ 55829 w 65394"/>
                      <a:gd name="connsiteY3" fmla="*/ 9565 h 65407"/>
                      <a:gd name="connsiteX4" fmla="*/ 55829 w 65394"/>
                      <a:gd name="connsiteY4" fmla="*/ 55829 h 65407"/>
                      <a:gd name="connsiteX5" fmla="*/ 32685 w 65394"/>
                      <a:gd name="connsiteY5" fmla="*/ 65407 h 65407"/>
                      <a:gd name="connsiteX6" fmla="*/ 32685 w 65394"/>
                      <a:gd name="connsiteY6" fmla="*/ 13097 h 65407"/>
                      <a:gd name="connsiteX7" fmla="*/ 18813 w 65394"/>
                      <a:gd name="connsiteY7" fmla="*/ 18838 h 65407"/>
                      <a:gd name="connsiteX8" fmla="*/ 18813 w 65394"/>
                      <a:gd name="connsiteY8" fmla="*/ 46607 h 65407"/>
                      <a:gd name="connsiteX9" fmla="*/ 46556 w 65394"/>
                      <a:gd name="connsiteY9" fmla="*/ 46607 h 65407"/>
                      <a:gd name="connsiteX10" fmla="*/ 46556 w 65394"/>
                      <a:gd name="connsiteY10" fmla="*/ 18838 h 65407"/>
                      <a:gd name="connsiteX11" fmla="*/ 32685 w 65394"/>
                      <a:gd name="connsiteY11" fmla="*/ 13097 h 65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394" h="65407">
                        <a:moveTo>
                          <a:pt x="32685" y="65407"/>
                        </a:moveTo>
                        <a:cubicBezTo>
                          <a:pt x="24301" y="65407"/>
                          <a:pt x="15942" y="62206"/>
                          <a:pt x="9565" y="55829"/>
                        </a:cubicBezTo>
                        <a:cubicBezTo>
                          <a:pt x="-3188" y="43076"/>
                          <a:pt x="-3188" y="22319"/>
                          <a:pt x="9565" y="9565"/>
                        </a:cubicBezTo>
                        <a:cubicBezTo>
                          <a:pt x="22319" y="-3188"/>
                          <a:pt x="43076" y="-3188"/>
                          <a:pt x="55829" y="9565"/>
                        </a:cubicBezTo>
                        <a:cubicBezTo>
                          <a:pt x="68583" y="22319"/>
                          <a:pt x="68583" y="43076"/>
                          <a:pt x="55829" y="55829"/>
                        </a:cubicBezTo>
                        <a:cubicBezTo>
                          <a:pt x="49453" y="62232"/>
                          <a:pt x="41069" y="65407"/>
                          <a:pt x="32685" y="65407"/>
                        </a:cubicBezTo>
                        <a:close/>
                        <a:moveTo>
                          <a:pt x="32685" y="13097"/>
                        </a:moveTo>
                        <a:cubicBezTo>
                          <a:pt x="27654" y="13097"/>
                          <a:pt x="22624" y="15002"/>
                          <a:pt x="18813" y="18838"/>
                        </a:cubicBezTo>
                        <a:cubicBezTo>
                          <a:pt x="11166" y="26486"/>
                          <a:pt x="11166" y="38935"/>
                          <a:pt x="18813" y="46607"/>
                        </a:cubicBezTo>
                        <a:cubicBezTo>
                          <a:pt x="26460" y="54254"/>
                          <a:pt x="38909" y="54254"/>
                          <a:pt x="46556" y="46607"/>
                        </a:cubicBezTo>
                        <a:cubicBezTo>
                          <a:pt x="54203" y="38960"/>
                          <a:pt x="54203" y="26511"/>
                          <a:pt x="46556" y="18838"/>
                        </a:cubicBezTo>
                        <a:cubicBezTo>
                          <a:pt x="42745" y="15002"/>
                          <a:pt x="37715" y="13097"/>
                          <a:pt x="32685" y="13097"/>
                        </a:cubicBezTo>
                        <a:close/>
                      </a:path>
                    </a:pathLst>
                  </a:custGeom>
                  <a:solidFill>
                    <a:schemeClr val="accent1"/>
                  </a:solidFill>
                  <a:ln w="2536" cap="flat">
                    <a:noFill/>
                    <a:prstDash val="solid"/>
                    <a:miter/>
                  </a:ln>
                </p:spPr>
                <p:txBody>
                  <a:bodyPr rtlCol="0" anchor="ctr"/>
                  <a:lstStyle/>
                  <a:p>
                    <a:endParaRPr lang="en-GB" dirty="0"/>
                  </a:p>
                </p:txBody>
              </p:sp>
            </p:grpSp>
          </p:grpSp>
        </p:grpSp>
        <p:grpSp>
          <p:nvGrpSpPr>
            <p:cNvPr id="491" name="Gruppieren 6">
              <a:extLst>
                <a:ext uri="{FF2B5EF4-FFF2-40B4-BE49-F238E27FC236}">
                  <a16:creationId xmlns:a16="http://schemas.microsoft.com/office/drawing/2014/main" id="{D7E85C35-4E76-4AC4-BB6B-8342B30EA46B}"/>
                </a:ext>
              </a:extLst>
            </p:cNvPr>
            <p:cNvGrpSpPr/>
            <p:nvPr/>
          </p:nvGrpSpPr>
          <p:grpSpPr>
            <a:xfrm>
              <a:off x="8221820" y="1585984"/>
              <a:ext cx="241936" cy="328543"/>
              <a:chOff x="1016449" y="1626758"/>
              <a:chExt cx="260461" cy="353700"/>
            </a:xfrm>
            <a:solidFill>
              <a:schemeClr val="tx2"/>
            </a:solidFill>
          </p:grpSpPr>
          <p:grpSp>
            <p:nvGrpSpPr>
              <p:cNvPr id="492" name="Grafik 301">
                <a:extLst>
                  <a:ext uri="{FF2B5EF4-FFF2-40B4-BE49-F238E27FC236}">
                    <a16:creationId xmlns:a16="http://schemas.microsoft.com/office/drawing/2014/main" id="{E61D9069-4F2C-435F-9449-195DE78CD497}"/>
                  </a:ext>
                </a:extLst>
              </p:cNvPr>
              <p:cNvGrpSpPr/>
              <p:nvPr/>
            </p:nvGrpSpPr>
            <p:grpSpPr>
              <a:xfrm>
                <a:off x="1016449" y="1626758"/>
                <a:ext cx="260461" cy="353700"/>
                <a:chOff x="1016449" y="1626758"/>
                <a:chExt cx="260461" cy="353700"/>
              </a:xfrm>
              <a:grpFill/>
            </p:grpSpPr>
            <p:sp>
              <p:nvSpPr>
                <p:cNvPr id="494" name="Freihandform: Form 40">
                  <a:extLst>
                    <a:ext uri="{FF2B5EF4-FFF2-40B4-BE49-F238E27FC236}">
                      <a16:creationId xmlns:a16="http://schemas.microsoft.com/office/drawing/2014/main" id="{202CD27A-1950-4422-AF6B-0623E56A4F4D}"/>
                    </a:ext>
                  </a:extLst>
                </p:cNvPr>
                <p:cNvSpPr/>
                <p:nvPr/>
              </p:nvSpPr>
              <p:spPr>
                <a:xfrm>
                  <a:off x="1016449" y="1726100"/>
                  <a:ext cx="260461" cy="254358"/>
                </a:xfrm>
                <a:custGeom>
                  <a:avLst/>
                  <a:gdLst>
                    <a:gd name="connsiteX0" fmla="*/ 130942 w 260461"/>
                    <a:gd name="connsiteY0" fmla="*/ 254358 h 254358"/>
                    <a:gd name="connsiteX1" fmla="*/ 129545 w 260461"/>
                    <a:gd name="connsiteY1" fmla="*/ 254358 h 254358"/>
                    <a:gd name="connsiteX2" fmla="*/ 0 w 260461"/>
                    <a:gd name="connsiteY2" fmla="*/ 148466 h 254358"/>
                    <a:gd name="connsiteX3" fmla="*/ 89607 w 260461"/>
                    <a:gd name="connsiteY3" fmla="*/ 350 h 254358"/>
                    <a:gd name="connsiteX4" fmla="*/ 97889 w 260461"/>
                    <a:gd name="connsiteY4" fmla="*/ 4466 h 254358"/>
                    <a:gd name="connsiteX5" fmla="*/ 93773 w 260461"/>
                    <a:gd name="connsiteY5" fmla="*/ 12748 h 254358"/>
                    <a:gd name="connsiteX6" fmla="*/ 13059 w 260461"/>
                    <a:gd name="connsiteY6" fmla="*/ 148466 h 254358"/>
                    <a:gd name="connsiteX7" fmla="*/ 129519 w 260461"/>
                    <a:gd name="connsiteY7" fmla="*/ 241274 h 254358"/>
                    <a:gd name="connsiteX8" fmla="*/ 130917 w 260461"/>
                    <a:gd name="connsiteY8" fmla="*/ 241274 h 254358"/>
                    <a:gd name="connsiteX9" fmla="*/ 247377 w 260461"/>
                    <a:gd name="connsiteY9" fmla="*/ 148466 h 254358"/>
                    <a:gd name="connsiteX10" fmla="*/ 166663 w 260461"/>
                    <a:gd name="connsiteY10" fmla="*/ 12748 h 254358"/>
                    <a:gd name="connsiteX11" fmla="*/ 162623 w 260461"/>
                    <a:gd name="connsiteY11" fmla="*/ 4440 h 254358"/>
                    <a:gd name="connsiteX12" fmla="*/ 170855 w 260461"/>
                    <a:gd name="connsiteY12" fmla="*/ 375 h 254358"/>
                    <a:gd name="connsiteX13" fmla="*/ 260461 w 260461"/>
                    <a:gd name="connsiteY13" fmla="*/ 148492 h 254358"/>
                    <a:gd name="connsiteX14" fmla="*/ 130942 w 260461"/>
                    <a:gd name="connsiteY14" fmla="*/ 254358 h 254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60461" h="254358">
                      <a:moveTo>
                        <a:pt x="130942" y="254358"/>
                      </a:moveTo>
                      <a:lnTo>
                        <a:pt x="129545" y="254358"/>
                      </a:lnTo>
                      <a:cubicBezTo>
                        <a:pt x="40065" y="254358"/>
                        <a:pt x="0" y="201184"/>
                        <a:pt x="0" y="148466"/>
                      </a:cubicBezTo>
                      <a:cubicBezTo>
                        <a:pt x="0" y="74561"/>
                        <a:pt x="76065" y="4923"/>
                        <a:pt x="89607" y="350"/>
                      </a:cubicBezTo>
                      <a:cubicBezTo>
                        <a:pt x="93011" y="-819"/>
                        <a:pt x="96746" y="1036"/>
                        <a:pt x="97889" y="4466"/>
                      </a:cubicBezTo>
                      <a:cubicBezTo>
                        <a:pt x="99032" y="7896"/>
                        <a:pt x="97203" y="11605"/>
                        <a:pt x="93773" y="12748"/>
                      </a:cubicBezTo>
                      <a:cubicBezTo>
                        <a:pt x="82950" y="16559"/>
                        <a:pt x="13059" y="81827"/>
                        <a:pt x="13059" y="148466"/>
                      </a:cubicBezTo>
                      <a:cubicBezTo>
                        <a:pt x="13059" y="212565"/>
                        <a:pt x="71543" y="241274"/>
                        <a:pt x="129519" y="241274"/>
                      </a:cubicBezTo>
                      <a:lnTo>
                        <a:pt x="130917" y="241274"/>
                      </a:lnTo>
                      <a:cubicBezTo>
                        <a:pt x="188893" y="241274"/>
                        <a:pt x="247377" y="212565"/>
                        <a:pt x="247377" y="148466"/>
                      </a:cubicBezTo>
                      <a:cubicBezTo>
                        <a:pt x="247377" y="81801"/>
                        <a:pt x="177486" y="16559"/>
                        <a:pt x="166663" y="12748"/>
                      </a:cubicBezTo>
                      <a:cubicBezTo>
                        <a:pt x="163258" y="11554"/>
                        <a:pt x="161429" y="7819"/>
                        <a:pt x="162623" y="4440"/>
                      </a:cubicBezTo>
                      <a:cubicBezTo>
                        <a:pt x="163792" y="1036"/>
                        <a:pt x="167425" y="-793"/>
                        <a:pt x="170855" y="375"/>
                      </a:cubicBezTo>
                      <a:cubicBezTo>
                        <a:pt x="184396" y="4949"/>
                        <a:pt x="260461" y="74586"/>
                        <a:pt x="260461" y="148492"/>
                      </a:cubicBezTo>
                      <a:cubicBezTo>
                        <a:pt x="260487" y="201184"/>
                        <a:pt x="220447" y="254358"/>
                        <a:pt x="130942" y="254358"/>
                      </a:cubicBezTo>
                      <a:close/>
                    </a:path>
                  </a:pathLst>
                </a:custGeom>
                <a:grpFill/>
                <a:ln w="2536" cap="flat">
                  <a:noFill/>
                  <a:prstDash val="solid"/>
                  <a:miter/>
                </a:ln>
              </p:spPr>
              <p:txBody>
                <a:bodyPr rtlCol="0" anchor="ctr"/>
                <a:lstStyle/>
                <a:p>
                  <a:endParaRPr lang="en-GB" dirty="0"/>
                </a:p>
              </p:txBody>
            </p:sp>
            <p:sp>
              <p:nvSpPr>
                <p:cNvPr id="495" name="Freihandform: Form 41">
                  <a:extLst>
                    <a:ext uri="{FF2B5EF4-FFF2-40B4-BE49-F238E27FC236}">
                      <a16:creationId xmlns:a16="http://schemas.microsoft.com/office/drawing/2014/main" id="{6E86A7FD-6686-4777-87AF-B000EC784167}"/>
                    </a:ext>
                  </a:extLst>
                </p:cNvPr>
                <p:cNvSpPr/>
                <p:nvPr/>
              </p:nvSpPr>
              <p:spPr>
                <a:xfrm>
                  <a:off x="1103022" y="1712963"/>
                  <a:ext cx="88753" cy="26215"/>
                </a:xfrm>
                <a:custGeom>
                  <a:avLst/>
                  <a:gdLst>
                    <a:gd name="connsiteX0" fmla="*/ 82224 w 88753"/>
                    <a:gd name="connsiteY0" fmla="*/ 26216 h 26215"/>
                    <a:gd name="connsiteX1" fmla="*/ 6539 w 88753"/>
                    <a:gd name="connsiteY1" fmla="*/ 26216 h 26215"/>
                    <a:gd name="connsiteX2" fmla="*/ 1357 w 88753"/>
                    <a:gd name="connsiteY2" fmla="*/ 23675 h 26215"/>
                    <a:gd name="connsiteX3" fmla="*/ 213 w 88753"/>
                    <a:gd name="connsiteY3" fmla="*/ 18010 h 26215"/>
                    <a:gd name="connsiteX4" fmla="*/ 3669 w 88753"/>
                    <a:gd name="connsiteY4" fmla="*/ 4875 h 26215"/>
                    <a:gd name="connsiteX5" fmla="*/ 11671 w 88753"/>
                    <a:gd name="connsiteY5" fmla="*/ 226 h 26215"/>
                    <a:gd name="connsiteX6" fmla="*/ 16321 w 88753"/>
                    <a:gd name="connsiteY6" fmla="*/ 8228 h 26215"/>
                    <a:gd name="connsiteX7" fmla="*/ 15025 w 88753"/>
                    <a:gd name="connsiteY7" fmla="*/ 13157 h 26215"/>
                    <a:gd name="connsiteX8" fmla="*/ 82224 w 88753"/>
                    <a:gd name="connsiteY8" fmla="*/ 13157 h 26215"/>
                    <a:gd name="connsiteX9" fmla="*/ 88753 w 88753"/>
                    <a:gd name="connsiteY9" fmla="*/ 19687 h 26215"/>
                    <a:gd name="connsiteX10" fmla="*/ 82224 w 88753"/>
                    <a:gd name="connsiteY10" fmla="*/ 26216 h 2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753" h="26215">
                      <a:moveTo>
                        <a:pt x="82224" y="26216"/>
                      </a:moveTo>
                      <a:lnTo>
                        <a:pt x="6539" y="26216"/>
                      </a:lnTo>
                      <a:cubicBezTo>
                        <a:pt x="4507" y="26216"/>
                        <a:pt x="2602" y="25276"/>
                        <a:pt x="1357" y="23675"/>
                      </a:cubicBezTo>
                      <a:cubicBezTo>
                        <a:pt x="112" y="22075"/>
                        <a:pt x="-295" y="19966"/>
                        <a:pt x="213" y="18010"/>
                      </a:cubicBezTo>
                      <a:lnTo>
                        <a:pt x="3669" y="4875"/>
                      </a:lnTo>
                      <a:cubicBezTo>
                        <a:pt x="4583" y="1369"/>
                        <a:pt x="8165" y="-714"/>
                        <a:pt x="11671" y="226"/>
                      </a:cubicBezTo>
                      <a:cubicBezTo>
                        <a:pt x="15177" y="1140"/>
                        <a:pt x="17261" y="4722"/>
                        <a:pt x="16321" y="8228"/>
                      </a:cubicBezTo>
                      <a:lnTo>
                        <a:pt x="15025" y="13157"/>
                      </a:lnTo>
                      <a:lnTo>
                        <a:pt x="82224" y="13157"/>
                      </a:lnTo>
                      <a:cubicBezTo>
                        <a:pt x="85831" y="13157"/>
                        <a:pt x="88753" y="16079"/>
                        <a:pt x="88753" y="19687"/>
                      </a:cubicBezTo>
                      <a:cubicBezTo>
                        <a:pt x="88778" y="23294"/>
                        <a:pt x="85831" y="26216"/>
                        <a:pt x="82224" y="26216"/>
                      </a:cubicBezTo>
                      <a:close/>
                    </a:path>
                  </a:pathLst>
                </a:custGeom>
                <a:grpFill/>
                <a:ln w="2536" cap="flat">
                  <a:noFill/>
                  <a:prstDash val="solid"/>
                  <a:miter/>
                </a:ln>
              </p:spPr>
              <p:txBody>
                <a:bodyPr rtlCol="0" anchor="ctr"/>
                <a:lstStyle/>
                <a:p>
                  <a:endParaRPr lang="en-GB" dirty="0"/>
                </a:p>
              </p:txBody>
            </p:sp>
            <p:sp>
              <p:nvSpPr>
                <p:cNvPr id="496" name="Freihandform: Form 42">
                  <a:extLst>
                    <a:ext uri="{FF2B5EF4-FFF2-40B4-BE49-F238E27FC236}">
                      <a16:creationId xmlns:a16="http://schemas.microsoft.com/office/drawing/2014/main" id="{8DDDE41B-1C3E-4A9D-B16D-8BC408422B19}"/>
                    </a:ext>
                  </a:extLst>
                </p:cNvPr>
                <p:cNvSpPr/>
                <p:nvPr/>
              </p:nvSpPr>
              <p:spPr>
                <a:xfrm>
                  <a:off x="1093142" y="1626758"/>
                  <a:ext cx="108501" cy="85668"/>
                </a:xfrm>
                <a:custGeom>
                  <a:avLst/>
                  <a:gdLst>
                    <a:gd name="connsiteX0" fmla="*/ 89919 w 108501"/>
                    <a:gd name="connsiteY0" fmla="*/ 85669 h 85668"/>
                    <a:gd name="connsiteX1" fmla="*/ 83543 w 108501"/>
                    <a:gd name="connsiteY1" fmla="*/ 80587 h 85668"/>
                    <a:gd name="connsiteX2" fmla="*/ 82171 w 108501"/>
                    <a:gd name="connsiteY2" fmla="*/ 74592 h 85668"/>
                    <a:gd name="connsiteX3" fmla="*/ 21146 w 108501"/>
                    <a:gd name="connsiteY3" fmla="*/ 74592 h 85668"/>
                    <a:gd name="connsiteX4" fmla="*/ 14870 w 108501"/>
                    <a:gd name="connsiteY4" fmla="*/ 69917 h 85668"/>
                    <a:gd name="connsiteX5" fmla="*/ 694 w 108501"/>
                    <a:gd name="connsiteY5" fmla="*/ 22611 h 85668"/>
                    <a:gd name="connsiteX6" fmla="*/ 3209 w 108501"/>
                    <a:gd name="connsiteY6" fmla="*/ 8282 h 85668"/>
                    <a:gd name="connsiteX7" fmla="*/ 21171 w 108501"/>
                    <a:gd name="connsiteY7" fmla="*/ 0 h 85668"/>
                    <a:gd name="connsiteX8" fmla="*/ 87404 w 108501"/>
                    <a:gd name="connsiteY8" fmla="*/ 0 h 85668"/>
                    <a:gd name="connsiteX9" fmla="*/ 105087 w 108501"/>
                    <a:gd name="connsiteY9" fmla="*/ 8282 h 85668"/>
                    <a:gd name="connsiteX10" fmla="*/ 107932 w 108501"/>
                    <a:gd name="connsiteY10" fmla="*/ 22408 h 85668"/>
                    <a:gd name="connsiteX11" fmla="*/ 94188 w 108501"/>
                    <a:gd name="connsiteY11" fmla="*/ 68240 h 85668"/>
                    <a:gd name="connsiteX12" fmla="*/ 96347 w 108501"/>
                    <a:gd name="connsiteY12" fmla="*/ 77615 h 85668"/>
                    <a:gd name="connsiteX13" fmla="*/ 91444 w 108501"/>
                    <a:gd name="connsiteY13" fmla="*/ 85465 h 85668"/>
                    <a:gd name="connsiteX14" fmla="*/ 89919 w 108501"/>
                    <a:gd name="connsiteY14" fmla="*/ 85669 h 85668"/>
                    <a:gd name="connsiteX15" fmla="*/ 26024 w 108501"/>
                    <a:gd name="connsiteY15" fmla="*/ 61508 h 85668"/>
                    <a:gd name="connsiteX16" fmla="*/ 82526 w 108501"/>
                    <a:gd name="connsiteY16" fmla="*/ 61508 h 85668"/>
                    <a:gd name="connsiteX17" fmla="*/ 95305 w 108501"/>
                    <a:gd name="connsiteY17" fmla="*/ 18851 h 85668"/>
                    <a:gd name="connsiteX18" fmla="*/ 94670 w 108501"/>
                    <a:gd name="connsiteY18" fmla="*/ 16260 h 85668"/>
                    <a:gd name="connsiteX19" fmla="*/ 87379 w 108501"/>
                    <a:gd name="connsiteY19" fmla="*/ 13084 h 85668"/>
                    <a:gd name="connsiteX20" fmla="*/ 21146 w 108501"/>
                    <a:gd name="connsiteY20" fmla="*/ 13084 h 85668"/>
                    <a:gd name="connsiteX21" fmla="*/ 13651 w 108501"/>
                    <a:gd name="connsiteY21" fmla="*/ 16158 h 85668"/>
                    <a:gd name="connsiteX22" fmla="*/ 13244 w 108501"/>
                    <a:gd name="connsiteY22" fmla="*/ 18927 h 85668"/>
                    <a:gd name="connsiteX23" fmla="*/ 26024 w 108501"/>
                    <a:gd name="connsiteY23" fmla="*/ 61508 h 8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8501" h="85668">
                      <a:moveTo>
                        <a:pt x="89919" y="85669"/>
                      </a:moveTo>
                      <a:cubicBezTo>
                        <a:pt x="86947" y="85669"/>
                        <a:pt x="84254" y="83611"/>
                        <a:pt x="83543" y="80587"/>
                      </a:cubicBezTo>
                      <a:lnTo>
                        <a:pt x="82171" y="74592"/>
                      </a:lnTo>
                      <a:lnTo>
                        <a:pt x="21146" y="74592"/>
                      </a:lnTo>
                      <a:cubicBezTo>
                        <a:pt x="18249" y="74592"/>
                        <a:pt x="15709" y="72686"/>
                        <a:pt x="14870" y="69917"/>
                      </a:cubicBezTo>
                      <a:lnTo>
                        <a:pt x="694" y="22611"/>
                      </a:lnTo>
                      <a:cubicBezTo>
                        <a:pt x="-780" y="17454"/>
                        <a:pt x="110" y="12398"/>
                        <a:pt x="3209" y="8282"/>
                      </a:cubicBezTo>
                      <a:cubicBezTo>
                        <a:pt x="6995" y="3252"/>
                        <a:pt x="14057" y="0"/>
                        <a:pt x="21171" y="0"/>
                      </a:cubicBezTo>
                      <a:lnTo>
                        <a:pt x="87404" y="0"/>
                      </a:lnTo>
                      <a:cubicBezTo>
                        <a:pt x="94289" y="0"/>
                        <a:pt x="101225" y="3252"/>
                        <a:pt x="105087" y="8282"/>
                      </a:cubicBezTo>
                      <a:cubicBezTo>
                        <a:pt x="108263" y="12398"/>
                        <a:pt x="109253" y="17428"/>
                        <a:pt x="107932" y="22408"/>
                      </a:cubicBezTo>
                      <a:lnTo>
                        <a:pt x="94188" y="68240"/>
                      </a:lnTo>
                      <a:lnTo>
                        <a:pt x="96347" y="77615"/>
                      </a:lnTo>
                      <a:cubicBezTo>
                        <a:pt x="97160" y="81146"/>
                        <a:pt x="94950" y="84652"/>
                        <a:pt x="91444" y="85465"/>
                      </a:cubicBezTo>
                      <a:cubicBezTo>
                        <a:pt x="90910" y="85592"/>
                        <a:pt x="90402" y="85669"/>
                        <a:pt x="89919" y="85669"/>
                      </a:cubicBezTo>
                      <a:close/>
                      <a:moveTo>
                        <a:pt x="26024" y="61508"/>
                      </a:moveTo>
                      <a:lnTo>
                        <a:pt x="82526" y="61508"/>
                      </a:lnTo>
                      <a:lnTo>
                        <a:pt x="95305" y="18851"/>
                      </a:lnTo>
                      <a:cubicBezTo>
                        <a:pt x="95534" y="17987"/>
                        <a:pt x="95356" y="17149"/>
                        <a:pt x="94670" y="16260"/>
                      </a:cubicBezTo>
                      <a:cubicBezTo>
                        <a:pt x="93248" y="14431"/>
                        <a:pt x="90199" y="13084"/>
                        <a:pt x="87379" y="13084"/>
                      </a:cubicBezTo>
                      <a:lnTo>
                        <a:pt x="21146" y="13084"/>
                      </a:lnTo>
                      <a:cubicBezTo>
                        <a:pt x="18148" y="13084"/>
                        <a:pt x="14997" y="14380"/>
                        <a:pt x="13651" y="16158"/>
                      </a:cubicBezTo>
                      <a:cubicBezTo>
                        <a:pt x="13194" y="16768"/>
                        <a:pt x="12838" y="17505"/>
                        <a:pt x="13244" y="18927"/>
                      </a:cubicBezTo>
                      <a:lnTo>
                        <a:pt x="26024" y="61508"/>
                      </a:lnTo>
                      <a:close/>
                    </a:path>
                  </a:pathLst>
                </a:custGeom>
                <a:grpFill/>
                <a:ln w="2536" cap="flat">
                  <a:noFill/>
                  <a:prstDash val="solid"/>
                  <a:miter/>
                </a:ln>
              </p:spPr>
              <p:txBody>
                <a:bodyPr rtlCol="0" anchor="ctr"/>
                <a:lstStyle/>
                <a:p>
                  <a:endParaRPr lang="en-GB" dirty="0"/>
                </a:p>
              </p:txBody>
            </p:sp>
          </p:grpSp>
          <p:sp>
            <p:nvSpPr>
              <p:cNvPr id="493" name="Freihandform: Form 51">
                <a:extLst>
                  <a:ext uri="{FF2B5EF4-FFF2-40B4-BE49-F238E27FC236}">
                    <a16:creationId xmlns:a16="http://schemas.microsoft.com/office/drawing/2014/main" id="{CB7C98D0-262A-4484-A5C5-B106142835E5}"/>
                  </a:ext>
                </a:extLst>
              </p:cNvPr>
              <p:cNvSpPr/>
              <p:nvPr/>
            </p:nvSpPr>
            <p:spPr>
              <a:xfrm>
                <a:off x="1140837" y="1658464"/>
                <a:ext cx="52310" cy="13058"/>
              </a:xfrm>
              <a:custGeom>
                <a:avLst/>
                <a:gdLst>
                  <a:gd name="connsiteX0" fmla="*/ 45781 w 52310"/>
                  <a:gd name="connsiteY0" fmla="*/ 13059 h 13058"/>
                  <a:gd name="connsiteX1" fmla="*/ 6529 w 52310"/>
                  <a:gd name="connsiteY1" fmla="*/ 13059 h 13058"/>
                  <a:gd name="connsiteX2" fmla="*/ 0 w 52310"/>
                  <a:gd name="connsiteY2" fmla="*/ 6529 h 13058"/>
                  <a:gd name="connsiteX3" fmla="*/ 6529 w 52310"/>
                  <a:gd name="connsiteY3" fmla="*/ 0 h 13058"/>
                  <a:gd name="connsiteX4" fmla="*/ 45781 w 52310"/>
                  <a:gd name="connsiteY4" fmla="*/ 0 h 13058"/>
                  <a:gd name="connsiteX5" fmla="*/ 52311 w 52310"/>
                  <a:gd name="connsiteY5" fmla="*/ 6529 h 13058"/>
                  <a:gd name="connsiteX6" fmla="*/ 45781 w 52310"/>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10" h="13058">
                    <a:moveTo>
                      <a:pt x="45781" y="13059"/>
                    </a:moveTo>
                    <a:lnTo>
                      <a:pt x="6529" y="13059"/>
                    </a:lnTo>
                    <a:cubicBezTo>
                      <a:pt x="2922" y="13059"/>
                      <a:pt x="0" y="10137"/>
                      <a:pt x="0" y="6529"/>
                    </a:cubicBezTo>
                    <a:cubicBezTo>
                      <a:pt x="0" y="2922"/>
                      <a:pt x="2922" y="0"/>
                      <a:pt x="6529" y="0"/>
                    </a:cubicBezTo>
                    <a:lnTo>
                      <a:pt x="45781" y="0"/>
                    </a:lnTo>
                    <a:cubicBezTo>
                      <a:pt x="49389" y="0"/>
                      <a:pt x="52311" y="2922"/>
                      <a:pt x="52311" y="6529"/>
                    </a:cubicBezTo>
                    <a:cubicBezTo>
                      <a:pt x="52311" y="10137"/>
                      <a:pt x="49389" y="13059"/>
                      <a:pt x="45781" y="13059"/>
                    </a:cubicBezTo>
                    <a:close/>
                  </a:path>
                </a:pathLst>
              </a:custGeom>
              <a:grpFill/>
              <a:ln w="2536" cap="flat">
                <a:noFill/>
                <a:prstDash val="solid"/>
                <a:miter/>
              </a:ln>
            </p:spPr>
            <p:txBody>
              <a:bodyPr rtlCol="0" anchor="ctr"/>
              <a:lstStyle/>
              <a:p>
                <a:endParaRPr lang="en-GB" dirty="0"/>
              </a:p>
            </p:txBody>
          </p:sp>
        </p:grpSp>
      </p:grpSp>
      <p:grpSp>
        <p:nvGrpSpPr>
          <p:cNvPr id="396" name="Group 395">
            <a:extLst>
              <a:ext uri="{FF2B5EF4-FFF2-40B4-BE49-F238E27FC236}">
                <a16:creationId xmlns:a16="http://schemas.microsoft.com/office/drawing/2014/main" id="{DAA7DC53-8911-1E1B-128C-A91B397C3052}"/>
              </a:ext>
            </a:extLst>
          </p:cNvPr>
          <p:cNvGrpSpPr/>
          <p:nvPr/>
        </p:nvGrpSpPr>
        <p:grpSpPr>
          <a:xfrm>
            <a:off x="4969431" y="2391526"/>
            <a:ext cx="487675" cy="432000"/>
            <a:chOff x="4969019" y="2391526"/>
            <a:chExt cx="487675" cy="432000"/>
          </a:xfrm>
        </p:grpSpPr>
        <p:grpSp>
          <p:nvGrpSpPr>
            <p:cNvPr id="514" name="Gruppieren 759">
              <a:extLst>
                <a:ext uri="{FF2B5EF4-FFF2-40B4-BE49-F238E27FC236}">
                  <a16:creationId xmlns:a16="http://schemas.microsoft.com/office/drawing/2014/main" id="{7FAB2CDD-B3EB-4D6D-B718-FAF8BE904D0D}"/>
                </a:ext>
              </a:extLst>
            </p:cNvPr>
            <p:cNvGrpSpPr/>
            <p:nvPr/>
          </p:nvGrpSpPr>
          <p:grpSpPr>
            <a:xfrm>
              <a:off x="5199107" y="2391526"/>
              <a:ext cx="257587" cy="432000"/>
              <a:chOff x="1969170" y="1633007"/>
              <a:chExt cx="256406" cy="430020"/>
            </a:xfrm>
            <a:solidFill>
              <a:schemeClr val="tx2"/>
            </a:solidFill>
          </p:grpSpPr>
          <p:grpSp>
            <p:nvGrpSpPr>
              <p:cNvPr id="525" name="Grafik 301">
                <a:extLst>
                  <a:ext uri="{FF2B5EF4-FFF2-40B4-BE49-F238E27FC236}">
                    <a16:creationId xmlns:a16="http://schemas.microsoft.com/office/drawing/2014/main" id="{2B666FE7-3BFC-435F-9041-67CC05C9B832}"/>
                  </a:ext>
                </a:extLst>
              </p:cNvPr>
              <p:cNvGrpSpPr/>
              <p:nvPr/>
            </p:nvGrpSpPr>
            <p:grpSpPr>
              <a:xfrm>
                <a:off x="2051841" y="1975833"/>
                <a:ext cx="149299" cy="87194"/>
                <a:chOff x="2051841" y="1975833"/>
                <a:chExt cx="149299" cy="87194"/>
              </a:xfrm>
              <a:grpFill/>
            </p:grpSpPr>
            <p:sp>
              <p:nvSpPr>
                <p:cNvPr id="531" name="Freihandform: Form 254">
                  <a:extLst>
                    <a:ext uri="{FF2B5EF4-FFF2-40B4-BE49-F238E27FC236}">
                      <a16:creationId xmlns:a16="http://schemas.microsoft.com/office/drawing/2014/main" id="{AF97C473-B636-4EE8-BAF7-1D9E0022B83C}"/>
                    </a:ext>
                  </a:extLst>
                </p:cNvPr>
                <p:cNvSpPr/>
                <p:nvPr/>
              </p:nvSpPr>
              <p:spPr>
                <a:xfrm>
                  <a:off x="2051841" y="1975833"/>
                  <a:ext cx="149299" cy="87194"/>
                </a:xfrm>
                <a:custGeom>
                  <a:avLst/>
                  <a:gdLst>
                    <a:gd name="connsiteX0" fmla="*/ 142248 w 149299"/>
                    <a:gd name="connsiteY0" fmla="*/ 87195 h 87194"/>
                    <a:gd name="connsiteX1" fmla="*/ 6529 w 149299"/>
                    <a:gd name="connsiteY1" fmla="*/ 87195 h 87194"/>
                    <a:gd name="connsiteX2" fmla="*/ 0 w 149299"/>
                    <a:gd name="connsiteY2" fmla="*/ 80665 h 87194"/>
                    <a:gd name="connsiteX3" fmla="*/ 6529 w 149299"/>
                    <a:gd name="connsiteY3" fmla="*/ 74136 h 87194"/>
                    <a:gd name="connsiteX4" fmla="*/ 136201 w 149299"/>
                    <a:gd name="connsiteY4" fmla="*/ 74136 h 87194"/>
                    <a:gd name="connsiteX5" fmla="*/ 126877 w 149299"/>
                    <a:gd name="connsiteY5" fmla="*/ 52871 h 87194"/>
                    <a:gd name="connsiteX6" fmla="*/ 119585 w 149299"/>
                    <a:gd name="connsiteY6" fmla="*/ 46012 h 87194"/>
                    <a:gd name="connsiteX7" fmla="*/ 118163 w 149299"/>
                    <a:gd name="connsiteY7" fmla="*/ 38873 h 87194"/>
                    <a:gd name="connsiteX8" fmla="*/ 124209 w 149299"/>
                    <a:gd name="connsiteY8" fmla="*/ 34833 h 87194"/>
                    <a:gd name="connsiteX9" fmla="*/ 127868 w 149299"/>
                    <a:gd name="connsiteY9" fmla="*/ 30489 h 87194"/>
                    <a:gd name="connsiteX10" fmla="*/ 115673 w 149299"/>
                    <a:gd name="connsiteY10" fmla="*/ 13086 h 87194"/>
                    <a:gd name="connsiteX11" fmla="*/ 109449 w 149299"/>
                    <a:gd name="connsiteY11" fmla="*/ 6226 h 87194"/>
                    <a:gd name="connsiteX12" fmla="*/ 116308 w 149299"/>
                    <a:gd name="connsiteY12" fmla="*/ 2 h 87194"/>
                    <a:gd name="connsiteX13" fmla="*/ 140952 w 149299"/>
                    <a:gd name="connsiteY13" fmla="*/ 30794 h 87194"/>
                    <a:gd name="connsiteX14" fmla="*/ 135998 w 149299"/>
                    <a:gd name="connsiteY14" fmla="*/ 43471 h 87194"/>
                    <a:gd name="connsiteX15" fmla="*/ 148752 w 149299"/>
                    <a:gd name="connsiteY15" fmla="*/ 81300 h 87194"/>
                    <a:gd name="connsiteX16" fmla="*/ 142248 w 149299"/>
                    <a:gd name="connsiteY16" fmla="*/ 87195 h 8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9299" h="87194">
                      <a:moveTo>
                        <a:pt x="142248" y="87195"/>
                      </a:moveTo>
                      <a:lnTo>
                        <a:pt x="6529" y="87195"/>
                      </a:lnTo>
                      <a:cubicBezTo>
                        <a:pt x="2922" y="87195"/>
                        <a:pt x="0" y="84273"/>
                        <a:pt x="0" y="80665"/>
                      </a:cubicBezTo>
                      <a:cubicBezTo>
                        <a:pt x="0" y="77058"/>
                        <a:pt x="2922" y="74136"/>
                        <a:pt x="6529" y="74136"/>
                      </a:cubicBezTo>
                      <a:lnTo>
                        <a:pt x="136201" y="74136"/>
                      </a:lnTo>
                      <a:cubicBezTo>
                        <a:pt x="136862" y="61967"/>
                        <a:pt x="134524" y="59807"/>
                        <a:pt x="126877" y="52871"/>
                      </a:cubicBezTo>
                      <a:cubicBezTo>
                        <a:pt x="124743" y="50940"/>
                        <a:pt x="122329" y="48730"/>
                        <a:pt x="119585" y="46012"/>
                      </a:cubicBezTo>
                      <a:cubicBezTo>
                        <a:pt x="117705" y="44132"/>
                        <a:pt x="117147" y="41337"/>
                        <a:pt x="118163" y="38873"/>
                      </a:cubicBezTo>
                      <a:cubicBezTo>
                        <a:pt x="119179" y="36434"/>
                        <a:pt x="121567" y="34833"/>
                        <a:pt x="124209" y="34833"/>
                      </a:cubicBezTo>
                      <a:cubicBezTo>
                        <a:pt x="125886" y="34833"/>
                        <a:pt x="127766" y="34833"/>
                        <a:pt x="127868" y="30489"/>
                      </a:cubicBezTo>
                      <a:cubicBezTo>
                        <a:pt x="128046" y="23299"/>
                        <a:pt x="122050" y="13390"/>
                        <a:pt x="115673" y="13086"/>
                      </a:cubicBezTo>
                      <a:cubicBezTo>
                        <a:pt x="112065" y="12908"/>
                        <a:pt x="109271" y="9834"/>
                        <a:pt x="109449" y="6226"/>
                      </a:cubicBezTo>
                      <a:cubicBezTo>
                        <a:pt x="109626" y="2618"/>
                        <a:pt x="112853" y="-75"/>
                        <a:pt x="116308" y="2"/>
                      </a:cubicBezTo>
                      <a:cubicBezTo>
                        <a:pt x="130586" y="688"/>
                        <a:pt x="141282" y="17125"/>
                        <a:pt x="140952" y="30794"/>
                      </a:cubicBezTo>
                      <a:cubicBezTo>
                        <a:pt x="140825" y="36129"/>
                        <a:pt x="139046" y="40473"/>
                        <a:pt x="135998" y="43471"/>
                      </a:cubicBezTo>
                      <a:cubicBezTo>
                        <a:pt x="146440" y="52998"/>
                        <a:pt x="150962" y="58410"/>
                        <a:pt x="148752" y="81300"/>
                      </a:cubicBezTo>
                      <a:cubicBezTo>
                        <a:pt x="148421" y="84629"/>
                        <a:pt x="145601" y="87195"/>
                        <a:pt x="142248" y="87195"/>
                      </a:cubicBezTo>
                      <a:close/>
                    </a:path>
                  </a:pathLst>
                </a:custGeom>
                <a:grpFill/>
                <a:ln w="2536" cap="flat">
                  <a:noFill/>
                  <a:prstDash val="solid"/>
                  <a:miter/>
                </a:ln>
              </p:spPr>
              <p:txBody>
                <a:bodyPr rtlCol="0" anchor="ctr"/>
                <a:lstStyle/>
                <a:p>
                  <a:endParaRPr lang="en-GB" dirty="0"/>
                </a:p>
              </p:txBody>
            </p:sp>
            <p:sp>
              <p:nvSpPr>
                <p:cNvPr id="532" name="Freihandform: Form 255">
                  <a:extLst>
                    <a:ext uri="{FF2B5EF4-FFF2-40B4-BE49-F238E27FC236}">
                      <a16:creationId xmlns:a16="http://schemas.microsoft.com/office/drawing/2014/main" id="{34159451-3FEB-4C8E-92F0-80FFC1AE3A01}"/>
                    </a:ext>
                  </a:extLst>
                </p:cNvPr>
                <p:cNvSpPr/>
                <p:nvPr/>
              </p:nvSpPr>
              <p:spPr>
                <a:xfrm>
                  <a:off x="2079991" y="2010945"/>
                  <a:ext cx="102385" cy="13058"/>
                </a:xfrm>
                <a:custGeom>
                  <a:avLst/>
                  <a:gdLst>
                    <a:gd name="connsiteX0" fmla="*/ 95856 w 102385"/>
                    <a:gd name="connsiteY0" fmla="*/ 13059 h 13058"/>
                    <a:gd name="connsiteX1" fmla="*/ 6529 w 102385"/>
                    <a:gd name="connsiteY1" fmla="*/ 13059 h 13058"/>
                    <a:gd name="connsiteX2" fmla="*/ 0 w 102385"/>
                    <a:gd name="connsiteY2" fmla="*/ 6529 h 13058"/>
                    <a:gd name="connsiteX3" fmla="*/ 6529 w 102385"/>
                    <a:gd name="connsiteY3" fmla="*/ 0 h 13058"/>
                    <a:gd name="connsiteX4" fmla="*/ 95856 w 102385"/>
                    <a:gd name="connsiteY4" fmla="*/ 0 h 13058"/>
                    <a:gd name="connsiteX5" fmla="*/ 102386 w 102385"/>
                    <a:gd name="connsiteY5" fmla="*/ 6529 h 13058"/>
                    <a:gd name="connsiteX6" fmla="*/ 95856 w 102385"/>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385" h="13058">
                      <a:moveTo>
                        <a:pt x="95856" y="13059"/>
                      </a:moveTo>
                      <a:lnTo>
                        <a:pt x="6529" y="13059"/>
                      </a:lnTo>
                      <a:cubicBezTo>
                        <a:pt x="2922" y="13059"/>
                        <a:pt x="0" y="10137"/>
                        <a:pt x="0" y="6529"/>
                      </a:cubicBezTo>
                      <a:cubicBezTo>
                        <a:pt x="0" y="2922"/>
                        <a:pt x="2922" y="0"/>
                        <a:pt x="6529" y="0"/>
                      </a:cubicBezTo>
                      <a:lnTo>
                        <a:pt x="95856" y="0"/>
                      </a:lnTo>
                      <a:cubicBezTo>
                        <a:pt x="99464" y="0"/>
                        <a:pt x="102386" y="2922"/>
                        <a:pt x="102386" y="6529"/>
                      </a:cubicBezTo>
                      <a:cubicBezTo>
                        <a:pt x="102386" y="10112"/>
                        <a:pt x="99464" y="13059"/>
                        <a:pt x="95856" y="13059"/>
                      </a:cubicBezTo>
                      <a:close/>
                    </a:path>
                  </a:pathLst>
                </a:custGeom>
                <a:grpFill/>
                <a:ln w="2536" cap="flat">
                  <a:noFill/>
                  <a:prstDash val="solid"/>
                  <a:miter/>
                </a:ln>
              </p:spPr>
              <p:txBody>
                <a:bodyPr rtlCol="0" anchor="ctr"/>
                <a:lstStyle/>
                <a:p>
                  <a:endParaRPr lang="en-GB" dirty="0"/>
                </a:p>
              </p:txBody>
            </p:sp>
          </p:grpSp>
          <p:sp>
            <p:nvSpPr>
              <p:cNvPr id="526" name="Freihandform: Form 256">
                <a:extLst>
                  <a:ext uri="{FF2B5EF4-FFF2-40B4-BE49-F238E27FC236}">
                    <a16:creationId xmlns:a16="http://schemas.microsoft.com/office/drawing/2014/main" id="{12E41C42-DFC1-4861-ACE9-2EA537BB6C57}"/>
                  </a:ext>
                </a:extLst>
              </p:cNvPr>
              <p:cNvSpPr/>
              <p:nvPr/>
            </p:nvSpPr>
            <p:spPr>
              <a:xfrm>
                <a:off x="2043279" y="2010895"/>
                <a:ext cx="17530" cy="13058"/>
              </a:xfrm>
              <a:custGeom>
                <a:avLst/>
                <a:gdLst>
                  <a:gd name="connsiteX0" fmla="*/ 11001 w 17530"/>
                  <a:gd name="connsiteY0" fmla="*/ 13059 h 13058"/>
                  <a:gd name="connsiteX1" fmla="*/ 6529 w 17530"/>
                  <a:gd name="connsiteY1" fmla="*/ 13059 h 13058"/>
                  <a:gd name="connsiteX2" fmla="*/ 0 w 17530"/>
                  <a:gd name="connsiteY2" fmla="*/ 6529 h 13058"/>
                  <a:gd name="connsiteX3" fmla="*/ 6529 w 17530"/>
                  <a:gd name="connsiteY3" fmla="*/ 0 h 13058"/>
                  <a:gd name="connsiteX4" fmla="*/ 11001 w 17530"/>
                  <a:gd name="connsiteY4" fmla="*/ 0 h 13058"/>
                  <a:gd name="connsiteX5" fmla="*/ 17530 w 17530"/>
                  <a:gd name="connsiteY5" fmla="*/ 6529 h 13058"/>
                  <a:gd name="connsiteX6" fmla="*/ 11001 w 17530"/>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30" h="13058">
                    <a:moveTo>
                      <a:pt x="11001" y="13059"/>
                    </a:moveTo>
                    <a:lnTo>
                      <a:pt x="6529" y="13059"/>
                    </a:lnTo>
                    <a:cubicBezTo>
                      <a:pt x="2922" y="13059"/>
                      <a:pt x="0" y="10137"/>
                      <a:pt x="0" y="6529"/>
                    </a:cubicBezTo>
                    <a:cubicBezTo>
                      <a:pt x="0" y="2922"/>
                      <a:pt x="2922" y="0"/>
                      <a:pt x="6529" y="0"/>
                    </a:cubicBezTo>
                    <a:lnTo>
                      <a:pt x="11001" y="0"/>
                    </a:lnTo>
                    <a:cubicBezTo>
                      <a:pt x="14608" y="0"/>
                      <a:pt x="17530" y="2922"/>
                      <a:pt x="17530" y="6529"/>
                    </a:cubicBezTo>
                    <a:cubicBezTo>
                      <a:pt x="17530" y="10137"/>
                      <a:pt x="14608" y="13059"/>
                      <a:pt x="11001" y="13059"/>
                    </a:cubicBezTo>
                    <a:close/>
                  </a:path>
                </a:pathLst>
              </a:custGeom>
              <a:grpFill/>
              <a:ln w="2536" cap="flat">
                <a:noFill/>
                <a:prstDash val="solid"/>
                <a:miter/>
              </a:ln>
            </p:spPr>
            <p:txBody>
              <a:bodyPr rtlCol="0" anchor="ctr"/>
              <a:lstStyle/>
              <a:p>
                <a:endParaRPr lang="en-GB" dirty="0"/>
              </a:p>
            </p:txBody>
          </p:sp>
          <p:sp>
            <p:nvSpPr>
              <p:cNvPr id="527" name="Freihandform: Form 258">
                <a:extLst>
                  <a:ext uri="{FF2B5EF4-FFF2-40B4-BE49-F238E27FC236}">
                    <a16:creationId xmlns:a16="http://schemas.microsoft.com/office/drawing/2014/main" id="{6F6DF6C0-BBB0-4DA1-98D8-7D76E5BC3404}"/>
                  </a:ext>
                </a:extLst>
              </p:cNvPr>
              <p:cNvSpPr/>
              <p:nvPr/>
            </p:nvSpPr>
            <p:spPr>
              <a:xfrm>
                <a:off x="2088007" y="1701312"/>
                <a:ext cx="23717" cy="15611"/>
              </a:xfrm>
              <a:custGeom>
                <a:avLst/>
                <a:gdLst>
                  <a:gd name="connsiteX0" fmla="*/ 17161 w 23717"/>
                  <a:gd name="connsiteY0" fmla="*/ 15611 h 15611"/>
                  <a:gd name="connsiteX1" fmla="*/ 15510 w 23717"/>
                  <a:gd name="connsiteY1" fmla="*/ 15408 h 15611"/>
                  <a:gd name="connsiteX2" fmla="*/ 11673 w 23717"/>
                  <a:gd name="connsiteY2" fmla="*/ 14493 h 15611"/>
                  <a:gd name="connsiteX3" fmla="*/ 4865 w 23717"/>
                  <a:gd name="connsiteY3" fmla="*/ 12867 h 15611"/>
                  <a:gd name="connsiteX4" fmla="*/ 215 w 23717"/>
                  <a:gd name="connsiteY4" fmla="*/ 4865 h 15611"/>
                  <a:gd name="connsiteX5" fmla="*/ 8218 w 23717"/>
                  <a:gd name="connsiteY5" fmla="*/ 215 h 15611"/>
                  <a:gd name="connsiteX6" fmla="*/ 14646 w 23717"/>
                  <a:gd name="connsiteY6" fmla="*/ 1740 h 15611"/>
                  <a:gd name="connsiteX7" fmla="*/ 18812 w 23717"/>
                  <a:gd name="connsiteY7" fmla="*/ 2731 h 15611"/>
                  <a:gd name="connsiteX8" fmla="*/ 23513 w 23717"/>
                  <a:gd name="connsiteY8" fmla="*/ 10708 h 15611"/>
                  <a:gd name="connsiteX9" fmla="*/ 17161 w 23717"/>
                  <a:gd name="connsiteY9" fmla="*/ 15611 h 15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17" h="15611">
                    <a:moveTo>
                      <a:pt x="17161" y="15611"/>
                    </a:moveTo>
                    <a:cubicBezTo>
                      <a:pt x="16628" y="15611"/>
                      <a:pt x="16069" y="15535"/>
                      <a:pt x="15510" y="15408"/>
                    </a:cubicBezTo>
                    <a:cubicBezTo>
                      <a:pt x="15052" y="15281"/>
                      <a:pt x="13477" y="14925"/>
                      <a:pt x="11673" y="14493"/>
                    </a:cubicBezTo>
                    <a:cubicBezTo>
                      <a:pt x="9006" y="13884"/>
                      <a:pt x="5906" y="13147"/>
                      <a:pt x="4865" y="12867"/>
                    </a:cubicBezTo>
                    <a:cubicBezTo>
                      <a:pt x="1384" y="11927"/>
                      <a:pt x="-699" y="8345"/>
                      <a:pt x="215" y="4865"/>
                    </a:cubicBezTo>
                    <a:cubicBezTo>
                      <a:pt x="1155" y="1384"/>
                      <a:pt x="4738" y="-699"/>
                      <a:pt x="8218" y="215"/>
                    </a:cubicBezTo>
                    <a:cubicBezTo>
                      <a:pt x="9184" y="469"/>
                      <a:pt x="12131" y="1155"/>
                      <a:pt x="14646" y="1740"/>
                    </a:cubicBezTo>
                    <a:cubicBezTo>
                      <a:pt x="16602" y="2197"/>
                      <a:pt x="18304" y="2603"/>
                      <a:pt x="18812" y="2731"/>
                    </a:cubicBezTo>
                    <a:cubicBezTo>
                      <a:pt x="22318" y="3645"/>
                      <a:pt x="24402" y="7202"/>
                      <a:pt x="23513" y="10708"/>
                    </a:cubicBezTo>
                    <a:cubicBezTo>
                      <a:pt x="22725" y="13655"/>
                      <a:pt x="20083" y="15611"/>
                      <a:pt x="17161" y="15611"/>
                    </a:cubicBezTo>
                    <a:close/>
                  </a:path>
                </a:pathLst>
              </a:custGeom>
              <a:grpFill/>
              <a:ln w="2536" cap="flat">
                <a:noFill/>
                <a:prstDash val="solid"/>
                <a:miter/>
              </a:ln>
            </p:spPr>
            <p:txBody>
              <a:bodyPr rtlCol="0" anchor="ctr"/>
              <a:lstStyle/>
              <a:p>
                <a:endParaRPr lang="en-GB" dirty="0"/>
              </a:p>
            </p:txBody>
          </p:sp>
          <p:sp>
            <p:nvSpPr>
              <p:cNvPr id="528" name="Freihandform: Form 259">
                <a:extLst>
                  <a:ext uri="{FF2B5EF4-FFF2-40B4-BE49-F238E27FC236}">
                    <a16:creationId xmlns:a16="http://schemas.microsoft.com/office/drawing/2014/main" id="{0F6B81EC-1656-48BB-8660-6E1DC9AF9C5D}"/>
                  </a:ext>
                </a:extLst>
              </p:cNvPr>
              <p:cNvSpPr/>
              <p:nvPr/>
            </p:nvSpPr>
            <p:spPr>
              <a:xfrm>
                <a:off x="2001833" y="1666619"/>
                <a:ext cx="49485" cy="103453"/>
              </a:xfrm>
              <a:custGeom>
                <a:avLst/>
                <a:gdLst>
                  <a:gd name="connsiteX0" fmla="*/ 9816 w 49485"/>
                  <a:gd name="connsiteY0" fmla="*/ 103454 h 103453"/>
                  <a:gd name="connsiteX1" fmla="*/ 3439 w 49485"/>
                  <a:gd name="connsiteY1" fmla="*/ 98347 h 103453"/>
                  <a:gd name="connsiteX2" fmla="*/ 15049 w 49485"/>
                  <a:gd name="connsiteY2" fmla="*/ 20808 h 103453"/>
                  <a:gd name="connsiteX3" fmla="*/ 40658 w 49485"/>
                  <a:gd name="connsiteY3" fmla="*/ 407 h 103453"/>
                  <a:gd name="connsiteX4" fmla="*/ 49068 w 49485"/>
                  <a:gd name="connsiteY4" fmla="*/ 4244 h 103453"/>
                  <a:gd name="connsiteX5" fmla="*/ 45257 w 49485"/>
                  <a:gd name="connsiteY5" fmla="*/ 12653 h 103453"/>
                  <a:gd name="connsiteX6" fmla="*/ 16218 w 49485"/>
                  <a:gd name="connsiteY6" fmla="*/ 95451 h 103453"/>
                  <a:gd name="connsiteX7" fmla="*/ 11289 w 49485"/>
                  <a:gd name="connsiteY7" fmla="*/ 103276 h 103453"/>
                  <a:gd name="connsiteX8" fmla="*/ 9816 w 49485"/>
                  <a:gd name="connsiteY8" fmla="*/ 103454 h 103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85" h="103453">
                    <a:moveTo>
                      <a:pt x="9816" y="103454"/>
                    </a:moveTo>
                    <a:cubicBezTo>
                      <a:pt x="6818" y="103454"/>
                      <a:pt x="4125" y="101396"/>
                      <a:pt x="3439" y="98347"/>
                    </a:cubicBezTo>
                    <a:cubicBezTo>
                      <a:pt x="-5555" y="58739"/>
                      <a:pt x="4785" y="34324"/>
                      <a:pt x="15049" y="20808"/>
                    </a:cubicBezTo>
                    <a:cubicBezTo>
                      <a:pt x="26380" y="5870"/>
                      <a:pt x="40074" y="636"/>
                      <a:pt x="40658" y="407"/>
                    </a:cubicBezTo>
                    <a:cubicBezTo>
                      <a:pt x="44037" y="-838"/>
                      <a:pt x="47823" y="865"/>
                      <a:pt x="49068" y="4244"/>
                    </a:cubicBezTo>
                    <a:cubicBezTo>
                      <a:pt x="50338" y="7623"/>
                      <a:pt x="48610" y="11383"/>
                      <a:pt x="45257" y="12653"/>
                    </a:cubicBezTo>
                    <a:cubicBezTo>
                      <a:pt x="43377" y="13364"/>
                      <a:pt x="1432" y="30412"/>
                      <a:pt x="16218" y="95451"/>
                    </a:cubicBezTo>
                    <a:cubicBezTo>
                      <a:pt x="17031" y="98982"/>
                      <a:pt x="14820" y="102488"/>
                      <a:pt x="11289" y="103276"/>
                    </a:cubicBezTo>
                    <a:cubicBezTo>
                      <a:pt x="10781" y="103403"/>
                      <a:pt x="10273" y="103454"/>
                      <a:pt x="9816" y="103454"/>
                    </a:cubicBezTo>
                    <a:close/>
                  </a:path>
                </a:pathLst>
              </a:custGeom>
              <a:grpFill/>
              <a:ln w="2536" cap="flat">
                <a:noFill/>
                <a:prstDash val="solid"/>
                <a:miter/>
              </a:ln>
            </p:spPr>
            <p:txBody>
              <a:bodyPr rtlCol="0" anchor="ctr"/>
              <a:lstStyle/>
              <a:p>
                <a:endParaRPr lang="en-GB" dirty="0"/>
              </a:p>
            </p:txBody>
          </p:sp>
          <p:sp>
            <p:nvSpPr>
              <p:cNvPr id="529" name="Freihandform: Form 261">
                <a:extLst>
                  <a:ext uri="{FF2B5EF4-FFF2-40B4-BE49-F238E27FC236}">
                    <a16:creationId xmlns:a16="http://schemas.microsoft.com/office/drawing/2014/main" id="{5C63C142-6AA0-4520-96E1-8688B77B150F}"/>
                  </a:ext>
                </a:extLst>
              </p:cNvPr>
              <p:cNvSpPr/>
              <p:nvPr/>
            </p:nvSpPr>
            <p:spPr>
              <a:xfrm>
                <a:off x="1969170" y="1633007"/>
                <a:ext cx="256406" cy="177308"/>
              </a:xfrm>
              <a:custGeom>
                <a:avLst/>
                <a:gdLst>
                  <a:gd name="connsiteX0" fmla="*/ 198522 w 256406"/>
                  <a:gd name="connsiteY0" fmla="*/ 177308 h 177308"/>
                  <a:gd name="connsiteX1" fmla="*/ 192907 w 256406"/>
                  <a:gd name="connsiteY1" fmla="*/ 174107 h 177308"/>
                  <a:gd name="connsiteX2" fmla="*/ 182999 w 256406"/>
                  <a:gd name="connsiteY2" fmla="*/ 157466 h 177308"/>
                  <a:gd name="connsiteX3" fmla="*/ 134473 w 256406"/>
                  <a:gd name="connsiteY3" fmla="*/ 150124 h 177308"/>
                  <a:gd name="connsiteX4" fmla="*/ 111659 w 256406"/>
                  <a:gd name="connsiteY4" fmla="*/ 148879 h 177308"/>
                  <a:gd name="connsiteX5" fmla="*/ 108077 w 256406"/>
                  <a:gd name="connsiteY5" fmla="*/ 140343 h 177308"/>
                  <a:gd name="connsiteX6" fmla="*/ 116613 w 256406"/>
                  <a:gd name="connsiteY6" fmla="*/ 136761 h 177308"/>
                  <a:gd name="connsiteX7" fmla="*/ 131171 w 256406"/>
                  <a:gd name="connsiteY7" fmla="*/ 137472 h 177308"/>
                  <a:gd name="connsiteX8" fmla="*/ 190188 w 256406"/>
                  <a:gd name="connsiteY8" fmla="*/ 146288 h 177308"/>
                  <a:gd name="connsiteX9" fmla="*/ 193136 w 256406"/>
                  <a:gd name="connsiteY9" fmla="*/ 148905 h 177308"/>
                  <a:gd name="connsiteX10" fmla="*/ 202206 w 256406"/>
                  <a:gd name="connsiteY10" fmla="*/ 164148 h 177308"/>
                  <a:gd name="connsiteX11" fmla="*/ 217627 w 256406"/>
                  <a:gd name="connsiteY11" fmla="*/ 163869 h 177308"/>
                  <a:gd name="connsiteX12" fmla="*/ 199716 w 256406"/>
                  <a:gd name="connsiteY12" fmla="*/ 141893 h 177308"/>
                  <a:gd name="connsiteX13" fmla="*/ 199716 w 256406"/>
                  <a:gd name="connsiteY13" fmla="*/ 133636 h 177308"/>
                  <a:gd name="connsiteX14" fmla="*/ 207820 w 256406"/>
                  <a:gd name="connsiteY14" fmla="*/ 131959 h 177308"/>
                  <a:gd name="connsiteX15" fmla="*/ 240086 w 256406"/>
                  <a:gd name="connsiteY15" fmla="*/ 148778 h 177308"/>
                  <a:gd name="connsiteX16" fmla="*/ 241966 w 256406"/>
                  <a:gd name="connsiteY16" fmla="*/ 136100 h 177308"/>
                  <a:gd name="connsiteX17" fmla="*/ 241381 w 256406"/>
                  <a:gd name="connsiteY17" fmla="*/ 129698 h 177308"/>
                  <a:gd name="connsiteX18" fmla="*/ 182465 w 256406"/>
                  <a:gd name="connsiteY18" fmla="*/ 65827 h 177308"/>
                  <a:gd name="connsiteX19" fmla="*/ 179366 w 256406"/>
                  <a:gd name="connsiteY19" fmla="*/ 61534 h 177308"/>
                  <a:gd name="connsiteX20" fmla="*/ 176698 w 256406"/>
                  <a:gd name="connsiteY20" fmla="*/ 48856 h 177308"/>
                  <a:gd name="connsiteX21" fmla="*/ 131526 w 256406"/>
                  <a:gd name="connsiteY21" fmla="*/ 33537 h 177308"/>
                  <a:gd name="connsiteX22" fmla="*/ 127207 w 256406"/>
                  <a:gd name="connsiteY22" fmla="*/ 28557 h 177308"/>
                  <a:gd name="connsiteX23" fmla="*/ 124845 w 256406"/>
                  <a:gd name="connsiteY23" fmla="*/ 16210 h 177308"/>
                  <a:gd name="connsiteX24" fmla="*/ 41666 w 256406"/>
                  <a:gd name="connsiteY24" fmla="*/ 28633 h 177308"/>
                  <a:gd name="connsiteX25" fmla="*/ 13084 w 256406"/>
                  <a:gd name="connsiteY25" fmla="*/ 101701 h 177308"/>
                  <a:gd name="connsiteX26" fmla="*/ 13821 w 256406"/>
                  <a:gd name="connsiteY26" fmla="*/ 118138 h 177308"/>
                  <a:gd name="connsiteX27" fmla="*/ 7876 w 256406"/>
                  <a:gd name="connsiteY27" fmla="*/ 125226 h 177308"/>
                  <a:gd name="connsiteX28" fmla="*/ 788 w 256406"/>
                  <a:gd name="connsiteY28" fmla="*/ 119281 h 177308"/>
                  <a:gd name="connsiteX29" fmla="*/ 0 w 256406"/>
                  <a:gd name="connsiteY29" fmla="*/ 101675 h 177308"/>
                  <a:gd name="connsiteX30" fmla="*/ 33790 w 256406"/>
                  <a:gd name="connsiteY30" fmla="*/ 18191 h 177308"/>
                  <a:gd name="connsiteX31" fmla="*/ 132212 w 256406"/>
                  <a:gd name="connsiteY31" fmla="*/ 4498 h 177308"/>
                  <a:gd name="connsiteX32" fmla="*/ 136912 w 256406"/>
                  <a:gd name="connsiteY32" fmla="*/ 9579 h 177308"/>
                  <a:gd name="connsiteX33" fmla="*/ 139351 w 256406"/>
                  <a:gd name="connsiteY33" fmla="*/ 22358 h 177308"/>
                  <a:gd name="connsiteX34" fmla="*/ 184447 w 256406"/>
                  <a:gd name="connsiteY34" fmla="*/ 37652 h 177308"/>
                  <a:gd name="connsiteX35" fmla="*/ 188740 w 256406"/>
                  <a:gd name="connsiteY35" fmla="*/ 42505 h 177308"/>
                  <a:gd name="connsiteX36" fmla="*/ 191586 w 256406"/>
                  <a:gd name="connsiteY36" fmla="*/ 56021 h 177308"/>
                  <a:gd name="connsiteX37" fmla="*/ 254516 w 256406"/>
                  <a:gd name="connsiteY37" fmla="*/ 131756 h 177308"/>
                  <a:gd name="connsiteX38" fmla="*/ 246386 w 256406"/>
                  <a:gd name="connsiteY38" fmla="*/ 161684 h 177308"/>
                  <a:gd name="connsiteX39" fmla="*/ 238765 w 256406"/>
                  <a:gd name="connsiteY39" fmla="*/ 162827 h 177308"/>
                  <a:gd name="connsiteX40" fmla="*/ 229923 w 256406"/>
                  <a:gd name="connsiteY40" fmla="*/ 158229 h 177308"/>
                  <a:gd name="connsiteX41" fmla="*/ 236275 w 256406"/>
                  <a:gd name="connsiteY41" fmla="*/ 166028 h 177308"/>
                  <a:gd name="connsiteX42" fmla="*/ 237139 w 256406"/>
                  <a:gd name="connsiteY42" fmla="*/ 172913 h 177308"/>
                  <a:gd name="connsiteX43" fmla="*/ 231321 w 256406"/>
                  <a:gd name="connsiteY43" fmla="*/ 176699 h 177308"/>
                  <a:gd name="connsiteX44" fmla="*/ 198649 w 256406"/>
                  <a:gd name="connsiteY44" fmla="*/ 177283 h 177308"/>
                  <a:gd name="connsiteX45" fmla="*/ 198522 w 256406"/>
                  <a:gd name="connsiteY45" fmla="*/ 177308 h 177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56406" h="177308">
                    <a:moveTo>
                      <a:pt x="198522" y="177308"/>
                    </a:moveTo>
                    <a:cubicBezTo>
                      <a:pt x="196210" y="177308"/>
                      <a:pt x="194076" y="176089"/>
                      <a:pt x="192907" y="174107"/>
                    </a:cubicBezTo>
                    <a:lnTo>
                      <a:pt x="182999" y="157466"/>
                    </a:lnTo>
                    <a:cubicBezTo>
                      <a:pt x="176114" y="154697"/>
                      <a:pt x="151521" y="145627"/>
                      <a:pt x="134473" y="150124"/>
                    </a:cubicBezTo>
                    <a:cubicBezTo>
                      <a:pt x="125607" y="152462"/>
                      <a:pt x="119636" y="152131"/>
                      <a:pt x="111659" y="148879"/>
                    </a:cubicBezTo>
                    <a:cubicBezTo>
                      <a:pt x="108305" y="147507"/>
                      <a:pt x="106705" y="143696"/>
                      <a:pt x="108077" y="140343"/>
                    </a:cubicBezTo>
                    <a:cubicBezTo>
                      <a:pt x="109449" y="136989"/>
                      <a:pt x="113234" y="135389"/>
                      <a:pt x="116613" y="136761"/>
                    </a:cubicBezTo>
                    <a:cubicBezTo>
                      <a:pt x="121923" y="138946"/>
                      <a:pt x="125073" y="139073"/>
                      <a:pt x="131171" y="137472"/>
                    </a:cubicBezTo>
                    <a:cubicBezTo>
                      <a:pt x="155586" y="131070"/>
                      <a:pt x="188791" y="145653"/>
                      <a:pt x="190188" y="146288"/>
                    </a:cubicBezTo>
                    <a:cubicBezTo>
                      <a:pt x="191434" y="146847"/>
                      <a:pt x="192450" y="147761"/>
                      <a:pt x="193136" y="148905"/>
                    </a:cubicBezTo>
                    <a:lnTo>
                      <a:pt x="202206" y="164148"/>
                    </a:lnTo>
                    <a:lnTo>
                      <a:pt x="217627" y="163869"/>
                    </a:lnTo>
                    <a:lnTo>
                      <a:pt x="199716" y="141893"/>
                    </a:lnTo>
                    <a:cubicBezTo>
                      <a:pt x="197760" y="139479"/>
                      <a:pt x="197760" y="136024"/>
                      <a:pt x="199716" y="133636"/>
                    </a:cubicBezTo>
                    <a:cubicBezTo>
                      <a:pt x="201672" y="131222"/>
                      <a:pt x="205051" y="130536"/>
                      <a:pt x="207820" y="131959"/>
                    </a:cubicBezTo>
                    <a:lnTo>
                      <a:pt x="240086" y="148778"/>
                    </a:lnTo>
                    <a:cubicBezTo>
                      <a:pt x="242398" y="145373"/>
                      <a:pt x="244786" y="140241"/>
                      <a:pt x="241966" y="136100"/>
                    </a:cubicBezTo>
                    <a:cubicBezTo>
                      <a:pt x="240670" y="134220"/>
                      <a:pt x="240441" y="131781"/>
                      <a:pt x="241381" y="129698"/>
                    </a:cubicBezTo>
                    <a:cubicBezTo>
                      <a:pt x="249283" y="112142"/>
                      <a:pt x="205102" y="79089"/>
                      <a:pt x="182465" y="65827"/>
                    </a:cubicBezTo>
                    <a:cubicBezTo>
                      <a:pt x="180865" y="64887"/>
                      <a:pt x="179747" y="63338"/>
                      <a:pt x="179366" y="61534"/>
                    </a:cubicBezTo>
                    <a:lnTo>
                      <a:pt x="176698" y="48856"/>
                    </a:lnTo>
                    <a:lnTo>
                      <a:pt x="131526" y="33537"/>
                    </a:lnTo>
                    <a:cubicBezTo>
                      <a:pt x="129291" y="32774"/>
                      <a:pt x="127639" y="30894"/>
                      <a:pt x="127207" y="28557"/>
                    </a:cubicBezTo>
                    <a:lnTo>
                      <a:pt x="124845" y="16210"/>
                    </a:lnTo>
                    <a:cubicBezTo>
                      <a:pt x="111964" y="13517"/>
                      <a:pt x="69993" y="7038"/>
                      <a:pt x="41666" y="28633"/>
                    </a:cubicBezTo>
                    <a:cubicBezTo>
                      <a:pt x="22738" y="43064"/>
                      <a:pt x="13135" y="67657"/>
                      <a:pt x="13084" y="101701"/>
                    </a:cubicBezTo>
                    <a:cubicBezTo>
                      <a:pt x="13084" y="106960"/>
                      <a:pt x="13313" y="112473"/>
                      <a:pt x="13821" y="118138"/>
                    </a:cubicBezTo>
                    <a:cubicBezTo>
                      <a:pt x="14126" y="121746"/>
                      <a:pt x="11484" y="124922"/>
                      <a:pt x="7876" y="125226"/>
                    </a:cubicBezTo>
                    <a:cubicBezTo>
                      <a:pt x="4243" y="125582"/>
                      <a:pt x="1093" y="122889"/>
                      <a:pt x="788" y="119281"/>
                    </a:cubicBezTo>
                    <a:cubicBezTo>
                      <a:pt x="254" y="113235"/>
                      <a:pt x="0" y="107290"/>
                      <a:pt x="0" y="101675"/>
                    </a:cubicBezTo>
                    <a:cubicBezTo>
                      <a:pt x="51" y="63312"/>
                      <a:pt x="11433" y="35213"/>
                      <a:pt x="33790" y="18191"/>
                    </a:cubicBezTo>
                    <a:cubicBezTo>
                      <a:pt x="72636" y="-11381"/>
                      <a:pt x="129799" y="3837"/>
                      <a:pt x="132212" y="4498"/>
                    </a:cubicBezTo>
                    <a:cubicBezTo>
                      <a:pt x="134626" y="5158"/>
                      <a:pt x="136430" y="7140"/>
                      <a:pt x="136912" y="9579"/>
                    </a:cubicBezTo>
                    <a:lnTo>
                      <a:pt x="139351" y="22358"/>
                    </a:lnTo>
                    <a:lnTo>
                      <a:pt x="184447" y="37652"/>
                    </a:lnTo>
                    <a:cubicBezTo>
                      <a:pt x="186632" y="38389"/>
                      <a:pt x="188283" y="40244"/>
                      <a:pt x="188740" y="42505"/>
                    </a:cubicBezTo>
                    <a:lnTo>
                      <a:pt x="191586" y="56021"/>
                    </a:lnTo>
                    <a:cubicBezTo>
                      <a:pt x="205991" y="64760"/>
                      <a:pt x="262926" y="101548"/>
                      <a:pt x="254516" y="131756"/>
                    </a:cubicBezTo>
                    <a:cubicBezTo>
                      <a:pt x="260029" y="143493"/>
                      <a:pt x="252306" y="155866"/>
                      <a:pt x="246386" y="161684"/>
                    </a:cubicBezTo>
                    <a:cubicBezTo>
                      <a:pt x="244354" y="163691"/>
                      <a:pt x="241305" y="164148"/>
                      <a:pt x="238765" y="162827"/>
                    </a:cubicBezTo>
                    <a:lnTo>
                      <a:pt x="229923" y="158229"/>
                    </a:lnTo>
                    <a:lnTo>
                      <a:pt x="236275" y="166028"/>
                    </a:lnTo>
                    <a:cubicBezTo>
                      <a:pt x="237850" y="167959"/>
                      <a:pt x="238180" y="170652"/>
                      <a:pt x="237139" y="172913"/>
                    </a:cubicBezTo>
                    <a:cubicBezTo>
                      <a:pt x="236097" y="175174"/>
                      <a:pt x="233836" y="176648"/>
                      <a:pt x="231321" y="176699"/>
                    </a:cubicBezTo>
                    <a:lnTo>
                      <a:pt x="198649" y="177283"/>
                    </a:lnTo>
                    <a:cubicBezTo>
                      <a:pt x="198598" y="177308"/>
                      <a:pt x="198547" y="177308"/>
                      <a:pt x="198522" y="177308"/>
                    </a:cubicBezTo>
                    <a:close/>
                  </a:path>
                </a:pathLst>
              </a:custGeom>
              <a:grpFill/>
              <a:ln w="2536" cap="flat">
                <a:noFill/>
                <a:prstDash val="solid"/>
                <a:miter/>
              </a:ln>
            </p:spPr>
            <p:txBody>
              <a:bodyPr rtlCol="0" anchor="ctr"/>
              <a:lstStyle/>
              <a:p>
                <a:endParaRPr lang="en-GB" dirty="0"/>
              </a:p>
            </p:txBody>
          </p:sp>
          <p:sp>
            <p:nvSpPr>
              <p:cNvPr id="530" name="Freihandform: Form 262">
                <a:extLst>
                  <a:ext uri="{FF2B5EF4-FFF2-40B4-BE49-F238E27FC236}">
                    <a16:creationId xmlns:a16="http://schemas.microsoft.com/office/drawing/2014/main" id="{725A8EC8-1BEB-446A-A516-E9502D8ADF15}"/>
                  </a:ext>
                </a:extLst>
              </p:cNvPr>
              <p:cNvSpPr/>
              <p:nvPr/>
            </p:nvSpPr>
            <p:spPr>
              <a:xfrm>
                <a:off x="2059488" y="1769767"/>
                <a:ext cx="137113" cy="218389"/>
              </a:xfrm>
              <a:custGeom>
                <a:avLst/>
                <a:gdLst>
                  <a:gd name="connsiteX0" fmla="*/ 105053 w 137113"/>
                  <a:gd name="connsiteY0" fmla="*/ 218389 h 218389"/>
                  <a:gd name="connsiteX1" fmla="*/ 105053 w 137113"/>
                  <a:gd name="connsiteY1" fmla="*/ 218389 h 218389"/>
                  <a:gd name="connsiteX2" fmla="*/ 6529 w 137113"/>
                  <a:gd name="connsiteY2" fmla="*/ 218237 h 218389"/>
                  <a:gd name="connsiteX3" fmla="*/ 0 w 137113"/>
                  <a:gd name="connsiteY3" fmla="*/ 211682 h 218389"/>
                  <a:gd name="connsiteX4" fmla="*/ 6529 w 137113"/>
                  <a:gd name="connsiteY4" fmla="*/ 205153 h 218389"/>
                  <a:gd name="connsiteX5" fmla="*/ 6529 w 137113"/>
                  <a:gd name="connsiteY5" fmla="*/ 205153 h 218389"/>
                  <a:gd name="connsiteX6" fmla="*/ 98981 w 137113"/>
                  <a:gd name="connsiteY6" fmla="*/ 205305 h 218389"/>
                  <a:gd name="connsiteX7" fmla="*/ 108712 w 137113"/>
                  <a:gd name="connsiteY7" fmla="*/ 189426 h 218389"/>
                  <a:gd name="connsiteX8" fmla="*/ 123778 w 137113"/>
                  <a:gd name="connsiteY8" fmla="*/ 130129 h 218389"/>
                  <a:gd name="connsiteX9" fmla="*/ 44409 w 137113"/>
                  <a:gd name="connsiteY9" fmla="*/ 34171 h 218389"/>
                  <a:gd name="connsiteX10" fmla="*/ 41031 w 137113"/>
                  <a:gd name="connsiteY10" fmla="*/ 28328 h 218389"/>
                  <a:gd name="connsiteX11" fmla="*/ 41412 w 137113"/>
                  <a:gd name="connsiteY11" fmla="*/ 6428 h 218389"/>
                  <a:gd name="connsiteX12" fmla="*/ 48068 w 137113"/>
                  <a:gd name="connsiteY12" fmla="*/ 0 h 218389"/>
                  <a:gd name="connsiteX13" fmla="*/ 54496 w 137113"/>
                  <a:gd name="connsiteY13" fmla="*/ 6656 h 218389"/>
                  <a:gd name="connsiteX14" fmla="*/ 54165 w 137113"/>
                  <a:gd name="connsiteY14" fmla="*/ 24720 h 218389"/>
                  <a:gd name="connsiteX15" fmla="*/ 136811 w 137113"/>
                  <a:gd name="connsiteY15" fmla="*/ 129468 h 218389"/>
                  <a:gd name="connsiteX16" fmla="*/ 117985 w 137113"/>
                  <a:gd name="connsiteY16" fmla="*/ 198598 h 218389"/>
                  <a:gd name="connsiteX17" fmla="*/ 111557 w 137113"/>
                  <a:gd name="connsiteY17" fmla="*/ 211606 h 218389"/>
                  <a:gd name="connsiteX18" fmla="*/ 109728 w 137113"/>
                  <a:gd name="connsiteY18" fmla="*/ 216382 h 218389"/>
                  <a:gd name="connsiteX19" fmla="*/ 105053 w 137113"/>
                  <a:gd name="connsiteY19" fmla="*/ 218389 h 218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113" h="218389">
                    <a:moveTo>
                      <a:pt x="105053" y="218389"/>
                    </a:moveTo>
                    <a:lnTo>
                      <a:pt x="105053" y="218389"/>
                    </a:lnTo>
                    <a:lnTo>
                      <a:pt x="6529" y="218237"/>
                    </a:lnTo>
                    <a:cubicBezTo>
                      <a:pt x="2922" y="218237"/>
                      <a:pt x="0" y="215290"/>
                      <a:pt x="0" y="211682"/>
                    </a:cubicBezTo>
                    <a:cubicBezTo>
                      <a:pt x="0" y="208074"/>
                      <a:pt x="2922" y="205153"/>
                      <a:pt x="6529" y="205153"/>
                    </a:cubicBezTo>
                    <a:lnTo>
                      <a:pt x="6529" y="205153"/>
                    </a:lnTo>
                    <a:lnTo>
                      <a:pt x="98981" y="205305"/>
                    </a:lnTo>
                    <a:cubicBezTo>
                      <a:pt x="100429" y="197785"/>
                      <a:pt x="104774" y="193390"/>
                      <a:pt x="108712" y="189426"/>
                    </a:cubicBezTo>
                    <a:cubicBezTo>
                      <a:pt x="116359" y="181703"/>
                      <a:pt x="125886" y="172074"/>
                      <a:pt x="123778" y="130129"/>
                    </a:cubicBezTo>
                    <a:cubicBezTo>
                      <a:pt x="121135" y="77183"/>
                      <a:pt x="45172" y="34603"/>
                      <a:pt x="44409" y="34171"/>
                    </a:cubicBezTo>
                    <a:cubicBezTo>
                      <a:pt x="42301" y="33002"/>
                      <a:pt x="40980" y="30741"/>
                      <a:pt x="41031" y="28328"/>
                    </a:cubicBezTo>
                    <a:lnTo>
                      <a:pt x="41412" y="6428"/>
                    </a:lnTo>
                    <a:cubicBezTo>
                      <a:pt x="41462" y="2820"/>
                      <a:pt x="44435" y="76"/>
                      <a:pt x="48068" y="0"/>
                    </a:cubicBezTo>
                    <a:cubicBezTo>
                      <a:pt x="51676" y="76"/>
                      <a:pt x="54546" y="3049"/>
                      <a:pt x="54496" y="6656"/>
                    </a:cubicBezTo>
                    <a:lnTo>
                      <a:pt x="54165" y="24720"/>
                    </a:lnTo>
                    <a:cubicBezTo>
                      <a:pt x="70069" y="34222"/>
                      <a:pt x="134143" y="75684"/>
                      <a:pt x="136811" y="129468"/>
                    </a:cubicBezTo>
                    <a:cubicBezTo>
                      <a:pt x="139199" y="177155"/>
                      <a:pt x="126928" y="189553"/>
                      <a:pt x="117985" y="198598"/>
                    </a:cubicBezTo>
                    <a:cubicBezTo>
                      <a:pt x="113564" y="203069"/>
                      <a:pt x="111329" y="205330"/>
                      <a:pt x="111557" y="211606"/>
                    </a:cubicBezTo>
                    <a:cubicBezTo>
                      <a:pt x="111608" y="213384"/>
                      <a:pt x="110948" y="215112"/>
                      <a:pt x="109728" y="216382"/>
                    </a:cubicBezTo>
                    <a:cubicBezTo>
                      <a:pt x="108534" y="217678"/>
                      <a:pt x="106832" y="218389"/>
                      <a:pt x="105053" y="218389"/>
                    </a:cubicBezTo>
                    <a:close/>
                  </a:path>
                </a:pathLst>
              </a:custGeom>
              <a:grpFill/>
              <a:ln w="2536" cap="flat">
                <a:noFill/>
                <a:prstDash val="solid"/>
                <a:miter/>
              </a:ln>
            </p:spPr>
            <p:txBody>
              <a:bodyPr rtlCol="0" anchor="ctr"/>
              <a:lstStyle/>
              <a:p>
                <a:endParaRPr lang="en-GB" dirty="0"/>
              </a:p>
            </p:txBody>
          </p:sp>
        </p:grpSp>
        <p:grpSp>
          <p:nvGrpSpPr>
            <p:cNvPr id="515" name="Grafik 301">
              <a:extLst>
                <a:ext uri="{FF2B5EF4-FFF2-40B4-BE49-F238E27FC236}">
                  <a16:creationId xmlns:a16="http://schemas.microsoft.com/office/drawing/2014/main" id="{62A65800-BCAB-46FE-821C-4F9DEA7CCDDA}"/>
                </a:ext>
              </a:extLst>
            </p:cNvPr>
            <p:cNvGrpSpPr/>
            <p:nvPr/>
          </p:nvGrpSpPr>
          <p:grpSpPr>
            <a:xfrm>
              <a:off x="4969019" y="2498774"/>
              <a:ext cx="343308" cy="324752"/>
              <a:chOff x="1740136" y="1739763"/>
              <a:chExt cx="341735" cy="323264"/>
            </a:xfrm>
            <a:solidFill>
              <a:schemeClr val="accent1"/>
            </a:solidFill>
          </p:grpSpPr>
          <p:sp>
            <p:nvSpPr>
              <p:cNvPr id="516" name="Freihandform: Form 264">
                <a:extLst>
                  <a:ext uri="{FF2B5EF4-FFF2-40B4-BE49-F238E27FC236}">
                    <a16:creationId xmlns:a16="http://schemas.microsoft.com/office/drawing/2014/main" id="{E17CE06A-45EE-4660-AA8E-33284B479765}"/>
                  </a:ext>
                </a:extLst>
              </p:cNvPr>
              <p:cNvSpPr/>
              <p:nvPr/>
            </p:nvSpPr>
            <p:spPr>
              <a:xfrm>
                <a:off x="1796817" y="1739763"/>
                <a:ext cx="285054" cy="285054"/>
              </a:xfrm>
              <a:custGeom>
                <a:avLst/>
                <a:gdLst>
                  <a:gd name="connsiteX0" fmla="*/ 142578 w 285054"/>
                  <a:gd name="connsiteY0" fmla="*/ 285054 h 285054"/>
                  <a:gd name="connsiteX1" fmla="*/ 34527 w 285054"/>
                  <a:gd name="connsiteY1" fmla="*/ 235487 h 285054"/>
                  <a:gd name="connsiteX2" fmla="*/ 35213 w 285054"/>
                  <a:gd name="connsiteY2" fmla="*/ 226265 h 285054"/>
                  <a:gd name="connsiteX3" fmla="*/ 44435 w 285054"/>
                  <a:gd name="connsiteY3" fmla="*/ 226951 h 285054"/>
                  <a:gd name="connsiteX4" fmla="*/ 142553 w 285054"/>
                  <a:gd name="connsiteY4" fmla="*/ 271970 h 285054"/>
                  <a:gd name="connsiteX5" fmla="*/ 271996 w 285054"/>
                  <a:gd name="connsiteY5" fmla="*/ 142527 h 285054"/>
                  <a:gd name="connsiteX6" fmla="*/ 142553 w 285054"/>
                  <a:gd name="connsiteY6" fmla="*/ 13084 h 285054"/>
                  <a:gd name="connsiteX7" fmla="*/ 13109 w 285054"/>
                  <a:gd name="connsiteY7" fmla="*/ 142527 h 285054"/>
                  <a:gd name="connsiteX8" fmla="*/ 30258 w 285054"/>
                  <a:gd name="connsiteY8" fmla="*/ 206956 h 285054"/>
                  <a:gd name="connsiteX9" fmla="*/ 27845 w 285054"/>
                  <a:gd name="connsiteY9" fmla="*/ 215899 h 285054"/>
                  <a:gd name="connsiteX10" fmla="*/ 18902 w 285054"/>
                  <a:gd name="connsiteY10" fmla="*/ 213486 h 285054"/>
                  <a:gd name="connsiteX11" fmla="*/ 0 w 285054"/>
                  <a:gd name="connsiteY11" fmla="*/ 142527 h 285054"/>
                  <a:gd name="connsiteX12" fmla="*/ 142527 w 285054"/>
                  <a:gd name="connsiteY12" fmla="*/ 0 h 285054"/>
                  <a:gd name="connsiteX13" fmla="*/ 285054 w 285054"/>
                  <a:gd name="connsiteY13" fmla="*/ 142527 h 285054"/>
                  <a:gd name="connsiteX14" fmla="*/ 142578 w 285054"/>
                  <a:gd name="connsiteY14" fmla="*/ 285054 h 285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054" h="285054">
                    <a:moveTo>
                      <a:pt x="142578" y="285054"/>
                    </a:moveTo>
                    <a:cubicBezTo>
                      <a:pt x="101039" y="285054"/>
                      <a:pt x="61660" y="266991"/>
                      <a:pt x="34527" y="235487"/>
                    </a:cubicBezTo>
                    <a:cubicBezTo>
                      <a:pt x="32164" y="232743"/>
                      <a:pt x="32469" y="228628"/>
                      <a:pt x="35213" y="226265"/>
                    </a:cubicBezTo>
                    <a:cubicBezTo>
                      <a:pt x="37956" y="223902"/>
                      <a:pt x="42072" y="224207"/>
                      <a:pt x="44435" y="226951"/>
                    </a:cubicBezTo>
                    <a:cubicBezTo>
                      <a:pt x="69079" y="255558"/>
                      <a:pt x="104850" y="271970"/>
                      <a:pt x="142553" y="271970"/>
                    </a:cubicBezTo>
                    <a:cubicBezTo>
                      <a:pt x="213943" y="271970"/>
                      <a:pt x="271996" y="213892"/>
                      <a:pt x="271996" y="142527"/>
                    </a:cubicBezTo>
                    <a:cubicBezTo>
                      <a:pt x="271996" y="71137"/>
                      <a:pt x="213918" y="13084"/>
                      <a:pt x="142553" y="13084"/>
                    </a:cubicBezTo>
                    <a:cubicBezTo>
                      <a:pt x="71162" y="13084"/>
                      <a:pt x="13109" y="71162"/>
                      <a:pt x="13109" y="142527"/>
                    </a:cubicBezTo>
                    <a:cubicBezTo>
                      <a:pt x="13109" y="165164"/>
                      <a:pt x="19029" y="187445"/>
                      <a:pt x="30258" y="206956"/>
                    </a:cubicBezTo>
                    <a:cubicBezTo>
                      <a:pt x="32062" y="210081"/>
                      <a:pt x="30995" y="214095"/>
                      <a:pt x="27845" y="215899"/>
                    </a:cubicBezTo>
                    <a:cubicBezTo>
                      <a:pt x="24720" y="217703"/>
                      <a:pt x="20706" y="216636"/>
                      <a:pt x="18902" y="213486"/>
                    </a:cubicBezTo>
                    <a:cubicBezTo>
                      <a:pt x="6555" y="191992"/>
                      <a:pt x="0" y="167476"/>
                      <a:pt x="0" y="142527"/>
                    </a:cubicBezTo>
                    <a:cubicBezTo>
                      <a:pt x="0" y="63947"/>
                      <a:pt x="63947" y="0"/>
                      <a:pt x="142527" y="0"/>
                    </a:cubicBezTo>
                    <a:cubicBezTo>
                      <a:pt x="221107" y="0"/>
                      <a:pt x="285054" y="63947"/>
                      <a:pt x="285054" y="142527"/>
                    </a:cubicBezTo>
                    <a:cubicBezTo>
                      <a:pt x="285105" y="221107"/>
                      <a:pt x="221158" y="285054"/>
                      <a:pt x="142578" y="285054"/>
                    </a:cubicBezTo>
                    <a:close/>
                  </a:path>
                </a:pathLst>
              </a:custGeom>
              <a:solidFill>
                <a:schemeClr val="accent1"/>
              </a:solidFill>
              <a:ln w="2536" cap="flat">
                <a:noFill/>
                <a:prstDash val="solid"/>
                <a:miter/>
              </a:ln>
            </p:spPr>
            <p:txBody>
              <a:bodyPr rtlCol="0" anchor="ctr"/>
              <a:lstStyle/>
              <a:p>
                <a:endParaRPr lang="en-GB" dirty="0"/>
              </a:p>
            </p:txBody>
          </p:sp>
          <p:sp>
            <p:nvSpPr>
              <p:cNvPr id="517" name="Freihandform: Form 265">
                <a:extLst>
                  <a:ext uri="{FF2B5EF4-FFF2-40B4-BE49-F238E27FC236}">
                    <a16:creationId xmlns:a16="http://schemas.microsoft.com/office/drawing/2014/main" id="{73E18519-D62C-4CA7-B690-BC30A1A9CC18}"/>
                  </a:ext>
                </a:extLst>
              </p:cNvPr>
              <p:cNvSpPr/>
              <p:nvPr/>
            </p:nvSpPr>
            <p:spPr>
              <a:xfrm>
                <a:off x="1889370" y="1832266"/>
                <a:ext cx="100099" cy="100073"/>
              </a:xfrm>
              <a:custGeom>
                <a:avLst/>
                <a:gdLst>
                  <a:gd name="connsiteX0" fmla="*/ 50024 w 100099"/>
                  <a:gd name="connsiteY0" fmla="*/ 100074 h 100073"/>
                  <a:gd name="connsiteX1" fmla="*/ 24059 w 100099"/>
                  <a:gd name="connsiteY1" fmla="*/ 92833 h 100073"/>
                  <a:gd name="connsiteX2" fmla="*/ 21874 w 100099"/>
                  <a:gd name="connsiteY2" fmla="*/ 83839 h 100073"/>
                  <a:gd name="connsiteX3" fmla="*/ 30868 w 100099"/>
                  <a:gd name="connsiteY3" fmla="*/ 81655 h 100073"/>
                  <a:gd name="connsiteX4" fmla="*/ 50024 w 100099"/>
                  <a:gd name="connsiteY4" fmla="*/ 86990 h 100073"/>
                  <a:gd name="connsiteX5" fmla="*/ 86990 w 100099"/>
                  <a:gd name="connsiteY5" fmla="*/ 50024 h 100073"/>
                  <a:gd name="connsiteX6" fmla="*/ 50024 w 100099"/>
                  <a:gd name="connsiteY6" fmla="*/ 13059 h 100073"/>
                  <a:gd name="connsiteX7" fmla="*/ 13059 w 100099"/>
                  <a:gd name="connsiteY7" fmla="*/ 50024 h 100073"/>
                  <a:gd name="connsiteX8" fmla="*/ 17530 w 100099"/>
                  <a:gd name="connsiteY8" fmla="*/ 67656 h 100073"/>
                  <a:gd name="connsiteX9" fmla="*/ 14913 w 100099"/>
                  <a:gd name="connsiteY9" fmla="*/ 76523 h 100073"/>
                  <a:gd name="connsiteX10" fmla="*/ 6047 w 100099"/>
                  <a:gd name="connsiteY10" fmla="*/ 73906 h 100073"/>
                  <a:gd name="connsiteX11" fmla="*/ 0 w 100099"/>
                  <a:gd name="connsiteY11" fmla="*/ 50050 h 100073"/>
                  <a:gd name="connsiteX12" fmla="*/ 50050 w 100099"/>
                  <a:gd name="connsiteY12" fmla="*/ 0 h 100073"/>
                  <a:gd name="connsiteX13" fmla="*/ 100099 w 100099"/>
                  <a:gd name="connsiteY13" fmla="*/ 50050 h 100073"/>
                  <a:gd name="connsiteX14" fmla="*/ 50024 w 100099"/>
                  <a:gd name="connsiteY14" fmla="*/ 100074 h 100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099" h="100073">
                    <a:moveTo>
                      <a:pt x="50024" y="100074"/>
                    </a:moveTo>
                    <a:cubicBezTo>
                      <a:pt x="40853" y="100074"/>
                      <a:pt x="31859" y="97559"/>
                      <a:pt x="24059" y="92833"/>
                    </a:cubicBezTo>
                    <a:cubicBezTo>
                      <a:pt x="20985" y="90953"/>
                      <a:pt x="19994" y="86939"/>
                      <a:pt x="21874" y="83839"/>
                    </a:cubicBezTo>
                    <a:cubicBezTo>
                      <a:pt x="23754" y="80765"/>
                      <a:pt x="27769" y="79775"/>
                      <a:pt x="30868" y="81655"/>
                    </a:cubicBezTo>
                    <a:cubicBezTo>
                      <a:pt x="36635" y="85161"/>
                      <a:pt x="43241" y="86990"/>
                      <a:pt x="50024" y="86990"/>
                    </a:cubicBezTo>
                    <a:cubicBezTo>
                      <a:pt x="70425" y="86990"/>
                      <a:pt x="86990" y="70400"/>
                      <a:pt x="86990" y="50024"/>
                    </a:cubicBezTo>
                    <a:cubicBezTo>
                      <a:pt x="86990" y="29623"/>
                      <a:pt x="70400" y="13059"/>
                      <a:pt x="50024" y="13059"/>
                    </a:cubicBezTo>
                    <a:cubicBezTo>
                      <a:pt x="29649" y="13059"/>
                      <a:pt x="13059" y="29649"/>
                      <a:pt x="13059" y="50024"/>
                    </a:cubicBezTo>
                    <a:cubicBezTo>
                      <a:pt x="13059" y="56172"/>
                      <a:pt x="14608" y="62270"/>
                      <a:pt x="17530" y="67656"/>
                    </a:cubicBezTo>
                    <a:cubicBezTo>
                      <a:pt x="19258" y="70832"/>
                      <a:pt x="18089" y="74795"/>
                      <a:pt x="14913" y="76523"/>
                    </a:cubicBezTo>
                    <a:cubicBezTo>
                      <a:pt x="11738" y="78250"/>
                      <a:pt x="7774" y="77081"/>
                      <a:pt x="6047" y="73906"/>
                    </a:cubicBezTo>
                    <a:cubicBezTo>
                      <a:pt x="2083" y="66614"/>
                      <a:pt x="0" y="58383"/>
                      <a:pt x="0" y="50050"/>
                    </a:cubicBezTo>
                    <a:cubicBezTo>
                      <a:pt x="0" y="22433"/>
                      <a:pt x="22459" y="0"/>
                      <a:pt x="50050" y="0"/>
                    </a:cubicBezTo>
                    <a:cubicBezTo>
                      <a:pt x="77666" y="0"/>
                      <a:pt x="100099" y="22459"/>
                      <a:pt x="100099" y="50050"/>
                    </a:cubicBezTo>
                    <a:cubicBezTo>
                      <a:pt x="100074" y="77615"/>
                      <a:pt x="77615" y="100074"/>
                      <a:pt x="50024" y="100074"/>
                    </a:cubicBezTo>
                    <a:close/>
                  </a:path>
                </a:pathLst>
              </a:custGeom>
              <a:solidFill>
                <a:schemeClr val="accent1"/>
              </a:solidFill>
              <a:ln w="2536" cap="flat">
                <a:noFill/>
                <a:prstDash val="solid"/>
                <a:miter/>
              </a:ln>
            </p:spPr>
            <p:txBody>
              <a:bodyPr rtlCol="0" anchor="ctr"/>
              <a:lstStyle/>
              <a:p>
                <a:endParaRPr lang="en-GB" dirty="0"/>
              </a:p>
            </p:txBody>
          </p:sp>
          <p:sp>
            <p:nvSpPr>
              <p:cNvPr id="518" name="Freihandform: Form 266">
                <a:extLst>
                  <a:ext uri="{FF2B5EF4-FFF2-40B4-BE49-F238E27FC236}">
                    <a16:creationId xmlns:a16="http://schemas.microsoft.com/office/drawing/2014/main" id="{A98884B1-083D-462F-9CF0-2DB9E56A8FE2}"/>
                  </a:ext>
                </a:extLst>
              </p:cNvPr>
              <p:cNvSpPr/>
              <p:nvPr/>
            </p:nvSpPr>
            <p:spPr>
              <a:xfrm>
                <a:off x="1840337" y="1783258"/>
                <a:ext cx="198013" cy="198038"/>
              </a:xfrm>
              <a:custGeom>
                <a:avLst/>
                <a:gdLst>
                  <a:gd name="connsiteX0" fmla="*/ 99058 w 198013"/>
                  <a:gd name="connsiteY0" fmla="*/ 198039 h 198038"/>
                  <a:gd name="connsiteX1" fmla="*/ 29420 w 198013"/>
                  <a:gd name="connsiteY1" fmla="*/ 169432 h 198038"/>
                  <a:gd name="connsiteX2" fmla="*/ 29369 w 198013"/>
                  <a:gd name="connsiteY2" fmla="*/ 160184 h 198038"/>
                  <a:gd name="connsiteX3" fmla="*/ 38617 w 198013"/>
                  <a:gd name="connsiteY3" fmla="*/ 160133 h 198038"/>
                  <a:gd name="connsiteX4" fmla="*/ 99032 w 198013"/>
                  <a:gd name="connsiteY4" fmla="*/ 184955 h 198038"/>
                  <a:gd name="connsiteX5" fmla="*/ 184955 w 198013"/>
                  <a:gd name="connsiteY5" fmla="*/ 99032 h 198038"/>
                  <a:gd name="connsiteX6" fmla="*/ 99032 w 198013"/>
                  <a:gd name="connsiteY6" fmla="*/ 13109 h 198038"/>
                  <a:gd name="connsiteX7" fmla="*/ 13109 w 198013"/>
                  <a:gd name="connsiteY7" fmla="*/ 99032 h 198038"/>
                  <a:gd name="connsiteX8" fmla="*/ 24644 w 198013"/>
                  <a:gd name="connsiteY8" fmla="*/ 142070 h 198038"/>
                  <a:gd name="connsiteX9" fmla="*/ 22256 w 198013"/>
                  <a:gd name="connsiteY9" fmla="*/ 151013 h 198038"/>
                  <a:gd name="connsiteX10" fmla="*/ 13313 w 198013"/>
                  <a:gd name="connsiteY10" fmla="*/ 148624 h 198038"/>
                  <a:gd name="connsiteX11" fmla="*/ 0 w 198013"/>
                  <a:gd name="connsiteY11" fmla="*/ 99007 h 198038"/>
                  <a:gd name="connsiteX12" fmla="*/ 99007 w 198013"/>
                  <a:gd name="connsiteY12" fmla="*/ 0 h 198038"/>
                  <a:gd name="connsiteX13" fmla="*/ 198014 w 198013"/>
                  <a:gd name="connsiteY13" fmla="*/ 99007 h 198038"/>
                  <a:gd name="connsiteX14" fmla="*/ 99058 w 198013"/>
                  <a:gd name="connsiteY14" fmla="*/ 198039 h 198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8013" h="198038">
                    <a:moveTo>
                      <a:pt x="99058" y="198039"/>
                    </a:moveTo>
                    <a:cubicBezTo>
                      <a:pt x="72813" y="198039"/>
                      <a:pt x="48093" y="187877"/>
                      <a:pt x="29420" y="169432"/>
                    </a:cubicBezTo>
                    <a:cubicBezTo>
                      <a:pt x="26854" y="166891"/>
                      <a:pt x="26829" y="162750"/>
                      <a:pt x="29369" y="160184"/>
                    </a:cubicBezTo>
                    <a:cubicBezTo>
                      <a:pt x="31910" y="157618"/>
                      <a:pt x="36051" y="157593"/>
                      <a:pt x="38617" y="160133"/>
                    </a:cubicBezTo>
                    <a:cubicBezTo>
                      <a:pt x="54801" y="176139"/>
                      <a:pt x="76268" y="184955"/>
                      <a:pt x="99032" y="184955"/>
                    </a:cubicBezTo>
                    <a:cubicBezTo>
                      <a:pt x="146414" y="184955"/>
                      <a:pt x="184955" y="146414"/>
                      <a:pt x="184955" y="99032"/>
                    </a:cubicBezTo>
                    <a:cubicBezTo>
                      <a:pt x="184955" y="51650"/>
                      <a:pt x="146414" y="13109"/>
                      <a:pt x="99032" y="13109"/>
                    </a:cubicBezTo>
                    <a:cubicBezTo>
                      <a:pt x="51650" y="13109"/>
                      <a:pt x="13109" y="51650"/>
                      <a:pt x="13109" y="99032"/>
                    </a:cubicBezTo>
                    <a:cubicBezTo>
                      <a:pt x="13109" y="114174"/>
                      <a:pt x="17098" y="129062"/>
                      <a:pt x="24644" y="142070"/>
                    </a:cubicBezTo>
                    <a:cubicBezTo>
                      <a:pt x="26448" y="145195"/>
                      <a:pt x="25380" y="149209"/>
                      <a:pt x="22256" y="151013"/>
                    </a:cubicBezTo>
                    <a:cubicBezTo>
                      <a:pt x="19131" y="152816"/>
                      <a:pt x="15117" y="151749"/>
                      <a:pt x="13313" y="148624"/>
                    </a:cubicBezTo>
                    <a:cubicBezTo>
                      <a:pt x="4598" y="133610"/>
                      <a:pt x="0" y="116461"/>
                      <a:pt x="0" y="99007"/>
                    </a:cubicBezTo>
                    <a:cubicBezTo>
                      <a:pt x="0" y="44410"/>
                      <a:pt x="44410" y="0"/>
                      <a:pt x="99007" y="0"/>
                    </a:cubicBezTo>
                    <a:cubicBezTo>
                      <a:pt x="153604" y="0"/>
                      <a:pt x="198014" y="44410"/>
                      <a:pt x="198014" y="99007"/>
                    </a:cubicBezTo>
                    <a:cubicBezTo>
                      <a:pt x="198064" y="153604"/>
                      <a:pt x="153655" y="198039"/>
                      <a:pt x="99058" y="198039"/>
                    </a:cubicBezTo>
                    <a:close/>
                  </a:path>
                </a:pathLst>
              </a:custGeom>
              <a:solidFill>
                <a:schemeClr val="accent1"/>
              </a:solidFill>
              <a:ln w="2536" cap="flat">
                <a:noFill/>
                <a:prstDash val="solid"/>
                <a:miter/>
              </a:ln>
            </p:spPr>
            <p:txBody>
              <a:bodyPr rtlCol="0" anchor="ctr"/>
              <a:lstStyle/>
              <a:p>
                <a:endParaRPr lang="en-GB" dirty="0"/>
              </a:p>
            </p:txBody>
          </p:sp>
          <p:sp>
            <p:nvSpPr>
              <p:cNvPr id="519" name="Freihandform: Form 267">
                <a:extLst>
                  <a:ext uri="{FF2B5EF4-FFF2-40B4-BE49-F238E27FC236}">
                    <a16:creationId xmlns:a16="http://schemas.microsoft.com/office/drawing/2014/main" id="{75CC81C3-B193-4189-8423-A270F3389583}"/>
                  </a:ext>
                </a:extLst>
              </p:cNvPr>
              <p:cNvSpPr/>
              <p:nvPr/>
            </p:nvSpPr>
            <p:spPr>
              <a:xfrm>
                <a:off x="1845296" y="1993961"/>
                <a:ext cx="53404" cy="69066"/>
              </a:xfrm>
              <a:custGeom>
                <a:avLst/>
                <a:gdLst>
                  <a:gd name="connsiteX0" fmla="*/ 22835 w 53404"/>
                  <a:gd name="connsiteY0" fmla="*/ 69067 h 69066"/>
                  <a:gd name="connsiteX1" fmla="*/ 11428 w 53404"/>
                  <a:gd name="connsiteY1" fmla="*/ 66018 h 69066"/>
                  <a:gd name="connsiteX2" fmla="*/ 3044 w 53404"/>
                  <a:gd name="connsiteY2" fmla="*/ 34794 h 69066"/>
                  <a:gd name="connsiteX3" fmla="*/ 21260 w 53404"/>
                  <a:gd name="connsiteY3" fmla="*/ 3265 h 69066"/>
                  <a:gd name="connsiteX4" fmla="*/ 30203 w 53404"/>
                  <a:gd name="connsiteY4" fmla="*/ 877 h 69066"/>
                  <a:gd name="connsiteX5" fmla="*/ 32591 w 53404"/>
                  <a:gd name="connsiteY5" fmla="*/ 9820 h 69066"/>
                  <a:gd name="connsiteX6" fmla="*/ 14375 w 53404"/>
                  <a:gd name="connsiteY6" fmla="*/ 41349 h 69066"/>
                  <a:gd name="connsiteX7" fmla="*/ 17957 w 53404"/>
                  <a:gd name="connsiteY7" fmla="*/ 54712 h 69066"/>
                  <a:gd name="connsiteX8" fmla="*/ 31320 w 53404"/>
                  <a:gd name="connsiteY8" fmla="*/ 51130 h 69066"/>
                  <a:gd name="connsiteX9" fmla="*/ 41280 w 53404"/>
                  <a:gd name="connsiteY9" fmla="*/ 34870 h 69066"/>
                  <a:gd name="connsiteX10" fmla="*/ 50273 w 53404"/>
                  <a:gd name="connsiteY10" fmla="*/ 32711 h 69066"/>
                  <a:gd name="connsiteX11" fmla="*/ 52433 w 53404"/>
                  <a:gd name="connsiteY11" fmla="*/ 41704 h 69066"/>
                  <a:gd name="connsiteX12" fmla="*/ 42575 w 53404"/>
                  <a:gd name="connsiteY12" fmla="*/ 57837 h 69066"/>
                  <a:gd name="connsiteX13" fmla="*/ 22835 w 53404"/>
                  <a:gd name="connsiteY13" fmla="*/ 69067 h 69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404" h="69066">
                    <a:moveTo>
                      <a:pt x="22835" y="69067"/>
                    </a:moveTo>
                    <a:cubicBezTo>
                      <a:pt x="18948" y="69067"/>
                      <a:pt x="15010" y="68076"/>
                      <a:pt x="11428" y="66018"/>
                    </a:cubicBezTo>
                    <a:cubicBezTo>
                      <a:pt x="503" y="59717"/>
                      <a:pt x="-3232" y="45718"/>
                      <a:pt x="3044" y="34794"/>
                    </a:cubicBezTo>
                    <a:lnTo>
                      <a:pt x="21260" y="3265"/>
                    </a:lnTo>
                    <a:cubicBezTo>
                      <a:pt x="23064" y="140"/>
                      <a:pt x="27052" y="-927"/>
                      <a:pt x="30203" y="877"/>
                    </a:cubicBezTo>
                    <a:cubicBezTo>
                      <a:pt x="33328" y="2681"/>
                      <a:pt x="34395" y="6695"/>
                      <a:pt x="32591" y="9820"/>
                    </a:cubicBezTo>
                    <a:lnTo>
                      <a:pt x="14375" y="41349"/>
                    </a:lnTo>
                    <a:cubicBezTo>
                      <a:pt x="11682" y="46023"/>
                      <a:pt x="13282" y="52019"/>
                      <a:pt x="17957" y="54712"/>
                    </a:cubicBezTo>
                    <a:cubicBezTo>
                      <a:pt x="22632" y="57405"/>
                      <a:pt x="28627" y="55805"/>
                      <a:pt x="31320" y="51130"/>
                    </a:cubicBezTo>
                    <a:lnTo>
                      <a:pt x="41280" y="34870"/>
                    </a:lnTo>
                    <a:cubicBezTo>
                      <a:pt x="43160" y="31796"/>
                      <a:pt x="47199" y="30805"/>
                      <a:pt x="50273" y="32711"/>
                    </a:cubicBezTo>
                    <a:cubicBezTo>
                      <a:pt x="53347" y="34591"/>
                      <a:pt x="54338" y="38630"/>
                      <a:pt x="52433" y="41704"/>
                    </a:cubicBezTo>
                    <a:lnTo>
                      <a:pt x="42575" y="57837"/>
                    </a:lnTo>
                    <a:cubicBezTo>
                      <a:pt x="38383" y="65002"/>
                      <a:pt x="30711" y="69067"/>
                      <a:pt x="22835" y="69067"/>
                    </a:cubicBezTo>
                    <a:close/>
                  </a:path>
                </a:pathLst>
              </a:custGeom>
              <a:solidFill>
                <a:schemeClr val="accent1"/>
              </a:solidFill>
              <a:ln w="2536" cap="flat">
                <a:noFill/>
                <a:prstDash val="solid"/>
                <a:miter/>
              </a:ln>
            </p:spPr>
            <p:txBody>
              <a:bodyPr rtlCol="0" anchor="ctr"/>
              <a:lstStyle/>
              <a:p>
                <a:endParaRPr lang="en-GB" dirty="0"/>
              </a:p>
            </p:txBody>
          </p:sp>
          <p:sp>
            <p:nvSpPr>
              <p:cNvPr id="520" name="Freihandform: Form 268">
                <a:extLst>
                  <a:ext uri="{FF2B5EF4-FFF2-40B4-BE49-F238E27FC236}">
                    <a16:creationId xmlns:a16="http://schemas.microsoft.com/office/drawing/2014/main" id="{503283BB-3413-454E-BE26-4E7D96C0D237}"/>
                  </a:ext>
                </a:extLst>
              </p:cNvPr>
              <p:cNvSpPr/>
              <p:nvPr/>
            </p:nvSpPr>
            <p:spPr>
              <a:xfrm>
                <a:off x="1983251" y="1993910"/>
                <a:ext cx="53394" cy="69117"/>
              </a:xfrm>
              <a:custGeom>
                <a:avLst/>
                <a:gdLst>
                  <a:gd name="connsiteX0" fmla="*/ 30583 w 53394"/>
                  <a:gd name="connsiteY0" fmla="*/ 69117 h 69117"/>
                  <a:gd name="connsiteX1" fmla="*/ 10741 w 53394"/>
                  <a:gd name="connsiteY1" fmla="*/ 57685 h 69117"/>
                  <a:gd name="connsiteX2" fmla="*/ 960 w 53394"/>
                  <a:gd name="connsiteY2" fmla="*/ 41704 h 69117"/>
                  <a:gd name="connsiteX3" fmla="*/ 3120 w 53394"/>
                  <a:gd name="connsiteY3" fmla="*/ 32711 h 69117"/>
                  <a:gd name="connsiteX4" fmla="*/ 12113 w 53394"/>
                  <a:gd name="connsiteY4" fmla="*/ 34870 h 69117"/>
                  <a:gd name="connsiteX5" fmla="*/ 21971 w 53394"/>
                  <a:gd name="connsiteY5" fmla="*/ 51003 h 69117"/>
                  <a:gd name="connsiteX6" fmla="*/ 35410 w 53394"/>
                  <a:gd name="connsiteY6" fmla="*/ 54712 h 69117"/>
                  <a:gd name="connsiteX7" fmla="*/ 39958 w 53394"/>
                  <a:gd name="connsiteY7" fmla="*/ 48767 h 69117"/>
                  <a:gd name="connsiteX8" fmla="*/ 38993 w 53394"/>
                  <a:gd name="connsiteY8" fmla="*/ 41349 h 69117"/>
                  <a:gd name="connsiteX9" fmla="*/ 20777 w 53394"/>
                  <a:gd name="connsiteY9" fmla="*/ 9820 h 69117"/>
                  <a:gd name="connsiteX10" fmla="*/ 23165 w 53394"/>
                  <a:gd name="connsiteY10" fmla="*/ 877 h 69117"/>
                  <a:gd name="connsiteX11" fmla="*/ 32108 w 53394"/>
                  <a:gd name="connsiteY11" fmla="*/ 3265 h 69117"/>
                  <a:gd name="connsiteX12" fmla="*/ 50324 w 53394"/>
                  <a:gd name="connsiteY12" fmla="*/ 34794 h 69117"/>
                  <a:gd name="connsiteX13" fmla="*/ 52610 w 53394"/>
                  <a:gd name="connsiteY13" fmla="*/ 52146 h 69117"/>
                  <a:gd name="connsiteX14" fmla="*/ 41965 w 53394"/>
                  <a:gd name="connsiteY14" fmla="*/ 66043 h 69117"/>
                  <a:gd name="connsiteX15" fmla="*/ 30583 w 53394"/>
                  <a:gd name="connsiteY15" fmla="*/ 69117 h 6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394" h="69117">
                    <a:moveTo>
                      <a:pt x="30583" y="69117"/>
                    </a:moveTo>
                    <a:cubicBezTo>
                      <a:pt x="22682" y="69117"/>
                      <a:pt x="14984" y="65027"/>
                      <a:pt x="10741" y="57685"/>
                    </a:cubicBezTo>
                    <a:lnTo>
                      <a:pt x="960" y="41704"/>
                    </a:lnTo>
                    <a:cubicBezTo>
                      <a:pt x="-920" y="38630"/>
                      <a:pt x="45" y="34591"/>
                      <a:pt x="3120" y="32711"/>
                    </a:cubicBezTo>
                    <a:cubicBezTo>
                      <a:pt x="6194" y="30831"/>
                      <a:pt x="10233" y="31796"/>
                      <a:pt x="12113" y="34870"/>
                    </a:cubicBezTo>
                    <a:lnTo>
                      <a:pt x="21971" y="51003"/>
                    </a:lnTo>
                    <a:cubicBezTo>
                      <a:pt x="24765" y="55805"/>
                      <a:pt x="30736" y="57431"/>
                      <a:pt x="35410" y="54712"/>
                    </a:cubicBezTo>
                    <a:cubicBezTo>
                      <a:pt x="37672" y="53416"/>
                      <a:pt x="39298" y="51308"/>
                      <a:pt x="39958" y="48767"/>
                    </a:cubicBezTo>
                    <a:cubicBezTo>
                      <a:pt x="40644" y="46252"/>
                      <a:pt x="40288" y="43610"/>
                      <a:pt x="38993" y="41349"/>
                    </a:cubicBezTo>
                    <a:lnTo>
                      <a:pt x="20777" y="9820"/>
                    </a:lnTo>
                    <a:cubicBezTo>
                      <a:pt x="18973" y="6695"/>
                      <a:pt x="20040" y="2681"/>
                      <a:pt x="23165" y="877"/>
                    </a:cubicBezTo>
                    <a:cubicBezTo>
                      <a:pt x="26290" y="-927"/>
                      <a:pt x="30304" y="140"/>
                      <a:pt x="32108" y="3265"/>
                    </a:cubicBezTo>
                    <a:lnTo>
                      <a:pt x="50324" y="34794"/>
                    </a:lnTo>
                    <a:cubicBezTo>
                      <a:pt x="53372" y="40078"/>
                      <a:pt x="54185" y="46252"/>
                      <a:pt x="52610" y="52146"/>
                    </a:cubicBezTo>
                    <a:cubicBezTo>
                      <a:pt x="51035" y="58040"/>
                      <a:pt x="47250" y="62969"/>
                      <a:pt x="41965" y="66043"/>
                    </a:cubicBezTo>
                    <a:cubicBezTo>
                      <a:pt x="38383" y="68126"/>
                      <a:pt x="34470" y="69117"/>
                      <a:pt x="30583" y="69117"/>
                    </a:cubicBezTo>
                    <a:close/>
                  </a:path>
                </a:pathLst>
              </a:custGeom>
              <a:solidFill>
                <a:schemeClr val="accent1"/>
              </a:solidFill>
              <a:ln w="2536" cap="flat">
                <a:noFill/>
                <a:prstDash val="solid"/>
                <a:miter/>
              </a:ln>
            </p:spPr>
            <p:txBody>
              <a:bodyPr rtlCol="0" anchor="ctr"/>
              <a:lstStyle/>
              <a:p>
                <a:endParaRPr lang="en-GB" dirty="0"/>
              </a:p>
            </p:txBody>
          </p:sp>
          <p:grpSp>
            <p:nvGrpSpPr>
              <p:cNvPr id="521" name="Grafik 301">
                <a:extLst>
                  <a:ext uri="{FF2B5EF4-FFF2-40B4-BE49-F238E27FC236}">
                    <a16:creationId xmlns:a16="http://schemas.microsoft.com/office/drawing/2014/main" id="{C7BA0F52-175E-41CB-8AE8-F7C8B126DC8D}"/>
                  </a:ext>
                </a:extLst>
              </p:cNvPr>
              <p:cNvGrpSpPr/>
              <p:nvPr/>
            </p:nvGrpSpPr>
            <p:grpSpPr>
              <a:xfrm>
                <a:off x="1740136" y="1875747"/>
                <a:ext cx="205725" cy="139999"/>
                <a:chOff x="1740136" y="1875747"/>
                <a:chExt cx="205725" cy="139999"/>
              </a:xfrm>
              <a:solidFill>
                <a:schemeClr val="accent1"/>
              </a:solidFill>
            </p:grpSpPr>
            <p:sp>
              <p:nvSpPr>
                <p:cNvPr id="522" name="Freihandform: Form 270">
                  <a:extLst>
                    <a:ext uri="{FF2B5EF4-FFF2-40B4-BE49-F238E27FC236}">
                      <a16:creationId xmlns:a16="http://schemas.microsoft.com/office/drawing/2014/main" id="{9CF943C0-2CAF-405A-893F-2A80089928B3}"/>
                    </a:ext>
                  </a:extLst>
                </p:cNvPr>
                <p:cNvSpPr/>
                <p:nvPr/>
              </p:nvSpPr>
              <p:spPr>
                <a:xfrm>
                  <a:off x="1740136" y="1936547"/>
                  <a:ext cx="73830" cy="47493"/>
                </a:xfrm>
                <a:custGeom>
                  <a:avLst/>
                  <a:gdLst>
                    <a:gd name="connsiteX0" fmla="*/ 34298 w 73830"/>
                    <a:gd name="connsiteY0" fmla="*/ 47493 h 47493"/>
                    <a:gd name="connsiteX1" fmla="*/ 31123 w 73830"/>
                    <a:gd name="connsiteY1" fmla="*/ 46680 h 47493"/>
                    <a:gd name="connsiteX2" fmla="*/ 3379 w 73830"/>
                    <a:gd name="connsiteY2" fmla="*/ 31284 h 47493"/>
                    <a:gd name="connsiteX3" fmla="*/ 0 w 73830"/>
                    <a:gd name="connsiteY3" fmla="*/ 25619 h 47493"/>
                    <a:gd name="connsiteX4" fmla="*/ 3278 w 73830"/>
                    <a:gd name="connsiteY4" fmla="*/ 19903 h 47493"/>
                    <a:gd name="connsiteX5" fmla="*/ 36255 w 73830"/>
                    <a:gd name="connsiteY5" fmla="*/ 874 h 47493"/>
                    <a:gd name="connsiteX6" fmla="*/ 42708 w 73830"/>
                    <a:gd name="connsiteY6" fmla="*/ 823 h 47493"/>
                    <a:gd name="connsiteX7" fmla="*/ 70451 w 73830"/>
                    <a:gd name="connsiteY7" fmla="*/ 16219 h 47493"/>
                    <a:gd name="connsiteX8" fmla="*/ 73830 w 73830"/>
                    <a:gd name="connsiteY8" fmla="*/ 21884 h 47493"/>
                    <a:gd name="connsiteX9" fmla="*/ 70553 w 73830"/>
                    <a:gd name="connsiteY9" fmla="*/ 27601 h 47493"/>
                    <a:gd name="connsiteX10" fmla="*/ 37576 w 73830"/>
                    <a:gd name="connsiteY10" fmla="*/ 46630 h 47493"/>
                    <a:gd name="connsiteX11" fmla="*/ 34298 w 73830"/>
                    <a:gd name="connsiteY11" fmla="*/ 47493 h 47493"/>
                    <a:gd name="connsiteX12" fmla="*/ 19842 w 73830"/>
                    <a:gd name="connsiteY12" fmla="*/ 25441 h 47493"/>
                    <a:gd name="connsiteX13" fmla="*/ 34222 w 73830"/>
                    <a:gd name="connsiteY13" fmla="*/ 33444 h 47493"/>
                    <a:gd name="connsiteX14" fmla="*/ 53988 w 73830"/>
                    <a:gd name="connsiteY14" fmla="*/ 22037 h 47493"/>
                    <a:gd name="connsiteX15" fmla="*/ 39608 w 73830"/>
                    <a:gd name="connsiteY15" fmla="*/ 14034 h 47493"/>
                    <a:gd name="connsiteX16" fmla="*/ 19842 w 73830"/>
                    <a:gd name="connsiteY16" fmla="*/ 25441 h 47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830" h="47493">
                      <a:moveTo>
                        <a:pt x="34298" y="47493"/>
                      </a:moveTo>
                      <a:cubicBezTo>
                        <a:pt x="33206" y="47493"/>
                        <a:pt x="32113" y="47214"/>
                        <a:pt x="31123" y="46680"/>
                      </a:cubicBezTo>
                      <a:lnTo>
                        <a:pt x="3379" y="31284"/>
                      </a:lnTo>
                      <a:cubicBezTo>
                        <a:pt x="1322" y="30141"/>
                        <a:pt x="26" y="27982"/>
                        <a:pt x="0" y="25619"/>
                      </a:cubicBezTo>
                      <a:cubicBezTo>
                        <a:pt x="-25" y="23256"/>
                        <a:pt x="1220" y="21071"/>
                        <a:pt x="3278" y="19903"/>
                      </a:cubicBezTo>
                      <a:lnTo>
                        <a:pt x="36255" y="874"/>
                      </a:lnTo>
                      <a:cubicBezTo>
                        <a:pt x="38236" y="-270"/>
                        <a:pt x="40701" y="-295"/>
                        <a:pt x="42708" y="823"/>
                      </a:cubicBezTo>
                      <a:lnTo>
                        <a:pt x="70451" y="16219"/>
                      </a:lnTo>
                      <a:cubicBezTo>
                        <a:pt x="72509" y="17362"/>
                        <a:pt x="73805" y="19521"/>
                        <a:pt x="73830" y="21884"/>
                      </a:cubicBezTo>
                      <a:cubicBezTo>
                        <a:pt x="73855" y="24247"/>
                        <a:pt x="72610" y="26432"/>
                        <a:pt x="70553" y="27601"/>
                      </a:cubicBezTo>
                      <a:lnTo>
                        <a:pt x="37576" y="46630"/>
                      </a:lnTo>
                      <a:cubicBezTo>
                        <a:pt x="36559" y="47188"/>
                        <a:pt x="35442" y="47493"/>
                        <a:pt x="34298" y="47493"/>
                      </a:cubicBezTo>
                      <a:close/>
                      <a:moveTo>
                        <a:pt x="19842" y="25441"/>
                      </a:moveTo>
                      <a:lnTo>
                        <a:pt x="34222" y="33444"/>
                      </a:lnTo>
                      <a:lnTo>
                        <a:pt x="53988" y="22037"/>
                      </a:lnTo>
                      <a:lnTo>
                        <a:pt x="39608" y="14034"/>
                      </a:lnTo>
                      <a:lnTo>
                        <a:pt x="19842" y="25441"/>
                      </a:lnTo>
                      <a:close/>
                    </a:path>
                  </a:pathLst>
                </a:custGeom>
                <a:solidFill>
                  <a:schemeClr val="accent1"/>
                </a:solidFill>
                <a:ln w="2536" cap="flat">
                  <a:noFill/>
                  <a:prstDash val="solid"/>
                  <a:miter/>
                </a:ln>
              </p:spPr>
              <p:txBody>
                <a:bodyPr rtlCol="0" anchor="ctr"/>
                <a:lstStyle/>
                <a:p>
                  <a:endParaRPr lang="en-GB" dirty="0"/>
                </a:p>
              </p:txBody>
            </p:sp>
            <p:sp>
              <p:nvSpPr>
                <p:cNvPr id="523" name="Freihandform: Form 271">
                  <a:extLst>
                    <a:ext uri="{FF2B5EF4-FFF2-40B4-BE49-F238E27FC236}">
                      <a16:creationId xmlns:a16="http://schemas.microsoft.com/office/drawing/2014/main" id="{B87F32F8-2DCF-4EA9-A23D-FD39A49371FF}"/>
                    </a:ext>
                  </a:extLst>
                </p:cNvPr>
                <p:cNvSpPr/>
                <p:nvPr/>
              </p:nvSpPr>
              <p:spPr>
                <a:xfrm>
                  <a:off x="1767345" y="1951908"/>
                  <a:ext cx="46595" cy="63838"/>
                </a:xfrm>
                <a:custGeom>
                  <a:avLst/>
                  <a:gdLst>
                    <a:gd name="connsiteX0" fmla="*/ 6555 w 46595"/>
                    <a:gd name="connsiteY0" fmla="*/ 63839 h 63838"/>
                    <a:gd name="connsiteX1" fmla="*/ 3227 w 46595"/>
                    <a:gd name="connsiteY1" fmla="*/ 62924 h 63838"/>
                    <a:gd name="connsiteX2" fmla="*/ 0 w 46595"/>
                    <a:gd name="connsiteY2" fmla="*/ 57182 h 63838"/>
                    <a:gd name="connsiteX3" fmla="*/ 534 w 46595"/>
                    <a:gd name="connsiteY3" fmla="*/ 25476 h 63838"/>
                    <a:gd name="connsiteX4" fmla="*/ 3811 w 46595"/>
                    <a:gd name="connsiteY4" fmla="*/ 19912 h 63838"/>
                    <a:gd name="connsiteX5" fmla="*/ 36788 w 46595"/>
                    <a:gd name="connsiteY5" fmla="*/ 883 h 63838"/>
                    <a:gd name="connsiteX6" fmla="*/ 43368 w 46595"/>
                    <a:gd name="connsiteY6" fmla="*/ 908 h 63838"/>
                    <a:gd name="connsiteX7" fmla="*/ 46595 w 46595"/>
                    <a:gd name="connsiteY7" fmla="*/ 6650 h 63838"/>
                    <a:gd name="connsiteX8" fmla="*/ 46087 w 46595"/>
                    <a:gd name="connsiteY8" fmla="*/ 38357 h 63838"/>
                    <a:gd name="connsiteX9" fmla="*/ 42809 w 46595"/>
                    <a:gd name="connsiteY9" fmla="*/ 43921 h 63838"/>
                    <a:gd name="connsiteX10" fmla="*/ 9833 w 46595"/>
                    <a:gd name="connsiteY10" fmla="*/ 62950 h 63838"/>
                    <a:gd name="connsiteX11" fmla="*/ 6555 w 46595"/>
                    <a:gd name="connsiteY11" fmla="*/ 63839 h 63838"/>
                    <a:gd name="connsiteX12" fmla="*/ 13567 w 46595"/>
                    <a:gd name="connsiteY12" fmla="*/ 29388 h 63838"/>
                    <a:gd name="connsiteX13" fmla="*/ 13288 w 46595"/>
                    <a:gd name="connsiteY13" fmla="*/ 45851 h 63838"/>
                    <a:gd name="connsiteX14" fmla="*/ 33053 w 46595"/>
                    <a:gd name="connsiteY14" fmla="*/ 34444 h 63838"/>
                    <a:gd name="connsiteX15" fmla="*/ 33333 w 46595"/>
                    <a:gd name="connsiteY15" fmla="*/ 17981 h 63838"/>
                    <a:gd name="connsiteX16" fmla="*/ 13567 w 46595"/>
                    <a:gd name="connsiteY16" fmla="*/ 29388 h 6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595" h="63838">
                      <a:moveTo>
                        <a:pt x="6555" y="63839"/>
                      </a:moveTo>
                      <a:cubicBezTo>
                        <a:pt x="5412" y="63839"/>
                        <a:pt x="4269" y="63534"/>
                        <a:pt x="3227" y="62924"/>
                      </a:cubicBezTo>
                      <a:cubicBezTo>
                        <a:pt x="1194" y="61730"/>
                        <a:pt x="-25" y="59520"/>
                        <a:pt x="0" y="57182"/>
                      </a:cubicBezTo>
                      <a:lnTo>
                        <a:pt x="534" y="25476"/>
                      </a:lnTo>
                      <a:cubicBezTo>
                        <a:pt x="559" y="23164"/>
                        <a:pt x="1804" y="21081"/>
                        <a:pt x="3811" y="19912"/>
                      </a:cubicBezTo>
                      <a:lnTo>
                        <a:pt x="36788" y="883"/>
                      </a:lnTo>
                      <a:cubicBezTo>
                        <a:pt x="38821" y="-311"/>
                        <a:pt x="41336" y="-286"/>
                        <a:pt x="43368" y="908"/>
                      </a:cubicBezTo>
                      <a:cubicBezTo>
                        <a:pt x="45401" y="2102"/>
                        <a:pt x="46620" y="4313"/>
                        <a:pt x="46595" y="6650"/>
                      </a:cubicBezTo>
                      <a:lnTo>
                        <a:pt x="46087" y="38357"/>
                      </a:lnTo>
                      <a:cubicBezTo>
                        <a:pt x="46061" y="40669"/>
                        <a:pt x="44816" y="42752"/>
                        <a:pt x="42809" y="43921"/>
                      </a:cubicBezTo>
                      <a:lnTo>
                        <a:pt x="9833" y="62950"/>
                      </a:lnTo>
                      <a:cubicBezTo>
                        <a:pt x="8816" y="63534"/>
                        <a:pt x="7698" y="63839"/>
                        <a:pt x="6555" y="63839"/>
                      </a:cubicBezTo>
                      <a:close/>
                      <a:moveTo>
                        <a:pt x="13567" y="29388"/>
                      </a:moveTo>
                      <a:lnTo>
                        <a:pt x="13288" y="45851"/>
                      </a:lnTo>
                      <a:lnTo>
                        <a:pt x="33053" y="34444"/>
                      </a:lnTo>
                      <a:lnTo>
                        <a:pt x="33333" y="17981"/>
                      </a:lnTo>
                      <a:lnTo>
                        <a:pt x="13567" y="29388"/>
                      </a:lnTo>
                      <a:close/>
                    </a:path>
                  </a:pathLst>
                </a:custGeom>
                <a:solidFill>
                  <a:schemeClr val="accent1"/>
                </a:solidFill>
                <a:ln w="2536" cap="flat">
                  <a:noFill/>
                  <a:prstDash val="solid"/>
                  <a:miter/>
                </a:ln>
              </p:spPr>
              <p:txBody>
                <a:bodyPr rtlCol="0" anchor="ctr"/>
                <a:lstStyle/>
                <a:p>
                  <a:endParaRPr lang="en-GB" dirty="0"/>
                </a:p>
              </p:txBody>
            </p:sp>
            <p:sp>
              <p:nvSpPr>
                <p:cNvPr id="524" name="Freihandform: Form 272">
                  <a:extLst>
                    <a:ext uri="{FF2B5EF4-FFF2-40B4-BE49-F238E27FC236}">
                      <a16:creationId xmlns:a16="http://schemas.microsoft.com/office/drawing/2014/main" id="{99D03C37-EE94-490A-8AF6-5EBF59B646FC}"/>
                    </a:ext>
                  </a:extLst>
                </p:cNvPr>
                <p:cNvSpPr/>
                <p:nvPr/>
              </p:nvSpPr>
              <p:spPr>
                <a:xfrm>
                  <a:off x="1753766" y="1875747"/>
                  <a:ext cx="192095" cy="116448"/>
                </a:xfrm>
                <a:custGeom>
                  <a:avLst/>
                  <a:gdLst>
                    <a:gd name="connsiteX0" fmla="*/ 6543 w 192095"/>
                    <a:gd name="connsiteY0" fmla="*/ 116448 h 116448"/>
                    <a:gd name="connsiteX1" fmla="*/ 877 w 192095"/>
                    <a:gd name="connsiteY1" fmla="*/ 113171 h 116448"/>
                    <a:gd name="connsiteX2" fmla="*/ 3265 w 192095"/>
                    <a:gd name="connsiteY2" fmla="*/ 104228 h 116448"/>
                    <a:gd name="connsiteX3" fmla="*/ 182275 w 192095"/>
                    <a:gd name="connsiteY3" fmla="*/ 877 h 116448"/>
                    <a:gd name="connsiteX4" fmla="*/ 191218 w 192095"/>
                    <a:gd name="connsiteY4" fmla="*/ 3265 h 116448"/>
                    <a:gd name="connsiteX5" fmla="*/ 188830 w 192095"/>
                    <a:gd name="connsiteY5" fmla="*/ 12208 h 116448"/>
                    <a:gd name="connsiteX6" fmla="*/ 9820 w 192095"/>
                    <a:gd name="connsiteY6" fmla="*/ 115559 h 116448"/>
                    <a:gd name="connsiteX7" fmla="*/ 6543 w 192095"/>
                    <a:gd name="connsiteY7" fmla="*/ 116448 h 116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095" h="116448">
                      <a:moveTo>
                        <a:pt x="6543" y="116448"/>
                      </a:moveTo>
                      <a:cubicBezTo>
                        <a:pt x="4282" y="116448"/>
                        <a:pt x="2071" y="115280"/>
                        <a:pt x="877" y="113171"/>
                      </a:cubicBezTo>
                      <a:cubicBezTo>
                        <a:pt x="-927" y="110046"/>
                        <a:pt x="140" y="106032"/>
                        <a:pt x="3265" y="104228"/>
                      </a:cubicBezTo>
                      <a:lnTo>
                        <a:pt x="182275" y="877"/>
                      </a:lnTo>
                      <a:cubicBezTo>
                        <a:pt x="185400" y="-927"/>
                        <a:pt x="189414" y="140"/>
                        <a:pt x="191218" y="3265"/>
                      </a:cubicBezTo>
                      <a:cubicBezTo>
                        <a:pt x="193022" y="6390"/>
                        <a:pt x="191955" y="10404"/>
                        <a:pt x="188830" y="12208"/>
                      </a:cubicBezTo>
                      <a:lnTo>
                        <a:pt x="9820" y="115559"/>
                      </a:lnTo>
                      <a:cubicBezTo>
                        <a:pt x="8778" y="116169"/>
                        <a:pt x="7660" y="116448"/>
                        <a:pt x="6543" y="116448"/>
                      </a:cubicBezTo>
                      <a:close/>
                    </a:path>
                  </a:pathLst>
                </a:custGeom>
                <a:solidFill>
                  <a:schemeClr val="accent1"/>
                </a:solidFill>
                <a:ln w="2536" cap="flat">
                  <a:noFill/>
                  <a:prstDash val="solid"/>
                  <a:miter/>
                </a:ln>
              </p:spPr>
              <p:txBody>
                <a:bodyPr rtlCol="0" anchor="ctr"/>
                <a:lstStyle/>
                <a:p>
                  <a:endParaRPr lang="en-GB" dirty="0"/>
                </a:p>
              </p:txBody>
            </p:sp>
          </p:grpSp>
        </p:grpSp>
      </p:grpSp>
      <p:grpSp>
        <p:nvGrpSpPr>
          <p:cNvPr id="766" name="Group 765">
            <a:extLst>
              <a:ext uri="{FF2B5EF4-FFF2-40B4-BE49-F238E27FC236}">
                <a16:creationId xmlns:a16="http://schemas.microsoft.com/office/drawing/2014/main" id="{86BD4080-9122-48B9-A2DF-1D969161B385}"/>
              </a:ext>
            </a:extLst>
          </p:cNvPr>
          <p:cNvGrpSpPr/>
          <p:nvPr/>
        </p:nvGrpSpPr>
        <p:grpSpPr>
          <a:xfrm>
            <a:off x="6040414" y="2391526"/>
            <a:ext cx="431975" cy="432000"/>
            <a:chOff x="6040002" y="2391526"/>
            <a:chExt cx="431975" cy="432000"/>
          </a:xfrm>
        </p:grpSpPr>
        <p:sp>
          <p:nvSpPr>
            <p:cNvPr id="534" name="Freihandform: Form 324">
              <a:extLst>
                <a:ext uri="{FF2B5EF4-FFF2-40B4-BE49-F238E27FC236}">
                  <a16:creationId xmlns:a16="http://schemas.microsoft.com/office/drawing/2014/main" id="{FEA25378-01C9-4FC3-A327-BA3FCFD807B2}"/>
                </a:ext>
              </a:extLst>
            </p:cNvPr>
            <p:cNvSpPr/>
            <p:nvPr/>
          </p:nvSpPr>
          <p:spPr>
            <a:xfrm>
              <a:off x="6117991" y="2608645"/>
              <a:ext cx="168567" cy="62992"/>
            </a:xfrm>
            <a:custGeom>
              <a:avLst/>
              <a:gdLst>
                <a:gd name="connsiteX0" fmla="*/ 52287 w 168468"/>
                <a:gd name="connsiteY0" fmla="*/ 62956 h 62955"/>
                <a:gd name="connsiteX1" fmla="*/ 47231 w 168468"/>
                <a:gd name="connsiteY1" fmla="*/ 60568 h 62955"/>
                <a:gd name="connsiteX2" fmla="*/ 26754 w 168468"/>
                <a:gd name="connsiteY2" fmla="*/ 35594 h 62955"/>
                <a:gd name="connsiteX3" fmla="*/ 10164 w 168468"/>
                <a:gd name="connsiteY3" fmla="*/ 46594 h 62955"/>
                <a:gd name="connsiteX4" fmla="*/ 1094 w 168468"/>
                <a:gd name="connsiteY4" fmla="*/ 44765 h 62955"/>
                <a:gd name="connsiteX5" fmla="*/ 2923 w 168468"/>
                <a:gd name="connsiteY5" fmla="*/ 35695 h 62955"/>
                <a:gd name="connsiteX6" fmla="*/ 24442 w 168468"/>
                <a:gd name="connsiteY6" fmla="*/ 21443 h 62955"/>
                <a:gd name="connsiteX7" fmla="*/ 33105 w 168468"/>
                <a:gd name="connsiteY7" fmla="*/ 22738 h 62955"/>
                <a:gd name="connsiteX8" fmla="*/ 51118 w 168468"/>
                <a:gd name="connsiteY8" fmla="*/ 44714 h 62955"/>
                <a:gd name="connsiteX9" fmla="*/ 73145 w 168468"/>
                <a:gd name="connsiteY9" fmla="*/ 3455 h 62955"/>
                <a:gd name="connsiteX10" fmla="*/ 78887 w 168468"/>
                <a:gd name="connsiteY10" fmla="*/ 0 h 62955"/>
                <a:gd name="connsiteX11" fmla="*/ 78912 w 168468"/>
                <a:gd name="connsiteY11" fmla="*/ 0 h 62955"/>
                <a:gd name="connsiteX12" fmla="*/ 84654 w 168468"/>
                <a:gd name="connsiteY12" fmla="*/ 3404 h 62955"/>
                <a:gd name="connsiteX13" fmla="*/ 99339 w 168468"/>
                <a:gd name="connsiteY13" fmla="*/ 30182 h 62955"/>
                <a:gd name="connsiteX14" fmla="*/ 113083 w 168468"/>
                <a:gd name="connsiteY14" fmla="*/ 13109 h 62955"/>
                <a:gd name="connsiteX15" fmla="*/ 119130 w 168468"/>
                <a:gd name="connsiteY15" fmla="*/ 10721 h 62955"/>
                <a:gd name="connsiteX16" fmla="*/ 124236 w 168468"/>
                <a:gd name="connsiteY16" fmla="*/ 14710 h 62955"/>
                <a:gd name="connsiteX17" fmla="*/ 135390 w 168468"/>
                <a:gd name="connsiteY17" fmla="*/ 41869 h 62955"/>
                <a:gd name="connsiteX18" fmla="*/ 150836 w 168468"/>
                <a:gd name="connsiteY18" fmla="*/ 29115 h 62955"/>
                <a:gd name="connsiteX19" fmla="*/ 154927 w 168468"/>
                <a:gd name="connsiteY19" fmla="*/ 27616 h 62955"/>
                <a:gd name="connsiteX20" fmla="*/ 161837 w 168468"/>
                <a:gd name="connsiteY20" fmla="*/ 27515 h 62955"/>
                <a:gd name="connsiteX21" fmla="*/ 161939 w 168468"/>
                <a:gd name="connsiteY21" fmla="*/ 27515 h 62955"/>
                <a:gd name="connsiteX22" fmla="*/ 168468 w 168468"/>
                <a:gd name="connsiteY22" fmla="*/ 33968 h 62955"/>
                <a:gd name="connsiteX23" fmla="*/ 162015 w 168468"/>
                <a:gd name="connsiteY23" fmla="*/ 40599 h 62955"/>
                <a:gd name="connsiteX24" fmla="*/ 157416 w 168468"/>
                <a:gd name="connsiteY24" fmla="*/ 40649 h 62955"/>
                <a:gd name="connsiteX25" fmla="*/ 136914 w 168468"/>
                <a:gd name="connsiteY25" fmla="*/ 57595 h 62955"/>
                <a:gd name="connsiteX26" fmla="*/ 131172 w 168468"/>
                <a:gd name="connsiteY26" fmla="*/ 58891 h 62955"/>
                <a:gd name="connsiteX27" fmla="*/ 126701 w 168468"/>
                <a:gd name="connsiteY27" fmla="*/ 55029 h 62955"/>
                <a:gd name="connsiteX28" fmla="*/ 116361 w 168468"/>
                <a:gd name="connsiteY28" fmla="*/ 29903 h 62955"/>
                <a:gd name="connsiteX29" fmla="*/ 103429 w 168468"/>
                <a:gd name="connsiteY29" fmla="*/ 45985 h 62955"/>
                <a:gd name="connsiteX30" fmla="*/ 97763 w 168468"/>
                <a:gd name="connsiteY30" fmla="*/ 48398 h 62955"/>
                <a:gd name="connsiteX31" fmla="*/ 92606 w 168468"/>
                <a:gd name="connsiteY31" fmla="*/ 45019 h 62955"/>
                <a:gd name="connsiteX32" fmla="*/ 79039 w 168468"/>
                <a:gd name="connsiteY32" fmla="*/ 20248 h 62955"/>
                <a:gd name="connsiteX33" fmla="*/ 58079 w 168468"/>
                <a:gd name="connsiteY33" fmla="*/ 59501 h 62955"/>
                <a:gd name="connsiteX34" fmla="*/ 52947 w 168468"/>
                <a:gd name="connsiteY34" fmla="*/ 62930 h 62955"/>
                <a:gd name="connsiteX35" fmla="*/ 52287 w 168468"/>
                <a:gd name="connsiteY35" fmla="*/ 62956 h 6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68468" h="62955">
                  <a:moveTo>
                    <a:pt x="52287" y="62956"/>
                  </a:moveTo>
                  <a:cubicBezTo>
                    <a:pt x="50331" y="62956"/>
                    <a:pt x="48476" y="62092"/>
                    <a:pt x="47231" y="60568"/>
                  </a:cubicBezTo>
                  <a:lnTo>
                    <a:pt x="26754" y="35594"/>
                  </a:lnTo>
                  <a:lnTo>
                    <a:pt x="10164" y="46594"/>
                  </a:lnTo>
                  <a:cubicBezTo>
                    <a:pt x="7166" y="48601"/>
                    <a:pt x="3101" y="47763"/>
                    <a:pt x="1094" y="44765"/>
                  </a:cubicBezTo>
                  <a:cubicBezTo>
                    <a:pt x="-913" y="41742"/>
                    <a:pt x="-75" y="37702"/>
                    <a:pt x="2923" y="35695"/>
                  </a:cubicBezTo>
                  <a:lnTo>
                    <a:pt x="24442" y="21443"/>
                  </a:lnTo>
                  <a:cubicBezTo>
                    <a:pt x="27237" y="19588"/>
                    <a:pt x="30971" y="20147"/>
                    <a:pt x="33105" y="22738"/>
                  </a:cubicBezTo>
                  <a:lnTo>
                    <a:pt x="51118" y="44714"/>
                  </a:lnTo>
                  <a:lnTo>
                    <a:pt x="73145" y="3455"/>
                  </a:lnTo>
                  <a:cubicBezTo>
                    <a:pt x="74263" y="1347"/>
                    <a:pt x="76473" y="0"/>
                    <a:pt x="78887" y="0"/>
                  </a:cubicBezTo>
                  <a:cubicBezTo>
                    <a:pt x="78887" y="0"/>
                    <a:pt x="78912" y="0"/>
                    <a:pt x="78912" y="0"/>
                  </a:cubicBezTo>
                  <a:cubicBezTo>
                    <a:pt x="81300" y="0"/>
                    <a:pt x="83511" y="1296"/>
                    <a:pt x="84654" y="3404"/>
                  </a:cubicBezTo>
                  <a:lnTo>
                    <a:pt x="99339" y="30182"/>
                  </a:lnTo>
                  <a:lnTo>
                    <a:pt x="113083" y="13109"/>
                  </a:lnTo>
                  <a:cubicBezTo>
                    <a:pt x="114531" y="11306"/>
                    <a:pt x="116818" y="10416"/>
                    <a:pt x="119130" y="10721"/>
                  </a:cubicBezTo>
                  <a:cubicBezTo>
                    <a:pt x="121416" y="11052"/>
                    <a:pt x="123373" y="12576"/>
                    <a:pt x="124236" y="14710"/>
                  </a:cubicBezTo>
                  <a:lnTo>
                    <a:pt x="135390" y="41869"/>
                  </a:lnTo>
                  <a:lnTo>
                    <a:pt x="150836" y="29115"/>
                  </a:lnTo>
                  <a:cubicBezTo>
                    <a:pt x="151980" y="28175"/>
                    <a:pt x="153428" y="27642"/>
                    <a:pt x="154927" y="27616"/>
                  </a:cubicBezTo>
                  <a:lnTo>
                    <a:pt x="161837" y="27515"/>
                  </a:lnTo>
                  <a:cubicBezTo>
                    <a:pt x="161862" y="27515"/>
                    <a:pt x="161888" y="27515"/>
                    <a:pt x="161939" y="27515"/>
                  </a:cubicBezTo>
                  <a:cubicBezTo>
                    <a:pt x="165521" y="27515"/>
                    <a:pt x="168417" y="30385"/>
                    <a:pt x="168468" y="33968"/>
                  </a:cubicBezTo>
                  <a:cubicBezTo>
                    <a:pt x="168519" y="37575"/>
                    <a:pt x="165623" y="40548"/>
                    <a:pt x="162015" y="40599"/>
                  </a:cubicBezTo>
                  <a:lnTo>
                    <a:pt x="157416" y="40649"/>
                  </a:lnTo>
                  <a:lnTo>
                    <a:pt x="136914" y="57595"/>
                  </a:lnTo>
                  <a:cubicBezTo>
                    <a:pt x="135313" y="58916"/>
                    <a:pt x="133179" y="59399"/>
                    <a:pt x="131172" y="58891"/>
                  </a:cubicBezTo>
                  <a:cubicBezTo>
                    <a:pt x="129165" y="58383"/>
                    <a:pt x="127488" y="56960"/>
                    <a:pt x="126701" y="55029"/>
                  </a:cubicBezTo>
                  <a:lnTo>
                    <a:pt x="116361" y="29903"/>
                  </a:lnTo>
                  <a:lnTo>
                    <a:pt x="103429" y="45985"/>
                  </a:lnTo>
                  <a:cubicBezTo>
                    <a:pt x="102057" y="47687"/>
                    <a:pt x="99897" y="48576"/>
                    <a:pt x="97763" y="48398"/>
                  </a:cubicBezTo>
                  <a:cubicBezTo>
                    <a:pt x="95579" y="48195"/>
                    <a:pt x="93648" y="46950"/>
                    <a:pt x="92606" y="45019"/>
                  </a:cubicBezTo>
                  <a:lnTo>
                    <a:pt x="79039" y="20248"/>
                  </a:lnTo>
                  <a:lnTo>
                    <a:pt x="58079" y="59501"/>
                  </a:lnTo>
                  <a:cubicBezTo>
                    <a:pt x="57038" y="61431"/>
                    <a:pt x="55132" y="62702"/>
                    <a:pt x="52947" y="62930"/>
                  </a:cubicBezTo>
                  <a:cubicBezTo>
                    <a:pt x="52719" y="62930"/>
                    <a:pt x="52490" y="62956"/>
                    <a:pt x="52287" y="62956"/>
                  </a:cubicBezTo>
                  <a:close/>
                </a:path>
              </a:pathLst>
            </a:custGeom>
            <a:solidFill>
              <a:schemeClr val="accent1"/>
            </a:solidFill>
            <a:ln w="2536" cap="flat">
              <a:noFill/>
              <a:prstDash val="solid"/>
              <a:miter/>
            </a:ln>
          </p:spPr>
          <p:txBody>
            <a:bodyPr rtlCol="0" anchor="ctr"/>
            <a:lstStyle/>
            <a:p>
              <a:endParaRPr lang="en-GB" dirty="0"/>
            </a:p>
          </p:txBody>
        </p:sp>
        <p:grpSp>
          <p:nvGrpSpPr>
            <p:cNvPr id="535" name="Gruppieren 766">
              <a:extLst>
                <a:ext uri="{FF2B5EF4-FFF2-40B4-BE49-F238E27FC236}">
                  <a16:creationId xmlns:a16="http://schemas.microsoft.com/office/drawing/2014/main" id="{2D1E0298-9A2D-4B43-99EE-7B801492A7E2}"/>
                </a:ext>
              </a:extLst>
            </p:cNvPr>
            <p:cNvGrpSpPr/>
            <p:nvPr/>
          </p:nvGrpSpPr>
          <p:grpSpPr>
            <a:xfrm>
              <a:off x="6040002" y="2391526"/>
              <a:ext cx="431975" cy="432000"/>
              <a:chOff x="1766330" y="2443455"/>
              <a:chExt cx="431722" cy="431747"/>
            </a:xfrm>
          </p:grpSpPr>
          <p:sp>
            <p:nvSpPr>
              <p:cNvPr id="539" name="Freihandform: Form 325">
                <a:extLst>
                  <a:ext uri="{FF2B5EF4-FFF2-40B4-BE49-F238E27FC236}">
                    <a16:creationId xmlns:a16="http://schemas.microsoft.com/office/drawing/2014/main" id="{F82B4DE0-3C2E-4F32-BA19-4918A8D5D07D}"/>
                  </a:ext>
                </a:extLst>
              </p:cNvPr>
              <p:cNvSpPr/>
              <p:nvPr/>
            </p:nvSpPr>
            <p:spPr>
              <a:xfrm>
                <a:off x="1818666" y="2790169"/>
                <a:ext cx="222403" cy="13058"/>
              </a:xfrm>
              <a:custGeom>
                <a:avLst/>
                <a:gdLst>
                  <a:gd name="connsiteX0" fmla="*/ 215874 w 222403"/>
                  <a:gd name="connsiteY0" fmla="*/ 13059 h 13058"/>
                  <a:gd name="connsiteX1" fmla="*/ 6529 w 222403"/>
                  <a:gd name="connsiteY1" fmla="*/ 13059 h 13058"/>
                  <a:gd name="connsiteX2" fmla="*/ 0 w 222403"/>
                  <a:gd name="connsiteY2" fmla="*/ 6529 h 13058"/>
                  <a:gd name="connsiteX3" fmla="*/ 6529 w 222403"/>
                  <a:gd name="connsiteY3" fmla="*/ 0 h 13058"/>
                  <a:gd name="connsiteX4" fmla="*/ 215874 w 222403"/>
                  <a:gd name="connsiteY4" fmla="*/ 0 h 13058"/>
                  <a:gd name="connsiteX5" fmla="*/ 222403 w 222403"/>
                  <a:gd name="connsiteY5" fmla="*/ 6529 h 13058"/>
                  <a:gd name="connsiteX6" fmla="*/ 215874 w 222403"/>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403" h="13058">
                    <a:moveTo>
                      <a:pt x="215874" y="13059"/>
                    </a:moveTo>
                    <a:lnTo>
                      <a:pt x="6529" y="13059"/>
                    </a:lnTo>
                    <a:cubicBezTo>
                      <a:pt x="2922" y="13059"/>
                      <a:pt x="0" y="10137"/>
                      <a:pt x="0" y="6529"/>
                    </a:cubicBezTo>
                    <a:cubicBezTo>
                      <a:pt x="0" y="2922"/>
                      <a:pt x="2922" y="0"/>
                      <a:pt x="6529" y="0"/>
                    </a:cubicBezTo>
                    <a:lnTo>
                      <a:pt x="215874" y="0"/>
                    </a:lnTo>
                    <a:cubicBezTo>
                      <a:pt x="219482" y="0"/>
                      <a:pt x="222403" y="2922"/>
                      <a:pt x="222403" y="6529"/>
                    </a:cubicBezTo>
                    <a:cubicBezTo>
                      <a:pt x="222403" y="10137"/>
                      <a:pt x="219482" y="13059"/>
                      <a:pt x="215874" y="13059"/>
                    </a:cubicBezTo>
                    <a:close/>
                  </a:path>
                </a:pathLst>
              </a:custGeom>
              <a:solidFill>
                <a:schemeClr val="tx2"/>
              </a:solidFill>
              <a:ln w="2536" cap="flat">
                <a:noFill/>
                <a:prstDash val="solid"/>
                <a:miter/>
              </a:ln>
            </p:spPr>
            <p:txBody>
              <a:bodyPr rtlCol="0" anchor="ctr"/>
              <a:lstStyle/>
              <a:p>
                <a:endParaRPr lang="en-GB" dirty="0"/>
              </a:p>
            </p:txBody>
          </p:sp>
          <p:sp>
            <p:nvSpPr>
              <p:cNvPr id="540" name="Freihandform: Form 326">
                <a:extLst>
                  <a:ext uri="{FF2B5EF4-FFF2-40B4-BE49-F238E27FC236}">
                    <a16:creationId xmlns:a16="http://schemas.microsoft.com/office/drawing/2014/main" id="{D1241324-3159-4FC9-9F20-B8D4FB7E265C}"/>
                  </a:ext>
                </a:extLst>
              </p:cNvPr>
              <p:cNvSpPr/>
              <p:nvPr/>
            </p:nvSpPr>
            <p:spPr>
              <a:xfrm>
                <a:off x="1766330" y="2443455"/>
                <a:ext cx="431722" cy="431747"/>
              </a:xfrm>
              <a:custGeom>
                <a:avLst/>
                <a:gdLst>
                  <a:gd name="connsiteX0" fmla="*/ 372933 w 431722"/>
                  <a:gd name="connsiteY0" fmla="*/ 431748 h 431747"/>
                  <a:gd name="connsiteX1" fmla="*/ 372349 w 431722"/>
                  <a:gd name="connsiteY1" fmla="*/ 431748 h 431747"/>
                  <a:gd name="connsiteX2" fmla="*/ 58865 w 431722"/>
                  <a:gd name="connsiteY2" fmla="*/ 431748 h 431747"/>
                  <a:gd name="connsiteX3" fmla="*/ 0 w 431722"/>
                  <a:gd name="connsiteY3" fmla="*/ 372882 h 431747"/>
                  <a:gd name="connsiteX4" fmla="*/ 0 w 431722"/>
                  <a:gd name="connsiteY4" fmla="*/ 19613 h 431747"/>
                  <a:gd name="connsiteX5" fmla="*/ 19613 w 431722"/>
                  <a:gd name="connsiteY5" fmla="*/ 0 h 431747"/>
                  <a:gd name="connsiteX6" fmla="*/ 307437 w 431722"/>
                  <a:gd name="connsiteY6" fmla="*/ 0 h 431747"/>
                  <a:gd name="connsiteX7" fmla="*/ 327050 w 431722"/>
                  <a:gd name="connsiteY7" fmla="*/ 19613 h 431747"/>
                  <a:gd name="connsiteX8" fmla="*/ 327050 w 431722"/>
                  <a:gd name="connsiteY8" fmla="*/ 371078 h 431747"/>
                  <a:gd name="connsiteX9" fmla="*/ 369783 w 431722"/>
                  <a:gd name="connsiteY9" fmla="*/ 418562 h 431747"/>
                  <a:gd name="connsiteX10" fmla="*/ 372450 w 431722"/>
                  <a:gd name="connsiteY10" fmla="*/ 418664 h 431747"/>
                  <a:gd name="connsiteX11" fmla="*/ 372831 w 431722"/>
                  <a:gd name="connsiteY11" fmla="*/ 418664 h 431747"/>
                  <a:gd name="connsiteX12" fmla="*/ 372984 w 431722"/>
                  <a:gd name="connsiteY12" fmla="*/ 418664 h 431747"/>
                  <a:gd name="connsiteX13" fmla="*/ 404157 w 431722"/>
                  <a:gd name="connsiteY13" fmla="*/ 406291 h 431747"/>
                  <a:gd name="connsiteX14" fmla="*/ 418638 w 431722"/>
                  <a:gd name="connsiteY14" fmla="*/ 372882 h 431747"/>
                  <a:gd name="connsiteX15" fmla="*/ 418638 w 431722"/>
                  <a:gd name="connsiteY15" fmla="*/ 228958 h 431747"/>
                  <a:gd name="connsiteX16" fmla="*/ 412109 w 431722"/>
                  <a:gd name="connsiteY16" fmla="*/ 222429 h 431747"/>
                  <a:gd name="connsiteX17" fmla="*/ 396840 w 431722"/>
                  <a:gd name="connsiteY17" fmla="*/ 222429 h 431747"/>
                  <a:gd name="connsiteX18" fmla="*/ 390311 w 431722"/>
                  <a:gd name="connsiteY18" fmla="*/ 215899 h 431747"/>
                  <a:gd name="connsiteX19" fmla="*/ 396840 w 431722"/>
                  <a:gd name="connsiteY19" fmla="*/ 209370 h 431747"/>
                  <a:gd name="connsiteX20" fmla="*/ 412109 w 431722"/>
                  <a:gd name="connsiteY20" fmla="*/ 209370 h 431747"/>
                  <a:gd name="connsiteX21" fmla="*/ 431722 w 431722"/>
                  <a:gd name="connsiteY21" fmla="*/ 228983 h 431747"/>
                  <a:gd name="connsiteX22" fmla="*/ 431722 w 431722"/>
                  <a:gd name="connsiteY22" fmla="*/ 372908 h 431747"/>
                  <a:gd name="connsiteX23" fmla="*/ 413100 w 431722"/>
                  <a:gd name="connsiteY23" fmla="*/ 415869 h 431747"/>
                  <a:gd name="connsiteX24" fmla="*/ 372933 w 431722"/>
                  <a:gd name="connsiteY24" fmla="*/ 431748 h 431747"/>
                  <a:gd name="connsiteX25" fmla="*/ 19639 w 431722"/>
                  <a:gd name="connsiteY25" fmla="*/ 13084 h 431747"/>
                  <a:gd name="connsiteX26" fmla="*/ 13109 w 431722"/>
                  <a:gd name="connsiteY26" fmla="*/ 19613 h 431747"/>
                  <a:gd name="connsiteX27" fmla="*/ 13109 w 431722"/>
                  <a:gd name="connsiteY27" fmla="*/ 372857 h 431747"/>
                  <a:gd name="connsiteX28" fmla="*/ 58891 w 431722"/>
                  <a:gd name="connsiteY28" fmla="*/ 418638 h 431747"/>
                  <a:gd name="connsiteX29" fmla="*/ 336349 w 431722"/>
                  <a:gd name="connsiteY29" fmla="*/ 418638 h 431747"/>
                  <a:gd name="connsiteX30" fmla="*/ 314017 w 431722"/>
                  <a:gd name="connsiteY30" fmla="*/ 371053 h 431747"/>
                  <a:gd name="connsiteX31" fmla="*/ 314017 w 431722"/>
                  <a:gd name="connsiteY31" fmla="*/ 19613 h 431747"/>
                  <a:gd name="connsiteX32" fmla="*/ 307488 w 431722"/>
                  <a:gd name="connsiteY32" fmla="*/ 13084 h 431747"/>
                  <a:gd name="connsiteX33" fmla="*/ 19639 w 431722"/>
                  <a:gd name="connsiteY33" fmla="*/ 13084 h 431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31722" h="431747">
                    <a:moveTo>
                      <a:pt x="372933" y="431748"/>
                    </a:moveTo>
                    <a:cubicBezTo>
                      <a:pt x="372755" y="431748"/>
                      <a:pt x="372552" y="431748"/>
                      <a:pt x="372349" y="431748"/>
                    </a:cubicBezTo>
                    <a:lnTo>
                      <a:pt x="58865" y="431748"/>
                    </a:lnTo>
                    <a:cubicBezTo>
                      <a:pt x="26397" y="431748"/>
                      <a:pt x="0" y="405326"/>
                      <a:pt x="0" y="372882"/>
                    </a:cubicBezTo>
                    <a:lnTo>
                      <a:pt x="0" y="19613"/>
                    </a:lnTo>
                    <a:cubicBezTo>
                      <a:pt x="0" y="8790"/>
                      <a:pt x="8790" y="0"/>
                      <a:pt x="19613" y="0"/>
                    </a:cubicBezTo>
                    <a:lnTo>
                      <a:pt x="307437" y="0"/>
                    </a:lnTo>
                    <a:cubicBezTo>
                      <a:pt x="318260" y="0"/>
                      <a:pt x="327050" y="8790"/>
                      <a:pt x="327050" y="19613"/>
                    </a:cubicBezTo>
                    <a:lnTo>
                      <a:pt x="327050" y="371078"/>
                    </a:lnTo>
                    <a:cubicBezTo>
                      <a:pt x="327050" y="396154"/>
                      <a:pt x="345825" y="417012"/>
                      <a:pt x="369783" y="418562"/>
                    </a:cubicBezTo>
                    <a:cubicBezTo>
                      <a:pt x="370672" y="418613"/>
                      <a:pt x="371561" y="418664"/>
                      <a:pt x="372450" y="418664"/>
                    </a:cubicBezTo>
                    <a:lnTo>
                      <a:pt x="372831" y="418664"/>
                    </a:lnTo>
                    <a:cubicBezTo>
                      <a:pt x="372882" y="418664"/>
                      <a:pt x="372933" y="418664"/>
                      <a:pt x="372984" y="418664"/>
                    </a:cubicBezTo>
                    <a:cubicBezTo>
                      <a:pt x="384645" y="418638"/>
                      <a:pt x="395595" y="414294"/>
                      <a:pt x="404157" y="406291"/>
                    </a:cubicBezTo>
                    <a:cubicBezTo>
                      <a:pt x="413506" y="397551"/>
                      <a:pt x="418638" y="385661"/>
                      <a:pt x="418638" y="372882"/>
                    </a:cubicBezTo>
                    <a:lnTo>
                      <a:pt x="418638" y="228958"/>
                    </a:lnTo>
                    <a:cubicBezTo>
                      <a:pt x="418638" y="225350"/>
                      <a:pt x="415691" y="222429"/>
                      <a:pt x="412109" y="222429"/>
                    </a:cubicBezTo>
                    <a:lnTo>
                      <a:pt x="396840" y="222429"/>
                    </a:lnTo>
                    <a:cubicBezTo>
                      <a:pt x="393232" y="222429"/>
                      <a:pt x="390311" y="219507"/>
                      <a:pt x="390311" y="215899"/>
                    </a:cubicBezTo>
                    <a:cubicBezTo>
                      <a:pt x="390311" y="212292"/>
                      <a:pt x="393232" y="209370"/>
                      <a:pt x="396840" y="209370"/>
                    </a:cubicBezTo>
                    <a:lnTo>
                      <a:pt x="412109" y="209370"/>
                    </a:lnTo>
                    <a:cubicBezTo>
                      <a:pt x="422932" y="209370"/>
                      <a:pt x="431722" y="218160"/>
                      <a:pt x="431722" y="228983"/>
                    </a:cubicBezTo>
                    <a:lnTo>
                      <a:pt x="431722" y="372908"/>
                    </a:lnTo>
                    <a:cubicBezTo>
                      <a:pt x="431722" y="389117"/>
                      <a:pt x="424939" y="404767"/>
                      <a:pt x="413100" y="415869"/>
                    </a:cubicBezTo>
                    <a:cubicBezTo>
                      <a:pt x="402099" y="426158"/>
                      <a:pt x="387948" y="431748"/>
                      <a:pt x="372933" y="431748"/>
                    </a:cubicBezTo>
                    <a:close/>
                    <a:moveTo>
                      <a:pt x="19639" y="13084"/>
                    </a:moveTo>
                    <a:cubicBezTo>
                      <a:pt x="16031" y="13084"/>
                      <a:pt x="13109" y="16031"/>
                      <a:pt x="13109" y="19613"/>
                    </a:cubicBezTo>
                    <a:lnTo>
                      <a:pt x="13109" y="372857"/>
                    </a:lnTo>
                    <a:cubicBezTo>
                      <a:pt x="13109" y="398110"/>
                      <a:pt x="33663" y="418638"/>
                      <a:pt x="58891" y="418638"/>
                    </a:cubicBezTo>
                    <a:lnTo>
                      <a:pt x="336349" y="418638"/>
                    </a:lnTo>
                    <a:cubicBezTo>
                      <a:pt x="322731" y="407485"/>
                      <a:pt x="314017" y="390235"/>
                      <a:pt x="314017" y="371053"/>
                    </a:cubicBezTo>
                    <a:lnTo>
                      <a:pt x="314017" y="19613"/>
                    </a:lnTo>
                    <a:cubicBezTo>
                      <a:pt x="314017" y="16006"/>
                      <a:pt x="311070" y="13084"/>
                      <a:pt x="307488" y="13084"/>
                    </a:cubicBezTo>
                    <a:lnTo>
                      <a:pt x="19639" y="13084"/>
                    </a:lnTo>
                    <a:close/>
                  </a:path>
                </a:pathLst>
              </a:custGeom>
              <a:solidFill>
                <a:schemeClr val="tx2"/>
              </a:solidFill>
              <a:ln w="2536" cap="flat">
                <a:noFill/>
                <a:prstDash val="solid"/>
                <a:miter/>
              </a:ln>
            </p:spPr>
            <p:txBody>
              <a:bodyPr rtlCol="0" anchor="ctr"/>
              <a:lstStyle/>
              <a:p>
                <a:endParaRPr lang="en-GB" dirty="0"/>
              </a:p>
            </p:txBody>
          </p:sp>
          <p:sp>
            <p:nvSpPr>
              <p:cNvPr id="541" name="Freihandform: Form 327">
                <a:extLst>
                  <a:ext uri="{FF2B5EF4-FFF2-40B4-BE49-F238E27FC236}">
                    <a16:creationId xmlns:a16="http://schemas.microsoft.com/office/drawing/2014/main" id="{2ACC6A40-20AF-41AB-BFB7-EBC3E8C3F312}"/>
                  </a:ext>
                </a:extLst>
              </p:cNvPr>
              <p:cNvSpPr/>
              <p:nvPr/>
            </p:nvSpPr>
            <p:spPr>
              <a:xfrm>
                <a:off x="2104355" y="2559789"/>
                <a:ext cx="41411" cy="263077"/>
              </a:xfrm>
              <a:custGeom>
                <a:avLst/>
                <a:gdLst>
                  <a:gd name="connsiteX0" fmla="*/ 34857 w 41411"/>
                  <a:gd name="connsiteY0" fmla="*/ 263078 h 263077"/>
                  <a:gd name="connsiteX1" fmla="*/ 28328 w 41411"/>
                  <a:gd name="connsiteY1" fmla="*/ 256549 h 263077"/>
                  <a:gd name="connsiteX2" fmla="*/ 28328 w 41411"/>
                  <a:gd name="connsiteY2" fmla="*/ 19588 h 263077"/>
                  <a:gd name="connsiteX3" fmla="*/ 21798 w 41411"/>
                  <a:gd name="connsiteY3" fmla="*/ 13059 h 263077"/>
                  <a:gd name="connsiteX4" fmla="*/ 6529 w 41411"/>
                  <a:gd name="connsiteY4" fmla="*/ 13059 h 263077"/>
                  <a:gd name="connsiteX5" fmla="*/ 0 w 41411"/>
                  <a:gd name="connsiteY5" fmla="*/ 6529 h 263077"/>
                  <a:gd name="connsiteX6" fmla="*/ 6529 w 41411"/>
                  <a:gd name="connsiteY6" fmla="*/ 0 h 263077"/>
                  <a:gd name="connsiteX7" fmla="*/ 21798 w 41411"/>
                  <a:gd name="connsiteY7" fmla="*/ 0 h 263077"/>
                  <a:gd name="connsiteX8" fmla="*/ 41412 w 41411"/>
                  <a:gd name="connsiteY8" fmla="*/ 19613 h 263077"/>
                  <a:gd name="connsiteX9" fmla="*/ 41412 w 41411"/>
                  <a:gd name="connsiteY9" fmla="*/ 256574 h 263077"/>
                  <a:gd name="connsiteX10" fmla="*/ 34857 w 41411"/>
                  <a:gd name="connsiteY10" fmla="*/ 263078 h 26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411" h="263077">
                    <a:moveTo>
                      <a:pt x="34857" y="263078"/>
                    </a:moveTo>
                    <a:cubicBezTo>
                      <a:pt x="31249" y="263078"/>
                      <a:pt x="28328" y="260156"/>
                      <a:pt x="28328" y="256549"/>
                    </a:cubicBezTo>
                    <a:lnTo>
                      <a:pt x="28328" y="19588"/>
                    </a:lnTo>
                    <a:cubicBezTo>
                      <a:pt x="28328" y="15980"/>
                      <a:pt x="25380" y="13059"/>
                      <a:pt x="21798" y="13059"/>
                    </a:cubicBezTo>
                    <a:lnTo>
                      <a:pt x="6529" y="13059"/>
                    </a:lnTo>
                    <a:cubicBezTo>
                      <a:pt x="2922" y="13059"/>
                      <a:pt x="0" y="10137"/>
                      <a:pt x="0" y="6529"/>
                    </a:cubicBezTo>
                    <a:cubicBezTo>
                      <a:pt x="0" y="2922"/>
                      <a:pt x="2922" y="0"/>
                      <a:pt x="6529" y="0"/>
                    </a:cubicBezTo>
                    <a:lnTo>
                      <a:pt x="21798" y="0"/>
                    </a:lnTo>
                    <a:cubicBezTo>
                      <a:pt x="32621" y="0"/>
                      <a:pt x="41412" y="8790"/>
                      <a:pt x="41412" y="19613"/>
                    </a:cubicBezTo>
                    <a:lnTo>
                      <a:pt x="41412" y="256574"/>
                    </a:lnTo>
                    <a:cubicBezTo>
                      <a:pt x="41386" y="260131"/>
                      <a:pt x="38465" y="263078"/>
                      <a:pt x="34857" y="263078"/>
                    </a:cubicBezTo>
                    <a:close/>
                  </a:path>
                </a:pathLst>
              </a:custGeom>
              <a:solidFill>
                <a:schemeClr val="tx2"/>
              </a:solidFill>
              <a:ln w="2536" cap="flat">
                <a:noFill/>
                <a:prstDash val="solid"/>
                <a:miter/>
              </a:ln>
            </p:spPr>
            <p:txBody>
              <a:bodyPr rtlCol="0" anchor="ctr"/>
              <a:lstStyle/>
              <a:p>
                <a:endParaRPr lang="en-GB" dirty="0"/>
              </a:p>
            </p:txBody>
          </p:sp>
          <p:sp>
            <p:nvSpPr>
              <p:cNvPr id="542" name="Freihandform: Form 328">
                <a:extLst>
                  <a:ext uri="{FF2B5EF4-FFF2-40B4-BE49-F238E27FC236}">
                    <a16:creationId xmlns:a16="http://schemas.microsoft.com/office/drawing/2014/main" id="{416D2FBE-63D6-4AAE-91F9-B982BC72897A}"/>
                  </a:ext>
                </a:extLst>
              </p:cNvPr>
              <p:cNvSpPr/>
              <p:nvPr/>
            </p:nvSpPr>
            <p:spPr>
              <a:xfrm>
                <a:off x="1949506" y="2508875"/>
                <a:ext cx="91562" cy="13058"/>
              </a:xfrm>
              <a:custGeom>
                <a:avLst/>
                <a:gdLst>
                  <a:gd name="connsiteX0" fmla="*/ 85034 w 91562"/>
                  <a:gd name="connsiteY0" fmla="*/ 13059 h 13058"/>
                  <a:gd name="connsiteX1" fmla="*/ 6529 w 91562"/>
                  <a:gd name="connsiteY1" fmla="*/ 13059 h 13058"/>
                  <a:gd name="connsiteX2" fmla="*/ 0 w 91562"/>
                  <a:gd name="connsiteY2" fmla="*/ 6529 h 13058"/>
                  <a:gd name="connsiteX3" fmla="*/ 6529 w 91562"/>
                  <a:gd name="connsiteY3" fmla="*/ 0 h 13058"/>
                  <a:gd name="connsiteX4" fmla="*/ 85034 w 91562"/>
                  <a:gd name="connsiteY4" fmla="*/ 0 h 13058"/>
                  <a:gd name="connsiteX5" fmla="*/ 91563 w 91562"/>
                  <a:gd name="connsiteY5" fmla="*/ 6529 h 13058"/>
                  <a:gd name="connsiteX6" fmla="*/ 85034 w 91562"/>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62" h="13058">
                    <a:moveTo>
                      <a:pt x="85034" y="13059"/>
                    </a:moveTo>
                    <a:lnTo>
                      <a:pt x="6529" y="13059"/>
                    </a:lnTo>
                    <a:cubicBezTo>
                      <a:pt x="2922" y="13059"/>
                      <a:pt x="0" y="10137"/>
                      <a:pt x="0" y="6529"/>
                    </a:cubicBezTo>
                    <a:cubicBezTo>
                      <a:pt x="0" y="2922"/>
                      <a:pt x="2922" y="0"/>
                      <a:pt x="6529" y="0"/>
                    </a:cubicBezTo>
                    <a:lnTo>
                      <a:pt x="85034" y="0"/>
                    </a:lnTo>
                    <a:cubicBezTo>
                      <a:pt x="88641" y="0"/>
                      <a:pt x="91563" y="2922"/>
                      <a:pt x="91563" y="6529"/>
                    </a:cubicBezTo>
                    <a:cubicBezTo>
                      <a:pt x="91563" y="10137"/>
                      <a:pt x="88641" y="13059"/>
                      <a:pt x="85034" y="13059"/>
                    </a:cubicBezTo>
                    <a:close/>
                  </a:path>
                </a:pathLst>
              </a:custGeom>
              <a:solidFill>
                <a:schemeClr val="tx2"/>
              </a:solidFill>
              <a:ln w="2536" cap="flat">
                <a:noFill/>
                <a:prstDash val="solid"/>
                <a:miter/>
              </a:ln>
            </p:spPr>
            <p:txBody>
              <a:bodyPr rtlCol="0" anchor="ctr"/>
              <a:lstStyle/>
              <a:p>
                <a:endParaRPr lang="en-GB" dirty="0"/>
              </a:p>
            </p:txBody>
          </p:sp>
          <p:sp>
            <p:nvSpPr>
              <p:cNvPr id="543" name="Freihandform: Form 329">
                <a:extLst>
                  <a:ext uri="{FF2B5EF4-FFF2-40B4-BE49-F238E27FC236}">
                    <a16:creationId xmlns:a16="http://schemas.microsoft.com/office/drawing/2014/main" id="{A2CEB21D-BE79-4C52-AE10-734CB6EE2A7B}"/>
                  </a:ext>
                </a:extLst>
              </p:cNvPr>
              <p:cNvSpPr/>
              <p:nvPr/>
            </p:nvSpPr>
            <p:spPr>
              <a:xfrm>
                <a:off x="1949506" y="2548128"/>
                <a:ext cx="91562" cy="13058"/>
              </a:xfrm>
              <a:custGeom>
                <a:avLst/>
                <a:gdLst>
                  <a:gd name="connsiteX0" fmla="*/ 85034 w 91562"/>
                  <a:gd name="connsiteY0" fmla="*/ 13059 h 13058"/>
                  <a:gd name="connsiteX1" fmla="*/ 6529 w 91562"/>
                  <a:gd name="connsiteY1" fmla="*/ 13059 h 13058"/>
                  <a:gd name="connsiteX2" fmla="*/ 0 w 91562"/>
                  <a:gd name="connsiteY2" fmla="*/ 6529 h 13058"/>
                  <a:gd name="connsiteX3" fmla="*/ 6529 w 91562"/>
                  <a:gd name="connsiteY3" fmla="*/ 0 h 13058"/>
                  <a:gd name="connsiteX4" fmla="*/ 85034 w 91562"/>
                  <a:gd name="connsiteY4" fmla="*/ 0 h 13058"/>
                  <a:gd name="connsiteX5" fmla="*/ 91563 w 91562"/>
                  <a:gd name="connsiteY5" fmla="*/ 6529 h 13058"/>
                  <a:gd name="connsiteX6" fmla="*/ 85034 w 91562"/>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62" h="13058">
                    <a:moveTo>
                      <a:pt x="85034" y="13059"/>
                    </a:moveTo>
                    <a:lnTo>
                      <a:pt x="6529" y="13059"/>
                    </a:lnTo>
                    <a:cubicBezTo>
                      <a:pt x="2922" y="13059"/>
                      <a:pt x="0" y="10137"/>
                      <a:pt x="0" y="6529"/>
                    </a:cubicBezTo>
                    <a:cubicBezTo>
                      <a:pt x="0" y="2922"/>
                      <a:pt x="2922" y="0"/>
                      <a:pt x="6529" y="0"/>
                    </a:cubicBezTo>
                    <a:lnTo>
                      <a:pt x="85034" y="0"/>
                    </a:lnTo>
                    <a:cubicBezTo>
                      <a:pt x="88641" y="0"/>
                      <a:pt x="91563" y="2922"/>
                      <a:pt x="91563" y="6529"/>
                    </a:cubicBezTo>
                    <a:cubicBezTo>
                      <a:pt x="91563" y="10137"/>
                      <a:pt x="88641" y="13059"/>
                      <a:pt x="85034" y="13059"/>
                    </a:cubicBezTo>
                    <a:close/>
                  </a:path>
                </a:pathLst>
              </a:custGeom>
              <a:solidFill>
                <a:schemeClr val="tx2"/>
              </a:solidFill>
              <a:ln w="2536" cap="flat">
                <a:noFill/>
                <a:prstDash val="solid"/>
                <a:miter/>
              </a:ln>
            </p:spPr>
            <p:txBody>
              <a:bodyPr rtlCol="0" anchor="ctr"/>
              <a:lstStyle/>
              <a:p>
                <a:endParaRPr lang="en-GB" dirty="0"/>
              </a:p>
            </p:txBody>
          </p:sp>
          <p:sp>
            <p:nvSpPr>
              <p:cNvPr id="544" name="Freihandform: Form 330">
                <a:extLst>
                  <a:ext uri="{FF2B5EF4-FFF2-40B4-BE49-F238E27FC236}">
                    <a16:creationId xmlns:a16="http://schemas.microsoft.com/office/drawing/2014/main" id="{173669E3-4387-4598-8B0D-5789533B1387}"/>
                  </a:ext>
                </a:extLst>
              </p:cNvPr>
              <p:cNvSpPr/>
              <p:nvPr/>
            </p:nvSpPr>
            <p:spPr>
              <a:xfrm>
                <a:off x="1949506" y="2587380"/>
                <a:ext cx="91562" cy="13058"/>
              </a:xfrm>
              <a:custGeom>
                <a:avLst/>
                <a:gdLst>
                  <a:gd name="connsiteX0" fmla="*/ 85034 w 91562"/>
                  <a:gd name="connsiteY0" fmla="*/ 13059 h 13058"/>
                  <a:gd name="connsiteX1" fmla="*/ 6529 w 91562"/>
                  <a:gd name="connsiteY1" fmla="*/ 13059 h 13058"/>
                  <a:gd name="connsiteX2" fmla="*/ 0 w 91562"/>
                  <a:gd name="connsiteY2" fmla="*/ 6529 h 13058"/>
                  <a:gd name="connsiteX3" fmla="*/ 6529 w 91562"/>
                  <a:gd name="connsiteY3" fmla="*/ 0 h 13058"/>
                  <a:gd name="connsiteX4" fmla="*/ 85034 w 91562"/>
                  <a:gd name="connsiteY4" fmla="*/ 0 h 13058"/>
                  <a:gd name="connsiteX5" fmla="*/ 91563 w 91562"/>
                  <a:gd name="connsiteY5" fmla="*/ 6529 h 13058"/>
                  <a:gd name="connsiteX6" fmla="*/ 85034 w 91562"/>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62" h="13058">
                    <a:moveTo>
                      <a:pt x="85034" y="13059"/>
                    </a:moveTo>
                    <a:lnTo>
                      <a:pt x="6529" y="13059"/>
                    </a:lnTo>
                    <a:cubicBezTo>
                      <a:pt x="2922" y="13059"/>
                      <a:pt x="0" y="10137"/>
                      <a:pt x="0" y="6529"/>
                    </a:cubicBezTo>
                    <a:cubicBezTo>
                      <a:pt x="0" y="2922"/>
                      <a:pt x="2922" y="0"/>
                      <a:pt x="6529" y="0"/>
                    </a:cubicBezTo>
                    <a:lnTo>
                      <a:pt x="85034" y="0"/>
                    </a:lnTo>
                    <a:cubicBezTo>
                      <a:pt x="88641" y="0"/>
                      <a:pt x="91563" y="2922"/>
                      <a:pt x="91563" y="6529"/>
                    </a:cubicBezTo>
                    <a:cubicBezTo>
                      <a:pt x="91563" y="10137"/>
                      <a:pt x="88641" y="13059"/>
                      <a:pt x="85034" y="13059"/>
                    </a:cubicBezTo>
                    <a:close/>
                  </a:path>
                </a:pathLst>
              </a:custGeom>
              <a:solidFill>
                <a:schemeClr val="tx2"/>
              </a:solidFill>
              <a:ln w="2536" cap="flat">
                <a:noFill/>
                <a:prstDash val="solid"/>
                <a:miter/>
              </a:ln>
            </p:spPr>
            <p:txBody>
              <a:bodyPr rtlCol="0" anchor="ctr"/>
              <a:lstStyle/>
              <a:p>
                <a:endParaRPr lang="en-GB" dirty="0"/>
              </a:p>
            </p:txBody>
          </p:sp>
          <p:sp>
            <p:nvSpPr>
              <p:cNvPr id="545" name="Freihandform: Form 331">
                <a:extLst>
                  <a:ext uri="{FF2B5EF4-FFF2-40B4-BE49-F238E27FC236}">
                    <a16:creationId xmlns:a16="http://schemas.microsoft.com/office/drawing/2014/main" id="{EA6B2BBF-4F82-4881-B252-875DD36BCFDB}"/>
                  </a:ext>
                </a:extLst>
              </p:cNvPr>
              <p:cNvSpPr/>
              <p:nvPr/>
            </p:nvSpPr>
            <p:spPr>
              <a:xfrm>
                <a:off x="1818666" y="2633161"/>
                <a:ext cx="222403" cy="130814"/>
              </a:xfrm>
              <a:custGeom>
                <a:avLst/>
                <a:gdLst>
                  <a:gd name="connsiteX0" fmla="*/ 215874 w 222403"/>
                  <a:gd name="connsiteY0" fmla="*/ 130815 h 130814"/>
                  <a:gd name="connsiteX1" fmla="*/ 6529 w 222403"/>
                  <a:gd name="connsiteY1" fmla="*/ 130815 h 130814"/>
                  <a:gd name="connsiteX2" fmla="*/ 0 w 222403"/>
                  <a:gd name="connsiteY2" fmla="*/ 124286 h 130814"/>
                  <a:gd name="connsiteX3" fmla="*/ 0 w 222403"/>
                  <a:gd name="connsiteY3" fmla="*/ 6529 h 130814"/>
                  <a:gd name="connsiteX4" fmla="*/ 6529 w 222403"/>
                  <a:gd name="connsiteY4" fmla="*/ 0 h 130814"/>
                  <a:gd name="connsiteX5" fmla="*/ 215874 w 222403"/>
                  <a:gd name="connsiteY5" fmla="*/ 0 h 130814"/>
                  <a:gd name="connsiteX6" fmla="*/ 222403 w 222403"/>
                  <a:gd name="connsiteY6" fmla="*/ 6529 h 130814"/>
                  <a:gd name="connsiteX7" fmla="*/ 222403 w 222403"/>
                  <a:gd name="connsiteY7" fmla="*/ 124286 h 130814"/>
                  <a:gd name="connsiteX8" fmla="*/ 215874 w 222403"/>
                  <a:gd name="connsiteY8" fmla="*/ 130815 h 130814"/>
                  <a:gd name="connsiteX9" fmla="*/ 13084 w 222403"/>
                  <a:gd name="connsiteY9" fmla="*/ 117731 h 130814"/>
                  <a:gd name="connsiteX10" fmla="*/ 209345 w 222403"/>
                  <a:gd name="connsiteY10" fmla="*/ 117731 h 130814"/>
                  <a:gd name="connsiteX11" fmla="*/ 209345 w 222403"/>
                  <a:gd name="connsiteY11" fmla="*/ 13059 h 130814"/>
                  <a:gd name="connsiteX12" fmla="*/ 13084 w 222403"/>
                  <a:gd name="connsiteY12" fmla="*/ 13059 h 130814"/>
                  <a:gd name="connsiteX13" fmla="*/ 13084 w 222403"/>
                  <a:gd name="connsiteY13" fmla="*/ 117731 h 1308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2403" h="130814">
                    <a:moveTo>
                      <a:pt x="215874" y="130815"/>
                    </a:moveTo>
                    <a:lnTo>
                      <a:pt x="6529" y="130815"/>
                    </a:lnTo>
                    <a:cubicBezTo>
                      <a:pt x="2922" y="130815"/>
                      <a:pt x="0" y="127893"/>
                      <a:pt x="0" y="124286"/>
                    </a:cubicBezTo>
                    <a:lnTo>
                      <a:pt x="0" y="6529"/>
                    </a:lnTo>
                    <a:cubicBezTo>
                      <a:pt x="0" y="2922"/>
                      <a:pt x="2922" y="0"/>
                      <a:pt x="6529" y="0"/>
                    </a:cubicBezTo>
                    <a:lnTo>
                      <a:pt x="215874" y="0"/>
                    </a:lnTo>
                    <a:cubicBezTo>
                      <a:pt x="219482" y="0"/>
                      <a:pt x="222403" y="2922"/>
                      <a:pt x="222403" y="6529"/>
                    </a:cubicBezTo>
                    <a:lnTo>
                      <a:pt x="222403" y="124286"/>
                    </a:lnTo>
                    <a:cubicBezTo>
                      <a:pt x="222403" y="127893"/>
                      <a:pt x="219482" y="130815"/>
                      <a:pt x="215874" y="130815"/>
                    </a:cubicBezTo>
                    <a:close/>
                    <a:moveTo>
                      <a:pt x="13084" y="117731"/>
                    </a:moveTo>
                    <a:lnTo>
                      <a:pt x="209345" y="117731"/>
                    </a:lnTo>
                    <a:lnTo>
                      <a:pt x="209345" y="13059"/>
                    </a:lnTo>
                    <a:lnTo>
                      <a:pt x="13084" y="13059"/>
                    </a:lnTo>
                    <a:lnTo>
                      <a:pt x="13084" y="117731"/>
                    </a:lnTo>
                    <a:close/>
                  </a:path>
                </a:pathLst>
              </a:custGeom>
              <a:solidFill>
                <a:schemeClr val="tx2"/>
              </a:solidFill>
              <a:ln w="2536" cap="flat">
                <a:noFill/>
                <a:prstDash val="solid"/>
                <a:miter/>
              </a:ln>
            </p:spPr>
            <p:txBody>
              <a:bodyPr rtlCol="0" anchor="ctr"/>
              <a:lstStyle/>
              <a:p>
                <a:endParaRPr lang="en-GB" dirty="0"/>
              </a:p>
            </p:txBody>
          </p:sp>
        </p:grpSp>
        <p:grpSp>
          <p:nvGrpSpPr>
            <p:cNvPr id="536" name="Grafik 301">
              <a:extLst>
                <a:ext uri="{FF2B5EF4-FFF2-40B4-BE49-F238E27FC236}">
                  <a16:creationId xmlns:a16="http://schemas.microsoft.com/office/drawing/2014/main" id="{95D3FB7C-BB11-4CBA-A4AD-44B7F27DB066}"/>
                </a:ext>
              </a:extLst>
            </p:cNvPr>
            <p:cNvGrpSpPr/>
            <p:nvPr/>
          </p:nvGrpSpPr>
          <p:grpSpPr>
            <a:xfrm>
              <a:off x="6092369" y="2456959"/>
              <a:ext cx="104733" cy="104733"/>
              <a:chOff x="1818666" y="2508850"/>
              <a:chExt cx="104672" cy="104672"/>
            </a:xfrm>
            <a:solidFill>
              <a:schemeClr val="accent1"/>
            </a:solidFill>
          </p:grpSpPr>
          <p:sp>
            <p:nvSpPr>
              <p:cNvPr id="537" name="Freihandform: Form 333">
                <a:extLst>
                  <a:ext uri="{FF2B5EF4-FFF2-40B4-BE49-F238E27FC236}">
                    <a16:creationId xmlns:a16="http://schemas.microsoft.com/office/drawing/2014/main" id="{9D5F5A0B-03B8-47F1-8D52-22D40A8AF92E}"/>
                  </a:ext>
                </a:extLst>
              </p:cNvPr>
              <p:cNvSpPr/>
              <p:nvPr/>
            </p:nvSpPr>
            <p:spPr>
              <a:xfrm>
                <a:off x="1864498" y="2508901"/>
                <a:ext cx="58738" cy="91562"/>
              </a:xfrm>
              <a:custGeom>
                <a:avLst/>
                <a:gdLst>
                  <a:gd name="connsiteX0" fmla="*/ 37779 w 58738"/>
                  <a:gd name="connsiteY0" fmla="*/ 91563 h 91562"/>
                  <a:gd name="connsiteX1" fmla="*/ 33256 w 58738"/>
                  <a:gd name="connsiteY1" fmla="*/ 89759 h 91562"/>
                  <a:gd name="connsiteX2" fmla="*/ 1905 w 58738"/>
                  <a:gd name="connsiteY2" fmla="*/ 58383 h 91562"/>
                  <a:gd name="connsiteX3" fmla="*/ 0 w 58738"/>
                  <a:gd name="connsiteY3" fmla="*/ 53784 h 91562"/>
                  <a:gd name="connsiteX4" fmla="*/ 0 w 58738"/>
                  <a:gd name="connsiteY4" fmla="*/ 6529 h 91562"/>
                  <a:gd name="connsiteX5" fmla="*/ 6529 w 58738"/>
                  <a:gd name="connsiteY5" fmla="*/ 0 h 91562"/>
                  <a:gd name="connsiteX6" fmla="*/ 6555 w 58738"/>
                  <a:gd name="connsiteY6" fmla="*/ 0 h 91562"/>
                  <a:gd name="connsiteX7" fmla="*/ 58738 w 58738"/>
                  <a:gd name="connsiteY7" fmla="*/ 52057 h 91562"/>
                  <a:gd name="connsiteX8" fmla="*/ 42936 w 58738"/>
                  <a:gd name="connsiteY8" fmla="*/ 89403 h 91562"/>
                  <a:gd name="connsiteX9" fmla="*/ 42352 w 58738"/>
                  <a:gd name="connsiteY9" fmla="*/ 89911 h 91562"/>
                  <a:gd name="connsiteX10" fmla="*/ 37779 w 58738"/>
                  <a:gd name="connsiteY10" fmla="*/ 91563 h 91562"/>
                  <a:gd name="connsiteX11" fmla="*/ 13033 w 58738"/>
                  <a:gd name="connsiteY11" fmla="*/ 51040 h 91562"/>
                  <a:gd name="connsiteX12" fmla="*/ 37652 w 58738"/>
                  <a:gd name="connsiteY12" fmla="*/ 75659 h 91562"/>
                  <a:gd name="connsiteX13" fmla="*/ 45604 w 58738"/>
                  <a:gd name="connsiteY13" fmla="*/ 52006 h 91562"/>
                  <a:gd name="connsiteX14" fmla="*/ 13008 w 58738"/>
                  <a:gd name="connsiteY14" fmla="*/ 13541 h 91562"/>
                  <a:gd name="connsiteX15" fmla="*/ 13008 w 58738"/>
                  <a:gd name="connsiteY15" fmla="*/ 51040 h 9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738" h="91562">
                    <a:moveTo>
                      <a:pt x="37779" y="91563"/>
                    </a:moveTo>
                    <a:cubicBezTo>
                      <a:pt x="36102" y="91563"/>
                      <a:pt x="34450" y="90978"/>
                      <a:pt x="33256" y="89759"/>
                    </a:cubicBezTo>
                    <a:lnTo>
                      <a:pt x="1905" y="58383"/>
                    </a:lnTo>
                    <a:cubicBezTo>
                      <a:pt x="686" y="57163"/>
                      <a:pt x="0" y="55512"/>
                      <a:pt x="0" y="53784"/>
                    </a:cubicBezTo>
                    <a:lnTo>
                      <a:pt x="0" y="6529"/>
                    </a:lnTo>
                    <a:cubicBezTo>
                      <a:pt x="0" y="2922"/>
                      <a:pt x="2922" y="0"/>
                      <a:pt x="6529" y="0"/>
                    </a:cubicBezTo>
                    <a:cubicBezTo>
                      <a:pt x="6529" y="0"/>
                      <a:pt x="6529" y="0"/>
                      <a:pt x="6555" y="0"/>
                    </a:cubicBezTo>
                    <a:cubicBezTo>
                      <a:pt x="35416" y="0"/>
                      <a:pt x="58738" y="23348"/>
                      <a:pt x="58738" y="52057"/>
                    </a:cubicBezTo>
                    <a:cubicBezTo>
                      <a:pt x="58738" y="66259"/>
                      <a:pt x="53124" y="79520"/>
                      <a:pt x="42936" y="89403"/>
                    </a:cubicBezTo>
                    <a:cubicBezTo>
                      <a:pt x="42834" y="89505"/>
                      <a:pt x="42479" y="89835"/>
                      <a:pt x="42352" y="89911"/>
                    </a:cubicBezTo>
                    <a:cubicBezTo>
                      <a:pt x="41056" y="90978"/>
                      <a:pt x="39404" y="91563"/>
                      <a:pt x="37779" y="91563"/>
                    </a:cubicBezTo>
                    <a:close/>
                    <a:moveTo>
                      <a:pt x="13033" y="51040"/>
                    </a:moveTo>
                    <a:lnTo>
                      <a:pt x="37652" y="75659"/>
                    </a:lnTo>
                    <a:cubicBezTo>
                      <a:pt x="42809" y="68952"/>
                      <a:pt x="45604" y="60720"/>
                      <a:pt x="45604" y="52006"/>
                    </a:cubicBezTo>
                    <a:cubicBezTo>
                      <a:pt x="45604" y="32697"/>
                      <a:pt x="31478" y="16615"/>
                      <a:pt x="13008" y="13541"/>
                    </a:cubicBezTo>
                    <a:lnTo>
                      <a:pt x="13008" y="51040"/>
                    </a:lnTo>
                    <a:close/>
                  </a:path>
                </a:pathLst>
              </a:custGeom>
              <a:solidFill>
                <a:schemeClr val="accent1"/>
              </a:solidFill>
              <a:ln w="2536" cap="flat">
                <a:noFill/>
                <a:prstDash val="solid"/>
                <a:miter/>
              </a:ln>
            </p:spPr>
            <p:txBody>
              <a:bodyPr rtlCol="0" anchor="ctr"/>
              <a:lstStyle/>
              <a:p>
                <a:endParaRPr lang="en-GB" dirty="0"/>
              </a:p>
            </p:txBody>
          </p:sp>
          <p:sp>
            <p:nvSpPr>
              <p:cNvPr id="538" name="Freihandform: Form 334">
                <a:extLst>
                  <a:ext uri="{FF2B5EF4-FFF2-40B4-BE49-F238E27FC236}">
                    <a16:creationId xmlns:a16="http://schemas.microsoft.com/office/drawing/2014/main" id="{AD97C67C-2D56-4BDF-A4E2-0AAF7F989507}"/>
                  </a:ext>
                </a:extLst>
              </p:cNvPr>
              <p:cNvSpPr/>
              <p:nvPr/>
            </p:nvSpPr>
            <p:spPr>
              <a:xfrm>
                <a:off x="1818666" y="2508850"/>
                <a:ext cx="104672" cy="104672"/>
              </a:xfrm>
              <a:custGeom>
                <a:avLst/>
                <a:gdLst>
                  <a:gd name="connsiteX0" fmla="*/ 52336 w 104672"/>
                  <a:gd name="connsiteY0" fmla="*/ 104672 h 104672"/>
                  <a:gd name="connsiteX1" fmla="*/ 0 w 104672"/>
                  <a:gd name="connsiteY1" fmla="*/ 52336 h 104672"/>
                  <a:gd name="connsiteX2" fmla="*/ 52336 w 104672"/>
                  <a:gd name="connsiteY2" fmla="*/ 0 h 104672"/>
                  <a:gd name="connsiteX3" fmla="*/ 104672 w 104672"/>
                  <a:gd name="connsiteY3" fmla="*/ 52336 h 104672"/>
                  <a:gd name="connsiteX4" fmla="*/ 52336 w 104672"/>
                  <a:gd name="connsiteY4" fmla="*/ 104672 h 104672"/>
                  <a:gd name="connsiteX5" fmla="*/ 52336 w 104672"/>
                  <a:gd name="connsiteY5" fmla="*/ 13084 h 104672"/>
                  <a:gd name="connsiteX6" fmla="*/ 13084 w 104672"/>
                  <a:gd name="connsiteY6" fmla="*/ 52336 h 104672"/>
                  <a:gd name="connsiteX7" fmla="*/ 52336 w 104672"/>
                  <a:gd name="connsiteY7" fmla="*/ 91588 h 104672"/>
                  <a:gd name="connsiteX8" fmla="*/ 91588 w 104672"/>
                  <a:gd name="connsiteY8" fmla="*/ 52336 h 104672"/>
                  <a:gd name="connsiteX9" fmla="*/ 52336 w 104672"/>
                  <a:gd name="connsiteY9" fmla="*/ 13084 h 10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672" h="104672">
                    <a:moveTo>
                      <a:pt x="52336" y="104672"/>
                    </a:moveTo>
                    <a:cubicBezTo>
                      <a:pt x="23475" y="104672"/>
                      <a:pt x="0" y="81197"/>
                      <a:pt x="0" y="52336"/>
                    </a:cubicBezTo>
                    <a:cubicBezTo>
                      <a:pt x="0" y="23475"/>
                      <a:pt x="23475" y="0"/>
                      <a:pt x="52336" y="0"/>
                    </a:cubicBezTo>
                    <a:cubicBezTo>
                      <a:pt x="81197" y="0"/>
                      <a:pt x="104672" y="23475"/>
                      <a:pt x="104672" y="52336"/>
                    </a:cubicBezTo>
                    <a:cubicBezTo>
                      <a:pt x="104672" y="81197"/>
                      <a:pt x="81197" y="104672"/>
                      <a:pt x="52336" y="104672"/>
                    </a:cubicBezTo>
                    <a:close/>
                    <a:moveTo>
                      <a:pt x="52336" y="13084"/>
                    </a:moveTo>
                    <a:cubicBezTo>
                      <a:pt x="30690" y="13084"/>
                      <a:pt x="13084" y="30690"/>
                      <a:pt x="13084" y="52336"/>
                    </a:cubicBezTo>
                    <a:cubicBezTo>
                      <a:pt x="13084" y="73982"/>
                      <a:pt x="30690" y="91588"/>
                      <a:pt x="52336" y="91588"/>
                    </a:cubicBezTo>
                    <a:cubicBezTo>
                      <a:pt x="73982" y="91588"/>
                      <a:pt x="91588" y="73982"/>
                      <a:pt x="91588" y="52336"/>
                    </a:cubicBezTo>
                    <a:cubicBezTo>
                      <a:pt x="91588" y="30690"/>
                      <a:pt x="73982" y="13084"/>
                      <a:pt x="52336" y="13084"/>
                    </a:cubicBezTo>
                    <a:close/>
                  </a:path>
                </a:pathLst>
              </a:custGeom>
              <a:solidFill>
                <a:schemeClr val="accent1"/>
              </a:solidFill>
              <a:ln w="2536" cap="flat">
                <a:noFill/>
                <a:prstDash val="solid"/>
                <a:miter/>
              </a:ln>
            </p:spPr>
            <p:txBody>
              <a:bodyPr rtlCol="0" anchor="ctr"/>
              <a:lstStyle/>
              <a:p>
                <a:endParaRPr lang="en-GB" dirty="0"/>
              </a:p>
            </p:txBody>
          </p:sp>
        </p:grpSp>
      </p:grpSp>
      <p:grpSp>
        <p:nvGrpSpPr>
          <p:cNvPr id="765" name="Group 764">
            <a:extLst>
              <a:ext uri="{FF2B5EF4-FFF2-40B4-BE49-F238E27FC236}">
                <a16:creationId xmlns:a16="http://schemas.microsoft.com/office/drawing/2014/main" id="{AFF5BD6F-AC34-4097-8E63-FA9C5976FE16}"/>
              </a:ext>
            </a:extLst>
          </p:cNvPr>
          <p:cNvGrpSpPr/>
          <p:nvPr/>
        </p:nvGrpSpPr>
        <p:grpSpPr>
          <a:xfrm>
            <a:off x="7089074" y="2391526"/>
            <a:ext cx="420921" cy="432000"/>
            <a:chOff x="7088662" y="2391526"/>
            <a:chExt cx="420921" cy="432000"/>
          </a:xfrm>
        </p:grpSpPr>
        <p:grpSp>
          <p:nvGrpSpPr>
            <p:cNvPr id="547" name="Gruppieren 782">
              <a:extLst>
                <a:ext uri="{FF2B5EF4-FFF2-40B4-BE49-F238E27FC236}">
                  <a16:creationId xmlns:a16="http://schemas.microsoft.com/office/drawing/2014/main" id="{F6106CBE-0643-4FDD-BEF4-9E2DCF447010}"/>
                </a:ext>
              </a:extLst>
            </p:cNvPr>
            <p:cNvGrpSpPr/>
            <p:nvPr/>
          </p:nvGrpSpPr>
          <p:grpSpPr>
            <a:xfrm>
              <a:off x="7088662" y="2391526"/>
              <a:ext cx="321233" cy="432000"/>
              <a:chOff x="883221" y="4059245"/>
              <a:chExt cx="379401" cy="510226"/>
            </a:xfrm>
          </p:grpSpPr>
          <p:grpSp>
            <p:nvGrpSpPr>
              <p:cNvPr id="568" name="Grafik 301">
                <a:extLst>
                  <a:ext uri="{FF2B5EF4-FFF2-40B4-BE49-F238E27FC236}">
                    <a16:creationId xmlns:a16="http://schemas.microsoft.com/office/drawing/2014/main" id="{99A36F02-7369-426B-B131-CE18941DE29C}"/>
                  </a:ext>
                </a:extLst>
              </p:cNvPr>
              <p:cNvGrpSpPr/>
              <p:nvPr/>
            </p:nvGrpSpPr>
            <p:grpSpPr>
              <a:xfrm>
                <a:off x="883221" y="4434388"/>
                <a:ext cx="262417" cy="135083"/>
                <a:chOff x="883221" y="4434388"/>
                <a:chExt cx="262417" cy="135083"/>
              </a:xfrm>
              <a:solidFill>
                <a:schemeClr val="accent1"/>
              </a:solidFill>
            </p:grpSpPr>
            <p:grpSp>
              <p:nvGrpSpPr>
                <p:cNvPr id="572" name="Grafik 301">
                  <a:extLst>
                    <a:ext uri="{FF2B5EF4-FFF2-40B4-BE49-F238E27FC236}">
                      <a16:creationId xmlns:a16="http://schemas.microsoft.com/office/drawing/2014/main" id="{F74B4E3A-DCE6-4CFE-8697-7F84708B062A}"/>
                    </a:ext>
                  </a:extLst>
                </p:cNvPr>
                <p:cNvGrpSpPr/>
                <p:nvPr/>
              </p:nvGrpSpPr>
              <p:grpSpPr>
                <a:xfrm>
                  <a:off x="1007888" y="4434388"/>
                  <a:ext cx="137750" cy="134752"/>
                  <a:chOff x="1007888" y="4434388"/>
                  <a:chExt cx="137750" cy="134752"/>
                </a:xfrm>
                <a:solidFill>
                  <a:schemeClr val="accent1"/>
                </a:solidFill>
              </p:grpSpPr>
              <p:grpSp>
                <p:nvGrpSpPr>
                  <p:cNvPr id="578" name="Grafik 301">
                    <a:extLst>
                      <a:ext uri="{FF2B5EF4-FFF2-40B4-BE49-F238E27FC236}">
                        <a16:creationId xmlns:a16="http://schemas.microsoft.com/office/drawing/2014/main" id="{DC8926C4-400A-4F8B-BEA3-75F556C900AB}"/>
                      </a:ext>
                    </a:extLst>
                  </p:cNvPr>
                  <p:cNvGrpSpPr/>
                  <p:nvPr/>
                </p:nvGrpSpPr>
                <p:grpSpPr>
                  <a:xfrm>
                    <a:off x="1007888" y="4508090"/>
                    <a:ext cx="137699" cy="61050"/>
                    <a:chOff x="1007888" y="4508090"/>
                    <a:chExt cx="137699" cy="61050"/>
                  </a:xfrm>
                  <a:solidFill>
                    <a:schemeClr val="accent1"/>
                  </a:solidFill>
                </p:grpSpPr>
                <p:sp>
                  <p:nvSpPr>
                    <p:cNvPr id="586" name="Freihandform: Form 465">
                      <a:extLst>
                        <a:ext uri="{FF2B5EF4-FFF2-40B4-BE49-F238E27FC236}">
                          <a16:creationId xmlns:a16="http://schemas.microsoft.com/office/drawing/2014/main" id="{AFDB6CD2-F4F8-4749-BADF-02B70430EFC2}"/>
                        </a:ext>
                      </a:extLst>
                    </p:cNvPr>
                    <p:cNvSpPr/>
                    <p:nvPr/>
                  </p:nvSpPr>
                  <p:spPr>
                    <a:xfrm>
                      <a:off x="1007888" y="4534081"/>
                      <a:ext cx="137699" cy="34399"/>
                    </a:xfrm>
                    <a:custGeom>
                      <a:avLst/>
                      <a:gdLst>
                        <a:gd name="connsiteX0" fmla="*/ 68875 w 137699"/>
                        <a:gd name="connsiteY0" fmla="*/ 34400 h 34399"/>
                        <a:gd name="connsiteX1" fmla="*/ 0 w 137699"/>
                        <a:gd name="connsiteY1" fmla="*/ 6529 h 34399"/>
                        <a:gd name="connsiteX2" fmla="*/ 6529 w 137699"/>
                        <a:gd name="connsiteY2" fmla="*/ 0 h 34399"/>
                        <a:gd name="connsiteX3" fmla="*/ 13059 w 137699"/>
                        <a:gd name="connsiteY3" fmla="*/ 6529 h 34399"/>
                        <a:gd name="connsiteX4" fmla="*/ 68850 w 137699"/>
                        <a:gd name="connsiteY4" fmla="*/ 21316 h 34399"/>
                        <a:gd name="connsiteX5" fmla="*/ 124641 w 137699"/>
                        <a:gd name="connsiteY5" fmla="*/ 6529 h 34399"/>
                        <a:gd name="connsiteX6" fmla="*/ 131171 w 137699"/>
                        <a:gd name="connsiteY6" fmla="*/ 0 h 34399"/>
                        <a:gd name="connsiteX7" fmla="*/ 137700 w 137699"/>
                        <a:gd name="connsiteY7" fmla="*/ 6529 h 34399"/>
                        <a:gd name="connsiteX8" fmla="*/ 68875 w 137699"/>
                        <a:gd name="connsiteY8" fmla="*/ 34400 h 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699" h="34399">
                          <a:moveTo>
                            <a:pt x="68875" y="34400"/>
                          </a:moveTo>
                          <a:cubicBezTo>
                            <a:pt x="35695" y="34400"/>
                            <a:pt x="0" y="25685"/>
                            <a:pt x="0" y="6529"/>
                          </a:cubicBezTo>
                          <a:cubicBezTo>
                            <a:pt x="0" y="2922"/>
                            <a:pt x="2922" y="0"/>
                            <a:pt x="6529" y="0"/>
                          </a:cubicBezTo>
                          <a:cubicBezTo>
                            <a:pt x="10137" y="0"/>
                            <a:pt x="13059" y="2922"/>
                            <a:pt x="13059" y="6529"/>
                          </a:cubicBezTo>
                          <a:cubicBezTo>
                            <a:pt x="13059" y="10823"/>
                            <a:pt x="32621" y="21316"/>
                            <a:pt x="68850" y="21316"/>
                          </a:cubicBezTo>
                          <a:cubicBezTo>
                            <a:pt x="105079" y="21316"/>
                            <a:pt x="124641" y="10823"/>
                            <a:pt x="124641" y="6529"/>
                          </a:cubicBezTo>
                          <a:cubicBezTo>
                            <a:pt x="124641" y="2922"/>
                            <a:pt x="127563" y="0"/>
                            <a:pt x="131171" y="0"/>
                          </a:cubicBezTo>
                          <a:cubicBezTo>
                            <a:pt x="134778" y="0"/>
                            <a:pt x="137700" y="2922"/>
                            <a:pt x="137700" y="6529"/>
                          </a:cubicBezTo>
                          <a:cubicBezTo>
                            <a:pt x="137751" y="25685"/>
                            <a:pt x="102055" y="34400"/>
                            <a:pt x="68875" y="34400"/>
                          </a:cubicBezTo>
                          <a:close/>
                        </a:path>
                      </a:pathLst>
                    </a:custGeom>
                    <a:solidFill>
                      <a:schemeClr val="accent1"/>
                    </a:solidFill>
                    <a:ln w="2536" cap="flat">
                      <a:noFill/>
                      <a:prstDash val="solid"/>
                      <a:miter/>
                    </a:ln>
                  </p:spPr>
                  <p:txBody>
                    <a:bodyPr rtlCol="0" anchor="ctr"/>
                    <a:lstStyle/>
                    <a:p>
                      <a:endParaRPr lang="en-GB" dirty="0"/>
                    </a:p>
                  </p:txBody>
                </p:sp>
                <p:grpSp>
                  <p:nvGrpSpPr>
                    <p:cNvPr id="587" name="Grafik 301">
                      <a:extLst>
                        <a:ext uri="{FF2B5EF4-FFF2-40B4-BE49-F238E27FC236}">
                          <a16:creationId xmlns:a16="http://schemas.microsoft.com/office/drawing/2014/main" id="{8A6C953C-6549-4133-BD3F-B5CA17C4E331}"/>
                        </a:ext>
                      </a:extLst>
                    </p:cNvPr>
                    <p:cNvGrpSpPr/>
                    <p:nvPr/>
                  </p:nvGrpSpPr>
                  <p:grpSpPr>
                    <a:xfrm>
                      <a:off x="1007888" y="4508090"/>
                      <a:ext cx="137699" cy="61050"/>
                      <a:chOff x="1007888" y="4508090"/>
                      <a:chExt cx="137699" cy="61050"/>
                    </a:xfrm>
                    <a:solidFill>
                      <a:schemeClr val="accent1"/>
                    </a:solidFill>
                  </p:grpSpPr>
                  <p:sp>
                    <p:nvSpPr>
                      <p:cNvPr id="588" name="Freihandform: Form 467">
                        <a:extLst>
                          <a:ext uri="{FF2B5EF4-FFF2-40B4-BE49-F238E27FC236}">
                            <a16:creationId xmlns:a16="http://schemas.microsoft.com/office/drawing/2014/main" id="{B610CFD2-F477-456A-B9D3-EDF8BD2354CA}"/>
                          </a:ext>
                        </a:extLst>
                      </p:cNvPr>
                      <p:cNvSpPr/>
                      <p:nvPr/>
                    </p:nvSpPr>
                    <p:spPr>
                      <a:xfrm>
                        <a:off x="1007888" y="4508090"/>
                        <a:ext cx="137699" cy="34399"/>
                      </a:xfrm>
                      <a:custGeom>
                        <a:avLst/>
                        <a:gdLst>
                          <a:gd name="connsiteX0" fmla="*/ 68875 w 137699"/>
                          <a:gd name="connsiteY0" fmla="*/ 34400 h 34399"/>
                          <a:gd name="connsiteX1" fmla="*/ 0 w 137699"/>
                          <a:gd name="connsiteY1" fmla="*/ 6529 h 34399"/>
                          <a:gd name="connsiteX2" fmla="*/ 6529 w 137699"/>
                          <a:gd name="connsiteY2" fmla="*/ 0 h 34399"/>
                          <a:gd name="connsiteX3" fmla="*/ 13059 w 137699"/>
                          <a:gd name="connsiteY3" fmla="*/ 6529 h 34399"/>
                          <a:gd name="connsiteX4" fmla="*/ 68850 w 137699"/>
                          <a:gd name="connsiteY4" fmla="*/ 21316 h 34399"/>
                          <a:gd name="connsiteX5" fmla="*/ 124641 w 137699"/>
                          <a:gd name="connsiteY5" fmla="*/ 6529 h 34399"/>
                          <a:gd name="connsiteX6" fmla="*/ 131171 w 137699"/>
                          <a:gd name="connsiteY6" fmla="*/ 0 h 34399"/>
                          <a:gd name="connsiteX7" fmla="*/ 137700 w 137699"/>
                          <a:gd name="connsiteY7" fmla="*/ 6529 h 34399"/>
                          <a:gd name="connsiteX8" fmla="*/ 68875 w 137699"/>
                          <a:gd name="connsiteY8" fmla="*/ 34400 h 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699" h="34399">
                            <a:moveTo>
                              <a:pt x="68875" y="34400"/>
                            </a:moveTo>
                            <a:cubicBezTo>
                              <a:pt x="35695" y="34400"/>
                              <a:pt x="0" y="25685"/>
                              <a:pt x="0" y="6529"/>
                            </a:cubicBezTo>
                            <a:cubicBezTo>
                              <a:pt x="0" y="2922"/>
                              <a:pt x="2922" y="0"/>
                              <a:pt x="6529" y="0"/>
                            </a:cubicBezTo>
                            <a:cubicBezTo>
                              <a:pt x="10137" y="0"/>
                              <a:pt x="13059" y="2922"/>
                              <a:pt x="13059" y="6529"/>
                            </a:cubicBezTo>
                            <a:cubicBezTo>
                              <a:pt x="13059" y="10823"/>
                              <a:pt x="32621" y="21316"/>
                              <a:pt x="68850" y="21316"/>
                            </a:cubicBezTo>
                            <a:cubicBezTo>
                              <a:pt x="105079" y="21316"/>
                              <a:pt x="124641" y="10823"/>
                              <a:pt x="124641" y="6529"/>
                            </a:cubicBezTo>
                            <a:cubicBezTo>
                              <a:pt x="124641" y="2922"/>
                              <a:pt x="127563" y="0"/>
                              <a:pt x="131171" y="0"/>
                            </a:cubicBezTo>
                            <a:cubicBezTo>
                              <a:pt x="134778" y="0"/>
                              <a:pt x="137700" y="2922"/>
                              <a:pt x="137700" y="6529"/>
                            </a:cubicBezTo>
                            <a:cubicBezTo>
                              <a:pt x="137751" y="25685"/>
                              <a:pt x="102055" y="34400"/>
                              <a:pt x="68875" y="34400"/>
                            </a:cubicBezTo>
                            <a:close/>
                          </a:path>
                        </a:pathLst>
                      </a:custGeom>
                      <a:solidFill>
                        <a:schemeClr val="accent1"/>
                      </a:solidFill>
                      <a:ln w="2536" cap="flat">
                        <a:noFill/>
                        <a:prstDash val="solid"/>
                        <a:miter/>
                      </a:ln>
                    </p:spPr>
                    <p:txBody>
                      <a:bodyPr rtlCol="0" anchor="ctr"/>
                      <a:lstStyle/>
                      <a:p>
                        <a:endParaRPr lang="en-GB" dirty="0"/>
                      </a:p>
                    </p:txBody>
                  </p:sp>
                  <p:sp>
                    <p:nvSpPr>
                      <p:cNvPr id="589" name="Freihandform: Form 468">
                        <a:extLst>
                          <a:ext uri="{FF2B5EF4-FFF2-40B4-BE49-F238E27FC236}">
                            <a16:creationId xmlns:a16="http://schemas.microsoft.com/office/drawing/2014/main" id="{C433C110-2E88-48F7-B5EA-03199F738646}"/>
                          </a:ext>
                        </a:extLst>
                      </p:cNvPr>
                      <p:cNvSpPr/>
                      <p:nvPr/>
                    </p:nvSpPr>
                    <p:spPr>
                      <a:xfrm>
                        <a:off x="1007888" y="4508090"/>
                        <a:ext cx="137699" cy="61050"/>
                      </a:xfrm>
                      <a:custGeom>
                        <a:avLst/>
                        <a:gdLst>
                          <a:gd name="connsiteX0" fmla="*/ 68875 w 137699"/>
                          <a:gd name="connsiteY0" fmla="*/ 61050 h 61050"/>
                          <a:gd name="connsiteX1" fmla="*/ 0 w 137699"/>
                          <a:gd name="connsiteY1" fmla="*/ 33180 h 61050"/>
                          <a:gd name="connsiteX2" fmla="*/ 0 w 137699"/>
                          <a:gd name="connsiteY2" fmla="*/ 6529 h 61050"/>
                          <a:gd name="connsiteX3" fmla="*/ 6529 w 137699"/>
                          <a:gd name="connsiteY3" fmla="*/ 0 h 61050"/>
                          <a:gd name="connsiteX4" fmla="*/ 13059 w 137699"/>
                          <a:gd name="connsiteY4" fmla="*/ 6529 h 61050"/>
                          <a:gd name="connsiteX5" fmla="*/ 13059 w 137699"/>
                          <a:gd name="connsiteY5" fmla="*/ 33180 h 61050"/>
                          <a:gd name="connsiteX6" fmla="*/ 68850 w 137699"/>
                          <a:gd name="connsiteY6" fmla="*/ 47966 h 61050"/>
                          <a:gd name="connsiteX7" fmla="*/ 124641 w 137699"/>
                          <a:gd name="connsiteY7" fmla="*/ 33180 h 61050"/>
                          <a:gd name="connsiteX8" fmla="*/ 124641 w 137699"/>
                          <a:gd name="connsiteY8" fmla="*/ 6529 h 61050"/>
                          <a:gd name="connsiteX9" fmla="*/ 131171 w 137699"/>
                          <a:gd name="connsiteY9" fmla="*/ 0 h 61050"/>
                          <a:gd name="connsiteX10" fmla="*/ 137700 w 137699"/>
                          <a:gd name="connsiteY10" fmla="*/ 6529 h 61050"/>
                          <a:gd name="connsiteX11" fmla="*/ 137700 w 137699"/>
                          <a:gd name="connsiteY11" fmla="*/ 33180 h 61050"/>
                          <a:gd name="connsiteX12" fmla="*/ 68875 w 137699"/>
                          <a:gd name="connsiteY12" fmla="*/ 61050 h 6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699" h="61050">
                            <a:moveTo>
                              <a:pt x="68875" y="61050"/>
                            </a:moveTo>
                            <a:cubicBezTo>
                              <a:pt x="35695" y="61050"/>
                              <a:pt x="0" y="52336"/>
                              <a:pt x="0" y="33180"/>
                            </a:cubicBezTo>
                            <a:lnTo>
                              <a:pt x="0" y="6529"/>
                            </a:lnTo>
                            <a:cubicBezTo>
                              <a:pt x="0" y="2922"/>
                              <a:pt x="2922" y="0"/>
                              <a:pt x="6529" y="0"/>
                            </a:cubicBezTo>
                            <a:cubicBezTo>
                              <a:pt x="10137" y="0"/>
                              <a:pt x="13059" y="2922"/>
                              <a:pt x="13059" y="6529"/>
                            </a:cubicBezTo>
                            <a:lnTo>
                              <a:pt x="13059" y="33180"/>
                            </a:lnTo>
                            <a:cubicBezTo>
                              <a:pt x="13059" y="37474"/>
                              <a:pt x="32621" y="47966"/>
                              <a:pt x="68850" y="47966"/>
                            </a:cubicBezTo>
                            <a:cubicBezTo>
                              <a:pt x="105079" y="47966"/>
                              <a:pt x="124641" y="37474"/>
                              <a:pt x="124641" y="33180"/>
                            </a:cubicBezTo>
                            <a:lnTo>
                              <a:pt x="124641" y="6529"/>
                            </a:lnTo>
                            <a:cubicBezTo>
                              <a:pt x="124641" y="2922"/>
                              <a:pt x="127563" y="0"/>
                              <a:pt x="131171" y="0"/>
                            </a:cubicBezTo>
                            <a:cubicBezTo>
                              <a:pt x="134778" y="0"/>
                              <a:pt x="137700" y="2922"/>
                              <a:pt x="137700" y="6529"/>
                            </a:cubicBezTo>
                            <a:lnTo>
                              <a:pt x="137700" y="33180"/>
                            </a:lnTo>
                            <a:cubicBezTo>
                              <a:pt x="137751" y="52336"/>
                              <a:pt x="102055" y="61050"/>
                              <a:pt x="68875" y="61050"/>
                            </a:cubicBezTo>
                            <a:close/>
                          </a:path>
                        </a:pathLst>
                      </a:custGeom>
                      <a:solidFill>
                        <a:schemeClr val="accent1"/>
                      </a:solidFill>
                      <a:ln w="2536" cap="flat">
                        <a:noFill/>
                        <a:prstDash val="solid"/>
                        <a:miter/>
                      </a:ln>
                    </p:spPr>
                    <p:txBody>
                      <a:bodyPr rtlCol="0" anchor="ctr"/>
                      <a:lstStyle/>
                      <a:p>
                        <a:endParaRPr lang="en-GB" dirty="0"/>
                      </a:p>
                    </p:txBody>
                  </p:sp>
                </p:grpSp>
              </p:grpSp>
              <p:grpSp>
                <p:nvGrpSpPr>
                  <p:cNvPr id="579" name="Grafik 301">
                    <a:extLst>
                      <a:ext uri="{FF2B5EF4-FFF2-40B4-BE49-F238E27FC236}">
                        <a16:creationId xmlns:a16="http://schemas.microsoft.com/office/drawing/2014/main" id="{C75A54D2-E03F-4C8F-B011-ED7582A67342}"/>
                      </a:ext>
                    </a:extLst>
                  </p:cNvPr>
                  <p:cNvGrpSpPr/>
                  <p:nvPr/>
                </p:nvGrpSpPr>
                <p:grpSpPr>
                  <a:xfrm>
                    <a:off x="1007888" y="4434388"/>
                    <a:ext cx="137750" cy="108381"/>
                    <a:chOff x="1007888" y="4434388"/>
                    <a:chExt cx="137750" cy="108381"/>
                  </a:xfrm>
                  <a:solidFill>
                    <a:schemeClr val="accent1"/>
                  </a:solidFill>
                </p:grpSpPr>
                <p:grpSp>
                  <p:nvGrpSpPr>
                    <p:cNvPr id="580" name="Grafik 301">
                      <a:extLst>
                        <a:ext uri="{FF2B5EF4-FFF2-40B4-BE49-F238E27FC236}">
                          <a16:creationId xmlns:a16="http://schemas.microsoft.com/office/drawing/2014/main" id="{D82F76DA-E067-43D1-978D-F2B07FC46A17}"/>
                        </a:ext>
                      </a:extLst>
                    </p:cNvPr>
                    <p:cNvGrpSpPr/>
                    <p:nvPr/>
                  </p:nvGrpSpPr>
                  <p:grpSpPr>
                    <a:xfrm>
                      <a:off x="1007888" y="4481719"/>
                      <a:ext cx="137725" cy="61050"/>
                      <a:chOff x="1007888" y="4481719"/>
                      <a:chExt cx="137725" cy="61050"/>
                    </a:xfrm>
                    <a:solidFill>
                      <a:schemeClr val="accent1"/>
                    </a:solidFill>
                  </p:grpSpPr>
                  <p:sp>
                    <p:nvSpPr>
                      <p:cNvPr id="584" name="Freihandform: Form 471">
                        <a:extLst>
                          <a:ext uri="{FF2B5EF4-FFF2-40B4-BE49-F238E27FC236}">
                            <a16:creationId xmlns:a16="http://schemas.microsoft.com/office/drawing/2014/main" id="{30FDF1DE-BA42-4315-95F6-520A886674A8}"/>
                          </a:ext>
                        </a:extLst>
                      </p:cNvPr>
                      <p:cNvSpPr/>
                      <p:nvPr/>
                    </p:nvSpPr>
                    <p:spPr>
                      <a:xfrm>
                        <a:off x="1007888" y="4481719"/>
                        <a:ext cx="137725" cy="34399"/>
                      </a:xfrm>
                      <a:custGeom>
                        <a:avLst/>
                        <a:gdLst>
                          <a:gd name="connsiteX0" fmla="*/ 68875 w 137725"/>
                          <a:gd name="connsiteY0" fmla="*/ 34400 h 34399"/>
                          <a:gd name="connsiteX1" fmla="*/ 0 w 137725"/>
                          <a:gd name="connsiteY1" fmla="*/ 6529 h 34399"/>
                          <a:gd name="connsiteX2" fmla="*/ 6529 w 137725"/>
                          <a:gd name="connsiteY2" fmla="*/ 0 h 34399"/>
                          <a:gd name="connsiteX3" fmla="*/ 13059 w 137725"/>
                          <a:gd name="connsiteY3" fmla="*/ 6529 h 34399"/>
                          <a:gd name="connsiteX4" fmla="*/ 68850 w 137725"/>
                          <a:gd name="connsiteY4" fmla="*/ 21316 h 34399"/>
                          <a:gd name="connsiteX5" fmla="*/ 124667 w 137725"/>
                          <a:gd name="connsiteY5" fmla="*/ 6529 h 34399"/>
                          <a:gd name="connsiteX6" fmla="*/ 131196 w 137725"/>
                          <a:gd name="connsiteY6" fmla="*/ 0 h 34399"/>
                          <a:gd name="connsiteX7" fmla="*/ 137725 w 137725"/>
                          <a:gd name="connsiteY7" fmla="*/ 6529 h 34399"/>
                          <a:gd name="connsiteX8" fmla="*/ 68875 w 137725"/>
                          <a:gd name="connsiteY8" fmla="*/ 34400 h 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725" h="34399">
                            <a:moveTo>
                              <a:pt x="68875" y="34400"/>
                            </a:moveTo>
                            <a:cubicBezTo>
                              <a:pt x="35695" y="34400"/>
                              <a:pt x="0" y="25685"/>
                              <a:pt x="0" y="6529"/>
                            </a:cubicBezTo>
                            <a:cubicBezTo>
                              <a:pt x="0" y="2922"/>
                              <a:pt x="2922" y="0"/>
                              <a:pt x="6529" y="0"/>
                            </a:cubicBezTo>
                            <a:cubicBezTo>
                              <a:pt x="10137" y="0"/>
                              <a:pt x="13059" y="2922"/>
                              <a:pt x="13059" y="6529"/>
                            </a:cubicBezTo>
                            <a:cubicBezTo>
                              <a:pt x="13059" y="10823"/>
                              <a:pt x="32621" y="21316"/>
                              <a:pt x="68850" y="21316"/>
                            </a:cubicBezTo>
                            <a:cubicBezTo>
                              <a:pt x="105079" y="21316"/>
                              <a:pt x="124667" y="10823"/>
                              <a:pt x="124667" y="6529"/>
                            </a:cubicBezTo>
                            <a:cubicBezTo>
                              <a:pt x="124667" y="2922"/>
                              <a:pt x="127588" y="0"/>
                              <a:pt x="131196" y="0"/>
                            </a:cubicBezTo>
                            <a:cubicBezTo>
                              <a:pt x="134804" y="0"/>
                              <a:pt x="137725" y="2922"/>
                              <a:pt x="137725" y="6529"/>
                            </a:cubicBezTo>
                            <a:cubicBezTo>
                              <a:pt x="137751" y="25660"/>
                              <a:pt x="102055" y="34400"/>
                              <a:pt x="68875" y="34400"/>
                            </a:cubicBezTo>
                            <a:close/>
                          </a:path>
                        </a:pathLst>
                      </a:custGeom>
                      <a:solidFill>
                        <a:schemeClr val="accent1"/>
                      </a:solidFill>
                      <a:ln w="2536" cap="flat">
                        <a:noFill/>
                        <a:prstDash val="solid"/>
                        <a:miter/>
                      </a:ln>
                    </p:spPr>
                    <p:txBody>
                      <a:bodyPr rtlCol="0" anchor="ctr"/>
                      <a:lstStyle/>
                      <a:p>
                        <a:endParaRPr lang="en-GB" dirty="0"/>
                      </a:p>
                    </p:txBody>
                  </p:sp>
                  <p:sp>
                    <p:nvSpPr>
                      <p:cNvPr id="585" name="Freihandform: Form 472">
                        <a:extLst>
                          <a:ext uri="{FF2B5EF4-FFF2-40B4-BE49-F238E27FC236}">
                            <a16:creationId xmlns:a16="http://schemas.microsoft.com/office/drawing/2014/main" id="{6E38F8A7-DE66-47FA-9BD1-D168760ACB0A}"/>
                          </a:ext>
                        </a:extLst>
                      </p:cNvPr>
                      <p:cNvSpPr/>
                      <p:nvPr/>
                    </p:nvSpPr>
                    <p:spPr>
                      <a:xfrm>
                        <a:off x="1007888" y="4481719"/>
                        <a:ext cx="137699" cy="61050"/>
                      </a:xfrm>
                      <a:custGeom>
                        <a:avLst/>
                        <a:gdLst>
                          <a:gd name="connsiteX0" fmla="*/ 68875 w 137699"/>
                          <a:gd name="connsiteY0" fmla="*/ 61050 h 61050"/>
                          <a:gd name="connsiteX1" fmla="*/ 0 w 137699"/>
                          <a:gd name="connsiteY1" fmla="*/ 33180 h 61050"/>
                          <a:gd name="connsiteX2" fmla="*/ 0 w 137699"/>
                          <a:gd name="connsiteY2" fmla="*/ 6529 h 61050"/>
                          <a:gd name="connsiteX3" fmla="*/ 6529 w 137699"/>
                          <a:gd name="connsiteY3" fmla="*/ 0 h 61050"/>
                          <a:gd name="connsiteX4" fmla="*/ 13059 w 137699"/>
                          <a:gd name="connsiteY4" fmla="*/ 6529 h 61050"/>
                          <a:gd name="connsiteX5" fmla="*/ 13059 w 137699"/>
                          <a:gd name="connsiteY5" fmla="*/ 33180 h 61050"/>
                          <a:gd name="connsiteX6" fmla="*/ 68850 w 137699"/>
                          <a:gd name="connsiteY6" fmla="*/ 47966 h 61050"/>
                          <a:gd name="connsiteX7" fmla="*/ 124641 w 137699"/>
                          <a:gd name="connsiteY7" fmla="*/ 33180 h 61050"/>
                          <a:gd name="connsiteX8" fmla="*/ 124641 w 137699"/>
                          <a:gd name="connsiteY8" fmla="*/ 6529 h 61050"/>
                          <a:gd name="connsiteX9" fmla="*/ 131171 w 137699"/>
                          <a:gd name="connsiteY9" fmla="*/ 0 h 61050"/>
                          <a:gd name="connsiteX10" fmla="*/ 137700 w 137699"/>
                          <a:gd name="connsiteY10" fmla="*/ 6529 h 61050"/>
                          <a:gd name="connsiteX11" fmla="*/ 137700 w 137699"/>
                          <a:gd name="connsiteY11" fmla="*/ 33180 h 61050"/>
                          <a:gd name="connsiteX12" fmla="*/ 68875 w 137699"/>
                          <a:gd name="connsiteY12" fmla="*/ 61050 h 6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699" h="61050">
                            <a:moveTo>
                              <a:pt x="68875" y="61050"/>
                            </a:moveTo>
                            <a:cubicBezTo>
                              <a:pt x="35695" y="61050"/>
                              <a:pt x="0" y="52336"/>
                              <a:pt x="0" y="33180"/>
                            </a:cubicBezTo>
                            <a:lnTo>
                              <a:pt x="0" y="6529"/>
                            </a:lnTo>
                            <a:cubicBezTo>
                              <a:pt x="0" y="2922"/>
                              <a:pt x="2922" y="0"/>
                              <a:pt x="6529" y="0"/>
                            </a:cubicBezTo>
                            <a:cubicBezTo>
                              <a:pt x="10137" y="0"/>
                              <a:pt x="13059" y="2922"/>
                              <a:pt x="13059" y="6529"/>
                            </a:cubicBezTo>
                            <a:lnTo>
                              <a:pt x="13059" y="33180"/>
                            </a:lnTo>
                            <a:cubicBezTo>
                              <a:pt x="13059" y="37474"/>
                              <a:pt x="32621" y="47966"/>
                              <a:pt x="68850" y="47966"/>
                            </a:cubicBezTo>
                            <a:cubicBezTo>
                              <a:pt x="105079" y="47966"/>
                              <a:pt x="124641" y="37474"/>
                              <a:pt x="124641" y="33180"/>
                            </a:cubicBezTo>
                            <a:lnTo>
                              <a:pt x="124641" y="6529"/>
                            </a:lnTo>
                            <a:cubicBezTo>
                              <a:pt x="124641" y="2922"/>
                              <a:pt x="127563" y="0"/>
                              <a:pt x="131171" y="0"/>
                            </a:cubicBezTo>
                            <a:cubicBezTo>
                              <a:pt x="134778" y="0"/>
                              <a:pt x="137700" y="2922"/>
                              <a:pt x="137700" y="6529"/>
                            </a:cubicBezTo>
                            <a:lnTo>
                              <a:pt x="137700" y="33180"/>
                            </a:lnTo>
                            <a:cubicBezTo>
                              <a:pt x="137751" y="52336"/>
                              <a:pt x="102055" y="61050"/>
                              <a:pt x="68875" y="61050"/>
                            </a:cubicBezTo>
                            <a:close/>
                          </a:path>
                        </a:pathLst>
                      </a:custGeom>
                      <a:solidFill>
                        <a:schemeClr val="accent1"/>
                      </a:solidFill>
                      <a:ln w="2536" cap="flat">
                        <a:noFill/>
                        <a:prstDash val="solid"/>
                        <a:miter/>
                      </a:ln>
                    </p:spPr>
                    <p:txBody>
                      <a:bodyPr rtlCol="0" anchor="ctr"/>
                      <a:lstStyle/>
                      <a:p>
                        <a:endParaRPr lang="en-GB" dirty="0"/>
                      </a:p>
                    </p:txBody>
                  </p:sp>
                </p:grpSp>
                <p:grpSp>
                  <p:nvGrpSpPr>
                    <p:cNvPr id="581" name="Grafik 301">
                      <a:extLst>
                        <a:ext uri="{FF2B5EF4-FFF2-40B4-BE49-F238E27FC236}">
                          <a16:creationId xmlns:a16="http://schemas.microsoft.com/office/drawing/2014/main" id="{A5DDCD12-DAEB-4D25-9A7B-126F0F5518F5}"/>
                        </a:ext>
                      </a:extLst>
                    </p:cNvPr>
                    <p:cNvGrpSpPr/>
                    <p:nvPr/>
                  </p:nvGrpSpPr>
                  <p:grpSpPr>
                    <a:xfrm>
                      <a:off x="1007888" y="4434388"/>
                      <a:ext cx="137750" cy="82391"/>
                      <a:chOff x="1007888" y="4434388"/>
                      <a:chExt cx="137750" cy="82391"/>
                    </a:xfrm>
                    <a:solidFill>
                      <a:schemeClr val="accent1"/>
                    </a:solidFill>
                  </p:grpSpPr>
                  <p:sp>
                    <p:nvSpPr>
                      <p:cNvPr id="582" name="Freihandform: Form 474">
                        <a:extLst>
                          <a:ext uri="{FF2B5EF4-FFF2-40B4-BE49-F238E27FC236}">
                            <a16:creationId xmlns:a16="http://schemas.microsoft.com/office/drawing/2014/main" id="{169E2251-F117-40D6-9FAE-A6904E1AC775}"/>
                          </a:ext>
                        </a:extLst>
                      </p:cNvPr>
                      <p:cNvSpPr/>
                      <p:nvPr/>
                    </p:nvSpPr>
                    <p:spPr>
                      <a:xfrm>
                        <a:off x="1007888" y="4434388"/>
                        <a:ext cx="137750" cy="55740"/>
                      </a:xfrm>
                      <a:custGeom>
                        <a:avLst/>
                        <a:gdLst>
                          <a:gd name="connsiteX0" fmla="*/ 68875 w 137750"/>
                          <a:gd name="connsiteY0" fmla="*/ 55741 h 55740"/>
                          <a:gd name="connsiteX1" fmla="*/ 0 w 137750"/>
                          <a:gd name="connsiteY1" fmla="*/ 27870 h 55740"/>
                          <a:gd name="connsiteX2" fmla="*/ 68875 w 137750"/>
                          <a:gd name="connsiteY2" fmla="*/ 0 h 55740"/>
                          <a:gd name="connsiteX3" fmla="*/ 137751 w 137750"/>
                          <a:gd name="connsiteY3" fmla="*/ 27870 h 55740"/>
                          <a:gd name="connsiteX4" fmla="*/ 68875 w 137750"/>
                          <a:gd name="connsiteY4" fmla="*/ 55741 h 55740"/>
                          <a:gd name="connsiteX5" fmla="*/ 68875 w 137750"/>
                          <a:gd name="connsiteY5" fmla="*/ 13084 h 55740"/>
                          <a:gd name="connsiteX6" fmla="*/ 13084 w 137750"/>
                          <a:gd name="connsiteY6" fmla="*/ 27870 h 55740"/>
                          <a:gd name="connsiteX7" fmla="*/ 68875 w 137750"/>
                          <a:gd name="connsiteY7" fmla="*/ 42657 h 55740"/>
                          <a:gd name="connsiteX8" fmla="*/ 124667 w 137750"/>
                          <a:gd name="connsiteY8" fmla="*/ 27870 h 55740"/>
                          <a:gd name="connsiteX9" fmla="*/ 68875 w 137750"/>
                          <a:gd name="connsiteY9" fmla="*/ 13084 h 5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750" h="55740">
                            <a:moveTo>
                              <a:pt x="68875" y="55741"/>
                            </a:moveTo>
                            <a:cubicBezTo>
                              <a:pt x="35695" y="55741"/>
                              <a:pt x="0" y="47026"/>
                              <a:pt x="0" y="27870"/>
                            </a:cubicBezTo>
                            <a:cubicBezTo>
                              <a:pt x="0" y="8714"/>
                              <a:pt x="35695" y="0"/>
                              <a:pt x="68875" y="0"/>
                            </a:cubicBezTo>
                            <a:cubicBezTo>
                              <a:pt x="102055" y="0"/>
                              <a:pt x="137751" y="8714"/>
                              <a:pt x="137751" y="27870"/>
                            </a:cubicBezTo>
                            <a:cubicBezTo>
                              <a:pt x="137751" y="47001"/>
                              <a:pt x="102055" y="55741"/>
                              <a:pt x="68875" y="55741"/>
                            </a:cubicBezTo>
                            <a:close/>
                            <a:moveTo>
                              <a:pt x="68875" y="13084"/>
                            </a:moveTo>
                            <a:cubicBezTo>
                              <a:pt x="32621" y="13084"/>
                              <a:pt x="13084" y="23577"/>
                              <a:pt x="13084" y="27870"/>
                            </a:cubicBezTo>
                            <a:cubicBezTo>
                              <a:pt x="13084" y="32164"/>
                              <a:pt x="32647" y="42657"/>
                              <a:pt x="68875" y="42657"/>
                            </a:cubicBezTo>
                            <a:cubicBezTo>
                              <a:pt x="105104" y="42657"/>
                              <a:pt x="124667" y="32164"/>
                              <a:pt x="124667" y="27870"/>
                            </a:cubicBezTo>
                            <a:cubicBezTo>
                              <a:pt x="124667" y="23577"/>
                              <a:pt x="105130" y="13084"/>
                              <a:pt x="68875" y="13084"/>
                            </a:cubicBezTo>
                            <a:close/>
                          </a:path>
                        </a:pathLst>
                      </a:custGeom>
                      <a:solidFill>
                        <a:schemeClr val="accent1"/>
                      </a:solidFill>
                      <a:ln w="2536" cap="flat">
                        <a:noFill/>
                        <a:prstDash val="solid"/>
                        <a:miter/>
                      </a:ln>
                    </p:spPr>
                    <p:txBody>
                      <a:bodyPr rtlCol="0" anchor="ctr"/>
                      <a:lstStyle/>
                      <a:p>
                        <a:endParaRPr lang="en-GB" dirty="0"/>
                      </a:p>
                    </p:txBody>
                  </p:sp>
                  <p:sp>
                    <p:nvSpPr>
                      <p:cNvPr id="583" name="Freihandform: Form 475">
                        <a:extLst>
                          <a:ext uri="{FF2B5EF4-FFF2-40B4-BE49-F238E27FC236}">
                            <a16:creationId xmlns:a16="http://schemas.microsoft.com/office/drawing/2014/main" id="{9DAB55F0-A322-4D8C-99AC-8FD8FB02F6A5}"/>
                          </a:ext>
                        </a:extLst>
                      </p:cNvPr>
                      <p:cNvSpPr/>
                      <p:nvPr/>
                    </p:nvSpPr>
                    <p:spPr>
                      <a:xfrm>
                        <a:off x="1007888" y="4455729"/>
                        <a:ext cx="137699" cy="61050"/>
                      </a:xfrm>
                      <a:custGeom>
                        <a:avLst/>
                        <a:gdLst>
                          <a:gd name="connsiteX0" fmla="*/ 68875 w 137699"/>
                          <a:gd name="connsiteY0" fmla="*/ 61050 h 61050"/>
                          <a:gd name="connsiteX1" fmla="*/ 0 w 137699"/>
                          <a:gd name="connsiteY1" fmla="*/ 33180 h 61050"/>
                          <a:gd name="connsiteX2" fmla="*/ 0 w 137699"/>
                          <a:gd name="connsiteY2" fmla="*/ 6529 h 61050"/>
                          <a:gd name="connsiteX3" fmla="*/ 6529 w 137699"/>
                          <a:gd name="connsiteY3" fmla="*/ 0 h 61050"/>
                          <a:gd name="connsiteX4" fmla="*/ 13059 w 137699"/>
                          <a:gd name="connsiteY4" fmla="*/ 6529 h 61050"/>
                          <a:gd name="connsiteX5" fmla="*/ 13059 w 137699"/>
                          <a:gd name="connsiteY5" fmla="*/ 33180 h 61050"/>
                          <a:gd name="connsiteX6" fmla="*/ 68850 w 137699"/>
                          <a:gd name="connsiteY6" fmla="*/ 47966 h 61050"/>
                          <a:gd name="connsiteX7" fmla="*/ 124641 w 137699"/>
                          <a:gd name="connsiteY7" fmla="*/ 33180 h 61050"/>
                          <a:gd name="connsiteX8" fmla="*/ 124641 w 137699"/>
                          <a:gd name="connsiteY8" fmla="*/ 6529 h 61050"/>
                          <a:gd name="connsiteX9" fmla="*/ 131171 w 137699"/>
                          <a:gd name="connsiteY9" fmla="*/ 0 h 61050"/>
                          <a:gd name="connsiteX10" fmla="*/ 137700 w 137699"/>
                          <a:gd name="connsiteY10" fmla="*/ 6529 h 61050"/>
                          <a:gd name="connsiteX11" fmla="*/ 137700 w 137699"/>
                          <a:gd name="connsiteY11" fmla="*/ 33180 h 61050"/>
                          <a:gd name="connsiteX12" fmla="*/ 68875 w 137699"/>
                          <a:gd name="connsiteY12" fmla="*/ 61050 h 6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699" h="61050">
                            <a:moveTo>
                              <a:pt x="68875" y="61050"/>
                            </a:moveTo>
                            <a:cubicBezTo>
                              <a:pt x="35695" y="61050"/>
                              <a:pt x="0" y="52336"/>
                              <a:pt x="0" y="33180"/>
                            </a:cubicBezTo>
                            <a:lnTo>
                              <a:pt x="0" y="6529"/>
                            </a:lnTo>
                            <a:cubicBezTo>
                              <a:pt x="0" y="2922"/>
                              <a:pt x="2922" y="0"/>
                              <a:pt x="6529" y="0"/>
                            </a:cubicBezTo>
                            <a:cubicBezTo>
                              <a:pt x="10137" y="0"/>
                              <a:pt x="13059" y="2922"/>
                              <a:pt x="13059" y="6529"/>
                            </a:cubicBezTo>
                            <a:lnTo>
                              <a:pt x="13059" y="33180"/>
                            </a:lnTo>
                            <a:cubicBezTo>
                              <a:pt x="13059" y="37474"/>
                              <a:pt x="32621" y="47966"/>
                              <a:pt x="68850" y="47966"/>
                            </a:cubicBezTo>
                            <a:cubicBezTo>
                              <a:pt x="105079" y="47966"/>
                              <a:pt x="124641" y="37474"/>
                              <a:pt x="124641" y="33180"/>
                            </a:cubicBezTo>
                            <a:lnTo>
                              <a:pt x="124641" y="6529"/>
                            </a:lnTo>
                            <a:cubicBezTo>
                              <a:pt x="124641" y="2922"/>
                              <a:pt x="127563" y="0"/>
                              <a:pt x="131171" y="0"/>
                            </a:cubicBezTo>
                            <a:cubicBezTo>
                              <a:pt x="134778" y="0"/>
                              <a:pt x="137700" y="2922"/>
                              <a:pt x="137700" y="6529"/>
                            </a:cubicBezTo>
                            <a:lnTo>
                              <a:pt x="137700" y="33180"/>
                            </a:lnTo>
                            <a:cubicBezTo>
                              <a:pt x="137751" y="52336"/>
                              <a:pt x="102055" y="61050"/>
                              <a:pt x="68875" y="61050"/>
                            </a:cubicBezTo>
                            <a:close/>
                          </a:path>
                        </a:pathLst>
                      </a:custGeom>
                      <a:solidFill>
                        <a:schemeClr val="accent1"/>
                      </a:solidFill>
                      <a:ln w="2536" cap="flat">
                        <a:noFill/>
                        <a:prstDash val="solid"/>
                        <a:miter/>
                      </a:ln>
                    </p:spPr>
                    <p:txBody>
                      <a:bodyPr rtlCol="0" anchor="ctr"/>
                      <a:lstStyle/>
                      <a:p>
                        <a:endParaRPr lang="en-GB" dirty="0"/>
                      </a:p>
                    </p:txBody>
                  </p:sp>
                </p:grpSp>
              </p:grpSp>
            </p:grpSp>
            <p:grpSp>
              <p:nvGrpSpPr>
                <p:cNvPr id="573" name="Grafik 301">
                  <a:extLst>
                    <a:ext uri="{FF2B5EF4-FFF2-40B4-BE49-F238E27FC236}">
                      <a16:creationId xmlns:a16="http://schemas.microsoft.com/office/drawing/2014/main" id="{EB5F7C17-072A-418A-9A59-B0653C7E7FF2}"/>
                    </a:ext>
                  </a:extLst>
                </p:cNvPr>
                <p:cNvGrpSpPr/>
                <p:nvPr/>
              </p:nvGrpSpPr>
              <p:grpSpPr>
                <a:xfrm>
                  <a:off x="883221" y="4487080"/>
                  <a:ext cx="137750" cy="82391"/>
                  <a:chOff x="883221" y="4487080"/>
                  <a:chExt cx="137750" cy="82391"/>
                </a:xfrm>
                <a:solidFill>
                  <a:schemeClr val="accent1"/>
                </a:solidFill>
              </p:grpSpPr>
              <p:sp>
                <p:nvSpPr>
                  <p:cNvPr id="574" name="Freihandform: Form 477">
                    <a:extLst>
                      <a:ext uri="{FF2B5EF4-FFF2-40B4-BE49-F238E27FC236}">
                        <a16:creationId xmlns:a16="http://schemas.microsoft.com/office/drawing/2014/main" id="{BBDBF4FC-D886-4180-803B-EF742E55CE7C}"/>
                      </a:ext>
                    </a:extLst>
                  </p:cNvPr>
                  <p:cNvSpPr/>
                  <p:nvPr/>
                </p:nvSpPr>
                <p:spPr>
                  <a:xfrm>
                    <a:off x="883221" y="4534411"/>
                    <a:ext cx="137699" cy="34399"/>
                  </a:xfrm>
                  <a:custGeom>
                    <a:avLst/>
                    <a:gdLst>
                      <a:gd name="connsiteX0" fmla="*/ 68875 w 137699"/>
                      <a:gd name="connsiteY0" fmla="*/ 34400 h 34399"/>
                      <a:gd name="connsiteX1" fmla="*/ 0 w 137699"/>
                      <a:gd name="connsiteY1" fmla="*/ 6529 h 34399"/>
                      <a:gd name="connsiteX2" fmla="*/ 6529 w 137699"/>
                      <a:gd name="connsiteY2" fmla="*/ 0 h 34399"/>
                      <a:gd name="connsiteX3" fmla="*/ 13059 w 137699"/>
                      <a:gd name="connsiteY3" fmla="*/ 6529 h 34399"/>
                      <a:gd name="connsiteX4" fmla="*/ 68850 w 137699"/>
                      <a:gd name="connsiteY4" fmla="*/ 21316 h 34399"/>
                      <a:gd name="connsiteX5" fmla="*/ 124641 w 137699"/>
                      <a:gd name="connsiteY5" fmla="*/ 6529 h 34399"/>
                      <a:gd name="connsiteX6" fmla="*/ 131171 w 137699"/>
                      <a:gd name="connsiteY6" fmla="*/ 0 h 34399"/>
                      <a:gd name="connsiteX7" fmla="*/ 137700 w 137699"/>
                      <a:gd name="connsiteY7" fmla="*/ 6529 h 34399"/>
                      <a:gd name="connsiteX8" fmla="*/ 68875 w 137699"/>
                      <a:gd name="connsiteY8" fmla="*/ 34400 h 34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699" h="34399">
                        <a:moveTo>
                          <a:pt x="68875" y="34400"/>
                        </a:moveTo>
                        <a:cubicBezTo>
                          <a:pt x="35695" y="34400"/>
                          <a:pt x="0" y="25685"/>
                          <a:pt x="0" y="6529"/>
                        </a:cubicBezTo>
                        <a:cubicBezTo>
                          <a:pt x="0" y="2922"/>
                          <a:pt x="2922" y="0"/>
                          <a:pt x="6529" y="0"/>
                        </a:cubicBezTo>
                        <a:cubicBezTo>
                          <a:pt x="10137" y="0"/>
                          <a:pt x="13059" y="2922"/>
                          <a:pt x="13059" y="6529"/>
                        </a:cubicBezTo>
                        <a:cubicBezTo>
                          <a:pt x="13059" y="10823"/>
                          <a:pt x="32621" y="21316"/>
                          <a:pt x="68850" y="21316"/>
                        </a:cubicBezTo>
                        <a:cubicBezTo>
                          <a:pt x="105079" y="21316"/>
                          <a:pt x="124641" y="10823"/>
                          <a:pt x="124641" y="6529"/>
                        </a:cubicBezTo>
                        <a:cubicBezTo>
                          <a:pt x="124641" y="2922"/>
                          <a:pt x="127563" y="0"/>
                          <a:pt x="131171" y="0"/>
                        </a:cubicBezTo>
                        <a:cubicBezTo>
                          <a:pt x="134778" y="0"/>
                          <a:pt x="137700" y="2922"/>
                          <a:pt x="137700" y="6529"/>
                        </a:cubicBezTo>
                        <a:cubicBezTo>
                          <a:pt x="137751" y="25685"/>
                          <a:pt x="102030" y="34400"/>
                          <a:pt x="68875" y="34400"/>
                        </a:cubicBezTo>
                        <a:close/>
                      </a:path>
                    </a:pathLst>
                  </a:custGeom>
                  <a:solidFill>
                    <a:schemeClr val="accent1"/>
                  </a:solidFill>
                  <a:ln w="2536" cap="flat">
                    <a:noFill/>
                    <a:prstDash val="solid"/>
                    <a:miter/>
                  </a:ln>
                </p:spPr>
                <p:txBody>
                  <a:bodyPr rtlCol="0" anchor="ctr"/>
                  <a:lstStyle/>
                  <a:p>
                    <a:endParaRPr lang="en-GB" dirty="0"/>
                  </a:p>
                </p:txBody>
              </p:sp>
              <p:grpSp>
                <p:nvGrpSpPr>
                  <p:cNvPr id="575" name="Grafik 301">
                    <a:extLst>
                      <a:ext uri="{FF2B5EF4-FFF2-40B4-BE49-F238E27FC236}">
                        <a16:creationId xmlns:a16="http://schemas.microsoft.com/office/drawing/2014/main" id="{A02BF88C-ACC1-4D52-BB8B-A9BEA01075D9}"/>
                      </a:ext>
                    </a:extLst>
                  </p:cNvPr>
                  <p:cNvGrpSpPr/>
                  <p:nvPr/>
                </p:nvGrpSpPr>
                <p:grpSpPr>
                  <a:xfrm>
                    <a:off x="883221" y="4487080"/>
                    <a:ext cx="137750" cy="82391"/>
                    <a:chOff x="883221" y="4487080"/>
                    <a:chExt cx="137750" cy="82391"/>
                  </a:xfrm>
                  <a:solidFill>
                    <a:schemeClr val="accent1"/>
                  </a:solidFill>
                </p:grpSpPr>
                <p:sp>
                  <p:nvSpPr>
                    <p:cNvPr id="576" name="Freihandform: Form 479">
                      <a:extLst>
                        <a:ext uri="{FF2B5EF4-FFF2-40B4-BE49-F238E27FC236}">
                          <a16:creationId xmlns:a16="http://schemas.microsoft.com/office/drawing/2014/main" id="{DF697657-3AEA-432D-B601-2835DFBDFCFB}"/>
                        </a:ext>
                      </a:extLst>
                    </p:cNvPr>
                    <p:cNvSpPr/>
                    <p:nvPr/>
                  </p:nvSpPr>
                  <p:spPr>
                    <a:xfrm>
                      <a:off x="883221" y="4487080"/>
                      <a:ext cx="137750" cy="55740"/>
                    </a:xfrm>
                    <a:custGeom>
                      <a:avLst/>
                      <a:gdLst>
                        <a:gd name="connsiteX0" fmla="*/ 68875 w 137750"/>
                        <a:gd name="connsiteY0" fmla="*/ 55741 h 55740"/>
                        <a:gd name="connsiteX1" fmla="*/ 0 w 137750"/>
                        <a:gd name="connsiteY1" fmla="*/ 27870 h 55740"/>
                        <a:gd name="connsiteX2" fmla="*/ 68875 w 137750"/>
                        <a:gd name="connsiteY2" fmla="*/ 0 h 55740"/>
                        <a:gd name="connsiteX3" fmla="*/ 137751 w 137750"/>
                        <a:gd name="connsiteY3" fmla="*/ 27870 h 55740"/>
                        <a:gd name="connsiteX4" fmla="*/ 68875 w 137750"/>
                        <a:gd name="connsiteY4" fmla="*/ 55741 h 55740"/>
                        <a:gd name="connsiteX5" fmla="*/ 68875 w 137750"/>
                        <a:gd name="connsiteY5" fmla="*/ 13084 h 55740"/>
                        <a:gd name="connsiteX6" fmla="*/ 13084 w 137750"/>
                        <a:gd name="connsiteY6" fmla="*/ 27870 h 55740"/>
                        <a:gd name="connsiteX7" fmla="*/ 68875 w 137750"/>
                        <a:gd name="connsiteY7" fmla="*/ 42657 h 55740"/>
                        <a:gd name="connsiteX8" fmla="*/ 124667 w 137750"/>
                        <a:gd name="connsiteY8" fmla="*/ 27870 h 55740"/>
                        <a:gd name="connsiteX9" fmla="*/ 68875 w 137750"/>
                        <a:gd name="connsiteY9" fmla="*/ 13084 h 55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750" h="55740">
                          <a:moveTo>
                            <a:pt x="68875" y="55741"/>
                          </a:moveTo>
                          <a:cubicBezTo>
                            <a:pt x="35695" y="55741"/>
                            <a:pt x="0" y="47026"/>
                            <a:pt x="0" y="27870"/>
                          </a:cubicBezTo>
                          <a:cubicBezTo>
                            <a:pt x="0" y="8714"/>
                            <a:pt x="35695" y="0"/>
                            <a:pt x="68875" y="0"/>
                          </a:cubicBezTo>
                          <a:cubicBezTo>
                            <a:pt x="102055" y="0"/>
                            <a:pt x="137751" y="8714"/>
                            <a:pt x="137751" y="27870"/>
                          </a:cubicBezTo>
                          <a:cubicBezTo>
                            <a:pt x="137751" y="47026"/>
                            <a:pt x="102030" y="55741"/>
                            <a:pt x="68875" y="55741"/>
                          </a:cubicBezTo>
                          <a:close/>
                          <a:moveTo>
                            <a:pt x="68875" y="13084"/>
                          </a:moveTo>
                          <a:cubicBezTo>
                            <a:pt x="32621" y="13084"/>
                            <a:pt x="13084" y="23577"/>
                            <a:pt x="13084" y="27870"/>
                          </a:cubicBezTo>
                          <a:cubicBezTo>
                            <a:pt x="13084" y="32164"/>
                            <a:pt x="32647" y="42657"/>
                            <a:pt x="68875" y="42657"/>
                          </a:cubicBezTo>
                          <a:cubicBezTo>
                            <a:pt x="105104" y="42657"/>
                            <a:pt x="124667" y="32164"/>
                            <a:pt x="124667" y="27870"/>
                          </a:cubicBezTo>
                          <a:cubicBezTo>
                            <a:pt x="124667" y="23577"/>
                            <a:pt x="105104" y="13084"/>
                            <a:pt x="68875" y="13084"/>
                          </a:cubicBezTo>
                          <a:close/>
                        </a:path>
                      </a:pathLst>
                    </a:custGeom>
                    <a:solidFill>
                      <a:schemeClr val="accent1"/>
                    </a:solidFill>
                    <a:ln w="2536" cap="flat">
                      <a:noFill/>
                      <a:prstDash val="solid"/>
                      <a:miter/>
                    </a:ln>
                  </p:spPr>
                  <p:txBody>
                    <a:bodyPr rtlCol="0" anchor="ctr"/>
                    <a:lstStyle/>
                    <a:p>
                      <a:endParaRPr lang="en-GB" dirty="0"/>
                    </a:p>
                  </p:txBody>
                </p:sp>
                <p:sp>
                  <p:nvSpPr>
                    <p:cNvPr id="577" name="Freihandform: Form 480">
                      <a:extLst>
                        <a:ext uri="{FF2B5EF4-FFF2-40B4-BE49-F238E27FC236}">
                          <a16:creationId xmlns:a16="http://schemas.microsoft.com/office/drawing/2014/main" id="{879F6211-B4CB-4707-80D5-BE21627D5CEB}"/>
                        </a:ext>
                      </a:extLst>
                    </p:cNvPr>
                    <p:cNvSpPr/>
                    <p:nvPr/>
                  </p:nvSpPr>
                  <p:spPr>
                    <a:xfrm>
                      <a:off x="883221" y="4508421"/>
                      <a:ext cx="137699" cy="61050"/>
                    </a:xfrm>
                    <a:custGeom>
                      <a:avLst/>
                      <a:gdLst>
                        <a:gd name="connsiteX0" fmla="*/ 68875 w 137699"/>
                        <a:gd name="connsiteY0" fmla="*/ 61050 h 61050"/>
                        <a:gd name="connsiteX1" fmla="*/ 0 w 137699"/>
                        <a:gd name="connsiteY1" fmla="*/ 33180 h 61050"/>
                        <a:gd name="connsiteX2" fmla="*/ 0 w 137699"/>
                        <a:gd name="connsiteY2" fmla="*/ 6529 h 61050"/>
                        <a:gd name="connsiteX3" fmla="*/ 6529 w 137699"/>
                        <a:gd name="connsiteY3" fmla="*/ 0 h 61050"/>
                        <a:gd name="connsiteX4" fmla="*/ 13059 w 137699"/>
                        <a:gd name="connsiteY4" fmla="*/ 6529 h 61050"/>
                        <a:gd name="connsiteX5" fmla="*/ 13059 w 137699"/>
                        <a:gd name="connsiteY5" fmla="*/ 33180 h 61050"/>
                        <a:gd name="connsiteX6" fmla="*/ 68850 w 137699"/>
                        <a:gd name="connsiteY6" fmla="*/ 47966 h 61050"/>
                        <a:gd name="connsiteX7" fmla="*/ 124641 w 137699"/>
                        <a:gd name="connsiteY7" fmla="*/ 33180 h 61050"/>
                        <a:gd name="connsiteX8" fmla="*/ 124641 w 137699"/>
                        <a:gd name="connsiteY8" fmla="*/ 6529 h 61050"/>
                        <a:gd name="connsiteX9" fmla="*/ 131171 w 137699"/>
                        <a:gd name="connsiteY9" fmla="*/ 0 h 61050"/>
                        <a:gd name="connsiteX10" fmla="*/ 137700 w 137699"/>
                        <a:gd name="connsiteY10" fmla="*/ 6529 h 61050"/>
                        <a:gd name="connsiteX11" fmla="*/ 137700 w 137699"/>
                        <a:gd name="connsiteY11" fmla="*/ 33180 h 61050"/>
                        <a:gd name="connsiteX12" fmla="*/ 68875 w 137699"/>
                        <a:gd name="connsiteY12" fmla="*/ 61050 h 61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699" h="61050">
                          <a:moveTo>
                            <a:pt x="68875" y="61050"/>
                          </a:moveTo>
                          <a:cubicBezTo>
                            <a:pt x="35695" y="61050"/>
                            <a:pt x="0" y="52336"/>
                            <a:pt x="0" y="33180"/>
                          </a:cubicBezTo>
                          <a:lnTo>
                            <a:pt x="0" y="6529"/>
                          </a:lnTo>
                          <a:cubicBezTo>
                            <a:pt x="0" y="2922"/>
                            <a:pt x="2922" y="0"/>
                            <a:pt x="6529" y="0"/>
                          </a:cubicBezTo>
                          <a:cubicBezTo>
                            <a:pt x="10137" y="0"/>
                            <a:pt x="13059" y="2922"/>
                            <a:pt x="13059" y="6529"/>
                          </a:cubicBezTo>
                          <a:lnTo>
                            <a:pt x="13059" y="33180"/>
                          </a:lnTo>
                          <a:cubicBezTo>
                            <a:pt x="13059" y="37474"/>
                            <a:pt x="32621" y="47966"/>
                            <a:pt x="68850" y="47966"/>
                          </a:cubicBezTo>
                          <a:cubicBezTo>
                            <a:pt x="105079" y="47966"/>
                            <a:pt x="124641" y="37474"/>
                            <a:pt x="124641" y="33180"/>
                          </a:cubicBezTo>
                          <a:lnTo>
                            <a:pt x="124641" y="6529"/>
                          </a:lnTo>
                          <a:cubicBezTo>
                            <a:pt x="124641" y="2922"/>
                            <a:pt x="127563" y="0"/>
                            <a:pt x="131171" y="0"/>
                          </a:cubicBezTo>
                          <a:cubicBezTo>
                            <a:pt x="134778" y="0"/>
                            <a:pt x="137700" y="2922"/>
                            <a:pt x="137700" y="6529"/>
                          </a:cubicBezTo>
                          <a:lnTo>
                            <a:pt x="137700" y="33180"/>
                          </a:lnTo>
                          <a:cubicBezTo>
                            <a:pt x="137751" y="52336"/>
                            <a:pt x="102030" y="61050"/>
                            <a:pt x="68875" y="61050"/>
                          </a:cubicBezTo>
                          <a:close/>
                        </a:path>
                      </a:pathLst>
                    </a:custGeom>
                    <a:solidFill>
                      <a:schemeClr val="accent1"/>
                    </a:solidFill>
                    <a:ln w="2536" cap="flat">
                      <a:noFill/>
                      <a:prstDash val="solid"/>
                      <a:miter/>
                    </a:ln>
                  </p:spPr>
                  <p:txBody>
                    <a:bodyPr rtlCol="0" anchor="ctr"/>
                    <a:lstStyle/>
                    <a:p>
                      <a:endParaRPr lang="en-GB" dirty="0"/>
                    </a:p>
                  </p:txBody>
                </p:sp>
              </p:grpSp>
            </p:grpSp>
          </p:grpSp>
          <p:sp>
            <p:nvSpPr>
              <p:cNvPr id="569" name="Freihandform: Form 500">
                <a:extLst>
                  <a:ext uri="{FF2B5EF4-FFF2-40B4-BE49-F238E27FC236}">
                    <a16:creationId xmlns:a16="http://schemas.microsoft.com/office/drawing/2014/main" id="{0C77C2F1-D4E5-4B6D-8079-ECDDBCF6AEEE}"/>
                  </a:ext>
                </a:extLst>
              </p:cNvPr>
              <p:cNvSpPr/>
              <p:nvPr/>
            </p:nvSpPr>
            <p:spPr>
              <a:xfrm>
                <a:off x="1144876" y="4059245"/>
                <a:ext cx="13058" cy="104646"/>
              </a:xfrm>
              <a:custGeom>
                <a:avLst/>
                <a:gdLst>
                  <a:gd name="connsiteX0" fmla="*/ 6529 w 13058"/>
                  <a:gd name="connsiteY0" fmla="*/ 104647 h 104646"/>
                  <a:gd name="connsiteX1" fmla="*/ 0 w 13058"/>
                  <a:gd name="connsiteY1" fmla="*/ 98118 h 104646"/>
                  <a:gd name="connsiteX2" fmla="*/ 0 w 13058"/>
                  <a:gd name="connsiteY2" fmla="*/ 6529 h 104646"/>
                  <a:gd name="connsiteX3" fmla="*/ 6529 w 13058"/>
                  <a:gd name="connsiteY3" fmla="*/ 0 h 104646"/>
                  <a:gd name="connsiteX4" fmla="*/ 13059 w 13058"/>
                  <a:gd name="connsiteY4" fmla="*/ 6529 h 104646"/>
                  <a:gd name="connsiteX5" fmla="*/ 13059 w 13058"/>
                  <a:gd name="connsiteY5" fmla="*/ 98118 h 104646"/>
                  <a:gd name="connsiteX6" fmla="*/ 6529 w 13058"/>
                  <a:gd name="connsiteY6" fmla="*/ 104647 h 10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8" h="104646">
                    <a:moveTo>
                      <a:pt x="6529" y="104647"/>
                    </a:moveTo>
                    <a:cubicBezTo>
                      <a:pt x="2922" y="104647"/>
                      <a:pt x="0" y="101725"/>
                      <a:pt x="0" y="98118"/>
                    </a:cubicBezTo>
                    <a:lnTo>
                      <a:pt x="0" y="6529"/>
                    </a:lnTo>
                    <a:cubicBezTo>
                      <a:pt x="0" y="2922"/>
                      <a:pt x="2922" y="0"/>
                      <a:pt x="6529" y="0"/>
                    </a:cubicBezTo>
                    <a:cubicBezTo>
                      <a:pt x="10137" y="0"/>
                      <a:pt x="13059" y="2922"/>
                      <a:pt x="13059" y="6529"/>
                    </a:cubicBezTo>
                    <a:lnTo>
                      <a:pt x="13059" y="98118"/>
                    </a:lnTo>
                    <a:cubicBezTo>
                      <a:pt x="13084" y="101725"/>
                      <a:pt x="10162" y="104647"/>
                      <a:pt x="6529" y="104647"/>
                    </a:cubicBezTo>
                    <a:close/>
                  </a:path>
                </a:pathLst>
              </a:custGeom>
              <a:solidFill>
                <a:schemeClr val="accent1"/>
              </a:solidFill>
              <a:ln w="2536" cap="flat">
                <a:noFill/>
                <a:prstDash val="solid"/>
                <a:miter/>
              </a:ln>
            </p:spPr>
            <p:txBody>
              <a:bodyPr rtlCol="0" anchor="ctr"/>
              <a:lstStyle/>
              <a:p>
                <a:endParaRPr lang="en-GB" dirty="0"/>
              </a:p>
            </p:txBody>
          </p:sp>
          <p:sp>
            <p:nvSpPr>
              <p:cNvPr id="570" name="Freihandform: Form 501">
                <a:extLst>
                  <a:ext uri="{FF2B5EF4-FFF2-40B4-BE49-F238E27FC236}">
                    <a16:creationId xmlns:a16="http://schemas.microsoft.com/office/drawing/2014/main" id="{103DA8E5-6E8B-4FD5-9087-D0A1BD422B1B}"/>
                  </a:ext>
                </a:extLst>
              </p:cNvPr>
              <p:cNvSpPr/>
              <p:nvPr/>
            </p:nvSpPr>
            <p:spPr>
              <a:xfrm>
                <a:off x="1190683" y="4091967"/>
                <a:ext cx="71939" cy="65394"/>
              </a:xfrm>
              <a:custGeom>
                <a:avLst/>
                <a:gdLst>
                  <a:gd name="connsiteX0" fmla="*/ 65395 w 71939"/>
                  <a:gd name="connsiteY0" fmla="*/ 65395 h 65394"/>
                  <a:gd name="connsiteX1" fmla="*/ 6529 w 71939"/>
                  <a:gd name="connsiteY1" fmla="*/ 65395 h 65394"/>
                  <a:gd name="connsiteX2" fmla="*/ 0 w 71939"/>
                  <a:gd name="connsiteY2" fmla="*/ 58865 h 65394"/>
                  <a:gd name="connsiteX3" fmla="*/ 0 w 71939"/>
                  <a:gd name="connsiteY3" fmla="*/ 32697 h 65394"/>
                  <a:gd name="connsiteX4" fmla="*/ 6529 w 71939"/>
                  <a:gd name="connsiteY4" fmla="*/ 26168 h 65394"/>
                  <a:gd name="connsiteX5" fmla="*/ 13059 w 71939"/>
                  <a:gd name="connsiteY5" fmla="*/ 32697 h 65394"/>
                  <a:gd name="connsiteX6" fmla="*/ 13059 w 71939"/>
                  <a:gd name="connsiteY6" fmla="*/ 52311 h 65394"/>
                  <a:gd name="connsiteX7" fmla="*/ 52311 w 71939"/>
                  <a:gd name="connsiteY7" fmla="*/ 52311 h 65394"/>
                  <a:gd name="connsiteX8" fmla="*/ 40548 w 71939"/>
                  <a:gd name="connsiteY8" fmla="*/ 36610 h 65394"/>
                  <a:gd name="connsiteX9" fmla="*/ 40548 w 71939"/>
                  <a:gd name="connsiteY9" fmla="*/ 28759 h 65394"/>
                  <a:gd name="connsiteX10" fmla="*/ 52311 w 71939"/>
                  <a:gd name="connsiteY10" fmla="*/ 13059 h 65394"/>
                  <a:gd name="connsiteX11" fmla="*/ 19613 w 71939"/>
                  <a:gd name="connsiteY11" fmla="*/ 13059 h 65394"/>
                  <a:gd name="connsiteX12" fmla="*/ 13084 w 71939"/>
                  <a:gd name="connsiteY12" fmla="*/ 6529 h 65394"/>
                  <a:gd name="connsiteX13" fmla="*/ 19613 w 71939"/>
                  <a:gd name="connsiteY13" fmla="*/ 0 h 65394"/>
                  <a:gd name="connsiteX14" fmla="*/ 65395 w 71939"/>
                  <a:gd name="connsiteY14" fmla="*/ 0 h 65394"/>
                  <a:gd name="connsiteX15" fmla="*/ 71238 w 71939"/>
                  <a:gd name="connsiteY15" fmla="*/ 3608 h 65394"/>
                  <a:gd name="connsiteX16" fmla="*/ 70628 w 71939"/>
                  <a:gd name="connsiteY16" fmla="*/ 10467 h 65394"/>
                  <a:gd name="connsiteX17" fmla="*/ 53937 w 71939"/>
                  <a:gd name="connsiteY17" fmla="*/ 32723 h 65394"/>
                  <a:gd name="connsiteX18" fmla="*/ 70628 w 71939"/>
                  <a:gd name="connsiteY18" fmla="*/ 54978 h 65394"/>
                  <a:gd name="connsiteX19" fmla="*/ 71238 w 71939"/>
                  <a:gd name="connsiteY19" fmla="*/ 61838 h 65394"/>
                  <a:gd name="connsiteX20" fmla="*/ 65395 w 71939"/>
                  <a:gd name="connsiteY20" fmla="*/ 65395 h 6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939" h="65394">
                    <a:moveTo>
                      <a:pt x="65395" y="65395"/>
                    </a:moveTo>
                    <a:lnTo>
                      <a:pt x="6529" y="65395"/>
                    </a:lnTo>
                    <a:cubicBezTo>
                      <a:pt x="2922" y="65395"/>
                      <a:pt x="0" y="62473"/>
                      <a:pt x="0" y="58865"/>
                    </a:cubicBezTo>
                    <a:lnTo>
                      <a:pt x="0" y="32697"/>
                    </a:lnTo>
                    <a:cubicBezTo>
                      <a:pt x="0" y="29090"/>
                      <a:pt x="2922" y="26168"/>
                      <a:pt x="6529" y="26168"/>
                    </a:cubicBezTo>
                    <a:cubicBezTo>
                      <a:pt x="10137" y="26168"/>
                      <a:pt x="13059" y="29090"/>
                      <a:pt x="13059" y="32697"/>
                    </a:cubicBezTo>
                    <a:lnTo>
                      <a:pt x="13059" y="52311"/>
                    </a:lnTo>
                    <a:lnTo>
                      <a:pt x="52311" y="52311"/>
                    </a:lnTo>
                    <a:lnTo>
                      <a:pt x="40548" y="36610"/>
                    </a:lnTo>
                    <a:cubicBezTo>
                      <a:pt x="38795" y="34273"/>
                      <a:pt x="38795" y="31097"/>
                      <a:pt x="40548" y="28759"/>
                    </a:cubicBezTo>
                    <a:lnTo>
                      <a:pt x="52311" y="13059"/>
                    </a:lnTo>
                    <a:lnTo>
                      <a:pt x="19613" y="13059"/>
                    </a:lnTo>
                    <a:cubicBezTo>
                      <a:pt x="16006" y="13059"/>
                      <a:pt x="13084" y="10137"/>
                      <a:pt x="13084" y="6529"/>
                    </a:cubicBezTo>
                    <a:cubicBezTo>
                      <a:pt x="13084" y="2922"/>
                      <a:pt x="16006" y="0"/>
                      <a:pt x="19613" y="0"/>
                    </a:cubicBezTo>
                    <a:lnTo>
                      <a:pt x="65395" y="0"/>
                    </a:lnTo>
                    <a:cubicBezTo>
                      <a:pt x="67885" y="0"/>
                      <a:pt x="70146" y="1397"/>
                      <a:pt x="71238" y="3608"/>
                    </a:cubicBezTo>
                    <a:cubicBezTo>
                      <a:pt x="72356" y="5818"/>
                      <a:pt x="72102" y="8485"/>
                      <a:pt x="70628" y="10467"/>
                    </a:cubicBezTo>
                    <a:lnTo>
                      <a:pt x="53937" y="32723"/>
                    </a:lnTo>
                    <a:lnTo>
                      <a:pt x="70628" y="54978"/>
                    </a:lnTo>
                    <a:cubicBezTo>
                      <a:pt x="72127" y="56960"/>
                      <a:pt x="72356" y="59602"/>
                      <a:pt x="71238" y="61838"/>
                    </a:cubicBezTo>
                    <a:cubicBezTo>
                      <a:pt x="70146" y="63997"/>
                      <a:pt x="67885" y="65395"/>
                      <a:pt x="65395" y="65395"/>
                    </a:cubicBezTo>
                    <a:close/>
                  </a:path>
                </a:pathLst>
              </a:custGeom>
              <a:solidFill>
                <a:schemeClr val="accent1"/>
              </a:solidFill>
              <a:ln w="2536" cap="flat">
                <a:noFill/>
                <a:prstDash val="solid"/>
                <a:miter/>
              </a:ln>
            </p:spPr>
            <p:txBody>
              <a:bodyPr rtlCol="0" anchor="ctr"/>
              <a:lstStyle/>
              <a:p>
                <a:endParaRPr lang="en-GB" dirty="0"/>
              </a:p>
            </p:txBody>
          </p:sp>
          <p:sp>
            <p:nvSpPr>
              <p:cNvPr id="571" name="Freihandform: Form 502">
                <a:extLst>
                  <a:ext uri="{FF2B5EF4-FFF2-40B4-BE49-F238E27FC236}">
                    <a16:creationId xmlns:a16="http://schemas.microsoft.com/office/drawing/2014/main" id="{600418BC-25E4-403B-AB7D-7FECDB106668}"/>
                  </a:ext>
                </a:extLst>
              </p:cNvPr>
              <p:cNvSpPr/>
              <p:nvPr/>
            </p:nvSpPr>
            <p:spPr>
              <a:xfrm>
                <a:off x="1144902" y="4065799"/>
                <a:ext cx="71924" cy="65394"/>
              </a:xfrm>
              <a:custGeom>
                <a:avLst/>
                <a:gdLst>
                  <a:gd name="connsiteX0" fmla="*/ 65395 w 71924"/>
                  <a:gd name="connsiteY0" fmla="*/ 65395 h 65394"/>
                  <a:gd name="connsiteX1" fmla="*/ 6529 w 71924"/>
                  <a:gd name="connsiteY1" fmla="*/ 65395 h 65394"/>
                  <a:gd name="connsiteX2" fmla="*/ 0 w 71924"/>
                  <a:gd name="connsiteY2" fmla="*/ 58865 h 65394"/>
                  <a:gd name="connsiteX3" fmla="*/ 0 w 71924"/>
                  <a:gd name="connsiteY3" fmla="*/ 6529 h 65394"/>
                  <a:gd name="connsiteX4" fmla="*/ 6529 w 71924"/>
                  <a:gd name="connsiteY4" fmla="*/ 0 h 65394"/>
                  <a:gd name="connsiteX5" fmla="*/ 65395 w 71924"/>
                  <a:gd name="connsiteY5" fmla="*/ 0 h 65394"/>
                  <a:gd name="connsiteX6" fmla="*/ 71924 w 71924"/>
                  <a:gd name="connsiteY6" fmla="*/ 6529 h 65394"/>
                  <a:gd name="connsiteX7" fmla="*/ 71924 w 71924"/>
                  <a:gd name="connsiteY7" fmla="*/ 58865 h 65394"/>
                  <a:gd name="connsiteX8" fmla="*/ 65395 w 71924"/>
                  <a:gd name="connsiteY8" fmla="*/ 65395 h 65394"/>
                  <a:gd name="connsiteX9" fmla="*/ 13059 w 71924"/>
                  <a:gd name="connsiteY9" fmla="*/ 52311 h 65394"/>
                  <a:gd name="connsiteX10" fmla="*/ 58840 w 71924"/>
                  <a:gd name="connsiteY10" fmla="*/ 52311 h 65394"/>
                  <a:gd name="connsiteX11" fmla="*/ 58840 w 71924"/>
                  <a:gd name="connsiteY11" fmla="*/ 13059 h 65394"/>
                  <a:gd name="connsiteX12" fmla="*/ 13059 w 71924"/>
                  <a:gd name="connsiteY12" fmla="*/ 13059 h 65394"/>
                  <a:gd name="connsiteX13" fmla="*/ 13059 w 71924"/>
                  <a:gd name="connsiteY13" fmla="*/ 52311 h 65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924" h="65394">
                    <a:moveTo>
                      <a:pt x="65395" y="65395"/>
                    </a:moveTo>
                    <a:lnTo>
                      <a:pt x="6529" y="65395"/>
                    </a:lnTo>
                    <a:cubicBezTo>
                      <a:pt x="2922" y="65395"/>
                      <a:pt x="0" y="62473"/>
                      <a:pt x="0" y="58865"/>
                    </a:cubicBezTo>
                    <a:lnTo>
                      <a:pt x="0" y="6529"/>
                    </a:lnTo>
                    <a:cubicBezTo>
                      <a:pt x="0" y="2922"/>
                      <a:pt x="2922" y="0"/>
                      <a:pt x="6529" y="0"/>
                    </a:cubicBezTo>
                    <a:lnTo>
                      <a:pt x="65395" y="0"/>
                    </a:lnTo>
                    <a:cubicBezTo>
                      <a:pt x="69002" y="0"/>
                      <a:pt x="71924" y="2922"/>
                      <a:pt x="71924" y="6529"/>
                    </a:cubicBezTo>
                    <a:lnTo>
                      <a:pt x="71924" y="58865"/>
                    </a:lnTo>
                    <a:cubicBezTo>
                      <a:pt x="71924" y="62473"/>
                      <a:pt x="69002" y="65395"/>
                      <a:pt x="65395" y="65395"/>
                    </a:cubicBezTo>
                    <a:close/>
                    <a:moveTo>
                      <a:pt x="13059" y="52311"/>
                    </a:moveTo>
                    <a:lnTo>
                      <a:pt x="58840" y="52311"/>
                    </a:lnTo>
                    <a:lnTo>
                      <a:pt x="58840" y="13059"/>
                    </a:lnTo>
                    <a:lnTo>
                      <a:pt x="13059" y="13059"/>
                    </a:lnTo>
                    <a:lnTo>
                      <a:pt x="13059" y="52311"/>
                    </a:lnTo>
                    <a:close/>
                  </a:path>
                </a:pathLst>
              </a:custGeom>
              <a:solidFill>
                <a:schemeClr val="accent1"/>
              </a:solidFill>
              <a:ln w="2536" cap="flat">
                <a:noFill/>
                <a:prstDash val="solid"/>
                <a:miter/>
              </a:ln>
            </p:spPr>
            <p:txBody>
              <a:bodyPr rtlCol="0" anchor="ctr"/>
              <a:lstStyle/>
              <a:p>
                <a:endParaRPr lang="en-GB" dirty="0"/>
              </a:p>
            </p:txBody>
          </p:sp>
        </p:grpSp>
        <p:grpSp>
          <p:nvGrpSpPr>
            <p:cNvPr id="548" name="Gruppieren 783">
              <a:extLst>
                <a:ext uri="{FF2B5EF4-FFF2-40B4-BE49-F238E27FC236}">
                  <a16:creationId xmlns:a16="http://schemas.microsoft.com/office/drawing/2014/main" id="{1359C6DB-846A-4D9A-B875-D176A44CC6EB}"/>
                </a:ext>
              </a:extLst>
            </p:cNvPr>
            <p:cNvGrpSpPr/>
            <p:nvPr/>
          </p:nvGrpSpPr>
          <p:grpSpPr>
            <a:xfrm>
              <a:off x="7121896" y="2468147"/>
              <a:ext cx="387687" cy="338773"/>
              <a:chOff x="922473" y="4149740"/>
              <a:chExt cx="457889" cy="400117"/>
            </a:xfrm>
          </p:grpSpPr>
          <p:sp>
            <p:nvSpPr>
              <p:cNvPr id="549" name="Freihandform: Form 482">
                <a:extLst>
                  <a:ext uri="{FF2B5EF4-FFF2-40B4-BE49-F238E27FC236}">
                    <a16:creationId xmlns:a16="http://schemas.microsoft.com/office/drawing/2014/main" id="{D6AA5935-649B-47DD-AC6F-C6B3F34837BF}"/>
                  </a:ext>
                </a:extLst>
              </p:cNvPr>
              <p:cNvSpPr/>
              <p:nvPr/>
            </p:nvSpPr>
            <p:spPr>
              <a:xfrm>
                <a:off x="1157960" y="4536799"/>
                <a:ext cx="143899" cy="13058"/>
              </a:xfrm>
              <a:custGeom>
                <a:avLst/>
                <a:gdLst>
                  <a:gd name="connsiteX0" fmla="*/ 137370 w 143899"/>
                  <a:gd name="connsiteY0" fmla="*/ 13059 h 13058"/>
                  <a:gd name="connsiteX1" fmla="*/ 6529 w 143899"/>
                  <a:gd name="connsiteY1" fmla="*/ 13059 h 13058"/>
                  <a:gd name="connsiteX2" fmla="*/ 0 w 143899"/>
                  <a:gd name="connsiteY2" fmla="*/ 6529 h 13058"/>
                  <a:gd name="connsiteX3" fmla="*/ 6529 w 143899"/>
                  <a:gd name="connsiteY3" fmla="*/ 0 h 13058"/>
                  <a:gd name="connsiteX4" fmla="*/ 137370 w 143899"/>
                  <a:gd name="connsiteY4" fmla="*/ 0 h 13058"/>
                  <a:gd name="connsiteX5" fmla="*/ 143899 w 143899"/>
                  <a:gd name="connsiteY5" fmla="*/ 6529 h 13058"/>
                  <a:gd name="connsiteX6" fmla="*/ 137370 w 143899"/>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99" h="13058">
                    <a:moveTo>
                      <a:pt x="137370" y="13059"/>
                    </a:moveTo>
                    <a:lnTo>
                      <a:pt x="6529" y="13059"/>
                    </a:lnTo>
                    <a:cubicBezTo>
                      <a:pt x="2922" y="13059"/>
                      <a:pt x="0" y="10137"/>
                      <a:pt x="0" y="6529"/>
                    </a:cubicBezTo>
                    <a:cubicBezTo>
                      <a:pt x="0" y="2921"/>
                      <a:pt x="2922" y="0"/>
                      <a:pt x="6529" y="0"/>
                    </a:cubicBezTo>
                    <a:lnTo>
                      <a:pt x="137370" y="0"/>
                    </a:lnTo>
                    <a:cubicBezTo>
                      <a:pt x="140977" y="0"/>
                      <a:pt x="143899" y="2921"/>
                      <a:pt x="143899" y="6529"/>
                    </a:cubicBezTo>
                    <a:cubicBezTo>
                      <a:pt x="143924" y="10137"/>
                      <a:pt x="140977" y="13059"/>
                      <a:pt x="137370" y="13059"/>
                    </a:cubicBezTo>
                    <a:close/>
                  </a:path>
                </a:pathLst>
              </a:custGeom>
              <a:solidFill>
                <a:schemeClr val="tx2"/>
              </a:solidFill>
              <a:ln w="2536" cap="flat">
                <a:noFill/>
                <a:prstDash val="solid"/>
                <a:miter/>
              </a:ln>
            </p:spPr>
            <p:txBody>
              <a:bodyPr rtlCol="0" anchor="ctr"/>
              <a:lstStyle/>
              <a:p>
                <a:endParaRPr lang="en-GB" dirty="0"/>
              </a:p>
            </p:txBody>
          </p:sp>
          <p:sp>
            <p:nvSpPr>
              <p:cNvPr id="550" name="Freihandform: Form 483">
                <a:extLst>
                  <a:ext uri="{FF2B5EF4-FFF2-40B4-BE49-F238E27FC236}">
                    <a16:creationId xmlns:a16="http://schemas.microsoft.com/office/drawing/2014/main" id="{2BC21256-5F55-4F37-97DD-C1F1C900966B}"/>
                  </a:ext>
                </a:extLst>
              </p:cNvPr>
              <p:cNvSpPr/>
              <p:nvPr/>
            </p:nvSpPr>
            <p:spPr>
              <a:xfrm>
                <a:off x="1157960" y="4510631"/>
                <a:ext cx="117731" cy="13058"/>
              </a:xfrm>
              <a:custGeom>
                <a:avLst/>
                <a:gdLst>
                  <a:gd name="connsiteX0" fmla="*/ 111202 w 117731"/>
                  <a:gd name="connsiteY0" fmla="*/ 13059 h 13058"/>
                  <a:gd name="connsiteX1" fmla="*/ 6529 w 117731"/>
                  <a:gd name="connsiteY1" fmla="*/ 13059 h 13058"/>
                  <a:gd name="connsiteX2" fmla="*/ 0 w 117731"/>
                  <a:gd name="connsiteY2" fmla="*/ 6529 h 13058"/>
                  <a:gd name="connsiteX3" fmla="*/ 6529 w 117731"/>
                  <a:gd name="connsiteY3" fmla="*/ 0 h 13058"/>
                  <a:gd name="connsiteX4" fmla="*/ 111202 w 117731"/>
                  <a:gd name="connsiteY4" fmla="*/ 0 h 13058"/>
                  <a:gd name="connsiteX5" fmla="*/ 117731 w 117731"/>
                  <a:gd name="connsiteY5" fmla="*/ 6529 h 13058"/>
                  <a:gd name="connsiteX6" fmla="*/ 111202 w 117731"/>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7731" h="13058">
                    <a:moveTo>
                      <a:pt x="111202" y="13059"/>
                    </a:moveTo>
                    <a:lnTo>
                      <a:pt x="6529" y="13059"/>
                    </a:lnTo>
                    <a:cubicBezTo>
                      <a:pt x="2922" y="13059"/>
                      <a:pt x="0" y="10137"/>
                      <a:pt x="0" y="6529"/>
                    </a:cubicBezTo>
                    <a:cubicBezTo>
                      <a:pt x="0" y="2922"/>
                      <a:pt x="2922" y="0"/>
                      <a:pt x="6529" y="0"/>
                    </a:cubicBezTo>
                    <a:lnTo>
                      <a:pt x="111202" y="0"/>
                    </a:lnTo>
                    <a:cubicBezTo>
                      <a:pt x="114809" y="0"/>
                      <a:pt x="117731" y="2922"/>
                      <a:pt x="117731" y="6529"/>
                    </a:cubicBezTo>
                    <a:cubicBezTo>
                      <a:pt x="117756" y="10137"/>
                      <a:pt x="114809" y="13059"/>
                      <a:pt x="111202" y="13059"/>
                    </a:cubicBezTo>
                    <a:close/>
                  </a:path>
                </a:pathLst>
              </a:custGeom>
              <a:solidFill>
                <a:schemeClr val="tx2"/>
              </a:solidFill>
              <a:ln w="2536" cap="flat">
                <a:noFill/>
                <a:prstDash val="solid"/>
                <a:miter/>
              </a:ln>
            </p:spPr>
            <p:txBody>
              <a:bodyPr rtlCol="0" anchor="ctr"/>
              <a:lstStyle/>
              <a:p>
                <a:endParaRPr lang="en-GB" dirty="0"/>
              </a:p>
            </p:txBody>
          </p:sp>
          <p:sp>
            <p:nvSpPr>
              <p:cNvPr id="551" name="Freihandform: Form 484">
                <a:extLst>
                  <a:ext uri="{FF2B5EF4-FFF2-40B4-BE49-F238E27FC236}">
                    <a16:creationId xmlns:a16="http://schemas.microsoft.com/office/drawing/2014/main" id="{8BFCC398-53E1-4D07-BD93-1B35CE1C8AD7}"/>
                  </a:ext>
                </a:extLst>
              </p:cNvPr>
              <p:cNvSpPr/>
              <p:nvPr/>
            </p:nvSpPr>
            <p:spPr>
              <a:xfrm>
                <a:off x="1236464" y="4235892"/>
                <a:ext cx="13058" cy="287798"/>
              </a:xfrm>
              <a:custGeom>
                <a:avLst/>
                <a:gdLst>
                  <a:gd name="connsiteX0" fmla="*/ 6529 w 13058"/>
                  <a:gd name="connsiteY0" fmla="*/ 287798 h 287798"/>
                  <a:gd name="connsiteX1" fmla="*/ 0 w 13058"/>
                  <a:gd name="connsiteY1" fmla="*/ 281269 h 287798"/>
                  <a:gd name="connsiteX2" fmla="*/ 0 w 13058"/>
                  <a:gd name="connsiteY2" fmla="*/ 6529 h 287798"/>
                  <a:gd name="connsiteX3" fmla="*/ 6529 w 13058"/>
                  <a:gd name="connsiteY3" fmla="*/ 0 h 287798"/>
                  <a:gd name="connsiteX4" fmla="*/ 13059 w 13058"/>
                  <a:gd name="connsiteY4" fmla="*/ 6529 h 287798"/>
                  <a:gd name="connsiteX5" fmla="*/ 13059 w 13058"/>
                  <a:gd name="connsiteY5" fmla="*/ 281269 h 287798"/>
                  <a:gd name="connsiteX6" fmla="*/ 6529 w 13058"/>
                  <a:gd name="connsiteY6" fmla="*/ 287798 h 287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8" h="287798">
                    <a:moveTo>
                      <a:pt x="6529" y="287798"/>
                    </a:moveTo>
                    <a:cubicBezTo>
                      <a:pt x="2922" y="287798"/>
                      <a:pt x="0" y="284876"/>
                      <a:pt x="0" y="281269"/>
                    </a:cubicBezTo>
                    <a:lnTo>
                      <a:pt x="0" y="6529"/>
                    </a:lnTo>
                    <a:cubicBezTo>
                      <a:pt x="0" y="2922"/>
                      <a:pt x="2922" y="0"/>
                      <a:pt x="6529" y="0"/>
                    </a:cubicBezTo>
                    <a:cubicBezTo>
                      <a:pt x="10137" y="0"/>
                      <a:pt x="13059" y="2922"/>
                      <a:pt x="13059" y="6529"/>
                    </a:cubicBezTo>
                    <a:lnTo>
                      <a:pt x="13059" y="281269"/>
                    </a:lnTo>
                    <a:cubicBezTo>
                      <a:pt x="13084" y="284876"/>
                      <a:pt x="10137" y="287798"/>
                      <a:pt x="6529" y="287798"/>
                    </a:cubicBezTo>
                    <a:close/>
                  </a:path>
                </a:pathLst>
              </a:custGeom>
              <a:solidFill>
                <a:schemeClr val="tx2"/>
              </a:solidFill>
              <a:ln w="2536" cap="flat">
                <a:noFill/>
                <a:prstDash val="solid"/>
                <a:miter/>
              </a:ln>
            </p:spPr>
            <p:txBody>
              <a:bodyPr rtlCol="0" anchor="ctr"/>
              <a:lstStyle/>
              <a:p>
                <a:endParaRPr lang="en-GB" dirty="0"/>
              </a:p>
            </p:txBody>
          </p:sp>
          <p:sp>
            <p:nvSpPr>
              <p:cNvPr id="552" name="Freihandform: Form 485">
                <a:extLst>
                  <a:ext uri="{FF2B5EF4-FFF2-40B4-BE49-F238E27FC236}">
                    <a16:creationId xmlns:a16="http://schemas.microsoft.com/office/drawing/2014/main" id="{FAA2DDA6-87E1-4E5B-B722-BE83D2C3A4EF}"/>
                  </a:ext>
                </a:extLst>
              </p:cNvPr>
              <p:cNvSpPr/>
              <p:nvPr/>
            </p:nvSpPr>
            <p:spPr>
              <a:xfrm>
                <a:off x="1053313" y="4235892"/>
                <a:ext cx="13058" cy="189680"/>
              </a:xfrm>
              <a:custGeom>
                <a:avLst/>
                <a:gdLst>
                  <a:gd name="connsiteX0" fmla="*/ 6529 w 13058"/>
                  <a:gd name="connsiteY0" fmla="*/ 189680 h 189680"/>
                  <a:gd name="connsiteX1" fmla="*/ 0 w 13058"/>
                  <a:gd name="connsiteY1" fmla="*/ 183151 h 189680"/>
                  <a:gd name="connsiteX2" fmla="*/ 0 w 13058"/>
                  <a:gd name="connsiteY2" fmla="*/ 6529 h 189680"/>
                  <a:gd name="connsiteX3" fmla="*/ 6529 w 13058"/>
                  <a:gd name="connsiteY3" fmla="*/ 0 h 189680"/>
                  <a:gd name="connsiteX4" fmla="*/ 13059 w 13058"/>
                  <a:gd name="connsiteY4" fmla="*/ 6529 h 189680"/>
                  <a:gd name="connsiteX5" fmla="*/ 13059 w 13058"/>
                  <a:gd name="connsiteY5" fmla="*/ 183151 h 189680"/>
                  <a:gd name="connsiteX6" fmla="*/ 6529 w 13058"/>
                  <a:gd name="connsiteY6" fmla="*/ 189680 h 189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8" h="189680">
                    <a:moveTo>
                      <a:pt x="6529" y="189680"/>
                    </a:moveTo>
                    <a:cubicBezTo>
                      <a:pt x="2922" y="189680"/>
                      <a:pt x="0" y="186759"/>
                      <a:pt x="0" y="183151"/>
                    </a:cubicBezTo>
                    <a:lnTo>
                      <a:pt x="0" y="6529"/>
                    </a:lnTo>
                    <a:cubicBezTo>
                      <a:pt x="0" y="2922"/>
                      <a:pt x="2922" y="0"/>
                      <a:pt x="6529" y="0"/>
                    </a:cubicBezTo>
                    <a:cubicBezTo>
                      <a:pt x="10137" y="0"/>
                      <a:pt x="13059" y="2922"/>
                      <a:pt x="13059" y="6529"/>
                    </a:cubicBezTo>
                    <a:lnTo>
                      <a:pt x="13059" y="183151"/>
                    </a:lnTo>
                    <a:cubicBezTo>
                      <a:pt x="13059" y="186759"/>
                      <a:pt x="10137" y="189680"/>
                      <a:pt x="6529" y="189680"/>
                    </a:cubicBezTo>
                    <a:close/>
                  </a:path>
                </a:pathLst>
              </a:custGeom>
              <a:solidFill>
                <a:schemeClr val="tx2"/>
              </a:solidFill>
              <a:ln w="2536" cap="flat">
                <a:noFill/>
                <a:prstDash val="solid"/>
                <a:miter/>
              </a:ln>
            </p:spPr>
            <p:txBody>
              <a:bodyPr rtlCol="0" anchor="ctr"/>
              <a:lstStyle/>
              <a:p>
                <a:endParaRPr lang="en-GB" dirty="0"/>
              </a:p>
            </p:txBody>
          </p:sp>
          <p:sp>
            <p:nvSpPr>
              <p:cNvPr id="553" name="Freihandform: Form 486">
                <a:extLst>
                  <a:ext uri="{FF2B5EF4-FFF2-40B4-BE49-F238E27FC236}">
                    <a16:creationId xmlns:a16="http://schemas.microsoft.com/office/drawing/2014/main" id="{12DCC2A0-0DE5-4344-9A47-803900D6D81D}"/>
                  </a:ext>
                </a:extLst>
              </p:cNvPr>
              <p:cNvSpPr/>
              <p:nvPr/>
            </p:nvSpPr>
            <p:spPr>
              <a:xfrm>
                <a:off x="1242994" y="4301286"/>
                <a:ext cx="117756" cy="242041"/>
              </a:xfrm>
              <a:custGeom>
                <a:avLst/>
                <a:gdLst>
                  <a:gd name="connsiteX0" fmla="*/ 117756 w 117756"/>
                  <a:gd name="connsiteY0" fmla="*/ 242042 h 242041"/>
                  <a:gd name="connsiteX1" fmla="*/ 104672 w 117756"/>
                  <a:gd name="connsiteY1" fmla="*/ 242042 h 242041"/>
                  <a:gd name="connsiteX2" fmla="*/ 104672 w 117756"/>
                  <a:gd name="connsiteY2" fmla="*/ 13084 h 242041"/>
                  <a:gd name="connsiteX3" fmla="*/ 0 w 117756"/>
                  <a:gd name="connsiteY3" fmla="*/ 13084 h 242041"/>
                  <a:gd name="connsiteX4" fmla="*/ 0 w 117756"/>
                  <a:gd name="connsiteY4" fmla="*/ 0 h 242041"/>
                  <a:gd name="connsiteX5" fmla="*/ 111202 w 117756"/>
                  <a:gd name="connsiteY5" fmla="*/ 0 h 242041"/>
                  <a:gd name="connsiteX6" fmla="*/ 117731 w 117756"/>
                  <a:gd name="connsiteY6" fmla="*/ 6529 h 242041"/>
                  <a:gd name="connsiteX7" fmla="*/ 117731 w 117756"/>
                  <a:gd name="connsiteY7" fmla="*/ 242042 h 24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756" h="242041">
                    <a:moveTo>
                      <a:pt x="117756" y="242042"/>
                    </a:moveTo>
                    <a:lnTo>
                      <a:pt x="104672" y="242042"/>
                    </a:lnTo>
                    <a:lnTo>
                      <a:pt x="104672" y="13084"/>
                    </a:lnTo>
                    <a:lnTo>
                      <a:pt x="0" y="13084"/>
                    </a:lnTo>
                    <a:lnTo>
                      <a:pt x="0" y="0"/>
                    </a:lnTo>
                    <a:lnTo>
                      <a:pt x="111202" y="0"/>
                    </a:lnTo>
                    <a:cubicBezTo>
                      <a:pt x="114809" y="0"/>
                      <a:pt x="117731" y="2922"/>
                      <a:pt x="117731" y="6529"/>
                    </a:cubicBezTo>
                    <a:lnTo>
                      <a:pt x="117731" y="242042"/>
                    </a:lnTo>
                    <a:close/>
                  </a:path>
                </a:pathLst>
              </a:custGeom>
              <a:solidFill>
                <a:schemeClr val="tx2"/>
              </a:solidFill>
              <a:ln w="2536" cap="flat">
                <a:noFill/>
                <a:prstDash val="solid"/>
                <a:miter/>
              </a:ln>
            </p:spPr>
            <p:txBody>
              <a:bodyPr rtlCol="0" anchor="ctr"/>
              <a:lstStyle/>
              <a:p>
                <a:endParaRPr lang="en-GB" dirty="0"/>
              </a:p>
            </p:txBody>
          </p:sp>
          <p:sp>
            <p:nvSpPr>
              <p:cNvPr id="554" name="Freihandform: Form 487">
                <a:extLst>
                  <a:ext uri="{FF2B5EF4-FFF2-40B4-BE49-F238E27FC236}">
                    <a16:creationId xmlns:a16="http://schemas.microsoft.com/office/drawing/2014/main" id="{262AC8B7-6134-4D16-BD39-A09EBE017C5B}"/>
                  </a:ext>
                </a:extLst>
              </p:cNvPr>
              <p:cNvSpPr/>
              <p:nvPr/>
            </p:nvSpPr>
            <p:spPr>
              <a:xfrm>
                <a:off x="1236464" y="4301312"/>
                <a:ext cx="143898" cy="13058"/>
              </a:xfrm>
              <a:custGeom>
                <a:avLst/>
                <a:gdLst>
                  <a:gd name="connsiteX0" fmla="*/ 6529 w 143898"/>
                  <a:gd name="connsiteY0" fmla="*/ 13059 h 13058"/>
                  <a:gd name="connsiteX1" fmla="*/ 0 w 143898"/>
                  <a:gd name="connsiteY1" fmla="*/ 6529 h 13058"/>
                  <a:gd name="connsiteX2" fmla="*/ 6529 w 143898"/>
                  <a:gd name="connsiteY2" fmla="*/ 0 h 13058"/>
                  <a:gd name="connsiteX3" fmla="*/ 137370 w 143898"/>
                  <a:gd name="connsiteY3" fmla="*/ 0 h 13058"/>
                  <a:gd name="connsiteX4" fmla="*/ 143899 w 143898"/>
                  <a:gd name="connsiteY4" fmla="*/ 6529 h 13058"/>
                  <a:gd name="connsiteX5" fmla="*/ 137370 w 143898"/>
                  <a:gd name="connsiteY5" fmla="*/ 13059 h 13058"/>
                  <a:gd name="connsiteX6" fmla="*/ 6529 w 143898"/>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898" h="13058">
                    <a:moveTo>
                      <a:pt x="6529" y="13059"/>
                    </a:moveTo>
                    <a:cubicBezTo>
                      <a:pt x="2922" y="13059"/>
                      <a:pt x="0" y="10137"/>
                      <a:pt x="0" y="6529"/>
                    </a:cubicBezTo>
                    <a:cubicBezTo>
                      <a:pt x="0" y="2922"/>
                      <a:pt x="2922" y="0"/>
                      <a:pt x="6529" y="0"/>
                    </a:cubicBezTo>
                    <a:lnTo>
                      <a:pt x="137370" y="0"/>
                    </a:lnTo>
                    <a:cubicBezTo>
                      <a:pt x="140977" y="0"/>
                      <a:pt x="143899" y="2922"/>
                      <a:pt x="143899" y="6529"/>
                    </a:cubicBezTo>
                    <a:cubicBezTo>
                      <a:pt x="143899" y="10137"/>
                      <a:pt x="140977" y="13059"/>
                      <a:pt x="137370" y="13059"/>
                    </a:cubicBezTo>
                    <a:lnTo>
                      <a:pt x="6529" y="13059"/>
                    </a:lnTo>
                    <a:close/>
                  </a:path>
                </a:pathLst>
              </a:custGeom>
              <a:solidFill>
                <a:schemeClr val="tx2"/>
              </a:solidFill>
              <a:ln w="2536" cap="flat">
                <a:noFill/>
                <a:prstDash val="solid"/>
                <a:miter/>
              </a:ln>
            </p:spPr>
            <p:txBody>
              <a:bodyPr rtlCol="0" anchor="ctr"/>
              <a:lstStyle/>
              <a:p>
                <a:endParaRPr lang="en-GB" dirty="0"/>
              </a:p>
            </p:txBody>
          </p:sp>
          <p:sp>
            <p:nvSpPr>
              <p:cNvPr id="555" name="Freihandform: Form 488">
                <a:extLst>
                  <a:ext uri="{FF2B5EF4-FFF2-40B4-BE49-F238E27FC236}">
                    <a16:creationId xmlns:a16="http://schemas.microsoft.com/office/drawing/2014/main" id="{B00DEEEB-3C9A-4206-BB8F-048721BB886A}"/>
                  </a:ext>
                </a:extLst>
              </p:cNvPr>
              <p:cNvSpPr/>
              <p:nvPr/>
            </p:nvSpPr>
            <p:spPr>
              <a:xfrm>
                <a:off x="942086" y="4301312"/>
                <a:ext cx="124260" cy="176596"/>
              </a:xfrm>
              <a:custGeom>
                <a:avLst/>
                <a:gdLst>
                  <a:gd name="connsiteX0" fmla="*/ 6529 w 124260"/>
                  <a:gd name="connsiteY0" fmla="*/ 176596 h 176596"/>
                  <a:gd name="connsiteX1" fmla="*/ 0 w 124260"/>
                  <a:gd name="connsiteY1" fmla="*/ 170067 h 176596"/>
                  <a:gd name="connsiteX2" fmla="*/ 0 w 124260"/>
                  <a:gd name="connsiteY2" fmla="*/ 6529 h 176596"/>
                  <a:gd name="connsiteX3" fmla="*/ 6529 w 124260"/>
                  <a:gd name="connsiteY3" fmla="*/ 0 h 176596"/>
                  <a:gd name="connsiteX4" fmla="*/ 117731 w 124260"/>
                  <a:gd name="connsiteY4" fmla="*/ 0 h 176596"/>
                  <a:gd name="connsiteX5" fmla="*/ 124260 w 124260"/>
                  <a:gd name="connsiteY5" fmla="*/ 6529 h 176596"/>
                  <a:gd name="connsiteX6" fmla="*/ 117731 w 124260"/>
                  <a:gd name="connsiteY6" fmla="*/ 13059 h 176596"/>
                  <a:gd name="connsiteX7" fmla="*/ 13059 w 124260"/>
                  <a:gd name="connsiteY7" fmla="*/ 13059 h 176596"/>
                  <a:gd name="connsiteX8" fmla="*/ 13059 w 124260"/>
                  <a:gd name="connsiteY8" fmla="*/ 170067 h 176596"/>
                  <a:gd name="connsiteX9" fmla="*/ 6529 w 124260"/>
                  <a:gd name="connsiteY9" fmla="*/ 176596 h 17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260" h="176596">
                    <a:moveTo>
                      <a:pt x="6529" y="176596"/>
                    </a:moveTo>
                    <a:cubicBezTo>
                      <a:pt x="2922" y="176596"/>
                      <a:pt x="0" y="173675"/>
                      <a:pt x="0" y="170067"/>
                    </a:cubicBezTo>
                    <a:lnTo>
                      <a:pt x="0" y="6529"/>
                    </a:lnTo>
                    <a:cubicBezTo>
                      <a:pt x="0" y="2922"/>
                      <a:pt x="2922" y="0"/>
                      <a:pt x="6529" y="0"/>
                    </a:cubicBezTo>
                    <a:lnTo>
                      <a:pt x="117731" y="0"/>
                    </a:lnTo>
                    <a:cubicBezTo>
                      <a:pt x="121339" y="0"/>
                      <a:pt x="124260" y="2922"/>
                      <a:pt x="124260" y="6529"/>
                    </a:cubicBezTo>
                    <a:cubicBezTo>
                      <a:pt x="124260" y="10137"/>
                      <a:pt x="121339" y="13059"/>
                      <a:pt x="117731" y="13059"/>
                    </a:cubicBezTo>
                    <a:lnTo>
                      <a:pt x="13059" y="13059"/>
                    </a:lnTo>
                    <a:lnTo>
                      <a:pt x="13059" y="170067"/>
                    </a:lnTo>
                    <a:cubicBezTo>
                      <a:pt x="13084" y="173675"/>
                      <a:pt x="10162" y="176596"/>
                      <a:pt x="6529" y="176596"/>
                    </a:cubicBezTo>
                    <a:close/>
                  </a:path>
                </a:pathLst>
              </a:custGeom>
              <a:solidFill>
                <a:schemeClr val="tx2"/>
              </a:solidFill>
              <a:ln w="2536" cap="flat">
                <a:noFill/>
                <a:prstDash val="solid"/>
                <a:miter/>
              </a:ln>
            </p:spPr>
            <p:txBody>
              <a:bodyPr rtlCol="0" anchor="ctr"/>
              <a:lstStyle/>
              <a:p>
                <a:endParaRPr lang="en-GB" dirty="0"/>
              </a:p>
            </p:txBody>
          </p:sp>
          <p:sp>
            <p:nvSpPr>
              <p:cNvPr id="556" name="Freihandform: Form 489">
                <a:extLst>
                  <a:ext uri="{FF2B5EF4-FFF2-40B4-BE49-F238E27FC236}">
                    <a16:creationId xmlns:a16="http://schemas.microsoft.com/office/drawing/2014/main" id="{BE6D52F5-7F64-49AE-8017-100917544E28}"/>
                  </a:ext>
                </a:extLst>
              </p:cNvPr>
              <p:cNvSpPr/>
              <p:nvPr/>
            </p:nvSpPr>
            <p:spPr>
              <a:xfrm>
                <a:off x="922473" y="4301286"/>
                <a:ext cx="143898" cy="13084"/>
              </a:xfrm>
              <a:custGeom>
                <a:avLst/>
                <a:gdLst>
                  <a:gd name="connsiteX0" fmla="*/ 137370 w 143898"/>
                  <a:gd name="connsiteY0" fmla="*/ 13084 h 13084"/>
                  <a:gd name="connsiteX1" fmla="*/ 137370 w 143898"/>
                  <a:gd name="connsiteY1" fmla="*/ 13084 h 13084"/>
                  <a:gd name="connsiteX2" fmla="*/ 6529 w 143898"/>
                  <a:gd name="connsiteY2" fmla="*/ 13059 h 13084"/>
                  <a:gd name="connsiteX3" fmla="*/ 0 w 143898"/>
                  <a:gd name="connsiteY3" fmla="*/ 6529 h 13084"/>
                  <a:gd name="connsiteX4" fmla="*/ 6529 w 143898"/>
                  <a:gd name="connsiteY4" fmla="*/ 0 h 13084"/>
                  <a:gd name="connsiteX5" fmla="*/ 6529 w 143898"/>
                  <a:gd name="connsiteY5" fmla="*/ 0 h 13084"/>
                  <a:gd name="connsiteX6" fmla="*/ 137370 w 143898"/>
                  <a:gd name="connsiteY6" fmla="*/ 25 h 13084"/>
                  <a:gd name="connsiteX7" fmla="*/ 143899 w 143898"/>
                  <a:gd name="connsiteY7" fmla="*/ 6555 h 13084"/>
                  <a:gd name="connsiteX8" fmla="*/ 137370 w 143898"/>
                  <a:gd name="connsiteY8" fmla="*/ 13084 h 13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898" h="13084">
                    <a:moveTo>
                      <a:pt x="137370" y="13084"/>
                    </a:moveTo>
                    <a:lnTo>
                      <a:pt x="137370" y="13084"/>
                    </a:lnTo>
                    <a:lnTo>
                      <a:pt x="6529" y="13059"/>
                    </a:lnTo>
                    <a:cubicBezTo>
                      <a:pt x="2922" y="13059"/>
                      <a:pt x="0" y="10137"/>
                      <a:pt x="0" y="6529"/>
                    </a:cubicBezTo>
                    <a:cubicBezTo>
                      <a:pt x="0" y="2922"/>
                      <a:pt x="2922" y="0"/>
                      <a:pt x="6529" y="0"/>
                    </a:cubicBezTo>
                    <a:lnTo>
                      <a:pt x="6529" y="0"/>
                    </a:lnTo>
                    <a:lnTo>
                      <a:pt x="137370" y="25"/>
                    </a:lnTo>
                    <a:cubicBezTo>
                      <a:pt x="140977" y="25"/>
                      <a:pt x="143899" y="2947"/>
                      <a:pt x="143899" y="6555"/>
                    </a:cubicBezTo>
                    <a:cubicBezTo>
                      <a:pt x="143899" y="10162"/>
                      <a:pt x="140977" y="13084"/>
                      <a:pt x="137370" y="13084"/>
                    </a:cubicBezTo>
                    <a:close/>
                  </a:path>
                </a:pathLst>
              </a:custGeom>
              <a:solidFill>
                <a:schemeClr val="tx2"/>
              </a:solidFill>
              <a:ln w="2536" cap="flat">
                <a:noFill/>
                <a:prstDash val="solid"/>
                <a:miter/>
              </a:ln>
            </p:spPr>
            <p:txBody>
              <a:bodyPr rtlCol="0" anchor="ctr"/>
              <a:lstStyle/>
              <a:p>
                <a:endParaRPr lang="en-GB" dirty="0"/>
              </a:p>
            </p:txBody>
          </p:sp>
          <p:sp>
            <p:nvSpPr>
              <p:cNvPr id="557" name="Freihandform: Form 490">
                <a:extLst>
                  <a:ext uri="{FF2B5EF4-FFF2-40B4-BE49-F238E27FC236}">
                    <a16:creationId xmlns:a16="http://schemas.microsoft.com/office/drawing/2014/main" id="{8CF99B65-C9D8-4C18-8CF5-839895F59D05}"/>
                  </a:ext>
                </a:extLst>
              </p:cNvPr>
              <p:cNvSpPr/>
              <p:nvPr/>
            </p:nvSpPr>
            <p:spPr>
              <a:xfrm>
                <a:off x="1184128" y="4451765"/>
                <a:ext cx="13058" cy="71924"/>
              </a:xfrm>
              <a:custGeom>
                <a:avLst/>
                <a:gdLst>
                  <a:gd name="connsiteX0" fmla="*/ 6529 w 13058"/>
                  <a:gd name="connsiteY0" fmla="*/ 71924 h 71924"/>
                  <a:gd name="connsiteX1" fmla="*/ 0 w 13058"/>
                  <a:gd name="connsiteY1" fmla="*/ 65395 h 71924"/>
                  <a:gd name="connsiteX2" fmla="*/ 0 w 13058"/>
                  <a:gd name="connsiteY2" fmla="*/ 6529 h 71924"/>
                  <a:gd name="connsiteX3" fmla="*/ 6529 w 13058"/>
                  <a:gd name="connsiteY3" fmla="*/ 0 h 71924"/>
                  <a:gd name="connsiteX4" fmla="*/ 13059 w 13058"/>
                  <a:gd name="connsiteY4" fmla="*/ 6529 h 71924"/>
                  <a:gd name="connsiteX5" fmla="*/ 13059 w 13058"/>
                  <a:gd name="connsiteY5" fmla="*/ 65395 h 71924"/>
                  <a:gd name="connsiteX6" fmla="*/ 6529 w 13058"/>
                  <a:gd name="connsiteY6" fmla="*/ 71924 h 7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8" h="71924">
                    <a:moveTo>
                      <a:pt x="6529" y="71924"/>
                    </a:moveTo>
                    <a:cubicBezTo>
                      <a:pt x="2922" y="71924"/>
                      <a:pt x="0" y="69002"/>
                      <a:pt x="0" y="65395"/>
                    </a:cubicBezTo>
                    <a:lnTo>
                      <a:pt x="0" y="6529"/>
                    </a:lnTo>
                    <a:cubicBezTo>
                      <a:pt x="0" y="2922"/>
                      <a:pt x="2922" y="0"/>
                      <a:pt x="6529" y="0"/>
                    </a:cubicBezTo>
                    <a:cubicBezTo>
                      <a:pt x="10137" y="0"/>
                      <a:pt x="13059" y="2922"/>
                      <a:pt x="13059" y="6529"/>
                    </a:cubicBezTo>
                    <a:lnTo>
                      <a:pt x="13059" y="65395"/>
                    </a:lnTo>
                    <a:cubicBezTo>
                      <a:pt x="13084" y="69002"/>
                      <a:pt x="10137" y="71924"/>
                      <a:pt x="6529" y="71924"/>
                    </a:cubicBezTo>
                    <a:close/>
                  </a:path>
                </a:pathLst>
              </a:custGeom>
              <a:solidFill>
                <a:schemeClr val="tx2"/>
              </a:solidFill>
              <a:ln w="2536" cap="flat">
                <a:noFill/>
                <a:prstDash val="solid"/>
                <a:miter/>
              </a:ln>
            </p:spPr>
            <p:txBody>
              <a:bodyPr rtlCol="0" anchor="ctr"/>
              <a:lstStyle/>
              <a:p>
                <a:endParaRPr lang="en-GB" dirty="0"/>
              </a:p>
            </p:txBody>
          </p:sp>
          <p:sp>
            <p:nvSpPr>
              <p:cNvPr id="558" name="Freihandform: Form 491">
                <a:extLst>
                  <a:ext uri="{FF2B5EF4-FFF2-40B4-BE49-F238E27FC236}">
                    <a16:creationId xmlns:a16="http://schemas.microsoft.com/office/drawing/2014/main" id="{391AFC3D-E3BE-47B3-95AA-7ED227CF6FEC}"/>
                  </a:ext>
                </a:extLst>
              </p:cNvPr>
              <p:cNvSpPr/>
              <p:nvPr/>
            </p:nvSpPr>
            <p:spPr>
              <a:xfrm>
                <a:off x="1157960" y="4451765"/>
                <a:ext cx="52310" cy="13058"/>
              </a:xfrm>
              <a:custGeom>
                <a:avLst/>
                <a:gdLst>
                  <a:gd name="connsiteX0" fmla="*/ 45781 w 52310"/>
                  <a:gd name="connsiteY0" fmla="*/ 13059 h 13058"/>
                  <a:gd name="connsiteX1" fmla="*/ 6529 w 52310"/>
                  <a:gd name="connsiteY1" fmla="*/ 13059 h 13058"/>
                  <a:gd name="connsiteX2" fmla="*/ 0 w 52310"/>
                  <a:gd name="connsiteY2" fmla="*/ 6529 h 13058"/>
                  <a:gd name="connsiteX3" fmla="*/ 6529 w 52310"/>
                  <a:gd name="connsiteY3" fmla="*/ 0 h 13058"/>
                  <a:gd name="connsiteX4" fmla="*/ 45781 w 52310"/>
                  <a:gd name="connsiteY4" fmla="*/ 0 h 13058"/>
                  <a:gd name="connsiteX5" fmla="*/ 52311 w 52310"/>
                  <a:gd name="connsiteY5" fmla="*/ 6529 h 13058"/>
                  <a:gd name="connsiteX6" fmla="*/ 45781 w 52310"/>
                  <a:gd name="connsiteY6" fmla="*/ 13059 h 13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310" h="13058">
                    <a:moveTo>
                      <a:pt x="45781" y="13059"/>
                    </a:moveTo>
                    <a:lnTo>
                      <a:pt x="6529" y="13059"/>
                    </a:lnTo>
                    <a:cubicBezTo>
                      <a:pt x="2922" y="13059"/>
                      <a:pt x="0" y="10137"/>
                      <a:pt x="0" y="6529"/>
                    </a:cubicBezTo>
                    <a:cubicBezTo>
                      <a:pt x="0" y="2922"/>
                      <a:pt x="2922" y="0"/>
                      <a:pt x="6529" y="0"/>
                    </a:cubicBezTo>
                    <a:lnTo>
                      <a:pt x="45781" y="0"/>
                    </a:lnTo>
                    <a:cubicBezTo>
                      <a:pt x="49389" y="0"/>
                      <a:pt x="52311" y="2922"/>
                      <a:pt x="52311" y="6529"/>
                    </a:cubicBezTo>
                    <a:cubicBezTo>
                      <a:pt x="52336" y="10137"/>
                      <a:pt x="49389" y="13059"/>
                      <a:pt x="45781" y="13059"/>
                    </a:cubicBezTo>
                    <a:close/>
                  </a:path>
                </a:pathLst>
              </a:custGeom>
              <a:solidFill>
                <a:schemeClr val="tx2"/>
              </a:solidFill>
              <a:ln w="2536" cap="flat">
                <a:noFill/>
                <a:prstDash val="solid"/>
                <a:miter/>
              </a:ln>
            </p:spPr>
            <p:txBody>
              <a:bodyPr rtlCol="0" anchor="ctr"/>
              <a:lstStyle/>
              <a:p>
                <a:endParaRPr lang="en-GB" dirty="0"/>
              </a:p>
            </p:txBody>
          </p:sp>
          <p:sp>
            <p:nvSpPr>
              <p:cNvPr id="559" name="Freihandform: Form 492">
                <a:extLst>
                  <a:ext uri="{FF2B5EF4-FFF2-40B4-BE49-F238E27FC236}">
                    <a16:creationId xmlns:a16="http://schemas.microsoft.com/office/drawing/2014/main" id="{42E158FC-E6B0-4F77-8F7C-B4BDDE01F5F2}"/>
                  </a:ext>
                </a:extLst>
              </p:cNvPr>
              <p:cNvSpPr/>
              <p:nvPr/>
            </p:nvSpPr>
            <p:spPr>
              <a:xfrm>
                <a:off x="1086036" y="4268589"/>
                <a:ext cx="45755" cy="39226"/>
              </a:xfrm>
              <a:custGeom>
                <a:avLst/>
                <a:gdLst>
                  <a:gd name="connsiteX0" fmla="*/ 39201 w 45755"/>
                  <a:gd name="connsiteY0" fmla="*/ 39227 h 39226"/>
                  <a:gd name="connsiteX1" fmla="*/ 32672 w 45755"/>
                  <a:gd name="connsiteY1" fmla="*/ 32697 h 39226"/>
                  <a:gd name="connsiteX2" fmla="*/ 32672 w 45755"/>
                  <a:gd name="connsiteY2" fmla="*/ 13084 h 39226"/>
                  <a:gd name="connsiteX3" fmla="*/ 13059 w 45755"/>
                  <a:gd name="connsiteY3" fmla="*/ 13084 h 39226"/>
                  <a:gd name="connsiteX4" fmla="*/ 13059 w 45755"/>
                  <a:gd name="connsiteY4" fmla="*/ 32697 h 39226"/>
                  <a:gd name="connsiteX5" fmla="*/ 6529 w 45755"/>
                  <a:gd name="connsiteY5" fmla="*/ 39227 h 39226"/>
                  <a:gd name="connsiteX6" fmla="*/ 0 w 45755"/>
                  <a:gd name="connsiteY6" fmla="*/ 32697 h 39226"/>
                  <a:gd name="connsiteX7" fmla="*/ 0 w 45755"/>
                  <a:gd name="connsiteY7" fmla="*/ 6529 h 39226"/>
                  <a:gd name="connsiteX8" fmla="*/ 6529 w 45755"/>
                  <a:gd name="connsiteY8" fmla="*/ 0 h 39226"/>
                  <a:gd name="connsiteX9" fmla="*/ 39227 w 45755"/>
                  <a:gd name="connsiteY9" fmla="*/ 0 h 39226"/>
                  <a:gd name="connsiteX10" fmla="*/ 45756 w 45755"/>
                  <a:gd name="connsiteY10" fmla="*/ 6529 h 39226"/>
                  <a:gd name="connsiteX11" fmla="*/ 45756 w 45755"/>
                  <a:gd name="connsiteY11" fmla="*/ 32697 h 39226"/>
                  <a:gd name="connsiteX12" fmla="*/ 39201 w 45755"/>
                  <a:gd name="connsiteY12" fmla="*/ 39227 h 3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39226">
                    <a:moveTo>
                      <a:pt x="39201" y="39227"/>
                    </a:moveTo>
                    <a:cubicBezTo>
                      <a:pt x="35594" y="39227"/>
                      <a:pt x="32672" y="36305"/>
                      <a:pt x="32672" y="32697"/>
                    </a:cubicBezTo>
                    <a:lnTo>
                      <a:pt x="32672" y="13084"/>
                    </a:lnTo>
                    <a:lnTo>
                      <a:pt x="13059" y="13084"/>
                    </a:lnTo>
                    <a:lnTo>
                      <a:pt x="13059" y="32697"/>
                    </a:lnTo>
                    <a:cubicBezTo>
                      <a:pt x="13059" y="36305"/>
                      <a:pt x="10137" y="39227"/>
                      <a:pt x="6529" y="39227"/>
                    </a:cubicBezTo>
                    <a:cubicBezTo>
                      <a:pt x="2922" y="39227"/>
                      <a:pt x="0" y="36305"/>
                      <a:pt x="0" y="32697"/>
                    </a:cubicBezTo>
                    <a:lnTo>
                      <a:pt x="0" y="6529"/>
                    </a:lnTo>
                    <a:cubicBezTo>
                      <a:pt x="0" y="2922"/>
                      <a:pt x="2922" y="0"/>
                      <a:pt x="6529" y="0"/>
                    </a:cubicBezTo>
                    <a:lnTo>
                      <a:pt x="39227" y="0"/>
                    </a:lnTo>
                    <a:cubicBezTo>
                      <a:pt x="42834" y="0"/>
                      <a:pt x="45756" y="2922"/>
                      <a:pt x="45756" y="6529"/>
                    </a:cubicBezTo>
                    <a:lnTo>
                      <a:pt x="45756" y="32697"/>
                    </a:lnTo>
                    <a:cubicBezTo>
                      <a:pt x="45756" y="36305"/>
                      <a:pt x="42834" y="39227"/>
                      <a:pt x="39201" y="39227"/>
                    </a:cubicBezTo>
                    <a:close/>
                  </a:path>
                </a:pathLst>
              </a:custGeom>
              <a:solidFill>
                <a:schemeClr val="tx2"/>
              </a:solidFill>
              <a:ln w="2536" cap="flat">
                <a:noFill/>
                <a:prstDash val="solid"/>
                <a:miter/>
              </a:ln>
            </p:spPr>
            <p:txBody>
              <a:bodyPr rtlCol="0" anchor="ctr"/>
              <a:lstStyle/>
              <a:p>
                <a:endParaRPr lang="en-GB" dirty="0"/>
              </a:p>
            </p:txBody>
          </p:sp>
          <p:sp>
            <p:nvSpPr>
              <p:cNvPr id="560" name="Freihandform: Form 493">
                <a:extLst>
                  <a:ext uri="{FF2B5EF4-FFF2-40B4-BE49-F238E27FC236}">
                    <a16:creationId xmlns:a16="http://schemas.microsoft.com/office/drawing/2014/main" id="{A376F6DE-8B10-47A2-A90A-4668D5B90D41}"/>
                  </a:ext>
                </a:extLst>
              </p:cNvPr>
              <p:cNvSpPr/>
              <p:nvPr/>
            </p:nvSpPr>
            <p:spPr>
              <a:xfrm>
                <a:off x="1171095" y="4268589"/>
                <a:ext cx="45755" cy="39226"/>
              </a:xfrm>
              <a:custGeom>
                <a:avLst/>
                <a:gdLst>
                  <a:gd name="connsiteX0" fmla="*/ 39201 w 45755"/>
                  <a:gd name="connsiteY0" fmla="*/ 39227 h 39226"/>
                  <a:gd name="connsiteX1" fmla="*/ 32672 w 45755"/>
                  <a:gd name="connsiteY1" fmla="*/ 32697 h 39226"/>
                  <a:gd name="connsiteX2" fmla="*/ 32672 w 45755"/>
                  <a:gd name="connsiteY2" fmla="*/ 13084 h 39226"/>
                  <a:gd name="connsiteX3" fmla="*/ 13059 w 45755"/>
                  <a:gd name="connsiteY3" fmla="*/ 13084 h 39226"/>
                  <a:gd name="connsiteX4" fmla="*/ 13059 w 45755"/>
                  <a:gd name="connsiteY4" fmla="*/ 32697 h 39226"/>
                  <a:gd name="connsiteX5" fmla="*/ 6529 w 45755"/>
                  <a:gd name="connsiteY5" fmla="*/ 39227 h 39226"/>
                  <a:gd name="connsiteX6" fmla="*/ 0 w 45755"/>
                  <a:gd name="connsiteY6" fmla="*/ 32697 h 39226"/>
                  <a:gd name="connsiteX7" fmla="*/ 0 w 45755"/>
                  <a:gd name="connsiteY7" fmla="*/ 6529 h 39226"/>
                  <a:gd name="connsiteX8" fmla="*/ 6529 w 45755"/>
                  <a:gd name="connsiteY8" fmla="*/ 0 h 39226"/>
                  <a:gd name="connsiteX9" fmla="*/ 39227 w 45755"/>
                  <a:gd name="connsiteY9" fmla="*/ 0 h 39226"/>
                  <a:gd name="connsiteX10" fmla="*/ 45756 w 45755"/>
                  <a:gd name="connsiteY10" fmla="*/ 6529 h 39226"/>
                  <a:gd name="connsiteX11" fmla="*/ 45756 w 45755"/>
                  <a:gd name="connsiteY11" fmla="*/ 32697 h 39226"/>
                  <a:gd name="connsiteX12" fmla="*/ 39201 w 45755"/>
                  <a:gd name="connsiteY12" fmla="*/ 39227 h 3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39226">
                    <a:moveTo>
                      <a:pt x="39201" y="39227"/>
                    </a:moveTo>
                    <a:cubicBezTo>
                      <a:pt x="35594" y="39227"/>
                      <a:pt x="32672" y="36305"/>
                      <a:pt x="32672" y="32697"/>
                    </a:cubicBezTo>
                    <a:lnTo>
                      <a:pt x="32672" y="13084"/>
                    </a:lnTo>
                    <a:lnTo>
                      <a:pt x="13059" y="13084"/>
                    </a:lnTo>
                    <a:lnTo>
                      <a:pt x="13059" y="32697"/>
                    </a:lnTo>
                    <a:cubicBezTo>
                      <a:pt x="13059" y="36305"/>
                      <a:pt x="10137" y="39227"/>
                      <a:pt x="6529" y="39227"/>
                    </a:cubicBezTo>
                    <a:cubicBezTo>
                      <a:pt x="2922" y="39227"/>
                      <a:pt x="0" y="36305"/>
                      <a:pt x="0" y="32697"/>
                    </a:cubicBezTo>
                    <a:lnTo>
                      <a:pt x="0" y="6529"/>
                    </a:lnTo>
                    <a:cubicBezTo>
                      <a:pt x="0" y="2922"/>
                      <a:pt x="2922" y="0"/>
                      <a:pt x="6529" y="0"/>
                    </a:cubicBezTo>
                    <a:lnTo>
                      <a:pt x="39227" y="0"/>
                    </a:lnTo>
                    <a:cubicBezTo>
                      <a:pt x="42834" y="0"/>
                      <a:pt x="45756" y="2922"/>
                      <a:pt x="45756" y="6529"/>
                    </a:cubicBezTo>
                    <a:lnTo>
                      <a:pt x="45756" y="32697"/>
                    </a:lnTo>
                    <a:cubicBezTo>
                      <a:pt x="45731" y="36305"/>
                      <a:pt x="42809" y="39227"/>
                      <a:pt x="39201" y="39227"/>
                    </a:cubicBezTo>
                    <a:close/>
                  </a:path>
                </a:pathLst>
              </a:custGeom>
              <a:solidFill>
                <a:schemeClr val="tx2"/>
              </a:solidFill>
              <a:ln w="2536" cap="flat">
                <a:noFill/>
                <a:prstDash val="solid"/>
                <a:miter/>
              </a:ln>
            </p:spPr>
            <p:txBody>
              <a:bodyPr rtlCol="0" anchor="ctr"/>
              <a:lstStyle/>
              <a:p>
                <a:endParaRPr lang="en-GB" dirty="0"/>
              </a:p>
            </p:txBody>
          </p:sp>
          <p:grpSp>
            <p:nvGrpSpPr>
              <p:cNvPr id="561" name="Grafik 301">
                <a:extLst>
                  <a:ext uri="{FF2B5EF4-FFF2-40B4-BE49-F238E27FC236}">
                    <a16:creationId xmlns:a16="http://schemas.microsoft.com/office/drawing/2014/main" id="{5593B823-4FC5-4406-9BE4-48B6C84990A5}"/>
                  </a:ext>
                </a:extLst>
              </p:cNvPr>
              <p:cNvGrpSpPr/>
              <p:nvPr/>
            </p:nvGrpSpPr>
            <p:grpSpPr>
              <a:xfrm>
                <a:off x="1275767" y="4353623"/>
                <a:ext cx="45756" cy="117731"/>
                <a:chOff x="1275767" y="4353623"/>
                <a:chExt cx="45756" cy="117731"/>
              </a:xfrm>
              <a:solidFill>
                <a:schemeClr val="tx2"/>
              </a:solidFill>
            </p:grpSpPr>
            <p:sp>
              <p:nvSpPr>
                <p:cNvPr id="566" name="Freihandform: Form 495">
                  <a:extLst>
                    <a:ext uri="{FF2B5EF4-FFF2-40B4-BE49-F238E27FC236}">
                      <a16:creationId xmlns:a16="http://schemas.microsoft.com/office/drawing/2014/main" id="{2E189320-08BC-4FF0-BC46-B00D87CE01EF}"/>
                    </a:ext>
                  </a:extLst>
                </p:cNvPr>
                <p:cNvSpPr/>
                <p:nvPr/>
              </p:nvSpPr>
              <p:spPr>
                <a:xfrm>
                  <a:off x="1275767" y="4353623"/>
                  <a:ext cx="45756" cy="39226"/>
                </a:xfrm>
                <a:custGeom>
                  <a:avLst/>
                  <a:gdLst>
                    <a:gd name="connsiteX0" fmla="*/ 39201 w 45756"/>
                    <a:gd name="connsiteY0" fmla="*/ 39227 h 39226"/>
                    <a:gd name="connsiteX1" fmla="*/ 32672 w 45756"/>
                    <a:gd name="connsiteY1" fmla="*/ 32697 h 39226"/>
                    <a:gd name="connsiteX2" fmla="*/ 32672 w 45756"/>
                    <a:gd name="connsiteY2" fmla="*/ 13084 h 39226"/>
                    <a:gd name="connsiteX3" fmla="*/ 13059 w 45756"/>
                    <a:gd name="connsiteY3" fmla="*/ 13084 h 39226"/>
                    <a:gd name="connsiteX4" fmla="*/ 13059 w 45756"/>
                    <a:gd name="connsiteY4" fmla="*/ 32697 h 39226"/>
                    <a:gd name="connsiteX5" fmla="*/ 6529 w 45756"/>
                    <a:gd name="connsiteY5" fmla="*/ 39227 h 39226"/>
                    <a:gd name="connsiteX6" fmla="*/ 0 w 45756"/>
                    <a:gd name="connsiteY6" fmla="*/ 32697 h 39226"/>
                    <a:gd name="connsiteX7" fmla="*/ 0 w 45756"/>
                    <a:gd name="connsiteY7" fmla="*/ 6529 h 39226"/>
                    <a:gd name="connsiteX8" fmla="*/ 6529 w 45756"/>
                    <a:gd name="connsiteY8" fmla="*/ 0 h 39226"/>
                    <a:gd name="connsiteX9" fmla="*/ 39227 w 45756"/>
                    <a:gd name="connsiteY9" fmla="*/ 0 h 39226"/>
                    <a:gd name="connsiteX10" fmla="*/ 45756 w 45756"/>
                    <a:gd name="connsiteY10" fmla="*/ 6529 h 39226"/>
                    <a:gd name="connsiteX11" fmla="*/ 45756 w 45756"/>
                    <a:gd name="connsiteY11" fmla="*/ 32697 h 39226"/>
                    <a:gd name="connsiteX12" fmla="*/ 39201 w 45756"/>
                    <a:gd name="connsiteY12" fmla="*/ 39227 h 3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6" h="39226">
                      <a:moveTo>
                        <a:pt x="39201" y="39227"/>
                      </a:moveTo>
                      <a:cubicBezTo>
                        <a:pt x="35594" y="39227"/>
                        <a:pt x="32672" y="36305"/>
                        <a:pt x="32672" y="32697"/>
                      </a:cubicBezTo>
                      <a:lnTo>
                        <a:pt x="32672" y="13084"/>
                      </a:lnTo>
                      <a:lnTo>
                        <a:pt x="13059" y="13084"/>
                      </a:lnTo>
                      <a:lnTo>
                        <a:pt x="13059" y="32697"/>
                      </a:lnTo>
                      <a:cubicBezTo>
                        <a:pt x="13059" y="36305"/>
                        <a:pt x="10137" y="39227"/>
                        <a:pt x="6529" y="39227"/>
                      </a:cubicBezTo>
                      <a:cubicBezTo>
                        <a:pt x="2922" y="39227"/>
                        <a:pt x="0" y="36305"/>
                        <a:pt x="0" y="32697"/>
                      </a:cubicBezTo>
                      <a:lnTo>
                        <a:pt x="0" y="6529"/>
                      </a:lnTo>
                      <a:cubicBezTo>
                        <a:pt x="0" y="2922"/>
                        <a:pt x="2922" y="0"/>
                        <a:pt x="6529" y="0"/>
                      </a:cubicBezTo>
                      <a:lnTo>
                        <a:pt x="39227" y="0"/>
                      </a:lnTo>
                      <a:cubicBezTo>
                        <a:pt x="42834" y="0"/>
                        <a:pt x="45756" y="2922"/>
                        <a:pt x="45756" y="6529"/>
                      </a:cubicBezTo>
                      <a:lnTo>
                        <a:pt x="45756" y="32697"/>
                      </a:lnTo>
                      <a:cubicBezTo>
                        <a:pt x="45731" y="36305"/>
                        <a:pt x="42809" y="39227"/>
                        <a:pt x="39201" y="39227"/>
                      </a:cubicBezTo>
                      <a:close/>
                    </a:path>
                  </a:pathLst>
                </a:custGeom>
                <a:solidFill>
                  <a:schemeClr val="tx2"/>
                </a:solidFill>
                <a:ln w="2536" cap="flat">
                  <a:noFill/>
                  <a:prstDash val="solid"/>
                  <a:miter/>
                </a:ln>
              </p:spPr>
              <p:txBody>
                <a:bodyPr rtlCol="0" anchor="ctr"/>
                <a:lstStyle/>
                <a:p>
                  <a:endParaRPr lang="en-GB" dirty="0"/>
                </a:p>
              </p:txBody>
            </p:sp>
            <p:sp>
              <p:nvSpPr>
                <p:cNvPr id="567" name="Freihandform: Form 496">
                  <a:extLst>
                    <a:ext uri="{FF2B5EF4-FFF2-40B4-BE49-F238E27FC236}">
                      <a16:creationId xmlns:a16="http://schemas.microsoft.com/office/drawing/2014/main" id="{1C817AF5-A363-4A86-A30B-2FF5AF57B77E}"/>
                    </a:ext>
                  </a:extLst>
                </p:cNvPr>
                <p:cNvSpPr/>
                <p:nvPr/>
              </p:nvSpPr>
              <p:spPr>
                <a:xfrm>
                  <a:off x="1275767" y="4432127"/>
                  <a:ext cx="45756" cy="39226"/>
                </a:xfrm>
                <a:custGeom>
                  <a:avLst/>
                  <a:gdLst>
                    <a:gd name="connsiteX0" fmla="*/ 39201 w 45756"/>
                    <a:gd name="connsiteY0" fmla="*/ 39227 h 39226"/>
                    <a:gd name="connsiteX1" fmla="*/ 32672 w 45756"/>
                    <a:gd name="connsiteY1" fmla="*/ 32697 h 39226"/>
                    <a:gd name="connsiteX2" fmla="*/ 32672 w 45756"/>
                    <a:gd name="connsiteY2" fmla="*/ 13084 h 39226"/>
                    <a:gd name="connsiteX3" fmla="*/ 13059 w 45756"/>
                    <a:gd name="connsiteY3" fmla="*/ 13084 h 39226"/>
                    <a:gd name="connsiteX4" fmla="*/ 13059 w 45756"/>
                    <a:gd name="connsiteY4" fmla="*/ 32697 h 39226"/>
                    <a:gd name="connsiteX5" fmla="*/ 6529 w 45756"/>
                    <a:gd name="connsiteY5" fmla="*/ 39227 h 39226"/>
                    <a:gd name="connsiteX6" fmla="*/ 0 w 45756"/>
                    <a:gd name="connsiteY6" fmla="*/ 32697 h 39226"/>
                    <a:gd name="connsiteX7" fmla="*/ 0 w 45756"/>
                    <a:gd name="connsiteY7" fmla="*/ 6529 h 39226"/>
                    <a:gd name="connsiteX8" fmla="*/ 6529 w 45756"/>
                    <a:gd name="connsiteY8" fmla="*/ 0 h 39226"/>
                    <a:gd name="connsiteX9" fmla="*/ 39227 w 45756"/>
                    <a:gd name="connsiteY9" fmla="*/ 0 h 39226"/>
                    <a:gd name="connsiteX10" fmla="*/ 45756 w 45756"/>
                    <a:gd name="connsiteY10" fmla="*/ 6529 h 39226"/>
                    <a:gd name="connsiteX11" fmla="*/ 45756 w 45756"/>
                    <a:gd name="connsiteY11" fmla="*/ 32697 h 39226"/>
                    <a:gd name="connsiteX12" fmla="*/ 39201 w 45756"/>
                    <a:gd name="connsiteY12" fmla="*/ 39227 h 3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6" h="39226">
                      <a:moveTo>
                        <a:pt x="39201" y="39227"/>
                      </a:moveTo>
                      <a:cubicBezTo>
                        <a:pt x="35594" y="39227"/>
                        <a:pt x="32672" y="36305"/>
                        <a:pt x="32672" y="32697"/>
                      </a:cubicBezTo>
                      <a:lnTo>
                        <a:pt x="32672" y="13084"/>
                      </a:lnTo>
                      <a:lnTo>
                        <a:pt x="13059" y="13084"/>
                      </a:lnTo>
                      <a:lnTo>
                        <a:pt x="13059" y="32697"/>
                      </a:lnTo>
                      <a:cubicBezTo>
                        <a:pt x="13059" y="36305"/>
                        <a:pt x="10137" y="39227"/>
                        <a:pt x="6529" y="39227"/>
                      </a:cubicBezTo>
                      <a:cubicBezTo>
                        <a:pt x="2922" y="39227"/>
                        <a:pt x="0" y="36305"/>
                        <a:pt x="0" y="32697"/>
                      </a:cubicBezTo>
                      <a:lnTo>
                        <a:pt x="0" y="6529"/>
                      </a:lnTo>
                      <a:cubicBezTo>
                        <a:pt x="0" y="2922"/>
                        <a:pt x="2922" y="0"/>
                        <a:pt x="6529" y="0"/>
                      </a:cubicBezTo>
                      <a:lnTo>
                        <a:pt x="39227" y="0"/>
                      </a:lnTo>
                      <a:cubicBezTo>
                        <a:pt x="42834" y="0"/>
                        <a:pt x="45756" y="2922"/>
                        <a:pt x="45756" y="6529"/>
                      </a:cubicBezTo>
                      <a:lnTo>
                        <a:pt x="45756" y="32697"/>
                      </a:lnTo>
                      <a:cubicBezTo>
                        <a:pt x="45731" y="36305"/>
                        <a:pt x="42809" y="39227"/>
                        <a:pt x="39201" y="39227"/>
                      </a:cubicBezTo>
                      <a:close/>
                    </a:path>
                  </a:pathLst>
                </a:custGeom>
                <a:solidFill>
                  <a:schemeClr val="tx2"/>
                </a:solidFill>
                <a:ln w="2536" cap="flat">
                  <a:noFill/>
                  <a:prstDash val="solid"/>
                  <a:miter/>
                </a:ln>
              </p:spPr>
              <p:txBody>
                <a:bodyPr rtlCol="0" anchor="ctr"/>
                <a:lstStyle/>
                <a:p>
                  <a:endParaRPr lang="en-GB" dirty="0"/>
                </a:p>
              </p:txBody>
            </p:sp>
          </p:grpSp>
          <p:sp>
            <p:nvSpPr>
              <p:cNvPr id="562" name="Freihandform: Form 497">
                <a:extLst>
                  <a:ext uri="{FF2B5EF4-FFF2-40B4-BE49-F238E27FC236}">
                    <a16:creationId xmlns:a16="http://schemas.microsoft.com/office/drawing/2014/main" id="{F10FE796-514B-48E9-A66C-45AC8FD36667}"/>
                  </a:ext>
                </a:extLst>
              </p:cNvPr>
              <p:cNvSpPr/>
              <p:nvPr/>
            </p:nvSpPr>
            <p:spPr>
              <a:xfrm>
                <a:off x="981389" y="4353623"/>
                <a:ext cx="45756" cy="39226"/>
              </a:xfrm>
              <a:custGeom>
                <a:avLst/>
                <a:gdLst>
                  <a:gd name="connsiteX0" fmla="*/ 39201 w 45756"/>
                  <a:gd name="connsiteY0" fmla="*/ 39227 h 39226"/>
                  <a:gd name="connsiteX1" fmla="*/ 32672 w 45756"/>
                  <a:gd name="connsiteY1" fmla="*/ 32697 h 39226"/>
                  <a:gd name="connsiteX2" fmla="*/ 32672 w 45756"/>
                  <a:gd name="connsiteY2" fmla="*/ 13084 h 39226"/>
                  <a:gd name="connsiteX3" fmla="*/ 13059 w 45756"/>
                  <a:gd name="connsiteY3" fmla="*/ 13084 h 39226"/>
                  <a:gd name="connsiteX4" fmla="*/ 13059 w 45756"/>
                  <a:gd name="connsiteY4" fmla="*/ 32697 h 39226"/>
                  <a:gd name="connsiteX5" fmla="*/ 6529 w 45756"/>
                  <a:gd name="connsiteY5" fmla="*/ 39227 h 39226"/>
                  <a:gd name="connsiteX6" fmla="*/ 0 w 45756"/>
                  <a:gd name="connsiteY6" fmla="*/ 32697 h 39226"/>
                  <a:gd name="connsiteX7" fmla="*/ 0 w 45756"/>
                  <a:gd name="connsiteY7" fmla="*/ 6529 h 39226"/>
                  <a:gd name="connsiteX8" fmla="*/ 6529 w 45756"/>
                  <a:gd name="connsiteY8" fmla="*/ 0 h 39226"/>
                  <a:gd name="connsiteX9" fmla="*/ 39227 w 45756"/>
                  <a:gd name="connsiteY9" fmla="*/ 0 h 39226"/>
                  <a:gd name="connsiteX10" fmla="*/ 45756 w 45756"/>
                  <a:gd name="connsiteY10" fmla="*/ 6529 h 39226"/>
                  <a:gd name="connsiteX11" fmla="*/ 45756 w 45756"/>
                  <a:gd name="connsiteY11" fmla="*/ 32697 h 39226"/>
                  <a:gd name="connsiteX12" fmla="*/ 39201 w 45756"/>
                  <a:gd name="connsiteY12" fmla="*/ 39227 h 3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6" h="39226">
                    <a:moveTo>
                      <a:pt x="39201" y="39227"/>
                    </a:moveTo>
                    <a:cubicBezTo>
                      <a:pt x="35594" y="39227"/>
                      <a:pt x="32672" y="36305"/>
                      <a:pt x="32672" y="32697"/>
                    </a:cubicBezTo>
                    <a:lnTo>
                      <a:pt x="32672" y="13084"/>
                    </a:lnTo>
                    <a:lnTo>
                      <a:pt x="13059" y="13084"/>
                    </a:lnTo>
                    <a:lnTo>
                      <a:pt x="13059" y="32697"/>
                    </a:lnTo>
                    <a:cubicBezTo>
                      <a:pt x="13059" y="36305"/>
                      <a:pt x="10137" y="39227"/>
                      <a:pt x="6529" y="39227"/>
                    </a:cubicBezTo>
                    <a:cubicBezTo>
                      <a:pt x="2922" y="39227"/>
                      <a:pt x="0" y="36305"/>
                      <a:pt x="0" y="32697"/>
                    </a:cubicBezTo>
                    <a:lnTo>
                      <a:pt x="0" y="6529"/>
                    </a:lnTo>
                    <a:cubicBezTo>
                      <a:pt x="0" y="2922"/>
                      <a:pt x="2922" y="0"/>
                      <a:pt x="6529" y="0"/>
                    </a:cubicBezTo>
                    <a:lnTo>
                      <a:pt x="39227" y="0"/>
                    </a:lnTo>
                    <a:cubicBezTo>
                      <a:pt x="42834" y="0"/>
                      <a:pt x="45756" y="2922"/>
                      <a:pt x="45756" y="6529"/>
                    </a:cubicBezTo>
                    <a:lnTo>
                      <a:pt x="45756" y="32697"/>
                    </a:lnTo>
                    <a:cubicBezTo>
                      <a:pt x="45731" y="36305"/>
                      <a:pt x="42809" y="39227"/>
                      <a:pt x="39201" y="39227"/>
                    </a:cubicBezTo>
                    <a:close/>
                  </a:path>
                </a:pathLst>
              </a:custGeom>
              <a:solidFill>
                <a:schemeClr val="tx2"/>
              </a:solidFill>
              <a:ln w="2536" cap="flat">
                <a:noFill/>
                <a:prstDash val="solid"/>
                <a:miter/>
              </a:ln>
            </p:spPr>
            <p:txBody>
              <a:bodyPr rtlCol="0" anchor="ctr"/>
              <a:lstStyle/>
              <a:p>
                <a:endParaRPr lang="en-GB" dirty="0"/>
              </a:p>
            </p:txBody>
          </p:sp>
          <p:sp>
            <p:nvSpPr>
              <p:cNvPr id="563" name="Freihandform: Form 498">
                <a:extLst>
                  <a:ext uri="{FF2B5EF4-FFF2-40B4-BE49-F238E27FC236}">
                    <a16:creationId xmlns:a16="http://schemas.microsoft.com/office/drawing/2014/main" id="{F9444150-497B-4221-BCFD-B95096D5A447}"/>
                  </a:ext>
                </a:extLst>
              </p:cNvPr>
              <p:cNvSpPr/>
              <p:nvPr/>
            </p:nvSpPr>
            <p:spPr>
              <a:xfrm>
                <a:off x="1086036" y="4353623"/>
                <a:ext cx="45755" cy="39226"/>
              </a:xfrm>
              <a:custGeom>
                <a:avLst/>
                <a:gdLst>
                  <a:gd name="connsiteX0" fmla="*/ 39201 w 45755"/>
                  <a:gd name="connsiteY0" fmla="*/ 39227 h 39226"/>
                  <a:gd name="connsiteX1" fmla="*/ 32672 w 45755"/>
                  <a:gd name="connsiteY1" fmla="*/ 32697 h 39226"/>
                  <a:gd name="connsiteX2" fmla="*/ 32672 w 45755"/>
                  <a:gd name="connsiteY2" fmla="*/ 13084 h 39226"/>
                  <a:gd name="connsiteX3" fmla="*/ 13059 w 45755"/>
                  <a:gd name="connsiteY3" fmla="*/ 13084 h 39226"/>
                  <a:gd name="connsiteX4" fmla="*/ 13059 w 45755"/>
                  <a:gd name="connsiteY4" fmla="*/ 32697 h 39226"/>
                  <a:gd name="connsiteX5" fmla="*/ 6529 w 45755"/>
                  <a:gd name="connsiteY5" fmla="*/ 39227 h 39226"/>
                  <a:gd name="connsiteX6" fmla="*/ 0 w 45755"/>
                  <a:gd name="connsiteY6" fmla="*/ 32697 h 39226"/>
                  <a:gd name="connsiteX7" fmla="*/ 0 w 45755"/>
                  <a:gd name="connsiteY7" fmla="*/ 6529 h 39226"/>
                  <a:gd name="connsiteX8" fmla="*/ 6529 w 45755"/>
                  <a:gd name="connsiteY8" fmla="*/ 0 h 39226"/>
                  <a:gd name="connsiteX9" fmla="*/ 39227 w 45755"/>
                  <a:gd name="connsiteY9" fmla="*/ 0 h 39226"/>
                  <a:gd name="connsiteX10" fmla="*/ 45756 w 45755"/>
                  <a:gd name="connsiteY10" fmla="*/ 6529 h 39226"/>
                  <a:gd name="connsiteX11" fmla="*/ 45756 w 45755"/>
                  <a:gd name="connsiteY11" fmla="*/ 32697 h 39226"/>
                  <a:gd name="connsiteX12" fmla="*/ 39201 w 45755"/>
                  <a:gd name="connsiteY12" fmla="*/ 39227 h 3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39226">
                    <a:moveTo>
                      <a:pt x="39201" y="39227"/>
                    </a:moveTo>
                    <a:cubicBezTo>
                      <a:pt x="35594" y="39227"/>
                      <a:pt x="32672" y="36305"/>
                      <a:pt x="32672" y="32697"/>
                    </a:cubicBezTo>
                    <a:lnTo>
                      <a:pt x="32672" y="13084"/>
                    </a:lnTo>
                    <a:lnTo>
                      <a:pt x="13059" y="13084"/>
                    </a:lnTo>
                    <a:lnTo>
                      <a:pt x="13059" y="32697"/>
                    </a:lnTo>
                    <a:cubicBezTo>
                      <a:pt x="13059" y="36305"/>
                      <a:pt x="10137" y="39227"/>
                      <a:pt x="6529" y="39227"/>
                    </a:cubicBezTo>
                    <a:cubicBezTo>
                      <a:pt x="2922" y="39227"/>
                      <a:pt x="0" y="36305"/>
                      <a:pt x="0" y="32697"/>
                    </a:cubicBezTo>
                    <a:lnTo>
                      <a:pt x="0" y="6529"/>
                    </a:lnTo>
                    <a:cubicBezTo>
                      <a:pt x="0" y="2922"/>
                      <a:pt x="2922" y="0"/>
                      <a:pt x="6529" y="0"/>
                    </a:cubicBezTo>
                    <a:lnTo>
                      <a:pt x="39227" y="0"/>
                    </a:lnTo>
                    <a:cubicBezTo>
                      <a:pt x="42834" y="0"/>
                      <a:pt x="45756" y="2922"/>
                      <a:pt x="45756" y="6529"/>
                    </a:cubicBezTo>
                    <a:lnTo>
                      <a:pt x="45756" y="32697"/>
                    </a:lnTo>
                    <a:cubicBezTo>
                      <a:pt x="45756" y="36305"/>
                      <a:pt x="42834" y="39227"/>
                      <a:pt x="39201" y="39227"/>
                    </a:cubicBezTo>
                    <a:close/>
                  </a:path>
                </a:pathLst>
              </a:custGeom>
              <a:solidFill>
                <a:schemeClr val="tx2"/>
              </a:solidFill>
              <a:ln w="2536" cap="flat">
                <a:noFill/>
                <a:prstDash val="solid"/>
                <a:miter/>
              </a:ln>
            </p:spPr>
            <p:txBody>
              <a:bodyPr rtlCol="0" anchor="ctr"/>
              <a:lstStyle/>
              <a:p>
                <a:endParaRPr lang="en-GB" dirty="0"/>
              </a:p>
            </p:txBody>
          </p:sp>
          <p:sp>
            <p:nvSpPr>
              <p:cNvPr id="564" name="Freihandform: Form 499">
                <a:extLst>
                  <a:ext uri="{FF2B5EF4-FFF2-40B4-BE49-F238E27FC236}">
                    <a16:creationId xmlns:a16="http://schemas.microsoft.com/office/drawing/2014/main" id="{BF95ACBE-F369-4243-A191-610B28D39F04}"/>
                  </a:ext>
                </a:extLst>
              </p:cNvPr>
              <p:cNvSpPr/>
              <p:nvPr/>
            </p:nvSpPr>
            <p:spPr>
              <a:xfrm>
                <a:off x="1171095" y="4353623"/>
                <a:ext cx="45755" cy="39226"/>
              </a:xfrm>
              <a:custGeom>
                <a:avLst/>
                <a:gdLst>
                  <a:gd name="connsiteX0" fmla="*/ 39201 w 45755"/>
                  <a:gd name="connsiteY0" fmla="*/ 39227 h 39226"/>
                  <a:gd name="connsiteX1" fmla="*/ 32672 w 45755"/>
                  <a:gd name="connsiteY1" fmla="*/ 32697 h 39226"/>
                  <a:gd name="connsiteX2" fmla="*/ 32672 w 45755"/>
                  <a:gd name="connsiteY2" fmla="*/ 13084 h 39226"/>
                  <a:gd name="connsiteX3" fmla="*/ 13059 w 45755"/>
                  <a:gd name="connsiteY3" fmla="*/ 13084 h 39226"/>
                  <a:gd name="connsiteX4" fmla="*/ 13059 w 45755"/>
                  <a:gd name="connsiteY4" fmla="*/ 32697 h 39226"/>
                  <a:gd name="connsiteX5" fmla="*/ 6529 w 45755"/>
                  <a:gd name="connsiteY5" fmla="*/ 39227 h 39226"/>
                  <a:gd name="connsiteX6" fmla="*/ 0 w 45755"/>
                  <a:gd name="connsiteY6" fmla="*/ 32697 h 39226"/>
                  <a:gd name="connsiteX7" fmla="*/ 0 w 45755"/>
                  <a:gd name="connsiteY7" fmla="*/ 6529 h 39226"/>
                  <a:gd name="connsiteX8" fmla="*/ 6529 w 45755"/>
                  <a:gd name="connsiteY8" fmla="*/ 0 h 39226"/>
                  <a:gd name="connsiteX9" fmla="*/ 39227 w 45755"/>
                  <a:gd name="connsiteY9" fmla="*/ 0 h 39226"/>
                  <a:gd name="connsiteX10" fmla="*/ 45756 w 45755"/>
                  <a:gd name="connsiteY10" fmla="*/ 6529 h 39226"/>
                  <a:gd name="connsiteX11" fmla="*/ 45756 w 45755"/>
                  <a:gd name="connsiteY11" fmla="*/ 32697 h 39226"/>
                  <a:gd name="connsiteX12" fmla="*/ 39201 w 45755"/>
                  <a:gd name="connsiteY12" fmla="*/ 39227 h 39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755" h="39226">
                    <a:moveTo>
                      <a:pt x="39201" y="39227"/>
                    </a:moveTo>
                    <a:cubicBezTo>
                      <a:pt x="35594" y="39227"/>
                      <a:pt x="32672" y="36305"/>
                      <a:pt x="32672" y="32697"/>
                    </a:cubicBezTo>
                    <a:lnTo>
                      <a:pt x="32672" y="13084"/>
                    </a:lnTo>
                    <a:lnTo>
                      <a:pt x="13059" y="13084"/>
                    </a:lnTo>
                    <a:lnTo>
                      <a:pt x="13059" y="32697"/>
                    </a:lnTo>
                    <a:cubicBezTo>
                      <a:pt x="13059" y="36305"/>
                      <a:pt x="10137" y="39227"/>
                      <a:pt x="6529" y="39227"/>
                    </a:cubicBezTo>
                    <a:cubicBezTo>
                      <a:pt x="2922" y="39227"/>
                      <a:pt x="0" y="36305"/>
                      <a:pt x="0" y="32697"/>
                    </a:cubicBezTo>
                    <a:lnTo>
                      <a:pt x="0" y="6529"/>
                    </a:lnTo>
                    <a:cubicBezTo>
                      <a:pt x="0" y="2922"/>
                      <a:pt x="2922" y="0"/>
                      <a:pt x="6529" y="0"/>
                    </a:cubicBezTo>
                    <a:lnTo>
                      <a:pt x="39227" y="0"/>
                    </a:lnTo>
                    <a:cubicBezTo>
                      <a:pt x="42834" y="0"/>
                      <a:pt x="45756" y="2922"/>
                      <a:pt x="45756" y="6529"/>
                    </a:cubicBezTo>
                    <a:lnTo>
                      <a:pt x="45756" y="32697"/>
                    </a:lnTo>
                    <a:cubicBezTo>
                      <a:pt x="45731" y="36305"/>
                      <a:pt x="42809" y="39227"/>
                      <a:pt x="39201" y="39227"/>
                    </a:cubicBezTo>
                    <a:close/>
                  </a:path>
                </a:pathLst>
              </a:custGeom>
              <a:solidFill>
                <a:schemeClr val="tx2"/>
              </a:solidFill>
              <a:ln w="2536" cap="flat">
                <a:noFill/>
                <a:prstDash val="solid"/>
                <a:miter/>
              </a:ln>
            </p:spPr>
            <p:txBody>
              <a:bodyPr rtlCol="0" anchor="ctr"/>
              <a:lstStyle/>
              <a:p>
                <a:endParaRPr lang="en-GB" dirty="0"/>
              </a:p>
            </p:txBody>
          </p:sp>
          <p:sp>
            <p:nvSpPr>
              <p:cNvPr id="565" name="Freihandform: Form 503">
                <a:extLst>
                  <a:ext uri="{FF2B5EF4-FFF2-40B4-BE49-F238E27FC236}">
                    <a16:creationId xmlns:a16="http://schemas.microsoft.com/office/drawing/2014/main" id="{652EEBB9-8DFB-4438-AEE2-E2DC492939DA}"/>
                  </a:ext>
                </a:extLst>
              </p:cNvPr>
              <p:cNvSpPr/>
              <p:nvPr/>
            </p:nvSpPr>
            <p:spPr>
              <a:xfrm>
                <a:off x="1012557" y="4149740"/>
                <a:ext cx="276206" cy="92655"/>
              </a:xfrm>
              <a:custGeom>
                <a:avLst/>
                <a:gdLst>
                  <a:gd name="connsiteX0" fmla="*/ 6560 w 276206"/>
                  <a:gd name="connsiteY0" fmla="*/ 92655 h 92655"/>
                  <a:gd name="connsiteX1" fmla="*/ 920 w 276206"/>
                  <a:gd name="connsiteY1" fmla="*/ 89454 h 92655"/>
                  <a:gd name="connsiteX2" fmla="*/ 3207 w 276206"/>
                  <a:gd name="connsiteY2" fmla="*/ 80486 h 92655"/>
                  <a:gd name="connsiteX3" fmla="*/ 139128 w 276206"/>
                  <a:gd name="connsiteY3" fmla="*/ 0 h 92655"/>
                  <a:gd name="connsiteX4" fmla="*/ 272992 w 276206"/>
                  <a:gd name="connsiteY4" fmla="*/ 79038 h 92655"/>
                  <a:gd name="connsiteX5" fmla="*/ 275304 w 276206"/>
                  <a:gd name="connsiteY5" fmla="*/ 88006 h 92655"/>
                  <a:gd name="connsiteX6" fmla="*/ 266336 w 276206"/>
                  <a:gd name="connsiteY6" fmla="*/ 90318 h 92655"/>
                  <a:gd name="connsiteX7" fmla="*/ 139128 w 276206"/>
                  <a:gd name="connsiteY7" fmla="*/ 15218 h 92655"/>
                  <a:gd name="connsiteX8" fmla="*/ 9863 w 276206"/>
                  <a:gd name="connsiteY8" fmla="*/ 91741 h 92655"/>
                  <a:gd name="connsiteX9" fmla="*/ 6560 w 276206"/>
                  <a:gd name="connsiteY9" fmla="*/ 92655 h 92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206" h="92655">
                    <a:moveTo>
                      <a:pt x="6560" y="92655"/>
                    </a:moveTo>
                    <a:cubicBezTo>
                      <a:pt x="4325" y="92655"/>
                      <a:pt x="2140" y="91512"/>
                      <a:pt x="920" y="89454"/>
                    </a:cubicBezTo>
                    <a:cubicBezTo>
                      <a:pt x="-934" y="86355"/>
                      <a:pt x="107" y="82340"/>
                      <a:pt x="3207" y="80486"/>
                    </a:cubicBezTo>
                    <a:lnTo>
                      <a:pt x="139128" y="0"/>
                    </a:lnTo>
                    <a:lnTo>
                      <a:pt x="272992" y="79038"/>
                    </a:lnTo>
                    <a:cubicBezTo>
                      <a:pt x="276092" y="80867"/>
                      <a:pt x="277133" y="84881"/>
                      <a:pt x="275304" y="88006"/>
                    </a:cubicBezTo>
                    <a:cubicBezTo>
                      <a:pt x="273449" y="91106"/>
                      <a:pt x="269461" y="92147"/>
                      <a:pt x="266336" y="90318"/>
                    </a:cubicBezTo>
                    <a:lnTo>
                      <a:pt x="139128" y="15218"/>
                    </a:lnTo>
                    <a:lnTo>
                      <a:pt x="9863" y="91741"/>
                    </a:lnTo>
                    <a:cubicBezTo>
                      <a:pt x="8822" y="92376"/>
                      <a:pt x="7678" y="92655"/>
                      <a:pt x="6560" y="92655"/>
                    </a:cubicBezTo>
                    <a:close/>
                  </a:path>
                </a:pathLst>
              </a:custGeom>
              <a:solidFill>
                <a:schemeClr val="tx2"/>
              </a:solidFill>
              <a:ln w="2536" cap="flat">
                <a:noFill/>
                <a:prstDash val="solid"/>
                <a:miter/>
              </a:ln>
            </p:spPr>
            <p:txBody>
              <a:bodyPr rtlCol="0" anchor="ctr"/>
              <a:lstStyle/>
              <a:p>
                <a:endParaRPr lang="en-GB" dirty="0"/>
              </a:p>
            </p:txBody>
          </p:sp>
        </p:grpSp>
      </p:grpSp>
      <p:grpSp>
        <p:nvGrpSpPr>
          <p:cNvPr id="533" name="Group 532">
            <a:extLst>
              <a:ext uri="{FF2B5EF4-FFF2-40B4-BE49-F238E27FC236}">
                <a16:creationId xmlns:a16="http://schemas.microsoft.com/office/drawing/2014/main" id="{04BB0CB9-64AE-5BCF-85F6-C411F48BF2DD}"/>
              </a:ext>
            </a:extLst>
          </p:cNvPr>
          <p:cNvGrpSpPr/>
          <p:nvPr/>
        </p:nvGrpSpPr>
        <p:grpSpPr>
          <a:xfrm>
            <a:off x="8126668" y="2391526"/>
            <a:ext cx="432001" cy="432000"/>
            <a:chOff x="8126256" y="2391526"/>
            <a:chExt cx="432001" cy="432000"/>
          </a:xfrm>
        </p:grpSpPr>
        <p:grpSp>
          <p:nvGrpSpPr>
            <p:cNvPr id="591" name="Gruppieren 789">
              <a:extLst>
                <a:ext uri="{FF2B5EF4-FFF2-40B4-BE49-F238E27FC236}">
                  <a16:creationId xmlns:a16="http://schemas.microsoft.com/office/drawing/2014/main" id="{0C0AB777-0B6C-493D-9FC4-7E3314A07835}"/>
                </a:ext>
              </a:extLst>
            </p:cNvPr>
            <p:cNvGrpSpPr/>
            <p:nvPr/>
          </p:nvGrpSpPr>
          <p:grpSpPr>
            <a:xfrm>
              <a:off x="8340394" y="2449904"/>
              <a:ext cx="217863" cy="85728"/>
              <a:chOff x="2807256" y="4149863"/>
              <a:chExt cx="244129" cy="96064"/>
            </a:xfrm>
          </p:grpSpPr>
          <p:sp>
            <p:nvSpPr>
              <p:cNvPr id="610" name="Freihandform: Form 538">
                <a:extLst>
                  <a:ext uri="{FF2B5EF4-FFF2-40B4-BE49-F238E27FC236}">
                    <a16:creationId xmlns:a16="http://schemas.microsoft.com/office/drawing/2014/main" id="{7D865E72-2B02-45F1-886C-6E1560EB4A18}"/>
                  </a:ext>
                </a:extLst>
              </p:cNvPr>
              <p:cNvSpPr/>
              <p:nvPr/>
            </p:nvSpPr>
            <p:spPr>
              <a:xfrm>
                <a:off x="2807256" y="4149863"/>
                <a:ext cx="244097" cy="96064"/>
              </a:xfrm>
              <a:custGeom>
                <a:avLst/>
                <a:gdLst>
                  <a:gd name="connsiteX0" fmla="*/ 58819 w 244097"/>
                  <a:gd name="connsiteY0" fmla="*/ 96064 h 96064"/>
                  <a:gd name="connsiteX1" fmla="*/ 55008 w 244097"/>
                  <a:gd name="connsiteY1" fmla="*/ 94844 h 96064"/>
                  <a:gd name="connsiteX2" fmla="*/ 2748 w 244097"/>
                  <a:gd name="connsiteY2" fmla="*/ 57523 h 96064"/>
                  <a:gd name="connsiteX3" fmla="*/ 1224 w 244097"/>
                  <a:gd name="connsiteY3" fmla="*/ 48402 h 96064"/>
                  <a:gd name="connsiteX4" fmla="*/ 10344 w 244097"/>
                  <a:gd name="connsiteY4" fmla="*/ 46878 h 96064"/>
                  <a:gd name="connsiteX5" fmla="*/ 58107 w 244097"/>
                  <a:gd name="connsiteY5" fmla="*/ 80973 h 96064"/>
                  <a:gd name="connsiteX6" fmla="*/ 133614 w 244097"/>
                  <a:gd name="connsiteY6" fmla="*/ 5721 h 96064"/>
                  <a:gd name="connsiteX7" fmla="*/ 142176 w 244097"/>
                  <a:gd name="connsiteY7" fmla="*/ 5136 h 96064"/>
                  <a:gd name="connsiteX8" fmla="*/ 196189 w 244097"/>
                  <a:gd name="connsiteY8" fmla="*/ 46141 h 96064"/>
                  <a:gd name="connsiteX9" fmla="*/ 232519 w 244097"/>
                  <a:gd name="connsiteY9" fmla="*/ 2367 h 96064"/>
                  <a:gd name="connsiteX10" fmla="*/ 241741 w 244097"/>
                  <a:gd name="connsiteY10" fmla="*/ 1503 h 96064"/>
                  <a:gd name="connsiteX11" fmla="*/ 242605 w 244097"/>
                  <a:gd name="connsiteY11" fmla="*/ 10726 h 96064"/>
                  <a:gd name="connsiteX12" fmla="*/ 202260 w 244097"/>
                  <a:gd name="connsiteY12" fmla="*/ 59327 h 96064"/>
                  <a:gd name="connsiteX13" fmla="*/ 193267 w 244097"/>
                  <a:gd name="connsiteY13" fmla="*/ 60369 h 96064"/>
                  <a:gd name="connsiteX14" fmla="*/ 138797 w 244097"/>
                  <a:gd name="connsiteY14" fmla="*/ 19033 h 96064"/>
                  <a:gd name="connsiteX15" fmla="*/ 63392 w 244097"/>
                  <a:gd name="connsiteY15" fmla="*/ 94184 h 96064"/>
                  <a:gd name="connsiteX16" fmla="*/ 58819 w 244097"/>
                  <a:gd name="connsiteY16" fmla="*/ 96064 h 9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4097" h="96064">
                    <a:moveTo>
                      <a:pt x="58819" y="96064"/>
                    </a:moveTo>
                    <a:cubicBezTo>
                      <a:pt x="57498" y="96064"/>
                      <a:pt x="56151" y="95658"/>
                      <a:pt x="55008" y="94844"/>
                    </a:cubicBezTo>
                    <a:lnTo>
                      <a:pt x="2748" y="57523"/>
                    </a:lnTo>
                    <a:cubicBezTo>
                      <a:pt x="-199" y="55440"/>
                      <a:pt x="-885" y="51350"/>
                      <a:pt x="1224" y="48402"/>
                    </a:cubicBezTo>
                    <a:cubicBezTo>
                      <a:pt x="3332" y="45455"/>
                      <a:pt x="7423" y="44769"/>
                      <a:pt x="10344" y="46878"/>
                    </a:cubicBezTo>
                    <a:lnTo>
                      <a:pt x="58107" y="80973"/>
                    </a:lnTo>
                    <a:lnTo>
                      <a:pt x="133614" y="5721"/>
                    </a:lnTo>
                    <a:cubicBezTo>
                      <a:pt x="135926" y="3409"/>
                      <a:pt x="139584" y="3180"/>
                      <a:pt x="142176" y="5136"/>
                    </a:cubicBezTo>
                    <a:lnTo>
                      <a:pt x="196189" y="46141"/>
                    </a:lnTo>
                    <a:lnTo>
                      <a:pt x="232519" y="2367"/>
                    </a:lnTo>
                    <a:cubicBezTo>
                      <a:pt x="234831" y="-402"/>
                      <a:pt x="238947" y="-809"/>
                      <a:pt x="241741" y="1503"/>
                    </a:cubicBezTo>
                    <a:cubicBezTo>
                      <a:pt x="244510" y="3815"/>
                      <a:pt x="244892" y="7931"/>
                      <a:pt x="242605" y="10726"/>
                    </a:cubicBezTo>
                    <a:lnTo>
                      <a:pt x="202260" y="59327"/>
                    </a:lnTo>
                    <a:cubicBezTo>
                      <a:pt x="200025" y="62020"/>
                      <a:pt x="196061" y="62477"/>
                      <a:pt x="193267" y="60369"/>
                    </a:cubicBezTo>
                    <a:lnTo>
                      <a:pt x="138797" y="19033"/>
                    </a:lnTo>
                    <a:lnTo>
                      <a:pt x="63392" y="94184"/>
                    </a:lnTo>
                    <a:cubicBezTo>
                      <a:pt x="62172" y="95429"/>
                      <a:pt x="60496" y="96064"/>
                      <a:pt x="58819" y="96064"/>
                    </a:cubicBezTo>
                    <a:close/>
                  </a:path>
                </a:pathLst>
              </a:custGeom>
              <a:solidFill>
                <a:schemeClr val="accent1"/>
              </a:solidFill>
              <a:ln w="2536" cap="flat">
                <a:noFill/>
                <a:prstDash val="solid"/>
                <a:miter/>
              </a:ln>
            </p:spPr>
            <p:txBody>
              <a:bodyPr rtlCol="0" anchor="ctr"/>
              <a:lstStyle/>
              <a:p>
                <a:endParaRPr lang="en-GB" dirty="0"/>
              </a:p>
            </p:txBody>
          </p:sp>
          <p:sp>
            <p:nvSpPr>
              <p:cNvPr id="611" name="Freihandform: Form 539">
                <a:extLst>
                  <a:ext uri="{FF2B5EF4-FFF2-40B4-BE49-F238E27FC236}">
                    <a16:creationId xmlns:a16="http://schemas.microsoft.com/office/drawing/2014/main" id="{2301C015-4B5C-46AB-8AE0-B87FA498D40A}"/>
                  </a:ext>
                </a:extLst>
              </p:cNvPr>
              <p:cNvSpPr/>
              <p:nvPr/>
            </p:nvSpPr>
            <p:spPr>
              <a:xfrm>
                <a:off x="3009135" y="4149918"/>
                <a:ext cx="42250" cy="42250"/>
              </a:xfrm>
              <a:custGeom>
                <a:avLst/>
                <a:gdLst>
                  <a:gd name="connsiteX0" fmla="*/ 35721 w 42250"/>
                  <a:gd name="connsiteY0" fmla="*/ 42250 h 42250"/>
                  <a:gd name="connsiteX1" fmla="*/ 29191 w 42250"/>
                  <a:gd name="connsiteY1" fmla="*/ 35721 h 42250"/>
                  <a:gd name="connsiteX2" fmla="*/ 29191 w 42250"/>
                  <a:gd name="connsiteY2" fmla="*/ 13059 h 42250"/>
                  <a:gd name="connsiteX3" fmla="*/ 6529 w 42250"/>
                  <a:gd name="connsiteY3" fmla="*/ 13059 h 42250"/>
                  <a:gd name="connsiteX4" fmla="*/ 0 w 42250"/>
                  <a:gd name="connsiteY4" fmla="*/ 6529 h 42250"/>
                  <a:gd name="connsiteX5" fmla="*/ 6529 w 42250"/>
                  <a:gd name="connsiteY5" fmla="*/ 0 h 42250"/>
                  <a:gd name="connsiteX6" fmla="*/ 35721 w 42250"/>
                  <a:gd name="connsiteY6" fmla="*/ 0 h 42250"/>
                  <a:gd name="connsiteX7" fmla="*/ 42250 w 42250"/>
                  <a:gd name="connsiteY7" fmla="*/ 6529 h 42250"/>
                  <a:gd name="connsiteX8" fmla="*/ 42250 w 42250"/>
                  <a:gd name="connsiteY8" fmla="*/ 35746 h 42250"/>
                  <a:gd name="connsiteX9" fmla="*/ 35721 w 42250"/>
                  <a:gd name="connsiteY9" fmla="*/ 42250 h 42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50" h="42250">
                    <a:moveTo>
                      <a:pt x="35721" y="42250"/>
                    </a:moveTo>
                    <a:cubicBezTo>
                      <a:pt x="32113" y="42250"/>
                      <a:pt x="29191" y="39328"/>
                      <a:pt x="29191" y="35721"/>
                    </a:cubicBezTo>
                    <a:lnTo>
                      <a:pt x="29191" y="13059"/>
                    </a:lnTo>
                    <a:lnTo>
                      <a:pt x="6529" y="13059"/>
                    </a:lnTo>
                    <a:cubicBezTo>
                      <a:pt x="2922" y="13059"/>
                      <a:pt x="0" y="10137"/>
                      <a:pt x="0" y="6529"/>
                    </a:cubicBezTo>
                    <a:cubicBezTo>
                      <a:pt x="0" y="2922"/>
                      <a:pt x="2922" y="0"/>
                      <a:pt x="6529" y="0"/>
                    </a:cubicBezTo>
                    <a:lnTo>
                      <a:pt x="35721" y="0"/>
                    </a:lnTo>
                    <a:cubicBezTo>
                      <a:pt x="39328" y="0"/>
                      <a:pt x="42250" y="2922"/>
                      <a:pt x="42250" y="6529"/>
                    </a:cubicBezTo>
                    <a:lnTo>
                      <a:pt x="42250" y="35746"/>
                    </a:lnTo>
                    <a:cubicBezTo>
                      <a:pt x="42250" y="39303"/>
                      <a:pt x="39328" y="42250"/>
                      <a:pt x="35721" y="42250"/>
                    </a:cubicBezTo>
                    <a:close/>
                  </a:path>
                </a:pathLst>
              </a:custGeom>
              <a:solidFill>
                <a:schemeClr val="accent1"/>
              </a:solidFill>
              <a:ln w="2536" cap="flat">
                <a:noFill/>
                <a:prstDash val="solid"/>
                <a:miter/>
              </a:ln>
            </p:spPr>
            <p:txBody>
              <a:bodyPr rtlCol="0" anchor="ctr"/>
              <a:lstStyle/>
              <a:p>
                <a:endParaRPr lang="en-GB" dirty="0"/>
              </a:p>
            </p:txBody>
          </p:sp>
        </p:grpSp>
        <p:grpSp>
          <p:nvGrpSpPr>
            <p:cNvPr id="592" name="Gruppieren 788">
              <a:extLst>
                <a:ext uri="{FF2B5EF4-FFF2-40B4-BE49-F238E27FC236}">
                  <a16:creationId xmlns:a16="http://schemas.microsoft.com/office/drawing/2014/main" id="{3625D2DA-E870-46CE-B23F-86FFC475F9A8}"/>
                </a:ext>
              </a:extLst>
            </p:cNvPr>
            <p:cNvGrpSpPr/>
            <p:nvPr/>
          </p:nvGrpSpPr>
          <p:grpSpPr>
            <a:xfrm>
              <a:off x="8126256" y="2391526"/>
              <a:ext cx="401716" cy="432000"/>
              <a:chOff x="2567301" y="4084447"/>
              <a:chExt cx="450148" cy="484083"/>
            </a:xfrm>
            <a:solidFill>
              <a:schemeClr val="tx2"/>
            </a:solidFill>
          </p:grpSpPr>
          <p:grpSp>
            <p:nvGrpSpPr>
              <p:cNvPr id="593" name="Grafik 301">
                <a:extLst>
                  <a:ext uri="{FF2B5EF4-FFF2-40B4-BE49-F238E27FC236}">
                    <a16:creationId xmlns:a16="http://schemas.microsoft.com/office/drawing/2014/main" id="{EA5C3169-329E-4036-A5AD-96ED699A02DD}"/>
                  </a:ext>
                </a:extLst>
              </p:cNvPr>
              <p:cNvGrpSpPr/>
              <p:nvPr/>
            </p:nvGrpSpPr>
            <p:grpSpPr>
              <a:xfrm>
                <a:off x="2567301" y="4084447"/>
                <a:ext cx="244988" cy="484083"/>
                <a:chOff x="2567301" y="4084447"/>
                <a:chExt cx="244988" cy="484083"/>
              </a:xfrm>
              <a:grpFill/>
            </p:grpSpPr>
            <p:grpSp>
              <p:nvGrpSpPr>
                <p:cNvPr id="596" name="Grafik 301">
                  <a:extLst>
                    <a:ext uri="{FF2B5EF4-FFF2-40B4-BE49-F238E27FC236}">
                      <a16:creationId xmlns:a16="http://schemas.microsoft.com/office/drawing/2014/main" id="{9663E5B8-4B39-44AA-85AC-6F4851D7EE22}"/>
                    </a:ext>
                  </a:extLst>
                </p:cNvPr>
                <p:cNvGrpSpPr/>
                <p:nvPr/>
              </p:nvGrpSpPr>
              <p:grpSpPr>
                <a:xfrm>
                  <a:off x="2651214" y="4259976"/>
                  <a:ext cx="161075" cy="130840"/>
                  <a:chOff x="2651214" y="4259976"/>
                  <a:chExt cx="161075" cy="130840"/>
                </a:xfrm>
                <a:grpFill/>
              </p:grpSpPr>
              <p:grpSp>
                <p:nvGrpSpPr>
                  <p:cNvPr id="605" name="Grafik 301">
                    <a:extLst>
                      <a:ext uri="{FF2B5EF4-FFF2-40B4-BE49-F238E27FC236}">
                        <a16:creationId xmlns:a16="http://schemas.microsoft.com/office/drawing/2014/main" id="{00A433A2-17D7-48BA-A83F-2C3FA2FD7E5E}"/>
                      </a:ext>
                    </a:extLst>
                  </p:cNvPr>
                  <p:cNvGrpSpPr/>
                  <p:nvPr/>
                </p:nvGrpSpPr>
                <p:grpSpPr>
                  <a:xfrm>
                    <a:off x="2651214" y="4259976"/>
                    <a:ext cx="161075" cy="130840"/>
                    <a:chOff x="2651214" y="4259976"/>
                    <a:chExt cx="161075" cy="130840"/>
                  </a:xfrm>
                  <a:grpFill/>
                </p:grpSpPr>
                <p:sp>
                  <p:nvSpPr>
                    <p:cNvPr id="607" name="Freihandform: Form 525">
                      <a:extLst>
                        <a:ext uri="{FF2B5EF4-FFF2-40B4-BE49-F238E27FC236}">
                          <a16:creationId xmlns:a16="http://schemas.microsoft.com/office/drawing/2014/main" id="{2ACB093E-4142-47D4-B93A-D1118041B893}"/>
                        </a:ext>
                      </a:extLst>
                    </p:cNvPr>
                    <p:cNvSpPr/>
                    <p:nvPr/>
                  </p:nvSpPr>
                  <p:spPr>
                    <a:xfrm>
                      <a:off x="2763956" y="4286149"/>
                      <a:ext cx="18850" cy="32718"/>
                    </a:xfrm>
                    <a:custGeom>
                      <a:avLst/>
                      <a:gdLst>
                        <a:gd name="connsiteX0" fmla="*/ 6542 w 18850"/>
                        <a:gd name="connsiteY0" fmla="*/ 32719 h 32718"/>
                        <a:gd name="connsiteX1" fmla="*/ 4687 w 18850"/>
                        <a:gd name="connsiteY1" fmla="*/ 32439 h 32718"/>
                        <a:gd name="connsiteX2" fmla="*/ 266 w 18850"/>
                        <a:gd name="connsiteY2" fmla="*/ 24309 h 32718"/>
                        <a:gd name="connsiteX3" fmla="*/ 6033 w 18850"/>
                        <a:gd name="connsiteY3" fmla="*/ 4696 h 32718"/>
                        <a:gd name="connsiteX4" fmla="*/ 14163 w 18850"/>
                        <a:gd name="connsiteY4" fmla="*/ 276 h 32718"/>
                        <a:gd name="connsiteX5" fmla="*/ 18584 w 18850"/>
                        <a:gd name="connsiteY5" fmla="*/ 8405 h 32718"/>
                        <a:gd name="connsiteX6" fmla="*/ 12817 w 18850"/>
                        <a:gd name="connsiteY6" fmla="*/ 28019 h 32718"/>
                        <a:gd name="connsiteX7" fmla="*/ 6542 w 18850"/>
                        <a:gd name="connsiteY7" fmla="*/ 32719 h 32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50" h="32718">
                          <a:moveTo>
                            <a:pt x="6542" y="32719"/>
                          </a:moveTo>
                          <a:cubicBezTo>
                            <a:pt x="5932" y="32719"/>
                            <a:pt x="5322" y="32643"/>
                            <a:pt x="4687" y="32439"/>
                          </a:cubicBezTo>
                          <a:cubicBezTo>
                            <a:pt x="1232" y="31423"/>
                            <a:pt x="-750" y="27790"/>
                            <a:pt x="266" y="24309"/>
                          </a:cubicBezTo>
                          <a:lnTo>
                            <a:pt x="6033" y="4696"/>
                          </a:lnTo>
                          <a:cubicBezTo>
                            <a:pt x="7050" y="1241"/>
                            <a:pt x="10657" y="-766"/>
                            <a:pt x="14163" y="276"/>
                          </a:cubicBezTo>
                          <a:cubicBezTo>
                            <a:pt x="17619" y="1292"/>
                            <a:pt x="19600" y="4925"/>
                            <a:pt x="18584" y="8405"/>
                          </a:cubicBezTo>
                          <a:lnTo>
                            <a:pt x="12817" y="28019"/>
                          </a:lnTo>
                          <a:cubicBezTo>
                            <a:pt x="11978" y="30864"/>
                            <a:pt x="9362" y="32719"/>
                            <a:pt x="6542" y="32719"/>
                          </a:cubicBezTo>
                          <a:close/>
                        </a:path>
                      </a:pathLst>
                    </a:custGeom>
                    <a:grpFill/>
                    <a:ln w="2536" cap="flat">
                      <a:noFill/>
                      <a:prstDash val="solid"/>
                      <a:miter/>
                    </a:ln>
                  </p:spPr>
                  <p:txBody>
                    <a:bodyPr rtlCol="0" anchor="ctr"/>
                    <a:lstStyle/>
                    <a:p>
                      <a:endParaRPr lang="en-GB" dirty="0"/>
                    </a:p>
                  </p:txBody>
                </p:sp>
                <p:sp>
                  <p:nvSpPr>
                    <p:cNvPr id="608" name="Freihandform: Form 526">
                      <a:extLst>
                        <a:ext uri="{FF2B5EF4-FFF2-40B4-BE49-F238E27FC236}">
                          <a16:creationId xmlns:a16="http://schemas.microsoft.com/office/drawing/2014/main" id="{B9124375-C1C6-4B53-8CEB-2689224706A2}"/>
                        </a:ext>
                      </a:extLst>
                    </p:cNvPr>
                    <p:cNvSpPr/>
                    <p:nvPr/>
                  </p:nvSpPr>
                  <p:spPr>
                    <a:xfrm>
                      <a:off x="2651214" y="4259976"/>
                      <a:ext cx="112360" cy="130840"/>
                    </a:xfrm>
                    <a:custGeom>
                      <a:avLst/>
                      <a:gdLst>
                        <a:gd name="connsiteX0" fmla="*/ 98120 w 112360"/>
                        <a:gd name="connsiteY0" fmla="*/ 130840 h 130840"/>
                        <a:gd name="connsiteX1" fmla="*/ 6532 w 112360"/>
                        <a:gd name="connsiteY1" fmla="*/ 130840 h 130840"/>
                        <a:gd name="connsiteX2" fmla="*/ 1248 w 112360"/>
                        <a:gd name="connsiteY2" fmla="*/ 128147 h 130840"/>
                        <a:gd name="connsiteX3" fmla="*/ 333 w 112360"/>
                        <a:gd name="connsiteY3" fmla="*/ 122279 h 130840"/>
                        <a:gd name="connsiteX4" fmla="*/ 34580 w 112360"/>
                        <a:gd name="connsiteY4" fmla="*/ 17606 h 130840"/>
                        <a:gd name="connsiteX5" fmla="*/ 57598 w 112360"/>
                        <a:gd name="connsiteY5" fmla="*/ 0 h 130840"/>
                        <a:gd name="connsiteX6" fmla="*/ 70123 w 112360"/>
                        <a:gd name="connsiteY6" fmla="*/ 0 h 130840"/>
                        <a:gd name="connsiteX7" fmla="*/ 76652 w 112360"/>
                        <a:gd name="connsiteY7" fmla="*/ 6529 h 130840"/>
                        <a:gd name="connsiteX8" fmla="*/ 70123 w 112360"/>
                        <a:gd name="connsiteY8" fmla="*/ 13059 h 130840"/>
                        <a:gd name="connsiteX9" fmla="*/ 57598 w 112360"/>
                        <a:gd name="connsiteY9" fmla="*/ 13059 h 130840"/>
                        <a:gd name="connsiteX10" fmla="*/ 47004 w 112360"/>
                        <a:gd name="connsiteY10" fmla="*/ 21646 h 130840"/>
                        <a:gd name="connsiteX11" fmla="*/ 15577 w 112360"/>
                        <a:gd name="connsiteY11" fmla="*/ 117731 h 130840"/>
                        <a:gd name="connsiteX12" fmla="*/ 93243 w 112360"/>
                        <a:gd name="connsiteY12" fmla="*/ 117731 h 130840"/>
                        <a:gd name="connsiteX13" fmla="*/ 99543 w 112360"/>
                        <a:gd name="connsiteY13" fmla="*/ 96263 h 130840"/>
                        <a:gd name="connsiteX14" fmla="*/ 107673 w 112360"/>
                        <a:gd name="connsiteY14" fmla="*/ 91842 h 130840"/>
                        <a:gd name="connsiteX15" fmla="*/ 112094 w 112360"/>
                        <a:gd name="connsiteY15" fmla="*/ 99972 h 130840"/>
                        <a:gd name="connsiteX16" fmla="*/ 104396 w 112360"/>
                        <a:gd name="connsiteY16" fmla="*/ 126140 h 130840"/>
                        <a:gd name="connsiteX17" fmla="*/ 98120 w 112360"/>
                        <a:gd name="connsiteY17" fmla="*/ 130840 h 130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2360" h="130840">
                          <a:moveTo>
                            <a:pt x="98120" y="130840"/>
                          </a:moveTo>
                          <a:lnTo>
                            <a:pt x="6532" y="130840"/>
                          </a:lnTo>
                          <a:cubicBezTo>
                            <a:pt x="4449" y="130840"/>
                            <a:pt x="2467" y="129849"/>
                            <a:pt x="1248" y="128147"/>
                          </a:cubicBezTo>
                          <a:cubicBezTo>
                            <a:pt x="3" y="126445"/>
                            <a:pt x="-327" y="124260"/>
                            <a:pt x="333" y="122279"/>
                          </a:cubicBezTo>
                          <a:lnTo>
                            <a:pt x="34580" y="17606"/>
                          </a:lnTo>
                          <a:cubicBezTo>
                            <a:pt x="37807" y="7749"/>
                            <a:pt x="47918" y="0"/>
                            <a:pt x="57598" y="0"/>
                          </a:cubicBezTo>
                          <a:lnTo>
                            <a:pt x="70123" y="0"/>
                          </a:lnTo>
                          <a:cubicBezTo>
                            <a:pt x="73731" y="0"/>
                            <a:pt x="76652" y="2922"/>
                            <a:pt x="76652" y="6529"/>
                          </a:cubicBezTo>
                          <a:cubicBezTo>
                            <a:pt x="76652" y="10137"/>
                            <a:pt x="73731" y="13059"/>
                            <a:pt x="70123" y="13059"/>
                          </a:cubicBezTo>
                          <a:lnTo>
                            <a:pt x="57598" y="13059"/>
                          </a:lnTo>
                          <a:cubicBezTo>
                            <a:pt x="53533" y="13059"/>
                            <a:pt x="48477" y="17149"/>
                            <a:pt x="47004" y="21646"/>
                          </a:cubicBezTo>
                          <a:lnTo>
                            <a:pt x="15577" y="117731"/>
                          </a:lnTo>
                          <a:lnTo>
                            <a:pt x="93243" y="117731"/>
                          </a:lnTo>
                          <a:lnTo>
                            <a:pt x="99543" y="96263"/>
                          </a:lnTo>
                          <a:cubicBezTo>
                            <a:pt x="100559" y="92808"/>
                            <a:pt x="104142" y="90801"/>
                            <a:pt x="107673" y="91842"/>
                          </a:cubicBezTo>
                          <a:cubicBezTo>
                            <a:pt x="111128" y="92859"/>
                            <a:pt x="113110" y="96492"/>
                            <a:pt x="112094" y="99972"/>
                          </a:cubicBezTo>
                          <a:lnTo>
                            <a:pt x="104396" y="126140"/>
                          </a:lnTo>
                          <a:cubicBezTo>
                            <a:pt x="103583" y="128935"/>
                            <a:pt x="101017" y="130840"/>
                            <a:pt x="98120" y="130840"/>
                          </a:cubicBezTo>
                          <a:close/>
                        </a:path>
                      </a:pathLst>
                    </a:custGeom>
                    <a:grpFill/>
                    <a:ln w="2536" cap="flat">
                      <a:noFill/>
                      <a:prstDash val="solid"/>
                      <a:miter/>
                    </a:ln>
                  </p:spPr>
                  <p:txBody>
                    <a:bodyPr rtlCol="0" anchor="ctr"/>
                    <a:lstStyle/>
                    <a:p>
                      <a:endParaRPr lang="en-GB" dirty="0"/>
                    </a:p>
                  </p:txBody>
                </p:sp>
                <p:sp>
                  <p:nvSpPr>
                    <p:cNvPr id="609" name="Freihandform: Form 527">
                      <a:extLst>
                        <a:ext uri="{FF2B5EF4-FFF2-40B4-BE49-F238E27FC236}">
                          <a16:creationId xmlns:a16="http://schemas.microsoft.com/office/drawing/2014/main" id="{0BF2959E-6C43-4F07-B65F-5775DF6180C5}"/>
                        </a:ext>
                      </a:extLst>
                    </p:cNvPr>
                    <p:cNvSpPr/>
                    <p:nvPr/>
                  </p:nvSpPr>
                  <p:spPr>
                    <a:xfrm>
                      <a:off x="2702232" y="4260027"/>
                      <a:ext cx="110057" cy="39201"/>
                    </a:xfrm>
                    <a:custGeom>
                      <a:avLst/>
                      <a:gdLst>
                        <a:gd name="connsiteX0" fmla="*/ 99312 w 110057"/>
                        <a:gd name="connsiteY0" fmla="*/ 39201 h 39201"/>
                        <a:gd name="connsiteX1" fmla="*/ 10772 w 110057"/>
                        <a:gd name="connsiteY1" fmla="*/ 39201 h 39201"/>
                        <a:gd name="connsiteX2" fmla="*/ 5488 w 110057"/>
                        <a:gd name="connsiteY2" fmla="*/ 36534 h 39201"/>
                        <a:gd name="connsiteX3" fmla="*/ 4522 w 110057"/>
                        <a:gd name="connsiteY3" fmla="*/ 30691 h 39201"/>
                        <a:gd name="connsiteX4" fmla="*/ 8663 w 110057"/>
                        <a:gd name="connsiteY4" fmla="*/ 17606 h 39201"/>
                        <a:gd name="connsiteX5" fmla="*/ 8587 w 110057"/>
                        <a:gd name="connsiteY5" fmla="*/ 13796 h 39201"/>
                        <a:gd name="connsiteX6" fmla="*/ 6529 w 110057"/>
                        <a:gd name="connsiteY6" fmla="*/ 13059 h 39201"/>
                        <a:gd name="connsiteX7" fmla="*/ 0 w 110057"/>
                        <a:gd name="connsiteY7" fmla="*/ 6529 h 39201"/>
                        <a:gd name="connsiteX8" fmla="*/ 6529 w 110057"/>
                        <a:gd name="connsiteY8" fmla="*/ 0 h 39201"/>
                        <a:gd name="connsiteX9" fmla="*/ 94180 w 110057"/>
                        <a:gd name="connsiteY9" fmla="*/ 0 h 39201"/>
                        <a:gd name="connsiteX10" fmla="*/ 106882 w 110057"/>
                        <a:gd name="connsiteY10" fmla="*/ 6072 h 39201"/>
                        <a:gd name="connsiteX11" fmla="*/ 109271 w 110057"/>
                        <a:gd name="connsiteY11" fmla="*/ 21417 h 39201"/>
                        <a:gd name="connsiteX12" fmla="*/ 105561 w 110057"/>
                        <a:gd name="connsiteY12" fmla="*/ 34501 h 39201"/>
                        <a:gd name="connsiteX13" fmla="*/ 99312 w 110057"/>
                        <a:gd name="connsiteY13" fmla="*/ 39201 h 39201"/>
                        <a:gd name="connsiteX14" fmla="*/ 19740 w 110057"/>
                        <a:gd name="connsiteY14" fmla="*/ 26117 h 39201"/>
                        <a:gd name="connsiteX15" fmla="*/ 94383 w 110057"/>
                        <a:gd name="connsiteY15" fmla="*/ 26117 h 39201"/>
                        <a:gd name="connsiteX16" fmla="*/ 96746 w 110057"/>
                        <a:gd name="connsiteY16" fmla="*/ 17784 h 39201"/>
                        <a:gd name="connsiteX17" fmla="*/ 96492 w 110057"/>
                        <a:gd name="connsiteY17" fmla="*/ 13897 h 39201"/>
                        <a:gd name="connsiteX18" fmla="*/ 94230 w 110057"/>
                        <a:gd name="connsiteY18" fmla="*/ 13033 h 39201"/>
                        <a:gd name="connsiteX19" fmla="*/ 21976 w 110057"/>
                        <a:gd name="connsiteY19" fmla="*/ 13033 h 39201"/>
                        <a:gd name="connsiteX20" fmla="*/ 21163 w 110057"/>
                        <a:gd name="connsiteY20" fmla="*/ 21544 h 39201"/>
                        <a:gd name="connsiteX21" fmla="*/ 19740 w 110057"/>
                        <a:gd name="connsiteY21" fmla="*/ 26117 h 3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0057" h="39201">
                          <a:moveTo>
                            <a:pt x="99312" y="39201"/>
                          </a:moveTo>
                          <a:lnTo>
                            <a:pt x="10772" y="39201"/>
                          </a:lnTo>
                          <a:cubicBezTo>
                            <a:pt x="8689" y="39201"/>
                            <a:pt x="6732" y="38211"/>
                            <a:pt x="5488" y="36534"/>
                          </a:cubicBezTo>
                          <a:cubicBezTo>
                            <a:pt x="4243" y="34857"/>
                            <a:pt x="3887" y="32672"/>
                            <a:pt x="4522" y="30691"/>
                          </a:cubicBezTo>
                          <a:lnTo>
                            <a:pt x="8663" y="17606"/>
                          </a:lnTo>
                          <a:cubicBezTo>
                            <a:pt x="9273" y="15701"/>
                            <a:pt x="9019" y="14380"/>
                            <a:pt x="8587" y="13796"/>
                          </a:cubicBezTo>
                          <a:cubicBezTo>
                            <a:pt x="8130" y="13186"/>
                            <a:pt x="7215" y="13059"/>
                            <a:pt x="6529" y="13059"/>
                          </a:cubicBezTo>
                          <a:cubicBezTo>
                            <a:pt x="2922" y="13059"/>
                            <a:pt x="0" y="10137"/>
                            <a:pt x="0" y="6529"/>
                          </a:cubicBezTo>
                          <a:cubicBezTo>
                            <a:pt x="0" y="2922"/>
                            <a:pt x="2922" y="0"/>
                            <a:pt x="6529" y="0"/>
                          </a:cubicBezTo>
                          <a:lnTo>
                            <a:pt x="94180" y="0"/>
                          </a:lnTo>
                          <a:cubicBezTo>
                            <a:pt x="99337" y="0"/>
                            <a:pt x="103961" y="2210"/>
                            <a:pt x="106882" y="6072"/>
                          </a:cubicBezTo>
                          <a:cubicBezTo>
                            <a:pt x="110007" y="10213"/>
                            <a:pt x="110871" y="15802"/>
                            <a:pt x="109271" y="21417"/>
                          </a:cubicBezTo>
                          <a:lnTo>
                            <a:pt x="105561" y="34501"/>
                          </a:lnTo>
                          <a:cubicBezTo>
                            <a:pt x="104825" y="37271"/>
                            <a:pt x="102259" y="39201"/>
                            <a:pt x="99312" y="39201"/>
                          </a:cubicBezTo>
                          <a:close/>
                          <a:moveTo>
                            <a:pt x="19740" y="26117"/>
                          </a:moveTo>
                          <a:lnTo>
                            <a:pt x="94383" y="26117"/>
                          </a:lnTo>
                          <a:lnTo>
                            <a:pt x="96746" y="17784"/>
                          </a:lnTo>
                          <a:cubicBezTo>
                            <a:pt x="97203" y="16158"/>
                            <a:pt x="97101" y="14710"/>
                            <a:pt x="96492" y="13897"/>
                          </a:cubicBezTo>
                          <a:cubicBezTo>
                            <a:pt x="96060" y="13338"/>
                            <a:pt x="95297" y="13033"/>
                            <a:pt x="94230" y="13033"/>
                          </a:cubicBezTo>
                          <a:lnTo>
                            <a:pt x="21976" y="13033"/>
                          </a:lnTo>
                          <a:cubicBezTo>
                            <a:pt x="22357" y="15752"/>
                            <a:pt x="22103" y="18648"/>
                            <a:pt x="21163" y="21544"/>
                          </a:cubicBezTo>
                          <a:lnTo>
                            <a:pt x="19740" y="26117"/>
                          </a:lnTo>
                          <a:close/>
                        </a:path>
                      </a:pathLst>
                    </a:custGeom>
                    <a:grpFill/>
                    <a:ln w="2536" cap="flat">
                      <a:noFill/>
                      <a:prstDash val="solid"/>
                      <a:miter/>
                    </a:ln>
                  </p:spPr>
                  <p:txBody>
                    <a:bodyPr rtlCol="0" anchor="ctr"/>
                    <a:lstStyle/>
                    <a:p>
                      <a:endParaRPr lang="en-GB" dirty="0"/>
                    </a:p>
                  </p:txBody>
                </p:sp>
              </p:grpSp>
              <p:sp>
                <p:nvSpPr>
                  <p:cNvPr id="606" name="Freihandform: Form 528">
                    <a:extLst>
                      <a:ext uri="{FF2B5EF4-FFF2-40B4-BE49-F238E27FC236}">
                        <a16:creationId xmlns:a16="http://schemas.microsoft.com/office/drawing/2014/main" id="{D173606A-2E66-4DA4-BFD7-4BCE0C4C16A6}"/>
                      </a:ext>
                    </a:extLst>
                  </p:cNvPr>
                  <p:cNvSpPr/>
                  <p:nvPr/>
                </p:nvSpPr>
                <p:spPr>
                  <a:xfrm>
                    <a:off x="2739447" y="4312313"/>
                    <a:ext cx="46573" cy="52336"/>
                  </a:xfrm>
                  <a:custGeom>
                    <a:avLst/>
                    <a:gdLst>
                      <a:gd name="connsiteX0" fmla="*/ 23073 w 46573"/>
                      <a:gd name="connsiteY0" fmla="*/ 52336 h 52336"/>
                      <a:gd name="connsiteX1" fmla="*/ 12098 w 46573"/>
                      <a:gd name="connsiteY1" fmla="*/ 52336 h 52336"/>
                      <a:gd name="connsiteX2" fmla="*/ 2317 w 46573"/>
                      <a:gd name="connsiteY2" fmla="*/ 47636 h 52336"/>
                      <a:gd name="connsiteX3" fmla="*/ 614 w 46573"/>
                      <a:gd name="connsiteY3" fmla="*/ 36381 h 52336"/>
                      <a:gd name="connsiteX4" fmla="*/ 7830 w 46573"/>
                      <a:gd name="connsiteY4" fmla="*/ 12220 h 52336"/>
                      <a:gd name="connsiteX5" fmla="*/ 23709 w 46573"/>
                      <a:gd name="connsiteY5" fmla="*/ 0 h 52336"/>
                      <a:gd name="connsiteX6" fmla="*/ 34531 w 46573"/>
                      <a:gd name="connsiteY6" fmla="*/ 0 h 52336"/>
                      <a:gd name="connsiteX7" fmla="*/ 44211 w 46573"/>
                      <a:gd name="connsiteY7" fmla="*/ 4649 h 52336"/>
                      <a:gd name="connsiteX8" fmla="*/ 45990 w 46573"/>
                      <a:gd name="connsiteY8" fmla="*/ 15904 h 52336"/>
                      <a:gd name="connsiteX9" fmla="*/ 39003 w 46573"/>
                      <a:gd name="connsiteY9" fmla="*/ 40065 h 52336"/>
                      <a:gd name="connsiteX10" fmla="*/ 23073 w 46573"/>
                      <a:gd name="connsiteY10" fmla="*/ 52336 h 52336"/>
                      <a:gd name="connsiteX11" fmla="*/ 13419 w 46573"/>
                      <a:gd name="connsiteY11" fmla="*/ 39252 h 52336"/>
                      <a:gd name="connsiteX12" fmla="*/ 23073 w 46573"/>
                      <a:gd name="connsiteY12" fmla="*/ 39252 h 52336"/>
                      <a:gd name="connsiteX13" fmla="*/ 26452 w 46573"/>
                      <a:gd name="connsiteY13" fmla="*/ 36432 h 52336"/>
                      <a:gd name="connsiteX14" fmla="*/ 33210 w 46573"/>
                      <a:gd name="connsiteY14" fmla="*/ 13084 h 52336"/>
                      <a:gd name="connsiteX15" fmla="*/ 23734 w 46573"/>
                      <a:gd name="connsiteY15" fmla="*/ 13084 h 52336"/>
                      <a:gd name="connsiteX16" fmla="*/ 20380 w 46573"/>
                      <a:gd name="connsiteY16" fmla="*/ 15955 h 52336"/>
                      <a:gd name="connsiteX17" fmla="*/ 13419 w 46573"/>
                      <a:gd name="connsiteY17" fmla="*/ 39252 h 5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573" h="52336">
                        <a:moveTo>
                          <a:pt x="23073" y="52336"/>
                        </a:moveTo>
                        <a:lnTo>
                          <a:pt x="12098" y="52336"/>
                        </a:lnTo>
                        <a:cubicBezTo>
                          <a:pt x="8109" y="52336"/>
                          <a:pt x="4553" y="50608"/>
                          <a:pt x="2317" y="47636"/>
                        </a:cubicBezTo>
                        <a:cubicBezTo>
                          <a:pt x="5" y="44536"/>
                          <a:pt x="-605" y="40446"/>
                          <a:pt x="614" y="36381"/>
                        </a:cubicBezTo>
                        <a:lnTo>
                          <a:pt x="7830" y="12220"/>
                        </a:lnTo>
                        <a:cubicBezTo>
                          <a:pt x="9888" y="5259"/>
                          <a:pt x="16722" y="0"/>
                          <a:pt x="23709" y="0"/>
                        </a:cubicBezTo>
                        <a:lnTo>
                          <a:pt x="34531" y="0"/>
                        </a:lnTo>
                        <a:cubicBezTo>
                          <a:pt x="38469" y="0"/>
                          <a:pt x="41975" y="1702"/>
                          <a:pt x="44211" y="4649"/>
                        </a:cubicBezTo>
                        <a:cubicBezTo>
                          <a:pt x="46523" y="7723"/>
                          <a:pt x="47184" y="11839"/>
                          <a:pt x="45990" y="15904"/>
                        </a:cubicBezTo>
                        <a:lnTo>
                          <a:pt x="39003" y="40065"/>
                        </a:lnTo>
                        <a:cubicBezTo>
                          <a:pt x="36970" y="47051"/>
                          <a:pt x="30136" y="52336"/>
                          <a:pt x="23073" y="52336"/>
                        </a:cubicBezTo>
                        <a:close/>
                        <a:moveTo>
                          <a:pt x="13419" y="39252"/>
                        </a:moveTo>
                        <a:lnTo>
                          <a:pt x="23073" y="39252"/>
                        </a:lnTo>
                        <a:cubicBezTo>
                          <a:pt x="24191" y="39252"/>
                          <a:pt x="26020" y="37880"/>
                          <a:pt x="26452" y="36432"/>
                        </a:cubicBezTo>
                        <a:lnTo>
                          <a:pt x="33210" y="13084"/>
                        </a:lnTo>
                        <a:lnTo>
                          <a:pt x="23734" y="13084"/>
                        </a:lnTo>
                        <a:cubicBezTo>
                          <a:pt x="22743" y="13084"/>
                          <a:pt x="20863" y="14380"/>
                          <a:pt x="20380" y="15955"/>
                        </a:cubicBezTo>
                        <a:lnTo>
                          <a:pt x="13419" y="39252"/>
                        </a:lnTo>
                        <a:close/>
                      </a:path>
                    </a:pathLst>
                  </a:custGeom>
                  <a:grpFill/>
                  <a:ln w="2536" cap="flat">
                    <a:noFill/>
                    <a:prstDash val="solid"/>
                    <a:miter/>
                  </a:ln>
                </p:spPr>
                <p:txBody>
                  <a:bodyPr rtlCol="0" anchor="ctr"/>
                  <a:lstStyle/>
                  <a:p>
                    <a:endParaRPr lang="en-GB" dirty="0"/>
                  </a:p>
                </p:txBody>
              </p:sp>
            </p:grpSp>
            <p:sp>
              <p:nvSpPr>
                <p:cNvPr id="597" name="Freihandform: Form 529">
                  <a:extLst>
                    <a:ext uri="{FF2B5EF4-FFF2-40B4-BE49-F238E27FC236}">
                      <a16:creationId xmlns:a16="http://schemas.microsoft.com/office/drawing/2014/main" id="{7105BD93-2A57-4E11-A8C1-B9E457BDFC30}"/>
                    </a:ext>
                  </a:extLst>
                </p:cNvPr>
                <p:cNvSpPr/>
                <p:nvPr/>
              </p:nvSpPr>
              <p:spPr>
                <a:xfrm>
                  <a:off x="2606731" y="4359212"/>
                  <a:ext cx="13058" cy="209319"/>
                </a:xfrm>
                <a:custGeom>
                  <a:avLst/>
                  <a:gdLst>
                    <a:gd name="connsiteX0" fmla="*/ 6529 w 13058"/>
                    <a:gd name="connsiteY0" fmla="*/ 209319 h 209319"/>
                    <a:gd name="connsiteX1" fmla="*/ 0 w 13058"/>
                    <a:gd name="connsiteY1" fmla="*/ 202790 h 209319"/>
                    <a:gd name="connsiteX2" fmla="*/ 0 w 13058"/>
                    <a:gd name="connsiteY2" fmla="*/ 6529 h 209319"/>
                    <a:gd name="connsiteX3" fmla="*/ 6529 w 13058"/>
                    <a:gd name="connsiteY3" fmla="*/ 0 h 209319"/>
                    <a:gd name="connsiteX4" fmla="*/ 13059 w 13058"/>
                    <a:gd name="connsiteY4" fmla="*/ 6529 h 209319"/>
                    <a:gd name="connsiteX5" fmla="*/ 13059 w 13058"/>
                    <a:gd name="connsiteY5" fmla="*/ 202790 h 209319"/>
                    <a:gd name="connsiteX6" fmla="*/ 6529 w 13058"/>
                    <a:gd name="connsiteY6" fmla="*/ 209319 h 20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8" h="209319">
                      <a:moveTo>
                        <a:pt x="6529" y="209319"/>
                      </a:moveTo>
                      <a:cubicBezTo>
                        <a:pt x="2922" y="209319"/>
                        <a:pt x="0" y="206397"/>
                        <a:pt x="0" y="202790"/>
                      </a:cubicBezTo>
                      <a:lnTo>
                        <a:pt x="0" y="6529"/>
                      </a:lnTo>
                      <a:cubicBezTo>
                        <a:pt x="0" y="2922"/>
                        <a:pt x="2922" y="0"/>
                        <a:pt x="6529" y="0"/>
                      </a:cubicBezTo>
                      <a:cubicBezTo>
                        <a:pt x="10137" y="0"/>
                        <a:pt x="13059" y="2922"/>
                        <a:pt x="13059" y="6529"/>
                      </a:cubicBezTo>
                      <a:lnTo>
                        <a:pt x="13059" y="202790"/>
                      </a:lnTo>
                      <a:cubicBezTo>
                        <a:pt x="13084" y="206397"/>
                        <a:pt x="10137" y="209319"/>
                        <a:pt x="6529" y="209319"/>
                      </a:cubicBezTo>
                      <a:close/>
                    </a:path>
                  </a:pathLst>
                </a:custGeom>
                <a:grpFill/>
                <a:ln w="2536" cap="flat">
                  <a:noFill/>
                  <a:prstDash val="solid"/>
                  <a:miter/>
                </a:ln>
              </p:spPr>
              <p:txBody>
                <a:bodyPr rtlCol="0" anchor="ctr"/>
                <a:lstStyle/>
                <a:p>
                  <a:endParaRPr lang="en-GB" dirty="0"/>
                </a:p>
              </p:txBody>
            </p:sp>
            <p:sp>
              <p:nvSpPr>
                <p:cNvPr id="598" name="Freihandform: Form 530">
                  <a:extLst>
                    <a:ext uri="{FF2B5EF4-FFF2-40B4-BE49-F238E27FC236}">
                      <a16:creationId xmlns:a16="http://schemas.microsoft.com/office/drawing/2014/main" id="{4D7DB8B9-AE9D-4F88-8171-D908EB024BE1}"/>
                    </a:ext>
                  </a:extLst>
                </p:cNvPr>
                <p:cNvSpPr/>
                <p:nvPr/>
              </p:nvSpPr>
              <p:spPr>
                <a:xfrm>
                  <a:off x="2724487" y="4385380"/>
                  <a:ext cx="13058" cy="183151"/>
                </a:xfrm>
                <a:custGeom>
                  <a:avLst/>
                  <a:gdLst>
                    <a:gd name="connsiteX0" fmla="*/ 6529 w 13058"/>
                    <a:gd name="connsiteY0" fmla="*/ 183151 h 183151"/>
                    <a:gd name="connsiteX1" fmla="*/ 0 w 13058"/>
                    <a:gd name="connsiteY1" fmla="*/ 176622 h 183151"/>
                    <a:gd name="connsiteX2" fmla="*/ 0 w 13058"/>
                    <a:gd name="connsiteY2" fmla="*/ 6529 h 183151"/>
                    <a:gd name="connsiteX3" fmla="*/ 6529 w 13058"/>
                    <a:gd name="connsiteY3" fmla="*/ 0 h 183151"/>
                    <a:gd name="connsiteX4" fmla="*/ 13059 w 13058"/>
                    <a:gd name="connsiteY4" fmla="*/ 6529 h 183151"/>
                    <a:gd name="connsiteX5" fmla="*/ 13059 w 13058"/>
                    <a:gd name="connsiteY5" fmla="*/ 176622 h 183151"/>
                    <a:gd name="connsiteX6" fmla="*/ 6529 w 13058"/>
                    <a:gd name="connsiteY6" fmla="*/ 183151 h 18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8" h="183151">
                      <a:moveTo>
                        <a:pt x="6529" y="183151"/>
                      </a:moveTo>
                      <a:cubicBezTo>
                        <a:pt x="2922" y="183151"/>
                        <a:pt x="0" y="180230"/>
                        <a:pt x="0" y="176622"/>
                      </a:cubicBezTo>
                      <a:lnTo>
                        <a:pt x="0" y="6529"/>
                      </a:lnTo>
                      <a:cubicBezTo>
                        <a:pt x="0" y="2922"/>
                        <a:pt x="2922" y="0"/>
                        <a:pt x="6529" y="0"/>
                      </a:cubicBezTo>
                      <a:cubicBezTo>
                        <a:pt x="10137" y="0"/>
                        <a:pt x="13059" y="2922"/>
                        <a:pt x="13059" y="6529"/>
                      </a:cubicBezTo>
                      <a:lnTo>
                        <a:pt x="13059" y="176622"/>
                      </a:lnTo>
                      <a:cubicBezTo>
                        <a:pt x="13059" y="180230"/>
                        <a:pt x="10137" y="183151"/>
                        <a:pt x="6529" y="183151"/>
                      </a:cubicBezTo>
                      <a:close/>
                    </a:path>
                  </a:pathLst>
                </a:custGeom>
                <a:grpFill/>
                <a:ln w="2536" cap="flat">
                  <a:noFill/>
                  <a:prstDash val="solid"/>
                  <a:miter/>
                </a:ln>
              </p:spPr>
              <p:txBody>
                <a:bodyPr rtlCol="0" anchor="ctr"/>
                <a:lstStyle/>
                <a:p>
                  <a:endParaRPr lang="en-GB" dirty="0"/>
                </a:p>
              </p:txBody>
            </p:sp>
            <p:sp>
              <p:nvSpPr>
                <p:cNvPr id="599" name="Freihandform: Form 531">
                  <a:extLst>
                    <a:ext uri="{FF2B5EF4-FFF2-40B4-BE49-F238E27FC236}">
                      <a16:creationId xmlns:a16="http://schemas.microsoft.com/office/drawing/2014/main" id="{DCA75F66-D580-46E9-8A73-C79EC97FE02F}"/>
                    </a:ext>
                  </a:extLst>
                </p:cNvPr>
                <p:cNvSpPr/>
                <p:nvPr/>
              </p:nvSpPr>
              <p:spPr>
                <a:xfrm>
                  <a:off x="2665622" y="4424632"/>
                  <a:ext cx="13058" cy="143899"/>
                </a:xfrm>
                <a:custGeom>
                  <a:avLst/>
                  <a:gdLst>
                    <a:gd name="connsiteX0" fmla="*/ 6529 w 13058"/>
                    <a:gd name="connsiteY0" fmla="*/ 143899 h 143899"/>
                    <a:gd name="connsiteX1" fmla="*/ 0 w 13058"/>
                    <a:gd name="connsiteY1" fmla="*/ 137370 h 143899"/>
                    <a:gd name="connsiteX2" fmla="*/ 0 w 13058"/>
                    <a:gd name="connsiteY2" fmla="*/ 6529 h 143899"/>
                    <a:gd name="connsiteX3" fmla="*/ 6529 w 13058"/>
                    <a:gd name="connsiteY3" fmla="*/ 0 h 143899"/>
                    <a:gd name="connsiteX4" fmla="*/ 13059 w 13058"/>
                    <a:gd name="connsiteY4" fmla="*/ 6529 h 143899"/>
                    <a:gd name="connsiteX5" fmla="*/ 13059 w 13058"/>
                    <a:gd name="connsiteY5" fmla="*/ 137370 h 143899"/>
                    <a:gd name="connsiteX6" fmla="*/ 6529 w 13058"/>
                    <a:gd name="connsiteY6" fmla="*/ 143899 h 14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58" h="143899">
                      <a:moveTo>
                        <a:pt x="6529" y="143899"/>
                      </a:moveTo>
                      <a:cubicBezTo>
                        <a:pt x="2922" y="143899"/>
                        <a:pt x="0" y="140977"/>
                        <a:pt x="0" y="137370"/>
                      </a:cubicBezTo>
                      <a:lnTo>
                        <a:pt x="0" y="6529"/>
                      </a:lnTo>
                      <a:cubicBezTo>
                        <a:pt x="0" y="2922"/>
                        <a:pt x="2922" y="0"/>
                        <a:pt x="6529" y="0"/>
                      </a:cubicBezTo>
                      <a:cubicBezTo>
                        <a:pt x="10137" y="0"/>
                        <a:pt x="13059" y="2922"/>
                        <a:pt x="13059" y="6529"/>
                      </a:cubicBezTo>
                      <a:lnTo>
                        <a:pt x="13059" y="137370"/>
                      </a:lnTo>
                      <a:cubicBezTo>
                        <a:pt x="13059" y="140977"/>
                        <a:pt x="10137" y="143899"/>
                        <a:pt x="6529" y="143899"/>
                      </a:cubicBezTo>
                      <a:close/>
                    </a:path>
                  </a:pathLst>
                </a:custGeom>
                <a:grpFill/>
                <a:ln w="2536" cap="flat">
                  <a:noFill/>
                  <a:prstDash val="solid"/>
                  <a:miter/>
                </a:ln>
              </p:spPr>
              <p:txBody>
                <a:bodyPr rtlCol="0" anchor="ctr"/>
                <a:lstStyle/>
                <a:p>
                  <a:endParaRPr lang="en-GB" dirty="0"/>
                </a:p>
              </p:txBody>
            </p:sp>
            <p:sp>
              <p:nvSpPr>
                <p:cNvPr id="600" name="Freihandform: Form 532">
                  <a:extLst>
                    <a:ext uri="{FF2B5EF4-FFF2-40B4-BE49-F238E27FC236}">
                      <a16:creationId xmlns:a16="http://schemas.microsoft.com/office/drawing/2014/main" id="{823A0736-8891-4D6D-803E-E5E53980F2FB}"/>
                    </a:ext>
                  </a:extLst>
                </p:cNvPr>
                <p:cNvSpPr/>
                <p:nvPr/>
              </p:nvSpPr>
              <p:spPr>
                <a:xfrm>
                  <a:off x="2632899" y="4202229"/>
                  <a:ext cx="134882" cy="70120"/>
                </a:xfrm>
                <a:custGeom>
                  <a:avLst/>
                  <a:gdLst>
                    <a:gd name="connsiteX0" fmla="*/ 128325 w 134882"/>
                    <a:gd name="connsiteY0" fmla="*/ 70120 h 70120"/>
                    <a:gd name="connsiteX1" fmla="*/ 121974 w 134882"/>
                    <a:gd name="connsiteY1" fmla="*/ 65090 h 70120"/>
                    <a:gd name="connsiteX2" fmla="*/ 58865 w 134882"/>
                    <a:gd name="connsiteY2" fmla="*/ 13059 h 70120"/>
                    <a:gd name="connsiteX3" fmla="*/ 6529 w 134882"/>
                    <a:gd name="connsiteY3" fmla="*/ 13059 h 70120"/>
                    <a:gd name="connsiteX4" fmla="*/ 0 w 134882"/>
                    <a:gd name="connsiteY4" fmla="*/ 6529 h 70120"/>
                    <a:gd name="connsiteX5" fmla="*/ 6529 w 134882"/>
                    <a:gd name="connsiteY5" fmla="*/ 0 h 70120"/>
                    <a:gd name="connsiteX6" fmla="*/ 58865 w 134882"/>
                    <a:gd name="connsiteY6" fmla="*/ 0 h 70120"/>
                    <a:gd name="connsiteX7" fmla="*/ 134702 w 134882"/>
                    <a:gd name="connsiteY7" fmla="*/ 62092 h 70120"/>
                    <a:gd name="connsiteX8" fmla="*/ 129849 w 134882"/>
                    <a:gd name="connsiteY8" fmla="*/ 69968 h 70120"/>
                    <a:gd name="connsiteX9" fmla="*/ 128325 w 134882"/>
                    <a:gd name="connsiteY9" fmla="*/ 70120 h 7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4882" h="70120">
                      <a:moveTo>
                        <a:pt x="128325" y="70120"/>
                      </a:moveTo>
                      <a:cubicBezTo>
                        <a:pt x="125378" y="70120"/>
                        <a:pt x="122685" y="68113"/>
                        <a:pt x="121974" y="65090"/>
                      </a:cubicBezTo>
                      <a:cubicBezTo>
                        <a:pt x="114428" y="33485"/>
                        <a:pt x="89658" y="13059"/>
                        <a:pt x="58865" y="13059"/>
                      </a:cubicBezTo>
                      <a:lnTo>
                        <a:pt x="6529" y="13059"/>
                      </a:lnTo>
                      <a:cubicBezTo>
                        <a:pt x="2922" y="13059"/>
                        <a:pt x="0" y="10137"/>
                        <a:pt x="0" y="6529"/>
                      </a:cubicBezTo>
                      <a:cubicBezTo>
                        <a:pt x="0" y="2922"/>
                        <a:pt x="2922" y="0"/>
                        <a:pt x="6529" y="0"/>
                      </a:cubicBezTo>
                      <a:lnTo>
                        <a:pt x="58865" y="0"/>
                      </a:lnTo>
                      <a:cubicBezTo>
                        <a:pt x="95933" y="0"/>
                        <a:pt x="125683" y="24364"/>
                        <a:pt x="134702" y="62092"/>
                      </a:cubicBezTo>
                      <a:cubicBezTo>
                        <a:pt x="135541" y="65598"/>
                        <a:pt x="133381" y="69129"/>
                        <a:pt x="129849" y="69968"/>
                      </a:cubicBezTo>
                      <a:cubicBezTo>
                        <a:pt x="129341" y="70044"/>
                        <a:pt x="128833" y="70120"/>
                        <a:pt x="128325" y="70120"/>
                      </a:cubicBezTo>
                      <a:close/>
                    </a:path>
                  </a:pathLst>
                </a:custGeom>
                <a:grpFill/>
                <a:ln w="2536" cap="flat">
                  <a:noFill/>
                  <a:prstDash val="solid"/>
                  <a:miter/>
                </a:ln>
              </p:spPr>
              <p:txBody>
                <a:bodyPr rtlCol="0" anchor="ctr"/>
                <a:lstStyle/>
                <a:p>
                  <a:endParaRPr lang="en-GB" dirty="0"/>
                </a:p>
              </p:txBody>
            </p:sp>
            <p:sp>
              <p:nvSpPr>
                <p:cNvPr id="601" name="Freihandform: Form 533">
                  <a:extLst>
                    <a:ext uri="{FF2B5EF4-FFF2-40B4-BE49-F238E27FC236}">
                      <a16:creationId xmlns:a16="http://schemas.microsoft.com/office/drawing/2014/main" id="{EF023BCB-AAC1-4411-B505-C26482150B37}"/>
                    </a:ext>
                  </a:extLst>
                </p:cNvPr>
                <p:cNvSpPr/>
                <p:nvPr/>
              </p:nvSpPr>
              <p:spPr>
                <a:xfrm>
                  <a:off x="2619815" y="4084447"/>
                  <a:ext cx="91562" cy="104672"/>
                </a:xfrm>
                <a:custGeom>
                  <a:avLst/>
                  <a:gdLst>
                    <a:gd name="connsiteX0" fmla="*/ 45781 w 91562"/>
                    <a:gd name="connsiteY0" fmla="*/ 104672 h 104672"/>
                    <a:gd name="connsiteX1" fmla="*/ 0 w 91562"/>
                    <a:gd name="connsiteY1" fmla="*/ 52336 h 104672"/>
                    <a:gd name="connsiteX2" fmla="*/ 45781 w 91562"/>
                    <a:gd name="connsiteY2" fmla="*/ 0 h 104672"/>
                    <a:gd name="connsiteX3" fmla="*/ 91563 w 91562"/>
                    <a:gd name="connsiteY3" fmla="*/ 52336 h 104672"/>
                    <a:gd name="connsiteX4" fmla="*/ 45781 w 91562"/>
                    <a:gd name="connsiteY4" fmla="*/ 104672 h 104672"/>
                    <a:gd name="connsiteX5" fmla="*/ 45781 w 91562"/>
                    <a:gd name="connsiteY5" fmla="*/ 13084 h 104672"/>
                    <a:gd name="connsiteX6" fmla="*/ 13084 w 91562"/>
                    <a:gd name="connsiteY6" fmla="*/ 52336 h 104672"/>
                    <a:gd name="connsiteX7" fmla="*/ 45781 w 91562"/>
                    <a:gd name="connsiteY7" fmla="*/ 91588 h 104672"/>
                    <a:gd name="connsiteX8" fmla="*/ 78479 w 91562"/>
                    <a:gd name="connsiteY8" fmla="*/ 52336 h 104672"/>
                    <a:gd name="connsiteX9" fmla="*/ 45781 w 91562"/>
                    <a:gd name="connsiteY9" fmla="*/ 13084 h 10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562" h="104672">
                      <a:moveTo>
                        <a:pt x="45781" y="104672"/>
                      </a:moveTo>
                      <a:cubicBezTo>
                        <a:pt x="18394" y="104672"/>
                        <a:pt x="0" y="83636"/>
                        <a:pt x="0" y="52336"/>
                      </a:cubicBezTo>
                      <a:cubicBezTo>
                        <a:pt x="0" y="21036"/>
                        <a:pt x="18394" y="0"/>
                        <a:pt x="45781" y="0"/>
                      </a:cubicBezTo>
                      <a:cubicBezTo>
                        <a:pt x="73169" y="0"/>
                        <a:pt x="91563" y="21036"/>
                        <a:pt x="91563" y="52336"/>
                      </a:cubicBezTo>
                      <a:cubicBezTo>
                        <a:pt x="91563" y="83636"/>
                        <a:pt x="73169" y="104672"/>
                        <a:pt x="45781" y="104672"/>
                      </a:cubicBezTo>
                      <a:close/>
                      <a:moveTo>
                        <a:pt x="45781" y="13084"/>
                      </a:moveTo>
                      <a:cubicBezTo>
                        <a:pt x="21646" y="13084"/>
                        <a:pt x="13084" y="34222"/>
                        <a:pt x="13084" y="52336"/>
                      </a:cubicBezTo>
                      <a:cubicBezTo>
                        <a:pt x="13084" y="70450"/>
                        <a:pt x="21646" y="91588"/>
                        <a:pt x="45781" y="91588"/>
                      </a:cubicBezTo>
                      <a:cubicBezTo>
                        <a:pt x="69917" y="91588"/>
                        <a:pt x="78479" y="70450"/>
                        <a:pt x="78479" y="52336"/>
                      </a:cubicBezTo>
                      <a:cubicBezTo>
                        <a:pt x="78479" y="34222"/>
                        <a:pt x="69917" y="13084"/>
                        <a:pt x="45781" y="13084"/>
                      </a:cubicBezTo>
                      <a:close/>
                    </a:path>
                  </a:pathLst>
                </a:custGeom>
                <a:grpFill/>
                <a:ln w="2536" cap="flat">
                  <a:noFill/>
                  <a:prstDash val="solid"/>
                  <a:miter/>
                </a:ln>
              </p:spPr>
              <p:txBody>
                <a:bodyPr rtlCol="0" anchor="ctr"/>
                <a:lstStyle/>
                <a:p>
                  <a:endParaRPr lang="en-GB" dirty="0"/>
                </a:p>
              </p:txBody>
            </p:sp>
            <p:sp>
              <p:nvSpPr>
                <p:cNvPr id="602" name="Freihandform: Form 534">
                  <a:extLst>
                    <a:ext uri="{FF2B5EF4-FFF2-40B4-BE49-F238E27FC236}">
                      <a16:creationId xmlns:a16="http://schemas.microsoft.com/office/drawing/2014/main" id="{F8DBE44C-0E4C-42AD-8B24-D60C1CFC6B45}"/>
                    </a:ext>
                  </a:extLst>
                </p:cNvPr>
                <p:cNvSpPr/>
                <p:nvPr/>
              </p:nvSpPr>
              <p:spPr>
                <a:xfrm>
                  <a:off x="2567301" y="4202203"/>
                  <a:ext cx="94865" cy="170067"/>
                </a:xfrm>
                <a:custGeom>
                  <a:avLst/>
                  <a:gdLst>
                    <a:gd name="connsiteX0" fmla="*/ 94866 w 94865"/>
                    <a:gd name="connsiteY0" fmla="*/ 170067 h 170067"/>
                    <a:gd name="connsiteX1" fmla="*/ 26168 w 94865"/>
                    <a:gd name="connsiteY1" fmla="*/ 170067 h 170067"/>
                    <a:gd name="connsiteX2" fmla="*/ 0 w 94865"/>
                    <a:gd name="connsiteY2" fmla="*/ 143899 h 170067"/>
                    <a:gd name="connsiteX3" fmla="*/ 0 w 94865"/>
                    <a:gd name="connsiteY3" fmla="*/ 71950 h 170067"/>
                    <a:gd name="connsiteX4" fmla="*/ 71950 w 94865"/>
                    <a:gd name="connsiteY4" fmla="*/ 0 h 170067"/>
                    <a:gd name="connsiteX5" fmla="*/ 93926 w 94865"/>
                    <a:gd name="connsiteY5" fmla="*/ 0 h 170067"/>
                    <a:gd name="connsiteX6" fmla="*/ 93926 w 94865"/>
                    <a:gd name="connsiteY6" fmla="*/ 13084 h 170067"/>
                    <a:gd name="connsiteX7" fmla="*/ 71950 w 94865"/>
                    <a:gd name="connsiteY7" fmla="*/ 13084 h 170067"/>
                    <a:gd name="connsiteX8" fmla="*/ 13084 w 94865"/>
                    <a:gd name="connsiteY8" fmla="*/ 71950 h 170067"/>
                    <a:gd name="connsiteX9" fmla="*/ 13084 w 94865"/>
                    <a:gd name="connsiteY9" fmla="*/ 143899 h 170067"/>
                    <a:gd name="connsiteX10" fmla="*/ 26168 w 94865"/>
                    <a:gd name="connsiteY10" fmla="*/ 156983 h 170067"/>
                    <a:gd name="connsiteX11" fmla="*/ 94866 w 94865"/>
                    <a:gd name="connsiteY11" fmla="*/ 156983 h 170067"/>
                    <a:gd name="connsiteX12" fmla="*/ 94866 w 94865"/>
                    <a:gd name="connsiteY12" fmla="*/ 170067 h 17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865" h="170067">
                      <a:moveTo>
                        <a:pt x="94866" y="170067"/>
                      </a:moveTo>
                      <a:lnTo>
                        <a:pt x="26168" y="170067"/>
                      </a:lnTo>
                      <a:cubicBezTo>
                        <a:pt x="11738" y="170067"/>
                        <a:pt x="0" y="158330"/>
                        <a:pt x="0" y="143899"/>
                      </a:cubicBezTo>
                      <a:lnTo>
                        <a:pt x="0" y="71950"/>
                      </a:lnTo>
                      <a:cubicBezTo>
                        <a:pt x="0" y="32266"/>
                        <a:pt x="32291" y="0"/>
                        <a:pt x="71950" y="0"/>
                      </a:cubicBezTo>
                      <a:lnTo>
                        <a:pt x="93926" y="0"/>
                      </a:lnTo>
                      <a:lnTo>
                        <a:pt x="93926" y="13084"/>
                      </a:lnTo>
                      <a:lnTo>
                        <a:pt x="71950" y="13084"/>
                      </a:lnTo>
                      <a:cubicBezTo>
                        <a:pt x="39481" y="13084"/>
                        <a:pt x="13084" y="39481"/>
                        <a:pt x="13084" y="71950"/>
                      </a:cubicBezTo>
                      <a:lnTo>
                        <a:pt x="13084" y="143899"/>
                      </a:lnTo>
                      <a:cubicBezTo>
                        <a:pt x="13084" y="151114"/>
                        <a:pt x="18953" y="156983"/>
                        <a:pt x="26168" y="156983"/>
                      </a:cubicBezTo>
                      <a:lnTo>
                        <a:pt x="94866" y="156983"/>
                      </a:lnTo>
                      <a:lnTo>
                        <a:pt x="94866" y="170067"/>
                      </a:lnTo>
                      <a:close/>
                    </a:path>
                  </a:pathLst>
                </a:custGeom>
                <a:grpFill/>
                <a:ln w="2536" cap="flat">
                  <a:noFill/>
                  <a:prstDash val="solid"/>
                  <a:miter/>
                </a:ln>
              </p:spPr>
              <p:txBody>
                <a:bodyPr rtlCol="0" anchor="ctr"/>
                <a:lstStyle/>
                <a:p>
                  <a:endParaRPr lang="en-GB" dirty="0"/>
                </a:p>
              </p:txBody>
            </p:sp>
            <p:sp>
              <p:nvSpPr>
                <p:cNvPr id="603" name="Freihandform: Form 535">
                  <a:extLst>
                    <a:ext uri="{FF2B5EF4-FFF2-40B4-BE49-F238E27FC236}">
                      <a16:creationId xmlns:a16="http://schemas.microsoft.com/office/drawing/2014/main" id="{E1A194A3-D893-43C5-8918-ECCCF237F37C}"/>
                    </a:ext>
                  </a:extLst>
                </p:cNvPr>
                <p:cNvSpPr/>
                <p:nvPr/>
              </p:nvSpPr>
              <p:spPr>
                <a:xfrm>
                  <a:off x="2606579" y="4280733"/>
                  <a:ext cx="68697" cy="52310"/>
                </a:xfrm>
                <a:custGeom>
                  <a:avLst/>
                  <a:gdLst>
                    <a:gd name="connsiteX0" fmla="*/ 68672 w 68697"/>
                    <a:gd name="connsiteY0" fmla="*/ 52311 h 52310"/>
                    <a:gd name="connsiteX1" fmla="*/ 6529 w 68697"/>
                    <a:gd name="connsiteY1" fmla="*/ 52311 h 52310"/>
                    <a:gd name="connsiteX2" fmla="*/ 0 w 68697"/>
                    <a:gd name="connsiteY2" fmla="*/ 45781 h 52310"/>
                    <a:gd name="connsiteX3" fmla="*/ 0 w 68697"/>
                    <a:gd name="connsiteY3" fmla="*/ 0 h 52310"/>
                    <a:gd name="connsiteX4" fmla="*/ 13084 w 68697"/>
                    <a:gd name="connsiteY4" fmla="*/ 0 h 52310"/>
                    <a:gd name="connsiteX5" fmla="*/ 13084 w 68697"/>
                    <a:gd name="connsiteY5" fmla="*/ 39252 h 52310"/>
                    <a:gd name="connsiteX6" fmla="*/ 68697 w 68697"/>
                    <a:gd name="connsiteY6" fmla="*/ 39252 h 52310"/>
                    <a:gd name="connsiteX7" fmla="*/ 68697 w 68697"/>
                    <a:gd name="connsiteY7" fmla="*/ 52311 h 52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97" h="52310">
                      <a:moveTo>
                        <a:pt x="68672" y="52311"/>
                      </a:moveTo>
                      <a:lnTo>
                        <a:pt x="6529" y="52311"/>
                      </a:lnTo>
                      <a:cubicBezTo>
                        <a:pt x="2922" y="52311"/>
                        <a:pt x="0" y="49389"/>
                        <a:pt x="0" y="45781"/>
                      </a:cubicBezTo>
                      <a:lnTo>
                        <a:pt x="0" y="0"/>
                      </a:lnTo>
                      <a:lnTo>
                        <a:pt x="13084" y="0"/>
                      </a:lnTo>
                      <a:lnTo>
                        <a:pt x="13084" y="39252"/>
                      </a:lnTo>
                      <a:lnTo>
                        <a:pt x="68697" y="39252"/>
                      </a:lnTo>
                      <a:lnTo>
                        <a:pt x="68697" y="52311"/>
                      </a:lnTo>
                      <a:close/>
                    </a:path>
                  </a:pathLst>
                </a:custGeom>
                <a:grpFill/>
                <a:ln w="2536" cap="flat">
                  <a:noFill/>
                  <a:prstDash val="solid"/>
                  <a:miter/>
                </a:ln>
              </p:spPr>
              <p:txBody>
                <a:bodyPr rtlCol="0" anchor="ctr"/>
                <a:lstStyle/>
                <a:p>
                  <a:endParaRPr lang="en-GB" dirty="0"/>
                </a:p>
              </p:txBody>
            </p:sp>
            <p:sp>
              <p:nvSpPr>
                <p:cNvPr id="604" name="Freihandform: Form 536">
                  <a:extLst>
                    <a:ext uri="{FF2B5EF4-FFF2-40B4-BE49-F238E27FC236}">
                      <a16:creationId xmlns:a16="http://schemas.microsoft.com/office/drawing/2014/main" id="{23FB7FF7-6B8F-4C15-83ED-999CEC9EADE4}"/>
                    </a:ext>
                  </a:extLst>
                </p:cNvPr>
                <p:cNvSpPr/>
                <p:nvPr/>
              </p:nvSpPr>
              <p:spPr>
                <a:xfrm>
                  <a:off x="2661080" y="4294610"/>
                  <a:ext cx="21965" cy="33784"/>
                </a:xfrm>
                <a:custGeom>
                  <a:avLst/>
                  <a:gdLst>
                    <a:gd name="connsiteX0" fmla="*/ 15416 w 21965"/>
                    <a:gd name="connsiteY0" fmla="*/ 33785 h 33784"/>
                    <a:gd name="connsiteX1" fmla="*/ 9395 w 21965"/>
                    <a:gd name="connsiteY1" fmla="*/ 29821 h 33784"/>
                    <a:gd name="connsiteX2" fmla="*/ 528 w 21965"/>
                    <a:gd name="connsiteY2" fmla="*/ 9116 h 33784"/>
                    <a:gd name="connsiteX3" fmla="*/ 3984 w 21965"/>
                    <a:gd name="connsiteY3" fmla="*/ 528 h 33784"/>
                    <a:gd name="connsiteX4" fmla="*/ 12571 w 21965"/>
                    <a:gd name="connsiteY4" fmla="*/ 3984 h 33784"/>
                    <a:gd name="connsiteX5" fmla="*/ 21438 w 21965"/>
                    <a:gd name="connsiteY5" fmla="*/ 24690 h 33784"/>
                    <a:gd name="connsiteX6" fmla="*/ 17982 w 21965"/>
                    <a:gd name="connsiteY6" fmla="*/ 33276 h 33784"/>
                    <a:gd name="connsiteX7" fmla="*/ 15416 w 21965"/>
                    <a:gd name="connsiteY7" fmla="*/ 33785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65" h="33784">
                      <a:moveTo>
                        <a:pt x="15416" y="33785"/>
                      </a:moveTo>
                      <a:cubicBezTo>
                        <a:pt x="12876" y="33785"/>
                        <a:pt x="10462" y="32286"/>
                        <a:pt x="9395" y="29821"/>
                      </a:cubicBezTo>
                      <a:lnTo>
                        <a:pt x="528" y="9116"/>
                      </a:lnTo>
                      <a:cubicBezTo>
                        <a:pt x="-894" y="5787"/>
                        <a:pt x="656" y="1951"/>
                        <a:pt x="3984" y="528"/>
                      </a:cubicBezTo>
                      <a:cubicBezTo>
                        <a:pt x="7261" y="-894"/>
                        <a:pt x="11148" y="655"/>
                        <a:pt x="12571" y="3984"/>
                      </a:cubicBezTo>
                      <a:lnTo>
                        <a:pt x="21438" y="24690"/>
                      </a:lnTo>
                      <a:cubicBezTo>
                        <a:pt x="22860" y="28018"/>
                        <a:pt x="21311" y="31854"/>
                        <a:pt x="17982" y="33276"/>
                      </a:cubicBezTo>
                      <a:cubicBezTo>
                        <a:pt x="17144" y="33632"/>
                        <a:pt x="16280" y="33785"/>
                        <a:pt x="15416" y="33785"/>
                      </a:cubicBezTo>
                      <a:close/>
                    </a:path>
                  </a:pathLst>
                </a:custGeom>
                <a:grpFill/>
                <a:ln w="2536" cap="flat">
                  <a:noFill/>
                  <a:prstDash val="solid"/>
                  <a:miter/>
                </a:ln>
              </p:spPr>
              <p:txBody>
                <a:bodyPr rtlCol="0" anchor="ctr"/>
                <a:lstStyle/>
                <a:p>
                  <a:endParaRPr lang="en-GB" dirty="0"/>
                </a:p>
              </p:txBody>
            </p:sp>
          </p:grpSp>
          <p:sp>
            <p:nvSpPr>
              <p:cNvPr id="594" name="Freihandform: Form 540">
                <a:extLst>
                  <a:ext uri="{FF2B5EF4-FFF2-40B4-BE49-F238E27FC236}">
                    <a16:creationId xmlns:a16="http://schemas.microsoft.com/office/drawing/2014/main" id="{298C24D2-3ED8-4CA0-833C-A945DB92152E}"/>
                  </a:ext>
                </a:extLst>
              </p:cNvPr>
              <p:cNvSpPr/>
              <p:nvPr/>
            </p:nvSpPr>
            <p:spPr>
              <a:xfrm>
                <a:off x="2975185" y="4280418"/>
                <a:ext cx="42264" cy="43759"/>
              </a:xfrm>
              <a:custGeom>
                <a:avLst/>
                <a:gdLst>
                  <a:gd name="connsiteX0" fmla="*/ 6537 w 42264"/>
                  <a:gd name="connsiteY0" fmla="*/ 43759 h 43759"/>
                  <a:gd name="connsiteX1" fmla="*/ 8 w 42264"/>
                  <a:gd name="connsiteY1" fmla="*/ 37560 h 43759"/>
                  <a:gd name="connsiteX2" fmla="*/ 6207 w 42264"/>
                  <a:gd name="connsiteY2" fmla="*/ 30701 h 43759"/>
                  <a:gd name="connsiteX3" fmla="*/ 28844 w 42264"/>
                  <a:gd name="connsiteY3" fmla="*/ 29532 h 43759"/>
                  <a:gd name="connsiteX4" fmla="*/ 27675 w 42264"/>
                  <a:gd name="connsiteY4" fmla="*/ 6895 h 43759"/>
                  <a:gd name="connsiteX5" fmla="*/ 33874 w 42264"/>
                  <a:gd name="connsiteY5" fmla="*/ 10 h 43759"/>
                  <a:gd name="connsiteX6" fmla="*/ 40759 w 42264"/>
                  <a:gd name="connsiteY6" fmla="*/ 6209 h 43759"/>
                  <a:gd name="connsiteX7" fmla="*/ 42258 w 42264"/>
                  <a:gd name="connsiteY7" fmla="*/ 35376 h 43759"/>
                  <a:gd name="connsiteX8" fmla="*/ 40581 w 42264"/>
                  <a:gd name="connsiteY8" fmla="*/ 40101 h 43759"/>
                  <a:gd name="connsiteX9" fmla="*/ 36059 w 42264"/>
                  <a:gd name="connsiteY9" fmla="*/ 42260 h 43759"/>
                  <a:gd name="connsiteX10" fmla="*/ 6893 w 42264"/>
                  <a:gd name="connsiteY10" fmla="*/ 43759 h 43759"/>
                  <a:gd name="connsiteX11" fmla="*/ 6537 w 42264"/>
                  <a:gd name="connsiteY11" fmla="*/ 43759 h 43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64" h="43759">
                    <a:moveTo>
                      <a:pt x="6537" y="43759"/>
                    </a:moveTo>
                    <a:cubicBezTo>
                      <a:pt x="3082" y="43759"/>
                      <a:pt x="186" y="41041"/>
                      <a:pt x="8" y="37560"/>
                    </a:cubicBezTo>
                    <a:cubicBezTo>
                      <a:pt x="-170" y="33953"/>
                      <a:pt x="2599" y="30879"/>
                      <a:pt x="6207" y="30701"/>
                    </a:cubicBezTo>
                    <a:lnTo>
                      <a:pt x="28844" y="29532"/>
                    </a:lnTo>
                    <a:lnTo>
                      <a:pt x="27675" y="6895"/>
                    </a:lnTo>
                    <a:cubicBezTo>
                      <a:pt x="27497" y="3288"/>
                      <a:pt x="30266" y="214"/>
                      <a:pt x="33874" y="10"/>
                    </a:cubicBezTo>
                    <a:cubicBezTo>
                      <a:pt x="37406" y="-193"/>
                      <a:pt x="40556" y="2602"/>
                      <a:pt x="40759" y="6209"/>
                    </a:cubicBezTo>
                    <a:lnTo>
                      <a:pt x="42258" y="35376"/>
                    </a:lnTo>
                    <a:cubicBezTo>
                      <a:pt x="42334" y="37103"/>
                      <a:pt x="41750" y="38805"/>
                      <a:pt x="40581" y="40101"/>
                    </a:cubicBezTo>
                    <a:cubicBezTo>
                      <a:pt x="39413" y="41397"/>
                      <a:pt x="37787" y="42159"/>
                      <a:pt x="36059" y="42260"/>
                    </a:cubicBezTo>
                    <a:lnTo>
                      <a:pt x="6893" y="43759"/>
                    </a:lnTo>
                    <a:cubicBezTo>
                      <a:pt x="6766" y="43759"/>
                      <a:pt x="6639" y="43759"/>
                      <a:pt x="6537" y="43759"/>
                    </a:cubicBezTo>
                    <a:close/>
                  </a:path>
                </a:pathLst>
              </a:custGeom>
              <a:grpFill/>
              <a:ln w="2536" cap="flat">
                <a:noFill/>
                <a:prstDash val="solid"/>
                <a:miter/>
              </a:ln>
            </p:spPr>
            <p:txBody>
              <a:bodyPr rtlCol="0" anchor="ctr"/>
              <a:lstStyle/>
              <a:p>
                <a:endParaRPr lang="en-GB" dirty="0"/>
              </a:p>
            </p:txBody>
          </p:sp>
          <p:sp>
            <p:nvSpPr>
              <p:cNvPr id="595" name="Freihandform: Form 541">
                <a:extLst>
                  <a:ext uri="{FF2B5EF4-FFF2-40B4-BE49-F238E27FC236}">
                    <a16:creationId xmlns:a16="http://schemas.microsoft.com/office/drawing/2014/main" id="{DF9374E4-4051-4C59-B76F-E2E069022D30}"/>
                  </a:ext>
                </a:extLst>
              </p:cNvPr>
              <p:cNvSpPr/>
              <p:nvPr/>
            </p:nvSpPr>
            <p:spPr>
              <a:xfrm>
                <a:off x="2808460" y="4262052"/>
                <a:ext cx="202833" cy="97134"/>
              </a:xfrm>
              <a:custGeom>
                <a:avLst/>
                <a:gdLst>
                  <a:gd name="connsiteX0" fmla="*/ 6549 w 202833"/>
                  <a:gd name="connsiteY0" fmla="*/ 97135 h 97134"/>
                  <a:gd name="connsiteX1" fmla="*/ 1671 w 202833"/>
                  <a:gd name="connsiteY1" fmla="*/ 94950 h 97134"/>
                  <a:gd name="connsiteX2" fmla="*/ 2179 w 202833"/>
                  <a:gd name="connsiteY2" fmla="*/ 85727 h 97134"/>
                  <a:gd name="connsiteX3" fmla="*/ 45521 w 202833"/>
                  <a:gd name="connsiteY3" fmla="*/ 46983 h 97134"/>
                  <a:gd name="connsiteX4" fmla="*/ 53804 w 202833"/>
                  <a:gd name="connsiteY4" fmla="*/ 46628 h 97134"/>
                  <a:gd name="connsiteX5" fmla="*/ 80734 w 202833"/>
                  <a:gd name="connsiteY5" fmla="*/ 66825 h 97134"/>
                  <a:gd name="connsiteX6" fmla="*/ 144350 w 202833"/>
                  <a:gd name="connsiteY6" fmla="*/ 1964 h 97134"/>
                  <a:gd name="connsiteX7" fmla="*/ 153319 w 202833"/>
                  <a:gd name="connsiteY7" fmla="*/ 1608 h 97134"/>
                  <a:gd name="connsiteX8" fmla="*/ 200599 w 202833"/>
                  <a:gd name="connsiteY8" fmla="*/ 42969 h 97134"/>
                  <a:gd name="connsiteX9" fmla="*/ 201209 w 202833"/>
                  <a:gd name="connsiteY9" fmla="*/ 52191 h 97134"/>
                  <a:gd name="connsiteX10" fmla="*/ 191986 w 202833"/>
                  <a:gd name="connsiteY10" fmla="*/ 52801 h 97134"/>
                  <a:gd name="connsiteX11" fmla="*/ 149355 w 202833"/>
                  <a:gd name="connsiteY11" fmla="*/ 15505 h 97134"/>
                  <a:gd name="connsiteX12" fmla="*/ 86044 w 202833"/>
                  <a:gd name="connsiteY12" fmla="*/ 80036 h 97134"/>
                  <a:gd name="connsiteX13" fmla="*/ 77457 w 202833"/>
                  <a:gd name="connsiteY13" fmla="*/ 80697 h 97134"/>
                  <a:gd name="connsiteX14" fmla="*/ 50221 w 202833"/>
                  <a:gd name="connsiteY14" fmla="*/ 60271 h 97134"/>
                  <a:gd name="connsiteX15" fmla="*/ 10868 w 202833"/>
                  <a:gd name="connsiteY15" fmla="*/ 95432 h 97134"/>
                  <a:gd name="connsiteX16" fmla="*/ 6549 w 202833"/>
                  <a:gd name="connsiteY16" fmla="*/ 97135 h 97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2833" h="97134">
                    <a:moveTo>
                      <a:pt x="6549" y="97135"/>
                    </a:moveTo>
                    <a:cubicBezTo>
                      <a:pt x="4745" y="97135"/>
                      <a:pt x="2967" y="96398"/>
                      <a:pt x="1671" y="94950"/>
                    </a:cubicBezTo>
                    <a:cubicBezTo>
                      <a:pt x="-743" y="92256"/>
                      <a:pt x="-514" y="88115"/>
                      <a:pt x="2179" y="85727"/>
                    </a:cubicBezTo>
                    <a:lnTo>
                      <a:pt x="45521" y="46983"/>
                    </a:lnTo>
                    <a:cubicBezTo>
                      <a:pt x="47833" y="44900"/>
                      <a:pt x="51314" y="44773"/>
                      <a:pt x="53804" y="46628"/>
                    </a:cubicBezTo>
                    <a:lnTo>
                      <a:pt x="80734" y="66825"/>
                    </a:lnTo>
                    <a:lnTo>
                      <a:pt x="144350" y="1964"/>
                    </a:lnTo>
                    <a:cubicBezTo>
                      <a:pt x="146789" y="-526"/>
                      <a:pt x="150727" y="-653"/>
                      <a:pt x="153319" y="1608"/>
                    </a:cubicBezTo>
                    <a:lnTo>
                      <a:pt x="200599" y="42969"/>
                    </a:lnTo>
                    <a:cubicBezTo>
                      <a:pt x="203317" y="45357"/>
                      <a:pt x="203597" y="49473"/>
                      <a:pt x="201209" y="52191"/>
                    </a:cubicBezTo>
                    <a:cubicBezTo>
                      <a:pt x="198821" y="54910"/>
                      <a:pt x="194680" y="55189"/>
                      <a:pt x="191986" y="52801"/>
                    </a:cubicBezTo>
                    <a:lnTo>
                      <a:pt x="149355" y="15505"/>
                    </a:lnTo>
                    <a:lnTo>
                      <a:pt x="86044" y="80036"/>
                    </a:lnTo>
                    <a:cubicBezTo>
                      <a:pt x="83757" y="82374"/>
                      <a:pt x="80073" y="82678"/>
                      <a:pt x="77457" y="80697"/>
                    </a:cubicBezTo>
                    <a:lnTo>
                      <a:pt x="50221" y="60271"/>
                    </a:lnTo>
                    <a:lnTo>
                      <a:pt x="10868" y="95432"/>
                    </a:lnTo>
                    <a:cubicBezTo>
                      <a:pt x="9648" y="96601"/>
                      <a:pt x="8099" y="97135"/>
                      <a:pt x="6549" y="97135"/>
                    </a:cubicBezTo>
                    <a:close/>
                  </a:path>
                </a:pathLst>
              </a:custGeom>
              <a:grpFill/>
              <a:ln w="2536" cap="flat">
                <a:noFill/>
                <a:prstDash val="solid"/>
                <a:miter/>
              </a:ln>
            </p:spPr>
            <p:txBody>
              <a:bodyPr rtlCol="0" anchor="ctr"/>
              <a:lstStyle/>
              <a:p>
                <a:endParaRPr lang="en-GB" dirty="0"/>
              </a:p>
            </p:txBody>
          </p:sp>
        </p:grpSp>
      </p:grpSp>
      <p:grpSp>
        <p:nvGrpSpPr>
          <p:cNvPr id="416" name="Group 415">
            <a:extLst>
              <a:ext uri="{FF2B5EF4-FFF2-40B4-BE49-F238E27FC236}">
                <a16:creationId xmlns:a16="http://schemas.microsoft.com/office/drawing/2014/main" id="{EA5498DC-F567-166B-3004-7C5E06FF6D9A}"/>
              </a:ext>
            </a:extLst>
          </p:cNvPr>
          <p:cNvGrpSpPr/>
          <p:nvPr/>
        </p:nvGrpSpPr>
        <p:grpSpPr>
          <a:xfrm>
            <a:off x="4969571" y="3197068"/>
            <a:ext cx="487394" cy="432000"/>
            <a:chOff x="4969159" y="3197068"/>
            <a:chExt cx="487394" cy="432000"/>
          </a:xfrm>
        </p:grpSpPr>
        <p:grpSp>
          <p:nvGrpSpPr>
            <p:cNvPr id="613" name="Gruppieren 1195">
              <a:extLst>
                <a:ext uri="{FF2B5EF4-FFF2-40B4-BE49-F238E27FC236}">
                  <a16:creationId xmlns:a16="http://schemas.microsoft.com/office/drawing/2014/main" id="{893475DE-2EBC-405D-B782-16F2DE1C3CCD}"/>
                </a:ext>
              </a:extLst>
            </p:cNvPr>
            <p:cNvGrpSpPr/>
            <p:nvPr/>
          </p:nvGrpSpPr>
          <p:grpSpPr>
            <a:xfrm>
              <a:off x="5068714" y="3240511"/>
              <a:ext cx="283153" cy="197567"/>
              <a:chOff x="3497702" y="1698925"/>
              <a:chExt cx="282142" cy="196862"/>
            </a:xfrm>
          </p:grpSpPr>
          <p:sp>
            <p:nvSpPr>
              <p:cNvPr id="627" name="Freihandform: Form 369">
                <a:extLst>
                  <a:ext uri="{FF2B5EF4-FFF2-40B4-BE49-F238E27FC236}">
                    <a16:creationId xmlns:a16="http://schemas.microsoft.com/office/drawing/2014/main" id="{0DBDB153-8B24-4B5C-AE1E-59954D36A418}"/>
                  </a:ext>
                </a:extLst>
              </p:cNvPr>
              <p:cNvSpPr/>
              <p:nvPr/>
            </p:nvSpPr>
            <p:spPr>
              <a:xfrm>
                <a:off x="3615839" y="1797386"/>
                <a:ext cx="52461" cy="39360"/>
              </a:xfrm>
              <a:custGeom>
                <a:avLst/>
                <a:gdLst>
                  <a:gd name="connsiteX0" fmla="*/ 45911 w 52461"/>
                  <a:gd name="connsiteY0" fmla="*/ 39361 h 39360"/>
                  <a:gd name="connsiteX1" fmla="*/ 39361 w 52461"/>
                  <a:gd name="connsiteY1" fmla="*/ 32810 h 39360"/>
                  <a:gd name="connsiteX2" fmla="*/ 39361 w 52461"/>
                  <a:gd name="connsiteY2" fmla="*/ 13130 h 39360"/>
                  <a:gd name="connsiteX3" fmla="*/ 13101 w 52461"/>
                  <a:gd name="connsiteY3" fmla="*/ 13130 h 39360"/>
                  <a:gd name="connsiteX4" fmla="*/ 13101 w 52461"/>
                  <a:gd name="connsiteY4" fmla="*/ 32810 h 39360"/>
                  <a:gd name="connsiteX5" fmla="*/ 6551 w 52461"/>
                  <a:gd name="connsiteY5" fmla="*/ 39361 h 39360"/>
                  <a:gd name="connsiteX6" fmla="*/ 0 w 52461"/>
                  <a:gd name="connsiteY6" fmla="*/ 32810 h 39360"/>
                  <a:gd name="connsiteX7" fmla="*/ 0 w 52461"/>
                  <a:gd name="connsiteY7" fmla="*/ 6551 h 39360"/>
                  <a:gd name="connsiteX8" fmla="*/ 6551 w 52461"/>
                  <a:gd name="connsiteY8" fmla="*/ 0 h 39360"/>
                  <a:gd name="connsiteX9" fmla="*/ 45911 w 52461"/>
                  <a:gd name="connsiteY9" fmla="*/ 0 h 39360"/>
                  <a:gd name="connsiteX10" fmla="*/ 52462 w 52461"/>
                  <a:gd name="connsiteY10" fmla="*/ 6551 h 39360"/>
                  <a:gd name="connsiteX11" fmla="*/ 52462 w 52461"/>
                  <a:gd name="connsiteY11" fmla="*/ 32810 h 39360"/>
                  <a:gd name="connsiteX12" fmla="*/ 45911 w 52461"/>
                  <a:gd name="connsiteY12" fmla="*/ 39361 h 39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61" h="39360">
                    <a:moveTo>
                      <a:pt x="45911" y="39361"/>
                    </a:moveTo>
                    <a:cubicBezTo>
                      <a:pt x="42294" y="39361"/>
                      <a:pt x="39361" y="36427"/>
                      <a:pt x="39361" y="32810"/>
                    </a:cubicBezTo>
                    <a:lnTo>
                      <a:pt x="39361" y="13130"/>
                    </a:lnTo>
                    <a:lnTo>
                      <a:pt x="13101" y="13130"/>
                    </a:lnTo>
                    <a:lnTo>
                      <a:pt x="13101" y="32810"/>
                    </a:lnTo>
                    <a:cubicBezTo>
                      <a:pt x="13101" y="36427"/>
                      <a:pt x="10168" y="39361"/>
                      <a:pt x="6551" y="39361"/>
                    </a:cubicBezTo>
                    <a:cubicBezTo>
                      <a:pt x="2934" y="39361"/>
                      <a:pt x="0" y="36427"/>
                      <a:pt x="0" y="32810"/>
                    </a:cubicBezTo>
                    <a:lnTo>
                      <a:pt x="0" y="6551"/>
                    </a:lnTo>
                    <a:cubicBezTo>
                      <a:pt x="0" y="2934"/>
                      <a:pt x="2934" y="0"/>
                      <a:pt x="6551" y="0"/>
                    </a:cubicBezTo>
                    <a:lnTo>
                      <a:pt x="45911" y="0"/>
                    </a:lnTo>
                    <a:cubicBezTo>
                      <a:pt x="49528" y="0"/>
                      <a:pt x="52462" y="2934"/>
                      <a:pt x="52462" y="6551"/>
                    </a:cubicBezTo>
                    <a:lnTo>
                      <a:pt x="52462" y="32810"/>
                    </a:lnTo>
                    <a:cubicBezTo>
                      <a:pt x="52490" y="36427"/>
                      <a:pt x="49528" y="39361"/>
                      <a:pt x="45911" y="39361"/>
                    </a:cubicBezTo>
                    <a:close/>
                  </a:path>
                </a:pathLst>
              </a:custGeom>
              <a:solidFill>
                <a:schemeClr val="accent1"/>
              </a:solidFill>
              <a:ln w="2840" cap="flat">
                <a:noFill/>
                <a:prstDash val="solid"/>
                <a:miter/>
              </a:ln>
            </p:spPr>
            <p:txBody>
              <a:bodyPr rtlCol="0" anchor="ctr"/>
              <a:lstStyle/>
              <a:p>
                <a:endParaRPr lang="en-GB" dirty="0"/>
              </a:p>
            </p:txBody>
          </p:sp>
          <p:sp>
            <p:nvSpPr>
              <p:cNvPr id="628" name="Freihandform: Form 370">
                <a:extLst>
                  <a:ext uri="{FF2B5EF4-FFF2-40B4-BE49-F238E27FC236}">
                    <a16:creationId xmlns:a16="http://schemas.microsoft.com/office/drawing/2014/main" id="{1821A7B8-57C4-4F14-856C-B1DA56259EA6}"/>
                  </a:ext>
                </a:extLst>
              </p:cNvPr>
              <p:cNvSpPr/>
              <p:nvPr/>
            </p:nvSpPr>
            <p:spPr>
              <a:xfrm>
                <a:off x="3694589" y="1764576"/>
                <a:ext cx="52461" cy="131211"/>
              </a:xfrm>
              <a:custGeom>
                <a:avLst/>
                <a:gdLst>
                  <a:gd name="connsiteX0" fmla="*/ 45911 w 52461"/>
                  <a:gd name="connsiteY0" fmla="*/ 131211 h 131211"/>
                  <a:gd name="connsiteX1" fmla="*/ 6551 w 52461"/>
                  <a:gd name="connsiteY1" fmla="*/ 131211 h 131211"/>
                  <a:gd name="connsiteX2" fmla="*/ 0 w 52461"/>
                  <a:gd name="connsiteY2" fmla="*/ 124661 h 131211"/>
                  <a:gd name="connsiteX3" fmla="*/ 0 w 52461"/>
                  <a:gd name="connsiteY3" fmla="*/ 6551 h 131211"/>
                  <a:gd name="connsiteX4" fmla="*/ 6551 w 52461"/>
                  <a:gd name="connsiteY4" fmla="*/ 0 h 131211"/>
                  <a:gd name="connsiteX5" fmla="*/ 45911 w 52461"/>
                  <a:gd name="connsiteY5" fmla="*/ 0 h 131211"/>
                  <a:gd name="connsiteX6" fmla="*/ 52462 w 52461"/>
                  <a:gd name="connsiteY6" fmla="*/ 6551 h 131211"/>
                  <a:gd name="connsiteX7" fmla="*/ 52462 w 52461"/>
                  <a:gd name="connsiteY7" fmla="*/ 124661 h 131211"/>
                  <a:gd name="connsiteX8" fmla="*/ 45911 w 52461"/>
                  <a:gd name="connsiteY8" fmla="*/ 131211 h 131211"/>
                  <a:gd name="connsiteX9" fmla="*/ 13101 w 52461"/>
                  <a:gd name="connsiteY9" fmla="*/ 118110 h 131211"/>
                  <a:gd name="connsiteX10" fmla="*/ 39361 w 52461"/>
                  <a:gd name="connsiteY10" fmla="*/ 118110 h 131211"/>
                  <a:gd name="connsiteX11" fmla="*/ 39361 w 52461"/>
                  <a:gd name="connsiteY11" fmla="*/ 13101 h 131211"/>
                  <a:gd name="connsiteX12" fmla="*/ 13101 w 52461"/>
                  <a:gd name="connsiteY12" fmla="*/ 13101 h 131211"/>
                  <a:gd name="connsiteX13" fmla="*/ 13101 w 52461"/>
                  <a:gd name="connsiteY13" fmla="*/ 118110 h 131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61" h="131211">
                    <a:moveTo>
                      <a:pt x="45911" y="131211"/>
                    </a:moveTo>
                    <a:lnTo>
                      <a:pt x="6551" y="131211"/>
                    </a:lnTo>
                    <a:cubicBezTo>
                      <a:pt x="2933" y="131211"/>
                      <a:pt x="0" y="128278"/>
                      <a:pt x="0" y="124661"/>
                    </a:cubicBezTo>
                    <a:lnTo>
                      <a:pt x="0" y="6551"/>
                    </a:lnTo>
                    <a:cubicBezTo>
                      <a:pt x="0" y="2934"/>
                      <a:pt x="2933" y="0"/>
                      <a:pt x="6551" y="0"/>
                    </a:cubicBezTo>
                    <a:lnTo>
                      <a:pt x="45911" y="0"/>
                    </a:lnTo>
                    <a:cubicBezTo>
                      <a:pt x="49528" y="0"/>
                      <a:pt x="52462" y="2934"/>
                      <a:pt x="52462" y="6551"/>
                    </a:cubicBezTo>
                    <a:lnTo>
                      <a:pt x="52462" y="124661"/>
                    </a:lnTo>
                    <a:cubicBezTo>
                      <a:pt x="52462" y="128278"/>
                      <a:pt x="49528" y="131211"/>
                      <a:pt x="45911" y="131211"/>
                    </a:cubicBezTo>
                    <a:close/>
                    <a:moveTo>
                      <a:pt x="13101" y="118110"/>
                    </a:moveTo>
                    <a:lnTo>
                      <a:pt x="39361" y="118110"/>
                    </a:lnTo>
                    <a:lnTo>
                      <a:pt x="39361" y="13101"/>
                    </a:lnTo>
                    <a:lnTo>
                      <a:pt x="13101" y="13101"/>
                    </a:lnTo>
                    <a:lnTo>
                      <a:pt x="13101" y="118110"/>
                    </a:lnTo>
                    <a:close/>
                  </a:path>
                </a:pathLst>
              </a:custGeom>
              <a:solidFill>
                <a:schemeClr val="accent1"/>
              </a:solidFill>
              <a:ln w="2840" cap="flat">
                <a:noFill/>
                <a:prstDash val="solid"/>
                <a:miter/>
              </a:ln>
            </p:spPr>
            <p:txBody>
              <a:bodyPr rtlCol="0" anchor="ctr"/>
              <a:lstStyle/>
              <a:p>
                <a:endParaRPr lang="en-GB" dirty="0"/>
              </a:p>
            </p:txBody>
          </p:sp>
          <p:sp>
            <p:nvSpPr>
              <p:cNvPr id="629" name="Freihandform: Form 371">
                <a:extLst>
                  <a:ext uri="{FF2B5EF4-FFF2-40B4-BE49-F238E27FC236}">
                    <a16:creationId xmlns:a16="http://schemas.microsoft.com/office/drawing/2014/main" id="{F0E75CF6-7D3A-4CF1-B372-392060D027AE}"/>
                  </a:ext>
                </a:extLst>
              </p:cNvPr>
              <p:cNvSpPr/>
              <p:nvPr/>
            </p:nvSpPr>
            <p:spPr>
              <a:xfrm>
                <a:off x="3537090" y="1823617"/>
                <a:ext cx="52461" cy="72170"/>
              </a:xfrm>
              <a:custGeom>
                <a:avLst/>
                <a:gdLst>
                  <a:gd name="connsiteX0" fmla="*/ 45911 w 52461"/>
                  <a:gd name="connsiteY0" fmla="*/ 72170 h 72170"/>
                  <a:gd name="connsiteX1" fmla="*/ 6551 w 52461"/>
                  <a:gd name="connsiteY1" fmla="*/ 72170 h 72170"/>
                  <a:gd name="connsiteX2" fmla="*/ 0 w 52461"/>
                  <a:gd name="connsiteY2" fmla="*/ 65620 h 72170"/>
                  <a:gd name="connsiteX3" fmla="*/ 0 w 52461"/>
                  <a:gd name="connsiteY3" fmla="*/ 6551 h 72170"/>
                  <a:gd name="connsiteX4" fmla="*/ 6551 w 52461"/>
                  <a:gd name="connsiteY4" fmla="*/ 0 h 72170"/>
                  <a:gd name="connsiteX5" fmla="*/ 45911 w 52461"/>
                  <a:gd name="connsiteY5" fmla="*/ 0 h 72170"/>
                  <a:gd name="connsiteX6" fmla="*/ 52462 w 52461"/>
                  <a:gd name="connsiteY6" fmla="*/ 6551 h 72170"/>
                  <a:gd name="connsiteX7" fmla="*/ 52462 w 52461"/>
                  <a:gd name="connsiteY7" fmla="*/ 65620 h 72170"/>
                  <a:gd name="connsiteX8" fmla="*/ 45911 w 52461"/>
                  <a:gd name="connsiteY8" fmla="*/ 72170 h 72170"/>
                  <a:gd name="connsiteX9" fmla="*/ 13101 w 52461"/>
                  <a:gd name="connsiteY9" fmla="*/ 59069 h 72170"/>
                  <a:gd name="connsiteX10" fmla="*/ 39361 w 52461"/>
                  <a:gd name="connsiteY10" fmla="*/ 59069 h 72170"/>
                  <a:gd name="connsiteX11" fmla="*/ 39361 w 52461"/>
                  <a:gd name="connsiteY11" fmla="*/ 13130 h 72170"/>
                  <a:gd name="connsiteX12" fmla="*/ 13101 w 52461"/>
                  <a:gd name="connsiteY12" fmla="*/ 13130 h 72170"/>
                  <a:gd name="connsiteX13" fmla="*/ 13101 w 52461"/>
                  <a:gd name="connsiteY13" fmla="*/ 59069 h 7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61" h="72170">
                    <a:moveTo>
                      <a:pt x="45911" y="72170"/>
                    </a:moveTo>
                    <a:lnTo>
                      <a:pt x="6551" y="72170"/>
                    </a:lnTo>
                    <a:cubicBezTo>
                      <a:pt x="2933" y="72170"/>
                      <a:pt x="0" y="69237"/>
                      <a:pt x="0" y="65620"/>
                    </a:cubicBezTo>
                    <a:lnTo>
                      <a:pt x="0" y="6551"/>
                    </a:lnTo>
                    <a:cubicBezTo>
                      <a:pt x="0" y="2934"/>
                      <a:pt x="2933" y="0"/>
                      <a:pt x="6551" y="0"/>
                    </a:cubicBezTo>
                    <a:lnTo>
                      <a:pt x="45911" y="0"/>
                    </a:lnTo>
                    <a:cubicBezTo>
                      <a:pt x="49528" y="0"/>
                      <a:pt x="52462" y="2934"/>
                      <a:pt x="52462" y="6551"/>
                    </a:cubicBezTo>
                    <a:lnTo>
                      <a:pt x="52462" y="65620"/>
                    </a:lnTo>
                    <a:cubicBezTo>
                      <a:pt x="52490" y="69237"/>
                      <a:pt x="49557" y="72170"/>
                      <a:pt x="45911" y="72170"/>
                    </a:cubicBezTo>
                    <a:close/>
                    <a:moveTo>
                      <a:pt x="13101" y="59069"/>
                    </a:moveTo>
                    <a:lnTo>
                      <a:pt x="39361" y="59069"/>
                    </a:lnTo>
                    <a:lnTo>
                      <a:pt x="39361" y="13130"/>
                    </a:lnTo>
                    <a:lnTo>
                      <a:pt x="13101" y="13130"/>
                    </a:lnTo>
                    <a:lnTo>
                      <a:pt x="13101" y="59069"/>
                    </a:lnTo>
                    <a:close/>
                  </a:path>
                </a:pathLst>
              </a:custGeom>
              <a:solidFill>
                <a:schemeClr val="accent1"/>
              </a:solidFill>
              <a:ln w="2840" cap="flat">
                <a:noFill/>
                <a:prstDash val="solid"/>
                <a:miter/>
              </a:ln>
            </p:spPr>
            <p:txBody>
              <a:bodyPr rtlCol="0" anchor="ctr"/>
              <a:lstStyle/>
              <a:p>
                <a:endParaRPr lang="en-GB" dirty="0"/>
              </a:p>
            </p:txBody>
          </p:sp>
          <p:sp>
            <p:nvSpPr>
              <p:cNvPr id="630" name="Freihandform: Form 372">
                <a:extLst>
                  <a:ext uri="{FF2B5EF4-FFF2-40B4-BE49-F238E27FC236}">
                    <a16:creationId xmlns:a16="http://schemas.microsoft.com/office/drawing/2014/main" id="{D86C0D57-2228-4CE7-819C-C748CC18BA69}"/>
                  </a:ext>
                </a:extLst>
              </p:cNvPr>
              <p:cNvSpPr/>
              <p:nvPr/>
            </p:nvSpPr>
            <p:spPr>
              <a:xfrm>
                <a:off x="3497702" y="1698925"/>
                <a:ext cx="282142" cy="131242"/>
              </a:xfrm>
              <a:custGeom>
                <a:avLst/>
                <a:gdLst>
                  <a:gd name="connsiteX0" fmla="*/ 6549 w 282142"/>
                  <a:gd name="connsiteY0" fmla="*/ 131243 h 131242"/>
                  <a:gd name="connsiteX1" fmla="*/ 2163 w 282142"/>
                  <a:gd name="connsiteY1" fmla="*/ 129562 h 131242"/>
                  <a:gd name="connsiteX2" fmla="*/ 1679 w 282142"/>
                  <a:gd name="connsiteY2" fmla="*/ 120306 h 131242"/>
                  <a:gd name="connsiteX3" fmla="*/ 60748 w 282142"/>
                  <a:gd name="connsiteY3" fmla="*/ 54686 h 131242"/>
                  <a:gd name="connsiteX4" fmla="*/ 66160 w 282142"/>
                  <a:gd name="connsiteY4" fmla="*/ 52522 h 131242"/>
                  <a:gd name="connsiteX5" fmla="*/ 142403 w 282142"/>
                  <a:gd name="connsiteY5" fmla="*/ 58873 h 131242"/>
                  <a:gd name="connsiteX6" fmla="*/ 219159 w 282142"/>
                  <a:gd name="connsiteY6" fmla="*/ 1313 h 131242"/>
                  <a:gd name="connsiteX7" fmla="*/ 226022 w 282142"/>
                  <a:gd name="connsiteY7" fmla="*/ 687 h 131242"/>
                  <a:gd name="connsiteX8" fmla="*/ 278512 w 282142"/>
                  <a:gd name="connsiteY8" fmla="*/ 26946 h 131242"/>
                  <a:gd name="connsiteX9" fmla="*/ 281446 w 282142"/>
                  <a:gd name="connsiteY9" fmla="*/ 35747 h 131242"/>
                  <a:gd name="connsiteX10" fmla="*/ 272646 w 282142"/>
                  <a:gd name="connsiteY10" fmla="*/ 38680 h 131242"/>
                  <a:gd name="connsiteX11" fmla="*/ 223772 w 282142"/>
                  <a:gd name="connsiteY11" fmla="*/ 14244 h 131242"/>
                  <a:gd name="connsiteX12" fmla="*/ 148270 w 282142"/>
                  <a:gd name="connsiteY12" fmla="*/ 70863 h 131242"/>
                  <a:gd name="connsiteX13" fmla="*/ 143798 w 282142"/>
                  <a:gd name="connsiteY13" fmla="*/ 72145 h 131242"/>
                  <a:gd name="connsiteX14" fmla="*/ 68296 w 282142"/>
                  <a:gd name="connsiteY14" fmla="*/ 65851 h 131242"/>
                  <a:gd name="connsiteX15" fmla="*/ 11419 w 282142"/>
                  <a:gd name="connsiteY15" fmla="*/ 129050 h 131242"/>
                  <a:gd name="connsiteX16" fmla="*/ 6549 w 282142"/>
                  <a:gd name="connsiteY16" fmla="*/ 131243 h 13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2142" h="131242">
                    <a:moveTo>
                      <a:pt x="6549" y="131243"/>
                    </a:moveTo>
                    <a:cubicBezTo>
                      <a:pt x="4983" y="131243"/>
                      <a:pt x="3416" y="130702"/>
                      <a:pt x="2163" y="129562"/>
                    </a:cubicBezTo>
                    <a:cubicBezTo>
                      <a:pt x="-514" y="127142"/>
                      <a:pt x="-742" y="122983"/>
                      <a:pt x="1679" y="120306"/>
                    </a:cubicBezTo>
                    <a:lnTo>
                      <a:pt x="60748" y="54686"/>
                    </a:lnTo>
                    <a:cubicBezTo>
                      <a:pt x="62115" y="53177"/>
                      <a:pt x="64137" y="52322"/>
                      <a:pt x="66160" y="52522"/>
                    </a:cubicBezTo>
                    <a:lnTo>
                      <a:pt x="142403" y="58873"/>
                    </a:lnTo>
                    <a:lnTo>
                      <a:pt x="219159" y="1313"/>
                    </a:lnTo>
                    <a:cubicBezTo>
                      <a:pt x="221152" y="-168"/>
                      <a:pt x="223801" y="-424"/>
                      <a:pt x="226022" y="687"/>
                    </a:cubicBezTo>
                    <a:lnTo>
                      <a:pt x="278512" y="26946"/>
                    </a:lnTo>
                    <a:cubicBezTo>
                      <a:pt x="281759" y="28569"/>
                      <a:pt x="283069" y="32500"/>
                      <a:pt x="281446" y="35747"/>
                    </a:cubicBezTo>
                    <a:cubicBezTo>
                      <a:pt x="279822" y="38993"/>
                      <a:pt x="275892" y="40304"/>
                      <a:pt x="272646" y="38680"/>
                    </a:cubicBezTo>
                    <a:lnTo>
                      <a:pt x="223772" y="14244"/>
                    </a:lnTo>
                    <a:lnTo>
                      <a:pt x="148270" y="70863"/>
                    </a:lnTo>
                    <a:cubicBezTo>
                      <a:pt x="146988" y="71832"/>
                      <a:pt x="145393" y="72316"/>
                      <a:pt x="143798" y="72145"/>
                    </a:cubicBezTo>
                    <a:lnTo>
                      <a:pt x="68296" y="65851"/>
                    </a:lnTo>
                    <a:lnTo>
                      <a:pt x="11419" y="129050"/>
                    </a:lnTo>
                    <a:cubicBezTo>
                      <a:pt x="10138" y="130531"/>
                      <a:pt x="8343" y="131243"/>
                      <a:pt x="6549" y="131243"/>
                    </a:cubicBezTo>
                    <a:close/>
                  </a:path>
                </a:pathLst>
              </a:custGeom>
              <a:solidFill>
                <a:schemeClr val="accent1"/>
              </a:solidFill>
              <a:ln w="2840" cap="flat">
                <a:noFill/>
                <a:prstDash val="solid"/>
                <a:miter/>
              </a:ln>
            </p:spPr>
            <p:txBody>
              <a:bodyPr rtlCol="0" anchor="ctr"/>
              <a:lstStyle/>
              <a:p>
                <a:endParaRPr lang="en-GB" dirty="0"/>
              </a:p>
            </p:txBody>
          </p:sp>
        </p:grpSp>
        <p:grpSp>
          <p:nvGrpSpPr>
            <p:cNvPr id="614" name="Gruppieren 1196">
              <a:extLst>
                <a:ext uri="{FF2B5EF4-FFF2-40B4-BE49-F238E27FC236}">
                  <a16:creationId xmlns:a16="http://schemas.microsoft.com/office/drawing/2014/main" id="{95D657AC-D83A-42E5-8F4E-9E1B125A41B2}"/>
                </a:ext>
              </a:extLst>
            </p:cNvPr>
            <p:cNvGrpSpPr/>
            <p:nvPr/>
          </p:nvGrpSpPr>
          <p:grpSpPr>
            <a:xfrm>
              <a:off x="4969159" y="3197068"/>
              <a:ext cx="487394" cy="432000"/>
              <a:chOff x="3398502" y="1655637"/>
              <a:chExt cx="485654" cy="430458"/>
            </a:xfrm>
            <a:solidFill>
              <a:schemeClr val="tx2"/>
            </a:solidFill>
          </p:grpSpPr>
          <p:grpSp>
            <p:nvGrpSpPr>
              <p:cNvPr id="615" name="Grafik 206">
                <a:extLst>
                  <a:ext uri="{FF2B5EF4-FFF2-40B4-BE49-F238E27FC236}">
                    <a16:creationId xmlns:a16="http://schemas.microsoft.com/office/drawing/2014/main" id="{F0CDB7B1-1F43-48B0-BD54-2E8B5197C4CA}"/>
                  </a:ext>
                </a:extLst>
              </p:cNvPr>
              <p:cNvGrpSpPr/>
              <p:nvPr/>
            </p:nvGrpSpPr>
            <p:grpSpPr>
              <a:xfrm>
                <a:off x="3398502" y="1655637"/>
                <a:ext cx="485654" cy="332032"/>
                <a:chOff x="3398502" y="1655637"/>
                <a:chExt cx="485654" cy="332032"/>
              </a:xfrm>
              <a:grpFill/>
            </p:grpSpPr>
            <p:sp>
              <p:nvSpPr>
                <p:cNvPr id="622" name="Freihandform: Form 364">
                  <a:extLst>
                    <a:ext uri="{FF2B5EF4-FFF2-40B4-BE49-F238E27FC236}">
                      <a16:creationId xmlns:a16="http://schemas.microsoft.com/office/drawing/2014/main" id="{D91C524B-7AE9-4FF4-B063-1E99A475E43D}"/>
                    </a:ext>
                  </a:extLst>
                </p:cNvPr>
                <p:cNvSpPr/>
                <p:nvPr/>
              </p:nvSpPr>
              <p:spPr>
                <a:xfrm>
                  <a:off x="3398531" y="1655637"/>
                  <a:ext cx="485626" cy="332032"/>
                </a:xfrm>
                <a:custGeom>
                  <a:avLst/>
                  <a:gdLst>
                    <a:gd name="connsiteX0" fmla="*/ 406820 w 485626"/>
                    <a:gd name="connsiteY0" fmla="*/ 332029 h 332032"/>
                    <a:gd name="connsiteX1" fmla="*/ 402491 w 485626"/>
                    <a:gd name="connsiteY1" fmla="*/ 330406 h 332032"/>
                    <a:gd name="connsiteX2" fmla="*/ 400241 w 485626"/>
                    <a:gd name="connsiteY2" fmla="*/ 325479 h 332032"/>
                    <a:gd name="connsiteX3" fmla="*/ 400241 w 485626"/>
                    <a:gd name="connsiteY3" fmla="*/ 63000 h 332032"/>
                    <a:gd name="connsiteX4" fmla="*/ 405937 w 485626"/>
                    <a:gd name="connsiteY4" fmla="*/ 56506 h 332032"/>
                    <a:gd name="connsiteX5" fmla="*/ 472070 w 485626"/>
                    <a:gd name="connsiteY5" fmla="*/ 39332 h 332032"/>
                    <a:gd name="connsiteX6" fmla="*/ 242770 w 485626"/>
                    <a:gd name="connsiteY6" fmla="*/ 13158 h 332032"/>
                    <a:gd name="connsiteX7" fmla="*/ 13471 w 485626"/>
                    <a:gd name="connsiteY7" fmla="*/ 39332 h 332032"/>
                    <a:gd name="connsiteX8" fmla="*/ 79604 w 485626"/>
                    <a:gd name="connsiteY8" fmla="*/ 56506 h 332032"/>
                    <a:gd name="connsiteX9" fmla="*/ 85300 w 485626"/>
                    <a:gd name="connsiteY9" fmla="*/ 63000 h 332032"/>
                    <a:gd name="connsiteX10" fmla="*/ 85300 w 485626"/>
                    <a:gd name="connsiteY10" fmla="*/ 325479 h 332032"/>
                    <a:gd name="connsiteX11" fmla="*/ 83050 w 485626"/>
                    <a:gd name="connsiteY11" fmla="*/ 330406 h 332032"/>
                    <a:gd name="connsiteX12" fmla="*/ 77867 w 485626"/>
                    <a:gd name="connsiteY12" fmla="*/ 331972 h 332032"/>
                    <a:gd name="connsiteX13" fmla="*/ 0 w 485626"/>
                    <a:gd name="connsiteY13" fmla="*/ 301868 h 332032"/>
                    <a:gd name="connsiteX14" fmla="*/ 24237 w 485626"/>
                    <a:gd name="connsiteY14" fmla="*/ 282473 h 332032"/>
                    <a:gd name="connsiteX15" fmla="*/ 32468 w 485626"/>
                    <a:gd name="connsiteY15" fmla="*/ 286745 h 332032"/>
                    <a:gd name="connsiteX16" fmla="*/ 28196 w 485626"/>
                    <a:gd name="connsiteY16" fmla="*/ 294976 h 332032"/>
                    <a:gd name="connsiteX17" fmla="*/ 13528 w 485626"/>
                    <a:gd name="connsiteY17" fmla="*/ 301840 h 332032"/>
                    <a:gd name="connsiteX18" fmla="*/ 72170 w 485626"/>
                    <a:gd name="connsiteY18" fmla="*/ 317903 h 332032"/>
                    <a:gd name="connsiteX19" fmla="*/ 72170 w 485626"/>
                    <a:gd name="connsiteY19" fmla="*/ 68696 h 332032"/>
                    <a:gd name="connsiteX20" fmla="*/ 0 w 485626"/>
                    <a:gd name="connsiteY20" fmla="*/ 39360 h 332032"/>
                    <a:gd name="connsiteX21" fmla="*/ 242799 w 485626"/>
                    <a:gd name="connsiteY21" fmla="*/ 0 h 332032"/>
                    <a:gd name="connsiteX22" fmla="*/ 485598 w 485626"/>
                    <a:gd name="connsiteY22" fmla="*/ 39360 h 332032"/>
                    <a:gd name="connsiteX23" fmla="*/ 413428 w 485626"/>
                    <a:gd name="connsiteY23" fmla="*/ 68696 h 332032"/>
                    <a:gd name="connsiteX24" fmla="*/ 413428 w 485626"/>
                    <a:gd name="connsiteY24" fmla="*/ 317903 h 332032"/>
                    <a:gd name="connsiteX25" fmla="*/ 472070 w 485626"/>
                    <a:gd name="connsiteY25" fmla="*/ 301840 h 332032"/>
                    <a:gd name="connsiteX26" fmla="*/ 457402 w 485626"/>
                    <a:gd name="connsiteY26" fmla="*/ 294976 h 332032"/>
                    <a:gd name="connsiteX27" fmla="*/ 453130 w 485626"/>
                    <a:gd name="connsiteY27" fmla="*/ 286745 h 332032"/>
                    <a:gd name="connsiteX28" fmla="*/ 461361 w 485626"/>
                    <a:gd name="connsiteY28" fmla="*/ 282473 h 332032"/>
                    <a:gd name="connsiteX29" fmla="*/ 485626 w 485626"/>
                    <a:gd name="connsiteY29" fmla="*/ 301868 h 332032"/>
                    <a:gd name="connsiteX30" fmla="*/ 407760 w 485626"/>
                    <a:gd name="connsiteY30" fmla="*/ 331972 h 332032"/>
                    <a:gd name="connsiteX31" fmla="*/ 406820 w 485626"/>
                    <a:gd name="connsiteY31" fmla="*/ 332029 h 33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85626" h="332032">
                      <a:moveTo>
                        <a:pt x="406820" y="332029"/>
                      </a:moveTo>
                      <a:cubicBezTo>
                        <a:pt x="405225" y="332029"/>
                        <a:pt x="403716" y="331460"/>
                        <a:pt x="402491" y="330406"/>
                      </a:cubicBezTo>
                      <a:cubicBezTo>
                        <a:pt x="401067" y="329153"/>
                        <a:pt x="400241" y="327359"/>
                        <a:pt x="400241" y="325479"/>
                      </a:cubicBezTo>
                      <a:lnTo>
                        <a:pt x="400241" y="63000"/>
                      </a:lnTo>
                      <a:cubicBezTo>
                        <a:pt x="400241" y="59724"/>
                        <a:pt x="402662" y="56933"/>
                        <a:pt x="405937" y="56506"/>
                      </a:cubicBezTo>
                      <a:cubicBezTo>
                        <a:pt x="458427" y="49471"/>
                        <a:pt x="469876" y="41468"/>
                        <a:pt x="472070" y="39332"/>
                      </a:cubicBezTo>
                      <a:cubicBezTo>
                        <a:pt x="463155" y="28395"/>
                        <a:pt x="378681" y="13158"/>
                        <a:pt x="242770" y="13158"/>
                      </a:cubicBezTo>
                      <a:cubicBezTo>
                        <a:pt x="106832" y="13158"/>
                        <a:pt x="22386" y="28395"/>
                        <a:pt x="13471" y="39332"/>
                      </a:cubicBezTo>
                      <a:cubicBezTo>
                        <a:pt x="15664" y="41468"/>
                        <a:pt x="27114" y="49471"/>
                        <a:pt x="79604" y="56506"/>
                      </a:cubicBezTo>
                      <a:cubicBezTo>
                        <a:pt x="82851" y="56933"/>
                        <a:pt x="85300" y="59724"/>
                        <a:pt x="85300" y="63000"/>
                      </a:cubicBezTo>
                      <a:lnTo>
                        <a:pt x="85300" y="325479"/>
                      </a:lnTo>
                      <a:cubicBezTo>
                        <a:pt x="85300" y="327359"/>
                        <a:pt x="84474" y="329181"/>
                        <a:pt x="83050" y="330406"/>
                      </a:cubicBezTo>
                      <a:cubicBezTo>
                        <a:pt x="81626" y="331659"/>
                        <a:pt x="79718" y="332229"/>
                        <a:pt x="77867" y="331972"/>
                      </a:cubicBezTo>
                      <a:cubicBezTo>
                        <a:pt x="0" y="321520"/>
                        <a:pt x="0" y="307735"/>
                        <a:pt x="0" y="301868"/>
                      </a:cubicBezTo>
                      <a:cubicBezTo>
                        <a:pt x="0" y="291530"/>
                        <a:pt x="12959" y="286090"/>
                        <a:pt x="24237" y="282473"/>
                      </a:cubicBezTo>
                      <a:cubicBezTo>
                        <a:pt x="27655" y="281391"/>
                        <a:pt x="31386" y="283270"/>
                        <a:pt x="32468" y="286745"/>
                      </a:cubicBezTo>
                      <a:cubicBezTo>
                        <a:pt x="33550" y="290191"/>
                        <a:pt x="31642" y="293894"/>
                        <a:pt x="28196" y="294976"/>
                      </a:cubicBezTo>
                      <a:cubicBezTo>
                        <a:pt x="18313" y="298109"/>
                        <a:pt x="14753" y="300701"/>
                        <a:pt x="13528" y="301840"/>
                      </a:cubicBezTo>
                      <a:cubicBezTo>
                        <a:pt x="15778" y="303976"/>
                        <a:pt x="26544" y="311210"/>
                        <a:pt x="72170" y="317903"/>
                      </a:cubicBezTo>
                      <a:lnTo>
                        <a:pt x="72170" y="68696"/>
                      </a:lnTo>
                      <a:cubicBezTo>
                        <a:pt x="0" y="58357"/>
                        <a:pt x="0" y="45114"/>
                        <a:pt x="0" y="39360"/>
                      </a:cubicBezTo>
                      <a:cubicBezTo>
                        <a:pt x="0" y="427"/>
                        <a:pt x="232888" y="0"/>
                        <a:pt x="242799" y="0"/>
                      </a:cubicBezTo>
                      <a:cubicBezTo>
                        <a:pt x="252710" y="0"/>
                        <a:pt x="485598" y="456"/>
                        <a:pt x="485598" y="39360"/>
                      </a:cubicBezTo>
                      <a:cubicBezTo>
                        <a:pt x="485598" y="45114"/>
                        <a:pt x="485598" y="58357"/>
                        <a:pt x="413428" y="68696"/>
                      </a:cubicBezTo>
                      <a:lnTo>
                        <a:pt x="413428" y="317903"/>
                      </a:lnTo>
                      <a:cubicBezTo>
                        <a:pt x="459054" y="311210"/>
                        <a:pt x="469791" y="303976"/>
                        <a:pt x="472070" y="301840"/>
                      </a:cubicBezTo>
                      <a:cubicBezTo>
                        <a:pt x="470873" y="300701"/>
                        <a:pt x="467313" y="298109"/>
                        <a:pt x="457402" y="294976"/>
                      </a:cubicBezTo>
                      <a:cubicBezTo>
                        <a:pt x="453956" y="293894"/>
                        <a:pt x="452047" y="290191"/>
                        <a:pt x="453130" y="286745"/>
                      </a:cubicBezTo>
                      <a:cubicBezTo>
                        <a:pt x="454212" y="283299"/>
                        <a:pt x="457886" y="281391"/>
                        <a:pt x="461361" y="282473"/>
                      </a:cubicBezTo>
                      <a:cubicBezTo>
                        <a:pt x="471785" y="285777"/>
                        <a:pt x="485626" y="291387"/>
                        <a:pt x="485626" y="301868"/>
                      </a:cubicBezTo>
                      <a:cubicBezTo>
                        <a:pt x="485626" y="307764"/>
                        <a:pt x="485626" y="321548"/>
                        <a:pt x="407760" y="331972"/>
                      </a:cubicBezTo>
                      <a:cubicBezTo>
                        <a:pt x="407390" y="332001"/>
                        <a:pt x="407105" y="332029"/>
                        <a:pt x="406820" y="332029"/>
                      </a:cubicBezTo>
                      <a:close/>
                    </a:path>
                  </a:pathLst>
                </a:custGeom>
                <a:grpFill/>
                <a:ln w="2840" cap="flat">
                  <a:noFill/>
                  <a:prstDash val="solid"/>
                  <a:miter/>
                </a:ln>
              </p:spPr>
              <p:txBody>
                <a:bodyPr rtlCol="0" anchor="ctr"/>
                <a:lstStyle/>
                <a:p>
                  <a:endParaRPr lang="en-GB" dirty="0"/>
                </a:p>
              </p:txBody>
            </p:sp>
            <p:sp>
              <p:nvSpPr>
                <p:cNvPr id="623" name="Freihandform: Form 365">
                  <a:extLst>
                    <a:ext uri="{FF2B5EF4-FFF2-40B4-BE49-F238E27FC236}">
                      <a16:creationId xmlns:a16="http://schemas.microsoft.com/office/drawing/2014/main" id="{78E17021-CF74-4BAC-95D1-C5994DFCE484}"/>
                    </a:ext>
                  </a:extLst>
                </p:cNvPr>
                <p:cNvSpPr/>
                <p:nvPr/>
              </p:nvSpPr>
              <p:spPr>
                <a:xfrm>
                  <a:off x="3659557" y="1918316"/>
                  <a:ext cx="172039" cy="25120"/>
                </a:xfrm>
                <a:custGeom>
                  <a:avLst/>
                  <a:gdLst>
                    <a:gd name="connsiteX0" fmla="*/ 165474 w 172039"/>
                    <a:gd name="connsiteY0" fmla="*/ 25120 h 25120"/>
                    <a:gd name="connsiteX1" fmla="*/ 164364 w 172039"/>
                    <a:gd name="connsiteY1" fmla="*/ 25035 h 25120"/>
                    <a:gd name="connsiteX2" fmla="*/ 6466 w 172039"/>
                    <a:gd name="connsiteY2" fmla="*/ 13130 h 25120"/>
                    <a:gd name="connsiteX3" fmla="*/ 1 w 172039"/>
                    <a:gd name="connsiteY3" fmla="*/ 6465 h 25120"/>
                    <a:gd name="connsiteX4" fmla="*/ 6665 w 172039"/>
                    <a:gd name="connsiteY4" fmla="*/ 0 h 25120"/>
                    <a:gd name="connsiteX5" fmla="*/ 166585 w 172039"/>
                    <a:gd name="connsiteY5" fmla="*/ 12104 h 25120"/>
                    <a:gd name="connsiteX6" fmla="*/ 171939 w 172039"/>
                    <a:gd name="connsiteY6" fmla="*/ 19680 h 25120"/>
                    <a:gd name="connsiteX7" fmla="*/ 165474 w 172039"/>
                    <a:gd name="connsiteY7" fmla="*/ 25120 h 2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039" h="25120">
                      <a:moveTo>
                        <a:pt x="165474" y="25120"/>
                      </a:moveTo>
                      <a:cubicBezTo>
                        <a:pt x="165104" y="25120"/>
                        <a:pt x="164734" y="25092"/>
                        <a:pt x="164364" y="25035"/>
                      </a:cubicBezTo>
                      <a:cubicBezTo>
                        <a:pt x="124889" y="18256"/>
                        <a:pt x="68810" y="14041"/>
                        <a:pt x="6466" y="13130"/>
                      </a:cubicBezTo>
                      <a:cubicBezTo>
                        <a:pt x="2849" y="13073"/>
                        <a:pt x="-56" y="10082"/>
                        <a:pt x="1" y="6465"/>
                      </a:cubicBezTo>
                      <a:cubicBezTo>
                        <a:pt x="58" y="2848"/>
                        <a:pt x="2763" y="57"/>
                        <a:pt x="6665" y="0"/>
                      </a:cubicBezTo>
                      <a:cubicBezTo>
                        <a:pt x="69665" y="911"/>
                        <a:pt x="126456" y="5212"/>
                        <a:pt x="166585" y="12104"/>
                      </a:cubicBezTo>
                      <a:cubicBezTo>
                        <a:pt x="170174" y="12702"/>
                        <a:pt x="172566" y="16120"/>
                        <a:pt x="171939" y="19680"/>
                      </a:cubicBezTo>
                      <a:cubicBezTo>
                        <a:pt x="171398" y="22870"/>
                        <a:pt x="168636" y="25120"/>
                        <a:pt x="165474" y="25120"/>
                      </a:cubicBezTo>
                      <a:close/>
                    </a:path>
                  </a:pathLst>
                </a:custGeom>
                <a:grpFill/>
                <a:ln w="2840" cap="flat">
                  <a:noFill/>
                  <a:prstDash val="solid"/>
                  <a:miter/>
                </a:ln>
              </p:spPr>
              <p:txBody>
                <a:bodyPr rtlCol="0" anchor="ctr"/>
                <a:lstStyle/>
                <a:p>
                  <a:endParaRPr lang="en-GB" dirty="0"/>
                </a:p>
              </p:txBody>
            </p:sp>
            <p:sp>
              <p:nvSpPr>
                <p:cNvPr id="624" name="Freihandform: Form 366">
                  <a:extLst>
                    <a:ext uri="{FF2B5EF4-FFF2-40B4-BE49-F238E27FC236}">
                      <a16:creationId xmlns:a16="http://schemas.microsoft.com/office/drawing/2014/main" id="{65E9B407-950E-401B-97DE-A2BAECCD227C}"/>
                    </a:ext>
                  </a:extLst>
                </p:cNvPr>
                <p:cNvSpPr/>
                <p:nvPr/>
              </p:nvSpPr>
              <p:spPr>
                <a:xfrm>
                  <a:off x="3450979" y="1918316"/>
                  <a:ext cx="172750" cy="25120"/>
                </a:xfrm>
                <a:custGeom>
                  <a:avLst/>
                  <a:gdLst>
                    <a:gd name="connsiteX0" fmla="*/ 6564 w 172750"/>
                    <a:gd name="connsiteY0" fmla="*/ 25120 h 25120"/>
                    <a:gd name="connsiteX1" fmla="*/ 99 w 172750"/>
                    <a:gd name="connsiteY1" fmla="*/ 19680 h 25120"/>
                    <a:gd name="connsiteX2" fmla="*/ 5453 w 172750"/>
                    <a:gd name="connsiteY2" fmla="*/ 12104 h 25120"/>
                    <a:gd name="connsiteX3" fmla="*/ 166113 w 172750"/>
                    <a:gd name="connsiteY3" fmla="*/ 0 h 25120"/>
                    <a:gd name="connsiteX4" fmla="*/ 166199 w 172750"/>
                    <a:gd name="connsiteY4" fmla="*/ 0 h 25120"/>
                    <a:gd name="connsiteX5" fmla="*/ 172750 w 172750"/>
                    <a:gd name="connsiteY5" fmla="*/ 6465 h 25120"/>
                    <a:gd name="connsiteX6" fmla="*/ 166284 w 172750"/>
                    <a:gd name="connsiteY6" fmla="*/ 13130 h 25120"/>
                    <a:gd name="connsiteX7" fmla="*/ 7646 w 172750"/>
                    <a:gd name="connsiteY7" fmla="*/ 25063 h 25120"/>
                    <a:gd name="connsiteX8" fmla="*/ 6564 w 172750"/>
                    <a:gd name="connsiteY8" fmla="*/ 25120 h 2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750" h="25120">
                      <a:moveTo>
                        <a:pt x="6564" y="25120"/>
                      </a:moveTo>
                      <a:cubicBezTo>
                        <a:pt x="3431" y="25120"/>
                        <a:pt x="640" y="22870"/>
                        <a:pt x="99" y="19680"/>
                      </a:cubicBezTo>
                      <a:cubicBezTo>
                        <a:pt x="-528" y="16120"/>
                        <a:pt x="1893" y="12731"/>
                        <a:pt x="5453" y="12104"/>
                      </a:cubicBezTo>
                      <a:cubicBezTo>
                        <a:pt x="45753" y="5184"/>
                        <a:pt x="102829" y="883"/>
                        <a:pt x="166113" y="0"/>
                      </a:cubicBezTo>
                      <a:cubicBezTo>
                        <a:pt x="166142" y="0"/>
                        <a:pt x="166170" y="0"/>
                        <a:pt x="166199" y="0"/>
                      </a:cubicBezTo>
                      <a:cubicBezTo>
                        <a:pt x="169788" y="0"/>
                        <a:pt x="172721" y="2877"/>
                        <a:pt x="172750" y="6465"/>
                      </a:cubicBezTo>
                      <a:cubicBezTo>
                        <a:pt x="172807" y="10082"/>
                        <a:pt x="169901" y="13073"/>
                        <a:pt x="166284" y="13130"/>
                      </a:cubicBezTo>
                      <a:cubicBezTo>
                        <a:pt x="103655" y="14013"/>
                        <a:pt x="47320" y="18256"/>
                        <a:pt x="7646" y="25063"/>
                      </a:cubicBezTo>
                      <a:cubicBezTo>
                        <a:pt x="7304" y="25092"/>
                        <a:pt x="6934" y="25120"/>
                        <a:pt x="6564" y="25120"/>
                      </a:cubicBezTo>
                      <a:close/>
                    </a:path>
                  </a:pathLst>
                </a:custGeom>
                <a:grpFill/>
                <a:ln w="2840" cap="flat">
                  <a:noFill/>
                  <a:prstDash val="solid"/>
                  <a:miter/>
                </a:ln>
              </p:spPr>
              <p:txBody>
                <a:bodyPr rtlCol="0" anchor="ctr"/>
                <a:lstStyle/>
                <a:p>
                  <a:endParaRPr lang="en-GB" dirty="0"/>
                </a:p>
              </p:txBody>
            </p:sp>
            <p:sp>
              <p:nvSpPr>
                <p:cNvPr id="625" name="Freihandform: Form 367">
                  <a:extLst>
                    <a:ext uri="{FF2B5EF4-FFF2-40B4-BE49-F238E27FC236}">
                      <a16:creationId xmlns:a16="http://schemas.microsoft.com/office/drawing/2014/main" id="{DF10CFA3-F51F-4817-BF77-472E09570A45}"/>
                    </a:ext>
                  </a:extLst>
                </p:cNvPr>
                <p:cNvSpPr/>
                <p:nvPr/>
              </p:nvSpPr>
              <p:spPr>
                <a:xfrm>
                  <a:off x="3870971" y="1688475"/>
                  <a:ext cx="13101" cy="275580"/>
                </a:xfrm>
                <a:custGeom>
                  <a:avLst/>
                  <a:gdLst>
                    <a:gd name="connsiteX0" fmla="*/ 6551 w 13101"/>
                    <a:gd name="connsiteY0" fmla="*/ 275580 h 275580"/>
                    <a:gd name="connsiteX1" fmla="*/ 0 w 13101"/>
                    <a:gd name="connsiteY1" fmla="*/ 269030 h 275580"/>
                    <a:gd name="connsiteX2" fmla="*/ 0 w 13101"/>
                    <a:gd name="connsiteY2" fmla="*/ 6551 h 275580"/>
                    <a:gd name="connsiteX3" fmla="*/ 6551 w 13101"/>
                    <a:gd name="connsiteY3" fmla="*/ 0 h 275580"/>
                    <a:gd name="connsiteX4" fmla="*/ 13101 w 13101"/>
                    <a:gd name="connsiteY4" fmla="*/ 6551 h 275580"/>
                    <a:gd name="connsiteX5" fmla="*/ 13101 w 13101"/>
                    <a:gd name="connsiteY5" fmla="*/ 269030 h 275580"/>
                    <a:gd name="connsiteX6" fmla="*/ 6551 w 13101"/>
                    <a:gd name="connsiteY6" fmla="*/ 275580 h 27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1" h="275580">
                      <a:moveTo>
                        <a:pt x="6551" y="275580"/>
                      </a:moveTo>
                      <a:cubicBezTo>
                        <a:pt x="2934" y="275580"/>
                        <a:pt x="0" y="272647"/>
                        <a:pt x="0" y="269030"/>
                      </a:cubicBezTo>
                      <a:lnTo>
                        <a:pt x="0" y="6551"/>
                      </a:lnTo>
                      <a:cubicBezTo>
                        <a:pt x="0" y="2934"/>
                        <a:pt x="2934" y="0"/>
                        <a:pt x="6551" y="0"/>
                      </a:cubicBezTo>
                      <a:cubicBezTo>
                        <a:pt x="10167" y="0"/>
                        <a:pt x="13101" y="2934"/>
                        <a:pt x="13101" y="6551"/>
                      </a:cubicBezTo>
                      <a:lnTo>
                        <a:pt x="13101" y="269030"/>
                      </a:lnTo>
                      <a:cubicBezTo>
                        <a:pt x="13101" y="272647"/>
                        <a:pt x="10167" y="275580"/>
                        <a:pt x="6551" y="275580"/>
                      </a:cubicBezTo>
                      <a:close/>
                    </a:path>
                  </a:pathLst>
                </a:custGeom>
                <a:grpFill/>
                <a:ln w="2840" cap="flat">
                  <a:noFill/>
                  <a:prstDash val="solid"/>
                  <a:miter/>
                </a:ln>
              </p:spPr>
              <p:txBody>
                <a:bodyPr rtlCol="0" anchor="ctr"/>
                <a:lstStyle/>
                <a:p>
                  <a:endParaRPr lang="en-GB" dirty="0"/>
                </a:p>
              </p:txBody>
            </p:sp>
            <p:sp>
              <p:nvSpPr>
                <p:cNvPr id="626" name="Freihandform: Form 368">
                  <a:extLst>
                    <a:ext uri="{FF2B5EF4-FFF2-40B4-BE49-F238E27FC236}">
                      <a16:creationId xmlns:a16="http://schemas.microsoft.com/office/drawing/2014/main" id="{1C536EBE-1EB0-467E-A3F2-D26E24B72896}"/>
                    </a:ext>
                  </a:extLst>
                </p:cNvPr>
                <p:cNvSpPr/>
                <p:nvPr/>
              </p:nvSpPr>
              <p:spPr>
                <a:xfrm>
                  <a:off x="3398502" y="1691751"/>
                  <a:ext cx="13101" cy="275580"/>
                </a:xfrm>
                <a:custGeom>
                  <a:avLst/>
                  <a:gdLst>
                    <a:gd name="connsiteX0" fmla="*/ 6551 w 13101"/>
                    <a:gd name="connsiteY0" fmla="*/ 275580 h 275580"/>
                    <a:gd name="connsiteX1" fmla="*/ 0 w 13101"/>
                    <a:gd name="connsiteY1" fmla="*/ 269030 h 275580"/>
                    <a:gd name="connsiteX2" fmla="*/ 0 w 13101"/>
                    <a:gd name="connsiteY2" fmla="*/ 6551 h 275580"/>
                    <a:gd name="connsiteX3" fmla="*/ 6551 w 13101"/>
                    <a:gd name="connsiteY3" fmla="*/ 0 h 275580"/>
                    <a:gd name="connsiteX4" fmla="*/ 13101 w 13101"/>
                    <a:gd name="connsiteY4" fmla="*/ 6551 h 275580"/>
                    <a:gd name="connsiteX5" fmla="*/ 13101 w 13101"/>
                    <a:gd name="connsiteY5" fmla="*/ 269030 h 275580"/>
                    <a:gd name="connsiteX6" fmla="*/ 6551 w 13101"/>
                    <a:gd name="connsiteY6" fmla="*/ 275580 h 27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1" h="275580">
                      <a:moveTo>
                        <a:pt x="6551" y="275580"/>
                      </a:moveTo>
                      <a:cubicBezTo>
                        <a:pt x="2934" y="275580"/>
                        <a:pt x="0" y="272647"/>
                        <a:pt x="0" y="269030"/>
                      </a:cubicBezTo>
                      <a:lnTo>
                        <a:pt x="0" y="6551"/>
                      </a:lnTo>
                      <a:cubicBezTo>
                        <a:pt x="0" y="2934"/>
                        <a:pt x="2934" y="0"/>
                        <a:pt x="6551" y="0"/>
                      </a:cubicBezTo>
                      <a:cubicBezTo>
                        <a:pt x="10168" y="0"/>
                        <a:pt x="13101" y="2934"/>
                        <a:pt x="13101" y="6551"/>
                      </a:cubicBezTo>
                      <a:lnTo>
                        <a:pt x="13101" y="269030"/>
                      </a:lnTo>
                      <a:cubicBezTo>
                        <a:pt x="13130" y="272647"/>
                        <a:pt x="10196" y="275580"/>
                        <a:pt x="6551" y="275580"/>
                      </a:cubicBezTo>
                      <a:close/>
                    </a:path>
                  </a:pathLst>
                </a:custGeom>
                <a:grpFill/>
                <a:ln w="2840" cap="flat">
                  <a:noFill/>
                  <a:prstDash val="solid"/>
                  <a:miter/>
                </a:ln>
              </p:spPr>
              <p:txBody>
                <a:bodyPr rtlCol="0" anchor="ctr"/>
                <a:lstStyle/>
                <a:p>
                  <a:endParaRPr lang="en-GB" dirty="0"/>
                </a:p>
              </p:txBody>
            </p:sp>
          </p:grpSp>
          <p:grpSp>
            <p:nvGrpSpPr>
              <p:cNvPr id="616" name="Grafik 206">
                <a:extLst>
                  <a:ext uri="{FF2B5EF4-FFF2-40B4-BE49-F238E27FC236}">
                    <a16:creationId xmlns:a16="http://schemas.microsoft.com/office/drawing/2014/main" id="{326AA822-DA32-4270-B352-5C4D1578073C}"/>
                  </a:ext>
                </a:extLst>
              </p:cNvPr>
              <p:cNvGrpSpPr/>
              <p:nvPr/>
            </p:nvGrpSpPr>
            <p:grpSpPr>
              <a:xfrm>
                <a:off x="3530511" y="1843297"/>
                <a:ext cx="223090" cy="242798"/>
                <a:chOff x="3530511" y="1843297"/>
                <a:chExt cx="223090" cy="242798"/>
              </a:xfrm>
              <a:grpFill/>
            </p:grpSpPr>
            <p:grpSp>
              <p:nvGrpSpPr>
                <p:cNvPr id="617" name="Grafik 206">
                  <a:extLst>
                    <a:ext uri="{FF2B5EF4-FFF2-40B4-BE49-F238E27FC236}">
                      <a16:creationId xmlns:a16="http://schemas.microsoft.com/office/drawing/2014/main" id="{32DF3600-DEAD-4B0B-9597-DB6BEB240979}"/>
                    </a:ext>
                  </a:extLst>
                </p:cNvPr>
                <p:cNvGrpSpPr/>
                <p:nvPr/>
              </p:nvGrpSpPr>
              <p:grpSpPr>
                <a:xfrm>
                  <a:off x="3543641" y="1843297"/>
                  <a:ext cx="196859" cy="242400"/>
                  <a:chOff x="3543641" y="1843297"/>
                  <a:chExt cx="196859" cy="242400"/>
                </a:xfrm>
                <a:grpFill/>
              </p:grpSpPr>
              <p:sp>
                <p:nvSpPr>
                  <p:cNvPr id="619" name="Freihandform: Form 375">
                    <a:extLst>
                      <a:ext uri="{FF2B5EF4-FFF2-40B4-BE49-F238E27FC236}">
                        <a16:creationId xmlns:a16="http://schemas.microsoft.com/office/drawing/2014/main" id="{DBC89AAB-9393-4A49-A95B-540DBAB17617}"/>
                      </a:ext>
                    </a:extLst>
                  </p:cNvPr>
                  <p:cNvSpPr/>
                  <p:nvPr/>
                </p:nvSpPr>
                <p:spPr>
                  <a:xfrm>
                    <a:off x="3543641" y="1954686"/>
                    <a:ext cx="196859" cy="124859"/>
                  </a:xfrm>
                  <a:custGeom>
                    <a:avLst/>
                    <a:gdLst>
                      <a:gd name="connsiteX0" fmla="*/ 196859 w 196859"/>
                      <a:gd name="connsiteY0" fmla="*/ 124860 h 124859"/>
                      <a:gd name="connsiteX1" fmla="*/ 183730 w 196859"/>
                      <a:gd name="connsiteY1" fmla="*/ 124860 h 124859"/>
                      <a:gd name="connsiteX2" fmla="*/ 183730 w 196859"/>
                      <a:gd name="connsiteY2" fmla="*/ 72370 h 124859"/>
                      <a:gd name="connsiteX3" fmla="*/ 122382 w 196859"/>
                      <a:gd name="connsiteY3" fmla="*/ 13101 h 124859"/>
                      <a:gd name="connsiteX4" fmla="*/ 74477 w 196859"/>
                      <a:gd name="connsiteY4" fmla="*/ 13101 h 124859"/>
                      <a:gd name="connsiteX5" fmla="*/ 13130 w 196859"/>
                      <a:gd name="connsiteY5" fmla="*/ 72370 h 124859"/>
                      <a:gd name="connsiteX6" fmla="*/ 13130 w 196859"/>
                      <a:gd name="connsiteY6" fmla="*/ 124860 h 124859"/>
                      <a:gd name="connsiteX7" fmla="*/ 0 w 196859"/>
                      <a:gd name="connsiteY7" fmla="*/ 124860 h 124859"/>
                      <a:gd name="connsiteX8" fmla="*/ 0 w 196859"/>
                      <a:gd name="connsiteY8" fmla="*/ 72370 h 124859"/>
                      <a:gd name="connsiteX9" fmla="*/ 74477 w 196859"/>
                      <a:gd name="connsiteY9" fmla="*/ 0 h 124859"/>
                      <a:gd name="connsiteX10" fmla="*/ 122382 w 196859"/>
                      <a:gd name="connsiteY10" fmla="*/ 0 h 124859"/>
                      <a:gd name="connsiteX11" fmla="*/ 196859 w 196859"/>
                      <a:gd name="connsiteY11" fmla="*/ 72370 h 124859"/>
                      <a:gd name="connsiteX12" fmla="*/ 196859 w 196859"/>
                      <a:gd name="connsiteY12" fmla="*/ 124860 h 124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6859" h="124859">
                        <a:moveTo>
                          <a:pt x="196859" y="124860"/>
                        </a:moveTo>
                        <a:lnTo>
                          <a:pt x="183730" y="124860"/>
                        </a:lnTo>
                        <a:lnTo>
                          <a:pt x="183730" y="72370"/>
                        </a:lnTo>
                        <a:cubicBezTo>
                          <a:pt x="183730" y="37481"/>
                          <a:pt x="158496" y="13101"/>
                          <a:pt x="122382" y="13101"/>
                        </a:cubicBezTo>
                        <a:lnTo>
                          <a:pt x="74477" y="13101"/>
                        </a:lnTo>
                        <a:cubicBezTo>
                          <a:pt x="38364" y="13101"/>
                          <a:pt x="13130" y="37481"/>
                          <a:pt x="13130" y="72370"/>
                        </a:cubicBezTo>
                        <a:lnTo>
                          <a:pt x="13130" y="124860"/>
                        </a:lnTo>
                        <a:lnTo>
                          <a:pt x="0" y="124860"/>
                        </a:lnTo>
                        <a:lnTo>
                          <a:pt x="0" y="72370"/>
                        </a:lnTo>
                        <a:cubicBezTo>
                          <a:pt x="0" y="30418"/>
                          <a:pt x="31329" y="0"/>
                          <a:pt x="74477" y="0"/>
                        </a:cubicBezTo>
                        <a:lnTo>
                          <a:pt x="122382" y="0"/>
                        </a:lnTo>
                        <a:cubicBezTo>
                          <a:pt x="165530" y="0"/>
                          <a:pt x="196859" y="30446"/>
                          <a:pt x="196859" y="72370"/>
                        </a:cubicBezTo>
                        <a:lnTo>
                          <a:pt x="196859" y="124860"/>
                        </a:lnTo>
                        <a:close/>
                      </a:path>
                    </a:pathLst>
                  </a:custGeom>
                  <a:grpFill/>
                  <a:ln w="2840" cap="flat">
                    <a:noFill/>
                    <a:prstDash val="solid"/>
                    <a:miter/>
                  </a:ln>
                </p:spPr>
                <p:txBody>
                  <a:bodyPr rtlCol="0" anchor="ctr"/>
                  <a:lstStyle/>
                  <a:p>
                    <a:endParaRPr lang="en-GB" dirty="0"/>
                  </a:p>
                </p:txBody>
              </p:sp>
              <p:sp>
                <p:nvSpPr>
                  <p:cNvPr id="620" name="Freihandform: Form 376">
                    <a:extLst>
                      <a:ext uri="{FF2B5EF4-FFF2-40B4-BE49-F238E27FC236}">
                        <a16:creationId xmlns:a16="http://schemas.microsoft.com/office/drawing/2014/main" id="{3EE2AC42-464D-4DB7-85D7-D32623C3DC3F}"/>
                      </a:ext>
                    </a:extLst>
                  </p:cNvPr>
                  <p:cNvSpPr/>
                  <p:nvPr/>
                </p:nvSpPr>
                <p:spPr>
                  <a:xfrm>
                    <a:off x="3600944" y="1843297"/>
                    <a:ext cx="82594" cy="96635"/>
                  </a:xfrm>
                  <a:custGeom>
                    <a:avLst/>
                    <a:gdLst>
                      <a:gd name="connsiteX0" fmla="*/ 41297 w 82594"/>
                      <a:gd name="connsiteY0" fmla="*/ 96635 h 96635"/>
                      <a:gd name="connsiteX1" fmla="*/ 0 w 82594"/>
                      <a:gd name="connsiteY1" fmla="*/ 48332 h 96635"/>
                      <a:gd name="connsiteX2" fmla="*/ 41297 w 82594"/>
                      <a:gd name="connsiteY2" fmla="*/ 0 h 96635"/>
                      <a:gd name="connsiteX3" fmla="*/ 82594 w 82594"/>
                      <a:gd name="connsiteY3" fmla="*/ 48332 h 96635"/>
                      <a:gd name="connsiteX4" fmla="*/ 41297 w 82594"/>
                      <a:gd name="connsiteY4" fmla="*/ 96635 h 96635"/>
                      <a:gd name="connsiteX5" fmla="*/ 41297 w 82594"/>
                      <a:gd name="connsiteY5" fmla="*/ 13130 h 96635"/>
                      <a:gd name="connsiteX6" fmla="*/ 13101 w 82594"/>
                      <a:gd name="connsiteY6" fmla="*/ 48332 h 96635"/>
                      <a:gd name="connsiteX7" fmla="*/ 41297 w 82594"/>
                      <a:gd name="connsiteY7" fmla="*/ 83534 h 96635"/>
                      <a:gd name="connsiteX8" fmla="*/ 69465 w 82594"/>
                      <a:gd name="connsiteY8" fmla="*/ 48332 h 96635"/>
                      <a:gd name="connsiteX9" fmla="*/ 41297 w 82594"/>
                      <a:gd name="connsiteY9" fmla="*/ 13130 h 96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594" h="96635">
                        <a:moveTo>
                          <a:pt x="41297" y="96635"/>
                        </a:moveTo>
                        <a:cubicBezTo>
                          <a:pt x="16576" y="96635"/>
                          <a:pt x="0" y="77212"/>
                          <a:pt x="0" y="48332"/>
                        </a:cubicBezTo>
                        <a:cubicBezTo>
                          <a:pt x="0" y="19452"/>
                          <a:pt x="16604" y="0"/>
                          <a:pt x="41297" y="0"/>
                        </a:cubicBezTo>
                        <a:cubicBezTo>
                          <a:pt x="65990" y="0"/>
                          <a:pt x="82594" y="19424"/>
                          <a:pt x="82594" y="48332"/>
                        </a:cubicBezTo>
                        <a:cubicBezTo>
                          <a:pt x="82594" y="77240"/>
                          <a:pt x="66019" y="96635"/>
                          <a:pt x="41297" y="96635"/>
                        </a:cubicBezTo>
                        <a:close/>
                        <a:moveTo>
                          <a:pt x="41297" y="13130"/>
                        </a:moveTo>
                        <a:cubicBezTo>
                          <a:pt x="20506" y="13130"/>
                          <a:pt x="13101" y="31300"/>
                          <a:pt x="13101" y="48332"/>
                        </a:cubicBezTo>
                        <a:cubicBezTo>
                          <a:pt x="13101" y="65335"/>
                          <a:pt x="20506" y="83534"/>
                          <a:pt x="41297" y="83534"/>
                        </a:cubicBezTo>
                        <a:cubicBezTo>
                          <a:pt x="62060" y="83534"/>
                          <a:pt x="69465" y="65363"/>
                          <a:pt x="69465" y="48332"/>
                        </a:cubicBezTo>
                        <a:cubicBezTo>
                          <a:pt x="69493" y="31300"/>
                          <a:pt x="62088" y="13130"/>
                          <a:pt x="41297" y="13130"/>
                        </a:cubicBezTo>
                        <a:close/>
                      </a:path>
                    </a:pathLst>
                  </a:custGeom>
                  <a:grpFill/>
                  <a:ln w="2840" cap="flat">
                    <a:noFill/>
                    <a:prstDash val="solid"/>
                    <a:miter/>
                  </a:ln>
                </p:spPr>
                <p:txBody>
                  <a:bodyPr rtlCol="0" anchor="ctr"/>
                  <a:lstStyle/>
                  <a:p>
                    <a:endParaRPr lang="en-GB" dirty="0"/>
                  </a:p>
                </p:txBody>
              </p:sp>
              <p:sp>
                <p:nvSpPr>
                  <p:cNvPr id="621" name="Freihandform: Form 377">
                    <a:extLst>
                      <a:ext uri="{FF2B5EF4-FFF2-40B4-BE49-F238E27FC236}">
                        <a16:creationId xmlns:a16="http://schemas.microsoft.com/office/drawing/2014/main" id="{6BEE4516-E03A-43CC-8CA0-D62640FD8B6A}"/>
                      </a:ext>
                    </a:extLst>
                  </p:cNvPr>
                  <p:cNvSpPr/>
                  <p:nvPr/>
                </p:nvSpPr>
                <p:spPr>
                  <a:xfrm>
                    <a:off x="3580008" y="2002961"/>
                    <a:ext cx="121941" cy="82736"/>
                  </a:xfrm>
                  <a:custGeom>
                    <a:avLst/>
                    <a:gdLst>
                      <a:gd name="connsiteX0" fmla="*/ 116147 w 121941"/>
                      <a:gd name="connsiteY0" fmla="*/ 82737 h 82736"/>
                      <a:gd name="connsiteX1" fmla="*/ 5755 w 121941"/>
                      <a:gd name="connsiteY1" fmla="*/ 82737 h 82736"/>
                      <a:gd name="connsiteX2" fmla="*/ 5755 w 121941"/>
                      <a:gd name="connsiteY2" fmla="*/ 62658 h 82736"/>
                      <a:gd name="connsiteX3" fmla="*/ 116 w 121941"/>
                      <a:gd name="connsiteY3" fmla="*/ 17316 h 82736"/>
                      <a:gd name="connsiteX4" fmla="*/ 3847 w 121941"/>
                      <a:gd name="connsiteY4" fmla="*/ 5212 h 82736"/>
                      <a:gd name="connsiteX5" fmla="*/ 15382 w 121941"/>
                      <a:gd name="connsiteY5" fmla="*/ 0 h 82736"/>
                      <a:gd name="connsiteX6" fmla="*/ 106549 w 121941"/>
                      <a:gd name="connsiteY6" fmla="*/ 0 h 82736"/>
                      <a:gd name="connsiteX7" fmla="*/ 118084 w 121941"/>
                      <a:gd name="connsiteY7" fmla="*/ 5184 h 82736"/>
                      <a:gd name="connsiteX8" fmla="*/ 121815 w 121941"/>
                      <a:gd name="connsiteY8" fmla="*/ 17288 h 82736"/>
                      <a:gd name="connsiteX9" fmla="*/ 116147 w 121941"/>
                      <a:gd name="connsiteY9" fmla="*/ 62629 h 82736"/>
                      <a:gd name="connsiteX10" fmla="*/ 116147 w 121941"/>
                      <a:gd name="connsiteY10" fmla="*/ 82737 h 82736"/>
                      <a:gd name="connsiteX11" fmla="*/ 18885 w 121941"/>
                      <a:gd name="connsiteY11" fmla="*/ 69607 h 82736"/>
                      <a:gd name="connsiteX12" fmla="*/ 103046 w 121941"/>
                      <a:gd name="connsiteY12" fmla="*/ 69607 h 82736"/>
                      <a:gd name="connsiteX13" fmla="*/ 103103 w 121941"/>
                      <a:gd name="connsiteY13" fmla="*/ 61433 h 82736"/>
                      <a:gd name="connsiteX14" fmla="*/ 108799 w 121941"/>
                      <a:gd name="connsiteY14" fmla="*/ 15693 h 82736"/>
                      <a:gd name="connsiteX15" fmla="*/ 108229 w 121941"/>
                      <a:gd name="connsiteY15" fmla="*/ 13899 h 82736"/>
                      <a:gd name="connsiteX16" fmla="*/ 106549 w 121941"/>
                      <a:gd name="connsiteY16" fmla="*/ 13130 h 82736"/>
                      <a:gd name="connsiteX17" fmla="*/ 15353 w 121941"/>
                      <a:gd name="connsiteY17" fmla="*/ 13130 h 82736"/>
                      <a:gd name="connsiteX18" fmla="*/ 13673 w 121941"/>
                      <a:gd name="connsiteY18" fmla="*/ 13899 h 82736"/>
                      <a:gd name="connsiteX19" fmla="*/ 13132 w 121941"/>
                      <a:gd name="connsiteY19" fmla="*/ 15693 h 82736"/>
                      <a:gd name="connsiteX20" fmla="*/ 18885 w 121941"/>
                      <a:gd name="connsiteY20" fmla="*/ 62259 h 82736"/>
                      <a:gd name="connsiteX21" fmla="*/ 18885 w 121941"/>
                      <a:gd name="connsiteY21" fmla="*/ 69607 h 82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41" h="82736">
                        <a:moveTo>
                          <a:pt x="116147" y="82737"/>
                        </a:moveTo>
                        <a:lnTo>
                          <a:pt x="5755" y="82737"/>
                        </a:lnTo>
                        <a:lnTo>
                          <a:pt x="5755" y="62658"/>
                        </a:lnTo>
                        <a:lnTo>
                          <a:pt x="116" y="17316"/>
                        </a:lnTo>
                        <a:cubicBezTo>
                          <a:pt x="-425" y="12930"/>
                          <a:pt x="942" y="8516"/>
                          <a:pt x="3847" y="5212"/>
                        </a:cubicBezTo>
                        <a:cubicBezTo>
                          <a:pt x="6781" y="1908"/>
                          <a:pt x="10967" y="0"/>
                          <a:pt x="15382" y="0"/>
                        </a:cubicBezTo>
                        <a:lnTo>
                          <a:pt x="106549" y="0"/>
                        </a:lnTo>
                        <a:cubicBezTo>
                          <a:pt x="110963" y="0"/>
                          <a:pt x="115150" y="1880"/>
                          <a:pt x="118084" y="5184"/>
                        </a:cubicBezTo>
                        <a:cubicBezTo>
                          <a:pt x="121017" y="8487"/>
                          <a:pt x="122384" y="12902"/>
                          <a:pt x="121815" y="17288"/>
                        </a:cubicBezTo>
                        <a:lnTo>
                          <a:pt x="116147" y="62629"/>
                        </a:lnTo>
                        <a:lnTo>
                          <a:pt x="116147" y="82737"/>
                        </a:lnTo>
                        <a:close/>
                        <a:moveTo>
                          <a:pt x="18885" y="69607"/>
                        </a:moveTo>
                        <a:lnTo>
                          <a:pt x="103046" y="69607"/>
                        </a:lnTo>
                        <a:lnTo>
                          <a:pt x="103103" y="61433"/>
                        </a:lnTo>
                        <a:lnTo>
                          <a:pt x="108799" y="15693"/>
                        </a:lnTo>
                        <a:cubicBezTo>
                          <a:pt x="108913" y="14810"/>
                          <a:pt x="108486" y="14183"/>
                          <a:pt x="108229" y="13899"/>
                        </a:cubicBezTo>
                        <a:cubicBezTo>
                          <a:pt x="107973" y="13614"/>
                          <a:pt x="107432" y="13130"/>
                          <a:pt x="106549" y="13130"/>
                        </a:cubicBezTo>
                        <a:lnTo>
                          <a:pt x="15353" y="13130"/>
                        </a:lnTo>
                        <a:cubicBezTo>
                          <a:pt x="14470" y="13130"/>
                          <a:pt x="13929" y="13614"/>
                          <a:pt x="13673" y="13899"/>
                        </a:cubicBezTo>
                        <a:cubicBezTo>
                          <a:pt x="13417" y="14183"/>
                          <a:pt x="13018" y="14810"/>
                          <a:pt x="13132" y="15693"/>
                        </a:cubicBezTo>
                        <a:lnTo>
                          <a:pt x="18885" y="62259"/>
                        </a:lnTo>
                        <a:lnTo>
                          <a:pt x="18885" y="69607"/>
                        </a:lnTo>
                        <a:close/>
                      </a:path>
                    </a:pathLst>
                  </a:custGeom>
                  <a:grpFill/>
                  <a:ln w="2840" cap="flat">
                    <a:noFill/>
                    <a:prstDash val="solid"/>
                    <a:miter/>
                  </a:ln>
                </p:spPr>
                <p:txBody>
                  <a:bodyPr rtlCol="0" anchor="ctr"/>
                  <a:lstStyle/>
                  <a:p>
                    <a:endParaRPr lang="en-GB" dirty="0"/>
                  </a:p>
                </p:txBody>
              </p:sp>
            </p:grpSp>
            <p:sp>
              <p:nvSpPr>
                <p:cNvPr id="618" name="Freihandform: Form 378">
                  <a:extLst>
                    <a:ext uri="{FF2B5EF4-FFF2-40B4-BE49-F238E27FC236}">
                      <a16:creationId xmlns:a16="http://schemas.microsoft.com/office/drawing/2014/main" id="{DFDB5E20-C83E-4F51-B61C-EAA71767ED6C}"/>
                    </a:ext>
                  </a:extLst>
                </p:cNvPr>
                <p:cNvSpPr/>
                <p:nvPr/>
              </p:nvSpPr>
              <p:spPr>
                <a:xfrm>
                  <a:off x="3530511" y="2072995"/>
                  <a:ext cx="223090" cy="13101"/>
                </a:xfrm>
                <a:custGeom>
                  <a:avLst/>
                  <a:gdLst>
                    <a:gd name="connsiteX0" fmla="*/ 216540 w 223090"/>
                    <a:gd name="connsiteY0" fmla="*/ 13101 h 13101"/>
                    <a:gd name="connsiteX1" fmla="*/ 6551 w 223090"/>
                    <a:gd name="connsiteY1" fmla="*/ 13101 h 13101"/>
                    <a:gd name="connsiteX2" fmla="*/ 0 w 223090"/>
                    <a:gd name="connsiteY2" fmla="*/ 6551 h 13101"/>
                    <a:gd name="connsiteX3" fmla="*/ 6551 w 223090"/>
                    <a:gd name="connsiteY3" fmla="*/ 0 h 13101"/>
                    <a:gd name="connsiteX4" fmla="*/ 216540 w 223090"/>
                    <a:gd name="connsiteY4" fmla="*/ 0 h 13101"/>
                    <a:gd name="connsiteX5" fmla="*/ 223090 w 223090"/>
                    <a:gd name="connsiteY5" fmla="*/ 6551 h 13101"/>
                    <a:gd name="connsiteX6" fmla="*/ 216540 w 223090"/>
                    <a:gd name="connsiteY6" fmla="*/ 13101 h 1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3090" h="13101">
                      <a:moveTo>
                        <a:pt x="216540" y="13101"/>
                      </a:moveTo>
                      <a:lnTo>
                        <a:pt x="6551" y="13101"/>
                      </a:lnTo>
                      <a:cubicBezTo>
                        <a:pt x="2933" y="13101"/>
                        <a:pt x="0" y="10168"/>
                        <a:pt x="0" y="6551"/>
                      </a:cubicBezTo>
                      <a:cubicBezTo>
                        <a:pt x="0" y="2934"/>
                        <a:pt x="2933" y="0"/>
                        <a:pt x="6551" y="0"/>
                      </a:cubicBezTo>
                      <a:lnTo>
                        <a:pt x="216540" y="0"/>
                      </a:lnTo>
                      <a:cubicBezTo>
                        <a:pt x="220157" y="0"/>
                        <a:pt x="223090" y="2934"/>
                        <a:pt x="223090" y="6551"/>
                      </a:cubicBezTo>
                      <a:cubicBezTo>
                        <a:pt x="223119" y="10168"/>
                        <a:pt x="220185" y="13101"/>
                        <a:pt x="216540" y="13101"/>
                      </a:cubicBezTo>
                      <a:close/>
                    </a:path>
                  </a:pathLst>
                </a:custGeom>
                <a:grpFill/>
                <a:ln w="2840" cap="flat">
                  <a:noFill/>
                  <a:prstDash val="solid"/>
                  <a:miter/>
                </a:ln>
              </p:spPr>
              <p:txBody>
                <a:bodyPr rtlCol="0" anchor="ctr"/>
                <a:lstStyle/>
                <a:p>
                  <a:endParaRPr lang="en-GB" dirty="0"/>
                </a:p>
              </p:txBody>
            </p:sp>
          </p:grpSp>
        </p:grpSp>
      </p:grpSp>
      <p:grpSp>
        <p:nvGrpSpPr>
          <p:cNvPr id="453" name="Group 452">
            <a:extLst>
              <a:ext uri="{FF2B5EF4-FFF2-40B4-BE49-F238E27FC236}">
                <a16:creationId xmlns:a16="http://schemas.microsoft.com/office/drawing/2014/main" id="{807C848C-4CCD-8564-1C75-4A989079AA00}"/>
              </a:ext>
            </a:extLst>
          </p:cNvPr>
          <p:cNvGrpSpPr/>
          <p:nvPr/>
        </p:nvGrpSpPr>
        <p:grpSpPr>
          <a:xfrm>
            <a:off x="6013866" y="3197068"/>
            <a:ext cx="485071" cy="432000"/>
            <a:chOff x="6013454" y="3197068"/>
            <a:chExt cx="485071" cy="432000"/>
          </a:xfrm>
        </p:grpSpPr>
        <p:grpSp>
          <p:nvGrpSpPr>
            <p:cNvPr id="632" name="Grafik 206">
              <a:extLst>
                <a:ext uri="{FF2B5EF4-FFF2-40B4-BE49-F238E27FC236}">
                  <a16:creationId xmlns:a16="http://schemas.microsoft.com/office/drawing/2014/main" id="{B90B1634-4F20-48FF-A55A-E33C719A19B2}"/>
                </a:ext>
              </a:extLst>
            </p:cNvPr>
            <p:cNvGrpSpPr/>
            <p:nvPr/>
          </p:nvGrpSpPr>
          <p:grpSpPr>
            <a:xfrm>
              <a:off x="6013454" y="3197068"/>
              <a:ext cx="264353" cy="287942"/>
              <a:chOff x="1735878" y="3269075"/>
              <a:chExt cx="264299" cy="287883"/>
            </a:xfrm>
            <a:solidFill>
              <a:schemeClr val="tx2"/>
            </a:solidFill>
          </p:grpSpPr>
          <p:sp>
            <p:nvSpPr>
              <p:cNvPr id="664" name="Freihandform: Form 495">
                <a:extLst>
                  <a:ext uri="{FF2B5EF4-FFF2-40B4-BE49-F238E27FC236}">
                    <a16:creationId xmlns:a16="http://schemas.microsoft.com/office/drawing/2014/main" id="{AB481F36-9760-426D-A6E1-33C7D3A7CA7E}"/>
                  </a:ext>
                </a:extLst>
              </p:cNvPr>
              <p:cNvSpPr/>
              <p:nvPr/>
            </p:nvSpPr>
            <p:spPr>
              <a:xfrm>
                <a:off x="1735878" y="3269075"/>
                <a:ext cx="147104" cy="56306"/>
              </a:xfrm>
              <a:custGeom>
                <a:avLst/>
                <a:gdLst>
                  <a:gd name="connsiteX0" fmla="*/ 140581 w 147104"/>
                  <a:gd name="connsiteY0" fmla="*/ 56306 h 56306"/>
                  <a:gd name="connsiteX1" fmla="*/ 6551 w 147104"/>
                  <a:gd name="connsiteY1" fmla="*/ 56306 h 56306"/>
                  <a:gd name="connsiteX2" fmla="*/ 0 w 147104"/>
                  <a:gd name="connsiteY2" fmla="*/ 49756 h 56306"/>
                  <a:gd name="connsiteX3" fmla="*/ 0 w 147104"/>
                  <a:gd name="connsiteY3" fmla="*/ 6551 h 56306"/>
                  <a:gd name="connsiteX4" fmla="*/ 6551 w 147104"/>
                  <a:gd name="connsiteY4" fmla="*/ 0 h 56306"/>
                  <a:gd name="connsiteX5" fmla="*/ 13101 w 147104"/>
                  <a:gd name="connsiteY5" fmla="*/ 6551 h 56306"/>
                  <a:gd name="connsiteX6" fmla="*/ 13101 w 147104"/>
                  <a:gd name="connsiteY6" fmla="*/ 43205 h 56306"/>
                  <a:gd name="connsiteX7" fmla="*/ 134002 w 147104"/>
                  <a:gd name="connsiteY7" fmla="*/ 43205 h 56306"/>
                  <a:gd name="connsiteX8" fmla="*/ 134002 w 147104"/>
                  <a:gd name="connsiteY8" fmla="*/ 6551 h 56306"/>
                  <a:gd name="connsiteX9" fmla="*/ 140553 w 147104"/>
                  <a:gd name="connsiteY9" fmla="*/ 0 h 56306"/>
                  <a:gd name="connsiteX10" fmla="*/ 147103 w 147104"/>
                  <a:gd name="connsiteY10" fmla="*/ 6551 h 56306"/>
                  <a:gd name="connsiteX11" fmla="*/ 147103 w 147104"/>
                  <a:gd name="connsiteY11" fmla="*/ 49756 h 56306"/>
                  <a:gd name="connsiteX12" fmla="*/ 140581 w 147104"/>
                  <a:gd name="connsiteY12" fmla="*/ 56306 h 56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104" h="56306">
                    <a:moveTo>
                      <a:pt x="140581" y="56306"/>
                    </a:moveTo>
                    <a:lnTo>
                      <a:pt x="6551" y="56306"/>
                    </a:lnTo>
                    <a:cubicBezTo>
                      <a:pt x="2934" y="56306"/>
                      <a:pt x="0" y="53373"/>
                      <a:pt x="0" y="49756"/>
                    </a:cubicBezTo>
                    <a:lnTo>
                      <a:pt x="0" y="6551"/>
                    </a:lnTo>
                    <a:cubicBezTo>
                      <a:pt x="0" y="2933"/>
                      <a:pt x="2934" y="0"/>
                      <a:pt x="6551" y="0"/>
                    </a:cubicBezTo>
                    <a:cubicBezTo>
                      <a:pt x="10168" y="0"/>
                      <a:pt x="13101" y="2933"/>
                      <a:pt x="13101" y="6551"/>
                    </a:cubicBezTo>
                    <a:lnTo>
                      <a:pt x="13101" y="43205"/>
                    </a:lnTo>
                    <a:lnTo>
                      <a:pt x="134002" y="43205"/>
                    </a:lnTo>
                    <a:lnTo>
                      <a:pt x="134002" y="6551"/>
                    </a:lnTo>
                    <a:cubicBezTo>
                      <a:pt x="134002" y="2933"/>
                      <a:pt x="136936" y="0"/>
                      <a:pt x="140553" y="0"/>
                    </a:cubicBezTo>
                    <a:cubicBezTo>
                      <a:pt x="144170" y="0"/>
                      <a:pt x="147103" y="2933"/>
                      <a:pt x="147103" y="6551"/>
                    </a:cubicBezTo>
                    <a:lnTo>
                      <a:pt x="147103" y="49756"/>
                    </a:lnTo>
                    <a:cubicBezTo>
                      <a:pt x="147160" y="53373"/>
                      <a:pt x="144198" y="56306"/>
                      <a:pt x="140581" y="56306"/>
                    </a:cubicBezTo>
                    <a:close/>
                  </a:path>
                </a:pathLst>
              </a:custGeom>
              <a:grpFill/>
              <a:ln w="2840" cap="flat">
                <a:noFill/>
                <a:prstDash val="solid"/>
                <a:miter/>
              </a:ln>
            </p:spPr>
            <p:txBody>
              <a:bodyPr rtlCol="0" anchor="ctr"/>
              <a:lstStyle/>
              <a:p>
                <a:endParaRPr lang="en-GB" dirty="0"/>
              </a:p>
            </p:txBody>
          </p:sp>
          <p:sp>
            <p:nvSpPr>
              <p:cNvPr id="665" name="Freihandform: Form 496">
                <a:extLst>
                  <a:ext uri="{FF2B5EF4-FFF2-40B4-BE49-F238E27FC236}">
                    <a16:creationId xmlns:a16="http://schemas.microsoft.com/office/drawing/2014/main" id="{F6885A6B-7893-422A-B3E6-64D550C1C75F}"/>
                  </a:ext>
                </a:extLst>
              </p:cNvPr>
              <p:cNvSpPr/>
              <p:nvPr/>
            </p:nvSpPr>
            <p:spPr>
              <a:xfrm>
                <a:off x="1951689" y="3410422"/>
                <a:ext cx="35233" cy="82569"/>
              </a:xfrm>
              <a:custGeom>
                <a:avLst/>
                <a:gdLst>
                  <a:gd name="connsiteX0" fmla="*/ 11380 w 35233"/>
                  <a:gd name="connsiteY0" fmla="*/ 82570 h 82569"/>
                  <a:gd name="connsiteX1" fmla="*/ 7450 w 35233"/>
                  <a:gd name="connsiteY1" fmla="*/ 81260 h 82569"/>
                  <a:gd name="connsiteX2" fmla="*/ 6140 w 35233"/>
                  <a:gd name="connsiteY2" fmla="*/ 72089 h 82569"/>
                  <a:gd name="connsiteX3" fmla="*/ 21035 w 35233"/>
                  <a:gd name="connsiteY3" fmla="*/ 52238 h 82569"/>
                  <a:gd name="connsiteX4" fmla="*/ 643 w 35233"/>
                  <a:gd name="connsiteY4" fmla="*/ 9374 h 82569"/>
                  <a:gd name="connsiteX5" fmla="*/ 3747 w 35233"/>
                  <a:gd name="connsiteY5" fmla="*/ 631 h 82569"/>
                  <a:gd name="connsiteX6" fmla="*/ 12491 w 35233"/>
                  <a:gd name="connsiteY6" fmla="*/ 3735 h 82569"/>
                  <a:gd name="connsiteX7" fmla="*/ 34592 w 35233"/>
                  <a:gd name="connsiteY7" fmla="*/ 50187 h 82569"/>
                  <a:gd name="connsiteX8" fmla="*/ 33908 w 35233"/>
                  <a:gd name="connsiteY8" fmla="*/ 56937 h 82569"/>
                  <a:gd name="connsiteX9" fmla="*/ 16621 w 35233"/>
                  <a:gd name="connsiteY9" fmla="*/ 79978 h 82569"/>
                  <a:gd name="connsiteX10" fmla="*/ 11380 w 35233"/>
                  <a:gd name="connsiteY10" fmla="*/ 82570 h 8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233" h="82569">
                    <a:moveTo>
                      <a:pt x="11380" y="82570"/>
                    </a:moveTo>
                    <a:cubicBezTo>
                      <a:pt x="10013" y="82570"/>
                      <a:pt x="8618" y="82143"/>
                      <a:pt x="7450" y="81260"/>
                    </a:cubicBezTo>
                    <a:cubicBezTo>
                      <a:pt x="4545" y="79095"/>
                      <a:pt x="3975" y="74966"/>
                      <a:pt x="6140" y="72089"/>
                    </a:cubicBezTo>
                    <a:lnTo>
                      <a:pt x="21035" y="52238"/>
                    </a:lnTo>
                    <a:lnTo>
                      <a:pt x="643" y="9374"/>
                    </a:lnTo>
                    <a:cubicBezTo>
                      <a:pt x="-924" y="6099"/>
                      <a:pt x="472" y="2197"/>
                      <a:pt x="3747" y="631"/>
                    </a:cubicBezTo>
                    <a:cubicBezTo>
                      <a:pt x="7023" y="-907"/>
                      <a:pt x="10925" y="460"/>
                      <a:pt x="12491" y="3735"/>
                    </a:cubicBezTo>
                    <a:lnTo>
                      <a:pt x="34592" y="50187"/>
                    </a:lnTo>
                    <a:cubicBezTo>
                      <a:pt x="35646" y="52380"/>
                      <a:pt x="35390" y="55000"/>
                      <a:pt x="33908" y="56937"/>
                    </a:cubicBezTo>
                    <a:lnTo>
                      <a:pt x="16621" y="79978"/>
                    </a:lnTo>
                    <a:cubicBezTo>
                      <a:pt x="15339" y="81658"/>
                      <a:pt x="13374" y="82570"/>
                      <a:pt x="11380" y="82570"/>
                    </a:cubicBezTo>
                    <a:close/>
                  </a:path>
                </a:pathLst>
              </a:custGeom>
              <a:grpFill/>
              <a:ln w="2840" cap="flat">
                <a:noFill/>
                <a:prstDash val="solid"/>
                <a:miter/>
              </a:ln>
            </p:spPr>
            <p:txBody>
              <a:bodyPr rtlCol="0" anchor="ctr"/>
              <a:lstStyle/>
              <a:p>
                <a:endParaRPr lang="en-GB" dirty="0"/>
              </a:p>
            </p:txBody>
          </p:sp>
          <p:sp>
            <p:nvSpPr>
              <p:cNvPr id="666" name="Freihandform: Form 497">
                <a:extLst>
                  <a:ext uri="{FF2B5EF4-FFF2-40B4-BE49-F238E27FC236}">
                    <a16:creationId xmlns:a16="http://schemas.microsoft.com/office/drawing/2014/main" id="{CB55D225-2AA6-4F27-9B48-A6171CFCE2C4}"/>
                  </a:ext>
                </a:extLst>
              </p:cNvPr>
              <p:cNvSpPr/>
              <p:nvPr/>
            </p:nvSpPr>
            <p:spPr>
              <a:xfrm>
                <a:off x="1961954" y="3392137"/>
                <a:ext cx="34129" cy="68016"/>
              </a:xfrm>
              <a:custGeom>
                <a:avLst/>
                <a:gdLst>
                  <a:gd name="connsiteX0" fmla="*/ 15498 w 34129"/>
                  <a:gd name="connsiteY0" fmla="*/ 68017 h 68016"/>
                  <a:gd name="connsiteX1" fmla="*/ 12451 w 34129"/>
                  <a:gd name="connsiteY1" fmla="*/ 67276 h 68016"/>
                  <a:gd name="connsiteX2" fmla="*/ 9688 w 34129"/>
                  <a:gd name="connsiteY2" fmla="*/ 58419 h 68016"/>
                  <a:gd name="connsiteX3" fmla="*/ 19970 w 34129"/>
                  <a:gd name="connsiteY3" fmla="*/ 38795 h 68016"/>
                  <a:gd name="connsiteX4" fmla="*/ 1087 w 34129"/>
                  <a:gd name="connsiteY4" fmla="*/ 10172 h 68016"/>
                  <a:gd name="connsiteX5" fmla="*/ 2938 w 34129"/>
                  <a:gd name="connsiteY5" fmla="*/ 1087 h 68016"/>
                  <a:gd name="connsiteX6" fmla="*/ 12023 w 34129"/>
                  <a:gd name="connsiteY6" fmla="*/ 2938 h 68016"/>
                  <a:gd name="connsiteX7" fmla="*/ 33042 w 34129"/>
                  <a:gd name="connsiteY7" fmla="*/ 34808 h 68016"/>
                  <a:gd name="connsiteX8" fmla="*/ 33384 w 34129"/>
                  <a:gd name="connsiteY8" fmla="*/ 41472 h 68016"/>
                  <a:gd name="connsiteX9" fmla="*/ 21280 w 34129"/>
                  <a:gd name="connsiteY9" fmla="*/ 64513 h 68016"/>
                  <a:gd name="connsiteX10" fmla="*/ 15498 w 34129"/>
                  <a:gd name="connsiteY10" fmla="*/ 68017 h 6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129" h="68016">
                    <a:moveTo>
                      <a:pt x="15498" y="68017"/>
                    </a:moveTo>
                    <a:cubicBezTo>
                      <a:pt x="14473" y="68017"/>
                      <a:pt x="13419" y="67760"/>
                      <a:pt x="12451" y="67276"/>
                    </a:cubicBezTo>
                    <a:cubicBezTo>
                      <a:pt x="9232" y="65596"/>
                      <a:pt x="8008" y="61637"/>
                      <a:pt x="9688" y="58419"/>
                    </a:cubicBezTo>
                    <a:lnTo>
                      <a:pt x="19970" y="38795"/>
                    </a:lnTo>
                    <a:lnTo>
                      <a:pt x="1087" y="10172"/>
                    </a:lnTo>
                    <a:cubicBezTo>
                      <a:pt x="-907" y="7153"/>
                      <a:pt x="-81" y="3080"/>
                      <a:pt x="2938" y="1087"/>
                    </a:cubicBezTo>
                    <a:cubicBezTo>
                      <a:pt x="5957" y="-907"/>
                      <a:pt x="10030" y="-81"/>
                      <a:pt x="12023" y="2938"/>
                    </a:cubicBezTo>
                    <a:lnTo>
                      <a:pt x="33042" y="34808"/>
                    </a:lnTo>
                    <a:cubicBezTo>
                      <a:pt x="34352" y="36802"/>
                      <a:pt x="34495" y="39365"/>
                      <a:pt x="33384" y="41472"/>
                    </a:cubicBezTo>
                    <a:lnTo>
                      <a:pt x="21280" y="64513"/>
                    </a:lnTo>
                    <a:cubicBezTo>
                      <a:pt x="20140" y="66735"/>
                      <a:pt x="17862" y="68017"/>
                      <a:pt x="15498" y="68017"/>
                    </a:cubicBezTo>
                    <a:close/>
                  </a:path>
                </a:pathLst>
              </a:custGeom>
              <a:grpFill/>
              <a:ln w="2840" cap="flat">
                <a:noFill/>
                <a:prstDash val="solid"/>
                <a:miter/>
              </a:ln>
            </p:spPr>
            <p:txBody>
              <a:bodyPr rtlCol="0" anchor="ctr"/>
              <a:lstStyle/>
              <a:p>
                <a:endParaRPr lang="en-GB" dirty="0"/>
              </a:p>
            </p:txBody>
          </p:sp>
          <p:sp>
            <p:nvSpPr>
              <p:cNvPr id="667" name="Freihandform: Form 498">
                <a:extLst>
                  <a:ext uri="{FF2B5EF4-FFF2-40B4-BE49-F238E27FC236}">
                    <a16:creationId xmlns:a16="http://schemas.microsoft.com/office/drawing/2014/main" id="{39CBE5A1-455D-42E1-BA29-5C090628FE02}"/>
                  </a:ext>
                </a:extLst>
              </p:cNvPr>
              <p:cNvSpPr/>
              <p:nvPr/>
            </p:nvSpPr>
            <p:spPr>
              <a:xfrm>
                <a:off x="1738732" y="3313120"/>
                <a:ext cx="233757" cy="243839"/>
              </a:xfrm>
              <a:custGeom>
                <a:avLst/>
                <a:gdLst>
                  <a:gd name="connsiteX0" fmla="*/ 196626 w 233757"/>
                  <a:gd name="connsiteY0" fmla="*/ 243839 h 243839"/>
                  <a:gd name="connsiteX1" fmla="*/ 188253 w 233757"/>
                  <a:gd name="connsiteY1" fmla="*/ 240108 h 243839"/>
                  <a:gd name="connsiteX2" fmla="*/ 187370 w 233757"/>
                  <a:gd name="connsiteY2" fmla="*/ 178448 h 243839"/>
                  <a:gd name="connsiteX3" fmla="*/ 163816 w 233757"/>
                  <a:gd name="connsiteY3" fmla="*/ 150309 h 243839"/>
                  <a:gd name="connsiteX4" fmla="*/ 93298 w 233757"/>
                  <a:gd name="connsiteY4" fmla="*/ 144356 h 243839"/>
                  <a:gd name="connsiteX5" fmla="*/ 77149 w 233757"/>
                  <a:gd name="connsiteY5" fmla="*/ 157201 h 243839"/>
                  <a:gd name="connsiteX6" fmla="*/ 81450 w 233757"/>
                  <a:gd name="connsiteY6" fmla="*/ 217723 h 243839"/>
                  <a:gd name="connsiteX7" fmla="*/ 62852 w 233757"/>
                  <a:gd name="connsiteY7" fmla="*/ 234811 h 243839"/>
                  <a:gd name="connsiteX8" fmla="*/ 57668 w 233757"/>
                  <a:gd name="connsiteY8" fmla="*/ 234469 h 243839"/>
                  <a:gd name="connsiteX9" fmla="*/ 54364 w 233757"/>
                  <a:gd name="connsiteY9" fmla="*/ 230482 h 243839"/>
                  <a:gd name="connsiteX10" fmla="*/ 22352 w 233757"/>
                  <a:gd name="connsiteY10" fmla="*/ 169049 h 243839"/>
                  <a:gd name="connsiteX11" fmla="*/ 11672 w 233757"/>
                  <a:gd name="connsiteY11" fmla="*/ 4686 h 243839"/>
                  <a:gd name="connsiteX12" fmla="*/ 19817 w 233757"/>
                  <a:gd name="connsiteY12" fmla="*/ 272 h 243839"/>
                  <a:gd name="connsiteX13" fmla="*/ 24232 w 233757"/>
                  <a:gd name="connsiteY13" fmla="*/ 8417 h 243839"/>
                  <a:gd name="connsiteX14" fmla="*/ 32491 w 233757"/>
                  <a:gd name="connsiteY14" fmla="*/ 160732 h 243839"/>
                  <a:gd name="connsiteX15" fmla="*/ 64361 w 233757"/>
                  <a:gd name="connsiteY15" fmla="*/ 219061 h 243839"/>
                  <a:gd name="connsiteX16" fmla="*/ 69573 w 233757"/>
                  <a:gd name="connsiteY16" fmla="*/ 212140 h 243839"/>
                  <a:gd name="connsiteX17" fmla="*/ 64874 w 233757"/>
                  <a:gd name="connsiteY17" fmla="*/ 161758 h 243839"/>
                  <a:gd name="connsiteX18" fmla="*/ 76152 w 233757"/>
                  <a:gd name="connsiteY18" fmla="*/ 139144 h 243839"/>
                  <a:gd name="connsiteX19" fmla="*/ 172702 w 233757"/>
                  <a:gd name="connsiteY19" fmla="*/ 140654 h 243839"/>
                  <a:gd name="connsiteX20" fmla="*/ 199560 w 233757"/>
                  <a:gd name="connsiteY20" fmla="*/ 172723 h 243839"/>
                  <a:gd name="connsiteX21" fmla="*/ 200813 w 233757"/>
                  <a:gd name="connsiteY21" fmla="*/ 178077 h 243839"/>
                  <a:gd name="connsiteX22" fmla="*/ 196683 w 233757"/>
                  <a:gd name="connsiteY22" fmla="*/ 227919 h 243839"/>
                  <a:gd name="connsiteX23" fmla="*/ 220350 w 233757"/>
                  <a:gd name="connsiteY23" fmla="*/ 182720 h 243839"/>
                  <a:gd name="connsiteX24" fmla="*/ 198563 w 233757"/>
                  <a:gd name="connsiteY24" fmla="*/ 120802 h 243839"/>
                  <a:gd name="connsiteX25" fmla="*/ 202550 w 233757"/>
                  <a:gd name="connsiteY25" fmla="*/ 112429 h 243839"/>
                  <a:gd name="connsiteX26" fmla="*/ 210923 w 233757"/>
                  <a:gd name="connsiteY26" fmla="*/ 116416 h 243839"/>
                  <a:gd name="connsiteX27" fmla="*/ 233423 w 233757"/>
                  <a:gd name="connsiteY27" fmla="*/ 180470 h 243839"/>
                  <a:gd name="connsiteX28" fmla="*/ 233623 w 233757"/>
                  <a:gd name="connsiteY28" fmla="*/ 183831 h 243839"/>
                  <a:gd name="connsiteX29" fmla="*/ 201866 w 233757"/>
                  <a:gd name="connsiteY29" fmla="*/ 241903 h 243839"/>
                  <a:gd name="connsiteX30" fmla="*/ 197936 w 233757"/>
                  <a:gd name="connsiteY30" fmla="*/ 243783 h 243839"/>
                  <a:gd name="connsiteX31" fmla="*/ 196626 w 233757"/>
                  <a:gd name="connsiteY31" fmla="*/ 243839 h 243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3757" h="243839">
                    <a:moveTo>
                      <a:pt x="196626" y="243839"/>
                    </a:moveTo>
                    <a:cubicBezTo>
                      <a:pt x="193408" y="243839"/>
                      <a:pt x="190474" y="242529"/>
                      <a:pt x="188253" y="240108"/>
                    </a:cubicBezTo>
                    <a:cubicBezTo>
                      <a:pt x="178882" y="229855"/>
                      <a:pt x="184037" y="195621"/>
                      <a:pt x="187370" y="178448"/>
                    </a:cubicBezTo>
                    <a:cubicBezTo>
                      <a:pt x="182556" y="172353"/>
                      <a:pt x="169598" y="156062"/>
                      <a:pt x="163816" y="150309"/>
                    </a:cubicBezTo>
                    <a:cubicBezTo>
                      <a:pt x="142285" y="132052"/>
                      <a:pt x="112294" y="135641"/>
                      <a:pt x="93298" y="144356"/>
                    </a:cubicBezTo>
                    <a:cubicBezTo>
                      <a:pt x="81165" y="149910"/>
                      <a:pt x="77177" y="155805"/>
                      <a:pt x="77149" y="157201"/>
                    </a:cubicBezTo>
                    <a:cubicBezTo>
                      <a:pt x="86690" y="183147"/>
                      <a:pt x="88143" y="203511"/>
                      <a:pt x="81450" y="217723"/>
                    </a:cubicBezTo>
                    <a:cubicBezTo>
                      <a:pt x="76295" y="228688"/>
                      <a:pt x="67579" y="233131"/>
                      <a:pt x="62852" y="234811"/>
                    </a:cubicBezTo>
                    <a:cubicBezTo>
                      <a:pt x="61143" y="235409"/>
                      <a:pt x="59292" y="235295"/>
                      <a:pt x="57668" y="234469"/>
                    </a:cubicBezTo>
                    <a:cubicBezTo>
                      <a:pt x="56073" y="233643"/>
                      <a:pt x="54877" y="232191"/>
                      <a:pt x="54364" y="230482"/>
                    </a:cubicBezTo>
                    <a:cubicBezTo>
                      <a:pt x="47700" y="207726"/>
                      <a:pt x="26396" y="173606"/>
                      <a:pt x="22352" y="169049"/>
                    </a:cubicBezTo>
                    <a:cubicBezTo>
                      <a:pt x="-19800" y="113056"/>
                      <a:pt x="10361" y="9101"/>
                      <a:pt x="11672" y="4686"/>
                    </a:cubicBezTo>
                    <a:cubicBezTo>
                      <a:pt x="12697" y="1212"/>
                      <a:pt x="16342" y="-754"/>
                      <a:pt x="19817" y="272"/>
                    </a:cubicBezTo>
                    <a:cubicBezTo>
                      <a:pt x="23292" y="1297"/>
                      <a:pt x="25285" y="4943"/>
                      <a:pt x="24232" y="8417"/>
                    </a:cubicBezTo>
                    <a:cubicBezTo>
                      <a:pt x="23918" y="9442"/>
                      <a:pt x="-5360" y="110464"/>
                      <a:pt x="32491" y="160732"/>
                    </a:cubicBezTo>
                    <a:cubicBezTo>
                      <a:pt x="37304" y="166115"/>
                      <a:pt x="55561" y="195536"/>
                      <a:pt x="64361" y="219061"/>
                    </a:cubicBezTo>
                    <a:cubicBezTo>
                      <a:pt x="66269" y="217438"/>
                      <a:pt x="68121" y="215216"/>
                      <a:pt x="69573" y="212140"/>
                    </a:cubicBezTo>
                    <a:cubicBezTo>
                      <a:pt x="73105" y="204650"/>
                      <a:pt x="75155" y="189811"/>
                      <a:pt x="64874" y="161758"/>
                    </a:cubicBezTo>
                    <a:cubicBezTo>
                      <a:pt x="63564" y="158540"/>
                      <a:pt x="61855" y="149483"/>
                      <a:pt x="76152" y="139144"/>
                    </a:cubicBezTo>
                    <a:cubicBezTo>
                      <a:pt x="96772" y="124220"/>
                      <a:pt x="141715" y="114366"/>
                      <a:pt x="172702" y="140654"/>
                    </a:cubicBezTo>
                    <a:cubicBezTo>
                      <a:pt x="180791" y="148714"/>
                      <a:pt x="198791" y="171755"/>
                      <a:pt x="199560" y="172723"/>
                    </a:cubicBezTo>
                    <a:cubicBezTo>
                      <a:pt x="200756" y="174233"/>
                      <a:pt x="201211" y="176198"/>
                      <a:pt x="200813" y="178077"/>
                    </a:cubicBezTo>
                    <a:cubicBezTo>
                      <a:pt x="196626" y="198584"/>
                      <a:pt x="195031" y="219460"/>
                      <a:pt x="196683" y="227919"/>
                    </a:cubicBezTo>
                    <a:cubicBezTo>
                      <a:pt x="207135" y="214362"/>
                      <a:pt x="217987" y="189811"/>
                      <a:pt x="220350" y="182720"/>
                    </a:cubicBezTo>
                    <a:cubicBezTo>
                      <a:pt x="215395" y="168081"/>
                      <a:pt x="198734" y="121287"/>
                      <a:pt x="198563" y="120802"/>
                    </a:cubicBezTo>
                    <a:cubicBezTo>
                      <a:pt x="197338" y="117385"/>
                      <a:pt x="199132" y="113625"/>
                      <a:pt x="202550" y="112429"/>
                    </a:cubicBezTo>
                    <a:cubicBezTo>
                      <a:pt x="205968" y="111233"/>
                      <a:pt x="209727" y="112999"/>
                      <a:pt x="210923" y="116416"/>
                    </a:cubicBezTo>
                    <a:cubicBezTo>
                      <a:pt x="211664" y="118524"/>
                      <a:pt x="229436" y="168451"/>
                      <a:pt x="233423" y="180470"/>
                    </a:cubicBezTo>
                    <a:cubicBezTo>
                      <a:pt x="233793" y="181552"/>
                      <a:pt x="233850" y="182720"/>
                      <a:pt x="233623" y="183831"/>
                    </a:cubicBezTo>
                    <a:cubicBezTo>
                      <a:pt x="232256" y="190694"/>
                      <a:pt x="216335" y="227435"/>
                      <a:pt x="201866" y="241903"/>
                    </a:cubicBezTo>
                    <a:cubicBezTo>
                      <a:pt x="200813" y="242957"/>
                      <a:pt x="199417" y="243612"/>
                      <a:pt x="197936" y="243783"/>
                    </a:cubicBezTo>
                    <a:cubicBezTo>
                      <a:pt x="197537" y="243839"/>
                      <a:pt x="197082" y="243839"/>
                      <a:pt x="196626" y="243839"/>
                    </a:cubicBezTo>
                    <a:close/>
                  </a:path>
                </a:pathLst>
              </a:custGeom>
              <a:grpFill/>
              <a:ln w="2840" cap="flat">
                <a:noFill/>
                <a:prstDash val="solid"/>
                <a:miter/>
              </a:ln>
            </p:spPr>
            <p:txBody>
              <a:bodyPr rtlCol="0" anchor="ctr"/>
              <a:lstStyle/>
              <a:p>
                <a:endParaRPr lang="en-GB" dirty="0"/>
              </a:p>
            </p:txBody>
          </p:sp>
          <p:sp>
            <p:nvSpPr>
              <p:cNvPr id="668" name="Freihandform: Form 499">
                <a:extLst>
                  <a:ext uri="{FF2B5EF4-FFF2-40B4-BE49-F238E27FC236}">
                    <a16:creationId xmlns:a16="http://schemas.microsoft.com/office/drawing/2014/main" id="{F390A39A-BF2C-44E3-80D3-00BE0F1C6915}"/>
                  </a:ext>
                </a:extLst>
              </p:cNvPr>
              <p:cNvSpPr/>
              <p:nvPr/>
            </p:nvSpPr>
            <p:spPr>
              <a:xfrm>
                <a:off x="1858777" y="3312826"/>
                <a:ext cx="141400" cy="117963"/>
              </a:xfrm>
              <a:custGeom>
                <a:avLst/>
                <a:gdLst>
                  <a:gd name="connsiteX0" fmla="*/ 127903 w 141400"/>
                  <a:gd name="connsiteY0" fmla="*/ 117963 h 117963"/>
                  <a:gd name="connsiteX1" fmla="*/ 126678 w 141400"/>
                  <a:gd name="connsiteY1" fmla="*/ 117849 h 117963"/>
                  <a:gd name="connsiteX2" fmla="*/ 121466 w 141400"/>
                  <a:gd name="connsiteY2" fmla="*/ 110160 h 117963"/>
                  <a:gd name="connsiteX3" fmla="*/ 127504 w 141400"/>
                  <a:gd name="connsiteY3" fmla="*/ 78460 h 117963"/>
                  <a:gd name="connsiteX4" fmla="*/ 88372 w 141400"/>
                  <a:gd name="connsiteY4" fmla="*/ 56017 h 117963"/>
                  <a:gd name="connsiteX5" fmla="*/ 80597 w 141400"/>
                  <a:gd name="connsiteY5" fmla="*/ 52429 h 117963"/>
                  <a:gd name="connsiteX6" fmla="*/ 1676 w 141400"/>
                  <a:gd name="connsiteY6" fmla="*/ 10932 h 117963"/>
                  <a:gd name="connsiteX7" fmla="*/ 2189 w 141400"/>
                  <a:gd name="connsiteY7" fmla="*/ 1676 h 117963"/>
                  <a:gd name="connsiteX8" fmla="*/ 11445 w 141400"/>
                  <a:gd name="connsiteY8" fmla="*/ 2189 h 117963"/>
                  <a:gd name="connsiteX9" fmla="*/ 84954 w 141400"/>
                  <a:gd name="connsiteY9" fmla="*/ 40068 h 117963"/>
                  <a:gd name="connsiteX10" fmla="*/ 85752 w 141400"/>
                  <a:gd name="connsiteY10" fmla="*/ 40382 h 117963"/>
                  <a:gd name="connsiteX11" fmla="*/ 94410 w 141400"/>
                  <a:gd name="connsiteY11" fmla="*/ 44426 h 117963"/>
                  <a:gd name="connsiteX12" fmla="*/ 138099 w 141400"/>
                  <a:gd name="connsiteY12" fmla="*/ 69432 h 117963"/>
                  <a:gd name="connsiteX13" fmla="*/ 141289 w 141400"/>
                  <a:gd name="connsiteY13" fmla="*/ 76353 h 117963"/>
                  <a:gd name="connsiteX14" fmla="*/ 134368 w 141400"/>
                  <a:gd name="connsiteY14" fmla="*/ 112666 h 117963"/>
                  <a:gd name="connsiteX15" fmla="*/ 127903 w 141400"/>
                  <a:gd name="connsiteY15" fmla="*/ 117963 h 117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1400" h="117963">
                    <a:moveTo>
                      <a:pt x="127903" y="117963"/>
                    </a:moveTo>
                    <a:cubicBezTo>
                      <a:pt x="127504" y="117963"/>
                      <a:pt x="127077" y="117935"/>
                      <a:pt x="126678" y="117849"/>
                    </a:cubicBezTo>
                    <a:cubicBezTo>
                      <a:pt x="123118" y="117166"/>
                      <a:pt x="120783" y="113748"/>
                      <a:pt x="121466" y="110160"/>
                    </a:cubicBezTo>
                    <a:lnTo>
                      <a:pt x="127504" y="78460"/>
                    </a:lnTo>
                    <a:lnTo>
                      <a:pt x="88372" y="56017"/>
                    </a:lnTo>
                    <a:lnTo>
                      <a:pt x="80597" y="52429"/>
                    </a:lnTo>
                    <a:cubicBezTo>
                      <a:pt x="74929" y="50606"/>
                      <a:pt x="21670" y="33204"/>
                      <a:pt x="1676" y="10932"/>
                    </a:cubicBezTo>
                    <a:cubicBezTo>
                      <a:pt x="-745" y="8227"/>
                      <a:pt x="-517" y="4097"/>
                      <a:pt x="2189" y="1676"/>
                    </a:cubicBezTo>
                    <a:cubicBezTo>
                      <a:pt x="4894" y="-745"/>
                      <a:pt x="9024" y="-517"/>
                      <a:pt x="11445" y="2189"/>
                    </a:cubicBezTo>
                    <a:cubicBezTo>
                      <a:pt x="29730" y="22553"/>
                      <a:pt x="84384" y="39897"/>
                      <a:pt x="84954" y="40068"/>
                    </a:cubicBezTo>
                    <a:cubicBezTo>
                      <a:pt x="85239" y="40154"/>
                      <a:pt x="85495" y="40268"/>
                      <a:pt x="85752" y="40382"/>
                    </a:cubicBezTo>
                    <a:lnTo>
                      <a:pt x="94410" y="44426"/>
                    </a:lnTo>
                    <a:lnTo>
                      <a:pt x="138099" y="69432"/>
                    </a:lnTo>
                    <a:cubicBezTo>
                      <a:pt x="140520" y="70828"/>
                      <a:pt x="141802" y="73590"/>
                      <a:pt x="141289" y="76353"/>
                    </a:cubicBezTo>
                    <a:lnTo>
                      <a:pt x="134368" y="112666"/>
                    </a:lnTo>
                    <a:cubicBezTo>
                      <a:pt x="133742" y="115770"/>
                      <a:pt x="131007" y="117963"/>
                      <a:pt x="127903" y="117963"/>
                    </a:cubicBezTo>
                    <a:close/>
                  </a:path>
                </a:pathLst>
              </a:custGeom>
              <a:grpFill/>
              <a:ln w="2840" cap="flat">
                <a:noFill/>
                <a:prstDash val="solid"/>
                <a:miter/>
              </a:ln>
            </p:spPr>
            <p:txBody>
              <a:bodyPr rtlCol="0" anchor="ctr"/>
              <a:lstStyle/>
              <a:p>
                <a:endParaRPr lang="en-GB" dirty="0"/>
              </a:p>
            </p:txBody>
          </p:sp>
        </p:grpSp>
        <p:grpSp>
          <p:nvGrpSpPr>
            <p:cNvPr id="633" name="Gruppieren 1211">
              <a:extLst>
                <a:ext uri="{FF2B5EF4-FFF2-40B4-BE49-F238E27FC236}">
                  <a16:creationId xmlns:a16="http://schemas.microsoft.com/office/drawing/2014/main" id="{85ADC47D-DF0F-4E37-B882-076BA72B9646}"/>
                </a:ext>
              </a:extLst>
            </p:cNvPr>
            <p:cNvGrpSpPr/>
            <p:nvPr/>
          </p:nvGrpSpPr>
          <p:grpSpPr>
            <a:xfrm>
              <a:off x="6087690" y="3206896"/>
              <a:ext cx="410835" cy="422172"/>
              <a:chOff x="1810099" y="3278901"/>
              <a:chExt cx="410750" cy="422085"/>
            </a:xfrm>
          </p:grpSpPr>
          <p:sp>
            <p:nvSpPr>
              <p:cNvPr id="634" name="Freihandform: Form 500">
                <a:extLst>
                  <a:ext uri="{FF2B5EF4-FFF2-40B4-BE49-F238E27FC236}">
                    <a16:creationId xmlns:a16="http://schemas.microsoft.com/office/drawing/2014/main" id="{63C052AF-B644-455D-8E9E-A40F676A7B67}"/>
                  </a:ext>
                </a:extLst>
              </p:cNvPr>
              <p:cNvSpPr/>
              <p:nvPr/>
            </p:nvSpPr>
            <p:spPr>
              <a:xfrm>
                <a:off x="1810099" y="3505523"/>
                <a:ext cx="116657" cy="116657"/>
              </a:xfrm>
              <a:custGeom>
                <a:avLst/>
                <a:gdLst>
                  <a:gd name="connsiteX0" fmla="*/ 58329 w 116657"/>
                  <a:gd name="connsiteY0" fmla="*/ 116658 h 116657"/>
                  <a:gd name="connsiteX1" fmla="*/ 0 w 116657"/>
                  <a:gd name="connsiteY1" fmla="*/ 58329 h 116657"/>
                  <a:gd name="connsiteX2" fmla="*/ 58329 w 116657"/>
                  <a:gd name="connsiteY2" fmla="*/ 0 h 116657"/>
                  <a:gd name="connsiteX3" fmla="*/ 116657 w 116657"/>
                  <a:gd name="connsiteY3" fmla="*/ 58329 h 116657"/>
                  <a:gd name="connsiteX4" fmla="*/ 58329 w 116657"/>
                  <a:gd name="connsiteY4" fmla="*/ 116658 h 116657"/>
                  <a:gd name="connsiteX5" fmla="*/ 58329 w 116657"/>
                  <a:gd name="connsiteY5" fmla="*/ 13130 h 116657"/>
                  <a:gd name="connsiteX6" fmla="*/ 13130 w 116657"/>
                  <a:gd name="connsiteY6" fmla="*/ 58329 h 116657"/>
                  <a:gd name="connsiteX7" fmla="*/ 58329 w 116657"/>
                  <a:gd name="connsiteY7" fmla="*/ 103528 h 116657"/>
                  <a:gd name="connsiteX8" fmla="*/ 103528 w 116657"/>
                  <a:gd name="connsiteY8" fmla="*/ 58329 h 116657"/>
                  <a:gd name="connsiteX9" fmla="*/ 58329 w 116657"/>
                  <a:gd name="connsiteY9" fmla="*/ 13130 h 116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57" h="116657">
                    <a:moveTo>
                      <a:pt x="58329" y="116658"/>
                    </a:moveTo>
                    <a:cubicBezTo>
                      <a:pt x="26174" y="116658"/>
                      <a:pt x="0" y="90484"/>
                      <a:pt x="0" y="58329"/>
                    </a:cubicBezTo>
                    <a:cubicBezTo>
                      <a:pt x="0" y="26174"/>
                      <a:pt x="26174" y="0"/>
                      <a:pt x="58329" y="0"/>
                    </a:cubicBezTo>
                    <a:cubicBezTo>
                      <a:pt x="90484" y="0"/>
                      <a:pt x="116657" y="26174"/>
                      <a:pt x="116657" y="58329"/>
                    </a:cubicBezTo>
                    <a:cubicBezTo>
                      <a:pt x="116686" y="90484"/>
                      <a:pt x="90512" y="116658"/>
                      <a:pt x="58329" y="116658"/>
                    </a:cubicBezTo>
                    <a:close/>
                    <a:moveTo>
                      <a:pt x="58329" y="13130"/>
                    </a:moveTo>
                    <a:cubicBezTo>
                      <a:pt x="33408" y="13130"/>
                      <a:pt x="13130" y="33408"/>
                      <a:pt x="13130" y="58329"/>
                    </a:cubicBezTo>
                    <a:cubicBezTo>
                      <a:pt x="13130" y="83250"/>
                      <a:pt x="33408" y="103528"/>
                      <a:pt x="58329" y="103528"/>
                    </a:cubicBezTo>
                    <a:cubicBezTo>
                      <a:pt x="83249" y="103528"/>
                      <a:pt x="103528" y="83250"/>
                      <a:pt x="103528" y="58329"/>
                    </a:cubicBezTo>
                    <a:cubicBezTo>
                      <a:pt x="103556" y="33408"/>
                      <a:pt x="83278" y="13130"/>
                      <a:pt x="58329" y="13130"/>
                    </a:cubicBezTo>
                    <a:close/>
                  </a:path>
                </a:pathLst>
              </a:custGeom>
              <a:solidFill>
                <a:schemeClr val="accent1"/>
              </a:solidFill>
              <a:ln w="2840" cap="flat">
                <a:noFill/>
                <a:prstDash val="solid"/>
                <a:miter/>
              </a:ln>
            </p:spPr>
            <p:txBody>
              <a:bodyPr rtlCol="0" anchor="ctr"/>
              <a:lstStyle/>
              <a:p>
                <a:endParaRPr lang="en-GB" dirty="0"/>
              </a:p>
            </p:txBody>
          </p:sp>
          <p:grpSp>
            <p:nvGrpSpPr>
              <p:cNvPr id="635" name="Grafik 206">
                <a:extLst>
                  <a:ext uri="{FF2B5EF4-FFF2-40B4-BE49-F238E27FC236}">
                    <a16:creationId xmlns:a16="http://schemas.microsoft.com/office/drawing/2014/main" id="{9F703B9D-6F71-40E3-A102-808E46EB0F0D}"/>
                  </a:ext>
                </a:extLst>
              </p:cNvPr>
              <p:cNvGrpSpPr/>
              <p:nvPr/>
            </p:nvGrpSpPr>
            <p:grpSpPr>
              <a:xfrm>
                <a:off x="1957573" y="3278901"/>
                <a:ext cx="263276" cy="422085"/>
                <a:chOff x="1957573" y="3278901"/>
                <a:chExt cx="263276" cy="422085"/>
              </a:xfrm>
              <a:solidFill>
                <a:schemeClr val="accent1"/>
              </a:solidFill>
            </p:grpSpPr>
            <p:grpSp>
              <p:nvGrpSpPr>
                <p:cNvPr id="636" name="Grafik 206">
                  <a:extLst>
                    <a:ext uri="{FF2B5EF4-FFF2-40B4-BE49-F238E27FC236}">
                      <a16:creationId xmlns:a16="http://schemas.microsoft.com/office/drawing/2014/main" id="{0FCC4086-9CD5-4597-83B7-BFD80950B507}"/>
                    </a:ext>
                  </a:extLst>
                </p:cNvPr>
                <p:cNvGrpSpPr/>
                <p:nvPr/>
              </p:nvGrpSpPr>
              <p:grpSpPr>
                <a:xfrm>
                  <a:off x="2009867" y="3278901"/>
                  <a:ext cx="209989" cy="262336"/>
                  <a:chOff x="2009867" y="3278901"/>
                  <a:chExt cx="209989" cy="262336"/>
                </a:xfrm>
                <a:solidFill>
                  <a:schemeClr val="accent1"/>
                </a:solidFill>
              </p:grpSpPr>
              <p:sp>
                <p:nvSpPr>
                  <p:cNvPr id="656" name="Freihandform: Form 503">
                    <a:extLst>
                      <a:ext uri="{FF2B5EF4-FFF2-40B4-BE49-F238E27FC236}">
                        <a16:creationId xmlns:a16="http://schemas.microsoft.com/office/drawing/2014/main" id="{C84E92FE-39CA-4678-A189-4EF7DC9A1DB9}"/>
                      </a:ext>
                    </a:extLst>
                  </p:cNvPr>
                  <p:cNvSpPr/>
                  <p:nvPr/>
                </p:nvSpPr>
                <p:spPr>
                  <a:xfrm>
                    <a:off x="2075483" y="3383768"/>
                    <a:ext cx="13101" cy="124660"/>
                  </a:xfrm>
                  <a:custGeom>
                    <a:avLst/>
                    <a:gdLst>
                      <a:gd name="connsiteX0" fmla="*/ 6551 w 13101"/>
                      <a:gd name="connsiteY0" fmla="*/ 124661 h 124660"/>
                      <a:gd name="connsiteX1" fmla="*/ 0 w 13101"/>
                      <a:gd name="connsiteY1" fmla="*/ 118110 h 124660"/>
                      <a:gd name="connsiteX2" fmla="*/ 0 w 13101"/>
                      <a:gd name="connsiteY2" fmla="*/ 6551 h 124660"/>
                      <a:gd name="connsiteX3" fmla="*/ 6551 w 13101"/>
                      <a:gd name="connsiteY3" fmla="*/ 0 h 124660"/>
                      <a:gd name="connsiteX4" fmla="*/ 13101 w 13101"/>
                      <a:gd name="connsiteY4" fmla="*/ 6551 h 124660"/>
                      <a:gd name="connsiteX5" fmla="*/ 13101 w 13101"/>
                      <a:gd name="connsiteY5" fmla="*/ 118110 h 124660"/>
                      <a:gd name="connsiteX6" fmla="*/ 6551 w 13101"/>
                      <a:gd name="connsiteY6" fmla="*/ 124661 h 12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1" h="124660">
                        <a:moveTo>
                          <a:pt x="6551" y="124661"/>
                        </a:moveTo>
                        <a:cubicBezTo>
                          <a:pt x="2934" y="124661"/>
                          <a:pt x="0" y="121727"/>
                          <a:pt x="0" y="118110"/>
                        </a:cubicBezTo>
                        <a:lnTo>
                          <a:pt x="0" y="6551"/>
                        </a:lnTo>
                        <a:cubicBezTo>
                          <a:pt x="0" y="2934"/>
                          <a:pt x="2934" y="0"/>
                          <a:pt x="6551" y="0"/>
                        </a:cubicBezTo>
                        <a:cubicBezTo>
                          <a:pt x="10168" y="0"/>
                          <a:pt x="13101" y="2934"/>
                          <a:pt x="13101" y="6551"/>
                        </a:cubicBezTo>
                        <a:lnTo>
                          <a:pt x="13101" y="118110"/>
                        </a:lnTo>
                        <a:cubicBezTo>
                          <a:pt x="13101" y="121727"/>
                          <a:pt x="10168" y="124661"/>
                          <a:pt x="6551" y="124661"/>
                        </a:cubicBezTo>
                        <a:close/>
                      </a:path>
                    </a:pathLst>
                  </a:custGeom>
                  <a:solidFill>
                    <a:schemeClr val="accent1"/>
                  </a:solidFill>
                  <a:ln w="2840" cap="flat">
                    <a:noFill/>
                    <a:prstDash val="solid"/>
                    <a:miter/>
                  </a:ln>
                </p:spPr>
                <p:txBody>
                  <a:bodyPr rtlCol="0" anchor="ctr"/>
                  <a:lstStyle/>
                  <a:p>
                    <a:endParaRPr lang="en-GB" dirty="0"/>
                  </a:p>
                </p:txBody>
              </p:sp>
              <p:sp>
                <p:nvSpPr>
                  <p:cNvPr id="657" name="Freihandform: Form 504">
                    <a:extLst>
                      <a:ext uri="{FF2B5EF4-FFF2-40B4-BE49-F238E27FC236}">
                        <a16:creationId xmlns:a16="http://schemas.microsoft.com/office/drawing/2014/main" id="{3564AEE7-8B9A-4EB9-9351-62440B676831}"/>
                      </a:ext>
                    </a:extLst>
                  </p:cNvPr>
                  <p:cNvSpPr/>
                  <p:nvPr/>
                </p:nvSpPr>
                <p:spPr>
                  <a:xfrm>
                    <a:off x="2036123" y="3455967"/>
                    <a:ext cx="13101" cy="19651"/>
                  </a:xfrm>
                  <a:custGeom>
                    <a:avLst/>
                    <a:gdLst>
                      <a:gd name="connsiteX0" fmla="*/ 6551 w 13101"/>
                      <a:gd name="connsiteY0" fmla="*/ 19652 h 19651"/>
                      <a:gd name="connsiteX1" fmla="*/ 0 w 13101"/>
                      <a:gd name="connsiteY1" fmla="*/ 13101 h 19651"/>
                      <a:gd name="connsiteX2" fmla="*/ 0 w 13101"/>
                      <a:gd name="connsiteY2" fmla="*/ 6551 h 19651"/>
                      <a:gd name="connsiteX3" fmla="*/ 6551 w 13101"/>
                      <a:gd name="connsiteY3" fmla="*/ 0 h 19651"/>
                      <a:gd name="connsiteX4" fmla="*/ 13101 w 13101"/>
                      <a:gd name="connsiteY4" fmla="*/ 6551 h 19651"/>
                      <a:gd name="connsiteX5" fmla="*/ 13101 w 13101"/>
                      <a:gd name="connsiteY5" fmla="*/ 13101 h 19651"/>
                      <a:gd name="connsiteX6" fmla="*/ 6551 w 13101"/>
                      <a:gd name="connsiteY6" fmla="*/ 19652 h 1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1" h="19651">
                        <a:moveTo>
                          <a:pt x="6551" y="19652"/>
                        </a:moveTo>
                        <a:cubicBezTo>
                          <a:pt x="2934" y="19652"/>
                          <a:pt x="0" y="16718"/>
                          <a:pt x="0" y="13101"/>
                        </a:cubicBezTo>
                        <a:lnTo>
                          <a:pt x="0" y="6551"/>
                        </a:lnTo>
                        <a:cubicBezTo>
                          <a:pt x="0" y="2933"/>
                          <a:pt x="2934" y="0"/>
                          <a:pt x="6551" y="0"/>
                        </a:cubicBezTo>
                        <a:cubicBezTo>
                          <a:pt x="10168" y="0"/>
                          <a:pt x="13101" y="2933"/>
                          <a:pt x="13101" y="6551"/>
                        </a:cubicBezTo>
                        <a:lnTo>
                          <a:pt x="13101" y="13101"/>
                        </a:lnTo>
                        <a:cubicBezTo>
                          <a:pt x="13101" y="16718"/>
                          <a:pt x="10168" y="19652"/>
                          <a:pt x="6551" y="19652"/>
                        </a:cubicBezTo>
                        <a:close/>
                      </a:path>
                    </a:pathLst>
                  </a:custGeom>
                  <a:solidFill>
                    <a:schemeClr val="accent1"/>
                  </a:solidFill>
                  <a:ln w="2840" cap="flat">
                    <a:noFill/>
                    <a:prstDash val="solid"/>
                    <a:miter/>
                  </a:ln>
                </p:spPr>
                <p:txBody>
                  <a:bodyPr rtlCol="0" anchor="ctr"/>
                  <a:lstStyle/>
                  <a:p>
                    <a:endParaRPr lang="en-GB" dirty="0"/>
                  </a:p>
                </p:txBody>
              </p:sp>
              <p:sp>
                <p:nvSpPr>
                  <p:cNvPr id="658" name="Freihandform: Form 505">
                    <a:extLst>
                      <a:ext uri="{FF2B5EF4-FFF2-40B4-BE49-F238E27FC236}">
                        <a16:creationId xmlns:a16="http://schemas.microsoft.com/office/drawing/2014/main" id="{EFE3EFCB-9A84-4333-B9C4-244193567767}"/>
                      </a:ext>
                    </a:extLst>
                  </p:cNvPr>
                  <p:cNvSpPr/>
                  <p:nvPr/>
                </p:nvSpPr>
                <p:spPr>
                  <a:xfrm>
                    <a:off x="2009867" y="3331392"/>
                    <a:ext cx="105008" cy="111416"/>
                  </a:xfrm>
                  <a:custGeom>
                    <a:avLst/>
                    <a:gdLst>
                      <a:gd name="connsiteX0" fmla="*/ 32806 w 105008"/>
                      <a:gd name="connsiteY0" fmla="*/ 111417 h 111416"/>
                      <a:gd name="connsiteX1" fmla="*/ 26256 w 105008"/>
                      <a:gd name="connsiteY1" fmla="*/ 104866 h 111416"/>
                      <a:gd name="connsiteX2" fmla="*/ 26256 w 105008"/>
                      <a:gd name="connsiteY2" fmla="*/ 65506 h 111416"/>
                      <a:gd name="connsiteX3" fmla="*/ 6575 w 105008"/>
                      <a:gd name="connsiteY3" fmla="*/ 65506 h 111416"/>
                      <a:gd name="connsiteX4" fmla="*/ 594 w 105008"/>
                      <a:gd name="connsiteY4" fmla="*/ 61661 h 111416"/>
                      <a:gd name="connsiteX5" fmla="*/ 1620 w 105008"/>
                      <a:gd name="connsiteY5" fmla="*/ 54626 h 111416"/>
                      <a:gd name="connsiteX6" fmla="*/ 47559 w 105008"/>
                      <a:gd name="connsiteY6" fmla="*/ 2136 h 111416"/>
                      <a:gd name="connsiteX7" fmla="*/ 57442 w 105008"/>
                      <a:gd name="connsiteY7" fmla="*/ 2136 h 111416"/>
                      <a:gd name="connsiteX8" fmla="*/ 103382 w 105008"/>
                      <a:gd name="connsiteY8" fmla="*/ 54626 h 111416"/>
                      <a:gd name="connsiteX9" fmla="*/ 104407 w 105008"/>
                      <a:gd name="connsiteY9" fmla="*/ 61661 h 111416"/>
                      <a:gd name="connsiteX10" fmla="*/ 98426 w 105008"/>
                      <a:gd name="connsiteY10" fmla="*/ 65506 h 111416"/>
                      <a:gd name="connsiteX11" fmla="*/ 65616 w 105008"/>
                      <a:gd name="connsiteY11" fmla="*/ 65506 h 111416"/>
                      <a:gd name="connsiteX12" fmla="*/ 59065 w 105008"/>
                      <a:gd name="connsiteY12" fmla="*/ 58955 h 111416"/>
                      <a:gd name="connsiteX13" fmla="*/ 65616 w 105008"/>
                      <a:gd name="connsiteY13" fmla="*/ 52405 h 111416"/>
                      <a:gd name="connsiteX14" fmla="*/ 83958 w 105008"/>
                      <a:gd name="connsiteY14" fmla="*/ 52405 h 111416"/>
                      <a:gd name="connsiteX15" fmla="*/ 52486 w 105008"/>
                      <a:gd name="connsiteY15" fmla="*/ 16433 h 111416"/>
                      <a:gd name="connsiteX16" fmla="*/ 21015 w 105008"/>
                      <a:gd name="connsiteY16" fmla="*/ 52405 h 111416"/>
                      <a:gd name="connsiteX17" fmla="*/ 32806 w 105008"/>
                      <a:gd name="connsiteY17" fmla="*/ 52405 h 111416"/>
                      <a:gd name="connsiteX18" fmla="*/ 39357 w 105008"/>
                      <a:gd name="connsiteY18" fmla="*/ 58955 h 111416"/>
                      <a:gd name="connsiteX19" fmla="*/ 39357 w 105008"/>
                      <a:gd name="connsiteY19" fmla="*/ 104895 h 111416"/>
                      <a:gd name="connsiteX20" fmla="*/ 32806 w 105008"/>
                      <a:gd name="connsiteY20" fmla="*/ 111417 h 1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008" h="111416">
                        <a:moveTo>
                          <a:pt x="32806" y="111417"/>
                        </a:moveTo>
                        <a:cubicBezTo>
                          <a:pt x="29189" y="111417"/>
                          <a:pt x="26256" y="108483"/>
                          <a:pt x="26256" y="104866"/>
                        </a:cubicBezTo>
                        <a:lnTo>
                          <a:pt x="26256" y="65506"/>
                        </a:lnTo>
                        <a:lnTo>
                          <a:pt x="6575" y="65506"/>
                        </a:lnTo>
                        <a:cubicBezTo>
                          <a:pt x="4012" y="65506"/>
                          <a:pt x="1677" y="63996"/>
                          <a:pt x="594" y="61661"/>
                        </a:cubicBezTo>
                        <a:cubicBezTo>
                          <a:pt x="-488" y="59325"/>
                          <a:pt x="-61" y="56563"/>
                          <a:pt x="1620" y="54626"/>
                        </a:cubicBezTo>
                        <a:lnTo>
                          <a:pt x="47559" y="2136"/>
                        </a:lnTo>
                        <a:cubicBezTo>
                          <a:pt x="50066" y="-712"/>
                          <a:pt x="54936" y="-712"/>
                          <a:pt x="57442" y="2136"/>
                        </a:cubicBezTo>
                        <a:lnTo>
                          <a:pt x="103382" y="54626"/>
                        </a:lnTo>
                        <a:cubicBezTo>
                          <a:pt x="105090" y="56563"/>
                          <a:pt x="105489" y="59297"/>
                          <a:pt x="104407" y="61661"/>
                        </a:cubicBezTo>
                        <a:cubicBezTo>
                          <a:pt x="103353" y="63996"/>
                          <a:pt x="101018" y="65506"/>
                          <a:pt x="98426" y="65506"/>
                        </a:cubicBezTo>
                        <a:lnTo>
                          <a:pt x="65616" y="65506"/>
                        </a:lnTo>
                        <a:cubicBezTo>
                          <a:pt x="61999" y="65506"/>
                          <a:pt x="59065" y="62572"/>
                          <a:pt x="59065" y="58955"/>
                        </a:cubicBezTo>
                        <a:cubicBezTo>
                          <a:pt x="59065" y="55338"/>
                          <a:pt x="61999" y="52405"/>
                          <a:pt x="65616" y="52405"/>
                        </a:cubicBezTo>
                        <a:lnTo>
                          <a:pt x="83958" y="52405"/>
                        </a:lnTo>
                        <a:lnTo>
                          <a:pt x="52486" y="16433"/>
                        </a:lnTo>
                        <a:lnTo>
                          <a:pt x="21015" y="52405"/>
                        </a:lnTo>
                        <a:lnTo>
                          <a:pt x="32806" y="52405"/>
                        </a:lnTo>
                        <a:cubicBezTo>
                          <a:pt x="36423" y="52405"/>
                          <a:pt x="39357" y="55338"/>
                          <a:pt x="39357" y="58955"/>
                        </a:cubicBezTo>
                        <a:lnTo>
                          <a:pt x="39357" y="104895"/>
                        </a:lnTo>
                        <a:cubicBezTo>
                          <a:pt x="39357" y="108483"/>
                          <a:pt x="36423" y="111417"/>
                          <a:pt x="32806" y="111417"/>
                        </a:cubicBezTo>
                        <a:close/>
                      </a:path>
                    </a:pathLst>
                  </a:custGeom>
                  <a:solidFill>
                    <a:schemeClr val="accent1"/>
                  </a:solidFill>
                  <a:ln w="2840" cap="flat">
                    <a:noFill/>
                    <a:prstDash val="solid"/>
                    <a:miter/>
                  </a:ln>
                </p:spPr>
                <p:txBody>
                  <a:bodyPr rtlCol="0" anchor="ctr"/>
                  <a:lstStyle/>
                  <a:p>
                    <a:endParaRPr lang="en-GB" dirty="0"/>
                  </a:p>
                </p:txBody>
              </p:sp>
              <p:sp>
                <p:nvSpPr>
                  <p:cNvPr id="659" name="Freihandform: Form 506">
                    <a:extLst>
                      <a:ext uri="{FF2B5EF4-FFF2-40B4-BE49-F238E27FC236}">
                        <a16:creationId xmlns:a16="http://schemas.microsoft.com/office/drawing/2014/main" id="{78E618C6-4BDA-4CB2-B9ED-C4982B93130D}"/>
                      </a:ext>
                    </a:extLst>
                  </p:cNvPr>
                  <p:cNvSpPr/>
                  <p:nvPr/>
                </p:nvSpPr>
                <p:spPr>
                  <a:xfrm>
                    <a:off x="2180463" y="3331277"/>
                    <a:ext cx="13101" cy="209960"/>
                  </a:xfrm>
                  <a:custGeom>
                    <a:avLst/>
                    <a:gdLst>
                      <a:gd name="connsiteX0" fmla="*/ 6551 w 13101"/>
                      <a:gd name="connsiteY0" fmla="*/ 209961 h 209960"/>
                      <a:gd name="connsiteX1" fmla="*/ 0 w 13101"/>
                      <a:gd name="connsiteY1" fmla="*/ 203410 h 209960"/>
                      <a:gd name="connsiteX2" fmla="*/ 0 w 13101"/>
                      <a:gd name="connsiteY2" fmla="*/ 6551 h 209960"/>
                      <a:gd name="connsiteX3" fmla="*/ 6551 w 13101"/>
                      <a:gd name="connsiteY3" fmla="*/ 0 h 209960"/>
                      <a:gd name="connsiteX4" fmla="*/ 13101 w 13101"/>
                      <a:gd name="connsiteY4" fmla="*/ 6551 h 209960"/>
                      <a:gd name="connsiteX5" fmla="*/ 13101 w 13101"/>
                      <a:gd name="connsiteY5" fmla="*/ 203410 h 209960"/>
                      <a:gd name="connsiteX6" fmla="*/ 6551 w 13101"/>
                      <a:gd name="connsiteY6" fmla="*/ 209961 h 209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1" h="209960">
                        <a:moveTo>
                          <a:pt x="6551" y="209961"/>
                        </a:moveTo>
                        <a:cubicBezTo>
                          <a:pt x="2934" y="209961"/>
                          <a:pt x="0" y="207027"/>
                          <a:pt x="0" y="203410"/>
                        </a:cubicBezTo>
                        <a:lnTo>
                          <a:pt x="0" y="6551"/>
                        </a:lnTo>
                        <a:cubicBezTo>
                          <a:pt x="0" y="2934"/>
                          <a:pt x="2934" y="0"/>
                          <a:pt x="6551" y="0"/>
                        </a:cubicBezTo>
                        <a:cubicBezTo>
                          <a:pt x="10168" y="0"/>
                          <a:pt x="13101" y="2934"/>
                          <a:pt x="13101" y="6551"/>
                        </a:cubicBezTo>
                        <a:lnTo>
                          <a:pt x="13101" y="203410"/>
                        </a:lnTo>
                        <a:cubicBezTo>
                          <a:pt x="13130" y="207027"/>
                          <a:pt x="10196" y="209961"/>
                          <a:pt x="6551" y="209961"/>
                        </a:cubicBezTo>
                        <a:close/>
                      </a:path>
                    </a:pathLst>
                  </a:custGeom>
                  <a:solidFill>
                    <a:schemeClr val="accent1"/>
                  </a:solidFill>
                  <a:ln w="2840" cap="flat">
                    <a:noFill/>
                    <a:prstDash val="solid"/>
                    <a:miter/>
                  </a:ln>
                </p:spPr>
                <p:txBody>
                  <a:bodyPr rtlCol="0" anchor="ctr"/>
                  <a:lstStyle/>
                  <a:p>
                    <a:endParaRPr lang="en-GB" dirty="0"/>
                  </a:p>
                </p:txBody>
              </p:sp>
              <p:sp>
                <p:nvSpPr>
                  <p:cNvPr id="660" name="Freihandform: Form 507">
                    <a:extLst>
                      <a:ext uri="{FF2B5EF4-FFF2-40B4-BE49-F238E27FC236}">
                        <a16:creationId xmlns:a16="http://schemas.microsoft.com/office/drawing/2014/main" id="{340DA745-14E6-4E9C-84EE-300890BD2599}"/>
                      </a:ext>
                    </a:extLst>
                  </p:cNvPr>
                  <p:cNvSpPr/>
                  <p:nvPr/>
                </p:nvSpPr>
                <p:spPr>
                  <a:xfrm>
                    <a:off x="2141103" y="3436286"/>
                    <a:ext cx="13101" cy="19651"/>
                  </a:xfrm>
                  <a:custGeom>
                    <a:avLst/>
                    <a:gdLst>
                      <a:gd name="connsiteX0" fmla="*/ 6551 w 13101"/>
                      <a:gd name="connsiteY0" fmla="*/ 19652 h 19651"/>
                      <a:gd name="connsiteX1" fmla="*/ 0 w 13101"/>
                      <a:gd name="connsiteY1" fmla="*/ 13101 h 19651"/>
                      <a:gd name="connsiteX2" fmla="*/ 0 w 13101"/>
                      <a:gd name="connsiteY2" fmla="*/ 6551 h 19651"/>
                      <a:gd name="connsiteX3" fmla="*/ 6551 w 13101"/>
                      <a:gd name="connsiteY3" fmla="*/ 0 h 19651"/>
                      <a:gd name="connsiteX4" fmla="*/ 13101 w 13101"/>
                      <a:gd name="connsiteY4" fmla="*/ 6551 h 19651"/>
                      <a:gd name="connsiteX5" fmla="*/ 13101 w 13101"/>
                      <a:gd name="connsiteY5" fmla="*/ 13101 h 19651"/>
                      <a:gd name="connsiteX6" fmla="*/ 6551 w 13101"/>
                      <a:gd name="connsiteY6" fmla="*/ 19652 h 1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1" h="19651">
                        <a:moveTo>
                          <a:pt x="6551" y="19652"/>
                        </a:moveTo>
                        <a:cubicBezTo>
                          <a:pt x="2934" y="19652"/>
                          <a:pt x="0" y="16718"/>
                          <a:pt x="0" y="13101"/>
                        </a:cubicBezTo>
                        <a:lnTo>
                          <a:pt x="0" y="6551"/>
                        </a:lnTo>
                        <a:cubicBezTo>
                          <a:pt x="0" y="2934"/>
                          <a:pt x="2934" y="0"/>
                          <a:pt x="6551" y="0"/>
                        </a:cubicBezTo>
                        <a:cubicBezTo>
                          <a:pt x="10168" y="0"/>
                          <a:pt x="13101" y="2934"/>
                          <a:pt x="13101" y="6551"/>
                        </a:cubicBezTo>
                        <a:lnTo>
                          <a:pt x="13101" y="13101"/>
                        </a:lnTo>
                        <a:cubicBezTo>
                          <a:pt x="13101" y="16690"/>
                          <a:pt x="10168" y="19652"/>
                          <a:pt x="6551" y="19652"/>
                        </a:cubicBezTo>
                        <a:close/>
                      </a:path>
                    </a:pathLst>
                  </a:custGeom>
                  <a:solidFill>
                    <a:schemeClr val="accent1"/>
                  </a:solidFill>
                  <a:ln w="2840" cap="flat">
                    <a:noFill/>
                    <a:prstDash val="solid"/>
                    <a:miter/>
                  </a:ln>
                </p:spPr>
                <p:txBody>
                  <a:bodyPr rtlCol="0" anchor="ctr"/>
                  <a:lstStyle/>
                  <a:p>
                    <a:endParaRPr lang="en-GB" dirty="0"/>
                  </a:p>
                </p:txBody>
              </p:sp>
              <p:sp>
                <p:nvSpPr>
                  <p:cNvPr id="661" name="Freihandform: Form 508">
                    <a:extLst>
                      <a:ext uri="{FF2B5EF4-FFF2-40B4-BE49-F238E27FC236}">
                        <a16:creationId xmlns:a16="http://schemas.microsoft.com/office/drawing/2014/main" id="{5DB89047-DE96-49A2-8CC0-9A343949C13A}"/>
                      </a:ext>
                    </a:extLst>
                  </p:cNvPr>
                  <p:cNvSpPr/>
                  <p:nvPr/>
                </p:nvSpPr>
                <p:spPr>
                  <a:xfrm>
                    <a:off x="2141103" y="3469096"/>
                    <a:ext cx="13101" cy="19651"/>
                  </a:xfrm>
                  <a:custGeom>
                    <a:avLst/>
                    <a:gdLst>
                      <a:gd name="connsiteX0" fmla="*/ 6551 w 13101"/>
                      <a:gd name="connsiteY0" fmla="*/ 19652 h 19651"/>
                      <a:gd name="connsiteX1" fmla="*/ 0 w 13101"/>
                      <a:gd name="connsiteY1" fmla="*/ 13101 h 19651"/>
                      <a:gd name="connsiteX2" fmla="*/ 0 w 13101"/>
                      <a:gd name="connsiteY2" fmla="*/ 6551 h 19651"/>
                      <a:gd name="connsiteX3" fmla="*/ 6551 w 13101"/>
                      <a:gd name="connsiteY3" fmla="*/ 0 h 19651"/>
                      <a:gd name="connsiteX4" fmla="*/ 13101 w 13101"/>
                      <a:gd name="connsiteY4" fmla="*/ 6551 h 19651"/>
                      <a:gd name="connsiteX5" fmla="*/ 13101 w 13101"/>
                      <a:gd name="connsiteY5" fmla="*/ 13101 h 19651"/>
                      <a:gd name="connsiteX6" fmla="*/ 6551 w 13101"/>
                      <a:gd name="connsiteY6" fmla="*/ 19652 h 1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1" h="19651">
                        <a:moveTo>
                          <a:pt x="6551" y="19652"/>
                        </a:moveTo>
                        <a:cubicBezTo>
                          <a:pt x="2934" y="19652"/>
                          <a:pt x="0" y="16718"/>
                          <a:pt x="0" y="13101"/>
                        </a:cubicBezTo>
                        <a:lnTo>
                          <a:pt x="0" y="6551"/>
                        </a:lnTo>
                        <a:cubicBezTo>
                          <a:pt x="0" y="2934"/>
                          <a:pt x="2934" y="0"/>
                          <a:pt x="6551" y="0"/>
                        </a:cubicBezTo>
                        <a:cubicBezTo>
                          <a:pt x="10168" y="0"/>
                          <a:pt x="13101" y="2934"/>
                          <a:pt x="13101" y="6551"/>
                        </a:cubicBezTo>
                        <a:lnTo>
                          <a:pt x="13101" y="13101"/>
                        </a:lnTo>
                        <a:cubicBezTo>
                          <a:pt x="13101" y="16690"/>
                          <a:pt x="10168" y="19652"/>
                          <a:pt x="6551" y="19652"/>
                        </a:cubicBezTo>
                        <a:close/>
                      </a:path>
                    </a:pathLst>
                  </a:custGeom>
                  <a:solidFill>
                    <a:schemeClr val="accent1"/>
                  </a:solidFill>
                  <a:ln w="2840" cap="flat">
                    <a:noFill/>
                    <a:prstDash val="solid"/>
                    <a:miter/>
                  </a:ln>
                </p:spPr>
                <p:txBody>
                  <a:bodyPr rtlCol="0" anchor="ctr"/>
                  <a:lstStyle/>
                  <a:p>
                    <a:endParaRPr lang="en-GB" dirty="0"/>
                  </a:p>
                </p:txBody>
              </p:sp>
              <p:sp>
                <p:nvSpPr>
                  <p:cNvPr id="662" name="Freihandform: Form 509">
                    <a:extLst>
                      <a:ext uri="{FF2B5EF4-FFF2-40B4-BE49-F238E27FC236}">
                        <a16:creationId xmlns:a16="http://schemas.microsoft.com/office/drawing/2014/main" id="{BA12AFE3-1606-4BD8-B3CF-A303A455D4B5}"/>
                      </a:ext>
                    </a:extLst>
                  </p:cNvPr>
                  <p:cNvSpPr/>
                  <p:nvPr/>
                </p:nvSpPr>
                <p:spPr>
                  <a:xfrm>
                    <a:off x="2141103" y="3403476"/>
                    <a:ext cx="13101" cy="19651"/>
                  </a:xfrm>
                  <a:custGeom>
                    <a:avLst/>
                    <a:gdLst>
                      <a:gd name="connsiteX0" fmla="*/ 6551 w 13101"/>
                      <a:gd name="connsiteY0" fmla="*/ 19652 h 19651"/>
                      <a:gd name="connsiteX1" fmla="*/ 0 w 13101"/>
                      <a:gd name="connsiteY1" fmla="*/ 13101 h 19651"/>
                      <a:gd name="connsiteX2" fmla="*/ 0 w 13101"/>
                      <a:gd name="connsiteY2" fmla="*/ 6551 h 19651"/>
                      <a:gd name="connsiteX3" fmla="*/ 6551 w 13101"/>
                      <a:gd name="connsiteY3" fmla="*/ 0 h 19651"/>
                      <a:gd name="connsiteX4" fmla="*/ 13101 w 13101"/>
                      <a:gd name="connsiteY4" fmla="*/ 6551 h 19651"/>
                      <a:gd name="connsiteX5" fmla="*/ 13101 w 13101"/>
                      <a:gd name="connsiteY5" fmla="*/ 13101 h 19651"/>
                      <a:gd name="connsiteX6" fmla="*/ 6551 w 13101"/>
                      <a:gd name="connsiteY6" fmla="*/ 19652 h 1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1" h="19651">
                        <a:moveTo>
                          <a:pt x="6551" y="19652"/>
                        </a:moveTo>
                        <a:cubicBezTo>
                          <a:pt x="2934" y="19652"/>
                          <a:pt x="0" y="16718"/>
                          <a:pt x="0" y="13101"/>
                        </a:cubicBezTo>
                        <a:lnTo>
                          <a:pt x="0" y="6551"/>
                        </a:lnTo>
                        <a:cubicBezTo>
                          <a:pt x="0" y="2933"/>
                          <a:pt x="2934" y="0"/>
                          <a:pt x="6551" y="0"/>
                        </a:cubicBezTo>
                        <a:cubicBezTo>
                          <a:pt x="10168" y="0"/>
                          <a:pt x="13101" y="2933"/>
                          <a:pt x="13101" y="6551"/>
                        </a:cubicBezTo>
                        <a:lnTo>
                          <a:pt x="13101" y="13101"/>
                        </a:lnTo>
                        <a:cubicBezTo>
                          <a:pt x="13101" y="16690"/>
                          <a:pt x="10168" y="19652"/>
                          <a:pt x="6551" y="19652"/>
                        </a:cubicBezTo>
                        <a:close/>
                      </a:path>
                    </a:pathLst>
                  </a:custGeom>
                  <a:solidFill>
                    <a:schemeClr val="accent1"/>
                  </a:solidFill>
                  <a:ln w="2840" cap="flat">
                    <a:noFill/>
                    <a:prstDash val="solid"/>
                    <a:miter/>
                  </a:ln>
                </p:spPr>
                <p:txBody>
                  <a:bodyPr rtlCol="0" anchor="ctr"/>
                  <a:lstStyle/>
                  <a:p>
                    <a:endParaRPr lang="en-GB" dirty="0"/>
                  </a:p>
                </p:txBody>
              </p:sp>
              <p:sp>
                <p:nvSpPr>
                  <p:cNvPr id="663" name="Freihandform: Form 510">
                    <a:extLst>
                      <a:ext uri="{FF2B5EF4-FFF2-40B4-BE49-F238E27FC236}">
                        <a16:creationId xmlns:a16="http://schemas.microsoft.com/office/drawing/2014/main" id="{F420C5AA-A905-4DE5-81FD-E0D6FA90DC79}"/>
                      </a:ext>
                    </a:extLst>
                  </p:cNvPr>
                  <p:cNvSpPr/>
                  <p:nvPr/>
                </p:nvSpPr>
                <p:spPr>
                  <a:xfrm>
                    <a:off x="2114860" y="3278901"/>
                    <a:ext cx="104996" cy="111416"/>
                  </a:xfrm>
                  <a:custGeom>
                    <a:avLst/>
                    <a:gdLst>
                      <a:gd name="connsiteX0" fmla="*/ 32794 w 104996"/>
                      <a:gd name="connsiteY0" fmla="*/ 111417 h 111416"/>
                      <a:gd name="connsiteX1" fmla="*/ 26243 w 104996"/>
                      <a:gd name="connsiteY1" fmla="*/ 104866 h 111416"/>
                      <a:gd name="connsiteX2" fmla="*/ 26243 w 104996"/>
                      <a:gd name="connsiteY2" fmla="*/ 65506 h 111416"/>
                      <a:gd name="connsiteX3" fmla="*/ 6563 w 104996"/>
                      <a:gd name="connsiteY3" fmla="*/ 65506 h 111416"/>
                      <a:gd name="connsiteX4" fmla="*/ 582 w 104996"/>
                      <a:gd name="connsiteY4" fmla="*/ 61661 h 111416"/>
                      <a:gd name="connsiteX5" fmla="*/ 1607 w 104996"/>
                      <a:gd name="connsiteY5" fmla="*/ 54626 h 111416"/>
                      <a:gd name="connsiteX6" fmla="*/ 47547 w 104996"/>
                      <a:gd name="connsiteY6" fmla="*/ 2136 h 111416"/>
                      <a:gd name="connsiteX7" fmla="*/ 57430 w 104996"/>
                      <a:gd name="connsiteY7" fmla="*/ 2136 h 111416"/>
                      <a:gd name="connsiteX8" fmla="*/ 103369 w 104996"/>
                      <a:gd name="connsiteY8" fmla="*/ 54626 h 111416"/>
                      <a:gd name="connsiteX9" fmla="*/ 104394 w 104996"/>
                      <a:gd name="connsiteY9" fmla="*/ 61661 h 111416"/>
                      <a:gd name="connsiteX10" fmla="*/ 98413 w 104996"/>
                      <a:gd name="connsiteY10" fmla="*/ 65506 h 111416"/>
                      <a:gd name="connsiteX11" fmla="*/ 65604 w 104996"/>
                      <a:gd name="connsiteY11" fmla="*/ 65506 h 111416"/>
                      <a:gd name="connsiteX12" fmla="*/ 59053 w 104996"/>
                      <a:gd name="connsiteY12" fmla="*/ 58955 h 111416"/>
                      <a:gd name="connsiteX13" fmla="*/ 65604 w 104996"/>
                      <a:gd name="connsiteY13" fmla="*/ 52405 h 111416"/>
                      <a:gd name="connsiteX14" fmla="*/ 83945 w 104996"/>
                      <a:gd name="connsiteY14" fmla="*/ 52405 h 111416"/>
                      <a:gd name="connsiteX15" fmla="*/ 52474 w 104996"/>
                      <a:gd name="connsiteY15" fmla="*/ 16433 h 111416"/>
                      <a:gd name="connsiteX16" fmla="*/ 21003 w 104996"/>
                      <a:gd name="connsiteY16" fmla="*/ 52405 h 111416"/>
                      <a:gd name="connsiteX17" fmla="*/ 32794 w 104996"/>
                      <a:gd name="connsiteY17" fmla="*/ 52405 h 111416"/>
                      <a:gd name="connsiteX18" fmla="*/ 39344 w 104996"/>
                      <a:gd name="connsiteY18" fmla="*/ 58955 h 111416"/>
                      <a:gd name="connsiteX19" fmla="*/ 39344 w 104996"/>
                      <a:gd name="connsiteY19" fmla="*/ 104895 h 111416"/>
                      <a:gd name="connsiteX20" fmla="*/ 32794 w 104996"/>
                      <a:gd name="connsiteY20" fmla="*/ 111417 h 111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996" h="111416">
                        <a:moveTo>
                          <a:pt x="32794" y="111417"/>
                        </a:moveTo>
                        <a:cubicBezTo>
                          <a:pt x="29177" y="111417"/>
                          <a:pt x="26243" y="108483"/>
                          <a:pt x="26243" y="104866"/>
                        </a:cubicBezTo>
                        <a:lnTo>
                          <a:pt x="26243" y="65506"/>
                        </a:lnTo>
                        <a:lnTo>
                          <a:pt x="6563" y="65506"/>
                        </a:lnTo>
                        <a:cubicBezTo>
                          <a:pt x="4000" y="65506"/>
                          <a:pt x="1664" y="63996"/>
                          <a:pt x="582" y="61661"/>
                        </a:cubicBezTo>
                        <a:cubicBezTo>
                          <a:pt x="-472" y="59325"/>
                          <a:pt x="-73" y="56563"/>
                          <a:pt x="1607" y="54626"/>
                        </a:cubicBezTo>
                        <a:lnTo>
                          <a:pt x="47547" y="2136"/>
                        </a:lnTo>
                        <a:cubicBezTo>
                          <a:pt x="50053" y="-712"/>
                          <a:pt x="54923" y="-712"/>
                          <a:pt x="57430" y="2136"/>
                        </a:cubicBezTo>
                        <a:lnTo>
                          <a:pt x="103369" y="54626"/>
                        </a:lnTo>
                        <a:cubicBezTo>
                          <a:pt x="105078" y="56563"/>
                          <a:pt x="105477" y="59297"/>
                          <a:pt x="104394" y="61661"/>
                        </a:cubicBezTo>
                        <a:cubicBezTo>
                          <a:pt x="103341" y="63996"/>
                          <a:pt x="101005" y="65506"/>
                          <a:pt x="98413" y="65506"/>
                        </a:cubicBezTo>
                        <a:lnTo>
                          <a:pt x="65604" y="65506"/>
                        </a:lnTo>
                        <a:cubicBezTo>
                          <a:pt x="61987" y="65506"/>
                          <a:pt x="59053" y="62572"/>
                          <a:pt x="59053" y="58955"/>
                        </a:cubicBezTo>
                        <a:cubicBezTo>
                          <a:pt x="59053" y="55338"/>
                          <a:pt x="61987" y="52405"/>
                          <a:pt x="65604" y="52405"/>
                        </a:cubicBezTo>
                        <a:lnTo>
                          <a:pt x="83945" y="52405"/>
                        </a:lnTo>
                        <a:lnTo>
                          <a:pt x="52474" y="16433"/>
                        </a:lnTo>
                        <a:lnTo>
                          <a:pt x="21003" y="52405"/>
                        </a:lnTo>
                        <a:lnTo>
                          <a:pt x="32794" y="52405"/>
                        </a:lnTo>
                        <a:cubicBezTo>
                          <a:pt x="36411" y="52405"/>
                          <a:pt x="39344" y="55338"/>
                          <a:pt x="39344" y="58955"/>
                        </a:cubicBezTo>
                        <a:lnTo>
                          <a:pt x="39344" y="104895"/>
                        </a:lnTo>
                        <a:cubicBezTo>
                          <a:pt x="39344" y="108455"/>
                          <a:pt x="36411" y="111417"/>
                          <a:pt x="32794" y="111417"/>
                        </a:cubicBezTo>
                        <a:close/>
                      </a:path>
                    </a:pathLst>
                  </a:custGeom>
                  <a:solidFill>
                    <a:schemeClr val="accent1"/>
                  </a:solidFill>
                  <a:ln w="2840" cap="flat">
                    <a:noFill/>
                    <a:prstDash val="solid"/>
                    <a:miter/>
                  </a:ln>
                </p:spPr>
                <p:txBody>
                  <a:bodyPr rtlCol="0" anchor="ctr"/>
                  <a:lstStyle/>
                  <a:p>
                    <a:endParaRPr lang="en-GB" dirty="0"/>
                  </a:p>
                </p:txBody>
              </p:sp>
            </p:grpSp>
            <p:grpSp>
              <p:nvGrpSpPr>
                <p:cNvPr id="637" name="Grafik 206">
                  <a:extLst>
                    <a:ext uri="{FF2B5EF4-FFF2-40B4-BE49-F238E27FC236}">
                      <a16:creationId xmlns:a16="http://schemas.microsoft.com/office/drawing/2014/main" id="{0845AEBA-BD88-4AB5-AFB1-08C9308E46ED}"/>
                    </a:ext>
                  </a:extLst>
                </p:cNvPr>
                <p:cNvGrpSpPr/>
                <p:nvPr/>
              </p:nvGrpSpPr>
              <p:grpSpPr>
                <a:xfrm>
                  <a:off x="1957573" y="3565504"/>
                  <a:ext cx="263276" cy="135483"/>
                  <a:chOff x="1957573" y="3565504"/>
                  <a:chExt cx="263276" cy="135483"/>
                </a:xfrm>
                <a:solidFill>
                  <a:schemeClr val="accent1"/>
                </a:solidFill>
              </p:grpSpPr>
              <p:grpSp>
                <p:nvGrpSpPr>
                  <p:cNvPr id="638" name="Grafik 206">
                    <a:extLst>
                      <a:ext uri="{FF2B5EF4-FFF2-40B4-BE49-F238E27FC236}">
                        <a16:creationId xmlns:a16="http://schemas.microsoft.com/office/drawing/2014/main" id="{48330970-10A5-4A3F-B7B6-5551B6DD1AA2}"/>
                      </a:ext>
                    </a:extLst>
                  </p:cNvPr>
                  <p:cNvGrpSpPr/>
                  <p:nvPr/>
                </p:nvGrpSpPr>
                <p:grpSpPr>
                  <a:xfrm>
                    <a:off x="2082660" y="3565504"/>
                    <a:ext cx="138188" cy="135170"/>
                    <a:chOff x="2082660" y="3565504"/>
                    <a:chExt cx="138188" cy="135170"/>
                  </a:xfrm>
                  <a:solidFill>
                    <a:schemeClr val="accent1"/>
                  </a:solidFill>
                </p:grpSpPr>
                <p:grpSp>
                  <p:nvGrpSpPr>
                    <p:cNvPr id="644" name="Grafik 206">
                      <a:extLst>
                        <a:ext uri="{FF2B5EF4-FFF2-40B4-BE49-F238E27FC236}">
                          <a16:creationId xmlns:a16="http://schemas.microsoft.com/office/drawing/2014/main" id="{A469FC9F-C5E6-4C0A-9E74-00B0A6833D35}"/>
                        </a:ext>
                      </a:extLst>
                    </p:cNvPr>
                    <p:cNvGrpSpPr/>
                    <p:nvPr/>
                  </p:nvGrpSpPr>
                  <p:grpSpPr>
                    <a:xfrm>
                      <a:off x="2082660" y="3639440"/>
                      <a:ext cx="138132" cy="61233"/>
                      <a:chOff x="2082660" y="3639440"/>
                      <a:chExt cx="138132" cy="61233"/>
                    </a:xfrm>
                    <a:solidFill>
                      <a:schemeClr val="accent1"/>
                    </a:solidFill>
                  </p:grpSpPr>
                  <p:sp>
                    <p:nvSpPr>
                      <p:cNvPr id="652" name="Freihandform: Form 514">
                        <a:extLst>
                          <a:ext uri="{FF2B5EF4-FFF2-40B4-BE49-F238E27FC236}">
                            <a16:creationId xmlns:a16="http://schemas.microsoft.com/office/drawing/2014/main" id="{4A4236DD-56B0-4FB2-B5B2-DC53F4475C69}"/>
                          </a:ext>
                        </a:extLst>
                      </p:cNvPr>
                      <p:cNvSpPr/>
                      <p:nvPr/>
                    </p:nvSpPr>
                    <p:spPr>
                      <a:xfrm>
                        <a:off x="2082660" y="3665500"/>
                        <a:ext cx="138132" cy="34490"/>
                      </a:xfrm>
                      <a:custGeom>
                        <a:avLst/>
                        <a:gdLst>
                          <a:gd name="connsiteX0" fmla="*/ 69094 w 138132"/>
                          <a:gd name="connsiteY0" fmla="*/ 34490 h 34490"/>
                          <a:gd name="connsiteX1" fmla="*/ 0 w 138132"/>
                          <a:gd name="connsiteY1" fmla="*/ 6551 h 34490"/>
                          <a:gd name="connsiteX2" fmla="*/ 6551 w 138132"/>
                          <a:gd name="connsiteY2" fmla="*/ 0 h 34490"/>
                          <a:gd name="connsiteX3" fmla="*/ 13101 w 138132"/>
                          <a:gd name="connsiteY3" fmla="*/ 6551 h 34490"/>
                          <a:gd name="connsiteX4" fmla="*/ 69066 w 138132"/>
                          <a:gd name="connsiteY4" fmla="*/ 21389 h 34490"/>
                          <a:gd name="connsiteX5" fmla="*/ 125031 w 138132"/>
                          <a:gd name="connsiteY5" fmla="*/ 6551 h 34490"/>
                          <a:gd name="connsiteX6" fmla="*/ 131581 w 138132"/>
                          <a:gd name="connsiteY6" fmla="*/ 0 h 34490"/>
                          <a:gd name="connsiteX7" fmla="*/ 138132 w 138132"/>
                          <a:gd name="connsiteY7" fmla="*/ 6551 h 34490"/>
                          <a:gd name="connsiteX8" fmla="*/ 69094 w 138132"/>
                          <a:gd name="connsiteY8" fmla="*/ 34490 h 3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132" h="34490">
                            <a:moveTo>
                              <a:pt x="69094" y="34490"/>
                            </a:moveTo>
                            <a:cubicBezTo>
                              <a:pt x="35829" y="34490"/>
                              <a:pt x="0" y="25747"/>
                              <a:pt x="0" y="6551"/>
                            </a:cubicBezTo>
                            <a:cubicBezTo>
                              <a:pt x="0" y="2933"/>
                              <a:pt x="2934" y="0"/>
                              <a:pt x="6551" y="0"/>
                            </a:cubicBezTo>
                            <a:cubicBezTo>
                              <a:pt x="10168" y="0"/>
                              <a:pt x="13101" y="2933"/>
                              <a:pt x="13101" y="6551"/>
                            </a:cubicBezTo>
                            <a:cubicBezTo>
                              <a:pt x="13101" y="10851"/>
                              <a:pt x="32724" y="21389"/>
                              <a:pt x="69066" y="21389"/>
                            </a:cubicBezTo>
                            <a:cubicBezTo>
                              <a:pt x="105436" y="21389"/>
                              <a:pt x="125031" y="10880"/>
                              <a:pt x="125031" y="6551"/>
                            </a:cubicBezTo>
                            <a:cubicBezTo>
                              <a:pt x="125031" y="2933"/>
                              <a:pt x="127964" y="0"/>
                              <a:pt x="131581" y="0"/>
                            </a:cubicBezTo>
                            <a:cubicBezTo>
                              <a:pt x="135198" y="0"/>
                              <a:pt x="138132" y="2933"/>
                              <a:pt x="138132" y="6551"/>
                            </a:cubicBezTo>
                            <a:cubicBezTo>
                              <a:pt x="138189" y="25747"/>
                              <a:pt x="102360" y="34490"/>
                              <a:pt x="69094" y="34490"/>
                            </a:cubicBezTo>
                            <a:close/>
                          </a:path>
                        </a:pathLst>
                      </a:custGeom>
                      <a:solidFill>
                        <a:schemeClr val="accent1"/>
                      </a:solidFill>
                      <a:ln w="2840" cap="flat">
                        <a:noFill/>
                        <a:prstDash val="solid"/>
                        <a:miter/>
                      </a:ln>
                    </p:spPr>
                    <p:txBody>
                      <a:bodyPr rtlCol="0" anchor="ctr"/>
                      <a:lstStyle/>
                      <a:p>
                        <a:endParaRPr lang="en-GB" dirty="0"/>
                      </a:p>
                    </p:txBody>
                  </p:sp>
                  <p:grpSp>
                    <p:nvGrpSpPr>
                      <p:cNvPr id="653" name="Grafik 206">
                        <a:extLst>
                          <a:ext uri="{FF2B5EF4-FFF2-40B4-BE49-F238E27FC236}">
                            <a16:creationId xmlns:a16="http://schemas.microsoft.com/office/drawing/2014/main" id="{94D2E1AD-AC06-40B5-ABFA-7AEBA74F152B}"/>
                          </a:ext>
                        </a:extLst>
                      </p:cNvPr>
                      <p:cNvGrpSpPr/>
                      <p:nvPr/>
                    </p:nvGrpSpPr>
                    <p:grpSpPr>
                      <a:xfrm>
                        <a:off x="2082660" y="3639440"/>
                        <a:ext cx="138132" cy="61233"/>
                        <a:chOff x="2082660" y="3639440"/>
                        <a:chExt cx="138132" cy="61233"/>
                      </a:xfrm>
                      <a:solidFill>
                        <a:schemeClr val="accent1"/>
                      </a:solidFill>
                    </p:grpSpPr>
                    <p:sp>
                      <p:nvSpPr>
                        <p:cNvPr id="654" name="Freihandform: Form 516">
                          <a:extLst>
                            <a:ext uri="{FF2B5EF4-FFF2-40B4-BE49-F238E27FC236}">
                              <a16:creationId xmlns:a16="http://schemas.microsoft.com/office/drawing/2014/main" id="{A98A9966-012B-4540-B30D-FD288BCFC77C}"/>
                            </a:ext>
                          </a:extLst>
                        </p:cNvPr>
                        <p:cNvSpPr/>
                        <p:nvPr/>
                      </p:nvSpPr>
                      <p:spPr>
                        <a:xfrm>
                          <a:off x="2082660" y="3639440"/>
                          <a:ext cx="138132" cy="34490"/>
                        </a:xfrm>
                        <a:custGeom>
                          <a:avLst/>
                          <a:gdLst>
                            <a:gd name="connsiteX0" fmla="*/ 69094 w 138132"/>
                            <a:gd name="connsiteY0" fmla="*/ 34490 h 34490"/>
                            <a:gd name="connsiteX1" fmla="*/ 0 w 138132"/>
                            <a:gd name="connsiteY1" fmla="*/ 6551 h 34490"/>
                            <a:gd name="connsiteX2" fmla="*/ 6551 w 138132"/>
                            <a:gd name="connsiteY2" fmla="*/ 0 h 34490"/>
                            <a:gd name="connsiteX3" fmla="*/ 13101 w 138132"/>
                            <a:gd name="connsiteY3" fmla="*/ 6551 h 34490"/>
                            <a:gd name="connsiteX4" fmla="*/ 69066 w 138132"/>
                            <a:gd name="connsiteY4" fmla="*/ 21389 h 34490"/>
                            <a:gd name="connsiteX5" fmla="*/ 125031 w 138132"/>
                            <a:gd name="connsiteY5" fmla="*/ 6551 h 34490"/>
                            <a:gd name="connsiteX6" fmla="*/ 131581 w 138132"/>
                            <a:gd name="connsiteY6" fmla="*/ 0 h 34490"/>
                            <a:gd name="connsiteX7" fmla="*/ 138132 w 138132"/>
                            <a:gd name="connsiteY7" fmla="*/ 6551 h 34490"/>
                            <a:gd name="connsiteX8" fmla="*/ 69094 w 138132"/>
                            <a:gd name="connsiteY8" fmla="*/ 34490 h 3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132" h="34490">
                              <a:moveTo>
                                <a:pt x="69094" y="34490"/>
                              </a:moveTo>
                              <a:cubicBezTo>
                                <a:pt x="35829" y="34490"/>
                                <a:pt x="0" y="25747"/>
                                <a:pt x="0" y="6551"/>
                              </a:cubicBezTo>
                              <a:cubicBezTo>
                                <a:pt x="0" y="2934"/>
                                <a:pt x="2934" y="0"/>
                                <a:pt x="6551" y="0"/>
                              </a:cubicBezTo>
                              <a:cubicBezTo>
                                <a:pt x="10168" y="0"/>
                                <a:pt x="13101" y="2934"/>
                                <a:pt x="13101" y="6551"/>
                              </a:cubicBezTo>
                              <a:cubicBezTo>
                                <a:pt x="13101" y="10851"/>
                                <a:pt x="32724" y="21389"/>
                                <a:pt x="69066" y="21389"/>
                              </a:cubicBezTo>
                              <a:cubicBezTo>
                                <a:pt x="105436" y="21389"/>
                                <a:pt x="125031" y="10880"/>
                                <a:pt x="125031" y="6551"/>
                              </a:cubicBezTo>
                              <a:cubicBezTo>
                                <a:pt x="125031" y="2934"/>
                                <a:pt x="127964" y="0"/>
                                <a:pt x="131581" y="0"/>
                              </a:cubicBezTo>
                              <a:cubicBezTo>
                                <a:pt x="135198" y="0"/>
                                <a:pt x="138132" y="2934"/>
                                <a:pt x="138132" y="6551"/>
                              </a:cubicBezTo>
                              <a:cubicBezTo>
                                <a:pt x="138189" y="25747"/>
                                <a:pt x="102360" y="34490"/>
                                <a:pt x="69094" y="34490"/>
                              </a:cubicBezTo>
                              <a:close/>
                            </a:path>
                          </a:pathLst>
                        </a:custGeom>
                        <a:solidFill>
                          <a:schemeClr val="accent1"/>
                        </a:solidFill>
                        <a:ln w="2840" cap="flat">
                          <a:noFill/>
                          <a:prstDash val="solid"/>
                          <a:miter/>
                        </a:ln>
                      </p:spPr>
                      <p:txBody>
                        <a:bodyPr rtlCol="0" anchor="ctr"/>
                        <a:lstStyle/>
                        <a:p>
                          <a:endParaRPr lang="en-GB" dirty="0"/>
                        </a:p>
                      </p:txBody>
                    </p:sp>
                    <p:sp>
                      <p:nvSpPr>
                        <p:cNvPr id="655" name="Freihandform: Form 517">
                          <a:extLst>
                            <a:ext uri="{FF2B5EF4-FFF2-40B4-BE49-F238E27FC236}">
                              <a16:creationId xmlns:a16="http://schemas.microsoft.com/office/drawing/2014/main" id="{E9409C16-2C27-48E6-AFC0-BBF63CD07885}"/>
                            </a:ext>
                          </a:extLst>
                        </p:cNvPr>
                        <p:cNvSpPr/>
                        <p:nvPr/>
                      </p:nvSpPr>
                      <p:spPr>
                        <a:xfrm>
                          <a:off x="2082660" y="3639440"/>
                          <a:ext cx="138132" cy="61233"/>
                        </a:xfrm>
                        <a:custGeom>
                          <a:avLst/>
                          <a:gdLst>
                            <a:gd name="connsiteX0" fmla="*/ 69094 w 138132"/>
                            <a:gd name="connsiteY0" fmla="*/ 61234 h 61233"/>
                            <a:gd name="connsiteX1" fmla="*/ 0 w 138132"/>
                            <a:gd name="connsiteY1" fmla="*/ 33294 h 61233"/>
                            <a:gd name="connsiteX2" fmla="*/ 0 w 138132"/>
                            <a:gd name="connsiteY2" fmla="*/ 6551 h 61233"/>
                            <a:gd name="connsiteX3" fmla="*/ 6551 w 138132"/>
                            <a:gd name="connsiteY3" fmla="*/ 0 h 61233"/>
                            <a:gd name="connsiteX4" fmla="*/ 13101 w 138132"/>
                            <a:gd name="connsiteY4" fmla="*/ 6551 h 61233"/>
                            <a:gd name="connsiteX5" fmla="*/ 13101 w 138132"/>
                            <a:gd name="connsiteY5" fmla="*/ 33294 h 61233"/>
                            <a:gd name="connsiteX6" fmla="*/ 69066 w 138132"/>
                            <a:gd name="connsiteY6" fmla="*/ 48133 h 61233"/>
                            <a:gd name="connsiteX7" fmla="*/ 125031 w 138132"/>
                            <a:gd name="connsiteY7" fmla="*/ 33294 h 61233"/>
                            <a:gd name="connsiteX8" fmla="*/ 125031 w 138132"/>
                            <a:gd name="connsiteY8" fmla="*/ 6551 h 61233"/>
                            <a:gd name="connsiteX9" fmla="*/ 131581 w 138132"/>
                            <a:gd name="connsiteY9" fmla="*/ 0 h 61233"/>
                            <a:gd name="connsiteX10" fmla="*/ 138132 w 138132"/>
                            <a:gd name="connsiteY10" fmla="*/ 6551 h 61233"/>
                            <a:gd name="connsiteX11" fmla="*/ 138132 w 138132"/>
                            <a:gd name="connsiteY11" fmla="*/ 33294 h 61233"/>
                            <a:gd name="connsiteX12" fmla="*/ 69094 w 138132"/>
                            <a:gd name="connsiteY12" fmla="*/ 61234 h 6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32" h="61233">
                              <a:moveTo>
                                <a:pt x="69094" y="61234"/>
                              </a:moveTo>
                              <a:cubicBezTo>
                                <a:pt x="35829" y="61234"/>
                                <a:pt x="0" y="52490"/>
                                <a:pt x="0" y="33294"/>
                              </a:cubicBezTo>
                              <a:lnTo>
                                <a:pt x="0" y="6551"/>
                              </a:lnTo>
                              <a:cubicBezTo>
                                <a:pt x="0" y="2934"/>
                                <a:pt x="2934" y="0"/>
                                <a:pt x="6551" y="0"/>
                              </a:cubicBezTo>
                              <a:cubicBezTo>
                                <a:pt x="10168" y="0"/>
                                <a:pt x="13101" y="2934"/>
                                <a:pt x="13101" y="6551"/>
                              </a:cubicBezTo>
                              <a:lnTo>
                                <a:pt x="13101" y="33294"/>
                              </a:lnTo>
                              <a:cubicBezTo>
                                <a:pt x="13101" y="37595"/>
                                <a:pt x="32724" y="48133"/>
                                <a:pt x="69066" y="48133"/>
                              </a:cubicBezTo>
                              <a:cubicBezTo>
                                <a:pt x="105436" y="48133"/>
                                <a:pt x="125031" y="37623"/>
                                <a:pt x="125031" y="33294"/>
                              </a:cubicBezTo>
                              <a:lnTo>
                                <a:pt x="125031" y="6551"/>
                              </a:lnTo>
                              <a:cubicBezTo>
                                <a:pt x="125031" y="2934"/>
                                <a:pt x="127964" y="0"/>
                                <a:pt x="131581" y="0"/>
                              </a:cubicBezTo>
                              <a:cubicBezTo>
                                <a:pt x="135198" y="0"/>
                                <a:pt x="138132" y="2934"/>
                                <a:pt x="138132" y="6551"/>
                              </a:cubicBezTo>
                              <a:lnTo>
                                <a:pt x="138132" y="33294"/>
                              </a:lnTo>
                              <a:cubicBezTo>
                                <a:pt x="138189" y="52490"/>
                                <a:pt x="102360" y="61234"/>
                                <a:pt x="69094" y="61234"/>
                              </a:cubicBezTo>
                              <a:close/>
                            </a:path>
                          </a:pathLst>
                        </a:custGeom>
                        <a:solidFill>
                          <a:schemeClr val="accent1"/>
                        </a:solidFill>
                        <a:ln w="2840" cap="flat">
                          <a:noFill/>
                          <a:prstDash val="solid"/>
                          <a:miter/>
                        </a:ln>
                      </p:spPr>
                      <p:txBody>
                        <a:bodyPr rtlCol="0" anchor="ctr"/>
                        <a:lstStyle/>
                        <a:p>
                          <a:endParaRPr lang="en-GB" dirty="0"/>
                        </a:p>
                      </p:txBody>
                    </p:sp>
                  </p:grpSp>
                </p:grpSp>
                <p:grpSp>
                  <p:nvGrpSpPr>
                    <p:cNvPr id="645" name="Grafik 206">
                      <a:extLst>
                        <a:ext uri="{FF2B5EF4-FFF2-40B4-BE49-F238E27FC236}">
                          <a16:creationId xmlns:a16="http://schemas.microsoft.com/office/drawing/2014/main" id="{B309D919-67DC-4019-A7A3-01399EEC4A92}"/>
                        </a:ext>
                      </a:extLst>
                    </p:cNvPr>
                    <p:cNvGrpSpPr/>
                    <p:nvPr/>
                  </p:nvGrpSpPr>
                  <p:grpSpPr>
                    <a:xfrm>
                      <a:off x="2082660" y="3565504"/>
                      <a:ext cx="138188" cy="108682"/>
                      <a:chOff x="2082660" y="3565504"/>
                      <a:chExt cx="138188" cy="108682"/>
                    </a:xfrm>
                    <a:solidFill>
                      <a:schemeClr val="accent1"/>
                    </a:solidFill>
                  </p:grpSpPr>
                  <p:grpSp>
                    <p:nvGrpSpPr>
                      <p:cNvPr id="646" name="Grafik 206">
                        <a:extLst>
                          <a:ext uri="{FF2B5EF4-FFF2-40B4-BE49-F238E27FC236}">
                            <a16:creationId xmlns:a16="http://schemas.microsoft.com/office/drawing/2014/main" id="{C53BDB2F-2B88-41EF-B8FC-1B8E3E751B3B}"/>
                          </a:ext>
                        </a:extLst>
                      </p:cNvPr>
                      <p:cNvGrpSpPr/>
                      <p:nvPr/>
                    </p:nvGrpSpPr>
                    <p:grpSpPr>
                      <a:xfrm>
                        <a:off x="2082660" y="3612953"/>
                        <a:ext cx="138132" cy="61233"/>
                        <a:chOff x="2082660" y="3612953"/>
                        <a:chExt cx="138132" cy="61233"/>
                      </a:xfrm>
                      <a:solidFill>
                        <a:schemeClr val="accent1"/>
                      </a:solidFill>
                    </p:grpSpPr>
                    <p:sp>
                      <p:nvSpPr>
                        <p:cNvPr id="650" name="Freihandform: Form 520">
                          <a:extLst>
                            <a:ext uri="{FF2B5EF4-FFF2-40B4-BE49-F238E27FC236}">
                              <a16:creationId xmlns:a16="http://schemas.microsoft.com/office/drawing/2014/main" id="{28C76B6D-E4D9-4023-8038-CDBFC5150FF8}"/>
                            </a:ext>
                          </a:extLst>
                        </p:cNvPr>
                        <p:cNvSpPr/>
                        <p:nvPr/>
                      </p:nvSpPr>
                      <p:spPr>
                        <a:xfrm>
                          <a:off x="2082660" y="3612953"/>
                          <a:ext cx="138132" cy="34490"/>
                        </a:xfrm>
                        <a:custGeom>
                          <a:avLst/>
                          <a:gdLst>
                            <a:gd name="connsiteX0" fmla="*/ 69094 w 138132"/>
                            <a:gd name="connsiteY0" fmla="*/ 34490 h 34490"/>
                            <a:gd name="connsiteX1" fmla="*/ 0 w 138132"/>
                            <a:gd name="connsiteY1" fmla="*/ 6551 h 34490"/>
                            <a:gd name="connsiteX2" fmla="*/ 6551 w 138132"/>
                            <a:gd name="connsiteY2" fmla="*/ 0 h 34490"/>
                            <a:gd name="connsiteX3" fmla="*/ 13101 w 138132"/>
                            <a:gd name="connsiteY3" fmla="*/ 6551 h 34490"/>
                            <a:gd name="connsiteX4" fmla="*/ 69066 w 138132"/>
                            <a:gd name="connsiteY4" fmla="*/ 21389 h 34490"/>
                            <a:gd name="connsiteX5" fmla="*/ 125031 w 138132"/>
                            <a:gd name="connsiteY5" fmla="*/ 6551 h 34490"/>
                            <a:gd name="connsiteX6" fmla="*/ 131581 w 138132"/>
                            <a:gd name="connsiteY6" fmla="*/ 0 h 34490"/>
                            <a:gd name="connsiteX7" fmla="*/ 138132 w 138132"/>
                            <a:gd name="connsiteY7" fmla="*/ 6551 h 34490"/>
                            <a:gd name="connsiteX8" fmla="*/ 69094 w 138132"/>
                            <a:gd name="connsiteY8" fmla="*/ 34490 h 3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132" h="34490">
                              <a:moveTo>
                                <a:pt x="69094" y="34490"/>
                              </a:moveTo>
                              <a:cubicBezTo>
                                <a:pt x="35829" y="34490"/>
                                <a:pt x="0" y="25747"/>
                                <a:pt x="0" y="6551"/>
                              </a:cubicBezTo>
                              <a:cubicBezTo>
                                <a:pt x="0" y="2933"/>
                                <a:pt x="2934" y="0"/>
                                <a:pt x="6551" y="0"/>
                              </a:cubicBezTo>
                              <a:cubicBezTo>
                                <a:pt x="10168" y="0"/>
                                <a:pt x="13101" y="2933"/>
                                <a:pt x="13101" y="6551"/>
                              </a:cubicBezTo>
                              <a:cubicBezTo>
                                <a:pt x="13101" y="10851"/>
                                <a:pt x="32724" y="21389"/>
                                <a:pt x="69066" y="21389"/>
                              </a:cubicBezTo>
                              <a:cubicBezTo>
                                <a:pt x="105436" y="21389"/>
                                <a:pt x="125031" y="10880"/>
                                <a:pt x="125031" y="6551"/>
                              </a:cubicBezTo>
                              <a:cubicBezTo>
                                <a:pt x="125031" y="2933"/>
                                <a:pt x="127964" y="0"/>
                                <a:pt x="131581" y="0"/>
                              </a:cubicBezTo>
                              <a:cubicBezTo>
                                <a:pt x="135198" y="0"/>
                                <a:pt x="138132" y="2933"/>
                                <a:pt x="138132" y="6551"/>
                              </a:cubicBezTo>
                              <a:cubicBezTo>
                                <a:pt x="138189" y="25747"/>
                                <a:pt x="102360" y="34490"/>
                                <a:pt x="69094" y="34490"/>
                              </a:cubicBezTo>
                              <a:close/>
                            </a:path>
                          </a:pathLst>
                        </a:custGeom>
                        <a:solidFill>
                          <a:schemeClr val="accent1"/>
                        </a:solidFill>
                        <a:ln w="2840" cap="flat">
                          <a:noFill/>
                          <a:prstDash val="solid"/>
                          <a:miter/>
                        </a:ln>
                      </p:spPr>
                      <p:txBody>
                        <a:bodyPr rtlCol="0" anchor="ctr"/>
                        <a:lstStyle/>
                        <a:p>
                          <a:endParaRPr lang="en-GB" dirty="0"/>
                        </a:p>
                      </p:txBody>
                    </p:sp>
                    <p:sp>
                      <p:nvSpPr>
                        <p:cNvPr id="651" name="Freihandform: Form 521">
                          <a:extLst>
                            <a:ext uri="{FF2B5EF4-FFF2-40B4-BE49-F238E27FC236}">
                              <a16:creationId xmlns:a16="http://schemas.microsoft.com/office/drawing/2014/main" id="{B02A7D58-B012-4F01-80D1-2EDCEDFF3954}"/>
                            </a:ext>
                          </a:extLst>
                        </p:cNvPr>
                        <p:cNvSpPr/>
                        <p:nvPr/>
                      </p:nvSpPr>
                      <p:spPr>
                        <a:xfrm>
                          <a:off x="2082660" y="3612953"/>
                          <a:ext cx="138132" cy="61233"/>
                        </a:xfrm>
                        <a:custGeom>
                          <a:avLst/>
                          <a:gdLst>
                            <a:gd name="connsiteX0" fmla="*/ 69094 w 138132"/>
                            <a:gd name="connsiteY0" fmla="*/ 61234 h 61233"/>
                            <a:gd name="connsiteX1" fmla="*/ 0 w 138132"/>
                            <a:gd name="connsiteY1" fmla="*/ 33294 h 61233"/>
                            <a:gd name="connsiteX2" fmla="*/ 0 w 138132"/>
                            <a:gd name="connsiteY2" fmla="*/ 6551 h 61233"/>
                            <a:gd name="connsiteX3" fmla="*/ 6551 w 138132"/>
                            <a:gd name="connsiteY3" fmla="*/ 0 h 61233"/>
                            <a:gd name="connsiteX4" fmla="*/ 13101 w 138132"/>
                            <a:gd name="connsiteY4" fmla="*/ 6551 h 61233"/>
                            <a:gd name="connsiteX5" fmla="*/ 13101 w 138132"/>
                            <a:gd name="connsiteY5" fmla="*/ 33294 h 61233"/>
                            <a:gd name="connsiteX6" fmla="*/ 69066 w 138132"/>
                            <a:gd name="connsiteY6" fmla="*/ 48133 h 61233"/>
                            <a:gd name="connsiteX7" fmla="*/ 125031 w 138132"/>
                            <a:gd name="connsiteY7" fmla="*/ 33294 h 61233"/>
                            <a:gd name="connsiteX8" fmla="*/ 125031 w 138132"/>
                            <a:gd name="connsiteY8" fmla="*/ 6551 h 61233"/>
                            <a:gd name="connsiteX9" fmla="*/ 131581 w 138132"/>
                            <a:gd name="connsiteY9" fmla="*/ 0 h 61233"/>
                            <a:gd name="connsiteX10" fmla="*/ 138132 w 138132"/>
                            <a:gd name="connsiteY10" fmla="*/ 6551 h 61233"/>
                            <a:gd name="connsiteX11" fmla="*/ 138132 w 138132"/>
                            <a:gd name="connsiteY11" fmla="*/ 33294 h 61233"/>
                            <a:gd name="connsiteX12" fmla="*/ 69094 w 138132"/>
                            <a:gd name="connsiteY12" fmla="*/ 61234 h 6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32" h="61233">
                              <a:moveTo>
                                <a:pt x="69094" y="61234"/>
                              </a:moveTo>
                              <a:cubicBezTo>
                                <a:pt x="35829" y="61234"/>
                                <a:pt x="0" y="52490"/>
                                <a:pt x="0" y="33294"/>
                              </a:cubicBezTo>
                              <a:lnTo>
                                <a:pt x="0" y="6551"/>
                              </a:lnTo>
                              <a:cubicBezTo>
                                <a:pt x="0" y="2933"/>
                                <a:pt x="2934" y="0"/>
                                <a:pt x="6551" y="0"/>
                              </a:cubicBezTo>
                              <a:cubicBezTo>
                                <a:pt x="10168" y="0"/>
                                <a:pt x="13101" y="2933"/>
                                <a:pt x="13101" y="6551"/>
                              </a:cubicBezTo>
                              <a:lnTo>
                                <a:pt x="13101" y="33294"/>
                              </a:lnTo>
                              <a:cubicBezTo>
                                <a:pt x="13101" y="37595"/>
                                <a:pt x="32724" y="48133"/>
                                <a:pt x="69066" y="48133"/>
                              </a:cubicBezTo>
                              <a:cubicBezTo>
                                <a:pt x="105436" y="48133"/>
                                <a:pt x="125031" y="37623"/>
                                <a:pt x="125031" y="33294"/>
                              </a:cubicBezTo>
                              <a:lnTo>
                                <a:pt x="125031" y="6551"/>
                              </a:lnTo>
                              <a:cubicBezTo>
                                <a:pt x="125031" y="2933"/>
                                <a:pt x="127964" y="0"/>
                                <a:pt x="131581" y="0"/>
                              </a:cubicBezTo>
                              <a:cubicBezTo>
                                <a:pt x="135198" y="0"/>
                                <a:pt x="138132" y="2933"/>
                                <a:pt x="138132" y="6551"/>
                              </a:cubicBezTo>
                              <a:lnTo>
                                <a:pt x="138132" y="33294"/>
                              </a:lnTo>
                              <a:cubicBezTo>
                                <a:pt x="138189" y="52490"/>
                                <a:pt x="102360" y="61234"/>
                                <a:pt x="69094" y="61234"/>
                              </a:cubicBezTo>
                              <a:close/>
                            </a:path>
                          </a:pathLst>
                        </a:custGeom>
                        <a:solidFill>
                          <a:schemeClr val="accent1"/>
                        </a:solidFill>
                        <a:ln w="2840" cap="flat">
                          <a:noFill/>
                          <a:prstDash val="solid"/>
                          <a:miter/>
                        </a:ln>
                      </p:spPr>
                      <p:txBody>
                        <a:bodyPr rtlCol="0" anchor="ctr"/>
                        <a:lstStyle/>
                        <a:p>
                          <a:endParaRPr lang="en-GB" dirty="0"/>
                        </a:p>
                      </p:txBody>
                    </p:sp>
                  </p:grpSp>
                  <p:grpSp>
                    <p:nvGrpSpPr>
                      <p:cNvPr id="647" name="Grafik 206">
                        <a:extLst>
                          <a:ext uri="{FF2B5EF4-FFF2-40B4-BE49-F238E27FC236}">
                            <a16:creationId xmlns:a16="http://schemas.microsoft.com/office/drawing/2014/main" id="{CCD1218A-66BD-4BA8-B414-5070FF6D2FE1}"/>
                          </a:ext>
                        </a:extLst>
                      </p:cNvPr>
                      <p:cNvGrpSpPr/>
                      <p:nvPr/>
                    </p:nvGrpSpPr>
                    <p:grpSpPr>
                      <a:xfrm>
                        <a:off x="2082660" y="3565504"/>
                        <a:ext cx="138188" cy="82622"/>
                        <a:chOff x="2082660" y="3565504"/>
                        <a:chExt cx="138188" cy="82622"/>
                      </a:xfrm>
                      <a:solidFill>
                        <a:schemeClr val="accent1"/>
                      </a:solidFill>
                    </p:grpSpPr>
                    <p:sp>
                      <p:nvSpPr>
                        <p:cNvPr id="648" name="Freihandform: Form 523">
                          <a:extLst>
                            <a:ext uri="{FF2B5EF4-FFF2-40B4-BE49-F238E27FC236}">
                              <a16:creationId xmlns:a16="http://schemas.microsoft.com/office/drawing/2014/main" id="{0861F7B9-9BEB-4175-86AB-88C77C0CEE28}"/>
                            </a:ext>
                          </a:extLst>
                        </p:cNvPr>
                        <p:cNvSpPr/>
                        <p:nvPr/>
                      </p:nvSpPr>
                      <p:spPr>
                        <a:xfrm>
                          <a:off x="2082660" y="3565504"/>
                          <a:ext cx="138188" cy="55879"/>
                        </a:xfrm>
                        <a:custGeom>
                          <a:avLst/>
                          <a:gdLst>
                            <a:gd name="connsiteX0" fmla="*/ 69094 w 138188"/>
                            <a:gd name="connsiteY0" fmla="*/ 55880 h 55879"/>
                            <a:gd name="connsiteX1" fmla="*/ 0 w 138188"/>
                            <a:gd name="connsiteY1" fmla="*/ 27940 h 55879"/>
                            <a:gd name="connsiteX2" fmla="*/ 69094 w 138188"/>
                            <a:gd name="connsiteY2" fmla="*/ 0 h 55879"/>
                            <a:gd name="connsiteX3" fmla="*/ 138189 w 138188"/>
                            <a:gd name="connsiteY3" fmla="*/ 27940 h 55879"/>
                            <a:gd name="connsiteX4" fmla="*/ 69094 w 138188"/>
                            <a:gd name="connsiteY4" fmla="*/ 55880 h 55879"/>
                            <a:gd name="connsiteX5" fmla="*/ 69094 w 138188"/>
                            <a:gd name="connsiteY5" fmla="*/ 13101 h 55879"/>
                            <a:gd name="connsiteX6" fmla="*/ 13130 w 138188"/>
                            <a:gd name="connsiteY6" fmla="*/ 27940 h 55879"/>
                            <a:gd name="connsiteX7" fmla="*/ 69094 w 138188"/>
                            <a:gd name="connsiteY7" fmla="*/ 42778 h 55879"/>
                            <a:gd name="connsiteX8" fmla="*/ 125059 w 138188"/>
                            <a:gd name="connsiteY8" fmla="*/ 27940 h 55879"/>
                            <a:gd name="connsiteX9" fmla="*/ 69094 w 138188"/>
                            <a:gd name="connsiteY9" fmla="*/ 13101 h 5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188" h="55879">
                              <a:moveTo>
                                <a:pt x="69094" y="55880"/>
                              </a:moveTo>
                              <a:cubicBezTo>
                                <a:pt x="35829" y="55880"/>
                                <a:pt x="0" y="47136"/>
                                <a:pt x="0" y="27940"/>
                              </a:cubicBezTo>
                              <a:cubicBezTo>
                                <a:pt x="0" y="8744"/>
                                <a:pt x="35829" y="0"/>
                                <a:pt x="69094" y="0"/>
                              </a:cubicBezTo>
                              <a:cubicBezTo>
                                <a:pt x="102360" y="0"/>
                                <a:pt x="138189" y="8744"/>
                                <a:pt x="138189" y="27940"/>
                              </a:cubicBezTo>
                              <a:cubicBezTo>
                                <a:pt x="138189" y="47136"/>
                                <a:pt x="102360" y="55880"/>
                                <a:pt x="69094" y="55880"/>
                              </a:cubicBezTo>
                              <a:close/>
                              <a:moveTo>
                                <a:pt x="69094" y="13101"/>
                              </a:moveTo>
                              <a:cubicBezTo>
                                <a:pt x="32724" y="13101"/>
                                <a:pt x="13130" y="23611"/>
                                <a:pt x="13130" y="27940"/>
                              </a:cubicBezTo>
                              <a:cubicBezTo>
                                <a:pt x="13130" y="32240"/>
                                <a:pt x="32753" y="42778"/>
                                <a:pt x="69094" y="42778"/>
                              </a:cubicBezTo>
                              <a:cubicBezTo>
                                <a:pt x="105464" y="42778"/>
                                <a:pt x="125059" y="32269"/>
                                <a:pt x="125059" y="27940"/>
                              </a:cubicBezTo>
                              <a:cubicBezTo>
                                <a:pt x="125059" y="23639"/>
                                <a:pt x="105436" y="13101"/>
                                <a:pt x="69094" y="13101"/>
                              </a:cubicBezTo>
                              <a:close/>
                            </a:path>
                          </a:pathLst>
                        </a:custGeom>
                        <a:solidFill>
                          <a:schemeClr val="accent1"/>
                        </a:solidFill>
                        <a:ln w="2840" cap="flat">
                          <a:noFill/>
                          <a:prstDash val="solid"/>
                          <a:miter/>
                        </a:ln>
                      </p:spPr>
                      <p:txBody>
                        <a:bodyPr rtlCol="0" anchor="ctr"/>
                        <a:lstStyle/>
                        <a:p>
                          <a:endParaRPr lang="en-GB" dirty="0"/>
                        </a:p>
                      </p:txBody>
                    </p:sp>
                    <p:sp>
                      <p:nvSpPr>
                        <p:cNvPr id="649" name="Freihandform: Form 524">
                          <a:extLst>
                            <a:ext uri="{FF2B5EF4-FFF2-40B4-BE49-F238E27FC236}">
                              <a16:creationId xmlns:a16="http://schemas.microsoft.com/office/drawing/2014/main" id="{9371D0CD-B64B-44C1-A194-A493ADB6EBCC}"/>
                            </a:ext>
                          </a:extLst>
                        </p:cNvPr>
                        <p:cNvSpPr/>
                        <p:nvPr/>
                      </p:nvSpPr>
                      <p:spPr>
                        <a:xfrm>
                          <a:off x="2082660" y="3586893"/>
                          <a:ext cx="138132" cy="61233"/>
                        </a:xfrm>
                        <a:custGeom>
                          <a:avLst/>
                          <a:gdLst>
                            <a:gd name="connsiteX0" fmla="*/ 69094 w 138132"/>
                            <a:gd name="connsiteY0" fmla="*/ 61234 h 61233"/>
                            <a:gd name="connsiteX1" fmla="*/ 0 w 138132"/>
                            <a:gd name="connsiteY1" fmla="*/ 33294 h 61233"/>
                            <a:gd name="connsiteX2" fmla="*/ 0 w 138132"/>
                            <a:gd name="connsiteY2" fmla="*/ 6551 h 61233"/>
                            <a:gd name="connsiteX3" fmla="*/ 6551 w 138132"/>
                            <a:gd name="connsiteY3" fmla="*/ 0 h 61233"/>
                            <a:gd name="connsiteX4" fmla="*/ 13101 w 138132"/>
                            <a:gd name="connsiteY4" fmla="*/ 6551 h 61233"/>
                            <a:gd name="connsiteX5" fmla="*/ 13101 w 138132"/>
                            <a:gd name="connsiteY5" fmla="*/ 33294 h 61233"/>
                            <a:gd name="connsiteX6" fmla="*/ 69066 w 138132"/>
                            <a:gd name="connsiteY6" fmla="*/ 48133 h 61233"/>
                            <a:gd name="connsiteX7" fmla="*/ 125031 w 138132"/>
                            <a:gd name="connsiteY7" fmla="*/ 33294 h 61233"/>
                            <a:gd name="connsiteX8" fmla="*/ 125031 w 138132"/>
                            <a:gd name="connsiteY8" fmla="*/ 6551 h 61233"/>
                            <a:gd name="connsiteX9" fmla="*/ 131581 w 138132"/>
                            <a:gd name="connsiteY9" fmla="*/ 0 h 61233"/>
                            <a:gd name="connsiteX10" fmla="*/ 138132 w 138132"/>
                            <a:gd name="connsiteY10" fmla="*/ 6551 h 61233"/>
                            <a:gd name="connsiteX11" fmla="*/ 138132 w 138132"/>
                            <a:gd name="connsiteY11" fmla="*/ 33294 h 61233"/>
                            <a:gd name="connsiteX12" fmla="*/ 69094 w 138132"/>
                            <a:gd name="connsiteY12" fmla="*/ 61234 h 6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32" h="61233">
                              <a:moveTo>
                                <a:pt x="69094" y="61234"/>
                              </a:moveTo>
                              <a:cubicBezTo>
                                <a:pt x="35829" y="61234"/>
                                <a:pt x="0" y="52490"/>
                                <a:pt x="0" y="33294"/>
                              </a:cubicBezTo>
                              <a:lnTo>
                                <a:pt x="0" y="6551"/>
                              </a:lnTo>
                              <a:cubicBezTo>
                                <a:pt x="0" y="2934"/>
                                <a:pt x="2934" y="0"/>
                                <a:pt x="6551" y="0"/>
                              </a:cubicBezTo>
                              <a:cubicBezTo>
                                <a:pt x="10168" y="0"/>
                                <a:pt x="13101" y="2934"/>
                                <a:pt x="13101" y="6551"/>
                              </a:cubicBezTo>
                              <a:lnTo>
                                <a:pt x="13101" y="33294"/>
                              </a:lnTo>
                              <a:cubicBezTo>
                                <a:pt x="13101" y="37595"/>
                                <a:pt x="32724" y="48133"/>
                                <a:pt x="69066" y="48133"/>
                              </a:cubicBezTo>
                              <a:cubicBezTo>
                                <a:pt x="105436" y="48133"/>
                                <a:pt x="125031" y="37623"/>
                                <a:pt x="125031" y="33294"/>
                              </a:cubicBezTo>
                              <a:lnTo>
                                <a:pt x="125031" y="6551"/>
                              </a:lnTo>
                              <a:cubicBezTo>
                                <a:pt x="125031" y="2934"/>
                                <a:pt x="127964" y="0"/>
                                <a:pt x="131581" y="0"/>
                              </a:cubicBezTo>
                              <a:cubicBezTo>
                                <a:pt x="135198" y="0"/>
                                <a:pt x="138132" y="2934"/>
                                <a:pt x="138132" y="6551"/>
                              </a:cubicBezTo>
                              <a:lnTo>
                                <a:pt x="138132" y="33294"/>
                              </a:lnTo>
                              <a:cubicBezTo>
                                <a:pt x="138189" y="52490"/>
                                <a:pt x="102360" y="61234"/>
                                <a:pt x="69094" y="61234"/>
                              </a:cubicBezTo>
                              <a:close/>
                            </a:path>
                          </a:pathLst>
                        </a:custGeom>
                        <a:solidFill>
                          <a:schemeClr val="accent1"/>
                        </a:solidFill>
                        <a:ln w="2840" cap="flat">
                          <a:noFill/>
                          <a:prstDash val="solid"/>
                          <a:miter/>
                        </a:ln>
                      </p:spPr>
                      <p:txBody>
                        <a:bodyPr rtlCol="0" anchor="ctr"/>
                        <a:lstStyle/>
                        <a:p>
                          <a:endParaRPr lang="en-GB" dirty="0"/>
                        </a:p>
                      </p:txBody>
                    </p:sp>
                  </p:grpSp>
                </p:grpSp>
              </p:grpSp>
              <p:grpSp>
                <p:nvGrpSpPr>
                  <p:cNvPr id="639" name="Grafik 206">
                    <a:extLst>
                      <a:ext uri="{FF2B5EF4-FFF2-40B4-BE49-F238E27FC236}">
                        <a16:creationId xmlns:a16="http://schemas.microsoft.com/office/drawing/2014/main" id="{3141562A-198D-4068-A00A-EA8775A91012}"/>
                      </a:ext>
                    </a:extLst>
                  </p:cNvPr>
                  <p:cNvGrpSpPr/>
                  <p:nvPr/>
                </p:nvGrpSpPr>
                <p:grpSpPr>
                  <a:xfrm>
                    <a:off x="1957573" y="3618364"/>
                    <a:ext cx="138188" cy="82622"/>
                    <a:chOff x="1957573" y="3618364"/>
                    <a:chExt cx="138188" cy="82622"/>
                  </a:xfrm>
                  <a:solidFill>
                    <a:schemeClr val="accent1"/>
                  </a:solidFill>
                </p:grpSpPr>
                <p:sp>
                  <p:nvSpPr>
                    <p:cNvPr id="640" name="Freihandform: Form 526">
                      <a:extLst>
                        <a:ext uri="{FF2B5EF4-FFF2-40B4-BE49-F238E27FC236}">
                          <a16:creationId xmlns:a16="http://schemas.microsoft.com/office/drawing/2014/main" id="{0497E80D-C804-456C-A3B1-987172E4EAB5}"/>
                        </a:ext>
                      </a:extLst>
                    </p:cNvPr>
                    <p:cNvSpPr/>
                    <p:nvPr/>
                  </p:nvSpPr>
                  <p:spPr>
                    <a:xfrm>
                      <a:off x="1957573" y="3665813"/>
                      <a:ext cx="138132" cy="34518"/>
                    </a:xfrm>
                    <a:custGeom>
                      <a:avLst/>
                      <a:gdLst>
                        <a:gd name="connsiteX0" fmla="*/ 69094 w 138132"/>
                        <a:gd name="connsiteY0" fmla="*/ 34519 h 34518"/>
                        <a:gd name="connsiteX1" fmla="*/ 0 w 138132"/>
                        <a:gd name="connsiteY1" fmla="*/ 6551 h 34518"/>
                        <a:gd name="connsiteX2" fmla="*/ 6551 w 138132"/>
                        <a:gd name="connsiteY2" fmla="*/ 0 h 34518"/>
                        <a:gd name="connsiteX3" fmla="*/ 13101 w 138132"/>
                        <a:gd name="connsiteY3" fmla="*/ 6551 h 34518"/>
                        <a:gd name="connsiteX4" fmla="*/ 69066 w 138132"/>
                        <a:gd name="connsiteY4" fmla="*/ 21389 h 34518"/>
                        <a:gd name="connsiteX5" fmla="*/ 125031 w 138132"/>
                        <a:gd name="connsiteY5" fmla="*/ 6551 h 34518"/>
                        <a:gd name="connsiteX6" fmla="*/ 131581 w 138132"/>
                        <a:gd name="connsiteY6" fmla="*/ 0 h 34518"/>
                        <a:gd name="connsiteX7" fmla="*/ 138132 w 138132"/>
                        <a:gd name="connsiteY7" fmla="*/ 6551 h 34518"/>
                        <a:gd name="connsiteX8" fmla="*/ 69094 w 138132"/>
                        <a:gd name="connsiteY8" fmla="*/ 34519 h 3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132" h="34518">
                          <a:moveTo>
                            <a:pt x="69094" y="34519"/>
                          </a:moveTo>
                          <a:cubicBezTo>
                            <a:pt x="35829" y="34519"/>
                            <a:pt x="0" y="25775"/>
                            <a:pt x="0" y="6551"/>
                          </a:cubicBezTo>
                          <a:cubicBezTo>
                            <a:pt x="0" y="2933"/>
                            <a:pt x="2934" y="0"/>
                            <a:pt x="6551" y="0"/>
                          </a:cubicBezTo>
                          <a:cubicBezTo>
                            <a:pt x="10168" y="0"/>
                            <a:pt x="13101" y="2933"/>
                            <a:pt x="13101" y="6551"/>
                          </a:cubicBezTo>
                          <a:cubicBezTo>
                            <a:pt x="13101" y="10851"/>
                            <a:pt x="32725" y="21389"/>
                            <a:pt x="69066" y="21389"/>
                          </a:cubicBezTo>
                          <a:cubicBezTo>
                            <a:pt x="105436" y="21389"/>
                            <a:pt x="125031" y="10851"/>
                            <a:pt x="125031" y="6551"/>
                          </a:cubicBezTo>
                          <a:cubicBezTo>
                            <a:pt x="125031" y="2933"/>
                            <a:pt x="127964" y="0"/>
                            <a:pt x="131581" y="0"/>
                          </a:cubicBezTo>
                          <a:cubicBezTo>
                            <a:pt x="135198" y="0"/>
                            <a:pt x="138132" y="2933"/>
                            <a:pt x="138132" y="6551"/>
                          </a:cubicBezTo>
                          <a:cubicBezTo>
                            <a:pt x="138189" y="25775"/>
                            <a:pt x="102389" y="34519"/>
                            <a:pt x="69094" y="34519"/>
                          </a:cubicBezTo>
                          <a:close/>
                        </a:path>
                      </a:pathLst>
                    </a:custGeom>
                    <a:solidFill>
                      <a:schemeClr val="accent1"/>
                    </a:solidFill>
                    <a:ln w="2840" cap="flat">
                      <a:noFill/>
                      <a:prstDash val="solid"/>
                      <a:miter/>
                    </a:ln>
                  </p:spPr>
                  <p:txBody>
                    <a:bodyPr rtlCol="0" anchor="ctr"/>
                    <a:lstStyle/>
                    <a:p>
                      <a:endParaRPr lang="en-GB" dirty="0"/>
                    </a:p>
                  </p:txBody>
                </p:sp>
                <p:grpSp>
                  <p:nvGrpSpPr>
                    <p:cNvPr id="641" name="Grafik 206">
                      <a:extLst>
                        <a:ext uri="{FF2B5EF4-FFF2-40B4-BE49-F238E27FC236}">
                          <a16:creationId xmlns:a16="http://schemas.microsoft.com/office/drawing/2014/main" id="{6B4847A7-FE17-48E0-AC89-A6F7C9365D06}"/>
                        </a:ext>
                      </a:extLst>
                    </p:cNvPr>
                    <p:cNvGrpSpPr/>
                    <p:nvPr/>
                  </p:nvGrpSpPr>
                  <p:grpSpPr>
                    <a:xfrm>
                      <a:off x="1957573" y="3618364"/>
                      <a:ext cx="138188" cy="82622"/>
                      <a:chOff x="1957573" y="3618364"/>
                      <a:chExt cx="138188" cy="82622"/>
                    </a:xfrm>
                    <a:solidFill>
                      <a:schemeClr val="accent1"/>
                    </a:solidFill>
                  </p:grpSpPr>
                  <p:sp>
                    <p:nvSpPr>
                      <p:cNvPr id="642" name="Freihandform: Form 528">
                        <a:extLst>
                          <a:ext uri="{FF2B5EF4-FFF2-40B4-BE49-F238E27FC236}">
                            <a16:creationId xmlns:a16="http://schemas.microsoft.com/office/drawing/2014/main" id="{1B1A963A-941C-4169-A89B-053F029A6581}"/>
                          </a:ext>
                        </a:extLst>
                      </p:cNvPr>
                      <p:cNvSpPr/>
                      <p:nvPr/>
                    </p:nvSpPr>
                    <p:spPr>
                      <a:xfrm>
                        <a:off x="1957573" y="3618364"/>
                        <a:ext cx="138188" cy="55879"/>
                      </a:xfrm>
                      <a:custGeom>
                        <a:avLst/>
                        <a:gdLst>
                          <a:gd name="connsiteX0" fmla="*/ 69094 w 138188"/>
                          <a:gd name="connsiteY0" fmla="*/ 55879 h 55879"/>
                          <a:gd name="connsiteX1" fmla="*/ 0 w 138188"/>
                          <a:gd name="connsiteY1" fmla="*/ 27940 h 55879"/>
                          <a:gd name="connsiteX2" fmla="*/ 69094 w 138188"/>
                          <a:gd name="connsiteY2" fmla="*/ 0 h 55879"/>
                          <a:gd name="connsiteX3" fmla="*/ 138189 w 138188"/>
                          <a:gd name="connsiteY3" fmla="*/ 27940 h 55879"/>
                          <a:gd name="connsiteX4" fmla="*/ 69094 w 138188"/>
                          <a:gd name="connsiteY4" fmla="*/ 55879 h 55879"/>
                          <a:gd name="connsiteX5" fmla="*/ 69094 w 138188"/>
                          <a:gd name="connsiteY5" fmla="*/ 13101 h 55879"/>
                          <a:gd name="connsiteX6" fmla="*/ 13130 w 138188"/>
                          <a:gd name="connsiteY6" fmla="*/ 27940 h 55879"/>
                          <a:gd name="connsiteX7" fmla="*/ 69094 w 138188"/>
                          <a:gd name="connsiteY7" fmla="*/ 42778 h 55879"/>
                          <a:gd name="connsiteX8" fmla="*/ 125059 w 138188"/>
                          <a:gd name="connsiteY8" fmla="*/ 27940 h 55879"/>
                          <a:gd name="connsiteX9" fmla="*/ 69094 w 138188"/>
                          <a:gd name="connsiteY9" fmla="*/ 13101 h 55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188" h="55879">
                            <a:moveTo>
                              <a:pt x="69094" y="55879"/>
                            </a:moveTo>
                            <a:cubicBezTo>
                              <a:pt x="35829" y="55879"/>
                              <a:pt x="0" y="47136"/>
                              <a:pt x="0" y="27940"/>
                            </a:cubicBezTo>
                            <a:cubicBezTo>
                              <a:pt x="0" y="8743"/>
                              <a:pt x="35829" y="0"/>
                              <a:pt x="69094" y="0"/>
                            </a:cubicBezTo>
                            <a:cubicBezTo>
                              <a:pt x="102360" y="0"/>
                              <a:pt x="138189" y="8743"/>
                              <a:pt x="138189" y="27940"/>
                            </a:cubicBezTo>
                            <a:cubicBezTo>
                              <a:pt x="138189" y="47136"/>
                              <a:pt x="102389" y="55879"/>
                              <a:pt x="69094" y="55879"/>
                            </a:cubicBezTo>
                            <a:close/>
                            <a:moveTo>
                              <a:pt x="69094" y="13101"/>
                            </a:moveTo>
                            <a:cubicBezTo>
                              <a:pt x="32725" y="13101"/>
                              <a:pt x="13130" y="23611"/>
                              <a:pt x="13130" y="27940"/>
                            </a:cubicBezTo>
                            <a:cubicBezTo>
                              <a:pt x="13130" y="32240"/>
                              <a:pt x="32753" y="42778"/>
                              <a:pt x="69094" y="42778"/>
                            </a:cubicBezTo>
                            <a:cubicBezTo>
                              <a:pt x="105464" y="42778"/>
                              <a:pt x="125059" y="32269"/>
                              <a:pt x="125059" y="27940"/>
                            </a:cubicBezTo>
                            <a:cubicBezTo>
                              <a:pt x="125088" y="23639"/>
                              <a:pt x="105464" y="13101"/>
                              <a:pt x="69094" y="13101"/>
                            </a:cubicBezTo>
                            <a:close/>
                          </a:path>
                        </a:pathLst>
                      </a:custGeom>
                      <a:solidFill>
                        <a:schemeClr val="accent1"/>
                      </a:solidFill>
                      <a:ln w="2840" cap="flat">
                        <a:noFill/>
                        <a:prstDash val="solid"/>
                        <a:miter/>
                      </a:ln>
                    </p:spPr>
                    <p:txBody>
                      <a:bodyPr rtlCol="0" anchor="ctr"/>
                      <a:lstStyle/>
                      <a:p>
                        <a:endParaRPr lang="en-GB" dirty="0"/>
                      </a:p>
                    </p:txBody>
                  </p:sp>
                  <p:sp>
                    <p:nvSpPr>
                      <p:cNvPr id="643" name="Freihandform: Form 529">
                        <a:extLst>
                          <a:ext uri="{FF2B5EF4-FFF2-40B4-BE49-F238E27FC236}">
                            <a16:creationId xmlns:a16="http://schemas.microsoft.com/office/drawing/2014/main" id="{47E406C8-21D1-4AA4-BC82-DA4BEE1C380A}"/>
                          </a:ext>
                        </a:extLst>
                      </p:cNvPr>
                      <p:cNvSpPr/>
                      <p:nvPr/>
                    </p:nvSpPr>
                    <p:spPr>
                      <a:xfrm>
                        <a:off x="1957573" y="3639753"/>
                        <a:ext cx="138132" cy="61233"/>
                      </a:xfrm>
                      <a:custGeom>
                        <a:avLst/>
                        <a:gdLst>
                          <a:gd name="connsiteX0" fmla="*/ 69094 w 138132"/>
                          <a:gd name="connsiteY0" fmla="*/ 61234 h 61233"/>
                          <a:gd name="connsiteX1" fmla="*/ 0 w 138132"/>
                          <a:gd name="connsiteY1" fmla="*/ 33294 h 61233"/>
                          <a:gd name="connsiteX2" fmla="*/ 0 w 138132"/>
                          <a:gd name="connsiteY2" fmla="*/ 6551 h 61233"/>
                          <a:gd name="connsiteX3" fmla="*/ 6551 w 138132"/>
                          <a:gd name="connsiteY3" fmla="*/ 0 h 61233"/>
                          <a:gd name="connsiteX4" fmla="*/ 13101 w 138132"/>
                          <a:gd name="connsiteY4" fmla="*/ 6551 h 61233"/>
                          <a:gd name="connsiteX5" fmla="*/ 13101 w 138132"/>
                          <a:gd name="connsiteY5" fmla="*/ 33294 h 61233"/>
                          <a:gd name="connsiteX6" fmla="*/ 69066 w 138132"/>
                          <a:gd name="connsiteY6" fmla="*/ 48133 h 61233"/>
                          <a:gd name="connsiteX7" fmla="*/ 125031 w 138132"/>
                          <a:gd name="connsiteY7" fmla="*/ 33294 h 61233"/>
                          <a:gd name="connsiteX8" fmla="*/ 125031 w 138132"/>
                          <a:gd name="connsiteY8" fmla="*/ 6551 h 61233"/>
                          <a:gd name="connsiteX9" fmla="*/ 131581 w 138132"/>
                          <a:gd name="connsiteY9" fmla="*/ 0 h 61233"/>
                          <a:gd name="connsiteX10" fmla="*/ 138132 w 138132"/>
                          <a:gd name="connsiteY10" fmla="*/ 6551 h 61233"/>
                          <a:gd name="connsiteX11" fmla="*/ 138132 w 138132"/>
                          <a:gd name="connsiteY11" fmla="*/ 33294 h 61233"/>
                          <a:gd name="connsiteX12" fmla="*/ 69094 w 138132"/>
                          <a:gd name="connsiteY12" fmla="*/ 61234 h 6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8132" h="61233">
                            <a:moveTo>
                              <a:pt x="69094" y="61234"/>
                            </a:moveTo>
                            <a:cubicBezTo>
                              <a:pt x="35829" y="61234"/>
                              <a:pt x="0" y="52490"/>
                              <a:pt x="0" y="33294"/>
                            </a:cubicBezTo>
                            <a:lnTo>
                              <a:pt x="0" y="6551"/>
                            </a:lnTo>
                            <a:cubicBezTo>
                              <a:pt x="0" y="2934"/>
                              <a:pt x="2934" y="0"/>
                              <a:pt x="6551" y="0"/>
                            </a:cubicBezTo>
                            <a:cubicBezTo>
                              <a:pt x="10168" y="0"/>
                              <a:pt x="13101" y="2934"/>
                              <a:pt x="13101" y="6551"/>
                            </a:cubicBezTo>
                            <a:lnTo>
                              <a:pt x="13101" y="33294"/>
                            </a:lnTo>
                            <a:cubicBezTo>
                              <a:pt x="13101" y="37595"/>
                              <a:pt x="32725" y="48133"/>
                              <a:pt x="69066" y="48133"/>
                            </a:cubicBezTo>
                            <a:cubicBezTo>
                              <a:pt x="105436" y="48133"/>
                              <a:pt x="125031" y="37623"/>
                              <a:pt x="125031" y="33294"/>
                            </a:cubicBezTo>
                            <a:lnTo>
                              <a:pt x="125031" y="6551"/>
                            </a:lnTo>
                            <a:cubicBezTo>
                              <a:pt x="125031" y="2934"/>
                              <a:pt x="127964" y="0"/>
                              <a:pt x="131581" y="0"/>
                            </a:cubicBezTo>
                            <a:cubicBezTo>
                              <a:pt x="135198" y="0"/>
                              <a:pt x="138132" y="2934"/>
                              <a:pt x="138132" y="6551"/>
                            </a:cubicBezTo>
                            <a:lnTo>
                              <a:pt x="138132" y="33294"/>
                            </a:lnTo>
                            <a:cubicBezTo>
                              <a:pt x="138189" y="52490"/>
                              <a:pt x="102389" y="61234"/>
                              <a:pt x="69094" y="61234"/>
                            </a:cubicBezTo>
                            <a:close/>
                          </a:path>
                        </a:pathLst>
                      </a:custGeom>
                      <a:solidFill>
                        <a:schemeClr val="accent1"/>
                      </a:solidFill>
                      <a:ln w="2840" cap="flat">
                        <a:noFill/>
                        <a:prstDash val="solid"/>
                        <a:miter/>
                      </a:ln>
                    </p:spPr>
                    <p:txBody>
                      <a:bodyPr rtlCol="0" anchor="ctr"/>
                      <a:lstStyle/>
                      <a:p>
                        <a:endParaRPr lang="en-GB" dirty="0"/>
                      </a:p>
                    </p:txBody>
                  </p:sp>
                </p:grpSp>
              </p:grpSp>
            </p:grpSp>
          </p:grpSp>
        </p:grpSp>
      </p:grpSp>
      <p:grpSp>
        <p:nvGrpSpPr>
          <p:cNvPr id="590" name="Group 589">
            <a:extLst>
              <a:ext uri="{FF2B5EF4-FFF2-40B4-BE49-F238E27FC236}">
                <a16:creationId xmlns:a16="http://schemas.microsoft.com/office/drawing/2014/main" id="{FFE892F0-63E2-C0C3-8717-BE98A79156BB}"/>
              </a:ext>
            </a:extLst>
          </p:cNvPr>
          <p:cNvGrpSpPr/>
          <p:nvPr/>
        </p:nvGrpSpPr>
        <p:grpSpPr>
          <a:xfrm>
            <a:off x="7100929" y="3197068"/>
            <a:ext cx="397211" cy="432000"/>
            <a:chOff x="7100517" y="3197068"/>
            <a:chExt cx="397211" cy="432000"/>
          </a:xfrm>
        </p:grpSpPr>
        <p:grpSp>
          <p:nvGrpSpPr>
            <p:cNvPr id="670" name="Grafik 206">
              <a:extLst>
                <a:ext uri="{FF2B5EF4-FFF2-40B4-BE49-F238E27FC236}">
                  <a16:creationId xmlns:a16="http://schemas.microsoft.com/office/drawing/2014/main" id="{5DB72A94-E44B-4D84-89E1-B8D2B3A69510}"/>
                </a:ext>
              </a:extLst>
            </p:cNvPr>
            <p:cNvGrpSpPr/>
            <p:nvPr/>
          </p:nvGrpSpPr>
          <p:grpSpPr>
            <a:xfrm>
              <a:off x="7186400" y="3197068"/>
              <a:ext cx="227970" cy="256280"/>
              <a:chOff x="1036144" y="4094079"/>
              <a:chExt cx="233484" cy="262479"/>
            </a:xfrm>
            <a:solidFill>
              <a:schemeClr val="accent1"/>
            </a:solidFill>
          </p:grpSpPr>
          <p:grpSp>
            <p:nvGrpSpPr>
              <p:cNvPr id="679" name="Grafik 206">
                <a:extLst>
                  <a:ext uri="{FF2B5EF4-FFF2-40B4-BE49-F238E27FC236}">
                    <a16:creationId xmlns:a16="http://schemas.microsoft.com/office/drawing/2014/main" id="{6EB59F38-B45C-4143-98F0-E75DF0F155F2}"/>
                  </a:ext>
                </a:extLst>
              </p:cNvPr>
              <p:cNvGrpSpPr/>
              <p:nvPr/>
            </p:nvGrpSpPr>
            <p:grpSpPr>
              <a:xfrm>
                <a:off x="1082400" y="4278629"/>
                <a:ext cx="142595" cy="77815"/>
                <a:chOff x="1082400" y="4278629"/>
                <a:chExt cx="142595" cy="77815"/>
              </a:xfrm>
              <a:solidFill>
                <a:schemeClr val="accent1"/>
              </a:solidFill>
            </p:grpSpPr>
            <p:sp>
              <p:nvSpPr>
                <p:cNvPr id="684" name="Freihandform: Form 550">
                  <a:extLst>
                    <a:ext uri="{FF2B5EF4-FFF2-40B4-BE49-F238E27FC236}">
                      <a16:creationId xmlns:a16="http://schemas.microsoft.com/office/drawing/2014/main" id="{FBBA2B02-B8FD-4556-8CCF-6802BCC3EA2A}"/>
                    </a:ext>
                  </a:extLst>
                </p:cNvPr>
                <p:cNvSpPr/>
                <p:nvPr/>
              </p:nvSpPr>
              <p:spPr>
                <a:xfrm>
                  <a:off x="1146268" y="4278629"/>
                  <a:ext cx="78727" cy="77815"/>
                </a:xfrm>
                <a:custGeom>
                  <a:avLst/>
                  <a:gdLst>
                    <a:gd name="connsiteX0" fmla="*/ 6551 w 78727"/>
                    <a:gd name="connsiteY0" fmla="*/ 77816 h 77815"/>
                    <a:gd name="connsiteX1" fmla="*/ 0 w 78727"/>
                    <a:gd name="connsiteY1" fmla="*/ 71265 h 77815"/>
                    <a:gd name="connsiteX2" fmla="*/ 0 w 78727"/>
                    <a:gd name="connsiteY2" fmla="*/ 48708 h 77815"/>
                    <a:gd name="connsiteX3" fmla="*/ 17829 w 78727"/>
                    <a:gd name="connsiteY3" fmla="*/ 30879 h 77815"/>
                    <a:gd name="connsiteX4" fmla="*/ 63170 w 78727"/>
                    <a:gd name="connsiteY4" fmla="*/ 30879 h 77815"/>
                    <a:gd name="connsiteX5" fmla="*/ 55965 w 78727"/>
                    <a:gd name="connsiteY5" fmla="*/ 8579 h 77815"/>
                    <a:gd name="connsiteX6" fmla="*/ 60180 w 78727"/>
                    <a:gd name="connsiteY6" fmla="*/ 319 h 77815"/>
                    <a:gd name="connsiteX7" fmla="*/ 68439 w 78727"/>
                    <a:gd name="connsiteY7" fmla="*/ 4534 h 77815"/>
                    <a:gd name="connsiteX8" fmla="*/ 78408 w 78727"/>
                    <a:gd name="connsiteY8" fmla="*/ 35436 h 77815"/>
                    <a:gd name="connsiteX9" fmla="*/ 77468 w 78727"/>
                    <a:gd name="connsiteY9" fmla="*/ 41332 h 77815"/>
                    <a:gd name="connsiteX10" fmla="*/ 72170 w 78727"/>
                    <a:gd name="connsiteY10" fmla="*/ 44037 h 77815"/>
                    <a:gd name="connsiteX11" fmla="*/ 17829 w 78727"/>
                    <a:gd name="connsiteY11" fmla="*/ 44037 h 77815"/>
                    <a:gd name="connsiteX12" fmla="*/ 13130 w 78727"/>
                    <a:gd name="connsiteY12" fmla="*/ 48737 h 77815"/>
                    <a:gd name="connsiteX13" fmla="*/ 13130 w 78727"/>
                    <a:gd name="connsiteY13" fmla="*/ 71293 h 77815"/>
                    <a:gd name="connsiteX14" fmla="*/ 6551 w 78727"/>
                    <a:gd name="connsiteY14" fmla="*/ 77816 h 77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727" h="77815">
                      <a:moveTo>
                        <a:pt x="6551" y="77816"/>
                      </a:moveTo>
                      <a:cubicBezTo>
                        <a:pt x="2934" y="77816"/>
                        <a:pt x="0" y="74882"/>
                        <a:pt x="0" y="71265"/>
                      </a:cubicBezTo>
                      <a:lnTo>
                        <a:pt x="0" y="48708"/>
                      </a:lnTo>
                      <a:cubicBezTo>
                        <a:pt x="0" y="38882"/>
                        <a:pt x="8003" y="30879"/>
                        <a:pt x="17829" y="30879"/>
                      </a:cubicBezTo>
                      <a:lnTo>
                        <a:pt x="63170" y="30879"/>
                      </a:lnTo>
                      <a:lnTo>
                        <a:pt x="55965" y="8579"/>
                      </a:lnTo>
                      <a:cubicBezTo>
                        <a:pt x="54854" y="5132"/>
                        <a:pt x="56734" y="1430"/>
                        <a:pt x="60180" y="319"/>
                      </a:cubicBezTo>
                      <a:cubicBezTo>
                        <a:pt x="63655" y="-791"/>
                        <a:pt x="67329" y="1088"/>
                        <a:pt x="68439" y="4534"/>
                      </a:cubicBezTo>
                      <a:lnTo>
                        <a:pt x="78408" y="35436"/>
                      </a:lnTo>
                      <a:cubicBezTo>
                        <a:pt x="79063" y="37430"/>
                        <a:pt x="78692" y="39623"/>
                        <a:pt x="77468" y="41332"/>
                      </a:cubicBezTo>
                      <a:cubicBezTo>
                        <a:pt x="76243" y="43012"/>
                        <a:pt x="74249" y="44037"/>
                        <a:pt x="72170" y="44037"/>
                      </a:cubicBezTo>
                      <a:lnTo>
                        <a:pt x="17829" y="44037"/>
                      </a:lnTo>
                      <a:cubicBezTo>
                        <a:pt x="15237" y="44037"/>
                        <a:pt x="13130" y="46145"/>
                        <a:pt x="13130" y="48737"/>
                      </a:cubicBezTo>
                      <a:lnTo>
                        <a:pt x="13130" y="71293"/>
                      </a:lnTo>
                      <a:cubicBezTo>
                        <a:pt x="13101" y="74882"/>
                        <a:pt x="10168" y="77816"/>
                        <a:pt x="6551" y="77816"/>
                      </a:cubicBezTo>
                      <a:close/>
                    </a:path>
                  </a:pathLst>
                </a:custGeom>
                <a:solidFill>
                  <a:schemeClr val="accent1"/>
                </a:solidFill>
                <a:ln w="2840" cap="flat">
                  <a:noFill/>
                  <a:prstDash val="solid"/>
                  <a:miter/>
                </a:ln>
              </p:spPr>
              <p:txBody>
                <a:bodyPr rtlCol="0" anchor="ctr"/>
                <a:lstStyle/>
                <a:p>
                  <a:endParaRPr lang="en-GB" dirty="0"/>
                </a:p>
              </p:txBody>
            </p:sp>
            <p:sp>
              <p:nvSpPr>
                <p:cNvPr id="685" name="Freihandform: Form 551">
                  <a:extLst>
                    <a:ext uri="{FF2B5EF4-FFF2-40B4-BE49-F238E27FC236}">
                      <a16:creationId xmlns:a16="http://schemas.microsoft.com/office/drawing/2014/main" id="{0DA9FA02-9222-4DE5-82C3-337EB2A8B8AA}"/>
                    </a:ext>
                  </a:extLst>
                </p:cNvPr>
                <p:cNvSpPr/>
                <p:nvPr/>
              </p:nvSpPr>
              <p:spPr>
                <a:xfrm>
                  <a:off x="1082400" y="4278903"/>
                  <a:ext cx="76940" cy="77541"/>
                </a:xfrm>
                <a:custGeom>
                  <a:avLst/>
                  <a:gdLst>
                    <a:gd name="connsiteX0" fmla="*/ 70418 w 76940"/>
                    <a:gd name="connsiteY0" fmla="*/ 77541 h 77541"/>
                    <a:gd name="connsiteX1" fmla="*/ 63868 w 76940"/>
                    <a:gd name="connsiteY1" fmla="*/ 70991 h 77541"/>
                    <a:gd name="connsiteX2" fmla="*/ 63868 w 76940"/>
                    <a:gd name="connsiteY2" fmla="*/ 48434 h 77541"/>
                    <a:gd name="connsiteX3" fmla="*/ 59169 w 76940"/>
                    <a:gd name="connsiteY3" fmla="*/ 43735 h 77541"/>
                    <a:gd name="connsiteX4" fmla="*/ 6564 w 76940"/>
                    <a:gd name="connsiteY4" fmla="*/ 43735 h 77541"/>
                    <a:gd name="connsiteX5" fmla="*/ 1324 w 76940"/>
                    <a:gd name="connsiteY5" fmla="*/ 41114 h 77541"/>
                    <a:gd name="connsiteX6" fmla="*/ 242 w 76940"/>
                    <a:gd name="connsiteY6" fmla="*/ 35361 h 77541"/>
                    <a:gd name="connsiteX7" fmla="*/ 8985 w 76940"/>
                    <a:gd name="connsiteY7" fmla="*/ 4744 h 77541"/>
                    <a:gd name="connsiteX8" fmla="*/ 17102 w 76940"/>
                    <a:gd name="connsiteY8" fmla="*/ 244 h 77541"/>
                    <a:gd name="connsiteX9" fmla="*/ 21602 w 76940"/>
                    <a:gd name="connsiteY9" fmla="*/ 8361 h 77541"/>
                    <a:gd name="connsiteX10" fmla="*/ 15251 w 76940"/>
                    <a:gd name="connsiteY10" fmla="*/ 30605 h 77541"/>
                    <a:gd name="connsiteX11" fmla="*/ 59112 w 76940"/>
                    <a:gd name="connsiteY11" fmla="*/ 30605 h 77541"/>
                    <a:gd name="connsiteX12" fmla="*/ 76941 w 76940"/>
                    <a:gd name="connsiteY12" fmla="*/ 48434 h 77541"/>
                    <a:gd name="connsiteX13" fmla="*/ 76941 w 76940"/>
                    <a:gd name="connsiteY13" fmla="*/ 70991 h 77541"/>
                    <a:gd name="connsiteX14" fmla="*/ 70418 w 76940"/>
                    <a:gd name="connsiteY14" fmla="*/ 77541 h 77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940" h="77541">
                      <a:moveTo>
                        <a:pt x="70418" y="77541"/>
                      </a:moveTo>
                      <a:cubicBezTo>
                        <a:pt x="66801" y="77541"/>
                        <a:pt x="63868" y="74608"/>
                        <a:pt x="63868" y="70991"/>
                      </a:cubicBezTo>
                      <a:lnTo>
                        <a:pt x="63868" y="48434"/>
                      </a:lnTo>
                      <a:cubicBezTo>
                        <a:pt x="63868" y="45842"/>
                        <a:pt x="61760" y="43735"/>
                        <a:pt x="59169" y="43735"/>
                      </a:cubicBezTo>
                      <a:lnTo>
                        <a:pt x="6564" y="43735"/>
                      </a:lnTo>
                      <a:cubicBezTo>
                        <a:pt x="4514" y="43735"/>
                        <a:pt x="2577" y="42766"/>
                        <a:pt x="1324" y="41114"/>
                      </a:cubicBezTo>
                      <a:cubicBezTo>
                        <a:pt x="71" y="39462"/>
                        <a:pt x="-299" y="37326"/>
                        <a:pt x="242" y="35361"/>
                      </a:cubicBezTo>
                      <a:lnTo>
                        <a:pt x="8985" y="4744"/>
                      </a:lnTo>
                      <a:cubicBezTo>
                        <a:pt x="9982" y="1270"/>
                        <a:pt x="13628" y="-724"/>
                        <a:pt x="17102" y="244"/>
                      </a:cubicBezTo>
                      <a:cubicBezTo>
                        <a:pt x="20577" y="1241"/>
                        <a:pt x="22599" y="4887"/>
                        <a:pt x="21602" y="8361"/>
                      </a:cubicBezTo>
                      <a:lnTo>
                        <a:pt x="15251" y="30605"/>
                      </a:lnTo>
                      <a:lnTo>
                        <a:pt x="59112" y="30605"/>
                      </a:lnTo>
                      <a:cubicBezTo>
                        <a:pt x="68937" y="30605"/>
                        <a:pt x="76941" y="38608"/>
                        <a:pt x="76941" y="48434"/>
                      </a:cubicBezTo>
                      <a:lnTo>
                        <a:pt x="76941" y="70991"/>
                      </a:lnTo>
                      <a:cubicBezTo>
                        <a:pt x="76969" y="74608"/>
                        <a:pt x="74036" y="77541"/>
                        <a:pt x="70418" y="77541"/>
                      </a:cubicBezTo>
                      <a:close/>
                    </a:path>
                  </a:pathLst>
                </a:custGeom>
                <a:solidFill>
                  <a:schemeClr val="accent1"/>
                </a:solidFill>
                <a:ln w="2840" cap="flat">
                  <a:noFill/>
                  <a:prstDash val="solid"/>
                  <a:miter/>
                </a:ln>
              </p:spPr>
              <p:txBody>
                <a:bodyPr rtlCol="0" anchor="ctr"/>
                <a:lstStyle/>
                <a:p>
                  <a:endParaRPr lang="en-GB" dirty="0"/>
                </a:p>
              </p:txBody>
            </p:sp>
          </p:grpSp>
          <p:sp>
            <p:nvSpPr>
              <p:cNvPr id="680" name="Freihandform: Form 552">
                <a:extLst>
                  <a:ext uri="{FF2B5EF4-FFF2-40B4-BE49-F238E27FC236}">
                    <a16:creationId xmlns:a16="http://schemas.microsoft.com/office/drawing/2014/main" id="{7CA7A089-75AA-474C-AA27-320C2DA04D09}"/>
                  </a:ext>
                </a:extLst>
              </p:cNvPr>
              <p:cNvSpPr/>
              <p:nvPr/>
            </p:nvSpPr>
            <p:spPr>
              <a:xfrm>
                <a:off x="1139803" y="4212218"/>
                <a:ext cx="26230" cy="13101"/>
              </a:xfrm>
              <a:custGeom>
                <a:avLst/>
                <a:gdLst>
                  <a:gd name="connsiteX0" fmla="*/ 19680 w 26230"/>
                  <a:gd name="connsiteY0" fmla="*/ 13101 h 13101"/>
                  <a:gd name="connsiteX1" fmla="*/ 6551 w 26230"/>
                  <a:gd name="connsiteY1" fmla="*/ 13101 h 13101"/>
                  <a:gd name="connsiteX2" fmla="*/ 0 w 26230"/>
                  <a:gd name="connsiteY2" fmla="*/ 6551 h 13101"/>
                  <a:gd name="connsiteX3" fmla="*/ 6551 w 26230"/>
                  <a:gd name="connsiteY3" fmla="*/ 0 h 13101"/>
                  <a:gd name="connsiteX4" fmla="*/ 19680 w 26230"/>
                  <a:gd name="connsiteY4" fmla="*/ 0 h 13101"/>
                  <a:gd name="connsiteX5" fmla="*/ 26231 w 26230"/>
                  <a:gd name="connsiteY5" fmla="*/ 6551 h 13101"/>
                  <a:gd name="connsiteX6" fmla="*/ 19680 w 26230"/>
                  <a:gd name="connsiteY6" fmla="*/ 13101 h 1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30" h="13101">
                    <a:moveTo>
                      <a:pt x="19680" y="13101"/>
                    </a:moveTo>
                    <a:lnTo>
                      <a:pt x="6551" y="13101"/>
                    </a:lnTo>
                    <a:cubicBezTo>
                      <a:pt x="2934" y="13101"/>
                      <a:pt x="0" y="10168"/>
                      <a:pt x="0" y="6551"/>
                    </a:cubicBezTo>
                    <a:cubicBezTo>
                      <a:pt x="0" y="2934"/>
                      <a:pt x="2934" y="0"/>
                      <a:pt x="6551" y="0"/>
                    </a:cubicBezTo>
                    <a:lnTo>
                      <a:pt x="19680" y="0"/>
                    </a:lnTo>
                    <a:cubicBezTo>
                      <a:pt x="23297" y="0"/>
                      <a:pt x="26231" y="2934"/>
                      <a:pt x="26231" y="6551"/>
                    </a:cubicBezTo>
                    <a:cubicBezTo>
                      <a:pt x="26231" y="10168"/>
                      <a:pt x="23297" y="13101"/>
                      <a:pt x="19680" y="13101"/>
                    </a:cubicBezTo>
                    <a:close/>
                  </a:path>
                </a:pathLst>
              </a:custGeom>
              <a:solidFill>
                <a:schemeClr val="accent1"/>
              </a:solidFill>
              <a:ln w="2840" cap="flat">
                <a:noFill/>
                <a:prstDash val="solid"/>
                <a:miter/>
              </a:ln>
            </p:spPr>
            <p:txBody>
              <a:bodyPr rtlCol="0" anchor="ctr"/>
              <a:lstStyle/>
              <a:p>
                <a:endParaRPr lang="en-GB" dirty="0"/>
              </a:p>
            </p:txBody>
          </p:sp>
          <p:sp>
            <p:nvSpPr>
              <p:cNvPr id="681" name="Freihandform: Form 553">
                <a:extLst>
                  <a:ext uri="{FF2B5EF4-FFF2-40B4-BE49-F238E27FC236}">
                    <a16:creationId xmlns:a16="http://schemas.microsoft.com/office/drawing/2014/main" id="{0D3CE045-E117-4149-8190-2211054F1034}"/>
                  </a:ext>
                </a:extLst>
              </p:cNvPr>
              <p:cNvSpPr/>
              <p:nvPr/>
            </p:nvSpPr>
            <p:spPr>
              <a:xfrm>
                <a:off x="1106965" y="4094079"/>
                <a:ext cx="91879" cy="104980"/>
              </a:xfrm>
              <a:custGeom>
                <a:avLst/>
                <a:gdLst>
                  <a:gd name="connsiteX0" fmla="*/ 45940 w 91879"/>
                  <a:gd name="connsiteY0" fmla="*/ 104980 h 104980"/>
                  <a:gd name="connsiteX1" fmla="*/ 0 w 91879"/>
                  <a:gd name="connsiteY1" fmla="*/ 52490 h 104980"/>
                  <a:gd name="connsiteX2" fmla="*/ 45940 w 91879"/>
                  <a:gd name="connsiteY2" fmla="*/ 0 h 104980"/>
                  <a:gd name="connsiteX3" fmla="*/ 91879 w 91879"/>
                  <a:gd name="connsiteY3" fmla="*/ 52490 h 104980"/>
                  <a:gd name="connsiteX4" fmla="*/ 45940 w 91879"/>
                  <a:gd name="connsiteY4" fmla="*/ 104980 h 104980"/>
                  <a:gd name="connsiteX5" fmla="*/ 45940 w 91879"/>
                  <a:gd name="connsiteY5" fmla="*/ 13130 h 104980"/>
                  <a:gd name="connsiteX6" fmla="*/ 13130 w 91879"/>
                  <a:gd name="connsiteY6" fmla="*/ 52490 h 104980"/>
                  <a:gd name="connsiteX7" fmla="*/ 45940 w 91879"/>
                  <a:gd name="connsiteY7" fmla="*/ 91851 h 104980"/>
                  <a:gd name="connsiteX8" fmla="*/ 78749 w 91879"/>
                  <a:gd name="connsiteY8" fmla="*/ 52490 h 104980"/>
                  <a:gd name="connsiteX9" fmla="*/ 45940 w 91879"/>
                  <a:gd name="connsiteY9" fmla="*/ 13130 h 10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79" h="104980">
                    <a:moveTo>
                      <a:pt x="45940" y="104980"/>
                    </a:moveTo>
                    <a:cubicBezTo>
                      <a:pt x="18456" y="104980"/>
                      <a:pt x="0" y="83876"/>
                      <a:pt x="0" y="52490"/>
                    </a:cubicBezTo>
                    <a:cubicBezTo>
                      <a:pt x="0" y="21104"/>
                      <a:pt x="18456" y="0"/>
                      <a:pt x="45940" y="0"/>
                    </a:cubicBezTo>
                    <a:cubicBezTo>
                      <a:pt x="73424" y="0"/>
                      <a:pt x="91879" y="21104"/>
                      <a:pt x="91879" y="52490"/>
                    </a:cubicBezTo>
                    <a:cubicBezTo>
                      <a:pt x="91879" y="83876"/>
                      <a:pt x="73424" y="104980"/>
                      <a:pt x="45940" y="104980"/>
                    </a:cubicBezTo>
                    <a:close/>
                    <a:moveTo>
                      <a:pt x="45940" y="13130"/>
                    </a:moveTo>
                    <a:cubicBezTo>
                      <a:pt x="21731" y="13130"/>
                      <a:pt x="13130" y="34348"/>
                      <a:pt x="13130" y="52490"/>
                    </a:cubicBezTo>
                    <a:cubicBezTo>
                      <a:pt x="13130" y="70661"/>
                      <a:pt x="21731" y="91851"/>
                      <a:pt x="45940" y="91851"/>
                    </a:cubicBezTo>
                    <a:cubicBezTo>
                      <a:pt x="70148" y="91851"/>
                      <a:pt x="78749" y="70632"/>
                      <a:pt x="78749" y="52490"/>
                    </a:cubicBezTo>
                    <a:cubicBezTo>
                      <a:pt x="78749" y="34319"/>
                      <a:pt x="70177" y="13130"/>
                      <a:pt x="45940" y="13130"/>
                    </a:cubicBezTo>
                    <a:close/>
                  </a:path>
                </a:pathLst>
              </a:custGeom>
              <a:solidFill>
                <a:schemeClr val="accent1"/>
              </a:solidFill>
              <a:ln w="2840" cap="flat">
                <a:noFill/>
                <a:prstDash val="solid"/>
                <a:miter/>
              </a:ln>
            </p:spPr>
            <p:txBody>
              <a:bodyPr rtlCol="0" anchor="ctr"/>
              <a:lstStyle/>
              <a:p>
                <a:endParaRPr lang="en-GB" dirty="0"/>
              </a:p>
            </p:txBody>
          </p:sp>
          <p:sp>
            <p:nvSpPr>
              <p:cNvPr id="682" name="Freihandform: Form 554">
                <a:extLst>
                  <a:ext uri="{FF2B5EF4-FFF2-40B4-BE49-F238E27FC236}">
                    <a16:creationId xmlns:a16="http://schemas.microsoft.com/office/drawing/2014/main" id="{A97B9728-A77A-4D52-9428-554693890D82}"/>
                  </a:ext>
                </a:extLst>
              </p:cNvPr>
              <p:cNvSpPr/>
              <p:nvPr/>
            </p:nvSpPr>
            <p:spPr>
              <a:xfrm>
                <a:off x="1146354" y="4212218"/>
                <a:ext cx="13101" cy="65591"/>
              </a:xfrm>
              <a:custGeom>
                <a:avLst/>
                <a:gdLst>
                  <a:gd name="connsiteX0" fmla="*/ 6551 w 13101"/>
                  <a:gd name="connsiteY0" fmla="*/ 65591 h 65591"/>
                  <a:gd name="connsiteX1" fmla="*/ 0 w 13101"/>
                  <a:gd name="connsiteY1" fmla="*/ 59041 h 65591"/>
                  <a:gd name="connsiteX2" fmla="*/ 0 w 13101"/>
                  <a:gd name="connsiteY2" fmla="*/ 6551 h 65591"/>
                  <a:gd name="connsiteX3" fmla="*/ 6551 w 13101"/>
                  <a:gd name="connsiteY3" fmla="*/ 0 h 65591"/>
                  <a:gd name="connsiteX4" fmla="*/ 13101 w 13101"/>
                  <a:gd name="connsiteY4" fmla="*/ 6551 h 65591"/>
                  <a:gd name="connsiteX5" fmla="*/ 13101 w 13101"/>
                  <a:gd name="connsiteY5" fmla="*/ 59041 h 65591"/>
                  <a:gd name="connsiteX6" fmla="*/ 6551 w 13101"/>
                  <a:gd name="connsiteY6" fmla="*/ 65591 h 6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01" h="65591">
                    <a:moveTo>
                      <a:pt x="6551" y="65591"/>
                    </a:moveTo>
                    <a:cubicBezTo>
                      <a:pt x="2934" y="65591"/>
                      <a:pt x="0" y="62658"/>
                      <a:pt x="0" y="59041"/>
                    </a:cubicBezTo>
                    <a:lnTo>
                      <a:pt x="0" y="6551"/>
                    </a:lnTo>
                    <a:cubicBezTo>
                      <a:pt x="0" y="2934"/>
                      <a:pt x="2934" y="0"/>
                      <a:pt x="6551" y="0"/>
                    </a:cubicBezTo>
                    <a:cubicBezTo>
                      <a:pt x="10168" y="0"/>
                      <a:pt x="13101" y="2934"/>
                      <a:pt x="13101" y="6551"/>
                    </a:cubicBezTo>
                    <a:lnTo>
                      <a:pt x="13101" y="59041"/>
                    </a:lnTo>
                    <a:cubicBezTo>
                      <a:pt x="13130" y="62658"/>
                      <a:pt x="10196" y="65591"/>
                      <a:pt x="6551" y="65591"/>
                    </a:cubicBezTo>
                    <a:close/>
                  </a:path>
                </a:pathLst>
              </a:custGeom>
              <a:solidFill>
                <a:schemeClr val="accent1"/>
              </a:solidFill>
              <a:ln w="2840" cap="flat">
                <a:noFill/>
                <a:prstDash val="solid"/>
                <a:miter/>
              </a:ln>
            </p:spPr>
            <p:txBody>
              <a:bodyPr rtlCol="0" anchor="ctr"/>
              <a:lstStyle/>
              <a:p>
                <a:endParaRPr lang="en-GB" dirty="0"/>
              </a:p>
            </p:txBody>
          </p:sp>
          <p:sp>
            <p:nvSpPr>
              <p:cNvPr id="683" name="Freihandform: Form 555">
                <a:extLst>
                  <a:ext uri="{FF2B5EF4-FFF2-40B4-BE49-F238E27FC236}">
                    <a16:creationId xmlns:a16="http://schemas.microsoft.com/office/drawing/2014/main" id="{E11F76FB-8050-4BF9-9AEE-E03D4418A7A9}"/>
                  </a:ext>
                </a:extLst>
              </p:cNvPr>
              <p:cNvSpPr/>
              <p:nvPr/>
            </p:nvSpPr>
            <p:spPr>
              <a:xfrm>
                <a:off x="1036144" y="4212161"/>
                <a:ext cx="233484" cy="144397"/>
              </a:xfrm>
              <a:custGeom>
                <a:avLst/>
                <a:gdLst>
                  <a:gd name="connsiteX0" fmla="*/ 208639 w 233484"/>
                  <a:gd name="connsiteY0" fmla="*/ 144398 h 144397"/>
                  <a:gd name="connsiteX1" fmla="*/ 141424 w 233484"/>
                  <a:gd name="connsiteY1" fmla="*/ 144398 h 144397"/>
                  <a:gd name="connsiteX2" fmla="*/ 134874 w 233484"/>
                  <a:gd name="connsiteY2" fmla="*/ 137847 h 144397"/>
                  <a:gd name="connsiteX3" fmla="*/ 141424 w 233484"/>
                  <a:gd name="connsiteY3" fmla="*/ 131297 h 144397"/>
                  <a:gd name="connsiteX4" fmla="*/ 208639 w 233484"/>
                  <a:gd name="connsiteY4" fmla="*/ 131297 h 144397"/>
                  <a:gd name="connsiteX5" fmla="*/ 217952 w 233484"/>
                  <a:gd name="connsiteY5" fmla="*/ 127423 h 144397"/>
                  <a:gd name="connsiteX6" fmla="*/ 218778 w 233484"/>
                  <a:gd name="connsiteY6" fmla="*/ 109082 h 144397"/>
                  <a:gd name="connsiteX7" fmla="*/ 198500 w 233484"/>
                  <a:gd name="connsiteY7" fmla="*/ 46224 h 144397"/>
                  <a:gd name="connsiteX8" fmla="*/ 160820 w 233484"/>
                  <a:gd name="connsiteY8" fmla="*/ 13130 h 144397"/>
                  <a:gd name="connsiteX9" fmla="*/ 159823 w 233484"/>
                  <a:gd name="connsiteY9" fmla="*/ 13130 h 144397"/>
                  <a:gd name="connsiteX10" fmla="*/ 128152 w 233484"/>
                  <a:gd name="connsiteY10" fmla="*/ 64879 h 144397"/>
                  <a:gd name="connsiteX11" fmla="*/ 116788 w 233484"/>
                  <a:gd name="connsiteY11" fmla="*/ 71458 h 144397"/>
                  <a:gd name="connsiteX12" fmla="*/ 105225 w 233484"/>
                  <a:gd name="connsiteY12" fmla="*/ 64566 h 144397"/>
                  <a:gd name="connsiteX13" fmla="*/ 73725 w 233484"/>
                  <a:gd name="connsiteY13" fmla="*/ 13130 h 144397"/>
                  <a:gd name="connsiteX14" fmla="*/ 72700 w 233484"/>
                  <a:gd name="connsiteY14" fmla="*/ 13130 h 144397"/>
                  <a:gd name="connsiteX15" fmla="*/ 34963 w 233484"/>
                  <a:gd name="connsiteY15" fmla="*/ 46395 h 144397"/>
                  <a:gd name="connsiteX16" fmla="*/ 14713 w 233484"/>
                  <a:gd name="connsiteY16" fmla="*/ 109053 h 144397"/>
                  <a:gd name="connsiteX17" fmla="*/ 15539 w 233484"/>
                  <a:gd name="connsiteY17" fmla="*/ 127366 h 144397"/>
                  <a:gd name="connsiteX18" fmla="*/ 24852 w 233484"/>
                  <a:gd name="connsiteY18" fmla="*/ 131239 h 144397"/>
                  <a:gd name="connsiteX19" fmla="*/ 92067 w 233484"/>
                  <a:gd name="connsiteY19" fmla="*/ 131239 h 144397"/>
                  <a:gd name="connsiteX20" fmla="*/ 98618 w 233484"/>
                  <a:gd name="connsiteY20" fmla="*/ 137790 h 144397"/>
                  <a:gd name="connsiteX21" fmla="*/ 92067 w 233484"/>
                  <a:gd name="connsiteY21" fmla="*/ 144341 h 144397"/>
                  <a:gd name="connsiteX22" fmla="*/ 24852 w 233484"/>
                  <a:gd name="connsiteY22" fmla="*/ 144341 h 144397"/>
                  <a:gd name="connsiteX23" fmla="*/ 4944 w 233484"/>
                  <a:gd name="connsiteY23" fmla="*/ 135113 h 144397"/>
                  <a:gd name="connsiteX24" fmla="*/ 2182 w 233484"/>
                  <a:gd name="connsiteY24" fmla="*/ 105066 h 144397"/>
                  <a:gd name="connsiteX25" fmla="*/ 22488 w 233484"/>
                  <a:gd name="connsiteY25" fmla="*/ 42180 h 144397"/>
                  <a:gd name="connsiteX26" fmla="*/ 72643 w 233484"/>
                  <a:gd name="connsiteY26" fmla="*/ 0 h 144397"/>
                  <a:gd name="connsiteX27" fmla="*/ 77342 w 233484"/>
                  <a:gd name="connsiteY27" fmla="*/ 0 h 144397"/>
                  <a:gd name="connsiteX28" fmla="*/ 82953 w 233484"/>
                  <a:gd name="connsiteY28" fmla="*/ 3133 h 144397"/>
                  <a:gd name="connsiteX29" fmla="*/ 116560 w 233484"/>
                  <a:gd name="connsiteY29" fmla="*/ 58015 h 144397"/>
                  <a:gd name="connsiteX30" fmla="*/ 150510 w 233484"/>
                  <a:gd name="connsiteY30" fmla="*/ 3133 h 144397"/>
                  <a:gd name="connsiteX31" fmla="*/ 156120 w 233484"/>
                  <a:gd name="connsiteY31" fmla="*/ 0 h 144397"/>
                  <a:gd name="connsiteX32" fmla="*/ 160820 w 233484"/>
                  <a:gd name="connsiteY32" fmla="*/ 0 h 144397"/>
                  <a:gd name="connsiteX33" fmla="*/ 210917 w 233484"/>
                  <a:gd name="connsiteY33" fmla="*/ 41981 h 144397"/>
                  <a:gd name="connsiteX34" fmla="*/ 231281 w 233484"/>
                  <a:gd name="connsiteY34" fmla="*/ 105009 h 144397"/>
                  <a:gd name="connsiteX35" fmla="*/ 228547 w 233484"/>
                  <a:gd name="connsiteY35" fmla="*/ 135113 h 144397"/>
                  <a:gd name="connsiteX36" fmla="*/ 208639 w 233484"/>
                  <a:gd name="connsiteY36" fmla="*/ 144398 h 14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33484" h="144397">
                    <a:moveTo>
                      <a:pt x="208639" y="144398"/>
                    </a:moveTo>
                    <a:lnTo>
                      <a:pt x="141424" y="144398"/>
                    </a:lnTo>
                    <a:cubicBezTo>
                      <a:pt x="137807" y="144398"/>
                      <a:pt x="134874" y="141464"/>
                      <a:pt x="134874" y="137847"/>
                    </a:cubicBezTo>
                    <a:cubicBezTo>
                      <a:pt x="134874" y="134230"/>
                      <a:pt x="137807" y="131297"/>
                      <a:pt x="141424" y="131297"/>
                    </a:cubicBezTo>
                    <a:lnTo>
                      <a:pt x="208639" y="131297"/>
                    </a:lnTo>
                    <a:cubicBezTo>
                      <a:pt x="212997" y="131297"/>
                      <a:pt x="216044" y="130015"/>
                      <a:pt x="217952" y="127423"/>
                    </a:cubicBezTo>
                    <a:cubicBezTo>
                      <a:pt x="220800" y="123521"/>
                      <a:pt x="221114" y="116515"/>
                      <a:pt x="218778" y="109082"/>
                    </a:cubicBezTo>
                    <a:lnTo>
                      <a:pt x="198500" y="46224"/>
                    </a:lnTo>
                    <a:cubicBezTo>
                      <a:pt x="190497" y="23696"/>
                      <a:pt x="178506" y="13130"/>
                      <a:pt x="160820" y="13130"/>
                    </a:cubicBezTo>
                    <a:lnTo>
                      <a:pt x="159823" y="13130"/>
                    </a:lnTo>
                    <a:lnTo>
                      <a:pt x="128152" y="64879"/>
                    </a:lnTo>
                    <a:cubicBezTo>
                      <a:pt x="126045" y="68810"/>
                      <a:pt x="121602" y="71458"/>
                      <a:pt x="116788" y="71458"/>
                    </a:cubicBezTo>
                    <a:cubicBezTo>
                      <a:pt x="111975" y="71458"/>
                      <a:pt x="107532" y="68810"/>
                      <a:pt x="105225" y="64566"/>
                    </a:cubicBezTo>
                    <a:lnTo>
                      <a:pt x="73725" y="13130"/>
                    </a:lnTo>
                    <a:lnTo>
                      <a:pt x="72700" y="13130"/>
                    </a:lnTo>
                    <a:cubicBezTo>
                      <a:pt x="55013" y="13130"/>
                      <a:pt x="43023" y="23696"/>
                      <a:pt x="34963" y="46395"/>
                    </a:cubicBezTo>
                    <a:lnTo>
                      <a:pt x="14713" y="109053"/>
                    </a:lnTo>
                    <a:cubicBezTo>
                      <a:pt x="12378" y="116430"/>
                      <a:pt x="12691" y="123464"/>
                      <a:pt x="15539" y="127366"/>
                    </a:cubicBezTo>
                    <a:cubicBezTo>
                      <a:pt x="17447" y="129986"/>
                      <a:pt x="20495" y="131239"/>
                      <a:pt x="24852" y="131239"/>
                    </a:cubicBezTo>
                    <a:lnTo>
                      <a:pt x="92067" y="131239"/>
                    </a:lnTo>
                    <a:cubicBezTo>
                      <a:pt x="95684" y="131239"/>
                      <a:pt x="98618" y="134173"/>
                      <a:pt x="98618" y="137790"/>
                    </a:cubicBezTo>
                    <a:cubicBezTo>
                      <a:pt x="98618" y="141407"/>
                      <a:pt x="95684" y="144341"/>
                      <a:pt x="92067" y="144341"/>
                    </a:cubicBezTo>
                    <a:lnTo>
                      <a:pt x="24852" y="144341"/>
                    </a:lnTo>
                    <a:cubicBezTo>
                      <a:pt x="14001" y="144341"/>
                      <a:pt x="8020" y="139328"/>
                      <a:pt x="4944" y="135113"/>
                    </a:cubicBezTo>
                    <a:cubicBezTo>
                      <a:pt x="-496" y="127679"/>
                      <a:pt x="-1493" y="116743"/>
                      <a:pt x="2182" y="105066"/>
                    </a:cubicBezTo>
                    <a:lnTo>
                      <a:pt x="22488" y="42180"/>
                    </a:lnTo>
                    <a:cubicBezTo>
                      <a:pt x="32457" y="14126"/>
                      <a:pt x="49289" y="0"/>
                      <a:pt x="72643" y="0"/>
                    </a:cubicBezTo>
                    <a:lnTo>
                      <a:pt x="77342" y="0"/>
                    </a:lnTo>
                    <a:cubicBezTo>
                      <a:pt x="79621" y="0"/>
                      <a:pt x="81757" y="1196"/>
                      <a:pt x="82953" y="3133"/>
                    </a:cubicBezTo>
                    <a:lnTo>
                      <a:pt x="116560" y="58015"/>
                    </a:lnTo>
                    <a:lnTo>
                      <a:pt x="150510" y="3133"/>
                    </a:lnTo>
                    <a:cubicBezTo>
                      <a:pt x="151706" y="1196"/>
                      <a:pt x="153813" y="0"/>
                      <a:pt x="156120" y="0"/>
                    </a:cubicBezTo>
                    <a:lnTo>
                      <a:pt x="160820" y="0"/>
                    </a:lnTo>
                    <a:cubicBezTo>
                      <a:pt x="184174" y="0"/>
                      <a:pt x="201035" y="14126"/>
                      <a:pt x="210917" y="41981"/>
                    </a:cubicBezTo>
                    <a:lnTo>
                      <a:pt x="231281" y="105009"/>
                    </a:lnTo>
                    <a:cubicBezTo>
                      <a:pt x="234984" y="116743"/>
                      <a:pt x="233987" y="127679"/>
                      <a:pt x="228547" y="135113"/>
                    </a:cubicBezTo>
                    <a:cubicBezTo>
                      <a:pt x="225471" y="139357"/>
                      <a:pt x="219490" y="144398"/>
                      <a:pt x="208639" y="144398"/>
                    </a:cubicBezTo>
                    <a:close/>
                  </a:path>
                </a:pathLst>
              </a:custGeom>
              <a:solidFill>
                <a:schemeClr val="accent1"/>
              </a:solidFill>
              <a:ln w="2840" cap="flat">
                <a:noFill/>
                <a:prstDash val="solid"/>
                <a:miter/>
              </a:ln>
            </p:spPr>
            <p:txBody>
              <a:bodyPr rtlCol="0" anchor="ctr"/>
              <a:lstStyle/>
              <a:p>
                <a:endParaRPr lang="en-GB" dirty="0"/>
              </a:p>
            </p:txBody>
          </p:sp>
        </p:grpSp>
        <p:grpSp>
          <p:nvGrpSpPr>
            <p:cNvPr id="671" name="Grafik 206">
              <a:extLst>
                <a:ext uri="{FF2B5EF4-FFF2-40B4-BE49-F238E27FC236}">
                  <a16:creationId xmlns:a16="http://schemas.microsoft.com/office/drawing/2014/main" id="{B90E624E-A3D0-46A5-9C55-1B743D868862}"/>
                </a:ext>
              </a:extLst>
            </p:cNvPr>
            <p:cNvGrpSpPr/>
            <p:nvPr/>
          </p:nvGrpSpPr>
          <p:grpSpPr>
            <a:xfrm>
              <a:off x="7100517" y="3440543"/>
              <a:ext cx="397211" cy="188525"/>
              <a:chOff x="948184" y="4343443"/>
              <a:chExt cx="406819" cy="193085"/>
            </a:xfrm>
            <a:solidFill>
              <a:schemeClr val="tx2"/>
            </a:solidFill>
          </p:grpSpPr>
          <p:sp>
            <p:nvSpPr>
              <p:cNvPr id="672" name="Freihandform: Form 557">
                <a:extLst>
                  <a:ext uri="{FF2B5EF4-FFF2-40B4-BE49-F238E27FC236}">
                    <a16:creationId xmlns:a16="http://schemas.microsoft.com/office/drawing/2014/main" id="{0628A34A-9937-40B6-8FFF-2615864CEE55}"/>
                  </a:ext>
                </a:extLst>
              </p:cNvPr>
              <p:cNvSpPr/>
              <p:nvPr/>
            </p:nvSpPr>
            <p:spPr>
              <a:xfrm>
                <a:off x="1169366" y="4468146"/>
                <a:ext cx="139726" cy="68382"/>
              </a:xfrm>
              <a:custGeom>
                <a:avLst/>
                <a:gdLst>
                  <a:gd name="connsiteX0" fmla="*/ 26031 w 139726"/>
                  <a:gd name="connsiteY0" fmla="*/ 68382 h 68382"/>
                  <a:gd name="connsiteX1" fmla="*/ 7690 w 139726"/>
                  <a:gd name="connsiteY1" fmla="*/ 60749 h 68382"/>
                  <a:gd name="connsiteX2" fmla="*/ 0 w 139726"/>
                  <a:gd name="connsiteY2" fmla="*/ 42180 h 68382"/>
                  <a:gd name="connsiteX3" fmla="*/ 7718 w 139726"/>
                  <a:gd name="connsiteY3" fmla="*/ 23611 h 68382"/>
                  <a:gd name="connsiteX4" fmla="*/ 16661 w 139726"/>
                  <a:gd name="connsiteY4" fmla="*/ 14981 h 68382"/>
                  <a:gd name="connsiteX5" fmla="*/ 25946 w 139726"/>
                  <a:gd name="connsiteY5" fmla="*/ 15152 h 68382"/>
                  <a:gd name="connsiteX6" fmla="*/ 25775 w 139726"/>
                  <a:gd name="connsiteY6" fmla="*/ 24436 h 68382"/>
                  <a:gd name="connsiteX7" fmla="*/ 16918 w 139726"/>
                  <a:gd name="connsiteY7" fmla="*/ 33009 h 68382"/>
                  <a:gd name="connsiteX8" fmla="*/ 13130 w 139726"/>
                  <a:gd name="connsiteY8" fmla="*/ 42208 h 68382"/>
                  <a:gd name="connsiteX9" fmla="*/ 16975 w 139726"/>
                  <a:gd name="connsiteY9" fmla="*/ 51493 h 68382"/>
                  <a:gd name="connsiteX10" fmla="*/ 26373 w 139726"/>
                  <a:gd name="connsiteY10" fmla="*/ 55281 h 68382"/>
                  <a:gd name="connsiteX11" fmla="*/ 34718 w 139726"/>
                  <a:gd name="connsiteY11" fmla="*/ 51465 h 68382"/>
                  <a:gd name="connsiteX12" fmla="*/ 87664 w 139726"/>
                  <a:gd name="connsiteY12" fmla="*/ 1766 h 68382"/>
                  <a:gd name="connsiteX13" fmla="*/ 92164 w 139726"/>
                  <a:gd name="connsiteY13" fmla="*/ 0 h 68382"/>
                  <a:gd name="connsiteX14" fmla="*/ 92164 w 139726"/>
                  <a:gd name="connsiteY14" fmla="*/ 0 h 68382"/>
                  <a:gd name="connsiteX15" fmla="*/ 133176 w 139726"/>
                  <a:gd name="connsiteY15" fmla="*/ 0 h 68382"/>
                  <a:gd name="connsiteX16" fmla="*/ 139727 w 139726"/>
                  <a:gd name="connsiteY16" fmla="*/ 6551 h 68382"/>
                  <a:gd name="connsiteX17" fmla="*/ 133176 w 139726"/>
                  <a:gd name="connsiteY17" fmla="*/ 13101 h 68382"/>
                  <a:gd name="connsiteX18" fmla="*/ 133176 w 139726"/>
                  <a:gd name="connsiteY18" fmla="*/ 13101 h 68382"/>
                  <a:gd name="connsiteX19" fmla="*/ 94756 w 139726"/>
                  <a:gd name="connsiteY19" fmla="*/ 13101 h 68382"/>
                  <a:gd name="connsiteX20" fmla="*/ 44088 w 139726"/>
                  <a:gd name="connsiteY20" fmla="*/ 60607 h 68382"/>
                  <a:gd name="connsiteX21" fmla="*/ 26715 w 139726"/>
                  <a:gd name="connsiteY21" fmla="*/ 68382 h 68382"/>
                  <a:gd name="connsiteX22" fmla="*/ 26031 w 139726"/>
                  <a:gd name="connsiteY22" fmla="*/ 68382 h 6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9726" h="68382">
                    <a:moveTo>
                      <a:pt x="26031" y="68382"/>
                    </a:moveTo>
                    <a:cubicBezTo>
                      <a:pt x="19225" y="68382"/>
                      <a:pt x="12560" y="65620"/>
                      <a:pt x="7690" y="60749"/>
                    </a:cubicBezTo>
                    <a:cubicBezTo>
                      <a:pt x="2734" y="55794"/>
                      <a:pt x="0" y="49186"/>
                      <a:pt x="0" y="42180"/>
                    </a:cubicBezTo>
                    <a:cubicBezTo>
                      <a:pt x="0" y="35174"/>
                      <a:pt x="2763" y="28566"/>
                      <a:pt x="7718" y="23611"/>
                    </a:cubicBezTo>
                    <a:lnTo>
                      <a:pt x="16661" y="14981"/>
                    </a:lnTo>
                    <a:cubicBezTo>
                      <a:pt x="19282" y="12475"/>
                      <a:pt x="23411" y="12531"/>
                      <a:pt x="25946" y="15152"/>
                    </a:cubicBezTo>
                    <a:cubicBezTo>
                      <a:pt x="28452" y="17743"/>
                      <a:pt x="28395" y="21902"/>
                      <a:pt x="25775" y="24436"/>
                    </a:cubicBezTo>
                    <a:lnTo>
                      <a:pt x="16918" y="33009"/>
                    </a:lnTo>
                    <a:cubicBezTo>
                      <a:pt x="14497" y="35430"/>
                      <a:pt x="13130" y="38705"/>
                      <a:pt x="13130" y="42208"/>
                    </a:cubicBezTo>
                    <a:cubicBezTo>
                      <a:pt x="13130" y="45712"/>
                      <a:pt x="14497" y="49015"/>
                      <a:pt x="16975" y="51493"/>
                    </a:cubicBezTo>
                    <a:cubicBezTo>
                      <a:pt x="19481" y="54000"/>
                      <a:pt x="22956" y="55538"/>
                      <a:pt x="26373" y="55281"/>
                    </a:cubicBezTo>
                    <a:cubicBezTo>
                      <a:pt x="29620" y="55196"/>
                      <a:pt x="32582" y="53829"/>
                      <a:pt x="34718" y="51465"/>
                    </a:cubicBezTo>
                    <a:lnTo>
                      <a:pt x="87664" y="1766"/>
                    </a:lnTo>
                    <a:cubicBezTo>
                      <a:pt x="88889" y="626"/>
                      <a:pt x="90484" y="0"/>
                      <a:pt x="92164" y="0"/>
                    </a:cubicBezTo>
                    <a:lnTo>
                      <a:pt x="92164" y="0"/>
                    </a:lnTo>
                    <a:lnTo>
                      <a:pt x="133176" y="0"/>
                    </a:lnTo>
                    <a:cubicBezTo>
                      <a:pt x="136793" y="0"/>
                      <a:pt x="139727" y="2933"/>
                      <a:pt x="139727" y="6551"/>
                    </a:cubicBezTo>
                    <a:cubicBezTo>
                      <a:pt x="139727" y="10167"/>
                      <a:pt x="136793" y="13101"/>
                      <a:pt x="133176" y="13101"/>
                    </a:cubicBezTo>
                    <a:lnTo>
                      <a:pt x="133176" y="13101"/>
                    </a:lnTo>
                    <a:lnTo>
                      <a:pt x="94756" y="13101"/>
                    </a:lnTo>
                    <a:lnTo>
                      <a:pt x="44088" y="60607"/>
                    </a:lnTo>
                    <a:cubicBezTo>
                      <a:pt x="39930" y="65278"/>
                      <a:pt x="33607" y="68183"/>
                      <a:pt x="26715" y="68382"/>
                    </a:cubicBezTo>
                    <a:cubicBezTo>
                      <a:pt x="26487" y="68382"/>
                      <a:pt x="26259" y="68382"/>
                      <a:pt x="26031" y="68382"/>
                    </a:cubicBezTo>
                    <a:close/>
                  </a:path>
                </a:pathLst>
              </a:custGeom>
              <a:grpFill/>
              <a:ln w="2840" cap="flat">
                <a:noFill/>
                <a:prstDash val="solid"/>
                <a:miter/>
              </a:ln>
            </p:spPr>
            <p:txBody>
              <a:bodyPr rtlCol="0" anchor="ctr"/>
              <a:lstStyle/>
              <a:p>
                <a:endParaRPr lang="en-GB" dirty="0"/>
              </a:p>
            </p:txBody>
          </p:sp>
          <p:sp>
            <p:nvSpPr>
              <p:cNvPr id="673" name="Freihandform: Form 558">
                <a:extLst>
                  <a:ext uri="{FF2B5EF4-FFF2-40B4-BE49-F238E27FC236}">
                    <a16:creationId xmlns:a16="http://schemas.microsoft.com/office/drawing/2014/main" id="{8AAE4196-BBD8-4813-834C-538C6E9945EE}"/>
                  </a:ext>
                </a:extLst>
              </p:cNvPr>
              <p:cNvSpPr/>
              <p:nvPr/>
            </p:nvSpPr>
            <p:spPr>
              <a:xfrm>
                <a:off x="948184" y="4343457"/>
                <a:ext cx="406819" cy="13129"/>
              </a:xfrm>
              <a:custGeom>
                <a:avLst/>
                <a:gdLst>
                  <a:gd name="connsiteX0" fmla="*/ 6551 w 406819"/>
                  <a:gd name="connsiteY0" fmla="*/ 13130 h 13129"/>
                  <a:gd name="connsiteX1" fmla="*/ 0 w 406819"/>
                  <a:gd name="connsiteY1" fmla="*/ 6579 h 13129"/>
                  <a:gd name="connsiteX2" fmla="*/ 6551 w 406819"/>
                  <a:gd name="connsiteY2" fmla="*/ 29 h 13129"/>
                  <a:gd name="connsiteX3" fmla="*/ 400269 w 406819"/>
                  <a:gd name="connsiteY3" fmla="*/ 0 h 13129"/>
                  <a:gd name="connsiteX4" fmla="*/ 406820 w 406819"/>
                  <a:gd name="connsiteY4" fmla="*/ 6551 h 13129"/>
                  <a:gd name="connsiteX5" fmla="*/ 400269 w 406819"/>
                  <a:gd name="connsiteY5" fmla="*/ 13101 h 13129"/>
                  <a:gd name="connsiteX6" fmla="*/ 6551 w 406819"/>
                  <a:gd name="connsiteY6" fmla="*/ 13130 h 13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819" h="13129">
                    <a:moveTo>
                      <a:pt x="6551" y="13130"/>
                    </a:moveTo>
                    <a:cubicBezTo>
                      <a:pt x="2934" y="13130"/>
                      <a:pt x="0" y="10196"/>
                      <a:pt x="0" y="6579"/>
                    </a:cubicBezTo>
                    <a:cubicBezTo>
                      <a:pt x="0" y="2962"/>
                      <a:pt x="2934" y="29"/>
                      <a:pt x="6551" y="29"/>
                    </a:cubicBezTo>
                    <a:lnTo>
                      <a:pt x="400269" y="0"/>
                    </a:lnTo>
                    <a:cubicBezTo>
                      <a:pt x="403886" y="0"/>
                      <a:pt x="406820" y="2934"/>
                      <a:pt x="406820" y="6551"/>
                    </a:cubicBezTo>
                    <a:cubicBezTo>
                      <a:pt x="406820" y="10168"/>
                      <a:pt x="403886" y="13101"/>
                      <a:pt x="400269" y="13101"/>
                    </a:cubicBezTo>
                    <a:lnTo>
                      <a:pt x="6551" y="13130"/>
                    </a:lnTo>
                    <a:close/>
                  </a:path>
                </a:pathLst>
              </a:custGeom>
              <a:grpFill/>
              <a:ln w="2840" cap="flat">
                <a:noFill/>
                <a:prstDash val="solid"/>
                <a:miter/>
              </a:ln>
            </p:spPr>
            <p:txBody>
              <a:bodyPr rtlCol="0" anchor="ctr"/>
              <a:lstStyle/>
              <a:p>
                <a:endParaRPr lang="en-GB" dirty="0"/>
              </a:p>
            </p:txBody>
          </p:sp>
          <p:sp>
            <p:nvSpPr>
              <p:cNvPr id="674" name="Freihandform: Form 559">
                <a:extLst>
                  <a:ext uri="{FF2B5EF4-FFF2-40B4-BE49-F238E27FC236}">
                    <a16:creationId xmlns:a16="http://schemas.microsoft.com/office/drawing/2014/main" id="{0CFAE33F-4EE8-4615-A6F4-3EE94CDE4361}"/>
                  </a:ext>
                </a:extLst>
              </p:cNvPr>
              <p:cNvSpPr/>
              <p:nvPr/>
            </p:nvSpPr>
            <p:spPr>
              <a:xfrm>
                <a:off x="1039807" y="4383672"/>
                <a:ext cx="101747" cy="117084"/>
              </a:xfrm>
              <a:custGeom>
                <a:avLst/>
                <a:gdLst>
                  <a:gd name="connsiteX0" fmla="*/ 26231 w 101747"/>
                  <a:gd name="connsiteY0" fmla="*/ 117085 h 117084"/>
                  <a:gd name="connsiteX1" fmla="*/ 7690 w 101747"/>
                  <a:gd name="connsiteY1" fmla="*/ 109423 h 117084"/>
                  <a:gd name="connsiteX2" fmla="*/ 0 w 101747"/>
                  <a:gd name="connsiteY2" fmla="*/ 90854 h 117084"/>
                  <a:gd name="connsiteX3" fmla="*/ 7718 w 101747"/>
                  <a:gd name="connsiteY3" fmla="*/ 72313 h 117084"/>
                  <a:gd name="connsiteX4" fmla="*/ 78408 w 101747"/>
                  <a:gd name="connsiteY4" fmla="*/ 1908 h 117084"/>
                  <a:gd name="connsiteX5" fmla="*/ 87692 w 101747"/>
                  <a:gd name="connsiteY5" fmla="*/ 1937 h 117084"/>
                  <a:gd name="connsiteX6" fmla="*/ 87664 w 101747"/>
                  <a:gd name="connsiteY6" fmla="*/ 11221 h 117084"/>
                  <a:gd name="connsiteX7" fmla="*/ 16975 w 101747"/>
                  <a:gd name="connsiteY7" fmla="*/ 81626 h 117084"/>
                  <a:gd name="connsiteX8" fmla="*/ 13130 w 101747"/>
                  <a:gd name="connsiteY8" fmla="*/ 90882 h 117084"/>
                  <a:gd name="connsiteX9" fmla="*/ 16975 w 101747"/>
                  <a:gd name="connsiteY9" fmla="*/ 100167 h 117084"/>
                  <a:gd name="connsiteX10" fmla="*/ 35516 w 101747"/>
                  <a:gd name="connsiteY10" fmla="*/ 100167 h 117084"/>
                  <a:gd name="connsiteX11" fmla="*/ 90541 w 101747"/>
                  <a:gd name="connsiteY11" fmla="*/ 45142 h 117084"/>
                  <a:gd name="connsiteX12" fmla="*/ 99825 w 101747"/>
                  <a:gd name="connsiteY12" fmla="*/ 45142 h 117084"/>
                  <a:gd name="connsiteX13" fmla="*/ 99825 w 101747"/>
                  <a:gd name="connsiteY13" fmla="*/ 54427 h 117084"/>
                  <a:gd name="connsiteX14" fmla="*/ 44800 w 101747"/>
                  <a:gd name="connsiteY14" fmla="*/ 109452 h 117084"/>
                  <a:gd name="connsiteX15" fmla="*/ 26231 w 101747"/>
                  <a:gd name="connsiteY15" fmla="*/ 117085 h 117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747" h="117084">
                    <a:moveTo>
                      <a:pt x="26231" y="117085"/>
                    </a:moveTo>
                    <a:cubicBezTo>
                      <a:pt x="19509" y="117085"/>
                      <a:pt x="12788" y="114521"/>
                      <a:pt x="7690" y="109423"/>
                    </a:cubicBezTo>
                    <a:cubicBezTo>
                      <a:pt x="2734" y="104468"/>
                      <a:pt x="0" y="97860"/>
                      <a:pt x="0" y="90854"/>
                    </a:cubicBezTo>
                    <a:cubicBezTo>
                      <a:pt x="0" y="83848"/>
                      <a:pt x="2763" y="77240"/>
                      <a:pt x="7718" y="72313"/>
                    </a:cubicBezTo>
                    <a:lnTo>
                      <a:pt x="78408" y="1908"/>
                    </a:lnTo>
                    <a:cubicBezTo>
                      <a:pt x="80971" y="-655"/>
                      <a:pt x="85129" y="-626"/>
                      <a:pt x="87692" y="1937"/>
                    </a:cubicBezTo>
                    <a:cubicBezTo>
                      <a:pt x="90256" y="4500"/>
                      <a:pt x="90256" y="8658"/>
                      <a:pt x="87664" y="11221"/>
                    </a:cubicBezTo>
                    <a:lnTo>
                      <a:pt x="16975" y="81626"/>
                    </a:lnTo>
                    <a:cubicBezTo>
                      <a:pt x="14497" y="84104"/>
                      <a:pt x="13130" y="87379"/>
                      <a:pt x="13130" y="90882"/>
                    </a:cubicBezTo>
                    <a:cubicBezTo>
                      <a:pt x="13130" y="94385"/>
                      <a:pt x="14497" y="97689"/>
                      <a:pt x="16975" y="100167"/>
                    </a:cubicBezTo>
                    <a:cubicBezTo>
                      <a:pt x="21930" y="105123"/>
                      <a:pt x="30560" y="105123"/>
                      <a:pt x="35516" y="100167"/>
                    </a:cubicBezTo>
                    <a:lnTo>
                      <a:pt x="90541" y="45142"/>
                    </a:lnTo>
                    <a:cubicBezTo>
                      <a:pt x="93104" y="42579"/>
                      <a:pt x="97262" y="42579"/>
                      <a:pt x="99825" y="45142"/>
                    </a:cubicBezTo>
                    <a:cubicBezTo>
                      <a:pt x="102389" y="47705"/>
                      <a:pt x="102389" y="51864"/>
                      <a:pt x="99825" y="54427"/>
                    </a:cubicBezTo>
                    <a:lnTo>
                      <a:pt x="44800" y="109452"/>
                    </a:lnTo>
                    <a:cubicBezTo>
                      <a:pt x="39674" y="114521"/>
                      <a:pt x="32952" y="117085"/>
                      <a:pt x="26231" y="117085"/>
                    </a:cubicBezTo>
                    <a:close/>
                  </a:path>
                </a:pathLst>
              </a:custGeom>
              <a:grpFill/>
              <a:ln w="2840" cap="flat">
                <a:noFill/>
                <a:prstDash val="solid"/>
                <a:miter/>
              </a:ln>
            </p:spPr>
            <p:txBody>
              <a:bodyPr rtlCol="0" anchor="ctr"/>
              <a:lstStyle/>
              <a:p>
                <a:endParaRPr lang="en-GB" dirty="0"/>
              </a:p>
            </p:txBody>
          </p:sp>
          <p:sp>
            <p:nvSpPr>
              <p:cNvPr id="675" name="Freihandform: Form 560">
                <a:extLst>
                  <a:ext uri="{FF2B5EF4-FFF2-40B4-BE49-F238E27FC236}">
                    <a16:creationId xmlns:a16="http://schemas.microsoft.com/office/drawing/2014/main" id="{4CF77365-5CF2-45EC-8991-13A3000AE2C6}"/>
                  </a:ext>
                </a:extLst>
              </p:cNvPr>
              <p:cNvSpPr/>
              <p:nvPr/>
            </p:nvSpPr>
            <p:spPr>
              <a:xfrm>
                <a:off x="1089534" y="4425226"/>
                <a:ext cx="80358" cy="82281"/>
              </a:xfrm>
              <a:custGeom>
                <a:avLst/>
                <a:gdLst>
                  <a:gd name="connsiteX0" fmla="*/ 26174 w 80358"/>
                  <a:gd name="connsiteY0" fmla="*/ 82281 h 82281"/>
                  <a:gd name="connsiteX1" fmla="*/ 7690 w 80358"/>
                  <a:gd name="connsiteY1" fmla="*/ 73566 h 82281"/>
                  <a:gd name="connsiteX2" fmla="*/ 0 w 80358"/>
                  <a:gd name="connsiteY2" fmla="*/ 54997 h 82281"/>
                  <a:gd name="connsiteX3" fmla="*/ 7718 w 80358"/>
                  <a:gd name="connsiteY3" fmla="*/ 36456 h 82281"/>
                  <a:gd name="connsiteX4" fmla="*/ 42436 w 80358"/>
                  <a:gd name="connsiteY4" fmla="*/ 1908 h 82281"/>
                  <a:gd name="connsiteX5" fmla="*/ 51721 w 80358"/>
                  <a:gd name="connsiteY5" fmla="*/ 1937 h 82281"/>
                  <a:gd name="connsiteX6" fmla="*/ 51693 w 80358"/>
                  <a:gd name="connsiteY6" fmla="*/ 11222 h 82281"/>
                  <a:gd name="connsiteX7" fmla="*/ 16975 w 80358"/>
                  <a:gd name="connsiteY7" fmla="*/ 45740 h 82281"/>
                  <a:gd name="connsiteX8" fmla="*/ 13130 w 80358"/>
                  <a:gd name="connsiteY8" fmla="*/ 54997 h 82281"/>
                  <a:gd name="connsiteX9" fmla="*/ 16975 w 80358"/>
                  <a:gd name="connsiteY9" fmla="*/ 64281 h 82281"/>
                  <a:gd name="connsiteX10" fmla="*/ 26373 w 80358"/>
                  <a:gd name="connsiteY10" fmla="*/ 69151 h 82281"/>
                  <a:gd name="connsiteX11" fmla="*/ 34718 w 80358"/>
                  <a:gd name="connsiteY11" fmla="*/ 64281 h 82281"/>
                  <a:gd name="connsiteX12" fmla="*/ 69151 w 80358"/>
                  <a:gd name="connsiteY12" fmla="*/ 29848 h 82281"/>
                  <a:gd name="connsiteX13" fmla="*/ 78436 w 80358"/>
                  <a:gd name="connsiteY13" fmla="*/ 29848 h 82281"/>
                  <a:gd name="connsiteX14" fmla="*/ 78436 w 80358"/>
                  <a:gd name="connsiteY14" fmla="*/ 39133 h 82281"/>
                  <a:gd name="connsiteX15" fmla="*/ 44259 w 80358"/>
                  <a:gd name="connsiteY15" fmla="*/ 73310 h 82281"/>
                  <a:gd name="connsiteX16" fmla="*/ 26772 w 80358"/>
                  <a:gd name="connsiteY16" fmla="*/ 82281 h 82281"/>
                  <a:gd name="connsiteX17" fmla="*/ 26174 w 80358"/>
                  <a:gd name="connsiteY17" fmla="*/ 82281 h 82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358" h="82281">
                    <a:moveTo>
                      <a:pt x="26174" y="82281"/>
                    </a:moveTo>
                    <a:cubicBezTo>
                      <a:pt x="19766" y="82281"/>
                      <a:pt x="13386" y="79262"/>
                      <a:pt x="7690" y="73566"/>
                    </a:cubicBezTo>
                    <a:cubicBezTo>
                      <a:pt x="2734" y="68610"/>
                      <a:pt x="0" y="62003"/>
                      <a:pt x="0" y="54997"/>
                    </a:cubicBezTo>
                    <a:cubicBezTo>
                      <a:pt x="0" y="47990"/>
                      <a:pt x="2763" y="41383"/>
                      <a:pt x="7718" y="36456"/>
                    </a:cubicBezTo>
                    <a:lnTo>
                      <a:pt x="42436" y="1908"/>
                    </a:lnTo>
                    <a:cubicBezTo>
                      <a:pt x="45000" y="-655"/>
                      <a:pt x="49158" y="-627"/>
                      <a:pt x="51721" y="1937"/>
                    </a:cubicBezTo>
                    <a:cubicBezTo>
                      <a:pt x="54284" y="4500"/>
                      <a:pt x="54256" y="8658"/>
                      <a:pt x="51693" y="11222"/>
                    </a:cubicBezTo>
                    <a:lnTo>
                      <a:pt x="16975" y="45740"/>
                    </a:lnTo>
                    <a:cubicBezTo>
                      <a:pt x="14497" y="48218"/>
                      <a:pt x="13130" y="51493"/>
                      <a:pt x="13130" y="54997"/>
                    </a:cubicBezTo>
                    <a:cubicBezTo>
                      <a:pt x="13130" y="58500"/>
                      <a:pt x="14497" y="61804"/>
                      <a:pt x="16975" y="64281"/>
                    </a:cubicBezTo>
                    <a:cubicBezTo>
                      <a:pt x="19253" y="66560"/>
                      <a:pt x="22699" y="69123"/>
                      <a:pt x="26373" y="69151"/>
                    </a:cubicBezTo>
                    <a:cubicBezTo>
                      <a:pt x="29050" y="69095"/>
                      <a:pt x="31870" y="67443"/>
                      <a:pt x="34718" y="64281"/>
                    </a:cubicBezTo>
                    <a:lnTo>
                      <a:pt x="69151" y="29848"/>
                    </a:lnTo>
                    <a:cubicBezTo>
                      <a:pt x="71715" y="27285"/>
                      <a:pt x="75873" y="27285"/>
                      <a:pt x="78436" y="29848"/>
                    </a:cubicBezTo>
                    <a:cubicBezTo>
                      <a:pt x="80999" y="32411"/>
                      <a:pt x="80999" y="36569"/>
                      <a:pt x="78436" y="39133"/>
                    </a:cubicBezTo>
                    <a:lnTo>
                      <a:pt x="44259" y="73310"/>
                    </a:lnTo>
                    <a:cubicBezTo>
                      <a:pt x="39161" y="79006"/>
                      <a:pt x="33209" y="82110"/>
                      <a:pt x="26772" y="82281"/>
                    </a:cubicBezTo>
                    <a:cubicBezTo>
                      <a:pt x="26544" y="82281"/>
                      <a:pt x="26345" y="82281"/>
                      <a:pt x="26174" y="82281"/>
                    </a:cubicBezTo>
                    <a:close/>
                  </a:path>
                </a:pathLst>
              </a:custGeom>
              <a:grpFill/>
              <a:ln w="2840" cap="flat">
                <a:noFill/>
                <a:prstDash val="solid"/>
                <a:miter/>
              </a:ln>
            </p:spPr>
            <p:txBody>
              <a:bodyPr rtlCol="0" anchor="ctr"/>
              <a:lstStyle/>
              <a:p>
                <a:endParaRPr lang="en-GB" dirty="0"/>
              </a:p>
            </p:txBody>
          </p:sp>
          <p:sp>
            <p:nvSpPr>
              <p:cNvPr id="676" name="Freihandform: Form 561">
                <a:extLst>
                  <a:ext uri="{FF2B5EF4-FFF2-40B4-BE49-F238E27FC236}">
                    <a16:creationId xmlns:a16="http://schemas.microsoft.com/office/drawing/2014/main" id="{4FE078C4-6BC5-47B4-BF69-016A81DA01CE}"/>
                  </a:ext>
                </a:extLst>
              </p:cNvPr>
              <p:cNvSpPr/>
              <p:nvPr/>
            </p:nvSpPr>
            <p:spPr>
              <a:xfrm>
                <a:off x="1127812" y="4453236"/>
                <a:ext cx="68994" cy="69621"/>
              </a:xfrm>
              <a:custGeom>
                <a:avLst/>
                <a:gdLst>
                  <a:gd name="connsiteX0" fmla="*/ 26031 w 68994"/>
                  <a:gd name="connsiteY0" fmla="*/ 69622 h 69621"/>
                  <a:gd name="connsiteX1" fmla="*/ 7690 w 68994"/>
                  <a:gd name="connsiteY1" fmla="*/ 61989 h 69621"/>
                  <a:gd name="connsiteX2" fmla="*/ 0 w 68994"/>
                  <a:gd name="connsiteY2" fmla="*/ 43419 h 69621"/>
                  <a:gd name="connsiteX3" fmla="*/ 7718 w 68994"/>
                  <a:gd name="connsiteY3" fmla="*/ 24850 h 69621"/>
                  <a:gd name="connsiteX4" fmla="*/ 30959 w 68994"/>
                  <a:gd name="connsiteY4" fmla="*/ 1894 h 69621"/>
                  <a:gd name="connsiteX5" fmla="*/ 40243 w 68994"/>
                  <a:gd name="connsiteY5" fmla="*/ 1951 h 69621"/>
                  <a:gd name="connsiteX6" fmla="*/ 40186 w 68994"/>
                  <a:gd name="connsiteY6" fmla="*/ 11236 h 69621"/>
                  <a:gd name="connsiteX7" fmla="*/ 16975 w 68994"/>
                  <a:gd name="connsiteY7" fmla="*/ 34163 h 69621"/>
                  <a:gd name="connsiteX8" fmla="*/ 13130 w 68994"/>
                  <a:gd name="connsiteY8" fmla="*/ 43419 h 69621"/>
                  <a:gd name="connsiteX9" fmla="*/ 16975 w 68994"/>
                  <a:gd name="connsiteY9" fmla="*/ 52704 h 69621"/>
                  <a:gd name="connsiteX10" fmla="*/ 26373 w 68994"/>
                  <a:gd name="connsiteY10" fmla="*/ 56492 h 69621"/>
                  <a:gd name="connsiteX11" fmla="*/ 34718 w 68994"/>
                  <a:gd name="connsiteY11" fmla="*/ 52675 h 69621"/>
                  <a:gd name="connsiteX12" fmla="*/ 57788 w 68994"/>
                  <a:gd name="connsiteY12" fmla="*/ 29578 h 69621"/>
                  <a:gd name="connsiteX13" fmla="*/ 67072 w 68994"/>
                  <a:gd name="connsiteY13" fmla="*/ 29578 h 69621"/>
                  <a:gd name="connsiteX14" fmla="*/ 67072 w 68994"/>
                  <a:gd name="connsiteY14" fmla="*/ 38862 h 69621"/>
                  <a:gd name="connsiteX15" fmla="*/ 44231 w 68994"/>
                  <a:gd name="connsiteY15" fmla="*/ 61704 h 69621"/>
                  <a:gd name="connsiteX16" fmla="*/ 26715 w 68994"/>
                  <a:gd name="connsiteY16" fmla="*/ 69622 h 69621"/>
                  <a:gd name="connsiteX17" fmla="*/ 26031 w 68994"/>
                  <a:gd name="connsiteY17" fmla="*/ 69622 h 69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994" h="69621">
                    <a:moveTo>
                      <a:pt x="26031" y="69622"/>
                    </a:moveTo>
                    <a:cubicBezTo>
                      <a:pt x="19225" y="69622"/>
                      <a:pt x="12560" y="66859"/>
                      <a:pt x="7690" y="61989"/>
                    </a:cubicBezTo>
                    <a:cubicBezTo>
                      <a:pt x="2734" y="57033"/>
                      <a:pt x="0" y="50426"/>
                      <a:pt x="0" y="43419"/>
                    </a:cubicBezTo>
                    <a:cubicBezTo>
                      <a:pt x="0" y="36413"/>
                      <a:pt x="2763" y="29805"/>
                      <a:pt x="7718" y="24850"/>
                    </a:cubicBezTo>
                    <a:lnTo>
                      <a:pt x="30959" y="1894"/>
                    </a:lnTo>
                    <a:cubicBezTo>
                      <a:pt x="33550" y="-669"/>
                      <a:pt x="37680" y="-612"/>
                      <a:pt x="40243" y="1951"/>
                    </a:cubicBezTo>
                    <a:cubicBezTo>
                      <a:pt x="42778" y="4514"/>
                      <a:pt x="42750" y="8673"/>
                      <a:pt x="40186" y="11236"/>
                    </a:cubicBezTo>
                    <a:lnTo>
                      <a:pt x="16975" y="34163"/>
                    </a:lnTo>
                    <a:cubicBezTo>
                      <a:pt x="14497" y="36612"/>
                      <a:pt x="13130" y="39916"/>
                      <a:pt x="13130" y="43419"/>
                    </a:cubicBezTo>
                    <a:cubicBezTo>
                      <a:pt x="13130" y="46922"/>
                      <a:pt x="14497" y="50226"/>
                      <a:pt x="16975" y="52704"/>
                    </a:cubicBezTo>
                    <a:cubicBezTo>
                      <a:pt x="19481" y="55210"/>
                      <a:pt x="22842" y="56748"/>
                      <a:pt x="26373" y="56492"/>
                    </a:cubicBezTo>
                    <a:cubicBezTo>
                      <a:pt x="29620" y="56406"/>
                      <a:pt x="32582" y="55039"/>
                      <a:pt x="34718" y="52675"/>
                    </a:cubicBezTo>
                    <a:lnTo>
                      <a:pt x="57788" y="29578"/>
                    </a:lnTo>
                    <a:cubicBezTo>
                      <a:pt x="60351" y="27014"/>
                      <a:pt x="64509" y="27014"/>
                      <a:pt x="67072" y="29578"/>
                    </a:cubicBezTo>
                    <a:cubicBezTo>
                      <a:pt x="69636" y="32141"/>
                      <a:pt x="69636" y="36299"/>
                      <a:pt x="67072" y="38862"/>
                    </a:cubicBezTo>
                    <a:lnTo>
                      <a:pt x="44231" y="61704"/>
                    </a:lnTo>
                    <a:cubicBezTo>
                      <a:pt x="39930" y="66517"/>
                      <a:pt x="33607" y="69422"/>
                      <a:pt x="26715" y="69622"/>
                    </a:cubicBezTo>
                    <a:cubicBezTo>
                      <a:pt x="26487" y="69622"/>
                      <a:pt x="26259" y="69622"/>
                      <a:pt x="26031" y="69622"/>
                    </a:cubicBezTo>
                    <a:close/>
                  </a:path>
                </a:pathLst>
              </a:custGeom>
              <a:grpFill/>
              <a:ln w="2840" cap="flat">
                <a:noFill/>
                <a:prstDash val="solid"/>
                <a:miter/>
              </a:ln>
            </p:spPr>
            <p:txBody>
              <a:bodyPr rtlCol="0" anchor="ctr"/>
              <a:lstStyle/>
              <a:p>
                <a:endParaRPr lang="en-GB" dirty="0"/>
              </a:p>
            </p:txBody>
          </p:sp>
          <p:sp>
            <p:nvSpPr>
              <p:cNvPr id="677" name="Freihandform: Form 562">
                <a:extLst>
                  <a:ext uri="{FF2B5EF4-FFF2-40B4-BE49-F238E27FC236}">
                    <a16:creationId xmlns:a16="http://schemas.microsoft.com/office/drawing/2014/main" id="{7A920E5E-4B90-4078-BA99-A24476C0310A}"/>
                  </a:ext>
                </a:extLst>
              </p:cNvPr>
              <p:cNvSpPr/>
              <p:nvPr/>
            </p:nvSpPr>
            <p:spPr>
              <a:xfrm>
                <a:off x="1117132" y="4343443"/>
                <a:ext cx="109686" cy="94997"/>
              </a:xfrm>
              <a:custGeom>
                <a:avLst/>
                <a:gdLst>
                  <a:gd name="connsiteX0" fmla="*/ 83477 w 109686"/>
                  <a:gd name="connsiteY0" fmla="*/ 94998 h 94997"/>
                  <a:gd name="connsiteX1" fmla="*/ 64908 w 109686"/>
                  <a:gd name="connsiteY1" fmla="*/ 87337 h 94997"/>
                  <a:gd name="connsiteX2" fmla="*/ 30047 w 109686"/>
                  <a:gd name="connsiteY2" fmla="*/ 52476 h 94997"/>
                  <a:gd name="connsiteX3" fmla="*/ 6551 w 109686"/>
                  <a:gd name="connsiteY3" fmla="*/ 52476 h 94997"/>
                  <a:gd name="connsiteX4" fmla="*/ 0 w 109686"/>
                  <a:gd name="connsiteY4" fmla="*/ 45925 h 94997"/>
                  <a:gd name="connsiteX5" fmla="*/ 6551 w 109686"/>
                  <a:gd name="connsiteY5" fmla="*/ 39375 h 94997"/>
                  <a:gd name="connsiteX6" fmla="*/ 32753 w 109686"/>
                  <a:gd name="connsiteY6" fmla="*/ 39375 h 94997"/>
                  <a:gd name="connsiteX7" fmla="*/ 37395 w 109686"/>
                  <a:gd name="connsiteY7" fmla="*/ 41311 h 94997"/>
                  <a:gd name="connsiteX8" fmla="*/ 74164 w 109686"/>
                  <a:gd name="connsiteY8" fmla="*/ 78080 h 94997"/>
                  <a:gd name="connsiteX9" fmla="*/ 92734 w 109686"/>
                  <a:gd name="connsiteY9" fmla="*/ 78080 h 94997"/>
                  <a:gd name="connsiteX10" fmla="*/ 92734 w 109686"/>
                  <a:gd name="connsiteY10" fmla="*/ 59511 h 94997"/>
                  <a:gd name="connsiteX11" fmla="*/ 44430 w 109686"/>
                  <a:gd name="connsiteY11" fmla="*/ 11207 h 94997"/>
                  <a:gd name="connsiteX12" fmla="*/ 44430 w 109686"/>
                  <a:gd name="connsiteY12" fmla="*/ 1922 h 94997"/>
                  <a:gd name="connsiteX13" fmla="*/ 53715 w 109686"/>
                  <a:gd name="connsiteY13" fmla="*/ 1922 h 94997"/>
                  <a:gd name="connsiteX14" fmla="*/ 102018 w 109686"/>
                  <a:gd name="connsiteY14" fmla="*/ 50226 h 94997"/>
                  <a:gd name="connsiteX15" fmla="*/ 102018 w 109686"/>
                  <a:gd name="connsiteY15" fmla="*/ 87337 h 94997"/>
                  <a:gd name="connsiteX16" fmla="*/ 83477 w 109686"/>
                  <a:gd name="connsiteY16" fmla="*/ 94998 h 94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686" h="94997">
                    <a:moveTo>
                      <a:pt x="83477" y="94998"/>
                    </a:moveTo>
                    <a:cubicBezTo>
                      <a:pt x="76756" y="94998"/>
                      <a:pt x="70034" y="92435"/>
                      <a:pt x="64908" y="87337"/>
                    </a:cubicBezTo>
                    <a:lnTo>
                      <a:pt x="30047" y="52476"/>
                    </a:lnTo>
                    <a:lnTo>
                      <a:pt x="6551" y="52476"/>
                    </a:lnTo>
                    <a:cubicBezTo>
                      <a:pt x="2934" y="52476"/>
                      <a:pt x="0" y="49542"/>
                      <a:pt x="0" y="45925"/>
                    </a:cubicBezTo>
                    <a:cubicBezTo>
                      <a:pt x="0" y="42308"/>
                      <a:pt x="2934" y="39375"/>
                      <a:pt x="6551" y="39375"/>
                    </a:cubicBezTo>
                    <a:lnTo>
                      <a:pt x="32753" y="39375"/>
                    </a:lnTo>
                    <a:cubicBezTo>
                      <a:pt x="34490" y="39375"/>
                      <a:pt x="36171" y="40058"/>
                      <a:pt x="37395" y="41311"/>
                    </a:cubicBezTo>
                    <a:lnTo>
                      <a:pt x="74164" y="78080"/>
                    </a:lnTo>
                    <a:cubicBezTo>
                      <a:pt x="79291" y="83207"/>
                      <a:pt x="87607" y="83207"/>
                      <a:pt x="92734" y="78080"/>
                    </a:cubicBezTo>
                    <a:cubicBezTo>
                      <a:pt x="97860" y="72954"/>
                      <a:pt x="97860" y="64637"/>
                      <a:pt x="92734" y="59511"/>
                    </a:cubicBezTo>
                    <a:lnTo>
                      <a:pt x="44430" y="11207"/>
                    </a:lnTo>
                    <a:cubicBezTo>
                      <a:pt x="41867" y="8644"/>
                      <a:pt x="41867" y="4486"/>
                      <a:pt x="44430" y="1922"/>
                    </a:cubicBezTo>
                    <a:cubicBezTo>
                      <a:pt x="46993" y="-641"/>
                      <a:pt x="51152" y="-641"/>
                      <a:pt x="53715" y="1922"/>
                    </a:cubicBezTo>
                    <a:lnTo>
                      <a:pt x="102018" y="50226"/>
                    </a:lnTo>
                    <a:cubicBezTo>
                      <a:pt x="112243" y="60451"/>
                      <a:pt x="112243" y="77112"/>
                      <a:pt x="102018" y="87337"/>
                    </a:cubicBezTo>
                    <a:cubicBezTo>
                      <a:pt x="96920" y="92435"/>
                      <a:pt x="90199" y="94998"/>
                      <a:pt x="83477" y="94998"/>
                    </a:cubicBezTo>
                    <a:close/>
                  </a:path>
                </a:pathLst>
              </a:custGeom>
              <a:grpFill/>
              <a:ln w="2840" cap="flat">
                <a:noFill/>
                <a:prstDash val="solid"/>
                <a:miter/>
              </a:ln>
            </p:spPr>
            <p:txBody>
              <a:bodyPr rtlCol="0" anchor="ctr"/>
              <a:lstStyle/>
              <a:p>
                <a:endParaRPr lang="en-GB" dirty="0"/>
              </a:p>
            </p:txBody>
          </p:sp>
          <p:sp>
            <p:nvSpPr>
              <p:cNvPr id="678" name="Freihandform: Form 563">
                <a:extLst>
                  <a:ext uri="{FF2B5EF4-FFF2-40B4-BE49-F238E27FC236}">
                    <a16:creationId xmlns:a16="http://schemas.microsoft.com/office/drawing/2014/main" id="{56EA527A-000B-4AE2-B1A9-D12036545120}"/>
                  </a:ext>
                </a:extLst>
              </p:cNvPr>
              <p:cNvSpPr/>
              <p:nvPr/>
            </p:nvSpPr>
            <p:spPr>
              <a:xfrm>
                <a:off x="996573" y="4468118"/>
                <a:ext cx="56563" cy="13101"/>
              </a:xfrm>
              <a:custGeom>
                <a:avLst/>
                <a:gdLst>
                  <a:gd name="connsiteX0" fmla="*/ 50041 w 56563"/>
                  <a:gd name="connsiteY0" fmla="*/ 13101 h 13101"/>
                  <a:gd name="connsiteX1" fmla="*/ 6551 w 56563"/>
                  <a:gd name="connsiteY1" fmla="*/ 13101 h 13101"/>
                  <a:gd name="connsiteX2" fmla="*/ 0 w 56563"/>
                  <a:gd name="connsiteY2" fmla="*/ 6551 h 13101"/>
                  <a:gd name="connsiteX3" fmla="*/ 6551 w 56563"/>
                  <a:gd name="connsiteY3" fmla="*/ 0 h 13101"/>
                  <a:gd name="connsiteX4" fmla="*/ 50012 w 56563"/>
                  <a:gd name="connsiteY4" fmla="*/ 0 h 13101"/>
                  <a:gd name="connsiteX5" fmla="*/ 56563 w 56563"/>
                  <a:gd name="connsiteY5" fmla="*/ 6551 h 13101"/>
                  <a:gd name="connsiteX6" fmla="*/ 50041 w 56563"/>
                  <a:gd name="connsiteY6" fmla="*/ 13101 h 1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63" h="13101">
                    <a:moveTo>
                      <a:pt x="50041" y="13101"/>
                    </a:moveTo>
                    <a:lnTo>
                      <a:pt x="6551" y="13101"/>
                    </a:lnTo>
                    <a:cubicBezTo>
                      <a:pt x="2934" y="13101"/>
                      <a:pt x="0" y="10168"/>
                      <a:pt x="0" y="6551"/>
                    </a:cubicBezTo>
                    <a:cubicBezTo>
                      <a:pt x="0" y="2933"/>
                      <a:pt x="2934" y="0"/>
                      <a:pt x="6551" y="0"/>
                    </a:cubicBezTo>
                    <a:lnTo>
                      <a:pt x="50012" y="0"/>
                    </a:lnTo>
                    <a:cubicBezTo>
                      <a:pt x="53629" y="0"/>
                      <a:pt x="56563" y="2933"/>
                      <a:pt x="56563" y="6551"/>
                    </a:cubicBezTo>
                    <a:cubicBezTo>
                      <a:pt x="56591" y="10168"/>
                      <a:pt x="53658" y="13101"/>
                      <a:pt x="50041" y="13101"/>
                    </a:cubicBezTo>
                    <a:close/>
                  </a:path>
                </a:pathLst>
              </a:custGeom>
              <a:grpFill/>
              <a:ln w="2840" cap="flat">
                <a:noFill/>
                <a:prstDash val="solid"/>
                <a:miter/>
              </a:ln>
            </p:spPr>
            <p:txBody>
              <a:bodyPr rtlCol="0" anchor="ctr"/>
              <a:lstStyle/>
              <a:p>
                <a:endParaRPr lang="en-GB" dirty="0"/>
              </a:p>
            </p:txBody>
          </p:sp>
        </p:grpSp>
      </p:grpSp>
      <p:grpSp>
        <p:nvGrpSpPr>
          <p:cNvPr id="546" name="Group 545">
            <a:extLst>
              <a:ext uri="{FF2B5EF4-FFF2-40B4-BE49-F238E27FC236}">
                <a16:creationId xmlns:a16="http://schemas.microsoft.com/office/drawing/2014/main" id="{56517ECC-C915-0E7C-1EA3-3FC4C66BB2FD}"/>
              </a:ext>
            </a:extLst>
          </p:cNvPr>
          <p:cNvGrpSpPr/>
          <p:nvPr/>
        </p:nvGrpSpPr>
        <p:grpSpPr>
          <a:xfrm>
            <a:off x="8126525" y="3197068"/>
            <a:ext cx="432287" cy="432000"/>
            <a:chOff x="8126113" y="3197068"/>
            <a:chExt cx="432287" cy="432000"/>
          </a:xfrm>
        </p:grpSpPr>
        <p:grpSp>
          <p:nvGrpSpPr>
            <p:cNvPr id="687" name="Grafik 27">
              <a:extLst>
                <a:ext uri="{FF2B5EF4-FFF2-40B4-BE49-F238E27FC236}">
                  <a16:creationId xmlns:a16="http://schemas.microsoft.com/office/drawing/2014/main" id="{030C5FB9-7CE4-4F6A-9E81-E47961DE6FA9}"/>
                </a:ext>
              </a:extLst>
            </p:cNvPr>
            <p:cNvGrpSpPr/>
            <p:nvPr/>
          </p:nvGrpSpPr>
          <p:grpSpPr>
            <a:xfrm>
              <a:off x="8298846" y="3427747"/>
              <a:ext cx="196497" cy="201321"/>
              <a:chOff x="6301012" y="2683570"/>
              <a:chExt cx="195680" cy="200484"/>
            </a:xfrm>
            <a:solidFill>
              <a:schemeClr val="accent1"/>
            </a:solidFill>
          </p:grpSpPr>
          <p:sp>
            <p:nvSpPr>
              <p:cNvPr id="695" name="Freihandform: Form 1181">
                <a:extLst>
                  <a:ext uri="{FF2B5EF4-FFF2-40B4-BE49-F238E27FC236}">
                    <a16:creationId xmlns:a16="http://schemas.microsoft.com/office/drawing/2014/main" id="{522C88CA-3BC5-43A1-8922-4EAF6019634B}"/>
                  </a:ext>
                </a:extLst>
              </p:cNvPr>
              <p:cNvSpPr/>
              <p:nvPr/>
            </p:nvSpPr>
            <p:spPr>
              <a:xfrm>
                <a:off x="6301012" y="2760476"/>
                <a:ext cx="37073" cy="123578"/>
              </a:xfrm>
              <a:custGeom>
                <a:avLst/>
                <a:gdLst>
                  <a:gd name="connsiteX0" fmla="*/ 30549 w 37073"/>
                  <a:gd name="connsiteY0" fmla="*/ 123579 h 123578"/>
                  <a:gd name="connsiteX1" fmla="*/ 6524 w 37073"/>
                  <a:gd name="connsiteY1" fmla="*/ 123579 h 123578"/>
                  <a:gd name="connsiteX2" fmla="*/ 0 w 37073"/>
                  <a:gd name="connsiteY2" fmla="*/ 117054 h 123578"/>
                  <a:gd name="connsiteX3" fmla="*/ 6524 w 37073"/>
                  <a:gd name="connsiteY3" fmla="*/ 110530 h 123578"/>
                  <a:gd name="connsiteX4" fmla="*/ 24025 w 37073"/>
                  <a:gd name="connsiteY4" fmla="*/ 110530 h 123578"/>
                  <a:gd name="connsiteX5" fmla="*/ 24025 w 37073"/>
                  <a:gd name="connsiteY5" fmla="*/ 13049 h 123578"/>
                  <a:gd name="connsiteX6" fmla="*/ 6524 w 37073"/>
                  <a:gd name="connsiteY6" fmla="*/ 13049 h 123578"/>
                  <a:gd name="connsiteX7" fmla="*/ 0 w 37073"/>
                  <a:gd name="connsiteY7" fmla="*/ 6525 h 123578"/>
                  <a:gd name="connsiteX8" fmla="*/ 6524 w 37073"/>
                  <a:gd name="connsiteY8" fmla="*/ 0 h 123578"/>
                  <a:gd name="connsiteX9" fmla="*/ 30549 w 37073"/>
                  <a:gd name="connsiteY9" fmla="*/ 0 h 123578"/>
                  <a:gd name="connsiteX10" fmla="*/ 37074 w 37073"/>
                  <a:gd name="connsiteY10" fmla="*/ 6525 h 123578"/>
                  <a:gd name="connsiteX11" fmla="*/ 37074 w 37073"/>
                  <a:gd name="connsiteY11" fmla="*/ 117082 h 123578"/>
                  <a:gd name="connsiteX12" fmla="*/ 30549 w 37073"/>
                  <a:gd name="connsiteY12" fmla="*/ 123579 h 123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073" h="123578">
                    <a:moveTo>
                      <a:pt x="30549" y="123579"/>
                    </a:moveTo>
                    <a:lnTo>
                      <a:pt x="6524" y="123579"/>
                    </a:lnTo>
                    <a:cubicBezTo>
                      <a:pt x="2930" y="123579"/>
                      <a:pt x="0" y="120648"/>
                      <a:pt x="0" y="117054"/>
                    </a:cubicBezTo>
                    <a:cubicBezTo>
                      <a:pt x="0" y="113460"/>
                      <a:pt x="2930" y="110530"/>
                      <a:pt x="6524" y="110530"/>
                    </a:cubicBezTo>
                    <a:lnTo>
                      <a:pt x="24025" y="110530"/>
                    </a:lnTo>
                    <a:lnTo>
                      <a:pt x="24025" y="13049"/>
                    </a:lnTo>
                    <a:lnTo>
                      <a:pt x="6524" y="13049"/>
                    </a:lnTo>
                    <a:cubicBezTo>
                      <a:pt x="2930" y="13049"/>
                      <a:pt x="0" y="10119"/>
                      <a:pt x="0" y="6525"/>
                    </a:cubicBezTo>
                    <a:cubicBezTo>
                      <a:pt x="0" y="2931"/>
                      <a:pt x="2930" y="0"/>
                      <a:pt x="6524" y="0"/>
                    </a:cubicBezTo>
                    <a:lnTo>
                      <a:pt x="30549" y="0"/>
                    </a:lnTo>
                    <a:cubicBezTo>
                      <a:pt x="34143" y="0"/>
                      <a:pt x="37074" y="2931"/>
                      <a:pt x="37074" y="6525"/>
                    </a:cubicBezTo>
                    <a:lnTo>
                      <a:pt x="37074" y="117082"/>
                    </a:lnTo>
                    <a:cubicBezTo>
                      <a:pt x="37074" y="120676"/>
                      <a:pt x="34143" y="123579"/>
                      <a:pt x="30549" y="123579"/>
                    </a:cubicBezTo>
                    <a:close/>
                  </a:path>
                </a:pathLst>
              </a:custGeom>
              <a:solidFill>
                <a:schemeClr val="accent1"/>
              </a:solidFill>
              <a:ln w="2758" cap="flat">
                <a:noFill/>
                <a:prstDash val="solid"/>
                <a:miter/>
              </a:ln>
            </p:spPr>
            <p:txBody>
              <a:bodyPr rtlCol="0" anchor="ctr"/>
              <a:lstStyle/>
              <a:p>
                <a:endParaRPr lang="en-GB" dirty="0"/>
              </a:p>
            </p:txBody>
          </p:sp>
          <p:sp>
            <p:nvSpPr>
              <p:cNvPr id="696" name="Freihandform: Form 1182">
                <a:extLst>
                  <a:ext uri="{FF2B5EF4-FFF2-40B4-BE49-F238E27FC236}">
                    <a16:creationId xmlns:a16="http://schemas.microsoft.com/office/drawing/2014/main" id="{2FFA370A-DA11-4A02-B5AE-5E7E27CB9084}"/>
                  </a:ext>
                </a:extLst>
              </p:cNvPr>
              <p:cNvSpPr/>
              <p:nvPr/>
            </p:nvSpPr>
            <p:spPr>
              <a:xfrm>
                <a:off x="6464429" y="2784473"/>
                <a:ext cx="32263" cy="41911"/>
              </a:xfrm>
              <a:custGeom>
                <a:avLst/>
                <a:gdLst>
                  <a:gd name="connsiteX0" fmla="*/ 11335 w 32263"/>
                  <a:gd name="connsiteY0" fmla="*/ 41912 h 41911"/>
                  <a:gd name="connsiteX1" fmla="*/ 6525 w 32263"/>
                  <a:gd name="connsiteY1" fmla="*/ 41912 h 41911"/>
                  <a:gd name="connsiteX2" fmla="*/ 0 w 32263"/>
                  <a:gd name="connsiteY2" fmla="*/ 35387 h 41911"/>
                  <a:gd name="connsiteX3" fmla="*/ 6525 w 32263"/>
                  <a:gd name="connsiteY3" fmla="*/ 28863 h 41911"/>
                  <a:gd name="connsiteX4" fmla="*/ 11335 w 32263"/>
                  <a:gd name="connsiteY4" fmla="*/ 28863 h 41911"/>
                  <a:gd name="connsiteX5" fmla="*/ 19242 w 32263"/>
                  <a:gd name="connsiteY5" fmla="*/ 20956 h 41911"/>
                  <a:gd name="connsiteX6" fmla="*/ 11335 w 32263"/>
                  <a:gd name="connsiteY6" fmla="*/ 13049 h 41911"/>
                  <a:gd name="connsiteX7" fmla="*/ 6525 w 32263"/>
                  <a:gd name="connsiteY7" fmla="*/ 13049 h 41911"/>
                  <a:gd name="connsiteX8" fmla="*/ 0 w 32263"/>
                  <a:gd name="connsiteY8" fmla="*/ 6524 h 41911"/>
                  <a:gd name="connsiteX9" fmla="*/ 6525 w 32263"/>
                  <a:gd name="connsiteY9" fmla="*/ 0 h 41911"/>
                  <a:gd name="connsiteX10" fmla="*/ 11335 w 32263"/>
                  <a:gd name="connsiteY10" fmla="*/ 0 h 41911"/>
                  <a:gd name="connsiteX11" fmla="*/ 32263 w 32263"/>
                  <a:gd name="connsiteY11" fmla="*/ 20928 h 41911"/>
                  <a:gd name="connsiteX12" fmla="*/ 11335 w 32263"/>
                  <a:gd name="connsiteY12" fmla="*/ 41912 h 4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263" h="41911">
                    <a:moveTo>
                      <a:pt x="11335" y="41912"/>
                    </a:moveTo>
                    <a:lnTo>
                      <a:pt x="6525" y="41912"/>
                    </a:lnTo>
                    <a:cubicBezTo>
                      <a:pt x="2930" y="41912"/>
                      <a:pt x="0" y="38981"/>
                      <a:pt x="0" y="35387"/>
                    </a:cubicBezTo>
                    <a:cubicBezTo>
                      <a:pt x="0" y="31793"/>
                      <a:pt x="2930" y="28863"/>
                      <a:pt x="6525" y="28863"/>
                    </a:cubicBezTo>
                    <a:lnTo>
                      <a:pt x="11335" y="28863"/>
                    </a:lnTo>
                    <a:cubicBezTo>
                      <a:pt x="15675" y="28863"/>
                      <a:pt x="19242" y="25324"/>
                      <a:pt x="19242" y="20956"/>
                    </a:cubicBezTo>
                    <a:cubicBezTo>
                      <a:pt x="19242" y="16615"/>
                      <a:pt x="15703" y="13049"/>
                      <a:pt x="11335" y="13049"/>
                    </a:cubicBezTo>
                    <a:lnTo>
                      <a:pt x="6525" y="13049"/>
                    </a:lnTo>
                    <a:cubicBezTo>
                      <a:pt x="2930" y="13049"/>
                      <a:pt x="0" y="10119"/>
                      <a:pt x="0" y="6524"/>
                    </a:cubicBezTo>
                    <a:cubicBezTo>
                      <a:pt x="0" y="2930"/>
                      <a:pt x="2930" y="0"/>
                      <a:pt x="6525" y="0"/>
                    </a:cubicBezTo>
                    <a:lnTo>
                      <a:pt x="11335" y="0"/>
                    </a:lnTo>
                    <a:cubicBezTo>
                      <a:pt x="22891" y="0"/>
                      <a:pt x="32263" y="9400"/>
                      <a:pt x="32263" y="20928"/>
                    </a:cubicBezTo>
                    <a:cubicBezTo>
                      <a:pt x="32263" y="32457"/>
                      <a:pt x="22864" y="41912"/>
                      <a:pt x="11335" y="41912"/>
                    </a:cubicBezTo>
                    <a:close/>
                  </a:path>
                </a:pathLst>
              </a:custGeom>
              <a:solidFill>
                <a:schemeClr val="accent1"/>
              </a:solidFill>
              <a:ln w="2758" cap="flat">
                <a:noFill/>
                <a:prstDash val="solid"/>
                <a:miter/>
              </a:ln>
            </p:spPr>
            <p:txBody>
              <a:bodyPr rtlCol="0" anchor="ctr"/>
              <a:lstStyle/>
              <a:p>
                <a:endParaRPr lang="en-GB" dirty="0"/>
              </a:p>
            </p:txBody>
          </p:sp>
          <p:sp>
            <p:nvSpPr>
              <p:cNvPr id="697" name="Freihandform: Form 1183">
                <a:extLst>
                  <a:ext uri="{FF2B5EF4-FFF2-40B4-BE49-F238E27FC236}">
                    <a16:creationId xmlns:a16="http://schemas.microsoft.com/office/drawing/2014/main" id="{E31FF690-E047-41D5-BE9E-3D0F7DA3EC5A}"/>
                  </a:ext>
                </a:extLst>
              </p:cNvPr>
              <p:cNvSpPr/>
              <p:nvPr/>
            </p:nvSpPr>
            <p:spPr>
              <a:xfrm>
                <a:off x="6464429" y="2813308"/>
                <a:ext cx="32263" cy="41911"/>
              </a:xfrm>
              <a:custGeom>
                <a:avLst/>
                <a:gdLst>
                  <a:gd name="connsiteX0" fmla="*/ 11335 w 32263"/>
                  <a:gd name="connsiteY0" fmla="*/ 41912 h 41911"/>
                  <a:gd name="connsiteX1" fmla="*/ 6525 w 32263"/>
                  <a:gd name="connsiteY1" fmla="*/ 41912 h 41911"/>
                  <a:gd name="connsiteX2" fmla="*/ 0 w 32263"/>
                  <a:gd name="connsiteY2" fmla="*/ 35387 h 41911"/>
                  <a:gd name="connsiteX3" fmla="*/ 6525 w 32263"/>
                  <a:gd name="connsiteY3" fmla="*/ 28863 h 41911"/>
                  <a:gd name="connsiteX4" fmla="*/ 11335 w 32263"/>
                  <a:gd name="connsiteY4" fmla="*/ 28863 h 41911"/>
                  <a:gd name="connsiteX5" fmla="*/ 19242 w 32263"/>
                  <a:gd name="connsiteY5" fmla="*/ 20956 h 41911"/>
                  <a:gd name="connsiteX6" fmla="*/ 11335 w 32263"/>
                  <a:gd name="connsiteY6" fmla="*/ 13049 h 41911"/>
                  <a:gd name="connsiteX7" fmla="*/ 6525 w 32263"/>
                  <a:gd name="connsiteY7" fmla="*/ 13049 h 41911"/>
                  <a:gd name="connsiteX8" fmla="*/ 0 w 32263"/>
                  <a:gd name="connsiteY8" fmla="*/ 6524 h 41911"/>
                  <a:gd name="connsiteX9" fmla="*/ 6525 w 32263"/>
                  <a:gd name="connsiteY9" fmla="*/ 0 h 41911"/>
                  <a:gd name="connsiteX10" fmla="*/ 11335 w 32263"/>
                  <a:gd name="connsiteY10" fmla="*/ 0 h 41911"/>
                  <a:gd name="connsiteX11" fmla="*/ 32263 w 32263"/>
                  <a:gd name="connsiteY11" fmla="*/ 20956 h 41911"/>
                  <a:gd name="connsiteX12" fmla="*/ 11335 w 32263"/>
                  <a:gd name="connsiteY12" fmla="*/ 41912 h 4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263" h="41911">
                    <a:moveTo>
                      <a:pt x="11335" y="41912"/>
                    </a:moveTo>
                    <a:lnTo>
                      <a:pt x="6525" y="41912"/>
                    </a:lnTo>
                    <a:cubicBezTo>
                      <a:pt x="2930" y="41912"/>
                      <a:pt x="0" y="38981"/>
                      <a:pt x="0" y="35387"/>
                    </a:cubicBezTo>
                    <a:cubicBezTo>
                      <a:pt x="0" y="31793"/>
                      <a:pt x="2930" y="28863"/>
                      <a:pt x="6525" y="28863"/>
                    </a:cubicBezTo>
                    <a:lnTo>
                      <a:pt x="11335" y="28863"/>
                    </a:lnTo>
                    <a:cubicBezTo>
                      <a:pt x="15675" y="28863"/>
                      <a:pt x="19242" y="25324"/>
                      <a:pt x="19242" y="20956"/>
                    </a:cubicBezTo>
                    <a:cubicBezTo>
                      <a:pt x="19242" y="16615"/>
                      <a:pt x="15703" y="13049"/>
                      <a:pt x="11335" y="13049"/>
                    </a:cubicBezTo>
                    <a:lnTo>
                      <a:pt x="6525" y="13049"/>
                    </a:lnTo>
                    <a:cubicBezTo>
                      <a:pt x="2930" y="13049"/>
                      <a:pt x="0" y="10119"/>
                      <a:pt x="0" y="6524"/>
                    </a:cubicBezTo>
                    <a:cubicBezTo>
                      <a:pt x="0" y="2930"/>
                      <a:pt x="2930" y="0"/>
                      <a:pt x="6525" y="0"/>
                    </a:cubicBezTo>
                    <a:lnTo>
                      <a:pt x="11335" y="0"/>
                    </a:lnTo>
                    <a:cubicBezTo>
                      <a:pt x="22891" y="0"/>
                      <a:pt x="32263" y="9400"/>
                      <a:pt x="32263" y="20956"/>
                    </a:cubicBezTo>
                    <a:cubicBezTo>
                      <a:pt x="32263" y="32540"/>
                      <a:pt x="22864" y="41912"/>
                      <a:pt x="11335" y="41912"/>
                    </a:cubicBezTo>
                    <a:close/>
                  </a:path>
                </a:pathLst>
              </a:custGeom>
              <a:solidFill>
                <a:schemeClr val="accent1"/>
              </a:solidFill>
              <a:ln w="2758" cap="flat">
                <a:noFill/>
                <a:prstDash val="solid"/>
                <a:miter/>
              </a:ln>
            </p:spPr>
            <p:txBody>
              <a:bodyPr rtlCol="0" anchor="ctr"/>
              <a:lstStyle/>
              <a:p>
                <a:endParaRPr lang="en-GB" dirty="0"/>
              </a:p>
            </p:txBody>
          </p:sp>
          <p:sp>
            <p:nvSpPr>
              <p:cNvPr id="698" name="Freihandform: Form 1184">
                <a:extLst>
                  <a:ext uri="{FF2B5EF4-FFF2-40B4-BE49-F238E27FC236}">
                    <a16:creationId xmlns:a16="http://schemas.microsoft.com/office/drawing/2014/main" id="{9987C942-D1C2-4079-A7BC-146F625B127C}"/>
                  </a:ext>
                </a:extLst>
              </p:cNvPr>
              <p:cNvSpPr/>
              <p:nvPr/>
            </p:nvSpPr>
            <p:spPr>
              <a:xfrm>
                <a:off x="6325036" y="2683570"/>
                <a:ext cx="171655" cy="200484"/>
              </a:xfrm>
              <a:custGeom>
                <a:avLst/>
                <a:gdLst>
                  <a:gd name="connsiteX0" fmla="*/ 150727 w 171655"/>
                  <a:gd name="connsiteY0" fmla="*/ 200485 h 200484"/>
                  <a:gd name="connsiteX1" fmla="*/ 73815 w 171655"/>
                  <a:gd name="connsiteY1" fmla="*/ 200485 h 200484"/>
                  <a:gd name="connsiteX2" fmla="*/ 41497 w 171655"/>
                  <a:gd name="connsiteY2" fmla="*/ 190864 h 200484"/>
                  <a:gd name="connsiteX3" fmla="*/ 6524 w 171655"/>
                  <a:gd name="connsiteY3" fmla="*/ 190864 h 200484"/>
                  <a:gd name="connsiteX4" fmla="*/ 0 w 171655"/>
                  <a:gd name="connsiteY4" fmla="*/ 184339 h 200484"/>
                  <a:gd name="connsiteX5" fmla="*/ 0 w 171655"/>
                  <a:gd name="connsiteY5" fmla="*/ 93024 h 200484"/>
                  <a:gd name="connsiteX6" fmla="*/ 6524 w 171655"/>
                  <a:gd name="connsiteY6" fmla="*/ 86499 h 200484"/>
                  <a:gd name="connsiteX7" fmla="*/ 36300 w 171655"/>
                  <a:gd name="connsiteY7" fmla="*/ 86499 h 200484"/>
                  <a:gd name="connsiteX8" fmla="*/ 77410 w 171655"/>
                  <a:gd name="connsiteY8" fmla="*/ 10030 h 200484"/>
                  <a:gd name="connsiteX9" fmla="*/ 77686 w 171655"/>
                  <a:gd name="connsiteY9" fmla="*/ 9256 h 200484"/>
                  <a:gd name="connsiteX10" fmla="*/ 90956 w 171655"/>
                  <a:gd name="connsiteY10" fmla="*/ 105 h 200484"/>
                  <a:gd name="connsiteX11" fmla="*/ 103286 w 171655"/>
                  <a:gd name="connsiteY11" fmla="*/ 4196 h 200484"/>
                  <a:gd name="connsiteX12" fmla="*/ 109064 w 171655"/>
                  <a:gd name="connsiteY12" fmla="*/ 24738 h 200484"/>
                  <a:gd name="connsiteX13" fmla="*/ 98918 w 171655"/>
                  <a:gd name="connsiteY13" fmla="*/ 72096 h 200484"/>
                  <a:gd name="connsiteX14" fmla="*/ 150727 w 171655"/>
                  <a:gd name="connsiteY14" fmla="*/ 72096 h 200484"/>
                  <a:gd name="connsiteX15" fmla="*/ 171656 w 171655"/>
                  <a:gd name="connsiteY15" fmla="*/ 93024 h 200484"/>
                  <a:gd name="connsiteX16" fmla="*/ 150727 w 171655"/>
                  <a:gd name="connsiteY16" fmla="*/ 113952 h 200484"/>
                  <a:gd name="connsiteX17" fmla="*/ 145917 w 171655"/>
                  <a:gd name="connsiteY17" fmla="*/ 113952 h 200484"/>
                  <a:gd name="connsiteX18" fmla="*/ 139392 w 171655"/>
                  <a:gd name="connsiteY18" fmla="*/ 107428 h 200484"/>
                  <a:gd name="connsiteX19" fmla="*/ 145917 w 171655"/>
                  <a:gd name="connsiteY19" fmla="*/ 100903 h 200484"/>
                  <a:gd name="connsiteX20" fmla="*/ 150727 w 171655"/>
                  <a:gd name="connsiteY20" fmla="*/ 100903 h 200484"/>
                  <a:gd name="connsiteX21" fmla="*/ 158634 w 171655"/>
                  <a:gd name="connsiteY21" fmla="*/ 92996 h 200484"/>
                  <a:gd name="connsiteX22" fmla="*/ 150727 w 171655"/>
                  <a:gd name="connsiteY22" fmla="*/ 85089 h 200484"/>
                  <a:gd name="connsiteX23" fmla="*/ 90597 w 171655"/>
                  <a:gd name="connsiteY23" fmla="*/ 85089 h 200484"/>
                  <a:gd name="connsiteX24" fmla="*/ 85455 w 171655"/>
                  <a:gd name="connsiteY24" fmla="*/ 82574 h 200484"/>
                  <a:gd name="connsiteX25" fmla="*/ 84266 w 171655"/>
                  <a:gd name="connsiteY25" fmla="*/ 76989 h 200484"/>
                  <a:gd name="connsiteX26" fmla="*/ 96043 w 171655"/>
                  <a:gd name="connsiteY26" fmla="*/ 24848 h 200484"/>
                  <a:gd name="connsiteX27" fmla="*/ 96043 w 171655"/>
                  <a:gd name="connsiteY27" fmla="*/ 24129 h 200484"/>
                  <a:gd name="connsiteX28" fmla="*/ 94218 w 171655"/>
                  <a:gd name="connsiteY28" fmla="*/ 13513 h 200484"/>
                  <a:gd name="connsiteX29" fmla="*/ 92339 w 171655"/>
                  <a:gd name="connsiteY29" fmla="*/ 13016 h 200484"/>
                  <a:gd name="connsiteX30" fmla="*/ 89740 w 171655"/>
                  <a:gd name="connsiteY30" fmla="*/ 14260 h 200484"/>
                  <a:gd name="connsiteX31" fmla="*/ 39258 w 171655"/>
                  <a:gd name="connsiteY31" fmla="*/ 99382 h 200484"/>
                  <a:gd name="connsiteX32" fmla="*/ 37958 w 171655"/>
                  <a:gd name="connsiteY32" fmla="*/ 99521 h 200484"/>
                  <a:gd name="connsiteX33" fmla="*/ 13049 w 171655"/>
                  <a:gd name="connsiteY33" fmla="*/ 99521 h 200484"/>
                  <a:gd name="connsiteX34" fmla="*/ 13049 w 171655"/>
                  <a:gd name="connsiteY34" fmla="*/ 177787 h 200484"/>
                  <a:gd name="connsiteX35" fmla="*/ 43543 w 171655"/>
                  <a:gd name="connsiteY35" fmla="*/ 177787 h 200484"/>
                  <a:gd name="connsiteX36" fmla="*/ 47386 w 171655"/>
                  <a:gd name="connsiteY36" fmla="*/ 179031 h 200484"/>
                  <a:gd name="connsiteX37" fmla="*/ 73788 w 171655"/>
                  <a:gd name="connsiteY37" fmla="*/ 187381 h 200484"/>
                  <a:gd name="connsiteX38" fmla="*/ 150700 w 171655"/>
                  <a:gd name="connsiteY38" fmla="*/ 187381 h 200484"/>
                  <a:gd name="connsiteX39" fmla="*/ 158607 w 171655"/>
                  <a:gd name="connsiteY39" fmla="*/ 179474 h 200484"/>
                  <a:gd name="connsiteX40" fmla="*/ 150700 w 171655"/>
                  <a:gd name="connsiteY40" fmla="*/ 171567 h 200484"/>
                  <a:gd name="connsiteX41" fmla="*/ 145889 w 171655"/>
                  <a:gd name="connsiteY41" fmla="*/ 171567 h 200484"/>
                  <a:gd name="connsiteX42" fmla="*/ 139365 w 171655"/>
                  <a:gd name="connsiteY42" fmla="*/ 165042 h 200484"/>
                  <a:gd name="connsiteX43" fmla="*/ 145889 w 171655"/>
                  <a:gd name="connsiteY43" fmla="*/ 158518 h 200484"/>
                  <a:gd name="connsiteX44" fmla="*/ 150700 w 171655"/>
                  <a:gd name="connsiteY44" fmla="*/ 158518 h 200484"/>
                  <a:gd name="connsiteX45" fmla="*/ 171628 w 171655"/>
                  <a:gd name="connsiteY45" fmla="*/ 179446 h 200484"/>
                  <a:gd name="connsiteX46" fmla="*/ 150727 w 171655"/>
                  <a:gd name="connsiteY46" fmla="*/ 200485 h 20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71655" h="200484">
                    <a:moveTo>
                      <a:pt x="150727" y="200485"/>
                    </a:moveTo>
                    <a:lnTo>
                      <a:pt x="73815" y="200485"/>
                    </a:lnTo>
                    <a:cubicBezTo>
                      <a:pt x="62011" y="200485"/>
                      <a:pt x="50869" y="197167"/>
                      <a:pt x="41497" y="190864"/>
                    </a:cubicBezTo>
                    <a:lnTo>
                      <a:pt x="6524" y="190864"/>
                    </a:lnTo>
                    <a:cubicBezTo>
                      <a:pt x="2930" y="190864"/>
                      <a:pt x="0" y="187933"/>
                      <a:pt x="0" y="184339"/>
                    </a:cubicBezTo>
                    <a:lnTo>
                      <a:pt x="0" y="93024"/>
                    </a:lnTo>
                    <a:cubicBezTo>
                      <a:pt x="0" y="89430"/>
                      <a:pt x="2930" y="86499"/>
                      <a:pt x="6524" y="86499"/>
                    </a:cubicBezTo>
                    <a:lnTo>
                      <a:pt x="36300" y="86499"/>
                    </a:lnTo>
                    <a:cubicBezTo>
                      <a:pt x="44704" y="79228"/>
                      <a:pt x="73152" y="25235"/>
                      <a:pt x="77410" y="10030"/>
                    </a:cubicBezTo>
                    <a:cubicBezTo>
                      <a:pt x="77492" y="9753"/>
                      <a:pt x="77575" y="9504"/>
                      <a:pt x="77686" y="9256"/>
                    </a:cubicBezTo>
                    <a:cubicBezTo>
                      <a:pt x="79732" y="4417"/>
                      <a:pt x="85068" y="741"/>
                      <a:pt x="90956" y="105"/>
                    </a:cubicBezTo>
                    <a:cubicBezTo>
                      <a:pt x="95684" y="-421"/>
                      <a:pt x="100052" y="1045"/>
                      <a:pt x="103286" y="4196"/>
                    </a:cubicBezTo>
                    <a:cubicBezTo>
                      <a:pt x="107738" y="8509"/>
                      <a:pt x="109700" y="15421"/>
                      <a:pt x="109064" y="24738"/>
                    </a:cubicBezTo>
                    <a:cubicBezTo>
                      <a:pt x="109092" y="27032"/>
                      <a:pt x="108152" y="34552"/>
                      <a:pt x="98918" y="72096"/>
                    </a:cubicBezTo>
                    <a:lnTo>
                      <a:pt x="150727" y="72096"/>
                    </a:lnTo>
                    <a:cubicBezTo>
                      <a:pt x="162284" y="72096"/>
                      <a:pt x="171656" y="81495"/>
                      <a:pt x="171656" y="93024"/>
                    </a:cubicBezTo>
                    <a:cubicBezTo>
                      <a:pt x="171656" y="104552"/>
                      <a:pt x="162256" y="113952"/>
                      <a:pt x="150727" y="113952"/>
                    </a:cubicBezTo>
                    <a:lnTo>
                      <a:pt x="145917" y="113952"/>
                    </a:lnTo>
                    <a:cubicBezTo>
                      <a:pt x="142323" y="113952"/>
                      <a:pt x="139392" y="111022"/>
                      <a:pt x="139392" y="107428"/>
                    </a:cubicBezTo>
                    <a:cubicBezTo>
                      <a:pt x="139392" y="103834"/>
                      <a:pt x="142323" y="100903"/>
                      <a:pt x="145917" y="100903"/>
                    </a:cubicBezTo>
                    <a:lnTo>
                      <a:pt x="150727" y="100903"/>
                    </a:lnTo>
                    <a:cubicBezTo>
                      <a:pt x="155068" y="100903"/>
                      <a:pt x="158634" y="97364"/>
                      <a:pt x="158634" y="92996"/>
                    </a:cubicBezTo>
                    <a:cubicBezTo>
                      <a:pt x="158634" y="88656"/>
                      <a:pt x="155096" y="85089"/>
                      <a:pt x="150727" y="85089"/>
                    </a:cubicBezTo>
                    <a:lnTo>
                      <a:pt x="90597" y="85089"/>
                    </a:lnTo>
                    <a:cubicBezTo>
                      <a:pt x="88579" y="85089"/>
                      <a:pt x="86699" y="84177"/>
                      <a:pt x="85455" y="82574"/>
                    </a:cubicBezTo>
                    <a:cubicBezTo>
                      <a:pt x="84211" y="80998"/>
                      <a:pt x="83768" y="78924"/>
                      <a:pt x="84266" y="76989"/>
                    </a:cubicBezTo>
                    <a:cubicBezTo>
                      <a:pt x="92228" y="45058"/>
                      <a:pt x="95932" y="27585"/>
                      <a:pt x="96043" y="24848"/>
                    </a:cubicBezTo>
                    <a:cubicBezTo>
                      <a:pt x="95988" y="24461"/>
                      <a:pt x="96015" y="24516"/>
                      <a:pt x="96043" y="24129"/>
                    </a:cubicBezTo>
                    <a:cubicBezTo>
                      <a:pt x="96485" y="18047"/>
                      <a:pt x="95407" y="14674"/>
                      <a:pt x="94218" y="13513"/>
                    </a:cubicBezTo>
                    <a:cubicBezTo>
                      <a:pt x="93997" y="13292"/>
                      <a:pt x="93527" y="12877"/>
                      <a:pt x="92339" y="13016"/>
                    </a:cubicBezTo>
                    <a:cubicBezTo>
                      <a:pt x="91150" y="13154"/>
                      <a:pt x="90071" y="13845"/>
                      <a:pt x="89740" y="14260"/>
                    </a:cubicBezTo>
                    <a:cubicBezTo>
                      <a:pt x="85952" y="25622"/>
                      <a:pt x="53744" y="96424"/>
                      <a:pt x="39258" y="99382"/>
                    </a:cubicBezTo>
                    <a:cubicBezTo>
                      <a:pt x="38815" y="99465"/>
                      <a:pt x="38401" y="99521"/>
                      <a:pt x="37958" y="99521"/>
                    </a:cubicBezTo>
                    <a:lnTo>
                      <a:pt x="13049" y="99521"/>
                    </a:lnTo>
                    <a:lnTo>
                      <a:pt x="13049" y="177787"/>
                    </a:lnTo>
                    <a:lnTo>
                      <a:pt x="43543" y="177787"/>
                    </a:lnTo>
                    <a:cubicBezTo>
                      <a:pt x="44925" y="177787"/>
                      <a:pt x="46280" y="178230"/>
                      <a:pt x="47386" y="179031"/>
                    </a:cubicBezTo>
                    <a:cubicBezTo>
                      <a:pt x="54988" y="184588"/>
                      <a:pt x="63863" y="187381"/>
                      <a:pt x="73788" y="187381"/>
                    </a:cubicBezTo>
                    <a:lnTo>
                      <a:pt x="150700" y="187381"/>
                    </a:lnTo>
                    <a:cubicBezTo>
                      <a:pt x="155040" y="187381"/>
                      <a:pt x="158607" y="183842"/>
                      <a:pt x="158607" y="179474"/>
                    </a:cubicBezTo>
                    <a:cubicBezTo>
                      <a:pt x="158607" y="175133"/>
                      <a:pt x="155068" y="171567"/>
                      <a:pt x="150700" y="171567"/>
                    </a:cubicBezTo>
                    <a:lnTo>
                      <a:pt x="145889" y="171567"/>
                    </a:lnTo>
                    <a:cubicBezTo>
                      <a:pt x="142295" y="171567"/>
                      <a:pt x="139365" y="168636"/>
                      <a:pt x="139365" y="165042"/>
                    </a:cubicBezTo>
                    <a:cubicBezTo>
                      <a:pt x="139365" y="161448"/>
                      <a:pt x="142295" y="158518"/>
                      <a:pt x="145889" y="158518"/>
                    </a:cubicBezTo>
                    <a:lnTo>
                      <a:pt x="150700" y="158518"/>
                    </a:lnTo>
                    <a:cubicBezTo>
                      <a:pt x="162256" y="158518"/>
                      <a:pt x="171628" y="167918"/>
                      <a:pt x="171628" y="179446"/>
                    </a:cubicBezTo>
                    <a:cubicBezTo>
                      <a:pt x="171656" y="191113"/>
                      <a:pt x="162256" y="200485"/>
                      <a:pt x="150727" y="200485"/>
                    </a:cubicBezTo>
                    <a:close/>
                  </a:path>
                </a:pathLst>
              </a:custGeom>
              <a:solidFill>
                <a:schemeClr val="accent1"/>
              </a:solidFill>
              <a:ln w="2758" cap="flat">
                <a:noFill/>
                <a:prstDash val="solid"/>
                <a:miter/>
              </a:ln>
            </p:spPr>
            <p:txBody>
              <a:bodyPr rtlCol="0" anchor="ctr"/>
              <a:lstStyle/>
              <a:p>
                <a:endParaRPr lang="en-GB" dirty="0"/>
              </a:p>
            </p:txBody>
          </p:sp>
        </p:grpSp>
        <p:grpSp>
          <p:nvGrpSpPr>
            <p:cNvPr id="688" name="Grafik 27">
              <a:extLst>
                <a:ext uri="{FF2B5EF4-FFF2-40B4-BE49-F238E27FC236}">
                  <a16:creationId xmlns:a16="http://schemas.microsoft.com/office/drawing/2014/main" id="{EC04E76D-EA76-40B8-9764-9D3573A0EE79}"/>
                </a:ext>
              </a:extLst>
            </p:cNvPr>
            <p:cNvGrpSpPr/>
            <p:nvPr/>
          </p:nvGrpSpPr>
          <p:grpSpPr>
            <a:xfrm>
              <a:off x="8126113" y="3197068"/>
              <a:ext cx="432287" cy="349298"/>
              <a:chOff x="6128997" y="2453851"/>
              <a:chExt cx="430489" cy="347845"/>
            </a:xfrm>
            <a:solidFill>
              <a:schemeClr val="tx2"/>
            </a:solidFill>
          </p:grpSpPr>
          <p:grpSp>
            <p:nvGrpSpPr>
              <p:cNvPr id="689" name="Grafik 27">
                <a:extLst>
                  <a:ext uri="{FF2B5EF4-FFF2-40B4-BE49-F238E27FC236}">
                    <a16:creationId xmlns:a16="http://schemas.microsoft.com/office/drawing/2014/main" id="{38B3B872-8416-456E-B6FB-26B24135DCD9}"/>
                  </a:ext>
                </a:extLst>
              </p:cNvPr>
              <p:cNvGrpSpPr/>
              <p:nvPr/>
            </p:nvGrpSpPr>
            <p:grpSpPr>
              <a:xfrm>
                <a:off x="6128997" y="2453851"/>
                <a:ext cx="347900" cy="347845"/>
                <a:chOff x="6128997" y="2453851"/>
                <a:chExt cx="347900" cy="347845"/>
              </a:xfrm>
              <a:grpFill/>
            </p:grpSpPr>
            <p:sp>
              <p:nvSpPr>
                <p:cNvPr id="692" name="Freihandform: Form 1187">
                  <a:extLst>
                    <a:ext uri="{FF2B5EF4-FFF2-40B4-BE49-F238E27FC236}">
                      <a16:creationId xmlns:a16="http://schemas.microsoft.com/office/drawing/2014/main" id="{07B16893-AE04-4AF6-A673-0473FDA39AB6}"/>
                    </a:ext>
                  </a:extLst>
                </p:cNvPr>
                <p:cNvSpPr/>
                <p:nvPr/>
              </p:nvSpPr>
              <p:spPr>
                <a:xfrm>
                  <a:off x="6128997" y="2453851"/>
                  <a:ext cx="180032" cy="300459"/>
                </a:xfrm>
                <a:custGeom>
                  <a:avLst/>
                  <a:gdLst>
                    <a:gd name="connsiteX0" fmla="*/ 58776 w 180032"/>
                    <a:gd name="connsiteY0" fmla="*/ 300460 h 300459"/>
                    <a:gd name="connsiteX1" fmla="*/ 54297 w 180032"/>
                    <a:gd name="connsiteY1" fmla="*/ 298663 h 300459"/>
                    <a:gd name="connsiteX2" fmla="*/ 53717 w 180032"/>
                    <a:gd name="connsiteY2" fmla="*/ 298165 h 300459"/>
                    <a:gd name="connsiteX3" fmla="*/ 52500 w 180032"/>
                    <a:gd name="connsiteY3" fmla="*/ 297087 h 300459"/>
                    <a:gd name="connsiteX4" fmla="*/ 0 w 180032"/>
                    <a:gd name="connsiteY4" fmla="*/ 172955 h 300459"/>
                    <a:gd name="connsiteX5" fmla="*/ 172955 w 180032"/>
                    <a:gd name="connsiteY5" fmla="*/ 0 h 300459"/>
                    <a:gd name="connsiteX6" fmla="*/ 173757 w 180032"/>
                    <a:gd name="connsiteY6" fmla="*/ 28 h 300459"/>
                    <a:gd name="connsiteX7" fmla="*/ 180032 w 180032"/>
                    <a:gd name="connsiteY7" fmla="*/ 6552 h 300459"/>
                    <a:gd name="connsiteX8" fmla="*/ 180032 w 180032"/>
                    <a:gd name="connsiteY8" fmla="*/ 179286 h 300459"/>
                    <a:gd name="connsiteX9" fmla="*/ 178125 w 180032"/>
                    <a:gd name="connsiteY9" fmla="*/ 183875 h 300459"/>
                    <a:gd name="connsiteX10" fmla="*/ 112852 w 180032"/>
                    <a:gd name="connsiteY10" fmla="*/ 249148 h 300459"/>
                    <a:gd name="connsiteX11" fmla="*/ 103618 w 180032"/>
                    <a:gd name="connsiteY11" fmla="*/ 249148 h 300459"/>
                    <a:gd name="connsiteX12" fmla="*/ 103618 w 180032"/>
                    <a:gd name="connsiteY12" fmla="*/ 239914 h 300459"/>
                    <a:gd name="connsiteX13" fmla="*/ 167011 w 180032"/>
                    <a:gd name="connsiteY13" fmla="*/ 176521 h 300459"/>
                    <a:gd name="connsiteX14" fmla="*/ 167011 w 180032"/>
                    <a:gd name="connsiteY14" fmla="*/ 173619 h 300459"/>
                    <a:gd name="connsiteX15" fmla="*/ 167011 w 180032"/>
                    <a:gd name="connsiteY15" fmla="*/ 13104 h 300459"/>
                    <a:gd name="connsiteX16" fmla="*/ 13077 w 180032"/>
                    <a:gd name="connsiteY16" fmla="*/ 172927 h 300459"/>
                    <a:gd name="connsiteX17" fmla="*/ 58721 w 180032"/>
                    <a:gd name="connsiteY17" fmla="*/ 284812 h 300459"/>
                    <a:gd name="connsiteX18" fmla="*/ 85261 w 180032"/>
                    <a:gd name="connsiteY18" fmla="*/ 258271 h 300459"/>
                    <a:gd name="connsiteX19" fmla="*/ 94495 w 180032"/>
                    <a:gd name="connsiteY19" fmla="*/ 258271 h 300459"/>
                    <a:gd name="connsiteX20" fmla="*/ 94495 w 180032"/>
                    <a:gd name="connsiteY20" fmla="*/ 267505 h 300459"/>
                    <a:gd name="connsiteX21" fmla="*/ 63448 w 180032"/>
                    <a:gd name="connsiteY21" fmla="*/ 298552 h 300459"/>
                    <a:gd name="connsiteX22" fmla="*/ 58776 w 180032"/>
                    <a:gd name="connsiteY22" fmla="*/ 300460 h 30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0032" h="300459">
                      <a:moveTo>
                        <a:pt x="58776" y="300460"/>
                      </a:moveTo>
                      <a:cubicBezTo>
                        <a:pt x="57172" y="300460"/>
                        <a:pt x="55541" y="299851"/>
                        <a:pt x="54297" y="298663"/>
                      </a:cubicBezTo>
                      <a:lnTo>
                        <a:pt x="53717" y="298165"/>
                      </a:lnTo>
                      <a:cubicBezTo>
                        <a:pt x="53302" y="297806"/>
                        <a:pt x="52887" y="297446"/>
                        <a:pt x="52500" y="297087"/>
                      </a:cubicBezTo>
                      <a:cubicBezTo>
                        <a:pt x="18634" y="264215"/>
                        <a:pt x="0" y="220120"/>
                        <a:pt x="0" y="172955"/>
                      </a:cubicBezTo>
                      <a:cubicBezTo>
                        <a:pt x="0" y="77575"/>
                        <a:pt x="77575" y="0"/>
                        <a:pt x="172955" y="0"/>
                      </a:cubicBezTo>
                      <a:cubicBezTo>
                        <a:pt x="173121" y="0"/>
                        <a:pt x="173563" y="28"/>
                        <a:pt x="173757" y="28"/>
                      </a:cubicBezTo>
                      <a:cubicBezTo>
                        <a:pt x="177157" y="304"/>
                        <a:pt x="180032" y="3152"/>
                        <a:pt x="180032" y="6552"/>
                      </a:cubicBezTo>
                      <a:lnTo>
                        <a:pt x="180032" y="179286"/>
                      </a:lnTo>
                      <a:cubicBezTo>
                        <a:pt x="180032" y="181000"/>
                        <a:pt x="179341" y="182659"/>
                        <a:pt x="178125" y="183875"/>
                      </a:cubicBezTo>
                      <a:lnTo>
                        <a:pt x="112852" y="249148"/>
                      </a:lnTo>
                      <a:cubicBezTo>
                        <a:pt x="110309" y="251692"/>
                        <a:pt x="106189" y="251692"/>
                        <a:pt x="103618" y="249148"/>
                      </a:cubicBezTo>
                      <a:cubicBezTo>
                        <a:pt x="101075" y="246605"/>
                        <a:pt x="101075" y="242485"/>
                        <a:pt x="103618" y="239914"/>
                      </a:cubicBezTo>
                      <a:lnTo>
                        <a:pt x="167011" y="176521"/>
                      </a:lnTo>
                      <a:lnTo>
                        <a:pt x="167011" y="173619"/>
                      </a:lnTo>
                      <a:lnTo>
                        <a:pt x="167011" y="13104"/>
                      </a:lnTo>
                      <a:cubicBezTo>
                        <a:pt x="81722" y="16145"/>
                        <a:pt x="13077" y="86671"/>
                        <a:pt x="13077" y="172927"/>
                      </a:cubicBezTo>
                      <a:cubicBezTo>
                        <a:pt x="13077" y="215171"/>
                        <a:pt x="29250" y="254733"/>
                        <a:pt x="58721" y="284812"/>
                      </a:cubicBezTo>
                      <a:lnTo>
                        <a:pt x="85261" y="258271"/>
                      </a:lnTo>
                      <a:cubicBezTo>
                        <a:pt x="87805" y="255728"/>
                        <a:pt x="91924" y="255728"/>
                        <a:pt x="94495" y="258271"/>
                      </a:cubicBezTo>
                      <a:cubicBezTo>
                        <a:pt x="97038" y="260815"/>
                        <a:pt x="97038" y="264934"/>
                        <a:pt x="94495" y="267505"/>
                      </a:cubicBezTo>
                      <a:lnTo>
                        <a:pt x="63448" y="298552"/>
                      </a:lnTo>
                      <a:cubicBezTo>
                        <a:pt x="62121" y="299796"/>
                        <a:pt x="60462" y="300460"/>
                        <a:pt x="58776" y="300460"/>
                      </a:cubicBezTo>
                      <a:close/>
                    </a:path>
                  </a:pathLst>
                </a:custGeom>
                <a:grpFill/>
                <a:ln w="2758" cap="flat">
                  <a:noFill/>
                  <a:prstDash val="solid"/>
                  <a:miter/>
                </a:ln>
              </p:spPr>
              <p:txBody>
                <a:bodyPr rtlCol="0" anchor="ctr"/>
                <a:lstStyle/>
                <a:p>
                  <a:endParaRPr lang="en-GB" dirty="0"/>
                </a:p>
              </p:txBody>
            </p:sp>
            <p:sp>
              <p:nvSpPr>
                <p:cNvPr id="693" name="Freihandform: Form 1188">
                  <a:extLst>
                    <a:ext uri="{FF2B5EF4-FFF2-40B4-BE49-F238E27FC236}">
                      <a16:creationId xmlns:a16="http://schemas.microsoft.com/office/drawing/2014/main" id="{3B7AC22B-5886-445A-B38D-D9BD19B6FB00}"/>
                    </a:ext>
                  </a:extLst>
                </p:cNvPr>
                <p:cNvSpPr/>
                <p:nvPr/>
              </p:nvSpPr>
              <p:spPr>
                <a:xfrm>
                  <a:off x="6326619" y="2456539"/>
                  <a:ext cx="150278" cy="233355"/>
                </a:xfrm>
                <a:custGeom>
                  <a:avLst/>
                  <a:gdLst>
                    <a:gd name="connsiteX0" fmla="*/ 134271 w 150278"/>
                    <a:gd name="connsiteY0" fmla="*/ 233355 h 233355"/>
                    <a:gd name="connsiteX1" fmla="*/ 132115 w 150278"/>
                    <a:gd name="connsiteY1" fmla="*/ 232996 h 233355"/>
                    <a:gd name="connsiteX2" fmla="*/ 128134 w 150278"/>
                    <a:gd name="connsiteY2" fmla="*/ 224675 h 233355"/>
                    <a:gd name="connsiteX3" fmla="*/ 135294 w 150278"/>
                    <a:gd name="connsiteY3" fmla="*/ 196199 h 233355"/>
                    <a:gd name="connsiteX4" fmla="*/ 137229 w 150278"/>
                    <a:gd name="connsiteY4" fmla="*/ 171234 h 233355"/>
                    <a:gd name="connsiteX5" fmla="*/ 5357 w 150278"/>
                    <a:gd name="connsiteY5" fmla="*/ 12932 h 233355"/>
                    <a:gd name="connsiteX6" fmla="*/ 104 w 150278"/>
                    <a:gd name="connsiteY6" fmla="*/ 5357 h 233355"/>
                    <a:gd name="connsiteX7" fmla="*/ 7679 w 150278"/>
                    <a:gd name="connsiteY7" fmla="*/ 104 h 233355"/>
                    <a:gd name="connsiteX8" fmla="*/ 150278 w 150278"/>
                    <a:gd name="connsiteY8" fmla="*/ 171234 h 233355"/>
                    <a:gd name="connsiteX9" fmla="*/ 148205 w 150278"/>
                    <a:gd name="connsiteY9" fmla="*/ 198217 h 233355"/>
                    <a:gd name="connsiteX10" fmla="*/ 140464 w 150278"/>
                    <a:gd name="connsiteY10" fmla="*/ 229015 h 233355"/>
                    <a:gd name="connsiteX11" fmla="*/ 134271 w 150278"/>
                    <a:gd name="connsiteY11" fmla="*/ 233355 h 23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278" h="233355">
                      <a:moveTo>
                        <a:pt x="134271" y="233355"/>
                      </a:moveTo>
                      <a:cubicBezTo>
                        <a:pt x="133552" y="233355"/>
                        <a:pt x="132834" y="233245"/>
                        <a:pt x="132115" y="232996"/>
                      </a:cubicBezTo>
                      <a:cubicBezTo>
                        <a:pt x="128714" y="231807"/>
                        <a:pt x="126945" y="228075"/>
                        <a:pt x="128134" y="224675"/>
                      </a:cubicBezTo>
                      <a:cubicBezTo>
                        <a:pt x="131368" y="215468"/>
                        <a:pt x="133774" y="205875"/>
                        <a:pt x="135294" y="196199"/>
                      </a:cubicBezTo>
                      <a:cubicBezTo>
                        <a:pt x="136566" y="188016"/>
                        <a:pt x="137229" y="179611"/>
                        <a:pt x="137229" y="171234"/>
                      </a:cubicBezTo>
                      <a:cubicBezTo>
                        <a:pt x="137229" y="93438"/>
                        <a:pt x="81771" y="26865"/>
                        <a:pt x="5357" y="12932"/>
                      </a:cubicBezTo>
                      <a:cubicBezTo>
                        <a:pt x="1818" y="12296"/>
                        <a:pt x="-532" y="8895"/>
                        <a:pt x="104" y="5357"/>
                      </a:cubicBezTo>
                      <a:cubicBezTo>
                        <a:pt x="740" y="1818"/>
                        <a:pt x="4140" y="-532"/>
                        <a:pt x="7679" y="104"/>
                      </a:cubicBezTo>
                      <a:cubicBezTo>
                        <a:pt x="90314" y="15143"/>
                        <a:pt x="150278" y="87107"/>
                        <a:pt x="150278" y="171234"/>
                      </a:cubicBezTo>
                      <a:cubicBezTo>
                        <a:pt x="150278" y="180275"/>
                        <a:pt x="149587" y="189370"/>
                        <a:pt x="148205" y="198217"/>
                      </a:cubicBezTo>
                      <a:cubicBezTo>
                        <a:pt x="146574" y="208695"/>
                        <a:pt x="143975" y="219062"/>
                        <a:pt x="140464" y="229015"/>
                      </a:cubicBezTo>
                      <a:cubicBezTo>
                        <a:pt x="139469" y="231669"/>
                        <a:pt x="136953" y="233355"/>
                        <a:pt x="134271" y="233355"/>
                      </a:cubicBezTo>
                      <a:close/>
                    </a:path>
                  </a:pathLst>
                </a:custGeom>
                <a:grpFill/>
                <a:ln w="2758" cap="flat">
                  <a:noFill/>
                  <a:prstDash val="solid"/>
                  <a:miter/>
                </a:ln>
              </p:spPr>
              <p:txBody>
                <a:bodyPr rtlCol="0" anchor="ctr"/>
                <a:lstStyle/>
                <a:p>
                  <a:endParaRPr lang="en-GB" dirty="0"/>
                </a:p>
              </p:txBody>
            </p:sp>
            <p:sp>
              <p:nvSpPr>
                <p:cNvPr id="694" name="Freihandform: Form 1189">
                  <a:extLst>
                    <a:ext uri="{FF2B5EF4-FFF2-40B4-BE49-F238E27FC236}">
                      <a16:creationId xmlns:a16="http://schemas.microsoft.com/office/drawing/2014/main" id="{279314C5-24BD-4087-9ED6-1ADF0480120F}"/>
                    </a:ext>
                  </a:extLst>
                </p:cNvPr>
                <p:cNvSpPr/>
                <p:nvPr/>
              </p:nvSpPr>
              <p:spPr>
                <a:xfrm>
                  <a:off x="6205047" y="2761578"/>
                  <a:ext cx="104368" cy="40118"/>
                </a:xfrm>
                <a:custGeom>
                  <a:avLst/>
                  <a:gdLst>
                    <a:gd name="connsiteX0" fmla="*/ 97872 w 104368"/>
                    <a:gd name="connsiteY0" fmla="*/ 40119 h 40118"/>
                    <a:gd name="connsiteX1" fmla="*/ 2962 w 104368"/>
                    <a:gd name="connsiteY1" fmla="*/ 11975 h 40118"/>
                    <a:gd name="connsiteX2" fmla="*/ 1055 w 104368"/>
                    <a:gd name="connsiteY2" fmla="*/ 2962 h 40118"/>
                    <a:gd name="connsiteX3" fmla="*/ 10067 w 104368"/>
                    <a:gd name="connsiteY3" fmla="*/ 1055 h 40118"/>
                    <a:gd name="connsiteX4" fmla="*/ 97844 w 104368"/>
                    <a:gd name="connsiteY4" fmla="*/ 27070 h 40118"/>
                    <a:gd name="connsiteX5" fmla="*/ 104369 w 104368"/>
                    <a:gd name="connsiteY5" fmla="*/ 33594 h 40118"/>
                    <a:gd name="connsiteX6" fmla="*/ 97872 w 104368"/>
                    <a:gd name="connsiteY6" fmla="*/ 40119 h 40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368" h="40118">
                      <a:moveTo>
                        <a:pt x="97872" y="40119"/>
                      </a:moveTo>
                      <a:cubicBezTo>
                        <a:pt x="64005" y="40119"/>
                        <a:pt x="31217" y="30387"/>
                        <a:pt x="2962" y="11975"/>
                      </a:cubicBezTo>
                      <a:cubicBezTo>
                        <a:pt x="-51" y="10012"/>
                        <a:pt x="-908" y="5976"/>
                        <a:pt x="1055" y="2962"/>
                      </a:cubicBezTo>
                      <a:cubicBezTo>
                        <a:pt x="3018" y="-51"/>
                        <a:pt x="7054" y="-908"/>
                        <a:pt x="10067" y="1055"/>
                      </a:cubicBezTo>
                      <a:cubicBezTo>
                        <a:pt x="36165" y="18085"/>
                        <a:pt x="66521" y="27070"/>
                        <a:pt x="97844" y="27070"/>
                      </a:cubicBezTo>
                      <a:cubicBezTo>
                        <a:pt x="101438" y="27070"/>
                        <a:pt x="104369" y="30000"/>
                        <a:pt x="104369" y="33594"/>
                      </a:cubicBezTo>
                      <a:cubicBezTo>
                        <a:pt x="104396" y="37216"/>
                        <a:pt x="101466" y="40119"/>
                        <a:pt x="97872" y="40119"/>
                      </a:cubicBezTo>
                      <a:close/>
                    </a:path>
                  </a:pathLst>
                </a:custGeom>
                <a:grpFill/>
                <a:ln w="2758" cap="flat">
                  <a:noFill/>
                  <a:prstDash val="solid"/>
                  <a:miter/>
                </a:ln>
              </p:spPr>
              <p:txBody>
                <a:bodyPr rtlCol="0" anchor="ctr"/>
                <a:lstStyle/>
                <a:p>
                  <a:endParaRPr lang="en-GB" dirty="0"/>
                </a:p>
              </p:txBody>
            </p:sp>
          </p:grpSp>
          <p:sp>
            <p:nvSpPr>
              <p:cNvPr id="690" name="Freihandform: Form 1190">
                <a:extLst>
                  <a:ext uri="{FF2B5EF4-FFF2-40B4-BE49-F238E27FC236}">
                    <a16:creationId xmlns:a16="http://schemas.microsoft.com/office/drawing/2014/main" id="{3536F1BA-72E4-48ED-A990-0E7CD170E159}"/>
                  </a:ext>
                </a:extLst>
              </p:cNvPr>
              <p:cNvSpPr/>
              <p:nvPr/>
            </p:nvSpPr>
            <p:spPr>
              <a:xfrm>
                <a:off x="6194513" y="2599497"/>
                <a:ext cx="364973" cy="139967"/>
              </a:xfrm>
              <a:custGeom>
                <a:avLst/>
                <a:gdLst>
                  <a:gd name="connsiteX0" fmla="*/ 85017 w 364973"/>
                  <a:gd name="connsiteY0" fmla="*/ 139967 h 139967"/>
                  <a:gd name="connsiteX1" fmla="*/ 80953 w 364973"/>
                  <a:gd name="connsiteY1" fmla="*/ 138557 h 139967"/>
                  <a:gd name="connsiteX2" fmla="*/ 2465 w 364973"/>
                  <a:gd name="connsiteY2" fmla="*/ 76022 h 139967"/>
                  <a:gd name="connsiteX3" fmla="*/ 1415 w 364973"/>
                  <a:gd name="connsiteY3" fmla="*/ 66843 h 139967"/>
                  <a:gd name="connsiteX4" fmla="*/ 10593 w 364973"/>
                  <a:gd name="connsiteY4" fmla="*/ 65792 h 139967"/>
                  <a:gd name="connsiteX5" fmla="*/ 84630 w 364973"/>
                  <a:gd name="connsiteY5" fmla="*/ 124762 h 139967"/>
                  <a:gd name="connsiteX6" fmla="*/ 185484 w 364973"/>
                  <a:gd name="connsiteY6" fmla="*/ 27862 h 139967"/>
                  <a:gd name="connsiteX7" fmla="*/ 193777 w 364973"/>
                  <a:gd name="connsiteY7" fmla="*/ 27254 h 139967"/>
                  <a:gd name="connsiteX8" fmla="*/ 287913 w 364973"/>
                  <a:gd name="connsiteY8" fmla="*/ 93798 h 139967"/>
                  <a:gd name="connsiteX9" fmla="*/ 353158 w 364973"/>
                  <a:gd name="connsiteY9" fmla="*/ 2731 h 139967"/>
                  <a:gd name="connsiteX10" fmla="*/ 362254 w 364973"/>
                  <a:gd name="connsiteY10" fmla="*/ 1238 h 139967"/>
                  <a:gd name="connsiteX11" fmla="*/ 363747 w 364973"/>
                  <a:gd name="connsiteY11" fmla="*/ 10334 h 139967"/>
                  <a:gd name="connsiteX12" fmla="*/ 294714 w 364973"/>
                  <a:gd name="connsiteY12" fmla="*/ 106681 h 139967"/>
                  <a:gd name="connsiteX13" fmla="*/ 285646 w 364973"/>
                  <a:gd name="connsiteY13" fmla="*/ 108202 h 139967"/>
                  <a:gd name="connsiteX14" fmla="*/ 190626 w 364973"/>
                  <a:gd name="connsiteY14" fmla="*/ 41021 h 139967"/>
                  <a:gd name="connsiteX15" fmla="*/ 89551 w 364973"/>
                  <a:gd name="connsiteY15" fmla="*/ 138143 h 139967"/>
                  <a:gd name="connsiteX16" fmla="*/ 85017 w 364973"/>
                  <a:gd name="connsiteY16" fmla="*/ 139967 h 13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4973" h="139967">
                    <a:moveTo>
                      <a:pt x="85017" y="139967"/>
                    </a:moveTo>
                    <a:cubicBezTo>
                      <a:pt x="83579" y="139967"/>
                      <a:pt x="82142" y="139497"/>
                      <a:pt x="80953" y="138557"/>
                    </a:cubicBezTo>
                    <a:lnTo>
                      <a:pt x="2465" y="76022"/>
                    </a:lnTo>
                    <a:cubicBezTo>
                      <a:pt x="-355" y="73782"/>
                      <a:pt x="-825" y="69663"/>
                      <a:pt x="1415" y="66843"/>
                    </a:cubicBezTo>
                    <a:cubicBezTo>
                      <a:pt x="3654" y="64023"/>
                      <a:pt x="7773" y="63581"/>
                      <a:pt x="10593" y="65792"/>
                    </a:cubicBezTo>
                    <a:lnTo>
                      <a:pt x="84630" y="124762"/>
                    </a:lnTo>
                    <a:lnTo>
                      <a:pt x="185484" y="27862"/>
                    </a:lnTo>
                    <a:cubicBezTo>
                      <a:pt x="187723" y="25705"/>
                      <a:pt x="191206" y="25429"/>
                      <a:pt x="193777" y="27254"/>
                    </a:cubicBezTo>
                    <a:lnTo>
                      <a:pt x="287913" y="93798"/>
                    </a:lnTo>
                    <a:lnTo>
                      <a:pt x="353158" y="2731"/>
                    </a:lnTo>
                    <a:cubicBezTo>
                      <a:pt x="355259" y="-199"/>
                      <a:pt x="359323" y="-890"/>
                      <a:pt x="362254" y="1238"/>
                    </a:cubicBezTo>
                    <a:cubicBezTo>
                      <a:pt x="365184" y="3340"/>
                      <a:pt x="365848" y="7404"/>
                      <a:pt x="363747" y="10334"/>
                    </a:cubicBezTo>
                    <a:lnTo>
                      <a:pt x="294714" y="106681"/>
                    </a:lnTo>
                    <a:cubicBezTo>
                      <a:pt x="292613" y="109584"/>
                      <a:pt x="288576" y="110275"/>
                      <a:pt x="285646" y="108202"/>
                    </a:cubicBezTo>
                    <a:lnTo>
                      <a:pt x="190626" y="41021"/>
                    </a:lnTo>
                    <a:lnTo>
                      <a:pt x="89551" y="138143"/>
                    </a:lnTo>
                    <a:cubicBezTo>
                      <a:pt x="88307" y="139359"/>
                      <a:pt x="86676" y="139967"/>
                      <a:pt x="85017" y="139967"/>
                    </a:cubicBezTo>
                    <a:close/>
                  </a:path>
                </a:pathLst>
              </a:custGeom>
              <a:grpFill/>
              <a:ln w="2758" cap="flat">
                <a:noFill/>
                <a:prstDash val="solid"/>
                <a:miter/>
              </a:ln>
            </p:spPr>
            <p:txBody>
              <a:bodyPr rtlCol="0" anchor="ctr"/>
              <a:lstStyle/>
              <a:p>
                <a:endParaRPr lang="en-GB" dirty="0"/>
              </a:p>
            </p:txBody>
          </p:sp>
          <p:sp>
            <p:nvSpPr>
              <p:cNvPr id="691" name="Freihandform: Form 1191">
                <a:extLst>
                  <a:ext uri="{FF2B5EF4-FFF2-40B4-BE49-F238E27FC236}">
                    <a16:creationId xmlns:a16="http://schemas.microsoft.com/office/drawing/2014/main" id="{93FB2D1D-58C6-488B-BE30-7ED70C38BA2E}"/>
                  </a:ext>
                </a:extLst>
              </p:cNvPr>
              <p:cNvSpPr/>
              <p:nvPr/>
            </p:nvSpPr>
            <p:spPr>
              <a:xfrm>
                <a:off x="6513805" y="2599492"/>
                <a:ext cx="45671" cy="45671"/>
              </a:xfrm>
              <a:custGeom>
                <a:avLst/>
                <a:gdLst>
                  <a:gd name="connsiteX0" fmla="*/ 39147 w 45671"/>
                  <a:gd name="connsiteY0" fmla="*/ 45672 h 45671"/>
                  <a:gd name="connsiteX1" fmla="*/ 32623 w 45671"/>
                  <a:gd name="connsiteY1" fmla="*/ 39147 h 45671"/>
                  <a:gd name="connsiteX2" fmla="*/ 32623 w 45671"/>
                  <a:gd name="connsiteY2" fmla="*/ 13049 h 45671"/>
                  <a:gd name="connsiteX3" fmla="*/ 6524 w 45671"/>
                  <a:gd name="connsiteY3" fmla="*/ 13049 h 45671"/>
                  <a:gd name="connsiteX4" fmla="*/ 0 w 45671"/>
                  <a:gd name="connsiteY4" fmla="*/ 6524 h 45671"/>
                  <a:gd name="connsiteX5" fmla="*/ 6524 w 45671"/>
                  <a:gd name="connsiteY5" fmla="*/ 0 h 45671"/>
                  <a:gd name="connsiteX6" fmla="*/ 39147 w 45671"/>
                  <a:gd name="connsiteY6" fmla="*/ 0 h 45671"/>
                  <a:gd name="connsiteX7" fmla="*/ 45672 w 45671"/>
                  <a:gd name="connsiteY7" fmla="*/ 6524 h 45671"/>
                  <a:gd name="connsiteX8" fmla="*/ 45672 w 45671"/>
                  <a:gd name="connsiteY8" fmla="*/ 39147 h 45671"/>
                  <a:gd name="connsiteX9" fmla="*/ 39147 w 45671"/>
                  <a:gd name="connsiteY9" fmla="*/ 45672 h 45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71" h="45671">
                    <a:moveTo>
                      <a:pt x="39147" y="45672"/>
                    </a:moveTo>
                    <a:cubicBezTo>
                      <a:pt x="35553" y="45672"/>
                      <a:pt x="32623" y="42741"/>
                      <a:pt x="32623" y="39147"/>
                    </a:cubicBezTo>
                    <a:lnTo>
                      <a:pt x="32623" y="13049"/>
                    </a:lnTo>
                    <a:lnTo>
                      <a:pt x="6524" y="13049"/>
                    </a:lnTo>
                    <a:cubicBezTo>
                      <a:pt x="2930" y="13049"/>
                      <a:pt x="0" y="10119"/>
                      <a:pt x="0" y="6524"/>
                    </a:cubicBezTo>
                    <a:cubicBezTo>
                      <a:pt x="0" y="2930"/>
                      <a:pt x="2930" y="0"/>
                      <a:pt x="6524" y="0"/>
                    </a:cubicBezTo>
                    <a:lnTo>
                      <a:pt x="39147" y="0"/>
                    </a:lnTo>
                    <a:cubicBezTo>
                      <a:pt x="42741" y="0"/>
                      <a:pt x="45672" y="2930"/>
                      <a:pt x="45672" y="6524"/>
                    </a:cubicBezTo>
                    <a:lnTo>
                      <a:pt x="45672" y="39147"/>
                    </a:lnTo>
                    <a:cubicBezTo>
                      <a:pt x="45672" y="42769"/>
                      <a:pt x="42769" y="45672"/>
                      <a:pt x="39147" y="45672"/>
                    </a:cubicBezTo>
                    <a:close/>
                  </a:path>
                </a:pathLst>
              </a:custGeom>
              <a:grpFill/>
              <a:ln w="2758" cap="flat">
                <a:noFill/>
                <a:prstDash val="solid"/>
                <a:miter/>
              </a:ln>
            </p:spPr>
            <p:txBody>
              <a:bodyPr rtlCol="0" anchor="ctr"/>
              <a:lstStyle/>
              <a:p>
                <a:endParaRPr lang="en-GB" dirty="0"/>
              </a:p>
            </p:txBody>
          </p:sp>
        </p:grpSp>
      </p:grpSp>
      <p:grpSp>
        <p:nvGrpSpPr>
          <p:cNvPr id="436" name="Group 435">
            <a:extLst>
              <a:ext uri="{FF2B5EF4-FFF2-40B4-BE49-F238E27FC236}">
                <a16:creationId xmlns:a16="http://schemas.microsoft.com/office/drawing/2014/main" id="{1D40DBC3-5F4C-4375-6AC3-29A7E77988EE}"/>
              </a:ext>
            </a:extLst>
          </p:cNvPr>
          <p:cNvGrpSpPr/>
          <p:nvPr/>
        </p:nvGrpSpPr>
        <p:grpSpPr>
          <a:xfrm>
            <a:off x="5094901" y="4002608"/>
            <a:ext cx="236728" cy="432005"/>
            <a:chOff x="5094489" y="4002608"/>
            <a:chExt cx="236728" cy="432005"/>
          </a:xfrm>
        </p:grpSpPr>
        <p:grpSp>
          <p:nvGrpSpPr>
            <p:cNvPr id="700" name="Gruppieren 564">
              <a:extLst>
                <a:ext uri="{FF2B5EF4-FFF2-40B4-BE49-F238E27FC236}">
                  <a16:creationId xmlns:a16="http://schemas.microsoft.com/office/drawing/2014/main" id="{F6F97E1E-7711-4345-883D-1983FCD8C8B5}"/>
                </a:ext>
              </a:extLst>
            </p:cNvPr>
            <p:cNvGrpSpPr/>
            <p:nvPr/>
          </p:nvGrpSpPr>
          <p:grpSpPr>
            <a:xfrm>
              <a:off x="5094489" y="4002608"/>
              <a:ext cx="236728" cy="143008"/>
              <a:chOff x="7048450" y="3243456"/>
              <a:chExt cx="250699" cy="151458"/>
            </a:xfrm>
          </p:grpSpPr>
          <p:sp>
            <p:nvSpPr>
              <p:cNvPr id="706" name="Freihandform: Form 1078">
                <a:extLst>
                  <a:ext uri="{FF2B5EF4-FFF2-40B4-BE49-F238E27FC236}">
                    <a16:creationId xmlns:a16="http://schemas.microsoft.com/office/drawing/2014/main" id="{A7818A09-3A46-437F-9EAE-54C2A6D30F97}"/>
                  </a:ext>
                </a:extLst>
              </p:cNvPr>
              <p:cNvSpPr/>
              <p:nvPr/>
            </p:nvSpPr>
            <p:spPr>
              <a:xfrm>
                <a:off x="7166706" y="3305962"/>
                <a:ext cx="132443" cy="88948"/>
              </a:xfrm>
              <a:custGeom>
                <a:avLst/>
                <a:gdLst>
                  <a:gd name="connsiteX0" fmla="*/ 81961 w 132442"/>
                  <a:gd name="connsiteY0" fmla="*/ 88949 h 88948"/>
                  <a:gd name="connsiteX1" fmla="*/ 79251 w 132442"/>
                  <a:gd name="connsiteY1" fmla="*/ 88368 h 88948"/>
                  <a:gd name="connsiteX2" fmla="*/ 75436 w 132442"/>
                  <a:gd name="connsiteY2" fmla="*/ 82425 h 88948"/>
                  <a:gd name="connsiteX3" fmla="*/ 75436 w 132442"/>
                  <a:gd name="connsiteY3" fmla="*/ 70260 h 88948"/>
                  <a:gd name="connsiteX4" fmla="*/ 47901 w 132442"/>
                  <a:gd name="connsiteY4" fmla="*/ 85604 h 88948"/>
                  <a:gd name="connsiteX5" fmla="*/ 38750 w 132442"/>
                  <a:gd name="connsiteY5" fmla="*/ 86765 h 88948"/>
                  <a:gd name="connsiteX6" fmla="*/ 37588 w 132442"/>
                  <a:gd name="connsiteY6" fmla="*/ 77614 h 88948"/>
                  <a:gd name="connsiteX7" fmla="*/ 81961 w 132442"/>
                  <a:gd name="connsiteY7" fmla="*/ 56796 h 88948"/>
                  <a:gd name="connsiteX8" fmla="*/ 88485 w 132442"/>
                  <a:gd name="connsiteY8" fmla="*/ 63321 h 88948"/>
                  <a:gd name="connsiteX9" fmla="*/ 88485 w 132442"/>
                  <a:gd name="connsiteY9" fmla="*/ 68187 h 88948"/>
                  <a:gd name="connsiteX10" fmla="*/ 115966 w 132442"/>
                  <a:gd name="connsiteY10" fmla="*/ 44466 h 88948"/>
                  <a:gd name="connsiteX11" fmla="*/ 88485 w 132442"/>
                  <a:gd name="connsiteY11" fmla="*/ 20746 h 88948"/>
                  <a:gd name="connsiteX12" fmla="*/ 88485 w 132442"/>
                  <a:gd name="connsiteY12" fmla="*/ 25611 h 88948"/>
                  <a:gd name="connsiteX13" fmla="*/ 81961 w 132442"/>
                  <a:gd name="connsiteY13" fmla="*/ 32136 h 88948"/>
                  <a:gd name="connsiteX14" fmla="*/ 26530 w 132442"/>
                  <a:gd name="connsiteY14" fmla="*/ 53894 h 88948"/>
                  <a:gd name="connsiteX15" fmla="*/ 12734 w 132442"/>
                  <a:gd name="connsiteY15" fmla="*/ 68491 h 88948"/>
                  <a:gd name="connsiteX16" fmla="*/ 11103 w 132442"/>
                  <a:gd name="connsiteY16" fmla="*/ 70288 h 88948"/>
                  <a:gd name="connsiteX17" fmla="*/ 1870 w 132442"/>
                  <a:gd name="connsiteY17" fmla="*/ 70177 h 88948"/>
                  <a:gd name="connsiteX18" fmla="*/ 1842 w 132442"/>
                  <a:gd name="connsiteY18" fmla="*/ 61081 h 88948"/>
                  <a:gd name="connsiteX19" fmla="*/ 2892 w 132442"/>
                  <a:gd name="connsiteY19" fmla="*/ 59865 h 88948"/>
                  <a:gd name="connsiteX20" fmla="*/ 17794 w 132442"/>
                  <a:gd name="connsiteY20" fmla="*/ 44162 h 88948"/>
                  <a:gd name="connsiteX21" fmla="*/ 75409 w 132442"/>
                  <a:gd name="connsiteY21" fmla="*/ 19336 h 88948"/>
                  <a:gd name="connsiteX22" fmla="*/ 75409 w 132442"/>
                  <a:gd name="connsiteY22" fmla="*/ 6535 h 88948"/>
                  <a:gd name="connsiteX23" fmla="*/ 79224 w 132442"/>
                  <a:gd name="connsiteY23" fmla="*/ 591 h 88948"/>
                  <a:gd name="connsiteX24" fmla="*/ 86191 w 132442"/>
                  <a:gd name="connsiteY24" fmla="*/ 1587 h 88948"/>
                  <a:gd name="connsiteX25" fmla="*/ 130176 w 132442"/>
                  <a:gd name="connsiteY25" fmla="*/ 39545 h 88948"/>
                  <a:gd name="connsiteX26" fmla="*/ 132443 w 132442"/>
                  <a:gd name="connsiteY26" fmla="*/ 44494 h 88948"/>
                  <a:gd name="connsiteX27" fmla="*/ 130176 w 132442"/>
                  <a:gd name="connsiteY27" fmla="*/ 49443 h 88948"/>
                  <a:gd name="connsiteX28" fmla="*/ 86191 w 132442"/>
                  <a:gd name="connsiteY28" fmla="*/ 87401 h 88948"/>
                  <a:gd name="connsiteX29" fmla="*/ 81961 w 132442"/>
                  <a:gd name="connsiteY29" fmla="*/ 88949 h 8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2442" h="88948">
                    <a:moveTo>
                      <a:pt x="81961" y="88949"/>
                    </a:moveTo>
                    <a:cubicBezTo>
                      <a:pt x="81048" y="88949"/>
                      <a:pt x="80108" y="88755"/>
                      <a:pt x="79251" y="88368"/>
                    </a:cubicBezTo>
                    <a:cubicBezTo>
                      <a:pt x="76929" y="87318"/>
                      <a:pt x="75436" y="84996"/>
                      <a:pt x="75436" y="82425"/>
                    </a:cubicBezTo>
                    <a:lnTo>
                      <a:pt x="75436" y="70260"/>
                    </a:lnTo>
                    <a:cubicBezTo>
                      <a:pt x="64157" y="71725"/>
                      <a:pt x="54536" y="77061"/>
                      <a:pt x="47901" y="85604"/>
                    </a:cubicBezTo>
                    <a:cubicBezTo>
                      <a:pt x="45689" y="88451"/>
                      <a:pt x="41597" y="88977"/>
                      <a:pt x="38750" y="86765"/>
                    </a:cubicBezTo>
                    <a:cubicBezTo>
                      <a:pt x="35902" y="84553"/>
                      <a:pt x="35377" y="80462"/>
                      <a:pt x="37588" y="77614"/>
                    </a:cubicBezTo>
                    <a:cubicBezTo>
                      <a:pt x="47983" y="64178"/>
                      <a:pt x="63742" y="56796"/>
                      <a:pt x="81961" y="56796"/>
                    </a:cubicBezTo>
                    <a:cubicBezTo>
                      <a:pt x="85555" y="56796"/>
                      <a:pt x="88485" y="59727"/>
                      <a:pt x="88485" y="63321"/>
                    </a:cubicBezTo>
                    <a:lnTo>
                      <a:pt x="88485" y="68187"/>
                    </a:lnTo>
                    <a:lnTo>
                      <a:pt x="115966" y="44466"/>
                    </a:lnTo>
                    <a:lnTo>
                      <a:pt x="88485" y="20746"/>
                    </a:lnTo>
                    <a:lnTo>
                      <a:pt x="88485" y="25611"/>
                    </a:lnTo>
                    <a:cubicBezTo>
                      <a:pt x="88485" y="29205"/>
                      <a:pt x="85555" y="32136"/>
                      <a:pt x="81961" y="32136"/>
                    </a:cubicBezTo>
                    <a:cubicBezTo>
                      <a:pt x="61890" y="32136"/>
                      <a:pt x="42205" y="39849"/>
                      <a:pt x="26530" y="53894"/>
                    </a:cubicBezTo>
                    <a:cubicBezTo>
                      <a:pt x="21885" y="58068"/>
                      <a:pt x="15471" y="65367"/>
                      <a:pt x="12734" y="68491"/>
                    </a:cubicBezTo>
                    <a:cubicBezTo>
                      <a:pt x="11850" y="69486"/>
                      <a:pt x="11269" y="70150"/>
                      <a:pt x="11103" y="70288"/>
                    </a:cubicBezTo>
                    <a:cubicBezTo>
                      <a:pt x="8532" y="72803"/>
                      <a:pt x="4413" y="72776"/>
                      <a:pt x="1870" y="70177"/>
                    </a:cubicBezTo>
                    <a:cubicBezTo>
                      <a:pt x="-619" y="67661"/>
                      <a:pt x="-619" y="63597"/>
                      <a:pt x="1842" y="61081"/>
                    </a:cubicBezTo>
                    <a:lnTo>
                      <a:pt x="2892" y="59865"/>
                    </a:lnTo>
                    <a:cubicBezTo>
                      <a:pt x="5795" y="56575"/>
                      <a:pt x="12569" y="48834"/>
                      <a:pt x="17794" y="44162"/>
                    </a:cubicBezTo>
                    <a:cubicBezTo>
                      <a:pt x="34160" y="29509"/>
                      <a:pt x="54397" y="20829"/>
                      <a:pt x="75409" y="19336"/>
                    </a:cubicBezTo>
                    <a:lnTo>
                      <a:pt x="75409" y="6535"/>
                    </a:lnTo>
                    <a:cubicBezTo>
                      <a:pt x="75409" y="3992"/>
                      <a:pt x="76902" y="1670"/>
                      <a:pt x="79224" y="591"/>
                    </a:cubicBezTo>
                    <a:cubicBezTo>
                      <a:pt x="81518" y="-459"/>
                      <a:pt x="84255" y="-100"/>
                      <a:pt x="86191" y="1587"/>
                    </a:cubicBezTo>
                    <a:lnTo>
                      <a:pt x="130176" y="39545"/>
                    </a:lnTo>
                    <a:cubicBezTo>
                      <a:pt x="131613" y="40789"/>
                      <a:pt x="132443" y="42586"/>
                      <a:pt x="132443" y="44494"/>
                    </a:cubicBezTo>
                    <a:cubicBezTo>
                      <a:pt x="132443" y="46401"/>
                      <a:pt x="131613" y="48198"/>
                      <a:pt x="130176" y="49443"/>
                    </a:cubicBezTo>
                    <a:lnTo>
                      <a:pt x="86191" y="87401"/>
                    </a:lnTo>
                    <a:cubicBezTo>
                      <a:pt x="85030" y="88424"/>
                      <a:pt x="83509" y="88949"/>
                      <a:pt x="81961" y="88949"/>
                    </a:cubicBezTo>
                    <a:close/>
                  </a:path>
                </a:pathLst>
              </a:custGeom>
              <a:solidFill>
                <a:schemeClr val="accent1"/>
              </a:solidFill>
              <a:ln w="2758" cap="flat">
                <a:noFill/>
                <a:prstDash val="solid"/>
                <a:miter/>
              </a:ln>
            </p:spPr>
            <p:txBody>
              <a:bodyPr rtlCol="0" anchor="ctr"/>
              <a:lstStyle/>
              <a:p>
                <a:endParaRPr lang="en-GB" dirty="0"/>
              </a:p>
            </p:txBody>
          </p:sp>
          <p:sp>
            <p:nvSpPr>
              <p:cNvPr id="707" name="Freihandform: Form 1079">
                <a:extLst>
                  <a:ext uri="{FF2B5EF4-FFF2-40B4-BE49-F238E27FC236}">
                    <a16:creationId xmlns:a16="http://schemas.microsoft.com/office/drawing/2014/main" id="{FDCDBEDA-5E93-41DC-A268-B31FEC59840E}"/>
                  </a:ext>
                </a:extLst>
              </p:cNvPr>
              <p:cNvSpPr/>
              <p:nvPr/>
            </p:nvSpPr>
            <p:spPr>
              <a:xfrm>
                <a:off x="7048450" y="3305937"/>
                <a:ext cx="135272" cy="88977"/>
              </a:xfrm>
              <a:custGeom>
                <a:avLst/>
                <a:gdLst>
                  <a:gd name="connsiteX0" fmla="*/ 50537 w 135272"/>
                  <a:gd name="connsiteY0" fmla="*/ 88976 h 88976"/>
                  <a:gd name="connsiteX1" fmla="*/ 46280 w 135272"/>
                  <a:gd name="connsiteY1" fmla="*/ 87401 h 88976"/>
                  <a:gd name="connsiteX2" fmla="*/ 2267 w 135272"/>
                  <a:gd name="connsiteY2" fmla="*/ 49442 h 88976"/>
                  <a:gd name="connsiteX3" fmla="*/ 0 w 135272"/>
                  <a:gd name="connsiteY3" fmla="*/ 44494 h 88976"/>
                  <a:gd name="connsiteX4" fmla="*/ 2267 w 135272"/>
                  <a:gd name="connsiteY4" fmla="*/ 39545 h 88976"/>
                  <a:gd name="connsiteX5" fmla="*/ 46280 w 135272"/>
                  <a:gd name="connsiteY5" fmla="*/ 1587 h 88976"/>
                  <a:gd name="connsiteX6" fmla="*/ 53247 w 135272"/>
                  <a:gd name="connsiteY6" fmla="*/ 591 h 88976"/>
                  <a:gd name="connsiteX7" fmla="*/ 57062 w 135272"/>
                  <a:gd name="connsiteY7" fmla="*/ 6535 h 88976"/>
                  <a:gd name="connsiteX8" fmla="*/ 57062 w 135272"/>
                  <a:gd name="connsiteY8" fmla="*/ 19336 h 88976"/>
                  <a:gd name="connsiteX9" fmla="*/ 134610 w 135272"/>
                  <a:gd name="connsiteY9" fmla="*/ 71338 h 88976"/>
                  <a:gd name="connsiteX10" fmla="*/ 131596 w 135272"/>
                  <a:gd name="connsiteY10" fmla="*/ 80047 h 88976"/>
                  <a:gd name="connsiteX11" fmla="*/ 122888 w 135272"/>
                  <a:gd name="connsiteY11" fmla="*/ 77033 h 88976"/>
                  <a:gd name="connsiteX12" fmla="*/ 50537 w 135272"/>
                  <a:gd name="connsiteY12" fmla="*/ 32136 h 88976"/>
                  <a:gd name="connsiteX13" fmla="*/ 44013 w 135272"/>
                  <a:gd name="connsiteY13" fmla="*/ 25611 h 88976"/>
                  <a:gd name="connsiteX14" fmla="*/ 44013 w 135272"/>
                  <a:gd name="connsiteY14" fmla="*/ 20746 h 88976"/>
                  <a:gd name="connsiteX15" fmla="*/ 16533 w 135272"/>
                  <a:gd name="connsiteY15" fmla="*/ 44466 h 88976"/>
                  <a:gd name="connsiteX16" fmla="*/ 44013 w 135272"/>
                  <a:gd name="connsiteY16" fmla="*/ 68186 h 88976"/>
                  <a:gd name="connsiteX17" fmla="*/ 44013 w 135272"/>
                  <a:gd name="connsiteY17" fmla="*/ 63321 h 88976"/>
                  <a:gd name="connsiteX18" fmla="*/ 50537 w 135272"/>
                  <a:gd name="connsiteY18" fmla="*/ 56796 h 88976"/>
                  <a:gd name="connsiteX19" fmla="*/ 94771 w 135272"/>
                  <a:gd name="connsiteY19" fmla="*/ 78305 h 88976"/>
                  <a:gd name="connsiteX20" fmla="*/ 93472 w 135272"/>
                  <a:gd name="connsiteY20" fmla="*/ 87428 h 88976"/>
                  <a:gd name="connsiteX21" fmla="*/ 84349 w 135272"/>
                  <a:gd name="connsiteY21" fmla="*/ 86129 h 88976"/>
                  <a:gd name="connsiteX22" fmla="*/ 57090 w 135272"/>
                  <a:gd name="connsiteY22" fmla="*/ 70260 h 88976"/>
                  <a:gd name="connsiteX23" fmla="*/ 57090 w 135272"/>
                  <a:gd name="connsiteY23" fmla="*/ 82424 h 88976"/>
                  <a:gd name="connsiteX24" fmla="*/ 53274 w 135272"/>
                  <a:gd name="connsiteY24" fmla="*/ 88368 h 88976"/>
                  <a:gd name="connsiteX25" fmla="*/ 50537 w 135272"/>
                  <a:gd name="connsiteY25" fmla="*/ 88976 h 8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5272" h="88976">
                    <a:moveTo>
                      <a:pt x="50537" y="88976"/>
                    </a:moveTo>
                    <a:cubicBezTo>
                      <a:pt x="48989" y="88976"/>
                      <a:pt x="47496" y="88424"/>
                      <a:pt x="46280" y="87401"/>
                    </a:cubicBezTo>
                    <a:lnTo>
                      <a:pt x="2267" y="49442"/>
                    </a:lnTo>
                    <a:cubicBezTo>
                      <a:pt x="830" y="48198"/>
                      <a:pt x="0" y="46401"/>
                      <a:pt x="0" y="44494"/>
                    </a:cubicBezTo>
                    <a:cubicBezTo>
                      <a:pt x="0" y="42586"/>
                      <a:pt x="830" y="40789"/>
                      <a:pt x="2267" y="39545"/>
                    </a:cubicBezTo>
                    <a:lnTo>
                      <a:pt x="46280" y="1587"/>
                    </a:lnTo>
                    <a:cubicBezTo>
                      <a:pt x="48215" y="-100"/>
                      <a:pt x="50952" y="-459"/>
                      <a:pt x="53247" y="591"/>
                    </a:cubicBezTo>
                    <a:cubicBezTo>
                      <a:pt x="55569" y="1642"/>
                      <a:pt x="57062" y="3964"/>
                      <a:pt x="57062" y="6535"/>
                    </a:cubicBezTo>
                    <a:lnTo>
                      <a:pt x="57062" y="19336"/>
                    </a:lnTo>
                    <a:cubicBezTo>
                      <a:pt x="90514" y="21603"/>
                      <a:pt x="119819" y="41065"/>
                      <a:pt x="134610" y="71338"/>
                    </a:cubicBezTo>
                    <a:cubicBezTo>
                      <a:pt x="136186" y="74573"/>
                      <a:pt x="134859" y="78471"/>
                      <a:pt x="131596" y="80047"/>
                    </a:cubicBezTo>
                    <a:cubicBezTo>
                      <a:pt x="128389" y="81623"/>
                      <a:pt x="124464" y="80296"/>
                      <a:pt x="122888" y="77033"/>
                    </a:cubicBezTo>
                    <a:cubicBezTo>
                      <a:pt x="109369" y="49332"/>
                      <a:pt x="81640" y="32136"/>
                      <a:pt x="50537" y="32136"/>
                    </a:cubicBezTo>
                    <a:cubicBezTo>
                      <a:pt x="46943" y="32136"/>
                      <a:pt x="44013" y="29205"/>
                      <a:pt x="44013" y="25611"/>
                    </a:cubicBezTo>
                    <a:lnTo>
                      <a:pt x="44013" y="20746"/>
                    </a:lnTo>
                    <a:lnTo>
                      <a:pt x="16533" y="44466"/>
                    </a:lnTo>
                    <a:lnTo>
                      <a:pt x="44013" y="68186"/>
                    </a:lnTo>
                    <a:lnTo>
                      <a:pt x="44013" y="63321"/>
                    </a:lnTo>
                    <a:cubicBezTo>
                      <a:pt x="44013" y="59727"/>
                      <a:pt x="46943" y="56796"/>
                      <a:pt x="50537" y="56796"/>
                    </a:cubicBezTo>
                    <a:cubicBezTo>
                      <a:pt x="68646" y="56796"/>
                      <a:pt x="84349" y="64427"/>
                      <a:pt x="94771" y="78305"/>
                    </a:cubicBezTo>
                    <a:cubicBezTo>
                      <a:pt x="96928" y="81180"/>
                      <a:pt x="96347" y="85272"/>
                      <a:pt x="93472" y="87428"/>
                    </a:cubicBezTo>
                    <a:cubicBezTo>
                      <a:pt x="90597" y="89585"/>
                      <a:pt x="86505" y="89004"/>
                      <a:pt x="84349" y="86129"/>
                    </a:cubicBezTo>
                    <a:cubicBezTo>
                      <a:pt x="77631" y="77171"/>
                      <a:pt x="68286" y="71753"/>
                      <a:pt x="57090" y="70260"/>
                    </a:cubicBezTo>
                    <a:lnTo>
                      <a:pt x="57090" y="82424"/>
                    </a:lnTo>
                    <a:cubicBezTo>
                      <a:pt x="57090" y="84968"/>
                      <a:pt x="55597" y="87290"/>
                      <a:pt x="53274" y="88368"/>
                    </a:cubicBezTo>
                    <a:cubicBezTo>
                      <a:pt x="52390" y="88783"/>
                      <a:pt x="51450" y="88976"/>
                      <a:pt x="50537" y="88976"/>
                    </a:cubicBezTo>
                    <a:close/>
                  </a:path>
                </a:pathLst>
              </a:custGeom>
              <a:solidFill>
                <a:schemeClr val="accent1"/>
              </a:solidFill>
              <a:ln w="2758" cap="flat">
                <a:noFill/>
                <a:prstDash val="solid"/>
                <a:miter/>
              </a:ln>
            </p:spPr>
            <p:txBody>
              <a:bodyPr rtlCol="0" anchor="ctr"/>
              <a:lstStyle/>
              <a:p>
                <a:endParaRPr lang="en-GB" dirty="0"/>
              </a:p>
            </p:txBody>
          </p:sp>
          <p:sp>
            <p:nvSpPr>
              <p:cNvPr id="708" name="Freihandform: Form 1080">
                <a:extLst>
                  <a:ext uri="{FF2B5EF4-FFF2-40B4-BE49-F238E27FC236}">
                    <a16:creationId xmlns:a16="http://schemas.microsoft.com/office/drawing/2014/main" id="{0C330BCA-CDB2-4E67-8A0D-7B1DC3F24C90}"/>
                  </a:ext>
                </a:extLst>
              </p:cNvPr>
              <p:cNvSpPr/>
              <p:nvPr/>
            </p:nvSpPr>
            <p:spPr>
              <a:xfrm>
                <a:off x="7129318" y="3243456"/>
                <a:ext cx="88945" cy="114897"/>
              </a:xfrm>
              <a:custGeom>
                <a:avLst/>
                <a:gdLst>
                  <a:gd name="connsiteX0" fmla="*/ 63341 w 88945"/>
                  <a:gd name="connsiteY0" fmla="*/ 114898 h 114897"/>
                  <a:gd name="connsiteX1" fmla="*/ 56817 w 88945"/>
                  <a:gd name="connsiteY1" fmla="*/ 108373 h 114897"/>
                  <a:gd name="connsiteX2" fmla="*/ 56817 w 88945"/>
                  <a:gd name="connsiteY2" fmla="*/ 50427 h 114897"/>
                  <a:gd name="connsiteX3" fmla="*/ 63341 w 88945"/>
                  <a:gd name="connsiteY3" fmla="*/ 43902 h 114897"/>
                  <a:gd name="connsiteX4" fmla="*/ 68207 w 88945"/>
                  <a:gd name="connsiteY4" fmla="*/ 43902 h 114897"/>
                  <a:gd name="connsiteX5" fmla="*/ 44486 w 88945"/>
                  <a:gd name="connsiteY5" fmla="*/ 16422 h 114897"/>
                  <a:gd name="connsiteX6" fmla="*/ 20766 w 88945"/>
                  <a:gd name="connsiteY6" fmla="*/ 43902 h 114897"/>
                  <a:gd name="connsiteX7" fmla="*/ 25632 w 88945"/>
                  <a:gd name="connsiteY7" fmla="*/ 43902 h 114897"/>
                  <a:gd name="connsiteX8" fmla="*/ 32156 w 88945"/>
                  <a:gd name="connsiteY8" fmla="*/ 50427 h 114897"/>
                  <a:gd name="connsiteX9" fmla="*/ 32156 w 88945"/>
                  <a:gd name="connsiteY9" fmla="*/ 108373 h 114897"/>
                  <a:gd name="connsiteX10" fmla="*/ 25632 w 88945"/>
                  <a:gd name="connsiteY10" fmla="*/ 114898 h 114897"/>
                  <a:gd name="connsiteX11" fmla="*/ 19107 w 88945"/>
                  <a:gd name="connsiteY11" fmla="*/ 108373 h 114897"/>
                  <a:gd name="connsiteX12" fmla="*/ 19107 w 88945"/>
                  <a:gd name="connsiteY12" fmla="*/ 56951 h 114897"/>
                  <a:gd name="connsiteX13" fmla="*/ 6528 w 88945"/>
                  <a:gd name="connsiteY13" fmla="*/ 56951 h 114897"/>
                  <a:gd name="connsiteX14" fmla="*/ 584 w 88945"/>
                  <a:gd name="connsiteY14" fmla="*/ 53136 h 114897"/>
                  <a:gd name="connsiteX15" fmla="*/ 1579 w 88945"/>
                  <a:gd name="connsiteY15" fmla="*/ 46169 h 114897"/>
                  <a:gd name="connsiteX16" fmla="*/ 39538 w 88945"/>
                  <a:gd name="connsiteY16" fmla="*/ 2156 h 114897"/>
                  <a:gd name="connsiteX17" fmla="*/ 49407 w 88945"/>
                  <a:gd name="connsiteY17" fmla="*/ 2156 h 114897"/>
                  <a:gd name="connsiteX18" fmla="*/ 87366 w 88945"/>
                  <a:gd name="connsiteY18" fmla="*/ 46169 h 114897"/>
                  <a:gd name="connsiteX19" fmla="*/ 88361 w 88945"/>
                  <a:gd name="connsiteY19" fmla="*/ 53136 h 114897"/>
                  <a:gd name="connsiteX20" fmla="*/ 82417 w 88945"/>
                  <a:gd name="connsiteY20" fmla="*/ 56951 h 114897"/>
                  <a:gd name="connsiteX21" fmla="*/ 69838 w 88945"/>
                  <a:gd name="connsiteY21" fmla="*/ 56951 h 114897"/>
                  <a:gd name="connsiteX22" fmla="*/ 69838 w 88945"/>
                  <a:gd name="connsiteY22" fmla="*/ 108373 h 114897"/>
                  <a:gd name="connsiteX23" fmla="*/ 63341 w 88945"/>
                  <a:gd name="connsiteY23" fmla="*/ 114898 h 114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8945" h="114897">
                    <a:moveTo>
                      <a:pt x="63341" y="114898"/>
                    </a:moveTo>
                    <a:cubicBezTo>
                      <a:pt x="59747" y="114898"/>
                      <a:pt x="56817" y="111967"/>
                      <a:pt x="56817" y="108373"/>
                    </a:cubicBezTo>
                    <a:lnTo>
                      <a:pt x="56817" y="50427"/>
                    </a:lnTo>
                    <a:cubicBezTo>
                      <a:pt x="56817" y="46833"/>
                      <a:pt x="59747" y="43902"/>
                      <a:pt x="63341" y="43902"/>
                    </a:cubicBezTo>
                    <a:lnTo>
                      <a:pt x="68207" y="43902"/>
                    </a:lnTo>
                    <a:lnTo>
                      <a:pt x="44486" y="16422"/>
                    </a:lnTo>
                    <a:lnTo>
                      <a:pt x="20766" y="43902"/>
                    </a:lnTo>
                    <a:lnTo>
                      <a:pt x="25632" y="43902"/>
                    </a:lnTo>
                    <a:cubicBezTo>
                      <a:pt x="29226" y="43902"/>
                      <a:pt x="32156" y="46833"/>
                      <a:pt x="32156" y="50427"/>
                    </a:cubicBezTo>
                    <a:lnTo>
                      <a:pt x="32156" y="108373"/>
                    </a:lnTo>
                    <a:cubicBezTo>
                      <a:pt x="32156" y="111967"/>
                      <a:pt x="29226" y="114898"/>
                      <a:pt x="25632" y="114898"/>
                    </a:cubicBezTo>
                    <a:cubicBezTo>
                      <a:pt x="22038" y="114898"/>
                      <a:pt x="19107" y="111967"/>
                      <a:pt x="19107" y="108373"/>
                    </a:cubicBezTo>
                    <a:lnTo>
                      <a:pt x="19107" y="56951"/>
                    </a:lnTo>
                    <a:lnTo>
                      <a:pt x="6528" y="56951"/>
                    </a:lnTo>
                    <a:cubicBezTo>
                      <a:pt x="3985" y="56951"/>
                      <a:pt x="1662" y="55458"/>
                      <a:pt x="584" y="53136"/>
                    </a:cubicBezTo>
                    <a:cubicBezTo>
                      <a:pt x="-466" y="50814"/>
                      <a:pt x="-79" y="48104"/>
                      <a:pt x="1579" y="46169"/>
                    </a:cubicBezTo>
                    <a:lnTo>
                      <a:pt x="39538" y="2156"/>
                    </a:lnTo>
                    <a:cubicBezTo>
                      <a:pt x="41998" y="-719"/>
                      <a:pt x="46947" y="-719"/>
                      <a:pt x="49407" y="2156"/>
                    </a:cubicBezTo>
                    <a:lnTo>
                      <a:pt x="87366" y="46169"/>
                    </a:lnTo>
                    <a:cubicBezTo>
                      <a:pt x="89025" y="48104"/>
                      <a:pt x="89412" y="50814"/>
                      <a:pt x="88361" y="53136"/>
                    </a:cubicBezTo>
                    <a:cubicBezTo>
                      <a:pt x="87310" y="55458"/>
                      <a:pt x="84988" y="56951"/>
                      <a:pt x="82417" y="56951"/>
                    </a:cubicBezTo>
                    <a:lnTo>
                      <a:pt x="69838" y="56951"/>
                    </a:lnTo>
                    <a:lnTo>
                      <a:pt x="69838" y="108373"/>
                    </a:lnTo>
                    <a:cubicBezTo>
                      <a:pt x="69866" y="111967"/>
                      <a:pt x="66935" y="114898"/>
                      <a:pt x="63341" y="114898"/>
                    </a:cubicBezTo>
                    <a:close/>
                  </a:path>
                </a:pathLst>
              </a:custGeom>
              <a:solidFill>
                <a:schemeClr val="accent1"/>
              </a:solidFill>
              <a:ln w="2758" cap="flat">
                <a:noFill/>
                <a:prstDash val="solid"/>
                <a:miter/>
              </a:ln>
            </p:spPr>
            <p:txBody>
              <a:bodyPr rtlCol="0" anchor="ctr"/>
              <a:lstStyle/>
              <a:p>
                <a:endParaRPr lang="en-GB" dirty="0"/>
              </a:p>
            </p:txBody>
          </p:sp>
        </p:grpSp>
        <p:grpSp>
          <p:nvGrpSpPr>
            <p:cNvPr id="701" name="Grafik 27">
              <a:extLst>
                <a:ext uri="{FF2B5EF4-FFF2-40B4-BE49-F238E27FC236}">
                  <a16:creationId xmlns:a16="http://schemas.microsoft.com/office/drawing/2014/main" id="{53C6BB5E-48C2-4292-BA84-07C29ED591AC}"/>
                </a:ext>
              </a:extLst>
            </p:cNvPr>
            <p:cNvGrpSpPr/>
            <p:nvPr/>
          </p:nvGrpSpPr>
          <p:grpSpPr>
            <a:xfrm>
              <a:off x="5124406" y="4146221"/>
              <a:ext cx="177344" cy="288392"/>
              <a:chOff x="7080144" y="3395538"/>
              <a:chExt cx="187809" cy="305398"/>
            </a:xfrm>
            <a:solidFill>
              <a:schemeClr val="tx2"/>
            </a:solidFill>
          </p:grpSpPr>
          <p:sp>
            <p:nvSpPr>
              <p:cNvPr id="702" name="Freihandform: Form 1082">
                <a:extLst>
                  <a:ext uri="{FF2B5EF4-FFF2-40B4-BE49-F238E27FC236}">
                    <a16:creationId xmlns:a16="http://schemas.microsoft.com/office/drawing/2014/main" id="{F51A30A9-236C-46C1-B00C-D0CC0C28F9E4}"/>
                  </a:ext>
                </a:extLst>
              </p:cNvPr>
              <p:cNvSpPr/>
              <p:nvPr/>
            </p:nvSpPr>
            <p:spPr>
              <a:xfrm>
                <a:off x="7089824" y="3514291"/>
                <a:ext cx="168452" cy="150100"/>
              </a:xfrm>
              <a:custGeom>
                <a:avLst/>
                <a:gdLst>
                  <a:gd name="connsiteX0" fmla="*/ 17474 w 168451"/>
                  <a:gd name="connsiteY0" fmla="*/ 150101 h 150100"/>
                  <a:gd name="connsiteX1" fmla="*/ 1 w 168451"/>
                  <a:gd name="connsiteY1" fmla="*/ 126629 h 150100"/>
                  <a:gd name="connsiteX2" fmla="*/ 20459 w 168451"/>
                  <a:gd name="connsiteY2" fmla="*/ 100503 h 150100"/>
                  <a:gd name="connsiteX3" fmla="*/ 55653 w 168451"/>
                  <a:gd name="connsiteY3" fmla="*/ 5345 h 150100"/>
                  <a:gd name="connsiteX4" fmla="*/ 63256 w 168451"/>
                  <a:gd name="connsiteY4" fmla="*/ 120 h 150100"/>
                  <a:gd name="connsiteX5" fmla="*/ 68481 w 168451"/>
                  <a:gd name="connsiteY5" fmla="*/ 7722 h 150100"/>
                  <a:gd name="connsiteX6" fmla="*/ 20819 w 168451"/>
                  <a:gd name="connsiteY6" fmla="*/ 113552 h 150100"/>
                  <a:gd name="connsiteX7" fmla="*/ 13023 w 168451"/>
                  <a:gd name="connsiteY7" fmla="*/ 126518 h 150100"/>
                  <a:gd name="connsiteX8" fmla="*/ 17695 w 168451"/>
                  <a:gd name="connsiteY8" fmla="*/ 137052 h 150100"/>
                  <a:gd name="connsiteX9" fmla="*/ 150950 w 168451"/>
                  <a:gd name="connsiteY9" fmla="*/ 137052 h 150100"/>
                  <a:gd name="connsiteX10" fmla="*/ 155373 w 168451"/>
                  <a:gd name="connsiteY10" fmla="*/ 126518 h 150100"/>
                  <a:gd name="connsiteX11" fmla="*/ 147245 w 168451"/>
                  <a:gd name="connsiteY11" fmla="*/ 113525 h 150100"/>
                  <a:gd name="connsiteX12" fmla="*/ 147245 w 168451"/>
                  <a:gd name="connsiteY12" fmla="*/ 113525 h 150100"/>
                  <a:gd name="connsiteX13" fmla="*/ 99942 w 168451"/>
                  <a:gd name="connsiteY13" fmla="*/ 7750 h 150100"/>
                  <a:gd name="connsiteX14" fmla="*/ 105112 w 168451"/>
                  <a:gd name="connsiteY14" fmla="*/ 120 h 150100"/>
                  <a:gd name="connsiteX15" fmla="*/ 112770 w 168451"/>
                  <a:gd name="connsiteY15" fmla="*/ 5289 h 150100"/>
                  <a:gd name="connsiteX16" fmla="*/ 147632 w 168451"/>
                  <a:gd name="connsiteY16" fmla="*/ 100503 h 150100"/>
                  <a:gd name="connsiteX17" fmla="*/ 168450 w 168451"/>
                  <a:gd name="connsiteY17" fmla="*/ 126629 h 150100"/>
                  <a:gd name="connsiteX18" fmla="*/ 151226 w 168451"/>
                  <a:gd name="connsiteY18" fmla="*/ 150101 h 150100"/>
                  <a:gd name="connsiteX19" fmla="*/ 17474 w 168451"/>
                  <a:gd name="connsiteY19" fmla="*/ 150101 h 150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8451" h="150100">
                    <a:moveTo>
                      <a:pt x="17474" y="150101"/>
                    </a:moveTo>
                    <a:cubicBezTo>
                      <a:pt x="7189" y="149714"/>
                      <a:pt x="112" y="140065"/>
                      <a:pt x="1" y="126629"/>
                    </a:cubicBezTo>
                    <a:cubicBezTo>
                      <a:pt x="-109" y="111921"/>
                      <a:pt x="8295" y="101194"/>
                      <a:pt x="20459" y="100503"/>
                    </a:cubicBezTo>
                    <a:cubicBezTo>
                      <a:pt x="26044" y="100503"/>
                      <a:pt x="39895" y="91214"/>
                      <a:pt x="55653" y="5345"/>
                    </a:cubicBezTo>
                    <a:cubicBezTo>
                      <a:pt x="56289" y="1806"/>
                      <a:pt x="59662" y="-572"/>
                      <a:pt x="63256" y="120"/>
                    </a:cubicBezTo>
                    <a:cubicBezTo>
                      <a:pt x="66794" y="756"/>
                      <a:pt x="69144" y="4184"/>
                      <a:pt x="68481" y="7722"/>
                    </a:cubicBezTo>
                    <a:cubicBezTo>
                      <a:pt x="54879" y="81925"/>
                      <a:pt x="40613" y="113552"/>
                      <a:pt x="20819" y="113552"/>
                    </a:cubicBezTo>
                    <a:cubicBezTo>
                      <a:pt x="14681" y="113912"/>
                      <a:pt x="12995" y="121874"/>
                      <a:pt x="13023" y="126518"/>
                    </a:cubicBezTo>
                    <a:cubicBezTo>
                      <a:pt x="13078" y="132048"/>
                      <a:pt x="15262" y="136941"/>
                      <a:pt x="17695" y="137052"/>
                    </a:cubicBezTo>
                    <a:lnTo>
                      <a:pt x="150950" y="137052"/>
                    </a:lnTo>
                    <a:cubicBezTo>
                      <a:pt x="153134" y="136969"/>
                      <a:pt x="155345" y="132048"/>
                      <a:pt x="155373" y="126518"/>
                    </a:cubicBezTo>
                    <a:cubicBezTo>
                      <a:pt x="155401" y="121874"/>
                      <a:pt x="153742" y="113912"/>
                      <a:pt x="147245" y="113525"/>
                    </a:cubicBezTo>
                    <a:lnTo>
                      <a:pt x="147245" y="113525"/>
                    </a:lnTo>
                    <a:cubicBezTo>
                      <a:pt x="127976" y="113525"/>
                      <a:pt x="114595" y="83860"/>
                      <a:pt x="99942" y="7750"/>
                    </a:cubicBezTo>
                    <a:cubicBezTo>
                      <a:pt x="99279" y="4211"/>
                      <a:pt x="101573" y="783"/>
                      <a:pt x="105112" y="120"/>
                    </a:cubicBezTo>
                    <a:cubicBezTo>
                      <a:pt x="108679" y="-544"/>
                      <a:pt x="112079" y="1751"/>
                      <a:pt x="112770" y="5289"/>
                    </a:cubicBezTo>
                    <a:cubicBezTo>
                      <a:pt x="128722" y="88118"/>
                      <a:pt x="141467" y="100503"/>
                      <a:pt x="147632" y="100503"/>
                    </a:cubicBezTo>
                    <a:cubicBezTo>
                      <a:pt x="160156" y="101194"/>
                      <a:pt x="168588" y="111921"/>
                      <a:pt x="168450" y="126629"/>
                    </a:cubicBezTo>
                    <a:cubicBezTo>
                      <a:pt x="168339" y="140038"/>
                      <a:pt x="161262" y="149714"/>
                      <a:pt x="151226" y="150101"/>
                    </a:cubicBezTo>
                    <a:lnTo>
                      <a:pt x="17474" y="150101"/>
                    </a:lnTo>
                    <a:close/>
                  </a:path>
                </a:pathLst>
              </a:custGeom>
              <a:grpFill/>
              <a:ln w="2758" cap="flat">
                <a:noFill/>
                <a:prstDash val="solid"/>
                <a:miter/>
              </a:ln>
            </p:spPr>
            <p:txBody>
              <a:bodyPr rtlCol="0" anchor="ctr"/>
              <a:lstStyle/>
              <a:p>
                <a:endParaRPr lang="en-GB" dirty="0"/>
              </a:p>
            </p:txBody>
          </p:sp>
          <p:sp>
            <p:nvSpPr>
              <p:cNvPr id="703" name="Freihandform: Form 1083">
                <a:extLst>
                  <a:ext uri="{FF2B5EF4-FFF2-40B4-BE49-F238E27FC236}">
                    <a16:creationId xmlns:a16="http://schemas.microsoft.com/office/drawing/2014/main" id="{7AF789A3-4892-405B-8D5F-C6687AF05F32}"/>
                  </a:ext>
                </a:extLst>
              </p:cNvPr>
              <p:cNvSpPr/>
              <p:nvPr/>
            </p:nvSpPr>
            <p:spPr>
              <a:xfrm>
                <a:off x="7080144" y="3651318"/>
                <a:ext cx="187809" cy="49618"/>
              </a:xfrm>
              <a:custGeom>
                <a:avLst/>
                <a:gdLst>
                  <a:gd name="connsiteX0" fmla="*/ 180865 w 187808"/>
                  <a:gd name="connsiteY0" fmla="*/ 49619 h 49618"/>
                  <a:gd name="connsiteX1" fmla="*/ 6970 w 187808"/>
                  <a:gd name="connsiteY1" fmla="*/ 49619 h 49618"/>
                  <a:gd name="connsiteX2" fmla="*/ 473 w 187808"/>
                  <a:gd name="connsiteY2" fmla="*/ 43675 h 49618"/>
                  <a:gd name="connsiteX3" fmla="*/ 11864 w 187808"/>
                  <a:gd name="connsiteY3" fmla="*/ 8094 h 49618"/>
                  <a:gd name="connsiteX4" fmla="*/ 17752 w 187808"/>
                  <a:gd name="connsiteY4" fmla="*/ 2095 h 49618"/>
                  <a:gd name="connsiteX5" fmla="*/ 26959 w 187808"/>
                  <a:gd name="connsiteY5" fmla="*/ 1763 h 49618"/>
                  <a:gd name="connsiteX6" fmla="*/ 27290 w 187808"/>
                  <a:gd name="connsiteY6" fmla="*/ 10969 h 49618"/>
                  <a:gd name="connsiteX7" fmla="*/ 20959 w 187808"/>
                  <a:gd name="connsiteY7" fmla="*/ 17383 h 49618"/>
                  <a:gd name="connsiteX8" fmla="*/ 12997 w 187808"/>
                  <a:gd name="connsiteY8" fmla="*/ 36542 h 49618"/>
                  <a:gd name="connsiteX9" fmla="*/ 174756 w 187808"/>
                  <a:gd name="connsiteY9" fmla="*/ 36542 h 49618"/>
                  <a:gd name="connsiteX10" fmla="*/ 166794 w 187808"/>
                  <a:gd name="connsiteY10" fmla="*/ 17383 h 49618"/>
                  <a:gd name="connsiteX11" fmla="*/ 160462 w 187808"/>
                  <a:gd name="connsiteY11" fmla="*/ 10969 h 49618"/>
                  <a:gd name="connsiteX12" fmla="*/ 160794 w 187808"/>
                  <a:gd name="connsiteY12" fmla="*/ 1735 h 49618"/>
                  <a:gd name="connsiteX13" fmla="*/ 170028 w 187808"/>
                  <a:gd name="connsiteY13" fmla="*/ 2067 h 49618"/>
                  <a:gd name="connsiteX14" fmla="*/ 175917 w 187808"/>
                  <a:gd name="connsiteY14" fmla="*/ 8039 h 49618"/>
                  <a:gd name="connsiteX15" fmla="*/ 187335 w 187808"/>
                  <a:gd name="connsiteY15" fmla="*/ 43647 h 49618"/>
                  <a:gd name="connsiteX16" fmla="*/ 180865 w 187808"/>
                  <a:gd name="connsiteY16" fmla="*/ 49619 h 49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808" h="49618">
                    <a:moveTo>
                      <a:pt x="180865" y="49619"/>
                    </a:moveTo>
                    <a:lnTo>
                      <a:pt x="6970" y="49619"/>
                    </a:lnTo>
                    <a:cubicBezTo>
                      <a:pt x="3598" y="49619"/>
                      <a:pt x="778" y="47048"/>
                      <a:pt x="473" y="43675"/>
                    </a:cubicBezTo>
                    <a:cubicBezTo>
                      <a:pt x="-1462" y="22138"/>
                      <a:pt x="2575" y="17190"/>
                      <a:pt x="11864" y="8094"/>
                    </a:cubicBezTo>
                    <a:cubicBezTo>
                      <a:pt x="13578" y="6408"/>
                      <a:pt x="15568" y="4472"/>
                      <a:pt x="17752" y="2095"/>
                    </a:cubicBezTo>
                    <a:cubicBezTo>
                      <a:pt x="20213" y="-532"/>
                      <a:pt x="24332" y="-670"/>
                      <a:pt x="26959" y="1763"/>
                    </a:cubicBezTo>
                    <a:cubicBezTo>
                      <a:pt x="29585" y="4224"/>
                      <a:pt x="29751" y="8343"/>
                      <a:pt x="27290" y="10969"/>
                    </a:cubicBezTo>
                    <a:cubicBezTo>
                      <a:pt x="24941" y="13513"/>
                      <a:pt x="22812" y="15586"/>
                      <a:pt x="20959" y="17383"/>
                    </a:cubicBezTo>
                    <a:cubicBezTo>
                      <a:pt x="14546" y="23659"/>
                      <a:pt x="12500" y="25677"/>
                      <a:pt x="12997" y="36542"/>
                    </a:cubicBezTo>
                    <a:lnTo>
                      <a:pt x="174756" y="36542"/>
                    </a:lnTo>
                    <a:cubicBezTo>
                      <a:pt x="175253" y="25650"/>
                      <a:pt x="173207" y="23659"/>
                      <a:pt x="166794" y="17383"/>
                    </a:cubicBezTo>
                    <a:cubicBezTo>
                      <a:pt x="164941" y="15586"/>
                      <a:pt x="162840" y="13513"/>
                      <a:pt x="160462" y="10969"/>
                    </a:cubicBezTo>
                    <a:cubicBezTo>
                      <a:pt x="158002" y="8343"/>
                      <a:pt x="158168" y="4196"/>
                      <a:pt x="160794" y="1735"/>
                    </a:cubicBezTo>
                    <a:cubicBezTo>
                      <a:pt x="163448" y="-697"/>
                      <a:pt x="167540" y="-559"/>
                      <a:pt x="170028" y="2067"/>
                    </a:cubicBezTo>
                    <a:cubicBezTo>
                      <a:pt x="172212" y="4445"/>
                      <a:pt x="174203" y="6352"/>
                      <a:pt x="175917" y="8039"/>
                    </a:cubicBezTo>
                    <a:cubicBezTo>
                      <a:pt x="185234" y="17162"/>
                      <a:pt x="189270" y="22083"/>
                      <a:pt x="187335" y="43647"/>
                    </a:cubicBezTo>
                    <a:cubicBezTo>
                      <a:pt x="187058" y="47048"/>
                      <a:pt x="184238" y="49619"/>
                      <a:pt x="180865" y="49619"/>
                    </a:cubicBezTo>
                    <a:close/>
                  </a:path>
                </a:pathLst>
              </a:custGeom>
              <a:grpFill/>
              <a:ln w="2758" cap="flat">
                <a:noFill/>
                <a:prstDash val="solid"/>
                <a:miter/>
              </a:ln>
            </p:spPr>
            <p:txBody>
              <a:bodyPr rtlCol="0" anchor="ctr"/>
              <a:lstStyle/>
              <a:p>
                <a:endParaRPr lang="en-GB" dirty="0"/>
              </a:p>
            </p:txBody>
          </p:sp>
          <p:sp>
            <p:nvSpPr>
              <p:cNvPr id="704" name="Freihandform: Form 1084">
                <a:extLst>
                  <a:ext uri="{FF2B5EF4-FFF2-40B4-BE49-F238E27FC236}">
                    <a16:creationId xmlns:a16="http://schemas.microsoft.com/office/drawing/2014/main" id="{2A331D59-A991-496D-8CFF-3FADB50D47C5}"/>
                  </a:ext>
                </a:extLst>
              </p:cNvPr>
              <p:cNvSpPr/>
              <p:nvPr/>
            </p:nvSpPr>
            <p:spPr>
              <a:xfrm>
                <a:off x="7118937" y="3477759"/>
                <a:ext cx="110198" cy="49597"/>
              </a:xfrm>
              <a:custGeom>
                <a:avLst/>
                <a:gdLst>
                  <a:gd name="connsiteX0" fmla="*/ 85399 w 110198"/>
                  <a:gd name="connsiteY0" fmla="*/ 49597 h 49597"/>
                  <a:gd name="connsiteX1" fmla="*/ 24799 w 110198"/>
                  <a:gd name="connsiteY1" fmla="*/ 49597 h 49597"/>
                  <a:gd name="connsiteX2" fmla="*/ 0 w 110198"/>
                  <a:gd name="connsiteY2" fmla="*/ 24799 h 49597"/>
                  <a:gd name="connsiteX3" fmla="*/ 24799 w 110198"/>
                  <a:gd name="connsiteY3" fmla="*/ 0 h 49597"/>
                  <a:gd name="connsiteX4" fmla="*/ 85399 w 110198"/>
                  <a:gd name="connsiteY4" fmla="*/ 0 h 49597"/>
                  <a:gd name="connsiteX5" fmla="*/ 110198 w 110198"/>
                  <a:gd name="connsiteY5" fmla="*/ 24799 h 49597"/>
                  <a:gd name="connsiteX6" fmla="*/ 85399 w 110198"/>
                  <a:gd name="connsiteY6" fmla="*/ 49597 h 49597"/>
                  <a:gd name="connsiteX7" fmla="*/ 24799 w 110198"/>
                  <a:gd name="connsiteY7" fmla="*/ 13049 h 49597"/>
                  <a:gd name="connsiteX8" fmla="*/ 13049 w 110198"/>
                  <a:gd name="connsiteY8" fmla="*/ 24799 h 49597"/>
                  <a:gd name="connsiteX9" fmla="*/ 24799 w 110198"/>
                  <a:gd name="connsiteY9" fmla="*/ 36548 h 49597"/>
                  <a:gd name="connsiteX10" fmla="*/ 85399 w 110198"/>
                  <a:gd name="connsiteY10" fmla="*/ 36548 h 49597"/>
                  <a:gd name="connsiteX11" fmla="*/ 97149 w 110198"/>
                  <a:gd name="connsiteY11" fmla="*/ 24799 h 49597"/>
                  <a:gd name="connsiteX12" fmla="*/ 85399 w 110198"/>
                  <a:gd name="connsiteY12" fmla="*/ 13049 h 49597"/>
                  <a:gd name="connsiteX13" fmla="*/ 24799 w 110198"/>
                  <a:gd name="connsiteY13" fmla="*/ 13049 h 49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198" h="49597">
                    <a:moveTo>
                      <a:pt x="85399" y="49597"/>
                    </a:moveTo>
                    <a:lnTo>
                      <a:pt x="24799" y="49597"/>
                    </a:lnTo>
                    <a:cubicBezTo>
                      <a:pt x="11114" y="49597"/>
                      <a:pt x="0" y="38484"/>
                      <a:pt x="0" y="24799"/>
                    </a:cubicBezTo>
                    <a:cubicBezTo>
                      <a:pt x="0" y="11114"/>
                      <a:pt x="11114" y="0"/>
                      <a:pt x="24799" y="0"/>
                    </a:cubicBezTo>
                    <a:lnTo>
                      <a:pt x="85399" y="0"/>
                    </a:lnTo>
                    <a:cubicBezTo>
                      <a:pt x="99057" y="0"/>
                      <a:pt x="110198" y="11114"/>
                      <a:pt x="110198" y="24799"/>
                    </a:cubicBezTo>
                    <a:cubicBezTo>
                      <a:pt x="110198" y="38484"/>
                      <a:pt x="99084" y="49597"/>
                      <a:pt x="85399" y="49597"/>
                    </a:cubicBezTo>
                    <a:close/>
                    <a:moveTo>
                      <a:pt x="24799" y="13049"/>
                    </a:moveTo>
                    <a:cubicBezTo>
                      <a:pt x="18329" y="13049"/>
                      <a:pt x="13049" y="18329"/>
                      <a:pt x="13049" y="24799"/>
                    </a:cubicBezTo>
                    <a:cubicBezTo>
                      <a:pt x="13049" y="31268"/>
                      <a:pt x="18329" y="36548"/>
                      <a:pt x="24799" y="36548"/>
                    </a:cubicBezTo>
                    <a:lnTo>
                      <a:pt x="85399" y="36548"/>
                    </a:lnTo>
                    <a:cubicBezTo>
                      <a:pt x="91869" y="36548"/>
                      <a:pt x="97149" y="31268"/>
                      <a:pt x="97149" y="24799"/>
                    </a:cubicBezTo>
                    <a:cubicBezTo>
                      <a:pt x="97149" y="18329"/>
                      <a:pt x="91869" y="13049"/>
                      <a:pt x="85399" y="13049"/>
                    </a:cubicBezTo>
                    <a:lnTo>
                      <a:pt x="24799" y="13049"/>
                    </a:lnTo>
                    <a:close/>
                  </a:path>
                </a:pathLst>
              </a:custGeom>
              <a:grpFill/>
              <a:ln w="2758" cap="flat">
                <a:noFill/>
                <a:prstDash val="solid"/>
                <a:miter/>
              </a:ln>
            </p:spPr>
            <p:txBody>
              <a:bodyPr rtlCol="0" anchor="ctr"/>
              <a:lstStyle/>
              <a:p>
                <a:endParaRPr lang="en-GB" dirty="0"/>
              </a:p>
            </p:txBody>
          </p:sp>
          <p:sp>
            <p:nvSpPr>
              <p:cNvPr id="705" name="Freihandform: Form 1085">
                <a:extLst>
                  <a:ext uri="{FF2B5EF4-FFF2-40B4-BE49-F238E27FC236}">
                    <a16:creationId xmlns:a16="http://schemas.microsoft.com/office/drawing/2014/main" id="{A5EBC7D0-17A2-4645-9D67-7B7005A6FB12}"/>
                  </a:ext>
                </a:extLst>
              </p:cNvPr>
              <p:cNvSpPr/>
              <p:nvPr/>
            </p:nvSpPr>
            <p:spPr>
              <a:xfrm>
                <a:off x="7118926" y="3395538"/>
                <a:ext cx="110198" cy="95269"/>
              </a:xfrm>
              <a:custGeom>
                <a:avLst/>
                <a:gdLst>
                  <a:gd name="connsiteX0" fmla="*/ 84266 w 110198"/>
                  <a:gd name="connsiteY0" fmla="*/ 95269 h 95269"/>
                  <a:gd name="connsiteX1" fmla="*/ 78930 w 110198"/>
                  <a:gd name="connsiteY1" fmla="*/ 92504 h 95269"/>
                  <a:gd name="connsiteX2" fmla="*/ 80478 w 110198"/>
                  <a:gd name="connsiteY2" fmla="*/ 83409 h 95269"/>
                  <a:gd name="connsiteX3" fmla="*/ 97149 w 110198"/>
                  <a:gd name="connsiteY3" fmla="*/ 52196 h 95269"/>
                  <a:gd name="connsiteX4" fmla="*/ 55099 w 110198"/>
                  <a:gd name="connsiteY4" fmla="*/ 13049 h 95269"/>
                  <a:gd name="connsiteX5" fmla="*/ 13049 w 110198"/>
                  <a:gd name="connsiteY5" fmla="*/ 52196 h 95269"/>
                  <a:gd name="connsiteX6" fmla="*/ 29692 w 110198"/>
                  <a:gd name="connsiteY6" fmla="*/ 83409 h 95269"/>
                  <a:gd name="connsiteX7" fmla="*/ 31240 w 110198"/>
                  <a:gd name="connsiteY7" fmla="*/ 92504 h 95269"/>
                  <a:gd name="connsiteX8" fmla="*/ 22145 w 110198"/>
                  <a:gd name="connsiteY8" fmla="*/ 94053 h 95269"/>
                  <a:gd name="connsiteX9" fmla="*/ 0 w 110198"/>
                  <a:gd name="connsiteY9" fmla="*/ 52196 h 95269"/>
                  <a:gd name="connsiteX10" fmla="*/ 55099 w 110198"/>
                  <a:gd name="connsiteY10" fmla="*/ 0 h 95269"/>
                  <a:gd name="connsiteX11" fmla="*/ 110198 w 110198"/>
                  <a:gd name="connsiteY11" fmla="*/ 52196 h 95269"/>
                  <a:gd name="connsiteX12" fmla="*/ 88026 w 110198"/>
                  <a:gd name="connsiteY12" fmla="*/ 94080 h 95269"/>
                  <a:gd name="connsiteX13" fmla="*/ 84266 w 110198"/>
                  <a:gd name="connsiteY13" fmla="*/ 95269 h 95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198" h="95269">
                    <a:moveTo>
                      <a:pt x="84266" y="95269"/>
                    </a:moveTo>
                    <a:cubicBezTo>
                      <a:pt x="82220" y="95269"/>
                      <a:pt x="80202" y="94302"/>
                      <a:pt x="78930" y="92504"/>
                    </a:cubicBezTo>
                    <a:cubicBezTo>
                      <a:pt x="76857" y="89574"/>
                      <a:pt x="77548" y="85482"/>
                      <a:pt x="80478" y="83409"/>
                    </a:cubicBezTo>
                    <a:cubicBezTo>
                      <a:pt x="91067" y="75917"/>
                      <a:pt x="97149" y="64526"/>
                      <a:pt x="97149" y="52196"/>
                    </a:cubicBezTo>
                    <a:cubicBezTo>
                      <a:pt x="97149" y="30604"/>
                      <a:pt x="78294" y="13049"/>
                      <a:pt x="55099" y="13049"/>
                    </a:cubicBezTo>
                    <a:cubicBezTo>
                      <a:pt x="31904" y="13049"/>
                      <a:pt x="13049" y="30604"/>
                      <a:pt x="13049" y="52196"/>
                    </a:cubicBezTo>
                    <a:cubicBezTo>
                      <a:pt x="13049" y="64526"/>
                      <a:pt x="19104" y="75917"/>
                      <a:pt x="29692" y="83409"/>
                    </a:cubicBezTo>
                    <a:cubicBezTo>
                      <a:pt x="32623" y="85482"/>
                      <a:pt x="33341" y="89574"/>
                      <a:pt x="31240" y="92504"/>
                    </a:cubicBezTo>
                    <a:cubicBezTo>
                      <a:pt x="29139" y="95435"/>
                      <a:pt x="25075" y="96126"/>
                      <a:pt x="22145" y="94053"/>
                    </a:cubicBezTo>
                    <a:cubicBezTo>
                      <a:pt x="8073" y="84072"/>
                      <a:pt x="0" y="68839"/>
                      <a:pt x="0" y="52196"/>
                    </a:cubicBezTo>
                    <a:cubicBezTo>
                      <a:pt x="0" y="23416"/>
                      <a:pt x="24716" y="0"/>
                      <a:pt x="55099" y="0"/>
                    </a:cubicBezTo>
                    <a:cubicBezTo>
                      <a:pt x="85482" y="0"/>
                      <a:pt x="110198" y="23416"/>
                      <a:pt x="110198" y="52196"/>
                    </a:cubicBezTo>
                    <a:cubicBezTo>
                      <a:pt x="110198" y="68590"/>
                      <a:pt x="101904" y="84238"/>
                      <a:pt x="88026" y="94080"/>
                    </a:cubicBezTo>
                    <a:cubicBezTo>
                      <a:pt x="86865" y="94882"/>
                      <a:pt x="85565" y="95269"/>
                      <a:pt x="84266" y="95269"/>
                    </a:cubicBezTo>
                    <a:close/>
                  </a:path>
                </a:pathLst>
              </a:custGeom>
              <a:grpFill/>
              <a:ln w="2758" cap="flat">
                <a:noFill/>
                <a:prstDash val="solid"/>
                <a:miter/>
              </a:ln>
            </p:spPr>
            <p:txBody>
              <a:bodyPr rtlCol="0" anchor="ctr"/>
              <a:lstStyle/>
              <a:p>
                <a:endParaRPr lang="en-GB" dirty="0"/>
              </a:p>
            </p:txBody>
          </p:sp>
        </p:grpSp>
      </p:grpSp>
      <p:grpSp>
        <p:nvGrpSpPr>
          <p:cNvPr id="774" name="Group 773">
            <a:extLst>
              <a:ext uri="{FF2B5EF4-FFF2-40B4-BE49-F238E27FC236}">
                <a16:creationId xmlns:a16="http://schemas.microsoft.com/office/drawing/2014/main" id="{7B53337E-AAC7-4D89-9D36-9BE992DE0B63}"/>
              </a:ext>
            </a:extLst>
          </p:cNvPr>
          <p:cNvGrpSpPr/>
          <p:nvPr/>
        </p:nvGrpSpPr>
        <p:grpSpPr>
          <a:xfrm>
            <a:off x="6014204" y="4002611"/>
            <a:ext cx="484395" cy="432000"/>
            <a:chOff x="6013792" y="4002611"/>
            <a:chExt cx="484395" cy="432000"/>
          </a:xfrm>
        </p:grpSpPr>
        <p:grpSp>
          <p:nvGrpSpPr>
            <p:cNvPr id="710" name="Grafik 15">
              <a:extLst>
                <a:ext uri="{FF2B5EF4-FFF2-40B4-BE49-F238E27FC236}">
                  <a16:creationId xmlns:a16="http://schemas.microsoft.com/office/drawing/2014/main" id="{FA2704B7-E477-4E0F-A0AD-79AAFCDBB13C}"/>
                </a:ext>
              </a:extLst>
            </p:cNvPr>
            <p:cNvGrpSpPr/>
            <p:nvPr/>
          </p:nvGrpSpPr>
          <p:grpSpPr>
            <a:xfrm>
              <a:off x="6321443" y="4257868"/>
              <a:ext cx="176744" cy="176743"/>
              <a:chOff x="1222594" y="2747984"/>
              <a:chExt cx="178090" cy="178089"/>
            </a:xfrm>
            <a:solidFill>
              <a:schemeClr val="accent1"/>
            </a:solidFill>
          </p:grpSpPr>
          <p:sp>
            <p:nvSpPr>
              <p:cNvPr id="717" name="Freihandform: Form 492">
                <a:extLst>
                  <a:ext uri="{FF2B5EF4-FFF2-40B4-BE49-F238E27FC236}">
                    <a16:creationId xmlns:a16="http://schemas.microsoft.com/office/drawing/2014/main" id="{9C364657-6F07-4CF8-916F-64CFC102E196}"/>
                  </a:ext>
                </a:extLst>
              </p:cNvPr>
              <p:cNvSpPr/>
              <p:nvPr/>
            </p:nvSpPr>
            <p:spPr>
              <a:xfrm>
                <a:off x="1222594" y="2747984"/>
                <a:ext cx="178090" cy="178089"/>
              </a:xfrm>
              <a:custGeom>
                <a:avLst/>
                <a:gdLst>
                  <a:gd name="connsiteX0" fmla="*/ 89045 w 178090"/>
                  <a:gd name="connsiteY0" fmla="*/ 178090 h 178089"/>
                  <a:gd name="connsiteX1" fmla="*/ 0 w 178090"/>
                  <a:gd name="connsiteY1" fmla="*/ 89045 h 178089"/>
                  <a:gd name="connsiteX2" fmla="*/ 89045 w 178090"/>
                  <a:gd name="connsiteY2" fmla="*/ 0 h 178089"/>
                  <a:gd name="connsiteX3" fmla="*/ 124418 w 178090"/>
                  <a:gd name="connsiteY3" fmla="*/ 7298 h 178089"/>
                  <a:gd name="connsiteX4" fmla="*/ 127854 w 178090"/>
                  <a:gd name="connsiteY4" fmla="*/ 15982 h 178089"/>
                  <a:gd name="connsiteX5" fmla="*/ 119171 w 178090"/>
                  <a:gd name="connsiteY5" fmla="*/ 19418 h 178089"/>
                  <a:gd name="connsiteX6" fmla="*/ 89045 w 178090"/>
                  <a:gd name="connsiteY6" fmla="*/ 13212 h 178089"/>
                  <a:gd name="connsiteX7" fmla="*/ 13185 w 178090"/>
                  <a:gd name="connsiteY7" fmla="*/ 89072 h 178089"/>
                  <a:gd name="connsiteX8" fmla="*/ 89045 w 178090"/>
                  <a:gd name="connsiteY8" fmla="*/ 164932 h 178089"/>
                  <a:gd name="connsiteX9" fmla="*/ 164905 w 178090"/>
                  <a:gd name="connsiteY9" fmla="*/ 89072 h 178089"/>
                  <a:gd name="connsiteX10" fmla="*/ 155156 w 178090"/>
                  <a:gd name="connsiteY10" fmla="*/ 51834 h 178089"/>
                  <a:gd name="connsiteX11" fmla="*/ 157660 w 178090"/>
                  <a:gd name="connsiteY11" fmla="*/ 42858 h 178089"/>
                  <a:gd name="connsiteX12" fmla="*/ 166636 w 178090"/>
                  <a:gd name="connsiteY12" fmla="*/ 45362 h 178089"/>
                  <a:gd name="connsiteX13" fmla="*/ 178090 w 178090"/>
                  <a:gd name="connsiteY13" fmla="*/ 89072 h 178089"/>
                  <a:gd name="connsiteX14" fmla="*/ 89045 w 178090"/>
                  <a:gd name="connsiteY14" fmla="*/ 178090 h 17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8090" h="178089">
                    <a:moveTo>
                      <a:pt x="89045" y="178090"/>
                    </a:moveTo>
                    <a:cubicBezTo>
                      <a:pt x="39954" y="178090"/>
                      <a:pt x="0" y="138136"/>
                      <a:pt x="0" y="89045"/>
                    </a:cubicBezTo>
                    <a:cubicBezTo>
                      <a:pt x="0" y="39954"/>
                      <a:pt x="39954" y="0"/>
                      <a:pt x="89045" y="0"/>
                    </a:cubicBezTo>
                    <a:cubicBezTo>
                      <a:pt x="101324" y="0"/>
                      <a:pt x="113231" y="2450"/>
                      <a:pt x="124418" y="7298"/>
                    </a:cubicBezTo>
                    <a:cubicBezTo>
                      <a:pt x="127774" y="8737"/>
                      <a:pt x="129292" y="12626"/>
                      <a:pt x="127854" y="15982"/>
                    </a:cubicBezTo>
                    <a:cubicBezTo>
                      <a:pt x="126416" y="19311"/>
                      <a:pt x="122500" y="20856"/>
                      <a:pt x="119171" y="19418"/>
                    </a:cubicBezTo>
                    <a:cubicBezTo>
                      <a:pt x="109661" y="15289"/>
                      <a:pt x="99513" y="13212"/>
                      <a:pt x="89045" y="13212"/>
                    </a:cubicBezTo>
                    <a:cubicBezTo>
                      <a:pt x="47226" y="13212"/>
                      <a:pt x="13185" y="47226"/>
                      <a:pt x="13185" y="89072"/>
                    </a:cubicBezTo>
                    <a:cubicBezTo>
                      <a:pt x="13185" y="130891"/>
                      <a:pt x="47199" y="164932"/>
                      <a:pt x="89045" y="164932"/>
                    </a:cubicBezTo>
                    <a:cubicBezTo>
                      <a:pt x="130891" y="164932"/>
                      <a:pt x="164905" y="130917"/>
                      <a:pt x="164905" y="89072"/>
                    </a:cubicBezTo>
                    <a:cubicBezTo>
                      <a:pt x="164905" y="76020"/>
                      <a:pt x="161522" y="63155"/>
                      <a:pt x="155156" y="51834"/>
                    </a:cubicBezTo>
                    <a:cubicBezTo>
                      <a:pt x="153372" y="48664"/>
                      <a:pt x="154490" y="44642"/>
                      <a:pt x="157660" y="42858"/>
                    </a:cubicBezTo>
                    <a:cubicBezTo>
                      <a:pt x="160830" y="41073"/>
                      <a:pt x="164852" y="42192"/>
                      <a:pt x="166636" y="45362"/>
                    </a:cubicBezTo>
                    <a:cubicBezTo>
                      <a:pt x="174121" y="58626"/>
                      <a:pt x="178090" y="73756"/>
                      <a:pt x="178090" y="89072"/>
                    </a:cubicBezTo>
                    <a:cubicBezTo>
                      <a:pt x="178090" y="138162"/>
                      <a:pt x="138136" y="178090"/>
                      <a:pt x="89045" y="178090"/>
                    </a:cubicBezTo>
                    <a:close/>
                  </a:path>
                </a:pathLst>
              </a:custGeom>
              <a:solidFill>
                <a:schemeClr val="accent1"/>
              </a:solidFill>
              <a:ln w="2663" cap="flat">
                <a:noFill/>
                <a:prstDash val="solid"/>
                <a:miter/>
              </a:ln>
            </p:spPr>
            <p:txBody>
              <a:bodyPr rtlCol="0" anchor="ctr"/>
              <a:lstStyle/>
              <a:p>
                <a:endParaRPr lang="en-GB" dirty="0"/>
              </a:p>
            </p:txBody>
          </p:sp>
          <p:sp>
            <p:nvSpPr>
              <p:cNvPr id="718" name="Freihandform: Form 493">
                <a:extLst>
                  <a:ext uri="{FF2B5EF4-FFF2-40B4-BE49-F238E27FC236}">
                    <a16:creationId xmlns:a16="http://schemas.microsoft.com/office/drawing/2014/main" id="{C059D409-B3BF-4690-BE8E-9E55C13D2195}"/>
                  </a:ext>
                </a:extLst>
              </p:cNvPr>
              <p:cNvSpPr/>
              <p:nvPr/>
            </p:nvSpPr>
            <p:spPr>
              <a:xfrm>
                <a:off x="1264620" y="2756239"/>
                <a:ext cx="114516" cy="113498"/>
              </a:xfrm>
              <a:custGeom>
                <a:avLst/>
                <a:gdLst>
                  <a:gd name="connsiteX0" fmla="*/ 47019 w 114516"/>
                  <a:gd name="connsiteY0" fmla="*/ 113499 h 113498"/>
                  <a:gd name="connsiteX1" fmla="*/ 41931 w 114516"/>
                  <a:gd name="connsiteY1" fmla="*/ 111075 h 113498"/>
                  <a:gd name="connsiteX2" fmla="*/ 1497 w 114516"/>
                  <a:gd name="connsiteY2" fmla="*/ 61825 h 113498"/>
                  <a:gd name="connsiteX3" fmla="*/ 2403 w 114516"/>
                  <a:gd name="connsiteY3" fmla="*/ 52555 h 113498"/>
                  <a:gd name="connsiteX4" fmla="*/ 11672 w 114516"/>
                  <a:gd name="connsiteY4" fmla="*/ 53461 h 113498"/>
                  <a:gd name="connsiteX5" fmla="*/ 46193 w 114516"/>
                  <a:gd name="connsiteY5" fmla="*/ 95519 h 113498"/>
                  <a:gd name="connsiteX6" fmla="*/ 102289 w 114516"/>
                  <a:gd name="connsiteY6" fmla="*/ 3172 h 113498"/>
                  <a:gd name="connsiteX7" fmla="*/ 111345 w 114516"/>
                  <a:gd name="connsiteY7" fmla="*/ 961 h 113498"/>
                  <a:gd name="connsiteX8" fmla="*/ 113556 w 114516"/>
                  <a:gd name="connsiteY8" fmla="*/ 10017 h 113498"/>
                  <a:gd name="connsiteX9" fmla="*/ 52639 w 114516"/>
                  <a:gd name="connsiteY9" fmla="*/ 110329 h 113498"/>
                  <a:gd name="connsiteX10" fmla="*/ 47472 w 114516"/>
                  <a:gd name="connsiteY10" fmla="*/ 113472 h 113498"/>
                  <a:gd name="connsiteX11" fmla="*/ 47019 w 114516"/>
                  <a:gd name="connsiteY11" fmla="*/ 113499 h 11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516" h="113498">
                    <a:moveTo>
                      <a:pt x="47019" y="113499"/>
                    </a:moveTo>
                    <a:cubicBezTo>
                      <a:pt x="45048" y="113499"/>
                      <a:pt x="43183" y="112620"/>
                      <a:pt x="41931" y="111075"/>
                    </a:cubicBezTo>
                    <a:lnTo>
                      <a:pt x="1497" y="61825"/>
                    </a:lnTo>
                    <a:cubicBezTo>
                      <a:pt x="-820" y="59001"/>
                      <a:pt x="-394" y="54846"/>
                      <a:pt x="2403" y="52555"/>
                    </a:cubicBezTo>
                    <a:cubicBezTo>
                      <a:pt x="5226" y="50238"/>
                      <a:pt x="9382" y="50664"/>
                      <a:pt x="11672" y="53461"/>
                    </a:cubicBezTo>
                    <a:lnTo>
                      <a:pt x="46193" y="95519"/>
                    </a:lnTo>
                    <a:lnTo>
                      <a:pt x="102289" y="3172"/>
                    </a:lnTo>
                    <a:cubicBezTo>
                      <a:pt x="104180" y="55"/>
                      <a:pt x="108229" y="-930"/>
                      <a:pt x="111345" y="961"/>
                    </a:cubicBezTo>
                    <a:cubicBezTo>
                      <a:pt x="114462" y="2852"/>
                      <a:pt x="115447" y="6901"/>
                      <a:pt x="113556" y="10017"/>
                    </a:cubicBezTo>
                    <a:lnTo>
                      <a:pt x="52639" y="110329"/>
                    </a:lnTo>
                    <a:cubicBezTo>
                      <a:pt x="51520" y="112167"/>
                      <a:pt x="49602" y="113339"/>
                      <a:pt x="47472" y="113472"/>
                    </a:cubicBezTo>
                    <a:cubicBezTo>
                      <a:pt x="47338" y="113499"/>
                      <a:pt x="47179" y="113499"/>
                      <a:pt x="47019" y="113499"/>
                    </a:cubicBezTo>
                    <a:close/>
                  </a:path>
                </a:pathLst>
              </a:custGeom>
              <a:solidFill>
                <a:schemeClr val="accent1"/>
              </a:solidFill>
              <a:ln w="2663" cap="flat">
                <a:noFill/>
                <a:prstDash val="solid"/>
                <a:miter/>
              </a:ln>
            </p:spPr>
            <p:txBody>
              <a:bodyPr rtlCol="0" anchor="ctr"/>
              <a:lstStyle/>
              <a:p>
                <a:endParaRPr lang="en-GB" dirty="0"/>
              </a:p>
            </p:txBody>
          </p:sp>
        </p:grpSp>
        <p:grpSp>
          <p:nvGrpSpPr>
            <p:cNvPr id="711" name="Gruppieren 1108">
              <a:extLst>
                <a:ext uri="{FF2B5EF4-FFF2-40B4-BE49-F238E27FC236}">
                  <a16:creationId xmlns:a16="http://schemas.microsoft.com/office/drawing/2014/main" id="{CDFAF9F2-AF42-4B3D-B55D-E207213309BF}"/>
                </a:ext>
              </a:extLst>
            </p:cNvPr>
            <p:cNvGrpSpPr/>
            <p:nvPr/>
          </p:nvGrpSpPr>
          <p:grpSpPr>
            <a:xfrm>
              <a:off x="6013792" y="4002611"/>
              <a:ext cx="432027" cy="386189"/>
              <a:chOff x="912601" y="2490784"/>
              <a:chExt cx="435316" cy="389129"/>
            </a:xfrm>
          </p:grpSpPr>
          <p:sp>
            <p:nvSpPr>
              <p:cNvPr id="712" name="Freihandform: Form 489">
                <a:extLst>
                  <a:ext uri="{FF2B5EF4-FFF2-40B4-BE49-F238E27FC236}">
                    <a16:creationId xmlns:a16="http://schemas.microsoft.com/office/drawing/2014/main" id="{5AD522CC-CD3B-4C99-A7CC-C99FE5E00322}"/>
                  </a:ext>
                </a:extLst>
              </p:cNvPr>
              <p:cNvSpPr/>
              <p:nvPr/>
            </p:nvSpPr>
            <p:spPr>
              <a:xfrm>
                <a:off x="912628" y="2490784"/>
                <a:ext cx="435289" cy="389129"/>
              </a:xfrm>
              <a:custGeom>
                <a:avLst/>
                <a:gdLst>
                  <a:gd name="connsiteX0" fmla="*/ 323178 w 435289"/>
                  <a:gd name="connsiteY0" fmla="*/ 389129 h 389129"/>
                  <a:gd name="connsiteX1" fmla="*/ 32976 w 435289"/>
                  <a:gd name="connsiteY1" fmla="*/ 389129 h 389129"/>
                  <a:gd name="connsiteX2" fmla="*/ 0 w 435289"/>
                  <a:gd name="connsiteY2" fmla="*/ 356153 h 389129"/>
                  <a:gd name="connsiteX3" fmla="*/ 0 w 435289"/>
                  <a:gd name="connsiteY3" fmla="*/ 32976 h 389129"/>
                  <a:gd name="connsiteX4" fmla="*/ 32976 w 435289"/>
                  <a:gd name="connsiteY4" fmla="*/ 0 h 389129"/>
                  <a:gd name="connsiteX5" fmla="*/ 402314 w 435289"/>
                  <a:gd name="connsiteY5" fmla="*/ 0 h 389129"/>
                  <a:gd name="connsiteX6" fmla="*/ 435290 w 435289"/>
                  <a:gd name="connsiteY6" fmla="*/ 32976 h 389129"/>
                  <a:gd name="connsiteX7" fmla="*/ 435290 w 435289"/>
                  <a:gd name="connsiteY7" fmla="*/ 250621 h 389129"/>
                  <a:gd name="connsiteX8" fmla="*/ 422105 w 435289"/>
                  <a:gd name="connsiteY8" fmla="*/ 250621 h 389129"/>
                  <a:gd name="connsiteX9" fmla="*/ 422105 w 435289"/>
                  <a:gd name="connsiteY9" fmla="*/ 32976 h 389129"/>
                  <a:gd name="connsiteX10" fmla="*/ 402314 w 435289"/>
                  <a:gd name="connsiteY10" fmla="*/ 13185 h 389129"/>
                  <a:gd name="connsiteX11" fmla="*/ 32976 w 435289"/>
                  <a:gd name="connsiteY11" fmla="*/ 13185 h 389129"/>
                  <a:gd name="connsiteX12" fmla="*/ 13185 w 435289"/>
                  <a:gd name="connsiteY12" fmla="*/ 32976 h 389129"/>
                  <a:gd name="connsiteX13" fmla="*/ 13185 w 435289"/>
                  <a:gd name="connsiteY13" fmla="*/ 356153 h 389129"/>
                  <a:gd name="connsiteX14" fmla="*/ 32976 w 435289"/>
                  <a:gd name="connsiteY14" fmla="*/ 375944 h 389129"/>
                  <a:gd name="connsiteX15" fmla="*/ 323178 w 435289"/>
                  <a:gd name="connsiteY15" fmla="*/ 375944 h 389129"/>
                  <a:gd name="connsiteX16" fmla="*/ 323178 w 435289"/>
                  <a:gd name="connsiteY16" fmla="*/ 389129 h 389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5289" h="389129">
                    <a:moveTo>
                      <a:pt x="323178" y="389129"/>
                    </a:moveTo>
                    <a:lnTo>
                      <a:pt x="32976" y="389129"/>
                    </a:lnTo>
                    <a:cubicBezTo>
                      <a:pt x="14783" y="389129"/>
                      <a:pt x="0" y="374346"/>
                      <a:pt x="0" y="356153"/>
                    </a:cubicBezTo>
                    <a:lnTo>
                      <a:pt x="0" y="32976"/>
                    </a:lnTo>
                    <a:cubicBezTo>
                      <a:pt x="0" y="14783"/>
                      <a:pt x="14783" y="0"/>
                      <a:pt x="32976" y="0"/>
                    </a:cubicBezTo>
                    <a:lnTo>
                      <a:pt x="402314" y="0"/>
                    </a:lnTo>
                    <a:cubicBezTo>
                      <a:pt x="420507" y="0"/>
                      <a:pt x="435290" y="14783"/>
                      <a:pt x="435290" y="32976"/>
                    </a:cubicBezTo>
                    <a:lnTo>
                      <a:pt x="435290" y="250621"/>
                    </a:lnTo>
                    <a:lnTo>
                      <a:pt x="422105" y="250621"/>
                    </a:lnTo>
                    <a:lnTo>
                      <a:pt x="422105" y="32976"/>
                    </a:lnTo>
                    <a:cubicBezTo>
                      <a:pt x="422105" y="22055"/>
                      <a:pt x="413235" y="13185"/>
                      <a:pt x="402314" y="13185"/>
                    </a:cubicBezTo>
                    <a:lnTo>
                      <a:pt x="32976" y="13185"/>
                    </a:lnTo>
                    <a:cubicBezTo>
                      <a:pt x="22055" y="13185"/>
                      <a:pt x="13185" y="22055"/>
                      <a:pt x="13185" y="32976"/>
                    </a:cubicBezTo>
                    <a:lnTo>
                      <a:pt x="13185" y="356153"/>
                    </a:lnTo>
                    <a:cubicBezTo>
                      <a:pt x="13185" y="367074"/>
                      <a:pt x="22055" y="375944"/>
                      <a:pt x="32976" y="375944"/>
                    </a:cubicBezTo>
                    <a:lnTo>
                      <a:pt x="323178" y="375944"/>
                    </a:lnTo>
                    <a:lnTo>
                      <a:pt x="323178" y="389129"/>
                    </a:lnTo>
                    <a:close/>
                  </a:path>
                </a:pathLst>
              </a:custGeom>
              <a:solidFill>
                <a:schemeClr val="tx2"/>
              </a:solidFill>
              <a:ln w="2663" cap="flat">
                <a:noFill/>
                <a:prstDash val="solid"/>
                <a:miter/>
              </a:ln>
            </p:spPr>
            <p:txBody>
              <a:bodyPr rtlCol="0" anchor="ctr"/>
              <a:lstStyle/>
              <a:p>
                <a:endParaRPr lang="en-GB" dirty="0"/>
              </a:p>
            </p:txBody>
          </p:sp>
          <p:sp>
            <p:nvSpPr>
              <p:cNvPr id="713" name="Freihandform: Form 490">
                <a:extLst>
                  <a:ext uri="{FF2B5EF4-FFF2-40B4-BE49-F238E27FC236}">
                    <a16:creationId xmlns:a16="http://schemas.microsoft.com/office/drawing/2014/main" id="{5A359477-547B-4C56-AF30-615EF5ADA7FC}"/>
                  </a:ext>
                </a:extLst>
              </p:cNvPr>
              <p:cNvSpPr/>
              <p:nvPr/>
            </p:nvSpPr>
            <p:spPr>
              <a:xfrm>
                <a:off x="912601" y="2550103"/>
                <a:ext cx="435316" cy="13211"/>
              </a:xfrm>
              <a:custGeom>
                <a:avLst/>
                <a:gdLst>
                  <a:gd name="connsiteX0" fmla="*/ 428711 w 435316"/>
                  <a:gd name="connsiteY0" fmla="*/ 13212 h 13211"/>
                  <a:gd name="connsiteX1" fmla="*/ 6606 w 435316"/>
                  <a:gd name="connsiteY1" fmla="*/ 13212 h 13211"/>
                  <a:gd name="connsiteX2" fmla="*/ 0 w 435316"/>
                  <a:gd name="connsiteY2" fmla="*/ 6606 h 13211"/>
                  <a:gd name="connsiteX3" fmla="*/ 6606 w 435316"/>
                  <a:gd name="connsiteY3" fmla="*/ 0 h 13211"/>
                  <a:gd name="connsiteX4" fmla="*/ 428711 w 435316"/>
                  <a:gd name="connsiteY4" fmla="*/ 0 h 13211"/>
                  <a:gd name="connsiteX5" fmla="*/ 435316 w 435316"/>
                  <a:gd name="connsiteY5" fmla="*/ 6606 h 13211"/>
                  <a:gd name="connsiteX6" fmla="*/ 428711 w 435316"/>
                  <a:gd name="connsiteY6" fmla="*/ 13212 h 1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316" h="13211">
                    <a:moveTo>
                      <a:pt x="428711" y="13212"/>
                    </a:moveTo>
                    <a:lnTo>
                      <a:pt x="6606" y="13212"/>
                    </a:lnTo>
                    <a:cubicBezTo>
                      <a:pt x="2957" y="13212"/>
                      <a:pt x="0" y="10255"/>
                      <a:pt x="0" y="6606"/>
                    </a:cubicBezTo>
                    <a:cubicBezTo>
                      <a:pt x="0" y="2957"/>
                      <a:pt x="2957" y="0"/>
                      <a:pt x="6606" y="0"/>
                    </a:cubicBezTo>
                    <a:lnTo>
                      <a:pt x="428711" y="0"/>
                    </a:lnTo>
                    <a:cubicBezTo>
                      <a:pt x="432360" y="0"/>
                      <a:pt x="435316" y="2957"/>
                      <a:pt x="435316" y="6606"/>
                    </a:cubicBezTo>
                    <a:cubicBezTo>
                      <a:pt x="435316" y="10255"/>
                      <a:pt x="432360" y="13212"/>
                      <a:pt x="428711" y="13212"/>
                    </a:cubicBezTo>
                    <a:close/>
                  </a:path>
                </a:pathLst>
              </a:custGeom>
              <a:solidFill>
                <a:schemeClr val="tx2"/>
              </a:solidFill>
              <a:ln w="2663" cap="flat">
                <a:noFill/>
                <a:prstDash val="solid"/>
                <a:miter/>
              </a:ln>
            </p:spPr>
            <p:txBody>
              <a:bodyPr rtlCol="0" anchor="ctr"/>
              <a:lstStyle/>
              <a:p>
                <a:endParaRPr lang="en-GB" dirty="0"/>
              </a:p>
            </p:txBody>
          </p:sp>
          <p:grpSp>
            <p:nvGrpSpPr>
              <p:cNvPr id="714" name="Grafik 15">
                <a:extLst>
                  <a:ext uri="{FF2B5EF4-FFF2-40B4-BE49-F238E27FC236}">
                    <a16:creationId xmlns:a16="http://schemas.microsoft.com/office/drawing/2014/main" id="{5BD1390A-09F4-4B84-B6A0-F83CDDB1945A}"/>
                  </a:ext>
                </a:extLst>
              </p:cNvPr>
              <p:cNvGrpSpPr/>
              <p:nvPr/>
            </p:nvGrpSpPr>
            <p:grpSpPr>
              <a:xfrm>
                <a:off x="998350" y="2622669"/>
                <a:ext cx="257266" cy="171501"/>
                <a:chOff x="998350" y="2622669"/>
                <a:chExt cx="257266" cy="171501"/>
              </a:xfrm>
              <a:solidFill>
                <a:schemeClr val="tx2"/>
              </a:solidFill>
            </p:grpSpPr>
            <p:sp>
              <p:nvSpPr>
                <p:cNvPr id="715" name="Freihandform: Form 495">
                  <a:extLst>
                    <a:ext uri="{FF2B5EF4-FFF2-40B4-BE49-F238E27FC236}">
                      <a16:creationId xmlns:a16="http://schemas.microsoft.com/office/drawing/2014/main" id="{74D8E588-D6B6-427E-A956-A3DD03A3B378}"/>
                    </a:ext>
                  </a:extLst>
                </p:cNvPr>
                <p:cNvSpPr/>
                <p:nvPr/>
              </p:nvSpPr>
              <p:spPr>
                <a:xfrm>
                  <a:off x="998350" y="2622669"/>
                  <a:ext cx="191294" cy="131920"/>
                </a:xfrm>
                <a:custGeom>
                  <a:avLst/>
                  <a:gdLst>
                    <a:gd name="connsiteX0" fmla="*/ 65971 w 191294"/>
                    <a:gd name="connsiteY0" fmla="*/ 131921 h 131920"/>
                    <a:gd name="connsiteX1" fmla="*/ 61310 w 191294"/>
                    <a:gd name="connsiteY1" fmla="*/ 129976 h 131920"/>
                    <a:gd name="connsiteX2" fmla="*/ 1938 w 191294"/>
                    <a:gd name="connsiteY2" fmla="*/ 70631 h 131920"/>
                    <a:gd name="connsiteX3" fmla="*/ 1938 w 191294"/>
                    <a:gd name="connsiteY3" fmla="*/ 61308 h 131920"/>
                    <a:gd name="connsiteX4" fmla="*/ 61310 w 191294"/>
                    <a:gd name="connsiteY4" fmla="*/ 1936 h 131920"/>
                    <a:gd name="connsiteX5" fmla="*/ 68502 w 191294"/>
                    <a:gd name="connsiteY5" fmla="*/ 497 h 131920"/>
                    <a:gd name="connsiteX6" fmla="*/ 72577 w 191294"/>
                    <a:gd name="connsiteY6" fmla="*/ 6597 h 131920"/>
                    <a:gd name="connsiteX7" fmla="*/ 72577 w 191294"/>
                    <a:gd name="connsiteY7" fmla="*/ 39573 h 131920"/>
                    <a:gd name="connsiteX8" fmla="*/ 158319 w 191294"/>
                    <a:gd name="connsiteY8" fmla="*/ 39573 h 131920"/>
                    <a:gd name="connsiteX9" fmla="*/ 158319 w 191294"/>
                    <a:gd name="connsiteY9" fmla="*/ 52758 h 131920"/>
                    <a:gd name="connsiteX10" fmla="*/ 65971 w 191294"/>
                    <a:gd name="connsiteY10" fmla="*/ 52758 h 131920"/>
                    <a:gd name="connsiteX11" fmla="*/ 59366 w 191294"/>
                    <a:gd name="connsiteY11" fmla="*/ 46152 h 131920"/>
                    <a:gd name="connsiteX12" fmla="*/ 59366 w 191294"/>
                    <a:gd name="connsiteY12" fmla="*/ 22499 h 131920"/>
                    <a:gd name="connsiteX13" fmla="*/ 15922 w 191294"/>
                    <a:gd name="connsiteY13" fmla="*/ 65943 h 131920"/>
                    <a:gd name="connsiteX14" fmla="*/ 59366 w 191294"/>
                    <a:gd name="connsiteY14" fmla="*/ 109386 h 131920"/>
                    <a:gd name="connsiteX15" fmla="*/ 59366 w 191294"/>
                    <a:gd name="connsiteY15" fmla="*/ 85733 h 131920"/>
                    <a:gd name="connsiteX16" fmla="*/ 65971 w 191294"/>
                    <a:gd name="connsiteY16" fmla="*/ 79127 h 131920"/>
                    <a:gd name="connsiteX17" fmla="*/ 191295 w 191294"/>
                    <a:gd name="connsiteY17" fmla="*/ 79127 h 131920"/>
                    <a:gd name="connsiteX18" fmla="*/ 191295 w 191294"/>
                    <a:gd name="connsiteY18" fmla="*/ 92312 h 131920"/>
                    <a:gd name="connsiteX19" fmla="*/ 72550 w 191294"/>
                    <a:gd name="connsiteY19" fmla="*/ 92312 h 131920"/>
                    <a:gd name="connsiteX20" fmla="*/ 72550 w 191294"/>
                    <a:gd name="connsiteY20" fmla="*/ 125288 h 131920"/>
                    <a:gd name="connsiteX21" fmla="*/ 68475 w 191294"/>
                    <a:gd name="connsiteY21" fmla="*/ 131388 h 131920"/>
                    <a:gd name="connsiteX22" fmla="*/ 65971 w 191294"/>
                    <a:gd name="connsiteY22" fmla="*/ 131921 h 13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1294" h="131920">
                      <a:moveTo>
                        <a:pt x="65971" y="131921"/>
                      </a:moveTo>
                      <a:cubicBezTo>
                        <a:pt x="64267" y="131921"/>
                        <a:pt x="62562" y="131255"/>
                        <a:pt x="61310" y="129976"/>
                      </a:cubicBezTo>
                      <a:lnTo>
                        <a:pt x="1938" y="70631"/>
                      </a:lnTo>
                      <a:cubicBezTo>
                        <a:pt x="-646" y="68047"/>
                        <a:pt x="-646" y="63892"/>
                        <a:pt x="1938" y="61308"/>
                      </a:cubicBezTo>
                      <a:lnTo>
                        <a:pt x="61310" y="1936"/>
                      </a:lnTo>
                      <a:cubicBezTo>
                        <a:pt x="63201" y="44"/>
                        <a:pt x="66025" y="-515"/>
                        <a:pt x="68502" y="497"/>
                      </a:cubicBezTo>
                      <a:cubicBezTo>
                        <a:pt x="70952" y="1509"/>
                        <a:pt x="72577" y="3933"/>
                        <a:pt x="72577" y="6597"/>
                      </a:cubicBezTo>
                      <a:lnTo>
                        <a:pt x="72577" y="39573"/>
                      </a:lnTo>
                      <a:lnTo>
                        <a:pt x="158319" y="39573"/>
                      </a:lnTo>
                      <a:lnTo>
                        <a:pt x="158319" y="52758"/>
                      </a:lnTo>
                      <a:lnTo>
                        <a:pt x="65971" y="52758"/>
                      </a:lnTo>
                      <a:cubicBezTo>
                        <a:pt x="62322" y="52758"/>
                        <a:pt x="59366" y="49801"/>
                        <a:pt x="59366" y="46152"/>
                      </a:cubicBezTo>
                      <a:lnTo>
                        <a:pt x="59366" y="22499"/>
                      </a:lnTo>
                      <a:lnTo>
                        <a:pt x="15922" y="65943"/>
                      </a:lnTo>
                      <a:lnTo>
                        <a:pt x="59366" y="109386"/>
                      </a:lnTo>
                      <a:lnTo>
                        <a:pt x="59366" y="85733"/>
                      </a:lnTo>
                      <a:cubicBezTo>
                        <a:pt x="59366" y="82084"/>
                        <a:pt x="62322" y="79127"/>
                        <a:pt x="65971" y="79127"/>
                      </a:cubicBezTo>
                      <a:lnTo>
                        <a:pt x="191295" y="79127"/>
                      </a:lnTo>
                      <a:lnTo>
                        <a:pt x="191295" y="92312"/>
                      </a:lnTo>
                      <a:lnTo>
                        <a:pt x="72550" y="92312"/>
                      </a:lnTo>
                      <a:lnTo>
                        <a:pt x="72550" y="125288"/>
                      </a:lnTo>
                      <a:cubicBezTo>
                        <a:pt x="72550" y="127952"/>
                        <a:pt x="70952" y="130349"/>
                        <a:pt x="68475" y="131388"/>
                      </a:cubicBezTo>
                      <a:cubicBezTo>
                        <a:pt x="67676" y="131761"/>
                        <a:pt x="66824" y="131921"/>
                        <a:pt x="65971" y="131921"/>
                      </a:cubicBezTo>
                      <a:close/>
                    </a:path>
                  </a:pathLst>
                </a:custGeom>
                <a:solidFill>
                  <a:schemeClr val="tx2"/>
                </a:solidFill>
                <a:ln w="2663" cap="flat">
                  <a:noFill/>
                  <a:prstDash val="solid"/>
                  <a:miter/>
                </a:ln>
              </p:spPr>
              <p:txBody>
                <a:bodyPr rtlCol="0" anchor="ctr"/>
                <a:lstStyle/>
                <a:p>
                  <a:endParaRPr lang="en-GB" dirty="0"/>
                </a:p>
              </p:txBody>
            </p:sp>
            <p:sp>
              <p:nvSpPr>
                <p:cNvPr id="716" name="Freihandform: Form 496">
                  <a:extLst>
                    <a:ext uri="{FF2B5EF4-FFF2-40B4-BE49-F238E27FC236}">
                      <a16:creationId xmlns:a16="http://schemas.microsoft.com/office/drawing/2014/main" id="{C429E940-35E8-4D7B-BA0A-215A5442FFF3}"/>
                    </a:ext>
                  </a:extLst>
                </p:cNvPr>
                <p:cNvSpPr/>
                <p:nvPr/>
              </p:nvSpPr>
              <p:spPr>
                <a:xfrm>
                  <a:off x="1064321" y="2662277"/>
                  <a:ext cx="191294" cy="131893"/>
                </a:xfrm>
                <a:custGeom>
                  <a:avLst/>
                  <a:gdLst>
                    <a:gd name="connsiteX0" fmla="*/ 125297 w 191294"/>
                    <a:gd name="connsiteY0" fmla="*/ 131894 h 131893"/>
                    <a:gd name="connsiteX1" fmla="*/ 122767 w 191294"/>
                    <a:gd name="connsiteY1" fmla="*/ 131388 h 131893"/>
                    <a:gd name="connsiteX2" fmla="*/ 118691 w 191294"/>
                    <a:gd name="connsiteY2" fmla="*/ 125288 h 131893"/>
                    <a:gd name="connsiteX3" fmla="*/ 118691 w 191294"/>
                    <a:gd name="connsiteY3" fmla="*/ 92312 h 131893"/>
                    <a:gd name="connsiteX4" fmla="*/ 32949 w 191294"/>
                    <a:gd name="connsiteY4" fmla="*/ 92312 h 131893"/>
                    <a:gd name="connsiteX5" fmla="*/ 32949 w 191294"/>
                    <a:gd name="connsiteY5" fmla="*/ 79127 h 131893"/>
                    <a:gd name="connsiteX6" fmla="*/ 125297 w 191294"/>
                    <a:gd name="connsiteY6" fmla="*/ 79127 h 131893"/>
                    <a:gd name="connsiteX7" fmla="*/ 131903 w 191294"/>
                    <a:gd name="connsiteY7" fmla="*/ 85733 h 131893"/>
                    <a:gd name="connsiteX8" fmla="*/ 131903 w 191294"/>
                    <a:gd name="connsiteY8" fmla="*/ 109386 h 131893"/>
                    <a:gd name="connsiteX9" fmla="*/ 175347 w 191294"/>
                    <a:gd name="connsiteY9" fmla="*/ 65942 h 131893"/>
                    <a:gd name="connsiteX10" fmla="*/ 131903 w 191294"/>
                    <a:gd name="connsiteY10" fmla="*/ 22499 h 131893"/>
                    <a:gd name="connsiteX11" fmla="*/ 131903 w 191294"/>
                    <a:gd name="connsiteY11" fmla="*/ 46152 h 131893"/>
                    <a:gd name="connsiteX12" fmla="*/ 125297 w 191294"/>
                    <a:gd name="connsiteY12" fmla="*/ 52758 h 131893"/>
                    <a:gd name="connsiteX13" fmla="*/ 0 w 191294"/>
                    <a:gd name="connsiteY13" fmla="*/ 52758 h 131893"/>
                    <a:gd name="connsiteX14" fmla="*/ 0 w 191294"/>
                    <a:gd name="connsiteY14" fmla="*/ 39573 h 131893"/>
                    <a:gd name="connsiteX15" fmla="*/ 118718 w 191294"/>
                    <a:gd name="connsiteY15" fmla="*/ 39573 h 131893"/>
                    <a:gd name="connsiteX16" fmla="*/ 118718 w 191294"/>
                    <a:gd name="connsiteY16" fmla="*/ 6597 h 131893"/>
                    <a:gd name="connsiteX17" fmla="*/ 122793 w 191294"/>
                    <a:gd name="connsiteY17" fmla="*/ 497 h 131893"/>
                    <a:gd name="connsiteX18" fmla="*/ 129985 w 191294"/>
                    <a:gd name="connsiteY18" fmla="*/ 1936 h 131893"/>
                    <a:gd name="connsiteX19" fmla="*/ 189357 w 191294"/>
                    <a:gd name="connsiteY19" fmla="*/ 61308 h 131893"/>
                    <a:gd name="connsiteX20" fmla="*/ 189357 w 191294"/>
                    <a:gd name="connsiteY20" fmla="*/ 70630 h 131893"/>
                    <a:gd name="connsiteX21" fmla="*/ 129985 w 191294"/>
                    <a:gd name="connsiteY21" fmla="*/ 130003 h 131893"/>
                    <a:gd name="connsiteX22" fmla="*/ 125297 w 191294"/>
                    <a:gd name="connsiteY22" fmla="*/ 131894 h 131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1294" h="131893">
                      <a:moveTo>
                        <a:pt x="125297" y="131894"/>
                      </a:moveTo>
                      <a:cubicBezTo>
                        <a:pt x="124445" y="131894"/>
                        <a:pt x="123592" y="131734"/>
                        <a:pt x="122767" y="131388"/>
                      </a:cubicBezTo>
                      <a:cubicBezTo>
                        <a:pt x="120316" y="130376"/>
                        <a:pt x="118691" y="127952"/>
                        <a:pt x="118691" y="125288"/>
                      </a:cubicBezTo>
                      <a:lnTo>
                        <a:pt x="118691" y="92312"/>
                      </a:lnTo>
                      <a:lnTo>
                        <a:pt x="32949" y="92312"/>
                      </a:lnTo>
                      <a:lnTo>
                        <a:pt x="32949" y="79127"/>
                      </a:lnTo>
                      <a:lnTo>
                        <a:pt x="125297" y="79127"/>
                      </a:lnTo>
                      <a:cubicBezTo>
                        <a:pt x="128946" y="79127"/>
                        <a:pt x="131903" y="82084"/>
                        <a:pt x="131903" y="85733"/>
                      </a:cubicBezTo>
                      <a:lnTo>
                        <a:pt x="131903" y="109386"/>
                      </a:lnTo>
                      <a:lnTo>
                        <a:pt x="175347" y="65942"/>
                      </a:lnTo>
                      <a:lnTo>
                        <a:pt x="131903" y="22499"/>
                      </a:lnTo>
                      <a:lnTo>
                        <a:pt x="131903" y="46152"/>
                      </a:lnTo>
                      <a:cubicBezTo>
                        <a:pt x="131903" y="49801"/>
                        <a:pt x="128946" y="52758"/>
                        <a:pt x="125297" y="52758"/>
                      </a:cubicBezTo>
                      <a:lnTo>
                        <a:pt x="0" y="52758"/>
                      </a:lnTo>
                      <a:lnTo>
                        <a:pt x="0" y="39573"/>
                      </a:lnTo>
                      <a:lnTo>
                        <a:pt x="118718" y="39573"/>
                      </a:lnTo>
                      <a:lnTo>
                        <a:pt x="118718" y="6597"/>
                      </a:lnTo>
                      <a:cubicBezTo>
                        <a:pt x="118718" y="3933"/>
                        <a:pt x="120316" y="1536"/>
                        <a:pt x="122793" y="497"/>
                      </a:cubicBezTo>
                      <a:cubicBezTo>
                        <a:pt x="125270" y="-515"/>
                        <a:pt x="128094" y="44"/>
                        <a:pt x="129985" y="1936"/>
                      </a:cubicBezTo>
                      <a:lnTo>
                        <a:pt x="189357" y="61308"/>
                      </a:lnTo>
                      <a:cubicBezTo>
                        <a:pt x="191941" y="63892"/>
                        <a:pt x="191941" y="68047"/>
                        <a:pt x="189357" y="70630"/>
                      </a:cubicBezTo>
                      <a:lnTo>
                        <a:pt x="129985" y="130003"/>
                      </a:lnTo>
                      <a:cubicBezTo>
                        <a:pt x="128706" y="131228"/>
                        <a:pt x="127028" y="131894"/>
                        <a:pt x="125297" y="131894"/>
                      </a:cubicBezTo>
                      <a:close/>
                    </a:path>
                  </a:pathLst>
                </a:custGeom>
                <a:solidFill>
                  <a:schemeClr val="tx2"/>
                </a:solidFill>
                <a:ln w="2663" cap="flat">
                  <a:noFill/>
                  <a:prstDash val="solid"/>
                  <a:miter/>
                </a:ln>
              </p:spPr>
              <p:txBody>
                <a:bodyPr rtlCol="0" anchor="ctr"/>
                <a:lstStyle/>
                <a:p>
                  <a:endParaRPr lang="en-GB" dirty="0"/>
                </a:p>
              </p:txBody>
            </p:sp>
          </p:grpSp>
        </p:grpSp>
      </p:grpSp>
      <p:grpSp>
        <p:nvGrpSpPr>
          <p:cNvPr id="612" name="Group 611">
            <a:extLst>
              <a:ext uri="{FF2B5EF4-FFF2-40B4-BE49-F238E27FC236}">
                <a16:creationId xmlns:a16="http://schemas.microsoft.com/office/drawing/2014/main" id="{5EF25FF8-3EA5-F983-5CDD-517F8A7709D0}"/>
              </a:ext>
            </a:extLst>
          </p:cNvPr>
          <p:cNvGrpSpPr/>
          <p:nvPr/>
        </p:nvGrpSpPr>
        <p:grpSpPr>
          <a:xfrm>
            <a:off x="7024613" y="4002611"/>
            <a:ext cx="549843" cy="432000"/>
            <a:chOff x="7024201" y="4002611"/>
            <a:chExt cx="549843" cy="432000"/>
          </a:xfrm>
        </p:grpSpPr>
        <p:grpSp>
          <p:nvGrpSpPr>
            <p:cNvPr id="720" name="Gruppieren 1118">
              <a:extLst>
                <a:ext uri="{FF2B5EF4-FFF2-40B4-BE49-F238E27FC236}">
                  <a16:creationId xmlns:a16="http://schemas.microsoft.com/office/drawing/2014/main" id="{29CEFC9B-D28E-4C9F-A339-4E59CEFFD3FB}"/>
                </a:ext>
              </a:extLst>
            </p:cNvPr>
            <p:cNvGrpSpPr/>
            <p:nvPr/>
          </p:nvGrpSpPr>
          <p:grpSpPr>
            <a:xfrm>
              <a:off x="7118474" y="4002611"/>
              <a:ext cx="455570" cy="361295"/>
              <a:chOff x="1855791" y="3394366"/>
              <a:chExt cx="382550" cy="303386"/>
            </a:xfrm>
            <a:solidFill>
              <a:schemeClr val="tx2"/>
            </a:solidFill>
          </p:grpSpPr>
          <p:sp>
            <p:nvSpPr>
              <p:cNvPr id="732" name="Freihandform: Form 350">
                <a:extLst>
                  <a:ext uri="{FF2B5EF4-FFF2-40B4-BE49-F238E27FC236}">
                    <a16:creationId xmlns:a16="http://schemas.microsoft.com/office/drawing/2014/main" id="{24943EBC-EDCC-4A27-985B-2C7B74595787}"/>
                  </a:ext>
                </a:extLst>
              </p:cNvPr>
              <p:cNvSpPr/>
              <p:nvPr/>
            </p:nvSpPr>
            <p:spPr>
              <a:xfrm>
                <a:off x="1974509" y="3612037"/>
                <a:ext cx="244014" cy="85715"/>
              </a:xfrm>
              <a:custGeom>
                <a:avLst/>
                <a:gdLst>
                  <a:gd name="connsiteX0" fmla="*/ 204460 w 244014"/>
                  <a:gd name="connsiteY0" fmla="*/ 85715 h 85715"/>
                  <a:gd name="connsiteX1" fmla="*/ 0 w 244014"/>
                  <a:gd name="connsiteY1" fmla="*/ 85715 h 85715"/>
                  <a:gd name="connsiteX2" fmla="*/ 0 w 244014"/>
                  <a:gd name="connsiteY2" fmla="*/ 72530 h 85715"/>
                  <a:gd name="connsiteX3" fmla="*/ 204460 w 244014"/>
                  <a:gd name="connsiteY3" fmla="*/ 72530 h 85715"/>
                  <a:gd name="connsiteX4" fmla="*/ 230830 w 244014"/>
                  <a:gd name="connsiteY4" fmla="*/ 46161 h 85715"/>
                  <a:gd name="connsiteX5" fmla="*/ 230830 w 244014"/>
                  <a:gd name="connsiteY5" fmla="*/ 0 h 85715"/>
                  <a:gd name="connsiteX6" fmla="*/ 244015 w 244014"/>
                  <a:gd name="connsiteY6" fmla="*/ 0 h 85715"/>
                  <a:gd name="connsiteX7" fmla="*/ 244015 w 244014"/>
                  <a:gd name="connsiteY7" fmla="*/ 46161 h 85715"/>
                  <a:gd name="connsiteX8" fmla="*/ 204460 w 244014"/>
                  <a:gd name="connsiteY8" fmla="*/ 85715 h 8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014" h="85715">
                    <a:moveTo>
                      <a:pt x="204460" y="85715"/>
                    </a:moveTo>
                    <a:lnTo>
                      <a:pt x="0" y="85715"/>
                    </a:lnTo>
                    <a:lnTo>
                      <a:pt x="0" y="72530"/>
                    </a:lnTo>
                    <a:lnTo>
                      <a:pt x="204460" y="72530"/>
                    </a:lnTo>
                    <a:cubicBezTo>
                      <a:pt x="219003" y="72530"/>
                      <a:pt x="230830" y="60704"/>
                      <a:pt x="230830" y="46161"/>
                    </a:cubicBezTo>
                    <a:lnTo>
                      <a:pt x="230830" y="0"/>
                    </a:lnTo>
                    <a:lnTo>
                      <a:pt x="244015" y="0"/>
                    </a:lnTo>
                    <a:lnTo>
                      <a:pt x="244015" y="46161"/>
                    </a:lnTo>
                    <a:cubicBezTo>
                      <a:pt x="244015" y="67976"/>
                      <a:pt x="226275" y="85715"/>
                      <a:pt x="204460" y="85715"/>
                    </a:cubicBezTo>
                    <a:close/>
                  </a:path>
                </a:pathLst>
              </a:custGeom>
              <a:grpFill/>
              <a:ln w="2663" cap="flat">
                <a:noFill/>
                <a:prstDash val="solid"/>
                <a:miter/>
              </a:ln>
            </p:spPr>
            <p:txBody>
              <a:bodyPr rtlCol="0" anchor="ctr"/>
              <a:lstStyle/>
              <a:p>
                <a:endParaRPr lang="en-GB" dirty="0"/>
              </a:p>
            </p:txBody>
          </p:sp>
          <p:sp>
            <p:nvSpPr>
              <p:cNvPr id="733" name="Freihandform: Form 351">
                <a:extLst>
                  <a:ext uri="{FF2B5EF4-FFF2-40B4-BE49-F238E27FC236}">
                    <a16:creationId xmlns:a16="http://schemas.microsoft.com/office/drawing/2014/main" id="{58D75002-DF89-42DA-9CDE-626BC7708B63}"/>
                  </a:ext>
                </a:extLst>
              </p:cNvPr>
              <p:cNvSpPr/>
              <p:nvPr/>
            </p:nvSpPr>
            <p:spPr>
              <a:xfrm>
                <a:off x="1855791" y="3433947"/>
                <a:ext cx="362759" cy="118717"/>
              </a:xfrm>
              <a:custGeom>
                <a:avLst/>
                <a:gdLst>
                  <a:gd name="connsiteX0" fmla="*/ 13185 w 362759"/>
                  <a:gd name="connsiteY0" fmla="*/ 118718 h 118717"/>
                  <a:gd name="connsiteX1" fmla="*/ 0 w 362759"/>
                  <a:gd name="connsiteY1" fmla="*/ 118718 h 118717"/>
                  <a:gd name="connsiteX2" fmla="*/ 0 w 362759"/>
                  <a:gd name="connsiteY2" fmla="*/ 39582 h 118717"/>
                  <a:gd name="connsiteX3" fmla="*/ 39581 w 362759"/>
                  <a:gd name="connsiteY3" fmla="*/ 0 h 118717"/>
                  <a:gd name="connsiteX4" fmla="*/ 323178 w 362759"/>
                  <a:gd name="connsiteY4" fmla="*/ 0 h 118717"/>
                  <a:gd name="connsiteX5" fmla="*/ 362759 w 362759"/>
                  <a:gd name="connsiteY5" fmla="*/ 39582 h 118717"/>
                  <a:gd name="connsiteX6" fmla="*/ 362759 w 362759"/>
                  <a:gd name="connsiteY6" fmla="*/ 85742 h 118717"/>
                  <a:gd name="connsiteX7" fmla="*/ 349574 w 362759"/>
                  <a:gd name="connsiteY7" fmla="*/ 85742 h 118717"/>
                  <a:gd name="connsiteX8" fmla="*/ 349574 w 362759"/>
                  <a:gd name="connsiteY8" fmla="*/ 39582 h 118717"/>
                  <a:gd name="connsiteX9" fmla="*/ 323204 w 362759"/>
                  <a:gd name="connsiteY9" fmla="*/ 13212 h 118717"/>
                  <a:gd name="connsiteX10" fmla="*/ 39555 w 362759"/>
                  <a:gd name="connsiteY10" fmla="*/ 13212 h 118717"/>
                  <a:gd name="connsiteX11" fmla="*/ 13185 w 362759"/>
                  <a:gd name="connsiteY11" fmla="*/ 39582 h 118717"/>
                  <a:gd name="connsiteX12" fmla="*/ 13185 w 362759"/>
                  <a:gd name="connsiteY12" fmla="*/ 118718 h 118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759" h="118717">
                    <a:moveTo>
                      <a:pt x="13185" y="118718"/>
                    </a:moveTo>
                    <a:lnTo>
                      <a:pt x="0" y="118718"/>
                    </a:lnTo>
                    <a:lnTo>
                      <a:pt x="0" y="39582"/>
                    </a:lnTo>
                    <a:cubicBezTo>
                      <a:pt x="0" y="17766"/>
                      <a:pt x="17740" y="0"/>
                      <a:pt x="39581" y="0"/>
                    </a:cubicBezTo>
                    <a:lnTo>
                      <a:pt x="323178" y="0"/>
                    </a:lnTo>
                    <a:cubicBezTo>
                      <a:pt x="344993" y="0"/>
                      <a:pt x="362759" y="17740"/>
                      <a:pt x="362759" y="39582"/>
                    </a:cubicBezTo>
                    <a:lnTo>
                      <a:pt x="362759" y="85742"/>
                    </a:lnTo>
                    <a:lnTo>
                      <a:pt x="349574" y="85742"/>
                    </a:lnTo>
                    <a:lnTo>
                      <a:pt x="349574" y="39582"/>
                    </a:lnTo>
                    <a:cubicBezTo>
                      <a:pt x="349574" y="25038"/>
                      <a:pt x="337748" y="13212"/>
                      <a:pt x="323204" y="13212"/>
                    </a:cubicBezTo>
                    <a:lnTo>
                      <a:pt x="39555" y="13212"/>
                    </a:lnTo>
                    <a:cubicBezTo>
                      <a:pt x="25011" y="13212"/>
                      <a:pt x="13185" y="25038"/>
                      <a:pt x="13185" y="39582"/>
                    </a:cubicBezTo>
                    <a:lnTo>
                      <a:pt x="13185" y="118718"/>
                    </a:lnTo>
                    <a:close/>
                  </a:path>
                </a:pathLst>
              </a:custGeom>
              <a:grpFill/>
              <a:ln w="2663" cap="flat">
                <a:noFill/>
                <a:prstDash val="solid"/>
                <a:miter/>
              </a:ln>
            </p:spPr>
            <p:txBody>
              <a:bodyPr rtlCol="0" anchor="ctr"/>
              <a:lstStyle/>
              <a:p>
                <a:endParaRPr lang="en-GB" dirty="0"/>
              </a:p>
            </p:txBody>
          </p:sp>
          <p:sp>
            <p:nvSpPr>
              <p:cNvPr id="734" name="Freihandform: Form 352">
                <a:extLst>
                  <a:ext uri="{FF2B5EF4-FFF2-40B4-BE49-F238E27FC236}">
                    <a16:creationId xmlns:a16="http://schemas.microsoft.com/office/drawing/2014/main" id="{289743B2-21FD-4BED-A0F5-72EC51B98D33}"/>
                  </a:ext>
                </a:extLst>
              </p:cNvPr>
              <p:cNvSpPr/>
              <p:nvPr/>
            </p:nvSpPr>
            <p:spPr>
              <a:xfrm>
                <a:off x="1855791" y="3394366"/>
                <a:ext cx="342995" cy="85742"/>
              </a:xfrm>
              <a:custGeom>
                <a:avLst/>
                <a:gdLst>
                  <a:gd name="connsiteX0" fmla="*/ 13185 w 342995"/>
                  <a:gd name="connsiteY0" fmla="*/ 85742 h 85742"/>
                  <a:gd name="connsiteX1" fmla="*/ 0 w 342995"/>
                  <a:gd name="connsiteY1" fmla="*/ 85742 h 85742"/>
                  <a:gd name="connsiteX2" fmla="*/ 0 w 342995"/>
                  <a:gd name="connsiteY2" fmla="*/ 39581 h 85742"/>
                  <a:gd name="connsiteX3" fmla="*/ 39581 w 342995"/>
                  <a:gd name="connsiteY3" fmla="*/ 0 h 85742"/>
                  <a:gd name="connsiteX4" fmla="*/ 303414 w 342995"/>
                  <a:gd name="connsiteY4" fmla="*/ 0 h 85742"/>
                  <a:gd name="connsiteX5" fmla="*/ 342995 w 342995"/>
                  <a:gd name="connsiteY5" fmla="*/ 39581 h 85742"/>
                  <a:gd name="connsiteX6" fmla="*/ 342995 w 342995"/>
                  <a:gd name="connsiteY6" fmla="*/ 46187 h 85742"/>
                  <a:gd name="connsiteX7" fmla="*/ 329810 w 342995"/>
                  <a:gd name="connsiteY7" fmla="*/ 46187 h 85742"/>
                  <a:gd name="connsiteX8" fmla="*/ 329810 w 342995"/>
                  <a:gd name="connsiteY8" fmla="*/ 39581 h 85742"/>
                  <a:gd name="connsiteX9" fmla="*/ 303440 w 342995"/>
                  <a:gd name="connsiteY9" fmla="*/ 13212 h 85742"/>
                  <a:gd name="connsiteX10" fmla="*/ 39608 w 342995"/>
                  <a:gd name="connsiteY10" fmla="*/ 13212 h 85742"/>
                  <a:gd name="connsiteX11" fmla="*/ 13238 w 342995"/>
                  <a:gd name="connsiteY11" fmla="*/ 39581 h 85742"/>
                  <a:gd name="connsiteX12" fmla="*/ 13238 w 342995"/>
                  <a:gd name="connsiteY12" fmla="*/ 85742 h 85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2995" h="85742">
                    <a:moveTo>
                      <a:pt x="13185" y="85742"/>
                    </a:moveTo>
                    <a:lnTo>
                      <a:pt x="0" y="85742"/>
                    </a:lnTo>
                    <a:lnTo>
                      <a:pt x="0" y="39581"/>
                    </a:lnTo>
                    <a:cubicBezTo>
                      <a:pt x="0" y="17766"/>
                      <a:pt x="17740" y="0"/>
                      <a:pt x="39581" y="0"/>
                    </a:cubicBezTo>
                    <a:lnTo>
                      <a:pt x="303414" y="0"/>
                    </a:lnTo>
                    <a:cubicBezTo>
                      <a:pt x="325229" y="0"/>
                      <a:pt x="342995" y="17740"/>
                      <a:pt x="342995" y="39581"/>
                    </a:cubicBezTo>
                    <a:lnTo>
                      <a:pt x="342995" y="46187"/>
                    </a:lnTo>
                    <a:lnTo>
                      <a:pt x="329810" y="46187"/>
                    </a:lnTo>
                    <a:lnTo>
                      <a:pt x="329810" y="39581"/>
                    </a:lnTo>
                    <a:cubicBezTo>
                      <a:pt x="329810" y="25038"/>
                      <a:pt x="317984" y="13212"/>
                      <a:pt x="303440" y="13212"/>
                    </a:cubicBezTo>
                    <a:lnTo>
                      <a:pt x="39608" y="13212"/>
                    </a:lnTo>
                    <a:cubicBezTo>
                      <a:pt x="25065" y="13212"/>
                      <a:pt x="13238" y="25038"/>
                      <a:pt x="13238" y="39581"/>
                    </a:cubicBezTo>
                    <a:lnTo>
                      <a:pt x="13238" y="85742"/>
                    </a:lnTo>
                    <a:close/>
                  </a:path>
                </a:pathLst>
              </a:custGeom>
              <a:grpFill/>
              <a:ln w="2663" cap="flat">
                <a:noFill/>
                <a:prstDash val="solid"/>
                <a:miter/>
              </a:ln>
            </p:spPr>
            <p:txBody>
              <a:bodyPr rtlCol="0" anchor="ctr"/>
              <a:lstStyle/>
              <a:p>
                <a:endParaRPr lang="en-GB" dirty="0"/>
              </a:p>
            </p:txBody>
          </p:sp>
          <p:sp>
            <p:nvSpPr>
              <p:cNvPr id="735" name="Freihandform: Form 353">
                <a:extLst>
                  <a:ext uri="{FF2B5EF4-FFF2-40B4-BE49-F238E27FC236}">
                    <a16:creationId xmlns:a16="http://schemas.microsoft.com/office/drawing/2014/main" id="{4C5EA231-83FB-47E5-B30D-54E98407354E}"/>
                  </a:ext>
                </a:extLst>
              </p:cNvPr>
              <p:cNvSpPr/>
              <p:nvPr/>
            </p:nvSpPr>
            <p:spPr>
              <a:xfrm>
                <a:off x="2106412" y="3513084"/>
                <a:ext cx="131929" cy="105532"/>
              </a:xfrm>
              <a:custGeom>
                <a:avLst/>
                <a:gdLst>
                  <a:gd name="connsiteX0" fmla="*/ 112112 w 131929"/>
                  <a:gd name="connsiteY0" fmla="*/ 105533 h 105532"/>
                  <a:gd name="connsiteX1" fmla="*/ 19791 w 131929"/>
                  <a:gd name="connsiteY1" fmla="*/ 105533 h 105532"/>
                  <a:gd name="connsiteX2" fmla="*/ 0 w 131929"/>
                  <a:gd name="connsiteY2" fmla="*/ 85742 h 105532"/>
                  <a:gd name="connsiteX3" fmla="*/ 0 w 131929"/>
                  <a:gd name="connsiteY3" fmla="*/ 19791 h 105532"/>
                  <a:gd name="connsiteX4" fmla="*/ 19791 w 131929"/>
                  <a:gd name="connsiteY4" fmla="*/ 0 h 105532"/>
                  <a:gd name="connsiteX5" fmla="*/ 112139 w 131929"/>
                  <a:gd name="connsiteY5" fmla="*/ 0 h 105532"/>
                  <a:gd name="connsiteX6" fmla="*/ 131929 w 131929"/>
                  <a:gd name="connsiteY6" fmla="*/ 19791 h 105532"/>
                  <a:gd name="connsiteX7" fmla="*/ 131929 w 131929"/>
                  <a:gd name="connsiteY7" fmla="*/ 85742 h 105532"/>
                  <a:gd name="connsiteX8" fmla="*/ 112112 w 131929"/>
                  <a:gd name="connsiteY8" fmla="*/ 105533 h 105532"/>
                  <a:gd name="connsiteX9" fmla="*/ 19791 w 131929"/>
                  <a:gd name="connsiteY9" fmla="*/ 13185 h 105532"/>
                  <a:gd name="connsiteX10" fmla="*/ 13185 w 131929"/>
                  <a:gd name="connsiteY10" fmla="*/ 19791 h 105532"/>
                  <a:gd name="connsiteX11" fmla="*/ 13185 w 131929"/>
                  <a:gd name="connsiteY11" fmla="*/ 85742 h 105532"/>
                  <a:gd name="connsiteX12" fmla="*/ 19791 w 131929"/>
                  <a:gd name="connsiteY12" fmla="*/ 92348 h 105532"/>
                  <a:gd name="connsiteX13" fmla="*/ 112139 w 131929"/>
                  <a:gd name="connsiteY13" fmla="*/ 92348 h 105532"/>
                  <a:gd name="connsiteX14" fmla="*/ 118744 w 131929"/>
                  <a:gd name="connsiteY14" fmla="*/ 85742 h 105532"/>
                  <a:gd name="connsiteX15" fmla="*/ 118744 w 131929"/>
                  <a:gd name="connsiteY15" fmla="*/ 19791 h 105532"/>
                  <a:gd name="connsiteX16" fmla="*/ 112139 w 131929"/>
                  <a:gd name="connsiteY16" fmla="*/ 13185 h 105532"/>
                  <a:gd name="connsiteX17" fmla="*/ 19791 w 131929"/>
                  <a:gd name="connsiteY17" fmla="*/ 13185 h 105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1929" h="105532">
                    <a:moveTo>
                      <a:pt x="112112" y="105533"/>
                    </a:moveTo>
                    <a:lnTo>
                      <a:pt x="19791" y="105533"/>
                    </a:lnTo>
                    <a:cubicBezTo>
                      <a:pt x="8870" y="105533"/>
                      <a:pt x="0" y="96663"/>
                      <a:pt x="0" y="85742"/>
                    </a:cubicBezTo>
                    <a:lnTo>
                      <a:pt x="0" y="19791"/>
                    </a:lnTo>
                    <a:cubicBezTo>
                      <a:pt x="0" y="8870"/>
                      <a:pt x="8870" y="0"/>
                      <a:pt x="19791" y="0"/>
                    </a:cubicBezTo>
                    <a:lnTo>
                      <a:pt x="112139" y="0"/>
                    </a:lnTo>
                    <a:cubicBezTo>
                      <a:pt x="123059" y="0"/>
                      <a:pt x="131929" y="8870"/>
                      <a:pt x="131929" y="19791"/>
                    </a:cubicBezTo>
                    <a:lnTo>
                      <a:pt x="131929" y="85742"/>
                    </a:lnTo>
                    <a:cubicBezTo>
                      <a:pt x="131903" y="96663"/>
                      <a:pt x="123033" y="105533"/>
                      <a:pt x="112112" y="105533"/>
                    </a:cubicBezTo>
                    <a:close/>
                    <a:moveTo>
                      <a:pt x="19791" y="13185"/>
                    </a:moveTo>
                    <a:cubicBezTo>
                      <a:pt x="16142" y="13185"/>
                      <a:pt x="13185" y="16142"/>
                      <a:pt x="13185" y="19791"/>
                    </a:cubicBezTo>
                    <a:lnTo>
                      <a:pt x="13185" y="85742"/>
                    </a:lnTo>
                    <a:cubicBezTo>
                      <a:pt x="13185" y="89391"/>
                      <a:pt x="16142" y="92348"/>
                      <a:pt x="19791" y="92348"/>
                    </a:cubicBezTo>
                    <a:lnTo>
                      <a:pt x="112139" y="92348"/>
                    </a:lnTo>
                    <a:cubicBezTo>
                      <a:pt x="115788" y="92348"/>
                      <a:pt x="118744" y="89391"/>
                      <a:pt x="118744" y="85742"/>
                    </a:cubicBezTo>
                    <a:lnTo>
                      <a:pt x="118744" y="19791"/>
                    </a:lnTo>
                    <a:cubicBezTo>
                      <a:pt x="118744" y="16142"/>
                      <a:pt x="115788" y="13185"/>
                      <a:pt x="112139" y="13185"/>
                    </a:cubicBezTo>
                    <a:lnTo>
                      <a:pt x="19791" y="13185"/>
                    </a:lnTo>
                    <a:close/>
                  </a:path>
                </a:pathLst>
              </a:custGeom>
              <a:grpFill/>
              <a:ln w="2663" cap="flat">
                <a:noFill/>
                <a:prstDash val="solid"/>
                <a:miter/>
              </a:ln>
            </p:spPr>
            <p:txBody>
              <a:bodyPr rtlCol="0" anchor="ctr"/>
              <a:lstStyle/>
              <a:p>
                <a:endParaRPr lang="en-GB" dirty="0"/>
              </a:p>
            </p:txBody>
          </p:sp>
          <p:sp>
            <p:nvSpPr>
              <p:cNvPr id="736" name="Freihandform: Form 354">
                <a:extLst>
                  <a:ext uri="{FF2B5EF4-FFF2-40B4-BE49-F238E27FC236}">
                    <a16:creationId xmlns:a16="http://schemas.microsoft.com/office/drawing/2014/main" id="{C22870B9-7CE0-408D-A87E-589EF9400EAE}"/>
                  </a:ext>
                </a:extLst>
              </p:cNvPr>
              <p:cNvSpPr/>
              <p:nvPr/>
            </p:nvSpPr>
            <p:spPr>
              <a:xfrm>
                <a:off x="2132808" y="3539480"/>
                <a:ext cx="52739" cy="52739"/>
              </a:xfrm>
              <a:custGeom>
                <a:avLst/>
                <a:gdLst>
                  <a:gd name="connsiteX0" fmla="*/ 26370 w 52739"/>
                  <a:gd name="connsiteY0" fmla="*/ 52740 h 52739"/>
                  <a:gd name="connsiteX1" fmla="*/ 0 w 52739"/>
                  <a:gd name="connsiteY1" fmla="*/ 26370 h 52739"/>
                  <a:gd name="connsiteX2" fmla="*/ 26370 w 52739"/>
                  <a:gd name="connsiteY2" fmla="*/ 0 h 52739"/>
                  <a:gd name="connsiteX3" fmla="*/ 52740 w 52739"/>
                  <a:gd name="connsiteY3" fmla="*/ 26370 h 52739"/>
                  <a:gd name="connsiteX4" fmla="*/ 26370 w 52739"/>
                  <a:gd name="connsiteY4" fmla="*/ 52740 h 52739"/>
                  <a:gd name="connsiteX5" fmla="*/ 26370 w 52739"/>
                  <a:gd name="connsiteY5" fmla="*/ 13185 h 52739"/>
                  <a:gd name="connsiteX6" fmla="*/ 13185 w 52739"/>
                  <a:gd name="connsiteY6" fmla="*/ 26370 h 52739"/>
                  <a:gd name="connsiteX7" fmla="*/ 26370 w 52739"/>
                  <a:gd name="connsiteY7" fmla="*/ 39555 h 52739"/>
                  <a:gd name="connsiteX8" fmla="*/ 39555 w 52739"/>
                  <a:gd name="connsiteY8" fmla="*/ 26370 h 52739"/>
                  <a:gd name="connsiteX9" fmla="*/ 26370 w 52739"/>
                  <a:gd name="connsiteY9" fmla="*/ 13185 h 5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39" h="52739">
                    <a:moveTo>
                      <a:pt x="26370" y="52740"/>
                    </a:moveTo>
                    <a:cubicBezTo>
                      <a:pt x="11827" y="52740"/>
                      <a:pt x="0" y="40913"/>
                      <a:pt x="0" y="26370"/>
                    </a:cubicBezTo>
                    <a:cubicBezTo>
                      <a:pt x="0" y="11827"/>
                      <a:pt x="11827" y="0"/>
                      <a:pt x="26370" y="0"/>
                    </a:cubicBezTo>
                    <a:cubicBezTo>
                      <a:pt x="40913" y="0"/>
                      <a:pt x="52740" y="11827"/>
                      <a:pt x="52740" y="26370"/>
                    </a:cubicBezTo>
                    <a:cubicBezTo>
                      <a:pt x="52740" y="40913"/>
                      <a:pt x="40913" y="52740"/>
                      <a:pt x="26370" y="52740"/>
                    </a:cubicBezTo>
                    <a:close/>
                    <a:moveTo>
                      <a:pt x="26370" y="13185"/>
                    </a:moveTo>
                    <a:cubicBezTo>
                      <a:pt x="19098" y="13185"/>
                      <a:pt x="13185" y="19098"/>
                      <a:pt x="13185" y="26370"/>
                    </a:cubicBezTo>
                    <a:cubicBezTo>
                      <a:pt x="13185" y="33641"/>
                      <a:pt x="19098" y="39555"/>
                      <a:pt x="26370" y="39555"/>
                    </a:cubicBezTo>
                    <a:cubicBezTo>
                      <a:pt x="33642" y="39555"/>
                      <a:pt x="39555" y="33641"/>
                      <a:pt x="39555" y="26370"/>
                    </a:cubicBezTo>
                    <a:cubicBezTo>
                      <a:pt x="39555" y="19098"/>
                      <a:pt x="33642" y="13185"/>
                      <a:pt x="26370" y="13185"/>
                    </a:cubicBezTo>
                    <a:close/>
                  </a:path>
                </a:pathLst>
              </a:custGeom>
              <a:grpFill/>
              <a:ln w="2663" cap="flat">
                <a:noFill/>
                <a:prstDash val="solid"/>
                <a:miter/>
              </a:ln>
            </p:spPr>
            <p:txBody>
              <a:bodyPr rtlCol="0" anchor="ctr"/>
              <a:lstStyle/>
              <a:p>
                <a:endParaRPr lang="en-GB" dirty="0"/>
              </a:p>
            </p:txBody>
          </p:sp>
          <p:grpSp>
            <p:nvGrpSpPr>
              <p:cNvPr id="737" name="Grafik 15">
                <a:extLst>
                  <a:ext uri="{FF2B5EF4-FFF2-40B4-BE49-F238E27FC236}">
                    <a16:creationId xmlns:a16="http://schemas.microsoft.com/office/drawing/2014/main" id="{172E2288-FB23-4DC4-AAF9-720A1B4BFAD0}"/>
                  </a:ext>
                </a:extLst>
              </p:cNvPr>
              <p:cNvGrpSpPr/>
              <p:nvPr/>
            </p:nvGrpSpPr>
            <p:grpSpPr>
              <a:xfrm>
                <a:off x="1974482" y="3631775"/>
                <a:ext cx="211092" cy="33002"/>
                <a:chOff x="1974482" y="3631775"/>
                <a:chExt cx="211092" cy="33002"/>
              </a:xfrm>
              <a:grpFill/>
            </p:grpSpPr>
            <p:sp>
              <p:nvSpPr>
                <p:cNvPr id="742" name="Freihandform: Form 356">
                  <a:extLst>
                    <a:ext uri="{FF2B5EF4-FFF2-40B4-BE49-F238E27FC236}">
                      <a16:creationId xmlns:a16="http://schemas.microsoft.com/office/drawing/2014/main" id="{B56C6C16-DBC2-4E0C-9EEA-DCD2596FA6B8}"/>
                    </a:ext>
                  </a:extLst>
                </p:cNvPr>
                <p:cNvSpPr/>
                <p:nvPr/>
              </p:nvSpPr>
              <p:spPr>
                <a:xfrm>
                  <a:off x="1974482" y="3651566"/>
                  <a:ext cx="39581" cy="13211"/>
                </a:xfrm>
                <a:custGeom>
                  <a:avLst/>
                  <a:gdLst>
                    <a:gd name="connsiteX0" fmla="*/ 32976 w 39581"/>
                    <a:gd name="connsiteY0" fmla="*/ 13212 h 13211"/>
                    <a:gd name="connsiteX1" fmla="*/ 6606 w 39581"/>
                    <a:gd name="connsiteY1" fmla="*/ 13212 h 13211"/>
                    <a:gd name="connsiteX2" fmla="*/ 0 w 39581"/>
                    <a:gd name="connsiteY2" fmla="*/ 6606 h 13211"/>
                    <a:gd name="connsiteX3" fmla="*/ 6606 w 39581"/>
                    <a:gd name="connsiteY3" fmla="*/ 0 h 13211"/>
                    <a:gd name="connsiteX4" fmla="*/ 32976 w 39581"/>
                    <a:gd name="connsiteY4" fmla="*/ 0 h 13211"/>
                    <a:gd name="connsiteX5" fmla="*/ 39581 w 39581"/>
                    <a:gd name="connsiteY5" fmla="*/ 6606 h 13211"/>
                    <a:gd name="connsiteX6" fmla="*/ 32976 w 39581"/>
                    <a:gd name="connsiteY6" fmla="*/ 13212 h 1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81" h="13211">
                      <a:moveTo>
                        <a:pt x="32976" y="13212"/>
                      </a:moveTo>
                      <a:lnTo>
                        <a:pt x="6606" y="13212"/>
                      </a:lnTo>
                      <a:cubicBezTo>
                        <a:pt x="2957" y="13212"/>
                        <a:pt x="0" y="10255"/>
                        <a:pt x="0" y="6606"/>
                      </a:cubicBezTo>
                      <a:cubicBezTo>
                        <a:pt x="0" y="2957"/>
                        <a:pt x="2957" y="0"/>
                        <a:pt x="6606" y="0"/>
                      </a:cubicBezTo>
                      <a:lnTo>
                        <a:pt x="32976" y="0"/>
                      </a:lnTo>
                      <a:cubicBezTo>
                        <a:pt x="36625" y="0"/>
                        <a:pt x="39581" y="2957"/>
                        <a:pt x="39581" y="6606"/>
                      </a:cubicBezTo>
                      <a:cubicBezTo>
                        <a:pt x="39581" y="10255"/>
                        <a:pt x="36625" y="13212"/>
                        <a:pt x="32976" y="13212"/>
                      </a:cubicBezTo>
                      <a:close/>
                    </a:path>
                  </a:pathLst>
                </a:custGeom>
                <a:grpFill/>
                <a:ln w="2663" cap="flat">
                  <a:noFill/>
                  <a:prstDash val="solid"/>
                  <a:miter/>
                </a:ln>
              </p:spPr>
              <p:txBody>
                <a:bodyPr rtlCol="0" anchor="ctr"/>
                <a:lstStyle/>
                <a:p>
                  <a:endParaRPr lang="en-GB" dirty="0"/>
                </a:p>
              </p:txBody>
            </p:sp>
            <p:sp>
              <p:nvSpPr>
                <p:cNvPr id="743" name="Freihandform: Form 357">
                  <a:extLst>
                    <a:ext uri="{FF2B5EF4-FFF2-40B4-BE49-F238E27FC236}">
                      <a16:creationId xmlns:a16="http://schemas.microsoft.com/office/drawing/2014/main" id="{0BD14621-A10E-49F0-BA53-A90AA577EE03}"/>
                    </a:ext>
                  </a:extLst>
                </p:cNvPr>
                <p:cNvSpPr/>
                <p:nvPr/>
              </p:nvSpPr>
              <p:spPr>
                <a:xfrm>
                  <a:off x="2052979" y="3651566"/>
                  <a:ext cx="65338" cy="13211"/>
                </a:xfrm>
                <a:custGeom>
                  <a:avLst/>
                  <a:gdLst>
                    <a:gd name="connsiteX0" fmla="*/ 58733 w 65338"/>
                    <a:gd name="connsiteY0" fmla="*/ 13212 h 13211"/>
                    <a:gd name="connsiteX1" fmla="*/ 6606 w 65338"/>
                    <a:gd name="connsiteY1" fmla="*/ 13212 h 13211"/>
                    <a:gd name="connsiteX2" fmla="*/ 0 w 65338"/>
                    <a:gd name="connsiteY2" fmla="*/ 6606 h 13211"/>
                    <a:gd name="connsiteX3" fmla="*/ 6606 w 65338"/>
                    <a:gd name="connsiteY3" fmla="*/ 0 h 13211"/>
                    <a:gd name="connsiteX4" fmla="*/ 58733 w 65338"/>
                    <a:gd name="connsiteY4" fmla="*/ 0 h 13211"/>
                    <a:gd name="connsiteX5" fmla="*/ 65339 w 65338"/>
                    <a:gd name="connsiteY5" fmla="*/ 6606 h 13211"/>
                    <a:gd name="connsiteX6" fmla="*/ 58733 w 65338"/>
                    <a:gd name="connsiteY6" fmla="*/ 13212 h 1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38" h="13211">
                      <a:moveTo>
                        <a:pt x="58733" y="13212"/>
                      </a:moveTo>
                      <a:lnTo>
                        <a:pt x="6606" y="13212"/>
                      </a:lnTo>
                      <a:cubicBezTo>
                        <a:pt x="2957" y="13212"/>
                        <a:pt x="0" y="10255"/>
                        <a:pt x="0" y="6606"/>
                      </a:cubicBezTo>
                      <a:cubicBezTo>
                        <a:pt x="0" y="2957"/>
                        <a:pt x="2957" y="0"/>
                        <a:pt x="6606" y="0"/>
                      </a:cubicBezTo>
                      <a:lnTo>
                        <a:pt x="58733" y="0"/>
                      </a:lnTo>
                      <a:cubicBezTo>
                        <a:pt x="62382" y="0"/>
                        <a:pt x="65339" y="2957"/>
                        <a:pt x="65339" y="6606"/>
                      </a:cubicBezTo>
                      <a:cubicBezTo>
                        <a:pt x="65312" y="10255"/>
                        <a:pt x="62382" y="13212"/>
                        <a:pt x="58733" y="13212"/>
                      </a:cubicBezTo>
                      <a:close/>
                    </a:path>
                  </a:pathLst>
                </a:custGeom>
                <a:grpFill/>
                <a:ln w="2663" cap="flat">
                  <a:noFill/>
                  <a:prstDash val="solid"/>
                  <a:miter/>
                </a:ln>
              </p:spPr>
              <p:txBody>
                <a:bodyPr rtlCol="0" anchor="ctr"/>
                <a:lstStyle/>
                <a:p>
                  <a:endParaRPr lang="en-GB" dirty="0"/>
                </a:p>
              </p:txBody>
            </p:sp>
            <p:sp>
              <p:nvSpPr>
                <p:cNvPr id="744" name="Freihandform: Form 358">
                  <a:extLst>
                    <a:ext uri="{FF2B5EF4-FFF2-40B4-BE49-F238E27FC236}">
                      <a16:creationId xmlns:a16="http://schemas.microsoft.com/office/drawing/2014/main" id="{7BA52BC4-8132-4797-ABE9-B231AB2715E7}"/>
                    </a:ext>
                  </a:extLst>
                </p:cNvPr>
                <p:cNvSpPr/>
                <p:nvPr/>
              </p:nvSpPr>
              <p:spPr>
                <a:xfrm>
                  <a:off x="2157209" y="3631775"/>
                  <a:ext cx="28365" cy="32469"/>
                </a:xfrm>
                <a:custGeom>
                  <a:avLst/>
                  <a:gdLst>
                    <a:gd name="connsiteX0" fmla="*/ 6577 w 28365"/>
                    <a:gd name="connsiteY0" fmla="*/ 32470 h 32469"/>
                    <a:gd name="connsiteX1" fmla="*/ 184 w 28365"/>
                    <a:gd name="connsiteY1" fmla="*/ 27409 h 32469"/>
                    <a:gd name="connsiteX2" fmla="*/ 5059 w 28365"/>
                    <a:gd name="connsiteY2" fmla="*/ 19444 h 32469"/>
                    <a:gd name="connsiteX3" fmla="*/ 15154 w 28365"/>
                    <a:gd name="connsiteY3" fmla="*/ 6606 h 32469"/>
                    <a:gd name="connsiteX4" fmla="*/ 21760 w 28365"/>
                    <a:gd name="connsiteY4" fmla="*/ 0 h 32469"/>
                    <a:gd name="connsiteX5" fmla="*/ 28366 w 28365"/>
                    <a:gd name="connsiteY5" fmla="*/ 6606 h 32469"/>
                    <a:gd name="connsiteX6" fmla="*/ 8149 w 28365"/>
                    <a:gd name="connsiteY6" fmla="*/ 32256 h 32469"/>
                    <a:gd name="connsiteX7" fmla="*/ 6577 w 28365"/>
                    <a:gd name="connsiteY7" fmla="*/ 32470 h 3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65" h="32469">
                      <a:moveTo>
                        <a:pt x="6577" y="32470"/>
                      </a:moveTo>
                      <a:cubicBezTo>
                        <a:pt x="3594" y="32470"/>
                        <a:pt x="904" y="30445"/>
                        <a:pt x="184" y="27409"/>
                      </a:cubicBezTo>
                      <a:cubicBezTo>
                        <a:pt x="-668" y="23866"/>
                        <a:pt x="1516" y="20297"/>
                        <a:pt x="5059" y="19444"/>
                      </a:cubicBezTo>
                      <a:cubicBezTo>
                        <a:pt x="10999" y="18033"/>
                        <a:pt x="15154" y="12732"/>
                        <a:pt x="15154" y="6606"/>
                      </a:cubicBezTo>
                      <a:cubicBezTo>
                        <a:pt x="15154" y="2957"/>
                        <a:pt x="18111" y="0"/>
                        <a:pt x="21760" y="0"/>
                      </a:cubicBezTo>
                      <a:cubicBezTo>
                        <a:pt x="25409" y="0"/>
                        <a:pt x="28366" y="2957"/>
                        <a:pt x="28366" y="6606"/>
                      </a:cubicBezTo>
                      <a:cubicBezTo>
                        <a:pt x="28366" y="18859"/>
                        <a:pt x="20055" y="29407"/>
                        <a:pt x="8149" y="32256"/>
                      </a:cubicBezTo>
                      <a:cubicBezTo>
                        <a:pt x="7616" y="32416"/>
                        <a:pt x="7083" y="32470"/>
                        <a:pt x="6577" y="32470"/>
                      </a:cubicBezTo>
                      <a:close/>
                    </a:path>
                  </a:pathLst>
                </a:custGeom>
                <a:grpFill/>
                <a:ln w="2663" cap="flat">
                  <a:noFill/>
                  <a:prstDash val="solid"/>
                  <a:miter/>
                </a:ln>
              </p:spPr>
              <p:txBody>
                <a:bodyPr rtlCol="0" anchor="ctr"/>
                <a:lstStyle/>
                <a:p>
                  <a:endParaRPr lang="en-GB" dirty="0"/>
                </a:p>
              </p:txBody>
            </p:sp>
          </p:grpSp>
          <p:grpSp>
            <p:nvGrpSpPr>
              <p:cNvPr id="738" name="Grafik 15">
                <a:extLst>
                  <a:ext uri="{FF2B5EF4-FFF2-40B4-BE49-F238E27FC236}">
                    <a16:creationId xmlns:a16="http://schemas.microsoft.com/office/drawing/2014/main" id="{4F1ED5AA-110F-4007-A5AE-6C32EDDD3586}"/>
                  </a:ext>
                </a:extLst>
              </p:cNvPr>
              <p:cNvGrpSpPr/>
              <p:nvPr/>
            </p:nvGrpSpPr>
            <p:grpSpPr>
              <a:xfrm>
                <a:off x="1888740" y="3466896"/>
                <a:ext cx="296834" cy="92347"/>
                <a:chOff x="1888740" y="3466896"/>
                <a:chExt cx="296834" cy="92347"/>
              </a:xfrm>
              <a:grpFill/>
            </p:grpSpPr>
            <p:sp>
              <p:nvSpPr>
                <p:cNvPr id="739" name="Freihandform: Form 360">
                  <a:extLst>
                    <a:ext uri="{FF2B5EF4-FFF2-40B4-BE49-F238E27FC236}">
                      <a16:creationId xmlns:a16="http://schemas.microsoft.com/office/drawing/2014/main" id="{44A4A89D-0B74-4A78-9645-11F776353DE5}"/>
                    </a:ext>
                  </a:extLst>
                </p:cNvPr>
                <p:cNvSpPr/>
                <p:nvPr/>
              </p:nvSpPr>
              <p:spPr>
                <a:xfrm>
                  <a:off x="2157209" y="3467440"/>
                  <a:ext cx="28365" cy="32459"/>
                </a:xfrm>
                <a:custGeom>
                  <a:avLst/>
                  <a:gdLst>
                    <a:gd name="connsiteX0" fmla="*/ 21760 w 28365"/>
                    <a:gd name="connsiteY0" fmla="*/ 32459 h 32459"/>
                    <a:gd name="connsiteX1" fmla="*/ 15154 w 28365"/>
                    <a:gd name="connsiteY1" fmla="*/ 25853 h 32459"/>
                    <a:gd name="connsiteX2" fmla="*/ 5059 w 28365"/>
                    <a:gd name="connsiteY2" fmla="*/ 13015 h 32459"/>
                    <a:gd name="connsiteX3" fmla="*/ 184 w 28365"/>
                    <a:gd name="connsiteY3" fmla="*/ 5050 h 32459"/>
                    <a:gd name="connsiteX4" fmla="*/ 8149 w 28365"/>
                    <a:gd name="connsiteY4" fmla="*/ 176 h 32459"/>
                    <a:gd name="connsiteX5" fmla="*/ 28366 w 28365"/>
                    <a:gd name="connsiteY5" fmla="*/ 25827 h 32459"/>
                    <a:gd name="connsiteX6" fmla="*/ 21760 w 28365"/>
                    <a:gd name="connsiteY6" fmla="*/ 32459 h 32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65" h="32459">
                      <a:moveTo>
                        <a:pt x="21760" y="32459"/>
                      </a:moveTo>
                      <a:cubicBezTo>
                        <a:pt x="18111" y="32459"/>
                        <a:pt x="15154" y="29502"/>
                        <a:pt x="15154" y="25853"/>
                      </a:cubicBezTo>
                      <a:cubicBezTo>
                        <a:pt x="15154" y="19727"/>
                        <a:pt x="10999" y="14453"/>
                        <a:pt x="5059" y="13015"/>
                      </a:cubicBezTo>
                      <a:cubicBezTo>
                        <a:pt x="1516" y="12162"/>
                        <a:pt x="-668" y="8593"/>
                        <a:pt x="184" y="5050"/>
                      </a:cubicBezTo>
                      <a:cubicBezTo>
                        <a:pt x="1037" y="1508"/>
                        <a:pt x="4606" y="-650"/>
                        <a:pt x="8149" y="176"/>
                      </a:cubicBezTo>
                      <a:cubicBezTo>
                        <a:pt x="20055" y="3026"/>
                        <a:pt x="28366" y="13574"/>
                        <a:pt x="28366" y="25827"/>
                      </a:cubicBezTo>
                      <a:cubicBezTo>
                        <a:pt x="28339" y="29502"/>
                        <a:pt x="25382" y="32459"/>
                        <a:pt x="21760" y="32459"/>
                      </a:cubicBezTo>
                      <a:close/>
                    </a:path>
                  </a:pathLst>
                </a:custGeom>
                <a:grpFill/>
                <a:ln w="2663" cap="flat">
                  <a:noFill/>
                  <a:prstDash val="solid"/>
                  <a:miter/>
                </a:ln>
              </p:spPr>
              <p:txBody>
                <a:bodyPr rtlCol="0" anchor="ctr"/>
                <a:lstStyle/>
                <a:p>
                  <a:endParaRPr lang="en-GB" dirty="0"/>
                </a:p>
              </p:txBody>
            </p:sp>
            <p:sp>
              <p:nvSpPr>
                <p:cNvPr id="740" name="Freihandform: Form 361">
                  <a:extLst>
                    <a:ext uri="{FF2B5EF4-FFF2-40B4-BE49-F238E27FC236}">
                      <a16:creationId xmlns:a16="http://schemas.microsoft.com/office/drawing/2014/main" id="{09A7B8D0-DB1D-4047-B128-F0E447DEC206}"/>
                    </a:ext>
                  </a:extLst>
                </p:cNvPr>
                <p:cNvSpPr/>
                <p:nvPr/>
              </p:nvSpPr>
              <p:spPr>
                <a:xfrm>
                  <a:off x="1892130" y="3466896"/>
                  <a:ext cx="233646" cy="21921"/>
                </a:xfrm>
                <a:custGeom>
                  <a:avLst/>
                  <a:gdLst>
                    <a:gd name="connsiteX0" fmla="*/ 6599 w 233646"/>
                    <a:gd name="connsiteY0" fmla="*/ 21922 h 21921"/>
                    <a:gd name="connsiteX1" fmla="*/ 2897 w 233646"/>
                    <a:gd name="connsiteY1" fmla="*/ 20776 h 21921"/>
                    <a:gd name="connsiteX2" fmla="*/ 1139 w 233646"/>
                    <a:gd name="connsiteY2" fmla="*/ 11613 h 21921"/>
                    <a:gd name="connsiteX3" fmla="*/ 23007 w 233646"/>
                    <a:gd name="connsiteY3" fmla="*/ 0 h 21921"/>
                    <a:gd name="connsiteX4" fmla="*/ 48338 w 233646"/>
                    <a:gd name="connsiteY4" fmla="*/ 0 h 21921"/>
                    <a:gd name="connsiteX5" fmla="*/ 54944 w 233646"/>
                    <a:gd name="connsiteY5" fmla="*/ 6606 h 21921"/>
                    <a:gd name="connsiteX6" fmla="*/ 48338 w 233646"/>
                    <a:gd name="connsiteY6" fmla="*/ 13211 h 21921"/>
                    <a:gd name="connsiteX7" fmla="*/ 23007 w 233646"/>
                    <a:gd name="connsiteY7" fmla="*/ 13211 h 21921"/>
                    <a:gd name="connsiteX8" fmla="*/ 12060 w 233646"/>
                    <a:gd name="connsiteY8" fmla="*/ 19018 h 21921"/>
                    <a:gd name="connsiteX9" fmla="*/ 6599 w 233646"/>
                    <a:gd name="connsiteY9" fmla="*/ 21922 h 21921"/>
                    <a:gd name="connsiteX10" fmla="*/ 227041 w 233646"/>
                    <a:gd name="connsiteY10" fmla="*/ 13211 h 21921"/>
                    <a:gd name="connsiteX11" fmla="*/ 182372 w 233646"/>
                    <a:gd name="connsiteY11" fmla="*/ 13211 h 21921"/>
                    <a:gd name="connsiteX12" fmla="*/ 175766 w 233646"/>
                    <a:gd name="connsiteY12" fmla="*/ 6606 h 21921"/>
                    <a:gd name="connsiteX13" fmla="*/ 182372 w 233646"/>
                    <a:gd name="connsiteY13" fmla="*/ 0 h 21921"/>
                    <a:gd name="connsiteX14" fmla="*/ 227041 w 233646"/>
                    <a:gd name="connsiteY14" fmla="*/ 0 h 21921"/>
                    <a:gd name="connsiteX15" fmla="*/ 233647 w 233646"/>
                    <a:gd name="connsiteY15" fmla="*/ 6606 h 21921"/>
                    <a:gd name="connsiteX16" fmla="*/ 227041 w 233646"/>
                    <a:gd name="connsiteY16" fmla="*/ 13211 h 21921"/>
                    <a:gd name="connsiteX17" fmla="*/ 137676 w 233646"/>
                    <a:gd name="connsiteY17" fmla="*/ 13211 h 21921"/>
                    <a:gd name="connsiteX18" fmla="*/ 93007 w 233646"/>
                    <a:gd name="connsiteY18" fmla="*/ 13211 h 21921"/>
                    <a:gd name="connsiteX19" fmla="*/ 86401 w 233646"/>
                    <a:gd name="connsiteY19" fmla="*/ 6606 h 21921"/>
                    <a:gd name="connsiteX20" fmla="*/ 93007 w 233646"/>
                    <a:gd name="connsiteY20" fmla="*/ 0 h 21921"/>
                    <a:gd name="connsiteX21" fmla="*/ 137676 w 233646"/>
                    <a:gd name="connsiteY21" fmla="*/ 0 h 21921"/>
                    <a:gd name="connsiteX22" fmla="*/ 144282 w 233646"/>
                    <a:gd name="connsiteY22" fmla="*/ 6606 h 21921"/>
                    <a:gd name="connsiteX23" fmla="*/ 137676 w 233646"/>
                    <a:gd name="connsiteY23" fmla="*/ 13211 h 21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33646" h="21921">
                      <a:moveTo>
                        <a:pt x="6599" y="21922"/>
                      </a:moveTo>
                      <a:cubicBezTo>
                        <a:pt x="5321" y="21922"/>
                        <a:pt x="4042" y="21549"/>
                        <a:pt x="2897" y="20776"/>
                      </a:cubicBezTo>
                      <a:cubicBezTo>
                        <a:pt x="-113" y="18725"/>
                        <a:pt x="-912" y="14623"/>
                        <a:pt x="1139" y="11613"/>
                      </a:cubicBezTo>
                      <a:cubicBezTo>
                        <a:pt x="6066" y="4342"/>
                        <a:pt x="14244" y="0"/>
                        <a:pt x="23007" y="0"/>
                      </a:cubicBezTo>
                      <a:lnTo>
                        <a:pt x="48338" y="0"/>
                      </a:lnTo>
                      <a:cubicBezTo>
                        <a:pt x="51987" y="0"/>
                        <a:pt x="54944" y="2957"/>
                        <a:pt x="54944" y="6606"/>
                      </a:cubicBezTo>
                      <a:cubicBezTo>
                        <a:pt x="54944" y="10255"/>
                        <a:pt x="51987" y="13211"/>
                        <a:pt x="48338" y="13211"/>
                      </a:cubicBezTo>
                      <a:lnTo>
                        <a:pt x="23007" y="13211"/>
                      </a:lnTo>
                      <a:cubicBezTo>
                        <a:pt x="18612" y="13211"/>
                        <a:pt x="14537" y="15369"/>
                        <a:pt x="12060" y="19018"/>
                      </a:cubicBezTo>
                      <a:cubicBezTo>
                        <a:pt x="10781" y="20909"/>
                        <a:pt x="8703" y="21922"/>
                        <a:pt x="6599" y="21922"/>
                      </a:cubicBezTo>
                      <a:close/>
                      <a:moveTo>
                        <a:pt x="227041" y="13211"/>
                      </a:moveTo>
                      <a:lnTo>
                        <a:pt x="182372" y="13211"/>
                      </a:lnTo>
                      <a:cubicBezTo>
                        <a:pt x="178723" y="13211"/>
                        <a:pt x="175766" y="10255"/>
                        <a:pt x="175766" y="6606"/>
                      </a:cubicBezTo>
                      <a:cubicBezTo>
                        <a:pt x="175766" y="2957"/>
                        <a:pt x="178723" y="0"/>
                        <a:pt x="182372" y="0"/>
                      </a:cubicBezTo>
                      <a:lnTo>
                        <a:pt x="227041" y="0"/>
                      </a:lnTo>
                      <a:cubicBezTo>
                        <a:pt x="230690" y="0"/>
                        <a:pt x="233647" y="2957"/>
                        <a:pt x="233647" y="6606"/>
                      </a:cubicBezTo>
                      <a:cubicBezTo>
                        <a:pt x="233620" y="10255"/>
                        <a:pt x="230663" y="13211"/>
                        <a:pt x="227041" y="13211"/>
                      </a:cubicBezTo>
                      <a:close/>
                      <a:moveTo>
                        <a:pt x="137676" y="13211"/>
                      </a:moveTo>
                      <a:lnTo>
                        <a:pt x="93007" y="13211"/>
                      </a:lnTo>
                      <a:cubicBezTo>
                        <a:pt x="89358" y="13211"/>
                        <a:pt x="86401" y="10255"/>
                        <a:pt x="86401" y="6606"/>
                      </a:cubicBezTo>
                      <a:cubicBezTo>
                        <a:pt x="86401" y="2957"/>
                        <a:pt x="89358" y="0"/>
                        <a:pt x="93007" y="0"/>
                      </a:cubicBezTo>
                      <a:lnTo>
                        <a:pt x="137676" y="0"/>
                      </a:lnTo>
                      <a:cubicBezTo>
                        <a:pt x="141325" y="0"/>
                        <a:pt x="144282" y="2957"/>
                        <a:pt x="144282" y="6606"/>
                      </a:cubicBezTo>
                      <a:cubicBezTo>
                        <a:pt x="144282" y="10255"/>
                        <a:pt x="141325" y="13211"/>
                        <a:pt x="137676" y="13211"/>
                      </a:cubicBezTo>
                      <a:close/>
                    </a:path>
                  </a:pathLst>
                </a:custGeom>
                <a:grpFill/>
                <a:ln w="2663" cap="flat">
                  <a:noFill/>
                  <a:prstDash val="solid"/>
                  <a:miter/>
                </a:ln>
              </p:spPr>
              <p:txBody>
                <a:bodyPr rtlCol="0" anchor="ctr"/>
                <a:lstStyle/>
                <a:p>
                  <a:endParaRPr lang="en-GB" dirty="0"/>
                </a:p>
              </p:txBody>
            </p:sp>
            <p:sp>
              <p:nvSpPr>
                <p:cNvPr id="741" name="Freihandform: Form 362">
                  <a:extLst>
                    <a:ext uri="{FF2B5EF4-FFF2-40B4-BE49-F238E27FC236}">
                      <a16:creationId xmlns:a16="http://schemas.microsoft.com/office/drawing/2014/main" id="{7A124617-AEFE-44F0-9EC4-57994D0A1852}"/>
                    </a:ext>
                  </a:extLst>
                </p:cNvPr>
                <p:cNvSpPr/>
                <p:nvPr/>
              </p:nvSpPr>
              <p:spPr>
                <a:xfrm>
                  <a:off x="1888740" y="3519663"/>
                  <a:ext cx="13211" cy="39581"/>
                </a:xfrm>
                <a:custGeom>
                  <a:avLst/>
                  <a:gdLst>
                    <a:gd name="connsiteX0" fmla="*/ 6606 w 13211"/>
                    <a:gd name="connsiteY0" fmla="*/ 39581 h 39581"/>
                    <a:gd name="connsiteX1" fmla="*/ 0 w 13211"/>
                    <a:gd name="connsiteY1" fmla="*/ 32976 h 39581"/>
                    <a:gd name="connsiteX2" fmla="*/ 0 w 13211"/>
                    <a:gd name="connsiteY2" fmla="*/ 6606 h 39581"/>
                    <a:gd name="connsiteX3" fmla="*/ 6606 w 13211"/>
                    <a:gd name="connsiteY3" fmla="*/ 0 h 39581"/>
                    <a:gd name="connsiteX4" fmla="*/ 13212 w 13211"/>
                    <a:gd name="connsiteY4" fmla="*/ 6606 h 39581"/>
                    <a:gd name="connsiteX5" fmla="*/ 13212 w 13211"/>
                    <a:gd name="connsiteY5" fmla="*/ 32976 h 39581"/>
                    <a:gd name="connsiteX6" fmla="*/ 6606 w 13211"/>
                    <a:gd name="connsiteY6" fmla="*/ 39581 h 39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1" h="39581">
                      <a:moveTo>
                        <a:pt x="6606" y="39581"/>
                      </a:moveTo>
                      <a:cubicBezTo>
                        <a:pt x="2957" y="39581"/>
                        <a:pt x="0" y="36625"/>
                        <a:pt x="0" y="32976"/>
                      </a:cubicBezTo>
                      <a:lnTo>
                        <a:pt x="0" y="6606"/>
                      </a:lnTo>
                      <a:cubicBezTo>
                        <a:pt x="0" y="2957"/>
                        <a:pt x="2957" y="0"/>
                        <a:pt x="6606" y="0"/>
                      </a:cubicBezTo>
                      <a:cubicBezTo>
                        <a:pt x="10255" y="0"/>
                        <a:pt x="13212" y="2957"/>
                        <a:pt x="13212" y="6606"/>
                      </a:cubicBezTo>
                      <a:lnTo>
                        <a:pt x="13212" y="32976"/>
                      </a:lnTo>
                      <a:cubicBezTo>
                        <a:pt x="13212" y="36625"/>
                        <a:pt x="10255" y="39581"/>
                        <a:pt x="6606" y="39581"/>
                      </a:cubicBezTo>
                      <a:close/>
                    </a:path>
                  </a:pathLst>
                </a:custGeom>
                <a:grpFill/>
                <a:ln w="2663" cap="flat">
                  <a:noFill/>
                  <a:prstDash val="solid"/>
                  <a:miter/>
                </a:ln>
              </p:spPr>
              <p:txBody>
                <a:bodyPr rtlCol="0" anchor="ctr"/>
                <a:lstStyle/>
                <a:p>
                  <a:endParaRPr lang="en-GB" dirty="0"/>
                </a:p>
              </p:txBody>
            </p:sp>
          </p:grpSp>
        </p:grpSp>
        <p:grpSp>
          <p:nvGrpSpPr>
            <p:cNvPr id="721" name="Gruppieren 1119">
              <a:extLst>
                <a:ext uri="{FF2B5EF4-FFF2-40B4-BE49-F238E27FC236}">
                  <a16:creationId xmlns:a16="http://schemas.microsoft.com/office/drawing/2014/main" id="{C241002B-4BBA-41B8-A556-CDC2E1248435}"/>
                </a:ext>
              </a:extLst>
            </p:cNvPr>
            <p:cNvGrpSpPr/>
            <p:nvPr/>
          </p:nvGrpSpPr>
          <p:grpSpPr>
            <a:xfrm>
              <a:off x="7024201" y="4183259"/>
              <a:ext cx="251352" cy="251352"/>
              <a:chOff x="1776628" y="3546059"/>
              <a:chExt cx="211065" cy="211065"/>
            </a:xfrm>
          </p:grpSpPr>
          <p:grpSp>
            <p:nvGrpSpPr>
              <p:cNvPr id="722" name="Grafik 15">
                <a:extLst>
                  <a:ext uri="{FF2B5EF4-FFF2-40B4-BE49-F238E27FC236}">
                    <a16:creationId xmlns:a16="http://schemas.microsoft.com/office/drawing/2014/main" id="{D4D9A7F2-0F28-4691-AE4D-72CEB325FC83}"/>
                  </a:ext>
                </a:extLst>
              </p:cNvPr>
              <p:cNvGrpSpPr/>
              <p:nvPr/>
            </p:nvGrpSpPr>
            <p:grpSpPr>
              <a:xfrm>
                <a:off x="1837545" y="3579008"/>
                <a:ext cx="90616" cy="146685"/>
                <a:chOff x="1837545" y="3579008"/>
                <a:chExt cx="90616" cy="146685"/>
              </a:xfrm>
              <a:solidFill>
                <a:schemeClr val="accent1"/>
              </a:solidFill>
            </p:grpSpPr>
            <p:sp>
              <p:nvSpPr>
                <p:cNvPr id="724" name="Freihandform: Form 342">
                  <a:extLst>
                    <a:ext uri="{FF2B5EF4-FFF2-40B4-BE49-F238E27FC236}">
                      <a16:creationId xmlns:a16="http://schemas.microsoft.com/office/drawing/2014/main" id="{3927CDA7-870E-430E-BA9C-BD6CEDEF5ABD}"/>
                    </a:ext>
                  </a:extLst>
                </p:cNvPr>
                <p:cNvSpPr/>
                <p:nvPr/>
              </p:nvSpPr>
              <p:spPr>
                <a:xfrm>
                  <a:off x="1851849" y="3593312"/>
                  <a:ext cx="76312" cy="65658"/>
                </a:xfrm>
                <a:custGeom>
                  <a:avLst/>
                  <a:gdLst>
                    <a:gd name="connsiteX0" fmla="*/ 43497 w 76312"/>
                    <a:gd name="connsiteY0" fmla="*/ 65658 h 65658"/>
                    <a:gd name="connsiteX1" fmla="*/ 6606 w 76312"/>
                    <a:gd name="connsiteY1" fmla="*/ 65658 h 65658"/>
                    <a:gd name="connsiteX2" fmla="*/ 0 w 76312"/>
                    <a:gd name="connsiteY2" fmla="*/ 59053 h 65658"/>
                    <a:gd name="connsiteX3" fmla="*/ 0 w 76312"/>
                    <a:gd name="connsiteY3" fmla="*/ 6606 h 65658"/>
                    <a:gd name="connsiteX4" fmla="*/ 6606 w 76312"/>
                    <a:gd name="connsiteY4" fmla="*/ 0 h 65658"/>
                    <a:gd name="connsiteX5" fmla="*/ 43497 w 76312"/>
                    <a:gd name="connsiteY5" fmla="*/ 0 h 65658"/>
                    <a:gd name="connsiteX6" fmla="*/ 76313 w 76312"/>
                    <a:gd name="connsiteY6" fmla="*/ 32816 h 65658"/>
                    <a:gd name="connsiteX7" fmla="*/ 43497 w 76312"/>
                    <a:gd name="connsiteY7" fmla="*/ 65658 h 65658"/>
                    <a:gd name="connsiteX8" fmla="*/ 13185 w 76312"/>
                    <a:gd name="connsiteY8" fmla="*/ 52473 h 65658"/>
                    <a:gd name="connsiteX9" fmla="*/ 43497 w 76312"/>
                    <a:gd name="connsiteY9" fmla="*/ 52473 h 65658"/>
                    <a:gd name="connsiteX10" fmla="*/ 63128 w 76312"/>
                    <a:gd name="connsiteY10" fmla="*/ 32843 h 65658"/>
                    <a:gd name="connsiteX11" fmla="*/ 43497 w 76312"/>
                    <a:gd name="connsiteY11" fmla="*/ 13212 h 65658"/>
                    <a:gd name="connsiteX12" fmla="*/ 13185 w 76312"/>
                    <a:gd name="connsiteY12" fmla="*/ 13212 h 65658"/>
                    <a:gd name="connsiteX13" fmla="*/ 13185 w 76312"/>
                    <a:gd name="connsiteY13" fmla="*/ 52473 h 65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312" h="65658">
                      <a:moveTo>
                        <a:pt x="43497" y="65658"/>
                      </a:moveTo>
                      <a:lnTo>
                        <a:pt x="6606" y="65658"/>
                      </a:lnTo>
                      <a:cubicBezTo>
                        <a:pt x="2957" y="65658"/>
                        <a:pt x="0" y="62702"/>
                        <a:pt x="0" y="59053"/>
                      </a:cubicBezTo>
                      <a:lnTo>
                        <a:pt x="0" y="6606"/>
                      </a:lnTo>
                      <a:cubicBezTo>
                        <a:pt x="0" y="2957"/>
                        <a:pt x="2957" y="0"/>
                        <a:pt x="6606" y="0"/>
                      </a:cubicBezTo>
                      <a:lnTo>
                        <a:pt x="43497" y="0"/>
                      </a:lnTo>
                      <a:cubicBezTo>
                        <a:pt x="61583" y="0"/>
                        <a:pt x="76313" y="14730"/>
                        <a:pt x="76313" y="32816"/>
                      </a:cubicBezTo>
                      <a:cubicBezTo>
                        <a:pt x="76313" y="50929"/>
                        <a:pt x="61583" y="65658"/>
                        <a:pt x="43497" y="65658"/>
                      </a:cubicBezTo>
                      <a:close/>
                      <a:moveTo>
                        <a:pt x="13185" y="52473"/>
                      </a:moveTo>
                      <a:lnTo>
                        <a:pt x="43497" y="52473"/>
                      </a:lnTo>
                      <a:cubicBezTo>
                        <a:pt x="54311" y="52473"/>
                        <a:pt x="63128" y="43657"/>
                        <a:pt x="63128" y="32843"/>
                      </a:cubicBezTo>
                      <a:cubicBezTo>
                        <a:pt x="63128" y="22028"/>
                        <a:pt x="54338" y="13212"/>
                        <a:pt x="43497" y="13212"/>
                      </a:cubicBezTo>
                      <a:lnTo>
                        <a:pt x="13185" y="13212"/>
                      </a:lnTo>
                      <a:lnTo>
                        <a:pt x="13185" y="52473"/>
                      </a:lnTo>
                      <a:close/>
                    </a:path>
                  </a:pathLst>
                </a:custGeom>
                <a:solidFill>
                  <a:schemeClr val="accent1"/>
                </a:solidFill>
                <a:ln w="2663" cap="flat">
                  <a:noFill/>
                  <a:prstDash val="solid"/>
                  <a:miter/>
                </a:ln>
              </p:spPr>
              <p:txBody>
                <a:bodyPr rtlCol="0" anchor="ctr"/>
                <a:lstStyle/>
                <a:p>
                  <a:endParaRPr lang="en-GB" dirty="0"/>
                </a:p>
              </p:txBody>
            </p:sp>
            <p:sp>
              <p:nvSpPr>
                <p:cNvPr id="725" name="Freihandform: Form 343">
                  <a:extLst>
                    <a:ext uri="{FF2B5EF4-FFF2-40B4-BE49-F238E27FC236}">
                      <a16:creationId xmlns:a16="http://schemas.microsoft.com/office/drawing/2014/main" id="{237B55EF-DF69-4278-938D-129C33B98B22}"/>
                    </a:ext>
                  </a:extLst>
                </p:cNvPr>
                <p:cNvSpPr/>
                <p:nvPr/>
              </p:nvSpPr>
              <p:spPr>
                <a:xfrm>
                  <a:off x="1851849" y="3645759"/>
                  <a:ext cx="76312" cy="65658"/>
                </a:xfrm>
                <a:custGeom>
                  <a:avLst/>
                  <a:gdLst>
                    <a:gd name="connsiteX0" fmla="*/ 43497 w 76312"/>
                    <a:gd name="connsiteY0" fmla="*/ 65658 h 65658"/>
                    <a:gd name="connsiteX1" fmla="*/ 6606 w 76312"/>
                    <a:gd name="connsiteY1" fmla="*/ 65658 h 65658"/>
                    <a:gd name="connsiteX2" fmla="*/ 0 w 76312"/>
                    <a:gd name="connsiteY2" fmla="*/ 59053 h 65658"/>
                    <a:gd name="connsiteX3" fmla="*/ 0 w 76312"/>
                    <a:gd name="connsiteY3" fmla="*/ 6606 h 65658"/>
                    <a:gd name="connsiteX4" fmla="*/ 6606 w 76312"/>
                    <a:gd name="connsiteY4" fmla="*/ 0 h 65658"/>
                    <a:gd name="connsiteX5" fmla="*/ 43497 w 76312"/>
                    <a:gd name="connsiteY5" fmla="*/ 0 h 65658"/>
                    <a:gd name="connsiteX6" fmla="*/ 76313 w 76312"/>
                    <a:gd name="connsiteY6" fmla="*/ 32816 h 65658"/>
                    <a:gd name="connsiteX7" fmla="*/ 43497 w 76312"/>
                    <a:gd name="connsiteY7" fmla="*/ 65658 h 65658"/>
                    <a:gd name="connsiteX8" fmla="*/ 13185 w 76312"/>
                    <a:gd name="connsiteY8" fmla="*/ 52447 h 65658"/>
                    <a:gd name="connsiteX9" fmla="*/ 43497 w 76312"/>
                    <a:gd name="connsiteY9" fmla="*/ 52447 h 65658"/>
                    <a:gd name="connsiteX10" fmla="*/ 63128 w 76312"/>
                    <a:gd name="connsiteY10" fmla="*/ 32816 h 65658"/>
                    <a:gd name="connsiteX11" fmla="*/ 43497 w 76312"/>
                    <a:gd name="connsiteY11" fmla="*/ 13185 h 65658"/>
                    <a:gd name="connsiteX12" fmla="*/ 13185 w 76312"/>
                    <a:gd name="connsiteY12" fmla="*/ 13185 h 65658"/>
                    <a:gd name="connsiteX13" fmla="*/ 13185 w 76312"/>
                    <a:gd name="connsiteY13" fmla="*/ 52447 h 65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312" h="65658">
                      <a:moveTo>
                        <a:pt x="43497" y="65658"/>
                      </a:moveTo>
                      <a:lnTo>
                        <a:pt x="6606" y="65658"/>
                      </a:lnTo>
                      <a:cubicBezTo>
                        <a:pt x="2957" y="65658"/>
                        <a:pt x="0" y="62702"/>
                        <a:pt x="0" y="59053"/>
                      </a:cubicBezTo>
                      <a:lnTo>
                        <a:pt x="0" y="6606"/>
                      </a:lnTo>
                      <a:cubicBezTo>
                        <a:pt x="0" y="2957"/>
                        <a:pt x="2957" y="0"/>
                        <a:pt x="6606" y="0"/>
                      </a:cubicBezTo>
                      <a:lnTo>
                        <a:pt x="43497" y="0"/>
                      </a:lnTo>
                      <a:cubicBezTo>
                        <a:pt x="61583" y="0"/>
                        <a:pt x="76313" y="14730"/>
                        <a:pt x="76313" y="32816"/>
                      </a:cubicBezTo>
                      <a:cubicBezTo>
                        <a:pt x="76313" y="50929"/>
                        <a:pt x="61583" y="65658"/>
                        <a:pt x="43497" y="65658"/>
                      </a:cubicBezTo>
                      <a:close/>
                      <a:moveTo>
                        <a:pt x="13185" y="52447"/>
                      </a:moveTo>
                      <a:lnTo>
                        <a:pt x="43497" y="52447"/>
                      </a:lnTo>
                      <a:cubicBezTo>
                        <a:pt x="54311" y="52447"/>
                        <a:pt x="63128" y="43630"/>
                        <a:pt x="63128" y="32816"/>
                      </a:cubicBezTo>
                      <a:cubicBezTo>
                        <a:pt x="63128" y="22002"/>
                        <a:pt x="54338" y="13185"/>
                        <a:pt x="43497" y="13185"/>
                      </a:cubicBezTo>
                      <a:lnTo>
                        <a:pt x="13185" y="13185"/>
                      </a:lnTo>
                      <a:lnTo>
                        <a:pt x="13185" y="52447"/>
                      </a:lnTo>
                      <a:close/>
                    </a:path>
                  </a:pathLst>
                </a:custGeom>
                <a:solidFill>
                  <a:schemeClr val="accent1"/>
                </a:solidFill>
                <a:ln w="2663" cap="flat">
                  <a:noFill/>
                  <a:prstDash val="solid"/>
                  <a:miter/>
                </a:ln>
              </p:spPr>
              <p:txBody>
                <a:bodyPr rtlCol="0" anchor="ctr"/>
                <a:lstStyle/>
                <a:p>
                  <a:endParaRPr lang="en-GB" dirty="0"/>
                </a:p>
              </p:txBody>
            </p:sp>
            <p:sp>
              <p:nvSpPr>
                <p:cNvPr id="726" name="Freihandform: Form 344">
                  <a:extLst>
                    <a:ext uri="{FF2B5EF4-FFF2-40B4-BE49-F238E27FC236}">
                      <a16:creationId xmlns:a16="http://schemas.microsoft.com/office/drawing/2014/main" id="{481778DB-CA2F-444B-9C47-4D04930C523E}"/>
                    </a:ext>
                  </a:extLst>
                </p:cNvPr>
                <p:cNvSpPr/>
                <p:nvPr/>
              </p:nvSpPr>
              <p:spPr>
                <a:xfrm>
                  <a:off x="1837545" y="3593312"/>
                  <a:ext cx="32283" cy="13211"/>
                </a:xfrm>
                <a:custGeom>
                  <a:avLst/>
                  <a:gdLst>
                    <a:gd name="connsiteX0" fmla="*/ 25677 w 32283"/>
                    <a:gd name="connsiteY0" fmla="*/ 13212 h 13211"/>
                    <a:gd name="connsiteX1" fmla="*/ 6606 w 32283"/>
                    <a:gd name="connsiteY1" fmla="*/ 13212 h 13211"/>
                    <a:gd name="connsiteX2" fmla="*/ 0 w 32283"/>
                    <a:gd name="connsiteY2" fmla="*/ 6606 h 13211"/>
                    <a:gd name="connsiteX3" fmla="*/ 6606 w 32283"/>
                    <a:gd name="connsiteY3" fmla="*/ 0 h 13211"/>
                    <a:gd name="connsiteX4" fmla="*/ 25677 w 32283"/>
                    <a:gd name="connsiteY4" fmla="*/ 0 h 13211"/>
                    <a:gd name="connsiteX5" fmla="*/ 32283 w 32283"/>
                    <a:gd name="connsiteY5" fmla="*/ 6606 h 13211"/>
                    <a:gd name="connsiteX6" fmla="*/ 25677 w 32283"/>
                    <a:gd name="connsiteY6" fmla="*/ 13212 h 1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3" h="13211">
                      <a:moveTo>
                        <a:pt x="25677" y="13212"/>
                      </a:moveTo>
                      <a:lnTo>
                        <a:pt x="6606" y="13212"/>
                      </a:lnTo>
                      <a:cubicBezTo>
                        <a:pt x="2957" y="13212"/>
                        <a:pt x="0" y="10255"/>
                        <a:pt x="0" y="6606"/>
                      </a:cubicBezTo>
                      <a:cubicBezTo>
                        <a:pt x="0" y="2957"/>
                        <a:pt x="2957" y="0"/>
                        <a:pt x="6606" y="0"/>
                      </a:cubicBezTo>
                      <a:lnTo>
                        <a:pt x="25677" y="0"/>
                      </a:lnTo>
                      <a:cubicBezTo>
                        <a:pt x="29327" y="0"/>
                        <a:pt x="32283" y="2957"/>
                        <a:pt x="32283" y="6606"/>
                      </a:cubicBezTo>
                      <a:cubicBezTo>
                        <a:pt x="32257" y="10255"/>
                        <a:pt x="29327" y="13212"/>
                        <a:pt x="25677" y="13212"/>
                      </a:cubicBezTo>
                      <a:close/>
                    </a:path>
                  </a:pathLst>
                </a:custGeom>
                <a:solidFill>
                  <a:schemeClr val="accent1"/>
                </a:solidFill>
                <a:ln w="2663" cap="flat">
                  <a:noFill/>
                  <a:prstDash val="solid"/>
                  <a:miter/>
                </a:ln>
              </p:spPr>
              <p:txBody>
                <a:bodyPr rtlCol="0" anchor="ctr"/>
                <a:lstStyle/>
                <a:p>
                  <a:endParaRPr lang="en-GB" dirty="0"/>
                </a:p>
              </p:txBody>
            </p:sp>
            <p:sp>
              <p:nvSpPr>
                <p:cNvPr id="727" name="Freihandform: Form 345">
                  <a:extLst>
                    <a:ext uri="{FF2B5EF4-FFF2-40B4-BE49-F238E27FC236}">
                      <a16:creationId xmlns:a16="http://schemas.microsoft.com/office/drawing/2014/main" id="{A6539438-10D9-4462-9132-A6A8A9074E3A}"/>
                    </a:ext>
                  </a:extLst>
                </p:cNvPr>
                <p:cNvSpPr/>
                <p:nvPr/>
              </p:nvSpPr>
              <p:spPr>
                <a:xfrm>
                  <a:off x="1837545" y="3698206"/>
                  <a:ext cx="32283" cy="13211"/>
                </a:xfrm>
                <a:custGeom>
                  <a:avLst/>
                  <a:gdLst>
                    <a:gd name="connsiteX0" fmla="*/ 25677 w 32283"/>
                    <a:gd name="connsiteY0" fmla="*/ 13212 h 13211"/>
                    <a:gd name="connsiteX1" fmla="*/ 6606 w 32283"/>
                    <a:gd name="connsiteY1" fmla="*/ 13212 h 13211"/>
                    <a:gd name="connsiteX2" fmla="*/ 0 w 32283"/>
                    <a:gd name="connsiteY2" fmla="*/ 6606 h 13211"/>
                    <a:gd name="connsiteX3" fmla="*/ 6606 w 32283"/>
                    <a:gd name="connsiteY3" fmla="*/ 0 h 13211"/>
                    <a:gd name="connsiteX4" fmla="*/ 25677 w 32283"/>
                    <a:gd name="connsiteY4" fmla="*/ 0 h 13211"/>
                    <a:gd name="connsiteX5" fmla="*/ 32283 w 32283"/>
                    <a:gd name="connsiteY5" fmla="*/ 6606 h 13211"/>
                    <a:gd name="connsiteX6" fmla="*/ 25677 w 32283"/>
                    <a:gd name="connsiteY6" fmla="*/ 13212 h 13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283" h="13211">
                      <a:moveTo>
                        <a:pt x="25677" y="13212"/>
                      </a:moveTo>
                      <a:lnTo>
                        <a:pt x="6606" y="13212"/>
                      </a:lnTo>
                      <a:cubicBezTo>
                        <a:pt x="2957" y="13212"/>
                        <a:pt x="0" y="10255"/>
                        <a:pt x="0" y="6606"/>
                      </a:cubicBezTo>
                      <a:cubicBezTo>
                        <a:pt x="0" y="2957"/>
                        <a:pt x="2957" y="0"/>
                        <a:pt x="6606" y="0"/>
                      </a:cubicBezTo>
                      <a:lnTo>
                        <a:pt x="25677" y="0"/>
                      </a:lnTo>
                      <a:cubicBezTo>
                        <a:pt x="29327" y="0"/>
                        <a:pt x="32283" y="2957"/>
                        <a:pt x="32283" y="6606"/>
                      </a:cubicBezTo>
                      <a:cubicBezTo>
                        <a:pt x="32257" y="10255"/>
                        <a:pt x="29327" y="13212"/>
                        <a:pt x="25677" y="13212"/>
                      </a:cubicBezTo>
                      <a:close/>
                    </a:path>
                  </a:pathLst>
                </a:custGeom>
                <a:solidFill>
                  <a:schemeClr val="accent1"/>
                </a:solidFill>
                <a:ln w="2663" cap="flat">
                  <a:noFill/>
                  <a:prstDash val="solid"/>
                  <a:miter/>
                </a:ln>
              </p:spPr>
              <p:txBody>
                <a:bodyPr rtlCol="0" anchor="ctr"/>
                <a:lstStyle/>
                <a:p>
                  <a:endParaRPr lang="en-GB" dirty="0"/>
                </a:p>
              </p:txBody>
            </p:sp>
            <p:sp>
              <p:nvSpPr>
                <p:cNvPr id="728" name="Freihandform: Form 346">
                  <a:extLst>
                    <a:ext uri="{FF2B5EF4-FFF2-40B4-BE49-F238E27FC236}">
                      <a16:creationId xmlns:a16="http://schemas.microsoft.com/office/drawing/2014/main" id="{2C3F74CB-48EB-4FEC-B6F9-E721E32AC689}"/>
                    </a:ext>
                  </a:extLst>
                </p:cNvPr>
                <p:cNvSpPr/>
                <p:nvPr/>
              </p:nvSpPr>
              <p:spPr>
                <a:xfrm>
                  <a:off x="1861385" y="3579008"/>
                  <a:ext cx="13211" cy="27515"/>
                </a:xfrm>
                <a:custGeom>
                  <a:avLst/>
                  <a:gdLst>
                    <a:gd name="connsiteX0" fmla="*/ 6606 w 13211"/>
                    <a:gd name="connsiteY0" fmla="*/ 27515 h 27515"/>
                    <a:gd name="connsiteX1" fmla="*/ 0 w 13211"/>
                    <a:gd name="connsiteY1" fmla="*/ 20910 h 27515"/>
                    <a:gd name="connsiteX2" fmla="*/ 0 w 13211"/>
                    <a:gd name="connsiteY2" fmla="*/ 6606 h 27515"/>
                    <a:gd name="connsiteX3" fmla="*/ 6606 w 13211"/>
                    <a:gd name="connsiteY3" fmla="*/ 0 h 27515"/>
                    <a:gd name="connsiteX4" fmla="*/ 13212 w 13211"/>
                    <a:gd name="connsiteY4" fmla="*/ 6606 h 27515"/>
                    <a:gd name="connsiteX5" fmla="*/ 13212 w 13211"/>
                    <a:gd name="connsiteY5" fmla="*/ 20910 h 27515"/>
                    <a:gd name="connsiteX6" fmla="*/ 6606 w 13211"/>
                    <a:gd name="connsiteY6" fmla="*/ 27515 h 2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1" h="27515">
                      <a:moveTo>
                        <a:pt x="6606" y="27515"/>
                      </a:moveTo>
                      <a:cubicBezTo>
                        <a:pt x="2957" y="27515"/>
                        <a:pt x="0" y="24559"/>
                        <a:pt x="0" y="20910"/>
                      </a:cubicBezTo>
                      <a:lnTo>
                        <a:pt x="0" y="6606"/>
                      </a:lnTo>
                      <a:cubicBezTo>
                        <a:pt x="0" y="2957"/>
                        <a:pt x="2957" y="0"/>
                        <a:pt x="6606" y="0"/>
                      </a:cubicBezTo>
                      <a:cubicBezTo>
                        <a:pt x="10255" y="0"/>
                        <a:pt x="13212" y="2957"/>
                        <a:pt x="13212" y="6606"/>
                      </a:cubicBezTo>
                      <a:lnTo>
                        <a:pt x="13212" y="20910"/>
                      </a:lnTo>
                      <a:cubicBezTo>
                        <a:pt x="13185" y="24559"/>
                        <a:pt x="10255" y="27515"/>
                        <a:pt x="6606" y="27515"/>
                      </a:cubicBezTo>
                      <a:close/>
                    </a:path>
                  </a:pathLst>
                </a:custGeom>
                <a:solidFill>
                  <a:schemeClr val="accent1"/>
                </a:solidFill>
                <a:ln w="2663" cap="flat">
                  <a:noFill/>
                  <a:prstDash val="solid"/>
                  <a:miter/>
                </a:ln>
              </p:spPr>
              <p:txBody>
                <a:bodyPr rtlCol="0" anchor="ctr"/>
                <a:lstStyle/>
                <a:p>
                  <a:endParaRPr lang="en-GB" dirty="0"/>
                </a:p>
              </p:txBody>
            </p:sp>
            <p:sp>
              <p:nvSpPr>
                <p:cNvPr id="729" name="Freihandform: Form 347">
                  <a:extLst>
                    <a:ext uri="{FF2B5EF4-FFF2-40B4-BE49-F238E27FC236}">
                      <a16:creationId xmlns:a16="http://schemas.microsoft.com/office/drawing/2014/main" id="{2F7D073B-B4AD-43EE-8B20-BC13EA9CF807}"/>
                    </a:ext>
                  </a:extLst>
                </p:cNvPr>
                <p:cNvSpPr/>
                <p:nvPr/>
              </p:nvSpPr>
              <p:spPr>
                <a:xfrm>
                  <a:off x="1886369" y="3579008"/>
                  <a:ext cx="13211" cy="27515"/>
                </a:xfrm>
                <a:custGeom>
                  <a:avLst/>
                  <a:gdLst>
                    <a:gd name="connsiteX0" fmla="*/ 6606 w 13211"/>
                    <a:gd name="connsiteY0" fmla="*/ 27515 h 27515"/>
                    <a:gd name="connsiteX1" fmla="*/ 0 w 13211"/>
                    <a:gd name="connsiteY1" fmla="*/ 20910 h 27515"/>
                    <a:gd name="connsiteX2" fmla="*/ 0 w 13211"/>
                    <a:gd name="connsiteY2" fmla="*/ 6606 h 27515"/>
                    <a:gd name="connsiteX3" fmla="*/ 6606 w 13211"/>
                    <a:gd name="connsiteY3" fmla="*/ 0 h 27515"/>
                    <a:gd name="connsiteX4" fmla="*/ 13212 w 13211"/>
                    <a:gd name="connsiteY4" fmla="*/ 6606 h 27515"/>
                    <a:gd name="connsiteX5" fmla="*/ 13212 w 13211"/>
                    <a:gd name="connsiteY5" fmla="*/ 20910 h 27515"/>
                    <a:gd name="connsiteX6" fmla="*/ 6606 w 13211"/>
                    <a:gd name="connsiteY6" fmla="*/ 27515 h 2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1" h="27515">
                      <a:moveTo>
                        <a:pt x="6606" y="27515"/>
                      </a:moveTo>
                      <a:cubicBezTo>
                        <a:pt x="2957" y="27515"/>
                        <a:pt x="0" y="24559"/>
                        <a:pt x="0" y="20910"/>
                      </a:cubicBezTo>
                      <a:lnTo>
                        <a:pt x="0" y="6606"/>
                      </a:lnTo>
                      <a:cubicBezTo>
                        <a:pt x="0" y="2957"/>
                        <a:pt x="2957" y="0"/>
                        <a:pt x="6606" y="0"/>
                      </a:cubicBezTo>
                      <a:cubicBezTo>
                        <a:pt x="10255" y="0"/>
                        <a:pt x="13212" y="2957"/>
                        <a:pt x="13212" y="6606"/>
                      </a:cubicBezTo>
                      <a:lnTo>
                        <a:pt x="13212" y="20910"/>
                      </a:lnTo>
                      <a:cubicBezTo>
                        <a:pt x="13185" y="24559"/>
                        <a:pt x="10228" y="27515"/>
                        <a:pt x="6606" y="27515"/>
                      </a:cubicBezTo>
                      <a:close/>
                    </a:path>
                  </a:pathLst>
                </a:custGeom>
                <a:solidFill>
                  <a:schemeClr val="accent1"/>
                </a:solidFill>
                <a:ln w="2663" cap="flat">
                  <a:noFill/>
                  <a:prstDash val="solid"/>
                  <a:miter/>
                </a:ln>
              </p:spPr>
              <p:txBody>
                <a:bodyPr rtlCol="0" anchor="ctr"/>
                <a:lstStyle/>
                <a:p>
                  <a:endParaRPr lang="en-GB" dirty="0"/>
                </a:p>
              </p:txBody>
            </p:sp>
            <p:sp>
              <p:nvSpPr>
                <p:cNvPr id="730" name="Freihandform: Form 348">
                  <a:extLst>
                    <a:ext uri="{FF2B5EF4-FFF2-40B4-BE49-F238E27FC236}">
                      <a16:creationId xmlns:a16="http://schemas.microsoft.com/office/drawing/2014/main" id="{75F09C11-7684-414E-A070-7CD626BFE564}"/>
                    </a:ext>
                  </a:extLst>
                </p:cNvPr>
                <p:cNvSpPr/>
                <p:nvPr/>
              </p:nvSpPr>
              <p:spPr>
                <a:xfrm>
                  <a:off x="1861385" y="3698179"/>
                  <a:ext cx="13211" cy="27515"/>
                </a:xfrm>
                <a:custGeom>
                  <a:avLst/>
                  <a:gdLst>
                    <a:gd name="connsiteX0" fmla="*/ 6606 w 13211"/>
                    <a:gd name="connsiteY0" fmla="*/ 27515 h 27515"/>
                    <a:gd name="connsiteX1" fmla="*/ 0 w 13211"/>
                    <a:gd name="connsiteY1" fmla="*/ 20910 h 27515"/>
                    <a:gd name="connsiteX2" fmla="*/ 0 w 13211"/>
                    <a:gd name="connsiteY2" fmla="*/ 6606 h 27515"/>
                    <a:gd name="connsiteX3" fmla="*/ 6606 w 13211"/>
                    <a:gd name="connsiteY3" fmla="*/ 0 h 27515"/>
                    <a:gd name="connsiteX4" fmla="*/ 13212 w 13211"/>
                    <a:gd name="connsiteY4" fmla="*/ 6606 h 27515"/>
                    <a:gd name="connsiteX5" fmla="*/ 13212 w 13211"/>
                    <a:gd name="connsiteY5" fmla="*/ 20910 h 27515"/>
                    <a:gd name="connsiteX6" fmla="*/ 6606 w 13211"/>
                    <a:gd name="connsiteY6" fmla="*/ 27515 h 2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1" h="27515">
                      <a:moveTo>
                        <a:pt x="6606" y="27515"/>
                      </a:moveTo>
                      <a:cubicBezTo>
                        <a:pt x="2957" y="27515"/>
                        <a:pt x="0" y="24559"/>
                        <a:pt x="0" y="20910"/>
                      </a:cubicBezTo>
                      <a:lnTo>
                        <a:pt x="0" y="6606"/>
                      </a:lnTo>
                      <a:cubicBezTo>
                        <a:pt x="0" y="2957"/>
                        <a:pt x="2957" y="0"/>
                        <a:pt x="6606" y="0"/>
                      </a:cubicBezTo>
                      <a:cubicBezTo>
                        <a:pt x="10255" y="0"/>
                        <a:pt x="13212" y="2957"/>
                        <a:pt x="13212" y="6606"/>
                      </a:cubicBezTo>
                      <a:lnTo>
                        <a:pt x="13212" y="20910"/>
                      </a:lnTo>
                      <a:cubicBezTo>
                        <a:pt x="13185" y="24585"/>
                        <a:pt x="10255" y="27515"/>
                        <a:pt x="6606" y="27515"/>
                      </a:cubicBezTo>
                      <a:close/>
                    </a:path>
                  </a:pathLst>
                </a:custGeom>
                <a:solidFill>
                  <a:schemeClr val="accent1"/>
                </a:solidFill>
                <a:ln w="2663" cap="flat">
                  <a:noFill/>
                  <a:prstDash val="solid"/>
                  <a:miter/>
                </a:ln>
              </p:spPr>
              <p:txBody>
                <a:bodyPr rtlCol="0" anchor="ctr"/>
                <a:lstStyle/>
                <a:p>
                  <a:endParaRPr lang="en-GB" dirty="0"/>
                </a:p>
              </p:txBody>
            </p:sp>
            <p:sp>
              <p:nvSpPr>
                <p:cNvPr id="731" name="Freihandform: Form 349">
                  <a:extLst>
                    <a:ext uri="{FF2B5EF4-FFF2-40B4-BE49-F238E27FC236}">
                      <a16:creationId xmlns:a16="http://schemas.microsoft.com/office/drawing/2014/main" id="{78ACED19-EEDC-4F7F-AF84-1F9BA18E109C}"/>
                    </a:ext>
                  </a:extLst>
                </p:cNvPr>
                <p:cNvSpPr/>
                <p:nvPr/>
              </p:nvSpPr>
              <p:spPr>
                <a:xfrm>
                  <a:off x="1886369" y="3698179"/>
                  <a:ext cx="13211" cy="27515"/>
                </a:xfrm>
                <a:custGeom>
                  <a:avLst/>
                  <a:gdLst>
                    <a:gd name="connsiteX0" fmla="*/ 6606 w 13211"/>
                    <a:gd name="connsiteY0" fmla="*/ 27515 h 27515"/>
                    <a:gd name="connsiteX1" fmla="*/ 0 w 13211"/>
                    <a:gd name="connsiteY1" fmla="*/ 20910 h 27515"/>
                    <a:gd name="connsiteX2" fmla="*/ 0 w 13211"/>
                    <a:gd name="connsiteY2" fmla="*/ 6606 h 27515"/>
                    <a:gd name="connsiteX3" fmla="*/ 6606 w 13211"/>
                    <a:gd name="connsiteY3" fmla="*/ 0 h 27515"/>
                    <a:gd name="connsiteX4" fmla="*/ 13212 w 13211"/>
                    <a:gd name="connsiteY4" fmla="*/ 6606 h 27515"/>
                    <a:gd name="connsiteX5" fmla="*/ 13212 w 13211"/>
                    <a:gd name="connsiteY5" fmla="*/ 20910 h 27515"/>
                    <a:gd name="connsiteX6" fmla="*/ 6606 w 13211"/>
                    <a:gd name="connsiteY6" fmla="*/ 27515 h 2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1" h="27515">
                      <a:moveTo>
                        <a:pt x="6606" y="27515"/>
                      </a:moveTo>
                      <a:cubicBezTo>
                        <a:pt x="2957" y="27515"/>
                        <a:pt x="0" y="24559"/>
                        <a:pt x="0" y="20910"/>
                      </a:cubicBezTo>
                      <a:lnTo>
                        <a:pt x="0" y="6606"/>
                      </a:lnTo>
                      <a:cubicBezTo>
                        <a:pt x="0" y="2957"/>
                        <a:pt x="2957" y="0"/>
                        <a:pt x="6606" y="0"/>
                      </a:cubicBezTo>
                      <a:cubicBezTo>
                        <a:pt x="10255" y="0"/>
                        <a:pt x="13212" y="2957"/>
                        <a:pt x="13212" y="6606"/>
                      </a:cubicBezTo>
                      <a:lnTo>
                        <a:pt x="13212" y="20910"/>
                      </a:lnTo>
                      <a:cubicBezTo>
                        <a:pt x="13185" y="24585"/>
                        <a:pt x="10228" y="27515"/>
                        <a:pt x="6606" y="27515"/>
                      </a:cubicBezTo>
                      <a:close/>
                    </a:path>
                  </a:pathLst>
                </a:custGeom>
                <a:solidFill>
                  <a:schemeClr val="accent1"/>
                </a:solidFill>
                <a:ln w="2663" cap="flat">
                  <a:noFill/>
                  <a:prstDash val="solid"/>
                  <a:miter/>
                </a:ln>
              </p:spPr>
              <p:txBody>
                <a:bodyPr rtlCol="0" anchor="ctr"/>
                <a:lstStyle/>
                <a:p>
                  <a:endParaRPr lang="en-GB" dirty="0"/>
                </a:p>
              </p:txBody>
            </p:sp>
          </p:grpSp>
          <p:sp>
            <p:nvSpPr>
              <p:cNvPr id="723" name="Freihandform: Form 363">
                <a:extLst>
                  <a:ext uri="{FF2B5EF4-FFF2-40B4-BE49-F238E27FC236}">
                    <a16:creationId xmlns:a16="http://schemas.microsoft.com/office/drawing/2014/main" id="{7EA51891-CF4C-474A-92A3-5938D9B45889}"/>
                  </a:ext>
                </a:extLst>
              </p:cNvPr>
              <p:cNvSpPr/>
              <p:nvPr/>
            </p:nvSpPr>
            <p:spPr>
              <a:xfrm>
                <a:off x="1776628" y="3546059"/>
                <a:ext cx="211065" cy="211065"/>
              </a:xfrm>
              <a:custGeom>
                <a:avLst/>
                <a:gdLst>
                  <a:gd name="connsiteX0" fmla="*/ 105533 w 211065"/>
                  <a:gd name="connsiteY0" fmla="*/ 211066 h 211065"/>
                  <a:gd name="connsiteX1" fmla="*/ 0 w 211065"/>
                  <a:gd name="connsiteY1" fmla="*/ 105533 h 211065"/>
                  <a:gd name="connsiteX2" fmla="*/ 105533 w 211065"/>
                  <a:gd name="connsiteY2" fmla="*/ 0 h 211065"/>
                  <a:gd name="connsiteX3" fmla="*/ 211066 w 211065"/>
                  <a:gd name="connsiteY3" fmla="*/ 105533 h 211065"/>
                  <a:gd name="connsiteX4" fmla="*/ 105533 w 211065"/>
                  <a:gd name="connsiteY4" fmla="*/ 211066 h 211065"/>
                  <a:gd name="connsiteX5" fmla="*/ 105533 w 211065"/>
                  <a:gd name="connsiteY5" fmla="*/ 13185 h 211065"/>
                  <a:gd name="connsiteX6" fmla="*/ 13185 w 211065"/>
                  <a:gd name="connsiteY6" fmla="*/ 105533 h 211065"/>
                  <a:gd name="connsiteX7" fmla="*/ 105533 w 211065"/>
                  <a:gd name="connsiteY7" fmla="*/ 197881 h 211065"/>
                  <a:gd name="connsiteX8" fmla="*/ 197881 w 211065"/>
                  <a:gd name="connsiteY8" fmla="*/ 105533 h 211065"/>
                  <a:gd name="connsiteX9" fmla="*/ 105533 w 211065"/>
                  <a:gd name="connsiteY9" fmla="*/ 13185 h 21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065" h="211065">
                    <a:moveTo>
                      <a:pt x="105533" y="211066"/>
                    </a:moveTo>
                    <a:cubicBezTo>
                      <a:pt x="47333" y="211066"/>
                      <a:pt x="0" y="163733"/>
                      <a:pt x="0" y="105533"/>
                    </a:cubicBezTo>
                    <a:cubicBezTo>
                      <a:pt x="0" y="47333"/>
                      <a:pt x="47333" y="0"/>
                      <a:pt x="105533" y="0"/>
                    </a:cubicBezTo>
                    <a:cubicBezTo>
                      <a:pt x="163733" y="0"/>
                      <a:pt x="211066" y="47333"/>
                      <a:pt x="211066" y="105533"/>
                    </a:cubicBezTo>
                    <a:cubicBezTo>
                      <a:pt x="211066" y="163733"/>
                      <a:pt x="163706" y="211066"/>
                      <a:pt x="105533" y="211066"/>
                    </a:cubicBezTo>
                    <a:close/>
                    <a:moveTo>
                      <a:pt x="105533" y="13185"/>
                    </a:moveTo>
                    <a:cubicBezTo>
                      <a:pt x="54604" y="13185"/>
                      <a:pt x="13185" y="54604"/>
                      <a:pt x="13185" y="105533"/>
                    </a:cubicBezTo>
                    <a:cubicBezTo>
                      <a:pt x="13185" y="156461"/>
                      <a:pt x="54604" y="197881"/>
                      <a:pt x="105533" y="197881"/>
                    </a:cubicBezTo>
                    <a:cubicBezTo>
                      <a:pt x="156461" y="197881"/>
                      <a:pt x="197881" y="156461"/>
                      <a:pt x="197881" y="105533"/>
                    </a:cubicBezTo>
                    <a:cubicBezTo>
                      <a:pt x="197881" y="54604"/>
                      <a:pt x="156435" y="13185"/>
                      <a:pt x="105533" y="13185"/>
                    </a:cubicBezTo>
                    <a:close/>
                  </a:path>
                </a:pathLst>
              </a:custGeom>
              <a:solidFill>
                <a:schemeClr val="accent1"/>
              </a:solidFill>
              <a:ln w="2663" cap="flat">
                <a:noFill/>
                <a:prstDash val="solid"/>
                <a:miter/>
              </a:ln>
            </p:spPr>
            <p:txBody>
              <a:bodyPr rtlCol="0" anchor="ctr"/>
              <a:lstStyle/>
              <a:p>
                <a:endParaRPr lang="en-GB" dirty="0"/>
              </a:p>
            </p:txBody>
          </p:sp>
        </p:grpSp>
      </p:grpSp>
      <p:grpSp>
        <p:nvGrpSpPr>
          <p:cNvPr id="631" name="Group 630">
            <a:extLst>
              <a:ext uri="{FF2B5EF4-FFF2-40B4-BE49-F238E27FC236}">
                <a16:creationId xmlns:a16="http://schemas.microsoft.com/office/drawing/2014/main" id="{7831E62F-E208-94D9-2950-EDE208EC41DD}"/>
              </a:ext>
            </a:extLst>
          </p:cNvPr>
          <p:cNvGrpSpPr/>
          <p:nvPr/>
        </p:nvGrpSpPr>
        <p:grpSpPr>
          <a:xfrm>
            <a:off x="8099587" y="4002611"/>
            <a:ext cx="486163" cy="432000"/>
            <a:chOff x="8099175" y="4002611"/>
            <a:chExt cx="486163" cy="432000"/>
          </a:xfrm>
        </p:grpSpPr>
        <p:grpSp>
          <p:nvGrpSpPr>
            <p:cNvPr id="746" name="Grafik 16">
              <a:extLst>
                <a:ext uri="{FF2B5EF4-FFF2-40B4-BE49-F238E27FC236}">
                  <a16:creationId xmlns:a16="http://schemas.microsoft.com/office/drawing/2014/main" id="{16B1FFC5-D01E-4D2A-BD81-FD60304C8826}"/>
                </a:ext>
              </a:extLst>
            </p:cNvPr>
            <p:cNvGrpSpPr/>
            <p:nvPr/>
          </p:nvGrpSpPr>
          <p:grpSpPr>
            <a:xfrm>
              <a:off x="8318319" y="4167459"/>
              <a:ext cx="267019" cy="267152"/>
              <a:chOff x="6352009" y="1821493"/>
              <a:chExt cx="265777" cy="265909"/>
            </a:xfrm>
            <a:solidFill>
              <a:schemeClr val="tx2"/>
            </a:solidFill>
          </p:grpSpPr>
          <p:sp>
            <p:nvSpPr>
              <p:cNvPr id="753" name="Freihandform: Form 817">
                <a:extLst>
                  <a:ext uri="{FF2B5EF4-FFF2-40B4-BE49-F238E27FC236}">
                    <a16:creationId xmlns:a16="http://schemas.microsoft.com/office/drawing/2014/main" id="{FA3F9544-F1A2-4513-A845-2083E595216D}"/>
                  </a:ext>
                </a:extLst>
              </p:cNvPr>
              <p:cNvSpPr/>
              <p:nvPr/>
            </p:nvSpPr>
            <p:spPr>
              <a:xfrm>
                <a:off x="6424163" y="1897626"/>
                <a:ext cx="91634" cy="87656"/>
              </a:xfrm>
              <a:custGeom>
                <a:avLst/>
                <a:gdLst>
                  <a:gd name="connsiteX0" fmla="*/ 45831 w 91634"/>
                  <a:gd name="connsiteY0" fmla="*/ 87656 h 87656"/>
                  <a:gd name="connsiteX1" fmla="*/ 0 w 91634"/>
                  <a:gd name="connsiteY1" fmla="*/ 41825 h 87656"/>
                  <a:gd name="connsiteX2" fmla="*/ 1761 w 91634"/>
                  <a:gd name="connsiteY2" fmla="*/ 29185 h 87656"/>
                  <a:gd name="connsiteX3" fmla="*/ 9855 w 91634"/>
                  <a:gd name="connsiteY3" fmla="*/ 24692 h 87656"/>
                  <a:gd name="connsiteX4" fmla="*/ 14348 w 91634"/>
                  <a:gd name="connsiteY4" fmla="*/ 32786 h 87656"/>
                  <a:gd name="connsiteX5" fmla="*/ 13087 w 91634"/>
                  <a:gd name="connsiteY5" fmla="*/ 41825 h 87656"/>
                  <a:gd name="connsiteX6" fmla="*/ 45831 w 91634"/>
                  <a:gd name="connsiteY6" fmla="*/ 74543 h 87656"/>
                  <a:gd name="connsiteX7" fmla="*/ 78548 w 91634"/>
                  <a:gd name="connsiteY7" fmla="*/ 41825 h 87656"/>
                  <a:gd name="connsiteX8" fmla="*/ 60179 w 91634"/>
                  <a:gd name="connsiteY8" fmla="*/ 12419 h 87656"/>
                  <a:gd name="connsiteX9" fmla="*/ 57183 w 91634"/>
                  <a:gd name="connsiteY9" fmla="*/ 3668 h 87656"/>
                  <a:gd name="connsiteX10" fmla="*/ 65934 w 91634"/>
                  <a:gd name="connsiteY10" fmla="*/ 673 h 87656"/>
                  <a:gd name="connsiteX11" fmla="*/ 91635 w 91634"/>
                  <a:gd name="connsiteY11" fmla="*/ 41852 h 87656"/>
                  <a:gd name="connsiteX12" fmla="*/ 45831 w 91634"/>
                  <a:gd name="connsiteY12" fmla="*/ 87656 h 87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634" h="87656">
                    <a:moveTo>
                      <a:pt x="45831" y="87656"/>
                    </a:moveTo>
                    <a:cubicBezTo>
                      <a:pt x="20550" y="87656"/>
                      <a:pt x="0" y="67106"/>
                      <a:pt x="0" y="41825"/>
                    </a:cubicBezTo>
                    <a:cubicBezTo>
                      <a:pt x="0" y="37542"/>
                      <a:pt x="604" y="33285"/>
                      <a:pt x="1761" y="29185"/>
                    </a:cubicBezTo>
                    <a:cubicBezTo>
                      <a:pt x="2759" y="25716"/>
                      <a:pt x="6386" y="23693"/>
                      <a:pt x="9855" y="24692"/>
                    </a:cubicBezTo>
                    <a:cubicBezTo>
                      <a:pt x="13323" y="25690"/>
                      <a:pt x="15347" y="29317"/>
                      <a:pt x="14348" y="32786"/>
                    </a:cubicBezTo>
                    <a:cubicBezTo>
                      <a:pt x="13507" y="35702"/>
                      <a:pt x="13087" y="38751"/>
                      <a:pt x="13087" y="41825"/>
                    </a:cubicBezTo>
                    <a:cubicBezTo>
                      <a:pt x="13087" y="59879"/>
                      <a:pt x="27777" y="74543"/>
                      <a:pt x="45831" y="74543"/>
                    </a:cubicBezTo>
                    <a:cubicBezTo>
                      <a:pt x="63884" y="74543"/>
                      <a:pt x="78548" y="59853"/>
                      <a:pt x="78548" y="41825"/>
                    </a:cubicBezTo>
                    <a:cubicBezTo>
                      <a:pt x="78548" y="29212"/>
                      <a:pt x="71505" y="17938"/>
                      <a:pt x="60179" y="12419"/>
                    </a:cubicBezTo>
                    <a:cubicBezTo>
                      <a:pt x="56920" y="10816"/>
                      <a:pt x="55580" y="6901"/>
                      <a:pt x="57183" y="3668"/>
                    </a:cubicBezTo>
                    <a:cubicBezTo>
                      <a:pt x="58786" y="436"/>
                      <a:pt x="62702" y="-930"/>
                      <a:pt x="65934" y="673"/>
                    </a:cubicBezTo>
                    <a:cubicBezTo>
                      <a:pt x="81780" y="8425"/>
                      <a:pt x="91635" y="24219"/>
                      <a:pt x="91635" y="41852"/>
                    </a:cubicBezTo>
                    <a:cubicBezTo>
                      <a:pt x="91635" y="67106"/>
                      <a:pt x="71085" y="87656"/>
                      <a:pt x="45831" y="87656"/>
                    </a:cubicBezTo>
                    <a:close/>
                  </a:path>
                </a:pathLst>
              </a:custGeom>
              <a:grpFill/>
              <a:ln w="2624" cap="flat">
                <a:noFill/>
                <a:prstDash val="solid"/>
                <a:miter/>
              </a:ln>
            </p:spPr>
            <p:txBody>
              <a:bodyPr rtlCol="0" anchor="ctr"/>
              <a:lstStyle/>
              <a:p>
                <a:endParaRPr lang="en-GB" dirty="0"/>
              </a:p>
            </p:txBody>
          </p:sp>
          <p:sp>
            <p:nvSpPr>
              <p:cNvPr id="754" name="Freihandform: Form 818">
                <a:extLst>
                  <a:ext uri="{FF2B5EF4-FFF2-40B4-BE49-F238E27FC236}">
                    <a16:creationId xmlns:a16="http://schemas.microsoft.com/office/drawing/2014/main" id="{FB48F71E-7F6C-4659-895C-8A7DF2DE9204}"/>
                  </a:ext>
                </a:extLst>
              </p:cNvPr>
              <p:cNvSpPr/>
              <p:nvPr/>
            </p:nvSpPr>
            <p:spPr>
              <a:xfrm>
                <a:off x="6352009" y="1821493"/>
                <a:ext cx="265777" cy="265909"/>
              </a:xfrm>
              <a:custGeom>
                <a:avLst/>
                <a:gdLst>
                  <a:gd name="connsiteX0" fmla="*/ 117985 w 265777"/>
                  <a:gd name="connsiteY0" fmla="*/ 265909 h 265909"/>
                  <a:gd name="connsiteX1" fmla="*/ 92573 w 265777"/>
                  <a:gd name="connsiteY1" fmla="*/ 263570 h 265909"/>
                  <a:gd name="connsiteX2" fmla="*/ 88289 w 265777"/>
                  <a:gd name="connsiteY2" fmla="*/ 260837 h 265909"/>
                  <a:gd name="connsiteX3" fmla="*/ 87264 w 265777"/>
                  <a:gd name="connsiteY3" fmla="*/ 255871 h 265909"/>
                  <a:gd name="connsiteX4" fmla="*/ 89130 w 265777"/>
                  <a:gd name="connsiteY4" fmla="*/ 237029 h 265909"/>
                  <a:gd name="connsiteX5" fmla="*/ 85977 w 265777"/>
                  <a:gd name="connsiteY5" fmla="*/ 212510 h 265909"/>
                  <a:gd name="connsiteX6" fmla="*/ 81352 w 265777"/>
                  <a:gd name="connsiteY6" fmla="*/ 206965 h 265909"/>
                  <a:gd name="connsiteX7" fmla="*/ 74020 w 265777"/>
                  <a:gd name="connsiteY7" fmla="*/ 207018 h 265909"/>
                  <a:gd name="connsiteX8" fmla="*/ 47189 w 265777"/>
                  <a:gd name="connsiteY8" fmla="*/ 226044 h 265909"/>
                  <a:gd name="connsiteX9" fmla="*/ 38648 w 265777"/>
                  <a:gd name="connsiteY9" fmla="*/ 235977 h 265909"/>
                  <a:gd name="connsiteX10" fmla="*/ 34233 w 265777"/>
                  <a:gd name="connsiteY10" fmla="*/ 238500 h 265909"/>
                  <a:gd name="connsiteX11" fmla="*/ 29346 w 265777"/>
                  <a:gd name="connsiteY11" fmla="*/ 237108 h 265909"/>
                  <a:gd name="connsiteX12" fmla="*/ 16863 w 265777"/>
                  <a:gd name="connsiteY12" fmla="*/ 226044 h 265909"/>
                  <a:gd name="connsiteX13" fmla="*/ 1227 w 265777"/>
                  <a:gd name="connsiteY13" fmla="*/ 207360 h 265909"/>
                  <a:gd name="connsiteX14" fmla="*/ 2515 w 265777"/>
                  <a:gd name="connsiteY14" fmla="*/ 198399 h 265909"/>
                  <a:gd name="connsiteX15" fmla="*/ 11581 w 265777"/>
                  <a:gd name="connsiteY15" fmla="*/ 190489 h 265909"/>
                  <a:gd name="connsiteX16" fmla="*/ 33340 w 265777"/>
                  <a:gd name="connsiteY16" fmla="*/ 157114 h 265909"/>
                  <a:gd name="connsiteX17" fmla="*/ 33209 w 265777"/>
                  <a:gd name="connsiteY17" fmla="*/ 151175 h 265909"/>
                  <a:gd name="connsiteX18" fmla="*/ 36677 w 265777"/>
                  <a:gd name="connsiteY18" fmla="*/ 142608 h 265909"/>
                  <a:gd name="connsiteX19" fmla="*/ 45244 w 265777"/>
                  <a:gd name="connsiteY19" fmla="*/ 146077 h 265909"/>
                  <a:gd name="connsiteX20" fmla="*/ 45533 w 265777"/>
                  <a:gd name="connsiteY20" fmla="*/ 161844 h 265909"/>
                  <a:gd name="connsiteX21" fmla="*/ 20805 w 265777"/>
                  <a:gd name="connsiteY21" fmla="*/ 199712 h 265909"/>
                  <a:gd name="connsiteX22" fmla="*/ 15470 w 265777"/>
                  <a:gd name="connsiteY22" fmla="*/ 204653 h 265909"/>
                  <a:gd name="connsiteX23" fmla="*/ 26061 w 265777"/>
                  <a:gd name="connsiteY23" fmla="*/ 216768 h 265909"/>
                  <a:gd name="connsiteX24" fmla="*/ 32420 w 265777"/>
                  <a:gd name="connsiteY24" fmla="*/ 222680 h 265909"/>
                  <a:gd name="connsiteX25" fmla="*/ 37860 w 265777"/>
                  <a:gd name="connsiteY25" fmla="*/ 216768 h 265909"/>
                  <a:gd name="connsiteX26" fmla="*/ 68317 w 265777"/>
                  <a:gd name="connsiteY26" fmla="*/ 195192 h 265909"/>
                  <a:gd name="connsiteX27" fmla="*/ 86818 w 265777"/>
                  <a:gd name="connsiteY27" fmla="*/ 195061 h 265909"/>
                  <a:gd name="connsiteX28" fmla="*/ 98591 w 265777"/>
                  <a:gd name="connsiteY28" fmla="*/ 209173 h 265909"/>
                  <a:gd name="connsiteX29" fmla="*/ 102165 w 265777"/>
                  <a:gd name="connsiteY29" fmla="*/ 237002 h 265909"/>
                  <a:gd name="connsiteX30" fmla="*/ 101166 w 265777"/>
                  <a:gd name="connsiteY30" fmla="*/ 251640 h 265909"/>
                  <a:gd name="connsiteX31" fmla="*/ 134698 w 265777"/>
                  <a:gd name="connsiteY31" fmla="*/ 251640 h 265909"/>
                  <a:gd name="connsiteX32" fmla="*/ 133700 w 265777"/>
                  <a:gd name="connsiteY32" fmla="*/ 237002 h 265909"/>
                  <a:gd name="connsiteX33" fmla="*/ 136774 w 265777"/>
                  <a:gd name="connsiteY33" fmla="*/ 211065 h 265909"/>
                  <a:gd name="connsiteX34" fmla="*/ 148757 w 265777"/>
                  <a:gd name="connsiteY34" fmla="*/ 196585 h 265909"/>
                  <a:gd name="connsiteX35" fmla="*/ 167547 w 265777"/>
                  <a:gd name="connsiteY35" fmla="*/ 197058 h 265909"/>
                  <a:gd name="connsiteX36" fmla="*/ 194430 w 265777"/>
                  <a:gd name="connsiteY36" fmla="*/ 216794 h 265909"/>
                  <a:gd name="connsiteX37" fmla="*/ 204075 w 265777"/>
                  <a:gd name="connsiteY37" fmla="*/ 227831 h 265909"/>
                  <a:gd name="connsiteX38" fmla="*/ 216741 w 265777"/>
                  <a:gd name="connsiteY38" fmla="*/ 216794 h 265909"/>
                  <a:gd name="connsiteX39" fmla="*/ 227778 w 265777"/>
                  <a:gd name="connsiteY39" fmla="*/ 204127 h 265909"/>
                  <a:gd name="connsiteX40" fmla="*/ 216741 w 265777"/>
                  <a:gd name="connsiteY40" fmla="*/ 194483 h 265909"/>
                  <a:gd name="connsiteX41" fmla="*/ 193984 w 265777"/>
                  <a:gd name="connsiteY41" fmla="*/ 161503 h 265909"/>
                  <a:gd name="connsiteX42" fmla="*/ 193879 w 265777"/>
                  <a:gd name="connsiteY42" fmla="*/ 144973 h 265909"/>
                  <a:gd name="connsiteX43" fmla="*/ 206466 w 265777"/>
                  <a:gd name="connsiteY43" fmla="*/ 132990 h 265909"/>
                  <a:gd name="connsiteX44" fmla="*/ 244387 w 265777"/>
                  <a:gd name="connsiteY44" fmla="*/ 126315 h 265909"/>
                  <a:gd name="connsiteX45" fmla="*/ 252402 w 265777"/>
                  <a:gd name="connsiteY45" fmla="*/ 126657 h 265909"/>
                  <a:gd name="connsiteX46" fmla="*/ 252717 w 265777"/>
                  <a:gd name="connsiteY46" fmla="*/ 117958 h 265909"/>
                  <a:gd name="connsiteX47" fmla="*/ 251640 w 265777"/>
                  <a:gd name="connsiteY47" fmla="*/ 101902 h 265909"/>
                  <a:gd name="connsiteX48" fmla="*/ 244387 w 265777"/>
                  <a:gd name="connsiteY48" fmla="*/ 102191 h 265909"/>
                  <a:gd name="connsiteX49" fmla="*/ 208700 w 265777"/>
                  <a:gd name="connsiteY49" fmla="*/ 96252 h 265909"/>
                  <a:gd name="connsiteX50" fmla="*/ 195613 w 265777"/>
                  <a:gd name="connsiteY50" fmla="*/ 83901 h 265909"/>
                  <a:gd name="connsiteX51" fmla="*/ 196349 w 265777"/>
                  <a:gd name="connsiteY51" fmla="*/ 66031 h 265909"/>
                  <a:gd name="connsiteX52" fmla="*/ 216715 w 265777"/>
                  <a:gd name="connsiteY52" fmla="*/ 37886 h 265909"/>
                  <a:gd name="connsiteX53" fmla="*/ 222628 w 265777"/>
                  <a:gd name="connsiteY53" fmla="*/ 32473 h 265909"/>
                  <a:gd name="connsiteX54" fmla="*/ 216715 w 265777"/>
                  <a:gd name="connsiteY54" fmla="*/ 26113 h 265909"/>
                  <a:gd name="connsiteX55" fmla="*/ 204600 w 265777"/>
                  <a:gd name="connsiteY55" fmla="*/ 15523 h 265909"/>
                  <a:gd name="connsiteX56" fmla="*/ 199660 w 265777"/>
                  <a:gd name="connsiteY56" fmla="*/ 20857 h 265909"/>
                  <a:gd name="connsiteX57" fmla="*/ 170438 w 265777"/>
                  <a:gd name="connsiteY57" fmla="*/ 41776 h 265909"/>
                  <a:gd name="connsiteX58" fmla="*/ 152778 w 265777"/>
                  <a:gd name="connsiteY58" fmla="*/ 42485 h 265909"/>
                  <a:gd name="connsiteX59" fmla="*/ 140585 w 265777"/>
                  <a:gd name="connsiteY59" fmla="*/ 30029 h 265909"/>
                  <a:gd name="connsiteX60" fmla="*/ 144421 w 265777"/>
                  <a:gd name="connsiteY60" fmla="*/ 21620 h 265909"/>
                  <a:gd name="connsiteX61" fmla="*/ 152831 w 265777"/>
                  <a:gd name="connsiteY61" fmla="*/ 25456 h 265909"/>
                  <a:gd name="connsiteX62" fmla="*/ 157587 w 265777"/>
                  <a:gd name="connsiteY62" fmla="*/ 30318 h 265909"/>
                  <a:gd name="connsiteX63" fmla="*/ 164656 w 265777"/>
                  <a:gd name="connsiteY63" fmla="*/ 30029 h 265909"/>
                  <a:gd name="connsiteX64" fmla="*/ 190383 w 265777"/>
                  <a:gd name="connsiteY64" fmla="*/ 11607 h 265909"/>
                  <a:gd name="connsiteX65" fmla="*/ 198293 w 265777"/>
                  <a:gd name="connsiteY65" fmla="*/ 2515 h 265909"/>
                  <a:gd name="connsiteX66" fmla="*/ 207254 w 265777"/>
                  <a:gd name="connsiteY66" fmla="*/ 1227 h 265909"/>
                  <a:gd name="connsiteX67" fmla="*/ 225939 w 265777"/>
                  <a:gd name="connsiteY67" fmla="*/ 16863 h 265909"/>
                  <a:gd name="connsiteX68" fmla="*/ 237002 w 265777"/>
                  <a:gd name="connsiteY68" fmla="*/ 29346 h 265909"/>
                  <a:gd name="connsiteX69" fmla="*/ 238395 w 265777"/>
                  <a:gd name="connsiteY69" fmla="*/ 34233 h 265909"/>
                  <a:gd name="connsiteX70" fmla="*/ 235872 w 265777"/>
                  <a:gd name="connsiteY70" fmla="*/ 38648 h 265909"/>
                  <a:gd name="connsiteX71" fmla="*/ 225939 w 265777"/>
                  <a:gd name="connsiteY71" fmla="*/ 47189 h 265909"/>
                  <a:gd name="connsiteX72" fmla="*/ 207990 w 265777"/>
                  <a:gd name="connsiteY72" fmla="*/ 71996 h 265909"/>
                  <a:gd name="connsiteX73" fmla="*/ 207701 w 265777"/>
                  <a:gd name="connsiteY73" fmla="*/ 79039 h 265909"/>
                  <a:gd name="connsiteX74" fmla="*/ 212905 w 265777"/>
                  <a:gd name="connsiteY74" fmla="*/ 83927 h 265909"/>
                  <a:gd name="connsiteX75" fmla="*/ 244360 w 265777"/>
                  <a:gd name="connsiteY75" fmla="*/ 89157 h 265909"/>
                  <a:gd name="connsiteX76" fmla="*/ 256370 w 265777"/>
                  <a:gd name="connsiteY76" fmla="*/ 88342 h 265909"/>
                  <a:gd name="connsiteX77" fmla="*/ 263623 w 265777"/>
                  <a:gd name="connsiteY77" fmla="*/ 93755 h 265909"/>
                  <a:gd name="connsiteX78" fmla="*/ 265778 w 265777"/>
                  <a:gd name="connsiteY78" fmla="*/ 118011 h 265909"/>
                  <a:gd name="connsiteX79" fmla="*/ 264779 w 265777"/>
                  <a:gd name="connsiteY79" fmla="*/ 134672 h 265909"/>
                  <a:gd name="connsiteX80" fmla="*/ 262309 w 265777"/>
                  <a:gd name="connsiteY80" fmla="*/ 139113 h 265909"/>
                  <a:gd name="connsiteX81" fmla="*/ 257421 w 265777"/>
                  <a:gd name="connsiteY81" fmla="*/ 140427 h 265909"/>
                  <a:gd name="connsiteX82" fmla="*/ 244360 w 265777"/>
                  <a:gd name="connsiteY82" fmla="*/ 139455 h 265909"/>
                  <a:gd name="connsiteX83" fmla="*/ 210907 w 265777"/>
                  <a:gd name="connsiteY83" fmla="*/ 145341 h 265909"/>
                  <a:gd name="connsiteX84" fmla="*/ 205862 w 265777"/>
                  <a:gd name="connsiteY84" fmla="*/ 150124 h 265909"/>
                  <a:gd name="connsiteX85" fmla="*/ 205862 w 265777"/>
                  <a:gd name="connsiteY85" fmla="*/ 156221 h 265909"/>
                  <a:gd name="connsiteX86" fmla="*/ 225913 w 265777"/>
                  <a:gd name="connsiteY86" fmla="*/ 185312 h 265909"/>
                  <a:gd name="connsiteX87" fmla="*/ 240550 w 265777"/>
                  <a:gd name="connsiteY87" fmla="*/ 197321 h 265909"/>
                  <a:gd name="connsiteX88" fmla="*/ 243336 w 265777"/>
                  <a:gd name="connsiteY88" fmla="*/ 201552 h 265909"/>
                  <a:gd name="connsiteX89" fmla="*/ 242258 w 265777"/>
                  <a:gd name="connsiteY89" fmla="*/ 206519 h 265909"/>
                  <a:gd name="connsiteX90" fmla="*/ 225913 w 265777"/>
                  <a:gd name="connsiteY90" fmla="*/ 226149 h 265909"/>
                  <a:gd name="connsiteX91" fmla="*/ 206282 w 265777"/>
                  <a:gd name="connsiteY91" fmla="*/ 242468 h 265909"/>
                  <a:gd name="connsiteX92" fmla="*/ 201315 w 265777"/>
                  <a:gd name="connsiteY92" fmla="*/ 243546 h 265909"/>
                  <a:gd name="connsiteX93" fmla="*/ 197085 w 265777"/>
                  <a:gd name="connsiteY93" fmla="*/ 240760 h 265909"/>
                  <a:gd name="connsiteX94" fmla="*/ 185075 w 265777"/>
                  <a:gd name="connsiteY94" fmla="*/ 226123 h 265909"/>
                  <a:gd name="connsiteX95" fmla="*/ 161398 w 265777"/>
                  <a:gd name="connsiteY95" fmla="*/ 208752 h 265909"/>
                  <a:gd name="connsiteX96" fmla="*/ 154092 w 265777"/>
                  <a:gd name="connsiteY96" fmla="*/ 208568 h 265909"/>
                  <a:gd name="connsiteX97" fmla="*/ 149414 w 265777"/>
                  <a:gd name="connsiteY97" fmla="*/ 214218 h 265909"/>
                  <a:gd name="connsiteX98" fmla="*/ 146708 w 265777"/>
                  <a:gd name="connsiteY98" fmla="*/ 237108 h 265909"/>
                  <a:gd name="connsiteX99" fmla="*/ 148573 w 265777"/>
                  <a:gd name="connsiteY99" fmla="*/ 255950 h 265909"/>
                  <a:gd name="connsiteX100" fmla="*/ 147549 w 265777"/>
                  <a:gd name="connsiteY100" fmla="*/ 260916 h 265909"/>
                  <a:gd name="connsiteX101" fmla="*/ 143265 w 265777"/>
                  <a:gd name="connsiteY101" fmla="*/ 263649 h 265909"/>
                  <a:gd name="connsiteX102" fmla="*/ 117985 w 265777"/>
                  <a:gd name="connsiteY102" fmla="*/ 265909 h 2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65777" h="265909">
                    <a:moveTo>
                      <a:pt x="117985" y="265909"/>
                    </a:moveTo>
                    <a:cubicBezTo>
                      <a:pt x="109917" y="265909"/>
                      <a:pt x="101587" y="265147"/>
                      <a:pt x="92573" y="263570"/>
                    </a:cubicBezTo>
                    <a:cubicBezTo>
                      <a:pt x="90838" y="263281"/>
                      <a:pt x="89288" y="262283"/>
                      <a:pt x="88289" y="260837"/>
                    </a:cubicBezTo>
                    <a:cubicBezTo>
                      <a:pt x="87291" y="259392"/>
                      <a:pt x="86923" y="257605"/>
                      <a:pt x="87264" y="255871"/>
                    </a:cubicBezTo>
                    <a:cubicBezTo>
                      <a:pt x="88500" y="249564"/>
                      <a:pt x="89130" y="243231"/>
                      <a:pt x="89130" y="237029"/>
                    </a:cubicBezTo>
                    <a:cubicBezTo>
                      <a:pt x="89130" y="228751"/>
                      <a:pt x="88079" y="220499"/>
                      <a:pt x="85977" y="212510"/>
                    </a:cubicBezTo>
                    <a:cubicBezTo>
                      <a:pt x="85320" y="210014"/>
                      <a:pt x="83691" y="208043"/>
                      <a:pt x="81352" y="206965"/>
                    </a:cubicBezTo>
                    <a:cubicBezTo>
                      <a:pt x="79039" y="205888"/>
                      <a:pt x="76359" y="205914"/>
                      <a:pt x="74020" y="207018"/>
                    </a:cubicBezTo>
                    <a:cubicBezTo>
                      <a:pt x="64060" y="211775"/>
                      <a:pt x="55046" y="218187"/>
                      <a:pt x="47189" y="226044"/>
                    </a:cubicBezTo>
                    <a:cubicBezTo>
                      <a:pt x="44403" y="228830"/>
                      <a:pt x="41697" y="231983"/>
                      <a:pt x="38648" y="235977"/>
                    </a:cubicBezTo>
                    <a:cubicBezTo>
                      <a:pt x="37571" y="237370"/>
                      <a:pt x="35994" y="238290"/>
                      <a:pt x="34233" y="238500"/>
                    </a:cubicBezTo>
                    <a:cubicBezTo>
                      <a:pt x="32473" y="238684"/>
                      <a:pt x="30712" y="238211"/>
                      <a:pt x="29346" y="237108"/>
                    </a:cubicBezTo>
                    <a:cubicBezTo>
                      <a:pt x="24668" y="233376"/>
                      <a:pt x="20568" y="229749"/>
                      <a:pt x="16863" y="226044"/>
                    </a:cubicBezTo>
                    <a:cubicBezTo>
                      <a:pt x="11502" y="220683"/>
                      <a:pt x="6378" y="214586"/>
                      <a:pt x="1227" y="207360"/>
                    </a:cubicBezTo>
                    <a:cubicBezTo>
                      <a:pt x="-823" y="204495"/>
                      <a:pt x="-245" y="200553"/>
                      <a:pt x="2515" y="198399"/>
                    </a:cubicBezTo>
                    <a:cubicBezTo>
                      <a:pt x="6115" y="195587"/>
                      <a:pt x="9006" y="193064"/>
                      <a:pt x="11581" y="190489"/>
                    </a:cubicBezTo>
                    <a:cubicBezTo>
                      <a:pt x="21120" y="180949"/>
                      <a:pt x="28452" y="169728"/>
                      <a:pt x="33340" y="157114"/>
                    </a:cubicBezTo>
                    <a:cubicBezTo>
                      <a:pt x="34076" y="155222"/>
                      <a:pt x="34023" y="153120"/>
                      <a:pt x="33209" y="151175"/>
                    </a:cubicBezTo>
                    <a:cubicBezTo>
                      <a:pt x="31790" y="147838"/>
                      <a:pt x="33366" y="144001"/>
                      <a:pt x="36677" y="142608"/>
                    </a:cubicBezTo>
                    <a:cubicBezTo>
                      <a:pt x="40015" y="141215"/>
                      <a:pt x="43852" y="142766"/>
                      <a:pt x="45244" y="146077"/>
                    </a:cubicBezTo>
                    <a:cubicBezTo>
                      <a:pt x="47399" y="151175"/>
                      <a:pt x="47504" y="156773"/>
                      <a:pt x="45533" y="161844"/>
                    </a:cubicBezTo>
                    <a:cubicBezTo>
                      <a:pt x="39962" y="176140"/>
                      <a:pt x="31658" y="188885"/>
                      <a:pt x="20805" y="199712"/>
                    </a:cubicBezTo>
                    <a:cubicBezTo>
                      <a:pt x="19176" y="201342"/>
                      <a:pt x="17415" y="202971"/>
                      <a:pt x="15470" y="204653"/>
                    </a:cubicBezTo>
                    <a:cubicBezTo>
                      <a:pt x="18965" y="209173"/>
                      <a:pt x="22460" y="213167"/>
                      <a:pt x="26061" y="216768"/>
                    </a:cubicBezTo>
                    <a:cubicBezTo>
                      <a:pt x="28032" y="218738"/>
                      <a:pt x="30160" y="220709"/>
                      <a:pt x="32420" y="222680"/>
                    </a:cubicBezTo>
                    <a:cubicBezTo>
                      <a:pt x="34260" y="220525"/>
                      <a:pt x="36020" y="218581"/>
                      <a:pt x="37860" y="216768"/>
                    </a:cubicBezTo>
                    <a:cubicBezTo>
                      <a:pt x="46769" y="207859"/>
                      <a:pt x="57017" y="200580"/>
                      <a:pt x="68317" y="195192"/>
                    </a:cubicBezTo>
                    <a:cubicBezTo>
                      <a:pt x="74178" y="192381"/>
                      <a:pt x="80931" y="192328"/>
                      <a:pt x="86818" y="195061"/>
                    </a:cubicBezTo>
                    <a:cubicBezTo>
                      <a:pt x="92678" y="197768"/>
                      <a:pt x="96961" y="202919"/>
                      <a:pt x="98591" y="209173"/>
                    </a:cubicBezTo>
                    <a:cubicBezTo>
                      <a:pt x="100956" y="218239"/>
                      <a:pt x="102165" y="227595"/>
                      <a:pt x="102165" y="237002"/>
                    </a:cubicBezTo>
                    <a:cubicBezTo>
                      <a:pt x="102165" y="241838"/>
                      <a:pt x="101823" y="246726"/>
                      <a:pt x="101166" y="251640"/>
                    </a:cubicBezTo>
                    <a:cubicBezTo>
                      <a:pt x="112860" y="253190"/>
                      <a:pt x="123004" y="253190"/>
                      <a:pt x="134698" y="251640"/>
                    </a:cubicBezTo>
                    <a:cubicBezTo>
                      <a:pt x="134041" y="246726"/>
                      <a:pt x="133700" y="241838"/>
                      <a:pt x="133700" y="237002"/>
                    </a:cubicBezTo>
                    <a:cubicBezTo>
                      <a:pt x="133700" y="228251"/>
                      <a:pt x="134724" y="219501"/>
                      <a:pt x="136774" y="211065"/>
                    </a:cubicBezTo>
                    <a:cubicBezTo>
                      <a:pt x="138325" y="204627"/>
                      <a:pt x="142687" y="199345"/>
                      <a:pt x="148757" y="196585"/>
                    </a:cubicBezTo>
                    <a:cubicBezTo>
                      <a:pt x="154828" y="193826"/>
                      <a:pt x="161660" y="194010"/>
                      <a:pt x="167547" y="197058"/>
                    </a:cubicBezTo>
                    <a:cubicBezTo>
                      <a:pt x="177480" y="202235"/>
                      <a:pt x="186520" y="208858"/>
                      <a:pt x="194430" y="216794"/>
                    </a:cubicBezTo>
                    <a:cubicBezTo>
                      <a:pt x="197847" y="220210"/>
                      <a:pt x="201079" y="223915"/>
                      <a:pt x="204075" y="227831"/>
                    </a:cubicBezTo>
                    <a:cubicBezTo>
                      <a:pt x="208752" y="224231"/>
                      <a:pt x="212931" y="220604"/>
                      <a:pt x="216741" y="216794"/>
                    </a:cubicBezTo>
                    <a:cubicBezTo>
                      <a:pt x="220552" y="212983"/>
                      <a:pt x="224204" y="208805"/>
                      <a:pt x="227778" y="204127"/>
                    </a:cubicBezTo>
                    <a:cubicBezTo>
                      <a:pt x="223837" y="201132"/>
                      <a:pt x="220158" y="197899"/>
                      <a:pt x="216741" y="194483"/>
                    </a:cubicBezTo>
                    <a:cubicBezTo>
                      <a:pt x="207149" y="184891"/>
                      <a:pt x="199502" y="173801"/>
                      <a:pt x="193984" y="161503"/>
                    </a:cubicBezTo>
                    <a:cubicBezTo>
                      <a:pt x="191618" y="156247"/>
                      <a:pt x="191592" y="150360"/>
                      <a:pt x="193879" y="144973"/>
                    </a:cubicBezTo>
                    <a:cubicBezTo>
                      <a:pt x="196217" y="139428"/>
                      <a:pt x="200816" y="135066"/>
                      <a:pt x="206466" y="132990"/>
                    </a:cubicBezTo>
                    <a:cubicBezTo>
                      <a:pt x="218607" y="128549"/>
                      <a:pt x="231379" y="126315"/>
                      <a:pt x="244387" y="126315"/>
                    </a:cubicBezTo>
                    <a:cubicBezTo>
                      <a:pt x="246962" y="126315"/>
                      <a:pt x="249590" y="126420"/>
                      <a:pt x="252402" y="126657"/>
                    </a:cubicBezTo>
                    <a:cubicBezTo>
                      <a:pt x="252612" y="123635"/>
                      <a:pt x="252717" y="120770"/>
                      <a:pt x="252717" y="117958"/>
                    </a:cubicBezTo>
                    <a:cubicBezTo>
                      <a:pt x="252717" y="112860"/>
                      <a:pt x="252376" y="107578"/>
                      <a:pt x="251640" y="101902"/>
                    </a:cubicBezTo>
                    <a:cubicBezTo>
                      <a:pt x="249091" y="102086"/>
                      <a:pt x="246699" y="102191"/>
                      <a:pt x="244387" y="102191"/>
                    </a:cubicBezTo>
                    <a:cubicBezTo>
                      <a:pt x="232193" y="102191"/>
                      <a:pt x="220184" y="100194"/>
                      <a:pt x="208700" y="96252"/>
                    </a:cubicBezTo>
                    <a:cubicBezTo>
                      <a:pt x="202735" y="94202"/>
                      <a:pt x="197978" y="89708"/>
                      <a:pt x="195613" y="83901"/>
                    </a:cubicBezTo>
                    <a:cubicBezTo>
                      <a:pt x="193274" y="78119"/>
                      <a:pt x="193537" y="71602"/>
                      <a:pt x="196349" y="66031"/>
                    </a:cubicBezTo>
                    <a:cubicBezTo>
                      <a:pt x="201604" y="55598"/>
                      <a:pt x="208463" y="46138"/>
                      <a:pt x="216715" y="37886"/>
                    </a:cubicBezTo>
                    <a:cubicBezTo>
                      <a:pt x="218528" y="36073"/>
                      <a:pt x="220473" y="34286"/>
                      <a:pt x="222628" y="32473"/>
                    </a:cubicBezTo>
                    <a:cubicBezTo>
                      <a:pt x="220657" y="30186"/>
                      <a:pt x="218686" y="28084"/>
                      <a:pt x="216715" y="26113"/>
                    </a:cubicBezTo>
                    <a:cubicBezTo>
                      <a:pt x="213115" y="22513"/>
                      <a:pt x="209120" y="19018"/>
                      <a:pt x="204600" y="15523"/>
                    </a:cubicBezTo>
                    <a:cubicBezTo>
                      <a:pt x="202945" y="17441"/>
                      <a:pt x="201315" y="19202"/>
                      <a:pt x="199660" y="20857"/>
                    </a:cubicBezTo>
                    <a:cubicBezTo>
                      <a:pt x="191119" y="29398"/>
                      <a:pt x="181291" y="36441"/>
                      <a:pt x="170438" y="41776"/>
                    </a:cubicBezTo>
                    <a:cubicBezTo>
                      <a:pt x="164919" y="44482"/>
                      <a:pt x="158454" y="44745"/>
                      <a:pt x="152778" y="42485"/>
                    </a:cubicBezTo>
                    <a:cubicBezTo>
                      <a:pt x="147154" y="40251"/>
                      <a:pt x="142713" y="35705"/>
                      <a:pt x="140585" y="30029"/>
                    </a:cubicBezTo>
                    <a:cubicBezTo>
                      <a:pt x="139323" y="26639"/>
                      <a:pt x="141058" y="22881"/>
                      <a:pt x="144421" y="21620"/>
                    </a:cubicBezTo>
                    <a:cubicBezTo>
                      <a:pt x="147811" y="20332"/>
                      <a:pt x="151569" y="22066"/>
                      <a:pt x="152831" y="25456"/>
                    </a:cubicBezTo>
                    <a:cubicBezTo>
                      <a:pt x="153672" y="27716"/>
                      <a:pt x="155353" y="29451"/>
                      <a:pt x="157587" y="30318"/>
                    </a:cubicBezTo>
                    <a:cubicBezTo>
                      <a:pt x="159900" y="31238"/>
                      <a:pt x="162396" y="31133"/>
                      <a:pt x="164656" y="30029"/>
                    </a:cubicBezTo>
                    <a:cubicBezTo>
                      <a:pt x="174196" y="25325"/>
                      <a:pt x="182868" y="19123"/>
                      <a:pt x="190383" y="11607"/>
                    </a:cubicBezTo>
                    <a:cubicBezTo>
                      <a:pt x="192959" y="9032"/>
                      <a:pt x="195482" y="6141"/>
                      <a:pt x="198293" y="2515"/>
                    </a:cubicBezTo>
                    <a:cubicBezTo>
                      <a:pt x="200448" y="-245"/>
                      <a:pt x="204416" y="-823"/>
                      <a:pt x="207254" y="1227"/>
                    </a:cubicBezTo>
                    <a:cubicBezTo>
                      <a:pt x="214455" y="6378"/>
                      <a:pt x="220578" y="11502"/>
                      <a:pt x="225939" y="16863"/>
                    </a:cubicBezTo>
                    <a:cubicBezTo>
                      <a:pt x="229644" y="20568"/>
                      <a:pt x="233271" y="24642"/>
                      <a:pt x="237002" y="29346"/>
                    </a:cubicBezTo>
                    <a:cubicBezTo>
                      <a:pt x="238106" y="30712"/>
                      <a:pt x="238605" y="32473"/>
                      <a:pt x="238395" y="34233"/>
                    </a:cubicBezTo>
                    <a:cubicBezTo>
                      <a:pt x="238185" y="35994"/>
                      <a:pt x="237265" y="37571"/>
                      <a:pt x="235872" y="38648"/>
                    </a:cubicBezTo>
                    <a:cubicBezTo>
                      <a:pt x="231878" y="41697"/>
                      <a:pt x="228724" y="44403"/>
                      <a:pt x="225939" y="47189"/>
                    </a:cubicBezTo>
                    <a:cubicBezTo>
                      <a:pt x="218660" y="54468"/>
                      <a:pt x="212642" y="62799"/>
                      <a:pt x="207990" y="71996"/>
                    </a:cubicBezTo>
                    <a:cubicBezTo>
                      <a:pt x="206860" y="74230"/>
                      <a:pt x="206755" y="76727"/>
                      <a:pt x="207701" y="79039"/>
                    </a:cubicBezTo>
                    <a:cubicBezTo>
                      <a:pt x="208647" y="81378"/>
                      <a:pt x="210487" y="83112"/>
                      <a:pt x="212905" y="83927"/>
                    </a:cubicBezTo>
                    <a:cubicBezTo>
                      <a:pt x="223022" y="87396"/>
                      <a:pt x="233612" y="89157"/>
                      <a:pt x="244360" y="89157"/>
                    </a:cubicBezTo>
                    <a:cubicBezTo>
                      <a:pt x="248040" y="89157"/>
                      <a:pt x="251850" y="88894"/>
                      <a:pt x="256370" y="88342"/>
                    </a:cubicBezTo>
                    <a:cubicBezTo>
                      <a:pt x="259865" y="87922"/>
                      <a:pt x="263045" y="90313"/>
                      <a:pt x="263623" y="93755"/>
                    </a:cubicBezTo>
                    <a:cubicBezTo>
                      <a:pt x="265068" y="102506"/>
                      <a:pt x="265778" y="110443"/>
                      <a:pt x="265778" y="118011"/>
                    </a:cubicBezTo>
                    <a:cubicBezTo>
                      <a:pt x="265778" y="123241"/>
                      <a:pt x="265463" y="128707"/>
                      <a:pt x="264779" y="134672"/>
                    </a:cubicBezTo>
                    <a:cubicBezTo>
                      <a:pt x="264595" y="136406"/>
                      <a:pt x="263702" y="138009"/>
                      <a:pt x="262309" y="139113"/>
                    </a:cubicBezTo>
                    <a:cubicBezTo>
                      <a:pt x="260916" y="140190"/>
                      <a:pt x="259156" y="140663"/>
                      <a:pt x="257421" y="140427"/>
                    </a:cubicBezTo>
                    <a:cubicBezTo>
                      <a:pt x="252454" y="139744"/>
                      <a:pt x="248302" y="139455"/>
                      <a:pt x="244360" y="139455"/>
                    </a:cubicBezTo>
                    <a:cubicBezTo>
                      <a:pt x="232877" y="139455"/>
                      <a:pt x="221629" y="141426"/>
                      <a:pt x="210907" y="145341"/>
                    </a:cubicBezTo>
                    <a:cubicBezTo>
                      <a:pt x="208647" y="146156"/>
                      <a:pt x="206808" y="147917"/>
                      <a:pt x="205862" y="150124"/>
                    </a:cubicBezTo>
                    <a:cubicBezTo>
                      <a:pt x="205021" y="152147"/>
                      <a:pt x="205021" y="154302"/>
                      <a:pt x="205862" y="156221"/>
                    </a:cubicBezTo>
                    <a:cubicBezTo>
                      <a:pt x="210697" y="167048"/>
                      <a:pt x="217451" y="176850"/>
                      <a:pt x="225913" y="185312"/>
                    </a:cubicBezTo>
                    <a:cubicBezTo>
                      <a:pt x="230301" y="189700"/>
                      <a:pt x="235215" y="193721"/>
                      <a:pt x="240550" y="197321"/>
                    </a:cubicBezTo>
                    <a:cubicBezTo>
                      <a:pt x="242022" y="198293"/>
                      <a:pt x="243020" y="199844"/>
                      <a:pt x="243336" y="201552"/>
                    </a:cubicBezTo>
                    <a:cubicBezTo>
                      <a:pt x="243651" y="203286"/>
                      <a:pt x="243257" y="205073"/>
                      <a:pt x="242258" y="206519"/>
                    </a:cubicBezTo>
                    <a:cubicBezTo>
                      <a:pt x="236976" y="214035"/>
                      <a:pt x="231642" y="220447"/>
                      <a:pt x="225913" y="226149"/>
                    </a:cubicBezTo>
                    <a:cubicBezTo>
                      <a:pt x="220210" y="231852"/>
                      <a:pt x="213772" y="237213"/>
                      <a:pt x="206282" y="242468"/>
                    </a:cubicBezTo>
                    <a:cubicBezTo>
                      <a:pt x="204837" y="243467"/>
                      <a:pt x="203050" y="243861"/>
                      <a:pt x="201315" y="243546"/>
                    </a:cubicBezTo>
                    <a:cubicBezTo>
                      <a:pt x="199581" y="243231"/>
                      <a:pt x="198057" y="242232"/>
                      <a:pt x="197085" y="240760"/>
                    </a:cubicBezTo>
                    <a:cubicBezTo>
                      <a:pt x="193511" y="235426"/>
                      <a:pt x="189464" y="230511"/>
                      <a:pt x="185075" y="226123"/>
                    </a:cubicBezTo>
                    <a:cubicBezTo>
                      <a:pt x="178111" y="219159"/>
                      <a:pt x="170122" y="213299"/>
                      <a:pt x="161398" y="208752"/>
                    </a:cubicBezTo>
                    <a:cubicBezTo>
                      <a:pt x="159111" y="207570"/>
                      <a:pt x="156457" y="207491"/>
                      <a:pt x="154092" y="208568"/>
                    </a:cubicBezTo>
                    <a:cubicBezTo>
                      <a:pt x="151727" y="209646"/>
                      <a:pt x="150019" y="211696"/>
                      <a:pt x="149414" y="214218"/>
                    </a:cubicBezTo>
                    <a:cubicBezTo>
                      <a:pt x="147627" y="221682"/>
                      <a:pt x="146708" y="229381"/>
                      <a:pt x="146708" y="237108"/>
                    </a:cubicBezTo>
                    <a:cubicBezTo>
                      <a:pt x="146708" y="243309"/>
                      <a:pt x="147338" y="249643"/>
                      <a:pt x="148573" y="255950"/>
                    </a:cubicBezTo>
                    <a:cubicBezTo>
                      <a:pt x="148915" y="257684"/>
                      <a:pt x="148547" y="259471"/>
                      <a:pt x="147549" y="260916"/>
                    </a:cubicBezTo>
                    <a:cubicBezTo>
                      <a:pt x="146550" y="262362"/>
                      <a:pt x="145000" y="263360"/>
                      <a:pt x="143265" y="263649"/>
                    </a:cubicBezTo>
                    <a:cubicBezTo>
                      <a:pt x="134383" y="265147"/>
                      <a:pt x="126052" y="265909"/>
                      <a:pt x="117985" y="265909"/>
                    </a:cubicBezTo>
                    <a:close/>
                  </a:path>
                </a:pathLst>
              </a:custGeom>
              <a:grpFill/>
              <a:ln w="2624" cap="flat">
                <a:noFill/>
                <a:prstDash val="solid"/>
                <a:miter/>
              </a:ln>
            </p:spPr>
            <p:txBody>
              <a:bodyPr rtlCol="0" anchor="ctr"/>
              <a:lstStyle/>
              <a:p>
                <a:endParaRPr lang="en-GB" dirty="0"/>
              </a:p>
            </p:txBody>
          </p:sp>
        </p:grpSp>
        <p:grpSp>
          <p:nvGrpSpPr>
            <p:cNvPr id="747" name="Grafik 16">
              <a:extLst>
                <a:ext uri="{FF2B5EF4-FFF2-40B4-BE49-F238E27FC236}">
                  <a16:creationId xmlns:a16="http://schemas.microsoft.com/office/drawing/2014/main" id="{BCFA1DF9-89CE-44F6-A5AF-05599F0841E8}"/>
                </a:ext>
              </a:extLst>
            </p:cNvPr>
            <p:cNvGrpSpPr/>
            <p:nvPr/>
          </p:nvGrpSpPr>
          <p:grpSpPr>
            <a:xfrm>
              <a:off x="8099175" y="4167459"/>
              <a:ext cx="201999" cy="267152"/>
              <a:chOff x="6133885" y="1821493"/>
              <a:chExt cx="201059" cy="265909"/>
            </a:xfrm>
            <a:solidFill>
              <a:schemeClr val="tx2"/>
            </a:solidFill>
          </p:grpSpPr>
          <p:sp>
            <p:nvSpPr>
              <p:cNvPr id="751" name="Freihandform: Form 820">
                <a:extLst>
                  <a:ext uri="{FF2B5EF4-FFF2-40B4-BE49-F238E27FC236}">
                    <a16:creationId xmlns:a16="http://schemas.microsoft.com/office/drawing/2014/main" id="{1F738926-B0C0-48B4-92CF-6A44002395A0}"/>
                  </a:ext>
                </a:extLst>
              </p:cNvPr>
              <p:cNvSpPr/>
              <p:nvPr/>
            </p:nvSpPr>
            <p:spPr>
              <a:xfrm>
                <a:off x="6236005" y="1904730"/>
                <a:ext cx="91635" cy="80552"/>
              </a:xfrm>
              <a:custGeom>
                <a:avLst/>
                <a:gdLst>
                  <a:gd name="connsiteX0" fmla="*/ 45831 w 91635"/>
                  <a:gd name="connsiteY0" fmla="*/ 80553 h 80552"/>
                  <a:gd name="connsiteX1" fmla="*/ 0 w 91635"/>
                  <a:gd name="connsiteY1" fmla="*/ 34722 h 80552"/>
                  <a:gd name="connsiteX2" fmla="*/ 13902 w 91635"/>
                  <a:gd name="connsiteY2" fmla="*/ 1847 h 80552"/>
                  <a:gd name="connsiteX3" fmla="*/ 23152 w 91635"/>
                  <a:gd name="connsiteY3" fmla="*/ 1978 h 80552"/>
                  <a:gd name="connsiteX4" fmla="*/ 23020 w 91635"/>
                  <a:gd name="connsiteY4" fmla="*/ 11229 h 80552"/>
                  <a:gd name="connsiteX5" fmla="*/ 13087 w 91635"/>
                  <a:gd name="connsiteY5" fmla="*/ 34696 h 80552"/>
                  <a:gd name="connsiteX6" fmla="*/ 45804 w 91635"/>
                  <a:gd name="connsiteY6" fmla="*/ 67413 h 80552"/>
                  <a:gd name="connsiteX7" fmla="*/ 78548 w 91635"/>
                  <a:gd name="connsiteY7" fmla="*/ 34696 h 80552"/>
                  <a:gd name="connsiteX8" fmla="*/ 75684 w 91635"/>
                  <a:gd name="connsiteY8" fmla="*/ 21267 h 80552"/>
                  <a:gd name="connsiteX9" fmla="*/ 78968 w 91635"/>
                  <a:gd name="connsiteY9" fmla="*/ 12621 h 80552"/>
                  <a:gd name="connsiteX10" fmla="*/ 87614 w 91635"/>
                  <a:gd name="connsiteY10" fmla="*/ 15906 h 80552"/>
                  <a:gd name="connsiteX11" fmla="*/ 91635 w 91635"/>
                  <a:gd name="connsiteY11" fmla="*/ 34722 h 80552"/>
                  <a:gd name="connsiteX12" fmla="*/ 45831 w 91635"/>
                  <a:gd name="connsiteY12" fmla="*/ 80553 h 80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635" h="80552">
                    <a:moveTo>
                      <a:pt x="45831" y="80553"/>
                    </a:moveTo>
                    <a:cubicBezTo>
                      <a:pt x="20577" y="80553"/>
                      <a:pt x="0" y="60002"/>
                      <a:pt x="0" y="34722"/>
                    </a:cubicBezTo>
                    <a:cubicBezTo>
                      <a:pt x="0" y="22239"/>
                      <a:pt x="4940" y="10572"/>
                      <a:pt x="13902" y="1847"/>
                    </a:cubicBezTo>
                    <a:cubicBezTo>
                      <a:pt x="16503" y="-676"/>
                      <a:pt x="20629" y="-597"/>
                      <a:pt x="23152" y="1978"/>
                    </a:cubicBezTo>
                    <a:cubicBezTo>
                      <a:pt x="25675" y="4580"/>
                      <a:pt x="25622" y="8706"/>
                      <a:pt x="23020" y="11229"/>
                    </a:cubicBezTo>
                    <a:cubicBezTo>
                      <a:pt x="16635" y="17457"/>
                      <a:pt x="13087" y="25787"/>
                      <a:pt x="13087" y="34696"/>
                    </a:cubicBezTo>
                    <a:cubicBezTo>
                      <a:pt x="13087" y="52749"/>
                      <a:pt x="27777" y="67413"/>
                      <a:pt x="45804" y="67413"/>
                    </a:cubicBezTo>
                    <a:cubicBezTo>
                      <a:pt x="63858" y="67413"/>
                      <a:pt x="78548" y="52723"/>
                      <a:pt x="78548" y="34696"/>
                    </a:cubicBezTo>
                    <a:cubicBezTo>
                      <a:pt x="78548" y="30018"/>
                      <a:pt x="77576" y="25498"/>
                      <a:pt x="75684" y="21267"/>
                    </a:cubicBezTo>
                    <a:cubicBezTo>
                      <a:pt x="74186" y="17982"/>
                      <a:pt x="75657" y="14093"/>
                      <a:pt x="78968" y="12621"/>
                    </a:cubicBezTo>
                    <a:cubicBezTo>
                      <a:pt x="82253" y="11150"/>
                      <a:pt x="86143" y="12595"/>
                      <a:pt x="87614" y="15906"/>
                    </a:cubicBezTo>
                    <a:cubicBezTo>
                      <a:pt x="90295" y="21845"/>
                      <a:pt x="91635" y="28178"/>
                      <a:pt x="91635" y="34722"/>
                    </a:cubicBezTo>
                    <a:cubicBezTo>
                      <a:pt x="91661" y="60002"/>
                      <a:pt x="71111" y="80553"/>
                      <a:pt x="45831" y="80553"/>
                    </a:cubicBezTo>
                    <a:close/>
                  </a:path>
                </a:pathLst>
              </a:custGeom>
              <a:grpFill/>
              <a:ln w="2624" cap="flat">
                <a:noFill/>
                <a:prstDash val="solid"/>
                <a:miter/>
              </a:ln>
            </p:spPr>
            <p:txBody>
              <a:bodyPr rtlCol="0" anchor="ctr"/>
              <a:lstStyle/>
              <a:p>
                <a:endParaRPr lang="en-GB" dirty="0"/>
              </a:p>
            </p:txBody>
          </p:sp>
          <p:sp>
            <p:nvSpPr>
              <p:cNvPr id="752" name="Freihandform: Form 821">
                <a:extLst>
                  <a:ext uri="{FF2B5EF4-FFF2-40B4-BE49-F238E27FC236}">
                    <a16:creationId xmlns:a16="http://schemas.microsoft.com/office/drawing/2014/main" id="{591C9A7A-169B-48ED-90B6-97FEC89321A9}"/>
                  </a:ext>
                </a:extLst>
              </p:cNvPr>
              <p:cNvSpPr/>
              <p:nvPr/>
            </p:nvSpPr>
            <p:spPr>
              <a:xfrm>
                <a:off x="6133885" y="1821493"/>
                <a:ext cx="201059" cy="265909"/>
              </a:xfrm>
              <a:custGeom>
                <a:avLst/>
                <a:gdLst>
                  <a:gd name="connsiteX0" fmla="*/ 147951 w 201059"/>
                  <a:gd name="connsiteY0" fmla="*/ 265909 h 265909"/>
                  <a:gd name="connsiteX1" fmla="*/ 122539 w 201059"/>
                  <a:gd name="connsiteY1" fmla="*/ 263570 h 265909"/>
                  <a:gd name="connsiteX2" fmla="*/ 118256 w 201059"/>
                  <a:gd name="connsiteY2" fmla="*/ 260837 h 265909"/>
                  <a:gd name="connsiteX3" fmla="*/ 117231 w 201059"/>
                  <a:gd name="connsiteY3" fmla="*/ 255871 h 265909"/>
                  <a:gd name="connsiteX4" fmla="*/ 119097 w 201059"/>
                  <a:gd name="connsiteY4" fmla="*/ 237029 h 265909"/>
                  <a:gd name="connsiteX5" fmla="*/ 115943 w 201059"/>
                  <a:gd name="connsiteY5" fmla="*/ 212510 h 265909"/>
                  <a:gd name="connsiteX6" fmla="*/ 111318 w 201059"/>
                  <a:gd name="connsiteY6" fmla="*/ 206965 h 265909"/>
                  <a:gd name="connsiteX7" fmla="*/ 103986 w 201059"/>
                  <a:gd name="connsiteY7" fmla="*/ 207018 h 265909"/>
                  <a:gd name="connsiteX8" fmla="*/ 77129 w 201059"/>
                  <a:gd name="connsiteY8" fmla="*/ 226044 h 265909"/>
                  <a:gd name="connsiteX9" fmla="*/ 68588 w 201059"/>
                  <a:gd name="connsiteY9" fmla="*/ 235977 h 265909"/>
                  <a:gd name="connsiteX10" fmla="*/ 64173 w 201059"/>
                  <a:gd name="connsiteY10" fmla="*/ 238500 h 265909"/>
                  <a:gd name="connsiteX11" fmla="*/ 59285 w 201059"/>
                  <a:gd name="connsiteY11" fmla="*/ 237108 h 265909"/>
                  <a:gd name="connsiteX12" fmla="*/ 46803 w 201059"/>
                  <a:gd name="connsiteY12" fmla="*/ 226044 h 265909"/>
                  <a:gd name="connsiteX13" fmla="*/ 31167 w 201059"/>
                  <a:gd name="connsiteY13" fmla="*/ 207360 h 265909"/>
                  <a:gd name="connsiteX14" fmla="*/ 32455 w 201059"/>
                  <a:gd name="connsiteY14" fmla="*/ 198399 h 265909"/>
                  <a:gd name="connsiteX15" fmla="*/ 41547 w 201059"/>
                  <a:gd name="connsiteY15" fmla="*/ 190489 h 265909"/>
                  <a:gd name="connsiteX16" fmla="*/ 63306 w 201059"/>
                  <a:gd name="connsiteY16" fmla="*/ 157114 h 265909"/>
                  <a:gd name="connsiteX17" fmla="*/ 59023 w 201059"/>
                  <a:gd name="connsiteY17" fmla="*/ 146997 h 265909"/>
                  <a:gd name="connsiteX18" fmla="*/ 21417 w 201059"/>
                  <a:gd name="connsiteY18" fmla="*/ 139402 h 265909"/>
                  <a:gd name="connsiteX19" fmla="*/ 8357 w 201059"/>
                  <a:gd name="connsiteY19" fmla="*/ 140374 h 265909"/>
                  <a:gd name="connsiteX20" fmla="*/ 3469 w 201059"/>
                  <a:gd name="connsiteY20" fmla="*/ 139060 h 265909"/>
                  <a:gd name="connsiteX21" fmla="*/ 999 w 201059"/>
                  <a:gd name="connsiteY21" fmla="*/ 134619 h 265909"/>
                  <a:gd name="connsiteX22" fmla="*/ 0 w 201059"/>
                  <a:gd name="connsiteY22" fmla="*/ 117958 h 265909"/>
                  <a:gd name="connsiteX23" fmla="*/ 2155 w 201059"/>
                  <a:gd name="connsiteY23" fmla="*/ 93703 h 265909"/>
                  <a:gd name="connsiteX24" fmla="*/ 9408 w 201059"/>
                  <a:gd name="connsiteY24" fmla="*/ 88289 h 265909"/>
                  <a:gd name="connsiteX25" fmla="*/ 21417 w 201059"/>
                  <a:gd name="connsiteY25" fmla="*/ 89104 h 265909"/>
                  <a:gd name="connsiteX26" fmla="*/ 51954 w 201059"/>
                  <a:gd name="connsiteY26" fmla="*/ 84190 h 265909"/>
                  <a:gd name="connsiteX27" fmla="*/ 57209 w 201059"/>
                  <a:gd name="connsiteY27" fmla="*/ 79144 h 265909"/>
                  <a:gd name="connsiteX28" fmla="*/ 56579 w 201059"/>
                  <a:gd name="connsiteY28" fmla="*/ 71865 h 265909"/>
                  <a:gd name="connsiteX29" fmla="*/ 41547 w 201059"/>
                  <a:gd name="connsiteY29" fmla="*/ 52419 h 265909"/>
                  <a:gd name="connsiteX30" fmla="*/ 32455 w 201059"/>
                  <a:gd name="connsiteY30" fmla="*/ 44509 h 265909"/>
                  <a:gd name="connsiteX31" fmla="*/ 31167 w 201059"/>
                  <a:gd name="connsiteY31" fmla="*/ 35547 h 265909"/>
                  <a:gd name="connsiteX32" fmla="*/ 46803 w 201059"/>
                  <a:gd name="connsiteY32" fmla="*/ 16863 h 265909"/>
                  <a:gd name="connsiteX33" fmla="*/ 65487 w 201059"/>
                  <a:gd name="connsiteY33" fmla="*/ 1227 h 265909"/>
                  <a:gd name="connsiteX34" fmla="*/ 74448 w 201059"/>
                  <a:gd name="connsiteY34" fmla="*/ 2515 h 265909"/>
                  <a:gd name="connsiteX35" fmla="*/ 82358 w 201059"/>
                  <a:gd name="connsiteY35" fmla="*/ 11581 h 265909"/>
                  <a:gd name="connsiteX36" fmla="*/ 101805 w 201059"/>
                  <a:gd name="connsiteY36" fmla="*/ 26613 h 265909"/>
                  <a:gd name="connsiteX37" fmla="*/ 109084 w 201059"/>
                  <a:gd name="connsiteY37" fmla="*/ 27243 h 265909"/>
                  <a:gd name="connsiteX38" fmla="*/ 114130 w 201059"/>
                  <a:gd name="connsiteY38" fmla="*/ 21987 h 265909"/>
                  <a:gd name="connsiteX39" fmla="*/ 122408 w 201059"/>
                  <a:gd name="connsiteY39" fmla="*/ 17835 h 265909"/>
                  <a:gd name="connsiteX40" fmla="*/ 126560 w 201059"/>
                  <a:gd name="connsiteY40" fmla="*/ 26113 h 265909"/>
                  <a:gd name="connsiteX41" fmla="*/ 113683 w 201059"/>
                  <a:gd name="connsiteY41" fmla="*/ 39489 h 265909"/>
                  <a:gd name="connsiteX42" fmla="*/ 95156 w 201059"/>
                  <a:gd name="connsiteY42" fmla="*/ 37886 h 265909"/>
                  <a:gd name="connsiteX43" fmla="*/ 73108 w 201059"/>
                  <a:gd name="connsiteY43" fmla="*/ 20831 h 265909"/>
                  <a:gd name="connsiteX44" fmla="*/ 68168 w 201059"/>
                  <a:gd name="connsiteY44" fmla="*/ 15497 h 265909"/>
                  <a:gd name="connsiteX45" fmla="*/ 56053 w 201059"/>
                  <a:gd name="connsiteY45" fmla="*/ 26087 h 265909"/>
                  <a:gd name="connsiteX46" fmla="*/ 45463 w 201059"/>
                  <a:gd name="connsiteY46" fmla="*/ 38202 h 265909"/>
                  <a:gd name="connsiteX47" fmla="*/ 50797 w 201059"/>
                  <a:gd name="connsiteY47" fmla="*/ 43142 h 265909"/>
                  <a:gd name="connsiteX48" fmla="*/ 67852 w 201059"/>
                  <a:gd name="connsiteY48" fmla="*/ 65190 h 265909"/>
                  <a:gd name="connsiteX49" fmla="*/ 69455 w 201059"/>
                  <a:gd name="connsiteY49" fmla="*/ 83717 h 265909"/>
                  <a:gd name="connsiteX50" fmla="*/ 56079 w 201059"/>
                  <a:gd name="connsiteY50" fmla="*/ 96594 h 265909"/>
                  <a:gd name="connsiteX51" fmla="*/ 21417 w 201059"/>
                  <a:gd name="connsiteY51" fmla="*/ 102165 h 265909"/>
                  <a:gd name="connsiteX52" fmla="*/ 14164 w 201059"/>
                  <a:gd name="connsiteY52" fmla="*/ 101876 h 265909"/>
                  <a:gd name="connsiteX53" fmla="*/ 13087 w 201059"/>
                  <a:gd name="connsiteY53" fmla="*/ 117932 h 265909"/>
                  <a:gd name="connsiteX54" fmla="*/ 13402 w 201059"/>
                  <a:gd name="connsiteY54" fmla="*/ 126631 h 265909"/>
                  <a:gd name="connsiteX55" fmla="*/ 21417 w 201059"/>
                  <a:gd name="connsiteY55" fmla="*/ 126289 h 265909"/>
                  <a:gd name="connsiteX56" fmla="*/ 64121 w 201059"/>
                  <a:gd name="connsiteY56" fmla="*/ 134908 h 265909"/>
                  <a:gd name="connsiteX57" fmla="*/ 75526 w 201059"/>
                  <a:gd name="connsiteY57" fmla="*/ 161844 h 265909"/>
                  <a:gd name="connsiteX58" fmla="*/ 50824 w 201059"/>
                  <a:gd name="connsiteY58" fmla="*/ 199712 h 265909"/>
                  <a:gd name="connsiteX59" fmla="*/ 45489 w 201059"/>
                  <a:gd name="connsiteY59" fmla="*/ 204653 h 265909"/>
                  <a:gd name="connsiteX60" fmla="*/ 56079 w 201059"/>
                  <a:gd name="connsiteY60" fmla="*/ 216768 h 265909"/>
                  <a:gd name="connsiteX61" fmla="*/ 62439 w 201059"/>
                  <a:gd name="connsiteY61" fmla="*/ 222680 h 265909"/>
                  <a:gd name="connsiteX62" fmla="*/ 67852 w 201059"/>
                  <a:gd name="connsiteY62" fmla="*/ 216768 h 265909"/>
                  <a:gd name="connsiteX63" fmla="*/ 98310 w 201059"/>
                  <a:gd name="connsiteY63" fmla="*/ 195192 h 265909"/>
                  <a:gd name="connsiteX64" fmla="*/ 116810 w 201059"/>
                  <a:gd name="connsiteY64" fmla="*/ 195061 h 265909"/>
                  <a:gd name="connsiteX65" fmla="*/ 128583 w 201059"/>
                  <a:gd name="connsiteY65" fmla="*/ 209173 h 265909"/>
                  <a:gd name="connsiteX66" fmla="*/ 132157 w 201059"/>
                  <a:gd name="connsiteY66" fmla="*/ 237002 h 265909"/>
                  <a:gd name="connsiteX67" fmla="*/ 131159 w 201059"/>
                  <a:gd name="connsiteY67" fmla="*/ 251640 h 265909"/>
                  <a:gd name="connsiteX68" fmla="*/ 164691 w 201059"/>
                  <a:gd name="connsiteY68" fmla="*/ 251640 h 265909"/>
                  <a:gd name="connsiteX69" fmla="*/ 163692 w 201059"/>
                  <a:gd name="connsiteY69" fmla="*/ 237002 h 265909"/>
                  <a:gd name="connsiteX70" fmla="*/ 166767 w 201059"/>
                  <a:gd name="connsiteY70" fmla="*/ 211065 h 265909"/>
                  <a:gd name="connsiteX71" fmla="*/ 178750 w 201059"/>
                  <a:gd name="connsiteY71" fmla="*/ 196585 h 265909"/>
                  <a:gd name="connsiteX72" fmla="*/ 197539 w 201059"/>
                  <a:gd name="connsiteY72" fmla="*/ 197058 h 265909"/>
                  <a:gd name="connsiteX73" fmla="*/ 200325 w 201059"/>
                  <a:gd name="connsiteY73" fmla="*/ 205888 h 265909"/>
                  <a:gd name="connsiteX74" fmla="*/ 191495 w 201059"/>
                  <a:gd name="connsiteY74" fmla="*/ 208674 h 265909"/>
                  <a:gd name="connsiteX75" fmla="*/ 184190 w 201059"/>
                  <a:gd name="connsiteY75" fmla="*/ 208490 h 265909"/>
                  <a:gd name="connsiteX76" fmla="*/ 179512 w 201059"/>
                  <a:gd name="connsiteY76" fmla="*/ 214140 h 265909"/>
                  <a:gd name="connsiteX77" fmla="*/ 176805 w 201059"/>
                  <a:gd name="connsiteY77" fmla="*/ 237029 h 265909"/>
                  <a:gd name="connsiteX78" fmla="*/ 178671 w 201059"/>
                  <a:gd name="connsiteY78" fmla="*/ 255871 h 265909"/>
                  <a:gd name="connsiteX79" fmla="*/ 177646 w 201059"/>
                  <a:gd name="connsiteY79" fmla="*/ 260837 h 265909"/>
                  <a:gd name="connsiteX80" fmla="*/ 173363 w 201059"/>
                  <a:gd name="connsiteY80" fmla="*/ 263570 h 265909"/>
                  <a:gd name="connsiteX81" fmla="*/ 147951 w 201059"/>
                  <a:gd name="connsiteY81" fmla="*/ 265909 h 26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201059" h="265909">
                    <a:moveTo>
                      <a:pt x="147951" y="265909"/>
                    </a:moveTo>
                    <a:cubicBezTo>
                      <a:pt x="139883" y="265909"/>
                      <a:pt x="131553" y="265147"/>
                      <a:pt x="122539" y="263570"/>
                    </a:cubicBezTo>
                    <a:cubicBezTo>
                      <a:pt x="120805" y="263281"/>
                      <a:pt x="119254" y="262283"/>
                      <a:pt x="118256" y="260837"/>
                    </a:cubicBezTo>
                    <a:cubicBezTo>
                      <a:pt x="117257" y="259392"/>
                      <a:pt x="116889" y="257605"/>
                      <a:pt x="117231" y="255871"/>
                    </a:cubicBezTo>
                    <a:cubicBezTo>
                      <a:pt x="118466" y="249564"/>
                      <a:pt x="119097" y="243231"/>
                      <a:pt x="119097" y="237029"/>
                    </a:cubicBezTo>
                    <a:cubicBezTo>
                      <a:pt x="119097" y="228751"/>
                      <a:pt x="118045" y="220499"/>
                      <a:pt x="115943" y="212510"/>
                    </a:cubicBezTo>
                    <a:cubicBezTo>
                      <a:pt x="115286" y="210014"/>
                      <a:pt x="113657" y="208043"/>
                      <a:pt x="111318" y="206965"/>
                    </a:cubicBezTo>
                    <a:cubicBezTo>
                      <a:pt x="109005" y="205888"/>
                      <a:pt x="106325" y="205914"/>
                      <a:pt x="103986" y="207018"/>
                    </a:cubicBezTo>
                    <a:cubicBezTo>
                      <a:pt x="94026" y="211775"/>
                      <a:pt x="85013" y="218187"/>
                      <a:pt x="77129" y="226044"/>
                    </a:cubicBezTo>
                    <a:cubicBezTo>
                      <a:pt x="74370" y="228803"/>
                      <a:pt x="71637" y="231957"/>
                      <a:pt x="68588" y="235977"/>
                    </a:cubicBezTo>
                    <a:cubicBezTo>
                      <a:pt x="67511" y="237370"/>
                      <a:pt x="65934" y="238290"/>
                      <a:pt x="64173" y="238500"/>
                    </a:cubicBezTo>
                    <a:cubicBezTo>
                      <a:pt x="62413" y="238684"/>
                      <a:pt x="60652" y="238211"/>
                      <a:pt x="59285" y="237108"/>
                    </a:cubicBezTo>
                    <a:cubicBezTo>
                      <a:pt x="54581" y="233350"/>
                      <a:pt x="50508" y="229723"/>
                      <a:pt x="46803" y="226044"/>
                    </a:cubicBezTo>
                    <a:cubicBezTo>
                      <a:pt x="41442" y="220683"/>
                      <a:pt x="36318" y="214586"/>
                      <a:pt x="31167" y="207360"/>
                    </a:cubicBezTo>
                    <a:cubicBezTo>
                      <a:pt x="29117" y="204522"/>
                      <a:pt x="29695" y="200553"/>
                      <a:pt x="32455" y="198399"/>
                    </a:cubicBezTo>
                    <a:cubicBezTo>
                      <a:pt x="36081" y="195587"/>
                      <a:pt x="38972" y="193064"/>
                      <a:pt x="41547" y="190489"/>
                    </a:cubicBezTo>
                    <a:cubicBezTo>
                      <a:pt x="51086" y="180949"/>
                      <a:pt x="58418" y="169728"/>
                      <a:pt x="63306" y="157114"/>
                    </a:cubicBezTo>
                    <a:cubicBezTo>
                      <a:pt x="64830" y="153225"/>
                      <a:pt x="62859" y="148600"/>
                      <a:pt x="59023" y="146997"/>
                    </a:cubicBezTo>
                    <a:cubicBezTo>
                      <a:pt x="47066" y="141951"/>
                      <a:pt x="34399" y="139402"/>
                      <a:pt x="21417" y="139402"/>
                    </a:cubicBezTo>
                    <a:cubicBezTo>
                      <a:pt x="17476" y="139402"/>
                      <a:pt x="13323" y="139717"/>
                      <a:pt x="8357" y="140374"/>
                    </a:cubicBezTo>
                    <a:cubicBezTo>
                      <a:pt x="6622" y="140611"/>
                      <a:pt x="4835" y="140138"/>
                      <a:pt x="3469" y="139060"/>
                    </a:cubicBezTo>
                    <a:cubicBezTo>
                      <a:pt x="2076" y="137983"/>
                      <a:pt x="1183" y="136380"/>
                      <a:pt x="999" y="134619"/>
                    </a:cubicBezTo>
                    <a:cubicBezTo>
                      <a:pt x="315" y="128654"/>
                      <a:pt x="0" y="123188"/>
                      <a:pt x="0" y="117958"/>
                    </a:cubicBezTo>
                    <a:cubicBezTo>
                      <a:pt x="0" y="110364"/>
                      <a:pt x="710" y="102428"/>
                      <a:pt x="2155" y="93703"/>
                    </a:cubicBezTo>
                    <a:cubicBezTo>
                      <a:pt x="2733" y="90234"/>
                      <a:pt x="5886" y="87869"/>
                      <a:pt x="9408" y="88289"/>
                    </a:cubicBezTo>
                    <a:cubicBezTo>
                      <a:pt x="13928" y="88841"/>
                      <a:pt x="17765" y="89104"/>
                      <a:pt x="21417" y="89104"/>
                    </a:cubicBezTo>
                    <a:cubicBezTo>
                      <a:pt x="31824" y="89104"/>
                      <a:pt x="42099" y="87448"/>
                      <a:pt x="51954" y="84190"/>
                    </a:cubicBezTo>
                    <a:cubicBezTo>
                      <a:pt x="54398" y="83375"/>
                      <a:pt x="56290" y="81536"/>
                      <a:pt x="57209" y="79144"/>
                    </a:cubicBezTo>
                    <a:cubicBezTo>
                      <a:pt x="58103" y="76727"/>
                      <a:pt x="57893" y="74072"/>
                      <a:pt x="56579" y="71865"/>
                    </a:cubicBezTo>
                    <a:cubicBezTo>
                      <a:pt x="52427" y="64796"/>
                      <a:pt x="47355" y="58252"/>
                      <a:pt x="41547" y="52419"/>
                    </a:cubicBezTo>
                    <a:cubicBezTo>
                      <a:pt x="38972" y="49843"/>
                      <a:pt x="36107" y="47347"/>
                      <a:pt x="32455" y="44509"/>
                    </a:cubicBezTo>
                    <a:cubicBezTo>
                      <a:pt x="29695" y="42354"/>
                      <a:pt x="29117" y="38386"/>
                      <a:pt x="31167" y="35547"/>
                    </a:cubicBezTo>
                    <a:cubicBezTo>
                      <a:pt x="36318" y="28347"/>
                      <a:pt x="41442" y="22224"/>
                      <a:pt x="46803" y="16863"/>
                    </a:cubicBezTo>
                    <a:cubicBezTo>
                      <a:pt x="52164" y="11502"/>
                      <a:pt x="58261" y="6378"/>
                      <a:pt x="65487" y="1227"/>
                    </a:cubicBezTo>
                    <a:cubicBezTo>
                      <a:pt x="68325" y="-823"/>
                      <a:pt x="72294" y="-245"/>
                      <a:pt x="74448" y="2515"/>
                    </a:cubicBezTo>
                    <a:cubicBezTo>
                      <a:pt x="77260" y="6141"/>
                      <a:pt x="79783" y="9006"/>
                      <a:pt x="82358" y="11581"/>
                    </a:cubicBezTo>
                    <a:cubicBezTo>
                      <a:pt x="88166" y="17389"/>
                      <a:pt x="94710" y="22460"/>
                      <a:pt x="101805" y="26613"/>
                    </a:cubicBezTo>
                    <a:cubicBezTo>
                      <a:pt x="104039" y="27927"/>
                      <a:pt x="106693" y="28137"/>
                      <a:pt x="109084" y="27243"/>
                    </a:cubicBezTo>
                    <a:cubicBezTo>
                      <a:pt x="111476" y="26350"/>
                      <a:pt x="113341" y="24431"/>
                      <a:pt x="114130" y="21987"/>
                    </a:cubicBezTo>
                    <a:cubicBezTo>
                      <a:pt x="115260" y="18545"/>
                      <a:pt x="118939" y="16679"/>
                      <a:pt x="122408" y="17835"/>
                    </a:cubicBezTo>
                    <a:cubicBezTo>
                      <a:pt x="125850" y="18965"/>
                      <a:pt x="127690" y="22671"/>
                      <a:pt x="126560" y="26113"/>
                    </a:cubicBezTo>
                    <a:cubicBezTo>
                      <a:pt x="124510" y="32315"/>
                      <a:pt x="119806" y="37203"/>
                      <a:pt x="113683" y="39489"/>
                    </a:cubicBezTo>
                    <a:cubicBezTo>
                      <a:pt x="107560" y="41776"/>
                      <a:pt x="100806" y="41224"/>
                      <a:pt x="95156" y="37886"/>
                    </a:cubicBezTo>
                    <a:cubicBezTo>
                      <a:pt x="87115" y="33156"/>
                      <a:pt x="79704" y="27427"/>
                      <a:pt x="73108" y="20831"/>
                    </a:cubicBezTo>
                    <a:cubicBezTo>
                      <a:pt x="71453" y="19176"/>
                      <a:pt x="69823" y="17415"/>
                      <a:pt x="68168" y="15497"/>
                    </a:cubicBezTo>
                    <a:cubicBezTo>
                      <a:pt x="63648" y="18992"/>
                      <a:pt x="59653" y="22487"/>
                      <a:pt x="56053" y="26087"/>
                    </a:cubicBezTo>
                    <a:cubicBezTo>
                      <a:pt x="52453" y="29687"/>
                      <a:pt x="48958" y="33682"/>
                      <a:pt x="45463" y="38202"/>
                    </a:cubicBezTo>
                    <a:cubicBezTo>
                      <a:pt x="47381" y="39857"/>
                      <a:pt x="49142" y="41486"/>
                      <a:pt x="50797" y="43142"/>
                    </a:cubicBezTo>
                    <a:cubicBezTo>
                      <a:pt x="57393" y="49738"/>
                      <a:pt x="63148" y="57175"/>
                      <a:pt x="67852" y="65190"/>
                    </a:cubicBezTo>
                    <a:cubicBezTo>
                      <a:pt x="71164" y="70840"/>
                      <a:pt x="71742" y="77594"/>
                      <a:pt x="69455" y="83717"/>
                    </a:cubicBezTo>
                    <a:cubicBezTo>
                      <a:pt x="67143" y="89840"/>
                      <a:pt x="62281" y="94544"/>
                      <a:pt x="56079" y="96594"/>
                    </a:cubicBezTo>
                    <a:cubicBezTo>
                      <a:pt x="44911" y="100299"/>
                      <a:pt x="33243" y="102165"/>
                      <a:pt x="21417" y="102165"/>
                    </a:cubicBezTo>
                    <a:cubicBezTo>
                      <a:pt x="19105" y="102165"/>
                      <a:pt x="16713" y="102060"/>
                      <a:pt x="14164" y="101876"/>
                    </a:cubicBezTo>
                    <a:cubicBezTo>
                      <a:pt x="13429" y="107552"/>
                      <a:pt x="13087" y="112860"/>
                      <a:pt x="13087" y="117932"/>
                    </a:cubicBezTo>
                    <a:cubicBezTo>
                      <a:pt x="13087" y="120718"/>
                      <a:pt x="13192" y="123608"/>
                      <a:pt x="13402" y="126631"/>
                    </a:cubicBezTo>
                    <a:cubicBezTo>
                      <a:pt x="16214" y="126394"/>
                      <a:pt x="18842" y="126289"/>
                      <a:pt x="21417" y="126289"/>
                    </a:cubicBezTo>
                    <a:cubicBezTo>
                      <a:pt x="36160" y="126289"/>
                      <a:pt x="50535" y="129180"/>
                      <a:pt x="64121" y="134908"/>
                    </a:cubicBezTo>
                    <a:cubicBezTo>
                      <a:pt x="74475" y="139271"/>
                      <a:pt x="79599" y="151359"/>
                      <a:pt x="75526" y="161844"/>
                    </a:cubicBezTo>
                    <a:cubicBezTo>
                      <a:pt x="69955" y="176140"/>
                      <a:pt x="61651" y="188885"/>
                      <a:pt x="50824" y="199712"/>
                    </a:cubicBezTo>
                    <a:cubicBezTo>
                      <a:pt x="49168" y="201368"/>
                      <a:pt x="47434" y="202997"/>
                      <a:pt x="45489" y="204653"/>
                    </a:cubicBezTo>
                    <a:cubicBezTo>
                      <a:pt x="48984" y="209173"/>
                      <a:pt x="52479" y="213167"/>
                      <a:pt x="56079" y="216768"/>
                    </a:cubicBezTo>
                    <a:cubicBezTo>
                      <a:pt x="58050" y="218738"/>
                      <a:pt x="60153" y="220709"/>
                      <a:pt x="62439" y="222680"/>
                    </a:cubicBezTo>
                    <a:cubicBezTo>
                      <a:pt x="64278" y="220525"/>
                      <a:pt x="66039" y="218581"/>
                      <a:pt x="67852" y="216768"/>
                    </a:cubicBezTo>
                    <a:cubicBezTo>
                      <a:pt x="76761" y="207859"/>
                      <a:pt x="87010" y="200580"/>
                      <a:pt x="98310" y="195192"/>
                    </a:cubicBezTo>
                    <a:cubicBezTo>
                      <a:pt x="104196" y="192381"/>
                      <a:pt x="110924" y="192328"/>
                      <a:pt x="116810" y="195061"/>
                    </a:cubicBezTo>
                    <a:cubicBezTo>
                      <a:pt x="122670" y="197768"/>
                      <a:pt x="126954" y="202919"/>
                      <a:pt x="128583" y="209173"/>
                    </a:cubicBezTo>
                    <a:cubicBezTo>
                      <a:pt x="130948" y="218239"/>
                      <a:pt x="132157" y="227595"/>
                      <a:pt x="132157" y="237002"/>
                    </a:cubicBezTo>
                    <a:cubicBezTo>
                      <a:pt x="132157" y="241838"/>
                      <a:pt x="131816" y="246726"/>
                      <a:pt x="131159" y="251640"/>
                    </a:cubicBezTo>
                    <a:cubicBezTo>
                      <a:pt x="142853" y="253190"/>
                      <a:pt x="152996" y="253190"/>
                      <a:pt x="164691" y="251640"/>
                    </a:cubicBezTo>
                    <a:cubicBezTo>
                      <a:pt x="164034" y="246752"/>
                      <a:pt x="163692" y="241838"/>
                      <a:pt x="163692" y="237002"/>
                    </a:cubicBezTo>
                    <a:cubicBezTo>
                      <a:pt x="163692" y="228251"/>
                      <a:pt x="164717" y="219527"/>
                      <a:pt x="166767" y="211065"/>
                    </a:cubicBezTo>
                    <a:cubicBezTo>
                      <a:pt x="168317" y="204627"/>
                      <a:pt x="172679" y="199345"/>
                      <a:pt x="178750" y="196585"/>
                    </a:cubicBezTo>
                    <a:cubicBezTo>
                      <a:pt x="184820" y="193826"/>
                      <a:pt x="191653" y="194010"/>
                      <a:pt x="197539" y="197058"/>
                    </a:cubicBezTo>
                    <a:cubicBezTo>
                      <a:pt x="200745" y="198740"/>
                      <a:pt x="201980" y="202682"/>
                      <a:pt x="200325" y="205888"/>
                    </a:cubicBezTo>
                    <a:cubicBezTo>
                      <a:pt x="198669" y="209094"/>
                      <a:pt x="194701" y="210355"/>
                      <a:pt x="191495" y="208674"/>
                    </a:cubicBezTo>
                    <a:cubicBezTo>
                      <a:pt x="189235" y="207491"/>
                      <a:pt x="186555" y="207412"/>
                      <a:pt x="184190" y="208490"/>
                    </a:cubicBezTo>
                    <a:cubicBezTo>
                      <a:pt x="181825" y="209567"/>
                      <a:pt x="180116" y="211617"/>
                      <a:pt x="179512" y="214140"/>
                    </a:cubicBezTo>
                    <a:cubicBezTo>
                      <a:pt x="177725" y="221603"/>
                      <a:pt x="176805" y="229303"/>
                      <a:pt x="176805" y="237029"/>
                    </a:cubicBezTo>
                    <a:cubicBezTo>
                      <a:pt x="176805" y="243231"/>
                      <a:pt x="177436" y="249564"/>
                      <a:pt x="178671" y="255871"/>
                    </a:cubicBezTo>
                    <a:cubicBezTo>
                      <a:pt x="179013" y="257605"/>
                      <a:pt x="178645" y="259392"/>
                      <a:pt x="177646" y="260837"/>
                    </a:cubicBezTo>
                    <a:cubicBezTo>
                      <a:pt x="176648" y="262283"/>
                      <a:pt x="175097" y="263281"/>
                      <a:pt x="173363" y="263570"/>
                    </a:cubicBezTo>
                    <a:cubicBezTo>
                      <a:pt x="164349" y="265147"/>
                      <a:pt x="156045" y="265909"/>
                      <a:pt x="147951" y="265909"/>
                    </a:cubicBezTo>
                    <a:close/>
                  </a:path>
                </a:pathLst>
              </a:custGeom>
              <a:grpFill/>
              <a:ln w="2624" cap="flat">
                <a:noFill/>
                <a:prstDash val="solid"/>
                <a:miter/>
              </a:ln>
            </p:spPr>
            <p:txBody>
              <a:bodyPr rtlCol="0" anchor="ctr"/>
              <a:lstStyle/>
              <a:p>
                <a:endParaRPr lang="en-GB" dirty="0"/>
              </a:p>
            </p:txBody>
          </p:sp>
        </p:grpSp>
        <p:grpSp>
          <p:nvGrpSpPr>
            <p:cNvPr id="748" name="Grafik 16">
              <a:extLst>
                <a:ext uri="{FF2B5EF4-FFF2-40B4-BE49-F238E27FC236}">
                  <a16:creationId xmlns:a16="http://schemas.microsoft.com/office/drawing/2014/main" id="{26C27670-AB49-423B-BA0C-9B384E31735B}"/>
                </a:ext>
              </a:extLst>
            </p:cNvPr>
            <p:cNvGrpSpPr/>
            <p:nvPr/>
          </p:nvGrpSpPr>
          <p:grpSpPr>
            <a:xfrm>
              <a:off x="8195358" y="4002611"/>
              <a:ext cx="297232" cy="297297"/>
              <a:chOff x="6229620" y="1657412"/>
              <a:chExt cx="295849" cy="295914"/>
            </a:xfrm>
            <a:solidFill>
              <a:schemeClr val="accent1"/>
            </a:solidFill>
          </p:grpSpPr>
          <p:sp>
            <p:nvSpPr>
              <p:cNvPr id="749" name="Freihandform: Form 823">
                <a:extLst>
                  <a:ext uri="{FF2B5EF4-FFF2-40B4-BE49-F238E27FC236}">
                    <a16:creationId xmlns:a16="http://schemas.microsoft.com/office/drawing/2014/main" id="{CE0C89AA-5C16-4D0A-9381-AEFF2BF9E62D}"/>
                  </a:ext>
                </a:extLst>
              </p:cNvPr>
              <p:cNvSpPr/>
              <p:nvPr/>
            </p:nvSpPr>
            <p:spPr>
              <a:xfrm>
                <a:off x="6331714" y="1759545"/>
                <a:ext cx="91661" cy="91661"/>
              </a:xfrm>
              <a:custGeom>
                <a:avLst/>
                <a:gdLst>
                  <a:gd name="connsiteX0" fmla="*/ 45831 w 91661"/>
                  <a:gd name="connsiteY0" fmla="*/ 91661 h 91661"/>
                  <a:gd name="connsiteX1" fmla="*/ 0 w 91661"/>
                  <a:gd name="connsiteY1" fmla="*/ 45831 h 91661"/>
                  <a:gd name="connsiteX2" fmla="*/ 45831 w 91661"/>
                  <a:gd name="connsiteY2" fmla="*/ 0 h 91661"/>
                  <a:gd name="connsiteX3" fmla="*/ 91661 w 91661"/>
                  <a:gd name="connsiteY3" fmla="*/ 45831 h 91661"/>
                  <a:gd name="connsiteX4" fmla="*/ 45831 w 91661"/>
                  <a:gd name="connsiteY4" fmla="*/ 91661 h 91661"/>
                  <a:gd name="connsiteX5" fmla="*/ 45831 w 91661"/>
                  <a:gd name="connsiteY5" fmla="*/ 13113 h 91661"/>
                  <a:gd name="connsiteX6" fmla="*/ 13113 w 91661"/>
                  <a:gd name="connsiteY6" fmla="*/ 45831 h 91661"/>
                  <a:gd name="connsiteX7" fmla="*/ 45831 w 91661"/>
                  <a:gd name="connsiteY7" fmla="*/ 78548 h 91661"/>
                  <a:gd name="connsiteX8" fmla="*/ 78574 w 91661"/>
                  <a:gd name="connsiteY8" fmla="*/ 45831 h 91661"/>
                  <a:gd name="connsiteX9" fmla="*/ 45831 w 91661"/>
                  <a:gd name="connsiteY9" fmla="*/ 13113 h 9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661" h="91661">
                    <a:moveTo>
                      <a:pt x="45831" y="91661"/>
                    </a:moveTo>
                    <a:cubicBezTo>
                      <a:pt x="20576" y="91661"/>
                      <a:pt x="0" y="71111"/>
                      <a:pt x="0" y="45831"/>
                    </a:cubicBezTo>
                    <a:cubicBezTo>
                      <a:pt x="0" y="20576"/>
                      <a:pt x="20550" y="0"/>
                      <a:pt x="45831" y="0"/>
                    </a:cubicBezTo>
                    <a:cubicBezTo>
                      <a:pt x="71111" y="0"/>
                      <a:pt x="91661" y="20550"/>
                      <a:pt x="91661" y="45831"/>
                    </a:cubicBezTo>
                    <a:cubicBezTo>
                      <a:pt x="91635" y="71111"/>
                      <a:pt x="71085" y="91661"/>
                      <a:pt x="45831" y="91661"/>
                    </a:cubicBezTo>
                    <a:close/>
                    <a:moveTo>
                      <a:pt x="45831" y="13113"/>
                    </a:moveTo>
                    <a:cubicBezTo>
                      <a:pt x="27777" y="13113"/>
                      <a:pt x="13113" y="27803"/>
                      <a:pt x="13113" y="45831"/>
                    </a:cubicBezTo>
                    <a:cubicBezTo>
                      <a:pt x="13113" y="63858"/>
                      <a:pt x="27803" y="78548"/>
                      <a:pt x="45831" y="78548"/>
                    </a:cubicBezTo>
                    <a:cubicBezTo>
                      <a:pt x="63884" y="78548"/>
                      <a:pt x="78574" y="63858"/>
                      <a:pt x="78574" y="45831"/>
                    </a:cubicBezTo>
                    <a:cubicBezTo>
                      <a:pt x="78574" y="27803"/>
                      <a:pt x="63884" y="13113"/>
                      <a:pt x="45831" y="13113"/>
                    </a:cubicBezTo>
                    <a:close/>
                  </a:path>
                </a:pathLst>
              </a:custGeom>
              <a:solidFill>
                <a:schemeClr val="accent1"/>
              </a:solidFill>
              <a:ln w="2624" cap="flat">
                <a:noFill/>
                <a:prstDash val="solid"/>
                <a:miter/>
              </a:ln>
            </p:spPr>
            <p:txBody>
              <a:bodyPr rtlCol="0" anchor="ctr"/>
              <a:lstStyle/>
              <a:p>
                <a:endParaRPr lang="en-GB" dirty="0"/>
              </a:p>
            </p:txBody>
          </p:sp>
          <p:sp>
            <p:nvSpPr>
              <p:cNvPr id="750" name="Freihandform: Form 824">
                <a:extLst>
                  <a:ext uri="{FF2B5EF4-FFF2-40B4-BE49-F238E27FC236}">
                    <a16:creationId xmlns:a16="http://schemas.microsoft.com/office/drawing/2014/main" id="{AFFDF83E-1E8C-43DC-BF29-AB06CF07E648}"/>
                  </a:ext>
                </a:extLst>
              </p:cNvPr>
              <p:cNvSpPr/>
              <p:nvPr/>
            </p:nvSpPr>
            <p:spPr>
              <a:xfrm>
                <a:off x="6229620" y="1657412"/>
                <a:ext cx="295849" cy="295914"/>
              </a:xfrm>
              <a:custGeom>
                <a:avLst/>
                <a:gdLst>
                  <a:gd name="connsiteX0" fmla="*/ 147925 w 295849"/>
                  <a:gd name="connsiteY0" fmla="*/ 295915 h 295914"/>
                  <a:gd name="connsiteX1" fmla="*/ 122513 w 295849"/>
                  <a:gd name="connsiteY1" fmla="*/ 293576 h 295914"/>
                  <a:gd name="connsiteX2" fmla="*/ 118229 w 295849"/>
                  <a:gd name="connsiteY2" fmla="*/ 290843 h 295914"/>
                  <a:gd name="connsiteX3" fmla="*/ 117204 w 295849"/>
                  <a:gd name="connsiteY3" fmla="*/ 285876 h 295914"/>
                  <a:gd name="connsiteX4" fmla="*/ 119070 w 295849"/>
                  <a:gd name="connsiteY4" fmla="*/ 267034 h 295914"/>
                  <a:gd name="connsiteX5" fmla="*/ 115917 w 295849"/>
                  <a:gd name="connsiteY5" fmla="*/ 242516 h 295914"/>
                  <a:gd name="connsiteX6" fmla="*/ 111292 w 295849"/>
                  <a:gd name="connsiteY6" fmla="*/ 236971 h 295914"/>
                  <a:gd name="connsiteX7" fmla="*/ 103960 w 295849"/>
                  <a:gd name="connsiteY7" fmla="*/ 237024 h 295914"/>
                  <a:gd name="connsiteX8" fmla="*/ 77103 w 295849"/>
                  <a:gd name="connsiteY8" fmla="*/ 256050 h 295914"/>
                  <a:gd name="connsiteX9" fmla="*/ 68562 w 295849"/>
                  <a:gd name="connsiteY9" fmla="*/ 265983 h 295914"/>
                  <a:gd name="connsiteX10" fmla="*/ 64173 w 295849"/>
                  <a:gd name="connsiteY10" fmla="*/ 268506 h 295914"/>
                  <a:gd name="connsiteX11" fmla="*/ 59285 w 295849"/>
                  <a:gd name="connsiteY11" fmla="*/ 267113 h 295914"/>
                  <a:gd name="connsiteX12" fmla="*/ 46803 w 295849"/>
                  <a:gd name="connsiteY12" fmla="*/ 256050 h 295914"/>
                  <a:gd name="connsiteX13" fmla="*/ 31167 w 295849"/>
                  <a:gd name="connsiteY13" fmla="*/ 237365 h 295914"/>
                  <a:gd name="connsiteX14" fmla="*/ 32455 w 295849"/>
                  <a:gd name="connsiteY14" fmla="*/ 228404 h 295914"/>
                  <a:gd name="connsiteX15" fmla="*/ 41521 w 295849"/>
                  <a:gd name="connsiteY15" fmla="*/ 220494 h 295914"/>
                  <a:gd name="connsiteX16" fmla="*/ 63280 w 295849"/>
                  <a:gd name="connsiteY16" fmla="*/ 187120 h 295914"/>
                  <a:gd name="connsiteX17" fmla="*/ 59023 w 295849"/>
                  <a:gd name="connsiteY17" fmla="*/ 177002 h 295914"/>
                  <a:gd name="connsiteX18" fmla="*/ 21417 w 295849"/>
                  <a:gd name="connsiteY18" fmla="*/ 169408 h 295914"/>
                  <a:gd name="connsiteX19" fmla="*/ 8357 w 295849"/>
                  <a:gd name="connsiteY19" fmla="*/ 170380 h 295914"/>
                  <a:gd name="connsiteX20" fmla="*/ 3469 w 295849"/>
                  <a:gd name="connsiteY20" fmla="*/ 169040 h 295914"/>
                  <a:gd name="connsiteX21" fmla="*/ 999 w 295849"/>
                  <a:gd name="connsiteY21" fmla="*/ 164599 h 295914"/>
                  <a:gd name="connsiteX22" fmla="*/ 0 w 295849"/>
                  <a:gd name="connsiteY22" fmla="*/ 147938 h 295914"/>
                  <a:gd name="connsiteX23" fmla="*/ 2155 w 295849"/>
                  <a:gd name="connsiteY23" fmla="*/ 123682 h 295914"/>
                  <a:gd name="connsiteX24" fmla="*/ 9408 w 295849"/>
                  <a:gd name="connsiteY24" fmla="*/ 118269 h 295914"/>
                  <a:gd name="connsiteX25" fmla="*/ 21417 w 295849"/>
                  <a:gd name="connsiteY25" fmla="*/ 119083 h 295914"/>
                  <a:gd name="connsiteX26" fmla="*/ 51954 w 295849"/>
                  <a:gd name="connsiteY26" fmla="*/ 114169 h 295914"/>
                  <a:gd name="connsiteX27" fmla="*/ 57209 w 295849"/>
                  <a:gd name="connsiteY27" fmla="*/ 109124 h 295914"/>
                  <a:gd name="connsiteX28" fmla="*/ 56579 w 295849"/>
                  <a:gd name="connsiteY28" fmla="*/ 101818 h 295914"/>
                  <a:gd name="connsiteX29" fmla="*/ 41547 w 295849"/>
                  <a:gd name="connsiteY29" fmla="*/ 82398 h 295914"/>
                  <a:gd name="connsiteX30" fmla="*/ 32455 w 295849"/>
                  <a:gd name="connsiteY30" fmla="*/ 74462 h 295914"/>
                  <a:gd name="connsiteX31" fmla="*/ 31167 w 295849"/>
                  <a:gd name="connsiteY31" fmla="*/ 65500 h 295914"/>
                  <a:gd name="connsiteX32" fmla="*/ 46803 w 295849"/>
                  <a:gd name="connsiteY32" fmla="*/ 46816 h 295914"/>
                  <a:gd name="connsiteX33" fmla="*/ 65487 w 295849"/>
                  <a:gd name="connsiteY33" fmla="*/ 31180 h 295914"/>
                  <a:gd name="connsiteX34" fmla="*/ 74449 w 295849"/>
                  <a:gd name="connsiteY34" fmla="*/ 32468 h 295914"/>
                  <a:gd name="connsiteX35" fmla="*/ 82358 w 295849"/>
                  <a:gd name="connsiteY35" fmla="*/ 41560 h 295914"/>
                  <a:gd name="connsiteX36" fmla="*/ 101779 w 295849"/>
                  <a:gd name="connsiteY36" fmla="*/ 56592 h 295914"/>
                  <a:gd name="connsiteX37" fmla="*/ 109084 w 295849"/>
                  <a:gd name="connsiteY37" fmla="*/ 57223 h 295914"/>
                  <a:gd name="connsiteX38" fmla="*/ 114130 w 295849"/>
                  <a:gd name="connsiteY38" fmla="*/ 51967 h 295914"/>
                  <a:gd name="connsiteX39" fmla="*/ 119044 w 295849"/>
                  <a:gd name="connsiteY39" fmla="*/ 21431 h 295914"/>
                  <a:gd name="connsiteX40" fmla="*/ 118229 w 295849"/>
                  <a:gd name="connsiteY40" fmla="*/ 9421 h 295914"/>
                  <a:gd name="connsiteX41" fmla="*/ 123643 w 295849"/>
                  <a:gd name="connsiteY41" fmla="*/ 2168 h 295914"/>
                  <a:gd name="connsiteX42" fmla="*/ 172180 w 295849"/>
                  <a:gd name="connsiteY42" fmla="*/ 2168 h 295914"/>
                  <a:gd name="connsiteX43" fmla="*/ 177594 w 295849"/>
                  <a:gd name="connsiteY43" fmla="*/ 9421 h 295914"/>
                  <a:gd name="connsiteX44" fmla="*/ 176779 w 295849"/>
                  <a:gd name="connsiteY44" fmla="*/ 21431 h 295914"/>
                  <a:gd name="connsiteX45" fmla="*/ 182876 w 295849"/>
                  <a:gd name="connsiteY45" fmla="*/ 55409 h 295914"/>
                  <a:gd name="connsiteX46" fmla="*/ 187632 w 295849"/>
                  <a:gd name="connsiteY46" fmla="*/ 60271 h 295914"/>
                  <a:gd name="connsiteX47" fmla="*/ 194701 w 295849"/>
                  <a:gd name="connsiteY47" fmla="*/ 59982 h 295914"/>
                  <a:gd name="connsiteX48" fmla="*/ 220428 w 295849"/>
                  <a:gd name="connsiteY48" fmla="*/ 41560 h 295914"/>
                  <a:gd name="connsiteX49" fmla="*/ 228338 w 295849"/>
                  <a:gd name="connsiteY49" fmla="*/ 32468 h 295914"/>
                  <a:gd name="connsiteX50" fmla="*/ 237300 w 295849"/>
                  <a:gd name="connsiteY50" fmla="*/ 31180 h 295914"/>
                  <a:gd name="connsiteX51" fmla="*/ 255984 w 295849"/>
                  <a:gd name="connsiteY51" fmla="*/ 46816 h 295914"/>
                  <a:gd name="connsiteX52" fmla="*/ 267047 w 295849"/>
                  <a:gd name="connsiteY52" fmla="*/ 59299 h 295914"/>
                  <a:gd name="connsiteX53" fmla="*/ 268440 w 295849"/>
                  <a:gd name="connsiteY53" fmla="*/ 64187 h 295914"/>
                  <a:gd name="connsiteX54" fmla="*/ 265917 w 295849"/>
                  <a:gd name="connsiteY54" fmla="*/ 68601 h 295914"/>
                  <a:gd name="connsiteX55" fmla="*/ 255984 w 295849"/>
                  <a:gd name="connsiteY55" fmla="*/ 77142 h 295914"/>
                  <a:gd name="connsiteX56" fmla="*/ 238035 w 295849"/>
                  <a:gd name="connsiteY56" fmla="*/ 101949 h 295914"/>
                  <a:gd name="connsiteX57" fmla="*/ 237746 w 295849"/>
                  <a:gd name="connsiteY57" fmla="*/ 108992 h 295914"/>
                  <a:gd name="connsiteX58" fmla="*/ 242950 w 295849"/>
                  <a:gd name="connsiteY58" fmla="*/ 113880 h 295914"/>
                  <a:gd name="connsiteX59" fmla="*/ 274406 w 295849"/>
                  <a:gd name="connsiteY59" fmla="*/ 119110 h 295914"/>
                  <a:gd name="connsiteX60" fmla="*/ 286441 w 295849"/>
                  <a:gd name="connsiteY60" fmla="*/ 118295 h 295914"/>
                  <a:gd name="connsiteX61" fmla="*/ 293694 w 295849"/>
                  <a:gd name="connsiteY61" fmla="*/ 123735 h 295914"/>
                  <a:gd name="connsiteX62" fmla="*/ 295849 w 295849"/>
                  <a:gd name="connsiteY62" fmla="*/ 147990 h 295914"/>
                  <a:gd name="connsiteX63" fmla="*/ 294851 w 295849"/>
                  <a:gd name="connsiteY63" fmla="*/ 164651 h 295914"/>
                  <a:gd name="connsiteX64" fmla="*/ 292380 w 295849"/>
                  <a:gd name="connsiteY64" fmla="*/ 169066 h 295914"/>
                  <a:gd name="connsiteX65" fmla="*/ 287492 w 295849"/>
                  <a:gd name="connsiteY65" fmla="*/ 170406 h 295914"/>
                  <a:gd name="connsiteX66" fmla="*/ 274432 w 295849"/>
                  <a:gd name="connsiteY66" fmla="*/ 169434 h 295914"/>
                  <a:gd name="connsiteX67" fmla="*/ 240979 w 295849"/>
                  <a:gd name="connsiteY67" fmla="*/ 175320 h 295914"/>
                  <a:gd name="connsiteX68" fmla="*/ 235933 w 295849"/>
                  <a:gd name="connsiteY68" fmla="*/ 180103 h 295914"/>
                  <a:gd name="connsiteX69" fmla="*/ 235933 w 295849"/>
                  <a:gd name="connsiteY69" fmla="*/ 186174 h 295914"/>
                  <a:gd name="connsiteX70" fmla="*/ 255984 w 295849"/>
                  <a:gd name="connsiteY70" fmla="*/ 215265 h 295914"/>
                  <a:gd name="connsiteX71" fmla="*/ 270621 w 295849"/>
                  <a:gd name="connsiteY71" fmla="*/ 227274 h 295914"/>
                  <a:gd name="connsiteX72" fmla="*/ 273407 w 295849"/>
                  <a:gd name="connsiteY72" fmla="*/ 231505 h 295914"/>
                  <a:gd name="connsiteX73" fmla="*/ 272329 w 295849"/>
                  <a:gd name="connsiteY73" fmla="*/ 236472 h 295914"/>
                  <a:gd name="connsiteX74" fmla="*/ 256010 w 295849"/>
                  <a:gd name="connsiteY74" fmla="*/ 256102 h 295914"/>
                  <a:gd name="connsiteX75" fmla="*/ 236380 w 295849"/>
                  <a:gd name="connsiteY75" fmla="*/ 272421 h 295914"/>
                  <a:gd name="connsiteX76" fmla="*/ 231413 w 295849"/>
                  <a:gd name="connsiteY76" fmla="*/ 273499 h 295914"/>
                  <a:gd name="connsiteX77" fmla="*/ 227182 w 295849"/>
                  <a:gd name="connsiteY77" fmla="*/ 270713 h 295914"/>
                  <a:gd name="connsiteX78" fmla="*/ 215173 w 295849"/>
                  <a:gd name="connsiteY78" fmla="*/ 256076 h 295914"/>
                  <a:gd name="connsiteX79" fmla="*/ 191495 w 295849"/>
                  <a:gd name="connsiteY79" fmla="*/ 238705 h 295914"/>
                  <a:gd name="connsiteX80" fmla="*/ 184190 w 295849"/>
                  <a:gd name="connsiteY80" fmla="*/ 238522 h 295914"/>
                  <a:gd name="connsiteX81" fmla="*/ 179512 w 295849"/>
                  <a:gd name="connsiteY81" fmla="*/ 244172 h 295914"/>
                  <a:gd name="connsiteX82" fmla="*/ 176805 w 295849"/>
                  <a:gd name="connsiteY82" fmla="*/ 267061 h 295914"/>
                  <a:gd name="connsiteX83" fmla="*/ 178671 w 295849"/>
                  <a:gd name="connsiteY83" fmla="*/ 285903 h 295914"/>
                  <a:gd name="connsiteX84" fmla="*/ 177646 w 295849"/>
                  <a:gd name="connsiteY84" fmla="*/ 290869 h 295914"/>
                  <a:gd name="connsiteX85" fmla="*/ 173363 w 295849"/>
                  <a:gd name="connsiteY85" fmla="*/ 293602 h 295914"/>
                  <a:gd name="connsiteX86" fmla="*/ 147925 w 295849"/>
                  <a:gd name="connsiteY86" fmla="*/ 295915 h 295914"/>
                  <a:gd name="connsiteX87" fmla="*/ 131159 w 295849"/>
                  <a:gd name="connsiteY87" fmla="*/ 281672 h 295914"/>
                  <a:gd name="connsiteX88" fmla="*/ 164691 w 295849"/>
                  <a:gd name="connsiteY88" fmla="*/ 281672 h 295914"/>
                  <a:gd name="connsiteX89" fmla="*/ 163692 w 295849"/>
                  <a:gd name="connsiteY89" fmla="*/ 267034 h 295914"/>
                  <a:gd name="connsiteX90" fmla="*/ 166767 w 295849"/>
                  <a:gd name="connsiteY90" fmla="*/ 241097 h 295914"/>
                  <a:gd name="connsiteX91" fmla="*/ 178750 w 295849"/>
                  <a:gd name="connsiteY91" fmla="*/ 226617 h 295914"/>
                  <a:gd name="connsiteX92" fmla="*/ 197539 w 295849"/>
                  <a:gd name="connsiteY92" fmla="*/ 227090 h 295914"/>
                  <a:gd name="connsiteX93" fmla="*/ 224423 w 295849"/>
                  <a:gd name="connsiteY93" fmla="*/ 246826 h 295914"/>
                  <a:gd name="connsiteX94" fmla="*/ 234067 w 295849"/>
                  <a:gd name="connsiteY94" fmla="*/ 257863 h 295914"/>
                  <a:gd name="connsiteX95" fmla="*/ 246734 w 295849"/>
                  <a:gd name="connsiteY95" fmla="*/ 246826 h 295914"/>
                  <a:gd name="connsiteX96" fmla="*/ 257771 w 295849"/>
                  <a:gd name="connsiteY96" fmla="*/ 234159 h 295914"/>
                  <a:gd name="connsiteX97" fmla="*/ 246734 w 295849"/>
                  <a:gd name="connsiteY97" fmla="*/ 224515 h 295914"/>
                  <a:gd name="connsiteX98" fmla="*/ 223976 w 295849"/>
                  <a:gd name="connsiteY98" fmla="*/ 191535 h 295914"/>
                  <a:gd name="connsiteX99" fmla="*/ 223871 w 295849"/>
                  <a:gd name="connsiteY99" fmla="*/ 175005 h 295914"/>
                  <a:gd name="connsiteX100" fmla="*/ 236485 w 295849"/>
                  <a:gd name="connsiteY100" fmla="*/ 163022 h 295914"/>
                  <a:gd name="connsiteX101" fmla="*/ 274406 w 295849"/>
                  <a:gd name="connsiteY101" fmla="*/ 156347 h 295914"/>
                  <a:gd name="connsiteX102" fmla="*/ 282421 w 295849"/>
                  <a:gd name="connsiteY102" fmla="*/ 156689 h 295914"/>
                  <a:gd name="connsiteX103" fmla="*/ 282736 w 295849"/>
                  <a:gd name="connsiteY103" fmla="*/ 147990 h 295914"/>
                  <a:gd name="connsiteX104" fmla="*/ 281658 w 295849"/>
                  <a:gd name="connsiteY104" fmla="*/ 131934 h 295914"/>
                  <a:gd name="connsiteX105" fmla="*/ 274406 w 295849"/>
                  <a:gd name="connsiteY105" fmla="*/ 132223 h 295914"/>
                  <a:gd name="connsiteX106" fmla="*/ 238692 w 295849"/>
                  <a:gd name="connsiteY106" fmla="*/ 126284 h 295914"/>
                  <a:gd name="connsiteX107" fmla="*/ 225605 w 295849"/>
                  <a:gd name="connsiteY107" fmla="*/ 113959 h 295914"/>
                  <a:gd name="connsiteX108" fmla="*/ 226341 w 295849"/>
                  <a:gd name="connsiteY108" fmla="*/ 96089 h 295914"/>
                  <a:gd name="connsiteX109" fmla="*/ 246707 w 295849"/>
                  <a:gd name="connsiteY109" fmla="*/ 67944 h 295914"/>
                  <a:gd name="connsiteX110" fmla="*/ 252620 w 295849"/>
                  <a:gd name="connsiteY110" fmla="*/ 62531 h 295914"/>
                  <a:gd name="connsiteX111" fmla="*/ 246707 w 295849"/>
                  <a:gd name="connsiteY111" fmla="*/ 56171 h 295914"/>
                  <a:gd name="connsiteX112" fmla="*/ 234593 w 295849"/>
                  <a:gd name="connsiteY112" fmla="*/ 45581 h 295914"/>
                  <a:gd name="connsiteX113" fmla="*/ 229652 w 295849"/>
                  <a:gd name="connsiteY113" fmla="*/ 50916 h 295914"/>
                  <a:gd name="connsiteX114" fmla="*/ 200430 w 295849"/>
                  <a:gd name="connsiteY114" fmla="*/ 71834 h 295914"/>
                  <a:gd name="connsiteX115" fmla="*/ 182744 w 295849"/>
                  <a:gd name="connsiteY115" fmla="*/ 72543 h 295914"/>
                  <a:gd name="connsiteX116" fmla="*/ 170551 w 295849"/>
                  <a:gd name="connsiteY116" fmla="*/ 60087 h 295914"/>
                  <a:gd name="connsiteX117" fmla="*/ 163613 w 295849"/>
                  <a:gd name="connsiteY117" fmla="*/ 21536 h 295914"/>
                  <a:gd name="connsiteX118" fmla="*/ 163902 w 295849"/>
                  <a:gd name="connsiteY118" fmla="*/ 14283 h 295914"/>
                  <a:gd name="connsiteX119" fmla="*/ 131789 w 295849"/>
                  <a:gd name="connsiteY119" fmla="*/ 14283 h 295914"/>
                  <a:gd name="connsiteX120" fmla="*/ 132078 w 295849"/>
                  <a:gd name="connsiteY120" fmla="*/ 21536 h 295914"/>
                  <a:gd name="connsiteX121" fmla="*/ 126507 w 295849"/>
                  <a:gd name="connsiteY121" fmla="*/ 56198 h 295914"/>
                  <a:gd name="connsiteX122" fmla="*/ 113657 w 295849"/>
                  <a:gd name="connsiteY122" fmla="*/ 69574 h 295914"/>
                  <a:gd name="connsiteX123" fmla="*/ 95130 w 295849"/>
                  <a:gd name="connsiteY123" fmla="*/ 67997 h 295914"/>
                  <a:gd name="connsiteX124" fmla="*/ 73082 w 295849"/>
                  <a:gd name="connsiteY124" fmla="*/ 50942 h 295914"/>
                  <a:gd name="connsiteX125" fmla="*/ 68141 w 295849"/>
                  <a:gd name="connsiteY125" fmla="*/ 45607 h 295914"/>
                  <a:gd name="connsiteX126" fmla="*/ 56027 w 295849"/>
                  <a:gd name="connsiteY126" fmla="*/ 56198 h 295914"/>
                  <a:gd name="connsiteX127" fmla="*/ 45436 w 295849"/>
                  <a:gd name="connsiteY127" fmla="*/ 68312 h 295914"/>
                  <a:gd name="connsiteX128" fmla="*/ 50771 w 295849"/>
                  <a:gd name="connsiteY128" fmla="*/ 73253 h 295914"/>
                  <a:gd name="connsiteX129" fmla="*/ 67826 w 295849"/>
                  <a:gd name="connsiteY129" fmla="*/ 95301 h 295914"/>
                  <a:gd name="connsiteX130" fmla="*/ 69403 w 295849"/>
                  <a:gd name="connsiteY130" fmla="*/ 113828 h 295914"/>
                  <a:gd name="connsiteX131" fmla="*/ 56027 w 295849"/>
                  <a:gd name="connsiteY131" fmla="*/ 126678 h 295914"/>
                  <a:gd name="connsiteX132" fmla="*/ 21365 w 295849"/>
                  <a:gd name="connsiteY132" fmla="*/ 132249 h 295914"/>
                  <a:gd name="connsiteX133" fmla="*/ 14112 w 295849"/>
                  <a:gd name="connsiteY133" fmla="*/ 131960 h 295914"/>
                  <a:gd name="connsiteX134" fmla="*/ 13034 w 295849"/>
                  <a:gd name="connsiteY134" fmla="*/ 148017 h 295914"/>
                  <a:gd name="connsiteX135" fmla="*/ 13350 w 295849"/>
                  <a:gd name="connsiteY135" fmla="*/ 156715 h 295914"/>
                  <a:gd name="connsiteX136" fmla="*/ 21365 w 295849"/>
                  <a:gd name="connsiteY136" fmla="*/ 156373 h 295914"/>
                  <a:gd name="connsiteX137" fmla="*/ 64068 w 295849"/>
                  <a:gd name="connsiteY137" fmla="*/ 164993 h 295914"/>
                  <a:gd name="connsiteX138" fmla="*/ 75447 w 295849"/>
                  <a:gd name="connsiteY138" fmla="*/ 191929 h 295914"/>
                  <a:gd name="connsiteX139" fmla="*/ 50745 w 295849"/>
                  <a:gd name="connsiteY139" fmla="*/ 229797 h 295914"/>
                  <a:gd name="connsiteX140" fmla="*/ 45410 w 295849"/>
                  <a:gd name="connsiteY140" fmla="*/ 234737 h 295914"/>
                  <a:gd name="connsiteX141" fmla="*/ 56001 w 295849"/>
                  <a:gd name="connsiteY141" fmla="*/ 246852 h 295914"/>
                  <a:gd name="connsiteX142" fmla="*/ 62360 w 295849"/>
                  <a:gd name="connsiteY142" fmla="*/ 252765 h 295914"/>
                  <a:gd name="connsiteX143" fmla="*/ 67800 w 295849"/>
                  <a:gd name="connsiteY143" fmla="*/ 246852 h 295914"/>
                  <a:gd name="connsiteX144" fmla="*/ 98257 w 295849"/>
                  <a:gd name="connsiteY144" fmla="*/ 225277 h 295914"/>
                  <a:gd name="connsiteX145" fmla="*/ 116758 w 295849"/>
                  <a:gd name="connsiteY145" fmla="*/ 225145 h 295914"/>
                  <a:gd name="connsiteX146" fmla="*/ 128557 w 295849"/>
                  <a:gd name="connsiteY146" fmla="*/ 239257 h 295914"/>
                  <a:gd name="connsiteX147" fmla="*/ 132131 w 295849"/>
                  <a:gd name="connsiteY147" fmla="*/ 267087 h 295914"/>
                  <a:gd name="connsiteX148" fmla="*/ 131159 w 295849"/>
                  <a:gd name="connsiteY148" fmla="*/ 281672 h 295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295849" h="295914">
                    <a:moveTo>
                      <a:pt x="147925" y="295915"/>
                    </a:moveTo>
                    <a:cubicBezTo>
                      <a:pt x="139857" y="295915"/>
                      <a:pt x="131553" y="295153"/>
                      <a:pt x="122513" y="293576"/>
                    </a:cubicBezTo>
                    <a:cubicBezTo>
                      <a:pt x="120778" y="293287"/>
                      <a:pt x="119228" y="292288"/>
                      <a:pt x="118229" y="290843"/>
                    </a:cubicBezTo>
                    <a:cubicBezTo>
                      <a:pt x="117231" y="289398"/>
                      <a:pt x="116863" y="287611"/>
                      <a:pt x="117204" y="285876"/>
                    </a:cubicBezTo>
                    <a:cubicBezTo>
                      <a:pt x="118440" y="279569"/>
                      <a:pt x="119070" y="273236"/>
                      <a:pt x="119070" y="267034"/>
                    </a:cubicBezTo>
                    <a:cubicBezTo>
                      <a:pt x="119070" y="258756"/>
                      <a:pt x="118019" y="250505"/>
                      <a:pt x="115917" y="242516"/>
                    </a:cubicBezTo>
                    <a:cubicBezTo>
                      <a:pt x="115260" y="240019"/>
                      <a:pt x="113631" y="238049"/>
                      <a:pt x="111292" y="236971"/>
                    </a:cubicBezTo>
                    <a:cubicBezTo>
                      <a:pt x="108979" y="235894"/>
                      <a:pt x="106299" y="235920"/>
                      <a:pt x="103960" y="237024"/>
                    </a:cubicBezTo>
                    <a:cubicBezTo>
                      <a:pt x="94000" y="241780"/>
                      <a:pt x="84986" y="248192"/>
                      <a:pt x="77103" y="256050"/>
                    </a:cubicBezTo>
                    <a:cubicBezTo>
                      <a:pt x="74343" y="258809"/>
                      <a:pt x="71610" y="261962"/>
                      <a:pt x="68562" y="265983"/>
                    </a:cubicBezTo>
                    <a:cubicBezTo>
                      <a:pt x="67484" y="267376"/>
                      <a:pt x="65908" y="268296"/>
                      <a:pt x="64173" y="268506"/>
                    </a:cubicBezTo>
                    <a:cubicBezTo>
                      <a:pt x="62413" y="268716"/>
                      <a:pt x="60652" y="268217"/>
                      <a:pt x="59285" y="267113"/>
                    </a:cubicBezTo>
                    <a:cubicBezTo>
                      <a:pt x="54608" y="263381"/>
                      <a:pt x="50508" y="259755"/>
                      <a:pt x="46803" y="256050"/>
                    </a:cubicBezTo>
                    <a:cubicBezTo>
                      <a:pt x="41442" y="250689"/>
                      <a:pt x="36318" y="244592"/>
                      <a:pt x="31167" y="237365"/>
                    </a:cubicBezTo>
                    <a:cubicBezTo>
                      <a:pt x="29117" y="234501"/>
                      <a:pt x="29695" y="230559"/>
                      <a:pt x="32455" y="228404"/>
                    </a:cubicBezTo>
                    <a:cubicBezTo>
                      <a:pt x="36081" y="225566"/>
                      <a:pt x="38972" y="223069"/>
                      <a:pt x="41521" y="220494"/>
                    </a:cubicBezTo>
                    <a:cubicBezTo>
                      <a:pt x="51060" y="210955"/>
                      <a:pt x="58392" y="199707"/>
                      <a:pt x="63280" y="187120"/>
                    </a:cubicBezTo>
                    <a:cubicBezTo>
                      <a:pt x="64804" y="183230"/>
                      <a:pt x="62833" y="178605"/>
                      <a:pt x="59023" y="177002"/>
                    </a:cubicBezTo>
                    <a:cubicBezTo>
                      <a:pt x="47066" y="171957"/>
                      <a:pt x="34399" y="169408"/>
                      <a:pt x="21417" y="169408"/>
                    </a:cubicBezTo>
                    <a:cubicBezTo>
                      <a:pt x="17502" y="169408"/>
                      <a:pt x="13350" y="169723"/>
                      <a:pt x="8357" y="170380"/>
                    </a:cubicBezTo>
                    <a:cubicBezTo>
                      <a:pt x="6596" y="170617"/>
                      <a:pt x="4835" y="170144"/>
                      <a:pt x="3469" y="169040"/>
                    </a:cubicBezTo>
                    <a:cubicBezTo>
                      <a:pt x="2076" y="167962"/>
                      <a:pt x="1183" y="166359"/>
                      <a:pt x="999" y="164599"/>
                    </a:cubicBezTo>
                    <a:cubicBezTo>
                      <a:pt x="342" y="158607"/>
                      <a:pt x="0" y="153167"/>
                      <a:pt x="0" y="147938"/>
                    </a:cubicBezTo>
                    <a:cubicBezTo>
                      <a:pt x="0" y="140369"/>
                      <a:pt x="710" y="132407"/>
                      <a:pt x="2155" y="123682"/>
                    </a:cubicBezTo>
                    <a:cubicBezTo>
                      <a:pt x="2733" y="120213"/>
                      <a:pt x="5913" y="117875"/>
                      <a:pt x="9408" y="118269"/>
                    </a:cubicBezTo>
                    <a:cubicBezTo>
                      <a:pt x="13954" y="118821"/>
                      <a:pt x="17765" y="119083"/>
                      <a:pt x="21417" y="119083"/>
                    </a:cubicBezTo>
                    <a:cubicBezTo>
                      <a:pt x="31824" y="119083"/>
                      <a:pt x="42099" y="117428"/>
                      <a:pt x="51954" y="114169"/>
                    </a:cubicBezTo>
                    <a:cubicBezTo>
                      <a:pt x="54398" y="113355"/>
                      <a:pt x="56290" y="111515"/>
                      <a:pt x="57209" y="109124"/>
                    </a:cubicBezTo>
                    <a:cubicBezTo>
                      <a:pt x="58129" y="106706"/>
                      <a:pt x="57893" y="104052"/>
                      <a:pt x="56579" y="101818"/>
                    </a:cubicBezTo>
                    <a:cubicBezTo>
                      <a:pt x="52427" y="94749"/>
                      <a:pt x="47355" y="88206"/>
                      <a:pt x="41547" y="82398"/>
                    </a:cubicBezTo>
                    <a:cubicBezTo>
                      <a:pt x="38972" y="79823"/>
                      <a:pt x="36081" y="77300"/>
                      <a:pt x="32455" y="74462"/>
                    </a:cubicBezTo>
                    <a:cubicBezTo>
                      <a:pt x="29695" y="72307"/>
                      <a:pt x="29117" y="68339"/>
                      <a:pt x="31167" y="65500"/>
                    </a:cubicBezTo>
                    <a:cubicBezTo>
                      <a:pt x="36344" y="58300"/>
                      <a:pt x="41442" y="52177"/>
                      <a:pt x="46803" y="46816"/>
                    </a:cubicBezTo>
                    <a:cubicBezTo>
                      <a:pt x="52164" y="41455"/>
                      <a:pt x="58261" y="36357"/>
                      <a:pt x="65487" y="31180"/>
                    </a:cubicBezTo>
                    <a:cubicBezTo>
                      <a:pt x="68325" y="29130"/>
                      <a:pt x="72294" y="29708"/>
                      <a:pt x="74449" y="32468"/>
                    </a:cubicBezTo>
                    <a:cubicBezTo>
                      <a:pt x="77260" y="36068"/>
                      <a:pt x="79783" y="38959"/>
                      <a:pt x="82358" y="41560"/>
                    </a:cubicBezTo>
                    <a:cubicBezTo>
                      <a:pt x="88166" y="47368"/>
                      <a:pt x="94710" y="52440"/>
                      <a:pt x="101779" y="56592"/>
                    </a:cubicBezTo>
                    <a:cubicBezTo>
                      <a:pt x="104012" y="57906"/>
                      <a:pt x="106667" y="58142"/>
                      <a:pt x="109084" y="57223"/>
                    </a:cubicBezTo>
                    <a:cubicBezTo>
                      <a:pt x="111476" y="56329"/>
                      <a:pt x="113315" y="54411"/>
                      <a:pt x="114130" y="51967"/>
                    </a:cubicBezTo>
                    <a:cubicBezTo>
                      <a:pt x="117388" y="42112"/>
                      <a:pt x="119044" y="31837"/>
                      <a:pt x="119044" y="21431"/>
                    </a:cubicBezTo>
                    <a:cubicBezTo>
                      <a:pt x="119044" y="17778"/>
                      <a:pt x="118781" y="13967"/>
                      <a:pt x="118229" y="9421"/>
                    </a:cubicBezTo>
                    <a:cubicBezTo>
                      <a:pt x="117809" y="5926"/>
                      <a:pt x="120200" y="2746"/>
                      <a:pt x="123643" y="2168"/>
                    </a:cubicBezTo>
                    <a:cubicBezTo>
                      <a:pt x="141145" y="-723"/>
                      <a:pt x="154678" y="-723"/>
                      <a:pt x="172180" y="2168"/>
                    </a:cubicBezTo>
                    <a:cubicBezTo>
                      <a:pt x="175649" y="2746"/>
                      <a:pt x="178040" y="5952"/>
                      <a:pt x="177594" y="9421"/>
                    </a:cubicBezTo>
                    <a:cubicBezTo>
                      <a:pt x="177042" y="13967"/>
                      <a:pt x="176779" y="17778"/>
                      <a:pt x="176779" y="21431"/>
                    </a:cubicBezTo>
                    <a:cubicBezTo>
                      <a:pt x="176779" y="33098"/>
                      <a:pt x="178829" y="44556"/>
                      <a:pt x="182876" y="55409"/>
                    </a:cubicBezTo>
                    <a:cubicBezTo>
                      <a:pt x="183717" y="57669"/>
                      <a:pt x="185399" y="59404"/>
                      <a:pt x="187632" y="60271"/>
                    </a:cubicBezTo>
                    <a:cubicBezTo>
                      <a:pt x="189945" y="61191"/>
                      <a:pt x="192441" y="61086"/>
                      <a:pt x="194701" y="59982"/>
                    </a:cubicBezTo>
                    <a:cubicBezTo>
                      <a:pt x="204241" y="55278"/>
                      <a:pt x="212913" y="49076"/>
                      <a:pt x="220428" y="41560"/>
                    </a:cubicBezTo>
                    <a:cubicBezTo>
                      <a:pt x="223004" y="38985"/>
                      <a:pt x="225527" y="36094"/>
                      <a:pt x="228338" y="32468"/>
                    </a:cubicBezTo>
                    <a:cubicBezTo>
                      <a:pt x="230493" y="29708"/>
                      <a:pt x="234461" y="29130"/>
                      <a:pt x="237300" y="31180"/>
                    </a:cubicBezTo>
                    <a:cubicBezTo>
                      <a:pt x="244526" y="36357"/>
                      <a:pt x="250623" y="41481"/>
                      <a:pt x="255984" y="46816"/>
                    </a:cubicBezTo>
                    <a:cubicBezTo>
                      <a:pt x="259689" y="50521"/>
                      <a:pt x="263316" y="54595"/>
                      <a:pt x="267047" y="59299"/>
                    </a:cubicBezTo>
                    <a:cubicBezTo>
                      <a:pt x="268151" y="60665"/>
                      <a:pt x="268650" y="62426"/>
                      <a:pt x="268440" y="64187"/>
                    </a:cubicBezTo>
                    <a:cubicBezTo>
                      <a:pt x="268230" y="65947"/>
                      <a:pt x="267310" y="67524"/>
                      <a:pt x="265917" y="68601"/>
                    </a:cubicBezTo>
                    <a:cubicBezTo>
                      <a:pt x="261897" y="71676"/>
                      <a:pt x="258743" y="74383"/>
                      <a:pt x="255984" y="77142"/>
                    </a:cubicBezTo>
                    <a:cubicBezTo>
                      <a:pt x="248705" y="84421"/>
                      <a:pt x="242660" y="92752"/>
                      <a:pt x="238035" y="101949"/>
                    </a:cubicBezTo>
                    <a:cubicBezTo>
                      <a:pt x="236905" y="104183"/>
                      <a:pt x="236800" y="106680"/>
                      <a:pt x="237746" y="108992"/>
                    </a:cubicBezTo>
                    <a:cubicBezTo>
                      <a:pt x="238692" y="111331"/>
                      <a:pt x="240532" y="113065"/>
                      <a:pt x="242950" y="113880"/>
                    </a:cubicBezTo>
                    <a:cubicBezTo>
                      <a:pt x="253067" y="117349"/>
                      <a:pt x="263657" y="119110"/>
                      <a:pt x="274406" y="119110"/>
                    </a:cubicBezTo>
                    <a:cubicBezTo>
                      <a:pt x="278058" y="119110"/>
                      <a:pt x="281869" y="118847"/>
                      <a:pt x="286441" y="118295"/>
                    </a:cubicBezTo>
                    <a:cubicBezTo>
                      <a:pt x="289936" y="117848"/>
                      <a:pt x="293116" y="120266"/>
                      <a:pt x="293694" y="123735"/>
                    </a:cubicBezTo>
                    <a:cubicBezTo>
                      <a:pt x="295140" y="132486"/>
                      <a:pt x="295849" y="140422"/>
                      <a:pt x="295849" y="147990"/>
                    </a:cubicBezTo>
                    <a:cubicBezTo>
                      <a:pt x="295849" y="153246"/>
                      <a:pt x="295534" y="158686"/>
                      <a:pt x="294851" y="164651"/>
                    </a:cubicBezTo>
                    <a:cubicBezTo>
                      <a:pt x="294667" y="166412"/>
                      <a:pt x="293773" y="167989"/>
                      <a:pt x="292380" y="169066"/>
                    </a:cubicBezTo>
                    <a:cubicBezTo>
                      <a:pt x="290988" y="170144"/>
                      <a:pt x="289227" y="170643"/>
                      <a:pt x="287492" y="170406"/>
                    </a:cubicBezTo>
                    <a:cubicBezTo>
                      <a:pt x="282499" y="169749"/>
                      <a:pt x="278347" y="169434"/>
                      <a:pt x="274432" y="169434"/>
                    </a:cubicBezTo>
                    <a:cubicBezTo>
                      <a:pt x="262948" y="169434"/>
                      <a:pt x="251700" y="171405"/>
                      <a:pt x="240979" y="175320"/>
                    </a:cubicBezTo>
                    <a:cubicBezTo>
                      <a:pt x="238719" y="176161"/>
                      <a:pt x="236879" y="177896"/>
                      <a:pt x="235933" y="180103"/>
                    </a:cubicBezTo>
                    <a:cubicBezTo>
                      <a:pt x="235092" y="182127"/>
                      <a:pt x="235092" y="184282"/>
                      <a:pt x="235933" y="186174"/>
                    </a:cubicBezTo>
                    <a:cubicBezTo>
                      <a:pt x="240795" y="197027"/>
                      <a:pt x="247522" y="206803"/>
                      <a:pt x="255984" y="215265"/>
                    </a:cubicBezTo>
                    <a:cubicBezTo>
                      <a:pt x="260373" y="219653"/>
                      <a:pt x="265287" y="223700"/>
                      <a:pt x="270621" y="227274"/>
                    </a:cubicBezTo>
                    <a:cubicBezTo>
                      <a:pt x="272093" y="228246"/>
                      <a:pt x="273092" y="229797"/>
                      <a:pt x="273407" y="231505"/>
                    </a:cubicBezTo>
                    <a:cubicBezTo>
                      <a:pt x="273722" y="233239"/>
                      <a:pt x="273328" y="235026"/>
                      <a:pt x="272329" y="236472"/>
                    </a:cubicBezTo>
                    <a:cubicBezTo>
                      <a:pt x="267047" y="243961"/>
                      <a:pt x="261713" y="250373"/>
                      <a:pt x="256010" y="256102"/>
                    </a:cubicBezTo>
                    <a:cubicBezTo>
                      <a:pt x="250281" y="261831"/>
                      <a:pt x="243869" y="267166"/>
                      <a:pt x="236380" y="272421"/>
                    </a:cubicBezTo>
                    <a:cubicBezTo>
                      <a:pt x="234934" y="273420"/>
                      <a:pt x="233147" y="273814"/>
                      <a:pt x="231413" y="273499"/>
                    </a:cubicBezTo>
                    <a:cubicBezTo>
                      <a:pt x="229679" y="273184"/>
                      <a:pt x="228154" y="272185"/>
                      <a:pt x="227182" y="270713"/>
                    </a:cubicBezTo>
                    <a:cubicBezTo>
                      <a:pt x="223608" y="265405"/>
                      <a:pt x="219561" y="260465"/>
                      <a:pt x="215173" y="256076"/>
                    </a:cubicBezTo>
                    <a:cubicBezTo>
                      <a:pt x="208209" y="249112"/>
                      <a:pt x="200246" y="243252"/>
                      <a:pt x="191495" y="238705"/>
                    </a:cubicBezTo>
                    <a:cubicBezTo>
                      <a:pt x="189235" y="237523"/>
                      <a:pt x="186555" y="237444"/>
                      <a:pt x="184190" y="238522"/>
                    </a:cubicBezTo>
                    <a:cubicBezTo>
                      <a:pt x="181825" y="239599"/>
                      <a:pt x="180116" y="241649"/>
                      <a:pt x="179512" y="244172"/>
                    </a:cubicBezTo>
                    <a:cubicBezTo>
                      <a:pt x="177725" y="251635"/>
                      <a:pt x="176805" y="259335"/>
                      <a:pt x="176805" y="267061"/>
                    </a:cubicBezTo>
                    <a:cubicBezTo>
                      <a:pt x="176805" y="273262"/>
                      <a:pt x="177436" y="279596"/>
                      <a:pt x="178671" y="285903"/>
                    </a:cubicBezTo>
                    <a:cubicBezTo>
                      <a:pt x="179013" y="287637"/>
                      <a:pt x="178645" y="289424"/>
                      <a:pt x="177646" y="290869"/>
                    </a:cubicBezTo>
                    <a:cubicBezTo>
                      <a:pt x="176648" y="292315"/>
                      <a:pt x="175097" y="293313"/>
                      <a:pt x="173363" y="293602"/>
                    </a:cubicBezTo>
                    <a:cubicBezTo>
                      <a:pt x="164296" y="295153"/>
                      <a:pt x="155992" y="295915"/>
                      <a:pt x="147925" y="295915"/>
                    </a:cubicBezTo>
                    <a:close/>
                    <a:moveTo>
                      <a:pt x="131159" y="281672"/>
                    </a:moveTo>
                    <a:cubicBezTo>
                      <a:pt x="142879" y="283222"/>
                      <a:pt x="152996" y="283222"/>
                      <a:pt x="164691" y="281672"/>
                    </a:cubicBezTo>
                    <a:cubicBezTo>
                      <a:pt x="164034" y="276784"/>
                      <a:pt x="163692" y="271870"/>
                      <a:pt x="163692" y="267034"/>
                    </a:cubicBezTo>
                    <a:cubicBezTo>
                      <a:pt x="163692" y="258283"/>
                      <a:pt x="164717" y="249559"/>
                      <a:pt x="166767" y="241097"/>
                    </a:cubicBezTo>
                    <a:cubicBezTo>
                      <a:pt x="168317" y="234659"/>
                      <a:pt x="172679" y="229376"/>
                      <a:pt x="178750" y="226617"/>
                    </a:cubicBezTo>
                    <a:cubicBezTo>
                      <a:pt x="184820" y="223858"/>
                      <a:pt x="191679" y="224042"/>
                      <a:pt x="197539" y="227090"/>
                    </a:cubicBezTo>
                    <a:cubicBezTo>
                      <a:pt x="207473" y="232267"/>
                      <a:pt x="216513" y="238916"/>
                      <a:pt x="224423" y="246826"/>
                    </a:cubicBezTo>
                    <a:cubicBezTo>
                      <a:pt x="227839" y="250242"/>
                      <a:pt x="231071" y="253947"/>
                      <a:pt x="234067" y="257863"/>
                    </a:cubicBezTo>
                    <a:cubicBezTo>
                      <a:pt x="238745" y="254289"/>
                      <a:pt x="242923" y="250636"/>
                      <a:pt x="246734" y="246826"/>
                    </a:cubicBezTo>
                    <a:cubicBezTo>
                      <a:pt x="250544" y="243015"/>
                      <a:pt x="254197" y="238837"/>
                      <a:pt x="257771" y="234159"/>
                    </a:cubicBezTo>
                    <a:cubicBezTo>
                      <a:pt x="253855" y="231163"/>
                      <a:pt x="250150" y="227931"/>
                      <a:pt x="246734" y="224515"/>
                    </a:cubicBezTo>
                    <a:cubicBezTo>
                      <a:pt x="237142" y="214923"/>
                      <a:pt x="229495" y="203833"/>
                      <a:pt x="223976" y="191535"/>
                    </a:cubicBezTo>
                    <a:cubicBezTo>
                      <a:pt x="221611" y="186279"/>
                      <a:pt x="221585" y="180392"/>
                      <a:pt x="223871" y="175005"/>
                    </a:cubicBezTo>
                    <a:cubicBezTo>
                      <a:pt x="226210" y="169460"/>
                      <a:pt x="230809" y="165098"/>
                      <a:pt x="236485" y="163022"/>
                    </a:cubicBezTo>
                    <a:cubicBezTo>
                      <a:pt x="248626" y="158581"/>
                      <a:pt x="261397" y="156347"/>
                      <a:pt x="274406" y="156347"/>
                    </a:cubicBezTo>
                    <a:cubicBezTo>
                      <a:pt x="276981" y="156347"/>
                      <a:pt x="279609" y="156452"/>
                      <a:pt x="282421" y="156689"/>
                    </a:cubicBezTo>
                    <a:cubicBezTo>
                      <a:pt x="282631" y="153693"/>
                      <a:pt x="282736" y="150802"/>
                      <a:pt x="282736" y="147990"/>
                    </a:cubicBezTo>
                    <a:cubicBezTo>
                      <a:pt x="282736" y="142918"/>
                      <a:pt x="282368" y="137610"/>
                      <a:pt x="281658" y="131934"/>
                    </a:cubicBezTo>
                    <a:cubicBezTo>
                      <a:pt x="279136" y="132118"/>
                      <a:pt x="276744" y="132223"/>
                      <a:pt x="274406" y="132223"/>
                    </a:cubicBezTo>
                    <a:cubicBezTo>
                      <a:pt x="262212" y="132223"/>
                      <a:pt x="250203" y="130226"/>
                      <a:pt x="238692" y="126284"/>
                    </a:cubicBezTo>
                    <a:cubicBezTo>
                      <a:pt x="232753" y="124260"/>
                      <a:pt x="227970" y="119740"/>
                      <a:pt x="225605" y="113959"/>
                    </a:cubicBezTo>
                    <a:cubicBezTo>
                      <a:pt x="223240" y="108178"/>
                      <a:pt x="223529" y="101660"/>
                      <a:pt x="226341" y="96089"/>
                    </a:cubicBezTo>
                    <a:cubicBezTo>
                      <a:pt x="231597" y="85656"/>
                      <a:pt x="238456" y="76196"/>
                      <a:pt x="246707" y="67944"/>
                    </a:cubicBezTo>
                    <a:cubicBezTo>
                      <a:pt x="248521" y="66131"/>
                      <a:pt x="250465" y="64344"/>
                      <a:pt x="252620" y="62531"/>
                    </a:cubicBezTo>
                    <a:cubicBezTo>
                      <a:pt x="250649" y="60245"/>
                      <a:pt x="248678" y="58142"/>
                      <a:pt x="246707" y="56171"/>
                    </a:cubicBezTo>
                    <a:cubicBezTo>
                      <a:pt x="243134" y="52571"/>
                      <a:pt x="239113" y="49102"/>
                      <a:pt x="234593" y="45581"/>
                    </a:cubicBezTo>
                    <a:cubicBezTo>
                      <a:pt x="232937" y="47499"/>
                      <a:pt x="231308" y="49260"/>
                      <a:pt x="229652" y="50916"/>
                    </a:cubicBezTo>
                    <a:cubicBezTo>
                      <a:pt x="221085" y="59483"/>
                      <a:pt x="211257" y="66499"/>
                      <a:pt x="200430" y="71834"/>
                    </a:cubicBezTo>
                    <a:cubicBezTo>
                      <a:pt x="194912" y="74540"/>
                      <a:pt x="188447" y="74830"/>
                      <a:pt x="182744" y="72543"/>
                    </a:cubicBezTo>
                    <a:cubicBezTo>
                      <a:pt x="177121" y="70310"/>
                      <a:pt x="172679" y="65763"/>
                      <a:pt x="170551" y="60087"/>
                    </a:cubicBezTo>
                    <a:cubicBezTo>
                      <a:pt x="165952" y="47762"/>
                      <a:pt x="163613" y="34780"/>
                      <a:pt x="163613" y="21536"/>
                    </a:cubicBezTo>
                    <a:cubicBezTo>
                      <a:pt x="163613" y="19197"/>
                      <a:pt x="163692" y="16805"/>
                      <a:pt x="163902" y="14283"/>
                    </a:cubicBezTo>
                    <a:cubicBezTo>
                      <a:pt x="152550" y="12837"/>
                      <a:pt x="143142" y="12837"/>
                      <a:pt x="131789" y="14283"/>
                    </a:cubicBezTo>
                    <a:cubicBezTo>
                      <a:pt x="131973" y="16805"/>
                      <a:pt x="132078" y="19197"/>
                      <a:pt x="132078" y="21536"/>
                    </a:cubicBezTo>
                    <a:cubicBezTo>
                      <a:pt x="132078" y="33361"/>
                      <a:pt x="130213" y="45003"/>
                      <a:pt x="126507" y="56198"/>
                    </a:cubicBezTo>
                    <a:cubicBezTo>
                      <a:pt x="124457" y="62400"/>
                      <a:pt x="119780" y="67287"/>
                      <a:pt x="113657" y="69574"/>
                    </a:cubicBezTo>
                    <a:cubicBezTo>
                      <a:pt x="107507" y="71886"/>
                      <a:pt x="100754" y="71308"/>
                      <a:pt x="95130" y="67997"/>
                    </a:cubicBezTo>
                    <a:cubicBezTo>
                      <a:pt x="87089" y="63267"/>
                      <a:pt x="79678" y="57538"/>
                      <a:pt x="73082" y="50942"/>
                    </a:cubicBezTo>
                    <a:cubicBezTo>
                      <a:pt x="71426" y="49286"/>
                      <a:pt x="69797" y="47526"/>
                      <a:pt x="68141" y="45607"/>
                    </a:cubicBezTo>
                    <a:cubicBezTo>
                      <a:pt x="63622" y="49102"/>
                      <a:pt x="59601" y="52597"/>
                      <a:pt x="56027" y="56198"/>
                    </a:cubicBezTo>
                    <a:cubicBezTo>
                      <a:pt x="52427" y="59798"/>
                      <a:pt x="48932" y="63792"/>
                      <a:pt x="45436" y="68312"/>
                    </a:cubicBezTo>
                    <a:cubicBezTo>
                      <a:pt x="47355" y="69968"/>
                      <a:pt x="49115" y="71597"/>
                      <a:pt x="50771" y="73253"/>
                    </a:cubicBezTo>
                    <a:cubicBezTo>
                      <a:pt x="57367" y="79849"/>
                      <a:pt x="63122" y="87259"/>
                      <a:pt x="67826" y="95301"/>
                    </a:cubicBezTo>
                    <a:cubicBezTo>
                      <a:pt x="71137" y="100951"/>
                      <a:pt x="71715" y="107705"/>
                      <a:pt x="69403" y="113828"/>
                    </a:cubicBezTo>
                    <a:cubicBezTo>
                      <a:pt x="67090" y="119951"/>
                      <a:pt x="62229" y="124628"/>
                      <a:pt x="56027" y="126678"/>
                    </a:cubicBezTo>
                    <a:cubicBezTo>
                      <a:pt x="44858" y="130383"/>
                      <a:pt x="33190" y="132249"/>
                      <a:pt x="21365" y="132249"/>
                    </a:cubicBezTo>
                    <a:cubicBezTo>
                      <a:pt x="19026" y="132249"/>
                      <a:pt x="16635" y="132170"/>
                      <a:pt x="14112" y="131960"/>
                    </a:cubicBezTo>
                    <a:cubicBezTo>
                      <a:pt x="13376" y="137636"/>
                      <a:pt x="13034" y="142945"/>
                      <a:pt x="13034" y="148017"/>
                    </a:cubicBezTo>
                    <a:cubicBezTo>
                      <a:pt x="13034" y="150802"/>
                      <a:pt x="13140" y="153693"/>
                      <a:pt x="13350" y="156715"/>
                    </a:cubicBezTo>
                    <a:cubicBezTo>
                      <a:pt x="16162" y="156478"/>
                      <a:pt x="18789" y="156373"/>
                      <a:pt x="21365" y="156373"/>
                    </a:cubicBezTo>
                    <a:cubicBezTo>
                      <a:pt x="36107" y="156373"/>
                      <a:pt x="50482" y="159264"/>
                      <a:pt x="64068" y="164993"/>
                    </a:cubicBezTo>
                    <a:cubicBezTo>
                      <a:pt x="74422" y="169355"/>
                      <a:pt x="79547" y="181443"/>
                      <a:pt x="75447" y="191929"/>
                    </a:cubicBezTo>
                    <a:cubicBezTo>
                      <a:pt x="69876" y="206225"/>
                      <a:pt x="61572" y="218970"/>
                      <a:pt x="50745" y="229797"/>
                    </a:cubicBezTo>
                    <a:cubicBezTo>
                      <a:pt x="49089" y="231452"/>
                      <a:pt x="47355" y="233082"/>
                      <a:pt x="45410" y="234737"/>
                    </a:cubicBezTo>
                    <a:cubicBezTo>
                      <a:pt x="48905" y="239257"/>
                      <a:pt x="52400" y="243252"/>
                      <a:pt x="56001" y="246852"/>
                    </a:cubicBezTo>
                    <a:cubicBezTo>
                      <a:pt x="57972" y="248823"/>
                      <a:pt x="60074" y="250794"/>
                      <a:pt x="62360" y="252765"/>
                    </a:cubicBezTo>
                    <a:cubicBezTo>
                      <a:pt x="64200" y="250610"/>
                      <a:pt x="65960" y="248665"/>
                      <a:pt x="67800" y="246852"/>
                    </a:cubicBezTo>
                    <a:cubicBezTo>
                      <a:pt x="76708" y="237943"/>
                      <a:pt x="86957" y="230664"/>
                      <a:pt x="98257" y="225277"/>
                    </a:cubicBezTo>
                    <a:cubicBezTo>
                      <a:pt x="104117" y="222465"/>
                      <a:pt x="110871" y="222412"/>
                      <a:pt x="116758" y="225145"/>
                    </a:cubicBezTo>
                    <a:cubicBezTo>
                      <a:pt x="122618" y="227852"/>
                      <a:pt x="126901" y="233003"/>
                      <a:pt x="128557" y="239257"/>
                    </a:cubicBezTo>
                    <a:cubicBezTo>
                      <a:pt x="130922" y="248324"/>
                      <a:pt x="132131" y="257705"/>
                      <a:pt x="132131" y="267087"/>
                    </a:cubicBezTo>
                    <a:cubicBezTo>
                      <a:pt x="132131" y="271870"/>
                      <a:pt x="131816" y="276784"/>
                      <a:pt x="131159" y="281672"/>
                    </a:cubicBezTo>
                    <a:close/>
                  </a:path>
                </a:pathLst>
              </a:custGeom>
              <a:solidFill>
                <a:schemeClr val="accent1"/>
              </a:solidFill>
              <a:ln w="2624"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3818527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a:extLst>
              <a:ext uri="{FF2B5EF4-FFF2-40B4-BE49-F238E27FC236}">
                <a16:creationId xmlns:a16="http://schemas.microsoft.com/office/drawing/2014/main" id="{1451A7BB-2384-4ADD-8FBF-0E9FCFD4A52D}"/>
              </a:ext>
            </a:extLst>
          </p:cNvPr>
          <p:cNvGraphicFramePr>
            <a:graphicFrameLocks noChangeAspect="1"/>
          </p:cNvGraphicFramePr>
          <p:nvPr>
            <p:custDataLst>
              <p:tags r:id="rId1"/>
            </p:custDataLst>
            <p:extLst>
              <p:ext uri="{D42A27DB-BD31-4B8C-83A1-F6EECF244321}">
                <p14:modId xmlns:p14="http://schemas.microsoft.com/office/powerpoint/2010/main" val="2030141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22" name="Objekt 21" hidden="1">
                        <a:extLst>
                          <a:ext uri="{FF2B5EF4-FFF2-40B4-BE49-F238E27FC236}">
                            <a16:creationId xmlns:a16="http://schemas.microsoft.com/office/drawing/2014/main" id="{1451A7BB-2384-4ADD-8FBF-0E9FCFD4A5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23F324F1-A35B-47D2-928D-5798F8084DDE}"/>
              </a:ext>
            </a:extLst>
          </p:cNvPr>
          <p:cNvSpPr>
            <a:spLocks noGrp="1"/>
          </p:cNvSpPr>
          <p:nvPr>
            <p:ph type="sldNum" sz="quarter" idx="11"/>
          </p:nvPr>
        </p:nvSpPr>
        <p:spPr/>
        <p:txBody>
          <a:bodyPr/>
          <a:lstStyle/>
          <a:p>
            <a:fld id="{D56DB8AA-803C-49D2-90AA-1140CE72DCD7}" type="slidenum">
              <a:rPr lang="en-GB" smtClean="0"/>
              <a:pPr/>
              <a:t>21</a:t>
            </a:fld>
            <a:endParaRPr lang="en-GB" dirty="0"/>
          </a:p>
        </p:txBody>
      </p:sp>
      <p:sp>
        <p:nvSpPr>
          <p:cNvPr id="3" name="Title 2">
            <a:extLst>
              <a:ext uri="{FF2B5EF4-FFF2-40B4-BE49-F238E27FC236}">
                <a16:creationId xmlns:a16="http://schemas.microsoft.com/office/drawing/2014/main" id="{7518B759-32B8-7587-7584-E1427E964311}"/>
              </a:ext>
            </a:extLst>
          </p:cNvPr>
          <p:cNvSpPr>
            <a:spLocks noGrp="1"/>
          </p:cNvSpPr>
          <p:nvPr>
            <p:ph type="title"/>
          </p:nvPr>
        </p:nvSpPr>
        <p:spPr>
          <a:xfrm>
            <a:off x="252000" y="252000"/>
            <a:ext cx="6748875" cy="576000"/>
          </a:xfrm>
        </p:spPr>
        <p:txBody>
          <a:bodyPr/>
          <a:lstStyle/>
          <a:p>
            <a:r>
              <a:rPr lang="en-US" dirty="0"/>
              <a:t>Finance/Business 2/2</a:t>
            </a:r>
            <a:br>
              <a:rPr lang="en-US" dirty="0"/>
            </a:br>
            <a:endParaRPr lang="en-US" dirty="0"/>
          </a:p>
        </p:txBody>
      </p:sp>
      <p:sp>
        <p:nvSpPr>
          <p:cNvPr id="5" name="TextBox 4">
            <a:extLst>
              <a:ext uri="{FF2B5EF4-FFF2-40B4-BE49-F238E27FC236}">
                <a16:creationId xmlns:a16="http://schemas.microsoft.com/office/drawing/2014/main" id="{AEA1D1D4-99AE-4BFF-8C2C-8421B9AC6E7E}"/>
              </a:ext>
            </a:extLst>
          </p:cNvPr>
          <p:cNvSpPr txBox="1"/>
          <p:nvPr/>
        </p:nvSpPr>
        <p:spPr>
          <a:xfrm>
            <a:off x="452119"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ompany</a:t>
            </a:r>
            <a:br>
              <a:rPr lang="en-GB" sz="700" dirty="0">
                <a:solidFill>
                  <a:schemeClr val="tx2"/>
                </a:solidFill>
              </a:rPr>
            </a:br>
            <a:r>
              <a:rPr lang="en-GB" sz="700" dirty="0">
                <a:solidFill>
                  <a:schemeClr val="tx2"/>
                </a:solidFill>
              </a:rPr>
              <a:t>report</a:t>
            </a:r>
          </a:p>
        </p:txBody>
      </p:sp>
      <p:sp>
        <p:nvSpPr>
          <p:cNvPr id="6" name="TextBox 5">
            <a:extLst>
              <a:ext uri="{FF2B5EF4-FFF2-40B4-BE49-F238E27FC236}">
                <a16:creationId xmlns:a16="http://schemas.microsoft.com/office/drawing/2014/main" id="{09CF67AA-888B-4489-AF6F-2BAB26566559}"/>
              </a:ext>
            </a:extLst>
          </p:cNvPr>
          <p:cNvSpPr txBox="1"/>
          <p:nvPr/>
        </p:nvSpPr>
        <p:spPr>
          <a:xfrm>
            <a:off x="3588420"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erformance</a:t>
            </a:r>
            <a:br>
              <a:rPr lang="en-GB" sz="700" dirty="0">
                <a:solidFill>
                  <a:schemeClr val="tx2"/>
                </a:solidFill>
              </a:rPr>
            </a:br>
            <a:r>
              <a:rPr lang="en-GB" sz="700" dirty="0">
                <a:solidFill>
                  <a:schemeClr val="tx2"/>
                </a:solidFill>
              </a:rPr>
              <a:t>quality</a:t>
            </a:r>
          </a:p>
        </p:txBody>
      </p:sp>
      <p:sp>
        <p:nvSpPr>
          <p:cNvPr id="7" name="TextBox 6">
            <a:extLst>
              <a:ext uri="{FF2B5EF4-FFF2-40B4-BE49-F238E27FC236}">
                <a16:creationId xmlns:a16="http://schemas.microsoft.com/office/drawing/2014/main" id="{CBC87E44-2D47-4B7A-8FB0-320F185AAD50}"/>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anagement</a:t>
            </a:r>
            <a:br>
              <a:rPr lang="en-GB" sz="700" dirty="0">
                <a:solidFill>
                  <a:schemeClr val="tx2"/>
                </a:solidFill>
              </a:rPr>
            </a:br>
            <a:r>
              <a:rPr lang="en-GB" sz="700" dirty="0">
                <a:solidFill>
                  <a:schemeClr val="tx2"/>
                </a:solidFill>
              </a:rPr>
              <a:t>wages</a:t>
            </a:r>
          </a:p>
        </p:txBody>
      </p:sp>
      <p:sp>
        <p:nvSpPr>
          <p:cNvPr id="8" name="TextBox 7">
            <a:extLst>
              <a:ext uri="{FF2B5EF4-FFF2-40B4-BE49-F238E27FC236}">
                <a16:creationId xmlns:a16="http://schemas.microsoft.com/office/drawing/2014/main" id="{86E3F126-C787-466D-97C0-C42DEE0499BC}"/>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vestment risk</a:t>
            </a:r>
          </a:p>
        </p:txBody>
      </p:sp>
      <p:sp>
        <p:nvSpPr>
          <p:cNvPr id="9" name="TextBox 8">
            <a:extLst>
              <a:ext uri="{FF2B5EF4-FFF2-40B4-BE49-F238E27FC236}">
                <a16:creationId xmlns:a16="http://schemas.microsoft.com/office/drawing/2014/main" id="{1D27288B-C6D5-49D7-9324-5FE6A12B28E9}"/>
              </a:ext>
            </a:extLst>
          </p:cNvPr>
          <p:cNvSpPr txBox="1"/>
          <p:nvPr/>
        </p:nvSpPr>
        <p:spPr>
          <a:xfrm>
            <a:off x="452119"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erformance</a:t>
            </a:r>
            <a:br>
              <a:rPr lang="en-GB" sz="700" dirty="0">
                <a:solidFill>
                  <a:schemeClr val="tx2"/>
                </a:solidFill>
              </a:rPr>
            </a:br>
            <a:r>
              <a:rPr lang="en-GB" sz="700" dirty="0">
                <a:solidFill>
                  <a:schemeClr val="tx2"/>
                </a:solidFill>
              </a:rPr>
              <a:t>indicators</a:t>
            </a:r>
          </a:p>
        </p:txBody>
      </p:sp>
      <p:sp>
        <p:nvSpPr>
          <p:cNvPr id="10" name="TextBox 9">
            <a:extLst>
              <a:ext uri="{FF2B5EF4-FFF2-40B4-BE49-F238E27FC236}">
                <a16:creationId xmlns:a16="http://schemas.microsoft.com/office/drawing/2014/main" id="{7C571555-E9FD-4F93-8BE1-FCD3BAA3C355}"/>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usiness day</a:t>
            </a:r>
          </a:p>
        </p:txBody>
      </p:sp>
      <p:sp>
        <p:nvSpPr>
          <p:cNvPr id="11" name="TextBox 10">
            <a:extLst>
              <a:ext uri="{FF2B5EF4-FFF2-40B4-BE49-F238E27FC236}">
                <a16:creationId xmlns:a16="http://schemas.microsoft.com/office/drawing/2014/main" id="{B83FD8BA-E500-4361-BC91-DE2E2E8271D1}"/>
              </a:ext>
            </a:extLst>
          </p:cNvPr>
          <p:cNvSpPr txBox="1"/>
          <p:nvPr/>
        </p:nvSpPr>
        <p:spPr>
          <a:xfrm>
            <a:off x="254298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Data</a:t>
            </a:r>
            <a:br>
              <a:rPr lang="en-GB" sz="700" dirty="0">
                <a:solidFill>
                  <a:schemeClr val="tx2"/>
                </a:solidFill>
              </a:rPr>
            </a:br>
            <a:r>
              <a:rPr lang="en-GB" sz="700" dirty="0">
                <a:solidFill>
                  <a:schemeClr val="tx2"/>
                </a:solidFill>
              </a:rPr>
              <a:t>Analysis</a:t>
            </a:r>
          </a:p>
        </p:txBody>
      </p:sp>
      <p:sp>
        <p:nvSpPr>
          <p:cNvPr id="12" name="TextBox 11">
            <a:extLst>
              <a:ext uri="{FF2B5EF4-FFF2-40B4-BE49-F238E27FC236}">
                <a16:creationId xmlns:a16="http://schemas.microsoft.com/office/drawing/2014/main" id="{6DBF3733-4B86-4BB4-A3AA-B880AE9B320B}"/>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tatistics</a:t>
            </a:r>
          </a:p>
        </p:txBody>
      </p:sp>
      <p:sp>
        <p:nvSpPr>
          <p:cNvPr id="13" name="TextBox 12">
            <a:extLst>
              <a:ext uri="{FF2B5EF4-FFF2-40B4-BE49-F238E27FC236}">
                <a16:creationId xmlns:a16="http://schemas.microsoft.com/office/drawing/2014/main" id="{089DD0E3-B439-4428-A0B1-85F71706CE81}"/>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fit</a:t>
            </a:r>
          </a:p>
        </p:txBody>
      </p:sp>
      <p:sp>
        <p:nvSpPr>
          <p:cNvPr id="14" name="TextBox 13">
            <a:extLst>
              <a:ext uri="{FF2B5EF4-FFF2-40B4-BE49-F238E27FC236}">
                <a16:creationId xmlns:a16="http://schemas.microsoft.com/office/drawing/2014/main" id="{3A0F141C-49F7-490B-9D0F-065FC0FC3E50}"/>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onds</a:t>
            </a:r>
          </a:p>
        </p:txBody>
      </p:sp>
      <p:sp>
        <p:nvSpPr>
          <p:cNvPr id="15" name="TextBox 14">
            <a:extLst>
              <a:ext uri="{FF2B5EF4-FFF2-40B4-BE49-F238E27FC236}">
                <a16:creationId xmlns:a16="http://schemas.microsoft.com/office/drawing/2014/main" id="{B01D38EC-273A-4C94-A3DE-896043C16A57}"/>
              </a:ext>
            </a:extLst>
          </p:cNvPr>
          <p:cNvSpPr txBox="1"/>
          <p:nvPr/>
        </p:nvSpPr>
        <p:spPr>
          <a:xfrm>
            <a:off x="2542987"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vestment</a:t>
            </a:r>
            <a:br>
              <a:rPr lang="en-GB" sz="700" dirty="0">
                <a:solidFill>
                  <a:schemeClr val="tx2"/>
                </a:solidFill>
              </a:rPr>
            </a:br>
            <a:r>
              <a:rPr lang="en-GB" sz="700" dirty="0">
                <a:solidFill>
                  <a:schemeClr val="tx2"/>
                </a:solidFill>
              </a:rPr>
              <a:t>agreement</a:t>
            </a:r>
          </a:p>
        </p:txBody>
      </p:sp>
      <p:sp>
        <p:nvSpPr>
          <p:cNvPr id="16" name="TextBox 15">
            <a:extLst>
              <a:ext uri="{FF2B5EF4-FFF2-40B4-BE49-F238E27FC236}">
                <a16:creationId xmlns:a16="http://schemas.microsoft.com/office/drawing/2014/main" id="{3930B7C3-ECF2-43DA-A283-E614F5A9251F}"/>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ssuer</a:t>
            </a:r>
          </a:p>
        </p:txBody>
      </p:sp>
      <p:sp>
        <p:nvSpPr>
          <p:cNvPr id="17" name="TextBox 16">
            <a:extLst>
              <a:ext uri="{FF2B5EF4-FFF2-40B4-BE49-F238E27FC236}">
                <a16:creationId xmlns:a16="http://schemas.microsoft.com/office/drawing/2014/main" id="{482C35CE-A19D-488F-9E77-89A361C5069A}"/>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isclosure laws</a:t>
            </a:r>
          </a:p>
        </p:txBody>
      </p:sp>
      <p:sp>
        <p:nvSpPr>
          <p:cNvPr id="18" name="TextBox 17">
            <a:extLst>
              <a:ext uri="{FF2B5EF4-FFF2-40B4-BE49-F238E27FC236}">
                <a16:creationId xmlns:a16="http://schemas.microsoft.com/office/drawing/2014/main" id="{DA7BFC08-17B7-4405-B6E4-41CCBC5B14A7}"/>
              </a:ext>
            </a:extLst>
          </p:cNvPr>
          <p:cNvSpPr txBox="1"/>
          <p:nvPr/>
        </p:nvSpPr>
        <p:spPr>
          <a:xfrm>
            <a:off x="3588420"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Demand</a:t>
            </a:r>
            <a:br>
              <a:rPr lang="en-GB" sz="700" dirty="0">
                <a:solidFill>
                  <a:schemeClr val="tx2"/>
                </a:solidFill>
              </a:rPr>
            </a:br>
            <a:r>
              <a:rPr lang="en-GB" sz="700" dirty="0">
                <a:solidFill>
                  <a:schemeClr val="tx2"/>
                </a:solidFill>
              </a:rPr>
              <a:t>analysis</a:t>
            </a:r>
          </a:p>
        </p:txBody>
      </p:sp>
      <p:sp>
        <p:nvSpPr>
          <p:cNvPr id="19" name="TextBox 18">
            <a:extLst>
              <a:ext uri="{FF2B5EF4-FFF2-40B4-BE49-F238E27FC236}">
                <a16:creationId xmlns:a16="http://schemas.microsoft.com/office/drawing/2014/main" id="{25865202-5358-43D6-A1AE-9FA40FC5DDE9}"/>
              </a:ext>
            </a:extLst>
          </p:cNvPr>
          <p:cNvSpPr txBox="1"/>
          <p:nvPr/>
        </p:nvSpPr>
        <p:spPr>
          <a:xfrm>
            <a:off x="254298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arketing</a:t>
            </a:r>
            <a:br>
              <a:rPr lang="en-GB" sz="700" dirty="0">
                <a:solidFill>
                  <a:schemeClr val="tx2"/>
                </a:solidFill>
              </a:rPr>
            </a:br>
            <a:r>
              <a:rPr lang="en-GB" sz="700" dirty="0">
                <a:solidFill>
                  <a:schemeClr val="tx2"/>
                </a:solidFill>
              </a:rPr>
              <a:t>cost analysis</a:t>
            </a:r>
          </a:p>
        </p:txBody>
      </p:sp>
      <p:sp>
        <p:nvSpPr>
          <p:cNvPr id="20" name="TextBox 19">
            <a:extLst>
              <a:ext uri="{FF2B5EF4-FFF2-40B4-BE49-F238E27FC236}">
                <a16:creationId xmlns:a16="http://schemas.microsoft.com/office/drawing/2014/main" id="{0903992E-5ECA-43F3-AD33-230F35D61B9E}"/>
              </a:ext>
            </a:extLst>
          </p:cNvPr>
          <p:cNvSpPr txBox="1"/>
          <p:nvPr/>
        </p:nvSpPr>
        <p:spPr>
          <a:xfrm>
            <a:off x="1497553"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ice</a:t>
            </a:r>
            <a:br>
              <a:rPr lang="en-GB" sz="700" dirty="0">
                <a:solidFill>
                  <a:schemeClr val="tx2"/>
                </a:solidFill>
              </a:rPr>
            </a:br>
            <a:r>
              <a:rPr lang="en-GB" sz="700" dirty="0">
                <a:solidFill>
                  <a:schemeClr val="tx2"/>
                </a:solidFill>
              </a:rPr>
              <a:t>adjustment</a:t>
            </a:r>
          </a:p>
        </p:txBody>
      </p:sp>
      <p:grpSp>
        <p:nvGrpSpPr>
          <p:cNvPr id="471" name="Group 470">
            <a:extLst>
              <a:ext uri="{FF2B5EF4-FFF2-40B4-BE49-F238E27FC236}">
                <a16:creationId xmlns:a16="http://schemas.microsoft.com/office/drawing/2014/main" id="{7F1968D3-11BE-8DB6-724B-81E0119328C5}"/>
              </a:ext>
            </a:extLst>
          </p:cNvPr>
          <p:cNvGrpSpPr/>
          <p:nvPr/>
        </p:nvGrpSpPr>
        <p:grpSpPr>
          <a:xfrm>
            <a:off x="543915" y="3227048"/>
            <a:ext cx="500270" cy="432000"/>
            <a:chOff x="543915" y="3227048"/>
            <a:chExt cx="500270" cy="432000"/>
          </a:xfrm>
        </p:grpSpPr>
        <p:grpSp>
          <p:nvGrpSpPr>
            <p:cNvPr id="234" name="Grafik 28">
              <a:extLst>
                <a:ext uri="{FF2B5EF4-FFF2-40B4-BE49-F238E27FC236}">
                  <a16:creationId xmlns:a16="http://schemas.microsoft.com/office/drawing/2014/main" id="{8DA2D121-FB68-4C65-AE63-989D3A81A2A4}"/>
                </a:ext>
              </a:extLst>
            </p:cNvPr>
            <p:cNvGrpSpPr/>
            <p:nvPr/>
          </p:nvGrpSpPr>
          <p:grpSpPr>
            <a:xfrm>
              <a:off x="543915" y="3227048"/>
              <a:ext cx="447873" cy="423464"/>
              <a:chOff x="858417" y="4097774"/>
              <a:chExt cx="454080" cy="429333"/>
            </a:xfrm>
            <a:solidFill>
              <a:schemeClr val="tx2"/>
            </a:solidFill>
          </p:grpSpPr>
          <p:sp>
            <p:nvSpPr>
              <p:cNvPr id="259" name="Freihandform: Form 461">
                <a:extLst>
                  <a:ext uri="{FF2B5EF4-FFF2-40B4-BE49-F238E27FC236}">
                    <a16:creationId xmlns:a16="http://schemas.microsoft.com/office/drawing/2014/main" id="{8090149C-562A-45D0-87F3-C14077D21FDB}"/>
                  </a:ext>
                </a:extLst>
              </p:cNvPr>
              <p:cNvSpPr/>
              <p:nvPr/>
            </p:nvSpPr>
            <p:spPr>
              <a:xfrm>
                <a:off x="934484" y="4097774"/>
                <a:ext cx="378013" cy="286395"/>
              </a:xfrm>
              <a:custGeom>
                <a:avLst/>
                <a:gdLst>
                  <a:gd name="connsiteX0" fmla="*/ 30720 w 378013"/>
                  <a:gd name="connsiteY0" fmla="*/ 286395 h 286395"/>
                  <a:gd name="connsiteX1" fmla="*/ 25040 w 378013"/>
                  <a:gd name="connsiteY1" fmla="*/ 283104 h 286395"/>
                  <a:gd name="connsiteX2" fmla="*/ 0 w 378013"/>
                  <a:gd name="connsiteY2" fmla="*/ 189007 h 286395"/>
                  <a:gd name="connsiteX3" fmla="*/ 189007 w 378013"/>
                  <a:gd name="connsiteY3" fmla="*/ 0 h 286395"/>
                  <a:gd name="connsiteX4" fmla="*/ 378014 w 378013"/>
                  <a:gd name="connsiteY4" fmla="*/ 189007 h 286395"/>
                  <a:gd name="connsiteX5" fmla="*/ 360141 w 378013"/>
                  <a:gd name="connsiteY5" fmla="*/ 269334 h 286395"/>
                  <a:gd name="connsiteX6" fmla="*/ 351441 w 378013"/>
                  <a:gd name="connsiteY6" fmla="*/ 272466 h 286395"/>
                  <a:gd name="connsiteX7" fmla="*/ 348308 w 378013"/>
                  <a:gd name="connsiteY7" fmla="*/ 263767 h 286395"/>
                  <a:gd name="connsiteX8" fmla="*/ 364919 w 378013"/>
                  <a:gd name="connsiteY8" fmla="*/ 189007 h 286395"/>
                  <a:gd name="connsiteX9" fmla="*/ 188984 w 378013"/>
                  <a:gd name="connsiteY9" fmla="*/ 13072 h 286395"/>
                  <a:gd name="connsiteX10" fmla="*/ 13050 w 378013"/>
                  <a:gd name="connsiteY10" fmla="*/ 189007 h 286395"/>
                  <a:gd name="connsiteX11" fmla="*/ 36354 w 378013"/>
                  <a:gd name="connsiteY11" fmla="*/ 276568 h 286395"/>
                  <a:gd name="connsiteX12" fmla="*/ 33943 w 378013"/>
                  <a:gd name="connsiteY12" fmla="*/ 285494 h 286395"/>
                  <a:gd name="connsiteX13" fmla="*/ 30720 w 378013"/>
                  <a:gd name="connsiteY13" fmla="*/ 286395 h 286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8013" h="286395">
                    <a:moveTo>
                      <a:pt x="30720" y="286395"/>
                    </a:moveTo>
                    <a:cubicBezTo>
                      <a:pt x="28466" y="286395"/>
                      <a:pt x="26257" y="285223"/>
                      <a:pt x="25040" y="283104"/>
                    </a:cubicBezTo>
                    <a:cubicBezTo>
                      <a:pt x="8655" y="254616"/>
                      <a:pt x="0" y="222071"/>
                      <a:pt x="0" y="189007"/>
                    </a:cubicBezTo>
                    <a:cubicBezTo>
                      <a:pt x="0" y="84789"/>
                      <a:pt x="84789" y="0"/>
                      <a:pt x="189007" y="0"/>
                    </a:cubicBezTo>
                    <a:cubicBezTo>
                      <a:pt x="293224" y="0"/>
                      <a:pt x="378014" y="84789"/>
                      <a:pt x="378014" y="189007"/>
                    </a:cubicBezTo>
                    <a:cubicBezTo>
                      <a:pt x="378014" y="217090"/>
                      <a:pt x="371996" y="244113"/>
                      <a:pt x="360141" y="269334"/>
                    </a:cubicBezTo>
                    <a:cubicBezTo>
                      <a:pt x="358608" y="272602"/>
                      <a:pt x="354686" y="273999"/>
                      <a:pt x="351441" y="272466"/>
                    </a:cubicBezTo>
                    <a:cubicBezTo>
                      <a:pt x="348173" y="270934"/>
                      <a:pt x="346775" y="267035"/>
                      <a:pt x="348308" y="263767"/>
                    </a:cubicBezTo>
                    <a:cubicBezTo>
                      <a:pt x="359329" y="240304"/>
                      <a:pt x="364919" y="215151"/>
                      <a:pt x="364919" y="189007"/>
                    </a:cubicBezTo>
                    <a:cubicBezTo>
                      <a:pt x="364919" y="92002"/>
                      <a:pt x="285989" y="13072"/>
                      <a:pt x="188984" y="13072"/>
                    </a:cubicBezTo>
                    <a:cubicBezTo>
                      <a:pt x="91979" y="13072"/>
                      <a:pt x="13050" y="92002"/>
                      <a:pt x="13050" y="189007"/>
                    </a:cubicBezTo>
                    <a:cubicBezTo>
                      <a:pt x="13050" y="219772"/>
                      <a:pt x="21118" y="250063"/>
                      <a:pt x="36354" y="276568"/>
                    </a:cubicBezTo>
                    <a:cubicBezTo>
                      <a:pt x="38157" y="279701"/>
                      <a:pt x="37076" y="283690"/>
                      <a:pt x="33943" y="285494"/>
                    </a:cubicBezTo>
                    <a:cubicBezTo>
                      <a:pt x="32951" y="286125"/>
                      <a:pt x="31824" y="286395"/>
                      <a:pt x="30720" y="286395"/>
                    </a:cubicBezTo>
                    <a:close/>
                  </a:path>
                </a:pathLst>
              </a:custGeom>
              <a:grpFill/>
              <a:ln w="2254" cap="flat">
                <a:noFill/>
                <a:prstDash val="solid"/>
                <a:miter/>
              </a:ln>
            </p:spPr>
            <p:txBody>
              <a:bodyPr rtlCol="0" anchor="ctr"/>
              <a:lstStyle/>
              <a:p>
                <a:endParaRPr lang="en-GB" dirty="0"/>
              </a:p>
            </p:txBody>
          </p:sp>
          <p:sp>
            <p:nvSpPr>
              <p:cNvPr id="260" name="Freihandform: Form 462">
                <a:extLst>
                  <a:ext uri="{FF2B5EF4-FFF2-40B4-BE49-F238E27FC236}">
                    <a16:creationId xmlns:a16="http://schemas.microsoft.com/office/drawing/2014/main" id="{78FD9191-9AF8-4C96-A8D6-85C67A290720}"/>
                  </a:ext>
                </a:extLst>
              </p:cNvPr>
              <p:cNvSpPr/>
              <p:nvPr/>
            </p:nvSpPr>
            <p:spPr>
              <a:xfrm>
                <a:off x="975102" y="4395081"/>
                <a:ext cx="180411" cy="80728"/>
              </a:xfrm>
              <a:custGeom>
                <a:avLst/>
                <a:gdLst>
                  <a:gd name="connsiteX0" fmla="*/ 148389 w 180411"/>
                  <a:gd name="connsiteY0" fmla="*/ 80729 h 80728"/>
                  <a:gd name="connsiteX1" fmla="*/ 1461 w 180411"/>
                  <a:gd name="connsiteY1" fmla="*/ 10657 h 80728"/>
                  <a:gd name="connsiteX2" fmla="*/ 2431 w 180411"/>
                  <a:gd name="connsiteY2" fmla="*/ 1461 h 80728"/>
                  <a:gd name="connsiteX3" fmla="*/ 11626 w 180411"/>
                  <a:gd name="connsiteY3" fmla="*/ 2430 h 80728"/>
                  <a:gd name="connsiteX4" fmla="*/ 148389 w 180411"/>
                  <a:gd name="connsiteY4" fmla="*/ 67679 h 80728"/>
                  <a:gd name="connsiteX5" fmla="*/ 172978 w 180411"/>
                  <a:gd name="connsiteY5" fmla="*/ 65989 h 80728"/>
                  <a:gd name="connsiteX6" fmla="*/ 180348 w 180411"/>
                  <a:gd name="connsiteY6" fmla="*/ 71556 h 80728"/>
                  <a:gd name="connsiteX7" fmla="*/ 174781 w 180411"/>
                  <a:gd name="connsiteY7" fmla="*/ 78948 h 80728"/>
                  <a:gd name="connsiteX8" fmla="*/ 148389 w 180411"/>
                  <a:gd name="connsiteY8" fmla="*/ 80729 h 8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411" h="80728">
                    <a:moveTo>
                      <a:pt x="148389" y="80729"/>
                    </a:moveTo>
                    <a:cubicBezTo>
                      <a:pt x="91119" y="80729"/>
                      <a:pt x="37568" y="55193"/>
                      <a:pt x="1461" y="10657"/>
                    </a:cubicBezTo>
                    <a:cubicBezTo>
                      <a:pt x="-815" y="7840"/>
                      <a:pt x="-387" y="3738"/>
                      <a:pt x="2431" y="1461"/>
                    </a:cubicBezTo>
                    <a:cubicBezTo>
                      <a:pt x="5225" y="-815"/>
                      <a:pt x="9350" y="-387"/>
                      <a:pt x="11626" y="2430"/>
                    </a:cubicBezTo>
                    <a:cubicBezTo>
                      <a:pt x="45231" y="43901"/>
                      <a:pt x="95063" y="67679"/>
                      <a:pt x="148389" y="67679"/>
                    </a:cubicBezTo>
                    <a:cubicBezTo>
                      <a:pt x="156616" y="67679"/>
                      <a:pt x="164887" y="67093"/>
                      <a:pt x="172978" y="65989"/>
                    </a:cubicBezTo>
                    <a:cubicBezTo>
                      <a:pt x="176494" y="65448"/>
                      <a:pt x="179853" y="67972"/>
                      <a:pt x="180348" y="71556"/>
                    </a:cubicBezTo>
                    <a:cubicBezTo>
                      <a:pt x="180844" y="75139"/>
                      <a:pt x="178343" y="78452"/>
                      <a:pt x="174781" y="78948"/>
                    </a:cubicBezTo>
                    <a:cubicBezTo>
                      <a:pt x="166104" y="80120"/>
                      <a:pt x="157224" y="80729"/>
                      <a:pt x="148389" y="80729"/>
                    </a:cubicBezTo>
                    <a:close/>
                  </a:path>
                </a:pathLst>
              </a:custGeom>
              <a:grpFill/>
              <a:ln w="2254" cap="flat">
                <a:noFill/>
                <a:prstDash val="solid"/>
                <a:miter/>
              </a:ln>
            </p:spPr>
            <p:txBody>
              <a:bodyPr rtlCol="0" anchor="ctr"/>
              <a:lstStyle/>
              <a:p>
                <a:endParaRPr lang="en-GB" dirty="0"/>
              </a:p>
            </p:txBody>
          </p:sp>
          <p:sp>
            <p:nvSpPr>
              <p:cNvPr id="261" name="Freihandform: Form 463">
                <a:extLst>
                  <a:ext uri="{FF2B5EF4-FFF2-40B4-BE49-F238E27FC236}">
                    <a16:creationId xmlns:a16="http://schemas.microsoft.com/office/drawing/2014/main" id="{7445DDCF-34E5-4291-B526-9197542CF892}"/>
                  </a:ext>
                </a:extLst>
              </p:cNvPr>
              <p:cNvSpPr/>
              <p:nvPr/>
            </p:nvSpPr>
            <p:spPr>
              <a:xfrm>
                <a:off x="1058580" y="4221870"/>
                <a:ext cx="129866" cy="129866"/>
              </a:xfrm>
              <a:custGeom>
                <a:avLst/>
                <a:gdLst>
                  <a:gd name="connsiteX0" fmla="*/ 64910 w 129866"/>
                  <a:gd name="connsiteY0" fmla="*/ 129866 h 129866"/>
                  <a:gd name="connsiteX1" fmla="*/ 31238 w 129866"/>
                  <a:gd name="connsiteY1" fmla="*/ 120467 h 129866"/>
                  <a:gd name="connsiteX2" fmla="*/ 29052 w 129866"/>
                  <a:gd name="connsiteY2" fmla="*/ 111475 h 129866"/>
                  <a:gd name="connsiteX3" fmla="*/ 38045 w 129866"/>
                  <a:gd name="connsiteY3" fmla="*/ 109289 h 129866"/>
                  <a:gd name="connsiteX4" fmla="*/ 64933 w 129866"/>
                  <a:gd name="connsiteY4" fmla="*/ 116794 h 129866"/>
                  <a:gd name="connsiteX5" fmla="*/ 116794 w 129866"/>
                  <a:gd name="connsiteY5" fmla="*/ 64933 h 129866"/>
                  <a:gd name="connsiteX6" fmla="*/ 64933 w 129866"/>
                  <a:gd name="connsiteY6" fmla="*/ 13072 h 129866"/>
                  <a:gd name="connsiteX7" fmla="*/ 13072 w 129866"/>
                  <a:gd name="connsiteY7" fmla="*/ 64933 h 129866"/>
                  <a:gd name="connsiteX8" fmla="*/ 19338 w 129866"/>
                  <a:gd name="connsiteY8" fmla="*/ 89657 h 129866"/>
                  <a:gd name="connsiteX9" fmla="*/ 16723 w 129866"/>
                  <a:gd name="connsiteY9" fmla="*/ 98538 h 129866"/>
                  <a:gd name="connsiteX10" fmla="*/ 7843 w 129866"/>
                  <a:gd name="connsiteY10" fmla="*/ 95901 h 129866"/>
                  <a:gd name="connsiteX11" fmla="*/ 0 w 129866"/>
                  <a:gd name="connsiteY11" fmla="*/ 64933 h 129866"/>
                  <a:gd name="connsiteX12" fmla="*/ 64933 w 129866"/>
                  <a:gd name="connsiteY12" fmla="*/ 0 h 129866"/>
                  <a:gd name="connsiteX13" fmla="*/ 129866 w 129866"/>
                  <a:gd name="connsiteY13" fmla="*/ 64933 h 129866"/>
                  <a:gd name="connsiteX14" fmla="*/ 64910 w 129866"/>
                  <a:gd name="connsiteY14" fmla="*/ 129866 h 129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9866" h="129866">
                    <a:moveTo>
                      <a:pt x="64910" y="129866"/>
                    </a:moveTo>
                    <a:cubicBezTo>
                      <a:pt x="53010" y="129866"/>
                      <a:pt x="41358" y="126620"/>
                      <a:pt x="31238" y="120467"/>
                    </a:cubicBezTo>
                    <a:cubicBezTo>
                      <a:pt x="28150" y="118597"/>
                      <a:pt x="27159" y="114562"/>
                      <a:pt x="29052" y="111475"/>
                    </a:cubicBezTo>
                    <a:cubicBezTo>
                      <a:pt x="30923" y="108387"/>
                      <a:pt x="34957" y="107418"/>
                      <a:pt x="38045" y="109289"/>
                    </a:cubicBezTo>
                    <a:cubicBezTo>
                      <a:pt x="46114" y="114202"/>
                      <a:pt x="55422" y="116794"/>
                      <a:pt x="64933" y="116794"/>
                    </a:cubicBezTo>
                    <a:cubicBezTo>
                      <a:pt x="93512" y="116794"/>
                      <a:pt x="116794" y="93534"/>
                      <a:pt x="116794" y="64933"/>
                    </a:cubicBezTo>
                    <a:cubicBezTo>
                      <a:pt x="116794" y="36332"/>
                      <a:pt x="93534" y="13072"/>
                      <a:pt x="64933" y="13072"/>
                    </a:cubicBezTo>
                    <a:cubicBezTo>
                      <a:pt x="36332" y="13072"/>
                      <a:pt x="13072" y="36332"/>
                      <a:pt x="13072" y="64933"/>
                    </a:cubicBezTo>
                    <a:cubicBezTo>
                      <a:pt x="13072" y="73565"/>
                      <a:pt x="15236" y="82107"/>
                      <a:pt x="19338" y="89657"/>
                    </a:cubicBezTo>
                    <a:cubicBezTo>
                      <a:pt x="21073" y="92835"/>
                      <a:pt x="19879" y="96802"/>
                      <a:pt x="16723" y="98538"/>
                    </a:cubicBezTo>
                    <a:cubicBezTo>
                      <a:pt x="13546" y="100251"/>
                      <a:pt x="9579" y="99079"/>
                      <a:pt x="7843" y="95901"/>
                    </a:cubicBezTo>
                    <a:cubicBezTo>
                      <a:pt x="2705" y="86457"/>
                      <a:pt x="0" y="75751"/>
                      <a:pt x="0" y="64933"/>
                    </a:cubicBezTo>
                    <a:cubicBezTo>
                      <a:pt x="0" y="29119"/>
                      <a:pt x="29120" y="0"/>
                      <a:pt x="64933" y="0"/>
                    </a:cubicBezTo>
                    <a:cubicBezTo>
                      <a:pt x="100747" y="0"/>
                      <a:pt x="129866" y="29119"/>
                      <a:pt x="129866" y="64933"/>
                    </a:cubicBezTo>
                    <a:cubicBezTo>
                      <a:pt x="129844" y="100746"/>
                      <a:pt x="100724" y="129866"/>
                      <a:pt x="64910" y="129866"/>
                    </a:cubicBezTo>
                    <a:close/>
                  </a:path>
                </a:pathLst>
              </a:custGeom>
              <a:grpFill/>
              <a:ln w="2254" cap="flat">
                <a:noFill/>
                <a:prstDash val="solid"/>
                <a:miter/>
              </a:ln>
            </p:spPr>
            <p:txBody>
              <a:bodyPr rtlCol="0" anchor="ctr"/>
              <a:lstStyle/>
              <a:p>
                <a:endParaRPr lang="en-GB" dirty="0"/>
              </a:p>
            </p:txBody>
          </p:sp>
          <p:sp>
            <p:nvSpPr>
              <p:cNvPr id="262" name="Freihandform: Form 464">
                <a:extLst>
                  <a:ext uri="{FF2B5EF4-FFF2-40B4-BE49-F238E27FC236}">
                    <a16:creationId xmlns:a16="http://schemas.microsoft.com/office/drawing/2014/main" id="{3CAA32FA-A402-40A7-A715-E1F83F78C739}"/>
                  </a:ext>
                </a:extLst>
              </p:cNvPr>
              <p:cNvSpPr/>
              <p:nvPr/>
            </p:nvSpPr>
            <p:spPr>
              <a:xfrm>
                <a:off x="992881" y="4156194"/>
                <a:ext cx="261264" cy="199329"/>
              </a:xfrm>
              <a:custGeom>
                <a:avLst/>
                <a:gdLst>
                  <a:gd name="connsiteX0" fmla="*/ 23215 w 261264"/>
                  <a:gd name="connsiteY0" fmla="*/ 199329 h 199329"/>
                  <a:gd name="connsiteX1" fmla="*/ 17557 w 261264"/>
                  <a:gd name="connsiteY1" fmla="*/ 196061 h 199329"/>
                  <a:gd name="connsiteX2" fmla="*/ 0 w 261264"/>
                  <a:gd name="connsiteY2" fmla="*/ 130610 h 199329"/>
                  <a:gd name="connsiteX3" fmla="*/ 130632 w 261264"/>
                  <a:gd name="connsiteY3" fmla="*/ 0 h 199329"/>
                  <a:gd name="connsiteX4" fmla="*/ 261265 w 261264"/>
                  <a:gd name="connsiteY4" fmla="*/ 130610 h 199329"/>
                  <a:gd name="connsiteX5" fmla="*/ 249770 w 261264"/>
                  <a:gd name="connsiteY5" fmla="*/ 184251 h 199329"/>
                  <a:gd name="connsiteX6" fmla="*/ 241115 w 261264"/>
                  <a:gd name="connsiteY6" fmla="*/ 187519 h 199329"/>
                  <a:gd name="connsiteX7" fmla="*/ 237847 w 261264"/>
                  <a:gd name="connsiteY7" fmla="*/ 178864 h 199329"/>
                  <a:gd name="connsiteX8" fmla="*/ 248170 w 261264"/>
                  <a:gd name="connsiteY8" fmla="*/ 130610 h 199329"/>
                  <a:gd name="connsiteX9" fmla="*/ 130632 w 261264"/>
                  <a:gd name="connsiteY9" fmla="*/ 13072 h 199329"/>
                  <a:gd name="connsiteX10" fmla="*/ 13095 w 261264"/>
                  <a:gd name="connsiteY10" fmla="*/ 130610 h 199329"/>
                  <a:gd name="connsiteX11" fmla="*/ 28894 w 261264"/>
                  <a:gd name="connsiteY11" fmla="*/ 189503 h 199329"/>
                  <a:gd name="connsiteX12" fmla="*/ 26528 w 261264"/>
                  <a:gd name="connsiteY12" fmla="*/ 198450 h 199329"/>
                  <a:gd name="connsiteX13" fmla="*/ 23215 w 261264"/>
                  <a:gd name="connsiteY13" fmla="*/ 199329 h 19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1264" h="199329">
                    <a:moveTo>
                      <a:pt x="23215" y="199329"/>
                    </a:moveTo>
                    <a:cubicBezTo>
                      <a:pt x="20961" y="199329"/>
                      <a:pt x="18752" y="198157"/>
                      <a:pt x="17557" y="196061"/>
                    </a:cubicBezTo>
                    <a:cubicBezTo>
                      <a:pt x="6085" y="176250"/>
                      <a:pt x="0" y="153621"/>
                      <a:pt x="0" y="130610"/>
                    </a:cubicBezTo>
                    <a:cubicBezTo>
                      <a:pt x="0" y="58577"/>
                      <a:pt x="58600" y="0"/>
                      <a:pt x="130632" y="0"/>
                    </a:cubicBezTo>
                    <a:cubicBezTo>
                      <a:pt x="202665" y="0"/>
                      <a:pt x="261265" y="58600"/>
                      <a:pt x="261265" y="130610"/>
                    </a:cubicBezTo>
                    <a:cubicBezTo>
                      <a:pt x="261265" y="149294"/>
                      <a:pt x="257411" y="167347"/>
                      <a:pt x="249770" y="184251"/>
                    </a:cubicBezTo>
                    <a:cubicBezTo>
                      <a:pt x="248283" y="187542"/>
                      <a:pt x="244406" y="189007"/>
                      <a:pt x="241115" y="187519"/>
                    </a:cubicBezTo>
                    <a:cubicBezTo>
                      <a:pt x="237825" y="186032"/>
                      <a:pt x="236360" y="182155"/>
                      <a:pt x="237847" y="178864"/>
                    </a:cubicBezTo>
                    <a:cubicBezTo>
                      <a:pt x="244699" y="163651"/>
                      <a:pt x="248170" y="147423"/>
                      <a:pt x="248170" y="130610"/>
                    </a:cubicBezTo>
                    <a:cubicBezTo>
                      <a:pt x="248170" y="65789"/>
                      <a:pt x="195453" y="13072"/>
                      <a:pt x="130632" y="13072"/>
                    </a:cubicBezTo>
                    <a:cubicBezTo>
                      <a:pt x="65812" y="13072"/>
                      <a:pt x="13095" y="65789"/>
                      <a:pt x="13095" y="130610"/>
                    </a:cubicBezTo>
                    <a:cubicBezTo>
                      <a:pt x="13095" y="151323"/>
                      <a:pt x="18549" y="171697"/>
                      <a:pt x="28894" y="189503"/>
                    </a:cubicBezTo>
                    <a:cubicBezTo>
                      <a:pt x="30697" y="192635"/>
                      <a:pt x="29638" y="196625"/>
                      <a:pt x="26528" y="198450"/>
                    </a:cubicBezTo>
                    <a:cubicBezTo>
                      <a:pt x="25446" y="199036"/>
                      <a:pt x="24319" y="199329"/>
                      <a:pt x="23215" y="199329"/>
                    </a:cubicBezTo>
                    <a:close/>
                  </a:path>
                </a:pathLst>
              </a:custGeom>
              <a:grpFill/>
              <a:ln w="2254" cap="flat">
                <a:noFill/>
                <a:prstDash val="solid"/>
                <a:miter/>
              </a:ln>
            </p:spPr>
            <p:txBody>
              <a:bodyPr rtlCol="0" anchor="ctr"/>
              <a:lstStyle/>
              <a:p>
                <a:endParaRPr lang="en-GB" dirty="0"/>
              </a:p>
            </p:txBody>
          </p:sp>
          <p:sp>
            <p:nvSpPr>
              <p:cNvPr id="263" name="Freihandform: Form 465">
                <a:extLst>
                  <a:ext uri="{FF2B5EF4-FFF2-40B4-BE49-F238E27FC236}">
                    <a16:creationId xmlns:a16="http://schemas.microsoft.com/office/drawing/2014/main" id="{2A2F1850-BB29-45A5-9BD6-07D3179BF5C2}"/>
                  </a:ext>
                </a:extLst>
              </p:cNvPr>
              <p:cNvSpPr/>
              <p:nvPr/>
            </p:nvSpPr>
            <p:spPr>
              <a:xfrm>
                <a:off x="1026951" y="4365680"/>
                <a:ext cx="128572" cy="51755"/>
              </a:xfrm>
              <a:custGeom>
                <a:avLst/>
                <a:gdLst>
                  <a:gd name="connsiteX0" fmla="*/ 96540 w 128572"/>
                  <a:gd name="connsiteY0" fmla="*/ 51756 h 51755"/>
                  <a:gd name="connsiteX1" fmla="*/ 1789 w 128572"/>
                  <a:gd name="connsiteY1" fmla="*/ 11029 h 51755"/>
                  <a:gd name="connsiteX2" fmla="*/ 2036 w 128572"/>
                  <a:gd name="connsiteY2" fmla="*/ 1789 h 51755"/>
                  <a:gd name="connsiteX3" fmla="*/ 11277 w 128572"/>
                  <a:gd name="connsiteY3" fmla="*/ 2036 h 51755"/>
                  <a:gd name="connsiteX4" fmla="*/ 96540 w 128572"/>
                  <a:gd name="connsiteY4" fmla="*/ 38684 h 51755"/>
                  <a:gd name="connsiteX5" fmla="*/ 120678 w 128572"/>
                  <a:gd name="connsiteY5" fmla="*/ 36205 h 51755"/>
                  <a:gd name="connsiteX6" fmla="*/ 128432 w 128572"/>
                  <a:gd name="connsiteY6" fmla="*/ 41276 h 51755"/>
                  <a:gd name="connsiteX7" fmla="*/ 123361 w 128572"/>
                  <a:gd name="connsiteY7" fmla="*/ 49006 h 51755"/>
                  <a:gd name="connsiteX8" fmla="*/ 96540 w 128572"/>
                  <a:gd name="connsiteY8" fmla="*/ 51756 h 51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72" h="51755">
                    <a:moveTo>
                      <a:pt x="96540" y="51756"/>
                    </a:moveTo>
                    <a:cubicBezTo>
                      <a:pt x="60343" y="51756"/>
                      <a:pt x="26693" y="37287"/>
                      <a:pt x="1789" y="11029"/>
                    </a:cubicBezTo>
                    <a:cubicBezTo>
                      <a:pt x="-691" y="8415"/>
                      <a:pt x="-578" y="4268"/>
                      <a:pt x="2036" y="1789"/>
                    </a:cubicBezTo>
                    <a:cubicBezTo>
                      <a:pt x="4651" y="-691"/>
                      <a:pt x="8798" y="-578"/>
                      <a:pt x="11277" y="2036"/>
                    </a:cubicBezTo>
                    <a:cubicBezTo>
                      <a:pt x="33703" y="25657"/>
                      <a:pt x="63972" y="38684"/>
                      <a:pt x="96540" y="38684"/>
                    </a:cubicBezTo>
                    <a:cubicBezTo>
                      <a:pt x="104676" y="38684"/>
                      <a:pt x="112813" y="37850"/>
                      <a:pt x="120678" y="36205"/>
                    </a:cubicBezTo>
                    <a:cubicBezTo>
                      <a:pt x="124194" y="35461"/>
                      <a:pt x="127688" y="37737"/>
                      <a:pt x="128432" y="41276"/>
                    </a:cubicBezTo>
                    <a:cubicBezTo>
                      <a:pt x="129175" y="44814"/>
                      <a:pt x="126899" y="48285"/>
                      <a:pt x="123361" y="49006"/>
                    </a:cubicBezTo>
                    <a:cubicBezTo>
                      <a:pt x="114616" y="50832"/>
                      <a:pt x="105578" y="51756"/>
                      <a:pt x="96540" y="51756"/>
                    </a:cubicBezTo>
                    <a:close/>
                  </a:path>
                </a:pathLst>
              </a:custGeom>
              <a:grpFill/>
              <a:ln w="2254" cap="flat">
                <a:noFill/>
                <a:prstDash val="solid"/>
                <a:miter/>
              </a:ln>
            </p:spPr>
            <p:txBody>
              <a:bodyPr rtlCol="0" anchor="ctr"/>
              <a:lstStyle/>
              <a:p>
                <a:endParaRPr lang="en-GB" dirty="0"/>
              </a:p>
            </p:txBody>
          </p:sp>
          <p:sp>
            <p:nvSpPr>
              <p:cNvPr id="264" name="Freihandform: Form 466">
                <a:extLst>
                  <a:ext uri="{FF2B5EF4-FFF2-40B4-BE49-F238E27FC236}">
                    <a16:creationId xmlns:a16="http://schemas.microsoft.com/office/drawing/2014/main" id="{8FBBB108-5E09-400A-81E2-1E1AEA1AD629}"/>
                  </a:ext>
                </a:extLst>
              </p:cNvPr>
              <p:cNvSpPr/>
              <p:nvPr/>
            </p:nvSpPr>
            <p:spPr>
              <a:xfrm>
                <a:off x="999427" y="4438883"/>
                <a:ext cx="67198" cy="88224"/>
              </a:xfrm>
              <a:custGeom>
                <a:avLst/>
                <a:gdLst>
                  <a:gd name="connsiteX0" fmla="*/ 28411 w 67198"/>
                  <a:gd name="connsiteY0" fmla="*/ 88224 h 88224"/>
                  <a:gd name="connsiteX1" fmla="*/ 14234 w 67198"/>
                  <a:gd name="connsiteY1" fmla="*/ 84416 h 88224"/>
                  <a:gd name="connsiteX2" fmla="*/ 982 w 67198"/>
                  <a:gd name="connsiteY2" fmla="*/ 67151 h 88224"/>
                  <a:gd name="connsiteX3" fmla="*/ 3822 w 67198"/>
                  <a:gd name="connsiteY3" fmla="*/ 45582 h 88224"/>
                  <a:gd name="connsiteX4" fmla="*/ 28253 w 67198"/>
                  <a:gd name="connsiteY4" fmla="*/ 3277 h 88224"/>
                  <a:gd name="connsiteX5" fmla="*/ 37201 w 67198"/>
                  <a:gd name="connsiteY5" fmla="*/ 888 h 88224"/>
                  <a:gd name="connsiteX6" fmla="*/ 39590 w 67198"/>
                  <a:gd name="connsiteY6" fmla="*/ 9836 h 88224"/>
                  <a:gd name="connsiteX7" fmla="*/ 15158 w 67198"/>
                  <a:gd name="connsiteY7" fmla="*/ 52140 h 88224"/>
                  <a:gd name="connsiteX8" fmla="*/ 13626 w 67198"/>
                  <a:gd name="connsiteY8" fmla="*/ 63793 h 88224"/>
                  <a:gd name="connsiteX9" fmla="*/ 20770 w 67198"/>
                  <a:gd name="connsiteY9" fmla="*/ 73124 h 88224"/>
                  <a:gd name="connsiteX10" fmla="*/ 32423 w 67198"/>
                  <a:gd name="connsiteY10" fmla="*/ 74656 h 88224"/>
                  <a:gd name="connsiteX11" fmla="*/ 41754 w 67198"/>
                  <a:gd name="connsiteY11" fmla="*/ 67512 h 88224"/>
                  <a:gd name="connsiteX12" fmla="*/ 55074 w 67198"/>
                  <a:gd name="connsiteY12" fmla="*/ 45740 h 88224"/>
                  <a:gd name="connsiteX13" fmla="*/ 64067 w 67198"/>
                  <a:gd name="connsiteY13" fmla="*/ 43576 h 88224"/>
                  <a:gd name="connsiteX14" fmla="*/ 66230 w 67198"/>
                  <a:gd name="connsiteY14" fmla="*/ 52569 h 88224"/>
                  <a:gd name="connsiteX15" fmla="*/ 53000 w 67198"/>
                  <a:gd name="connsiteY15" fmla="*/ 74206 h 88224"/>
                  <a:gd name="connsiteX16" fmla="*/ 35826 w 67198"/>
                  <a:gd name="connsiteY16" fmla="*/ 87323 h 88224"/>
                  <a:gd name="connsiteX17" fmla="*/ 28411 w 67198"/>
                  <a:gd name="connsiteY17" fmla="*/ 88224 h 88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198" h="88224">
                    <a:moveTo>
                      <a:pt x="28411" y="88224"/>
                    </a:moveTo>
                    <a:cubicBezTo>
                      <a:pt x="23475" y="88224"/>
                      <a:pt x="18629" y="86940"/>
                      <a:pt x="14234" y="84416"/>
                    </a:cubicBezTo>
                    <a:cubicBezTo>
                      <a:pt x="7653" y="80629"/>
                      <a:pt x="2943" y="74499"/>
                      <a:pt x="982" y="67151"/>
                    </a:cubicBezTo>
                    <a:cubicBezTo>
                      <a:pt x="-979" y="59804"/>
                      <a:pt x="13" y="52163"/>
                      <a:pt x="3822" y="45582"/>
                    </a:cubicBezTo>
                    <a:lnTo>
                      <a:pt x="28253" y="3277"/>
                    </a:lnTo>
                    <a:cubicBezTo>
                      <a:pt x="30056" y="145"/>
                      <a:pt x="34045" y="-937"/>
                      <a:pt x="37201" y="888"/>
                    </a:cubicBezTo>
                    <a:cubicBezTo>
                      <a:pt x="40334" y="2691"/>
                      <a:pt x="41393" y="6703"/>
                      <a:pt x="39590" y="9836"/>
                    </a:cubicBezTo>
                    <a:lnTo>
                      <a:pt x="15158" y="52140"/>
                    </a:lnTo>
                    <a:cubicBezTo>
                      <a:pt x="13107" y="55702"/>
                      <a:pt x="12566" y="59826"/>
                      <a:pt x="13626" y="63793"/>
                    </a:cubicBezTo>
                    <a:cubicBezTo>
                      <a:pt x="14685" y="67760"/>
                      <a:pt x="17232" y="71073"/>
                      <a:pt x="20770" y="73124"/>
                    </a:cubicBezTo>
                    <a:cubicBezTo>
                      <a:pt x="24309" y="75175"/>
                      <a:pt x="28456" y="75716"/>
                      <a:pt x="32423" y="74656"/>
                    </a:cubicBezTo>
                    <a:cubicBezTo>
                      <a:pt x="36389" y="73597"/>
                      <a:pt x="39703" y="71050"/>
                      <a:pt x="41754" y="67512"/>
                    </a:cubicBezTo>
                    <a:lnTo>
                      <a:pt x="55074" y="45740"/>
                    </a:lnTo>
                    <a:cubicBezTo>
                      <a:pt x="56967" y="42652"/>
                      <a:pt x="60979" y="41683"/>
                      <a:pt x="64067" y="43576"/>
                    </a:cubicBezTo>
                    <a:cubicBezTo>
                      <a:pt x="67154" y="45469"/>
                      <a:pt x="68123" y="49481"/>
                      <a:pt x="66230" y="52569"/>
                    </a:cubicBezTo>
                    <a:lnTo>
                      <a:pt x="53000" y="74206"/>
                    </a:lnTo>
                    <a:cubicBezTo>
                      <a:pt x="49281" y="80651"/>
                      <a:pt x="43151" y="85339"/>
                      <a:pt x="35826" y="87323"/>
                    </a:cubicBezTo>
                    <a:cubicBezTo>
                      <a:pt x="33369" y="87909"/>
                      <a:pt x="30890" y="88224"/>
                      <a:pt x="28411" y="88224"/>
                    </a:cubicBezTo>
                    <a:close/>
                  </a:path>
                </a:pathLst>
              </a:custGeom>
              <a:grpFill/>
              <a:ln w="2254" cap="flat">
                <a:noFill/>
                <a:prstDash val="solid"/>
                <a:miter/>
              </a:ln>
            </p:spPr>
            <p:txBody>
              <a:bodyPr rtlCol="0" anchor="ctr"/>
              <a:lstStyle/>
              <a:p>
                <a:endParaRPr lang="en-GB" dirty="0"/>
              </a:p>
            </p:txBody>
          </p:sp>
          <p:grpSp>
            <p:nvGrpSpPr>
              <p:cNvPr id="265" name="Grafik 28">
                <a:extLst>
                  <a:ext uri="{FF2B5EF4-FFF2-40B4-BE49-F238E27FC236}">
                    <a16:creationId xmlns:a16="http://schemas.microsoft.com/office/drawing/2014/main" id="{989326A4-BABE-4742-A690-76AC368B517E}"/>
                  </a:ext>
                </a:extLst>
              </p:cNvPr>
              <p:cNvGrpSpPr/>
              <p:nvPr/>
            </p:nvGrpSpPr>
            <p:grpSpPr>
              <a:xfrm>
                <a:off x="858417" y="4280313"/>
                <a:ext cx="271519" cy="183348"/>
                <a:chOff x="858417" y="4280313"/>
                <a:chExt cx="271519" cy="183348"/>
              </a:xfrm>
              <a:grpFill/>
            </p:grpSpPr>
            <p:sp>
              <p:nvSpPr>
                <p:cNvPr id="266" name="Freihandform: Form 468">
                  <a:extLst>
                    <a:ext uri="{FF2B5EF4-FFF2-40B4-BE49-F238E27FC236}">
                      <a16:creationId xmlns:a16="http://schemas.microsoft.com/office/drawing/2014/main" id="{6C20FC7B-27FC-4C2C-BBAD-E268714BF099}"/>
                    </a:ext>
                  </a:extLst>
                </p:cNvPr>
                <p:cNvSpPr/>
                <p:nvPr/>
              </p:nvSpPr>
              <p:spPr>
                <a:xfrm>
                  <a:off x="858417" y="4361814"/>
                  <a:ext cx="94526" cy="59295"/>
                </a:xfrm>
                <a:custGeom>
                  <a:avLst/>
                  <a:gdLst>
                    <a:gd name="connsiteX0" fmla="*/ 43747 w 94526"/>
                    <a:gd name="connsiteY0" fmla="*/ 59296 h 59295"/>
                    <a:gd name="connsiteX1" fmla="*/ 40569 w 94526"/>
                    <a:gd name="connsiteY1" fmla="*/ 58462 h 59295"/>
                    <a:gd name="connsiteX2" fmla="*/ 3359 w 94526"/>
                    <a:gd name="connsiteY2" fmla="*/ 37794 h 59295"/>
                    <a:gd name="connsiteX3" fmla="*/ 0 w 94526"/>
                    <a:gd name="connsiteY3" fmla="*/ 32137 h 59295"/>
                    <a:gd name="connsiteX4" fmla="*/ 3268 w 94526"/>
                    <a:gd name="connsiteY4" fmla="*/ 26412 h 59295"/>
                    <a:gd name="connsiteX5" fmla="*/ 47511 w 94526"/>
                    <a:gd name="connsiteY5" fmla="*/ 876 h 59295"/>
                    <a:gd name="connsiteX6" fmla="*/ 53957 w 94526"/>
                    <a:gd name="connsiteY6" fmla="*/ 831 h 59295"/>
                    <a:gd name="connsiteX7" fmla="*/ 91168 w 94526"/>
                    <a:gd name="connsiteY7" fmla="*/ 21477 h 59295"/>
                    <a:gd name="connsiteX8" fmla="*/ 94526 w 94526"/>
                    <a:gd name="connsiteY8" fmla="*/ 27134 h 59295"/>
                    <a:gd name="connsiteX9" fmla="*/ 91258 w 94526"/>
                    <a:gd name="connsiteY9" fmla="*/ 32858 h 59295"/>
                    <a:gd name="connsiteX10" fmla="*/ 47015 w 94526"/>
                    <a:gd name="connsiteY10" fmla="*/ 58417 h 59295"/>
                    <a:gd name="connsiteX11" fmla="*/ 43747 w 94526"/>
                    <a:gd name="connsiteY11" fmla="*/ 59296 h 59295"/>
                    <a:gd name="connsiteX12" fmla="*/ 19812 w 94526"/>
                    <a:gd name="connsiteY12" fmla="*/ 31979 h 59295"/>
                    <a:gd name="connsiteX13" fmla="*/ 43680 w 94526"/>
                    <a:gd name="connsiteY13" fmla="*/ 45232 h 59295"/>
                    <a:gd name="connsiteX14" fmla="*/ 74715 w 94526"/>
                    <a:gd name="connsiteY14" fmla="*/ 27314 h 59295"/>
                    <a:gd name="connsiteX15" fmla="*/ 50847 w 94526"/>
                    <a:gd name="connsiteY15" fmla="*/ 14061 h 59295"/>
                    <a:gd name="connsiteX16" fmla="*/ 19812 w 94526"/>
                    <a:gd name="connsiteY16" fmla="*/ 31979 h 5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4526" h="59295">
                      <a:moveTo>
                        <a:pt x="43747" y="59296"/>
                      </a:moveTo>
                      <a:cubicBezTo>
                        <a:pt x="42665" y="59296"/>
                        <a:pt x="41561" y="59025"/>
                        <a:pt x="40569" y="58462"/>
                      </a:cubicBezTo>
                      <a:lnTo>
                        <a:pt x="3359" y="37794"/>
                      </a:lnTo>
                      <a:cubicBezTo>
                        <a:pt x="1308" y="36645"/>
                        <a:pt x="0" y="34481"/>
                        <a:pt x="0" y="32137"/>
                      </a:cubicBezTo>
                      <a:cubicBezTo>
                        <a:pt x="-22" y="29770"/>
                        <a:pt x="1240" y="27584"/>
                        <a:pt x="3268" y="26412"/>
                      </a:cubicBezTo>
                      <a:lnTo>
                        <a:pt x="47511" y="876"/>
                      </a:lnTo>
                      <a:cubicBezTo>
                        <a:pt x="49495" y="-273"/>
                        <a:pt x="51951" y="-296"/>
                        <a:pt x="53957" y="831"/>
                      </a:cubicBezTo>
                      <a:lnTo>
                        <a:pt x="91168" y="21477"/>
                      </a:lnTo>
                      <a:cubicBezTo>
                        <a:pt x="93219" y="22626"/>
                        <a:pt x="94526" y="24790"/>
                        <a:pt x="94526" y="27134"/>
                      </a:cubicBezTo>
                      <a:cubicBezTo>
                        <a:pt x="94549" y="29500"/>
                        <a:pt x="93287" y="31686"/>
                        <a:pt x="91258" y="32858"/>
                      </a:cubicBezTo>
                      <a:lnTo>
                        <a:pt x="47015" y="58417"/>
                      </a:lnTo>
                      <a:cubicBezTo>
                        <a:pt x="46001" y="59003"/>
                        <a:pt x="44874" y="59296"/>
                        <a:pt x="43747" y="59296"/>
                      </a:cubicBezTo>
                      <a:close/>
                      <a:moveTo>
                        <a:pt x="19812" y="31979"/>
                      </a:moveTo>
                      <a:lnTo>
                        <a:pt x="43680" y="45232"/>
                      </a:lnTo>
                      <a:lnTo>
                        <a:pt x="74715" y="27314"/>
                      </a:lnTo>
                      <a:lnTo>
                        <a:pt x="50847" y="14061"/>
                      </a:lnTo>
                      <a:lnTo>
                        <a:pt x="19812" y="31979"/>
                      </a:lnTo>
                      <a:close/>
                    </a:path>
                  </a:pathLst>
                </a:custGeom>
                <a:grpFill/>
                <a:ln w="2254" cap="flat">
                  <a:noFill/>
                  <a:prstDash val="solid"/>
                  <a:miter/>
                </a:ln>
              </p:spPr>
              <p:txBody>
                <a:bodyPr rtlCol="0" anchor="ctr"/>
                <a:lstStyle/>
                <a:p>
                  <a:endParaRPr lang="en-GB" dirty="0"/>
                </a:p>
              </p:txBody>
            </p:sp>
            <p:sp>
              <p:nvSpPr>
                <p:cNvPr id="267" name="Freihandform: Form 469">
                  <a:extLst>
                    <a:ext uri="{FF2B5EF4-FFF2-40B4-BE49-F238E27FC236}">
                      <a16:creationId xmlns:a16="http://schemas.microsoft.com/office/drawing/2014/main" id="{1E35493B-2331-417F-BD88-BDBFA5E16BA2}"/>
                    </a:ext>
                  </a:extLst>
                </p:cNvPr>
                <p:cNvSpPr/>
                <p:nvPr/>
              </p:nvSpPr>
              <p:spPr>
                <a:xfrm>
                  <a:off x="894905" y="4382459"/>
                  <a:ext cx="58038" cy="81202"/>
                </a:xfrm>
                <a:custGeom>
                  <a:avLst/>
                  <a:gdLst>
                    <a:gd name="connsiteX0" fmla="*/ 6537 w 58038"/>
                    <a:gd name="connsiteY0" fmla="*/ 81203 h 81202"/>
                    <a:gd name="connsiteX1" fmla="*/ 3224 w 58038"/>
                    <a:gd name="connsiteY1" fmla="*/ 80301 h 81202"/>
                    <a:gd name="connsiteX2" fmla="*/ 1 w 58038"/>
                    <a:gd name="connsiteY2" fmla="*/ 74554 h 81202"/>
                    <a:gd name="connsiteX3" fmla="*/ 722 w 58038"/>
                    <a:gd name="connsiteY3" fmla="*/ 32002 h 81202"/>
                    <a:gd name="connsiteX4" fmla="*/ 3990 w 58038"/>
                    <a:gd name="connsiteY4" fmla="*/ 26435 h 81202"/>
                    <a:gd name="connsiteX5" fmla="*/ 48233 w 58038"/>
                    <a:gd name="connsiteY5" fmla="*/ 876 h 81202"/>
                    <a:gd name="connsiteX6" fmla="*/ 54815 w 58038"/>
                    <a:gd name="connsiteY6" fmla="*/ 899 h 81202"/>
                    <a:gd name="connsiteX7" fmla="*/ 58037 w 58038"/>
                    <a:gd name="connsiteY7" fmla="*/ 6646 h 81202"/>
                    <a:gd name="connsiteX8" fmla="*/ 57316 w 58038"/>
                    <a:gd name="connsiteY8" fmla="*/ 49198 h 81202"/>
                    <a:gd name="connsiteX9" fmla="*/ 54048 w 58038"/>
                    <a:gd name="connsiteY9" fmla="*/ 54765 h 81202"/>
                    <a:gd name="connsiteX10" fmla="*/ 9805 w 58038"/>
                    <a:gd name="connsiteY10" fmla="*/ 80301 h 81202"/>
                    <a:gd name="connsiteX11" fmla="*/ 6537 w 58038"/>
                    <a:gd name="connsiteY11" fmla="*/ 81203 h 81202"/>
                    <a:gd name="connsiteX12" fmla="*/ 13727 w 58038"/>
                    <a:gd name="connsiteY12" fmla="*/ 35923 h 81202"/>
                    <a:gd name="connsiteX13" fmla="*/ 13276 w 58038"/>
                    <a:gd name="connsiteY13" fmla="*/ 63217 h 81202"/>
                    <a:gd name="connsiteX14" fmla="*/ 44312 w 58038"/>
                    <a:gd name="connsiteY14" fmla="*/ 45299 h 81202"/>
                    <a:gd name="connsiteX15" fmla="*/ 44762 w 58038"/>
                    <a:gd name="connsiteY15" fmla="*/ 18005 h 81202"/>
                    <a:gd name="connsiteX16" fmla="*/ 13727 w 58038"/>
                    <a:gd name="connsiteY16" fmla="*/ 35923 h 8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8038" h="81202">
                      <a:moveTo>
                        <a:pt x="6537" y="81203"/>
                      </a:moveTo>
                      <a:cubicBezTo>
                        <a:pt x="5388" y="81203"/>
                        <a:pt x="4238" y="80910"/>
                        <a:pt x="3224" y="80301"/>
                      </a:cubicBezTo>
                      <a:cubicBezTo>
                        <a:pt x="1196" y="79107"/>
                        <a:pt x="-44" y="76921"/>
                        <a:pt x="1" y="74554"/>
                      </a:cubicBezTo>
                      <a:lnTo>
                        <a:pt x="722" y="32002"/>
                      </a:lnTo>
                      <a:cubicBezTo>
                        <a:pt x="767" y="29703"/>
                        <a:pt x="2007" y="27584"/>
                        <a:pt x="3990" y="26435"/>
                      </a:cubicBezTo>
                      <a:lnTo>
                        <a:pt x="48233" y="876"/>
                      </a:lnTo>
                      <a:cubicBezTo>
                        <a:pt x="50284" y="-296"/>
                        <a:pt x="52786" y="-296"/>
                        <a:pt x="54815" y="899"/>
                      </a:cubicBezTo>
                      <a:cubicBezTo>
                        <a:pt x="56843" y="2093"/>
                        <a:pt x="58083" y="4279"/>
                        <a:pt x="58037" y="6646"/>
                      </a:cubicBezTo>
                      <a:lnTo>
                        <a:pt x="57316" y="49198"/>
                      </a:lnTo>
                      <a:cubicBezTo>
                        <a:pt x="57271" y="51497"/>
                        <a:pt x="56032" y="53616"/>
                        <a:pt x="54048" y="54765"/>
                      </a:cubicBezTo>
                      <a:lnTo>
                        <a:pt x="9805" y="80301"/>
                      </a:lnTo>
                      <a:cubicBezTo>
                        <a:pt x="8814" y="80910"/>
                        <a:pt x="7664" y="81203"/>
                        <a:pt x="6537" y="81203"/>
                      </a:cubicBezTo>
                      <a:close/>
                      <a:moveTo>
                        <a:pt x="13727" y="35923"/>
                      </a:moveTo>
                      <a:lnTo>
                        <a:pt x="13276" y="63217"/>
                      </a:lnTo>
                      <a:lnTo>
                        <a:pt x="44312" y="45299"/>
                      </a:lnTo>
                      <a:lnTo>
                        <a:pt x="44762" y="18005"/>
                      </a:lnTo>
                      <a:lnTo>
                        <a:pt x="13727" y="35923"/>
                      </a:lnTo>
                      <a:close/>
                    </a:path>
                  </a:pathLst>
                </a:custGeom>
                <a:grpFill/>
                <a:ln w="2254" cap="flat">
                  <a:noFill/>
                  <a:prstDash val="solid"/>
                  <a:miter/>
                </a:ln>
              </p:spPr>
              <p:txBody>
                <a:bodyPr rtlCol="0" anchor="ctr"/>
                <a:lstStyle/>
                <a:p>
                  <a:endParaRPr lang="en-GB" dirty="0"/>
                </a:p>
              </p:txBody>
            </p:sp>
            <p:sp>
              <p:nvSpPr>
                <p:cNvPr id="268" name="Freihandform: Form 470">
                  <a:extLst>
                    <a:ext uri="{FF2B5EF4-FFF2-40B4-BE49-F238E27FC236}">
                      <a16:creationId xmlns:a16="http://schemas.microsoft.com/office/drawing/2014/main" id="{23D5E73E-0C6D-4CB1-A054-E1ABE298764A}"/>
                    </a:ext>
                  </a:extLst>
                </p:cNvPr>
                <p:cNvSpPr/>
                <p:nvPr/>
              </p:nvSpPr>
              <p:spPr>
                <a:xfrm>
                  <a:off x="876651" y="4280313"/>
                  <a:ext cx="253284" cy="151750"/>
                </a:xfrm>
                <a:custGeom>
                  <a:avLst/>
                  <a:gdLst>
                    <a:gd name="connsiteX0" fmla="*/ 6558 w 253284"/>
                    <a:gd name="connsiteY0" fmla="*/ 151750 h 151750"/>
                    <a:gd name="connsiteX1" fmla="*/ 878 w 253284"/>
                    <a:gd name="connsiteY1" fmla="*/ 148482 h 151750"/>
                    <a:gd name="connsiteX2" fmla="*/ 3267 w 253284"/>
                    <a:gd name="connsiteY2" fmla="*/ 139557 h 151750"/>
                    <a:gd name="connsiteX3" fmla="*/ 243459 w 253284"/>
                    <a:gd name="connsiteY3" fmla="*/ 878 h 151750"/>
                    <a:gd name="connsiteX4" fmla="*/ 252406 w 253284"/>
                    <a:gd name="connsiteY4" fmla="*/ 3267 h 151750"/>
                    <a:gd name="connsiteX5" fmla="*/ 250017 w 253284"/>
                    <a:gd name="connsiteY5" fmla="*/ 12215 h 151750"/>
                    <a:gd name="connsiteX6" fmla="*/ 9826 w 253284"/>
                    <a:gd name="connsiteY6" fmla="*/ 150894 h 151750"/>
                    <a:gd name="connsiteX7" fmla="*/ 6558 w 253284"/>
                    <a:gd name="connsiteY7" fmla="*/ 151750 h 15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284" h="151750">
                      <a:moveTo>
                        <a:pt x="6558" y="151750"/>
                      </a:moveTo>
                      <a:cubicBezTo>
                        <a:pt x="4304" y="151750"/>
                        <a:pt x="2095" y="150578"/>
                        <a:pt x="878" y="148482"/>
                      </a:cubicBezTo>
                      <a:cubicBezTo>
                        <a:pt x="-925" y="145349"/>
                        <a:pt x="134" y="141360"/>
                        <a:pt x="3267" y="139557"/>
                      </a:cubicBezTo>
                      <a:lnTo>
                        <a:pt x="243459" y="878"/>
                      </a:lnTo>
                      <a:cubicBezTo>
                        <a:pt x="246569" y="-925"/>
                        <a:pt x="250581" y="135"/>
                        <a:pt x="252406" y="3267"/>
                      </a:cubicBezTo>
                      <a:cubicBezTo>
                        <a:pt x="254210" y="6400"/>
                        <a:pt x="253150" y="10389"/>
                        <a:pt x="250017" y="12215"/>
                      </a:cubicBezTo>
                      <a:lnTo>
                        <a:pt x="9826" y="150894"/>
                      </a:lnTo>
                      <a:cubicBezTo>
                        <a:pt x="8789" y="151457"/>
                        <a:pt x="7662" y="151750"/>
                        <a:pt x="6558" y="151750"/>
                      </a:cubicBezTo>
                      <a:close/>
                    </a:path>
                  </a:pathLst>
                </a:custGeom>
                <a:grpFill/>
                <a:ln w="2254" cap="flat">
                  <a:noFill/>
                  <a:prstDash val="solid"/>
                  <a:miter/>
                </a:ln>
              </p:spPr>
              <p:txBody>
                <a:bodyPr rtlCol="0" anchor="ctr"/>
                <a:lstStyle/>
                <a:p>
                  <a:endParaRPr lang="en-GB" dirty="0"/>
                </a:p>
              </p:txBody>
            </p:sp>
          </p:grpSp>
        </p:grpSp>
        <p:grpSp>
          <p:nvGrpSpPr>
            <p:cNvPr id="235" name="Grafik 28">
              <a:extLst>
                <a:ext uri="{FF2B5EF4-FFF2-40B4-BE49-F238E27FC236}">
                  <a16:creationId xmlns:a16="http://schemas.microsoft.com/office/drawing/2014/main" id="{661AC872-76C2-404A-82EE-2499D078D0EE}"/>
                </a:ext>
              </a:extLst>
            </p:cNvPr>
            <p:cNvGrpSpPr/>
            <p:nvPr/>
          </p:nvGrpSpPr>
          <p:grpSpPr>
            <a:xfrm>
              <a:off x="825218" y="3478317"/>
              <a:ext cx="218967" cy="180731"/>
              <a:chOff x="1143618" y="4352525"/>
              <a:chExt cx="222002" cy="183236"/>
            </a:xfrm>
            <a:solidFill>
              <a:schemeClr val="accent1"/>
            </a:solidFill>
          </p:grpSpPr>
          <p:grpSp>
            <p:nvGrpSpPr>
              <p:cNvPr id="236" name="Grafik 28">
                <a:extLst>
                  <a:ext uri="{FF2B5EF4-FFF2-40B4-BE49-F238E27FC236}">
                    <a16:creationId xmlns:a16="http://schemas.microsoft.com/office/drawing/2014/main" id="{9D5E6588-665E-48F0-B37F-13CE6EA24FC3}"/>
                  </a:ext>
                </a:extLst>
              </p:cNvPr>
              <p:cNvGrpSpPr/>
              <p:nvPr/>
            </p:nvGrpSpPr>
            <p:grpSpPr>
              <a:xfrm>
                <a:off x="1263028" y="4418292"/>
                <a:ext cx="102592" cy="103496"/>
                <a:chOff x="1263028" y="4418292"/>
                <a:chExt cx="102592" cy="103496"/>
              </a:xfrm>
              <a:solidFill>
                <a:schemeClr val="accent1"/>
              </a:solidFill>
            </p:grpSpPr>
            <p:sp>
              <p:nvSpPr>
                <p:cNvPr id="255" name="Freihandform: Form 473">
                  <a:extLst>
                    <a:ext uri="{FF2B5EF4-FFF2-40B4-BE49-F238E27FC236}">
                      <a16:creationId xmlns:a16="http://schemas.microsoft.com/office/drawing/2014/main" id="{D2172442-32CE-4A45-876D-E0BF5150ACAC}"/>
                    </a:ext>
                  </a:extLst>
                </p:cNvPr>
                <p:cNvSpPr/>
                <p:nvPr/>
              </p:nvSpPr>
              <p:spPr>
                <a:xfrm>
                  <a:off x="1263028" y="4463189"/>
                  <a:ext cx="102570" cy="58599"/>
                </a:xfrm>
                <a:custGeom>
                  <a:avLst/>
                  <a:gdLst>
                    <a:gd name="connsiteX0" fmla="*/ 36398 w 102570"/>
                    <a:gd name="connsiteY0" fmla="*/ 58600 h 58599"/>
                    <a:gd name="connsiteX1" fmla="*/ 5227 w 102570"/>
                    <a:gd name="connsiteY1" fmla="*/ 55625 h 58599"/>
                    <a:gd name="connsiteX2" fmla="*/ 133 w 102570"/>
                    <a:gd name="connsiteY2" fmla="*/ 47894 h 58599"/>
                    <a:gd name="connsiteX3" fmla="*/ 7864 w 102570"/>
                    <a:gd name="connsiteY3" fmla="*/ 42800 h 58599"/>
                    <a:gd name="connsiteX4" fmla="*/ 36398 w 102570"/>
                    <a:gd name="connsiteY4" fmla="*/ 45505 h 58599"/>
                    <a:gd name="connsiteX5" fmla="*/ 89498 w 102570"/>
                    <a:gd name="connsiteY5" fmla="*/ 31824 h 58599"/>
                    <a:gd name="connsiteX6" fmla="*/ 89498 w 102570"/>
                    <a:gd name="connsiteY6" fmla="*/ 6536 h 58599"/>
                    <a:gd name="connsiteX7" fmla="*/ 96034 w 102570"/>
                    <a:gd name="connsiteY7" fmla="*/ 0 h 58599"/>
                    <a:gd name="connsiteX8" fmla="*/ 102570 w 102570"/>
                    <a:gd name="connsiteY8" fmla="*/ 6536 h 58599"/>
                    <a:gd name="connsiteX9" fmla="*/ 102570 w 102570"/>
                    <a:gd name="connsiteY9" fmla="*/ 31824 h 58599"/>
                    <a:gd name="connsiteX10" fmla="*/ 36398 w 102570"/>
                    <a:gd name="connsiteY10" fmla="*/ 58600 h 58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570" h="58599">
                      <a:moveTo>
                        <a:pt x="36398" y="58600"/>
                      </a:moveTo>
                      <a:cubicBezTo>
                        <a:pt x="25196" y="58600"/>
                        <a:pt x="15009" y="57631"/>
                        <a:pt x="5227" y="55625"/>
                      </a:cubicBezTo>
                      <a:cubicBezTo>
                        <a:pt x="1688" y="54903"/>
                        <a:pt x="-588" y="51433"/>
                        <a:pt x="133" y="47894"/>
                      </a:cubicBezTo>
                      <a:cubicBezTo>
                        <a:pt x="855" y="44356"/>
                        <a:pt x="4303" y="42079"/>
                        <a:pt x="7864" y="42800"/>
                      </a:cubicBezTo>
                      <a:cubicBezTo>
                        <a:pt x="16767" y="44626"/>
                        <a:pt x="26098" y="45505"/>
                        <a:pt x="36398" y="45505"/>
                      </a:cubicBezTo>
                      <a:cubicBezTo>
                        <a:pt x="70881" y="45505"/>
                        <a:pt x="89498" y="35791"/>
                        <a:pt x="89498" y="31824"/>
                      </a:cubicBezTo>
                      <a:lnTo>
                        <a:pt x="89498" y="6536"/>
                      </a:lnTo>
                      <a:cubicBezTo>
                        <a:pt x="89498" y="2930"/>
                        <a:pt x="92428" y="0"/>
                        <a:pt x="96034" y="0"/>
                      </a:cubicBezTo>
                      <a:cubicBezTo>
                        <a:pt x="99640" y="0"/>
                        <a:pt x="102570" y="2930"/>
                        <a:pt x="102570" y="6536"/>
                      </a:cubicBezTo>
                      <a:lnTo>
                        <a:pt x="102570" y="31824"/>
                      </a:lnTo>
                      <a:cubicBezTo>
                        <a:pt x="102570" y="50216"/>
                        <a:pt x="68267" y="58600"/>
                        <a:pt x="36398" y="58600"/>
                      </a:cubicBezTo>
                      <a:close/>
                    </a:path>
                  </a:pathLst>
                </a:custGeom>
                <a:solidFill>
                  <a:schemeClr val="accent1"/>
                </a:solidFill>
                <a:ln w="2254" cap="flat">
                  <a:noFill/>
                  <a:prstDash val="solid"/>
                  <a:miter/>
                </a:ln>
              </p:spPr>
              <p:txBody>
                <a:bodyPr rtlCol="0" anchor="ctr"/>
                <a:lstStyle/>
                <a:p>
                  <a:endParaRPr lang="en-GB" dirty="0"/>
                </a:p>
              </p:txBody>
            </p:sp>
            <p:grpSp>
              <p:nvGrpSpPr>
                <p:cNvPr id="256" name="Grafik 28">
                  <a:extLst>
                    <a:ext uri="{FF2B5EF4-FFF2-40B4-BE49-F238E27FC236}">
                      <a16:creationId xmlns:a16="http://schemas.microsoft.com/office/drawing/2014/main" id="{AC9CE063-72E1-49F0-BA7C-A56BE6C361A8}"/>
                    </a:ext>
                  </a:extLst>
                </p:cNvPr>
                <p:cNvGrpSpPr/>
                <p:nvPr/>
              </p:nvGrpSpPr>
              <p:grpSpPr>
                <a:xfrm>
                  <a:off x="1263141" y="4418292"/>
                  <a:ext cx="102479" cy="78839"/>
                  <a:chOff x="1263141" y="4418292"/>
                  <a:chExt cx="102479" cy="78839"/>
                </a:xfrm>
                <a:solidFill>
                  <a:schemeClr val="accent1"/>
                </a:solidFill>
              </p:grpSpPr>
              <p:sp>
                <p:nvSpPr>
                  <p:cNvPr id="257" name="Freihandform: Form 475">
                    <a:extLst>
                      <a:ext uri="{FF2B5EF4-FFF2-40B4-BE49-F238E27FC236}">
                        <a16:creationId xmlns:a16="http://schemas.microsoft.com/office/drawing/2014/main" id="{51065BC6-46C1-4E4C-978E-EF763D2009D0}"/>
                      </a:ext>
                    </a:extLst>
                  </p:cNvPr>
                  <p:cNvSpPr/>
                  <p:nvPr/>
                </p:nvSpPr>
                <p:spPr>
                  <a:xfrm>
                    <a:off x="1263141" y="4418292"/>
                    <a:ext cx="102434" cy="53551"/>
                  </a:xfrm>
                  <a:custGeom>
                    <a:avLst/>
                    <a:gdLst>
                      <a:gd name="connsiteX0" fmla="*/ 36284 w 102434"/>
                      <a:gd name="connsiteY0" fmla="*/ 53551 h 53551"/>
                      <a:gd name="connsiteX1" fmla="*/ 5880 w 102434"/>
                      <a:gd name="connsiteY1" fmla="*/ 50847 h 53551"/>
                      <a:gd name="connsiteX2" fmla="*/ 673 w 102434"/>
                      <a:gd name="connsiteY2" fmla="*/ 43184 h 53551"/>
                      <a:gd name="connsiteX3" fmla="*/ 8336 w 102434"/>
                      <a:gd name="connsiteY3" fmla="*/ 37977 h 53551"/>
                      <a:gd name="connsiteX4" fmla="*/ 36284 w 102434"/>
                      <a:gd name="connsiteY4" fmla="*/ 40457 h 53551"/>
                      <a:gd name="connsiteX5" fmla="*/ 89384 w 102434"/>
                      <a:gd name="connsiteY5" fmla="*/ 26776 h 53551"/>
                      <a:gd name="connsiteX6" fmla="*/ 36284 w 102434"/>
                      <a:gd name="connsiteY6" fmla="*/ 13095 h 53551"/>
                      <a:gd name="connsiteX7" fmla="*/ 7840 w 102434"/>
                      <a:gd name="connsiteY7" fmla="*/ 15642 h 53551"/>
                      <a:gd name="connsiteX8" fmla="*/ 132 w 102434"/>
                      <a:gd name="connsiteY8" fmla="*/ 10526 h 53551"/>
                      <a:gd name="connsiteX9" fmla="*/ 5249 w 102434"/>
                      <a:gd name="connsiteY9" fmla="*/ 2817 h 53551"/>
                      <a:gd name="connsiteX10" fmla="*/ 36261 w 102434"/>
                      <a:gd name="connsiteY10" fmla="*/ 0 h 53551"/>
                      <a:gd name="connsiteX11" fmla="*/ 102434 w 102434"/>
                      <a:gd name="connsiteY11" fmla="*/ 26776 h 53551"/>
                      <a:gd name="connsiteX12" fmla="*/ 36284 w 102434"/>
                      <a:gd name="connsiteY12" fmla="*/ 53551 h 53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2434" h="53551">
                        <a:moveTo>
                          <a:pt x="36284" y="53551"/>
                        </a:moveTo>
                        <a:cubicBezTo>
                          <a:pt x="25646" y="53551"/>
                          <a:pt x="15143" y="52627"/>
                          <a:pt x="5880" y="50847"/>
                        </a:cubicBezTo>
                        <a:cubicBezTo>
                          <a:pt x="2341" y="50170"/>
                          <a:pt x="-3" y="46745"/>
                          <a:pt x="673" y="43184"/>
                        </a:cubicBezTo>
                        <a:cubicBezTo>
                          <a:pt x="1349" y="39623"/>
                          <a:pt x="4798" y="37346"/>
                          <a:pt x="8336" y="37977"/>
                        </a:cubicBezTo>
                        <a:cubicBezTo>
                          <a:pt x="16788" y="39600"/>
                          <a:pt x="26457" y="40457"/>
                          <a:pt x="36284" y="40457"/>
                        </a:cubicBezTo>
                        <a:cubicBezTo>
                          <a:pt x="70768" y="40457"/>
                          <a:pt x="89384" y="30742"/>
                          <a:pt x="89384" y="26776"/>
                        </a:cubicBezTo>
                        <a:cubicBezTo>
                          <a:pt x="89384" y="22809"/>
                          <a:pt x="70790" y="13095"/>
                          <a:pt x="36284" y="13095"/>
                        </a:cubicBezTo>
                        <a:cubicBezTo>
                          <a:pt x="25713" y="13095"/>
                          <a:pt x="16405" y="13929"/>
                          <a:pt x="7840" y="15642"/>
                        </a:cubicBezTo>
                        <a:cubicBezTo>
                          <a:pt x="4279" y="16363"/>
                          <a:pt x="854" y="14064"/>
                          <a:pt x="132" y="10526"/>
                        </a:cubicBezTo>
                        <a:cubicBezTo>
                          <a:pt x="-589" y="6987"/>
                          <a:pt x="1710" y="3539"/>
                          <a:pt x="5249" y="2817"/>
                        </a:cubicBezTo>
                        <a:cubicBezTo>
                          <a:pt x="14670" y="924"/>
                          <a:pt x="24812" y="0"/>
                          <a:pt x="36261" y="0"/>
                        </a:cubicBezTo>
                        <a:cubicBezTo>
                          <a:pt x="68131" y="0"/>
                          <a:pt x="102434" y="8384"/>
                          <a:pt x="102434" y="26776"/>
                        </a:cubicBezTo>
                        <a:cubicBezTo>
                          <a:pt x="102457" y="45190"/>
                          <a:pt x="68153" y="53551"/>
                          <a:pt x="36284" y="53551"/>
                        </a:cubicBezTo>
                        <a:close/>
                      </a:path>
                    </a:pathLst>
                  </a:custGeom>
                  <a:solidFill>
                    <a:schemeClr val="accent1"/>
                  </a:solidFill>
                  <a:ln w="2254" cap="flat">
                    <a:noFill/>
                    <a:prstDash val="solid"/>
                    <a:miter/>
                  </a:ln>
                </p:spPr>
                <p:txBody>
                  <a:bodyPr rtlCol="0" anchor="ctr"/>
                  <a:lstStyle/>
                  <a:p>
                    <a:endParaRPr lang="en-GB" dirty="0"/>
                  </a:p>
                </p:txBody>
              </p:sp>
              <p:sp>
                <p:nvSpPr>
                  <p:cNvPr id="258" name="Freihandform: Form 476">
                    <a:extLst>
                      <a:ext uri="{FF2B5EF4-FFF2-40B4-BE49-F238E27FC236}">
                        <a16:creationId xmlns:a16="http://schemas.microsoft.com/office/drawing/2014/main" id="{D43A6594-7723-4B2C-BA6F-AA7EE7600D8D}"/>
                      </a:ext>
                    </a:extLst>
                  </p:cNvPr>
                  <p:cNvSpPr/>
                  <p:nvPr/>
                </p:nvSpPr>
                <p:spPr>
                  <a:xfrm>
                    <a:off x="1263562" y="4438554"/>
                    <a:ext cx="102058" cy="58577"/>
                  </a:xfrm>
                  <a:custGeom>
                    <a:avLst/>
                    <a:gdLst>
                      <a:gd name="connsiteX0" fmla="*/ 35863 w 102058"/>
                      <a:gd name="connsiteY0" fmla="*/ 58577 h 58577"/>
                      <a:gd name="connsiteX1" fmla="*/ 5301 w 102058"/>
                      <a:gd name="connsiteY1" fmla="*/ 55850 h 58577"/>
                      <a:gd name="connsiteX2" fmla="*/ 117 w 102058"/>
                      <a:gd name="connsiteY2" fmla="*/ 48187 h 58577"/>
                      <a:gd name="connsiteX3" fmla="*/ 7780 w 102058"/>
                      <a:gd name="connsiteY3" fmla="*/ 43003 h 58577"/>
                      <a:gd name="connsiteX4" fmla="*/ 35885 w 102058"/>
                      <a:gd name="connsiteY4" fmla="*/ 45505 h 58577"/>
                      <a:gd name="connsiteX5" fmla="*/ 88986 w 102058"/>
                      <a:gd name="connsiteY5" fmla="*/ 31824 h 58577"/>
                      <a:gd name="connsiteX6" fmla="*/ 88986 w 102058"/>
                      <a:gd name="connsiteY6" fmla="*/ 6536 h 58577"/>
                      <a:gd name="connsiteX7" fmla="*/ 95522 w 102058"/>
                      <a:gd name="connsiteY7" fmla="*/ 0 h 58577"/>
                      <a:gd name="connsiteX8" fmla="*/ 102058 w 102058"/>
                      <a:gd name="connsiteY8" fmla="*/ 6536 h 58577"/>
                      <a:gd name="connsiteX9" fmla="*/ 102058 w 102058"/>
                      <a:gd name="connsiteY9" fmla="*/ 31824 h 58577"/>
                      <a:gd name="connsiteX10" fmla="*/ 35863 w 102058"/>
                      <a:gd name="connsiteY10" fmla="*/ 58577 h 58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058" h="58577">
                        <a:moveTo>
                          <a:pt x="35863" y="58577"/>
                        </a:moveTo>
                        <a:cubicBezTo>
                          <a:pt x="25135" y="58577"/>
                          <a:pt x="14564" y="57630"/>
                          <a:pt x="5301" y="55850"/>
                        </a:cubicBezTo>
                        <a:cubicBezTo>
                          <a:pt x="1762" y="55174"/>
                          <a:pt x="-559" y="51725"/>
                          <a:pt x="117" y="48187"/>
                        </a:cubicBezTo>
                        <a:cubicBezTo>
                          <a:pt x="793" y="44648"/>
                          <a:pt x="4219" y="42372"/>
                          <a:pt x="7780" y="43003"/>
                        </a:cubicBezTo>
                        <a:cubicBezTo>
                          <a:pt x="16255" y="44648"/>
                          <a:pt x="25969" y="45505"/>
                          <a:pt x="35885" y="45505"/>
                        </a:cubicBezTo>
                        <a:cubicBezTo>
                          <a:pt x="70369" y="45505"/>
                          <a:pt x="88986" y="35791"/>
                          <a:pt x="88986" y="31824"/>
                        </a:cubicBezTo>
                        <a:lnTo>
                          <a:pt x="88986" y="6536"/>
                        </a:lnTo>
                        <a:cubicBezTo>
                          <a:pt x="88986" y="2930"/>
                          <a:pt x="91916" y="0"/>
                          <a:pt x="95522" y="0"/>
                        </a:cubicBezTo>
                        <a:cubicBezTo>
                          <a:pt x="99128" y="0"/>
                          <a:pt x="102058" y="2930"/>
                          <a:pt x="102058" y="6536"/>
                        </a:cubicBezTo>
                        <a:lnTo>
                          <a:pt x="102058" y="31824"/>
                        </a:lnTo>
                        <a:cubicBezTo>
                          <a:pt x="102036" y="50193"/>
                          <a:pt x="67732" y="58577"/>
                          <a:pt x="35863" y="58577"/>
                        </a:cubicBezTo>
                        <a:close/>
                      </a:path>
                    </a:pathLst>
                  </a:custGeom>
                  <a:solidFill>
                    <a:schemeClr val="accent1"/>
                  </a:solidFill>
                  <a:ln w="2254" cap="flat">
                    <a:noFill/>
                    <a:prstDash val="solid"/>
                    <a:miter/>
                  </a:ln>
                </p:spPr>
                <p:txBody>
                  <a:bodyPr rtlCol="0" anchor="ctr"/>
                  <a:lstStyle/>
                  <a:p>
                    <a:endParaRPr lang="en-GB" dirty="0"/>
                  </a:p>
                </p:txBody>
              </p:sp>
            </p:grpSp>
          </p:grpSp>
          <p:grpSp>
            <p:nvGrpSpPr>
              <p:cNvPr id="237" name="Grafik 28">
                <a:extLst>
                  <a:ext uri="{FF2B5EF4-FFF2-40B4-BE49-F238E27FC236}">
                    <a16:creationId xmlns:a16="http://schemas.microsoft.com/office/drawing/2014/main" id="{7A7F619E-35A6-4C21-A7FF-9DD98CE6906B}"/>
                  </a:ext>
                </a:extLst>
              </p:cNvPr>
              <p:cNvGrpSpPr/>
              <p:nvPr/>
            </p:nvGrpSpPr>
            <p:grpSpPr>
              <a:xfrm>
                <a:off x="1143618" y="4352525"/>
                <a:ext cx="132345" cy="183236"/>
                <a:chOff x="1143618" y="4352525"/>
                <a:chExt cx="132345" cy="183236"/>
              </a:xfrm>
              <a:solidFill>
                <a:schemeClr val="accent1"/>
              </a:solidFill>
            </p:grpSpPr>
            <p:grpSp>
              <p:nvGrpSpPr>
                <p:cNvPr id="238" name="Grafik 28">
                  <a:extLst>
                    <a:ext uri="{FF2B5EF4-FFF2-40B4-BE49-F238E27FC236}">
                      <a16:creationId xmlns:a16="http://schemas.microsoft.com/office/drawing/2014/main" id="{0F01F3AD-B05A-41BA-A372-01DFDBF88C87}"/>
                    </a:ext>
                  </a:extLst>
                </p:cNvPr>
                <p:cNvGrpSpPr/>
                <p:nvPr/>
              </p:nvGrpSpPr>
              <p:grpSpPr>
                <a:xfrm>
                  <a:off x="1143618" y="4475675"/>
                  <a:ext cx="132345" cy="60087"/>
                  <a:chOff x="1143618" y="4475675"/>
                  <a:chExt cx="132345" cy="60087"/>
                </a:xfrm>
                <a:solidFill>
                  <a:schemeClr val="accent1"/>
                </a:solidFill>
              </p:grpSpPr>
              <p:sp>
                <p:nvSpPr>
                  <p:cNvPr id="253" name="Freihandform: Form 479">
                    <a:extLst>
                      <a:ext uri="{FF2B5EF4-FFF2-40B4-BE49-F238E27FC236}">
                        <a16:creationId xmlns:a16="http://schemas.microsoft.com/office/drawing/2014/main" id="{B7E7D213-5298-4CB6-A363-A106D591296F}"/>
                      </a:ext>
                    </a:extLst>
                  </p:cNvPr>
                  <p:cNvSpPr/>
                  <p:nvPr/>
                </p:nvSpPr>
                <p:spPr>
                  <a:xfrm>
                    <a:off x="1143618" y="4475675"/>
                    <a:ext cx="132345" cy="33965"/>
                  </a:xfrm>
                  <a:custGeom>
                    <a:avLst/>
                    <a:gdLst>
                      <a:gd name="connsiteX0" fmla="*/ 66173 w 132345"/>
                      <a:gd name="connsiteY0" fmla="*/ 33965 h 33965"/>
                      <a:gd name="connsiteX1" fmla="*/ 0 w 132345"/>
                      <a:gd name="connsiteY1" fmla="*/ 6536 h 33965"/>
                      <a:gd name="connsiteX2" fmla="*/ 6536 w 132345"/>
                      <a:gd name="connsiteY2" fmla="*/ 0 h 33965"/>
                      <a:gd name="connsiteX3" fmla="*/ 13072 w 132345"/>
                      <a:gd name="connsiteY3" fmla="*/ 6536 h 33965"/>
                      <a:gd name="connsiteX4" fmla="*/ 66173 w 132345"/>
                      <a:gd name="connsiteY4" fmla="*/ 20893 h 33965"/>
                      <a:gd name="connsiteX5" fmla="*/ 119273 w 132345"/>
                      <a:gd name="connsiteY5" fmla="*/ 6536 h 33965"/>
                      <a:gd name="connsiteX6" fmla="*/ 125809 w 132345"/>
                      <a:gd name="connsiteY6" fmla="*/ 0 h 33965"/>
                      <a:gd name="connsiteX7" fmla="*/ 132345 w 132345"/>
                      <a:gd name="connsiteY7" fmla="*/ 6536 h 33965"/>
                      <a:gd name="connsiteX8" fmla="*/ 66173 w 132345"/>
                      <a:gd name="connsiteY8" fmla="*/ 33965 h 33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345" h="33965">
                        <a:moveTo>
                          <a:pt x="66173" y="33965"/>
                        </a:moveTo>
                        <a:cubicBezTo>
                          <a:pt x="33289" y="33965"/>
                          <a:pt x="0" y="24544"/>
                          <a:pt x="0" y="6536"/>
                        </a:cubicBezTo>
                        <a:cubicBezTo>
                          <a:pt x="0" y="2930"/>
                          <a:pt x="2930" y="0"/>
                          <a:pt x="6536" y="0"/>
                        </a:cubicBezTo>
                        <a:cubicBezTo>
                          <a:pt x="10142" y="0"/>
                          <a:pt x="13072" y="2930"/>
                          <a:pt x="13072" y="6536"/>
                        </a:cubicBezTo>
                        <a:cubicBezTo>
                          <a:pt x="13072" y="10706"/>
                          <a:pt x="31666" y="20893"/>
                          <a:pt x="66173" y="20893"/>
                        </a:cubicBezTo>
                        <a:cubicBezTo>
                          <a:pt x="100656" y="20893"/>
                          <a:pt x="119273" y="10706"/>
                          <a:pt x="119273" y="6536"/>
                        </a:cubicBezTo>
                        <a:cubicBezTo>
                          <a:pt x="119273" y="2930"/>
                          <a:pt x="122203" y="0"/>
                          <a:pt x="125809" y="0"/>
                        </a:cubicBezTo>
                        <a:cubicBezTo>
                          <a:pt x="129415" y="0"/>
                          <a:pt x="132345" y="2930"/>
                          <a:pt x="132345" y="6536"/>
                        </a:cubicBezTo>
                        <a:cubicBezTo>
                          <a:pt x="132345" y="24544"/>
                          <a:pt x="99056" y="33965"/>
                          <a:pt x="66173" y="33965"/>
                        </a:cubicBezTo>
                        <a:close/>
                      </a:path>
                    </a:pathLst>
                  </a:custGeom>
                  <a:solidFill>
                    <a:schemeClr val="accent1"/>
                  </a:solidFill>
                  <a:ln w="2254" cap="flat">
                    <a:noFill/>
                    <a:prstDash val="solid"/>
                    <a:miter/>
                  </a:ln>
                </p:spPr>
                <p:txBody>
                  <a:bodyPr rtlCol="0" anchor="ctr"/>
                  <a:lstStyle/>
                  <a:p>
                    <a:endParaRPr lang="en-GB" dirty="0"/>
                  </a:p>
                </p:txBody>
              </p:sp>
              <p:sp>
                <p:nvSpPr>
                  <p:cNvPr id="254" name="Freihandform: Form 480">
                    <a:extLst>
                      <a:ext uri="{FF2B5EF4-FFF2-40B4-BE49-F238E27FC236}">
                        <a16:creationId xmlns:a16="http://schemas.microsoft.com/office/drawing/2014/main" id="{BB083F9C-DF09-41C6-83F8-3020B45473B7}"/>
                      </a:ext>
                    </a:extLst>
                  </p:cNvPr>
                  <p:cNvSpPr/>
                  <p:nvPr/>
                </p:nvSpPr>
                <p:spPr>
                  <a:xfrm>
                    <a:off x="1143618" y="4475675"/>
                    <a:ext cx="132345" cy="60087"/>
                  </a:xfrm>
                  <a:custGeom>
                    <a:avLst/>
                    <a:gdLst>
                      <a:gd name="connsiteX0" fmla="*/ 66173 w 132345"/>
                      <a:gd name="connsiteY0" fmla="*/ 60087 h 60087"/>
                      <a:gd name="connsiteX1" fmla="*/ 0 w 132345"/>
                      <a:gd name="connsiteY1" fmla="*/ 32658 h 60087"/>
                      <a:gd name="connsiteX2" fmla="*/ 0 w 132345"/>
                      <a:gd name="connsiteY2" fmla="*/ 6536 h 60087"/>
                      <a:gd name="connsiteX3" fmla="*/ 6536 w 132345"/>
                      <a:gd name="connsiteY3" fmla="*/ 0 h 60087"/>
                      <a:gd name="connsiteX4" fmla="*/ 13072 w 132345"/>
                      <a:gd name="connsiteY4" fmla="*/ 6536 h 60087"/>
                      <a:gd name="connsiteX5" fmla="*/ 13072 w 132345"/>
                      <a:gd name="connsiteY5" fmla="*/ 32658 h 60087"/>
                      <a:gd name="connsiteX6" fmla="*/ 66173 w 132345"/>
                      <a:gd name="connsiteY6" fmla="*/ 47015 h 60087"/>
                      <a:gd name="connsiteX7" fmla="*/ 119273 w 132345"/>
                      <a:gd name="connsiteY7" fmla="*/ 32658 h 60087"/>
                      <a:gd name="connsiteX8" fmla="*/ 119273 w 132345"/>
                      <a:gd name="connsiteY8" fmla="*/ 6536 h 60087"/>
                      <a:gd name="connsiteX9" fmla="*/ 125809 w 132345"/>
                      <a:gd name="connsiteY9" fmla="*/ 0 h 60087"/>
                      <a:gd name="connsiteX10" fmla="*/ 132345 w 132345"/>
                      <a:gd name="connsiteY10" fmla="*/ 6536 h 60087"/>
                      <a:gd name="connsiteX11" fmla="*/ 132345 w 132345"/>
                      <a:gd name="connsiteY11" fmla="*/ 32658 h 60087"/>
                      <a:gd name="connsiteX12" fmla="*/ 66173 w 132345"/>
                      <a:gd name="connsiteY12" fmla="*/ 60087 h 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45" h="60087">
                        <a:moveTo>
                          <a:pt x="66173" y="60087"/>
                        </a:moveTo>
                        <a:cubicBezTo>
                          <a:pt x="33289" y="60087"/>
                          <a:pt x="0" y="50666"/>
                          <a:pt x="0" y="32658"/>
                        </a:cubicBezTo>
                        <a:lnTo>
                          <a:pt x="0" y="6536"/>
                        </a:lnTo>
                        <a:cubicBezTo>
                          <a:pt x="0" y="2930"/>
                          <a:pt x="2930" y="0"/>
                          <a:pt x="6536" y="0"/>
                        </a:cubicBezTo>
                        <a:cubicBezTo>
                          <a:pt x="10142" y="0"/>
                          <a:pt x="13072" y="2930"/>
                          <a:pt x="13072" y="6536"/>
                        </a:cubicBezTo>
                        <a:lnTo>
                          <a:pt x="13072" y="32658"/>
                        </a:lnTo>
                        <a:cubicBezTo>
                          <a:pt x="13072" y="36828"/>
                          <a:pt x="31666" y="47015"/>
                          <a:pt x="66173" y="47015"/>
                        </a:cubicBezTo>
                        <a:cubicBezTo>
                          <a:pt x="100656" y="47015"/>
                          <a:pt x="119273" y="36828"/>
                          <a:pt x="119273" y="32658"/>
                        </a:cubicBezTo>
                        <a:lnTo>
                          <a:pt x="119273" y="6536"/>
                        </a:lnTo>
                        <a:cubicBezTo>
                          <a:pt x="119273" y="2930"/>
                          <a:pt x="122203" y="0"/>
                          <a:pt x="125809" y="0"/>
                        </a:cubicBezTo>
                        <a:cubicBezTo>
                          <a:pt x="129415" y="0"/>
                          <a:pt x="132345" y="2930"/>
                          <a:pt x="132345" y="6536"/>
                        </a:cubicBezTo>
                        <a:lnTo>
                          <a:pt x="132345" y="32658"/>
                        </a:lnTo>
                        <a:cubicBezTo>
                          <a:pt x="132345" y="50666"/>
                          <a:pt x="99056" y="60087"/>
                          <a:pt x="66173" y="60087"/>
                        </a:cubicBezTo>
                        <a:close/>
                      </a:path>
                    </a:pathLst>
                  </a:custGeom>
                  <a:solidFill>
                    <a:schemeClr val="accent1"/>
                  </a:solidFill>
                  <a:ln w="2254" cap="flat">
                    <a:noFill/>
                    <a:prstDash val="solid"/>
                    <a:miter/>
                  </a:ln>
                </p:spPr>
                <p:txBody>
                  <a:bodyPr rtlCol="0" anchor="ctr"/>
                  <a:lstStyle/>
                  <a:p>
                    <a:endParaRPr lang="en-GB" dirty="0"/>
                  </a:p>
                </p:txBody>
              </p:sp>
            </p:grpSp>
            <p:grpSp>
              <p:nvGrpSpPr>
                <p:cNvPr id="239" name="Grafik 28">
                  <a:extLst>
                    <a:ext uri="{FF2B5EF4-FFF2-40B4-BE49-F238E27FC236}">
                      <a16:creationId xmlns:a16="http://schemas.microsoft.com/office/drawing/2014/main" id="{CA8C5001-7DE4-4791-965F-BEAC2671AD7B}"/>
                    </a:ext>
                  </a:extLst>
                </p:cNvPr>
                <p:cNvGrpSpPr/>
                <p:nvPr/>
              </p:nvGrpSpPr>
              <p:grpSpPr>
                <a:xfrm>
                  <a:off x="1143618" y="4424738"/>
                  <a:ext cx="132345" cy="85555"/>
                  <a:chOff x="1143618" y="4424738"/>
                  <a:chExt cx="132345" cy="85555"/>
                </a:xfrm>
                <a:solidFill>
                  <a:schemeClr val="accent1"/>
                </a:solidFill>
              </p:grpSpPr>
              <p:grpSp>
                <p:nvGrpSpPr>
                  <p:cNvPr id="247" name="Grafik 28">
                    <a:extLst>
                      <a:ext uri="{FF2B5EF4-FFF2-40B4-BE49-F238E27FC236}">
                        <a16:creationId xmlns:a16="http://schemas.microsoft.com/office/drawing/2014/main" id="{8F614F46-1985-43B4-ACAC-75A9BF5B9D8C}"/>
                      </a:ext>
                    </a:extLst>
                  </p:cNvPr>
                  <p:cNvGrpSpPr/>
                  <p:nvPr/>
                </p:nvGrpSpPr>
                <p:grpSpPr>
                  <a:xfrm>
                    <a:off x="1143618" y="4450206"/>
                    <a:ext cx="132345" cy="60087"/>
                    <a:chOff x="1143618" y="4450206"/>
                    <a:chExt cx="132345" cy="60087"/>
                  </a:xfrm>
                  <a:solidFill>
                    <a:schemeClr val="accent1"/>
                  </a:solidFill>
                </p:grpSpPr>
                <p:sp>
                  <p:nvSpPr>
                    <p:cNvPr id="251" name="Freihandform: Form 483">
                      <a:extLst>
                        <a:ext uri="{FF2B5EF4-FFF2-40B4-BE49-F238E27FC236}">
                          <a16:creationId xmlns:a16="http://schemas.microsoft.com/office/drawing/2014/main" id="{32B9CA4A-A908-4EDE-B9E5-E08BAFD192F6}"/>
                        </a:ext>
                      </a:extLst>
                    </p:cNvPr>
                    <p:cNvSpPr/>
                    <p:nvPr/>
                  </p:nvSpPr>
                  <p:spPr>
                    <a:xfrm>
                      <a:off x="1143618" y="4450206"/>
                      <a:ext cx="132345" cy="33965"/>
                    </a:xfrm>
                    <a:custGeom>
                      <a:avLst/>
                      <a:gdLst>
                        <a:gd name="connsiteX0" fmla="*/ 66173 w 132345"/>
                        <a:gd name="connsiteY0" fmla="*/ 33965 h 33965"/>
                        <a:gd name="connsiteX1" fmla="*/ 0 w 132345"/>
                        <a:gd name="connsiteY1" fmla="*/ 6536 h 33965"/>
                        <a:gd name="connsiteX2" fmla="*/ 6536 w 132345"/>
                        <a:gd name="connsiteY2" fmla="*/ 0 h 33965"/>
                        <a:gd name="connsiteX3" fmla="*/ 13072 w 132345"/>
                        <a:gd name="connsiteY3" fmla="*/ 6536 h 33965"/>
                        <a:gd name="connsiteX4" fmla="*/ 66173 w 132345"/>
                        <a:gd name="connsiteY4" fmla="*/ 20893 h 33965"/>
                        <a:gd name="connsiteX5" fmla="*/ 119273 w 132345"/>
                        <a:gd name="connsiteY5" fmla="*/ 6536 h 33965"/>
                        <a:gd name="connsiteX6" fmla="*/ 125809 w 132345"/>
                        <a:gd name="connsiteY6" fmla="*/ 0 h 33965"/>
                        <a:gd name="connsiteX7" fmla="*/ 132345 w 132345"/>
                        <a:gd name="connsiteY7" fmla="*/ 6536 h 33965"/>
                        <a:gd name="connsiteX8" fmla="*/ 66173 w 132345"/>
                        <a:gd name="connsiteY8" fmla="*/ 33965 h 33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345" h="33965">
                          <a:moveTo>
                            <a:pt x="66173" y="33965"/>
                          </a:moveTo>
                          <a:cubicBezTo>
                            <a:pt x="33289" y="33965"/>
                            <a:pt x="0" y="24544"/>
                            <a:pt x="0" y="6536"/>
                          </a:cubicBezTo>
                          <a:cubicBezTo>
                            <a:pt x="0" y="2930"/>
                            <a:pt x="2930" y="0"/>
                            <a:pt x="6536" y="0"/>
                          </a:cubicBezTo>
                          <a:cubicBezTo>
                            <a:pt x="10142" y="0"/>
                            <a:pt x="13072" y="2930"/>
                            <a:pt x="13072" y="6536"/>
                          </a:cubicBezTo>
                          <a:cubicBezTo>
                            <a:pt x="13072" y="10706"/>
                            <a:pt x="31666" y="20893"/>
                            <a:pt x="66173" y="20893"/>
                          </a:cubicBezTo>
                          <a:cubicBezTo>
                            <a:pt x="100656" y="20893"/>
                            <a:pt x="119273" y="10706"/>
                            <a:pt x="119273" y="6536"/>
                          </a:cubicBezTo>
                          <a:cubicBezTo>
                            <a:pt x="119273" y="2930"/>
                            <a:pt x="122203" y="0"/>
                            <a:pt x="125809" y="0"/>
                          </a:cubicBezTo>
                          <a:cubicBezTo>
                            <a:pt x="129415" y="0"/>
                            <a:pt x="132345" y="2930"/>
                            <a:pt x="132345" y="6536"/>
                          </a:cubicBezTo>
                          <a:cubicBezTo>
                            <a:pt x="132345" y="24544"/>
                            <a:pt x="99056" y="33965"/>
                            <a:pt x="66173" y="33965"/>
                          </a:cubicBezTo>
                          <a:close/>
                        </a:path>
                      </a:pathLst>
                    </a:custGeom>
                    <a:solidFill>
                      <a:schemeClr val="accent1"/>
                    </a:solidFill>
                    <a:ln w="2254" cap="flat">
                      <a:noFill/>
                      <a:prstDash val="solid"/>
                      <a:miter/>
                    </a:ln>
                  </p:spPr>
                  <p:txBody>
                    <a:bodyPr rtlCol="0" anchor="ctr"/>
                    <a:lstStyle/>
                    <a:p>
                      <a:endParaRPr lang="en-GB" dirty="0"/>
                    </a:p>
                  </p:txBody>
                </p:sp>
                <p:sp>
                  <p:nvSpPr>
                    <p:cNvPr id="252" name="Freihandform: Form 484">
                      <a:extLst>
                        <a:ext uri="{FF2B5EF4-FFF2-40B4-BE49-F238E27FC236}">
                          <a16:creationId xmlns:a16="http://schemas.microsoft.com/office/drawing/2014/main" id="{2BEBEB9A-8F45-488A-B73A-9765671962E1}"/>
                        </a:ext>
                      </a:extLst>
                    </p:cNvPr>
                    <p:cNvSpPr/>
                    <p:nvPr/>
                  </p:nvSpPr>
                  <p:spPr>
                    <a:xfrm>
                      <a:off x="1143618" y="4450206"/>
                      <a:ext cx="132345" cy="60087"/>
                    </a:xfrm>
                    <a:custGeom>
                      <a:avLst/>
                      <a:gdLst>
                        <a:gd name="connsiteX0" fmla="*/ 66173 w 132345"/>
                        <a:gd name="connsiteY0" fmla="*/ 60087 h 60087"/>
                        <a:gd name="connsiteX1" fmla="*/ 0 w 132345"/>
                        <a:gd name="connsiteY1" fmla="*/ 32658 h 60087"/>
                        <a:gd name="connsiteX2" fmla="*/ 0 w 132345"/>
                        <a:gd name="connsiteY2" fmla="*/ 6536 h 60087"/>
                        <a:gd name="connsiteX3" fmla="*/ 6536 w 132345"/>
                        <a:gd name="connsiteY3" fmla="*/ 0 h 60087"/>
                        <a:gd name="connsiteX4" fmla="*/ 13072 w 132345"/>
                        <a:gd name="connsiteY4" fmla="*/ 6536 h 60087"/>
                        <a:gd name="connsiteX5" fmla="*/ 13072 w 132345"/>
                        <a:gd name="connsiteY5" fmla="*/ 32658 h 60087"/>
                        <a:gd name="connsiteX6" fmla="*/ 66173 w 132345"/>
                        <a:gd name="connsiteY6" fmla="*/ 47015 h 60087"/>
                        <a:gd name="connsiteX7" fmla="*/ 119273 w 132345"/>
                        <a:gd name="connsiteY7" fmla="*/ 32658 h 60087"/>
                        <a:gd name="connsiteX8" fmla="*/ 119273 w 132345"/>
                        <a:gd name="connsiteY8" fmla="*/ 6536 h 60087"/>
                        <a:gd name="connsiteX9" fmla="*/ 125809 w 132345"/>
                        <a:gd name="connsiteY9" fmla="*/ 0 h 60087"/>
                        <a:gd name="connsiteX10" fmla="*/ 132345 w 132345"/>
                        <a:gd name="connsiteY10" fmla="*/ 6536 h 60087"/>
                        <a:gd name="connsiteX11" fmla="*/ 132345 w 132345"/>
                        <a:gd name="connsiteY11" fmla="*/ 32658 h 60087"/>
                        <a:gd name="connsiteX12" fmla="*/ 66173 w 132345"/>
                        <a:gd name="connsiteY12" fmla="*/ 60087 h 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45" h="60087">
                          <a:moveTo>
                            <a:pt x="66173" y="60087"/>
                          </a:moveTo>
                          <a:cubicBezTo>
                            <a:pt x="33289" y="60087"/>
                            <a:pt x="0" y="50666"/>
                            <a:pt x="0" y="32658"/>
                          </a:cubicBezTo>
                          <a:lnTo>
                            <a:pt x="0" y="6536"/>
                          </a:lnTo>
                          <a:cubicBezTo>
                            <a:pt x="0" y="2930"/>
                            <a:pt x="2930" y="0"/>
                            <a:pt x="6536" y="0"/>
                          </a:cubicBezTo>
                          <a:cubicBezTo>
                            <a:pt x="10142" y="0"/>
                            <a:pt x="13072" y="2930"/>
                            <a:pt x="13072" y="6536"/>
                          </a:cubicBezTo>
                          <a:lnTo>
                            <a:pt x="13072" y="32658"/>
                          </a:lnTo>
                          <a:cubicBezTo>
                            <a:pt x="13072" y="36828"/>
                            <a:pt x="31666" y="47015"/>
                            <a:pt x="66173" y="47015"/>
                          </a:cubicBezTo>
                          <a:cubicBezTo>
                            <a:pt x="100656" y="47015"/>
                            <a:pt x="119273" y="36828"/>
                            <a:pt x="119273" y="32658"/>
                          </a:cubicBezTo>
                          <a:lnTo>
                            <a:pt x="119273" y="6536"/>
                          </a:lnTo>
                          <a:cubicBezTo>
                            <a:pt x="119273" y="2930"/>
                            <a:pt x="122203" y="0"/>
                            <a:pt x="125809" y="0"/>
                          </a:cubicBezTo>
                          <a:cubicBezTo>
                            <a:pt x="129415" y="0"/>
                            <a:pt x="132345" y="2930"/>
                            <a:pt x="132345" y="6536"/>
                          </a:cubicBezTo>
                          <a:lnTo>
                            <a:pt x="132345" y="32658"/>
                          </a:lnTo>
                          <a:cubicBezTo>
                            <a:pt x="132345" y="50666"/>
                            <a:pt x="99056" y="60087"/>
                            <a:pt x="66173" y="60087"/>
                          </a:cubicBezTo>
                          <a:close/>
                        </a:path>
                      </a:pathLst>
                    </a:custGeom>
                    <a:solidFill>
                      <a:schemeClr val="accent1"/>
                    </a:solidFill>
                    <a:ln w="2254" cap="flat">
                      <a:noFill/>
                      <a:prstDash val="solid"/>
                      <a:miter/>
                    </a:ln>
                  </p:spPr>
                  <p:txBody>
                    <a:bodyPr rtlCol="0" anchor="ctr"/>
                    <a:lstStyle/>
                    <a:p>
                      <a:endParaRPr lang="en-GB" dirty="0"/>
                    </a:p>
                  </p:txBody>
                </p:sp>
              </p:grpSp>
              <p:grpSp>
                <p:nvGrpSpPr>
                  <p:cNvPr id="248" name="Grafik 28">
                    <a:extLst>
                      <a:ext uri="{FF2B5EF4-FFF2-40B4-BE49-F238E27FC236}">
                        <a16:creationId xmlns:a16="http://schemas.microsoft.com/office/drawing/2014/main" id="{63AE33BC-C276-4653-B3F3-D663A9A9967F}"/>
                      </a:ext>
                    </a:extLst>
                  </p:cNvPr>
                  <p:cNvGrpSpPr/>
                  <p:nvPr/>
                </p:nvGrpSpPr>
                <p:grpSpPr>
                  <a:xfrm>
                    <a:off x="1143618" y="4424738"/>
                    <a:ext cx="132345" cy="60087"/>
                    <a:chOff x="1143618" y="4424738"/>
                    <a:chExt cx="132345" cy="60087"/>
                  </a:xfrm>
                  <a:solidFill>
                    <a:schemeClr val="accent1"/>
                  </a:solidFill>
                </p:grpSpPr>
                <p:sp>
                  <p:nvSpPr>
                    <p:cNvPr id="249" name="Freihandform: Form 486">
                      <a:extLst>
                        <a:ext uri="{FF2B5EF4-FFF2-40B4-BE49-F238E27FC236}">
                          <a16:creationId xmlns:a16="http://schemas.microsoft.com/office/drawing/2014/main" id="{27024701-9EF1-40FA-A838-FD05C88237D8}"/>
                        </a:ext>
                      </a:extLst>
                    </p:cNvPr>
                    <p:cNvSpPr/>
                    <p:nvPr/>
                  </p:nvSpPr>
                  <p:spPr>
                    <a:xfrm>
                      <a:off x="1143618" y="4424738"/>
                      <a:ext cx="132345" cy="33965"/>
                    </a:xfrm>
                    <a:custGeom>
                      <a:avLst/>
                      <a:gdLst>
                        <a:gd name="connsiteX0" fmla="*/ 66173 w 132345"/>
                        <a:gd name="connsiteY0" fmla="*/ 33965 h 33965"/>
                        <a:gd name="connsiteX1" fmla="*/ 0 w 132345"/>
                        <a:gd name="connsiteY1" fmla="*/ 6536 h 33965"/>
                        <a:gd name="connsiteX2" fmla="*/ 6536 w 132345"/>
                        <a:gd name="connsiteY2" fmla="*/ 0 h 33965"/>
                        <a:gd name="connsiteX3" fmla="*/ 13072 w 132345"/>
                        <a:gd name="connsiteY3" fmla="*/ 6536 h 33965"/>
                        <a:gd name="connsiteX4" fmla="*/ 66173 w 132345"/>
                        <a:gd name="connsiteY4" fmla="*/ 20893 h 33965"/>
                        <a:gd name="connsiteX5" fmla="*/ 119273 w 132345"/>
                        <a:gd name="connsiteY5" fmla="*/ 6536 h 33965"/>
                        <a:gd name="connsiteX6" fmla="*/ 125809 w 132345"/>
                        <a:gd name="connsiteY6" fmla="*/ 0 h 33965"/>
                        <a:gd name="connsiteX7" fmla="*/ 132345 w 132345"/>
                        <a:gd name="connsiteY7" fmla="*/ 6536 h 33965"/>
                        <a:gd name="connsiteX8" fmla="*/ 66173 w 132345"/>
                        <a:gd name="connsiteY8" fmla="*/ 33965 h 33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345" h="33965">
                          <a:moveTo>
                            <a:pt x="66173" y="33965"/>
                          </a:moveTo>
                          <a:cubicBezTo>
                            <a:pt x="33289" y="33965"/>
                            <a:pt x="0" y="24544"/>
                            <a:pt x="0" y="6536"/>
                          </a:cubicBezTo>
                          <a:cubicBezTo>
                            <a:pt x="0" y="2930"/>
                            <a:pt x="2930" y="0"/>
                            <a:pt x="6536" y="0"/>
                          </a:cubicBezTo>
                          <a:cubicBezTo>
                            <a:pt x="10142" y="0"/>
                            <a:pt x="13072" y="2930"/>
                            <a:pt x="13072" y="6536"/>
                          </a:cubicBezTo>
                          <a:cubicBezTo>
                            <a:pt x="13072" y="10706"/>
                            <a:pt x="31666" y="20893"/>
                            <a:pt x="66173" y="20893"/>
                          </a:cubicBezTo>
                          <a:cubicBezTo>
                            <a:pt x="100656" y="20893"/>
                            <a:pt x="119273" y="10706"/>
                            <a:pt x="119273" y="6536"/>
                          </a:cubicBezTo>
                          <a:cubicBezTo>
                            <a:pt x="119273" y="2930"/>
                            <a:pt x="122203" y="0"/>
                            <a:pt x="125809" y="0"/>
                          </a:cubicBezTo>
                          <a:cubicBezTo>
                            <a:pt x="129415" y="0"/>
                            <a:pt x="132345" y="2930"/>
                            <a:pt x="132345" y="6536"/>
                          </a:cubicBezTo>
                          <a:cubicBezTo>
                            <a:pt x="132345" y="24544"/>
                            <a:pt x="99056" y="33965"/>
                            <a:pt x="66173" y="33965"/>
                          </a:cubicBezTo>
                          <a:close/>
                        </a:path>
                      </a:pathLst>
                    </a:custGeom>
                    <a:solidFill>
                      <a:schemeClr val="accent1"/>
                    </a:solidFill>
                    <a:ln w="2254" cap="flat">
                      <a:noFill/>
                      <a:prstDash val="solid"/>
                      <a:miter/>
                    </a:ln>
                  </p:spPr>
                  <p:txBody>
                    <a:bodyPr rtlCol="0" anchor="ctr"/>
                    <a:lstStyle/>
                    <a:p>
                      <a:endParaRPr lang="en-GB" dirty="0"/>
                    </a:p>
                  </p:txBody>
                </p:sp>
                <p:sp>
                  <p:nvSpPr>
                    <p:cNvPr id="250" name="Freihandform: Form 487">
                      <a:extLst>
                        <a:ext uri="{FF2B5EF4-FFF2-40B4-BE49-F238E27FC236}">
                          <a16:creationId xmlns:a16="http://schemas.microsoft.com/office/drawing/2014/main" id="{50A6D012-AD60-4D5B-B32F-35F74840FD13}"/>
                        </a:ext>
                      </a:extLst>
                    </p:cNvPr>
                    <p:cNvSpPr/>
                    <p:nvPr/>
                  </p:nvSpPr>
                  <p:spPr>
                    <a:xfrm>
                      <a:off x="1143618" y="4424738"/>
                      <a:ext cx="132345" cy="60087"/>
                    </a:xfrm>
                    <a:custGeom>
                      <a:avLst/>
                      <a:gdLst>
                        <a:gd name="connsiteX0" fmla="*/ 66173 w 132345"/>
                        <a:gd name="connsiteY0" fmla="*/ 60087 h 60087"/>
                        <a:gd name="connsiteX1" fmla="*/ 0 w 132345"/>
                        <a:gd name="connsiteY1" fmla="*/ 32658 h 60087"/>
                        <a:gd name="connsiteX2" fmla="*/ 0 w 132345"/>
                        <a:gd name="connsiteY2" fmla="*/ 6536 h 60087"/>
                        <a:gd name="connsiteX3" fmla="*/ 6536 w 132345"/>
                        <a:gd name="connsiteY3" fmla="*/ 0 h 60087"/>
                        <a:gd name="connsiteX4" fmla="*/ 13072 w 132345"/>
                        <a:gd name="connsiteY4" fmla="*/ 6536 h 60087"/>
                        <a:gd name="connsiteX5" fmla="*/ 13072 w 132345"/>
                        <a:gd name="connsiteY5" fmla="*/ 32658 h 60087"/>
                        <a:gd name="connsiteX6" fmla="*/ 66173 w 132345"/>
                        <a:gd name="connsiteY6" fmla="*/ 47015 h 60087"/>
                        <a:gd name="connsiteX7" fmla="*/ 119273 w 132345"/>
                        <a:gd name="connsiteY7" fmla="*/ 32658 h 60087"/>
                        <a:gd name="connsiteX8" fmla="*/ 119273 w 132345"/>
                        <a:gd name="connsiteY8" fmla="*/ 6536 h 60087"/>
                        <a:gd name="connsiteX9" fmla="*/ 125809 w 132345"/>
                        <a:gd name="connsiteY9" fmla="*/ 0 h 60087"/>
                        <a:gd name="connsiteX10" fmla="*/ 132345 w 132345"/>
                        <a:gd name="connsiteY10" fmla="*/ 6536 h 60087"/>
                        <a:gd name="connsiteX11" fmla="*/ 132345 w 132345"/>
                        <a:gd name="connsiteY11" fmla="*/ 32658 h 60087"/>
                        <a:gd name="connsiteX12" fmla="*/ 66173 w 132345"/>
                        <a:gd name="connsiteY12" fmla="*/ 60087 h 6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45" h="60087">
                          <a:moveTo>
                            <a:pt x="66173" y="60087"/>
                          </a:moveTo>
                          <a:cubicBezTo>
                            <a:pt x="33289" y="60087"/>
                            <a:pt x="0" y="50666"/>
                            <a:pt x="0" y="32658"/>
                          </a:cubicBezTo>
                          <a:lnTo>
                            <a:pt x="0" y="6536"/>
                          </a:lnTo>
                          <a:cubicBezTo>
                            <a:pt x="0" y="2930"/>
                            <a:pt x="2930" y="0"/>
                            <a:pt x="6536" y="0"/>
                          </a:cubicBezTo>
                          <a:cubicBezTo>
                            <a:pt x="10142" y="0"/>
                            <a:pt x="13072" y="2930"/>
                            <a:pt x="13072" y="6536"/>
                          </a:cubicBezTo>
                          <a:lnTo>
                            <a:pt x="13072" y="32658"/>
                          </a:lnTo>
                          <a:cubicBezTo>
                            <a:pt x="13072" y="36828"/>
                            <a:pt x="31666" y="47015"/>
                            <a:pt x="66173" y="47015"/>
                          </a:cubicBezTo>
                          <a:cubicBezTo>
                            <a:pt x="100656" y="47015"/>
                            <a:pt x="119273" y="36828"/>
                            <a:pt x="119273" y="32658"/>
                          </a:cubicBezTo>
                          <a:lnTo>
                            <a:pt x="119273" y="6536"/>
                          </a:lnTo>
                          <a:cubicBezTo>
                            <a:pt x="119273" y="2930"/>
                            <a:pt x="122203" y="0"/>
                            <a:pt x="125809" y="0"/>
                          </a:cubicBezTo>
                          <a:cubicBezTo>
                            <a:pt x="129415" y="0"/>
                            <a:pt x="132345" y="2930"/>
                            <a:pt x="132345" y="6536"/>
                          </a:cubicBezTo>
                          <a:lnTo>
                            <a:pt x="132345" y="32658"/>
                          </a:lnTo>
                          <a:cubicBezTo>
                            <a:pt x="132345" y="50666"/>
                            <a:pt x="99056" y="60087"/>
                            <a:pt x="66173" y="60087"/>
                          </a:cubicBezTo>
                          <a:close/>
                        </a:path>
                      </a:pathLst>
                    </a:custGeom>
                    <a:solidFill>
                      <a:schemeClr val="accent1"/>
                    </a:solidFill>
                    <a:ln w="2254" cap="flat">
                      <a:noFill/>
                      <a:prstDash val="solid"/>
                      <a:miter/>
                    </a:ln>
                  </p:spPr>
                  <p:txBody>
                    <a:bodyPr rtlCol="0" anchor="ctr"/>
                    <a:lstStyle/>
                    <a:p>
                      <a:endParaRPr lang="en-GB" dirty="0"/>
                    </a:p>
                  </p:txBody>
                </p:sp>
              </p:grpSp>
            </p:grpSp>
            <p:grpSp>
              <p:nvGrpSpPr>
                <p:cNvPr id="240" name="Grafik 28">
                  <a:extLst>
                    <a:ext uri="{FF2B5EF4-FFF2-40B4-BE49-F238E27FC236}">
                      <a16:creationId xmlns:a16="http://schemas.microsoft.com/office/drawing/2014/main" id="{AF7E39A2-2B3F-4910-B27A-AA1E1A8ECB25}"/>
                    </a:ext>
                  </a:extLst>
                </p:cNvPr>
                <p:cNvGrpSpPr/>
                <p:nvPr/>
              </p:nvGrpSpPr>
              <p:grpSpPr>
                <a:xfrm>
                  <a:off x="1143618" y="4352525"/>
                  <a:ext cx="132345" cy="106448"/>
                  <a:chOff x="1143618" y="4352525"/>
                  <a:chExt cx="132345" cy="106448"/>
                </a:xfrm>
                <a:solidFill>
                  <a:schemeClr val="accent1"/>
                </a:solidFill>
              </p:grpSpPr>
              <p:grpSp>
                <p:nvGrpSpPr>
                  <p:cNvPr id="241" name="Grafik 28">
                    <a:extLst>
                      <a:ext uri="{FF2B5EF4-FFF2-40B4-BE49-F238E27FC236}">
                        <a16:creationId xmlns:a16="http://schemas.microsoft.com/office/drawing/2014/main" id="{97AB5AF4-FC83-4258-95C5-C4C4C49B5331}"/>
                      </a:ext>
                    </a:extLst>
                  </p:cNvPr>
                  <p:cNvGrpSpPr/>
                  <p:nvPr/>
                </p:nvGrpSpPr>
                <p:grpSpPr>
                  <a:xfrm>
                    <a:off x="1143618" y="4398864"/>
                    <a:ext cx="132345" cy="60109"/>
                    <a:chOff x="1143618" y="4398864"/>
                    <a:chExt cx="132345" cy="60109"/>
                  </a:xfrm>
                  <a:solidFill>
                    <a:schemeClr val="accent1"/>
                  </a:solidFill>
                </p:grpSpPr>
                <p:sp>
                  <p:nvSpPr>
                    <p:cNvPr id="245" name="Freihandform: Form 490">
                      <a:extLst>
                        <a:ext uri="{FF2B5EF4-FFF2-40B4-BE49-F238E27FC236}">
                          <a16:creationId xmlns:a16="http://schemas.microsoft.com/office/drawing/2014/main" id="{93030EA9-91BB-4105-B40E-897940E6D6D2}"/>
                        </a:ext>
                      </a:extLst>
                    </p:cNvPr>
                    <p:cNvSpPr/>
                    <p:nvPr/>
                  </p:nvSpPr>
                  <p:spPr>
                    <a:xfrm>
                      <a:off x="1143618" y="4398864"/>
                      <a:ext cx="132345" cy="33988"/>
                    </a:xfrm>
                    <a:custGeom>
                      <a:avLst/>
                      <a:gdLst>
                        <a:gd name="connsiteX0" fmla="*/ 66173 w 132345"/>
                        <a:gd name="connsiteY0" fmla="*/ 33988 h 33988"/>
                        <a:gd name="connsiteX1" fmla="*/ 0 w 132345"/>
                        <a:gd name="connsiteY1" fmla="*/ 6536 h 33988"/>
                        <a:gd name="connsiteX2" fmla="*/ 6536 w 132345"/>
                        <a:gd name="connsiteY2" fmla="*/ 0 h 33988"/>
                        <a:gd name="connsiteX3" fmla="*/ 13072 w 132345"/>
                        <a:gd name="connsiteY3" fmla="*/ 6536 h 33988"/>
                        <a:gd name="connsiteX4" fmla="*/ 66173 w 132345"/>
                        <a:gd name="connsiteY4" fmla="*/ 20893 h 33988"/>
                        <a:gd name="connsiteX5" fmla="*/ 119273 w 132345"/>
                        <a:gd name="connsiteY5" fmla="*/ 6536 h 33988"/>
                        <a:gd name="connsiteX6" fmla="*/ 125809 w 132345"/>
                        <a:gd name="connsiteY6" fmla="*/ 0 h 33988"/>
                        <a:gd name="connsiteX7" fmla="*/ 132345 w 132345"/>
                        <a:gd name="connsiteY7" fmla="*/ 6536 h 33988"/>
                        <a:gd name="connsiteX8" fmla="*/ 66173 w 132345"/>
                        <a:gd name="connsiteY8" fmla="*/ 33988 h 3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345" h="33988">
                          <a:moveTo>
                            <a:pt x="66173" y="33988"/>
                          </a:moveTo>
                          <a:cubicBezTo>
                            <a:pt x="33289" y="33988"/>
                            <a:pt x="0" y="24567"/>
                            <a:pt x="0" y="6536"/>
                          </a:cubicBezTo>
                          <a:cubicBezTo>
                            <a:pt x="0" y="2930"/>
                            <a:pt x="2930" y="0"/>
                            <a:pt x="6536" y="0"/>
                          </a:cubicBezTo>
                          <a:cubicBezTo>
                            <a:pt x="10142" y="0"/>
                            <a:pt x="13072" y="2930"/>
                            <a:pt x="13072" y="6536"/>
                          </a:cubicBezTo>
                          <a:cubicBezTo>
                            <a:pt x="13072" y="10706"/>
                            <a:pt x="31666" y="20893"/>
                            <a:pt x="66173" y="20893"/>
                          </a:cubicBezTo>
                          <a:cubicBezTo>
                            <a:pt x="100656" y="20893"/>
                            <a:pt x="119273" y="10706"/>
                            <a:pt x="119273" y="6536"/>
                          </a:cubicBezTo>
                          <a:cubicBezTo>
                            <a:pt x="119273" y="2930"/>
                            <a:pt x="122203" y="0"/>
                            <a:pt x="125809" y="0"/>
                          </a:cubicBezTo>
                          <a:cubicBezTo>
                            <a:pt x="129415" y="0"/>
                            <a:pt x="132345" y="2930"/>
                            <a:pt x="132345" y="6536"/>
                          </a:cubicBezTo>
                          <a:cubicBezTo>
                            <a:pt x="132345" y="24567"/>
                            <a:pt x="99056" y="33988"/>
                            <a:pt x="66173" y="33988"/>
                          </a:cubicBezTo>
                          <a:close/>
                        </a:path>
                      </a:pathLst>
                    </a:custGeom>
                    <a:solidFill>
                      <a:schemeClr val="accent1"/>
                    </a:solidFill>
                    <a:ln w="2254" cap="flat">
                      <a:noFill/>
                      <a:prstDash val="solid"/>
                      <a:miter/>
                    </a:ln>
                  </p:spPr>
                  <p:txBody>
                    <a:bodyPr rtlCol="0" anchor="ctr"/>
                    <a:lstStyle/>
                    <a:p>
                      <a:endParaRPr lang="en-GB" dirty="0"/>
                    </a:p>
                  </p:txBody>
                </p:sp>
                <p:sp>
                  <p:nvSpPr>
                    <p:cNvPr id="246" name="Freihandform: Form 491">
                      <a:extLst>
                        <a:ext uri="{FF2B5EF4-FFF2-40B4-BE49-F238E27FC236}">
                          <a16:creationId xmlns:a16="http://schemas.microsoft.com/office/drawing/2014/main" id="{B3AB3CB0-5F64-44C2-A15E-3BA9350BB09F}"/>
                        </a:ext>
                      </a:extLst>
                    </p:cNvPr>
                    <p:cNvSpPr/>
                    <p:nvPr/>
                  </p:nvSpPr>
                  <p:spPr>
                    <a:xfrm>
                      <a:off x="1143618" y="4398864"/>
                      <a:ext cx="132345" cy="60109"/>
                    </a:xfrm>
                    <a:custGeom>
                      <a:avLst/>
                      <a:gdLst>
                        <a:gd name="connsiteX0" fmla="*/ 66173 w 132345"/>
                        <a:gd name="connsiteY0" fmla="*/ 60110 h 60109"/>
                        <a:gd name="connsiteX1" fmla="*/ 0 w 132345"/>
                        <a:gd name="connsiteY1" fmla="*/ 32658 h 60109"/>
                        <a:gd name="connsiteX2" fmla="*/ 0 w 132345"/>
                        <a:gd name="connsiteY2" fmla="*/ 6536 h 60109"/>
                        <a:gd name="connsiteX3" fmla="*/ 6536 w 132345"/>
                        <a:gd name="connsiteY3" fmla="*/ 0 h 60109"/>
                        <a:gd name="connsiteX4" fmla="*/ 13072 w 132345"/>
                        <a:gd name="connsiteY4" fmla="*/ 6536 h 60109"/>
                        <a:gd name="connsiteX5" fmla="*/ 13072 w 132345"/>
                        <a:gd name="connsiteY5" fmla="*/ 32658 h 60109"/>
                        <a:gd name="connsiteX6" fmla="*/ 66173 w 132345"/>
                        <a:gd name="connsiteY6" fmla="*/ 47015 h 60109"/>
                        <a:gd name="connsiteX7" fmla="*/ 119273 w 132345"/>
                        <a:gd name="connsiteY7" fmla="*/ 32658 h 60109"/>
                        <a:gd name="connsiteX8" fmla="*/ 119273 w 132345"/>
                        <a:gd name="connsiteY8" fmla="*/ 6536 h 60109"/>
                        <a:gd name="connsiteX9" fmla="*/ 125809 w 132345"/>
                        <a:gd name="connsiteY9" fmla="*/ 0 h 60109"/>
                        <a:gd name="connsiteX10" fmla="*/ 132345 w 132345"/>
                        <a:gd name="connsiteY10" fmla="*/ 6536 h 60109"/>
                        <a:gd name="connsiteX11" fmla="*/ 132345 w 132345"/>
                        <a:gd name="connsiteY11" fmla="*/ 32658 h 60109"/>
                        <a:gd name="connsiteX12" fmla="*/ 66173 w 132345"/>
                        <a:gd name="connsiteY12" fmla="*/ 60110 h 6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45" h="60109">
                          <a:moveTo>
                            <a:pt x="66173" y="60110"/>
                          </a:moveTo>
                          <a:cubicBezTo>
                            <a:pt x="33289" y="60110"/>
                            <a:pt x="0" y="50689"/>
                            <a:pt x="0" y="32658"/>
                          </a:cubicBezTo>
                          <a:lnTo>
                            <a:pt x="0" y="6536"/>
                          </a:lnTo>
                          <a:cubicBezTo>
                            <a:pt x="0" y="2930"/>
                            <a:pt x="2930" y="0"/>
                            <a:pt x="6536" y="0"/>
                          </a:cubicBezTo>
                          <a:cubicBezTo>
                            <a:pt x="10142" y="0"/>
                            <a:pt x="13072" y="2930"/>
                            <a:pt x="13072" y="6536"/>
                          </a:cubicBezTo>
                          <a:lnTo>
                            <a:pt x="13072" y="32658"/>
                          </a:lnTo>
                          <a:cubicBezTo>
                            <a:pt x="13072" y="36828"/>
                            <a:pt x="31666" y="47015"/>
                            <a:pt x="66173" y="47015"/>
                          </a:cubicBezTo>
                          <a:cubicBezTo>
                            <a:pt x="100656" y="47015"/>
                            <a:pt x="119273" y="36828"/>
                            <a:pt x="119273" y="32658"/>
                          </a:cubicBezTo>
                          <a:lnTo>
                            <a:pt x="119273" y="6536"/>
                          </a:lnTo>
                          <a:cubicBezTo>
                            <a:pt x="119273" y="2930"/>
                            <a:pt x="122203" y="0"/>
                            <a:pt x="125809" y="0"/>
                          </a:cubicBezTo>
                          <a:cubicBezTo>
                            <a:pt x="129415" y="0"/>
                            <a:pt x="132345" y="2930"/>
                            <a:pt x="132345" y="6536"/>
                          </a:cubicBezTo>
                          <a:lnTo>
                            <a:pt x="132345" y="32658"/>
                          </a:lnTo>
                          <a:cubicBezTo>
                            <a:pt x="132345" y="50689"/>
                            <a:pt x="99056" y="60110"/>
                            <a:pt x="66173" y="60110"/>
                          </a:cubicBezTo>
                          <a:close/>
                        </a:path>
                      </a:pathLst>
                    </a:custGeom>
                    <a:solidFill>
                      <a:schemeClr val="accent1"/>
                    </a:solidFill>
                    <a:ln w="2254" cap="flat">
                      <a:noFill/>
                      <a:prstDash val="solid"/>
                      <a:miter/>
                    </a:ln>
                  </p:spPr>
                  <p:txBody>
                    <a:bodyPr rtlCol="0" anchor="ctr"/>
                    <a:lstStyle/>
                    <a:p>
                      <a:endParaRPr lang="en-GB" dirty="0"/>
                    </a:p>
                  </p:txBody>
                </p:sp>
              </p:grpSp>
              <p:grpSp>
                <p:nvGrpSpPr>
                  <p:cNvPr id="242" name="Grafik 28">
                    <a:extLst>
                      <a:ext uri="{FF2B5EF4-FFF2-40B4-BE49-F238E27FC236}">
                        <a16:creationId xmlns:a16="http://schemas.microsoft.com/office/drawing/2014/main" id="{E2AEBDB6-1D3B-4011-9AE4-6DB71A277649}"/>
                      </a:ext>
                    </a:extLst>
                  </p:cNvPr>
                  <p:cNvGrpSpPr/>
                  <p:nvPr/>
                </p:nvGrpSpPr>
                <p:grpSpPr>
                  <a:xfrm>
                    <a:off x="1143618" y="4352525"/>
                    <a:ext cx="132345" cy="80980"/>
                    <a:chOff x="1143618" y="4352525"/>
                    <a:chExt cx="132345" cy="80980"/>
                  </a:xfrm>
                  <a:solidFill>
                    <a:schemeClr val="accent1"/>
                  </a:solidFill>
                </p:grpSpPr>
                <p:sp>
                  <p:nvSpPr>
                    <p:cNvPr id="243" name="Freihandform: Form 493">
                      <a:extLst>
                        <a:ext uri="{FF2B5EF4-FFF2-40B4-BE49-F238E27FC236}">
                          <a16:creationId xmlns:a16="http://schemas.microsoft.com/office/drawing/2014/main" id="{C9548918-B12C-4F2D-8427-8B8BA26C2E38}"/>
                        </a:ext>
                      </a:extLst>
                    </p:cNvPr>
                    <p:cNvSpPr/>
                    <p:nvPr/>
                  </p:nvSpPr>
                  <p:spPr>
                    <a:xfrm>
                      <a:off x="1143618" y="4352525"/>
                      <a:ext cx="132345" cy="54858"/>
                    </a:xfrm>
                    <a:custGeom>
                      <a:avLst/>
                      <a:gdLst>
                        <a:gd name="connsiteX0" fmla="*/ 66173 w 132345"/>
                        <a:gd name="connsiteY0" fmla="*/ 54858 h 54858"/>
                        <a:gd name="connsiteX1" fmla="*/ 0 w 132345"/>
                        <a:gd name="connsiteY1" fmla="*/ 27429 h 54858"/>
                        <a:gd name="connsiteX2" fmla="*/ 66173 w 132345"/>
                        <a:gd name="connsiteY2" fmla="*/ 0 h 54858"/>
                        <a:gd name="connsiteX3" fmla="*/ 132345 w 132345"/>
                        <a:gd name="connsiteY3" fmla="*/ 27429 h 54858"/>
                        <a:gd name="connsiteX4" fmla="*/ 66173 w 132345"/>
                        <a:gd name="connsiteY4" fmla="*/ 54858 h 54858"/>
                        <a:gd name="connsiteX5" fmla="*/ 66173 w 132345"/>
                        <a:gd name="connsiteY5" fmla="*/ 13072 h 54858"/>
                        <a:gd name="connsiteX6" fmla="*/ 13072 w 132345"/>
                        <a:gd name="connsiteY6" fmla="*/ 27429 h 54858"/>
                        <a:gd name="connsiteX7" fmla="*/ 66173 w 132345"/>
                        <a:gd name="connsiteY7" fmla="*/ 41786 h 54858"/>
                        <a:gd name="connsiteX8" fmla="*/ 119273 w 132345"/>
                        <a:gd name="connsiteY8" fmla="*/ 27429 h 54858"/>
                        <a:gd name="connsiteX9" fmla="*/ 66173 w 132345"/>
                        <a:gd name="connsiteY9" fmla="*/ 13072 h 54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345" h="54858">
                          <a:moveTo>
                            <a:pt x="66173" y="54858"/>
                          </a:moveTo>
                          <a:cubicBezTo>
                            <a:pt x="33289" y="54858"/>
                            <a:pt x="0" y="45437"/>
                            <a:pt x="0" y="27429"/>
                          </a:cubicBezTo>
                          <a:cubicBezTo>
                            <a:pt x="0" y="9421"/>
                            <a:pt x="33289" y="0"/>
                            <a:pt x="66173" y="0"/>
                          </a:cubicBezTo>
                          <a:cubicBezTo>
                            <a:pt x="99056" y="0"/>
                            <a:pt x="132345" y="9421"/>
                            <a:pt x="132345" y="27429"/>
                          </a:cubicBezTo>
                          <a:cubicBezTo>
                            <a:pt x="132345" y="45437"/>
                            <a:pt x="99056" y="54858"/>
                            <a:pt x="66173" y="54858"/>
                          </a:cubicBezTo>
                          <a:close/>
                          <a:moveTo>
                            <a:pt x="66173" y="13072"/>
                          </a:moveTo>
                          <a:cubicBezTo>
                            <a:pt x="31689" y="13072"/>
                            <a:pt x="13072" y="23259"/>
                            <a:pt x="13072" y="27429"/>
                          </a:cubicBezTo>
                          <a:cubicBezTo>
                            <a:pt x="13072" y="31599"/>
                            <a:pt x="31666" y="41786"/>
                            <a:pt x="66173" y="41786"/>
                          </a:cubicBezTo>
                          <a:cubicBezTo>
                            <a:pt x="100656" y="41786"/>
                            <a:pt x="119273" y="31599"/>
                            <a:pt x="119273" y="27429"/>
                          </a:cubicBezTo>
                          <a:cubicBezTo>
                            <a:pt x="119273" y="23259"/>
                            <a:pt x="100656" y="13072"/>
                            <a:pt x="66173" y="13072"/>
                          </a:cubicBezTo>
                          <a:close/>
                        </a:path>
                      </a:pathLst>
                    </a:custGeom>
                    <a:solidFill>
                      <a:schemeClr val="accent1"/>
                    </a:solidFill>
                    <a:ln w="2254" cap="flat">
                      <a:noFill/>
                      <a:prstDash val="solid"/>
                      <a:miter/>
                    </a:ln>
                  </p:spPr>
                  <p:txBody>
                    <a:bodyPr rtlCol="0" anchor="ctr"/>
                    <a:lstStyle/>
                    <a:p>
                      <a:endParaRPr lang="en-GB" dirty="0"/>
                    </a:p>
                  </p:txBody>
                </p:sp>
                <p:sp>
                  <p:nvSpPr>
                    <p:cNvPr id="244" name="Freihandform: Form 494">
                      <a:extLst>
                        <a:ext uri="{FF2B5EF4-FFF2-40B4-BE49-F238E27FC236}">
                          <a16:creationId xmlns:a16="http://schemas.microsoft.com/office/drawing/2014/main" id="{8C3EEE7C-D34B-472F-8551-1C8881F865DF}"/>
                        </a:ext>
                      </a:extLst>
                    </p:cNvPr>
                    <p:cNvSpPr/>
                    <p:nvPr/>
                  </p:nvSpPr>
                  <p:spPr>
                    <a:xfrm>
                      <a:off x="1143618" y="4373396"/>
                      <a:ext cx="132345" cy="60109"/>
                    </a:xfrm>
                    <a:custGeom>
                      <a:avLst/>
                      <a:gdLst>
                        <a:gd name="connsiteX0" fmla="*/ 66173 w 132345"/>
                        <a:gd name="connsiteY0" fmla="*/ 60110 h 60109"/>
                        <a:gd name="connsiteX1" fmla="*/ 0 w 132345"/>
                        <a:gd name="connsiteY1" fmla="*/ 32658 h 60109"/>
                        <a:gd name="connsiteX2" fmla="*/ 0 w 132345"/>
                        <a:gd name="connsiteY2" fmla="*/ 6536 h 60109"/>
                        <a:gd name="connsiteX3" fmla="*/ 6536 w 132345"/>
                        <a:gd name="connsiteY3" fmla="*/ 0 h 60109"/>
                        <a:gd name="connsiteX4" fmla="*/ 13072 w 132345"/>
                        <a:gd name="connsiteY4" fmla="*/ 6536 h 60109"/>
                        <a:gd name="connsiteX5" fmla="*/ 13072 w 132345"/>
                        <a:gd name="connsiteY5" fmla="*/ 32658 h 60109"/>
                        <a:gd name="connsiteX6" fmla="*/ 66173 w 132345"/>
                        <a:gd name="connsiteY6" fmla="*/ 47015 h 60109"/>
                        <a:gd name="connsiteX7" fmla="*/ 119273 w 132345"/>
                        <a:gd name="connsiteY7" fmla="*/ 32658 h 60109"/>
                        <a:gd name="connsiteX8" fmla="*/ 119273 w 132345"/>
                        <a:gd name="connsiteY8" fmla="*/ 6536 h 60109"/>
                        <a:gd name="connsiteX9" fmla="*/ 125809 w 132345"/>
                        <a:gd name="connsiteY9" fmla="*/ 0 h 60109"/>
                        <a:gd name="connsiteX10" fmla="*/ 132345 w 132345"/>
                        <a:gd name="connsiteY10" fmla="*/ 6536 h 60109"/>
                        <a:gd name="connsiteX11" fmla="*/ 132345 w 132345"/>
                        <a:gd name="connsiteY11" fmla="*/ 32658 h 60109"/>
                        <a:gd name="connsiteX12" fmla="*/ 66173 w 132345"/>
                        <a:gd name="connsiteY12" fmla="*/ 60110 h 6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345" h="60109">
                          <a:moveTo>
                            <a:pt x="66173" y="60110"/>
                          </a:moveTo>
                          <a:cubicBezTo>
                            <a:pt x="33289" y="60110"/>
                            <a:pt x="0" y="50689"/>
                            <a:pt x="0" y="32658"/>
                          </a:cubicBezTo>
                          <a:lnTo>
                            <a:pt x="0" y="6536"/>
                          </a:lnTo>
                          <a:cubicBezTo>
                            <a:pt x="0" y="2930"/>
                            <a:pt x="2930" y="0"/>
                            <a:pt x="6536" y="0"/>
                          </a:cubicBezTo>
                          <a:cubicBezTo>
                            <a:pt x="10142" y="0"/>
                            <a:pt x="13072" y="2930"/>
                            <a:pt x="13072" y="6536"/>
                          </a:cubicBezTo>
                          <a:lnTo>
                            <a:pt x="13072" y="32658"/>
                          </a:lnTo>
                          <a:cubicBezTo>
                            <a:pt x="13072" y="36828"/>
                            <a:pt x="31666" y="47015"/>
                            <a:pt x="66173" y="47015"/>
                          </a:cubicBezTo>
                          <a:cubicBezTo>
                            <a:pt x="100656" y="47015"/>
                            <a:pt x="119273" y="36828"/>
                            <a:pt x="119273" y="32658"/>
                          </a:cubicBezTo>
                          <a:lnTo>
                            <a:pt x="119273" y="6536"/>
                          </a:lnTo>
                          <a:cubicBezTo>
                            <a:pt x="119273" y="2930"/>
                            <a:pt x="122203" y="0"/>
                            <a:pt x="125809" y="0"/>
                          </a:cubicBezTo>
                          <a:cubicBezTo>
                            <a:pt x="129415" y="0"/>
                            <a:pt x="132345" y="2930"/>
                            <a:pt x="132345" y="6536"/>
                          </a:cubicBezTo>
                          <a:lnTo>
                            <a:pt x="132345" y="32658"/>
                          </a:lnTo>
                          <a:cubicBezTo>
                            <a:pt x="132345" y="50689"/>
                            <a:pt x="99056" y="60110"/>
                            <a:pt x="66173" y="60110"/>
                          </a:cubicBezTo>
                          <a:close/>
                        </a:path>
                      </a:pathLst>
                    </a:custGeom>
                    <a:solidFill>
                      <a:schemeClr val="accent1"/>
                    </a:solidFill>
                    <a:ln w="2254" cap="flat">
                      <a:noFill/>
                      <a:prstDash val="solid"/>
                      <a:miter/>
                    </a:ln>
                  </p:spPr>
                  <p:txBody>
                    <a:bodyPr rtlCol="0" anchor="ctr"/>
                    <a:lstStyle/>
                    <a:p>
                      <a:endParaRPr lang="en-GB" dirty="0"/>
                    </a:p>
                  </p:txBody>
                </p:sp>
              </p:grpSp>
            </p:grpSp>
          </p:grpSp>
        </p:grpSp>
      </p:grpSp>
      <p:grpSp>
        <p:nvGrpSpPr>
          <p:cNvPr id="472" name="Group 471">
            <a:extLst>
              <a:ext uri="{FF2B5EF4-FFF2-40B4-BE49-F238E27FC236}">
                <a16:creationId xmlns:a16="http://schemas.microsoft.com/office/drawing/2014/main" id="{D056CB22-C65C-8933-F760-591177869196}"/>
              </a:ext>
            </a:extLst>
          </p:cNvPr>
          <p:cNvGrpSpPr/>
          <p:nvPr/>
        </p:nvGrpSpPr>
        <p:grpSpPr>
          <a:xfrm>
            <a:off x="1608026" y="3227048"/>
            <a:ext cx="462916" cy="432000"/>
            <a:chOff x="1608026" y="3227048"/>
            <a:chExt cx="462916" cy="432000"/>
          </a:xfrm>
        </p:grpSpPr>
        <p:sp>
          <p:nvSpPr>
            <p:cNvPr id="270" name="Freihandform: Form 886">
              <a:extLst>
                <a:ext uri="{FF2B5EF4-FFF2-40B4-BE49-F238E27FC236}">
                  <a16:creationId xmlns:a16="http://schemas.microsoft.com/office/drawing/2014/main" id="{0F7212D8-330A-43FC-B217-5F82BD6AEAD1}"/>
                </a:ext>
              </a:extLst>
            </p:cNvPr>
            <p:cNvSpPr/>
            <p:nvPr/>
          </p:nvSpPr>
          <p:spPr>
            <a:xfrm>
              <a:off x="1910448" y="3480069"/>
              <a:ext cx="12320" cy="49377"/>
            </a:xfrm>
            <a:custGeom>
              <a:avLst/>
              <a:gdLst>
                <a:gd name="connsiteX0" fmla="*/ 6492 w 12983"/>
                <a:gd name="connsiteY0" fmla="*/ 52034 h 52033"/>
                <a:gd name="connsiteX1" fmla="*/ 0 w 12983"/>
                <a:gd name="connsiteY1" fmla="*/ 45542 h 52033"/>
                <a:gd name="connsiteX2" fmla="*/ 0 w 12983"/>
                <a:gd name="connsiteY2" fmla="*/ 6492 h 52033"/>
                <a:gd name="connsiteX3" fmla="*/ 6492 w 12983"/>
                <a:gd name="connsiteY3" fmla="*/ 0 h 52033"/>
                <a:gd name="connsiteX4" fmla="*/ 12983 w 12983"/>
                <a:gd name="connsiteY4" fmla="*/ 6492 h 52033"/>
                <a:gd name="connsiteX5" fmla="*/ 12983 w 12983"/>
                <a:gd name="connsiteY5" fmla="*/ 45517 h 52033"/>
                <a:gd name="connsiteX6" fmla="*/ 6492 w 12983"/>
                <a:gd name="connsiteY6" fmla="*/ 52034 h 5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83" h="52033">
                  <a:moveTo>
                    <a:pt x="6492" y="52034"/>
                  </a:moveTo>
                  <a:cubicBezTo>
                    <a:pt x="2894" y="52034"/>
                    <a:pt x="0" y="49115"/>
                    <a:pt x="0" y="45542"/>
                  </a:cubicBezTo>
                  <a:lnTo>
                    <a:pt x="0" y="6492"/>
                  </a:lnTo>
                  <a:cubicBezTo>
                    <a:pt x="0" y="2894"/>
                    <a:pt x="2919" y="0"/>
                    <a:pt x="6492" y="0"/>
                  </a:cubicBezTo>
                  <a:cubicBezTo>
                    <a:pt x="10090" y="0"/>
                    <a:pt x="12983" y="2919"/>
                    <a:pt x="12983" y="6492"/>
                  </a:cubicBezTo>
                  <a:lnTo>
                    <a:pt x="12983" y="45517"/>
                  </a:lnTo>
                  <a:cubicBezTo>
                    <a:pt x="13008" y="49115"/>
                    <a:pt x="10090" y="52034"/>
                    <a:pt x="6492" y="52034"/>
                  </a:cubicBezTo>
                  <a:close/>
                </a:path>
              </a:pathLst>
            </a:custGeom>
            <a:solidFill>
              <a:schemeClr val="tx2"/>
            </a:solidFill>
            <a:ln w="2515" cap="flat">
              <a:noFill/>
              <a:prstDash val="solid"/>
              <a:miter/>
            </a:ln>
          </p:spPr>
          <p:txBody>
            <a:bodyPr rtlCol="0" anchor="ctr"/>
            <a:lstStyle/>
            <a:p>
              <a:endParaRPr lang="en-GB" dirty="0"/>
            </a:p>
          </p:txBody>
        </p:sp>
        <p:sp>
          <p:nvSpPr>
            <p:cNvPr id="271" name="Freihandform: Form 896">
              <a:extLst>
                <a:ext uri="{FF2B5EF4-FFF2-40B4-BE49-F238E27FC236}">
                  <a16:creationId xmlns:a16="http://schemas.microsoft.com/office/drawing/2014/main" id="{08F962AD-F7F4-43FB-91F8-804670544444}"/>
                </a:ext>
              </a:extLst>
            </p:cNvPr>
            <p:cNvSpPr/>
            <p:nvPr/>
          </p:nvSpPr>
          <p:spPr>
            <a:xfrm>
              <a:off x="2003042" y="3486277"/>
              <a:ext cx="12320" cy="43169"/>
            </a:xfrm>
            <a:custGeom>
              <a:avLst/>
              <a:gdLst>
                <a:gd name="connsiteX0" fmla="*/ 6492 w 12983"/>
                <a:gd name="connsiteY0" fmla="*/ 45492 h 45491"/>
                <a:gd name="connsiteX1" fmla="*/ 0 w 12983"/>
                <a:gd name="connsiteY1" fmla="*/ 39000 h 45491"/>
                <a:gd name="connsiteX2" fmla="*/ 0 w 12983"/>
                <a:gd name="connsiteY2" fmla="*/ 6492 h 45491"/>
                <a:gd name="connsiteX3" fmla="*/ 6492 w 12983"/>
                <a:gd name="connsiteY3" fmla="*/ 0 h 45491"/>
                <a:gd name="connsiteX4" fmla="*/ 12983 w 12983"/>
                <a:gd name="connsiteY4" fmla="*/ 6492 h 45491"/>
                <a:gd name="connsiteX5" fmla="*/ 12983 w 12983"/>
                <a:gd name="connsiteY5" fmla="*/ 39000 h 45491"/>
                <a:gd name="connsiteX6" fmla="*/ 6492 w 12983"/>
                <a:gd name="connsiteY6" fmla="*/ 45492 h 45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83" h="45491">
                  <a:moveTo>
                    <a:pt x="6492" y="45492"/>
                  </a:moveTo>
                  <a:cubicBezTo>
                    <a:pt x="2894" y="45492"/>
                    <a:pt x="0" y="42573"/>
                    <a:pt x="0" y="39000"/>
                  </a:cubicBezTo>
                  <a:lnTo>
                    <a:pt x="0" y="6492"/>
                  </a:lnTo>
                  <a:cubicBezTo>
                    <a:pt x="0" y="2893"/>
                    <a:pt x="2919" y="0"/>
                    <a:pt x="6492" y="0"/>
                  </a:cubicBezTo>
                  <a:cubicBezTo>
                    <a:pt x="10090" y="0"/>
                    <a:pt x="12983" y="2919"/>
                    <a:pt x="12983" y="6492"/>
                  </a:cubicBezTo>
                  <a:lnTo>
                    <a:pt x="12983" y="39000"/>
                  </a:lnTo>
                  <a:cubicBezTo>
                    <a:pt x="12983" y="42573"/>
                    <a:pt x="10090" y="45492"/>
                    <a:pt x="6492" y="45492"/>
                  </a:cubicBezTo>
                  <a:close/>
                </a:path>
              </a:pathLst>
            </a:custGeom>
            <a:solidFill>
              <a:schemeClr val="tx2"/>
            </a:solidFill>
            <a:ln w="2515" cap="flat">
              <a:noFill/>
              <a:prstDash val="solid"/>
              <a:miter/>
            </a:ln>
          </p:spPr>
          <p:txBody>
            <a:bodyPr rtlCol="0" anchor="ctr"/>
            <a:lstStyle/>
            <a:p>
              <a:endParaRPr lang="en-GB" dirty="0"/>
            </a:p>
          </p:txBody>
        </p:sp>
        <p:grpSp>
          <p:nvGrpSpPr>
            <p:cNvPr id="272" name="Group 271">
              <a:extLst>
                <a:ext uri="{FF2B5EF4-FFF2-40B4-BE49-F238E27FC236}">
                  <a16:creationId xmlns:a16="http://schemas.microsoft.com/office/drawing/2014/main" id="{05BF2ABD-4BF2-4ECF-B534-6C0B7D82DE67}"/>
                </a:ext>
              </a:extLst>
            </p:cNvPr>
            <p:cNvGrpSpPr/>
            <p:nvPr/>
          </p:nvGrpSpPr>
          <p:grpSpPr>
            <a:xfrm>
              <a:off x="1684149" y="3412145"/>
              <a:ext cx="386793" cy="246903"/>
              <a:chOff x="5344782" y="3447856"/>
              <a:chExt cx="407602" cy="260186"/>
            </a:xfrm>
          </p:grpSpPr>
          <p:grpSp>
            <p:nvGrpSpPr>
              <p:cNvPr id="292" name="Grafik 21">
                <a:extLst>
                  <a:ext uri="{FF2B5EF4-FFF2-40B4-BE49-F238E27FC236}">
                    <a16:creationId xmlns:a16="http://schemas.microsoft.com/office/drawing/2014/main" id="{5A11BA46-4EAA-4765-B1E7-E0B34DEFE324}"/>
                  </a:ext>
                </a:extLst>
              </p:cNvPr>
              <p:cNvGrpSpPr/>
              <p:nvPr/>
            </p:nvGrpSpPr>
            <p:grpSpPr>
              <a:xfrm>
                <a:off x="5401139" y="3564976"/>
                <a:ext cx="318692" cy="143066"/>
                <a:chOff x="5401139" y="3564976"/>
                <a:chExt cx="318692" cy="143066"/>
              </a:xfrm>
              <a:solidFill>
                <a:schemeClr val="accent1"/>
              </a:solidFill>
            </p:grpSpPr>
            <p:sp>
              <p:nvSpPr>
                <p:cNvPr id="294" name="Freihandform: Form 905">
                  <a:extLst>
                    <a:ext uri="{FF2B5EF4-FFF2-40B4-BE49-F238E27FC236}">
                      <a16:creationId xmlns:a16="http://schemas.microsoft.com/office/drawing/2014/main" id="{06A16B3D-2739-4188-9CCB-16B602BA35FB}"/>
                    </a:ext>
                  </a:extLst>
                </p:cNvPr>
                <p:cNvSpPr/>
                <p:nvPr/>
              </p:nvSpPr>
              <p:spPr>
                <a:xfrm>
                  <a:off x="5544231" y="3662526"/>
                  <a:ext cx="156100" cy="45516"/>
                </a:xfrm>
                <a:custGeom>
                  <a:avLst/>
                  <a:gdLst>
                    <a:gd name="connsiteX0" fmla="*/ 143092 w 156100"/>
                    <a:gd name="connsiteY0" fmla="*/ 45517 h 45516"/>
                    <a:gd name="connsiteX1" fmla="*/ 13008 w 156100"/>
                    <a:gd name="connsiteY1" fmla="*/ 45517 h 45516"/>
                    <a:gd name="connsiteX2" fmla="*/ 0 w 156100"/>
                    <a:gd name="connsiteY2" fmla="*/ 32508 h 45516"/>
                    <a:gd name="connsiteX3" fmla="*/ 0 w 156100"/>
                    <a:gd name="connsiteY3" fmla="*/ 13008 h 45516"/>
                    <a:gd name="connsiteX4" fmla="*/ 13008 w 156100"/>
                    <a:gd name="connsiteY4" fmla="*/ 0 h 45516"/>
                    <a:gd name="connsiteX5" fmla="*/ 143092 w 156100"/>
                    <a:gd name="connsiteY5" fmla="*/ 0 h 45516"/>
                    <a:gd name="connsiteX6" fmla="*/ 156100 w 156100"/>
                    <a:gd name="connsiteY6" fmla="*/ 13008 h 45516"/>
                    <a:gd name="connsiteX7" fmla="*/ 156100 w 156100"/>
                    <a:gd name="connsiteY7" fmla="*/ 32508 h 45516"/>
                    <a:gd name="connsiteX8" fmla="*/ 143092 w 156100"/>
                    <a:gd name="connsiteY8" fmla="*/ 45517 h 45516"/>
                    <a:gd name="connsiteX9" fmla="*/ 13008 w 156100"/>
                    <a:gd name="connsiteY9" fmla="*/ 13008 h 45516"/>
                    <a:gd name="connsiteX10" fmla="*/ 13008 w 156100"/>
                    <a:gd name="connsiteY10" fmla="*/ 32508 h 45516"/>
                    <a:gd name="connsiteX11" fmla="*/ 143092 w 156100"/>
                    <a:gd name="connsiteY11" fmla="*/ 32508 h 45516"/>
                    <a:gd name="connsiteX12" fmla="*/ 143092 w 156100"/>
                    <a:gd name="connsiteY12" fmla="*/ 13008 h 45516"/>
                    <a:gd name="connsiteX13" fmla="*/ 13008 w 156100"/>
                    <a:gd name="connsiteY13" fmla="*/ 13008 h 4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100" h="45516">
                      <a:moveTo>
                        <a:pt x="143092" y="45517"/>
                      </a:moveTo>
                      <a:lnTo>
                        <a:pt x="13008" y="45517"/>
                      </a:lnTo>
                      <a:cubicBezTo>
                        <a:pt x="5837" y="45517"/>
                        <a:pt x="0" y="39679"/>
                        <a:pt x="0" y="32508"/>
                      </a:cubicBezTo>
                      <a:lnTo>
                        <a:pt x="0" y="13008"/>
                      </a:lnTo>
                      <a:cubicBezTo>
                        <a:pt x="0" y="5837"/>
                        <a:pt x="5837" y="0"/>
                        <a:pt x="13008" y="0"/>
                      </a:cubicBezTo>
                      <a:lnTo>
                        <a:pt x="143092" y="0"/>
                      </a:lnTo>
                      <a:cubicBezTo>
                        <a:pt x="150263" y="0"/>
                        <a:pt x="156100" y="5837"/>
                        <a:pt x="156100" y="13008"/>
                      </a:cubicBezTo>
                      <a:lnTo>
                        <a:pt x="156100" y="32508"/>
                      </a:lnTo>
                      <a:cubicBezTo>
                        <a:pt x="156100" y="39679"/>
                        <a:pt x="150263" y="45517"/>
                        <a:pt x="143092" y="45517"/>
                      </a:cubicBezTo>
                      <a:close/>
                      <a:moveTo>
                        <a:pt x="13008" y="13008"/>
                      </a:moveTo>
                      <a:lnTo>
                        <a:pt x="13008" y="32508"/>
                      </a:lnTo>
                      <a:lnTo>
                        <a:pt x="143092" y="32508"/>
                      </a:lnTo>
                      <a:lnTo>
                        <a:pt x="143092" y="13008"/>
                      </a:lnTo>
                      <a:lnTo>
                        <a:pt x="13008" y="13008"/>
                      </a:lnTo>
                      <a:close/>
                    </a:path>
                  </a:pathLst>
                </a:custGeom>
                <a:solidFill>
                  <a:schemeClr val="accent1"/>
                </a:solidFill>
                <a:ln w="2515" cap="flat">
                  <a:noFill/>
                  <a:prstDash val="solid"/>
                  <a:miter/>
                </a:ln>
              </p:spPr>
              <p:txBody>
                <a:bodyPr rtlCol="0" anchor="ctr"/>
                <a:lstStyle/>
                <a:p>
                  <a:endParaRPr lang="en-GB" dirty="0"/>
                </a:p>
              </p:txBody>
            </p:sp>
            <p:sp>
              <p:nvSpPr>
                <p:cNvPr id="295" name="Freihandform: Form 906">
                  <a:extLst>
                    <a:ext uri="{FF2B5EF4-FFF2-40B4-BE49-F238E27FC236}">
                      <a16:creationId xmlns:a16="http://schemas.microsoft.com/office/drawing/2014/main" id="{A18578D2-0C8E-4B87-91D1-7FAF07AD82DB}"/>
                    </a:ext>
                  </a:extLst>
                </p:cNvPr>
                <p:cNvSpPr/>
                <p:nvPr/>
              </p:nvSpPr>
              <p:spPr>
                <a:xfrm>
                  <a:off x="5544231" y="3630018"/>
                  <a:ext cx="156100" cy="45516"/>
                </a:xfrm>
                <a:custGeom>
                  <a:avLst/>
                  <a:gdLst>
                    <a:gd name="connsiteX0" fmla="*/ 143092 w 156100"/>
                    <a:gd name="connsiteY0" fmla="*/ 45517 h 45516"/>
                    <a:gd name="connsiteX1" fmla="*/ 13008 w 156100"/>
                    <a:gd name="connsiteY1" fmla="*/ 45517 h 45516"/>
                    <a:gd name="connsiteX2" fmla="*/ 0 w 156100"/>
                    <a:gd name="connsiteY2" fmla="*/ 32508 h 45516"/>
                    <a:gd name="connsiteX3" fmla="*/ 0 w 156100"/>
                    <a:gd name="connsiteY3" fmla="*/ 13008 h 45516"/>
                    <a:gd name="connsiteX4" fmla="*/ 13008 w 156100"/>
                    <a:gd name="connsiteY4" fmla="*/ 0 h 45516"/>
                    <a:gd name="connsiteX5" fmla="*/ 143092 w 156100"/>
                    <a:gd name="connsiteY5" fmla="*/ 0 h 45516"/>
                    <a:gd name="connsiteX6" fmla="*/ 156100 w 156100"/>
                    <a:gd name="connsiteY6" fmla="*/ 13008 h 45516"/>
                    <a:gd name="connsiteX7" fmla="*/ 156100 w 156100"/>
                    <a:gd name="connsiteY7" fmla="*/ 32508 h 45516"/>
                    <a:gd name="connsiteX8" fmla="*/ 143092 w 156100"/>
                    <a:gd name="connsiteY8" fmla="*/ 45517 h 45516"/>
                    <a:gd name="connsiteX9" fmla="*/ 13008 w 156100"/>
                    <a:gd name="connsiteY9" fmla="*/ 12983 h 45516"/>
                    <a:gd name="connsiteX10" fmla="*/ 13008 w 156100"/>
                    <a:gd name="connsiteY10" fmla="*/ 32483 h 45516"/>
                    <a:gd name="connsiteX11" fmla="*/ 143092 w 156100"/>
                    <a:gd name="connsiteY11" fmla="*/ 32483 h 45516"/>
                    <a:gd name="connsiteX12" fmla="*/ 143092 w 156100"/>
                    <a:gd name="connsiteY12" fmla="*/ 12983 h 45516"/>
                    <a:gd name="connsiteX13" fmla="*/ 13008 w 156100"/>
                    <a:gd name="connsiteY13" fmla="*/ 12983 h 4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100" h="45516">
                      <a:moveTo>
                        <a:pt x="143092" y="45517"/>
                      </a:moveTo>
                      <a:lnTo>
                        <a:pt x="13008" y="45517"/>
                      </a:lnTo>
                      <a:cubicBezTo>
                        <a:pt x="5837" y="45517"/>
                        <a:pt x="0" y="39679"/>
                        <a:pt x="0" y="32508"/>
                      </a:cubicBezTo>
                      <a:lnTo>
                        <a:pt x="0" y="13008"/>
                      </a:lnTo>
                      <a:cubicBezTo>
                        <a:pt x="0" y="5837"/>
                        <a:pt x="5837" y="0"/>
                        <a:pt x="13008" y="0"/>
                      </a:cubicBezTo>
                      <a:lnTo>
                        <a:pt x="143092" y="0"/>
                      </a:lnTo>
                      <a:cubicBezTo>
                        <a:pt x="150263" y="0"/>
                        <a:pt x="156100" y="5837"/>
                        <a:pt x="156100" y="13008"/>
                      </a:cubicBezTo>
                      <a:lnTo>
                        <a:pt x="156100" y="32508"/>
                      </a:lnTo>
                      <a:cubicBezTo>
                        <a:pt x="156100" y="39679"/>
                        <a:pt x="150263" y="45517"/>
                        <a:pt x="143092" y="45517"/>
                      </a:cubicBezTo>
                      <a:close/>
                      <a:moveTo>
                        <a:pt x="13008" y="12983"/>
                      </a:moveTo>
                      <a:lnTo>
                        <a:pt x="13008" y="32483"/>
                      </a:lnTo>
                      <a:lnTo>
                        <a:pt x="143092" y="32483"/>
                      </a:lnTo>
                      <a:lnTo>
                        <a:pt x="143092" y="12983"/>
                      </a:lnTo>
                      <a:lnTo>
                        <a:pt x="13008" y="12983"/>
                      </a:lnTo>
                      <a:close/>
                    </a:path>
                  </a:pathLst>
                </a:custGeom>
                <a:solidFill>
                  <a:schemeClr val="accent1"/>
                </a:solidFill>
                <a:ln w="2515" cap="flat">
                  <a:noFill/>
                  <a:prstDash val="solid"/>
                  <a:miter/>
                </a:ln>
              </p:spPr>
              <p:txBody>
                <a:bodyPr rtlCol="0" anchor="ctr"/>
                <a:lstStyle/>
                <a:p>
                  <a:endParaRPr lang="en-GB" dirty="0"/>
                </a:p>
              </p:txBody>
            </p:sp>
            <p:sp>
              <p:nvSpPr>
                <p:cNvPr id="296" name="Freihandform: Form 907">
                  <a:extLst>
                    <a:ext uri="{FF2B5EF4-FFF2-40B4-BE49-F238E27FC236}">
                      <a16:creationId xmlns:a16="http://schemas.microsoft.com/office/drawing/2014/main" id="{23C36600-8C75-442F-8700-0E6A76EB605D}"/>
                    </a:ext>
                  </a:extLst>
                </p:cNvPr>
                <p:cNvSpPr/>
                <p:nvPr/>
              </p:nvSpPr>
              <p:spPr>
                <a:xfrm>
                  <a:off x="5563731" y="3597484"/>
                  <a:ext cx="156100" cy="45516"/>
                </a:xfrm>
                <a:custGeom>
                  <a:avLst/>
                  <a:gdLst>
                    <a:gd name="connsiteX0" fmla="*/ 143092 w 156100"/>
                    <a:gd name="connsiteY0" fmla="*/ 45517 h 45516"/>
                    <a:gd name="connsiteX1" fmla="*/ 13008 w 156100"/>
                    <a:gd name="connsiteY1" fmla="*/ 45517 h 45516"/>
                    <a:gd name="connsiteX2" fmla="*/ 0 w 156100"/>
                    <a:gd name="connsiteY2" fmla="*/ 32508 h 45516"/>
                    <a:gd name="connsiteX3" fmla="*/ 0 w 156100"/>
                    <a:gd name="connsiteY3" fmla="*/ 13008 h 45516"/>
                    <a:gd name="connsiteX4" fmla="*/ 13008 w 156100"/>
                    <a:gd name="connsiteY4" fmla="*/ 0 h 45516"/>
                    <a:gd name="connsiteX5" fmla="*/ 143092 w 156100"/>
                    <a:gd name="connsiteY5" fmla="*/ 0 h 45516"/>
                    <a:gd name="connsiteX6" fmla="*/ 156100 w 156100"/>
                    <a:gd name="connsiteY6" fmla="*/ 13008 h 45516"/>
                    <a:gd name="connsiteX7" fmla="*/ 156100 w 156100"/>
                    <a:gd name="connsiteY7" fmla="*/ 32508 h 45516"/>
                    <a:gd name="connsiteX8" fmla="*/ 143092 w 156100"/>
                    <a:gd name="connsiteY8" fmla="*/ 45517 h 45516"/>
                    <a:gd name="connsiteX9" fmla="*/ 13008 w 156100"/>
                    <a:gd name="connsiteY9" fmla="*/ 13008 h 45516"/>
                    <a:gd name="connsiteX10" fmla="*/ 13008 w 156100"/>
                    <a:gd name="connsiteY10" fmla="*/ 32508 h 45516"/>
                    <a:gd name="connsiteX11" fmla="*/ 143092 w 156100"/>
                    <a:gd name="connsiteY11" fmla="*/ 32508 h 45516"/>
                    <a:gd name="connsiteX12" fmla="*/ 143092 w 156100"/>
                    <a:gd name="connsiteY12" fmla="*/ 13008 h 45516"/>
                    <a:gd name="connsiteX13" fmla="*/ 13008 w 156100"/>
                    <a:gd name="connsiteY13" fmla="*/ 13008 h 4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100" h="45516">
                      <a:moveTo>
                        <a:pt x="143092" y="45517"/>
                      </a:moveTo>
                      <a:lnTo>
                        <a:pt x="13008" y="45517"/>
                      </a:lnTo>
                      <a:cubicBezTo>
                        <a:pt x="5837" y="45517"/>
                        <a:pt x="0" y="39679"/>
                        <a:pt x="0" y="32508"/>
                      </a:cubicBezTo>
                      <a:lnTo>
                        <a:pt x="0" y="13008"/>
                      </a:lnTo>
                      <a:cubicBezTo>
                        <a:pt x="0" y="5837"/>
                        <a:pt x="5837" y="0"/>
                        <a:pt x="13008" y="0"/>
                      </a:cubicBezTo>
                      <a:lnTo>
                        <a:pt x="143092" y="0"/>
                      </a:lnTo>
                      <a:cubicBezTo>
                        <a:pt x="150263" y="0"/>
                        <a:pt x="156100" y="5837"/>
                        <a:pt x="156100" y="13008"/>
                      </a:cubicBezTo>
                      <a:lnTo>
                        <a:pt x="156100" y="32508"/>
                      </a:lnTo>
                      <a:cubicBezTo>
                        <a:pt x="156100" y="39679"/>
                        <a:pt x="150263" y="45517"/>
                        <a:pt x="143092" y="45517"/>
                      </a:cubicBezTo>
                      <a:close/>
                      <a:moveTo>
                        <a:pt x="13008" y="13008"/>
                      </a:moveTo>
                      <a:lnTo>
                        <a:pt x="13008" y="32508"/>
                      </a:lnTo>
                      <a:lnTo>
                        <a:pt x="143092" y="32508"/>
                      </a:lnTo>
                      <a:lnTo>
                        <a:pt x="143092" y="13008"/>
                      </a:lnTo>
                      <a:lnTo>
                        <a:pt x="13008" y="13008"/>
                      </a:lnTo>
                      <a:close/>
                    </a:path>
                  </a:pathLst>
                </a:custGeom>
                <a:solidFill>
                  <a:schemeClr val="accent1"/>
                </a:solidFill>
                <a:ln w="2515" cap="flat">
                  <a:noFill/>
                  <a:prstDash val="solid"/>
                  <a:miter/>
                </a:ln>
              </p:spPr>
              <p:txBody>
                <a:bodyPr rtlCol="0" anchor="ctr"/>
                <a:lstStyle/>
                <a:p>
                  <a:endParaRPr lang="en-GB" dirty="0"/>
                </a:p>
              </p:txBody>
            </p:sp>
            <p:sp>
              <p:nvSpPr>
                <p:cNvPr id="297" name="Freihandform: Form 908">
                  <a:extLst>
                    <a:ext uri="{FF2B5EF4-FFF2-40B4-BE49-F238E27FC236}">
                      <a16:creationId xmlns:a16="http://schemas.microsoft.com/office/drawing/2014/main" id="{5C4139E9-78AE-4E14-9FCF-6D63F5BAEB7C}"/>
                    </a:ext>
                  </a:extLst>
                </p:cNvPr>
                <p:cNvSpPr/>
                <p:nvPr/>
              </p:nvSpPr>
              <p:spPr>
                <a:xfrm>
                  <a:off x="5544231" y="3564976"/>
                  <a:ext cx="156100" cy="45516"/>
                </a:xfrm>
                <a:custGeom>
                  <a:avLst/>
                  <a:gdLst>
                    <a:gd name="connsiteX0" fmla="*/ 143092 w 156100"/>
                    <a:gd name="connsiteY0" fmla="*/ 45517 h 45516"/>
                    <a:gd name="connsiteX1" fmla="*/ 13008 w 156100"/>
                    <a:gd name="connsiteY1" fmla="*/ 45517 h 45516"/>
                    <a:gd name="connsiteX2" fmla="*/ 0 w 156100"/>
                    <a:gd name="connsiteY2" fmla="*/ 32508 h 45516"/>
                    <a:gd name="connsiteX3" fmla="*/ 0 w 156100"/>
                    <a:gd name="connsiteY3" fmla="*/ 13008 h 45516"/>
                    <a:gd name="connsiteX4" fmla="*/ 13008 w 156100"/>
                    <a:gd name="connsiteY4" fmla="*/ 0 h 45516"/>
                    <a:gd name="connsiteX5" fmla="*/ 143092 w 156100"/>
                    <a:gd name="connsiteY5" fmla="*/ 0 h 45516"/>
                    <a:gd name="connsiteX6" fmla="*/ 156100 w 156100"/>
                    <a:gd name="connsiteY6" fmla="*/ 13008 h 45516"/>
                    <a:gd name="connsiteX7" fmla="*/ 156100 w 156100"/>
                    <a:gd name="connsiteY7" fmla="*/ 32508 h 45516"/>
                    <a:gd name="connsiteX8" fmla="*/ 143092 w 156100"/>
                    <a:gd name="connsiteY8" fmla="*/ 45517 h 45516"/>
                    <a:gd name="connsiteX9" fmla="*/ 13008 w 156100"/>
                    <a:gd name="connsiteY9" fmla="*/ 12983 h 45516"/>
                    <a:gd name="connsiteX10" fmla="*/ 13008 w 156100"/>
                    <a:gd name="connsiteY10" fmla="*/ 32483 h 45516"/>
                    <a:gd name="connsiteX11" fmla="*/ 143092 w 156100"/>
                    <a:gd name="connsiteY11" fmla="*/ 32483 h 45516"/>
                    <a:gd name="connsiteX12" fmla="*/ 143092 w 156100"/>
                    <a:gd name="connsiteY12" fmla="*/ 12983 h 45516"/>
                    <a:gd name="connsiteX13" fmla="*/ 13008 w 156100"/>
                    <a:gd name="connsiteY13" fmla="*/ 12983 h 4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100" h="45516">
                      <a:moveTo>
                        <a:pt x="143092" y="45517"/>
                      </a:moveTo>
                      <a:lnTo>
                        <a:pt x="13008" y="45517"/>
                      </a:lnTo>
                      <a:cubicBezTo>
                        <a:pt x="5837" y="45517"/>
                        <a:pt x="0" y="39679"/>
                        <a:pt x="0" y="32508"/>
                      </a:cubicBezTo>
                      <a:lnTo>
                        <a:pt x="0" y="13008"/>
                      </a:lnTo>
                      <a:cubicBezTo>
                        <a:pt x="0" y="5837"/>
                        <a:pt x="5837" y="0"/>
                        <a:pt x="13008" y="0"/>
                      </a:cubicBezTo>
                      <a:lnTo>
                        <a:pt x="143092" y="0"/>
                      </a:lnTo>
                      <a:cubicBezTo>
                        <a:pt x="150263" y="0"/>
                        <a:pt x="156100" y="5837"/>
                        <a:pt x="156100" y="13008"/>
                      </a:cubicBezTo>
                      <a:lnTo>
                        <a:pt x="156100" y="32508"/>
                      </a:lnTo>
                      <a:cubicBezTo>
                        <a:pt x="156100" y="39679"/>
                        <a:pt x="150263" y="45517"/>
                        <a:pt x="143092" y="45517"/>
                      </a:cubicBezTo>
                      <a:close/>
                      <a:moveTo>
                        <a:pt x="13008" y="12983"/>
                      </a:moveTo>
                      <a:lnTo>
                        <a:pt x="13008" y="32483"/>
                      </a:lnTo>
                      <a:lnTo>
                        <a:pt x="143092" y="32483"/>
                      </a:lnTo>
                      <a:lnTo>
                        <a:pt x="143092" y="12983"/>
                      </a:lnTo>
                      <a:lnTo>
                        <a:pt x="13008" y="12983"/>
                      </a:lnTo>
                      <a:close/>
                    </a:path>
                  </a:pathLst>
                </a:custGeom>
                <a:solidFill>
                  <a:schemeClr val="accent1"/>
                </a:solidFill>
                <a:ln w="2515" cap="flat">
                  <a:noFill/>
                  <a:prstDash val="solid"/>
                  <a:miter/>
                </a:ln>
              </p:spPr>
              <p:txBody>
                <a:bodyPr rtlCol="0" anchor="ctr"/>
                <a:lstStyle/>
                <a:p>
                  <a:endParaRPr lang="en-GB" dirty="0"/>
                </a:p>
              </p:txBody>
            </p:sp>
            <p:sp>
              <p:nvSpPr>
                <p:cNvPr id="298" name="Freihandform: Form 909">
                  <a:extLst>
                    <a:ext uri="{FF2B5EF4-FFF2-40B4-BE49-F238E27FC236}">
                      <a16:creationId xmlns:a16="http://schemas.microsoft.com/office/drawing/2014/main" id="{D92F775D-8623-466D-BAAE-1D80C8135827}"/>
                    </a:ext>
                  </a:extLst>
                </p:cNvPr>
                <p:cNvSpPr/>
                <p:nvPr/>
              </p:nvSpPr>
              <p:spPr>
                <a:xfrm>
                  <a:off x="5401139" y="3662526"/>
                  <a:ext cx="156100" cy="45516"/>
                </a:xfrm>
                <a:custGeom>
                  <a:avLst/>
                  <a:gdLst>
                    <a:gd name="connsiteX0" fmla="*/ 143092 w 156100"/>
                    <a:gd name="connsiteY0" fmla="*/ 45517 h 45516"/>
                    <a:gd name="connsiteX1" fmla="*/ 13008 w 156100"/>
                    <a:gd name="connsiteY1" fmla="*/ 45517 h 45516"/>
                    <a:gd name="connsiteX2" fmla="*/ 0 w 156100"/>
                    <a:gd name="connsiteY2" fmla="*/ 32508 h 45516"/>
                    <a:gd name="connsiteX3" fmla="*/ 0 w 156100"/>
                    <a:gd name="connsiteY3" fmla="*/ 13008 h 45516"/>
                    <a:gd name="connsiteX4" fmla="*/ 13008 w 156100"/>
                    <a:gd name="connsiteY4" fmla="*/ 0 h 45516"/>
                    <a:gd name="connsiteX5" fmla="*/ 143092 w 156100"/>
                    <a:gd name="connsiteY5" fmla="*/ 0 h 45516"/>
                    <a:gd name="connsiteX6" fmla="*/ 156100 w 156100"/>
                    <a:gd name="connsiteY6" fmla="*/ 13008 h 45516"/>
                    <a:gd name="connsiteX7" fmla="*/ 156100 w 156100"/>
                    <a:gd name="connsiteY7" fmla="*/ 32508 h 45516"/>
                    <a:gd name="connsiteX8" fmla="*/ 143092 w 156100"/>
                    <a:gd name="connsiteY8" fmla="*/ 45517 h 45516"/>
                    <a:gd name="connsiteX9" fmla="*/ 13008 w 156100"/>
                    <a:gd name="connsiteY9" fmla="*/ 13008 h 45516"/>
                    <a:gd name="connsiteX10" fmla="*/ 13008 w 156100"/>
                    <a:gd name="connsiteY10" fmla="*/ 32508 h 45516"/>
                    <a:gd name="connsiteX11" fmla="*/ 143092 w 156100"/>
                    <a:gd name="connsiteY11" fmla="*/ 32508 h 45516"/>
                    <a:gd name="connsiteX12" fmla="*/ 143092 w 156100"/>
                    <a:gd name="connsiteY12" fmla="*/ 13008 h 45516"/>
                    <a:gd name="connsiteX13" fmla="*/ 13008 w 156100"/>
                    <a:gd name="connsiteY13" fmla="*/ 13008 h 4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100" h="45516">
                      <a:moveTo>
                        <a:pt x="143092" y="45517"/>
                      </a:moveTo>
                      <a:lnTo>
                        <a:pt x="13008" y="45517"/>
                      </a:lnTo>
                      <a:cubicBezTo>
                        <a:pt x="5837" y="45517"/>
                        <a:pt x="0" y="39679"/>
                        <a:pt x="0" y="32508"/>
                      </a:cubicBezTo>
                      <a:lnTo>
                        <a:pt x="0" y="13008"/>
                      </a:lnTo>
                      <a:cubicBezTo>
                        <a:pt x="0" y="5837"/>
                        <a:pt x="5837" y="0"/>
                        <a:pt x="13008" y="0"/>
                      </a:cubicBezTo>
                      <a:lnTo>
                        <a:pt x="143092" y="0"/>
                      </a:lnTo>
                      <a:cubicBezTo>
                        <a:pt x="150263" y="0"/>
                        <a:pt x="156100" y="5837"/>
                        <a:pt x="156100" y="13008"/>
                      </a:cubicBezTo>
                      <a:lnTo>
                        <a:pt x="156100" y="32508"/>
                      </a:lnTo>
                      <a:cubicBezTo>
                        <a:pt x="156100" y="39679"/>
                        <a:pt x="150263" y="45517"/>
                        <a:pt x="143092" y="45517"/>
                      </a:cubicBezTo>
                      <a:close/>
                      <a:moveTo>
                        <a:pt x="13008" y="13008"/>
                      </a:moveTo>
                      <a:lnTo>
                        <a:pt x="13008" y="32508"/>
                      </a:lnTo>
                      <a:lnTo>
                        <a:pt x="143092" y="32508"/>
                      </a:lnTo>
                      <a:lnTo>
                        <a:pt x="143092" y="13008"/>
                      </a:lnTo>
                      <a:lnTo>
                        <a:pt x="13008" y="13008"/>
                      </a:lnTo>
                      <a:close/>
                    </a:path>
                  </a:pathLst>
                </a:custGeom>
                <a:solidFill>
                  <a:schemeClr val="accent1"/>
                </a:solidFill>
                <a:ln w="2515" cap="flat">
                  <a:noFill/>
                  <a:prstDash val="solid"/>
                  <a:miter/>
                </a:ln>
              </p:spPr>
              <p:txBody>
                <a:bodyPr rtlCol="0" anchor="ctr"/>
                <a:lstStyle/>
                <a:p>
                  <a:endParaRPr lang="en-GB" dirty="0"/>
                </a:p>
              </p:txBody>
            </p:sp>
            <p:sp>
              <p:nvSpPr>
                <p:cNvPr id="299" name="Freihandform: Form 910">
                  <a:extLst>
                    <a:ext uri="{FF2B5EF4-FFF2-40B4-BE49-F238E27FC236}">
                      <a16:creationId xmlns:a16="http://schemas.microsoft.com/office/drawing/2014/main" id="{2663D89A-0813-4F3E-AB73-95E0AB618619}"/>
                    </a:ext>
                  </a:extLst>
                </p:cNvPr>
                <p:cNvSpPr/>
                <p:nvPr/>
              </p:nvSpPr>
              <p:spPr>
                <a:xfrm>
                  <a:off x="5401139" y="3630018"/>
                  <a:ext cx="156100" cy="45516"/>
                </a:xfrm>
                <a:custGeom>
                  <a:avLst/>
                  <a:gdLst>
                    <a:gd name="connsiteX0" fmla="*/ 143092 w 156100"/>
                    <a:gd name="connsiteY0" fmla="*/ 45517 h 45516"/>
                    <a:gd name="connsiteX1" fmla="*/ 13008 w 156100"/>
                    <a:gd name="connsiteY1" fmla="*/ 45517 h 45516"/>
                    <a:gd name="connsiteX2" fmla="*/ 0 w 156100"/>
                    <a:gd name="connsiteY2" fmla="*/ 32508 h 45516"/>
                    <a:gd name="connsiteX3" fmla="*/ 0 w 156100"/>
                    <a:gd name="connsiteY3" fmla="*/ 13008 h 45516"/>
                    <a:gd name="connsiteX4" fmla="*/ 13008 w 156100"/>
                    <a:gd name="connsiteY4" fmla="*/ 0 h 45516"/>
                    <a:gd name="connsiteX5" fmla="*/ 143092 w 156100"/>
                    <a:gd name="connsiteY5" fmla="*/ 0 h 45516"/>
                    <a:gd name="connsiteX6" fmla="*/ 156100 w 156100"/>
                    <a:gd name="connsiteY6" fmla="*/ 13008 h 45516"/>
                    <a:gd name="connsiteX7" fmla="*/ 156100 w 156100"/>
                    <a:gd name="connsiteY7" fmla="*/ 32508 h 45516"/>
                    <a:gd name="connsiteX8" fmla="*/ 143092 w 156100"/>
                    <a:gd name="connsiteY8" fmla="*/ 45517 h 45516"/>
                    <a:gd name="connsiteX9" fmla="*/ 13008 w 156100"/>
                    <a:gd name="connsiteY9" fmla="*/ 12983 h 45516"/>
                    <a:gd name="connsiteX10" fmla="*/ 13008 w 156100"/>
                    <a:gd name="connsiteY10" fmla="*/ 32483 h 45516"/>
                    <a:gd name="connsiteX11" fmla="*/ 143092 w 156100"/>
                    <a:gd name="connsiteY11" fmla="*/ 32483 h 45516"/>
                    <a:gd name="connsiteX12" fmla="*/ 143092 w 156100"/>
                    <a:gd name="connsiteY12" fmla="*/ 12983 h 45516"/>
                    <a:gd name="connsiteX13" fmla="*/ 13008 w 156100"/>
                    <a:gd name="connsiteY13" fmla="*/ 12983 h 4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100" h="45516">
                      <a:moveTo>
                        <a:pt x="143092" y="45517"/>
                      </a:moveTo>
                      <a:lnTo>
                        <a:pt x="13008" y="45517"/>
                      </a:lnTo>
                      <a:cubicBezTo>
                        <a:pt x="5837" y="45517"/>
                        <a:pt x="0" y="39679"/>
                        <a:pt x="0" y="32508"/>
                      </a:cubicBezTo>
                      <a:lnTo>
                        <a:pt x="0" y="13008"/>
                      </a:lnTo>
                      <a:cubicBezTo>
                        <a:pt x="0" y="5837"/>
                        <a:pt x="5837" y="0"/>
                        <a:pt x="13008" y="0"/>
                      </a:cubicBezTo>
                      <a:lnTo>
                        <a:pt x="143092" y="0"/>
                      </a:lnTo>
                      <a:cubicBezTo>
                        <a:pt x="150263" y="0"/>
                        <a:pt x="156100" y="5837"/>
                        <a:pt x="156100" y="13008"/>
                      </a:cubicBezTo>
                      <a:lnTo>
                        <a:pt x="156100" y="32508"/>
                      </a:lnTo>
                      <a:cubicBezTo>
                        <a:pt x="156100" y="39679"/>
                        <a:pt x="150263" y="45517"/>
                        <a:pt x="143092" y="45517"/>
                      </a:cubicBezTo>
                      <a:close/>
                      <a:moveTo>
                        <a:pt x="13008" y="12983"/>
                      </a:moveTo>
                      <a:lnTo>
                        <a:pt x="13008" y="32483"/>
                      </a:lnTo>
                      <a:lnTo>
                        <a:pt x="143092" y="32483"/>
                      </a:lnTo>
                      <a:lnTo>
                        <a:pt x="143092" y="12983"/>
                      </a:lnTo>
                      <a:lnTo>
                        <a:pt x="13008" y="12983"/>
                      </a:lnTo>
                      <a:close/>
                    </a:path>
                  </a:pathLst>
                </a:custGeom>
                <a:solidFill>
                  <a:schemeClr val="accent1"/>
                </a:solidFill>
                <a:ln w="2515" cap="flat">
                  <a:noFill/>
                  <a:prstDash val="solid"/>
                  <a:miter/>
                </a:ln>
              </p:spPr>
              <p:txBody>
                <a:bodyPr rtlCol="0" anchor="ctr"/>
                <a:lstStyle/>
                <a:p>
                  <a:endParaRPr lang="en-GB" dirty="0"/>
                </a:p>
              </p:txBody>
            </p:sp>
          </p:grpSp>
          <p:sp>
            <p:nvSpPr>
              <p:cNvPr id="293" name="Freihandform: Form 911">
                <a:extLst>
                  <a:ext uri="{FF2B5EF4-FFF2-40B4-BE49-F238E27FC236}">
                    <a16:creationId xmlns:a16="http://schemas.microsoft.com/office/drawing/2014/main" id="{1EB9F700-1E17-4CF6-BCAD-CD83AD0B4CDD}"/>
                  </a:ext>
                </a:extLst>
              </p:cNvPr>
              <p:cNvSpPr/>
              <p:nvPr/>
            </p:nvSpPr>
            <p:spPr>
              <a:xfrm>
                <a:off x="5344782" y="3447856"/>
                <a:ext cx="407602" cy="208153"/>
              </a:xfrm>
              <a:custGeom>
                <a:avLst/>
                <a:gdLst>
                  <a:gd name="connsiteX0" fmla="*/ 6513 w 407602"/>
                  <a:gd name="connsiteY0" fmla="*/ 208153 h 208153"/>
                  <a:gd name="connsiteX1" fmla="*/ 1279 w 407602"/>
                  <a:gd name="connsiteY1" fmla="*/ 205511 h 208153"/>
                  <a:gd name="connsiteX2" fmla="*/ 2638 w 407602"/>
                  <a:gd name="connsiteY2" fmla="*/ 196403 h 208153"/>
                  <a:gd name="connsiteX3" fmla="*/ 100188 w 407602"/>
                  <a:gd name="connsiteY3" fmla="*/ 124316 h 208153"/>
                  <a:gd name="connsiteX4" fmla="*/ 107233 w 407602"/>
                  <a:gd name="connsiteY4" fmla="*/ 123888 h 208153"/>
                  <a:gd name="connsiteX5" fmla="*/ 149806 w 407602"/>
                  <a:gd name="connsiteY5" fmla="*/ 147716 h 208153"/>
                  <a:gd name="connsiteX6" fmla="*/ 238222 w 407602"/>
                  <a:gd name="connsiteY6" fmla="*/ 35019 h 208153"/>
                  <a:gd name="connsiteX7" fmla="*/ 242902 w 407602"/>
                  <a:gd name="connsiteY7" fmla="*/ 32553 h 208153"/>
                  <a:gd name="connsiteX8" fmla="*/ 247884 w 407602"/>
                  <a:gd name="connsiteY8" fmla="*/ 34365 h 208153"/>
                  <a:gd name="connsiteX9" fmla="*/ 297401 w 407602"/>
                  <a:gd name="connsiteY9" fmla="*/ 82372 h 208153"/>
                  <a:gd name="connsiteX10" fmla="*/ 396990 w 407602"/>
                  <a:gd name="connsiteY10" fmla="*/ 1454 h 208153"/>
                  <a:gd name="connsiteX11" fmla="*/ 406148 w 407602"/>
                  <a:gd name="connsiteY11" fmla="*/ 2410 h 208153"/>
                  <a:gd name="connsiteX12" fmla="*/ 405192 w 407602"/>
                  <a:gd name="connsiteY12" fmla="*/ 11569 h 208153"/>
                  <a:gd name="connsiteX13" fmla="*/ 301125 w 407602"/>
                  <a:gd name="connsiteY13" fmla="*/ 96110 h 208153"/>
                  <a:gd name="connsiteX14" fmla="*/ 292495 w 407602"/>
                  <a:gd name="connsiteY14" fmla="*/ 95733 h 208153"/>
                  <a:gd name="connsiteX15" fmla="*/ 244009 w 407602"/>
                  <a:gd name="connsiteY15" fmla="*/ 48732 h 208153"/>
                  <a:gd name="connsiteX16" fmla="*/ 156599 w 407602"/>
                  <a:gd name="connsiteY16" fmla="*/ 160120 h 208153"/>
                  <a:gd name="connsiteX17" fmla="*/ 148296 w 407602"/>
                  <a:gd name="connsiteY17" fmla="*/ 161781 h 208153"/>
                  <a:gd name="connsiteX18" fmla="*/ 104541 w 407602"/>
                  <a:gd name="connsiteY18" fmla="*/ 137274 h 208153"/>
                  <a:gd name="connsiteX19" fmla="*/ 10362 w 407602"/>
                  <a:gd name="connsiteY19" fmla="*/ 206895 h 208153"/>
                  <a:gd name="connsiteX20" fmla="*/ 6513 w 407602"/>
                  <a:gd name="connsiteY20" fmla="*/ 208153 h 208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07602" h="208153">
                    <a:moveTo>
                      <a:pt x="6513" y="208153"/>
                    </a:moveTo>
                    <a:cubicBezTo>
                      <a:pt x="4525" y="208153"/>
                      <a:pt x="2537" y="207247"/>
                      <a:pt x="1279" y="205511"/>
                    </a:cubicBezTo>
                    <a:cubicBezTo>
                      <a:pt x="-860" y="202618"/>
                      <a:pt x="-256" y="198542"/>
                      <a:pt x="2638" y="196403"/>
                    </a:cubicBezTo>
                    <a:lnTo>
                      <a:pt x="100188" y="124316"/>
                    </a:lnTo>
                    <a:cubicBezTo>
                      <a:pt x="102251" y="122806"/>
                      <a:pt x="104994" y="122630"/>
                      <a:pt x="107233" y="123888"/>
                    </a:cubicBezTo>
                    <a:lnTo>
                      <a:pt x="149806" y="147716"/>
                    </a:lnTo>
                    <a:lnTo>
                      <a:pt x="238222" y="35019"/>
                    </a:lnTo>
                    <a:cubicBezTo>
                      <a:pt x="239355" y="33560"/>
                      <a:pt x="241066" y="32679"/>
                      <a:pt x="242902" y="32553"/>
                    </a:cubicBezTo>
                    <a:cubicBezTo>
                      <a:pt x="244789" y="32478"/>
                      <a:pt x="246551" y="33081"/>
                      <a:pt x="247884" y="34365"/>
                    </a:cubicBezTo>
                    <a:lnTo>
                      <a:pt x="297401" y="82372"/>
                    </a:lnTo>
                    <a:lnTo>
                      <a:pt x="396990" y="1454"/>
                    </a:lnTo>
                    <a:cubicBezTo>
                      <a:pt x="399757" y="-811"/>
                      <a:pt x="403884" y="-383"/>
                      <a:pt x="406148" y="2410"/>
                    </a:cubicBezTo>
                    <a:cubicBezTo>
                      <a:pt x="408413" y="5203"/>
                      <a:pt x="407985" y="9304"/>
                      <a:pt x="405192" y="11569"/>
                    </a:cubicBezTo>
                    <a:lnTo>
                      <a:pt x="301125" y="96110"/>
                    </a:lnTo>
                    <a:cubicBezTo>
                      <a:pt x="298584" y="98174"/>
                      <a:pt x="294860" y="98023"/>
                      <a:pt x="292495" y="95733"/>
                    </a:cubicBezTo>
                    <a:lnTo>
                      <a:pt x="244009" y="48732"/>
                    </a:lnTo>
                    <a:lnTo>
                      <a:pt x="156599" y="160120"/>
                    </a:lnTo>
                    <a:cubicBezTo>
                      <a:pt x="154612" y="162637"/>
                      <a:pt x="151089" y="163341"/>
                      <a:pt x="148296" y="161781"/>
                    </a:cubicBezTo>
                    <a:lnTo>
                      <a:pt x="104541" y="137274"/>
                    </a:lnTo>
                    <a:lnTo>
                      <a:pt x="10362" y="206895"/>
                    </a:lnTo>
                    <a:cubicBezTo>
                      <a:pt x="9205" y="207751"/>
                      <a:pt x="7846" y="208153"/>
                      <a:pt x="6513" y="208153"/>
                    </a:cubicBezTo>
                    <a:close/>
                  </a:path>
                </a:pathLst>
              </a:custGeom>
              <a:solidFill>
                <a:schemeClr val="accent1"/>
              </a:solidFill>
              <a:ln w="2515" cap="flat">
                <a:noFill/>
                <a:prstDash val="solid"/>
                <a:miter/>
              </a:ln>
            </p:spPr>
            <p:txBody>
              <a:bodyPr rtlCol="0" anchor="ctr"/>
              <a:lstStyle/>
              <a:p>
                <a:endParaRPr lang="en-GB" dirty="0"/>
              </a:p>
            </p:txBody>
          </p:sp>
        </p:grpSp>
        <p:grpSp>
          <p:nvGrpSpPr>
            <p:cNvPr id="273" name="Group 272">
              <a:extLst>
                <a:ext uri="{FF2B5EF4-FFF2-40B4-BE49-F238E27FC236}">
                  <a16:creationId xmlns:a16="http://schemas.microsoft.com/office/drawing/2014/main" id="{A50B282A-8949-4D84-89BA-A4C397DC0132}"/>
                </a:ext>
              </a:extLst>
            </p:cNvPr>
            <p:cNvGrpSpPr/>
            <p:nvPr/>
          </p:nvGrpSpPr>
          <p:grpSpPr>
            <a:xfrm>
              <a:off x="1608026" y="3227048"/>
              <a:ext cx="444393" cy="432000"/>
              <a:chOff x="5264564" y="3252801"/>
              <a:chExt cx="468300" cy="455241"/>
            </a:xfrm>
            <a:solidFill>
              <a:schemeClr val="tx2"/>
            </a:solidFill>
          </p:grpSpPr>
          <p:sp>
            <p:nvSpPr>
              <p:cNvPr id="274" name="Freihandform: Form 884">
                <a:extLst>
                  <a:ext uri="{FF2B5EF4-FFF2-40B4-BE49-F238E27FC236}">
                    <a16:creationId xmlns:a16="http://schemas.microsoft.com/office/drawing/2014/main" id="{19A040E0-6C9D-4896-9226-31E4C592CE77}"/>
                  </a:ext>
                </a:extLst>
              </p:cNvPr>
              <p:cNvSpPr/>
              <p:nvPr/>
            </p:nvSpPr>
            <p:spPr>
              <a:xfrm>
                <a:off x="5492223" y="3252801"/>
                <a:ext cx="12983" cy="65016"/>
              </a:xfrm>
              <a:custGeom>
                <a:avLst/>
                <a:gdLst>
                  <a:gd name="connsiteX0" fmla="*/ 6492 w 12983"/>
                  <a:gd name="connsiteY0" fmla="*/ 65017 h 65016"/>
                  <a:gd name="connsiteX1" fmla="*/ 0 w 12983"/>
                  <a:gd name="connsiteY1" fmla="*/ 58525 h 65016"/>
                  <a:gd name="connsiteX2" fmla="*/ 0 w 12983"/>
                  <a:gd name="connsiteY2" fmla="*/ 6492 h 65016"/>
                  <a:gd name="connsiteX3" fmla="*/ 6492 w 12983"/>
                  <a:gd name="connsiteY3" fmla="*/ 0 h 65016"/>
                  <a:gd name="connsiteX4" fmla="*/ 12983 w 12983"/>
                  <a:gd name="connsiteY4" fmla="*/ 6492 h 65016"/>
                  <a:gd name="connsiteX5" fmla="*/ 12983 w 12983"/>
                  <a:gd name="connsiteY5" fmla="*/ 58525 h 65016"/>
                  <a:gd name="connsiteX6" fmla="*/ 6492 w 12983"/>
                  <a:gd name="connsiteY6" fmla="*/ 65017 h 6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83" h="65016">
                    <a:moveTo>
                      <a:pt x="6492" y="65017"/>
                    </a:moveTo>
                    <a:cubicBezTo>
                      <a:pt x="2894" y="65017"/>
                      <a:pt x="0" y="62098"/>
                      <a:pt x="0" y="58525"/>
                    </a:cubicBezTo>
                    <a:lnTo>
                      <a:pt x="0" y="6492"/>
                    </a:lnTo>
                    <a:cubicBezTo>
                      <a:pt x="0" y="2894"/>
                      <a:pt x="2919" y="0"/>
                      <a:pt x="6492" y="0"/>
                    </a:cubicBezTo>
                    <a:cubicBezTo>
                      <a:pt x="10064" y="0"/>
                      <a:pt x="12983" y="2919"/>
                      <a:pt x="12983" y="6492"/>
                    </a:cubicBezTo>
                    <a:lnTo>
                      <a:pt x="12983" y="58525"/>
                    </a:lnTo>
                    <a:cubicBezTo>
                      <a:pt x="12983" y="62098"/>
                      <a:pt x="10064" y="65017"/>
                      <a:pt x="6492" y="65017"/>
                    </a:cubicBezTo>
                    <a:close/>
                  </a:path>
                </a:pathLst>
              </a:custGeom>
              <a:grpFill/>
              <a:ln w="2515" cap="flat">
                <a:noFill/>
                <a:prstDash val="solid"/>
                <a:miter/>
              </a:ln>
            </p:spPr>
            <p:txBody>
              <a:bodyPr rtlCol="0" anchor="ctr"/>
              <a:lstStyle/>
              <a:p>
                <a:endParaRPr lang="en-GB" dirty="0"/>
              </a:p>
            </p:txBody>
          </p:sp>
          <p:sp>
            <p:nvSpPr>
              <p:cNvPr id="275" name="Freihandform: Form 885">
                <a:extLst>
                  <a:ext uri="{FF2B5EF4-FFF2-40B4-BE49-F238E27FC236}">
                    <a16:creationId xmlns:a16="http://schemas.microsoft.com/office/drawing/2014/main" id="{5EB34EC8-1040-43D2-BD2A-6AF92DC34C54}"/>
                  </a:ext>
                </a:extLst>
              </p:cNvPr>
              <p:cNvSpPr/>
              <p:nvPr/>
            </p:nvSpPr>
            <p:spPr>
              <a:xfrm>
                <a:off x="5401164" y="3343859"/>
                <a:ext cx="195100" cy="240616"/>
              </a:xfrm>
              <a:custGeom>
                <a:avLst/>
                <a:gdLst>
                  <a:gd name="connsiteX0" fmla="*/ 6492 w 195100"/>
                  <a:gd name="connsiteY0" fmla="*/ 240617 h 240616"/>
                  <a:gd name="connsiteX1" fmla="*/ 0 w 195100"/>
                  <a:gd name="connsiteY1" fmla="*/ 234125 h 240616"/>
                  <a:gd name="connsiteX2" fmla="*/ 0 w 195100"/>
                  <a:gd name="connsiteY2" fmla="*/ 6492 h 240616"/>
                  <a:gd name="connsiteX3" fmla="*/ 6492 w 195100"/>
                  <a:gd name="connsiteY3" fmla="*/ 0 h 240616"/>
                  <a:gd name="connsiteX4" fmla="*/ 188608 w 195100"/>
                  <a:gd name="connsiteY4" fmla="*/ 0 h 240616"/>
                  <a:gd name="connsiteX5" fmla="*/ 195100 w 195100"/>
                  <a:gd name="connsiteY5" fmla="*/ 6492 h 240616"/>
                  <a:gd name="connsiteX6" fmla="*/ 195100 w 195100"/>
                  <a:gd name="connsiteY6" fmla="*/ 117050 h 240616"/>
                  <a:gd name="connsiteX7" fmla="*/ 188608 w 195100"/>
                  <a:gd name="connsiteY7" fmla="*/ 123541 h 240616"/>
                  <a:gd name="connsiteX8" fmla="*/ 182117 w 195100"/>
                  <a:gd name="connsiteY8" fmla="*/ 117050 h 240616"/>
                  <a:gd name="connsiteX9" fmla="*/ 182117 w 195100"/>
                  <a:gd name="connsiteY9" fmla="*/ 12983 h 240616"/>
                  <a:gd name="connsiteX10" fmla="*/ 12983 w 195100"/>
                  <a:gd name="connsiteY10" fmla="*/ 12983 h 240616"/>
                  <a:gd name="connsiteX11" fmla="*/ 12983 w 195100"/>
                  <a:gd name="connsiteY11" fmla="*/ 234125 h 240616"/>
                  <a:gd name="connsiteX12" fmla="*/ 6492 w 195100"/>
                  <a:gd name="connsiteY12" fmla="*/ 240617 h 240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5100" h="240616">
                    <a:moveTo>
                      <a:pt x="6492" y="240617"/>
                    </a:moveTo>
                    <a:cubicBezTo>
                      <a:pt x="2894" y="240617"/>
                      <a:pt x="0" y="237698"/>
                      <a:pt x="0" y="234125"/>
                    </a:cubicBezTo>
                    <a:lnTo>
                      <a:pt x="0" y="6492"/>
                    </a:lnTo>
                    <a:cubicBezTo>
                      <a:pt x="0" y="2894"/>
                      <a:pt x="2919" y="0"/>
                      <a:pt x="6492" y="0"/>
                    </a:cubicBezTo>
                    <a:lnTo>
                      <a:pt x="188608" y="0"/>
                    </a:lnTo>
                    <a:cubicBezTo>
                      <a:pt x="192207" y="0"/>
                      <a:pt x="195100" y="2919"/>
                      <a:pt x="195100" y="6492"/>
                    </a:cubicBezTo>
                    <a:lnTo>
                      <a:pt x="195100" y="117050"/>
                    </a:lnTo>
                    <a:cubicBezTo>
                      <a:pt x="195100" y="120648"/>
                      <a:pt x="192181" y="123541"/>
                      <a:pt x="188608" y="123541"/>
                    </a:cubicBezTo>
                    <a:cubicBezTo>
                      <a:pt x="185010" y="123541"/>
                      <a:pt x="182117" y="120623"/>
                      <a:pt x="182117" y="117050"/>
                    </a:cubicBezTo>
                    <a:lnTo>
                      <a:pt x="182117" y="12983"/>
                    </a:lnTo>
                    <a:lnTo>
                      <a:pt x="12983" y="12983"/>
                    </a:lnTo>
                    <a:lnTo>
                      <a:pt x="12983" y="234125"/>
                    </a:lnTo>
                    <a:cubicBezTo>
                      <a:pt x="12983" y="237698"/>
                      <a:pt x="10064" y="240617"/>
                      <a:pt x="6492" y="240617"/>
                    </a:cubicBezTo>
                    <a:close/>
                  </a:path>
                </a:pathLst>
              </a:custGeom>
              <a:grpFill/>
              <a:ln w="2515" cap="flat">
                <a:noFill/>
                <a:prstDash val="solid"/>
                <a:miter/>
              </a:ln>
            </p:spPr>
            <p:txBody>
              <a:bodyPr rtlCol="0" anchor="ctr"/>
              <a:lstStyle/>
              <a:p>
                <a:endParaRPr lang="en-GB" dirty="0"/>
              </a:p>
            </p:txBody>
          </p:sp>
          <p:sp>
            <p:nvSpPr>
              <p:cNvPr id="276" name="Freihandform: Form 887">
                <a:extLst>
                  <a:ext uri="{FF2B5EF4-FFF2-40B4-BE49-F238E27FC236}">
                    <a16:creationId xmlns:a16="http://schemas.microsoft.com/office/drawing/2014/main" id="{99E811B2-0C1D-4A87-83A9-60DD0CC8B50D}"/>
                  </a:ext>
                </a:extLst>
              </p:cNvPr>
              <p:cNvSpPr/>
              <p:nvPr/>
            </p:nvSpPr>
            <p:spPr>
              <a:xfrm>
                <a:off x="5427156" y="3304809"/>
                <a:ext cx="143066" cy="52033"/>
              </a:xfrm>
              <a:custGeom>
                <a:avLst/>
                <a:gdLst>
                  <a:gd name="connsiteX0" fmla="*/ 136575 w 143066"/>
                  <a:gd name="connsiteY0" fmla="*/ 52033 h 52033"/>
                  <a:gd name="connsiteX1" fmla="*/ 6492 w 143066"/>
                  <a:gd name="connsiteY1" fmla="*/ 52033 h 52033"/>
                  <a:gd name="connsiteX2" fmla="*/ 0 w 143066"/>
                  <a:gd name="connsiteY2" fmla="*/ 45542 h 52033"/>
                  <a:gd name="connsiteX3" fmla="*/ 0 w 143066"/>
                  <a:gd name="connsiteY3" fmla="*/ 6492 h 52033"/>
                  <a:gd name="connsiteX4" fmla="*/ 6492 w 143066"/>
                  <a:gd name="connsiteY4" fmla="*/ 0 h 52033"/>
                  <a:gd name="connsiteX5" fmla="*/ 136575 w 143066"/>
                  <a:gd name="connsiteY5" fmla="*/ 0 h 52033"/>
                  <a:gd name="connsiteX6" fmla="*/ 143067 w 143066"/>
                  <a:gd name="connsiteY6" fmla="*/ 6492 h 52033"/>
                  <a:gd name="connsiteX7" fmla="*/ 143067 w 143066"/>
                  <a:gd name="connsiteY7" fmla="*/ 45517 h 52033"/>
                  <a:gd name="connsiteX8" fmla="*/ 136575 w 143066"/>
                  <a:gd name="connsiteY8" fmla="*/ 52033 h 52033"/>
                  <a:gd name="connsiteX9" fmla="*/ 13008 w 143066"/>
                  <a:gd name="connsiteY9" fmla="*/ 39025 h 52033"/>
                  <a:gd name="connsiteX10" fmla="*/ 130084 w 143066"/>
                  <a:gd name="connsiteY10" fmla="*/ 39025 h 52033"/>
                  <a:gd name="connsiteX11" fmla="*/ 130084 w 143066"/>
                  <a:gd name="connsiteY11" fmla="*/ 13008 h 52033"/>
                  <a:gd name="connsiteX12" fmla="*/ 13008 w 143066"/>
                  <a:gd name="connsiteY12" fmla="*/ 13008 h 52033"/>
                  <a:gd name="connsiteX13" fmla="*/ 13008 w 143066"/>
                  <a:gd name="connsiteY13" fmla="*/ 39025 h 5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066" h="52033">
                    <a:moveTo>
                      <a:pt x="136575" y="52033"/>
                    </a:moveTo>
                    <a:lnTo>
                      <a:pt x="6492" y="52033"/>
                    </a:lnTo>
                    <a:cubicBezTo>
                      <a:pt x="2894" y="52033"/>
                      <a:pt x="0" y="49115"/>
                      <a:pt x="0" y="45542"/>
                    </a:cubicBezTo>
                    <a:lnTo>
                      <a:pt x="0" y="6492"/>
                    </a:lnTo>
                    <a:cubicBezTo>
                      <a:pt x="0" y="2894"/>
                      <a:pt x="2919" y="0"/>
                      <a:pt x="6492" y="0"/>
                    </a:cubicBezTo>
                    <a:lnTo>
                      <a:pt x="136575" y="0"/>
                    </a:lnTo>
                    <a:cubicBezTo>
                      <a:pt x="140173" y="0"/>
                      <a:pt x="143067" y="2919"/>
                      <a:pt x="143067" y="6492"/>
                    </a:cubicBezTo>
                    <a:lnTo>
                      <a:pt x="143067" y="45517"/>
                    </a:lnTo>
                    <a:cubicBezTo>
                      <a:pt x="143092" y="49115"/>
                      <a:pt x="140173" y="52033"/>
                      <a:pt x="136575" y="52033"/>
                    </a:cubicBezTo>
                    <a:close/>
                    <a:moveTo>
                      <a:pt x="13008" y="39025"/>
                    </a:moveTo>
                    <a:lnTo>
                      <a:pt x="130084" y="39025"/>
                    </a:lnTo>
                    <a:lnTo>
                      <a:pt x="130084" y="13008"/>
                    </a:lnTo>
                    <a:lnTo>
                      <a:pt x="13008" y="13008"/>
                    </a:lnTo>
                    <a:lnTo>
                      <a:pt x="13008" y="39025"/>
                    </a:lnTo>
                    <a:close/>
                  </a:path>
                </a:pathLst>
              </a:custGeom>
              <a:grpFill/>
              <a:ln w="2515" cap="flat">
                <a:noFill/>
                <a:prstDash val="solid"/>
                <a:miter/>
              </a:ln>
            </p:spPr>
            <p:txBody>
              <a:bodyPr rtlCol="0" anchor="ctr"/>
              <a:lstStyle/>
              <a:p>
                <a:endParaRPr lang="en-GB" dirty="0"/>
              </a:p>
            </p:txBody>
          </p:sp>
          <p:sp>
            <p:nvSpPr>
              <p:cNvPr id="277" name="Freihandform: Form 888">
                <a:extLst>
                  <a:ext uri="{FF2B5EF4-FFF2-40B4-BE49-F238E27FC236}">
                    <a16:creationId xmlns:a16="http://schemas.microsoft.com/office/drawing/2014/main" id="{C3B16E06-95FE-4100-A751-7F9CC1DD962D}"/>
                  </a:ext>
                </a:extLst>
              </p:cNvPr>
              <p:cNvSpPr/>
              <p:nvPr/>
            </p:nvSpPr>
            <p:spPr>
              <a:xfrm>
                <a:off x="5433673" y="3382884"/>
                <a:ext cx="52008" cy="12983"/>
              </a:xfrm>
              <a:custGeom>
                <a:avLst/>
                <a:gdLst>
                  <a:gd name="connsiteX0" fmla="*/ 45517 w 52008"/>
                  <a:gd name="connsiteY0" fmla="*/ 12983 h 12983"/>
                  <a:gd name="connsiteX1" fmla="*/ 6492 w 52008"/>
                  <a:gd name="connsiteY1" fmla="*/ 12983 h 12983"/>
                  <a:gd name="connsiteX2" fmla="*/ 0 w 52008"/>
                  <a:gd name="connsiteY2" fmla="*/ 6492 h 12983"/>
                  <a:gd name="connsiteX3" fmla="*/ 6492 w 52008"/>
                  <a:gd name="connsiteY3" fmla="*/ 0 h 12983"/>
                  <a:gd name="connsiteX4" fmla="*/ 45517 w 52008"/>
                  <a:gd name="connsiteY4" fmla="*/ 0 h 12983"/>
                  <a:gd name="connsiteX5" fmla="*/ 52008 w 52008"/>
                  <a:gd name="connsiteY5" fmla="*/ 6492 h 12983"/>
                  <a:gd name="connsiteX6" fmla="*/ 45517 w 52008"/>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08" h="12983">
                    <a:moveTo>
                      <a:pt x="45517" y="12983"/>
                    </a:moveTo>
                    <a:lnTo>
                      <a:pt x="6492" y="12983"/>
                    </a:lnTo>
                    <a:cubicBezTo>
                      <a:pt x="2894" y="12983"/>
                      <a:pt x="0" y="10064"/>
                      <a:pt x="0" y="6492"/>
                    </a:cubicBezTo>
                    <a:cubicBezTo>
                      <a:pt x="0" y="2893"/>
                      <a:pt x="2919" y="0"/>
                      <a:pt x="6492" y="0"/>
                    </a:cubicBezTo>
                    <a:lnTo>
                      <a:pt x="45517" y="0"/>
                    </a:lnTo>
                    <a:cubicBezTo>
                      <a:pt x="49115" y="0"/>
                      <a:pt x="52008" y="2919"/>
                      <a:pt x="52008" y="6492"/>
                    </a:cubicBezTo>
                    <a:cubicBezTo>
                      <a:pt x="52033" y="10064"/>
                      <a:pt x="49115" y="12983"/>
                      <a:pt x="45517" y="12983"/>
                    </a:cubicBezTo>
                    <a:close/>
                  </a:path>
                </a:pathLst>
              </a:custGeom>
              <a:grpFill/>
              <a:ln w="2515" cap="flat">
                <a:noFill/>
                <a:prstDash val="solid"/>
                <a:miter/>
              </a:ln>
            </p:spPr>
            <p:txBody>
              <a:bodyPr rtlCol="0" anchor="ctr"/>
              <a:lstStyle/>
              <a:p>
                <a:endParaRPr lang="en-GB" dirty="0"/>
              </a:p>
            </p:txBody>
          </p:sp>
          <p:sp>
            <p:nvSpPr>
              <p:cNvPr id="278" name="Freihandform: Form 889">
                <a:extLst>
                  <a:ext uri="{FF2B5EF4-FFF2-40B4-BE49-F238E27FC236}">
                    <a16:creationId xmlns:a16="http://schemas.microsoft.com/office/drawing/2014/main" id="{E7942E2B-C27F-437A-A2CA-27E8C1697A50}"/>
                  </a:ext>
                </a:extLst>
              </p:cNvPr>
              <p:cNvSpPr/>
              <p:nvPr/>
            </p:nvSpPr>
            <p:spPr>
              <a:xfrm>
                <a:off x="5511723" y="3382884"/>
                <a:ext cx="52008" cy="12983"/>
              </a:xfrm>
              <a:custGeom>
                <a:avLst/>
                <a:gdLst>
                  <a:gd name="connsiteX0" fmla="*/ 45517 w 52008"/>
                  <a:gd name="connsiteY0" fmla="*/ 12983 h 12983"/>
                  <a:gd name="connsiteX1" fmla="*/ 6492 w 52008"/>
                  <a:gd name="connsiteY1" fmla="*/ 12983 h 12983"/>
                  <a:gd name="connsiteX2" fmla="*/ 0 w 52008"/>
                  <a:gd name="connsiteY2" fmla="*/ 6492 h 12983"/>
                  <a:gd name="connsiteX3" fmla="*/ 6492 w 52008"/>
                  <a:gd name="connsiteY3" fmla="*/ 0 h 12983"/>
                  <a:gd name="connsiteX4" fmla="*/ 45517 w 52008"/>
                  <a:gd name="connsiteY4" fmla="*/ 0 h 12983"/>
                  <a:gd name="connsiteX5" fmla="*/ 52008 w 52008"/>
                  <a:gd name="connsiteY5" fmla="*/ 6492 h 12983"/>
                  <a:gd name="connsiteX6" fmla="*/ 45517 w 52008"/>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08" h="12983">
                    <a:moveTo>
                      <a:pt x="45517" y="12983"/>
                    </a:moveTo>
                    <a:lnTo>
                      <a:pt x="6492" y="12983"/>
                    </a:lnTo>
                    <a:cubicBezTo>
                      <a:pt x="2894" y="12983"/>
                      <a:pt x="0" y="10064"/>
                      <a:pt x="0" y="6492"/>
                    </a:cubicBezTo>
                    <a:cubicBezTo>
                      <a:pt x="0" y="2893"/>
                      <a:pt x="2919" y="0"/>
                      <a:pt x="6492" y="0"/>
                    </a:cubicBezTo>
                    <a:lnTo>
                      <a:pt x="45517" y="0"/>
                    </a:lnTo>
                    <a:cubicBezTo>
                      <a:pt x="49115" y="0"/>
                      <a:pt x="52008" y="2919"/>
                      <a:pt x="52008" y="6492"/>
                    </a:cubicBezTo>
                    <a:cubicBezTo>
                      <a:pt x="52008" y="10064"/>
                      <a:pt x="49115" y="12983"/>
                      <a:pt x="45517" y="12983"/>
                    </a:cubicBezTo>
                    <a:close/>
                  </a:path>
                </a:pathLst>
              </a:custGeom>
              <a:grpFill/>
              <a:ln w="2515" cap="flat">
                <a:noFill/>
                <a:prstDash val="solid"/>
                <a:miter/>
              </a:ln>
            </p:spPr>
            <p:txBody>
              <a:bodyPr rtlCol="0" anchor="ctr"/>
              <a:lstStyle/>
              <a:p>
                <a:endParaRPr lang="en-GB" dirty="0"/>
              </a:p>
            </p:txBody>
          </p:sp>
          <p:sp>
            <p:nvSpPr>
              <p:cNvPr id="279" name="Freihandform: Form 890">
                <a:extLst>
                  <a:ext uri="{FF2B5EF4-FFF2-40B4-BE49-F238E27FC236}">
                    <a16:creationId xmlns:a16="http://schemas.microsoft.com/office/drawing/2014/main" id="{F5F8C8C6-7B09-4E4E-963C-E64664018F21}"/>
                  </a:ext>
                </a:extLst>
              </p:cNvPr>
              <p:cNvSpPr/>
              <p:nvPr/>
            </p:nvSpPr>
            <p:spPr>
              <a:xfrm>
                <a:off x="5433673" y="3434892"/>
                <a:ext cx="52008" cy="12983"/>
              </a:xfrm>
              <a:custGeom>
                <a:avLst/>
                <a:gdLst>
                  <a:gd name="connsiteX0" fmla="*/ 45517 w 52008"/>
                  <a:gd name="connsiteY0" fmla="*/ 12983 h 12983"/>
                  <a:gd name="connsiteX1" fmla="*/ 6492 w 52008"/>
                  <a:gd name="connsiteY1" fmla="*/ 12983 h 12983"/>
                  <a:gd name="connsiteX2" fmla="*/ 0 w 52008"/>
                  <a:gd name="connsiteY2" fmla="*/ 6492 h 12983"/>
                  <a:gd name="connsiteX3" fmla="*/ 6492 w 52008"/>
                  <a:gd name="connsiteY3" fmla="*/ 0 h 12983"/>
                  <a:gd name="connsiteX4" fmla="*/ 45517 w 52008"/>
                  <a:gd name="connsiteY4" fmla="*/ 0 h 12983"/>
                  <a:gd name="connsiteX5" fmla="*/ 52008 w 52008"/>
                  <a:gd name="connsiteY5" fmla="*/ 6492 h 12983"/>
                  <a:gd name="connsiteX6" fmla="*/ 45517 w 52008"/>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08" h="12983">
                    <a:moveTo>
                      <a:pt x="45517" y="12983"/>
                    </a:moveTo>
                    <a:lnTo>
                      <a:pt x="6492" y="12983"/>
                    </a:lnTo>
                    <a:cubicBezTo>
                      <a:pt x="2894" y="12983"/>
                      <a:pt x="0" y="10064"/>
                      <a:pt x="0" y="6492"/>
                    </a:cubicBezTo>
                    <a:cubicBezTo>
                      <a:pt x="0" y="2919"/>
                      <a:pt x="2919" y="0"/>
                      <a:pt x="6492" y="0"/>
                    </a:cubicBezTo>
                    <a:lnTo>
                      <a:pt x="45517" y="0"/>
                    </a:lnTo>
                    <a:cubicBezTo>
                      <a:pt x="49115" y="0"/>
                      <a:pt x="52008" y="2919"/>
                      <a:pt x="52008" y="6492"/>
                    </a:cubicBezTo>
                    <a:cubicBezTo>
                      <a:pt x="52008" y="10064"/>
                      <a:pt x="49115" y="12983"/>
                      <a:pt x="45517" y="12983"/>
                    </a:cubicBezTo>
                    <a:close/>
                  </a:path>
                </a:pathLst>
              </a:custGeom>
              <a:grpFill/>
              <a:ln w="2515" cap="flat">
                <a:noFill/>
                <a:prstDash val="solid"/>
                <a:miter/>
              </a:ln>
            </p:spPr>
            <p:txBody>
              <a:bodyPr rtlCol="0" anchor="ctr"/>
              <a:lstStyle/>
              <a:p>
                <a:endParaRPr lang="en-GB" dirty="0"/>
              </a:p>
            </p:txBody>
          </p:sp>
          <p:sp>
            <p:nvSpPr>
              <p:cNvPr id="280" name="Freihandform: Form 891">
                <a:extLst>
                  <a:ext uri="{FF2B5EF4-FFF2-40B4-BE49-F238E27FC236}">
                    <a16:creationId xmlns:a16="http://schemas.microsoft.com/office/drawing/2014/main" id="{36A0B989-7776-42D2-92F4-B7F7B7E5131D}"/>
                  </a:ext>
                </a:extLst>
              </p:cNvPr>
              <p:cNvSpPr/>
              <p:nvPr/>
            </p:nvSpPr>
            <p:spPr>
              <a:xfrm>
                <a:off x="5511723" y="3434892"/>
                <a:ext cx="52008" cy="12983"/>
              </a:xfrm>
              <a:custGeom>
                <a:avLst/>
                <a:gdLst>
                  <a:gd name="connsiteX0" fmla="*/ 45517 w 52008"/>
                  <a:gd name="connsiteY0" fmla="*/ 12983 h 12983"/>
                  <a:gd name="connsiteX1" fmla="*/ 6492 w 52008"/>
                  <a:gd name="connsiteY1" fmla="*/ 12983 h 12983"/>
                  <a:gd name="connsiteX2" fmla="*/ 0 w 52008"/>
                  <a:gd name="connsiteY2" fmla="*/ 6492 h 12983"/>
                  <a:gd name="connsiteX3" fmla="*/ 6492 w 52008"/>
                  <a:gd name="connsiteY3" fmla="*/ 0 h 12983"/>
                  <a:gd name="connsiteX4" fmla="*/ 45517 w 52008"/>
                  <a:gd name="connsiteY4" fmla="*/ 0 h 12983"/>
                  <a:gd name="connsiteX5" fmla="*/ 52008 w 52008"/>
                  <a:gd name="connsiteY5" fmla="*/ 6492 h 12983"/>
                  <a:gd name="connsiteX6" fmla="*/ 45517 w 52008"/>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08" h="12983">
                    <a:moveTo>
                      <a:pt x="45517" y="12983"/>
                    </a:moveTo>
                    <a:lnTo>
                      <a:pt x="6492" y="12983"/>
                    </a:lnTo>
                    <a:cubicBezTo>
                      <a:pt x="2894" y="12983"/>
                      <a:pt x="0" y="10064"/>
                      <a:pt x="0" y="6492"/>
                    </a:cubicBezTo>
                    <a:cubicBezTo>
                      <a:pt x="0" y="2919"/>
                      <a:pt x="2919" y="0"/>
                      <a:pt x="6492" y="0"/>
                    </a:cubicBezTo>
                    <a:lnTo>
                      <a:pt x="45517" y="0"/>
                    </a:lnTo>
                    <a:cubicBezTo>
                      <a:pt x="49115" y="0"/>
                      <a:pt x="52008" y="2919"/>
                      <a:pt x="52008" y="6492"/>
                    </a:cubicBezTo>
                    <a:cubicBezTo>
                      <a:pt x="52008" y="10064"/>
                      <a:pt x="49115" y="12983"/>
                      <a:pt x="45517" y="12983"/>
                    </a:cubicBezTo>
                    <a:close/>
                  </a:path>
                </a:pathLst>
              </a:custGeom>
              <a:grpFill/>
              <a:ln w="2515" cap="flat">
                <a:noFill/>
                <a:prstDash val="solid"/>
                <a:miter/>
              </a:ln>
            </p:spPr>
            <p:txBody>
              <a:bodyPr rtlCol="0" anchor="ctr"/>
              <a:lstStyle/>
              <a:p>
                <a:endParaRPr lang="en-GB" dirty="0"/>
              </a:p>
            </p:txBody>
          </p:sp>
          <p:sp>
            <p:nvSpPr>
              <p:cNvPr id="281" name="Freihandform: Form 892">
                <a:extLst>
                  <a:ext uri="{FF2B5EF4-FFF2-40B4-BE49-F238E27FC236}">
                    <a16:creationId xmlns:a16="http://schemas.microsoft.com/office/drawing/2014/main" id="{7ECFEEFC-4216-4646-BF25-90ACD80910B6}"/>
                  </a:ext>
                </a:extLst>
              </p:cNvPr>
              <p:cNvSpPr/>
              <p:nvPr/>
            </p:nvSpPr>
            <p:spPr>
              <a:xfrm>
                <a:off x="5433673" y="3486926"/>
                <a:ext cx="52008" cy="12983"/>
              </a:xfrm>
              <a:custGeom>
                <a:avLst/>
                <a:gdLst>
                  <a:gd name="connsiteX0" fmla="*/ 45517 w 52008"/>
                  <a:gd name="connsiteY0" fmla="*/ 12983 h 12983"/>
                  <a:gd name="connsiteX1" fmla="*/ 6492 w 52008"/>
                  <a:gd name="connsiteY1" fmla="*/ 12983 h 12983"/>
                  <a:gd name="connsiteX2" fmla="*/ 0 w 52008"/>
                  <a:gd name="connsiteY2" fmla="*/ 6492 h 12983"/>
                  <a:gd name="connsiteX3" fmla="*/ 6492 w 52008"/>
                  <a:gd name="connsiteY3" fmla="*/ 0 h 12983"/>
                  <a:gd name="connsiteX4" fmla="*/ 45517 w 52008"/>
                  <a:gd name="connsiteY4" fmla="*/ 0 h 12983"/>
                  <a:gd name="connsiteX5" fmla="*/ 52008 w 52008"/>
                  <a:gd name="connsiteY5" fmla="*/ 6492 h 12983"/>
                  <a:gd name="connsiteX6" fmla="*/ 45517 w 52008"/>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08" h="12983">
                    <a:moveTo>
                      <a:pt x="45517" y="12983"/>
                    </a:moveTo>
                    <a:lnTo>
                      <a:pt x="6492" y="12983"/>
                    </a:lnTo>
                    <a:cubicBezTo>
                      <a:pt x="2894" y="12983"/>
                      <a:pt x="0" y="10064"/>
                      <a:pt x="0" y="6492"/>
                    </a:cubicBezTo>
                    <a:cubicBezTo>
                      <a:pt x="0" y="2919"/>
                      <a:pt x="2919" y="0"/>
                      <a:pt x="6492" y="0"/>
                    </a:cubicBezTo>
                    <a:lnTo>
                      <a:pt x="45517" y="0"/>
                    </a:lnTo>
                    <a:cubicBezTo>
                      <a:pt x="49115" y="0"/>
                      <a:pt x="52008" y="2919"/>
                      <a:pt x="52008" y="6492"/>
                    </a:cubicBezTo>
                    <a:cubicBezTo>
                      <a:pt x="52008" y="10064"/>
                      <a:pt x="49115" y="12983"/>
                      <a:pt x="45517" y="12983"/>
                    </a:cubicBezTo>
                    <a:close/>
                  </a:path>
                </a:pathLst>
              </a:custGeom>
              <a:grpFill/>
              <a:ln w="2515" cap="flat">
                <a:noFill/>
                <a:prstDash val="solid"/>
                <a:miter/>
              </a:ln>
            </p:spPr>
            <p:txBody>
              <a:bodyPr rtlCol="0" anchor="ctr"/>
              <a:lstStyle/>
              <a:p>
                <a:endParaRPr lang="en-GB" dirty="0"/>
              </a:p>
            </p:txBody>
          </p:sp>
          <p:sp>
            <p:nvSpPr>
              <p:cNvPr id="282" name="Freihandform: Form 893">
                <a:extLst>
                  <a:ext uri="{FF2B5EF4-FFF2-40B4-BE49-F238E27FC236}">
                    <a16:creationId xmlns:a16="http://schemas.microsoft.com/office/drawing/2014/main" id="{4022F2A7-0BCA-4324-8080-0904449DC9D5}"/>
                  </a:ext>
                </a:extLst>
              </p:cNvPr>
              <p:cNvSpPr/>
              <p:nvPr/>
            </p:nvSpPr>
            <p:spPr>
              <a:xfrm>
                <a:off x="5511723" y="3486926"/>
                <a:ext cx="52008" cy="12983"/>
              </a:xfrm>
              <a:custGeom>
                <a:avLst/>
                <a:gdLst>
                  <a:gd name="connsiteX0" fmla="*/ 45517 w 52008"/>
                  <a:gd name="connsiteY0" fmla="*/ 12983 h 12983"/>
                  <a:gd name="connsiteX1" fmla="*/ 6492 w 52008"/>
                  <a:gd name="connsiteY1" fmla="*/ 12983 h 12983"/>
                  <a:gd name="connsiteX2" fmla="*/ 0 w 52008"/>
                  <a:gd name="connsiteY2" fmla="*/ 6492 h 12983"/>
                  <a:gd name="connsiteX3" fmla="*/ 6492 w 52008"/>
                  <a:gd name="connsiteY3" fmla="*/ 0 h 12983"/>
                  <a:gd name="connsiteX4" fmla="*/ 45517 w 52008"/>
                  <a:gd name="connsiteY4" fmla="*/ 0 h 12983"/>
                  <a:gd name="connsiteX5" fmla="*/ 52008 w 52008"/>
                  <a:gd name="connsiteY5" fmla="*/ 6492 h 12983"/>
                  <a:gd name="connsiteX6" fmla="*/ 45517 w 52008"/>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08" h="12983">
                    <a:moveTo>
                      <a:pt x="45517" y="12983"/>
                    </a:moveTo>
                    <a:lnTo>
                      <a:pt x="6492" y="12983"/>
                    </a:lnTo>
                    <a:cubicBezTo>
                      <a:pt x="2894" y="12983"/>
                      <a:pt x="0" y="10064"/>
                      <a:pt x="0" y="6492"/>
                    </a:cubicBezTo>
                    <a:cubicBezTo>
                      <a:pt x="0" y="2919"/>
                      <a:pt x="2919" y="0"/>
                      <a:pt x="6492" y="0"/>
                    </a:cubicBezTo>
                    <a:lnTo>
                      <a:pt x="45517" y="0"/>
                    </a:lnTo>
                    <a:cubicBezTo>
                      <a:pt x="49115" y="0"/>
                      <a:pt x="52008" y="2919"/>
                      <a:pt x="52008" y="6492"/>
                    </a:cubicBezTo>
                    <a:cubicBezTo>
                      <a:pt x="52008" y="10064"/>
                      <a:pt x="49115" y="12983"/>
                      <a:pt x="45517" y="12983"/>
                    </a:cubicBezTo>
                    <a:close/>
                  </a:path>
                </a:pathLst>
              </a:custGeom>
              <a:grpFill/>
              <a:ln w="2515" cap="flat">
                <a:noFill/>
                <a:prstDash val="solid"/>
                <a:miter/>
              </a:ln>
            </p:spPr>
            <p:txBody>
              <a:bodyPr rtlCol="0" anchor="ctr"/>
              <a:lstStyle/>
              <a:p>
                <a:endParaRPr lang="en-GB" dirty="0"/>
              </a:p>
            </p:txBody>
          </p:sp>
          <p:sp>
            <p:nvSpPr>
              <p:cNvPr id="283" name="Freihandform: Form 894">
                <a:extLst>
                  <a:ext uri="{FF2B5EF4-FFF2-40B4-BE49-F238E27FC236}">
                    <a16:creationId xmlns:a16="http://schemas.microsoft.com/office/drawing/2014/main" id="{13127EE5-E28C-48CA-A7E5-284A8BFBE466}"/>
                  </a:ext>
                </a:extLst>
              </p:cNvPr>
              <p:cNvSpPr/>
              <p:nvPr/>
            </p:nvSpPr>
            <p:spPr>
              <a:xfrm>
                <a:off x="5433673" y="3538959"/>
                <a:ext cx="52008" cy="12983"/>
              </a:xfrm>
              <a:custGeom>
                <a:avLst/>
                <a:gdLst>
                  <a:gd name="connsiteX0" fmla="*/ 45517 w 52008"/>
                  <a:gd name="connsiteY0" fmla="*/ 12983 h 12983"/>
                  <a:gd name="connsiteX1" fmla="*/ 6492 w 52008"/>
                  <a:gd name="connsiteY1" fmla="*/ 12983 h 12983"/>
                  <a:gd name="connsiteX2" fmla="*/ 0 w 52008"/>
                  <a:gd name="connsiteY2" fmla="*/ 6492 h 12983"/>
                  <a:gd name="connsiteX3" fmla="*/ 6492 w 52008"/>
                  <a:gd name="connsiteY3" fmla="*/ 0 h 12983"/>
                  <a:gd name="connsiteX4" fmla="*/ 45517 w 52008"/>
                  <a:gd name="connsiteY4" fmla="*/ 0 h 12983"/>
                  <a:gd name="connsiteX5" fmla="*/ 52008 w 52008"/>
                  <a:gd name="connsiteY5" fmla="*/ 6492 h 12983"/>
                  <a:gd name="connsiteX6" fmla="*/ 45517 w 52008"/>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008" h="12983">
                    <a:moveTo>
                      <a:pt x="45517" y="12983"/>
                    </a:moveTo>
                    <a:lnTo>
                      <a:pt x="6492" y="12983"/>
                    </a:lnTo>
                    <a:cubicBezTo>
                      <a:pt x="2894" y="12983"/>
                      <a:pt x="0" y="10064"/>
                      <a:pt x="0" y="6492"/>
                    </a:cubicBezTo>
                    <a:cubicBezTo>
                      <a:pt x="0" y="2919"/>
                      <a:pt x="2919" y="0"/>
                      <a:pt x="6492" y="0"/>
                    </a:cubicBezTo>
                    <a:lnTo>
                      <a:pt x="45517" y="0"/>
                    </a:lnTo>
                    <a:cubicBezTo>
                      <a:pt x="49115" y="0"/>
                      <a:pt x="52008" y="2919"/>
                      <a:pt x="52008" y="6492"/>
                    </a:cubicBezTo>
                    <a:cubicBezTo>
                      <a:pt x="52008" y="10064"/>
                      <a:pt x="49115" y="12983"/>
                      <a:pt x="45517" y="12983"/>
                    </a:cubicBezTo>
                    <a:close/>
                  </a:path>
                </a:pathLst>
              </a:custGeom>
              <a:grpFill/>
              <a:ln w="2515" cap="flat">
                <a:noFill/>
                <a:prstDash val="solid"/>
                <a:miter/>
              </a:ln>
            </p:spPr>
            <p:txBody>
              <a:bodyPr rtlCol="0" anchor="ctr"/>
              <a:lstStyle/>
              <a:p>
                <a:endParaRPr lang="en-GB" dirty="0"/>
              </a:p>
            </p:txBody>
          </p:sp>
          <p:sp>
            <p:nvSpPr>
              <p:cNvPr id="284" name="Freihandform: Form 897">
                <a:extLst>
                  <a:ext uri="{FF2B5EF4-FFF2-40B4-BE49-F238E27FC236}">
                    <a16:creationId xmlns:a16="http://schemas.microsoft.com/office/drawing/2014/main" id="{A37BDA63-4A57-47E7-86B3-05C5065FE2F2}"/>
                  </a:ext>
                </a:extLst>
              </p:cNvPr>
              <p:cNvSpPr/>
              <p:nvPr/>
            </p:nvSpPr>
            <p:spPr>
              <a:xfrm>
                <a:off x="5583281" y="3421909"/>
                <a:ext cx="110533" cy="51982"/>
              </a:xfrm>
              <a:custGeom>
                <a:avLst/>
                <a:gdLst>
                  <a:gd name="connsiteX0" fmla="*/ 104042 w 110533"/>
                  <a:gd name="connsiteY0" fmla="*/ 51983 h 51982"/>
                  <a:gd name="connsiteX1" fmla="*/ 97550 w 110533"/>
                  <a:gd name="connsiteY1" fmla="*/ 45491 h 51982"/>
                  <a:gd name="connsiteX2" fmla="*/ 97550 w 110533"/>
                  <a:gd name="connsiteY2" fmla="*/ 12983 h 51982"/>
                  <a:gd name="connsiteX3" fmla="*/ 6492 w 110533"/>
                  <a:gd name="connsiteY3" fmla="*/ 12983 h 51982"/>
                  <a:gd name="connsiteX4" fmla="*/ 0 w 110533"/>
                  <a:gd name="connsiteY4" fmla="*/ 6491 h 51982"/>
                  <a:gd name="connsiteX5" fmla="*/ 6492 w 110533"/>
                  <a:gd name="connsiteY5" fmla="*/ 0 h 51982"/>
                  <a:gd name="connsiteX6" fmla="*/ 104042 w 110533"/>
                  <a:gd name="connsiteY6" fmla="*/ 0 h 51982"/>
                  <a:gd name="connsiteX7" fmla="*/ 110533 w 110533"/>
                  <a:gd name="connsiteY7" fmla="*/ 6491 h 51982"/>
                  <a:gd name="connsiteX8" fmla="*/ 110533 w 110533"/>
                  <a:gd name="connsiteY8" fmla="*/ 45517 h 51982"/>
                  <a:gd name="connsiteX9" fmla="*/ 104042 w 110533"/>
                  <a:gd name="connsiteY9" fmla="*/ 51983 h 5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33" h="51982">
                    <a:moveTo>
                      <a:pt x="104042" y="51983"/>
                    </a:moveTo>
                    <a:cubicBezTo>
                      <a:pt x="100444" y="51983"/>
                      <a:pt x="97550" y="49064"/>
                      <a:pt x="97550" y="45491"/>
                    </a:cubicBezTo>
                    <a:lnTo>
                      <a:pt x="97550" y="12983"/>
                    </a:lnTo>
                    <a:lnTo>
                      <a:pt x="6492" y="12983"/>
                    </a:lnTo>
                    <a:cubicBezTo>
                      <a:pt x="2894" y="12983"/>
                      <a:pt x="0" y="10064"/>
                      <a:pt x="0" y="6491"/>
                    </a:cubicBezTo>
                    <a:cubicBezTo>
                      <a:pt x="0" y="2919"/>
                      <a:pt x="2919" y="0"/>
                      <a:pt x="6492" y="0"/>
                    </a:cubicBezTo>
                    <a:lnTo>
                      <a:pt x="104042" y="0"/>
                    </a:lnTo>
                    <a:cubicBezTo>
                      <a:pt x="107640" y="0"/>
                      <a:pt x="110533" y="2919"/>
                      <a:pt x="110533" y="6491"/>
                    </a:cubicBezTo>
                    <a:lnTo>
                      <a:pt x="110533" y="45517"/>
                    </a:lnTo>
                    <a:cubicBezTo>
                      <a:pt x="110533" y="49089"/>
                      <a:pt x="107640" y="51983"/>
                      <a:pt x="104042" y="51983"/>
                    </a:cubicBezTo>
                    <a:close/>
                  </a:path>
                </a:pathLst>
              </a:custGeom>
              <a:grpFill/>
              <a:ln w="2515" cap="flat">
                <a:noFill/>
                <a:prstDash val="solid"/>
                <a:miter/>
              </a:ln>
            </p:spPr>
            <p:txBody>
              <a:bodyPr rtlCol="0" anchor="ctr"/>
              <a:lstStyle/>
              <a:p>
                <a:endParaRPr lang="en-GB" dirty="0"/>
              </a:p>
            </p:txBody>
          </p:sp>
          <p:sp>
            <p:nvSpPr>
              <p:cNvPr id="285" name="Freihandform: Form 898">
                <a:extLst>
                  <a:ext uri="{FF2B5EF4-FFF2-40B4-BE49-F238E27FC236}">
                    <a16:creationId xmlns:a16="http://schemas.microsoft.com/office/drawing/2014/main" id="{F95D7AF4-19E6-4F6B-B97B-B049F01FCC90}"/>
                  </a:ext>
                </a:extLst>
              </p:cNvPr>
              <p:cNvSpPr/>
              <p:nvPr/>
            </p:nvSpPr>
            <p:spPr>
              <a:xfrm>
                <a:off x="5615789" y="3486926"/>
                <a:ext cx="45491" cy="12983"/>
              </a:xfrm>
              <a:custGeom>
                <a:avLst/>
                <a:gdLst>
                  <a:gd name="connsiteX0" fmla="*/ 39000 w 45491"/>
                  <a:gd name="connsiteY0" fmla="*/ 12983 h 12983"/>
                  <a:gd name="connsiteX1" fmla="*/ 6492 w 45491"/>
                  <a:gd name="connsiteY1" fmla="*/ 12983 h 12983"/>
                  <a:gd name="connsiteX2" fmla="*/ 0 w 45491"/>
                  <a:gd name="connsiteY2" fmla="*/ 6492 h 12983"/>
                  <a:gd name="connsiteX3" fmla="*/ 6492 w 45491"/>
                  <a:gd name="connsiteY3" fmla="*/ 0 h 12983"/>
                  <a:gd name="connsiteX4" fmla="*/ 39000 w 45491"/>
                  <a:gd name="connsiteY4" fmla="*/ 0 h 12983"/>
                  <a:gd name="connsiteX5" fmla="*/ 45491 w 45491"/>
                  <a:gd name="connsiteY5" fmla="*/ 6492 h 12983"/>
                  <a:gd name="connsiteX6" fmla="*/ 39000 w 45491"/>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91" h="12983">
                    <a:moveTo>
                      <a:pt x="39000" y="12983"/>
                    </a:moveTo>
                    <a:lnTo>
                      <a:pt x="6492" y="12983"/>
                    </a:lnTo>
                    <a:cubicBezTo>
                      <a:pt x="2894" y="12983"/>
                      <a:pt x="0" y="10064"/>
                      <a:pt x="0" y="6492"/>
                    </a:cubicBezTo>
                    <a:cubicBezTo>
                      <a:pt x="0" y="2919"/>
                      <a:pt x="2919" y="0"/>
                      <a:pt x="6492" y="0"/>
                    </a:cubicBezTo>
                    <a:lnTo>
                      <a:pt x="39000" y="0"/>
                    </a:lnTo>
                    <a:cubicBezTo>
                      <a:pt x="42598" y="0"/>
                      <a:pt x="45491" y="2919"/>
                      <a:pt x="45491" y="6492"/>
                    </a:cubicBezTo>
                    <a:cubicBezTo>
                      <a:pt x="45491" y="10064"/>
                      <a:pt x="42598" y="12983"/>
                      <a:pt x="39000" y="12983"/>
                    </a:cubicBezTo>
                    <a:close/>
                  </a:path>
                </a:pathLst>
              </a:custGeom>
              <a:grpFill/>
              <a:ln w="2515" cap="flat">
                <a:noFill/>
                <a:prstDash val="solid"/>
                <a:miter/>
              </a:ln>
            </p:spPr>
            <p:txBody>
              <a:bodyPr rtlCol="0" anchor="ctr"/>
              <a:lstStyle/>
              <a:p>
                <a:endParaRPr lang="en-GB" dirty="0"/>
              </a:p>
            </p:txBody>
          </p:sp>
          <p:grpSp>
            <p:nvGrpSpPr>
              <p:cNvPr id="286" name="Grafik 21">
                <a:extLst>
                  <a:ext uri="{FF2B5EF4-FFF2-40B4-BE49-F238E27FC236}">
                    <a16:creationId xmlns:a16="http://schemas.microsoft.com/office/drawing/2014/main" id="{C6638F67-4E8D-477E-BEFA-82A13374D7CC}"/>
                  </a:ext>
                </a:extLst>
              </p:cNvPr>
              <p:cNvGrpSpPr/>
              <p:nvPr/>
            </p:nvGrpSpPr>
            <p:grpSpPr>
              <a:xfrm>
                <a:off x="5303589" y="3421884"/>
                <a:ext cx="110533" cy="286158"/>
                <a:chOff x="5303589" y="3421884"/>
                <a:chExt cx="110533" cy="286158"/>
              </a:xfrm>
              <a:grpFill/>
            </p:grpSpPr>
            <p:sp>
              <p:nvSpPr>
                <p:cNvPr id="288" name="Freihandform: Form 900">
                  <a:extLst>
                    <a:ext uri="{FF2B5EF4-FFF2-40B4-BE49-F238E27FC236}">
                      <a16:creationId xmlns:a16="http://schemas.microsoft.com/office/drawing/2014/main" id="{65384DB7-75D0-4939-91EB-96B2277DE3B1}"/>
                    </a:ext>
                  </a:extLst>
                </p:cNvPr>
                <p:cNvSpPr/>
                <p:nvPr/>
              </p:nvSpPr>
              <p:spPr>
                <a:xfrm>
                  <a:off x="5303589" y="3421884"/>
                  <a:ext cx="110533" cy="286158"/>
                </a:xfrm>
                <a:custGeom>
                  <a:avLst/>
                  <a:gdLst>
                    <a:gd name="connsiteX0" fmla="*/ 6492 w 110533"/>
                    <a:gd name="connsiteY0" fmla="*/ 286158 h 286158"/>
                    <a:gd name="connsiteX1" fmla="*/ 0 w 110533"/>
                    <a:gd name="connsiteY1" fmla="*/ 279667 h 286158"/>
                    <a:gd name="connsiteX2" fmla="*/ 0 w 110533"/>
                    <a:gd name="connsiteY2" fmla="*/ 6492 h 286158"/>
                    <a:gd name="connsiteX3" fmla="*/ 6492 w 110533"/>
                    <a:gd name="connsiteY3" fmla="*/ 0 h 286158"/>
                    <a:gd name="connsiteX4" fmla="*/ 104042 w 110533"/>
                    <a:gd name="connsiteY4" fmla="*/ 0 h 286158"/>
                    <a:gd name="connsiteX5" fmla="*/ 110533 w 110533"/>
                    <a:gd name="connsiteY5" fmla="*/ 6492 h 286158"/>
                    <a:gd name="connsiteX6" fmla="*/ 104042 w 110533"/>
                    <a:gd name="connsiteY6" fmla="*/ 12983 h 286158"/>
                    <a:gd name="connsiteX7" fmla="*/ 13008 w 110533"/>
                    <a:gd name="connsiteY7" fmla="*/ 12983 h 286158"/>
                    <a:gd name="connsiteX8" fmla="*/ 13008 w 110533"/>
                    <a:gd name="connsiteY8" fmla="*/ 279667 h 286158"/>
                    <a:gd name="connsiteX9" fmla="*/ 6492 w 110533"/>
                    <a:gd name="connsiteY9" fmla="*/ 286158 h 286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533" h="286158">
                      <a:moveTo>
                        <a:pt x="6492" y="286158"/>
                      </a:moveTo>
                      <a:cubicBezTo>
                        <a:pt x="2894" y="286158"/>
                        <a:pt x="0" y="283240"/>
                        <a:pt x="0" y="279667"/>
                      </a:cubicBezTo>
                      <a:lnTo>
                        <a:pt x="0" y="6492"/>
                      </a:lnTo>
                      <a:cubicBezTo>
                        <a:pt x="0" y="2893"/>
                        <a:pt x="2919" y="0"/>
                        <a:pt x="6492" y="0"/>
                      </a:cubicBezTo>
                      <a:lnTo>
                        <a:pt x="104042" y="0"/>
                      </a:lnTo>
                      <a:cubicBezTo>
                        <a:pt x="107640" y="0"/>
                        <a:pt x="110533" y="2919"/>
                        <a:pt x="110533" y="6492"/>
                      </a:cubicBezTo>
                      <a:cubicBezTo>
                        <a:pt x="110533" y="10064"/>
                        <a:pt x="107615" y="12983"/>
                        <a:pt x="104042" y="12983"/>
                      </a:cubicBezTo>
                      <a:lnTo>
                        <a:pt x="13008" y="12983"/>
                      </a:lnTo>
                      <a:lnTo>
                        <a:pt x="13008" y="279667"/>
                      </a:lnTo>
                      <a:cubicBezTo>
                        <a:pt x="13008" y="283265"/>
                        <a:pt x="10090" y="286158"/>
                        <a:pt x="6492" y="286158"/>
                      </a:cubicBezTo>
                      <a:close/>
                    </a:path>
                  </a:pathLst>
                </a:custGeom>
                <a:grpFill/>
                <a:ln w="2515" cap="flat">
                  <a:noFill/>
                  <a:prstDash val="solid"/>
                  <a:miter/>
                </a:ln>
              </p:spPr>
              <p:txBody>
                <a:bodyPr rtlCol="0" anchor="ctr"/>
                <a:lstStyle/>
                <a:p>
                  <a:endParaRPr lang="en-GB" dirty="0"/>
                </a:p>
              </p:txBody>
            </p:sp>
            <p:sp>
              <p:nvSpPr>
                <p:cNvPr id="289" name="Freihandform: Form 901">
                  <a:extLst>
                    <a:ext uri="{FF2B5EF4-FFF2-40B4-BE49-F238E27FC236}">
                      <a16:creationId xmlns:a16="http://schemas.microsoft.com/office/drawing/2014/main" id="{F0B29EE8-9B10-4821-B92D-B633C69BD61F}"/>
                    </a:ext>
                  </a:extLst>
                </p:cNvPr>
                <p:cNvSpPr/>
                <p:nvPr/>
              </p:nvSpPr>
              <p:spPr>
                <a:xfrm>
                  <a:off x="5336123" y="3486926"/>
                  <a:ext cx="45491" cy="12983"/>
                </a:xfrm>
                <a:custGeom>
                  <a:avLst/>
                  <a:gdLst>
                    <a:gd name="connsiteX0" fmla="*/ 39000 w 45491"/>
                    <a:gd name="connsiteY0" fmla="*/ 12983 h 12983"/>
                    <a:gd name="connsiteX1" fmla="*/ 6492 w 45491"/>
                    <a:gd name="connsiteY1" fmla="*/ 12983 h 12983"/>
                    <a:gd name="connsiteX2" fmla="*/ 0 w 45491"/>
                    <a:gd name="connsiteY2" fmla="*/ 6492 h 12983"/>
                    <a:gd name="connsiteX3" fmla="*/ 6492 w 45491"/>
                    <a:gd name="connsiteY3" fmla="*/ 0 h 12983"/>
                    <a:gd name="connsiteX4" fmla="*/ 39000 w 45491"/>
                    <a:gd name="connsiteY4" fmla="*/ 0 h 12983"/>
                    <a:gd name="connsiteX5" fmla="*/ 45491 w 45491"/>
                    <a:gd name="connsiteY5" fmla="*/ 6492 h 12983"/>
                    <a:gd name="connsiteX6" fmla="*/ 39000 w 45491"/>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91" h="12983">
                      <a:moveTo>
                        <a:pt x="39000" y="12983"/>
                      </a:moveTo>
                      <a:lnTo>
                        <a:pt x="6492" y="12983"/>
                      </a:lnTo>
                      <a:cubicBezTo>
                        <a:pt x="2894" y="12983"/>
                        <a:pt x="0" y="10064"/>
                        <a:pt x="0" y="6492"/>
                      </a:cubicBezTo>
                      <a:cubicBezTo>
                        <a:pt x="0" y="2919"/>
                        <a:pt x="2919" y="0"/>
                        <a:pt x="6492" y="0"/>
                      </a:cubicBezTo>
                      <a:lnTo>
                        <a:pt x="39000" y="0"/>
                      </a:lnTo>
                      <a:cubicBezTo>
                        <a:pt x="42598" y="0"/>
                        <a:pt x="45491" y="2919"/>
                        <a:pt x="45491" y="6492"/>
                      </a:cubicBezTo>
                      <a:cubicBezTo>
                        <a:pt x="45491" y="10064"/>
                        <a:pt x="42598" y="12983"/>
                        <a:pt x="39000" y="12983"/>
                      </a:cubicBezTo>
                      <a:close/>
                    </a:path>
                  </a:pathLst>
                </a:custGeom>
                <a:grpFill/>
                <a:ln w="2515" cap="flat">
                  <a:noFill/>
                  <a:prstDash val="solid"/>
                  <a:miter/>
                </a:ln>
              </p:spPr>
              <p:txBody>
                <a:bodyPr rtlCol="0" anchor="ctr"/>
                <a:lstStyle/>
                <a:p>
                  <a:endParaRPr lang="en-GB" dirty="0"/>
                </a:p>
              </p:txBody>
            </p:sp>
            <p:sp>
              <p:nvSpPr>
                <p:cNvPr id="290" name="Freihandform: Form 902">
                  <a:extLst>
                    <a:ext uri="{FF2B5EF4-FFF2-40B4-BE49-F238E27FC236}">
                      <a16:creationId xmlns:a16="http://schemas.microsoft.com/office/drawing/2014/main" id="{B186837F-6A05-4A40-A0C7-34D31B1A2290}"/>
                    </a:ext>
                  </a:extLst>
                </p:cNvPr>
                <p:cNvSpPr/>
                <p:nvPr/>
              </p:nvSpPr>
              <p:spPr>
                <a:xfrm>
                  <a:off x="5336123" y="3538959"/>
                  <a:ext cx="45491" cy="12983"/>
                </a:xfrm>
                <a:custGeom>
                  <a:avLst/>
                  <a:gdLst>
                    <a:gd name="connsiteX0" fmla="*/ 39000 w 45491"/>
                    <a:gd name="connsiteY0" fmla="*/ 12983 h 12983"/>
                    <a:gd name="connsiteX1" fmla="*/ 6492 w 45491"/>
                    <a:gd name="connsiteY1" fmla="*/ 12983 h 12983"/>
                    <a:gd name="connsiteX2" fmla="*/ 0 w 45491"/>
                    <a:gd name="connsiteY2" fmla="*/ 6492 h 12983"/>
                    <a:gd name="connsiteX3" fmla="*/ 6492 w 45491"/>
                    <a:gd name="connsiteY3" fmla="*/ 0 h 12983"/>
                    <a:gd name="connsiteX4" fmla="*/ 39000 w 45491"/>
                    <a:gd name="connsiteY4" fmla="*/ 0 h 12983"/>
                    <a:gd name="connsiteX5" fmla="*/ 45491 w 45491"/>
                    <a:gd name="connsiteY5" fmla="*/ 6492 h 12983"/>
                    <a:gd name="connsiteX6" fmla="*/ 39000 w 45491"/>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91" h="12983">
                      <a:moveTo>
                        <a:pt x="39000" y="12983"/>
                      </a:moveTo>
                      <a:lnTo>
                        <a:pt x="6492" y="12983"/>
                      </a:lnTo>
                      <a:cubicBezTo>
                        <a:pt x="2894" y="12983"/>
                        <a:pt x="0" y="10064"/>
                        <a:pt x="0" y="6492"/>
                      </a:cubicBezTo>
                      <a:cubicBezTo>
                        <a:pt x="0" y="2919"/>
                        <a:pt x="2919" y="0"/>
                        <a:pt x="6492" y="0"/>
                      </a:cubicBezTo>
                      <a:lnTo>
                        <a:pt x="39000" y="0"/>
                      </a:lnTo>
                      <a:cubicBezTo>
                        <a:pt x="42598" y="0"/>
                        <a:pt x="45491" y="2919"/>
                        <a:pt x="45491" y="6492"/>
                      </a:cubicBezTo>
                      <a:cubicBezTo>
                        <a:pt x="45491" y="10064"/>
                        <a:pt x="42598" y="12983"/>
                        <a:pt x="39000" y="12983"/>
                      </a:cubicBezTo>
                      <a:close/>
                    </a:path>
                  </a:pathLst>
                </a:custGeom>
                <a:grpFill/>
                <a:ln w="2515" cap="flat">
                  <a:noFill/>
                  <a:prstDash val="solid"/>
                  <a:miter/>
                </a:ln>
              </p:spPr>
              <p:txBody>
                <a:bodyPr rtlCol="0" anchor="ctr"/>
                <a:lstStyle/>
                <a:p>
                  <a:endParaRPr lang="en-GB" dirty="0"/>
                </a:p>
              </p:txBody>
            </p:sp>
            <p:sp>
              <p:nvSpPr>
                <p:cNvPr id="291" name="Freihandform: Form 903">
                  <a:extLst>
                    <a:ext uri="{FF2B5EF4-FFF2-40B4-BE49-F238E27FC236}">
                      <a16:creationId xmlns:a16="http://schemas.microsoft.com/office/drawing/2014/main" id="{8585B22F-8034-41A6-8E5C-5C244E9C6597}"/>
                    </a:ext>
                  </a:extLst>
                </p:cNvPr>
                <p:cNvSpPr/>
                <p:nvPr/>
              </p:nvSpPr>
              <p:spPr>
                <a:xfrm>
                  <a:off x="5336123" y="3597509"/>
                  <a:ext cx="45491" cy="12983"/>
                </a:xfrm>
                <a:custGeom>
                  <a:avLst/>
                  <a:gdLst>
                    <a:gd name="connsiteX0" fmla="*/ 39000 w 45491"/>
                    <a:gd name="connsiteY0" fmla="*/ 12983 h 12983"/>
                    <a:gd name="connsiteX1" fmla="*/ 6492 w 45491"/>
                    <a:gd name="connsiteY1" fmla="*/ 12983 h 12983"/>
                    <a:gd name="connsiteX2" fmla="*/ 0 w 45491"/>
                    <a:gd name="connsiteY2" fmla="*/ 6492 h 12983"/>
                    <a:gd name="connsiteX3" fmla="*/ 6492 w 45491"/>
                    <a:gd name="connsiteY3" fmla="*/ 0 h 12983"/>
                    <a:gd name="connsiteX4" fmla="*/ 39000 w 45491"/>
                    <a:gd name="connsiteY4" fmla="*/ 0 h 12983"/>
                    <a:gd name="connsiteX5" fmla="*/ 45491 w 45491"/>
                    <a:gd name="connsiteY5" fmla="*/ 6492 h 12983"/>
                    <a:gd name="connsiteX6" fmla="*/ 39000 w 45491"/>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491" h="12983">
                      <a:moveTo>
                        <a:pt x="39000" y="12983"/>
                      </a:moveTo>
                      <a:lnTo>
                        <a:pt x="6492" y="12983"/>
                      </a:lnTo>
                      <a:cubicBezTo>
                        <a:pt x="2894" y="12983"/>
                        <a:pt x="0" y="10064"/>
                        <a:pt x="0" y="6492"/>
                      </a:cubicBezTo>
                      <a:cubicBezTo>
                        <a:pt x="0" y="2894"/>
                        <a:pt x="2919" y="0"/>
                        <a:pt x="6492" y="0"/>
                      </a:cubicBezTo>
                      <a:lnTo>
                        <a:pt x="39000" y="0"/>
                      </a:lnTo>
                      <a:cubicBezTo>
                        <a:pt x="42598" y="0"/>
                        <a:pt x="45491" y="2919"/>
                        <a:pt x="45491" y="6492"/>
                      </a:cubicBezTo>
                      <a:cubicBezTo>
                        <a:pt x="45517" y="10064"/>
                        <a:pt x="42598" y="12983"/>
                        <a:pt x="39000" y="12983"/>
                      </a:cubicBezTo>
                      <a:close/>
                    </a:path>
                  </a:pathLst>
                </a:custGeom>
                <a:grpFill/>
                <a:ln w="2515" cap="flat">
                  <a:noFill/>
                  <a:prstDash val="solid"/>
                  <a:miter/>
                </a:ln>
              </p:spPr>
              <p:txBody>
                <a:bodyPr rtlCol="0" anchor="ctr"/>
                <a:lstStyle/>
                <a:p>
                  <a:endParaRPr lang="en-GB" dirty="0"/>
                </a:p>
              </p:txBody>
            </p:sp>
          </p:grpSp>
          <p:sp>
            <p:nvSpPr>
              <p:cNvPr id="287" name="Freihandform: Form 912">
                <a:extLst>
                  <a:ext uri="{FF2B5EF4-FFF2-40B4-BE49-F238E27FC236}">
                    <a16:creationId xmlns:a16="http://schemas.microsoft.com/office/drawing/2014/main" id="{13A48A8A-8BA4-4C00-BC5B-C872B0366F93}"/>
                  </a:ext>
                </a:extLst>
              </p:cNvPr>
              <p:cNvSpPr/>
              <p:nvPr/>
            </p:nvSpPr>
            <p:spPr>
              <a:xfrm>
                <a:off x="5264564" y="3695034"/>
                <a:ext cx="468300" cy="13008"/>
              </a:xfrm>
              <a:custGeom>
                <a:avLst/>
                <a:gdLst>
                  <a:gd name="connsiteX0" fmla="*/ 0 w 468300"/>
                  <a:gd name="connsiteY0" fmla="*/ 0 h 13008"/>
                  <a:gd name="connsiteX1" fmla="*/ 468301 w 468300"/>
                  <a:gd name="connsiteY1" fmla="*/ 0 h 13008"/>
                  <a:gd name="connsiteX2" fmla="*/ 468301 w 468300"/>
                  <a:gd name="connsiteY2" fmla="*/ 13008 h 13008"/>
                  <a:gd name="connsiteX3" fmla="*/ 0 w 468300"/>
                  <a:gd name="connsiteY3" fmla="*/ 13008 h 13008"/>
                </a:gdLst>
                <a:ahLst/>
                <a:cxnLst>
                  <a:cxn ang="0">
                    <a:pos x="connsiteX0" y="connsiteY0"/>
                  </a:cxn>
                  <a:cxn ang="0">
                    <a:pos x="connsiteX1" y="connsiteY1"/>
                  </a:cxn>
                  <a:cxn ang="0">
                    <a:pos x="connsiteX2" y="connsiteY2"/>
                  </a:cxn>
                  <a:cxn ang="0">
                    <a:pos x="connsiteX3" y="connsiteY3"/>
                  </a:cxn>
                </a:cxnLst>
                <a:rect l="l" t="t" r="r" b="b"/>
                <a:pathLst>
                  <a:path w="468300" h="13008">
                    <a:moveTo>
                      <a:pt x="0" y="0"/>
                    </a:moveTo>
                    <a:lnTo>
                      <a:pt x="468301" y="0"/>
                    </a:lnTo>
                    <a:lnTo>
                      <a:pt x="468301" y="13008"/>
                    </a:lnTo>
                    <a:lnTo>
                      <a:pt x="0" y="13008"/>
                    </a:lnTo>
                    <a:close/>
                  </a:path>
                </a:pathLst>
              </a:custGeom>
              <a:grpFill/>
              <a:ln w="2515" cap="flat">
                <a:noFill/>
                <a:prstDash val="solid"/>
                <a:miter/>
              </a:ln>
            </p:spPr>
            <p:txBody>
              <a:bodyPr rtlCol="0" anchor="ctr"/>
              <a:lstStyle/>
              <a:p>
                <a:endParaRPr lang="en-GB" dirty="0"/>
              </a:p>
            </p:txBody>
          </p:sp>
        </p:grpSp>
      </p:grpSp>
      <p:grpSp>
        <p:nvGrpSpPr>
          <p:cNvPr id="473" name="Group 472">
            <a:extLst>
              <a:ext uri="{FF2B5EF4-FFF2-40B4-BE49-F238E27FC236}">
                <a16:creationId xmlns:a16="http://schemas.microsoft.com/office/drawing/2014/main" id="{E213344C-B8F3-21BC-5704-163D48C89798}"/>
              </a:ext>
            </a:extLst>
          </p:cNvPr>
          <p:cNvGrpSpPr/>
          <p:nvPr/>
        </p:nvGrpSpPr>
        <p:grpSpPr>
          <a:xfrm>
            <a:off x="2633556" y="3227048"/>
            <a:ext cx="502725" cy="432000"/>
            <a:chOff x="2633556" y="3227048"/>
            <a:chExt cx="502725" cy="432000"/>
          </a:xfrm>
        </p:grpSpPr>
        <p:grpSp>
          <p:nvGrpSpPr>
            <p:cNvPr id="301" name="Grafik 21">
              <a:extLst>
                <a:ext uri="{FF2B5EF4-FFF2-40B4-BE49-F238E27FC236}">
                  <a16:creationId xmlns:a16="http://schemas.microsoft.com/office/drawing/2014/main" id="{67A85EF9-70C7-4F62-8C41-89E2F6F2EA41}"/>
                </a:ext>
              </a:extLst>
            </p:cNvPr>
            <p:cNvGrpSpPr/>
            <p:nvPr/>
          </p:nvGrpSpPr>
          <p:grpSpPr>
            <a:xfrm>
              <a:off x="2892973" y="3425932"/>
              <a:ext cx="203036" cy="165447"/>
              <a:chOff x="7976742" y="3506426"/>
              <a:chExt cx="175600" cy="143091"/>
            </a:xfrm>
            <a:solidFill>
              <a:schemeClr val="accent1"/>
            </a:solidFill>
          </p:grpSpPr>
          <p:sp>
            <p:nvSpPr>
              <p:cNvPr id="314" name="Freihandform: Form 941">
                <a:extLst>
                  <a:ext uri="{FF2B5EF4-FFF2-40B4-BE49-F238E27FC236}">
                    <a16:creationId xmlns:a16="http://schemas.microsoft.com/office/drawing/2014/main" id="{B8C28E7C-316C-444D-8011-F1975D004263}"/>
                  </a:ext>
                </a:extLst>
              </p:cNvPr>
              <p:cNvSpPr/>
              <p:nvPr/>
            </p:nvSpPr>
            <p:spPr>
              <a:xfrm>
                <a:off x="7996267" y="3604051"/>
                <a:ext cx="136575" cy="45466"/>
              </a:xfrm>
              <a:custGeom>
                <a:avLst/>
                <a:gdLst>
                  <a:gd name="connsiteX0" fmla="*/ 123567 w 136575"/>
                  <a:gd name="connsiteY0" fmla="*/ 45466 h 45466"/>
                  <a:gd name="connsiteX1" fmla="*/ 84542 w 136575"/>
                  <a:gd name="connsiteY1" fmla="*/ 45466 h 45466"/>
                  <a:gd name="connsiteX2" fmla="*/ 78050 w 136575"/>
                  <a:gd name="connsiteY2" fmla="*/ 38975 h 45466"/>
                  <a:gd name="connsiteX3" fmla="*/ 84542 w 136575"/>
                  <a:gd name="connsiteY3" fmla="*/ 32483 h 45466"/>
                  <a:gd name="connsiteX4" fmla="*/ 123567 w 136575"/>
                  <a:gd name="connsiteY4" fmla="*/ 32483 h 45466"/>
                  <a:gd name="connsiteX5" fmla="*/ 123567 w 136575"/>
                  <a:gd name="connsiteY5" fmla="*/ 12983 h 45466"/>
                  <a:gd name="connsiteX6" fmla="*/ 6491 w 136575"/>
                  <a:gd name="connsiteY6" fmla="*/ 12983 h 45466"/>
                  <a:gd name="connsiteX7" fmla="*/ 0 w 136575"/>
                  <a:gd name="connsiteY7" fmla="*/ 6492 h 45466"/>
                  <a:gd name="connsiteX8" fmla="*/ 6491 w 136575"/>
                  <a:gd name="connsiteY8" fmla="*/ 0 h 45466"/>
                  <a:gd name="connsiteX9" fmla="*/ 123567 w 136575"/>
                  <a:gd name="connsiteY9" fmla="*/ 0 h 45466"/>
                  <a:gd name="connsiteX10" fmla="*/ 136575 w 136575"/>
                  <a:gd name="connsiteY10" fmla="*/ 13008 h 45466"/>
                  <a:gd name="connsiteX11" fmla="*/ 136575 w 136575"/>
                  <a:gd name="connsiteY11" fmla="*/ 32508 h 45466"/>
                  <a:gd name="connsiteX12" fmla="*/ 123567 w 136575"/>
                  <a:gd name="connsiteY12" fmla="*/ 45466 h 4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575" h="45466">
                    <a:moveTo>
                      <a:pt x="123567" y="45466"/>
                    </a:moveTo>
                    <a:lnTo>
                      <a:pt x="84542" y="45466"/>
                    </a:lnTo>
                    <a:cubicBezTo>
                      <a:pt x="80944" y="45466"/>
                      <a:pt x="78050" y="42548"/>
                      <a:pt x="78050" y="38975"/>
                    </a:cubicBezTo>
                    <a:cubicBezTo>
                      <a:pt x="78050" y="35402"/>
                      <a:pt x="80969" y="32483"/>
                      <a:pt x="84542" y="32483"/>
                    </a:cubicBezTo>
                    <a:lnTo>
                      <a:pt x="123567" y="32483"/>
                    </a:lnTo>
                    <a:lnTo>
                      <a:pt x="123567" y="12983"/>
                    </a:lnTo>
                    <a:lnTo>
                      <a:pt x="6491" y="12983"/>
                    </a:lnTo>
                    <a:cubicBezTo>
                      <a:pt x="2894" y="12983"/>
                      <a:pt x="0" y="10064"/>
                      <a:pt x="0" y="6492"/>
                    </a:cubicBezTo>
                    <a:cubicBezTo>
                      <a:pt x="0" y="2894"/>
                      <a:pt x="2919" y="0"/>
                      <a:pt x="6491" y="0"/>
                    </a:cubicBezTo>
                    <a:lnTo>
                      <a:pt x="123567" y="0"/>
                    </a:lnTo>
                    <a:cubicBezTo>
                      <a:pt x="130738" y="0"/>
                      <a:pt x="136575" y="5837"/>
                      <a:pt x="136575" y="13008"/>
                    </a:cubicBezTo>
                    <a:lnTo>
                      <a:pt x="136575" y="32508"/>
                    </a:lnTo>
                    <a:cubicBezTo>
                      <a:pt x="136575" y="39629"/>
                      <a:pt x="130738" y="45466"/>
                      <a:pt x="123567" y="45466"/>
                    </a:cubicBezTo>
                    <a:close/>
                  </a:path>
                </a:pathLst>
              </a:custGeom>
              <a:solidFill>
                <a:schemeClr val="accent1"/>
              </a:solidFill>
              <a:ln w="2515" cap="flat">
                <a:noFill/>
                <a:prstDash val="solid"/>
                <a:miter/>
              </a:ln>
            </p:spPr>
            <p:txBody>
              <a:bodyPr rtlCol="0" anchor="ctr"/>
              <a:lstStyle/>
              <a:p>
                <a:endParaRPr lang="en-GB" dirty="0"/>
              </a:p>
            </p:txBody>
          </p:sp>
          <p:sp>
            <p:nvSpPr>
              <p:cNvPr id="315" name="Freihandform: Form 942">
                <a:extLst>
                  <a:ext uri="{FF2B5EF4-FFF2-40B4-BE49-F238E27FC236}">
                    <a16:creationId xmlns:a16="http://schemas.microsoft.com/office/drawing/2014/main" id="{A37FEF99-1623-4A3A-A64A-3A7E00F4B2D6}"/>
                  </a:ext>
                </a:extLst>
              </p:cNvPr>
              <p:cNvSpPr/>
              <p:nvPr/>
            </p:nvSpPr>
            <p:spPr>
              <a:xfrm>
                <a:off x="7976767" y="3571493"/>
                <a:ext cx="156100" cy="45491"/>
              </a:xfrm>
              <a:custGeom>
                <a:avLst/>
                <a:gdLst>
                  <a:gd name="connsiteX0" fmla="*/ 143067 w 156100"/>
                  <a:gd name="connsiteY0" fmla="*/ 45492 h 45491"/>
                  <a:gd name="connsiteX1" fmla="*/ 32508 w 156100"/>
                  <a:gd name="connsiteY1" fmla="*/ 45492 h 45491"/>
                  <a:gd name="connsiteX2" fmla="*/ 26017 w 156100"/>
                  <a:gd name="connsiteY2" fmla="*/ 39000 h 45491"/>
                  <a:gd name="connsiteX3" fmla="*/ 32508 w 156100"/>
                  <a:gd name="connsiteY3" fmla="*/ 32508 h 45491"/>
                  <a:gd name="connsiteX4" fmla="*/ 143067 w 156100"/>
                  <a:gd name="connsiteY4" fmla="*/ 32508 h 45491"/>
                  <a:gd name="connsiteX5" fmla="*/ 143067 w 156100"/>
                  <a:gd name="connsiteY5" fmla="*/ 13008 h 45491"/>
                  <a:gd name="connsiteX6" fmla="*/ 12983 w 156100"/>
                  <a:gd name="connsiteY6" fmla="*/ 13008 h 45491"/>
                  <a:gd name="connsiteX7" fmla="*/ 12983 w 156100"/>
                  <a:gd name="connsiteY7" fmla="*/ 26017 h 45491"/>
                  <a:gd name="connsiteX8" fmla="*/ 6491 w 156100"/>
                  <a:gd name="connsiteY8" fmla="*/ 32508 h 45491"/>
                  <a:gd name="connsiteX9" fmla="*/ 0 w 156100"/>
                  <a:gd name="connsiteY9" fmla="*/ 26017 h 45491"/>
                  <a:gd name="connsiteX10" fmla="*/ 0 w 156100"/>
                  <a:gd name="connsiteY10" fmla="*/ 13008 h 45491"/>
                  <a:gd name="connsiteX11" fmla="*/ 13008 w 156100"/>
                  <a:gd name="connsiteY11" fmla="*/ 0 h 45491"/>
                  <a:gd name="connsiteX12" fmla="*/ 143092 w 156100"/>
                  <a:gd name="connsiteY12" fmla="*/ 0 h 45491"/>
                  <a:gd name="connsiteX13" fmla="*/ 156100 w 156100"/>
                  <a:gd name="connsiteY13" fmla="*/ 13008 h 45491"/>
                  <a:gd name="connsiteX14" fmla="*/ 156100 w 156100"/>
                  <a:gd name="connsiteY14" fmla="*/ 32508 h 45491"/>
                  <a:gd name="connsiteX15" fmla="*/ 143067 w 156100"/>
                  <a:gd name="connsiteY15" fmla="*/ 45492 h 45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6100" h="45491">
                    <a:moveTo>
                      <a:pt x="143067" y="45492"/>
                    </a:moveTo>
                    <a:lnTo>
                      <a:pt x="32508" y="45492"/>
                    </a:lnTo>
                    <a:cubicBezTo>
                      <a:pt x="28910" y="45492"/>
                      <a:pt x="26017" y="42573"/>
                      <a:pt x="26017" y="39000"/>
                    </a:cubicBezTo>
                    <a:cubicBezTo>
                      <a:pt x="26017" y="35402"/>
                      <a:pt x="28935" y="32508"/>
                      <a:pt x="32508" y="32508"/>
                    </a:cubicBezTo>
                    <a:lnTo>
                      <a:pt x="143067" y="32508"/>
                    </a:lnTo>
                    <a:lnTo>
                      <a:pt x="143067" y="13008"/>
                    </a:lnTo>
                    <a:lnTo>
                      <a:pt x="12983" y="13008"/>
                    </a:lnTo>
                    <a:lnTo>
                      <a:pt x="12983" y="26017"/>
                    </a:lnTo>
                    <a:cubicBezTo>
                      <a:pt x="12983" y="29615"/>
                      <a:pt x="10064" y="32508"/>
                      <a:pt x="6491" y="32508"/>
                    </a:cubicBezTo>
                    <a:cubicBezTo>
                      <a:pt x="2894" y="32508"/>
                      <a:pt x="0" y="29590"/>
                      <a:pt x="0" y="26017"/>
                    </a:cubicBezTo>
                    <a:lnTo>
                      <a:pt x="0" y="13008"/>
                    </a:lnTo>
                    <a:cubicBezTo>
                      <a:pt x="0" y="5837"/>
                      <a:pt x="5838" y="0"/>
                      <a:pt x="13008" y="0"/>
                    </a:cubicBezTo>
                    <a:lnTo>
                      <a:pt x="143092" y="0"/>
                    </a:lnTo>
                    <a:cubicBezTo>
                      <a:pt x="150263" y="0"/>
                      <a:pt x="156100" y="5837"/>
                      <a:pt x="156100" y="13008"/>
                    </a:cubicBezTo>
                    <a:lnTo>
                      <a:pt x="156100" y="32508"/>
                    </a:lnTo>
                    <a:cubicBezTo>
                      <a:pt x="156075" y="39654"/>
                      <a:pt x="150238" y="45492"/>
                      <a:pt x="143067" y="45492"/>
                    </a:cubicBezTo>
                    <a:close/>
                  </a:path>
                </a:pathLst>
              </a:custGeom>
              <a:solidFill>
                <a:schemeClr val="accent1"/>
              </a:solidFill>
              <a:ln w="2515" cap="flat">
                <a:noFill/>
                <a:prstDash val="solid"/>
                <a:miter/>
              </a:ln>
            </p:spPr>
            <p:txBody>
              <a:bodyPr rtlCol="0" anchor="ctr"/>
              <a:lstStyle/>
              <a:p>
                <a:endParaRPr lang="en-GB" dirty="0"/>
              </a:p>
            </p:txBody>
          </p:sp>
          <p:sp>
            <p:nvSpPr>
              <p:cNvPr id="316" name="Freihandform: Form 943">
                <a:extLst>
                  <a:ext uri="{FF2B5EF4-FFF2-40B4-BE49-F238E27FC236}">
                    <a16:creationId xmlns:a16="http://schemas.microsoft.com/office/drawing/2014/main" id="{4CA32754-419F-4459-923F-098C5DF43B80}"/>
                  </a:ext>
                </a:extLst>
              </p:cNvPr>
              <p:cNvSpPr/>
              <p:nvPr/>
            </p:nvSpPr>
            <p:spPr>
              <a:xfrm>
                <a:off x="7996242" y="3538959"/>
                <a:ext cx="156100" cy="45516"/>
              </a:xfrm>
              <a:custGeom>
                <a:avLst/>
                <a:gdLst>
                  <a:gd name="connsiteX0" fmla="*/ 143092 w 156100"/>
                  <a:gd name="connsiteY0" fmla="*/ 45517 h 45516"/>
                  <a:gd name="connsiteX1" fmla="*/ 13008 w 156100"/>
                  <a:gd name="connsiteY1" fmla="*/ 45517 h 45516"/>
                  <a:gd name="connsiteX2" fmla="*/ 0 w 156100"/>
                  <a:gd name="connsiteY2" fmla="*/ 32508 h 45516"/>
                  <a:gd name="connsiteX3" fmla="*/ 0 w 156100"/>
                  <a:gd name="connsiteY3" fmla="*/ 13008 h 45516"/>
                  <a:gd name="connsiteX4" fmla="*/ 13008 w 156100"/>
                  <a:gd name="connsiteY4" fmla="*/ 0 h 45516"/>
                  <a:gd name="connsiteX5" fmla="*/ 143092 w 156100"/>
                  <a:gd name="connsiteY5" fmla="*/ 0 h 45516"/>
                  <a:gd name="connsiteX6" fmla="*/ 156100 w 156100"/>
                  <a:gd name="connsiteY6" fmla="*/ 13008 h 45516"/>
                  <a:gd name="connsiteX7" fmla="*/ 156100 w 156100"/>
                  <a:gd name="connsiteY7" fmla="*/ 32508 h 45516"/>
                  <a:gd name="connsiteX8" fmla="*/ 143092 w 156100"/>
                  <a:gd name="connsiteY8" fmla="*/ 45517 h 45516"/>
                  <a:gd name="connsiteX9" fmla="*/ 13008 w 156100"/>
                  <a:gd name="connsiteY9" fmla="*/ 12983 h 45516"/>
                  <a:gd name="connsiteX10" fmla="*/ 13008 w 156100"/>
                  <a:gd name="connsiteY10" fmla="*/ 32483 h 45516"/>
                  <a:gd name="connsiteX11" fmla="*/ 143092 w 156100"/>
                  <a:gd name="connsiteY11" fmla="*/ 32483 h 45516"/>
                  <a:gd name="connsiteX12" fmla="*/ 143092 w 156100"/>
                  <a:gd name="connsiteY12" fmla="*/ 12983 h 45516"/>
                  <a:gd name="connsiteX13" fmla="*/ 13008 w 156100"/>
                  <a:gd name="connsiteY13" fmla="*/ 12983 h 4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100" h="45516">
                    <a:moveTo>
                      <a:pt x="143092" y="45517"/>
                    </a:moveTo>
                    <a:lnTo>
                      <a:pt x="13008" y="45517"/>
                    </a:lnTo>
                    <a:cubicBezTo>
                      <a:pt x="5838" y="45517"/>
                      <a:pt x="0" y="39679"/>
                      <a:pt x="0" y="32508"/>
                    </a:cubicBezTo>
                    <a:lnTo>
                      <a:pt x="0" y="13008"/>
                    </a:lnTo>
                    <a:cubicBezTo>
                      <a:pt x="0" y="5837"/>
                      <a:pt x="5838" y="0"/>
                      <a:pt x="13008" y="0"/>
                    </a:cubicBezTo>
                    <a:lnTo>
                      <a:pt x="143092" y="0"/>
                    </a:lnTo>
                    <a:cubicBezTo>
                      <a:pt x="150263" y="0"/>
                      <a:pt x="156100" y="5837"/>
                      <a:pt x="156100" y="13008"/>
                    </a:cubicBezTo>
                    <a:lnTo>
                      <a:pt x="156100" y="32508"/>
                    </a:lnTo>
                    <a:cubicBezTo>
                      <a:pt x="156100" y="39679"/>
                      <a:pt x="150263" y="45517"/>
                      <a:pt x="143092" y="45517"/>
                    </a:cubicBezTo>
                    <a:close/>
                    <a:moveTo>
                      <a:pt x="13008" y="12983"/>
                    </a:moveTo>
                    <a:lnTo>
                      <a:pt x="13008" y="32483"/>
                    </a:lnTo>
                    <a:lnTo>
                      <a:pt x="143092" y="32483"/>
                    </a:lnTo>
                    <a:lnTo>
                      <a:pt x="143092" y="12983"/>
                    </a:lnTo>
                    <a:lnTo>
                      <a:pt x="13008" y="12983"/>
                    </a:lnTo>
                    <a:close/>
                  </a:path>
                </a:pathLst>
              </a:custGeom>
              <a:solidFill>
                <a:schemeClr val="accent1"/>
              </a:solidFill>
              <a:ln w="2515" cap="flat">
                <a:noFill/>
                <a:prstDash val="solid"/>
                <a:miter/>
              </a:ln>
            </p:spPr>
            <p:txBody>
              <a:bodyPr rtlCol="0" anchor="ctr"/>
              <a:lstStyle/>
              <a:p>
                <a:endParaRPr lang="en-GB" dirty="0"/>
              </a:p>
            </p:txBody>
          </p:sp>
          <p:sp>
            <p:nvSpPr>
              <p:cNvPr id="317" name="Freihandform: Form 944">
                <a:extLst>
                  <a:ext uri="{FF2B5EF4-FFF2-40B4-BE49-F238E27FC236}">
                    <a16:creationId xmlns:a16="http://schemas.microsoft.com/office/drawing/2014/main" id="{7722368C-4C3D-4EA3-8B0C-5F42BAF8D714}"/>
                  </a:ext>
                </a:extLst>
              </p:cNvPr>
              <p:cNvSpPr/>
              <p:nvPr/>
            </p:nvSpPr>
            <p:spPr>
              <a:xfrm>
                <a:off x="7976742" y="3506426"/>
                <a:ext cx="156100" cy="45516"/>
              </a:xfrm>
              <a:custGeom>
                <a:avLst/>
                <a:gdLst>
                  <a:gd name="connsiteX0" fmla="*/ 143092 w 156100"/>
                  <a:gd name="connsiteY0" fmla="*/ 45517 h 45516"/>
                  <a:gd name="connsiteX1" fmla="*/ 13008 w 156100"/>
                  <a:gd name="connsiteY1" fmla="*/ 45517 h 45516"/>
                  <a:gd name="connsiteX2" fmla="*/ 0 w 156100"/>
                  <a:gd name="connsiteY2" fmla="*/ 32508 h 45516"/>
                  <a:gd name="connsiteX3" fmla="*/ 0 w 156100"/>
                  <a:gd name="connsiteY3" fmla="*/ 13008 h 45516"/>
                  <a:gd name="connsiteX4" fmla="*/ 13008 w 156100"/>
                  <a:gd name="connsiteY4" fmla="*/ 0 h 45516"/>
                  <a:gd name="connsiteX5" fmla="*/ 143092 w 156100"/>
                  <a:gd name="connsiteY5" fmla="*/ 0 h 45516"/>
                  <a:gd name="connsiteX6" fmla="*/ 156100 w 156100"/>
                  <a:gd name="connsiteY6" fmla="*/ 13008 h 45516"/>
                  <a:gd name="connsiteX7" fmla="*/ 156100 w 156100"/>
                  <a:gd name="connsiteY7" fmla="*/ 32508 h 45516"/>
                  <a:gd name="connsiteX8" fmla="*/ 143092 w 156100"/>
                  <a:gd name="connsiteY8" fmla="*/ 45517 h 45516"/>
                  <a:gd name="connsiteX9" fmla="*/ 13008 w 156100"/>
                  <a:gd name="connsiteY9" fmla="*/ 13008 h 45516"/>
                  <a:gd name="connsiteX10" fmla="*/ 13008 w 156100"/>
                  <a:gd name="connsiteY10" fmla="*/ 32508 h 45516"/>
                  <a:gd name="connsiteX11" fmla="*/ 143092 w 156100"/>
                  <a:gd name="connsiteY11" fmla="*/ 32508 h 45516"/>
                  <a:gd name="connsiteX12" fmla="*/ 143092 w 156100"/>
                  <a:gd name="connsiteY12" fmla="*/ 13008 h 45516"/>
                  <a:gd name="connsiteX13" fmla="*/ 13008 w 156100"/>
                  <a:gd name="connsiteY13" fmla="*/ 13008 h 45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6100" h="45516">
                    <a:moveTo>
                      <a:pt x="143092" y="45517"/>
                    </a:moveTo>
                    <a:lnTo>
                      <a:pt x="13008" y="45517"/>
                    </a:lnTo>
                    <a:cubicBezTo>
                      <a:pt x="5838" y="45517"/>
                      <a:pt x="0" y="39679"/>
                      <a:pt x="0" y="32508"/>
                    </a:cubicBezTo>
                    <a:lnTo>
                      <a:pt x="0" y="13008"/>
                    </a:lnTo>
                    <a:cubicBezTo>
                      <a:pt x="0" y="5837"/>
                      <a:pt x="5838" y="0"/>
                      <a:pt x="13008" y="0"/>
                    </a:cubicBezTo>
                    <a:lnTo>
                      <a:pt x="143092" y="0"/>
                    </a:lnTo>
                    <a:cubicBezTo>
                      <a:pt x="150263" y="0"/>
                      <a:pt x="156100" y="5837"/>
                      <a:pt x="156100" y="13008"/>
                    </a:cubicBezTo>
                    <a:lnTo>
                      <a:pt x="156100" y="32508"/>
                    </a:lnTo>
                    <a:cubicBezTo>
                      <a:pt x="156100" y="39679"/>
                      <a:pt x="150263" y="45517"/>
                      <a:pt x="143092" y="45517"/>
                    </a:cubicBezTo>
                    <a:close/>
                    <a:moveTo>
                      <a:pt x="13008" y="13008"/>
                    </a:moveTo>
                    <a:lnTo>
                      <a:pt x="13008" y="32508"/>
                    </a:lnTo>
                    <a:lnTo>
                      <a:pt x="143092" y="32508"/>
                    </a:lnTo>
                    <a:lnTo>
                      <a:pt x="143092" y="13008"/>
                    </a:lnTo>
                    <a:lnTo>
                      <a:pt x="13008" y="13008"/>
                    </a:lnTo>
                    <a:close/>
                  </a:path>
                </a:pathLst>
              </a:custGeom>
              <a:solidFill>
                <a:schemeClr val="accent1"/>
              </a:solidFill>
              <a:ln w="2515" cap="flat">
                <a:noFill/>
                <a:prstDash val="solid"/>
                <a:miter/>
              </a:ln>
            </p:spPr>
            <p:txBody>
              <a:bodyPr rtlCol="0" anchor="ctr"/>
              <a:lstStyle/>
              <a:p>
                <a:endParaRPr lang="en-GB" dirty="0"/>
              </a:p>
            </p:txBody>
          </p:sp>
        </p:grpSp>
        <p:grpSp>
          <p:nvGrpSpPr>
            <p:cNvPr id="302" name="Group 301">
              <a:extLst>
                <a:ext uri="{FF2B5EF4-FFF2-40B4-BE49-F238E27FC236}">
                  <a16:creationId xmlns:a16="http://schemas.microsoft.com/office/drawing/2014/main" id="{2BE89006-28FB-4736-88E4-AC945B386164}"/>
                </a:ext>
              </a:extLst>
            </p:cNvPr>
            <p:cNvGrpSpPr/>
            <p:nvPr/>
          </p:nvGrpSpPr>
          <p:grpSpPr>
            <a:xfrm>
              <a:off x="2633556" y="3227048"/>
              <a:ext cx="502725" cy="432000"/>
              <a:chOff x="7752379" y="3334417"/>
              <a:chExt cx="434793" cy="373625"/>
            </a:xfrm>
            <a:solidFill>
              <a:schemeClr val="tx2"/>
            </a:solidFill>
          </p:grpSpPr>
          <p:sp>
            <p:nvSpPr>
              <p:cNvPr id="303" name="Freihandform: Form 939">
                <a:extLst>
                  <a:ext uri="{FF2B5EF4-FFF2-40B4-BE49-F238E27FC236}">
                    <a16:creationId xmlns:a16="http://schemas.microsoft.com/office/drawing/2014/main" id="{C7124669-AE21-4256-93B9-7E9CFEB5A5D5}"/>
                  </a:ext>
                </a:extLst>
              </p:cNvPr>
              <p:cNvSpPr/>
              <p:nvPr/>
            </p:nvSpPr>
            <p:spPr>
              <a:xfrm>
                <a:off x="8126476" y="3608265"/>
                <a:ext cx="34684" cy="24671"/>
              </a:xfrm>
              <a:custGeom>
                <a:avLst/>
                <a:gdLst>
                  <a:gd name="connsiteX0" fmla="*/ 32810 w 34684"/>
                  <a:gd name="connsiteY0" fmla="*/ 24671 h 24671"/>
                  <a:gd name="connsiteX1" fmla="*/ 21035 w 34684"/>
                  <a:gd name="connsiteY1" fmla="*/ 19111 h 24671"/>
                  <a:gd name="connsiteX2" fmla="*/ 21488 w 34684"/>
                  <a:gd name="connsiteY2" fmla="*/ 15689 h 24671"/>
                  <a:gd name="connsiteX3" fmla="*/ 5108 w 34684"/>
                  <a:gd name="connsiteY3" fmla="*/ 15034 h 24671"/>
                  <a:gd name="connsiteX4" fmla="*/ 0 w 34684"/>
                  <a:gd name="connsiteY4" fmla="*/ 3058 h 24671"/>
                  <a:gd name="connsiteX5" fmla="*/ 33414 w 34684"/>
                  <a:gd name="connsiteY5" fmla="*/ 10505 h 24671"/>
                  <a:gd name="connsiteX6" fmla="*/ 32810 w 34684"/>
                  <a:gd name="connsiteY6" fmla="*/ 24671 h 2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84" h="24671">
                    <a:moveTo>
                      <a:pt x="32810" y="24671"/>
                    </a:moveTo>
                    <a:lnTo>
                      <a:pt x="21035" y="19111"/>
                    </a:lnTo>
                    <a:cubicBezTo>
                      <a:pt x="21412" y="18305"/>
                      <a:pt x="21966" y="16796"/>
                      <a:pt x="21488" y="15689"/>
                    </a:cubicBezTo>
                    <a:cubicBezTo>
                      <a:pt x="20381" y="13122"/>
                      <a:pt x="13260" y="11537"/>
                      <a:pt x="5108" y="15034"/>
                    </a:cubicBezTo>
                    <a:lnTo>
                      <a:pt x="0" y="3058"/>
                    </a:lnTo>
                    <a:cubicBezTo>
                      <a:pt x="14292" y="-3031"/>
                      <a:pt x="28961" y="240"/>
                      <a:pt x="33414" y="10505"/>
                    </a:cubicBezTo>
                    <a:cubicBezTo>
                      <a:pt x="35301" y="14858"/>
                      <a:pt x="35075" y="19865"/>
                      <a:pt x="32810" y="24671"/>
                    </a:cubicBezTo>
                    <a:close/>
                  </a:path>
                </a:pathLst>
              </a:custGeom>
              <a:grpFill/>
              <a:ln w="2515" cap="flat">
                <a:noFill/>
                <a:prstDash val="solid"/>
                <a:miter/>
              </a:ln>
            </p:spPr>
            <p:txBody>
              <a:bodyPr rtlCol="0" anchor="ctr"/>
              <a:lstStyle/>
              <a:p>
                <a:endParaRPr lang="en-GB" dirty="0"/>
              </a:p>
            </p:txBody>
          </p:sp>
          <p:sp>
            <p:nvSpPr>
              <p:cNvPr id="304" name="Freihandform: Form 945">
                <a:extLst>
                  <a:ext uri="{FF2B5EF4-FFF2-40B4-BE49-F238E27FC236}">
                    <a16:creationId xmlns:a16="http://schemas.microsoft.com/office/drawing/2014/main" id="{799053C4-7397-429A-A3CB-062C2CD9D6A6}"/>
                  </a:ext>
                </a:extLst>
              </p:cNvPr>
              <p:cNvSpPr/>
              <p:nvPr/>
            </p:nvSpPr>
            <p:spPr>
              <a:xfrm>
                <a:off x="7854609" y="3622865"/>
                <a:ext cx="332563" cy="82737"/>
              </a:xfrm>
              <a:custGeom>
                <a:avLst/>
                <a:gdLst>
                  <a:gd name="connsiteX0" fmla="*/ 169260 w 332563"/>
                  <a:gd name="connsiteY0" fmla="*/ 82737 h 82737"/>
                  <a:gd name="connsiteX1" fmla="*/ 82177 w 332563"/>
                  <a:gd name="connsiteY1" fmla="*/ 71666 h 82737"/>
                  <a:gd name="connsiteX2" fmla="*/ 5183 w 332563"/>
                  <a:gd name="connsiteY2" fmla="*/ 65502 h 82737"/>
                  <a:gd name="connsiteX3" fmla="*/ 0 w 332563"/>
                  <a:gd name="connsiteY3" fmla="*/ 53576 h 82737"/>
                  <a:gd name="connsiteX4" fmla="*/ 85724 w 332563"/>
                  <a:gd name="connsiteY4" fmla="*/ 59161 h 82737"/>
                  <a:gd name="connsiteX5" fmla="*/ 318667 w 332563"/>
                  <a:gd name="connsiteY5" fmla="*/ 15003 h 82737"/>
                  <a:gd name="connsiteX6" fmla="*/ 291745 w 332563"/>
                  <a:gd name="connsiteY6" fmla="*/ 16790 h 82737"/>
                  <a:gd name="connsiteX7" fmla="*/ 275692 w 332563"/>
                  <a:gd name="connsiteY7" fmla="*/ 24011 h 82737"/>
                  <a:gd name="connsiteX8" fmla="*/ 216865 w 332563"/>
                  <a:gd name="connsiteY8" fmla="*/ 37749 h 82737"/>
                  <a:gd name="connsiteX9" fmla="*/ 217745 w 332563"/>
                  <a:gd name="connsiteY9" fmla="*/ 24766 h 82737"/>
                  <a:gd name="connsiteX10" fmla="*/ 269754 w 332563"/>
                  <a:gd name="connsiteY10" fmla="*/ 12437 h 82737"/>
                  <a:gd name="connsiteX11" fmla="*/ 287241 w 332563"/>
                  <a:gd name="connsiteY11" fmla="*/ 4612 h 82737"/>
                  <a:gd name="connsiteX12" fmla="*/ 330895 w 332563"/>
                  <a:gd name="connsiteY12" fmla="*/ 9166 h 82737"/>
                  <a:gd name="connsiteX13" fmla="*/ 328883 w 332563"/>
                  <a:gd name="connsiteY13" fmla="*/ 23080 h 82737"/>
                  <a:gd name="connsiteX14" fmla="*/ 169260 w 332563"/>
                  <a:gd name="connsiteY14" fmla="*/ 82737 h 8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563" h="82737">
                    <a:moveTo>
                      <a:pt x="169260" y="82737"/>
                    </a:moveTo>
                    <a:cubicBezTo>
                      <a:pt x="132650" y="82737"/>
                      <a:pt x="100368" y="76900"/>
                      <a:pt x="82177" y="71666"/>
                    </a:cubicBezTo>
                    <a:cubicBezTo>
                      <a:pt x="28105" y="56494"/>
                      <a:pt x="5410" y="65427"/>
                      <a:pt x="5183" y="65502"/>
                    </a:cubicBezTo>
                    <a:lnTo>
                      <a:pt x="0" y="53576"/>
                    </a:lnTo>
                    <a:cubicBezTo>
                      <a:pt x="1057" y="53123"/>
                      <a:pt x="26319" y="42480"/>
                      <a:pt x="85724" y="59161"/>
                    </a:cubicBezTo>
                    <a:cubicBezTo>
                      <a:pt x="128675" y="71541"/>
                      <a:pt x="253852" y="87619"/>
                      <a:pt x="318667" y="15003"/>
                    </a:cubicBezTo>
                    <a:cubicBezTo>
                      <a:pt x="315421" y="13141"/>
                      <a:pt x="306036" y="11003"/>
                      <a:pt x="291745" y="16790"/>
                    </a:cubicBezTo>
                    <a:cubicBezTo>
                      <a:pt x="286134" y="18652"/>
                      <a:pt x="281051" y="21243"/>
                      <a:pt x="275692" y="24011"/>
                    </a:cubicBezTo>
                    <a:cubicBezTo>
                      <a:pt x="261350" y="31358"/>
                      <a:pt x="245121" y="39661"/>
                      <a:pt x="216865" y="37749"/>
                    </a:cubicBezTo>
                    <a:lnTo>
                      <a:pt x="217745" y="24766"/>
                    </a:lnTo>
                    <a:cubicBezTo>
                      <a:pt x="242328" y="26477"/>
                      <a:pt x="256292" y="19331"/>
                      <a:pt x="269754" y="12437"/>
                    </a:cubicBezTo>
                    <a:cubicBezTo>
                      <a:pt x="275591" y="9468"/>
                      <a:pt x="281076" y="6650"/>
                      <a:pt x="287241" y="4612"/>
                    </a:cubicBezTo>
                    <a:cubicBezTo>
                      <a:pt x="308401" y="-3968"/>
                      <a:pt x="325637" y="511"/>
                      <a:pt x="330895" y="9166"/>
                    </a:cubicBezTo>
                    <a:cubicBezTo>
                      <a:pt x="333713" y="13796"/>
                      <a:pt x="332908" y="19331"/>
                      <a:pt x="328883" y="23080"/>
                    </a:cubicBezTo>
                    <a:cubicBezTo>
                      <a:pt x="287568" y="69855"/>
                      <a:pt x="223658" y="82737"/>
                      <a:pt x="169260" y="82737"/>
                    </a:cubicBezTo>
                    <a:close/>
                  </a:path>
                </a:pathLst>
              </a:custGeom>
              <a:grpFill/>
              <a:ln w="2515" cap="flat">
                <a:noFill/>
                <a:prstDash val="solid"/>
                <a:miter/>
              </a:ln>
            </p:spPr>
            <p:txBody>
              <a:bodyPr rtlCol="0" anchor="ctr"/>
              <a:lstStyle/>
              <a:p>
                <a:endParaRPr lang="en-GB" dirty="0"/>
              </a:p>
            </p:txBody>
          </p:sp>
          <p:sp>
            <p:nvSpPr>
              <p:cNvPr id="305" name="Freihandform: Form 946">
                <a:extLst>
                  <a:ext uri="{FF2B5EF4-FFF2-40B4-BE49-F238E27FC236}">
                    <a16:creationId xmlns:a16="http://schemas.microsoft.com/office/drawing/2014/main" id="{78CD160B-E459-473A-9473-BBCFCE19C9D4}"/>
                  </a:ext>
                </a:extLst>
              </p:cNvPr>
              <p:cNvSpPr/>
              <p:nvPr/>
            </p:nvSpPr>
            <p:spPr>
              <a:xfrm>
                <a:off x="7855968" y="3569681"/>
                <a:ext cx="225501" cy="99613"/>
              </a:xfrm>
              <a:custGeom>
                <a:avLst/>
                <a:gdLst>
                  <a:gd name="connsiteX0" fmla="*/ 167524 w 225501"/>
                  <a:gd name="connsiteY0" fmla="*/ 99613 h 99613"/>
                  <a:gd name="connsiteX1" fmla="*/ 107413 w 225501"/>
                  <a:gd name="connsiteY1" fmla="*/ 84391 h 99613"/>
                  <a:gd name="connsiteX2" fmla="*/ 115062 w 225501"/>
                  <a:gd name="connsiteY2" fmla="*/ 73873 h 99613"/>
                  <a:gd name="connsiteX3" fmla="*/ 198950 w 225501"/>
                  <a:gd name="connsiteY3" fmla="*/ 84391 h 99613"/>
                  <a:gd name="connsiteX4" fmla="*/ 211983 w 225501"/>
                  <a:gd name="connsiteY4" fmla="*/ 77371 h 99613"/>
                  <a:gd name="connsiteX5" fmla="*/ 210423 w 225501"/>
                  <a:gd name="connsiteY5" fmla="*/ 68690 h 99613"/>
                  <a:gd name="connsiteX6" fmla="*/ 208385 w 225501"/>
                  <a:gd name="connsiteY6" fmla="*/ 67180 h 99613"/>
                  <a:gd name="connsiteX7" fmla="*/ 204032 w 225501"/>
                  <a:gd name="connsiteY7" fmla="*/ 67508 h 99613"/>
                  <a:gd name="connsiteX8" fmla="*/ 149231 w 225501"/>
                  <a:gd name="connsiteY8" fmla="*/ 55380 h 99613"/>
                  <a:gd name="connsiteX9" fmla="*/ 65193 w 225501"/>
                  <a:gd name="connsiteY9" fmla="*/ 13033 h 99613"/>
                  <a:gd name="connsiteX10" fmla="*/ 44812 w 225501"/>
                  <a:gd name="connsiteY10" fmla="*/ 18015 h 99613"/>
                  <a:gd name="connsiteX11" fmla="*/ 906 w 225501"/>
                  <a:gd name="connsiteY11" fmla="*/ 28659 h 99613"/>
                  <a:gd name="connsiteX12" fmla="*/ 0 w 225501"/>
                  <a:gd name="connsiteY12" fmla="*/ 15675 h 99613"/>
                  <a:gd name="connsiteX13" fmla="*/ 39126 w 225501"/>
                  <a:gd name="connsiteY13" fmla="*/ 6290 h 99613"/>
                  <a:gd name="connsiteX14" fmla="*/ 65193 w 225501"/>
                  <a:gd name="connsiteY14" fmla="*/ 0 h 99613"/>
                  <a:gd name="connsiteX15" fmla="*/ 158516 w 225501"/>
                  <a:gd name="connsiteY15" fmla="*/ 46196 h 99613"/>
                  <a:gd name="connsiteX16" fmla="*/ 159447 w 225501"/>
                  <a:gd name="connsiteY16" fmla="*/ 47278 h 99613"/>
                  <a:gd name="connsiteX17" fmla="*/ 203001 w 225501"/>
                  <a:gd name="connsiteY17" fmla="*/ 54524 h 99613"/>
                  <a:gd name="connsiteX18" fmla="*/ 206674 w 225501"/>
                  <a:gd name="connsiteY18" fmla="*/ 54273 h 99613"/>
                  <a:gd name="connsiteX19" fmla="*/ 220513 w 225501"/>
                  <a:gd name="connsiteY19" fmla="*/ 60462 h 99613"/>
                  <a:gd name="connsiteX20" fmla="*/ 224061 w 225501"/>
                  <a:gd name="connsiteY20" fmla="*/ 82176 h 99613"/>
                  <a:gd name="connsiteX21" fmla="*/ 200610 w 225501"/>
                  <a:gd name="connsiteY21" fmla="*/ 97273 h 99613"/>
                  <a:gd name="connsiteX22" fmla="*/ 167524 w 225501"/>
                  <a:gd name="connsiteY22" fmla="*/ 99613 h 99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5501" h="99613">
                    <a:moveTo>
                      <a:pt x="167524" y="99613"/>
                    </a:moveTo>
                    <a:cubicBezTo>
                      <a:pt x="141507" y="99613"/>
                      <a:pt x="121378" y="94531"/>
                      <a:pt x="107413" y="84391"/>
                    </a:cubicBezTo>
                    <a:lnTo>
                      <a:pt x="115062" y="73873"/>
                    </a:lnTo>
                    <a:cubicBezTo>
                      <a:pt x="131442" y="85775"/>
                      <a:pt x="160428" y="89398"/>
                      <a:pt x="198950" y="84391"/>
                    </a:cubicBezTo>
                    <a:cubicBezTo>
                      <a:pt x="205919" y="83485"/>
                      <a:pt x="210549" y="80994"/>
                      <a:pt x="211983" y="77371"/>
                    </a:cubicBezTo>
                    <a:cubicBezTo>
                      <a:pt x="213216" y="74251"/>
                      <a:pt x="212059" y="70678"/>
                      <a:pt x="210423" y="68690"/>
                    </a:cubicBezTo>
                    <a:cubicBezTo>
                      <a:pt x="209392" y="67432"/>
                      <a:pt x="208486" y="67206"/>
                      <a:pt x="208385" y="67180"/>
                    </a:cubicBezTo>
                    <a:cubicBezTo>
                      <a:pt x="207429" y="67357"/>
                      <a:pt x="206498" y="67306"/>
                      <a:pt x="204032" y="67508"/>
                    </a:cubicBezTo>
                    <a:cubicBezTo>
                      <a:pt x="191049" y="68539"/>
                      <a:pt x="160906" y="70904"/>
                      <a:pt x="149231" y="55380"/>
                    </a:cubicBezTo>
                    <a:cubicBezTo>
                      <a:pt x="102884" y="13033"/>
                      <a:pt x="76490" y="13033"/>
                      <a:pt x="65193" y="13033"/>
                    </a:cubicBezTo>
                    <a:cubicBezTo>
                      <a:pt x="55103" y="13033"/>
                      <a:pt x="50775" y="15122"/>
                      <a:pt x="44812" y="18015"/>
                    </a:cubicBezTo>
                    <a:cubicBezTo>
                      <a:pt x="36685" y="21966"/>
                      <a:pt x="26545" y="26872"/>
                      <a:pt x="906" y="28659"/>
                    </a:cubicBezTo>
                    <a:lnTo>
                      <a:pt x="0" y="15675"/>
                    </a:lnTo>
                    <a:cubicBezTo>
                      <a:pt x="23123" y="14065"/>
                      <a:pt x="31628" y="9939"/>
                      <a:pt x="39126" y="6290"/>
                    </a:cubicBezTo>
                    <a:cubicBezTo>
                      <a:pt x="45794" y="3070"/>
                      <a:pt x="52109" y="0"/>
                      <a:pt x="65193" y="0"/>
                    </a:cubicBezTo>
                    <a:cubicBezTo>
                      <a:pt x="78050" y="0"/>
                      <a:pt x="108118" y="0"/>
                      <a:pt x="158516" y="46196"/>
                    </a:cubicBezTo>
                    <a:cubicBezTo>
                      <a:pt x="158868" y="46523"/>
                      <a:pt x="159195" y="46875"/>
                      <a:pt x="159447" y="47278"/>
                    </a:cubicBezTo>
                    <a:cubicBezTo>
                      <a:pt x="164127" y="53971"/>
                      <a:pt x="178796" y="56437"/>
                      <a:pt x="203001" y="54524"/>
                    </a:cubicBezTo>
                    <a:cubicBezTo>
                      <a:pt x="204586" y="54399"/>
                      <a:pt x="205819" y="54298"/>
                      <a:pt x="206674" y="54273"/>
                    </a:cubicBezTo>
                    <a:cubicBezTo>
                      <a:pt x="211656" y="53568"/>
                      <a:pt x="216789" y="55908"/>
                      <a:pt x="220513" y="60462"/>
                    </a:cubicBezTo>
                    <a:cubicBezTo>
                      <a:pt x="225495" y="66577"/>
                      <a:pt x="226879" y="75106"/>
                      <a:pt x="224061" y="82176"/>
                    </a:cubicBezTo>
                    <a:cubicBezTo>
                      <a:pt x="222174" y="86932"/>
                      <a:pt x="216613" y="95185"/>
                      <a:pt x="200610" y="97273"/>
                    </a:cubicBezTo>
                    <a:cubicBezTo>
                      <a:pt x="188734" y="98833"/>
                      <a:pt x="177689" y="99613"/>
                      <a:pt x="167524" y="99613"/>
                    </a:cubicBezTo>
                    <a:close/>
                  </a:path>
                </a:pathLst>
              </a:custGeom>
              <a:grpFill/>
              <a:ln w="2515" cap="flat">
                <a:noFill/>
                <a:prstDash val="solid"/>
                <a:miter/>
              </a:ln>
            </p:spPr>
            <p:txBody>
              <a:bodyPr rtlCol="0" anchor="ctr"/>
              <a:lstStyle/>
              <a:p>
                <a:endParaRPr lang="en-GB" dirty="0"/>
              </a:p>
            </p:txBody>
          </p:sp>
          <p:sp>
            <p:nvSpPr>
              <p:cNvPr id="306" name="Freihandform: Form 947">
                <a:extLst>
                  <a:ext uri="{FF2B5EF4-FFF2-40B4-BE49-F238E27FC236}">
                    <a16:creationId xmlns:a16="http://schemas.microsoft.com/office/drawing/2014/main" id="{242ECE77-4D68-4285-B6EC-011F4388ED81}"/>
                  </a:ext>
                </a:extLst>
              </p:cNvPr>
              <p:cNvSpPr/>
              <p:nvPr/>
            </p:nvSpPr>
            <p:spPr>
              <a:xfrm>
                <a:off x="7788763" y="3567291"/>
                <a:ext cx="73999" cy="140751"/>
              </a:xfrm>
              <a:custGeom>
                <a:avLst/>
                <a:gdLst>
                  <a:gd name="connsiteX0" fmla="*/ 67507 w 73999"/>
                  <a:gd name="connsiteY0" fmla="*/ 140752 h 140751"/>
                  <a:gd name="connsiteX1" fmla="*/ 0 w 73999"/>
                  <a:gd name="connsiteY1" fmla="*/ 140752 h 140751"/>
                  <a:gd name="connsiteX2" fmla="*/ 0 w 73999"/>
                  <a:gd name="connsiteY2" fmla="*/ 127744 h 140751"/>
                  <a:gd name="connsiteX3" fmla="*/ 61016 w 73999"/>
                  <a:gd name="connsiteY3" fmla="*/ 127744 h 140751"/>
                  <a:gd name="connsiteX4" fmla="*/ 61016 w 73999"/>
                  <a:gd name="connsiteY4" fmla="*/ 13008 h 140751"/>
                  <a:gd name="connsiteX5" fmla="*/ 0 w 73999"/>
                  <a:gd name="connsiteY5" fmla="*/ 13008 h 140751"/>
                  <a:gd name="connsiteX6" fmla="*/ 0 w 73999"/>
                  <a:gd name="connsiteY6" fmla="*/ 0 h 140751"/>
                  <a:gd name="connsiteX7" fmla="*/ 67507 w 73999"/>
                  <a:gd name="connsiteY7" fmla="*/ 0 h 140751"/>
                  <a:gd name="connsiteX8" fmla="*/ 73999 w 73999"/>
                  <a:gd name="connsiteY8" fmla="*/ 6492 h 140751"/>
                  <a:gd name="connsiteX9" fmla="*/ 73999 w 73999"/>
                  <a:gd name="connsiteY9" fmla="*/ 134235 h 140751"/>
                  <a:gd name="connsiteX10" fmla="*/ 67507 w 73999"/>
                  <a:gd name="connsiteY10" fmla="*/ 140752 h 140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999" h="140751">
                    <a:moveTo>
                      <a:pt x="67507" y="140752"/>
                    </a:moveTo>
                    <a:lnTo>
                      <a:pt x="0" y="140752"/>
                    </a:lnTo>
                    <a:lnTo>
                      <a:pt x="0" y="127744"/>
                    </a:lnTo>
                    <a:lnTo>
                      <a:pt x="61016" y="127744"/>
                    </a:lnTo>
                    <a:lnTo>
                      <a:pt x="61016" y="13008"/>
                    </a:lnTo>
                    <a:lnTo>
                      <a:pt x="0" y="13008"/>
                    </a:lnTo>
                    <a:lnTo>
                      <a:pt x="0" y="0"/>
                    </a:lnTo>
                    <a:lnTo>
                      <a:pt x="67507" y="0"/>
                    </a:lnTo>
                    <a:cubicBezTo>
                      <a:pt x="71106" y="0"/>
                      <a:pt x="73999" y="2919"/>
                      <a:pt x="73999" y="6492"/>
                    </a:cubicBezTo>
                    <a:lnTo>
                      <a:pt x="73999" y="134235"/>
                    </a:lnTo>
                    <a:cubicBezTo>
                      <a:pt x="73999" y="137858"/>
                      <a:pt x="71080" y="140752"/>
                      <a:pt x="67507" y="140752"/>
                    </a:cubicBezTo>
                    <a:close/>
                  </a:path>
                </a:pathLst>
              </a:custGeom>
              <a:grpFill/>
              <a:ln w="2515" cap="flat">
                <a:noFill/>
                <a:prstDash val="solid"/>
                <a:miter/>
              </a:ln>
            </p:spPr>
            <p:txBody>
              <a:bodyPr rtlCol="0" anchor="ctr"/>
              <a:lstStyle/>
              <a:p>
                <a:endParaRPr lang="en-GB" dirty="0"/>
              </a:p>
            </p:txBody>
          </p:sp>
          <p:grpSp>
            <p:nvGrpSpPr>
              <p:cNvPr id="307" name="Grafik 21">
                <a:extLst>
                  <a:ext uri="{FF2B5EF4-FFF2-40B4-BE49-F238E27FC236}">
                    <a16:creationId xmlns:a16="http://schemas.microsoft.com/office/drawing/2014/main" id="{B8ED9486-9751-4E82-8074-FF7C84E896AF}"/>
                  </a:ext>
                </a:extLst>
              </p:cNvPr>
              <p:cNvGrpSpPr/>
              <p:nvPr/>
            </p:nvGrpSpPr>
            <p:grpSpPr>
              <a:xfrm>
                <a:off x="7752379" y="3334417"/>
                <a:ext cx="295845" cy="239944"/>
                <a:chOff x="7752379" y="3334417"/>
                <a:chExt cx="295845" cy="239944"/>
              </a:xfrm>
              <a:grpFill/>
            </p:grpSpPr>
            <p:grpSp>
              <p:nvGrpSpPr>
                <p:cNvPr id="308" name="Grafik 21">
                  <a:extLst>
                    <a:ext uri="{FF2B5EF4-FFF2-40B4-BE49-F238E27FC236}">
                      <a16:creationId xmlns:a16="http://schemas.microsoft.com/office/drawing/2014/main" id="{F2F09159-A60B-417E-9CEF-99B60204ADAD}"/>
                    </a:ext>
                  </a:extLst>
                </p:cNvPr>
                <p:cNvGrpSpPr/>
                <p:nvPr/>
              </p:nvGrpSpPr>
              <p:grpSpPr>
                <a:xfrm>
                  <a:off x="7752379" y="3334417"/>
                  <a:ext cx="295845" cy="239944"/>
                  <a:chOff x="7752379" y="3334417"/>
                  <a:chExt cx="295845" cy="239944"/>
                </a:xfrm>
                <a:grpFill/>
              </p:grpSpPr>
              <p:sp>
                <p:nvSpPr>
                  <p:cNvPr id="312" name="Freihandform: Form 950">
                    <a:extLst>
                      <a:ext uri="{FF2B5EF4-FFF2-40B4-BE49-F238E27FC236}">
                        <a16:creationId xmlns:a16="http://schemas.microsoft.com/office/drawing/2014/main" id="{76B6CEDC-EA3A-459E-A39C-70876AC0F22F}"/>
                      </a:ext>
                    </a:extLst>
                  </p:cNvPr>
                  <p:cNvSpPr/>
                  <p:nvPr/>
                </p:nvSpPr>
                <p:spPr>
                  <a:xfrm>
                    <a:off x="7752379" y="3334474"/>
                    <a:ext cx="59782" cy="51353"/>
                  </a:xfrm>
                  <a:custGeom>
                    <a:avLst/>
                    <a:gdLst>
                      <a:gd name="connsiteX0" fmla="*/ 50046 w 59782"/>
                      <a:gd name="connsiteY0" fmla="*/ 51354 h 51353"/>
                      <a:gd name="connsiteX1" fmla="*/ 9687 w 59782"/>
                      <a:gd name="connsiteY1" fmla="*/ 51354 h 51353"/>
                      <a:gd name="connsiteX2" fmla="*/ 4001 w 59782"/>
                      <a:gd name="connsiteY2" fmla="*/ 47982 h 51353"/>
                      <a:gd name="connsiteX3" fmla="*/ 0 w 59782"/>
                      <a:gd name="connsiteY3" fmla="*/ 32408 h 51353"/>
                      <a:gd name="connsiteX4" fmla="*/ 32382 w 59782"/>
                      <a:gd name="connsiteY4" fmla="*/ 0 h 51353"/>
                      <a:gd name="connsiteX5" fmla="*/ 59783 w 59782"/>
                      <a:gd name="connsiteY5" fmla="*/ 0 h 51353"/>
                      <a:gd name="connsiteX6" fmla="*/ 59783 w 59782"/>
                      <a:gd name="connsiteY6" fmla="*/ 13008 h 51353"/>
                      <a:gd name="connsiteX7" fmla="*/ 32382 w 59782"/>
                      <a:gd name="connsiteY7" fmla="*/ 13008 h 51353"/>
                      <a:gd name="connsiteX8" fmla="*/ 13008 w 59782"/>
                      <a:gd name="connsiteY8" fmla="*/ 32408 h 51353"/>
                      <a:gd name="connsiteX9" fmla="*/ 13939 w 59782"/>
                      <a:gd name="connsiteY9" fmla="*/ 38346 h 51353"/>
                      <a:gd name="connsiteX10" fmla="*/ 50071 w 59782"/>
                      <a:gd name="connsiteY10" fmla="*/ 38346 h 51353"/>
                      <a:gd name="connsiteX11" fmla="*/ 50071 w 59782"/>
                      <a:gd name="connsiteY11" fmla="*/ 51354 h 51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9782" h="51353">
                        <a:moveTo>
                          <a:pt x="50046" y="51354"/>
                        </a:moveTo>
                        <a:lnTo>
                          <a:pt x="9687" y="51354"/>
                        </a:lnTo>
                        <a:cubicBezTo>
                          <a:pt x="7322" y="51354"/>
                          <a:pt x="5133" y="50071"/>
                          <a:pt x="4001" y="47982"/>
                        </a:cubicBezTo>
                        <a:cubicBezTo>
                          <a:pt x="1384" y="43227"/>
                          <a:pt x="0" y="37842"/>
                          <a:pt x="0" y="32408"/>
                        </a:cubicBezTo>
                        <a:cubicBezTo>
                          <a:pt x="0" y="14543"/>
                          <a:pt x="14543" y="0"/>
                          <a:pt x="32382" y="0"/>
                        </a:cubicBezTo>
                        <a:lnTo>
                          <a:pt x="59783" y="0"/>
                        </a:lnTo>
                        <a:lnTo>
                          <a:pt x="59783" y="13008"/>
                        </a:lnTo>
                        <a:lnTo>
                          <a:pt x="32382" y="13008"/>
                        </a:lnTo>
                        <a:cubicBezTo>
                          <a:pt x="21689" y="13008"/>
                          <a:pt x="13008" y="21714"/>
                          <a:pt x="13008" y="32408"/>
                        </a:cubicBezTo>
                        <a:cubicBezTo>
                          <a:pt x="13008" y="34446"/>
                          <a:pt x="13335" y="36433"/>
                          <a:pt x="13939" y="38346"/>
                        </a:cubicBezTo>
                        <a:lnTo>
                          <a:pt x="50071" y="38346"/>
                        </a:lnTo>
                        <a:lnTo>
                          <a:pt x="50071" y="51354"/>
                        </a:lnTo>
                        <a:close/>
                      </a:path>
                    </a:pathLst>
                  </a:custGeom>
                  <a:grpFill/>
                  <a:ln w="2515" cap="flat">
                    <a:noFill/>
                    <a:prstDash val="solid"/>
                    <a:miter/>
                  </a:ln>
                </p:spPr>
                <p:txBody>
                  <a:bodyPr rtlCol="0" anchor="ctr"/>
                  <a:lstStyle/>
                  <a:p>
                    <a:endParaRPr lang="en-GB" dirty="0"/>
                  </a:p>
                </p:txBody>
              </p:sp>
              <p:sp>
                <p:nvSpPr>
                  <p:cNvPr id="313" name="Freihandform: Form 951">
                    <a:extLst>
                      <a:ext uri="{FF2B5EF4-FFF2-40B4-BE49-F238E27FC236}">
                        <a16:creationId xmlns:a16="http://schemas.microsoft.com/office/drawing/2014/main" id="{7D06D440-45E4-4D7A-B6CE-CAA4F226A768}"/>
                      </a:ext>
                    </a:extLst>
                  </p:cNvPr>
                  <p:cNvSpPr/>
                  <p:nvPr/>
                </p:nvSpPr>
                <p:spPr>
                  <a:xfrm>
                    <a:off x="7780219" y="3334417"/>
                    <a:ext cx="268006" cy="239944"/>
                  </a:xfrm>
                  <a:custGeom>
                    <a:avLst/>
                    <a:gdLst>
                      <a:gd name="connsiteX0" fmla="*/ 44902 w 268006"/>
                      <a:gd name="connsiteY0" fmla="*/ 239944 h 239944"/>
                      <a:gd name="connsiteX1" fmla="*/ 31894 w 268006"/>
                      <a:gd name="connsiteY1" fmla="*/ 239944 h 239944"/>
                      <a:gd name="connsiteX2" fmla="*/ 31894 w 268006"/>
                      <a:gd name="connsiteY2" fmla="*/ 46430 h 239944"/>
                      <a:gd name="connsiteX3" fmla="*/ 22609 w 268006"/>
                      <a:gd name="connsiteY3" fmla="*/ 18123 h 239944"/>
                      <a:gd name="connsiteX4" fmla="*/ 10607 w 268006"/>
                      <a:gd name="connsiteY4" fmla="*/ 13091 h 239944"/>
                      <a:gd name="connsiteX5" fmla="*/ 6506 w 268006"/>
                      <a:gd name="connsiteY5" fmla="*/ 13091 h 239944"/>
                      <a:gd name="connsiteX6" fmla="*/ 14 w 268006"/>
                      <a:gd name="connsiteY6" fmla="*/ 7002 h 239944"/>
                      <a:gd name="connsiteX7" fmla="*/ 5701 w 268006"/>
                      <a:gd name="connsiteY7" fmla="*/ 133 h 239944"/>
                      <a:gd name="connsiteX8" fmla="*/ 10859 w 268006"/>
                      <a:gd name="connsiteY8" fmla="*/ 83 h 239944"/>
                      <a:gd name="connsiteX9" fmla="*/ 229636 w 268006"/>
                      <a:gd name="connsiteY9" fmla="*/ 83 h 239944"/>
                      <a:gd name="connsiteX10" fmla="*/ 268006 w 268006"/>
                      <a:gd name="connsiteY10" fmla="*/ 38453 h 239944"/>
                      <a:gd name="connsiteX11" fmla="*/ 268006 w 268006"/>
                      <a:gd name="connsiteY11" fmla="*/ 162297 h 239944"/>
                      <a:gd name="connsiteX12" fmla="*/ 254998 w 268006"/>
                      <a:gd name="connsiteY12" fmla="*/ 162297 h 239944"/>
                      <a:gd name="connsiteX13" fmla="*/ 254998 w 268006"/>
                      <a:gd name="connsiteY13" fmla="*/ 38453 h 239944"/>
                      <a:gd name="connsiteX14" fmla="*/ 229636 w 268006"/>
                      <a:gd name="connsiteY14" fmla="*/ 13091 h 239944"/>
                      <a:gd name="connsiteX15" fmla="*/ 35643 w 268006"/>
                      <a:gd name="connsiteY15" fmla="*/ 13091 h 239944"/>
                      <a:gd name="connsiteX16" fmla="*/ 44902 w 268006"/>
                      <a:gd name="connsiteY16" fmla="*/ 46430 h 239944"/>
                      <a:gd name="connsiteX17" fmla="*/ 44902 w 268006"/>
                      <a:gd name="connsiteY17" fmla="*/ 239944 h 23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006" h="239944">
                        <a:moveTo>
                          <a:pt x="44902" y="239944"/>
                        </a:moveTo>
                        <a:lnTo>
                          <a:pt x="31894" y="239944"/>
                        </a:lnTo>
                        <a:lnTo>
                          <a:pt x="31894" y="46430"/>
                        </a:lnTo>
                        <a:cubicBezTo>
                          <a:pt x="31894" y="33069"/>
                          <a:pt x="28774" y="23558"/>
                          <a:pt x="22609" y="18123"/>
                        </a:cubicBezTo>
                        <a:cubicBezTo>
                          <a:pt x="18483" y="14475"/>
                          <a:pt x="13702" y="13393"/>
                          <a:pt x="10607" y="13091"/>
                        </a:cubicBezTo>
                        <a:lnTo>
                          <a:pt x="6506" y="13091"/>
                        </a:lnTo>
                        <a:cubicBezTo>
                          <a:pt x="3059" y="13091"/>
                          <a:pt x="241" y="10424"/>
                          <a:pt x="14" y="7002"/>
                        </a:cubicBezTo>
                        <a:cubicBezTo>
                          <a:pt x="-212" y="3580"/>
                          <a:pt x="2279" y="561"/>
                          <a:pt x="5701" y="133"/>
                        </a:cubicBezTo>
                        <a:cubicBezTo>
                          <a:pt x="5902" y="108"/>
                          <a:pt x="7890" y="-119"/>
                          <a:pt x="10859" y="83"/>
                        </a:cubicBezTo>
                        <a:lnTo>
                          <a:pt x="229636" y="83"/>
                        </a:lnTo>
                        <a:cubicBezTo>
                          <a:pt x="242921" y="83"/>
                          <a:pt x="268006" y="8109"/>
                          <a:pt x="268006" y="38453"/>
                        </a:cubicBezTo>
                        <a:lnTo>
                          <a:pt x="268006" y="162297"/>
                        </a:lnTo>
                        <a:lnTo>
                          <a:pt x="254998" y="162297"/>
                        </a:lnTo>
                        <a:lnTo>
                          <a:pt x="254998" y="38453"/>
                        </a:lnTo>
                        <a:cubicBezTo>
                          <a:pt x="254998" y="13795"/>
                          <a:pt x="232227" y="13091"/>
                          <a:pt x="229636" y="13091"/>
                        </a:cubicBezTo>
                        <a:lnTo>
                          <a:pt x="35643" y="13091"/>
                        </a:lnTo>
                        <a:cubicBezTo>
                          <a:pt x="41782" y="21067"/>
                          <a:pt x="44902" y="32239"/>
                          <a:pt x="44902" y="46430"/>
                        </a:cubicBezTo>
                        <a:lnTo>
                          <a:pt x="44902" y="239944"/>
                        </a:lnTo>
                        <a:close/>
                      </a:path>
                    </a:pathLst>
                  </a:custGeom>
                  <a:grpFill/>
                  <a:ln w="2515" cap="flat">
                    <a:noFill/>
                    <a:prstDash val="solid"/>
                    <a:miter/>
                  </a:ln>
                </p:spPr>
                <p:txBody>
                  <a:bodyPr rtlCol="0" anchor="ctr"/>
                  <a:lstStyle/>
                  <a:p>
                    <a:endParaRPr lang="en-GB" dirty="0"/>
                  </a:p>
                </p:txBody>
              </p:sp>
            </p:grpSp>
            <p:sp>
              <p:nvSpPr>
                <p:cNvPr id="309" name="Freihandform: Form 952">
                  <a:extLst>
                    <a:ext uri="{FF2B5EF4-FFF2-40B4-BE49-F238E27FC236}">
                      <a16:creationId xmlns:a16="http://schemas.microsoft.com/office/drawing/2014/main" id="{72E8E57F-E6D8-4C04-807A-B95407D593E9}"/>
                    </a:ext>
                  </a:extLst>
                </p:cNvPr>
                <p:cNvSpPr/>
                <p:nvPr/>
              </p:nvSpPr>
              <p:spPr>
                <a:xfrm>
                  <a:off x="7862686" y="3520516"/>
                  <a:ext cx="94455" cy="13008"/>
                </a:xfrm>
                <a:custGeom>
                  <a:avLst/>
                  <a:gdLst>
                    <a:gd name="connsiteX0" fmla="*/ 0 w 94455"/>
                    <a:gd name="connsiteY0" fmla="*/ 0 h 13008"/>
                    <a:gd name="connsiteX1" fmla="*/ 94455 w 94455"/>
                    <a:gd name="connsiteY1" fmla="*/ 0 h 13008"/>
                    <a:gd name="connsiteX2" fmla="*/ 94455 w 94455"/>
                    <a:gd name="connsiteY2" fmla="*/ 13008 h 13008"/>
                    <a:gd name="connsiteX3" fmla="*/ 0 w 94455"/>
                    <a:gd name="connsiteY3" fmla="*/ 13008 h 13008"/>
                  </a:gdLst>
                  <a:ahLst/>
                  <a:cxnLst>
                    <a:cxn ang="0">
                      <a:pos x="connsiteX0" y="connsiteY0"/>
                    </a:cxn>
                    <a:cxn ang="0">
                      <a:pos x="connsiteX1" y="connsiteY1"/>
                    </a:cxn>
                    <a:cxn ang="0">
                      <a:pos x="connsiteX2" y="connsiteY2"/>
                    </a:cxn>
                    <a:cxn ang="0">
                      <a:pos x="connsiteX3" y="connsiteY3"/>
                    </a:cxn>
                  </a:cxnLst>
                  <a:rect l="l" t="t" r="r" b="b"/>
                  <a:pathLst>
                    <a:path w="94455" h="13008">
                      <a:moveTo>
                        <a:pt x="0" y="0"/>
                      </a:moveTo>
                      <a:lnTo>
                        <a:pt x="94455" y="0"/>
                      </a:lnTo>
                      <a:lnTo>
                        <a:pt x="94455" y="13008"/>
                      </a:lnTo>
                      <a:lnTo>
                        <a:pt x="0" y="13008"/>
                      </a:lnTo>
                      <a:close/>
                    </a:path>
                  </a:pathLst>
                </a:custGeom>
                <a:grpFill/>
                <a:ln w="2515" cap="flat">
                  <a:noFill/>
                  <a:prstDash val="solid"/>
                  <a:miter/>
                </a:ln>
              </p:spPr>
              <p:txBody>
                <a:bodyPr rtlCol="0" anchor="ctr"/>
                <a:lstStyle/>
                <a:p>
                  <a:endParaRPr lang="en-GB" dirty="0"/>
                </a:p>
              </p:txBody>
            </p:sp>
            <p:sp>
              <p:nvSpPr>
                <p:cNvPr id="310" name="Freihandform: Form 953">
                  <a:extLst>
                    <a:ext uri="{FF2B5EF4-FFF2-40B4-BE49-F238E27FC236}">
                      <a16:creationId xmlns:a16="http://schemas.microsoft.com/office/drawing/2014/main" id="{42F35D73-6184-41AE-B27C-401EB13E90DF}"/>
                    </a:ext>
                  </a:extLst>
                </p:cNvPr>
                <p:cNvSpPr/>
                <p:nvPr/>
              </p:nvSpPr>
              <p:spPr>
                <a:xfrm>
                  <a:off x="7862686" y="3475629"/>
                  <a:ext cx="139997" cy="13008"/>
                </a:xfrm>
                <a:custGeom>
                  <a:avLst/>
                  <a:gdLst>
                    <a:gd name="connsiteX0" fmla="*/ 0 w 139997"/>
                    <a:gd name="connsiteY0" fmla="*/ 0 h 13008"/>
                    <a:gd name="connsiteX1" fmla="*/ 139997 w 139997"/>
                    <a:gd name="connsiteY1" fmla="*/ 0 h 13008"/>
                    <a:gd name="connsiteX2" fmla="*/ 139997 w 139997"/>
                    <a:gd name="connsiteY2" fmla="*/ 13008 h 13008"/>
                    <a:gd name="connsiteX3" fmla="*/ 0 w 139997"/>
                    <a:gd name="connsiteY3" fmla="*/ 13008 h 13008"/>
                  </a:gdLst>
                  <a:ahLst/>
                  <a:cxnLst>
                    <a:cxn ang="0">
                      <a:pos x="connsiteX0" y="connsiteY0"/>
                    </a:cxn>
                    <a:cxn ang="0">
                      <a:pos x="connsiteX1" y="connsiteY1"/>
                    </a:cxn>
                    <a:cxn ang="0">
                      <a:pos x="connsiteX2" y="connsiteY2"/>
                    </a:cxn>
                    <a:cxn ang="0">
                      <a:pos x="connsiteX3" y="connsiteY3"/>
                    </a:cxn>
                  </a:cxnLst>
                  <a:rect l="l" t="t" r="r" b="b"/>
                  <a:pathLst>
                    <a:path w="139997" h="13008">
                      <a:moveTo>
                        <a:pt x="0" y="0"/>
                      </a:moveTo>
                      <a:lnTo>
                        <a:pt x="139997" y="0"/>
                      </a:lnTo>
                      <a:lnTo>
                        <a:pt x="139997" y="13008"/>
                      </a:lnTo>
                      <a:lnTo>
                        <a:pt x="0" y="13008"/>
                      </a:lnTo>
                      <a:close/>
                    </a:path>
                  </a:pathLst>
                </a:custGeom>
                <a:grpFill/>
                <a:ln w="2515" cap="flat">
                  <a:noFill/>
                  <a:prstDash val="solid"/>
                  <a:miter/>
                </a:ln>
              </p:spPr>
              <p:txBody>
                <a:bodyPr rtlCol="0" anchor="ctr"/>
                <a:lstStyle/>
                <a:p>
                  <a:endParaRPr lang="en-GB" dirty="0"/>
                </a:p>
              </p:txBody>
            </p:sp>
            <p:sp>
              <p:nvSpPr>
                <p:cNvPr id="311" name="Freihandform: Form 954">
                  <a:extLst>
                    <a:ext uri="{FF2B5EF4-FFF2-40B4-BE49-F238E27FC236}">
                      <a16:creationId xmlns:a16="http://schemas.microsoft.com/office/drawing/2014/main" id="{733CFFB8-1EE1-452D-AD8C-4F3E534282B0}"/>
                    </a:ext>
                  </a:extLst>
                </p:cNvPr>
                <p:cNvSpPr/>
                <p:nvPr/>
              </p:nvSpPr>
              <p:spPr>
                <a:xfrm>
                  <a:off x="7892377" y="3405404"/>
                  <a:ext cx="74653" cy="13008"/>
                </a:xfrm>
                <a:custGeom>
                  <a:avLst/>
                  <a:gdLst>
                    <a:gd name="connsiteX0" fmla="*/ 0 w 74653"/>
                    <a:gd name="connsiteY0" fmla="*/ 0 h 13008"/>
                    <a:gd name="connsiteX1" fmla="*/ 74653 w 74653"/>
                    <a:gd name="connsiteY1" fmla="*/ 0 h 13008"/>
                    <a:gd name="connsiteX2" fmla="*/ 74653 w 74653"/>
                    <a:gd name="connsiteY2" fmla="*/ 13008 h 13008"/>
                    <a:gd name="connsiteX3" fmla="*/ 0 w 74653"/>
                    <a:gd name="connsiteY3" fmla="*/ 13008 h 13008"/>
                  </a:gdLst>
                  <a:ahLst/>
                  <a:cxnLst>
                    <a:cxn ang="0">
                      <a:pos x="connsiteX0" y="connsiteY0"/>
                    </a:cxn>
                    <a:cxn ang="0">
                      <a:pos x="connsiteX1" y="connsiteY1"/>
                    </a:cxn>
                    <a:cxn ang="0">
                      <a:pos x="connsiteX2" y="connsiteY2"/>
                    </a:cxn>
                    <a:cxn ang="0">
                      <a:pos x="connsiteX3" y="connsiteY3"/>
                    </a:cxn>
                  </a:cxnLst>
                  <a:rect l="l" t="t" r="r" b="b"/>
                  <a:pathLst>
                    <a:path w="74653" h="13008">
                      <a:moveTo>
                        <a:pt x="0" y="0"/>
                      </a:moveTo>
                      <a:lnTo>
                        <a:pt x="74653" y="0"/>
                      </a:lnTo>
                      <a:lnTo>
                        <a:pt x="74653" y="13008"/>
                      </a:lnTo>
                      <a:lnTo>
                        <a:pt x="0" y="13008"/>
                      </a:lnTo>
                      <a:close/>
                    </a:path>
                  </a:pathLst>
                </a:custGeom>
                <a:grpFill/>
                <a:ln w="2515" cap="flat">
                  <a:noFill/>
                  <a:prstDash val="solid"/>
                  <a:miter/>
                </a:ln>
              </p:spPr>
              <p:txBody>
                <a:bodyPr rtlCol="0" anchor="ctr"/>
                <a:lstStyle/>
                <a:p>
                  <a:endParaRPr lang="en-GB" dirty="0"/>
                </a:p>
              </p:txBody>
            </p:sp>
          </p:grpSp>
        </p:grpSp>
      </p:grpSp>
      <p:grpSp>
        <p:nvGrpSpPr>
          <p:cNvPr id="464" name="Group 463">
            <a:extLst>
              <a:ext uri="{FF2B5EF4-FFF2-40B4-BE49-F238E27FC236}">
                <a16:creationId xmlns:a16="http://schemas.microsoft.com/office/drawing/2014/main" id="{10795E00-C744-4699-9920-F61D948CB05C}"/>
              </a:ext>
            </a:extLst>
          </p:cNvPr>
          <p:cNvGrpSpPr/>
          <p:nvPr/>
        </p:nvGrpSpPr>
        <p:grpSpPr>
          <a:xfrm>
            <a:off x="3723297" y="3227048"/>
            <a:ext cx="468111" cy="432000"/>
            <a:chOff x="3723297" y="3227048"/>
            <a:chExt cx="468111" cy="432000"/>
          </a:xfrm>
        </p:grpSpPr>
        <p:grpSp>
          <p:nvGrpSpPr>
            <p:cNvPr id="319" name="Group 318">
              <a:extLst>
                <a:ext uri="{FF2B5EF4-FFF2-40B4-BE49-F238E27FC236}">
                  <a16:creationId xmlns:a16="http://schemas.microsoft.com/office/drawing/2014/main" id="{78817639-E76A-4D27-82B6-20369D4EC347}"/>
                </a:ext>
              </a:extLst>
            </p:cNvPr>
            <p:cNvGrpSpPr/>
            <p:nvPr/>
          </p:nvGrpSpPr>
          <p:grpSpPr>
            <a:xfrm>
              <a:off x="3723297" y="3227048"/>
              <a:ext cx="468111" cy="326250"/>
              <a:chOff x="6110082" y="4143835"/>
              <a:chExt cx="429250" cy="299166"/>
            </a:xfrm>
          </p:grpSpPr>
          <p:sp>
            <p:nvSpPr>
              <p:cNvPr id="325" name="Freihandform: Form 967">
                <a:extLst>
                  <a:ext uri="{FF2B5EF4-FFF2-40B4-BE49-F238E27FC236}">
                    <a16:creationId xmlns:a16="http://schemas.microsoft.com/office/drawing/2014/main" id="{209E1D73-9BE1-495D-8384-CFA2B003B0FF}"/>
                  </a:ext>
                </a:extLst>
              </p:cNvPr>
              <p:cNvSpPr/>
              <p:nvPr/>
            </p:nvSpPr>
            <p:spPr>
              <a:xfrm>
                <a:off x="6110082" y="4143835"/>
                <a:ext cx="429250" cy="299166"/>
              </a:xfrm>
              <a:custGeom>
                <a:avLst/>
                <a:gdLst>
                  <a:gd name="connsiteX0" fmla="*/ 409750 w 429250"/>
                  <a:gd name="connsiteY0" fmla="*/ 299167 h 299166"/>
                  <a:gd name="connsiteX1" fmla="*/ 292675 w 429250"/>
                  <a:gd name="connsiteY1" fmla="*/ 299167 h 299166"/>
                  <a:gd name="connsiteX2" fmla="*/ 292675 w 429250"/>
                  <a:gd name="connsiteY2" fmla="*/ 286158 h 299166"/>
                  <a:gd name="connsiteX3" fmla="*/ 409750 w 429250"/>
                  <a:gd name="connsiteY3" fmla="*/ 286158 h 299166"/>
                  <a:gd name="connsiteX4" fmla="*/ 416242 w 429250"/>
                  <a:gd name="connsiteY4" fmla="*/ 279667 h 299166"/>
                  <a:gd name="connsiteX5" fmla="*/ 416242 w 429250"/>
                  <a:gd name="connsiteY5" fmla="*/ 19500 h 299166"/>
                  <a:gd name="connsiteX6" fmla="*/ 409750 w 429250"/>
                  <a:gd name="connsiteY6" fmla="*/ 13008 h 299166"/>
                  <a:gd name="connsiteX7" fmla="*/ 19500 w 429250"/>
                  <a:gd name="connsiteY7" fmla="*/ 13008 h 299166"/>
                  <a:gd name="connsiteX8" fmla="*/ 13008 w 429250"/>
                  <a:gd name="connsiteY8" fmla="*/ 19500 h 299166"/>
                  <a:gd name="connsiteX9" fmla="*/ 13008 w 429250"/>
                  <a:gd name="connsiteY9" fmla="*/ 279667 h 299166"/>
                  <a:gd name="connsiteX10" fmla="*/ 19500 w 429250"/>
                  <a:gd name="connsiteY10" fmla="*/ 286158 h 299166"/>
                  <a:gd name="connsiteX11" fmla="*/ 136575 w 429250"/>
                  <a:gd name="connsiteY11" fmla="*/ 286158 h 299166"/>
                  <a:gd name="connsiteX12" fmla="*/ 136575 w 429250"/>
                  <a:gd name="connsiteY12" fmla="*/ 299167 h 299166"/>
                  <a:gd name="connsiteX13" fmla="*/ 19500 w 429250"/>
                  <a:gd name="connsiteY13" fmla="*/ 299167 h 299166"/>
                  <a:gd name="connsiteX14" fmla="*/ 0 w 429250"/>
                  <a:gd name="connsiteY14" fmla="*/ 279667 h 299166"/>
                  <a:gd name="connsiteX15" fmla="*/ 0 w 429250"/>
                  <a:gd name="connsiteY15" fmla="*/ 19500 h 299166"/>
                  <a:gd name="connsiteX16" fmla="*/ 19500 w 429250"/>
                  <a:gd name="connsiteY16" fmla="*/ 0 h 299166"/>
                  <a:gd name="connsiteX17" fmla="*/ 409750 w 429250"/>
                  <a:gd name="connsiteY17" fmla="*/ 0 h 299166"/>
                  <a:gd name="connsiteX18" fmla="*/ 429250 w 429250"/>
                  <a:gd name="connsiteY18" fmla="*/ 19500 h 299166"/>
                  <a:gd name="connsiteX19" fmla="*/ 429250 w 429250"/>
                  <a:gd name="connsiteY19" fmla="*/ 279667 h 299166"/>
                  <a:gd name="connsiteX20" fmla="*/ 409750 w 429250"/>
                  <a:gd name="connsiteY20" fmla="*/ 299167 h 299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29250" h="299166">
                    <a:moveTo>
                      <a:pt x="409750" y="299167"/>
                    </a:moveTo>
                    <a:lnTo>
                      <a:pt x="292675" y="299167"/>
                    </a:lnTo>
                    <a:lnTo>
                      <a:pt x="292675" y="286158"/>
                    </a:lnTo>
                    <a:lnTo>
                      <a:pt x="409750" y="286158"/>
                    </a:lnTo>
                    <a:cubicBezTo>
                      <a:pt x="413349" y="286158"/>
                      <a:pt x="416242" y="283240"/>
                      <a:pt x="416242" y="279667"/>
                    </a:cubicBezTo>
                    <a:lnTo>
                      <a:pt x="416242" y="19500"/>
                    </a:lnTo>
                    <a:cubicBezTo>
                      <a:pt x="416242" y="15902"/>
                      <a:pt x="413323" y="13008"/>
                      <a:pt x="409750" y="13008"/>
                    </a:cubicBezTo>
                    <a:lnTo>
                      <a:pt x="19500" y="13008"/>
                    </a:lnTo>
                    <a:cubicBezTo>
                      <a:pt x="15902" y="13008"/>
                      <a:pt x="13008" y="15927"/>
                      <a:pt x="13008" y="19500"/>
                    </a:cubicBezTo>
                    <a:lnTo>
                      <a:pt x="13008" y="279667"/>
                    </a:lnTo>
                    <a:cubicBezTo>
                      <a:pt x="13008" y="283265"/>
                      <a:pt x="15927" y="286158"/>
                      <a:pt x="19500" y="286158"/>
                    </a:cubicBezTo>
                    <a:lnTo>
                      <a:pt x="136575" y="286158"/>
                    </a:lnTo>
                    <a:lnTo>
                      <a:pt x="136575" y="299167"/>
                    </a:lnTo>
                    <a:lnTo>
                      <a:pt x="19500" y="299167"/>
                    </a:lnTo>
                    <a:cubicBezTo>
                      <a:pt x="8731" y="299167"/>
                      <a:pt x="0" y="290411"/>
                      <a:pt x="0" y="279667"/>
                    </a:cubicBezTo>
                    <a:lnTo>
                      <a:pt x="0" y="19500"/>
                    </a:lnTo>
                    <a:cubicBezTo>
                      <a:pt x="0" y="8731"/>
                      <a:pt x="8756" y="0"/>
                      <a:pt x="19500" y="0"/>
                    </a:cubicBezTo>
                    <a:lnTo>
                      <a:pt x="409750" y="0"/>
                    </a:lnTo>
                    <a:cubicBezTo>
                      <a:pt x="420519" y="0"/>
                      <a:pt x="429250" y="8756"/>
                      <a:pt x="429250" y="19500"/>
                    </a:cubicBezTo>
                    <a:lnTo>
                      <a:pt x="429250" y="279667"/>
                    </a:lnTo>
                    <a:cubicBezTo>
                      <a:pt x="429276" y="290411"/>
                      <a:pt x="420519" y="299167"/>
                      <a:pt x="409750" y="299167"/>
                    </a:cubicBezTo>
                    <a:close/>
                  </a:path>
                </a:pathLst>
              </a:custGeom>
              <a:solidFill>
                <a:schemeClr val="tx2"/>
              </a:solidFill>
              <a:ln w="2515" cap="flat">
                <a:noFill/>
                <a:prstDash val="solid"/>
                <a:miter/>
              </a:ln>
            </p:spPr>
            <p:txBody>
              <a:bodyPr rtlCol="0" anchor="ctr"/>
              <a:lstStyle/>
              <a:p>
                <a:endParaRPr lang="en-GB" dirty="0"/>
              </a:p>
            </p:txBody>
          </p:sp>
          <p:sp>
            <p:nvSpPr>
              <p:cNvPr id="326" name="Freihandform: Form 968">
                <a:extLst>
                  <a:ext uri="{FF2B5EF4-FFF2-40B4-BE49-F238E27FC236}">
                    <a16:creationId xmlns:a16="http://schemas.microsoft.com/office/drawing/2014/main" id="{D3A5097C-9E69-4679-AA3B-ACF5AE5FB921}"/>
                  </a:ext>
                </a:extLst>
              </p:cNvPr>
              <p:cNvSpPr/>
              <p:nvPr/>
            </p:nvSpPr>
            <p:spPr>
              <a:xfrm>
                <a:off x="6116598" y="4150326"/>
                <a:ext cx="71533" cy="71533"/>
              </a:xfrm>
              <a:custGeom>
                <a:avLst/>
                <a:gdLst>
                  <a:gd name="connsiteX0" fmla="*/ 0 w 71533"/>
                  <a:gd name="connsiteY0" fmla="*/ 71533 h 71533"/>
                  <a:gd name="connsiteX1" fmla="*/ 0 w 71533"/>
                  <a:gd name="connsiteY1" fmla="*/ 58525 h 71533"/>
                  <a:gd name="connsiteX2" fmla="*/ 58525 w 71533"/>
                  <a:gd name="connsiteY2" fmla="*/ 0 h 71533"/>
                  <a:gd name="connsiteX3" fmla="*/ 71533 w 71533"/>
                  <a:gd name="connsiteY3" fmla="*/ 0 h 71533"/>
                  <a:gd name="connsiteX4" fmla="*/ 0 w 71533"/>
                  <a:gd name="connsiteY4" fmla="*/ 71533 h 71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3" h="71533">
                    <a:moveTo>
                      <a:pt x="0" y="71533"/>
                    </a:moveTo>
                    <a:lnTo>
                      <a:pt x="0" y="58525"/>
                    </a:lnTo>
                    <a:cubicBezTo>
                      <a:pt x="32282" y="58525"/>
                      <a:pt x="58525" y="32257"/>
                      <a:pt x="58525" y="0"/>
                    </a:cubicBezTo>
                    <a:lnTo>
                      <a:pt x="71533" y="0"/>
                    </a:lnTo>
                    <a:cubicBezTo>
                      <a:pt x="71533" y="39453"/>
                      <a:pt x="39428" y="71533"/>
                      <a:pt x="0" y="71533"/>
                    </a:cubicBezTo>
                    <a:close/>
                  </a:path>
                </a:pathLst>
              </a:custGeom>
              <a:solidFill>
                <a:schemeClr val="tx2"/>
              </a:solidFill>
              <a:ln w="2515" cap="flat">
                <a:noFill/>
                <a:prstDash val="solid"/>
                <a:miter/>
              </a:ln>
            </p:spPr>
            <p:txBody>
              <a:bodyPr rtlCol="0" anchor="ctr"/>
              <a:lstStyle/>
              <a:p>
                <a:endParaRPr lang="en-GB" dirty="0"/>
              </a:p>
            </p:txBody>
          </p:sp>
          <p:sp>
            <p:nvSpPr>
              <p:cNvPr id="327" name="Freihandform: Form 969">
                <a:extLst>
                  <a:ext uri="{FF2B5EF4-FFF2-40B4-BE49-F238E27FC236}">
                    <a16:creationId xmlns:a16="http://schemas.microsoft.com/office/drawing/2014/main" id="{B70AB4D7-D904-435C-9C76-A96BF93B9775}"/>
                  </a:ext>
                </a:extLst>
              </p:cNvPr>
              <p:cNvSpPr/>
              <p:nvPr/>
            </p:nvSpPr>
            <p:spPr>
              <a:xfrm>
                <a:off x="6116598" y="4364977"/>
                <a:ext cx="71533" cy="71533"/>
              </a:xfrm>
              <a:custGeom>
                <a:avLst/>
                <a:gdLst>
                  <a:gd name="connsiteX0" fmla="*/ 71533 w 71533"/>
                  <a:gd name="connsiteY0" fmla="*/ 71533 h 71533"/>
                  <a:gd name="connsiteX1" fmla="*/ 58525 w 71533"/>
                  <a:gd name="connsiteY1" fmla="*/ 71533 h 71533"/>
                  <a:gd name="connsiteX2" fmla="*/ 0 w 71533"/>
                  <a:gd name="connsiteY2" fmla="*/ 13008 h 71533"/>
                  <a:gd name="connsiteX3" fmla="*/ 0 w 71533"/>
                  <a:gd name="connsiteY3" fmla="*/ 0 h 71533"/>
                  <a:gd name="connsiteX4" fmla="*/ 71533 w 71533"/>
                  <a:gd name="connsiteY4" fmla="*/ 71533 h 71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3" h="71533">
                    <a:moveTo>
                      <a:pt x="71533" y="71533"/>
                    </a:moveTo>
                    <a:lnTo>
                      <a:pt x="58525" y="71533"/>
                    </a:lnTo>
                    <a:cubicBezTo>
                      <a:pt x="58525" y="39251"/>
                      <a:pt x="32257" y="13008"/>
                      <a:pt x="0" y="13008"/>
                    </a:cubicBezTo>
                    <a:lnTo>
                      <a:pt x="0" y="0"/>
                    </a:lnTo>
                    <a:cubicBezTo>
                      <a:pt x="39428" y="-25"/>
                      <a:pt x="71533" y="32081"/>
                      <a:pt x="71533" y="71533"/>
                    </a:cubicBezTo>
                    <a:close/>
                  </a:path>
                </a:pathLst>
              </a:custGeom>
              <a:solidFill>
                <a:schemeClr val="tx2"/>
              </a:solidFill>
              <a:ln w="2515" cap="flat">
                <a:noFill/>
                <a:prstDash val="solid"/>
                <a:miter/>
              </a:ln>
            </p:spPr>
            <p:txBody>
              <a:bodyPr rtlCol="0" anchor="ctr"/>
              <a:lstStyle/>
              <a:p>
                <a:endParaRPr lang="en-GB" dirty="0"/>
              </a:p>
            </p:txBody>
          </p:sp>
          <p:sp>
            <p:nvSpPr>
              <p:cNvPr id="328" name="Freihandform: Form 970">
                <a:extLst>
                  <a:ext uri="{FF2B5EF4-FFF2-40B4-BE49-F238E27FC236}">
                    <a16:creationId xmlns:a16="http://schemas.microsoft.com/office/drawing/2014/main" id="{F218059A-37DD-45DD-BADF-A615737ADA12}"/>
                  </a:ext>
                </a:extLst>
              </p:cNvPr>
              <p:cNvSpPr/>
              <p:nvPr/>
            </p:nvSpPr>
            <p:spPr>
              <a:xfrm>
                <a:off x="6461307" y="4150326"/>
                <a:ext cx="71533" cy="71533"/>
              </a:xfrm>
              <a:custGeom>
                <a:avLst/>
                <a:gdLst>
                  <a:gd name="connsiteX0" fmla="*/ 71533 w 71533"/>
                  <a:gd name="connsiteY0" fmla="*/ 71533 h 71533"/>
                  <a:gd name="connsiteX1" fmla="*/ 0 w 71533"/>
                  <a:gd name="connsiteY1" fmla="*/ 0 h 71533"/>
                  <a:gd name="connsiteX2" fmla="*/ 13008 w 71533"/>
                  <a:gd name="connsiteY2" fmla="*/ 0 h 71533"/>
                  <a:gd name="connsiteX3" fmla="*/ 71533 w 71533"/>
                  <a:gd name="connsiteY3" fmla="*/ 58525 h 71533"/>
                  <a:gd name="connsiteX4" fmla="*/ 71533 w 71533"/>
                  <a:gd name="connsiteY4" fmla="*/ 71533 h 71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3" h="71533">
                    <a:moveTo>
                      <a:pt x="71533" y="71533"/>
                    </a:moveTo>
                    <a:cubicBezTo>
                      <a:pt x="32081" y="71533"/>
                      <a:pt x="0" y="39428"/>
                      <a:pt x="0" y="0"/>
                    </a:cubicBezTo>
                    <a:lnTo>
                      <a:pt x="13008" y="0"/>
                    </a:lnTo>
                    <a:cubicBezTo>
                      <a:pt x="13008" y="32282"/>
                      <a:pt x="39277" y="58525"/>
                      <a:pt x="71533" y="58525"/>
                    </a:cubicBezTo>
                    <a:lnTo>
                      <a:pt x="71533" y="71533"/>
                    </a:lnTo>
                    <a:close/>
                  </a:path>
                </a:pathLst>
              </a:custGeom>
              <a:solidFill>
                <a:schemeClr val="tx2"/>
              </a:solidFill>
              <a:ln w="2515" cap="flat">
                <a:noFill/>
                <a:prstDash val="solid"/>
                <a:miter/>
              </a:ln>
            </p:spPr>
            <p:txBody>
              <a:bodyPr rtlCol="0" anchor="ctr"/>
              <a:lstStyle/>
              <a:p>
                <a:endParaRPr lang="en-GB" dirty="0"/>
              </a:p>
            </p:txBody>
          </p:sp>
          <p:sp>
            <p:nvSpPr>
              <p:cNvPr id="329" name="Freihandform: Form 971">
                <a:extLst>
                  <a:ext uri="{FF2B5EF4-FFF2-40B4-BE49-F238E27FC236}">
                    <a16:creationId xmlns:a16="http://schemas.microsoft.com/office/drawing/2014/main" id="{56904F32-0EA1-4418-9D6A-83D71F9FAF87}"/>
                  </a:ext>
                </a:extLst>
              </p:cNvPr>
              <p:cNvSpPr/>
              <p:nvPr/>
            </p:nvSpPr>
            <p:spPr>
              <a:xfrm>
                <a:off x="6461307" y="4364977"/>
                <a:ext cx="71533" cy="71533"/>
              </a:xfrm>
              <a:custGeom>
                <a:avLst/>
                <a:gdLst>
                  <a:gd name="connsiteX0" fmla="*/ 13008 w 71533"/>
                  <a:gd name="connsiteY0" fmla="*/ 71533 h 71533"/>
                  <a:gd name="connsiteX1" fmla="*/ 0 w 71533"/>
                  <a:gd name="connsiteY1" fmla="*/ 71533 h 71533"/>
                  <a:gd name="connsiteX2" fmla="*/ 71533 w 71533"/>
                  <a:gd name="connsiteY2" fmla="*/ 0 h 71533"/>
                  <a:gd name="connsiteX3" fmla="*/ 71533 w 71533"/>
                  <a:gd name="connsiteY3" fmla="*/ 13008 h 71533"/>
                  <a:gd name="connsiteX4" fmla="*/ 13008 w 71533"/>
                  <a:gd name="connsiteY4" fmla="*/ 71533 h 715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533" h="71533">
                    <a:moveTo>
                      <a:pt x="13008" y="71533"/>
                    </a:moveTo>
                    <a:lnTo>
                      <a:pt x="0" y="71533"/>
                    </a:lnTo>
                    <a:cubicBezTo>
                      <a:pt x="0" y="32081"/>
                      <a:pt x="32106" y="0"/>
                      <a:pt x="71533" y="0"/>
                    </a:cubicBezTo>
                    <a:lnTo>
                      <a:pt x="71533" y="13008"/>
                    </a:lnTo>
                    <a:cubicBezTo>
                      <a:pt x="39252" y="12983"/>
                      <a:pt x="13008" y="39251"/>
                      <a:pt x="13008" y="71533"/>
                    </a:cubicBezTo>
                    <a:close/>
                  </a:path>
                </a:pathLst>
              </a:custGeom>
              <a:solidFill>
                <a:schemeClr val="tx2"/>
              </a:solidFill>
              <a:ln w="2515" cap="flat">
                <a:noFill/>
                <a:prstDash val="solid"/>
                <a:miter/>
              </a:ln>
            </p:spPr>
            <p:txBody>
              <a:bodyPr rtlCol="0" anchor="ctr"/>
              <a:lstStyle/>
              <a:p>
                <a:endParaRPr lang="en-GB" dirty="0"/>
              </a:p>
            </p:txBody>
          </p:sp>
          <p:sp>
            <p:nvSpPr>
              <p:cNvPr id="330" name="Freihandform: Form 972">
                <a:extLst>
                  <a:ext uri="{FF2B5EF4-FFF2-40B4-BE49-F238E27FC236}">
                    <a16:creationId xmlns:a16="http://schemas.microsoft.com/office/drawing/2014/main" id="{EAD391F6-BD91-4045-84B4-04DC6B28529D}"/>
                  </a:ext>
                </a:extLst>
              </p:cNvPr>
              <p:cNvSpPr/>
              <p:nvPr/>
            </p:nvSpPr>
            <p:spPr>
              <a:xfrm>
                <a:off x="6272699" y="4202385"/>
                <a:ext cx="104041" cy="12983"/>
              </a:xfrm>
              <a:custGeom>
                <a:avLst/>
                <a:gdLst>
                  <a:gd name="connsiteX0" fmla="*/ 97550 w 104041"/>
                  <a:gd name="connsiteY0" fmla="*/ 12983 h 12983"/>
                  <a:gd name="connsiteX1" fmla="*/ 6492 w 104041"/>
                  <a:gd name="connsiteY1" fmla="*/ 12983 h 12983"/>
                  <a:gd name="connsiteX2" fmla="*/ 0 w 104041"/>
                  <a:gd name="connsiteY2" fmla="*/ 6491 h 12983"/>
                  <a:gd name="connsiteX3" fmla="*/ 6492 w 104041"/>
                  <a:gd name="connsiteY3" fmla="*/ 0 h 12983"/>
                  <a:gd name="connsiteX4" fmla="*/ 97550 w 104041"/>
                  <a:gd name="connsiteY4" fmla="*/ 0 h 12983"/>
                  <a:gd name="connsiteX5" fmla="*/ 104042 w 104041"/>
                  <a:gd name="connsiteY5" fmla="*/ 6491 h 12983"/>
                  <a:gd name="connsiteX6" fmla="*/ 97550 w 104041"/>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041" h="12983">
                    <a:moveTo>
                      <a:pt x="97550" y="12983"/>
                    </a:moveTo>
                    <a:lnTo>
                      <a:pt x="6492" y="12983"/>
                    </a:lnTo>
                    <a:cubicBezTo>
                      <a:pt x="2894" y="12983"/>
                      <a:pt x="0" y="10064"/>
                      <a:pt x="0" y="6491"/>
                    </a:cubicBezTo>
                    <a:cubicBezTo>
                      <a:pt x="0" y="2919"/>
                      <a:pt x="2919" y="0"/>
                      <a:pt x="6492" y="0"/>
                    </a:cubicBezTo>
                    <a:lnTo>
                      <a:pt x="97550" y="0"/>
                    </a:lnTo>
                    <a:cubicBezTo>
                      <a:pt x="101148" y="0"/>
                      <a:pt x="104042" y="2919"/>
                      <a:pt x="104042" y="6491"/>
                    </a:cubicBezTo>
                    <a:cubicBezTo>
                      <a:pt x="104042" y="10064"/>
                      <a:pt x="101148" y="12983"/>
                      <a:pt x="97550" y="12983"/>
                    </a:cubicBezTo>
                    <a:close/>
                  </a:path>
                </a:pathLst>
              </a:custGeom>
              <a:solidFill>
                <a:schemeClr val="tx2"/>
              </a:solidFill>
              <a:ln w="2515" cap="flat">
                <a:noFill/>
                <a:prstDash val="solid"/>
                <a:miter/>
              </a:ln>
            </p:spPr>
            <p:txBody>
              <a:bodyPr rtlCol="0" anchor="ctr"/>
              <a:lstStyle/>
              <a:p>
                <a:endParaRPr lang="en-GB" dirty="0"/>
              </a:p>
            </p:txBody>
          </p:sp>
          <p:sp>
            <p:nvSpPr>
              <p:cNvPr id="331" name="Freihandform: Form 973">
                <a:extLst>
                  <a:ext uri="{FF2B5EF4-FFF2-40B4-BE49-F238E27FC236}">
                    <a16:creationId xmlns:a16="http://schemas.microsoft.com/office/drawing/2014/main" id="{3722DC2D-5A5B-4F4C-A85C-1EAD8AF3ABC9}"/>
                  </a:ext>
                </a:extLst>
              </p:cNvPr>
              <p:cNvSpPr/>
              <p:nvPr/>
            </p:nvSpPr>
            <p:spPr>
              <a:xfrm>
                <a:off x="6168632" y="4260910"/>
                <a:ext cx="312175" cy="12982"/>
              </a:xfrm>
              <a:custGeom>
                <a:avLst/>
                <a:gdLst>
                  <a:gd name="connsiteX0" fmla="*/ 305684 w 312175"/>
                  <a:gd name="connsiteY0" fmla="*/ 12983 h 12982"/>
                  <a:gd name="connsiteX1" fmla="*/ 6492 w 312175"/>
                  <a:gd name="connsiteY1" fmla="*/ 12983 h 12982"/>
                  <a:gd name="connsiteX2" fmla="*/ 0 w 312175"/>
                  <a:gd name="connsiteY2" fmla="*/ 6491 h 12982"/>
                  <a:gd name="connsiteX3" fmla="*/ 6492 w 312175"/>
                  <a:gd name="connsiteY3" fmla="*/ 0 h 12982"/>
                  <a:gd name="connsiteX4" fmla="*/ 305684 w 312175"/>
                  <a:gd name="connsiteY4" fmla="*/ 0 h 12982"/>
                  <a:gd name="connsiteX5" fmla="*/ 312175 w 312175"/>
                  <a:gd name="connsiteY5" fmla="*/ 6491 h 12982"/>
                  <a:gd name="connsiteX6" fmla="*/ 305684 w 312175"/>
                  <a:gd name="connsiteY6" fmla="*/ 12983 h 1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75" h="12982">
                    <a:moveTo>
                      <a:pt x="305684" y="12983"/>
                    </a:moveTo>
                    <a:lnTo>
                      <a:pt x="6492" y="12983"/>
                    </a:lnTo>
                    <a:cubicBezTo>
                      <a:pt x="2894" y="12983"/>
                      <a:pt x="0" y="10064"/>
                      <a:pt x="0" y="6491"/>
                    </a:cubicBezTo>
                    <a:cubicBezTo>
                      <a:pt x="0" y="2918"/>
                      <a:pt x="2919" y="0"/>
                      <a:pt x="6492" y="0"/>
                    </a:cubicBezTo>
                    <a:lnTo>
                      <a:pt x="305684" y="0"/>
                    </a:lnTo>
                    <a:cubicBezTo>
                      <a:pt x="309282" y="0"/>
                      <a:pt x="312175" y="2918"/>
                      <a:pt x="312175" y="6491"/>
                    </a:cubicBezTo>
                    <a:cubicBezTo>
                      <a:pt x="312175" y="10064"/>
                      <a:pt x="309257" y="12983"/>
                      <a:pt x="305684" y="12983"/>
                    </a:cubicBezTo>
                    <a:close/>
                  </a:path>
                </a:pathLst>
              </a:custGeom>
              <a:solidFill>
                <a:schemeClr val="tx2"/>
              </a:solidFill>
              <a:ln w="2515" cap="flat">
                <a:noFill/>
                <a:prstDash val="solid"/>
                <a:miter/>
              </a:ln>
            </p:spPr>
            <p:txBody>
              <a:bodyPr rtlCol="0" anchor="ctr"/>
              <a:lstStyle/>
              <a:p>
                <a:endParaRPr lang="en-GB" dirty="0"/>
              </a:p>
            </p:txBody>
          </p:sp>
          <p:sp>
            <p:nvSpPr>
              <p:cNvPr id="332" name="Freihandform: Form 974">
                <a:extLst>
                  <a:ext uri="{FF2B5EF4-FFF2-40B4-BE49-F238E27FC236}">
                    <a16:creationId xmlns:a16="http://schemas.microsoft.com/office/drawing/2014/main" id="{C6BBDE9F-E1AF-4ED7-A453-BC232AAB6276}"/>
                  </a:ext>
                </a:extLst>
              </p:cNvPr>
              <p:cNvSpPr/>
              <p:nvPr/>
            </p:nvSpPr>
            <p:spPr>
              <a:xfrm>
                <a:off x="6168078" y="4299935"/>
                <a:ext cx="312175" cy="12982"/>
              </a:xfrm>
              <a:custGeom>
                <a:avLst/>
                <a:gdLst>
                  <a:gd name="connsiteX0" fmla="*/ 305684 w 312175"/>
                  <a:gd name="connsiteY0" fmla="*/ 12983 h 12982"/>
                  <a:gd name="connsiteX1" fmla="*/ 6492 w 312175"/>
                  <a:gd name="connsiteY1" fmla="*/ 12983 h 12982"/>
                  <a:gd name="connsiteX2" fmla="*/ 0 w 312175"/>
                  <a:gd name="connsiteY2" fmla="*/ 6491 h 12982"/>
                  <a:gd name="connsiteX3" fmla="*/ 6492 w 312175"/>
                  <a:gd name="connsiteY3" fmla="*/ 0 h 12982"/>
                  <a:gd name="connsiteX4" fmla="*/ 305684 w 312175"/>
                  <a:gd name="connsiteY4" fmla="*/ 0 h 12982"/>
                  <a:gd name="connsiteX5" fmla="*/ 312175 w 312175"/>
                  <a:gd name="connsiteY5" fmla="*/ 6491 h 12982"/>
                  <a:gd name="connsiteX6" fmla="*/ 305684 w 312175"/>
                  <a:gd name="connsiteY6" fmla="*/ 12983 h 1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75" h="12982">
                    <a:moveTo>
                      <a:pt x="305684" y="12983"/>
                    </a:moveTo>
                    <a:lnTo>
                      <a:pt x="6492" y="12983"/>
                    </a:lnTo>
                    <a:cubicBezTo>
                      <a:pt x="2894" y="12983"/>
                      <a:pt x="0" y="10064"/>
                      <a:pt x="0" y="6491"/>
                    </a:cubicBezTo>
                    <a:cubicBezTo>
                      <a:pt x="0" y="2918"/>
                      <a:pt x="2919" y="0"/>
                      <a:pt x="6492" y="0"/>
                    </a:cubicBezTo>
                    <a:lnTo>
                      <a:pt x="305684" y="0"/>
                    </a:lnTo>
                    <a:cubicBezTo>
                      <a:pt x="309282" y="0"/>
                      <a:pt x="312175" y="2918"/>
                      <a:pt x="312175" y="6491"/>
                    </a:cubicBezTo>
                    <a:cubicBezTo>
                      <a:pt x="312175" y="10064"/>
                      <a:pt x="309282" y="12983"/>
                      <a:pt x="305684" y="12983"/>
                    </a:cubicBezTo>
                    <a:close/>
                  </a:path>
                </a:pathLst>
              </a:custGeom>
              <a:solidFill>
                <a:schemeClr val="tx2"/>
              </a:solidFill>
              <a:ln w="2515" cap="flat">
                <a:noFill/>
                <a:prstDash val="solid"/>
                <a:miter/>
              </a:ln>
            </p:spPr>
            <p:txBody>
              <a:bodyPr rtlCol="0" anchor="ctr"/>
              <a:lstStyle/>
              <a:p>
                <a:endParaRPr lang="en-GB" dirty="0"/>
              </a:p>
            </p:txBody>
          </p:sp>
          <p:sp>
            <p:nvSpPr>
              <p:cNvPr id="333" name="Freihandform: Form 975">
                <a:extLst>
                  <a:ext uri="{FF2B5EF4-FFF2-40B4-BE49-F238E27FC236}">
                    <a16:creationId xmlns:a16="http://schemas.microsoft.com/office/drawing/2014/main" id="{9AF1CFAE-8AD8-4385-8D6E-14C7B9B87516}"/>
                  </a:ext>
                </a:extLst>
              </p:cNvPr>
              <p:cNvSpPr/>
              <p:nvPr/>
            </p:nvSpPr>
            <p:spPr>
              <a:xfrm>
                <a:off x="6168632" y="4338960"/>
                <a:ext cx="312175" cy="12982"/>
              </a:xfrm>
              <a:custGeom>
                <a:avLst/>
                <a:gdLst>
                  <a:gd name="connsiteX0" fmla="*/ 305684 w 312175"/>
                  <a:gd name="connsiteY0" fmla="*/ 12983 h 12982"/>
                  <a:gd name="connsiteX1" fmla="*/ 6492 w 312175"/>
                  <a:gd name="connsiteY1" fmla="*/ 12983 h 12982"/>
                  <a:gd name="connsiteX2" fmla="*/ 0 w 312175"/>
                  <a:gd name="connsiteY2" fmla="*/ 6491 h 12982"/>
                  <a:gd name="connsiteX3" fmla="*/ 6492 w 312175"/>
                  <a:gd name="connsiteY3" fmla="*/ 0 h 12982"/>
                  <a:gd name="connsiteX4" fmla="*/ 305684 w 312175"/>
                  <a:gd name="connsiteY4" fmla="*/ 0 h 12982"/>
                  <a:gd name="connsiteX5" fmla="*/ 312175 w 312175"/>
                  <a:gd name="connsiteY5" fmla="*/ 6491 h 12982"/>
                  <a:gd name="connsiteX6" fmla="*/ 305684 w 312175"/>
                  <a:gd name="connsiteY6" fmla="*/ 12983 h 1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2175" h="12982">
                    <a:moveTo>
                      <a:pt x="305684" y="12983"/>
                    </a:moveTo>
                    <a:lnTo>
                      <a:pt x="6492" y="12983"/>
                    </a:lnTo>
                    <a:cubicBezTo>
                      <a:pt x="2894" y="12983"/>
                      <a:pt x="0" y="10064"/>
                      <a:pt x="0" y="6491"/>
                    </a:cubicBezTo>
                    <a:cubicBezTo>
                      <a:pt x="0" y="2893"/>
                      <a:pt x="2919" y="0"/>
                      <a:pt x="6492" y="0"/>
                    </a:cubicBezTo>
                    <a:lnTo>
                      <a:pt x="305684" y="0"/>
                    </a:lnTo>
                    <a:cubicBezTo>
                      <a:pt x="309282" y="0"/>
                      <a:pt x="312175" y="2918"/>
                      <a:pt x="312175" y="6491"/>
                    </a:cubicBezTo>
                    <a:cubicBezTo>
                      <a:pt x="312175" y="10089"/>
                      <a:pt x="309257" y="12983"/>
                      <a:pt x="305684" y="12983"/>
                    </a:cubicBezTo>
                    <a:close/>
                  </a:path>
                </a:pathLst>
              </a:custGeom>
              <a:solidFill>
                <a:schemeClr val="tx2"/>
              </a:solidFill>
              <a:ln w="2515" cap="flat">
                <a:noFill/>
                <a:prstDash val="solid"/>
                <a:miter/>
              </a:ln>
            </p:spPr>
            <p:txBody>
              <a:bodyPr rtlCol="0" anchor="ctr"/>
              <a:lstStyle/>
              <a:p>
                <a:endParaRPr lang="en-GB" dirty="0"/>
              </a:p>
            </p:txBody>
          </p:sp>
        </p:grpSp>
        <p:grpSp>
          <p:nvGrpSpPr>
            <p:cNvPr id="320" name="Grafik 21">
              <a:extLst>
                <a:ext uri="{FF2B5EF4-FFF2-40B4-BE49-F238E27FC236}">
                  <a16:creationId xmlns:a16="http://schemas.microsoft.com/office/drawing/2014/main" id="{3C3AC9CA-462E-4BEC-93CB-A6B838A9051A}"/>
                </a:ext>
              </a:extLst>
            </p:cNvPr>
            <p:cNvGrpSpPr/>
            <p:nvPr/>
          </p:nvGrpSpPr>
          <p:grpSpPr>
            <a:xfrm>
              <a:off x="3886230" y="3469362"/>
              <a:ext cx="140817" cy="189686"/>
              <a:chOff x="6259489" y="4366033"/>
              <a:chExt cx="129127" cy="173939"/>
            </a:xfrm>
            <a:solidFill>
              <a:schemeClr val="accent1"/>
            </a:solidFill>
          </p:grpSpPr>
          <p:grpSp>
            <p:nvGrpSpPr>
              <p:cNvPr id="321" name="Grafik 21">
                <a:extLst>
                  <a:ext uri="{FF2B5EF4-FFF2-40B4-BE49-F238E27FC236}">
                    <a16:creationId xmlns:a16="http://schemas.microsoft.com/office/drawing/2014/main" id="{A59D4306-CC13-4CFD-A522-7429DAF9597A}"/>
                  </a:ext>
                </a:extLst>
              </p:cNvPr>
              <p:cNvGrpSpPr/>
              <p:nvPr/>
            </p:nvGrpSpPr>
            <p:grpSpPr>
              <a:xfrm>
                <a:off x="6259489" y="4366033"/>
                <a:ext cx="129127" cy="129454"/>
                <a:chOff x="6259489" y="4366033"/>
                <a:chExt cx="129127" cy="129454"/>
              </a:xfrm>
              <a:solidFill>
                <a:schemeClr val="accent1"/>
              </a:solidFill>
            </p:grpSpPr>
            <p:sp>
              <p:nvSpPr>
                <p:cNvPr id="323" name="Freihandform: Form 978">
                  <a:extLst>
                    <a:ext uri="{FF2B5EF4-FFF2-40B4-BE49-F238E27FC236}">
                      <a16:creationId xmlns:a16="http://schemas.microsoft.com/office/drawing/2014/main" id="{DF076041-8EDD-406B-B831-42AAB03DE130}"/>
                    </a:ext>
                  </a:extLst>
                </p:cNvPr>
                <p:cNvSpPr/>
                <p:nvPr/>
              </p:nvSpPr>
              <p:spPr>
                <a:xfrm>
                  <a:off x="6259489" y="4366033"/>
                  <a:ext cx="129127" cy="129454"/>
                </a:xfrm>
                <a:custGeom>
                  <a:avLst/>
                  <a:gdLst>
                    <a:gd name="connsiteX0" fmla="*/ 73496 w 129127"/>
                    <a:gd name="connsiteY0" fmla="*/ 129455 h 129454"/>
                    <a:gd name="connsiteX1" fmla="*/ 62500 w 129127"/>
                    <a:gd name="connsiteY1" fmla="*/ 125429 h 129454"/>
                    <a:gd name="connsiteX2" fmla="*/ 53669 w 129127"/>
                    <a:gd name="connsiteY2" fmla="*/ 127895 h 129454"/>
                    <a:gd name="connsiteX3" fmla="*/ 39176 w 129127"/>
                    <a:gd name="connsiteY3" fmla="*/ 119793 h 129454"/>
                    <a:gd name="connsiteX4" fmla="*/ 34949 w 129127"/>
                    <a:gd name="connsiteY4" fmla="*/ 120321 h 129454"/>
                    <a:gd name="connsiteX5" fmla="*/ 18091 w 129127"/>
                    <a:gd name="connsiteY5" fmla="*/ 105753 h 129454"/>
                    <a:gd name="connsiteX6" fmla="*/ 5208 w 129127"/>
                    <a:gd name="connsiteY6" fmla="*/ 89222 h 129454"/>
                    <a:gd name="connsiteX7" fmla="*/ 6240 w 129127"/>
                    <a:gd name="connsiteY7" fmla="*/ 83409 h 129454"/>
                    <a:gd name="connsiteX8" fmla="*/ 0 w 129127"/>
                    <a:gd name="connsiteY8" fmla="*/ 70200 h 129454"/>
                    <a:gd name="connsiteX9" fmla="*/ 3724 w 129127"/>
                    <a:gd name="connsiteY9" fmla="*/ 59582 h 129454"/>
                    <a:gd name="connsiteX10" fmla="*/ 1208 w 129127"/>
                    <a:gd name="connsiteY10" fmla="*/ 50700 h 129454"/>
                    <a:gd name="connsiteX11" fmla="*/ 10895 w 129127"/>
                    <a:gd name="connsiteY11" fmla="*/ 35352 h 129454"/>
                    <a:gd name="connsiteX12" fmla="*/ 10794 w 129127"/>
                    <a:gd name="connsiteY12" fmla="*/ 33540 h 129454"/>
                    <a:gd name="connsiteX13" fmla="*/ 27828 w 129127"/>
                    <a:gd name="connsiteY13" fmla="*/ 16506 h 129454"/>
                    <a:gd name="connsiteX14" fmla="*/ 27853 w 129127"/>
                    <a:gd name="connsiteY14" fmla="*/ 16506 h 129454"/>
                    <a:gd name="connsiteX15" fmla="*/ 43655 w 129127"/>
                    <a:gd name="connsiteY15" fmla="*/ 5812 h 129454"/>
                    <a:gd name="connsiteX16" fmla="*/ 49291 w 129127"/>
                    <a:gd name="connsiteY16" fmla="*/ 6769 h 129454"/>
                    <a:gd name="connsiteX17" fmla="*/ 62828 w 129127"/>
                    <a:gd name="connsiteY17" fmla="*/ 0 h 129454"/>
                    <a:gd name="connsiteX18" fmla="*/ 74251 w 129127"/>
                    <a:gd name="connsiteY18" fmla="*/ 4403 h 129454"/>
                    <a:gd name="connsiteX19" fmla="*/ 82353 w 129127"/>
                    <a:gd name="connsiteY19" fmla="*/ 2365 h 129454"/>
                    <a:gd name="connsiteX20" fmla="*/ 98531 w 129127"/>
                    <a:gd name="connsiteY20" fmla="*/ 14040 h 129454"/>
                    <a:gd name="connsiteX21" fmla="*/ 115540 w 129127"/>
                    <a:gd name="connsiteY21" fmla="*/ 31074 h 129454"/>
                    <a:gd name="connsiteX22" fmla="*/ 115389 w 129127"/>
                    <a:gd name="connsiteY22" fmla="*/ 33314 h 129454"/>
                    <a:gd name="connsiteX23" fmla="*/ 125554 w 129127"/>
                    <a:gd name="connsiteY23" fmla="*/ 48888 h 129454"/>
                    <a:gd name="connsiteX24" fmla="*/ 123718 w 129127"/>
                    <a:gd name="connsiteY24" fmla="*/ 56537 h 129454"/>
                    <a:gd name="connsiteX25" fmla="*/ 129127 w 129127"/>
                    <a:gd name="connsiteY25" fmla="*/ 68942 h 129454"/>
                    <a:gd name="connsiteX26" fmla="*/ 121478 w 129127"/>
                    <a:gd name="connsiteY26" fmla="*/ 83133 h 129454"/>
                    <a:gd name="connsiteX27" fmla="*/ 122208 w 129127"/>
                    <a:gd name="connsiteY27" fmla="*/ 88089 h 129454"/>
                    <a:gd name="connsiteX28" fmla="*/ 109024 w 129127"/>
                    <a:gd name="connsiteY28" fmla="*/ 104671 h 129454"/>
                    <a:gd name="connsiteX29" fmla="*/ 92015 w 129127"/>
                    <a:gd name="connsiteY29" fmla="*/ 120724 h 129454"/>
                    <a:gd name="connsiteX30" fmla="*/ 88542 w 129127"/>
                    <a:gd name="connsiteY30" fmla="*/ 120371 h 129454"/>
                    <a:gd name="connsiteX31" fmla="*/ 73496 w 129127"/>
                    <a:gd name="connsiteY31" fmla="*/ 129455 h 129454"/>
                    <a:gd name="connsiteX32" fmla="*/ 63331 w 129127"/>
                    <a:gd name="connsiteY32" fmla="*/ 108546 h 129454"/>
                    <a:gd name="connsiteX33" fmla="*/ 63834 w 129127"/>
                    <a:gd name="connsiteY33" fmla="*/ 108571 h 129454"/>
                    <a:gd name="connsiteX34" fmla="*/ 69621 w 129127"/>
                    <a:gd name="connsiteY34" fmla="*/ 113427 h 129454"/>
                    <a:gd name="connsiteX35" fmla="*/ 73496 w 129127"/>
                    <a:gd name="connsiteY35" fmla="*/ 116446 h 129454"/>
                    <a:gd name="connsiteX36" fmla="*/ 77522 w 129127"/>
                    <a:gd name="connsiteY36" fmla="*/ 112420 h 129454"/>
                    <a:gd name="connsiteX37" fmla="*/ 77421 w 129127"/>
                    <a:gd name="connsiteY37" fmla="*/ 111540 h 129454"/>
                    <a:gd name="connsiteX38" fmla="*/ 81095 w 129127"/>
                    <a:gd name="connsiteY38" fmla="*/ 104469 h 129454"/>
                    <a:gd name="connsiteX39" fmla="*/ 88869 w 129127"/>
                    <a:gd name="connsiteY39" fmla="*/ 106281 h 129454"/>
                    <a:gd name="connsiteX40" fmla="*/ 91989 w 129127"/>
                    <a:gd name="connsiteY40" fmla="*/ 107766 h 129454"/>
                    <a:gd name="connsiteX41" fmla="*/ 96015 w 129127"/>
                    <a:gd name="connsiteY41" fmla="*/ 103740 h 129454"/>
                    <a:gd name="connsiteX42" fmla="*/ 95260 w 129127"/>
                    <a:gd name="connsiteY42" fmla="*/ 101425 h 129454"/>
                    <a:gd name="connsiteX43" fmla="*/ 94405 w 129127"/>
                    <a:gd name="connsiteY43" fmla="*/ 95487 h 129454"/>
                    <a:gd name="connsiteX44" fmla="*/ 98758 w 129127"/>
                    <a:gd name="connsiteY44" fmla="*/ 91361 h 129454"/>
                    <a:gd name="connsiteX45" fmla="*/ 103413 w 129127"/>
                    <a:gd name="connsiteY45" fmla="*/ 91763 h 129454"/>
                    <a:gd name="connsiteX46" fmla="*/ 109174 w 129127"/>
                    <a:gd name="connsiteY46" fmla="*/ 88140 h 129454"/>
                    <a:gd name="connsiteX47" fmla="*/ 107438 w 129127"/>
                    <a:gd name="connsiteY47" fmla="*/ 84819 h 129454"/>
                    <a:gd name="connsiteX48" fmla="*/ 104998 w 129127"/>
                    <a:gd name="connsiteY48" fmla="*/ 77220 h 129454"/>
                    <a:gd name="connsiteX49" fmla="*/ 111766 w 129127"/>
                    <a:gd name="connsiteY49" fmla="*/ 72968 h 129454"/>
                    <a:gd name="connsiteX50" fmla="*/ 111791 w 129127"/>
                    <a:gd name="connsiteY50" fmla="*/ 72968 h 129454"/>
                    <a:gd name="connsiteX51" fmla="*/ 116094 w 129127"/>
                    <a:gd name="connsiteY51" fmla="*/ 68967 h 129454"/>
                    <a:gd name="connsiteX52" fmla="*/ 112395 w 129127"/>
                    <a:gd name="connsiteY52" fmla="*/ 64966 h 129454"/>
                    <a:gd name="connsiteX53" fmla="*/ 106407 w 129127"/>
                    <a:gd name="connsiteY53" fmla="*/ 58475 h 129454"/>
                    <a:gd name="connsiteX54" fmla="*/ 110181 w 129127"/>
                    <a:gd name="connsiteY54" fmla="*/ 52537 h 129454"/>
                    <a:gd name="connsiteX55" fmla="*/ 112521 w 129127"/>
                    <a:gd name="connsiteY55" fmla="*/ 48888 h 129454"/>
                    <a:gd name="connsiteX56" fmla="*/ 108495 w 129127"/>
                    <a:gd name="connsiteY56" fmla="*/ 44863 h 129454"/>
                    <a:gd name="connsiteX57" fmla="*/ 107388 w 129127"/>
                    <a:gd name="connsiteY57" fmla="*/ 45013 h 129454"/>
                    <a:gd name="connsiteX58" fmla="*/ 100192 w 129127"/>
                    <a:gd name="connsiteY58" fmla="*/ 42019 h 129454"/>
                    <a:gd name="connsiteX59" fmla="*/ 99940 w 129127"/>
                    <a:gd name="connsiteY59" fmla="*/ 41566 h 129454"/>
                    <a:gd name="connsiteX60" fmla="*/ 101249 w 129127"/>
                    <a:gd name="connsiteY60" fmla="*/ 33968 h 129454"/>
                    <a:gd name="connsiteX61" fmla="*/ 102532 w 129127"/>
                    <a:gd name="connsiteY61" fmla="*/ 31074 h 129454"/>
                    <a:gd name="connsiteX62" fmla="*/ 96191 w 129127"/>
                    <a:gd name="connsiteY62" fmla="*/ 27778 h 129454"/>
                    <a:gd name="connsiteX63" fmla="*/ 88618 w 129127"/>
                    <a:gd name="connsiteY63" fmla="*/ 27728 h 129454"/>
                    <a:gd name="connsiteX64" fmla="*/ 86227 w 129127"/>
                    <a:gd name="connsiteY64" fmla="*/ 20557 h 129454"/>
                    <a:gd name="connsiteX65" fmla="*/ 86404 w 129127"/>
                    <a:gd name="connsiteY65" fmla="*/ 19374 h 129454"/>
                    <a:gd name="connsiteX66" fmla="*/ 82378 w 129127"/>
                    <a:gd name="connsiteY66" fmla="*/ 15349 h 129454"/>
                    <a:gd name="connsiteX67" fmla="*/ 78805 w 129127"/>
                    <a:gd name="connsiteY67" fmla="*/ 17512 h 129454"/>
                    <a:gd name="connsiteX68" fmla="*/ 72263 w 129127"/>
                    <a:gd name="connsiteY68" fmla="*/ 20934 h 129454"/>
                    <a:gd name="connsiteX69" fmla="*/ 66728 w 129127"/>
                    <a:gd name="connsiteY69" fmla="*/ 16053 h 129454"/>
                    <a:gd name="connsiteX70" fmla="*/ 62828 w 129127"/>
                    <a:gd name="connsiteY70" fmla="*/ 13008 h 129454"/>
                    <a:gd name="connsiteX71" fmla="*/ 58827 w 129127"/>
                    <a:gd name="connsiteY71" fmla="*/ 16959 h 129454"/>
                    <a:gd name="connsiteX72" fmla="*/ 54222 w 129127"/>
                    <a:gd name="connsiteY72" fmla="*/ 23048 h 129454"/>
                    <a:gd name="connsiteX73" fmla="*/ 47001 w 129127"/>
                    <a:gd name="connsiteY73" fmla="*/ 20557 h 129454"/>
                    <a:gd name="connsiteX74" fmla="*/ 43680 w 129127"/>
                    <a:gd name="connsiteY74" fmla="*/ 18796 h 129454"/>
                    <a:gd name="connsiteX75" fmla="*/ 39654 w 129127"/>
                    <a:gd name="connsiteY75" fmla="*/ 22821 h 129454"/>
                    <a:gd name="connsiteX76" fmla="*/ 36937 w 129127"/>
                    <a:gd name="connsiteY76" fmla="*/ 29590 h 129454"/>
                    <a:gd name="connsiteX77" fmla="*/ 29942 w 129127"/>
                    <a:gd name="connsiteY77" fmla="*/ 30068 h 129454"/>
                    <a:gd name="connsiteX78" fmla="*/ 23853 w 129127"/>
                    <a:gd name="connsiteY78" fmla="*/ 33515 h 129454"/>
                    <a:gd name="connsiteX79" fmla="*/ 24809 w 129127"/>
                    <a:gd name="connsiteY79" fmla="*/ 36132 h 129454"/>
                    <a:gd name="connsiteX80" fmla="*/ 25463 w 129127"/>
                    <a:gd name="connsiteY80" fmla="*/ 43504 h 129454"/>
                    <a:gd name="connsiteX81" fmla="*/ 18821 w 129127"/>
                    <a:gd name="connsiteY81" fmla="*/ 46725 h 129454"/>
                    <a:gd name="connsiteX82" fmla="*/ 14266 w 129127"/>
                    <a:gd name="connsiteY82" fmla="*/ 50700 h 129454"/>
                    <a:gd name="connsiteX83" fmla="*/ 16581 w 129127"/>
                    <a:gd name="connsiteY83" fmla="*/ 54323 h 129454"/>
                    <a:gd name="connsiteX84" fmla="*/ 20305 w 129127"/>
                    <a:gd name="connsiteY84" fmla="*/ 60614 h 129454"/>
                    <a:gd name="connsiteX85" fmla="*/ 15852 w 129127"/>
                    <a:gd name="connsiteY85" fmla="*/ 66375 h 129454"/>
                    <a:gd name="connsiteX86" fmla="*/ 13084 w 129127"/>
                    <a:gd name="connsiteY86" fmla="*/ 70200 h 129454"/>
                    <a:gd name="connsiteX87" fmla="*/ 16757 w 129127"/>
                    <a:gd name="connsiteY87" fmla="*/ 74201 h 129454"/>
                    <a:gd name="connsiteX88" fmla="*/ 22469 w 129127"/>
                    <a:gd name="connsiteY88" fmla="*/ 78956 h 129454"/>
                    <a:gd name="connsiteX89" fmla="*/ 19978 w 129127"/>
                    <a:gd name="connsiteY89" fmla="*/ 85951 h 129454"/>
                    <a:gd name="connsiteX90" fmla="*/ 18292 w 129127"/>
                    <a:gd name="connsiteY90" fmla="*/ 89222 h 129454"/>
                    <a:gd name="connsiteX91" fmla="*/ 23450 w 129127"/>
                    <a:gd name="connsiteY91" fmla="*/ 93072 h 129454"/>
                    <a:gd name="connsiteX92" fmla="*/ 30093 w 129127"/>
                    <a:gd name="connsiteY92" fmla="*/ 94959 h 129454"/>
                    <a:gd name="connsiteX93" fmla="*/ 31301 w 129127"/>
                    <a:gd name="connsiteY93" fmla="*/ 101752 h 129454"/>
                    <a:gd name="connsiteX94" fmla="*/ 30999 w 129127"/>
                    <a:gd name="connsiteY94" fmla="*/ 103262 h 129454"/>
                    <a:gd name="connsiteX95" fmla="*/ 35024 w 129127"/>
                    <a:gd name="connsiteY95" fmla="*/ 107287 h 129454"/>
                    <a:gd name="connsiteX96" fmla="*/ 38170 w 129127"/>
                    <a:gd name="connsiteY96" fmla="*/ 105753 h 129454"/>
                    <a:gd name="connsiteX97" fmla="*/ 45668 w 129127"/>
                    <a:gd name="connsiteY97" fmla="*/ 103740 h 129454"/>
                    <a:gd name="connsiteX98" fmla="*/ 49744 w 129127"/>
                    <a:gd name="connsiteY98" fmla="*/ 110357 h 129454"/>
                    <a:gd name="connsiteX99" fmla="*/ 53744 w 129127"/>
                    <a:gd name="connsiteY99" fmla="*/ 114861 h 129454"/>
                    <a:gd name="connsiteX100" fmla="*/ 57418 w 129127"/>
                    <a:gd name="connsiteY100" fmla="*/ 112446 h 129454"/>
                    <a:gd name="connsiteX101" fmla="*/ 63331 w 129127"/>
                    <a:gd name="connsiteY101" fmla="*/ 108546 h 129454"/>
                    <a:gd name="connsiteX102" fmla="*/ 105727 w 129127"/>
                    <a:gd name="connsiteY102" fmla="*/ 38673 h 129454"/>
                    <a:gd name="connsiteX103" fmla="*/ 105803 w 129127"/>
                    <a:gd name="connsiteY103" fmla="*/ 38673 h 129454"/>
                    <a:gd name="connsiteX104" fmla="*/ 105727 w 129127"/>
                    <a:gd name="connsiteY104" fmla="*/ 38673 h 12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29127" h="129454">
                      <a:moveTo>
                        <a:pt x="73496" y="129455"/>
                      </a:moveTo>
                      <a:cubicBezTo>
                        <a:pt x="69369" y="129455"/>
                        <a:pt x="65495" y="127945"/>
                        <a:pt x="62500" y="125429"/>
                      </a:cubicBezTo>
                      <a:cubicBezTo>
                        <a:pt x="59884" y="127014"/>
                        <a:pt x="56839" y="127895"/>
                        <a:pt x="53669" y="127895"/>
                      </a:cubicBezTo>
                      <a:cubicBezTo>
                        <a:pt x="47555" y="127895"/>
                        <a:pt x="42170" y="124649"/>
                        <a:pt x="39176" y="119793"/>
                      </a:cubicBezTo>
                      <a:cubicBezTo>
                        <a:pt x="37817" y="120145"/>
                        <a:pt x="36408" y="120321"/>
                        <a:pt x="34949" y="120321"/>
                      </a:cubicBezTo>
                      <a:cubicBezTo>
                        <a:pt x="26394" y="120321"/>
                        <a:pt x="19299" y="113980"/>
                        <a:pt x="18091" y="105753"/>
                      </a:cubicBezTo>
                      <a:cubicBezTo>
                        <a:pt x="10694" y="103891"/>
                        <a:pt x="5208" y="97198"/>
                        <a:pt x="5208" y="89222"/>
                      </a:cubicBezTo>
                      <a:cubicBezTo>
                        <a:pt x="5208" y="87209"/>
                        <a:pt x="5561" y="85246"/>
                        <a:pt x="6240" y="83409"/>
                      </a:cubicBezTo>
                      <a:cubicBezTo>
                        <a:pt x="2415" y="80290"/>
                        <a:pt x="0" y="75534"/>
                        <a:pt x="0" y="70200"/>
                      </a:cubicBezTo>
                      <a:cubicBezTo>
                        <a:pt x="0" y="66224"/>
                        <a:pt x="1359" y="62526"/>
                        <a:pt x="3724" y="59582"/>
                      </a:cubicBezTo>
                      <a:cubicBezTo>
                        <a:pt x="2114" y="56940"/>
                        <a:pt x="1208" y="53895"/>
                        <a:pt x="1208" y="50700"/>
                      </a:cubicBezTo>
                      <a:cubicBezTo>
                        <a:pt x="1208" y="43932"/>
                        <a:pt x="5158" y="38094"/>
                        <a:pt x="10895" y="35352"/>
                      </a:cubicBezTo>
                      <a:cubicBezTo>
                        <a:pt x="10819" y="34748"/>
                        <a:pt x="10794" y="34144"/>
                        <a:pt x="10794" y="33540"/>
                      </a:cubicBezTo>
                      <a:cubicBezTo>
                        <a:pt x="10794" y="24155"/>
                        <a:pt x="18443" y="16506"/>
                        <a:pt x="27828" y="16506"/>
                      </a:cubicBezTo>
                      <a:cubicBezTo>
                        <a:pt x="27828" y="16506"/>
                        <a:pt x="27828" y="16506"/>
                        <a:pt x="27853" y="16506"/>
                      </a:cubicBezTo>
                      <a:cubicBezTo>
                        <a:pt x="30370" y="10241"/>
                        <a:pt x="36509" y="5812"/>
                        <a:pt x="43655" y="5812"/>
                      </a:cubicBezTo>
                      <a:cubicBezTo>
                        <a:pt x="45592" y="5812"/>
                        <a:pt x="47504" y="6139"/>
                        <a:pt x="49291" y="6769"/>
                      </a:cubicBezTo>
                      <a:cubicBezTo>
                        <a:pt x="52411" y="2667"/>
                        <a:pt x="57342" y="0"/>
                        <a:pt x="62828" y="0"/>
                      </a:cubicBezTo>
                      <a:cubicBezTo>
                        <a:pt x="67180" y="0"/>
                        <a:pt x="71206" y="1636"/>
                        <a:pt x="74251" y="4403"/>
                      </a:cubicBezTo>
                      <a:cubicBezTo>
                        <a:pt x="76691" y="3070"/>
                        <a:pt x="79459" y="2365"/>
                        <a:pt x="82353" y="2365"/>
                      </a:cubicBezTo>
                      <a:cubicBezTo>
                        <a:pt x="89876" y="2365"/>
                        <a:pt x="96267" y="7272"/>
                        <a:pt x="98531" y="14040"/>
                      </a:cubicBezTo>
                      <a:cubicBezTo>
                        <a:pt x="107916" y="14065"/>
                        <a:pt x="115540" y="21689"/>
                        <a:pt x="115540" y="31074"/>
                      </a:cubicBezTo>
                      <a:cubicBezTo>
                        <a:pt x="115540" y="31829"/>
                        <a:pt x="115490" y="32584"/>
                        <a:pt x="115389" y="33314"/>
                      </a:cubicBezTo>
                      <a:cubicBezTo>
                        <a:pt x="121378" y="35955"/>
                        <a:pt x="125554" y="41944"/>
                        <a:pt x="125554" y="48888"/>
                      </a:cubicBezTo>
                      <a:cubicBezTo>
                        <a:pt x="125554" y="51606"/>
                        <a:pt x="124900" y="54223"/>
                        <a:pt x="123718" y="56537"/>
                      </a:cubicBezTo>
                      <a:cubicBezTo>
                        <a:pt x="127039" y="59657"/>
                        <a:pt x="129127" y="64086"/>
                        <a:pt x="129127" y="68942"/>
                      </a:cubicBezTo>
                      <a:cubicBezTo>
                        <a:pt x="129127" y="74880"/>
                        <a:pt x="126083" y="80088"/>
                        <a:pt x="121478" y="83133"/>
                      </a:cubicBezTo>
                      <a:cubicBezTo>
                        <a:pt x="121956" y="84718"/>
                        <a:pt x="122208" y="86379"/>
                        <a:pt x="122208" y="88089"/>
                      </a:cubicBezTo>
                      <a:cubicBezTo>
                        <a:pt x="122208" y="96166"/>
                        <a:pt x="116572" y="102935"/>
                        <a:pt x="109024" y="104671"/>
                      </a:cubicBezTo>
                      <a:cubicBezTo>
                        <a:pt x="108520" y="113603"/>
                        <a:pt x="101073" y="120724"/>
                        <a:pt x="92015" y="120724"/>
                      </a:cubicBezTo>
                      <a:cubicBezTo>
                        <a:pt x="90832" y="120724"/>
                        <a:pt x="89675" y="120598"/>
                        <a:pt x="88542" y="120371"/>
                      </a:cubicBezTo>
                      <a:cubicBezTo>
                        <a:pt x="85674" y="125781"/>
                        <a:pt x="80013" y="129455"/>
                        <a:pt x="73496" y="129455"/>
                      </a:cubicBezTo>
                      <a:close/>
                      <a:moveTo>
                        <a:pt x="63331" y="108546"/>
                      </a:moveTo>
                      <a:cubicBezTo>
                        <a:pt x="63507" y="108546"/>
                        <a:pt x="63683" y="108546"/>
                        <a:pt x="63834" y="108571"/>
                      </a:cubicBezTo>
                      <a:cubicBezTo>
                        <a:pt x="66602" y="108797"/>
                        <a:pt x="68917" y="110735"/>
                        <a:pt x="69621" y="113427"/>
                      </a:cubicBezTo>
                      <a:cubicBezTo>
                        <a:pt x="70074" y="115213"/>
                        <a:pt x="71684" y="116446"/>
                        <a:pt x="73496" y="116446"/>
                      </a:cubicBezTo>
                      <a:cubicBezTo>
                        <a:pt x="75710" y="116446"/>
                        <a:pt x="77522" y="114635"/>
                        <a:pt x="77522" y="112420"/>
                      </a:cubicBezTo>
                      <a:cubicBezTo>
                        <a:pt x="77522" y="112119"/>
                        <a:pt x="77471" y="111842"/>
                        <a:pt x="77421" y="111540"/>
                      </a:cubicBezTo>
                      <a:cubicBezTo>
                        <a:pt x="76893" y="108621"/>
                        <a:pt x="78402" y="105702"/>
                        <a:pt x="81095" y="104469"/>
                      </a:cubicBezTo>
                      <a:cubicBezTo>
                        <a:pt x="83787" y="103211"/>
                        <a:pt x="87007" y="103966"/>
                        <a:pt x="88869" y="106281"/>
                      </a:cubicBezTo>
                      <a:cubicBezTo>
                        <a:pt x="89624" y="107237"/>
                        <a:pt x="90756" y="107766"/>
                        <a:pt x="91989" y="107766"/>
                      </a:cubicBezTo>
                      <a:cubicBezTo>
                        <a:pt x="94204" y="107766"/>
                        <a:pt x="96015" y="105954"/>
                        <a:pt x="96015" y="103740"/>
                      </a:cubicBezTo>
                      <a:cubicBezTo>
                        <a:pt x="96015" y="102909"/>
                        <a:pt x="95764" y="102130"/>
                        <a:pt x="95260" y="101425"/>
                      </a:cubicBezTo>
                      <a:cubicBezTo>
                        <a:pt x="94027" y="99714"/>
                        <a:pt x="93700" y="97500"/>
                        <a:pt x="94405" y="95487"/>
                      </a:cubicBezTo>
                      <a:cubicBezTo>
                        <a:pt x="95109" y="93474"/>
                        <a:pt x="96720" y="91939"/>
                        <a:pt x="98758" y="91361"/>
                      </a:cubicBezTo>
                      <a:cubicBezTo>
                        <a:pt x="100293" y="90933"/>
                        <a:pt x="101953" y="91059"/>
                        <a:pt x="103413" y="91763"/>
                      </a:cubicBezTo>
                      <a:cubicBezTo>
                        <a:pt x="105979" y="93021"/>
                        <a:pt x="109174" y="90958"/>
                        <a:pt x="109174" y="88140"/>
                      </a:cubicBezTo>
                      <a:cubicBezTo>
                        <a:pt x="109174" y="86806"/>
                        <a:pt x="108520" y="85573"/>
                        <a:pt x="107438" y="84819"/>
                      </a:cubicBezTo>
                      <a:cubicBezTo>
                        <a:pt x="104998" y="83133"/>
                        <a:pt x="103991" y="80013"/>
                        <a:pt x="104998" y="77220"/>
                      </a:cubicBezTo>
                      <a:cubicBezTo>
                        <a:pt x="106029" y="74427"/>
                        <a:pt x="108797" y="72716"/>
                        <a:pt x="111766" y="72968"/>
                      </a:cubicBezTo>
                      <a:cubicBezTo>
                        <a:pt x="111766" y="72968"/>
                        <a:pt x="111791" y="72968"/>
                        <a:pt x="111791" y="72968"/>
                      </a:cubicBezTo>
                      <a:cubicBezTo>
                        <a:pt x="114307" y="72968"/>
                        <a:pt x="116094" y="71181"/>
                        <a:pt x="116094" y="68967"/>
                      </a:cubicBezTo>
                      <a:cubicBezTo>
                        <a:pt x="116094" y="66879"/>
                        <a:pt x="114484" y="65117"/>
                        <a:pt x="112395" y="64966"/>
                      </a:cubicBezTo>
                      <a:cubicBezTo>
                        <a:pt x="108998" y="64690"/>
                        <a:pt x="106407" y="61872"/>
                        <a:pt x="106407" y="58475"/>
                      </a:cubicBezTo>
                      <a:cubicBezTo>
                        <a:pt x="106407" y="55934"/>
                        <a:pt x="107891" y="53619"/>
                        <a:pt x="110181" y="52537"/>
                      </a:cubicBezTo>
                      <a:cubicBezTo>
                        <a:pt x="111615" y="51883"/>
                        <a:pt x="112521" y="50474"/>
                        <a:pt x="112521" y="48888"/>
                      </a:cubicBezTo>
                      <a:cubicBezTo>
                        <a:pt x="112521" y="46674"/>
                        <a:pt x="110709" y="44863"/>
                        <a:pt x="108495" y="44863"/>
                      </a:cubicBezTo>
                      <a:cubicBezTo>
                        <a:pt x="108168" y="44863"/>
                        <a:pt x="107816" y="44913"/>
                        <a:pt x="107388" y="45013"/>
                      </a:cubicBezTo>
                      <a:cubicBezTo>
                        <a:pt x="104570" y="45743"/>
                        <a:pt x="101651" y="44485"/>
                        <a:pt x="100192" y="42019"/>
                      </a:cubicBezTo>
                      <a:cubicBezTo>
                        <a:pt x="100091" y="41868"/>
                        <a:pt x="100016" y="41692"/>
                        <a:pt x="99940" y="41566"/>
                      </a:cubicBezTo>
                      <a:cubicBezTo>
                        <a:pt x="98657" y="39025"/>
                        <a:pt x="99211" y="35930"/>
                        <a:pt x="101249" y="33968"/>
                      </a:cubicBezTo>
                      <a:cubicBezTo>
                        <a:pt x="101727" y="33515"/>
                        <a:pt x="102532" y="32534"/>
                        <a:pt x="102532" y="31074"/>
                      </a:cubicBezTo>
                      <a:cubicBezTo>
                        <a:pt x="102532" y="28004"/>
                        <a:pt x="98682" y="26017"/>
                        <a:pt x="96191" y="27778"/>
                      </a:cubicBezTo>
                      <a:cubicBezTo>
                        <a:pt x="93927" y="29388"/>
                        <a:pt x="90882" y="29363"/>
                        <a:pt x="88618" y="27728"/>
                      </a:cubicBezTo>
                      <a:cubicBezTo>
                        <a:pt x="86378" y="26092"/>
                        <a:pt x="85397" y="23224"/>
                        <a:pt x="86227" y="20557"/>
                      </a:cubicBezTo>
                      <a:cubicBezTo>
                        <a:pt x="86353" y="20179"/>
                        <a:pt x="86404" y="19802"/>
                        <a:pt x="86404" y="19374"/>
                      </a:cubicBezTo>
                      <a:cubicBezTo>
                        <a:pt x="86404" y="17160"/>
                        <a:pt x="84592" y="15349"/>
                        <a:pt x="82378" y="15349"/>
                      </a:cubicBezTo>
                      <a:cubicBezTo>
                        <a:pt x="80868" y="15349"/>
                        <a:pt x="79509" y="16179"/>
                        <a:pt x="78805" y="17512"/>
                      </a:cubicBezTo>
                      <a:cubicBezTo>
                        <a:pt x="77547" y="19903"/>
                        <a:pt x="74905" y="21312"/>
                        <a:pt x="72263" y="20934"/>
                      </a:cubicBezTo>
                      <a:cubicBezTo>
                        <a:pt x="69596" y="20607"/>
                        <a:pt x="67382" y="18670"/>
                        <a:pt x="66728" y="16053"/>
                      </a:cubicBezTo>
                      <a:cubicBezTo>
                        <a:pt x="66275" y="14267"/>
                        <a:pt x="64689" y="13008"/>
                        <a:pt x="62828" y="13008"/>
                      </a:cubicBezTo>
                      <a:cubicBezTo>
                        <a:pt x="60613" y="13008"/>
                        <a:pt x="58852" y="14745"/>
                        <a:pt x="58827" y="16959"/>
                      </a:cubicBezTo>
                      <a:cubicBezTo>
                        <a:pt x="58777" y="19777"/>
                        <a:pt x="56915" y="22243"/>
                        <a:pt x="54222" y="23048"/>
                      </a:cubicBezTo>
                      <a:cubicBezTo>
                        <a:pt x="51530" y="23878"/>
                        <a:pt x="48611" y="22847"/>
                        <a:pt x="47001" y="20557"/>
                      </a:cubicBezTo>
                      <a:cubicBezTo>
                        <a:pt x="46246" y="19450"/>
                        <a:pt x="44988" y="18796"/>
                        <a:pt x="43680" y="18796"/>
                      </a:cubicBezTo>
                      <a:cubicBezTo>
                        <a:pt x="41466" y="18796"/>
                        <a:pt x="39654" y="20607"/>
                        <a:pt x="39654" y="22821"/>
                      </a:cubicBezTo>
                      <a:cubicBezTo>
                        <a:pt x="40082" y="25338"/>
                        <a:pt x="39050" y="28156"/>
                        <a:pt x="36937" y="29590"/>
                      </a:cubicBezTo>
                      <a:cubicBezTo>
                        <a:pt x="34823" y="31024"/>
                        <a:pt x="32106" y="31401"/>
                        <a:pt x="29942" y="30068"/>
                      </a:cubicBezTo>
                      <a:cubicBezTo>
                        <a:pt x="27350" y="28508"/>
                        <a:pt x="23828" y="30546"/>
                        <a:pt x="23853" y="33515"/>
                      </a:cubicBezTo>
                      <a:cubicBezTo>
                        <a:pt x="23853" y="34723"/>
                        <a:pt x="24356" y="35603"/>
                        <a:pt x="24809" y="36132"/>
                      </a:cubicBezTo>
                      <a:cubicBezTo>
                        <a:pt x="26545" y="38220"/>
                        <a:pt x="26797" y="41139"/>
                        <a:pt x="25463" y="43504"/>
                      </a:cubicBezTo>
                      <a:cubicBezTo>
                        <a:pt x="24130" y="45844"/>
                        <a:pt x="21463" y="47152"/>
                        <a:pt x="18821" y="46725"/>
                      </a:cubicBezTo>
                      <a:cubicBezTo>
                        <a:pt x="16053" y="46901"/>
                        <a:pt x="14266" y="48486"/>
                        <a:pt x="14266" y="50700"/>
                      </a:cubicBezTo>
                      <a:cubicBezTo>
                        <a:pt x="14266" y="52235"/>
                        <a:pt x="15172" y="53669"/>
                        <a:pt x="16581" y="54323"/>
                      </a:cubicBezTo>
                      <a:cubicBezTo>
                        <a:pt x="18997" y="55455"/>
                        <a:pt x="20456" y="57946"/>
                        <a:pt x="20305" y="60614"/>
                      </a:cubicBezTo>
                      <a:cubicBezTo>
                        <a:pt x="20154" y="63281"/>
                        <a:pt x="18368" y="65545"/>
                        <a:pt x="15852" y="66375"/>
                      </a:cubicBezTo>
                      <a:cubicBezTo>
                        <a:pt x="14191" y="66929"/>
                        <a:pt x="13084" y="68464"/>
                        <a:pt x="13084" y="70200"/>
                      </a:cubicBezTo>
                      <a:cubicBezTo>
                        <a:pt x="13084" y="72263"/>
                        <a:pt x="14694" y="74024"/>
                        <a:pt x="16757" y="74201"/>
                      </a:cubicBezTo>
                      <a:cubicBezTo>
                        <a:pt x="19475" y="74427"/>
                        <a:pt x="21764" y="76339"/>
                        <a:pt x="22469" y="78956"/>
                      </a:cubicBezTo>
                      <a:cubicBezTo>
                        <a:pt x="23199" y="81573"/>
                        <a:pt x="22192" y="84391"/>
                        <a:pt x="19978" y="85951"/>
                      </a:cubicBezTo>
                      <a:cubicBezTo>
                        <a:pt x="18921" y="86706"/>
                        <a:pt x="18292" y="87939"/>
                        <a:pt x="18292" y="89222"/>
                      </a:cubicBezTo>
                      <a:cubicBezTo>
                        <a:pt x="18292" y="91814"/>
                        <a:pt x="20683" y="93851"/>
                        <a:pt x="23450" y="93072"/>
                      </a:cubicBezTo>
                      <a:cubicBezTo>
                        <a:pt x="25815" y="92342"/>
                        <a:pt x="28407" y="93096"/>
                        <a:pt x="30093" y="94959"/>
                      </a:cubicBezTo>
                      <a:cubicBezTo>
                        <a:pt x="31753" y="96795"/>
                        <a:pt x="32232" y="99437"/>
                        <a:pt x="31301" y="101752"/>
                      </a:cubicBezTo>
                      <a:cubicBezTo>
                        <a:pt x="31099" y="102255"/>
                        <a:pt x="30999" y="102759"/>
                        <a:pt x="30999" y="103262"/>
                      </a:cubicBezTo>
                      <a:cubicBezTo>
                        <a:pt x="30999" y="105476"/>
                        <a:pt x="32810" y="107287"/>
                        <a:pt x="35024" y="107287"/>
                      </a:cubicBezTo>
                      <a:cubicBezTo>
                        <a:pt x="36257" y="107287"/>
                        <a:pt x="37415" y="106734"/>
                        <a:pt x="38170" y="105753"/>
                      </a:cubicBezTo>
                      <a:cubicBezTo>
                        <a:pt x="39956" y="103488"/>
                        <a:pt x="43001" y="102708"/>
                        <a:pt x="45668" y="103740"/>
                      </a:cubicBezTo>
                      <a:cubicBezTo>
                        <a:pt x="48335" y="104797"/>
                        <a:pt x="49995" y="107489"/>
                        <a:pt x="49744" y="110357"/>
                      </a:cubicBezTo>
                      <a:cubicBezTo>
                        <a:pt x="49719" y="113049"/>
                        <a:pt x="51530" y="114861"/>
                        <a:pt x="53744" y="114861"/>
                      </a:cubicBezTo>
                      <a:cubicBezTo>
                        <a:pt x="55329" y="114861"/>
                        <a:pt x="56789" y="113905"/>
                        <a:pt x="57418" y="112446"/>
                      </a:cubicBezTo>
                      <a:cubicBezTo>
                        <a:pt x="58399" y="110080"/>
                        <a:pt x="60764" y="108546"/>
                        <a:pt x="63331" y="108546"/>
                      </a:cubicBezTo>
                      <a:close/>
                      <a:moveTo>
                        <a:pt x="105727" y="38673"/>
                      </a:moveTo>
                      <a:lnTo>
                        <a:pt x="105803" y="38673"/>
                      </a:lnTo>
                      <a:lnTo>
                        <a:pt x="105727" y="38673"/>
                      </a:lnTo>
                      <a:close/>
                    </a:path>
                  </a:pathLst>
                </a:custGeom>
                <a:solidFill>
                  <a:schemeClr val="accent1"/>
                </a:solidFill>
                <a:ln w="2515" cap="flat">
                  <a:noFill/>
                  <a:prstDash val="solid"/>
                  <a:miter/>
                </a:ln>
              </p:spPr>
              <p:txBody>
                <a:bodyPr rtlCol="0" anchor="ctr"/>
                <a:lstStyle/>
                <a:p>
                  <a:endParaRPr lang="en-GB" dirty="0"/>
                </a:p>
              </p:txBody>
            </p:sp>
            <p:sp>
              <p:nvSpPr>
                <p:cNvPr id="324" name="Freihandform: Form 979">
                  <a:extLst>
                    <a:ext uri="{FF2B5EF4-FFF2-40B4-BE49-F238E27FC236}">
                      <a16:creationId xmlns:a16="http://schemas.microsoft.com/office/drawing/2014/main" id="{901CF4D9-9E3A-4B50-9009-2D2A7FF239C9}"/>
                    </a:ext>
                  </a:extLst>
                </p:cNvPr>
                <p:cNvSpPr/>
                <p:nvPr/>
              </p:nvSpPr>
              <p:spPr>
                <a:xfrm>
                  <a:off x="6287997" y="4394717"/>
                  <a:ext cx="72112" cy="72112"/>
                </a:xfrm>
                <a:custGeom>
                  <a:avLst/>
                  <a:gdLst>
                    <a:gd name="connsiteX0" fmla="*/ 36056 w 72112"/>
                    <a:gd name="connsiteY0" fmla="*/ 72112 h 72112"/>
                    <a:gd name="connsiteX1" fmla="*/ 0 w 72112"/>
                    <a:gd name="connsiteY1" fmla="*/ 36056 h 72112"/>
                    <a:gd name="connsiteX2" fmla="*/ 36056 w 72112"/>
                    <a:gd name="connsiteY2" fmla="*/ 0 h 72112"/>
                    <a:gd name="connsiteX3" fmla="*/ 72112 w 72112"/>
                    <a:gd name="connsiteY3" fmla="*/ 36056 h 72112"/>
                    <a:gd name="connsiteX4" fmla="*/ 36056 w 72112"/>
                    <a:gd name="connsiteY4" fmla="*/ 72112 h 72112"/>
                    <a:gd name="connsiteX5" fmla="*/ 36056 w 72112"/>
                    <a:gd name="connsiteY5" fmla="*/ 13008 h 72112"/>
                    <a:gd name="connsiteX6" fmla="*/ 13008 w 72112"/>
                    <a:gd name="connsiteY6" fmla="*/ 36056 h 72112"/>
                    <a:gd name="connsiteX7" fmla="*/ 36056 w 72112"/>
                    <a:gd name="connsiteY7" fmla="*/ 59104 h 72112"/>
                    <a:gd name="connsiteX8" fmla="*/ 59104 w 72112"/>
                    <a:gd name="connsiteY8" fmla="*/ 36056 h 72112"/>
                    <a:gd name="connsiteX9" fmla="*/ 36056 w 72112"/>
                    <a:gd name="connsiteY9" fmla="*/ 13008 h 72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12" h="72112">
                      <a:moveTo>
                        <a:pt x="36056" y="72112"/>
                      </a:moveTo>
                      <a:cubicBezTo>
                        <a:pt x="16179" y="72112"/>
                        <a:pt x="0" y="55933"/>
                        <a:pt x="0" y="36056"/>
                      </a:cubicBezTo>
                      <a:cubicBezTo>
                        <a:pt x="0" y="16179"/>
                        <a:pt x="16179" y="0"/>
                        <a:pt x="36056" y="0"/>
                      </a:cubicBezTo>
                      <a:cubicBezTo>
                        <a:pt x="55933" y="0"/>
                        <a:pt x="72112" y="16179"/>
                        <a:pt x="72112" y="36056"/>
                      </a:cubicBezTo>
                      <a:cubicBezTo>
                        <a:pt x="72087" y="55933"/>
                        <a:pt x="55933" y="72112"/>
                        <a:pt x="36056" y="72112"/>
                      </a:cubicBezTo>
                      <a:close/>
                      <a:moveTo>
                        <a:pt x="36056" y="13008"/>
                      </a:moveTo>
                      <a:cubicBezTo>
                        <a:pt x="23350" y="13008"/>
                        <a:pt x="13008" y="23350"/>
                        <a:pt x="13008" y="36056"/>
                      </a:cubicBezTo>
                      <a:cubicBezTo>
                        <a:pt x="13008" y="48762"/>
                        <a:pt x="23350" y="59104"/>
                        <a:pt x="36056" y="59104"/>
                      </a:cubicBezTo>
                      <a:cubicBezTo>
                        <a:pt x="48762" y="59104"/>
                        <a:pt x="59104" y="48762"/>
                        <a:pt x="59104" y="36056"/>
                      </a:cubicBezTo>
                      <a:cubicBezTo>
                        <a:pt x="59079" y="23350"/>
                        <a:pt x="48737" y="13008"/>
                        <a:pt x="36056" y="13008"/>
                      </a:cubicBezTo>
                      <a:close/>
                    </a:path>
                  </a:pathLst>
                </a:custGeom>
                <a:solidFill>
                  <a:schemeClr val="accent1"/>
                </a:solidFill>
                <a:ln w="2515" cap="flat">
                  <a:noFill/>
                  <a:prstDash val="solid"/>
                  <a:miter/>
                </a:ln>
              </p:spPr>
              <p:txBody>
                <a:bodyPr rtlCol="0" anchor="ctr"/>
                <a:lstStyle/>
                <a:p>
                  <a:endParaRPr lang="en-GB" dirty="0"/>
                </a:p>
              </p:txBody>
            </p:sp>
          </p:grpSp>
          <p:sp>
            <p:nvSpPr>
              <p:cNvPr id="322" name="Freihandform: Form 980">
                <a:extLst>
                  <a:ext uri="{FF2B5EF4-FFF2-40B4-BE49-F238E27FC236}">
                    <a16:creationId xmlns:a16="http://schemas.microsoft.com/office/drawing/2014/main" id="{3048001A-63FA-4200-85DA-34DE64E9B5BC}"/>
                  </a:ext>
                </a:extLst>
              </p:cNvPr>
              <p:cNvSpPr/>
              <p:nvPr/>
            </p:nvSpPr>
            <p:spPr>
              <a:xfrm>
                <a:off x="6294715" y="4473573"/>
                <a:ext cx="62424" cy="66400"/>
              </a:xfrm>
              <a:custGeom>
                <a:avLst/>
                <a:gdLst>
                  <a:gd name="connsiteX0" fmla="*/ 55984 w 62424"/>
                  <a:gd name="connsiteY0" fmla="*/ 66400 h 66400"/>
                  <a:gd name="connsiteX1" fmla="*/ 51933 w 62424"/>
                  <a:gd name="connsiteY1" fmla="*/ 64966 h 66400"/>
                  <a:gd name="connsiteX2" fmla="*/ 31250 w 62424"/>
                  <a:gd name="connsiteY2" fmla="*/ 48410 h 66400"/>
                  <a:gd name="connsiteX3" fmla="*/ 10568 w 62424"/>
                  <a:gd name="connsiteY3" fmla="*/ 64966 h 66400"/>
                  <a:gd name="connsiteX4" fmla="*/ 3699 w 62424"/>
                  <a:gd name="connsiteY4" fmla="*/ 65746 h 66400"/>
                  <a:gd name="connsiteX5" fmla="*/ 0 w 62424"/>
                  <a:gd name="connsiteY5" fmla="*/ 59884 h 66400"/>
                  <a:gd name="connsiteX6" fmla="*/ 0 w 62424"/>
                  <a:gd name="connsiteY6" fmla="*/ 6491 h 66400"/>
                  <a:gd name="connsiteX7" fmla="*/ 6492 w 62424"/>
                  <a:gd name="connsiteY7" fmla="*/ 0 h 66400"/>
                  <a:gd name="connsiteX8" fmla="*/ 12983 w 62424"/>
                  <a:gd name="connsiteY8" fmla="*/ 6491 h 66400"/>
                  <a:gd name="connsiteX9" fmla="*/ 12983 w 62424"/>
                  <a:gd name="connsiteY9" fmla="*/ 46372 h 66400"/>
                  <a:gd name="connsiteX10" fmla="*/ 27149 w 62424"/>
                  <a:gd name="connsiteY10" fmla="*/ 35024 h 66400"/>
                  <a:gd name="connsiteX11" fmla="*/ 35276 w 62424"/>
                  <a:gd name="connsiteY11" fmla="*/ 35024 h 66400"/>
                  <a:gd name="connsiteX12" fmla="*/ 49442 w 62424"/>
                  <a:gd name="connsiteY12" fmla="*/ 46372 h 66400"/>
                  <a:gd name="connsiteX13" fmla="*/ 49442 w 62424"/>
                  <a:gd name="connsiteY13" fmla="*/ 6491 h 66400"/>
                  <a:gd name="connsiteX14" fmla="*/ 55933 w 62424"/>
                  <a:gd name="connsiteY14" fmla="*/ 0 h 66400"/>
                  <a:gd name="connsiteX15" fmla="*/ 62425 w 62424"/>
                  <a:gd name="connsiteY15" fmla="*/ 6491 h 66400"/>
                  <a:gd name="connsiteX16" fmla="*/ 62425 w 62424"/>
                  <a:gd name="connsiteY16" fmla="*/ 59884 h 66400"/>
                  <a:gd name="connsiteX17" fmla="*/ 58726 w 62424"/>
                  <a:gd name="connsiteY17" fmla="*/ 65746 h 66400"/>
                  <a:gd name="connsiteX18" fmla="*/ 55984 w 62424"/>
                  <a:gd name="connsiteY18" fmla="*/ 66400 h 66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424" h="66400">
                    <a:moveTo>
                      <a:pt x="55984" y="66400"/>
                    </a:moveTo>
                    <a:cubicBezTo>
                      <a:pt x="54524" y="66400"/>
                      <a:pt x="53090" y="65922"/>
                      <a:pt x="51933" y="64966"/>
                    </a:cubicBezTo>
                    <a:lnTo>
                      <a:pt x="31250" y="48410"/>
                    </a:lnTo>
                    <a:lnTo>
                      <a:pt x="10568" y="64966"/>
                    </a:lnTo>
                    <a:cubicBezTo>
                      <a:pt x="8630" y="66526"/>
                      <a:pt x="5938" y="66828"/>
                      <a:pt x="3699" y="65746"/>
                    </a:cubicBezTo>
                    <a:cubicBezTo>
                      <a:pt x="1434" y="64664"/>
                      <a:pt x="0" y="62374"/>
                      <a:pt x="0" y="59884"/>
                    </a:cubicBezTo>
                    <a:lnTo>
                      <a:pt x="0" y="6491"/>
                    </a:lnTo>
                    <a:cubicBezTo>
                      <a:pt x="0" y="2893"/>
                      <a:pt x="2919" y="0"/>
                      <a:pt x="6492" y="0"/>
                    </a:cubicBezTo>
                    <a:cubicBezTo>
                      <a:pt x="10090" y="0"/>
                      <a:pt x="12983" y="2918"/>
                      <a:pt x="12983" y="6491"/>
                    </a:cubicBezTo>
                    <a:lnTo>
                      <a:pt x="12983" y="46372"/>
                    </a:lnTo>
                    <a:lnTo>
                      <a:pt x="27149" y="35024"/>
                    </a:lnTo>
                    <a:cubicBezTo>
                      <a:pt x="29514" y="33137"/>
                      <a:pt x="32886" y="33137"/>
                      <a:pt x="35276" y="35024"/>
                    </a:cubicBezTo>
                    <a:lnTo>
                      <a:pt x="49442" y="46372"/>
                    </a:lnTo>
                    <a:lnTo>
                      <a:pt x="49442" y="6491"/>
                    </a:lnTo>
                    <a:cubicBezTo>
                      <a:pt x="49442" y="2893"/>
                      <a:pt x="52360" y="0"/>
                      <a:pt x="55933" y="0"/>
                    </a:cubicBezTo>
                    <a:cubicBezTo>
                      <a:pt x="59531" y="0"/>
                      <a:pt x="62425" y="2918"/>
                      <a:pt x="62425" y="6491"/>
                    </a:cubicBezTo>
                    <a:lnTo>
                      <a:pt x="62425" y="59884"/>
                    </a:lnTo>
                    <a:cubicBezTo>
                      <a:pt x="62425" y="62374"/>
                      <a:pt x="60991" y="64664"/>
                      <a:pt x="58726" y="65746"/>
                    </a:cubicBezTo>
                    <a:cubicBezTo>
                      <a:pt x="57921" y="66199"/>
                      <a:pt x="56940" y="66400"/>
                      <a:pt x="55984" y="66400"/>
                    </a:cubicBezTo>
                    <a:close/>
                  </a:path>
                </a:pathLst>
              </a:custGeom>
              <a:solidFill>
                <a:schemeClr val="accent1"/>
              </a:solidFill>
              <a:ln w="2515" cap="flat">
                <a:noFill/>
                <a:prstDash val="solid"/>
                <a:miter/>
              </a:ln>
            </p:spPr>
            <p:txBody>
              <a:bodyPr rtlCol="0" anchor="ctr"/>
              <a:lstStyle/>
              <a:p>
                <a:endParaRPr lang="en-GB" dirty="0"/>
              </a:p>
            </p:txBody>
          </p:sp>
        </p:grpSp>
      </p:grpSp>
      <p:grpSp>
        <p:nvGrpSpPr>
          <p:cNvPr id="476" name="Group 475">
            <a:extLst>
              <a:ext uri="{FF2B5EF4-FFF2-40B4-BE49-F238E27FC236}">
                <a16:creationId xmlns:a16="http://schemas.microsoft.com/office/drawing/2014/main" id="{28686F0F-B070-C74A-DB86-D63804B0FB20}"/>
              </a:ext>
            </a:extLst>
          </p:cNvPr>
          <p:cNvGrpSpPr/>
          <p:nvPr/>
        </p:nvGrpSpPr>
        <p:grpSpPr>
          <a:xfrm>
            <a:off x="534393" y="4002611"/>
            <a:ext cx="519315" cy="432000"/>
            <a:chOff x="534393" y="4002611"/>
            <a:chExt cx="519315" cy="432000"/>
          </a:xfrm>
        </p:grpSpPr>
        <p:grpSp>
          <p:nvGrpSpPr>
            <p:cNvPr id="335" name="Grafik 21">
              <a:extLst>
                <a:ext uri="{FF2B5EF4-FFF2-40B4-BE49-F238E27FC236}">
                  <a16:creationId xmlns:a16="http://schemas.microsoft.com/office/drawing/2014/main" id="{F3E125A0-4A2F-479F-9086-EA7EC363FAC1}"/>
                </a:ext>
              </a:extLst>
            </p:cNvPr>
            <p:cNvGrpSpPr/>
            <p:nvPr/>
          </p:nvGrpSpPr>
          <p:grpSpPr>
            <a:xfrm>
              <a:off x="826428" y="4002611"/>
              <a:ext cx="199853" cy="205708"/>
              <a:chOff x="7175778" y="4130801"/>
              <a:chExt cx="189572" cy="195125"/>
            </a:xfrm>
            <a:solidFill>
              <a:schemeClr val="accent1"/>
            </a:solidFill>
          </p:grpSpPr>
          <p:sp>
            <p:nvSpPr>
              <p:cNvPr id="346" name="Freihandform: Form 1008">
                <a:extLst>
                  <a:ext uri="{FF2B5EF4-FFF2-40B4-BE49-F238E27FC236}">
                    <a16:creationId xmlns:a16="http://schemas.microsoft.com/office/drawing/2014/main" id="{C8D85760-C51C-4BA2-9EC0-7F67920D5CFA}"/>
                  </a:ext>
                </a:extLst>
              </p:cNvPr>
              <p:cNvSpPr/>
              <p:nvPr/>
            </p:nvSpPr>
            <p:spPr>
              <a:xfrm>
                <a:off x="7175778" y="4130801"/>
                <a:ext cx="189572" cy="195125"/>
              </a:xfrm>
              <a:custGeom>
                <a:avLst/>
                <a:gdLst>
                  <a:gd name="connsiteX0" fmla="*/ 92022 w 189572"/>
                  <a:gd name="connsiteY0" fmla="*/ 195125 h 195125"/>
                  <a:gd name="connsiteX1" fmla="*/ 83014 w 189572"/>
                  <a:gd name="connsiteY1" fmla="*/ 194723 h 195125"/>
                  <a:gd name="connsiteX2" fmla="*/ 77127 w 189572"/>
                  <a:gd name="connsiteY2" fmla="*/ 187652 h 195125"/>
                  <a:gd name="connsiteX3" fmla="*/ 84197 w 189572"/>
                  <a:gd name="connsiteY3" fmla="*/ 181764 h 195125"/>
                  <a:gd name="connsiteX4" fmla="*/ 92022 w 189572"/>
                  <a:gd name="connsiteY4" fmla="*/ 182117 h 195125"/>
                  <a:gd name="connsiteX5" fmla="*/ 176564 w 189572"/>
                  <a:gd name="connsiteY5" fmla="*/ 97575 h 195125"/>
                  <a:gd name="connsiteX6" fmla="*/ 92022 w 189572"/>
                  <a:gd name="connsiteY6" fmla="*/ 13033 h 195125"/>
                  <a:gd name="connsiteX7" fmla="*/ 12613 w 189572"/>
                  <a:gd name="connsiteY7" fmla="*/ 68464 h 195125"/>
                  <a:gd name="connsiteX8" fmla="*/ 4260 w 189572"/>
                  <a:gd name="connsiteY8" fmla="*/ 72313 h 195125"/>
                  <a:gd name="connsiteX9" fmla="*/ 410 w 189572"/>
                  <a:gd name="connsiteY9" fmla="*/ 63960 h 195125"/>
                  <a:gd name="connsiteX10" fmla="*/ 92022 w 189572"/>
                  <a:gd name="connsiteY10" fmla="*/ 0 h 195125"/>
                  <a:gd name="connsiteX11" fmla="*/ 189572 w 189572"/>
                  <a:gd name="connsiteY11" fmla="*/ 97550 h 195125"/>
                  <a:gd name="connsiteX12" fmla="*/ 92022 w 189572"/>
                  <a:gd name="connsiteY12" fmla="*/ 195125 h 19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9572" h="195125">
                    <a:moveTo>
                      <a:pt x="92022" y="195125"/>
                    </a:moveTo>
                    <a:cubicBezTo>
                      <a:pt x="88978" y="195125"/>
                      <a:pt x="85983" y="194999"/>
                      <a:pt x="83014" y="194723"/>
                    </a:cubicBezTo>
                    <a:cubicBezTo>
                      <a:pt x="79441" y="194395"/>
                      <a:pt x="76799" y="191225"/>
                      <a:pt x="77127" y="187652"/>
                    </a:cubicBezTo>
                    <a:cubicBezTo>
                      <a:pt x="77454" y="184079"/>
                      <a:pt x="80624" y="181488"/>
                      <a:pt x="84197" y="181764"/>
                    </a:cubicBezTo>
                    <a:cubicBezTo>
                      <a:pt x="86763" y="181991"/>
                      <a:pt x="89380" y="182117"/>
                      <a:pt x="92022" y="182117"/>
                    </a:cubicBezTo>
                    <a:cubicBezTo>
                      <a:pt x="138646" y="182117"/>
                      <a:pt x="176564" y="144174"/>
                      <a:pt x="176564" y="97575"/>
                    </a:cubicBezTo>
                    <a:cubicBezTo>
                      <a:pt x="176564" y="50951"/>
                      <a:pt x="138621" y="13033"/>
                      <a:pt x="92022" y="13033"/>
                    </a:cubicBezTo>
                    <a:cubicBezTo>
                      <a:pt x="56696" y="13033"/>
                      <a:pt x="24766" y="35301"/>
                      <a:pt x="12613" y="68464"/>
                    </a:cubicBezTo>
                    <a:cubicBezTo>
                      <a:pt x="11380" y="71835"/>
                      <a:pt x="7656" y="73571"/>
                      <a:pt x="4260" y="72313"/>
                    </a:cubicBezTo>
                    <a:cubicBezTo>
                      <a:pt x="888" y="71080"/>
                      <a:pt x="-848" y="67331"/>
                      <a:pt x="410" y="63960"/>
                    </a:cubicBezTo>
                    <a:cubicBezTo>
                      <a:pt x="14450" y="25715"/>
                      <a:pt x="51261" y="0"/>
                      <a:pt x="92022" y="0"/>
                    </a:cubicBezTo>
                    <a:cubicBezTo>
                      <a:pt x="145817" y="0"/>
                      <a:pt x="189572" y="43755"/>
                      <a:pt x="189572" y="97550"/>
                    </a:cubicBezTo>
                    <a:cubicBezTo>
                      <a:pt x="189572" y="151370"/>
                      <a:pt x="145817" y="195125"/>
                      <a:pt x="92022" y="195125"/>
                    </a:cubicBezTo>
                    <a:close/>
                  </a:path>
                </a:pathLst>
              </a:custGeom>
              <a:solidFill>
                <a:schemeClr val="accent1"/>
              </a:solidFill>
              <a:ln w="2515" cap="flat">
                <a:noFill/>
                <a:prstDash val="solid"/>
                <a:miter/>
              </a:ln>
            </p:spPr>
            <p:txBody>
              <a:bodyPr rtlCol="0" anchor="ctr"/>
              <a:lstStyle/>
              <a:p>
                <a:endParaRPr lang="en-GB" dirty="0"/>
              </a:p>
            </p:txBody>
          </p:sp>
          <p:sp>
            <p:nvSpPr>
              <p:cNvPr id="347" name="Freihandform: Form 1009">
                <a:extLst>
                  <a:ext uri="{FF2B5EF4-FFF2-40B4-BE49-F238E27FC236}">
                    <a16:creationId xmlns:a16="http://schemas.microsoft.com/office/drawing/2014/main" id="{7699D522-482B-4D65-B43E-63AA38551F99}"/>
                  </a:ext>
                </a:extLst>
              </p:cNvPr>
              <p:cNvSpPr/>
              <p:nvPr/>
            </p:nvSpPr>
            <p:spPr>
              <a:xfrm>
                <a:off x="7248300" y="4202385"/>
                <a:ext cx="38999" cy="12983"/>
              </a:xfrm>
              <a:custGeom>
                <a:avLst/>
                <a:gdLst>
                  <a:gd name="connsiteX0" fmla="*/ 32508 w 38999"/>
                  <a:gd name="connsiteY0" fmla="*/ 12983 h 12983"/>
                  <a:gd name="connsiteX1" fmla="*/ 6492 w 38999"/>
                  <a:gd name="connsiteY1" fmla="*/ 12983 h 12983"/>
                  <a:gd name="connsiteX2" fmla="*/ 0 w 38999"/>
                  <a:gd name="connsiteY2" fmla="*/ 6491 h 12983"/>
                  <a:gd name="connsiteX3" fmla="*/ 6492 w 38999"/>
                  <a:gd name="connsiteY3" fmla="*/ 0 h 12983"/>
                  <a:gd name="connsiteX4" fmla="*/ 32508 w 38999"/>
                  <a:gd name="connsiteY4" fmla="*/ 0 h 12983"/>
                  <a:gd name="connsiteX5" fmla="*/ 39000 w 38999"/>
                  <a:gd name="connsiteY5" fmla="*/ 6491 h 12983"/>
                  <a:gd name="connsiteX6" fmla="*/ 32508 w 38999"/>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99" h="12983">
                    <a:moveTo>
                      <a:pt x="32508" y="12983"/>
                    </a:moveTo>
                    <a:lnTo>
                      <a:pt x="6492" y="12983"/>
                    </a:lnTo>
                    <a:cubicBezTo>
                      <a:pt x="2894" y="12983"/>
                      <a:pt x="0" y="10064"/>
                      <a:pt x="0" y="6491"/>
                    </a:cubicBezTo>
                    <a:cubicBezTo>
                      <a:pt x="0" y="2919"/>
                      <a:pt x="2919" y="0"/>
                      <a:pt x="6492" y="0"/>
                    </a:cubicBezTo>
                    <a:lnTo>
                      <a:pt x="32508" y="0"/>
                    </a:lnTo>
                    <a:cubicBezTo>
                      <a:pt x="36106" y="0"/>
                      <a:pt x="39000" y="2919"/>
                      <a:pt x="39000" y="6491"/>
                    </a:cubicBezTo>
                    <a:cubicBezTo>
                      <a:pt x="39000" y="10064"/>
                      <a:pt x="36106" y="12983"/>
                      <a:pt x="32508" y="12983"/>
                    </a:cubicBezTo>
                    <a:close/>
                  </a:path>
                </a:pathLst>
              </a:custGeom>
              <a:solidFill>
                <a:schemeClr val="accent1"/>
              </a:solidFill>
              <a:ln w="2515" cap="flat">
                <a:noFill/>
                <a:prstDash val="solid"/>
                <a:miter/>
              </a:ln>
            </p:spPr>
            <p:txBody>
              <a:bodyPr rtlCol="0" anchor="ctr"/>
              <a:lstStyle/>
              <a:p>
                <a:endParaRPr lang="en-GB" dirty="0"/>
              </a:p>
            </p:txBody>
          </p:sp>
          <p:sp>
            <p:nvSpPr>
              <p:cNvPr id="348" name="Freihandform: Form 1010">
                <a:extLst>
                  <a:ext uri="{FF2B5EF4-FFF2-40B4-BE49-F238E27FC236}">
                    <a16:creationId xmlns:a16="http://schemas.microsoft.com/office/drawing/2014/main" id="{799B5E2E-4FD6-4032-A93D-DD5E7CEE2DAB}"/>
                  </a:ext>
                </a:extLst>
              </p:cNvPr>
              <p:cNvSpPr/>
              <p:nvPr/>
            </p:nvSpPr>
            <p:spPr>
              <a:xfrm>
                <a:off x="7248300" y="4260910"/>
                <a:ext cx="38999" cy="12982"/>
              </a:xfrm>
              <a:custGeom>
                <a:avLst/>
                <a:gdLst>
                  <a:gd name="connsiteX0" fmla="*/ 32508 w 38999"/>
                  <a:gd name="connsiteY0" fmla="*/ 12983 h 12982"/>
                  <a:gd name="connsiteX1" fmla="*/ 6492 w 38999"/>
                  <a:gd name="connsiteY1" fmla="*/ 12983 h 12982"/>
                  <a:gd name="connsiteX2" fmla="*/ 0 w 38999"/>
                  <a:gd name="connsiteY2" fmla="*/ 6491 h 12982"/>
                  <a:gd name="connsiteX3" fmla="*/ 6492 w 38999"/>
                  <a:gd name="connsiteY3" fmla="*/ 0 h 12982"/>
                  <a:gd name="connsiteX4" fmla="*/ 32508 w 38999"/>
                  <a:gd name="connsiteY4" fmla="*/ 0 h 12982"/>
                  <a:gd name="connsiteX5" fmla="*/ 39000 w 38999"/>
                  <a:gd name="connsiteY5" fmla="*/ 6491 h 12982"/>
                  <a:gd name="connsiteX6" fmla="*/ 32508 w 38999"/>
                  <a:gd name="connsiteY6" fmla="*/ 12983 h 12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999" h="12982">
                    <a:moveTo>
                      <a:pt x="32508" y="12983"/>
                    </a:moveTo>
                    <a:lnTo>
                      <a:pt x="6492" y="12983"/>
                    </a:lnTo>
                    <a:cubicBezTo>
                      <a:pt x="2894" y="12983"/>
                      <a:pt x="0" y="10064"/>
                      <a:pt x="0" y="6491"/>
                    </a:cubicBezTo>
                    <a:cubicBezTo>
                      <a:pt x="0" y="2918"/>
                      <a:pt x="2919" y="0"/>
                      <a:pt x="6492" y="0"/>
                    </a:cubicBezTo>
                    <a:lnTo>
                      <a:pt x="32508" y="0"/>
                    </a:lnTo>
                    <a:cubicBezTo>
                      <a:pt x="36106" y="0"/>
                      <a:pt x="39000" y="2918"/>
                      <a:pt x="39000" y="6491"/>
                    </a:cubicBezTo>
                    <a:cubicBezTo>
                      <a:pt x="39000" y="10064"/>
                      <a:pt x="36106" y="12983"/>
                      <a:pt x="32508" y="12983"/>
                    </a:cubicBezTo>
                    <a:close/>
                  </a:path>
                </a:pathLst>
              </a:custGeom>
              <a:solidFill>
                <a:schemeClr val="accent1"/>
              </a:solidFill>
              <a:ln w="2515" cap="flat">
                <a:noFill/>
                <a:prstDash val="solid"/>
                <a:miter/>
              </a:ln>
            </p:spPr>
            <p:txBody>
              <a:bodyPr rtlCol="0" anchor="ctr"/>
              <a:lstStyle/>
              <a:p>
                <a:endParaRPr lang="en-GB" dirty="0"/>
              </a:p>
            </p:txBody>
          </p:sp>
          <p:sp>
            <p:nvSpPr>
              <p:cNvPr id="349" name="Freihandform: Form 1011">
                <a:extLst>
                  <a:ext uri="{FF2B5EF4-FFF2-40B4-BE49-F238E27FC236}">
                    <a16:creationId xmlns:a16="http://schemas.microsoft.com/office/drawing/2014/main" id="{11046E6E-D10D-4F8E-ACF4-96F04C120069}"/>
                  </a:ext>
                </a:extLst>
              </p:cNvPr>
              <p:cNvSpPr/>
              <p:nvPr/>
            </p:nvSpPr>
            <p:spPr>
              <a:xfrm>
                <a:off x="7261308" y="4202385"/>
                <a:ext cx="12983" cy="71507"/>
              </a:xfrm>
              <a:custGeom>
                <a:avLst/>
                <a:gdLst>
                  <a:gd name="connsiteX0" fmla="*/ 6491 w 12983"/>
                  <a:gd name="connsiteY0" fmla="*/ 71508 h 71507"/>
                  <a:gd name="connsiteX1" fmla="*/ 0 w 12983"/>
                  <a:gd name="connsiteY1" fmla="*/ 65016 h 71507"/>
                  <a:gd name="connsiteX2" fmla="*/ 0 w 12983"/>
                  <a:gd name="connsiteY2" fmla="*/ 6491 h 71507"/>
                  <a:gd name="connsiteX3" fmla="*/ 6491 w 12983"/>
                  <a:gd name="connsiteY3" fmla="*/ 0 h 71507"/>
                  <a:gd name="connsiteX4" fmla="*/ 12983 w 12983"/>
                  <a:gd name="connsiteY4" fmla="*/ 6491 h 71507"/>
                  <a:gd name="connsiteX5" fmla="*/ 12983 w 12983"/>
                  <a:gd name="connsiteY5" fmla="*/ 65016 h 71507"/>
                  <a:gd name="connsiteX6" fmla="*/ 6491 w 12983"/>
                  <a:gd name="connsiteY6" fmla="*/ 71508 h 71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83" h="71507">
                    <a:moveTo>
                      <a:pt x="6491" y="71508"/>
                    </a:moveTo>
                    <a:cubicBezTo>
                      <a:pt x="2893" y="71508"/>
                      <a:pt x="0" y="68589"/>
                      <a:pt x="0" y="65016"/>
                    </a:cubicBezTo>
                    <a:lnTo>
                      <a:pt x="0" y="6491"/>
                    </a:lnTo>
                    <a:cubicBezTo>
                      <a:pt x="0" y="2894"/>
                      <a:pt x="2919" y="0"/>
                      <a:pt x="6491" y="0"/>
                    </a:cubicBezTo>
                    <a:cubicBezTo>
                      <a:pt x="10090" y="0"/>
                      <a:pt x="12983" y="2919"/>
                      <a:pt x="12983" y="6491"/>
                    </a:cubicBezTo>
                    <a:lnTo>
                      <a:pt x="12983" y="65016"/>
                    </a:lnTo>
                    <a:cubicBezTo>
                      <a:pt x="13008" y="68615"/>
                      <a:pt x="10090" y="71508"/>
                      <a:pt x="6491" y="71508"/>
                    </a:cubicBezTo>
                    <a:close/>
                  </a:path>
                </a:pathLst>
              </a:custGeom>
              <a:solidFill>
                <a:schemeClr val="accent1"/>
              </a:solidFill>
              <a:ln w="2515" cap="flat">
                <a:noFill/>
                <a:prstDash val="solid"/>
                <a:miter/>
              </a:ln>
            </p:spPr>
            <p:txBody>
              <a:bodyPr rtlCol="0" anchor="ctr"/>
              <a:lstStyle/>
              <a:p>
                <a:endParaRPr lang="en-GB" dirty="0"/>
              </a:p>
            </p:txBody>
          </p:sp>
          <p:sp>
            <p:nvSpPr>
              <p:cNvPr id="350" name="Freihandform: Form 1012">
                <a:extLst>
                  <a:ext uri="{FF2B5EF4-FFF2-40B4-BE49-F238E27FC236}">
                    <a16:creationId xmlns:a16="http://schemas.microsoft.com/office/drawing/2014/main" id="{E143C6EA-3FEE-40C6-98B6-A8D2A92A0E6F}"/>
                  </a:ext>
                </a:extLst>
              </p:cNvPr>
              <p:cNvSpPr/>
              <p:nvPr/>
            </p:nvSpPr>
            <p:spPr>
              <a:xfrm>
                <a:off x="7254816" y="4176368"/>
                <a:ext cx="25991" cy="12983"/>
              </a:xfrm>
              <a:custGeom>
                <a:avLst/>
                <a:gdLst>
                  <a:gd name="connsiteX0" fmla="*/ 19500 w 25991"/>
                  <a:gd name="connsiteY0" fmla="*/ 12983 h 12983"/>
                  <a:gd name="connsiteX1" fmla="*/ 6492 w 25991"/>
                  <a:gd name="connsiteY1" fmla="*/ 12983 h 12983"/>
                  <a:gd name="connsiteX2" fmla="*/ 0 w 25991"/>
                  <a:gd name="connsiteY2" fmla="*/ 6492 h 12983"/>
                  <a:gd name="connsiteX3" fmla="*/ 6492 w 25991"/>
                  <a:gd name="connsiteY3" fmla="*/ 0 h 12983"/>
                  <a:gd name="connsiteX4" fmla="*/ 19500 w 25991"/>
                  <a:gd name="connsiteY4" fmla="*/ 0 h 12983"/>
                  <a:gd name="connsiteX5" fmla="*/ 25992 w 25991"/>
                  <a:gd name="connsiteY5" fmla="*/ 6492 h 12983"/>
                  <a:gd name="connsiteX6" fmla="*/ 19500 w 25991"/>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91" h="12983">
                    <a:moveTo>
                      <a:pt x="19500" y="12983"/>
                    </a:moveTo>
                    <a:lnTo>
                      <a:pt x="6492" y="12983"/>
                    </a:lnTo>
                    <a:cubicBezTo>
                      <a:pt x="2894" y="12983"/>
                      <a:pt x="0" y="10064"/>
                      <a:pt x="0" y="6492"/>
                    </a:cubicBezTo>
                    <a:cubicBezTo>
                      <a:pt x="0" y="2919"/>
                      <a:pt x="2919" y="0"/>
                      <a:pt x="6492" y="0"/>
                    </a:cubicBezTo>
                    <a:lnTo>
                      <a:pt x="19500" y="0"/>
                    </a:lnTo>
                    <a:cubicBezTo>
                      <a:pt x="23098" y="0"/>
                      <a:pt x="25992" y="2919"/>
                      <a:pt x="25992" y="6492"/>
                    </a:cubicBezTo>
                    <a:cubicBezTo>
                      <a:pt x="25992" y="10064"/>
                      <a:pt x="23073" y="12983"/>
                      <a:pt x="19500" y="12983"/>
                    </a:cubicBezTo>
                    <a:close/>
                  </a:path>
                </a:pathLst>
              </a:custGeom>
              <a:solidFill>
                <a:schemeClr val="accent1"/>
              </a:solidFill>
              <a:ln w="2515" cap="flat">
                <a:noFill/>
                <a:prstDash val="solid"/>
                <a:miter/>
              </a:ln>
            </p:spPr>
            <p:txBody>
              <a:bodyPr rtlCol="0" anchor="ctr"/>
              <a:lstStyle/>
              <a:p>
                <a:endParaRPr lang="en-GB" dirty="0"/>
              </a:p>
            </p:txBody>
          </p:sp>
        </p:grpSp>
        <p:grpSp>
          <p:nvGrpSpPr>
            <p:cNvPr id="336" name="Group 335">
              <a:extLst>
                <a:ext uri="{FF2B5EF4-FFF2-40B4-BE49-F238E27FC236}">
                  <a16:creationId xmlns:a16="http://schemas.microsoft.com/office/drawing/2014/main" id="{56348704-0E33-47D4-8EE3-DBE2B4A04B0E}"/>
                </a:ext>
              </a:extLst>
            </p:cNvPr>
            <p:cNvGrpSpPr/>
            <p:nvPr/>
          </p:nvGrpSpPr>
          <p:grpSpPr>
            <a:xfrm>
              <a:off x="534393" y="4085121"/>
              <a:ext cx="519315" cy="349490"/>
              <a:chOff x="6898767" y="4209066"/>
              <a:chExt cx="492599" cy="331511"/>
            </a:xfrm>
            <a:solidFill>
              <a:schemeClr val="tx2"/>
            </a:solidFill>
          </p:grpSpPr>
          <p:sp>
            <p:nvSpPr>
              <p:cNvPr id="337" name="Freihandform: Form 1005">
                <a:extLst>
                  <a:ext uri="{FF2B5EF4-FFF2-40B4-BE49-F238E27FC236}">
                    <a16:creationId xmlns:a16="http://schemas.microsoft.com/office/drawing/2014/main" id="{FA061442-28B3-4D12-AFCE-F4FE7275EC66}"/>
                  </a:ext>
                </a:extLst>
              </p:cNvPr>
              <p:cNvSpPr/>
              <p:nvPr/>
            </p:nvSpPr>
            <p:spPr>
              <a:xfrm>
                <a:off x="7014149" y="4527594"/>
                <a:ext cx="377217" cy="12983"/>
              </a:xfrm>
              <a:custGeom>
                <a:avLst/>
                <a:gdLst>
                  <a:gd name="connsiteX0" fmla="*/ 370725 w 377217"/>
                  <a:gd name="connsiteY0" fmla="*/ 12983 h 12983"/>
                  <a:gd name="connsiteX1" fmla="*/ 6492 w 377217"/>
                  <a:gd name="connsiteY1" fmla="*/ 12983 h 12983"/>
                  <a:gd name="connsiteX2" fmla="*/ 0 w 377217"/>
                  <a:gd name="connsiteY2" fmla="*/ 6491 h 12983"/>
                  <a:gd name="connsiteX3" fmla="*/ 6492 w 377217"/>
                  <a:gd name="connsiteY3" fmla="*/ 0 h 12983"/>
                  <a:gd name="connsiteX4" fmla="*/ 370725 w 377217"/>
                  <a:gd name="connsiteY4" fmla="*/ 0 h 12983"/>
                  <a:gd name="connsiteX5" fmla="*/ 377217 w 377217"/>
                  <a:gd name="connsiteY5" fmla="*/ 6491 h 12983"/>
                  <a:gd name="connsiteX6" fmla="*/ 370725 w 377217"/>
                  <a:gd name="connsiteY6" fmla="*/ 12983 h 1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7217" h="12983">
                    <a:moveTo>
                      <a:pt x="370725" y="12983"/>
                    </a:moveTo>
                    <a:lnTo>
                      <a:pt x="6492" y="12983"/>
                    </a:lnTo>
                    <a:cubicBezTo>
                      <a:pt x="2894" y="12983"/>
                      <a:pt x="0" y="10064"/>
                      <a:pt x="0" y="6491"/>
                    </a:cubicBezTo>
                    <a:cubicBezTo>
                      <a:pt x="0" y="2919"/>
                      <a:pt x="2919" y="0"/>
                      <a:pt x="6492" y="0"/>
                    </a:cubicBezTo>
                    <a:lnTo>
                      <a:pt x="370725" y="0"/>
                    </a:lnTo>
                    <a:cubicBezTo>
                      <a:pt x="374324" y="0"/>
                      <a:pt x="377217" y="2919"/>
                      <a:pt x="377217" y="6491"/>
                    </a:cubicBezTo>
                    <a:cubicBezTo>
                      <a:pt x="377217" y="10064"/>
                      <a:pt x="374324" y="12983"/>
                      <a:pt x="370725" y="12983"/>
                    </a:cubicBezTo>
                    <a:close/>
                  </a:path>
                </a:pathLst>
              </a:custGeom>
              <a:grpFill/>
              <a:ln w="2515" cap="flat">
                <a:noFill/>
                <a:prstDash val="solid"/>
                <a:miter/>
              </a:ln>
            </p:spPr>
            <p:txBody>
              <a:bodyPr rtlCol="0" anchor="ctr"/>
              <a:lstStyle/>
              <a:p>
                <a:endParaRPr lang="en-GB" dirty="0"/>
              </a:p>
            </p:txBody>
          </p:sp>
          <p:sp>
            <p:nvSpPr>
              <p:cNvPr id="338" name="Freihandform: Form 1006">
                <a:extLst>
                  <a:ext uri="{FF2B5EF4-FFF2-40B4-BE49-F238E27FC236}">
                    <a16:creationId xmlns:a16="http://schemas.microsoft.com/office/drawing/2014/main" id="{0872A1A8-3E5B-48A6-9B1E-9719F480656A}"/>
                  </a:ext>
                </a:extLst>
              </p:cNvPr>
              <p:cNvSpPr/>
              <p:nvPr/>
            </p:nvSpPr>
            <p:spPr>
              <a:xfrm>
                <a:off x="7033674" y="4488569"/>
                <a:ext cx="338192" cy="52008"/>
              </a:xfrm>
              <a:custGeom>
                <a:avLst/>
                <a:gdLst>
                  <a:gd name="connsiteX0" fmla="*/ 331675 w 338192"/>
                  <a:gd name="connsiteY0" fmla="*/ 52008 h 52008"/>
                  <a:gd name="connsiteX1" fmla="*/ 6492 w 338192"/>
                  <a:gd name="connsiteY1" fmla="*/ 52008 h 52008"/>
                  <a:gd name="connsiteX2" fmla="*/ 0 w 338192"/>
                  <a:gd name="connsiteY2" fmla="*/ 45517 h 52008"/>
                  <a:gd name="connsiteX3" fmla="*/ 0 w 338192"/>
                  <a:gd name="connsiteY3" fmla="*/ 36987 h 52008"/>
                  <a:gd name="connsiteX4" fmla="*/ 36987 w 338192"/>
                  <a:gd name="connsiteY4" fmla="*/ 0 h 52008"/>
                  <a:gd name="connsiteX5" fmla="*/ 301205 w 338192"/>
                  <a:gd name="connsiteY5" fmla="*/ 0 h 52008"/>
                  <a:gd name="connsiteX6" fmla="*/ 338192 w 338192"/>
                  <a:gd name="connsiteY6" fmla="*/ 36987 h 52008"/>
                  <a:gd name="connsiteX7" fmla="*/ 338192 w 338192"/>
                  <a:gd name="connsiteY7" fmla="*/ 45517 h 52008"/>
                  <a:gd name="connsiteX8" fmla="*/ 331675 w 338192"/>
                  <a:gd name="connsiteY8" fmla="*/ 52008 h 52008"/>
                  <a:gd name="connsiteX9" fmla="*/ 12983 w 338192"/>
                  <a:gd name="connsiteY9" fmla="*/ 39000 h 52008"/>
                  <a:gd name="connsiteX10" fmla="*/ 325184 w 338192"/>
                  <a:gd name="connsiteY10" fmla="*/ 39000 h 52008"/>
                  <a:gd name="connsiteX11" fmla="*/ 325184 w 338192"/>
                  <a:gd name="connsiteY11" fmla="*/ 36962 h 52008"/>
                  <a:gd name="connsiteX12" fmla="*/ 301205 w 338192"/>
                  <a:gd name="connsiteY12" fmla="*/ 12983 h 52008"/>
                  <a:gd name="connsiteX13" fmla="*/ 36962 w 338192"/>
                  <a:gd name="connsiteY13" fmla="*/ 12983 h 52008"/>
                  <a:gd name="connsiteX14" fmla="*/ 12983 w 338192"/>
                  <a:gd name="connsiteY14" fmla="*/ 36962 h 52008"/>
                  <a:gd name="connsiteX15" fmla="*/ 12983 w 338192"/>
                  <a:gd name="connsiteY15" fmla="*/ 39000 h 52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38192" h="52008">
                    <a:moveTo>
                      <a:pt x="331675" y="52008"/>
                    </a:moveTo>
                    <a:lnTo>
                      <a:pt x="6492" y="52008"/>
                    </a:lnTo>
                    <a:cubicBezTo>
                      <a:pt x="2894" y="52008"/>
                      <a:pt x="0" y="49090"/>
                      <a:pt x="0" y="45517"/>
                    </a:cubicBezTo>
                    <a:lnTo>
                      <a:pt x="0" y="36987"/>
                    </a:lnTo>
                    <a:cubicBezTo>
                      <a:pt x="0" y="16581"/>
                      <a:pt x="16606" y="0"/>
                      <a:pt x="36987" y="0"/>
                    </a:cubicBezTo>
                    <a:lnTo>
                      <a:pt x="301205" y="0"/>
                    </a:lnTo>
                    <a:cubicBezTo>
                      <a:pt x="321611" y="0"/>
                      <a:pt x="338192" y="16606"/>
                      <a:pt x="338192" y="36987"/>
                    </a:cubicBezTo>
                    <a:lnTo>
                      <a:pt x="338192" y="45517"/>
                    </a:lnTo>
                    <a:cubicBezTo>
                      <a:pt x="338192" y="49090"/>
                      <a:pt x="335273" y="52008"/>
                      <a:pt x="331675" y="52008"/>
                    </a:cubicBezTo>
                    <a:close/>
                    <a:moveTo>
                      <a:pt x="12983" y="39000"/>
                    </a:moveTo>
                    <a:lnTo>
                      <a:pt x="325184" y="39000"/>
                    </a:lnTo>
                    <a:lnTo>
                      <a:pt x="325184" y="36962"/>
                    </a:lnTo>
                    <a:cubicBezTo>
                      <a:pt x="325184" y="23727"/>
                      <a:pt x="314415" y="12983"/>
                      <a:pt x="301205" y="12983"/>
                    </a:cubicBezTo>
                    <a:lnTo>
                      <a:pt x="36962" y="12983"/>
                    </a:lnTo>
                    <a:cubicBezTo>
                      <a:pt x="23727" y="12983"/>
                      <a:pt x="12983" y="23752"/>
                      <a:pt x="12983" y="36962"/>
                    </a:cubicBezTo>
                    <a:lnTo>
                      <a:pt x="12983" y="39000"/>
                    </a:lnTo>
                    <a:close/>
                  </a:path>
                </a:pathLst>
              </a:custGeom>
              <a:grpFill/>
              <a:ln w="2515" cap="flat">
                <a:noFill/>
                <a:prstDash val="solid"/>
                <a:miter/>
              </a:ln>
            </p:spPr>
            <p:txBody>
              <a:bodyPr rtlCol="0" anchor="ctr"/>
              <a:lstStyle/>
              <a:p>
                <a:endParaRPr lang="en-GB" dirty="0"/>
              </a:p>
            </p:txBody>
          </p:sp>
          <p:grpSp>
            <p:nvGrpSpPr>
              <p:cNvPr id="339" name="Grafik 21">
                <a:extLst>
                  <a:ext uri="{FF2B5EF4-FFF2-40B4-BE49-F238E27FC236}">
                    <a16:creationId xmlns:a16="http://schemas.microsoft.com/office/drawing/2014/main" id="{BA4CB77D-0BFF-4528-B9D5-6E5820CD4BC1}"/>
                  </a:ext>
                </a:extLst>
              </p:cNvPr>
              <p:cNvGrpSpPr/>
              <p:nvPr/>
            </p:nvGrpSpPr>
            <p:grpSpPr>
              <a:xfrm>
                <a:off x="6898767" y="4209066"/>
                <a:ext cx="388549" cy="272960"/>
                <a:chOff x="6898767" y="4209066"/>
                <a:chExt cx="388549" cy="272960"/>
              </a:xfrm>
              <a:grpFill/>
            </p:grpSpPr>
            <p:sp>
              <p:nvSpPr>
                <p:cNvPr id="340" name="Freihandform: Form 1014">
                  <a:extLst>
                    <a:ext uri="{FF2B5EF4-FFF2-40B4-BE49-F238E27FC236}">
                      <a16:creationId xmlns:a16="http://schemas.microsoft.com/office/drawing/2014/main" id="{792EEB32-8310-4191-99A0-6F155C4B69FD}"/>
                    </a:ext>
                  </a:extLst>
                </p:cNvPr>
                <p:cNvSpPr/>
                <p:nvPr/>
              </p:nvSpPr>
              <p:spPr>
                <a:xfrm>
                  <a:off x="7096790" y="4235935"/>
                  <a:ext cx="169563" cy="187364"/>
                </a:xfrm>
                <a:custGeom>
                  <a:avLst/>
                  <a:gdLst>
                    <a:gd name="connsiteX0" fmla="*/ 69685 w 169563"/>
                    <a:gd name="connsiteY0" fmla="*/ 187365 h 187364"/>
                    <a:gd name="connsiteX1" fmla="*/ 67597 w 169563"/>
                    <a:gd name="connsiteY1" fmla="*/ 187013 h 187364"/>
                    <a:gd name="connsiteX2" fmla="*/ 63848 w 169563"/>
                    <a:gd name="connsiteY2" fmla="*/ 183717 h 187364"/>
                    <a:gd name="connsiteX3" fmla="*/ 668 w 169563"/>
                    <a:gd name="connsiteY3" fmla="*/ 55344 h 187364"/>
                    <a:gd name="connsiteX4" fmla="*/ 3637 w 169563"/>
                    <a:gd name="connsiteY4" fmla="*/ 46638 h 187364"/>
                    <a:gd name="connsiteX5" fmla="*/ 97010 w 169563"/>
                    <a:gd name="connsiteY5" fmla="*/ 669 h 187364"/>
                    <a:gd name="connsiteX6" fmla="*/ 101967 w 169563"/>
                    <a:gd name="connsiteY6" fmla="*/ 342 h 187364"/>
                    <a:gd name="connsiteX7" fmla="*/ 105716 w 169563"/>
                    <a:gd name="connsiteY7" fmla="*/ 3638 h 187364"/>
                    <a:gd name="connsiteX8" fmla="*/ 168896 w 169563"/>
                    <a:gd name="connsiteY8" fmla="*/ 132010 h 187364"/>
                    <a:gd name="connsiteX9" fmla="*/ 165927 w 169563"/>
                    <a:gd name="connsiteY9" fmla="*/ 140716 h 187364"/>
                    <a:gd name="connsiteX10" fmla="*/ 72554 w 169563"/>
                    <a:gd name="connsiteY10" fmla="*/ 186686 h 187364"/>
                    <a:gd name="connsiteX11" fmla="*/ 69685 w 169563"/>
                    <a:gd name="connsiteY11" fmla="*/ 187365 h 187364"/>
                    <a:gd name="connsiteX12" fmla="*/ 15211 w 169563"/>
                    <a:gd name="connsiteY12" fmla="*/ 55445 h 187364"/>
                    <a:gd name="connsiteX13" fmla="*/ 72654 w 169563"/>
                    <a:gd name="connsiteY13" fmla="*/ 172168 h 187364"/>
                    <a:gd name="connsiteX14" fmla="*/ 154353 w 169563"/>
                    <a:gd name="connsiteY14" fmla="*/ 131960 h 187364"/>
                    <a:gd name="connsiteX15" fmla="*/ 96910 w 169563"/>
                    <a:gd name="connsiteY15" fmla="*/ 15237 h 187364"/>
                    <a:gd name="connsiteX16" fmla="*/ 15211 w 169563"/>
                    <a:gd name="connsiteY16" fmla="*/ 55445 h 187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9563" h="187364">
                      <a:moveTo>
                        <a:pt x="69685" y="187365"/>
                      </a:moveTo>
                      <a:cubicBezTo>
                        <a:pt x="68981" y="187365"/>
                        <a:pt x="68276" y="187239"/>
                        <a:pt x="67597" y="187013"/>
                      </a:cubicBezTo>
                      <a:cubicBezTo>
                        <a:pt x="65961" y="186459"/>
                        <a:pt x="64628" y="185277"/>
                        <a:pt x="63848" y="183717"/>
                      </a:cubicBezTo>
                      <a:lnTo>
                        <a:pt x="668" y="55344"/>
                      </a:lnTo>
                      <a:cubicBezTo>
                        <a:pt x="-917" y="52123"/>
                        <a:pt x="416" y="48224"/>
                        <a:pt x="3637" y="46638"/>
                      </a:cubicBezTo>
                      <a:lnTo>
                        <a:pt x="97010" y="669"/>
                      </a:lnTo>
                      <a:cubicBezTo>
                        <a:pt x="98570" y="-86"/>
                        <a:pt x="100357" y="-212"/>
                        <a:pt x="101967" y="342"/>
                      </a:cubicBezTo>
                      <a:cubicBezTo>
                        <a:pt x="103602" y="895"/>
                        <a:pt x="104936" y="2078"/>
                        <a:pt x="105716" y="3638"/>
                      </a:cubicBezTo>
                      <a:lnTo>
                        <a:pt x="168896" y="132010"/>
                      </a:lnTo>
                      <a:cubicBezTo>
                        <a:pt x="170481" y="135231"/>
                        <a:pt x="169147" y="139131"/>
                        <a:pt x="165927" y="140716"/>
                      </a:cubicBezTo>
                      <a:lnTo>
                        <a:pt x="72554" y="186686"/>
                      </a:lnTo>
                      <a:cubicBezTo>
                        <a:pt x="71673" y="187139"/>
                        <a:pt x="70692" y="187365"/>
                        <a:pt x="69685" y="187365"/>
                      </a:cubicBezTo>
                      <a:close/>
                      <a:moveTo>
                        <a:pt x="15211" y="55445"/>
                      </a:moveTo>
                      <a:lnTo>
                        <a:pt x="72654" y="172168"/>
                      </a:lnTo>
                      <a:lnTo>
                        <a:pt x="154353" y="131960"/>
                      </a:lnTo>
                      <a:lnTo>
                        <a:pt x="96910" y="15237"/>
                      </a:lnTo>
                      <a:lnTo>
                        <a:pt x="15211" y="55445"/>
                      </a:lnTo>
                      <a:close/>
                    </a:path>
                  </a:pathLst>
                </a:custGeom>
                <a:grpFill/>
                <a:ln w="2515" cap="flat">
                  <a:noFill/>
                  <a:prstDash val="solid"/>
                  <a:miter/>
                </a:ln>
              </p:spPr>
              <p:txBody>
                <a:bodyPr rtlCol="0" anchor="ctr"/>
                <a:lstStyle/>
                <a:p>
                  <a:endParaRPr lang="en-GB" dirty="0"/>
                </a:p>
              </p:txBody>
            </p:sp>
            <p:sp>
              <p:nvSpPr>
                <p:cNvPr id="341" name="Freihandform: Form 1015">
                  <a:extLst>
                    <a:ext uri="{FF2B5EF4-FFF2-40B4-BE49-F238E27FC236}">
                      <a16:creationId xmlns:a16="http://schemas.microsoft.com/office/drawing/2014/main" id="{1168987F-8435-4DC0-8B66-0DAEA877EAB7}"/>
                    </a:ext>
                  </a:extLst>
                </p:cNvPr>
                <p:cNvSpPr/>
                <p:nvPr/>
              </p:nvSpPr>
              <p:spPr>
                <a:xfrm>
                  <a:off x="7075842" y="4209066"/>
                  <a:ext cx="136786" cy="89409"/>
                </a:xfrm>
                <a:custGeom>
                  <a:avLst/>
                  <a:gdLst>
                    <a:gd name="connsiteX0" fmla="*/ 18748 w 136786"/>
                    <a:gd name="connsiteY0" fmla="*/ 89410 h 89409"/>
                    <a:gd name="connsiteX1" fmla="*/ 14546 w 136786"/>
                    <a:gd name="connsiteY1" fmla="*/ 88705 h 89409"/>
                    <a:gd name="connsiteX2" fmla="*/ 7073 w 136786"/>
                    <a:gd name="connsiteY2" fmla="*/ 82138 h 89409"/>
                    <a:gd name="connsiteX3" fmla="*/ 1337 w 136786"/>
                    <a:gd name="connsiteY3" fmla="*/ 70463 h 89409"/>
                    <a:gd name="connsiteX4" fmla="*/ 7249 w 136786"/>
                    <a:gd name="connsiteY4" fmla="*/ 53052 h 89409"/>
                    <a:gd name="connsiteX5" fmla="*/ 112297 w 136786"/>
                    <a:gd name="connsiteY5" fmla="*/ 1345 h 89409"/>
                    <a:gd name="connsiteX6" fmla="*/ 122236 w 136786"/>
                    <a:gd name="connsiteY6" fmla="*/ 691 h 89409"/>
                    <a:gd name="connsiteX7" fmla="*/ 129709 w 136786"/>
                    <a:gd name="connsiteY7" fmla="*/ 7258 h 89409"/>
                    <a:gd name="connsiteX8" fmla="*/ 135446 w 136786"/>
                    <a:gd name="connsiteY8" fmla="*/ 18933 h 89409"/>
                    <a:gd name="connsiteX9" fmla="*/ 136075 w 136786"/>
                    <a:gd name="connsiteY9" fmla="*/ 28872 h 89409"/>
                    <a:gd name="connsiteX10" fmla="*/ 129508 w 136786"/>
                    <a:gd name="connsiteY10" fmla="*/ 36345 h 89409"/>
                    <a:gd name="connsiteX11" fmla="*/ 24460 w 136786"/>
                    <a:gd name="connsiteY11" fmla="*/ 88051 h 89409"/>
                    <a:gd name="connsiteX12" fmla="*/ 18748 w 136786"/>
                    <a:gd name="connsiteY12" fmla="*/ 89410 h 89409"/>
                    <a:gd name="connsiteX13" fmla="*/ 118034 w 136786"/>
                    <a:gd name="connsiteY13" fmla="*/ 13020 h 89409"/>
                    <a:gd name="connsiteX14" fmla="*/ 12986 w 136786"/>
                    <a:gd name="connsiteY14" fmla="*/ 64727 h 89409"/>
                    <a:gd name="connsiteX15" fmla="*/ 12986 w 136786"/>
                    <a:gd name="connsiteY15" fmla="*/ 64727 h 89409"/>
                    <a:gd name="connsiteX16" fmla="*/ 18723 w 136786"/>
                    <a:gd name="connsiteY16" fmla="*/ 76401 h 89409"/>
                    <a:gd name="connsiteX17" fmla="*/ 123771 w 136786"/>
                    <a:gd name="connsiteY17" fmla="*/ 24695 h 89409"/>
                    <a:gd name="connsiteX18" fmla="*/ 118034 w 136786"/>
                    <a:gd name="connsiteY18" fmla="*/ 13020 h 89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786" h="89409">
                      <a:moveTo>
                        <a:pt x="18748" y="89410"/>
                      </a:moveTo>
                      <a:cubicBezTo>
                        <a:pt x="17339" y="89410"/>
                        <a:pt x="15930" y="89183"/>
                        <a:pt x="14546" y="88705"/>
                      </a:cubicBezTo>
                      <a:cubicBezTo>
                        <a:pt x="11250" y="87598"/>
                        <a:pt x="8608" y="85258"/>
                        <a:pt x="7073" y="82138"/>
                      </a:cubicBezTo>
                      <a:lnTo>
                        <a:pt x="1337" y="70463"/>
                      </a:lnTo>
                      <a:cubicBezTo>
                        <a:pt x="-1834" y="64047"/>
                        <a:pt x="833" y="56222"/>
                        <a:pt x="7249" y="53052"/>
                      </a:cubicBezTo>
                      <a:lnTo>
                        <a:pt x="112297" y="1345"/>
                      </a:lnTo>
                      <a:cubicBezTo>
                        <a:pt x="115417" y="-190"/>
                        <a:pt x="118940" y="-416"/>
                        <a:pt x="122236" y="691"/>
                      </a:cubicBezTo>
                      <a:cubicBezTo>
                        <a:pt x="125532" y="1798"/>
                        <a:pt x="128174" y="4138"/>
                        <a:pt x="129709" y="7258"/>
                      </a:cubicBezTo>
                      <a:lnTo>
                        <a:pt x="135446" y="18933"/>
                      </a:lnTo>
                      <a:cubicBezTo>
                        <a:pt x="136981" y="22053"/>
                        <a:pt x="137207" y="25576"/>
                        <a:pt x="136075" y="28872"/>
                      </a:cubicBezTo>
                      <a:cubicBezTo>
                        <a:pt x="134968" y="32168"/>
                        <a:pt x="132628" y="34810"/>
                        <a:pt x="129508" y="36345"/>
                      </a:cubicBezTo>
                      <a:lnTo>
                        <a:pt x="24460" y="88051"/>
                      </a:lnTo>
                      <a:cubicBezTo>
                        <a:pt x="22673" y="88957"/>
                        <a:pt x="20711" y="89410"/>
                        <a:pt x="18748" y="89410"/>
                      </a:cubicBezTo>
                      <a:close/>
                      <a:moveTo>
                        <a:pt x="118034" y="13020"/>
                      </a:moveTo>
                      <a:lnTo>
                        <a:pt x="12986" y="64727"/>
                      </a:lnTo>
                      <a:lnTo>
                        <a:pt x="12986" y="64727"/>
                      </a:lnTo>
                      <a:lnTo>
                        <a:pt x="18723" y="76401"/>
                      </a:lnTo>
                      <a:lnTo>
                        <a:pt x="123771" y="24695"/>
                      </a:lnTo>
                      <a:lnTo>
                        <a:pt x="118034" y="13020"/>
                      </a:lnTo>
                      <a:close/>
                    </a:path>
                  </a:pathLst>
                </a:custGeom>
                <a:grpFill/>
                <a:ln w="2515" cap="flat">
                  <a:noFill/>
                  <a:prstDash val="solid"/>
                  <a:miter/>
                </a:ln>
              </p:spPr>
              <p:txBody>
                <a:bodyPr rtlCol="0" anchor="ctr"/>
                <a:lstStyle/>
                <a:p>
                  <a:endParaRPr lang="en-GB" dirty="0"/>
                </a:p>
              </p:txBody>
            </p:sp>
            <p:sp>
              <p:nvSpPr>
                <p:cNvPr id="342" name="Freihandform: Form 1016">
                  <a:extLst>
                    <a:ext uri="{FF2B5EF4-FFF2-40B4-BE49-F238E27FC236}">
                      <a16:creationId xmlns:a16="http://schemas.microsoft.com/office/drawing/2014/main" id="{60FD26FE-C1AC-4815-8622-EC61FFB8E5B3}"/>
                    </a:ext>
                  </a:extLst>
                </p:cNvPr>
                <p:cNvSpPr/>
                <p:nvPr/>
              </p:nvSpPr>
              <p:spPr>
                <a:xfrm>
                  <a:off x="7150521" y="4360772"/>
                  <a:ext cx="136795" cy="89425"/>
                </a:xfrm>
                <a:custGeom>
                  <a:avLst/>
                  <a:gdLst>
                    <a:gd name="connsiteX0" fmla="*/ 18748 w 136795"/>
                    <a:gd name="connsiteY0" fmla="*/ 89425 h 89425"/>
                    <a:gd name="connsiteX1" fmla="*/ 14546 w 136795"/>
                    <a:gd name="connsiteY1" fmla="*/ 88721 h 89425"/>
                    <a:gd name="connsiteX2" fmla="*/ 7073 w 136795"/>
                    <a:gd name="connsiteY2" fmla="*/ 82129 h 89425"/>
                    <a:gd name="connsiteX3" fmla="*/ 1336 w 136795"/>
                    <a:gd name="connsiteY3" fmla="*/ 70479 h 89425"/>
                    <a:gd name="connsiteX4" fmla="*/ 1336 w 136795"/>
                    <a:gd name="connsiteY4" fmla="*/ 70454 h 89425"/>
                    <a:gd name="connsiteX5" fmla="*/ 7274 w 136795"/>
                    <a:gd name="connsiteY5" fmla="*/ 53042 h 89425"/>
                    <a:gd name="connsiteX6" fmla="*/ 112322 w 136795"/>
                    <a:gd name="connsiteY6" fmla="*/ 1336 h 89425"/>
                    <a:gd name="connsiteX7" fmla="*/ 129734 w 136795"/>
                    <a:gd name="connsiteY7" fmla="*/ 7274 h 89425"/>
                    <a:gd name="connsiteX8" fmla="*/ 135470 w 136795"/>
                    <a:gd name="connsiteY8" fmla="*/ 18924 h 89425"/>
                    <a:gd name="connsiteX9" fmla="*/ 129532 w 136795"/>
                    <a:gd name="connsiteY9" fmla="*/ 36335 h 89425"/>
                    <a:gd name="connsiteX10" fmla="*/ 24484 w 136795"/>
                    <a:gd name="connsiteY10" fmla="*/ 88041 h 89425"/>
                    <a:gd name="connsiteX11" fmla="*/ 18748 w 136795"/>
                    <a:gd name="connsiteY11" fmla="*/ 89425 h 89425"/>
                    <a:gd name="connsiteX12" fmla="*/ 13011 w 136795"/>
                    <a:gd name="connsiteY12" fmla="*/ 64742 h 89425"/>
                    <a:gd name="connsiteX13" fmla="*/ 18748 w 136795"/>
                    <a:gd name="connsiteY13" fmla="*/ 76392 h 89425"/>
                    <a:gd name="connsiteX14" fmla="*/ 123796 w 136795"/>
                    <a:gd name="connsiteY14" fmla="*/ 24686 h 89425"/>
                    <a:gd name="connsiteX15" fmla="*/ 118059 w 136795"/>
                    <a:gd name="connsiteY15" fmla="*/ 13036 h 89425"/>
                    <a:gd name="connsiteX16" fmla="*/ 13011 w 136795"/>
                    <a:gd name="connsiteY16" fmla="*/ 64742 h 8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6795" h="89425">
                      <a:moveTo>
                        <a:pt x="18748" y="89425"/>
                      </a:moveTo>
                      <a:cubicBezTo>
                        <a:pt x="17338" y="89425"/>
                        <a:pt x="15904" y="89199"/>
                        <a:pt x="14546" y="88721"/>
                      </a:cubicBezTo>
                      <a:cubicBezTo>
                        <a:pt x="11250" y="87589"/>
                        <a:pt x="8608" y="85249"/>
                        <a:pt x="7073" y="82129"/>
                      </a:cubicBezTo>
                      <a:lnTo>
                        <a:pt x="1336" y="70479"/>
                      </a:lnTo>
                      <a:cubicBezTo>
                        <a:pt x="1336" y="70479"/>
                        <a:pt x="1336" y="70479"/>
                        <a:pt x="1336" y="70454"/>
                      </a:cubicBezTo>
                      <a:cubicBezTo>
                        <a:pt x="-1834" y="64013"/>
                        <a:pt x="833" y="56212"/>
                        <a:pt x="7274" y="53042"/>
                      </a:cubicBezTo>
                      <a:lnTo>
                        <a:pt x="112322" y="1336"/>
                      </a:lnTo>
                      <a:cubicBezTo>
                        <a:pt x="118763" y="-1834"/>
                        <a:pt x="126563" y="833"/>
                        <a:pt x="129734" y="7274"/>
                      </a:cubicBezTo>
                      <a:lnTo>
                        <a:pt x="135470" y="18924"/>
                      </a:lnTo>
                      <a:cubicBezTo>
                        <a:pt x="138616" y="25365"/>
                        <a:pt x="135974" y="33165"/>
                        <a:pt x="129532" y="36335"/>
                      </a:cubicBezTo>
                      <a:lnTo>
                        <a:pt x="24484" y="88041"/>
                      </a:lnTo>
                      <a:cubicBezTo>
                        <a:pt x="22673" y="88972"/>
                        <a:pt x="20735" y="89425"/>
                        <a:pt x="18748" y="89425"/>
                      </a:cubicBezTo>
                      <a:close/>
                      <a:moveTo>
                        <a:pt x="13011" y="64742"/>
                      </a:moveTo>
                      <a:lnTo>
                        <a:pt x="18748" y="76392"/>
                      </a:lnTo>
                      <a:lnTo>
                        <a:pt x="123796" y="24686"/>
                      </a:lnTo>
                      <a:lnTo>
                        <a:pt x="118059" y="13036"/>
                      </a:lnTo>
                      <a:lnTo>
                        <a:pt x="13011" y="64742"/>
                      </a:lnTo>
                      <a:close/>
                    </a:path>
                  </a:pathLst>
                </a:custGeom>
                <a:grpFill/>
                <a:ln w="2515" cap="flat">
                  <a:noFill/>
                  <a:prstDash val="solid"/>
                  <a:miter/>
                </a:ln>
              </p:spPr>
              <p:txBody>
                <a:bodyPr rtlCol="0" anchor="ctr"/>
                <a:lstStyle/>
                <a:p>
                  <a:endParaRPr lang="en-GB" dirty="0"/>
                </a:p>
              </p:txBody>
            </p:sp>
            <p:sp>
              <p:nvSpPr>
                <p:cNvPr id="343" name="Freihandform: Form 1017">
                  <a:extLst>
                    <a:ext uri="{FF2B5EF4-FFF2-40B4-BE49-F238E27FC236}">
                      <a16:creationId xmlns:a16="http://schemas.microsoft.com/office/drawing/2014/main" id="{7897EBE0-13DC-4609-92DC-2D9EAD321AFE}"/>
                    </a:ext>
                  </a:extLst>
                </p:cNvPr>
                <p:cNvSpPr/>
                <p:nvPr/>
              </p:nvSpPr>
              <p:spPr>
                <a:xfrm>
                  <a:off x="7031549" y="4350808"/>
                  <a:ext cx="66566" cy="72517"/>
                </a:xfrm>
                <a:custGeom>
                  <a:avLst/>
                  <a:gdLst>
                    <a:gd name="connsiteX0" fmla="*/ 30281 w 66566"/>
                    <a:gd name="connsiteY0" fmla="*/ 72517 h 72517"/>
                    <a:gd name="connsiteX1" fmla="*/ 18581 w 66566"/>
                    <a:gd name="connsiteY1" fmla="*/ 65246 h 72517"/>
                    <a:gd name="connsiteX2" fmla="*/ 1345 w 66566"/>
                    <a:gd name="connsiteY2" fmla="*/ 30247 h 72517"/>
                    <a:gd name="connsiteX3" fmla="*/ 691 w 66566"/>
                    <a:gd name="connsiteY3" fmla="*/ 20308 h 72517"/>
                    <a:gd name="connsiteX4" fmla="*/ 7258 w 66566"/>
                    <a:gd name="connsiteY4" fmla="*/ 12835 h 72517"/>
                    <a:gd name="connsiteX5" fmla="*/ 30583 w 66566"/>
                    <a:gd name="connsiteY5" fmla="*/ 1337 h 72517"/>
                    <a:gd name="connsiteX6" fmla="*/ 47994 w 66566"/>
                    <a:gd name="connsiteY6" fmla="*/ 7249 h 72517"/>
                    <a:gd name="connsiteX7" fmla="*/ 65230 w 66566"/>
                    <a:gd name="connsiteY7" fmla="*/ 42274 h 72517"/>
                    <a:gd name="connsiteX8" fmla="*/ 59317 w 66566"/>
                    <a:gd name="connsiteY8" fmla="*/ 59685 h 72517"/>
                    <a:gd name="connsiteX9" fmla="*/ 35967 w 66566"/>
                    <a:gd name="connsiteY9" fmla="*/ 71184 h 72517"/>
                    <a:gd name="connsiteX10" fmla="*/ 30281 w 66566"/>
                    <a:gd name="connsiteY10" fmla="*/ 72517 h 72517"/>
                    <a:gd name="connsiteX11" fmla="*/ 36370 w 66566"/>
                    <a:gd name="connsiteY11" fmla="*/ 13011 h 72517"/>
                    <a:gd name="connsiteX12" fmla="*/ 13020 w 66566"/>
                    <a:gd name="connsiteY12" fmla="*/ 24510 h 72517"/>
                    <a:gd name="connsiteX13" fmla="*/ 30256 w 66566"/>
                    <a:gd name="connsiteY13" fmla="*/ 59509 h 72517"/>
                    <a:gd name="connsiteX14" fmla="*/ 30256 w 66566"/>
                    <a:gd name="connsiteY14" fmla="*/ 59509 h 72517"/>
                    <a:gd name="connsiteX15" fmla="*/ 30256 w 66566"/>
                    <a:gd name="connsiteY15" fmla="*/ 59509 h 72517"/>
                    <a:gd name="connsiteX16" fmla="*/ 53580 w 66566"/>
                    <a:gd name="connsiteY16" fmla="*/ 48010 h 72517"/>
                    <a:gd name="connsiteX17" fmla="*/ 36370 w 66566"/>
                    <a:gd name="connsiteY17" fmla="*/ 13011 h 7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566" h="72517">
                      <a:moveTo>
                        <a:pt x="30281" y="72517"/>
                      </a:moveTo>
                      <a:cubicBezTo>
                        <a:pt x="25475" y="72517"/>
                        <a:pt x="20845" y="69851"/>
                        <a:pt x="18581" y="65246"/>
                      </a:cubicBezTo>
                      <a:lnTo>
                        <a:pt x="1345" y="30247"/>
                      </a:lnTo>
                      <a:cubicBezTo>
                        <a:pt x="-189" y="27127"/>
                        <a:pt x="-416" y="23604"/>
                        <a:pt x="691" y="20308"/>
                      </a:cubicBezTo>
                      <a:cubicBezTo>
                        <a:pt x="1798" y="17012"/>
                        <a:pt x="4138" y="14345"/>
                        <a:pt x="7258" y="12835"/>
                      </a:cubicBezTo>
                      <a:lnTo>
                        <a:pt x="30583" y="1337"/>
                      </a:lnTo>
                      <a:cubicBezTo>
                        <a:pt x="37024" y="-1834"/>
                        <a:pt x="44824" y="833"/>
                        <a:pt x="47994" y="7249"/>
                      </a:cubicBezTo>
                      <a:lnTo>
                        <a:pt x="65230" y="42274"/>
                      </a:lnTo>
                      <a:cubicBezTo>
                        <a:pt x="68400" y="48690"/>
                        <a:pt x="65733" y="56515"/>
                        <a:pt x="59317" y="59685"/>
                      </a:cubicBezTo>
                      <a:lnTo>
                        <a:pt x="35967" y="71184"/>
                      </a:lnTo>
                      <a:cubicBezTo>
                        <a:pt x="34156" y="72090"/>
                        <a:pt x="32218" y="72517"/>
                        <a:pt x="30281" y="72517"/>
                      </a:cubicBezTo>
                      <a:close/>
                      <a:moveTo>
                        <a:pt x="36370" y="13011"/>
                      </a:moveTo>
                      <a:lnTo>
                        <a:pt x="13020" y="24510"/>
                      </a:lnTo>
                      <a:lnTo>
                        <a:pt x="30256" y="59509"/>
                      </a:lnTo>
                      <a:lnTo>
                        <a:pt x="30256" y="59509"/>
                      </a:lnTo>
                      <a:lnTo>
                        <a:pt x="30256" y="59509"/>
                      </a:lnTo>
                      <a:lnTo>
                        <a:pt x="53580" y="48010"/>
                      </a:lnTo>
                      <a:lnTo>
                        <a:pt x="36370" y="13011"/>
                      </a:lnTo>
                      <a:close/>
                    </a:path>
                  </a:pathLst>
                </a:custGeom>
                <a:grpFill/>
                <a:ln w="2515" cap="flat">
                  <a:noFill/>
                  <a:prstDash val="solid"/>
                  <a:miter/>
                </a:ln>
              </p:spPr>
              <p:txBody>
                <a:bodyPr rtlCol="0" anchor="ctr"/>
                <a:lstStyle/>
                <a:p>
                  <a:endParaRPr lang="en-GB" dirty="0"/>
                </a:p>
              </p:txBody>
            </p:sp>
            <p:sp>
              <p:nvSpPr>
                <p:cNvPr id="344" name="Freihandform: Form 1018">
                  <a:extLst>
                    <a:ext uri="{FF2B5EF4-FFF2-40B4-BE49-F238E27FC236}">
                      <a16:creationId xmlns:a16="http://schemas.microsoft.com/office/drawing/2014/main" id="{F675BC62-EF28-4D46-BE08-D487E347E94B}"/>
                    </a:ext>
                  </a:extLst>
                </p:cNvPr>
                <p:cNvSpPr/>
                <p:nvPr/>
              </p:nvSpPr>
              <p:spPr>
                <a:xfrm>
                  <a:off x="7067250" y="4311099"/>
                  <a:ext cx="91388" cy="91367"/>
                </a:xfrm>
                <a:custGeom>
                  <a:avLst/>
                  <a:gdLst>
                    <a:gd name="connsiteX0" fmla="*/ 23741 w 91388"/>
                    <a:gd name="connsiteY0" fmla="*/ 91368 h 91367"/>
                    <a:gd name="connsiteX1" fmla="*/ 17904 w 91388"/>
                    <a:gd name="connsiteY1" fmla="*/ 87744 h 91367"/>
                    <a:gd name="connsiteX2" fmla="*/ 668 w 91388"/>
                    <a:gd name="connsiteY2" fmla="*/ 52720 h 91367"/>
                    <a:gd name="connsiteX3" fmla="*/ 1927 w 91388"/>
                    <a:gd name="connsiteY3" fmla="*/ 45222 h 91367"/>
                    <a:gd name="connsiteX4" fmla="*/ 45833 w 91388"/>
                    <a:gd name="connsiteY4" fmla="*/ 1869 h 91367"/>
                    <a:gd name="connsiteX5" fmla="*/ 51494 w 91388"/>
                    <a:gd name="connsiteY5" fmla="*/ 83 h 91367"/>
                    <a:gd name="connsiteX6" fmla="*/ 56250 w 91388"/>
                    <a:gd name="connsiteY6" fmla="*/ 3630 h 91367"/>
                    <a:gd name="connsiteX7" fmla="*/ 90720 w 91388"/>
                    <a:gd name="connsiteY7" fmla="*/ 73654 h 91367"/>
                    <a:gd name="connsiteX8" fmla="*/ 90620 w 91388"/>
                    <a:gd name="connsiteY8" fmla="*/ 79592 h 91367"/>
                    <a:gd name="connsiteX9" fmla="*/ 85764 w 91388"/>
                    <a:gd name="connsiteY9" fmla="*/ 82989 h 91367"/>
                    <a:gd name="connsiteX10" fmla="*/ 24622 w 91388"/>
                    <a:gd name="connsiteY10" fmla="*/ 91342 h 91367"/>
                    <a:gd name="connsiteX11" fmla="*/ 23741 w 91388"/>
                    <a:gd name="connsiteY11" fmla="*/ 91368 h 91367"/>
                    <a:gd name="connsiteX12" fmla="*/ 14406 w 91388"/>
                    <a:gd name="connsiteY12" fmla="*/ 51185 h 91367"/>
                    <a:gd name="connsiteX13" fmla="*/ 27490 w 91388"/>
                    <a:gd name="connsiteY13" fmla="*/ 77780 h 91367"/>
                    <a:gd name="connsiteX14" fmla="*/ 75045 w 91388"/>
                    <a:gd name="connsiteY14" fmla="*/ 71289 h 91367"/>
                    <a:gd name="connsiteX15" fmla="*/ 48550 w 91388"/>
                    <a:gd name="connsiteY15" fmla="*/ 17444 h 91367"/>
                    <a:gd name="connsiteX16" fmla="*/ 14406 w 91388"/>
                    <a:gd name="connsiteY16" fmla="*/ 51185 h 91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1388" h="91367">
                      <a:moveTo>
                        <a:pt x="23741" y="91368"/>
                      </a:moveTo>
                      <a:cubicBezTo>
                        <a:pt x="21301" y="91368"/>
                        <a:pt x="19011" y="89984"/>
                        <a:pt x="17904" y="87744"/>
                      </a:cubicBezTo>
                      <a:lnTo>
                        <a:pt x="668" y="52720"/>
                      </a:lnTo>
                      <a:cubicBezTo>
                        <a:pt x="-565" y="50204"/>
                        <a:pt x="-61" y="47184"/>
                        <a:pt x="1927" y="45222"/>
                      </a:cubicBezTo>
                      <a:lnTo>
                        <a:pt x="45833" y="1869"/>
                      </a:lnTo>
                      <a:cubicBezTo>
                        <a:pt x="47342" y="410"/>
                        <a:pt x="49456" y="-244"/>
                        <a:pt x="51494" y="83"/>
                      </a:cubicBezTo>
                      <a:cubicBezTo>
                        <a:pt x="53557" y="435"/>
                        <a:pt x="55319" y="1743"/>
                        <a:pt x="56250" y="3630"/>
                      </a:cubicBezTo>
                      <a:lnTo>
                        <a:pt x="90720" y="73654"/>
                      </a:lnTo>
                      <a:cubicBezTo>
                        <a:pt x="91651" y="75516"/>
                        <a:pt x="91601" y="77730"/>
                        <a:pt x="90620" y="79592"/>
                      </a:cubicBezTo>
                      <a:cubicBezTo>
                        <a:pt x="89638" y="81429"/>
                        <a:pt x="87827" y="82687"/>
                        <a:pt x="85764" y="82989"/>
                      </a:cubicBezTo>
                      <a:lnTo>
                        <a:pt x="24622" y="91342"/>
                      </a:lnTo>
                      <a:cubicBezTo>
                        <a:pt x="24320" y="91342"/>
                        <a:pt x="24018" y="91368"/>
                        <a:pt x="23741" y="91368"/>
                      </a:cubicBezTo>
                      <a:close/>
                      <a:moveTo>
                        <a:pt x="14406" y="51185"/>
                      </a:moveTo>
                      <a:lnTo>
                        <a:pt x="27490" y="77780"/>
                      </a:lnTo>
                      <a:lnTo>
                        <a:pt x="75045" y="71289"/>
                      </a:lnTo>
                      <a:lnTo>
                        <a:pt x="48550" y="17444"/>
                      </a:lnTo>
                      <a:lnTo>
                        <a:pt x="14406" y="51185"/>
                      </a:lnTo>
                      <a:close/>
                    </a:path>
                  </a:pathLst>
                </a:custGeom>
                <a:grpFill/>
                <a:ln w="2515" cap="flat">
                  <a:noFill/>
                  <a:prstDash val="solid"/>
                  <a:miter/>
                </a:ln>
              </p:spPr>
              <p:txBody>
                <a:bodyPr rtlCol="0" anchor="ctr"/>
                <a:lstStyle/>
                <a:p>
                  <a:endParaRPr lang="en-GB" dirty="0"/>
                </a:p>
              </p:txBody>
            </p:sp>
            <p:sp>
              <p:nvSpPr>
                <p:cNvPr id="345" name="Freihandform: Form 1019">
                  <a:extLst>
                    <a:ext uri="{FF2B5EF4-FFF2-40B4-BE49-F238E27FC236}">
                      <a16:creationId xmlns:a16="http://schemas.microsoft.com/office/drawing/2014/main" id="{290EBB9D-77E2-4635-940F-CC7364D9AC11}"/>
                    </a:ext>
                  </a:extLst>
                </p:cNvPr>
                <p:cNvSpPr/>
                <p:nvPr/>
              </p:nvSpPr>
              <p:spPr>
                <a:xfrm>
                  <a:off x="6898767" y="4371681"/>
                  <a:ext cx="163706" cy="110345"/>
                </a:xfrm>
                <a:custGeom>
                  <a:avLst/>
                  <a:gdLst>
                    <a:gd name="connsiteX0" fmla="*/ 26086 w 163706"/>
                    <a:gd name="connsiteY0" fmla="*/ 110346 h 110345"/>
                    <a:gd name="connsiteX1" fmla="*/ 2686 w 163706"/>
                    <a:gd name="connsiteY1" fmla="*/ 95828 h 110345"/>
                    <a:gd name="connsiteX2" fmla="*/ 2686 w 163706"/>
                    <a:gd name="connsiteY2" fmla="*/ 95828 h 110345"/>
                    <a:gd name="connsiteX3" fmla="*/ 1402 w 163706"/>
                    <a:gd name="connsiteY3" fmla="*/ 75950 h 110345"/>
                    <a:gd name="connsiteX4" fmla="*/ 14537 w 163706"/>
                    <a:gd name="connsiteY4" fmla="*/ 60980 h 110345"/>
                    <a:gd name="connsiteX5" fmla="*/ 137097 w 163706"/>
                    <a:gd name="connsiteY5" fmla="*/ 668 h 110345"/>
                    <a:gd name="connsiteX6" fmla="*/ 145803 w 163706"/>
                    <a:gd name="connsiteY6" fmla="*/ 3637 h 110345"/>
                    <a:gd name="connsiteX7" fmla="*/ 163038 w 163706"/>
                    <a:gd name="connsiteY7" fmla="*/ 38636 h 110345"/>
                    <a:gd name="connsiteX8" fmla="*/ 160069 w 163706"/>
                    <a:gd name="connsiteY8" fmla="*/ 47342 h 110345"/>
                    <a:gd name="connsiteX9" fmla="*/ 37534 w 163706"/>
                    <a:gd name="connsiteY9" fmla="*/ 107654 h 110345"/>
                    <a:gd name="connsiteX10" fmla="*/ 26086 w 163706"/>
                    <a:gd name="connsiteY10" fmla="*/ 110346 h 110345"/>
                    <a:gd name="connsiteX11" fmla="*/ 14386 w 163706"/>
                    <a:gd name="connsiteY11" fmla="*/ 90066 h 110345"/>
                    <a:gd name="connsiteX12" fmla="*/ 31797 w 163706"/>
                    <a:gd name="connsiteY12" fmla="*/ 96004 h 110345"/>
                    <a:gd name="connsiteX13" fmla="*/ 148520 w 163706"/>
                    <a:gd name="connsiteY13" fmla="*/ 38561 h 110345"/>
                    <a:gd name="connsiteX14" fmla="*/ 137021 w 163706"/>
                    <a:gd name="connsiteY14" fmla="*/ 15236 h 110345"/>
                    <a:gd name="connsiteX15" fmla="*/ 20299 w 163706"/>
                    <a:gd name="connsiteY15" fmla="*/ 72679 h 110345"/>
                    <a:gd name="connsiteX16" fmla="*/ 13731 w 163706"/>
                    <a:gd name="connsiteY16" fmla="*/ 80152 h 110345"/>
                    <a:gd name="connsiteX17" fmla="*/ 14386 w 163706"/>
                    <a:gd name="connsiteY17" fmla="*/ 90066 h 110345"/>
                    <a:gd name="connsiteX18" fmla="*/ 14386 w 163706"/>
                    <a:gd name="connsiteY18" fmla="*/ 90066 h 11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3706" h="110345">
                      <a:moveTo>
                        <a:pt x="26086" y="110346"/>
                      </a:moveTo>
                      <a:cubicBezTo>
                        <a:pt x="16474" y="110346"/>
                        <a:pt x="7215" y="105012"/>
                        <a:pt x="2686" y="95828"/>
                      </a:cubicBezTo>
                      <a:cubicBezTo>
                        <a:pt x="2686" y="95828"/>
                        <a:pt x="2686" y="95828"/>
                        <a:pt x="2686" y="95828"/>
                      </a:cubicBezTo>
                      <a:cubicBezTo>
                        <a:pt x="-384" y="89588"/>
                        <a:pt x="-837" y="82543"/>
                        <a:pt x="1402" y="75950"/>
                      </a:cubicBezTo>
                      <a:cubicBezTo>
                        <a:pt x="3642" y="69358"/>
                        <a:pt x="8297" y="64049"/>
                        <a:pt x="14537" y="60980"/>
                      </a:cubicBezTo>
                      <a:lnTo>
                        <a:pt x="137097" y="668"/>
                      </a:lnTo>
                      <a:cubicBezTo>
                        <a:pt x="140318" y="-917"/>
                        <a:pt x="144218" y="416"/>
                        <a:pt x="145803" y="3637"/>
                      </a:cubicBezTo>
                      <a:lnTo>
                        <a:pt x="163038" y="38636"/>
                      </a:lnTo>
                      <a:cubicBezTo>
                        <a:pt x="164623" y="41857"/>
                        <a:pt x="163290" y="45757"/>
                        <a:pt x="160069" y="47342"/>
                      </a:cubicBezTo>
                      <a:lnTo>
                        <a:pt x="37534" y="107654"/>
                      </a:lnTo>
                      <a:cubicBezTo>
                        <a:pt x="33860" y="109490"/>
                        <a:pt x="29935" y="110346"/>
                        <a:pt x="26086" y="110346"/>
                      </a:cubicBezTo>
                      <a:close/>
                      <a:moveTo>
                        <a:pt x="14386" y="90066"/>
                      </a:moveTo>
                      <a:cubicBezTo>
                        <a:pt x="17556" y="96507"/>
                        <a:pt x="25356" y="99199"/>
                        <a:pt x="31797" y="96004"/>
                      </a:cubicBezTo>
                      <a:lnTo>
                        <a:pt x="148520" y="38561"/>
                      </a:lnTo>
                      <a:lnTo>
                        <a:pt x="137021" y="15236"/>
                      </a:lnTo>
                      <a:lnTo>
                        <a:pt x="20299" y="72679"/>
                      </a:lnTo>
                      <a:cubicBezTo>
                        <a:pt x="17179" y="74214"/>
                        <a:pt x="14839" y="76881"/>
                        <a:pt x="13731" y="80152"/>
                      </a:cubicBezTo>
                      <a:cubicBezTo>
                        <a:pt x="12599" y="83423"/>
                        <a:pt x="12826" y="86946"/>
                        <a:pt x="14386" y="90066"/>
                      </a:cubicBezTo>
                      <a:lnTo>
                        <a:pt x="14386" y="90066"/>
                      </a:lnTo>
                      <a:close/>
                    </a:path>
                  </a:pathLst>
                </a:custGeom>
                <a:grpFill/>
                <a:ln w="2515" cap="flat">
                  <a:noFill/>
                  <a:prstDash val="solid"/>
                  <a:miter/>
                </a:ln>
              </p:spPr>
              <p:txBody>
                <a:bodyPr rtlCol="0" anchor="ctr"/>
                <a:lstStyle/>
                <a:p>
                  <a:endParaRPr lang="en-GB" dirty="0"/>
                </a:p>
              </p:txBody>
            </p:sp>
          </p:grpSp>
        </p:grpSp>
      </p:grpSp>
      <p:grpSp>
        <p:nvGrpSpPr>
          <p:cNvPr id="475" name="Group 474">
            <a:extLst>
              <a:ext uri="{FF2B5EF4-FFF2-40B4-BE49-F238E27FC236}">
                <a16:creationId xmlns:a16="http://schemas.microsoft.com/office/drawing/2014/main" id="{0C8771B2-0802-4889-875C-63358DABC9A0}"/>
              </a:ext>
            </a:extLst>
          </p:cNvPr>
          <p:cNvGrpSpPr/>
          <p:nvPr/>
        </p:nvGrpSpPr>
        <p:grpSpPr>
          <a:xfrm>
            <a:off x="1620160" y="4002611"/>
            <a:ext cx="438648" cy="432000"/>
            <a:chOff x="1620160" y="4002611"/>
            <a:chExt cx="438648" cy="432000"/>
          </a:xfrm>
        </p:grpSpPr>
        <p:grpSp>
          <p:nvGrpSpPr>
            <p:cNvPr id="352" name="Grafik 348">
              <a:extLst>
                <a:ext uri="{FF2B5EF4-FFF2-40B4-BE49-F238E27FC236}">
                  <a16:creationId xmlns:a16="http://schemas.microsoft.com/office/drawing/2014/main" id="{BB5ED8FA-8803-428F-89E7-2B407991F6B4}"/>
                </a:ext>
              </a:extLst>
            </p:cNvPr>
            <p:cNvGrpSpPr/>
            <p:nvPr/>
          </p:nvGrpSpPr>
          <p:grpSpPr>
            <a:xfrm>
              <a:off x="1697187" y="4196511"/>
              <a:ext cx="315090" cy="238100"/>
              <a:chOff x="2642172" y="1821260"/>
              <a:chExt cx="316076" cy="238845"/>
            </a:xfrm>
            <a:solidFill>
              <a:schemeClr val="tx2"/>
            </a:solidFill>
          </p:grpSpPr>
          <p:grpSp>
            <p:nvGrpSpPr>
              <p:cNvPr id="354" name="Grafik 348">
                <a:extLst>
                  <a:ext uri="{FF2B5EF4-FFF2-40B4-BE49-F238E27FC236}">
                    <a16:creationId xmlns:a16="http://schemas.microsoft.com/office/drawing/2014/main" id="{FE3EE050-53CA-4998-AB26-507D88217A13}"/>
                  </a:ext>
                </a:extLst>
              </p:cNvPr>
              <p:cNvGrpSpPr/>
              <p:nvPr/>
            </p:nvGrpSpPr>
            <p:grpSpPr>
              <a:xfrm>
                <a:off x="2786962" y="1821260"/>
                <a:ext cx="171286" cy="238845"/>
                <a:chOff x="2786962" y="1821260"/>
                <a:chExt cx="171286" cy="238845"/>
              </a:xfrm>
              <a:grpFill/>
            </p:grpSpPr>
            <p:grpSp>
              <p:nvGrpSpPr>
                <p:cNvPr id="357" name="Grafik 348">
                  <a:extLst>
                    <a:ext uri="{FF2B5EF4-FFF2-40B4-BE49-F238E27FC236}">
                      <a16:creationId xmlns:a16="http://schemas.microsoft.com/office/drawing/2014/main" id="{44CF7FB2-BD21-4900-98A1-CA21AA24B523}"/>
                    </a:ext>
                  </a:extLst>
                </p:cNvPr>
                <p:cNvGrpSpPr/>
                <p:nvPr/>
              </p:nvGrpSpPr>
              <p:grpSpPr>
                <a:xfrm>
                  <a:off x="2799050" y="1944465"/>
                  <a:ext cx="159198" cy="115639"/>
                  <a:chOff x="2799050" y="1944465"/>
                  <a:chExt cx="159198" cy="115639"/>
                </a:xfrm>
                <a:grpFill/>
              </p:grpSpPr>
              <p:sp>
                <p:nvSpPr>
                  <p:cNvPr id="368" name="Freihandform: Form 41">
                    <a:extLst>
                      <a:ext uri="{FF2B5EF4-FFF2-40B4-BE49-F238E27FC236}">
                        <a16:creationId xmlns:a16="http://schemas.microsoft.com/office/drawing/2014/main" id="{4829AE9F-F9FE-4A72-8635-228F09E4621A}"/>
                      </a:ext>
                    </a:extLst>
                  </p:cNvPr>
                  <p:cNvSpPr/>
                  <p:nvPr/>
                </p:nvSpPr>
                <p:spPr>
                  <a:xfrm>
                    <a:off x="2819163" y="1984465"/>
                    <a:ext cx="139085" cy="41023"/>
                  </a:xfrm>
                  <a:custGeom>
                    <a:avLst/>
                    <a:gdLst>
                      <a:gd name="connsiteX0" fmla="*/ 53439 w 139085"/>
                      <a:gd name="connsiteY0" fmla="*/ 41024 h 41023"/>
                      <a:gd name="connsiteX1" fmla="*/ 5001 w 139085"/>
                      <a:gd name="connsiteY1" fmla="*/ 35435 h 41023"/>
                      <a:gd name="connsiteX2" fmla="*/ 215 w 139085"/>
                      <a:gd name="connsiteY2" fmla="*/ 27312 h 41023"/>
                      <a:gd name="connsiteX3" fmla="*/ 8334 w 139085"/>
                      <a:gd name="connsiteY3" fmla="*/ 22523 h 41023"/>
                      <a:gd name="connsiteX4" fmla="*/ 53439 w 139085"/>
                      <a:gd name="connsiteY4" fmla="*/ 27689 h 41023"/>
                      <a:gd name="connsiteX5" fmla="*/ 125761 w 139085"/>
                      <a:gd name="connsiteY5" fmla="*/ 6667 h 41023"/>
                      <a:gd name="connsiteX6" fmla="*/ 132423 w 139085"/>
                      <a:gd name="connsiteY6" fmla="*/ 0 h 41023"/>
                      <a:gd name="connsiteX7" fmla="*/ 139086 w 139085"/>
                      <a:gd name="connsiteY7" fmla="*/ 6667 h 41023"/>
                      <a:gd name="connsiteX8" fmla="*/ 53439 w 139085"/>
                      <a:gd name="connsiteY8" fmla="*/ 41024 h 4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085" h="41023">
                        <a:moveTo>
                          <a:pt x="53439" y="41024"/>
                        </a:moveTo>
                        <a:cubicBezTo>
                          <a:pt x="35907" y="41024"/>
                          <a:pt x="19154" y="39091"/>
                          <a:pt x="5001" y="35435"/>
                        </a:cubicBezTo>
                        <a:cubicBezTo>
                          <a:pt x="1433" y="34514"/>
                          <a:pt x="-710" y="30878"/>
                          <a:pt x="215" y="27312"/>
                        </a:cubicBezTo>
                        <a:cubicBezTo>
                          <a:pt x="1133" y="23740"/>
                          <a:pt x="4778" y="21608"/>
                          <a:pt x="8334" y="22523"/>
                        </a:cubicBezTo>
                        <a:cubicBezTo>
                          <a:pt x="21420" y="25902"/>
                          <a:pt x="37013" y="27689"/>
                          <a:pt x="53439" y="27689"/>
                        </a:cubicBezTo>
                        <a:cubicBezTo>
                          <a:pt x="96910" y="27689"/>
                          <a:pt x="125761" y="15036"/>
                          <a:pt x="125761" y="6667"/>
                        </a:cubicBezTo>
                        <a:cubicBezTo>
                          <a:pt x="125761" y="2986"/>
                          <a:pt x="128742" y="0"/>
                          <a:pt x="132423" y="0"/>
                        </a:cubicBezTo>
                        <a:cubicBezTo>
                          <a:pt x="136104" y="0"/>
                          <a:pt x="139086" y="2986"/>
                          <a:pt x="139086" y="6667"/>
                        </a:cubicBezTo>
                        <a:cubicBezTo>
                          <a:pt x="139086" y="29223"/>
                          <a:pt x="96006" y="41024"/>
                          <a:pt x="53439" y="41024"/>
                        </a:cubicBezTo>
                        <a:close/>
                      </a:path>
                    </a:pathLst>
                  </a:custGeom>
                  <a:grpFill/>
                  <a:ln w="205" cap="flat">
                    <a:noFill/>
                    <a:prstDash val="solid"/>
                    <a:miter/>
                  </a:ln>
                </p:spPr>
                <p:txBody>
                  <a:bodyPr rtlCol="0" anchor="ctr"/>
                  <a:lstStyle/>
                  <a:p>
                    <a:endParaRPr lang="en-GB" dirty="0"/>
                  </a:p>
                </p:txBody>
              </p:sp>
              <p:sp>
                <p:nvSpPr>
                  <p:cNvPr id="369" name="Freihandform: Form 42">
                    <a:extLst>
                      <a:ext uri="{FF2B5EF4-FFF2-40B4-BE49-F238E27FC236}">
                        <a16:creationId xmlns:a16="http://schemas.microsoft.com/office/drawing/2014/main" id="{DEE5E628-165F-4283-A619-49DD24D38997}"/>
                      </a:ext>
                    </a:extLst>
                  </p:cNvPr>
                  <p:cNvSpPr/>
                  <p:nvPr/>
                </p:nvSpPr>
                <p:spPr>
                  <a:xfrm>
                    <a:off x="2799050" y="1944465"/>
                    <a:ext cx="159198" cy="115639"/>
                  </a:xfrm>
                  <a:custGeom>
                    <a:avLst/>
                    <a:gdLst>
                      <a:gd name="connsiteX0" fmla="*/ 73552 w 159198"/>
                      <a:gd name="connsiteY0" fmla="*/ 115640 h 115639"/>
                      <a:gd name="connsiteX1" fmla="*/ 3427 w 159198"/>
                      <a:gd name="connsiteY1" fmla="*/ 101838 h 115639"/>
                      <a:gd name="connsiteX2" fmla="*/ 842 w 159198"/>
                      <a:gd name="connsiteY2" fmla="*/ 92769 h 115639"/>
                      <a:gd name="connsiteX3" fmla="*/ 9911 w 159198"/>
                      <a:gd name="connsiteY3" fmla="*/ 90191 h 115639"/>
                      <a:gd name="connsiteX4" fmla="*/ 73552 w 159198"/>
                      <a:gd name="connsiteY4" fmla="*/ 102307 h 115639"/>
                      <a:gd name="connsiteX5" fmla="*/ 145873 w 159198"/>
                      <a:gd name="connsiteY5" fmla="*/ 81281 h 115639"/>
                      <a:gd name="connsiteX6" fmla="*/ 145873 w 159198"/>
                      <a:gd name="connsiteY6" fmla="*/ 6667 h 115639"/>
                      <a:gd name="connsiteX7" fmla="*/ 152536 w 159198"/>
                      <a:gd name="connsiteY7" fmla="*/ 0 h 115639"/>
                      <a:gd name="connsiteX8" fmla="*/ 159198 w 159198"/>
                      <a:gd name="connsiteY8" fmla="*/ 6667 h 115639"/>
                      <a:gd name="connsiteX9" fmla="*/ 159198 w 159198"/>
                      <a:gd name="connsiteY9" fmla="*/ 81281 h 115639"/>
                      <a:gd name="connsiteX10" fmla="*/ 73552 w 159198"/>
                      <a:gd name="connsiteY10" fmla="*/ 115640 h 11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98" h="115639">
                        <a:moveTo>
                          <a:pt x="73552" y="115640"/>
                        </a:moveTo>
                        <a:cubicBezTo>
                          <a:pt x="45158" y="115640"/>
                          <a:pt x="18940" y="110481"/>
                          <a:pt x="3427" y="101838"/>
                        </a:cubicBezTo>
                        <a:cubicBezTo>
                          <a:pt x="211" y="100047"/>
                          <a:pt x="-949" y="95986"/>
                          <a:pt x="842" y="92769"/>
                        </a:cubicBezTo>
                        <a:cubicBezTo>
                          <a:pt x="2639" y="89547"/>
                          <a:pt x="6709" y="88402"/>
                          <a:pt x="9911" y="90191"/>
                        </a:cubicBezTo>
                        <a:cubicBezTo>
                          <a:pt x="23328" y="97666"/>
                          <a:pt x="47718" y="102307"/>
                          <a:pt x="73552" y="102307"/>
                        </a:cubicBezTo>
                        <a:cubicBezTo>
                          <a:pt x="117023" y="102307"/>
                          <a:pt x="145873" y="89650"/>
                          <a:pt x="145873" y="81281"/>
                        </a:cubicBezTo>
                        <a:lnTo>
                          <a:pt x="145873" y="6667"/>
                        </a:lnTo>
                        <a:cubicBezTo>
                          <a:pt x="145873" y="2986"/>
                          <a:pt x="148855" y="0"/>
                          <a:pt x="152536" y="0"/>
                        </a:cubicBezTo>
                        <a:cubicBezTo>
                          <a:pt x="156217" y="0"/>
                          <a:pt x="159198" y="2986"/>
                          <a:pt x="159198" y="6667"/>
                        </a:cubicBezTo>
                        <a:lnTo>
                          <a:pt x="159198" y="81281"/>
                        </a:lnTo>
                        <a:cubicBezTo>
                          <a:pt x="159198" y="103837"/>
                          <a:pt x="116118" y="115640"/>
                          <a:pt x="73552" y="115640"/>
                        </a:cubicBezTo>
                        <a:close/>
                      </a:path>
                    </a:pathLst>
                  </a:custGeom>
                  <a:grpFill/>
                  <a:ln w="205" cap="flat">
                    <a:noFill/>
                    <a:prstDash val="solid"/>
                    <a:miter/>
                  </a:ln>
                </p:spPr>
                <p:txBody>
                  <a:bodyPr rtlCol="0" anchor="ctr"/>
                  <a:lstStyle/>
                  <a:p>
                    <a:endParaRPr lang="en-GB" dirty="0"/>
                  </a:p>
                </p:txBody>
              </p:sp>
            </p:grpSp>
            <p:grpSp>
              <p:nvGrpSpPr>
                <p:cNvPr id="358" name="Grafik 348">
                  <a:extLst>
                    <a:ext uri="{FF2B5EF4-FFF2-40B4-BE49-F238E27FC236}">
                      <a16:creationId xmlns:a16="http://schemas.microsoft.com/office/drawing/2014/main" id="{05D168D1-E332-4F22-B7FA-96C667A3DC73}"/>
                    </a:ext>
                  </a:extLst>
                </p:cNvPr>
                <p:cNvGrpSpPr/>
                <p:nvPr/>
              </p:nvGrpSpPr>
              <p:grpSpPr>
                <a:xfrm>
                  <a:off x="2827449" y="1916962"/>
                  <a:ext cx="130799" cy="75644"/>
                  <a:chOff x="2827449" y="1916962"/>
                  <a:chExt cx="130799" cy="75644"/>
                </a:xfrm>
                <a:grpFill/>
              </p:grpSpPr>
              <p:sp>
                <p:nvSpPr>
                  <p:cNvPr id="366" name="Freihandform: Form 44">
                    <a:extLst>
                      <a:ext uri="{FF2B5EF4-FFF2-40B4-BE49-F238E27FC236}">
                        <a16:creationId xmlns:a16="http://schemas.microsoft.com/office/drawing/2014/main" id="{E18DE17E-20AB-45D5-9348-F4FA73FDEF2F}"/>
                      </a:ext>
                    </a:extLst>
                  </p:cNvPr>
                  <p:cNvSpPr/>
                  <p:nvPr/>
                </p:nvSpPr>
                <p:spPr>
                  <a:xfrm>
                    <a:off x="2832669" y="1916962"/>
                    <a:ext cx="125579" cy="41027"/>
                  </a:xfrm>
                  <a:custGeom>
                    <a:avLst/>
                    <a:gdLst>
                      <a:gd name="connsiteX0" fmla="*/ 39933 w 125579"/>
                      <a:gd name="connsiteY0" fmla="*/ 41028 h 41027"/>
                      <a:gd name="connsiteX1" fmla="*/ 5597 w 125579"/>
                      <a:gd name="connsiteY1" fmla="*/ 38371 h 41027"/>
                      <a:gd name="connsiteX2" fmla="*/ 88 w 125579"/>
                      <a:gd name="connsiteY2" fmla="*/ 30722 h 41027"/>
                      <a:gd name="connsiteX3" fmla="*/ 7743 w 125579"/>
                      <a:gd name="connsiteY3" fmla="*/ 25213 h 41027"/>
                      <a:gd name="connsiteX4" fmla="*/ 39933 w 125579"/>
                      <a:gd name="connsiteY4" fmla="*/ 27693 h 41027"/>
                      <a:gd name="connsiteX5" fmla="*/ 112255 w 125579"/>
                      <a:gd name="connsiteY5" fmla="*/ 6667 h 41027"/>
                      <a:gd name="connsiteX6" fmla="*/ 118917 w 125579"/>
                      <a:gd name="connsiteY6" fmla="*/ 0 h 41027"/>
                      <a:gd name="connsiteX7" fmla="*/ 125580 w 125579"/>
                      <a:gd name="connsiteY7" fmla="*/ 6667 h 41027"/>
                      <a:gd name="connsiteX8" fmla="*/ 39933 w 125579"/>
                      <a:gd name="connsiteY8" fmla="*/ 41028 h 4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79" h="41027">
                        <a:moveTo>
                          <a:pt x="39933" y="41028"/>
                        </a:moveTo>
                        <a:cubicBezTo>
                          <a:pt x="27968" y="41028"/>
                          <a:pt x="16411" y="40136"/>
                          <a:pt x="5597" y="38371"/>
                        </a:cubicBezTo>
                        <a:cubicBezTo>
                          <a:pt x="1963" y="37779"/>
                          <a:pt x="-504" y="34353"/>
                          <a:pt x="88" y="30722"/>
                        </a:cubicBezTo>
                        <a:cubicBezTo>
                          <a:pt x="680" y="27092"/>
                          <a:pt x="4040" y="24579"/>
                          <a:pt x="7743" y="25213"/>
                        </a:cubicBezTo>
                        <a:cubicBezTo>
                          <a:pt x="17848" y="26860"/>
                          <a:pt x="28681" y="27693"/>
                          <a:pt x="39933" y="27693"/>
                        </a:cubicBezTo>
                        <a:cubicBezTo>
                          <a:pt x="83404" y="27693"/>
                          <a:pt x="112255" y="15036"/>
                          <a:pt x="112255" y="6667"/>
                        </a:cubicBezTo>
                        <a:cubicBezTo>
                          <a:pt x="112255" y="2986"/>
                          <a:pt x="115236" y="0"/>
                          <a:pt x="118917" y="0"/>
                        </a:cubicBezTo>
                        <a:cubicBezTo>
                          <a:pt x="122598" y="0"/>
                          <a:pt x="125580" y="2986"/>
                          <a:pt x="125580" y="6667"/>
                        </a:cubicBezTo>
                        <a:cubicBezTo>
                          <a:pt x="125580" y="29225"/>
                          <a:pt x="82499" y="41028"/>
                          <a:pt x="39933" y="41028"/>
                        </a:cubicBezTo>
                        <a:close/>
                      </a:path>
                    </a:pathLst>
                  </a:custGeom>
                  <a:grpFill/>
                  <a:ln w="205" cap="flat">
                    <a:noFill/>
                    <a:prstDash val="solid"/>
                    <a:miter/>
                  </a:ln>
                </p:spPr>
                <p:txBody>
                  <a:bodyPr rtlCol="0" anchor="ctr"/>
                  <a:lstStyle/>
                  <a:p>
                    <a:endParaRPr lang="en-GB" dirty="0"/>
                  </a:p>
                </p:txBody>
              </p:sp>
              <p:sp>
                <p:nvSpPr>
                  <p:cNvPr id="367" name="Freihandform: Form 45">
                    <a:extLst>
                      <a:ext uri="{FF2B5EF4-FFF2-40B4-BE49-F238E27FC236}">
                        <a16:creationId xmlns:a16="http://schemas.microsoft.com/office/drawing/2014/main" id="{210A9B31-A0C6-425F-B92B-E0BC5549B2D2}"/>
                      </a:ext>
                    </a:extLst>
                  </p:cNvPr>
                  <p:cNvSpPr/>
                  <p:nvPr/>
                </p:nvSpPr>
                <p:spPr>
                  <a:xfrm>
                    <a:off x="2827449" y="1916964"/>
                    <a:ext cx="130799" cy="75642"/>
                  </a:xfrm>
                  <a:custGeom>
                    <a:avLst/>
                    <a:gdLst>
                      <a:gd name="connsiteX0" fmla="*/ 45154 w 130799"/>
                      <a:gd name="connsiteY0" fmla="*/ 75642 h 75642"/>
                      <a:gd name="connsiteX1" fmla="*/ 5386 w 130799"/>
                      <a:gd name="connsiteY1" fmla="*/ 72013 h 75642"/>
                      <a:gd name="connsiteX2" fmla="*/ 126 w 130799"/>
                      <a:gd name="connsiteY2" fmla="*/ 64186 h 75642"/>
                      <a:gd name="connsiteX3" fmla="*/ 7953 w 130799"/>
                      <a:gd name="connsiteY3" fmla="*/ 58926 h 75642"/>
                      <a:gd name="connsiteX4" fmla="*/ 45154 w 130799"/>
                      <a:gd name="connsiteY4" fmla="*/ 62309 h 75642"/>
                      <a:gd name="connsiteX5" fmla="*/ 117475 w 130799"/>
                      <a:gd name="connsiteY5" fmla="*/ 41283 h 75642"/>
                      <a:gd name="connsiteX6" fmla="*/ 117475 w 130799"/>
                      <a:gd name="connsiteY6" fmla="*/ 6667 h 75642"/>
                      <a:gd name="connsiteX7" fmla="*/ 124137 w 130799"/>
                      <a:gd name="connsiteY7" fmla="*/ 0 h 75642"/>
                      <a:gd name="connsiteX8" fmla="*/ 130800 w 130799"/>
                      <a:gd name="connsiteY8" fmla="*/ 6667 h 75642"/>
                      <a:gd name="connsiteX9" fmla="*/ 130800 w 130799"/>
                      <a:gd name="connsiteY9" fmla="*/ 41283 h 75642"/>
                      <a:gd name="connsiteX10" fmla="*/ 45154 w 130799"/>
                      <a:gd name="connsiteY10" fmla="*/ 75642 h 7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799" h="75642">
                        <a:moveTo>
                          <a:pt x="45154" y="75642"/>
                        </a:moveTo>
                        <a:cubicBezTo>
                          <a:pt x="31253" y="75642"/>
                          <a:pt x="17496" y="74386"/>
                          <a:pt x="5386" y="72013"/>
                        </a:cubicBezTo>
                        <a:cubicBezTo>
                          <a:pt x="1773" y="71303"/>
                          <a:pt x="-583" y="67801"/>
                          <a:pt x="126" y="64186"/>
                        </a:cubicBezTo>
                        <a:cubicBezTo>
                          <a:pt x="836" y="60575"/>
                          <a:pt x="4340" y="58200"/>
                          <a:pt x="7953" y="58926"/>
                        </a:cubicBezTo>
                        <a:cubicBezTo>
                          <a:pt x="19236" y="61141"/>
                          <a:pt x="32100" y="62309"/>
                          <a:pt x="45154" y="62309"/>
                        </a:cubicBezTo>
                        <a:cubicBezTo>
                          <a:pt x="88625" y="62309"/>
                          <a:pt x="117475" y="49652"/>
                          <a:pt x="117475" y="41283"/>
                        </a:cubicBezTo>
                        <a:lnTo>
                          <a:pt x="117475" y="6667"/>
                        </a:lnTo>
                        <a:cubicBezTo>
                          <a:pt x="117475" y="2986"/>
                          <a:pt x="120457" y="0"/>
                          <a:pt x="124137" y="0"/>
                        </a:cubicBezTo>
                        <a:cubicBezTo>
                          <a:pt x="127818" y="0"/>
                          <a:pt x="130800" y="2986"/>
                          <a:pt x="130800" y="6667"/>
                        </a:cubicBezTo>
                        <a:lnTo>
                          <a:pt x="130800" y="41283"/>
                        </a:lnTo>
                        <a:cubicBezTo>
                          <a:pt x="130800" y="63839"/>
                          <a:pt x="87720" y="75642"/>
                          <a:pt x="45154" y="75642"/>
                        </a:cubicBezTo>
                        <a:close/>
                      </a:path>
                    </a:pathLst>
                  </a:custGeom>
                  <a:grpFill/>
                  <a:ln w="205" cap="flat">
                    <a:noFill/>
                    <a:prstDash val="solid"/>
                    <a:miter/>
                  </a:ln>
                </p:spPr>
                <p:txBody>
                  <a:bodyPr rtlCol="0" anchor="ctr"/>
                  <a:lstStyle/>
                  <a:p>
                    <a:endParaRPr lang="en-GB" dirty="0"/>
                  </a:p>
                </p:txBody>
              </p:sp>
            </p:grpSp>
            <p:grpSp>
              <p:nvGrpSpPr>
                <p:cNvPr id="359" name="Grafik 348">
                  <a:extLst>
                    <a:ext uri="{FF2B5EF4-FFF2-40B4-BE49-F238E27FC236}">
                      <a16:creationId xmlns:a16="http://schemas.microsoft.com/office/drawing/2014/main" id="{C459861C-0D4B-499C-9D54-5E7F03A520DB}"/>
                    </a:ext>
                  </a:extLst>
                </p:cNvPr>
                <p:cNvGrpSpPr/>
                <p:nvPr/>
              </p:nvGrpSpPr>
              <p:grpSpPr>
                <a:xfrm>
                  <a:off x="2786962" y="1821260"/>
                  <a:ext cx="171286" cy="137085"/>
                  <a:chOff x="2786962" y="1821260"/>
                  <a:chExt cx="171286" cy="137085"/>
                </a:xfrm>
                <a:grpFill/>
              </p:grpSpPr>
              <p:grpSp>
                <p:nvGrpSpPr>
                  <p:cNvPr id="360" name="Grafik 348">
                    <a:extLst>
                      <a:ext uri="{FF2B5EF4-FFF2-40B4-BE49-F238E27FC236}">
                        <a16:creationId xmlns:a16="http://schemas.microsoft.com/office/drawing/2014/main" id="{53CBD2EE-054C-4487-9CB6-CA06F3D6D149}"/>
                      </a:ext>
                    </a:extLst>
                  </p:cNvPr>
                  <p:cNvGrpSpPr/>
                  <p:nvPr/>
                </p:nvGrpSpPr>
                <p:grpSpPr>
                  <a:xfrm>
                    <a:off x="2786962" y="1882701"/>
                    <a:ext cx="171286" cy="75644"/>
                    <a:chOff x="2786962" y="1882701"/>
                    <a:chExt cx="171286" cy="75644"/>
                  </a:xfrm>
                  <a:grpFill/>
                </p:grpSpPr>
                <p:sp>
                  <p:nvSpPr>
                    <p:cNvPr id="364" name="Freihandform: Form 48">
                      <a:extLst>
                        <a:ext uri="{FF2B5EF4-FFF2-40B4-BE49-F238E27FC236}">
                          <a16:creationId xmlns:a16="http://schemas.microsoft.com/office/drawing/2014/main" id="{5B18F057-BE30-4D57-ACF2-11AE8BBF8656}"/>
                        </a:ext>
                      </a:extLst>
                    </p:cNvPr>
                    <p:cNvSpPr/>
                    <p:nvPr/>
                  </p:nvSpPr>
                  <p:spPr>
                    <a:xfrm>
                      <a:off x="2786962" y="1882701"/>
                      <a:ext cx="171286" cy="41025"/>
                    </a:xfrm>
                    <a:custGeom>
                      <a:avLst/>
                      <a:gdLst>
                        <a:gd name="connsiteX0" fmla="*/ 85640 w 171286"/>
                        <a:gd name="connsiteY0" fmla="*/ 41026 h 41025"/>
                        <a:gd name="connsiteX1" fmla="*/ 0 w 171286"/>
                        <a:gd name="connsiteY1" fmla="*/ 6667 h 41025"/>
                        <a:gd name="connsiteX2" fmla="*/ 6667 w 171286"/>
                        <a:gd name="connsiteY2" fmla="*/ 0 h 41025"/>
                        <a:gd name="connsiteX3" fmla="*/ 13333 w 171286"/>
                        <a:gd name="connsiteY3" fmla="*/ 6667 h 41025"/>
                        <a:gd name="connsiteX4" fmla="*/ 85640 w 171286"/>
                        <a:gd name="connsiteY4" fmla="*/ 27693 h 41025"/>
                        <a:gd name="connsiteX5" fmla="*/ 157961 w 171286"/>
                        <a:gd name="connsiteY5" fmla="*/ 6667 h 41025"/>
                        <a:gd name="connsiteX6" fmla="*/ 164624 w 171286"/>
                        <a:gd name="connsiteY6" fmla="*/ 0 h 41025"/>
                        <a:gd name="connsiteX7" fmla="*/ 171286 w 171286"/>
                        <a:gd name="connsiteY7" fmla="*/ 6667 h 41025"/>
                        <a:gd name="connsiteX8" fmla="*/ 85640 w 171286"/>
                        <a:gd name="connsiteY8" fmla="*/ 41026 h 4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86" h="41025">
                          <a:moveTo>
                            <a:pt x="85640" y="41026"/>
                          </a:moveTo>
                          <a:cubicBezTo>
                            <a:pt x="43086" y="41026"/>
                            <a:pt x="0" y="29223"/>
                            <a:pt x="0" y="6667"/>
                          </a:cubicBezTo>
                          <a:cubicBezTo>
                            <a:pt x="0" y="2986"/>
                            <a:pt x="2982" y="0"/>
                            <a:pt x="6667" y="0"/>
                          </a:cubicBezTo>
                          <a:cubicBezTo>
                            <a:pt x="10352" y="0"/>
                            <a:pt x="13333" y="2986"/>
                            <a:pt x="13333" y="6667"/>
                          </a:cubicBezTo>
                          <a:cubicBezTo>
                            <a:pt x="13333" y="15036"/>
                            <a:pt x="42176" y="27693"/>
                            <a:pt x="85640" y="27693"/>
                          </a:cubicBezTo>
                          <a:cubicBezTo>
                            <a:pt x="129111" y="27693"/>
                            <a:pt x="157961" y="15036"/>
                            <a:pt x="157961" y="6667"/>
                          </a:cubicBezTo>
                          <a:cubicBezTo>
                            <a:pt x="157961" y="2986"/>
                            <a:pt x="160943" y="0"/>
                            <a:pt x="164624" y="0"/>
                          </a:cubicBezTo>
                          <a:cubicBezTo>
                            <a:pt x="168305" y="0"/>
                            <a:pt x="171286" y="2986"/>
                            <a:pt x="171286" y="6667"/>
                          </a:cubicBezTo>
                          <a:cubicBezTo>
                            <a:pt x="171286" y="29223"/>
                            <a:pt x="128206" y="41026"/>
                            <a:pt x="85640" y="41026"/>
                          </a:cubicBezTo>
                          <a:close/>
                        </a:path>
                      </a:pathLst>
                    </a:custGeom>
                    <a:grpFill/>
                    <a:ln w="205" cap="flat">
                      <a:noFill/>
                      <a:prstDash val="solid"/>
                      <a:miter/>
                    </a:ln>
                  </p:spPr>
                  <p:txBody>
                    <a:bodyPr rtlCol="0" anchor="ctr"/>
                    <a:lstStyle/>
                    <a:p>
                      <a:endParaRPr lang="en-GB" dirty="0"/>
                    </a:p>
                  </p:txBody>
                </p:sp>
                <p:sp>
                  <p:nvSpPr>
                    <p:cNvPr id="365" name="Freihandform: Form 49">
                      <a:extLst>
                        <a:ext uri="{FF2B5EF4-FFF2-40B4-BE49-F238E27FC236}">
                          <a16:creationId xmlns:a16="http://schemas.microsoft.com/office/drawing/2014/main" id="{B46A9E9A-07EE-4656-8F0A-23C293FF8230}"/>
                        </a:ext>
                      </a:extLst>
                    </p:cNvPr>
                    <p:cNvSpPr/>
                    <p:nvPr/>
                  </p:nvSpPr>
                  <p:spPr>
                    <a:xfrm>
                      <a:off x="2830124" y="1882703"/>
                      <a:ext cx="128124" cy="75642"/>
                    </a:xfrm>
                    <a:custGeom>
                      <a:avLst/>
                      <a:gdLst>
                        <a:gd name="connsiteX0" fmla="*/ 42478 w 128124"/>
                        <a:gd name="connsiteY0" fmla="*/ 75642 h 75642"/>
                        <a:gd name="connsiteX1" fmla="*/ 5497 w 128124"/>
                        <a:gd name="connsiteY1" fmla="*/ 72533 h 75642"/>
                        <a:gd name="connsiteX2" fmla="*/ 106 w 128124"/>
                        <a:gd name="connsiteY2" fmla="*/ 64799 h 75642"/>
                        <a:gd name="connsiteX3" fmla="*/ 7840 w 128124"/>
                        <a:gd name="connsiteY3" fmla="*/ 59407 h 75642"/>
                        <a:gd name="connsiteX4" fmla="*/ 42478 w 128124"/>
                        <a:gd name="connsiteY4" fmla="*/ 62309 h 75642"/>
                        <a:gd name="connsiteX5" fmla="*/ 114800 w 128124"/>
                        <a:gd name="connsiteY5" fmla="*/ 41283 h 75642"/>
                        <a:gd name="connsiteX6" fmla="*/ 114800 w 128124"/>
                        <a:gd name="connsiteY6" fmla="*/ 6667 h 75642"/>
                        <a:gd name="connsiteX7" fmla="*/ 121462 w 128124"/>
                        <a:gd name="connsiteY7" fmla="*/ 0 h 75642"/>
                        <a:gd name="connsiteX8" fmla="*/ 128125 w 128124"/>
                        <a:gd name="connsiteY8" fmla="*/ 6667 h 75642"/>
                        <a:gd name="connsiteX9" fmla="*/ 128125 w 128124"/>
                        <a:gd name="connsiteY9" fmla="*/ 41283 h 75642"/>
                        <a:gd name="connsiteX10" fmla="*/ 42478 w 128124"/>
                        <a:gd name="connsiteY10" fmla="*/ 75642 h 7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124" h="75642">
                          <a:moveTo>
                            <a:pt x="42478" y="75642"/>
                          </a:moveTo>
                          <a:cubicBezTo>
                            <a:pt x="29483" y="75642"/>
                            <a:pt x="17042" y="74598"/>
                            <a:pt x="5497" y="72533"/>
                          </a:cubicBezTo>
                          <a:cubicBezTo>
                            <a:pt x="1870" y="71885"/>
                            <a:pt x="-544" y="68422"/>
                            <a:pt x="106" y="64799"/>
                          </a:cubicBezTo>
                          <a:cubicBezTo>
                            <a:pt x="758" y="61172"/>
                            <a:pt x="4202" y="58735"/>
                            <a:pt x="7840" y="59407"/>
                          </a:cubicBezTo>
                          <a:cubicBezTo>
                            <a:pt x="18615" y="61332"/>
                            <a:pt x="30268" y="62309"/>
                            <a:pt x="42478" y="62309"/>
                          </a:cubicBezTo>
                          <a:cubicBezTo>
                            <a:pt x="85949" y="62309"/>
                            <a:pt x="114800" y="49652"/>
                            <a:pt x="114800" y="41283"/>
                          </a:cubicBezTo>
                          <a:lnTo>
                            <a:pt x="114800" y="6667"/>
                          </a:lnTo>
                          <a:cubicBezTo>
                            <a:pt x="114800" y="2986"/>
                            <a:pt x="117781" y="0"/>
                            <a:pt x="121462" y="0"/>
                          </a:cubicBezTo>
                          <a:cubicBezTo>
                            <a:pt x="125143" y="0"/>
                            <a:pt x="128125" y="2986"/>
                            <a:pt x="128125" y="6667"/>
                          </a:cubicBezTo>
                          <a:lnTo>
                            <a:pt x="128125" y="41283"/>
                          </a:lnTo>
                          <a:cubicBezTo>
                            <a:pt x="128125" y="63837"/>
                            <a:pt x="85045" y="75642"/>
                            <a:pt x="42478" y="75642"/>
                          </a:cubicBezTo>
                          <a:close/>
                        </a:path>
                      </a:pathLst>
                    </a:custGeom>
                    <a:grpFill/>
                    <a:ln w="205" cap="flat">
                      <a:noFill/>
                      <a:prstDash val="solid"/>
                      <a:miter/>
                    </a:ln>
                  </p:spPr>
                  <p:txBody>
                    <a:bodyPr rtlCol="0" anchor="ctr"/>
                    <a:lstStyle/>
                    <a:p>
                      <a:endParaRPr lang="en-GB" dirty="0"/>
                    </a:p>
                  </p:txBody>
                </p:sp>
              </p:grpSp>
              <p:grpSp>
                <p:nvGrpSpPr>
                  <p:cNvPr id="361" name="Grafik 348">
                    <a:extLst>
                      <a:ext uri="{FF2B5EF4-FFF2-40B4-BE49-F238E27FC236}">
                        <a16:creationId xmlns:a16="http://schemas.microsoft.com/office/drawing/2014/main" id="{A2F761A9-6BB7-4DAE-99CF-DEB7BAF0C542}"/>
                      </a:ext>
                    </a:extLst>
                  </p:cNvPr>
                  <p:cNvGrpSpPr/>
                  <p:nvPr/>
                </p:nvGrpSpPr>
                <p:grpSpPr>
                  <a:xfrm>
                    <a:off x="2786962" y="1821260"/>
                    <a:ext cx="171286" cy="103332"/>
                    <a:chOff x="2786962" y="1821260"/>
                    <a:chExt cx="171286" cy="103332"/>
                  </a:xfrm>
                  <a:grpFill/>
                </p:grpSpPr>
                <p:sp>
                  <p:nvSpPr>
                    <p:cNvPr id="362" name="Freihandform: Form 51">
                      <a:extLst>
                        <a:ext uri="{FF2B5EF4-FFF2-40B4-BE49-F238E27FC236}">
                          <a16:creationId xmlns:a16="http://schemas.microsoft.com/office/drawing/2014/main" id="{D48BB097-1733-428C-AE9E-573F3917D1DE}"/>
                        </a:ext>
                      </a:extLst>
                    </p:cNvPr>
                    <p:cNvSpPr/>
                    <p:nvPr/>
                  </p:nvSpPr>
                  <p:spPr>
                    <a:xfrm>
                      <a:off x="2786962" y="1821260"/>
                      <a:ext cx="171286" cy="68716"/>
                    </a:xfrm>
                    <a:custGeom>
                      <a:avLst/>
                      <a:gdLst>
                        <a:gd name="connsiteX0" fmla="*/ 85640 w 171286"/>
                        <a:gd name="connsiteY0" fmla="*/ 68717 h 68716"/>
                        <a:gd name="connsiteX1" fmla="*/ 0 w 171286"/>
                        <a:gd name="connsiteY1" fmla="*/ 34359 h 68716"/>
                        <a:gd name="connsiteX2" fmla="*/ 85640 w 171286"/>
                        <a:gd name="connsiteY2" fmla="*/ 0 h 68716"/>
                        <a:gd name="connsiteX3" fmla="*/ 171286 w 171286"/>
                        <a:gd name="connsiteY3" fmla="*/ 34359 h 68716"/>
                        <a:gd name="connsiteX4" fmla="*/ 85640 w 171286"/>
                        <a:gd name="connsiteY4" fmla="*/ 68717 h 68716"/>
                        <a:gd name="connsiteX5" fmla="*/ 85640 w 171286"/>
                        <a:gd name="connsiteY5" fmla="*/ 13335 h 68716"/>
                        <a:gd name="connsiteX6" fmla="*/ 13333 w 171286"/>
                        <a:gd name="connsiteY6" fmla="*/ 34361 h 68716"/>
                        <a:gd name="connsiteX7" fmla="*/ 85640 w 171286"/>
                        <a:gd name="connsiteY7" fmla="*/ 55383 h 68716"/>
                        <a:gd name="connsiteX8" fmla="*/ 157961 w 171286"/>
                        <a:gd name="connsiteY8" fmla="*/ 34361 h 68716"/>
                        <a:gd name="connsiteX9" fmla="*/ 85640 w 171286"/>
                        <a:gd name="connsiteY9" fmla="*/ 13335 h 6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286" h="68716">
                          <a:moveTo>
                            <a:pt x="85640" y="68717"/>
                          </a:moveTo>
                          <a:cubicBezTo>
                            <a:pt x="43086" y="68717"/>
                            <a:pt x="0" y="56915"/>
                            <a:pt x="0" y="34359"/>
                          </a:cubicBezTo>
                          <a:cubicBezTo>
                            <a:pt x="0" y="11803"/>
                            <a:pt x="43086" y="0"/>
                            <a:pt x="85640" y="0"/>
                          </a:cubicBezTo>
                          <a:cubicBezTo>
                            <a:pt x="128206" y="0"/>
                            <a:pt x="171286" y="11803"/>
                            <a:pt x="171286" y="34359"/>
                          </a:cubicBezTo>
                          <a:cubicBezTo>
                            <a:pt x="171286" y="56917"/>
                            <a:pt x="128206" y="68717"/>
                            <a:pt x="85640" y="68717"/>
                          </a:cubicBezTo>
                          <a:close/>
                          <a:moveTo>
                            <a:pt x="85640" y="13335"/>
                          </a:moveTo>
                          <a:cubicBezTo>
                            <a:pt x="42176" y="13335"/>
                            <a:pt x="13333" y="25992"/>
                            <a:pt x="13333" y="34361"/>
                          </a:cubicBezTo>
                          <a:cubicBezTo>
                            <a:pt x="13333" y="42731"/>
                            <a:pt x="42176" y="55383"/>
                            <a:pt x="85640" y="55383"/>
                          </a:cubicBezTo>
                          <a:cubicBezTo>
                            <a:pt x="129111" y="55383"/>
                            <a:pt x="157961" y="42731"/>
                            <a:pt x="157961" y="34361"/>
                          </a:cubicBezTo>
                          <a:cubicBezTo>
                            <a:pt x="157961" y="25990"/>
                            <a:pt x="129111" y="13335"/>
                            <a:pt x="85640" y="13335"/>
                          </a:cubicBezTo>
                          <a:close/>
                        </a:path>
                      </a:pathLst>
                    </a:custGeom>
                    <a:grpFill/>
                    <a:ln w="205" cap="flat">
                      <a:noFill/>
                      <a:prstDash val="solid"/>
                      <a:miter/>
                    </a:ln>
                  </p:spPr>
                  <p:txBody>
                    <a:bodyPr rtlCol="0" anchor="ctr"/>
                    <a:lstStyle/>
                    <a:p>
                      <a:endParaRPr lang="en-GB" dirty="0"/>
                    </a:p>
                  </p:txBody>
                </p:sp>
                <p:sp>
                  <p:nvSpPr>
                    <p:cNvPr id="363" name="Freihandform: Form 52">
                      <a:extLst>
                        <a:ext uri="{FF2B5EF4-FFF2-40B4-BE49-F238E27FC236}">
                          <a16:creationId xmlns:a16="http://schemas.microsoft.com/office/drawing/2014/main" id="{55119F39-E0F6-4A73-8B22-791F803065D7}"/>
                        </a:ext>
                      </a:extLst>
                    </p:cNvPr>
                    <p:cNvSpPr/>
                    <p:nvPr/>
                  </p:nvSpPr>
                  <p:spPr>
                    <a:xfrm>
                      <a:off x="2786962" y="1848953"/>
                      <a:ext cx="171286" cy="75640"/>
                    </a:xfrm>
                    <a:custGeom>
                      <a:avLst/>
                      <a:gdLst>
                        <a:gd name="connsiteX0" fmla="*/ 85640 w 171286"/>
                        <a:gd name="connsiteY0" fmla="*/ 75640 h 75640"/>
                        <a:gd name="connsiteX1" fmla="*/ 0 w 171286"/>
                        <a:gd name="connsiteY1" fmla="*/ 41281 h 75640"/>
                        <a:gd name="connsiteX2" fmla="*/ 0 w 171286"/>
                        <a:gd name="connsiteY2" fmla="*/ 6667 h 75640"/>
                        <a:gd name="connsiteX3" fmla="*/ 6667 w 171286"/>
                        <a:gd name="connsiteY3" fmla="*/ 0 h 75640"/>
                        <a:gd name="connsiteX4" fmla="*/ 13333 w 171286"/>
                        <a:gd name="connsiteY4" fmla="*/ 6667 h 75640"/>
                        <a:gd name="connsiteX5" fmla="*/ 13333 w 171286"/>
                        <a:gd name="connsiteY5" fmla="*/ 41281 h 75640"/>
                        <a:gd name="connsiteX6" fmla="*/ 85640 w 171286"/>
                        <a:gd name="connsiteY6" fmla="*/ 62307 h 75640"/>
                        <a:gd name="connsiteX7" fmla="*/ 157961 w 171286"/>
                        <a:gd name="connsiteY7" fmla="*/ 41281 h 75640"/>
                        <a:gd name="connsiteX8" fmla="*/ 157961 w 171286"/>
                        <a:gd name="connsiteY8" fmla="*/ 6667 h 75640"/>
                        <a:gd name="connsiteX9" fmla="*/ 164624 w 171286"/>
                        <a:gd name="connsiteY9" fmla="*/ 0 h 75640"/>
                        <a:gd name="connsiteX10" fmla="*/ 171286 w 171286"/>
                        <a:gd name="connsiteY10" fmla="*/ 6667 h 75640"/>
                        <a:gd name="connsiteX11" fmla="*/ 171286 w 171286"/>
                        <a:gd name="connsiteY11" fmla="*/ 41281 h 75640"/>
                        <a:gd name="connsiteX12" fmla="*/ 85640 w 171286"/>
                        <a:gd name="connsiteY12" fmla="*/ 75640 h 7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286" h="75640">
                          <a:moveTo>
                            <a:pt x="85640" y="75640"/>
                          </a:moveTo>
                          <a:cubicBezTo>
                            <a:pt x="43086" y="75640"/>
                            <a:pt x="0" y="63837"/>
                            <a:pt x="0" y="41281"/>
                          </a:cubicBezTo>
                          <a:lnTo>
                            <a:pt x="0" y="6667"/>
                          </a:lnTo>
                          <a:cubicBezTo>
                            <a:pt x="0" y="2986"/>
                            <a:pt x="2982" y="0"/>
                            <a:pt x="6667" y="0"/>
                          </a:cubicBezTo>
                          <a:cubicBezTo>
                            <a:pt x="10352" y="0"/>
                            <a:pt x="13333" y="2986"/>
                            <a:pt x="13333" y="6667"/>
                          </a:cubicBezTo>
                          <a:lnTo>
                            <a:pt x="13333" y="41281"/>
                          </a:lnTo>
                          <a:cubicBezTo>
                            <a:pt x="13333" y="49650"/>
                            <a:pt x="42176" y="62307"/>
                            <a:pt x="85640" y="62307"/>
                          </a:cubicBezTo>
                          <a:cubicBezTo>
                            <a:pt x="129111" y="62307"/>
                            <a:pt x="157961" y="49650"/>
                            <a:pt x="157961" y="41281"/>
                          </a:cubicBezTo>
                          <a:lnTo>
                            <a:pt x="157961" y="6667"/>
                          </a:lnTo>
                          <a:cubicBezTo>
                            <a:pt x="157961" y="2986"/>
                            <a:pt x="160943" y="0"/>
                            <a:pt x="164624" y="0"/>
                          </a:cubicBezTo>
                          <a:cubicBezTo>
                            <a:pt x="168305" y="0"/>
                            <a:pt x="171286" y="2986"/>
                            <a:pt x="171286" y="6667"/>
                          </a:cubicBezTo>
                          <a:lnTo>
                            <a:pt x="171286" y="41281"/>
                          </a:lnTo>
                          <a:cubicBezTo>
                            <a:pt x="171286" y="63837"/>
                            <a:pt x="128206" y="75640"/>
                            <a:pt x="85640" y="75640"/>
                          </a:cubicBezTo>
                          <a:close/>
                        </a:path>
                      </a:pathLst>
                    </a:custGeom>
                    <a:grpFill/>
                    <a:ln w="205" cap="flat">
                      <a:noFill/>
                      <a:prstDash val="solid"/>
                      <a:miter/>
                    </a:ln>
                  </p:spPr>
                  <p:txBody>
                    <a:bodyPr rtlCol="0" anchor="ctr"/>
                    <a:lstStyle/>
                    <a:p>
                      <a:endParaRPr lang="en-GB" dirty="0"/>
                    </a:p>
                  </p:txBody>
                </p:sp>
              </p:grpSp>
            </p:grpSp>
          </p:grpSp>
          <p:sp>
            <p:nvSpPr>
              <p:cNvPr id="355" name="Freihandform: Form 53">
                <a:extLst>
                  <a:ext uri="{FF2B5EF4-FFF2-40B4-BE49-F238E27FC236}">
                    <a16:creationId xmlns:a16="http://schemas.microsoft.com/office/drawing/2014/main" id="{58977EF7-5807-47B4-9D1F-4F2CE423BDB9}"/>
                  </a:ext>
                </a:extLst>
              </p:cNvPr>
              <p:cNvSpPr/>
              <p:nvPr/>
            </p:nvSpPr>
            <p:spPr>
              <a:xfrm>
                <a:off x="2642172" y="1887710"/>
                <a:ext cx="172380" cy="172384"/>
              </a:xfrm>
              <a:custGeom>
                <a:avLst/>
                <a:gdLst>
                  <a:gd name="connsiteX0" fmla="*/ 86193 w 172380"/>
                  <a:gd name="connsiteY0" fmla="*/ 172385 h 172384"/>
                  <a:gd name="connsiteX1" fmla="*/ 0 w 172380"/>
                  <a:gd name="connsiteY1" fmla="*/ 86191 h 172384"/>
                  <a:gd name="connsiteX2" fmla="*/ 86193 w 172380"/>
                  <a:gd name="connsiteY2" fmla="*/ 0 h 172384"/>
                  <a:gd name="connsiteX3" fmla="*/ 172380 w 172380"/>
                  <a:gd name="connsiteY3" fmla="*/ 86191 h 172384"/>
                  <a:gd name="connsiteX4" fmla="*/ 86193 w 172380"/>
                  <a:gd name="connsiteY4" fmla="*/ 172385 h 172384"/>
                  <a:gd name="connsiteX5" fmla="*/ 86193 w 172380"/>
                  <a:gd name="connsiteY5" fmla="*/ 13335 h 172384"/>
                  <a:gd name="connsiteX6" fmla="*/ 13333 w 172380"/>
                  <a:gd name="connsiteY6" fmla="*/ 86193 h 172384"/>
                  <a:gd name="connsiteX7" fmla="*/ 86193 w 172380"/>
                  <a:gd name="connsiteY7" fmla="*/ 159053 h 172384"/>
                  <a:gd name="connsiteX8" fmla="*/ 159047 w 172380"/>
                  <a:gd name="connsiteY8" fmla="*/ 86193 h 172384"/>
                  <a:gd name="connsiteX9" fmla="*/ 86193 w 172380"/>
                  <a:gd name="connsiteY9" fmla="*/ 13335 h 17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380" h="172384">
                    <a:moveTo>
                      <a:pt x="86193" y="172385"/>
                    </a:moveTo>
                    <a:cubicBezTo>
                      <a:pt x="38665" y="172385"/>
                      <a:pt x="0" y="133717"/>
                      <a:pt x="0" y="86191"/>
                    </a:cubicBezTo>
                    <a:cubicBezTo>
                      <a:pt x="0" y="38667"/>
                      <a:pt x="38667" y="0"/>
                      <a:pt x="86193" y="0"/>
                    </a:cubicBezTo>
                    <a:cubicBezTo>
                      <a:pt x="133715" y="0"/>
                      <a:pt x="172380" y="38667"/>
                      <a:pt x="172380" y="86191"/>
                    </a:cubicBezTo>
                    <a:cubicBezTo>
                      <a:pt x="172380" y="133719"/>
                      <a:pt x="133715" y="172385"/>
                      <a:pt x="86193" y="172385"/>
                    </a:cubicBezTo>
                    <a:close/>
                    <a:moveTo>
                      <a:pt x="86193" y="13335"/>
                    </a:moveTo>
                    <a:cubicBezTo>
                      <a:pt x="46017" y="13335"/>
                      <a:pt x="13333" y="46019"/>
                      <a:pt x="13333" y="86193"/>
                    </a:cubicBezTo>
                    <a:cubicBezTo>
                      <a:pt x="13333" y="126368"/>
                      <a:pt x="46017" y="159053"/>
                      <a:pt x="86193" y="159053"/>
                    </a:cubicBezTo>
                    <a:cubicBezTo>
                      <a:pt x="126364" y="159053"/>
                      <a:pt x="159047" y="126366"/>
                      <a:pt x="159047" y="86193"/>
                    </a:cubicBezTo>
                    <a:cubicBezTo>
                      <a:pt x="159047" y="46019"/>
                      <a:pt x="126364" y="13335"/>
                      <a:pt x="86193" y="13335"/>
                    </a:cubicBezTo>
                    <a:close/>
                  </a:path>
                </a:pathLst>
              </a:custGeom>
              <a:grpFill/>
              <a:ln w="205" cap="flat">
                <a:noFill/>
                <a:prstDash val="solid"/>
                <a:miter/>
              </a:ln>
            </p:spPr>
            <p:txBody>
              <a:bodyPr rtlCol="0" anchor="ctr"/>
              <a:lstStyle/>
              <a:p>
                <a:endParaRPr lang="en-GB" dirty="0"/>
              </a:p>
            </p:txBody>
          </p:sp>
          <p:sp>
            <p:nvSpPr>
              <p:cNvPr id="356" name="Freihandform: Form 54">
                <a:extLst>
                  <a:ext uri="{FF2B5EF4-FFF2-40B4-BE49-F238E27FC236}">
                    <a16:creationId xmlns:a16="http://schemas.microsoft.com/office/drawing/2014/main" id="{29790E30-A65C-4BBB-917F-8B38D7FB4DD6}"/>
                  </a:ext>
                </a:extLst>
              </p:cNvPr>
              <p:cNvSpPr/>
              <p:nvPr/>
            </p:nvSpPr>
            <p:spPr>
              <a:xfrm>
                <a:off x="2668363" y="1913900"/>
                <a:ext cx="120003" cy="120003"/>
              </a:xfrm>
              <a:custGeom>
                <a:avLst/>
                <a:gdLst>
                  <a:gd name="connsiteX0" fmla="*/ 60002 w 120003"/>
                  <a:gd name="connsiteY0" fmla="*/ 120004 h 120003"/>
                  <a:gd name="connsiteX1" fmla="*/ 0 w 120003"/>
                  <a:gd name="connsiteY1" fmla="*/ 60002 h 120003"/>
                  <a:gd name="connsiteX2" fmla="*/ 60002 w 120003"/>
                  <a:gd name="connsiteY2" fmla="*/ 0 h 120003"/>
                  <a:gd name="connsiteX3" fmla="*/ 120004 w 120003"/>
                  <a:gd name="connsiteY3" fmla="*/ 60002 h 120003"/>
                  <a:gd name="connsiteX4" fmla="*/ 60002 w 120003"/>
                  <a:gd name="connsiteY4" fmla="*/ 120004 h 120003"/>
                  <a:gd name="connsiteX5" fmla="*/ 60002 w 120003"/>
                  <a:gd name="connsiteY5" fmla="*/ 13333 h 120003"/>
                  <a:gd name="connsiteX6" fmla="*/ 13333 w 120003"/>
                  <a:gd name="connsiteY6" fmla="*/ 60002 h 120003"/>
                  <a:gd name="connsiteX7" fmla="*/ 60002 w 120003"/>
                  <a:gd name="connsiteY7" fmla="*/ 106670 h 120003"/>
                  <a:gd name="connsiteX8" fmla="*/ 106670 w 120003"/>
                  <a:gd name="connsiteY8" fmla="*/ 60002 h 120003"/>
                  <a:gd name="connsiteX9" fmla="*/ 60002 w 120003"/>
                  <a:gd name="connsiteY9" fmla="*/ 13333 h 12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003" h="120003">
                    <a:moveTo>
                      <a:pt x="60002" y="120004"/>
                    </a:moveTo>
                    <a:cubicBezTo>
                      <a:pt x="26915" y="120004"/>
                      <a:pt x="0" y="93086"/>
                      <a:pt x="0" y="60002"/>
                    </a:cubicBezTo>
                    <a:cubicBezTo>
                      <a:pt x="0" y="26917"/>
                      <a:pt x="26915" y="0"/>
                      <a:pt x="60002" y="0"/>
                    </a:cubicBezTo>
                    <a:cubicBezTo>
                      <a:pt x="93088" y="0"/>
                      <a:pt x="120004" y="26917"/>
                      <a:pt x="120004" y="60002"/>
                    </a:cubicBezTo>
                    <a:cubicBezTo>
                      <a:pt x="120004" y="93086"/>
                      <a:pt x="93088" y="120004"/>
                      <a:pt x="60002" y="120004"/>
                    </a:cubicBezTo>
                    <a:close/>
                    <a:moveTo>
                      <a:pt x="60002" y="13333"/>
                    </a:moveTo>
                    <a:cubicBezTo>
                      <a:pt x="34271" y="13333"/>
                      <a:pt x="13333" y="34269"/>
                      <a:pt x="13333" y="60002"/>
                    </a:cubicBezTo>
                    <a:cubicBezTo>
                      <a:pt x="13333" y="85735"/>
                      <a:pt x="34271" y="106670"/>
                      <a:pt x="60002" y="106670"/>
                    </a:cubicBezTo>
                    <a:cubicBezTo>
                      <a:pt x="85733" y="106670"/>
                      <a:pt x="106670" y="85735"/>
                      <a:pt x="106670" y="60002"/>
                    </a:cubicBezTo>
                    <a:cubicBezTo>
                      <a:pt x="106670" y="34269"/>
                      <a:pt x="85733" y="13333"/>
                      <a:pt x="60002" y="13333"/>
                    </a:cubicBezTo>
                    <a:close/>
                  </a:path>
                </a:pathLst>
              </a:custGeom>
              <a:grpFill/>
              <a:ln w="205" cap="flat">
                <a:noFill/>
                <a:prstDash val="solid"/>
                <a:miter/>
              </a:ln>
            </p:spPr>
            <p:txBody>
              <a:bodyPr rtlCol="0" anchor="ctr"/>
              <a:lstStyle/>
              <a:p>
                <a:endParaRPr lang="en-GB" dirty="0"/>
              </a:p>
            </p:txBody>
          </p:sp>
        </p:grpSp>
        <p:sp>
          <p:nvSpPr>
            <p:cNvPr id="353" name="Freihandform: Form 55">
              <a:extLst>
                <a:ext uri="{FF2B5EF4-FFF2-40B4-BE49-F238E27FC236}">
                  <a16:creationId xmlns:a16="http://schemas.microsoft.com/office/drawing/2014/main" id="{A42293B9-C3FA-4FFB-A8E0-2556C3C22D91}"/>
                </a:ext>
              </a:extLst>
            </p:cNvPr>
            <p:cNvSpPr/>
            <p:nvPr/>
          </p:nvSpPr>
          <p:spPr>
            <a:xfrm>
              <a:off x="1620160" y="4002611"/>
              <a:ext cx="438648" cy="241540"/>
            </a:xfrm>
            <a:custGeom>
              <a:avLst/>
              <a:gdLst>
                <a:gd name="connsiteX0" fmla="*/ 6666 w 440020"/>
                <a:gd name="connsiteY0" fmla="*/ 242295 h 242295"/>
                <a:gd name="connsiteX1" fmla="*/ 1953 w 440020"/>
                <a:gd name="connsiteY1" fmla="*/ 240342 h 242295"/>
                <a:gd name="connsiteX2" fmla="*/ 1953 w 440020"/>
                <a:gd name="connsiteY2" fmla="*/ 230913 h 242295"/>
                <a:gd name="connsiteX3" fmla="*/ 43581 w 440020"/>
                <a:gd name="connsiteY3" fmla="*/ 189285 h 242295"/>
                <a:gd name="connsiteX4" fmla="*/ 53009 w 440020"/>
                <a:gd name="connsiteY4" fmla="*/ 189285 h 242295"/>
                <a:gd name="connsiteX5" fmla="*/ 88890 w 440020"/>
                <a:gd name="connsiteY5" fmla="*/ 225162 h 242295"/>
                <a:gd name="connsiteX6" fmla="*/ 126001 w 440020"/>
                <a:gd name="connsiteY6" fmla="*/ 169486 h 242295"/>
                <a:gd name="connsiteX7" fmla="*/ 133163 w 440020"/>
                <a:gd name="connsiteY7" fmla="*/ 166717 h 242295"/>
                <a:gd name="connsiteX8" fmla="*/ 170000 w 440020"/>
                <a:gd name="connsiteY8" fmla="*/ 175925 h 242295"/>
                <a:gd name="connsiteX9" fmla="*/ 229905 w 440020"/>
                <a:gd name="connsiteY9" fmla="*/ 76094 h 242295"/>
                <a:gd name="connsiteX10" fmla="*/ 235172 w 440020"/>
                <a:gd name="connsiteY10" fmla="*/ 72874 h 242295"/>
                <a:gd name="connsiteX11" fmla="*/ 240829 w 440020"/>
                <a:gd name="connsiteY11" fmla="*/ 75360 h 242295"/>
                <a:gd name="connsiteX12" fmla="*/ 276187 w 440020"/>
                <a:gd name="connsiteY12" fmla="*/ 119567 h 242295"/>
                <a:gd name="connsiteX13" fmla="*/ 333835 w 440020"/>
                <a:gd name="connsiteY13" fmla="*/ 13886 h 242295"/>
                <a:gd name="connsiteX14" fmla="*/ 339037 w 440020"/>
                <a:gd name="connsiteY14" fmla="*/ 10445 h 242295"/>
                <a:gd name="connsiteX15" fmla="*/ 344815 w 440020"/>
                <a:gd name="connsiteY15" fmla="*/ 12812 h 242295"/>
                <a:gd name="connsiteX16" fmla="*/ 390692 w 440020"/>
                <a:gd name="connsiteY16" fmla="*/ 67879 h 242295"/>
                <a:gd name="connsiteX17" fmla="*/ 427562 w 440020"/>
                <a:gd name="connsiteY17" fmla="*/ 3361 h 242295"/>
                <a:gd name="connsiteX18" fmla="*/ 436651 w 440020"/>
                <a:gd name="connsiteY18" fmla="*/ 881 h 242295"/>
                <a:gd name="connsiteX19" fmla="*/ 439139 w 440020"/>
                <a:gd name="connsiteY19" fmla="*/ 9977 h 242295"/>
                <a:gd name="connsiteX20" fmla="*/ 397499 w 440020"/>
                <a:gd name="connsiteY20" fmla="*/ 82830 h 242295"/>
                <a:gd name="connsiteX21" fmla="*/ 392296 w 440020"/>
                <a:gd name="connsiteY21" fmla="*/ 86164 h 242295"/>
                <a:gd name="connsiteX22" fmla="*/ 386600 w 440020"/>
                <a:gd name="connsiteY22" fmla="*/ 83791 h 242295"/>
                <a:gd name="connsiteX23" fmla="*/ 340847 w 440020"/>
                <a:gd name="connsiteY23" fmla="*/ 28883 h 242295"/>
                <a:gd name="connsiteX24" fmla="*/ 283095 w 440020"/>
                <a:gd name="connsiteY24" fmla="*/ 134749 h 242295"/>
                <a:gd name="connsiteX25" fmla="*/ 277828 w 440020"/>
                <a:gd name="connsiteY25" fmla="*/ 138195 h 242295"/>
                <a:gd name="connsiteX26" fmla="*/ 272034 w 440020"/>
                <a:gd name="connsiteY26" fmla="*/ 135717 h 242295"/>
                <a:gd name="connsiteX27" fmla="*/ 236401 w 440020"/>
                <a:gd name="connsiteY27" fmla="*/ 91171 h 242295"/>
                <a:gd name="connsiteX28" fmla="*/ 178894 w 440020"/>
                <a:gd name="connsiteY28" fmla="*/ 187017 h 242295"/>
                <a:gd name="connsiteX29" fmla="*/ 171563 w 440020"/>
                <a:gd name="connsiteY29" fmla="*/ 190054 h 242295"/>
                <a:gd name="connsiteX30" fmla="*/ 134491 w 440020"/>
                <a:gd name="connsiteY30" fmla="*/ 180786 h 242295"/>
                <a:gd name="connsiteX31" fmla="*/ 95473 w 440020"/>
                <a:gd name="connsiteY31" fmla="*/ 239320 h 242295"/>
                <a:gd name="connsiteX32" fmla="*/ 90583 w 440020"/>
                <a:gd name="connsiteY32" fmla="*/ 242256 h 242295"/>
                <a:gd name="connsiteX33" fmla="*/ 85211 w 440020"/>
                <a:gd name="connsiteY33" fmla="*/ 240335 h 242295"/>
                <a:gd name="connsiteX34" fmla="*/ 48296 w 440020"/>
                <a:gd name="connsiteY34" fmla="*/ 203420 h 242295"/>
                <a:gd name="connsiteX35" fmla="*/ 11381 w 440020"/>
                <a:gd name="connsiteY35" fmla="*/ 240335 h 242295"/>
                <a:gd name="connsiteX36" fmla="*/ 6666 w 440020"/>
                <a:gd name="connsiteY36" fmla="*/ 242295 h 24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0020" h="242295">
                  <a:moveTo>
                    <a:pt x="6666" y="242295"/>
                  </a:moveTo>
                  <a:cubicBezTo>
                    <a:pt x="4961" y="242295"/>
                    <a:pt x="3254" y="241643"/>
                    <a:pt x="1953" y="240342"/>
                  </a:cubicBezTo>
                  <a:cubicBezTo>
                    <a:pt x="-651" y="237738"/>
                    <a:pt x="-651" y="233519"/>
                    <a:pt x="1953" y="230913"/>
                  </a:cubicBezTo>
                  <a:lnTo>
                    <a:pt x="43581" y="189285"/>
                  </a:lnTo>
                  <a:cubicBezTo>
                    <a:pt x="46184" y="186681"/>
                    <a:pt x="50404" y="186681"/>
                    <a:pt x="53009" y="189285"/>
                  </a:cubicBezTo>
                  <a:lnTo>
                    <a:pt x="88890" y="225162"/>
                  </a:lnTo>
                  <a:lnTo>
                    <a:pt x="126001" y="169486"/>
                  </a:lnTo>
                  <a:cubicBezTo>
                    <a:pt x="127564" y="167142"/>
                    <a:pt x="130440" y="166036"/>
                    <a:pt x="133163" y="166717"/>
                  </a:cubicBezTo>
                  <a:lnTo>
                    <a:pt x="170000" y="175925"/>
                  </a:lnTo>
                  <a:lnTo>
                    <a:pt x="229905" y="76094"/>
                  </a:lnTo>
                  <a:cubicBezTo>
                    <a:pt x="231026" y="74223"/>
                    <a:pt x="232998" y="73022"/>
                    <a:pt x="235172" y="72874"/>
                  </a:cubicBezTo>
                  <a:cubicBezTo>
                    <a:pt x="237339" y="72744"/>
                    <a:pt x="239469" y="73659"/>
                    <a:pt x="240829" y="75360"/>
                  </a:cubicBezTo>
                  <a:lnTo>
                    <a:pt x="276187" y="119567"/>
                  </a:lnTo>
                  <a:lnTo>
                    <a:pt x="333835" y="13886"/>
                  </a:lnTo>
                  <a:cubicBezTo>
                    <a:pt x="334883" y="11949"/>
                    <a:pt x="336837" y="10659"/>
                    <a:pt x="339037" y="10445"/>
                  </a:cubicBezTo>
                  <a:cubicBezTo>
                    <a:pt x="341299" y="10211"/>
                    <a:pt x="343397" y="11114"/>
                    <a:pt x="344815" y="12812"/>
                  </a:cubicBezTo>
                  <a:lnTo>
                    <a:pt x="390692" y="67879"/>
                  </a:lnTo>
                  <a:lnTo>
                    <a:pt x="427562" y="3361"/>
                  </a:lnTo>
                  <a:cubicBezTo>
                    <a:pt x="429372" y="164"/>
                    <a:pt x="433443" y="-949"/>
                    <a:pt x="436651" y="881"/>
                  </a:cubicBezTo>
                  <a:cubicBezTo>
                    <a:pt x="439859" y="2707"/>
                    <a:pt x="440970" y="6779"/>
                    <a:pt x="439139" y="9977"/>
                  </a:cubicBezTo>
                  <a:lnTo>
                    <a:pt x="397499" y="82830"/>
                  </a:lnTo>
                  <a:cubicBezTo>
                    <a:pt x="396429" y="84728"/>
                    <a:pt x="394476" y="85973"/>
                    <a:pt x="392296" y="86164"/>
                  </a:cubicBezTo>
                  <a:cubicBezTo>
                    <a:pt x="390116" y="86339"/>
                    <a:pt x="387998" y="85467"/>
                    <a:pt x="386600" y="83791"/>
                  </a:cubicBezTo>
                  <a:lnTo>
                    <a:pt x="340847" y="28883"/>
                  </a:lnTo>
                  <a:lnTo>
                    <a:pt x="283095" y="134749"/>
                  </a:lnTo>
                  <a:cubicBezTo>
                    <a:pt x="282027" y="136704"/>
                    <a:pt x="280047" y="138000"/>
                    <a:pt x="277828" y="138195"/>
                  </a:cubicBezTo>
                  <a:cubicBezTo>
                    <a:pt x="275640" y="138409"/>
                    <a:pt x="273434" y="137465"/>
                    <a:pt x="272034" y="135717"/>
                  </a:cubicBezTo>
                  <a:lnTo>
                    <a:pt x="236401" y="91171"/>
                  </a:lnTo>
                  <a:lnTo>
                    <a:pt x="178894" y="187017"/>
                  </a:lnTo>
                  <a:cubicBezTo>
                    <a:pt x="177391" y="189529"/>
                    <a:pt x="174401" y="190753"/>
                    <a:pt x="171563" y="190054"/>
                  </a:cubicBezTo>
                  <a:lnTo>
                    <a:pt x="134491" y="180786"/>
                  </a:lnTo>
                  <a:lnTo>
                    <a:pt x="95473" y="239320"/>
                  </a:lnTo>
                  <a:cubicBezTo>
                    <a:pt x="94366" y="240979"/>
                    <a:pt x="92569" y="242061"/>
                    <a:pt x="90583" y="242256"/>
                  </a:cubicBezTo>
                  <a:cubicBezTo>
                    <a:pt x="88565" y="242468"/>
                    <a:pt x="86624" y="241744"/>
                    <a:pt x="85211" y="240335"/>
                  </a:cubicBezTo>
                  <a:lnTo>
                    <a:pt x="48296" y="203420"/>
                  </a:lnTo>
                  <a:lnTo>
                    <a:pt x="11381" y="240335"/>
                  </a:lnTo>
                  <a:cubicBezTo>
                    <a:pt x="10077" y="241643"/>
                    <a:pt x="8372" y="242295"/>
                    <a:pt x="6666" y="242295"/>
                  </a:cubicBezTo>
                  <a:close/>
                </a:path>
              </a:pathLst>
            </a:custGeom>
            <a:solidFill>
              <a:schemeClr val="accent1"/>
            </a:solidFill>
            <a:ln w="205" cap="flat">
              <a:noFill/>
              <a:prstDash val="solid"/>
              <a:miter/>
            </a:ln>
          </p:spPr>
          <p:txBody>
            <a:bodyPr rtlCol="0" anchor="ctr"/>
            <a:lstStyle/>
            <a:p>
              <a:endParaRPr lang="en-GB" dirty="0"/>
            </a:p>
          </p:txBody>
        </p:sp>
      </p:grpSp>
      <p:grpSp>
        <p:nvGrpSpPr>
          <p:cNvPr id="466" name="Group 465">
            <a:extLst>
              <a:ext uri="{FF2B5EF4-FFF2-40B4-BE49-F238E27FC236}">
                <a16:creationId xmlns:a16="http://schemas.microsoft.com/office/drawing/2014/main" id="{52AB1B12-1574-4872-B7DC-C90C93338BB0}"/>
              </a:ext>
            </a:extLst>
          </p:cNvPr>
          <p:cNvGrpSpPr/>
          <p:nvPr/>
        </p:nvGrpSpPr>
        <p:grpSpPr>
          <a:xfrm>
            <a:off x="2649052" y="4002611"/>
            <a:ext cx="471733" cy="432000"/>
            <a:chOff x="2649052" y="4002611"/>
            <a:chExt cx="471733" cy="432000"/>
          </a:xfrm>
        </p:grpSpPr>
        <p:grpSp>
          <p:nvGrpSpPr>
            <p:cNvPr id="371" name="Gruppieren 980">
              <a:extLst>
                <a:ext uri="{FF2B5EF4-FFF2-40B4-BE49-F238E27FC236}">
                  <a16:creationId xmlns:a16="http://schemas.microsoft.com/office/drawing/2014/main" id="{1597B2C4-F741-4F29-8436-D6F2EE65B13C}"/>
                </a:ext>
              </a:extLst>
            </p:cNvPr>
            <p:cNvGrpSpPr/>
            <p:nvPr/>
          </p:nvGrpSpPr>
          <p:grpSpPr>
            <a:xfrm>
              <a:off x="2649052" y="4002611"/>
              <a:ext cx="383853" cy="407123"/>
              <a:chOff x="1718648" y="3356270"/>
              <a:chExt cx="357910" cy="379607"/>
            </a:xfrm>
            <a:solidFill>
              <a:schemeClr val="accent1"/>
            </a:solidFill>
          </p:grpSpPr>
          <p:grpSp>
            <p:nvGrpSpPr>
              <p:cNvPr id="376" name="Grafik 348">
                <a:extLst>
                  <a:ext uri="{FF2B5EF4-FFF2-40B4-BE49-F238E27FC236}">
                    <a16:creationId xmlns:a16="http://schemas.microsoft.com/office/drawing/2014/main" id="{98353C89-E18A-4218-B632-A8195851F6F9}"/>
                  </a:ext>
                </a:extLst>
              </p:cNvPr>
              <p:cNvGrpSpPr/>
              <p:nvPr/>
            </p:nvGrpSpPr>
            <p:grpSpPr>
              <a:xfrm>
                <a:off x="1718648" y="3594655"/>
                <a:ext cx="122961" cy="124093"/>
                <a:chOff x="1718648" y="3594655"/>
                <a:chExt cx="122961" cy="124093"/>
              </a:xfrm>
              <a:solidFill>
                <a:schemeClr val="accent1"/>
              </a:solidFill>
            </p:grpSpPr>
            <p:sp>
              <p:nvSpPr>
                <p:cNvPr id="396" name="Freihandform: Form 138">
                  <a:extLst>
                    <a:ext uri="{FF2B5EF4-FFF2-40B4-BE49-F238E27FC236}">
                      <a16:creationId xmlns:a16="http://schemas.microsoft.com/office/drawing/2014/main" id="{A06B9FEF-B2F2-445D-AE0F-80B25DD61A03}"/>
                    </a:ext>
                  </a:extLst>
                </p:cNvPr>
                <p:cNvSpPr/>
                <p:nvPr/>
              </p:nvSpPr>
              <p:spPr>
                <a:xfrm>
                  <a:off x="1718648" y="3649651"/>
                  <a:ext cx="122961" cy="69097"/>
                </a:xfrm>
                <a:custGeom>
                  <a:avLst/>
                  <a:gdLst>
                    <a:gd name="connsiteX0" fmla="*/ 79726 w 122961"/>
                    <a:gd name="connsiteY0" fmla="*/ 69097 h 69097"/>
                    <a:gd name="connsiteX1" fmla="*/ 0 w 122961"/>
                    <a:gd name="connsiteY1" fmla="*/ 37656 h 69097"/>
                    <a:gd name="connsiteX2" fmla="*/ 0 w 122961"/>
                    <a:gd name="connsiteY2" fmla="*/ 6667 h 69097"/>
                    <a:gd name="connsiteX3" fmla="*/ 6667 w 122961"/>
                    <a:gd name="connsiteY3" fmla="*/ 0 h 69097"/>
                    <a:gd name="connsiteX4" fmla="*/ 13333 w 122961"/>
                    <a:gd name="connsiteY4" fmla="*/ 6667 h 69097"/>
                    <a:gd name="connsiteX5" fmla="*/ 13333 w 122961"/>
                    <a:gd name="connsiteY5" fmla="*/ 37656 h 69097"/>
                    <a:gd name="connsiteX6" fmla="*/ 79726 w 122961"/>
                    <a:gd name="connsiteY6" fmla="*/ 55772 h 69097"/>
                    <a:gd name="connsiteX7" fmla="*/ 114957 w 122961"/>
                    <a:gd name="connsiteY7" fmla="*/ 52420 h 69097"/>
                    <a:gd name="connsiteX8" fmla="*/ 122825 w 122961"/>
                    <a:gd name="connsiteY8" fmla="*/ 57602 h 69097"/>
                    <a:gd name="connsiteX9" fmla="*/ 117633 w 122961"/>
                    <a:gd name="connsiteY9" fmla="*/ 65478 h 69097"/>
                    <a:gd name="connsiteX10" fmla="*/ 79726 w 122961"/>
                    <a:gd name="connsiteY10" fmla="*/ 69097 h 6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961" h="69097">
                      <a:moveTo>
                        <a:pt x="79726" y="69097"/>
                      </a:moveTo>
                      <a:cubicBezTo>
                        <a:pt x="40109" y="69097"/>
                        <a:pt x="0" y="58301"/>
                        <a:pt x="0" y="37656"/>
                      </a:cubicBezTo>
                      <a:lnTo>
                        <a:pt x="0" y="6667"/>
                      </a:lnTo>
                      <a:cubicBezTo>
                        <a:pt x="0" y="2982"/>
                        <a:pt x="2986" y="0"/>
                        <a:pt x="6667" y="0"/>
                      </a:cubicBezTo>
                      <a:cubicBezTo>
                        <a:pt x="10347" y="0"/>
                        <a:pt x="13333" y="2982"/>
                        <a:pt x="13333" y="6667"/>
                      </a:cubicBezTo>
                      <a:lnTo>
                        <a:pt x="13333" y="37656"/>
                      </a:lnTo>
                      <a:cubicBezTo>
                        <a:pt x="13333" y="44030"/>
                        <a:pt x="38540" y="55772"/>
                        <a:pt x="79726" y="55772"/>
                      </a:cubicBezTo>
                      <a:cubicBezTo>
                        <a:pt x="92438" y="55772"/>
                        <a:pt x="103962" y="54682"/>
                        <a:pt x="114957" y="52420"/>
                      </a:cubicBezTo>
                      <a:cubicBezTo>
                        <a:pt x="118580" y="51700"/>
                        <a:pt x="122087" y="54003"/>
                        <a:pt x="122825" y="57602"/>
                      </a:cubicBezTo>
                      <a:cubicBezTo>
                        <a:pt x="123563" y="61221"/>
                        <a:pt x="121239" y="64758"/>
                        <a:pt x="117633" y="65478"/>
                      </a:cubicBezTo>
                      <a:cubicBezTo>
                        <a:pt x="105745" y="67925"/>
                        <a:pt x="93345" y="69097"/>
                        <a:pt x="79726" y="69097"/>
                      </a:cubicBezTo>
                      <a:close/>
                    </a:path>
                  </a:pathLst>
                </a:custGeom>
                <a:solidFill>
                  <a:schemeClr val="accent1"/>
                </a:solidFill>
                <a:ln w="205" cap="flat">
                  <a:noFill/>
                  <a:prstDash val="solid"/>
                  <a:miter/>
                </a:ln>
              </p:spPr>
              <p:txBody>
                <a:bodyPr rtlCol="0" anchor="ctr"/>
                <a:lstStyle/>
                <a:p>
                  <a:endParaRPr lang="en-GB" dirty="0"/>
                </a:p>
              </p:txBody>
            </p:sp>
            <p:grpSp>
              <p:nvGrpSpPr>
                <p:cNvPr id="397" name="Grafik 348">
                  <a:extLst>
                    <a:ext uri="{FF2B5EF4-FFF2-40B4-BE49-F238E27FC236}">
                      <a16:creationId xmlns:a16="http://schemas.microsoft.com/office/drawing/2014/main" id="{D28654E7-734B-4B4C-BBF4-9FF21B44EED8}"/>
                    </a:ext>
                  </a:extLst>
                </p:cNvPr>
                <p:cNvGrpSpPr/>
                <p:nvPr/>
              </p:nvGrpSpPr>
              <p:grpSpPr>
                <a:xfrm>
                  <a:off x="1718648" y="3594655"/>
                  <a:ext cx="122817" cy="93886"/>
                  <a:chOff x="1718648" y="3594655"/>
                  <a:chExt cx="122817" cy="93886"/>
                </a:xfrm>
                <a:solidFill>
                  <a:schemeClr val="accent1"/>
                </a:solidFill>
              </p:grpSpPr>
              <p:sp>
                <p:nvSpPr>
                  <p:cNvPr id="398" name="Freihandform: Form 140">
                    <a:extLst>
                      <a:ext uri="{FF2B5EF4-FFF2-40B4-BE49-F238E27FC236}">
                        <a16:creationId xmlns:a16="http://schemas.microsoft.com/office/drawing/2014/main" id="{AEA566CA-C2B3-4624-B5B5-EF4CBD3B74BF}"/>
                      </a:ext>
                    </a:extLst>
                  </p:cNvPr>
                  <p:cNvSpPr/>
                  <p:nvPr/>
                </p:nvSpPr>
                <p:spPr>
                  <a:xfrm>
                    <a:off x="1718648" y="3594655"/>
                    <a:ext cx="122817" cy="62907"/>
                  </a:xfrm>
                  <a:custGeom>
                    <a:avLst/>
                    <a:gdLst>
                      <a:gd name="connsiteX0" fmla="*/ 79726 w 122817"/>
                      <a:gd name="connsiteY0" fmla="*/ 62907 h 62907"/>
                      <a:gd name="connsiteX1" fmla="*/ 0 w 122817"/>
                      <a:gd name="connsiteY1" fmla="*/ 31454 h 62907"/>
                      <a:gd name="connsiteX2" fmla="*/ 79726 w 122817"/>
                      <a:gd name="connsiteY2" fmla="*/ 0 h 62907"/>
                      <a:gd name="connsiteX3" fmla="*/ 117462 w 122817"/>
                      <a:gd name="connsiteY3" fmla="*/ 3418 h 62907"/>
                      <a:gd name="connsiteX4" fmla="*/ 122687 w 122817"/>
                      <a:gd name="connsiteY4" fmla="*/ 11263 h 62907"/>
                      <a:gd name="connsiteX5" fmla="*/ 114838 w 122817"/>
                      <a:gd name="connsiteY5" fmla="*/ 16490 h 62907"/>
                      <a:gd name="connsiteX6" fmla="*/ 79726 w 122817"/>
                      <a:gd name="connsiteY6" fmla="*/ 13331 h 62907"/>
                      <a:gd name="connsiteX7" fmla="*/ 13333 w 122817"/>
                      <a:gd name="connsiteY7" fmla="*/ 31450 h 62907"/>
                      <a:gd name="connsiteX8" fmla="*/ 79726 w 122817"/>
                      <a:gd name="connsiteY8" fmla="*/ 49568 h 62907"/>
                      <a:gd name="connsiteX9" fmla="*/ 114219 w 122817"/>
                      <a:gd name="connsiteY9" fmla="*/ 46521 h 62907"/>
                      <a:gd name="connsiteX10" fmla="*/ 122019 w 122817"/>
                      <a:gd name="connsiteY10" fmla="*/ 51820 h 62907"/>
                      <a:gd name="connsiteX11" fmla="*/ 116720 w 122817"/>
                      <a:gd name="connsiteY11" fmla="*/ 59619 h 62907"/>
                      <a:gd name="connsiteX12" fmla="*/ 79726 w 122817"/>
                      <a:gd name="connsiteY12" fmla="*/ 62907 h 6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817" h="62907">
                        <a:moveTo>
                          <a:pt x="79726" y="62907"/>
                        </a:moveTo>
                        <a:cubicBezTo>
                          <a:pt x="40109" y="62907"/>
                          <a:pt x="0" y="52106"/>
                          <a:pt x="0" y="31454"/>
                        </a:cubicBezTo>
                        <a:cubicBezTo>
                          <a:pt x="0" y="10802"/>
                          <a:pt x="40109" y="0"/>
                          <a:pt x="79726" y="0"/>
                        </a:cubicBezTo>
                        <a:cubicBezTo>
                          <a:pt x="93650" y="0"/>
                          <a:pt x="105994" y="1121"/>
                          <a:pt x="117462" y="3418"/>
                        </a:cubicBezTo>
                        <a:cubicBezTo>
                          <a:pt x="121073" y="4139"/>
                          <a:pt x="123409" y="7656"/>
                          <a:pt x="122687" y="11263"/>
                        </a:cubicBezTo>
                        <a:cubicBezTo>
                          <a:pt x="121965" y="14875"/>
                          <a:pt x="118465" y="17226"/>
                          <a:pt x="114838" y="16490"/>
                        </a:cubicBezTo>
                        <a:cubicBezTo>
                          <a:pt x="104242" y="14368"/>
                          <a:pt x="92757" y="13331"/>
                          <a:pt x="79726" y="13331"/>
                        </a:cubicBezTo>
                        <a:cubicBezTo>
                          <a:pt x="38540" y="13331"/>
                          <a:pt x="13333" y="25063"/>
                          <a:pt x="13333" y="31450"/>
                        </a:cubicBezTo>
                        <a:cubicBezTo>
                          <a:pt x="13333" y="37837"/>
                          <a:pt x="38540" y="49568"/>
                          <a:pt x="79726" y="49568"/>
                        </a:cubicBezTo>
                        <a:cubicBezTo>
                          <a:pt x="91858" y="49568"/>
                          <a:pt x="103785" y="48513"/>
                          <a:pt x="114219" y="46521"/>
                        </a:cubicBezTo>
                        <a:cubicBezTo>
                          <a:pt x="117861" y="45856"/>
                          <a:pt x="121326" y="48207"/>
                          <a:pt x="122019" y="51820"/>
                        </a:cubicBezTo>
                        <a:cubicBezTo>
                          <a:pt x="122710" y="55433"/>
                          <a:pt x="120337" y="58928"/>
                          <a:pt x="116720" y="59619"/>
                        </a:cubicBezTo>
                        <a:cubicBezTo>
                          <a:pt x="105475" y="61774"/>
                          <a:pt x="92685" y="62907"/>
                          <a:pt x="79726" y="62907"/>
                        </a:cubicBezTo>
                        <a:close/>
                      </a:path>
                    </a:pathLst>
                  </a:custGeom>
                  <a:solidFill>
                    <a:schemeClr val="accent1"/>
                  </a:solidFill>
                  <a:ln w="205" cap="flat">
                    <a:noFill/>
                    <a:prstDash val="solid"/>
                    <a:miter/>
                  </a:ln>
                </p:spPr>
                <p:txBody>
                  <a:bodyPr rtlCol="0" anchor="ctr"/>
                  <a:lstStyle/>
                  <a:p>
                    <a:endParaRPr lang="en-GB" dirty="0"/>
                  </a:p>
                </p:txBody>
              </p:sp>
              <p:sp>
                <p:nvSpPr>
                  <p:cNvPr id="399" name="Freihandform: Form 141">
                    <a:extLst>
                      <a:ext uri="{FF2B5EF4-FFF2-40B4-BE49-F238E27FC236}">
                        <a16:creationId xmlns:a16="http://schemas.microsoft.com/office/drawing/2014/main" id="{D6AFB35D-AC96-41F7-B7A5-34CCD62B6682}"/>
                      </a:ext>
                    </a:extLst>
                  </p:cNvPr>
                  <p:cNvSpPr/>
                  <p:nvPr/>
                </p:nvSpPr>
                <p:spPr>
                  <a:xfrm>
                    <a:off x="1718648" y="3619442"/>
                    <a:ext cx="122333" cy="69099"/>
                  </a:xfrm>
                  <a:custGeom>
                    <a:avLst/>
                    <a:gdLst>
                      <a:gd name="connsiteX0" fmla="*/ 79726 w 122333"/>
                      <a:gd name="connsiteY0" fmla="*/ 69099 h 69099"/>
                      <a:gd name="connsiteX1" fmla="*/ 0 w 122333"/>
                      <a:gd name="connsiteY1" fmla="*/ 37652 h 69099"/>
                      <a:gd name="connsiteX2" fmla="*/ 0 w 122333"/>
                      <a:gd name="connsiteY2" fmla="*/ 6667 h 69099"/>
                      <a:gd name="connsiteX3" fmla="*/ 6667 w 122333"/>
                      <a:gd name="connsiteY3" fmla="*/ 0 h 69099"/>
                      <a:gd name="connsiteX4" fmla="*/ 13333 w 122333"/>
                      <a:gd name="connsiteY4" fmla="*/ 6667 h 69099"/>
                      <a:gd name="connsiteX5" fmla="*/ 13333 w 122333"/>
                      <a:gd name="connsiteY5" fmla="*/ 37652 h 69099"/>
                      <a:gd name="connsiteX6" fmla="*/ 79726 w 122333"/>
                      <a:gd name="connsiteY6" fmla="*/ 55770 h 69099"/>
                      <a:gd name="connsiteX7" fmla="*/ 114408 w 122333"/>
                      <a:gd name="connsiteY7" fmla="*/ 52683 h 69099"/>
                      <a:gd name="connsiteX8" fmla="*/ 122212 w 122333"/>
                      <a:gd name="connsiteY8" fmla="*/ 57976 h 69099"/>
                      <a:gd name="connsiteX9" fmla="*/ 116923 w 122333"/>
                      <a:gd name="connsiteY9" fmla="*/ 65788 h 69099"/>
                      <a:gd name="connsiteX10" fmla="*/ 79726 w 122333"/>
                      <a:gd name="connsiteY10" fmla="*/ 69099 h 6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333" h="69099">
                        <a:moveTo>
                          <a:pt x="79726" y="69099"/>
                        </a:moveTo>
                        <a:cubicBezTo>
                          <a:pt x="40109" y="69099"/>
                          <a:pt x="0" y="58303"/>
                          <a:pt x="0" y="37652"/>
                        </a:cubicBezTo>
                        <a:lnTo>
                          <a:pt x="0" y="6667"/>
                        </a:lnTo>
                        <a:cubicBezTo>
                          <a:pt x="0" y="2982"/>
                          <a:pt x="2986" y="0"/>
                          <a:pt x="6667" y="0"/>
                        </a:cubicBezTo>
                        <a:cubicBezTo>
                          <a:pt x="10347" y="0"/>
                          <a:pt x="13333" y="2982"/>
                          <a:pt x="13333" y="6667"/>
                        </a:cubicBezTo>
                        <a:lnTo>
                          <a:pt x="13333" y="37652"/>
                        </a:lnTo>
                        <a:cubicBezTo>
                          <a:pt x="13333" y="44038"/>
                          <a:pt x="38540" y="55770"/>
                          <a:pt x="79726" y="55770"/>
                        </a:cubicBezTo>
                        <a:cubicBezTo>
                          <a:pt x="91910" y="55770"/>
                          <a:pt x="103902" y="54703"/>
                          <a:pt x="114408" y="52683"/>
                        </a:cubicBezTo>
                        <a:cubicBezTo>
                          <a:pt x="118025" y="52019"/>
                          <a:pt x="121517" y="54363"/>
                          <a:pt x="122212" y="57976"/>
                        </a:cubicBezTo>
                        <a:cubicBezTo>
                          <a:pt x="122909" y="61589"/>
                          <a:pt x="120538" y="65089"/>
                          <a:pt x="116923" y="65788"/>
                        </a:cubicBezTo>
                        <a:cubicBezTo>
                          <a:pt x="105603" y="67968"/>
                          <a:pt x="92741" y="69099"/>
                          <a:pt x="79726" y="69099"/>
                        </a:cubicBezTo>
                        <a:close/>
                      </a:path>
                    </a:pathLst>
                  </a:custGeom>
                  <a:solidFill>
                    <a:schemeClr val="accent1"/>
                  </a:solidFill>
                  <a:ln w="205" cap="flat">
                    <a:noFill/>
                    <a:prstDash val="solid"/>
                    <a:miter/>
                  </a:ln>
                </p:spPr>
                <p:txBody>
                  <a:bodyPr rtlCol="0" anchor="ctr"/>
                  <a:lstStyle/>
                  <a:p>
                    <a:endParaRPr lang="en-GB" dirty="0"/>
                  </a:p>
                </p:txBody>
              </p:sp>
            </p:grpSp>
          </p:grpSp>
          <p:grpSp>
            <p:nvGrpSpPr>
              <p:cNvPr id="377" name="Grafik 348">
                <a:extLst>
                  <a:ext uri="{FF2B5EF4-FFF2-40B4-BE49-F238E27FC236}">
                    <a16:creationId xmlns:a16="http://schemas.microsoft.com/office/drawing/2014/main" id="{48581ED0-F0E5-45DD-BE69-F3BB5D9471F2}"/>
                  </a:ext>
                </a:extLst>
              </p:cNvPr>
              <p:cNvGrpSpPr/>
              <p:nvPr/>
            </p:nvGrpSpPr>
            <p:grpSpPr>
              <a:xfrm>
                <a:off x="1828458" y="3664938"/>
                <a:ext cx="159452" cy="70939"/>
                <a:chOff x="1828458" y="3664938"/>
                <a:chExt cx="159452" cy="70939"/>
              </a:xfrm>
              <a:solidFill>
                <a:schemeClr val="accent1"/>
              </a:solidFill>
            </p:grpSpPr>
            <p:sp>
              <p:nvSpPr>
                <p:cNvPr id="394" name="Freihandform: Form 143">
                  <a:extLst>
                    <a:ext uri="{FF2B5EF4-FFF2-40B4-BE49-F238E27FC236}">
                      <a16:creationId xmlns:a16="http://schemas.microsoft.com/office/drawing/2014/main" id="{71AF8495-39DD-475C-B6B3-DC244DCBC709}"/>
                    </a:ext>
                  </a:extLst>
                </p:cNvPr>
                <p:cNvSpPr/>
                <p:nvPr/>
              </p:nvSpPr>
              <p:spPr>
                <a:xfrm>
                  <a:off x="1828458" y="3664938"/>
                  <a:ext cx="159452" cy="38942"/>
                </a:xfrm>
                <a:custGeom>
                  <a:avLst/>
                  <a:gdLst>
                    <a:gd name="connsiteX0" fmla="*/ 79726 w 159452"/>
                    <a:gd name="connsiteY0" fmla="*/ 38943 h 38942"/>
                    <a:gd name="connsiteX1" fmla="*/ 0 w 159452"/>
                    <a:gd name="connsiteY1" fmla="*/ 6667 h 38942"/>
                    <a:gd name="connsiteX2" fmla="*/ 6667 w 159452"/>
                    <a:gd name="connsiteY2" fmla="*/ 0 h 38942"/>
                    <a:gd name="connsiteX3" fmla="*/ 13333 w 159452"/>
                    <a:gd name="connsiteY3" fmla="*/ 6667 h 38942"/>
                    <a:gd name="connsiteX4" fmla="*/ 79726 w 159452"/>
                    <a:gd name="connsiteY4" fmla="*/ 25597 h 38942"/>
                    <a:gd name="connsiteX5" fmla="*/ 146119 w 159452"/>
                    <a:gd name="connsiteY5" fmla="*/ 6667 h 38942"/>
                    <a:gd name="connsiteX6" fmla="*/ 152786 w 159452"/>
                    <a:gd name="connsiteY6" fmla="*/ 0 h 38942"/>
                    <a:gd name="connsiteX7" fmla="*/ 159452 w 159452"/>
                    <a:gd name="connsiteY7" fmla="*/ 6667 h 38942"/>
                    <a:gd name="connsiteX8" fmla="*/ 79726 w 159452"/>
                    <a:gd name="connsiteY8" fmla="*/ 38943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452" h="38942">
                      <a:moveTo>
                        <a:pt x="79726" y="38943"/>
                      </a:moveTo>
                      <a:cubicBezTo>
                        <a:pt x="40109" y="38943"/>
                        <a:pt x="0" y="27859"/>
                        <a:pt x="0" y="6667"/>
                      </a:cubicBezTo>
                      <a:cubicBezTo>
                        <a:pt x="0" y="2982"/>
                        <a:pt x="2986" y="0"/>
                        <a:pt x="6667" y="0"/>
                      </a:cubicBezTo>
                      <a:cubicBezTo>
                        <a:pt x="10348" y="0"/>
                        <a:pt x="13333" y="2982"/>
                        <a:pt x="13333" y="6667"/>
                      </a:cubicBezTo>
                      <a:cubicBezTo>
                        <a:pt x="13333" y="13093"/>
                        <a:pt x="36767" y="25597"/>
                        <a:pt x="79726" y="25597"/>
                      </a:cubicBezTo>
                      <a:cubicBezTo>
                        <a:pt x="122685" y="25597"/>
                        <a:pt x="146119" y="13093"/>
                        <a:pt x="146119" y="6667"/>
                      </a:cubicBezTo>
                      <a:cubicBezTo>
                        <a:pt x="146119" y="2982"/>
                        <a:pt x="149105" y="0"/>
                        <a:pt x="152786" y="0"/>
                      </a:cubicBezTo>
                      <a:cubicBezTo>
                        <a:pt x="156466" y="0"/>
                        <a:pt x="159452" y="2982"/>
                        <a:pt x="159452" y="6667"/>
                      </a:cubicBezTo>
                      <a:cubicBezTo>
                        <a:pt x="159452" y="27859"/>
                        <a:pt x="119343" y="38943"/>
                        <a:pt x="79726" y="38943"/>
                      </a:cubicBezTo>
                      <a:close/>
                    </a:path>
                  </a:pathLst>
                </a:custGeom>
                <a:solidFill>
                  <a:schemeClr val="accent1"/>
                </a:solidFill>
                <a:ln w="205" cap="flat">
                  <a:noFill/>
                  <a:prstDash val="solid"/>
                  <a:miter/>
                </a:ln>
              </p:spPr>
              <p:txBody>
                <a:bodyPr rtlCol="0" anchor="ctr"/>
                <a:lstStyle/>
                <a:p>
                  <a:endParaRPr lang="en-GB" dirty="0"/>
                </a:p>
              </p:txBody>
            </p:sp>
            <p:sp>
              <p:nvSpPr>
                <p:cNvPr id="395" name="Freihandform: Form 144">
                  <a:extLst>
                    <a:ext uri="{FF2B5EF4-FFF2-40B4-BE49-F238E27FC236}">
                      <a16:creationId xmlns:a16="http://schemas.microsoft.com/office/drawing/2014/main" id="{E1B14746-A8E0-4AC4-9C4A-D7982076D1F7}"/>
                    </a:ext>
                  </a:extLst>
                </p:cNvPr>
                <p:cNvSpPr/>
                <p:nvPr/>
              </p:nvSpPr>
              <p:spPr>
                <a:xfrm>
                  <a:off x="1828458" y="3664938"/>
                  <a:ext cx="159452" cy="70939"/>
                </a:xfrm>
                <a:custGeom>
                  <a:avLst/>
                  <a:gdLst>
                    <a:gd name="connsiteX0" fmla="*/ 79726 w 159452"/>
                    <a:gd name="connsiteY0" fmla="*/ 70940 h 70939"/>
                    <a:gd name="connsiteX1" fmla="*/ 0 w 159452"/>
                    <a:gd name="connsiteY1" fmla="*/ 38676 h 70939"/>
                    <a:gd name="connsiteX2" fmla="*/ 0 w 159452"/>
                    <a:gd name="connsiteY2" fmla="*/ 6667 h 70939"/>
                    <a:gd name="connsiteX3" fmla="*/ 6667 w 159452"/>
                    <a:gd name="connsiteY3" fmla="*/ 0 h 70939"/>
                    <a:gd name="connsiteX4" fmla="*/ 13333 w 159452"/>
                    <a:gd name="connsiteY4" fmla="*/ 6667 h 70939"/>
                    <a:gd name="connsiteX5" fmla="*/ 13333 w 159452"/>
                    <a:gd name="connsiteY5" fmla="*/ 38676 h 70939"/>
                    <a:gd name="connsiteX6" fmla="*/ 79726 w 159452"/>
                    <a:gd name="connsiteY6" fmla="*/ 57615 h 70939"/>
                    <a:gd name="connsiteX7" fmla="*/ 146119 w 159452"/>
                    <a:gd name="connsiteY7" fmla="*/ 38676 h 70939"/>
                    <a:gd name="connsiteX8" fmla="*/ 146119 w 159452"/>
                    <a:gd name="connsiteY8" fmla="*/ 6667 h 70939"/>
                    <a:gd name="connsiteX9" fmla="*/ 152786 w 159452"/>
                    <a:gd name="connsiteY9" fmla="*/ 0 h 70939"/>
                    <a:gd name="connsiteX10" fmla="*/ 159452 w 159452"/>
                    <a:gd name="connsiteY10" fmla="*/ 6667 h 70939"/>
                    <a:gd name="connsiteX11" fmla="*/ 159452 w 159452"/>
                    <a:gd name="connsiteY11" fmla="*/ 38676 h 70939"/>
                    <a:gd name="connsiteX12" fmla="*/ 79726 w 159452"/>
                    <a:gd name="connsiteY12" fmla="*/ 70940 h 7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452" h="70939">
                      <a:moveTo>
                        <a:pt x="79726" y="70940"/>
                      </a:moveTo>
                      <a:cubicBezTo>
                        <a:pt x="40109" y="70940"/>
                        <a:pt x="0" y="59856"/>
                        <a:pt x="0" y="38676"/>
                      </a:cubicBezTo>
                      <a:lnTo>
                        <a:pt x="0" y="6667"/>
                      </a:lnTo>
                      <a:cubicBezTo>
                        <a:pt x="0" y="2982"/>
                        <a:pt x="2986" y="0"/>
                        <a:pt x="6667" y="0"/>
                      </a:cubicBezTo>
                      <a:cubicBezTo>
                        <a:pt x="10348" y="0"/>
                        <a:pt x="13333" y="2982"/>
                        <a:pt x="13333" y="6667"/>
                      </a:cubicBezTo>
                      <a:lnTo>
                        <a:pt x="13333" y="38676"/>
                      </a:lnTo>
                      <a:cubicBezTo>
                        <a:pt x="13333" y="45091"/>
                        <a:pt x="36767" y="57615"/>
                        <a:pt x="79726" y="57615"/>
                      </a:cubicBezTo>
                      <a:cubicBezTo>
                        <a:pt x="122685" y="57615"/>
                        <a:pt x="146119" y="45091"/>
                        <a:pt x="146119" y="38676"/>
                      </a:cubicBezTo>
                      <a:lnTo>
                        <a:pt x="146119" y="6667"/>
                      </a:lnTo>
                      <a:cubicBezTo>
                        <a:pt x="146119" y="2982"/>
                        <a:pt x="149105" y="0"/>
                        <a:pt x="152786" y="0"/>
                      </a:cubicBezTo>
                      <a:cubicBezTo>
                        <a:pt x="156466" y="0"/>
                        <a:pt x="159452" y="2982"/>
                        <a:pt x="159452" y="6667"/>
                      </a:cubicBezTo>
                      <a:lnTo>
                        <a:pt x="159452" y="38676"/>
                      </a:lnTo>
                      <a:cubicBezTo>
                        <a:pt x="159452" y="59856"/>
                        <a:pt x="119343" y="70940"/>
                        <a:pt x="79726" y="70940"/>
                      </a:cubicBezTo>
                      <a:close/>
                    </a:path>
                  </a:pathLst>
                </a:custGeom>
                <a:solidFill>
                  <a:schemeClr val="accent1"/>
                </a:solidFill>
                <a:ln w="205" cap="flat">
                  <a:noFill/>
                  <a:prstDash val="solid"/>
                  <a:miter/>
                </a:ln>
              </p:spPr>
              <p:txBody>
                <a:bodyPr rtlCol="0" anchor="ctr"/>
                <a:lstStyle/>
                <a:p>
                  <a:endParaRPr lang="en-GB" dirty="0"/>
                </a:p>
              </p:txBody>
            </p:sp>
          </p:grpSp>
          <p:sp>
            <p:nvSpPr>
              <p:cNvPr id="378" name="Freihandform: Form 145">
                <a:extLst>
                  <a:ext uri="{FF2B5EF4-FFF2-40B4-BE49-F238E27FC236}">
                    <a16:creationId xmlns:a16="http://schemas.microsoft.com/office/drawing/2014/main" id="{320FE02C-2702-4AB2-A08D-A8B323036942}"/>
                  </a:ext>
                </a:extLst>
              </p:cNvPr>
              <p:cNvSpPr/>
              <p:nvPr/>
            </p:nvSpPr>
            <p:spPr>
              <a:xfrm>
                <a:off x="1828458" y="3633731"/>
                <a:ext cx="159452" cy="70951"/>
              </a:xfrm>
              <a:custGeom>
                <a:avLst/>
                <a:gdLst>
                  <a:gd name="connsiteX0" fmla="*/ 79726 w 159452"/>
                  <a:gd name="connsiteY0" fmla="*/ 70952 h 70951"/>
                  <a:gd name="connsiteX1" fmla="*/ 0 w 159452"/>
                  <a:gd name="connsiteY1" fmla="*/ 38674 h 70951"/>
                  <a:gd name="connsiteX2" fmla="*/ 0 w 159452"/>
                  <a:gd name="connsiteY2" fmla="*/ 6667 h 70951"/>
                  <a:gd name="connsiteX3" fmla="*/ 6667 w 159452"/>
                  <a:gd name="connsiteY3" fmla="*/ 0 h 70951"/>
                  <a:gd name="connsiteX4" fmla="*/ 13333 w 159452"/>
                  <a:gd name="connsiteY4" fmla="*/ 6667 h 70951"/>
                  <a:gd name="connsiteX5" fmla="*/ 13333 w 159452"/>
                  <a:gd name="connsiteY5" fmla="*/ 38674 h 70951"/>
                  <a:gd name="connsiteX6" fmla="*/ 79726 w 159452"/>
                  <a:gd name="connsiteY6" fmla="*/ 57606 h 70951"/>
                  <a:gd name="connsiteX7" fmla="*/ 138332 w 159452"/>
                  <a:gd name="connsiteY7" fmla="*/ 46485 h 70951"/>
                  <a:gd name="connsiteX8" fmla="*/ 146119 w 159452"/>
                  <a:gd name="connsiteY8" fmla="*/ 38674 h 70951"/>
                  <a:gd name="connsiteX9" fmla="*/ 146119 w 159452"/>
                  <a:gd name="connsiteY9" fmla="*/ 6667 h 70951"/>
                  <a:gd name="connsiteX10" fmla="*/ 152786 w 159452"/>
                  <a:gd name="connsiteY10" fmla="*/ 0 h 70951"/>
                  <a:gd name="connsiteX11" fmla="*/ 159452 w 159452"/>
                  <a:gd name="connsiteY11" fmla="*/ 6667 h 70951"/>
                  <a:gd name="connsiteX12" fmla="*/ 159452 w 159452"/>
                  <a:gd name="connsiteY12" fmla="*/ 38674 h 70951"/>
                  <a:gd name="connsiteX13" fmla="*/ 144813 w 159452"/>
                  <a:gd name="connsiteY13" fmla="*/ 58141 h 70951"/>
                  <a:gd name="connsiteX14" fmla="*/ 79726 w 159452"/>
                  <a:gd name="connsiteY14" fmla="*/ 70952 h 7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9452" h="70951">
                    <a:moveTo>
                      <a:pt x="79726" y="70952"/>
                    </a:moveTo>
                    <a:cubicBezTo>
                      <a:pt x="40109" y="70952"/>
                      <a:pt x="0" y="59868"/>
                      <a:pt x="0" y="38674"/>
                    </a:cubicBezTo>
                    <a:lnTo>
                      <a:pt x="0" y="6667"/>
                    </a:lnTo>
                    <a:cubicBezTo>
                      <a:pt x="0" y="2982"/>
                      <a:pt x="2986" y="0"/>
                      <a:pt x="6667" y="0"/>
                    </a:cubicBezTo>
                    <a:cubicBezTo>
                      <a:pt x="10348" y="0"/>
                      <a:pt x="13333" y="2982"/>
                      <a:pt x="13333" y="6667"/>
                    </a:cubicBezTo>
                    <a:lnTo>
                      <a:pt x="13333" y="38674"/>
                    </a:lnTo>
                    <a:cubicBezTo>
                      <a:pt x="13333" y="45100"/>
                      <a:pt x="36767" y="57606"/>
                      <a:pt x="79726" y="57606"/>
                    </a:cubicBezTo>
                    <a:cubicBezTo>
                      <a:pt x="103522" y="57606"/>
                      <a:pt x="125981" y="53350"/>
                      <a:pt x="138332" y="46485"/>
                    </a:cubicBezTo>
                    <a:cubicBezTo>
                      <a:pt x="144071" y="43288"/>
                      <a:pt x="146119" y="40352"/>
                      <a:pt x="146119" y="38674"/>
                    </a:cubicBezTo>
                    <a:lnTo>
                      <a:pt x="146119" y="6667"/>
                    </a:lnTo>
                    <a:cubicBezTo>
                      <a:pt x="146119" y="2982"/>
                      <a:pt x="149105" y="0"/>
                      <a:pt x="152786" y="0"/>
                    </a:cubicBezTo>
                    <a:cubicBezTo>
                      <a:pt x="156466" y="0"/>
                      <a:pt x="159452" y="2982"/>
                      <a:pt x="159452" y="6667"/>
                    </a:cubicBezTo>
                    <a:lnTo>
                      <a:pt x="159452" y="38674"/>
                    </a:lnTo>
                    <a:cubicBezTo>
                      <a:pt x="159452" y="43837"/>
                      <a:pt x="156913" y="51417"/>
                      <a:pt x="144813" y="58141"/>
                    </a:cubicBezTo>
                    <a:cubicBezTo>
                      <a:pt x="130376" y="66161"/>
                      <a:pt x="106045" y="70952"/>
                      <a:pt x="79726" y="70952"/>
                    </a:cubicBezTo>
                    <a:close/>
                  </a:path>
                </a:pathLst>
              </a:custGeom>
              <a:solidFill>
                <a:schemeClr val="accent1"/>
              </a:solidFill>
              <a:ln w="205" cap="flat">
                <a:noFill/>
                <a:prstDash val="solid"/>
                <a:miter/>
              </a:ln>
            </p:spPr>
            <p:txBody>
              <a:bodyPr rtlCol="0" anchor="ctr"/>
              <a:lstStyle/>
              <a:p>
                <a:endParaRPr lang="en-GB" dirty="0"/>
              </a:p>
            </p:txBody>
          </p:sp>
          <p:grpSp>
            <p:nvGrpSpPr>
              <p:cNvPr id="379" name="Grafik 348">
                <a:extLst>
                  <a:ext uri="{FF2B5EF4-FFF2-40B4-BE49-F238E27FC236}">
                    <a16:creationId xmlns:a16="http://schemas.microsoft.com/office/drawing/2014/main" id="{54B8E4D4-E99F-4B60-8FF6-64A273A3D7A5}"/>
                  </a:ext>
                </a:extLst>
              </p:cNvPr>
              <p:cNvGrpSpPr/>
              <p:nvPr/>
            </p:nvGrpSpPr>
            <p:grpSpPr>
              <a:xfrm>
                <a:off x="1828458" y="3602526"/>
                <a:ext cx="159452" cy="70902"/>
                <a:chOff x="1828458" y="3602526"/>
                <a:chExt cx="159452" cy="70902"/>
              </a:xfrm>
              <a:solidFill>
                <a:schemeClr val="accent1"/>
              </a:solidFill>
            </p:grpSpPr>
            <p:sp>
              <p:nvSpPr>
                <p:cNvPr id="392" name="Freihandform: Form 147">
                  <a:extLst>
                    <a:ext uri="{FF2B5EF4-FFF2-40B4-BE49-F238E27FC236}">
                      <a16:creationId xmlns:a16="http://schemas.microsoft.com/office/drawing/2014/main" id="{949E409D-8E8B-4A3F-9821-C8AA36E97F38}"/>
                    </a:ext>
                  </a:extLst>
                </p:cNvPr>
                <p:cNvSpPr/>
                <p:nvPr/>
              </p:nvSpPr>
              <p:spPr>
                <a:xfrm>
                  <a:off x="1828458" y="3602529"/>
                  <a:ext cx="82262" cy="70900"/>
                </a:xfrm>
                <a:custGeom>
                  <a:avLst/>
                  <a:gdLst>
                    <a:gd name="connsiteX0" fmla="*/ 75599 w 82262"/>
                    <a:gd name="connsiteY0" fmla="*/ 70900 h 70900"/>
                    <a:gd name="connsiteX1" fmla="*/ 75465 w 82262"/>
                    <a:gd name="connsiteY1" fmla="*/ 70900 h 70900"/>
                    <a:gd name="connsiteX2" fmla="*/ 0 w 82262"/>
                    <a:gd name="connsiteY2" fmla="*/ 38674 h 70900"/>
                    <a:gd name="connsiteX3" fmla="*/ 0 w 82262"/>
                    <a:gd name="connsiteY3" fmla="*/ 6667 h 70900"/>
                    <a:gd name="connsiteX4" fmla="*/ 6667 w 82262"/>
                    <a:gd name="connsiteY4" fmla="*/ 0 h 70900"/>
                    <a:gd name="connsiteX5" fmla="*/ 13333 w 82262"/>
                    <a:gd name="connsiteY5" fmla="*/ 6667 h 70900"/>
                    <a:gd name="connsiteX6" fmla="*/ 13333 w 82262"/>
                    <a:gd name="connsiteY6" fmla="*/ 38674 h 70900"/>
                    <a:gd name="connsiteX7" fmla="*/ 75724 w 82262"/>
                    <a:gd name="connsiteY7" fmla="*/ 57567 h 70900"/>
                    <a:gd name="connsiteX8" fmla="*/ 82262 w 82262"/>
                    <a:gd name="connsiteY8" fmla="*/ 64363 h 70900"/>
                    <a:gd name="connsiteX9" fmla="*/ 75599 w 82262"/>
                    <a:gd name="connsiteY9" fmla="*/ 70900 h 7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262" h="70900">
                      <a:moveTo>
                        <a:pt x="75599" y="70900"/>
                      </a:moveTo>
                      <a:cubicBezTo>
                        <a:pt x="75554" y="70900"/>
                        <a:pt x="75511" y="70900"/>
                        <a:pt x="75465" y="70900"/>
                      </a:cubicBezTo>
                      <a:cubicBezTo>
                        <a:pt x="39120" y="70191"/>
                        <a:pt x="0" y="59806"/>
                        <a:pt x="0" y="38674"/>
                      </a:cubicBezTo>
                      <a:lnTo>
                        <a:pt x="0" y="6667"/>
                      </a:lnTo>
                      <a:cubicBezTo>
                        <a:pt x="0" y="2982"/>
                        <a:pt x="2986" y="0"/>
                        <a:pt x="6667" y="0"/>
                      </a:cubicBezTo>
                      <a:cubicBezTo>
                        <a:pt x="10348" y="0"/>
                        <a:pt x="13333" y="2982"/>
                        <a:pt x="13333" y="6667"/>
                      </a:cubicBezTo>
                      <a:lnTo>
                        <a:pt x="13333" y="38674"/>
                      </a:lnTo>
                      <a:cubicBezTo>
                        <a:pt x="13333" y="44845"/>
                        <a:pt x="34760" y="56773"/>
                        <a:pt x="75724" y="57567"/>
                      </a:cubicBezTo>
                      <a:cubicBezTo>
                        <a:pt x="79405" y="57639"/>
                        <a:pt x="82334" y="60687"/>
                        <a:pt x="82262" y="64363"/>
                      </a:cubicBezTo>
                      <a:cubicBezTo>
                        <a:pt x="82192" y="68003"/>
                        <a:pt x="79218" y="70900"/>
                        <a:pt x="75599" y="70900"/>
                      </a:cubicBezTo>
                      <a:close/>
                    </a:path>
                  </a:pathLst>
                </a:custGeom>
                <a:solidFill>
                  <a:schemeClr val="accent1"/>
                </a:solidFill>
                <a:ln w="205" cap="flat">
                  <a:noFill/>
                  <a:prstDash val="solid"/>
                  <a:miter/>
                </a:ln>
              </p:spPr>
              <p:txBody>
                <a:bodyPr rtlCol="0" anchor="ctr"/>
                <a:lstStyle/>
                <a:p>
                  <a:endParaRPr lang="en-GB" dirty="0"/>
                </a:p>
              </p:txBody>
            </p:sp>
            <p:sp>
              <p:nvSpPr>
                <p:cNvPr id="393" name="Freihandform: Form 148">
                  <a:extLst>
                    <a:ext uri="{FF2B5EF4-FFF2-40B4-BE49-F238E27FC236}">
                      <a16:creationId xmlns:a16="http://schemas.microsoft.com/office/drawing/2014/main" id="{1E43A359-DFCD-42CF-89CE-EE5A2B4E2D55}"/>
                    </a:ext>
                  </a:extLst>
                </p:cNvPr>
                <p:cNvSpPr/>
                <p:nvPr/>
              </p:nvSpPr>
              <p:spPr>
                <a:xfrm>
                  <a:off x="1943658" y="3602526"/>
                  <a:ext cx="44252" cy="66259"/>
                </a:xfrm>
                <a:custGeom>
                  <a:avLst/>
                  <a:gdLst>
                    <a:gd name="connsiteX0" fmla="*/ 6663 w 44252"/>
                    <a:gd name="connsiteY0" fmla="*/ 66259 h 66259"/>
                    <a:gd name="connsiteX1" fmla="*/ 198 w 44252"/>
                    <a:gd name="connsiteY1" fmla="*/ 61194 h 66259"/>
                    <a:gd name="connsiteX2" fmla="*/ 5065 w 44252"/>
                    <a:gd name="connsiteY2" fmla="*/ 53121 h 66259"/>
                    <a:gd name="connsiteX3" fmla="*/ 30919 w 44252"/>
                    <a:gd name="connsiteY3" fmla="*/ 38674 h 66259"/>
                    <a:gd name="connsiteX4" fmla="*/ 30919 w 44252"/>
                    <a:gd name="connsiteY4" fmla="*/ 6667 h 66259"/>
                    <a:gd name="connsiteX5" fmla="*/ 37586 w 44252"/>
                    <a:gd name="connsiteY5" fmla="*/ 0 h 66259"/>
                    <a:gd name="connsiteX6" fmla="*/ 44252 w 44252"/>
                    <a:gd name="connsiteY6" fmla="*/ 6667 h 66259"/>
                    <a:gd name="connsiteX7" fmla="*/ 44252 w 44252"/>
                    <a:gd name="connsiteY7" fmla="*/ 38674 h 66259"/>
                    <a:gd name="connsiteX8" fmla="*/ 8275 w 44252"/>
                    <a:gd name="connsiteY8" fmla="*/ 66064 h 66259"/>
                    <a:gd name="connsiteX9" fmla="*/ 6663 w 44252"/>
                    <a:gd name="connsiteY9" fmla="*/ 66259 h 6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52" h="66259">
                      <a:moveTo>
                        <a:pt x="6663" y="66259"/>
                      </a:moveTo>
                      <a:cubicBezTo>
                        <a:pt x="3671" y="66259"/>
                        <a:pt x="950" y="64234"/>
                        <a:pt x="198" y="61194"/>
                      </a:cubicBezTo>
                      <a:cubicBezTo>
                        <a:pt x="-689" y="57621"/>
                        <a:pt x="1489" y="54007"/>
                        <a:pt x="5065" y="53121"/>
                      </a:cubicBezTo>
                      <a:cubicBezTo>
                        <a:pt x="23901" y="48453"/>
                        <a:pt x="30919" y="41781"/>
                        <a:pt x="30919" y="38674"/>
                      </a:cubicBezTo>
                      <a:lnTo>
                        <a:pt x="30919" y="6667"/>
                      </a:lnTo>
                      <a:cubicBezTo>
                        <a:pt x="30919" y="2982"/>
                        <a:pt x="33905" y="0"/>
                        <a:pt x="37586" y="0"/>
                      </a:cubicBezTo>
                      <a:cubicBezTo>
                        <a:pt x="41267" y="0"/>
                        <a:pt x="44252" y="2982"/>
                        <a:pt x="44252" y="6667"/>
                      </a:cubicBezTo>
                      <a:lnTo>
                        <a:pt x="44252" y="38674"/>
                      </a:lnTo>
                      <a:cubicBezTo>
                        <a:pt x="44252" y="50588"/>
                        <a:pt x="31475" y="60314"/>
                        <a:pt x="8275" y="66064"/>
                      </a:cubicBezTo>
                      <a:cubicBezTo>
                        <a:pt x="7734" y="66195"/>
                        <a:pt x="7195" y="66259"/>
                        <a:pt x="6663" y="66259"/>
                      </a:cubicBezTo>
                      <a:close/>
                    </a:path>
                  </a:pathLst>
                </a:custGeom>
                <a:solidFill>
                  <a:schemeClr val="accent1"/>
                </a:solidFill>
                <a:ln w="205" cap="flat">
                  <a:noFill/>
                  <a:prstDash val="solid"/>
                  <a:miter/>
                </a:ln>
              </p:spPr>
              <p:txBody>
                <a:bodyPr rtlCol="0" anchor="ctr"/>
                <a:lstStyle/>
                <a:p>
                  <a:endParaRPr lang="en-GB" dirty="0"/>
                </a:p>
              </p:txBody>
            </p:sp>
          </p:grpSp>
          <p:grpSp>
            <p:nvGrpSpPr>
              <p:cNvPr id="380" name="Grafik 348">
                <a:extLst>
                  <a:ext uri="{FF2B5EF4-FFF2-40B4-BE49-F238E27FC236}">
                    <a16:creationId xmlns:a16="http://schemas.microsoft.com/office/drawing/2014/main" id="{E732BDD8-8D25-4DED-B0BE-3F91D3B68DD2}"/>
                  </a:ext>
                </a:extLst>
              </p:cNvPr>
              <p:cNvGrpSpPr/>
              <p:nvPr/>
            </p:nvGrpSpPr>
            <p:grpSpPr>
              <a:xfrm>
                <a:off x="1828458" y="3514126"/>
                <a:ext cx="159454" cy="127668"/>
                <a:chOff x="1828458" y="3514126"/>
                <a:chExt cx="159454" cy="127668"/>
              </a:xfrm>
              <a:solidFill>
                <a:schemeClr val="accent1"/>
              </a:solidFill>
            </p:grpSpPr>
            <p:grpSp>
              <p:nvGrpSpPr>
                <p:cNvPr id="384" name="Grafik 348">
                  <a:extLst>
                    <a:ext uri="{FF2B5EF4-FFF2-40B4-BE49-F238E27FC236}">
                      <a16:creationId xmlns:a16="http://schemas.microsoft.com/office/drawing/2014/main" id="{02A4D6A4-D2F0-4063-B09B-F6B1E5C19623}"/>
                    </a:ext>
                  </a:extLst>
                </p:cNvPr>
                <p:cNvGrpSpPr/>
                <p:nvPr/>
              </p:nvGrpSpPr>
              <p:grpSpPr>
                <a:xfrm>
                  <a:off x="1828460" y="3570853"/>
                  <a:ext cx="159452" cy="70941"/>
                  <a:chOff x="1828460" y="3570853"/>
                  <a:chExt cx="159452" cy="70941"/>
                </a:xfrm>
                <a:solidFill>
                  <a:schemeClr val="accent1"/>
                </a:solidFill>
              </p:grpSpPr>
              <p:sp>
                <p:nvSpPr>
                  <p:cNvPr id="390" name="Freihandform: Form 151">
                    <a:extLst>
                      <a:ext uri="{FF2B5EF4-FFF2-40B4-BE49-F238E27FC236}">
                        <a16:creationId xmlns:a16="http://schemas.microsoft.com/office/drawing/2014/main" id="{CC453CF3-52BC-4365-A1F6-03E4DDBD9AF4}"/>
                      </a:ext>
                    </a:extLst>
                  </p:cNvPr>
                  <p:cNvSpPr/>
                  <p:nvPr/>
                </p:nvSpPr>
                <p:spPr>
                  <a:xfrm>
                    <a:off x="1828460" y="3570853"/>
                    <a:ext cx="48809" cy="67301"/>
                  </a:xfrm>
                  <a:custGeom>
                    <a:avLst/>
                    <a:gdLst>
                      <a:gd name="connsiteX0" fmla="*/ 42149 w 48809"/>
                      <a:gd name="connsiteY0" fmla="*/ 67302 h 67301"/>
                      <a:gd name="connsiteX1" fmla="*/ 40769 w 48809"/>
                      <a:gd name="connsiteY1" fmla="*/ 67158 h 67301"/>
                      <a:gd name="connsiteX2" fmla="*/ 0 w 48809"/>
                      <a:gd name="connsiteY2" fmla="*/ 38674 h 67301"/>
                      <a:gd name="connsiteX3" fmla="*/ 0 w 48809"/>
                      <a:gd name="connsiteY3" fmla="*/ 6667 h 67301"/>
                      <a:gd name="connsiteX4" fmla="*/ 6667 w 48809"/>
                      <a:gd name="connsiteY4" fmla="*/ 0 h 67301"/>
                      <a:gd name="connsiteX5" fmla="*/ 13333 w 48809"/>
                      <a:gd name="connsiteY5" fmla="*/ 6667 h 67301"/>
                      <a:gd name="connsiteX6" fmla="*/ 13333 w 48809"/>
                      <a:gd name="connsiteY6" fmla="*/ 38674 h 67301"/>
                      <a:gd name="connsiteX7" fmla="*/ 43516 w 48809"/>
                      <a:gd name="connsiteY7" fmla="*/ 54111 h 67301"/>
                      <a:gd name="connsiteX8" fmla="*/ 48665 w 48809"/>
                      <a:gd name="connsiteY8" fmla="*/ 62007 h 67301"/>
                      <a:gd name="connsiteX9" fmla="*/ 42149 w 48809"/>
                      <a:gd name="connsiteY9" fmla="*/ 67302 h 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09" h="67301">
                        <a:moveTo>
                          <a:pt x="42149" y="67302"/>
                        </a:moveTo>
                        <a:cubicBezTo>
                          <a:pt x="41692" y="67302"/>
                          <a:pt x="41232" y="67257"/>
                          <a:pt x="40769" y="67158"/>
                        </a:cubicBezTo>
                        <a:cubicBezTo>
                          <a:pt x="14859" y="61696"/>
                          <a:pt x="0" y="51318"/>
                          <a:pt x="0" y="38674"/>
                        </a:cubicBezTo>
                        <a:lnTo>
                          <a:pt x="0" y="6667"/>
                        </a:lnTo>
                        <a:cubicBezTo>
                          <a:pt x="0" y="2982"/>
                          <a:pt x="2986" y="0"/>
                          <a:pt x="6667" y="0"/>
                        </a:cubicBezTo>
                        <a:cubicBezTo>
                          <a:pt x="10347" y="0"/>
                          <a:pt x="13333" y="2982"/>
                          <a:pt x="13333" y="6667"/>
                        </a:cubicBezTo>
                        <a:lnTo>
                          <a:pt x="13333" y="38674"/>
                        </a:lnTo>
                        <a:cubicBezTo>
                          <a:pt x="13333" y="42184"/>
                          <a:pt x="21528" y="49476"/>
                          <a:pt x="43516" y="54111"/>
                        </a:cubicBezTo>
                        <a:cubicBezTo>
                          <a:pt x="47119" y="54871"/>
                          <a:pt x="49424" y="58408"/>
                          <a:pt x="48665" y="62007"/>
                        </a:cubicBezTo>
                        <a:cubicBezTo>
                          <a:pt x="48005" y="65147"/>
                          <a:pt x="45235" y="67302"/>
                          <a:pt x="42149" y="67302"/>
                        </a:cubicBezTo>
                        <a:close/>
                      </a:path>
                    </a:pathLst>
                  </a:custGeom>
                  <a:solidFill>
                    <a:schemeClr val="accent1"/>
                  </a:solidFill>
                  <a:ln w="205" cap="flat">
                    <a:noFill/>
                    <a:prstDash val="solid"/>
                    <a:miter/>
                  </a:ln>
                </p:spPr>
                <p:txBody>
                  <a:bodyPr rtlCol="0" anchor="ctr"/>
                  <a:lstStyle/>
                  <a:p>
                    <a:endParaRPr lang="en-GB" dirty="0"/>
                  </a:p>
                </p:txBody>
              </p:sp>
              <p:sp>
                <p:nvSpPr>
                  <p:cNvPr id="391" name="Freihandform: Form 152">
                    <a:extLst>
                      <a:ext uri="{FF2B5EF4-FFF2-40B4-BE49-F238E27FC236}">
                        <a16:creationId xmlns:a16="http://schemas.microsoft.com/office/drawing/2014/main" id="{8A18C214-8C41-4F9C-AB02-3E34DAEB3BBD}"/>
                      </a:ext>
                    </a:extLst>
                  </p:cNvPr>
                  <p:cNvSpPr/>
                  <p:nvPr/>
                </p:nvSpPr>
                <p:spPr>
                  <a:xfrm>
                    <a:off x="1892286" y="3570855"/>
                    <a:ext cx="95626" cy="70939"/>
                  </a:xfrm>
                  <a:custGeom>
                    <a:avLst/>
                    <a:gdLst>
                      <a:gd name="connsiteX0" fmla="*/ 15898 w 95626"/>
                      <a:gd name="connsiteY0" fmla="*/ 70939 h 70939"/>
                      <a:gd name="connsiteX1" fmla="*/ 6367 w 95626"/>
                      <a:gd name="connsiteY1" fmla="*/ 70732 h 70939"/>
                      <a:gd name="connsiteX2" fmla="*/ 7 w 95626"/>
                      <a:gd name="connsiteY2" fmla="*/ 63771 h 70939"/>
                      <a:gd name="connsiteX3" fmla="*/ 6968 w 95626"/>
                      <a:gd name="connsiteY3" fmla="*/ 57411 h 70939"/>
                      <a:gd name="connsiteX4" fmla="*/ 15900 w 95626"/>
                      <a:gd name="connsiteY4" fmla="*/ 57606 h 70939"/>
                      <a:gd name="connsiteX5" fmla="*/ 82293 w 95626"/>
                      <a:gd name="connsiteY5" fmla="*/ 38673 h 70939"/>
                      <a:gd name="connsiteX6" fmla="*/ 82293 w 95626"/>
                      <a:gd name="connsiteY6" fmla="*/ 6667 h 70939"/>
                      <a:gd name="connsiteX7" fmla="*/ 88960 w 95626"/>
                      <a:gd name="connsiteY7" fmla="*/ 0 h 70939"/>
                      <a:gd name="connsiteX8" fmla="*/ 95626 w 95626"/>
                      <a:gd name="connsiteY8" fmla="*/ 6667 h 70939"/>
                      <a:gd name="connsiteX9" fmla="*/ 95626 w 95626"/>
                      <a:gd name="connsiteY9" fmla="*/ 38673 h 70939"/>
                      <a:gd name="connsiteX10" fmla="*/ 15898 w 95626"/>
                      <a:gd name="connsiteY10" fmla="*/ 70939 h 7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626" h="70939">
                        <a:moveTo>
                          <a:pt x="15898" y="70939"/>
                        </a:moveTo>
                        <a:cubicBezTo>
                          <a:pt x="12670" y="70939"/>
                          <a:pt x="9489" y="70873"/>
                          <a:pt x="6367" y="70732"/>
                        </a:cubicBezTo>
                        <a:cubicBezTo>
                          <a:pt x="2688" y="70563"/>
                          <a:pt x="-160" y="67450"/>
                          <a:pt x="7" y="63771"/>
                        </a:cubicBezTo>
                        <a:cubicBezTo>
                          <a:pt x="174" y="60092"/>
                          <a:pt x="3441" y="57240"/>
                          <a:pt x="6968" y="57411"/>
                        </a:cubicBezTo>
                        <a:cubicBezTo>
                          <a:pt x="9894" y="57540"/>
                          <a:pt x="12873" y="57606"/>
                          <a:pt x="15900" y="57606"/>
                        </a:cubicBezTo>
                        <a:cubicBezTo>
                          <a:pt x="58857" y="57606"/>
                          <a:pt x="82293" y="45099"/>
                          <a:pt x="82293" y="38673"/>
                        </a:cubicBezTo>
                        <a:lnTo>
                          <a:pt x="82293" y="6667"/>
                        </a:lnTo>
                        <a:cubicBezTo>
                          <a:pt x="82293" y="2982"/>
                          <a:pt x="85279" y="0"/>
                          <a:pt x="88960" y="0"/>
                        </a:cubicBezTo>
                        <a:cubicBezTo>
                          <a:pt x="92641" y="0"/>
                          <a:pt x="95626" y="2982"/>
                          <a:pt x="95626" y="6667"/>
                        </a:cubicBezTo>
                        <a:lnTo>
                          <a:pt x="95626" y="38673"/>
                        </a:lnTo>
                        <a:cubicBezTo>
                          <a:pt x="95624" y="59858"/>
                          <a:pt x="55516" y="70939"/>
                          <a:pt x="15898" y="70939"/>
                        </a:cubicBezTo>
                        <a:close/>
                      </a:path>
                    </a:pathLst>
                  </a:custGeom>
                  <a:solidFill>
                    <a:schemeClr val="accent1"/>
                  </a:solidFill>
                  <a:ln w="205" cap="flat">
                    <a:noFill/>
                    <a:prstDash val="solid"/>
                    <a:miter/>
                  </a:ln>
                </p:spPr>
                <p:txBody>
                  <a:bodyPr rtlCol="0" anchor="ctr"/>
                  <a:lstStyle/>
                  <a:p>
                    <a:endParaRPr lang="en-GB" dirty="0"/>
                  </a:p>
                </p:txBody>
              </p:sp>
            </p:grpSp>
            <p:grpSp>
              <p:nvGrpSpPr>
                <p:cNvPr id="385" name="Grafik 348">
                  <a:extLst>
                    <a:ext uri="{FF2B5EF4-FFF2-40B4-BE49-F238E27FC236}">
                      <a16:creationId xmlns:a16="http://schemas.microsoft.com/office/drawing/2014/main" id="{6BAB67C4-19D7-492C-876D-563741579288}"/>
                    </a:ext>
                  </a:extLst>
                </p:cNvPr>
                <p:cNvGrpSpPr/>
                <p:nvPr/>
              </p:nvGrpSpPr>
              <p:grpSpPr>
                <a:xfrm>
                  <a:off x="1828458" y="3514126"/>
                  <a:ext cx="159452" cy="96461"/>
                  <a:chOff x="1828458" y="3514126"/>
                  <a:chExt cx="159452" cy="96461"/>
                </a:xfrm>
                <a:solidFill>
                  <a:schemeClr val="accent1"/>
                </a:solidFill>
              </p:grpSpPr>
              <p:sp>
                <p:nvSpPr>
                  <p:cNvPr id="386" name="Freihandform: Form 154">
                    <a:extLst>
                      <a:ext uri="{FF2B5EF4-FFF2-40B4-BE49-F238E27FC236}">
                        <a16:creationId xmlns:a16="http://schemas.microsoft.com/office/drawing/2014/main" id="{48C001FB-5FA3-48C1-A72D-9077209266D6}"/>
                      </a:ext>
                    </a:extLst>
                  </p:cNvPr>
                  <p:cNvSpPr/>
                  <p:nvPr/>
                </p:nvSpPr>
                <p:spPr>
                  <a:xfrm>
                    <a:off x="1828458" y="3523306"/>
                    <a:ext cx="30158" cy="43425"/>
                  </a:xfrm>
                  <a:custGeom>
                    <a:avLst/>
                    <a:gdLst>
                      <a:gd name="connsiteX0" fmla="*/ 18083 w 30158"/>
                      <a:gd name="connsiteY0" fmla="*/ 43426 h 43425"/>
                      <a:gd name="connsiteX1" fmla="*/ 14880 w 30158"/>
                      <a:gd name="connsiteY1" fmla="*/ 42605 h 43425"/>
                      <a:gd name="connsiteX2" fmla="*/ 0 w 30158"/>
                      <a:gd name="connsiteY2" fmla="*/ 23008 h 43425"/>
                      <a:gd name="connsiteX3" fmla="*/ 20898 w 30158"/>
                      <a:gd name="connsiteY3" fmla="*/ 526 h 43425"/>
                      <a:gd name="connsiteX4" fmla="*/ 29632 w 30158"/>
                      <a:gd name="connsiteY4" fmla="*/ 4076 h 43425"/>
                      <a:gd name="connsiteX5" fmla="*/ 26080 w 30158"/>
                      <a:gd name="connsiteY5" fmla="*/ 12807 h 43425"/>
                      <a:gd name="connsiteX6" fmla="*/ 13333 w 30158"/>
                      <a:gd name="connsiteY6" fmla="*/ 23008 h 43425"/>
                      <a:gd name="connsiteX7" fmla="*/ 21300 w 30158"/>
                      <a:gd name="connsiteY7" fmla="*/ 30913 h 43425"/>
                      <a:gd name="connsiteX8" fmla="*/ 23934 w 30158"/>
                      <a:gd name="connsiteY8" fmla="*/ 39969 h 43425"/>
                      <a:gd name="connsiteX9" fmla="*/ 18083 w 30158"/>
                      <a:gd name="connsiteY9" fmla="*/ 43426 h 4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58" h="43425">
                        <a:moveTo>
                          <a:pt x="18083" y="43426"/>
                        </a:moveTo>
                        <a:cubicBezTo>
                          <a:pt x="17000" y="43426"/>
                          <a:pt x="15900" y="43158"/>
                          <a:pt x="14880" y="42605"/>
                        </a:cubicBezTo>
                        <a:cubicBezTo>
                          <a:pt x="2581" y="35848"/>
                          <a:pt x="0" y="28217"/>
                          <a:pt x="0" y="23008"/>
                        </a:cubicBezTo>
                        <a:cubicBezTo>
                          <a:pt x="0" y="16778"/>
                          <a:pt x="3627" y="7812"/>
                          <a:pt x="20898" y="526"/>
                        </a:cubicBezTo>
                        <a:cubicBezTo>
                          <a:pt x="24304" y="-905"/>
                          <a:pt x="28201" y="683"/>
                          <a:pt x="29632" y="4076"/>
                        </a:cubicBezTo>
                        <a:cubicBezTo>
                          <a:pt x="31065" y="7469"/>
                          <a:pt x="29471" y="11380"/>
                          <a:pt x="26080" y="12807"/>
                        </a:cubicBezTo>
                        <a:cubicBezTo>
                          <a:pt x="17275" y="16525"/>
                          <a:pt x="13333" y="20613"/>
                          <a:pt x="13333" y="23008"/>
                        </a:cubicBezTo>
                        <a:cubicBezTo>
                          <a:pt x="13333" y="24715"/>
                          <a:pt x="15427" y="27689"/>
                          <a:pt x="21300" y="30913"/>
                        </a:cubicBezTo>
                        <a:cubicBezTo>
                          <a:pt x="24526" y="32689"/>
                          <a:pt x="25706" y="36741"/>
                          <a:pt x="23934" y="39969"/>
                        </a:cubicBezTo>
                        <a:cubicBezTo>
                          <a:pt x="22720" y="42175"/>
                          <a:pt x="20438" y="43426"/>
                          <a:pt x="18083" y="43426"/>
                        </a:cubicBezTo>
                        <a:close/>
                      </a:path>
                    </a:pathLst>
                  </a:custGeom>
                  <a:solidFill>
                    <a:schemeClr val="accent1"/>
                  </a:solidFill>
                  <a:ln w="205" cap="flat">
                    <a:noFill/>
                    <a:prstDash val="solid"/>
                    <a:miter/>
                  </a:ln>
                </p:spPr>
                <p:txBody>
                  <a:bodyPr rtlCol="0" anchor="ctr"/>
                  <a:lstStyle/>
                  <a:p>
                    <a:endParaRPr lang="en-GB" dirty="0"/>
                  </a:p>
                </p:txBody>
              </p:sp>
              <p:sp>
                <p:nvSpPr>
                  <p:cNvPr id="387" name="Freihandform: Form 155">
                    <a:extLst>
                      <a:ext uri="{FF2B5EF4-FFF2-40B4-BE49-F238E27FC236}">
                        <a16:creationId xmlns:a16="http://schemas.microsoft.com/office/drawing/2014/main" id="{900D12AB-6917-4EC0-A7EE-02DA7ADBC256}"/>
                      </a:ext>
                    </a:extLst>
                  </p:cNvPr>
                  <p:cNvSpPr/>
                  <p:nvPr/>
                </p:nvSpPr>
                <p:spPr>
                  <a:xfrm>
                    <a:off x="1861410" y="3514126"/>
                    <a:ext cx="126500" cy="64462"/>
                  </a:xfrm>
                  <a:custGeom>
                    <a:avLst/>
                    <a:gdLst>
                      <a:gd name="connsiteX0" fmla="*/ 46774 w 126500"/>
                      <a:gd name="connsiteY0" fmla="*/ 64463 h 64462"/>
                      <a:gd name="connsiteX1" fmla="*/ 5175 w 126500"/>
                      <a:gd name="connsiteY1" fmla="*/ 60093 h 64462"/>
                      <a:gd name="connsiteX2" fmla="*/ 172 w 126500"/>
                      <a:gd name="connsiteY2" fmla="*/ 52098 h 64462"/>
                      <a:gd name="connsiteX3" fmla="*/ 8163 w 126500"/>
                      <a:gd name="connsiteY3" fmla="*/ 47097 h 64462"/>
                      <a:gd name="connsiteX4" fmla="*/ 46774 w 126500"/>
                      <a:gd name="connsiteY4" fmla="*/ 51127 h 64462"/>
                      <a:gd name="connsiteX5" fmla="*/ 113167 w 126500"/>
                      <a:gd name="connsiteY5" fmla="*/ 32188 h 64462"/>
                      <a:gd name="connsiteX6" fmla="*/ 46774 w 126500"/>
                      <a:gd name="connsiteY6" fmla="*/ 13256 h 64462"/>
                      <a:gd name="connsiteX7" fmla="*/ 16914 w 126500"/>
                      <a:gd name="connsiteY7" fmla="*/ 15567 h 64462"/>
                      <a:gd name="connsiteX8" fmla="*/ 9259 w 126500"/>
                      <a:gd name="connsiteY8" fmla="*/ 10058 h 64462"/>
                      <a:gd name="connsiteX9" fmla="*/ 14759 w 126500"/>
                      <a:gd name="connsiteY9" fmla="*/ 2402 h 64462"/>
                      <a:gd name="connsiteX10" fmla="*/ 126500 w 126500"/>
                      <a:gd name="connsiteY10" fmla="*/ 32188 h 64462"/>
                      <a:gd name="connsiteX11" fmla="*/ 46774 w 126500"/>
                      <a:gd name="connsiteY11" fmla="*/ 64463 h 6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500" h="64462">
                        <a:moveTo>
                          <a:pt x="46774" y="64463"/>
                        </a:moveTo>
                        <a:cubicBezTo>
                          <a:pt x="31975" y="64463"/>
                          <a:pt x="17591" y="62951"/>
                          <a:pt x="5175" y="60093"/>
                        </a:cubicBezTo>
                        <a:cubicBezTo>
                          <a:pt x="1584" y="59266"/>
                          <a:pt x="-655" y="55686"/>
                          <a:pt x="172" y="52098"/>
                        </a:cubicBezTo>
                        <a:cubicBezTo>
                          <a:pt x="998" y="48510"/>
                          <a:pt x="4599" y="46264"/>
                          <a:pt x="8163" y="47097"/>
                        </a:cubicBezTo>
                        <a:cubicBezTo>
                          <a:pt x="19614" y="49733"/>
                          <a:pt x="32964" y="51127"/>
                          <a:pt x="46774" y="51127"/>
                        </a:cubicBezTo>
                        <a:cubicBezTo>
                          <a:pt x="89731" y="51127"/>
                          <a:pt x="113167" y="38614"/>
                          <a:pt x="113167" y="32188"/>
                        </a:cubicBezTo>
                        <a:cubicBezTo>
                          <a:pt x="113167" y="25762"/>
                          <a:pt x="89733" y="13256"/>
                          <a:pt x="46774" y="13256"/>
                        </a:cubicBezTo>
                        <a:cubicBezTo>
                          <a:pt x="36324" y="13256"/>
                          <a:pt x="26279" y="14031"/>
                          <a:pt x="16914" y="15567"/>
                        </a:cubicBezTo>
                        <a:cubicBezTo>
                          <a:pt x="13256" y="16159"/>
                          <a:pt x="9851" y="13692"/>
                          <a:pt x="9259" y="10058"/>
                        </a:cubicBezTo>
                        <a:cubicBezTo>
                          <a:pt x="8662" y="6425"/>
                          <a:pt x="11128" y="3001"/>
                          <a:pt x="14759" y="2402"/>
                        </a:cubicBezTo>
                        <a:cubicBezTo>
                          <a:pt x="60570" y="-5105"/>
                          <a:pt x="126498" y="5026"/>
                          <a:pt x="126500" y="32188"/>
                        </a:cubicBezTo>
                        <a:cubicBezTo>
                          <a:pt x="126500" y="53375"/>
                          <a:pt x="86392" y="64463"/>
                          <a:pt x="46774" y="64463"/>
                        </a:cubicBezTo>
                        <a:close/>
                      </a:path>
                    </a:pathLst>
                  </a:custGeom>
                  <a:solidFill>
                    <a:schemeClr val="accent1"/>
                  </a:solidFill>
                  <a:ln w="205" cap="flat">
                    <a:noFill/>
                    <a:prstDash val="solid"/>
                    <a:miter/>
                  </a:ln>
                </p:spPr>
                <p:txBody>
                  <a:bodyPr rtlCol="0" anchor="ctr"/>
                  <a:lstStyle/>
                  <a:p>
                    <a:endParaRPr lang="en-GB" dirty="0"/>
                  </a:p>
                </p:txBody>
              </p:sp>
              <p:sp>
                <p:nvSpPr>
                  <p:cNvPr id="388" name="Freihandform: Form 156">
                    <a:extLst>
                      <a:ext uri="{FF2B5EF4-FFF2-40B4-BE49-F238E27FC236}">
                        <a16:creationId xmlns:a16="http://schemas.microsoft.com/office/drawing/2014/main" id="{C148D633-4FD1-4FB9-8745-7BFFC32A73C1}"/>
                      </a:ext>
                    </a:extLst>
                  </p:cNvPr>
                  <p:cNvSpPr/>
                  <p:nvPr/>
                </p:nvSpPr>
                <p:spPr>
                  <a:xfrm>
                    <a:off x="1828460" y="3539650"/>
                    <a:ext cx="27662" cy="60567"/>
                  </a:xfrm>
                  <a:custGeom>
                    <a:avLst/>
                    <a:gdLst>
                      <a:gd name="connsiteX0" fmla="*/ 20989 w 27662"/>
                      <a:gd name="connsiteY0" fmla="*/ 60567 h 60567"/>
                      <a:gd name="connsiteX1" fmla="*/ 18141 w 27662"/>
                      <a:gd name="connsiteY1" fmla="*/ 59930 h 60567"/>
                      <a:gd name="connsiteX2" fmla="*/ 0 w 27662"/>
                      <a:gd name="connsiteY2" fmla="*/ 38673 h 60567"/>
                      <a:gd name="connsiteX3" fmla="*/ 0 w 27662"/>
                      <a:gd name="connsiteY3" fmla="*/ 6667 h 60567"/>
                      <a:gd name="connsiteX4" fmla="*/ 6667 w 27662"/>
                      <a:gd name="connsiteY4" fmla="*/ 0 h 60567"/>
                      <a:gd name="connsiteX5" fmla="*/ 13333 w 27662"/>
                      <a:gd name="connsiteY5" fmla="*/ 6667 h 60567"/>
                      <a:gd name="connsiteX6" fmla="*/ 13333 w 27662"/>
                      <a:gd name="connsiteY6" fmla="*/ 38673 h 60567"/>
                      <a:gd name="connsiteX7" fmla="*/ 23845 w 27662"/>
                      <a:gd name="connsiteY7" fmla="*/ 47873 h 60567"/>
                      <a:gd name="connsiteX8" fmla="*/ 27020 w 27662"/>
                      <a:gd name="connsiteY8" fmla="*/ 56755 h 60567"/>
                      <a:gd name="connsiteX9" fmla="*/ 20989 w 27662"/>
                      <a:gd name="connsiteY9" fmla="*/ 60567 h 60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62" h="60567">
                        <a:moveTo>
                          <a:pt x="20989" y="60567"/>
                        </a:moveTo>
                        <a:cubicBezTo>
                          <a:pt x="20033" y="60567"/>
                          <a:pt x="19062" y="60366"/>
                          <a:pt x="18141" y="59930"/>
                        </a:cubicBezTo>
                        <a:cubicBezTo>
                          <a:pt x="3146" y="52833"/>
                          <a:pt x="0" y="44454"/>
                          <a:pt x="0" y="38673"/>
                        </a:cubicBezTo>
                        <a:lnTo>
                          <a:pt x="0" y="6667"/>
                        </a:lnTo>
                        <a:cubicBezTo>
                          <a:pt x="0" y="2982"/>
                          <a:pt x="2986" y="0"/>
                          <a:pt x="6667" y="0"/>
                        </a:cubicBezTo>
                        <a:cubicBezTo>
                          <a:pt x="10347" y="0"/>
                          <a:pt x="13333" y="2982"/>
                          <a:pt x="13333" y="6667"/>
                        </a:cubicBezTo>
                        <a:lnTo>
                          <a:pt x="13333" y="38673"/>
                        </a:lnTo>
                        <a:cubicBezTo>
                          <a:pt x="13333" y="40627"/>
                          <a:pt x="16087" y="44207"/>
                          <a:pt x="23845" y="47873"/>
                        </a:cubicBezTo>
                        <a:cubicBezTo>
                          <a:pt x="27172" y="49449"/>
                          <a:pt x="28595" y="53428"/>
                          <a:pt x="27020" y="56755"/>
                        </a:cubicBezTo>
                        <a:cubicBezTo>
                          <a:pt x="25879" y="59161"/>
                          <a:pt x="23485" y="60567"/>
                          <a:pt x="20989" y="60567"/>
                        </a:cubicBezTo>
                        <a:close/>
                      </a:path>
                    </a:pathLst>
                  </a:custGeom>
                  <a:solidFill>
                    <a:schemeClr val="accent1"/>
                  </a:solidFill>
                  <a:ln w="205" cap="flat">
                    <a:noFill/>
                    <a:prstDash val="solid"/>
                    <a:miter/>
                  </a:ln>
                </p:spPr>
                <p:txBody>
                  <a:bodyPr rtlCol="0" anchor="ctr"/>
                  <a:lstStyle/>
                  <a:p>
                    <a:endParaRPr lang="en-GB" dirty="0"/>
                  </a:p>
                </p:txBody>
              </p:sp>
              <p:sp>
                <p:nvSpPr>
                  <p:cNvPr id="389" name="Freihandform: Form 157">
                    <a:extLst>
                      <a:ext uri="{FF2B5EF4-FFF2-40B4-BE49-F238E27FC236}">
                        <a16:creationId xmlns:a16="http://schemas.microsoft.com/office/drawing/2014/main" id="{33331754-5ABF-40FD-8BFA-913CD7D2E022}"/>
                      </a:ext>
                    </a:extLst>
                  </p:cNvPr>
                  <p:cNvSpPr/>
                  <p:nvPr/>
                </p:nvSpPr>
                <p:spPr>
                  <a:xfrm>
                    <a:off x="1869200" y="3539646"/>
                    <a:ext cx="118710" cy="70941"/>
                  </a:xfrm>
                  <a:custGeom>
                    <a:avLst/>
                    <a:gdLst>
                      <a:gd name="connsiteX0" fmla="*/ 38984 w 118710"/>
                      <a:gd name="connsiteY0" fmla="*/ 70942 h 70941"/>
                      <a:gd name="connsiteX1" fmla="*/ 5532 w 118710"/>
                      <a:gd name="connsiteY1" fmla="*/ 68213 h 70941"/>
                      <a:gd name="connsiteX2" fmla="*/ 99 w 118710"/>
                      <a:gd name="connsiteY2" fmla="*/ 60504 h 70941"/>
                      <a:gd name="connsiteX3" fmla="*/ 7804 w 118710"/>
                      <a:gd name="connsiteY3" fmla="*/ 55073 h 70941"/>
                      <a:gd name="connsiteX4" fmla="*/ 38984 w 118710"/>
                      <a:gd name="connsiteY4" fmla="*/ 57606 h 70941"/>
                      <a:gd name="connsiteX5" fmla="*/ 105377 w 118710"/>
                      <a:gd name="connsiteY5" fmla="*/ 38674 h 70941"/>
                      <a:gd name="connsiteX6" fmla="*/ 105377 w 118710"/>
                      <a:gd name="connsiteY6" fmla="*/ 6667 h 70941"/>
                      <a:gd name="connsiteX7" fmla="*/ 112044 w 118710"/>
                      <a:gd name="connsiteY7" fmla="*/ 0 h 70941"/>
                      <a:gd name="connsiteX8" fmla="*/ 118710 w 118710"/>
                      <a:gd name="connsiteY8" fmla="*/ 6667 h 70941"/>
                      <a:gd name="connsiteX9" fmla="*/ 118710 w 118710"/>
                      <a:gd name="connsiteY9" fmla="*/ 38674 h 70941"/>
                      <a:gd name="connsiteX10" fmla="*/ 38984 w 118710"/>
                      <a:gd name="connsiteY10" fmla="*/ 70942 h 7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710" h="70941">
                        <a:moveTo>
                          <a:pt x="38984" y="70942"/>
                        </a:moveTo>
                        <a:cubicBezTo>
                          <a:pt x="27247" y="70942"/>
                          <a:pt x="15992" y="70024"/>
                          <a:pt x="5532" y="68213"/>
                        </a:cubicBezTo>
                        <a:cubicBezTo>
                          <a:pt x="1902" y="67588"/>
                          <a:pt x="-530" y="64137"/>
                          <a:pt x="99" y="60504"/>
                        </a:cubicBezTo>
                        <a:cubicBezTo>
                          <a:pt x="728" y="56876"/>
                          <a:pt x="4179" y="54468"/>
                          <a:pt x="7804" y="55073"/>
                        </a:cubicBezTo>
                        <a:cubicBezTo>
                          <a:pt x="17514" y="56753"/>
                          <a:pt x="28006" y="57606"/>
                          <a:pt x="38984" y="57606"/>
                        </a:cubicBezTo>
                        <a:cubicBezTo>
                          <a:pt x="81941" y="57606"/>
                          <a:pt x="105377" y="45100"/>
                          <a:pt x="105377" y="38674"/>
                        </a:cubicBezTo>
                        <a:lnTo>
                          <a:pt x="105377" y="6667"/>
                        </a:lnTo>
                        <a:cubicBezTo>
                          <a:pt x="105377" y="2982"/>
                          <a:pt x="108363" y="0"/>
                          <a:pt x="112044" y="0"/>
                        </a:cubicBezTo>
                        <a:cubicBezTo>
                          <a:pt x="115725" y="0"/>
                          <a:pt x="118710" y="2982"/>
                          <a:pt x="118710" y="6667"/>
                        </a:cubicBezTo>
                        <a:lnTo>
                          <a:pt x="118710" y="38674"/>
                        </a:lnTo>
                        <a:cubicBezTo>
                          <a:pt x="118710" y="59862"/>
                          <a:pt x="78602" y="70942"/>
                          <a:pt x="38984" y="70942"/>
                        </a:cubicBezTo>
                        <a:close/>
                      </a:path>
                    </a:pathLst>
                  </a:custGeom>
                  <a:solidFill>
                    <a:schemeClr val="accent1"/>
                  </a:solidFill>
                  <a:ln w="205" cap="flat">
                    <a:noFill/>
                    <a:prstDash val="solid"/>
                    <a:miter/>
                  </a:ln>
                </p:spPr>
                <p:txBody>
                  <a:bodyPr rtlCol="0" anchor="ctr"/>
                  <a:lstStyle/>
                  <a:p>
                    <a:endParaRPr lang="en-GB" dirty="0"/>
                  </a:p>
                </p:txBody>
              </p:sp>
            </p:grpSp>
          </p:grpSp>
          <p:grpSp>
            <p:nvGrpSpPr>
              <p:cNvPr id="381" name="Grafik 348">
                <a:extLst>
                  <a:ext uri="{FF2B5EF4-FFF2-40B4-BE49-F238E27FC236}">
                    <a16:creationId xmlns:a16="http://schemas.microsoft.com/office/drawing/2014/main" id="{7F7963B5-F41E-40B2-9BF5-3462167FE006}"/>
                  </a:ext>
                </a:extLst>
              </p:cNvPr>
              <p:cNvGrpSpPr/>
              <p:nvPr/>
            </p:nvGrpSpPr>
            <p:grpSpPr>
              <a:xfrm>
                <a:off x="1723212" y="3356270"/>
                <a:ext cx="353346" cy="108876"/>
                <a:chOff x="1723212" y="3356270"/>
                <a:chExt cx="353346" cy="108876"/>
              </a:xfrm>
              <a:solidFill>
                <a:schemeClr val="accent1"/>
              </a:solidFill>
            </p:grpSpPr>
            <p:sp>
              <p:nvSpPr>
                <p:cNvPr id="382" name="Freihandform: Form 164">
                  <a:extLst>
                    <a:ext uri="{FF2B5EF4-FFF2-40B4-BE49-F238E27FC236}">
                      <a16:creationId xmlns:a16="http://schemas.microsoft.com/office/drawing/2014/main" id="{DDF842BB-930E-4C80-889B-8422AFF8D982}"/>
                    </a:ext>
                  </a:extLst>
                </p:cNvPr>
                <p:cNvSpPr/>
                <p:nvPr/>
              </p:nvSpPr>
              <p:spPr>
                <a:xfrm>
                  <a:off x="1723212" y="3356270"/>
                  <a:ext cx="353346" cy="108876"/>
                </a:xfrm>
                <a:custGeom>
                  <a:avLst/>
                  <a:gdLst>
                    <a:gd name="connsiteX0" fmla="*/ 6674 w 353346"/>
                    <a:gd name="connsiteY0" fmla="*/ 108877 h 108876"/>
                    <a:gd name="connsiteX1" fmla="*/ 1274 w 353346"/>
                    <a:gd name="connsiteY1" fmla="*/ 106129 h 108876"/>
                    <a:gd name="connsiteX2" fmla="*/ 2752 w 353346"/>
                    <a:gd name="connsiteY2" fmla="*/ 96812 h 108876"/>
                    <a:gd name="connsiteX3" fmla="*/ 86922 w 353346"/>
                    <a:gd name="connsiteY3" fmla="*/ 35698 h 108876"/>
                    <a:gd name="connsiteX4" fmla="*/ 94592 w 353346"/>
                    <a:gd name="connsiteY4" fmla="*/ 35587 h 108876"/>
                    <a:gd name="connsiteX5" fmla="*/ 163673 w 353346"/>
                    <a:gd name="connsiteY5" fmla="*/ 82632 h 108876"/>
                    <a:gd name="connsiteX6" fmla="*/ 240730 w 353346"/>
                    <a:gd name="connsiteY6" fmla="*/ 5840 h 108876"/>
                    <a:gd name="connsiteX7" fmla="*/ 249467 w 353346"/>
                    <a:gd name="connsiteY7" fmla="*/ 5248 h 108876"/>
                    <a:gd name="connsiteX8" fmla="*/ 304511 w 353346"/>
                    <a:gd name="connsiteY8" fmla="*/ 47039 h 108876"/>
                    <a:gd name="connsiteX9" fmla="*/ 341550 w 353346"/>
                    <a:gd name="connsiteY9" fmla="*/ 2408 h 108876"/>
                    <a:gd name="connsiteX10" fmla="*/ 350939 w 353346"/>
                    <a:gd name="connsiteY10" fmla="*/ 1536 h 108876"/>
                    <a:gd name="connsiteX11" fmla="*/ 351811 w 353346"/>
                    <a:gd name="connsiteY11" fmla="*/ 10925 h 108876"/>
                    <a:gd name="connsiteX12" fmla="*/ 310696 w 353346"/>
                    <a:gd name="connsiteY12" fmla="*/ 60464 h 108876"/>
                    <a:gd name="connsiteX13" fmla="*/ 301536 w 353346"/>
                    <a:gd name="connsiteY13" fmla="*/ 61519 h 108876"/>
                    <a:gd name="connsiteX14" fmla="*/ 246029 w 353346"/>
                    <a:gd name="connsiteY14" fmla="*/ 19383 h 108876"/>
                    <a:gd name="connsiteX15" fmla="*/ 169184 w 353346"/>
                    <a:gd name="connsiteY15" fmla="*/ 95967 h 108876"/>
                    <a:gd name="connsiteX16" fmla="*/ 160724 w 353346"/>
                    <a:gd name="connsiteY16" fmla="*/ 96755 h 108876"/>
                    <a:gd name="connsiteX17" fmla="*/ 90963 w 353346"/>
                    <a:gd name="connsiteY17" fmla="*/ 49247 h 108876"/>
                    <a:gd name="connsiteX18" fmla="*/ 10587 w 353346"/>
                    <a:gd name="connsiteY18" fmla="*/ 107608 h 108876"/>
                    <a:gd name="connsiteX19" fmla="*/ 6674 w 353346"/>
                    <a:gd name="connsiteY19" fmla="*/ 108877 h 10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3346" h="108876">
                      <a:moveTo>
                        <a:pt x="6674" y="108877"/>
                      </a:moveTo>
                      <a:cubicBezTo>
                        <a:pt x="4609" y="108877"/>
                        <a:pt x="2575" y="107927"/>
                        <a:pt x="1274" y="106129"/>
                      </a:cubicBezTo>
                      <a:cubicBezTo>
                        <a:pt x="-892" y="103148"/>
                        <a:pt x="-229" y="98982"/>
                        <a:pt x="2752" y="96812"/>
                      </a:cubicBezTo>
                      <a:lnTo>
                        <a:pt x="86922" y="35698"/>
                      </a:lnTo>
                      <a:cubicBezTo>
                        <a:pt x="89198" y="34045"/>
                        <a:pt x="92267" y="33999"/>
                        <a:pt x="94592" y="35587"/>
                      </a:cubicBezTo>
                      <a:lnTo>
                        <a:pt x="163673" y="82632"/>
                      </a:lnTo>
                      <a:lnTo>
                        <a:pt x="240730" y="5840"/>
                      </a:lnTo>
                      <a:cubicBezTo>
                        <a:pt x="243090" y="3490"/>
                        <a:pt x="246821" y="3249"/>
                        <a:pt x="249467" y="5248"/>
                      </a:cubicBezTo>
                      <a:lnTo>
                        <a:pt x="304511" y="47039"/>
                      </a:lnTo>
                      <a:lnTo>
                        <a:pt x="341550" y="2408"/>
                      </a:lnTo>
                      <a:cubicBezTo>
                        <a:pt x="343910" y="-424"/>
                        <a:pt x="348116" y="-814"/>
                        <a:pt x="350939" y="1536"/>
                      </a:cubicBezTo>
                      <a:cubicBezTo>
                        <a:pt x="353771" y="3886"/>
                        <a:pt x="354161" y="8092"/>
                        <a:pt x="351811" y="10925"/>
                      </a:cubicBezTo>
                      <a:lnTo>
                        <a:pt x="310696" y="60464"/>
                      </a:lnTo>
                      <a:cubicBezTo>
                        <a:pt x="308414" y="63212"/>
                        <a:pt x="304371" y="63674"/>
                        <a:pt x="301536" y="61519"/>
                      </a:cubicBezTo>
                      <a:lnTo>
                        <a:pt x="246029" y="19383"/>
                      </a:lnTo>
                      <a:lnTo>
                        <a:pt x="169184" y="95967"/>
                      </a:lnTo>
                      <a:cubicBezTo>
                        <a:pt x="166918" y="98239"/>
                        <a:pt x="163372" y="98572"/>
                        <a:pt x="160724" y="96755"/>
                      </a:cubicBezTo>
                      <a:lnTo>
                        <a:pt x="90963" y="49247"/>
                      </a:lnTo>
                      <a:lnTo>
                        <a:pt x="10587" y="107608"/>
                      </a:lnTo>
                      <a:cubicBezTo>
                        <a:pt x="9400" y="108467"/>
                        <a:pt x="8031" y="108877"/>
                        <a:pt x="6674" y="108877"/>
                      </a:cubicBezTo>
                      <a:close/>
                    </a:path>
                  </a:pathLst>
                </a:custGeom>
                <a:solidFill>
                  <a:schemeClr val="accent1"/>
                </a:solidFill>
                <a:ln w="205" cap="flat">
                  <a:noFill/>
                  <a:prstDash val="solid"/>
                  <a:miter/>
                </a:ln>
              </p:spPr>
              <p:txBody>
                <a:bodyPr rtlCol="0" anchor="ctr"/>
                <a:lstStyle/>
                <a:p>
                  <a:endParaRPr lang="en-GB" dirty="0"/>
                </a:p>
              </p:txBody>
            </p:sp>
            <p:sp>
              <p:nvSpPr>
                <p:cNvPr id="383" name="Freihandform: Form 165">
                  <a:extLst>
                    <a:ext uri="{FF2B5EF4-FFF2-40B4-BE49-F238E27FC236}">
                      <a16:creationId xmlns:a16="http://schemas.microsoft.com/office/drawing/2014/main" id="{77C2CC19-84B5-401A-B7CF-75AED2FB1221}"/>
                    </a:ext>
                  </a:extLst>
                </p:cNvPr>
                <p:cNvSpPr/>
                <p:nvPr/>
              </p:nvSpPr>
              <p:spPr>
                <a:xfrm>
                  <a:off x="2033456" y="3356270"/>
                  <a:ext cx="43100" cy="43100"/>
                </a:xfrm>
                <a:custGeom>
                  <a:avLst/>
                  <a:gdLst>
                    <a:gd name="connsiteX0" fmla="*/ 36432 w 43100"/>
                    <a:gd name="connsiteY0" fmla="*/ 43101 h 43100"/>
                    <a:gd name="connsiteX1" fmla="*/ 29765 w 43100"/>
                    <a:gd name="connsiteY1" fmla="*/ 36434 h 43100"/>
                    <a:gd name="connsiteX2" fmla="*/ 29765 w 43100"/>
                    <a:gd name="connsiteY2" fmla="*/ 13333 h 43100"/>
                    <a:gd name="connsiteX3" fmla="*/ 6667 w 43100"/>
                    <a:gd name="connsiteY3" fmla="*/ 13333 h 43100"/>
                    <a:gd name="connsiteX4" fmla="*/ 0 w 43100"/>
                    <a:gd name="connsiteY4" fmla="*/ 6667 h 43100"/>
                    <a:gd name="connsiteX5" fmla="*/ 6667 w 43100"/>
                    <a:gd name="connsiteY5" fmla="*/ 0 h 43100"/>
                    <a:gd name="connsiteX6" fmla="*/ 36434 w 43100"/>
                    <a:gd name="connsiteY6" fmla="*/ 0 h 43100"/>
                    <a:gd name="connsiteX7" fmla="*/ 43101 w 43100"/>
                    <a:gd name="connsiteY7" fmla="*/ 6667 h 43100"/>
                    <a:gd name="connsiteX8" fmla="*/ 43101 w 43100"/>
                    <a:gd name="connsiteY8" fmla="*/ 36434 h 43100"/>
                    <a:gd name="connsiteX9" fmla="*/ 36432 w 43100"/>
                    <a:gd name="connsiteY9" fmla="*/ 43101 h 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00" h="43100">
                      <a:moveTo>
                        <a:pt x="36432" y="43101"/>
                      </a:moveTo>
                      <a:cubicBezTo>
                        <a:pt x="32751" y="43101"/>
                        <a:pt x="29765" y="40119"/>
                        <a:pt x="29765" y="36434"/>
                      </a:cubicBezTo>
                      <a:lnTo>
                        <a:pt x="29765" y="13333"/>
                      </a:lnTo>
                      <a:lnTo>
                        <a:pt x="6667" y="13333"/>
                      </a:lnTo>
                      <a:cubicBezTo>
                        <a:pt x="2986" y="13333"/>
                        <a:pt x="0" y="10352"/>
                        <a:pt x="0" y="6667"/>
                      </a:cubicBezTo>
                      <a:cubicBezTo>
                        <a:pt x="0" y="2982"/>
                        <a:pt x="2986" y="0"/>
                        <a:pt x="6667" y="0"/>
                      </a:cubicBezTo>
                      <a:lnTo>
                        <a:pt x="36434" y="0"/>
                      </a:lnTo>
                      <a:cubicBezTo>
                        <a:pt x="40115" y="0"/>
                        <a:pt x="43101" y="2982"/>
                        <a:pt x="43101" y="6667"/>
                      </a:cubicBezTo>
                      <a:lnTo>
                        <a:pt x="43101" y="36434"/>
                      </a:lnTo>
                      <a:cubicBezTo>
                        <a:pt x="43099" y="40119"/>
                        <a:pt x="40115" y="43101"/>
                        <a:pt x="36432" y="43101"/>
                      </a:cubicBezTo>
                      <a:close/>
                    </a:path>
                  </a:pathLst>
                </a:custGeom>
                <a:solidFill>
                  <a:schemeClr val="accent1"/>
                </a:solidFill>
                <a:ln w="205" cap="flat">
                  <a:noFill/>
                  <a:prstDash val="solid"/>
                  <a:miter/>
                </a:ln>
              </p:spPr>
              <p:txBody>
                <a:bodyPr rtlCol="0" anchor="ctr"/>
                <a:lstStyle/>
                <a:p>
                  <a:endParaRPr lang="en-GB" dirty="0"/>
                </a:p>
              </p:txBody>
            </p:sp>
          </p:grpSp>
        </p:grpSp>
        <p:grpSp>
          <p:nvGrpSpPr>
            <p:cNvPr id="372" name="Gruppieren 979">
              <a:extLst>
                <a:ext uri="{FF2B5EF4-FFF2-40B4-BE49-F238E27FC236}">
                  <a16:creationId xmlns:a16="http://schemas.microsoft.com/office/drawing/2014/main" id="{41773AD6-DCFA-43CC-90A7-ED2CA6244EF6}"/>
                </a:ext>
              </a:extLst>
            </p:cNvPr>
            <p:cNvGrpSpPr/>
            <p:nvPr/>
          </p:nvGrpSpPr>
          <p:grpSpPr>
            <a:xfrm>
              <a:off x="2801986" y="4105310"/>
              <a:ext cx="318799" cy="329301"/>
              <a:chOff x="1861246" y="3452028"/>
              <a:chExt cx="297253" cy="307045"/>
            </a:xfrm>
          </p:grpSpPr>
          <p:sp>
            <p:nvSpPr>
              <p:cNvPr id="373" name="Freihandform: Form 160">
                <a:extLst>
                  <a:ext uri="{FF2B5EF4-FFF2-40B4-BE49-F238E27FC236}">
                    <a16:creationId xmlns:a16="http://schemas.microsoft.com/office/drawing/2014/main" id="{2823E5F0-3DB3-473A-BCAA-E22130413149}"/>
                  </a:ext>
                </a:extLst>
              </p:cNvPr>
              <p:cNvSpPr/>
              <p:nvPr/>
            </p:nvSpPr>
            <p:spPr>
              <a:xfrm>
                <a:off x="1861246" y="3452028"/>
                <a:ext cx="219213" cy="219213"/>
              </a:xfrm>
              <a:custGeom>
                <a:avLst/>
                <a:gdLst>
                  <a:gd name="connsiteX0" fmla="*/ 109607 w 219213"/>
                  <a:gd name="connsiteY0" fmla="*/ 219213 h 219213"/>
                  <a:gd name="connsiteX1" fmla="*/ 32104 w 219213"/>
                  <a:gd name="connsiteY1" fmla="*/ 187110 h 219213"/>
                  <a:gd name="connsiteX2" fmla="*/ 0 w 219213"/>
                  <a:gd name="connsiteY2" fmla="*/ 109607 h 219213"/>
                  <a:gd name="connsiteX3" fmla="*/ 32104 w 219213"/>
                  <a:gd name="connsiteY3" fmla="*/ 32104 h 219213"/>
                  <a:gd name="connsiteX4" fmla="*/ 109607 w 219213"/>
                  <a:gd name="connsiteY4" fmla="*/ 0 h 219213"/>
                  <a:gd name="connsiteX5" fmla="*/ 187110 w 219213"/>
                  <a:gd name="connsiteY5" fmla="*/ 32104 h 219213"/>
                  <a:gd name="connsiteX6" fmla="*/ 187110 w 219213"/>
                  <a:gd name="connsiteY6" fmla="*/ 32104 h 219213"/>
                  <a:gd name="connsiteX7" fmla="*/ 187110 w 219213"/>
                  <a:gd name="connsiteY7" fmla="*/ 32104 h 219213"/>
                  <a:gd name="connsiteX8" fmla="*/ 219213 w 219213"/>
                  <a:gd name="connsiteY8" fmla="*/ 109607 h 219213"/>
                  <a:gd name="connsiteX9" fmla="*/ 187110 w 219213"/>
                  <a:gd name="connsiteY9" fmla="*/ 187110 h 219213"/>
                  <a:gd name="connsiteX10" fmla="*/ 109607 w 219213"/>
                  <a:gd name="connsiteY10" fmla="*/ 219213 h 219213"/>
                  <a:gd name="connsiteX11" fmla="*/ 109607 w 219213"/>
                  <a:gd name="connsiteY11" fmla="*/ 13335 h 219213"/>
                  <a:gd name="connsiteX12" fmla="*/ 41532 w 219213"/>
                  <a:gd name="connsiteY12" fmla="*/ 41534 h 219213"/>
                  <a:gd name="connsiteX13" fmla="*/ 13335 w 219213"/>
                  <a:gd name="connsiteY13" fmla="*/ 109609 h 219213"/>
                  <a:gd name="connsiteX14" fmla="*/ 41532 w 219213"/>
                  <a:gd name="connsiteY14" fmla="*/ 177684 h 219213"/>
                  <a:gd name="connsiteX15" fmla="*/ 109607 w 219213"/>
                  <a:gd name="connsiteY15" fmla="*/ 205882 h 219213"/>
                  <a:gd name="connsiteX16" fmla="*/ 177682 w 219213"/>
                  <a:gd name="connsiteY16" fmla="*/ 177684 h 219213"/>
                  <a:gd name="connsiteX17" fmla="*/ 205878 w 219213"/>
                  <a:gd name="connsiteY17" fmla="*/ 109609 h 219213"/>
                  <a:gd name="connsiteX18" fmla="*/ 177682 w 219213"/>
                  <a:gd name="connsiteY18" fmla="*/ 41534 h 219213"/>
                  <a:gd name="connsiteX19" fmla="*/ 177682 w 219213"/>
                  <a:gd name="connsiteY19" fmla="*/ 41534 h 219213"/>
                  <a:gd name="connsiteX20" fmla="*/ 109607 w 219213"/>
                  <a:gd name="connsiteY20" fmla="*/ 13335 h 219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9213" h="219213">
                    <a:moveTo>
                      <a:pt x="109607" y="219213"/>
                    </a:moveTo>
                    <a:cubicBezTo>
                      <a:pt x="80329" y="219213"/>
                      <a:pt x="52805" y="207813"/>
                      <a:pt x="32104" y="187110"/>
                    </a:cubicBezTo>
                    <a:cubicBezTo>
                      <a:pt x="11400" y="166407"/>
                      <a:pt x="0" y="138879"/>
                      <a:pt x="0" y="109607"/>
                    </a:cubicBezTo>
                    <a:cubicBezTo>
                      <a:pt x="0" y="80329"/>
                      <a:pt x="11400" y="52800"/>
                      <a:pt x="32104" y="32104"/>
                    </a:cubicBezTo>
                    <a:cubicBezTo>
                      <a:pt x="52805" y="11400"/>
                      <a:pt x="80329" y="0"/>
                      <a:pt x="109607" y="0"/>
                    </a:cubicBezTo>
                    <a:cubicBezTo>
                      <a:pt x="138885" y="0"/>
                      <a:pt x="166409" y="11400"/>
                      <a:pt x="187110" y="32104"/>
                    </a:cubicBezTo>
                    <a:lnTo>
                      <a:pt x="187110" y="32104"/>
                    </a:lnTo>
                    <a:lnTo>
                      <a:pt x="187110" y="32104"/>
                    </a:lnTo>
                    <a:cubicBezTo>
                      <a:pt x="207813" y="52800"/>
                      <a:pt x="219213" y="80327"/>
                      <a:pt x="219213" y="109607"/>
                    </a:cubicBezTo>
                    <a:cubicBezTo>
                      <a:pt x="219213" y="138879"/>
                      <a:pt x="207813" y="166405"/>
                      <a:pt x="187110" y="187110"/>
                    </a:cubicBezTo>
                    <a:cubicBezTo>
                      <a:pt x="166409" y="207813"/>
                      <a:pt x="138885" y="219213"/>
                      <a:pt x="109607" y="219213"/>
                    </a:cubicBezTo>
                    <a:close/>
                    <a:moveTo>
                      <a:pt x="109607" y="13335"/>
                    </a:moveTo>
                    <a:cubicBezTo>
                      <a:pt x="83892" y="13335"/>
                      <a:pt x="59716" y="23350"/>
                      <a:pt x="41532" y="41534"/>
                    </a:cubicBezTo>
                    <a:cubicBezTo>
                      <a:pt x="23348" y="59718"/>
                      <a:pt x="13335" y="83892"/>
                      <a:pt x="13335" y="109609"/>
                    </a:cubicBezTo>
                    <a:cubicBezTo>
                      <a:pt x="13335" y="135319"/>
                      <a:pt x="23348" y="159500"/>
                      <a:pt x="41532" y="177684"/>
                    </a:cubicBezTo>
                    <a:cubicBezTo>
                      <a:pt x="59716" y="195868"/>
                      <a:pt x="83892" y="205882"/>
                      <a:pt x="109607" y="205882"/>
                    </a:cubicBezTo>
                    <a:cubicBezTo>
                      <a:pt x="135321" y="205882"/>
                      <a:pt x="159498" y="195868"/>
                      <a:pt x="177682" y="177684"/>
                    </a:cubicBezTo>
                    <a:cubicBezTo>
                      <a:pt x="195866" y="159500"/>
                      <a:pt x="205878" y="135319"/>
                      <a:pt x="205878" y="109609"/>
                    </a:cubicBezTo>
                    <a:cubicBezTo>
                      <a:pt x="205878" y="83892"/>
                      <a:pt x="195866" y="59718"/>
                      <a:pt x="177682" y="41534"/>
                    </a:cubicBezTo>
                    <a:lnTo>
                      <a:pt x="177682" y="41534"/>
                    </a:lnTo>
                    <a:cubicBezTo>
                      <a:pt x="159498" y="23348"/>
                      <a:pt x="135319" y="13335"/>
                      <a:pt x="109607" y="13335"/>
                    </a:cubicBezTo>
                    <a:close/>
                  </a:path>
                </a:pathLst>
              </a:custGeom>
              <a:solidFill>
                <a:schemeClr val="tx2"/>
              </a:solidFill>
              <a:ln w="205" cap="flat">
                <a:noFill/>
                <a:prstDash val="solid"/>
                <a:miter/>
              </a:ln>
            </p:spPr>
            <p:txBody>
              <a:bodyPr rtlCol="0" anchor="ctr"/>
              <a:lstStyle/>
              <a:p>
                <a:endParaRPr lang="en-GB" dirty="0"/>
              </a:p>
            </p:txBody>
          </p:sp>
          <p:sp>
            <p:nvSpPr>
              <p:cNvPr id="374" name="Freihandform: Form 161">
                <a:extLst>
                  <a:ext uri="{FF2B5EF4-FFF2-40B4-BE49-F238E27FC236}">
                    <a16:creationId xmlns:a16="http://schemas.microsoft.com/office/drawing/2014/main" id="{A5DF572C-A0E7-47A4-9FE4-9E00633375E7}"/>
                  </a:ext>
                </a:extLst>
              </p:cNvPr>
              <p:cNvSpPr/>
              <p:nvPr/>
            </p:nvSpPr>
            <p:spPr>
              <a:xfrm>
                <a:off x="2023605" y="3624187"/>
                <a:ext cx="68793" cy="68795"/>
              </a:xfrm>
              <a:custGeom>
                <a:avLst/>
                <a:gdLst>
                  <a:gd name="connsiteX0" fmla="*/ 41325 w 68793"/>
                  <a:gd name="connsiteY0" fmla="*/ 68795 h 68795"/>
                  <a:gd name="connsiteX1" fmla="*/ 36612 w 68793"/>
                  <a:gd name="connsiteY1" fmla="*/ 66842 h 68795"/>
                  <a:gd name="connsiteX2" fmla="*/ 1952 w 68793"/>
                  <a:gd name="connsiteY2" fmla="*/ 32178 h 68795"/>
                  <a:gd name="connsiteX3" fmla="*/ 1952 w 68793"/>
                  <a:gd name="connsiteY3" fmla="*/ 22750 h 68795"/>
                  <a:gd name="connsiteX4" fmla="*/ 11381 w 68793"/>
                  <a:gd name="connsiteY4" fmla="*/ 22750 h 68795"/>
                  <a:gd name="connsiteX5" fmla="*/ 41327 w 68793"/>
                  <a:gd name="connsiteY5" fmla="*/ 52698 h 68795"/>
                  <a:gd name="connsiteX6" fmla="*/ 52699 w 68793"/>
                  <a:gd name="connsiteY6" fmla="*/ 41331 h 68795"/>
                  <a:gd name="connsiteX7" fmla="*/ 22750 w 68793"/>
                  <a:gd name="connsiteY7" fmla="*/ 11382 h 68795"/>
                  <a:gd name="connsiteX8" fmla="*/ 22750 w 68793"/>
                  <a:gd name="connsiteY8" fmla="*/ 1954 h 68795"/>
                  <a:gd name="connsiteX9" fmla="*/ 32179 w 68793"/>
                  <a:gd name="connsiteY9" fmla="*/ 1954 h 68795"/>
                  <a:gd name="connsiteX10" fmla="*/ 66840 w 68793"/>
                  <a:gd name="connsiteY10" fmla="*/ 36616 h 68795"/>
                  <a:gd name="connsiteX11" fmla="*/ 68794 w 68793"/>
                  <a:gd name="connsiteY11" fmla="*/ 41329 h 68795"/>
                  <a:gd name="connsiteX12" fmla="*/ 66840 w 68793"/>
                  <a:gd name="connsiteY12" fmla="*/ 46042 h 68795"/>
                  <a:gd name="connsiteX13" fmla="*/ 46042 w 68793"/>
                  <a:gd name="connsiteY13" fmla="*/ 66842 h 68795"/>
                  <a:gd name="connsiteX14" fmla="*/ 41325 w 68793"/>
                  <a:gd name="connsiteY14" fmla="*/ 68795 h 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793" h="68795">
                    <a:moveTo>
                      <a:pt x="41325" y="68795"/>
                    </a:moveTo>
                    <a:cubicBezTo>
                      <a:pt x="39618" y="68795"/>
                      <a:pt x="37914" y="68137"/>
                      <a:pt x="36612" y="66842"/>
                    </a:cubicBezTo>
                    <a:lnTo>
                      <a:pt x="1952" y="32178"/>
                    </a:lnTo>
                    <a:cubicBezTo>
                      <a:pt x="-651" y="29573"/>
                      <a:pt x="-651" y="25355"/>
                      <a:pt x="1952" y="22750"/>
                    </a:cubicBezTo>
                    <a:cubicBezTo>
                      <a:pt x="4556" y="20144"/>
                      <a:pt x="8775" y="20144"/>
                      <a:pt x="11381" y="22750"/>
                    </a:cubicBezTo>
                    <a:lnTo>
                      <a:pt x="41327" y="52698"/>
                    </a:lnTo>
                    <a:lnTo>
                      <a:pt x="52699" y="41331"/>
                    </a:lnTo>
                    <a:lnTo>
                      <a:pt x="22750" y="11382"/>
                    </a:lnTo>
                    <a:cubicBezTo>
                      <a:pt x="20147" y="8777"/>
                      <a:pt x="20147" y="4559"/>
                      <a:pt x="22750" y="1954"/>
                    </a:cubicBezTo>
                    <a:cubicBezTo>
                      <a:pt x="25354" y="-651"/>
                      <a:pt x="29573" y="-651"/>
                      <a:pt x="32179" y="1954"/>
                    </a:cubicBezTo>
                    <a:lnTo>
                      <a:pt x="66840" y="36616"/>
                    </a:lnTo>
                    <a:cubicBezTo>
                      <a:pt x="68090" y="37866"/>
                      <a:pt x="68794" y="39558"/>
                      <a:pt x="68794" y="41329"/>
                    </a:cubicBezTo>
                    <a:cubicBezTo>
                      <a:pt x="68794" y="43099"/>
                      <a:pt x="68090" y="44792"/>
                      <a:pt x="66840" y="46042"/>
                    </a:cubicBezTo>
                    <a:lnTo>
                      <a:pt x="46042" y="66842"/>
                    </a:lnTo>
                    <a:cubicBezTo>
                      <a:pt x="44737" y="68137"/>
                      <a:pt x="43032" y="68795"/>
                      <a:pt x="41325" y="68795"/>
                    </a:cubicBezTo>
                    <a:close/>
                  </a:path>
                </a:pathLst>
              </a:custGeom>
              <a:solidFill>
                <a:schemeClr val="tx2"/>
              </a:solidFill>
              <a:ln w="205" cap="flat">
                <a:noFill/>
                <a:prstDash val="solid"/>
                <a:miter/>
              </a:ln>
            </p:spPr>
            <p:txBody>
              <a:bodyPr rtlCol="0" anchor="ctr"/>
              <a:lstStyle/>
              <a:p>
                <a:endParaRPr lang="en-GB" dirty="0"/>
              </a:p>
            </p:txBody>
          </p:sp>
          <p:sp>
            <p:nvSpPr>
              <p:cNvPr id="375" name="Freihandform: Form 162">
                <a:extLst>
                  <a:ext uri="{FF2B5EF4-FFF2-40B4-BE49-F238E27FC236}">
                    <a16:creationId xmlns:a16="http://schemas.microsoft.com/office/drawing/2014/main" id="{A9D432B4-3F28-41B0-8674-11E7B3C93077}"/>
                  </a:ext>
                </a:extLst>
              </p:cNvPr>
              <p:cNvSpPr/>
              <p:nvPr/>
            </p:nvSpPr>
            <p:spPr>
              <a:xfrm>
                <a:off x="2051333" y="3651996"/>
                <a:ext cx="107166" cy="107077"/>
              </a:xfrm>
              <a:custGeom>
                <a:avLst/>
                <a:gdLst>
                  <a:gd name="connsiteX0" fmla="*/ 75989 w 107166"/>
                  <a:gd name="connsiteY0" fmla="*/ 107077 h 107077"/>
                  <a:gd name="connsiteX1" fmla="*/ 53947 w 107166"/>
                  <a:gd name="connsiteY1" fmla="*/ 97968 h 107077"/>
                  <a:gd name="connsiteX2" fmla="*/ 1953 w 107166"/>
                  <a:gd name="connsiteY2" fmla="*/ 45963 h 107077"/>
                  <a:gd name="connsiteX3" fmla="*/ 1953 w 107166"/>
                  <a:gd name="connsiteY3" fmla="*/ 36545 h 107077"/>
                  <a:gd name="connsiteX4" fmla="*/ 36614 w 107166"/>
                  <a:gd name="connsiteY4" fmla="*/ 1875 h 107077"/>
                  <a:gd name="connsiteX5" fmla="*/ 46042 w 107166"/>
                  <a:gd name="connsiteY5" fmla="*/ 1875 h 107077"/>
                  <a:gd name="connsiteX6" fmla="*/ 98033 w 107166"/>
                  <a:gd name="connsiteY6" fmla="*/ 53880 h 107077"/>
                  <a:gd name="connsiteX7" fmla="*/ 107167 w 107166"/>
                  <a:gd name="connsiteY7" fmla="*/ 75924 h 107077"/>
                  <a:gd name="connsiteX8" fmla="*/ 98033 w 107166"/>
                  <a:gd name="connsiteY8" fmla="*/ 97968 h 107077"/>
                  <a:gd name="connsiteX9" fmla="*/ 98033 w 107166"/>
                  <a:gd name="connsiteY9" fmla="*/ 97968 h 107077"/>
                  <a:gd name="connsiteX10" fmla="*/ 98033 w 107166"/>
                  <a:gd name="connsiteY10" fmla="*/ 97968 h 107077"/>
                  <a:gd name="connsiteX11" fmla="*/ 75989 w 107166"/>
                  <a:gd name="connsiteY11" fmla="*/ 107077 h 107077"/>
                  <a:gd name="connsiteX12" fmla="*/ 16096 w 107166"/>
                  <a:gd name="connsiteY12" fmla="*/ 41254 h 107077"/>
                  <a:gd name="connsiteX13" fmla="*/ 63375 w 107166"/>
                  <a:gd name="connsiteY13" fmla="*/ 88529 h 107077"/>
                  <a:gd name="connsiteX14" fmla="*/ 88606 w 107166"/>
                  <a:gd name="connsiteY14" fmla="*/ 88529 h 107077"/>
                  <a:gd name="connsiteX15" fmla="*/ 88606 w 107166"/>
                  <a:gd name="connsiteY15" fmla="*/ 88529 h 107077"/>
                  <a:gd name="connsiteX16" fmla="*/ 93834 w 107166"/>
                  <a:gd name="connsiteY16" fmla="*/ 75903 h 107077"/>
                  <a:gd name="connsiteX17" fmla="*/ 88606 w 107166"/>
                  <a:gd name="connsiteY17" fmla="*/ 63298 h 107077"/>
                  <a:gd name="connsiteX18" fmla="*/ 41329 w 107166"/>
                  <a:gd name="connsiteY18" fmla="*/ 16015 h 107077"/>
                  <a:gd name="connsiteX19" fmla="*/ 16096 w 107166"/>
                  <a:gd name="connsiteY19" fmla="*/ 41254 h 10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166" h="107077">
                    <a:moveTo>
                      <a:pt x="75989" y="107077"/>
                    </a:moveTo>
                    <a:cubicBezTo>
                      <a:pt x="68006" y="107077"/>
                      <a:pt x="60025" y="104034"/>
                      <a:pt x="53947" y="97968"/>
                    </a:cubicBezTo>
                    <a:lnTo>
                      <a:pt x="1953" y="45963"/>
                    </a:lnTo>
                    <a:cubicBezTo>
                      <a:pt x="-651" y="43352"/>
                      <a:pt x="-651" y="39136"/>
                      <a:pt x="1953" y="36545"/>
                    </a:cubicBezTo>
                    <a:lnTo>
                      <a:pt x="36614" y="1875"/>
                    </a:lnTo>
                    <a:cubicBezTo>
                      <a:pt x="39115" y="-625"/>
                      <a:pt x="43542" y="-625"/>
                      <a:pt x="46042" y="1875"/>
                    </a:cubicBezTo>
                    <a:lnTo>
                      <a:pt x="98033" y="53880"/>
                    </a:lnTo>
                    <a:cubicBezTo>
                      <a:pt x="103922" y="59761"/>
                      <a:pt x="107167" y="67596"/>
                      <a:pt x="107167" y="75924"/>
                    </a:cubicBezTo>
                    <a:cubicBezTo>
                      <a:pt x="107167" y="84252"/>
                      <a:pt x="103922" y="92066"/>
                      <a:pt x="98033" y="97968"/>
                    </a:cubicBezTo>
                    <a:lnTo>
                      <a:pt x="98033" y="97968"/>
                    </a:lnTo>
                    <a:lnTo>
                      <a:pt x="98033" y="97968"/>
                    </a:lnTo>
                    <a:cubicBezTo>
                      <a:pt x="91956" y="104034"/>
                      <a:pt x="83976" y="107077"/>
                      <a:pt x="75989" y="107077"/>
                    </a:cubicBezTo>
                    <a:close/>
                    <a:moveTo>
                      <a:pt x="16096" y="41254"/>
                    </a:moveTo>
                    <a:lnTo>
                      <a:pt x="63375" y="88529"/>
                    </a:lnTo>
                    <a:cubicBezTo>
                      <a:pt x="70332" y="95480"/>
                      <a:pt x="81644" y="95480"/>
                      <a:pt x="88606" y="88529"/>
                    </a:cubicBezTo>
                    <a:lnTo>
                      <a:pt x="88606" y="88529"/>
                    </a:lnTo>
                    <a:cubicBezTo>
                      <a:pt x="91979" y="85157"/>
                      <a:pt x="93834" y="80674"/>
                      <a:pt x="93834" y="75903"/>
                    </a:cubicBezTo>
                    <a:cubicBezTo>
                      <a:pt x="93834" y="71153"/>
                      <a:pt x="91979" y="66670"/>
                      <a:pt x="88606" y="63298"/>
                    </a:cubicBezTo>
                    <a:lnTo>
                      <a:pt x="41329" y="16015"/>
                    </a:lnTo>
                    <a:lnTo>
                      <a:pt x="16096" y="41254"/>
                    </a:lnTo>
                    <a:close/>
                  </a:path>
                </a:pathLst>
              </a:custGeom>
              <a:solidFill>
                <a:schemeClr val="tx2"/>
              </a:solidFill>
              <a:ln w="205" cap="flat">
                <a:noFill/>
                <a:prstDash val="solid"/>
                <a:miter/>
              </a:ln>
            </p:spPr>
            <p:txBody>
              <a:bodyPr rtlCol="0" anchor="ctr"/>
              <a:lstStyle/>
              <a:p>
                <a:endParaRPr lang="en-GB" dirty="0"/>
              </a:p>
            </p:txBody>
          </p:sp>
        </p:grpSp>
      </p:grpSp>
      <p:grpSp>
        <p:nvGrpSpPr>
          <p:cNvPr id="474" name="Group 473">
            <a:extLst>
              <a:ext uri="{FF2B5EF4-FFF2-40B4-BE49-F238E27FC236}">
                <a16:creationId xmlns:a16="http://schemas.microsoft.com/office/drawing/2014/main" id="{020B52AD-DE72-29E5-470C-CA7D99992427}"/>
              </a:ext>
            </a:extLst>
          </p:cNvPr>
          <p:cNvGrpSpPr/>
          <p:nvPr/>
        </p:nvGrpSpPr>
        <p:grpSpPr>
          <a:xfrm>
            <a:off x="3727416" y="4002611"/>
            <a:ext cx="459872" cy="432000"/>
            <a:chOff x="3727416" y="4002611"/>
            <a:chExt cx="459872" cy="432000"/>
          </a:xfrm>
        </p:grpSpPr>
        <p:grpSp>
          <p:nvGrpSpPr>
            <p:cNvPr id="401" name="Grafik 348">
              <a:extLst>
                <a:ext uri="{FF2B5EF4-FFF2-40B4-BE49-F238E27FC236}">
                  <a16:creationId xmlns:a16="http://schemas.microsoft.com/office/drawing/2014/main" id="{D92262F6-BBC5-4B07-BAE9-50A76EAC13C6}"/>
                </a:ext>
              </a:extLst>
            </p:cNvPr>
            <p:cNvGrpSpPr/>
            <p:nvPr/>
          </p:nvGrpSpPr>
          <p:grpSpPr>
            <a:xfrm>
              <a:off x="3846323" y="4002611"/>
              <a:ext cx="340965" cy="202072"/>
              <a:chOff x="2678674" y="3340138"/>
              <a:chExt cx="326238" cy="193344"/>
            </a:xfrm>
            <a:solidFill>
              <a:schemeClr val="accent1"/>
            </a:solidFill>
          </p:grpSpPr>
          <p:sp>
            <p:nvSpPr>
              <p:cNvPr id="411" name="Freihandform: Form 168">
                <a:extLst>
                  <a:ext uri="{FF2B5EF4-FFF2-40B4-BE49-F238E27FC236}">
                    <a16:creationId xmlns:a16="http://schemas.microsoft.com/office/drawing/2014/main" id="{4D40EF27-5E01-4166-B378-0C1B2CE288AA}"/>
                  </a:ext>
                </a:extLst>
              </p:cNvPr>
              <p:cNvSpPr/>
              <p:nvPr/>
            </p:nvSpPr>
            <p:spPr>
              <a:xfrm>
                <a:off x="2678674" y="3340140"/>
                <a:ext cx="326238" cy="193342"/>
              </a:xfrm>
              <a:custGeom>
                <a:avLst/>
                <a:gdLst>
                  <a:gd name="connsiteX0" fmla="*/ 6662 w 326238"/>
                  <a:gd name="connsiteY0" fmla="*/ 193343 h 193342"/>
                  <a:gd name="connsiteX1" fmla="*/ 2580 w 326238"/>
                  <a:gd name="connsiteY1" fmla="*/ 191943 h 193342"/>
                  <a:gd name="connsiteX2" fmla="*/ 1402 w 326238"/>
                  <a:gd name="connsiteY2" fmla="*/ 182586 h 193342"/>
                  <a:gd name="connsiteX3" fmla="*/ 48546 w 326238"/>
                  <a:gd name="connsiteY3" fmla="*/ 121914 h 193342"/>
                  <a:gd name="connsiteX4" fmla="*/ 55864 w 326238"/>
                  <a:gd name="connsiteY4" fmla="*/ 119662 h 193342"/>
                  <a:gd name="connsiteX5" fmla="*/ 114315 w 326238"/>
                  <a:gd name="connsiteY5" fmla="*/ 138550 h 193342"/>
                  <a:gd name="connsiteX6" fmla="*/ 174597 w 326238"/>
                  <a:gd name="connsiteY6" fmla="*/ 72961 h 193342"/>
                  <a:gd name="connsiteX7" fmla="*/ 182943 w 326238"/>
                  <a:gd name="connsiteY7" fmla="*/ 71762 h 193342"/>
                  <a:gd name="connsiteX8" fmla="*/ 220681 w 326238"/>
                  <a:gd name="connsiteY8" fmla="*/ 94491 h 193342"/>
                  <a:gd name="connsiteX9" fmla="*/ 314903 w 326238"/>
                  <a:gd name="connsiteY9" fmla="*/ 1917 h 193342"/>
                  <a:gd name="connsiteX10" fmla="*/ 324321 w 326238"/>
                  <a:gd name="connsiteY10" fmla="*/ 1995 h 193342"/>
                  <a:gd name="connsiteX11" fmla="*/ 324238 w 326238"/>
                  <a:gd name="connsiteY11" fmla="*/ 11421 h 193342"/>
                  <a:gd name="connsiteX12" fmla="*/ 226336 w 326238"/>
                  <a:gd name="connsiteY12" fmla="*/ 107623 h 193342"/>
                  <a:gd name="connsiteX13" fmla="*/ 218214 w 326238"/>
                  <a:gd name="connsiteY13" fmla="*/ 108579 h 193342"/>
                  <a:gd name="connsiteX14" fmla="*/ 180733 w 326238"/>
                  <a:gd name="connsiteY14" fmla="*/ 85994 h 193342"/>
                  <a:gd name="connsiteX15" fmla="*/ 121245 w 326238"/>
                  <a:gd name="connsiteY15" fmla="*/ 150717 h 193342"/>
                  <a:gd name="connsiteX16" fmla="*/ 114285 w 326238"/>
                  <a:gd name="connsiteY16" fmla="*/ 152547 h 193342"/>
                  <a:gd name="connsiteX17" fmla="*/ 56210 w 326238"/>
                  <a:gd name="connsiteY17" fmla="*/ 133783 h 193342"/>
                  <a:gd name="connsiteX18" fmla="*/ 11937 w 326238"/>
                  <a:gd name="connsiteY18" fmla="*/ 190764 h 193342"/>
                  <a:gd name="connsiteX19" fmla="*/ 6662 w 326238"/>
                  <a:gd name="connsiteY19" fmla="*/ 193343 h 19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6238" h="193342">
                    <a:moveTo>
                      <a:pt x="6662" y="193343"/>
                    </a:moveTo>
                    <a:cubicBezTo>
                      <a:pt x="5237" y="193343"/>
                      <a:pt x="3798" y="192887"/>
                      <a:pt x="2580" y="191943"/>
                    </a:cubicBezTo>
                    <a:cubicBezTo>
                      <a:pt x="-329" y="189683"/>
                      <a:pt x="-858" y="185490"/>
                      <a:pt x="1402" y="182586"/>
                    </a:cubicBezTo>
                    <a:lnTo>
                      <a:pt x="48546" y="121914"/>
                    </a:lnTo>
                    <a:cubicBezTo>
                      <a:pt x="50271" y="119693"/>
                      <a:pt x="53187" y="118776"/>
                      <a:pt x="55864" y="119662"/>
                    </a:cubicBezTo>
                    <a:lnTo>
                      <a:pt x="114315" y="138550"/>
                    </a:lnTo>
                    <a:lnTo>
                      <a:pt x="174597" y="72961"/>
                    </a:lnTo>
                    <a:cubicBezTo>
                      <a:pt x="176746" y="70623"/>
                      <a:pt x="180241" y="70129"/>
                      <a:pt x="182943" y="71762"/>
                    </a:cubicBezTo>
                    <a:lnTo>
                      <a:pt x="220681" y="94491"/>
                    </a:lnTo>
                    <a:lnTo>
                      <a:pt x="314903" y="1917"/>
                    </a:lnTo>
                    <a:cubicBezTo>
                      <a:pt x="317535" y="-668"/>
                      <a:pt x="321750" y="-635"/>
                      <a:pt x="324321" y="1995"/>
                    </a:cubicBezTo>
                    <a:cubicBezTo>
                      <a:pt x="326912" y="4625"/>
                      <a:pt x="326870" y="8845"/>
                      <a:pt x="324238" y="11421"/>
                    </a:cubicBezTo>
                    <a:lnTo>
                      <a:pt x="226336" y="107623"/>
                    </a:lnTo>
                    <a:cubicBezTo>
                      <a:pt x="224156" y="109765"/>
                      <a:pt x="220825" y="110148"/>
                      <a:pt x="218214" y="108579"/>
                    </a:cubicBezTo>
                    <a:lnTo>
                      <a:pt x="180733" y="85994"/>
                    </a:lnTo>
                    <a:lnTo>
                      <a:pt x="121245" y="150717"/>
                    </a:lnTo>
                    <a:cubicBezTo>
                      <a:pt x="119487" y="152632"/>
                      <a:pt x="116785" y="153368"/>
                      <a:pt x="114285" y="152547"/>
                    </a:cubicBezTo>
                    <a:lnTo>
                      <a:pt x="56210" y="133783"/>
                    </a:lnTo>
                    <a:lnTo>
                      <a:pt x="11937" y="190764"/>
                    </a:lnTo>
                    <a:cubicBezTo>
                      <a:pt x="10621" y="192457"/>
                      <a:pt x="8655" y="193343"/>
                      <a:pt x="6662" y="193343"/>
                    </a:cubicBezTo>
                    <a:close/>
                  </a:path>
                </a:pathLst>
              </a:custGeom>
              <a:solidFill>
                <a:schemeClr val="accent1"/>
              </a:solidFill>
              <a:ln w="205" cap="flat">
                <a:noFill/>
                <a:prstDash val="solid"/>
                <a:miter/>
              </a:ln>
            </p:spPr>
            <p:txBody>
              <a:bodyPr rtlCol="0" anchor="ctr"/>
              <a:lstStyle/>
              <a:p>
                <a:endParaRPr lang="en-GB" dirty="0"/>
              </a:p>
            </p:txBody>
          </p:sp>
          <p:sp>
            <p:nvSpPr>
              <p:cNvPr id="412" name="Freihandform: Form 169">
                <a:extLst>
                  <a:ext uri="{FF2B5EF4-FFF2-40B4-BE49-F238E27FC236}">
                    <a16:creationId xmlns:a16="http://schemas.microsoft.com/office/drawing/2014/main" id="{0A4544DE-94B2-4225-9E62-CE7FDE8F5ED3}"/>
                  </a:ext>
                </a:extLst>
              </p:cNvPr>
              <p:cNvSpPr/>
              <p:nvPr/>
            </p:nvSpPr>
            <p:spPr>
              <a:xfrm>
                <a:off x="2961251" y="3340138"/>
                <a:ext cx="43655" cy="43672"/>
              </a:xfrm>
              <a:custGeom>
                <a:avLst/>
                <a:gdLst>
                  <a:gd name="connsiteX0" fmla="*/ 36993 w 43655"/>
                  <a:gd name="connsiteY0" fmla="*/ 43672 h 43672"/>
                  <a:gd name="connsiteX1" fmla="*/ 30331 w 43655"/>
                  <a:gd name="connsiteY1" fmla="*/ 37006 h 43672"/>
                  <a:gd name="connsiteX2" fmla="*/ 30331 w 43655"/>
                  <a:gd name="connsiteY2" fmla="*/ 13333 h 43672"/>
                  <a:gd name="connsiteX3" fmla="*/ 6662 w 43655"/>
                  <a:gd name="connsiteY3" fmla="*/ 13333 h 43672"/>
                  <a:gd name="connsiteX4" fmla="*/ 0 w 43655"/>
                  <a:gd name="connsiteY4" fmla="*/ 6667 h 43672"/>
                  <a:gd name="connsiteX5" fmla="*/ 6662 w 43655"/>
                  <a:gd name="connsiteY5" fmla="*/ 0 h 43672"/>
                  <a:gd name="connsiteX6" fmla="*/ 36993 w 43655"/>
                  <a:gd name="connsiteY6" fmla="*/ 0 h 43672"/>
                  <a:gd name="connsiteX7" fmla="*/ 43656 w 43655"/>
                  <a:gd name="connsiteY7" fmla="*/ 6667 h 43672"/>
                  <a:gd name="connsiteX8" fmla="*/ 43656 w 43655"/>
                  <a:gd name="connsiteY8" fmla="*/ 37006 h 43672"/>
                  <a:gd name="connsiteX9" fmla="*/ 36993 w 43655"/>
                  <a:gd name="connsiteY9" fmla="*/ 43672 h 4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655" h="43672">
                    <a:moveTo>
                      <a:pt x="36993" y="43672"/>
                    </a:moveTo>
                    <a:cubicBezTo>
                      <a:pt x="33313" y="43672"/>
                      <a:pt x="30331" y="40691"/>
                      <a:pt x="30331" y="37006"/>
                    </a:cubicBezTo>
                    <a:lnTo>
                      <a:pt x="30331" y="13333"/>
                    </a:lnTo>
                    <a:lnTo>
                      <a:pt x="6662" y="13333"/>
                    </a:lnTo>
                    <a:cubicBezTo>
                      <a:pt x="2982" y="13333"/>
                      <a:pt x="0" y="10352"/>
                      <a:pt x="0" y="6667"/>
                    </a:cubicBezTo>
                    <a:cubicBezTo>
                      <a:pt x="0" y="2982"/>
                      <a:pt x="2982" y="0"/>
                      <a:pt x="6662" y="0"/>
                    </a:cubicBezTo>
                    <a:lnTo>
                      <a:pt x="36993" y="0"/>
                    </a:lnTo>
                    <a:cubicBezTo>
                      <a:pt x="40674" y="0"/>
                      <a:pt x="43656" y="2982"/>
                      <a:pt x="43656" y="6667"/>
                    </a:cubicBezTo>
                    <a:lnTo>
                      <a:pt x="43656" y="37006"/>
                    </a:lnTo>
                    <a:cubicBezTo>
                      <a:pt x="43656" y="40691"/>
                      <a:pt x="40674" y="43672"/>
                      <a:pt x="36993" y="43672"/>
                    </a:cubicBezTo>
                    <a:close/>
                  </a:path>
                </a:pathLst>
              </a:custGeom>
              <a:solidFill>
                <a:schemeClr val="accent1"/>
              </a:solidFill>
              <a:ln w="205" cap="flat">
                <a:noFill/>
                <a:prstDash val="solid"/>
                <a:miter/>
              </a:ln>
            </p:spPr>
            <p:txBody>
              <a:bodyPr rtlCol="0" anchor="ctr"/>
              <a:lstStyle/>
              <a:p>
                <a:endParaRPr lang="en-GB" dirty="0"/>
              </a:p>
            </p:txBody>
          </p:sp>
        </p:grpSp>
        <p:grpSp>
          <p:nvGrpSpPr>
            <p:cNvPr id="402" name="Grafik 348">
              <a:extLst>
                <a:ext uri="{FF2B5EF4-FFF2-40B4-BE49-F238E27FC236}">
                  <a16:creationId xmlns:a16="http://schemas.microsoft.com/office/drawing/2014/main" id="{D19E3565-FA57-417B-A8AA-04E0237B88BF}"/>
                </a:ext>
              </a:extLst>
            </p:cNvPr>
            <p:cNvGrpSpPr/>
            <p:nvPr/>
          </p:nvGrpSpPr>
          <p:grpSpPr>
            <a:xfrm>
              <a:off x="3727416" y="4086231"/>
              <a:ext cx="404139" cy="348380"/>
              <a:chOff x="2564903" y="3420146"/>
              <a:chExt cx="386683" cy="333333"/>
            </a:xfrm>
            <a:solidFill>
              <a:schemeClr val="tx2"/>
            </a:solidFill>
          </p:grpSpPr>
          <p:grpSp>
            <p:nvGrpSpPr>
              <p:cNvPr id="403" name="Grafik 348">
                <a:extLst>
                  <a:ext uri="{FF2B5EF4-FFF2-40B4-BE49-F238E27FC236}">
                    <a16:creationId xmlns:a16="http://schemas.microsoft.com/office/drawing/2014/main" id="{664FF262-40C2-4DD9-8AD7-426641B0616F}"/>
                  </a:ext>
                </a:extLst>
              </p:cNvPr>
              <p:cNvGrpSpPr/>
              <p:nvPr/>
            </p:nvGrpSpPr>
            <p:grpSpPr>
              <a:xfrm>
                <a:off x="2564903" y="3420146"/>
                <a:ext cx="386683" cy="333333"/>
                <a:chOff x="2564903" y="3420146"/>
                <a:chExt cx="386683" cy="333333"/>
              </a:xfrm>
              <a:grpFill/>
            </p:grpSpPr>
            <p:sp>
              <p:nvSpPr>
                <p:cNvPr id="407" name="Freihandform: Form 172">
                  <a:extLst>
                    <a:ext uri="{FF2B5EF4-FFF2-40B4-BE49-F238E27FC236}">
                      <a16:creationId xmlns:a16="http://schemas.microsoft.com/office/drawing/2014/main" id="{BF37BAB0-AD16-4AB5-9521-46D42E420B09}"/>
                    </a:ext>
                  </a:extLst>
                </p:cNvPr>
                <p:cNvSpPr/>
                <p:nvPr/>
              </p:nvSpPr>
              <p:spPr>
                <a:xfrm>
                  <a:off x="2564903" y="3420146"/>
                  <a:ext cx="380020" cy="240007"/>
                </a:xfrm>
                <a:custGeom>
                  <a:avLst/>
                  <a:gdLst>
                    <a:gd name="connsiteX0" fmla="*/ 373338 w 380020"/>
                    <a:gd name="connsiteY0" fmla="*/ 240007 h 240007"/>
                    <a:gd name="connsiteX1" fmla="*/ 106670 w 380020"/>
                    <a:gd name="connsiteY1" fmla="*/ 240007 h 240007"/>
                    <a:gd name="connsiteX2" fmla="*/ 100139 w 380020"/>
                    <a:gd name="connsiteY2" fmla="*/ 234681 h 240007"/>
                    <a:gd name="connsiteX3" fmla="*/ 54565 w 380020"/>
                    <a:gd name="connsiteY3" fmla="*/ 13333 h 240007"/>
                    <a:gd name="connsiteX4" fmla="*/ 6667 w 380020"/>
                    <a:gd name="connsiteY4" fmla="*/ 13333 h 240007"/>
                    <a:gd name="connsiteX5" fmla="*/ 0 w 380020"/>
                    <a:gd name="connsiteY5" fmla="*/ 6667 h 240007"/>
                    <a:gd name="connsiteX6" fmla="*/ 6667 w 380020"/>
                    <a:gd name="connsiteY6" fmla="*/ 0 h 240007"/>
                    <a:gd name="connsiteX7" fmla="*/ 60002 w 380020"/>
                    <a:gd name="connsiteY7" fmla="*/ 0 h 240007"/>
                    <a:gd name="connsiteX8" fmla="*/ 66533 w 380020"/>
                    <a:gd name="connsiteY8" fmla="*/ 5326 h 240007"/>
                    <a:gd name="connsiteX9" fmla="*/ 112107 w 380020"/>
                    <a:gd name="connsiteY9" fmla="*/ 226674 h 240007"/>
                    <a:gd name="connsiteX10" fmla="*/ 373338 w 380020"/>
                    <a:gd name="connsiteY10" fmla="*/ 226674 h 240007"/>
                    <a:gd name="connsiteX11" fmla="*/ 380021 w 380020"/>
                    <a:gd name="connsiteY11" fmla="*/ 233341 h 240007"/>
                    <a:gd name="connsiteX12" fmla="*/ 373338 w 380020"/>
                    <a:gd name="connsiteY12" fmla="*/ 240007 h 24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0020" h="240007">
                      <a:moveTo>
                        <a:pt x="373338" y="240007"/>
                      </a:moveTo>
                      <a:lnTo>
                        <a:pt x="106670" y="240007"/>
                      </a:lnTo>
                      <a:cubicBezTo>
                        <a:pt x="103505" y="240007"/>
                        <a:pt x="100779" y="237780"/>
                        <a:pt x="100139" y="234681"/>
                      </a:cubicBezTo>
                      <a:lnTo>
                        <a:pt x="54565" y="13333"/>
                      </a:lnTo>
                      <a:lnTo>
                        <a:pt x="6667" y="13333"/>
                      </a:lnTo>
                      <a:cubicBezTo>
                        <a:pt x="2982" y="13333"/>
                        <a:pt x="0" y="10352"/>
                        <a:pt x="0" y="6667"/>
                      </a:cubicBezTo>
                      <a:cubicBezTo>
                        <a:pt x="0" y="2982"/>
                        <a:pt x="2982" y="0"/>
                        <a:pt x="6667" y="0"/>
                      </a:cubicBezTo>
                      <a:lnTo>
                        <a:pt x="60002" y="0"/>
                      </a:lnTo>
                      <a:cubicBezTo>
                        <a:pt x="63166" y="0"/>
                        <a:pt x="65893" y="2227"/>
                        <a:pt x="66533" y="5326"/>
                      </a:cubicBezTo>
                      <a:lnTo>
                        <a:pt x="112107" y="226674"/>
                      </a:lnTo>
                      <a:lnTo>
                        <a:pt x="373338" y="226674"/>
                      </a:lnTo>
                      <a:cubicBezTo>
                        <a:pt x="377039" y="226674"/>
                        <a:pt x="380021" y="229656"/>
                        <a:pt x="380021" y="233341"/>
                      </a:cubicBezTo>
                      <a:cubicBezTo>
                        <a:pt x="380021" y="237025"/>
                        <a:pt x="377039" y="240007"/>
                        <a:pt x="373338" y="240007"/>
                      </a:cubicBezTo>
                      <a:close/>
                    </a:path>
                  </a:pathLst>
                </a:custGeom>
                <a:grpFill/>
                <a:ln w="205" cap="flat">
                  <a:noFill/>
                  <a:prstDash val="solid"/>
                  <a:miter/>
                </a:ln>
              </p:spPr>
              <p:txBody>
                <a:bodyPr rtlCol="0" anchor="ctr"/>
                <a:lstStyle/>
                <a:p>
                  <a:endParaRPr lang="en-GB" dirty="0"/>
                </a:p>
              </p:txBody>
            </p:sp>
            <p:sp>
              <p:nvSpPr>
                <p:cNvPr id="408" name="Freihandform: Form 173">
                  <a:extLst>
                    <a:ext uri="{FF2B5EF4-FFF2-40B4-BE49-F238E27FC236}">
                      <a16:creationId xmlns:a16="http://schemas.microsoft.com/office/drawing/2014/main" id="{0F6C5B2A-A636-4ED3-A2A5-E95B6CBAF063}"/>
                    </a:ext>
                  </a:extLst>
                </p:cNvPr>
                <p:cNvSpPr/>
                <p:nvPr/>
              </p:nvSpPr>
              <p:spPr>
                <a:xfrm>
                  <a:off x="2658240" y="3606818"/>
                  <a:ext cx="293346" cy="13333"/>
                </a:xfrm>
                <a:custGeom>
                  <a:avLst/>
                  <a:gdLst>
                    <a:gd name="connsiteX0" fmla="*/ 286684 w 293346"/>
                    <a:gd name="connsiteY0" fmla="*/ 13333 h 13333"/>
                    <a:gd name="connsiteX1" fmla="*/ 6667 w 293346"/>
                    <a:gd name="connsiteY1" fmla="*/ 13333 h 13333"/>
                    <a:gd name="connsiteX2" fmla="*/ 0 w 293346"/>
                    <a:gd name="connsiteY2" fmla="*/ 6667 h 13333"/>
                    <a:gd name="connsiteX3" fmla="*/ 6667 w 293346"/>
                    <a:gd name="connsiteY3" fmla="*/ 0 h 13333"/>
                    <a:gd name="connsiteX4" fmla="*/ 286684 w 293346"/>
                    <a:gd name="connsiteY4" fmla="*/ 0 h 13333"/>
                    <a:gd name="connsiteX5" fmla="*/ 293346 w 293346"/>
                    <a:gd name="connsiteY5" fmla="*/ 6667 h 13333"/>
                    <a:gd name="connsiteX6" fmla="*/ 286684 w 293346"/>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346" h="13333">
                      <a:moveTo>
                        <a:pt x="286684" y="13333"/>
                      </a:moveTo>
                      <a:lnTo>
                        <a:pt x="6667" y="13333"/>
                      </a:lnTo>
                      <a:cubicBezTo>
                        <a:pt x="2982" y="13333"/>
                        <a:pt x="0" y="10352"/>
                        <a:pt x="0" y="6667"/>
                      </a:cubicBezTo>
                      <a:cubicBezTo>
                        <a:pt x="0" y="2982"/>
                        <a:pt x="2982" y="0"/>
                        <a:pt x="6667" y="0"/>
                      </a:cubicBezTo>
                      <a:lnTo>
                        <a:pt x="286684" y="0"/>
                      </a:lnTo>
                      <a:cubicBezTo>
                        <a:pt x="290365" y="0"/>
                        <a:pt x="293346" y="2982"/>
                        <a:pt x="293346" y="6667"/>
                      </a:cubicBezTo>
                      <a:cubicBezTo>
                        <a:pt x="293346" y="10352"/>
                        <a:pt x="290365" y="13333"/>
                        <a:pt x="286684" y="13333"/>
                      </a:cubicBezTo>
                      <a:close/>
                    </a:path>
                  </a:pathLst>
                </a:custGeom>
                <a:grpFill/>
                <a:ln w="205" cap="flat">
                  <a:noFill/>
                  <a:prstDash val="solid"/>
                  <a:miter/>
                </a:ln>
              </p:spPr>
              <p:txBody>
                <a:bodyPr rtlCol="0" anchor="ctr"/>
                <a:lstStyle/>
                <a:p>
                  <a:endParaRPr lang="en-GB" dirty="0"/>
                </a:p>
              </p:txBody>
            </p:sp>
            <p:sp>
              <p:nvSpPr>
                <p:cNvPr id="409" name="Freihandform: Form 174">
                  <a:extLst>
                    <a:ext uri="{FF2B5EF4-FFF2-40B4-BE49-F238E27FC236}">
                      <a16:creationId xmlns:a16="http://schemas.microsoft.com/office/drawing/2014/main" id="{D4BF0146-81FA-4D36-AF3E-551C702F2286}"/>
                    </a:ext>
                  </a:extLst>
                </p:cNvPr>
                <p:cNvSpPr/>
                <p:nvPr/>
              </p:nvSpPr>
              <p:spPr>
                <a:xfrm>
                  <a:off x="2684907" y="3673486"/>
                  <a:ext cx="80003" cy="79993"/>
                </a:xfrm>
                <a:custGeom>
                  <a:avLst/>
                  <a:gdLst>
                    <a:gd name="connsiteX0" fmla="*/ 40002 w 80003"/>
                    <a:gd name="connsiteY0" fmla="*/ 79993 h 79993"/>
                    <a:gd name="connsiteX1" fmla="*/ 0 w 80003"/>
                    <a:gd name="connsiteY1" fmla="*/ 39998 h 79993"/>
                    <a:gd name="connsiteX2" fmla="*/ 40002 w 80003"/>
                    <a:gd name="connsiteY2" fmla="*/ 0 h 79993"/>
                    <a:gd name="connsiteX3" fmla="*/ 80004 w 80003"/>
                    <a:gd name="connsiteY3" fmla="*/ 39998 h 79993"/>
                    <a:gd name="connsiteX4" fmla="*/ 40002 w 80003"/>
                    <a:gd name="connsiteY4" fmla="*/ 79993 h 79993"/>
                    <a:gd name="connsiteX5" fmla="*/ 40002 w 80003"/>
                    <a:gd name="connsiteY5" fmla="*/ 13327 h 79993"/>
                    <a:gd name="connsiteX6" fmla="*/ 13335 w 80003"/>
                    <a:gd name="connsiteY6" fmla="*/ 39998 h 79993"/>
                    <a:gd name="connsiteX7" fmla="*/ 40002 w 80003"/>
                    <a:gd name="connsiteY7" fmla="*/ 66668 h 79993"/>
                    <a:gd name="connsiteX8" fmla="*/ 66668 w 80003"/>
                    <a:gd name="connsiteY8" fmla="*/ 39998 h 79993"/>
                    <a:gd name="connsiteX9" fmla="*/ 40002 w 80003"/>
                    <a:gd name="connsiteY9" fmla="*/ 13327 h 7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03" h="79993">
                      <a:moveTo>
                        <a:pt x="40002" y="79993"/>
                      </a:moveTo>
                      <a:cubicBezTo>
                        <a:pt x="17944" y="79993"/>
                        <a:pt x="0" y="62062"/>
                        <a:pt x="0" y="39998"/>
                      </a:cubicBezTo>
                      <a:cubicBezTo>
                        <a:pt x="0" y="17933"/>
                        <a:pt x="17944" y="0"/>
                        <a:pt x="40002" y="0"/>
                      </a:cubicBezTo>
                      <a:cubicBezTo>
                        <a:pt x="62060" y="0"/>
                        <a:pt x="80004" y="17933"/>
                        <a:pt x="80004" y="39998"/>
                      </a:cubicBezTo>
                      <a:cubicBezTo>
                        <a:pt x="80004" y="62062"/>
                        <a:pt x="62060" y="79993"/>
                        <a:pt x="40002" y="79993"/>
                      </a:cubicBezTo>
                      <a:close/>
                      <a:moveTo>
                        <a:pt x="40002" y="13327"/>
                      </a:moveTo>
                      <a:cubicBezTo>
                        <a:pt x="25295" y="13327"/>
                        <a:pt x="13335" y="25295"/>
                        <a:pt x="13335" y="39998"/>
                      </a:cubicBezTo>
                      <a:cubicBezTo>
                        <a:pt x="13335" y="54700"/>
                        <a:pt x="25295" y="66668"/>
                        <a:pt x="40002" y="66668"/>
                      </a:cubicBezTo>
                      <a:cubicBezTo>
                        <a:pt x="54709" y="66668"/>
                        <a:pt x="66668" y="54700"/>
                        <a:pt x="66668" y="39998"/>
                      </a:cubicBezTo>
                      <a:cubicBezTo>
                        <a:pt x="66668" y="25295"/>
                        <a:pt x="54709" y="13327"/>
                        <a:pt x="40002" y="13327"/>
                      </a:cubicBezTo>
                      <a:close/>
                    </a:path>
                  </a:pathLst>
                </a:custGeom>
                <a:grpFill/>
                <a:ln w="205" cap="flat">
                  <a:noFill/>
                  <a:prstDash val="solid"/>
                  <a:miter/>
                </a:ln>
              </p:spPr>
              <p:txBody>
                <a:bodyPr rtlCol="0" anchor="ctr"/>
                <a:lstStyle/>
                <a:p>
                  <a:endParaRPr lang="en-GB" dirty="0"/>
                </a:p>
              </p:txBody>
            </p:sp>
            <p:sp>
              <p:nvSpPr>
                <p:cNvPr id="410" name="Freihandform: Form 175">
                  <a:extLst>
                    <a:ext uri="{FF2B5EF4-FFF2-40B4-BE49-F238E27FC236}">
                      <a16:creationId xmlns:a16="http://schemas.microsoft.com/office/drawing/2014/main" id="{5AF9B93B-A5A4-44B6-9C03-10CB356093F4}"/>
                    </a:ext>
                  </a:extLst>
                </p:cNvPr>
                <p:cNvSpPr/>
                <p:nvPr/>
              </p:nvSpPr>
              <p:spPr>
                <a:xfrm>
                  <a:off x="2844912" y="3673486"/>
                  <a:ext cx="80003" cy="79993"/>
                </a:xfrm>
                <a:custGeom>
                  <a:avLst/>
                  <a:gdLst>
                    <a:gd name="connsiteX0" fmla="*/ 40008 w 80003"/>
                    <a:gd name="connsiteY0" fmla="*/ 79993 h 79993"/>
                    <a:gd name="connsiteX1" fmla="*/ 0 w 80003"/>
                    <a:gd name="connsiteY1" fmla="*/ 39998 h 79993"/>
                    <a:gd name="connsiteX2" fmla="*/ 40008 w 80003"/>
                    <a:gd name="connsiteY2" fmla="*/ 0 h 79993"/>
                    <a:gd name="connsiteX3" fmla="*/ 80004 w 80003"/>
                    <a:gd name="connsiteY3" fmla="*/ 39998 h 79993"/>
                    <a:gd name="connsiteX4" fmla="*/ 40008 w 80003"/>
                    <a:gd name="connsiteY4" fmla="*/ 79993 h 79993"/>
                    <a:gd name="connsiteX5" fmla="*/ 40008 w 80003"/>
                    <a:gd name="connsiteY5" fmla="*/ 13327 h 79993"/>
                    <a:gd name="connsiteX6" fmla="*/ 13335 w 80003"/>
                    <a:gd name="connsiteY6" fmla="*/ 39998 h 79993"/>
                    <a:gd name="connsiteX7" fmla="*/ 40008 w 80003"/>
                    <a:gd name="connsiteY7" fmla="*/ 66668 h 79993"/>
                    <a:gd name="connsiteX8" fmla="*/ 66679 w 80003"/>
                    <a:gd name="connsiteY8" fmla="*/ 39998 h 79993"/>
                    <a:gd name="connsiteX9" fmla="*/ 40008 w 80003"/>
                    <a:gd name="connsiteY9" fmla="*/ 13327 h 7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03" h="79993">
                      <a:moveTo>
                        <a:pt x="40008" y="79993"/>
                      </a:moveTo>
                      <a:cubicBezTo>
                        <a:pt x="17944" y="79993"/>
                        <a:pt x="0" y="62062"/>
                        <a:pt x="0" y="39998"/>
                      </a:cubicBezTo>
                      <a:cubicBezTo>
                        <a:pt x="0" y="17933"/>
                        <a:pt x="17944" y="0"/>
                        <a:pt x="40008" y="0"/>
                      </a:cubicBezTo>
                      <a:cubicBezTo>
                        <a:pt x="62052" y="0"/>
                        <a:pt x="80004" y="17933"/>
                        <a:pt x="80004" y="39998"/>
                      </a:cubicBezTo>
                      <a:cubicBezTo>
                        <a:pt x="80004" y="62062"/>
                        <a:pt x="62052" y="79993"/>
                        <a:pt x="40008" y="79993"/>
                      </a:cubicBezTo>
                      <a:close/>
                      <a:moveTo>
                        <a:pt x="40008" y="13327"/>
                      </a:moveTo>
                      <a:cubicBezTo>
                        <a:pt x="25295" y="13327"/>
                        <a:pt x="13335" y="25295"/>
                        <a:pt x="13335" y="39998"/>
                      </a:cubicBezTo>
                      <a:cubicBezTo>
                        <a:pt x="13335" y="54700"/>
                        <a:pt x="25295" y="66668"/>
                        <a:pt x="40008" y="66668"/>
                      </a:cubicBezTo>
                      <a:cubicBezTo>
                        <a:pt x="54711" y="66668"/>
                        <a:pt x="66679" y="54700"/>
                        <a:pt x="66679" y="39998"/>
                      </a:cubicBezTo>
                      <a:cubicBezTo>
                        <a:pt x="66679" y="25295"/>
                        <a:pt x="54711" y="13327"/>
                        <a:pt x="40008" y="13327"/>
                      </a:cubicBezTo>
                      <a:close/>
                    </a:path>
                  </a:pathLst>
                </a:custGeom>
                <a:grpFill/>
                <a:ln w="205" cap="flat">
                  <a:noFill/>
                  <a:prstDash val="solid"/>
                  <a:miter/>
                </a:ln>
              </p:spPr>
              <p:txBody>
                <a:bodyPr rtlCol="0" anchor="ctr"/>
                <a:lstStyle/>
                <a:p>
                  <a:endParaRPr lang="en-GB" dirty="0"/>
                </a:p>
              </p:txBody>
            </p:sp>
          </p:grpSp>
          <p:sp>
            <p:nvSpPr>
              <p:cNvPr id="404" name="Freihandform: Form 176">
                <a:extLst>
                  <a:ext uri="{FF2B5EF4-FFF2-40B4-BE49-F238E27FC236}">
                    <a16:creationId xmlns:a16="http://schemas.microsoft.com/office/drawing/2014/main" id="{F8B52971-1EC3-4046-A050-307C58045841}"/>
                  </a:ext>
                </a:extLst>
              </p:cNvPr>
              <p:cNvSpPr/>
              <p:nvPr/>
            </p:nvSpPr>
            <p:spPr>
              <a:xfrm>
                <a:off x="2684907" y="3566818"/>
                <a:ext cx="66668" cy="53333"/>
              </a:xfrm>
              <a:custGeom>
                <a:avLst/>
                <a:gdLst>
                  <a:gd name="connsiteX0" fmla="*/ 60002 w 66668"/>
                  <a:gd name="connsiteY0" fmla="*/ 53333 h 53333"/>
                  <a:gd name="connsiteX1" fmla="*/ 6667 w 66668"/>
                  <a:gd name="connsiteY1" fmla="*/ 53333 h 53333"/>
                  <a:gd name="connsiteX2" fmla="*/ 0 w 66668"/>
                  <a:gd name="connsiteY2" fmla="*/ 46667 h 53333"/>
                  <a:gd name="connsiteX3" fmla="*/ 0 w 66668"/>
                  <a:gd name="connsiteY3" fmla="*/ 13333 h 53333"/>
                  <a:gd name="connsiteX4" fmla="*/ 13333 w 66668"/>
                  <a:gd name="connsiteY4" fmla="*/ 0 h 53333"/>
                  <a:gd name="connsiteX5" fmla="*/ 53335 w 66668"/>
                  <a:gd name="connsiteY5" fmla="*/ 0 h 53333"/>
                  <a:gd name="connsiteX6" fmla="*/ 66668 w 66668"/>
                  <a:gd name="connsiteY6" fmla="*/ 13333 h 53333"/>
                  <a:gd name="connsiteX7" fmla="*/ 66668 w 66668"/>
                  <a:gd name="connsiteY7" fmla="*/ 46669 h 53333"/>
                  <a:gd name="connsiteX8" fmla="*/ 60002 w 66668"/>
                  <a:gd name="connsiteY8" fmla="*/ 53333 h 53333"/>
                  <a:gd name="connsiteX9" fmla="*/ 13333 w 66668"/>
                  <a:gd name="connsiteY9" fmla="*/ 40000 h 53333"/>
                  <a:gd name="connsiteX10" fmla="*/ 53335 w 66668"/>
                  <a:gd name="connsiteY10" fmla="*/ 40000 h 53333"/>
                  <a:gd name="connsiteX11" fmla="*/ 53335 w 66668"/>
                  <a:gd name="connsiteY11" fmla="*/ 13333 h 53333"/>
                  <a:gd name="connsiteX12" fmla="*/ 13333 w 66668"/>
                  <a:gd name="connsiteY12" fmla="*/ 13333 h 53333"/>
                  <a:gd name="connsiteX13" fmla="*/ 13333 w 66668"/>
                  <a:gd name="connsiteY13" fmla="*/ 40000 h 5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 h="53333">
                    <a:moveTo>
                      <a:pt x="60002" y="53333"/>
                    </a:moveTo>
                    <a:lnTo>
                      <a:pt x="6667" y="53333"/>
                    </a:lnTo>
                    <a:cubicBezTo>
                      <a:pt x="2982" y="53333"/>
                      <a:pt x="0" y="50351"/>
                      <a:pt x="0" y="46667"/>
                    </a:cubicBezTo>
                    <a:lnTo>
                      <a:pt x="0" y="13333"/>
                    </a:lnTo>
                    <a:cubicBezTo>
                      <a:pt x="0" y="5982"/>
                      <a:pt x="5984" y="0"/>
                      <a:pt x="13333" y="0"/>
                    </a:cubicBezTo>
                    <a:lnTo>
                      <a:pt x="53335" y="0"/>
                    </a:lnTo>
                    <a:cubicBezTo>
                      <a:pt x="60687" y="0"/>
                      <a:pt x="66668" y="5984"/>
                      <a:pt x="66668" y="13333"/>
                    </a:cubicBezTo>
                    <a:lnTo>
                      <a:pt x="66668" y="46669"/>
                    </a:lnTo>
                    <a:cubicBezTo>
                      <a:pt x="66668" y="50351"/>
                      <a:pt x="63687" y="53333"/>
                      <a:pt x="60002" y="53333"/>
                    </a:cubicBezTo>
                    <a:close/>
                    <a:moveTo>
                      <a:pt x="13333" y="40000"/>
                    </a:moveTo>
                    <a:lnTo>
                      <a:pt x="53335" y="40000"/>
                    </a:lnTo>
                    <a:lnTo>
                      <a:pt x="53335" y="13333"/>
                    </a:lnTo>
                    <a:lnTo>
                      <a:pt x="13333" y="13333"/>
                    </a:lnTo>
                    <a:lnTo>
                      <a:pt x="13333" y="40000"/>
                    </a:lnTo>
                    <a:close/>
                  </a:path>
                </a:pathLst>
              </a:custGeom>
              <a:grpFill/>
              <a:ln w="205" cap="flat">
                <a:noFill/>
                <a:prstDash val="solid"/>
                <a:miter/>
              </a:ln>
            </p:spPr>
            <p:txBody>
              <a:bodyPr rtlCol="0" anchor="ctr"/>
              <a:lstStyle/>
              <a:p>
                <a:endParaRPr lang="en-GB" dirty="0"/>
              </a:p>
            </p:txBody>
          </p:sp>
          <p:sp>
            <p:nvSpPr>
              <p:cNvPr id="405" name="Freihandform: Form 177">
                <a:extLst>
                  <a:ext uri="{FF2B5EF4-FFF2-40B4-BE49-F238E27FC236}">
                    <a16:creationId xmlns:a16="http://schemas.microsoft.com/office/drawing/2014/main" id="{0C2FC1F3-9AC7-4F9D-A95E-78F43754C4C1}"/>
                  </a:ext>
                </a:extLst>
              </p:cNvPr>
              <p:cNvSpPr/>
              <p:nvPr/>
            </p:nvSpPr>
            <p:spPr>
              <a:xfrm>
                <a:off x="2784910" y="3526816"/>
                <a:ext cx="66668" cy="93334"/>
              </a:xfrm>
              <a:custGeom>
                <a:avLst/>
                <a:gdLst>
                  <a:gd name="connsiteX0" fmla="*/ 60002 w 66668"/>
                  <a:gd name="connsiteY0" fmla="*/ 93335 h 93334"/>
                  <a:gd name="connsiteX1" fmla="*/ 6667 w 66668"/>
                  <a:gd name="connsiteY1" fmla="*/ 93335 h 93334"/>
                  <a:gd name="connsiteX2" fmla="*/ 0 w 66668"/>
                  <a:gd name="connsiteY2" fmla="*/ 86668 h 93334"/>
                  <a:gd name="connsiteX3" fmla="*/ 0 w 66668"/>
                  <a:gd name="connsiteY3" fmla="*/ 13333 h 93334"/>
                  <a:gd name="connsiteX4" fmla="*/ 13333 w 66668"/>
                  <a:gd name="connsiteY4" fmla="*/ 0 h 93334"/>
                  <a:gd name="connsiteX5" fmla="*/ 53335 w 66668"/>
                  <a:gd name="connsiteY5" fmla="*/ 0 h 93334"/>
                  <a:gd name="connsiteX6" fmla="*/ 66668 w 66668"/>
                  <a:gd name="connsiteY6" fmla="*/ 13333 h 93334"/>
                  <a:gd name="connsiteX7" fmla="*/ 66668 w 66668"/>
                  <a:gd name="connsiteY7" fmla="*/ 86668 h 93334"/>
                  <a:gd name="connsiteX8" fmla="*/ 60002 w 66668"/>
                  <a:gd name="connsiteY8" fmla="*/ 93335 h 93334"/>
                  <a:gd name="connsiteX9" fmla="*/ 13333 w 66668"/>
                  <a:gd name="connsiteY9" fmla="*/ 80002 h 93334"/>
                  <a:gd name="connsiteX10" fmla="*/ 53335 w 66668"/>
                  <a:gd name="connsiteY10" fmla="*/ 80002 h 93334"/>
                  <a:gd name="connsiteX11" fmla="*/ 53335 w 66668"/>
                  <a:gd name="connsiteY11" fmla="*/ 13333 h 93334"/>
                  <a:gd name="connsiteX12" fmla="*/ 13333 w 66668"/>
                  <a:gd name="connsiteY12" fmla="*/ 13333 h 93334"/>
                  <a:gd name="connsiteX13" fmla="*/ 13333 w 66668"/>
                  <a:gd name="connsiteY13" fmla="*/ 80002 h 9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 h="93334">
                    <a:moveTo>
                      <a:pt x="60002" y="93335"/>
                    </a:moveTo>
                    <a:lnTo>
                      <a:pt x="6667" y="93335"/>
                    </a:lnTo>
                    <a:cubicBezTo>
                      <a:pt x="2982" y="93335"/>
                      <a:pt x="0" y="90353"/>
                      <a:pt x="0" y="86668"/>
                    </a:cubicBezTo>
                    <a:lnTo>
                      <a:pt x="0" y="13333"/>
                    </a:lnTo>
                    <a:cubicBezTo>
                      <a:pt x="0" y="5982"/>
                      <a:pt x="5984" y="0"/>
                      <a:pt x="13333" y="0"/>
                    </a:cubicBezTo>
                    <a:lnTo>
                      <a:pt x="53335" y="0"/>
                    </a:lnTo>
                    <a:cubicBezTo>
                      <a:pt x="60686" y="0"/>
                      <a:pt x="66668" y="5984"/>
                      <a:pt x="66668" y="13333"/>
                    </a:cubicBezTo>
                    <a:lnTo>
                      <a:pt x="66668" y="86668"/>
                    </a:lnTo>
                    <a:cubicBezTo>
                      <a:pt x="66668" y="90353"/>
                      <a:pt x="63687" y="93335"/>
                      <a:pt x="60002" y="93335"/>
                    </a:cubicBezTo>
                    <a:close/>
                    <a:moveTo>
                      <a:pt x="13333" y="80002"/>
                    </a:moveTo>
                    <a:lnTo>
                      <a:pt x="53335" y="80002"/>
                    </a:lnTo>
                    <a:lnTo>
                      <a:pt x="53335" y="13333"/>
                    </a:lnTo>
                    <a:lnTo>
                      <a:pt x="13333" y="13333"/>
                    </a:lnTo>
                    <a:lnTo>
                      <a:pt x="13333" y="80002"/>
                    </a:lnTo>
                    <a:close/>
                  </a:path>
                </a:pathLst>
              </a:custGeom>
              <a:grpFill/>
              <a:ln w="205" cap="flat">
                <a:noFill/>
                <a:prstDash val="solid"/>
                <a:miter/>
              </a:ln>
            </p:spPr>
            <p:txBody>
              <a:bodyPr rtlCol="0" anchor="ctr"/>
              <a:lstStyle/>
              <a:p>
                <a:endParaRPr lang="en-GB" dirty="0"/>
              </a:p>
            </p:txBody>
          </p:sp>
          <p:sp>
            <p:nvSpPr>
              <p:cNvPr id="406" name="Freihandform: Form 178">
                <a:extLst>
                  <a:ext uri="{FF2B5EF4-FFF2-40B4-BE49-F238E27FC236}">
                    <a16:creationId xmlns:a16="http://schemas.microsoft.com/office/drawing/2014/main" id="{B4365DE7-5082-4ABF-9C23-FA0D5A322637}"/>
                  </a:ext>
                </a:extLst>
              </p:cNvPr>
              <p:cNvSpPr/>
              <p:nvPr/>
            </p:nvSpPr>
            <p:spPr>
              <a:xfrm>
                <a:off x="2884920" y="3486815"/>
                <a:ext cx="66666" cy="133336"/>
              </a:xfrm>
              <a:custGeom>
                <a:avLst/>
                <a:gdLst>
                  <a:gd name="connsiteX0" fmla="*/ 60004 w 66666"/>
                  <a:gd name="connsiteY0" fmla="*/ 133337 h 133336"/>
                  <a:gd name="connsiteX1" fmla="*/ 6663 w 66666"/>
                  <a:gd name="connsiteY1" fmla="*/ 133337 h 133336"/>
                  <a:gd name="connsiteX2" fmla="*/ 0 w 66666"/>
                  <a:gd name="connsiteY2" fmla="*/ 126670 h 133336"/>
                  <a:gd name="connsiteX3" fmla="*/ 0 w 66666"/>
                  <a:gd name="connsiteY3" fmla="*/ 13333 h 133336"/>
                  <a:gd name="connsiteX4" fmla="*/ 13325 w 66666"/>
                  <a:gd name="connsiteY4" fmla="*/ 0 h 133336"/>
                  <a:gd name="connsiteX5" fmla="*/ 53321 w 66666"/>
                  <a:gd name="connsiteY5" fmla="*/ 0 h 133336"/>
                  <a:gd name="connsiteX6" fmla="*/ 66666 w 66666"/>
                  <a:gd name="connsiteY6" fmla="*/ 13333 h 133336"/>
                  <a:gd name="connsiteX7" fmla="*/ 66666 w 66666"/>
                  <a:gd name="connsiteY7" fmla="*/ 126670 h 133336"/>
                  <a:gd name="connsiteX8" fmla="*/ 60004 w 66666"/>
                  <a:gd name="connsiteY8" fmla="*/ 133337 h 133336"/>
                  <a:gd name="connsiteX9" fmla="*/ 13325 w 66666"/>
                  <a:gd name="connsiteY9" fmla="*/ 120004 h 133336"/>
                  <a:gd name="connsiteX10" fmla="*/ 53321 w 66666"/>
                  <a:gd name="connsiteY10" fmla="*/ 120004 h 133336"/>
                  <a:gd name="connsiteX11" fmla="*/ 53321 w 66666"/>
                  <a:gd name="connsiteY11" fmla="*/ 13333 h 133336"/>
                  <a:gd name="connsiteX12" fmla="*/ 13325 w 66666"/>
                  <a:gd name="connsiteY12" fmla="*/ 13333 h 133336"/>
                  <a:gd name="connsiteX13" fmla="*/ 13325 w 66666"/>
                  <a:gd name="connsiteY13" fmla="*/ 120004 h 13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6" h="133336">
                    <a:moveTo>
                      <a:pt x="60004" y="133337"/>
                    </a:moveTo>
                    <a:lnTo>
                      <a:pt x="6663" y="133337"/>
                    </a:lnTo>
                    <a:cubicBezTo>
                      <a:pt x="2982" y="133337"/>
                      <a:pt x="0" y="130355"/>
                      <a:pt x="0" y="126670"/>
                    </a:cubicBezTo>
                    <a:lnTo>
                      <a:pt x="0" y="13333"/>
                    </a:lnTo>
                    <a:cubicBezTo>
                      <a:pt x="0" y="5982"/>
                      <a:pt x="5984" y="0"/>
                      <a:pt x="13325" y="0"/>
                    </a:cubicBezTo>
                    <a:lnTo>
                      <a:pt x="53321" y="0"/>
                    </a:lnTo>
                    <a:cubicBezTo>
                      <a:pt x="60682" y="0"/>
                      <a:pt x="66666" y="5984"/>
                      <a:pt x="66666" y="13333"/>
                    </a:cubicBezTo>
                    <a:lnTo>
                      <a:pt x="66666" y="126670"/>
                    </a:lnTo>
                    <a:cubicBezTo>
                      <a:pt x="66666" y="130355"/>
                      <a:pt x="63685" y="133337"/>
                      <a:pt x="60004" y="133337"/>
                    </a:cubicBezTo>
                    <a:close/>
                    <a:moveTo>
                      <a:pt x="13325" y="120004"/>
                    </a:moveTo>
                    <a:lnTo>
                      <a:pt x="53321" y="120004"/>
                    </a:lnTo>
                    <a:lnTo>
                      <a:pt x="53321" y="13333"/>
                    </a:lnTo>
                    <a:lnTo>
                      <a:pt x="13325" y="13333"/>
                    </a:lnTo>
                    <a:lnTo>
                      <a:pt x="13325" y="120004"/>
                    </a:lnTo>
                    <a:close/>
                  </a:path>
                </a:pathLst>
              </a:custGeom>
              <a:grpFill/>
              <a:ln w="205" cap="flat">
                <a:noFill/>
                <a:prstDash val="solid"/>
                <a:miter/>
              </a:ln>
            </p:spPr>
            <p:txBody>
              <a:bodyPr rtlCol="0" anchor="ctr"/>
              <a:lstStyle/>
              <a:p>
                <a:endParaRPr lang="en-GB" dirty="0"/>
              </a:p>
            </p:txBody>
          </p:sp>
        </p:grpSp>
      </p:grpSp>
      <p:grpSp>
        <p:nvGrpSpPr>
          <p:cNvPr id="4" name="Group 3">
            <a:extLst>
              <a:ext uri="{FF2B5EF4-FFF2-40B4-BE49-F238E27FC236}">
                <a16:creationId xmlns:a16="http://schemas.microsoft.com/office/drawing/2014/main" id="{E0AFDA10-F6CB-6834-6434-DE65FF1AEE6E}"/>
              </a:ext>
            </a:extLst>
          </p:cNvPr>
          <p:cNvGrpSpPr/>
          <p:nvPr/>
        </p:nvGrpSpPr>
        <p:grpSpPr>
          <a:xfrm>
            <a:off x="527306" y="1585984"/>
            <a:ext cx="533488" cy="432000"/>
            <a:chOff x="527306" y="1585984"/>
            <a:chExt cx="533488" cy="432000"/>
          </a:xfrm>
        </p:grpSpPr>
        <p:grpSp>
          <p:nvGrpSpPr>
            <p:cNvPr id="39" name="Gruppieren 1140">
              <a:extLst>
                <a:ext uri="{FF2B5EF4-FFF2-40B4-BE49-F238E27FC236}">
                  <a16:creationId xmlns:a16="http://schemas.microsoft.com/office/drawing/2014/main" id="{0464D7D8-098A-42C4-A103-04A9AB75A9CA}"/>
                </a:ext>
              </a:extLst>
            </p:cNvPr>
            <p:cNvGrpSpPr/>
            <p:nvPr/>
          </p:nvGrpSpPr>
          <p:grpSpPr>
            <a:xfrm>
              <a:off x="739716" y="1679766"/>
              <a:ext cx="268548" cy="134989"/>
              <a:chOff x="7136219" y="1731900"/>
              <a:chExt cx="301078" cy="151341"/>
            </a:xfrm>
          </p:grpSpPr>
          <p:sp>
            <p:nvSpPr>
              <p:cNvPr id="60" name="Freihandform: Form 828">
                <a:extLst>
                  <a:ext uri="{FF2B5EF4-FFF2-40B4-BE49-F238E27FC236}">
                    <a16:creationId xmlns:a16="http://schemas.microsoft.com/office/drawing/2014/main" id="{7CA8D954-EACA-4BD6-96D4-48D5FD3FC017}"/>
                  </a:ext>
                </a:extLst>
              </p:cNvPr>
              <p:cNvSpPr/>
              <p:nvPr/>
            </p:nvSpPr>
            <p:spPr>
              <a:xfrm>
                <a:off x="7293289" y="1739232"/>
                <a:ext cx="144008" cy="144009"/>
              </a:xfrm>
              <a:custGeom>
                <a:avLst/>
                <a:gdLst>
                  <a:gd name="connsiteX0" fmla="*/ 72005 w 144008"/>
                  <a:gd name="connsiteY0" fmla="*/ 144009 h 144009"/>
                  <a:gd name="connsiteX1" fmla="*/ 0 w 144008"/>
                  <a:gd name="connsiteY1" fmla="*/ 72005 h 144009"/>
                  <a:gd name="connsiteX2" fmla="*/ 72005 w 144008"/>
                  <a:gd name="connsiteY2" fmla="*/ 0 h 144009"/>
                  <a:gd name="connsiteX3" fmla="*/ 144009 w 144008"/>
                  <a:gd name="connsiteY3" fmla="*/ 72005 h 144009"/>
                  <a:gd name="connsiteX4" fmla="*/ 72005 w 144008"/>
                  <a:gd name="connsiteY4" fmla="*/ 144009 h 144009"/>
                  <a:gd name="connsiteX5" fmla="*/ 72005 w 144008"/>
                  <a:gd name="connsiteY5" fmla="*/ 13113 h 144009"/>
                  <a:gd name="connsiteX6" fmla="*/ 13113 w 144008"/>
                  <a:gd name="connsiteY6" fmla="*/ 72005 h 144009"/>
                  <a:gd name="connsiteX7" fmla="*/ 72005 w 144008"/>
                  <a:gd name="connsiteY7" fmla="*/ 130896 h 144009"/>
                  <a:gd name="connsiteX8" fmla="*/ 130896 w 144008"/>
                  <a:gd name="connsiteY8" fmla="*/ 72005 h 144009"/>
                  <a:gd name="connsiteX9" fmla="*/ 72005 w 144008"/>
                  <a:gd name="connsiteY9" fmla="*/ 13113 h 144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008" h="144009">
                    <a:moveTo>
                      <a:pt x="72005" y="144009"/>
                    </a:moveTo>
                    <a:cubicBezTo>
                      <a:pt x="32297" y="144009"/>
                      <a:pt x="0" y="111712"/>
                      <a:pt x="0" y="72005"/>
                    </a:cubicBezTo>
                    <a:cubicBezTo>
                      <a:pt x="0" y="32297"/>
                      <a:pt x="32297" y="0"/>
                      <a:pt x="72005" y="0"/>
                    </a:cubicBezTo>
                    <a:cubicBezTo>
                      <a:pt x="111712" y="0"/>
                      <a:pt x="144009" y="32297"/>
                      <a:pt x="144009" y="72005"/>
                    </a:cubicBezTo>
                    <a:cubicBezTo>
                      <a:pt x="144009" y="111712"/>
                      <a:pt x="111686" y="144009"/>
                      <a:pt x="72005" y="144009"/>
                    </a:cubicBezTo>
                    <a:close/>
                    <a:moveTo>
                      <a:pt x="72005" y="13113"/>
                    </a:moveTo>
                    <a:cubicBezTo>
                      <a:pt x="39524" y="13113"/>
                      <a:pt x="13113" y="39550"/>
                      <a:pt x="13113" y="72005"/>
                    </a:cubicBezTo>
                    <a:cubicBezTo>
                      <a:pt x="13113" y="104459"/>
                      <a:pt x="39524" y="130896"/>
                      <a:pt x="72005" y="130896"/>
                    </a:cubicBezTo>
                    <a:cubicBezTo>
                      <a:pt x="104485" y="130896"/>
                      <a:pt x="130896" y="104459"/>
                      <a:pt x="130896" y="72005"/>
                    </a:cubicBezTo>
                    <a:cubicBezTo>
                      <a:pt x="130896" y="39550"/>
                      <a:pt x="104485" y="13113"/>
                      <a:pt x="72005" y="13113"/>
                    </a:cubicBezTo>
                    <a:close/>
                  </a:path>
                </a:pathLst>
              </a:custGeom>
              <a:solidFill>
                <a:schemeClr val="accent1"/>
              </a:solidFill>
              <a:ln w="2624" cap="flat">
                <a:noFill/>
                <a:prstDash val="solid"/>
                <a:miter/>
              </a:ln>
            </p:spPr>
            <p:txBody>
              <a:bodyPr rtlCol="0" anchor="ctr"/>
              <a:lstStyle/>
              <a:p>
                <a:endParaRPr lang="en-GB" dirty="0"/>
              </a:p>
            </p:txBody>
          </p:sp>
          <p:sp>
            <p:nvSpPr>
              <p:cNvPr id="61" name="Freihandform: Form 829">
                <a:extLst>
                  <a:ext uri="{FF2B5EF4-FFF2-40B4-BE49-F238E27FC236}">
                    <a16:creationId xmlns:a16="http://schemas.microsoft.com/office/drawing/2014/main" id="{4CBDD03F-30DE-4220-AD4B-E18D0E429582}"/>
                  </a:ext>
                </a:extLst>
              </p:cNvPr>
              <p:cNvSpPr/>
              <p:nvPr/>
            </p:nvSpPr>
            <p:spPr>
              <a:xfrm>
                <a:off x="7358750" y="1739258"/>
                <a:ext cx="78521" cy="78547"/>
              </a:xfrm>
              <a:custGeom>
                <a:avLst/>
                <a:gdLst>
                  <a:gd name="connsiteX0" fmla="*/ 71978 w 78521"/>
                  <a:gd name="connsiteY0" fmla="*/ 78548 h 78547"/>
                  <a:gd name="connsiteX1" fmla="*/ 6544 w 78521"/>
                  <a:gd name="connsiteY1" fmla="*/ 78548 h 78547"/>
                  <a:gd name="connsiteX2" fmla="*/ 0 w 78521"/>
                  <a:gd name="connsiteY2" fmla="*/ 72005 h 78547"/>
                  <a:gd name="connsiteX3" fmla="*/ 0 w 78521"/>
                  <a:gd name="connsiteY3" fmla="*/ 6543 h 78547"/>
                  <a:gd name="connsiteX4" fmla="*/ 6544 w 78521"/>
                  <a:gd name="connsiteY4" fmla="*/ 0 h 78547"/>
                  <a:gd name="connsiteX5" fmla="*/ 13087 w 78521"/>
                  <a:gd name="connsiteY5" fmla="*/ 6543 h 78547"/>
                  <a:gd name="connsiteX6" fmla="*/ 13087 w 78521"/>
                  <a:gd name="connsiteY6" fmla="*/ 65435 h 78547"/>
                  <a:gd name="connsiteX7" fmla="*/ 71978 w 78521"/>
                  <a:gd name="connsiteY7" fmla="*/ 65435 h 78547"/>
                  <a:gd name="connsiteX8" fmla="*/ 78522 w 78521"/>
                  <a:gd name="connsiteY8" fmla="*/ 71978 h 78547"/>
                  <a:gd name="connsiteX9" fmla="*/ 71978 w 78521"/>
                  <a:gd name="connsiteY9" fmla="*/ 78548 h 78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521" h="78547">
                    <a:moveTo>
                      <a:pt x="71978" y="78548"/>
                    </a:moveTo>
                    <a:lnTo>
                      <a:pt x="6544" y="78548"/>
                    </a:lnTo>
                    <a:cubicBezTo>
                      <a:pt x="2917" y="78548"/>
                      <a:pt x="0" y="75605"/>
                      <a:pt x="0" y="72005"/>
                    </a:cubicBezTo>
                    <a:lnTo>
                      <a:pt x="0" y="6543"/>
                    </a:lnTo>
                    <a:cubicBezTo>
                      <a:pt x="0" y="2917"/>
                      <a:pt x="2917" y="0"/>
                      <a:pt x="6544" y="0"/>
                    </a:cubicBezTo>
                    <a:cubicBezTo>
                      <a:pt x="10170" y="0"/>
                      <a:pt x="13087" y="2943"/>
                      <a:pt x="13087" y="6543"/>
                    </a:cubicBezTo>
                    <a:lnTo>
                      <a:pt x="13087" y="65435"/>
                    </a:lnTo>
                    <a:lnTo>
                      <a:pt x="71978" y="65435"/>
                    </a:lnTo>
                    <a:cubicBezTo>
                      <a:pt x="75605" y="65435"/>
                      <a:pt x="78522" y="68378"/>
                      <a:pt x="78522" y="71978"/>
                    </a:cubicBezTo>
                    <a:cubicBezTo>
                      <a:pt x="78522" y="75605"/>
                      <a:pt x="75605" y="78548"/>
                      <a:pt x="71978" y="78548"/>
                    </a:cubicBezTo>
                    <a:close/>
                  </a:path>
                </a:pathLst>
              </a:custGeom>
              <a:solidFill>
                <a:schemeClr val="accent1"/>
              </a:solidFill>
              <a:ln w="2624" cap="flat">
                <a:noFill/>
                <a:prstDash val="solid"/>
                <a:miter/>
              </a:ln>
            </p:spPr>
            <p:txBody>
              <a:bodyPr rtlCol="0" anchor="ctr"/>
              <a:lstStyle/>
              <a:p>
                <a:endParaRPr lang="en-GB" dirty="0"/>
              </a:p>
            </p:txBody>
          </p:sp>
          <p:sp>
            <p:nvSpPr>
              <p:cNvPr id="62" name="Freihandform: Form 830">
                <a:extLst>
                  <a:ext uri="{FF2B5EF4-FFF2-40B4-BE49-F238E27FC236}">
                    <a16:creationId xmlns:a16="http://schemas.microsoft.com/office/drawing/2014/main" id="{EA49FD83-4067-4CEB-B660-07B15C16B656}"/>
                  </a:ext>
                </a:extLst>
              </p:cNvPr>
              <p:cNvSpPr/>
              <p:nvPr/>
            </p:nvSpPr>
            <p:spPr>
              <a:xfrm>
                <a:off x="7149306" y="1863610"/>
                <a:ext cx="85091" cy="13086"/>
              </a:xfrm>
              <a:custGeom>
                <a:avLst/>
                <a:gdLst>
                  <a:gd name="connsiteX0" fmla="*/ 78548 w 85091"/>
                  <a:gd name="connsiteY0" fmla="*/ 13087 h 13086"/>
                  <a:gd name="connsiteX1" fmla="*/ 6543 w 85091"/>
                  <a:gd name="connsiteY1" fmla="*/ 13087 h 13086"/>
                  <a:gd name="connsiteX2" fmla="*/ 0 w 85091"/>
                  <a:gd name="connsiteY2" fmla="*/ 6543 h 13086"/>
                  <a:gd name="connsiteX3" fmla="*/ 6543 w 85091"/>
                  <a:gd name="connsiteY3" fmla="*/ 0 h 13086"/>
                  <a:gd name="connsiteX4" fmla="*/ 78548 w 85091"/>
                  <a:gd name="connsiteY4" fmla="*/ 0 h 13086"/>
                  <a:gd name="connsiteX5" fmla="*/ 85091 w 85091"/>
                  <a:gd name="connsiteY5" fmla="*/ 6543 h 13086"/>
                  <a:gd name="connsiteX6" fmla="*/ 78548 w 85091"/>
                  <a:gd name="connsiteY6" fmla="*/ 13087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91" h="13086">
                    <a:moveTo>
                      <a:pt x="78548" y="13087"/>
                    </a:moveTo>
                    <a:lnTo>
                      <a:pt x="6543" y="13087"/>
                    </a:lnTo>
                    <a:cubicBezTo>
                      <a:pt x="2917" y="13087"/>
                      <a:pt x="0" y="10144"/>
                      <a:pt x="0" y="6543"/>
                    </a:cubicBezTo>
                    <a:cubicBezTo>
                      <a:pt x="0" y="2917"/>
                      <a:pt x="2917" y="0"/>
                      <a:pt x="6543" y="0"/>
                    </a:cubicBezTo>
                    <a:lnTo>
                      <a:pt x="78548" y="0"/>
                    </a:lnTo>
                    <a:cubicBezTo>
                      <a:pt x="82174" y="0"/>
                      <a:pt x="85091" y="2943"/>
                      <a:pt x="85091" y="6543"/>
                    </a:cubicBezTo>
                    <a:cubicBezTo>
                      <a:pt x="85091" y="10170"/>
                      <a:pt x="82148" y="13087"/>
                      <a:pt x="78548" y="13087"/>
                    </a:cubicBezTo>
                    <a:close/>
                  </a:path>
                </a:pathLst>
              </a:custGeom>
              <a:solidFill>
                <a:schemeClr val="accent1"/>
              </a:solidFill>
              <a:ln w="2624" cap="flat">
                <a:noFill/>
                <a:prstDash val="solid"/>
                <a:miter/>
              </a:ln>
            </p:spPr>
            <p:txBody>
              <a:bodyPr rtlCol="0" anchor="ctr"/>
              <a:lstStyle/>
              <a:p>
                <a:endParaRPr lang="en-GB" dirty="0"/>
              </a:p>
            </p:txBody>
          </p:sp>
          <p:sp>
            <p:nvSpPr>
              <p:cNvPr id="63" name="Freihandform: Form 831">
                <a:extLst>
                  <a:ext uri="{FF2B5EF4-FFF2-40B4-BE49-F238E27FC236}">
                    <a16:creationId xmlns:a16="http://schemas.microsoft.com/office/drawing/2014/main" id="{FB2CE043-8488-46E0-946A-8E1BC9F24929}"/>
                  </a:ext>
                </a:extLst>
              </p:cNvPr>
              <p:cNvSpPr/>
              <p:nvPr/>
            </p:nvSpPr>
            <p:spPr>
              <a:xfrm>
                <a:off x="7149306" y="1830893"/>
                <a:ext cx="85091" cy="13086"/>
              </a:xfrm>
              <a:custGeom>
                <a:avLst/>
                <a:gdLst>
                  <a:gd name="connsiteX0" fmla="*/ 78548 w 85091"/>
                  <a:gd name="connsiteY0" fmla="*/ 13087 h 13086"/>
                  <a:gd name="connsiteX1" fmla="*/ 6543 w 85091"/>
                  <a:gd name="connsiteY1" fmla="*/ 13087 h 13086"/>
                  <a:gd name="connsiteX2" fmla="*/ 0 w 85091"/>
                  <a:gd name="connsiteY2" fmla="*/ 6543 h 13086"/>
                  <a:gd name="connsiteX3" fmla="*/ 6543 w 85091"/>
                  <a:gd name="connsiteY3" fmla="*/ 0 h 13086"/>
                  <a:gd name="connsiteX4" fmla="*/ 78548 w 85091"/>
                  <a:gd name="connsiteY4" fmla="*/ 0 h 13086"/>
                  <a:gd name="connsiteX5" fmla="*/ 85091 w 85091"/>
                  <a:gd name="connsiteY5" fmla="*/ 6543 h 13086"/>
                  <a:gd name="connsiteX6" fmla="*/ 78548 w 85091"/>
                  <a:gd name="connsiteY6" fmla="*/ 13087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91" h="13086">
                    <a:moveTo>
                      <a:pt x="78548" y="13087"/>
                    </a:moveTo>
                    <a:lnTo>
                      <a:pt x="6543" y="13087"/>
                    </a:lnTo>
                    <a:cubicBezTo>
                      <a:pt x="2917" y="13087"/>
                      <a:pt x="0" y="10144"/>
                      <a:pt x="0" y="6543"/>
                    </a:cubicBezTo>
                    <a:cubicBezTo>
                      <a:pt x="0" y="2917"/>
                      <a:pt x="2917" y="0"/>
                      <a:pt x="6543" y="0"/>
                    </a:cubicBezTo>
                    <a:lnTo>
                      <a:pt x="78548" y="0"/>
                    </a:lnTo>
                    <a:cubicBezTo>
                      <a:pt x="82174" y="0"/>
                      <a:pt x="85091" y="2943"/>
                      <a:pt x="85091" y="6543"/>
                    </a:cubicBezTo>
                    <a:cubicBezTo>
                      <a:pt x="85091" y="10144"/>
                      <a:pt x="82148" y="13087"/>
                      <a:pt x="78548" y="13087"/>
                    </a:cubicBezTo>
                    <a:close/>
                  </a:path>
                </a:pathLst>
              </a:custGeom>
              <a:solidFill>
                <a:schemeClr val="accent1"/>
              </a:solidFill>
              <a:ln w="2624" cap="flat">
                <a:noFill/>
                <a:prstDash val="solid"/>
                <a:miter/>
              </a:ln>
            </p:spPr>
            <p:txBody>
              <a:bodyPr rtlCol="0" anchor="ctr"/>
              <a:lstStyle/>
              <a:p>
                <a:endParaRPr lang="en-GB" dirty="0"/>
              </a:p>
            </p:txBody>
          </p:sp>
          <p:sp>
            <p:nvSpPr>
              <p:cNvPr id="64" name="Freihandform: Form 832">
                <a:extLst>
                  <a:ext uri="{FF2B5EF4-FFF2-40B4-BE49-F238E27FC236}">
                    <a16:creationId xmlns:a16="http://schemas.microsoft.com/office/drawing/2014/main" id="{DAC4A3A2-745D-4DEE-A013-52816596CDFA}"/>
                  </a:ext>
                </a:extLst>
              </p:cNvPr>
              <p:cNvSpPr/>
              <p:nvPr/>
            </p:nvSpPr>
            <p:spPr>
              <a:xfrm>
                <a:off x="7142763" y="1764644"/>
                <a:ext cx="91635" cy="13086"/>
              </a:xfrm>
              <a:custGeom>
                <a:avLst/>
                <a:gdLst>
                  <a:gd name="connsiteX0" fmla="*/ 85091 w 91635"/>
                  <a:gd name="connsiteY0" fmla="*/ 13087 h 13086"/>
                  <a:gd name="connsiteX1" fmla="*/ 6544 w 91635"/>
                  <a:gd name="connsiteY1" fmla="*/ 13087 h 13086"/>
                  <a:gd name="connsiteX2" fmla="*/ 0 w 91635"/>
                  <a:gd name="connsiteY2" fmla="*/ 6543 h 13086"/>
                  <a:gd name="connsiteX3" fmla="*/ 6544 w 91635"/>
                  <a:gd name="connsiteY3" fmla="*/ 0 h 13086"/>
                  <a:gd name="connsiteX4" fmla="*/ 85091 w 91635"/>
                  <a:gd name="connsiteY4" fmla="*/ 0 h 13086"/>
                  <a:gd name="connsiteX5" fmla="*/ 91635 w 91635"/>
                  <a:gd name="connsiteY5" fmla="*/ 6543 h 13086"/>
                  <a:gd name="connsiteX6" fmla="*/ 85091 w 91635"/>
                  <a:gd name="connsiteY6" fmla="*/ 13087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635" h="13086">
                    <a:moveTo>
                      <a:pt x="85091" y="13087"/>
                    </a:moveTo>
                    <a:lnTo>
                      <a:pt x="6544" y="13087"/>
                    </a:lnTo>
                    <a:cubicBezTo>
                      <a:pt x="2917" y="13087"/>
                      <a:pt x="0" y="10144"/>
                      <a:pt x="0" y="6543"/>
                    </a:cubicBezTo>
                    <a:cubicBezTo>
                      <a:pt x="0" y="2917"/>
                      <a:pt x="2917" y="0"/>
                      <a:pt x="6544" y="0"/>
                    </a:cubicBezTo>
                    <a:lnTo>
                      <a:pt x="85091" y="0"/>
                    </a:lnTo>
                    <a:cubicBezTo>
                      <a:pt x="88718" y="0"/>
                      <a:pt x="91635" y="2917"/>
                      <a:pt x="91635" y="6543"/>
                    </a:cubicBezTo>
                    <a:cubicBezTo>
                      <a:pt x="91635" y="10144"/>
                      <a:pt x="88692" y="13087"/>
                      <a:pt x="85091" y="13087"/>
                    </a:cubicBezTo>
                    <a:close/>
                  </a:path>
                </a:pathLst>
              </a:custGeom>
              <a:solidFill>
                <a:schemeClr val="accent1"/>
              </a:solidFill>
              <a:ln w="2624" cap="flat">
                <a:noFill/>
                <a:prstDash val="solid"/>
                <a:miter/>
              </a:ln>
            </p:spPr>
            <p:txBody>
              <a:bodyPr rtlCol="0" anchor="ctr"/>
              <a:lstStyle/>
              <a:p>
                <a:endParaRPr lang="en-GB" dirty="0"/>
              </a:p>
            </p:txBody>
          </p:sp>
          <p:sp>
            <p:nvSpPr>
              <p:cNvPr id="65" name="Freihandform: Form 833">
                <a:extLst>
                  <a:ext uri="{FF2B5EF4-FFF2-40B4-BE49-F238E27FC236}">
                    <a16:creationId xmlns:a16="http://schemas.microsoft.com/office/drawing/2014/main" id="{B486859E-E1BC-4685-9D86-516D7336FC91}"/>
                  </a:ext>
                </a:extLst>
              </p:cNvPr>
              <p:cNvSpPr/>
              <p:nvPr/>
            </p:nvSpPr>
            <p:spPr>
              <a:xfrm>
                <a:off x="7136219" y="1731900"/>
                <a:ext cx="98178" cy="13086"/>
              </a:xfrm>
              <a:custGeom>
                <a:avLst/>
                <a:gdLst>
                  <a:gd name="connsiteX0" fmla="*/ 91635 w 98178"/>
                  <a:gd name="connsiteY0" fmla="*/ 13087 h 13086"/>
                  <a:gd name="connsiteX1" fmla="*/ 6543 w 98178"/>
                  <a:gd name="connsiteY1" fmla="*/ 13087 h 13086"/>
                  <a:gd name="connsiteX2" fmla="*/ 0 w 98178"/>
                  <a:gd name="connsiteY2" fmla="*/ 6543 h 13086"/>
                  <a:gd name="connsiteX3" fmla="*/ 6543 w 98178"/>
                  <a:gd name="connsiteY3" fmla="*/ 0 h 13086"/>
                  <a:gd name="connsiteX4" fmla="*/ 91635 w 98178"/>
                  <a:gd name="connsiteY4" fmla="*/ 0 h 13086"/>
                  <a:gd name="connsiteX5" fmla="*/ 98179 w 98178"/>
                  <a:gd name="connsiteY5" fmla="*/ 6543 h 13086"/>
                  <a:gd name="connsiteX6" fmla="*/ 91635 w 98178"/>
                  <a:gd name="connsiteY6" fmla="*/ 13087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78" h="13086">
                    <a:moveTo>
                      <a:pt x="91635" y="13087"/>
                    </a:moveTo>
                    <a:lnTo>
                      <a:pt x="6543" y="13087"/>
                    </a:lnTo>
                    <a:cubicBezTo>
                      <a:pt x="2917" y="13087"/>
                      <a:pt x="0" y="10144"/>
                      <a:pt x="0" y="6543"/>
                    </a:cubicBezTo>
                    <a:cubicBezTo>
                      <a:pt x="0" y="2917"/>
                      <a:pt x="2917" y="0"/>
                      <a:pt x="6543" y="0"/>
                    </a:cubicBezTo>
                    <a:lnTo>
                      <a:pt x="91635" y="0"/>
                    </a:lnTo>
                    <a:cubicBezTo>
                      <a:pt x="95261" y="0"/>
                      <a:pt x="98179" y="2917"/>
                      <a:pt x="98179" y="6543"/>
                    </a:cubicBezTo>
                    <a:cubicBezTo>
                      <a:pt x="98179" y="10170"/>
                      <a:pt x="95235" y="13087"/>
                      <a:pt x="91635" y="13087"/>
                    </a:cubicBezTo>
                    <a:close/>
                  </a:path>
                </a:pathLst>
              </a:custGeom>
              <a:solidFill>
                <a:schemeClr val="accent1"/>
              </a:solidFill>
              <a:ln w="2624" cap="flat">
                <a:noFill/>
                <a:prstDash val="solid"/>
                <a:miter/>
              </a:ln>
            </p:spPr>
            <p:txBody>
              <a:bodyPr rtlCol="0" anchor="ctr"/>
              <a:lstStyle/>
              <a:p>
                <a:endParaRPr lang="en-GB" dirty="0"/>
              </a:p>
            </p:txBody>
          </p:sp>
        </p:grpSp>
        <p:grpSp>
          <p:nvGrpSpPr>
            <p:cNvPr id="40" name="Gruppieren 1141">
              <a:extLst>
                <a:ext uri="{FF2B5EF4-FFF2-40B4-BE49-F238E27FC236}">
                  <a16:creationId xmlns:a16="http://schemas.microsoft.com/office/drawing/2014/main" id="{2FB55FD8-BE01-4444-AE1A-0F1E968E3FF4}"/>
                </a:ext>
              </a:extLst>
            </p:cNvPr>
            <p:cNvGrpSpPr/>
            <p:nvPr/>
          </p:nvGrpSpPr>
          <p:grpSpPr>
            <a:xfrm>
              <a:off x="527306" y="1585984"/>
              <a:ext cx="533488" cy="432000"/>
              <a:chOff x="6898079" y="1626758"/>
              <a:chExt cx="598110" cy="484329"/>
            </a:xfrm>
            <a:solidFill>
              <a:schemeClr val="tx2"/>
            </a:solidFill>
          </p:grpSpPr>
          <p:sp>
            <p:nvSpPr>
              <p:cNvPr id="41" name="Freihandform: Form 826">
                <a:extLst>
                  <a:ext uri="{FF2B5EF4-FFF2-40B4-BE49-F238E27FC236}">
                    <a16:creationId xmlns:a16="http://schemas.microsoft.com/office/drawing/2014/main" id="{CC936335-AF06-44C7-BD22-9711422D73B0}"/>
                  </a:ext>
                </a:extLst>
              </p:cNvPr>
              <p:cNvSpPr/>
              <p:nvPr/>
            </p:nvSpPr>
            <p:spPr>
              <a:xfrm>
                <a:off x="7123133" y="1627993"/>
                <a:ext cx="373056" cy="72004"/>
              </a:xfrm>
              <a:custGeom>
                <a:avLst/>
                <a:gdLst>
                  <a:gd name="connsiteX0" fmla="*/ 366513 w 373056"/>
                  <a:gd name="connsiteY0" fmla="*/ 72005 h 72004"/>
                  <a:gd name="connsiteX1" fmla="*/ 6543 w 373056"/>
                  <a:gd name="connsiteY1" fmla="*/ 72005 h 72004"/>
                  <a:gd name="connsiteX2" fmla="*/ 0 w 373056"/>
                  <a:gd name="connsiteY2" fmla="*/ 65461 h 72004"/>
                  <a:gd name="connsiteX3" fmla="*/ 6543 w 373056"/>
                  <a:gd name="connsiteY3" fmla="*/ 58918 h 72004"/>
                  <a:gd name="connsiteX4" fmla="*/ 359970 w 373056"/>
                  <a:gd name="connsiteY4" fmla="*/ 58918 h 72004"/>
                  <a:gd name="connsiteX5" fmla="*/ 359970 w 373056"/>
                  <a:gd name="connsiteY5" fmla="*/ 39287 h 72004"/>
                  <a:gd name="connsiteX6" fmla="*/ 235618 w 373056"/>
                  <a:gd name="connsiteY6" fmla="*/ 39287 h 72004"/>
                  <a:gd name="connsiteX7" fmla="*/ 229757 w 373056"/>
                  <a:gd name="connsiteY7" fmla="*/ 35661 h 72004"/>
                  <a:gd name="connsiteX8" fmla="*/ 218484 w 373056"/>
                  <a:gd name="connsiteY8" fmla="*/ 13087 h 72004"/>
                  <a:gd name="connsiteX9" fmla="*/ 69508 w 373056"/>
                  <a:gd name="connsiteY9" fmla="*/ 13087 h 72004"/>
                  <a:gd name="connsiteX10" fmla="*/ 58234 w 373056"/>
                  <a:gd name="connsiteY10" fmla="*/ 35661 h 72004"/>
                  <a:gd name="connsiteX11" fmla="*/ 52374 w 373056"/>
                  <a:gd name="connsiteY11" fmla="*/ 39287 h 72004"/>
                  <a:gd name="connsiteX12" fmla="*/ 6570 w 373056"/>
                  <a:gd name="connsiteY12" fmla="*/ 39287 h 72004"/>
                  <a:gd name="connsiteX13" fmla="*/ 26 w 373056"/>
                  <a:gd name="connsiteY13" fmla="*/ 32744 h 72004"/>
                  <a:gd name="connsiteX14" fmla="*/ 6570 w 373056"/>
                  <a:gd name="connsiteY14" fmla="*/ 26200 h 72004"/>
                  <a:gd name="connsiteX15" fmla="*/ 48327 w 373056"/>
                  <a:gd name="connsiteY15" fmla="*/ 26200 h 72004"/>
                  <a:gd name="connsiteX16" fmla="*/ 59601 w 373056"/>
                  <a:gd name="connsiteY16" fmla="*/ 3627 h 72004"/>
                  <a:gd name="connsiteX17" fmla="*/ 65461 w 373056"/>
                  <a:gd name="connsiteY17" fmla="*/ 0 h 72004"/>
                  <a:gd name="connsiteX18" fmla="*/ 222531 w 373056"/>
                  <a:gd name="connsiteY18" fmla="*/ 0 h 72004"/>
                  <a:gd name="connsiteX19" fmla="*/ 228391 w 373056"/>
                  <a:gd name="connsiteY19" fmla="*/ 3627 h 72004"/>
                  <a:gd name="connsiteX20" fmla="*/ 239665 w 373056"/>
                  <a:gd name="connsiteY20" fmla="*/ 26200 h 72004"/>
                  <a:gd name="connsiteX21" fmla="*/ 366513 w 373056"/>
                  <a:gd name="connsiteY21" fmla="*/ 26200 h 72004"/>
                  <a:gd name="connsiteX22" fmla="*/ 373057 w 373056"/>
                  <a:gd name="connsiteY22" fmla="*/ 32744 h 72004"/>
                  <a:gd name="connsiteX23" fmla="*/ 373057 w 373056"/>
                  <a:gd name="connsiteY23" fmla="*/ 65461 h 72004"/>
                  <a:gd name="connsiteX24" fmla="*/ 366513 w 373056"/>
                  <a:gd name="connsiteY24" fmla="*/ 72005 h 72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3056" h="72004">
                    <a:moveTo>
                      <a:pt x="366513" y="72005"/>
                    </a:moveTo>
                    <a:lnTo>
                      <a:pt x="6543" y="72005"/>
                    </a:lnTo>
                    <a:cubicBezTo>
                      <a:pt x="2917" y="72005"/>
                      <a:pt x="0" y="69061"/>
                      <a:pt x="0" y="65461"/>
                    </a:cubicBezTo>
                    <a:cubicBezTo>
                      <a:pt x="0" y="61835"/>
                      <a:pt x="2917" y="58918"/>
                      <a:pt x="6543" y="58918"/>
                    </a:cubicBezTo>
                    <a:lnTo>
                      <a:pt x="359970" y="58918"/>
                    </a:lnTo>
                    <a:lnTo>
                      <a:pt x="359970" y="39287"/>
                    </a:lnTo>
                    <a:lnTo>
                      <a:pt x="235618" y="39287"/>
                    </a:lnTo>
                    <a:cubicBezTo>
                      <a:pt x="233147" y="39287"/>
                      <a:pt x="230887" y="37894"/>
                      <a:pt x="229757" y="35661"/>
                    </a:cubicBezTo>
                    <a:lnTo>
                      <a:pt x="218484" y="13087"/>
                    </a:lnTo>
                    <a:lnTo>
                      <a:pt x="69508" y="13087"/>
                    </a:lnTo>
                    <a:lnTo>
                      <a:pt x="58234" y="35661"/>
                    </a:lnTo>
                    <a:cubicBezTo>
                      <a:pt x="57131" y="37868"/>
                      <a:pt x="54871" y="39287"/>
                      <a:pt x="52374" y="39287"/>
                    </a:cubicBezTo>
                    <a:lnTo>
                      <a:pt x="6570" y="39287"/>
                    </a:lnTo>
                    <a:cubicBezTo>
                      <a:pt x="2943" y="39287"/>
                      <a:pt x="26" y="36344"/>
                      <a:pt x="26" y="32744"/>
                    </a:cubicBezTo>
                    <a:cubicBezTo>
                      <a:pt x="26" y="29143"/>
                      <a:pt x="2943" y="26200"/>
                      <a:pt x="6570" y="26200"/>
                    </a:cubicBezTo>
                    <a:lnTo>
                      <a:pt x="48327" y="26200"/>
                    </a:lnTo>
                    <a:lnTo>
                      <a:pt x="59601" y="3627"/>
                    </a:lnTo>
                    <a:cubicBezTo>
                      <a:pt x="60704" y="1419"/>
                      <a:pt x="62965" y="0"/>
                      <a:pt x="65461" y="0"/>
                    </a:cubicBezTo>
                    <a:lnTo>
                      <a:pt x="222531" y="0"/>
                    </a:lnTo>
                    <a:cubicBezTo>
                      <a:pt x="225001" y="0"/>
                      <a:pt x="227261" y="1393"/>
                      <a:pt x="228391" y="3627"/>
                    </a:cubicBezTo>
                    <a:lnTo>
                      <a:pt x="239665" y="26200"/>
                    </a:lnTo>
                    <a:lnTo>
                      <a:pt x="366513" y="26200"/>
                    </a:lnTo>
                    <a:cubicBezTo>
                      <a:pt x="370140" y="26200"/>
                      <a:pt x="373057" y="29143"/>
                      <a:pt x="373057" y="32744"/>
                    </a:cubicBezTo>
                    <a:lnTo>
                      <a:pt x="373057" y="65461"/>
                    </a:lnTo>
                    <a:cubicBezTo>
                      <a:pt x="373057" y="69061"/>
                      <a:pt x="370114" y="72005"/>
                      <a:pt x="366513" y="72005"/>
                    </a:cubicBezTo>
                    <a:close/>
                  </a:path>
                </a:pathLst>
              </a:custGeom>
              <a:grpFill/>
              <a:ln w="2624" cap="flat">
                <a:noFill/>
                <a:prstDash val="solid"/>
                <a:miter/>
              </a:ln>
            </p:spPr>
            <p:txBody>
              <a:bodyPr rtlCol="0" anchor="ctr"/>
              <a:lstStyle/>
              <a:p>
                <a:endParaRPr lang="en-GB" dirty="0"/>
              </a:p>
            </p:txBody>
          </p:sp>
          <p:sp>
            <p:nvSpPr>
              <p:cNvPr id="42" name="Freihandform: Form 827">
                <a:extLst>
                  <a:ext uri="{FF2B5EF4-FFF2-40B4-BE49-F238E27FC236}">
                    <a16:creationId xmlns:a16="http://schemas.microsoft.com/office/drawing/2014/main" id="{446FC90F-E78D-4146-8683-F2938399F231}"/>
                  </a:ext>
                </a:extLst>
              </p:cNvPr>
              <p:cNvSpPr/>
              <p:nvPr/>
            </p:nvSpPr>
            <p:spPr>
              <a:xfrm>
                <a:off x="7149306" y="1713110"/>
                <a:ext cx="327252" cy="222504"/>
              </a:xfrm>
              <a:custGeom>
                <a:avLst/>
                <a:gdLst>
                  <a:gd name="connsiteX0" fmla="*/ 320709 w 327252"/>
                  <a:gd name="connsiteY0" fmla="*/ 222504 h 222504"/>
                  <a:gd name="connsiteX1" fmla="*/ 6543 w 327252"/>
                  <a:gd name="connsiteY1" fmla="*/ 222504 h 222504"/>
                  <a:gd name="connsiteX2" fmla="*/ 0 w 327252"/>
                  <a:gd name="connsiteY2" fmla="*/ 215961 h 222504"/>
                  <a:gd name="connsiteX3" fmla="*/ 6543 w 327252"/>
                  <a:gd name="connsiteY3" fmla="*/ 209418 h 222504"/>
                  <a:gd name="connsiteX4" fmla="*/ 314166 w 327252"/>
                  <a:gd name="connsiteY4" fmla="*/ 209418 h 222504"/>
                  <a:gd name="connsiteX5" fmla="*/ 314166 w 327252"/>
                  <a:gd name="connsiteY5" fmla="*/ 6543 h 222504"/>
                  <a:gd name="connsiteX6" fmla="*/ 320709 w 327252"/>
                  <a:gd name="connsiteY6" fmla="*/ 0 h 222504"/>
                  <a:gd name="connsiteX7" fmla="*/ 327253 w 327252"/>
                  <a:gd name="connsiteY7" fmla="*/ 6543 h 222504"/>
                  <a:gd name="connsiteX8" fmla="*/ 327253 w 327252"/>
                  <a:gd name="connsiteY8" fmla="*/ 215987 h 222504"/>
                  <a:gd name="connsiteX9" fmla="*/ 320709 w 327252"/>
                  <a:gd name="connsiteY9" fmla="*/ 222504 h 22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7252" h="222504">
                    <a:moveTo>
                      <a:pt x="320709" y="222504"/>
                    </a:moveTo>
                    <a:lnTo>
                      <a:pt x="6543" y="222504"/>
                    </a:lnTo>
                    <a:cubicBezTo>
                      <a:pt x="2917" y="222504"/>
                      <a:pt x="0" y="219561"/>
                      <a:pt x="0" y="215961"/>
                    </a:cubicBezTo>
                    <a:cubicBezTo>
                      <a:pt x="0" y="212334"/>
                      <a:pt x="2917" y="209418"/>
                      <a:pt x="6543" y="209418"/>
                    </a:cubicBezTo>
                    <a:lnTo>
                      <a:pt x="314166" y="209418"/>
                    </a:lnTo>
                    <a:lnTo>
                      <a:pt x="314166" y="6543"/>
                    </a:lnTo>
                    <a:cubicBezTo>
                      <a:pt x="314166" y="2917"/>
                      <a:pt x="317083" y="0"/>
                      <a:pt x="320709" y="0"/>
                    </a:cubicBezTo>
                    <a:cubicBezTo>
                      <a:pt x="324336" y="0"/>
                      <a:pt x="327253" y="2943"/>
                      <a:pt x="327253" y="6543"/>
                    </a:cubicBezTo>
                    <a:lnTo>
                      <a:pt x="327253" y="215987"/>
                    </a:lnTo>
                    <a:cubicBezTo>
                      <a:pt x="327253" y="219561"/>
                      <a:pt x="324309" y="222504"/>
                      <a:pt x="320709" y="222504"/>
                    </a:cubicBezTo>
                    <a:close/>
                  </a:path>
                </a:pathLst>
              </a:custGeom>
              <a:grpFill/>
              <a:ln w="2624" cap="flat">
                <a:noFill/>
                <a:prstDash val="solid"/>
                <a:miter/>
              </a:ln>
            </p:spPr>
            <p:txBody>
              <a:bodyPr rtlCol="0" anchor="ctr"/>
              <a:lstStyle/>
              <a:p>
                <a:endParaRPr lang="en-GB" dirty="0"/>
              </a:p>
            </p:txBody>
          </p:sp>
          <p:sp>
            <p:nvSpPr>
              <p:cNvPr id="43" name="Freihandform: Form 834">
                <a:extLst>
                  <a:ext uri="{FF2B5EF4-FFF2-40B4-BE49-F238E27FC236}">
                    <a16:creationId xmlns:a16="http://schemas.microsoft.com/office/drawing/2014/main" id="{97E3CCDA-664B-4A58-B77B-CDA52EBEB7C0}"/>
                  </a:ext>
                </a:extLst>
              </p:cNvPr>
              <p:cNvSpPr/>
              <p:nvPr/>
            </p:nvSpPr>
            <p:spPr>
              <a:xfrm>
                <a:off x="7260572" y="1929071"/>
                <a:ext cx="13086" cy="32717"/>
              </a:xfrm>
              <a:custGeom>
                <a:avLst/>
                <a:gdLst>
                  <a:gd name="connsiteX0" fmla="*/ 0 w 13086"/>
                  <a:gd name="connsiteY0" fmla="*/ 0 h 32717"/>
                  <a:gd name="connsiteX1" fmla="*/ 13087 w 13086"/>
                  <a:gd name="connsiteY1" fmla="*/ 0 h 32717"/>
                  <a:gd name="connsiteX2" fmla="*/ 13087 w 13086"/>
                  <a:gd name="connsiteY2" fmla="*/ 32717 h 32717"/>
                  <a:gd name="connsiteX3" fmla="*/ 0 w 13086"/>
                  <a:gd name="connsiteY3" fmla="*/ 32717 h 32717"/>
                </a:gdLst>
                <a:ahLst/>
                <a:cxnLst>
                  <a:cxn ang="0">
                    <a:pos x="connsiteX0" y="connsiteY0"/>
                  </a:cxn>
                  <a:cxn ang="0">
                    <a:pos x="connsiteX1" y="connsiteY1"/>
                  </a:cxn>
                  <a:cxn ang="0">
                    <a:pos x="connsiteX2" y="connsiteY2"/>
                  </a:cxn>
                  <a:cxn ang="0">
                    <a:pos x="connsiteX3" y="connsiteY3"/>
                  </a:cxn>
                </a:cxnLst>
                <a:rect l="l" t="t" r="r" b="b"/>
                <a:pathLst>
                  <a:path w="13086" h="32717">
                    <a:moveTo>
                      <a:pt x="0" y="0"/>
                    </a:moveTo>
                    <a:lnTo>
                      <a:pt x="13087" y="0"/>
                    </a:lnTo>
                    <a:lnTo>
                      <a:pt x="13087" y="32717"/>
                    </a:lnTo>
                    <a:lnTo>
                      <a:pt x="0" y="32717"/>
                    </a:lnTo>
                    <a:close/>
                  </a:path>
                </a:pathLst>
              </a:custGeom>
              <a:grpFill/>
              <a:ln w="2624" cap="flat">
                <a:noFill/>
                <a:prstDash val="solid"/>
                <a:miter/>
              </a:ln>
            </p:spPr>
            <p:txBody>
              <a:bodyPr rtlCol="0" anchor="ctr"/>
              <a:lstStyle/>
              <a:p>
                <a:endParaRPr lang="en-GB" dirty="0"/>
              </a:p>
            </p:txBody>
          </p:sp>
          <p:sp>
            <p:nvSpPr>
              <p:cNvPr id="44" name="Freihandform: Form 835">
                <a:extLst>
                  <a:ext uri="{FF2B5EF4-FFF2-40B4-BE49-F238E27FC236}">
                    <a16:creationId xmlns:a16="http://schemas.microsoft.com/office/drawing/2014/main" id="{CBE50387-B66C-4B0E-9751-8371C1BFBD4E}"/>
                  </a:ext>
                </a:extLst>
              </p:cNvPr>
              <p:cNvSpPr/>
              <p:nvPr/>
            </p:nvSpPr>
            <p:spPr>
              <a:xfrm>
                <a:off x="7234398" y="1955245"/>
                <a:ext cx="65434" cy="65434"/>
              </a:xfrm>
              <a:custGeom>
                <a:avLst/>
                <a:gdLst>
                  <a:gd name="connsiteX0" fmla="*/ 32717 w 65434"/>
                  <a:gd name="connsiteY0" fmla="*/ 65435 h 65434"/>
                  <a:gd name="connsiteX1" fmla="*/ 0 w 65434"/>
                  <a:gd name="connsiteY1" fmla="*/ 32717 h 65434"/>
                  <a:gd name="connsiteX2" fmla="*/ 32717 w 65434"/>
                  <a:gd name="connsiteY2" fmla="*/ 0 h 65434"/>
                  <a:gd name="connsiteX3" fmla="*/ 65435 w 65434"/>
                  <a:gd name="connsiteY3" fmla="*/ 32717 h 65434"/>
                  <a:gd name="connsiteX4" fmla="*/ 32717 w 65434"/>
                  <a:gd name="connsiteY4" fmla="*/ 65435 h 65434"/>
                  <a:gd name="connsiteX5" fmla="*/ 32717 w 65434"/>
                  <a:gd name="connsiteY5" fmla="*/ 13087 h 65434"/>
                  <a:gd name="connsiteX6" fmla="*/ 13087 w 65434"/>
                  <a:gd name="connsiteY6" fmla="*/ 32717 h 65434"/>
                  <a:gd name="connsiteX7" fmla="*/ 32717 w 65434"/>
                  <a:gd name="connsiteY7" fmla="*/ 52348 h 65434"/>
                  <a:gd name="connsiteX8" fmla="*/ 52348 w 65434"/>
                  <a:gd name="connsiteY8" fmla="*/ 32717 h 65434"/>
                  <a:gd name="connsiteX9" fmla="*/ 32717 w 65434"/>
                  <a:gd name="connsiteY9" fmla="*/ 13087 h 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434" h="65434">
                    <a:moveTo>
                      <a:pt x="32717" y="65435"/>
                    </a:moveTo>
                    <a:cubicBezTo>
                      <a:pt x="14664" y="65435"/>
                      <a:pt x="0" y="50745"/>
                      <a:pt x="0" y="32717"/>
                    </a:cubicBezTo>
                    <a:cubicBezTo>
                      <a:pt x="0" y="14690"/>
                      <a:pt x="14690" y="0"/>
                      <a:pt x="32717" y="0"/>
                    </a:cubicBezTo>
                    <a:cubicBezTo>
                      <a:pt x="50745" y="0"/>
                      <a:pt x="65435" y="14690"/>
                      <a:pt x="65435" y="32717"/>
                    </a:cubicBezTo>
                    <a:cubicBezTo>
                      <a:pt x="65435" y="50745"/>
                      <a:pt x="50771" y="65435"/>
                      <a:pt x="32717" y="65435"/>
                    </a:cubicBezTo>
                    <a:close/>
                    <a:moveTo>
                      <a:pt x="32717" y="13087"/>
                    </a:moveTo>
                    <a:cubicBezTo>
                      <a:pt x="21890" y="13087"/>
                      <a:pt x="13087" y="21890"/>
                      <a:pt x="13087" y="32717"/>
                    </a:cubicBezTo>
                    <a:cubicBezTo>
                      <a:pt x="13087" y="43544"/>
                      <a:pt x="21890" y="52348"/>
                      <a:pt x="32717" y="52348"/>
                    </a:cubicBezTo>
                    <a:cubicBezTo>
                      <a:pt x="43544" y="52348"/>
                      <a:pt x="52348" y="43544"/>
                      <a:pt x="52348" y="32717"/>
                    </a:cubicBezTo>
                    <a:cubicBezTo>
                      <a:pt x="52348" y="21890"/>
                      <a:pt x="43544" y="13087"/>
                      <a:pt x="32717" y="13087"/>
                    </a:cubicBezTo>
                    <a:close/>
                  </a:path>
                </a:pathLst>
              </a:custGeom>
              <a:grpFill/>
              <a:ln w="2624" cap="flat">
                <a:noFill/>
                <a:prstDash val="solid"/>
                <a:miter/>
              </a:ln>
            </p:spPr>
            <p:txBody>
              <a:bodyPr rtlCol="0" anchor="ctr"/>
              <a:lstStyle/>
              <a:p>
                <a:endParaRPr lang="en-GB" dirty="0"/>
              </a:p>
            </p:txBody>
          </p:sp>
          <p:grpSp>
            <p:nvGrpSpPr>
              <p:cNvPr id="45" name="Grafik 16">
                <a:extLst>
                  <a:ext uri="{FF2B5EF4-FFF2-40B4-BE49-F238E27FC236}">
                    <a16:creationId xmlns:a16="http://schemas.microsoft.com/office/drawing/2014/main" id="{0DDFA558-A4CB-451C-B082-6A446C4D6D50}"/>
                  </a:ext>
                </a:extLst>
              </p:cNvPr>
              <p:cNvGrpSpPr/>
              <p:nvPr/>
            </p:nvGrpSpPr>
            <p:grpSpPr>
              <a:xfrm>
                <a:off x="6898079" y="1626758"/>
                <a:ext cx="264314" cy="484329"/>
                <a:chOff x="6898079" y="1626758"/>
                <a:chExt cx="264314" cy="484329"/>
              </a:xfrm>
              <a:grpFill/>
            </p:grpSpPr>
            <p:grpSp>
              <p:nvGrpSpPr>
                <p:cNvPr id="46" name="Grafik 16">
                  <a:extLst>
                    <a:ext uri="{FF2B5EF4-FFF2-40B4-BE49-F238E27FC236}">
                      <a16:creationId xmlns:a16="http://schemas.microsoft.com/office/drawing/2014/main" id="{ECE50AA4-F5FF-4201-A161-795A45F4E0E3}"/>
                    </a:ext>
                  </a:extLst>
                </p:cNvPr>
                <p:cNvGrpSpPr/>
                <p:nvPr/>
              </p:nvGrpSpPr>
              <p:grpSpPr>
                <a:xfrm>
                  <a:off x="6898079" y="1801382"/>
                  <a:ext cx="130895" cy="130869"/>
                  <a:chOff x="6898079" y="1801382"/>
                  <a:chExt cx="130895" cy="130869"/>
                </a:xfrm>
                <a:grpFill/>
              </p:grpSpPr>
              <p:grpSp>
                <p:nvGrpSpPr>
                  <p:cNvPr id="55" name="Grafik 16">
                    <a:extLst>
                      <a:ext uri="{FF2B5EF4-FFF2-40B4-BE49-F238E27FC236}">
                        <a16:creationId xmlns:a16="http://schemas.microsoft.com/office/drawing/2014/main" id="{F32FB936-E1CD-4973-95DE-FB90F4FBAC87}"/>
                      </a:ext>
                    </a:extLst>
                  </p:cNvPr>
                  <p:cNvGrpSpPr/>
                  <p:nvPr/>
                </p:nvGrpSpPr>
                <p:grpSpPr>
                  <a:xfrm>
                    <a:off x="6898079" y="1801382"/>
                    <a:ext cx="130895" cy="130869"/>
                    <a:chOff x="6898079" y="1801382"/>
                    <a:chExt cx="130895" cy="130869"/>
                  </a:xfrm>
                  <a:grpFill/>
                </p:grpSpPr>
                <p:sp>
                  <p:nvSpPr>
                    <p:cNvPr id="57" name="Freihandform: Form 839">
                      <a:extLst>
                        <a:ext uri="{FF2B5EF4-FFF2-40B4-BE49-F238E27FC236}">
                          <a16:creationId xmlns:a16="http://schemas.microsoft.com/office/drawing/2014/main" id="{A5EC0F77-D551-4268-AD8C-E0C2C469DC4C}"/>
                        </a:ext>
                      </a:extLst>
                    </p:cNvPr>
                    <p:cNvSpPr/>
                    <p:nvPr/>
                  </p:nvSpPr>
                  <p:spPr>
                    <a:xfrm>
                      <a:off x="6924279" y="1827555"/>
                      <a:ext cx="13086" cy="32717"/>
                    </a:xfrm>
                    <a:custGeom>
                      <a:avLst/>
                      <a:gdLst>
                        <a:gd name="connsiteX0" fmla="*/ 6543 w 13086"/>
                        <a:gd name="connsiteY0" fmla="*/ 32717 h 32717"/>
                        <a:gd name="connsiteX1" fmla="*/ 0 w 13086"/>
                        <a:gd name="connsiteY1" fmla="*/ 26174 h 32717"/>
                        <a:gd name="connsiteX2" fmla="*/ 0 w 13086"/>
                        <a:gd name="connsiteY2" fmla="*/ 6543 h 32717"/>
                        <a:gd name="connsiteX3" fmla="*/ 6543 w 13086"/>
                        <a:gd name="connsiteY3" fmla="*/ 0 h 32717"/>
                        <a:gd name="connsiteX4" fmla="*/ 13087 w 13086"/>
                        <a:gd name="connsiteY4" fmla="*/ 6543 h 32717"/>
                        <a:gd name="connsiteX5" fmla="*/ 13087 w 13086"/>
                        <a:gd name="connsiteY5" fmla="*/ 26174 h 32717"/>
                        <a:gd name="connsiteX6" fmla="*/ 6543 w 13086"/>
                        <a:gd name="connsiteY6" fmla="*/ 32717 h 3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6" h="32717">
                          <a:moveTo>
                            <a:pt x="6543" y="32717"/>
                          </a:moveTo>
                          <a:cubicBezTo>
                            <a:pt x="2917" y="32717"/>
                            <a:pt x="0" y="29774"/>
                            <a:pt x="0" y="26174"/>
                          </a:cubicBezTo>
                          <a:lnTo>
                            <a:pt x="0" y="6543"/>
                          </a:lnTo>
                          <a:cubicBezTo>
                            <a:pt x="0" y="2917"/>
                            <a:pt x="2917" y="0"/>
                            <a:pt x="6543" y="0"/>
                          </a:cubicBezTo>
                          <a:cubicBezTo>
                            <a:pt x="10170" y="0"/>
                            <a:pt x="13087" y="2917"/>
                            <a:pt x="13087" y="6543"/>
                          </a:cubicBezTo>
                          <a:lnTo>
                            <a:pt x="13087" y="26174"/>
                          </a:lnTo>
                          <a:cubicBezTo>
                            <a:pt x="13087" y="29774"/>
                            <a:pt x="10144" y="32717"/>
                            <a:pt x="6543" y="32717"/>
                          </a:cubicBezTo>
                          <a:close/>
                        </a:path>
                      </a:pathLst>
                    </a:custGeom>
                    <a:grpFill/>
                    <a:ln w="2624" cap="flat">
                      <a:noFill/>
                      <a:prstDash val="solid"/>
                      <a:miter/>
                    </a:ln>
                  </p:spPr>
                  <p:txBody>
                    <a:bodyPr rtlCol="0" anchor="ctr"/>
                    <a:lstStyle/>
                    <a:p>
                      <a:endParaRPr lang="en-GB" dirty="0"/>
                    </a:p>
                  </p:txBody>
                </p:sp>
                <p:sp>
                  <p:nvSpPr>
                    <p:cNvPr id="58" name="Freihandform: Form 840">
                      <a:extLst>
                        <a:ext uri="{FF2B5EF4-FFF2-40B4-BE49-F238E27FC236}">
                          <a16:creationId xmlns:a16="http://schemas.microsoft.com/office/drawing/2014/main" id="{571CA838-5C14-42D8-A833-A1283DE40B7C}"/>
                        </a:ext>
                      </a:extLst>
                    </p:cNvPr>
                    <p:cNvSpPr/>
                    <p:nvPr/>
                  </p:nvSpPr>
                  <p:spPr>
                    <a:xfrm>
                      <a:off x="6924253" y="1801382"/>
                      <a:ext cx="104721" cy="130869"/>
                    </a:xfrm>
                    <a:custGeom>
                      <a:avLst/>
                      <a:gdLst>
                        <a:gd name="connsiteX0" fmla="*/ 98178 w 104721"/>
                        <a:gd name="connsiteY0" fmla="*/ 130870 h 130869"/>
                        <a:gd name="connsiteX1" fmla="*/ 6543 w 104721"/>
                        <a:gd name="connsiteY1" fmla="*/ 130870 h 130869"/>
                        <a:gd name="connsiteX2" fmla="*/ 0 w 104721"/>
                        <a:gd name="connsiteY2" fmla="*/ 124326 h 130869"/>
                        <a:gd name="connsiteX3" fmla="*/ 0 w 104721"/>
                        <a:gd name="connsiteY3" fmla="*/ 98152 h 130869"/>
                        <a:gd name="connsiteX4" fmla="*/ 6543 w 104721"/>
                        <a:gd name="connsiteY4" fmla="*/ 91609 h 130869"/>
                        <a:gd name="connsiteX5" fmla="*/ 13087 w 104721"/>
                        <a:gd name="connsiteY5" fmla="*/ 98152 h 130869"/>
                        <a:gd name="connsiteX6" fmla="*/ 13087 w 104721"/>
                        <a:gd name="connsiteY6" fmla="*/ 117783 h 130869"/>
                        <a:gd name="connsiteX7" fmla="*/ 91635 w 104721"/>
                        <a:gd name="connsiteY7" fmla="*/ 117783 h 130869"/>
                        <a:gd name="connsiteX8" fmla="*/ 91635 w 104721"/>
                        <a:gd name="connsiteY8" fmla="*/ 19630 h 130869"/>
                        <a:gd name="connsiteX9" fmla="*/ 85091 w 104721"/>
                        <a:gd name="connsiteY9" fmla="*/ 13087 h 130869"/>
                        <a:gd name="connsiteX10" fmla="*/ 72004 w 104721"/>
                        <a:gd name="connsiteY10" fmla="*/ 13087 h 130869"/>
                        <a:gd name="connsiteX11" fmla="*/ 65461 w 104721"/>
                        <a:gd name="connsiteY11" fmla="*/ 6543 h 130869"/>
                        <a:gd name="connsiteX12" fmla="*/ 72004 w 104721"/>
                        <a:gd name="connsiteY12" fmla="*/ 0 h 130869"/>
                        <a:gd name="connsiteX13" fmla="*/ 85091 w 104721"/>
                        <a:gd name="connsiteY13" fmla="*/ 0 h 130869"/>
                        <a:gd name="connsiteX14" fmla="*/ 104722 w 104721"/>
                        <a:gd name="connsiteY14" fmla="*/ 19630 h 130869"/>
                        <a:gd name="connsiteX15" fmla="*/ 104722 w 104721"/>
                        <a:gd name="connsiteY15" fmla="*/ 124352 h 130869"/>
                        <a:gd name="connsiteX16" fmla="*/ 98178 w 104721"/>
                        <a:gd name="connsiteY16" fmla="*/ 130870 h 130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721" h="130869">
                          <a:moveTo>
                            <a:pt x="98178" y="130870"/>
                          </a:moveTo>
                          <a:lnTo>
                            <a:pt x="6543" y="130870"/>
                          </a:lnTo>
                          <a:cubicBezTo>
                            <a:pt x="2917" y="130870"/>
                            <a:pt x="0" y="127926"/>
                            <a:pt x="0" y="124326"/>
                          </a:cubicBezTo>
                          <a:lnTo>
                            <a:pt x="0" y="98152"/>
                          </a:lnTo>
                          <a:cubicBezTo>
                            <a:pt x="0" y="94526"/>
                            <a:pt x="2917" y="91609"/>
                            <a:pt x="6543" y="91609"/>
                          </a:cubicBezTo>
                          <a:cubicBezTo>
                            <a:pt x="10170" y="91609"/>
                            <a:pt x="13087" y="94526"/>
                            <a:pt x="13087" y="98152"/>
                          </a:cubicBezTo>
                          <a:lnTo>
                            <a:pt x="13087" y="117783"/>
                          </a:lnTo>
                          <a:lnTo>
                            <a:pt x="91635" y="117783"/>
                          </a:lnTo>
                          <a:lnTo>
                            <a:pt x="91635" y="19630"/>
                          </a:lnTo>
                          <a:cubicBezTo>
                            <a:pt x="91635" y="16030"/>
                            <a:pt x="88692" y="13087"/>
                            <a:pt x="85091" y="13087"/>
                          </a:cubicBezTo>
                          <a:lnTo>
                            <a:pt x="72004" y="13087"/>
                          </a:lnTo>
                          <a:cubicBezTo>
                            <a:pt x="68378" y="13087"/>
                            <a:pt x="65461" y="10144"/>
                            <a:pt x="65461" y="6543"/>
                          </a:cubicBezTo>
                          <a:cubicBezTo>
                            <a:pt x="65461" y="2917"/>
                            <a:pt x="68378" y="0"/>
                            <a:pt x="72004" y="0"/>
                          </a:cubicBezTo>
                          <a:lnTo>
                            <a:pt x="85091" y="0"/>
                          </a:lnTo>
                          <a:cubicBezTo>
                            <a:pt x="95918" y="0"/>
                            <a:pt x="104722" y="8803"/>
                            <a:pt x="104722" y="19630"/>
                          </a:cubicBezTo>
                          <a:lnTo>
                            <a:pt x="104722" y="124352"/>
                          </a:lnTo>
                          <a:cubicBezTo>
                            <a:pt x="104722" y="127953"/>
                            <a:pt x="101805" y="130870"/>
                            <a:pt x="98178" y="130870"/>
                          </a:cubicBezTo>
                          <a:close/>
                        </a:path>
                      </a:pathLst>
                    </a:custGeom>
                    <a:grpFill/>
                    <a:ln w="2624" cap="flat">
                      <a:noFill/>
                      <a:prstDash val="solid"/>
                      <a:miter/>
                    </a:ln>
                  </p:spPr>
                  <p:txBody>
                    <a:bodyPr rtlCol="0" anchor="ctr"/>
                    <a:lstStyle/>
                    <a:p>
                      <a:endParaRPr lang="en-GB" dirty="0"/>
                    </a:p>
                  </p:txBody>
                </p:sp>
                <p:sp>
                  <p:nvSpPr>
                    <p:cNvPr id="59" name="Freihandform: Form 841">
                      <a:extLst>
                        <a:ext uri="{FF2B5EF4-FFF2-40B4-BE49-F238E27FC236}">
                          <a16:creationId xmlns:a16="http://schemas.microsoft.com/office/drawing/2014/main" id="{7DD9BDD3-2089-4A75-BE18-2B44B878D837}"/>
                        </a:ext>
                      </a:extLst>
                    </p:cNvPr>
                    <p:cNvSpPr/>
                    <p:nvPr/>
                  </p:nvSpPr>
                  <p:spPr>
                    <a:xfrm>
                      <a:off x="6898079" y="1801382"/>
                      <a:ext cx="117808" cy="39260"/>
                    </a:xfrm>
                    <a:custGeom>
                      <a:avLst/>
                      <a:gdLst>
                        <a:gd name="connsiteX0" fmla="*/ 98178 w 117808"/>
                        <a:gd name="connsiteY0" fmla="*/ 39261 h 39260"/>
                        <a:gd name="connsiteX1" fmla="*/ 6543 w 117808"/>
                        <a:gd name="connsiteY1" fmla="*/ 39261 h 39260"/>
                        <a:gd name="connsiteX2" fmla="*/ 0 w 117808"/>
                        <a:gd name="connsiteY2" fmla="*/ 32717 h 39260"/>
                        <a:gd name="connsiteX3" fmla="*/ 0 w 117808"/>
                        <a:gd name="connsiteY3" fmla="*/ 19630 h 39260"/>
                        <a:gd name="connsiteX4" fmla="*/ 19631 w 117808"/>
                        <a:gd name="connsiteY4" fmla="*/ 0 h 39260"/>
                        <a:gd name="connsiteX5" fmla="*/ 111265 w 117808"/>
                        <a:gd name="connsiteY5" fmla="*/ 0 h 39260"/>
                        <a:gd name="connsiteX6" fmla="*/ 117809 w 117808"/>
                        <a:gd name="connsiteY6" fmla="*/ 6543 h 39260"/>
                        <a:gd name="connsiteX7" fmla="*/ 111265 w 117808"/>
                        <a:gd name="connsiteY7" fmla="*/ 13087 h 39260"/>
                        <a:gd name="connsiteX8" fmla="*/ 104722 w 117808"/>
                        <a:gd name="connsiteY8" fmla="*/ 19630 h 39260"/>
                        <a:gd name="connsiteX9" fmla="*/ 104722 w 117808"/>
                        <a:gd name="connsiteY9" fmla="*/ 32717 h 39260"/>
                        <a:gd name="connsiteX10" fmla="*/ 98178 w 117808"/>
                        <a:gd name="connsiteY10" fmla="*/ 39261 h 39260"/>
                        <a:gd name="connsiteX11" fmla="*/ 13087 w 117808"/>
                        <a:gd name="connsiteY11" fmla="*/ 26174 h 39260"/>
                        <a:gd name="connsiteX12" fmla="*/ 91635 w 117808"/>
                        <a:gd name="connsiteY12" fmla="*/ 26174 h 39260"/>
                        <a:gd name="connsiteX13" fmla="*/ 91635 w 117808"/>
                        <a:gd name="connsiteY13" fmla="*/ 19630 h 39260"/>
                        <a:gd name="connsiteX14" fmla="*/ 92765 w 117808"/>
                        <a:gd name="connsiteY14" fmla="*/ 13087 h 39260"/>
                        <a:gd name="connsiteX15" fmla="*/ 19657 w 117808"/>
                        <a:gd name="connsiteY15" fmla="*/ 13087 h 39260"/>
                        <a:gd name="connsiteX16" fmla="*/ 13113 w 117808"/>
                        <a:gd name="connsiteY16" fmla="*/ 19630 h 39260"/>
                        <a:gd name="connsiteX17" fmla="*/ 13113 w 117808"/>
                        <a:gd name="connsiteY17" fmla="*/ 26174 h 39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808" h="39260">
                          <a:moveTo>
                            <a:pt x="98178" y="39261"/>
                          </a:moveTo>
                          <a:lnTo>
                            <a:pt x="6543" y="39261"/>
                          </a:lnTo>
                          <a:cubicBezTo>
                            <a:pt x="2917" y="39261"/>
                            <a:pt x="0" y="36318"/>
                            <a:pt x="0" y="32717"/>
                          </a:cubicBezTo>
                          <a:lnTo>
                            <a:pt x="0" y="19630"/>
                          </a:lnTo>
                          <a:cubicBezTo>
                            <a:pt x="0" y="8803"/>
                            <a:pt x="8804" y="0"/>
                            <a:pt x="19631" y="0"/>
                          </a:cubicBezTo>
                          <a:lnTo>
                            <a:pt x="111265" y="0"/>
                          </a:lnTo>
                          <a:cubicBezTo>
                            <a:pt x="114892" y="0"/>
                            <a:pt x="117809" y="2917"/>
                            <a:pt x="117809" y="6543"/>
                          </a:cubicBezTo>
                          <a:cubicBezTo>
                            <a:pt x="117809" y="10170"/>
                            <a:pt x="114892" y="13087"/>
                            <a:pt x="111265" y="13087"/>
                          </a:cubicBezTo>
                          <a:cubicBezTo>
                            <a:pt x="107665" y="13087"/>
                            <a:pt x="104722" y="16030"/>
                            <a:pt x="104722" y="19630"/>
                          </a:cubicBezTo>
                          <a:lnTo>
                            <a:pt x="104722" y="32717"/>
                          </a:lnTo>
                          <a:cubicBezTo>
                            <a:pt x="104722" y="36318"/>
                            <a:pt x="101805" y="39261"/>
                            <a:pt x="98178" y="39261"/>
                          </a:cubicBezTo>
                          <a:close/>
                          <a:moveTo>
                            <a:pt x="13087" y="26174"/>
                          </a:moveTo>
                          <a:lnTo>
                            <a:pt x="91635" y="26174"/>
                          </a:lnTo>
                          <a:lnTo>
                            <a:pt x="91635" y="19630"/>
                          </a:lnTo>
                          <a:cubicBezTo>
                            <a:pt x="91635" y="17344"/>
                            <a:pt x="92029" y="15137"/>
                            <a:pt x="92765" y="13087"/>
                          </a:cubicBezTo>
                          <a:lnTo>
                            <a:pt x="19657" y="13087"/>
                          </a:lnTo>
                          <a:cubicBezTo>
                            <a:pt x="16056" y="13087"/>
                            <a:pt x="13113" y="16030"/>
                            <a:pt x="13113" y="19630"/>
                          </a:cubicBezTo>
                          <a:lnTo>
                            <a:pt x="13113" y="26174"/>
                          </a:lnTo>
                          <a:close/>
                        </a:path>
                      </a:pathLst>
                    </a:custGeom>
                    <a:grpFill/>
                    <a:ln w="2624" cap="flat">
                      <a:noFill/>
                      <a:prstDash val="solid"/>
                      <a:miter/>
                    </a:ln>
                  </p:spPr>
                  <p:txBody>
                    <a:bodyPr rtlCol="0" anchor="ctr"/>
                    <a:lstStyle/>
                    <a:p>
                      <a:endParaRPr lang="en-GB" dirty="0"/>
                    </a:p>
                  </p:txBody>
                </p:sp>
              </p:grpSp>
              <p:sp>
                <p:nvSpPr>
                  <p:cNvPr id="56" name="Freihandform: Form 842">
                    <a:extLst>
                      <a:ext uri="{FF2B5EF4-FFF2-40B4-BE49-F238E27FC236}">
                        <a16:creationId xmlns:a16="http://schemas.microsoft.com/office/drawing/2014/main" id="{B8921A52-1CF9-47EC-92E9-5EE78E33822E}"/>
                      </a:ext>
                    </a:extLst>
                  </p:cNvPr>
                  <p:cNvSpPr/>
                  <p:nvPr/>
                </p:nvSpPr>
                <p:spPr>
                  <a:xfrm>
                    <a:off x="6911166" y="1853729"/>
                    <a:ext cx="39260" cy="52347"/>
                  </a:xfrm>
                  <a:custGeom>
                    <a:avLst/>
                    <a:gdLst>
                      <a:gd name="connsiteX0" fmla="*/ 25175 w 39260"/>
                      <a:gd name="connsiteY0" fmla="*/ 52348 h 52347"/>
                      <a:gd name="connsiteX1" fmla="*/ 14086 w 39260"/>
                      <a:gd name="connsiteY1" fmla="*/ 52348 h 52347"/>
                      <a:gd name="connsiteX2" fmla="*/ 0 w 39260"/>
                      <a:gd name="connsiteY2" fmla="*/ 38262 h 52347"/>
                      <a:gd name="connsiteX3" fmla="*/ 0 w 39260"/>
                      <a:gd name="connsiteY3" fmla="*/ 14086 h 52347"/>
                      <a:gd name="connsiteX4" fmla="*/ 14086 w 39260"/>
                      <a:gd name="connsiteY4" fmla="*/ 0 h 52347"/>
                      <a:gd name="connsiteX5" fmla="*/ 25175 w 39260"/>
                      <a:gd name="connsiteY5" fmla="*/ 0 h 52347"/>
                      <a:gd name="connsiteX6" fmla="*/ 39261 w 39260"/>
                      <a:gd name="connsiteY6" fmla="*/ 14086 h 52347"/>
                      <a:gd name="connsiteX7" fmla="*/ 39261 w 39260"/>
                      <a:gd name="connsiteY7" fmla="*/ 38262 h 52347"/>
                      <a:gd name="connsiteX8" fmla="*/ 25175 w 39260"/>
                      <a:gd name="connsiteY8" fmla="*/ 52348 h 52347"/>
                      <a:gd name="connsiteX9" fmla="*/ 14112 w 39260"/>
                      <a:gd name="connsiteY9" fmla="*/ 13087 h 52347"/>
                      <a:gd name="connsiteX10" fmla="*/ 13113 w 39260"/>
                      <a:gd name="connsiteY10" fmla="*/ 14086 h 52347"/>
                      <a:gd name="connsiteX11" fmla="*/ 13113 w 39260"/>
                      <a:gd name="connsiteY11" fmla="*/ 38262 h 52347"/>
                      <a:gd name="connsiteX12" fmla="*/ 14112 w 39260"/>
                      <a:gd name="connsiteY12" fmla="*/ 39261 h 52347"/>
                      <a:gd name="connsiteX13" fmla="*/ 25201 w 39260"/>
                      <a:gd name="connsiteY13" fmla="*/ 39261 h 52347"/>
                      <a:gd name="connsiteX14" fmla="*/ 26200 w 39260"/>
                      <a:gd name="connsiteY14" fmla="*/ 38262 h 52347"/>
                      <a:gd name="connsiteX15" fmla="*/ 26200 w 39260"/>
                      <a:gd name="connsiteY15" fmla="*/ 14086 h 52347"/>
                      <a:gd name="connsiteX16" fmla="*/ 25201 w 39260"/>
                      <a:gd name="connsiteY16" fmla="*/ 13087 h 52347"/>
                      <a:gd name="connsiteX17" fmla="*/ 14112 w 39260"/>
                      <a:gd name="connsiteY17" fmla="*/ 13087 h 5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260" h="52347">
                        <a:moveTo>
                          <a:pt x="25175" y="52348"/>
                        </a:moveTo>
                        <a:lnTo>
                          <a:pt x="14086" y="52348"/>
                        </a:lnTo>
                        <a:cubicBezTo>
                          <a:pt x="6307" y="52348"/>
                          <a:pt x="0" y="46015"/>
                          <a:pt x="0" y="38262"/>
                        </a:cubicBezTo>
                        <a:lnTo>
                          <a:pt x="0" y="14086"/>
                        </a:lnTo>
                        <a:cubicBezTo>
                          <a:pt x="0" y="6307"/>
                          <a:pt x="6333" y="0"/>
                          <a:pt x="14086" y="0"/>
                        </a:cubicBezTo>
                        <a:lnTo>
                          <a:pt x="25175" y="0"/>
                        </a:lnTo>
                        <a:cubicBezTo>
                          <a:pt x="32954" y="0"/>
                          <a:pt x="39261" y="6333"/>
                          <a:pt x="39261" y="14086"/>
                        </a:cubicBezTo>
                        <a:lnTo>
                          <a:pt x="39261" y="38262"/>
                        </a:lnTo>
                        <a:cubicBezTo>
                          <a:pt x="39287" y="46041"/>
                          <a:pt x="32954" y="52348"/>
                          <a:pt x="25175" y="52348"/>
                        </a:cubicBezTo>
                        <a:close/>
                        <a:moveTo>
                          <a:pt x="14112" y="13087"/>
                        </a:moveTo>
                        <a:cubicBezTo>
                          <a:pt x="13560" y="13087"/>
                          <a:pt x="13113" y="13534"/>
                          <a:pt x="13113" y="14086"/>
                        </a:cubicBezTo>
                        <a:lnTo>
                          <a:pt x="13113" y="38262"/>
                        </a:lnTo>
                        <a:cubicBezTo>
                          <a:pt x="13113" y="38814"/>
                          <a:pt x="13560" y="39261"/>
                          <a:pt x="14112" y="39261"/>
                        </a:cubicBezTo>
                        <a:lnTo>
                          <a:pt x="25201" y="39261"/>
                        </a:lnTo>
                        <a:cubicBezTo>
                          <a:pt x="25753" y="39261"/>
                          <a:pt x="26200" y="38814"/>
                          <a:pt x="26200" y="38262"/>
                        </a:cubicBezTo>
                        <a:lnTo>
                          <a:pt x="26200" y="14086"/>
                        </a:lnTo>
                        <a:cubicBezTo>
                          <a:pt x="26200" y="13534"/>
                          <a:pt x="25753" y="13087"/>
                          <a:pt x="25201" y="13087"/>
                        </a:cubicBezTo>
                        <a:lnTo>
                          <a:pt x="14112" y="13087"/>
                        </a:lnTo>
                        <a:close/>
                      </a:path>
                    </a:pathLst>
                  </a:custGeom>
                  <a:grpFill/>
                  <a:ln w="2624" cap="flat">
                    <a:noFill/>
                    <a:prstDash val="solid"/>
                    <a:miter/>
                  </a:ln>
                </p:spPr>
                <p:txBody>
                  <a:bodyPr rtlCol="0" anchor="ctr"/>
                  <a:lstStyle/>
                  <a:p>
                    <a:endParaRPr lang="en-GB" dirty="0"/>
                  </a:p>
                </p:txBody>
              </p:sp>
            </p:grpSp>
            <p:grpSp>
              <p:nvGrpSpPr>
                <p:cNvPr id="47" name="Grafik 16">
                  <a:extLst>
                    <a:ext uri="{FF2B5EF4-FFF2-40B4-BE49-F238E27FC236}">
                      <a16:creationId xmlns:a16="http://schemas.microsoft.com/office/drawing/2014/main" id="{615AB969-0BDD-49F7-B8AC-AF94E7869DC1}"/>
                    </a:ext>
                  </a:extLst>
                </p:cNvPr>
                <p:cNvGrpSpPr/>
                <p:nvPr/>
              </p:nvGrpSpPr>
              <p:grpSpPr>
                <a:xfrm>
                  <a:off x="6966036" y="1626758"/>
                  <a:ext cx="196356" cy="484329"/>
                  <a:chOff x="6966036" y="1626758"/>
                  <a:chExt cx="196356" cy="484329"/>
                </a:xfrm>
                <a:grpFill/>
              </p:grpSpPr>
              <p:sp>
                <p:nvSpPr>
                  <p:cNvPr id="48" name="Freihandform: Form 844">
                    <a:extLst>
                      <a:ext uri="{FF2B5EF4-FFF2-40B4-BE49-F238E27FC236}">
                        <a16:creationId xmlns:a16="http://schemas.microsoft.com/office/drawing/2014/main" id="{61F1620C-E8F9-4775-BE13-05617353D240}"/>
                      </a:ext>
                    </a:extLst>
                  </p:cNvPr>
                  <p:cNvSpPr/>
                  <p:nvPr/>
                </p:nvSpPr>
                <p:spPr>
                  <a:xfrm>
                    <a:off x="7018437" y="1626758"/>
                    <a:ext cx="91608" cy="104721"/>
                  </a:xfrm>
                  <a:custGeom>
                    <a:avLst/>
                    <a:gdLst>
                      <a:gd name="connsiteX0" fmla="*/ 45804 w 91608"/>
                      <a:gd name="connsiteY0" fmla="*/ 104722 h 104721"/>
                      <a:gd name="connsiteX1" fmla="*/ 0 w 91608"/>
                      <a:gd name="connsiteY1" fmla="*/ 52374 h 104721"/>
                      <a:gd name="connsiteX2" fmla="*/ 45804 w 91608"/>
                      <a:gd name="connsiteY2" fmla="*/ 0 h 104721"/>
                      <a:gd name="connsiteX3" fmla="*/ 91609 w 91608"/>
                      <a:gd name="connsiteY3" fmla="*/ 52348 h 104721"/>
                      <a:gd name="connsiteX4" fmla="*/ 45804 w 91608"/>
                      <a:gd name="connsiteY4" fmla="*/ 104722 h 104721"/>
                      <a:gd name="connsiteX5" fmla="*/ 45804 w 91608"/>
                      <a:gd name="connsiteY5" fmla="*/ 13087 h 104721"/>
                      <a:gd name="connsiteX6" fmla="*/ 13087 w 91608"/>
                      <a:gd name="connsiteY6" fmla="*/ 52348 h 104721"/>
                      <a:gd name="connsiteX7" fmla="*/ 45804 w 91608"/>
                      <a:gd name="connsiteY7" fmla="*/ 91609 h 104721"/>
                      <a:gd name="connsiteX8" fmla="*/ 78522 w 91608"/>
                      <a:gd name="connsiteY8" fmla="*/ 52348 h 104721"/>
                      <a:gd name="connsiteX9" fmla="*/ 45804 w 91608"/>
                      <a:gd name="connsiteY9" fmla="*/ 13087 h 104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608" h="104721">
                        <a:moveTo>
                          <a:pt x="45804" y="104722"/>
                        </a:moveTo>
                        <a:cubicBezTo>
                          <a:pt x="18395" y="104722"/>
                          <a:pt x="0" y="83672"/>
                          <a:pt x="0" y="52374"/>
                        </a:cubicBezTo>
                        <a:cubicBezTo>
                          <a:pt x="-26" y="21049"/>
                          <a:pt x="18395" y="0"/>
                          <a:pt x="45804" y="0"/>
                        </a:cubicBezTo>
                        <a:cubicBezTo>
                          <a:pt x="73213" y="0"/>
                          <a:pt x="91609" y="21049"/>
                          <a:pt x="91609" y="52348"/>
                        </a:cubicBezTo>
                        <a:cubicBezTo>
                          <a:pt x="91609" y="83672"/>
                          <a:pt x="73187" y="104722"/>
                          <a:pt x="45804" y="104722"/>
                        </a:cubicBezTo>
                        <a:close/>
                        <a:moveTo>
                          <a:pt x="45804" y="13087"/>
                        </a:moveTo>
                        <a:cubicBezTo>
                          <a:pt x="21654" y="13087"/>
                          <a:pt x="13087" y="34242"/>
                          <a:pt x="13087" y="52348"/>
                        </a:cubicBezTo>
                        <a:cubicBezTo>
                          <a:pt x="13087" y="70454"/>
                          <a:pt x="21654" y="91609"/>
                          <a:pt x="45804" y="91609"/>
                        </a:cubicBezTo>
                        <a:cubicBezTo>
                          <a:pt x="69955" y="91609"/>
                          <a:pt x="78522" y="70454"/>
                          <a:pt x="78522" y="52348"/>
                        </a:cubicBezTo>
                        <a:cubicBezTo>
                          <a:pt x="78522" y="34242"/>
                          <a:pt x="69955" y="13087"/>
                          <a:pt x="45804" y="13087"/>
                        </a:cubicBezTo>
                        <a:close/>
                      </a:path>
                    </a:pathLst>
                  </a:custGeom>
                  <a:grpFill/>
                  <a:ln w="2624" cap="flat">
                    <a:noFill/>
                    <a:prstDash val="solid"/>
                    <a:miter/>
                  </a:ln>
                </p:spPr>
                <p:txBody>
                  <a:bodyPr rtlCol="0" anchor="ctr"/>
                  <a:lstStyle/>
                  <a:p>
                    <a:endParaRPr lang="en-GB" dirty="0"/>
                  </a:p>
                </p:txBody>
              </p:sp>
              <p:sp>
                <p:nvSpPr>
                  <p:cNvPr id="49" name="Freihandform: Form 845">
                    <a:extLst>
                      <a:ext uri="{FF2B5EF4-FFF2-40B4-BE49-F238E27FC236}">
                        <a16:creationId xmlns:a16="http://schemas.microsoft.com/office/drawing/2014/main" id="{7E5DA294-6284-48B9-9775-E51A475CAF89}"/>
                      </a:ext>
                    </a:extLst>
                  </p:cNvPr>
                  <p:cNvSpPr/>
                  <p:nvPr/>
                </p:nvSpPr>
                <p:spPr>
                  <a:xfrm>
                    <a:off x="7116589" y="1823088"/>
                    <a:ext cx="13086" cy="287991"/>
                  </a:xfrm>
                  <a:custGeom>
                    <a:avLst/>
                    <a:gdLst>
                      <a:gd name="connsiteX0" fmla="*/ 6543 w 13086"/>
                      <a:gd name="connsiteY0" fmla="*/ 287992 h 287991"/>
                      <a:gd name="connsiteX1" fmla="*/ 0 w 13086"/>
                      <a:gd name="connsiteY1" fmla="*/ 281448 h 287991"/>
                      <a:gd name="connsiteX2" fmla="*/ 0 w 13086"/>
                      <a:gd name="connsiteY2" fmla="*/ 6543 h 287991"/>
                      <a:gd name="connsiteX3" fmla="*/ 6543 w 13086"/>
                      <a:gd name="connsiteY3" fmla="*/ 0 h 287991"/>
                      <a:gd name="connsiteX4" fmla="*/ 13087 w 13086"/>
                      <a:gd name="connsiteY4" fmla="*/ 6543 h 287991"/>
                      <a:gd name="connsiteX5" fmla="*/ 13087 w 13086"/>
                      <a:gd name="connsiteY5" fmla="*/ 281422 h 287991"/>
                      <a:gd name="connsiteX6" fmla="*/ 6543 w 13086"/>
                      <a:gd name="connsiteY6" fmla="*/ 287992 h 28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6" h="287991">
                        <a:moveTo>
                          <a:pt x="6543" y="287992"/>
                        </a:moveTo>
                        <a:cubicBezTo>
                          <a:pt x="2917" y="287992"/>
                          <a:pt x="0" y="285049"/>
                          <a:pt x="0" y="281448"/>
                        </a:cubicBezTo>
                        <a:lnTo>
                          <a:pt x="0" y="6543"/>
                        </a:lnTo>
                        <a:cubicBezTo>
                          <a:pt x="0" y="2917"/>
                          <a:pt x="2917" y="0"/>
                          <a:pt x="6543" y="0"/>
                        </a:cubicBezTo>
                        <a:cubicBezTo>
                          <a:pt x="10170" y="0"/>
                          <a:pt x="13087" y="2917"/>
                          <a:pt x="13087" y="6543"/>
                        </a:cubicBezTo>
                        <a:lnTo>
                          <a:pt x="13087" y="281422"/>
                        </a:lnTo>
                        <a:cubicBezTo>
                          <a:pt x="13087" y="285049"/>
                          <a:pt x="10170" y="287992"/>
                          <a:pt x="6543" y="287992"/>
                        </a:cubicBezTo>
                        <a:close/>
                      </a:path>
                    </a:pathLst>
                  </a:custGeom>
                  <a:grpFill/>
                  <a:ln w="2624" cap="flat">
                    <a:noFill/>
                    <a:prstDash val="solid"/>
                    <a:miter/>
                  </a:ln>
                </p:spPr>
                <p:txBody>
                  <a:bodyPr rtlCol="0" anchor="ctr"/>
                  <a:lstStyle/>
                  <a:p>
                    <a:endParaRPr lang="en-GB" dirty="0"/>
                  </a:p>
                </p:txBody>
              </p:sp>
              <p:sp>
                <p:nvSpPr>
                  <p:cNvPr id="50" name="Freihandform: Form 846">
                    <a:extLst>
                      <a:ext uri="{FF2B5EF4-FFF2-40B4-BE49-F238E27FC236}">
                        <a16:creationId xmlns:a16="http://schemas.microsoft.com/office/drawing/2014/main" id="{1CB03278-67FC-4086-8C53-FE51348B8DC8}"/>
                      </a:ext>
                    </a:extLst>
                  </p:cNvPr>
                  <p:cNvSpPr/>
                  <p:nvPr/>
                </p:nvSpPr>
                <p:spPr>
                  <a:xfrm>
                    <a:off x="7038068" y="1947440"/>
                    <a:ext cx="52345" cy="163646"/>
                  </a:xfrm>
                  <a:custGeom>
                    <a:avLst/>
                    <a:gdLst>
                      <a:gd name="connsiteX0" fmla="*/ 45777 w 52345"/>
                      <a:gd name="connsiteY0" fmla="*/ 163639 h 163646"/>
                      <a:gd name="connsiteX1" fmla="*/ 39260 w 52345"/>
                      <a:gd name="connsiteY1" fmla="*/ 157648 h 163646"/>
                      <a:gd name="connsiteX2" fmla="*/ 26699 w 52345"/>
                      <a:gd name="connsiteY2" fmla="*/ 13087 h 163646"/>
                      <a:gd name="connsiteX3" fmla="*/ 25621 w 52345"/>
                      <a:gd name="connsiteY3" fmla="*/ 13087 h 163646"/>
                      <a:gd name="connsiteX4" fmla="*/ 13060 w 52345"/>
                      <a:gd name="connsiteY4" fmla="*/ 157648 h 163646"/>
                      <a:gd name="connsiteX5" fmla="*/ 5965 w 52345"/>
                      <a:gd name="connsiteY5" fmla="*/ 163613 h 163646"/>
                      <a:gd name="connsiteX6" fmla="*/ 25 w 52345"/>
                      <a:gd name="connsiteY6" fmla="*/ 156518 h 163646"/>
                      <a:gd name="connsiteX7" fmla="*/ 13112 w 52345"/>
                      <a:gd name="connsiteY7" fmla="*/ 5992 h 163646"/>
                      <a:gd name="connsiteX8" fmla="*/ 19629 w 52345"/>
                      <a:gd name="connsiteY8" fmla="*/ 0 h 163646"/>
                      <a:gd name="connsiteX9" fmla="*/ 32717 w 52345"/>
                      <a:gd name="connsiteY9" fmla="*/ 0 h 163646"/>
                      <a:gd name="connsiteX10" fmla="*/ 39234 w 52345"/>
                      <a:gd name="connsiteY10" fmla="*/ 5992 h 163646"/>
                      <a:gd name="connsiteX11" fmla="*/ 52321 w 52345"/>
                      <a:gd name="connsiteY11" fmla="*/ 156518 h 163646"/>
                      <a:gd name="connsiteX12" fmla="*/ 46381 w 52345"/>
                      <a:gd name="connsiteY12" fmla="*/ 163613 h 163646"/>
                      <a:gd name="connsiteX13" fmla="*/ 45777 w 52345"/>
                      <a:gd name="connsiteY13" fmla="*/ 163639 h 16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45" h="163646">
                        <a:moveTo>
                          <a:pt x="45777" y="163639"/>
                        </a:moveTo>
                        <a:cubicBezTo>
                          <a:pt x="42413" y="163639"/>
                          <a:pt x="39549" y="161064"/>
                          <a:pt x="39260" y="157648"/>
                        </a:cubicBezTo>
                        <a:lnTo>
                          <a:pt x="26699" y="13087"/>
                        </a:lnTo>
                        <a:lnTo>
                          <a:pt x="25621" y="13087"/>
                        </a:lnTo>
                        <a:lnTo>
                          <a:pt x="13060" y="157648"/>
                        </a:lnTo>
                        <a:cubicBezTo>
                          <a:pt x="12744" y="161248"/>
                          <a:pt x="9565" y="163981"/>
                          <a:pt x="5965" y="163613"/>
                        </a:cubicBezTo>
                        <a:cubicBezTo>
                          <a:pt x="2364" y="163298"/>
                          <a:pt x="-290" y="160118"/>
                          <a:pt x="25" y="156518"/>
                        </a:cubicBezTo>
                        <a:lnTo>
                          <a:pt x="13112" y="5992"/>
                        </a:lnTo>
                        <a:cubicBezTo>
                          <a:pt x="13401" y="2602"/>
                          <a:pt x="16240" y="0"/>
                          <a:pt x="19629" y="0"/>
                        </a:cubicBezTo>
                        <a:lnTo>
                          <a:pt x="32717" y="0"/>
                        </a:lnTo>
                        <a:cubicBezTo>
                          <a:pt x="36106" y="0"/>
                          <a:pt x="38945" y="2602"/>
                          <a:pt x="39234" y="5992"/>
                        </a:cubicBezTo>
                        <a:lnTo>
                          <a:pt x="52321" y="156518"/>
                        </a:lnTo>
                        <a:cubicBezTo>
                          <a:pt x="52636" y="160118"/>
                          <a:pt x="49956" y="163298"/>
                          <a:pt x="46381" y="163613"/>
                        </a:cubicBezTo>
                        <a:cubicBezTo>
                          <a:pt x="46171" y="163613"/>
                          <a:pt x="45987" y="163639"/>
                          <a:pt x="45777" y="163639"/>
                        </a:cubicBezTo>
                        <a:close/>
                      </a:path>
                    </a:pathLst>
                  </a:custGeom>
                  <a:grpFill/>
                  <a:ln w="2624" cap="flat">
                    <a:noFill/>
                    <a:prstDash val="solid"/>
                    <a:miter/>
                  </a:ln>
                </p:spPr>
                <p:txBody>
                  <a:bodyPr rtlCol="0" anchor="ctr"/>
                  <a:lstStyle/>
                  <a:p>
                    <a:endParaRPr lang="en-GB" dirty="0"/>
                  </a:p>
                </p:txBody>
              </p:sp>
              <p:sp>
                <p:nvSpPr>
                  <p:cNvPr id="51" name="Freihandform: Form 847">
                    <a:extLst>
                      <a:ext uri="{FF2B5EF4-FFF2-40B4-BE49-F238E27FC236}">
                        <a16:creationId xmlns:a16="http://schemas.microsoft.com/office/drawing/2014/main" id="{39B45AEE-C3E8-46BB-9E8F-2E6378096785}"/>
                      </a:ext>
                    </a:extLst>
                  </p:cNvPr>
                  <p:cNvSpPr/>
                  <p:nvPr/>
                </p:nvSpPr>
                <p:spPr>
                  <a:xfrm>
                    <a:off x="6998780" y="1919453"/>
                    <a:ext cx="13297" cy="191626"/>
                  </a:xfrm>
                  <a:custGeom>
                    <a:avLst/>
                    <a:gdLst>
                      <a:gd name="connsiteX0" fmla="*/ 6543 w 13297"/>
                      <a:gd name="connsiteY0" fmla="*/ 191627 h 191626"/>
                      <a:gd name="connsiteX1" fmla="*/ 6543 w 13297"/>
                      <a:gd name="connsiteY1" fmla="*/ 191627 h 191626"/>
                      <a:gd name="connsiteX2" fmla="*/ 0 w 13297"/>
                      <a:gd name="connsiteY2" fmla="*/ 185083 h 191626"/>
                      <a:gd name="connsiteX3" fmla="*/ 210 w 13297"/>
                      <a:gd name="connsiteY3" fmla="*/ 6543 h 191626"/>
                      <a:gd name="connsiteX4" fmla="*/ 6754 w 13297"/>
                      <a:gd name="connsiteY4" fmla="*/ 0 h 191626"/>
                      <a:gd name="connsiteX5" fmla="*/ 6754 w 13297"/>
                      <a:gd name="connsiteY5" fmla="*/ 0 h 191626"/>
                      <a:gd name="connsiteX6" fmla="*/ 13297 w 13297"/>
                      <a:gd name="connsiteY6" fmla="*/ 6543 h 191626"/>
                      <a:gd name="connsiteX7" fmla="*/ 13087 w 13297"/>
                      <a:gd name="connsiteY7" fmla="*/ 185083 h 191626"/>
                      <a:gd name="connsiteX8" fmla="*/ 6543 w 13297"/>
                      <a:gd name="connsiteY8" fmla="*/ 191627 h 191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97" h="191626">
                        <a:moveTo>
                          <a:pt x="6543" y="191627"/>
                        </a:moveTo>
                        <a:lnTo>
                          <a:pt x="6543" y="191627"/>
                        </a:lnTo>
                        <a:cubicBezTo>
                          <a:pt x="2917" y="191627"/>
                          <a:pt x="0" y="188683"/>
                          <a:pt x="0" y="185083"/>
                        </a:cubicBezTo>
                        <a:lnTo>
                          <a:pt x="210" y="6543"/>
                        </a:lnTo>
                        <a:cubicBezTo>
                          <a:pt x="210" y="2917"/>
                          <a:pt x="3154" y="0"/>
                          <a:pt x="6754" y="0"/>
                        </a:cubicBezTo>
                        <a:lnTo>
                          <a:pt x="6754" y="0"/>
                        </a:lnTo>
                        <a:cubicBezTo>
                          <a:pt x="10380" y="0"/>
                          <a:pt x="13297" y="2943"/>
                          <a:pt x="13297" y="6543"/>
                        </a:cubicBezTo>
                        <a:lnTo>
                          <a:pt x="13087" y="185083"/>
                        </a:lnTo>
                        <a:cubicBezTo>
                          <a:pt x="13087" y="188683"/>
                          <a:pt x="10170" y="191627"/>
                          <a:pt x="6543" y="191627"/>
                        </a:cubicBezTo>
                        <a:close/>
                      </a:path>
                    </a:pathLst>
                  </a:custGeom>
                  <a:grpFill/>
                  <a:ln w="2624" cap="flat">
                    <a:noFill/>
                    <a:prstDash val="solid"/>
                    <a:miter/>
                  </a:ln>
                </p:spPr>
                <p:txBody>
                  <a:bodyPr rtlCol="0" anchor="ctr"/>
                  <a:lstStyle/>
                  <a:p>
                    <a:endParaRPr lang="en-GB" dirty="0"/>
                  </a:p>
                </p:txBody>
              </p:sp>
              <p:sp>
                <p:nvSpPr>
                  <p:cNvPr id="52" name="Freihandform: Form 848">
                    <a:extLst>
                      <a:ext uri="{FF2B5EF4-FFF2-40B4-BE49-F238E27FC236}">
                        <a16:creationId xmlns:a16="http://schemas.microsoft.com/office/drawing/2014/main" id="{5F0D9B07-946B-4AD4-8AA1-3CC400C371A9}"/>
                      </a:ext>
                    </a:extLst>
                  </p:cNvPr>
                  <p:cNvSpPr/>
                  <p:nvPr/>
                </p:nvSpPr>
                <p:spPr>
                  <a:xfrm>
                    <a:off x="6966036" y="1744540"/>
                    <a:ext cx="196356" cy="222530"/>
                  </a:xfrm>
                  <a:custGeom>
                    <a:avLst/>
                    <a:gdLst>
                      <a:gd name="connsiteX0" fmla="*/ 179985 w 196356"/>
                      <a:gd name="connsiteY0" fmla="*/ 222531 h 222530"/>
                      <a:gd name="connsiteX1" fmla="*/ 176726 w 196356"/>
                      <a:gd name="connsiteY1" fmla="*/ 222531 h 222530"/>
                      <a:gd name="connsiteX2" fmla="*/ 170183 w 196356"/>
                      <a:gd name="connsiteY2" fmla="*/ 215987 h 222530"/>
                      <a:gd name="connsiteX3" fmla="*/ 176726 w 196356"/>
                      <a:gd name="connsiteY3" fmla="*/ 209444 h 222530"/>
                      <a:gd name="connsiteX4" fmla="*/ 179985 w 196356"/>
                      <a:gd name="connsiteY4" fmla="*/ 209444 h 222530"/>
                      <a:gd name="connsiteX5" fmla="*/ 183270 w 196356"/>
                      <a:gd name="connsiteY5" fmla="*/ 206159 h 222530"/>
                      <a:gd name="connsiteX6" fmla="*/ 183270 w 196356"/>
                      <a:gd name="connsiteY6" fmla="*/ 58471 h 222530"/>
                      <a:gd name="connsiteX7" fmla="*/ 141434 w 196356"/>
                      <a:gd name="connsiteY7" fmla="*/ 13218 h 222530"/>
                      <a:gd name="connsiteX8" fmla="*/ 104039 w 196356"/>
                      <a:gd name="connsiteY8" fmla="*/ 88035 h 222530"/>
                      <a:gd name="connsiteX9" fmla="*/ 92318 w 196356"/>
                      <a:gd name="connsiteY9" fmla="*/ 88035 h 222530"/>
                      <a:gd name="connsiteX10" fmla="*/ 54950 w 196356"/>
                      <a:gd name="connsiteY10" fmla="*/ 13271 h 222530"/>
                      <a:gd name="connsiteX11" fmla="*/ 13087 w 196356"/>
                      <a:gd name="connsiteY11" fmla="*/ 58471 h 222530"/>
                      <a:gd name="connsiteX12" fmla="*/ 6544 w 196356"/>
                      <a:gd name="connsiteY12" fmla="*/ 65014 h 222530"/>
                      <a:gd name="connsiteX13" fmla="*/ 0 w 196356"/>
                      <a:gd name="connsiteY13" fmla="*/ 58471 h 222530"/>
                      <a:gd name="connsiteX14" fmla="*/ 58471 w 196356"/>
                      <a:gd name="connsiteY14" fmla="*/ 0 h 222530"/>
                      <a:gd name="connsiteX15" fmla="*/ 64752 w 196356"/>
                      <a:gd name="connsiteY15" fmla="*/ 3627 h 222530"/>
                      <a:gd name="connsiteX16" fmla="*/ 98179 w 196356"/>
                      <a:gd name="connsiteY16" fmla="*/ 70454 h 222530"/>
                      <a:gd name="connsiteX17" fmla="*/ 131605 w 196356"/>
                      <a:gd name="connsiteY17" fmla="*/ 3627 h 222530"/>
                      <a:gd name="connsiteX18" fmla="*/ 137466 w 196356"/>
                      <a:gd name="connsiteY18" fmla="*/ 0 h 222530"/>
                      <a:gd name="connsiteX19" fmla="*/ 196357 w 196356"/>
                      <a:gd name="connsiteY19" fmla="*/ 58471 h 222530"/>
                      <a:gd name="connsiteX20" fmla="*/ 196357 w 196356"/>
                      <a:gd name="connsiteY20" fmla="*/ 206159 h 222530"/>
                      <a:gd name="connsiteX21" fmla="*/ 179985 w 196356"/>
                      <a:gd name="connsiteY21" fmla="*/ 222531 h 222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6356" h="222530">
                        <a:moveTo>
                          <a:pt x="179985" y="222531"/>
                        </a:moveTo>
                        <a:lnTo>
                          <a:pt x="176726" y="222531"/>
                        </a:lnTo>
                        <a:cubicBezTo>
                          <a:pt x="173100" y="222531"/>
                          <a:pt x="170183" y="219588"/>
                          <a:pt x="170183" y="215987"/>
                        </a:cubicBezTo>
                        <a:cubicBezTo>
                          <a:pt x="170183" y="212361"/>
                          <a:pt x="173100" y="209444"/>
                          <a:pt x="176726" y="209444"/>
                        </a:cubicBezTo>
                        <a:lnTo>
                          <a:pt x="179985" y="209444"/>
                        </a:lnTo>
                        <a:cubicBezTo>
                          <a:pt x="181798" y="209444"/>
                          <a:pt x="183270" y="207972"/>
                          <a:pt x="183270" y="206159"/>
                        </a:cubicBezTo>
                        <a:lnTo>
                          <a:pt x="183270" y="58471"/>
                        </a:lnTo>
                        <a:cubicBezTo>
                          <a:pt x="183270" y="34636"/>
                          <a:pt x="164796" y="15032"/>
                          <a:pt x="141434" y="13218"/>
                        </a:cubicBezTo>
                        <a:lnTo>
                          <a:pt x="104039" y="88035"/>
                        </a:lnTo>
                        <a:cubicBezTo>
                          <a:pt x="101805" y="92476"/>
                          <a:pt x="94552" y="92476"/>
                          <a:pt x="92318" y="88035"/>
                        </a:cubicBezTo>
                        <a:lnTo>
                          <a:pt x="54950" y="13271"/>
                        </a:lnTo>
                        <a:cubicBezTo>
                          <a:pt x="31377" y="15242"/>
                          <a:pt x="13087" y="34767"/>
                          <a:pt x="13087" y="58471"/>
                        </a:cubicBezTo>
                        <a:cubicBezTo>
                          <a:pt x="13087" y="62097"/>
                          <a:pt x="10170" y="65014"/>
                          <a:pt x="6544" y="65014"/>
                        </a:cubicBezTo>
                        <a:cubicBezTo>
                          <a:pt x="2917" y="65014"/>
                          <a:pt x="0" y="62071"/>
                          <a:pt x="0" y="58471"/>
                        </a:cubicBezTo>
                        <a:cubicBezTo>
                          <a:pt x="0" y="26226"/>
                          <a:pt x="26227" y="0"/>
                          <a:pt x="58471" y="0"/>
                        </a:cubicBezTo>
                        <a:cubicBezTo>
                          <a:pt x="60941" y="0"/>
                          <a:pt x="63648" y="1393"/>
                          <a:pt x="64752" y="3627"/>
                        </a:cubicBezTo>
                        <a:lnTo>
                          <a:pt x="98179" y="70454"/>
                        </a:lnTo>
                        <a:lnTo>
                          <a:pt x="131605" y="3627"/>
                        </a:lnTo>
                        <a:cubicBezTo>
                          <a:pt x="132709" y="1419"/>
                          <a:pt x="134969" y="0"/>
                          <a:pt x="137466" y="0"/>
                        </a:cubicBezTo>
                        <a:cubicBezTo>
                          <a:pt x="170130" y="0"/>
                          <a:pt x="196357" y="26226"/>
                          <a:pt x="196357" y="58471"/>
                        </a:cubicBezTo>
                        <a:lnTo>
                          <a:pt x="196357" y="206159"/>
                        </a:lnTo>
                        <a:cubicBezTo>
                          <a:pt x="196357" y="215199"/>
                          <a:pt x="189025" y="222531"/>
                          <a:pt x="179985" y="222531"/>
                        </a:cubicBezTo>
                        <a:close/>
                      </a:path>
                    </a:pathLst>
                  </a:custGeom>
                  <a:grpFill/>
                  <a:ln w="2624" cap="flat">
                    <a:noFill/>
                    <a:prstDash val="solid"/>
                    <a:miter/>
                  </a:ln>
                </p:spPr>
                <p:txBody>
                  <a:bodyPr rtlCol="0" anchor="ctr"/>
                  <a:lstStyle/>
                  <a:p>
                    <a:endParaRPr lang="en-GB" dirty="0"/>
                  </a:p>
                </p:txBody>
              </p:sp>
              <p:sp>
                <p:nvSpPr>
                  <p:cNvPr id="53" name="Freihandform: Form 849">
                    <a:extLst>
                      <a:ext uri="{FF2B5EF4-FFF2-40B4-BE49-F238E27FC236}">
                        <a16:creationId xmlns:a16="http://schemas.microsoft.com/office/drawing/2014/main" id="{8F282BB9-DAE3-4C1F-BFAB-AA3E374C0A9E}"/>
                      </a:ext>
                    </a:extLst>
                  </p:cNvPr>
                  <p:cNvSpPr/>
                  <p:nvPr/>
                </p:nvSpPr>
                <p:spPr>
                  <a:xfrm>
                    <a:off x="7051154" y="1744566"/>
                    <a:ext cx="26173" cy="13086"/>
                  </a:xfrm>
                  <a:custGeom>
                    <a:avLst/>
                    <a:gdLst>
                      <a:gd name="connsiteX0" fmla="*/ 19631 w 26173"/>
                      <a:gd name="connsiteY0" fmla="*/ 13087 h 13086"/>
                      <a:gd name="connsiteX1" fmla="*/ 6543 w 26173"/>
                      <a:gd name="connsiteY1" fmla="*/ 13087 h 13086"/>
                      <a:gd name="connsiteX2" fmla="*/ 0 w 26173"/>
                      <a:gd name="connsiteY2" fmla="*/ 6543 h 13086"/>
                      <a:gd name="connsiteX3" fmla="*/ 6543 w 26173"/>
                      <a:gd name="connsiteY3" fmla="*/ 0 h 13086"/>
                      <a:gd name="connsiteX4" fmla="*/ 19631 w 26173"/>
                      <a:gd name="connsiteY4" fmla="*/ 0 h 13086"/>
                      <a:gd name="connsiteX5" fmla="*/ 26174 w 26173"/>
                      <a:gd name="connsiteY5" fmla="*/ 6543 h 13086"/>
                      <a:gd name="connsiteX6" fmla="*/ 19631 w 26173"/>
                      <a:gd name="connsiteY6" fmla="*/ 13087 h 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73" h="13086">
                        <a:moveTo>
                          <a:pt x="19631" y="13087"/>
                        </a:moveTo>
                        <a:lnTo>
                          <a:pt x="6543" y="13087"/>
                        </a:lnTo>
                        <a:cubicBezTo>
                          <a:pt x="2917" y="13087"/>
                          <a:pt x="0" y="10144"/>
                          <a:pt x="0" y="6543"/>
                        </a:cubicBezTo>
                        <a:cubicBezTo>
                          <a:pt x="0" y="2917"/>
                          <a:pt x="2917" y="0"/>
                          <a:pt x="6543" y="0"/>
                        </a:cubicBezTo>
                        <a:lnTo>
                          <a:pt x="19631" y="0"/>
                        </a:lnTo>
                        <a:cubicBezTo>
                          <a:pt x="23257" y="0"/>
                          <a:pt x="26174" y="2917"/>
                          <a:pt x="26174" y="6543"/>
                        </a:cubicBezTo>
                        <a:cubicBezTo>
                          <a:pt x="26174" y="10144"/>
                          <a:pt x="23231" y="13087"/>
                          <a:pt x="19631" y="13087"/>
                        </a:cubicBezTo>
                        <a:close/>
                      </a:path>
                    </a:pathLst>
                  </a:custGeom>
                  <a:grpFill/>
                  <a:ln w="2624" cap="flat">
                    <a:noFill/>
                    <a:prstDash val="solid"/>
                    <a:miter/>
                  </a:ln>
                </p:spPr>
                <p:txBody>
                  <a:bodyPr rtlCol="0" anchor="ctr"/>
                  <a:lstStyle/>
                  <a:p>
                    <a:endParaRPr lang="en-GB" dirty="0"/>
                  </a:p>
                </p:txBody>
              </p:sp>
              <p:sp>
                <p:nvSpPr>
                  <p:cNvPr id="54" name="Freihandform: Form 850">
                    <a:extLst>
                      <a:ext uri="{FF2B5EF4-FFF2-40B4-BE49-F238E27FC236}">
                        <a16:creationId xmlns:a16="http://schemas.microsoft.com/office/drawing/2014/main" id="{39C9F124-02D2-40B6-BA4F-311039317830}"/>
                      </a:ext>
                    </a:extLst>
                  </p:cNvPr>
                  <p:cNvSpPr/>
                  <p:nvPr/>
                </p:nvSpPr>
                <p:spPr>
                  <a:xfrm>
                    <a:off x="7057698" y="1744540"/>
                    <a:ext cx="13087" cy="85091"/>
                  </a:xfrm>
                  <a:custGeom>
                    <a:avLst/>
                    <a:gdLst>
                      <a:gd name="connsiteX0" fmla="*/ 6544 w 13087"/>
                      <a:gd name="connsiteY0" fmla="*/ 85091 h 85091"/>
                      <a:gd name="connsiteX1" fmla="*/ 0 w 13087"/>
                      <a:gd name="connsiteY1" fmla="*/ 78548 h 85091"/>
                      <a:gd name="connsiteX2" fmla="*/ 0 w 13087"/>
                      <a:gd name="connsiteY2" fmla="*/ 6543 h 85091"/>
                      <a:gd name="connsiteX3" fmla="*/ 6544 w 13087"/>
                      <a:gd name="connsiteY3" fmla="*/ 0 h 85091"/>
                      <a:gd name="connsiteX4" fmla="*/ 13087 w 13087"/>
                      <a:gd name="connsiteY4" fmla="*/ 6543 h 85091"/>
                      <a:gd name="connsiteX5" fmla="*/ 13087 w 13087"/>
                      <a:gd name="connsiteY5" fmla="*/ 78548 h 85091"/>
                      <a:gd name="connsiteX6" fmla="*/ 6544 w 13087"/>
                      <a:gd name="connsiteY6" fmla="*/ 85091 h 85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7" h="85091">
                        <a:moveTo>
                          <a:pt x="6544" y="85091"/>
                        </a:moveTo>
                        <a:cubicBezTo>
                          <a:pt x="2917" y="85091"/>
                          <a:pt x="0" y="82148"/>
                          <a:pt x="0" y="78548"/>
                        </a:cubicBezTo>
                        <a:lnTo>
                          <a:pt x="0" y="6543"/>
                        </a:lnTo>
                        <a:cubicBezTo>
                          <a:pt x="0" y="2917"/>
                          <a:pt x="2917" y="0"/>
                          <a:pt x="6544" y="0"/>
                        </a:cubicBezTo>
                        <a:cubicBezTo>
                          <a:pt x="10170" y="0"/>
                          <a:pt x="13087" y="2917"/>
                          <a:pt x="13087" y="6543"/>
                        </a:cubicBezTo>
                        <a:lnTo>
                          <a:pt x="13087" y="78548"/>
                        </a:lnTo>
                        <a:cubicBezTo>
                          <a:pt x="13087" y="82174"/>
                          <a:pt x="10144" y="85091"/>
                          <a:pt x="6544" y="85091"/>
                        </a:cubicBezTo>
                        <a:close/>
                      </a:path>
                    </a:pathLst>
                  </a:custGeom>
                  <a:grpFill/>
                  <a:ln w="2624" cap="flat">
                    <a:noFill/>
                    <a:prstDash val="solid"/>
                    <a:miter/>
                  </a:ln>
                </p:spPr>
                <p:txBody>
                  <a:bodyPr rtlCol="0" anchor="ctr"/>
                  <a:lstStyle/>
                  <a:p>
                    <a:endParaRPr lang="en-GB" dirty="0"/>
                  </a:p>
                </p:txBody>
              </p:sp>
            </p:grpSp>
          </p:grpSp>
        </p:grpSp>
      </p:grpSp>
      <p:grpSp>
        <p:nvGrpSpPr>
          <p:cNvPr id="37" name="Group 36">
            <a:extLst>
              <a:ext uri="{FF2B5EF4-FFF2-40B4-BE49-F238E27FC236}">
                <a16:creationId xmlns:a16="http://schemas.microsoft.com/office/drawing/2014/main" id="{4FD8E02A-82ED-39D4-23B9-FBFFE7B1D71D}"/>
              </a:ext>
            </a:extLst>
          </p:cNvPr>
          <p:cNvGrpSpPr/>
          <p:nvPr/>
        </p:nvGrpSpPr>
        <p:grpSpPr>
          <a:xfrm>
            <a:off x="1623484" y="1585984"/>
            <a:ext cx="432000" cy="432000"/>
            <a:chOff x="1623484" y="1585984"/>
            <a:chExt cx="432000" cy="432000"/>
          </a:xfrm>
        </p:grpSpPr>
        <p:grpSp>
          <p:nvGrpSpPr>
            <p:cNvPr id="67" name="Grafik 16">
              <a:extLst>
                <a:ext uri="{FF2B5EF4-FFF2-40B4-BE49-F238E27FC236}">
                  <a16:creationId xmlns:a16="http://schemas.microsoft.com/office/drawing/2014/main" id="{E124B81E-70C8-46BF-96A6-D67954EC0840}"/>
                </a:ext>
              </a:extLst>
            </p:cNvPr>
            <p:cNvGrpSpPr/>
            <p:nvPr/>
          </p:nvGrpSpPr>
          <p:grpSpPr>
            <a:xfrm>
              <a:off x="1626719" y="1845395"/>
              <a:ext cx="427265" cy="172589"/>
              <a:chOff x="6138537" y="3515746"/>
              <a:chExt cx="479013" cy="193492"/>
            </a:xfrm>
            <a:solidFill>
              <a:schemeClr val="accent1"/>
            </a:solidFill>
          </p:grpSpPr>
          <p:grpSp>
            <p:nvGrpSpPr>
              <p:cNvPr id="74" name="Grafik 16">
                <a:extLst>
                  <a:ext uri="{FF2B5EF4-FFF2-40B4-BE49-F238E27FC236}">
                    <a16:creationId xmlns:a16="http://schemas.microsoft.com/office/drawing/2014/main" id="{F129ED86-ECA9-4E84-BA20-19A70CD145A7}"/>
                  </a:ext>
                </a:extLst>
              </p:cNvPr>
              <p:cNvGrpSpPr/>
              <p:nvPr/>
            </p:nvGrpSpPr>
            <p:grpSpPr>
              <a:xfrm>
                <a:off x="6138537" y="3624147"/>
                <a:ext cx="168133" cy="85091"/>
                <a:chOff x="6138537" y="3624147"/>
                <a:chExt cx="168133" cy="85091"/>
              </a:xfrm>
              <a:solidFill>
                <a:schemeClr val="accent1"/>
              </a:solidFill>
            </p:grpSpPr>
            <p:sp>
              <p:nvSpPr>
                <p:cNvPr id="102" name="Freihandform: Form 976">
                  <a:extLst>
                    <a:ext uri="{FF2B5EF4-FFF2-40B4-BE49-F238E27FC236}">
                      <a16:creationId xmlns:a16="http://schemas.microsoft.com/office/drawing/2014/main" id="{4F00643D-EF73-486D-B10E-08F6EA94CFB8}"/>
                    </a:ext>
                  </a:extLst>
                </p:cNvPr>
                <p:cNvSpPr/>
                <p:nvPr/>
              </p:nvSpPr>
              <p:spPr>
                <a:xfrm>
                  <a:off x="6138537" y="3624147"/>
                  <a:ext cx="168133" cy="57393"/>
                </a:xfrm>
                <a:custGeom>
                  <a:avLst/>
                  <a:gdLst>
                    <a:gd name="connsiteX0" fmla="*/ 84067 w 168133"/>
                    <a:gd name="connsiteY0" fmla="*/ 57393 h 57393"/>
                    <a:gd name="connsiteX1" fmla="*/ 0 w 168133"/>
                    <a:gd name="connsiteY1" fmla="*/ 28697 h 57393"/>
                    <a:gd name="connsiteX2" fmla="*/ 84067 w 168133"/>
                    <a:gd name="connsiteY2" fmla="*/ 0 h 57393"/>
                    <a:gd name="connsiteX3" fmla="*/ 168133 w 168133"/>
                    <a:gd name="connsiteY3" fmla="*/ 28697 h 57393"/>
                    <a:gd name="connsiteX4" fmla="*/ 84067 w 168133"/>
                    <a:gd name="connsiteY4" fmla="*/ 57393 h 57393"/>
                    <a:gd name="connsiteX5" fmla="*/ 84067 w 168133"/>
                    <a:gd name="connsiteY5" fmla="*/ 13087 h 57393"/>
                    <a:gd name="connsiteX6" fmla="*/ 13087 w 168133"/>
                    <a:gd name="connsiteY6" fmla="*/ 28697 h 57393"/>
                    <a:gd name="connsiteX7" fmla="*/ 84067 w 168133"/>
                    <a:gd name="connsiteY7" fmla="*/ 44306 h 57393"/>
                    <a:gd name="connsiteX8" fmla="*/ 155046 w 168133"/>
                    <a:gd name="connsiteY8" fmla="*/ 28697 h 57393"/>
                    <a:gd name="connsiteX9" fmla="*/ 84067 w 168133"/>
                    <a:gd name="connsiteY9" fmla="*/ 13087 h 57393"/>
                    <a:gd name="connsiteX10" fmla="*/ 155046 w 168133"/>
                    <a:gd name="connsiteY10" fmla="*/ 28697 h 57393"/>
                    <a:gd name="connsiteX11" fmla="*/ 155125 w 168133"/>
                    <a:gd name="connsiteY11" fmla="*/ 28697 h 57393"/>
                    <a:gd name="connsiteX12" fmla="*/ 155046 w 168133"/>
                    <a:gd name="connsiteY12" fmla="*/ 28697 h 5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57393">
                      <a:moveTo>
                        <a:pt x="84067" y="57393"/>
                      </a:moveTo>
                      <a:cubicBezTo>
                        <a:pt x="43571" y="57393"/>
                        <a:pt x="0" y="48406"/>
                        <a:pt x="0" y="28697"/>
                      </a:cubicBezTo>
                      <a:cubicBezTo>
                        <a:pt x="0" y="8987"/>
                        <a:pt x="43571" y="0"/>
                        <a:pt x="84067" y="0"/>
                      </a:cubicBezTo>
                      <a:cubicBezTo>
                        <a:pt x="124563" y="0"/>
                        <a:pt x="168133" y="8987"/>
                        <a:pt x="168133" y="28697"/>
                      </a:cubicBezTo>
                      <a:cubicBezTo>
                        <a:pt x="168133" y="48406"/>
                        <a:pt x="124563" y="57393"/>
                        <a:pt x="84067" y="57393"/>
                      </a:cubicBezTo>
                      <a:close/>
                      <a:moveTo>
                        <a:pt x="84067" y="13087"/>
                      </a:moveTo>
                      <a:cubicBezTo>
                        <a:pt x="38446" y="13087"/>
                        <a:pt x="13639" y="24019"/>
                        <a:pt x="13087" y="28697"/>
                      </a:cubicBezTo>
                      <a:cubicBezTo>
                        <a:pt x="13639" y="33348"/>
                        <a:pt x="38446" y="44306"/>
                        <a:pt x="84067" y="44306"/>
                      </a:cubicBezTo>
                      <a:cubicBezTo>
                        <a:pt x="129661" y="44306"/>
                        <a:pt x="154468" y="33374"/>
                        <a:pt x="155046" y="28697"/>
                      </a:cubicBezTo>
                      <a:cubicBezTo>
                        <a:pt x="154468" y="24019"/>
                        <a:pt x="129661" y="13087"/>
                        <a:pt x="84067" y="13087"/>
                      </a:cubicBezTo>
                      <a:close/>
                      <a:moveTo>
                        <a:pt x="155046" y="28697"/>
                      </a:moveTo>
                      <a:lnTo>
                        <a:pt x="155125" y="28697"/>
                      </a:lnTo>
                      <a:lnTo>
                        <a:pt x="155046" y="28697"/>
                      </a:lnTo>
                      <a:close/>
                    </a:path>
                  </a:pathLst>
                </a:custGeom>
                <a:solidFill>
                  <a:schemeClr val="accent1"/>
                </a:solidFill>
                <a:ln w="2624" cap="flat">
                  <a:noFill/>
                  <a:prstDash val="solid"/>
                  <a:miter/>
                </a:ln>
              </p:spPr>
              <p:txBody>
                <a:bodyPr rtlCol="0" anchor="ctr"/>
                <a:lstStyle/>
                <a:p>
                  <a:endParaRPr lang="en-GB" dirty="0"/>
                </a:p>
              </p:txBody>
            </p:sp>
            <p:sp>
              <p:nvSpPr>
                <p:cNvPr id="103" name="Freihandform: Form 977">
                  <a:extLst>
                    <a:ext uri="{FF2B5EF4-FFF2-40B4-BE49-F238E27FC236}">
                      <a16:creationId xmlns:a16="http://schemas.microsoft.com/office/drawing/2014/main" id="{3DCC6D3F-6A80-4F2D-93F4-6310FCD1BD36}"/>
                    </a:ext>
                  </a:extLst>
                </p:cNvPr>
                <p:cNvSpPr/>
                <p:nvPr/>
              </p:nvSpPr>
              <p:spPr>
                <a:xfrm>
                  <a:off x="6138537" y="3646300"/>
                  <a:ext cx="168133" cy="62938"/>
                </a:xfrm>
                <a:custGeom>
                  <a:avLst/>
                  <a:gdLst>
                    <a:gd name="connsiteX0" fmla="*/ 84067 w 168133"/>
                    <a:gd name="connsiteY0" fmla="*/ 62938 h 62938"/>
                    <a:gd name="connsiteX1" fmla="*/ 0 w 168133"/>
                    <a:gd name="connsiteY1" fmla="*/ 34242 h 62938"/>
                    <a:gd name="connsiteX2" fmla="*/ 0 w 168133"/>
                    <a:gd name="connsiteY2" fmla="*/ 6543 h 62938"/>
                    <a:gd name="connsiteX3" fmla="*/ 6544 w 168133"/>
                    <a:gd name="connsiteY3" fmla="*/ 0 h 62938"/>
                    <a:gd name="connsiteX4" fmla="*/ 13087 w 168133"/>
                    <a:gd name="connsiteY4" fmla="*/ 6543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3"/>
                      </a:lnTo>
                      <a:cubicBezTo>
                        <a:pt x="0" y="2917"/>
                        <a:pt x="2943" y="0"/>
                        <a:pt x="6544" y="0"/>
                      </a:cubicBezTo>
                      <a:cubicBezTo>
                        <a:pt x="10170" y="0"/>
                        <a:pt x="13087" y="2917"/>
                        <a:pt x="13087" y="6543"/>
                      </a:cubicBezTo>
                      <a:lnTo>
                        <a:pt x="13087" y="34242"/>
                      </a:lnTo>
                      <a:cubicBezTo>
                        <a:pt x="13639" y="38919"/>
                        <a:pt x="38446" y="49851"/>
                        <a:pt x="84067" y="49851"/>
                      </a:cubicBezTo>
                      <a:cubicBezTo>
                        <a:pt x="129687" y="49851"/>
                        <a:pt x="154494" y="38919"/>
                        <a:pt x="155046" y="34242"/>
                      </a:cubicBezTo>
                      <a:lnTo>
                        <a:pt x="155046" y="6570"/>
                      </a:lnTo>
                      <a:cubicBezTo>
                        <a:pt x="155046" y="2943"/>
                        <a:pt x="157990" y="26"/>
                        <a:pt x="161590" y="26"/>
                      </a:cubicBezTo>
                      <a:cubicBezTo>
                        <a:pt x="165190" y="26"/>
                        <a:pt x="168133" y="2943"/>
                        <a:pt x="168133" y="6570"/>
                      </a:cubicBezTo>
                      <a:lnTo>
                        <a:pt x="168133" y="34268"/>
                      </a:lnTo>
                      <a:cubicBezTo>
                        <a:pt x="168133" y="53951"/>
                        <a:pt x="124563"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75" name="Grafik 16">
                <a:extLst>
                  <a:ext uri="{FF2B5EF4-FFF2-40B4-BE49-F238E27FC236}">
                    <a16:creationId xmlns:a16="http://schemas.microsoft.com/office/drawing/2014/main" id="{8281C1E8-FF58-4EAE-8835-34DB63225FD3}"/>
                  </a:ext>
                </a:extLst>
              </p:cNvPr>
              <p:cNvGrpSpPr/>
              <p:nvPr/>
            </p:nvGrpSpPr>
            <p:grpSpPr>
              <a:xfrm>
                <a:off x="6293977" y="3646300"/>
                <a:ext cx="168133" cy="62938"/>
                <a:chOff x="6293977" y="3646300"/>
                <a:chExt cx="168133" cy="62938"/>
              </a:xfrm>
              <a:solidFill>
                <a:schemeClr val="accent1"/>
              </a:solidFill>
            </p:grpSpPr>
            <p:sp>
              <p:nvSpPr>
                <p:cNvPr id="100" name="Freihandform: Form 979">
                  <a:extLst>
                    <a:ext uri="{FF2B5EF4-FFF2-40B4-BE49-F238E27FC236}">
                      <a16:creationId xmlns:a16="http://schemas.microsoft.com/office/drawing/2014/main" id="{2320BF47-EB01-4190-B998-A4AF96FE071C}"/>
                    </a:ext>
                  </a:extLst>
                </p:cNvPr>
                <p:cNvSpPr/>
                <p:nvPr/>
              </p:nvSpPr>
              <p:spPr>
                <a:xfrm>
                  <a:off x="6293977" y="3646300"/>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53"/>
                        <a:pt x="124563"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101" name="Freihandform: Form 980">
                  <a:extLst>
                    <a:ext uri="{FF2B5EF4-FFF2-40B4-BE49-F238E27FC236}">
                      <a16:creationId xmlns:a16="http://schemas.microsoft.com/office/drawing/2014/main" id="{FC872605-277C-4E93-83D3-8A28F17049A5}"/>
                    </a:ext>
                  </a:extLst>
                </p:cNvPr>
                <p:cNvSpPr/>
                <p:nvPr/>
              </p:nvSpPr>
              <p:spPr>
                <a:xfrm>
                  <a:off x="6293977" y="3646300"/>
                  <a:ext cx="168133" cy="62938"/>
                </a:xfrm>
                <a:custGeom>
                  <a:avLst/>
                  <a:gdLst>
                    <a:gd name="connsiteX0" fmla="*/ 84067 w 168133"/>
                    <a:gd name="connsiteY0" fmla="*/ 62938 h 62938"/>
                    <a:gd name="connsiteX1" fmla="*/ 0 w 168133"/>
                    <a:gd name="connsiteY1" fmla="*/ 34242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3"/>
                      </a:lnTo>
                      <a:cubicBezTo>
                        <a:pt x="0" y="2917"/>
                        <a:pt x="2943" y="0"/>
                        <a:pt x="6543" y="0"/>
                      </a:cubicBezTo>
                      <a:cubicBezTo>
                        <a:pt x="10170" y="0"/>
                        <a:pt x="13087" y="2917"/>
                        <a:pt x="13087" y="6543"/>
                      </a:cubicBezTo>
                      <a:lnTo>
                        <a:pt x="13087" y="34242"/>
                      </a:lnTo>
                      <a:cubicBezTo>
                        <a:pt x="13639" y="38919"/>
                        <a:pt x="38446" y="49851"/>
                        <a:pt x="84067" y="49851"/>
                      </a:cubicBezTo>
                      <a:cubicBezTo>
                        <a:pt x="129687" y="49851"/>
                        <a:pt x="154494" y="38919"/>
                        <a:pt x="155046" y="34242"/>
                      </a:cubicBezTo>
                      <a:lnTo>
                        <a:pt x="155046" y="6570"/>
                      </a:lnTo>
                      <a:cubicBezTo>
                        <a:pt x="155046" y="2943"/>
                        <a:pt x="157989" y="26"/>
                        <a:pt x="161590" y="26"/>
                      </a:cubicBezTo>
                      <a:cubicBezTo>
                        <a:pt x="165190" y="26"/>
                        <a:pt x="168133" y="2943"/>
                        <a:pt x="168133" y="6570"/>
                      </a:cubicBezTo>
                      <a:lnTo>
                        <a:pt x="168133" y="34268"/>
                      </a:lnTo>
                      <a:cubicBezTo>
                        <a:pt x="168133" y="53951"/>
                        <a:pt x="124563"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76" name="Grafik 16">
                <a:extLst>
                  <a:ext uri="{FF2B5EF4-FFF2-40B4-BE49-F238E27FC236}">
                    <a16:creationId xmlns:a16="http://schemas.microsoft.com/office/drawing/2014/main" id="{3A0DDB1C-1FC6-46B7-88C5-C9D6E4C97A7E}"/>
                  </a:ext>
                </a:extLst>
              </p:cNvPr>
              <p:cNvGrpSpPr/>
              <p:nvPr/>
            </p:nvGrpSpPr>
            <p:grpSpPr>
              <a:xfrm>
                <a:off x="6293977" y="3570144"/>
                <a:ext cx="168133" cy="112079"/>
                <a:chOff x="6293977" y="3570144"/>
                <a:chExt cx="168133" cy="112079"/>
              </a:xfrm>
              <a:solidFill>
                <a:schemeClr val="accent1"/>
              </a:solidFill>
            </p:grpSpPr>
            <p:grpSp>
              <p:nvGrpSpPr>
                <p:cNvPr id="94" name="Grafik 16">
                  <a:extLst>
                    <a:ext uri="{FF2B5EF4-FFF2-40B4-BE49-F238E27FC236}">
                      <a16:creationId xmlns:a16="http://schemas.microsoft.com/office/drawing/2014/main" id="{6B177D12-5A2B-4399-951F-6BBB9A8FDD18}"/>
                    </a:ext>
                  </a:extLst>
                </p:cNvPr>
                <p:cNvGrpSpPr/>
                <p:nvPr/>
              </p:nvGrpSpPr>
              <p:grpSpPr>
                <a:xfrm>
                  <a:off x="6293977" y="3619285"/>
                  <a:ext cx="168133" cy="62938"/>
                  <a:chOff x="6293977" y="3619285"/>
                  <a:chExt cx="168133" cy="62938"/>
                </a:xfrm>
                <a:solidFill>
                  <a:schemeClr val="accent1"/>
                </a:solidFill>
              </p:grpSpPr>
              <p:sp>
                <p:nvSpPr>
                  <p:cNvPr id="98" name="Freihandform: Form 983">
                    <a:extLst>
                      <a:ext uri="{FF2B5EF4-FFF2-40B4-BE49-F238E27FC236}">
                        <a16:creationId xmlns:a16="http://schemas.microsoft.com/office/drawing/2014/main" id="{41F3CA2B-9F7B-4A41-8CA6-CD056BB8ADDD}"/>
                      </a:ext>
                    </a:extLst>
                  </p:cNvPr>
                  <p:cNvSpPr/>
                  <p:nvPr/>
                </p:nvSpPr>
                <p:spPr>
                  <a:xfrm>
                    <a:off x="6293977" y="3619312"/>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53"/>
                          <a:pt x="124563"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99" name="Freihandform: Form 984">
                    <a:extLst>
                      <a:ext uri="{FF2B5EF4-FFF2-40B4-BE49-F238E27FC236}">
                        <a16:creationId xmlns:a16="http://schemas.microsoft.com/office/drawing/2014/main" id="{F670DDD9-1882-4332-9B22-33B934AB12D0}"/>
                      </a:ext>
                    </a:extLst>
                  </p:cNvPr>
                  <p:cNvSpPr/>
                  <p:nvPr/>
                </p:nvSpPr>
                <p:spPr>
                  <a:xfrm>
                    <a:off x="6293977" y="3619285"/>
                    <a:ext cx="168133" cy="62938"/>
                  </a:xfrm>
                  <a:custGeom>
                    <a:avLst/>
                    <a:gdLst>
                      <a:gd name="connsiteX0" fmla="*/ 84067 w 168133"/>
                      <a:gd name="connsiteY0" fmla="*/ 62938 h 62938"/>
                      <a:gd name="connsiteX1" fmla="*/ 0 w 168133"/>
                      <a:gd name="connsiteY1" fmla="*/ 34242 h 62938"/>
                      <a:gd name="connsiteX2" fmla="*/ 0 w 168133"/>
                      <a:gd name="connsiteY2" fmla="*/ 6544 h 62938"/>
                      <a:gd name="connsiteX3" fmla="*/ 6543 w 168133"/>
                      <a:gd name="connsiteY3" fmla="*/ 0 h 62938"/>
                      <a:gd name="connsiteX4" fmla="*/ 13087 w 168133"/>
                      <a:gd name="connsiteY4" fmla="*/ 6544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4"/>
                        </a:lnTo>
                        <a:cubicBezTo>
                          <a:pt x="0" y="2917"/>
                          <a:pt x="2943" y="0"/>
                          <a:pt x="6543" y="0"/>
                        </a:cubicBezTo>
                        <a:cubicBezTo>
                          <a:pt x="10170" y="0"/>
                          <a:pt x="13087" y="2917"/>
                          <a:pt x="13087" y="6544"/>
                        </a:cubicBezTo>
                        <a:lnTo>
                          <a:pt x="13087" y="34242"/>
                        </a:lnTo>
                        <a:cubicBezTo>
                          <a:pt x="13639" y="38919"/>
                          <a:pt x="38446" y="49851"/>
                          <a:pt x="84067" y="49851"/>
                        </a:cubicBezTo>
                        <a:cubicBezTo>
                          <a:pt x="129687" y="49851"/>
                          <a:pt x="154494" y="38919"/>
                          <a:pt x="155046" y="34242"/>
                        </a:cubicBezTo>
                        <a:lnTo>
                          <a:pt x="155046" y="6570"/>
                        </a:lnTo>
                        <a:cubicBezTo>
                          <a:pt x="155046" y="2943"/>
                          <a:pt x="157989" y="26"/>
                          <a:pt x="161590" y="26"/>
                        </a:cubicBezTo>
                        <a:cubicBezTo>
                          <a:pt x="165190" y="26"/>
                          <a:pt x="168133" y="2943"/>
                          <a:pt x="168133" y="6570"/>
                        </a:cubicBezTo>
                        <a:lnTo>
                          <a:pt x="168133" y="34268"/>
                        </a:lnTo>
                        <a:cubicBezTo>
                          <a:pt x="168133" y="53977"/>
                          <a:pt x="124563"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95" name="Grafik 16">
                  <a:extLst>
                    <a:ext uri="{FF2B5EF4-FFF2-40B4-BE49-F238E27FC236}">
                      <a16:creationId xmlns:a16="http://schemas.microsoft.com/office/drawing/2014/main" id="{37B7DCA2-185F-4467-A214-9BCE6749F099}"/>
                    </a:ext>
                  </a:extLst>
                </p:cNvPr>
                <p:cNvGrpSpPr/>
                <p:nvPr/>
              </p:nvGrpSpPr>
              <p:grpSpPr>
                <a:xfrm>
                  <a:off x="6293977" y="3570144"/>
                  <a:ext cx="168133" cy="85091"/>
                  <a:chOff x="6293977" y="3570144"/>
                  <a:chExt cx="168133" cy="85091"/>
                </a:xfrm>
                <a:solidFill>
                  <a:schemeClr val="accent1"/>
                </a:solidFill>
              </p:grpSpPr>
              <p:sp>
                <p:nvSpPr>
                  <p:cNvPr id="96" name="Freihandform: Form 986">
                    <a:extLst>
                      <a:ext uri="{FF2B5EF4-FFF2-40B4-BE49-F238E27FC236}">
                        <a16:creationId xmlns:a16="http://schemas.microsoft.com/office/drawing/2014/main" id="{426463F2-D54C-483C-A1C6-901F16F62B5B}"/>
                      </a:ext>
                    </a:extLst>
                  </p:cNvPr>
                  <p:cNvSpPr/>
                  <p:nvPr/>
                </p:nvSpPr>
                <p:spPr>
                  <a:xfrm>
                    <a:off x="6293977" y="3570144"/>
                    <a:ext cx="168133" cy="57393"/>
                  </a:xfrm>
                  <a:custGeom>
                    <a:avLst/>
                    <a:gdLst>
                      <a:gd name="connsiteX0" fmla="*/ 84067 w 168133"/>
                      <a:gd name="connsiteY0" fmla="*/ 57393 h 57393"/>
                      <a:gd name="connsiteX1" fmla="*/ 0 w 168133"/>
                      <a:gd name="connsiteY1" fmla="*/ 28697 h 57393"/>
                      <a:gd name="connsiteX2" fmla="*/ 84067 w 168133"/>
                      <a:gd name="connsiteY2" fmla="*/ 0 h 57393"/>
                      <a:gd name="connsiteX3" fmla="*/ 168133 w 168133"/>
                      <a:gd name="connsiteY3" fmla="*/ 28697 h 57393"/>
                      <a:gd name="connsiteX4" fmla="*/ 84067 w 168133"/>
                      <a:gd name="connsiteY4" fmla="*/ 57393 h 57393"/>
                      <a:gd name="connsiteX5" fmla="*/ 84067 w 168133"/>
                      <a:gd name="connsiteY5" fmla="*/ 13087 h 57393"/>
                      <a:gd name="connsiteX6" fmla="*/ 13087 w 168133"/>
                      <a:gd name="connsiteY6" fmla="*/ 28697 h 57393"/>
                      <a:gd name="connsiteX7" fmla="*/ 84067 w 168133"/>
                      <a:gd name="connsiteY7" fmla="*/ 44306 h 57393"/>
                      <a:gd name="connsiteX8" fmla="*/ 155046 w 168133"/>
                      <a:gd name="connsiteY8" fmla="*/ 28697 h 57393"/>
                      <a:gd name="connsiteX9" fmla="*/ 84067 w 168133"/>
                      <a:gd name="connsiteY9" fmla="*/ 13087 h 57393"/>
                      <a:gd name="connsiteX10" fmla="*/ 155046 w 168133"/>
                      <a:gd name="connsiteY10" fmla="*/ 28723 h 57393"/>
                      <a:gd name="connsiteX11" fmla="*/ 155125 w 168133"/>
                      <a:gd name="connsiteY11" fmla="*/ 28723 h 57393"/>
                      <a:gd name="connsiteX12" fmla="*/ 155046 w 168133"/>
                      <a:gd name="connsiteY12" fmla="*/ 28723 h 5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57393">
                        <a:moveTo>
                          <a:pt x="84067" y="57393"/>
                        </a:moveTo>
                        <a:cubicBezTo>
                          <a:pt x="43571" y="57393"/>
                          <a:pt x="0" y="48406"/>
                          <a:pt x="0" y="28697"/>
                        </a:cubicBezTo>
                        <a:cubicBezTo>
                          <a:pt x="0" y="8987"/>
                          <a:pt x="43571" y="0"/>
                          <a:pt x="84067" y="0"/>
                        </a:cubicBezTo>
                        <a:cubicBezTo>
                          <a:pt x="124563" y="0"/>
                          <a:pt x="168133" y="8987"/>
                          <a:pt x="168133" y="28697"/>
                        </a:cubicBezTo>
                        <a:cubicBezTo>
                          <a:pt x="168133" y="48432"/>
                          <a:pt x="124563" y="57393"/>
                          <a:pt x="84067" y="57393"/>
                        </a:cubicBezTo>
                        <a:close/>
                        <a:moveTo>
                          <a:pt x="84067" y="13087"/>
                        </a:moveTo>
                        <a:cubicBezTo>
                          <a:pt x="38446" y="13087"/>
                          <a:pt x="13639" y="24019"/>
                          <a:pt x="13087" y="28697"/>
                        </a:cubicBezTo>
                        <a:cubicBezTo>
                          <a:pt x="13639" y="33348"/>
                          <a:pt x="38446" y="44306"/>
                          <a:pt x="84067" y="44306"/>
                        </a:cubicBezTo>
                        <a:cubicBezTo>
                          <a:pt x="129661" y="44306"/>
                          <a:pt x="154468" y="33374"/>
                          <a:pt x="155046" y="28697"/>
                        </a:cubicBezTo>
                        <a:cubicBezTo>
                          <a:pt x="154468" y="24045"/>
                          <a:pt x="129661" y="13087"/>
                          <a:pt x="84067" y="13087"/>
                        </a:cubicBezTo>
                        <a:close/>
                        <a:moveTo>
                          <a:pt x="155046" y="28723"/>
                        </a:moveTo>
                        <a:lnTo>
                          <a:pt x="155125" y="28723"/>
                        </a:lnTo>
                        <a:lnTo>
                          <a:pt x="155046" y="28723"/>
                        </a:lnTo>
                        <a:close/>
                      </a:path>
                    </a:pathLst>
                  </a:custGeom>
                  <a:solidFill>
                    <a:schemeClr val="accent1"/>
                  </a:solidFill>
                  <a:ln w="2624" cap="flat">
                    <a:noFill/>
                    <a:prstDash val="solid"/>
                    <a:miter/>
                  </a:ln>
                </p:spPr>
                <p:txBody>
                  <a:bodyPr rtlCol="0" anchor="ctr"/>
                  <a:lstStyle/>
                  <a:p>
                    <a:endParaRPr lang="en-GB" dirty="0"/>
                  </a:p>
                </p:txBody>
              </p:sp>
              <p:sp>
                <p:nvSpPr>
                  <p:cNvPr id="97" name="Freihandform: Form 987">
                    <a:extLst>
                      <a:ext uri="{FF2B5EF4-FFF2-40B4-BE49-F238E27FC236}">
                        <a16:creationId xmlns:a16="http://schemas.microsoft.com/office/drawing/2014/main" id="{26462E5E-DA27-414A-A99D-28DDF233A55C}"/>
                      </a:ext>
                    </a:extLst>
                  </p:cNvPr>
                  <p:cNvSpPr/>
                  <p:nvPr/>
                </p:nvSpPr>
                <p:spPr>
                  <a:xfrm>
                    <a:off x="6293977" y="3592297"/>
                    <a:ext cx="168133" cy="62938"/>
                  </a:xfrm>
                  <a:custGeom>
                    <a:avLst/>
                    <a:gdLst>
                      <a:gd name="connsiteX0" fmla="*/ 84067 w 168133"/>
                      <a:gd name="connsiteY0" fmla="*/ 62938 h 62938"/>
                      <a:gd name="connsiteX1" fmla="*/ 0 w 168133"/>
                      <a:gd name="connsiteY1" fmla="*/ 34241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1 h 62938"/>
                      <a:gd name="connsiteX6" fmla="*/ 84067 w 168133"/>
                      <a:gd name="connsiteY6" fmla="*/ 49851 h 62938"/>
                      <a:gd name="connsiteX7" fmla="*/ 155046 w 168133"/>
                      <a:gd name="connsiteY7" fmla="*/ 34241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1"/>
                        </a:cubicBezTo>
                        <a:lnTo>
                          <a:pt x="0" y="6543"/>
                        </a:lnTo>
                        <a:cubicBezTo>
                          <a:pt x="0" y="2917"/>
                          <a:pt x="2943" y="0"/>
                          <a:pt x="6543" y="0"/>
                        </a:cubicBezTo>
                        <a:cubicBezTo>
                          <a:pt x="10170" y="0"/>
                          <a:pt x="13087" y="2917"/>
                          <a:pt x="13087" y="6543"/>
                        </a:cubicBezTo>
                        <a:lnTo>
                          <a:pt x="13087" y="34241"/>
                        </a:lnTo>
                        <a:cubicBezTo>
                          <a:pt x="13639" y="38919"/>
                          <a:pt x="38446" y="49851"/>
                          <a:pt x="84067" y="49851"/>
                        </a:cubicBezTo>
                        <a:cubicBezTo>
                          <a:pt x="129687" y="49851"/>
                          <a:pt x="154494" y="38919"/>
                          <a:pt x="155046" y="34241"/>
                        </a:cubicBezTo>
                        <a:lnTo>
                          <a:pt x="155046" y="6570"/>
                        </a:lnTo>
                        <a:cubicBezTo>
                          <a:pt x="155046" y="2943"/>
                          <a:pt x="157989" y="26"/>
                          <a:pt x="161590" y="26"/>
                        </a:cubicBezTo>
                        <a:cubicBezTo>
                          <a:pt x="165190" y="26"/>
                          <a:pt x="168133" y="2943"/>
                          <a:pt x="168133" y="6570"/>
                        </a:cubicBezTo>
                        <a:lnTo>
                          <a:pt x="168133" y="34268"/>
                        </a:lnTo>
                        <a:cubicBezTo>
                          <a:pt x="168133" y="53951"/>
                          <a:pt x="124563"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grpSp>
            <p:nvGrpSpPr>
              <p:cNvPr id="77" name="Grafik 16">
                <a:extLst>
                  <a:ext uri="{FF2B5EF4-FFF2-40B4-BE49-F238E27FC236}">
                    <a16:creationId xmlns:a16="http://schemas.microsoft.com/office/drawing/2014/main" id="{96552619-A25C-4AE9-98C9-43B6D2DC2B18}"/>
                  </a:ext>
                </a:extLst>
              </p:cNvPr>
              <p:cNvGrpSpPr/>
              <p:nvPr/>
            </p:nvGrpSpPr>
            <p:grpSpPr>
              <a:xfrm>
                <a:off x="6449417" y="3646300"/>
                <a:ext cx="168133" cy="62938"/>
                <a:chOff x="6449417" y="3646300"/>
                <a:chExt cx="168133" cy="62938"/>
              </a:xfrm>
              <a:solidFill>
                <a:schemeClr val="accent1"/>
              </a:solidFill>
            </p:grpSpPr>
            <p:sp>
              <p:nvSpPr>
                <p:cNvPr id="92" name="Freihandform: Form 989">
                  <a:extLst>
                    <a:ext uri="{FF2B5EF4-FFF2-40B4-BE49-F238E27FC236}">
                      <a16:creationId xmlns:a16="http://schemas.microsoft.com/office/drawing/2014/main" id="{592D5F9A-0772-4688-A755-5E2ED5F02E20}"/>
                    </a:ext>
                  </a:extLst>
                </p:cNvPr>
                <p:cNvSpPr/>
                <p:nvPr/>
              </p:nvSpPr>
              <p:spPr>
                <a:xfrm>
                  <a:off x="6449417" y="3646300"/>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53"/>
                        <a:pt x="124562"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93" name="Freihandform: Form 990">
                  <a:extLst>
                    <a:ext uri="{FF2B5EF4-FFF2-40B4-BE49-F238E27FC236}">
                      <a16:creationId xmlns:a16="http://schemas.microsoft.com/office/drawing/2014/main" id="{2BCAD1F5-11F4-4DE6-9625-187352A5F498}"/>
                    </a:ext>
                  </a:extLst>
                </p:cNvPr>
                <p:cNvSpPr/>
                <p:nvPr/>
              </p:nvSpPr>
              <p:spPr>
                <a:xfrm>
                  <a:off x="6449417" y="3646300"/>
                  <a:ext cx="168133" cy="62938"/>
                </a:xfrm>
                <a:custGeom>
                  <a:avLst/>
                  <a:gdLst>
                    <a:gd name="connsiteX0" fmla="*/ 84067 w 168133"/>
                    <a:gd name="connsiteY0" fmla="*/ 62938 h 62938"/>
                    <a:gd name="connsiteX1" fmla="*/ 0 w 168133"/>
                    <a:gd name="connsiteY1" fmla="*/ 34242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3"/>
                      </a:lnTo>
                      <a:cubicBezTo>
                        <a:pt x="0" y="2917"/>
                        <a:pt x="2943" y="0"/>
                        <a:pt x="6543" y="0"/>
                      </a:cubicBezTo>
                      <a:cubicBezTo>
                        <a:pt x="10170" y="0"/>
                        <a:pt x="13087" y="2917"/>
                        <a:pt x="13087" y="6543"/>
                      </a:cubicBezTo>
                      <a:lnTo>
                        <a:pt x="13087" y="34242"/>
                      </a:lnTo>
                      <a:cubicBezTo>
                        <a:pt x="13639" y="38919"/>
                        <a:pt x="38446" y="49851"/>
                        <a:pt x="84067" y="49851"/>
                      </a:cubicBezTo>
                      <a:cubicBezTo>
                        <a:pt x="129687" y="49851"/>
                        <a:pt x="154494" y="38919"/>
                        <a:pt x="155046" y="34242"/>
                      </a:cubicBezTo>
                      <a:lnTo>
                        <a:pt x="155046" y="6570"/>
                      </a:lnTo>
                      <a:cubicBezTo>
                        <a:pt x="155046" y="2943"/>
                        <a:pt x="157989" y="26"/>
                        <a:pt x="161590" y="26"/>
                      </a:cubicBezTo>
                      <a:cubicBezTo>
                        <a:pt x="165190" y="26"/>
                        <a:pt x="168133" y="2943"/>
                        <a:pt x="168133" y="6570"/>
                      </a:cubicBezTo>
                      <a:lnTo>
                        <a:pt x="168133" y="34268"/>
                      </a:lnTo>
                      <a:cubicBezTo>
                        <a:pt x="168133" y="53951"/>
                        <a:pt x="124562"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78" name="Grafik 16">
                <a:extLst>
                  <a:ext uri="{FF2B5EF4-FFF2-40B4-BE49-F238E27FC236}">
                    <a16:creationId xmlns:a16="http://schemas.microsoft.com/office/drawing/2014/main" id="{2EEBD281-B7CD-49D2-B8AE-BA2BB351EFE5}"/>
                  </a:ext>
                </a:extLst>
              </p:cNvPr>
              <p:cNvGrpSpPr/>
              <p:nvPr/>
            </p:nvGrpSpPr>
            <p:grpSpPr>
              <a:xfrm>
                <a:off x="6449417" y="3592297"/>
                <a:ext cx="168133" cy="89926"/>
                <a:chOff x="6449417" y="3592297"/>
                <a:chExt cx="168133" cy="89926"/>
              </a:xfrm>
              <a:solidFill>
                <a:schemeClr val="accent1"/>
              </a:solidFill>
            </p:grpSpPr>
            <p:grpSp>
              <p:nvGrpSpPr>
                <p:cNvPr id="86" name="Grafik 16">
                  <a:extLst>
                    <a:ext uri="{FF2B5EF4-FFF2-40B4-BE49-F238E27FC236}">
                      <a16:creationId xmlns:a16="http://schemas.microsoft.com/office/drawing/2014/main" id="{9F8E70C0-DB57-4A4D-9333-BD1D48E4B322}"/>
                    </a:ext>
                  </a:extLst>
                </p:cNvPr>
                <p:cNvGrpSpPr/>
                <p:nvPr/>
              </p:nvGrpSpPr>
              <p:grpSpPr>
                <a:xfrm>
                  <a:off x="6449417" y="3619285"/>
                  <a:ext cx="168133" cy="62938"/>
                  <a:chOff x="6449417" y="3619285"/>
                  <a:chExt cx="168133" cy="62938"/>
                </a:xfrm>
                <a:solidFill>
                  <a:schemeClr val="accent1"/>
                </a:solidFill>
              </p:grpSpPr>
              <p:sp>
                <p:nvSpPr>
                  <p:cNvPr id="90" name="Freihandform: Form 993">
                    <a:extLst>
                      <a:ext uri="{FF2B5EF4-FFF2-40B4-BE49-F238E27FC236}">
                        <a16:creationId xmlns:a16="http://schemas.microsoft.com/office/drawing/2014/main" id="{C27763E9-382F-40EB-8C64-29F1098C6B56}"/>
                      </a:ext>
                    </a:extLst>
                  </p:cNvPr>
                  <p:cNvSpPr/>
                  <p:nvPr/>
                </p:nvSpPr>
                <p:spPr>
                  <a:xfrm>
                    <a:off x="6449417" y="3619312"/>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53"/>
                          <a:pt x="124562"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91" name="Freihandform: Form 994">
                    <a:extLst>
                      <a:ext uri="{FF2B5EF4-FFF2-40B4-BE49-F238E27FC236}">
                        <a16:creationId xmlns:a16="http://schemas.microsoft.com/office/drawing/2014/main" id="{06408E2A-F756-472C-845B-275D12062C95}"/>
                      </a:ext>
                    </a:extLst>
                  </p:cNvPr>
                  <p:cNvSpPr/>
                  <p:nvPr/>
                </p:nvSpPr>
                <p:spPr>
                  <a:xfrm>
                    <a:off x="6449417" y="3619285"/>
                    <a:ext cx="168133" cy="62938"/>
                  </a:xfrm>
                  <a:custGeom>
                    <a:avLst/>
                    <a:gdLst>
                      <a:gd name="connsiteX0" fmla="*/ 84067 w 168133"/>
                      <a:gd name="connsiteY0" fmla="*/ 62938 h 62938"/>
                      <a:gd name="connsiteX1" fmla="*/ 0 w 168133"/>
                      <a:gd name="connsiteY1" fmla="*/ 34242 h 62938"/>
                      <a:gd name="connsiteX2" fmla="*/ 0 w 168133"/>
                      <a:gd name="connsiteY2" fmla="*/ 6544 h 62938"/>
                      <a:gd name="connsiteX3" fmla="*/ 6543 w 168133"/>
                      <a:gd name="connsiteY3" fmla="*/ 0 h 62938"/>
                      <a:gd name="connsiteX4" fmla="*/ 13087 w 168133"/>
                      <a:gd name="connsiteY4" fmla="*/ 6544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4"/>
                        </a:lnTo>
                        <a:cubicBezTo>
                          <a:pt x="0" y="2917"/>
                          <a:pt x="2943" y="0"/>
                          <a:pt x="6543" y="0"/>
                        </a:cubicBezTo>
                        <a:cubicBezTo>
                          <a:pt x="10170" y="0"/>
                          <a:pt x="13087" y="2917"/>
                          <a:pt x="13087" y="6544"/>
                        </a:cubicBezTo>
                        <a:lnTo>
                          <a:pt x="13087" y="34242"/>
                        </a:lnTo>
                        <a:cubicBezTo>
                          <a:pt x="13639" y="38919"/>
                          <a:pt x="38446" y="49851"/>
                          <a:pt x="84067" y="49851"/>
                        </a:cubicBezTo>
                        <a:cubicBezTo>
                          <a:pt x="129687" y="49851"/>
                          <a:pt x="154494" y="38919"/>
                          <a:pt x="155046" y="34242"/>
                        </a:cubicBezTo>
                        <a:lnTo>
                          <a:pt x="155046" y="6570"/>
                        </a:lnTo>
                        <a:cubicBezTo>
                          <a:pt x="155046" y="2943"/>
                          <a:pt x="157989" y="26"/>
                          <a:pt x="161590" y="26"/>
                        </a:cubicBezTo>
                        <a:cubicBezTo>
                          <a:pt x="165190" y="26"/>
                          <a:pt x="168133" y="2943"/>
                          <a:pt x="168133" y="6570"/>
                        </a:cubicBezTo>
                        <a:lnTo>
                          <a:pt x="168133" y="34268"/>
                        </a:lnTo>
                        <a:cubicBezTo>
                          <a:pt x="168133" y="53977"/>
                          <a:pt x="124562"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87" name="Grafik 16">
                  <a:extLst>
                    <a:ext uri="{FF2B5EF4-FFF2-40B4-BE49-F238E27FC236}">
                      <a16:creationId xmlns:a16="http://schemas.microsoft.com/office/drawing/2014/main" id="{92250BF2-4D4B-4B60-823A-FC075CA8A3D1}"/>
                    </a:ext>
                  </a:extLst>
                </p:cNvPr>
                <p:cNvGrpSpPr/>
                <p:nvPr/>
              </p:nvGrpSpPr>
              <p:grpSpPr>
                <a:xfrm>
                  <a:off x="6449417" y="3592297"/>
                  <a:ext cx="168133" cy="62938"/>
                  <a:chOff x="6449417" y="3592297"/>
                  <a:chExt cx="168133" cy="62938"/>
                </a:xfrm>
                <a:solidFill>
                  <a:schemeClr val="accent1"/>
                </a:solidFill>
              </p:grpSpPr>
              <p:sp>
                <p:nvSpPr>
                  <p:cNvPr id="88" name="Freihandform: Form 996">
                    <a:extLst>
                      <a:ext uri="{FF2B5EF4-FFF2-40B4-BE49-F238E27FC236}">
                        <a16:creationId xmlns:a16="http://schemas.microsoft.com/office/drawing/2014/main" id="{B7668891-54CE-483F-ADDF-ED93C51CBC7F}"/>
                      </a:ext>
                    </a:extLst>
                  </p:cNvPr>
                  <p:cNvSpPr/>
                  <p:nvPr/>
                </p:nvSpPr>
                <p:spPr>
                  <a:xfrm>
                    <a:off x="6449417" y="3592297"/>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79"/>
                          <a:pt x="124562"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89" name="Freihandform: Form 997">
                    <a:extLst>
                      <a:ext uri="{FF2B5EF4-FFF2-40B4-BE49-F238E27FC236}">
                        <a16:creationId xmlns:a16="http://schemas.microsoft.com/office/drawing/2014/main" id="{45F90496-1276-452B-9B47-950B83054192}"/>
                      </a:ext>
                    </a:extLst>
                  </p:cNvPr>
                  <p:cNvSpPr/>
                  <p:nvPr/>
                </p:nvSpPr>
                <p:spPr>
                  <a:xfrm>
                    <a:off x="6449417" y="3592297"/>
                    <a:ext cx="168133" cy="62938"/>
                  </a:xfrm>
                  <a:custGeom>
                    <a:avLst/>
                    <a:gdLst>
                      <a:gd name="connsiteX0" fmla="*/ 84067 w 168133"/>
                      <a:gd name="connsiteY0" fmla="*/ 62938 h 62938"/>
                      <a:gd name="connsiteX1" fmla="*/ 0 w 168133"/>
                      <a:gd name="connsiteY1" fmla="*/ 34241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1 h 62938"/>
                      <a:gd name="connsiteX6" fmla="*/ 84067 w 168133"/>
                      <a:gd name="connsiteY6" fmla="*/ 49851 h 62938"/>
                      <a:gd name="connsiteX7" fmla="*/ 155046 w 168133"/>
                      <a:gd name="connsiteY7" fmla="*/ 34241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1"/>
                        </a:cubicBezTo>
                        <a:lnTo>
                          <a:pt x="0" y="6543"/>
                        </a:lnTo>
                        <a:cubicBezTo>
                          <a:pt x="0" y="2917"/>
                          <a:pt x="2943" y="0"/>
                          <a:pt x="6543" y="0"/>
                        </a:cubicBezTo>
                        <a:cubicBezTo>
                          <a:pt x="10170" y="0"/>
                          <a:pt x="13087" y="2917"/>
                          <a:pt x="13087" y="6543"/>
                        </a:cubicBezTo>
                        <a:lnTo>
                          <a:pt x="13087" y="34241"/>
                        </a:lnTo>
                        <a:cubicBezTo>
                          <a:pt x="13639" y="38919"/>
                          <a:pt x="38446" y="49851"/>
                          <a:pt x="84067" y="49851"/>
                        </a:cubicBezTo>
                        <a:cubicBezTo>
                          <a:pt x="129687" y="49851"/>
                          <a:pt x="154494" y="38919"/>
                          <a:pt x="155046" y="34241"/>
                        </a:cubicBezTo>
                        <a:lnTo>
                          <a:pt x="155046" y="6570"/>
                        </a:lnTo>
                        <a:cubicBezTo>
                          <a:pt x="155046" y="2943"/>
                          <a:pt x="157989" y="26"/>
                          <a:pt x="161590" y="26"/>
                        </a:cubicBezTo>
                        <a:cubicBezTo>
                          <a:pt x="165190" y="26"/>
                          <a:pt x="168133" y="2943"/>
                          <a:pt x="168133" y="6570"/>
                        </a:cubicBezTo>
                        <a:lnTo>
                          <a:pt x="168133" y="34268"/>
                        </a:lnTo>
                        <a:cubicBezTo>
                          <a:pt x="168133" y="53951"/>
                          <a:pt x="124562"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grpSp>
            <p:nvGrpSpPr>
              <p:cNvPr id="79" name="Grafik 16">
                <a:extLst>
                  <a:ext uri="{FF2B5EF4-FFF2-40B4-BE49-F238E27FC236}">
                    <a16:creationId xmlns:a16="http://schemas.microsoft.com/office/drawing/2014/main" id="{8529DFAE-23FA-4528-BEB1-B78DC70BB5C9}"/>
                  </a:ext>
                </a:extLst>
              </p:cNvPr>
              <p:cNvGrpSpPr/>
              <p:nvPr/>
            </p:nvGrpSpPr>
            <p:grpSpPr>
              <a:xfrm>
                <a:off x="6449417" y="3515746"/>
                <a:ext cx="168133" cy="112079"/>
                <a:chOff x="6449417" y="3515746"/>
                <a:chExt cx="168133" cy="112079"/>
              </a:xfrm>
              <a:solidFill>
                <a:schemeClr val="accent1"/>
              </a:solidFill>
            </p:grpSpPr>
            <p:grpSp>
              <p:nvGrpSpPr>
                <p:cNvPr id="80" name="Grafik 16">
                  <a:extLst>
                    <a:ext uri="{FF2B5EF4-FFF2-40B4-BE49-F238E27FC236}">
                      <a16:creationId xmlns:a16="http://schemas.microsoft.com/office/drawing/2014/main" id="{5C0FDB11-E8DB-40F0-A8DD-7E0B09A88282}"/>
                    </a:ext>
                  </a:extLst>
                </p:cNvPr>
                <p:cNvGrpSpPr/>
                <p:nvPr/>
              </p:nvGrpSpPr>
              <p:grpSpPr>
                <a:xfrm>
                  <a:off x="6449417" y="3564888"/>
                  <a:ext cx="168133" cy="62938"/>
                  <a:chOff x="6449417" y="3564888"/>
                  <a:chExt cx="168133" cy="62938"/>
                </a:xfrm>
                <a:solidFill>
                  <a:schemeClr val="accent1"/>
                </a:solidFill>
              </p:grpSpPr>
              <p:sp>
                <p:nvSpPr>
                  <p:cNvPr id="84" name="Freihandform: Form 1000">
                    <a:extLst>
                      <a:ext uri="{FF2B5EF4-FFF2-40B4-BE49-F238E27FC236}">
                        <a16:creationId xmlns:a16="http://schemas.microsoft.com/office/drawing/2014/main" id="{BDCDEC3D-67A4-4267-B927-BCCE11057CFF}"/>
                      </a:ext>
                    </a:extLst>
                  </p:cNvPr>
                  <p:cNvSpPr/>
                  <p:nvPr/>
                </p:nvSpPr>
                <p:spPr>
                  <a:xfrm>
                    <a:off x="6449417" y="3564888"/>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79"/>
                          <a:pt x="124562"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85" name="Freihandform: Form 1001">
                    <a:extLst>
                      <a:ext uri="{FF2B5EF4-FFF2-40B4-BE49-F238E27FC236}">
                        <a16:creationId xmlns:a16="http://schemas.microsoft.com/office/drawing/2014/main" id="{A0AD60BD-AEF5-4388-A7AE-79F2EDCC4CA6}"/>
                      </a:ext>
                    </a:extLst>
                  </p:cNvPr>
                  <p:cNvSpPr/>
                  <p:nvPr/>
                </p:nvSpPr>
                <p:spPr>
                  <a:xfrm>
                    <a:off x="6449417" y="3564888"/>
                    <a:ext cx="168133" cy="62938"/>
                  </a:xfrm>
                  <a:custGeom>
                    <a:avLst/>
                    <a:gdLst>
                      <a:gd name="connsiteX0" fmla="*/ 84067 w 168133"/>
                      <a:gd name="connsiteY0" fmla="*/ 62938 h 62938"/>
                      <a:gd name="connsiteX1" fmla="*/ 0 w 168133"/>
                      <a:gd name="connsiteY1" fmla="*/ 34241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1 h 62938"/>
                      <a:gd name="connsiteX6" fmla="*/ 84067 w 168133"/>
                      <a:gd name="connsiteY6" fmla="*/ 49851 h 62938"/>
                      <a:gd name="connsiteX7" fmla="*/ 155046 w 168133"/>
                      <a:gd name="connsiteY7" fmla="*/ 34241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1"/>
                        </a:cubicBezTo>
                        <a:lnTo>
                          <a:pt x="0" y="6543"/>
                        </a:lnTo>
                        <a:cubicBezTo>
                          <a:pt x="0" y="2917"/>
                          <a:pt x="2943" y="0"/>
                          <a:pt x="6543" y="0"/>
                        </a:cubicBezTo>
                        <a:cubicBezTo>
                          <a:pt x="10170" y="0"/>
                          <a:pt x="13087" y="2917"/>
                          <a:pt x="13087" y="6543"/>
                        </a:cubicBezTo>
                        <a:lnTo>
                          <a:pt x="13087" y="34241"/>
                        </a:lnTo>
                        <a:cubicBezTo>
                          <a:pt x="13639" y="38919"/>
                          <a:pt x="38446" y="49851"/>
                          <a:pt x="84067" y="49851"/>
                        </a:cubicBezTo>
                        <a:cubicBezTo>
                          <a:pt x="129687" y="49851"/>
                          <a:pt x="154494" y="38919"/>
                          <a:pt x="155046" y="34241"/>
                        </a:cubicBezTo>
                        <a:lnTo>
                          <a:pt x="155046" y="6570"/>
                        </a:lnTo>
                        <a:cubicBezTo>
                          <a:pt x="155046" y="2943"/>
                          <a:pt x="157989" y="26"/>
                          <a:pt x="161590" y="26"/>
                        </a:cubicBezTo>
                        <a:cubicBezTo>
                          <a:pt x="165190" y="26"/>
                          <a:pt x="168133" y="2943"/>
                          <a:pt x="168133" y="6570"/>
                        </a:cubicBezTo>
                        <a:lnTo>
                          <a:pt x="168133" y="34268"/>
                        </a:lnTo>
                        <a:cubicBezTo>
                          <a:pt x="168133" y="53951"/>
                          <a:pt x="124562"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81" name="Grafik 16">
                  <a:extLst>
                    <a:ext uri="{FF2B5EF4-FFF2-40B4-BE49-F238E27FC236}">
                      <a16:creationId xmlns:a16="http://schemas.microsoft.com/office/drawing/2014/main" id="{411BAE5B-E372-4E4F-AB37-602626975E1E}"/>
                    </a:ext>
                  </a:extLst>
                </p:cNvPr>
                <p:cNvGrpSpPr/>
                <p:nvPr/>
              </p:nvGrpSpPr>
              <p:grpSpPr>
                <a:xfrm>
                  <a:off x="6449417" y="3515746"/>
                  <a:ext cx="168133" cy="85091"/>
                  <a:chOff x="6449417" y="3515746"/>
                  <a:chExt cx="168133" cy="85091"/>
                </a:xfrm>
                <a:solidFill>
                  <a:schemeClr val="accent1"/>
                </a:solidFill>
              </p:grpSpPr>
              <p:sp>
                <p:nvSpPr>
                  <p:cNvPr id="82" name="Freihandform: Form 1003">
                    <a:extLst>
                      <a:ext uri="{FF2B5EF4-FFF2-40B4-BE49-F238E27FC236}">
                        <a16:creationId xmlns:a16="http://schemas.microsoft.com/office/drawing/2014/main" id="{2C4788C4-267C-4BC2-83E4-6C3A37B74BB6}"/>
                      </a:ext>
                    </a:extLst>
                  </p:cNvPr>
                  <p:cNvSpPr/>
                  <p:nvPr/>
                </p:nvSpPr>
                <p:spPr>
                  <a:xfrm>
                    <a:off x="6449417" y="3515746"/>
                    <a:ext cx="168133" cy="57393"/>
                  </a:xfrm>
                  <a:custGeom>
                    <a:avLst/>
                    <a:gdLst>
                      <a:gd name="connsiteX0" fmla="*/ 84067 w 168133"/>
                      <a:gd name="connsiteY0" fmla="*/ 57393 h 57393"/>
                      <a:gd name="connsiteX1" fmla="*/ 0 w 168133"/>
                      <a:gd name="connsiteY1" fmla="*/ 28697 h 57393"/>
                      <a:gd name="connsiteX2" fmla="*/ 84067 w 168133"/>
                      <a:gd name="connsiteY2" fmla="*/ 0 h 57393"/>
                      <a:gd name="connsiteX3" fmla="*/ 168133 w 168133"/>
                      <a:gd name="connsiteY3" fmla="*/ 28697 h 57393"/>
                      <a:gd name="connsiteX4" fmla="*/ 84067 w 168133"/>
                      <a:gd name="connsiteY4" fmla="*/ 57393 h 57393"/>
                      <a:gd name="connsiteX5" fmla="*/ 84067 w 168133"/>
                      <a:gd name="connsiteY5" fmla="*/ 13087 h 57393"/>
                      <a:gd name="connsiteX6" fmla="*/ 13087 w 168133"/>
                      <a:gd name="connsiteY6" fmla="*/ 28697 h 57393"/>
                      <a:gd name="connsiteX7" fmla="*/ 84067 w 168133"/>
                      <a:gd name="connsiteY7" fmla="*/ 44306 h 57393"/>
                      <a:gd name="connsiteX8" fmla="*/ 155046 w 168133"/>
                      <a:gd name="connsiteY8" fmla="*/ 28697 h 57393"/>
                      <a:gd name="connsiteX9" fmla="*/ 84067 w 168133"/>
                      <a:gd name="connsiteY9" fmla="*/ 13087 h 57393"/>
                      <a:gd name="connsiteX10" fmla="*/ 155046 w 168133"/>
                      <a:gd name="connsiteY10" fmla="*/ 28697 h 57393"/>
                      <a:gd name="connsiteX11" fmla="*/ 155125 w 168133"/>
                      <a:gd name="connsiteY11" fmla="*/ 28697 h 57393"/>
                      <a:gd name="connsiteX12" fmla="*/ 155046 w 168133"/>
                      <a:gd name="connsiteY12" fmla="*/ 28697 h 5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57393">
                        <a:moveTo>
                          <a:pt x="84067" y="57393"/>
                        </a:moveTo>
                        <a:cubicBezTo>
                          <a:pt x="43571" y="57393"/>
                          <a:pt x="0" y="48406"/>
                          <a:pt x="0" y="28697"/>
                        </a:cubicBezTo>
                        <a:cubicBezTo>
                          <a:pt x="0" y="8987"/>
                          <a:pt x="43571" y="0"/>
                          <a:pt x="84067" y="0"/>
                        </a:cubicBezTo>
                        <a:cubicBezTo>
                          <a:pt x="124562" y="0"/>
                          <a:pt x="168133" y="8987"/>
                          <a:pt x="168133" y="28697"/>
                        </a:cubicBezTo>
                        <a:cubicBezTo>
                          <a:pt x="168133" y="48406"/>
                          <a:pt x="124562" y="57393"/>
                          <a:pt x="84067" y="57393"/>
                        </a:cubicBezTo>
                        <a:close/>
                        <a:moveTo>
                          <a:pt x="84067" y="13087"/>
                        </a:moveTo>
                        <a:cubicBezTo>
                          <a:pt x="38446" y="13087"/>
                          <a:pt x="13639" y="24019"/>
                          <a:pt x="13087" y="28697"/>
                        </a:cubicBezTo>
                        <a:cubicBezTo>
                          <a:pt x="13639" y="33348"/>
                          <a:pt x="38446" y="44306"/>
                          <a:pt x="84067" y="44306"/>
                        </a:cubicBezTo>
                        <a:cubicBezTo>
                          <a:pt x="129661" y="44306"/>
                          <a:pt x="154468" y="33374"/>
                          <a:pt x="155046" y="28697"/>
                        </a:cubicBezTo>
                        <a:cubicBezTo>
                          <a:pt x="154468" y="24019"/>
                          <a:pt x="129661" y="13087"/>
                          <a:pt x="84067" y="13087"/>
                        </a:cubicBezTo>
                        <a:close/>
                        <a:moveTo>
                          <a:pt x="155046" y="28697"/>
                        </a:moveTo>
                        <a:lnTo>
                          <a:pt x="155125" y="28697"/>
                        </a:lnTo>
                        <a:lnTo>
                          <a:pt x="155046" y="28697"/>
                        </a:lnTo>
                        <a:close/>
                      </a:path>
                    </a:pathLst>
                  </a:custGeom>
                  <a:solidFill>
                    <a:schemeClr val="accent1"/>
                  </a:solidFill>
                  <a:ln w="2624" cap="flat">
                    <a:noFill/>
                    <a:prstDash val="solid"/>
                    <a:miter/>
                  </a:ln>
                </p:spPr>
                <p:txBody>
                  <a:bodyPr rtlCol="0" anchor="ctr"/>
                  <a:lstStyle/>
                  <a:p>
                    <a:endParaRPr lang="en-GB" dirty="0"/>
                  </a:p>
                </p:txBody>
              </p:sp>
              <p:sp>
                <p:nvSpPr>
                  <p:cNvPr id="83" name="Freihandform: Form 1004">
                    <a:extLst>
                      <a:ext uri="{FF2B5EF4-FFF2-40B4-BE49-F238E27FC236}">
                        <a16:creationId xmlns:a16="http://schemas.microsoft.com/office/drawing/2014/main" id="{3028334A-C943-42CE-ADFB-9D55F82BC404}"/>
                      </a:ext>
                    </a:extLst>
                  </p:cNvPr>
                  <p:cNvSpPr/>
                  <p:nvPr/>
                </p:nvSpPr>
                <p:spPr>
                  <a:xfrm>
                    <a:off x="6449417" y="3537899"/>
                    <a:ext cx="168133" cy="62938"/>
                  </a:xfrm>
                  <a:custGeom>
                    <a:avLst/>
                    <a:gdLst>
                      <a:gd name="connsiteX0" fmla="*/ 84067 w 168133"/>
                      <a:gd name="connsiteY0" fmla="*/ 62938 h 62938"/>
                      <a:gd name="connsiteX1" fmla="*/ 0 w 168133"/>
                      <a:gd name="connsiteY1" fmla="*/ 34242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3"/>
                        </a:lnTo>
                        <a:cubicBezTo>
                          <a:pt x="0" y="2917"/>
                          <a:pt x="2943" y="0"/>
                          <a:pt x="6543" y="0"/>
                        </a:cubicBezTo>
                        <a:cubicBezTo>
                          <a:pt x="10170" y="0"/>
                          <a:pt x="13087" y="2917"/>
                          <a:pt x="13087" y="6543"/>
                        </a:cubicBezTo>
                        <a:lnTo>
                          <a:pt x="13087" y="34242"/>
                        </a:lnTo>
                        <a:cubicBezTo>
                          <a:pt x="13639" y="38919"/>
                          <a:pt x="38446" y="49851"/>
                          <a:pt x="84067" y="49851"/>
                        </a:cubicBezTo>
                        <a:cubicBezTo>
                          <a:pt x="129687" y="49851"/>
                          <a:pt x="154494" y="38919"/>
                          <a:pt x="155046" y="34242"/>
                        </a:cubicBezTo>
                        <a:lnTo>
                          <a:pt x="155046" y="6570"/>
                        </a:lnTo>
                        <a:cubicBezTo>
                          <a:pt x="155046" y="2943"/>
                          <a:pt x="157989" y="26"/>
                          <a:pt x="161590" y="26"/>
                        </a:cubicBezTo>
                        <a:cubicBezTo>
                          <a:pt x="165190" y="26"/>
                          <a:pt x="168133" y="2943"/>
                          <a:pt x="168133" y="6570"/>
                        </a:cubicBezTo>
                        <a:lnTo>
                          <a:pt x="168133" y="34268"/>
                        </a:lnTo>
                        <a:cubicBezTo>
                          <a:pt x="168133" y="53951"/>
                          <a:pt x="124562"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grpSp>
        <p:grpSp>
          <p:nvGrpSpPr>
            <p:cNvPr id="68" name="Gruppieren 1159">
              <a:extLst>
                <a:ext uri="{FF2B5EF4-FFF2-40B4-BE49-F238E27FC236}">
                  <a16:creationId xmlns:a16="http://schemas.microsoft.com/office/drawing/2014/main" id="{BC8F3B99-0EE5-4C38-BDEC-ED042CF41B8F}"/>
                </a:ext>
              </a:extLst>
            </p:cNvPr>
            <p:cNvGrpSpPr/>
            <p:nvPr/>
          </p:nvGrpSpPr>
          <p:grpSpPr>
            <a:xfrm>
              <a:off x="1623484" y="1585984"/>
              <a:ext cx="432000" cy="280202"/>
              <a:chOff x="6134910" y="3224916"/>
              <a:chExt cx="484322" cy="314139"/>
            </a:xfrm>
            <a:solidFill>
              <a:schemeClr val="tx2"/>
            </a:solidFill>
          </p:grpSpPr>
          <p:grpSp>
            <p:nvGrpSpPr>
              <p:cNvPr id="69" name="Grafik 16">
                <a:extLst>
                  <a:ext uri="{FF2B5EF4-FFF2-40B4-BE49-F238E27FC236}">
                    <a16:creationId xmlns:a16="http://schemas.microsoft.com/office/drawing/2014/main" id="{7ECFEBF6-4218-4A80-BE1B-AAB758BA922D}"/>
                  </a:ext>
                </a:extLst>
              </p:cNvPr>
              <p:cNvGrpSpPr/>
              <p:nvPr/>
            </p:nvGrpSpPr>
            <p:grpSpPr>
              <a:xfrm>
                <a:off x="6134910" y="3224916"/>
                <a:ext cx="484322" cy="274878"/>
                <a:chOff x="6134910" y="3224916"/>
                <a:chExt cx="484322" cy="274878"/>
              </a:xfrm>
              <a:grpFill/>
            </p:grpSpPr>
            <p:sp>
              <p:nvSpPr>
                <p:cNvPr id="71" name="Freihandform: Form 1006">
                  <a:extLst>
                    <a:ext uri="{FF2B5EF4-FFF2-40B4-BE49-F238E27FC236}">
                      <a16:creationId xmlns:a16="http://schemas.microsoft.com/office/drawing/2014/main" id="{362C780F-420C-4F45-9EAE-2AB1D70FC7DA}"/>
                    </a:ext>
                  </a:extLst>
                </p:cNvPr>
                <p:cNvSpPr/>
                <p:nvPr/>
              </p:nvSpPr>
              <p:spPr>
                <a:xfrm>
                  <a:off x="6134910" y="3238029"/>
                  <a:ext cx="484322" cy="222504"/>
                </a:xfrm>
                <a:custGeom>
                  <a:avLst/>
                  <a:gdLst>
                    <a:gd name="connsiteX0" fmla="*/ 477726 w 484322"/>
                    <a:gd name="connsiteY0" fmla="*/ 222504 h 222504"/>
                    <a:gd name="connsiteX1" fmla="*/ 471183 w 484322"/>
                    <a:gd name="connsiteY1" fmla="*/ 215961 h 222504"/>
                    <a:gd name="connsiteX2" fmla="*/ 438465 w 484322"/>
                    <a:gd name="connsiteY2" fmla="*/ 183244 h 222504"/>
                    <a:gd name="connsiteX3" fmla="*/ 405748 w 484322"/>
                    <a:gd name="connsiteY3" fmla="*/ 215961 h 222504"/>
                    <a:gd name="connsiteX4" fmla="*/ 399204 w 484322"/>
                    <a:gd name="connsiteY4" fmla="*/ 222504 h 222504"/>
                    <a:gd name="connsiteX5" fmla="*/ 392477 w 484322"/>
                    <a:gd name="connsiteY5" fmla="*/ 215961 h 222504"/>
                    <a:gd name="connsiteX6" fmla="*/ 359760 w 484322"/>
                    <a:gd name="connsiteY6" fmla="*/ 183244 h 222504"/>
                    <a:gd name="connsiteX7" fmla="*/ 327121 w 484322"/>
                    <a:gd name="connsiteY7" fmla="*/ 214410 h 222504"/>
                    <a:gd name="connsiteX8" fmla="*/ 320578 w 484322"/>
                    <a:gd name="connsiteY8" fmla="*/ 220639 h 222504"/>
                    <a:gd name="connsiteX9" fmla="*/ 314034 w 484322"/>
                    <a:gd name="connsiteY9" fmla="*/ 214410 h 222504"/>
                    <a:gd name="connsiteX10" fmla="*/ 281396 w 484322"/>
                    <a:gd name="connsiteY10" fmla="*/ 183244 h 222504"/>
                    <a:gd name="connsiteX11" fmla="*/ 248678 w 484322"/>
                    <a:gd name="connsiteY11" fmla="*/ 215961 h 222504"/>
                    <a:gd name="connsiteX12" fmla="*/ 242135 w 484322"/>
                    <a:gd name="connsiteY12" fmla="*/ 222504 h 222504"/>
                    <a:gd name="connsiteX13" fmla="*/ 235591 w 484322"/>
                    <a:gd name="connsiteY13" fmla="*/ 215961 h 222504"/>
                    <a:gd name="connsiteX14" fmla="*/ 202874 w 484322"/>
                    <a:gd name="connsiteY14" fmla="*/ 183244 h 222504"/>
                    <a:gd name="connsiteX15" fmla="*/ 170157 w 484322"/>
                    <a:gd name="connsiteY15" fmla="*/ 215961 h 222504"/>
                    <a:gd name="connsiteX16" fmla="*/ 163613 w 484322"/>
                    <a:gd name="connsiteY16" fmla="*/ 222504 h 222504"/>
                    <a:gd name="connsiteX17" fmla="*/ 156886 w 484322"/>
                    <a:gd name="connsiteY17" fmla="*/ 215961 h 222504"/>
                    <a:gd name="connsiteX18" fmla="*/ 124168 w 484322"/>
                    <a:gd name="connsiteY18" fmla="*/ 183244 h 222504"/>
                    <a:gd name="connsiteX19" fmla="*/ 91530 w 484322"/>
                    <a:gd name="connsiteY19" fmla="*/ 214410 h 222504"/>
                    <a:gd name="connsiteX20" fmla="*/ 84986 w 484322"/>
                    <a:gd name="connsiteY20" fmla="*/ 220639 h 222504"/>
                    <a:gd name="connsiteX21" fmla="*/ 78443 w 484322"/>
                    <a:gd name="connsiteY21" fmla="*/ 214410 h 222504"/>
                    <a:gd name="connsiteX22" fmla="*/ 45804 w 484322"/>
                    <a:gd name="connsiteY22" fmla="*/ 183244 h 222504"/>
                    <a:gd name="connsiteX23" fmla="*/ 13087 w 484322"/>
                    <a:gd name="connsiteY23" fmla="*/ 215961 h 222504"/>
                    <a:gd name="connsiteX24" fmla="*/ 6543 w 484322"/>
                    <a:gd name="connsiteY24" fmla="*/ 222504 h 222504"/>
                    <a:gd name="connsiteX25" fmla="*/ 0 w 484322"/>
                    <a:gd name="connsiteY25" fmla="*/ 215961 h 222504"/>
                    <a:gd name="connsiteX26" fmla="*/ 71111 w 484322"/>
                    <a:gd name="connsiteY26" fmla="*/ 67590 h 222504"/>
                    <a:gd name="connsiteX27" fmla="*/ 242161 w 484322"/>
                    <a:gd name="connsiteY27" fmla="*/ 0 h 222504"/>
                    <a:gd name="connsiteX28" fmla="*/ 413211 w 484322"/>
                    <a:gd name="connsiteY28" fmla="*/ 67590 h 222504"/>
                    <a:gd name="connsiteX29" fmla="*/ 484322 w 484322"/>
                    <a:gd name="connsiteY29" fmla="*/ 215961 h 222504"/>
                    <a:gd name="connsiteX30" fmla="*/ 477726 w 484322"/>
                    <a:gd name="connsiteY30" fmla="*/ 222504 h 222504"/>
                    <a:gd name="connsiteX31" fmla="*/ 359733 w 484322"/>
                    <a:gd name="connsiteY31" fmla="*/ 170130 h 222504"/>
                    <a:gd name="connsiteX32" fmla="*/ 399099 w 484322"/>
                    <a:gd name="connsiteY32" fmla="*/ 192520 h 222504"/>
                    <a:gd name="connsiteX33" fmla="*/ 438465 w 484322"/>
                    <a:gd name="connsiteY33" fmla="*/ 170130 h 222504"/>
                    <a:gd name="connsiteX34" fmla="*/ 466768 w 484322"/>
                    <a:gd name="connsiteY34" fmla="*/ 179959 h 222504"/>
                    <a:gd name="connsiteX35" fmla="*/ 242109 w 484322"/>
                    <a:gd name="connsiteY35" fmla="*/ 13061 h 222504"/>
                    <a:gd name="connsiteX36" fmla="*/ 17449 w 484322"/>
                    <a:gd name="connsiteY36" fmla="*/ 179959 h 222504"/>
                    <a:gd name="connsiteX37" fmla="*/ 45752 w 484322"/>
                    <a:gd name="connsiteY37" fmla="*/ 170130 h 222504"/>
                    <a:gd name="connsiteX38" fmla="*/ 84934 w 484322"/>
                    <a:gd name="connsiteY38" fmla="*/ 192205 h 222504"/>
                    <a:gd name="connsiteX39" fmla="*/ 124116 w 484322"/>
                    <a:gd name="connsiteY39" fmla="*/ 170130 h 222504"/>
                    <a:gd name="connsiteX40" fmla="*/ 163482 w 484322"/>
                    <a:gd name="connsiteY40" fmla="*/ 192520 h 222504"/>
                    <a:gd name="connsiteX41" fmla="*/ 202848 w 484322"/>
                    <a:gd name="connsiteY41" fmla="*/ 170130 h 222504"/>
                    <a:gd name="connsiteX42" fmla="*/ 242109 w 484322"/>
                    <a:gd name="connsiteY42" fmla="*/ 192362 h 222504"/>
                    <a:gd name="connsiteX43" fmla="*/ 281369 w 484322"/>
                    <a:gd name="connsiteY43" fmla="*/ 170130 h 222504"/>
                    <a:gd name="connsiteX44" fmla="*/ 320551 w 484322"/>
                    <a:gd name="connsiteY44" fmla="*/ 192205 h 222504"/>
                    <a:gd name="connsiteX45" fmla="*/ 359733 w 484322"/>
                    <a:gd name="connsiteY45" fmla="*/ 170130 h 22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84322" h="222504">
                      <a:moveTo>
                        <a:pt x="477726" y="222504"/>
                      </a:moveTo>
                      <a:cubicBezTo>
                        <a:pt x="474100" y="222504"/>
                        <a:pt x="471183" y="219587"/>
                        <a:pt x="471183" y="215961"/>
                      </a:cubicBezTo>
                      <a:cubicBezTo>
                        <a:pt x="471183" y="197907"/>
                        <a:pt x="456493" y="183244"/>
                        <a:pt x="438465" y="183244"/>
                      </a:cubicBezTo>
                      <a:cubicBezTo>
                        <a:pt x="420438" y="183244"/>
                        <a:pt x="405748" y="197934"/>
                        <a:pt x="405748" y="215961"/>
                      </a:cubicBezTo>
                      <a:cubicBezTo>
                        <a:pt x="405748" y="219587"/>
                        <a:pt x="402805" y="222504"/>
                        <a:pt x="399204" y="222504"/>
                      </a:cubicBezTo>
                      <a:cubicBezTo>
                        <a:pt x="395604" y="222504"/>
                        <a:pt x="392477" y="219587"/>
                        <a:pt x="392477" y="215961"/>
                      </a:cubicBezTo>
                      <a:cubicBezTo>
                        <a:pt x="392477" y="197907"/>
                        <a:pt x="377787" y="183244"/>
                        <a:pt x="359760" y="183244"/>
                      </a:cubicBezTo>
                      <a:cubicBezTo>
                        <a:pt x="342284" y="183244"/>
                        <a:pt x="327936" y="196935"/>
                        <a:pt x="327121" y="214410"/>
                      </a:cubicBezTo>
                      <a:cubicBezTo>
                        <a:pt x="326963" y="217906"/>
                        <a:pt x="324073" y="220639"/>
                        <a:pt x="320578" y="220639"/>
                      </a:cubicBezTo>
                      <a:cubicBezTo>
                        <a:pt x="317083" y="220639"/>
                        <a:pt x="314192" y="217879"/>
                        <a:pt x="314034" y="214410"/>
                      </a:cubicBezTo>
                      <a:cubicBezTo>
                        <a:pt x="313220" y="196935"/>
                        <a:pt x="298871" y="183244"/>
                        <a:pt x="281396" y="183244"/>
                      </a:cubicBezTo>
                      <a:cubicBezTo>
                        <a:pt x="263342" y="183244"/>
                        <a:pt x="248678" y="197934"/>
                        <a:pt x="248678" y="215961"/>
                      </a:cubicBezTo>
                      <a:cubicBezTo>
                        <a:pt x="248678" y="219587"/>
                        <a:pt x="245735" y="222504"/>
                        <a:pt x="242135" y="222504"/>
                      </a:cubicBezTo>
                      <a:cubicBezTo>
                        <a:pt x="238535" y="222504"/>
                        <a:pt x="235591" y="219587"/>
                        <a:pt x="235591" y="215961"/>
                      </a:cubicBezTo>
                      <a:cubicBezTo>
                        <a:pt x="235591" y="197907"/>
                        <a:pt x="220901" y="183244"/>
                        <a:pt x="202874" y="183244"/>
                      </a:cubicBezTo>
                      <a:cubicBezTo>
                        <a:pt x="184820" y="183244"/>
                        <a:pt x="170157" y="197934"/>
                        <a:pt x="170157" y="215961"/>
                      </a:cubicBezTo>
                      <a:cubicBezTo>
                        <a:pt x="170157" y="219587"/>
                        <a:pt x="167213" y="222504"/>
                        <a:pt x="163613" y="222504"/>
                      </a:cubicBezTo>
                      <a:cubicBezTo>
                        <a:pt x="160013" y="222504"/>
                        <a:pt x="156886" y="219587"/>
                        <a:pt x="156886" y="215961"/>
                      </a:cubicBezTo>
                      <a:cubicBezTo>
                        <a:pt x="156886" y="197907"/>
                        <a:pt x="142196" y="183244"/>
                        <a:pt x="124168" y="183244"/>
                      </a:cubicBezTo>
                      <a:cubicBezTo>
                        <a:pt x="106693" y="183244"/>
                        <a:pt x="92344" y="196935"/>
                        <a:pt x="91530" y="214410"/>
                      </a:cubicBezTo>
                      <a:cubicBezTo>
                        <a:pt x="91372" y="217906"/>
                        <a:pt x="88481" y="220639"/>
                        <a:pt x="84986" y="220639"/>
                      </a:cubicBezTo>
                      <a:cubicBezTo>
                        <a:pt x="81491" y="220639"/>
                        <a:pt x="78600" y="217879"/>
                        <a:pt x="78443" y="214410"/>
                      </a:cubicBezTo>
                      <a:cubicBezTo>
                        <a:pt x="77628" y="196935"/>
                        <a:pt x="63280" y="183244"/>
                        <a:pt x="45804" y="183244"/>
                      </a:cubicBezTo>
                      <a:cubicBezTo>
                        <a:pt x="27751" y="183244"/>
                        <a:pt x="13087" y="197934"/>
                        <a:pt x="13087" y="215961"/>
                      </a:cubicBezTo>
                      <a:cubicBezTo>
                        <a:pt x="13087" y="219587"/>
                        <a:pt x="10144" y="222504"/>
                        <a:pt x="6543" y="222504"/>
                      </a:cubicBezTo>
                      <a:cubicBezTo>
                        <a:pt x="2917" y="222504"/>
                        <a:pt x="0" y="219587"/>
                        <a:pt x="0" y="215961"/>
                      </a:cubicBezTo>
                      <a:cubicBezTo>
                        <a:pt x="0" y="163429"/>
                        <a:pt x="25911" y="109347"/>
                        <a:pt x="71111" y="67590"/>
                      </a:cubicBezTo>
                      <a:cubicBezTo>
                        <a:pt x="118282" y="23993"/>
                        <a:pt x="179013" y="0"/>
                        <a:pt x="242161" y="0"/>
                      </a:cubicBezTo>
                      <a:cubicBezTo>
                        <a:pt x="305310" y="0"/>
                        <a:pt x="366040" y="24019"/>
                        <a:pt x="413211" y="67590"/>
                      </a:cubicBezTo>
                      <a:cubicBezTo>
                        <a:pt x="458411" y="109347"/>
                        <a:pt x="484322" y="163429"/>
                        <a:pt x="484322" y="215961"/>
                      </a:cubicBezTo>
                      <a:cubicBezTo>
                        <a:pt x="484270" y="219561"/>
                        <a:pt x="481353" y="222504"/>
                        <a:pt x="477726" y="222504"/>
                      </a:cubicBezTo>
                      <a:close/>
                      <a:moveTo>
                        <a:pt x="359733" y="170130"/>
                      </a:moveTo>
                      <a:cubicBezTo>
                        <a:pt x="376447" y="170130"/>
                        <a:pt x="391084" y="179118"/>
                        <a:pt x="399099" y="192520"/>
                      </a:cubicBezTo>
                      <a:cubicBezTo>
                        <a:pt x="407114" y="179118"/>
                        <a:pt x="421752" y="170130"/>
                        <a:pt x="438465" y="170130"/>
                      </a:cubicBezTo>
                      <a:cubicBezTo>
                        <a:pt x="449135" y="170130"/>
                        <a:pt x="458989" y="173809"/>
                        <a:pt x="466768" y="179959"/>
                      </a:cubicBezTo>
                      <a:cubicBezTo>
                        <a:pt x="446323" y="95235"/>
                        <a:pt x="356922" y="13061"/>
                        <a:pt x="242109" y="13061"/>
                      </a:cubicBezTo>
                      <a:cubicBezTo>
                        <a:pt x="127295" y="13061"/>
                        <a:pt x="37894" y="95209"/>
                        <a:pt x="17449" y="179959"/>
                      </a:cubicBezTo>
                      <a:cubicBezTo>
                        <a:pt x="25254" y="173809"/>
                        <a:pt x="35082" y="170130"/>
                        <a:pt x="45752" y="170130"/>
                      </a:cubicBezTo>
                      <a:cubicBezTo>
                        <a:pt x="62334" y="170130"/>
                        <a:pt x="76892" y="178934"/>
                        <a:pt x="84934" y="192205"/>
                      </a:cubicBezTo>
                      <a:cubicBezTo>
                        <a:pt x="92949" y="178934"/>
                        <a:pt x="107534" y="170130"/>
                        <a:pt x="124116" y="170130"/>
                      </a:cubicBezTo>
                      <a:cubicBezTo>
                        <a:pt x="140829" y="170130"/>
                        <a:pt x="155467" y="179118"/>
                        <a:pt x="163482" y="192520"/>
                      </a:cubicBezTo>
                      <a:cubicBezTo>
                        <a:pt x="171497" y="179118"/>
                        <a:pt x="186134" y="170130"/>
                        <a:pt x="202848" y="170130"/>
                      </a:cubicBezTo>
                      <a:cubicBezTo>
                        <a:pt x="219482" y="170130"/>
                        <a:pt x="234093" y="179065"/>
                        <a:pt x="242109" y="192362"/>
                      </a:cubicBezTo>
                      <a:cubicBezTo>
                        <a:pt x="250124" y="179039"/>
                        <a:pt x="264735" y="170130"/>
                        <a:pt x="281369" y="170130"/>
                      </a:cubicBezTo>
                      <a:cubicBezTo>
                        <a:pt x="297951" y="170130"/>
                        <a:pt x="312510" y="178934"/>
                        <a:pt x="320551" y="192205"/>
                      </a:cubicBezTo>
                      <a:cubicBezTo>
                        <a:pt x="328593" y="178934"/>
                        <a:pt x="343151" y="170130"/>
                        <a:pt x="359733" y="170130"/>
                      </a:cubicBezTo>
                      <a:close/>
                    </a:path>
                  </a:pathLst>
                </a:custGeom>
                <a:grpFill/>
                <a:ln w="2624" cap="flat">
                  <a:noFill/>
                  <a:prstDash val="solid"/>
                  <a:miter/>
                </a:ln>
              </p:spPr>
              <p:txBody>
                <a:bodyPr rtlCol="0" anchor="ctr"/>
                <a:lstStyle/>
                <a:p>
                  <a:endParaRPr lang="en-GB" dirty="0"/>
                </a:p>
              </p:txBody>
            </p:sp>
            <p:sp>
              <p:nvSpPr>
                <p:cNvPr id="72" name="Freihandform: Form 1007">
                  <a:extLst>
                    <a:ext uri="{FF2B5EF4-FFF2-40B4-BE49-F238E27FC236}">
                      <a16:creationId xmlns:a16="http://schemas.microsoft.com/office/drawing/2014/main" id="{1932A80A-6082-45FD-95EC-FBCD18D148D2}"/>
                    </a:ext>
                  </a:extLst>
                </p:cNvPr>
                <p:cNvSpPr/>
                <p:nvPr/>
              </p:nvSpPr>
              <p:spPr>
                <a:xfrm>
                  <a:off x="6370502" y="3224916"/>
                  <a:ext cx="13086" cy="19630"/>
                </a:xfrm>
                <a:custGeom>
                  <a:avLst/>
                  <a:gdLst>
                    <a:gd name="connsiteX0" fmla="*/ 6543 w 13086"/>
                    <a:gd name="connsiteY0" fmla="*/ 19630 h 19630"/>
                    <a:gd name="connsiteX1" fmla="*/ 0 w 13086"/>
                    <a:gd name="connsiteY1" fmla="*/ 13087 h 19630"/>
                    <a:gd name="connsiteX2" fmla="*/ 0 w 13086"/>
                    <a:gd name="connsiteY2" fmla="*/ 6543 h 19630"/>
                    <a:gd name="connsiteX3" fmla="*/ 6543 w 13086"/>
                    <a:gd name="connsiteY3" fmla="*/ 0 h 19630"/>
                    <a:gd name="connsiteX4" fmla="*/ 13087 w 13086"/>
                    <a:gd name="connsiteY4" fmla="*/ 6543 h 19630"/>
                    <a:gd name="connsiteX5" fmla="*/ 13087 w 13086"/>
                    <a:gd name="connsiteY5" fmla="*/ 13087 h 19630"/>
                    <a:gd name="connsiteX6" fmla="*/ 6543 w 13086"/>
                    <a:gd name="connsiteY6" fmla="*/ 19630 h 19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6" h="19630">
                      <a:moveTo>
                        <a:pt x="6543" y="19630"/>
                      </a:moveTo>
                      <a:cubicBezTo>
                        <a:pt x="2917" y="19630"/>
                        <a:pt x="0" y="16713"/>
                        <a:pt x="0" y="13087"/>
                      </a:cubicBezTo>
                      <a:lnTo>
                        <a:pt x="0" y="6543"/>
                      </a:lnTo>
                      <a:cubicBezTo>
                        <a:pt x="0" y="2917"/>
                        <a:pt x="2943" y="0"/>
                        <a:pt x="6543" y="0"/>
                      </a:cubicBezTo>
                      <a:cubicBezTo>
                        <a:pt x="10144" y="0"/>
                        <a:pt x="13087" y="2917"/>
                        <a:pt x="13087" y="6543"/>
                      </a:cubicBezTo>
                      <a:lnTo>
                        <a:pt x="13087" y="13087"/>
                      </a:lnTo>
                      <a:cubicBezTo>
                        <a:pt x="13087" y="16713"/>
                        <a:pt x="10144" y="19630"/>
                        <a:pt x="6543" y="19630"/>
                      </a:cubicBezTo>
                      <a:close/>
                    </a:path>
                  </a:pathLst>
                </a:custGeom>
                <a:grpFill/>
                <a:ln w="2624" cap="flat">
                  <a:noFill/>
                  <a:prstDash val="solid"/>
                  <a:miter/>
                </a:ln>
              </p:spPr>
              <p:txBody>
                <a:bodyPr rtlCol="0" anchor="ctr"/>
                <a:lstStyle/>
                <a:p>
                  <a:endParaRPr lang="en-GB" dirty="0"/>
                </a:p>
              </p:txBody>
            </p:sp>
            <p:sp>
              <p:nvSpPr>
                <p:cNvPr id="73" name="Freihandform: Form 1008">
                  <a:extLst>
                    <a:ext uri="{FF2B5EF4-FFF2-40B4-BE49-F238E27FC236}">
                      <a16:creationId xmlns:a16="http://schemas.microsoft.com/office/drawing/2014/main" id="{80269F48-8548-4AF3-996F-A1813F102E9D}"/>
                    </a:ext>
                  </a:extLst>
                </p:cNvPr>
                <p:cNvSpPr/>
                <p:nvPr/>
              </p:nvSpPr>
              <p:spPr>
                <a:xfrm>
                  <a:off x="6370502" y="3434360"/>
                  <a:ext cx="13086" cy="65434"/>
                </a:xfrm>
                <a:custGeom>
                  <a:avLst/>
                  <a:gdLst>
                    <a:gd name="connsiteX0" fmla="*/ 6543 w 13086"/>
                    <a:gd name="connsiteY0" fmla="*/ 65435 h 65434"/>
                    <a:gd name="connsiteX1" fmla="*/ 0 w 13086"/>
                    <a:gd name="connsiteY1" fmla="*/ 58891 h 65434"/>
                    <a:gd name="connsiteX2" fmla="*/ 0 w 13086"/>
                    <a:gd name="connsiteY2" fmla="*/ 6544 h 65434"/>
                    <a:gd name="connsiteX3" fmla="*/ 6543 w 13086"/>
                    <a:gd name="connsiteY3" fmla="*/ 0 h 65434"/>
                    <a:gd name="connsiteX4" fmla="*/ 13087 w 13086"/>
                    <a:gd name="connsiteY4" fmla="*/ 6544 h 65434"/>
                    <a:gd name="connsiteX5" fmla="*/ 13087 w 13086"/>
                    <a:gd name="connsiteY5" fmla="*/ 58891 h 65434"/>
                    <a:gd name="connsiteX6" fmla="*/ 6543 w 13086"/>
                    <a:gd name="connsiteY6" fmla="*/ 65435 h 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6" h="65434">
                      <a:moveTo>
                        <a:pt x="6543" y="65435"/>
                      </a:moveTo>
                      <a:cubicBezTo>
                        <a:pt x="2917" y="65435"/>
                        <a:pt x="0" y="62518"/>
                        <a:pt x="0" y="58891"/>
                      </a:cubicBezTo>
                      <a:lnTo>
                        <a:pt x="0" y="6544"/>
                      </a:lnTo>
                      <a:cubicBezTo>
                        <a:pt x="0" y="2917"/>
                        <a:pt x="2943" y="0"/>
                        <a:pt x="6543" y="0"/>
                      </a:cubicBezTo>
                      <a:cubicBezTo>
                        <a:pt x="10144" y="0"/>
                        <a:pt x="13087" y="2917"/>
                        <a:pt x="13087" y="6544"/>
                      </a:cubicBezTo>
                      <a:lnTo>
                        <a:pt x="13087" y="58891"/>
                      </a:lnTo>
                      <a:cubicBezTo>
                        <a:pt x="13087" y="62518"/>
                        <a:pt x="10144" y="65435"/>
                        <a:pt x="6543" y="65435"/>
                      </a:cubicBezTo>
                      <a:close/>
                    </a:path>
                  </a:pathLst>
                </a:custGeom>
                <a:grpFill/>
                <a:ln w="2624" cap="flat">
                  <a:noFill/>
                  <a:prstDash val="solid"/>
                  <a:miter/>
                </a:ln>
              </p:spPr>
              <p:txBody>
                <a:bodyPr rtlCol="0" anchor="ctr"/>
                <a:lstStyle/>
                <a:p>
                  <a:endParaRPr lang="en-GB" dirty="0"/>
                </a:p>
              </p:txBody>
            </p:sp>
          </p:grpSp>
          <p:sp>
            <p:nvSpPr>
              <p:cNvPr id="70" name="Freihandform: Form 1009">
                <a:extLst>
                  <a:ext uri="{FF2B5EF4-FFF2-40B4-BE49-F238E27FC236}">
                    <a16:creationId xmlns:a16="http://schemas.microsoft.com/office/drawing/2014/main" id="{787144CC-004C-429A-9676-52C5C6A1B1E0}"/>
                  </a:ext>
                </a:extLst>
              </p:cNvPr>
              <p:cNvSpPr/>
              <p:nvPr/>
            </p:nvSpPr>
            <p:spPr>
              <a:xfrm>
                <a:off x="6370502" y="3519425"/>
                <a:ext cx="13086" cy="19630"/>
              </a:xfrm>
              <a:custGeom>
                <a:avLst/>
                <a:gdLst>
                  <a:gd name="connsiteX0" fmla="*/ 6543 w 13086"/>
                  <a:gd name="connsiteY0" fmla="*/ 19631 h 19630"/>
                  <a:gd name="connsiteX1" fmla="*/ 0 w 13086"/>
                  <a:gd name="connsiteY1" fmla="*/ 13087 h 19630"/>
                  <a:gd name="connsiteX2" fmla="*/ 0 w 13086"/>
                  <a:gd name="connsiteY2" fmla="*/ 6544 h 19630"/>
                  <a:gd name="connsiteX3" fmla="*/ 6543 w 13086"/>
                  <a:gd name="connsiteY3" fmla="*/ 0 h 19630"/>
                  <a:gd name="connsiteX4" fmla="*/ 13087 w 13086"/>
                  <a:gd name="connsiteY4" fmla="*/ 6544 h 19630"/>
                  <a:gd name="connsiteX5" fmla="*/ 13087 w 13086"/>
                  <a:gd name="connsiteY5" fmla="*/ 13087 h 19630"/>
                  <a:gd name="connsiteX6" fmla="*/ 6543 w 13086"/>
                  <a:gd name="connsiteY6" fmla="*/ 19631 h 19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6" h="19630">
                    <a:moveTo>
                      <a:pt x="6543" y="19631"/>
                    </a:moveTo>
                    <a:cubicBezTo>
                      <a:pt x="2917" y="19631"/>
                      <a:pt x="0" y="16714"/>
                      <a:pt x="0" y="13087"/>
                    </a:cubicBezTo>
                    <a:lnTo>
                      <a:pt x="0" y="6544"/>
                    </a:lnTo>
                    <a:cubicBezTo>
                      <a:pt x="0" y="2917"/>
                      <a:pt x="2943" y="0"/>
                      <a:pt x="6543" y="0"/>
                    </a:cubicBezTo>
                    <a:cubicBezTo>
                      <a:pt x="10144" y="0"/>
                      <a:pt x="13087" y="2917"/>
                      <a:pt x="13087" y="6544"/>
                    </a:cubicBezTo>
                    <a:lnTo>
                      <a:pt x="13087" y="13087"/>
                    </a:lnTo>
                    <a:cubicBezTo>
                      <a:pt x="13087" y="16714"/>
                      <a:pt x="10144" y="19631"/>
                      <a:pt x="6543" y="19631"/>
                    </a:cubicBezTo>
                    <a:close/>
                  </a:path>
                </a:pathLst>
              </a:custGeom>
              <a:grpFill/>
              <a:ln w="2624" cap="flat">
                <a:noFill/>
                <a:prstDash val="solid"/>
                <a:miter/>
              </a:ln>
            </p:spPr>
            <p:txBody>
              <a:bodyPr rtlCol="0" anchor="ctr"/>
              <a:lstStyle/>
              <a:p>
                <a:endParaRPr lang="en-GB" dirty="0"/>
              </a:p>
            </p:txBody>
          </p:sp>
        </p:grpSp>
      </p:grpSp>
      <p:grpSp>
        <p:nvGrpSpPr>
          <p:cNvPr id="38" name="Group 37">
            <a:extLst>
              <a:ext uri="{FF2B5EF4-FFF2-40B4-BE49-F238E27FC236}">
                <a16:creationId xmlns:a16="http://schemas.microsoft.com/office/drawing/2014/main" id="{498EADAC-737E-32E1-B59D-76C10602CC82}"/>
              </a:ext>
            </a:extLst>
          </p:cNvPr>
          <p:cNvGrpSpPr/>
          <p:nvPr/>
        </p:nvGrpSpPr>
        <p:grpSpPr>
          <a:xfrm>
            <a:off x="2668915" y="1585984"/>
            <a:ext cx="432006" cy="432000"/>
            <a:chOff x="2668915" y="1585984"/>
            <a:chExt cx="432006" cy="432000"/>
          </a:xfrm>
        </p:grpSpPr>
        <p:grpSp>
          <p:nvGrpSpPr>
            <p:cNvPr id="106" name="Graphic 4">
              <a:extLst>
                <a:ext uri="{FF2B5EF4-FFF2-40B4-BE49-F238E27FC236}">
                  <a16:creationId xmlns:a16="http://schemas.microsoft.com/office/drawing/2014/main" id="{4673EEFD-E16A-4B41-BBD1-3558C9449F42}"/>
                </a:ext>
              </a:extLst>
            </p:cNvPr>
            <p:cNvGrpSpPr/>
            <p:nvPr/>
          </p:nvGrpSpPr>
          <p:grpSpPr>
            <a:xfrm>
              <a:off x="2840054" y="1801984"/>
              <a:ext cx="260867" cy="214683"/>
              <a:chOff x="1075579" y="3500909"/>
              <a:chExt cx="287462" cy="236569"/>
            </a:xfrm>
            <a:solidFill>
              <a:schemeClr val="accent1"/>
            </a:solidFill>
          </p:grpSpPr>
          <p:grpSp>
            <p:nvGrpSpPr>
              <p:cNvPr id="122" name="Graphic 4">
                <a:extLst>
                  <a:ext uri="{FF2B5EF4-FFF2-40B4-BE49-F238E27FC236}">
                    <a16:creationId xmlns:a16="http://schemas.microsoft.com/office/drawing/2014/main" id="{A1868E48-8036-4A82-B04F-17EC9987A1CA}"/>
                  </a:ext>
                </a:extLst>
              </p:cNvPr>
              <p:cNvGrpSpPr/>
              <p:nvPr/>
            </p:nvGrpSpPr>
            <p:grpSpPr>
              <a:xfrm>
                <a:off x="1075579" y="3587398"/>
                <a:ext cx="130832" cy="131704"/>
                <a:chOff x="1075579" y="3587398"/>
                <a:chExt cx="130832" cy="131704"/>
              </a:xfrm>
              <a:solidFill>
                <a:schemeClr val="accent1"/>
              </a:solidFill>
            </p:grpSpPr>
            <p:sp>
              <p:nvSpPr>
                <p:cNvPr id="141" name="Freihandform: Form 408">
                  <a:extLst>
                    <a:ext uri="{FF2B5EF4-FFF2-40B4-BE49-F238E27FC236}">
                      <a16:creationId xmlns:a16="http://schemas.microsoft.com/office/drawing/2014/main" id="{23D86BF9-8A00-41F0-B876-3F0F13492E35}"/>
                    </a:ext>
                  </a:extLst>
                </p:cNvPr>
                <p:cNvSpPr/>
                <p:nvPr/>
              </p:nvSpPr>
              <p:spPr>
                <a:xfrm>
                  <a:off x="1075579" y="3646403"/>
                  <a:ext cx="130775" cy="72699"/>
                </a:xfrm>
                <a:custGeom>
                  <a:avLst/>
                  <a:gdLst>
                    <a:gd name="connsiteX0" fmla="*/ 84818 w 130775"/>
                    <a:gd name="connsiteY0" fmla="*/ 72699 h 72699"/>
                    <a:gd name="connsiteX1" fmla="*/ 0 w 130775"/>
                    <a:gd name="connsiteY1" fmla="*/ 39675 h 72699"/>
                    <a:gd name="connsiteX2" fmla="*/ 0 w 130775"/>
                    <a:gd name="connsiteY2" fmla="*/ 6435 h 72699"/>
                    <a:gd name="connsiteX3" fmla="*/ 6435 w 130775"/>
                    <a:gd name="connsiteY3" fmla="*/ 0 h 72699"/>
                    <a:gd name="connsiteX4" fmla="*/ 12869 w 130775"/>
                    <a:gd name="connsiteY4" fmla="*/ 6435 h 72699"/>
                    <a:gd name="connsiteX5" fmla="*/ 12869 w 130775"/>
                    <a:gd name="connsiteY5" fmla="*/ 39675 h 72699"/>
                    <a:gd name="connsiteX6" fmla="*/ 84818 w 130775"/>
                    <a:gd name="connsiteY6" fmla="*/ 59834 h 72699"/>
                    <a:gd name="connsiteX7" fmla="*/ 123035 w 130775"/>
                    <a:gd name="connsiteY7" fmla="*/ 56616 h 72699"/>
                    <a:gd name="connsiteX8" fmla="*/ 130639 w 130775"/>
                    <a:gd name="connsiteY8" fmla="*/ 61609 h 72699"/>
                    <a:gd name="connsiteX9" fmla="*/ 125650 w 130775"/>
                    <a:gd name="connsiteY9" fmla="*/ 69217 h 72699"/>
                    <a:gd name="connsiteX10" fmla="*/ 84818 w 130775"/>
                    <a:gd name="connsiteY10" fmla="*/ 72699 h 72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775" h="72699">
                      <a:moveTo>
                        <a:pt x="84818" y="72699"/>
                      </a:moveTo>
                      <a:cubicBezTo>
                        <a:pt x="42670" y="72699"/>
                        <a:pt x="0" y="61354"/>
                        <a:pt x="0" y="39675"/>
                      </a:cubicBezTo>
                      <a:lnTo>
                        <a:pt x="0" y="6435"/>
                      </a:lnTo>
                      <a:cubicBezTo>
                        <a:pt x="0" y="2880"/>
                        <a:pt x="2880" y="0"/>
                        <a:pt x="6435" y="0"/>
                      </a:cubicBezTo>
                      <a:cubicBezTo>
                        <a:pt x="9986" y="0"/>
                        <a:pt x="12869" y="2876"/>
                        <a:pt x="12869" y="6435"/>
                      </a:cubicBezTo>
                      <a:lnTo>
                        <a:pt x="12869" y="39675"/>
                      </a:lnTo>
                      <a:cubicBezTo>
                        <a:pt x="12869" y="46516"/>
                        <a:pt x="38266" y="59834"/>
                        <a:pt x="84818" y="59834"/>
                      </a:cubicBezTo>
                      <a:cubicBezTo>
                        <a:pt x="100534" y="59834"/>
                        <a:pt x="112319" y="58841"/>
                        <a:pt x="123035" y="56616"/>
                      </a:cubicBezTo>
                      <a:cubicBezTo>
                        <a:pt x="126498" y="55919"/>
                        <a:pt x="129922" y="58130"/>
                        <a:pt x="130639" y="61609"/>
                      </a:cubicBezTo>
                      <a:cubicBezTo>
                        <a:pt x="131363" y="65089"/>
                        <a:pt x="129126" y="68496"/>
                        <a:pt x="125650" y="69217"/>
                      </a:cubicBezTo>
                      <a:cubicBezTo>
                        <a:pt x="114042" y="71625"/>
                        <a:pt x="101448" y="72699"/>
                        <a:pt x="84818" y="72699"/>
                      </a:cubicBezTo>
                      <a:close/>
                    </a:path>
                  </a:pathLst>
                </a:custGeom>
                <a:solidFill>
                  <a:schemeClr val="accent1"/>
                </a:solidFill>
                <a:ln w="327" cap="flat">
                  <a:noFill/>
                  <a:prstDash val="solid"/>
                  <a:miter/>
                </a:ln>
              </p:spPr>
              <p:txBody>
                <a:bodyPr rtlCol="0" anchor="ctr"/>
                <a:lstStyle/>
                <a:p>
                  <a:endParaRPr lang="en-GB" dirty="0"/>
                </a:p>
              </p:txBody>
            </p:sp>
            <p:grpSp>
              <p:nvGrpSpPr>
                <p:cNvPr id="142" name="Graphic 4">
                  <a:extLst>
                    <a:ext uri="{FF2B5EF4-FFF2-40B4-BE49-F238E27FC236}">
                      <a16:creationId xmlns:a16="http://schemas.microsoft.com/office/drawing/2014/main" id="{2A3DC512-B47E-4392-959B-443E642D1FEE}"/>
                    </a:ext>
                  </a:extLst>
                </p:cNvPr>
                <p:cNvGrpSpPr/>
                <p:nvPr/>
              </p:nvGrpSpPr>
              <p:grpSpPr>
                <a:xfrm>
                  <a:off x="1075579" y="3587398"/>
                  <a:ext cx="130832" cy="99295"/>
                  <a:chOff x="1075579" y="3587398"/>
                  <a:chExt cx="130832" cy="99295"/>
                </a:xfrm>
                <a:solidFill>
                  <a:schemeClr val="accent1"/>
                </a:solidFill>
              </p:grpSpPr>
              <p:sp>
                <p:nvSpPr>
                  <p:cNvPr id="143" name="Freihandform: Form 410">
                    <a:extLst>
                      <a:ext uri="{FF2B5EF4-FFF2-40B4-BE49-F238E27FC236}">
                        <a16:creationId xmlns:a16="http://schemas.microsoft.com/office/drawing/2014/main" id="{8B03E37C-F0BA-4080-8CD4-F336AA58AFB1}"/>
                      </a:ext>
                    </a:extLst>
                  </p:cNvPr>
                  <p:cNvSpPr/>
                  <p:nvPr/>
                </p:nvSpPr>
                <p:spPr>
                  <a:xfrm>
                    <a:off x="1075579" y="3587398"/>
                    <a:ext cx="130832" cy="66055"/>
                  </a:xfrm>
                  <a:custGeom>
                    <a:avLst/>
                    <a:gdLst>
                      <a:gd name="connsiteX0" fmla="*/ 84818 w 130832"/>
                      <a:gd name="connsiteY0" fmla="*/ 66055 h 66055"/>
                      <a:gd name="connsiteX1" fmla="*/ 0 w 130832"/>
                      <a:gd name="connsiteY1" fmla="*/ 33024 h 66055"/>
                      <a:gd name="connsiteX2" fmla="*/ 84818 w 130832"/>
                      <a:gd name="connsiteY2" fmla="*/ 0 h 66055"/>
                      <a:gd name="connsiteX3" fmla="*/ 124811 w 130832"/>
                      <a:gd name="connsiteY3" fmla="*/ 3594 h 66055"/>
                      <a:gd name="connsiteX4" fmla="*/ 129905 w 130832"/>
                      <a:gd name="connsiteY4" fmla="*/ 11126 h 66055"/>
                      <a:gd name="connsiteX5" fmla="*/ 122367 w 130832"/>
                      <a:gd name="connsiteY5" fmla="*/ 16221 h 66055"/>
                      <a:gd name="connsiteX6" fmla="*/ 84818 w 130832"/>
                      <a:gd name="connsiteY6" fmla="*/ 12866 h 66055"/>
                      <a:gd name="connsiteX7" fmla="*/ 12869 w 130832"/>
                      <a:gd name="connsiteY7" fmla="*/ 33024 h 66055"/>
                      <a:gd name="connsiteX8" fmla="*/ 84818 w 130832"/>
                      <a:gd name="connsiteY8" fmla="*/ 53189 h 66055"/>
                      <a:gd name="connsiteX9" fmla="*/ 123140 w 130832"/>
                      <a:gd name="connsiteY9" fmla="*/ 49677 h 66055"/>
                      <a:gd name="connsiteX10" fmla="*/ 130708 w 130832"/>
                      <a:gd name="connsiteY10" fmla="*/ 54729 h 66055"/>
                      <a:gd name="connsiteX11" fmla="*/ 125653 w 130832"/>
                      <a:gd name="connsiteY11" fmla="*/ 62294 h 66055"/>
                      <a:gd name="connsiteX12" fmla="*/ 84818 w 130832"/>
                      <a:gd name="connsiteY12" fmla="*/ 66055 h 6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832" h="66055">
                        <a:moveTo>
                          <a:pt x="84818" y="66055"/>
                        </a:moveTo>
                        <a:cubicBezTo>
                          <a:pt x="42670" y="66055"/>
                          <a:pt x="0" y="54710"/>
                          <a:pt x="0" y="33024"/>
                        </a:cubicBezTo>
                        <a:cubicBezTo>
                          <a:pt x="0" y="11346"/>
                          <a:pt x="42670" y="0"/>
                          <a:pt x="84818" y="0"/>
                        </a:cubicBezTo>
                        <a:cubicBezTo>
                          <a:pt x="98834" y="0"/>
                          <a:pt x="112663" y="1245"/>
                          <a:pt x="124811" y="3594"/>
                        </a:cubicBezTo>
                        <a:cubicBezTo>
                          <a:pt x="128297" y="4266"/>
                          <a:pt x="130580" y="7640"/>
                          <a:pt x="129905" y="11126"/>
                        </a:cubicBezTo>
                        <a:cubicBezTo>
                          <a:pt x="129227" y="14619"/>
                          <a:pt x="125846" y="16905"/>
                          <a:pt x="122367" y="16221"/>
                        </a:cubicBezTo>
                        <a:cubicBezTo>
                          <a:pt x="111011" y="14029"/>
                          <a:pt x="98028" y="12866"/>
                          <a:pt x="84818" y="12866"/>
                        </a:cubicBezTo>
                        <a:cubicBezTo>
                          <a:pt x="38263" y="12866"/>
                          <a:pt x="12869" y="26184"/>
                          <a:pt x="12869" y="33024"/>
                        </a:cubicBezTo>
                        <a:cubicBezTo>
                          <a:pt x="12869" y="39865"/>
                          <a:pt x="38266" y="53189"/>
                          <a:pt x="84818" y="53189"/>
                        </a:cubicBezTo>
                        <a:cubicBezTo>
                          <a:pt x="98339" y="53189"/>
                          <a:pt x="111591" y="51977"/>
                          <a:pt x="123140" y="49677"/>
                        </a:cubicBezTo>
                        <a:cubicBezTo>
                          <a:pt x="126642" y="48943"/>
                          <a:pt x="130014" y="51247"/>
                          <a:pt x="130708" y="54729"/>
                        </a:cubicBezTo>
                        <a:cubicBezTo>
                          <a:pt x="131399" y="58215"/>
                          <a:pt x="129139" y="61603"/>
                          <a:pt x="125653" y="62294"/>
                        </a:cubicBezTo>
                        <a:cubicBezTo>
                          <a:pt x="113292" y="64754"/>
                          <a:pt x="99171" y="66055"/>
                          <a:pt x="84818" y="66055"/>
                        </a:cubicBezTo>
                        <a:close/>
                      </a:path>
                    </a:pathLst>
                  </a:custGeom>
                  <a:solidFill>
                    <a:schemeClr val="accent1"/>
                  </a:solidFill>
                  <a:ln w="327" cap="flat">
                    <a:noFill/>
                    <a:prstDash val="solid"/>
                    <a:miter/>
                  </a:ln>
                </p:spPr>
                <p:txBody>
                  <a:bodyPr rtlCol="0" anchor="ctr"/>
                  <a:lstStyle/>
                  <a:p>
                    <a:endParaRPr lang="en-GB" dirty="0"/>
                  </a:p>
                </p:txBody>
              </p:sp>
              <p:sp>
                <p:nvSpPr>
                  <p:cNvPr id="144" name="Freihandform: Form 411">
                    <a:extLst>
                      <a:ext uri="{FF2B5EF4-FFF2-40B4-BE49-F238E27FC236}">
                        <a16:creationId xmlns:a16="http://schemas.microsoft.com/office/drawing/2014/main" id="{734D513C-72F0-4A89-93C2-CC529F9D5B15}"/>
                      </a:ext>
                    </a:extLst>
                  </p:cNvPr>
                  <p:cNvSpPr/>
                  <p:nvPr/>
                </p:nvSpPr>
                <p:spPr>
                  <a:xfrm>
                    <a:off x="1075579" y="3613988"/>
                    <a:ext cx="129976" cy="72705"/>
                  </a:xfrm>
                  <a:custGeom>
                    <a:avLst/>
                    <a:gdLst>
                      <a:gd name="connsiteX0" fmla="*/ 84818 w 129976"/>
                      <a:gd name="connsiteY0" fmla="*/ 72706 h 72705"/>
                      <a:gd name="connsiteX1" fmla="*/ 0 w 129976"/>
                      <a:gd name="connsiteY1" fmla="*/ 39682 h 72705"/>
                      <a:gd name="connsiteX2" fmla="*/ 0 w 129976"/>
                      <a:gd name="connsiteY2" fmla="*/ 6434 h 72705"/>
                      <a:gd name="connsiteX3" fmla="*/ 6435 w 129976"/>
                      <a:gd name="connsiteY3" fmla="*/ 0 h 72705"/>
                      <a:gd name="connsiteX4" fmla="*/ 12869 w 129976"/>
                      <a:gd name="connsiteY4" fmla="*/ 6434 h 72705"/>
                      <a:gd name="connsiteX5" fmla="*/ 12869 w 129976"/>
                      <a:gd name="connsiteY5" fmla="*/ 39682 h 72705"/>
                      <a:gd name="connsiteX6" fmla="*/ 84818 w 129976"/>
                      <a:gd name="connsiteY6" fmla="*/ 59840 h 72705"/>
                      <a:gd name="connsiteX7" fmla="*/ 122324 w 129976"/>
                      <a:gd name="connsiteY7" fmla="*/ 56492 h 72705"/>
                      <a:gd name="connsiteX8" fmla="*/ 129860 w 129976"/>
                      <a:gd name="connsiteY8" fmla="*/ 61586 h 72705"/>
                      <a:gd name="connsiteX9" fmla="*/ 124762 w 129976"/>
                      <a:gd name="connsiteY9" fmla="*/ 69118 h 72705"/>
                      <a:gd name="connsiteX10" fmla="*/ 84818 w 129976"/>
                      <a:gd name="connsiteY10" fmla="*/ 72706 h 7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9976" h="72705">
                        <a:moveTo>
                          <a:pt x="84818" y="72706"/>
                        </a:moveTo>
                        <a:cubicBezTo>
                          <a:pt x="42670" y="72706"/>
                          <a:pt x="0" y="61360"/>
                          <a:pt x="0" y="39682"/>
                        </a:cubicBezTo>
                        <a:lnTo>
                          <a:pt x="0" y="6434"/>
                        </a:lnTo>
                        <a:cubicBezTo>
                          <a:pt x="0" y="2880"/>
                          <a:pt x="2880" y="0"/>
                          <a:pt x="6435" y="0"/>
                        </a:cubicBezTo>
                        <a:cubicBezTo>
                          <a:pt x="9986" y="0"/>
                          <a:pt x="12869" y="2876"/>
                          <a:pt x="12869" y="6434"/>
                        </a:cubicBezTo>
                        <a:lnTo>
                          <a:pt x="12869" y="39682"/>
                        </a:lnTo>
                        <a:cubicBezTo>
                          <a:pt x="12869" y="46522"/>
                          <a:pt x="38266" y="59840"/>
                          <a:pt x="84818" y="59840"/>
                        </a:cubicBezTo>
                        <a:cubicBezTo>
                          <a:pt x="97998" y="59840"/>
                          <a:pt x="110969" y="58684"/>
                          <a:pt x="122324" y="56492"/>
                        </a:cubicBezTo>
                        <a:cubicBezTo>
                          <a:pt x="125823" y="55787"/>
                          <a:pt x="129185" y="58094"/>
                          <a:pt x="129860" y="61586"/>
                        </a:cubicBezTo>
                        <a:cubicBezTo>
                          <a:pt x="130531" y="65072"/>
                          <a:pt x="128251" y="68447"/>
                          <a:pt x="124762" y="69118"/>
                        </a:cubicBezTo>
                        <a:cubicBezTo>
                          <a:pt x="112617" y="71467"/>
                          <a:pt x="98804" y="72706"/>
                          <a:pt x="84818" y="72706"/>
                        </a:cubicBezTo>
                        <a:close/>
                      </a:path>
                    </a:pathLst>
                  </a:custGeom>
                  <a:solidFill>
                    <a:schemeClr val="accent1"/>
                  </a:solidFill>
                  <a:ln w="327" cap="flat">
                    <a:noFill/>
                    <a:prstDash val="solid"/>
                    <a:miter/>
                  </a:ln>
                </p:spPr>
                <p:txBody>
                  <a:bodyPr rtlCol="0" anchor="ctr"/>
                  <a:lstStyle/>
                  <a:p>
                    <a:endParaRPr lang="en-GB" dirty="0"/>
                  </a:p>
                </p:txBody>
              </p:sp>
            </p:grpSp>
          </p:grpSp>
          <p:grpSp>
            <p:nvGrpSpPr>
              <p:cNvPr id="123" name="Graphic 4">
                <a:extLst>
                  <a:ext uri="{FF2B5EF4-FFF2-40B4-BE49-F238E27FC236}">
                    <a16:creationId xmlns:a16="http://schemas.microsoft.com/office/drawing/2014/main" id="{5A30DF76-E9BE-46F8-AC6F-E725826B51C6}"/>
                  </a:ext>
                </a:extLst>
              </p:cNvPr>
              <p:cNvGrpSpPr/>
              <p:nvPr/>
            </p:nvGrpSpPr>
            <p:grpSpPr>
              <a:xfrm>
                <a:off x="1193402" y="3500909"/>
                <a:ext cx="169639" cy="236569"/>
                <a:chOff x="1193402" y="3500909"/>
                <a:chExt cx="169639" cy="236569"/>
              </a:xfrm>
              <a:solidFill>
                <a:schemeClr val="accent1"/>
              </a:solidFill>
            </p:grpSpPr>
            <p:grpSp>
              <p:nvGrpSpPr>
                <p:cNvPr id="124" name="Graphic 4">
                  <a:extLst>
                    <a:ext uri="{FF2B5EF4-FFF2-40B4-BE49-F238E27FC236}">
                      <a16:creationId xmlns:a16="http://schemas.microsoft.com/office/drawing/2014/main" id="{5D542A48-C7F5-4978-A82A-FBB5F16991B1}"/>
                    </a:ext>
                  </a:extLst>
                </p:cNvPr>
                <p:cNvGrpSpPr/>
                <p:nvPr/>
              </p:nvGrpSpPr>
              <p:grpSpPr>
                <a:xfrm>
                  <a:off x="1193402" y="3662800"/>
                  <a:ext cx="169639" cy="74678"/>
                  <a:chOff x="1193402" y="3662800"/>
                  <a:chExt cx="169639" cy="74678"/>
                </a:xfrm>
                <a:solidFill>
                  <a:schemeClr val="accent1"/>
                </a:solidFill>
              </p:grpSpPr>
              <p:sp>
                <p:nvSpPr>
                  <p:cNvPr id="139" name="Freihandform: Form 414">
                    <a:extLst>
                      <a:ext uri="{FF2B5EF4-FFF2-40B4-BE49-F238E27FC236}">
                        <a16:creationId xmlns:a16="http://schemas.microsoft.com/office/drawing/2014/main" id="{2033BB32-010F-47D8-B5C0-497282A996E7}"/>
                      </a:ext>
                    </a:extLst>
                  </p:cNvPr>
                  <p:cNvSpPr/>
                  <p:nvPr/>
                </p:nvSpPr>
                <p:spPr>
                  <a:xfrm>
                    <a:off x="1193402" y="3662800"/>
                    <a:ext cx="169639" cy="40340"/>
                  </a:xfrm>
                  <a:custGeom>
                    <a:avLst/>
                    <a:gdLst>
                      <a:gd name="connsiteX0" fmla="*/ 84818 w 169639"/>
                      <a:gd name="connsiteY0" fmla="*/ 40340 h 40340"/>
                      <a:gd name="connsiteX1" fmla="*/ 0 w 169639"/>
                      <a:gd name="connsiteY1" fmla="*/ 6435 h 40340"/>
                      <a:gd name="connsiteX2" fmla="*/ 6435 w 169639"/>
                      <a:gd name="connsiteY2" fmla="*/ 0 h 40340"/>
                      <a:gd name="connsiteX3" fmla="*/ 12869 w 169639"/>
                      <a:gd name="connsiteY3" fmla="*/ 6435 h 40340"/>
                      <a:gd name="connsiteX4" fmla="*/ 84821 w 169639"/>
                      <a:gd name="connsiteY4" fmla="*/ 27474 h 40340"/>
                      <a:gd name="connsiteX5" fmla="*/ 156770 w 169639"/>
                      <a:gd name="connsiteY5" fmla="*/ 6435 h 40340"/>
                      <a:gd name="connsiteX6" fmla="*/ 163205 w 169639"/>
                      <a:gd name="connsiteY6" fmla="*/ 0 h 40340"/>
                      <a:gd name="connsiteX7" fmla="*/ 169639 w 169639"/>
                      <a:gd name="connsiteY7" fmla="*/ 6435 h 40340"/>
                      <a:gd name="connsiteX8" fmla="*/ 84818 w 169639"/>
                      <a:gd name="connsiteY8" fmla="*/ 40340 h 40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639" h="40340">
                        <a:moveTo>
                          <a:pt x="84818" y="40340"/>
                        </a:moveTo>
                        <a:cubicBezTo>
                          <a:pt x="42666" y="40340"/>
                          <a:pt x="0" y="28693"/>
                          <a:pt x="0" y="6435"/>
                        </a:cubicBezTo>
                        <a:cubicBezTo>
                          <a:pt x="0" y="2880"/>
                          <a:pt x="2880" y="0"/>
                          <a:pt x="6435" y="0"/>
                        </a:cubicBezTo>
                        <a:cubicBezTo>
                          <a:pt x="9986" y="0"/>
                          <a:pt x="12869" y="2877"/>
                          <a:pt x="12869" y="6435"/>
                        </a:cubicBezTo>
                        <a:cubicBezTo>
                          <a:pt x="12869" y="14809"/>
                          <a:pt x="41565" y="27474"/>
                          <a:pt x="84821" y="27474"/>
                        </a:cubicBezTo>
                        <a:cubicBezTo>
                          <a:pt x="128074" y="27474"/>
                          <a:pt x="156770" y="14809"/>
                          <a:pt x="156770" y="6435"/>
                        </a:cubicBezTo>
                        <a:cubicBezTo>
                          <a:pt x="156770" y="2880"/>
                          <a:pt x="159650" y="0"/>
                          <a:pt x="163205" y="0"/>
                        </a:cubicBezTo>
                        <a:cubicBezTo>
                          <a:pt x="166756" y="0"/>
                          <a:pt x="169639" y="2877"/>
                          <a:pt x="169639" y="6435"/>
                        </a:cubicBezTo>
                        <a:cubicBezTo>
                          <a:pt x="169633" y="28693"/>
                          <a:pt x="126963" y="40340"/>
                          <a:pt x="84818" y="40340"/>
                        </a:cubicBezTo>
                        <a:close/>
                      </a:path>
                    </a:pathLst>
                  </a:custGeom>
                  <a:solidFill>
                    <a:schemeClr val="accent1"/>
                  </a:solidFill>
                  <a:ln w="327" cap="flat">
                    <a:noFill/>
                    <a:prstDash val="solid"/>
                    <a:miter/>
                  </a:ln>
                </p:spPr>
                <p:txBody>
                  <a:bodyPr rtlCol="0" anchor="ctr"/>
                  <a:lstStyle/>
                  <a:p>
                    <a:endParaRPr lang="en-GB" dirty="0"/>
                  </a:p>
                </p:txBody>
              </p:sp>
              <p:sp>
                <p:nvSpPr>
                  <p:cNvPr id="140" name="Freihandform: Form 415">
                    <a:extLst>
                      <a:ext uri="{FF2B5EF4-FFF2-40B4-BE49-F238E27FC236}">
                        <a16:creationId xmlns:a16="http://schemas.microsoft.com/office/drawing/2014/main" id="{5CD4A509-D87B-4220-85E3-4CD09FA1B3DD}"/>
                      </a:ext>
                    </a:extLst>
                  </p:cNvPr>
                  <p:cNvSpPr/>
                  <p:nvPr/>
                </p:nvSpPr>
                <p:spPr>
                  <a:xfrm>
                    <a:off x="1193402" y="3662800"/>
                    <a:ext cx="169639" cy="74678"/>
                  </a:xfrm>
                  <a:custGeom>
                    <a:avLst/>
                    <a:gdLst>
                      <a:gd name="connsiteX0" fmla="*/ 84818 w 169639"/>
                      <a:gd name="connsiteY0" fmla="*/ 74678 h 74678"/>
                      <a:gd name="connsiteX1" fmla="*/ 0 w 169639"/>
                      <a:gd name="connsiteY1" fmla="*/ 40773 h 74678"/>
                      <a:gd name="connsiteX2" fmla="*/ 0 w 169639"/>
                      <a:gd name="connsiteY2" fmla="*/ 6435 h 74678"/>
                      <a:gd name="connsiteX3" fmla="*/ 6435 w 169639"/>
                      <a:gd name="connsiteY3" fmla="*/ 0 h 74678"/>
                      <a:gd name="connsiteX4" fmla="*/ 12869 w 169639"/>
                      <a:gd name="connsiteY4" fmla="*/ 6435 h 74678"/>
                      <a:gd name="connsiteX5" fmla="*/ 12869 w 169639"/>
                      <a:gd name="connsiteY5" fmla="*/ 40773 h 74678"/>
                      <a:gd name="connsiteX6" fmla="*/ 84821 w 169639"/>
                      <a:gd name="connsiteY6" fmla="*/ 61812 h 74678"/>
                      <a:gd name="connsiteX7" fmla="*/ 156770 w 169639"/>
                      <a:gd name="connsiteY7" fmla="*/ 40773 h 74678"/>
                      <a:gd name="connsiteX8" fmla="*/ 156770 w 169639"/>
                      <a:gd name="connsiteY8" fmla="*/ 6435 h 74678"/>
                      <a:gd name="connsiteX9" fmla="*/ 163205 w 169639"/>
                      <a:gd name="connsiteY9" fmla="*/ 0 h 74678"/>
                      <a:gd name="connsiteX10" fmla="*/ 169639 w 169639"/>
                      <a:gd name="connsiteY10" fmla="*/ 6435 h 74678"/>
                      <a:gd name="connsiteX11" fmla="*/ 169639 w 169639"/>
                      <a:gd name="connsiteY11" fmla="*/ 40773 h 74678"/>
                      <a:gd name="connsiteX12" fmla="*/ 84818 w 169639"/>
                      <a:gd name="connsiteY12" fmla="*/ 74678 h 7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639" h="74678">
                        <a:moveTo>
                          <a:pt x="84818" y="74678"/>
                        </a:moveTo>
                        <a:cubicBezTo>
                          <a:pt x="42666" y="74678"/>
                          <a:pt x="0" y="63031"/>
                          <a:pt x="0" y="40773"/>
                        </a:cubicBezTo>
                        <a:lnTo>
                          <a:pt x="0" y="6435"/>
                        </a:lnTo>
                        <a:cubicBezTo>
                          <a:pt x="0" y="2880"/>
                          <a:pt x="2880" y="0"/>
                          <a:pt x="6435" y="0"/>
                        </a:cubicBezTo>
                        <a:cubicBezTo>
                          <a:pt x="9986" y="0"/>
                          <a:pt x="12869" y="2877"/>
                          <a:pt x="12869" y="6435"/>
                        </a:cubicBezTo>
                        <a:lnTo>
                          <a:pt x="12869" y="40773"/>
                        </a:lnTo>
                        <a:cubicBezTo>
                          <a:pt x="12869" y="49147"/>
                          <a:pt x="41565" y="61812"/>
                          <a:pt x="84821" y="61812"/>
                        </a:cubicBezTo>
                        <a:cubicBezTo>
                          <a:pt x="128074" y="61812"/>
                          <a:pt x="156770" y="49147"/>
                          <a:pt x="156770" y="40773"/>
                        </a:cubicBezTo>
                        <a:lnTo>
                          <a:pt x="156770" y="6435"/>
                        </a:lnTo>
                        <a:cubicBezTo>
                          <a:pt x="156770" y="2880"/>
                          <a:pt x="159650" y="0"/>
                          <a:pt x="163205" y="0"/>
                        </a:cubicBezTo>
                        <a:cubicBezTo>
                          <a:pt x="166756" y="0"/>
                          <a:pt x="169639" y="2877"/>
                          <a:pt x="169639" y="6435"/>
                        </a:cubicBezTo>
                        <a:lnTo>
                          <a:pt x="169639" y="40773"/>
                        </a:lnTo>
                        <a:cubicBezTo>
                          <a:pt x="169633" y="63031"/>
                          <a:pt x="126963" y="74678"/>
                          <a:pt x="84818" y="74678"/>
                        </a:cubicBezTo>
                        <a:close/>
                      </a:path>
                    </a:pathLst>
                  </a:custGeom>
                  <a:solidFill>
                    <a:schemeClr val="accent1"/>
                  </a:solidFill>
                  <a:ln w="327" cap="flat">
                    <a:noFill/>
                    <a:prstDash val="solid"/>
                    <a:miter/>
                  </a:ln>
                </p:spPr>
                <p:txBody>
                  <a:bodyPr rtlCol="0" anchor="ctr"/>
                  <a:lstStyle/>
                  <a:p>
                    <a:endParaRPr lang="en-GB" dirty="0"/>
                  </a:p>
                </p:txBody>
              </p:sp>
            </p:grpSp>
            <p:grpSp>
              <p:nvGrpSpPr>
                <p:cNvPr id="125" name="Graphic 4">
                  <a:extLst>
                    <a:ext uri="{FF2B5EF4-FFF2-40B4-BE49-F238E27FC236}">
                      <a16:creationId xmlns:a16="http://schemas.microsoft.com/office/drawing/2014/main" id="{8ECDBDF4-E31C-4569-BCF7-8437D5D8C653}"/>
                    </a:ext>
                  </a:extLst>
                </p:cNvPr>
                <p:cNvGrpSpPr/>
                <p:nvPr/>
              </p:nvGrpSpPr>
              <p:grpSpPr>
                <a:xfrm>
                  <a:off x="1193402" y="3595844"/>
                  <a:ext cx="169639" cy="108157"/>
                  <a:chOff x="1193402" y="3595844"/>
                  <a:chExt cx="169639" cy="108157"/>
                </a:xfrm>
                <a:solidFill>
                  <a:schemeClr val="accent1"/>
                </a:solidFill>
              </p:grpSpPr>
              <p:grpSp>
                <p:nvGrpSpPr>
                  <p:cNvPr id="133" name="Graphic 4">
                    <a:extLst>
                      <a:ext uri="{FF2B5EF4-FFF2-40B4-BE49-F238E27FC236}">
                        <a16:creationId xmlns:a16="http://schemas.microsoft.com/office/drawing/2014/main" id="{477C4ED2-61FD-4BBD-9AB7-8AFAB776EB52}"/>
                      </a:ext>
                    </a:extLst>
                  </p:cNvPr>
                  <p:cNvGrpSpPr/>
                  <p:nvPr/>
                </p:nvGrpSpPr>
                <p:grpSpPr>
                  <a:xfrm>
                    <a:off x="1193402" y="3629320"/>
                    <a:ext cx="169639" cy="74681"/>
                    <a:chOff x="1193402" y="3629320"/>
                    <a:chExt cx="169639" cy="74681"/>
                  </a:xfrm>
                  <a:solidFill>
                    <a:schemeClr val="accent1"/>
                  </a:solidFill>
                </p:grpSpPr>
                <p:sp>
                  <p:nvSpPr>
                    <p:cNvPr id="137" name="Freihandform: Form 418">
                      <a:extLst>
                        <a:ext uri="{FF2B5EF4-FFF2-40B4-BE49-F238E27FC236}">
                          <a16:creationId xmlns:a16="http://schemas.microsoft.com/office/drawing/2014/main" id="{6D661AB0-8D59-4004-A338-8B1B240A7578}"/>
                        </a:ext>
                      </a:extLst>
                    </p:cNvPr>
                    <p:cNvSpPr/>
                    <p:nvPr/>
                  </p:nvSpPr>
                  <p:spPr>
                    <a:xfrm>
                      <a:off x="1193402" y="3629320"/>
                      <a:ext cx="169639" cy="40340"/>
                    </a:xfrm>
                    <a:custGeom>
                      <a:avLst/>
                      <a:gdLst>
                        <a:gd name="connsiteX0" fmla="*/ 84818 w 169639"/>
                        <a:gd name="connsiteY0" fmla="*/ 40340 h 40340"/>
                        <a:gd name="connsiteX1" fmla="*/ 0 w 169639"/>
                        <a:gd name="connsiteY1" fmla="*/ 6435 h 40340"/>
                        <a:gd name="connsiteX2" fmla="*/ 6435 w 169639"/>
                        <a:gd name="connsiteY2" fmla="*/ 0 h 40340"/>
                        <a:gd name="connsiteX3" fmla="*/ 12869 w 169639"/>
                        <a:gd name="connsiteY3" fmla="*/ 6435 h 40340"/>
                        <a:gd name="connsiteX4" fmla="*/ 84821 w 169639"/>
                        <a:gd name="connsiteY4" fmla="*/ 27474 h 40340"/>
                        <a:gd name="connsiteX5" fmla="*/ 156770 w 169639"/>
                        <a:gd name="connsiteY5" fmla="*/ 6435 h 40340"/>
                        <a:gd name="connsiteX6" fmla="*/ 163205 w 169639"/>
                        <a:gd name="connsiteY6" fmla="*/ 0 h 40340"/>
                        <a:gd name="connsiteX7" fmla="*/ 169639 w 169639"/>
                        <a:gd name="connsiteY7" fmla="*/ 6435 h 40340"/>
                        <a:gd name="connsiteX8" fmla="*/ 84818 w 169639"/>
                        <a:gd name="connsiteY8" fmla="*/ 40340 h 40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639" h="40340">
                          <a:moveTo>
                            <a:pt x="84818" y="40340"/>
                          </a:moveTo>
                          <a:cubicBezTo>
                            <a:pt x="42666" y="40340"/>
                            <a:pt x="0" y="28693"/>
                            <a:pt x="0" y="6435"/>
                          </a:cubicBezTo>
                          <a:cubicBezTo>
                            <a:pt x="0" y="2880"/>
                            <a:pt x="2880" y="0"/>
                            <a:pt x="6435" y="0"/>
                          </a:cubicBezTo>
                          <a:cubicBezTo>
                            <a:pt x="9986" y="0"/>
                            <a:pt x="12869" y="2877"/>
                            <a:pt x="12869" y="6435"/>
                          </a:cubicBezTo>
                          <a:cubicBezTo>
                            <a:pt x="12869" y="14809"/>
                            <a:pt x="41565" y="27474"/>
                            <a:pt x="84821" y="27474"/>
                          </a:cubicBezTo>
                          <a:cubicBezTo>
                            <a:pt x="128074" y="27474"/>
                            <a:pt x="156770" y="14809"/>
                            <a:pt x="156770" y="6435"/>
                          </a:cubicBezTo>
                          <a:cubicBezTo>
                            <a:pt x="156770" y="2880"/>
                            <a:pt x="159650" y="0"/>
                            <a:pt x="163205" y="0"/>
                          </a:cubicBezTo>
                          <a:cubicBezTo>
                            <a:pt x="166756" y="0"/>
                            <a:pt x="169639" y="2877"/>
                            <a:pt x="169639" y="6435"/>
                          </a:cubicBezTo>
                          <a:cubicBezTo>
                            <a:pt x="169633" y="28693"/>
                            <a:pt x="126963" y="40340"/>
                            <a:pt x="84818" y="40340"/>
                          </a:cubicBezTo>
                          <a:close/>
                        </a:path>
                      </a:pathLst>
                    </a:custGeom>
                    <a:solidFill>
                      <a:schemeClr val="accent1"/>
                    </a:solidFill>
                    <a:ln w="327" cap="flat">
                      <a:noFill/>
                      <a:prstDash val="solid"/>
                      <a:miter/>
                    </a:ln>
                  </p:spPr>
                  <p:txBody>
                    <a:bodyPr rtlCol="0" anchor="ctr"/>
                    <a:lstStyle/>
                    <a:p>
                      <a:endParaRPr lang="en-GB" dirty="0"/>
                    </a:p>
                  </p:txBody>
                </p:sp>
                <p:sp>
                  <p:nvSpPr>
                    <p:cNvPr id="138" name="Freihandform: Form 419">
                      <a:extLst>
                        <a:ext uri="{FF2B5EF4-FFF2-40B4-BE49-F238E27FC236}">
                          <a16:creationId xmlns:a16="http://schemas.microsoft.com/office/drawing/2014/main" id="{76692DC6-2484-47FD-8869-D5EA25732571}"/>
                        </a:ext>
                      </a:extLst>
                    </p:cNvPr>
                    <p:cNvSpPr/>
                    <p:nvPr/>
                  </p:nvSpPr>
                  <p:spPr>
                    <a:xfrm>
                      <a:off x="1193402" y="3629324"/>
                      <a:ext cx="169639" cy="74678"/>
                    </a:xfrm>
                    <a:custGeom>
                      <a:avLst/>
                      <a:gdLst>
                        <a:gd name="connsiteX0" fmla="*/ 84818 w 169639"/>
                        <a:gd name="connsiteY0" fmla="*/ 74678 h 74678"/>
                        <a:gd name="connsiteX1" fmla="*/ 0 w 169639"/>
                        <a:gd name="connsiteY1" fmla="*/ 40772 h 74678"/>
                        <a:gd name="connsiteX2" fmla="*/ 0 w 169639"/>
                        <a:gd name="connsiteY2" fmla="*/ 6434 h 74678"/>
                        <a:gd name="connsiteX3" fmla="*/ 6435 w 169639"/>
                        <a:gd name="connsiteY3" fmla="*/ 0 h 74678"/>
                        <a:gd name="connsiteX4" fmla="*/ 12869 w 169639"/>
                        <a:gd name="connsiteY4" fmla="*/ 6434 h 74678"/>
                        <a:gd name="connsiteX5" fmla="*/ 12869 w 169639"/>
                        <a:gd name="connsiteY5" fmla="*/ 40772 h 74678"/>
                        <a:gd name="connsiteX6" fmla="*/ 84821 w 169639"/>
                        <a:gd name="connsiteY6" fmla="*/ 61812 h 74678"/>
                        <a:gd name="connsiteX7" fmla="*/ 156770 w 169639"/>
                        <a:gd name="connsiteY7" fmla="*/ 40772 h 74678"/>
                        <a:gd name="connsiteX8" fmla="*/ 156770 w 169639"/>
                        <a:gd name="connsiteY8" fmla="*/ 6434 h 74678"/>
                        <a:gd name="connsiteX9" fmla="*/ 163205 w 169639"/>
                        <a:gd name="connsiteY9" fmla="*/ 0 h 74678"/>
                        <a:gd name="connsiteX10" fmla="*/ 169639 w 169639"/>
                        <a:gd name="connsiteY10" fmla="*/ 6434 h 74678"/>
                        <a:gd name="connsiteX11" fmla="*/ 169639 w 169639"/>
                        <a:gd name="connsiteY11" fmla="*/ 40772 h 74678"/>
                        <a:gd name="connsiteX12" fmla="*/ 84818 w 169639"/>
                        <a:gd name="connsiteY12" fmla="*/ 74678 h 7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639" h="74678">
                          <a:moveTo>
                            <a:pt x="84818" y="74678"/>
                          </a:moveTo>
                          <a:cubicBezTo>
                            <a:pt x="42666" y="74678"/>
                            <a:pt x="0" y="63031"/>
                            <a:pt x="0" y="40772"/>
                          </a:cubicBezTo>
                          <a:lnTo>
                            <a:pt x="0" y="6434"/>
                          </a:lnTo>
                          <a:cubicBezTo>
                            <a:pt x="0" y="2880"/>
                            <a:pt x="2880" y="0"/>
                            <a:pt x="6435" y="0"/>
                          </a:cubicBezTo>
                          <a:cubicBezTo>
                            <a:pt x="9986" y="0"/>
                            <a:pt x="12869" y="2876"/>
                            <a:pt x="12869" y="6434"/>
                          </a:cubicBezTo>
                          <a:lnTo>
                            <a:pt x="12869" y="40772"/>
                          </a:lnTo>
                          <a:cubicBezTo>
                            <a:pt x="12869" y="49146"/>
                            <a:pt x="41565" y="61812"/>
                            <a:pt x="84821" y="61812"/>
                          </a:cubicBezTo>
                          <a:cubicBezTo>
                            <a:pt x="128074" y="61812"/>
                            <a:pt x="156770" y="49146"/>
                            <a:pt x="156770" y="40772"/>
                          </a:cubicBezTo>
                          <a:lnTo>
                            <a:pt x="156770" y="6434"/>
                          </a:lnTo>
                          <a:cubicBezTo>
                            <a:pt x="156770" y="2880"/>
                            <a:pt x="159650" y="0"/>
                            <a:pt x="163205" y="0"/>
                          </a:cubicBezTo>
                          <a:cubicBezTo>
                            <a:pt x="166756" y="0"/>
                            <a:pt x="169639" y="2876"/>
                            <a:pt x="169639" y="6434"/>
                          </a:cubicBezTo>
                          <a:lnTo>
                            <a:pt x="169639" y="40772"/>
                          </a:lnTo>
                          <a:cubicBezTo>
                            <a:pt x="169633" y="63031"/>
                            <a:pt x="126963" y="74678"/>
                            <a:pt x="84818" y="74678"/>
                          </a:cubicBezTo>
                          <a:close/>
                        </a:path>
                      </a:pathLst>
                    </a:custGeom>
                    <a:solidFill>
                      <a:schemeClr val="accent1"/>
                    </a:solidFill>
                    <a:ln w="327" cap="flat">
                      <a:noFill/>
                      <a:prstDash val="solid"/>
                      <a:miter/>
                    </a:ln>
                  </p:spPr>
                  <p:txBody>
                    <a:bodyPr rtlCol="0" anchor="ctr"/>
                    <a:lstStyle/>
                    <a:p>
                      <a:endParaRPr lang="en-GB" dirty="0"/>
                    </a:p>
                  </p:txBody>
                </p:sp>
              </p:grpSp>
              <p:grpSp>
                <p:nvGrpSpPr>
                  <p:cNvPr id="134" name="Graphic 4">
                    <a:extLst>
                      <a:ext uri="{FF2B5EF4-FFF2-40B4-BE49-F238E27FC236}">
                        <a16:creationId xmlns:a16="http://schemas.microsoft.com/office/drawing/2014/main" id="{824B997B-781D-45FF-BAF3-EE1A34FF0193}"/>
                      </a:ext>
                    </a:extLst>
                  </p:cNvPr>
                  <p:cNvGrpSpPr/>
                  <p:nvPr/>
                </p:nvGrpSpPr>
                <p:grpSpPr>
                  <a:xfrm>
                    <a:off x="1193402" y="3595844"/>
                    <a:ext cx="169639" cy="74671"/>
                    <a:chOff x="1193402" y="3595844"/>
                    <a:chExt cx="169639" cy="74671"/>
                  </a:xfrm>
                  <a:solidFill>
                    <a:schemeClr val="accent1"/>
                  </a:solidFill>
                </p:grpSpPr>
                <p:sp>
                  <p:nvSpPr>
                    <p:cNvPr id="135" name="Freihandform: Form 421">
                      <a:extLst>
                        <a:ext uri="{FF2B5EF4-FFF2-40B4-BE49-F238E27FC236}">
                          <a16:creationId xmlns:a16="http://schemas.microsoft.com/office/drawing/2014/main" id="{A41BA83D-9A23-4A88-88A1-D24D7F60003E}"/>
                        </a:ext>
                      </a:extLst>
                    </p:cNvPr>
                    <p:cNvSpPr/>
                    <p:nvPr/>
                  </p:nvSpPr>
                  <p:spPr>
                    <a:xfrm>
                      <a:off x="1193402" y="3595844"/>
                      <a:ext cx="169639" cy="40340"/>
                    </a:xfrm>
                    <a:custGeom>
                      <a:avLst/>
                      <a:gdLst>
                        <a:gd name="connsiteX0" fmla="*/ 84818 w 169639"/>
                        <a:gd name="connsiteY0" fmla="*/ 40340 h 40340"/>
                        <a:gd name="connsiteX1" fmla="*/ 0 w 169639"/>
                        <a:gd name="connsiteY1" fmla="*/ 6434 h 40340"/>
                        <a:gd name="connsiteX2" fmla="*/ 6435 w 169639"/>
                        <a:gd name="connsiteY2" fmla="*/ 0 h 40340"/>
                        <a:gd name="connsiteX3" fmla="*/ 12869 w 169639"/>
                        <a:gd name="connsiteY3" fmla="*/ 6434 h 40340"/>
                        <a:gd name="connsiteX4" fmla="*/ 84821 w 169639"/>
                        <a:gd name="connsiteY4" fmla="*/ 27474 h 40340"/>
                        <a:gd name="connsiteX5" fmla="*/ 156770 w 169639"/>
                        <a:gd name="connsiteY5" fmla="*/ 6434 h 40340"/>
                        <a:gd name="connsiteX6" fmla="*/ 163205 w 169639"/>
                        <a:gd name="connsiteY6" fmla="*/ 0 h 40340"/>
                        <a:gd name="connsiteX7" fmla="*/ 169639 w 169639"/>
                        <a:gd name="connsiteY7" fmla="*/ 6434 h 40340"/>
                        <a:gd name="connsiteX8" fmla="*/ 84818 w 169639"/>
                        <a:gd name="connsiteY8" fmla="*/ 40340 h 40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639" h="40340">
                          <a:moveTo>
                            <a:pt x="84818" y="40340"/>
                          </a:moveTo>
                          <a:cubicBezTo>
                            <a:pt x="42666" y="40340"/>
                            <a:pt x="0" y="28693"/>
                            <a:pt x="0" y="6434"/>
                          </a:cubicBezTo>
                          <a:cubicBezTo>
                            <a:pt x="0" y="2880"/>
                            <a:pt x="2880" y="0"/>
                            <a:pt x="6435" y="0"/>
                          </a:cubicBezTo>
                          <a:cubicBezTo>
                            <a:pt x="9986" y="0"/>
                            <a:pt x="12869" y="2876"/>
                            <a:pt x="12869" y="6434"/>
                          </a:cubicBezTo>
                          <a:cubicBezTo>
                            <a:pt x="12869" y="14808"/>
                            <a:pt x="41565" y="27474"/>
                            <a:pt x="84821" y="27474"/>
                          </a:cubicBezTo>
                          <a:cubicBezTo>
                            <a:pt x="128074" y="27474"/>
                            <a:pt x="156770" y="14808"/>
                            <a:pt x="156770" y="6434"/>
                          </a:cubicBezTo>
                          <a:cubicBezTo>
                            <a:pt x="156770" y="2880"/>
                            <a:pt x="159650" y="0"/>
                            <a:pt x="163205" y="0"/>
                          </a:cubicBezTo>
                          <a:cubicBezTo>
                            <a:pt x="166756" y="0"/>
                            <a:pt x="169639" y="2876"/>
                            <a:pt x="169639" y="6434"/>
                          </a:cubicBezTo>
                          <a:cubicBezTo>
                            <a:pt x="169633" y="28693"/>
                            <a:pt x="126963" y="40340"/>
                            <a:pt x="84818" y="40340"/>
                          </a:cubicBezTo>
                          <a:close/>
                        </a:path>
                      </a:pathLst>
                    </a:custGeom>
                    <a:solidFill>
                      <a:schemeClr val="accent1"/>
                    </a:solidFill>
                    <a:ln w="327" cap="flat">
                      <a:noFill/>
                      <a:prstDash val="solid"/>
                      <a:miter/>
                    </a:ln>
                  </p:spPr>
                  <p:txBody>
                    <a:bodyPr rtlCol="0" anchor="ctr"/>
                    <a:lstStyle/>
                    <a:p>
                      <a:endParaRPr lang="en-GB" dirty="0"/>
                    </a:p>
                  </p:txBody>
                </p:sp>
                <p:sp>
                  <p:nvSpPr>
                    <p:cNvPr id="136" name="Freihandform: Form 422">
                      <a:extLst>
                        <a:ext uri="{FF2B5EF4-FFF2-40B4-BE49-F238E27FC236}">
                          <a16:creationId xmlns:a16="http://schemas.microsoft.com/office/drawing/2014/main" id="{843AB2EE-9A0E-4888-AC4A-387028C866C6}"/>
                        </a:ext>
                      </a:extLst>
                    </p:cNvPr>
                    <p:cNvSpPr/>
                    <p:nvPr/>
                  </p:nvSpPr>
                  <p:spPr>
                    <a:xfrm>
                      <a:off x="1193402" y="3595844"/>
                      <a:ext cx="169639" cy="74671"/>
                    </a:xfrm>
                    <a:custGeom>
                      <a:avLst/>
                      <a:gdLst>
                        <a:gd name="connsiteX0" fmla="*/ 84818 w 169639"/>
                        <a:gd name="connsiteY0" fmla="*/ 74672 h 74671"/>
                        <a:gd name="connsiteX1" fmla="*/ 0 w 169639"/>
                        <a:gd name="connsiteY1" fmla="*/ 40772 h 74671"/>
                        <a:gd name="connsiteX2" fmla="*/ 0 w 169639"/>
                        <a:gd name="connsiteY2" fmla="*/ 6434 h 74671"/>
                        <a:gd name="connsiteX3" fmla="*/ 6435 w 169639"/>
                        <a:gd name="connsiteY3" fmla="*/ 0 h 74671"/>
                        <a:gd name="connsiteX4" fmla="*/ 12869 w 169639"/>
                        <a:gd name="connsiteY4" fmla="*/ 6434 h 74671"/>
                        <a:gd name="connsiteX5" fmla="*/ 12869 w 169639"/>
                        <a:gd name="connsiteY5" fmla="*/ 40772 h 74671"/>
                        <a:gd name="connsiteX6" fmla="*/ 84821 w 169639"/>
                        <a:gd name="connsiteY6" fmla="*/ 61806 h 74671"/>
                        <a:gd name="connsiteX7" fmla="*/ 156770 w 169639"/>
                        <a:gd name="connsiteY7" fmla="*/ 40772 h 74671"/>
                        <a:gd name="connsiteX8" fmla="*/ 156770 w 169639"/>
                        <a:gd name="connsiteY8" fmla="*/ 6434 h 74671"/>
                        <a:gd name="connsiteX9" fmla="*/ 163205 w 169639"/>
                        <a:gd name="connsiteY9" fmla="*/ 0 h 74671"/>
                        <a:gd name="connsiteX10" fmla="*/ 169639 w 169639"/>
                        <a:gd name="connsiteY10" fmla="*/ 6434 h 74671"/>
                        <a:gd name="connsiteX11" fmla="*/ 169639 w 169639"/>
                        <a:gd name="connsiteY11" fmla="*/ 40772 h 74671"/>
                        <a:gd name="connsiteX12" fmla="*/ 84818 w 169639"/>
                        <a:gd name="connsiteY12" fmla="*/ 74672 h 7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639" h="74671">
                          <a:moveTo>
                            <a:pt x="84818" y="74672"/>
                          </a:moveTo>
                          <a:cubicBezTo>
                            <a:pt x="42666" y="74672"/>
                            <a:pt x="0" y="63031"/>
                            <a:pt x="0" y="40772"/>
                          </a:cubicBezTo>
                          <a:lnTo>
                            <a:pt x="0" y="6434"/>
                          </a:lnTo>
                          <a:cubicBezTo>
                            <a:pt x="0" y="2880"/>
                            <a:pt x="2880" y="0"/>
                            <a:pt x="6435" y="0"/>
                          </a:cubicBezTo>
                          <a:cubicBezTo>
                            <a:pt x="9986" y="0"/>
                            <a:pt x="12869" y="2876"/>
                            <a:pt x="12869" y="6434"/>
                          </a:cubicBezTo>
                          <a:lnTo>
                            <a:pt x="12869" y="40772"/>
                          </a:lnTo>
                          <a:cubicBezTo>
                            <a:pt x="12869" y="49346"/>
                            <a:pt x="40900" y="61806"/>
                            <a:pt x="84821" y="61806"/>
                          </a:cubicBezTo>
                          <a:cubicBezTo>
                            <a:pt x="128742" y="61806"/>
                            <a:pt x="156770" y="49350"/>
                            <a:pt x="156770" y="40772"/>
                          </a:cubicBezTo>
                          <a:lnTo>
                            <a:pt x="156770" y="6434"/>
                          </a:lnTo>
                          <a:cubicBezTo>
                            <a:pt x="156770" y="2880"/>
                            <a:pt x="159650" y="0"/>
                            <a:pt x="163205" y="0"/>
                          </a:cubicBezTo>
                          <a:cubicBezTo>
                            <a:pt x="166756" y="0"/>
                            <a:pt x="169639" y="2876"/>
                            <a:pt x="169639" y="6434"/>
                          </a:cubicBezTo>
                          <a:lnTo>
                            <a:pt x="169639" y="40772"/>
                          </a:lnTo>
                          <a:cubicBezTo>
                            <a:pt x="169633" y="63031"/>
                            <a:pt x="126963" y="74672"/>
                            <a:pt x="84818" y="74672"/>
                          </a:cubicBezTo>
                          <a:close/>
                        </a:path>
                      </a:pathLst>
                    </a:custGeom>
                    <a:solidFill>
                      <a:schemeClr val="accent1"/>
                    </a:solidFill>
                    <a:ln w="327" cap="flat">
                      <a:noFill/>
                      <a:prstDash val="solid"/>
                      <a:miter/>
                    </a:ln>
                  </p:spPr>
                  <p:txBody>
                    <a:bodyPr rtlCol="0" anchor="ctr"/>
                    <a:lstStyle/>
                    <a:p>
                      <a:endParaRPr lang="en-GB" dirty="0"/>
                    </a:p>
                  </p:txBody>
                </p:sp>
              </p:grpSp>
            </p:grpSp>
            <p:grpSp>
              <p:nvGrpSpPr>
                <p:cNvPr id="126" name="Graphic 4">
                  <a:extLst>
                    <a:ext uri="{FF2B5EF4-FFF2-40B4-BE49-F238E27FC236}">
                      <a16:creationId xmlns:a16="http://schemas.microsoft.com/office/drawing/2014/main" id="{022C32E7-1DC8-4B89-A570-9F72634225A6}"/>
                    </a:ext>
                  </a:extLst>
                </p:cNvPr>
                <p:cNvGrpSpPr/>
                <p:nvPr/>
              </p:nvGrpSpPr>
              <p:grpSpPr>
                <a:xfrm>
                  <a:off x="1193402" y="3500909"/>
                  <a:ext cx="169639" cy="135619"/>
                  <a:chOff x="1193402" y="3500909"/>
                  <a:chExt cx="169639" cy="135619"/>
                </a:xfrm>
                <a:solidFill>
                  <a:schemeClr val="accent1"/>
                </a:solidFill>
              </p:grpSpPr>
              <p:grpSp>
                <p:nvGrpSpPr>
                  <p:cNvPr id="127" name="Graphic 4">
                    <a:extLst>
                      <a:ext uri="{FF2B5EF4-FFF2-40B4-BE49-F238E27FC236}">
                        <a16:creationId xmlns:a16="http://schemas.microsoft.com/office/drawing/2014/main" id="{C47D2D60-F810-4828-9E05-E922311FEC00}"/>
                      </a:ext>
                    </a:extLst>
                  </p:cNvPr>
                  <p:cNvGrpSpPr/>
                  <p:nvPr/>
                </p:nvGrpSpPr>
                <p:grpSpPr>
                  <a:xfrm>
                    <a:off x="1193402" y="3561856"/>
                    <a:ext cx="169639" cy="74671"/>
                    <a:chOff x="1193402" y="3561856"/>
                    <a:chExt cx="169639" cy="74671"/>
                  </a:xfrm>
                  <a:solidFill>
                    <a:schemeClr val="accent1"/>
                  </a:solidFill>
                </p:grpSpPr>
                <p:sp>
                  <p:nvSpPr>
                    <p:cNvPr id="131" name="Freihandform: Form 425">
                      <a:extLst>
                        <a:ext uri="{FF2B5EF4-FFF2-40B4-BE49-F238E27FC236}">
                          <a16:creationId xmlns:a16="http://schemas.microsoft.com/office/drawing/2014/main" id="{432CBA15-7B98-4CDF-8B64-71BDCBE77EBC}"/>
                        </a:ext>
                      </a:extLst>
                    </p:cNvPr>
                    <p:cNvSpPr/>
                    <p:nvPr/>
                  </p:nvSpPr>
                  <p:spPr>
                    <a:xfrm>
                      <a:off x="1193402" y="3561856"/>
                      <a:ext cx="169639" cy="40340"/>
                    </a:xfrm>
                    <a:custGeom>
                      <a:avLst/>
                      <a:gdLst>
                        <a:gd name="connsiteX0" fmla="*/ 84818 w 169639"/>
                        <a:gd name="connsiteY0" fmla="*/ 40340 h 40340"/>
                        <a:gd name="connsiteX1" fmla="*/ 0 w 169639"/>
                        <a:gd name="connsiteY1" fmla="*/ 6435 h 40340"/>
                        <a:gd name="connsiteX2" fmla="*/ 6435 w 169639"/>
                        <a:gd name="connsiteY2" fmla="*/ 0 h 40340"/>
                        <a:gd name="connsiteX3" fmla="*/ 12869 w 169639"/>
                        <a:gd name="connsiteY3" fmla="*/ 6435 h 40340"/>
                        <a:gd name="connsiteX4" fmla="*/ 84821 w 169639"/>
                        <a:gd name="connsiteY4" fmla="*/ 27474 h 40340"/>
                        <a:gd name="connsiteX5" fmla="*/ 156770 w 169639"/>
                        <a:gd name="connsiteY5" fmla="*/ 6435 h 40340"/>
                        <a:gd name="connsiteX6" fmla="*/ 163205 w 169639"/>
                        <a:gd name="connsiteY6" fmla="*/ 0 h 40340"/>
                        <a:gd name="connsiteX7" fmla="*/ 169639 w 169639"/>
                        <a:gd name="connsiteY7" fmla="*/ 6435 h 40340"/>
                        <a:gd name="connsiteX8" fmla="*/ 84818 w 169639"/>
                        <a:gd name="connsiteY8" fmla="*/ 40340 h 40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639" h="40340">
                          <a:moveTo>
                            <a:pt x="84818" y="40340"/>
                          </a:moveTo>
                          <a:cubicBezTo>
                            <a:pt x="42666" y="40340"/>
                            <a:pt x="0" y="28693"/>
                            <a:pt x="0" y="6435"/>
                          </a:cubicBezTo>
                          <a:cubicBezTo>
                            <a:pt x="0" y="2880"/>
                            <a:pt x="2880" y="0"/>
                            <a:pt x="6435" y="0"/>
                          </a:cubicBezTo>
                          <a:cubicBezTo>
                            <a:pt x="9986" y="0"/>
                            <a:pt x="12869" y="2876"/>
                            <a:pt x="12869" y="6435"/>
                          </a:cubicBezTo>
                          <a:cubicBezTo>
                            <a:pt x="12869" y="14809"/>
                            <a:pt x="41565" y="27474"/>
                            <a:pt x="84821" y="27474"/>
                          </a:cubicBezTo>
                          <a:cubicBezTo>
                            <a:pt x="128074" y="27474"/>
                            <a:pt x="156770" y="14809"/>
                            <a:pt x="156770" y="6435"/>
                          </a:cubicBezTo>
                          <a:cubicBezTo>
                            <a:pt x="156770" y="2880"/>
                            <a:pt x="159650" y="0"/>
                            <a:pt x="163205" y="0"/>
                          </a:cubicBezTo>
                          <a:cubicBezTo>
                            <a:pt x="166756" y="0"/>
                            <a:pt x="169639" y="2876"/>
                            <a:pt x="169639" y="6435"/>
                          </a:cubicBezTo>
                          <a:cubicBezTo>
                            <a:pt x="169633" y="28693"/>
                            <a:pt x="126963" y="40340"/>
                            <a:pt x="84818" y="40340"/>
                          </a:cubicBezTo>
                          <a:close/>
                        </a:path>
                      </a:pathLst>
                    </a:custGeom>
                    <a:solidFill>
                      <a:schemeClr val="accent1"/>
                    </a:solidFill>
                    <a:ln w="327" cap="flat">
                      <a:noFill/>
                      <a:prstDash val="solid"/>
                      <a:miter/>
                    </a:ln>
                  </p:spPr>
                  <p:txBody>
                    <a:bodyPr rtlCol="0" anchor="ctr"/>
                    <a:lstStyle/>
                    <a:p>
                      <a:endParaRPr lang="en-GB" dirty="0"/>
                    </a:p>
                  </p:txBody>
                </p:sp>
                <p:sp>
                  <p:nvSpPr>
                    <p:cNvPr id="132" name="Freihandform: Form 426">
                      <a:extLst>
                        <a:ext uri="{FF2B5EF4-FFF2-40B4-BE49-F238E27FC236}">
                          <a16:creationId xmlns:a16="http://schemas.microsoft.com/office/drawing/2014/main" id="{B5288622-55F7-40C3-BB11-2BC42A8A0444}"/>
                        </a:ext>
                      </a:extLst>
                    </p:cNvPr>
                    <p:cNvSpPr/>
                    <p:nvPr/>
                  </p:nvSpPr>
                  <p:spPr>
                    <a:xfrm>
                      <a:off x="1193402" y="3561856"/>
                      <a:ext cx="169639" cy="74671"/>
                    </a:xfrm>
                    <a:custGeom>
                      <a:avLst/>
                      <a:gdLst>
                        <a:gd name="connsiteX0" fmla="*/ 84818 w 169639"/>
                        <a:gd name="connsiteY0" fmla="*/ 74672 h 74671"/>
                        <a:gd name="connsiteX1" fmla="*/ 0 w 169639"/>
                        <a:gd name="connsiteY1" fmla="*/ 40773 h 74671"/>
                        <a:gd name="connsiteX2" fmla="*/ 0 w 169639"/>
                        <a:gd name="connsiteY2" fmla="*/ 6435 h 74671"/>
                        <a:gd name="connsiteX3" fmla="*/ 6435 w 169639"/>
                        <a:gd name="connsiteY3" fmla="*/ 0 h 74671"/>
                        <a:gd name="connsiteX4" fmla="*/ 12869 w 169639"/>
                        <a:gd name="connsiteY4" fmla="*/ 6435 h 74671"/>
                        <a:gd name="connsiteX5" fmla="*/ 12869 w 169639"/>
                        <a:gd name="connsiteY5" fmla="*/ 40773 h 74671"/>
                        <a:gd name="connsiteX6" fmla="*/ 84821 w 169639"/>
                        <a:gd name="connsiteY6" fmla="*/ 61806 h 74671"/>
                        <a:gd name="connsiteX7" fmla="*/ 156770 w 169639"/>
                        <a:gd name="connsiteY7" fmla="*/ 40773 h 74671"/>
                        <a:gd name="connsiteX8" fmla="*/ 156770 w 169639"/>
                        <a:gd name="connsiteY8" fmla="*/ 6435 h 74671"/>
                        <a:gd name="connsiteX9" fmla="*/ 163205 w 169639"/>
                        <a:gd name="connsiteY9" fmla="*/ 0 h 74671"/>
                        <a:gd name="connsiteX10" fmla="*/ 169639 w 169639"/>
                        <a:gd name="connsiteY10" fmla="*/ 6435 h 74671"/>
                        <a:gd name="connsiteX11" fmla="*/ 169639 w 169639"/>
                        <a:gd name="connsiteY11" fmla="*/ 40773 h 74671"/>
                        <a:gd name="connsiteX12" fmla="*/ 84818 w 169639"/>
                        <a:gd name="connsiteY12" fmla="*/ 74672 h 7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639" h="74671">
                          <a:moveTo>
                            <a:pt x="84818" y="74672"/>
                          </a:moveTo>
                          <a:cubicBezTo>
                            <a:pt x="42666" y="74672"/>
                            <a:pt x="0" y="63031"/>
                            <a:pt x="0" y="40773"/>
                          </a:cubicBezTo>
                          <a:lnTo>
                            <a:pt x="0" y="6435"/>
                          </a:lnTo>
                          <a:cubicBezTo>
                            <a:pt x="0" y="2880"/>
                            <a:pt x="2880" y="0"/>
                            <a:pt x="6435" y="0"/>
                          </a:cubicBezTo>
                          <a:cubicBezTo>
                            <a:pt x="9986" y="0"/>
                            <a:pt x="12869" y="2876"/>
                            <a:pt x="12869" y="6435"/>
                          </a:cubicBezTo>
                          <a:lnTo>
                            <a:pt x="12869" y="40773"/>
                          </a:lnTo>
                          <a:cubicBezTo>
                            <a:pt x="12869" y="49346"/>
                            <a:pt x="40900" y="61806"/>
                            <a:pt x="84821" y="61806"/>
                          </a:cubicBezTo>
                          <a:cubicBezTo>
                            <a:pt x="128742" y="61806"/>
                            <a:pt x="156770" y="49350"/>
                            <a:pt x="156770" y="40773"/>
                          </a:cubicBezTo>
                          <a:lnTo>
                            <a:pt x="156770" y="6435"/>
                          </a:lnTo>
                          <a:cubicBezTo>
                            <a:pt x="156770" y="2880"/>
                            <a:pt x="159650" y="0"/>
                            <a:pt x="163205" y="0"/>
                          </a:cubicBezTo>
                          <a:cubicBezTo>
                            <a:pt x="166756" y="0"/>
                            <a:pt x="169639" y="2876"/>
                            <a:pt x="169639" y="6435"/>
                          </a:cubicBezTo>
                          <a:lnTo>
                            <a:pt x="169639" y="40773"/>
                          </a:lnTo>
                          <a:cubicBezTo>
                            <a:pt x="169633" y="63031"/>
                            <a:pt x="126963" y="74672"/>
                            <a:pt x="84818" y="74672"/>
                          </a:cubicBezTo>
                          <a:close/>
                        </a:path>
                      </a:pathLst>
                    </a:custGeom>
                    <a:solidFill>
                      <a:schemeClr val="accent1"/>
                    </a:solidFill>
                    <a:ln w="327" cap="flat">
                      <a:noFill/>
                      <a:prstDash val="solid"/>
                      <a:miter/>
                    </a:ln>
                  </p:spPr>
                  <p:txBody>
                    <a:bodyPr rtlCol="0" anchor="ctr"/>
                    <a:lstStyle/>
                    <a:p>
                      <a:endParaRPr lang="en-GB" dirty="0"/>
                    </a:p>
                  </p:txBody>
                </p:sp>
              </p:grpSp>
              <p:grpSp>
                <p:nvGrpSpPr>
                  <p:cNvPr id="128" name="Graphic 4">
                    <a:extLst>
                      <a:ext uri="{FF2B5EF4-FFF2-40B4-BE49-F238E27FC236}">
                        <a16:creationId xmlns:a16="http://schemas.microsoft.com/office/drawing/2014/main" id="{7615FE10-DA41-4791-B88B-C3DE5F4EF093}"/>
                      </a:ext>
                    </a:extLst>
                  </p:cNvPr>
                  <p:cNvGrpSpPr/>
                  <p:nvPr/>
                </p:nvGrpSpPr>
                <p:grpSpPr>
                  <a:xfrm>
                    <a:off x="1193402" y="3500909"/>
                    <a:ext cx="169639" cy="102142"/>
                    <a:chOff x="1193402" y="3500909"/>
                    <a:chExt cx="169639" cy="102142"/>
                  </a:xfrm>
                  <a:solidFill>
                    <a:schemeClr val="accent1"/>
                  </a:solidFill>
                </p:grpSpPr>
                <p:sp>
                  <p:nvSpPr>
                    <p:cNvPr id="129" name="Freihandform: Form 428">
                      <a:extLst>
                        <a:ext uri="{FF2B5EF4-FFF2-40B4-BE49-F238E27FC236}">
                          <a16:creationId xmlns:a16="http://schemas.microsoft.com/office/drawing/2014/main" id="{49C9CB28-744C-4FAF-A0E1-523F79D460A9}"/>
                        </a:ext>
                      </a:extLst>
                    </p:cNvPr>
                    <p:cNvSpPr/>
                    <p:nvPr/>
                  </p:nvSpPr>
                  <p:spPr>
                    <a:xfrm>
                      <a:off x="1193402" y="3500909"/>
                      <a:ext cx="169636" cy="67804"/>
                    </a:xfrm>
                    <a:custGeom>
                      <a:avLst/>
                      <a:gdLst>
                        <a:gd name="connsiteX0" fmla="*/ 84818 w 169636"/>
                        <a:gd name="connsiteY0" fmla="*/ 67805 h 67804"/>
                        <a:gd name="connsiteX1" fmla="*/ 0 w 169636"/>
                        <a:gd name="connsiteY1" fmla="*/ 33906 h 67804"/>
                        <a:gd name="connsiteX2" fmla="*/ 84818 w 169636"/>
                        <a:gd name="connsiteY2" fmla="*/ 0 h 67804"/>
                        <a:gd name="connsiteX3" fmla="*/ 169636 w 169636"/>
                        <a:gd name="connsiteY3" fmla="*/ 33906 h 67804"/>
                        <a:gd name="connsiteX4" fmla="*/ 84818 w 169636"/>
                        <a:gd name="connsiteY4" fmla="*/ 67805 h 67804"/>
                        <a:gd name="connsiteX5" fmla="*/ 84818 w 169636"/>
                        <a:gd name="connsiteY5" fmla="*/ 12866 h 67804"/>
                        <a:gd name="connsiteX6" fmla="*/ 12866 w 169636"/>
                        <a:gd name="connsiteY6" fmla="*/ 33906 h 67804"/>
                        <a:gd name="connsiteX7" fmla="*/ 84818 w 169636"/>
                        <a:gd name="connsiteY7" fmla="*/ 54939 h 67804"/>
                        <a:gd name="connsiteX8" fmla="*/ 156767 w 169636"/>
                        <a:gd name="connsiteY8" fmla="*/ 33906 h 67804"/>
                        <a:gd name="connsiteX9" fmla="*/ 84818 w 169636"/>
                        <a:gd name="connsiteY9" fmla="*/ 12866 h 6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636" h="67804">
                          <a:moveTo>
                            <a:pt x="84818" y="67805"/>
                          </a:moveTo>
                          <a:cubicBezTo>
                            <a:pt x="42666" y="67805"/>
                            <a:pt x="0" y="56164"/>
                            <a:pt x="0" y="33906"/>
                          </a:cubicBezTo>
                          <a:cubicBezTo>
                            <a:pt x="0" y="11647"/>
                            <a:pt x="42669" y="0"/>
                            <a:pt x="84818" y="0"/>
                          </a:cubicBezTo>
                          <a:cubicBezTo>
                            <a:pt x="126967" y="0"/>
                            <a:pt x="169636" y="11647"/>
                            <a:pt x="169636" y="33906"/>
                          </a:cubicBezTo>
                          <a:cubicBezTo>
                            <a:pt x="169633" y="56164"/>
                            <a:pt x="126963" y="67805"/>
                            <a:pt x="84818" y="67805"/>
                          </a:cubicBezTo>
                          <a:close/>
                          <a:moveTo>
                            <a:pt x="84818" y="12866"/>
                          </a:moveTo>
                          <a:cubicBezTo>
                            <a:pt x="41562" y="12866"/>
                            <a:pt x="12866" y="25531"/>
                            <a:pt x="12866" y="33906"/>
                          </a:cubicBezTo>
                          <a:cubicBezTo>
                            <a:pt x="12866" y="42479"/>
                            <a:pt x="40897" y="54939"/>
                            <a:pt x="84818" y="54939"/>
                          </a:cubicBezTo>
                          <a:cubicBezTo>
                            <a:pt x="128739" y="54939"/>
                            <a:pt x="156767" y="42483"/>
                            <a:pt x="156767" y="33906"/>
                          </a:cubicBezTo>
                          <a:cubicBezTo>
                            <a:pt x="156767" y="25531"/>
                            <a:pt x="128071" y="12866"/>
                            <a:pt x="84818" y="12866"/>
                          </a:cubicBezTo>
                          <a:close/>
                        </a:path>
                      </a:pathLst>
                    </a:custGeom>
                    <a:solidFill>
                      <a:schemeClr val="accent1"/>
                    </a:solidFill>
                    <a:ln w="327" cap="flat">
                      <a:noFill/>
                      <a:prstDash val="solid"/>
                      <a:miter/>
                    </a:ln>
                  </p:spPr>
                  <p:txBody>
                    <a:bodyPr rtlCol="0" anchor="ctr"/>
                    <a:lstStyle/>
                    <a:p>
                      <a:endParaRPr lang="en-GB" dirty="0"/>
                    </a:p>
                  </p:txBody>
                </p:sp>
                <p:sp>
                  <p:nvSpPr>
                    <p:cNvPr id="130" name="Freihandform: Form 429">
                      <a:extLst>
                        <a:ext uri="{FF2B5EF4-FFF2-40B4-BE49-F238E27FC236}">
                          <a16:creationId xmlns:a16="http://schemas.microsoft.com/office/drawing/2014/main" id="{5A31FC98-185A-4925-A8FE-9F3FA5CFD111}"/>
                        </a:ext>
                      </a:extLst>
                    </p:cNvPr>
                    <p:cNvSpPr/>
                    <p:nvPr/>
                  </p:nvSpPr>
                  <p:spPr>
                    <a:xfrm>
                      <a:off x="1193402" y="3528380"/>
                      <a:ext cx="169639" cy="74671"/>
                    </a:xfrm>
                    <a:custGeom>
                      <a:avLst/>
                      <a:gdLst>
                        <a:gd name="connsiteX0" fmla="*/ 84818 w 169639"/>
                        <a:gd name="connsiteY0" fmla="*/ 74672 h 74671"/>
                        <a:gd name="connsiteX1" fmla="*/ 0 w 169639"/>
                        <a:gd name="connsiteY1" fmla="*/ 40773 h 74671"/>
                        <a:gd name="connsiteX2" fmla="*/ 0 w 169639"/>
                        <a:gd name="connsiteY2" fmla="*/ 6435 h 74671"/>
                        <a:gd name="connsiteX3" fmla="*/ 6435 w 169639"/>
                        <a:gd name="connsiteY3" fmla="*/ 0 h 74671"/>
                        <a:gd name="connsiteX4" fmla="*/ 12869 w 169639"/>
                        <a:gd name="connsiteY4" fmla="*/ 6435 h 74671"/>
                        <a:gd name="connsiteX5" fmla="*/ 12869 w 169639"/>
                        <a:gd name="connsiteY5" fmla="*/ 40773 h 74671"/>
                        <a:gd name="connsiteX6" fmla="*/ 84821 w 169639"/>
                        <a:gd name="connsiteY6" fmla="*/ 61806 h 74671"/>
                        <a:gd name="connsiteX7" fmla="*/ 156770 w 169639"/>
                        <a:gd name="connsiteY7" fmla="*/ 40773 h 74671"/>
                        <a:gd name="connsiteX8" fmla="*/ 156770 w 169639"/>
                        <a:gd name="connsiteY8" fmla="*/ 6435 h 74671"/>
                        <a:gd name="connsiteX9" fmla="*/ 163205 w 169639"/>
                        <a:gd name="connsiteY9" fmla="*/ 0 h 74671"/>
                        <a:gd name="connsiteX10" fmla="*/ 169639 w 169639"/>
                        <a:gd name="connsiteY10" fmla="*/ 6435 h 74671"/>
                        <a:gd name="connsiteX11" fmla="*/ 169639 w 169639"/>
                        <a:gd name="connsiteY11" fmla="*/ 40773 h 74671"/>
                        <a:gd name="connsiteX12" fmla="*/ 84818 w 169639"/>
                        <a:gd name="connsiteY12" fmla="*/ 74672 h 7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9639" h="74671">
                          <a:moveTo>
                            <a:pt x="84818" y="74672"/>
                          </a:moveTo>
                          <a:cubicBezTo>
                            <a:pt x="42666" y="74672"/>
                            <a:pt x="0" y="63031"/>
                            <a:pt x="0" y="40773"/>
                          </a:cubicBezTo>
                          <a:lnTo>
                            <a:pt x="0" y="6435"/>
                          </a:lnTo>
                          <a:cubicBezTo>
                            <a:pt x="0" y="2880"/>
                            <a:pt x="2880" y="0"/>
                            <a:pt x="6435" y="0"/>
                          </a:cubicBezTo>
                          <a:cubicBezTo>
                            <a:pt x="9986" y="0"/>
                            <a:pt x="12869" y="2877"/>
                            <a:pt x="12869" y="6435"/>
                          </a:cubicBezTo>
                          <a:lnTo>
                            <a:pt x="12869" y="40773"/>
                          </a:lnTo>
                          <a:cubicBezTo>
                            <a:pt x="12869" y="49346"/>
                            <a:pt x="40900" y="61806"/>
                            <a:pt x="84821" y="61806"/>
                          </a:cubicBezTo>
                          <a:cubicBezTo>
                            <a:pt x="128742" y="61806"/>
                            <a:pt x="156770" y="49350"/>
                            <a:pt x="156770" y="40773"/>
                          </a:cubicBezTo>
                          <a:lnTo>
                            <a:pt x="156770" y="6435"/>
                          </a:lnTo>
                          <a:cubicBezTo>
                            <a:pt x="156770" y="2880"/>
                            <a:pt x="159650" y="0"/>
                            <a:pt x="163205" y="0"/>
                          </a:cubicBezTo>
                          <a:cubicBezTo>
                            <a:pt x="166756" y="0"/>
                            <a:pt x="169639" y="2877"/>
                            <a:pt x="169639" y="6435"/>
                          </a:cubicBezTo>
                          <a:lnTo>
                            <a:pt x="169639" y="40773"/>
                          </a:lnTo>
                          <a:cubicBezTo>
                            <a:pt x="169633" y="63031"/>
                            <a:pt x="126963" y="74672"/>
                            <a:pt x="84818" y="74672"/>
                          </a:cubicBezTo>
                          <a:close/>
                        </a:path>
                      </a:pathLst>
                    </a:custGeom>
                    <a:solidFill>
                      <a:schemeClr val="accent1"/>
                    </a:solidFill>
                    <a:ln w="327" cap="flat">
                      <a:noFill/>
                      <a:prstDash val="solid"/>
                      <a:miter/>
                    </a:ln>
                  </p:spPr>
                  <p:txBody>
                    <a:bodyPr rtlCol="0" anchor="ctr"/>
                    <a:lstStyle/>
                    <a:p>
                      <a:endParaRPr lang="en-GB" dirty="0"/>
                    </a:p>
                  </p:txBody>
                </p:sp>
              </p:grpSp>
            </p:grpSp>
          </p:grpSp>
        </p:grpSp>
        <p:grpSp>
          <p:nvGrpSpPr>
            <p:cNvPr id="107" name="Graphic 4">
              <a:extLst>
                <a:ext uri="{FF2B5EF4-FFF2-40B4-BE49-F238E27FC236}">
                  <a16:creationId xmlns:a16="http://schemas.microsoft.com/office/drawing/2014/main" id="{0CA74C34-1ADA-4A34-9150-4A2A44234FE8}"/>
                </a:ext>
              </a:extLst>
            </p:cNvPr>
            <p:cNvGrpSpPr/>
            <p:nvPr/>
          </p:nvGrpSpPr>
          <p:grpSpPr>
            <a:xfrm>
              <a:off x="2668915" y="1585984"/>
              <a:ext cx="218667" cy="432000"/>
              <a:chOff x="886993" y="3262888"/>
              <a:chExt cx="240960" cy="476041"/>
            </a:xfrm>
            <a:solidFill>
              <a:schemeClr val="tx2"/>
            </a:solidFill>
          </p:grpSpPr>
          <p:grpSp>
            <p:nvGrpSpPr>
              <p:cNvPr id="108" name="Graphic 4">
                <a:extLst>
                  <a:ext uri="{FF2B5EF4-FFF2-40B4-BE49-F238E27FC236}">
                    <a16:creationId xmlns:a16="http://schemas.microsoft.com/office/drawing/2014/main" id="{0A4A514A-A7EF-46E2-8562-CF59E18F6B6F}"/>
                  </a:ext>
                </a:extLst>
              </p:cNvPr>
              <p:cNvGrpSpPr/>
              <p:nvPr/>
            </p:nvGrpSpPr>
            <p:grpSpPr>
              <a:xfrm>
                <a:off x="969502" y="3435503"/>
                <a:ext cx="158452" cy="128660"/>
                <a:chOff x="969502" y="3435503"/>
                <a:chExt cx="158452" cy="128660"/>
              </a:xfrm>
              <a:grpFill/>
            </p:grpSpPr>
            <p:grpSp>
              <p:nvGrpSpPr>
                <p:cNvPr id="117" name="Graphic 4">
                  <a:extLst>
                    <a:ext uri="{FF2B5EF4-FFF2-40B4-BE49-F238E27FC236}">
                      <a16:creationId xmlns:a16="http://schemas.microsoft.com/office/drawing/2014/main" id="{E1CDEF3D-DA80-4BCD-9D26-93128B92AFEE}"/>
                    </a:ext>
                  </a:extLst>
                </p:cNvPr>
                <p:cNvGrpSpPr/>
                <p:nvPr/>
              </p:nvGrpSpPr>
              <p:grpSpPr>
                <a:xfrm>
                  <a:off x="969502" y="3435503"/>
                  <a:ext cx="158452" cy="128660"/>
                  <a:chOff x="969502" y="3435503"/>
                  <a:chExt cx="158452" cy="128660"/>
                </a:xfrm>
                <a:grpFill/>
              </p:grpSpPr>
              <p:sp>
                <p:nvSpPr>
                  <p:cNvPr id="119" name="Freihandform: Form 433">
                    <a:extLst>
                      <a:ext uri="{FF2B5EF4-FFF2-40B4-BE49-F238E27FC236}">
                        <a16:creationId xmlns:a16="http://schemas.microsoft.com/office/drawing/2014/main" id="{EA74FC3A-C727-4B1F-B646-56D6560B68C3}"/>
                      </a:ext>
                    </a:extLst>
                  </p:cNvPr>
                  <p:cNvSpPr/>
                  <p:nvPr/>
                </p:nvSpPr>
                <p:spPr>
                  <a:xfrm>
                    <a:off x="1080358" y="3461224"/>
                    <a:ext cx="18545" cy="32176"/>
                  </a:xfrm>
                  <a:custGeom>
                    <a:avLst/>
                    <a:gdLst>
                      <a:gd name="connsiteX0" fmla="*/ 6439 w 18545"/>
                      <a:gd name="connsiteY0" fmla="*/ 32176 h 32176"/>
                      <a:gd name="connsiteX1" fmla="*/ 4620 w 18545"/>
                      <a:gd name="connsiteY1" fmla="*/ 31911 h 32176"/>
                      <a:gd name="connsiteX2" fmla="*/ 263 w 18545"/>
                      <a:gd name="connsiteY2" fmla="*/ 23927 h 32176"/>
                      <a:gd name="connsiteX3" fmla="*/ 5937 w 18545"/>
                      <a:gd name="connsiteY3" fmla="*/ 4627 h 32176"/>
                      <a:gd name="connsiteX4" fmla="*/ 13925 w 18545"/>
                      <a:gd name="connsiteY4" fmla="*/ 272 h 32176"/>
                      <a:gd name="connsiteX5" fmla="*/ 18282 w 18545"/>
                      <a:gd name="connsiteY5" fmla="*/ 8257 h 32176"/>
                      <a:gd name="connsiteX6" fmla="*/ 12608 w 18545"/>
                      <a:gd name="connsiteY6" fmla="*/ 27557 h 32176"/>
                      <a:gd name="connsiteX7" fmla="*/ 6439 w 18545"/>
                      <a:gd name="connsiteY7" fmla="*/ 32176 h 32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45" h="32176">
                        <a:moveTo>
                          <a:pt x="6439" y="32176"/>
                        </a:moveTo>
                        <a:cubicBezTo>
                          <a:pt x="5839" y="32176"/>
                          <a:pt x="5226" y="32094"/>
                          <a:pt x="4620" y="31911"/>
                        </a:cubicBezTo>
                        <a:cubicBezTo>
                          <a:pt x="1213" y="30912"/>
                          <a:pt x="-740" y="27337"/>
                          <a:pt x="263" y="23927"/>
                        </a:cubicBezTo>
                        <a:lnTo>
                          <a:pt x="5937" y="4627"/>
                        </a:lnTo>
                        <a:cubicBezTo>
                          <a:pt x="6937" y="1223"/>
                          <a:pt x="10508" y="-756"/>
                          <a:pt x="13925" y="272"/>
                        </a:cubicBezTo>
                        <a:cubicBezTo>
                          <a:pt x="17332" y="1272"/>
                          <a:pt x="19285" y="4846"/>
                          <a:pt x="18282" y="8257"/>
                        </a:cubicBezTo>
                        <a:lnTo>
                          <a:pt x="12608" y="27557"/>
                        </a:lnTo>
                        <a:cubicBezTo>
                          <a:pt x="11785" y="30361"/>
                          <a:pt x="9217" y="32176"/>
                          <a:pt x="6439" y="32176"/>
                        </a:cubicBezTo>
                        <a:close/>
                      </a:path>
                    </a:pathLst>
                  </a:custGeom>
                  <a:grpFill/>
                  <a:ln w="327" cap="flat">
                    <a:noFill/>
                    <a:prstDash val="solid"/>
                    <a:miter/>
                  </a:ln>
                </p:spPr>
                <p:txBody>
                  <a:bodyPr rtlCol="0" anchor="ctr"/>
                  <a:lstStyle/>
                  <a:p>
                    <a:endParaRPr lang="en-GB" dirty="0"/>
                  </a:p>
                </p:txBody>
              </p:sp>
              <p:sp>
                <p:nvSpPr>
                  <p:cNvPr id="120" name="Freihandform: Form 434">
                    <a:extLst>
                      <a:ext uri="{FF2B5EF4-FFF2-40B4-BE49-F238E27FC236}">
                        <a16:creationId xmlns:a16="http://schemas.microsoft.com/office/drawing/2014/main" id="{8E96617A-A4BA-40D5-A439-D9D8BE056CF4}"/>
                      </a:ext>
                    </a:extLst>
                  </p:cNvPr>
                  <p:cNvSpPr/>
                  <p:nvPr/>
                </p:nvSpPr>
                <p:spPr>
                  <a:xfrm>
                    <a:off x="969502" y="3435503"/>
                    <a:ext cx="110494" cy="128660"/>
                  </a:xfrm>
                  <a:custGeom>
                    <a:avLst/>
                    <a:gdLst>
                      <a:gd name="connsiteX0" fmla="*/ 96498 w 110494"/>
                      <a:gd name="connsiteY0" fmla="*/ 128660 h 128660"/>
                      <a:gd name="connsiteX1" fmla="*/ 6434 w 110494"/>
                      <a:gd name="connsiteY1" fmla="*/ 128660 h 128660"/>
                      <a:gd name="connsiteX2" fmla="*/ 1225 w 110494"/>
                      <a:gd name="connsiteY2" fmla="*/ 126003 h 128660"/>
                      <a:gd name="connsiteX3" fmla="*/ 321 w 110494"/>
                      <a:gd name="connsiteY3" fmla="*/ 120231 h 128660"/>
                      <a:gd name="connsiteX4" fmla="*/ 34001 w 110494"/>
                      <a:gd name="connsiteY4" fmla="*/ 17295 h 128660"/>
                      <a:gd name="connsiteX5" fmla="*/ 56636 w 110494"/>
                      <a:gd name="connsiteY5" fmla="*/ 0 h 128660"/>
                      <a:gd name="connsiteX6" fmla="*/ 68951 w 110494"/>
                      <a:gd name="connsiteY6" fmla="*/ 0 h 128660"/>
                      <a:gd name="connsiteX7" fmla="*/ 75386 w 110494"/>
                      <a:gd name="connsiteY7" fmla="*/ 6435 h 128660"/>
                      <a:gd name="connsiteX8" fmla="*/ 68951 w 110494"/>
                      <a:gd name="connsiteY8" fmla="*/ 12869 h 128660"/>
                      <a:gd name="connsiteX9" fmla="*/ 56636 w 110494"/>
                      <a:gd name="connsiteY9" fmla="*/ 12869 h 128660"/>
                      <a:gd name="connsiteX10" fmla="*/ 46227 w 110494"/>
                      <a:gd name="connsiteY10" fmla="*/ 21299 h 128660"/>
                      <a:gd name="connsiteX11" fmla="*/ 15310 w 110494"/>
                      <a:gd name="connsiteY11" fmla="*/ 115795 h 128660"/>
                      <a:gd name="connsiteX12" fmla="*/ 91682 w 110494"/>
                      <a:gd name="connsiteY12" fmla="*/ 115795 h 128660"/>
                      <a:gd name="connsiteX13" fmla="*/ 97887 w 110494"/>
                      <a:gd name="connsiteY13" fmla="*/ 94679 h 128660"/>
                      <a:gd name="connsiteX14" fmla="*/ 105871 w 110494"/>
                      <a:gd name="connsiteY14" fmla="*/ 90325 h 128660"/>
                      <a:gd name="connsiteX15" fmla="*/ 110232 w 110494"/>
                      <a:gd name="connsiteY15" fmla="*/ 98309 h 128660"/>
                      <a:gd name="connsiteX16" fmla="*/ 102670 w 110494"/>
                      <a:gd name="connsiteY16" fmla="*/ 124041 h 128660"/>
                      <a:gd name="connsiteX17" fmla="*/ 96498 w 110494"/>
                      <a:gd name="connsiteY17" fmla="*/ 128660 h 12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0494" h="128660">
                        <a:moveTo>
                          <a:pt x="96498" y="128660"/>
                        </a:moveTo>
                        <a:lnTo>
                          <a:pt x="6434" y="128660"/>
                        </a:lnTo>
                        <a:cubicBezTo>
                          <a:pt x="4374" y="128660"/>
                          <a:pt x="2438" y="127674"/>
                          <a:pt x="1225" y="126003"/>
                        </a:cubicBezTo>
                        <a:cubicBezTo>
                          <a:pt x="16" y="124333"/>
                          <a:pt x="-324" y="122183"/>
                          <a:pt x="321" y="120231"/>
                        </a:cubicBezTo>
                        <a:lnTo>
                          <a:pt x="34001" y="17295"/>
                        </a:lnTo>
                        <a:cubicBezTo>
                          <a:pt x="37172" y="7594"/>
                          <a:pt x="47119" y="0"/>
                          <a:pt x="56636" y="0"/>
                        </a:cubicBezTo>
                        <a:lnTo>
                          <a:pt x="68951" y="0"/>
                        </a:lnTo>
                        <a:cubicBezTo>
                          <a:pt x="72503" y="0"/>
                          <a:pt x="75386" y="2876"/>
                          <a:pt x="75386" y="6435"/>
                        </a:cubicBezTo>
                        <a:cubicBezTo>
                          <a:pt x="75386" y="9992"/>
                          <a:pt x="72506" y="12869"/>
                          <a:pt x="68951" y="12869"/>
                        </a:cubicBezTo>
                        <a:lnTo>
                          <a:pt x="56636" y="12869"/>
                        </a:lnTo>
                        <a:cubicBezTo>
                          <a:pt x="52636" y="12869"/>
                          <a:pt x="47672" y="16889"/>
                          <a:pt x="46227" y="21299"/>
                        </a:cubicBezTo>
                        <a:lnTo>
                          <a:pt x="15310" y="115795"/>
                        </a:lnTo>
                        <a:lnTo>
                          <a:pt x="91682" y="115795"/>
                        </a:lnTo>
                        <a:lnTo>
                          <a:pt x="97887" y="94679"/>
                        </a:lnTo>
                        <a:cubicBezTo>
                          <a:pt x="98889" y="91276"/>
                          <a:pt x="102487" y="89306"/>
                          <a:pt x="105871" y="90325"/>
                        </a:cubicBezTo>
                        <a:cubicBezTo>
                          <a:pt x="109282" y="91325"/>
                          <a:pt x="111234" y="94899"/>
                          <a:pt x="110232" y="98309"/>
                        </a:cubicBezTo>
                        <a:lnTo>
                          <a:pt x="102670" y="124041"/>
                        </a:lnTo>
                        <a:cubicBezTo>
                          <a:pt x="101864" y="126783"/>
                          <a:pt x="99351" y="128660"/>
                          <a:pt x="96498" y="128660"/>
                        </a:cubicBezTo>
                        <a:close/>
                      </a:path>
                    </a:pathLst>
                  </a:custGeom>
                  <a:grpFill/>
                  <a:ln w="327" cap="flat">
                    <a:noFill/>
                    <a:prstDash val="solid"/>
                    <a:miter/>
                  </a:ln>
                </p:spPr>
                <p:txBody>
                  <a:bodyPr rtlCol="0" anchor="ctr"/>
                  <a:lstStyle/>
                  <a:p>
                    <a:endParaRPr lang="en-GB" dirty="0"/>
                  </a:p>
                </p:txBody>
              </p:sp>
              <p:sp>
                <p:nvSpPr>
                  <p:cNvPr id="121" name="Freihandform: Form 435">
                    <a:extLst>
                      <a:ext uri="{FF2B5EF4-FFF2-40B4-BE49-F238E27FC236}">
                        <a16:creationId xmlns:a16="http://schemas.microsoft.com/office/drawing/2014/main" id="{127DE2D6-5417-438A-8182-D650BE47CFD5}"/>
                      </a:ext>
                    </a:extLst>
                  </p:cNvPr>
                  <p:cNvSpPr/>
                  <p:nvPr/>
                </p:nvSpPr>
                <p:spPr>
                  <a:xfrm>
                    <a:off x="1019703" y="3435503"/>
                    <a:ext cx="108251" cy="38600"/>
                  </a:xfrm>
                  <a:custGeom>
                    <a:avLst/>
                    <a:gdLst>
                      <a:gd name="connsiteX0" fmla="*/ 97638 w 108251"/>
                      <a:gd name="connsiteY0" fmla="*/ 38600 h 38600"/>
                      <a:gd name="connsiteX1" fmla="*/ 10576 w 108251"/>
                      <a:gd name="connsiteY1" fmla="*/ 38600 h 38600"/>
                      <a:gd name="connsiteX2" fmla="*/ 5383 w 108251"/>
                      <a:gd name="connsiteY2" fmla="*/ 35970 h 38600"/>
                      <a:gd name="connsiteX3" fmla="*/ 4443 w 108251"/>
                      <a:gd name="connsiteY3" fmla="*/ 30220 h 38600"/>
                      <a:gd name="connsiteX4" fmla="*/ 8528 w 108251"/>
                      <a:gd name="connsiteY4" fmla="*/ 17354 h 38600"/>
                      <a:gd name="connsiteX5" fmla="*/ 8456 w 108251"/>
                      <a:gd name="connsiteY5" fmla="*/ 13603 h 38600"/>
                      <a:gd name="connsiteX6" fmla="*/ 6435 w 108251"/>
                      <a:gd name="connsiteY6" fmla="*/ 12869 h 38600"/>
                      <a:gd name="connsiteX7" fmla="*/ 0 w 108251"/>
                      <a:gd name="connsiteY7" fmla="*/ 6435 h 38600"/>
                      <a:gd name="connsiteX8" fmla="*/ 6435 w 108251"/>
                      <a:gd name="connsiteY8" fmla="*/ 0 h 38600"/>
                      <a:gd name="connsiteX9" fmla="*/ 92635 w 108251"/>
                      <a:gd name="connsiteY9" fmla="*/ 0 h 38600"/>
                      <a:gd name="connsiteX10" fmla="*/ 105127 w 108251"/>
                      <a:gd name="connsiteY10" fmla="*/ 5963 h 38600"/>
                      <a:gd name="connsiteX11" fmla="*/ 107480 w 108251"/>
                      <a:gd name="connsiteY11" fmla="*/ 21059 h 38600"/>
                      <a:gd name="connsiteX12" fmla="*/ 103823 w 108251"/>
                      <a:gd name="connsiteY12" fmla="*/ 33925 h 38600"/>
                      <a:gd name="connsiteX13" fmla="*/ 97638 w 108251"/>
                      <a:gd name="connsiteY13" fmla="*/ 38600 h 38600"/>
                      <a:gd name="connsiteX14" fmla="*/ 19366 w 108251"/>
                      <a:gd name="connsiteY14" fmla="*/ 25735 h 38600"/>
                      <a:gd name="connsiteX15" fmla="*/ 92776 w 108251"/>
                      <a:gd name="connsiteY15" fmla="*/ 25735 h 38600"/>
                      <a:gd name="connsiteX16" fmla="*/ 95102 w 108251"/>
                      <a:gd name="connsiteY16" fmla="*/ 17544 h 38600"/>
                      <a:gd name="connsiteX17" fmla="*/ 94856 w 108251"/>
                      <a:gd name="connsiteY17" fmla="*/ 13724 h 38600"/>
                      <a:gd name="connsiteX18" fmla="*/ 92632 w 108251"/>
                      <a:gd name="connsiteY18" fmla="*/ 12869 h 38600"/>
                      <a:gd name="connsiteX19" fmla="*/ 21580 w 108251"/>
                      <a:gd name="connsiteY19" fmla="*/ 12869 h 38600"/>
                      <a:gd name="connsiteX20" fmla="*/ 20791 w 108251"/>
                      <a:gd name="connsiteY20" fmla="*/ 21250 h 38600"/>
                      <a:gd name="connsiteX21" fmla="*/ 19366 w 108251"/>
                      <a:gd name="connsiteY21" fmla="*/ 25735 h 3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251" h="38600">
                        <a:moveTo>
                          <a:pt x="97638" y="38600"/>
                        </a:moveTo>
                        <a:lnTo>
                          <a:pt x="10576" y="38600"/>
                        </a:lnTo>
                        <a:cubicBezTo>
                          <a:pt x="8525" y="38600"/>
                          <a:pt x="6595" y="37621"/>
                          <a:pt x="5383" y="35970"/>
                        </a:cubicBezTo>
                        <a:cubicBezTo>
                          <a:pt x="4171" y="34312"/>
                          <a:pt x="3820" y="32176"/>
                          <a:pt x="4443" y="30220"/>
                        </a:cubicBezTo>
                        <a:lnTo>
                          <a:pt x="8528" y="17354"/>
                        </a:lnTo>
                        <a:cubicBezTo>
                          <a:pt x="9124" y="15477"/>
                          <a:pt x="8879" y="14183"/>
                          <a:pt x="8456" y="13603"/>
                        </a:cubicBezTo>
                        <a:cubicBezTo>
                          <a:pt x="8014" y="12994"/>
                          <a:pt x="7113" y="12869"/>
                          <a:pt x="6435" y="12869"/>
                        </a:cubicBezTo>
                        <a:cubicBezTo>
                          <a:pt x="2883" y="12869"/>
                          <a:pt x="0" y="9992"/>
                          <a:pt x="0" y="6435"/>
                        </a:cubicBezTo>
                        <a:cubicBezTo>
                          <a:pt x="0" y="2876"/>
                          <a:pt x="2880" y="0"/>
                          <a:pt x="6435" y="0"/>
                        </a:cubicBezTo>
                        <a:lnTo>
                          <a:pt x="92635" y="0"/>
                        </a:lnTo>
                        <a:cubicBezTo>
                          <a:pt x="97710" y="0"/>
                          <a:pt x="102267" y="2172"/>
                          <a:pt x="105127" y="5963"/>
                        </a:cubicBezTo>
                        <a:cubicBezTo>
                          <a:pt x="108197" y="10028"/>
                          <a:pt x="109052" y="15529"/>
                          <a:pt x="107480" y="21059"/>
                        </a:cubicBezTo>
                        <a:lnTo>
                          <a:pt x="103823" y="33925"/>
                        </a:lnTo>
                        <a:cubicBezTo>
                          <a:pt x="103040" y="36690"/>
                          <a:pt x="100511" y="38600"/>
                          <a:pt x="97638" y="38600"/>
                        </a:cubicBezTo>
                        <a:close/>
                        <a:moveTo>
                          <a:pt x="19366" y="25735"/>
                        </a:moveTo>
                        <a:lnTo>
                          <a:pt x="92776" y="25735"/>
                        </a:lnTo>
                        <a:lnTo>
                          <a:pt x="95102" y="17544"/>
                        </a:lnTo>
                        <a:cubicBezTo>
                          <a:pt x="95554" y="15955"/>
                          <a:pt x="95463" y="14524"/>
                          <a:pt x="94856" y="13724"/>
                        </a:cubicBezTo>
                        <a:cubicBezTo>
                          <a:pt x="94434" y="13157"/>
                          <a:pt x="93680" y="12869"/>
                          <a:pt x="92632" y="12869"/>
                        </a:cubicBezTo>
                        <a:lnTo>
                          <a:pt x="21580" y="12869"/>
                        </a:lnTo>
                        <a:cubicBezTo>
                          <a:pt x="21957" y="15533"/>
                          <a:pt x="21698" y="18389"/>
                          <a:pt x="20791" y="21250"/>
                        </a:cubicBezTo>
                        <a:lnTo>
                          <a:pt x="19366" y="25735"/>
                        </a:lnTo>
                        <a:close/>
                      </a:path>
                    </a:pathLst>
                  </a:custGeom>
                  <a:grpFill/>
                  <a:ln w="327" cap="flat">
                    <a:noFill/>
                    <a:prstDash val="solid"/>
                    <a:miter/>
                  </a:ln>
                </p:spPr>
                <p:txBody>
                  <a:bodyPr rtlCol="0" anchor="ctr"/>
                  <a:lstStyle/>
                  <a:p>
                    <a:endParaRPr lang="en-GB" dirty="0"/>
                  </a:p>
                </p:txBody>
              </p:sp>
            </p:grpSp>
            <p:sp>
              <p:nvSpPr>
                <p:cNvPr id="118" name="Freihandform: Form 436">
                  <a:extLst>
                    <a:ext uri="{FF2B5EF4-FFF2-40B4-BE49-F238E27FC236}">
                      <a16:creationId xmlns:a16="http://schemas.microsoft.com/office/drawing/2014/main" id="{19CBB380-C797-48C3-8041-CFED7DC5DDCD}"/>
                    </a:ext>
                  </a:extLst>
                </p:cNvPr>
                <p:cNvSpPr/>
                <p:nvPr/>
              </p:nvSpPr>
              <p:spPr>
                <a:xfrm>
                  <a:off x="1056273" y="3486969"/>
                  <a:ext cx="45789" cy="51462"/>
                </a:xfrm>
                <a:custGeom>
                  <a:avLst/>
                  <a:gdLst>
                    <a:gd name="connsiteX0" fmla="*/ 22684 w 45789"/>
                    <a:gd name="connsiteY0" fmla="*/ 51463 h 51462"/>
                    <a:gd name="connsiteX1" fmla="*/ 11892 w 45789"/>
                    <a:gd name="connsiteY1" fmla="*/ 51463 h 51462"/>
                    <a:gd name="connsiteX2" fmla="*/ 2286 w 45789"/>
                    <a:gd name="connsiteY2" fmla="*/ 46840 h 51462"/>
                    <a:gd name="connsiteX3" fmla="*/ 593 w 45789"/>
                    <a:gd name="connsiteY3" fmla="*/ 35776 h 51462"/>
                    <a:gd name="connsiteX4" fmla="*/ 7692 w 45789"/>
                    <a:gd name="connsiteY4" fmla="*/ 12011 h 51462"/>
                    <a:gd name="connsiteX5" fmla="*/ 23313 w 45789"/>
                    <a:gd name="connsiteY5" fmla="*/ 0 h 51462"/>
                    <a:gd name="connsiteX6" fmla="*/ 33948 w 45789"/>
                    <a:gd name="connsiteY6" fmla="*/ 0 h 51462"/>
                    <a:gd name="connsiteX7" fmla="*/ 43462 w 45789"/>
                    <a:gd name="connsiteY7" fmla="*/ 4574 h 51462"/>
                    <a:gd name="connsiteX8" fmla="*/ 45224 w 45789"/>
                    <a:gd name="connsiteY8" fmla="*/ 15637 h 51462"/>
                    <a:gd name="connsiteX9" fmla="*/ 38354 w 45789"/>
                    <a:gd name="connsiteY9" fmla="*/ 39397 h 51462"/>
                    <a:gd name="connsiteX10" fmla="*/ 22684 w 45789"/>
                    <a:gd name="connsiteY10" fmla="*/ 51463 h 51462"/>
                    <a:gd name="connsiteX11" fmla="*/ 13176 w 45789"/>
                    <a:gd name="connsiteY11" fmla="*/ 38597 h 51462"/>
                    <a:gd name="connsiteX12" fmla="*/ 22681 w 45789"/>
                    <a:gd name="connsiteY12" fmla="*/ 38597 h 51462"/>
                    <a:gd name="connsiteX13" fmla="*/ 25993 w 45789"/>
                    <a:gd name="connsiteY13" fmla="*/ 35825 h 51462"/>
                    <a:gd name="connsiteX14" fmla="*/ 32634 w 45789"/>
                    <a:gd name="connsiteY14" fmla="*/ 12863 h 51462"/>
                    <a:gd name="connsiteX15" fmla="*/ 23310 w 45789"/>
                    <a:gd name="connsiteY15" fmla="*/ 12863 h 51462"/>
                    <a:gd name="connsiteX16" fmla="*/ 20014 w 45789"/>
                    <a:gd name="connsiteY16" fmla="*/ 15690 h 51462"/>
                    <a:gd name="connsiteX17" fmla="*/ 13176 w 45789"/>
                    <a:gd name="connsiteY17" fmla="*/ 38597 h 5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789" h="51462">
                      <a:moveTo>
                        <a:pt x="22684" y="51463"/>
                      </a:moveTo>
                      <a:lnTo>
                        <a:pt x="11892" y="51463"/>
                      </a:lnTo>
                      <a:cubicBezTo>
                        <a:pt x="7977" y="51463"/>
                        <a:pt x="4475" y="49779"/>
                        <a:pt x="2286" y="46840"/>
                      </a:cubicBezTo>
                      <a:cubicBezTo>
                        <a:pt x="22" y="43806"/>
                        <a:pt x="-597" y="39773"/>
                        <a:pt x="593" y="35776"/>
                      </a:cubicBezTo>
                      <a:lnTo>
                        <a:pt x="7692" y="12011"/>
                      </a:lnTo>
                      <a:cubicBezTo>
                        <a:pt x="9740" y="5163"/>
                        <a:pt x="16456" y="0"/>
                        <a:pt x="23313" y="0"/>
                      </a:cubicBezTo>
                      <a:lnTo>
                        <a:pt x="33948" y="0"/>
                      </a:lnTo>
                      <a:cubicBezTo>
                        <a:pt x="37807" y="0"/>
                        <a:pt x="41280" y="1664"/>
                        <a:pt x="43462" y="4574"/>
                      </a:cubicBezTo>
                      <a:cubicBezTo>
                        <a:pt x="45739" y="7601"/>
                        <a:pt x="46384" y="11634"/>
                        <a:pt x="45224" y="15637"/>
                      </a:cubicBezTo>
                      <a:lnTo>
                        <a:pt x="38354" y="39397"/>
                      </a:lnTo>
                      <a:cubicBezTo>
                        <a:pt x="36369" y="46273"/>
                        <a:pt x="29630" y="51463"/>
                        <a:pt x="22684" y="51463"/>
                      </a:cubicBezTo>
                      <a:close/>
                      <a:moveTo>
                        <a:pt x="13176" y="38597"/>
                      </a:moveTo>
                      <a:lnTo>
                        <a:pt x="22681" y="38597"/>
                      </a:lnTo>
                      <a:cubicBezTo>
                        <a:pt x="23778" y="38597"/>
                        <a:pt x="25580" y="37254"/>
                        <a:pt x="25993" y="35825"/>
                      </a:cubicBezTo>
                      <a:lnTo>
                        <a:pt x="32634" y="12863"/>
                      </a:lnTo>
                      <a:lnTo>
                        <a:pt x="23310" y="12863"/>
                      </a:lnTo>
                      <a:cubicBezTo>
                        <a:pt x="22343" y="12863"/>
                        <a:pt x="20482" y="14130"/>
                        <a:pt x="20014" y="15690"/>
                      </a:cubicBezTo>
                      <a:lnTo>
                        <a:pt x="13176" y="38597"/>
                      </a:lnTo>
                      <a:close/>
                    </a:path>
                  </a:pathLst>
                </a:custGeom>
                <a:grpFill/>
                <a:ln w="327" cap="flat">
                  <a:noFill/>
                  <a:prstDash val="solid"/>
                  <a:miter/>
                </a:ln>
              </p:spPr>
              <p:txBody>
                <a:bodyPr rtlCol="0" anchor="ctr"/>
                <a:lstStyle/>
                <a:p>
                  <a:endParaRPr lang="en-GB" dirty="0"/>
                </a:p>
              </p:txBody>
            </p:sp>
          </p:grpSp>
          <p:sp>
            <p:nvSpPr>
              <p:cNvPr id="109" name="Freihandform: Form 437">
                <a:extLst>
                  <a:ext uri="{FF2B5EF4-FFF2-40B4-BE49-F238E27FC236}">
                    <a16:creationId xmlns:a16="http://schemas.microsoft.com/office/drawing/2014/main" id="{DCCB56ED-150E-48BC-B7BA-FB8200D3722B}"/>
                  </a:ext>
                </a:extLst>
              </p:cNvPr>
              <p:cNvSpPr/>
              <p:nvPr/>
            </p:nvSpPr>
            <p:spPr>
              <a:xfrm>
                <a:off x="925741" y="3533072"/>
                <a:ext cx="12868" cy="205857"/>
              </a:xfrm>
              <a:custGeom>
                <a:avLst/>
                <a:gdLst>
                  <a:gd name="connsiteX0" fmla="*/ 6435 w 12868"/>
                  <a:gd name="connsiteY0" fmla="*/ 205858 h 205857"/>
                  <a:gd name="connsiteX1" fmla="*/ 0 w 12868"/>
                  <a:gd name="connsiteY1" fmla="*/ 199423 h 205857"/>
                  <a:gd name="connsiteX2" fmla="*/ 0 w 12868"/>
                  <a:gd name="connsiteY2" fmla="*/ 6434 h 205857"/>
                  <a:gd name="connsiteX3" fmla="*/ 6435 w 12868"/>
                  <a:gd name="connsiteY3" fmla="*/ 0 h 205857"/>
                  <a:gd name="connsiteX4" fmla="*/ 12869 w 12868"/>
                  <a:gd name="connsiteY4" fmla="*/ 6434 h 205857"/>
                  <a:gd name="connsiteX5" fmla="*/ 12869 w 12868"/>
                  <a:gd name="connsiteY5" fmla="*/ 199423 h 205857"/>
                  <a:gd name="connsiteX6" fmla="*/ 6435 w 12868"/>
                  <a:gd name="connsiteY6" fmla="*/ 205858 h 205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8" h="205857">
                    <a:moveTo>
                      <a:pt x="6435" y="205858"/>
                    </a:moveTo>
                    <a:cubicBezTo>
                      <a:pt x="2883" y="205858"/>
                      <a:pt x="0" y="202981"/>
                      <a:pt x="0" y="199423"/>
                    </a:cubicBezTo>
                    <a:lnTo>
                      <a:pt x="0" y="6434"/>
                    </a:lnTo>
                    <a:cubicBezTo>
                      <a:pt x="0" y="2880"/>
                      <a:pt x="2880" y="0"/>
                      <a:pt x="6435" y="0"/>
                    </a:cubicBezTo>
                    <a:cubicBezTo>
                      <a:pt x="9986" y="0"/>
                      <a:pt x="12869" y="2876"/>
                      <a:pt x="12869" y="6434"/>
                    </a:cubicBezTo>
                    <a:lnTo>
                      <a:pt x="12869" y="199423"/>
                    </a:lnTo>
                    <a:cubicBezTo>
                      <a:pt x="12866" y="202981"/>
                      <a:pt x="9986" y="205858"/>
                      <a:pt x="6435" y="205858"/>
                    </a:cubicBezTo>
                    <a:close/>
                  </a:path>
                </a:pathLst>
              </a:custGeom>
              <a:grpFill/>
              <a:ln w="327" cap="flat">
                <a:noFill/>
                <a:prstDash val="solid"/>
                <a:miter/>
              </a:ln>
            </p:spPr>
            <p:txBody>
              <a:bodyPr rtlCol="0" anchor="ctr"/>
              <a:lstStyle/>
              <a:p>
                <a:endParaRPr lang="en-GB" dirty="0"/>
              </a:p>
            </p:txBody>
          </p:sp>
          <p:sp>
            <p:nvSpPr>
              <p:cNvPr id="110" name="Freihandform: Form 438">
                <a:extLst>
                  <a:ext uri="{FF2B5EF4-FFF2-40B4-BE49-F238E27FC236}">
                    <a16:creationId xmlns:a16="http://schemas.microsoft.com/office/drawing/2014/main" id="{85D4250A-4CD4-4F22-83BB-16CBA0780BF7}"/>
                  </a:ext>
                </a:extLst>
              </p:cNvPr>
              <p:cNvSpPr/>
              <p:nvPr/>
            </p:nvSpPr>
            <p:spPr>
              <a:xfrm>
                <a:off x="1041533" y="3558803"/>
                <a:ext cx="12869" cy="180126"/>
              </a:xfrm>
              <a:custGeom>
                <a:avLst/>
                <a:gdLst>
                  <a:gd name="connsiteX0" fmla="*/ 6435 w 12869"/>
                  <a:gd name="connsiteY0" fmla="*/ 180126 h 180126"/>
                  <a:gd name="connsiteX1" fmla="*/ 0 w 12869"/>
                  <a:gd name="connsiteY1" fmla="*/ 173692 h 180126"/>
                  <a:gd name="connsiteX2" fmla="*/ 0 w 12869"/>
                  <a:gd name="connsiteY2" fmla="*/ 6434 h 180126"/>
                  <a:gd name="connsiteX3" fmla="*/ 6435 w 12869"/>
                  <a:gd name="connsiteY3" fmla="*/ 0 h 180126"/>
                  <a:gd name="connsiteX4" fmla="*/ 12869 w 12869"/>
                  <a:gd name="connsiteY4" fmla="*/ 6434 h 180126"/>
                  <a:gd name="connsiteX5" fmla="*/ 12869 w 12869"/>
                  <a:gd name="connsiteY5" fmla="*/ 173692 h 180126"/>
                  <a:gd name="connsiteX6" fmla="*/ 6435 w 12869"/>
                  <a:gd name="connsiteY6" fmla="*/ 180126 h 180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9" h="180126">
                    <a:moveTo>
                      <a:pt x="6435" y="180126"/>
                    </a:moveTo>
                    <a:cubicBezTo>
                      <a:pt x="2883" y="180126"/>
                      <a:pt x="0" y="177250"/>
                      <a:pt x="0" y="173692"/>
                    </a:cubicBezTo>
                    <a:lnTo>
                      <a:pt x="0" y="6434"/>
                    </a:lnTo>
                    <a:cubicBezTo>
                      <a:pt x="0" y="2880"/>
                      <a:pt x="2880" y="0"/>
                      <a:pt x="6435" y="0"/>
                    </a:cubicBezTo>
                    <a:cubicBezTo>
                      <a:pt x="9986" y="0"/>
                      <a:pt x="12869" y="2876"/>
                      <a:pt x="12869" y="6434"/>
                    </a:cubicBezTo>
                    <a:lnTo>
                      <a:pt x="12869" y="173692"/>
                    </a:lnTo>
                    <a:cubicBezTo>
                      <a:pt x="12869" y="177250"/>
                      <a:pt x="9989" y="180126"/>
                      <a:pt x="6435" y="180126"/>
                    </a:cubicBezTo>
                    <a:close/>
                  </a:path>
                </a:pathLst>
              </a:custGeom>
              <a:grpFill/>
              <a:ln w="327" cap="flat">
                <a:noFill/>
                <a:prstDash val="solid"/>
                <a:miter/>
              </a:ln>
            </p:spPr>
            <p:txBody>
              <a:bodyPr rtlCol="0" anchor="ctr"/>
              <a:lstStyle/>
              <a:p>
                <a:endParaRPr lang="en-GB" dirty="0"/>
              </a:p>
            </p:txBody>
          </p:sp>
          <p:sp>
            <p:nvSpPr>
              <p:cNvPr id="111" name="Freihandform: Form 439">
                <a:extLst>
                  <a:ext uri="{FF2B5EF4-FFF2-40B4-BE49-F238E27FC236}">
                    <a16:creationId xmlns:a16="http://schemas.microsoft.com/office/drawing/2014/main" id="{7BF770A0-5289-4CEB-932D-7116FB1EC728}"/>
                  </a:ext>
                </a:extLst>
              </p:cNvPr>
              <p:cNvSpPr/>
              <p:nvPr/>
            </p:nvSpPr>
            <p:spPr>
              <a:xfrm>
                <a:off x="983639" y="3597400"/>
                <a:ext cx="12868" cy="141529"/>
              </a:xfrm>
              <a:custGeom>
                <a:avLst/>
                <a:gdLst>
                  <a:gd name="connsiteX0" fmla="*/ 6434 w 12868"/>
                  <a:gd name="connsiteY0" fmla="*/ 141529 h 141529"/>
                  <a:gd name="connsiteX1" fmla="*/ 0 w 12868"/>
                  <a:gd name="connsiteY1" fmla="*/ 135095 h 141529"/>
                  <a:gd name="connsiteX2" fmla="*/ 0 w 12868"/>
                  <a:gd name="connsiteY2" fmla="*/ 6434 h 141529"/>
                  <a:gd name="connsiteX3" fmla="*/ 6434 w 12868"/>
                  <a:gd name="connsiteY3" fmla="*/ 0 h 141529"/>
                  <a:gd name="connsiteX4" fmla="*/ 12869 w 12868"/>
                  <a:gd name="connsiteY4" fmla="*/ 6434 h 141529"/>
                  <a:gd name="connsiteX5" fmla="*/ 12869 w 12868"/>
                  <a:gd name="connsiteY5" fmla="*/ 135095 h 141529"/>
                  <a:gd name="connsiteX6" fmla="*/ 6434 w 12868"/>
                  <a:gd name="connsiteY6" fmla="*/ 141529 h 1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8" h="141529">
                    <a:moveTo>
                      <a:pt x="6434" y="141529"/>
                    </a:moveTo>
                    <a:cubicBezTo>
                      <a:pt x="2883" y="141529"/>
                      <a:pt x="0" y="138653"/>
                      <a:pt x="0" y="135095"/>
                    </a:cubicBezTo>
                    <a:lnTo>
                      <a:pt x="0" y="6434"/>
                    </a:lnTo>
                    <a:cubicBezTo>
                      <a:pt x="0" y="2880"/>
                      <a:pt x="2880" y="0"/>
                      <a:pt x="6434" y="0"/>
                    </a:cubicBezTo>
                    <a:cubicBezTo>
                      <a:pt x="9986" y="0"/>
                      <a:pt x="12869" y="2876"/>
                      <a:pt x="12869" y="6434"/>
                    </a:cubicBezTo>
                    <a:lnTo>
                      <a:pt x="12869" y="135095"/>
                    </a:lnTo>
                    <a:cubicBezTo>
                      <a:pt x="12866" y="138653"/>
                      <a:pt x="9986" y="141529"/>
                      <a:pt x="6434" y="141529"/>
                    </a:cubicBezTo>
                    <a:close/>
                  </a:path>
                </a:pathLst>
              </a:custGeom>
              <a:grpFill/>
              <a:ln w="327" cap="flat">
                <a:noFill/>
                <a:prstDash val="solid"/>
                <a:miter/>
              </a:ln>
            </p:spPr>
            <p:txBody>
              <a:bodyPr rtlCol="0" anchor="ctr"/>
              <a:lstStyle/>
              <a:p>
                <a:endParaRPr lang="en-GB" dirty="0"/>
              </a:p>
            </p:txBody>
          </p:sp>
          <p:sp>
            <p:nvSpPr>
              <p:cNvPr id="112" name="Freihandform: Form 440">
                <a:extLst>
                  <a:ext uri="{FF2B5EF4-FFF2-40B4-BE49-F238E27FC236}">
                    <a16:creationId xmlns:a16="http://schemas.microsoft.com/office/drawing/2014/main" id="{7FE1C6D1-236C-4195-ABA0-32D89BA115ED}"/>
                  </a:ext>
                </a:extLst>
              </p:cNvPr>
              <p:cNvSpPr/>
              <p:nvPr/>
            </p:nvSpPr>
            <p:spPr>
              <a:xfrm>
                <a:off x="951473" y="3378680"/>
                <a:ext cx="132654" cy="68980"/>
              </a:xfrm>
              <a:custGeom>
                <a:avLst/>
                <a:gdLst>
                  <a:gd name="connsiteX0" fmla="*/ 126213 w 132654"/>
                  <a:gd name="connsiteY0" fmla="*/ 68981 h 68980"/>
                  <a:gd name="connsiteX1" fmla="*/ 119962 w 132654"/>
                  <a:gd name="connsiteY1" fmla="*/ 64044 h 68980"/>
                  <a:gd name="connsiteX2" fmla="*/ 57897 w 132654"/>
                  <a:gd name="connsiteY2" fmla="*/ 12869 h 68980"/>
                  <a:gd name="connsiteX3" fmla="*/ 6434 w 132654"/>
                  <a:gd name="connsiteY3" fmla="*/ 12869 h 68980"/>
                  <a:gd name="connsiteX4" fmla="*/ 0 w 132654"/>
                  <a:gd name="connsiteY4" fmla="*/ 6434 h 68980"/>
                  <a:gd name="connsiteX5" fmla="*/ 6434 w 132654"/>
                  <a:gd name="connsiteY5" fmla="*/ 0 h 68980"/>
                  <a:gd name="connsiteX6" fmla="*/ 57897 w 132654"/>
                  <a:gd name="connsiteY6" fmla="*/ 0 h 68980"/>
                  <a:gd name="connsiteX7" fmla="*/ 132477 w 132654"/>
                  <a:gd name="connsiteY7" fmla="*/ 61052 h 68980"/>
                  <a:gd name="connsiteX8" fmla="*/ 127717 w 132654"/>
                  <a:gd name="connsiteY8" fmla="*/ 68804 h 68980"/>
                  <a:gd name="connsiteX9" fmla="*/ 126213 w 132654"/>
                  <a:gd name="connsiteY9" fmla="*/ 68981 h 68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54" h="68980">
                    <a:moveTo>
                      <a:pt x="126213" y="68981"/>
                    </a:moveTo>
                    <a:cubicBezTo>
                      <a:pt x="123304" y="68981"/>
                      <a:pt x="120670" y="66995"/>
                      <a:pt x="119962" y="64044"/>
                    </a:cubicBezTo>
                    <a:cubicBezTo>
                      <a:pt x="112535" y="32952"/>
                      <a:pt x="88173" y="12869"/>
                      <a:pt x="57897" y="12869"/>
                    </a:cubicBezTo>
                    <a:lnTo>
                      <a:pt x="6434" y="12869"/>
                    </a:lnTo>
                    <a:cubicBezTo>
                      <a:pt x="2883" y="12869"/>
                      <a:pt x="0" y="9992"/>
                      <a:pt x="0" y="6434"/>
                    </a:cubicBezTo>
                    <a:cubicBezTo>
                      <a:pt x="0" y="2880"/>
                      <a:pt x="2880" y="0"/>
                      <a:pt x="6434" y="0"/>
                    </a:cubicBezTo>
                    <a:lnTo>
                      <a:pt x="57897" y="0"/>
                    </a:lnTo>
                    <a:cubicBezTo>
                      <a:pt x="94345" y="0"/>
                      <a:pt x="123618" y="23966"/>
                      <a:pt x="132477" y="61052"/>
                    </a:cubicBezTo>
                    <a:cubicBezTo>
                      <a:pt x="133303" y="64509"/>
                      <a:pt x="131170" y="67982"/>
                      <a:pt x="127717" y="68804"/>
                    </a:cubicBezTo>
                    <a:cubicBezTo>
                      <a:pt x="127212" y="68925"/>
                      <a:pt x="126711" y="68981"/>
                      <a:pt x="126213" y="68981"/>
                    </a:cubicBezTo>
                    <a:close/>
                  </a:path>
                </a:pathLst>
              </a:custGeom>
              <a:grpFill/>
              <a:ln w="327" cap="flat">
                <a:noFill/>
                <a:prstDash val="solid"/>
                <a:miter/>
              </a:ln>
            </p:spPr>
            <p:txBody>
              <a:bodyPr rtlCol="0" anchor="ctr"/>
              <a:lstStyle/>
              <a:p>
                <a:endParaRPr lang="en-GB" dirty="0"/>
              </a:p>
            </p:txBody>
          </p:sp>
          <p:sp>
            <p:nvSpPr>
              <p:cNvPr id="113" name="Freihandform: Form 441">
                <a:extLst>
                  <a:ext uri="{FF2B5EF4-FFF2-40B4-BE49-F238E27FC236}">
                    <a16:creationId xmlns:a16="http://schemas.microsoft.com/office/drawing/2014/main" id="{8FDE8911-635F-4133-9086-23C748CD1699}"/>
                  </a:ext>
                </a:extLst>
              </p:cNvPr>
              <p:cNvSpPr/>
              <p:nvPr/>
            </p:nvSpPr>
            <p:spPr>
              <a:xfrm>
                <a:off x="938607" y="3262888"/>
                <a:ext cx="90063" cy="102925"/>
              </a:xfrm>
              <a:custGeom>
                <a:avLst/>
                <a:gdLst>
                  <a:gd name="connsiteX0" fmla="*/ 45032 w 90063"/>
                  <a:gd name="connsiteY0" fmla="*/ 102926 h 102925"/>
                  <a:gd name="connsiteX1" fmla="*/ 0 w 90063"/>
                  <a:gd name="connsiteY1" fmla="*/ 51463 h 102925"/>
                  <a:gd name="connsiteX2" fmla="*/ 45032 w 90063"/>
                  <a:gd name="connsiteY2" fmla="*/ 0 h 102925"/>
                  <a:gd name="connsiteX3" fmla="*/ 90063 w 90063"/>
                  <a:gd name="connsiteY3" fmla="*/ 51463 h 102925"/>
                  <a:gd name="connsiteX4" fmla="*/ 45032 w 90063"/>
                  <a:gd name="connsiteY4" fmla="*/ 102926 h 102925"/>
                  <a:gd name="connsiteX5" fmla="*/ 45032 w 90063"/>
                  <a:gd name="connsiteY5" fmla="*/ 12866 h 102925"/>
                  <a:gd name="connsiteX6" fmla="*/ 12866 w 90063"/>
                  <a:gd name="connsiteY6" fmla="*/ 51463 h 102925"/>
                  <a:gd name="connsiteX7" fmla="*/ 45032 w 90063"/>
                  <a:gd name="connsiteY7" fmla="*/ 90060 h 102925"/>
                  <a:gd name="connsiteX8" fmla="*/ 77198 w 90063"/>
                  <a:gd name="connsiteY8" fmla="*/ 51463 h 102925"/>
                  <a:gd name="connsiteX9" fmla="*/ 45032 w 90063"/>
                  <a:gd name="connsiteY9" fmla="*/ 12866 h 10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063" h="102925">
                    <a:moveTo>
                      <a:pt x="45032" y="102926"/>
                    </a:moveTo>
                    <a:cubicBezTo>
                      <a:pt x="18098" y="102926"/>
                      <a:pt x="0" y="82246"/>
                      <a:pt x="0" y="51463"/>
                    </a:cubicBezTo>
                    <a:cubicBezTo>
                      <a:pt x="0" y="20680"/>
                      <a:pt x="18095" y="0"/>
                      <a:pt x="45032" y="0"/>
                    </a:cubicBezTo>
                    <a:cubicBezTo>
                      <a:pt x="71969" y="0"/>
                      <a:pt x="90063" y="20683"/>
                      <a:pt x="90063" y="51463"/>
                    </a:cubicBezTo>
                    <a:cubicBezTo>
                      <a:pt x="90063" y="82243"/>
                      <a:pt x="71965" y="102926"/>
                      <a:pt x="45032" y="102926"/>
                    </a:cubicBezTo>
                    <a:close/>
                    <a:moveTo>
                      <a:pt x="45032" y="12866"/>
                    </a:moveTo>
                    <a:cubicBezTo>
                      <a:pt x="21292" y="12866"/>
                      <a:pt x="12866" y="33660"/>
                      <a:pt x="12866" y="51463"/>
                    </a:cubicBezTo>
                    <a:cubicBezTo>
                      <a:pt x="12866" y="69266"/>
                      <a:pt x="21289" y="90060"/>
                      <a:pt x="45032" y="90060"/>
                    </a:cubicBezTo>
                    <a:cubicBezTo>
                      <a:pt x="68774" y="90060"/>
                      <a:pt x="77198" y="69266"/>
                      <a:pt x="77198" y="51463"/>
                    </a:cubicBezTo>
                    <a:cubicBezTo>
                      <a:pt x="77198" y="33660"/>
                      <a:pt x="68771" y="12866"/>
                      <a:pt x="45032" y="12866"/>
                    </a:cubicBezTo>
                    <a:close/>
                  </a:path>
                </a:pathLst>
              </a:custGeom>
              <a:grpFill/>
              <a:ln w="327" cap="flat">
                <a:noFill/>
                <a:prstDash val="solid"/>
                <a:miter/>
              </a:ln>
            </p:spPr>
            <p:txBody>
              <a:bodyPr rtlCol="0" anchor="ctr"/>
              <a:lstStyle/>
              <a:p>
                <a:endParaRPr lang="en-GB" dirty="0"/>
              </a:p>
            </p:txBody>
          </p:sp>
          <p:sp>
            <p:nvSpPr>
              <p:cNvPr id="114" name="Freihandform: Form 442">
                <a:extLst>
                  <a:ext uri="{FF2B5EF4-FFF2-40B4-BE49-F238E27FC236}">
                    <a16:creationId xmlns:a16="http://schemas.microsoft.com/office/drawing/2014/main" id="{76229D07-E909-4CB6-80D5-AA7898FE32B1}"/>
                  </a:ext>
                </a:extLst>
              </p:cNvPr>
              <p:cNvSpPr/>
              <p:nvPr/>
            </p:nvSpPr>
            <p:spPr>
              <a:xfrm>
                <a:off x="886993" y="3378683"/>
                <a:ext cx="99711" cy="167257"/>
              </a:xfrm>
              <a:custGeom>
                <a:avLst/>
                <a:gdLst>
                  <a:gd name="connsiteX0" fmla="*/ 93277 w 99711"/>
                  <a:gd name="connsiteY0" fmla="*/ 167258 h 167257"/>
                  <a:gd name="connsiteX1" fmla="*/ 25731 w 99711"/>
                  <a:gd name="connsiteY1" fmla="*/ 167258 h 167257"/>
                  <a:gd name="connsiteX2" fmla="*/ 0 w 99711"/>
                  <a:gd name="connsiteY2" fmla="*/ 141526 h 167257"/>
                  <a:gd name="connsiteX3" fmla="*/ 0 w 99711"/>
                  <a:gd name="connsiteY3" fmla="*/ 70763 h 167257"/>
                  <a:gd name="connsiteX4" fmla="*/ 70763 w 99711"/>
                  <a:gd name="connsiteY4" fmla="*/ 0 h 167257"/>
                  <a:gd name="connsiteX5" fmla="*/ 92373 w 99711"/>
                  <a:gd name="connsiteY5" fmla="*/ 0 h 167257"/>
                  <a:gd name="connsiteX6" fmla="*/ 98808 w 99711"/>
                  <a:gd name="connsiteY6" fmla="*/ 6435 h 167257"/>
                  <a:gd name="connsiteX7" fmla="*/ 92373 w 99711"/>
                  <a:gd name="connsiteY7" fmla="*/ 12869 h 167257"/>
                  <a:gd name="connsiteX8" fmla="*/ 70763 w 99711"/>
                  <a:gd name="connsiteY8" fmla="*/ 12869 h 167257"/>
                  <a:gd name="connsiteX9" fmla="*/ 12866 w 99711"/>
                  <a:gd name="connsiteY9" fmla="*/ 70766 h 167257"/>
                  <a:gd name="connsiteX10" fmla="*/ 12866 w 99711"/>
                  <a:gd name="connsiteY10" fmla="*/ 141529 h 167257"/>
                  <a:gd name="connsiteX11" fmla="*/ 25731 w 99711"/>
                  <a:gd name="connsiteY11" fmla="*/ 154395 h 167257"/>
                  <a:gd name="connsiteX12" fmla="*/ 93277 w 99711"/>
                  <a:gd name="connsiteY12" fmla="*/ 154395 h 167257"/>
                  <a:gd name="connsiteX13" fmla="*/ 99712 w 99711"/>
                  <a:gd name="connsiteY13" fmla="*/ 160830 h 167257"/>
                  <a:gd name="connsiteX14" fmla="*/ 93277 w 99711"/>
                  <a:gd name="connsiteY14" fmla="*/ 167258 h 16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711" h="167257">
                    <a:moveTo>
                      <a:pt x="93277" y="167258"/>
                    </a:moveTo>
                    <a:lnTo>
                      <a:pt x="25731" y="167258"/>
                    </a:lnTo>
                    <a:cubicBezTo>
                      <a:pt x="11542" y="167258"/>
                      <a:pt x="0" y="155715"/>
                      <a:pt x="0" y="141526"/>
                    </a:cubicBezTo>
                    <a:lnTo>
                      <a:pt x="0" y="70763"/>
                    </a:lnTo>
                    <a:cubicBezTo>
                      <a:pt x="0" y="31743"/>
                      <a:pt x="31743" y="0"/>
                      <a:pt x="70763" y="0"/>
                    </a:cubicBezTo>
                    <a:lnTo>
                      <a:pt x="92373" y="0"/>
                    </a:lnTo>
                    <a:cubicBezTo>
                      <a:pt x="95924" y="0"/>
                      <a:pt x="98808" y="2877"/>
                      <a:pt x="98808" y="6435"/>
                    </a:cubicBezTo>
                    <a:cubicBezTo>
                      <a:pt x="98808" y="9989"/>
                      <a:pt x="95928" y="12869"/>
                      <a:pt x="92373" y="12869"/>
                    </a:cubicBezTo>
                    <a:lnTo>
                      <a:pt x="70763" y="12869"/>
                    </a:lnTo>
                    <a:cubicBezTo>
                      <a:pt x="38840" y="12869"/>
                      <a:pt x="12866" y="38840"/>
                      <a:pt x="12866" y="70766"/>
                    </a:cubicBezTo>
                    <a:lnTo>
                      <a:pt x="12866" y="141529"/>
                    </a:lnTo>
                    <a:cubicBezTo>
                      <a:pt x="12866" y="148622"/>
                      <a:pt x="18635" y="154395"/>
                      <a:pt x="25731" y="154395"/>
                    </a:cubicBezTo>
                    <a:lnTo>
                      <a:pt x="93277" y="154395"/>
                    </a:lnTo>
                    <a:cubicBezTo>
                      <a:pt x="96829" y="154395"/>
                      <a:pt x="99712" y="157272"/>
                      <a:pt x="99712" y="160830"/>
                    </a:cubicBezTo>
                    <a:cubicBezTo>
                      <a:pt x="99712" y="164388"/>
                      <a:pt x="96832" y="167258"/>
                      <a:pt x="93277" y="167258"/>
                    </a:cubicBezTo>
                    <a:close/>
                  </a:path>
                </a:pathLst>
              </a:custGeom>
              <a:grpFill/>
              <a:ln w="327" cap="flat">
                <a:noFill/>
                <a:prstDash val="solid"/>
                <a:miter/>
              </a:ln>
            </p:spPr>
            <p:txBody>
              <a:bodyPr rtlCol="0" anchor="ctr"/>
              <a:lstStyle/>
              <a:p>
                <a:endParaRPr lang="en-GB" dirty="0"/>
              </a:p>
            </p:txBody>
          </p:sp>
          <p:sp>
            <p:nvSpPr>
              <p:cNvPr id="115" name="Freihandform: Form 443">
                <a:extLst>
                  <a:ext uri="{FF2B5EF4-FFF2-40B4-BE49-F238E27FC236}">
                    <a16:creationId xmlns:a16="http://schemas.microsoft.com/office/drawing/2014/main" id="{2217042E-602E-428C-8A9F-709A21FBC21C}"/>
                  </a:ext>
                </a:extLst>
              </p:cNvPr>
              <p:cNvSpPr/>
              <p:nvPr/>
            </p:nvSpPr>
            <p:spPr>
              <a:xfrm>
                <a:off x="925591" y="3449440"/>
                <a:ext cx="73983" cy="57900"/>
              </a:xfrm>
              <a:custGeom>
                <a:avLst/>
                <a:gdLst>
                  <a:gd name="connsiteX0" fmla="*/ 67546 w 73983"/>
                  <a:gd name="connsiteY0" fmla="*/ 57901 h 57900"/>
                  <a:gd name="connsiteX1" fmla="*/ 6434 w 73983"/>
                  <a:gd name="connsiteY1" fmla="*/ 57901 h 57900"/>
                  <a:gd name="connsiteX2" fmla="*/ 0 w 73983"/>
                  <a:gd name="connsiteY2" fmla="*/ 51466 h 57900"/>
                  <a:gd name="connsiteX3" fmla="*/ 0 w 73983"/>
                  <a:gd name="connsiteY3" fmla="*/ 6434 h 57900"/>
                  <a:gd name="connsiteX4" fmla="*/ 6434 w 73983"/>
                  <a:gd name="connsiteY4" fmla="*/ 0 h 57900"/>
                  <a:gd name="connsiteX5" fmla="*/ 12869 w 73983"/>
                  <a:gd name="connsiteY5" fmla="*/ 6434 h 57900"/>
                  <a:gd name="connsiteX6" fmla="*/ 12869 w 73983"/>
                  <a:gd name="connsiteY6" fmla="*/ 45032 h 57900"/>
                  <a:gd name="connsiteX7" fmla="*/ 67549 w 73983"/>
                  <a:gd name="connsiteY7" fmla="*/ 45032 h 57900"/>
                  <a:gd name="connsiteX8" fmla="*/ 73984 w 73983"/>
                  <a:gd name="connsiteY8" fmla="*/ 51466 h 57900"/>
                  <a:gd name="connsiteX9" fmla="*/ 67546 w 73983"/>
                  <a:gd name="connsiteY9" fmla="*/ 57901 h 5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983" h="57900">
                    <a:moveTo>
                      <a:pt x="67546" y="57901"/>
                    </a:moveTo>
                    <a:lnTo>
                      <a:pt x="6434" y="57901"/>
                    </a:lnTo>
                    <a:cubicBezTo>
                      <a:pt x="2883" y="57901"/>
                      <a:pt x="0" y="55024"/>
                      <a:pt x="0" y="51466"/>
                    </a:cubicBezTo>
                    <a:lnTo>
                      <a:pt x="0" y="6434"/>
                    </a:lnTo>
                    <a:cubicBezTo>
                      <a:pt x="0" y="2880"/>
                      <a:pt x="2880" y="0"/>
                      <a:pt x="6434" y="0"/>
                    </a:cubicBezTo>
                    <a:cubicBezTo>
                      <a:pt x="9989" y="0"/>
                      <a:pt x="12869" y="2876"/>
                      <a:pt x="12869" y="6434"/>
                    </a:cubicBezTo>
                    <a:lnTo>
                      <a:pt x="12869" y="45032"/>
                    </a:lnTo>
                    <a:lnTo>
                      <a:pt x="67549" y="45032"/>
                    </a:lnTo>
                    <a:cubicBezTo>
                      <a:pt x="71101" y="45032"/>
                      <a:pt x="73984" y="47908"/>
                      <a:pt x="73984" y="51466"/>
                    </a:cubicBezTo>
                    <a:cubicBezTo>
                      <a:pt x="73984" y="55024"/>
                      <a:pt x="71101" y="57901"/>
                      <a:pt x="67546" y="57901"/>
                    </a:cubicBezTo>
                    <a:close/>
                  </a:path>
                </a:pathLst>
              </a:custGeom>
              <a:grpFill/>
              <a:ln w="327" cap="flat">
                <a:noFill/>
                <a:prstDash val="solid"/>
                <a:miter/>
              </a:ln>
            </p:spPr>
            <p:txBody>
              <a:bodyPr rtlCol="0" anchor="ctr"/>
              <a:lstStyle/>
              <a:p>
                <a:endParaRPr lang="en-GB" dirty="0"/>
              </a:p>
            </p:txBody>
          </p:sp>
          <p:sp>
            <p:nvSpPr>
              <p:cNvPr id="116" name="Freihandform: Form 444">
                <a:extLst>
                  <a:ext uri="{FF2B5EF4-FFF2-40B4-BE49-F238E27FC236}">
                    <a16:creationId xmlns:a16="http://schemas.microsoft.com/office/drawing/2014/main" id="{907848CF-4A8B-4129-83DB-88D7562F598F}"/>
                  </a:ext>
                </a:extLst>
              </p:cNvPr>
              <p:cNvSpPr/>
              <p:nvPr/>
            </p:nvSpPr>
            <p:spPr>
              <a:xfrm>
                <a:off x="979213" y="3469542"/>
                <a:ext cx="21586" cy="33244"/>
              </a:xfrm>
              <a:custGeom>
                <a:avLst/>
                <a:gdLst>
                  <a:gd name="connsiteX0" fmla="*/ 15152 w 21586"/>
                  <a:gd name="connsiteY0" fmla="*/ 33245 h 33244"/>
                  <a:gd name="connsiteX1" fmla="*/ 9235 w 21586"/>
                  <a:gd name="connsiteY1" fmla="*/ 29343 h 33244"/>
                  <a:gd name="connsiteX2" fmla="*/ 521 w 21586"/>
                  <a:gd name="connsiteY2" fmla="*/ 8968 h 33244"/>
                  <a:gd name="connsiteX3" fmla="*/ 3908 w 21586"/>
                  <a:gd name="connsiteY3" fmla="*/ 518 h 33244"/>
                  <a:gd name="connsiteX4" fmla="*/ 12351 w 21586"/>
                  <a:gd name="connsiteY4" fmla="*/ 3906 h 33244"/>
                  <a:gd name="connsiteX5" fmla="*/ 21066 w 21586"/>
                  <a:gd name="connsiteY5" fmla="*/ 24281 h 33244"/>
                  <a:gd name="connsiteX6" fmla="*/ 17678 w 21586"/>
                  <a:gd name="connsiteY6" fmla="*/ 32730 h 33244"/>
                  <a:gd name="connsiteX7" fmla="*/ 15152 w 21586"/>
                  <a:gd name="connsiteY7" fmla="*/ 33245 h 33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86" h="33244">
                    <a:moveTo>
                      <a:pt x="15152" y="33245"/>
                    </a:moveTo>
                    <a:cubicBezTo>
                      <a:pt x="12656" y="33245"/>
                      <a:pt x="10277" y="31780"/>
                      <a:pt x="9235" y="29343"/>
                    </a:cubicBezTo>
                    <a:lnTo>
                      <a:pt x="521" y="8968"/>
                    </a:lnTo>
                    <a:cubicBezTo>
                      <a:pt x="-878" y="5701"/>
                      <a:pt x="639" y="1921"/>
                      <a:pt x="3908" y="518"/>
                    </a:cubicBezTo>
                    <a:cubicBezTo>
                      <a:pt x="7155" y="-877"/>
                      <a:pt x="10955" y="643"/>
                      <a:pt x="12351" y="3906"/>
                    </a:cubicBezTo>
                    <a:lnTo>
                      <a:pt x="21066" y="24281"/>
                    </a:lnTo>
                    <a:cubicBezTo>
                      <a:pt x="22465" y="27547"/>
                      <a:pt x="20948" y="31328"/>
                      <a:pt x="17678" y="32730"/>
                    </a:cubicBezTo>
                    <a:cubicBezTo>
                      <a:pt x="16856" y="33081"/>
                      <a:pt x="15998" y="33245"/>
                      <a:pt x="15152" y="33245"/>
                    </a:cubicBezTo>
                    <a:close/>
                  </a:path>
                </a:pathLst>
              </a:custGeom>
              <a:grpFill/>
              <a:ln w="327" cap="flat">
                <a:noFill/>
                <a:prstDash val="solid"/>
                <a:miter/>
              </a:ln>
            </p:spPr>
            <p:txBody>
              <a:bodyPr rtlCol="0" anchor="ctr"/>
              <a:lstStyle/>
              <a:p>
                <a:endParaRPr lang="en-GB" dirty="0"/>
              </a:p>
            </p:txBody>
          </p:sp>
        </p:grpSp>
      </p:grpSp>
      <p:grpSp>
        <p:nvGrpSpPr>
          <p:cNvPr id="469" name="Group 468">
            <a:extLst>
              <a:ext uri="{FF2B5EF4-FFF2-40B4-BE49-F238E27FC236}">
                <a16:creationId xmlns:a16="http://schemas.microsoft.com/office/drawing/2014/main" id="{362ADAF6-C912-930A-62E8-D49E8FE75F79}"/>
              </a:ext>
            </a:extLst>
          </p:cNvPr>
          <p:cNvGrpSpPr/>
          <p:nvPr/>
        </p:nvGrpSpPr>
        <p:grpSpPr>
          <a:xfrm>
            <a:off x="3767960" y="1585984"/>
            <a:ext cx="378785" cy="432000"/>
            <a:chOff x="3767960" y="1585984"/>
            <a:chExt cx="378785" cy="432000"/>
          </a:xfrm>
        </p:grpSpPr>
        <p:grpSp>
          <p:nvGrpSpPr>
            <p:cNvPr id="146" name="Graphic 5">
              <a:extLst>
                <a:ext uri="{FF2B5EF4-FFF2-40B4-BE49-F238E27FC236}">
                  <a16:creationId xmlns:a16="http://schemas.microsoft.com/office/drawing/2014/main" id="{FF811D23-E817-4ACD-9F86-C5083AE156A6}"/>
                </a:ext>
              </a:extLst>
            </p:cNvPr>
            <p:cNvGrpSpPr/>
            <p:nvPr/>
          </p:nvGrpSpPr>
          <p:grpSpPr>
            <a:xfrm>
              <a:off x="3806265" y="1623252"/>
              <a:ext cx="170395" cy="106610"/>
              <a:chOff x="7092062" y="1681195"/>
              <a:chExt cx="172061" cy="107652"/>
            </a:xfrm>
            <a:solidFill>
              <a:schemeClr val="accent1"/>
            </a:solidFill>
          </p:grpSpPr>
          <p:grpSp>
            <p:nvGrpSpPr>
              <p:cNvPr id="154" name="Graphic 5">
                <a:extLst>
                  <a:ext uri="{FF2B5EF4-FFF2-40B4-BE49-F238E27FC236}">
                    <a16:creationId xmlns:a16="http://schemas.microsoft.com/office/drawing/2014/main" id="{258FDA8C-15BA-4329-AB3D-24CE0645C407}"/>
                  </a:ext>
                </a:extLst>
              </p:cNvPr>
              <p:cNvGrpSpPr/>
              <p:nvPr/>
            </p:nvGrpSpPr>
            <p:grpSpPr>
              <a:xfrm>
                <a:off x="7092062" y="1681195"/>
                <a:ext cx="172061" cy="93003"/>
                <a:chOff x="7092062" y="1681195"/>
                <a:chExt cx="172061" cy="93003"/>
              </a:xfrm>
              <a:solidFill>
                <a:schemeClr val="accent1"/>
              </a:solidFill>
            </p:grpSpPr>
            <p:sp>
              <p:nvSpPr>
                <p:cNvPr id="156" name="Freihandform: Form 630">
                  <a:extLst>
                    <a:ext uri="{FF2B5EF4-FFF2-40B4-BE49-F238E27FC236}">
                      <a16:creationId xmlns:a16="http://schemas.microsoft.com/office/drawing/2014/main" id="{40B03DC1-9E81-4CA1-895A-1AA52E2AC9B6}"/>
                    </a:ext>
                  </a:extLst>
                </p:cNvPr>
                <p:cNvSpPr/>
                <p:nvPr/>
              </p:nvSpPr>
              <p:spPr>
                <a:xfrm>
                  <a:off x="7242127" y="1725441"/>
                  <a:ext cx="21996" cy="48757"/>
                </a:xfrm>
                <a:custGeom>
                  <a:avLst/>
                  <a:gdLst>
                    <a:gd name="connsiteX0" fmla="*/ 15025 w 21996"/>
                    <a:gd name="connsiteY0" fmla="*/ 48757 h 48757"/>
                    <a:gd name="connsiteX1" fmla="*/ 8054 w 21996"/>
                    <a:gd name="connsiteY1" fmla="*/ 41786 h 48757"/>
                    <a:gd name="connsiteX2" fmla="*/ 715 w 21996"/>
                    <a:gd name="connsiteY2" fmla="*/ 10048 h 48757"/>
                    <a:gd name="connsiteX3" fmla="*/ 3894 w 21996"/>
                    <a:gd name="connsiteY3" fmla="*/ 717 h 48757"/>
                    <a:gd name="connsiteX4" fmla="*/ 13229 w 21996"/>
                    <a:gd name="connsiteY4" fmla="*/ 3899 h 48757"/>
                    <a:gd name="connsiteX5" fmla="*/ 21996 w 21996"/>
                    <a:gd name="connsiteY5" fmla="*/ 41783 h 48757"/>
                    <a:gd name="connsiteX6" fmla="*/ 15025 w 21996"/>
                    <a:gd name="connsiteY6" fmla="*/ 48757 h 48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996" h="48757">
                      <a:moveTo>
                        <a:pt x="15025" y="48757"/>
                      </a:moveTo>
                      <a:cubicBezTo>
                        <a:pt x="11171" y="48757"/>
                        <a:pt x="8054" y="45637"/>
                        <a:pt x="8054" y="41786"/>
                      </a:cubicBezTo>
                      <a:cubicBezTo>
                        <a:pt x="8054" y="30639"/>
                        <a:pt x="5583" y="19964"/>
                        <a:pt x="715" y="10048"/>
                      </a:cubicBezTo>
                      <a:cubicBezTo>
                        <a:pt x="-981" y="6592"/>
                        <a:pt x="444" y="2416"/>
                        <a:pt x="3894" y="717"/>
                      </a:cubicBezTo>
                      <a:cubicBezTo>
                        <a:pt x="7379" y="-985"/>
                        <a:pt x="11540" y="449"/>
                        <a:pt x="13229" y="3899"/>
                      </a:cubicBezTo>
                      <a:cubicBezTo>
                        <a:pt x="19049" y="15738"/>
                        <a:pt x="21996" y="28483"/>
                        <a:pt x="21996" y="41783"/>
                      </a:cubicBezTo>
                      <a:cubicBezTo>
                        <a:pt x="21996" y="45637"/>
                        <a:pt x="18879" y="48757"/>
                        <a:pt x="15025" y="48757"/>
                      </a:cubicBezTo>
                      <a:close/>
                    </a:path>
                  </a:pathLst>
                </a:custGeom>
                <a:solidFill>
                  <a:schemeClr val="accent1"/>
                </a:solidFill>
                <a:ln w="326" cap="flat">
                  <a:noFill/>
                  <a:prstDash val="solid"/>
                  <a:miter/>
                </a:ln>
              </p:spPr>
              <p:txBody>
                <a:bodyPr rtlCol="0" anchor="ctr"/>
                <a:lstStyle/>
                <a:p>
                  <a:endParaRPr lang="en-GB" dirty="0"/>
                </a:p>
              </p:txBody>
            </p:sp>
            <p:sp>
              <p:nvSpPr>
                <p:cNvPr id="157" name="Freihandform: Form 631">
                  <a:extLst>
                    <a:ext uri="{FF2B5EF4-FFF2-40B4-BE49-F238E27FC236}">
                      <a16:creationId xmlns:a16="http://schemas.microsoft.com/office/drawing/2014/main" id="{7BB0BA4D-038B-4A7A-B823-CE4023F31D29}"/>
                    </a:ext>
                  </a:extLst>
                </p:cNvPr>
                <p:cNvSpPr/>
                <p:nvPr/>
              </p:nvSpPr>
              <p:spPr>
                <a:xfrm>
                  <a:off x="7092062" y="1681195"/>
                  <a:ext cx="93006" cy="93003"/>
                </a:xfrm>
                <a:custGeom>
                  <a:avLst/>
                  <a:gdLst>
                    <a:gd name="connsiteX0" fmla="*/ 6971 w 93006"/>
                    <a:gd name="connsiteY0" fmla="*/ 93003 h 93003"/>
                    <a:gd name="connsiteX1" fmla="*/ 0 w 93006"/>
                    <a:gd name="connsiteY1" fmla="*/ 86032 h 93003"/>
                    <a:gd name="connsiteX2" fmla="*/ 86035 w 93006"/>
                    <a:gd name="connsiteY2" fmla="*/ 0 h 93003"/>
                    <a:gd name="connsiteX3" fmla="*/ 93006 w 93006"/>
                    <a:gd name="connsiteY3" fmla="*/ 6971 h 93003"/>
                    <a:gd name="connsiteX4" fmla="*/ 86035 w 93006"/>
                    <a:gd name="connsiteY4" fmla="*/ 13942 h 93003"/>
                    <a:gd name="connsiteX5" fmla="*/ 13942 w 93006"/>
                    <a:gd name="connsiteY5" fmla="*/ 86029 h 93003"/>
                    <a:gd name="connsiteX6" fmla="*/ 6971 w 93006"/>
                    <a:gd name="connsiteY6" fmla="*/ 93003 h 9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006" h="93003">
                      <a:moveTo>
                        <a:pt x="6971" y="93003"/>
                      </a:moveTo>
                      <a:cubicBezTo>
                        <a:pt x="3117" y="93003"/>
                        <a:pt x="0" y="89883"/>
                        <a:pt x="0" y="86032"/>
                      </a:cubicBezTo>
                      <a:cubicBezTo>
                        <a:pt x="0" y="38592"/>
                        <a:pt x="38595" y="0"/>
                        <a:pt x="86035" y="0"/>
                      </a:cubicBezTo>
                      <a:cubicBezTo>
                        <a:pt x="89889" y="0"/>
                        <a:pt x="93006" y="3120"/>
                        <a:pt x="93006" y="6971"/>
                      </a:cubicBezTo>
                      <a:cubicBezTo>
                        <a:pt x="93006" y="10822"/>
                        <a:pt x="89889" y="13942"/>
                        <a:pt x="86035" y="13942"/>
                      </a:cubicBezTo>
                      <a:cubicBezTo>
                        <a:pt x="46283" y="13942"/>
                        <a:pt x="13942" y="46280"/>
                        <a:pt x="13942" y="86029"/>
                      </a:cubicBezTo>
                      <a:cubicBezTo>
                        <a:pt x="13942" y="89883"/>
                        <a:pt x="10825" y="93003"/>
                        <a:pt x="6971" y="93003"/>
                      </a:cubicBezTo>
                      <a:close/>
                    </a:path>
                  </a:pathLst>
                </a:custGeom>
                <a:solidFill>
                  <a:schemeClr val="accent1"/>
                </a:solidFill>
                <a:ln w="326" cap="flat">
                  <a:noFill/>
                  <a:prstDash val="solid"/>
                  <a:miter/>
                </a:ln>
              </p:spPr>
              <p:txBody>
                <a:bodyPr rtlCol="0" anchor="ctr"/>
                <a:lstStyle/>
                <a:p>
                  <a:endParaRPr lang="en-GB" dirty="0"/>
                </a:p>
              </p:txBody>
            </p:sp>
          </p:grpSp>
          <p:sp>
            <p:nvSpPr>
              <p:cNvPr id="155" name="Freihandform: Form 632">
                <a:extLst>
                  <a:ext uri="{FF2B5EF4-FFF2-40B4-BE49-F238E27FC236}">
                    <a16:creationId xmlns:a16="http://schemas.microsoft.com/office/drawing/2014/main" id="{516F5D1B-8BE5-4596-ADBA-30FF1C42FA54}"/>
                  </a:ext>
                </a:extLst>
              </p:cNvPr>
              <p:cNvSpPr/>
              <p:nvPr/>
            </p:nvSpPr>
            <p:spPr>
              <a:xfrm>
                <a:off x="7156919" y="1695436"/>
                <a:ext cx="73225" cy="93412"/>
              </a:xfrm>
              <a:custGeom>
                <a:avLst/>
                <a:gdLst>
                  <a:gd name="connsiteX0" fmla="*/ 20674 w 73225"/>
                  <a:gd name="connsiteY0" fmla="*/ 93412 h 93412"/>
                  <a:gd name="connsiteX1" fmla="*/ 10181 w 73225"/>
                  <a:gd name="connsiteY1" fmla="*/ 90240 h 93412"/>
                  <a:gd name="connsiteX2" fmla="*/ 9281 w 73225"/>
                  <a:gd name="connsiteY2" fmla="*/ 89646 h 93412"/>
                  <a:gd name="connsiteX3" fmla="*/ 51 w 73225"/>
                  <a:gd name="connsiteY3" fmla="*/ 74165 h 93412"/>
                  <a:gd name="connsiteX4" fmla="*/ 46980 w 73225"/>
                  <a:gd name="connsiteY4" fmla="*/ 10980 h 93412"/>
                  <a:gd name="connsiteX5" fmla="*/ 56226 w 73225"/>
                  <a:gd name="connsiteY5" fmla="*/ 2554 h 93412"/>
                  <a:gd name="connsiteX6" fmla="*/ 68577 w 73225"/>
                  <a:gd name="connsiteY6" fmla="*/ 1801 h 93412"/>
                  <a:gd name="connsiteX7" fmla="*/ 72614 w 73225"/>
                  <a:gd name="connsiteY7" fmla="*/ 13523 h 93412"/>
                  <a:gd name="connsiteX8" fmla="*/ 72607 w 73225"/>
                  <a:gd name="connsiteY8" fmla="*/ 13536 h 93412"/>
                  <a:gd name="connsiteX9" fmla="*/ 69340 w 73225"/>
                  <a:gd name="connsiteY9" fmla="*/ 22277 h 93412"/>
                  <a:gd name="connsiteX10" fmla="*/ 26572 w 73225"/>
                  <a:gd name="connsiteY10" fmla="*/ 92454 h 93412"/>
                  <a:gd name="connsiteX11" fmla="*/ 20674 w 73225"/>
                  <a:gd name="connsiteY11" fmla="*/ 93412 h 93412"/>
                  <a:gd name="connsiteX12" fmla="*/ 17302 w 73225"/>
                  <a:gd name="connsiteY12" fmla="*/ 78241 h 93412"/>
                  <a:gd name="connsiteX13" fmla="*/ 17410 w 73225"/>
                  <a:gd name="connsiteY13" fmla="*/ 78309 h 93412"/>
                  <a:gd name="connsiteX14" fmla="*/ 22229 w 73225"/>
                  <a:gd name="connsiteY14" fmla="*/ 79196 h 93412"/>
                  <a:gd name="connsiteX15" fmla="*/ 54052 w 73225"/>
                  <a:gd name="connsiteY15" fmla="*/ 23370 h 93412"/>
                  <a:gd name="connsiteX16" fmla="*/ 13957 w 73225"/>
                  <a:gd name="connsiteY16" fmla="*/ 73213 h 93412"/>
                  <a:gd name="connsiteX17" fmla="*/ 17266 w 73225"/>
                  <a:gd name="connsiteY17" fmla="*/ 78218 h 93412"/>
                  <a:gd name="connsiteX18" fmla="*/ 17302 w 73225"/>
                  <a:gd name="connsiteY18" fmla="*/ 78241 h 93412"/>
                  <a:gd name="connsiteX19" fmla="*/ 66099 w 73225"/>
                  <a:gd name="connsiteY19" fmla="*/ 11038 h 93412"/>
                  <a:gd name="connsiteX20" fmla="*/ 66168 w 73225"/>
                  <a:gd name="connsiteY20" fmla="*/ 11038 h 93412"/>
                  <a:gd name="connsiteX21" fmla="*/ 66099 w 73225"/>
                  <a:gd name="connsiteY21" fmla="*/ 11038 h 93412"/>
                  <a:gd name="connsiteX22" fmla="*/ 59582 w 73225"/>
                  <a:gd name="connsiteY22" fmla="*/ 8557 h 93412"/>
                  <a:gd name="connsiteX23" fmla="*/ 59582 w 73225"/>
                  <a:gd name="connsiteY23" fmla="*/ 8557 h 93412"/>
                  <a:gd name="connsiteX24" fmla="*/ 59582 w 73225"/>
                  <a:gd name="connsiteY24" fmla="*/ 8557 h 93412"/>
                  <a:gd name="connsiteX25" fmla="*/ 59582 w 73225"/>
                  <a:gd name="connsiteY25" fmla="*/ 8557 h 9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3225" h="93412">
                    <a:moveTo>
                      <a:pt x="20674" y="93412"/>
                    </a:moveTo>
                    <a:cubicBezTo>
                      <a:pt x="17077" y="93412"/>
                      <a:pt x="13533" y="92346"/>
                      <a:pt x="10181" y="90240"/>
                    </a:cubicBezTo>
                    <a:cubicBezTo>
                      <a:pt x="9868" y="90067"/>
                      <a:pt x="9568" y="89868"/>
                      <a:pt x="9281" y="89646"/>
                    </a:cubicBezTo>
                    <a:cubicBezTo>
                      <a:pt x="3664" y="85776"/>
                      <a:pt x="478" y="80429"/>
                      <a:pt x="51" y="74165"/>
                    </a:cubicBezTo>
                    <a:cubicBezTo>
                      <a:pt x="-1195" y="55900"/>
                      <a:pt x="20569" y="34742"/>
                      <a:pt x="46980" y="10980"/>
                    </a:cubicBezTo>
                    <a:cubicBezTo>
                      <a:pt x="50433" y="7876"/>
                      <a:pt x="53589" y="5032"/>
                      <a:pt x="56226" y="2554"/>
                    </a:cubicBezTo>
                    <a:cubicBezTo>
                      <a:pt x="59500" y="-543"/>
                      <a:pt x="64586" y="-859"/>
                      <a:pt x="68577" y="1801"/>
                    </a:cubicBezTo>
                    <a:cubicBezTo>
                      <a:pt x="72568" y="4472"/>
                      <a:pt x="74228" y="9287"/>
                      <a:pt x="72614" y="13523"/>
                    </a:cubicBezTo>
                    <a:cubicBezTo>
                      <a:pt x="72614" y="13529"/>
                      <a:pt x="72607" y="13533"/>
                      <a:pt x="72607" y="13536"/>
                    </a:cubicBezTo>
                    <a:cubicBezTo>
                      <a:pt x="71613" y="16131"/>
                      <a:pt x="70524" y="19082"/>
                      <a:pt x="69340" y="22277"/>
                    </a:cubicBezTo>
                    <a:cubicBezTo>
                      <a:pt x="56875" y="55965"/>
                      <a:pt x="44224" y="86679"/>
                      <a:pt x="26572" y="92454"/>
                    </a:cubicBezTo>
                    <a:cubicBezTo>
                      <a:pt x="24609" y="93096"/>
                      <a:pt x="22633" y="93412"/>
                      <a:pt x="20674" y="93412"/>
                    </a:cubicBezTo>
                    <a:close/>
                    <a:moveTo>
                      <a:pt x="17302" y="78241"/>
                    </a:moveTo>
                    <a:cubicBezTo>
                      <a:pt x="17335" y="78261"/>
                      <a:pt x="17377" y="78287"/>
                      <a:pt x="17410" y="78309"/>
                    </a:cubicBezTo>
                    <a:cubicBezTo>
                      <a:pt x="19601" y="79764"/>
                      <a:pt x="21019" y="79594"/>
                      <a:pt x="22229" y="79196"/>
                    </a:cubicBezTo>
                    <a:cubicBezTo>
                      <a:pt x="33716" y="75440"/>
                      <a:pt x="46575" y="43324"/>
                      <a:pt x="54052" y="23370"/>
                    </a:cubicBezTo>
                    <a:cubicBezTo>
                      <a:pt x="38577" y="37328"/>
                      <a:pt x="13122" y="60856"/>
                      <a:pt x="13957" y="73213"/>
                    </a:cubicBezTo>
                    <a:cubicBezTo>
                      <a:pt x="14058" y="74641"/>
                      <a:pt x="14528" y="76356"/>
                      <a:pt x="17266" y="78218"/>
                    </a:cubicBezTo>
                    <a:cubicBezTo>
                      <a:pt x="17283" y="78225"/>
                      <a:pt x="17296" y="78231"/>
                      <a:pt x="17302" y="78241"/>
                    </a:cubicBezTo>
                    <a:close/>
                    <a:moveTo>
                      <a:pt x="66099" y="11038"/>
                    </a:moveTo>
                    <a:lnTo>
                      <a:pt x="66168" y="11038"/>
                    </a:lnTo>
                    <a:lnTo>
                      <a:pt x="66099" y="11038"/>
                    </a:lnTo>
                    <a:close/>
                    <a:moveTo>
                      <a:pt x="59582" y="8557"/>
                    </a:moveTo>
                    <a:lnTo>
                      <a:pt x="59582" y="8557"/>
                    </a:lnTo>
                    <a:lnTo>
                      <a:pt x="59582" y="8557"/>
                    </a:lnTo>
                    <a:lnTo>
                      <a:pt x="59582" y="8557"/>
                    </a:lnTo>
                    <a:close/>
                  </a:path>
                </a:pathLst>
              </a:custGeom>
              <a:solidFill>
                <a:schemeClr val="accent1"/>
              </a:solidFill>
              <a:ln w="326" cap="flat">
                <a:noFill/>
                <a:prstDash val="solid"/>
                <a:miter/>
              </a:ln>
            </p:spPr>
            <p:txBody>
              <a:bodyPr rtlCol="0" anchor="ctr"/>
              <a:lstStyle/>
              <a:p>
                <a:endParaRPr lang="en-GB" dirty="0"/>
              </a:p>
            </p:txBody>
          </p:sp>
        </p:grpSp>
        <p:grpSp>
          <p:nvGrpSpPr>
            <p:cNvPr id="147" name="Group 146">
              <a:extLst>
                <a:ext uri="{FF2B5EF4-FFF2-40B4-BE49-F238E27FC236}">
                  <a16:creationId xmlns:a16="http://schemas.microsoft.com/office/drawing/2014/main" id="{A4403933-3AAC-43F0-BA0E-D7B98682AD15}"/>
                </a:ext>
              </a:extLst>
            </p:cNvPr>
            <p:cNvGrpSpPr/>
            <p:nvPr/>
          </p:nvGrpSpPr>
          <p:grpSpPr>
            <a:xfrm>
              <a:off x="3767960" y="1585984"/>
              <a:ext cx="378785" cy="432000"/>
              <a:chOff x="7053382" y="1643563"/>
              <a:chExt cx="382489" cy="436224"/>
            </a:xfrm>
            <a:solidFill>
              <a:schemeClr val="tx2"/>
            </a:solidFill>
          </p:grpSpPr>
          <p:sp>
            <p:nvSpPr>
              <p:cNvPr id="148" name="Freihandform: Form 625">
                <a:extLst>
                  <a:ext uri="{FF2B5EF4-FFF2-40B4-BE49-F238E27FC236}">
                    <a16:creationId xmlns:a16="http://schemas.microsoft.com/office/drawing/2014/main" id="{8A9D2E9A-919D-49BD-8949-99CF555E5EA3}"/>
                  </a:ext>
                </a:extLst>
              </p:cNvPr>
              <p:cNvSpPr/>
              <p:nvPr/>
            </p:nvSpPr>
            <p:spPr>
              <a:xfrm>
                <a:off x="7053382" y="1643563"/>
                <a:ext cx="251088" cy="251085"/>
              </a:xfrm>
              <a:custGeom>
                <a:avLst/>
                <a:gdLst>
                  <a:gd name="connsiteX0" fmla="*/ 125332 w 251088"/>
                  <a:gd name="connsiteY0" fmla="*/ 251085 h 251085"/>
                  <a:gd name="connsiteX1" fmla="*/ 61553 w 251088"/>
                  <a:gd name="connsiteY1" fmla="*/ 233586 h 251085"/>
                  <a:gd name="connsiteX2" fmla="*/ 17497 w 251088"/>
                  <a:gd name="connsiteY2" fmla="*/ 61558 h 251085"/>
                  <a:gd name="connsiteX3" fmla="*/ 189535 w 251088"/>
                  <a:gd name="connsiteY3" fmla="*/ 17498 h 251085"/>
                  <a:gd name="connsiteX4" fmla="*/ 189535 w 251088"/>
                  <a:gd name="connsiteY4" fmla="*/ 17498 h 251085"/>
                  <a:gd name="connsiteX5" fmla="*/ 233591 w 251088"/>
                  <a:gd name="connsiteY5" fmla="*/ 189530 h 251085"/>
                  <a:gd name="connsiteX6" fmla="*/ 125332 w 251088"/>
                  <a:gd name="connsiteY6" fmla="*/ 251085 h 251085"/>
                  <a:gd name="connsiteX7" fmla="*/ 125737 w 251088"/>
                  <a:gd name="connsiteY7" fmla="*/ 13941 h 251085"/>
                  <a:gd name="connsiteX8" fmla="*/ 29496 w 251088"/>
                  <a:gd name="connsiteY8" fmla="*/ 68663 h 251085"/>
                  <a:gd name="connsiteX9" fmla="*/ 68665 w 251088"/>
                  <a:gd name="connsiteY9" fmla="*/ 221591 h 251085"/>
                  <a:gd name="connsiteX10" fmla="*/ 221596 w 251088"/>
                  <a:gd name="connsiteY10" fmla="*/ 182422 h 251085"/>
                  <a:gd name="connsiteX11" fmla="*/ 182427 w 251088"/>
                  <a:gd name="connsiteY11" fmla="*/ 29494 h 251085"/>
                  <a:gd name="connsiteX12" fmla="*/ 125737 w 251088"/>
                  <a:gd name="connsiteY12" fmla="*/ 13941 h 251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1088" h="251085">
                    <a:moveTo>
                      <a:pt x="125332" y="251085"/>
                    </a:moveTo>
                    <a:cubicBezTo>
                      <a:pt x="103588" y="251085"/>
                      <a:pt x="81576" y="245445"/>
                      <a:pt x="61553" y="233586"/>
                    </a:cubicBezTo>
                    <a:cubicBezTo>
                      <a:pt x="1980" y="198307"/>
                      <a:pt x="-17782" y="121131"/>
                      <a:pt x="17497" y="61558"/>
                    </a:cubicBezTo>
                    <a:cubicBezTo>
                      <a:pt x="52792" y="1975"/>
                      <a:pt x="129956" y="-17780"/>
                      <a:pt x="189535" y="17498"/>
                    </a:cubicBezTo>
                    <a:lnTo>
                      <a:pt x="189535" y="17498"/>
                    </a:lnTo>
                    <a:cubicBezTo>
                      <a:pt x="249108" y="52777"/>
                      <a:pt x="268870" y="129954"/>
                      <a:pt x="233591" y="189530"/>
                    </a:cubicBezTo>
                    <a:cubicBezTo>
                      <a:pt x="210165" y="229080"/>
                      <a:pt x="168273" y="251085"/>
                      <a:pt x="125332" y="251085"/>
                    </a:cubicBezTo>
                    <a:close/>
                    <a:moveTo>
                      <a:pt x="125737" y="13941"/>
                    </a:moveTo>
                    <a:cubicBezTo>
                      <a:pt x="87556" y="13941"/>
                      <a:pt x="50321" y="33501"/>
                      <a:pt x="29496" y="68663"/>
                    </a:cubicBezTo>
                    <a:cubicBezTo>
                      <a:pt x="-1864" y="121623"/>
                      <a:pt x="15704" y="190228"/>
                      <a:pt x="68665" y="221591"/>
                    </a:cubicBezTo>
                    <a:cubicBezTo>
                      <a:pt x="121632" y="252960"/>
                      <a:pt x="190233" y="235383"/>
                      <a:pt x="221596" y="182422"/>
                    </a:cubicBezTo>
                    <a:cubicBezTo>
                      <a:pt x="252962" y="129461"/>
                      <a:pt x="235388" y="60860"/>
                      <a:pt x="182427" y="29494"/>
                    </a:cubicBezTo>
                    <a:cubicBezTo>
                      <a:pt x="164631" y="18956"/>
                      <a:pt x="145058" y="13941"/>
                      <a:pt x="125737" y="13941"/>
                    </a:cubicBezTo>
                    <a:close/>
                  </a:path>
                </a:pathLst>
              </a:custGeom>
              <a:grpFill/>
              <a:ln w="326" cap="flat">
                <a:noFill/>
                <a:prstDash val="solid"/>
                <a:miter/>
              </a:ln>
            </p:spPr>
            <p:txBody>
              <a:bodyPr rtlCol="0" anchor="ctr"/>
              <a:lstStyle/>
              <a:p>
                <a:endParaRPr lang="en-GB" dirty="0"/>
              </a:p>
            </p:txBody>
          </p:sp>
          <p:sp>
            <p:nvSpPr>
              <p:cNvPr id="149" name="Freihandform: Form 626">
                <a:extLst>
                  <a:ext uri="{FF2B5EF4-FFF2-40B4-BE49-F238E27FC236}">
                    <a16:creationId xmlns:a16="http://schemas.microsoft.com/office/drawing/2014/main" id="{098CC060-40E2-47F2-95FA-E48BDCA65BCC}"/>
                  </a:ext>
                </a:extLst>
              </p:cNvPr>
              <p:cNvSpPr/>
              <p:nvPr/>
            </p:nvSpPr>
            <p:spPr>
              <a:xfrm>
                <a:off x="7263565" y="1813848"/>
                <a:ext cx="79796" cy="71879"/>
              </a:xfrm>
              <a:custGeom>
                <a:avLst/>
                <a:gdLst>
                  <a:gd name="connsiteX0" fmla="*/ 55563 w 79796"/>
                  <a:gd name="connsiteY0" fmla="*/ 71879 h 71879"/>
                  <a:gd name="connsiteX1" fmla="*/ 52009 w 79796"/>
                  <a:gd name="connsiteY1" fmla="*/ 70904 h 71879"/>
                  <a:gd name="connsiteX2" fmla="*/ 3418 w 79796"/>
                  <a:gd name="connsiteY2" fmla="*/ 42127 h 71879"/>
                  <a:gd name="connsiteX3" fmla="*/ 972 w 79796"/>
                  <a:gd name="connsiteY3" fmla="*/ 32574 h 71879"/>
                  <a:gd name="connsiteX4" fmla="*/ 10526 w 79796"/>
                  <a:gd name="connsiteY4" fmla="*/ 30128 h 71879"/>
                  <a:gd name="connsiteX5" fmla="*/ 53118 w 79796"/>
                  <a:gd name="connsiteY5" fmla="*/ 55352 h 71879"/>
                  <a:gd name="connsiteX6" fmla="*/ 63274 w 79796"/>
                  <a:gd name="connsiteY6" fmla="*/ 38195 h 71879"/>
                  <a:gd name="connsiteX7" fmla="*/ 20682 w 79796"/>
                  <a:gd name="connsiteY7" fmla="*/ 12968 h 71879"/>
                  <a:gd name="connsiteX8" fmla="*/ 18237 w 79796"/>
                  <a:gd name="connsiteY8" fmla="*/ 3415 h 71879"/>
                  <a:gd name="connsiteX9" fmla="*/ 27790 w 79796"/>
                  <a:gd name="connsiteY9" fmla="*/ 970 h 71879"/>
                  <a:gd name="connsiteX10" fmla="*/ 76378 w 79796"/>
                  <a:gd name="connsiteY10" fmla="*/ 29747 h 71879"/>
                  <a:gd name="connsiteX11" fmla="*/ 78824 w 79796"/>
                  <a:gd name="connsiteY11" fmla="*/ 39300 h 71879"/>
                  <a:gd name="connsiteX12" fmla="*/ 61559 w 79796"/>
                  <a:gd name="connsiteY12" fmla="*/ 68456 h 71879"/>
                  <a:gd name="connsiteX13" fmla="*/ 57291 w 79796"/>
                  <a:gd name="connsiteY13" fmla="*/ 71654 h 71879"/>
                  <a:gd name="connsiteX14" fmla="*/ 55563 w 79796"/>
                  <a:gd name="connsiteY14" fmla="*/ 71879 h 7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96" h="71879">
                    <a:moveTo>
                      <a:pt x="55563" y="71879"/>
                    </a:moveTo>
                    <a:cubicBezTo>
                      <a:pt x="54324" y="71879"/>
                      <a:pt x="53098" y="71550"/>
                      <a:pt x="52009" y="70904"/>
                    </a:cubicBezTo>
                    <a:lnTo>
                      <a:pt x="3418" y="42127"/>
                    </a:lnTo>
                    <a:cubicBezTo>
                      <a:pt x="108" y="40167"/>
                      <a:pt x="-987" y="35890"/>
                      <a:pt x="972" y="32574"/>
                    </a:cubicBezTo>
                    <a:cubicBezTo>
                      <a:pt x="2932" y="29271"/>
                      <a:pt x="7210" y="28166"/>
                      <a:pt x="10526" y="30128"/>
                    </a:cubicBezTo>
                    <a:lnTo>
                      <a:pt x="53118" y="55352"/>
                    </a:lnTo>
                    <a:lnTo>
                      <a:pt x="63274" y="38195"/>
                    </a:lnTo>
                    <a:lnTo>
                      <a:pt x="20682" y="12968"/>
                    </a:lnTo>
                    <a:cubicBezTo>
                      <a:pt x="17373" y="11009"/>
                      <a:pt x="16277" y="6731"/>
                      <a:pt x="18237" y="3415"/>
                    </a:cubicBezTo>
                    <a:cubicBezTo>
                      <a:pt x="20197" y="112"/>
                      <a:pt x="24468" y="-987"/>
                      <a:pt x="27790" y="970"/>
                    </a:cubicBezTo>
                    <a:lnTo>
                      <a:pt x="76378" y="29747"/>
                    </a:lnTo>
                    <a:cubicBezTo>
                      <a:pt x="79688" y="31706"/>
                      <a:pt x="80783" y="35984"/>
                      <a:pt x="78824" y="39300"/>
                    </a:cubicBezTo>
                    <a:lnTo>
                      <a:pt x="61559" y="68456"/>
                    </a:lnTo>
                    <a:cubicBezTo>
                      <a:pt x="60620" y="70047"/>
                      <a:pt x="59081" y="71195"/>
                      <a:pt x="57291" y="71654"/>
                    </a:cubicBezTo>
                    <a:cubicBezTo>
                      <a:pt x="56721" y="71808"/>
                      <a:pt x="56140" y="71879"/>
                      <a:pt x="55563" y="71879"/>
                    </a:cubicBezTo>
                    <a:close/>
                  </a:path>
                </a:pathLst>
              </a:custGeom>
              <a:grpFill/>
              <a:ln w="326" cap="flat">
                <a:noFill/>
                <a:prstDash val="solid"/>
                <a:miter/>
              </a:ln>
            </p:spPr>
            <p:txBody>
              <a:bodyPr rtlCol="0" anchor="ctr"/>
              <a:lstStyle/>
              <a:p>
                <a:endParaRPr lang="en-GB" dirty="0"/>
              </a:p>
            </p:txBody>
          </p:sp>
          <p:sp>
            <p:nvSpPr>
              <p:cNvPr id="150" name="Freihandform: Form 627">
                <a:extLst>
                  <a:ext uri="{FF2B5EF4-FFF2-40B4-BE49-F238E27FC236}">
                    <a16:creationId xmlns:a16="http://schemas.microsoft.com/office/drawing/2014/main" id="{02F54A20-5783-4A3C-8B9F-C043F764E41C}"/>
                  </a:ext>
                </a:extLst>
              </p:cNvPr>
              <p:cNvSpPr/>
              <p:nvPr/>
            </p:nvSpPr>
            <p:spPr>
              <a:xfrm>
                <a:off x="7306402" y="1832903"/>
                <a:ext cx="129469" cy="109665"/>
              </a:xfrm>
              <a:custGeom>
                <a:avLst/>
                <a:gdLst>
                  <a:gd name="connsiteX0" fmla="*/ 94184 w 129469"/>
                  <a:gd name="connsiteY0" fmla="*/ 109665 h 109665"/>
                  <a:gd name="connsiteX1" fmla="*/ 76307 w 129469"/>
                  <a:gd name="connsiteY1" fmla="*/ 104735 h 109665"/>
                  <a:gd name="connsiteX2" fmla="*/ 3418 w 129469"/>
                  <a:gd name="connsiteY2" fmla="*/ 61569 h 109665"/>
                  <a:gd name="connsiteX3" fmla="*/ 972 w 129469"/>
                  <a:gd name="connsiteY3" fmla="*/ 52016 h 109665"/>
                  <a:gd name="connsiteX4" fmla="*/ 29750 w 129469"/>
                  <a:gd name="connsiteY4" fmla="*/ 3421 h 109665"/>
                  <a:gd name="connsiteX5" fmla="*/ 34018 w 129469"/>
                  <a:gd name="connsiteY5" fmla="*/ 222 h 109665"/>
                  <a:gd name="connsiteX6" fmla="*/ 39300 w 129469"/>
                  <a:gd name="connsiteY6" fmla="*/ 979 h 109665"/>
                  <a:gd name="connsiteX7" fmla="*/ 112189 w 129469"/>
                  <a:gd name="connsiteY7" fmla="*/ 44145 h 109665"/>
                  <a:gd name="connsiteX8" fmla="*/ 128358 w 129469"/>
                  <a:gd name="connsiteY8" fmla="*/ 65707 h 109665"/>
                  <a:gd name="connsiteX9" fmla="*/ 124540 w 129469"/>
                  <a:gd name="connsiteY9" fmla="*/ 92384 h 109665"/>
                  <a:gd name="connsiteX10" fmla="*/ 124540 w 129469"/>
                  <a:gd name="connsiteY10" fmla="*/ 92384 h 109665"/>
                  <a:gd name="connsiteX11" fmla="*/ 102984 w 129469"/>
                  <a:gd name="connsiteY11" fmla="*/ 108547 h 109665"/>
                  <a:gd name="connsiteX12" fmla="*/ 94184 w 129469"/>
                  <a:gd name="connsiteY12" fmla="*/ 109665 h 109665"/>
                  <a:gd name="connsiteX13" fmla="*/ 16525 w 129469"/>
                  <a:gd name="connsiteY13" fmla="*/ 53124 h 109665"/>
                  <a:gd name="connsiteX14" fmla="*/ 83415 w 129469"/>
                  <a:gd name="connsiteY14" fmla="*/ 92740 h 109665"/>
                  <a:gd name="connsiteX15" fmla="*/ 99522 w 129469"/>
                  <a:gd name="connsiteY15" fmla="*/ 95045 h 109665"/>
                  <a:gd name="connsiteX16" fmla="*/ 112544 w 129469"/>
                  <a:gd name="connsiteY16" fmla="*/ 85280 h 109665"/>
                  <a:gd name="connsiteX17" fmla="*/ 112544 w 129469"/>
                  <a:gd name="connsiteY17" fmla="*/ 85280 h 109665"/>
                  <a:gd name="connsiteX18" fmla="*/ 114853 w 129469"/>
                  <a:gd name="connsiteY18" fmla="*/ 69169 h 109665"/>
                  <a:gd name="connsiteX19" fmla="*/ 105084 w 129469"/>
                  <a:gd name="connsiteY19" fmla="*/ 56147 h 109665"/>
                  <a:gd name="connsiteX20" fmla="*/ 38194 w 129469"/>
                  <a:gd name="connsiteY20" fmla="*/ 16535 h 109665"/>
                  <a:gd name="connsiteX21" fmla="*/ 16525 w 129469"/>
                  <a:gd name="connsiteY21" fmla="*/ 53124 h 109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469" h="109665">
                    <a:moveTo>
                      <a:pt x="94184" y="109665"/>
                    </a:moveTo>
                    <a:cubicBezTo>
                      <a:pt x="87953" y="109665"/>
                      <a:pt x="81814" y="107996"/>
                      <a:pt x="76307" y="104735"/>
                    </a:cubicBezTo>
                    <a:lnTo>
                      <a:pt x="3418" y="61569"/>
                    </a:lnTo>
                    <a:cubicBezTo>
                      <a:pt x="108" y="59610"/>
                      <a:pt x="-987" y="55332"/>
                      <a:pt x="972" y="52016"/>
                    </a:cubicBezTo>
                    <a:lnTo>
                      <a:pt x="29750" y="3421"/>
                    </a:lnTo>
                    <a:cubicBezTo>
                      <a:pt x="30689" y="1830"/>
                      <a:pt x="32228" y="682"/>
                      <a:pt x="34018" y="222"/>
                    </a:cubicBezTo>
                    <a:cubicBezTo>
                      <a:pt x="35814" y="-247"/>
                      <a:pt x="37702" y="37"/>
                      <a:pt x="39300" y="979"/>
                    </a:cubicBezTo>
                    <a:lnTo>
                      <a:pt x="112189" y="44145"/>
                    </a:lnTo>
                    <a:cubicBezTo>
                      <a:pt x="120285" y="48938"/>
                      <a:pt x="126023" y="56594"/>
                      <a:pt x="128358" y="65707"/>
                    </a:cubicBezTo>
                    <a:cubicBezTo>
                      <a:pt x="130686" y="74817"/>
                      <a:pt x="129333" y="84292"/>
                      <a:pt x="124540" y="92384"/>
                    </a:cubicBezTo>
                    <a:lnTo>
                      <a:pt x="124540" y="92384"/>
                    </a:lnTo>
                    <a:cubicBezTo>
                      <a:pt x="119747" y="100474"/>
                      <a:pt x="112094" y="106215"/>
                      <a:pt x="102984" y="108547"/>
                    </a:cubicBezTo>
                    <a:cubicBezTo>
                      <a:pt x="100076" y="109297"/>
                      <a:pt x="97119" y="109665"/>
                      <a:pt x="94184" y="109665"/>
                    </a:cubicBezTo>
                    <a:close/>
                    <a:moveTo>
                      <a:pt x="16525" y="53124"/>
                    </a:moveTo>
                    <a:lnTo>
                      <a:pt x="83415" y="92740"/>
                    </a:lnTo>
                    <a:cubicBezTo>
                      <a:pt x="88302" y="95629"/>
                      <a:pt x="94034" y="96447"/>
                      <a:pt x="99522" y="95045"/>
                    </a:cubicBezTo>
                    <a:cubicBezTo>
                      <a:pt x="105029" y="93636"/>
                      <a:pt x="109652" y="90167"/>
                      <a:pt x="112544" y="85280"/>
                    </a:cubicBezTo>
                    <a:lnTo>
                      <a:pt x="112544" y="85280"/>
                    </a:lnTo>
                    <a:cubicBezTo>
                      <a:pt x="115436" y="80392"/>
                      <a:pt x="116261" y="74673"/>
                      <a:pt x="114853" y="69169"/>
                    </a:cubicBezTo>
                    <a:cubicBezTo>
                      <a:pt x="113444" y="63666"/>
                      <a:pt x="109972" y="59042"/>
                      <a:pt x="105084" y="56147"/>
                    </a:cubicBezTo>
                    <a:lnTo>
                      <a:pt x="38194" y="16535"/>
                    </a:lnTo>
                    <a:lnTo>
                      <a:pt x="16525" y="53124"/>
                    </a:lnTo>
                    <a:close/>
                  </a:path>
                </a:pathLst>
              </a:custGeom>
              <a:grpFill/>
              <a:ln w="326" cap="flat">
                <a:noFill/>
                <a:prstDash val="solid"/>
                <a:miter/>
              </a:ln>
            </p:spPr>
            <p:txBody>
              <a:bodyPr rtlCol="0" anchor="ctr"/>
              <a:lstStyle/>
              <a:p>
                <a:endParaRPr lang="en-GB" dirty="0"/>
              </a:p>
            </p:txBody>
          </p:sp>
          <p:sp>
            <p:nvSpPr>
              <p:cNvPr id="151" name="Freihandform: Form 633">
                <a:extLst>
                  <a:ext uri="{FF2B5EF4-FFF2-40B4-BE49-F238E27FC236}">
                    <a16:creationId xmlns:a16="http://schemas.microsoft.com/office/drawing/2014/main" id="{0FDCEA1D-9BF5-421A-9BEC-B510CD392602}"/>
                  </a:ext>
                </a:extLst>
              </p:cNvPr>
              <p:cNvSpPr/>
              <p:nvPr/>
            </p:nvSpPr>
            <p:spPr>
              <a:xfrm>
                <a:off x="7182605" y="1960951"/>
                <a:ext cx="123233" cy="118836"/>
              </a:xfrm>
              <a:custGeom>
                <a:avLst/>
                <a:gdLst>
                  <a:gd name="connsiteX0" fmla="*/ 89363 w 123233"/>
                  <a:gd name="connsiteY0" fmla="*/ 118836 h 118836"/>
                  <a:gd name="connsiteX1" fmla="*/ 81561 w 123233"/>
                  <a:gd name="connsiteY1" fmla="*/ 116896 h 118836"/>
                  <a:gd name="connsiteX2" fmla="*/ 61620 w 123233"/>
                  <a:gd name="connsiteY2" fmla="*/ 106410 h 118836"/>
                  <a:gd name="connsiteX3" fmla="*/ 41685 w 123233"/>
                  <a:gd name="connsiteY3" fmla="*/ 116896 h 118836"/>
                  <a:gd name="connsiteX4" fmla="*/ 24045 w 123233"/>
                  <a:gd name="connsiteY4" fmla="*/ 115615 h 118836"/>
                  <a:gd name="connsiteX5" fmla="*/ 17394 w 123233"/>
                  <a:gd name="connsiteY5" fmla="*/ 99247 h 118836"/>
                  <a:gd name="connsiteX6" fmla="*/ 21199 w 123233"/>
                  <a:gd name="connsiteY6" fmla="*/ 77043 h 118836"/>
                  <a:gd name="connsiteX7" fmla="*/ 5063 w 123233"/>
                  <a:gd name="connsiteY7" fmla="*/ 61324 h 118836"/>
                  <a:gd name="connsiteX8" fmla="*/ 834 w 123233"/>
                  <a:gd name="connsiteY8" fmla="*/ 44164 h 118836"/>
                  <a:gd name="connsiteX9" fmla="*/ 14349 w 123233"/>
                  <a:gd name="connsiteY9" fmla="*/ 32772 h 118836"/>
                  <a:gd name="connsiteX10" fmla="*/ 36637 w 123233"/>
                  <a:gd name="connsiteY10" fmla="*/ 29531 h 118836"/>
                  <a:gd name="connsiteX11" fmla="*/ 46605 w 123233"/>
                  <a:gd name="connsiteY11" fmla="*/ 9335 h 118836"/>
                  <a:gd name="connsiteX12" fmla="*/ 61616 w 123233"/>
                  <a:gd name="connsiteY12" fmla="*/ 0 h 118836"/>
                  <a:gd name="connsiteX13" fmla="*/ 61623 w 123233"/>
                  <a:gd name="connsiteY13" fmla="*/ 0 h 118836"/>
                  <a:gd name="connsiteX14" fmla="*/ 76621 w 123233"/>
                  <a:gd name="connsiteY14" fmla="*/ 9332 h 118836"/>
                  <a:gd name="connsiteX15" fmla="*/ 86595 w 123233"/>
                  <a:gd name="connsiteY15" fmla="*/ 29531 h 118836"/>
                  <a:gd name="connsiteX16" fmla="*/ 108884 w 123233"/>
                  <a:gd name="connsiteY16" fmla="*/ 32772 h 118836"/>
                  <a:gd name="connsiteX17" fmla="*/ 122399 w 123233"/>
                  <a:gd name="connsiteY17" fmla="*/ 44167 h 118836"/>
                  <a:gd name="connsiteX18" fmla="*/ 118164 w 123233"/>
                  <a:gd name="connsiteY18" fmla="*/ 61324 h 118836"/>
                  <a:gd name="connsiteX19" fmla="*/ 102027 w 123233"/>
                  <a:gd name="connsiteY19" fmla="*/ 77043 h 118836"/>
                  <a:gd name="connsiteX20" fmla="*/ 105839 w 123233"/>
                  <a:gd name="connsiteY20" fmla="*/ 99244 h 118836"/>
                  <a:gd name="connsiteX21" fmla="*/ 99187 w 123233"/>
                  <a:gd name="connsiteY21" fmla="*/ 115615 h 118836"/>
                  <a:gd name="connsiteX22" fmla="*/ 89363 w 123233"/>
                  <a:gd name="connsiteY22" fmla="*/ 118836 h 118836"/>
                  <a:gd name="connsiteX23" fmla="*/ 61620 w 123233"/>
                  <a:gd name="connsiteY23" fmla="*/ 91562 h 118836"/>
                  <a:gd name="connsiteX24" fmla="*/ 64867 w 123233"/>
                  <a:gd name="connsiteY24" fmla="*/ 92361 h 118836"/>
                  <a:gd name="connsiteX25" fmla="*/ 88049 w 123233"/>
                  <a:gd name="connsiteY25" fmla="*/ 104552 h 118836"/>
                  <a:gd name="connsiteX26" fmla="*/ 90997 w 123233"/>
                  <a:gd name="connsiteY26" fmla="*/ 104337 h 118836"/>
                  <a:gd name="connsiteX27" fmla="*/ 92105 w 123233"/>
                  <a:gd name="connsiteY27" fmla="*/ 101604 h 118836"/>
                  <a:gd name="connsiteX28" fmla="*/ 87674 w 123233"/>
                  <a:gd name="connsiteY28" fmla="*/ 75791 h 118836"/>
                  <a:gd name="connsiteX29" fmla="*/ 89677 w 123233"/>
                  <a:gd name="connsiteY29" fmla="*/ 69615 h 118836"/>
                  <a:gd name="connsiteX30" fmla="*/ 108434 w 123233"/>
                  <a:gd name="connsiteY30" fmla="*/ 51337 h 118836"/>
                  <a:gd name="connsiteX31" fmla="*/ 109148 w 123233"/>
                  <a:gd name="connsiteY31" fmla="*/ 48474 h 118836"/>
                  <a:gd name="connsiteX32" fmla="*/ 106889 w 123233"/>
                  <a:gd name="connsiteY32" fmla="*/ 46570 h 118836"/>
                  <a:gd name="connsiteX33" fmla="*/ 80971 w 123233"/>
                  <a:gd name="connsiteY33" fmla="*/ 42801 h 118836"/>
                  <a:gd name="connsiteX34" fmla="*/ 75721 w 123233"/>
                  <a:gd name="connsiteY34" fmla="*/ 38989 h 118836"/>
                  <a:gd name="connsiteX35" fmla="*/ 64127 w 123233"/>
                  <a:gd name="connsiteY35" fmla="*/ 15504 h 118836"/>
                  <a:gd name="connsiteX36" fmla="*/ 64127 w 123233"/>
                  <a:gd name="connsiteY36" fmla="*/ 15501 h 118836"/>
                  <a:gd name="connsiteX37" fmla="*/ 61623 w 123233"/>
                  <a:gd name="connsiteY37" fmla="*/ 13942 h 118836"/>
                  <a:gd name="connsiteX38" fmla="*/ 61623 w 123233"/>
                  <a:gd name="connsiteY38" fmla="*/ 13942 h 118836"/>
                  <a:gd name="connsiteX39" fmla="*/ 59112 w 123233"/>
                  <a:gd name="connsiteY39" fmla="*/ 15504 h 118836"/>
                  <a:gd name="connsiteX40" fmla="*/ 47524 w 123233"/>
                  <a:gd name="connsiteY40" fmla="*/ 38986 h 118836"/>
                  <a:gd name="connsiteX41" fmla="*/ 42275 w 123233"/>
                  <a:gd name="connsiteY41" fmla="*/ 42801 h 118836"/>
                  <a:gd name="connsiteX42" fmla="*/ 16357 w 123233"/>
                  <a:gd name="connsiteY42" fmla="*/ 46570 h 118836"/>
                  <a:gd name="connsiteX43" fmla="*/ 14098 w 123233"/>
                  <a:gd name="connsiteY43" fmla="*/ 48474 h 118836"/>
                  <a:gd name="connsiteX44" fmla="*/ 14805 w 123233"/>
                  <a:gd name="connsiteY44" fmla="*/ 51340 h 118836"/>
                  <a:gd name="connsiteX45" fmla="*/ 33563 w 123233"/>
                  <a:gd name="connsiteY45" fmla="*/ 69615 h 118836"/>
                  <a:gd name="connsiteX46" fmla="*/ 35565 w 123233"/>
                  <a:gd name="connsiteY46" fmla="*/ 75788 h 118836"/>
                  <a:gd name="connsiteX47" fmla="*/ 31140 w 123233"/>
                  <a:gd name="connsiteY47" fmla="*/ 101604 h 118836"/>
                  <a:gd name="connsiteX48" fmla="*/ 32249 w 123233"/>
                  <a:gd name="connsiteY48" fmla="*/ 104337 h 118836"/>
                  <a:gd name="connsiteX49" fmla="*/ 35203 w 123233"/>
                  <a:gd name="connsiteY49" fmla="*/ 104552 h 118836"/>
                  <a:gd name="connsiteX50" fmla="*/ 58379 w 123233"/>
                  <a:gd name="connsiteY50" fmla="*/ 92361 h 118836"/>
                  <a:gd name="connsiteX51" fmla="*/ 61620 w 123233"/>
                  <a:gd name="connsiteY51" fmla="*/ 91562 h 118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23233" h="118836">
                    <a:moveTo>
                      <a:pt x="89363" y="118836"/>
                    </a:moveTo>
                    <a:cubicBezTo>
                      <a:pt x="86703" y="118836"/>
                      <a:pt x="84033" y="118194"/>
                      <a:pt x="81561" y="116896"/>
                    </a:cubicBezTo>
                    <a:lnTo>
                      <a:pt x="61620" y="106410"/>
                    </a:lnTo>
                    <a:lnTo>
                      <a:pt x="41685" y="116896"/>
                    </a:lnTo>
                    <a:cubicBezTo>
                      <a:pt x="35985" y="119876"/>
                      <a:pt x="29239" y="119391"/>
                      <a:pt x="24045" y="115615"/>
                    </a:cubicBezTo>
                    <a:cubicBezTo>
                      <a:pt x="18858" y="111842"/>
                      <a:pt x="16305" y="105572"/>
                      <a:pt x="17394" y="99247"/>
                    </a:cubicBezTo>
                    <a:lnTo>
                      <a:pt x="21199" y="77043"/>
                    </a:lnTo>
                    <a:lnTo>
                      <a:pt x="5063" y="61324"/>
                    </a:lnTo>
                    <a:cubicBezTo>
                      <a:pt x="469" y="56841"/>
                      <a:pt x="-1152" y="50267"/>
                      <a:pt x="834" y="44164"/>
                    </a:cubicBezTo>
                    <a:cubicBezTo>
                      <a:pt x="2816" y="38060"/>
                      <a:pt x="7997" y="33694"/>
                      <a:pt x="14349" y="32772"/>
                    </a:cubicBezTo>
                    <a:lnTo>
                      <a:pt x="36637" y="29531"/>
                    </a:lnTo>
                    <a:lnTo>
                      <a:pt x="46605" y="9335"/>
                    </a:lnTo>
                    <a:cubicBezTo>
                      <a:pt x="49451" y="3574"/>
                      <a:pt x="55196" y="0"/>
                      <a:pt x="61616" y="0"/>
                    </a:cubicBezTo>
                    <a:cubicBezTo>
                      <a:pt x="61616" y="0"/>
                      <a:pt x="61616" y="0"/>
                      <a:pt x="61623" y="0"/>
                    </a:cubicBezTo>
                    <a:cubicBezTo>
                      <a:pt x="68036" y="3"/>
                      <a:pt x="73781" y="3577"/>
                      <a:pt x="76621" y="9332"/>
                    </a:cubicBezTo>
                    <a:lnTo>
                      <a:pt x="86595" y="29531"/>
                    </a:lnTo>
                    <a:lnTo>
                      <a:pt x="108884" y="32772"/>
                    </a:lnTo>
                    <a:cubicBezTo>
                      <a:pt x="115236" y="33694"/>
                      <a:pt x="120417" y="38060"/>
                      <a:pt x="122399" y="44167"/>
                    </a:cubicBezTo>
                    <a:cubicBezTo>
                      <a:pt x="124388" y="50271"/>
                      <a:pt x="122761" y="56844"/>
                      <a:pt x="118164" y="61324"/>
                    </a:cubicBezTo>
                    <a:lnTo>
                      <a:pt x="102027" y="77043"/>
                    </a:lnTo>
                    <a:lnTo>
                      <a:pt x="105839" y="99244"/>
                    </a:lnTo>
                    <a:cubicBezTo>
                      <a:pt x="106928" y="105572"/>
                      <a:pt x="104375" y="111842"/>
                      <a:pt x="99187" y="115615"/>
                    </a:cubicBezTo>
                    <a:cubicBezTo>
                      <a:pt x="96259" y="117750"/>
                      <a:pt x="92820" y="118836"/>
                      <a:pt x="89363" y="118836"/>
                    </a:cubicBezTo>
                    <a:close/>
                    <a:moveTo>
                      <a:pt x="61620" y="91562"/>
                    </a:moveTo>
                    <a:cubicBezTo>
                      <a:pt x="62735" y="91562"/>
                      <a:pt x="63847" y="91826"/>
                      <a:pt x="64867" y="92361"/>
                    </a:cubicBezTo>
                    <a:lnTo>
                      <a:pt x="88049" y="104552"/>
                    </a:lnTo>
                    <a:cubicBezTo>
                      <a:pt x="89389" y="105276"/>
                      <a:pt x="90472" y="104721"/>
                      <a:pt x="90997" y="104337"/>
                    </a:cubicBezTo>
                    <a:cubicBezTo>
                      <a:pt x="91522" y="103955"/>
                      <a:pt x="92360" y="103094"/>
                      <a:pt x="92105" y="101604"/>
                    </a:cubicBezTo>
                    <a:lnTo>
                      <a:pt x="87674" y="75791"/>
                    </a:lnTo>
                    <a:cubicBezTo>
                      <a:pt x="87287" y="73528"/>
                      <a:pt x="88036" y="71220"/>
                      <a:pt x="89677" y="69615"/>
                    </a:cubicBezTo>
                    <a:lnTo>
                      <a:pt x="108434" y="51337"/>
                    </a:lnTo>
                    <a:cubicBezTo>
                      <a:pt x="109523" y="50281"/>
                      <a:pt x="109347" y="49090"/>
                      <a:pt x="109148" y="48474"/>
                    </a:cubicBezTo>
                    <a:cubicBezTo>
                      <a:pt x="108943" y="47855"/>
                      <a:pt x="108385" y="46788"/>
                      <a:pt x="106889" y="46570"/>
                    </a:cubicBezTo>
                    <a:lnTo>
                      <a:pt x="80971" y="42801"/>
                    </a:lnTo>
                    <a:cubicBezTo>
                      <a:pt x="78698" y="42472"/>
                      <a:pt x="76735" y="41043"/>
                      <a:pt x="75721" y="38989"/>
                    </a:cubicBezTo>
                    <a:lnTo>
                      <a:pt x="64127" y="15504"/>
                    </a:lnTo>
                    <a:cubicBezTo>
                      <a:pt x="64127" y="15501"/>
                      <a:pt x="64127" y="15501"/>
                      <a:pt x="64127" y="15501"/>
                    </a:cubicBezTo>
                    <a:cubicBezTo>
                      <a:pt x="63452" y="14144"/>
                      <a:pt x="62269" y="13942"/>
                      <a:pt x="61623" y="13942"/>
                    </a:cubicBezTo>
                    <a:lnTo>
                      <a:pt x="61623" y="13942"/>
                    </a:lnTo>
                    <a:cubicBezTo>
                      <a:pt x="60971" y="13942"/>
                      <a:pt x="59784" y="14147"/>
                      <a:pt x="59112" y="15504"/>
                    </a:cubicBezTo>
                    <a:lnTo>
                      <a:pt x="47524" y="38986"/>
                    </a:lnTo>
                    <a:cubicBezTo>
                      <a:pt x="46510" y="41047"/>
                      <a:pt x="44548" y="42472"/>
                      <a:pt x="42275" y="42801"/>
                    </a:cubicBezTo>
                    <a:lnTo>
                      <a:pt x="16357" y="46570"/>
                    </a:lnTo>
                    <a:cubicBezTo>
                      <a:pt x="14860" y="46788"/>
                      <a:pt x="14300" y="47858"/>
                      <a:pt x="14098" y="48474"/>
                    </a:cubicBezTo>
                    <a:cubicBezTo>
                      <a:pt x="13899" y="49094"/>
                      <a:pt x="13723" y="50284"/>
                      <a:pt x="14805" y="51340"/>
                    </a:cubicBezTo>
                    <a:lnTo>
                      <a:pt x="33563" y="69615"/>
                    </a:lnTo>
                    <a:cubicBezTo>
                      <a:pt x="35203" y="71220"/>
                      <a:pt x="35953" y="73528"/>
                      <a:pt x="35565" y="75788"/>
                    </a:cubicBezTo>
                    <a:lnTo>
                      <a:pt x="31140" y="101604"/>
                    </a:lnTo>
                    <a:cubicBezTo>
                      <a:pt x="30889" y="103094"/>
                      <a:pt x="31727" y="103955"/>
                      <a:pt x="32249" y="104337"/>
                    </a:cubicBezTo>
                    <a:cubicBezTo>
                      <a:pt x="32780" y="104721"/>
                      <a:pt x="33876" y="105246"/>
                      <a:pt x="35203" y="104552"/>
                    </a:cubicBezTo>
                    <a:lnTo>
                      <a:pt x="58379" y="92361"/>
                    </a:lnTo>
                    <a:cubicBezTo>
                      <a:pt x="59393" y="91829"/>
                      <a:pt x="60501" y="91562"/>
                      <a:pt x="61620" y="91562"/>
                    </a:cubicBezTo>
                    <a:close/>
                  </a:path>
                </a:pathLst>
              </a:custGeom>
              <a:grpFill/>
              <a:ln w="326" cap="flat">
                <a:noFill/>
                <a:prstDash val="solid"/>
                <a:miter/>
              </a:ln>
            </p:spPr>
            <p:txBody>
              <a:bodyPr rtlCol="0" anchor="ctr"/>
              <a:lstStyle/>
              <a:p>
                <a:endParaRPr lang="en-GB" dirty="0"/>
              </a:p>
            </p:txBody>
          </p:sp>
          <p:sp>
            <p:nvSpPr>
              <p:cNvPr id="152" name="Freihandform: Form 634">
                <a:extLst>
                  <a:ext uri="{FF2B5EF4-FFF2-40B4-BE49-F238E27FC236}">
                    <a16:creationId xmlns:a16="http://schemas.microsoft.com/office/drawing/2014/main" id="{47BAAED5-DD54-4B0F-887D-B2519333D5FC}"/>
                  </a:ext>
                </a:extLst>
              </p:cNvPr>
              <p:cNvSpPr/>
              <p:nvPr/>
            </p:nvSpPr>
            <p:spPr>
              <a:xfrm>
                <a:off x="7318310" y="1970537"/>
                <a:ext cx="113242" cy="109250"/>
              </a:xfrm>
              <a:custGeom>
                <a:avLst/>
                <a:gdLst>
                  <a:gd name="connsiteX0" fmla="*/ 81842 w 113242"/>
                  <a:gd name="connsiteY0" fmla="*/ 109250 h 109250"/>
                  <a:gd name="connsiteX1" fmla="*/ 74447 w 113242"/>
                  <a:gd name="connsiteY1" fmla="*/ 107408 h 109250"/>
                  <a:gd name="connsiteX2" fmla="*/ 56628 w 113242"/>
                  <a:gd name="connsiteY2" fmla="*/ 98044 h 109250"/>
                  <a:gd name="connsiteX3" fmla="*/ 38803 w 113242"/>
                  <a:gd name="connsiteY3" fmla="*/ 107411 h 109250"/>
                  <a:gd name="connsiteX4" fmla="*/ 22116 w 113242"/>
                  <a:gd name="connsiteY4" fmla="*/ 106208 h 109250"/>
                  <a:gd name="connsiteX5" fmla="*/ 15810 w 113242"/>
                  <a:gd name="connsiteY5" fmla="*/ 90711 h 109250"/>
                  <a:gd name="connsiteX6" fmla="*/ 19214 w 113242"/>
                  <a:gd name="connsiteY6" fmla="*/ 70864 h 109250"/>
                  <a:gd name="connsiteX7" fmla="*/ 4792 w 113242"/>
                  <a:gd name="connsiteY7" fmla="*/ 56808 h 109250"/>
                  <a:gd name="connsiteX8" fmla="*/ 789 w 113242"/>
                  <a:gd name="connsiteY8" fmla="*/ 40561 h 109250"/>
                  <a:gd name="connsiteX9" fmla="*/ 13580 w 113242"/>
                  <a:gd name="connsiteY9" fmla="*/ 29782 h 109250"/>
                  <a:gd name="connsiteX10" fmla="*/ 33501 w 113242"/>
                  <a:gd name="connsiteY10" fmla="*/ 26890 h 109250"/>
                  <a:gd name="connsiteX11" fmla="*/ 42412 w 113242"/>
                  <a:gd name="connsiteY11" fmla="*/ 8833 h 109250"/>
                  <a:gd name="connsiteX12" fmla="*/ 56622 w 113242"/>
                  <a:gd name="connsiteY12" fmla="*/ 0 h 109250"/>
                  <a:gd name="connsiteX13" fmla="*/ 70831 w 113242"/>
                  <a:gd name="connsiteY13" fmla="*/ 8833 h 109250"/>
                  <a:gd name="connsiteX14" fmla="*/ 70831 w 113242"/>
                  <a:gd name="connsiteY14" fmla="*/ 8833 h 109250"/>
                  <a:gd name="connsiteX15" fmla="*/ 79742 w 113242"/>
                  <a:gd name="connsiteY15" fmla="*/ 26890 h 109250"/>
                  <a:gd name="connsiteX16" fmla="*/ 99664 w 113242"/>
                  <a:gd name="connsiteY16" fmla="*/ 29782 h 109250"/>
                  <a:gd name="connsiteX17" fmla="*/ 112455 w 113242"/>
                  <a:gd name="connsiteY17" fmla="*/ 40571 h 109250"/>
                  <a:gd name="connsiteX18" fmla="*/ 108444 w 113242"/>
                  <a:gd name="connsiteY18" fmla="*/ 56815 h 109250"/>
                  <a:gd name="connsiteX19" fmla="*/ 94023 w 113242"/>
                  <a:gd name="connsiteY19" fmla="*/ 70867 h 109250"/>
                  <a:gd name="connsiteX20" fmla="*/ 97427 w 113242"/>
                  <a:gd name="connsiteY20" fmla="*/ 90711 h 109250"/>
                  <a:gd name="connsiteX21" fmla="*/ 91131 w 113242"/>
                  <a:gd name="connsiteY21" fmla="*/ 106208 h 109250"/>
                  <a:gd name="connsiteX22" fmla="*/ 81842 w 113242"/>
                  <a:gd name="connsiteY22" fmla="*/ 109250 h 109250"/>
                  <a:gd name="connsiteX23" fmla="*/ 56631 w 113242"/>
                  <a:gd name="connsiteY23" fmla="*/ 13942 h 109250"/>
                  <a:gd name="connsiteX24" fmla="*/ 54923 w 113242"/>
                  <a:gd name="connsiteY24" fmla="*/ 15002 h 109250"/>
                  <a:gd name="connsiteX25" fmla="*/ 44391 w 113242"/>
                  <a:gd name="connsiteY25" fmla="*/ 36345 h 109250"/>
                  <a:gd name="connsiteX26" fmla="*/ 39142 w 113242"/>
                  <a:gd name="connsiteY26" fmla="*/ 40160 h 109250"/>
                  <a:gd name="connsiteX27" fmla="*/ 15591 w 113242"/>
                  <a:gd name="connsiteY27" fmla="*/ 43580 h 109250"/>
                  <a:gd name="connsiteX28" fmla="*/ 14052 w 113242"/>
                  <a:gd name="connsiteY28" fmla="*/ 44875 h 109250"/>
                  <a:gd name="connsiteX29" fmla="*/ 14535 w 113242"/>
                  <a:gd name="connsiteY29" fmla="*/ 46828 h 109250"/>
                  <a:gd name="connsiteX30" fmla="*/ 31574 w 113242"/>
                  <a:gd name="connsiteY30" fmla="*/ 63440 h 109250"/>
                  <a:gd name="connsiteX31" fmla="*/ 33576 w 113242"/>
                  <a:gd name="connsiteY31" fmla="*/ 69609 h 109250"/>
                  <a:gd name="connsiteX32" fmla="*/ 29553 w 113242"/>
                  <a:gd name="connsiteY32" fmla="*/ 93062 h 109250"/>
                  <a:gd name="connsiteX33" fmla="*/ 30316 w 113242"/>
                  <a:gd name="connsiteY33" fmla="*/ 94924 h 109250"/>
                  <a:gd name="connsiteX34" fmla="*/ 32324 w 113242"/>
                  <a:gd name="connsiteY34" fmla="*/ 95067 h 109250"/>
                  <a:gd name="connsiteX35" fmla="*/ 53387 w 113242"/>
                  <a:gd name="connsiteY35" fmla="*/ 83994 h 109250"/>
                  <a:gd name="connsiteX36" fmla="*/ 59869 w 113242"/>
                  <a:gd name="connsiteY36" fmla="*/ 83994 h 109250"/>
                  <a:gd name="connsiteX37" fmla="*/ 80932 w 113242"/>
                  <a:gd name="connsiteY37" fmla="*/ 95067 h 109250"/>
                  <a:gd name="connsiteX38" fmla="*/ 82941 w 113242"/>
                  <a:gd name="connsiteY38" fmla="*/ 94924 h 109250"/>
                  <a:gd name="connsiteX39" fmla="*/ 83697 w 113242"/>
                  <a:gd name="connsiteY39" fmla="*/ 93065 h 109250"/>
                  <a:gd name="connsiteX40" fmla="*/ 79674 w 113242"/>
                  <a:gd name="connsiteY40" fmla="*/ 69609 h 109250"/>
                  <a:gd name="connsiteX41" fmla="*/ 81676 w 113242"/>
                  <a:gd name="connsiteY41" fmla="*/ 63440 h 109250"/>
                  <a:gd name="connsiteX42" fmla="*/ 98715 w 113242"/>
                  <a:gd name="connsiteY42" fmla="*/ 46828 h 109250"/>
                  <a:gd name="connsiteX43" fmla="*/ 99198 w 113242"/>
                  <a:gd name="connsiteY43" fmla="*/ 44875 h 109250"/>
                  <a:gd name="connsiteX44" fmla="*/ 97665 w 113242"/>
                  <a:gd name="connsiteY44" fmla="*/ 43580 h 109250"/>
                  <a:gd name="connsiteX45" fmla="*/ 74114 w 113242"/>
                  <a:gd name="connsiteY45" fmla="*/ 40160 h 109250"/>
                  <a:gd name="connsiteX46" fmla="*/ 68865 w 113242"/>
                  <a:gd name="connsiteY46" fmla="*/ 36345 h 109250"/>
                  <a:gd name="connsiteX47" fmla="*/ 58333 w 113242"/>
                  <a:gd name="connsiteY47" fmla="*/ 15002 h 109250"/>
                  <a:gd name="connsiteX48" fmla="*/ 56631 w 113242"/>
                  <a:gd name="connsiteY48" fmla="*/ 13942 h 1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3242" h="109250">
                    <a:moveTo>
                      <a:pt x="81842" y="109250"/>
                    </a:moveTo>
                    <a:cubicBezTo>
                      <a:pt x="79321" y="109250"/>
                      <a:pt x="76791" y="108641"/>
                      <a:pt x="74447" y="107408"/>
                    </a:cubicBezTo>
                    <a:lnTo>
                      <a:pt x="56628" y="98044"/>
                    </a:lnTo>
                    <a:lnTo>
                      <a:pt x="38803" y="107411"/>
                    </a:lnTo>
                    <a:cubicBezTo>
                      <a:pt x="33433" y="110238"/>
                      <a:pt x="27032" y="109779"/>
                      <a:pt x="22116" y="106208"/>
                    </a:cubicBezTo>
                    <a:cubicBezTo>
                      <a:pt x="17199" y="102638"/>
                      <a:pt x="14783" y="96701"/>
                      <a:pt x="15810" y="90711"/>
                    </a:cubicBezTo>
                    <a:lnTo>
                      <a:pt x="19214" y="70864"/>
                    </a:lnTo>
                    <a:lnTo>
                      <a:pt x="4792" y="56808"/>
                    </a:lnTo>
                    <a:cubicBezTo>
                      <a:pt x="443" y="52563"/>
                      <a:pt x="-1090" y="46339"/>
                      <a:pt x="789" y="40561"/>
                    </a:cubicBezTo>
                    <a:cubicBezTo>
                      <a:pt x="2667" y="34783"/>
                      <a:pt x="7570" y="30655"/>
                      <a:pt x="13580" y="29782"/>
                    </a:cubicBezTo>
                    <a:lnTo>
                      <a:pt x="33501" y="26890"/>
                    </a:lnTo>
                    <a:lnTo>
                      <a:pt x="42412" y="8833"/>
                    </a:lnTo>
                    <a:cubicBezTo>
                      <a:pt x="45102" y="3384"/>
                      <a:pt x="50541" y="0"/>
                      <a:pt x="56622" y="0"/>
                    </a:cubicBezTo>
                    <a:cubicBezTo>
                      <a:pt x="62703" y="0"/>
                      <a:pt x="68141" y="3384"/>
                      <a:pt x="70831" y="8833"/>
                    </a:cubicBezTo>
                    <a:lnTo>
                      <a:pt x="70831" y="8833"/>
                    </a:lnTo>
                    <a:lnTo>
                      <a:pt x="79742" y="26890"/>
                    </a:lnTo>
                    <a:lnTo>
                      <a:pt x="99664" y="29782"/>
                    </a:lnTo>
                    <a:cubicBezTo>
                      <a:pt x="105676" y="30655"/>
                      <a:pt x="110577" y="34790"/>
                      <a:pt x="112455" y="40571"/>
                    </a:cubicBezTo>
                    <a:cubicBezTo>
                      <a:pt x="114333" y="46348"/>
                      <a:pt x="112794" y="52569"/>
                      <a:pt x="108444" y="56815"/>
                    </a:cubicBezTo>
                    <a:lnTo>
                      <a:pt x="94023" y="70867"/>
                    </a:lnTo>
                    <a:lnTo>
                      <a:pt x="97427" y="90711"/>
                    </a:lnTo>
                    <a:cubicBezTo>
                      <a:pt x="98454" y="96697"/>
                      <a:pt x="96045" y="102638"/>
                      <a:pt x="91131" y="106208"/>
                    </a:cubicBezTo>
                    <a:cubicBezTo>
                      <a:pt x="88363" y="108226"/>
                      <a:pt x="85109" y="109250"/>
                      <a:pt x="81842" y="109250"/>
                    </a:cubicBezTo>
                    <a:close/>
                    <a:moveTo>
                      <a:pt x="56631" y="13942"/>
                    </a:moveTo>
                    <a:cubicBezTo>
                      <a:pt x="56094" y="13942"/>
                      <a:pt x="55360" y="14125"/>
                      <a:pt x="54923" y="15002"/>
                    </a:cubicBezTo>
                    <a:lnTo>
                      <a:pt x="44391" y="36345"/>
                    </a:lnTo>
                    <a:cubicBezTo>
                      <a:pt x="43377" y="38406"/>
                      <a:pt x="41418" y="39831"/>
                      <a:pt x="39142" y="40160"/>
                    </a:cubicBezTo>
                    <a:lnTo>
                      <a:pt x="15591" y="43580"/>
                    </a:lnTo>
                    <a:cubicBezTo>
                      <a:pt x="14626" y="43720"/>
                      <a:pt x="14222" y="44359"/>
                      <a:pt x="14052" y="44875"/>
                    </a:cubicBezTo>
                    <a:cubicBezTo>
                      <a:pt x="13889" y="45390"/>
                      <a:pt x="13834" y="46143"/>
                      <a:pt x="14535" y="46828"/>
                    </a:cubicBezTo>
                    <a:lnTo>
                      <a:pt x="31574" y="63440"/>
                    </a:lnTo>
                    <a:cubicBezTo>
                      <a:pt x="33214" y="65041"/>
                      <a:pt x="33964" y="67349"/>
                      <a:pt x="33576" y="69609"/>
                    </a:cubicBezTo>
                    <a:lnTo>
                      <a:pt x="29553" y="93062"/>
                    </a:lnTo>
                    <a:cubicBezTo>
                      <a:pt x="29390" y="94024"/>
                      <a:pt x="29879" y="94607"/>
                      <a:pt x="30316" y="94924"/>
                    </a:cubicBezTo>
                    <a:cubicBezTo>
                      <a:pt x="30753" y="95237"/>
                      <a:pt x="31447" y="95523"/>
                      <a:pt x="32324" y="95067"/>
                    </a:cubicBezTo>
                    <a:lnTo>
                      <a:pt x="53387" y="83994"/>
                    </a:lnTo>
                    <a:cubicBezTo>
                      <a:pt x="55415" y="82925"/>
                      <a:pt x="57841" y="82925"/>
                      <a:pt x="59869" y="83994"/>
                    </a:cubicBezTo>
                    <a:lnTo>
                      <a:pt x="80932" y="95067"/>
                    </a:lnTo>
                    <a:cubicBezTo>
                      <a:pt x="81803" y="95523"/>
                      <a:pt x="82497" y="95237"/>
                      <a:pt x="82941" y="94924"/>
                    </a:cubicBezTo>
                    <a:cubicBezTo>
                      <a:pt x="83377" y="94607"/>
                      <a:pt x="83860" y="94027"/>
                      <a:pt x="83697" y="93065"/>
                    </a:cubicBezTo>
                    <a:lnTo>
                      <a:pt x="79674" y="69609"/>
                    </a:lnTo>
                    <a:cubicBezTo>
                      <a:pt x="79286" y="67349"/>
                      <a:pt x="80035" y="65041"/>
                      <a:pt x="81676" y="63440"/>
                    </a:cubicBezTo>
                    <a:lnTo>
                      <a:pt x="98715" y="46828"/>
                    </a:lnTo>
                    <a:cubicBezTo>
                      <a:pt x="99416" y="46143"/>
                      <a:pt x="99367" y="45386"/>
                      <a:pt x="99198" y="44875"/>
                    </a:cubicBezTo>
                    <a:cubicBezTo>
                      <a:pt x="99034" y="44359"/>
                      <a:pt x="98633" y="43720"/>
                      <a:pt x="97665" y="43580"/>
                    </a:cubicBezTo>
                    <a:lnTo>
                      <a:pt x="74114" y="40160"/>
                    </a:lnTo>
                    <a:cubicBezTo>
                      <a:pt x="71842" y="39831"/>
                      <a:pt x="69879" y="38402"/>
                      <a:pt x="68865" y="36345"/>
                    </a:cubicBezTo>
                    <a:lnTo>
                      <a:pt x="58333" y="15002"/>
                    </a:lnTo>
                    <a:cubicBezTo>
                      <a:pt x="57903" y="14128"/>
                      <a:pt x="57169" y="13942"/>
                      <a:pt x="56631" y="13942"/>
                    </a:cubicBezTo>
                    <a:close/>
                  </a:path>
                </a:pathLst>
              </a:custGeom>
              <a:grpFill/>
              <a:ln w="326" cap="flat">
                <a:noFill/>
                <a:prstDash val="solid"/>
                <a:miter/>
              </a:ln>
            </p:spPr>
            <p:txBody>
              <a:bodyPr rtlCol="0" anchor="ctr"/>
              <a:lstStyle/>
              <a:p>
                <a:endParaRPr lang="en-GB" dirty="0"/>
              </a:p>
            </p:txBody>
          </p:sp>
          <p:sp>
            <p:nvSpPr>
              <p:cNvPr id="153" name="Freihandform: Form 635">
                <a:extLst>
                  <a:ext uri="{FF2B5EF4-FFF2-40B4-BE49-F238E27FC236}">
                    <a16:creationId xmlns:a16="http://schemas.microsoft.com/office/drawing/2014/main" id="{D62B8FEC-6E00-46DC-91D4-34EBB5E28203}"/>
                  </a:ext>
                </a:extLst>
              </p:cNvPr>
              <p:cNvSpPr/>
              <p:nvPr/>
            </p:nvSpPr>
            <p:spPr>
              <a:xfrm>
                <a:off x="7056879" y="1970537"/>
                <a:ext cx="113242" cy="109250"/>
              </a:xfrm>
              <a:custGeom>
                <a:avLst/>
                <a:gdLst>
                  <a:gd name="connsiteX0" fmla="*/ 81839 w 113242"/>
                  <a:gd name="connsiteY0" fmla="*/ 109250 h 109250"/>
                  <a:gd name="connsiteX1" fmla="*/ 74444 w 113242"/>
                  <a:gd name="connsiteY1" fmla="*/ 107408 h 109250"/>
                  <a:gd name="connsiteX2" fmla="*/ 56628 w 113242"/>
                  <a:gd name="connsiteY2" fmla="*/ 98044 h 109250"/>
                  <a:gd name="connsiteX3" fmla="*/ 38803 w 113242"/>
                  <a:gd name="connsiteY3" fmla="*/ 107411 h 109250"/>
                  <a:gd name="connsiteX4" fmla="*/ 22116 w 113242"/>
                  <a:gd name="connsiteY4" fmla="*/ 106208 h 109250"/>
                  <a:gd name="connsiteX5" fmla="*/ 15810 w 113242"/>
                  <a:gd name="connsiteY5" fmla="*/ 90711 h 109250"/>
                  <a:gd name="connsiteX6" fmla="*/ 19214 w 113242"/>
                  <a:gd name="connsiteY6" fmla="*/ 70864 h 109250"/>
                  <a:gd name="connsiteX7" fmla="*/ 4792 w 113242"/>
                  <a:gd name="connsiteY7" fmla="*/ 56808 h 109250"/>
                  <a:gd name="connsiteX8" fmla="*/ 789 w 113242"/>
                  <a:gd name="connsiteY8" fmla="*/ 40561 h 109250"/>
                  <a:gd name="connsiteX9" fmla="*/ 13580 w 113242"/>
                  <a:gd name="connsiteY9" fmla="*/ 29782 h 109250"/>
                  <a:gd name="connsiteX10" fmla="*/ 33501 w 113242"/>
                  <a:gd name="connsiteY10" fmla="*/ 26890 h 109250"/>
                  <a:gd name="connsiteX11" fmla="*/ 42412 w 113242"/>
                  <a:gd name="connsiteY11" fmla="*/ 8833 h 109250"/>
                  <a:gd name="connsiteX12" fmla="*/ 56622 w 113242"/>
                  <a:gd name="connsiteY12" fmla="*/ 0 h 109250"/>
                  <a:gd name="connsiteX13" fmla="*/ 70831 w 113242"/>
                  <a:gd name="connsiteY13" fmla="*/ 8833 h 109250"/>
                  <a:gd name="connsiteX14" fmla="*/ 70831 w 113242"/>
                  <a:gd name="connsiteY14" fmla="*/ 8833 h 109250"/>
                  <a:gd name="connsiteX15" fmla="*/ 79742 w 113242"/>
                  <a:gd name="connsiteY15" fmla="*/ 26890 h 109250"/>
                  <a:gd name="connsiteX16" fmla="*/ 99664 w 113242"/>
                  <a:gd name="connsiteY16" fmla="*/ 29782 h 109250"/>
                  <a:gd name="connsiteX17" fmla="*/ 112455 w 113242"/>
                  <a:gd name="connsiteY17" fmla="*/ 40571 h 109250"/>
                  <a:gd name="connsiteX18" fmla="*/ 108444 w 113242"/>
                  <a:gd name="connsiteY18" fmla="*/ 56815 h 109250"/>
                  <a:gd name="connsiteX19" fmla="*/ 94023 w 113242"/>
                  <a:gd name="connsiteY19" fmla="*/ 70867 h 109250"/>
                  <a:gd name="connsiteX20" fmla="*/ 97427 w 113242"/>
                  <a:gd name="connsiteY20" fmla="*/ 90711 h 109250"/>
                  <a:gd name="connsiteX21" fmla="*/ 91131 w 113242"/>
                  <a:gd name="connsiteY21" fmla="*/ 106208 h 109250"/>
                  <a:gd name="connsiteX22" fmla="*/ 81839 w 113242"/>
                  <a:gd name="connsiteY22" fmla="*/ 109250 h 109250"/>
                  <a:gd name="connsiteX23" fmla="*/ 56628 w 113242"/>
                  <a:gd name="connsiteY23" fmla="*/ 13942 h 109250"/>
                  <a:gd name="connsiteX24" fmla="*/ 54920 w 113242"/>
                  <a:gd name="connsiteY24" fmla="*/ 15002 h 109250"/>
                  <a:gd name="connsiteX25" fmla="*/ 44388 w 113242"/>
                  <a:gd name="connsiteY25" fmla="*/ 36345 h 109250"/>
                  <a:gd name="connsiteX26" fmla="*/ 39139 w 113242"/>
                  <a:gd name="connsiteY26" fmla="*/ 40160 h 109250"/>
                  <a:gd name="connsiteX27" fmla="*/ 15588 w 113242"/>
                  <a:gd name="connsiteY27" fmla="*/ 43580 h 109250"/>
                  <a:gd name="connsiteX28" fmla="*/ 14049 w 113242"/>
                  <a:gd name="connsiteY28" fmla="*/ 44875 h 109250"/>
                  <a:gd name="connsiteX29" fmla="*/ 14532 w 113242"/>
                  <a:gd name="connsiteY29" fmla="*/ 46828 h 109250"/>
                  <a:gd name="connsiteX30" fmla="*/ 31571 w 113242"/>
                  <a:gd name="connsiteY30" fmla="*/ 63440 h 109250"/>
                  <a:gd name="connsiteX31" fmla="*/ 33573 w 113242"/>
                  <a:gd name="connsiteY31" fmla="*/ 69609 h 109250"/>
                  <a:gd name="connsiteX32" fmla="*/ 29550 w 113242"/>
                  <a:gd name="connsiteY32" fmla="*/ 93062 h 109250"/>
                  <a:gd name="connsiteX33" fmla="*/ 30312 w 113242"/>
                  <a:gd name="connsiteY33" fmla="*/ 94924 h 109250"/>
                  <a:gd name="connsiteX34" fmla="*/ 32321 w 113242"/>
                  <a:gd name="connsiteY34" fmla="*/ 95067 h 109250"/>
                  <a:gd name="connsiteX35" fmla="*/ 53384 w 113242"/>
                  <a:gd name="connsiteY35" fmla="*/ 83994 h 109250"/>
                  <a:gd name="connsiteX36" fmla="*/ 59866 w 113242"/>
                  <a:gd name="connsiteY36" fmla="*/ 83994 h 109250"/>
                  <a:gd name="connsiteX37" fmla="*/ 80929 w 113242"/>
                  <a:gd name="connsiteY37" fmla="*/ 95067 h 109250"/>
                  <a:gd name="connsiteX38" fmla="*/ 82937 w 113242"/>
                  <a:gd name="connsiteY38" fmla="*/ 94924 h 109250"/>
                  <a:gd name="connsiteX39" fmla="*/ 83694 w 113242"/>
                  <a:gd name="connsiteY39" fmla="*/ 93065 h 109250"/>
                  <a:gd name="connsiteX40" fmla="*/ 79670 w 113242"/>
                  <a:gd name="connsiteY40" fmla="*/ 69609 h 109250"/>
                  <a:gd name="connsiteX41" fmla="*/ 81672 w 113242"/>
                  <a:gd name="connsiteY41" fmla="*/ 63440 h 109250"/>
                  <a:gd name="connsiteX42" fmla="*/ 98712 w 113242"/>
                  <a:gd name="connsiteY42" fmla="*/ 46828 h 109250"/>
                  <a:gd name="connsiteX43" fmla="*/ 99194 w 113242"/>
                  <a:gd name="connsiteY43" fmla="*/ 44875 h 109250"/>
                  <a:gd name="connsiteX44" fmla="*/ 97662 w 113242"/>
                  <a:gd name="connsiteY44" fmla="*/ 43580 h 109250"/>
                  <a:gd name="connsiteX45" fmla="*/ 74111 w 113242"/>
                  <a:gd name="connsiteY45" fmla="*/ 40160 h 109250"/>
                  <a:gd name="connsiteX46" fmla="*/ 68862 w 113242"/>
                  <a:gd name="connsiteY46" fmla="*/ 36345 h 109250"/>
                  <a:gd name="connsiteX47" fmla="*/ 58330 w 113242"/>
                  <a:gd name="connsiteY47" fmla="*/ 15002 h 109250"/>
                  <a:gd name="connsiteX48" fmla="*/ 56628 w 113242"/>
                  <a:gd name="connsiteY48" fmla="*/ 13942 h 10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13242" h="109250">
                    <a:moveTo>
                      <a:pt x="81839" y="109250"/>
                    </a:moveTo>
                    <a:cubicBezTo>
                      <a:pt x="79318" y="109250"/>
                      <a:pt x="76788" y="108641"/>
                      <a:pt x="74444" y="107408"/>
                    </a:cubicBezTo>
                    <a:lnTo>
                      <a:pt x="56628" y="98044"/>
                    </a:lnTo>
                    <a:lnTo>
                      <a:pt x="38803" y="107411"/>
                    </a:lnTo>
                    <a:cubicBezTo>
                      <a:pt x="33433" y="110238"/>
                      <a:pt x="27032" y="109779"/>
                      <a:pt x="22116" y="106208"/>
                    </a:cubicBezTo>
                    <a:cubicBezTo>
                      <a:pt x="17199" y="102638"/>
                      <a:pt x="14783" y="96701"/>
                      <a:pt x="15810" y="90711"/>
                    </a:cubicBezTo>
                    <a:lnTo>
                      <a:pt x="19214" y="70864"/>
                    </a:lnTo>
                    <a:lnTo>
                      <a:pt x="4792" y="56808"/>
                    </a:lnTo>
                    <a:cubicBezTo>
                      <a:pt x="443" y="52563"/>
                      <a:pt x="-1090" y="46339"/>
                      <a:pt x="789" y="40561"/>
                    </a:cubicBezTo>
                    <a:cubicBezTo>
                      <a:pt x="2667" y="34783"/>
                      <a:pt x="7570" y="30655"/>
                      <a:pt x="13580" y="29782"/>
                    </a:cubicBezTo>
                    <a:lnTo>
                      <a:pt x="33501" y="26890"/>
                    </a:lnTo>
                    <a:lnTo>
                      <a:pt x="42412" y="8833"/>
                    </a:lnTo>
                    <a:cubicBezTo>
                      <a:pt x="45102" y="3384"/>
                      <a:pt x="50541" y="0"/>
                      <a:pt x="56622" y="0"/>
                    </a:cubicBezTo>
                    <a:cubicBezTo>
                      <a:pt x="62703" y="0"/>
                      <a:pt x="68141" y="3384"/>
                      <a:pt x="70831" y="8833"/>
                    </a:cubicBezTo>
                    <a:lnTo>
                      <a:pt x="70831" y="8833"/>
                    </a:lnTo>
                    <a:lnTo>
                      <a:pt x="79742" y="26890"/>
                    </a:lnTo>
                    <a:lnTo>
                      <a:pt x="99664" y="29782"/>
                    </a:lnTo>
                    <a:cubicBezTo>
                      <a:pt x="105676" y="30655"/>
                      <a:pt x="110577" y="34790"/>
                      <a:pt x="112455" y="40571"/>
                    </a:cubicBezTo>
                    <a:cubicBezTo>
                      <a:pt x="114333" y="46348"/>
                      <a:pt x="112794" y="52569"/>
                      <a:pt x="108444" y="56815"/>
                    </a:cubicBezTo>
                    <a:lnTo>
                      <a:pt x="94023" y="70867"/>
                    </a:lnTo>
                    <a:lnTo>
                      <a:pt x="97427" y="90711"/>
                    </a:lnTo>
                    <a:cubicBezTo>
                      <a:pt x="98454" y="96697"/>
                      <a:pt x="96045" y="102638"/>
                      <a:pt x="91131" y="106208"/>
                    </a:cubicBezTo>
                    <a:cubicBezTo>
                      <a:pt x="88360" y="108226"/>
                      <a:pt x="85106" y="109250"/>
                      <a:pt x="81839" y="109250"/>
                    </a:cubicBezTo>
                    <a:close/>
                    <a:moveTo>
                      <a:pt x="56628" y="13942"/>
                    </a:moveTo>
                    <a:cubicBezTo>
                      <a:pt x="56090" y="13942"/>
                      <a:pt x="55357" y="14125"/>
                      <a:pt x="54920" y="15002"/>
                    </a:cubicBezTo>
                    <a:lnTo>
                      <a:pt x="44388" y="36345"/>
                    </a:lnTo>
                    <a:cubicBezTo>
                      <a:pt x="43374" y="38406"/>
                      <a:pt x="41411" y="39831"/>
                      <a:pt x="39139" y="40160"/>
                    </a:cubicBezTo>
                    <a:lnTo>
                      <a:pt x="15588" y="43580"/>
                    </a:lnTo>
                    <a:cubicBezTo>
                      <a:pt x="14620" y="43720"/>
                      <a:pt x="14219" y="44359"/>
                      <a:pt x="14049" y="44875"/>
                    </a:cubicBezTo>
                    <a:cubicBezTo>
                      <a:pt x="13886" y="45390"/>
                      <a:pt x="13831" y="46143"/>
                      <a:pt x="14532" y="46828"/>
                    </a:cubicBezTo>
                    <a:lnTo>
                      <a:pt x="31571" y="63440"/>
                    </a:lnTo>
                    <a:cubicBezTo>
                      <a:pt x="33211" y="65041"/>
                      <a:pt x="33961" y="67349"/>
                      <a:pt x="33573" y="69609"/>
                    </a:cubicBezTo>
                    <a:lnTo>
                      <a:pt x="29550" y="93062"/>
                    </a:lnTo>
                    <a:cubicBezTo>
                      <a:pt x="29387" y="94024"/>
                      <a:pt x="29876" y="94607"/>
                      <a:pt x="30312" y="94924"/>
                    </a:cubicBezTo>
                    <a:cubicBezTo>
                      <a:pt x="30743" y="95237"/>
                      <a:pt x="31444" y="95523"/>
                      <a:pt x="32321" y="95067"/>
                    </a:cubicBezTo>
                    <a:lnTo>
                      <a:pt x="53384" y="83994"/>
                    </a:lnTo>
                    <a:cubicBezTo>
                      <a:pt x="55412" y="82925"/>
                      <a:pt x="57838" y="82925"/>
                      <a:pt x="59866" y="83994"/>
                    </a:cubicBezTo>
                    <a:lnTo>
                      <a:pt x="80929" y="95067"/>
                    </a:lnTo>
                    <a:cubicBezTo>
                      <a:pt x="81793" y="95523"/>
                      <a:pt x="82494" y="95237"/>
                      <a:pt x="82937" y="94924"/>
                    </a:cubicBezTo>
                    <a:cubicBezTo>
                      <a:pt x="83374" y="94607"/>
                      <a:pt x="83857" y="94027"/>
                      <a:pt x="83694" y="93065"/>
                    </a:cubicBezTo>
                    <a:lnTo>
                      <a:pt x="79670" y="69609"/>
                    </a:lnTo>
                    <a:cubicBezTo>
                      <a:pt x="79282" y="67349"/>
                      <a:pt x="80032" y="65041"/>
                      <a:pt x="81672" y="63440"/>
                    </a:cubicBezTo>
                    <a:lnTo>
                      <a:pt x="98712" y="46828"/>
                    </a:lnTo>
                    <a:cubicBezTo>
                      <a:pt x="99413" y="46143"/>
                      <a:pt x="99364" y="45386"/>
                      <a:pt x="99194" y="44875"/>
                    </a:cubicBezTo>
                    <a:cubicBezTo>
                      <a:pt x="99031" y="44359"/>
                      <a:pt x="98630" y="43720"/>
                      <a:pt x="97662" y="43580"/>
                    </a:cubicBezTo>
                    <a:lnTo>
                      <a:pt x="74111" y="40160"/>
                    </a:lnTo>
                    <a:cubicBezTo>
                      <a:pt x="71839" y="39831"/>
                      <a:pt x="69876" y="38402"/>
                      <a:pt x="68862" y="36345"/>
                    </a:cubicBezTo>
                    <a:lnTo>
                      <a:pt x="58330" y="15002"/>
                    </a:lnTo>
                    <a:cubicBezTo>
                      <a:pt x="57900" y="14128"/>
                      <a:pt x="57166" y="13942"/>
                      <a:pt x="56628" y="13942"/>
                    </a:cubicBezTo>
                    <a:close/>
                  </a:path>
                </a:pathLst>
              </a:custGeom>
              <a:grpFill/>
              <a:ln w="326" cap="flat">
                <a:noFill/>
                <a:prstDash val="solid"/>
                <a:miter/>
              </a:ln>
            </p:spPr>
            <p:txBody>
              <a:bodyPr rtlCol="0" anchor="ctr"/>
              <a:lstStyle/>
              <a:p>
                <a:endParaRPr lang="en-GB" dirty="0"/>
              </a:p>
            </p:txBody>
          </p:sp>
        </p:grpSp>
      </p:grpSp>
      <p:grpSp>
        <p:nvGrpSpPr>
          <p:cNvPr id="470" name="Group 469">
            <a:extLst>
              <a:ext uri="{FF2B5EF4-FFF2-40B4-BE49-F238E27FC236}">
                <a16:creationId xmlns:a16="http://schemas.microsoft.com/office/drawing/2014/main" id="{617D102E-6C8E-F4C0-47BF-E0CA35E25D3C}"/>
              </a:ext>
            </a:extLst>
          </p:cNvPr>
          <p:cNvGrpSpPr/>
          <p:nvPr/>
        </p:nvGrpSpPr>
        <p:grpSpPr>
          <a:xfrm>
            <a:off x="550486" y="2407317"/>
            <a:ext cx="487128" cy="400418"/>
            <a:chOff x="550486" y="2407317"/>
            <a:chExt cx="487128" cy="400418"/>
          </a:xfrm>
        </p:grpSpPr>
        <p:grpSp>
          <p:nvGrpSpPr>
            <p:cNvPr id="159" name="Graphic 5">
              <a:extLst>
                <a:ext uri="{FF2B5EF4-FFF2-40B4-BE49-F238E27FC236}">
                  <a16:creationId xmlns:a16="http://schemas.microsoft.com/office/drawing/2014/main" id="{F453E98E-DB0D-4BAD-A076-FDC60DC0A28C}"/>
                </a:ext>
              </a:extLst>
            </p:cNvPr>
            <p:cNvGrpSpPr/>
            <p:nvPr/>
          </p:nvGrpSpPr>
          <p:grpSpPr>
            <a:xfrm>
              <a:off x="550486" y="2568078"/>
              <a:ext cx="406981" cy="239657"/>
              <a:chOff x="5215211" y="2692905"/>
              <a:chExt cx="432190" cy="254503"/>
            </a:xfrm>
            <a:solidFill>
              <a:schemeClr val="tx2"/>
            </a:solidFill>
          </p:grpSpPr>
          <p:sp>
            <p:nvSpPr>
              <p:cNvPr id="171" name="Freihandform: Form 696">
                <a:extLst>
                  <a:ext uri="{FF2B5EF4-FFF2-40B4-BE49-F238E27FC236}">
                    <a16:creationId xmlns:a16="http://schemas.microsoft.com/office/drawing/2014/main" id="{1E5E665D-B268-4398-B3A5-8D7D30752F8E}"/>
                  </a:ext>
                </a:extLst>
              </p:cNvPr>
              <p:cNvSpPr/>
              <p:nvPr/>
            </p:nvSpPr>
            <p:spPr>
              <a:xfrm>
                <a:off x="5271979" y="2863764"/>
                <a:ext cx="34213" cy="46057"/>
              </a:xfrm>
              <a:custGeom>
                <a:avLst/>
                <a:gdLst>
                  <a:gd name="connsiteX0" fmla="*/ 6967 w 34213"/>
                  <a:gd name="connsiteY0" fmla="*/ 46057 h 46057"/>
                  <a:gd name="connsiteX1" fmla="*/ 3253 w 34213"/>
                  <a:gd name="connsiteY1" fmla="*/ 44982 h 46057"/>
                  <a:gd name="connsiteX2" fmla="*/ 1078 w 34213"/>
                  <a:gd name="connsiteY2" fmla="*/ 35366 h 46057"/>
                  <a:gd name="connsiteX3" fmla="*/ 21346 w 34213"/>
                  <a:gd name="connsiteY3" fmla="*/ 3250 h 46057"/>
                  <a:gd name="connsiteX4" fmla="*/ 30961 w 34213"/>
                  <a:gd name="connsiteY4" fmla="*/ 1075 h 46057"/>
                  <a:gd name="connsiteX5" fmla="*/ 33136 w 34213"/>
                  <a:gd name="connsiteY5" fmla="*/ 10691 h 46057"/>
                  <a:gd name="connsiteX6" fmla="*/ 12868 w 34213"/>
                  <a:gd name="connsiteY6" fmla="*/ 42807 h 46057"/>
                  <a:gd name="connsiteX7" fmla="*/ 6967 w 34213"/>
                  <a:gd name="connsiteY7" fmla="*/ 46057 h 46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13" h="46057">
                    <a:moveTo>
                      <a:pt x="6967" y="46057"/>
                    </a:moveTo>
                    <a:cubicBezTo>
                      <a:pt x="5695" y="46057"/>
                      <a:pt x="4407" y="45712"/>
                      <a:pt x="3253" y="44982"/>
                    </a:cubicBezTo>
                    <a:cubicBezTo>
                      <a:pt x="-4" y="42924"/>
                      <a:pt x="-979" y="38624"/>
                      <a:pt x="1078" y="35366"/>
                    </a:cubicBezTo>
                    <a:lnTo>
                      <a:pt x="21346" y="3250"/>
                    </a:lnTo>
                    <a:cubicBezTo>
                      <a:pt x="23403" y="-7"/>
                      <a:pt x="27710" y="-976"/>
                      <a:pt x="30961" y="1075"/>
                    </a:cubicBezTo>
                    <a:cubicBezTo>
                      <a:pt x="34218" y="3133"/>
                      <a:pt x="35193" y="7433"/>
                      <a:pt x="33136" y="10691"/>
                    </a:cubicBezTo>
                    <a:lnTo>
                      <a:pt x="12868" y="42807"/>
                    </a:lnTo>
                    <a:cubicBezTo>
                      <a:pt x="11541" y="44907"/>
                      <a:pt x="9278" y="46057"/>
                      <a:pt x="6967" y="46057"/>
                    </a:cubicBezTo>
                    <a:close/>
                  </a:path>
                </a:pathLst>
              </a:custGeom>
              <a:grpFill/>
              <a:ln w="326" cap="flat">
                <a:noFill/>
                <a:prstDash val="solid"/>
                <a:miter/>
              </a:ln>
            </p:spPr>
            <p:txBody>
              <a:bodyPr rtlCol="0" anchor="ctr"/>
              <a:lstStyle/>
              <a:p>
                <a:endParaRPr lang="en-GB" dirty="0"/>
              </a:p>
            </p:txBody>
          </p:sp>
          <p:sp>
            <p:nvSpPr>
              <p:cNvPr id="172" name="Freihandform: Form 697">
                <a:extLst>
                  <a:ext uri="{FF2B5EF4-FFF2-40B4-BE49-F238E27FC236}">
                    <a16:creationId xmlns:a16="http://schemas.microsoft.com/office/drawing/2014/main" id="{E119D874-27E2-4A67-9715-D9CFA884BEE8}"/>
                  </a:ext>
                </a:extLst>
              </p:cNvPr>
              <p:cNvSpPr/>
              <p:nvPr/>
            </p:nvSpPr>
            <p:spPr>
              <a:xfrm>
                <a:off x="5260677" y="2896119"/>
                <a:ext cx="87175" cy="50882"/>
              </a:xfrm>
              <a:custGeom>
                <a:avLst/>
                <a:gdLst>
                  <a:gd name="connsiteX0" fmla="*/ 74047 w 87175"/>
                  <a:gd name="connsiteY0" fmla="*/ 50882 h 50882"/>
                  <a:gd name="connsiteX1" fmla="*/ 68386 w 87175"/>
                  <a:gd name="connsiteY1" fmla="*/ 47990 h 50882"/>
                  <a:gd name="connsiteX2" fmla="*/ 69961 w 87175"/>
                  <a:gd name="connsiteY2" fmla="*/ 38258 h 50882"/>
                  <a:gd name="connsiteX3" fmla="*/ 73143 w 87175"/>
                  <a:gd name="connsiteY3" fmla="*/ 31544 h 50882"/>
                  <a:gd name="connsiteX4" fmla="*/ 66753 w 87175"/>
                  <a:gd name="connsiteY4" fmla="*/ 21782 h 50882"/>
                  <a:gd name="connsiteX5" fmla="*/ 6074 w 87175"/>
                  <a:gd name="connsiteY5" fmla="*/ 13885 h 50882"/>
                  <a:gd name="connsiteX6" fmla="*/ 59 w 87175"/>
                  <a:gd name="connsiteY6" fmla="*/ 6073 h 50882"/>
                  <a:gd name="connsiteX7" fmla="*/ 7871 w 87175"/>
                  <a:gd name="connsiteY7" fmla="*/ 57 h 50882"/>
                  <a:gd name="connsiteX8" fmla="*/ 68592 w 87175"/>
                  <a:gd name="connsiteY8" fmla="*/ 7961 h 50882"/>
                  <a:gd name="connsiteX9" fmla="*/ 86994 w 87175"/>
                  <a:gd name="connsiteY9" fmla="*/ 33090 h 50882"/>
                  <a:gd name="connsiteX10" fmla="*/ 78112 w 87175"/>
                  <a:gd name="connsiteY10" fmla="*/ 49565 h 50882"/>
                  <a:gd name="connsiteX11" fmla="*/ 74047 w 87175"/>
                  <a:gd name="connsiteY11" fmla="*/ 50882 h 50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175" h="50882">
                    <a:moveTo>
                      <a:pt x="74047" y="50882"/>
                    </a:moveTo>
                    <a:cubicBezTo>
                      <a:pt x="71882" y="50882"/>
                      <a:pt x="69746" y="49878"/>
                      <a:pt x="68386" y="47990"/>
                    </a:cubicBezTo>
                    <a:cubicBezTo>
                      <a:pt x="66133" y="44870"/>
                      <a:pt x="66841" y="40511"/>
                      <a:pt x="69961" y="38258"/>
                    </a:cubicBezTo>
                    <a:cubicBezTo>
                      <a:pt x="71569" y="37100"/>
                      <a:pt x="72817" y="34462"/>
                      <a:pt x="73143" y="31544"/>
                    </a:cubicBezTo>
                    <a:cubicBezTo>
                      <a:pt x="73372" y="29487"/>
                      <a:pt x="73590" y="22715"/>
                      <a:pt x="66753" y="21782"/>
                    </a:cubicBezTo>
                    <a:lnTo>
                      <a:pt x="6074" y="13885"/>
                    </a:lnTo>
                    <a:cubicBezTo>
                      <a:pt x="2256" y="13390"/>
                      <a:pt x="-437" y="9888"/>
                      <a:pt x="59" y="6073"/>
                    </a:cubicBezTo>
                    <a:cubicBezTo>
                      <a:pt x="554" y="2255"/>
                      <a:pt x="4147" y="-432"/>
                      <a:pt x="7871" y="57"/>
                    </a:cubicBezTo>
                    <a:lnTo>
                      <a:pt x="68592" y="7961"/>
                    </a:lnTo>
                    <a:cubicBezTo>
                      <a:pt x="80910" y="9643"/>
                      <a:pt x="88461" y="19973"/>
                      <a:pt x="86994" y="33090"/>
                    </a:cubicBezTo>
                    <a:cubicBezTo>
                      <a:pt x="86228" y="39950"/>
                      <a:pt x="82909" y="46106"/>
                      <a:pt x="78112" y="49565"/>
                    </a:cubicBezTo>
                    <a:cubicBezTo>
                      <a:pt x="76886" y="50452"/>
                      <a:pt x="75458" y="50882"/>
                      <a:pt x="74047" y="50882"/>
                    </a:cubicBezTo>
                    <a:close/>
                  </a:path>
                </a:pathLst>
              </a:custGeom>
              <a:grpFill/>
              <a:ln w="326" cap="flat">
                <a:noFill/>
                <a:prstDash val="solid"/>
                <a:miter/>
              </a:ln>
            </p:spPr>
            <p:txBody>
              <a:bodyPr rtlCol="0" anchor="ctr"/>
              <a:lstStyle/>
              <a:p>
                <a:endParaRPr lang="en-GB" dirty="0"/>
              </a:p>
            </p:txBody>
          </p:sp>
          <p:sp>
            <p:nvSpPr>
              <p:cNvPr id="173" name="Freihandform: Form 698">
                <a:extLst>
                  <a:ext uri="{FF2B5EF4-FFF2-40B4-BE49-F238E27FC236}">
                    <a16:creationId xmlns:a16="http://schemas.microsoft.com/office/drawing/2014/main" id="{788C7870-5183-4BCE-BAD2-282309C29A7C}"/>
                  </a:ext>
                </a:extLst>
              </p:cNvPr>
              <p:cNvSpPr/>
              <p:nvPr/>
            </p:nvSpPr>
            <p:spPr>
              <a:xfrm>
                <a:off x="5389704" y="2827063"/>
                <a:ext cx="62826" cy="90717"/>
              </a:xfrm>
              <a:custGeom>
                <a:avLst/>
                <a:gdLst>
                  <a:gd name="connsiteX0" fmla="*/ 55861 w 62826"/>
                  <a:gd name="connsiteY0" fmla="*/ 90718 h 90717"/>
                  <a:gd name="connsiteX1" fmla="*/ 49972 w 62826"/>
                  <a:gd name="connsiteY1" fmla="*/ 87490 h 90717"/>
                  <a:gd name="connsiteX2" fmla="*/ 1091 w 62826"/>
                  <a:gd name="connsiteY2" fmla="*/ 10717 h 90717"/>
                  <a:gd name="connsiteX3" fmla="*/ 3229 w 62826"/>
                  <a:gd name="connsiteY3" fmla="*/ 1089 h 90717"/>
                  <a:gd name="connsiteX4" fmla="*/ 12858 w 62826"/>
                  <a:gd name="connsiteY4" fmla="*/ 3228 h 90717"/>
                  <a:gd name="connsiteX5" fmla="*/ 61736 w 62826"/>
                  <a:gd name="connsiteY5" fmla="*/ 80000 h 90717"/>
                  <a:gd name="connsiteX6" fmla="*/ 59597 w 62826"/>
                  <a:gd name="connsiteY6" fmla="*/ 89629 h 90717"/>
                  <a:gd name="connsiteX7" fmla="*/ 55861 w 62826"/>
                  <a:gd name="connsiteY7" fmla="*/ 90718 h 9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826" h="90717">
                    <a:moveTo>
                      <a:pt x="55861" y="90718"/>
                    </a:moveTo>
                    <a:cubicBezTo>
                      <a:pt x="53556" y="90718"/>
                      <a:pt x="51303" y="89576"/>
                      <a:pt x="49972" y="87490"/>
                    </a:cubicBezTo>
                    <a:lnTo>
                      <a:pt x="1091" y="10717"/>
                    </a:lnTo>
                    <a:cubicBezTo>
                      <a:pt x="-977" y="7470"/>
                      <a:pt x="-18" y="3160"/>
                      <a:pt x="3229" y="1089"/>
                    </a:cubicBezTo>
                    <a:cubicBezTo>
                      <a:pt x="6477" y="-975"/>
                      <a:pt x="10787" y="-19"/>
                      <a:pt x="12858" y="3228"/>
                    </a:cubicBezTo>
                    <a:lnTo>
                      <a:pt x="61736" y="80000"/>
                    </a:lnTo>
                    <a:cubicBezTo>
                      <a:pt x="63803" y="83248"/>
                      <a:pt x="62845" y="87558"/>
                      <a:pt x="59597" y="89629"/>
                    </a:cubicBezTo>
                    <a:cubicBezTo>
                      <a:pt x="58437" y="90365"/>
                      <a:pt x="57139" y="90718"/>
                      <a:pt x="55861" y="90718"/>
                    </a:cubicBezTo>
                    <a:close/>
                  </a:path>
                </a:pathLst>
              </a:custGeom>
              <a:grpFill/>
              <a:ln w="326" cap="flat">
                <a:noFill/>
                <a:prstDash val="solid"/>
                <a:miter/>
              </a:ln>
            </p:spPr>
            <p:txBody>
              <a:bodyPr rtlCol="0" anchor="ctr"/>
              <a:lstStyle/>
              <a:p>
                <a:endParaRPr lang="en-GB" dirty="0"/>
              </a:p>
            </p:txBody>
          </p:sp>
          <p:sp>
            <p:nvSpPr>
              <p:cNvPr id="174" name="Freihandform: Form 699">
                <a:extLst>
                  <a:ext uri="{FF2B5EF4-FFF2-40B4-BE49-F238E27FC236}">
                    <a16:creationId xmlns:a16="http://schemas.microsoft.com/office/drawing/2014/main" id="{D878F9A9-3EC8-4C1B-9219-C4C06C61780F}"/>
                  </a:ext>
                </a:extLst>
              </p:cNvPr>
              <p:cNvSpPr/>
              <p:nvPr/>
            </p:nvSpPr>
            <p:spPr>
              <a:xfrm>
                <a:off x="5215211" y="2806544"/>
                <a:ext cx="407301" cy="140864"/>
              </a:xfrm>
              <a:custGeom>
                <a:avLst/>
                <a:gdLst>
                  <a:gd name="connsiteX0" fmla="*/ 400328 w 407301"/>
                  <a:gd name="connsiteY0" fmla="*/ 140864 h 140864"/>
                  <a:gd name="connsiteX1" fmla="*/ 400315 w 407301"/>
                  <a:gd name="connsiteY1" fmla="*/ 140864 h 140864"/>
                  <a:gd name="connsiteX2" fmla="*/ 24807 w 407301"/>
                  <a:gd name="connsiteY2" fmla="*/ 140212 h 140864"/>
                  <a:gd name="connsiteX3" fmla="*/ 23372 w 407301"/>
                  <a:gd name="connsiteY3" fmla="*/ 140059 h 140864"/>
                  <a:gd name="connsiteX4" fmla="*/ 2489 w 407301"/>
                  <a:gd name="connsiteY4" fmla="*/ 122455 h 140864"/>
                  <a:gd name="connsiteX5" fmla="*/ 3500 w 407301"/>
                  <a:gd name="connsiteY5" fmla="*/ 97464 h 140864"/>
                  <a:gd name="connsiteX6" fmla="*/ 47005 w 407301"/>
                  <a:gd name="connsiteY6" fmla="*/ 24177 h 140864"/>
                  <a:gd name="connsiteX7" fmla="*/ 101168 w 407301"/>
                  <a:gd name="connsiteY7" fmla="*/ 0 h 140864"/>
                  <a:gd name="connsiteX8" fmla="*/ 145365 w 407301"/>
                  <a:gd name="connsiteY8" fmla="*/ 0 h 140864"/>
                  <a:gd name="connsiteX9" fmla="*/ 196529 w 407301"/>
                  <a:gd name="connsiteY9" fmla="*/ 57476 h 140864"/>
                  <a:gd name="connsiteX10" fmla="*/ 196555 w 407301"/>
                  <a:gd name="connsiteY10" fmla="*/ 105709 h 140864"/>
                  <a:gd name="connsiteX11" fmla="*/ 189587 w 407301"/>
                  <a:gd name="connsiteY11" fmla="*/ 112684 h 140864"/>
                  <a:gd name="connsiteX12" fmla="*/ 189584 w 407301"/>
                  <a:gd name="connsiteY12" fmla="*/ 112684 h 140864"/>
                  <a:gd name="connsiteX13" fmla="*/ 182613 w 407301"/>
                  <a:gd name="connsiteY13" fmla="*/ 105716 h 140864"/>
                  <a:gd name="connsiteX14" fmla="*/ 182587 w 407301"/>
                  <a:gd name="connsiteY14" fmla="*/ 57483 h 140864"/>
                  <a:gd name="connsiteX15" fmla="*/ 145368 w 407301"/>
                  <a:gd name="connsiteY15" fmla="*/ 13942 h 140864"/>
                  <a:gd name="connsiteX16" fmla="*/ 101168 w 407301"/>
                  <a:gd name="connsiteY16" fmla="*/ 13942 h 140864"/>
                  <a:gd name="connsiteX17" fmla="*/ 58857 w 407301"/>
                  <a:gd name="connsiteY17" fmla="*/ 31513 h 140864"/>
                  <a:gd name="connsiteX18" fmla="*/ 15391 w 407301"/>
                  <a:gd name="connsiteY18" fmla="*/ 104741 h 140864"/>
                  <a:gd name="connsiteX19" fmla="*/ 15339 w 407301"/>
                  <a:gd name="connsiteY19" fmla="*/ 117033 h 140864"/>
                  <a:gd name="connsiteX20" fmla="*/ 25625 w 407301"/>
                  <a:gd name="connsiteY20" fmla="*/ 126264 h 140864"/>
                  <a:gd name="connsiteX21" fmla="*/ 400344 w 407301"/>
                  <a:gd name="connsiteY21" fmla="*/ 126916 h 140864"/>
                  <a:gd name="connsiteX22" fmla="*/ 407302 w 407301"/>
                  <a:gd name="connsiteY22" fmla="*/ 133900 h 140864"/>
                  <a:gd name="connsiteX23" fmla="*/ 400328 w 407301"/>
                  <a:gd name="connsiteY23" fmla="*/ 140864 h 140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07301" h="140864">
                    <a:moveTo>
                      <a:pt x="400328" y="140864"/>
                    </a:moveTo>
                    <a:cubicBezTo>
                      <a:pt x="400324" y="140864"/>
                      <a:pt x="400321" y="140864"/>
                      <a:pt x="400315" y="140864"/>
                    </a:cubicBezTo>
                    <a:lnTo>
                      <a:pt x="24807" y="140212"/>
                    </a:lnTo>
                    <a:cubicBezTo>
                      <a:pt x="24328" y="140212"/>
                      <a:pt x="23848" y="140160"/>
                      <a:pt x="23372" y="140059"/>
                    </a:cubicBezTo>
                    <a:cubicBezTo>
                      <a:pt x="13976" y="138067"/>
                      <a:pt x="6366" y="131650"/>
                      <a:pt x="2489" y="122455"/>
                    </a:cubicBezTo>
                    <a:cubicBezTo>
                      <a:pt x="-1160" y="113802"/>
                      <a:pt x="-775" y="104223"/>
                      <a:pt x="3500" y="97464"/>
                    </a:cubicBezTo>
                    <a:lnTo>
                      <a:pt x="47005" y="24177"/>
                    </a:lnTo>
                    <a:cubicBezTo>
                      <a:pt x="61869" y="1158"/>
                      <a:pt x="77266" y="0"/>
                      <a:pt x="101168" y="0"/>
                    </a:cubicBezTo>
                    <a:lnTo>
                      <a:pt x="145365" y="0"/>
                    </a:lnTo>
                    <a:cubicBezTo>
                      <a:pt x="166610" y="0"/>
                      <a:pt x="196529" y="17835"/>
                      <a:pt x="196529" y="57476"/>
                    </a:cubicBezTo>
                    <a:lnTo>
                      <a:pt x="196555" y="105709"/>
                    </a:lnTo>
                    <a:cubicBezTo>
                      <a:pt x="196555" y="109560"/>
                      <a:pt x="193438" y="112684"/>
                      <a:pt x="189587" y="112684"/>
                    </a:cubicBezTo>
                    <a:lnTo>
                      <a:pt x="189584" y="112684"/>
                    </a:lnTo>
                    <a:cubicBezTo>
                      <a:pt x="185733" y="112684"/>
                      <a:pt x="182613" y="109567"/>
                      <a:pt x="182613" y="105716"/>
                    </a:cubicBezTo>
                    <a:lnTo>
                      <a:pt x="182587" y="57483"/>
                    </a:lnTo>
                    <a:cubicBezTo>
                      <a:pt x="182587" y="24581"/>
                      <a:pt x="157510" y="13942"/>
                      <a:pt x="145368" y="13942"/>
                    </a:cubicBezTo>
                    <a:lnTo>
                      <a:pt x="101168" y="13942"/>
                    </a:lnTo>
                    <a:cubicBezTo>
                      <a:pt x="78234" y="13942"/>
                      <a:pt x="69284" y="15383"/>
                      <a:pt x="58857" y="31513"/>
                    </a:cubicBezTo>
                    <a:lnTo>
                      <a:pt x="15391" y="104741"/>
                    </a:lnTo>
                    <a:cubicBezTo>
                      <a:pt x="13473" y="107783"/>
                      <a:pt x="13493" y="112654"/>
                      <a:pt x="15339" y="117033"/>
                    </a:cubicBezTo>
                    <a:cubicBezTo>
                      <a:pt x="16519" y="119837"/>
                      <a:pt x="19408" y="124676"/>
                      <a:pt x="25625" y="126264"/>
                    </a:cubicBezTo>
                    <a:lnTo>
                      <a:pt x="400344" y="126916"/>
                    </a:lnTo>
                    <a:cubicBezTo>
                      <a:pt x="404195" y="126922"/>
                      <a:pt x="407309" y="130049"/>
                      <a:pt x="407302" y="133900"/>
                    </a:cubicBezTo>
                    <a:cubicBezTo>
                      <a:pt x="407295" y="137750"/>
                      <a:pt x="404172" y="140864"/>
                      <a:pt x="400328" y="140864"/>
                    </a:cubicBezTo>
                    <a:close/>
                  </a:path>
                </a:pathLst>
              </a:custGeom>
              <a:grpFill/>
              <a:ln w="326" cap="flat">
                <a:noFill/>
                <a:prstDash val="solid"/>
                <a:miter/>
              </a:ln>
            </p:spPr>
            <p:txBody>
              <a:bodyPr rtlCol="0" anchor="ctr"/>
              <a:lstStyle/>
              <a:p>
                <a:endParaRPr lang="en-GB" dirty="0"/>
              </a:p>
            </p:txBody>
          </p:sp>
          <p:sp>
            <p:nvSpPr>
              <p:cNvPr id="175" name="Freihandform: Form 700">
                <a:extLst>
                  <a:ext uri="{FF2B5EF4-FFF2-40B4-BE49-F238E27FC236}">
                    <a16:creationId xmlns:a16="http://schemas.microsoft.com/office/drawing/2014/main" id="{9D115E5E-821F-4F92-AC50-75262AA6176A}"/>
                  </a:ext>
                </a:extLst>
              </p:cNvPr>
              <p:cNvSpPr/>
              <p:nvPr/>
            </p:nvSpPr>
            <p:spPr>
              <a:xfrm>
                <a:off x="5290468" y="2692905"/>
                <a:ext cx="89703" cy="102331"/>
              </a:xfrm>
              <a:custGeom>
                <a:avLst/>
                <a:gdLst>
                  <a:gd name="connsiteX0" fmla="*/ 44852 w 89703"/>
                  <a:gd name="connsiteY0" fmla="*/ 102331 h 102331"/>
                  <a:gd name="connsiteX1" fmla="*/ 0 w 89703"/>
                  <a:gd name="connsiteY1" fmla="*/ 51164 h 102331"/>
                  <a:gd name="connsiteX2" fmla="*/ 44852 w 89703"/>
                  <a:gd name="connsiteY2" fmla="*/ 0 h 102331"/>
                  <a:gd name="connsiteX3" fmla="*/ 89703 w 89703"/>
                  <a:gd name="connsiteY3" fmla="*/ 51164 h 102331"/>
                  <a:gd name="connsiteX4" fmla="*/ 44852 w 89703"/>
                  <a:gd name="connsiteY4" fmla="*/ 102331 h 102331"/>
                  <a:gd name="connsiteX5" fmla="*/ 44852 w 89703"/>
                  <a:gd name="connsiteY5" fmla="*/ 13942 h 102331"/>
                  <a:gd name="connsiteX6" fmla="*/ 13942 w 89703"/>
                  <a:gd name="connsiteY6" fmla="*/ 51161 h 102331"/>
                  <a:gd name="connsiteX7" fmla="*/ 44852 w 89703"/>
                  <a:gd name="connsiteY7" fmla="*/ 88386 h 102331"/>
                  <a:gd name="connsiteX8" fmla="*/ 75761 w 89703"/>
                  <a:gd name="connsiteY8" fmla="*/ 51161 h 102331"/>
                  <a:gd name="connsiteX9" fmla="*/ 44852 w 89703"/>
                  <a:gd name="connsiteY9" fmla="*/ 13942 h 102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03" h="102331">
                    <a:moveTo>
                      <a:pt x="44852" y="102331"/>
                    </a:moveTo>
                    <a:cubicBezTo>
                      <a:pt x="18442" y="102331"/>
                      <a:pt x="0" y="81291"/>
                      <a:pt x="0" y="51164"/>
                    </a:cubicBezTo>
                    <a:cubicBezTo>
                      <a:pt x="0" y="21040"/>
                      <a:pt x="18445" y="0"/>
                      <a:pt x="44852" y="0"/>
                    </a:cubicBezTo>
                    <a:cubicBezTo>
                      <a:pt x="71262" y="0"/>
                      <a:pt x="89703" y="21040"/>
                      <a:pt x="89703" y="51164"/>
                    </a:cubicBezTo>
                    <a:cubicBezTo>
                      <a:pt x="89703" y="81288"/>
                      <a:pt x="71259" y="102331"/>
                      <a:pt x="44852" y="102331"/>
                    </a:cubicBezTo>
                    <a:close/>
                    <a:moveTo>
                      <a:pt x="44852" y="13942"/>
                    </a:moveTo>
                    <a:cubicBezTo>
                      <a:pt x="22038" y="13942"/>
                      <a:pt x="13942" y="33991"/>
                      <a:pt x="13942" y="51161"/>
                    </a:cubicBezTo>
                    <a:cubicBezTo>
                      <a:pt x="13942" y="68331"/>
                      <a:pt x="22038" y="88386"/>
                      <a:pt x="44852" y="88386"/>
                    </a:cubicBezTo>
                    <a:cubicBezTo>
                      <a:pt x="67666" y="88386"/>
                      <a:pt x="75761" y="68334"/>
                      <a:pt x="75761" y="51161"/>
                    </a:cubicBezTo>
                    <a:cubicBezTo>
                      <a:pt x="75761" y="33994"/>
                      <a:pt x="67666" y="13942"/>
                      <a:pt x="44852" y="13942"/>
                    </a:cubicBezTo>
                    <a:close/>
                  </a:path>
                </a:pathLst>
              </a:custGeom>
              <a:grpFill/>
              <a:ln w="326" cap="flat">
                <a:noFill/>
                <a:prstDash val="solid"/>
                <a:miter/>
              </a:ln>
            </p:spPr>
            <p:txBody>
              <a:bodyPr rtlCol="0" anchor="ctr"/>
              <a:lstStyle/>
              <a:p>
                <a:endParaRPr lang="en-GB" dirty="0"/>
              </a:p>
            </p:txBody>
          </p:sp>
          <p:sp>
            <p:nvSpPr>
              <p:cNvPr id="176" name="Freihandform: Form 701">
                <a:extLst>
                  <a:ext uri="{FF2B5EF4-FFF2-40B4-BE49-F238E27FC236}">
                    <a16:creationId xmlns:a16="http://schemas.microsoft.com/office/drawing/2014/main" id="{B6CC7270-4FFE-45ED-926C-A1F2A648C586}"/>
                  </a:ext>
                </a:extLst>
              </p:cNvPr>
              <p:cNvSpPr/>
              <p:nvPr/>
            </p:nvSpPr>
            <p:spPr>
              <a:xfrm>
                <a:off x="5370312" y="2812857"/>
                <a:ext cx="277089" cy="133896"/>
              </a:xfrm>
              <a:custGeom>
                <a:avLst/>
                <a:gdLst>
                  <a:gd name="connsiteX0" fmla="*/ 239785 w 277089"/>
                  <a:gd name="connsiteY0" fmla="*/ 133897 h 133896"/>
                  <a:gd name="connsiteX1" fmla="*/ 6971 w 277089"/>
                  <a:gd name="connsiteY1" fmla="*/ 133897 h 133896"/>
                  <a:gd name="connsiteX2" fmla="*/ 0 w 277089"/>
                  <a:gd name="connsiteY2" fmla="*/ 126926 h 133896"/>
                  <a:gd name="connsiteX3" fmla="*/ 0 w 277089"/>
                  <a:gd name="connsiteY3" fmla="*/ 101670 h 133896"/>
                  <a:gd name="connsiteX4" fmla="*/ 6968 w 277089"/>
                  <a:gd name="connsiteY4" fmla="*/ 94699 h 133896"/>
                  <a:gd name="connsiteX5" fmla="*/ 70274 w 277089"/>
                  <a:gd name="connsiteY5" fmla="*/ 94669 h 133896"/>
                  <a:gd name="connsiteX6" fmla="*/ 97796 w 277089"/>
                  <a:gd name="connsiteY6" fmla="*/ 4927 h 133896"/>
                  <a:gd name="connsiteX7" fmla="*/ 104461 w 277089"/>
                  <a:gd name="connsiteY7" fmla="*/ 0 h 133896"/>
                  <a:gd name="connsiteX8" fmla="*/ 270118 w 277089"/>
                  <a:gd name="connsiteY8" fmla="*/ 0 h 133896"/>
                  <a:gd name="connsiteX9" fmla="*/ 275749 w 277089"/>
                  <a:gd name="connsiteY9" fmla="*/ 2863 h 133896"/>
                  <a:gd name="connsiteX10" fmla="*/ 276756 w 277089"/>
                  <a:gd name="connsiteY10" fmla="*/ 9100 h 133896"/>
                  <a:gd name="connsiteX11" fmla="*/ 246759 w 277089"/>
                  <a:gd name="connsiteY11" fmla="*/ 102726 h 133896"/>
                  <a:gd name="connsiteX12" fmla="*/ 246759 w 277089"/>
                  <a:gd name="connsiteY12" fmla="*/ 126926 h 133896"/>
                  <a:gd name="connsiteX13" fmla="*/ 239785 w 277089"/>
                  <a:gd name="connsiteY13" fmla="*/ 133897 h 133896"/>
                  <a:gd name="connsiteX14" fmla="*/ 13942 w 277089"/>
                  <a:gd name="connsiteY14" fmla="*/ 119955 h 133896"/>
                  <a:gd name="connsiteX15" fmla="*/ 232814 w 277089"/>
                  <a:gd name="connsiteY15" fmla="*/ 119955 h 133896"/>
                  <a:gd name="connsiteX16" fmla="*/ 232814 w 277089"/>
                  <a:gd name="connsiteY16" fmla="*/ 101673 h 133896"/>
                  <a:gd name="connsiteX17" fmla="*/ 233147 w 277089"/>
                  <a:gd name="connsiteY17" fmla="*/ 99511 h 133896"/>
                  <a:gd name="connsiteX18" fmla="*/ 260561 w 277089"/>
                  <a:gd name="connsiteY18" fmla="*/ 13945 h 133896"/>
                  <a:gd name="connsiteX19" fmla="*/ 109612 w 277089"/>
                  <a:gd name="connsiteY19" fmla="*/ 13945 h 133896"/>
                  <a:gd name="connsiteX20" fmla="*/ 82090 w 277089"/>
                  <a:gd name="connsiteY20" fmla="*/ 103685 h 133896"/>
                  <a:gd name="connsiteX21" fmla="*/ 75429 w 277089"/>
                  <a:gd name="connsiteY21" fmla="*/ 108611 h 133896"/>
                  <a:gd name="connsiteX22" fmla="*/ 13942 w 277089"/>
                  <a:gd name="connsiteY22" fmla="*/ 108641 h 133896"/>
                  <a:gd name="connsiteX23" fmla="*/ 13942 w 277089"/>
                  <a:gd name="connsiteY23" fmla="*/ 119955 h 133896"/>
                  <a:gd name="connsiteX24" fmla="*/ 75426 w 277089"/>
                  <a:gd name="connsiteY24" fmla="*/ 101637 h 133896"/>
                  <a:gd name="connsiteX25" fmla="*/ 75494 w 277089"/>
                  <a:gd name="connsiteY25" fmla="*/ 101637 h 133896"/>
                  <a:gd name="connsiteX26" fmla="*/ 75426 w 277089"/>
                  <a:gd name="connsiteY26" fmla="*/ 101637 h 133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77089" h="133896">
                    <a:moveTo>
                      <a:pt x="239785" y="133897"/>
                    </a:moveTo>
                    <a:lnTo>
                      <a:pt x="6971" y="133897"/>
                    </a:lnTo>
                    <a:cubicBezTo>
                      <a:pt x="3120" y="133897"/>
                      <a:pt x="0" y="130776"/>
                      <a:pt x="0" y="126926"/>
                    </a:cubicBezTo>
                    <a:lnTo>
                      <a:pt x="0" y="101670"/>
                    </a:lnTo>
                    <a:cubicBezTo>
                      <a:pt x="0" y="97819"/>
                      <a:pt x="3117" y="94702"/>
                      <a:pt x="6968" y="94699"/>
                    </a:cubicBezTo>
                    <a:lnTo>
                      <a:pt x="70274" y="94669"/>
                    </a:lnTo>
                    <a:lnTo>
                      <a:pt x="97796" y="4927"/>
                    </a:lnTo>
                    <a:cubicBezTo>
                      <a:pt x="98696" y="1999"/>
                      <a:pt x="101399" y="0"/>
                      <a:pt x="104461" y="0"/>
                    </a:cubicBezTo>
                    <a:lnTo>
                      <a:pt x="270118" y="0"/>
                    </a:lnTo>
                    <a:cubicBezTo>
                      <a:pt x="272345" y="0"/>
                      <a:pt x="274438" y="1063"/>
                      <a:pt x="275749" y="2863"/>
                    </a:cubicBezTo>
                    <a:cubicBezTo>
                      <a:pt x="277063" y="4659"/>
                      <a:pt x="277438" y="6977"/>
                      <a:pt x="276756" y="9100"/>
                    </a:cubicBezTo>
                    <a:lnTo>
                      <a:pt x="246759" y="102726"/>
                    </a:lnTo>
                    <a:lnTo>
                      <a:pt x="246759" y="126926"/>
                    </a:lnTo>
                    <a:cubicBezTo>
                      <a:pt x="246756" y="130776"/>
                      <a:pt x="243636" y="133897"/>
                      <a:pt x="239785" y="133897"/>
                    </a:cubicBezTo>
                    <a:close/>
                    <a:moveTo>
                      <a:pt x="13942" y="119955"/>
                    </a:moveTo>
                    <a:lnTo>
                      <a:pt x="232814" y="119955"/>
                    </a:lnTo>
                    <a:lnTo>
                      <a:pt x="232814" y="101673"/>
                    </a:lnTo>
                    <a:cubicBezTo>
                      <a:pt x="232814" y="100952"/>
                      <a:pt x="232925" y="100199"/>
                      <a:pt x="233147" y="99511"/>
                    </a:cubicBezTo>
                    <a:lnTo>
                      <a:pt x="260561" y="13945"/>
                    </a:lnTo>
                    <a:lnTo>
                      <a:pt x="109612" y="13945"/>
                    </a:lnTo>
                    <a:lnTo>
                      <a:pt x="82090" y="103685"/>
                    </a:lnTo>
                    <a:cubicBezTo>
                      <a:pt x="81190" y="106609"/>
                      <a:pt x="78487" y="108611"/>
                      <a:pt x="75429" y="108611"/>
                    </a:cubicBezTo>
                    <a:lnTo>
                      <a:pt x="13942" y="108641"/>
                    </a:lnTo>
                    <a:lnTo>
                      <a:pt x="13942" y="119955"/>
                    </a:lnTo>
                    <a:close/>
                    <a:moveTo>
                      <a:pt x="75426" y="101637"/>
                    </a:moveTo>
                    <a:lnTo>
                      <a:pt x="75494" y="101637"/>
                    </a:lnTo>
                    <a:lnTo>
                      <a:pt x="75426" y="101637"/>
                    </a:lnTo>
                    <a:close/>
                  </a:path>
                </a:pathLst>
              </a:custGeom>
              <a:grpFill/>
              <a:ln w="326" cap="flat">
                <a:noFill/>
                <a:prstDash val="solid"/>
                <a:miter/>
              </a:ln>
            </p:spPr>
            <p:txBody>
              <a:bodyPr rtlCol="0" anchor="ctr"/>
              <a:lstStyle/>
              <a:p>
                <a:endParaRPr lang="en-GB" dirty="0"/>
              </a:p>
            </p:txBody>
          </p:sp>
        </p:grpSp>
        <p:grpSp>
          <p:nvGrpSpPr>
            <p:cNvPr id="160" name="Graphic 5">
              <a:extLst>
                <a:ext uri="{FF2B5EF4-FFF2-40B4-BE49-F238E27FC236}">
                  <a16:creationId xmlns:a16="http://schemas.microsoft.com/office/drawing/2014/main" id="{AACEDFF6-12D4-4902-B8E2-DBD089A45F83}"/>
                </a:ext>
              </a:extLst>
            </p:cNvPr>
            <p:cNvGrpSpPr/>
            <p:nvPr/>
          </p:nvGrpSpPr>
          <p:grpSpPr>
            <a:xfrm>
              <a:off x="664028" y="2407317"/>
              <a:ext cx="373586" cy="242079"/>
              <a:chOff x="5335786" y="2522185"/>
              <a:chExt cx="396727" cy="257075"/>
            </a:xfrm>
            <a:solidFill>
              <a:schemeClr val="accent1"/>
            </a:solidFill>
          </p:grpSpPr>
          <p:sp>
            <p:nvSpPr>
              <p:cNvPr id="161" name="Freihandform: Form 703">
                <a:extLst>
                  <a:ext uri="{FF2B5EF4-FFF2-40B4-BE49-F238E27FC236}">
                    <a16:creationId xmlns:a16="http://schemas.microsoft.com/office/drawing/2014/main" id="{8614C40E-8F4F-48C3-B977-7F17CCF31929}"/>
                  </a:ext>
                </a:extLst>
              </p:cNvPr>
              <p:cNvSpPr/>
              <p:nvPr/>
            </p:nvSpPr>
            <p:spPr>
              <a:xfrm>
                <a:off x="5335786" y="2522230"/>
                <a:ext cx="396727" cy="172569"/>
              </a:xfrm>
              <a:custGeom>
                <a:avLst/>
                <a:gdLst>
                  <a:gd name="connsiteX0" fmla="*/ 78589 w 396727"/>
                  <a:gd name="connsiteY0" fmla="*/ 172570 h 172569"/>
                  <a:gd name="connsiteX1" fmla="*/ 73659 w 396727"/>
                  <a:gd name="connsiteY1" fmla="*/ 170529 h 172569"/>
                  <a:gd name="connsiteX2" fmla="*/ 2042 w 396727"/>
                  <a:gd name="connsiteY2" fmla="*/ 98911 h 172569"/>
                  <a:gd name="connsiteX3" fmla="*/ 1722 w 396727"/>
                  <a:gd name="connsiteY3" fmla="*/ 89397 h 172569"/>
                  <a:gd name="connsiteX4" fmla="*/ 198390 w 396727"/>
                  <a:gd name="connsiteY4" fmla="*/ 0 h 172569"/>
                  <a:gd name="connsiteX5" fmla="*/ 395006 w 396727"/>
                  <a:gd name="connsiteY5" fmla="*/ 89342 h 172569"/>
                  <a:gd name="connsiteX6" fmla="*/ 394687 w 396727"/>
                  <a:gd name="connsiteY6" fmla="*/ 98859 h 172569"/>
                  <a:gd name="connsiteX7" fmla="*/ 323073 w 396727"/>
                  <a:gd name="connsiteY7" fmla="*/ 170473 h 172569"/>
                  <a:gd name="connsiteX8" fmla="*/ 317755 w 396727"/>
                  <a:gd name="connsiteY8" fmla="*/ 172504 h 172569"/>
                  <a:gd name="connsiteX9" fmla="*/ 312698 w 396727"/>
                  <a:gd name="connsiteY9" fmla="*/ 169893 h 172569"/>
                  <a:gd name="connsiteX10" fmla="*/ 279222 w 396727"/>
                  <a:gd name="connsiteY10" fmla="*/ 139201 h 172569"/>
                  <a:gd name="connsiteX11" fmla="*/ 277279 w 396727"/>
                  <a:gd name="connsiteY11" fmla="*/ 129537 h 172569"/>
                  <a:gd name="connsiteX12" fmla="*/ 286943 w 396727"/>
                  <a:gd name="connsiteY12" fmla="*/ 127594 h 172569"/>
                  <a:gd name="connsiteX13" fmla="*/ 318593 w 396727"/>
                  <a:gd name="connsiteY13" fmla="*/ 155233 h 172569"/>
                  <a:gd name="connsiteX14" fmla="*/ 380158 w 396727"/>
                  <a:gd name="connsiteY14" fmla="*/ 93672 h 172569"/>
                  <a:gd name="connsiteX15" fmla="*/ 198390 w 396727"/>
                  <a:gd name="connsiteY15" fmla="*/ 13945 h 172569"/>
                  <a:gd name="connsiteX16" fmla="*/ 16571 w 396727"/>
                  <a:gd name="connsiteY16" fmla="*/ 93724 h 172569"/>
                  <a:gd name="connsiteX17" fmla="*/ 78136 w 396727"/>
                  <a:gd name="connsiteY17" fmla="*/ 155289 h 172569"/>
                  <a:gd name="connsiteX18" fmla="*/ 198387 w 396727"/>
                  <a:gd name="connsiteY18" fmla="*/ 100907 h 172569"/>
                  <a:gd name="connsiteX19" fmla="*/ 225391 w 396727"/>
                  <a:gd name="connsiteY19" fmla="*/ 103173 h 172569"/>
                  <a:gd name="connsiteX20" fmla="*/ 231097 w 396727"/>
                  <a:gd name="connsiteY20" fmla="*/ 111213 h 172569"/>
                  <a:gd name="connsiteX21" fmla="*/ 223056 w 396727"/>
                  <a:gd name="connsiteY21" fmla="*/ 116919 h 172569"/>
                  <a:gd name="connsiteX22" fmla="*/ 198387 w 396727"/>
                  <a:gd name="connsiteY22" fmla="*/ 114849 h 172569"/>
                  <a:gd name="connsiteX23" fmla="*/ 84037 w 396727"/>
                  <a:gd name="connsiteY23" fmla="*/ 169951 h 172569"/>
                  <a:gd name="connsiteX24" fmla="*/ 78980 w 396727"/>
                  <a:gd name="connsiteY24" fmla="*/ 172566 h 172569"/>
                  <a:gd name="connsiteX25" fmla="*/ 78589 w 396727"/>
                  <a:gd name="connsiteY25" fmla="*/ 172570 h 172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6727" h="172569">
                    <a:moveTo>
                      <a:pt x="78589" y="172570"/>
                    </a:moveTo>
                    <a:cubicBezTo>
                      <a:pt x="76744" y="172570"/>
                      <a:pt x="74970" y="171839"/>
                      <a:pt x="73659" y="170529"/>
                    </a:cubicBezTo>
                    <a:lnTo>
                      <a:pt x="2042" y="98911"/>
                    </a:lnTo>
                    <a:cubicBezTo>
                      <a:pt x="-554" y="96316"/>
                      <a:pt x="-691" y="92159"/>
                      <a:pt x="1722" y="89397"/>
                    </a:cubicBezTo>
                    <a:cubicBezTo>
                      <a:pt x="51344" y="32582"/>
                      <a:pt x="123027" y="0"/>
                      <a:pt x="198390" y="0"/>
                    </a:cubicBezTo>
                    <a:cubicBezTo>
                      <a:pt x="273715" y="0"/>
                      <a:pt x="345378" y="32563"/>
                      <a:pt x="395006" y="89342"/>
                    </a:cubicBezTo>
                    <a:cubicBezTo>
                      <a:pt x="397419" y="92106"/>
                      <a:pt x="397279" y="96267"/>
                      <a:pt x="394687" y="98859"/>
                    </a:cubicBezTo>
                    <a:lnTo>
                      <a:pt x="323073" y="170473"/>
                    </a:lnTo>
                    <a:cubicBezTo>
                      <a:pt x="321671" y="171875"/>
                      <a:pt x="319766" y="172632"/>
                      <a:pt x="317755" y="172504"/>
                    </a:cubicBezTo>
                    <a:cubicBezTo>
                      <a:pt x="315772" y="172394"/>
                      <a:pt x="313933" y="171441"/>
                      <a:pt x="312698" y="169893"/>
                    </a:cubicBezTo>
                    <a:cubicBezTo>
                      <a:pt x="303177" y="157969"/>
                      <a:pt x="291915" y="147643"/>
                      <a:pt x="279222" y="139201"/>
                    </a:cubicBezTo>
                    <a:cubicBezTo>
                      <a:pt x="276017" y="137069"/>
                      <a:pt x="275143" y="132742"/>
                      <a:pt x="277279" y="129537"/>
                    </a:cubicBezTo>
                    <a:cubicBezTo>
                      <a:pt x="279414" y="126339"/>
                      <a:pt x="283738" y="125468"/>
                      <a:pt x="286943" y="127594"/>
                    </a:cubicBezTo>
                    <a:cubicBezTo>
                      <a:pt x="298681" y="135400"/>
                      <a:pt x="309297" y="144676"/>
                      <a:pt x="318593" y="155233"/>
                    </a:cubicBezTo>
                    <a:lnTo>
                      <a:pt x="380158" y="93672"/>
                    </a:lnTo>
                    <a:cubicBezTo>
                      <a:pt x="333392" y="42918"/>
                      <a:pt x="267520" y="13945"/>
                      <a:pt x="198390" y="13945"/>
                    </a:cubicBezTo>
                    <a:cubicBezTo>
                      <a:pt x="129225" y="13945"/>
                      <a:pt x="63333" y="42941"/>
                      <a:pt x="16571" y="93724"/>
                    </a:cubicBezTo>
                    <a:lnTo>
                      <a:pt x="78136" y="155289"/>
                    </a:lnTo>
                    <a:cubicBezTo>
                      <a:pt x="108592" y="120629"/>
                      <a:pt x="151987" y="100907"/>
                      <a:pt x="198387" y="100907"/>
                    </a:cubicBezTo>
                    <a:cubicBezTo>
                      <a:pt x="207445" y="100907"/>
                      <a:pt x="216532" y="101670"/>
                      <a:pt x="225391" y="103173"/>
                    </a:cubicBezTo>
                    <a:cubicBezTo>
                      <a:pt x="229186" y="103815"/>
                      <a:pt x="231739" y="107418"/>
                      <a:pt x="231097" y="111213"/>
                    </a:cubicBezTo>
                    <a:cubicBezTo>
                      <a:pt x="230457" y="115005"/>
                      <a:pt x="226900" y="117571"/>
                      <a:pt x="223056" y="116919"/>
                    </a:cubicBezTo>
                    <a:cubicBezTo>
                      <a:pt x="214964" y="115546"/>
                      <a:pt x="206665" y="114849"/>
                      <a:pt x="198387" y="114849"/>
                    </a:cubicBezTo>
                    <a:cubicBezTo>
                      <a:pt x="153653" y="114849"/>
                      <a:pt x="111973" y="134933"/>
                      <a:pt x="84037" y="169951"/>
                    </a:cubicBezTo>
                    <a:cubicBezTo>
                      <a:pt x="82798" y="171503"/>
                      <a:pt x="80959" y="172452"/>
                      <a:pt x="78980" y="172566"/>
                    </a:cubicBezTo>
                    <a:cubicBezTo>
                      <a:pt x="78850" y="172566"/>
                      <a:pt x="78719" y="172570"/>
                      <a:pt x="78589" y="172570"/>
                    </a:cubicBezTo>
                    <a:close/>
                  </a:path>
                </a:pathLst>
              </a:custGeom>
              <a:solidFill>
                <a:schemeClr val="accent1"/>
              </a:solidFill>
              <a:ln w="326" cap="flat">
                <a:noFill/>
                <a:prstDash val="solid"/>
                <a:miter/>
              </a:ln>
            </p:spPr>
            <p:txBody>
              <a:bodyPr rtlCol="0" anchor="ctr"/>
              <a:lstStyle/>
              <a:p>
                <a:endParaRPr lang="en-GB" dirty="0"/>
              </a:p>
            </p:txBody>
          </p:sp>
          <p:sp>
            <p:nvSpPr>
              <p:cNvPr id="162" name="Freihandform: Form 704">
                <a:extLst>
                  <a:ext uri="{FF2B5EF4-FFF2-40B4-BE49-F238E27FC236}">
                    <a16:creationId xmlns:a16="http://schemas.microsoft.com/office/drawing/2014/main" id="{BA7E70F3-C4C8-41B2-9D90-8E350359B524}"/>
                  </a:ext>
                </a:extLst>
              </p:cNvPr>
              <p:cNvSpPr/>
              <p:nvPr/>
            </p:nvSpPr>
            <p:spPr>
              <a:xfrm>
                <a:off x="5478372" y="2669483"/>
                <a:ext cx="111786" cy="109777"/>
              </a:xfrm>
              <a:custGeom>
                <a:avLst/>
                <a:gdLst>
                  <a:gd name="connsiteX0" fmla="*/ 55892 w 111786"/>
                  <a:gd name="connsiteY0" fmla="*/ 109778 h 109777"/>
                  <a:gd name="connsiteX1" fmla="*/ 0 w 111786"/>
                  <a:gd name="connsiteY1" fmla="*/ 53879 h 109777"/>
                  <a:gd name="connsiteX2" fmla="*/ 40003 w 111786"/>
                  <a:gd name="connsiteY2" fmla="*/ 286 h 109777"/>
                  <a:gd name="connsiteX3" fmla="*/ 48667 w 111786"/>
                  <a:gd name="connsiteY3" fmla="*/ 4994 h 109777"/>
                  <a:gd name="connsiteX4" fmla="*/ 43958 w 111786"/>
                  <a:gd name="connsiteY4" fmla="*/ 13657 h 109777"/>
                  <a:gd name="connsiteX5" fmla="*/ 13942 w 111786"/>
                  <a:gd name="connsiteY5" fmla="*/ 53879 h 109777"/>
                  <a:gd name="connsiteX6" fmla="*/ 55892 w 111786"/>
                  <a:gd name="connsiteY6" fmla="*/ 95836 h 109777"/>
                  <a:gd name="connsiteX7" fmla="*/ 97845 w 111786"/>
                  <a:gd name="connsiteY7" fmla="*/ 53879 h 109777"/>
                  <a:gd name="connsiteX8" fmla="*/ 104816 w 111786"/>
                  <a:gd name="connsiteY8" fmla="*/ 46908 h 109777"/>
                  <a:gd name="connsiteX9" fmla="*/ 111787 w 111786"/>
                  <a:gd name="connsiteY9" fmla="*/ 53879 h 109777"/>
                  <a:gd name="connsiteX10" fmla="*/ 55892 w 111786"/>
                  <a:gd name="connsiteY10" fmla="*/ 109778 h 10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786" h="109777">
                    <a:moveTo>
                      <a:pt x="55892" y="109778"/>
                    </a:moveTo>
                    <a:cubicBezTo>
                      <a:pt x="25073" y="109778"/>
                      <a:pt x="0" y="84704"/>
                      <a:pt x="0" y="53879"/>
                    </a:cubicBezTo>
                    <a:cubicBezTo>
                      <a:pt x="0" y="29295"/>
                      <a:pt x="16449" y="7257"/>
                      <a:pt x="40003" y="286"/>
                    </a:cubicBezTo>
                    <a:cubicBezTo>
                      <a:pt x="43688" y="-800"/>
                      <a:pt x="47574" y="1300"/>
                      <a:pt x="48667" y="4994"/>
                    </a:cubicBezTo>
                    <a:cubicBezTo>
                      <a:pt x="49759" y="8685"/>
                      <a:pt x="47652" y="12565"/>
                      <a:pt x="43958" y="13657"/>
                    </a:cubicBezTo>
                    <a:cubicBezTo>
                      <a:pt x="26283" y="18891"/>
                      <a:pt x="13942" y="35431"/>
                      <a:pt x="13942" y="53879"/>
                    </a:cubicBezTo>
                    <a:cubicBezTo>
                      <a:pt x="13942" y="77013"/>
                      <a:pt x="32758" y="95836"/>
                      <a:pt x="55892" y="95836"/>
                    </a:cubicBezTo>
                    <a:cubicBezTo>
                      <a:pt x="79022" y="95836"/>
                      <a:pt x="97845" y="77016"/>
                      <a:pt x="97845" y="53879"/>
                    </a:cubicBezTo>
                    <a:cubicBezTo>
                      <a:pt x="97845" y="50028"/>
                      <a:pt x="100965" y="46908"/>
                      <a:pt x="104816" y="46908"/>
                    </a:cubicBezTo>
                    <a:cubicBezTo>
                      <a:pt x="108667" y="46908"/>
                      <a:pt x="111787" y="50028"/>
                      <a:pt x="111787" y="53879"/>
                    </a:cubicBezTo>
                    <a:cubicBezTo>
                      <a:pt x="111787" y="84704"/>
                      <a:pt x="86714" y="109778"/>
                      <a:pt x="55892" y="109778"/>
                    </a:cubicBezTo>
                    <a:close/>
                  </a:path>
                </a:pathLst>
              </a:custGeom>
              <a:solidFill>
                <a:schemeClr val="accent1"/>
              </a:solidFill>
              <a:ln w="326" cap="flat">
                <a:noFill/>
                <a:prstDash val="solid"/>
                <a:miter/>
              </a:ln>
            </p:spPr>
            <p:txBody>
              <a:bodyPr rtlCol="0" anchor="ctr"/>
              <a:lstStyle/>
              <a:p>
                <a:endParaRPr lang="en-GB" dirty="0"/>
              </a:p>
            </p:txBody>
          </p:sp>
          <p:sp>
            <p:nvSpPr>
              <p:cNvPr id="163" name="Freihandform: Form 705">
                <a:extLst>
                  <a:ext uri="{FF2B5EF4-FFF2-40B4-BE49-F238E27FC236}">
                    <a16:creationId xmlns:a16="http://schemas.microsoft.com/office/drawing/2014/main" id="{04B0799E-726D-4106-9DCB-E4BD2E974C0B}"/>
                  </a:ext>
                </a:extLst>
              </p:cNvPr>
              <p:cNvSpPr/>
              <p:nvPr/>
            </p:nvSpPr>
            <p:spPr>
              <a:xfrm>
                <a:off x="5511391" y="2618340"/>
                <a:ext cx="95998" cy="127897"/>
              </a:xfrm>
              <a:custGeom>
                <a:avLst/>
                <a:gdLst>
                  <a:gd name="connsiteX0" fmla="*/ 22873 w 95998"/>
                  <a:gd name="connsiteY0" fmla="*/ 127897 h 127897"/>
                  <a:gd name="connsiteX1" fmla="*/ 0 w 95998"/>
                  <a:gd name="connsiteY1" fmla="*/ 105025 h 127897"/>
                  <a:gd name="connsiteX2" fmla="*/ 4343 w 95998"/>
                  <a:gd name="connsiteY2" fmla="*/ 91624 h 127897"/>
                  <a:gd name="connsiteX3" fmla="*/ 77659 w 95998"/>
                  <a:gd name="connsiteY3" fmla="*/ 3802 h 127897"/>
                  <a:gd name="connsiteX4" fmla="*/ 91422 w 95998"/>
                  <a:gd name="connsiteY4" fmla="*/ 1784 h 127897"/>
                  <a:gd name="connsiteX5" fmla="*/ 94686 w 95998"/>
                  <a:gd name="connsiteY5" fmla="*/ 15360 h 127897"/>
                  <a:gd name="connsiteX6" fmla="*/ 41206 w 95998"/>
                  <a:gd name="connsiteY6" fmla="*/ 118699 h 127897"/>
                  <a:gd name="connsiteX7" fmla="*/ 22873 w 95998"/>
                  <a:gd name="connsiteY7" fmla="*/ 127897 h 127897"/>
                  <a:gd name="connsiteX8" fmla="*/ 67861 w 95998"/>
                  <a:gd name="connsiteY8" fmla="*/ 37216 h 127897"/>
                  <a:gd name="connsiteX9" fmla="*/ 15572 w 95998"/>
                  <a:gd name="connsiteY9" fmla="*/ 99889 h 127897"/>
                  <a:gd name="connsiteX10" fmla="*/ 13945 w 95998"/>
                  <a:gd name="connsiteY10" fmla="*/ 105025 h 127897"/>
                  <a:gd name="connsiteX11" fmla="*/ 22876 w 95998"/>
                  <a:gd name="connsiteY11" fmla="*/ 113955 h 127897"/>
                  <a:gd name="connsiteX12" fmla="*/ 30042 w 95998"/>
                  <a:gd name="connsiteY12" fmla="*/ 110356 h 127897"/>
                  <a:gd name="connsiteX13" fmla="*/ 67861 w 95998"/>
                  <a:gd name="connsiteY13" fmla="*/ 37216 h 127897"/>
                  <a:gd name="connsiteX14" fmla="*/ 82384 w 95998"/>
                  <a:gd name="connsiteY14" fmla="*/ 8810 h 127897"/>
                  <a:gd name="connsiteX15" fmla="*/ 82312 w 95998"/>
                  <a:gd name="connsiteY15" fmla="*/ 8953 h 127897"/>
                  <a:gd name="connsiteX16" fmla="*/ 82384 w 95998"/>
                  <a:gd name="connsiteY16" fmla="*/ 8810 h 127897"/>
                  <a:gd name="connsiteX17" fmla="*/ 83036 w 95998"/>
                  <a:gd name="connsiteY17" fmla="*/ 8239 h 127897"/>
                  <a:gd name="connsiteX18" fmla="*/ 83104 w 95998"/>
                  <a:gd name="connsiteY18" fmla="*/ 8239 h 127897"/>
                  <a:gd name="connsiteX19" fmla="*/ 83036 w 95998"/>
                  <a:gd name="connsiteY19" fmla="*/ 8239 h 12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998" h="127897">
                    <a:moveTo>
                      <a:pt x="22873" y="127897"/>
                    </a:moveTo>
                    <a:cubicBezTo>
                      <a:pt x="10261" y="127897"/>
                      <a:pt x="0" y="117636"/>
                      <a:pt x="0" y="105025"/>
                    </a:cubicBezTo>
                    <a:cubicBezTo>
                      <a:pt x="0" y="100173"/>
                      <a:pt x="1500" y="95540"/>
                      <a:pt x="4343" y="91624"/>
                    </a:cubicBezTo>
                    <a:cubicBezTo>
                      <a:pt x="6032" y="89299"/>
                      <a:pt x="60841" y="23874"/>
                      <a:pt x="77659" y="3802"/>
                    </a:cubicBezTo>
                    <a:cubicBezTo>
                      <a:pt x="81057" y="-349"/>
                      <a:pt x="86968" y="-1223"/>
                      <a:pt x="91422" y="1784"/>
                    </a:cubicBezTo>
                    <a:cubicBezTo>
                      <a:pt x="95902" y="4800"/>
                      <a:pt x="97304" y="10639"/>
                      <a:pt x="94686" y="15360"/>
                    </a:cubicBezTo>
                    <a:cubicBezTo>
                      <a:pt x="71415" y="60965"/>
                      <a:pt x="43133" y="116117"/>
                      <a:pt x="41206" y="118699"/>
                    </a:cubicBezTo>
                    <a:cubicBezTo>
                      <a:pt x="36909" y="124457"/>
                      <a:pt x="30052" y="127897"/>
                      <a:pt x="22873" y="127897"/>
                    </a:cubicBezTo>
                    <a:close/>
                    <a:moveTo>
                      <a:pt x="67861" y="37216"/>
                    </a:moveTo>
                    <a:cubicBezTo>
                      <a:pt x="43127" y="66759"/>
                      <a:pt x="17124" y="97874"/>
                      <a:pt x="15572" y="99889"/>
                    </a:cubicBezTo>
                    <a:cubicBezTo>
                      <a:pt x="14526" y="101334"/>
                      <a:pt x="13945" y="103137"/>
                      <a:pt x="13945" y="105025"/>
                    </a:cubicBezTo>
                    <a:cubicBezTo>
                      <a:pt x="13945" y="109948"/>
                      <a:pt x="17952" y="113955"/>
                      <a:pt x="22876" y="113955"/>
                    </a:cubicBezTo>
                    <a:cubicBezTo>
                      <a:pt x="25722" y="113955"/>
                      <a:pt x="28334" y="112645"/>
                      <a:pt x="30042" y="110356"/>
                    </a:cubicBezTo>
                    <a:cubicBezTo>
                      <a:pt x="31718" y="107610"/>
                      <a:pt x="50339" y="71432"/>
                      <a:pt x="67861" y="37216"/>
                    </a:cubicBezTo>
                    <a:close/>
                    <a:moveTo>
                      <a:pt x="82384" y="8810"/>
                    </a:moveTo>
                    <a:cubicBezTo>
                      <a:pt x="82357" y="8856"/>
                      <a:pt x="82331" y="8901"/>
                      <a:pt x="82312" y="8953"/>
                    </a:cubicBezTo>
                    <a:cubicBezTo>
                      <a:pt x="82335" y="8908"/>
                      <a:pt x="82361" y="8859"/>
                      <a:pt x="82384" y="8810"/>
                    </a:cubicBezTo>
                    <a:close/>
                    <a:moveTo>
                      <a:pt x="83036" y="8239"/>
                    </a:moveTo>
                    <a:lnTo>
                      <a:pt x="83104" y="8239"/>
                    </a:lnTo>
                    <a:lnTo>
                      <a:pt x="83036" y="8239"/>
                    </a:lnTo>
                    <a:close/>
                  </a:path>
                </a:pathLst>
              </a:custGeom>
              <a:solidFill>
                <a:schemeClr val="accent1"/>
              </a:solidFill>
              <a:ln w="326" cap="flat">
                <a:noFill/>
                <a:prstDash val="solid"/>
                <a:miter/>
              </a:ln>
            </p:spPr>
            <p:txBody>
              <a:bodyPr rtlCol="0" anchor="ctr"/>
              <a:lstStyle/>
              <a:p>
                <a:endParaRPr lang="en-GB" dirty="0"/>
              </a:p>
            </p:txBody>
          </p:sp>
          <p:grpSp>
            <p:nvGrpSpPr>
              <p:cNvPr id="164" name="Graphic 5">
                <a:extLst>
                  <a:ext uri="{FF2B5EF4-FFF2-40B4-BE49-F238E27FC236}">
                    <a16:creationId xmlns:a16="http://schemas.microsoft.com/office/drawing/2014/main" id="{8A30A08A-A2CE-4A79-AD43-E141F103C1F8}"/>
                  </a:ext>
                </a:extLst>
              </p:cNvPr>
              <p:cNvGrpSpPr/>
              <p:nvPr/>
            </p:nvGrpSpPr>
            <p:grpSpPr>
              <a:xfrm>
                <a:off x="5380172" y="2522185"/>
                <a:ext cx="161121" cy="95738"/>
                <a:chOff x="5380172" y="2522185"/>
                <a:chExt cx="161121" cy="95738"/>
              </a:xfrm>
              <a:solidFill>
                <a:schemeClr val="accent1"/>
              </a:solidFill>
            </p:grpSpPr>
            <p:sp>
              <p:nvSpPr>
                <p:cNvPr id="168" name="Freihandform: Form 707">
                  <a:extLst>
                    <a:ext uri="{FF2B5EF4-FFF2-40B4-BE49-F238E27FC236}">
                      <a16:creationId xmlns:a16="http://schemas.microsoft.com/office/drawing/2014/main" id="{71647F9A-DEA5-4A93-9858-B6AE3E494600}"/>
                    </a:ext>
                  </a:extLst>
                </p:cNvPr>
                <p:cNvSpPr/>
                <p:nvPr/>
              </p:nvSpPr>
              <p:spPr>
                <a:xfrm>
                  <a:off x="5527352" y="2522185"/>
                  <a:ext cx="13941" cy="49259"/>
                </a:xfrm>
                <a:custGeom>
                  <a:avLst/>
                  <a:gdLst>
                    <a:gd name="connsiteX0" fmla="*/ 6971 w 13941"/>
                    <a:gd name="connsiteY0" fmla="*/ 49260 h 49259"/>
                    <a:gd name="connsiteX1" fmla="*/ 0 w 13941"/>
                    <a:gd name="connsiteY1" fmla="*/ 42289 h 49259"/>
                    <a:gd name="connsiteX2" fmla="*/ 0 w 13941"/>
                    <a:gd name="connsiteY2" fmla="*/ 6971 h 49259"/>
                    <a:gd name="connsiteX3" fmla="*/ 6971 w 13941"/>
                    <a:gd name="connsiteY3" fmla="*/ 0 h 49259"/>
                    <a:gd name="connsiteX4" fmla="*/ 13942 w 13941"/>
                    <a:gd name="connsiteY4" fmla="*/ 6971 h 49259"/>
                    <a:gd name="connsiteX5" fmla="*/ 13942 w 13941"/>
                    <a:gd name="connsiteY5" fmla="*/ 42289 h 49259"/>
                    <a:gd name="connsiteX6" fmla="*/ 6971 w 13941"/>
                    <a:gd name="connsiteY6" fmla="*/ 49260 h 49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41" h="49259">
                      <a:moveTo>
                        <a:pt x="6971" y="49260"/>
                      </a:moveTo>
                      <a:cubicBezTo>
                        <a:pt x="3120" y="49260"/>
                        <a:pt x="0" y="46140"/>
                        <a:pt x="0" y="42289"/>
                      </a:cubicBezTo>
                      <a:lnTo>
                        <a:pt x="0" y="6971"/>
                      </a:lnTo>
                      <a:cubicBezTo>
                        <a:pt x="0" y="3120"/>
                        <a:pt x="3120" y="0"/>
                        <a:pt x="6971" y="0"/>
                      </a:cubicBezTo>
                      <a:cubicBezTo>
                        <a:pt x="10822" y="0"/>
                        <a:pt x="13942" y="3120"/>
                        <a:pt x="13942" y="6971"/>
                      </a:cubicBezTo>
                      <a:lnTo>
                        <a:pt x="13942" y="42289"/>
                      </a:lnTo>
                      <a:cubicBezTo>
                        <a:pt x="13942" y="46136"/>
                        <a:pt x="10822" y="49260"/>
                        <a:pt x="6971" y="49260"/>
                      </a:cubicBezTo>
                      <a:close/>
                    </a:path>
                  </a:pathLst>
                </a:custGeom>
                <a:solidFill>
                  <a:schemeClr val="accent1"/>
                </a:solidFill>
                <a:ln w="326" cap="flat">
                  <a:noFill/>
                  <a:prstDash val="solid"/>
                  <a:miter/>
                </a:ln>
              </p:spPr>
              <p:txBody>
                <a:bodyPr rtlCol="0" anchor="ctr"/>
                <a:lstStyle/>
                <a:p>
                  <a:endParaRPr lang="en-GB" dirty="0"/>
                </a:p>
              </p:txBody>
            </p:sp>
            <p:sp>
              <p:nvSpPr>
                <p:cNvPr id="169" name="Freihandform: Form 708">
                  <a:extLst>
                    <a:ext uri="{FF2B5EF4-FFF2-40B4-BE49-F238E27FC236}">
                      <a16:creationId xmlns:a16="http://schemas.microsoft.com/office/drawing/2014/main" id="{D62464E9-FCEE-439E-9194-3B265D34B427}"/>
                    </a:ext>
                  </a:extLst>
                </p:cNvPr>
                <p:cNvSpPr/>
                <p:nvPr/>
              </p:nvSpPr>
              <p:spPr>
                <a:xfrm>
                  <a:off x="5451725" y="2534052"/>
                  <a:ext cx="27812" cy="50036"/>
                </a:xfrm>
                <a:custGeom>
                  <a:avLst/>
                  <a:gdLst>
                    <a:gd name="connsiteX0" fmla="*/ 20837 w 27812"/>
                    <a:gd name="connsiteY0" fmla="*/ 50037 h 50036"/>
                    <a:gd name="connsiteX1" fmla="*/ 14329 w 27812"/>
                    <a:gd name="connsiteY1" fmla="*/ 45563 h 50036"/>
                    <a:gd name="connsiteX2" fmla="*/ 465 w 27812"/>
                    <a:gd name="connsiteY2" fmla="*/ 9476 h 50036"/>
                    <a:gd name="connsiteX3" fmla="*/ 4472 w 27812"/>
                    <a:gd name="connsiteY3" fmla="*/ 464 h 50036"/>
                    <a:gd name="connsiteX4" fmla="*/ 13484 w 27812"/>
                    <a:gd name="connsiteY4" fmla="*/ 4471 h 50036"/>
                    <a:gd name="connsiteX5" fmla="*/ 27348 w 27812"/>
                    <a:gd name="connsiteY5" fmla="*/ 40559 h 50036"/>
                    <a:gd name="connsiteX6" fmla="*/ 23341 w 27812"/>
                    <a:gd name="connsiteY6" fmla="*/ 49571 h 50036"/>
                    <a:gd name="connsiteX7" fmla="*/ 20837 w 27812"/>
                    <a:gd name="connsiteY7" fmla="*/ 50037 h 5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12" h="50036">
                      <a:moveTo>
                        <a:pt x="20837" y="50037"/>
                      </a:moveTo>
                      <a:cubicBezTo>
                        <a:pt x="18036" y="50037"/>
                        <a:pt x="15395" y="48335"/>
                        <a:pt x="14329" y="45563"/>
                      </a:cubicBezTo>
                      <a:lnTo>
                        <a:pt x="465" y="9476"/>
                      </a:lnTo>
                      <a:cubicBezTo>
                        <a:pt x="-914" y="5880"/>
                        <a:pt x="879" y="1846"/>
                        <a:pt x="4472" y="464"/>
                      </a:cubicBezTo>
                      <a:cubicBezTo>
                        <a:pt x="8072" y="-912"/>
                        <a:pt x="12102" y="875"/>
                        <a:pt x="13484" y="4471"/>
                      </a:cubicBezTo>
                      <a:lnTo>
                        <a:pt x="27348" y="40559"/>
                      </a:lnTo>
                      <a:cubicBezTo>
                        <a:pt x="28727" y="44152"/>
                        <a:pt x="26934" y="48188"/>
                        <a:pt x="23341" y="49571"/>
                      </a:cubicBezTo>
                      <a:cubicBezTo>
                        <a:pt x="22516" y="49887"/>
                        <a:pt x="21671" y="50037"/>
                        <a:pt x="20837" y="50037"/>
                      </a:cubicBezTo>
                      <a:close/>
                    </a:path>
                  </a:pathLst>
                </a:custGeom>
                <a:solidFill>
                  <a:schemeClr val="accent1"/>
                </a:solidFill>
                <a:ln w="326" cap="flat">
                  <a:noFill/>
                  <a:prstDash val="solid"/>
                  <a:miter/>
                </a:ln>
              </p:spPr>
              <p:txBody>
                <a:bodyPr rtlCol="0" anchor="ctr"/>
                <a:lstStyle/>
                <a:p>
                  <a:endParaRPr lang="en-GB" dirty="0"/>
                </a:p>
              </p:txBody>
            </p:sp>
            <p:sp>
              <p:nvSpPr>
                <p:cNvPr id="170" name="Freihandform: Form 709">
                  <a:extLst>
                    <a:ext uri="{FF2B5EF4-FFF2-40B4-BE49-F238E27FC236}">
                      <a16:creationId xmlns:a16="http://schemas.microsoft.com/office/drawing/2014/main" id="{2B4ED861-EF50-4B44-9907-45F82A4202E7}"/>
                    </a:ext>
                  </a:extLst>
                </p:cNvPr>
                <p:cNvSpPr/>
                <p:nvPr/>
              </p:nvSpPr>
              <p:spPr>
                <a:xfrm>
                  <a:off x="5380172" y="2569741"/>
                  <a:ext cx="36576" cy="48182"/>
                </a:xfrm>
                <a:custGeom>
                  <a:avLst/>
                  <a:gdLst>
                    <a:gd name="connsiteX0" fmla="*/ 29609 w 36576"/>
                    <a:gd name="connsiteY0" fmla="*/ 48182 h 48182"/>
                    <a:gd name="connsiteX1" fmla="*/ 23785 w 36576"/>
                    <a:gd name="connsiteY1" fmla="*/ 45055 h 48182"/>
                    <a:gd name="connsiteX2" fmla="*/ 1154 w 36576"/>
                    <a:gd name="connsiteY2" fmla="*/ 10810 h 48182"/>
                    <a:gd name="connsiteX3" fmla="*/ 3130 w 36576"/>
                    <a:gd name="connsiteY3" fmla="*/ 1149 h 48182"/>
                    <a:gd name="connsiteX4" fmla="*/ 12791 w 36576"/>
                    <a:gd name="connsiteY4" fmla="*/ 3125 h 48182"/>
                    <a:gd name="connsiteX5" fmla="*/ 35422 w 36576"/>
                    <a:gd name="connsiteY5" fmla="*/ 37370 h 48182"/>
                    <a:gd name="connsiteX6" fmla="*/ 33446 w 36576"/>
                    <a:gd name="connsiteY6" fmla="*/ 47031 h 48182"/>
                    <a:gd name="connsiteX7" fmla="*/ 29609 w 36576"/>
                    <a:gd name="connsiteY7" fmla="*/ 48182 h 48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76" h="48182">
                      <a:moveTo>
                        <a:pt x="29609" y="48182"/>
                      </a:moveTo>
                      <a:cubicBezTo>
                        <a:pt x="27346" y="48182"/>
                        <a:pt x="25126" y="47083"/>
                        <a:pt x="23785" y="45055"/>
                      </a:cubicBezTo>
                      <a:lnTo>
                        <a:pt x="1154" y="10810"/>
                      </a:lnTo>
                      <a:cubicBezTo>
                        <a:pt x="-965" y="7595"/>
                        <a:pt x="-85" y="3275"/>
                        <a:pt x="3130" y="1149"/>
                      </a:cubicBezTo>
                      <a:cubicBezTo>
                        <a:pt x="6335" y="-961"/>
                        <a:pt x="10665" y="-87"/>
                        <a:pt x="12791" y="3125"/>
                      </a:cubicBezTo>
                      <a:lnTo>
                        <a:pt x="35422" y="37370"/>
                      </a:lnTo>
                      <a:cubicBezTo>
                        <a:pt x="37542" y="40585"/>
                        <a:pt x="36661" y="44905"/>
                        <a:pt x="33446" y="47031"/>
                      </a:cubicBezTo>
                      <a:cubicBezTo>
                        <a:pt x="32263" y="47807"/>
                        <a:pt x="30929" y="48182"/>
                        <a:pt x="29609" y="48182"/>
                      </a:cubicBezTo>
                      <a:close/>
                    </a:path>
                  </a:pathLst>
                </a:custGeom>
                <a:solidFill>
                  <a:schemeClr val="accent1"/>
                </a:solidFill>
                <a:ln w="326" cap="flat">
                  <a:noFill/>
                  <a:prstDash val="solid"/>
                  <a:miter/>
                </a:ln>
              </p:spPr>
              <p:txBody>
                <a:bodyPr rtlCol="0" anchor="ctr"/>
                <a:lstStyle/>
                <a:p>
                  <a:endParaRPr lang="en-GB" dirty="0"/>
                </a:p>
              </p:txBody>
            </p:sp>
          </p:grpSp>
          <p:grpSp>
            <p:nvGrpSpPr>
              <p:cNvPr id="165" name="Graphic 5">
                <a:extLst>
                  <a:ext uri="{FF2B5EF4-FFF2-40B4-BE49-F238E27FC236}">
                    <a16:creationId xmlns:a16="http://schemas.microsoft.com/office/drawing/2014/main" id="{96BDC360-5027-4AAA-9284-D1627E33217C}"/>
                  </a:ext>
                </a:extLst>
              </p:cNvPr>
              <p:cNvGrpSpPr/>
              <p:nvPr/>
            </p:nvGrpSpPr>
            <p:grpSpPr>
              <a:xfrm>
                <a:off x="5588909" y="2534051"/>
                <a:ext cx="99356" cy="83872"/>
                <a:chOff x="5588909" y="2534051"/>
                <a:chExt cx="99356" cy="83872"/>
              </a:xfrm>
              <a:solidFill>
                <a:schemeClr val="accent1"/>
              </a:solidFill>
            </p:grpSpPr>
            <p:sp>
              <p:nvSpPr>
                <p:cNvPr id="166" name="Freihandform: Form 711">
                  <a:extLst>
                    <a:ext uri="{FF2B5EF4-FFF2-40B4-BE49-F238E27FC236}">
                      <a16:creationId xmlns:a16="http://schemas.microsoft.com/office/drawing/2014/main" id="{1A09BD00-7496-4665-ABF4-0733638DF435}"/>
                    </a:ext>
                  </a:extLst>
                </p:cNvPr>
                <p:cNvSpPr/>
                <p:nvPr/>
              </p:nvSpPr>
              <p:spPr>
                <a:xfrm>
                  <a:off x="5588909" y="2534051"/>
                  <a:ext cx="27811" cy="50038"/>
                </a:xfrm>
                <a:custGeom>
                  <a:avLst/>
                  <a:gdLst>
                    <a:gd name="connsiteX0" fmla="*/ 6972 w 27811"/>
                    <a:gd name="connsiteY0" fmla="*/ 50038 h 50038"/>
                    <a:gd name="connsiteX1" fmla="*/ 4472 w 27811"/>
                    <a:gd name="connsiteY1" fmla="*/ 49572 h 50038"/>
                    <a:gd name="connsiteX2" fmla="*/ 464 w 27811"/>
                    <a:gd name="connsiteY2" fmla="*/ 40560 h 50038"/>
                    <a:gd name="connsiteX3" fmla="*/ 14328 w 27811"/>
                    <a:gd name="connsiteY3" fmla="*/ 4472 h 50038"/>
                    <a:gd name="connsiteX4" fmla="*/ 23340 w 27811"/>
                    <a:gd name="connsiteY4" fmla="*/ 465 h 50038"/>
                    <a:gd name="connsiteX5" fmla="*/ 27347 w 27811"/>
                    <a:gd name="connsiteY5" fmla="*/ 9477 h 50038"/>
                    <a:gd name="connsiteX6" fmla="*/ 13484 w 27811"/>
                    <a:gd name="connsiteY6" fmla="*/ 45565 h 50038"/>
                    <a:gd name="connsiteX7" fmla="*/ 6972 w 27811"/>
                    <a:gd name="connsiteY7" fmla="*/ 50038 h 50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11" h="50038">
                      <a:moveTo>
                        <a:pt x="6972" y="50038"/>
                      </a:moveTo>
                      <a:cubicBezTo>
                        <a:pt x="6138" y="50038"/>
                        <a:pt x="5293" y="49888"/>
                        <a:pt x="4472" y="49572"/>
                      </a:cubicBezTo>
                      <a:cubicBezTo>
                        <a:pt x="882" y="48189"/>
                        <a:pt x="-915" y="44156"/>
                        <a:pt x="464" y="40560"/>
                      </a:cubicBezTo>
                      <a:lnTo>
                        <a:pt x="14328" y="4472"/>
                      </a:lnTo>
                      <a:cubicBezTo>
                        <a:pt x="15711" y="876"/>
                        <a:pt x="19747" y="-914"/>
                        <a:pt x="23340" y="465"/>
                      </a:cubicBezTo>
                      <a:cubicBezTo>
                        <a:pt x="26930" y="1848"/>
                        <a:pt x="28727" y="5881"/>
                        <a:pt x="27347" y="9477"/>
                      </a:cubicBezTo>
                      <a:lnTo>
                        <a:pt x="13484" y="45565"/>
                      </a:lnTo>
                      <a:cubicBezTo>
                        <a:pt x="12418" y="48336"/>
                        <a:pt x="9773" y="50038"/>
                        <a:pt x="6972" y="50038"/>
                      </a:cubicBezTo>
                      <a:close/>
                    </a:path>
                  </a:pathLst>
                </a:custGeom>
                <a:solidFill>
                  <a:schemeClr val="accent1"/>
                </a:solidFill>
                <a:ln w="326" cap="flat">
                  <a:noFill/>
                  <a:prstDash val="solid"/>
                  <a:miter/>
                </a:ln>
              </p:spPr>
              <p:txBody>
                <a:bodyPr rtlCol="0" anchor="ctr"/>
                <a:lstStyle/>
                <a:p>
                  <a:endParaRPr lang="en-GB" dirty="0"/>
                </a:p>
              </p:txBody>
            </p:sp>
            <p:sp>
              <p:nvSpPr>
                <p:cNvPr id="167" name="Freihandform: Form 712">
                  <a:extLst>
                    <a:ext uri="{FF2B5EF4-FFF2-40B4-BE49-F238E27FC236}">
                      <a16:creationId xmlns:a16="http://schemas.microsoft.com/office/drawing/2014/main" id="{1E2D8D22-19B6-4944-B515-14F195AC86F4}"/>
                    </a:ext>
                  </a:extLst>
                </p:cNvPr>
                <p:cNvSpPr/>
                <p:nvPr/>
              </p:nvSpPr>
              <p:spPr>
                <a:xfrm>
                  <a:off x="5651698" y="2569738"/>
                  <a:ext cx="36566" cy="48185"/>
                </a:xfrm>
                <a:custGeom>
                  <a:avLst/>
                  <a:gdLst>
                    <a:gd name="connsiteX0" fmla="*/ 6968 w 36566"/>
                    <a:gd name="connsiteY0" fmla="*/ 48185 h 48185"/>
                    <a:gd name="connsiteX1" fmla="*/ 3130 w 36566"/>
                    <a:gd name="connsiteY1" fmla="*/ 47031 h 48185"/>
                    <a:gd name="connsiteX2" fmla="*/ 1154 w 36566"/>
                    <a:gd name="connsiteY2" fmla="*/ 37370 h 48185"/>
                    <a:gd name="connsiteX3" fmla="*/ 23776 w 36566"/>
                    <a:gd name="connsiteY3" fmla="*/ 3125 h 48185"/>
                    <a:gd name="connsiteX4" fmla="*/ 33437 w 36566"/>
                    <a:gd name="connsiteY4" fmla="*/ 1149 h 48185"/>
                    <a:gd name="connsiteX5" fmla="*/ 35413 w 36566"/>
                    <a:gd name="connsiteY5" fmla="*/ 10810 h 48185"/>
                    <a:gd name="connsiteX6" fmla="*/ 12791 w 36566"/>
                    <a:gd name="connsiteY6" fmla="*/ 45055 h 48185"/>
                    <a:gd name="connsiteX7" fmla="*/ 6968 w 36566"/>
                    <a:gd name="connsiteY7" fmla="*/ 48185 h 48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66" h="48185">
                      <a:moveTo>
                        <a:pt x="6968" y="48185"/>
                      </a:moveTo>
                      <a:cubicBezTo>
                        <a:pt x="5650" y="48185"/>
                        <a:pt x="4317" y="47810"/>
                        <a:pt x="3130" y="47031"/>
                      </a:cubicBezTo>
                      <a:cubicBezTo>
                        <a:pt x="-85" y="44908"/>
                        <a:pt x="-965" y="40585"/>
                        <a:pt x="1154" y="37370"/>
                      </a:cubicBezTo>
                      <a:lnTo>
                        <a:pt x="23776" y="3125"/>
                      </a:lnTo>
                      <a:cubicBezTo>
                        <a:pt x="25898" y="-80"/>
                        <a:pt x="30215" y="-964"/>
                        <a:pt x="33437" y="1149"/>
                      </a:cubicBezTo>
                      <a:cubicBezTo>
                        <a:pt x="36651" y="3271"/>
                        <a:pt x="37532" y="7595"/>
                        <a:pt x="35413" y="10810"/>
                      </a:cubicBezTo>
                      <a:lnTo>
                        <a:pt x="12791" y="45055"/>
                      </a:lnTo>
                      <a:cubicBezTo>
                        <a:pt x="11451" y="47086"/>
                        <a:pt x="9234" y="48185"/>
                        <a:pt x="6968" y="48185"/>
                      </a:cubicBezTo>
                      <a:close/>
                    </a:path>
                  </a:pathLst>
                </a:custGeom>
                <a:solidFill>
                  <a:schemeClr val="accent1"/>
                </a:solidFill>
                <a:ln w="326" cap="flat">
                  <a:noFill/>
                  <a:prstDash val="solid"/>
                  <a:miter/>
                </a:ln>
              </p:spPr>
              <p:txBody>
                <a:bodyPr rtlCol="0" anchor="ctr"/>
                <a:lstStyle/>
                <a:p>
                  <a:endParaRPr lang="en-GB" dirty="0"/>
                </a:p>
              </p:txBody>
            </p:sp>
          </p:grpSp>
        </p:grpSp>
      </p:grpSp>
      <p:grpSp>
        <p:nvGrpSpPr>
          <p:cNvPr id="32" name="Group 31">
            <a:extLst>
              <a:ext uri="{FF2B5EF4-FFF2-40B4-BE49-F238E27FC236}">
                <a16:creationId xmlns:a16="http://schemas.microsoft.com/office/drawing/2014/main" id="{4F60C650-B67D-4CDA-AF79-F344AAA0FBF0}"/>
              </a:ext>
            </a:extLst>
          </p:cNvPr>
          <p:cNvGrpSpPr/>
          <p:nvPr/>
        </p:nvGrpSpPr>
        <p:grpSpPr>
          <a:xfrm>
            <a:off x="1533484" y="2413174"/>
            <a:ext cx="612000" cy="388705"/>
            <a:chOff x="1533484" y="2413174"/>
            <a:chExt cx="612000" cy="388705"/>
          </a:xfrm>
        </p:grpSpPr>
        <p:grpSp>
          <p:nvGrpSpPr>
            <p:cNvPr id="178" name="Group 177">
              <a:extLst>
                <a:ext uri="{FF2B5EF4-FFF2-40B4-BE49-F238E27FC236}">
                  <a16:creationId xmlns:a16="http://schemas.microsoft.com/office/drawing/2014/main" id="{B6E9D573-28D4-4229-80DD-E03181DCB590}"/>
                </a:ext>
              </a:extLst>
            </p:cNvPr>
            <p:cNvGrpSpPr/>
            <p:nvPr/>
          </p:nvGrpSpPr>
          <p:grpSpPr>
            <a:xfrm>
              <a:off x="1533484" y="2413174"/>
              <a:ext cx="612000" cy="388705"/>
              <a:chOff x="6100020" y="2588566"/>
              <a:chExt cx="515895" cy="327665"/>
            </a:xfrm>
          </p:grpSpPr>
          <p:sp>
            <p:nvSpPr>
              <p:cNvPr id="192" name="Freihandform: Form 863">
                <a:extLst>
                  <a:ext uri="{FF2B5EF4-FFF2-40B4-BE49-F238E27FC236}">
                    <a16:creationId xmlns:a16="http://schemas.microsoft.com/office/drawing/2014/main" id="{837CF7FD-362E-405C-84EE-E35BD4C444A9}"/>
                  </a:ext>
                </a:extLst>
              </p:cNvPr>
              <p:cNvSpPr/>
              <p:nvPr/>
            </p:nvSpPr>
            <p:spPr>
              <a:xfrm>
                <a:off x="6162765" y="2588566"/>
                <a:ext cx="334640" cy="139432"/>
              </a:xfrm>
              <a:custGeom>
                <a:avLst/>
                <a:gdLst>
                  <a:gd name="connsiteX0" fmla="*/ 327663 w 334640"/>
                  <a:gd name="connsiteY0" fmla="*/ 139433 h 139432"/>
                  <a:gd name="connsiteX1" fmla="*/ 320692 w 334640"/>
                  <a:gd name="connsiteY1" fmla="*/ 132462 h 139432"/>
                  <a:gd name="connsiteX2" fmla="*/ 320692 w 334640"/>
                  <a:gd name="connsiteY2" fmla="*/ 20916 h 139432"/>
                  <a:gd name="connsiteX3" fmla="*/ 313721 w 334640"/>
                  <a:gd name="connsiteY3" fmla="*/ 13945 h 139432"/>
                  <a:gd name="connsiteX4" fmla="*/ 20913 w 334640"/>
                  <a:gd name="connsiteY4" fmla="*/ 13945 h 139432"/>
                  <a:gd name="connsiteX5" fmla="*/ 13942 w 334640"/>
                  <a:gd name="connsiteY5" fmla="*/ 20916 h 139432"/>
                  <a:gd name="connsiteX6" fmla="*/ 13942 w 334640"/>
                  <a:gd name="connsiteY6" fmla="*/ 132462 h 139432"/>
                  <a:gd name="connsiteX7" fmla="*/ 6971 w 334640"/>
                  <a:gd name="connsiteY7" fmla="*/ 139433 h 139432"/>
                  <a:gd name="connsiteX8" fmla="*/ 0 w 334640"/>
                  <a:gd name="connsiteY8" fmla="*/ 132462 h 139432"/>
                  <a:gd name="connsiteX9" fmla="*/ 0 w 334640"/>
                  <a:gd name="connsiteY9" fmla="*/ 20916 h 139432"/>
                  <a:gd name="connsiteX10" fmla="*/ 20916 w 334640"/>
                  <a:gd name="connsiteY10" fmla="*/ 0 h 139432"/>
                  <a:gd name="connsiteX11" fmla="*/ 313724 w 334640"/>
                  <a:gd name="connsiteY11" fmla="*/ 0 h 139432"/>
                  <a:gd name="connsiteX12" fmla="*/ 334640 w 334640"/>
                  <a:gd name="connsiteY12" fmla="*/ 20916 h 139432"/>
                  <a:gd name="connsiteX13" fmla="*/ 334640 w 334640"/>
                  <a:gd name="connsiteY13" fmla="*/ 132462 h 139432"/>
                  <a:gd name="connsiteX14" fmla="*/ 327663 w 334640"/>
                  <a:gd name="connsiteY14" fmla="*/ 139433 h 139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4640" h="139432">
                    <a:moveTo>
                      <a:pt x="327663" y="139433"/>
                    </a:moveTo>
                    <a:cubicBezTo>
                      <a:pt x="323812" y="139433"/>
                      <a:pt x="320692" y="136313"/>
                      <a:pt x="320692" y="132462"/>
                    </a:cubicBezTo>
                    <a:lnTo>
                      <a:pt x="320692" y="20916"/>
                    </a:lnTo>
                    <a:cubicBezTo>
                      <a:pt x="320692" y="17072"/>
                      <a:pt x="317565" y="13945"/>
                      <a:pt x="313721" y="13945"/>
                    </a:cubicBezTo>
                    <a:lnTo>
                      <a:pt x="20913" y="13945"/>
                    </a:lnTo>
                    <a:cubicBezTo>
                      <a:pt x="17069" y="13945"/>
                      <a:pt x="13942" y="17072"/>
                      <a:pt x="13942" y="20916"/>
                    </a:cubicBezTo>
                    <a:lnTo>
                      <a:pt x="13942" y="132462"/>
                    </a:lnTo>
                    <a:cubicBezTo>
                      <a:pt x="13942" y="136313"/>
                      <a:pt x="10822" y="139433"/>
                      <a:pt x="6971" y="139433"/>
                    </a:cubicBezTo>
                    <a:cubicBezTo>
                      <a:pt x="3120" y="139433"/>
                      <a:pt x="0" y="136313"/>
                      <a:pt x="0" y="132462"/>
                    </a:cubicBezTo>
                    <a:lnTo>
                      <a:pt x="0" y="20916"/>
                    </a:lnTo>
                    <a:cubicBezTo>
                      <a:pt x="0" y="9384"/>
                      <a:pt x="9380" y="0"/>
                      <a:pt x="20916" y="0"/>
                    </a:cubicBezTo>
                    <a:lnTo>
                      <a:pt x="313724" y="0"/>
                    </a:lnTo>
                    <a:cubicBezTo>
                      <a:pt x="325256" y="0"/>
                      <a:pt x="334640" y="9380"/>
                      <a:pt x="334640" y="20916"/>
                    </a:cubicBezTo>
                    <a:lnTo>
                      <a:pt x="334640" y="132462"/>
                    </a:lnTo>
                    <a:cubicBezTo>
                      <a:pt x="334637" y="136309"/>
                      <a:pt x="331513" y="139433"/>
                      <a:pt x="327663" y="139433"/>
                    </a:cubicBezTo>
                    <a:close/>
                  </a:path>
                </a:pathLst>
              </a:custGeom>
              <a:solidFill>
                <a:schemeClr val="tx2"/>
              </a:solidFill>
              <a:ln w="326" cap="flat">
                <a:noFill/>
                <a:prstDash val="solid"/>
                <a:miter/>
              </a:ln>
            </p:spPr>
            <p:txBody>
              <a:bodyPr rtlCol="0" anchor="ctr"/>
              <a:lstStyle/>
              <a:p>
                <a:endParaRPr lang="en-GB" dirty="0"/>
              </a:p>
            </p:txBody>
          </p:sp>
          <p:sp>
            <p:nvSpPr>
              <p:cNvPr id="193" name="Freihandform: Form 864">
                <a:extLst>
                  <a:ext uri="{FF2B5EF4-FFF2-40B4-BE49-F238E27FC236}">
                    <a16:creationId xmlns:a16="http://schemas.microsoft.com/office/drawing/2014/main" id="{4ECF66F3-D7BB-48B9-A6FD-3C77B0DB2CBF}"/>
                  </a:ext>
                </a:extLst>
              </p:cNvPr>
              <p:cNvSpPr/>
              <p:nvPr/>
            </p:nvSpPr>
            <p:spPr>
              <a:xfrm>
                <a:off x="6225511" y="2811657"/>
                <a:ext cx="132455" cy="13941"/>
              </a:xfrm>
              <a:custGeom>
                <a:avLst/>
                <a:gdLst>
                  <a:gd name="connsiteX0" fmla="*/ 125484 w 132455"/>
                  <a:gd name="connsiteY0" fmla="*/ 13942 h 13941"/>
                  <a:gd name="connsiteX1" fmla="*/ 6971 w 132455"/>
                  <a:gd name="connsiteY1" fmla="*/ 13942 h 13941"/>
                  <a:gd name="connsiteX2" fmla="*/ 0 w 132455"/>
                  <a:gd name="connsiteY2" fmla="*/ 6971 h 13941"/>
                  <a:gd name="connsiteX3" fmla="*/ 6971 w 132455"/>
                  <a:gd name="connsiteY3" fmla="*/ 0 h 13941"/>
                  <a:gd name="connsiteX4" fmla="*/ 125484 w 132455"/>
                  <a:gd name="connsiteY4" fmla="*/ 0 h 13941"/>
                  <a:gd name="connsiteX5" fmla="*/ 132455 w 132455"/>
                  <a:gd name="connsiteY5" fmla="*/ 6971 h 13941"/>
                  <a:gd name="connsiteX6" fmla="*/ 125484 w 132455"/>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55" h="13941">
                    <a:moveTo>
                      <a:pt x="125484" y="13942"/>
                    </a:moveTo>
                    <a:lnTo>
                      <a:pt x="6971" y="13942"/>
                    </a:lnTo>
                    <a:cubicBezTo>
                      <a:pt x="3120" y="13942"/>
                      <a:pt x="0" y="10822"/>
                      <a:pt x="0" y="6971"/>
                    </a:cubicBezTo>
                    <a:cubicBezTo>
                      <a:pt x="0" y="3120"/>
                      <a:pt x="3120" y="0"/>
                      <a:pt x="6971" y="0"/>
                    </a:cubicBezTo>
                    <a:lnTo>
                      <a:pt x="125484" y="0"/>
                    </a:lnTo>
                    <a:cubicBezTo>
                      <a:pt x="129335" y="0"/>
                      <a:pt x="132455" y="3120"/>
                      <a:pt x="132455" y="6971"/>
                    </a:cubicBezTo>
                    <a:cubicBezTo>
                      <a:pt x="132455" y="10822"/>
                      <a:pt x="129335" y="13942"/>
                      <a:pt x="125484" y="13942"/>
                    </a:cubicBezTo>
                    <a:close/>
                  </a:path>
                </a:pathLst>
              </a:custGeom>
              <a:solidFill>
                <a:schemeClr val="tx2"/>
              </a:solidFill>
              <a:ln w="326" cap="flat">
                <a:noFill/>
                <a:prstDash val="solid"/>
                <a:miter/>
              </a:ln>
            </p:spPr>
            <p:txBody>
              <a:bodyPr rtlCol="0" anchor="ctr"/>
              <a:lstStyle/>
              <a:p>
                <a:endParaRPr lang="en-GB" dirty="0"/>
              </a:p>
            </p:txBody>
          </p:sp>
          <p:sp>
            <p:nvSpPr>
              <p:cNvPr id="194" name="Freihandform: Form 865">
                <a:extLst>
                  <a:ext uri="{FF2B5EF4-FFF2-40B4-BE49-F238E27FC236}">
                    <a16:creationId xmlns:a16="http://schemas.microsoft.com/office/drawing/2014/main" id="{D48365C3-15D5-459D-92D3-8D659513DF6A}"/>
                  </a:ext>
                </a:extLst>
              </p:cNvPr>
              <p:cNvSpPr/>
              <p:nvPr/>
            </p:nvSpPr>
            <p:spPr>
              <a:xfrm>
                <a:off x="6267340" y="2811657"/>
                <a:ext cx="125490" cy="104574"/>
              </a:xfrm>
              <a:custGeom>
                <a:avLst/>
                <a:gdLst>
                  <a:gd name="connsiteX0" fmla="*/ 118517 w 125490"/>
                  <a:gd name="connsiteY0" fmla="*/ 104575 h 104574"/>
                  <a:gd name="connsiteX1" fmla="*/ 6971 w 125490"/>
                  <a:gd name="connsiteY1" fmla="*/ 104575 h 104574"/>
                  <a:gd name="connsiteX2" fmla="*/ 0 w 125490"/>
                  <a:gd name="connsiteY2" fmla="*/ 97604 h 104574"/>
                  <a:gd name="connsiteX3" fmla="*/ 0 w 125490"/>
                  <a:gd name="connsiteY3" fmla="*/ 83662 h 104574"/>
                  <a:gd name="connsiteX4" fmla="*/ 4353 w 125490"/>
                  <a:gd name="connsiteY4" fmla="*/ 77199 h 104574"/>
                  <a:gd name="connsiteX5" fmla="*/ 34858 w 125490"/>
                  <a:gd name="connsiteY5" fmla="*/ 6925 h 104574"/>
                  <a:gd name="connsiteX6" fmla="*/ 41829 w 125490"/>
                  <a:gd name="connsiteY6" fmla="*/ 0 h 104574"/>
                  <a:gd name="connsiteX7" fmla="*/ 83658 w 125490"/>
                  <a:gd name="connsiteY7" fmla="*/ 0 h 104574"/>
                  <a:gd name="connsiteX8" fmla="*/ 90629 w 125490"/>
                  <a:gd name="connsiteY8" fmla="*/ 6971 h 104574"/>
                  <a:gd name="connsiteX9" fmla="*/ 83658 w 125490"/>
                  <a:gd name="connsiteY9" fmla="*/ 13942 h 104574"/>
                  <a:gd name="connsiteX10" fmla="*/ 48614 w 125490"/>
                  <a:gd name="connsiteY10" fmla="*/ 13942 h 104574"/>
                  <a:gd name="connsiteX11" fmla="*/ 13945 w 125490"/>
                  <a:gd name="connsiteY11" fmla="*/ 87806 h 104574"/>
                  <a:gd name="connsiteX12" fmla="*/ 13945 w 125490"/>
                  <a:gd name="connsiteY12" fmla="*/ 90629 h 104574"/>
                  <a:gd name="connsiteX13" fmla="*/ 118520 w 125490"/>
                  <a:gd name="connsiteY13" fmla="*/ 90629 h 104574"/>
                  <a:gd name="connsiteX14" fmla="*/ 125491 w 125490"/>
                  <a:gd name="connsiteY14" fmla="*/ 97600 h 104574"/>
                  <a:gd name="connsiteX15" fmla="*/ 118517 w 125490"/>
                  <a:gd name="connsiteY15" fmla="*/ 104575 h 104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5490" h="104574">
                    <a:moveTo>
                      <a:pt x="118517" y="104575"/>
                    </a:moveTo>
                    <a:lnTo>
                      <a:pt x="6971" y="104575"/>
                    </a:lnTo>
                    <a:cubicBezTo>
                      <a:pt x="3120" y="104575"/>
                      <a:pt x="0" y="101454"/>
                      <a:pt x="0" y="97604"/>
                    </a:cubicBezTo>
                    <a:lnTo>
                      <a:pt x="0" y="83662"/>
                    </a:lnTo>
                    <a:cubicBezTo>
                      <a:pt x="0" y="80822"/>
                      <a:pt x="1722" y="78266"/>
                      <a:pt x="4353" y="77199"/>
                    </a:cubicBezTo>
                    <a:cubicBezTo>
                      <a:pt x="5520" y="76697"/>
                      <a:pt x="34460" y="63626"/>
                      <a:pt x="34858" y="6925"/>
                    </a:cubicBezTo>
                    <a:cubicBezTo>
                      <a:pt x="34884" y="3091"/>
                      <a:pt x="37998" y="0"/>
                      <a:pt x="41829" y="0"/>
                    </a:cubicBezTo>
                    <a:lnTo>
                      <a:pt x="83658" y="0"/>
                    </a:lnTo>
                    <a:cubicBezTo>
                      <a:pt x="87509" y="0"/>
                      <a:pt x="90629" y="3120"/>
                      <a:pt x="90629" y="6971"/>
                    </a:cubicBezTo>
                    <a:cubicBezTo>
                      <a:pt x="90629" y="10822"/>
                      <a:pt x="87509" y="13942"/>
                      <a:pt x="83658" y="13942"/>
                    </a:cubicBezTo>
                    <a:lnTo>
                      <a:pt x="48614" y="13942"/>
                    </a:lnTo>
                    <a:cubicBezTo>
                      <a:pt x="46312" y="62628"/>
                      <a:pt x="23671" y="81784"/>
                      <a:pt x="13945" y="87806"/>
                    </a:cubicBezTo>
                    <a:lnTo>
                      <a:pt x="13945" y="90629"/>
                    </a:lnTo>
                    <a:lnTo>
                      <a:pt x="118520" y="90629"/>
                    </a:lnTo>
                    <a:cubicBezTo>
                      <a:pt x="122371" y="90629"/>
                      <a:pt x="125491" y="93750"/>
                      <a:pt x="125491" y="97600"/>
                    </a:cubicBezTo>
                    <a:cubicBezTo>
                      <a:pt x="125491" y="101451"/>
                      <a:pt x="122364" y="104575"/>
                      <a:pt x="118517" y="104575"/>
                    </a:cubicBezTo>
                    <a:close/>
                  </a:path>
                </a:pathLst>
              </a:custGeom>
              <a:solidFill>
                <a:schemeClr val="tx2"/>
              </a:solidFill>
              <a:ln w="326" cap="flat">
                <a:noFill/>
                <a:prstDash val="solid"/>
                <a:miter/>
              </a:ln>
            </p:spPr>
            <p:txBody>
              <a:bodyPr rtlCol="0" anchor="ctr"/>
              <a:lstStyle/>
              <a:p>
                <a:endParaRPr lang="en-GB" dirty="0"/>
              </a:p>
            </p:txBody>
          </p:sp>
          <p:sp>
            <p:nvSpPr>
              <p:cNvPr id="195" name="Freihandform: Form 866">
                <a:extLst>
                  <a:ext uri="{FF2B5EF4-FFF2-40B4-BE49-F238E27FC236}">
                    <a16:creationId xmlns:a16="http://schemas.microsoft.com/office/drawing/2014/main" id="{9150CB4B-4DD5-419A-AA20-8986A6D96069}"/>
                  </a:ext>
                </a:extLst>
              </p:cNvPr>
              <p:cNvSpPr/>
              <p:nvPr/>
            </p:nvSpPr>
            <p:spPr>
              <a:xfrm>
                <a:off x="6100020" y="2714053"/>
                <a:ext cx="139432" cy="202178"/>
              </a:xfrm>
              <a:custGeom>
                <a:avLst/>
                <a:gdLst>
                  <a:gd name="connsiteX0" fmla="*/ 118517 w 139432"/>
                  <a:gd name="connsiteY0" fmla="*/ 202178 h 202178"/>
                  <a:gd name="connsiteX1" fmla="*/ 20916 w 139432"/>
                  <a:gd name="connsiteY1" fmla="*/ 202178 h 202178"/>
                  <a:gd name="connsiteX2" fmla="*/ 0 w 139432"/>
                  <a:gd name="connsiteY2" fmla="*/ 181262 h 202178"/>
                  <a:gd name="connsiteX3" fmla="*/ 0 w 139432"/>
                  <a:gd name="connsiteY3" fmla="*/ 20916 h 202178"/>
                  <a:gd name="connsiteX4" fmla="*/ 20916 w 139432"/>
                  <a:gd name="connsiteY4" fmla="*/ 0 h 202178"/>
                  <a:gd name="connsiteX5" fmla="*/ 118517 w 139432"/>
                  <a:gd name="connsiteY5" fmla="*/ 0 h 202178"/>
                  <a:gd name="connsiteX6" fmla="*/ 139433 w 139432"/>
                  <a:gd name="connsiteY6" fmla="*/ 20916 h 202178"/>
                  <a:gd name="connsiteX7" fmla="*/ 139433 w 139432"/>
                  <a:gd name="connsiteY7" fmla="*/ 181262 h 202178"/>
                  <a:gd name="connsiteX8" fmla="*/ 118517 w 139432"/>
                  <a:gd name="connsiteY8" fmla="*/ 202178 h 202178"/>
                  <a:gd name="connsiteX9" fmla="*/ 20916 w 139432"/>
                  <a:gd name="connsiteY9" fmla="*/ 13945 h 202178"/>
                  <a:gd name="connsiteX10" fmla="*/ 13945 w 139432"/>
                  <a:gd name="connsiteY10" fmla="*/ 20916 h 202178"/>
                  <a:gd name="connsiteX11" fmla="*/ 13945 w 139432"/>
                  <a:gd name="connsiteY11" fmla="*/ 181262 h 202178"/>
                  <a:gd name="connsiteX12" fmla="*/ 20916 w 139432"/>
                  <a:gd name="connsiteY12" fmla="*/ 188233 h 202178"/>
                  <a:gd name="connsiteX13" fmla="*/ 118517 w 139432"/>
                  <a:gd name="connsiteY13" fmla="*/ 188233 h 202178"/>
                  <a:gd name="connsiteX14" fmla="*/ 125488 w 139432"/>
                  <a:gd name="connsiteY14" fmla="*/ 181262 h 202178"/>
                  <a:gd name="connsiteX15" fmla="*/ 125488 w 139432"/>
                  <a:gd name="connsiteY15" fmla="*/ 20916 h 202178"/>
                  <a:gd name="connsiteX16" fmla="*/ 118517 w 139432"/>
                  <a:gd name="connsiteY16" fmla="*/ 13945 h 202178"/>
                  <a:gd name="connsiteX17" fmla="*/ 20916 w 139432"/>
                  <a:gd name="connsiteY17" fmla="*/ 13945 h 202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9432" h="202178">
                    <a:moveTo>
                      <a:pt x="118517" y="202178"/>
                    </a:moveTo>
                    <a:lnTo>
                      <a:pt x="20916" y="202178"/>
                    </a:lnTo>
                    <a:cubicBezTo>
                      <a:pt x="9384" y="202178"/>
                      <a:pt x="0" y="192798"/>
                      <a:pt x="0" y="181262"/>
                    </a:cubicBezTo>
                    <a:lnTo>
                      <a:pt x="0" y="20916"/>
                    </a:lnTo>
                    <a:cubicBezTo>
                      <a:pt x="0" y="9384"/>
                      <a:pt x="9381" y="0"/>
                      <a:pt x="20916" y="0"/>
                    </a:cubicBezTo>
                    <a:lnTo>
                      <a:pt x="118517" y="0"/>
                    </a:lnTo>
                    <a:cubicBezTo>
                      <a:pt x="130049" y="0"/>
                      <a:pt x="139433" y="9381"/>
                      <a:pt x="139433" y="20916"/>
                    </a:cubicBezTo>
                    <a:lnTo>
                      <a:pt x="139433" y="181262"/>
                    </a:lnTo>
                    <a:cubicBezTo>
                      <a:pt x="139433" y="192795"/>
                      <a:pt x="130052" y="202178"/>
                      <a:pt x="118517" y="202178"/>
                    </a:cubicBezTo>
                    <a:close/>
                    <a:moveTo>
                      <a:pt x="20916" y="13945"/>
                    </a:moveTo>
                    <a:cubicBezTo>
                      <a:pt x="17072" y="13945"/>
                      <a:pt x="13945" y="17072"/>
                      <a:pt x="13945" y="20916"/>
                    </a:cubicBezTo>
                    <a:lnTo>
                      <a:pt x="13945" y="181262"/>
                    </a:lnTo>
                    <a:cubicBezTo>
                      <a:pt x="13945" y="185106"/>
                      <a:pt x="17072" y="188233"/>
                      <a:pt x="20916" y="188233"/>
                    </a:cubicBezTo>
                    <a:lnTo>
                      <a:pt x="118517" y="188233"/>
                    </a:lnTo>
                    <a:cubicBezTo>
                      <a:pt x="122361" y="188233"/>
                      <a:pt x="125488" y="185106"/>
                      <a:pt x="125488" y="181262"/>
                    </a:cubicBezTo>
                    <a:lnTo>
                      <a:pt x="125488" y="20916"/>
                    </a:lnTo>
                    <a:cubicBezTo>
                      <a:pt x="125488" y="17072"/>
                      <a:pt x="122361" y="13945"/>
                      <a:pt x="118517" y="13945"/>
                    </a:cubicBezTo>
                    <a:lnTo>
                      <a:pt x="20916" y="13945"/>
                    </a:lnTo>
                    <a:close/>
                  </a:path>
                </a:pathLst>
              </a:custGeom>
              <a:solidFill>
                <a:schemeClr val="tx2"/>
              </a:solidFill>
              <a:ln w="326" cap="flat">
                <a:noFill/>
                <a:prstDash val="solid"/>
                <a:miter/>
              </a:ln>
            </p:spPr>
            <p:txBody>
              <a:bodyPr rtlCol="0" anchor="ctr"/>
              <a:lstStyle/>
              <a:p>
                <a:endParaRPr lang="en-GB" dirty="0"/>
              </a:p>
            </p:txBody>
          </p:sp>
          <p:sp>
            <p:nvSpPr>
              <p:cNvPr id="196" name="Freihandform: Form 867">
                <a:extLst>
                  <a:ext uri="{FF2B5EF4-FFF2-40B4-BE49-F238E27FC236}">
                    <a16:creationId xmlns:a16="http://schemas.microsoft.com/office/drawing/2014/main" id="{7F7C8DE6-247F-4FC7-A850-A77CDE2768A6}"/>
                  </a:ext>
                </a:extLst>
              </p:cNvPr>
              <p:cNvSpPr/>
              <p:nvPr/>
            </p:nvSpPr>
            <p:spPr>
              <a:xfrm>
                <a:off x="6323111" y="2867431"/>
                <a:ext cx="292804" cy="48800"/>
              </a:xfrm>
              <a:custGeom>
                <a:avLst/>
                <a:gdLst>
                  <a:gd name="connsiteX0" fmla="*/ 264921 w 292804"/>
                  <a:gd name="connsiteY0" fmla="*/ 48800 h 48800"/>
                  <a:gd name="connsiteX1" fmla="*/ 27887 w 292804"/>
                  <a:gd name="connsiteY1" fmla="*/ 48800 h 48800"/>
                  <a:gd name="connsiteX2" fmla="*/ 0 w 292804"/>
                  <a:gd name="connsiteY2" fmla="*/ 20913 h 48800"/>
                  <a:gd name="connsiteX3" fmla="*/ 0 w 292804"/>
                  <a:gd name="connsiteY3" fmla="*/ 6971 h 48800"/>
                  <a:gd name="connsiteX4" fmla="*/ 6971 w 292804"/>
                  <a:gd name="connsiteY4" fmla="*/ 0 h 48800"/>
                  <a:gd name="connsiteX5" fmla="*/ 285834 w 292804"/>
                  <a:gd name="connsiteY5" fmla="*/ 0 h 48800"/>
                  <a:gd name="connsiteX6" fmla="*/ 292805 w 292804"/>
                  <a:gd name="connsiteY6" fmla="*/ 6971 h 48800"/>
                  <a:gd name="connsiteX7" fmla="*/ 292805 w 292804"/>
                  <a:gd name="connsiteY7" fmla="*/ 20913 h 48800"/>
                  <a:gd name="connsiteX8" fmla="*/ 264921 w 292804"/>
                  <a:gd name="connsiteY8" fmla="*/ 48800 h 48800"/>
                  <a:gd name="connsiteX9" fmla="*/ 13942 w 292804"/>
                  <a:gd name="connsiteY9" fmla="*/ 13942 h 48800"/>
                  <a:gd name="connsiteX10" fmla="*/ 13942 w 292804"/>
                  <a:gd name="connsiteY10" fmla="*/ 20913 h 48800"/>
                  <a:gd name="connsiteX11" fmla="*/ 27884 w 292804"/>
                  <a:gd name="connsiteY11" fmla="*/ 34855 h 48800"/>
                  <a:gd name="connsiteX12" fmla="*/ 264917 w 292804"/>
                  <a:gd name="connsiteY12" fmla="*/ 34855 h 48800"/>
                  <a:gd name="connsiteX13" fmla="*/ 278859 w 292804"/>
                  <a:gd name="connsiteY13" fmla="*/ 20913 h 48800"/>
                  <a:gd name="connsiteX14" fmla="*/ 278859 w 292804"/>
                  <a:gd name="connsiteY14" fmla="*/ 13942 h 48800"/>
                  <a:gd name="connsiteX15" fmla="*/ 13942 w 292804"/>
                  <a:gd name="connsiteY15" fmla="*/ 13942 h 48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2804" h="48800">
                    <a:moveTo>
                      <a:pt x="264921" y="48800"/>
                    </a:moveTo>
                    <a:lnTo>
                      <a:pt x="27887" y="48800"/>
                    </a:lnTo>
                    <a:cubicBezTo>
                      <a:pt x="12511" y="48800"/>
                      <a:pt x="0" y="36290"/>
                      <a:pt x="0" y="20913"/>
                    </a:cubicBezTo>
                    <a:lnTo>
                      <a:pt x="0" y="6971"/>
                    </a:lnTo>
                    <a:cubicBezTo>
                      <a:pt x="0" y="3120"/>
                      <a:pt x="3120" y="0"/>
                      <a:pt x="6971" y="0"/>
                    </a:cubicBezTo>
                    <a:lnTo>
                      <a:pt x="285834" y="0"/>
                    </a:lnTo>
                    <a:cubicBezTo>
                      <a:pt x="289684" y="0"/>
                      <a:pt x="292805" y="3120"/>
                      <a:pt x="292805" y="6971"/>
                    </a:cubicBezTo>
                    <a:lnTo>
                      <a:pt x="292805" y="20913"/>
                    </a:lnTo>
                    <a:cubicBezTo>
                      <a:pt x="292808" y="36290"/>
                      <a:pt x="280297" y="48800"/>
                      <a:pt x="264921" y="48800"/>
                    </a:cubicBezTo>
                    <a:close/>
                    <a:moveTo>
                      <a:pt x="13942" y="13942"/>
                    </a:moveTo>
                    <a:lnTo>
                      <a:pt x="13942" y="20913"/>
                    </a:lnTo>
                    <a:cubicBezTo>
                      <a:pt x="13942" y="28601"/>
                      <a:pt x="20196" y="34855"/>
                      <a:pt x="27884" y="34855"/>
                    </a:cubicBezTo>
                    <a:lnTo>
                      <a:pt x="264917" y="34855"/>
                    </a:lnTo>
                    <a:cubicBezTo>
                      <a:pt x="272606" y="34855"/>
                      <a:pt x="278859" y="28601"/>
                      <a:pt x="278859" y="20913"/>
                    </a:cubicBezTo>
                    <a:lnTo>
                      <a:pt x="278859" y="13942"/>
                    </a:lnTo>
                    <a:lnTo>
                      <a:pt x="13942" y="13942"/>
                    </a:lnTo>
                    <a:close/>
                  </a:path>
                </a:pathLst>
              </a:custGeom>
              <a:solidFill>
                <a:schemeClr val="tx2"/>
              </a:solidFill>
              <a:ln w="326" cap="flat">
                <a:noFill/>
                <a:prstDash val="solid"/>
                <a:miter/>
              </a:ln>
            </p:spPr>
            <p:txBody>
              <a:bodyPr rtlCol="0" anchor="ctr"/>
              <a:lstStyle/>
              <a:p>
                <a:endParaRPr lang="en-GB" dirty="0"/>
              </a:p>
            </p:txBody>
          </p:sp>
          <p:sp>
            <p:nvSpPr>
              <p:cNvPr id="197" name="Freihandform: Form 868">
                <a:extLst>
                  <a:ext uri="{FF2B5EF4-FFF2-40B4-BE49-F238E27FC236}">
                    <a16:creationId xmlns:a16="http://schemas.microsoft.com/office/drawing/2014/main" id="{099DCA9D-8F18-4DD0-B41C-B535C51C1032}"/>
                  </a:ext>
                </a:extLst>
              </p:cNvPr>
              <p:cNvSpPr/>
              <p:nvPr/>
            </p:nvSpPr>
            <p:spPr>
              <a:xfrm>
                <a:off x="6344027" y="2714053"/>
                <a:ext cx="250978" cy="167320"/>
              </a:xfrm>
              <a:custGeom>
                <a:avLst/>
                <a:gdLst>
                  <a:gd name="connsiteX0" fmla="*/ 244004 w 250978"/>
                  <a:gd name="connsiteY0" fmla="*/ 167320 h 167320"/>
                  <a:gd name="connsiteX1" fmla="*/ 6971 w 250978"/>
                  <a:gd name="connsiteY1" fmla="*/ 167320 h 167320"/>
                  <a:gd name="connsiteX2" fmla="*/ 0 w 250978"/>
                  <a:gd name="connsiteY2" fmla="*/ 160349 h 167320"/>
                  <a:gd name="connsiteX3" fmla="*/ 0 w 250978"/>
                  <a:gd name="connsiteY3" fmla="*/ 20916 h 167320"/>
                  <a:gd name="connsiteX4" fmla="*/ 20916 w 250978"/>
                  <a:gd name="connsiteY4" fmla="*/ 0 h 167320"/>
                  <a:gd name="connsiteX5" fmla="*/ 230062 w 250978"/>
                  <a:gd name="connsiteY5" fmla="*/ 0 h 167320"/>
                  <a:gd name="connsiteX6" fmla="*/ 250979 w 250978"/>
                  <a:gd name="connsiteY6" fmla="*/ 20916 h 167320"/>
                  <a:gd name="connsiteX7" fmla="*/ 250979 w 250978"/>
                  <a:gd name="connsiteY7" fmla="*/ 160349 h 167320"/>
                  <a:gd name="connsiteX8" fmla="*/ 244004 w 250978"/>
                  <a:gd name="connsiteY8" fmla="*/ 167320 h 167320"/>
                  <a:gd name="connsiteX9" fmla="*/ 13942 w 250978"/>
                  <a:gd name="connsiteY9" fmla="*/ 153375 h 167320"/>
                  <a:gd name="connsiteX10" fmla="*/ 237033 w 250978"/>
                  <a:gd name="connsiteY10" fmla="*/ 153375 h 167320"/>
                  <a:gd name="connsiteX11" fmla="*/ 237033 w 250978"/>
                  <a:gd name="connsiteY11" fmla="*/ 20916 h 167320"/>
                  <a:gd name="connsiteX12" fmla="*/ 230062 w 250978"/>
                  <a:gd name="connsiteY12" fmla="*/ 13945 h 167320"/>
                  <a:gd name="connsiteX13" fmla="*/ 20916 w 250978"/>
                  <a:gd name="connsiteY13" fmla="*/ 13945 h 167320"/>
                  <a:gd name="connsiteX14" fmla="*/ 13945 w 250978"/>
                  <a:gd name="connsiteY14" fmla="*/ 20916 h 167320"/>
                  <a:gd name="connsiteX15" fmla="*/ 13945 w 250978"/>
                  <a:gd name="connsiteY15" fmla="*/ 153375 h 167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0978" h="167320">
                    <a:moveTo>
                      <a:pt x="244004" y="167320"/>
                    </a:moveTo>
                    <a:lnTo>
                      <a:pt x="6971" y="167320"/>
                    </a:lnTo>
                    <a:cubicBezTo>
                      <a:pt x="3120" y="167320"/>
                      <a:pt x="0" y="164200"/>
                      <a:pt x="0" y="160349"/>
                    </a:cubicBezTo>
                    <a:lnTo>
                      <a:pt x="0" y="20916"/>
                    </a:lnTo>
                    <a:cubicBezTo>
                      <a:pt x="0" y="9384"/>
                      <a:pt x="9381" y="0"/>
                      <a:pt x="20916" y="0"/>
                    </a:cubicBezTo>
                    <a:lnTo>
                      <a:pt x="230062" y="0"/>
                    </a:lnTo>
                    <a:cubicBezTo>
                      <a:pt x="241595" y="0"/>
                      <a:pt x="250979" y="9381"/>
                      <a:pt x="250979" y="20916"/>
                    </a:cubicBezTo>
                    <a:lnTo>
                      <a:pt x="250979" y="160349"/>
                    </a:lnTo>
                    <a:cubicBezTo>
                      <a:pt x="250975" y="164197"/>
                      <a:pt x="247855" y="167320"/>
                      <a:pt x="244004" y="167320"/>
                    </a:cubicBezTo>
                    <a:close/>
                    <a:moveTo>
                      <a:pt x="13942" y="153375"/>
                    </a:moveTo>
                    <a:lnTo>
                      <a:pt x="237033" y="153375"/>
                    </a:lnTo>
                    <a:lnTo>
                      <a:pt x="237033" y="20916"/>
                    </a:lnTo>
                    <a:cubicBezTo>
                      <a:pt x="237033" y="17072"/>
                      <a:pt x="233907" y="13945"/>
                      <a:pt x="230062" y="13945"/>
                    </a:cubicBezTo>
                    <a:lnTo>
                      <a:pt x="20916" y="13945"/>
                    </a:lnTo>
                    <a:cubicBezTo>
                      <a:pt x="17072" y="13945"/>
                      <a:pt x="13945" y="17072"/>
                      <a:pt x="13945" y="20916"/>
                    </a:cubicBezTo>
                    <a:lnTo>
                      <a:pt x="13945" y="153375"/>
                    </a:lnTo>
                    <a:close/>
                  </a:path>
                </a:pathLst>
              </a:custGeom>
              <a:solidFill>
                <a:schemeClr val="tx2"/>
              </a:solidFill>
              <a:ln w="326" cap="flat">
                <a:noFill/>
                <a:prstDash val="solid"/>
                <a:miter/>
              </a:ln>
            </p:spPr>
            <p:txBody>
              <a:bodyPr rtlCol="0" anchor="ctr"/>
              <a:lstStyle/>
              <a:p>
                <a:endParaRPr lang="en-GB" dirty="0"/>
              </a:p>
            </p:txBody>
          </p:sp>
          <p:sp>
            <p:nvSpPr>
              <p:cNvPr id="198" name="Freihandform: Form 869">
                <a:extLst>
                  <a:ext uri="{FF2B5EF4-FFF2-40B4-BE49-F238E27FC236}">
                    <a16:creationId xmlns:a16="http://schemas.microsoft.com/office/drawing/2014/main" id="{D7AE366C-F6B6-493D-A4B8-AC288A309C31}"/>
                  </a:ext>
                </a:extLst>
              </p:cNvPr>
              <p:cNvSpPr/>
              <p:nvPr/>
            </p:nvSpPr>
            <p:spPr>
              <a:xfrm>
                <a:off x="6100023" y="2748911"/>
                <a:ext cx="139429" cy="13945"/>
              </a:xfrm>
              <a:custGeom>
                <a:avLst/>
                <a:gdLst>
                  <a:gd name="connsiteX0" fmla="*/ 132459 w 139429"/>
                  <a:gd name="connsiteY0" fmla="*/ 13945 h 13945"/>
                  <a:gd name="connsiteX1" fmla="*/ 132459 w 139429"/>
                  <a:gd name="connsiteY1" fmla="*/ 13945 h 13945"/>
                  <a:gd name="connsiteX2" fmla="*/ 6971 w 139429"/>
                  <a:gd name="connsiteY2" fmla="*/ 13942 h 13945"/>
                  <a:gd name="connsiteX3" fmla="*/ 0 w 139429"/>
                  <a:gd name="connsiteY3" fmla="*/ 6971 h 13945"/>
                  <a:gd name="connsiteX4" fmla="*/ 6971 w 139429"/>
                  <a:gd name="connsiteY4" fmla="*/ 0 h 13945"/>
                  <a:gd name="connsiteX5" fmla="*/ 6971 w 139429"/>
                  <a:gd name="connsiteY5" fmla="*/ 0 h 13945"/>
                  <a:gd name="connsiteX6" fmla="*/ 132459 w 139429"/>
                  <a:gd name="connsiteY6" fmla="*/ 3 h 13945"/>
                  <a:gd name="connsiteX7" fmla="*/ 139430 w 139429"/>
                  <a:gd name="connsiteY7" fmla="*/ 6974 h 13945"/>
                  <a:gd name="connsiteX8" fmla="*/ 132459 w 139429"/>
                  <a:gd name="connsiteY8" fmla="*/ 13945 h 1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429" h="13945">
                    <a:moveTo>
                      <a:pt x="132459" y="13945"/>
                    </a:moveTo>
                    <a:lnTo>
                      <a:pt x="132459" y="13945"/>
                    </a:lnTo>
                    <a:lnTo>
                      <a:pt x="6971" y="13942"/>
                    </a:lnTo>
                    <a:cubicBezTo>
                      <a:pt x="3120" y="13942"/>
                      <a:pt x="0" y="10822"/>
                      <a:pt x="0" y="6971"/>
                    </a:cubicBezTo>
                    <a:cubicBezTo>
                      <a:pt x="0" y="3120"/>
                      <a:pt x="3120" y="0"/>
                      <a:pt x="6971" y="0"/>
                    </a:cubicBezTo>
                    <a:lnTo>
                      <a:pt x="6971" y="0"/>
                    </a:lnTo>
                    <a:lnTo>
                      <a:pt x="132459" y="3"/>
                    </a:lnTo>
                    <a:cubicBezTo>
                      <a:pt x="136309" y="3"/>
                      <a:pt x="139430" y="3124"/>
                      <a:pt x="139430" y="6974"/>
                    </a:cubicBezTo>
                    <a:cubicBezTo>
                      <a:pt x="139430" y="10822"/>
                      <a:pt x="136309" y="13945"/>
                      <a:pt x="132459" y="13945"/>
                    </a:cubicBezTo>
                    <a:close/>
                  </a:path>
                </a:pathLst>
              </a:custGeom>
              <a:solidFill>
                <a:schemeClr val="tx2"/>
              </a:solidFill>
              <a:ln w="326" cap="flat">
                <a:noFill/>
                <a:prstDash val="solid"/>
                <a:miter/>
              </a:ln>
            </p:spPr>
            <p:txBody>
              <a:bodyPr rtlCol="0" anchor="ctr"/>
              <a:lstStyle/>
              <a:p>
                <a:endParaRPr lang="en-GB" dirty="0"/>
              </a:p>
            </p:txBody>
          </p:sp>
          <p:sp>
            <p:nvSpPr>
              <p:cNvPr id="199" name="Freihandform: Form 874">
                <a:extLst>
                  <a:ext uri="{FF2B5EF4-FFF2-40B4-BE49-F238E27FC236}">
                    <a16:creationId xmlns:a16="http://schemas.microsoft.com/office/drawing/2014/main" id="{56CE1E1C-6EFA-44CD-9C2B-0EB971365F49}"/>
                  </a:ext>
                </a:extLst>
              </p:cNvPr>
              <p:cNvSpPr/>
              <p:nvPr/>
            </p:nvSpPr>
            <p:spPr>
              <a:xfrm>
                <a:off x="6225511" y="2776799"/>
                <a:ext cx="132458" cy="13941"/>
              </a:xfrm>
              <a:custGeom>
                <a:avLst/>
                <a:gdLst>
                  <a:gd name="connsiteX0" fmla="*/ 125488 w 132458"/>
                  <a:gd name="connsiteY0" fmla="*/ 13942 h 13941"/>
                  <a:gd name="connsiteX1" fmla="*/ 6971 w 132458"/>
                  <a:gd name="connsiteY1" fmla="*/ 13942 h 13941"/>
                  <a:gd name="connsiteX2" fmla="*/ 0 w 132458"/>
                  <a:gd name="connsiteY2" fmla="*/ 6971 h 13941"/>
                  <a:gd name="connsiteX3" fmla="*/ 6971 w 132458"/>
                  <a:gd name="connsiteY3" fmla="*/ 0 h 13941"/>
                  <a:gd name="connsiteX4" fmla="*/ 125488 w 132458"/>
                  <a:gd name="connsiteY4" fmla="*/ 0 h 13941"/>
                  <a:gd name="connsiteX5" fmla="*/ 132459 w 132458"/>
                  <a:gd name="connsiteY5" fmla="*/ 6971 h 13941"/>
                  <a:gd name="connsiteX6" fmla="*/ 125488 w 132458"/>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58" h="13941">
                    <a:moveTo>
                      <a:pt x="125488" y="13942"/>
                    </a:moveTo>
                    <a:lnTo>
                      <a:pt x="6971" y="13942"/>
                    </a:lnTo>
                    <a:cubicBezTo>
                      <a:pt x="3120" y="13942"/>
                      <a:pt x="0" y="10822"/>
                      <a:pt x="0" y="6971"/>
                    </a:cubicBezTo>
                    <a:cubicBezTo>
                      <a:pt x="0" y="3120"/>
                      <a:pt x="3120" y="0"/>
                      <a:pt x="6971" y="0"/>
                    </a:cubicBezTo>
                    <a:lnTo>
                      <a:pt x="125488" y="0"/>
                    </a:lnTo>
                    <a:cubicBezTo>
                      <a:pt x="129338" y="0"/>
                      <a:pt x="132459" y="3120"/>
                      <a:pt x="132459" y="6971"/>
                    </a:cubicBezTo>
                    <a:cubicBezTo>
                      <a:pt x="132459" y="10822"/>
                      <a:pt x="129338" y="13942"/>
                      <a:pt x="125488" y="13942"/>
                    </a:cubicBezTo>
                    <a:close/>
                  </a:path>
                </a:pathLst>
              </a:custGeom>
              <a:solidFill>
                <a:schemeClr val="tx2"/>
              </a:solidFill>
              <a:ln w="326" cap="flat">
                <a:noFill/>
                <a:prstDash val="solid"/>
                <a:miter/>
              </a:ln>
            </p:spPr>
            <p:txBody>
              <a:bodyPr rtlCol="0" anchor="ctr"/>
              <a:lstStyle/>
              <a:p>
                <a:endParaRPr lang="en-GB" dirty="0"/>
              </a:p>
            </p:txBody>
          </p:sp>
        </p:grpSp>
        <p:grpSp>
          <p:nvGrpSpPr>
            <p:cNvPr id="179" name="Group 178">
              <a:extLst>
                <a:ext uri="{FF2B5EF4-FFF2-40B4-BE49-F238E27FC236}">
                  <a16:creationId xmlns:a16="http://schemas.microsoft.com/office/drawing/2014/main" id="{59ED05D8-4920-411A-8D5A-ED1CA64A0C6E}"/>
                </a:ext>
              </a:extLst>
            </p:cNvPr>
            <p:cNvGrpSpPr/>
            <p:nvPr/>
          </p:nvGrpSpPr>
          <p:grpSpPr>
            <a:xfrm>
              <a:off x="1566566" y="2460730"/>
              <a:ext cx="512758" cy="291528"/>
              <a:chOff x="6127907" y="2628654"/>
              <a:chExt cx="432237" cy="245748"/>
            </a:xfrm>
          </p:grpSpPr>
          <p:grpSp>
            <p:nvGrpSpPr>
              <p:cNvPr id="180" name="Graphic 5">
                <a:extLst>
                  <a:ext uri="{FF2B5EF4-FFF2-40B4-BE49-F238E27FC236}">
                    <a16:creationId xmlns:a16="http://schemas.microsoft.com/office/drawing/2014/main" id="{EF24AE32-A439-4271-8275-BE9736C9830A}"/>
                  </a:ext>
                </a:extLst>
              </p:cNvPr>
              <p:cNvGrpSpPr/>
              <p:nvPr/>
            </p:nvGrpSpPr>
            <p:grpSpPr>
              <a:xfrm>
                <a:off x="6127907" y="2790741"/>
                <a:ext cx="83658" cy="83661"/>
                <a:chOff x="6127907" y="2790741"/>
                <a:chExt cx="83658" cy="83661"/>
              </a:xfrm>
              <a:solidFill>
                <a:schemeClr val="accent1"/>
              </a:solidFill>
            </p:grpSpPr>
            <p:sp>
              <p:nvSpPr>
                <p:cNvPr id="190" name="Freihandform: Form 871">
                  <a:extLst>
                    <a:ext uri="{FF2B5EF4-FFF2-40B4-BE49-F238E27FC236}">
                      <a16:creationId xmlns:a16="http://schemas.microsoft.com/office/drawing/2014/main" id="{AEF3DDA8-AE66-4627-84F0-1A4ED51071AF}"/>
                    </a:ext>
                  </a:extLst>
                </p:cNvPr>
                <p:cNvSpPr/>
                <p:nvPr/>
              </p:nvSpPr>
              <p:spPr>
                <a:xfrm>
                  <a:off x="6127907" y="2790744"/>
                  <a:ext cx="83658" cy="83658"/>
                </a:xfrm>
                <a:custGeom>
                  <a:avLst/>
                  <a:gdLst>
                    <a:gd name="connsiteX0" fmla="*/ 41829 w 83658"/>
                    <a:gd name="connsiteY0" fmla="*/ 83658 h 83658"/>
                    <a:gd name="connsiteX1" fmla="*/ 0 w 83658"/>
                    <a:gd name="connsiteY1" fmla="*/ 41829 h 83658"/>
                    <a:gd name="connsiteX2" fmla="*/ 41829 w 83658"/>
                    <a:gd name="connsiteY2" fmla="*/ 0 h 83658"/>
                    <a:gd name="connsiteX3" fmla="*/ 83658 w 83658"/>
                    <a:gd name="connsiteY3" fmla="*/ 41829 h 83658"/>
                    <a:gd name="connsiteX4" fmla="*/ 41829 w 83658"/>
                    <a:gd name="connsiteY4" fmla="*/ 83658 h 83658"/>
                    <a:gd name="connsiteX5" fmla="*/ 41829 w 83658"/>
                    <a:gd name="connsiteY5" fmla="*/ 13942 h 83658"/>
                    <a:gd name="connsiteX6" fmla="*/ 13942 w 83658"/>
                    <a:gd name="connsiteY6" fmla="*/ 41829 h 83658"/>
                    <a:gd name="connsiteX7" fmla="*/ 41829 w 83658"/>
                    <a:gd name="connsiteY7" fmla="*/ 69716 h 83658"/>
                    <a:gd name="connsiteX8" fmla="*/ 69716 w 83658"/>
                    <a:gd name="connsiteY8" fmla="*/ 41829 h 83658"/>
                    <a:gd name="connsiteX9" fmla="*/ 41829 w 83658"/>
                    <a:gd name="connsiteY9" fmla="*/ 13942 h 83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658" h="83658">
                      <a:moveTo>
                        <a:pt x="41829" y="83658"/>
                      </a:moveTo>
                      <a:cubicBezTo>
                        <a:pt x="18764" y="83658"/>
                        <a:pt x="0" y="64894"/>
                        <a:pt x="0" y="41829"/>
                      </a:cubicBezTo>
                      <a:cubicBezTo>
                        <a:pt x="0" y="18764"/>
                        <a:pt x="18764" y="0"/>
                        <a:pt x="41829" y="0"/>
                      </a:cubicBezTo>
                      <a:cubicBezTo>
                        <a:pt x="64894" y="0"/>
                        <a:pt x="83658" y="18764"/>
                        <a:pt x="83658" y="41829"/>
                      </a:cubicBezTo>
                      <a:cubicBezTo>
                        <a:pt x="83658" y="64894"/>
                        <a:pt x="64894" y="83658"/>
                        <a:pt x="41829" y="83658"/>
                      </a:cubicBezTo>
                      <a:close/>
                      <a:moveTo>
                        <a:pt x="41829" y="13942"/>
                      </a:moveTo>
                      <a:cubicBezTo>
                        <a:pt x="26453" y="13942"/>
                        <a:pt x="13942" y="26453"/>
                        <a:pt x="13942" y="41829"/>
                      </a:cubicBezTo>
                      <a:cubicBezTo>
                        <a:pt x="13942" y="57206"/>
                        <a:pt x="26453" y="69716"/>
                        <a:pt x="41829" y="69716"/>
                      </a:cubicBezTo>
                      <a:cubicBezTo>
                        <a:pt x="57206" y="69716"/>
                        <a:pt x="69716" y="57206"/>
                        <a:pt x="69716" y="41829"/>
                      </a:cubicBezTo>
                      <a:cubicBezTo>
                        <a:pt x="69716" y="26453"/>
                        <a:pt x="57206" y="13942"/>
                        <a:pt x="41829" y="13942"/>
                      </a:cubicBezTo>
                      <a:close/>
                    </a:path>
                  </a:pathLst>
                </a:custGeom>
                <a:solidFill>
                  <a:schemeClr val="accent1"/>
                </a:solidFill>
                <a:ln w="326" cap="flat">
                  <a:noFill/>
                  <a:prstDash val="solid"/>
                  <a:miter/>
                </a:ln>
              </p:spPr>
              <p:txBody>
                <a:bodyPr rtlCol="0" anchor="ctr"/>
                <a:lstStyle/>
                <a:p>
                  <a:endParaRPr lang="en-GB" dirty="0"/>
                </a:p>
              </p:txBody>
            </p:sp>
            <p:sp>
              <p:nvSpPr>
                <p:cNvPr id="191" name="Freihandform: Form 872">
                  <a:extLst>
                    <a:ext uri="{FF2B5EF4-FFF2-40B4-BE49-F238E27FC236}">
                      <a16:creationId xmlns:a16="http://schemas.microsoft.com/office/drawing/2014/main" id="{796F1EDD-C480-4192-85F8-AE6E70B80BCB}"/>
                    </a:ext>
                  </a:extLst>
                </p:cNvPr>
                <p:cNvSpPr/>
                <p:nvPr/>
              </p:nvSpPr>
              <p:spPr>
                <a:xfrm>
                  <a:off x="6162765" y="2790741"/>
                  <a:ext cx="40085" cy="70587"/>
                </a:xfrm>
                <a:custGeom>
                  <a:avLst/>
                  <a:gdLst>
                    <a:gd name="connsiteX0" fmla="*/ 33111 w 40085"/>
                    <a:gd name="connsiteY0" fmla="*/ 70587 h 70587"/>
                    <a:gd name="connsiteX1" fmla="*/ 28650 w 40085"/>
                    <a:gd name="connsiteY1" fmla="*/ 68970 h 70587"/>
                    <a:gd name="connsiteX2" fmla="*/ 2507 w 40085"/>
                    <a:gd name="connsiteY2" fmla="*/ 47183 h 70587"/>
                    <a:gd name="connsiteX3" fmla="*/ 0 w 40085"/>
                    <a:gd name="connsiteY3" fmla="*/ 41829 h 70587"/>
                    <a:gd name="connsiteX4" fmla="*/ 0 w 40085"/>
                    <a:gd name="connsiteY4" fmla="*/ 6971 h 70587"/>
                    <a:gd name="connsiteX5" fmla="*/ 6971 w 40085"/>
                    <a:gd name="connsiteY5" fmla="*/ 0 h 70587"/>
                    <a:gd name="connsiteX6" fmla="*/ 13942 w 40085"/>
                    <a:gd name="connsiteY6" fmla="*/ 6971 h 70587"/>
                    <a:gd name="connsiteX7" fmla="*/ 13942 w 40085"/>
                    <a:gd name="connsiteY7" fmla="*/ 38565 h 70587"/>
                    <a:gd name="connsiteX8" fmla="*/ 37577 w 40085"/>
                    <a:gd name="connsiteY8" fmla="*/ 58262 h 70587"/>
                    <a:gd name="connsiteX9" fmla="*/ 38471 w 40085"/>
                    <a:gd name="connsiteY9" fmla="*/ 68080 h 70587"/>
                    <a:gd name="connsiteX10" fmla="*/ 33111 w 40085"/>
                    <a:gd name="connsiteY10" fmla="*/ 70587 h 70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85" h="70587">
                      <a:moveTo>
                        <a:pt x="33111" y="70587"/>
                      </a:moveTo>
                      <a:cubicBezTo>
                        <a:pt x="31539" y="70587"/>
                        <a:pt x="29954" y="70056"/>
                        <a:pt x="28650" y="68970"/>
                      </a:cubicBezTo>
                      <a:lnTo>
                        <a:pt x="2507" y="47183"/>
                      </a:lnTo>
                      <a:cubicBezTo>
                        <a:pt x="916" y="45859"/>
                        <a:pt x="0" y="43896"/>
                        <a:pt x="0" y="41829"/>
                      </a:cubicBezTo>
                      <a:lnTo>
                        <a:pt x="0" y="6971"/>
                      </a:lnTo>
                      <a:cubicBezTo>
                        <a:pt x="0" y="3120"/>
                        <a:pt x="3120" y="0"/>
                        <a:pt x="6971" y="0"/>
                      </a:cubicBezTo>
                      <a:cubicBezTo>
                        <a:pt x="10822" y="0"/>
                        <a:pt x="13942" y="3120"/>
                        <a:pt x="13942" y="6971"/>
                      </a:cubicBezTo>
                      <a:lnTo>
                        <a:pt x="13942" y="38565"/>
                      </a:lnTo>
                      <a:lnTo>
                        <a:pt x="37577" y="58262"/>
                      </a:lnTo>
                      <a:cubicBezTo>
                        <a:pt x="40535" y="60727"/>
                        <a:pt x="40933" y="65122"/>
                        <a:pt x="38471" y="68080"/>
                      </a:cubicBezTo>
                      <a:cubicBezTo>
                        <a:pt x="37092" y="69733"/>
                        <a:pt x="35109" y="70587"/>
                        <a:pt x="33111" y="70587"/>
                      </a:cubicBezTo>
                      <a:close/>
                    </a:path>
                  </a:pathLst>
                </a:custGeom>
                <a:solidFill>
                  <a:schemeClr val="accent1"/>
                </a:solidFill>
                <a:ln w="326" cap="flat">
                  <a:noFill/>
                  <a:prstDash val="solid"/>
                  <a:miter/>
                </a:ln>
              </p:spPr>
              <p:txBody>
                <a:bodyPr rtlCol="0" anchor="ctr"/>
                <a:lstStyle/>
                <a:p>
                  <a:endParaRPr lang="en-GB" dirty="0"/>
                </a:p>
              </p:txBody>
            </p:sp>
          </p:grpSp>
          <p:sp>
            <p:nvSpPr>
              <p:cNvPr id="181" name="Freihandform: Form 873">
                <a:extLst>
                  <a:ext uri="{FF2B5EF4-FFF2-40B4-BE49-F238E27FC236}">
                    <a16:creationId xmlns:a16="http://schemas.microsoft.com/office/drawing/2014/main" id="{150E7710-726D-41F6-8D84-AC33C27719D6}"/>
                  </a:ext>
                </a:extLst>
              </p:cNvPr>
              <p:cNvSpPr/>
              <p:nvPr/>
            </p:nvSpPr>
            <p:spPr>
              <a:xfrm>
                <a:off x="6200519" y="2628654"/>
                <a:ext cx="257069" cy="69354"/>
              </a:xfrm>
              <a:custGeom>
                <a:avLst/>
                <a:gdLst>
                  <a:gd name="connsiteX0" fmla="*/ 197584 w 257069"/>
                  <a:gd name="connsiteY0" fmla="*/ 69355 h 69354"/>
                  <a:gd name="connsiteX1" fmla="*/ 177356 w 257069"/>
                  <a:gd name="connsiteY1" fmla="*/ 55752 h 69354"/>
                  <a:gd name="connsiteX2" fmla="*/ 166244 w 257069"/>
                  <a:gd name="connsiteY2" fmla="*/ 43472 h 69354"/>
                  <a:gd name="connsiteX3" fmla="*/ 156870 w 257069"/>
                  <a:gd name="connsiteY3" fmla="*/ 52530 h 69354"/>
                  <a:gd name="connsiteX4" fmla="*/ 137111 w 257069"/>
                  <a:gd name="connsiteY4" fmla="*/ 65530 h 69354"/>
                  <a:gd name="connsiteX5" fmla="*/ 122671 w 257069"/>
                  <a:gd name="connsiteY5" fmla="*/ 60046 h 69354"/>
                  <a:gd name="connsiteX6" fmla="*/ 100949 w 257069"/>
                  <a:gd name="connsiteY6" fmla="*/ 28448 h 69354"/>
                  <a:gd name="connsiteX7" fmla="*/ 94712 w 257069"/>
                  <a:gd name="connsiteY7" fmla="*/ 18168 h 69354"/>
                  <a:gd name="connsiteX8" fmla="*/ 89619 w 257069"/>
                  <a:gd name="connsiteY8" fmla="*/ 13939 h 69354"/>
                  <a:gd name="connsiteX9" fmla="*/ 84718 w 257069"/>
                  <a:gd name="connsiteY9" fmla="*/ 17731 h 69354"/>
                  <a:gd name="connsiteX10" fmla="*/ 43114 w 257069"/>
                  <a:gd name="connsiteY10" fmla="*/ 57512 h 69354"/>
                  <a:gd name="connsiteX11" fmla="*/ 23815 w 257069"/>
                  <a:gd name="connsiteY11" fmla="*/ 57512 h 69354"/>
                  <a:gd name="connsiteX12" fmla="*/ 10626 w 257069"/>
                  <a:gd name="connsiteY12" fmla="*/ 57470 h 69354"/>
                  <a:gd name="connsiteX13" fmla="*/ 6971 w 257069"/>
                  <a:gd name="connsiteY13" fmla="*/ 57512 h 69354"/>
                  <a:gd name="connsiteX14" fmla="*/ 0 w 257069"/>
                  <a:gd name="connsiteY14" fmla="*/ 50541 h 69354"/>
                  <a:gd name="connsiteX15" fmla="*/ 6971 w 257069"/>
                  <a:gd name="connsiteY15" fmla="*/ 43570 h 69354"/>
                  <a:gd name="connsiteX16" fmla="*/ 10437 w 257069"/>
                  <a:gd name="connsiteY16" fmla="*/ 43534 h 69354"/>
                  <a:gd name="connsiteX17" fmla="*/ 24369 w 257069"/>
                  <a:gd name="connsiteY17" fmla="*/ 43593 h 69354"/>
                  <a:gd name="connsiteX18" fmla="*/ 42983 w 257069"/>
                  <a:gd name="connsiteY18" fmla="*/ 43574 h 69354"/>
                  <a:gd name="connsiteX19" fmla="*/ 72700 w 257069"/>
                  <a:gd name="connsiteY19" fmla="*/ 10662 h 69354"/>
                  <a:gd name="connsiteX20" fmla="*/ 89586 w 257069"/>
                  <a:gd name="connsiteY20" fmla="*/ 0 h 69354"/>
                  <a:gd name="connsiteX21" fmla="*/ 89752 w 257069"/>
                  <a:gd name="connsiteY21" fmla="*/ 0 h 69354"/>
                  <a:gd name="connsiteX22" fmla="*/ 106534 w 257069"/>
                  <a:gd name="connsiteY22" fmla="*/ 10792 h 69354"/>
                  <a:gd name="connsiteX23" fmla="*/ 112951 w 257069"/>
                  <a:gd name="connsiteY23" fmla="*/ 21360 h 69354"/>
                  <a:gd name="connsiteX24" fmla="*/ 131989 w 257069"/>
                  <a:gd name="connsiteY24" fmla="*/ 49697 h 69354"/>
                  <a:gd name="connsiteX25" fmla="*/ 135902 w 257069"/>
                  <a:gd name="connsiteY25" fmla="*/ 51647 h 69354"/>
                  <a:gd name="connsiteX26" fmla="*/ 145400 w 257069"/>
                  <a:gd name="connsiteY26" fmla="*/ 44607 h 69354"/>
                  <a:gd name="connsiteX27" fmla="*/ 166401 w 257069"/>
                  <a:gd name="connsiteY27" fmla="*/ 29537 h 69354"/>
                  <a:gd name="connsiteX28" fmla="*/ 190004 w 257069"/>
                  <a:gd name="connsiteY28" fmla="*/ 49899 h 69354"/>
                  <a:gd name="connsiteX29" fmla="*/ 201445 w 257069"/>
                  <a:gd name="connsiteY29" fmla="*/ 54666 h 69354"/>
                  <a:gd name="connsiteX30" fmla="*/ 236016 w 257069"/>
                  <a:gd name="connsiteY30" fmla="*/ 43577 h 69354"/>
                  <a:gd name="connsiteX31" fmla="*/ 250098 w 257069"/>
                  <a:gd name="connsiteY31" fmla="*/ 43577 h 69354"/>
                  <a:gd name="connsiteX32" fmla="*/ 257069 w 257069"/>
                  <a:gd name="connsiteY32" fmla="*/ 50548 h 69354"/>
                  <a:gd name="connsiteX33" fmla="*/ 250098 w 257069"/>
                  <a:gd name="connsiteY33" fmla="*/ 57519 h 69354"/>
                  <a:gd name="connsiteX34" fmla="*/ 236016 w 257069"/>
                  <a:gd name="connsiteY34" fmla="*/ 57519 h 69354"/>
                  <a:gd name="connsiteX35" fmla="*/ 207513 w 257069"/>
                  <a:gd name="connsiteY35" fmla="*/ 67206 h 69354"/>
                  <a:gd name="connsiteX36" fmla="*/ 197584 w 257069"/>
                  <a:gd name="connsiteY36" fmla="*/ 69355 h 69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7069" h="69354">
                    <a:moveTo>
                      <a:pt x="197584" y="69355"/>
                    </a:moveTo>
                    <a:cubicBezTo>
                      <a:pt x="189038" y="69355"/>
                      <a:pt x="181487" y="64434"/>
                      <a:pt x="177356" y="55752"/>
                    </a:cubicBezTo>
                    <a:cubicBezTo>
                      <a:pt x="175260" y="51102"/>
                      <a:pt x="169153" y="43541"/>
                      <a:pt x="166244" y="43472"/>
                    </a:cubicBezTo>
                    <a:cubicBezTo>
                      <a:pt x="165524" y="43476"/>
                      <a:pt x="162837" y="43476"/>
                      <a:pt x="156870" y="52530"/>
                    </a:cubicBezTo>
                    <a:cubicBezTo>
                      <a:pt x="155266" y="54754"/>
                      <a:pt x="147614" y="64620"/>
                      <a:pt x="137111" y="65530"/>
                    </a:cubicBezTo>
                    <a:cubicBezTo>
                      <a:pt x="133434" y="65849"/>
                      <a:pt x="127943" y="65161"/>
                      <a:pt x="122671" y="60046"/>
                    </a:cubicBezTo>
                    <a:cubicBezTo>
                      <a:pt x="117141" y="55455"/>
                      <a:pt x="109857" y="43525"/>
                      <a:pt x="100949" y="28448"/>
                    </a:cubicBezTo>
                    <a:cubicBezTo>
                      <a:pt x="98442" y="24203"/>
                      <a:pt x="96257" y="20499"/>
                      <a:pt x="94712" y="18168"/>
                    </a:cubicBezTo>
                    <a:cubicBezTo>
                      <a:pt x="93085" y="15412"/>
                      <a:pt x="91255" y="13958"/>
                      <a:pt x="89619" y="13939"/>
                    </a:cubicBezTo>
                    <a:cubicBezTo>
                      <a:pt x="88093" y="14089"/>
                      <a:pt x="86205" y="15305"/>
                      <a:pt x="84718" y="17731"/>
                    </a:cubicBezTo>
                    <a:cubicBezTo>
                      <a:pt x="75761" y="32553"/>
                      <a:pt x="58569" y="57225"/>
                      <a:pt x="43114" y="57512"/>
                    </a:cubicBezTo>
                    <a:lnTo>
                      <a:pt x="23815" y="57512"/>
                    </a:lnTo>
                    <a:cubicBezTo>
                      <a:pt x="21229" y="57330"/>
                      <a:pt x="14333" y="57421"/>
                      <a:pt x="10626" y="57470"/>
                    </a:cubicBezTo>
                    <a:lnTo>
                      <a:pt x="6971" y="57512"/>
                    </a:lnTo>
                    <a:cubicBezTo>
                      <a:pt x="3120" y="57512"/>
                      <a:pt x="0" y="54392"/>
                      <a:pt x="0" y="50541"/>
                    </a:cubicBezTo>
                    <a:cubicBezTo>
                      <a:pt x="0" y="46691"/>
                      <a:pt x="3120" y="43570"/>
                      <a:pt x="6971" y="43570"/>
                    </a:cubicBezTo>
                    <a:lnTo>
                      <a:pt x="10437" y="43534"/>
                    </a:lnTo>
                    <a:cubicBezTo>
                      <a:pt x="16590" y="43446"/>
                      <a:pt x="21878" y="43394"/>
                      <a:pt x="24369" y="43593"/>
                    </a:cubicBezTo>
                    <a:lnTo>
                      <a:pt x="42983" y="43574"/>
                    </a:lnTo>
                    <a:cubicBezTo>
                      <a:pt x="47734" y="43486"/>
                      <a:pt x="59853" y="31917"/>
                      <a:pt x="72700" y="10662"/>
                    </a:cubicBezTo>
                    <a:cubicBezTo>
                      <a:pt x="76899" y="3802"/>
                      <a:pt x="83003" y="0"/>
                      <a:pt x="89586" y="0"/>
                    </a:cubicBezTo>
                    <a:cubicBezTo>
                      <a:pt x="89642" y="0"/>
                      <a:pt x="89694" y="0"/>
                      <a:pt x="89752" y="0"/>
                    </a:cubicBezTo>
                    <a:cubicBezTo>
                      <a:pt x="96433" y="65"/>
                      <a:pt x="102553" y="4001"/>
                      <a:pt x="106534" y="10792"/>
                    </a:cubicBezTo>
                    <a:cubicBezTo>
                      <a:pt x="107969" y="12941"/>
                      <a:pt x="110294" y="16857"/>
                      <a:pt x="112951" y="21360"/>
                    </a:cubicBezTo>
                    <a:cubicBezTo>
                      <a:pt x="118373" y="30541"/>
                      <a:pt x="127454" y="45908"/>
                      <a:pt x="131989" y="49697"/>
                    </a:cubicBezTo>
                    <a:cubicBezTo>
                      <a:pt x="134177" y="51800"/>
                      <a:pt x="135396" y="51689"/>
                      <a:pt x="135902" y="51647"/>
                    </a:cubicBezTo>
                    <a:cubicBezTo>
                      <a:pt x="139136" y="51363"/>
                      <a:pt x="143401" y="47362"/>
                      <a:pt x="145400" y="44607"/>
                    </a:cubicBezTo>
                    <a:cubicBezTo>
                      <a:pt x="150219" y="37284"/>
                      <a:pt x="156639" y="29537"/>
                      <a:pt x="166401" y="29537"/>
                    </a:cubicBezTo>
                    <a:cubicBezTo>
                      <a:pt x="180584" y="29860"/>
                      <a:pt x="189916" y="49700"/>
                      <a:pt x="190004" y="49899"/>
                    </a:cubicBezTo>
                    <a:cubicBezTo>
                      <a:pt x="193456" y="57150"/>
                      <a:pt x="199156" y="55647"/>
                      <a:pt x="201445" y="54666"/>
                    </a:cubicBezTo>
                    <a:cubicBezTo>
                      <a:pt x="215230" y="47186"/>
                      <a:pt x="226398" y="43577"/>
                      <a:pt x="236016" y="43577"/>
                    </a:cubicBezTo>
                    <a:lnTo>
                      <a:pt x="250098" y="43577"/>
                    </a:lnTo>
                    <a:cubicBezTo>
                      <a:pt x="253949" y="43577"/>
                      <a:pt x="257069" y="46697"/>
                      <a:pt x="257069" y="50548"/>
                    </a:cubicBezTo>
                    <a:cubicBezTo>
                      <a:pt x="257069" y="54398"/>
                      <a:pt x="253949" y="57519"/>
                      <a:pt x="250098" y="57519"/>
                    </a:cubicBezTo>
                    <a:lnTo>
                      <a:pt x="236016" y="57519"/>
                    </a:lnTo>
                    <a:cubicBezTo>
                      <a:pt x="231474" y="57519"/>
                      <a:pt x="223580" y="58523"/>
                      <a:pt x="207513" y="67206"/>
                    </a:cubicBezTo>
                    <a:cubicBezTo>
                      <a:pt x="204154" y="68657"/>
                      <a:pt x="200799" y="69355"/>
                      <a:pt x="197584" y="69355"/>
                    </a:cubicBezTo>
                    <a:close/>
                  </a:path>
                </a:pathLst>
              </a:custGeom>
              <a:solidFill>
                <a:schemeClr val="accent1"/>
              </a:solidFill>
              <a:ln w="326" cap="flat">
                <a:noFill/>
                <a:prstDash val="solid"/>
                <a:miter/>
              </a:ln>
            </p:spPr>
            <p:txBody>
              <a:bodyPr rtlCol="0" anchor="ctr"/>
              <a:lstStyle/>
              <a:p>
                <a:endParaRPr lang="en-GB" dirty="0"/>
              </a:p>
            </p:txBody>
          </p:sp>
          <p:sp>
            <p:nvSpPr>
              <p:cNvPr id="182" name="Freihandform: Form 875">
                <a:extLst>
                  <a:ext uri="{FF2B5EF4-FFF2-40B4-BE49-F238E27FC236}">
                    <a16:creationId xmlns:a16="http://schemas.microsoft.com/office/drawing/2014/main" id="{67790C71-6926-424B-8E0A-8357416DC45A}"/>
                  </a:ext>
                </a:extLst>
              </p:cNvPr>
              <p:cNvSpPr/>
              <p:nvPr/>
            </p:nvSpPr>
            <p:spPr>
              <a:xfrm>
                <a:off x="6253395" y="2741940"/>
                <a:ext cx="76687" cy="13941"/>
              </a:xfrm>
              <a:custGeom>
                <a:avLst/>
                <a:gdLst>
                  <a:gd name="connsiteX0" fmla="*/ 69716 w 76687"/>
                  <a:gd name="connsiteY0" fmla="*/ 13942 h 13941"/>
                  <a:gd name="connsiteX1" fmla="*/ 6971 w 76687"/>
                  <a:gd name="connsiteY1" fmla="*/ 13942 h 13941"/>
                  <a:gd name="connsiteX2" fmla="*/ 0 w 76687"/>
                  <a:gd name="connsiteY2" fmla="*/ 6971 h 13941"/>
                  <a:gd name="connsiteX3" fmla="*/ 6971 w 76687"/>
                  <a:gd name="connsiteY3" fmla="*/ 0 h 13941"/>
                  <a:gd name="connsiteX4" fmla="*/ 69716 w 76687"/>
                  <a:gd name="connsiteY4" fmla="*/ 0 h 13941"/>
                  <a:gd name="connsiteX5" fmla="*/ 76687 w 76687"/>
                  <a:gd name="connsiteY5" fmla="*/ 6971 h 13941"/>
                  <a:gd name="connsiteX6" fmla="*/ 69716 w 76687"/>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87" h="13941">
                    <a:moveTo>
                      <a:pt x="69716" y="13942"/>
                    </a:moveTo>
                    <a:lnTo>
                      <a:pt x="6971" y="13942"/>
                    </a:lnTo>
                    <a:cubicBezTo>
                      <a:pt x="3120" y="13942"/>
                      <a:pt x="0" y="10822"/>
                      <a:pt x="0" y="6971"/>
                    </a:cubicBezTo>
                    <a:cubicBezTo>
                      <a:pt x="0" y="3120"/>
                      <a:pt x="3120" y="0"/>
                      <a:pt x="6971" y="0"/>
                    </a:cubicBezTo>
                    <a:lnTo>
                      <a:pt x="69716" y="0"/>
                    </a:lnTo>
                    <a:cubicBezTo>
                      <a:pt x="73567" y="0"/>
                      <a:pt x="76687" y="3120"/>
                      <a:pt x="76687" y="6971"/>
                    </a:cubicBezTo>
                    <a:cubicBezTo>
                      <a:pt x="76687" y="10822"/>
                      <a:pt x="73567" y="13942"/>
                      <a:pt x="69716" y="13942"/>
                    </a:cubicBezTo>
                    <a:close/>
                  </a:path>
                </a:pathLst>
              </a:custGeom>
              <a:solidFill>
                <a:schemeClr val="accent1"/>
              </a:solidFill>
              <a:ln w="326" cap="flat">
                <a:noFill/>
                <a:prstDash val="solid"/>
                <a:miter/>
              </a:ln>
            </p:spPr>
            <p:txBody>
              <a:bodyPr rtlCol="0" anchor="ctr"/>
              <a:lstStyle/>
              <a:p>
                <a:endParaRPr lang="en-GB" dirty="0"/>
              </a:p>
            </p:txBody>
          </p:sp>
          <p:sp>
            <p:nvSpPr>
              <p:cNvPr id="183" name="Freihandform: Form 876">
                <a:extLst>
                  <a:ext uri="{FF2B5EF4-FFF2-40B4-BE49-F238E27FC236}">
                    <a16:creationId xmlns:a16="http://schemas.microsoft.com/office/drawing/2014/main" id="{684FF800-C6B1-47C9-9E1E-4C5C3278E946}"/>
                  </a:ext>
                </a:extLst>
              </p:cNvPr>
              <p:cNvSpPr/>
              <p:nvPr/>
            </p:nvSpPr>
            <p:spPr>
              <a:xfrm>
                <a:off x="6253395" y="2714056"/>
                <a:ext cx="76687" cy="13941"/>
              </a:xfrm>
              <a:custGeom>
                <a:avLst/>
                <a:gdLst>
                  <a:gd name="connsiteX0" fmla="*/ 69716 w 76687"/>
                  <a:gd name="connsiteY0" fmla="*/ 13942 h 13941"/>
                  <a:gd name="connsiteX1" fmla="*/ 6971 w 76687"/>
                  <a:gd name="connsiteY1" fmla="*/ 13942 h 13941"/>
                  <a:gd name="connsiteX2" fmla="*/ 0 w 76687"/>
                  <a:gd name="connsiteY2" fmla="*/ 6971 h 13941"/>
                  <a:gd name="connsiteX3" fmla="*/ 6971 w 76687"/>
                  <a:gd name="connsiteY3" fmla="*/ 0 h 13941"/>
                  <a:gd name="connsiteX4" fmla="*/ 69716 w 76687"/>
                  <a:gd name="connsiteY4" fmla="*/ 0 h 13941"/>
                  <a:gd name="connsiteX5" fmla="*/ 76687 w 76687"/>
                  <a:gd name="connsiteY5" fmla="*/ 6971 h 13941"/>
                  <a:gd name="connsiteX6" fmla="*/ 69716 w 76687"/>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687" h="13941">
                    <a:moveTo>
                      <a:pt x="69716" y="13942"/>
                    </a:moveTo>
                    <a:lnTo>
                      <a:pt x="6971" y="13942"/>
                    </a:lnTo>
                    <a:cubicBezTo>
                      <a:pt x="3120" y="13942"/>
                      <a:pt x="0" y="10822"/>
                      <a:pt x="0" y="6971"/>
                    </a:cubicBezTo>
                    <a:cubicBezTo>
                      <a:pt x="0" y="3120"/>
                      <a:pt x="3120" y="0"/>
                      <a:pt x="6971" y="0"/>
                    </a:cubicBezTo>
                    <a:lnTo>
                      <a:pt x="69716" y="0"/>
                    </a:lnTo>
                    <a:cubicBezTo>
                      <a:pt x="73567" y="0"/>
                      <a:pt x="76687" y="3120"/>
                      <a:pt x="76687" y="6971"/>
                    </a:cubicBezTo>
                    <a:cubicBezTo>
                      <a:pt x="76687" y="10822"/>
                      <a:pt x="73567" y="13942"/>
                      <a:pt x="69716" y="13942"/>
                    </a:cubicBezTo>
                    <a:close/>
                  </a:path>
                </a:pathLst>
              </a:custGeom>
              <a:solidFill>
                <a:schemeClr val="accent1"/>
              </a:solidFill>
              <a:ln w="326" cap="flat">
                <a:noFill/>
                <a:prstDash val="solid"/>
                <a:miter/>
              </a:ln>
            </p:spPr>
            <p:txBody>
              <a:bodyPr rtlCol="0" anchor="ctr"/>
              <a:lstStyle/>
              <a:p>
                <a:endParaRPr lang="en-GB" dirty="0"/>
              </a:p>
            </p:txBody>
          </p:sp>
          <p:sp>
            <p:nvSpPr>
              <p:cNvPr id="184" name="Freihandform: Form 877">
                <a:extLst>
                  <a:ext uri="{FF2B5EF4-FFF2-40B4-BE49-F238E27FC236}">
                    <a16:creationId xmlns:a16="http://schemas.microsoft.com/office/drawing/2014/main" id="{543AE3AE-18AD-4A2A-84C5-9027D10BCF1C}"/>
                  </a:ext>
                </a:extLst>
              </p:cNvPr>
              <p:cNvSpPr/>
              <p:nvPr/>
            </p:nvSpPr>
            <p:spPr>
              <a:xfrm>
                <a:off x="6378886" y="2755886"/>
                <a:ext cx="27883" cy="13941"/>
              </a:xfrm>
              <a:custGeom>
                <a:avLst/>
                <a:gdLst>
                  <a:gd name="connsiteX0" fmla="*/ 20913 w 27883"/>
                  <a:gd name="connsiteY0" fmla="*/ 13942 h 13941"/>
                  <a:gd name="connsiteX1" fmla="*/ 6971 w 27883"/>
                  <a:gd name="connsiteY1" fmla="*/ 13942 h 13941"/>
                  <a:gd name="connsiteX2" fmla="*/ 0 w 27883"/>
                  <a:gd name="connsiteY2" fmla="*/ 6971 h 13941"/>
                  <a:gd name="connsiteX3" fmla="*/ 6971 w 27883"/>
                  <a:gd name="connsiteY3" fmla="*/ 0 h 13941"/>
                  <a:gd name="connsiteX4" fmla="*/ 20913 w 27883"/>
                  <a:gd name="connsiteY4" fmla="*/ 0 h 13941"/>
                  <a:gd name="connsiteX5" fmla="*/ 27884 w 27883"/>
                  <a:gd name="connsiteY5" fmla="*/ 6971 h 13941"/>
                  <a:gd name="connsiteX6" fmla="*/ 20913 w 27883"/>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3" h="13941">
                    <a:moveTo>
                      <a:pt x="20913" y="13942"/>
                    </a:moveTo>
                    <a:lnTo>
                      <a:pt x="6971" y="13942"/>
                    </a:lnTo>
                    <a:cubicBezTo>
                      <a:pt x="3120" y="13942"/>
                      <a:pt x="0" y="10822"/>
                      <a:pt x="0" y="6971"/>
                    </a:cubicBezTo>
                    <a:cubicBezTo>
                      <a:pt x="0" y="3120"/>
                      <a:pt x="3120" y="0"/>
                      <a:pt x="6971" y="0"/>
                    </a:cubicBezTo>
                    <a:lnTo>
                      <a:pt x="20913" y="0"/>
                    </a:lnTo>
                    <a:cubicBezTo>
                      <a:pt x="24764" y="0"/>
                      <a:pt x="27884" y="3120"/>
                      <a:pt x="27884" y="6971"/>
                    </a:cubicBezTo>
                    <a:cubicBezTo>
                      <a:pt x="27884" y="10822"/>
                      <a:pt x="24764" y="13942"/>
                      <a:pt x="20913" y="13942"/>
                    </a:cubicBezTo>
                    <a:close/>
                  </a:path>
                </a:pathLst>
              </a:custGeom>
              <a:solidFill>
                <a:schemeClr val="accent1"/>
              </a:solidFill>
              <a:ln w="326" cap="flat">
                <a:noFill/>
                <a:prstDash val="solid"/>
                <a:miter/>
              </a:ln>
            </p:spPr>
            <p:txBody>
              <a:bodyPr rtlCol="0" anchor="ctr"/>
              <a:lstStyle/>
              <a:p>
                <a:endParaRPr lang="en-GB" dirty="0"/>
              </a:p>
            </p:txBody>
          </p:sp>
          <p:sp>
            <p:nvSpPr>
              <p:cNvPr id="185" name="Freihandform: Form 878">
                <a:extLst>
                  <a:ext uri="{FF2B5EF4-FFF2-40B4-BE49-F238E27FC236}">
                    <a16:creationId xmlns:a16="http://schemas.microsoft.com/office/drawing/2014/main" id="{32EECFF3-5122-4749-9686-DB6106D3C7DC}"/>
                  </a:ext>
                </a:extLst>
              </p:cNvPr>
              <p:cNvSpPr/>
              <p:nvPr/>
            </p:nvSpPr>
            <p:spPr>
              <a:xfrm>
                <a:off x="6378886" y="2790744"/>
                <a:ext cx="27883" cy="13941"/>
              </a:xfrm>
              <a:custGeom>
                <a:avLst/>
                <a:gdLst>
                  <a:gd name="connsiteX0" fmla="*/ 20913 w 27883"/>
                  <a:gd name="connsiteY0" fmla="*/ 13942 h 13941"/>
                  <a:gd name="connsiteX1" fmla="*/ 6971 w 27883"/>
                  <a:gd name="connsiteY1" fmla="*/ 13942 h 13941"/>
                  <a:gd name="connsiteX2" fmla="*/ 0 w 27883"/>
                  <a:gd name="connsiteY2" fmla="*/ 6971 h 13941"/>
                  <a:gd name="connsiteX3" fmla="*/ 6971 w 27883"/>
                  <a:gd name="connsiteY3" fmla="*/ 0 h 13941"/>
                  <a:gd name="connsiteX4" fmla="*/ 20913 w 27883"/>
                  <a:gd name="connsiteY4" fmla="*/ 0 h 13941"/>
                  <a:gd name="connsiteX5" fmla="*/ 27884 w 27883"/>
                  <a:gd name="connsiteY5" fmla="*/ 6971 h 13941"/>
                  <a:gd name="connsiteX6" fmla="*/ 20913 w 27883"/>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3" h="13941">
                    <a:moveTo>
                      <a:pt x="20913" y="13942"/>
                    </a:moveTo>
                    <a:lnTo>
                      <a:pt x="6971" y="13942"/>
                    </a:lnTo>
                    <a:cubicBezTo>
                      <a:pt x="3120" y="13942"/>
                      <a:pt x="0" y="10822"/>
                      <a:pt x="0" y="6971"/>
                    </a:cubicBezTo>
                    <a:cubicBezTo>
                      <a:pt x="0" y="3120"/>
                      <a:pt x="3120" y="0"/>
                      <a:pt x="6971" y="0"/>
                    </a:cubicBezTo>
                    <a:lnTo>
                      <a:pt x="20913" y="0"/>
                    </a:lnTo>
                    <a:cubicBezTo>
                      <a:pt x="24764" y="0"/>
                      <a:pt x="27884" y="3120"/>
                      <a:pt x="27884" y="6971"/>
                    </a:cubicBezTo>
                    <a:cubicBezTo>
                      <a:pt x="27884" y="10822"/>
                      <a:pt x="24764" y="13942"/>
                      <a:pt x="20913" y="13942"/>
                    </a:cubicBezTo>
                    <a:close/>
                  </a:path>
                </a:pathLst>
              </a:custGeom>
              <a:solidFill>
                <a:schemeClr val="accent1"/>
              </a:solidFill>
              <a:ln w="326" cap="flat">
                <a:noFill/>
                <a:prstDash val="solid"/>
                <a:miter/>
              </a:ln>
            </p:spPr>
            <p:txBody>
              <a:bodyPr rtlCol="0" anchor="ctr"/>
              <a:lstStyle/>
              <a:p>
                <a:endParaRPr lang="en-GB" dirty="0"/>
              </a:p>
            </p:txBody>
          </p:sp>
          <p:sp>
            <p:nvSpPr>
              <p:cNvPr id="186" name="Freihandform: Form 879">
                <a:extLst>
                  <a:ext uri="{FF2B5EF4-FFF2-40B4-BE49-F238E27FC236}">
                    <a16:creationId xmlns:a16="http://schemas.microsoft.com/office/drawing/2014/main" id="{E43FBDF0-70EE-4CAF-8B28-FB3743B5A1D2}"/>
                  </a:ext>
                </a:extLst>
              </p:cNvPr>
              <p:cNvSpPr/>
              <p:nvPr/>
            </p:nvSpPr>
            <p:spPr>
              <a:xfrm>
                <a:off x="6378886" y="2825602"/>
                <a:ext cx="27883" cy="13941"/>
              </a:xfrm>
              <a:custGeom>
                <a:avLst/>
                <a:gdLst>
                  <a:gd name="connsiteX0" fmla="*/ 20913 w 27883"/>
                  <a:gd name="connsiteY0" fmla="*/ 13942 h 13941"/>
                  <a:gd name="connsiteX1" fmla="*/ 6971 w 27883"/>
                  <a:gd name="connsiteY1" fmla="*/ 13942 h 13941"/>
                  <a:gd name="connsiteX2" fmla="*/ 0 w 27883"/>
                  <a:gd name="connsiteY2" fmla="*/ 6971 h 13941"/>
                  <a:gd name="connsiteX3" fmla="*/ 6971 w 27883"/>
                  <a:gd name="connsiteY3" fmla="*/ 0 h 13941"/>
                  <a:gd name="connsiteX4" fmla="*/ 20913 w 27883"/>
                  <a:gd name="connsiteY4" fmla="*/ 0 h 13941"/>
                  <a:gd name="connsiteX5" fmla="*/ 27884 w 27883"/>
                  <a:gd name="connsiteY5" fmla="*/ 6971 h 13941"/>
                  <a:gd name="connsiteX6" fmla="*/ 20913 w 27883"/>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883" h="13941">
                    <a:moveTo>
                      <a:pt x="20913" y="13942"/>
                    </a:moveTo>
                    <a:lnTo>
                      <a:pt x="6971" y="13942"/>
                    </a:lnTo>
                    <a:cubicBezTo>
                      <a:pt x="3120" y="13942"/>
                      <a:pt x="0" y="10822"/>
                      <a:pt x="0" y="6971"/>
                    </a:cubicBezTo>
                    <a:cubicBezTo>
                      <a:pt x="0" y="3120"/>
                      <a:pt x="3120" y="0"/>
                      <a:pt x="6971" y="0"/>
                    </a:cubicBezTo>
                    <a:lnTo>
                      <a:pt x="20913" y="0"/>
                    </a:lnTo>
                    <a:cubicBezTo>
                      <a:pt x="24764" y="0"/>
                      <a:pt x="27884" y="3120"/>
                      <a:pt x="27884" y="6971"/>
                    </a:cubicBezTo>
                    <a:cubicBezTo>
                      <a:pt x="27884" y="10822"/>
                      <a:pt x="24764" y="13942"/>
                      <a:pt x="20913" y="13942"/>
                    </a:cubicBezTo>
                    <a:close/>
                  </a:path>
                </a:pathLst>
              </a:custGeom>
              <a:solidFill>
                <a:schemeClr val="accent1"/>
              </a:solidFill>
              <a:ln w="326" cap="flat">
                <a:noFill/>
                <a:prstDash val="solid"/>
                <a:miter/>
              </a:ln>
            </p:spPr>
            <p:txBody>
              <a:bodyPr rtlCol="0" anchor="ctr"/>
              <a:lstStyle/>
              <a:p>
                <a:endParaRPr lang="en-GB" dirty="0"/>
              </a:p>
            </p:txBody>
          </p:sp>
          <p:sp>
            <p:nvSpPr>
              <p:cNvPr id="187" name="Freihandform: Form 880">
                <a:extLst>
                  <a:ext uri="{FF2B5EF4-FFF2-40B4-BE49-F238E27FC236}">
                    <a16:creationId xmlns:a16="http://schemas.microsoft.com/office/drawing/2014/main" id="{12F3A4DB-250B-4157-901C-02855A0BE6D9}"/>
                  </a:ext>
                </a:extLst>
              </p:cNvPr>
              <p:cNvSpPr/>
              <p:nvPr/>
            </p:nvSpPr>
            <p:spPr>
              <a:xfrm>
                <a:off x="6427686" y="2755886"/>
                <a:ext cx="132458" cy="13941"/>
              </a:xfrm>
              <a:custGeom>
                <a:avLst/>
                <a:gdLst>
                  <a:gd name="connsiteX0" fmla="*/ 125488 w 132458"/>
                  <a:gd name="connsiteY0" fmla="*/ 13942 h 13941"/>
                  <a:gd name="connsiteX1" fmla="*/ 6971 w 132458"/>
                  <a:gd name="connsiteY1" fmla="*/ 13942 h 13941"/>
                  <a:gd name="connsiteX2" fmla="*/ 0 w 132458"/>
                  <a:gd name="connsiteY2" fmla="*/ 6971 h 13941"/>
                  <a:gd name="connsiteX3" fmla="*/ 6971 w 132458"/>
                  <a:gd name="connsiteY3" fmla="*/ 0 h 13941"/>
                  <a:gd name="connsiteX4" fmla="*/ 125488 w 132458"/>
                  <a:gd name="connsiteY4" fmla="*/ 0 h 13941"/>
                  <a:gd name="connsiteX5" fmla="*/ 132459 w 132458"/>
                  <a:gd name="connsiteY5" fmla="*/ 6971 h 13941"/>
                  <a:gd name="connsiteX6" fmla="*/ 125488 w 132458"/>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458" h="13941">
                    <a:moveTo>
                      <a:pt x="125488" y="13942"/>
                    </a:moveTo>
                    <a:lnTo>
                      <a:pt x="6971" y="13942"/>
                    </a:lnTo>
                    <a:cubicBezTo>
                      <a:pt x="3120" y="13942"/>
                      <a:pt x="0" y="10822"/>
                      <a:pt x="0" y="6971"/>
                    </a:cubicBezTo>
                    <a:cubicBezTo>
                      <a:pt x="0" y="3120"/>
                      <a:pt x="3120" y="0"/>
                      <a:pt x="6971" y="0"/>
                    </a:cubicBezTo>
                    <a:lnTo>
                      <a:pt x="125488" y="0"/>
                    </a:lnTo>
                    <a:cubicBezTo>
                      <a:pt x="129338" y="0"/>
                      <a:pt x="132459" y="3120"/>
                      <a:pt x="132459" y="6971"/>
                    </a:cubicBezTo>
                    <a:cubicBezTo>
                      <a:pt x="132459" y="10822"/>
                      <a:pt x="129338" y="13942"/>
                      <a:pt x="125488" y="13942"/>
                    </a:cubicBezTo>
                    <a:close/>
                  </a:path>
                </a:pathLst>
              </a:custGeom>
              <a:solidFill>
                <a:schemeClr val="accent1"/>
              </a:solidFill>
              <a:ln w="326" cap="flat">
                <a:noFill/>
                <a:prstDash val="solid"/>
                <a:miter/>
              </a:ln>
            </p:spPr>
            <p:txBody>
              <a:bodyPr rtlCol="0" anchor="ctr"/>
              <a:lstStyle/>
              <a:p>
                <a:endParaRPr lang="en-GB" dirty="0"/>
              </a:p>
            </p:txBody>
          </p:sp>
          <p:sp>
            <p:nvSpPr>
              <p:cNvPr id="188" name="Freihandform: Form 881">
                <a:extLst>
                  <a:ext uri="{FF2B5EF4-FFF2-40B4-BE49-F238E27FC236}">
                    <a16:creationId xmlns:a16="http://schemas.microsoft.com/office/drawing/2014/main" id="{78EF1BD8-A986-4DCB-A7AB-FDE2A1347CF3}"/>
                  </a:ext>
                </a:extLst>
              </p:cNvPr>
              <p:cNvSpPr/>
              <p:nvPr/>
            </p:nvSpPr>
            <p:spPr>
              <a:xfrm>
                <a:off x="6427686" y="2790744"/>
                <a:ext cx="97600" cy="13941"/>
              </a:xfrm>
              <a:custGeom>
                <a:avLst/>
                <a:gdLst>
                  <a:gd name="connsiteX0" fmla="*/ 90629 w 97600"/>
                  <a:gd name="connsiteY0" fmla="*/ 13942 h 13941"/>
                  <a:gd name="connsiteX1" fmla="*/ 6971 w 97600"/>
                  <a:gd name="connsiteY1" fmla="*/ 13942 h 13941"/>
                  <a:gd name="connsiteX2" fmla="*/ 0 w 97600"/>
                  <a:gd name="connsiteY2" fmla="*/ 6971 h 13941"/>
                  <a:gd name="connsiteX3" fmla="*/ 6971 w 97600"/>
                  <a:gd name="connsiteY3" fmla="*/ 0 h 13941"/>
                  <a:gd name="connsiteX4" fmla="*/ 90629 w 97600"/>
                  <a:gd name="connsiteY4" fmla="*/ 0 h 13941"/>
                  <a:gd name="connsiteX5" fmla="*/ 97600 w 97600"/>
                  <a:gd name="connsiteY5" fmla="*/ 6971 h 13941"/>
                  <a:gd name="connsiteX6" fmla="*/ 90629 w 97600"/>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00" h="13941">
                    <a:moveTo>
                      <a:pt x="90629" y="13942"/>
                    </a:moveTo>
                    <a:lnTo>
                      <a:pt x="6971" y="13942"/>
                    </a:lnTo>
                    <a:cubicBezTo>
                      <a:pt x="3120" y="13942"/>
                      <a:pt x="0" y="10822"/>
                      <a:pt x="0" y="6971"/>
                    </a:cubicBezTo>
                    <a:cubicBezTo>
                      <a:pt x="0" y="3120"/>
                      <a:pt x="3120" y="0"/>
                      <a:pt x="6971" y="0"/>
                    </a:cubicBezTo>
                    <a:lnTo>
                      <a:pt x="90629" y="0"/>
                    </a:lnTo>
                    <a:cubicBezTo>
                      <a:pt x="94480" y="0"/>
                      <a:pt x="97600" y="3120"/>
                      <a:pt x="97600" y="6971"/>
                    </a:cubicBezTo>
                    <a:cubicBezTo>
                      <a:pt x="97600" y="10822"/>
                      <a:pt x="94480" y="13942"/>
                      <a:pt x="90629" y="13942"/>
                    </a:cubicBezTo>
                    <a:close/>
                  </a:path>
                </a:pathLst>
              </a:custGeom>
              <a:solidFill>
                <a:schemeClr val="accent1"/>
              </a:solidFill>
              <a:ln w="326" cap="flat">
                <a:noFill/>
                <a:prstDash val="solid"/>
                <a:miter/>
              </a:ln>
            </p:spPr>
            <p:txBody>
              <a:bodyPr rtlCol="0" anchor="ctr"/>
              <a:lstStyle/>
              <a:p>
                <a:endParaRPr lang="en-GB" dirty="0"/>
              </a:p>
            </p:txBody>
          </p:sp>
          <p:sp>
            <p:nvSpPr>
              <p:cNvPr id="189" name="Freihandform: Form 882">
                <a:extLst>
                  <a:ext uri="{FF2B5EF4-FFF2-40B4-BE49-F238E27FC236}">
                    <a16:creationId xmlns:a16="http://schemas.microsoft.com/office/drawing/2014/main" id="{7B19061D-3BFC-4308-8E0B-01BB4EFDDBE2}"/>
                  </a:ext>
                </a:extLst>
              </p:cNvPr>
              <p:cNvSpPr/>
              <p:nvPr/>
            </p:nvSpPr>
            <p:spPr>
              <a:xfrm>
                <a:off x="6427686" y="2825602"/>
                <a:ext cx="55771" cy="13941"/>
              </a:xfrm>
              <a:custGeom>
                <a:avLst/>
                <a:gdLst>
                  <a:gd name="connsiteX0" fmla="*/ 48800 w 55771"/>
                  <a:gd name="connsiteY0" fmla="*/ 13942 h 13941"/>
                  <a:gd name="connsiteX1" fmla="*/ 6971 w 55771"/>
                  <a:gd name="connsiteY1" fmla="*/ 13942 h 13941"/>
                  <a:gd name="connsiteX2" fmla="*/ 0 w 55771"/>
                  <a:gd name="connsiteY2" fmla="*/ 6971 h 13941"/>
                  <a:gd name="connsiteX3" fmla="*/ 6971 w 55771"/>
                  <a:gd name="connsiteY3" fmla="*/ 0 h 13941"/>
                  <a:gd name="connsiteX4" fmla="*/ 48800 w 55771"/>
                  <a:gd name="connsiteY4" fmla="*/ 0 h 13941"/>
                  <a:gd name="connsiteX5" fmla="*/ 55771 w 55771"/>
                  <a:gd name="connsiteY5" fmla="*/ 6971 h 13941"/>
                  <a:gd name="connsiteX6" fmla="*/ 48800 w 55771"/>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771" h="13941">
                    <a:moveTo>
                      <a:pt x="48800" y="13942"/>
                    </a:moveTo>
                    <a:lnTo>
                      <a:pt x="6971" y="13942"/>
                    </a:lnTo>
                    <a:cubicBezTo>
                      <a:pt x="3120" y="13942"/>
                      <a:pt x="0" y="10822"/>
                      <a:pt x="0" y="6971"/>
                    </a:cubicBezTo>
                    <a:cubicBezTo>
                      <a:pt x="0" y="3120"/>
                      <a:pt x="3120" y="0"/>
                      <a:pt x="6971" y="0"/>
                    </a:cubicBezTo>
                    <a:lnTo>
                      <a:pt x="48800" y="0"/>
                    </a:lnTo>
                    <a:cubicBezTo>
                      <a:pt x="52651" y="0"/>
                      <a:pt x="55771" y="3120"/>
                      <a:pt x="55771" y="6971"/>
                    </a:cubicBezTo>
                    <a:cubicBezTo>
                      <a:pt x="55771" y="10822"/>
                      <a:pt x="52651" y="13942"/>
                      <a:pt x="48800" y="13942"/>
                    </a:cubicBezTo>
                    <a:close/>
                  </a:path>
                </a:pathLst>
              </a:custGeom>
              <a:solidFill>
                <a:schemeClr val="accent1"/>
              </a:solidFill>
              <a:ln w="326" cap="flat">
                <a:noFill/>
                <a:prstDash val="solid"/>
                <a:miter/>
              </a:ln>
            </p:spPr>
            <p:txBody>
              <a:bodyPr rtlCol="0" anchor="ctr"/>
              <a:lstStyle/>
              <a:p>
                <a:endParaRPr lang="en-GB" dirty="0"/>
              </a:p>
            </p:txBody>
          </p:sp>
        </p:grpSp>
      </p:grpSp>
      <p:grpSp>
        <p:nvGrpSpPr>
          <p:cNvPr id="31" name="Group 30">
            <a:extLst>
              <a:ext uri="{FF2B5EF4-FFF2-40B4-BE49-F238E27FC236}">
                <a16:creationId xmlns:a16="http://schemas.microsoft.com/office/drawing/2014/main" id="{FB249A71-0233-4DD5-896C-2170A7F85C7A}"/>
              </a:ext>
            </a:extLst>
          </p:cNvPr>
          <p:cNvGrpSpPr/>
          <p:nvPr/>
        </p:nvGrpSpPr>
        <p:grpSpPr>
          <a:xfrm>
            <a:off x="2725006" y="2391526"/>
            <a:ext cx="319825" cy="432000"/>
            <a:chOff x="2725006" y="2391526"/>
            <a:chExt cx="319825" cy="432000"/>
          </a:xfrm>
        </p:grpSpPr>
        <p:grpSp>
          <p:nvGrpSpPr>
            <p:cNvPr id="201" name="Group 200">
              <a:extLst>
                <a:ext uri="{FF2B5EF4-FFF2-40B4-BE49-F238E27FC236}">
                  <a16:creationId xmlns:a16="http://schemas.microsoft.com/office/drawing/2014/main" id="{29E39371-56DF-4907-B66F-B74268BA294B}"/>
                </a:ext>
              </a:extLst>
            </p:cNvPr>
            <p:cNvGrpSpPr/>
            <p:nvPr/>
          </p:nvGrpSpPr>
          <p:grpSpPr>
            <a:xfrm>
              <a:off x="2725006" y="2391526"/>
              <a:ext cx="319825" cy="432000"/>
              <a:chOff x="7068542" y="3402398"/>
              <a:chExt cx="333250" cy="450134"/>
            </a:xfrm>
          </p:grpSpPr>
          <p:sp>
            <p:nvSpPr>
              <p:cNvPr id="206" name="Freihandform: Form 637">
                <a:extLst>
                  <a:ext uri="{FF2B5EF4-FFF2-40B4-BE49-F238E27FC236}">
                    <a16:creationId xmlns:a16="http://schemas.microsoft.com/office/drawing/2014/main" id="{95F84B0C-3E42-4C05-BFD2-F0F42FAF56C5}"/>
                  </a:ext>
                </a:extLst>
              </p:cNvPr>
              <p:cNvSpPr/>
              <p:nvPr/>
            </p:nvSpPr>
            <p:spPr>
              <a:xfrm>
                <a:off x="7075802" y="3583500"/>
                <a:ext cx="123896" cy="146055"/>
              </a:xfrm>
              <a:custGeom>
                <a:avLst/>
                <a:gdLst>
                  <a:gd name="connsiteX0" fmla="*/ 106440 w 123896"/>
                  <a:gd name="connsiteY0" fmla="*/ 146055 h 146055"/>
                  <a:gd name="connsiteX1" fmla="*/ 31080 w 123896"/>
                  <a:gd name="connsiteY1" fmla="*/ 146055 h 146055"/>
                  <a:gd name="connsiteX2" fmla="*/ 13766 w 123896"/>
                  <a:gd name="connsiteY2" fmla="*/ 130806 h 146055"/>
                  <a:gd name="connsiteX3" fmla="*/ 10287 w 123896"/>
                  <a:gd name="connsiteY3" fmla="*/ 103525 h 146055"/>
                  <a:gd name="connsiteX4" fmla="*/ 16319 w 123896"/>
                  <a:gd name="connsiteY4" fmla="*/ 95722 h 146055"/>
                  <a:gd name="connsiteX5" fmla="*/ 24122 w 123896"/>
                  <a:gd name="connsiteY5" fmla="*/ 101754 h 146055"/>
                  <a:gd name="connsiteX6" fmla="*/ 27601 w 123896"/>
                  <a:gd name="connsiteY6" fmla="*/ 129042 h 146055"/>
                  <a:gd name="connsiteX7" fmla="*/ 31080 w 123896"/>
                  <a:gd name="connsiteY7" fmla="*/ 132113 h 146055"/>
                  <a:gd name="connsiteX8" fmla="*/ 106440 w 123896"/>
                  <a:gd name="connsiteY8" fmla="*/ 132113 h 146055"/>
                  <a:gd name="connsiteX9" fmla="*/ 109075 w 123896"/>
                  <a:gd name="connsiteY9" fmla="*/ 130923 h 146055"/>
                  <a:gd name="connsiteX10" fmla="*/ 109919 w 123896"/>
                  <a:gd name="connsiteY10" fmla="*/ 128158 h 146055"/>
                  <a:gd name="connsiteX11" fmla="*/ 96297 w 123896"/>
                  <a:gd name="connsiteY11" fmla="*/ 16981 h 146055"/>
                  <a:gd name="connsiteX12" fmla="*/ 92818 w 123896"/>
                  <a:gd name="connsiteY12" fmla="*/ 13945 h 146055"/>
                  <a:gd name="connsiteX13" fmla="*/ 17457 w 123896"/>
                  <a:gd name="connsiteY13" fmla="*/ 13945 h 146055"/>
                  <a:gd name="connsiteX14" fmla="*/ 14823 w 123896"/>
                  <a:gd name="connsiteY14" fmla="*/ 15135 h 146055"/>
                  <a:gd name="connsiteX15" fmla="*/ 13978 w 123896"/>
                  <a:gd name="connsiteY15" fmla="*/ 17900 h 146055"/>
                  <a:gd name="connsiteX16" fmla="*/ 19035 w 123896"/>
                  <a:gd name="connsiteY16" fmla="*/ 60098 h 146055"/>
                  <a:gd name="connsiteX17" fmla="*/ 12941 w 123896"/>
                  <a:gd name="connsiteY17" fmla="*/ 67851 h 146055"/>
                  <a:gd name="connsiteX18" fmla="*/ 5188 w 123896"/>
                  <a:gd name="connsiteY18" fmla="*/ 61758 h 146055"/>
                  <a:gd name="connsiteX19" fmla="*/ 137 w 123896"/>
                  <a:gd name="connsiteY19" fmla="*/ 19615 h 146055"/>
                  <a:gd name="connsiteX20" fmla="*/ 4353 w 123896"/>
                  <a:gd name="connsiteY20" fmla="*/ 5925 h 146055"/>
                  <a:gd name="connsiteX21" fmla="*/ 17460 w 123896"/>
                  <a:gd name="connsiteY21" fmla="*/ 0 h 146055"/>
                  <a:gd name="connsiteX22" fmla="*/ 92821 w 123896"/>
                  <a:gd name="connsiteY22" fmla="*/ 0 h 146055"/>
                  <a:gd name="connsiteX23" fmla="*/ 110134 w 123896"/>
                  <a:gd name="connsiteY23" fmla="*/ 15249 h 146055"/>
                  <a:gd name="connsiteX24" fmla="*/ 123757 w 123896"/>
                  <a:gd name="connsiteY24" fmla="*/ 126420 h 146055"/>
                  <a:gd name="connsiteX25" fmla="*/ 119551 w 123896"/>
                  <a:gd name="connsiteY25" fmla="*/ 140131 h 146055"/>
                  <a:gd name="connsiteX26" fmla="*/ 106440 w 123896"/>
                  <a:gd name="connsiteY26" fmla="*/ 146055 h 146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3896" h="146055">
                    <a:moveTo>
                      <a:pt x="106440" y="146055"/>
                    </a:moveTo>
                    <a:lnTo>
                      <a:pt x="31080" y="146055"/>
                    </a:lnTo>
                    <a:cubicBezTo>
                      <a:pt x="22319" y="146055"/>
                      <a:pt x="14875" y="139498"/>
                      <a:pt x="13766" y="130806"/>
                    </a:cubicBezTo>
                    <a:lnTo>
                      <a:pt x="10287" y="103525"/>
                    </a:lnTo>
                    <a:cubicBezTo>
                      <a:pt x="9805" y="99707"/>
                      <a:pt x="12501" y="96211"/>
                      <a:pt x="16319" y="95722"/>
                    </a:cubicBezTo>
                    <a:cubicBezTo>
                      <a:pt x="20173" y="95315"/>
                      <a:pt x="23633" y="97936"/>
                      <a:pt x="24122" y="101754"/>
                    </a:cubicBezTo>
                    <a:lnTo>
                      <a:pt x="27601" y="129042"/>
                    </a:lnTo>
                    <a:cubicBezTo>
                      <a:pt x="27826" y="130793"/>
                      <a:pt x="29316" y="132113"/>
                      <a:pt x="31080" y="132113"/>
                    </a:cubicBezTo>
                    <a:lnTo>
                      <a:pt x="106440" y="132113"/>
                    </a:lnTo>
                    <a:cubicBezTo>
                      <a:pt x="107823" y="132113"/>
                      <a:pt x="108687" y="131363"/>
                      <a:pt x="109075" y="130923"/>
                    </a:cubicBezTo>
                    <a:cubicBezTo>
                      <a:pt x="109469" y="130480"/>
                      <a:pt x="110095" y="129528"/>
                      <a:pt x="109919" y="128158"/>
                    </a:cubicBezTo>
                    <a:lnTo>
                      <a:pt x="96297" y="16981"/>
                    </a:lnTo>
                    <a:cubicBezTo>
                      <a:pt x="96072" y="15266"/>
                      <a:pt x="94582" y="13945"/>
                      <a:pt x="92818" y="13945"/>
                    </a:cubicBezTo>
                    <a:lnTo>
                      <a:pt x="17457" y="13945"/>
                    </a:lnTo>
                    <a:cubicBezTo>
                      <a:pt x="16075" y="13945"/>
                      <a:pt x="15211" y="14695"/>
                      <a:pt x="14823" y="15135"/>
                    </a:cubicBezTo>
                    <a:cubicBezTo>
                      <a:pt x="14428" y="15579"/>
                      <a:pt x="13802" y="16531"/>
                      <a:pt x="13978" y="17900"/>
                    </a:cubicBezTo>
                    <a:lnTo>
                      <a:pt x="19035" y="60098"/>
                    </a:lnTo>
                    <a:cubicBezTo>
                      <a:pt x="19492" y="63923"/>
                      <a:pt x="16763" y="67389"/>
                      <a:pt x="12941" y="67851"/>
                    </a:cubicBezTo>
                    <a:cubicBezTo>
                      <a:pt x="9094" y="68314"/>
                      <a:pt x="5651" y="65579"/>
                      <a:pt x="5188" y="61758"/>
                    </a:cubicBezTo>
                    <a:lnTo>
                      <a:pt x="137" y="19615"/>
                    </a:lnTo>
                    <a:cubicBezTo>
                      <a:pt x="-489" y="14698"/>
                      <a:pt x="1044" y="9690"/>
                      <a:pt x="4353" y="5925"/>
                    </a:cubicBezTo>
                    <a:cubicBezTo>
                      <a:pt x="7669" y="2159"/>
                      <a:pt x="12442" y="0"/>
                      <a:pt x="17460" y="0"/>
                    </a:cubicBezTo>
                    <a:lnTo>
                      <a:pt x="92821" y="0"/>
                    </a:lnTo>
                    <a:cubicBezTo>
                      <a:pt x="101582" y="0"/>
                      <a:pt x="109026" y="6557"/>
                      <a:pt x="110134" y="15249"/>
                    </a:cubicBezTo>
                    <a:lnTo>
                      <a:pt x="123757" y="126420"/>
                    </a:lnTo>
                    <a:cubicBezTo>
                      <a:pt x="124389" y="131357"/>
                      <a:pt x="122857" y="136368"/>
                      <a:pt x="119551" y="140131"/>
                    </a:cubicBezTo>
                    <a:cubicBezTo>
                      <a:pt x="116231" y="143897"/>
                      <a:pt x="111458" y="146055"/>
                      <a:pt x="106440" y="146055"/>
                    </a:cubicBezTo>
                    <a:close/>
                  </a:path>
                </a:pathLst>
              </a:custGeom>
              <a:solidFill>
                <a:schemeClr val="tx2"/>
              </a:solidFill>
              <a:ln w="326" cap="flat">
                <a:noFill/>
                <a:prstDash val="solid"/>
                <a:miter/>
              </a:ln>
            </p:spPr>
            <p:txBody>
              <a:bodyPr rtlCol="0" anchor="ctr"/>
              <a:lstStyle/>
              <a:p>
                <a:endParaRPr lang="en-GB" dirty="0"/>
              </a:p>
            </p:txBody>
          </p:sp>
          <p:sp>
            <p:nvSpPr>
              <p:cNvPr id="207" name="Freihandform: Form 638">
                <a:extLst>
                  <a:ext uri="{FF2B5EF4-FFF2-40B4-BE49-F238E27FC236}">
                    <a16:creationId xmlns:a16="http://schemas.microsoft.com/office/drawing/2014/main" id="{B21C51F1-5258-4A4D-B6A7-6836B6C25D75}"/>
                  </a:ext>
                </a:extLst>
              </p:cNvPr>
              <p:cNvSpPr/>
              <p:nvPr/>
            </p:nvSpPr>
            <p:spPr>
              <a:xfrm>
                <a:off x="7068542" y="3639005"/>
                <a:ext cx="53810" cy="53200"/>
              </a:xfrm>
              <a:custGeom>
                <a:avLst/>
                <a:gdLst>
                  <a:gd name="connsiteX0" fmla="*/ 39954 w 53810"/>
                  <a:gd name="connsiteY0" fmla="*/ 53201 h 53200"/>
                  <a:gd name="connsiteX1" fmla="*/ 38027 w 53810"/>
                  <a:gd name="connsiteY1" fmla="*/ 53064 h 53200"/>
                  <a:gd name="connsiteX2" fmla="*/ 14287 w 53810"/>
                  <a:gd name="connsiteY2" fmla="*/ 49774 h 53200"/>
                  <a:gd name="connsiteX3" fmla="*/ 2386 w 53810"/>
                  <a:gd name="connsiteY3" fmla="*/ 37466 h 53200"/>
                  <a:gd name="connsiteX4" fmla="*/ 77 w 53810"/>
                  <a:gd name="connsiteY4" fmla="*/ 15346 h 53200"/>
                  <a:gd name="connsiteX5" fmla="*/ 4244 w 53810"/>
                  <a:gd name="connsiteY5" fmla="*/ 3908 h 53200"/>
                  <a:gd name="connsiteX6" fmla="*/ 15796 w 53810"/>
                  <a:gd name="connsiteY6" fmla="*/ 149 h 53200"/>
                  <a:gd name="connsiteX7" fmla="*/ 39530 w 53810"/>
                  <a:gd name="connsiteY7" fmla="*/ 3439 h 53200"/>
                  <a:gd name="connsiteX8" fmla="*/ 51431 w 53810"/>
                  <a:gd name="connsiteY8" fmla="*/ 15760 h 53200"/>
                  <a:gd name="connsiteX9" fmla="*/ 53733 w 53810"/>
                  <a:gd name="connsiteY9" fmla="*/ 37867 h 53200"/>
                  <a:gd name="connsiteX10" fmla="*/ 49585 w 53810"/>
                  <a:gd name="connsiteY10" fmla="*/ 49285 h 53200"/>
                  <a:gd name="connsiteX11" fmla="*/ 39954 w 53810"/>
                  <a:gd name="connsiteY11" fmla="*/ 53201 h 53200"/>
                  <a:gd name="connsiteX12" fmla="*/ 13866 w 53810"/>
                  <a:gd name="connsiteY12" fmla="*/ 13957 h 53200"/>
                  <a:gd name="connsiteX13" fmla="*/ 16250 w 53810"/>
                  <a:gd name="connsiteY13" fmla="*/ 36015 h 53200"/>
                  <a:gd name="connsiteX14" fmla="*/ 39941 w 53810"/>
                  <a:gd name="connsiteY14" fmla="*/ 39256 h 53200"/>
                  <a:gd name="connsiteX15" fmla="*/ 37564 w 53810"/>
                  <a:gd name="connsiteY15" fmla="*/ 17198 h 53200"/>
                  <a:gd name="connsiteX16" fmla="*/ 13879 w 53810"/>
                  <a:gd name="connsiteY16" fmla="*/ 13957 h 53200"/>
                  <a:gd name="connsiteX17" fmla="*/ 13879 w 53810"/>
                  <a:gd name="connsiteY17" fmla="*/ 13957 h 53200"/>
                  <a:gd name="connsiteX18" fmla="*/ 13866 w 53810"/>
                  <a:gd name="connsiteY18" fmla="*/ 13957 h 5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810" h="53200">
                    <a:moveTo>
                      <a:pt x="39954" y="53201"/>
                    </a:moveTo>
                    <a:cubicBezTo>
                      <a:pt x="39315" y="53201"/>
                      <a:pt x="38672" y="53152"/>
                      <a:pt x="38027" y="53064"/>
                    </a:cubicBezTo>
                    <a:lnTo>
                      <a:pt x="14287" y="49774"/>
                    </a:lnTo>
                    <a:cubicBezTo>
                      <a:pt x="7955" y="48903"/>
                      <a:pt x="3054" y="43837"/>
                      <a:pt x="2386" y="37466"/>
                    </a:cubicBezTo>
                    <a:lnTo>
                      <a:pt x="77" y="15346"/>
                    </a:lnTo>
                    <a:cubicBezTo>
                      <a:pt x="-372" y="11065"/>
                      <a:pt x="1154" y="6898"/>
                      <a:pt x="4244" y="3908"/>
                    </a:cubicBezTo>
                    <a:cubicBezTo>
                      <a:pt x="7329" y="925"/>
                      <a:pt x="11476" y="-484"/>
                      <a:pt x="15796" y="149"/>
                    </a:cubicBezTo>
                    <a:lnTo>
                      <a:pt x="39530" y="3439"/>
                    </a:lnTo>
                    <a:cubicBezTo>
                      <a:pt x="45875" y="4316"/>
                      <a:pt x="50769" y="9383"/>
                      <a:pt x="51431" y="15760"/>
                    </a:cubicBezTo>
                    <a:lnTo>
                      <a:pt x="53733" y="37867"/>
                    </a:lnTo>
                    <a:cubicBezTo>
                      <a:pt x="54183" y="42128"/>
                      <a:pt x="52670" y="46295"/>
                      <a:pt x="49585" y="49285"/>
                    </a:cubicBezTo>
                    <a:cubicBezTo>
                      <a:pt x="46967" y="51825"/>
                      <a:pt x="43537" y="53201"/>
                      <a:pt x="39954" y="53201"/>
                    </a:cubicBezTo>
                    <a:close/>
                    <a:moveTo>
                      <a:pt x="13866" y="13957"/>
                    </a:moveTo>
                    <a:lnTo>
                      <a:pt x="16250" y="36015"/>
                    </a:lnTo>
                    <a:lnTo>
                      <a:pt x="39941" y="39256"/>
                    </a:lnTo>
                    <a:lnTo>
                      <a:pt x="37564" y="17198"/>
                    </a:lnTo>
                    <a:lnTo>
                      <a:pt x="13879" y="13957"/>
                    </a:lnTo>
                    <a:lnTo>
                      <a:pt x="13879" y="13957"/>
                    </a:lnTo>
                    <a:lnTo>
                      <a:pt x="13866" y="13957"/>
                    </a:lnTo>
                    <a:close/>
                  </a:path>
                </a:pathLst>
              </a:custGeom>
              <a:solidFill>
                <a:schemeClr val="tx2"/>
              </a:solidFill>
              <a:ln w="326" cap="flat">
                <a:noFill/>
                <a:prstDash val="solid"/>
                <a:miter/>
              </a:ln>
            </p:spPr>
            <p:txBody>
              <a:bodyPr rtlCol="0" anchor="ctr"/>
              <a:lstStyle/>
              <a:p>
                <a:endParaRPr lang="en-GB" dirty="0"/>
              </a:p>
            </p:txBody>
          </p:sp>
          <p:sp>
            <p:nvSpPr>
              <p:cNvPr id="208" name="Freihandform: Form 639">
                <a:extLst>
                  <a:ext uri="{FF2B5EF4-FFF2-40B4-BE49-F238E27FC236}">
                    <a16:creationId xmlns:a16="http://schemas.microsoft.com/office/drawing/2014/main" id="{37BDFAE1-C568-46AB-83E3-1CDB7009193C}"/>
                  </a:ext>
                </a:extLst>
              </p:cNvPr>
              <p:cNvSpPr/>
              <p:nvPr/>
            </p:nvSpPr>
            <p:spPr>
              <a:xfrm>
                <a:off x="7194485" y="3402398"/>
                <a:ext cx="110466" cy="129775"/>
              </a:xfrm>
              <a:custGeom>
                <a:avLst/>
                <a:gdLst>
                  <a:gd name="connsiteX0" fmla="*/ 55233 w 110466"/>
                  <a:gd name="connsiteY0" fmla="*/ 129775 h 129775"/>
                  <a:gd name="connsiteX1" fmla="*/ 0 w 110466"/>
                  <a:gd name="connsiteY1" fmla="*/ 64888 h 129775"/>
                  <a:gd name="connsiteX2" fmla="*/ 55233 w 110466"/>
                  <a:gd name="connsiteY2" fmla="*/ 0 h 129775"/>
                  <a:gd name="connsiteX3" fmla="*/ 110466 w 110466"/>
                  <a:gd name="connsiteY3" fmla="*/ 64888 h 129775"/>
                  <a:gd name="connsiteX4" fmla="*/ 55233 w 110466"/>
                  <a:gd name="connsiteY4" fmla="*/ 129775 h 129775"/>
                  <a:gd name="connsiteX5" fmla="*/ 55233 w 110466"/>
                  <a:gd name="connsiteY5" fmla="*/ 13942 h 129775"/>
                  <a:gd name="connsiteX6" fmla="*/ 13942 w 110466"/>
                  <a:gd name="connsiteY6" fmla="*/ 64888 h 129775"/>
                  <a:gd name="connsiteX7" fmla="*/ 55233 w 110466"/>
                  <a:gd name="connsiteY7" fmla="*/ 115833 h 129775"/>
                  <a:gd name="connsiteX8" fmla="*/ 96524 w 110466"/>
                  <a:gd name="connsiteY8" fmla="*/ 64888 h 129775"/>
                  <a:gd name="connsiteX9" fmla="*/ 55233 w 110466"/>
                  <a:gd name="connsiteY9" fmla="*/ 13942 h 12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466" h="129775">
                    <a:moveTo>
                      <a:pt x="55233" y="129775"/>
                    </a:moveTo>
                    <a:cubicBezTo>
                      <a:pt x="21682" y="129775"/>
                      <a:pt x="0" y="104307"/>
                      <a:pt x="0" y="64888"/>
                    </a:cubicBezTo>
                    <a:cubicBezTo>
                      <a:pt x="0" y="25468"/>
                      <a:pt x="21682" y="0"/>
                      <a:pt x="55233" y="0"/>
                    </a:cubicBezTo>
                    <a:cubicBezTo>
                      <a:pt x="88784" y="0"/>
                      <a:pt x="110466" y="25468"/>
                      <a:pt x="110466" y="64888"/>
                    </a:cubicBezTo>
                    <a:cubicBezTo>
                      <a:pt x="110466" y="104307"/>
                      <a:pt x="88784" y="129775"/>
                      <a:pt x="55233" y="129775"/>
                    </a:cubicBezTo>
                    <a:close/>
                    <a:moveTo>
                      <a:pt x="55233" y="13942"/>
                    </a:moveTo>
                    <a:cubicBezTo>
                      <a:pt x="24786" y="13942"/>
                      <a:pt x="13942" y="40254"/>
                      <a:pt x="13942" y="64888"/>
                    </a:cubicBezTo>
                    <a:cubicBezTo>
                      <a:pt x="13942" y="89521"/>
                      <a:pt x="24786" y="115833"/>
                      <a:pt x="55233" y="115833"/>
                    </a:cubicBezTo>
                    <a:cubicBezTo>
                      <a:pt x="85680" y="115833"/>
                      <a:pt x="96524" y="89521"/>
                      <a:pt x="96524" y="64888"/>
                    </a:cubicBezTo>
                    <a:cubicBezTo>
                      <a:pt x="96524" y="40254"/>
                      <a:pt x="85680" y="13942"/>
                      <a:pt x="55233" y="13942"/>
                    </a:cubicBezTo>
                    <a:close/>
                  </a:path>
                </a:pathLst>
              </a:custGeom>
              <a:solidFill>
                <a:schemeClr val="tx2"/>
              </a:solidFill>
              <a:ln w="326" cap="flat">
                <a:noFill/>
                <a:prstDash val="solid"/>
                <a:miter/>
              </a:ln>
            </p:spPr>
            <p:txBody>
              <a:bodyPr rtlCol="0" anchor="ctr"/>
              <a:lstStyle/>
              <a:p>
                <a:endParaRPr lang="en-GB" dirty="0"/>
              </a:p>
            </p:txBody>
          </p:sp>
          <p:sp>
            <p:nvSpPr>
              <p:cNvPr id="209" name="Freihandform: Form 641">
                <a:extLst>
                  <a:ext uri="{FF2B5EF4-FFF2-40B4-BE49-F238E27FC236}">
                    <a16:creationId xmlns:a16="http://schemas.microsoft.com/office/drawing/2014/main" id="{F1371E02-199B-4A81-B3E5-689123675161}"/>
                  </a:ext>
                </a:extLst>
              </p:cNvPr>
              <p:cNvSpPr/>
              <p:nvPr/>
            </p:nvSpPr>
            <p:spPr>
              <a:xfrm>
                <a:off x="7235128" y="3554260"/>
                <a:ext cx="30078" cy="13941"/>
              </a:xfrm>
              <a:custGeom>
                <a:avLst/>
                <a:gdLst>
                  <a:gd name="connsiteX0" fmla="*/ 23107 w 30078"/>
                  <a:gd name="connsiteY0" fmla="*/ 13942 h 13941"/>
                  <a:gd name="connsiteX1" fmla="*/ 6971 w 30078"/>
                  <a:gd name="connsiteY1" fmla="*/ 13942 h 13941"/>
                  <a:gd name="connsiteX2" fmla="*/ 0 w 30078"/>
                  <a:gd name="connsiteY2" fmla="*/ 6971 h 13941"/>
                  <a:gd name="connsiteX3" fmla="*/ 6971 w 30078"/>
                  <a:gd name="connsiteY3" fmla="*/ 0 h 13941"/>
                  <a:gd name="connsiteX4" fmla="*/ 23107 w 30078"/>
                  <a:gd name="connsiteY4" fmla="*/ 0 h 13941"/>
                  <a:gd name="connsiteX5" fmla="*/ 30078 w 30078"/>
                  <a:gd name="connsiteY5" fmla="*/ 6971 h 13941"/>
                  <a:gd name="connsiteX6" fmla="*/ 23107 w 30078"/>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78" h="13941">
                    <a:moveTo>
                      <a:pt x="23107" y="13942"/>
                    </a:moveTo>
                    <a:lnTo>
                      <a:pt x="6971" y="13942"/>
                    </a:lnTo>
                    <a:cubicBezTo>
                      <a:pt x="3117" y="13942"/>
                      <a:pt x="0" y="10825"/>
                      <a:pt x="0" y="6971"/>
                    </a:cubicBezTo>
                    <a:cubicBezTo>
                      <a:pt x="0" y="3117"/>
                      <a:pt x="3117" y="0"/>
                      <a:pt x="6971" y="0"/>
                    </a:cubicBezTo>
                    <a:lnTo>
                      <a:pt x="23107" y="0"/>
                    </a:lnTo>
                    <a:cubicBezTo>
                      <a:pt x="26961" y="0"/>
                      <a:pt x="30078" y="3117"/>
                      <a:pt x="30078" y="6971"/>
                    </a:cubicBezTo>
                    <a:cubicBezTo>
                      <a:pt x="30078" y="10825"/>
                      <a:pt x="26961" y="13942"/>
                      <a:pt x="23107" y="13942"/>
                    </a:cubicBezTo>
                    <a:close/>
                  </a:path>
                </a:pathLst>
              </a:custGeom>
              <a:solidFill>
                <a:schemeClr val="tx2"/>
              </a:solidFill>
              <a:ln w="326" cap="flat">
                <a:noFill/>
                <a:prstDash val="solid"/>
                <a:miter/>
              </a:ln>
            </p:spPr>
            <p:txBody>
              <a:bodyPr rtlCol="0" anchor="ctr"/>
              <a:lstStyle/>
              <a:p>
                <a:endParaRPr lang="en-GB" dirty="0"/>
              </a:p>
            </p:txBody>
          </p:sp>
          <p:sp>
            <p:nvSpPr>
              <p:cNvPr id="210" name="Freihandform: Form 642">
                <a:extLst>
                  <a:ext uri="{FF2B5EF4-FFF2-40B4-BE49-F238E27FC236}">
                    <a16:creationId xmlns:a16="http://schemas.microsoft.com/office/drawing/2014/main" id="{0C3492C9-9639-4F5D-A9AC-8BC78FD0BB46}"/>
                  </a:ext>
                </a:extLst>
              </p:cNvPr>
              <p:cNvSpPr/>
              <p:nvPr/>
            </p:nvSpPr>
            <p:spPr>
              <a:xfrm>
                <a:off x="7243197" y="3554260"/>
                <a:ext cx="13941" cy="78483"/>
              </a:xfrm>
              <a:custGeom>
                <a:avLst/>
                <a:gdLst>
                  <a:gd name="connsiteX0" fmla="*/ 6971 w 13941"/>
                  <a:gd name="connsiteY0" fmla="*/ 78484 h 78483"/>
                  <a:gd name="connsiteX1" fmla="*/ 0 w 13941"/>
                  <a:gd name="connsiteY1" fmla="*/ 71513 h 78483"/>
                  <a:gd name="connsiteX2" fmla="*/ 0 w 13941"/>
                  <a:gd name="connsiteY2" fmla="*/ 6971 h 78483"/>
                  <a:gd name="connsiteX3" fmla="*/ 6971 w 13941"/>
                  <a:gd name="connsiteY3" fmla="*/ 0 h 78483"/>
                  <a:gd name="connsiteX4" fmla="*/ 13942 w 13941"/>
                  <a:gd name="connsiteY4" fmla="*/ 6971 h 78483"/>
                  <a:gd name="connsiteX5" fmla="*/ 13942 w 13941"/>
                  <a:gd name="connsiteY5" fmla="*/ 71513 h 78483"/>
                  <a:gd name="connsiteX6" fmla="*/ 6971 w 13941"/>
                  <a:gd name="connsiteY6" fmla="*/ 78484 h 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41" h="78483">
                    <a:moveTo>
                      <a:pt x="6971" y="78484"/>
                    </a:moveTo>
                    <a:cubicBezTo>
                      <a:pt x="3117" y="78484"/>
                      <a:pt x="0" y="75367"/>
                      <a:pt x="0" y="71513"/>
                    </a:cubicBezTo>
                    <a:lnTo>
                      <a:pt x="0" y="6971"/>
                    </a:lnTo>
                    <a:cubicBezTo>
                      <a:pt x="0" y="3117"/>
                      <a:pt x="3117" y="0"/>
                      <a:pt x="6971" y="0"/>
                    </a:cubicBezTo>
                    <a:cubicBezTo>
                      <a:pt x="10825" y="0"/>
                      <a:pt x="13942" y="3117"/>
                      <a:pt x="13942" y="6971"/>
                    </a:cubicBezTo>
                    <a:lnTo>
                      <a:pt x="13942" y="71513"/>
                    </a:lnTo>
                    <a:cubicBezTo>
                      <a:pt x="13942" y="75367"/>
                      <a:pt x="10825" y="78484"/>
                      <a:pt x="6971" y="78484"/>
                    </a:cubicBezTo>
                    <a:close/>
                  </a:path>
                </a:pathLst>
              </a:custGeom>
              <a:solidFill>
                <a:schemeClr val="tx2"/>
              </a:solidFill>
              <a:ln w="326" cap="flat">
                <a:noFill/>
                <a:prstDash val="solid"/>
                <a:miter/>
              </a:ln>
            </p:spPr>
            <p:txBody>
              <a:bodyPr rtlCol="0" anchor="ctr"/>
              <a:lstStyle/>
              <a:p>
                <a:endParaRPr lang="en-GB" dirty="0"/>
              </a:p>
            </p:txBody>
          </p:sp>
          <p:sp>
            <p:nvSpPr>
              <p:cNvPr id="211" name="Freihandform: Form 643">
                <a:extLst>
                  <a:ext uri="{FF2B5EF4-FFF2-40B4-BE49-F238E27FC236}">
                    <a16:creationId xmlns:a16="http://schemas.microsoft.com/office/drawing/2014/main" id="{967C574E-C786-45AC-84B6-4C7B4F1EB323}"/>
                  </a:ext>
                </a:extLst>
              </p:cNvPr>
              <p:cNvSpPr/>
              <p:nvPr/>
            </p:nvSpPr>
            <p:spPr>
              <a:xfrm>
                <a:off x="7143037" y="3554260"/>
                <a:ext cx="249540" cy="175295"/>
              </a:xfrm>
              <a:custGeom>
                <a:avLst/>
                <a:gdLst>
                  <a:gd name="connsiteX0" fmla="*/ 220079 w 249540"/>
                  <a:gd name="connsiteY0" fmla="*/ 175295 h 175295"/>
                  <a:gd name="connsiteX1" fmla="*/ 115197 w 249540"/>
                  <a:gd name="connsiteY1" fmla="*/ 175295 h 175295"/>
                  <a:gd name="connsiteX2" fmla="*/ 100157 w 249540"/>
                  <a:gd name="connsiteY2" fmla="*/ 160255 h 175295"/>
                  <a:gd name="connsiteX3" fmla="*/ 100157 w 249540"/>
                  <a:gd name="connsiteY3" fmla="*/ 130408 h 175295"/>
                  <a:gd name="connsiteX4" fmla="*/ 114966 w 249540"/>
                  <a:gd name="connsiteY4" fmla="*/ 115367 h 175295"/>
                  <a:gd name="connsiteX5" fmla="*/ 178174 w 249540"/>
                  <a:gd name="connsiteY5" fmla="*/ 115230 h 175295"/>
                  <a:gd name="connsiteX6" fmla="*/ 168758 w 249540"/>
                  <a:gd name="connsiteY6" fmla="*/ 93098 h 175295"/>
                  <a:gd name="connsiteX7" fmla="*/ 172442 w 249540"/>
                  <a:gd name="connsiteY7" fmla="*/ 83955 h 175295"/>
                  <a:gd name="connsiteX8" fmla="*/ 181585 w 249540"/>
                  <a:gd name="connsiteY8" fmla="*/ 87640 h 175295"/>
                  <a:gd name="connsiteX9" fmla="*/ 195227 w 249540"/>
                  <a:gd name="connsiteY9" fmla="*/ 119713 h 175295"/>
                  <a:gd name="connsiteX10" fmla="*/ 194575 w 249540"/>
                  <a:gd name="connsiteY10" fmla="*/ 126371 h 175295"/>
                  <a:gd name="connsiteX11" fmla="*/ 188618 w 249540"/>
                  <a:gd name="connsiteY11" fmla="*/ 129413 h 175295"/>
                  <a:gd name="connsiteX12" fmla="*/ 115191 w 249540"/>
                  <a:gd name="connsiteY12" fmla="*/ 129312 h 175295"/>
                  <a:gd name="connsiteX13" fmla="*/ 114102 w 249540"/>
                  <a:gd name="connsiteY13" fmla="*/ 130408 h 175295"/>
                  <a:gd name="connsiteX14" fmla="*/ 114102 w 249540"/>
                  <a:gd name="connsiteY14" fmla="*/ 160255 h 175295"/>
                  <a:gd name="connsiteX15" fmla="*/ 115197 w 249540"/>
                  <a:gd name="connsiteY15" fmla="*/ 161350 h 175295"/>
                  <a:gd name="connsiteX16" fmla="*/ 220079 w 249540"/>
                  <a:gd name="connsiteY16" fmla="*/ 161350 h 175295"/>
                  <a:gd name="connsiteX17" fmla="*/ 232429 w 249540"/>
                  <a:gd name="connsiteY17" fmla="*/ 156143 h 175295"/>
                  <a:gd name="connsiteX18" fmla="*/ 233600 w 249540"/>
                  <a:gd name="connsiteY18" fmla="*/ 132609 h 175295"/>
                  <a:gd name="connsiteX19" fmla="*/ 208660 w 249540"/>
                  <a:gd name="connsiteY19" fmla="*/ 55377 h 175295"/>
                  <a:gd name="connsiteX20" fmla="*/ 161301 w 249540"/>
                  <a:gd name="connsiteY20" fmla="*/ 13942 h 175295"/>
                  <a:gd name="connsiteX21" fmla="*/ 159443 w 249540"/>
                  <a:gd name="connsiteY21" fmla="*/ 13942 h 175295"/>
                  <a:gd name="connsiteX22" fmla="*/ 120179 w 249540"/>
                  <a:gd name="connsiteY22" fmla="*/ 78096 h 175295"/>
                  <a:gd name="connsiteX23" fmla="*/ 107128 w 249540"/>
                  <a:gd name="connsiteY23" fmla="*/ 85673 h 175295"/>
                  <a:gd name="connsiteX24" fmla="*/ 107121 w 249540"/>
                  <a:gd name="connsiteY24" fmla="*/ 85673 h 175295"/>
                  <a:gd name="connsiteX25" fmla="*/ 93887 w 249540"/>
                  <a:gd name="connsiteY25" fmla="*/ 77763 h 175295"/>
                  <a:gd name="connsiteX26" fmla="*/ 54816 w 249540"/>
                  <a:gd name="connsiteY26" fmla="*/ 13942 h 175295"/>
                  <a:gd name="connsiteX27" fmla="*/ 52964 w 249540"/>
                  <a:gd name="connsiteY27" fmla="*/ 13942 h 175295"/>
                  <a:gd name="connsiteX28" fmla="*/ 13026 w 249540"/>
                  <a:gd name="connsiteY28" fmla="*/ 38888 h 175295"/>
                  <a:gd name="connsiteX29" fmla="*/ 3515 w 249540"/>
                  <a:gd name="connsiteY29" fmla="*/ 41484 h 175295"/>
                  <a:gd name="connsiteX30" fmla="*/ 919 w 249540"/>
                  <a:gd name="connsiteY30" fmla="*/ 31973 h 175295"/>
                  <a:gd name="connsiteX31" fmla="*/ 52961 w 249540"/>
                  <a:gd name="connsiteY31" fmla="*/ 0 h 175295"/>
                  <a:gd name="connsiteX32" fmla="*/ 58722 w 249540"/>
                  <a:gd name="connsiteY32" fmla="*/ 0 h 175295"/>
                  <a:gd name="connsiteX33" fmla="*/ 64666 w 249540"/>
                  <a:gd name="connsiteY33" fmla="*/ 3329 h 175295"/>
                  <a:gd name="connsiteX34" fmla="*/ 105970 w 249540"/>
                  <a:gd name="connsiteY34" fmla="*/ 70818 h 175295"/>
                  <a:gd name="connsiteX35" fmla="*/ 107128 w 249540"/>
                  <a:gd name="connsiteY35" fmla="*/ 71731 h 175295"/>
                  <a:gd name="connsiteX36" fmla="*/ 107128 w 249540"/>
                  <a:gd name="connsiteY36" fmla="*/ 71731 h 175295"/>
                  <a:gd name="connsiteX37" fmla="*/ 108102 w 249540"/>
                  <a:gd name="connsiteY37" fmla="*/ 71154 h 175295"/>
                  <a:gd name="connsiteX38" fmla="*/ 149593 w 249540"/>
                  <a:gd name="connsiteY38" fmla="*/ 3339 h 175295"/>
                  <a:gd name="connsiteX39" fmla="*/ 155537 w 249540"/>
                  <a:gd name="connsiteY39" fmla="*/ 3 h 175295"/>
                  <a:gd name="connsiteX40" fmla="*/ 161304 w 249540"/>
                  <a:gd name="connsiteY40" fmla="*/ 3 h 175295"/>
                  <a:gd name="connsiteX41" fmla="*/ 221862 w 249540"/>
                  <a:gd name="connsiteY41" fmla="*/ 50900 h 175295"/>
                  <a:gd name="connsiteX42" fmla="*/ 246883 w 249540"/>
                  <a:gd name="connsiteY42" fmla="*/ 128370 h 175295"/>
                  <a:gd name="connsiteX43" fmla="*/ 243678 w 249540"/>
                  <a:gd name="connsiteY43" fmla="*/ 164386 h 175295"/>
                  <a:gd name="connsiteX44" fmla="*/ 220079 w 249540"/>
                  <a:gd name="connsiteY44" fmla="*/ 175295 h 17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9540" h="175295">
                    <a:moveTo>
                      <a:pt x="220079" y="175295"/>
                    </a:moveTo>
                    <a:lnTo>
                      <a:pt x="115197" y="175295"/>
                    </a:lnTo>
                    <a:cubicBezTo>
                      <a:pt x="106906" y="175295"/>
                      <a:pt x="100157" y="168549"/>
                      <a:pt x="100157" y="160255"/>
                    </a:cubicBezTo>
                    <a:lnTo>
                      <a:pt x="100157" y="130408"/>
                    </a:lnTo>
                    <a:cubicBezTo>
                      <a:pt x="100157" y="122243"/>
                      <a:pt x="106802" y="115497"/>
                      <a:pt x="114966" y="115367"/>
                    </a:cubicBezTo>
                    <a:cubicBezTo>
                      <a:pt x="126609" y="115168"/>
                      <a:pt x="153799" y="114816"/>
                      <a:pt x="178174" y="115230"/>
                    </a:cubicBezTo>
                    <a:lnTo>
                      <a:pt x="168758" y="93098"/>
                    </a:lnTo>
                    <a:cubicBezTo>
                      <a:pt x="167245" y="89550"/>
                      <a:pt x="168901" y="85458"/>
                      <a:pt x="172442" y="83955"/>
                    </a:cubicBezTo>
                    <a:cubicBezTo>
                      <a:pt x="175983" y="82442"/>
                      <a:pt x="180082" y="84099"/>
                      <a:pt x="181585" y="87640"/>
                    </a:cubicBezTo>
                    <a:lnTo>
                      <a:pt x="195227" y="119713"/>
                    </a:lnTo>
                    <a:cubicBezTo>
                      <a:pt x="196159" y="121898"/>
                      <a:pt x="195915" y="124412"/>
                      <a:pt x="194575" y="126371"/>
                    </a:cubicBezTo>
                    <a:cubicBezTo>
                      <a:pt x="193235" y="128331"/>
                      <a:pt x="191021" y="129456"/>
                      <a:pt x="188618" y="129413"/>
                    </a:cubicBezTo>
                    <a:cubicBezTo>
                      <a:pt x="162332" y="128657"/>
                      <a:pt x="128517" y="129094"/>
                      <a:pt x="115191" y="129312"/>
                    </a:cubicBezTo>
                    <a:cubicBezTo>
                      <a:pt x="114578" y="129319"/>
                      <a:pt x="114102" y="129801"/>
                      <a:pt x="114102" y="130408"/>
                    </a:cubicBezTo>
                    <a:lnTo>
                      <a:pt x="114102" y="160255"/>
                    </a:lnTo>
                    <a:cubicBezTo>
                      <a:pt x="114102" y="160861"/>
                      <a:pt x="114591" y="161350"/>
                      <a:pt x="115197" y="161350"/>
                    </a:cubicBezTo>
                    <a:lnTo>
                      <a:pt x="220079" y="161350"/>
                    </a:lnTo>
                    <a:cubicBezTo>
                      <a:pt x="225742" y="161350"/>
                      <a:pt x="229896" y="159593"/>
                      <a:pt x="232429" y="156143"/>
                    </a:cubicBezTo>
                    <a:cubicBezTo>
                      <a:pt x="236195" y="151004"/>
                      <a:pt x="236629" y="142208"/>
                      <a:pt x="233600" y="132609"/>
                    </a:cubicBezTo>
                    <a:lnTo>
                      <a:pt x="208660" y="55377"/>
                    </a:lnTo>
                    <a:cubicBezTo>
                      <a:pt x="198631" y="27170"/>
                      <a:pt x="183564" y="13942"/>
                      <a:pt x="161301" y="13942"/>
                    </a:cubicBezTo>
                    <a:lnTo>
                      <a:pt x="159443" y="13942"/>
                    </a:lnTo>
                    <a:lnTo>
                      <a:pt x="120179" y="78096"/>
                    </a:lnTo>
                    <a:cubicBezTo>
                      <a:pt x="117741" y="82644"/>
                      <a:pt x="112671" y="85673"/>
                      <a:pt x="107128" y="85673"/>
                    </a:cubicBezTo>
                    <a:lnTo>
                      <a:pt x="107121" y="85673"/>
                    </a:lnTo>
                    <a:cubicBezTo>
                      <a:pt x="101578" y="85673"/>
                      <a:pt x="96515" y="82644"/>
                      <a:pt x="93887" y="77763"/>
                    </a:cubicBezTo>
                    <a:lnTo>
                      <a:pt x="54816" y="13942"/>
                    </a:lnTo>
                    <a:lnTo>
                      <a:pt x="52964" y="13942"/>
                    </a:lnTo>
                    <a:cubicBezTo>
                      <a:pt x="35439" y="13942"/>
                      <a:pt x="22749" y="21868"/>
                      <a:pt x="13026" y="38888"/>
                    </a:cubicBezTo>
                    <a:cubicBezTo>
                      <a:pt x="11118" y="42230"/>
                      <a:pt x="6857" y="43401"/>
                      <a:pt x="3515" y="41484"/>
                    </a:cubicBezTo>
                    <a:cubicBezTo>
                      <a:pt x="173" y="39576"/>
                      <a:pt x="-991" y="35315"/>
                      <a:pt x="919" y="31973"/>
                    </a:cubicBezTo>
                    <a:cubicBezTo>
                      <a:pt x="13039" y="10760"/>
                      <a:pt x="30548" y="0"/>
                      <a:pt x="52961" y="0"/>
                    </a:cubicBezTo>
                    <a:lnTo>
                      <a:pt x="58722" y="0"/>
                    </a:lnTo>
                    <a:cubicBezTo>
                      <a:pt x="61144" y="0"/>
                      <a:pt x="63401" y="1259"/>
                      <a:pt x="64666" y="3329"/>
                    </a:cubicBezTo>
                    <a:lnTo>
                      <a:pt x="105970" y="70818"/>
                    </a:lnTo>
                    <a:cubicBezTo>
                      <a:pt x="106244" y="71301"/>
                      <a:pt x="106476" y="71731"/>
                      <a:pt x="107128" y="71731"/>
                    </a:cubicBezTo>
                    <a:lnTo>
                      <a:pt x="107128" y="71731"/>
                    </a:lnTo>
                    <a:cubicBezTo>
                      <a:pt x="107789" y="71731"/>
                      <a:pt x="108021" y="71294"/>
                      <a:pt x="108102" y="71154"/>
                    </a:cubicBezTo>
                    <a:lnTo>
                      <a:pt x="149593" y="3339"/>
                    </a:lnTo>
                    <a:cubicBezTo>
                      <a:pt x="150858" y="1262"/>
                      <a:pt x="153104" y="3"/>
                      <a:pt x="155537" y="3"/>
                    </a:cubicBezTo>
                    <a:lnTo>
                      <a:pt x="161304" y="3"/>
                    </a:lnTo>
                    <a:cubicBezTo>
                      <a:pt x="189492" y="3"/>
                      <a:pt x="209867" y="17127"/>
                      <a:pt x="221862" y="50900"/>
                    </a:cubicBezTo>
                    <a:lnTo>
                      <a:pt x="246883" y="128370"/>
                    </a:lnTo>
                    <a:cubicBezTo>
                      <a:pt x="251331" y="142442"/>
                      <a:pt x="250150" y="155556"/>
                      <a:pt x="243678" y="164386"/>
                    </a:cubicBezTo>
                    <a:cubicBezTo>
                      <a:pt x="240026" y="169358"/>
                      <a:pt x="232974" y="175295"/>
                      <a:pt x="220079" y="175295"/>
                    </a:cubicBezTo>
                    <a:close/>
                  </a:path>
                </a:pathLst>
              </a:custGeom>
              <a:solidFill>
                <a:schemeClr val="tx2"/>
              </a:solidFill>
              <a:ln w="326" cap="flat">
                <a:noFill/>
                <a:prstDash val="solid"/>
                <a:miter/>
              </a:ln>
            </p:spPr>
            <p:txBody>
              <a:bodyPr rtlCol="0" anchor="ctr"/>
              <a:lstStyle/>
              <a:p>
                <a:endParaRPr lang="en-GB" dirty="0"/>
              </a:p>
            </p:txBody>
          </p:sp>
          <p:sp>
            <p:nvSpPr>
              <p:cNvPr id="212" name="Freihandform: Form 644">
                <a:extLst>
                  <a:ext uri="{FF2B5EF4-FFF2-40B4-BE49-F238E27FC236}">
                    <a16:creationId xmlns:a16="http://schemas.microsoft.com/office/drawing/2014/main" id="{7C3DBF16-A16D-455C-B255-8DA846A9A3EE}"/>
                  </a:ext>
                </a:extLst>
              </p:cNvPr>
              <p:cNvSpPr/>
              <p:nvPr/>
            </p:nvSpPr>
            <p:spPr>
              <a:xfrm>
                <a:off x="7073217" y="3716696"/>
                <a:ext cx="328575" cy="13941"/>
              </a:xfrm>
              <a:custGeom>
                <a:avLst/>
                <a:gdLst>
                  <a:gd name="connsiteX0" fmla="*/ 321605 w 328575"/>
                  <a:gd name="connsiteY0" fmla="*/ 13942 h 13941"/>
                  <a:gd name="connsiteX1" fmla="*/ 6971 w 328575"/>
                  <a:gd name="connsiteY1" fmla="*/ 13942 h 13941"/>
                  <a:gd name="connsiteX2" fmla="*/ 0 w 328575"/>
                  <a:gd name="connsiteY2" fmla="*/ 6971 h 13941"/>
                  <a:gd name="connsiteX3" fmla="*/ 6971 w 328575"/>
                  <a:gd name="connsiteY3" fmla="*/ 0 h 13941"/>
                  <a:gd name="connsiteX4" fmla="*/ 321605 w 328575"/>
                  <a:gd name="connsiteY4" fmla="*/ 0 h 13941"/>
                  <a:gd name="connsiteX5" fmla="*/ 328576 w 328575"/>
                  <a:gd name="connsiteY5" fmla="*/ 6971 h 13941"/>
                  <a:gd name="connsiteX6" fmla="*/ 321605 w 328575"/>
                  <a:gd name="connsiteY6" fmla="*/ 13942 h 13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575" h="13941">
                    <a:moveTo>
                      <a:pt x="321605" y="13942"/>
                    </a:moveTo>
                    <a:lnTo>
                      <a:pt x="6971" y="13942"/>
                    </a:lnTo>
                    <a:cubicBezTo>
                      <a:pt x="3117" y="13942"/>
                      <a:pt x="0" y="10825"/>
                      <a:pt x="0" y="6971"/>
                    </a:cubicBezTo>
                    <a:cubicBezTo>
                      <a:pt x="0" y="3117"/>
                      <a:pt x="3117" y="0"/>
                      <a:pt x="6971" y="0"/>
                    </a:cubicBezTo>
                    <a:lnTo>
                      <a:pt x="321605" y="0"/>
                    </a:lnTo>
                    <a:cubicBezTo>
                      <a:pt x="325459" y="0"/>
                      <a:pt x="328576" y="3117"/>
                      <a:pt x="328576" y="6971"/>
                    </a:cubicBezTo>
                    <a:cubicBezTo>
                      <a:pt x="328576" y="10825"/>
                      <a:pt x="325459" y="13942"/>
                      <a:pt x="321605" y="13942"/>
                    </a:cubicBezTo>
                    <a:close/>
                  </a:path>
                </a:pathLst>
              </a:custGeom>
              <a:solidFill>
                <a:schemeClr val="tx2"/>
              </a:solidFill>
              <a:ln w="326" cap="flat">
                <a:noFill/>
                <a:prstDash val="solid"/>
                <a:miter/>
              </a:ln>
            </p:spPr>
            <p:txBody>
              <a:bodyPr rtlCol="0" anchor="ctr"/>
              <a:lstStyle/>
              <a:p>
                <a:endParaRPr lang="en-GB" dirty="0"/>
              </a:p>
            </p:txBody>
          </p:sp>
          <p:sp>
            <p:nvSpPr>
              <p:cNvPr id="213" name="Freihandform: Form 646">
                <a:extLst>
                  <a:ext uri="{FF2B5EF4-FFF2-40B4-BE49-F238E27FC236}">
                    <a16:creationId xmlns:a16="http://schemas.microsoft.com/office/drawing/2014/main" id="{E3F62B18-4B07-4E6A-AB9F-009C5CD68A79}"/>
                  </a:ext>
                </a:extLst>
              </p:cNvPr>
              <p:cNvSpPr/>
              <p:nvPr/>
            </p:nvSpPr>
            <p:spPr>
              <a:xfrm>
                <a:off x="7139363" y="3717576"/>
                <a:ext cx="177311" cy="134956"/>
              </a:xfrm>
              <a:custGeom>
                <a:avLst/>
                <a:gdLst>
                  <a:gd name="connsiteX0" fmla="*/ 170342 w 177311"/>
                  <a:gd name="connsiteY0" fmla="*/ 134956 h 134956"/>
                  <a:gd name="connsiteX1" fmla="*/ 6974 w 177311"/>
                  <a:gd name="connsiteY1" fmla="*/ 134956 h 134956"/>
                  <a:gd name="connsiteX2" fmla="*/ 1411 w 177311"/>
                  <a:gd name="connsiteY2" fmla="*/ 132185 h 134956"/>
                  <a:gd name="connsiteX3" fmla="*/ 267 w 177311"/>
                  <a:gd name="connsiteY3" fmla="*/ 126071 h 134956"/>
                  <a:gd name="connsiteX4" fmla="*/ 34776 w 177311"/>
                  <a:gd name="connsiteY4" fmla="*/ 5057 h 134956"/>
                  <a:gd name="connsiteX5" fmla="*/ 41483 w 177311"/>
                  <a:gd name="connsiteY5" fmla="*/ 0 h 134956"/>
                  <a:gd name="connsiteX6" fmla="*/ 138295 w 177311"/>
                  <a:gd name="connsiteY6" fmla="*/ 0 h 134956"/>
                  <a:gd name="connsiteX7" fmla="*/ 145034 w 177311"/>
                  <a:gd name="connsiteY7" fmla="*/ 5188 h 134956"/>
                  <a:gd name="connsiteX8" fmla="*/ 177082 w 177311"/>
                  <a:gd name="connsiteY8" fmla="*/ 126202 h 134956"/>
                  <a:gd name="connsiteX9" fmla="*/ 175862 w 177311"/>
                  <a:gd name="connsiteY9" fmla="*/ 132240 h 134956"/>
                  <a:gd name="connsiteX10" fmla="*/ 170342 w 177311"/>
                  <a:gd name="connsiteY10" fmla="*/ 134956 h 134956"/>
                  <a:gd name="connsiteX11" fmla="*/ 16211 w 177311"/>
                  <a:gd name="connsiteY11" fmla="*/ 121014 h 134956"/>
                  <a:gd name="connsiteX12" fmla="*/ 161288 w 177311"/>
                  <a:gd name="connsiteY12" fmla="*/ 121014 h 134956"/>
                  <a:gd name="connsiteX13" fmla="*/ 132931 w 177311"/>
                  <a:gd name="connsiteY13" fmla="*/ 13942 h 134956"/>
                  <a:gd name="connsiteX14" fmla="*/ 46746 w 177311"/>
                  <a:gd name="connsiteY14" fmla="*/ 13942 h 134956"/>
                  <a:gd name="connsiteX15" fmla="*/ 16211 w 177311"/>
                  <a:gd name="connsiteY15" fmla="*/ 121014 h 13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7311" h="134956">
                    <a:moveTo>
                      <a:pt x="170342" y="134956"/>
                    </a:moveTo>
                    <a:lnTo>
                      <a:pt x="6974" y="134956"/>
                    </a:lnTo>
                    <a:cubicBezTo>
                      <a:pt x="4789" y="134956"/>
                      <a:pt x="2725" y="133929"/>
                      <a:pt x="1411" y="132185"/>
                    </a:cubicBezTo>
                    <a:cubicBezTo>
                      <a:pt x="91" y="130434"/>
                      <a:pt x="-333" y="128174"/>
                      <a:pt x="267" y="126071"/>
                    </a:cubicBezTo>
                    <a:lnTo>
                      <a:pt x="34776" y="5057"/>
                    </a:lnTo>
                    <a:cubicBezTo>
                      <a:pt x="35634" y="2061"/>
                      <a:pt x="38369" y="0"/>
                      <a:pt x="41483" y="0"/>
                    </a:cubicBezTo>
                    <a:lnTo>
                      <a:pt x="138295" y="0"/>
                    </a:lnTo>
                    <a:cubicBezTo>
                      <a:pt x="141461" y="0"/>
                      <a:pt x="144225" y="2132"/>
                      <a:pt x="145034" y="5188"/>
                    </a:cubicBezTo>
                    <a:lnTo>
                      <a:pt x="177082" y="126202"/>
                    </a:lnTo>
                    <a:cubicBezTo>
                      <a:pt x="177633" y="128292"/>
                      <a:pt x="177183" y="130525"/>
                      <a:pt x="175862" y="132240"/>
                    </a:cubicBezTo>
                    <a:cubicBezTo>
                      <a:pt x="174548" y="133949"/>
                      <a:pt x="172507" y="134956"/>
                      <a:pt x="170342" y="134956"/>
                    </a:cubicBezTo>
                    <a:close/>
                    <a:moveTo>
                      <a:pt x="16211" y="121014"/>
                    </a:moveTo>
                    <a:lnTo>
                      <a:pt x="161288" y="121014"/>
                    </a:lnTo>
                    <a:lnTo>
                      <a:pt x="132931" y="13942"/>
                    </a:lnTo>
                    <a:lnTo>
                      <a:pt x="46746" y="13942"/>
                    </a:lnTo>
                    <a:lnTo>
                      <a:pt x="16211" y="121014"/>
                    </a:lnTo>
                    <a:close/>
                  </a:path>
                </a:pathLst>
              </a:custGeom>
              <a:solidFill>
                <a:schemeClr val="tx2"/>
              </a:solidFill>
              <a:ln w="326" cap="flat">
                <a:noFill/>
                <a:prstDash val="solid"/>
                <a:miter/>
              </a:ln>
            </p:spPr>
            <p:txBody>
              <a:bodyPr rtlCol="0" anchor="ctr"/>
              <a:lstStyle/>
              <a:p>
                <a:endParaRPr lang="en-GB" dirty="0"/>
              </a:p>
            </p:txBody>
          </p:sp>
        </p:grpSp>
        <p:grpSp>
          <p:nvGrpSpPr>
            <p:cNvPr id="202" name="Group 201">
              <a:extLst>
                <a:ext uri="{FF2B5EF4-FFF2-40B4-BE49-F238E27FC236}">
                  <a16:creationId xmlns:a16="http://schemas.microsoft.com/office/drawing/2014/main" id="{2698890D-1061-43D2-9D45-9FFB99BB440A}"/>
                </a:ext>
              </a:extLst>
            </p:cNvPr>
            <p:cNvGrpSpPr/>
            <p:nvPr/>
          </p:nvGrpSpPr>
          <p:grpSpPr>
            <a:xfrm>
              <a:off x="2842464" y="2724961"/>
              <a:ext cx="77538" cy="67593"/>
              <a:chOff x="7190930" y="3749830"/>
              <a:chExt cx="80793" cy="70430"/>
            </a:xfrm>
            <a:solidFill>
              <a:schemeClr val="accent1"/>
            </a:solidFill>
          </p:grpSpPr>
          <p:sp>
            <p:nvSpPr>
              <p:cNvPr id="203" name="Freihandform: Form 647">
                <a:extLst>
                  <a:ext uri="{FF2B5EF4-FFF2-40B4-BE49-F238E27FC236}">
                    <a16:creationId xmlns:a16="http://schemas.microsoft.com/office/drawing/2014/main" id="{748C6637-9BDB-41E5-B523-7303C3C97C6E}"/>
                  </a:ext>
                </a:extLst>
              </p:cNvPr>
              <p:cNvSpPr/>
              <p:nvPr/>
            </p:nvSpPr>
            <p:spPr>
              <a:xfrm>
                <a:off x="7190930" y="3749830"/>
                <a:ext cx="16327" cy="30093"/>
              </a:xfrm>
              <a:custGeom>
                <a:avLst/>
                <a:gdLst>
                  <a:gd name="connsiteX0" fmla="*/ 6979 w 16327"/>
                  <a:gd name="connsiteY0" fmla="*/ 30094 h 30093"/>
                  <a:gd name="connsiteX1" fmla="*/ 5952 w 16327"/>
                  <a:gd name="connsiteY1" fmla="*/ 30019 h 30093"/>
                  <a:gd name="connsiteX2" fmla="*/ 76 w 16327"/>
                  <a:gd name="connsiteY2" fmla="*/ 22102 h 30093"/>
                  <a:gd name="connsiteX3" fmla="*/ 2459 w 16327"/>
                  <a:gd name="connsiteY3" fmla="*/ 5966 h 30093"/>
                  <a:gd name="connsiteX4" fmla="*/ 10376 w 16327"/>
                  <a:gd name="connsiteY4" fmla="*/ 90 h 30093"/>
                  <a:gd name="connsiteX5" fmla="*/ 16251 w 16327"/>
                  <a:gd name="connsiteY5" fmla="*/ 8007 h 30093"/>
                  <a:gd name="connsiteX6" fmla="*/ 13868 w 16327"/>
                  <a:gd name="connsiteY6" fmla="*/ 24143 h 30093"/>
                  <a:gd name="connsiteX7" fmla="*/ 6979 w 16327"/>
                  <a:gd name="connsiteY7" fmla="*/ 30094 h 3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27" h="30093">
                    <a:moveTo>
                      <a:pt x="6979" y="30094"/>
                    </a:moveTo>
                    <a:cubicBezTo>
                      <a:pt x="6639" y="30094"/>
                      <a:pt x="6297" y="30074"/>
                      <a:pt x="5952" y="30019"/>
                    </a:cubicBezTo>
                    <a:cubicBezTo>
                      <a:pt x="2146" y="29455"/>
                      <a:pt x="-488" y="25914"/>
                      <a:pt x="76" y="22102"/>
                    </a:cubicBezTo>
                    <a:lnTo>
                      <a:pt x="2459" y="5966"/>
                    </a:lnTo>
                    <a:cubicBezTo>
                      <a:pt x="3017" y="2161"/>
                      <a:pt x="6532" y="-536"/>
                      <a:pt x="10376" y="90"/>
                    </a:cubicBezTo>
                    <a:cubicBezTo>
                      <a:pt x="14181" y="654"/>
                      <a:pt x="16816" y="4195"/>
                      <a:pt x="16251" y="8007"/>
                    </a:cubicBezTo>
                    <a:lnTo>
                      <a:pt x="13868" y="24143"/>
                    </a:lnTo>
                    <a:cubicBezTo>
                      <a:pt x="13356" y="27599"/>
                      <a:pt x="10383" y="30094"/>
                      <a:pt x="6979" y="30094"/>
                    </a:cubicBezTo>
                    <a:close/>
                  </a:path>
                </a:pathLst>
              </a:custGeom>
              <a:solidFill>
                <a:schemeClr val="accent1"/>
              </a:solidFill>
              <a:ln w="326" cap="flat">
                <a:noFill/>
                <a:prstDash val="solid"/>
                <a:miter/>
              </a:ln>
            </p:spPr>
            <p:txBody>
              <a:bodyPr rtlCol="0" anchor="ctr"/>
              <a:lstStyle/>
              <a:p>
                <a:endParaRPr lang="en-GB" dirty="0"/>
              </a:p>
            </p:txBody>
          </p:sp>
          <p:sp>
            <p:nvSpPr>
              <p:cNvPr id="204" name="Freihandform: Form 648">
                <a:extLst>
                  <a:ext uri="{FF2B5EF4-FFF2-40B4-BE49-F238E27FC236}">
                    <a16:creationId xmlns:a16="http://schemas.microsoft.com/office/drawing/2014/main" id="{F85AB237-850F-45AB-8814-E60904A87F3A}"/>
                  </a:ext>
                </a:extLst>
              </p:cNvPr>
              <p:cNvSpPr/>
              <p:nvPr/>
            </p:nvSpPr>
            <p:spPr>
              <a:xfrm>
                <a:off x="7221622" y="3749846"/>
                <a:ext cx="14275" cy="46211"/>
              </a:xfrm>
              <a:custGeom>
                <a:avLst/>
                <a:gdLst>
                  <a:gd name="connsiteX0" fmla="*/ 6971 w 14275"/>
                  <a:gd name="connsiteY0" fmla="*/ 46211 h 46211"/>
                  <a:gd name="connsiteX1" fmla="*/ 6896 w 14275"/>
                  <a:gd name="connsiteY1" fmla="*/ 46211 h 46211"/>
                  <a:gd name="connsiteX2" fmla="*/ 0 w 14275"/>
                  <a:gd name="connsiteY2" fmla="*/ 39165 h 46211"/>
                  <a:gd name="connsiteX3" fmla="*/ 333 w 14275"/>
                  <a:gd name="connsiteY3" fmla="*/ 6896 h 46211"/>
                  <a:gd name="connsiteX4" fmla="*/ 7304 w 14275"/>
                  <a:gd name="connsiteY4" fmla="*/ 0 h 46211"/>
                  <a:gd name="connsiteX5" fmla="*/ 7379 w 14275"/>
                  <a:gd name="connsiteY5" fmla="*/ 0 h 46211"/>
                  <a:gd name="connsiteX6" fmla="*/ 14275 w 14275"/>
                  <a:gd name="connsiteY6" fmla="*/ 7046 h 46211"/>
                  <a:gd name="connsiteX7" fmla="*/ 13942 w 14275"/>
                  <a:gd name="connsiteY7" fmla="*/ 39315 h 46211"/>
                  <a:gd name="connsiteX8" fmla="*/ 6971 w 14275"/>
                  <a:gd name="connsiteY8" fmla="*/ 46211 h 4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75" h="46211">
                    <a:moveTo>
                      <a:pt x="6971" y="46211"/>
                    </a:moveTo>
                    <a:cubicBezTo>
                      <a:pt x="6952" y="46211"/>
                      <a:pt x="6923" y="46211"/>
                      <a:pt x="6896" y="46211"/>
                    </a:cubicBezTo>
                    <a:cubicBezTo>
                      <a:pt x="3049" y="46169"/>
                      <a:pt x="-42" y="43019"/>
                      <a:pt x="0" y="39165"/>
                    </a:cubicBezTo>
                    <a:lnTo>
                      <a:pt x="333" y="6896"/>
                    </a:lnTo>
                    <a:cubicBezTo>
                      <a:pt x="375" y="3078"/>
                      <a:pt x="3486" y="0"/>
                      <a:pt x="7304" y="0"/>
                    </a:cubicBezTo>
                    <a:cubicBezTo>
                      <a:pt x="7324" y="0"/>
                      <a:pt x="7353" y="0"/>
                      <a:pt x="7379" y="0"/>
                    </a:cubicBezTo>
                    <a:cubicBezTo>
                      <a:pt x="11226" y="42"/>
                      <a:pt x="14317" y="3192"/>
                      <a:pt x="14275" y="7046"/>
                    </a:cubicBezTo>
                    <a:lnTo>
                      <a:pt x="13942" y="39315"/>
                    </a:lnTo>
                    <a:cubicBezTo>
                      <a:pt x="13900" y="43137"/>
                      <a:pt x="10789" y="46211"/>
                      <a:pt x="6971" y="46211"/>
                    </a:cubicBezTo>
                    <a:close/>
                  </a:path>
                </a:pathLst>
              </a:custGeom>
              <a:solidFill>
                <a:schemeClr val="accent1"/>
              </a:solidFill>
              <a:ln w="326" cap="flat">
                <a:noFill/>
                <a:prstDash val="solid"/>
                <a:miter/>
              </a:ln>
            </p:spPr>
            <p:txBody>
              <a:bodyPr rtlCol="0" anchor="ctr"/>
              <a:lstStyle/>
              <a:p>
                <a:endParaRPr lang="en-GB" dirty="0"/>
              </a:p>
            </p:txBody>
          </p:sp>
          <p:sp>
            <p:nvSpPr>
              <p:cNvPr id="205" name="Freihandform: Form 649">
                <a:extLst>
                  <a:ext uri="{FF2B5EF4-FFF2-40B4-BE49-F238E27FC236}">
                    <a16:creationId xmlns:a16="http://schemas.microsoft.com/office/drawing/2014/main" id="{FBC50476-8345-4AB3-B9EA-45BB0756601D}"/>
                  </a:ext>
                </a:extLst>
              </p:cNvPr>
              <p:cNvSpPr/>
              <p:nvPr/>
            </p:nvSpPr>
            <p:spPr>
              <a:xfrm>
                <a:off x="7250595" y="3749852"/>
                <a:ext cx="21128" cy="70408"/>
              </a:xfrm>
              <a:custGeom>
                <a:avLst/>
                <a:gdLst>
                  <a:gd name="connsiteX0" fmla="*/ 14148 w 21128"/>
                  <a:gd name="connsiteY0" fmla="*/ 70408 h 70408"/>
                  <a:gd name="connsiteX1" fmla="*/ 7239 w 21128"/>
                  <a:gd name="connsiteY1" fmla="*/ 64314 h 70408"/>
                  <a:gd name="connsiteX2" fmla="*/ 56 w 21128"/>
                  <a:gd name="connsiteY2" fmla="*/ 7839 h 70408"/>
                  <a:gd name="connsiteX3" fmla="*/ 6094 w 21128"/>
                  <a:gd name="connsiteY3" fmla="*/ 43 h 70408"/>
                  <a:gd name="connsiteX4" fmla="*/ 13890 w 21128"/>
                  <a:gd name="connsiteY4" fmla="*/ 6081 h 70408"/>
                  <a:gd name="connsiteX5" fmla="*/ 21073 w 21128"/>
                  <a:gd name="connsiteY5" fmla="*/ 62557 h 70408"/>
                  <a:gd name="connsiteX6" fmla="*/ 15035 w 21128"/>
                  <a:gd name="connsiteY6" fmla="*/ 70353 h 70408"/>
                  <a:gd name="connsiteX7" fmla="*/ 14148 w 21128"/>
                  <a:gd name="connsiteY7" fmla="*/ 70408 h 70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28" h="70408">
                    <a:moveTo>
                      <a:pt x="14148" y="70408"/>
                    </a:moveTo>
                    <a:cubicBezTo>
                      <a:pt x="10688" y="70408"/>
                      <a:pt x="7685" y="67836"/>
                      <a:pt x="7239" y="64314"/>
                    </a:cubicBezTo>
                    <a:lnTo>
                      <a:pt x="56" y="7839"/>
                    </a:lnTo>
                    <a:cubicBezTo>
                      <a:pt x="-427" y="4021"/>
                      <a:pt x="2276" y="535"/>
                      <a:pt x="6094" y="43"/>
                    </a:cubicBezTo>
                    <a:cubicBezTo>
                      <a:pt x="9961" y="-371"/>
                      <a:pt x="13408" y="2263"/>
                      <a:pt x="13890" y="6081"/>
                    </a:cubicBezTo>
                    <a:lnTo>
                      <a:pt x="21073" y="62557"/>
                    </a:lnTo>
                    <a:cubicBezTo>
                      <a:pt x="21556" y="66375"/>
                      <a:pt x="18853" y="69860"/>
                      <a:pt x="15035" y="70353"/>
                    </a:cubicBezTo>
                    <a:cubicBezTo>
                      <a:pt x="14735" y="70389"/>
                      <a:pt x="14441" y="70408"/>
                      <a:pt x="14148" y="70408"/>
                    </a:cubicBezTo>
                    <a:close/>
                  </a:path>
                </a:pathLst>
              </a:custGeom>
              <a:solidFill>
                <a:schemeClr val="accent1"/>
              </a:solidFill>
              <a:ln w="326" cap="flat">
                <a:noFill/>
                <a:prstDash val="solid"/>
                <a:miter/>
              </a:ln>
            </p:spPr>
            <p:txBody>
              <a:bodyPr rtlCol="0" anchor="ctr"/>
              <a:lstStyle/>
              <a:p>
                <a:endParaRPr lang="en-GB" dirty="0"/>
              </a:p>
            </p:txBody>
          </p:sp>
        </p:grpSp>
      </p:grpSp>
      <p:grpSp>
        <p:nvGrpSpPr>
          <p:cNvPr id="30" name="Group 29">
            <a:extLst>
              <a:ext uri="{FF2B5EF4-FFF2-40B4-BE49-F238E27FC236}">
                <a16:creationId xmlns:a16="http://schemas.microsoft.com/office/drawing/2014/main" id="{07E69E9C-56B6-485D-BCAB-4447348B932E}"/>
              </a:ext>
            </a:extLst>
          </p:cNvPr>
          <p:cNvGrpSpPr/>
          <p:nvPr/>
        </p:nvGrpSpPr>
        <p:grpSpPr>
          <a:xfrm>
            <a:off x="3755510" y="2391526"/>
            <a:ext cx="403684" cy="432000"/>
            <a:chOff x="3755510" y="2391526"/>
            <a:chExt cx="403684" cy="432000"/>
          </a:xfrm>
        </p:grpSpPr>
        <p:grpSp>
          <p:nvGrpSpPr>
            <p:cNvPr id="215" name="Group 214">
              <a:extLst>
                <a:ext uri="{FF2B5EF4-FFF2-40B4-BE49-F238E27FC236}">
                  <a16:creationId xmlns:a16="http://schemas.microsoft.com/office/drawing/2014/main" id="{59282727-1551-4655-9A4C-27E81BFDF55E}"/>
                </a:ext>
              </a:extLst>
            </p:cNvPr>
            <p:cNvGrpSpPr/>
            <p:nvPr/>
          </p:nvGrpSpPr>
          <p:grpSpPr>
            <a:xfrm>
              <a:off x="3755510" y="2391526"/>
              <a:ext cx="365951" cy="383580"/>
              <a:chOff x="969892" y="1692186"/>
              <a:chExt cx="305766" cy="320495"/>
            </a:xfrm>
          </p:grpSpPr>
          <p:sp>
            <p:nvSpPr>
              <p:cNvPr id="220" name="Freihandform: Form 204">
                <a:extLst>
                  <a:ext uri="{FF2B5EF4-FFF2-40B4-BE49-F238E27FC236}">
                    <a16:creationId xmlns:a16="http://schemas.microsoft.com/office/drawing/2014/main" id="{583A7824-2CD7-44EB-8994-834490DFA979}"/>
                  </a:ext>
                </a:extLst>
              </p:cNvPr>
              <p:cNvSpPr/>
              <p:nvPr/>
            </p:nvSpPr>
            <p:spPr>
              <a:xfrm>
                <a:off x="1174820" y="1737958"/>
                <a:ext cx="91879" cy="215267"/>
              </a:xfrm>
              <a:custGeom>
                <a:avLst/>
                <a:gdLst>
                  <a:gd name="connsiteX0" fmla="*/ 61137 w 91879"/>
                  <a:gd name="connsiteY0" fmla="*/ 215267 h 215267"/>
                  <a:gd name="connsiteX1" fmla="*/ 57418 w 91879"/>
                  <a:gd name="connsiteY1" fmla="*/ 214118 h 215267"/>
                  <a:gd name="connsiteX2" fmla="*/ 55751 w 91879"/>
                  <a:gd name="connsiteY2" fmla="*/ 205012 h 215267"/>
                  <a:gd name="connsiteX3" fmla="*/ 78807 w 91879"/>
                  <a:gd name="connsiteY3" fmla="*/ 130816 h 215267"/>
                  <a:gd name="connsiteX4" fmla="*/ 3755 w 91879"/>
                  <a:gd name="connsiteY4" fmla="*/ 12445 h 215267"/>
                  <a:gd name="connsiteX5" fmla="*/ 622 w 91879"/>
                  <a:gd name="connsiteY5" fmla="*/ 3745 h 215267"/>
                  <a:gd name="connsiteX6" fmla="*/ 9321 w 91879"/>
                  <a:gd name="connsiteY6" fmla="*/ 612 h 215267"/>
                  <a:gd name="connsiteX7" fmla="*/ 91880 w 91879"/>
                  <a:gd name="connsiteY7" fmla="*/ 130816 h 215267"/>
                  <a:gd name="connsiteX8" fmla="*/ 66524 w 91879"/>
                  <a:gd name="connsiteY8" fmla="*/ 212428 h 215267"/>
                  <a:gd name="connsiteX9" fmla="*/ 61137 w 91879"/>
                  <a:gd name="connsiteY9" fmla="*/ 215267 h 215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79" h="215267">
                    <a:moveTo>
                      <a:pt x="61137" y="215267"/>
                    </a:moveTo>
                    <a:cubicBezTo>
                      <a:pt x="59853" y="215267"/>
                      <a:pt x="58568" y="214884"/>
                      <a:pt x="57418" y="214118"/>
                    </a:cubicBezTo>
                    <a:cubicBezTo>
                      <a:pt x="54443" y="212067"/>
                      <a:pt x="53700" y="207987"/>
                      <a:pt x="55751" y="205012"/>
                    </a:cubicBezTo>
                    <a:cubicBezTo>
                      <a:pt x="70829" y="183150"/>
                      <a:pt x="78807" y="157502"/>
                      <a:pt x="78807" y="130816"/>
                    </a:cubicBezTo>
                    <a:cubicBezTo>
                      <a:pt x="78807" y="80420"/>
                      <a:pt x="49350" y="33969"/>
                      <a:pt x="3755" y="12445"/>
                    </a:cubicBezTo>
                    <a:cubicBezTo>
                      <a:pt x="486" y="10912"/>
                      <a:pt x="-911" y="7013"/>
                      <a:pt x="622" y="3745"/>
                    </a:cubicBezTo>
                    <a:cubicBezTo>
                      <a:pt x="2154" y="477"/>
                      <a:pt x="6076" y="-898"/>
                      <a:pt x="9321" y="612"/>
                    </a:cubicBezTo>
                    <a:cubicBezTo>
                      <a:pt x="59469" y="24277"/>
                      <a:pt x="91880" y="75394"/>
                      <a:pt x="91880" y="130816"/>
                    </a:cubicBezTo>
                    <a:cubicBezTo>
                      <a:pt x="91880" y="160138"/>
                      <a:pt x="83112" y="188379"/>
                      <a:pt x="66524" y="212428"/>
                    </a:cubicBezTo>
                    <a:cubicBezTo>
                      <a:pt x="65262" y="214276"/>
                      <a:pt x="63233" y="215267"/>
                      <a:pt x="61137" y="215267"/>
                    </a:cubicBezTo>
                    <a:close/>
                  </a:path>
                </a:pathLst>
              </a:custGeom>
              <a:solidFill>
                <a:schemeClr val="tx2"/>
              </a:solidFill>
              <a:ln w="2254" cap="flat">
                <a:noFill/>
                <a:prstDash val="solid"/>
                <a:miter/>
              </a:ln>
            </p:spPr>
            <p:txBody>
              <a:bodyPr rtlCol="0" anchor="ctr"/>
              <a:lstStyle/>
              <a:p>
                <a:endParaRPr lang="en-GB" dirty="0"/>
              </a:p>
            </p:txBody>
          </p:sp>
          <p:sp>
            <p:nvSpPr>
              <p:cNvPr id="221" name="Freihandform: Form 205">
                <a:extLst>
                  <a:ext uri="{FF2B5EF4-FFF2-40B4-BE49-F238E27FC236}">
                    <a16:creationId xmlns:a16="http://schemas.microsoft.com/office/drawing/2014/main" id="{2270B6DA-9599-49A7-8155-B6D6AE57D7C0}"/>
                  </a:ext>
                </a:extLst>
              </p:cNvPr>
              <p:cNvSpPr/>
              <p:nvPr/>
            </p:nvSpPr>
            <p:spPr>
              <a:xfrm>
                <a:off x="978907" y="1738092"/>
                <a:ext cx="230608" cy="274589"/>
              </a:xfrm>
              <a:custGeom>
                <a:avLst/>
                <a:gdLst>
                  <a:gd name="connsiteX0" fmla="*/ 143908 w 230608"/>
                  <a:gd name="connsiteY0" fmla="*/ 274590 h 274589"/>
                  <a:gd name="connsiteX1" fmla="*/ 0 w 230608"/>
                  <a:gd name="connsiteY1" fmla="*/ 130682 h 274589"/>
                  <a:gd name="connsiteX2" fmla="*/ 82220 w 230608"/>
                  <a:gd name="connsiteY2" fmla="*/ 636 h 274589"/>
                  <a:gd name="connsiteX3" fmla="*/ 90942 w 230608"/>
                  <a:gd name="connsiteY3" fmla="*/ 3746 h 274589"/>
                  <a:gd name="connsiteX4" fmla="*/ 87832 w 230608"/>
                  <a:gd name="connsiteY4" fmla="*/ 12468 h 274589"/>
                  <a:gd name="connsiteX5" fmla="*/ 13072 w 230608"/>
                  <a:gd name="connsiteY5" fmla="*/ 130705 h 274589"/>
                  <a:gd name="connsiteX6" fmla="*/ 143885 w 230608"/>
                  <a:gd name="connsiteY6" fmla="*/ 261517 h 274589"/>
                  <a:gd name="connsiteX7" fmla="*/ 220245 w 230608"/>
                  <a:gd name="connsiteY7" fmla="*/ 236928 h 274589"/>
                  <a:gd name="connsiteX8" fmla="*/ 229373 w 230608"/>
                  <a:gd name="connsiteY8" fmla="*/ 238415 h 274589"/>
                  <a:gd name="connsiteX9" fmla="*/ 227885 w 230608"/>
                  <a:gd name="connsiteY9" fmla="*/ 247544 h 274589"/>
                  <a:gd name="connsiteX10" fmla="*/ 143908 w 230608"/>
                  <a:gd name="connsiteY10" fmla="*/ 274590 h 27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0608" h="274589">
                    <a:moveTo>
                      <a:pt x="143908" y="274590"/>
                    </a:moveTo>
                    <a:cubicBezTo>
                      <a:pt x="64550" y="274590"/>
                      <a:pt x="0" y="210040"/>
                      <a:pt x="0" y="130682"/>
                    </a:cubicBezTo>
                    <a:cubicBezTo>
                      <a:pt x="0" y="75395"/>
                      <a:pt x="32275" y="24346"/>
                      <a:pt x="82220" y="636"/>
                    </a:cubicBezTo>
                    <a:cubicBezTo>
                      <a:pt x="85488" y="-919"/>
                      <a:pt x="89387" y="478"/>
                      <a:pt x="90942" y="3746"/>
                    </a:cubicBezTo>
                    <a:cubicBezTo>
                      <a:pt x="92497" y="7014"/>
                      <a:pt x="91100" y="10913"/>
                      <a:pt x="87832" y="12468"/>
                    </a:cubicBezTo>
                    <a:cubicBezTo>
                      <a:pt x="42417" y="34038"/>
                      <a:pt x="13072" y="80444"/>
                      <a:pt x="13072" y="130705"/>
                    </a:cubicBezTo>
                    <a:cubicBezTo>
                      <a:pt x="13072" y="202850"/>
                      <a:pt x="71762" y="261517"/>
                      <a:pt x="143885" y="261517"/>
                    </a:cubicBezTo>
                    <a:cubicBezTo>
                      <a:pt x="171517" y="261517"/>
                      <a:pt x="197909" y="253020"/>
                      <a:pt x="220245" y="236928"/>
                    </a:cubicBezTo>
                    <a:cubicBezTo>
                      <a:pt x="223175" y="234809"/>
                      <a:pt x="227277" y="235486"/>
                      <a:pt x="229373" y="238415"/>
                    </a:cubicBezTo>
                    <a:cubicBezTo>
                      <a:pt x="231492" y="241345"/>
                      <a:pt x="230815" y="245425"/>
                      <a:pt x="227885" y="247544"/>
                    </a:cubicBezTo>
                    <a:cubicBezTo>
                      <a:pt x="203341" y="265236"/>
                      <a:pt x="174289" y="274590"/>
                      <a:pt x="143908" y="274590"/>
                    </a:cubicBezTo>
                    <a:close/>
                  </a:path>
                </a:pathLst>
              </a:custGeom>
              <a:solidFill>
                <a:schemeClr val="tx2"/>
              </a:solidFill>
              <a:ln w="2254" cap="flat">
                <a:noFill/>
                <a:prstDash val="solid"/>
                <a:miter/>
              </a:ln>
            </p:spPr>
            <p:txBody>
              <a:bodyPr rtlCol="0" anchor="ctr"/>
              <a:lstStyle/>
              <a:p>
                <a:endParaRPr lang="en-GB" dirty="0"/>
              </a:p>
            </p:txBody>
          </p:sp>
          <p:sp>
            <p:nvSpPr>
              <p:cNvPr id="222" name="Freihandform: Form 206">
                <a:extLst>
                  <a:ext uri="{FF2B5EF4-FFF2-40B4-BE49-F238E27FC236}">
                    <a16:creationId xmlns:a16="http://schemas.microsoft.com/office/drawing/2014/main" id="{3E86E6D9-9FFD-4802-8064-84300F830338}"/>
                  </a:ext>
                </a:extLst>
              </p:cNvPr>
              <p:cNvSpPr/>
              <p:nvPr/>
            </p:nvSpPr>
            <p:spPr>
              <a:xfrm>
                <a:off x="1011610" y="1757570"/>
                <a:ext cx="222408" cy="222408"/>
              </a:xfrm>
              <a:custGeom>
                <a:avLst/>
                <a:gdLst>
                  <a:gd name="connsiteX0" fmla="*/ 111204 w 222408"/>
                  <a:gd name="connsiteY0" fmla="*/ 222409 h 222408"/>
                  <a:gd name="connsiteX1" fmla="*/ 0 w 222408"/>
                  <a:gd name="connsiteY1" fmla="*/ 111204 h 222408"/>
                  <a:gd name="connsiteX2" fmla="*/ 111204 w 222408"/>
                  <a:gd name="connsiteY2" fmla="*/ 0 h 222408"/>
                  <a:gd name="connsiteX3" fmla="*/ 222409 w 222408"/>
                  <a:gd name="connsiteY3" fmla="*/ 111204 h 222408"/>
                  <a:gd name="connsiteX4" fmla="*/ 203409 w 222408"/>
                  <a:gd name="connsiteY4" fmla="*/ 173388 h 222408"/>
                  <a:gd name="connsiteX5" fmla="*/ 194326 w 222408"/>
                  <a:gd name="connsiteY5" fmla="*/ 175146 h 222408"/>
                  <a:gd name="connsiteX6" fmla="*/ 192568 w 222408"/>
                  <a:gd name="connsiteY6" fmla="*/ 166063 h 222408"/>
                  <a:gd name="connsiteX7" fmla="*/ 209314 w 222408"/>
                  <a:gd name="connsiteY7" fmla="*/ 111204 h 222408"/>
                  <a:gd name="connsiteX8" fmla="*/ 111204 w 222408"/>
                  <a:gd name="connsiteY8" fmla="*/ 13095 h 222408"/>
                  <a:gd name="connsiteX9" fmla="*/ 13095 w 222408"/>
                  <a:gd name="connsiteY9" fmla="*/ 111204 h 222408"/>
                  <a:gd name="connsiteX10" fmla="*/ 111204 w 222408"/>
                  <a:gd name="connsiteY10" fmla="*/ 209314 h 222408"/>
                  <a:gd name="connsiteX11" fmla="*/ 165725 w 222408"/>
                  <a:gd name="connsiteY11" fmla="*/ 192793 h 222408"/>
                  <a:gd name="connsiteX12" fmla="*/ 174808 w 222408"/>
                  <a:gd name="connsiteY12" fmla="*/ 194596 h 222408"/>
                  <a:gd name="connsiteX13" fmla="*/ 173005 w 222408"/>
                  <a:gd name="connsiteY13" fmla="*/ 203679 h 222408"/>
                  <a:gd name="connsiteX14" fmla="*/ 111204 w 222408"/>
                  <a:gd name="connsiteY14" fmla="*/ 222409 h 222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2408" h="222408">
                    <a:moveTo>
                      <a:pt x="111204" y="222409"/>
                    </a:moveTo>
                    <a:cubicBezTo>
                      <a:pt x="49877" y="222409"/>
                      <a:pt x="0" y="172531"/>
                      <a:pt x="0" y="111204"/>
                    </a:cubicBezTo>
                    <a:cubicBezTo>
                      <a:pt x="0" y="49877"/>
                      <a:pt x="49877" y="0"/>
                      <a:pt x="111204" y="0"/>
                    </a:cubicBezTo>
                    <a:cubicBezTo>
                      <a:pt x="172531" y="0"/>
                      <a:pt x="222409" y="49877"/>
                      <a:pt x="222409" y="111204"/>
                    </a:cubicBezTo>
                    <a:cubicBezTo>
                      <a:pt x="222409" y="133495"/>
                      <a:pt x="215850" y="154996"/>
                      <a:pt x="203409" y="173388"/>
                    </a:cubicBezTo>
                    <a:cubicBezTo>
                      <a:pt x="201380" y="176385"/>
                      <a:pt x="197323" y="177174"/>
                      <a:pt x="194326" y="175146"/>
                    </a:cubicBezTo>
                    <a:cubicBezTo>
                      <a:pt x="191328" y="173117"/>
                      <a:pt x="190539" y="169060"/>
                      <a:pt x="192568" y="166063"/>
                    </a:cubicBezTo>
                    <a:cubicBezTo>
                      <a:pt x="203521" y="149835"/>
                      <a:pt x="209314" y="130880"/>
                      <a:pt x="209314" y="111204"/>
                    </a:cubicBezTo>
                    <a:cubicBezTo>
                      <a:pt x="209314" y="57112"/>
                      <a:pt x="165296" y="13095"/>
                      <a:pt x="111204" y="13095"/>
                    </a:cubicBezTo>
                    <a:cubicBezTo>
                      <a:pt x="57112" y="13095"/>
                      <a:pt x="13095" y="57112"/>
                      <a:pt x="13095" y="111204"/>
                    </a:cubicBezTo>
                    <a:cubicBezTo>
                      <a:pt x="13095" y="165296"/>
                      <a:pt x="57112" y="209314"/>
                      <a:pt x="111204" y="209314"/>
                    </a:cubicBezTo>
                    <a:cubicBezTo>
                      <a:pt x="130723" y="209314"/>
                      <a:pt x="149565" y="203589"/>
                      <a:pt x="165725" y="192793"/>
                    </a:cubicBezTo>
                    <a:cubicBezTo>
                      <a:pt x="168722" y="190787"/>
                      <a:pt x="172779" y="191576"/>
                      <a:pt x="174808" y="194596"/>
                    </a:cubicBezTo>
                    <a:cubicBezTo>
                      <a:pt x="176814" y="197594"/>
                      <a:pt x="176002" y="201651"/>
                      <a:pt x="173005" y="203679"/>
                    </a:cubicBezTo>
                    <a:cubicBezTo>
                      <a:pt x="154703" y="215940"/>
                      <a:pt x="133314" y="222409"/>
                      <a:pt x="111204" y="222409"/>
                    </a:cubicBezTo>
                    <a:close/>
                  </a:path>
                </a:pathLst>
              </a:custGeom>
              <a:solidFill>
                <a:schemeClr val="tx2"/>
              </a:solidFill>
              <a:ln w="2254" cap="flat">
                <a:noFill/>
                <a:prstDash val="solid"/>
                <a:miter/>
              </a:ln>
            </p:spPr>
            <p:txBody>
              <a:bodyPr rtlCol="0" anchor="ctr"/>
              <a:lstStyle/>
              <a:p>
                <a:endParaRPr lang="en-GB" dirty="0"/>
              </a:p>
            </p:txBody>
          </p:sp>
          <p:sp>
            <p:nvSpPr>
              <p:cNvPr id="223" name="Freihandform: Form 207">
                <a:extLst>
                  <a:ext uri="{FF2B5EF4-FFF2-40B4-BE49-F238E27FC236}">
                    <a16:creationId xmlns:a16="http://schemas.microsoft.com/office/drawing/2014/main" id="{494CA4CE-115F-447B-8B50-091AE4BA1018}"/>
                  </a:ext>
                </a:extLst>
              </p:cNvPr>
              <p:cNvSpPr/>
              <p:nvPr/>
            </p:nvSpPr>
            <p:spPr>
              <a:xfrm>
                <a:off x="1083575" y="1692186"/>
                <a:ext cx="78478" cy="45775"/>
              </a:xfrm>
              <a:custGeom>
                <a:avLst/>
                <a:gdLst>
                  <a:gd name="connsiteX0" fmla="*/ 65406 w 78478"/>
                  <a:gd name="connsiteY0" fmla="*/ 45775 h 45775"/>
                  <a:gd name="connsiteX1" fmla="*/ 13072 w 78478"/>
                  <a:gd name="connsiteY1" fmla="*/ 45775 h 45775"/>
                  <a:gd name="connsiteX2" fmla="*/ 0 w 78478"/>
                  <a:gd name="connsiteY2" fmla="*/ 32703 h 45775"/>
                  <a:gd name="connsiteX3" fmla="*/ 0 w 78478"/>
                  <a:gd name="connsiteY3" fmla="*/ 13072 h 45775"/>
                  <a:gd name="connsiteX4" fmla="*/ 13072 w 78478"/>
                  <a:gd name="connsiteY4" fmla="*/ 0 h 45775"/>
                  <a:gd name="connsiteX5" fmla="*/ 65406 w 78478"/>
                  <a:gd name="connsiteY5" fmla="*/ 0 h 45775"/>
                  <a:gd name="connsiteX6" fmla="*/ 78479 w 78478"/>
                  <a:gd name="connsiteY6" fmla="*/ 13072 h 45775"/>
                  <a:gd name="connsiteX7" fmla="*/ 78479 w 78478"/>
                  <a:gd name="connsiteY7" fmla="*/ 32703 h 45775"/>
                  <a:gd name="connsiteX8" fmla="*/ 65406 w 78478"/>
                  <a:gd name="connsiteY8" fmla="*/ 45775 h 45775"/>
                  <a:gd name="connsiteX9" fmla="*/ 13072 w 78478"/>
                  <a:gd name="connsiteY9" fmla="*/ 13072 h 45775"/>
                  <a:gd name="connsiteX10" fmla="*/ 13072 w 78478"/>
                  <a:gd name="connsiteY10" fmla="*/ 32703 h 45775"/>
                  <a:gd name="connsiteX11" fmla="*/ 65406 w 78478"/>
                  <a:gd name="connsiteY11" fmla="*/ 32703 h 45775"/>
                  <a:gd name="connsiteX12" fmla="*/ 65406 w 78478"/>
                  <a:gd name="connsiteY12" fmla="*/ 13072 h 45775"/>
                  <a:gd name="connsiteX13" fmla="*/ 13072 w 78478"/>
                  <a:gd name="connsiteY13" fmla="*/ 13072 h 4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478" h="45775">
                    <a:moveTo>
                      <a:pt x="65406" y="45775"/>
                    </a:moveTo>
                    <a:lnTo>
                      <a:pt x="13072" y="45775"/>
                    </a:lnTo>
                    <a:cubicBezTo>
                      <a:pt x="5860" y="45775"/>
                      <a:pt x="0" y="39915"/>
                      <a:pt x="0" y="32703"/>
                    </a:cubicBezTo>
                    <a:lnTo>
                      <a:pt x="0" y="13072"/>
                    </a:lnTo>
                    <a:cubicBezTo>
                      <a:pt x="0" y="5860"/>
                      <a:pt x="5860" y="0"/>
                      <a:pt x="13072" y="0"/>
                    </a:cubicBezTo>
                    <a:lnTo>
                      <a:pt x="65406" y="0"/>
                    </a:lnTo>
                    <a:cubicBezTo>
                      <a:pt x="72619" y="0"/>
                      <a:pt x="78479" y="5860"/>
                      <a:pt x="78479" y="13072"/>
                    </a:cubicBezTo>
                    <a:lnTo>
                      <a:pt x="78479" y="32703"/>
                    </a:lnTo>
                    <a:cubicBezTo>
                      <a:pt x="78479" y="39893"/>
                      <a:pt x="72619" y="45775"/>
                      <a:pt x="65406" y="45775"/>
                    </a:cubicBezTo>
                    <a:close/>
                    <a:moveTo>
                      <a:pt x="13072" y="13072"/>
                    </a:moveTo>
                    <a:lnTo>
                      <a:pt x="13072" y="32703"/>
                    </a:lnTo>
                    <a:lnTo>
                      <a:pt x="65406" y="32703"/>
                    </a:lnTo>
                    <a:lnTo>
                      <a:pt x="65406" y="13072"/>
                    </a:lnTo>
                    <a:lnTo>
                      <a:pt x="13072" y="13072"/>
                    </a:lnTo>
                    <a:close/>
                  </a:path>
                </a:pathLst>
              </a:custGeom>
              <a:solidFill>
                <a:schemeClr val="tx2"/>
              </a:solidFill>
              <a:ln w="2254" cap="flat">
                <a:noFill/>
                <a:prstDash val="solid"/>
                <a:miter/>
              </a:ln>
            </p:spPr>
            <p:txBody>
              <a:bodyPr rtlCol="0" anchor="ctr"/>
              <a:lstStyle/>
              <a:p>
                <a:endParaRPr lang="en-GB" dirty="0"/>
              </a:p>
            </p:txBody>
          </p:sp>
          <p:sp>
            <p:nvSpPr>
              <p:cNvPr id="224" name="Freihandform: Form 208">
                <a:extLst>
                  <a:ext uri="{FF2B5EF4-FFF2-40B4-BE49-F238E27FC236}">
                    <a16:creationId xmlns:a16="http://schemas.microsoft.com/office/drawing/2014/main" id="{EFADF7C9-61FC-419E-8E34-93FA7C24BBC3}"/>
                  </a:ext>
                </a:extLst>
              </p:cNvPr>
              <p:cNvSpPr/>
              <p:nvPr/>
            </p:nvSpPr>
            <p:spPr>
              <a:xfrm>
                <a:off x="1103206" y="1724890"/>
                <a:ext cx="39239" cy="45775"/>
              </a:xfrm>
              <a:custGeom>
                <a:avLst/>
                <a:gdLst>
                  <a:gd name="connsiteX0" fmla="*/ 32681 w 39239"/>
                  <a:gd name="connsiteY0" fmla="*/ 45775 h 45775"/>
                  <a:gd name="connsiteX1" fmla="*/ 6536 w 39239"/>
                  <a:gd name="connsiteY1" fmla="*/ 45775 h 45775"/>
                  <a:gd name="connsiteX2" fmla="*/ 0 w 39239"/>
                  <a:gd name="connsiteY2" fmla="*/ 39239 h 45775"/>
                  <a:gd name="connsiteX3" fmla="*/ 0 w 39239"/>
                  <a:gd name="connsiteY3" fmla="*/ 6536 h 45775"/>
                  <a:gd name="connsiteX4" fmla="*/ 6536 w 39239"/>
                  <a:gd name="connsiteY4" fmla="*/ 0 h 45775"/>
                  <a:gd name="connsiteX5" fmla="*/ 32703 w 39239"/>
                  <a:gd name="connsiteY5" fmla="*/ 0 h 45775"/>
                  <a:gd name="connsiteX6" fmla="*/ 39239 w 39239"/>
                  <a:gd name="connsiteY6" fmla="*/ 6536 h 45775"/>
                  <a:gd name="connsiteX7" fmla="*/ 39239 w 39239"/>
                  <a:gd name="connsiteY7" fmla="*/ 39239 h 45775"/>
                  <a:gd name="connsiteX8" fmla="*/ 32681 w 39239"/>
                  <a:gd name="connsiteY8" fmla="*/ 45775 h 45775"/>
                  <a:gd name="connsiteX9" fmla="*/ 13072 w 39239"/>
                  <a:gd name="connsiteY9" fmla="*/ 32681 h 45775"/>
                  <a:gd name="connsiteX10" fmla="*/ 26145 w 39239"/>
                  <a:gd name="connsiteY10" fmla="*/ 32681 h 45775"/>
                  <a:gd name="connsiteX11" fmla="*/ 26145 w 39239"/>
                  <a:gd name="connsiteY11" fmla="*/ 13050 h 45775"/>
                  <a:gd name="connsiteX12" fmla="*/ 13072 w 39239"/>
                  <a:gd name="connsiteY12" fmla="*/ 13050 h 45775"/>
                  <a:gd name="connsiteX13" fmla="*/ 13072 w 39239"/>
                  <a:gd name="connsiteY13" fmla="*/ 32681 h 4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39" h="45775">
                    <a:moveTo>
                      <a:pt x="32681" y="45775"/>
                    </a:moveTo>
                    <a:lnTo>
                      <a:pt x="6536" y="45775"/>
                    </a:lnTo>
                    <a:cubicBezTo>
                      <a:pt x="2930" y="45775"/>
                      <a:pt x="0" y="42845"/>
                      <a:pt x="0" y="39239"/>
                    </a:cubicBezTo>
                    <a:lnTo>
                      <a:pt x="0" y="6536"/>
                    </a:lnTo>
                    <a:cubicBezTo>
                      <a:pt x="0" y="2930"/>
                      <a:pt x="2930" y="0"/>
                      <a:pt x="6536" y="0"/>
                    </a:cubicBezTo>
                    <a:lnTo>
                      <a:pt x="32703" y="0"/>
                    </a:lnTo>
                    <a:cubicBezTo>
                      <a:pt x="36309" y="0"/>
                      <a:pt x="39239" y="2930"/>
                      <a:pt x="39239" y="6536"/>
                    </a:cubicBezTo>
                    <a:lnTo>
                      <a:pt x="39239" y="39239"/>
                    </a:lnTo>
                    <a:cubicBezTo>
                      <a:pt x="39239" y="42845"/>
                      <a:pt x="36309" y="45775"/>
                      <a:pt x="32681" y="45775"/>
                    </a:cubicBezTo>
                    <a:close/>
                    <a:moveTo>
                      <a:pt x="13072" y="32681"/>
                    </a:moveTo>
                    <a:lnTo>
                      <a:pt x="26145" y="32681"/>
                    </a:lnTo>
                    <a:lnTo>
                      <a:pt x="26145" y="13050"/>
                    </a:lnTo>
                    <a:lnTo>
                      <a:pt x="13072" y="13050"/>
                    </a:lnTo>
                    <a:lnTo>
                      <a:pt x="13072" y="32681"/>
                    </a:lnTo>
                    <a:close/>
                  </a:path>
                </a:pathLst>
              </a:custGeom>
              <a:solidFill>
                <a:schemeClr val="tx2"/>
              </a:solidFill>
              <a:ln w="2254" cap="flat">
                <a:noFill/>
                <a:prstDash val="solid"/>
                <a:miter/>
              </a:ln>
            </p:spPr>
            <p:txBody>
              <a:bodyPr rtlCol="0" anchor="ctr"/>
              <a:lstStyle/>
              <a:p>
                <a:endParaRPr lang="en-GB" dirty="0"/>
              </a:p>
            </p:txBody>
          </p:sp>
          <p:sp>
            <p:nvSpPr>
              <p:cNvPr id="225" name="Freihandform: Form 210">
                <a:extLst>
                  <a:ext uri="{FF2B5EF4-FFF2-40B4-BE49-F238E27FC236}">
                    <a16:creationId xmlns:a16="http://schemas.microsoft.com/office/drawing/2014/main" id="{4843CC9C-3AE9-4EEF-B646-19584C7D2C7B}"/>
                  </a:ext>
                </a:extLst>
              </p:cNvPr>
              <p:cNvSpPr/>
              <p:nvPr/>
            </p:nvSpPr>
            <p:spPr>
              <a:xfrm>
                <a:off x="999558" y="1745518"/>
                <a:ext cx="31564" cy="31570"/>
              </a:xfrm>
              <a:custGeom>
                <a:avLst/>
                <a:gdLst>
                  <a:gd name="connsiteX0" fmla="*/ 25034 w 31564"/>
                  <a:gd name="connsiteY0" fmla="*/ 31571 h 31570"/>
                  <a:gd name="connsiteX1" fmla="*/ 20414 w 31564"/>
                  <a:gd name="connsiteY1" fmla="*/ 29655 h 31570"/>
                  <a:gd name="connsiteX2" fmla="*/ 1910 w 31564"/>
                  <a:gd name="connsiteY2" fmla="*/ 11151 h 31570"/>
                  <a:gd name="connsiteX3" fmla="*/ 1910 w 31564"/>
                  <a:gd name="connsiteY3" fmla="*/ 1910 h 31570"/>
                  <a:gd name="connsiteX4" fmla="*/ 11151 w 31564"/>
                  <a:gd name="connsiteY4" fmla="*/ 1910 h 31570"/>
                  <a:gd name="connsiteX5" fmla="*/ 29655 w 31564"/>
                  <a:gd name="connsiteY5" fmla="*/ 20414 h 31570"/>
                  <a:gd name="connsiteX6" fmla="*/ 29655 w 31564"/>
                  <a:gd name="connsiteY6" fmla="*/ 29655 h 31570"/>
                  <a:gd name="connsiteX7" fmla="*/ 25034 w 31564"/>
                  <a:gd name="connsiteY7" fmla="*/ 31571 h 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64" h="31570">
                    <a:moveTo>
                      <a:pt x="25034" y="31571"/>
                    </a:moveTo>
                    <a:cubicBezTo>
                      <a:pt x="23367" y="31571"/>
                      <a:pt x="21676" y="30940"/>
                      <a:pt x="20414" y="29655"/>
                    </a:cubicBezTo>
                    <a:lnTo>
                      <a:pt x="1910" y="11151"/>
                    </a:lnTo>
                    <a:cubicBezTo>
                      <a:pt x="-637" y="8604"/>
                      <a:pt x="-637" y="4457"/>
                      <a:pt x="1910" y="1910"/>
                    </a:cubicBezTo>
                    <a:cubicBezTo>
                      <a:pt x="4457" y="-637"/>
                      <a:pt x="8604" y="-637"/>
                      <a:pt x="11151" y="1910"/>
                    </a:cubicBezTo>
                    <a:lnTo>
                      <a:pt x="29655" y="20414"/>
                    </a:lnTo>
                    <a:cubicBezTo>
                      <a:pt x="32202" y="22961"/>
                      <a:pt x="32202" y="27108"/>
                      <a:pt x="29655" y="29655"/>
                    </a:cubicBezTo>
                    <a:cubicBezTo>
                      <a:pt x="28393" y="30940"/>
                      <a:pt x="26702" y="31571"/>
                      <a:pt x="25034" y="31571"/>
                    </a:cubicBezTo>
                    <a:close/>
                  </a:path>
                </a:pathLst>
              </a:custGeom>
              <a:solidFill>
                <a:schemeClr val="tx2"/>
              </a:solidFill>
              <a:ln w="2254" cap="flat">
                <a:noFill/>
                <a:prstDash val="solid"/>
                <a:miter/>
              </a:ln>
            </p:spPr>
            <p:txBody>
              <a:bodyPr rtlCol="0" anchor="ctr"/>
              <a:lstStyle/>
              <a:p>
                <a:endParaRPr lang="en-GB" dirty="0"/>
              </a:p>
            </p:txBody>
          </p:sp>
          <p:sp>
            <p:nvSpPr>
              <p:cNvPr id="226" name="Freihandform: Form 211">
                <a:extLst>
                  <a:ext uri="{FF2B5EF4-FFF2-40B4-BE49-F238E27FC236}">
                    <a16:creationId xmlns:a16="http://schemas.microsoft.com/office/drawing/2014/main" id="{486DF01D-1F39-49EC-90F6-B304DBF7F184}"/>
                  </a:ext>
                </a:extLst>
              </p:cNvPr>
              <p:cNvSpPr/>
              <p:nvPr/>
            </p:nvSpPr>
            <p:spPr>
              <a:xfrm>
                <a:off x="969892" y="1715973"/>
                <a:ext cx="53900" cy="53790"/>
              </a:xfrm>
              <a:custGeom>
                <a:avLst/>
                <a:gdLst>
                  <a:gd name="connsiteX0" fmla="*/ 22336 w 53900"/>
                  <a:gd name="connsiteY0" fmla="*/ 53791 h 53790"/>
                  <a:gd name="connsiteX1" fmla="*/ 13072 w 53900"/>
                  <a:gd name="connsiteY1" fmla="*/ 49959 h 53790"/>
                  <a:gd name="connsiteX2" fmla="*/ 3832 w 53900"/>
                  <a:gd name="connsiteY2" fmla="*/ 40718 h 53790"/>
                  <a:gd name="connsiteX3" fmla="*/ 0 w 53900"/>
                  <a:gd name="connsiteY3" fmla="*/ 31478 h 53790"/>
                  <a:gd name="connsiteX4" fmla="*/ 3832 w 53900"/>
                  <a:gd name="connsiteY4" fmla="*/ 22214 h 53790"/>
                  <a:gd name="connsiteX5" fmla="*/ 22336 w 53900"/>
                  <a:gd name="connsiteY5" fmla="*/ 3710 h 53790"/>
                  <a:gd name="connsiteX6" fmla="*/ 40840 w 53900"/>
                  <a:gd name="connsiteY6" fmla="*/ 3710 h 53790"/>
                  <a:gd name="connsiteX7" fmla="*/ 50080 w 53900"/>
                  <a:gd name="connsiteY7" fmla="*/ 12951 h 53790"/>
                  <a:gd name="connsiteX8" fmla="*/ 50080 w 53900"/>
                  <a:gd name="connsiteY8" fmla="*/ 31455 h 53790"/>
                  <a:gd name="connsiteX9" fmla="*/ 31576 w 53900"/>
                  <a:gd name="connsiteY9" fmla="*/ 49959 h 53790"/>
                  <a:gd name="connsiteX10" fmla="*/ 22336 w 53900"/>
                  <a:gd name="connsiteY10" fmla="*/ 53791 h 53790"/>
                  <a:gd name="connsiteX11" fmla="*/ 31576 w 53900"/>
                  <a:gd name="connsiteY11" fmla="*/ 12951 h 53790"/>
                  <a:gd name="connsiteX12" fmla="*/ 13072 w 53900"/>
                  <a:gd name="connsiteY12" fmla="*/ 31455 h 53790"/>
                  <a:gd name="connsiteX13" fmla="*/ 22313 w 53900"/>
                  <a:gd name="connsiteY13" fmla="*/ 40696 h 53790"/>
                  <a:gd name="connsiteX14" fmla="*/ 40817 w 53900"/>
                  <a:gd name="connsiteY14" fmla="*/ 22192 h 53790"/>
                  <a:gd name="connsiteX15" fmla="*/ 31576 w 53900"/>
                  <a:gd name="connsiteY15" fmla="*/ 12951 h 53790"/>
                  <a:gd name="connsiteX16" fmla="*/ 31576 w 53900"/>
                  <a:gd name="connsiteY16" fmla="*/ 12951 h 53790"/>
                  <a:gd name="connsiteX17" fmla="*/ 31576 w 53900"/>
                  <a:gd name="connsiteY17" fmla="*/ 12951 h 53790"/>
                  <a:gd name="connsiteX18" fmla="*/ 31576 w 53900"/>
                  <a:gd name="connsiteY18" fmla="*/ 12951 h 53790"/>
                  <a:gd name="connsiteX19" fmla="*/ 31576 w 53900"/>
                  <a:gd name="connsiteY19" fmla="*/ 12951 h 53790"/>
                  <a:gd name="connsiteX20" fmla="*/ 26956 w 53900"/>
                  <a:gd name="connsiteY20" fmla="*/ 8331 h 53790"/>
                  <a:gd name="connsiteX21" fmla="*/ 27024 w 53900"/>
                  <a:gd name="connsiteY21" fmla="*/ 8331 h 53790"/>
                  <a:gd name="connsiteX22" fmla="*/ 26956 w 53900"/>
                  <a:gd name="connsiteY22" fmla="*/ 8331 h 5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3900" h="53790">
                    <a:moveTo>
                      <a:pt x="22336" y="53791"/>
                    </a:moveTo>
                    <a:cubicBezTo>
                      <a:pt x="18977" y="53791"/>
                      <a:pt x="15642" y="52506"/>
                      <a:pt x="13072" y="49959"/>
                    </a:cubicBezTo>
                    <a:lnTo>
                      <a:pt x="3832" y="40718"/>
                    </a:lnTo>
                    <a:cubicBezTo>
                      <a:pt x="1352" y="38239"/>
                      <a:pt x="0" y="34971"/>
                      <a:pt x="0" y="31478"/>
                    </a:cubicBezTo>
                    <a:cubicBezTo>
                      <a:pt x="0" y="27984"/>
                      <a:pt x="1352" y="24694"/>
                      <a:pt x="3832" y="22214"/>
                    </a:cubicBezTo>
                    <a:lnTo>
                      <a:pt x="22336" y="3710"/>
                    </a:lnTo>
                    <a:cubicBezTo>
                      <a:pt x="27271" y="-1226"/>
                      <a:pt x="35881" y="-1248"/>
                      <a:pt x="40840" y="3710"/>
                    </a:cubicBezTo>
                    <a:lnTo>
                      <a:pt x="50080" y="12951"/>
                    </a:lnTo>
                    <a:cubicBezTo>
                      <a:pt x="55174" y="18045"/>
                      <a:pt x="55174" y="26361"/>
                      <a:pt x="50080" y="31455"/>
                    </a:cubicBezTo>
                    <a:lnTo>
                      <a:pt x="31576" y="49959"/>
                    </a:lnTo>
                    <a:cubicBezTo>
                      <a:pt x="29029" y="52506"/>
                      <a:pt x="25671" y="53791"/>
                      <a:pt x="22336" y="53791"/>
                    </a:cubicBezTo>
                    <a:close/>
                    <a:moveTo>
                      <a:pt x="31576" y="12951"/>
                    </a:moveTo>
                    <a:lnTo>
                      <a:pt x="13072" y="31455"/>
                    </a:lnTo>
                    <a:lnTo>
                      <a:pt x="22313" y="40696"/>
                    </a:lnTo>
                    <a:lnTo>
                      <a:pt x="40817" y="22192"/>
                    </a:lnTo>
                    <a:lnTo>
                      <a:pt x="31576" y="12951"/>
                    </a:lnTo>
                    <a:close/>
                    <a:moveTo>
                      <a:pt x="31576" y="12951"/>
                    </a:moveTo>
                    <a:lnTo>
                      <a:pt x="31576" y="12951"/>
                    </a:lnTo>
                    <a:lnTo>
                      <a:pt x="31576" y="12951"/>
                    </a:lnTo>
                    <a:lnTo>
                      <a:pt x="31576" y="12951"/>
                    </a:lnTo>
                    <a:close/>
                    <a:moveTo>
                      <a:pt x="26956" y="8331"/>
                    </a:moveTo>
                    <a:lnTo>
                      <a:pt x="27024" y="8331"/>
                    </a:lnTo>
                    <a:lnTo>
                      <a:pt x="26956" y="8331"/>
                    </a:lnTo>
                    <a:close/>
                  </a:path>
                </a:pathLst>
              </a:custGeom>
              <a:solidFill>
                <a:schemeClr val="tx2"/>
              </a:solidFill>
              <a:ln w="2254" cap="flat">
                <a:noFill/>
                <a:prstDash val="solid"/>
                <a:miter/>
              </a:ln>
            </p:spPr>
            <p:txBody>
              <a:bodyPr rtlCol="0" anchor="ctr"/>
              <a:lstStyle/>
              <a:p>
                <a:endParaRPr lang="en-GB" dirty="0"/>
              </a:p>
            </p:txBody>
          </p:sp>
          <p:sp>
            <p:nvSpPr>
              <p:cNvPr id="227" name="Freihandform: Form 213">
                <a:extLst>
                  <a:ext uri="{FF2B5EF4-FFF2-40B4-BE49-F238E27FC236}">
                    <a16:creationId xmlns:a16="http://schemas.microsoft.com/office/drawing/2014/main" id="{965A9B9D-77FE-4D3A-8E82-75C2CEADFC40}"/>
                  </a:ext>
                </a:extLst>
              </p:cNvPr>
              <p:cNvSpPr/>
              <p:nvPr/>
            </p:nvSpPr>
            <p:spPr>
              <a:xfrm>
                <a:off x="1214394" y="1745630"/>
                <a:ext cx="31564" cy="31570"/>
              </a:xfrm>
              <a:custGeom>
                <a:avLst/>
                <a:gdLst>
                  <a:gd name="connsiteX0" fmla="*/ 6531 w 31564"/>
                  <a:gd name="connsiteY0" fmla="*/ 31571 h 31570"/>
                  <a:gd name="connsiteX1" fmla="*/ 1910 w 31564"/>
                  <a:gd name="connsiteY1" fmla="*/ 29655 h 31570"/>
                  <a:gd name="connsiteX2" fmla="*/ 1910 w 31564"/>
                  <a:gd name="connsiteY2" fmla="*/ 20414 h 31570"/>
                  <a:gd name="connsiteX3" fmla="*/ 20414 w 31564"/>
                  <a:gd name="connsiteY3" fmla="*/ 1910 h 31570"/>
                  <a:gd name="connsiteX4" fmla="*/ 29655 w 31564"/>
                  <a:gd name="connsiteY4" fmla="*/ 1910 h 31570"/>
                  <a:gd name="connsiteX5" fmla="*/ 29655 w 31564"/>
                  <a:gd name="connsiteY5" fmla="*/ 11151 h 31570"/>
                  <a:gd name="connsiteX6" fmla="*/ 11151 w 31564"/>
                  <a:gd name="connsiteY6" fmla="*/ 29655 h 31570"/>
                  <a:gd name="connsiteX7" fmla="*/ 6531 w 31564"/>
                  <a:gd name="connsiteY7" fmla="*/ 31571 h 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64" h="31570">
                    <a:moveTo>
                      <a:pt x="6531" y="31571"/>
                    </a:moveTo>
                    <a:cubicBezTo>
                      <a:pt x="4863" y="31571"/>
                      <a:pt x="3172" y="30940"/>
                      <a:pt x="1910" y="29655"/>
                    </a:cubicBezTo>
                    <a:cubicBezTo>
                      <a:pt x="-637" y="27108"/>
                      <a:pt x="-637" y="22961"/>
                      <a:pt x="1910" y="20414"/>
                    </a:cubicBezTo>
                    <a:lnTo>
                      <a:pt x="20414" y="1910"/>
                    </a:lnTo>
                    <a:cubicBezTo>
                      <a:pt x="22961" y="-637"/>
                      <a:pt x="27108" y="-637"/>
                      <a:pt x="29655" y="1910"/>
                    </a:cubicBezTo>
                    <a:cubicBezTo>
                      <a:pt x="32202" y="4457"/>
                      <a:pt x="32202" y="8604"/>
                      <a:pt x="29655" y="11151"/>
                    </a:cubicBezTo>
                    <a:lnTo>
                      <a:pt x="11151" y="29655"/>
                    </a:lnTo>
                    <a:cubicBezTo>
                      <a:pt x="9889" y="30940"/>
                      <a:pt x="8221" y="31571"/>
                      <a:pt x="6531" y="31571"/>
                    </a:cubicBezTo>
                    <a:close/>
                  </a:path>
                </a:pathLst>
              </a:custGeom>
              <a:solidFill>
                <a:schemeClr val="tx2"/>
              </a:solidFill>
              <a:ln w="2254" cap="flat">
                <a:noFill/>
                <a:prstDash val="solid"/>
                <a:miter/>
              </a:ln>
            </p:spPr>
            <p:txBody>
              <a:bodyPr rtlCol="0" anchor="ctr"/>
              <a:lstStyle/>
              <a:p>
                <a:endParaRPr lang="en-GB" dirty="0"/>
              </a:p>
            </p:txBody>
          </p:sp>
          <p:sp>
            <p:nvSpPr>
              <p:cNvPr id="228" name="Freihandform: Form 214">
                <a:extLst>
                  <a:ext uri="{FF2B5EF4-FFF2-40B4-BE49-F238E27FC236}">
                    <a16:creationId xmlns:a16="http://schemas.microsoft.com/office/drawing/2014/main" id="{956C341A-545B-4D71-83F0-DCEA151694A6}"/>
                  </a:ext>
                </a:extLst>
              </p:cNvPr>
              <p:cNvSpPr/>
              <p:nvPr/>
            </p:nvSpPr>
            <p:spPr>
              <a:xfrm>
                <a:off x="1221747" y="1715953"/>
                <a:ext cx="53911" cy="53900"/>
              </a:xfrm>
              <a:custGeom>
                <a:avLst/>
                <a:gdLst>
                  <a:gd name="connsiteX0" fmla="*/ 31565 w 53911"/>
                  <a:gd name="connsiteY0" fmla="*/ 53901 h 53900"/>
                  <a:gd name="connsiteX1" fmla="*/ 22324 w 53911"/>
                  <a:gd name="connsiteY1" fmla="*/ 50092 h 53900"/>
                  <a:gd name="connsiteX2" fmla="*/ 3820 w 53911"/>
                  <a:gd name="connsiteY2" fmla="*/ 31588 h 53900"/>
                  <a:gd name="connsiteX3" fmla="*/ 3820 w 53911"/>
                  <a:gd name="connsiteY3" fmla="*/ 13084 h 53900"/>
                  <a:gd name="connsiteX4" fmla="*/ 13084 w 53911"/>
                  <a:gd name="connsiteY4" fmla="*/ 3820 h 53900"/>
                  <a:gd name="connsiteX5" fmla="*/ 31588 w 53911"/>
                  <a:gd name="connsiteY5" fmla="*/ 3820 h 53900"/>
                  <a:gd name="connsiteX6" fmla="*/ 31588 w 53911"/>
                  <a:gd name="connsiteY6" fmla="*/ 3820 h 53900"/>
                  <a:gd name="connsiteX7" fmla="*/ 50092 w 53911"/>
                  <a:gd name="connsiteY7" fmla="*/ 22324 h 53900"/>
                  <a:gd name="connsiteX8" fmla="*/ 50092 w 53911"/>
                  <a:gd name="connsiteY8" fmla="*/ 40828 h 53900"/>
                  <a:gd name="connsiteX9" fmla="*/ 40828 w 53911"/>
                  <a:gd name="connsiteY9" fmla="*/ 50092 h 53900"/>
                  <a:gd name="connsiteX10" fmla="*/ 31565 w 53911"/>
                  <a:gd name="connsiteY10" fmla="*/ 53901 h 53900"/>
                  <a:gd name="connsiteX11" fmla="*/ 22302 w 53911"/>
                  <a:gd name="connsiteY11" fmla="*/ 13084 h 53900"/>
                  <a:gd name="connsiteX12" fmla="*/ 13061 w 53911"/>
                  <a:gd name="connsiteY12" fmla="*/ 22347 h 53900"/>
                  <a:gd name="connsiteX13" fmla="*/ 31565 w 53911"/>
                  <a:gd name="connsiteY13" fmla="*/ 40851 h 53900"/>
                  <a:gd name="connsiteX14" fmla="*/ 40828 w 53911"/>
                  <a:gd name="connsiteY14" fmla="*/ 31588 h 53900"/>
                  <a:gd name="connsiteX15" fmla="*/ 22302 w 53911"/>
                  <a:gd name="connsiteY15" fmla="*/ 13084 h 5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911" h="53900">
                    <a:moveTo>
                      <a:pt x="31565" y="53901"/>
                    </a:moveTo>
                    <a:cubicBezTo>
                      <a:pt x="28207" y="53901"/>
                      <a:pt x="24871" y="52616"/>
                      <a:pt x="22324" y="50092"/>
                    </a:cubicBezTo>
                    <a:lnTo>
                      <a:pt x="3820" y="31588"/>
                    </a:lnTo>
                    <a:cubicBezTo>
                      <a:pt x="-1273" y="26494"/>
                      <a:pt x="-1273" y="18200"/>
                      <a:pt x="3820" y="13084"/>
                    </a:cubicBezTo>
                    <a:lnTo>
                      <a:pt x="13084" y="3820"/>
                    </a:lnTo>
                    <a:cubicBezTo>
                      <a:pt x="18177" y="-1273"/>
                      <a:pt x="26471" y="-1273"/>
                      <a:pt x="31588" y="3820"/>
                    </a:cubicBezTo>
                    <a:cubicBezTo>
                      <a:pt x="31588" y="3820"/>
                      <a:pt x="31588" y="3820"/>
                      <a:pt x="31588" y="3820"/>
                    </a:cubicBezTo>
                    <a:lnTo>
                      <a:pt x="50092" y="22324"/>
                    </a:lnTo>
                    <a:cubicBezTo>
                      <a:pt x="55185" y="27418"/>
                      <a:pt x="55185" y="35735"/>
                      <a:pt x="50092" y="40828"/>
                    </a:cubicBezTo>
                    <a:lnTo>
                      <a:pt x="40828" y="50092"/>
                    </a:lnTo>
                    <a:cubicBezTo>
                      <a:pt x="38259" y="52638"/>
                      <a:pt x="34901" y="53901"/>
                      <a:pt x="31565" y="53901"/>
                    </a:cubicBezTo>
                    <a:close/>
                    <a:moveTo>
                      <a:pt x="22302" y="13084"/>
                    </a:moveTo>
                    <a:lnTo>
                      <a:pt x="13061" y="22347"/>
                    </a:lnTo>
                    <a:lnTo>
                      <a:pt x="31565" y="40851"/>
                    </a:lnTo>
                    <a:lnTo>
                      <a:pt x="40828" y="31588"/>
                    </a:lnTo>
                    <a:lnTo>
                      <a:pt x="22302" y="13084"/>
                    </a:lnTo>
                    <a:close/>
                  </a:path>
                </a:pathLst>
              </a:custGeom>
              <a:solidFill>
                <a:schemeClr val="tx2"/>
              </a:solidFill>
              <a:ln w="2254" cap="flat">
                <a:noFill/>
                <a:prstDash val="solid"/>
                <a:miter/>
              </a:ln>
            </p:spPr>
            <p:txBody>
              <a:bodyPr rtlCol="0" anchor="ctr"/>
              <a:lstStyle/>
              <a:p>
                <a:endParaRPr lang="en-GB" dirty="0"/>
              </a:p>
            </p:txBody>
          </p:sp>
          <p:sp>
            <p:nvSpPr>
              <p:cNvPr id="229" name="Freihandform: Form 215">
                <a:extLst>
                  <a:ext uri="{FF2B5EF4-FFF2-40B4-BE49-F238E27FC236}">
                    <a16:creationId xmlns:a16="http://schemas.microsoft.com/office/drawing/2014/main" id="{093F41F2-4514-4AF6-8050-0BC9538E272D}"/>
                  </a:ext>
                </a:extLst>
              </p:cNvPr>
              <p:cNvSpPr/>
              <p:nvPr/>
            </p:nvSpPr>
            <p:spPr>
              <a:xfrm>
                <a:off x="1116278" y="1783760"/>
                <a:ext cx="13072" cy="19608"/>
              </a:xfrm>
              <a:custGeom>
                <a:avLst/>
                <a:gdLst>
                  <a:gd name="connsiteX0" fmla="*/ 6536 w 13072"/>
                  <a:gd name="connsiteY0" fmla="*/ 19608 h 19608"/>
                  <a:gd name="connsiteX1" fmla="*/ 0 w 13072"/>
                  <a:gd name="connsiteY1" fmla="*/ 13072 h 19608"/>
                  <a:gd name="connsiteX2" fmla="*/ 0 w 13072"/>
                  <a:gd name="connsiteY2" fmla="*/ 6536 h 19608"/>
                  <a:gd name="connsiteX3" fmla="*/ 6536 w 13072"/>
                  <a:gd name="connsiteY3" fmla="*/ 0 h 19608"/>
                  <a:gd name="connsiteX4" fmla="*/ 13072 w 13072"/>
                  <a:gd name="connsiteY4" fmla="*/ 6536 h 19608"/>
                  <a:gd name="connsiteX5" fmla="*/ 13072 w 13072"/>
                  <a:gd name="connsiteY5" fmla="*/ 13072 h 19608"/>
                  <a:gd name="connsiteX6" fmla="*/ 6536 w 13072"/>
                  <a:gd name="connsiteY6" fmla="*/ 19608 h 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2" h="19608">
                    <a:moveTo>
                      <a:pt x="6536" y="19608"/>
                    </a:moveTo>
                    <a:cubicBezTo>
                      <a:pt x="2930" y="19608"/>
                      <a:pt x="0" y="16678"/>
                      <a:pt x="0" y="13072"/>
                    </a:cubicBezTo>
                    <a:lnTo>
                      <a:pt x="0" y="6536"/>
                    </a:lnTo>
                    <a:cubicBezTo>
                      <a:pt x="0" y="2930"/>
                      <a:pt x="2930" y="0"/>
                      <a:pt x="6536" y="0"/>
                    </a:cubicBezTo>
                    <a:cubicBezTo>
                      <a:pt x="10142" y="0"/>
                      <a:pt x="13072" y="2930"/>
                      <a:pt x="13072" y="6536"/>
                    </a:cubicBezTo>
                    <a:lnTo>
                      <a:pt x="13072" y="13072"/>
                    </a:lnTo>
                    <a:cubicBezTo>
                      <a:pt x="13072" y="16678"/>
                      <a:pt x="10142" y="19608"/>
                      <a:pt x="6536" y="19608"/>
                    </a:cubicBezTo>
                    <a:close/>
                  </a:path>
                </a:pathLst>
              </a:custGeom>
              <a:solidFill>
                <a:schemeClr val="tx2"/>
              </a:solidFill>
              <a:ln w="2254" cap="flat">
                <a:noFill/>
                <a:prstDash val="solid"/>
                <a:miter/>
              </a:ln>
            </p:spPr>
            <p:txBody>
              <a:bodyPr rtlCol="0" anchor="ctr"/>
              <a:lstStyle/>
              <a:p>
                <a:endParaRPr lang="en-GB" dirty="0"/>
              </a:p>
            </p:txBody>
          </p:sp>
          <p:sp>
            <p:nvSpPr>
              <p:cNvPr id="230" name="Freihandform: Form 216">
                <a:extLst>
                  <a:ext uri="{FF2B5EF4-FFF2-40B4-BE49-F238E27FC236}">
                    <a16:creationId xmlns:a16="http://schemas.microsoft.com/office/drawing/2014/main" id="{D1A7B31E-EAEB-44E4-9D82-F4F46A68685A}"/>
                  </a:ext>
                </a:extLst>
              </p:cNvPr>
              <p:cNvSpPr/>
              <p:nvPr/>
            </p:nvSpPr>
            <p:spPr>
              <a:xfrm>
                <a:off x="1116278" y="1934203"/>
                <a:ext cx="13072" cy="19608"/>
              </a:xfrm>
              <a:custGeom>
                <a:avLst/>
                <a:gdLst>
                  <a:gd name="connsiteX0" fmla="*/ 6536 w 13072"/>
                  <a:gd name="connsiteY0" fmla="*/ 19608 h 19608"/>
                  <a:gd name="connsiteX1" fmla="*/ 0 w 13072"/>
                  <a:gd name="connsiteY1" fmla="*/ 13072 h 19608"/>
                  <a:gd name="connsiteX2" fmla="*/ 0 w 13072"/>
                  <a:gd name="connsiteY2" fmla="*/ 6536 h 19608"/>
                  <a:gd name="connsiteX3" fmla="*/ 6536 w 13072"/>
                  <a:gd name="connsiteY3" fmla="*/ 0 h 19608"/>
                  <a:gd name="connsiteX4" fmla="*/ 13072 w 13072"/>
                  <a:gd name="connsiteY4" fmla="*/ 6536 h 19608"/>
                  <a:gd name="connsiteX5" fmla="*/ 13072 w 13072"/>
                  <a:gd name="connsiteY5" fmla="*/ 13072 h 19608"/>
                  <a:gd name="connsiteX6" fmla="*/ 6536 w 13072"/>
                  <a:gd name="connsiteY6" fmla="*/ 19608 h 19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2" h="19608">
                    <a:moveTo>
                      <a:pt x="6536" y="19608"/>
                    </a:moveTo>
                    <a:cubicBezTo>
                      <a:pt x="2930" y="19608"/>
                      <a:pt x="0" y="16678"/>
                      <a:pt x="0" y="13072"/>
                    </a:cubicBezTo>
                    <a:lnTo>
                      <a:pt x="0" y="6536"/>
                    </a:lnTo>
                    <a:cubicBezTo>
                      <a:pt x="0" y="2930"/>
                      <a:pt x="2930" y="0"/>
                      <a:pt x="6536" y="0"/>
                    </a:cubicBezTo>
                    <a:cubicBezTo>
                      <a:pt x="10142" y="0"/>
                      <a:pt x="13072" y="2930"/>
                      <a:pt x="13072" y="6536"/>
                    </a:cubicBezTo>
                    <a:lnTo>
                      <a:pt x="13072" y="13072"/>
                    </a:lnTo>
                    <a:cubicBezTo>
                      <a:pt x="13072" y="16678"/>
                      <a:pt x="10142" y="19608"/>
                      <a:pt x="6536" y="19608"/>
                    </a:cubicBezTo>
                    <a:close/>
                  </a:path>
                </a:pathLst>
              </a:custGeom>
              <a:solidFill>
                <a:schemeClr val="tx2"/>
              </a:solidFill>
              <a:ln w="2254" cap="flat">
                <a:noFill/>
                <a:prstDash val="solid"/>
                <a:miter/>
              </a:ln>
            </p:spPr>
            <p:txBody>
              <a:bodyPr rtlCol="0" anchor="ctr"/>
              <a:lstStyle/>
              <a:p>
                <a:endParaRPr lang="en-GB" dirty="0"/>
              </a:p>
            </p:txBody>
          </p:sp>
          <p:sp>
            <p:nvSpPr>
              <p:cNvPr id="231" name="Freihandform: Form 217">
                <a:extLst>
                  <a:ext uri="{FF2B5EF4-FFF2-40B4-BE49-F238E27FC236}">
                    <a16:creationId xmlns:a16="http://schemas.microsoft.com/office/drawing/2014/main" id="{6C2CC420-3D9B-4C33-A4B0-CE7C3A4E5ABE}"/>
                  </a:ext>
                </a:extLst>
              </p:cNvPr>
              <p:cNvSpPr/>
              <p:nvPr/>
            </p:nvSpPr>
            <p:spPr>
              <a:xfrm>
                <a:off x="1038611" y="1862238"/>
                <a:ext cx="19608" cy="13072"/>
              </a:xfrm>
              <a:custGeom>
                <a:avLst/>
                <a:gdLst>
                  <a:gd name="connsiteX0" fmla="*/ 13072 w 19608"/>
                  <a:gd name="connsiteY0" fmla="*/ 13072 h 13072"/>
                  <a:gd name="connsiteX1" fmla="*/ 6536 w 19608"/>
                  <a:gd name="connsiteY1" fmla="*/ 13072 h 13072"/>
                  <a:gd name="connsiteX2" fmla="*/ 0 w 19608"/>
                  <a:gd name="connsiteY2" fmla="*/ 6536 h 13072"/>
                  <a:gd name="connsiteX3" fmla="*/ 6536 w 19608"/>
                  <a:gd name="connsiteY3" fmla="*/ 0 h 13072"/>
                  <a:gd name="connsiteX4" fmla="*/ 13072 w 19608"/>
                  <a:gd name="connsiteY4" fmla="*/ 0 h 13072"/>
                  <a:gd name="connsiteX5" fmla="*/ 19608 w 19608"/>
                  <a:gd name="connsiteY5" fmla="*/ 6536 h 13072"/>
                  <a:gd name="connsiteX6" fmla="*/ 13072 w 19608"/>
                  <a:gd name="connsiteY6" fmla="*/ 13072 h 1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08" h="13072">
                    <a:moveTo>
                      <a:pt x="13072" y="13072"/>
                    </a:moveTo>
                    <a:lnTo>
                      <a:pt x="6536" y="13072"/>
                    </a:lnTo>
                    <a:cubicBezTo>
                      <a:pt x="2930" y="13072"/>
                      <a:pt x="0" y="10142"/>
                      <a:pt x="0" y="6536"/>
                    </a:cubicBezTo>
                    <a:cubicBezTo>
                      <a:pt x="0" y="2930"/>
                      <a:pt x="2930" y="0"/>
                      <a:pt x="6536" y="0"/>
                    </a:cubicBezTo>
                    <a:lnTo>
                      <a:pt x="13072" y="0"/>
                    </a:lnTo>
                    <a:cubicBezTo>
                      <a:pt x="16678" y="0"/>
                      <a:pt x="19608" y="2930"/>
                      <a:pt x="19608" y="6536"/>
                    </a:cubicBezTo>
                    <a:cubicBezTo>
                      <a:pt x="19608" y="10142"/>
                      <a:pt x="16678" y="13072"/>
                      <a:pt x="13072" y="13072"/>
                    </a:cubicBezTo>
                    <a:close/>
                  </a:path>
                </a:pathLst>
              </a:custGeom>
              <a:solidFill>
                <a:schemeClr val="tx2"/>
              </a:solidFill>
              <a:ln w="2254" cap="flat">
                <a:noFill/>
                <a:prstDash val="solid"/>
                <a:miter/>
              </a:ln>
            </p:spPr>
            <p:txBody>
              <a:bodyPr rtlCol="0" anchor="ctr"/>
              <a:lstStyle/>
              <a:p>
                <a:endParaRPr lang="en-GB" dirty="0"/>
              </a:p>
            </p:txBody>
          </p:sp>
          <p:sp>
            <p:nvSpPr>
              <p:cNvPr id="232" name="Freihandform: Form 218">
                <a:extLst>
                  <a:ext uri="{FF2B5EF4-FFF2-40B4-BE49-F238E27FC236}">
                    <a16:creationId xmlns:a16="http://schemas.microsoft.com/office/drawing/2014/main" id="{C16B4EEE-6CF0-4C17-8058-415B86AB5298}"/>
                  </a:ext>
                </a:extLst>
              </p:cNvPr>
              <p:cNvSpPr/>
              <p:nvPr/>
            </p:nvSpPr>
            <p:spPr>
              <a:xfrm>
                <a:off x="1189461" y="1862238"/>
                <a:ext cx="19608" cy="13072"/>
              </a:xfrm>
              <a:custGeom>
                <a:avLst/>
                <a:gdLst>
                  <a:gd name="connsiteX0" fmla="*/ 13072 w 19608"/>
                  <a:gd name="connsiteY0" fmla="*/ 13072 h 13072"/>
                  <a:gd name="connsiteX1" fmla="*/ 6536 w 19608"/>
                  <a:gd name="connsiteY1" fmla="*/ 13072 h 13072"/>
                  <a:gd name="connsiteX2" fmla="*/ 0 w 19608"/>
                  <a:gd name="connsiteY2" fmla="*/ 6536 h 13072"/>
                  <a:gd name="connsiteX3" fmla="*/ 6536 w 19608"/>
                  <a:gd name="connsiteY3" fmla="*/ 0 h 13072"/>
                  <a:gd name="connsiteX4" fmla="*/ 13072 w 19608"/>
                  <a:gd name="connsiteY4" fmla="*/ 0 h 13072"/>
                  <a:gd name="connsiteX5" fmla="*/ 19608 w 19608"/>
                  <a:gd name="connsiteY5" fmla="*/ 6536 h 13072"/>
                  <a:gd name="connsiteX6" fmla="*/ 13072 w 19608"/>
                  <a:gd name="connsiteY6" fmla="*/ 13072 h 1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08" h="13072">
                    <a:moveTo>
                      <a:pt x="13072" y="13072"/>
                    </a:moveTo>
                    <a:lnTo>
                      <a:pt x="6536" y="13072"/>
                    </a:lnTo>
                    <a:cubicBezTo>
                      <a:pt x="2930" y="13072"/>
                      <a:pt x="0" y="10142"/>
                      <a:pt x="0" y="6536"/>
                    </a:cubicBezTo>
                    <a:cubicBezTo>
                      <a:pt x="0" y="2930"/>
                      <a:pt x="2930" y="0"/>
                      <a:pt x="6536" y="0"/>
                    </a:cubicBezTo>
                    <a:lnTo>
                      <a:pt x="13072" y="0"/>
                    </a:lnTo>
                    <a:cubicBezTo>
                      <a:pt x="16678" y="0"/>
                      <a:pt x="19608" y="2930"/>
                      <a:pt x="19608" y="6536"/>
                    </a:cubicBezTo>
                    <a:cubicBezTo>
                      <a:pt x="19608" y="10142"/>
                      <a:pt x="16701" y="13072"/>
                      <a:pt x="13072" y="13072"/>
                    </a:cubicBezTo>
                    <a:close/>
                  </a:path>
                </a:pathLst>
              </a:custGeom>
              <a:solidFill>
                <a:schemeClr val="tx2"/>
              </a:solidFill>
              <a:ln w="2254" cap="flat">
                <a:noFill/>
                <a:prstDash val="solid"/>
                <a:miter/>
              </a:ln>
            </p:spPr>
            <p:txBody>
              <a:bodyPr rtlCol="0" anchor="ctr"/>
              <a:lstStyle/>
              <a:p>
                <a:endParaRPr lang="en-GB" dirty="0"/>
              </a:p>
            </p:txBody>
          </p:sp>
        </p:grpSp>
        <p:grpSp>
          <p:nvGrpSpPr>
            <p:cNvPr id="216" name="Group 215">
              <a:extLst>
                <a:ext uri="{FF2B5EF4-FFF2-40B4-BE49-F238E27FC236}">
                  <a16:creationId xmlns:a16="http://schemas.microsoft.com/office/drawing/2014/main" id="{1313DAD3-7513-42D9-881B-681239C3A902}"/>
                </a:ext>
              </a:extLst>
            </p:cNvPr>
            <p:cNvGrpSpPr/>
            <p:nvPr/>
          </p:nvGrpSpPr>
          <p:grpSpPr>
            <a:xfrm>
              <a:off x="3929934" y="2594275"/>
              <a:ext cx="229260" cy="229251"/>
              <a:chOff x="1115630" y="1861590"/>
              <a:chExt cx="191555" cy="191548"/>
            </a:xfrm>
          </p:grpSpPr>
          <p:sp>
            <p:nvSpPr>
              <p:cNvPr id="217" name="Freihandform: Form 220">
                <a:extLst>
                  <a:ext uri="{FF2B5EF4-FFF2-40B4-BE49-F238E27FC236}">
                    <a16:creationId xmlns:a16="http://schemas.microsoft.com/office/drawing/2014/main" id="{392547FE-74FC-48A4-999A-B64E6953F3C0}"/>
                  </a:ext>
                </a:extLst>
              </p:cNvPr>
              <p:cNvSpPr/>
              <p:nvPr/>
            </p:nvSpPr>
            <p:spPr>
              <a:xfrm>
                <a:off x="1115630" y="1861590"/>
                <a:ext cx="149913" cy="149919"/>
              </a:xfrm>
              <a:custGeom>
                <a:avLst/>
                <a:gdLst>
                  <a:gd name="connsiteX0" fmla="*/ 143383 w 149913"/>
                  <a:gd name="connsiteY0" fmla="*/ 149920 h 149919"/>
                  <a:gd name="connsiteX1" fmla="*/ 138763 w 149913"/>
                  <a:gd name="connsiteY1" fmla="*/ 148004 h 149919"/>
                  <a:gd name="connsiteX2" fmla="*/ 1910 w 149913"/>
                  <a:gd name="connsiteY2" fmla="*/ 11151 h 149919"/>
                  <a:gd name="connsiteX3" fmla="*/ 1910 w 149913"/>
                  <a:gd name="connsiteY3" fmla="*/ 1910 h 149919"/>
                  <a:gd name="connsiteX4" fmla="*/ 11151 w 149913"/>
                  <a:gd name="connsiteY4" fmla="*/ 1910 h 149919"/>
                  <a:gd name="connsiteX5" fmla="*/ 148004 w 149913"/>
                  <a:gd name="connsiteY5" fmla="*/ 138763 h 149919"/>
                  <a:gd name="connsiteX6" fmla="*/ 148004 w 149913"/>
                  <a:gd name="connsiteY6" fmla="*/ 148004 h 149919"/>
                  <a:gd name="connsiteX7" fmla="*/ 143383 w 149913"/>
                  <a:gd name="connsiteY7" fmla="*/ 149920 h 14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913" h="149919">
                    <a:moveTo>
                      <a:pt x="143383" y="149920"/>
                    </a:moveTo>
                    <a:cubicBezTo>
                      <a:pt x="141716" y="149920"/>
                      <a:pt x="140025" y="149289"/>
                      <a:pt x="138763" y="148004"/>
                    </a:cubicBezTo>
                    <a:lnTo>
                      <a:pt x="1910" y="11151"/>
                    </a:lnTo>
                    <a:cubicBezTo>
                      <a:pt x="-637" y="8604"/>
                      <a:pt x="-637" y="4457"/>
                      <a:pt x="1910" y="1910"/>
                    </a:cubicBezTo>
                    <a:cubicBezTo>
                      <a:pt x="4457" y="-637"/>
                      <a:pt x="8604" y="-637"/>
                      <a:pt x="11151" y="1910"/>
                    </a:cubicBezTo>
                    <a:lnTo>
                      <a:pt x="148004" y="138763"/>
                    </a:lnTo>
                    <a:cubicBezTo>
                      <a:pt x="150551" y="141310"/>
                      <a:pt x="150551" y="145457"/>
                      <a:pt x="148004" y="148004"/>
                    </a:cubicBezTo>
                    <a:cubicBezTo>
                      <a:pt x="146719" y="149289"/>
                      <a:pt x="145051" y="149920"/>
                      <a:pt x="143383" y="149920"/>
                    </a:cubicBezTo>
                    <a:close/>
                  </a:path>
                </a:pathLst>
              </a:custGeom>
              <a:solidFill>
                <a:schemeClr val="accent1"/>
              </a:solidFill>
              <a:ln w="2254" cap="flat">
                <a:noFill/>
                <a:prstDash val="solid"/>
                <a:miter/>
              </a:ln>
            </p:spPr>
            <p:txBody>
              <a:bodyPr rtlCol="0" anchor="ctr"/>
              <a:lstStyle/>
              <a:p>
                <a:endParaRPr lang="en-GB" dirty="0"/>
              </a:p>
            </p:txBody>
          </p:sp>
          <p:sp>
            <p:nvSpPr>
              <p:cNvPr id="218" name="Freihandform: Form 221">
                <a:extLst>
                  <a:ext uri="{FF2B5EF4-FFF2-40B4-BE49-F238E27FC236}">
                    <a16:creationId xmlns:a16="http://schemas.microsoft.com/office/drawing/2014/main" id="{4267421F-D656-4F95-A68C-2DBA2EF91F9A}"/>
                  </a:ext>
                </a:extLst>
              </p:cNvPr>
              <p:cNvSpPr/>
              <p:nvPr/>
            </p:nvSpPr>
            <p:spPr>
              <a:xfrm>
                <a:off x="1224725" y="1966076"/>
                <a:ext cx="82460" cy="45433"/>
              </a:xfrm>
              <a:custGeom>
                <a:avLst/>
                <a:gdLst>
                  <a:gd name="connsiteX0" fmla="*/ 34289 w 82460"/>
                  <a:gd name="connsiteY0" fmla="*/ 45434 h 45433"/>
                  <a:gd name="connsiteX1" fmla="*/ 29668 w 82460"/>
                  <a:gd name="connsiteY1" fmla="*/ 43518 h 45433"/>
                  <a:gd name="connsiteX2" fmla="*/ 1924 w 82460"/>
                  <a:gd name="connsiteY2" fmla="*/ 15773 h 45433"/>
                  <a:gd name="connsiteX3" fmla="*/ 368 w 82460"/>
                  <a:gd name="connsiteY3" fmla="*/ 8989 h 45433"/>
                  <a:gd name="connsiteX4" fmla="*/ 5823 w 82460"/>
                  <a:gd name="connsiteY4" fmla="*/ 4662 h 45433"/>
                  <a:gd name="connsiteX5" fmla="*/ 47451 w 82460"/>
                  <a:gd name="connsiteY5" fmla="*/ 42 h 45433"/>
                  <a:gd name="connsiteX6" fmla="*/ 52793 w 82460"/>
                  <a:gd name="connsiteY6" fmla="*/ 1912 h 45433"/>
                  <a:gd name="connsiteX7" fmla="*/ 80537 w 82460"/>
                  <a:gd name="connsiteY7" fmla="*/ 29657 h 45433"/>
                  <a:gd name="connsiteX8" fmla="*/ 82093 w 82460"/>
                  <a:gd name="connsiteY8" fmla="*/ 36441 h 45433"/>
                  <a:gd name="connsiteX9" fmla="*/ 76638 w 82460"/>
                  <a:gd name="connsiteY9" fmla="*/ 40768 h 45433"/>
                  <a:gd name="connsiteX10" fmla="*/ 35010 w 82460"/>
                  <a:gd name="connsiteY10" fmla="*/ 45389 h 45433"/>
                  <a:gd name="connsiteX11" fmla="*/ 34289 w 82460"/>
                  <a:gd name="connsiteY11" fmla="*/ 45434 h 45433"/>
                  <a:gd name="connsiteX12" fmla="*/ 20788 w 82460"/>
                  <a:gd name="connsiteY12" fmla="*/ 16134 h 45433"/>
                  <a:gd name="connsiteX13" fmla="*/ 36700 w 82460"/>
                  <a:gd name="connsiteY13" fmla="*/ 32046 h 45433"/>
                  <a:gd name="connsiteX14" fmla="*/ 61673 w 82460"/>
                  <a:gd name="connsiteY14" fmla="*/ 29274 h 45433"/>
                  <a:gd name="connsiteX15" fmla="*/ 45761 w 82460"/>
                  <a:gd name="connsiteY15" fmla="*/ 13362 h 45433"/>
                  <a:gd name="connsiteX16" fmla="*/ 20788 w 82460"/>
                  <a:gd name="connsiteY16" fmla="*/ 16134 h 45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2460" h="45433">
                    <a:moveTo>
                      <a:pt x="34289" y="45434"/>
                    </a:moveTo>
                    <a:cubicBezTo>
                      <a:pt x="32553" y="45434"/>
                      <a:pt x="30885" y="44758"/>
                      <a:pt x="29668" y="43518"/>
                    </a:cubicBezTo>
                    <a:lnTo>
                      <a:pt x="1924" y="15773"/>
                    </a:lnTo>
                    <a:cubicBezTo>
                      <a:pt x="143" y="13993"/>
                      <a:pt x="-466" y="11356"/>
                      <a:pt x="368" y="8989"/>
                    </a:cubicBezTo>
                    <a:cubicBezTo>
                      <a:pt x="1202" y="6623"/>
                      <a:pt x="3321" y="4932"/>
                      <a:pt x="5823" y="4662"/>
                    </a:cubicBezTo>
                    <a:lnTo>
                      <a:pt x="47451" y="42"/>
                    </a:lnTo>
                    <a:cubicBezTo>
                      <a:pt x="49412" y="-184"/>
                      <a:pt x="51395" y="515"/>
                      <a:pt x="52793" y="1912"/>
                    </a:cubicBezTo>
                    <a:lnTo>
                      <a:pt x="80537" y="29657"/>
                    </a:lnTo>
                    <a:cubicBezTo>
                      <a:pt x="82318" y="31438"/>
                      <a:pt x="82926" y="34075"/>
                      <a:pt x="82093" y="36441"/>
                    </a:cubicBezTo>
                    <a:cubicBezTo>
                      <a:pt x="81259" y="38808"/>
                      <a:pt x="79140" y="40498"/>
                      <a:pt x="76638" y="40768"/>
                    </a:cubicBezTo>
                    <a:lnTo>
                      <a:pt x="35010" y="45389"/>
                    </a:lnTo>
                    <a:cubicBezTo>
                      <a:pt x="34762" y="45434"/>
                      <a:pt x="34514" y="45434"/>
                      <a:pt x="34289" y="45434"/>
                    </a:cubicBezTo>
                    <a:close/>
                    <a:moveTo>
                      <a:pt x="20788" y="16134"/>
                    </a:moveTo>
                    <a:lnTo>
                      <a:pt x="36700" y="32046"/>
                    </a:lnTo>
                    <a:lnTo>
                      <a:pt x="61673" y="29274"/>
                    </a:lnTo>
                    <a:lnTo>
                      <a:pt x="45761" y="13362"/>
                    </a:lnTo>
                    <a:lnTo>
                      <a:pt x="20788" y="16134"/>
                    </a:lnTo>
                    <a:close/>
                  </a:path>
                </a:pathLst>
              </a:custGeom>
              <a:solidFill>
                <a:schemeClr val="accent1"/>
              </a:solidFill>
              <a:ln w="2254" cap="flat">
                <a:noFill/>
                <a:prstDash val="solid"/>
                <a:miter/>
              </a:ln>
            </p:spPr>
            <p:txBody>
              <a:bodyPr rtlCol="0" anchor="ctr"/>
              <a:lstStyle/>
              <a:p>
                <a:endParaRPr lang="en-GB" dirty="0"/>
              </a:p>
            </p:txBody>
          </p:sp>
          <p:sp>
            <p:nvSpPr>
              <p:cNvPr id="219" name="Freihandform: Form 222">
                <a:extLst>
                  <a:ext uri="{FF2B5EF4-FFF2-40B4-BE49-F238E27FC236}">
                    <a16:creationId xmlns:a16="http://schemas.microsoft.com/office/drawing/2014/main" id="{60977124-B738-40DB-AACA-81E87FCB0DA5}"/>
                  </a:ext>
                </a:extLst>
              </p:cNvPr>
              <p:cNvSpPr/>
              <p:nvPr/>
            </p:nvSpPr>
            <p:spPr>
              <a:xfrm>
                <a:off x="1220116" y="1970695"/>
                <a:ext cx="45430" cy="82443"/>
              </a:xfrm>
              <a:custGeom>
                <a:avLst/>
                <a:gdLst>
                  <a:gd name="connsiteX0" fmla="*/ 34277 w 45430"/>
                  <a:gd name="connsiteY0" fmla="*/ 82443 h 82443"/>
                  <a:gd name="connsiteX1" fmla="*/ 29657 w 45430"/>
                  <a:gd name="connsiteY1" fmla="*/ 80527 h 82443"/>
                  <a:gd name="connsiteX2" fmla="*/ 1912 w 45430"/>
                  <a:gd name="connsiteY2" fmla="*/ 52783 h 82443"/>
                  <a:gd name="connsiteX3" fmla="*/ 42 w 45430"/>
                  <a:gd name="connsiteY3" fmla="*/ 47441 h 82443"/>
                  <a:gd name="connsiteX4" fmla="*/ 4662 w 45430"/>
                  <a:gd name="connsiteY4" fmla="*/ 5813 h 82443"/>
                  <a:gd name="connsiteX5" fmla="*/ 8989 w 45430"/>
                  <a:gd name="connsiteY5" fmla="*/ 358 h 82443"/>
                  <a:gd name="connsiteX6" fmla="*/ 15773 w 45430"/>
                  <a:gd name="connsiteY6" fmla="*/ 1914 h 82443"/>
                  <a:gd name="connsiteX7" fmla="*/ 43518 w 45430"/>
                  <a:gd name="connsiteY7" fmla="*/ 29658 h 82443"/>
                  <a:gd name="connsiteX8" fmla="*/ 45389 w 45430"/>
                  <a:gd name="connsiteY8" fmla="*/ 35000 h 82443"/>
                  <a:gd name="connsiteX9" fmla="*/ 40768 w 45430"/>
                  <a:gd name="connsiteY9" fmla="*/ 76628 h 82443"/>
                  <a:gd name="connsiteX10" fmla="*/ 36441 w 45430"/>
                  <a:gd name="connsiteY10" fmla="*/ 82083 h 82443"/>
                  <a:gd name="connsiteX11" fmla="*/ 34277 w 45430"/>
                  <a:gd name="connsiteY11" fmla="*/ 82443 h 82443"/>
                  <a:gd name="connsiteX12" fmla="*/ 13362 w 45430"/>
                  <a:gd name="connsiteY12" fmla="*/ 45751 h 82443"/>
                  <a:gd name="connsiteX13" fmla="*/ 29274 w 45430"/>
                  <a:gd name="connsiteY13" fmla="*/ 61663 h 82443"/>
                  <a:gd name="connsiteX14" fmla="*/ 32046 w 45430"/>
                  <a:gd name="connsiteY14" fmla="*/ 36690 h 82443"/>
                  <a:gd name="connsiteX15" fmla="*/ 16134 w 45430"/>
                  <a:gd name="connsiteY15" fmla="*/ 20778 h 82443"/>
                  <a:gd name="connsiteX16" fmla="*/ 13362 w 45430"/>
                  <a:gd name="connsiteY16" fmla="*/ 45751 h 8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430" h="82443">
                    <a:moveTo>
                      <a:pt x="34277" y="82443"/>
                    </a:moveTo>
                    <a:cubicBezTo>
                      <a:pt x="32565" y="82443"/>
                      <a:pt x="30897" y="81767"/>
                      <a:pt x="29657" y="80527"/>
                    </a:cubicBezTo>
                    <a:lnTo>
                      <a:pt x="1912" y="52783"/>
                    </a:lnTo>
                    <a:cubicBezTo>
                      <a:pt x="515" y="51385"/>
                      <a:pt x="-184" y="49402"/>
                      <a:pt x="42" y="47441"/>
                    </a:cubicBezTo>
                    <a:lnTo>
                      <a:pt x="4662" y="5813"/>
                    </a:lnTo>
                    <a:cubicBezTo>
                      <a:pt x="4932" y="3311"/>
                      <a:pt x="6623" y="1192"/>
                      <a:pt x="8989" y="358"/>
                    </a:cubicBezTo>
                    <a:cubicBezTo>
                      <a:pt x="11378" y="-453"/>
                      <a:pt x="13993" y="133"/>
                      <a:pt x="15773" y="1914"/>
                    </a:cubicBezTo>
                    <a:lnTo>
                      <a:pt x="43518" y="29658"/>
                    </a:lnTo>
                    <a:cubicBezTo>
                      <a:pt x="44916" y="31056"/>
                      <a:pt x="45614" y="33039"/>
                      <a:pt x="45389" y="35000"/>
                    </a:cubicBezTo>
                    <a:lnTo>
                      <a:pt x="40768" y="76628"/>
                    </a:lnTo>
                    <a:cubicBezTo>
                      <a:pt x="40498" y="79130"/>
                      <a:pt x="38808" y="81249"/>
                      <a:pt x="36441" y="82083"/>
                    </a:cubicBezTo>
                    <a:cubicBezTo>
                      <a:pt x="35720" y="82331"/>
                      <a:pt x="34999" y="82443"/>
                      <a:pt x="34277" y="82443"/>
                    </a:cubicBezTo>
                    <a:close/>
                    <a:moveTo>
                      <a:pt x="13362" y="45751"/>
                    </a:moveTo>
                    <a:lnTo>
                      <a:pt x="29274" y="61663"/>
                    </a:lnTo>
                    <a:lnTo>
                      <a:pt x="32046" y="36690"/>
                    </a:lnTo>
                    <a:lnTo>
                      <a:pt x="16134" y="20778"/>
                    </a:lnTo>
                    <a:lnTo>
                      <a:pt x="13362" y="45751"/>
                    </a:lnTo>
                    <a:close/>
                  </a:path>
                </a:pathLst>
              </a:custGeom>
              <a:solidFill>
                <a:schemeClr val="accent1"/>
              </a:solidFill>
              <a:ln w="2254" cap="flat">
                <a:noFill/>
                <a:prstDash val="solid"/>
                <a:miter/>
              </a:ln>
            </p:spPr>
            <p:txBody>
              <a:bodyPr rtlCol="0" anchor="ctr"/>
              <a:lstStyle/>
              <a:p>
                <a:endParaRPr lang="en-GB" dirty="0"/>
              </a:p>
            </p:txBody>
          </p:sp>
        </p:grpSp>
      </p:grpSp>
      <p:sp>
        <p:nvSpPr>
          <p:cNvPr id="21" name="TextBox 20">
            <a:extLst>
              <a:ext uri="{FF2B5EF4-FFF2-40B4-BE49-F238E27FC236}">
                <a16:creationId xmlns:a16="http://schemas.microsoft.com/office/drawing/2014/main" id="{93E13EB5-31D5-409C-A97B-29C66A608DAF}"/>
              </a:ext>
            </a:extLst>
          </p:cNvPr>
          <p:cNvSpPr txBox="1"/>
          <p:nvPr/>
        </p:nvSpPr>
        <p:spPr>
          <a:xfrm>
            <a:off x="487133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endor</a:t>
            </a:r>
          </a:p>
        </p:txBody>
      </p:sp>
      <p:sp>
        <p:nvSpPr>
          <p:cNvPr id="25" name="TextBox 24">
            <a:extLst>
              <a:ext uri="{FF2B5EF4-FFF2-40B4-BE49-F238E27FC236}">
                <a16:creationId xmlns:a16="http://schemas.microsoft.com/office/drawing/2014/main" id="{21973564-28FD-4D2C-BA95-2D8C89830E12}"/>
              </a:ext>
            </a:extLst>
          </p:cNvPr>
          <p:cNvSpPr txBox="1"/>
          <p:nvPr/>
        </p:nvSpPr>
        <p:spPr>
          <a:xfrm>
            <a:off x="487133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ponsorship</a:t>
            </a:r>
          </a:p>
        </p:txBody>
      </p:sp>
      <p:grpSp>
        <p:nvGrpSpPr>
          <p:cNvPr id="478" name="Group 477">
            <a:extLst>
              <a:ext uri="{FF2B5EF4-FFF2-40B4-BE49-F238E27FC236}">
                <a16:creationId xmlns:a16="http://schemas.microsoft.com/office/drawing/2014/main" id="{B86E2C44-F41F-BB6B-7E3F-AC1B0376021F}"/>
              </a:ext>
            </a:extLst>
          </p:cNvPr>
          <p:cNvGrpSpPr/>
          <p:nvPr/>
        </p:nvGrpSpPr>
        <p:grpSpPr>
          <a:xfrm>
            <a:off x="4963027" y="1585984"/>
            <a:ext cx="500483" cy="432000"/>
            <a:chOff x="4962615" y="1585984"/>
            <a:chExt cx="500483" cy="432000"/>
          </a:xfrm>
        </p:grpSpPr>
        <p:grpSp>
          <p:nvGrpSpPr>
            <p:cNvPr id="414" name="Grafik 348">
              <a:extLst>
                <a:ext uri="{FF2B5EF4-FFF2-40B4-BE49-F238E27FC236}">
                  <a16:creationId xmlns:a16="http://schemas.microsoft.com/office/drawing/2014/main" id="{E0789462-1E56-4E33-949C-B91C83E6F4E0}"/>
                </a:ext>
              </a:extLst>
            </p:cNvPr>
            <p:cNvGrpSpPr/>
            <p:nvPr/>
          </p:nvGrpSpPr>
          <p:grpSpPr>
            <a:xfrm>
              <a:off x="4962615" y="1585984"/>
              <a:ext cx="356570" cy="432000"/>
              <a:chOff x="3384659" y="3340165"/>
              <a:chExt cx="346680" cy="420018"/>
            </a:xfrm>
            <a:solidFill>
              <a:schemeClr val="accent1"/>
            </a:solidFill>
          </p:grpSpPr>
          <p:grpSp>
            <p:nvGrpSpPr>
              <p:cNvPr id="421" name="Grafik 348">
                <a:extLst>
                  <a:ext uri="{FF2B5EF4-FFF2-40B4-BE49-F238E27FC236}">
                    <a16:creationId xmlns:a16="http://schemas.microsoft.com/office/drawing/2014/main" id="{F894B203-5DB1-41EB-8682-893A7325126E}"/>
                  </a:ext>
                </a:extLst>
              </p:cNvPr>
              <p:cNvGrpSpPr/>
              <p:nvPr/>
            </p:nvGrpSpPr>
            <p:grpSpPr>
              <a:xfrm>
                <a:off x="3384659" y="3340165"/>
                <a:ext cx="346680" cy="420018"/>
                <a:chOff x="3384659" y="3340165"/>
                <a:chExt cx="346680" cy="420018"/>
              </a:xfrm>
              <a:solidFill>
                <a:schemeClr val="accent1"/>
              </a:solidFill>
            </p:grpSpPr>
            <p:sp>
              <p:nvSpPr>
                <p:cNvPr id="423" name="Freihandform: Form 463">
                  <a:extLst>
                    <a:ext uri="{FF2B5EF4-FFF2-40B4-BE49-F238E27FC236}">
                      <a16:creationId xmlns:a16="http://schemas.microsoft.com/office/drawing/2014/main" id="{87FECE66-A271-46D4-AD3E-4D1A7BA4BCB1}"/>
                    </a:ext>
                  </a:extLst>
                </p:cNvPr>
                <p:cNvSpPr/>
                <p:nvPr/>
              </p:nvSpPr>
              <p:spPr>
                <a:xfrm>
                  <a:off x="3404658" y="3573505"/>
                  <a:ext cx="80011" cy="146661"/>
                </a:xfrm>
                <a:custGeom>
                  <a:avLst/>
                  <a:gdLst>
                    <a:gd name="connsiteX0" fmla="*/ 13346 w 80011"/>
                    <a:gd name="connsiteY0" fmla="*/ 146662 h 146661"/>
                    <a:gd name="connsiteX1" fmla="*/ 6663 w 80011"/>
                    <a:gd name="connsiteY1" fmla="*/ 146662 h 146661"/>
                    <a:gd name="connsiteX2" fmla="*/ 0 w 80011"/>
                    <a:gd name="connsiteY2" fmla="*/ 139999 h 146661"/>
                    <a:gd name="connsiteX3" fmla="*/ 0 w 80011"/>
                    <a:gd name="connsiteY3" fmla="*/ 6667 h 146661"/>
                    <a:gd name="connsiteX4" fmla="*/ 6663 w 80011"/>
                    <a:gd name="connsiteY4" fmla="*/ 0 h 146661"/>
                    <a:gd name="connsiteX5" fmla="*/ 73349 w 80011"/>
                    <a:gd name="connsiteY5" fmla="*/ 0 h 146661"/>
                    <a:gd name="connsiteX6" fmla="*/ 80012 w 80011"/>
                    <a:gd name="connsiteY6" fmla="*/ 6667 h 146661"/>
                    <a:gd name="connsiteX7" fmla="*/ 73349 w 80011"/>
                    <a:gd name="connsiteY7" fmla="*/ 13333 h 146661"/>
                    <a:gd name="connsiteX8" fmla="*/ 13346 w 80011"/>
                    <a:gd name="connsiteY8" fmla="*/ 13333 h 146661"/>
                    <a:gd name="connsiteX9" fmla="*/ 13346 w 80011"/>
                    <a:gd name="connsiteY9" fmla="*/ 133337 h 146661"/>
                    <a:gd name="connsiteX10" fmla="*/ 20008 w 80011"/>
                    <a:gd name="connsiteY10" fmla="*/ 139999 h 146661"/>
                    <a:gd name="connsiteX11" fmla="*/ 13346 w 80011"/>
                    <a:gd name="connsiteY11" fmla="*/ 146662 h 14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011" h="146661">
                      <a:moveTo>
                        <a:pt x="13346" y="146662"/>
                      </a:moveTo>
                      <a:lnTo>
                        <a:pt x="6663" y="146662"/>
                      </a:lnTo>
                      <a:cubicBezTo>
                        <a:pt x="2982" y="146662"/>
                        <a:pt x="0" y="143680"/>
                        <a:pt x="0" y="139999"/>
                      </a:cubicBezTo>
                      <a:lnTo>
                        <a:pt x="0" y="6667"/>
                      </a:lnTo>
                      <a:cubicBezTo>
                        <a:pt x="0" y="2982"/>
                        <a:pt x="2982" y="0"/>
                        <a:pt x="6663" y="0"/>
                      </a:cubicBezTo>
                      <a:lnTo>
                        <a:pt x="73349" y="0"/>
                      </a:lnTo>
                      <a:cubicBezTo>
                        <a:pt x="77030" y="0"/>
                        <a:pt x="80012" y="2982"/>
                        <a:pt x="80012" y="6667"/>
                      </a:cubicBezTo>
                      <a:cubicBezTo>
                        <a:pt x="80012" y="10352"/>
                        <a:pt x="77030" y="13333"/>
                        <a:pt x="73349" y="13333"/>
                      </a:cubicBezTo>
                      <a:lnTo>
                        <a:pt x="13346" y="13333"/>
                      </a:lnTo>
                      <a:lnTo>
                        <a:pt x="13346" y="133337"/>
                      </a:lnTo>
                      <a:cubicBezTo>
                        <a:pt x="17026" y="133337"/>
                        <a:pt x="20008" y="136318"/>
                        <a:pt x="20008" y="139999"/>
                      </a:cubicBezTo>
                      <a:cubicBezTo>
                        <a:pt x="20008" y="143680"/>
                        <a:pt x="17026" y="146662"/>
                        <a:pt x="13346" y="146662"/>
                      </a:cubicBezTo>
                      <a:close/>
                    </a:path>
                  </a:pathLst>
                </a:custGeom>
                <a:solidFill>
                  <a:schemeClr val="accent1"/>
                </a:solidFill>
                <a:ln w="205" cap="flat">
                  <a:noFill/>
                  <a:prstDash val="solid"/>
                  <a:miter/>
                </a:ln>
              </p:spPr>
              <p:txBody>
                <a:bodyPr rtlCol="0" anchor="ctr"/>
                <a:lstStyle/>
                <a:p>
                  <a:endParaRPr lang="en-GB" dirty="0"/>
                </a:p>
              </p:txBody>
            </p:sp>
            <p:sp>
              <p:nvSpPr>
                <p:cNvPr id="424" name="Freihandform: Form 464">
                  <a:extLst>
                    <a:ext uri="{FF2B5EF4-FFF2-40B4-BE49-F238E27FC236}">
                      <a16:creationId xmlns:a16="http://schemas.microsoft.com/office/drawing/2014/main" id="{24CD8933-79E7-46B9-A335-E2AB2BE26AA6}"/>
                    </a:ext>
                  </a:extLst>
                </p:cNvPr>
                <p:cNvSpPr/>
                <p:nvPr/>
              </p:nvSpPr>
              <p:spPr>
                <a:xfrm>
                  <a:off x="3624666" y="3573503"/>
                  <a:ext cx="20008" cy="13333"/>
                </a:xfrm>
                <a:custGeom>
                  <a:avLst/>
                  <a:gdLst>
                    <a:gd name="connsiteX0" fmla="*/ 13345 w 20008"/>
                    <a:gd name="connsiteY0" fmla="*/ 13333 h 13333"/>
                    <a:gd name="connsiteX1" fmla="*/ 6662 w 20008"/>
                    <a:gd name="connsiteY1" fmla="*/ 13333 h 13333"/>
                    <a:gd name="connsiteX2" fmla="*/ 0 w 20008"/>
                    <a:gd name="connsiteY2" fmla="*/ 6667 h 13333"/>
                    <a:gd name="connsiteX3" fmla="*/ 6662 w 20008"/>
                    <a:gd name="connsiteY3" fmla="*/ 0 h 13333"/>
                    <a:gd name="connsiteX4" fmla="*/ 13345 w 20008"/>
                    <a:gd name="connsiteY4" fmla="*/ 0 h 13333"/>
                    <a:gd name="connsiteX5" fmla="*/ 20008 w 20008"/>
                    <a:gd name="connsiteY5" fmla="*/ 6667 h 13333"/>
                    <a:gd name="connsiteX6" fmla="*/ 13345 w 20008"/>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8" h="13333">
                      <a:moveTo>
                        <a:pt x="13345" y="13333"/>
                      </a:moveTo>
                      <a:lnTo>
                        <a:pt x="6662" y="13333"/>
                      </a:lnTo>
                      <a:cubicBezTo>
                        <a:pt x="2982" y="13333"/>
                        <a:pt x="0" y="10352"/>
                        <a:pt x="0" y="6667"/>
                      </a:cubicBezTo>
                      <a:cubicBezTo>
                        <a:pt x="0" y="2982"/>
                        <a:pt x="2982" y="0"/>
                        <a:pt x="6662" y="0"/>
                      </a:cubicBezTo>
                      <a:lnTo>
                        <a:pt x="13345" y="0"/>
                      </a:lnTo>
                      <a:cubicBezTo>
                        <a:pt x="17026" y="0"/>
                        <a:pt x="20008" y="2982"/>
                        <a:pt x="20008" y="6667"/>
                      </a:cubicBezTo>
                      <a:cubicBezTo>
                        <a:pt x="20008" y="10352"/>
                        <a:pt x="17026" y="13333"/>
                        <a:pt x="13345" y="13333"/>
                      </a:cubicBezTo>
                      <a:close/>
                    </a:path>
                  </a:pathLst>
                </a:custGeom>
                <a:solidFill>
                  <a:schemeClr val="accent1"/>
                </a:solidFill>
                <a:ln w="205" cap="flat">
                  <a:noFill/>
                  <a:prstDash val="solid"/>
                  <a:miter/>
                </a:ln>
              </p:spPr>
              <p:txBody>
                <a:bodyPr rtlCol="0" anchor="ctr"/>
                <a:lstStyle/>
                <a:p>
                  <a:endParaRPr lang="en-GB" dirty="0"/>
                </a:p>
              </p:txBody>
            </p:sp>
            <p:sp>
              <p:nvSpPr>
                <p:cNvPr id="425" name="Freihandform: Form 465">
                  <a:extLst>
                    <a:ext uri="{FF2B5EF4-FFF2-40B4-BE49-F238E27FC236}">
                      <a16:creationId xmlns:a16="http://schemas.microsoft.com/office/drawing/2014/main" id="{53EB4A26-3EC0-4B27-BD7A-B91F0C5999E9}"/>
                    </a:ext>
                  </a:extLst>
                </p:cNvPr>
                <p:cNvSpPr/>
                <p:nvPr/>
              </p:nvSpPr>
              <p:spPr>
                <a:xfrm>
                  <a:off x="3671324" y="3600172"/>
                  <a:ext cx="40016" cy="119995"/>
                </a:xfrm>
                <a:custGeom>
                  <a:avLst/>
                  <a:gdLst>
                    <a:gd name="connsiteX0" fmla="*/ 33354 w 40016"/>
                    <a:gd name="connsiteY0" fmla="*/ 119995 h 119995"/>
                    <a:gd name="connsiteX1" fmla="*/ 6683 w 40016"/>
                    <a:gd name="connsiteY1" fmla="*/ 119995 h 119995"/>
                    <a:gd name="connsiteX2" fmla="*/ 0 w 40016"/>
                    <a:gd name="connsiteY2" fmla="*/ 113333 h 119995"/>
                    <a:gd name="connsiteX3" fmla="*/ 6683 w 40016"/>
                    <a:gd name="connsiteY3" fmla="*/ 106670 h 119995"/>
                    <a:gd name="connsiteX4" fmla="*/ 26671 w 40016"/>
                    <a:gd name="connsiteY4" fmla="*/ 106670 h 119995"/>
                    <a:gd name="connsiteX5" fmla="*/ 26671 w 40016"/>
                    <a:gd name="connsiteY5" fmla="*/ 6667 h 119995"/>
                    <a:gd name="connsiteX6" fmla="*/ 33354 w 40016"/>
                    <a:gd name="connsiteY6" fmla="*/ 0 h 119995"/>
                    <a:gd name="connsiteX7" fmla="*/ 40016 w 40016"/>
                    <a:gd name="connsiteY7" fmla="*/ 6667 h 119995"/>
                    <a:gd name="connsiteX8" fmla="*/ 40016 w 40016"/>
                    <a:gd name="connsiteY8" fmla="*/ 113333 h 119995"/>
                    <a:gd name="connsiteX9" fmla="*/ 33354 w 40016"/>
                    <a:gd name="connsiteY9" fmla="*/ 119995 h 11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16" h="119995">
                      <a:moveTo>
                        <a:pt x="33354" y="119995"/>
                      </a:moveTo>
                      <a:lnTo>
                        <a:pt x="6683" y="119995"/>
                      </a:lnTo>
                      <a:cubicBezTo>
                        <a:pt x="2982" y="119995"/>
                        <a:pt x="0" y="117014"/>
                        <a:pt x="0" y="113333"/>
                      </a:cubicBezTo>
                      <a:cubicBezTo>
                        <a:pt x="0" y="109652"/>
                        <a:pt x="2982" y="106670"/>
                        <a:pt x="6683" y="106670"/>
                      </a:cubicBezTo>
                      <a:lnTo>
                        <a:pt x="26671" y="106670"/>
                      </a:lnTo>
                      <a:lnTo>
                        <a:pt x="26671" y="6667"/>
                      </a:lnTo>
                      <a:cubicBezTo>
                        <a:pt x="26671" y="2982"/>
                        <a:pt x="29652" y="0"/>
                        <a:pt x="33354" y="0"/>
                      </a:cubicBezTo>
                      <a:cubicBezTo>
                        <a:pt x="37035" y="0"/>
                        <a:pt x="40016" y="2982"/>
                        <a:pt x="40016" y="6667"/>
                      </a:cubicBezTo>
                      <a:lnTo>
                        <a:pt x="40016" y="113333"/>
                      </a:lnTo>
                      <a:cubicBezTo>
                        <a:pt x="40016" y="117014"/>
                        <a:pt x="37035" y="119995"/>
                        <a:pt x="33354" y="119995"/>
                      </a:cubicBezTo>
                      <a:close/>
                    </a:path>
                  </a:pathLst>
                </a:custGeom>
                <a:solidFill>
                  <a:schemeClr val="accent1"/>
                </a:solidFill>
                <a:ln w="205" cap="flat">
                  <a:noFill/>
                  <a:prstDash val="solid"/>
                  <a:miter/>
                </a:ln>
              </p:spPr>
              <p:txBody>
                <a:bodyPr rtlCol="0" anchor="ctr"/>
                <a:lstStyle/>
                <a:p>
                  <a:endParaRPr lang="en-GB" dirty="0"/>
                </a:p>
              </p:txBody>
            </p:sp>
            <p:sp>
              <p:nvSpPr>
                <p:cNvPr id="426" name="Freihandform: Form 466">
                  <a:extLst>
                    <a:ext uri="{FF2B5EF4-FFF2-40B4-BE49-F238E27FC236}">
                      <a16:creationId xmlns:a16="http://schemas.microsoft.com/office/drawing/2014/main" id="{3C6409F7-58AE-4D8D-9B27-82BE03104129}"/>
                    </a:ext>
                  </a:extLst>
                </p:cNvPr>
                <p:cNvSpPr/>
                <p:nvPr/>
              </p:nvSpPr>
              <p:spPr>
                <a:xfrm>
                  <a:off x="3518004" y="3706842"/>
                  <a:ext cx="60001" cy="13333"/>
                </a:xfrm>
                <a:custGeom>
                  <a:avLst/>
                  <a:gdLst>
                    <a:gd name="connsiteX0" fmla="*/ 0 w 60001"/>
                    <a:gd name="connsiteY0" fmla="*/ 0 h 13333"/>
                    <a:gd name="connsiteX1" fmla="*/ 60002 w 60001"/>
                    <a:gd name="connsiteY1" fmla="*/ 0 h 13333"/>
                    <a:gd name="connsiteX2" fmla="*/ 60002 w 60001"/>
                    <a:gd name="connsiteY2" fmla="*/ 13333 h 13333"/>
                    <a:gd name="connsiteX3" fmla="*/ 0 w 60001"/>
                    <a:gd name="connsiteY3" fmla="*/ 13333 h 13333"/>
                  </a:gdLst>
                  <a:ahLst/>
                  <a:cxnLst>
                    <a:cxn ang="0">
                      <a:pos x="connsiteX0" y="connsiteY0"/>
                    </a:cxn>
                    <a:cxn ang="0">
                      <a:pos x="connsiteX1" y="connsiteY1"/>
                    </a:cxn>
                    <a:cxn ang="0">
                      <a:pos x="connsiteX2" y="connsiteY2"/>
                    </a:cxn>
                    <a:cxn ang="0">
                      <a:pos x="connsiteX3" y="connsiteY3"/>
                    </a:cxn>
                  </a:cxnLst>
                  <a:rect l="l" t="t" r="r" b="b"/>
                  <a:pathLst>
                    <a:path w="60001" h="13333">
                      <a:moveTo>
                        <a:pt x="0" y="0"/>
                      </a:moveTo>
                      <a:lnTo>
                        <a:pt x="60002" y="0"/>
                      </a:lnTo>
                      <a:lnTo>
                        <a:pt x="60002" y="13333"/>
                      </a:lnTo>
                      <a:lnTo>
                        <a:pt x="0" y="13333"/>
                      </a:lnTo>
                      <a:close/>
                    </a:path>
                  </a:pathLst>
                </a:custGeom>
                <a:solidFill>
                  <a:schemeClr val="accent1"/>
                </a:solidFill>
                <a:ln w="205" cap="flat">
                  <a:noFill/>
                  <a:prstDash val="solid"/>
                  <a:miter/>
                </a:ln>
              </p:spPr>
              <p:txBody>
                <a:bodyPr rtlCol="0" anchor="ctr"/>
                <a:lstStyle/>
                <a:p>
                  <a:endParaRPr lang="en-GB" dirty="0"/>
                </a:p>
              </p:txBody>
            </p:sp>
            <p:sp>
              <p:nvSpPr>
                <p:cNvPr id="427" name="Freihandform: Form 467">
                  <a:extLst>
                    <a:ext uri="{FF2B5EF4-FFF2-40B4-BE49-F238E27FC236}">
                      <a16:creationId xmlns:a16="http://schemas.microsoft.com/office/drawing/2014/main" id="{5EB07863-7E19-4558-BBC0-084BBFDA2119}"/>
                    </a:ext>
                  </a:extLst>
                </p:cNvPr>
                <p:cNvSpPr/>
                <p:nvPr/>
              </p:nvSpPr>
              <p:spPr>
                <a:xfrm>
                  <a:off x="3431329" y="3666838"/>
                  <a:ext cx="93336" cy="93345"/>
                </a:xfrm>
                <a:custGeom>
                  <a:avLst/>
                  <a:gdLst>
                    <a:gd name="connsiteX0" fmla="*/ 46679 w 93336"/>
                    <a:gd name="connsiteY0" fmla="*/ 93345 h 93345"/>
                    <a:gd name="connsiteX1" fmla="*/ 0 w 93336"/>
                    <a:gd name="connsiteY1" fmla="*/ 46667 h 93345"/>
                    <a:gd name="connsiteX2" fmla="*/ 46679 w 93336"/>
                    <a:gd name="connsiteY2" fmla="*/ 0 h 93345"/>
                    <a:gd name="connsiteX3" fmla="*/ 93337 w 93336"/>
                    <a:gd name="connsiteY3" fmla="*/ 46667 h 93345"/>
                    <a:gd name="connsiteX4" fmla="*/ 46679 w 93336"/>
                    <a:gd name="connsiteY4" fmla="*/ 93345 h 93345"/>
                    <a:gd name="connsiteX5" fmla="*/ 46679 w 93336"/>
                    <a:gd name="connsiteY5" fmla="*/ 13335 h 93345"/>
                    <a:gd name="connsiteX6" fmla="*/ 13325 w 93336"/>
                    <a:gd name="connsiteY6" fmla="*/ 46667 h 93345"/>
                    <a:gd name="connsiteX7" fmla="*/ 46679 w 93336"/>
                    <a:gd name="connsiteY7" fmla="*/ 80000 h 93345"/>
                    <a:gd name="connsiteX8" fmla="*/ 80012 w 93336"/>
                    <a:gd name="connsiteY8" fmla="*/ 46667 h 93345"/>
                    <a:gd name="connsiteX9" fmla="*/ 46679 w 93336"/>
                    <a:gd name="connsiteY9" fmla="*/ 13335 h 9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36" h="93345">
                      <a:moveTo>
                        <a:pt x="46679" y="93345"/>
                      </a:moveTo>
                      <a:cubicBezTo>
                        <a:pt x="20933" y="93345"/>
                        <a:pt x="0" y="72391"/>
                        <a:pt x="0" y="46667"/>
                      </a:cubicBezTo>
                      <a:cubicBezTo>
                        <a:pt x="0" y="20942"/>
                        <a:pt x="20933" y="0"/>
                        <a:pt x="46679" y="0"/>
                      </a:cubicBezTo>
                      <a:cubicBezTo>
                        <a:pt x="72403" y="0"/>
                        <a:pt x="93337" y="20942"/>
                        <a:pt x="93337" y="46667"/>
                      </a:cubicBezTo>
                      <a:cubicBezTo>
                        <a:pt x="93337" y="72391"/>
                        <a:pt x="72403" y="93345"/>
                        <a:pt x="46679" y="93345"/>
                      </a:cubicBezTo>
                      <a:close/>
                      <a:moveTo>
                        <a:pt x="46679" y="13335"/>
                      </a:moveTo>
                      <a:cubicBezTo>
                        <a:pt x="28295" y="13335"/>
                        <a:pt x="13325" y="28283"/>
                        <a:pt x="13325" y="46667"/>
                      </a:cubicBezTo>
                      <a:cubicBezTo>
                        <a:pt x="13325" y="65050"/>
                        <a:pt x="28295" y="80000"/>
                        <a:pt x="46679" y="80000"/>
                      </a:cubicBezTo>
                      <a:cubicBezTo>
                        <a:pt x="65042" y="80000"/>
                        <a:pt x="80012" y="65050"/>
                        <a:pt x="80012" y="46667"/>
                      </a:cubicBezTo>
                      <a:cubicBezTo>
                        <a:pt x="80012" y="28283"/>
                        <a:pt x="65042" y="13335"/>
                        <a:pt x="46679" y="13335"/>
                      </a:cubicBezTo>
                      <a:close/>
                    </a:path>
                  </a:pathLst>
                </a:custGeom>
                <a:solidFill>
                  <a:schemeClr val="accent1"/>
                </a:solidFill>
                <a:ln w="205" cap="flat">
                  <a:noFill/>
                  <a:prstDash val="solid"/>
                  <a:miter/>
                </a:ln>
              </p:spPr>
              <p:txBody>
                <a:bodyPr rtlCol="0" anchor="ctr"/>
                <a:lstStyle/>
                <a:p>
                  <a:endParaRPr lang="en-GB" dirty="0"/>
                </a:p>
              </p:txBody>
            </p:sp>
            <p:sp>
              <p:nvSpPr>
                <p:cNvPr id="428" name="Freihandform: Form 468">
                  <a:extLst>
                    <a:ext uri="{FF2B5EF4-FFF2-40B4-BE49-F238E27FC236}">
                      <a16:creationId xmlns:a16="http://schemas.microsoft.com/office/drawing/2014/main" id="{E228498E-AE6F-433E-8B8B-F695B35CA56A}"/>
                    </a:ext>
                  </a:extLst>
                </p:cNvPr>
                <p:cNvSpPr/>
                <p:nvPr/>
              </p:nvSpPr>
              <p:spPr>
                <a:xfrm>
                  <a:off x="3591332" y="3666838"/>
                  <a:ext cx="93337" cy="93345"/>
                </a:xfrm>
                <a:custGeom>
                  <a:avLst/>
                  <a:gdLst>
                    <a:gd name="connsiteX0" fmla="*/ 46679 w 93337"/>
                    <a:gd name="connsiteY0" fmla="*/ 93345 h 93345"/>
                    <a:gd name="connsiteX1" fmla="*/ 0 w 93337"/>
                    <a:gd name="connsiteY1" fmla="*/ 46667 h 93345"/>
                    <a:gd name="connsiteX2" fmla="*/ 46679 w 93337"/>
                    <a:gd name="connsiteY2" fmla="*/ 0 h 93345"/>
                    <a:gd name="connsiteX3" fmla="*/ 93337 w 93337"/>
                    <a:gd name="connsiteY3" fmla="*/ 46667 h 93345"/>
                    <a:gd name="connsiteX4" fmla="*/ 46679 w 93337"/>
                    <a:gd name="connsiteY4" fmla="*/ 93345 h 93345"/>
                    <a:gd name="connsiteX5" fmla="*/ 46679 w 93337"/>
                    <a:gd name="connsiteY5" fmla="*/ 13335 h 93345"/>
                    <a:gd name="connsiteX6" fmla="*/ 13325 w 93337"/>
                    <a:gd name="connsiteY6" fmla="*/ 46667 h 93345"/>
                    <a:gd name="connsiteX7" fmla="*/ 46679 w 93337"/>
                    <a:gd name="connsiteY7" fmla="*/ 80000 h 93345"/>
                    <a:gd name="connsiteX8" fmla="*/ 80012 w 93337"/>
                    <a:gd name="connsiteY8" fmla="*/ 46667 h 93345"/>
                    <a:gd name="connsiteX9" fmla="*/ 46679 w 93337"/>
                    <a:gd name="connsiteY9" fmla="*/ 13335 h 9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37" h="93345">
                      <a:moveTo>
                        <a:pt x="46679" y="93345"/>
                      </a:moveTo>
                      <a:cubicBezTo>
                        <a:pt x="20933" y="93345"/>
                        <a:pt x="0" y="72391"/>
                        <a:pt x="0" y="46667"/>
                      </a:cubicBezTo>
                      <a:cubicBezTo>
                        <a:pt x="0" y="20942"/>
                        <a:pt x="20933" y="0"/>
                        <a:pt x="46679" y="0"/>
                      </a:cubicBezTo>
                      <a:cubicBezTo>
                        <a:pt x="72404" y="0"/>
                        <a:pt x="93337" y="20942"/>
                        <a:pt x="93337" y="46667"/>
                      </a:cubicBezTo>
                      <a:cubicBezTo>
                        <a:pt x="93337" y="72391"/>
                        <a:pt x="72404" y="93345"/>
                        <a:pt x="46679" y="93345"/>
                      </a:cubicBezTo>
                      <a:close/>
                      <a:moveTo>
                        <a:pt x="46679" y="13335"/>
                      </a:moveTo>
                      <a:cubicBezTo>
                        <a:pt x="28295" y="13335"/>
                        <a:pt x="13325" y="28283"/>
                        <a:pt x="13325" y="46667"/>
                      </a:cubicBezTo>
                      <a:cubicBezTo>
                        <a:pt x="13325" y="65050"/>
                        <a:pt x="28295" y="80000"/>
                        <a:pt x="46679" y="80000"/>
                      </a:cubicBezTo>
                      <a:cubicBezTo>
                        <a:pt x="65042" y="80000"/>
                        <a:pt x="80012" y="65050"/>
                        <a:pt x="80012" y="46667"/>
                      </a:cubicBezTo>
                      <a:cubicBezTo>
                        <a:pt x="80012" y="28283"/>
                        <a:pt x="65042" y="13335"/>
                        <a:pt x="46679" y="13335"/>
                      </a:cubicBezTo>
                      <a:close/>
                    </a:path>
                  </a:pathLst>
                </a:custGeom>
                <a:solidFill>
                  <a:schemeClr val="accent1"/>
                </a:solidFill>
                <a:ln w="205" cap="flat">
                  <a:noFill/>
                  <a:prstDash val="solid"/>
                  <a:miter/>
                </a:ln>
              </p:spPr>
              <p:txBody>
                <a:bodyPr rtlCol="0" anchor="ctr"/>
                <a:lstStyle/>
                <a:p>
                  <a:endParaRPr lang="en-GB" dirty="0"/>
                </a:p>
              </p:txBody>
            </p:sp>
            <p:sp>
              <p:nvSpPr>
                <p:cNvPr id="429" name="Freihandform: Form 469">
                  <a:extLst>
                    <a:ext uri="{FF2B5EF4-FFF2-40B4-BE49-F238E27FC236}">
                      <a16:creationId xmlns:a16="http://schemas.microsoft.com/office/drawing/2014/main" id="{CF9FBCB7-4F60-4C6A-B4F0-4B2AA81A460B}"/>
                    </a:ext>
                  </a:extLst>
                </p:cNvPr>
                <p:cNvSpPr/>
                <p:nvPr/>
              </p:nvSpPr>
              <p:spPr>
                <a:xfrm>
                  <a:off x="3391333" y="3573503"/>
                  <a:ext cx="93336" cy="13333"/>
                </a:xfrm>
                <a:custGeom>
                  <a:avLst/>
                  <a:gdLst>
                    <a:gd name="connsiteX0" fmla="*/ 86674 w 93336"/>
                    <a:gd name="connsiteY0" fmla="*/ 13333 h 13333"/>
                    <a:gd name="connsiteX1" fmla="*/ 6662 w 93336"/>
                    <a:gd name="connsiteY1" fmla="*/ 13333 h 13333"/>
                    <a:gd name="connsiteX2" fmla="*/ 0 w 93336"/>
                    <a:gd name="connsiteY2" fmla="*/ 6667 h 13333"/>
                    <a:gd name="connsiteX3" fmla="*/ 6662 w 93336"/>
                    <a:gd name="connsiteY3" fmla="*/ 0 h 13333"/>
                    <a:gd name="connsiteX4" fmla="*/ 86674 w 93336"/>
                    <a:gd name="connsiteY4" fmla="*/ 0 h 13333"/>
                    <a:gd name="connsiteX5" fmla="*/ 93337 w 93336"/>
                    <a:gd name="connsiteY5" fmla="*/ 6667 h 13333"/>
                    <a:gd name="connsiteX6" fmla="*/ 86674 w 93336"/>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336" h="13333">
                      <a:moveTo>
                        <a:pt x="86674" y="13333"/>
                      </a:moveTo>
                      <a:lnTo>
                        <a:pt x="6662" y="13333"/>
                      </a:lnTo>
                      <a:cubicBezTo>
                        <a:pt x="2982" y="13333"/>
                        <a:pt x="0" y="10352"/>
                        <a:pt x="0" y="6667"/>
                      </a:cubicBezTo>
                      <a:cubicBezTo>
                        <a:pt x="0" y="2982"/>
                        <a:pt x="2982" y="0"/>
                        <a:pt x="6662" y="0"/>
                      </a:cubicBezTo>
                      <a:lnTo>
                        <a:pt x="86674" y="0"/>
                      </a:lnTo>
                      <a:cubicBezTo>
                        <a:pt x="90355" y="0"/>
                        <a:pt x="93337" y="2982"/>
                        <a:pt x="93337" y="6667"/>
                      </a:cubicBezTo>
                      <a:cubicBezTo>
                        <a:pt x="93337" y="10352"/>
                        <a:pt x="90355" y="13333"/>
                        <a:pt x="86674" y="13333"/>
                      </a:cubicBezTo>
                      <a:close/>
                    </a:path>
                  </a:pathLst>
                </a:custGeom>
                <a:solidFill>
                  <a:schemeClr val="accent1"/>
                </a:solidFill>
                <a:ln w="205" cap="flat">
                  <a:noFill/>
                  <a:prstDash val="solid"/>
                  <a:miter/>
                </a:ln>
              </p:spPr>
              <p:txBody>
                <a:bodyPr rtlCol="0" anchor="ctr"/>
                <a:lstStyle/>
                <a:p>
                  <a:endParaRPr lang="en-GB" dirty="0"/>
                </a:p>
              </p:txBody>
            </p:sp>
            <p:grpSp>
              <p:nvGrpSpPr>
                <p:cNvPr id="430" name="Grafik 348">
                  <a:extLst>
                    <a:ext uri="{FF2B5EF4-FFF2-40B4-BE49-F238E27FC236}">
                      <a16:creationId xmlns:a16="http://schemas.microsoft.com/office/drawing/2014/main" id="{3E953FFD-D424-4441-88D9-3F1AB7618B7F}"/>
                    </a:ext>
                  </a:extLst>
                </p:cNvPr>
                <p:cNvGrpSpPr/>
                <p:nvPr/>
              </p:nvGrpSpPr>
              <p:grpSpPr>
                <a:xfrm>
                  <a:off x="3404658" y="3466835"/>
                  <a:ext cx="306681" cy="93335"/>
                  <a:chOff x="3404658" y="3466835"/>
                  <a:chExt cx="306681" cy="93335"/>
                </a:xfrm>
                <a:solidFill>
                  <a:schemeClr val="accent1"/>
                </a:solidFill>
              </p:grpSpPr>
              <p:sp>
                <p:nvSpPr>
                  <p:cNvPr id="438" name="Freihandform: Form 471">
                    <a:extLst>
                      <a:ext uri="{FF2B5EF4-FFF2-40B4-BE49-F238E27FC236}">
                        <a16:creationId xmlns:a16="http://schemas.microsoft.com/office/drawing/2014/main" id="{916A630E-A270-419C-93B8-ABEB7EAC4EFE}"/>
                      </a:ext>
                    </a:extLst>
                  </p:cNvPr>
                  <p:cNvSpPr/>
                  <p:nvPr/>
                </p:nvSpPr>
                <p:spPr>
                  <a:xfrm>
                    <a:off x="3404658" y="3466835"/>
                    <a:ext cx="13345" cy="93335"/>
                  </a:xfrm>
                  <a:custGeom>
                    <a:avLst/>
                    <a:gdLst>
                      <a:gd name="connsiteX0" fmla="*/ 6663 w 13345"/>
                      <a:gd name="connsiteY0" fmla="*/ 93335 h 93335"/>
                      <a:gd name="connsiteX1" fmla="*/ 0 w 13345"/>
                      <a:gd name="connsiteY1" fmla="*/ 86668 h 93335"/>
                      <a:gd name="connsiteX2" fmla="*/ 0 w 13345"/>
                      <a:gd name="connsiteY2" fmla="*/ 6667 h 93335"/>
                      <a:gd name="connsiteX3" fmla="*/ 6663 w 13345"/>
                      <a:gd name="connsiteY3" fmla="*/ 0 h 93335"/>
                      <a:gd name="connsiteX4" fmla="*/ 13346 w 13345"/>
                      <a:gd name="connsiteY4" fmla="*/ 6667 h 93335"/>
                      <a:gd name="connsiteX5" fmla="*/ 13346 w 13345"/>
                      <a:gd name="connsiteY5" fmla="*/ 86668 h 93335"/>
                      <a:gd name="connsiteX6" fmla="*/ 6663 w 13345"/>
                      <a:gd name="connsiteY6" fmla="*/ 93335 h 9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5" h="93335">
                        <a:moveTo>
                          <a:pt x="6663" y="93335"/>
                        </a:moveTo>
                        <a:cubicBezTo>
                          <a:pt x="2982" y="93335"/>
                          <a:pt x="0" y="90353"/>
                          <a:pt x="0" y="86668"/>
                        </a:cubicBezTo>
                        <a:lnTo>
                          <a:pt x="0" y="6667"/>
                        </a:lnTo>
                        <a:cubicBezTo>
                          <a:pt x="0" y="2982"/>
                          <a:pt x="2982" y="0"/>
                          <a:pt x="6663" y="0"/>
                        </a:cubicBezTo>
                        <a:cubicBezTo>
                          <a:pt x="10364" y="0"/>
                          <a:pt x="13346" y="2982"/>
                          <a:pt x="13346" y="6667"/>
                        </a:cubicBezTo>
                        <a:lnTo>
                          <a:pt x="13346" y="86668"/>
                        </a:lnTo>
                        <a:cubicBezTo>
                          <a:pt x="13346" y="90353"/>
                          <a:pt x="10364" y="93335"/>
                          <a:pt x="6663" y="93335"/>
                        </a:cubicBezTo>
                        <a:close/>
                      </a:path>
                    </a:pathLst>
                  </a:custGeom>
                  <a:solidFill>
                    <a:schemeClr val="accent1"/>
                  </a:solidFill>
                  <a:ln w="205" cap="flat">
                    <a:noFill/>
                    <a:prstDash val="solid"/>
                    <a:miter/>
                  </a:ln>
                </p:spPr>
                <p:txBody>
                  <a:bodyPr rtlCol="0" anchor="ctr"/>
                  <a:lstStyle/>
                  <a:p>
                    <a:endParaRPr lang="en-GB" dirty="0"/>
                  </a:p>
                </p:txBody>
              </p:sp>
              <p:sp>
                <p:nvSpPr>
                  <p:cNvPr id="439" name="Freihandform: Form 472">
                    <a:extLst>
                      <a:ext uri="{FF2B5EF4-FFF2-40B4-BE49-F238E27FC236}">
                        <a16:creationId xmlns:a16="http://schemas.microsoft.com/office/drawing/2014/main" id="{6978610A-2819-4197-ABE5-A89FC32E30EF}"/>
                      </a:ext>
                    </a:extLst>
                  </p:cNvPr>
                  <p:cNvSpPr/>
                  <p:nvPr/>
                </p:nvSpPr>
                <p:spPr>
                  <a:xfrm>
                    <a:off x="3697994" y="3466835"/>
                    <a:ext cx="13345" cy="39999"/>
                  </a:xfrm>
                  <a:custGeom>
                    <a:avLst/>
                    <a:gdLst>
                      <a:gd name="connsiteX0" fmla="*/ 6683 w 13345"/>
                      <a:gd name="connsiteY0" fmla="*/ 40000 h 39999"/>
                      <a:gd name="connsiteX1" fmla="*/ 0 w 13345"/>
                      <a:gd name="connsiteY1" fmla="*/ 33333 h 39999"/>
                      <a:gd name="connsiteX2" fmla="*/ 0 w 13345"/>
                      <a:gd name="connsiteY2" fmla="*/ 6667 h 39999"/>
                      <a:gd name="connsiteX3" fmla="*/ 6683 w 13345"/>
                      <a:gd name="connsiteY3" fmla="*/ 0 h 39999"/>
                      <a:gd name="connsiteX4" fmla="*/ 13346 w 13345"/>
                      <a:gd name="connsiteY4" fmla="*/ 6667 h 39999"/>
                      <a:gd name="connsiteX5" fmla="*/ 13346 w 13345"/>
                      <a:gd name="connsiteY5" fmla="*/ 33333 h 39999"/>
                      <a:gd name="connsiteX6" fmla="*/ 6683 w 13345"/>
                      <a:gd name="connsiteY6" fmla="*/ 40000 h 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5" h="39999">
                        <a:moveTo>
                          <a:pt x="6683" y="40000"/>
                        </a:moveTo>
                        <a:cubicBezTo>
                          <a:pt x="2982" y="40000"/>
                          <a:pt x="0" y="37018"/>
                          <a:pt x="0" y="33333"/>
                        </a:cubicBezTo>
                        <a:lnTo>
                          <a:pt x="0" y="6667"/>
                        </a:lnTo>
                        <a:cubicBezTo>
                          <a:pt x="0" y="2982"/>
                          <a:pt x="2982" y="0"/>
                          <a:pt x="6683" y="0"/>
                        </a:cubicBezTo>
                        <a:cubicBezTo>
                          <a:pt x="10364" y="0"/>
                          <a:pt x="13346" y="2982"/>
                          <a:pt x="13346" y="6667"/>
                        </a:cubicBezTo>
                        <a:lnTo>
                          <a:pt x="13346" y="33333"/>
                        </a:lnTo>
                        <a:cubicBezTo>
                          <a:pt x="13346" y="37018"/>
                          <a:pt x="10364" y="40000"/>
                          <a:pt x="6683" y="40000"/>
                        </a:cubicBezTo>
                        <a:close/>
                      </a:path>
                    </a:pathLst>
                  </a:custGeom>
                  <a:solidFill>
                    <a:schemeClr val="accent1"/>
                  </a:solidFill>
                  <a:ln w="205" cap="flat">
                    <a:noFill/>
                    <a:prstDash val="solid"/>
                    <a:miter/>
                  </a:ln>
                </p:spPr>
                <p:txBody>
                  <a:bodyPr rtlCol="0" anchor="ctr"/>
                  <a:lstStyle/>
                  <a:p>
                    <a:endParaRPr lang="en-GB" dirty="0"/>
                  </a:p>
                </p:txBody>
              </p:sp>
            </p:grpSp>
            <p:grpSp>
              <p:nvGrpSpPr>
                <p:cNvPr id="431" name="Grafik 348">
                  <a:extLst>
                    <a:ext uri="{FF2B5EF4-FFF2-40B4-BE49-F238E27FC236}">
                      <a16:creationId xmlns:a16="http://schemas.microsoft.com/office/drawing/2014/main" id="{EB1F0CAB-B6FE-40D4-95D4-ECEAEDE1489D}"/>
                    </a:ext>
                  </a:extLst>
                </p:cNvPr>
                <p:cNvGrpSpPr/>
                <p:nvPr/>
              </p:nvGrpSpPr>
              <p:grpSpPr>
                <a:xfrm>
                  <a:off x="3384659" y="3340165"/>
                  <a:ext cx="346680" cy="140003"/>
                  <a:chOff x="3384659" y="3340165"/>
                  <a:chExt cx="346680" cy="140003"/>
                </a:xfrm>
                <a:solidFill>
                  <a:schemeClr val="accent1"/>
                </a:solidFill>
              </p:grpSpPr>
              <p:sp>
                <p:nvSpPr>
                  <p:cNvPr id="432" name="Freihandform: Form 474">
                    <a:extLst>
                      <a:ext uri="{FF2B5EF4-FFF2-40B4-BE49-F238E27FC236}">
                        <a16:creationId xmlns:a16="http://schemas.microsoft.com/office/drawing/2014/main" id="{4B8C4B99-BB70-4814-A1CB-B13C21DDAF84}"/>
                      </a:ext>
                    </a:extLst>
                  </p:cNvPr>
                  <p:cNvSpPr/>
                  <p:nvPr/>
                </p:nvSpPr>
                <p:spPr>
                  <a:xfrm>
                    <a:off x="3384671" y="3413500"/>
                    <a:ext cx="79991" cy="66668"/>
                  </a:xfrm>
                  <a:custGeom>
                    <a:avLst/>
                    <a:gdLst>
                      <a:gd name="connsiteX0" fmla="*/ 39996 w 79991"/>
                      <a:gd name="connsiteY0" fmla="*/ 66668 h 66668"/>
                      <a:gd name="connsiteX1" fmla="*/ 0 w 79991"/>
                      <a:gd name="connsiteY1" fmla="*/ 33333 h 66668"/>
                      <a:gd name="connsiteX2" fmla="*/ 0 w 79991"/>
                      <a:gd name="connsiteY2" fmla="*/ 6667 h 66668"/>
                      <a:gd name="connsiteX3" fmla="*/ 6663 w 79991"/>
                      <a:gd name="connsiteY3" fmla="*/ 0 h 66668"/>
                      <a:gd name="connsiteX4" fmla="*/ 73329 w 79991"/>
                      <a:gd name="connsiteY4" fmla="*/ 0 h 66668"/>
                      <a:gd name="connsiteX5" fmla="*/ 79991 w 79991"/>
                      <a:gd name="connsiteY5" fmla="*/ 6667 h 66668"/>
                      <a:gd name="connsiteX6" fmla="*/ 79991 w 79991"/>
                      <a:gd name="connsiteY6" fmla="*/ 33333 h 66668"/>
                      <a:gd name="connsiteX7" fmla="*/ 39996 w 79991"/>
                      <a:gd name="connsiteY7" fmla="*/ 66668 h 66668"/>
                      <a:gd name="connsiteX8" fmla="*/ 13325 w 79991"/>
                      <a:gd name="connsiteY8" fmla="*/ 13333 h 66668"/>
                      <a:gd name="connsiteX9" fmla="*/ 13325 w 79991"/>
                      <a:gd name="connsiteY9" fmla="*/ 33333 h 66668"/>
                      <a:gd name="connsiteX10" fmla="*/ 39996 w 79991"/>
                      <a:gd name="connsiteY10" fmla="*/ 53333 h 66668"/>
                      <a:gd name="connsiteX11" fmla="*/ 66666 w 79991"/>
                      <a:gd name="connsiteY11" fmla="*/ 33333 h 66668"/>
                      <a:gd name="connsiteX12" fmla="*/ 66666 w 79991"/>
                      <a:gd name="connsiteY12" fmla="*/ 13333 h 66668"/>
                      <a:gd name="connsiteX13" fmla="*/ 13325 w 79991"/>
                      <a:gd name="connsiteY13" fmla="*/ 13333 h 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91" h="66668">
                        <a:moveTo>
                          <a:pt x="39996" y="66668"/>
                        </a:moveTo>
                        <a:cubicBezTo>
                          <a:pt x="15690" y="66668"/>
                          <a:pt x="0" y="53582"/>
                          <a:pt x="0" y="33333"/>
                        </a:cubicBezTo>
                        <a:lnTo>
                          <a:pt x="0" y="6667"/>
                        </a:lnTo>
                        <a:cubicBezTo>
                          <a:pt x="0" y="2982"/>
                          <a:pt x="2982" y="0"/>
                          <a:pt x="6663" y="0"/>
                        </a:cubicBezTo>
                        <a:lnTo>
                          <a:pt x="73329" y="0"/>
                        </a:lnTo>
                        <a:cubicBezTo>
                          <a:pt x="77010" y="0"/>
                          <a:pt x="79991" y="2982"/>
                          <a:pt x="79991" y="6667"/>
                        </a:cubicBezTo>
                        <a:lnTo>
                          <a:pt x="79991" y="33333"/>
                        </a:lnTo>
                        <a:cubicBezTo>
                          <a:pt x="79991" y="53582"/>
                          <a:pt x="64281" y="66668"/>
                          <a:pt x="39996" y="66668"/>
                        </a:cubicBezTo>
                        <a:close/>
                        <a:moveTo>
                          <a:pt x="13325" y="13333"/>
                        </a:moveTo>
                        <a:lnTo>
                          <a:pt x="13325" y="33333"/>
                        </a:lnTo>
                        <a:cubicBezTo>
                          <a:pt x="13325" y="51388"/>
                          <a:pt x="31976" y="53333"/>
                          <a:pt x="39996" y="53333"/>
                        </a:cubicBezTo>
                        <a:cubicBezTo>
                          <a:pt x="48015" y="53333"/>
                          <a:pt x="66666" y="51386"/>
                          <a:pt x="66666" y="33333"/>
                        </a:cubicBezTo>
                        <a:lnTo>
                          <a:pt x="66666" y="13333"/>
                        </a:lnTo>
                        <a:lnTo>
                          <a:pt x="13325" y="13333"/>
                        </a:lnTo>
                        <a:close/>
                      </a:path>
                    </a:pathLst>
                  </a:custGeom>
                  <a:solidFill>
                    <a:schemeClr val="accent1"/>
                  </a:solidFill>
                  <a:ln w="205" cap="flat">
                    <a:noFill/>
                    <a:prstDash val="solid"/>
                    <a:miter/>
                  </a:ln>
                </p:spPr>
                <p:txBody>
                  <a:bodyPr rtlCol="0" anchor="ctr"/>
                  <a:lstStyle/>
                  <a:p>
                    <a:endParaRPr lang="en-GB" dirty="0"/>
                  </a:p>
                </p:txBody>
              </p:sp>
              <p:sp>
                <p:nvSpPr>
                  <p:cNvPr id="433" name="Freihandform: Form 475">
                    <a:extLst>
                      <a:ext uri="{FF2B5EF4-FFF2-40B4-BE49-F238E27FC236}">
                        <a16:creationId xmlns:a16="http://schemas.microsoft.com/office/drawing/2014/main" id="{65E32910-28E3-4870-B738-480550F4176E}"/>
                      </a:ext>
                    </a:extLst>
                  </p:cNvPr>
                  <p:cNvSpPr/>
                  <p:nvPr/>
                </p:nvSpPr>
                <p:spPr>
                  <a:xfrm>
                    <a:off x="3651336" y="3413500"/>
                    <a:ext cx="79991" cy="66668"/>
                  </a:xfrm>
                  <a:custGeom>
                    <a:avLst/>
                    <a:gdLst>
                      <a:gd name="connsiteX0" fmla="*/ 39996 w 79991"/>
                      <a:gd name="connsiteY0" fmla="*/ 66668 h 66668"/>
                      <a:gd name="connsiteX1" fmla="*/ 0 w 79991"/>
                      <a:gd name="connsiteY1" fmla="*/ 33333 h 66668"/>
                      <a:gd name="connsiteX2" fmla="*/ 0 w 79991"/>
                      <a:gd name="connsiteY2" fmla="*/ 6667 h 66668"/>
                      <a:gd name="connsiteX3" fmla="*/ 6663 w 79991"/>
                      <a:gd name="connsiteY3" fmla="*/ 0 h 66668"/>
                      <a:gd name="connsiteX4" fmla="*/ 73329 w 79991"/>
                      <a:gd name="connsiteY4" fmla="*/ 0 h 66668"/>
                      <a:gd name="connsiteX5" fmla="*/ 79991 w 79991"/>
                      <a:gd name="connsiteY5" fmla="*/ 6667 h 66668"/>
                      <a:gd name="connsiteX6" fmla="*/ 79991 w 79991"/>
                      <a:gd name="connsiteY6" fmla="*/ 33333 h 66668"/>
                      <a:gd name="connsiteX7" fmla="*/ 39996 w 79991"/>
                      <a:gd name="connsiteY7" fmla="*/ 66668 h 66668"/>
                      <a:gd name="connsiteX8" fmla="*/ 13325 w 79991"/>
                      <a:gd name="connsiteY8" fmla="*/ 13333 h 66668"/>
                      <a:gd name="connsiteX9" fmla="*/ 13325 w 79991"/>
                      <a:gd name="connsiteY9" fmla="*/ 33333 h 66668"/>
                      <a:gd name="connsiteX10" fmla="*/ 39996 w 79991"/>
                      <a:gd name="connsiteY10" fmla="*/ 53333 h 66668"/>
                      <a:gd name="connsiteX11" fmla="*/ 66666 w 79991"/>
                      <a:gd name="connsiteY11" fmla="*/ 33333 h 66668"/>
                      <a:gd name="connsiteX12" fmla="*/ 66666 w 79991"/>
                      <a:gd name="connsiteY12" fmla="*/ 13333 h 66668"/>
                      <a:gd name="connsiteX13" fmla="*/ 13325 w 79991"/>
                      <a:gd name="connsiteY13" fmla="*/ 13333 h 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91" h="66668">
                        <a:moveTo>
                          <a:pt x="39996" y="66668"/>
                        </a:moveTo>
                        <a:cubicBezTo>
                          <a:pt x="15710" y="66668"/>
                          <a:pt x="0" y="53582"/>
                          <a:pt x="0" y="33333"/>
                        </a:cubicBezTo>
                        <a:lnTo>
                          <a:pt x="0" y="6667"/>
                        </a:lnTo>
                        <a:cubicBezTo>
                          <a:pt x="0" y="2982"/>
                          <a:pt x="2982" y="0"/>
                          <a:pt x="6663" y="0"/>
                        </a:cubicBezTo>
                        <a:lnTo>
                          <a:pt x="73329" y="0"/>
                        </a:lnTo>
                        <a:cubicBezTo>
                          <a:pt x="77010" y="0"/>
                          <a:pt x="79991" y="2982"/>
                          <a:pt x="79991" y="6667"/>
                        </a:cubicBezTo>
                        <a:lnTo>
                          <a:pt x="79991" y="33333"/>
                        </a:lnTo>
                        <a:cubicBezTo>
                          <a:pt x="80012" y="53582"/>
                          <a:pt x="64302" y="66668"/>
                          <a:pt x="39996" y="66668"/>
                        </a:cubicBezTo>
                        <a:close/>
                        <a:moveTo>
                          <a:pt x="13325" y="13333"/>
                        </a:moveTo>
                        <a:lnTo>
                          <a:pt x="13325" y="33333"/>
                        </a:lnTo>
                        <a:cubicBezTo>
                          <a:pt x="13325" y="51388"/>
                          <a:pt x="31976" y="53333"/>
                          <a:pt x="39996" y="53333"/>
                        </a:cubicBezTo>
                        <a:cubicBezTo>
                          <a:pt x="48015" y="53333"/>
                          <a:pt x="66666" y="51386"/>
                          <a:pt x="66666" y="33333"/>
                        </a:cubicBezTo>
                        <a:lnTo>
                          <a:pt x="66666" y="13333"/>
                        </a:lnTo>
                        <a:lnTo>
                          <a:pt x="13325" y="13333"/>
                        </a:lnTo>
                        <a:close/>
                      </a:path>
                    </a:pathLst>
                  </a:custGeom>
                  <a:solidFill>
                    <a:schemeClr val="accent1"/>
                  </a:solidFill>
                  <a:ln w="205" cap="flat">
                    <a:noFill/>
                    <a:prstDash val="solid"/>
                    <a:miter/>
                  </a:ln>
                </p:spPr>
                <p:txBody>
                  <a:bodyPr rtlCol="0" anchor="ctr"/>
                  <a:lstStyle/>
                  <a:p>
                    <a:endParaRPr lang="en-GB" dirty="0"/>
                  </a:p>
                </p:txBody>
              </p:sp>
              <p:sp>
                <p:nvSpPr>
                  <p:cNvPr id="434" name="Freihandform: Form 476">
                    <a:extLst>
                      <a:ext uri="{FF2B5EF4-FFF2-40B4-BE49-F238E27FC236}">
                        <a16:creationId xmlns:a16="http://schemas.microsoft.com/office/drawing/2014/main" id="{99B89374-7A5F-42EB-BAE6-5A9C2F544298}"/>
                      </a:ext>
                    </a:extLst>
                  </p:cNvPr>
                  <p:cNvSpPr/>
                  <p:nvPr/>
                </p:nvSpPr>
                <p:spPr>
                  <a:xfrm>
                    <a:off x="3584670" y="3413500"/>
                    <a:ext cx="79991" cy="66668"/>
                  </a:xfrm>
                  <a:custGeom>
                    <a:avLst/>
                    <a:gdLst>
                      <a:gd name="connsiteX0" fmla="*/ 39996 w 79991"/>
                      <a:gd name="connsiteY0" fmla="*/ 66668 h 66668"/>
                      <a:gd name="connsiteX1" fmla="*/ 0 w 79991"/>
                      <a:gd name="connsiteY1" fmla="*/ 33333 h 66668"/>
                      <a:gd name="connsiteX2" fmla="*/ 0 w 79991"/>
                      <a:gd name="connsiteY2" fmla="*/ 6667 h 66668"/>
                      <a:gd name="connsiteX3" fmla="*/ 6662 w 79991"/>
                      <a:gd name="connsiteY3" fmla="*/ 0 h 66668"/>
                      <a:gd name="connsiteX4" fmla="*/ 73329 w 79991"/>
                      <a:gd name="connsiteY4" fmla="*/ 0 h 66668"/>
                      <a:gd name="connsiteX5" fmla="*/ 79991 w 79991"/>
                      <a:gd name="connsiteY5" fmla="*/ 6667 h 66668"/>
                      <a:gd name="connsiteX6" fmla="*/ 79991 w 79991"/>
                      <a:gd name="connsiteY6" fmla="*/ 33333 h 66668"/>
                      <a:gd name="connsiteX7" fmla="*/ 39996 w 79991"/>
                      <a:gd name="connsiteY7" fmla="*/ 66668 h 66668"/>
                      <a:gd name="connsiteX8" fmla="*/ 13325 w 79991"/>
                      <a:gd name="connsiteY8" fmla="*/ 13333 h 66668"/>
                      <a:gd name="connsiteX9" fmla="*/ 13325 w 79991"/>
                      <a:gd name="connsiteY9" fmla="*/ 33333 h 66668"/>
                      <a:gd name="connsiteX10" fmla="*/ 39996 w 79991"/>
                      <a:gd name="connsiteY10" fmla="*/ 53333 h 66668"/>
                      <a:gd name="connsiteX11" fmla="*/ 66666 w 79991"/>
                      <a:gd name="connsiteY11" fmla="*/ 33333 h 66668"/>
                      <a:gd name="connsiteX12" fmla="*/ 66666 w 79991"/>
                      <a:gd name="connsiteY12" fmla="*/ 13333 h 66668"/>
                      <a:gd name="connsiteX13" fmla="*/ 13325 w 79991"/>
                      <a:gd name="connsiteY13" fmla="*/ 13333 h 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91" h="66668">
                        <a:moveTo>
                          <a:pt x="39996" y="66668"/>
                        </a:moveTo>
                        <a:cubicBezTo>
                          <a:pt x="15710" y="66668"/>
                          <a:pt x="0" y="53582"/>
                          <a:pt x="0" y="33333"/>
                        </a:cubicBezTo>
                        <a:lnTo>
                          <a:pt x="0" y="6667"/>
                        </a:lnTo>
                        <a:cubicBezTo>
                          <a:pt x="0" y="2982"/>
                          <a:pt x="2982" y="0"/>
                          <a:pt x="6662" y="0"/>
                        </a:cubicBezTo>
                        <a:lnTo>
                          <a:pt x="73329" y="0"/>
                        </a:lnTo>
                        <a:cubicBezTo>
                          <a:pt x="77010" y="0"/>
                          <a:pt x="79991" y="2982"/>
                          <a:pt x="79991" y="6667"/>
                        </a:cubicBezTo>
                        <a:lnTo>
                          <a:pt x="79991" y="33333"/>
                        </a:lnTo>
                        <a:cubicBezTo>
                          <a:pt x="79991" y="53582"/>
                          <a:pt x="64301" y="66668"/>
                          <a:pt x="39996" y="66668"/>
                        </a:cubicBezTo>
                        <a:close/>
                        <a:moveTo>
                          <a:pt x="13325" y="13333"/>
                        </a:moveTo>
                        <a:lnTo>
                          <a:pt x="13325" y="33333"/>
                        </a:lnTo>
                        <a:cubicBezTo>
                          <a:pt x="13325" y="51388"/>
                          <a:pt x="31976" y="53333"/>
                          <a:pt x="39996" y="53333"/>
                        </a:cubicBezTo>
                        <a:cubicBezTo>
                          <a:pt x="48015" y="53333"/>
                          <a:pt x="66666" y="51386"/>
                          <a:pt x="66666" y="33333"/>
                        </a:cubicBezTo>
                        <a:lnTo>
                          <a:pt x="66666" y="13333"/>
                        </a:lnTo>
                        <a:lnTo>
                          <a:pt x="13325" y="13333"/>
                        </a:lnTo>
                        <a:close/>
                      </a:path>
                    </a:pathLst>
                  </a:custGeom>
                  <a:solidFill>
                    <a:schemeClr val="accent1"/>
                  </a:solidFill>
                  <a:ln w="205" cap="flat">
                    <a:noFill/>
                    <a:prstDash val="solid"/>
                    <a:miter/>
                  </a:ln>
                </p:spPr>
                <p:txBody>
                  <a:bodyPr rtlCol="0" anchor="ctr"/>
                  <a:lstStyle/>
                  <a:p>
                    <a:endParaRPr lang="en-GB" dirty="0"/>
                  </a:p>
                </p:txBody>
              </p:sp>
              <p:sp>
                <p:nvSpPr>
                  <p:cNvPr id="435" name="Freihandform: Form 477">
                    <a:extLst>
                      <a:ext uri="{FF2B5EF4-FFF2-40B4-BE49-F238E27FC236}">
                        <a16:creationId xmlns:a16="http://schemas.microsoft.com/office/drawing/2014/main" id="{B8765226-4E98-4B2C-9016-EB256C992114}"/>
                      </a:ext>
                    </a:extLst>
                  </p:cNvPr>
                  <p:cNvSpPr/>
                  <p:nvPr/>
                </p:nvSpPr>
                <p:spPr>
                  <a:xfrm>
                    <a:off x="3518004" y="3413500"/>
                    <a:ext cx="79991" cy="66668"/>
                  </a:xfrm>
                  <a:custGeom>
                    <a:avLst/>
                    <a:gdLst>
                      <a:gd name="connsiteX0" fmla="*/ 39996 w 79991"/>
                      <a:gd name="connsiteY0" fmla="*/ 66668 h 66668"/>
                      <a:gd name="connsiteX1" fmla="*/ 0 w 79991"/>
                      <a:gd name="connsiteY1" fmla="*/ 33333 h 66668"/>
                      <a:gd name="connsiteX2" fmla="*/ 0 w 79991"/>
                      <a:gd name="connsiteY2" fmla="*/ 6667 h 66668"/>
                      <a:gd name="connsiteX3" fmla="*/ 6662 w 79991"/>
                      <a:gd name="connsiteY3" fmla="*/ 0 h 66668"/>
                      <a:gd name="connsiteX4" fmla="*/ 73329 w 79991"/>
                      <a:gd name="connsiteY4" fmla="*/ 0 h 66668"/>
                      <a:gd name="connsiteX5" fmla="*/ 79991 w 79991"/>
                      <a:gd name="connsiteY5" fmla="*/ 6667 h 66668"/>
                      <a:gd name="connsiteX6" fmla="*/ 79991 w 79991"/>
                      <a:gd name="connsiteY6" fmla="*/ 33333 h 66668"/>
                      <a:gd name="connsiteX7" fmla="*/ 39996 w 79991"/>
                      <a:gd name="connsiteY7" fmla="*/ 66668 h 66668"/>
                      <a:gd name="connsiteX8" fmla="*/ 13325 w 79991"/>
                      <a:gd name="connsiteY8" fmla="*/ 13333 h 66668"/>
                      <a:gd name="connsiteX9" fmla="*/ 13325 w 79991"/>
                      <a:gd name="connsiteY9" fmla="*/ 33333 h 66668"/>
                      <a:gd name="connsiteX10" fmla="*/ 39996 w 79991"/>
                      <a:gd name="connsiteY10" fmla="*/ 53333 h 66668"/>
                      <a:gd name="connsiteX11" fmla="*/ 66666 w 79991"/>
                      <a:gd name="connsiteY11" fmla="*/ 33333 h 66668"/>
                      <a:gd name="connsiteX12" fmla="*/ 66666 w 79991"/>
                      <a:gd name="connsiteY12" fmla="*/ 13333 h 66668"/>
                      <a:gd name="connsiteX13" fmla="*/ 13325 w 79991"/>
                      <a:gd name="connsiteY13" fmla="*/ 13333 h 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91" h="66668">
                        <a:moveTo>
                          <a:pt x="39996" y="66668"/>
                        </a:moveTo>
                        <a:cubicBezTo>
                          <a:pt x="15690" y="66668"/>
                          <a:pt x="0" y="53582"/>
                          <a:pt x="0" y="33333"/>
                        </a:cubicBezTo>
                        <a:lnTo>
                          <a:pt x="0" y="6667"/>
                        </a:lnTo>
                        <a:cubicBezTo>
                          <a:pt x="0" y="2982"/>
                          <a:pt x="2982" y="0"/>
                          <a:pt x="6662" y="0"/>
                        </a:cubicBezTo>
                        <a:lnTo>
                          <a:pt x="73329" y="0"/>
                        </a:lnTo>
                        <a:cubicBezTo>
                          <a:pt x="77010" y="0"/>
                          <a:pt x="79991" y="2982"/>
                          <a:pt x="79991" y="6667"/>
                        </a:cubicBezTo>
                        <a:lnTo>
                          <a:pt x="79991" y="33333"/>
                        </a:lnTo>
                        <a:cubicBezTo>
                          <a:pt x="79991" y="53582"/>
                          <a:pt x="64302" y="66668"/>
                          <a:pt x="39996" y="66668"/>
                        </a:cubicBezTo>
                        <a:close/>
                        <a:moveTo>
                          <a:pt x="13325" y="13333"/>
                        </a:moveTo>
                        <a:lnTo>
                          <a:pt x="13325" y="33333"/>
                        </a:lnTo>
                        <a:cubicBezTo>
                          <a:pt x="13325" y="51388"/>
                          <a:pt x="31976" y="53333"/>
                          <a:pt x="39996" y="53333"/>
                        </a:cubicBezTo>
                        <a:cubicBezTo>
                          <a:pt x="48015" y="53333"/>
                          <a:pt x="66666" y="51386"/>
                          <a:pt x="66666" y="33333"/>
                        </a:cubicBezTo>
                        <a:lnTo>
                          <a:pt x="66666" y="13333"/>
                        </a:lnTo>
                        <a:lnTo>
                          <a:pt x="13325" y="13333"/>
                        </a:lnTo>
                        <a:close/>
                      </a:path>
                    </a:pathLst>
                  </a:custGeom>
                  <a:solidFill>
                    <a:schemeClr val="accent1"/>
                  </a:solidFill>
                  <a:ln w="205" cap="flat">
                    <a:noFill/>
                    <a:prstDash val="solid"/>
                    <a:miter/>
                  </a:ln>
                </p:spPr>
                <p:txBody>
                  <a:bodyPr rtlCol="0" anchor="ctr"/>
                  <a:lstStyle/>
                  <a:p>
                    <a:endParaRPr lang="en-GB" dirty="0"/>
                  </a:p>
                </p:txBody>
              </p:sp>
              <p:sp>
                <p:nvSpPr>
                  <p:cNvPr id="436" name="Freihandform: Form 478">
                    <a:extLst>
                      <a:ext uri="{FF2B5EF4-FFF2-40B4-BE49-F238E27FC236}">
                        <a16:creationId xmlns:a16="http://schemas.microsoft.com/office/drawing/2014/main" id="{5A1607BB-BBE8-4434-A039-47824249E804}"/>
                      </a:ext>
                    </a:extLst>
                  </p:cNvPr>
                  <p:cNvSpPr/>
                  <p:nvPr/>
                </p:nvSpPr>
                <p:spPr>
                  <a:xfrm>
                    <a:off x="3451337" y="3413500"/>
                    <a:ext cx="79991" cy="66668"/>
                  </a:xfrm>
                  <a:custGeom>
                    <a:avLst/>
                    <a:gdLst>
                      <a:gd name="connsiteX0" fmla="*/ 39996 w 79991"/>
                      <a:gd name="connsiteY0" fmla="*/ 66668 h 66668"/>
                      <a:gd name="connsiteX1" fmla="*/ 0 w 79991"/>
                      <a:gd name="connsiteY1" fmla="*/ 33333 h 66668"/>
                      <a:gd name="connsiteX2" fmla="*/ 0 w 79991"/>
                      <a:gd name="connsiteY2" fmla="*/ 6667 h 66668"/>
                      <a:gd name="connsiteX3" fmla="*/ 6663 w 79991"/>
                      <a:gd name="connsiteY3" fmla="*/ 0 h 66668"/>
                      <a:gd name="connsiteX4" fmla="*/ 73329 w 79991"/>
                      <a:gd name="connsiteY4" fmla="*/ 0 h 66668"/>
                      <a:gd name="connsiteX5" fmla="*/ 79991 w 79991"/>
                      <a:gd name="connsiteY5" fmla="*/ 6667 h 66668"/>
                      <a:gd name="connsiteX6" fmla="*/ 79991 w 79991"/>
                      <a:gd name="connsiteY6" fmla="*/ 33333 h 66668"/>
                      <a:gd name="connsiteX7" fmla="*/ 39996 w 79991"/>
                      <a:gd name="connsiteY7" fmla="*/ 66668 h 66668"/>
                      <a:gd name="connsiteX8" fmla="*/ 13325 w 79991"/>
                      <a:gd name="connsiteY8" fmla="*/ 13333 h 66668"/>
                      <a:gd name="connsiteX9" fmla="*/ 13325 w 79991"/>
                      <a:gd name="connsiteY9" fmla="*/ 33333 h 66668"/>
                      <a:gd name="connsiteX10" fmla="*/ 39996 w 79991"/>
                      <a:gd name="connsiteY10" fmla="*/ 53333 h 66668"/>
                      <a:gd name="connsiteX11" fmla="*/ 66666 w 79991"/>
                      <a:gd name="connsiteY11" fmla="*/ 33333 h 66668"/>
                      <a:gd name="connsiteX12" fmla="*/ 66666 w 79991"/>
                      <a:gd name="connsiteY12" fmla="*/ 13333 h 66668"/>
                      <a:gd name="connsiteX13" fmla="*/ 13325 w 79991"/>
                      <a:gd name="connsiteY13" fmla="*/ 13333 h 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91" h="66668">
                        <a:moveTo>
                          <a:pt x="39996" y="66668"/>
                        </a:moveTo>
                        <a:cubicBezTo>
                          <a:pt x="15690" y="66668"/>
                          <a:pt x="0" y="53582"/>
                          <a:pt x="0" y="33333"/>
                        </a:cubicBezTo>
                        <a:lnTo>
                          <a:pt x="0" y="6667"/>
                        </a:lnTo>
                        <a:cubicBezTo>
                          <a:pt x="0" y="2982"/>
                          <a:pt x="2982" y="0"/>
                          <a:pt x="6663" y="0"/>
                        </a:cubicBezTo>
                        <a:lnTo>
                          <a:pt x="73329" y="0"/>
                        </a:lnTo>
                        <a:cubicBezTo>
                          <a:pt x="77010" y="0"/>
                          <a:pt x="79991" y="2982"/>
                          <a:pt x="79991" y="6667"/>
                        </a:cubicBezTo>
                        <a:lnTo>
                          <a:pt x="79991" y="33333"/>
                        </a:lnTo>
                        <a:cubicBezTo>
                          <a:pt x="79991" y="53582"/>
                          <a:pt x="64302" y="66668"/>
                          <a:pt x="39996" y="66668"/>
                        </a:cubicBezTo>
                        <a:close/>
                        <a:moveTo>
                          <a:pt x="13325" y="13333"/>
                        </a:moveTo>
                        <a:lnTo>
                          <a:pt x="13325" y="33333"/>
                        </a:lnTo>
                        <a:cubicBezTo>
                          <a:pt x="13325" y="51388"/>
                          <a:pt x="31976" y="53333"/>
                          <a:pt x="39996" y="53333"/>
                        </a:cubicBezTo>
                        <a:cubicBezTo>
                          <a:pt x="48015" y="53333"/>
                          <a:pt x="66666" y="51386"/>
                          <a:pt x="66666" y="33333"/>
                        </a:cubicBezTo>
                        <a:lnTo>
                          <a:pt x="66666" y="13333"/>
                        </a:lnTo>
                        <a:lnTo>
                          <a:pt x="13325" y="13333"/>
                        </a:lnTo>
                        <a:close/>
                      </a:path>
                    </a:pathLst>
                  </a:custGeom>
                  <a:solidFill>
                    <a:schemeClr val="accent1"/>
                  </a:solidFill>
                  <a:ln w="205" cap="flat">
                    <a:noFill/>
                    <a:prstDash val="solid"/>
                    <a:miter/>
                  </a:ln>
                </p:spPr>
                <p:txBody>
                  <a:bodyPr rtlCol="0" anchor="ctr"/>
                  <a:lstStyle/>
                  <a:p>
                    <a:endParaRPr lang="en-GB" dirty="0"/>
                  </a:p>
                </p:txBody>
              </p:sp>
              <p:sp>
                <p:nvSpPr>
                  <p:cNvPr id="437" name="Freihandform: Form 479">
                    <a:extLst>
                      <a:ext uri="{FF2B5EF4-FFF2-40B4-BE49-F238E27FC236}">
                        <a16:creationId xmlns:a16="http://schemas.microsoft.com/office/drawing/2014/main" id="{CF5A6B1E-9E61-443F-88F1-45B1535F8511}"/>
                      </a:ext>
                    </a:extLst>
                  </p:cNvPr>
                  <p:cNvSpPr/>
                  <p:nvPr/>
                </p:nvSpPr>
                <p:spPr>
                  <a:xfrm>
                    <a:off x="3384659" y="3340165"/>
                    <a:ext cx="346680" cy="86668"/>
                  </a:xfrm>
                  <a:custGeom>
                    <a:avLst/>
                    <a:gdLst>
                      <a:gd name="connsiteX0" fmla="*/ 340006 w 346680"/>
                      <a:gd name="connsiteY0" fmla="*/ 86668 h 86668"/>
                      <a:gd name="connsiteX1" fmla="*/ 6674 w 346680"/>
                      <a:gd name="connsiteY1" fmla="*/ 86668 h 86668"/>
                      <a:gd name="connsiteX2" fmla="*/ 1369 w 346680"/>
                      <a:gd name="connsiteY2" fmla="*/ 84051 h 86668"/>
                      <a:gd name="connsiteX3" fmla="*/ 238 w 346680"/>
                      <a:gd name="connsiteY3" fmla="*/ 78250 h 86668"/>
                      <a:gd name="connsiteX4" fmla="*/ 20246 w 346680"/>
                      <a:gd name="connsiteY4" fmla="*/ 4915 h 86668"/>
                      <a:gd name="connsiteX5" fmla="*/ 26662 w 346680"/>
                      <a:gd name="connsiteY5" fmla="*/ 0 h 86668"/>
                      <a:gd name="connsiteX6" fmla="*/ 320018 w 346680"/>
                      <a:gd name="connsiteY6" fmla="*/ 0 h 86668"/>
                      <a:gd name="connsiteX7" fmla="*/ 326434 w 346680"/>
                      <a:gd name="connsiteY7" fmla="*/ 4915 h 86668"/>
                      <a:gd name="connsiteX8" fmla="*/ 346442 w 346680"/>
                      <a:gd name="connsiteY8" fmla="*/ 78250 h 86668"/>
                      <a:gd name="connsiteX9" fmla="*/ 345311 w 346680"/>
                      <a:gd name="connsiteY9" fmla="*/ 84051 h 86668"/>
                      <a:gd name="connsiteX10" fmla="*/ 340006 w 346680"/>
                      <a:gd name="connsiteY10" fmla="*/ 86668 h 86668"/>
                      <a:gd name="connsiteX11" fmla="*/ 15393 w 346680"/>
                      <a:gd name="connsiteY11" fmla="*/ 73333 h 86668"/>
                      <a:gd name="connsiteX12" fmla="*/ 331287 w 346680"/>
                      <a:gd name="connsiteY12" fmla="*/ 73333 h 86668"/>
                      <a:gd name="connsiteX13" fmla="*/ 314919 w 346680"/>
                      <a:gd name="connsiteY13" fmla="*/ 13331 h 86668"/>
                      <a:gd name="connsiteX14" fmla="*/ 31762 w 346680"/>
                      <a:gd name="connsiteY14" fmla="*/ 13331 h 86668"/>
                      <a:gd name="connsiteX15" fmla="*/ 15393 w 346680"/>
                      <a:gd name="connsiteY15" fmla="*/ 73333 h 8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6680" h="86668">
                        <a:moveTo>
                          <a:pt x="340006" y="86668"/>
                        </a:moveTo>
                        <a:lnTo>
                          <a:pt x="6674" y="86668"/>
                        </a:lnTo>
                        <a:cubicBezTo>
                          <a:pt x="4597" y="86668"/>
                          <a:pt x="2623" y="85698"/>
                          <a:pt x="1369" y="84051"/>
                        </a:cubicBezTo>
                        <a:cubicBezTo>
                          <a:pt x="115" y="82397"/>
                          <a:pt x="-317" y="80248"/>
                          <a:pt x="238" y="78250"/>
                        </a:cubicBezTo>
                        <a:lnTo>
                          <a:pt x="20246" y="4915"/>
                        </a:lnTo>
                        <a:cubicBezTo>
                          <a:pt x="21028" y="2011"/>
                          <a:pt x="23660" y="0"/>
                          <a:pt x="26662" y="0"/>
                        </a:cubicBezTo>
                        <a:lnTo>
                          <a:pt x="320018" y="0"/>
                        </a:lnTo>
                        <a:cubicBezTo>
                          <a:pt x="323021" y="0"/>
                          <a:pt x="325653" y="2011"/>
                          <a:pt x="326434" y="4915"/>
                        </a:cubicBezTo>
                        <a:lnTo>
                          <a:pt x="346442" y="78250"/>
                        </a:lnTo>
                        <a:cubicBezTo>
                          <a:pt x="346998" y="80248"/>
                          <a:pt x="346566" y="82397"/>
                          <a:pt x="345311" y="84051"/>
                        </a:cubicBezTo>
                        <a:cubicBezTo>
                          <a:pt x="344057" y="85698"/>
                          <a:pt x="342083" y="86668"/>
                          <a:pt x="340006" y="86668"/>
                        </a:cubicBezTo>
                        <a:close/>
                        <a:moveTo>
                          <a:pt x="15393" y="73333"/>
                        </a:moveTo>
                        <a:lnTo>
                          <a:pt x="331287" y="73333"/>
                        </a:lnTo>
                        <a:lnTo>
                          <a:pt x="314919" y="13331"/>
                        </a:lnTo>
                        <a:lnTo>
                          <a:pt x="31762" y="13331"/>
                        </a:lnTo>
                        <a:lnTo>
                          <a:pt x="15393" y="73333"/>
                        </a:lnTo>
                        <a:close/>
                      </a:path>
                    </a:pathLst>
                  </a:custGeom>
                  <a:solidFill>
                    <a:schemeClr val="accent1"/>
                  </a:solidFill>
                  <a:ln w="205" cap="flat">
                    <a:noFill/>
                    <a:prstDash val="solid"/>
                    <a:miter/>
                  </a:ln>
                </p:spPr>
                <p:txBody>
                  <a:bodyPr rtlCol="0" anchor="ctr"/>
                  <a:lstStyle/>
                  <a:p>
                    <a:endParaRPr lang="en-GB" dirty="0"/>
                  </a:p>
                </p:txBody>
              </p:sp>
            </p:grpSp>
          </p:grpSp>
          <p:sp>
            <p:nvSpPr>
              <p:cNvPr id="422" name="Freihandform: Form 480">
                <a:extLst>
                  <a:ext uri="{FF2B5EF4-FFF2-40B4-BE49-F238E27FC236}">
                    <a16:creationId xmlns:a16="http://schemas.microsoft.com/office/drawing/2014/main" id="{51A0954C-3AA5-41F7-B780-0353E3D299D5}"/>
                  </a:ext>
                </a:extLst>
              </p:cNvPr>
              <p:cNvSpPr/>
              <p:nvPr/>
            </p:nvSpPr>
            <p:spPr>
              <a:xfrm>
                <a:off x="3489156" y="3510695"/>
                <a:ext cx="137068" cy="119692"/>
              </a:xfrm>
              <a:custGeom>
                <a:avLst/>
                <a:gdLst>
                  <a:gd name="connsiteX0" fmla="*/ 69275 w 137068"/>
                  <a:gd name="connsiteY0" fmla="*/ 119692 h 119692"/>
                  <a:gd name="connsiteX1" fmla="*/ 62161 w 137068"/>
                  <a:gd name="connsiteY1" fmla="*/ 115284 h 119692"/>
                  <a:gd name="connsiteX2" fmla="*/ 33166 w 137068"/>
                  <a:gd name="connsiteY2" fmla="*/ 90015 h 119692"/>
                  <a:gd name="connsiteX3" fmla="*/ 26319 w 137068"/>
                  <a:gd name="connsiteY3" fmla="*/ 86084 h 119692"/>
                  <a:gd name="connsiteX4" fmla="*/ 4789 w 137068"/>
                  <a:gd name="connsiteY4" fmla="*/ 61585 h 119692"/>
                  <a:gd name="connsiteX5" fmla="*/ 4316 w 137068"/>
                  <a:gd name="connsiteY5" fmla="*/ 60674 h 119692"/>
                  <a:gd name="connsiteX6" fmla="*/ 409 w 137068"/>
                  <a:gd name="connsiteY6" fmla="*/ 34786 h 119692"/>
                  <a:gd name="connsiteX7" fmla="*/ 429 w 137068"/>
                  <a:gd name="connsiteY7" fmla="*/ 34591 h 119692"/>
                  <a:gd name="connsiteX8" fmla="*/ 25249 w 137068"/>
                  <a:gd name="connsiteY8" fmla="*/ 3913 h 119692"/>
                  <a:gd name="connsiteX9" fmla="*/ 57904 w 137068"/>
                  <a:gd name="connsiteY9" fmla="*/ 3756 h 119692"/>
                  <a:gd name="connsiteX10" fmla="*/ 68453 w 137068"/>
                  <a:gd name="connsiteY10" fmla="*/ 11973 h 119692"/>
                  <a:gd name="connsiteX11" fmla="*/ 78590 w 137068"/>
                  <a:gd name="connsiteY11" fmla="*/ 3633 h 119692"/>
                  <a:gd name="connsiteX12" fmla="*/ 111183 w 137068"/>
                  <a:gd name="connsiteY12" fmla="*/ 3176 h 119692"/>
                  <a:gd name="connsiteX13" fmla="*/ 136538 w 137068"/>
                  <a:gd name="connsiteY13" fmla="*/ 33419 h 119692"/>
                  <a:gd name="connsiteX14" fmla="*/ 133104 w 137068"/>
                  <a:gd name="connsiteY14" fmla="*/ 59571 h 119692"/>
                  <a:gd name="connsiteX15" fmla="*/ 132652 w 137068"/>
                  <a:gd name="connsiteY15" fmla="*/ 60476 h 119692"/>
                  <a:gd name="connsiteX16" fmla="*/ 111286 w 137068"/>
                  <a:gd name="connsiteY16" fmla="*/ 85522 h 119692"/>
                  <a:gd name="connsiteX17" fmla="*/ 104829 w 137068"/>
                  <a:gd name="connsiteY17" fmla="*/ 89382 h 119692"/>
                  <a:gd name="connsiteX18" fmla="*/ 76452 w 137068"/>
                  <a:gd name="connsiteY18" fmla="*/ 115008 h 119692"/>
                  <a:gd name="connsiteX19" fmla="*/ 69995 w 137068"/>
                  <a:gd name="connsiteY19" fmla="*/ 119657 h 119692"/>
                  <a:gd name="connsiteX20" fmla="*/ 69275 w 137068"/>
                  <a:gd name="connsiteY20" fmla="*/ 119692 h 119692"/>
                  <a:gd name="connsiteX21" fmla="*/ 63991 w 137068"/>
                  <a:gd name="connsiteY21" fmla="*/ 110336 h 119692"/>
                  <a:gd name="connsiteX22" fmla="*/ 63970 w 137068"/>
                  <a:gd name="connsiteY22" fmla="*/ 110348 h 119692"/>
                  <a:gd name="connsiteX23" fmla="*/ 63991 w 137068"/>
                  <a:gd name="connsiteY23" fmla="*/ 110336 h 119692"/>
                  <a:gd name="connsiteX24" fmla="*/ 73882 w 137068"/>
                  <a:gd name="connsiteY24" fmla="*/ 108962 h 119692"/>
                  <a:gd name="connsiteX25" fmla="*/ 74005 w 137068"/>
                  <a:gd name="connsiteY25" fmla="*/ 109164 h 119692"/>
                  <a:gd name="connsiteX26" fmla="*/ 73882 w 137068"/>
                  <a:gd name="connsiteY26" fmla="*/ 108962 h 119692"/>
                  <a:gd name="connsiteX27" fmla="*/ 13631 w 137068"/>
                  <a:gd name="connsiteY27" fmla="*/ 36557 h 119692"/>
                  <a:gd name="connsiteX28" fmla="*/ 16469 w 137068"/>
                  <a:gd name="connsiteY28" fmla="*/ 55204 h 119692"/>
                  <a:gd name="connsiteX29" fmla="*/ 33701 w 137068"/>
                  <a:gd name="connsiteY29" fmla="*/ 74977 h 119692"/>
                  <a:gd name="connsiteX30" fmla="*/ 39417 w 137068"/>
                  <a:gd name="connsiteY30" fmla="*/ 78245 h 119692"/>
                  <a:gd name="connsiteX31" fmla="*/ 69152 w 137068"/>
                  <a:gd name="connsiteY31" fmla="*/ 101514 h 119692"/>
                  <a:gd name="connsiteX32" fmla="*/ 98352 w 137068"/>
                  <a:gd name="connsiteY32" fmla="*/ 77737 h 119692"/>
                  <a:gd name="connsiteX33" fmla="*/ 103719 w 137068"/>
                  <a:gd name="connsiteY33" fmla="*/ 74548 h 119692"/>
                  <a:gd name="connsiteX34" fmla="*/ 120807 w 137068"/>
                  <a:gd name="connsiteY34" fmla="*/ 54359 h 119692"/>
                  <a:gd name="connsiteX35" fmla="*/ 123357 w 137068"/>
                  <a:gd name="connsiteY35" fmla="*/ 35498 h 119692"/>
                  <a:gd name="connsiteX36" fmla="*/ 106783 w 137068"/>
                  <a:gd name="connsiteY36" fmla="*/ 15765 h 119692"/>
                  <a:gd name="connsiteX37" fmla="*/ 84719 w 137068"/>
                  <a:gd name="connsiteY37" fmla="*/ 15479 h 119692"/>
                  <a:gd name="connsiteX38" fmla="*/ 75074 w 137068"/>
                  <a:gd name="connsiteY38" fmla="*/ 26976 h 119692"/>
                  <a:gd name="connsiteX39" fmla="*/ 68782 w 137068"/>
                  <a:gd name="connsiteY39" fmla="*/ 31813 h 119692"/>
                  <a:gd name="connsiteX40" fmla="*/ 62325 w 137068"/>
                  <a:gd name="connsiteY40" fmla="*/ 27203 h 119692"/>
                  <a:gd name="connsiteX41" fmla="*/ 51940 w 137068"/>
                  <a:gd name="connsiteY41" fmla="*/ 15685 h 119692"/>
                  <a:gd name="connsiteX42" fmla="*/ 29876 w 137068"/>
                  <a:gd name="connsiteY42" fmla="*/ 16421 h 119692"/>
                  <a:gd name="connsiteX43" fmla="*/ 13631 w 137068"/>
                  <a:gd name="connsiteY43" fmla="*/ 36557 h 119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7068" h="119692">
                    <a:moveTo>
                      <a:pt x="69275" y="119692"/>
                    </a:moveTo>
                    <a:cubicBezTo>
                      <a:pt x="66273" y="119692"/>
                      <a:pt x="63518" y="118018"/>
                      <a:pt x="62161" y="115284"/>
                    </a:cubicBezTo>
                    <a:cubicBezTo>
                      <a:pt x="54861" y="101554"/>
                      <a:pt x="41803" y="94613"/>
                      <a:pt x="33166" y="90015"/>
                    </a:cubicBezTo>
                    <a:cubicBezTo>
                      <a:pt x="30452" y="88582"/>
                      <a:pt x="28128" y="87340"/>
                      <a:pt x="26319" y="86084"/>
                    </a:cubicBezTo>
                    <a:cubicBezTo>
                      <a:pt x="13693" y="78128"/>
                      <a:pt x="7462" y="66538"/>
                      <a:pt x="4789" y="61585"/>
                    </a:cubicBezTo>
                    <a:cubicBezTo>
                      <a:pt x="4706" y="61447"/>
                      <a:pt x="4378" y="60824"/>
                      <a:pt x="4316" y="60674"/>
                    </a:cubicBezTo>
                    <a:cubicBezTo>
                      <a:pt x="532" y="52308"/>
                      <a:pt x="-743" y="43844"/>
                      <a:pt x="409" y="34786"/>
                    </a:cubicBezTo>
                    <a:cubicBezTo>
                      <a:pt x="409" y="34721"/>
                      <a:pt x="429" y="34657"/>
                      <a:pt x="429" y="34591"/>
                    </a:cubicBezTo>
                    <a:cubicBezTo>
                      <a:pt x="3349" y="15899"/>
                      <a:pt x="19327" y="6107"/>
                      <a:pt x="25249" y="3913"/>
                    </a:cubicBezTo>
                    <a:cubicBezTo>
                      <a:pt x="37690" y="-671"/>
                      <a:pt x="48671" y="-737"/>
                      <a:pt x="57904" y="3756"/>
                    </a:cubicBezTo>
                    <a:cubicBezTo>
                      <a:pt x="62428" y="5956"/>
                      <a:pt x="65882" y="8971"/>
                      <a:pt x="68453" y="11973"/>
                    </a:cubicBezTo>
                    <a:cubicBezTo>
                      <a:pt x="70920" y="8953"/>
                      <a:pt x="74211" y="5905"/>
                      <a:pt x="78590" y="3633"/>
                    </a:cubicBezTo>
                    <a:cubicBezTo>
                      <a:pt x="87638" y="-1047"/>
                      <a:pt x="98599" y="-1212"/>
                      <a:pt x="111183" y="3176"/>
                    </a:cubicBezTo>
                    <a:cubicBezTo>
                      <a:pt x="117126" y="5266"/>
                      <a:pt x="133289" y="14766"/>
                      <a:pt x="136538" y="33419"/>
                    </a:cubicBezTo>
                    <a:cubicBezTo>
                      <a:pt x="137854" y="42676"/>
                      <a:pt x="136723" y="51167"/>
                      <a:pt x="133104" y="59571"/>
                    </a:cubicBezTo>
                    <a:cubicBezTo>
                      <a:pt x="133042" y="59715"/>
                      <a:pt x="132734" y="60340"/>
                      <a:pt x="132652" y="60476"/>
                    </a:cubicBezTo>
                    <a:cubicBezTo>
                      <a:pt x="130081" y="65477"/>
                      <a:pt x="124035" y="77182"/>
                      <a:pt x="111286" y="85522"/>
                    </a:cubicBezTo>
                    <a:cubicBezTo>
                      <a:pt x="109765" y="86629"/>
                      <a:pt x="107482" y="87906"/>
                      <a:pt x="104829" y="89382"/>
                    </a:cubicBezTo>
                    <a:cubicBezTo>
                      <a:pt x="96357" y="94095"/>
                      <a:pt x="83608" y="101198"/>
                      <a:pt x="76452" y="115008"/>
                    </a:cubicBezTo>
                    <a:cubicBezTo>
                      <a:pt x="75342" y="117611"/>
                      <a:pt x="72874" y="119402"/>
                      <a:pt x="69995" y="119657"/>
                    </a:cubicBezTo>
                    <a:cubicBezTo>
                      <a:pt x="69748" y="119678"/>
                      <a:pt x="69522" y="119692"/>
                      <a:pt x="69275" y="119692"/>
                    </a:cubicBezTo>
                    <a:close/>
                    <a:moveTo>
                      <a:pt x="63991" y="110336"/>
                    </a:moveTo>
                    <a:cubicBezTo>
                      <a:pt x="63991" y="110342"/>
                      <a:pt x="63991" y="110342"/>
                      <a:pt x="63970" y="110348"/>
                    </a:cubicBezTo>
                    <a:cubicBezTo>
                      <a:pt x="63991" y="110342"/>
                      <a:pt x="63991" y="110342"/>
                      <a:pt x="63991" y="110336"/>
                    </a:cubicBezTo>
                    <a:close/>
                    <a:moveTo>
                      <a:pt x="73882" y="108962"/>
                    </a:moveTo>
                    <a:cubicBezTo>
                      <a:pt x="73923" y="109028"/>
                      <a:pt x="73964" y="109100"/>
                      <a:pt x="74005" y="109164"/>
                    </a:cubicBezTo>
                    <a:cubicBezTo>
                      <a:pt x="73964" y="109092"/>
                      <a:pt x="73923" y="109026"/>
                      <a:pt x="73882" y="108962"/>
                    </a:cubicBezTo>
                    <a:close/>
                    <a:moveTo>
                      <a:pt x="13631" y="36557"/>
                    </a:moveTo>
                    <a:cubicBezTo>
                      <a:pt x="12808" y="43152"/>
                      <a:pt x="13713" y="49076"/>
                      <a:pt x="16469" y="55204"/>
                    </a:cubicBezTo>
                    <a:cubicBezTo>
                      <a:pt x="18875" y="59631"/>
                      <a:pt x="23769" y="68720"/>
                      <a:pt x="33701" y="74977"/>
                    </a:cubicBezTo>
                    <a:cubicBezTo>
                      <a:pt x="35264" y="76059"/>
                      <a:pt x="37155" y="77048"/>
                      <a:pt x="39417" y="78245"/>
                    </a:cubicBezTo>
                    <a:cubicBezTo>
                      <a:pt x="47375" y="82477"/>
                      <a:pt x="59857" y="89111"/>
                      <a:pt x="69152" y="101514"/>
                    </a:cubicBezTo>
                    <a:cubicBezTo>
                      <a:pt x="78200" y="88954"/>
                      <a:pt x="90497" y="82107"/>
                      <a:pt x="98352" y="77737"/>
                    </a:cubicBezTo>
                    <a:cubicBezTo>
                      <a:pt x="100573" y="76499"/>
                      <a:pt x="102444" y="75477"/>
                      <a:pt x="103719" y="74548"/>
                    </a:cubicBezTo>
                    <a:cubicBezTo>
                      <a:pt x="113795" y="67953"/>
                      <a:pt x="118525" y="58774"/>
                      <a:pt x="120807" y="54359"/>
                    </a:cubicBezTo>
                    <a:cubicBezTo>
                      <a:pt x="123501" y="48128"/>
                      <a:pt x="124303" y="42152"/>
                      <a:pt x="123357" y="35498"/>
                    </a:cubicBezTo>
                    <a:cubicBezTo>
                      <a:pt x="121445" y="24461"/>
                      <a:pt x="111163" y="17307"/>
                      <a:pt x="106783" y="15765"/>
                    </a:cubicBezTo>
                    <a:cubicBezTo>
                      <a:pt x="97797" y="12634"/>
                      <a:pt x="90394" y="12528"/>
                      <a:pt x="84719" y="15479"/>
                    </a:cubicBezTo>
                    <a:cubicBezTo>
                      <a:pt x="77460" y="19243"/>
                      <a:pt x="75115" y="26898"/>
                      <a:pt x="75074" y="26976"/>
                    </a:cubicBezTo>
                    <a:cubicBezTo>
                      <a:pt x="74272" y="29796"/>
                      <a:pt x="71722" y="31761"/>
                      <a:pt x="68782" y="31813"/>
                    </a:cubicBezTo>
                    <a:cubicBezTo>
                      <a:pt x="65882" y="31675"/>
                      <a:pt x="63230" y="29989"/>
                      <a:pt x="62325" y="27203"/>
                    </a:cubicBezTo>
                    <a:cubicBezTo>
                      <a:pt x="62325" y="27170"/>
                      <a:pt x="59549" y="19304"/>
                      <a:pt x="51940" y="15685"/>
                    </a:cubicBezTo>
                    <a:cubicBezTo>
                      <a:pt x="46121" y="12917"/>
                      <a:pt x="38698" y="13158"/>
                      <a:pt x="29876" y="16421"/>
                    </a:cubicBezTo>
                    <a:cubicBezTo>
                      <a:pt x="26956" y="17501"/>
                      <a:pt x="15626" y="24110"/>
                      <a:pt x="13631" y="36557"/>
                    </a:cubicBezTo>
                    <a:close/>
                  </a:path>
                </a:pathLst>
              </a:custGeom>
              <a:solidFill>
                <a:schemeClr val="accent1"/>
              </a:solidFill>
              <a:ln w="205" cap="flat">
                <a:noFill/>
                <a:prstDash val="solid"/>
                <a:miter/>
              </a:ln>
            </p:spPr>
            <p:txBody>
              <a:bodyPr rtlCol="0" anchor="ctr"/>
              <a:lstStyle/>
              <a:p>
                <a:endParaRPr lang="en-GB" dirty="0"/>
              </a:p>
            </p:txBody>
          </p:sp>
        </p:grpSp>
        <p:grpSp>
          <p:nvGrpSpPr>
            <p:cNvPr id="415" name="Grafik 348">
              <a:extLst>
                <a:ext uri="{FF2B5EF4-FFF2-40B4-BE49-F238E27FC236}">
                  <a16:creationId xmlns:a16="http://schemas.microsoft.com/office/drawing/2014/main" id="{89215765-55AD-4776-B968-814C3756D64D}"/>
                </a:ext>
              </a:extLst>
            </p:cNvPr>
            <p:cNvGrpSpPr/>
            <p:nvPr/>
          </p:nvGrpSpPr>
          <p:grpSpPr>
            <a:xfrm>
              <a:off x="5234908" y="1603031"/>
              <a:ext cx="228190" cy="413092"/>
              <a:chOff x="3649400" y="3356739"/>
              <a:chExt cx="221861" cy="401634"/>
            </a:xfrm>
            <a:solidFill>
              <a:schemeClr val="tx2"/>
            </a:solidFill>
          </p:grpSpPr>
          <p:sp>
            <p:nvSpPr>
              <p:cNvPr id="416" name="Freihandform: Form 482">
                <a:extLst>
                  <a:ext uri="{FF2B5EF4-FFF2-40B4-BE49-F238E27FC236}">
                    <a16:creationId xmlns:a16="http://schemas.microsoft.com/office/drawing/2014/main" id="{EFEE268F-703F-4FF7-AA09-5A3A06714C5F}"/>
                  </a:ext>
                </a:extLst>
              </p:cNvPr>
              <p:cNvSpPr/>
              <p:nvPr/>
            </p:nvSpPr>
            <p:spPr>
              <a:xfrm>
                <a:off x="3735893" y="3534246"/>
                <a:ext cx="13325" cy="224127"/>
              </a:xfrm>
              <a:custGeom>
                <a:avLst/>
                <a:gdLst>
                  <a:gd name="connsiteX0" fmla="*/ 6663 w 13325"/>
                  <a:gd name="connsiteY0" fmla="*/ 224128 h 224127"/>
                  <a:gd name="connsiteX1" fmla="*/ 0 w 13325"/>
                  <a:gd name="connsiteY1" fmla="*/ 217445 h 224127"/>
                  <a:gd name="connsiteX2" fmla="*/ 0 w 13325"/>
                  <a:gd name="connsiteY2" fmla="*/ 6667 h 224127"/>
                  <a:gd name="connsiteX3" fmla="*/ 6663 w 13325"/>
                  <a:gd name="connsiteY3" fmla="*/ 0 h 224127"/>
                  <a:gd name="connsiteX4" fmla="*/ 13325 w 13325"/>
                  <a:gd name="connsiteY4" fmla="*/ 6667 h 224127"/>
                  <a:gd name="connsiteX5" fmla="*/ 13325 w 13325"/>
                  <a:gd name="connsiteY5" fmla="*/ 217445 h 224127"/>
                  <a:gd name="connsiteX6" fmla="*/ 6663 w 13325"/>
                  <a:gd name="connsiteY6" fmla="*/ 224128 h 22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5" h="224127">
                    <a:moveTo>
                      <a:pt x="6663" y="224128"/>
                    </a:moveTo>
                    <a:cubicBezTo>
                      <a:pt x="2982" y="224128"/>
                      <a:pt x="0" y="221146"/>
                      <a:pt x="0" y="217445"/>
                    </a:cubicBezTo>
                    <a:lnTo>
                      <a:pt x="0" y="6667"/>
                    </a:lnTo>
                    <a:cubicBezTo>
                      <a:pt x="0" y="2982"/>
                      <a:pt x="2982" y="0"/>
                      <a:pt x="6663" y="0"/>
                    </a:cubicBezTo>
                    <a:cubicBezTo>
                      <a:pt x="10343" y="0"/>
                      <a:pt x="13325" y="2982"/>
                      <a:pt x="13325" y="6667"/>
                    </a:cubicBezTo>
                    <a:lnTo>
                      <a:pt x="13325" y="217445"/>
                    </a:lnTo>
                    <a:cubicBezTo>
                      <a:pt x="13325" y="221146"/>
                      <a:pt x="10343" y="224128"/>
                      <a:pt x="6663" y="224128"/>
                    </a:cubicBezTo>
                    <a:close/>
                  </a:path>
                </a:pathLst>
              </a:custGeom>
              <a:grpFill/>
              <a:ln w="205" cap="flat">
                <a:noFill/>
                <a:prstDash val="solid"/>
                <a:miter/>
              </a:ln>
            </p:spPr>
            <p:txBody>
              <a:bodyPr rtlCol="0" anchor="ctr"/>
              <a:lstStyle/>
              <a:p>
                <a:endParaRPr lang="en-GB" dirty="0"/>
              </a:p>
            </p:txBody>
          </p:sp>
          <p:sp>
            <p:nvSpPr>
              <p:cNvPr id="417" name="Freihandform: Form 483">
                <a:extLst>
                  <a:ext uri="{FF2B5EF4-FFF2-40B4-BE49-F238E27FC236}">
                    <a16:creationId xmlns:a16="http://schemas.microsoft.com/office/drawing/2014/main" id="{92600B99-49A5-47F3-9B42-1399F32660A0}"/>
                  </a:ext>
                </a:extLst>
              </p:cNvPr>
              <p:cNvSpPr/>
              <p:nvPr/>
            </p:nvSpPr>
            <p:spPr>
              <a:xfrm>
                <a:off x="3824644" y="3534246"/>
                <a:ext cx="18877" cy="224127"/>
              </a:xfrm>
              <a:custGeom>
                <a:avLst/>
                <a:gdLst>
                  <a:gd name="connsiteX0" fmla="*/ 6662 w 18877"/>
                  <a:gd name="connsiteY0" fmla="*/ 224128 h 224127"/>
                  <a:gd name="connsiteX1" fmla="*/ 0 w 18877"/>
                  <a:gd name="connsiteY1" fmla="*/ 217445 h 224127"/>
                  <a:gd name="connsiteX2" fmla="*/ 0 w 18877"/>
                  <a:gd name="connsiteY2" fmla="*/ 6667 h 224127"/>
                  <a:gd name="connsiteX3" fmla="*/ 6662 w 18877"/>
                  <a:gd name="connsiteY3" fmla="*/ 0 h 224127"/>
                  <a:gd name="connsiteX4" fmla="*/ 12215 w 18877"/>
                  <a:gd name="connsiteY4" fmla="*/ 0 h 224127"/>
                  <a:gd name="connsiteX5" fmla="*/ 18877 w 18877"/>
                  <a:gd name="connsiteY5" fmla="*/ 6667 h 224127"/>
                  <a:gd name="connsiteX6" fmla="*/ 13345 w 18877"/>
                  <a:gd name="connsiteY6" fmla="*/ 13243 h 224127"/>
                  <a:gd name="connsiteX7" fmla="*/ 13345 w 18877"/>
                  <a:gd name="connsiteY7" fmla="*/ 217466 h 224127"/>
                  <a:gd name="connsiteX8" fmla="*/ 6662 w 18877"/>
                  <a:gd name="connsiteY8" fmla="*/ 224128 h 22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77" h="224127">
                    <a:moveTo>
                      <a:pt x="6662" y="224128"/>
                    </a:moveTo>
                    <a:cubicBezTo>
                      <a:pt x="2982" y="224128"/>
                      <a:pt x="0" y="221146"/>
                      <a:pt x="0" y="217445"/>
                    </a:cubicBezTo>
                    <a:lnTo>
                      <a:pt x="0" y="6667"/>
                    </a:lnTo>
                    <a:cubicBezTo>
                      <a:pt x="0" y="2982"/>
                      <a:pt x="2982" y="0"/>
                      <a:pt x="6662" y="0"/>
                    </a:cubicBezTo>
                    <a:lnTo>
                      <a:pt x="12215" y="0"/>
                    </a:lnTo>
                    <a:cubicBezTo>
                      <a:pt x="15895" y="0"/>
                      <a:pt x="18877" y="2982"/>
                      <a:pt x="18877" y="6667"/>
                    </a:cubicBezTo>
                    <a:cubicBezTo>
                      <a:pt x="18877" y="9967"/>
                      <a:pt x="16492" y="12708"/>
                      <a:pt x="13345" y="13243"/>
                    </a:cubicBezTo>
                    <a:lnTo>
                      <a:pt x="13345" y="217466"/>
                    </a:lnTo>
                    <a:cubicBezTo>
                      <a:pt x="13345" y="221146"/>
                      <a:pt x="10364" y="224128"/>
                      <a:pt x="6662" y="224128"/>
                    </a:cubicBezTo>
                    <a:close/>
                  </a:path>
                </a:pathLst>
              </a:custGeom>
              <a:grpFill/>
              <a:ln w="205" cap="flat">
                <a:noFill/>
                <a:prstDash val="solid"/>
                <a:miter/>
              </a:ln>
            </p:spPr>
            <p:txBody>
              <a:bodyPr rtlCol="0" anchor="ctr"/>
              <a:lstStyle/>
              <a:p>
                <a:endParaRPr lang="en-GB" dirty="0"/>
              </a:p>
            </p:txBody>
          </p:sp>
          <p:sp>
            <p:nvSpPr>
              <p:cNvPr id="418" name="Freihandform: Form 484">
                <a:extLst>
                  <a:ext uri="{FF2B5EF4-FFF2-40B4-BE49-F238E27FC236}">
                    <a16:creationId xmlns:a16="http://schemas.microsoft.com/office/drawing/2014/main" id="{72A7F039-C061-49D1-B31C-CBEFCD5F7E3E}"/>
                  </a:ext>
                </a:extLst>
              </p:cNvPr>
              <p:cNvSpPr/>
              <p:nvPr/>
            </p:nvSpPr>
            <p:spPr>
              <a:xfrm>
                <a:off x="3774716" y="3622997"/>
                <a:ext cx="13345" cy="135376"/>
              </a:xfrm>
              <a:custGeom>
                <a:avLst/>
                <a:gdLst>
                  <a:gd name="connsiteX0" fmla="*/ 6683 w 13345"/>
                  <a:gd name="connsiteY0" fmla="*/ 135377 h 135376"/>
                  <a:gd name="connsiteX1" fmla="*/ 0 w 13345"/>
                  <a:gd name="connsiteY1" fmla="*/ 128694 h 135376"/>
                  <a:gd name="connsiteX2" fmla="*/ 0 w 13345"/>
                  <a:gd name="connsiteY2" fmla="*/ 6667 h 135376"/>
                  <a:gd name="connsiteX3" fmla="*/ 6683 w 13345"/>
                  <a:gd name="connsiteY3" fmla="*/ 0 h 135376"/>
                  <a:gd name="connsiteX4" fmla="*/ 13346 w 13345"/>
                  <a:gd name="connsiteY4" fmla="*/ 6667 h 135376"/>
                  <a:gd name="connsiteX5" fmla="*/ 13346 w 13345"/>
                  <a:gd name="connsiteY5" fmla="*/ 128694 h 135376"/>
                  <a:gd name="connsiteX6" fmla="*/ 6683 w 13345"/>
                  <a:gd name="connsiteY6" fmla="*/ 135377 h 13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5" h="135376">
                    <a:moveTo>
                      <a:pt x="6683" y="135377"/>
                    </a:moveTo>
                    <a:cubicBezTo>
                      <a:pt x="2982" y="135377"/>
                      <a:pt x="0" y="132395"/>
                      <a:pt x="0" y="128694"/>
                    </a:cubicBezTo>
                    <a:lnTo>
                      <a:pt x="0" y="6667"/>
                    </a:lnTo>
                    <a:cubicBezTo>
                      <a:pt x="0" y="2982"/>
                      <a:pt x="2982" y="0"/>
                      <a:pt x="6683" y="0"/>
                    </a:cubicBezTo>
                    <a:cubicBezTo>
                      <a:pt x="10364" y="0"/>
                      <a:pt x="13346" y="2982"/>
                      <a:pt x="13346" y="6667"/>
                    </a:cubicBezTo>
                    <a:lnTo>
                      <a:pt x="13346" y="128694"/>
                    </a:lnTo>
                    <a:cubicBezTo>
                      <a:pt x="13346" y="132395"/>
                      <a:pt x="10364" y="135377"/>
                      <a:pt x="6683" y="135377"/>
                    </a:cubicBezTo>
                    <a:close/>
                  </a:path>
                </a:pathLst>
              </a:custGeom>
              <a:grpFill/>
              <a:ln w="205" cap="flat">
                <a:noFill/>
                <a:prstDash val="solid"/>
                <a:miter/>
              </a:ln>
            </p:spPr>
            <p:txBody>
              <a:bodyPr rtlCol="0" anchor="ctr"/>
              <a:lstStyle/>
              <a:p>
                <a:endParaRPr lang="en-GB" dirty="0"/>
              </a:p>
            </p:txBody>
          </p:sp>
          <p:sp>
            <p:nvSpPr>
              <p:cNvPr id="419" name="Freihandform: Form 485">
                <a:extLst>
                  <a:ext uri="{FF2B5EF4-FFF2-40B4-BE49-F238E27FC236}">
                    <a16:creationId xmlns:a16="http://schemas.microsoft.com/office/drawing/2014/main" id="{0554E04A-C873-459D-8581-AD0237D99A1A}"/>
                  </a:ext>
                </a:extLst>
              </p:cNvPr>
              <p:cNvSpPr/>
              <p:nvPr/>
            </p:nvSpPr>
            <p:spPr>
              <a:xfrm>
                <a:off x="3649400" y="3456593"/>
                <a:ext cx="221861" cy="178619"/>
              </a:xfrm>
              <a:custGeom>
                <a:avLst/>
                <a:gdLst>
                  <a:gd name="connsiteX0" fmla="*/ 201216 w 221861"/>
                  <a:gd name="connsiteY0" fmla="*/ 178619 h 178619"/>
                  <a:gd name="connsiteX1" fmla="*/ 187459 w 221861"/>
                  <a:gd name="connsiteY1" fmla="*/ 178619 h 178619"/>
                  <a:gd name="connsiteX2" fmla="*/ 180796 w 221861"/>
                  <a:gd name="connsiteY2" fmla="*/ 171953 h 178619"/>
                  <a:gd name="connsiteX3" fmla="*/ 187459 w 221861"/>
                  <a:gd name="connsiteY3" fmla="*/ 165286 h 178619"/>
                  <a:gd name="connsiteX4" fmla="*/ 201216 w 221861"/>
                  <a:gd name="connsiteY4" fmla="*/ 165286 h 178619"/>
                  <a:gd name="connsiteX5" fmla="*/ 208536 w 221861"/>
                  <a:gd name="connsiteY5" fmla="*/ 157968 h 178619"/>
                  <a:gd name="connsiteX6" fmla="*/ 208536 w 221861"/>
                  <a:gd name="connsiteY6" fmla="*/ 73226 h 178619"/>
                  <a:gd name="connsiteX7" fmla="*/ 148635 w 221861"/>
                  <a:gd name="connsiteY7" fmla="*/ 13329 h 178619"/>
                  <a:gd name="connsiteX8" fmla="*/ 126838 w 221861"/>
                  <a:gd name="connsiteY8" fmla="*/ 13329 h 178619"/>
                  <a:gd name="connsiteX9" fmla="*/ 80159 w 221861"/>
                  <a:gd name="connsiteY9" fmla="*/ 55681 h 178619"/>
                  <a:gd name="connsiteX10" fmla="*/ 73271 w 221861"/>
                  <a:gd name="connsiteY10" fmla="*/ 68957 h 178619"/>
                  <a:gd name="connsiteX11" fmla="*/ 21245 w 221861"/>
                  <a:gd name="connsiteY11" fmla="*/ 100267 h 178619"/>
                  <a:gd name="connsiteX12" fmla="*/ 13328 w 221861"/>
                  <a:gd name="connsiteY12" fmla="*/ 108496 h 178619"/>
                  <a:gd name="connsiteX13" fmla="*/ 15734 w 221861"/>
                  <a:gd name="connsiteY13" fmla="*/ 114486 h 178619"/>
                  <a:gd name="connsiteX14" fmla="*/ 21883 w 221861"/>
                  <a:gd name="connsiteY14" fmla="*/ 117038 h 178619"/>
                  <a:gd name="connsiteX15" fmla="*/ 21903 w 221861"/>
                  <a:gd name="connsiteY15" fmla="*/ 117038 h 178619"/>
                  <a:gd name="connsiteX16" fmla="*/ 66382 w 221861"/>
                  <a:gd name="connsiteY16" fmla="*/ 110795 h 178619"/>
                  <a:gd name="connsiteX17" fmla="*/ 86513 w 221861"/>
                  <a:gd name="connsiteY17" fmla="*/ 83660 h 178619"/>
                  <a:gd name="connsiteX18" fmla="*/ 93813 w 221861"/>
                  <a:gd name="connsiteY18" fmla="*/ 77690 h 178619"/>
                  <a:gd name="connsiteX19" fmla="*/ 99797 w 221861"/>
                  <a:gd name="connsiteY19" fmla="*/ 84988 h 178619"/>
                  <a:gd name="connsiteX20" fmla="*/ 70865 w 221861"/>
                  <a:gd name="connsiteY20" fmla="*/ 123349 h 178619"/>
                  <a:gd name="connsiteX21" fmla="*/ 21945 w 221861"/>
                  <a:gd name="connsiteY21" fmla="*/ 130374 h 178619"/>
                  <a:gd name="connsiteX22" fmla="*/ 21883 w 221861"/>
                  <a:gd name="connsiteY22" fmla="*/ 130374 h 178619"/>
                  <a:gd name="connsiteX23" fmla="*/ 6255 w 221861"/>
                  <a:gd name="connsiteY23" fmla="*/ 123857 h 178619"/>
                  <a:gd name="connsiteX24" fmla="*/ 3 w 221861"/>
                  <a:gd name="connsiteY24" fmla="*/ 108291 h 178619"/>
                  <a:gd name="connsiteX25" fmla="*/ 20382 w 221861"/>
                  <a:gd name="connsiteY25" fmla="*/ 86962 h 178619"/>
                  <a:gd name="connsiteX26" fmla="*/ 61755 w 221861"/>
                  <a:gd name="connsiteY26" fmla="*/ 62241 h 178619"/>
                  <a:gd name="connsiteX27" fmla="*/ 68191 w 221861"/>
                  <a:gd name="connsiteY27" fmla="*/ 49819 h 178619"/>
                  <a:gd name="connsiteX28" fmla="*/ 125666 w 221861"/>
                  <a:gd name="connsiteY28" fmla="*/ 45 h 178619"/>
                  <a:gd name="connsiteX29" fmla="*/ 126447 w 221861"/>
                  <a:gd name="connsiteY29" fmla="*/ 0 h 178619"/>
                  <a:gd name="connsiteX30" fmla="*/ 148635 w 221861"/>
                  <a:gd name="connsiteY30" fmla="*/ 0 h 178619"/>
                  <a:gd name="connsiteX31" fmla="*/ 221861 w 221861"/>
                  <a:gd name="connsiteY31" fmla="*/ 73232 h 178619"/>
                  <a:gd name="connsiteX32" fmla="*/ 221861 w 221861"/>
                  <a:gd name="connsiteY32" fmla="*/ 157974 h 178619"/>
                  <a:gd name="connsiteX33" fmla="*/ 201216 w 221861"/>
                  <a:gd name="connsiteY33" fmla="*/ 178619 h 17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21861" h="178619">
                    <a:moveTo>
                      <a:pt x="201216" y="178619"/>
                    </a:moveTo>
                    <a:lnTo>
                      <a:pt x="187459" y="178619"/>
                    </a:lnTo>
                    <a:cubicBezTo>
                      <a:pt x="183778" y="178619"/>
                      <a:pt x="180796" y="175638"/>
                      <a:pt x="180796" y="171953"/>
                    </a:cubicBezTo>
                    <a:cubicBezTo>
                      <a:pt x="180796" y="168268"/>
                      <a:pt x="183778" y="165286"/>
                      <a:pt x="187459" y="165286"/>
                    </a:cubicBezTo>
                    <a:lnTo>
                      <a:pt x="201216" y="165286"/>
                    </a:lnTo>
                    <a:cubicBezTo>
                      <a:pt x="205246" y="165286"/>
                      <a:pt x="208536" y="162004"/>
                      <a:pt x="208536" y="157968"/>
                    </a:cubicBezTo>
                    <a:lnTo>
                      <a:pt x="208536" y="73226"/>
                    </a:lnTo>
                    <a:cubicBezTo>
                      <a:pt x="208536" y="40197"/>
                      <a:pt x="181660" y="13329"/>
                      <a:pt x="148635" y="13329"/>
                    </a:cubicBezTo>
                    <a:lnTo>
                      <a:pt x="126838" y="13329"/>
                    </a:lnTo>
                    <a:cubicBezTo>
                      <a:pt x="99201" y="16792"/>
                      <a:pt x="89516" y="36560"/>
                      <a:pt x="80159" y="55681"/>
                    </a:cubicBezTo>
                    <a:cubicBezTo>
                      <a:pt x="77856" y="60376"/>
                      <a:pt x="75677" y="64809"/>
                      <a:pt x="73271" y="68957"/>
                    </a:cubicBezTo>
                    <a:cubicBezTo>
                      <a:pt x="62187" y="87949"/>
                      <a:pt x="44194" y="98776"/>
                      <a:pt x="21245" y="100267"/>
                    </a:cubicBezTo>
                    <a:cubicBezTo>
                      <a:pt x="16804" y="100553"/>
                      <a:pt x="13390" y="104087"/>
                      <a:pt x="13328" y="108496"/>
                    </a:cubicBezTo>
                    <a:cubicBezTo>
                      <a:pt x="13287" y="110750"/>
                      <a:pt x="14151" y="112878"/>
                      <a:pt x="15734" y="114486"/>
                    </a:cubicBezTo>
                    <a:cubicBezTo>
                      <a:pt x="17359" y="116133"/>
                      <a:pt x="19539" y="117038"/>
                      <a:pt x="21883" y="117038"/>
                    </a:cubicBezTo>
                    <a:cubicBezTo>
                      <a:pt x="21883" y="117038"/>
                      <a:pt x="21903" y="117038"/>
                      <a:pt x="21903" y="117038"/>
                    </a:cubicBezTo>
                    <a:cubicBezTo>
                      <a:pt x="38950" y="116993"/>
                      <a:pt x="55586" y="114661"/>
                      <a:pt x="66382" y="110795"/>
                    </a:cubicBezTo>
                    <a:cubicBezTo>
                      <a:pt x="84457" y="104318"/>
                      <a:pt x="85423" y="94748"/>
                      <a:pt x="86513" y="83660"/>
                    </a:cubicBezTo>
                    <a:cubicBezTo>
                      <a:pt x="86884" y="80002"/>
                      <a:pt x="90091" y="77396"/>
                      <a:pt x="93813" y="77690"/>
                    </a:cubicBezTo>
                    <a:cubicBezTo>
                      <a:pt x="97474" y="78054"/>
                      <a:pt x="100147" y="81324"/>
                      <a:pt x="99797" y="84988"/>
                    </a:cubicBezTo>
                    <a:cubicBezTo>
                      <a:pt x="98563" y="97242"/>
                      <a:pt x="96898" y="114026"/>
                      <a:pt x="70865" y="123349"/>
                    </a:cubicBezTo>
                    <a:cubicBezTo>
                      <a:pt x="58527" y="127764"/>
                      <a:pt x="40698" y="130328"/>
                      <a:pt x="21945" y="130374"/>
                    </a:cubicBezTo>
                    <a:cubicBezTo>
                      <a:pt x="21924" y="130374"/>
                      <a:pt x="21903" y="130374"/>
                      <a:pt x="21883" y="130374"/>
                    </a:cubicBezTo>
                    <a:cubicBezTo>
                      <a:pt x="15940" y="130374"/>
                      <a:pt x="10408" y="128062"/>
                      <a:pt x="6255" y="123857"/>
                    </a:cubicBezTo>
                    <a:cubicBezTo>
                      <a:pt x="2121" y="119676"/>
                      <a:pt x="-99" y="114149"/>
                      <a:pt x="3" y="108291"/>
                    </a:cubicBezTo>
                    <a:cubicBezTo>
                      <a:pt x="188" y="96872"/>
                      <a:pt x="8948" y="87705"/>
                      <a:pt x="20382" y="86962"/>
                    </a:cubicBezTo>
                    <a:cubicBezTo>
                      <a:pt x="38971" y="85757"/>
                      <a:pt x="52872" y="77437"/>
                      <a:pt x="61755" y="62241"/>
                    </a:cubicBezTo>
                    <a:cubicBezTo>
                      <a:pt x="63914" y="58517"/>
                      <a:pt x="65991" y="54291"/>
                      <a:pt x="68191" y="49819"/>
                    </a:cubicBezTo>
                    <a:cubicBezTo>
                      <a:pt x="78123" y="29506"/>
                      <a:pt x="90503" y="4232"/>
                      <a:pt x="125666" y="45"/>
                    </a:cubicBezTo>
                    <a:cubicBezTo>
                      <a:pt x="125913" y="12"/>
                      <a:pt x="126180" y="0"/>
                      <a:pt x="126447" y="0"/>
                    </a:cubicBezTo>
                    <a:lnTo>
                      <a:pt x="148635" y="0"/>
                    </a:lnTo>
                    <a:cubicBezTo>
                      <a:pt x="189001" y="0"/>
                      <a:pt x="221861" y="32852"/>
                      <a:pt x="221861" y="73232"/>
                    </a:cubicBezTo>
                    <a:lnTo>
                      <a:pt x="221861" y="157974"/>
                    </a:lnTo>
                    <a:cubicBezTo>
                      <a:pt x="221861" y="169353"/>
                      <a:pt x="212608" y="178619"/>
                      <a:pt x="201216" y="178619"/>
                    </a:cubicBezTo>
                    <a:close/>
                  </a:path>
                </a:pathLst>
              </a:custGeom>
              <a:grpFill/>
              <a:ln w="205" cap="flat">
                <a:noFill/>
                <a:prstDash val="solid"/>
                <a:miter/>
              </a:ln>
            </p:spPr>
            <p:txBody>
              <a:bodyPr rtlCol="0" anchor="ctr"/>
              <a:lstStyle/>
              <a:p>
                <a:endParaRPr lang="en-GB" dirty="0"/>
              </a:p>
            </p:txBody>
          </p:sp>
          <p:sp>
            <p:nvSpPr>
              <p:cNvPr id="420" name="Freihandform: Form 486">
                <a:extLst>
                  <a:ext uri="{FF2B5EF4-FFF2-40B4-BE49-F238E27FC236}">
                    <a16:creationId xmlns:a16="http://schemas.microsoft.com/office/drawing/2014/main" id="{6A28FAC3-0B1C-4AB1-ABDF-F67D3FA5F49F}"/>
                  </a:ext>
                </a:extLst>
              </p:cNvPr>
              <p:cNvSpPr/>
              <p:nvPr/>
            </p:nvSpPr>
            <p:spPr>
              <a:xfrm>
                <a:off x="3746976" y="3356739"/>
                <a:ext cx="79909" cy="90992"/>
              </a:xfrm>
              <a:custGeom>
                <a:avLst/>
                <a:gdLst>
                  <a:gd name="connsiteX0" fmla="*/ 39955 w 79909"/>
                  <a:gd name="connsiteY0" fmla="*/ 90993 h 90992"/>
                  <a:gd name="connsiteX1" fmla="*/ 0 w 79909"/>
                  <a:gd name="connsiteY1" fmla="*/ 45496 h 90992"/>
                  <a:gd name="connsiteX2" fmla="*/ 39955 w 79909"/>
                  <a:gd name="connsiteY2" fmla="*/ 0 h 90992"/>
                  <a:gd name="connsiteX3" fmla="*/ 79909 w 79909"/>
                  <a:gd name="connsiteY3" fmla="*/ 45496 h 90992"/>
                  <a:gd name="connsiteX4" fmla="*/ 39955 w 79909"/>
                  <a:gd name="connsiteY4" fmla="*/ 90993 h 90992"/>
                  <a:gd name="connsiteX5" fmla="*/ 39955 w 79909"/>
                  <a:gd name="connsiteY5" fmla="*/ 13333 h 90992"/>
                  <a:gd name="connsiteX6" fmla="*/ 13345 w 79909"/>
                  <a:gd name="connsiteY6" fmla="*/ 45496 h 90992"/>
                  <a:gd name="connsiteX7" fmla="*/ 39955 w 79909"/>
                  <a:gd name="connsiteY7" fmla="*/ 77659 h 90992"/>
                  <a:gd name="connsiteX8" fmla="*/ 66584 w 79909"/>
                  <a:gd name="connsiteY8" fmla="*/ 45496 h 90992"/>
                  <a:gd name="connsiteX9" fmla="*/ 39955 w 79909"/>
                  <a:gd name="connsiteY9" fmla="*/ 13333 h 9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909" h="90992">
                    <a:moveTo>
                      <a:pt x="39955" y="90993"/>
                    </a:moveTo>
                    <a:cubicBezTo>
                      <a:pt x="16451" y="90993"/>
                      <a:pt x="0" y="72280"/>
                      <a:pt x="0" y="45496"/>
                    </a:cubicBezTo>
                    <a:cubicBezTo>
                      <a:pt x="0" y="18713"/>
                      <a:pt x="16451" y="0"/>
                      <a:pt x="39955" y="0"/>
                    </a:cubicBezTo>
                    <a:cubicBezTo>
                      <a:pt x="63479" y="0"/>
                      <a:pt x="79909" y="18713"/>
                      <a:pt x="79909" y="45496"/>
                    </a:cubicBezTo>
                    <a:cubicBezTo>
                      <a:pt x="79909" y="72280"/>
                      <a:pt x="63479" y="90993"/>
                      <a:pt x="39955" y="90993"/>
                    </a:cubicBezTo>
                    <a:close/>
                    <a:moveTo>
                      <a:pt x="39955" y="13333"/>
                    </a:moveTo>
                    <a:cubicBezTo>
                      <a:pt x="20317" y="13333"/>
                      <a:pt x="13345" y="30658"/>
                      <a:pt x="13345" y="45496"/>
                    </a:cubicBezTo>
                    <a:cubicBezTo>
                      <a:pt x="13345" y="60335"/>
                      <a:pt x="20317" y="77659"/>
                      <a:pt x="39955" y="77659"/>
                    </a:cubicBezTo>
                    <a:cubicBezTo>
                      <a:pt x="59613" y="77659"/>
                      <a:pt x="66584" y="60335"/>
                      <a:pt x="66584" y="45496"/>
                    </a:cubicBezTo>
                    <a:cubicBezTo>
                      <a:pt x="66584" y="30658"/>
                      <a:pt x="59613" y="13333"/>
                      <a:pt x="39955" y="13333"/>
                    </a:cubicBezTo>
                    <a:close/>
                  </a:path>
                </a:pathLst>
              </a:custGeom>
              <a:grpFill/>
              <a:ln w="205" cap="flat">
                <a:noFill/>
                <a:prstDash val="solid"/>
                <a:miter/>
              </a:ln>
            </p:spPr>
            <p:txBody>
              <a:bodyPr rtlCol="0" anchor="ctr"/>
              <a:lstStyle/>
              <a:p>
                <a:endParaRPr lang="en-GB" dirty="0"/>
              </a:p>
            </p:txBody>
          </p:sp>
        </p:grpSp>
      </p:grpSp>
      <p:grpSp>
        <p:nvGrpSpPr>
          <p:cNvPr id="477" name="Group 476">
            <a:extLst>
              <a:ext uri="{FF2B5EF4-FFF2-40B4-BE49-F238E27FC236}">
                <a16:creationId xmlns:a16="http://schemas.microsoft.com/office/drawing/2014/main" id="{8D3FAEBB-0D65-BCDB-F516-365D4C244B26}"/>
              </a:ext>
            </a:extLst>
          </p:cNvPr>
          <p:cNvGrpSpPr/>
          <p:nvPr/>
        </p:nvGrpSpPr>
        <p:grpSpPr>
          <a:xfrm>
            <a:off x="4967895" y="2391526"/>
            <a:ext cx="490747" cy="432000"/>
            <a:chOff x="4967483" y="2391526"/>
            <a:chExt cx="490747" cy="432000"/>
          </a:xfrm>
        </p:grpSpPr>
        <p:grpSp>
          <p:nvGrpSpPr>
            <p:cNvPr id="441" name="Grafik 349">
              <a:extLst>
                <a:ext uri="{FF2B5EF4-FFF2-40B4-BE49-F238E27FC236}">
                  <a16:creationId xmlns:a16="http://schemas.microsoft.com/office/drawing/2014/main" id="{772D96FB-81AA-4A4B-A83A-1D66D497503B}"/>
                </a:ext>
              </a:extLst>
            </p:cNvPr>
            <p:cNvGrpSpPr/>
            <p:nvPr/>
          </p:nvGrpSpPr>
          <p:grpSpPr>
            <a:xfrm>
              <a:off x="4967483" y="2640490"/>
              <a:ext cx="490747" cy="183036"/>
              <a:chOff x="7750123" y="1884284"/>
              <a:chExt cx="486503" cy="181453"/>
            </a:xfrm>
            <a:solidFill>
              <a:schemeClr val="tx2"/>
            </a:solidFill>
          </p:grpSpPr>
          <p:grpSp>
            <p:nvGrpSpPr>
              <p:cNvPr id="448" name="Grafik 349">
                <a:extLst>
                  <a:ext uri="{FF2B5EF4-FFF2-40B4-BE49-F238E27FC236}">
                    <a16:creationId xmlns:a16="http://schemas.microsoft.com/office/drawing/2014/main" id="{B03632F9-44BA-49FA-ABEF-4CAEFFB1103F}"/>
                  </a:ext>
                </a:extLst>
              </p:cNvPr>
              <p:cNvGrpSpPr/>
              <p:nvPr/>
            </p:nvGrpSpPr>
            <p:grpSpPr>
              <a:xfrm>
                <a:off x="8009719" y="1884284"/>
                <a:ext cx="226907" cy="181451"/>
                <a:chOff x="8009719" y="1884284"/>
                <a:chExt cx="226907" cy="181451"/>
              </a:xfrm>
              <a:grpFill/>
            </p:grpSpPr>
            <p:sp>
              <p:nvSpPr>
                <p:cNvPr id="457" name="Freihandform: Form 669">
                  <a:extLst>
                    <a:ext uri="{FF2B5EF4-FFF2-40B4-BE49-F238E27FC236}">
                      <a16:creationId xmlns:a16="http://schemas.microsoft.com/office/drawing/2014/main" id="{EEA5BA83-C4B7-4A9D-9C85-3B32F894E4F8}"/>
                    </a:ext>
                  </a:extLst>
                </p:cNvPr>
                <p:cNvSpPr/>
                <p:nvPr/>
              </p:nvSpPr>
              <p:spPr>
                <a:xfrm>
                  <a:off x="8009719" y="1951164"/>
                  <a:ext cx="17491" cy="48903"/>
                </a:xfrm>
                <a:custGeom>
                  <a:avLst/>
                  <a:gdLst>
                    <a:gd name="connsiteX0" fmla="*/ 10913 w 17491"/>
                    <a:gd name="connsiteY0" fmla="*/ 48904 h 48903"/>
                    <a:gd name="connsiteX1" fmla="*/ 4530 w 17491"/>
                    <a:gd name="connsiteY1" fmla="*/ 43924 h 48903"/>
                    <a:gd name="connsiteX2" fmla="*/ 93 w 17491"/>
                    <a:gd name="connsiteY2" fmla="*/ 6270 h 48903"/>
                    <a:gd name="connsiteX3" fmla="*/ 6968 w 17491"/>
                    <a:gd name="connsiteY3" fmla="*/ 2 h 48903"/>
                    <a:gd name="connsiteX4" fmla="*/ 13213 w 17491"/>
                    <a:gd name="connsiteY4" fmla="*/ 6861 h 48903"/>
                    <a:gd name="connsiteX5" fmla="*/ 17295 w 17491"/>
                    <a:gd name="connsiteY5" fmla="*/ 40741 h 48903"/>
                    <a:gd name="connsiteX6" fmla="*/ 12501 w 17491"/>
                    <a:gd name="connsiteY6" fmla="*/ 48706 h 48903"/>
                    <a:gd name="connsiteX7" fmla="*/ 10913 w 17491"/>
                    <a:gd name="connsiteY7" fmla="*/ 48904 h 4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91" h="48903">
                      <a:moveTo>
                        <a:pt x="10913" y="48904"/>
                      </a:moveTo>
                      <a:cubicBezTo>
                        <a:pt x="7954" y="48904"/>
                        <a:pt x="5297" y="46912"/>
                        <a:pt x="4530" y="43924"/>
                      </a:cubicBezTo>
                      <a:cubicBezTo>
                        <a:pt x="1079" y="30115"/>
                        <a:pt x="-401" y="17449"/>
                        <a:pt x="93" y="6270"/>
                      </a:cubicBezTo>
                      <a:cubicBezTo>
                        <a:pt x="257" y="2637"/>
                        <a:pt x="3325" y="-88"/>
                        <a:pt x="6968" y="2"/>
                      </a:cubicBezTo>
                      <a:cubicBezTo>
                        <a:pt x="10584" y="167"/>
                        <a:pt x="13378" y="3234"/>
                        <a:pt x="13213" y="6861"/>
                      </a:cubicBezTo>
                      <a:cubicBezTo>
                        <a:pt x="12775" y="16766"/>
                        <a:pt x="14145" y="28167"/>
                        <a:pt x="17295" y="40741"/>
                      </a:cubicBezTo>
                      <a:cubicBezTo>
                        <a:pt x="18172" y="44260"/>
                        <a:pt x="16035" y="47827"/>
                        <a:pt x="12501" y="48706"/>
                      </a:cubicBezTo>
                      <a:cubicBezTo>
                        <a:pt x="11981" y="48840"/>
                        <a:pt x="11433" y="48904"/>
                        <a:pt x="10913" y="48904"/>
                      </a:cubicBezTo>
                      <a:close/>
                    </a:path>
                  </a:pathLst>
                </a:custGeom>
                <a:grpFill/>
                <a:ln w="274" cap="flat">
                  <a:noFill/>
                  <a:prstDash val="solid"/>
                  <a:miter/>
                </a:ln>
              </p:spPr>
              <p:txBody>
                <a:bodyPr rtlCol="0" anchor="ctr"/>
                <a:lstStyle/>
                <a:p>
                  <a:endParaRPr lang="en-GB" dirty="0"/>
                </a:p>
              </p:txBody>
            </p:sp>
            <p:sp>
              <p:nvSpPr>
                <p:cNvPr id="458" name="Freihandform: Form 670">
                  <a:extLst>
                    <a:ext uri="{FF2B5EF4-FFF2-40B4-BE49-F238E27FC236}">
                      <a16:creationId xmlns:a16="http://schemas.microsoft.com/office/drawing/2014/main" id="{2F982969-ADE2-4860-8442-2D257A458BC0}"/>
                    </a:ext>
                  </a:extLst>
                </p:cNvPr>
                <p:cNvSpPr/>
                <p:nvPr/>
              </p:nvSpPr>
              <p:spPr>
                <a:xfrm>
                  <a:off x="8171765" y="1955973"/>
                  <a:ext cx="24797" cy="23259"/>
                </a:xfrm>
                <a:custGeom>
                  <a:avLst/>
                  <a:gdLst>
                    <a:gd name="connsiteX0" fmla="*/ 18208 w 24797"/>
                    <a:gd name="connsiteY0" fmla="*/ 23259 h 23259"/>
                    <a:gd name="connsiteX1" fmla="*/ 14318 w 24797"/>
                    <a:gd name="connsiteY1" fmla="*/ 21972 h 23259"/>
                    <a:gd name="connsiteX2" fmla="*/ 1635 w 24797"/>
                    <a:gd name="connsiteY2" fmla="*/ 10935 h 23259"/>
                    <a:gd name="connsiteX3" fmla="*/ 2211 w 24797"/>
                    <a:gd name="connsiteY3" fmla="*/ 1660 h 23259"/>
                    <a:gd name="connsiteX4" fmla="*/ 11469 w 24797"/>
                    <a:gd name="connsiteY4" fmla="*/ 2197 h 23259"/>
                    <a:gd name="connsiteX5" fmla="*/ 11469 w 24797"/>
                    <a:gd name="connsiteY5" fmla="*/ 2197 h 23259"/>
                    <a:gd name="connsiteX6" fmla="*/ 22125 w 24797"/>
                    <a:gd name="connsiteY6" fmla="*/ 11404 h 23259"/>
                    <a:gd name="connsiteX7" fmla="*/ 23522 w 24797"/>
                    <a:gd name="connsiteY7" fmla="*/ 20591 h 23259"/>
                    <a:gd name="connsiteX8" fmla="*/ 18208 w 24797"/>
                    <a:gd name="connsiteY8" fmla="*/ 23259 h 2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97" h="23259">
                      <a:moveTo>
                        <a:pt x="18208" y="23259"/>
                      </a:moveTo>
                      <a:cubicBezTo>
                        <a:pt x="16866" y="23259"/>
                        <a:pt x="15496" y="22843"/>
                        <a:pt x="14318" y="21972"/>
                      </a:cubicBezTo>
                      <a:cubicBezTo>
                        <a:pt x="6073" y="15882"/>
                        <a:pt x="1827" y="11135"/>
                        <a:pt x="1635" y="10935"/>
                      </a:cubicBezTo>
                      <a:cubicBezTo>
                        <a:pt x="-748" y="8221"/>
                        <a:pt x="-501" y="4071"/>
                        <a:pt x="2211" y="1660"/>
                      </a:cubicBezTo>
                      <a:cubicBezTo>
                        <a:pt x="4895" y="-745"/>
                        <a:pt x="9031" y="-512"/>
                        <a:pt x="11469" y="2197"/>
                      </a:cubicBezTo>
                      <a:lnTo>
                        <a:pt x="11469" y="2197"/>
                      </a:lnTo>
                      <a:cubicBezTo>
                        <a:pt x="11497" y="2235"/>
                        <a:pt x="15085" y="6205"/>
                        <a:pt x="22125" y="11404"/>
                      </a:cubicBezTo>
                      <a:cubicBezTo>
                        <a:pt x="25056" y="13557"/>
                        <a:pt x="25659" y="17671"/>
                        <a:pt x="23522" y="20591"/>
                      </a:cubicBezTo>
                      <a:cubicBezTo>
                        <a:pt x="22235" y="22336"/>
                        <a:pt x="20235" y="23259"/>
                        <a:pt x="18208" y="23259"/>
                      </a:cubicBezTo>
                      <a:close/>
                    </a:path>
                  </a:pathLst>
                </a:custGeom>
                <a:grpFill/>
                <a:ln w="274" cap="flat">
                  <a:noFill/>
                  <a:prstDash val="solid"/>
                  <a:miter/>
                </a:ln>
              </p:spPr>
              <p:txBody>
                <a:bodyPr rtlCol="0" anchor="ctr"/>
                <a:lstStyle/>
                <a:p>
                  <a:endParaRPr lang="en-GB" dirty="0"/>
                </a:p>
              </p:txBody>
            </p:sp>
            <p:sp>
              <p:nvSpPr>
                <p:cNvPr id="459" name="Freihandform: Form 671">
                  <a:extLst>
                    <a:ext uri="{FF2B5EF4-FFF2-40B4-BE49-F238E27FC236}">
                      <a16:creationId xmlns:a16="http://schemas.microsoft.com/office/drawing/2014/main" id="{E39473B9-4CC9-4C44-922E-CB9C1666BF8A}"/>
                    </a:ext>
                  </a:extLst>
                </p:cNvPr>
                <p:cNvSpPr/>
                <p:nvPr/>
              </p:nvSpPr>
              <p:spPr>
                <a:xfrm>
                  <a:off x="8009987" y="1984401"/>
                  <a:ext cx="68928" cy="81334"/>
                </a:xfrm>
                <a:custGeom>
                  <a:avLst/>
                  <a:gdLst>
                    <a:gd name="connsiteX0" fmla="*/ 46529 w 68928"/>
                    <a:gd name="connsiteY0" fmla="*/ 81334 h 81334"/>
                    <a:gd name="connsiteX1" fmla="*/ 42749 w 68928"/>
                    <a:gd name="connsiteY1" fmla="*/ 80986 h 81334"/>
                    <a:gd name="connsiteX2" fmla="*/ 29710 w 68928"/>
                    <a:gd name="connsiteY2" fmla="*/ 72536 h 81334"/>
                    <a:gd name="connsiteX3" fmla="*/ 4454 w 68928"/>
                    <a:gd name="connsiteY3" fmla="*/ 35695 h 81334"/>
                    <a:gd name="connsiteX4" fmla="*/ 7440 w 68928"/>
                    <a:gd name="connsiteY4" fmla="*/ 4279 h 81334"/>
                    <a:gd name="connsiteX5" fmla="*/ 9631 w 68928"/>
                    <a:gd name="connsiteY5" fmla="*/ 2783 h 81334"/>
                    <a:gd name="connsiteX6" fmla="*/ 39872 w 68928"/>
                    <a:gd name="connsiteY6" fmla="*/ 11088 h 81334"/>
                    <a:gd name="connsiteX7" fmla="*/ 65375 w 68928"/>
                    <a:gd name="connsiteY7" fmla="*/ 48030 h 81334"/>
                    <a:gd name="connsiteX8" fmla="*/ 68580 w 68928"/>
                    <a:gd name="connsiteY8" fmla="*/ 63239 h 81334"/>
                    <a:gd name="connsiteX9" fmla="*/ 60143 w 68928"/>
                    <a:gd name="connsiteY9" fmla="*/ 76280 h 81334"/>
                    <a:gd name="connsiteX10" fmla="*/ 57952 w 68928"/>
                    <a:gd name="connsiteY10" fmla="*/ 77776 h 81334"/>
                    <a:gd name="connsiteX11" fmla="*/ 46529 w 68928"/>
                    <a:gd name="connsiteY11" fmla="*/ 81334 h 81334"/>
                    <a:gd name="connsiteX12" fmla="*/ 17054 w 68928"/>
                    <a:gd name="connsiteY12" fmla="*/ 13614 h 81334"/>
                    <a:gd name="connsiteX13" fmla="*/ 14891 w 68928"/>
                    <a:gd name="connsiteY13" fmla="*/ 15110 h 81334"/>
                    <a:gd name="connsiteX14" fmla="*/ 15301 w 68928"/>
                    <a:gd name="connsiteY14" fmla="*/ 28258 h 81334"/>
                    <a:gd name="connsiteX15" fmla="*/ 40557 w 68928"/>
                    <a:gd name="connsiteY15" fmla="*/ 65099 h 81334"/>
                    <a:gd name="connsiteX16" fmla="*/ 45159 w 68928"/>
                    <a:gd name="connsiteY16" fmla="*/ 68062 h 81334"/>
                    <a:gd name="connsiteX17" fmla="*/ 50528 w 68928"/>
                    <a:gd name="connsiteY17" fmla="*/ 66939 h 81334"/>
                    <a:gd name="connsiteX18" fmla="*/ 52692 w 68928"/>
                    <a:gd name="connsiteY18" fmla="*/ 65444 h 81334"/>
                    <a:gd name="connsiteX19" fmla="*/ 55651 w 68928"/>
                    <a:gd name="connsiteY19" fmla="*/ 60844 h 81334"/>
                    <a:gd name="connsiteX20" fmla="*/ 54528 w 68928"/>
                    <a:gd name="connsiteY20" fmla="*/ 55481 h 81334"/>
                    <a:gd name="connsiteX21" fmla="*/ 29052 w 68928"/>
                    <a:gd name="connsiteY21" fmla="*/ 18539 h 81334"/>
                    <a:gd name="connsiteX22" fmla="*/ 17054 w 68928"/>
                    <a:gd name="connsiteY22" fmla="*/ 13614 h 81334"/>
                    <a:gd name="connsiteX23" fmla="*/ 17054 w 68928"/>
                    <a:gd name="connsiteY23" fmla="*/ 13614 h 8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28" h="81334">
                      <a:moveTo>
                        <a:pt x="46529" y="81334"/>
                      </a:moveTo>
                      <a:cubicBezTo>
                        <a:pt x="45269" y="81334"/>
                        <a:pt x="44009" y="81219"/>
                        <a:pt x="42749" y="80986"/>
                      </a:cubicBezTo>
                      <a:cubicBezTo>
                        <a:pt x="37407" y="79995"/>
                        <a:pt x="32778" y="76995"/>
                        <a:pt x="29710" y="72536"/>
                      </a:cubicBezTo>
                      <a:lnTo>
                        <a:pt x="4454" y="35695"/>
                      </a:lnTo>
                      <a:cubicBezTo>
                        <a:pt x="-1874" y="26478"/>
                        <a:pt x="-1956" y="10743"/>
                        <a:pt x="7440" y="4279"/>
                      </a:cubicBezTo>
                      <a:lnTo>
                        <a:pt x="9631" y="2783"/>
                      </a:lnTo>
                      <a:cubicBezTo>
                        <a:pt x="19027" y="-3682"/>
                        <a:pt x="33600" y="1956"/>
                        <a:pt x="39872" y="11088"/>
                      </a:cubicBezTo>
                      <a:lnTo>
                        <a:pt x="65375" y="48030"/>
                      </a:lnTo>
                      <a:cubicBezTo>
                        <a:pt x="68443" y="52498"/>
                        <a:pt x="69566" y="57894"/>
                        <a:pt x="68580" y="63239"/>
                      </a:cubicBezTo>
                      <a:cubicBezTo>
                        <a:pt x="67594" y="68586"/>
                        <a:pt x="64581" y="73215"/>
                        <a:pt x="60143" y="76280"/>
                      </a:cubicBezTo>
                      <a:lnTo>
                        <a:pt x="57952" y="77776"/>
                      </a:lnTo>
                      <a:cubicBezTo>
                        <a:pt x="54555" y="80115"/>
                        <a:pt x="50583" y="81334"/>
                        <a:pt x="46529" y="81334"/>
                      </a:cubicBezTo>
                      <a:close/>
                      <a:moveTo>
                        <a:pt x="17054" y="13614"/>
                      </a:moveTo>
                      <a:lnTo>
                        <a:pt x="14891" y="15110"/>
                      </a:lnTo>
                      <a:cubicBezTo>
                        <a:pt x="12562" y="16701"/>
                        <a:pt x="12398" y="24032"/>
                        <a:pt x="15301" y="28258"/>
                      </a:cubicBezTo>
                      <a:lnTo>
                        <a:pt x="40557" y="65099"/>
                      </a:lnTo>
                      <a:cubicBezTo>
                        <a:pt x="41626" y="66657"/>
                        <a:pt x="43269" y="67712"/>
                        <a:pt x="45159" y="68062"/>
                      </a:cubicBezTo>
                      <a:cubicBezTo>
                        <a:pt x="47022" y="68419"/>
                        <a:pt x="48940" y="68021"/>
                        <a:pt x="50528" y="66939"/>
                      </a:cubicBezTo>
                      <a:lnTo>
                        <a:pt x="52692" y="65444"/>
                      </a:lnTo>
                      <a:cubicBezTo>
                        <a:pt x="54254" y="64373"/>
                        <a:pt x="55322" y="62737"/>
                        <a:pt x="55651" y="60844"/>
                      </a:cubicBezTo>
                      <a:cubicBezTo>
                        <a:pt x="56007" y="58952"/>
                        <a:pt x="55623" y="57045"/>
                        <a:pt x="54528" y="55481"/>
                      </a:cubicBezTo>
                      <a:lnTo>
                        <a:pt x="29052" y="18539"/>
                      </a:lnTo>
                      <a:cubicBezTo>
                        <a:pt x="26396" y="14696"/>
                        <a:pt x="19575" y="11902"/>
                        <a:pt x="17054" y="13614"/>
                      </a:cubicBezTo>
                      <a:lnTo>
                        <a:pt x="17054" y="13614"/>
                      </a:lnTo>
                      <a:close/>
                    </a:path>
                  </a:pathLst>
                </a:custGeom>
                <a:grpFill/>
                <a:ln w="274" cap="flat">
                  <a:noFill/>
                  <a:prstDash val="solid"/>
                  <a:miter/>
                </a:ln>
              </p:spPr>
              <p:txBody>
                <a:bodyPr rtlCol="0" anchor="ctr"/>
                <a:lstStyle/>
                <a:p>
                  <a:endParaRPr lang="en-GB" dirty="0"/>
                </a:p>
              </p:txBody>
            </p:sp>
            <p:sp>
              <p:nvSpPr>
                <p:cNvPr id="460" name="Freihandform: Form 672">
                  <a:extLst>
                    <a:ext uri="{FF2B5EF4-FFF2-40B4-BE49-F238E27FC236}">
                      <a16:creationId xmlns:a16="http://schemas.microsoft.com/office/drawing/2014/main" id="{441484BB-B2BA-4B50-9F31-9775F99E9EB0}"/>
                    </a:ext>
                  </a:extLst>
                </p:cNvPr>
                <p:cNvSpPr/>
                <p:nvPr/>
              </p:nvSpPr>
              <p:spPr>
                <a:xfrm>
                  <a:off x="8134433" y="1943402"/>
                  <a:ext cx="51228" cy="104287"/>
                </a:xfrm>
                <a:custGeom>
                  <a:avLst/>
                  <a:gdLst>
                    <a:gd name="connsiteX0" fmla="*/ 26176 w 51228"/>
                    <a:gd name="connsiteY0" fmla="*/ 104287 h 104287"/>
                    <a:gd name="connsiteX1" fmla="*/ 25326 w 51228"/>
                    <a:gd name="connsiteY1" fmla="*/ 104274 h 104287"/>
                    <a:gd name="connsiteX2" fmla="*/ 22176 w 51228"/>
                    <a:gd name="connsiteY2" fmla="*/ 104159 h 104287"/>
                    <a:gd name="connsiteX3" fmla="*/ 16 w 51228"/>
                    <a:gd name="connsiteY3" fmla="*/ 80311 h 104287"/>
                    <a:gd name="connsiteX4" fmla="*/ 1796 w 51228"/>
                    <a:gd name="connsiteY4" fmla="*/ 26029 h 104287"/>
                    <a:gd name="connsiteX5" fmla="*/ 8727 w 51228"/>
                    <a:gd name="connsiteY5" fmla="*/ 8704 h 104287"/>
                    <a:gd name="connsiteX6" fmla="*/ 25956 w 51228"/>
                    <a:gd name="connsiteY6" fmla="*/ 6 h 104287"/>
                    <a:gd name="connsiteX7" fmla="*/ 29134 w 51228"/>
                    <a:gd name="connsiteY7" fmla="*/ 121 h 104287"/>
                    <a:gd name="connsiteX8" fmla="*/ 45515 w 51228"/>
                    <a:gd name="connsiteY8" fmla="*/ 9366 h 104287"/>
                    <a:gd name="connsiteX9" fmla="*/ 51212 w 51228"/>
                    <a:gd name="connsiteY9" fmla="*/ 26731 h 104287"/>
                    <a:gd name="connsiteX10" fmla="*/ 49185 w 51228"/>
                    <a:gd name="connsiteY10" fmla="*/ 82099 h 104287"/>
                    <a:gd name="connsiteX11" fmla="*/ 26176 w 51228"/>
                    <a:gd name="connsiteY11" fmla="*/ 104287 h 104287"/>
                    <a:gd name="connsiteX12" fmla="*/ 25326 w 51228"/>
                    <a:gd name="connsiteY12" fmla="*/ 13138 h 104287"/>
                    <a:gd name="connsiteX13" fmla="*/ 18834 w 51228"/>
                    <a:gd name="connsiteY13" fmla="*/ 17083 h 104287"/>
                    <a:gd name="connsiteX14" fmla="*/ 14917 w 51228"/>
                    <a:gd name="connsiteY14" fmla="*/ 26487 h 104287"/>
                    <a:gd name="connsiteX15" fmla="*/ 13137 w 51228"/>
                    <a:gd name="connsiteY15" fmla="*/ 80768 h 104287"/>
                    <a:gd name="connsiteX16" fmla="*/ 22642 w 51228"/>
                    <a:gd name="connsiteY16" fmla="*/ 91027 h 104287"/>
                    <a:gd name="connsiteX17" fmla="*/ 25819 w 51228"/>
                    <a:gd name="connsiteY17" fmla="*/ 91142 h 104287"/>
                    <a:gd name="connsiteX18" fmla="*/ 36064 w 51228"/>
                    <a:gd name="connsiteY18" fmla="*/ 81617 h 104287"/>
                    <a:gd name="connsiteX19" fmla="*/ 38091 w 51228"/>
                    <a:gd name="connsiteY19" fmla="*/ 26257 h 104287"/>
                    <a:gd name="connsiteX20" fmla="*/ 35023 w 51228"/>
                    <a:gd name="connsiteY20" fmla="*/ 17280 h 104287"/>
                    <a:gd name="connsiteX21" fmla="*/ 28641 w 51228"/>
                    <a:gd name="connsiteY21" fmla="*/ 13256 h 104287"/>
                    <a:gd name="connsiteX22" fmla="*/ 25491 w 51228"/>
                    <a:gd name="connsiteY22" fmla="*/ 13141 h 104287"/>
                    <a:gd name="connsiteX23" fmla="*/ 25326 w 51228"/>
                    <a:gd name="connsiteY23" fmla="*/ 13138 h 10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228" h="104287">
                      <a:moveTo>
                        <a:pt x="26176" y="104287"/>
                      </a:moveTo>
                      <a:cubicBezTo>
                        <a:pt x="25902" y="104287"/>
                        <a:pt x="25628" y="104285"/>
                        <a:pt x="25326" y="104274"/>
                      </a:cubicBezTo>
                      <a:lnTo>
                        <a:pt x="22176" y="104159"/>
                      </a:lnTo>
                      <a:cubicBezTo>
                        <a:pt x="9493" y="103701"/>
                        <a:pt x="-450" y="93002"/>
                        <a:pt x="16" y="80311"/>
                      </a:cubicBezTo>
                      <a:lnTo>
                        <a:pt x="1796" y="26029"/>
                      </a:lnTo>
                      <a:cubicBezTo>
                        <a:pt x="2015" y="20151"/>
                        <a:pt x="4590" y="13681"/>
                        <a:pt x="8727" y="8704"/>
                      </a:cubicBezTo>
                      <a:cubicBezTo>
                        <a:pt x="13493" y="2948"/>
                        <a:pt x="19957" y="-161"/>
                        <a:pt x="25956" y="6"/>
                      </a:cubicBezTo>
                      <a:lnTo>
                        <a:pt x="29134" y="121"/>
                      </a:lnTo>
                      <a:cubicBezTo>
                        <a:pt x="35297" y="346"/>
                        <a:pt x="41269" y="3715"/>
                        <a:pt x="45515" y="9366"/>
                      </a:cubicBezTo>
                      <a:cubicBezTo>
                        <a:pt x="49350" y="14445"/>
                        <a:pt x="51431" y="20776"/>
                        <a:pt x="51212" y="26731"/>
                      </a:cubicBezTo>
                      <a:lnTo>
                        <a:pt x="49185" y="82099"/>
                      </a:lnTo>
                      <a:cubicBezTo>
                        <a:pt x="48720" y="94503"/>
                        <a:pt x="38502" y="104287"/>
                        <a:pt x="26176" y="104287"/>
                      </a:cubicBezTo>
                      <a:close/>
                      <a:moveTo>
                        <a:pt x="25326" y="13138"/>
                      </a:moveTo>
                      <a:cubicBezTo>
                        <a:pt x="23299" y="13138"/>
                        <a:pt x="20889" y="14601"/>
                        <a:pt x="18834" y="17083"/>
                      </a:cubicBezTo>
                      <a:cubicBezTo>
                        <a:pt x="16533" y="19863"/>
                        <a:pt x="15054" y="23468"/>
                        <a:pt x="14917" y="26487"/>
                      </a:cubicBezTo>
                      <a:lnTo>
                        <a:pt x="13137" y="80768"/>
                      </a:lnTo>
                      <a:cubicBezTo>
                        <a:pt x="12945" y="86238"/>
                        <a:pt x="17218" y="90832"/>
                        <a:pt x="22642" y="91027"/>
                      </a:cubicBezTo>
                      <a:lnTo>
                        <a:pt x="25819" y="91142"/>
                      </a:lnTo>
                      <a:cubicBezTo>
                        <a:pt x="31243" y="91459"/>
                        <a:pt x="35845" y="87068"/>
                        <a:pt x="36064" y="81617"/>
                      </a:cubicBezTo>
                      <a:lnTo>
                        <a:pt x="38091" y="26257"/>
                      </a:lnTo>
                      <a:cubicBezTo>
                        <a:pt x="38174" y="23353"/>
                        <a:pt x="37023" y="19910"/>
                        <a:pt x="35023" y="17280"/>
                      </a:cubicBezTo>
                      <a:cubicBezTo>
                        <a:pt x="33161" y="14804"/>
                        <a:pt x="30832" y="13333"/>
                        <a:pt x="28641" y="13256"/>
                      </a:cubicBezTo>
                      <a:lnTo>
                        <a:pt x="25491" y="13141"/>
                      </a:lnTo>
                      <a:cubicBezTo>
                        <a:pt x="25436" y="13138"/>
                        <a:pt x="25381" y="13138"/>
                        <a:pt x="25326" y="13138"/>
                      </a:cubicBezTo>
                      <a:close/>
                    </a:path>
                  </a:pathLst>
                </a:custGeom>
                <a:grpFill/>
                <a:ln w="274" cap="flat">
                  <a:noFill/>
                  <a:prstDash val="solid"/>
                  <a:miter/>
                </a:ln>
              </p:spPr>
              <p:txBody>
                <a:bodyPr rtlCol="0" anchor="ctr"/>
                <a:lstStyle/>
                <a:p>
                  <a:endParaRPr lang="en-GB" dirty="0"/>
                </a:p>
              </p:txBody>
            </p:sp>
            <p:sp>
              <p:nvSpPr>
                <p:cNvPr id="461" name="Freihandform: Form 673">
                  <a:extLst>
                    <a:ext uri="{FF2B5EF4-FFF2-40B4-BE49-F238E27FC236}">
                      <a16:creationId xmlns:a16="http://schemas.microsoft.com/office/drawing/2014/main" id="{FC1F3A67-4432-4793-BFC4-B6F9FC65EF49}"/>
                    </a:ext>
                  </a:extLst>
                </p:cNvPr>
                <p:cNvSpPr/>
                <p:nvPr/>
              </p:nvSpPr>
              <p:spPr>
                <a:xfrm>
                  <a:off x="8091791" y="1958754"/>
                  <a:ext cx="54874" cy="95490"/>
                </a:xfrm>
                <a:custGeom>
                  <a:avLst/>
                  <a:gdLst>
                    <a:gd name="connsiteX0" fmla="*/ 30522 w 54874"/>
                    <a:gd name="connsiteY0" fmla="*/ 95490 h 95490"/>
                    <a:gd name="connsiteX1" fmla="*/ 9375 w 54874"/>
                    <a:gd name="connsiteY1" fmla="*/ 78005 h 95490"/>
                    <a:gd name="connsiteX2" fmla="*/ 418 w 54874"/>
                    <a:gd name="connsiteY2" fmla="*/ 29041 h 95490"/>
                    <a:gd name="connsiteX3" fmla="*/ 2773 w 54874"/>
                    <a:gd name="connsiteY3" fmla="*/ 12269 h 95490"/>
                    <a:gd name="connsiteX4" fmla="*/ 16497 w 54874"/>
                    <a:gd name="connsiteY4" fmla="*/ 832 h 95490"/>
                    <a:gd name="connsiteX5" fmla="*/ 19319 w 54874"/>
                    <a:gd name="connsiteY5" fmla="*/ 293 h 95490"/>
                    <a:gd name="connsiteX6" fmla="*/ 36631 w 54874"/>
                    <a:gd name="connsiteY6" fmla="*/ 5960 h 95490"/>
                    <a:gd name="connsiteX7" fmla="*/ 45478 w 54874"/>
                    <a:gd name="connsiteY7" fmla="*/ 20969 h 95490"/>
                    <a:gd name="connsiteX8" fmla="*/ 54491 w 54874"/>
                    <a:gd name="connsiteY8" fmla="*/ 69385 h 95490"/>
                    <a:gd name="connsiteX9" fmla="*/ 51149 w 54874"/>
                    <a:gd name="connsiteY9" fmla="*/ 85486 h 95490"/>
                    <a:gd name="connsiteX10" fmla="*/ 37398 w 54874"/>
                    <a:gd name="connsiteY10" fmla="*/ 94559 h 95490"/>
                    <a:gd name="connsiteX11" fmla="*/ 34576 w 54874"/>
                    <a:gd name="connsiteY11" fmla="*/ 95101 h 95490"/>
                    <a:gd name="connsiteX12" fmla="*/ 30522 w 54874"/>
                    <a:gd name="connsiteY12" fmla="*/ 95490 h 95490"/>
                    <a:gd name="connsiteX13" fmla="*/ 22469 w 54874"/>
                    <a:gd name="connsiteY13" fmla="*/ 13137 h 95490"/>
                    <a:gd name="connsiteX14" fmla="*/ 21811 w 54874"/>
                    <a:gd name="connsiteY14" fmla="*/ 13197 h 95490"/>
                    <a:gd name="connsiteX15" fmla="*/ 21784 w 54874"/>
                    <a:gd name="connsiteY15" fmla="*/ 13200 h 95490"/>
                    <a:gd name="connsiteX16" fmla="*/ 18990 w 54874"/>
                    <a:gd name="connsiteY16" fmla="*/ 13740 h 95490"/>
                    <a:gd name="connsiteX17" fmla="*/ 14607 w 54874"/>
                    <a:gd name="connsiteY17" fmla="*/ 17972 h 95490"/>
                    <a:gd name="connsiteX18" fmla="*/ 13347 w 54874"/>
                    <a:gd name="connsiteY18" fmla="*/ 26625 h 95490"/>
                    <a:gd name="connsiteX19" fmla="*/ 22277 w 54874"/>
                    <a:gd name="connsiteY19" fmla="*/ 75589 h 95490"/>
                    <a:gd name="connsiteX20" fmla="*/ 32111 w 54874"/>
                    <a:gd name="connsiteY20" fmla="*/ 82202 h 95490"/>
                    <a:gd name="connsiteX21" fmla="*/ 34905 w 54874"/>
                    <a:gd name="connsiteY21" fmla="*/ 81660 h 95490"/>
                    <a:gd name="connsiteX22" fmla="*/ 40274 w 54874"/>
                    <a:gd name="connsiteY22" fmla="*/ 78115 h 95490"/>
                    <a:gd name="connsiteX23" fmla="*/ 41589 w 54874"/>
                    <a:gd name="connsiteY23" fmla="*/ 71831 h 95490"/>
                    <a:gd name="connsiteX24" fmla="*/ 32576 w 54874"/>
                    <a:gd name="connsiteY24" fmla="*/ 23415 h 95490"/>
                    <a:gd name="connsiteX25" fmla="*/ 22469 w 54874"/>
                    <a:gd name="connsiteY25" fmla="*/ 13137 h 95490"/>
                    <a:gd name="connsiteX26" fmla="*/ 20551 w 54874"/>
                    <a:gd name="connsiteY26" fmla="*/ 6746 h 95490"/>
                    <a:gd name="connsiteX27" fmla="*/ 20633 w 54874"/>
                    <a:gd name="connsiteY27" fmla="*/ 6746 h 95490"/>
                    <a:gd name="connsiteX28" fmla="*/ 20551 w 54874"/>
                    <a:gd name="connsiteY28" fmla="*/ 6746 h 9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74" h="95490">
                      <a:moveTo>
                        <a:pt x="30522" y="95490"/>
                      </a:moveTo>
                      <a:cubicBezTo>
                        <a:pt x="20387" y="95490"/>
                        <a:pt x="11347" y="88305"/>
                        <a:pt x="9375" y="78005"/>
                      </a:cubicBezTo>
                      <a:lnTo>
                        <a:pt x="418" y="29041"/>
                      </a:lnTo>
                      <a:cubicBezTo>
                        <a:pt x="-596" y="23664"/>
                        <a:pt x="253" y="17531"/>
                        <a:pt x="2773" y="12269"/>
                      </a:cubicBezTo>
                      <a:cubicBezTo>
                        <a:pt x="5786" y="6012"/>
                        <a:pt x="10662" y="1947"/>
                        <a:pt x="16497" y="832"/>
                      </a:cubicBezTo>
                      <a:lnTo>
                        <a:pt x="19319" y="293"/>
                      </a:lnTo>
                      <a:cubicBezTo>
                        <a:pt x="25071" y="-817"/>
                        <a:pt x="31371" y="1262"/>
                        <a:pt x="36631" y="5960"/>
                      </a:cubicBezTo>
                      <a:cubicBezTo>
                        <a:pt x="41151" y="9998"/>
                        <a:pt x="44465" y="15608"/>
                        <a:pt x="45478" y="20969"/>
                      </a:cubicBezTo>
                      <a:lnTo>
                        <a:pt x="54491" y="69385"/>
                      </a:lnTo>
                      <a:cubicBezTo>
                        <a:pt x="55559" y="74984"/>
                        <a:pt x="54381" y="80712"/>
                        <a:pt x="51149" y="85486"/>
                      </a:cubicBezTo>
                      <a:cubicBezTo>
                        <a:pt x="47916" y="90255"/>
                        <a:pt x="43040" y="93480"/>
                        <a:pt x="37398" y="94559"/>
                      </a:cubicBezTo>
                      <a:lnTo>
                        <a:pt x="34576" y="95101"/>
                      </a:lnTo>
                      <a:cubicBezTo>
                        <a:pt x="33207" y="95364"/>
                        <a:pt x="31864" y="95490"/>
                        <a:pt x="30522" y="95490"/>
                      </a:cubicBezTo>
                      <a:close/>
                      <a:moveTo>
                        <a:pt x="22469" y="13137"/>
                      </a:moveTo>
                      <a:cubicBezTo>
                        <a:pt x="22222" y="13137"/>
                        <a:pt x="22003" y="13156"/>
                        <a:pt x="21811" y="13197"/>
                      </a:cubicBezTo>
                      <a:lnTo>
                        <a:pt x="21784" y="13200"/>
                      </a:lnTo>
                      <a:lnTo>
                        <a:pt x="18990" y="13740"/>
                      </a:lnTo>
                      <a:cubicBezTo>
                        <a:pt x="16661" y="14178"/>
                        <a:pt x="15155" y="16846"/>
                        <a:pt x="14607" y="17972"/>
                      </a:cubicBezTo>
                      <a:cubicBezTo>
                        <a:pt x="13319" y="20667"/>
                        <a:pt x="12826" y="23982"/>
                        <a:pt x="13347" y="26625"/>
                      </a:cubicBezTo>
                      <a:lnTo>
                        <a:pt x="22277" y="75589"/>
                      </a:lnTo>
                      <a:cubicBezTo>
                        <a:pt x="23153" y="80082"/>
                        <a:pt x="27564" y="83032"/>
                        <a:pt x="32111" y="82202"/>
                      </a:cubicBezTo>
                      <a:lnTo>
                        <a:pt x="34905" y="81660"/>
                      </a:lnTo>
                      <a:cubicBezTo>
                        <a:pt x="37124" y="81241"/>
                        <a:pt x="39014" y="79980"/>
                        <a:pt x="40274" y="78115"/>
                      </a:cubicBezTo>
                      <a:cubicBezTo>
                        <a:pt x="41534" y="76250"/>
                        <a:pt x="42000" y="74017"/>
                        <a:pt x="41589" y="71831"/>
                      </a:cubicBezTo>
                      <a:lnTo>
                        <a:pt x="32576" y="23415"/>
                      </a:lnTo>
                      <a:cubicBezTo>
                        <a:pt x="31645" y="18525"/>
                        <a:pt x="26194" y="13137"/>
                        <a:pt x="22469" y="13137"/>
                      </a:cubicBezTo>
                      <a:close/>
                      <a:moveTo>
                        <a:pt x="20551" y="6746"/>
                      </a:moveTo>
                      <a:lnTo>
                        <a:pt x="20633" y="6746"/>
                      </a:lnTo>
                      <a:lnTo>
                        <a:pt x="20551" y="6746"/>
                      </a:lnTo>
                      <a:close/>
                    </a:path>
                  </a:pathLst>
                </a:custGeom>
                <a:grpFill/>
                <a:ln w="274" cap="flat">
                  <a:noFill/>
                  <a:prstDash val="solid"/>
                  <a:miter/>
                </a:ln>
              </p:spPr>
              <p:txBody>
                <a:bodyPr rtlCol="0" anchor="ctr"/>
                <a:lstStyle/>
                <a:p>
                  <a:endParaRPr lang="en-GB" dirty="0"/>
                </a:p>
              </p:txBody>
            </p:sp>
            <p:sp>
              <p:nvSpPr>
                <p:cNvPr id="462" name="Freihandform: Form 674">
                  <a:extLst>
                    <a:ext uri="{FF2B5EF4-FFF2-40B4-BE49-F238E27FC236}">
                      <a16:creationId xmlns:a16="http://schemas.microsoft.com/office/drawing/2014/main" id="{3EAF1595-156C-4BB2-83E2-5B3745AE7A7B}"/>
                    </a:ext>
                  </a:extLst>
                </p:cNvPr>
                <p:cNvSpPr/>
                <p:nvPr/>
              </p:nvSpPr>
              <p:spPr>
                <a:xfrm>
                  <a:off x="8049931" y="1971323"/>
                  <a:ext cx="64064" cy="93218"/>
                </a:xfrm>
                <a:custGeom>
                  <a:avLst/>
                  <a:gdLst>
                    <a:gd name="connsiteX0" fmla="*/ 39867 w 64064"/>
                    <a:gd name="connsiteY0" fmla="*/ 93218 h 93218"/>
                    <a:gd name="connsiteX1" fmla="*/ 19706 w 64064"/>
                    <a:gd name="connsiteY1" fmla="*/ 79344 h 93218"/>
                    <a:gd name="connsiteX2" fmla="*/ 1490 w 64064"/>
                    <a:gd name="connsiteY2" fmla="*/ 31223 h 93218"/>
                    <a:gd name="connsiteX3" fmla="*/ 13379 w 64064"/>
                    <a:gd name="connsiteY3" fmla="*/ 2105 h 93218"/>
                    <a:gd name="connsiteX4" fmla="*/ 16063 w 64064"/>
                    <a:gd name="connsiteY4" fmla="*/ 1081 h 93218"/>
                    <a:gd name="connsiteX5" fmla="*/ 33923 w 64064"/>
                    <a:gd name="connsiteY5" fmla="*/ 3666 h 93218"/>
                    <a:gd name="connsiteX6" fmla="*/ 44989 w 64064"/>
                    <a:gd name="connsiteY6" fmla="*/ 16851 h 93218"/>
                    <a:gd name="connsiteX7" fmla="*/ 62658 w 64064"/>
                    <a:gd name="connsiteY7" fmla="*/ 62988 h 93218"/>
                    <a:gd name="connsiteX8" fmla="*/ 50194 w 64064"/>
                    <a:gd name="connsiteY8" fmla="*/ 90789 h 93218"/>
                    <a:gd name="connsiteX9" fmla="*/ 47510 w 64064"/>
                    <a:gd name="connsiteY9" fmla="*/ 91808 h 93218"/>
                    <a:gd name="connsiteX10" fmla="*/ 39867 w 64064"/>
                    <a:gd name="connsiteY10" fmla="*/ 93218 h 93218"/>
                    <a:gd name="connsiteX11" fmla="*/ 20720 w 64064"/>
                    <a:gd name="connsiteY11" fmla="*/ 13361 h 93218"/>
                    <a:gd name="connsiteX12" fmla="*/ 18035 w 64064"/>
                    <a:gd name="connsiteY12" fmla="*/ 14385 h 93218"/>
                    <a:gd name="connsiteX13" fmla="*/ 13789 w 64064"/>
                    <a:gd name="connsiteY13" fmla="*/ 26564 h 93218"/>
                    <a:gd name="connsiteX14" fmla="*/ 32005 w 64064"/>
                    <a:gd name="connsiteY14" fmla="*/ 74682 h 93218"/>
                    <a:gd name="connsiteX15" fmla="*/ 42853 w 64064"/>
                    <a:gd name="connsiteY15" fmla="*/ 79536 h 93218"/>
                    <a:gd name="connsiteX16" fmla="*/ 45510 w 64064"/>
                    <a:gd name="connsiteY16" fmla="*/ 78517 h 93218"/>
                    <a:gd name="connsiteX17" fmla="*/ 50386 w 64064"/>
                    <a:gd name="connsiteY17" fmla="*/ 67678 h 93218"/>
                    <a:gd name="connsiteX18" fmla="*/ 32718 w 64064"/>
                    <a:gd name="connsiteY18" fmla="*/ 21540 h 93218"/>
                    <a:gd name="connsiteX19" fmla="*/ 26910 w 64064"/>
                    <a:gd name="connsiteY19" fmla="*/ 14777 h 93218"/>
                    <a:gd name="connsiteX20" fmla="*/ 20720 w 64064"/>
                    <a:gd name="connsiteY20" fmla="*/ 13361 h 9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064" h="93218">
                      <a:moveTo>
                        <a:pt x="39867" y="93218"/>
                      </a:moveTo>
                      <a:cubicBezTo>
                        <a:pt x="31184" y="93218"/>
                        <a:pt x="22993" y="87929"/>
                        <a:pt x="19706" y="79344"/>
                      </a:cubicBezTo>
                      <a:lnTo>
                        <a:pt x="1490" y="31223"/>
                      </a:lnTo>
                      <a:cubicBezTo>
                        <a:pt x="-2865" y="19776"/>
                        <a:pt x="2695" y="6165"/>
                        <a:pt x="13379" y="2105"/>
                      </a:cubicBezTo>
                      <a:lnTo>
                        <a:pt x="16063" y="1081"/>
                      </a:lnTo>
                      <a:cubicBezTo>
                        <a:pt x="21514" y="-993"/>
                        <a:pt x="28034" y="-56"/>
                        <a:pt x="33923" y="3666"/>
                      </a:cubicBezTo>
                      <a:cubicBezTo>
                        <a:pt x="38991" y="6874"/>
                        <a:pt x="43017" y="11682"/>
                        <a:pt x="44989" y="16851"/>
                      </a:cubicBezTo>
                      <a:lnTo>
                        <a:pt x="62658" y="62988"/>
                      </a:lnTo>
                      <a:cubicBezTo>
                        <a:pt x="66876" y="74101"/>
                        <a:pt x="61288" y="86568"/>
                        <a:pt x="50194" y="90789"/>
                      </a:cubicBezTo>
                      <a:lnTo>
                        <a:pt x="47510" y="91808"/>
                      </a:lnTo>
                      <a:cubicBezTo>
                        <a:pt x="44989" y="92767"/>
                        <a:pt x="42415" y="93218"/>
                        <a:pt x="39867" y="93218"/>
                      </a:cubicBezTo>
                      <a:close/>
                      <a:moveTo>
                        <a:pt x="20720" y="13361"/>
                      </a:moveTo>
                      <a:lnTo>
                        <a:pt x="18035" y="14385"/>
                      </a:lnTo>
                      <a:cubicBezTo>
                        <a:pt x="14118" y="15878"/>
                        <a:pt x="12009" y="21907"/>
                        <a:pt x="13789" y="26564"/>
                      </a:cubicBezTo>
                      <a:lnTo>
                        <a:pt x="32005" y="74682"/>
                      </a:lnTo>
                      <a:cubicBezTo>
                        <a:pt x="33649" y="79004"/>
                        <a:pt x="38525" y="81182"/>
                        <a:pt x="42853" y="79536"/>
                      </a:cubicBezTo>
                      <a:lnTo>
                        <a:pt x="45510" y="78517"/>
                      </a:lnTo>
                      <a:cubicBezTo>
                        <a:pt x="49838" y="76868"/>
                        <a:pt x="52029" y="72006"/>
                        <a:pt x="50386" y="67678"/>
                      </a:cubicBezTo>
                      <a:lnTo>
                        <a:pt x="32718" y="21540"/>
                      </a:lnTo>
                      <a:cubicBezTo>
                        <a:pt x="31759" y="19031"/>
                        <a:pt x="29540" y="16445"/>
                        <a:pt x="26910" y="14777"/>
                      </a:cubicBezTo>
                      <a:cubicBezTo>
                        <a:pt x="24582" y="13306"/>
                        <a:pt x="22281" y="12772"/>
                        <a:pt x="20720" y="13361"/>
                      </a:cubicBezTo>
                      <a:close/>
                    </a:path>
                  </a:pathLst>
                </a:custGeom>
                <a:grpFill/>
                <a:ln w="274" cap="flat">
                  <a:noFill/>
                  <a:prstDash val="solid"/>
                  <a:miter/>
                </a:ln>
              </p:spPr>
              <p:txBody>
                <a:bodyPr rtlCol="0" anchor="ctr"/>
                <a:lstStyle/>
                <a:p>
                  <a:endParaRPr lang="en-GB" dirty="0"/>
                </a:p>
              </p:txBody>
            </p:sp>
            <p:sp>
              <p:nvSpPr>
                <p:cNvPr id="463" name="Freihandform: Form 675">
                  <a:extLst>
                    <a:ext uri="{FF2B5EF4-FFF2-40B4-BE49-F238E27FC236}">
                      <a16:creationId xmlns:a16="http://schemas.microsoft.com/office/drawing/2014/main" id="{EE4C8BA7-3D31-4F9C-9D2E-CE6E98B43B89}"/>
                    </a:ext>
                  </a:extLst>
                </p:cNvPr>
                <p:cNvSpPr/>
                <p:nvPr/>
              </p:nvSpPr>
              <p:spPr>
                <a:xfrm>
                  <a:off x="8123126" y="1884284"/>
                  <a:ext cx="113500" cy="117286"/>
                </a:xfrm>
                <a:custGeom>
                  <a:avLst/>
                  <a:gdLst>
                    <a:gd name="connsiteX0" fmla="*/ 86241 w 113500"/>
                    <a:gd name="connsiteY0" fmla="*/ 117287 h 117286"/>
                    <a:gd name="connsiteX1" fmla="*/ 78900 w 113500"/>
                    <a:gd name="connsiteY1" fmla="*/ 115473 h 117286"/>
                    <a:gd name="connsiteX2" fmla="*/ 67230 w 113500"/>
                    <a:gd name="connsiteY2" fmla="*/ 105451 h 117286"/>
                    <a:gd name="connsiteX3" fmla="*/ 71860 w 113500"/>
                    <a:gd name="connsiteY3" fmla="*/ 64523 h 117286"/>
                    <a:gd name="connsiteX4" fmla="*/ 81118 w 113500"/>
                    <a:gd name="connsiteY4" fmla="*/ 64052 h 117286"/>
                    <a:gd name="connsiteX5" fmla="*/ 81611 w 113500"/>
                    <a:gd name="connsiteY5" fmla="*/ 73316 h 117286"/>
                    <a:gd name="connsiteX6" fmla="*/ 77475 w 113500"/>
                    <a:gd name="connsiteY6" fmla="*/ 97216 h 117286"/>
                    <a:gd name="connsiteX7" fmla="*/ 85090 w 113500"/>
                    <a:gd name="connsiteY7" fmla="*/ 103878 h 117286"/>
                    <a:gd name="connsiteX8" fmla="*/ 93500 w 113500"/>
                    <a:gd name="connsiteY8" fmla="*/ 100013 h 117286"/>
                    <a:gd name="connsiteX9" fmla="*/ 97581 w 113500"/>
                    <a:gd name="connsiteY9" fmla="*/ 72840 h 117286"/>
                    <a:gd name="connsiteX10" fmla="*/ 96814 w 113500"/>
                    <a:gd name="connsiteY10" fmla="*/ 71421 h 117286"/>
                    <a:gd name="connsiteX11" fmla="*/ 85282 w 113500"/>
                    <a:gd name="connsiteY11" fmla="*/ 57174 h 117286"/>
                    <a:gd name="connsiteX12" fmla="*/ 68107 w 113500"/>
                    <a:gd name="connsiteY12" fmla="*/ 37692 h 117286"/>
                    <a:gd name="connsiteX13" fmla="*/ 7761 w 113500"/>
                    <a:gd name="connsiteY13" fmla="*/ 14225 h 117286"/>
                    <a:gd name="connsiteX14" fmla="*/ 118 w 113500"/>
                    <a:gd name="connsiteY14" fmla="*/ 8963 h 117286"/>
                    <a:gd name="connsiteX15" fmla="*/ 5378 w 113500"/>
                    <a:gd name="connsiteY15" fmla="*/ 1301 h 117286"/>
                    <a:gd name="connsiteX16" fmla="*/ 78023 w 113500"/>
                    <a:gd name="connsiteY16" fmla="*/ 29050 h 117286"/>
                    <a:gd name="connsiteX17" fmla="*/ 95061 w 113500"/>
                    <a:gd name="connsiteY17" fmla="*/ 48411 h 117286"/>
                    <a:gd name="connsiteX18" fmla="*/ 108319 w 113500"/>
                    <a:gd name="connsiteY18" fmla="*/ 65101 h 117286"/>
                    <a:gd name="connsiteX19" fmla="*/ 109031 w 113500"/>
                    <a:gd name="connsiteY19" fmla="*/ 66364 h 117286"/>
                    <a:gd name="connsiteX20" fmla="*/ 102896 w 113500"/>
                    <a:gd name="connsiteY20" fmla="*/ 109179 h 117286"/>
                    <a:gd name="connsiteX21" fmla="*/ 86241 w 113500"/>
                    <a:gd name="connsiteY21" fmla="*/ 117287 h 11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500" h="117286">
                      <a:moveTo>
                        <a:pt x="86241" y="117287"/>
                      </a:moveTo>
                      <a:cubicBezTo>
                        <a:pt x="83666" y="117287"/>
                        <a:pt x="81201" y="116692"/>
                        <a:pt x="78900" y="115473"/>
                      </a:cubicBezTo>
                      <a:cubicBezTo>
                        <a:pt x="73366" y="112529"/>
                        <a:pt x="67860" y="106168"/>
                        <a:pt x="67230" y="105451"/>
                      </a:cubicBezTo>
                      <a:cubicBezTo>
                        <a:pt x="55506" y="89979"/>
                        <a:pt x="65149" y="71941"/>
                        <a:pt x="71860" y="64523"/>
                      </a:cubicBezTo>
                      <a:cubicBezTo>
                        <a:pt x="74298" y="61830"/>
                        <a:pt x="78434" y="61620"/>
                        <a:pt x="81118" y="64052"/>
                      </a:cubicBezTo>
                      <a:cubicBezTo>
                        <a:pt x="83803" y="66482"/>
                        <a:pt x="84022" y="70621"/>
                        <a:pt x="81611" y="73316"/>
                      </a:cubicBezTo>
                      <a:cubicBezTo>
                        <a:pt x="81091" y="73905"/>
                        <a:pt x="69696" y="86958"/>
                        <a:pt x="77475" y="97216"/>
                      </a:cubicBezTo>
                      <a:cubicBezTo>
                        <a:pt x="78927" y="98887"/>
                        <a:pt x="82570" y="102533"/>
                        <a:pt x="85090" y="103878"/>
                      </a:cubicBezTo>
                      <a:cubicBezTo>
                        <a:pt x="86569" y="104662"/>
                        <a:pt x="90021" y="103566"/>
                        <a:pt x="93500" y="100013"/>
                      </a:cubicBezTo>
                      <a:cubicBezTo>
                        <a:pt x="99417" y="93924"/>
                        <a:pt x="103252" y="82821"/>
                        <a:pt x="97581" y="72840"/>
                      </a:cubicBezTo>
                      <a:lnTo>
                        <a:pt x="96814" y="71421"/>
                      </a:lnTo>
                      <a:cubicBezTo>
                        <a:pt x="95363" y="68799"/>
                        <a:pt x="94897" y="67914"/>
                        <a:pt x="85282" y="57174"/>
                      </a:cubicBezTo>
                      <a:cubicBezTo>
                        <a:pt x="81091" y="52501"/>
                        <a:pt x="75585" y="46241"/>
                        <a:pt x="68107" y="37692"/>
                      </a:cubicBezTo>
                      <a:cubicBezTo>
                        <a:pt x="50850" y="17893"/>
                        <a:pt x="30552" y="9984"/>
                        <a:pt x="7761" y="14225"/>
                      </a:cubicBezTo>
                      <a:cubicBezTo>
                        <a:pt x="4227" y="14874"/>
                        <a:pt x="776" y="12532"/>
                        <a:pt x="118" y="8963"/>
                      </a:cubicBezTo>
                      <a:cubicBezTo>
                        <a:pt x="-566" y="5396"/>
                        <a:pt x="1789" y="1967"/>
                        <a:pt x="5378" y="1301"/>
                      </a:cubicBezTo>
                      <a:cubicBezTo>
                        <a:pt x="24416" y="-2230"/>
                        <a:pt x="52438" y="-274"/>
                        <a:pt x="78023" y="29050"/>
                      </a:cubicBezTo>
                      <a:cubicBezTo>
                        <a:pt x="85419" y="37544"/>
                        <a:pt x="90925" y="43765"/>
                        <a:pt x="95061" y="48411"/>
                      </a:cubicBezTo>
                      <a:cubicBezTo>
                        <a:pt x="105251" y="59806"/>
                        <a:pt x="106238" y="61277"/>
                        <a:pt x="108319" y="65101"/>
                      </a:cubicBezTo>
                      <a:lnTo>
                        <a:pt x="109031" y="66364"/>
                      </a:lnTo>
                      <a:cubicBezTo>
                        <a:pt x="118016" y="82241"/>
                        <a:pt x="112154" y="99690"/>
                        <a:pt x="102896" y="109179"/>
                      </a:cubicBezTo>
                      <a:cubicBezTo>
                        <a:pt x="97718" y="114487"/>
                        <a:pt x="91802" y="117287"/>
                        <a:pt x="86241" y="117287"/>
                      </a:cubicBezTo>
                      <a:close/>
                    </a:path>
                  </a:pathLst>
                </a:custGeom>
                <a:grpFill/>
                <a:ln w="274" cap="flat">
                  <a:noFill/>
                  <a:prstDash val="solid"/>
                  <a:miter/>
                </a:ln>
              </p:spPr>
              <p:txBody>
                <a:bodyPr rtlCol="0" anchor="ctr"/>
                <a:lstStyle/>
                <a:p>
                  <a:endParaRPr lang="en-GB" dirty="0"/>
                </a:p>
              </p:txBody>
            </p:sp>
          </p:grpSp>
          <p:grpSp>
            <p:nvGrpSpPr>
              <p:cNvPr id="449" name="Grafik 349">
                <a:extLst>
                  <a:ext uri="{FF2B5EF4-FFF2-40B4-BE49-F238E27FC236}">
                    <a16:creationId xmlns:a16="http://schemas.microsoft.com/office/drawing/2014/main" id="{92381089-DCB5-4DE7-AB11-07B61F0EF8FC}"/>
                  </a:ext>
                </a:extLst>
              </p:cNvPr>
              <p:cNvGrpSpPr/>
              <p:nvPr/>
            </p:nvGrpSpPr>
            <p:grpSpPr>
              <a:xfrm>
                <a:off x="7750123" y="1884291"/>
                <a:ext cx="226898" cy="181446"/>
                <a:chOff x="7750123" y="1884291"/>
                <a:chExt cx="226898" cy="181447"/>
              </a:xfrm>
              <a:grpFill/>
            </p:grpSpPr>
            <p:sp>
              <p:nvSpPr>
                <p:cNvPr id="450" name="Freihandform: Form 677">
                  <a:extLst>
                    <a:ext uri="{FF2B5EF4-FFF2-40B4-BE49-F238E27FC236}">
                      <a16:creationId xmlns:a16="http://schemas.microsoft.com/office/drawing/2014/main" id="{1C166ABB-483D-4477-94DA-98959A94EEC5}"/>
                    </a:ext>
                  </a:extLst>
                </p:cNvPr>
                <p:cNvSpPr/>
                <p:nvPr/>
              </p:nvSpPr>
              <p:spPr>
                <a:xfrm>
                  <a:off x="7959542" y="1951165"/>
                  <a:ext cx="17479" cy="48901"/>
                </a:xfrm>
                <a:custGeom>
                  <a:avLst/>
                  <a:gdLst>
                    <a:gd name="connsiteX0" fmla="*/ 6578 w 17479"/>
                    <a:gd name="connsiteY0" fmla="*/ 48902 h 48901"/>
                    <a:gd name="connsiteX1" fmla="*/ 4981 w 17479"/>
                    <a:gd name="connsiteY1" fmla="*/ 48707 h 48901"/>
                    <a:gd name="connsiteX2" fmla="*/ 195 w 17479"/>
                    <a:gd name="connsiteY2" fmla="*/ 40741 h 48901"/>
                    <a:gd name="connsiteX3" fmla="*/ 4258 w 17479"/>
                    <a:gd name="connsiteY3" fmla="*/ 6862 h 48901"/>
                    <a:gd name="connsiteX4" fmla="*/ 10525 w 17479"/>
                    <a:gd name="connsiteY4" fmla="*/ 3 h 48901"/>
                    <a:gd name="connsiteX5" fmla="*/ 17384 w 17479"/>
                    <a:gd name="connsiteY5" fmla="*/ 6271 h 48901"/>
                    <a:gd name="connsiteX6" fmla="*/ 12950 w 17479"/>
                    <a:gd name="connsiteY6" fmla="*/ 43925 h 48901"/>
                    <a:gd name="connsiteX7" fmla="*/ 6578 w 17479"/>
                    <a:gd name="connsiteY7" fmla="*/ 48902 h 4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79" h="48901">
                      <a:moveTo>
                        <a:pt x="6578" y="48902"/>
                      </a:moveTo>
                      <a:cubicBezTo>
                        <a:pt x="6052" y="48902"/>
                        <a:pt x="5512" y="48841"/>
                        <a:pt x="4981" y="48707"/>
                      </a:cubicBezTo>
                      <a:cubicBezTo>
                        <a:pt x="1458" y="47828"/>
                        <a:pt x="-678" y="44261"/>
                        <a:pt x="195" y="40741"/>
                      </a:cubicBezTo>
                      <a:cubicBezTo>
                        <a:pt x="3340" y="28166"/>
                        <a:pt x="4707" y="16767"/>
                        <a:pt x="4258" y="6862"/>
                      </a:cubicBezTo>
                      <a:cubicBezTo>
                        <a:pt x="4099" y="3238"/>
                        <a:pt x="6901" y="168"/>
                        <a:pt x="10525" y="3"/>
                      </a:cubicBezTo>
                      <a:cubicBezTo>
                        <a:pt x="14081" y="-106"/>
                        <a:pt x="17217" y="2641"/>
                        <a:pt x="17384" y="6271"/>
                      </a:cubicBezTo>
                      <a:cubicBezTo>
                        <a:pt x="17886" y="17447"/>
                        <a:pt x="16396" y="30116"/>
                        <a:pt x="12950" y="43925"/>
                      </a:cubicBezTo>
                      <a:cubicBezTo>
                        <a:pt x="12199" y="46908"/>
                        <a:pt x="9523" y="48902"/>
                        <a:pt x="6578" y="48902"/>
                      </a:cubicBezTo>
                      <a:close/>
                    </a:path>
                  </a:pathLst>
                </a:custGeom>
                <a:grpFill/>
                <a:ln w="274" cap="flat">
                  <a:noFill/>
                  <a:prstDash val="solid"/>
                  <a:miter/>
                </a:ln>
              </p:spPr>
              <p:txBody>
                <a:bodyPr rtlCol="0" anchor="ctr"/>
                <a:lstStyle/>
                <a:p>
                  <a:endParaRPr lang="en-GB" dirty="0"/>
                </a:p>
              </p:txBody>
            </p:sp>
            <p:sp>
              <p:nvSpPr>
                <p:cNvPr id="451" name="Freihandform: Form 678">
                  <a:extLst>
                    <a:ext uri="{FF2B5EF4-FFF2-40B4-BE49-F238E27FC236}">
                      <a16:creationId xmlns:a16="http://schemas.microsoft.com/office/drawing/2014/main" id="{1357A1FC-1EFB-47C1-BBA6-3A4648D9E5C2}"/>
                    </a:ext>
                  </a:extLst>
                </p:cNvPr>
                <p:cNvSpPr/>
                <p:nvPr/>
              </p:nvSpPr>
              <p:spPr>
                <a:xfrm>
                  <a:off x="7790183" y="1955989"/>
                  <a:ext cx="24801" cy="23243"/>
                </a:xfrm>
                <a:custGeom>
                  <a:avLst/>
                  <a:gdLst>
                    <a:gd name="connsiteX0" fmla="*/ 6577 w 24801"/>
                    <a:gd name="connsiteY0" fmla="*/ 23244 h 23243"/>
                    <a:gd name="connsiteX1" fmla="*/ 1284 w 24801"/>
                    <a:gd name="connsiteY1" fmla="*/ 20578 h 23243"/>
                    <a:gd name="connsiteX2" fmla="*/ 2670 w 24801"/>
                    <a:gd name="connsiteY2" fmla="*/ 11391 h 23243"/>
                    <a:gd name="connsiteX3" fmla="*/ 13329 w 24801"/>
                    <a:gd name="connsiteY3" fmla="*/ 2187 h 23243"/>
                    <a:gd name="connsiteX4" fmla="*/ 22601 w 24801"/>
                    <a:gd name="connsiteY4" fmla="*/ 1664 h 23243"/>
                    <a:gd name="connsiteX5" fmla="*/ 23146 w 24801"/>
                    <a:gd name="connsiteY5" fmla="*/ 10920 h 23243"/>
                    <a:gd name="connsiteX6" fmla="*/ 10475 w 24801"/>
                    <a:gd name="connsiteY6" fmla="*/ 21959 h 23243"/>
                    <a:gd name="connsiteX7" fmla="*/ 6577 w 24801"/>
                    <a:gd name="connsiteY7" fmla="*/ 23244 h 23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01" h="23243">
                      <a:moveTo>
                        <a:pt x="6577" y="23244"/>
                      </a:moveTo>
                      <a:cubicBezTo>
                        <a:pt x="4563" y="23244"/>
                        <a:pt x="2572" y="22320"/>
                        <a:pt x="1284" y="20578"/>
                      </a:cubicBezTo>
                      <a:cubicBezTo>
                        <a:pt x="-871" y="17658"/>
                        <a:pt x="-250" y="13544"/>
                        <a:pt x="2670" y="11391"/>
                      </a:cubicBezTo>
                      <a:cubicBezTo>
                        <a:pt x="9702" y="6194"/>
                        <a:pt x="13288" y="2225"/>
                        <a:pt x="13329" y="2187"/>
                      </a:cubicBezTo>
                      <a:cubicBezTo>
                        <a:pt x="15734" y="-511"/>
                        <a:pt x="19900" y="-744"/>
                        <a:pt x="22601" y="1664"/>
                      </a:cubicBezTo>
                      <a:cubicBezTo>
                        <a:pt x="25302" y="4074"/>
                        <a:pt x="25554" y="8208"/>
                        <a:pt x="23146" y="10920"/>
                      </a:cubicBezTo>
                      <a:cubicBezTo>
                        <a:pt x="22974" y="11120"/>
                        <a:pt x="18725" y="15869"/>
                        <a:pt x="10475" y="21959"/>
                      </a:cubicBezTo>
                      <a:cubicBezTo>
                        <a:pt x="9297" y="22827"/>
                        <a:pt x="7930" y="23244"/>
                        <a:pt x="6577" y="23244"/>
                      </a:cubicBezTo>
                      <a:close/>
                    </a:path>
                  </a:pathLst>
                </a:custGeom>
                <a:grpFill/>
                <a:ln w="274" cap="flat">
                  <a:noFill/>
                  <a:prstDash val="solid"/>
                  <a:miter/>
                </a:ln>
              </p:spPr>
              <p:txBody>
                <a:bodyPr rtlCol="0" anchor="ctr"/>
                <a:lstStyle/>
                <a:p>
                  <a:endParaRPr lang="en-GB" dirty="0"/>
                </a:p>
              </p:txBody>
            </p:sp>
            <p:sp>
              <p:nvSpPr>
                <p:cNvPr id="452" name="Freihandform: Form 679">
                  <a:extLst>
                    <a:ext uri="{FF2B5EF4-FFF2-40B4-BE49-F238E27FC236}">
                      <a16:creationId xmlns:a16="http://schemas.microsoft.com/office/drawing/2014/main" id="{48FB274E-EC5D-43F4-8391-558FBC642503}"/>
                    </a:ext>
                  </a:extLst>
                </p:cNvPr>
                <p:cNvSpPr/>
                <p:nvPr/>
              </p:nvSpPr>
              <p:spPr>
                <a:xfrm>
                  <a:off x="7907827" y="1984410"/>
                  <a:ext cx="68915" cy="81328"/>
                </a:xfrm>
                <a:custGeom>
                  <a:avLst/>
                  <a:gdLst>
                    <a:gd name="connsiteX0" fmla="*/ 22439 w 68915"/>
                    <a:gd name="connsiteY0" fmla="*/ 81328 h 81328"/>
                    <a:gd name="connsiteX1" fmla="*/ 10967 w 68915"/>
                    <a:gd name="connsiteY1" fmla="*/ 77764 h 81328"/>
                    <a:gd name="connsiteX2" fmla="*/ 8797 w 68915"/>
                    <a:gd name="connsiteY2" fmla="*/ 76269 h 81328"/>
                    <a:gd name="connsiteX3" fmla="*/ 347 w 68915"/>
                    <a:gd name="connsiteY3" fmla="*/ 63232 h 81328"/>
                    <a:gd name="connsiteX4" fmla="*/ 3563 w 68915"/>
                    <a:gd name="connsiteY4" fmla="*/ 48032 h 81328"/>
                    <a:gd name="connsiteX5" fmla="*/ 29068 w 68915"/>
                    <a:gd name="connsiteY5" fmla="*/ 11071 h 81328"/>
                    <a:gd name="connsiteX6" fmla="*/ 59307 w 68915"/>
                    <a:gd name="connsiteY6" fmla="*/ 2774 h 81328"/>
                    <a:gd name="connsiteX7" fmla="*/ 59312 w 68915"/>
                    <a:gd name="connsiteY7" fmla="*/ 2780 h 81328"/>
                    <a:gd name="connsiteX8" fmla="*/ 61482 w 68915"/>
                    <a:gd name="connsiteY8" fmla="*/ 4275 h 81328"/>
                    <a:gd name="connsiteX9" fmla="*/ 68911 w 68915"/>
                    <a:gd name="connsiteY9" fmla="*/ 19971 h 81328"/>
                    <a:gd name="connsiteX10" fmla="*/ 64465 w 68915"/>
                    <a:gd name="connsiteY10" fmla="*/ 35692 h 81328"/>
                    <a:gd name="connsiteX11" fmla="*/ 39217 w 68915"/>
                    <a:gd name="connsiteY11" fmla="*/ 72521 h 81328"/>
                    <a:gd name="connsiteX12" fmla="*/ 22439 w 68915"/>
                    <a:gd name="connsiteY12" fmla="*/ 81328 h 81328"/>
                    <a:gd name="connsiteX13" fmla="*/ 49829 w 68915"/>
                    <a:gd name="connsiteY13" fmla="*/ 13087 h 81328"/>
                    <a:gd name="connsiteX14" fmla="*/ 39891 w 68915"/>
                    <a:gd name="connsiteY14" fmla="*/ 18525 h 81328"/>
                    <a:gd name="connsiteX15" fmla="*/ 14386 w 68915"/>
                    <a:gd name="connsiteY15" fmla="*/ 55486 h 81328"/>
                    <a:gd name="connsiteX16" fmla="*/ 13268 w 68915"/>
                    <a:gd name="connsiteY16" fmla="*/ 60841 h 81328"/>
                    <a:gd name="connsiteX17" fmla="*/ 16237 w 68915"/>
                    <a:gd name="connsiteY17" fmla="*/ 65446 h 81328"/>
                    <a:gd name="connsiteX18" fmla="*/ 18407 w 68915"/>
                    <a:gd name="connsiteY18" fmla="*/ 66941 h 81328"/>
                    <a:gd name="connsiteX19" fmla="*/ 28378 w 68915"/>
                    <a:gd name="connsiteY19" fmla="*/ 65090 h 81328"/>
                    <a:gd name="connsiteX20" fmla="*/ 53626 w 68915"/>
                    <a:gd name="connsiteY20" fmla="*/ 28260 h 81328"/>
                    <a:gd name="connsiteX21" fmla="*/ 55767 w 68915"/>
                    <a:gd name="connsiteY21" fmla="*/ 20223 h 81328"/>
                    <a:gd name="connsiteX22" fmla="*/ 54028 w 68915"/>
                    <a:gd name="connsiteY22" fmla="*/ 15104 h 81328"/>
                    <a:gd name="connsiteX23" fmla="*/ 51859 w 68915"/>
                    <a:gd name="connsiteY23" fmla="*/ 13608 h 81328"/>
                    <a:gd name="connsiteX24" fmla="*/ 49829 w 68915"/>
                    <a:gd name="connsiteY24" fmla="*/ 13087 h 8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915" h="81328">
                      <a:moveTo>
                        <a:pt x="22439" y="81328"/>
                      </a:moveTo>
                      <a:cubicBezTo>
                        <a:pt x="18475" y="81328"/>
                        <a:pt x="14476" y="80172"/>
                        <a:pt x="10967" y="77764"/>
                      </a:cubicBezTo>
                      <a:lnTo>
                        <a:pt x="8797" y="76269"/>
                      </a:lnTo>
                      <a:cubicBezTo>
                        <a:pt x="4338" y="73209"/>
                        <a:pt x="1336" y="68579"/>
                        <a:pt x="347" y="63232"/>
                      </a:cubicBezTo>
                      <a:cubicBezTo>
                        <a:pt x="-642" y="57888"/>
                        <a:pt x="500" y="52492"/>
                        <a:pt x="3563" y="48032"/>
                      </a:cubicBezTo>
                      <a:lnTo>
                        <a:pt x="29068" y="11071"/>
                      </a:lnTo>
                      <a:cubicBezTo>
                        <a:pt x="35344" y="1944"/>
                        <a:pt x="49928" y="-3669"/>
                        <a:pt x="59307" y="2774"/>
                      </a:cubicBezTo>
                      <a:lnTo>
                        <a:pt x="59312" y="2780"/>
                      </a:lnTo>
                      <a:lnTo>
                        <a:pt x="61482" y="4275"/>
                      </a:lnTo>
                      <a:cubicBezTo>
                        <a:pt x="66138" y="7475"/>
                        <a:pt x="68782" y="13052"/>
                        <a:pt x="68911" y="19971"/>
                      </a:cubicBezTo>
                      <a:cubicBezTo>
                        <a:pt x="69020" y="25609"/>
                        <a:pt x="67352" y="31484"/>
                        <a:pt x="64465" y="35692"/>
                      </a:cubicBezTo>
                      <a:lnTo>
                        <a:pt x="39217" y="72521"/>
                      </a:lnTo>
                      <a:cubicBezTo>
                        <a:pt x="35278" y="78249"/>
                        <a:pt x="28915" y="81328"/>
                        <a:pt x="22439" y="81328"/>
                      </a:cubicBezTo>
                      <a:close/>
                      <a:moveTo>
                        <a:pt x="49829" y="13087"/>
                      </a:moveTo>
                      <a:cubicBezTo>
                        <a:pt x="46712" y="13087"/>
                        <a:pt x="41981" y="15482"/>
                        <a:pt x="39891" y="18525"/>
                      </a:cubicBezTo>
                      <a:lnTo>
                        <a:pt x="14386" y="55486"/>
                      </a:lnTo>
                      <a:cubicBezTo>
                        <a:pt x="13315" y="57042"/>
                        <a:pt x="12917" y="58948"/>
                        <a:pt x="13268" y="60841"/>
                      </a:cubicBezTo>
                      <a:cubicBezTo>
                        <a:pt x="13613" y="62734"/>
                        <a:pt x="14673" y="64369"/>
                        <a:pt x="16237" y="65446"/>
                      </a:cubicBezTo>
                      <a:lnTo>
                        <a:pt x="18407" y="66941"/>
                      </a:lnTo>
                      <a:cubicBezTo>
                        <a:pt x="21672" y="69177"/>
                        <a:pt x="26145" y="68352"/>
                        <a:pt x="28378" y="65090"/>
                      </a:cubicBezTo>
                      <a:lnTo>
                        <a:pt x="53626" y="28260"/>
                      </a:lnTo>
                      <a:cubicBezTo>
                        <a:pt x="54987" y="26285"/>
                        <a:pt x="55825" y="23135"/>
                        <a:pt x="55767" y="20223"/>
                      </a:cubicBezTo>
                      <a:cubicBezTo>
                        <a:pt x="55724" y="17807"/>
                        <a:pt x="55042" y="15799"/>
                        <a:pt x="54028" y="15104"/>
                      </a:cubicBezTo>
                      <a:lnTo>
                        <a:pt x="51859" y="13608"/>
                      </a:lnTo>
                      <a:cubicBezTo>
                        <a:pt x="51344" y="13249"/>
                        <a:pt x="50640" y="13087"/>
                        <a:pt x="49829" y="13087"/>
                      </a:cubicBezTo>
                      <a:close/>
                    </a:path>
                  </a:pathLst>
                </a:custGeom>
                <a:grpFill/>
                <a:ln w="274" cap="flat">
                  <a:noFill/>
                  <a:prstDash val="solid"/>
                  <a:miter/>
                </a:ln>
              </p:spPr>
              <p:txBody>
                <a:bodyPr rtlCol="0" anchor="ctr"/>
                <a:lstStyle/>
                <a:p>
                  <a:endParaRPr lang="en-GB" dirty="0"/>
                </a:p>
              </p:txBody>
            </p:sp>
            <p:sp>
              <p:nvSpPr>
                <p:cNvPr id="453" name="Freihandform: Form 680">
                  <a:extLst>
                    <a:ext uri="{FF2B5EF4-FFF2-40B4-BE49-F238E27FC236}">
                      <a16:creationId xmlns:a16="http://schemas.microsoft.com/office/drawing/2014/main" id="{49307857-63D1-4183-AB2D-E5419C4D16B3}"/>
                    </a:ext>
                  </a:extLst>
                </p:cNvPr>
                <p:cNvSpPr/>
                <p:nvPr/>
              </p:nvSpPr>
              <p:spPr>
                <a:xfrm>
                  <a:off x="7801089" y="1943398"/>
                  <a:ext cx="51228" cy="104291"/>
                </a:xfrm>
                <a:custGeom>
                  <a:avLst/>
                  <a:gdLst>
                    <a:gd name="connsiteX0" fmla="*/ 25044 w 51228"/>
                    <a:gd name="connsiteY0" fmla="*/ 104292 h 104291"/>
                    <a:gd name="connsiteX1" fmla="*/ 2037 w 51228"/>
                    <a:gd name="connsiteY1" fmla="*/ 82104 h 104291"/>
                    <a:gd name="connsiteX2" fmla="*/ 16 w 51228"/>
                    <a:gd name="connsiteY2" fmla="*/ 26738 h 104291"/>
                    <a:gd name="connsiteX3" fmla="*/ 5694 w 51228"/>
                    <a:gd name="connsiteY3" fmla="*/ 9368 h 104291"/>
                    <a:gd name="connsiteX4" fmla="*/ 22100 w 51228"/>
                    <a:gd name="connsiteY4" fmla="*/ 123 h 104291"/>
                    <a:gd name="connsiteX5" fmla="*/ 25244 w 51228"/>
                    <a:gd name="connsiteY5" fmla="*/ 8 h 104291"/>
                    <a:gd name="connsiteX6" fmla="*/ 42504 w 51228"/>
                    <a:gd name="connsiteY6" fmla="*/ 8705 h 104291"/>
                    <a:gd name="connsiteX7" fmla="*/ 49421 w 51228"/>
                    <a:gd name="connsiteY7" fmla="*/ 26012 h 104291"/>
                    <a:gd name="connsiteX8" fmla="*/ 51212 w 51228"/>
                    <a:gd name="connsiteY8" fmla="*/ 80334 h 104291"/>
                    <a:gd name="connsiteX9" fmla="*/ 45052 w 51228"/>
                    <a:gd name="connsiteY9" fmla="*/ 96813 h 104291"/>
                    <a:gd name="connsiteX10" fmla="*/ 29038 w 51228"/>
                    <a:gd name="connsiteY10" fmla="*/ 104160 h 104291"/>
                    <a:gd name="connsiteX11" fmla="*/ 25894 w 51228"/>
                    <a:gd name="connsiteY11" fmla="*/ 104275 h 104291"/>
                    <a:gd name="connsiteX12" fmla="*/ 25044 w 51228"/>
                    <a:gd name="connsiteY12" fmla="*/ 104292 h 104291"/>
                    <a:gd name="connsiteX13" fmla="*/ 25880 w 51228"/>
                    <a:gd name="connsiteY13" fmla="*/ 13143 h 104291"/>
                    <a:gd name="connsiteX14" fmla="*/ 25726 w 51228"/>
                    <a:gd name="connsiteY14" fmla="*/ 13145 h 104291"/>
                    <a:gd name="connsiteX15" fmla="*/ 22576 w 51228"/>
                    <a:gd name="connsiteY15" fmla="*/ 13260 h 104291"/>
                    <a:gd name="connsiteX16" fmla="*/ 16191 w 51228"/>
                    <a:gd name="connsiteY16" fmla="*/ 17284 h 104291"/>
                    <a:gd name="connsiteX17" fmla="*/ 13142 w 51228"/>
                    <a:gd name="connsiteY17" fmla="*/ 26264 h 104291"/>
                    <a:gd name="connsiteX18" fmla="*/ 15164 w 51228"/>
                    <a:gd name="connsiteY18" fmla="*/ 81624 h 104291"/>
                    <a:gd name="connsiteX19" fmla="*/ 25411 w 51228"/>
                    <a:gd name="connsiteY19" fmla="*/ 91146 h 104291"/>
                    <a:gd name="connsiteX20" fmla="*/ 28556 w 51228"/>
                    <a:gd name="connsiteY20" fmla="*/ 91031 h 104291"/>
                    <a:gd name="connsiteX21" fmla="*/ 35429 w 51228"/>
                    <a:gd name="connsiteY21" fmla="*/ 87870 h 104291"/>
                    <a:gd name="connsiteX22" fmla="*/ 38086 w 51228"/>
                    <a:gd name="connsiteY22" fmla="*/ 80791 h 104291"/>
                    <a:gd name="connsiteX23" fmla="*/ 36297 w 51228"/>
                    <a:gd name="connsiteY23" fmla="*/ 26466 h 104291"/>
                    <a:gd name="connsiteX24" fmla="*/ 32383 w 51228"/>
                    <a:gd name="connsiteY24" fmla="*/ 17087 h 104291"/>
                    <a:gd name="connsiteX25" fmla="*/ 25880 w 51228"/>
                    <a:gd name="connsiteY25" fmla="*/ 13143 h 104291"/>
                    <a:gd name="connsiteX26" fmla="*/ 22338 w 51228"/>
                    <a:gd name="connsiteY26" fmla="*/ 6694 h 104291"/>
                    <a:gd name="connsiteX27" fmla="*/ 22401 w 51228"/>
                    <a:gd name="connsiteY27" fmla="*/ 6694 h 104291"/>
                    <a:gd name="connsiteX28" fmla="*/ 22338 w 51228"/>
                    <a:gd name="connsiteY28" fmla="*/ 6694 h 10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228" h="104291">
                      <a:moveTo>
                        <a:pt x="25044" y="104292"/>
                      </a:moveTo>
                      <a:cubicBezTo>
                        <a:pt x="12731" y="104292"/>
                        <a:pt x="2492" y="94507"/>
                        <a:pt x="2037" y="82104"/>
                      </a:cubicBezTo>
                      <a:lnTo>
                        <a:pt x="16" y="26738"/>
                      </a:lnTo>
                      <a:cubicBezTo>
                        <a:pt x="-203" y="20777"/>
                        <a:pt x="1870" y="14447"/>
                        <a:pt x="5694" y="9368"/>
                      </a:cubicBezTo>
                      <a:cubicBezTo>
                        <a:pt x="9962" y="3714"/>
                        <a:pt x="15933" y="348"/>
                        <a:pt x="22100" y="123"/>
                      </a:cubicBezTo>
                      <a:lnTo>
                        <a:pt x="25244" y="8"/>
                      </a:lnTo>
                      <a:cubicBezTo>
                        <a:pt x="31539" y="-178"/>
                        <a:pt x="37735" y="2953"/>
                        <a:pt x="42504" y="8705"/>
                      </a:cubicBezTo>
                      <a:cubicBezTo>
                        <a:pt x="46624" y="13685"/>
                        <a:pt x="49210" y="20152"/>
                        <a:pt x="49421" y="26012"/>
                      </a:cubicBezTo>
                      <a:lnTo>
                        <a:pt x="51212" y="80334"/>
                      </a:lnTo>
                      <a:cubicBezTo>
                        <a:pt x="51443" y="86437"/>
                        <a:pt x="49257" y="92299"/>
                        <a:pt x="45052" y="96813"/>
                      </a:cubicBezTo>
                      <a:cubicBezTo>
                        <a:pt x="40855" y="101330"/>
                        <a:pt x="35166" y="103938"/>
                        <a:pt x="29038" y="104160"/>
                      </a:cubicBezTo>
                      <a:lnTo>
                        <a:pt x="25894" y="104275"/>
                      </a:lnTo>
                      <a:cubicBezTo>
                        <a:pt x="25609" y="104289"/>
                        <a:pt x="25326" y="104292"/>
                        <a:pt x="25044" y="104292"/>
                      </a:cubicBezTo>
                      <a:close/>
                      <a:moveTo>
                        <a:pt x="25880" y="13143"/>
                      </a:moveTo>
                      <a:cubicBezTo>
                        <a:pt x="25828" y="13143"/>
                        <a:pt x="25778" y="13143"/>
                        <a:pt x="25726" y="13145"/>
                      </a:cubicBezTo>
                      <a:lnTo>
                        <a:pt x="22576" y="13260"/>
                      </a:lnTo>
                      <a:cubicBezTo>
                        <a:pt x="20388" y="13337"/>
                        <a:pt x="18059" y="14808"/>
                        <a:pt x="16191" y="17284"/>
                      </a:cubicBezTo>
                      <a:cubicBezTo>
                        <a:pt x="14208" y="19914"/>
                        <a:pt x="13041" y="23357"/>
                        <a:pt x="13142" y="26264"/>
                      </a:cubicBezTo>
                      <a:lnTo>
                        <a:pt x="15164" y="81624"/>
                      </a:lnTo>
                      <a:cubicBezTo>
                        <a:pt x="15369" y="87067"/>
                        <a:pt x="19700" y="91538"/>
                        <a:pt x="25411" y="91146"/>
                      </a:cubicBezTo>
                      <a:lnTo>
                        <a:pt x="28556" y="91031"/>
                      </a:lnTo>
                      <a:cubicBezTo>
                        <a:pt x="31186" y="90938"/>
                        <a:pt x="33624" y="89815"/>
                        <a:pt x="35429" y="87870"/>
                      </a:cubicBezTo>
                      <a:cubicBezTo>
                        <a:pt x="37240" y="85925"/>
                        <a:pt x="38182" y="83413"/>
                        <a:pt x="38086" y="80791"/>
                      </a:cubicBezTo>
                      <a:lnTo>
                        <a:pt x="36297" y="26466"/>
                      </a:lnTo>
                      <a:cubicBezTo>
                        <a:pt x="36188" y="23470"/>
                        <a:pt x="34686" y="19868"/>
                        <a:pt x="32383" y="17087"/>
                      </a:cubicBezTo>
                      <a:cubicBezTo>
                        <a:pt x="30326" y="14605"/>
                        <a:pt x="27907" y="13143"/>
                        <a:pt x="25880" y="13143"/>
                      </a:cubicBezTo>
                      <a:close/>
                      <a:moveTo>
                        <a:pt x="22338" y="6694"/>
                      </a:moveTo>
                      <a:lnTo>
                        <a:pt x="22401" y="6694"/>
                      </a:lnTo>
                      <a:lnTo>
                        <a:pt x="22338" y="6694"/>
                      </a:lnTo>
                      <a:close/>
                    </a:path>
                  </a:pathLst>
                </a:custGeom>
                <a:grpFill/>
                <a:ln w="274" cap="flat">
                  <a:noFill/>
                  <a:prstDash val="solid"/>
                  <a:miter/>
                </a:ln>
              </p:spPr>
              <p:txBody>
                <a:bodyPr rtlCol="0" anchor="ctr"/>
                <a:lstStyle/>
                <a:p>
                  <a:endParaRPr lang="en-GB" dirty="0"/>
                </a:p>
              </p:txBody>
            </p:sp>
            <p:sp>
              <p:nvSpPr>
                <p:cNvPr id="454" name="Freihandform: Form 681">
                  <a:extLst>
                    <a:ext uri="{FF2B5EF4-FFF2-40B4-BE49-F238E27FC236}">
                      <a16:creationId xmlns:a16="http://schemas.microsoft.com/office/drawing/2014/main" id="{D6E0C50F-FD4B-4E2B-B00C-C99C1EAA4C0A}"/>
                    </a:ext>
                  </a:extLst>
                </p:cNvPr>
                <p:cNvSpPr/>
                <p:nvPr/>
              </p:nvSpPr>
              <p:spPr>
                <a:xfrm>
                  <a:off x="7840071" y="1958754"/>
                  <a:ext cx="54884" cy="95490"/>
                </a:xfrm>
                <a:custGeom>
                  <a:avLst/>
                  <a:gdLst>
                    <a:gd name="connsiteX0" fmla="*/ 24366 w 54884"/>
                    <a:gd name="connsiteY0" fmla="*/ 95491 h 95490"/>
                    <a:gd name="connsiteX1" fmla="*/ 20303 w 54884"/>
                    <a:gd name="connsiteY1" fmla="*/ 95102 h 95490"/>
                    <a:gd name="connsiteX2" fmla="*/ 17479 w 54884"/>
                    <a:gd name="connsiteY2" fmla="*/ 94559 h 95490"/>
                    <a:gd name="connsiteX3" fmla="*/ 3731 w 54884"/>
                    <a:gd name="connsiteY3" fmla="*/ 85487 h 95490"/>
                    <a:gd name="connsiteX4" fmla="*/ 389 w 54884"/>
                    <a:gd name="connsiteY4" fmla="*/ 69350 h 95490"/>
                    <a:gd name="connsiteX5" fmla="*/ 9390 w 54884"/>
                    <a:gd name="connsiteY5" fmla="*/ 21005 h 95490"/>
                    <a:gd name="connsiteX6" fmla="*/ 18257 w 54884"/>
                    <a:gd name="connsiteY6" fmla="*/ 5963 h 95490"/>
                    <a:gd name="connsiteX7" fmla="*/ 35561 w 54884"/>
                    <a:gd name="connsiteY7" fmla="*/ 296 h 95490"/>
                    <a:gd name="connsiteX8" fmla="*/ 38371 w 54884"/>
                    <a:gd name="connsiteY8" fmla="*/ 833 h 95490"/>
                    <a:gd name="connsiteX9" fmla="*/ 52103 w 54884"/>
                    <a:gd name="connsiteY9" fmla="*/ 12272 h 95490"/>
                    <a:gd name="connsiteX10" fmla="*/ 54451 w 54884"/>
                    <a:gd name="connsiteY10" fmla="*/ 29102 h 95490"/>
                    <a:gd name="connsiteX11" fmla="*/ 45526 w 54884"/>
                    <a:gd name="connsiteY11" fmla="*/ 77951 h 95490"/>
                    <a:gd name="connsiteX12" fmla="*/ 24366 w 54884"/>
                    <a:gd name="connsiteY12" fmla="*/ 95491 h 95490"/>
                    <a:gd name="connsiteX13" fmla="*/ 32457 w 54884"/>
                    <a:gd name="connsiteY13" fmla="*/ 13140 h 95490"/>
                    <a:gd name="connsiteX14" fmla="*/ 27009 w 54884"/>
                    <a:gd name="connsiteY14" fmla="*/ 15764 h 95490"/>
                    <a:gd name="connsiteX15" fmla="*/ 22305 w 54884"/>
                    <a:gd name="connsiteY15" fmla="*/ 23445 h 95490"/>
                    <a:gd name="connsiteX16" fmla="*/ 13304 w 54884"/>
                    <a:gd name="connsiteY16" fmla="*/ 71793 h 95490"/>
                    <a:gd name="connsiteX17" fmla="*/ 14605 w 54884"/>
                    <a:gd name="connsiteY17" fmla="*/ 78113 h 95490"/>
                    <a:gd name="connsiteX18" fmla="*/ 19963 w 54884"/>
                    <a:gd name="connsiteY18" fmla="*/ 81657 h 95490"/>
                    <a:gd name="connsiteX19" fmla="*/ 22788 w 54884"/>
                    <a:gd name="connsiteY19" fmla="*/ 82200 h 95490"/>
                    <a:gd name="connsiteX20" fmla="*/ 32611 w 54884"/>
                    <a:gd name="connsiteY20" fmla="*/ 75530 h 95490"/>
                    <a:gd name="connsiteX21" fmla="*/ 41535 w 54884"/>
                    <a:gd name="connsiteY21" fmla="*/ 26680 h 95490"/>
                    <a:gd name="connsiteX22" fmla="*/ 40264 w 54884"/>
                    <a:gd name="connsiteY22" fmla="*/ 17969 h 95490"/>
                    <a:gd name="connsiteX23" fmla="*/ 35900 w 54884"/>
                    <a:gd name="connsiteY23" fmla="*/ 13735 h 95490"/>
                    <a:gd name="connsiteX24" fmla="*/ 33084 w 54884"/>
                    <a:gd name="connsiteY24" fmla="*/ 13195 h 95490"/>
                    <a:gd name="connsiteX25" fmla="*/ 32457 w 54884"/>
                    <a:gd name="connsiteY25" fmla="*/ 13140 h 9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4884" h="95490">
                      <a:moveTo>
                        <a:pt x="24366" y="95491"/>
                      </a:moveTo>
                      <a:cubicBezTo>
                        <a:pt x="23023" y="95491"/>
                        <a:pt x="21670" y="95365"/>
                        <a:pt x="20303" y="95102"/>
                      </a:cubicBezTo>
                      <a:lnTo>
                        <a:pt x="17479" y="94559"/>
                      </a:lnTo>
                      <a:cubicBezTo>
                        <a:pt x="11852" y="93483"/>
                        <a:pt x="6963" y="90259"/>
                        <a:pt x="3731" y="85487"/>
                      </a:cubicBezTo>
                      <a:cubicBezTo>
                        <a:pt x="495" y="80712"/>
                        <a:pt x="-691" y="74985"/>
                        <a:pt x="389" y="69350"/>
                      </a:cubicBezTo>
                      <a:lnTo>
                        <a:pt x="9390" y="21005"/>
                      </a:lnTo>
                      <a:cubicBezTo>
                        <a:pt x="10423" y="15614"/>
                        <a:pt x="13734" y="10001"/>
                        <a:pt x="18257" y="5963"/>
                      </a:cubicBezTo>
                      <a:cubicBezTo>
                        <a:pt x="23519" y="1263"/>
                        <a:pt x="29819" y="-822"/>
                        <a:pt x="35561" y="296"/>
                      </a:cubicBezTo>
                      <a:lnTo>
                        <a:pt x="38371" y="833"/>
                      </a:lnTo>
                      <a:cubicBezTo>
                        <a:pt x="44217" y="1953"/>
                        <a:pt x="49093" y="6018"/>
                        <a:pt x="52103" y="12272"/>
                      </a:cubicBezTo>
                      <a:cubicBezTo>
                        <a:pt x="54637" y="17534"/>
                        <a:pt x="55492" y="23667"/>
                        <a:pt x="54451" y="29102"/>
                      </a:cubicBezTo>
                      <a:lnTo>
                        <a:pt x="45526" y="77951"/>
                      </a:lnTo>
                      <a:cubicBezTo>
                        <a:pt x="43546" y="88297"/>
                        <a:pt x="34493" y="95491"/>
                        <a:pt x="24366" y="95491"/>
                      </a:cubicBezTo>
                      <a:close/>
                      <a:moveTo>
                        <a:pt x="32457" y="13140"/>
                      </a:moveTo>
                      <a:cubicBezTo>
                        <a:pt x="30893" y="13140"/>
                        <a:pt x="28877" y="14102"/>
                        <a:pt x="27009" y="15764"/>
                      </a:cubicBezTo>
                      <a:cubicBezTo>
                        <a:pt x="24642" y="17885"/>
                        <a:pt x="22793" y="20898"/>
                        <a:pt x="22305" y="23445"/>
                      </a:cubicBezTo>
                      <a:lnTo>
                        <a:pt x="13304" y="71793"/>
                      </a:lnTo>
                      <a:cubicBezTo>
                        <a:pt x="12874" y="74018"/>
                        <a:pt x="13343" y="76247"/>
                        <a:pt x="14605" y="78113"/>
                      </a:cubicBezTo>
                      <a:cubicBezTo>
                        <a:pt x="15868" y="79978"/>
                        <a:pt x="17775" y="81238"/>
                        <a:pt x="19963" y="81657"/>
                      </a:cubicBezTo>
                      <a:lnTo>
                        <a:pt x="22788" y="82200"/>
                      </a:lnTo>
                      <a:cubicBezTo>
                        <a:pt x="27299" y="83095"/>
                        <a:pt x="31737" y="80077"/>
                        <a:pt x="32611" y="75530"/>
                      </a:cubicBezTo>
                      <a:lnTo>
                        <a:pt x="41535" y="26680"/>
                      </a:lnTo>
                      <a:cubicBezTo>
                        <a:pt x="42047" y="23979"/>
                        <a:pt x="41560" y="20665"/>
                        <a:pt x="40264" y="17969"/>
                      </a:cubicBezTo>
                      <a:cubicBezTo>
                        <a:pt x="39724" y="16844"/>
                        <a:pt x="38210" y="14178"/>
                        <a:pt x="35900" y="13735"/>
                      </a:cubicBezTo>
                      <a:lnTo>
                        <a:pt x="33084" y="13195"/>
                      </a:lnTo>
                      <a:cubicBezTo>
                        <a:pt x="32887" y="13159"/>
                        <a:pt x="32676" y="13140"/>
                        <a:pt x="32457" y="13140"/>
                      </a:cubicBezTo>
                      <a:close/>
                    </a:path>
                  </a:pathLst>
                </a:custGeom>
                <a:grpFill/>
                <a:ln w="274" cap="flat">
                  <a:noFill/>
                  <a:prstDash val="solid"/>
                  <a:miter/>
                </a:ln>
              </p:spPr>
              <p:txBody>
                <a:bodyPr rtlCol="0" anchor="ctr"/>
                <a:lstStyle/>
                <a:p>
                  <a:endParaRPr lang="en-GB" dirty="0"/>
                </a:p>
              </p:txBody>
            </p:sp>
            <p:sp>
              <p:nvSpPr>
                <p:cNvPr id="455" name="Freihandform: Form 682">
                  <a:extLst>
                    <a:ext uri="{FF2B5EF4-FFF2-40B4-BE49-F238E27FC236}">
                      <a16:creationId xmlns:a16="http://schemas.microsoft.com/office/drawing/2014/main" id="{CDC39023-D133-49AA-8457-0FA9C5C66ED6}"/>
                    </a:ext>
                  </a:extLst>
                </p:cNvPr>
                <p:cNvSpPr/>
                <p:nvPr/>
              </p:nvSpPr>
              <p:spPr>
                <a:xfrm>
                  <a:off x="7872745" y="1971322"/>
                  <a:ext cx="64060" cy="93222"/>
                </a:xfrm>
                <a:custGeom>
                  <a:avLst/>
                  <a:gdLst>
                    <a:gd name="connsiteX0" fmla="*/ 24190 w 64060"/>
                    <a:gd name="connsiteY0" fmla="*/ 93222 h 93222"/>
                    <a:gd name="connsiteX1" fmla="*/ 16562 w 64060"/>
                    <a:gd name="connsiteY1" fmla="*/ 91814 h 93222"/>
                    <a:gd name="connsiteX2" fmla="*/ 13874 w 64060"/>
                    <a:gd name="connsiteY2" fmla="*/ 90787 h 93222"/>
                    <a:gd name="connsiteX3" fmla="*/ 1408 w 64060"/>
                    <a:gd name="connsiteY3" fmla="*/ 63003 h 93222"/>
                    <a:gd name="connsiteX4" fmla="*/ 19084 w 64060"/>
                    <a:gd name="connsiteY4" fmla="*/ 16838 h 93222"/>
                    <a:gd name="connsiteX5" fmla="*/ 30151 w 64060"/>
                    <a:gd name="connsiteY5" fmla="*/ 3665 h 93222"/>
                    <a:gd name="connsiteX6" fmla="*/ 48014 w 64060"/>
                    <a:gd name="connsiteY6" fmla="*/ 1079 h 93222"/>
                    <a:gd name="connsiteX7" fmla="*/ 50701 w 64060"/>
                    <a:gd name="connsiteY7" fmla="*/ 2106 h 93222"/>
                    <a:gd name="connsiteX8" fmla="*/ 61935 w 64060"/>
                    <a:gd name="connsiteY8" fmla="*/ 13030 h 93222"/>
                    <a:gd name="connsiteX9" fmla="*/ 62556 w 64060"/>
                    <a:gd name="connsiteY9" fmla="*/ 31235 h 93222"/>
                    <a:gd name="connsiteX10" fmla="*/ 44360 w 64060"/>
                    <a:gd name="connsiteY10" fmla="*/ 79331 h 93222"/>
                    <a:gd name="connsiteX11" fmla="*/ 24190 w 64060"/>
                    <a:gd name="connsiteY11" fmla="*/ 93222 h 93222"/>
                    <a:gd name="connsiteX12" fmla="*/ 41952 w 64060"/>
                    <a:gd name="connsiteY12" fmla="*/ 13129 h 93222"/>
                    <a:gd name="connsiteX13" fmla="*/ 37172 w 64060"/>
                    <a:gd name="connsiteY13" fmla="*/ 14775 h 93222"/>
                    <a:gd name="connsiteX14" fmla="*/ 31359 w 64060"/>
                    <a:gd name="connsiteY14" fmla="*/ 21525 h 93222"/>
                    <a:gd name="connsiteX15" fmla="*/ 13682 w 64060"/>
                    <a:gd name="connsiteY15" fmla="*/ 67689 h 93222"/>
                    <a:gd name="connsiteX16" fmla="*/ 18553 w 64060"/>
                    <a:gd name="connsiteY16" fmla="*/ 78512 h 93222"/>
                    <a:gd name="connsiteX17" fmla="*/ 21240 w 64060"/>
                    <a:gd name="connsiteY17" fmla="*/ 79539 h 93222"/>
                    <a:gd name="connsiteX18" fmla="*/ 32077 w 64060"/>
                    <a:gd name="connsiteY18" fmla="*/ 74669 h 93222"/>
                    <a:gd name="connsiteX19" fmla="*/ 50274 w 64060"/>
                    <a:gd name="connsiteY19" fmla="*/ 26573 h 93222"/>
                    <a:gd name="connsiteX20" fmla="*/ 49948 w 64060"/>
                    <a:gd name="connsiteY20" fmla="*/ 18413 h 93222"/>
                    <a:gd name="connsiteX21" fmla="*/ 46028 w 64060"/>
                    <a:gd name="connsiteY21" fmla="*/ 14386 h 93222"/>
                    <a:gd name="connsiteX22" fmla="*/ 43341 w 64060"/>
                    <a:gd name="connsiteY22" fmla="*/ 13362 h 93222"/>
                    <a:gd name="connsiteX23" fmla="*/ 41952 w 64060"/>
                    <a:gd name="connsiteY23" fmla="*/ 13129 h 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60" h="93222">
                      <a:moveTo>
                        <a:pt x="24190" y="93222"/>
                      </a:moveTo>
                      <a:cubicBezTo>
                        <a:pt x="21648" y="93222"/>
                        <a:pt x="19071" y="92770"/>
                        <a:pt x="16562" y="91814"/>
                      </a:cubicBezTo>
                      <a:lnTo>
                        <a:pt x="13874" y="90787"/>
                      </a:lnTo>
                      <a:cubicBezTo>
                        <a:pt x="2780" y="86568"/>
                        <a:pt x="-2813" y="74102"/>
                        <a:pt x="1408" y="63003"/>
                      </a:cubicBezTo>
                      <a:lnTo>
                        <a:pt x="19084" y="16838"/>
                      </a:lnTo>
                      <a:cubicBezTo>
                        <a:pt x="21040" y="11680"/>
                        <a:pt x="25078" y="6872"/>
                        <a:pt x="30151" y="3665"/>
                      </a:cubicBezTo>
                      <a:cubicBezTo>
                        <a:pt x="36035" y="-55"/>
                        <a:pt x="42554" y="-992"/>
                        <a:pt x="48014" y="1079"/>
                      </a:cubicBezTo>
                      <a:lnTo>
                        <a:pt x="50701" y="2106"/>
                      </a:lnTo>
                      <a:cubicBezTo>
                        <a:pt x="55623" y="3974"/>
                        <a:pt x="59615" y="7856"/>
                        <a:pt x="61935" y="13030"/>
                      </a:cubicBezTo>
                      <a:cubicBezTo>
                        <a:pt x="64534" y="18821"/>
                        <a:pt x="64759" y="25458"/>
                        <a:pt x="62556" y="31235"/>
                      </a:cubicBezTo>
                      <a:lnTo>
                        <a:pt x="44360" y="79331"/>
                      </a:lnTo>
                      <a:cubicBezTo>
                        <a:pt x="41083" y="87927"/>
                        <a:pt x="32877" y="93222"/>
                        <a:pt x="24190" y="93222"/>
                      </a:cubicBezTo>
                      <a:close/>
                      <a:moveTo>
                        <a:pt x="41952" y="13129"/>
                      </a:moveTo>
                      <a:cubicBezTo>
                        <a:pt x="40566" y="13129"/>
                        <a:pt x="38873" y="13699"/>
                        <a:pt x="37172" y="14775"/>
                      </a:cubicBezTo>
                      <a:cubicBezTo>
                        <a:pt x="34534" y="16443"/>
                        <a:pt x="32309" y="19029"/>
                        <a:pt x="31359" y="21525"/>
                      </a:cubicBezTo>
                      <a:lnTo>
                        <a:pt x="13682" y="67689"/>
                      </a:lnTo>
                      <a:cubicBezTo>
                        <a:pt x="12047" y="72004"/>
                        <a:pt x="14222" y="76869"/>
                        <a:pt x="18553" y="78512"/>
                      </a:cubicBezTo>
                      <a:lnTo>
                        <a:pt x="21240" y="79539"/>
                      </a:lnTo>
                      <a:cubicBezTo>
                        <a:pt x="25565" y="81183"/>
                        <a:pt x="30428" y="78994"/>
                        <a:pt x="32077" y="74669"/>
                      </a:cubicBezTo>
                      <a:lnTo>
                        <a:pt x="50274" y="26573"/>
                      </a:lnTo>
                      <a:cubicBezTo>
                        <a:pt x="51224" y="24086"/>
                        <a:pt x="51095" y="20966"/>
                        <a:pt x="49948" y="18413"/>
                      </a:cubicBezTo>
                      <a:cubicBezTo>
                        <a:pt x="49441" y="17271"/>
                        <a:pt x="48247" y="15230"/>
                        <a:pt x="46028" y="14386"/>
                      </a:cubicBezTo>
                      <a:lnTo>
                        <a:pt x="43341" y="13362"/>
                      </a:lnTo>
                      <a:cubicBezTo>
                        <a:pt x="42927" y="13205"/>
                        <a:pt x="42458" y="13129"/>
                        <a:pt x="41952" y="13129"/>
                      </a:cubicBezTo>
                      <a:close/>
                    </a:path>
                  </a:pathLst>
                </a:custGeom>
                <a:grpFill/>
                <a:ln w="274" cap="flat">
                  <a:noFill/>
                  <a:prstDash val="solid"/>
                  <a:miter/>
                </a:ln>
              </p:spPr>
              <p:txBody>
                <a:bodyPr rtlCol="0" anchor="ctr"/>
                <a:lstStyle/>
                <a:p>
                  <a:endParaRPr lang="en-GB" dirty="0"/>
                </a:p>
              </p:txBody>
            </p:sp>
            <p:sp>
              <p:nvSpPr>
                <p:cNvPr id="456" name="Freihandform: Form 683">
                  <a:extLst>
                    <a:ext uri="{FF2B5EF4-FFF2-40B4-BE49-F238E27FC236}">
                      <a16:creationId xmlns:a16="http://schemas.microsoft.com/office/drawing/2014/main" id="{848AB59F-483B-403A-84E0-16EBED62C794}"/>
                    </a:ext>
                  </a:extLst>
                </p:cNvPr>
                <p:cNvSpPr/>
                <p:nvPr/>
              </p:nvSpPr>
              <p:spPr>
                <a:xfrm>
                  <a:off x="7750123" y="1884291"/>
                  <a:ext cx="112846" cy="117282"/>
                </a:xfrm>
                <a:custGeom>
                  <a:avLst/>
                  <a:gdLst>
                    <a:gd name="connsiteX0" fmla="*/ 27254 w 112846"/>
                    <a:gd name="connsiteY0" fmla="*/ 117282 h 117282"/>
                    <a:gd name="connsiteX1" fmla="*/ 10605 w 112846"/>
                    <a:gd name="connsiteY1" fmla="*/ 109185 h 117282"/>
                    <a:gd name="connsiteX2" fmla="*/ 4472 w 112846"/>
                    <a:gd name="connsiteY2" fmla="*/ 66359 h 117282"/>
                    <a:gd name="connsiteX3" fmla="*/ 5170 w 112846"/>
                    <a:gd name="connsiteY3" fmla="*/ 65099 h 117282"/>
                    <a:gd name="connsiteX4" fmla="*/ 18426 w 112846"/>
                    <a:gd name="connsiteY4" fmla="*/ 48412 h 117282"/>
                    <a:gd name="connsiteX5" fmla="*/ 35481 w 112846"/>
                    <a:gd name="connsiteY5" fmla="*/ 29048 h 117282"/>
                    <a:gd name="connsiteX6" fmla="*/ 107419 w 112846"/>
                    <a:gd name="connsiteY6" fmla="*/ 1170 h 117282"/>
                    <a:gd name="connsiteX7" fmla="*/ 112744 w 112846"/>
                    <a:gd name="connsiteY7" fmla="*/ 8783 h 117282"/>
                    <a:gd name="connsiteX8" fmla="*/ 105134 w 112846"/>
                    <a:gd name="connsiteY8" fmla="*/ 14111 h 117282"/>
                    <a:gd name="connsiteX9" fmla="*/ 45388 w 112846"/>
                    <a:gd name="connsiteY9" fmla="*/ 37685 h 117282"/>
                    <a:gd name="connsiteX10" fmla="*/ 28224 w 112846"/>
                    <a:gd name="connsiteY10" fmla="*/ 57167 h 117282"/>
                    <a:gd name="connsiteX11" fmla="*/ 16695 w 112846"/>
                    <a:gd name="connsiteY11" fmla="*/ 71416 h 117282"/>
                    <a:gd name="connsiteX12" fmla="*/ 15906 w 112846"/>
                    <a:gd name="connsiteY12" fmla="*/ 72830 h 117282"/>
                    <a:gd name="connsiteX13" fmla="*/ 20012 w 112846"/>
                    <a:gd name="connsiteY13" fmla="*/ 100009 h 117282"/>
                    <a:gd name="connsiteX14" fmla="*/ 28397 w 112846"/>
                    <a:gd name="connsiteY14" fmla="*/ 103871 h 117282"/>
                    <a:gd name="connsiteX15" fmla="*/ 36269 w 112846"/>
                    <a:gd name="connsiteY15" fmla="*/ 96897 h 117282"/>
                    <a:gd name="connsiteX16" fmla="*/ 31895 w 112846"/>
                    <a:gd name="connsiteY16" fmla="*/ 73323 h 117282"/>
                    <a:gd name="connsiteX17" fmla="*/ 32369 w 112846"/>
                    <a:gd name="connsiteY17" fmla="*/ 64042 h 117282"/>
                    <a:gd name="connsiteX18" fmla="*/ 41647 w 112846"/>
                    <a:gd name="connsiteY18" fmla="*/ 64513 h 117282"/>
                    <a:gd name="connsiteX19" fmla="*/ 46498 w 112846"/>
                    <a:gd name="connsiteY19" fmla="*/ 105136 h 117282"/>
                    <a:gd name="connsiteX20" fmla="*/ 34576 w 112846"/>
                    <a:gd name="connsiteY20" fmla="*/ 115466 h 117282"/>
                    <a:gd name="connsiteX21" fmla="*/ 27254 w 112846"/>
                    <a:gd name="connsiteY21" fmla="*/ 117282 h 11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846" h="117282">
                      <a:moveTo>
                        <a:pt x="27254" y="117282"/>
                      </a:moveTo>
                      <a:cubicBezTo>
                        <a:pt x="21705" y="117282"/>
                        <a:pt x="15769" y="114483"/>
                        <a:pt x="10605" y="109185"/>
                      </a:cubicBezTo>
                      <a:cubicBezTo>
                        <a:pt x="1346" y="99694"/>
                        <a:pt x="-4518" y="82244"/>
                        <a:pt x="4472" y="66359"/>
                      </a:cubicBezTo>
                      <a:lnTo>
                        <a:pt x="5170" y="65099"/>
                      </a:lnTo>
                      <a:cubicBezTo>
                        <a:pt x="7269" y="61275"/>
                        <a:pt x="8238" y="59802"/>
                        <a:pt x="18426" y="48412"/>
                      </a:cubicBezTo>
                      <a:cubicBezTo>
                        <a:pt x="22570" y="43766"/>
                        <a:pt x="28068" y="37545"/>
                        <a:pt x="35481" y="29048"/>
                      </a:cubicBezTo>
                      <a:cubicBezTo>
                        <a:pt x="60838" y="-5"/>
                        <a:pt x="88586" y="-2150"/>
                        <a:pt x="107419" y="1170"/>
                      </a:cubicBezTo>
                      <a:cubicBezTo>
                        <a:pt x="110994" y="1803"/>
                        <a:pt x="113380" y="5208"/>
                        <a:pt x="112744" y="8783"/>
                      </a:cubicBezTo>
                      <a:cubicBezTo>
                        <a:pt x="112114" y="12352"/>
                        <a:pt x="108709" y="14724"/>
                        <a:pt x="105134" y="14111"/>
                      </a:cubicBezTo>
                      <a:cubicBezTo>
                        <a:pt x="82577" y="10133"/>
                        <a:pt x="62492" y="18069"/>
                        <a:pt x="45388" y="37685"/>
                      </a:cubicBezTo>
                      <a:cubicBezTo>
                        <a:pt x="37927" y="46234"/>
                        <a:pt x="32402" y="52493"/>
                        <a:pt x="28224" y="57167"/>
                      </a:cubicBezTo>
                      <a:cubicBezTo>
                        <a:pt x="18612" y="67910"/>
                        <a:pt x="18133" y="68795"/>
                        <a:pt x="16695" y="71416"/>
                      </a:cubicBezTo>
                      <a:lnTo>
                        <a:pt x="15906" y="72830"/>
                      </a:lnTo>
                      <a:cubicBezTo>
                        <a:pt x="10254" y="82817"/>
                        <a:pt x="14078" y="93919"/>
                        <a:pt x="20012" y="100009"/>
                      </a:cubicBezTo>
                      <a:cubicBezTo>
                        <a:pt x="23477" y="103567"/>
                        <a:pt x="26934" y="104674"/>
                        <a:pt x="28397" y="103871"/>
                      </a:cubicBezTo>
                      <a:cubicBezTo>
                        <a:pt x="30931" y="102523"/>
                        <a:pt x="34568" y="98880"/>
                        <a:pt x="36269" y="96897"/>
                      </a:cubicBezTo>
                      <a:cubicBezTo>
                        <a:pt x="43884" y="86819"/>
                        <a:pt x="32015" y="73454"/>
                        <a:pt x="31895" y="73323"/>
                      </a:cubicBezTo>
                      <a:cubicBezTo>
                        <a:pt x="29462" y="70627"/>
                        <a:pt x="29676" y="66475"/>
                        <a:pt x="32369" y="64042"/>
                      </a:cubicBezTo>
                      <a:cubicBezTo>
                        <a:pt x="35056" y="61610"/>
                        <a:pt x="39214" y="61823"/>
                        <a:pt x="41647" y="64513"/>
                      </a:cubicBezTo>
                      <a:cubicBezTo>
                        <a:pt x="48344" y="71934"/>
                        <a:pt x="57981" y="89969"/>
                        <a:pt x="46498" y="105136"/>
                      </a:cubicBezTo>
                      <a:cubicBezTo>
                        <a:pt x="45643" y="106155"/>
                        <a:pt x="40112" y="112519"/>
                        <a:pt x="34576" y="115466"/>
                      </a:cubicBezTo>
                      <a:cubicBezTo>
                        <a:pt x="32292" y="116685"/>
                        <a:pt x="29816" y="117282"/>
                        <a:pt x="27254" y="117282"/>
                      </a:cubicBezTo>
                      <a:close/>
                    </a:path>
                  </a:pathLst>
                </a:custGeom>
                <a:grpFill/>
                <a:ln w="274" cap="flat">
                  <a:noFill/>
                  <a:prstDash val="solid"/>
                  <a:miter/>
                </a:ln>
              </p:spPr>
              <p:txBody>
                <a:bodyPr rtlCol="0" anchor="ctr"/>
                <a:lstStyle/>
                <a:p>
                  <a:endParaRPr lang="en-GB" dirty="0"/>
                </a:p>
              </p:txBody>
            </p:sp>
          </p:grpSp>
        </p:grpSp>
        <p:grpSp>
          <p:nvGrpSpPr>
            <p:cNvPr id="442" name="Grafik 349">
              <a:extLst>
                <a:ext uri="{FF2B5EF4-FFF2-40B4-BE49-F238E27FC236}">
                  <a16:creationId xmlns:a16="http://schemas.microsoft.com/office/drawing/2014/main" id="{9D133946-47A5-4130-9CF7-91CAC87E5C53}"/>
                </a:ext>
              </a:extLst>
            </p:cNvPr>
            <p:cNvGrpSpPr/>
            <p:nvPr/>
          </p:nvGrpSpPr>
          <p:grpSpPr>
            <a:xfrm>
              <a:off x="5089707" y="2391526"/>
              <a:ext cx="243597" cy="330371"/>
              <a:chOff x="7871290" y="1637473"/>
              <a:chExt cx="241490" cy="327514"/>
            </a:xfrm>
            <a:solidFill>
              <a:schemeClr val="accent1"/>
            </a:solidFill>
          </p:grpSpPr>
          <p:grpSp>
            <p:nvGrpSpPr>
              <p:cNvPr id="443" name="Grafik 349">
                <a:extLst>
                  <a:ext uri="{FF2B5EF4-FFF2-40B4-BE49-F238E27FC236}">
                    <a16:creationId xmlns:a16="http://schemas.microsoft.com/office/drawing/2014/main" id="{AF1D60D8-29B0-4E2D-874A-53CCA709FB25}"/>
                  </a:ext>
                </a:extLst>
              </p:cNvPr>
              <p:cNvGrpSpPr/>
              <p:nvPr/>
            </p:nvGrpSpPr>
            <p:grpSpPr>
              <a:xfrm>
                <a:off x="7871290" y="1637473"/>
                <a:ext cx="241490" cy="327514"/>
                <a:chOff x="7871290" y="1637473"/>
                <a:chExt cx="241490" cy="327514"/>
              </a:xfrm>
              <a:solidFill>
                <a:schemeClr val="accent1"/>
              </a:solidFill>
            </p:grpSpPr>
            <p:sp>
              <p:nvSpPr>
                <p:cNvPr id="445" name="Freihandform: Form 686">
                  <a:extLst>
                    <a:ext uri="{FF2B5EF4-FFF2-40B4-BE49-F238E27FC236}">
                      <a16:creationId xmlns:a16="http://schemas.microsoft.com/office/drawing/2014/main" id="{D936CF86-D2A4-4063-A190-0F533F4097D2}"/>
                    </a:ext>
                  </a:extLst>
                </p:cNvPr>
                <p:cNvSpPr/>
                <p:nvPr/>
              </p:nvSpPr>
              <p:spPr>
                <a:xfrm>
                  <a:off x="7871290" y="1729157"/>
                  <a:ext cx="241490" cy="235830"/>
                </a:xfrm>
                <a:custGeom>
                  <a:avLst/>
                  <a:gdLst>
                    <a:gd name="connsiteX0" fmla="*/ 121374 w 241490"/>
                    <a:gd name="connsiteY0" fmla="*/ 235831 h 235830"/>
                    <a:gd name="connsiteX1" fmla="*/ 120086 w 241490"/>
                    <a:gd name="connsiteY1" fmla="*/ 235831 h 235830"/>
                    <a:gd name="connsiteX2" fmla="*/ 0 w 241490"/>
                    <a:gd name="connsiteY2" fmla="*/ 137568 h 235830"/>
                    <a:gd name="connsiteX3" fmla="*/ 83063 w 241490"/>
                    <a:gd name="connsiteY3" fmla="*/ 356 h 235830"/>
                    <a:gd name="connsiteX4" fmla="*/ 91385 w 241490"/>
                    <a:gd name="connsiteY4" fmla="*/ 4478 h 235830"/>
                    <a:gd name="connsiteX5" fmla="*/ 87259 w 241490"/>
                    <a:gd name="connsiteY5" fmla="*/ 12803 h 235830"/>
                    <a:gd name="connsiteX6" fmla="*/ 13140 w 241490"/>
                    <a:gd name="connsiteY6" fmla="*/ 137568 h 235830"/>
                    <a:gd name="connsiteX7" fmla="*/ 120086 w 241490"/>
                    <a:gd name="connsiteY7" fmla="*/ 222691 h 235830"/>
                    <a:gd name="connsiteX8" fmla="*/ 121374 w 241490"/>
                    <a:gd name="connsiteY8" fmla="*/ 222691 h 235830"/>
                    <a:gd name="connsiteX9" fmla="*/ 228342 w 241490"/>
                    <a:gd name="connsiteY9" fmla="*/ 137568 h 235830"/>
                    <a:gd name="connsiteX10" fmla="*/ 154218 w 241490"/>
                    <a:gd name="connsiteY10" fmla="*/ 12800 h 235830"/>
                    <a:gd name="connsiteX11" fmla="*/ 150191 w 241490"/>
                    <a:gd name="connsiteY11" fmla="*/ 4421 h 235830"/>
                    <a:gd name="connsiteX12" fmla="*/ 158409 w 241490"/>
                    <a:gd name="connsiteY12" fmla="*/ 356 h 235830"/>
                    <a:gd name="connsiteX13" fmla="*/ 241491 w 241490"/>
                    <a:gd name="connsiteY13" fmla="*/ 137568 h 235830"/>
                    <a:gd name="connsiteX14" fmla="*/ 121374 w 241490"/>
                    <a:gd name="connsiteY14" fmla="*/ 235831 h 23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1490" h="235830">
                      <a:moveTo>
                        <a:pt x="121374" y="235831"/>
                      </a:moveTo>
                      <a:lnTo>
                        <a:pt x="120086" y="235831"/>
                      </a:lnTo>
                      <a:cubicBezTo>
                        <a:pt x="37136" y="235831"/>
                        <a:pt x="0" y="186478"/>
                        <a:pt x="0" y="137568"/>
                      </a:cubicBezTo>
                      <a:cubicBezTo>
                        <a:pt x="0" y="67730"/>
                        <a:pt x="70032" y="4752"/>
                        <a:pt x="83063" y="356"/>
                      </a:cubicBezTo>
                      <a:cubicBezTo>
                        <a:pt x="86481" y="-828"/>
                        <a:pt x="90229" y="1043"/>
                        <a:pt x="91385" y="4478"/>
                      </a:cubicBezTo>
                      <a:cubicBezTo>
                        <a:pt x="92546" y="7916"/>
                        <a:pt x="90697" y="11644"/>
                        <a:pt x="87259" y="12803"/>
                      </a:cubicBezTo>
                      <a:cubicBezTo>
                        <a:pt x="79348" y="15720"/>
                        <a:pt x="13140" y="73927"/>
                        <a:pt x="13140" y="137568"/>
                      </a:cubicBezTo>
                      <a:cubicBezTo>
                        <a:pt x="13140" y="196369"/>
                        <a:pt x="66857" y="222691"/>
                        <a:pt x="120086" y="222691"/>
                      </a:cubicBezTo>
                      <a:lnTo>
                        <a:pt x="121374" y="222691"/>
                      </a:lnTo>
                      <a:cubicBezTo>
                        <a:pt x="174625" y="222691"/>
                        <a:pt x="228342" y="196369"/>
                        <a:pt x="228342" y="137568"/>
                      </a:cubicBezTo>
                      <a:cubicBezTo>
                        <a:pt x="228342" y="73927"/>
                        <a:pt x="162134" y="15720"/>
                        <a:pt x="154218" y="12800"/>
                      </a:cubicBezTo>
                      <a:cubicBezTo>
                        <a:pt x="150849" y="11559"/>
                        <a:pt x="149013" y="7812"/>
                        <a:pt x="150191" y="4421"/>
                      </a:cubicBezTo>
                      <a:cubicBezTo>
                        <a:pt x="151396" y="1032"/>
                        <a:pt x="155040" y="-806"/>
                        <a:pt x="158409" y="356"/>
                      </a:cubicBezTo>
                      <a:cubicBezTo>
                        <a:pt x="171448" y="4749"/>
                        <a:pt x="241491" y="67730"/>
                        <a:pt x="241491" y="137568"/>
                      </a:cubicBezTo>
                      <a:cubicBezTo>
                        <a:pt x="241491" y="186480"/>
                        <a:pt x="204346" y="235831"/>
                        <a:pt x="121374" y="235831"/>
                      </a:cubicBezTo>
                      <a:close/>
                    </a:path>
                  </a:pathLst>
                </a:custGeom>
                <a:solidFill>
                  <a:schemeClr val="accent1"/>
                </a:solidFill>
                <a:ln w="274" cap="flat">
                  <a:noFill/>
                  <a:prstDash val="solid"/>
                  <a:miter/>
                </a:ln>
              </p:spPr>
              <p:txBody>
                <a:bodyPr rtlCol="0" anchor="ctr"/>
                <a:lstStyle/>
                <a:p>
                  <a:endParaRPr lang="en-GB" dirty="0"/>
                </a:p>
              </p:txBody>
            </p:sp>
            <p:sp>
              <p:nvSpPr>
                <p:cNvPr id="446" name="Freihandform: Form 687">
                  <a:extLst>
                    <a:ext uri="{FF2B5EF4-FFF2-40B4-BE49-F238E27FC236}">
                      <a16:creationId xmlns:a16="http://schemas.microsoft.com/office/drawing/2014/main" id="{2955E478-0DCC-4419-8D34-00C69D8A22A2}"/>
                    </a:ext>
                  </a:extLst>
                </p:cNvPr>
                <p:cNvSpPr/>
                <p:nvPr/>
              </p:nvSpPr>
              <p:spPr>
                <a:xfrm>
                  <a:off x="7951176" y="1717034"/>
                  <a:ext cx="83014" cy="25273"/>
                </a:xfrm>
                <a:custGeom>
                  <a:avLst/>
                  <a:gdLst>
                    <a:gd name="connsiteX0" fmla="*/ 76441 w 83014"/>
                    <a:gd name="connsiteY0" fmla="*/ 25274 h 25273"/>
                    <a:gd name="connsiteX1" fmla="*/ 6570 w 83014"/>
                    <a:gd name="connsiteY1" fmla="*/ 25274 h 25273"/>
                    <a:gd name="connsiteX2" fmla="*/ 1365 w 83014"/>
                    <a:gd name="connsiteY2" fmla="*/ 22713 h 25273"/>
                    <a:gd name="connsiteX3" fmla="*/ 218 w 83014"/>
                    <a:gd name="connsiteY3" fmla="*/ 17029 h 25273"/>
                    <a:gd name="connsiteX4" fmla="*/ 3412 w 83014"/>
                    <a:gd name="connsiteY4" fmla="*/ 4899 h 25273"/>
                    <a:gd name="connsiteX5" fmla="*/ 11438 w 83014"/>
                    <a:gd name="connsiteY5" fmla="*/ 220 h 25273"/>
                    <a:gd name="connsiteX6" fmla="*/ 16116 w 83014"/>
                    <a:gd name="connsiteY6" fmla="*/ 8246 h 25273"/>
                    <a:gd name="connsiteX7" fmla="*/ 15097 w 83014"/>
                    <a:gd name="connsiteY7" fmla="*/ 12131 h 25273"/>
                    <a:gd name="connsiteX8" fmla="*/ 76441 w 83014"/>
                    <a:gd name="connsiteY8" fmla="*/ 12131 h 25273"/>
                    <a:gd name="connsiteX9" fmla="*/ 83015 w 83014"/>
                    <a:gd name="connsiteY9" fmla="*/ 18699 h 25273"/>
                    <a:gd name="connsiteX10" fmla="*/ 76441 w 83014"/>
                    <a:gd name="connsiteY10" fmla="*/ 25274 h 2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014" h="25273">
                      <a:moveTo>
                        <a:pt x="76441" y="25274"/>
                      </a:moveTo>
                      <a:lnTo>
                        <a:pt x="6570" y="25274"/>
                      </a:lnTo>
                      <a:cubicBezTo>
                        <a:pt x="4529" y="25274"/>
                        <a:pt x="2612" y="24329"/>
                        <a:pt x="1365" y="22713"/>
                      </a:cubicBezTo>
                      <a:cubicBezTo>
                        <a:pt x="122" y="21099"/>
                        <a:pt x="-303" y="19001"/>
                        <a:pt x="218" y="17029"/>
                      </a:cubicBezTo>
                      <a:lnTo>
                        <a:pt x="3412" y="4899"/>
                      </a:lnTo>
                      <a:cubicBezTo>
                        <a:pt x="4335" y="1382"/>
                        <a:pt x="7948" y="-708"/>
                        <a:pt x="11438" y="220"/>
                      </a:cubicBezTo>
                      <a:cubicBezTo>
                        <a:pt x="14947" y="1144"/>
                        <a:pt x="17039" y="4737"/>
                        <a:pt x="16116" y="8246"/>
                      </a:cubicBezTo>
                      <a:lnTo>
                        <a:pt x="15097" y="12131"/>
                      </a:lnTo>
                      <a:lnTo>
                        <a:pt x="76441" y="12131"/>
                      </a:lnTo>
                      <a:cubicBezTo>
                        <a:pt x="80056" y="12131"/>
                        <a:pt x="83015" y="15073"/>
                        <a:pt x="83015" y="18699"/>
                      </a:cubicBezTo>
                      <a:cubicBezTo>
                        <a:pt x="83015" y="22332"/>
                        <a:pt x="80056" y="25274"/>
                        <a:pt x="76441" y="25274"/>
                      </a:cubicBezTo>
                      <a:close/>
                    </a:path>
                  </a:pathLst>
                </a:custGeom>
                <a:solidFill>
                  <a:schemeClr val="accent1"/>
                </a:solidFill>
                <a:ln w="274" cap="flat">
                  <a:noFill/>
                  <a:prstDash val="solid"/>
                  <a:miter/>
                </a:ln>
              </p:spPr>
              <p:txBody>
                <a:bodyPr rtlCol="0" anchor="ctr"/>
                <a:lstStyle/>
                <a:p>
                  <a:endParaRPr lang="en-GB" dirty="0"/>
                </a:p>
              </p:txBody>
            </p:sp>
            <p:sp>
              <p:nvSpPr>
                <p:cNvPr id="447" name="Freihandform: Form 688">
                  <a:extLst>
                    <a:ext uri="{FF2B5EF4-FFF2-40B4-BE49-F238E27FC236}">
                      <a16:creationId xmlns:a16="http://schemas.microsoft.com/office/drawing/2014/main" id="{D3063E96-FF40-4821-9388-B22B74130C80}"/>
                    </a:ext>
                  </a:extLst>
                </p:cNvPr>
                <p:cNvSpPr/>
                <p:nvPr/>
              </p:nvSpPr>
              <p:spPr>
                <a:xfrm>
                  <a:off x="7942051" y="1637473"/>
                  <a:ext cx="101189" cy="80126"/>
                </a:xfrm>
                <a:custGeom>
                  <a:avLst/>
                  <a:gdLst>
                    <a:gd name="connsiteX0" fmla="*/ 83539 w 101189"/>
                    <a:gd name="connsiteY0" fmla="*/ 80126 h 80126"/>
                    <a:gd name="connsiteX1" fmla="*/ 77157 w 101189"/>
                    <a:gd name="connsiteY1" fmla="*/ 75031 h 80126"/>
                    <a:gd name="connsiteX2" fmla="*/ 75951 w 101189"/>
                    <a:gd name="connsiteY2" fmla="*/ 69901 h 80126"/>
                    <a:gd name="connsiteX3" fmla="*/ 20065 w 101189"/>
                    <a:gd name="connsiteY3" fmla="*/ 69901 h 80126"/>
                    <a:gd name="connsiteX4" fmla="*/ 13770 w 101189"/>
                    <a:gd name="connsiteY4" fmla="*/ 65219 h 80126"/>
                    <a:gd name="connsiteX5" fmla="*/ 668 w 101189"/>
                    <a:gd name="connsiteY5" fmla="*/ 21558 h 80126"/>
                    <a:gd name="connsiteX6" fmla="*/ 3068 w 101189"/>
                    <a:gd name="connsiteY6" fmla="*/ 7859 h 80126"/>
                    <a:gd name="connsiteX7" fmla="*/ 20065 w 101189"/>
                    <a:gd name="connsiteY7" fmla="*/ 0 h 80126"/>
                    <a:gd name="connsiteX8" fmla="*/ 81183 w 101189"/>
                    <a:gd name="connsiteY8" fmla="*/ 0 h 80126"/>
                    <a:gd name="connsiteX9" fmla="*/ 97920 w 101189"/>
                    <a:gd name="connsiteY9" fmla="*/ 7859 h 80126"/>
                    <a:gd name="connsiteX10" fmla="*/ 100632 w 101189"/>
                    <a:gd name="connsiteY10" fmla="*/ 21369 h 80126"/>
                    <a:gd name="connsiteX11" fmla="*/ 87977 w 101189"/>
                    <a:gd name="connsiteY11" fmla="*/ 63551 h 80126"/>
                    <a:gd name="connsiteX12" fmla="*/ 89949 w 101189"/>
                    <a:gd name="connsiteY12" fmla="*/ 72078 h 80126"/>
                    <a:gd name="connsiteX13" fmla="*/ 85018 w 101189"/>
                    <a:gd name="connsiteY13" fmla="*/ 79956 h 80126"/>
                    <a:gd name="connsiteX14" fmla="*/ 83539 w 101189"/>
                    <a:gd name="connsiteY14" fmla="*/ 80126 h 80126"/>
                    <a:gd name="connsiteX15" fmla="*/ 24954 w 101189"/>
                    <a:gd name="connsiteY15" fmla="*/ 56763 h 80126"/>
                    <a:gd name="connsiteX16" fmla="*/ 76307 w 101189"/>
                    <a:gd name="connsiteY16" fmla="*/ 56763 h 80126"/>
                    <a:gd name="connsiteX17" fmla="*/ 88004 w 101189"/>
                    <a:gd name="connsiteY17" fmla="*/ 17781 h 80126"/>
                    <a:gd name="connsiteX18" fmla="*/ 87511 w 101189"/>
                    <a:gd name="connsiteY18" fmla="*/ 15863 h 80126"/>
                    <a:gd name="connsiteX19" fmla="*/ 81183 w 101189"/>
                    <a:gd name="connsiteY19" fmla="*/ 13143 h 80126"/>
                    <a:gd name="connsiteX20" fmla="*/ 20065 w 101189"/>
                    <a:gd name="connsiteY20" fmla="*/ 13143 h 80126"/>
                    <a:gd name="connsiteX21" fmla="*/ 13565 w 101189"/>
                    <a:gd name="connsiteY21" fmla="*/ 15767 h 80126"/>
                    <a:gd name="connsiteX22" fmla="*/ 13277 w 101189"/>
                    <a:gd name="connsiteY22" fmla="*/ 17855 h 80126"/>
                    <a:gd name="connsiteX23" fmla="*/ 24954 w 101189"/>
                    <a:gd name="connsiteY23" fmla="*/ 56763 h 80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1189" h="80126">
                      <a:moveTo>
                        <a:pt x="83539" y="80126"/>
                      </a:moveTo>
                      <a:cubicBezTo>
                        <a:pt x="80553" y="80129"/>
                        <a:pt x="77841" y="78069"/>
                        <a:pt x="77157" y="75031"/>
                      </a:cubicBezTo>
                      <a:lnTo>
                        <a:pt x="75951" y="69901"/>
                      </a:lnTo>
                      <a:lnTo>
                        <a:pt x="20065" y="69901"/>
                      </a:lnTo>
                      <a:cubicBezTo>
                        <a:pt x="17164" y="69901"/>
                        <a:pt x="14605" y="67999"/>
                        <a:pt x="13770" y="65219"/>
                      </a:cubicBezTo>
                      <a:lnTo>
                        <a:pt x="668" y="21558"/>
                      </a:lnTo>
                      <a:cubicBezTo>
                        <a:pt x="-751" y="16630"/>
                        <a:pt x="109" y="11790"/>
                        <a:pt x="3068" y="7859"/>
                      </a:cubicBezTo>
                      <a:cubicBezTo>
                        <a:pt x="6719" y="3010"/>
                        <a:pt x="13230" y="0"/>
                        <a:pt x="20065" y="0"/>
                      </a:cubicBezTo>
                      <a:lnTo>
                        <a:pt x="81183" y="0"/>
                      </a:lnTo>
                      <a:cubicBezTo>
                        <a:pt x="87812" y="0"/>
                        <a:pt x="94222" y="3013"/>
                        <a:pt x="97920" y="7859"/>
                      </a:cubicBezTo>
                      <a:cubicBezTo>
                        <a:pt x="100961" y="11798"/>
                        <a:pt x="101919" y="16597"/>
                        <a:pt x="100632" y="21369"/>
                      </a:cubicBezTo>
                      <a:lnTo>
                        <a:pt x="87977" y="63551"/>
                      </a:lnTo>
                      <a:lnTo>
                        <a:pt x="89949" y="72078"/>
                      </a:lnTo>
                      <a:cubicBezTo>
                        <a:pt x="90771" y="75617"/>
                        <a:pt x="88552" y="79143"/>
                        <a:pt x="85018" y="79956"/>
                      </a:cubicBezTo>
                      <a:cubicBezTo>
                        <a:pt x="84525" y="80071"/>
                        <a:pt x="84032" y="80126"/>
                        <a:pt x="83539" y="80126"/>
                      </a:cubicBezTo>
                      <a:close/>
                      <a:moveTo>
                        <a:pt x="24954" y="56763"/>
                      </a:moveTo>
                      <a:lnTo>
                        <a:pt x="76307" y="56763"/>
                      </a:lnTo>
                      <a:lnTo>
                        <a:pt x="88004" y="17781"/>
                      </a:lnTo>
                      <a:cubicBezTo>
                        <a:pt x="88141" y="17287"/>
                        <a:pt x="88141" y="16663"/>
                        <a:pt x="87511" y="15863"/>
                      </a:cubicBezTo>
                      <a:cubicBezTo>
                        <a:pt x="86306" y="14288"/>
                        <a:pt x="83649" y="13143"/>
                        <a:pt x="81183" y="13143"/>
                      </a:cubicBezTo>
                      <a:lnTo>
                        <a:pt x="20065" y="13143"/>
                      </a:lnTo>
                      <a:cubicBezTo>
                        <a:pt x="17485" y="13143"/>
                        <a:pt x="14696" y="14272"/>
                        <a:pt x="13565" y="15767"/>
                      </a:cubicBezTo>
                      <a:cubicBezTo>
                        <a:pt x="13167" y="16296"/>
                        <a:pt x="12981" y="16830"/>
                        <a:pt x="13277" y="17855"/>
                      </a:cubicBezTo>
                      <a:lnTo>
                        <a:pt x="24954" y="56763"/>
                      </a:lnTo>
                      <a:close/>
                    </a:path>
                  </a:pathLst>
                </a:custGeom>
                <a:solidFill>
                  <a:schemeClr val="accent1"/>
                </a:solidFill>
                <a:ln w="274" cap="flat">
                  <a:noFill/>
                  <a:prstDash val="solid"/>
                  <a:miter/>
                </a:ln>
              </p:spPr>
              <p:txBody>
                <a:bodyPr rtlCol="0" anchor="ctr"/>
                <a:lstStyle/>
                <a:p>
                  <a:endParaRPr lang="en-GB" dirty="0"/>
                </a:p>
              </p:txBody>
            </p:sp>
          </p:grpSp>
          <p:sp>
            <p:nvSpPr>
              <p:cNvPr id="444" name="Freihandform: Form 689">
                <a:extLst>
                  <a:ext uri="{FF2B5EF4-FFF2-40B4-BE49-F238E27FC236}">
                    <a16:creationId xmlns:a16="http://schemas.microsoft.com/office/drawing/2014/main" id="{5641B095-95A7-4258-A3F7-D26773C0128D}"/>
                  </a:ext>
                </a:extLst>
              </p:cNvPr>
              <p:cNvSpPr/>
              <p:nvPr/>
            </p:nvSpPr>
            <p:spPr>
              <a:xfrm>
                <a:off x="7986062" y="1666726"/>
                <a:ext cx="49388" cy="13137"/>
              </a:xfrm>
              <a:custGeom>
                <a:avLst/>
                <a:gdLst>
                  <a:gd name="connsiteX0" fmla="*/ 42815 w 49388"/>
                  <a:gd name="connsiteY0" fmla="*/ 13138 h 13137"/>
                  <a:gd name="connsiteX1" fmla="*/ 6574 w 49388"/>
                  <a:gd name="connsiteY1" fmla="*/ 13138 h 13137"/>
                  <a:gd name="connsiteX2" fmla="*/ 0 w 49388"/>
                  <a:gd name="connsiteY2" fmla="*/ 6569 h 13137"/>
                  <a:gd name="connsiteX3" fmla="*/ 6574 w 49388"/>
                  <a:gd name="connsiteY3" fmla="*/ 0 h 13137"/>
                  <a:gd name="connsiteX4" fmla="*/ 42815 w 49388"/>
                  <a:gd name="connsiteY4" fmla="*/ 0 h 13137"/>
                  <a:gd name="connsiteX5" fmla="*/ 49389 w 49388"/>
                  <a:gd name="connsiteY5" fmla="*/ 6569 h 13137"/>
                  <a:gd name="connsiteX6" fmla="*/ 42815 w 49388"/>
                  <a:gd name="connsiteY6" fmla="*/ 13138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388" h="13137">
                    <a:moveTo>
                      <a:pt x="42815" y="13138"/>
                    </a:moveTo>
                    <a:lnTo>
                      <a:pt x="6574" y="13138"/>
                    </a:lnTo>
                    <a:cubicBezTo>
                      <a:pt x="2958" y="13138"/>
                      <a:pt x="0" y="10196"/>
                      <a:pt x="0" y="6569"/>
                    </a:cubicBezTo>
                    <a:cubicBezTo>
                      <a:pt x="0" y="2939"/>
                      <a:pt x="2958" y="0"/>
                      <a:pt x="6574" y="0"/>
                    </a:cubicBezTo>
                    <a:lnTo>
                      <a:pt x="42815" y="0"/>
                    </a:lnTo>
                    <a:cubicBezTo>
                      <a:pt x="46431" y="0"/>
                      <a:pt x="49389" y="2942"/>
                      <a:pt x="49389" y="6569"/>
                    </a:cubicBezTo>
                    <a:cubicBezTo>
                      <a:pt x="49389" y="10196"/>
                      <a:pt x="46431" y="13138"/>
                      <a:pt x="42815" y="13138"/>
                    </a:cubicBezTo>
                    <a:close/>
                  </a:path>
                </a:pathLst>
              </a:custGeom>
              <a:solidFill>
                <a:schemeClr val="accent1"/>
              </a:solidFill>
              <a:ln w="274"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113912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9D086D4-EBF3-456F-945F-131B100E046C}"/>
              </a:ext>
            </a:extLst>
          </p:cNvPr>
          <p:cNvGraphicFramePr>
            <a:graphicFrameLocks noChangeAspect="1"/>
          </p:cNvGraphicFramePr>
          <p:nvPr>
            <p:custDataLst>
              <p:tags r:id="rId1"/>
            </p:custDataLst>
            <p:extLst>
              <p:ext uri="{D42A27DB-BD31-4B8C-83A1-F6EECF244321}">
                <p14:modId xmlns:p14="http://schemas.microsoft.com/office/powerpoint/2010/main" val="1379321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69D086D4-EBF3-456F-945F-131B100E046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D1EC45D-699A-40EC-93E2-DB24C8147B32}"/>
              </a:ext>
            </a:extLst>
          </p:cNvPr>
          <p:cNvSpPr>
            <a:spLocks noGrp="1"/>
          </p:cNvSpPr>
          <p:nvPr>
            <p:ph type="sldNum" sz="quarter" idx="11"/>
          </p:nvPr>
        </p:nvSpPr>
        <p:spPr/>
        <p:txBody>
          <a:bodyPr/>
          <a:lstStyle/>
          <a:p>
            <a:fld id="{D56DB8AA-803C-49D2-90AA-1140CE72DCD7}" type="slidenum">
              <a:rPr lang="en-GB" smtClean="0"/>
              <a:pPr/>
              <a:t>22</a:t>
            </a:fld>
            <a:endParaRPr lang="en-GB" dirty="0"/>
          </a:p>
        </p:txBody>
      </p:sp>
      <p:sp>
        <p:nvSpPr>
          <p:cNvPr id="3" name="Title 2">
            <a:extLst>
              <a:ext uri="{FF2B5EF4-FFF2-40B4-BE49-F238E27FC236}">
                <a16:creationId xmlns:a16="http://schemas.microsoft.com/office/drawing/2014/main" id="{3438251D-870C-7715-DFF6-3F806C1EE684}"/>
              </a:ext>
            </a:extLst>
          </p:cNvPr>
          <p:cNvSpPr>
            <a:spLocks noGrp="1"/>
          </p:cNvSpPr>
          <p:nvPr>
            <p:ph type="title"/>
          </p:nvPr>
        </p:nvSpPr>
        <p:spPr>
          <a:xfrm>
            <a:off x="252000" y="252000"/>
            <a:ext cx="6748875" cy="576000"/>
          </a:xfrm>
        </p:spPr>
        <p:txBody>
          <a:bodyPr/>
          <a:lstStyle/>
          <a:p>
            <a:r>
              <a:rPr lang="en-US" dirty="0"/>
              <a:t>Insurance</a:t>
            </a:r>
          </a:p>
        </p:txBody>
      </p:sp>
      <p:grpSp>
        <p:nvGrpSpPr>
          <p:cNvPr id="17" name="Gruppieren 412">
            <a:extLst>
              <a:ext uri="{FF2B5EF4-FFF2-40B4-BE49-F238E27FC236}">
                <a16:creationId xmlns:a16="http://schemas.microsoft.com/office/drawing/2014/main" id="{6A9A67E8-109A-4653-A4CD-49465B283878}"/>
              </a:ext>
            </a:extLst>
          </p:cNvPr>
          <p:cNvGrpSpPr>
            <a:grpSpLocks noChangeAspect="1"/>
          </p:cNvGrpSpPr>
          <p:nvPr/>
        </p:nvGrpSpPr>
        <p:grpSpPr>
          <a:xfrm>
            <a:off x="3824334" y="1626716"/>
            <a:ext cx="399388" cy="432000"/>
            <a:chOff x="3896219" y="1671612"/>
            <a:chExt cx="416710" cy="450737"/>
          </a:xfrm>
        </p:grpSpPr>
        <p:sp>
          <p:nvSpPr>
            <p:cNvPr id="18" name="Freihandform: Form 26">
              <a:extLst>
                <a:ext uri="{FF2B5EF4-FFF2-40B4-BE49-F238E27FC236}">
                  <a16:creationId xmlns:a16="http://schemas.microsoft.com/office/drawing/2014/main" id="{D67F7A5F-A282-40C8-A8F1-D8FF58674E3F}"/>
                </a:ext>
              </a:extLst>
            </p:cNvPr>
            <p:cNvSpPr/>
            <p:nvPr/>
          </p:nvSpPr>
          <p:spPr>
            <a:xfrm>
              <a:off x="4115859" y="1858894"/>
              <a:ext cx="61498" cy="61510"/>
            </a:xfrm>
            <a:custGeom>
              <a:avLst/>
              <a:gdLst>
                <a:gd name="connsiteX0" fmla="*/ 61498 w 61498"/>
                <a:gd name="connsiteY0" fmla="*/ 61511 h 61510"/>
                <a:gd name="connsiteX1" fmla="*/ 0 w 61498"/>
                <a:gd name="connsiteY1" fmla="*/ 61511 h 61510"/>
                <a:gd name="connsiteX2" fmla="*/ 0 w 61498"/>
                <a:gd name="connsiteY2" fmla="*/ 0 h 61510"/>
                <a:gd name="connsiteX3" fmla="*/ 61498 w 61498"/>
                <a:gd name="connsiteY3" fmla="*/ 0 h 61510"/>
                <a:gd name="connsiteX4" fmla="*/ 61498 w 61498"/>
                <a:gd name="connsiteY4" fmla="*/ 61511 h 61510"/>
                <a:gd name="connsiteX5" fmla="*/ 12329 w 61498"/>
                <a:gd name="connsiteY5" fmla="*/ 49181 h 61510"/>
                <a:gd name="connsiteX6" fmla="*/ 49169 w 61498"/>
                <a:gd name="connsiteY6" fmla="*/ 49181 h 61510"/>
                <a:gd name="connsiteX7" fmla="*/ 49169 w 61498"/>
                <a:gd name="connsiteY7" fmla="*/ 12341 h 61510"/>
                <a:gd name="connsiteX8" fmla="*/ 12329 w 61498"/>
                <a:gd name="connsiteY8" fmla="*/ 12341 h 61510"/>
                <a:gd name="connsiteX9" fmla="*/ 12329 w 61498"/>
                <a:gd name="connsiteY9" fmla="*/ 4918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8" h="61510">
                  <a:moveTo>
                    <a:pt x="61498" y="61511"/>
                  </a:moveTo>
                  <a:lnTo>
                    <a:pt x="0" y="61511"/>
                  </a:lnTo>
                  <a:lnTo>
                    <a:pt x="0" y="0"/>
                  </a:lnTo>
                  <a:lnTo>
                    <a:pt x="61498" y="0"/>
                  </a:lnTo>
                  <a:lnTo>
                    <a:pt x="61498" y="61511"/>
                  </a:lnTo>
                  <a:close/>
                  <a:moveTo>
                    <a:pt x="12329" y="49181"/>
                  </a:moveTo>
                  <a:lnTo>
                    <a:pt x="49169" y="49181"/>
                  </a:lnTo>
                  <a:lnTo>
                    <a:pt x="49169" y="12341"/>
                  </a:lnTo>
                  <a:lnTo>
                    <a:pt x="12329" y="12341"/>
                  </a:lnTo>
                  <a:lnTo>
                    <a:pt x="12329" y="49181"/>
                  </a:lnTo>
                  <a:close/>
                </a:path>
              </a:pathLst>
            </a:custGeom>
            <a:solidFill>
              <a:schemeClr val="tx2"/>
            </a:solidFill>
            <a:ln w="1228" cap="flat">
              <a:noFill/>
              <a:prstDash val="solid"/>
              <a:miter/>
            </a:ln>
          </p:spPr>
          <p:txBody>
            <a:bodyPr rtlCol="0" anchor="ctr"/>
            <a:lstStyle/>
            <a:p>
              <a:endParaRPr lang="en-GB" dirty="0"/>
            </a:p>
          </p:txBody>
        </p:sp>
        <p:grpSp>
          <p:nvGrpSpPr>
            <p:cNvPr id="19" name="Gruppieren 411">
              <a:extLst>
                <a:ext uri="{FF2B5EF4-FFF2-40B4-BE49-F238E27FC236}">
                  <a16:creationId xmlns:a16="http://schemas.microsoft.com/office/drawing/2014/main" id="{E3104344-08FA-422D-A755-D5BCBDD5758F}"/>
                </a:ext>
              </a:extLst>
            </p:cNvPr>
            <p:cNvGrpSpPr/>
            <p:nvPr/>
          </p:nvGrpSpPr>
          <p:grpSpPr>
            <a:xfrm>
              <a:off x="3896219" y="1671612"/>
              <a:ext cx="416710" cy="450737"/>
              <a:chOff x="3896219" y="1671612"/>
              <a:chExt cx="416710" cy="450737"/>
            </a:xfrm>
          </p:grpSpPr>
          <p:sp>
            <p:nvSpPr>
              <p:cNvPr id="20" name="Freihandform: Form 8">
                <a:extLst>
                  <a:ext uri="{FF2B5EF4-FFF2-40B4-BE49-F238E27FC236}">
                    <a16:creationId xmlns:a16="http://schemas.microsoft.com/office/drawing/2014/main" id="{1B17181E-5195-47CE-AC01-5DF491558693}"/>
                  </a:ext>
                </a:extLst>
              </p:cNvPr>
              <p:cNvSpPr/>
              <p:nvPr/>
            </p:nvSpPr>
            <p:spPr>
              <a:xfrm>
                <a:off x="3913914" y="1740674"/>
                <a:ext cx="381674" cy="381674"/>
              </a:xfrm>
              <a:custGeom>
                <a:avLst/>
                <a:gdLst>
                  <a:gd name="connsiteX0" fmla="*/ 381675 w 381674"/>
                  <a:gd name="connsiteY0" fmla="*/ 381675 h 381674"/>
                  <a:gd name="connsiteX1" fmla="*/ 0 w 381674"/>
                  <a:gd name="connsiteY1" fmla="*/ 381675 h 381674"/>
                  <a:gd name="connsiteX2" fmla="*/ 0 w 381674"/>
                  <a:gd name="connsiteY2" fmla="*/ 0 h 381674"/>
                  <a:gd name="connsiteX3" fmla="*/ 381675 w 381674"/>
                  <a:gd name="connsiteY3" fmla="*/ 0 h 381674"/>
                  <a:gd name="connsiteX4" fmla="*/ 381675 w 381674"/>
                  <a:gd name="connsiteY4" fmla="*/ 381675 h 381674"/>
                  <a:gd name="connsiteX5" fmla="*/ 12329 w 381674"/>
                  <a:gd name="connsiteY5" fmla="*/ 369346 h 381674"/>
                  <a:gd name="connsiteX6" fmla="*/ 369346 w 381674"/>
                  <a:gd name="connsiteY6" fmla="*/ 369346 h 381674"/>
                  <a:gd name="connsiteX7" fmla="*/ 369346 w 381674"/>
                  <a:gd name="connsiteY7" fmla="*/ 12329 h 381674"/>
                  <a:gd name="connsiteX8" fmla="*/ 12329 w 381674"/>
                  <a:gd name="connsiteY8" fmla="*/ 12329 h 381674"/>
                  <a:gd name="connsiteX9" fmla="*/ 12329 w 381674"/>
                  <a:gd name="connsiteY9" fmla="*/ 369346 h 38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1674" h="381674">
                    <a:moveTo>
                      <a:pt x="381675" y="381675"/>
                    </a:moveTo>
                    <a:lnTo>
                      <a:pt x="0" y="381675"/>
                    </a:lnTo>
                    <a:lnTo>
                      <a:pt x="0" y="0"/>
                    </a:lnTo>
                    <a:lnTo>
                      <a:pt x="381675" y="0"/>
                    </a:lnTo>
                    <a:lnTo>
                      <a:pt x="381675" y="381675"/>
                    </a:lnTo>
                    <a:close/>
                    <a:moveTo>
                      <a:pt x="12329" y="369346"/>
                    </a:moveTo>
                    <a:lnTo>
                      <a:pt x="369346" y="369346"/>
                    </a:lnTo>
                    <a:lnTo>
                      <a:pt x="369346" y="12329"/>
                    </a:lnTo>
                    <a:lnTo>
                      <a:pt x="12329" y="12329"/>
                    </a:lnTo>
                    <a:lnTo>
                      <a:pt x="12329" y="369346"/>
                    </a:lnTo>
                    <a:close/>
                  </a:path>
                </a:pathLst>
              </a:custGeom>
              <a:solidFill>
                <a:schemeClr val="tx2"/>
              </a:solidFill>
              <a:ln w="1228" cap="flat">
                <a:noFill/>
                <a:prstDash val="solid"/>
                <a:miter/>
              </a:ln>
            </p:spPr>
            <p:txBody>
              <a:bodyPr rtlCol="0" anchor="ctr"/>
              <a:lstStyle/>
              <a:p>
                <a:endParaRPr lang="en-GB" dirty="0"/>
              </a:p>
            </p:txBody>
          </p:sp>
          <p:sp>
            <p:nvSpPr>
              <p:cNvPr id="21" name="Freihandform: Form 9">
                <a:extLst>
                  <a:ext uri="{FF2B5EF4-FFF2-40B4-BE49-F238E27FC236}">
                    <a16:creationId xmlns:a16="http://schemas.microsoft.com/office/drawing/2014/main" id="{CD229C32-7908-4074-98E5-1E7AC8A82A59}"/>
                  </a:ext>
                </a:extLst>
              </p:cNvPr>
              <p:cNvSpPr/>
              <p:nvPr/>
            </p:nvSpPr>
            <p:spPr>
              <a:xfrm>
                <a:off x="3896219" y="1706143"/>
                <a:ext cx="416710" cy="46860"/>
              </a:xfrm>
              <a:custGeom>
                <a:avLst/>
                <a:gdLst>
                  <a:gd name="connsiteX0" fmla="*/ 416710 w 416710"/>
                  <a:gd name="connsiteY0" fmla="*/ 46861 h 46860"/>
                  <a:gd name="connsiteX1" fmla="*/ 0 w 416710"/>
                  <a:gd name="connsiteY1" fmla="*/ 46861 h 46860"/>
                  <a:gd name="connsiteX2" fmla="*/ 0 w 416710"/>
                  <a:gd name="connsiteY2" fmla="*/ 0 h 46860"/>
                  <a:gd name="connsiteX3" fmla="*/ 416710 w 416710"/>
                  <a:gd name="connsiteY3" fmla="*/ 0 h 46860"/>
                  <a:gd name="connsiteX4" fmla="*/ 416710 w 416710"/>
                  <a:gd name="connsiteY4" fmla="*/ 46861 h 46860"/>
                  <a:gd name="connsiteX5" fmla="*/ 12329 w 416710"/>
                  <a:gd name="connsiteY5" fmla="*/ 34531 h 46860"/>
                  <a:gd name="connsiteX6" fmla="*/ 404381 w 416710"/>
                  <a:gd name="connsiteY6" fmla="*/ 34531 h 46860"/>
                  <a:gd name="connsiteX7" fmla="*/ 404381 w 416710"/>
                  <a:gd name="connsiteY7" fmla="*/ 12329 h 46860"/>
                  <a:gd name="connsiteX8" fmla="*/ 12329 w 416710"/>
                  <a:gd name="connsiteY8" fmla="*/ 12329 h 46860"/>
                  <a:gd name="connsiteX9" fmla="*/ 12329 w 416710"/>
                  <a:gd name="connsiteY9" fmla="*/ 34531 h 4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710" h="46860">
                    <a:moveTo>
                      <a:pt x="416710" y="46861"/>
                    </a:moveTo>
                    <a:lnTo>
                      <a:pt x="0" y="46861"/>
                    </a:lnTo>
                    <a:lnTo>
                      <a:pt x="0" y="0"/>
                    </a:lnTo>
                    <a:lnTo>
                      <a:pt x="416710" y="0"/>
                    </a:lnTo>
                    <a:lnTo>
                      <a:pt x="416710" y="46861"/>
                    </a:lnTo>
                    <a:close/>
                    <a:moveTo>
                      <a:pt x="12329" y="34531"/>
                    </a:moveTo>
                    <a:lnTo>
                      <a:pt x="404381" y="34531"/>
                    </a:lnTo>
                    <a:lnTo>
                      <a:pt x="404381" y="12329"/>
                    </a:lnTo>
                    <a:lnTo>
                      <a:pt x="12329" y="12329"/>
                    </a:lnTo>
                    <a:lnTo>
                      <a:pt x="12329" y="34531"/>
                    </a:lnTo>
                    <a:close/>
                  </a:path>
                </a:pathLst>
              </a:custGeom>
              <a:solidFill>
                <a:schemeClr val="tx2"/>
              </a:solidFill>
              <a:ln w="1228" cap="flat">
                <a:noFill/>
                <a:prstDash val="solid"/>
                <a:miter/>
              </a:ln>
            </p:spPr>
            <p:txBody>
              <a:bodyPr rtlCol="0" anchor="ctr"/>
              <a:lstStyle/>
              <a:p>
                <a:endParaRPr lang="en-GB" dirty="0"/>
              </a:p>
            </p:txBody>
          </p:sp>
          <p:sp>
            <p:nvSpPr>
              <p:cNvPr id="22" name="Freihandform: Form 10">
                <a:extLst>
                  <a:ext uri="{FF2B5EF4-FFF2-40B4-BE49-F238E27FC236}">
                    <a16:creationId xmlns:a16="http://schemas.microsoft.com/office/drawing/2014/main" id="{357E3D5C-CF95-4C4E-B58D-128050ABA41A}"/>
                  </a:ext>
                </a:extLst>
              </p:cNvPr>
              <p:cNvSpPr/>
              <p:nvPr/>
            </p:nvSpPr>
            <p:spPr>
              <a:xfrm>
                <a:off x="3945658" y="1671612"/>
                <a:ext cx="312734" cy="46860"/>
              </a:xfrm>
              <a:custGeom>
                <a:avLst/>
                <a:gdLst>
                  <a:gd name="connsiteX0" fmla="*/ 312735 w 312734"/>
                  <a:gd name="connsiteY0" fmla="*/ 46861 h 46860"/>
                  <a:gd name="connsiteX1" fmla="*/ 0 w 312734"/>
                  <a:gd name="connsiteY1" fmla="*/ 46861 h 46860"/>
                  <a:gd name="connsiteX2" fmla="*/ 0 w 312734"/>
                  <a:gd name="connsiteY2" fmla="*/ 0 h 46860"/>
                  <a:gd name="connsiteX3" fmla="*/ 312735 w 312734"/>
                  <a:gd name="connsiteY3" fmla="*/ 0 h 46860"/>
                  <a:gd name="connsiteX4" fmla="*/ 312735 w 312734"/>
                  <a:gd name="connsiteY4" fmla="*/ 46861 h 46860"/>
                  <a:gd name="connsiteX5" fmla="*/ 12329 w 312734"/>
                  <a:gd name="connsiteY5" fmla="*/ 34531 h 46860"/>
                  <a:gd name="connsiteX6" fmla="*/ 300406 w 312734"/>
                  <a:gd name="connsiteY6" fmla="*/ 34531 h 46860"/>
                  <a:gd name="connsiteX7" fmla="*/ 300406 w 312734"/>
                  <a:gd name="connsiteY7" fmla="*/ 12329 h 46860"/>
                  <a:gd name="connsiteX8" fmla="*/ 12329 w 312734"/>
                  <a:gd name="connsiteY8" fmla="*/ 12329 h 46860"/>
                  <a:gd name="connsiteX9" fmla="*/ 12329 w 312734"/>
                  <a:gd name="connsiteY9" fmla="*/ 34531 h 4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2734" h="46860">
                    <a:moveTo>
                      <a:pt x="312735" y="46861"/>
                    </a:moveTo>
                    <a:lnTo>
                      <a:pt x="0" y="46861"/>
                    </a:lnTo>
                    <a:lnTo>
                      <a:pt x="0" y="0"/>
                    </a:lnTo>
                    <a:lnTo>
                      <a:pt x="312735" y="0"/>
                    </a:lnTo>
                    <a:lnTo>
                      <a:pt x="312735" y="46861"/>
                    </a:lnTo>
                    <a:close/>
                    <a:moveTo>
                      <a:pt x="12329" y="34531"/>
                    </a:moveTo>
                    <a:lnTo>
                      <a:pt x="300406" y="34531"/>
                    </a:lnTo>
                    <a:lnTo>
                      <a:pt x="300406" y="12329"/>
                    </a:lnTo>
                    <a:lnTo>
                      <a:pt x="12329" y="12329"/>
                    </a:lnTo>
                    <a:lnTo>
                      <a:pt x="12329" y="34531"/>
                    </a:lnTo>
                    <a:close/>
                  </a:path>
                </a:pathLst>
              </a:custGeom>
              <a:solidFill>
                <a:schemeClr val="tx2"/>
              </a:solidFill>
              <a:ln w="1228" cap="flat">
                <a:noFill/>
                <a:prstDash val="solid"/>
                <a:miter/>
              </a:ln>
            </p:spPr>
            <p:txBody>
              <a:bodyPr rtlCol="0" anchor="ctr"/>
              <a:lstStyle/>
              <a:p>
                <a:endParaRPr lang="en-GB" dirty="0"/>
              </a:p>
            </p:txBody>
          </p:sp>
          <p:sp>
            <p:nvSpPr>
              <p:cNvPr id="23" name="Freihandform: Form 12">
                <a:extLst>
                  <a:ext uri="{FF2B5EF4-FFF2-40B4-BE49-F238E27FC236}">
                    <a16:creationId xmlns:a16="http://schemas.microsoft.com/office/drawing/2014/main" id="{C228FE7C-947D-4B3B-A2D1-9A899EA04F63}"/>
                  </a:ext>
                </a:extLst>
              </p:cNvPr>
              <p:cNvSpPr/>
              <p:nvPr/>
            </p:nvSpPr>
            <p:spPr>
              <a:xfrm>
                <a:off x="3948446" y="2026307"/>
                <a:ext cx="61510" cy="61510"/>
              </a:xfrm>
              <a:custGeom>
                <a:avLst/>
                <a:gdLst>
                  <a:gd name="connsiteX0" fmla="*/ 61511 w 61510"/>
                  <a:gd name="connsiteY0" fmla="*/ 61511 h 61510"/>
                  <a:gd name="connsiteX1" fmla="*/ 0 w 61510"/>
                  <a:gd name="connsiteY1" fmla="*/ 61511 h 61510"/>
                  <a:gd name="connsiteX2" fmla="*/ 0 w 61510"/>
                  <a:gd name="connsiteY2" fmla="*/ 0 h 61510"/>
                  <a:gd name="connsiteX3" fmla="*/ 61511 w 61510"/>
                  <a:gd name="connsiteY3" fmla="*/ 0 h 61510"/>
                  <a:gd name="connsiteX4" fmla="*/ 61511 w 61510"/>
                  <a:gd name="connsiteY4" fmla="*/ 61511 h 61510"/>
                  <a:gd name="connsiteX5" fmla="*/ 12329 w 61510"/>
                  <a:gd name="connsiteY5" fmla="*/ 49181 h 61510"/>
                  <a:gd name="connsiteX6" fmla="*/ 49182 w 61510"/>
                  <a:gd name="connsiteY6" fmla="*/ 49181 h 61510"/>
                  <a:gd name="connsiteX7" fmla="*/ 49182 w 61510"/>
                  <a:gd name="connsiteY7" fmla="*/ 12341 h 61510"/>
                  <a:gd name="connsiteX8" fmla="*/ 12329 w 61510"/>
                  <a:gd name="connsiteY8" fmla="*/ 12341 h 61510"/>
                  <a:gd name="connsiteX9" fmla="*/ 12329 w 61510"/>
                  <a:gd name="connsiteY9" fmla="*/ 4918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10" h="61510">
                    <a:moveTo>
                      <a:pt x="61511" y="61511"/>
                    </a:moveTo>
                    <a:lnTo>
                      <a:pt x="0" y="61511"/>
                    </a:lnTo>
                    <a:lnTo>
                      <a:pt x="0" y="0"/>
                    </a:lnTo>
                    <a:lnTo>
                      <a:pt x="61511" y="0"/>
                    </a:lnTo>
                    <a:lnTo>
                      <a:pt x="61511" y="61511"/>
                    </a:lnTo>
                    <a:close/>
                    <a:moveTo>
                      <a:pt x="12329" y="49181"/>
                    </a:moveTo>
                    <a:lnTo>
                      <a:pt x="49182" y="49181"/>
                    </a:lnTo>
                    <a:lnTo>
                      <a:pt x="49182" y="12341"/>
                    </a:lnTo>
                    <a:lnTo>
                      <a:pt x="12329" y="12341"/>
                    </a:lnTo>
                    <a:lnTo>
                      <a:pt x="12329" y="49181"/>
                    </a:lnTo>
                    <a:close/>
                  </a:path>
                </a:pathLst>
              </a:custGeom>
              <a:solidFill>
                <a:schemeClr val="tx2"/>
              </a:solidFill>
              <a:ln w="1228" cap="flat">
                <a:noFill/>
                <a:prstDash val="solid"/>
                <a:miter/>
              </a:ln>
            </p:spPr>
            <p:txBody>
              <a:bodyPr rtlCol="0" anchor="ctr"/>
              <a:lstStyle/>
              <a:p>
                <a:endParaRPr lang="en-GB" dirty="0"/>
              </a:p>
            </p:txBody>
          </p:sp>
          <p:sp>
            <p:nvSpPr>
              <p:cNvPr id="24" name="Freihandform: Form 13">
                <a:extLst>
                  <a:ext uri="{FF2B5EF4-FFF2-40B4-BE49-F238E27FC236}">
                    <a16:creationId xmlns:a16="http://schemas.microsoft.com/office/drawing/2014/main" id="{489F2743-0A3A-4C7E-8C5B-8FFF94F1F2AA}"/>
                  </a:ext>
                </a:extLst>
              </p:cNvPr>
              <p:cNvSpPr/>
              <p:nvPr/>
            </p:nvSpPr>
            <p:spPr>
              <a:xfrm>
                <a:off x="4199559" y="2026307"/>
                <a:ext cx="61510" cy="61510"/>
              </a:xfrm>
              <a:custGeom>
                <a:avLst/>
                <a:gdLst>
                  <a:gd name="connsiteX0" fmla="*/ 61511 w 61510"/>
                  <a:gd name="connsiteY0" fmla="*/ 61511 h 61510"/>
                  <a:gd name="connsiteX1" fmla="*/ 0 w 61510"/>
                  <a:gd name="connsiteY1" fmla="*/ 61511 h 61510"/>
                  <a:gd name="connsiteX2" fmla="*/ 0 w 61510"/>
                  <a:gd name="connsiteY2" fmla="*/ 0 h 61510"/>
                  <a:gd name="connsiteX3" fmla="*/ 61511 w 61510"/>
                  <a:gd name="connsiteY3" fmla="*/ 0 h 61510"/>
                  <a:gd name="connsiteX4" fmla="*/ 61511 w 61510"/>
                  <a:gd name="connsiteY4" fmla="*/ 61511 h 61510"/>
                  <a:gd name="connsiteX5" fmla="*/ 12329 w 61510"/>
                  <a:gd name="connsiteY5" fmla="*/ 49181 h 61510"/>
                  <a:gd name="connsiteX6" fmla="*/ 49182 w 61510"/>
                  <a:gd name="connsiteY6" fmla="*/ 49181 h 61510"/>
                  <a:gd name="connsiteX7" fmla="*/ 49182 w 61510"/>
                  <a:gd name="connsiteY7" fmla="*/ 12341 h 61510"/>
                  <a:gd name="connsiteX8" fmla="*/ 12329 w 61510"/>
                  <a:gd name="connsiteY8" fmla="*/ 12341 h 61510"/>
                  <a:gd name="connsiteX9" fmla="*/ 12329 w 61510"/>
                  <a:gd name="connsiteY9" fmla="*/ 4918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10" h="61510">
                    <a:moveTo>
                      <a:pt x="61511" y="61511"/>
                    </a:moveTo>
                    <a:lnTo>
                      <a:pt x="0" y="61511"/>
                    </a:lnTo>
                    <a:lnTo>
                      <a:pt x="0" y="0"/>
                    </a:lnTo>
                    <a:lnTo>
                      <a:pt x="61511" y="0"/>
                    </a:lnTo>
                    <a:lnTo>
                      <a:pt x="61511" y="61511"/>
                    </a:lnTo>
                    <a:close/>
                    <a:moveTo>
                      <a:pt x="12329" y="49181"/>
                    </a:moveTo>
                    <a:lnTo>
                      <a:pt x="49182" y="49181"/>
                    </a:lnTo>
                    <a:lnTo>
                      <a:pt x="49182" y="12341"/>
                    </a:lnTo>
                    <a:lnTo>
                      <a:pt x="12329" y="12341"/>
                    </a:lnTo>
                    <a:lnTo>
                      <a:pt x="12329" y="49181"/>
                    </a:lnTo>
                    <a:close/>
                  </a:path>
                </a:pathLst>
              </a:custGeom>
              <a:solidFill>
                <a:schemeClr val="tx2"/>
              </a:solidFill>
              <a:ln w="1228" cap="flat">
                <a:noFill/>
                <a:prstDash val="solid"/>
                <a:miter/>
              </a:ln>
            </p:spPr>
            <p:txBody>
              <a:bodyPr rtlCol="0" anchor="ctr"/>
              <a:lstStyle/>
              <a:p>
                <a:endParaRPr lang="en-GB" dirty="0"/>
              </a:p>
            </p:txBody>
          </p:sp>
          <p:sp>
            <p:nvSpPr>
              <p:cNvPr id="25" name="Freihandform: Form 15">
                <a:extLst>
                  <a:ext uri="{FF2B5EF4-FFF2-40B4-BE49-F238E27FC236}">
                    <a16:creationId xmlns:a16="http://schemas.microsoft.com/office/drawing/2014/main" id="{79A5DC4E-E689-4F49-ABCC-84F5DB193B14}"/>
                  </a:ext>
                </a:extLst>
              </p:cNvPr>
              <p:cNvSpPr/>
              <p:nvPr/>
            </p:nvSpPr>
            <p:spPr>
              <a:xfrm>
                <a:off x="4032158" y="1775193"/>
                <a:ext cx="61498" cy="61510"/>
              </a:xfrm>
              <a:custGeom>
                <a:avLst/>
                <a:gdLst>
                  <a:gd name="connsiteX0" fmla="*/ 61498 w 61498"/>
                  <a:gd name="connsiteY0" fmla="*/ 61511 h 61510"/>
                  <a:gd name="connsiteX1" fmla="*/ 0 w 61498"/>
                  <a:gd name="connsiteY1" fmla="*/ 61511 h 61510"/>
                  <a:gd name="connsiteX2" fmla="*/ 0 w 61498"/>
                  <a:gd name="connsiteY2" fmla="*/ 0 h 61510"/>
                  <a:gd name="connsiteX3" fmla="*/ 61498 w 61498"/>
                  <a:gd name="connsiteY3" fmla="*/ 0 h 61510"/>
                  <a:gd name="connsiteX4" fmla="*/ 61498 w 61498"/>
                  <a:gd name="connsiteY4" fmla="*/ 61511 h 61510"/>
                  <a:gd name="connsiteX5" fmla="*/ 12329 w 61498"/>
                  <a:gd name="connsiteY5" fmla="*/ 49181 h 61510"/>
                  <a:gd name="connsiteX6" fmla="*/ 49169 w 61498"/>
                  <a:gd name="connsiteY6" fmla="*/ 49181 h 61510"/>
                  <a:gd name="connsiteX7" fmla="*/ 49169 w 61498"/>
                  <a:gd name="connsiteY7" fmla="*/ 12341 h 61510"/>
                  <a:gd name="connsiteX8" fmla="*/ 12329 w 61498"/>
                  <a:gd name="connsiteY8" fmla="*/ 12341 h 61510"/>
                  <a:gd name="connsiteX9" fmla="*/ 12329 w 61498"/>
                  <a:gd name="connsiteY9" fmla="*/ 4918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8" h="61510">
                    <a:moveTo>
                      <a:pt x="61498" y="61511"/>
                    </a:moveTo>
                    <a:lnTo>
                      <a:pt x="0" y="61511"/>
                    </a:lnTo>
                    <a:lnTo>
                      <a:pt x="0" y="0"/>
                    </a:lnTo>
                    <a:lnTo>
                      <a:pt x="61498" y="0"/>
                    </a:lnTo>
                    <a:lnTo>
                      <a:pt x="61498" y="61511"/>
                    </a:lnTo>
                    <a:close/>
                    <a:moveTo>
                      <a:pt x="12329" y="49181"/>
                    </a:moveTo>
                    <a:lnTo>
                      <a:pt x="49169" y="49181"/>
                    </a:lnTo>
                    <a:lnTo>
                      <a:pt x="49169" y="12341"/>
                    </a:lnTo>
                    <a:lnTo>
                      <a:pt x="12329" y="12341"/>
                    </a:lnTo>
                    <a:lnTo>
                      <a:pt x="12329" y="49181"/>
                    </a:lnTo>
                    <a:close/>
                  </a:path>
                </a:pathLst>
              </a:custGeom>
              <a:solidFill>
                <a:schemeClr val="tx2"/>
              </a:solidFill>
              <a:ln w="1228" cap="flat">
                <a:noFill/>
                <a:prstDash val="solid"/>
                <a:miter/>
              </a:ln>
            </p:spPr>
            <p:txBody>
              <a:bodyPr rtlCol="0" anchor="ctr"/>
              <a:lstStyle/>
              <a:p>
                <a:endParaRPr lang="en-GB" dirty="0"/>
              </a:p>
            </p:txBody>
          </p:sp>
          <p:sp>
            <p:nvSpPr>
              <p:cNvPr id="26" name="Freihandform: Form 16">
                <a:extLst>
                  <a:ext uri="{FF2B5EF4-FFF2-40B4-BE49-F238E27FC236}">
                    <a16:creationId xmlns:a16="http://schemas.microsoft.com/office/drawing/2014/main" id="{01372EA9-7E50-40AF-91B7-D1A1C1FA994B}"/>
                  </a:ext>
                </a:extLst>
              </p:cNvPr>
              <p:cNvSpPr/>
              <p:nvPr/>
            </p:nvSpPr>
            <p:spPr>
              <a:xfrm>
                <a:off x="4115859" y="1775193"/>
                <a:ext cx="61498" cy="61510"/>
              </a:xfrm>
              <a:custGeom>
                <a:avLst/>
                <a:gdLst>
                  <a:gd name="connsiteX0" fmla="*/ 61498 w 61498"/>
                  <a:gd name="connsiteY0" fmla="*/ 61511 h 61510"/>
                  <a:gd name="connsiteX1" fmla="*/ 0 w 61498"/>
                  <a:gd name="connsiteY1" fmla="*/ 61511 h 61510"/>
                  <a:gd name="connsiteX2" fmla="*/ 0 w 61498"/>
                  <a:gd name="connsiteY2" fmla="*/ 0 h 61510"/>
                  <a:gd name="connsiteX3" fmla="*/ 61498 w 61498"/>
                  <a:gd name="connsiteY3" fmla="*/ 0 h 61510"/>
                  <a:gd name="connsiteX4" fmla="*/ 61498 w 61498"/>
                  <a:gd name="connsiteY4" fmla="*/ 61511 h 61510"/>
                  <a:gd name="connsiteX5" fmla="*/ 12329 w 61498"/>
                  <a:gd name="connsiteY5" fmla="*/ 49181 h 61510"/>
                  <a:gd name="connsiteX6" fmla="*/ 49169 w 61498"/>
                  <a:gd name="connsiteY6" fmla="*/ 49181 h 61510"/>
                  <a:gd name="connsiteX7" fmla="*/ 49169 w 61498"/>
                  <a:gd name="connsiteY7" fmla="*/ 12341 h 61510"/>
                  <a:gd name="connsiteX8" fmla="*/ 12329 w 61498"/>
                  <a:gd name="connsiteY8" fmla="*/ 12341 h 61510"/>
                  <a:gd name="connsiteX9" fmla="*/ 12329 w 61498"/>
                  <a:gd name="connsiteY9" fmla="*/ 4918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8" h="61510">
                    <a:moveTo>
                      <a:pt x="61498" y="61511"/>
                    </a:moveTo>
                    <a:lnTo>
                      <a:pt x="0" y="61511"/>
                    </a:lnTo>
                    <a:lnTo>
                      <a:pt x="0" y="0"/>
                    </a:lnTo>
                    <a:lnTo>
                      <a:pt x="61498" y="0"/>
                    </a:lnTo>
                    <a:lnTo>
                      <a:pt x="61498" y="61511"/>
                    </a:lnTo>
                    <a:close/>
                    <a:moveTo>
                      <a:pt x="12329" y="49181"/>
                    </a:moveTo>
                    <a:lnTo>
                      <a:pt x="49169" y="49181"/>
                    </a:lnTo>
                    <a:lnTo>
                      <a:pt x="49169" y="12341"/>
                    </a:lnTo>
                    <a:lnTo>
                      <a:pt x="12329" y="12341"/>
                    </a:lnTo>
                    <a:lnTo>
                      <a:pt x="12329" y="49181"/>
                    </a:lnTo>
                    <a:close/>
                  </a:path>
                </a:pathLst>
              </a:custGeom>
              <a:solidFill>
                <a:schemeClr val="tx2"/>
              </a:solidFill>
              <a:ln w="1228" cap="flat">
                <a:noFill/>
                <a:prstDash val="solid"/>
                <a:miter/>
              </a:ln>
            </p:spPr>
            <p:txBody>
              <a:bodyPr rtlCol="0" anchor="ctr"/>
              <a:lstStyle/>
              <a:p>
                <a:endParaRPr lang="en-GB" dirty="0"/>
              </a:p>
            </p:txBody>
          </p:sp>
          <p:sp>
            <p:nvSpPr>
              <p:cNvPr id="27" name="Freihandform: Form 17">
                <a:extLst>
                  <a:ext uri="{FF2B5EF4-FFF2-40B4-BE49-F238E27FC236}">
                    <a16:creationId xmlns:a16="http://schemas.microsoft.com/office/drawing/2014/main" id="{6940B9EB-23F8-4980-8DD2-C495B16906E3}"/>
                  </a:ext>
                </a:extLst>
              </p:cNvPr>
              <p:cNvSpPr/>
              <p:nvPr/>
            </p:nvSpPr>
            <p:spPr>
              <a:xfrm>
                <a:off x="4199559" y="1775193"/>
                <a:ext cx="61510" cy="61510"/>
              </a:xfrm>
              <a:custGeom>
                <a:avLst/>
                <a:gdLst>
                  <a:gd name="connsiteX0" fmla="*/ 61511 w 61510"/>
                  <a:gd name="connsiteY0" fmla="*/ 61511 h 61510"/>
                  <a:gd name="connsiteX1" fmla="*/ 0 w 61510"/>
                  <a:gd name="connsiteY1" fmla="*/ 61511 h 61510"/>
                  <a:gd name="connsiteX2" fmla="*/ 0 w 61510"/>
                  <a:gd name="connsiteY2" fmla="*/ 0 h 61510"/>
                  <a:gd name="connsiteX3" fmla="*/ 61511 w 61510"/>
                  <a:gd name="connsiteY3" fmla="*/ 0 h 61510"/>
                  <a:gd name="connsiteX4" fmla="*/ 61511 w 61510"/>
                  <a:gd name="connsiteY4" fmla="*/ 61511 h 61510"/>
                  <a:gd name="connsiteX5" fmla="*/ 12329 w 61510"/>
                  <a:gd name="connsiteY5" fmla="*/ 49181 h 61510"/>
                  <a:gd name="connsiteX6" fmla="*/ 49182 w 61510"/>
                  <a:gd name="connsiteY6" fmla="*/ 49181 h 61510"/>
                  <a:gd name="connsiteX7" fmla="*/ 49182 w 61510"/>
                  <a:gd name="connsiteY7" fmla="*/ 12341 h 61510"/>
                  <a:gd name="connsiteX8" fmla="*/ 12329 w 61510"/>
                  <a:gd name="connsiteY8" fmla="*/ 12341 h 61510"/>
                  <a:gd name="connsiteX9" fmla="*/ 12329 w 61510"/>
                  <a:gd name="connsiteY9" fmla="*/ 4918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10" h="61510">
                    <a:moveTo>
                      <a:pt x="61511" y="61511"/>
                    </a:moveTo>
                    <a:lnTo>
                      <a:pt x="0" y="61511"/>
                    </a:lnTo>
                    <a:lnTo>
                      <a:pt x="0" y="0"/>
                    </a:lnTo>
                    <a:lnTo>
                      <a:pt x="61511" y="0"/>
                    </a:lnTo>
                    <a:lnTo>
                      <a:pt x="61511" y="61511"/>
                    </a:lnTo>
                    <a:close/>
                    <a:moveTo>
                      <a:pt x="12329" y="49181"/>
                    </a:moveTo>
                    <a:lnTo>
                      <a:pt x="49182" y="49181"/>
                    </a:lnTo>
                    <a:lnTo>
                      <a:pt x="49182" y="12341"/>
                    </a:lnTo>
                    <a:lnTo>
                      <a:pt x="12329" y="12341"/>
                    </a:lnTo>
                    <a:lnTo>
                      <a:pt x="12329" y="49181"/>
                    </a:lnTo>
                    <a:close/>
                  </a:path>
                </a:pathLst>
              </a:custGeom>
              <a:solidFill>
                <a:schemeClr val="tx2"/>
              </a:solidFill>
              <a:ln w="1228" cap="flat">
                <a:noFill/>
                <a:prstDash val="solid"/>
                <a:miter/>
              </a:ln>
            </p:spPr>
            <p:txBody>
              <a:bodyPr rtlCol="0" anchor="ctr"/>
              <a:lstStyle/>
              <a:p>
                <a:endParaRPr lang="en-GB" dirty="0"/>
              </a:p>
            </p:txBody>
          </p:sp>
          <p:sp>
            <p:nvSpPr>
              <p:cNvPr id="28" name="Freihandform: Form 19">
                <a:extLst>
                  <a:ext uri="{FF2B5EF4-FFF2-40B4-BE49-F238E27FC236}">
                    <a16:creationId xmlns:a16="http://schemas.microsoft.com/office/drawing/2014/main" id="{4A1B3A57-CE32-40D5-A353-7BE0C90CB148}"/>
                  </a:ext>
                </a:extLst>
              </p:cNvPr>
              <p:cNvSpPr/>
              <p:nvPr/>
            </p:nvSpPr>
            <p:spPr>
              <a:xfrm>
                <a:off x="3948446" y="1942607"/>
                <a:ext cx="61510" cy="61510"/>
              </a:xfrm>
              <a:custGeom>
                <a:avLst/>
                <a:gdLst>
                  <a:gd name="connsiteX0" fmla="*/ 61511 w 61510"/>
                  <a:gd name="connsiteY0" fmla="*/ 61511 h 61510"/>
                  <a:gd name="connsiteX1" fmla="*/ 0 w 61510"/>
                  <a:gd name="connsiteY1" fmla="*/ 61511 h 61510"/>
                  <a:gd name="connsiteX2" fmla="*/ 0 w 61510"/>
                  <a:gd name="connsiteY2" fmla="*/ 0 h 61510"/>
                  <a:gd name="connsiteX3" fmla="*/ 61511 w 61510"/>
                  <a:gd name="connsiteY3" fmla="*/ 0 h 61510"/>
                  <a:gd name="connsiteX4" fmla="*/ 61511 w 61510"/>
                  <a:gd name="connsiteY4" fmla="*/ 61511 h 61510"/>
                  <a:gd name="connsiteX5" fmla="*/ 12329 w 61510"/>
                  <a:gd name="connsiteY5" fmla="*/ 49169 h 61510"/>
                  <a:gd name="connsiteX6" fmla="*/ 49182 w 61510"/>
                  <a:gd name="connsiteY6" fmla="*/ 49169 h 61510"/>
                  <a:gd name="connsiteX7" fmla="*/ 49182 w 61510"/>
                  <a:gd name="connsiteY7" fmla="*/ 12329 h 61510"/>
                  <a:gd name="connsiteX8" fmla="*/ 12329 w 61510"/>
                  <a:gd name="connsiteY8" fmla="*/ 12329 h 61510"/>
                  <a:gd name="connsiteX9" fmla="*/ 12329 w 61510"/>
                  <a:gd name="connsiteY9" fmla="*/ 49169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10" h="61510">
                    <a:moveTo>
                      <a:pt x="61511" y="61511"/>
                    </a:moveTo>
                    <a:lnTo>
                      <a:pt x="0" y="61511"/>
                    </a:lnTo>
                    <a:lnTo>
                      <a:pt x="0" y="0"/>
                    </a:lnTo>
                    <a:lnTo>
                      <a:pt x="61511" y="0"/>
                    </a:lnTo>
                    <a:lnTo>
                      <a:pt x="61511" y="61511"/>
                    </a:lnTo>
                    <a:close/>
                    <a:moveTo>
                      <a:pt x="12329" y="49169"/>
                    </a:moveTo>
                    <a:lnTo>
                      <a:pt x="49182" y="49169"/>
                    </a:lnTo>
                    <a:lnTo>
                      <a:pt x="49182" y="12329"/>
                    </a:lnTo>
                    <a:lnTo>
                      <a:pt x="12329" y="12329"/>
                    </a:lnTo>
                    <a:lnTo>
                      <a:pt x="12329" y="49169"/>
                    </a:lnTo>
                    <a:close/>
                  </a:path>
                </a:pathLst>
              </a:custGeom>
              <a:solidFill>
                <a:schemeClr val="tx2"/>
              </a:solidFill>
              <a:ln w="1228" cap="flat">
                <a:noFill/>
                <a:prstDash val="solid"/>
                <a:miter/>
              </a:ln>
            </p:spPr>
            <p:txBody>
              <a:bodyPr rtlCol="0" anchor="ctr"/>
              <a:lstStyle/>
              <a:p>
                <a:endParaRPr lang="en-GB" dirty="0"/>
              </a:p>
            </p:txBody>
          </p:sp>
          <p:sp>
            <p:nvSpPr>
              <p:cNvPr id="29" name="Freihandform: Form 21">
                <a:extLst>
                  <a:ext uri="{FF2B5EF4-FFF2-40B4-BE49-F238E27FC236}">
                    <a16:creationId xmlns:a16="http://schemas.microsoft.com/office/drawing/2014/main" id="{5ACE37A9-0803-4EA5-854E-B78F8C31E15D}"/>
                  </a:ext>
                </a:extLst>
              </p:cNvPr>
              <p:cNvSpPr/>
              <p:nvPr/>
            </p:nvSpPr>
            <p:spPr>
              <a:xfrm>
                <a:off x="4115859" y="1942607"/>
                <a:ext cx="61498" cy="61510"/>
              </a:xfrm>
              <a:custGeom>
                <a:avLst/>
                <a:gdLst>
                  <a:gd name="connsiteX0" fmla="*/ 61498 w 61498"/>
                  <a:gd name="connsiteY0" fmla="*/ 61511 h 61510"/>
                  <a:gd name="connsiteX1" fmla="*/ 0 w 61498"/>
                  <a:gd name="connsiteY1" fmla="*/ 61511 h 61510"/>
                  <a:gd name="connsiteX2" fmla="*/ 0 w 61498"/>
                  <a:gd name="connsiteY2" fmla="*/ 0 h 61510"/>
                  <a:gd name="connsiteX3" fmla="*/ 61498 w 61498"/>
                  <a:gd name="connsiteY3" fmla="*/ 0 h 61510"/>
                  <a:gd name="connsiteX4" fmla="*/ 61498 w 61498"/>
                  <a:gd name="connsiteY4" fmla="*/ 61511 h 61510"/>
                  <a:gd name="connsiteX5" fmla="*/ 12329 w 61498"/>
                  <a:gd name="connsiteY5" fmla="*/ 49169 h 61510"/>
                  <a:gd name="connsiteX6" fmla="*/ 49169 w 61498"/>
                  <a:gd name="connsiteY6" fmla="*/ 49169 h 61510"/>
                  <a:gd name="connsiteX7" fmla="*/ 49169 w 61498"/>
                  <a:gd name="connsiteY7" fmla="*/ 12329 h 61510"/>
                  <a:gd name="connsiteX8" fmla="*/ 12329 w 61498"/>
                  <a:gd name="connsiteY8" fmla="*/ 12329 h 61510"/>
                  <a:gd name="connsiteX9" fmla="*/ 12329 w 61498"/>
                  <a:gd name="connsiteY9" fmla="*/ 49169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8" h="61510">
                    <a:moveTo>
                      <a:pt x="61498" y="61511"/>
                    </a:moveTo>
                    <a:lnTo>
                      <a:pt x="0" y="61511"/>
                    </a:lnTo>
                    <a:lnTo>
                      <a:pt x="0" y="0"/>
                    </a:lnTo>
                    <a:lnTo>
                      <a:pt x="61498" y="0"/>
                    </a:lnTo>
                    <a:lnTo>
                      <a:pt x="61498" y="61511"/>
                    </a:lnTo>
                    <a:close/>
                    <a:moveTo>
                      <a:pt x="12329" y="49169"/>
                    </a:moveTo>
                    <a:lnTo>
                      <a:pt x="49169" y="49169"/>
                    </a:lnTo>
                    <a:lnTo>
                      <a:pt x="49169" y="12329"/>
                    </a:lnTo>
                    <a:lnTo>
                      <a:pt x="12329" y="12329"/>
                    </a:lnTo>
                    <a:lnTo>
                      <a:pt x="12329" y="49169"/>
                    </a:lnTo>
                    <a:close/>
                  </a:path>
                </a:pathLst>
              </a:custGeom>
              <a:solidFill>
                <a:schemeClr val="tx2"/>
              </a:solidFill>
              <a:ln w="1228" cap="flat">
                <a:noFill/>
                <a:prstDash val="solid"/>
                <a:miter/>
              </a:ln>
            </p:spPr>
            <p:txBody>
              <a:bodyPr rtlCol="0" anchor="ctr"/>
              <a:lstStyle/>
              <a:p>
                <a:endParaRPr lang="en-GB" dirty="0"/>
              </a:p>
            </p:txBody>
          </p:sp>
          <p:sp>
            <p:nvSpPr>
              <p:cNvPr id="30" name="Freihandform: Form 22">
                <a:extLst>
                  <a:ext uri="{FF2B5EF4-FFF2-40B4-BE49-F238E27FC236}">
                    <a16:creationId xmlns:a16="http://schemas.microsoft.com/office/drawing/2014/main" id="{F74A9579-FD46-4D24-93C8-98071216842D}"/>
                  </a:ext>
                </a:extLst>
              </p:cNvPr>
              <p:cNvSpPr/>
              <p:nvPr/>
            </p:nvSpPr>
            <p:spPr>
              <a:xfrm>
                <a:off x="4199559" y="1942607"/>
                <a:ext cx="61510" cy="61510"/>
              </a:xfrm>
              <a:custGeom>
                <a:avLst/>
                <a:gdLst>
                  <a:gd name="connsiteX0" fmla="*/ 61511 w 61510"/>
                  <a:gd name="connsiteY0" fmla="*/ 61511 h 61510"/>
                  <a:gd name="connsiteX1" fmla="*/ 0 w 61510"/>
                  <a:gd name="connsiteY1" fmla="*/ 61511 h 61510"/>
                  <a:gd name="connsiteX2" fmla="*/ 0 w 61510"/>
                  <a:gd name="connsiteY2" fmla="*/ 0 h 61510"/>
                  <a:gd name="connsiteX3" fmla="*/ 61511 w 61510"/>
                  <a:gd name="connsiteY3" fmla="*/ 0 h 61510"/>
                  <a:gd name="connsiteX4" fmla="*/ 61511 w 61510"/>
                  <a:gd name="connsiteY4" fmla="*/ 61511 h 61510"/>
                  <a:gd name="connsiteX5" fmla="*/ 12329 w 61510"/>
                  <a:gd name="connsiteY5" fmla="*/ 49169 h 61510"/>
                  <a:gd name="connsiteX6" fmla="*/ 49182 w 61510"/>
                  <a:gd name="connsiteY6" fmla="*/ 49169 h 61510"/>
                  <a:gd name="connsiteX7" fmla="*/ 49182 w 61510"/>
                  <a:gd name="connsiteY7" fmla="*/ 12329 h 61510"/>
                  <a:gd name="connsiteX8" fmla="*/ 12329 w 61510"/>
                  <a:gd name="connsiteY8" fmla="*/ 12329 h 61510"/>
                  <a:gd name="connsiteX9" fmla="*/ 12329 w 61510"/>
                  <a:gd name="connsiteY9" fmla="*/ 49169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10" h="61510">
                    <a:moveTo>
                      <a:pt x="61511" y="61511"/>
                    </a:moveTo>
                    <a:lnTo>
                      <a:pt x="0" y="61511"/>
                    </a:lnTo>
                    <a:lnTo>
                      <a:pt x="0" y="0"/>
                    </a:lnTo>
                    <a:lnTo>
                      <a:pt x="61511" y="0"/>
                    </a:lnTo>
                    <a:lnTo>
                      <a:pt x="61511" y="61511"/>
                    </a:lnTo>
                    <a:close/>
                    <a:moveTo>
                      <a:pt x="12329" y="49169"/>
                    </a:moveTo>
                    <a:lnTo>
                      <a:pt x="49182" y="49169"/>
                    </a:lnTo>
                    <a:lnTo>
                      <a:pt x="49182" y="12329"/>
                    </a:lnTo>
                    <a:lnTo>
                      <a:pt x="12329" y="12329"/>
                    </a:lnTo>
                    <a:lnTo>
                      <a:pt x="12329" y="49169"/>
                    </a:lnTo>
                    <a:close/>
                  </a:path>
                </a:pathLst>
              </a:custGeom>
              <a:solidFill>
                <a:schemeClr val="tx2"/>
              </a:solidFill>
              <a:ln w="1228" cap="flat">
                <a:noFill/>
                <a:prstDash val="solid"/>
                <a:miter/>
              </a:ln>
            </p:spPr>
            <p:txBody>
              <a:bodyPr rtlCol="0" anchor="ctr"/>
              <a:lstStyle/>
              <a:p>
                <a:endParaRPr lang="en-GB" dirty="0"/>
              </a:p>
            </p:txBody>
          </p:sp>
          <p:sp>
            <p:nvSpPr>
              <p:cNvPr id="31" name="Freihandform: Form 24">
                <a:extLst>
                  <a:ext uri="{FF2B5EF4-FFF2-40B4-BE49-F238E27FC236}">
                    <a16:creationId xmlns:a16="http://schemas.microsoft.com/office/drawing/2014/main" id="{5E8C8C7C-1BD0-40F4-A840-5E6524F5B5D5}"/>
                  </a:ext>
                </a:extLst>
              </p:cNvPr>
              <p:cNvSpPr/>
              <p:nvPr/>
            </p:nvSpPr>
            <p:spPr>
              <a:xfrm>
                <a:off x="3948446" y="1858894"/>
                <a:ext cx="61510" cy="61510"/>
              </a:xfrm>
              <a:custGeom>
                <a:avLst/>
                <a:gdLst>
                  <a:gd name="connsiteX0" fmla="*/ 61511 w 61510"/>
                  <a:gd name="connsiteY0" fmla="*/ 61511 h 61510"/>
                  <a:gd name="connsiteX1" fmla="*/ 0 w 61510"/>
                  <a:gd name="connsiteY1" fmla="*/ 61511 h 61510"/>
                  <a:gd name="connsiteX2" fmla="*/ 0 w 61510"/>
                  <a:gd name="connsiteY2" fmla="*/ 0 h 61510"/>
                  <a:gd name="connsiteX3" fmla="*/ 61511 w 61510"/>
                  <a:gd name="connsiteY3" fmla="*/ 0 h 61510"/>
                  <a:gd name="connsiteX4" fmla="*/ 61511 w 61510"/>
                  <a:gd name="connsiteY4" fmla="*/ 61511 h 61510"/>
                  <a:gd name="connsiteX5" fmla="*/ 12329 w 61510"/>
                  <a:gd name="connsiteY5" fmla="*/ 49181 h 61510"/>
                  <a:gd name="connsiteX6" fmla="*/ 49182 w 61510"/>
                  <a:gd name="connsiteY6" fmla="*/ 49181 h 61510"/>
                  <a:gd name="connsiteX7" fmla="*/ 49182 w 61510"/>
                  <a:gd name="connsiteY7" fmla="*/ 12341 h 61510"/>
                  <a:gd name="connsiteX8" fmla="*/ 12329 w 61510"/>
                  <a:gd name="connsiteY8" fmla="*/ 12341 h 61510"/>
                  <a:gd name="connsiteX9" fmla="*/ 12329 w 61510"/>
                  <a:gd name="connsiteY9" fmla="*/ 4918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10" h="61510">
                    <a:moveTo>
                      <a:pt x="61511" y="61511"/>
                    </a:moveTo>
                    <a:lnTo>
                      <a:pt x="0" y="61511"/>
                    </a:lnTo>
                    <a:lnTo>
                      <a:pt x="0" y="0"/>
                    </a:lnTo>
                    <a:lnTo>
                      <a:pt x="61511" y="0"/>
                    </a:lnTo>
                    <a:lnTo>
                      <a:pt x="61511" y="61511"/>
                    </a:lnTo>
                    <a:close/>
                    <a:moveTo>
                      <a:pt x="12329" y="49181"/>
                    </a:moveTo>
                    <a:lnTo>
                      <a:pt x="49182" y="49181"/>
                    </a:lnTo>
                    <a:lnTo>
                      <a:pt x="49182" y="12341"/>
                    </a:lnTo>
                    <a:lnTo>
                      <a:pt x="12329" y="12341"/>
                    </a:lnTo>
                    <a:lnTo>
                      <a:pt x="12329" y="49181"/>
                    </a:lnTo>
                    <a:close/>
                  </a:path>
                </a:pathLst>
              </a:custGeom>
              <a:solidFill>
                <a:schemeClr val="tx2"/>
              </a:solidFill>
              <a:ln w="1228" cap="flat">
                <a:noFill/>
                <a:prstDash val="solid"/>
                <a:miter/>
              </a:ln>
            </p:spPr>
            <p:txBody>
              <a:bodyPr rtlCol="0" anchor="ctr"/>
              <a:lstStyle/>
              <a:p>
                <a:endParaRPr lang="en-GB" dirty="0"/>
              </a:p>
            </p:txBody>
          </p:sp>
          <p:sp>
            <p:nvSpPr>
              <p:cNvPr id="32" name="Freihandform: Form 25">
                <a:extLst>
                  <a:ext uri="{FF2B5EF4-FFF2-40B4-BE49-F238E27FC236}">
                    <a16:creationId xmlns:a16="http://schemas.microsoft.com/office/drawing/2014/main" id="{F828C98D-68B1-4C24-9278-0B7EF1A7C7E0}"/>
                  </a:ext>
                </a:extLst>
              </p:cNvPr>
              <p:cNvSpPr/>
              <p:nvPr/>
            </p:nvSpPr>
            <p:spPr>
              <a:xfrm>
                <a:off x="4032158" y="1858894"/>
                <a:ext cx="61498" cy="61510"/>
              </a:xfrm>
              <a:custGeom>
                <a:avLst/>
                <a:gdLst>
                  <a:gd name="connsiteX0" fmla="*/ 61498 w 61498"/>
                  <a:gd name="connsiteY0" fmla="*/ 61511 h 61510"/>
                  <a:gd name="connsiteX1" fmla="*/ 0 w 61498"/>
                  <a:gd name="connsiteY1" fmla="*/ 61511 h 61510"/>
                  <a:gd name="connsiteX2" fmla="*/ 0 w 61498"/>
                  <a:gd name="connsiteY2" fmla="*/ 0 h 61510"/>
                  <a:gd name="connsiteX3" fmla="*/ 61498 w 61498"/>
                  <a:gd name="connsiteY3" fmla="*/ 0 h 61510"/>
                  <a:gd name="connsiteX4" fmla="*/ 61498 w 61498"/>
                  <a:gd name="connsiteY4" fmla="*/ 61511 h 61510"/>
                  <a:gd name="connsiteX5" fmla="*/ 12329 w 61498"/>
                  <a:gd name="connsiteY5" fmla="*/ 49181 h 61510"/>
                  <a:gd name="connsiteX6" fmla="*/ 49169 w 61498"/>
                  <a:gd name="connsiteY6" fmla="*/ 49181 h 61510"/>
                  <a:gd name="connsiteX7" fmla="*/ 49169 w 61498"/>
                  <a:gd name="connsiteY7" fmla="*/ 12341 h 61510"/>
                  <a:gd name="connsiteX8" fmla="*/ 12329 w 61498"/>
                  <a:gd name="connsiteY8" fmla="*/ 12341 h 61510"/>
                  <a:gd name="connsiteX9" fmla="*/ 12329 w 61498"/>
                  <a:gd name="connsiteY9" fmla="*/ 4918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8" h="61510">
                    <a:moveTo>
                      <a:pt x="61498" y="61511"/>
                    </a:moveTo>
                    <a:lnTo>
                      <a:pt x="0" y="61511"/>
                    </a:lnTo>
                    <a:lnTo>
                      <a:pt x="0" y="0"/>
                    </a:lnTo>
                    <a:lnTo>
                      <a:pt x="61498" y="0"/>
                    </a:lnTo>
                    <a:lnTo>
                      <a:pt x="61498" y="61511"/>
                    </a:lnTo>
                    <a:close/>
                    <a:moveTo>
                      <a:pt x="12329" y="49181"/>
                    </a:moveTo>
                    <a:lnTo>
                      <a:pt x="49169" y="49181"/>
                    </a:lnTo>
                    <a:lnTo>
                      <a:pt x="49169" y="12341"/>
                    </a:lnTo>
                    <a:lnTo>
                      <a:pt x="12329" y="12341"/>
                    </a:lnTo>
                    <a:lnTo>
                      <a:pt x="12329" y="49181"/>
                    </a:lnTo>
                    <a:close/>
                  </a:path>
                </a:pathLst>
              </a:custGeom>
              <a:solidFill>
                <a:schemeClr val="tx2"/>
              </a:solidFill>
              <a:ln w="1228" cap="flat">
                <a:noFill/>
                <a:prstDash val="solid"/>
                <a:miter/>
              </a:ln>
            </p:spPr>
            <p:txBody>
              <a:bodyPr rtlCol="0" anchor="ctr"/>
              <a:lstStyle/>
              <a:p>
                <a:endParaRPr lang="en-GB" dirty="0"/>
              </a:p>
            </p:txBody>
          </p:sp>
          <p:sp>
            <p:nvSpPr>
              <p:cNvPr id="33" name="Freihandform: Form 28">
                <a:extLst>
                  <a:ext uri="{FF2B5EF4-FFF2-40B4-BE49-F238E27FC236}">
                    <a16:creationId xmlns:a16="http://schemas.microsoft.com/office/drawing/2014/main" id="{C1CCEB1D-9844-4333-B546-29126AB10CB8}"/>
                  </a:ext>
                </a:extLst>
              </p:cNvPr>
              <p:cNvSpPr/>
              <p:nvPr/>
            </p:nvSpPr>
            <p:spPr>
              <a:xfrm>
                <a:off x="3899608" y="2110020"/>
                <a:ext cx="410287" cy="12329"/>
              </a:xfrm>
              <a:custGeom>
                <a:avLst/>
                <a:gdLst>
                  <a:gd name="connsiteX0" fmla="*/ 0 w 410287"/>
                  <a:gd name="connsiteY0" fmla="*/ 0 h 12329"/>
                  <a:gd name="connsiteX1" fmla="*/ 410288 w 410287"/>
                  <a:gd name="connsiteY1" fmla="*/ 0 h 12329"/>
                  <a:gd name="connsiteX2" fmla="*/ 410288 w 410287"/>
                  <a:gd name="connsiteY2" fmla="*/ 12329 h 12329"/>
                  <a:gd name="connsiteX3" fmla="*/ 0 w 410287"/>
                  <a:gd name="connsiteY3" fmla="*/ 12329 h 12329"/>
                </a:gdLst>
                <a:ahLst/>
                <a:cxnLst>
                  <a:cxn ang="0">
                    <a:pos x="connsiteX0" y="connsiteY0"/>
                  </a:cxn>
                  <a:cxn ang="0">
                    <a:pos x="connsiteX1" y="connsiteY1"/>
                  </a:cxn>
                  <a:cxn ang="0">
                    <a:pos x="connsiteX2" y="connsiteY2"/>
                  </a:cxn>
                  <a:cxn ang="0">
                    <a:pos x="connsiteX3" y="connsiteY3"/>
                  </a:cxn>
                </a:cxnLst>
                <a:rect l="l" t="t" r="r" b="b"/>
                <a:pathLst>
                  <a:path w="410287" h="12329">
                    <a:moveTo>
                      <a:pt x="0" y="0"/>
                    </a:moveTo>
                    <a:lnTo>
                      <a:pt x="410288" y="0"/>
                    </a:lnTo>
                    <a:lnTo>
                      <a:pt x="410288" y="12329"/>
                    </a:lnTo>
                    <a:lnTo>
                      <a:pt x="0" y="12329"/>
                    </a:lnTo>
                    <a:close/>
                  </a:path>
                </a:pathLst>
              </a:custGeom>
              <a:solidFill>
                <a:schemeClr val="tx2"/>
              </a:solidFill>
              <a:ln w="1228" cap="flat">
                <a:noFill/>
                <a:prstDash val="solid"/>
                <a:miter/>
              </a:ln>
            </p:spPr>
            <p:txBody>
              <a:bodyPr rtlCol="0" anchor="ctr"/>
              <a:lstStyle/>
              <a:p>
                <a:endParaRPr lang="en-GB" dirty="0"/>
              </a:p>
            </p:txBody>
          </p:sp>
          <p:grpSp>
            <p:nvGrpSpPr>
              <p:cNvPr id="34" name="Gruppieren 410">
                <a:extLst>
                  <a:ext uri="{FF2B5EF4-FFF2-40B4-BE49-F238E27FC236}">
                    <a16:creationId xmlns:a16="http://schemas.microsoft.com/office/drawing/2014/main" id="{CBAAD570-5281-4AA2-9EB2-BE6D6A877CCD}"/>
                  </a:ext>
                </a:extLst>
              </p:cNvPr>
              <p:cNvGrpSpPr/>
              <p:nvPr/>
            </p:nvGrpSpPr>
            <p:grpSpPr>
              <a:xfrm>
                <a:off x="3948446" y="1775193"/>
                <a:ext cx="312623" cy="347156"/>
                <a:chOff x="3948446" y="1775193"/>
                <a:chExt cx="312623" cy="347156"/>
              </a:xfrm>
            </p:grpSpPr>
            <p:grpSp>
              <p:nvGrpSpPr>
                <p:cNvPr id="35" name="Gruppieren 409">
                  <a:extLst>
                    <a:ext uri="{FF2B5EF4-FFF2-40B4-BE49-F238E27FC236}">
                      <a16:creationId xmlns:a16="http://schemas.microsoft.com/office/drawing/2014/main" id="{6105E5A5-058B-4453-8C61-BF68D7B6857F}"/>
                    </a:ext>
                  </a:extLst>
                </p:cNvPr>
                <p:cNvGrpSpPr/>
                <p:nvPr/>
              </p:nvGrpSpPr>
              <p:grpSpPr>
                <a:xfrm>
                  <a:off x="3948446" y="1775193"/>
                  <a:ext cx="312623" cy="347156"/>
                  <a:chOff x="3948446" y="1775193"/>
                  <a:chExt cx="312623" cy="347156"/>
                </a:xfrm>
              </p:grpSpPr>
              <p:sp>
                <p:nvSpPr>
                  <p:cNvPr id="37" name="Freihandform: Form 11">
                    <a:extLst>
                      <a:ext uri="{FF2B5EF4-FFF2-40B4-BE49-F238E27FC236}">
                        <a16:creationId xmlns:a16="http://schemas.microsoft.com/office/drawing/2014/main" id="{33FFA808-A5B4-43E7-9BA7-FFF04C062AEF}"/>
                      </a:ext>
                    </a:extLst>
                  </p:cNvPr>
                  <p:cNvSpPr/>
                  <p:nvPr/>
                </p:nvSpPr>
                <p:spPr>
                  <a:xfrm>
                    <a:off x="4032146" y="2026320"/>
                    <a:ext cx="145211" cy="96029"/>
                  </a:xfrm>
                  <a:custGeom>
                    <a:avLst/>
                    <a:gdLst>
                      <a:gd name="connsiteX0" fmla="*/ 145211 w 145211"/>
                      <a:gd name="connsiteY0" fmla="*/ 96030 h 96029"/>
                      <a:gd name="connsiteX1" fmla="*/ 0 w 145211"/>
                      <a:gd name="connsiteY1" fmla="*/ 96030 h 96029"/>
                      <a:gd name="connsiteX2" fmla="*/ 0 w 145211"/>
                      <a:gd name="connsiteY2" fmla="*/ 0 h 96029"/>
                      <a:gd name="connsiteX3" fmla="*/ 145211 w 145211"/>
                      <a:gd name="connsiteY3" fmla="*/ 0 h 96029"/>
                      <a:gd name="connsiteX4" fmla="*/ 145211 w 145211"/>
                      <a:gd name="connsiteY4" fmla="*/ 96030 h 96029"/>
                      <a:gd name="connsiteX5" fmla="*/ 12341 w 145211"/>
                      <a:gd name="connsiteY5" fmla="*/ 83701 h 96029"/>
                      <a:gd name="connsiteX6" fmla="*/ 132882 w 145211"/>
                      <a:gd name="connsiteY6" fmla="*/ 83701 h 96029"/>
                      <a:gd name="connsiteX7" fmla="*/ 132882 w 145211"/>
                      <a:gd name="connsiteY7" fmla="*/ 12329 h 96029"/>
                      <a:gd name="connsiteX8" fmla="*/ 12341 w 145211"/>
                      <a:gd name="connsiteY8" fmla="*/ 12329 h 96029"/>
                      <a:gd name="connsiteX9" fmla="*/ 12341 w 145211"/>
                      <a:gd name="connsiteY9" fmla="*/ 83701 h 96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211" h="96029">
                        <a:moveTo>
                          <a:pt x="145211" y="96030"/>
                        </a:moveTo>
                        <a:lnTo>
                          <a:pt x="0" y="96030"/>
                        </a:lnTo>
                        <a:lnTo>
                          <a:pt x="0" y="0"/>
                        </a:lnTo>
                        <a:lnTo>
                          <a:pt x="145211" y="0"/>
                        </a:lnTo>
                        <a:lnTo>
                          <a:pt x="145211" y="96030"/>
                        </a:lnTo>
                        <a:close/>
                        <a:moveTo>
                          <a:pt x="12341" y="83701"/>
                        </a:moveTo>
                        <a:lnTo>
                          <a:pt x="132882" y="83701"/>
                        </a:lnTo>
                        <a:lnTo>
                          <a:pt x="132882" y="12329"/>
                        </a:lnTo>
                        <a:lnTo>
                          <a:pt x="12341" y="12329"/>
                        </a:lnTo>
                        <a:lnTo>
                          <a:pt x="12341" y="83701"/>
                        </a:lnTo>
                        <a:close/>
                      </a:path>
                    </a:pathLst>
                  </a:custGeom>
                  <a:solidFill>
                    <a:schemeClr val="accent1"/>
                  </a:solidFill>
                  <a:ln w="1228" cap="flat">
                    <a:noFill/>
                    <a:prstDash val="solid"/>
                    <a:miter/>
                  </a:ln>
                </p:spPr>
                <p:txBody>
                  <a:bodyPr rtlCol="0" anchor="ctr"/>
                  <a:lstStyle/>
                  <a:p>
                    <a:endParaRPr lang="en-GB" dirty="0"/>
                  </a:p>
                </p:txBody>
              </p:sp>
              <p:sp>
                <p:nvSpPr>
                  <p:cNvPr id="38" name="Freihandform: Form 14">
                    <a:extLst>
                      <a:ext uri="{FF2B5EF4-FFF2-40B4-BE49-F238E27FC236}">
                        <a16:creationId xmlns:a16="http://schemas.microsoft.com/office/drawing/2014/main" id="{C5AF79DF-BCEF-4139-AA6F-86A32ACC6EFF}"/>
                      </a:ext>
                    </a:extLst>
                  </p:cNvPr>
                  <p:cNvSpPr/>
                  <p:nvPr/>
                </p:nvSpPr>
                <p:spPr>
                  <a:xfrm>
                    <a:off x="3948446" y="1775193"/>
                    <a:ext cx="61510" cy="61510"/>
                  </a:xfrm>
                  <a:custGeom>
                    <a:avLst/>
                    <a:gdLst>
                      <a:gd name="connsiteX0" fmla="*/ 61511 w 61510"/>
                      <a:gd name="connsiteY0" fmla="*/ 61511 h 61510"/>
                      <a:gd name="connsiteX1" fmla="*/ 0 w 61510"/>
                      <a:gd name="connsiteY1" fmla="*/ 61511 h 61510"/>
                      <a:gd name="connsiteX2" fmla="*/ 0 w 61510"/>
                      <a:gd name="connsiteY2" fmla="*/ 0 h 61510"/>
                      <a:gd name="connsiteX3" fmla="*/ 61511 w 61510"/>
                      <a:gd name="connsiteY3" fmla="*/ 0 h 61510"/>
                      <a:gd name="connsiteX4" fmla="*/ 61511 w 61510"/>
                      <a:gd name="connsiteY4" fmla="*/ 61511 h 61510"/>
                      <a:gd name="connsiteX5" fmla="*/ 12329 w 61510"/>
                      <a:gd name="connsiteY5" fmla="*/ 49181 h 61510"/>
                      <a:gd name="connsiteX6" fmla="*/ 49182 w 61510"/>
                      <a:gd name="connsiteY6" fmla="*/ 49181 h 61510"/>
                      <a:gd name="connsiteX7" fmla="*/ 49182 w 61510"/>
                      <a:gd name="connsiteY7" fmla="*/ 12341 h 61510"/>
                      <a:gd name="connsiteX8" fmla="*/ 12329 w 61510"/>
                      <a:gd name="connsiteY8" fmla="*/ 12341 h 61510"/>
                      <a:gd name="connsiteX9" fmla="*/ 12329 w 61510"/>
                      <a:gd name="connsiteY9" fmla="*/ 4918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10" h="61510">
                        <a:moveTo>
                          <a:pt x="61511" y="61511"/>
                        </a:moveTo>
                        <a:lnTo>
                          <a:pt x="0" y="61511"/>
                        </a:lnTo>
                        <a:lnTo>
                          <a:pt x="0" y="0"/>
                        </a:lnTo>
                        <a:lnTo>
                          <a:pt x="61511" y="0"/>
                        </a:lnTo>
                        <a:lnTo>
                          <a:pt x="61511" y="61511"/>
                        </a:lnTo>
                        <a:close/>
                        <a:moveTo>
                          <a:pt x="12329" y="49181"/>
                        </a:moveTo>
                        <a:lnTo>
                          <a:pt x="49182" y="49181"/>
                        </a:lnTo>
                        <a:lnTo>
                          <a:pt x="49182" y="12341"/>
                        </a:lnTo>
                        <a:lnTo>
                          <a:pt x="12329" y="12341"/>
                        </a:lnTo>
                        <a:lnTo>
                          <a:pt x="12329" y="49181"/>
                        </a:lnTo>
                        <a:close/>
                      </a:path>
                    </a:pathLst>
                  </a:custGeom>
                  <a:solidFill>
                    <a:schemeClr val="accent1"/>
                  </a:solidFill>
                  <a:ln w="1228" cap="flat">
                    <a:noFill/>
                    <a:prstDash val="solid"/>
                    <a:miter/>
                  </a:ln>
                </p:spPr>
                <p:txBody>
                  <a:bodyPr rtlCol="0" anchor="ctr"/>
                  <a:lstStyle/>
                  <a:p>
                    <a:endParaRPr lang="en-GB" dirty="0"/>
                  </a:p>
                </p:txBody>
              </p:sp>
              <p:sp>
                <p:nvSpPr>
                  <p:cNvPr id="39" name="Freihandform: Form 20">
                    <a:extLst>
                      <a:ext uri="{FF2B5EF4-FFF2-40B4-BE49-F238E27FC236}">
                        <a16:creationId xmlns:a16="http://schemas.microsoft.com/office/drawing/2014/main" id="{B3281BE8-FFD9-4DBB-9E37-B5B486E4A672}"/>
                      </a:ext>
                    </a:extLst>
                  </p:cNvPr>
                  <p:cNvSpPr/>
                  <p:nvPr/>
                </p:nvSpPr>
                <p:spPr>
                  <a:xfrm>
                    <a:off x="4032158" y="1942607"/>
                    <a:ext cx="61498" cy="61510"/>
                  </a:xfrm>
                  <a:custGeom>
                    <a:avLst/>
                    <a:gdLst>
                      <a:gd name="connsiteX0" fmla="*/ 61498 w 61498"/>
                      <a:gd name="connsiteY0" fmla="*/ 61511 h 61510"/>
                      <a:gd name="connsiteX1" fmla="*/ 0 w 61498"/>
                      <a:gd name="connsiteY1" fmla="*/ 61511 h 61510"/>
                      <a:gd name="connsiteX2" fmla="*/ 0 w 61498"/>
                      <a:gd name="connsiteY2" fmla="*/ 0 h 61510"/>
                      <a:gd name="connsiteX3" fmla="*/ 61498 w 61498"/>
                      <a:gd name="connsiteY3" fmla="*/ 0 h 61510"/>
                      <a:gd name="connsiteX4" fmla="*/ 61498 w 61498"/>
                      <a:gd name="connsiteY4" fmla="*/ 61511 h 61510"/>
                      <a:gd name="connsiteX5" fmla="*/ 12329 w 61498"/>
                      <a:gd name="connsiteY5" fmla="*/ 49169 h 61510"/>
                      <a:gd name="connsiteX6" fmla="*/ 49169 w 61498"/>
                      <a:gd name="connsiteY6" fmla="*/ 49169 h 61510"/>
                      <a:gd name="connsiteX7" fmla="*/ 49169 w 61498"/>
                      <a:gd name="connsiteY7" fmla="*/ 12329 h 61510"/>
                      <a:gd name="connsiteX8" fmla="*/ 12329 w 61498"/>
                      <a:gd name="connsiteY8" fmla="*/ 12329 h 61510"/>
                      <a:gd name="connsiteX9" fmla="*/ 12329 w 61498"/>
                      <a:gd name="connsiteY9" fmla="*/ 49169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98" h="61510">
                        <a:moveTo>
                          <a:pt x="61498" y="61511"/>
                        </a:moveTo>
                        <a:lnTo>
                          <a:pt x="0" y="61511"/>
                        </a:lnTo>
                        <a:lnTo>
                          <a:pt x="0" y="0"/>
                        </a:lnTo>
                        <a:lnTo>
                          <a:pt x="61498" y="0"/>
                        </a:lnTo>
                        <a:lnTo>
                          <a:pt x="61498" y="61511"/>
                        </a:lnTo>
                        <a:close/>
                        <a:moveTo>
                          <a:pt x="12329" y="49169"/>
                        </a:moveTo>
                        <a:lnTo>
                          <a:pt x="49169" y="49169"/>
                        </a:lnTo>
                        <a:lnTo>
                          <a:pt x="49169" y="12329"/>
                        </a:lnTo>
                        <a:lnTo>
                          <a:pt x="12329" y="12329"/>
                        </a:lnTo>
                        <a:lnTo>
                          <a:pt x="12329" y="49169"/>
                        </a:lnTo>
                        <a:close/>
                      </a:path>
                    </a:pathLst>
                  </a:custGeom>
                  <a:solidFill>
                    <a:schemeClr val="accent1"/>
                  </a:solidFill>
                  <a:ln w="1228" cap="flat">
                    <a:noFill/>
                    <a:prstDash val="solid"/>
                    <a:miter/>
                  </a:ln>
                </p:spPr>
                <p:txBody>
                  <a:bodyPr rtlCol="0" anchor="ctr"/>
                  <a:lstStyle/>
                  <a:p>
                    <a:endParaRPr lang="en-GB" dirty="0"/>
                  </a:p>
                </p:txBody>
              </p:sp>
              <p:sp>
                <p:nvSpPr>
                  <p:cNvPr id="40" name="Freihandform: Form 27">
                    <a:extLst>
                      <a:ext uri="{FF2B5EF4-FFF2-40B4-BE49-F238E27FC236}">
                        <a16:creationId xmlns:a16="http://schemas.microsoft.com/office/drawing/2014/main" id="{E1C08984-87FF-4318-963A-EF2C99B53BA7}"/>
                      </a:ext>
                    </a:extLst>
                  </p:cNvPr>
                  <p:cNvSpPr/>
                  <p:nvPr/>
                </p:nvSpPr>
                <p:spPr>
                  <a:xfrm>
                    <a:off x="4199559" y="1858894"/>
                    <a:ext cx="61510" cy="61510"/>
                  </a:xfrm>
                  <a:custGeom>
                    <a:avLst/>
                    <a:gdLst>
                      <a:gd name="connsiteX0" fmla="*/ 61511 w 61510"/>
                      <a:gd name="connsiteY0" fmla="*/ 61511 h 61510"/>
                      <a:gd name="connsiteX1" fmla="*/ 0 w 61510"/>
                      <a:gd name="connsiteY1" fmla="*/ 61511 h 61510"/>
                      <a:gd name="connsiteX2" fmla="*/ 0 w 61510"/>
                      <a:gd name="connsiteY2" fmla="*/ 0 h 61510"/>
                      <a:gd name="connsiteX3" fmla="*/ 61511 w 61510"/>
                      <a:gd name="connsiteY3" fmla="*/ 0 h 61510"/>
                      <a:gd name="connsiteX4" fmla="*/ 61511 w 61510"/>
                      <a:gd name="connsiteY4" fmla="*/ 61511 h 61510"/>
                      <a:gd name="connsiteX5" fmla="*/ 12329 w 61510"/>
                      <a:gd name="connsiteY5" fmla="*/ 49181 h 61510"/>
                      <a:gd name="connsiteX6" fmla="*/ 49182 w 61510"/>
                      <a:gd name="connsiteY6" fmla="*/ 49181 h 61510"/>
                      <a:gd name="connsiteX7" fmla="*/ 49182 w 61510"/>
                      <a:gd name="connsiteY7" fmla="*/ 12341 h 61510"/>
                      <a:gd name="connsiteX8" fmla="*/ 12329 w 61510"/>
                      <a:gd name="connsiteY8" fmla="*/ 12341 h 61510"/>
                      <a:gd name="connsiteX9" fmla="*/ 12329 w 61510"/>
                      <a:gd name="connsiteY9" fmla="*/ 4918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510" h="61510">
                        <a:moveTo>
                          <a:pt x="61511" y="61511"/>
                        </a:moveTo>
                        <a:lnTo>
                          <a:pt x="0" y="61511"/>
                        </a:lnTo>
                        <a:lnTo>
                          <a:pt x="0" y="0"/>
                        </a:lnTo>
                        <a:lnTo>
                          <a:pt x="61511" y="0"/>
                        </a:lnTo>
                        <a:lnTo>
                          <a:pt x="61511" y="61511"/>
                        </a:lnTo>
                        <a:close/>
                        <a:moveTo>
                          <a:pt x="12329" y="49181"/>
                        </a:moveTo>
                        <a:lnTo>
                          <a:pt x="49182" y="49181"/>
                        </a:lnTo>
                        <a:lnTo>
                          <a:pt x="49182" y="12341"/>
                        </a:lnTo>
                        <a:lnTo>
                          <a:pt x="12329" y="12341"/>
                        </a:lnTo>
                        <a:lnTo>
                          <a:pt x="12329" y="49181"/>
                        </a:lnTo>
                        <a:close/>
                      </a:path>
                    </a:pathLst>
                  </a:custGeom>
                  <a:solidFill>
                    <a:schemeClr val="accent1"/>
                  </a:solidFill>
                  <a:ln w="1228" cap="flat">
                    <a:noFill/>
                    <a:prstDash val="solid"/>
                    <a:miter/>
                  </a:ln>
                </p:spPr>
                <p:txBody>
                  <a:bodyPr rtlCol="0" anchor="ctr"/>
                  <a:lstStyle/>
                  <a:p>
                    <a:endParaRPr lang="en-GB" dirty="0"/>
                  </a:p>
                </p:txBody>
              </p:sp>
            </p:grpSp>
            <p:sp>
              <p:nvSpPr>
                <p:cNvPr id="36" name="Freihandform: Form 29">
                  <a:extLst>
                    <a:ext uri="{FF2B5EF4-FFF2-40B4-BE49-F238E27FC236}">
                      <a16:creationId xmlns:a16="http://schemas.microsoft.com/office/drawing/2014/main" id="{86F4F74D-D6C4-40F0-83CC-FB4E92937C52}"/>
                    </a:ext>
                  </a:extLst>
                </p:cNvPr>
                <p:cNvSpPr/>
                <p:nvPr/>
              </p:nvSpPr>
              <p:spPr>
                <a:xfrm>
                  <a:off x="4098593" y="2032484"/>
                  <a:ext cx="12329" cy="83700"/>
                </a:xfrm>
                <a:custGeom>
                  <a:avLst/>
                  <a:gdLst>
                    <a:gd name="connsiteX0" fmla="*/ 0 w 12329"/>
                    <a:gd name="connsiteY0" fmla="*/ 0 h 83700"/>
                    <a:gd name="connsiteX1" fmla="*/ 12329 w 12329"/>
                    <a:gd name="connsiteY1" fmla="*/ 0 h 83700"/>
                    <a:gd name="connsiteX2" fmla="*/ 12329 w 12329"/>
                    <a:gd name="connsiteY2" fmla="*/ 83701 h 83700"/>
                    <a:gd name="connsiteX3" fmla="*/ 0 w 12329"/>
                    <a:gd name="connsiteY3" fmla="*/ 83701 h 83700"/>
                  </a:gdLst>
                  <a:ahLst/>
                  <a:cxnLst>
                    <a:cxn ang="0">
                      <a:pos x="connsiteX0" y="connsiteY0"/>
                    </a:cxn>
                    <a:cxn ang="0">
                      <a:pos x="connsiteX1" y="connsiteY1"/>
                    </a:cxn>
                    <a:cxn ang="0">
                      <a:pos x="connsiteX2" y="connsiteY2"/>
                    </a:cxn>
                    <a:cxn ang="0">
                      <a:pos x="connsiteX3" y="connsiteY3"/>
                    </a:cxn>
                  </a:cxnLst>
                  <a:rect l="l" t="t" r="r" b="b"/>
                  <a:pathLst>
                    <a:path w="12329" h="83700">
                      <a:moveTo>
                        <a:pt x="0" y="0"/>
                      </a:moveTo>
                      <a:lnTo>
                        <a:pt x="12329" y="0"/>
                      </a:lnTo>
                      <a:lnTo>
                        <a:pt x="12329" y="83701"/>
                      </a:lnTo>
                      <a:lnTo>
                        <a:pt x="0" y="83701"/>
                      </a:lnTo>
                      <a:close/>
                    </a:path>
                  </a:pathLst>
                </a:custGeom>
                <a:solidFill>
                  <a:schemeClr val="accent1"/>
                </a:solidFill>
                <a:ln w="1228" cap="flat">
                  <a:noFill/>
                  <a:prstDash val="solid"/>
                  <a:miter/>
                </a:ln>
              </p:spPr>
              <p:txBody>
                <a:bodyPr rtlCol="0" anchor="ctr"/>
                <a:lstStyle/>
                <a:p>
                  <a:endParaRPr lang="en-GB" dirty="0"/>
                </a:p>
              </p:txBody>
            </p:sp>
          </p:grpSp>
        </p:grpSp>
      </p:grpSp>
      <p:grpSp>
        <p:nvGrpSpPr>
          <p:cNvPr id="41" name="Gruppieren 423">
            <a:extLst>
              <a:ext uri="{FF2B5EF4-FFF2-40B4-BE49-F238E27FC236}">
                <a16:creationId xmlns:a16="http://schemas.microsoft.com/office/drawing/2014/main" id="{83DD51D8-66BB-41BD-A870-30B67B8AD950}"/>
              </a:ext>
            </a:extLst>
          </p:cNvPr>
          <p:cNvGrpSpPr>
            <a:grpSpLocks noChangeAspect="1"/>
          </p:cNvGrpSpPr>
          <p:nvPr/>
        </p:nvGrpSpPr>
        <p:grpSpPr>
          <a:xfrm>
            <a:off x="3807930" y="2449341"/>
            <a:ext cx="432197" cy="432000"/>
            <a:chOff x="3914972" y="2570566"/>
            <a:chExt cx="379419" cy="379247"/>
          </a:xfrm>
        </p:grpSpPr>
        <p:grpSp>
          <p:nvGrpSpPr>
            <p:cNvPr id="42" name="Gruppieren 422">
              <a:extLst>
                <a:ext uri="{FF2B5EF4-FFF2-40B4-BE49-F238E27FC236}">
                  <a16:creationId xmlns:a16="http://schemas.microsoft.com/office/drawing/2014/main" id="{DF8F197D-80FE-4F16-A5D6-2E4E36A60157}"/>
                </a:ext>
              </a:extLst>
            </p:cNvPr>
            <p:cNvGrpSpPr/>
            <p:nvPr/>
          </p:nvGrpSpPr>
          <p:grpSpPr>
            <a:xfrm>
              <a:off x="3914972" y="2570566"/>
              <a:ext cx="379419" cy="379247"/>
              <a:chOff x="3914972" y="2570566"/>
              <a:chExt cx="379419" cy="379247"/>
            </a:xfrm>
          </p:grpSpPr>
          <p:grpSp>
            <p:nvGrpSpPr>
              <p:cNvPr id="47" name="Grafik 11">
                <a:extLst>
                  <a:ext uri="{FF2B5EF4-FFF2-40B4-BE49-F238E27FC236}">
                    <a16:creationId xmlns:a16="http://schemas.microsoft.com/office/drawing/2014/main" id="{1E4A4D94-6A51-4D68-BE97-8756BFBDB57E}"/>
                  </a:ext>
                </a:extLst>
              </p:cNvPr>
              <p:cNvGrpSpPr/>
              <p:nvPr/>
            </p:nvGrpSpPr>
            <p:grpSpPr>
              <a:xfrm>
                <a:off x="3914972" y="2570566"/>
                <a:ext cx="379419" cy="379247"/>
                <a:chOff x="3914972" y="2570566"/>
                <a:chExt cx="379419" cy="379247"/>
              </a:xfrm>
              <a:solidFill>
                <a:srgbClr val="4D4E53"/>
              </a:solidFill>
            </p:grpSpPr>
            <p:sp>
              <p:nvSpPr>
                <p:cNvPr id="49" name="Freihandform: Form 37">
                  <a:extLst>
                    <a:ext uri="{FF2B5EF4-FFF2-40B4-BE49-F238E27FC236}">
                      <a16:creationId xmlns:a16="http://schemas.microsoft.com/office/drawing/2014/main" id="{0CAF47F7-82AD-4607-BFCB-F9FFE13B9153}"/>
                    </a:ext>
                  </a:extLst>
                </p:cNvPr>
                <p:cNvSpPr/>
                <p:nvPr/>
              </p:nvSpPr>
              <p:spPr>
                <a:xfrm>
                  <a:off x="4256932" y="2665703"/>
                  <a:ext cx="37459" cy="191789"/>
                </a:xfrm>
                <a:custGeom>
                  <a:avLst/>
                  <a:gdLst>
                    <a:gd name="connsiteX0" fmla="*/ 10573 w 37459"/>
                    <a:gd name="connsiteY0" fmla="*/ 191789 h 191789"/>
                    <a:gd name="connsiteX1" fmla="*/ 0 w 37459"/>
                    <a:gd name="connsiteY1" fmla="*/ 185453 h 191789"/>
                    <a:gd name="connsiteX2" fmla="*/ 1535 w 37459"/>
                    <a:gd name="connsiteY2" fmla="*/ 6152 h 191789"/>
                    <a:gd name="connsiteX3" fmla="*/ 12231 w 37459"/>
                    <a:gd name="connsiteY3" fmla="*/ 0 h 191789"/>
                    <a:gd name="connsiteX4" fmla="*/ 10573 w 37459"/>
                    <a:gd name="connsiteY4" fmla="*/ 191789 h 1917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59" h="191789">
                      <a:moveTo>
                        <a:pt x="10573" y="191789"/>
                      </a:moveTo>
                      <a:lnTo>
                        <a:pt x="0" y="185453"/>
                      </a:lnTo>
                      <a:cubicBezTo>
                        <a:pt x="32935" y="130438"/>
                        <a:pt x="33524" y="61732"/>
                        <a:pt x="1535" y="6152"/>
                      </a:cubicBezTo>
                      <a:lnTo>
                        <a:pt x="12231" y="0"/>
                      </a:lnTo>
                      <a:cubicBezTo>
                        <a:pt x="46455" y="59447"/>
                        <a:pt x="45817" y="132943"/>
                        <a:pt x="10573" y="191789"/>
                      </a:cubicBezTo>
                      <a:close/>
                    </a:path>
                  </a:pathLst>
                </a:custGeom>
                <a:solidFill>
                  <a:schemeClr val="tx2"/>
                </a:solidFill>
                <a:ln w="1228" cap="flat">
                  <a:noFill/>
                  <a:prstDash val="solid"/>
                  <a:miter/>
                </a:ln>
              </p:spPr>
              <p:txBody>
                <a:bodyPr rtlCol="0" anchor="ctr"/>
                <a:lstStyle/>
                <a:p>
                  <a:endParaRPr lang="en-GB" dirty="0"/>
                </a:p>
              </p:txBody>
            </p:sp>
            <p:sp>
              <p:nvSpPr>
                <p:cNvPr id="50" name="Freihandform: Form 38">
                  <a:extLst>
                    <a:ext uri="{FF2B5EF4-FFF2-40B4-BE49-F238E27FC236}">
                      <a16:creationId xmlns:a16="http://schemas.microsoft.com/office/drawing/2014/main" id="{502AE864-01F5-46CB-A94B-7F01C66E1C50}"/>
                    </a:ext>
                  </a:extLst>
                </p:cNvPr>
                <p:cNvSpPr/>
                <p:nvPr/>
              </p:nvSpPr>
              <p:spPr>
                <a:xfrm>
                  <a:off x="4011000" y="2570566"/>
                  <a:ext cx="191592" cy="37752"/>
                </a:xfrm>
                <a:custGeom>
                  <a:avLst/>
                  <a:gdLst>
                    <a:gd name="connsiteX0" fmla="*/ 185207 w 191592"/>
                    <a:gd name="connsiteY0" fmla="*/ 37753 h 37752"/>
                    <a:gd name="connsiteX1" fmla="*/ 6091 w 191592"/>
                    <a:gd name="connsiteY1" fmla="*/ 35530 h 37752"/>
                    <a:gd name="connsiteX2" fmla="*/ 0 w 191592"/>
                    <a:gd name="connsiteY2" fmla="*/ 24809 h 37752"/>
                    <a:gd name="connsiteX3" fmla="*/ 191593 w 191592"/>
                    <a:gd name="connsiteY3" fmla="*/ 27192 h 37752"/>
                    <a:gd name="connsiteX4" fmla="*/ 185207 w 191592"/>
                    <a:gd name="connsiteY4" fmla="*/ 37753 h 37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592" h="37752">
                      <a:moveTo>
                        <a:pt x="185207" y="37753"/>
                      </a:moveTo>
                      <a:cubicBezTo>
                        <a:pt x="130389" y="4658"/>
                        <a:pt x="61732" y="3823"/>
                        <a:pt x="6091" y="35530"/>
                      </a:cubicBezTo>
                      <a:lnTo>
                        <a:pt x="0" y="24809"/>
                      </a:lnTo>
                      <a:cubicBezTo>
                        <a:pt x="59497" y="-9096"/>
                        <a:pt x="132919" y="-8199"/>
                        <a:pt x="191593" y="27192"/>
                      </a:cubicBezTo>
                      <a:lnTo>
                        <a:pt x="185207" y="37753"/>
                      </a:lnTo>
                      <a:close/>
                    </a:path>
                  </a:pathLst>
                </a:custGeom>
                <a:solidFill>
                  <a:schemeClr val="tx2"/>
                </a:solidFill>
                <a:ln w="1228" cap="flat">
                  <a:noFill/>
                  <a:prstDash val="solid"/>
                  <a:miter/>
                </a:ln>
              </p:spPr>
              <p:txBody>
                <a:bodyPr rtlCol="0" anchor="ctr"/>
                <a:lstStyle/>
                <a:p>
                  <a:endParaRPr lang="en-GB" dirty="0"/>
                </a:p>
              </p:txBody>
            </p:sp>
            <p:sp>
              <p:nvSpPr>
                <p:cNvPr id="51" name="Freihandform: Form 39">
                  <a:extLst>
                    <a:ext uri="{FF2B5EF4-FFF2-40B4-BE49-F238E27FC236}">
                      <a16:creationId xmlns:a16="http://schemas.microsoft.com/office/drawing/2014/main" id="{1C4651E6-8F37-4AB9-BA67-7B20A0904531}"/>
                    </a:ext>
                  </a:extLst>
                </p:cNvPr>
                <p:cNvSpPr/>
                <p:nvPr/>
              </p:nvSpPr>
              <p:spPr>
                <a:xfrm>
                  <a:off x="3914972" y="2661712"/>
                  <a:ext cx="38299" cy="197008"/>
                </a:xfrm>
                <a:custGeom>
                  <a:avLst/>
                  <a:gdLst>
                    <a:gd name="connsiteX0" fmla="*/ 27776 w 38299"/>
                    <a:gd name="connsiteY0" fmla="*/ 197008 h 197008"/>
                    <a:gd name="connsiteX1" fmla="*/ 27751 w 38299"/>
                    <a:gd name="connsiteY1" fmla="*/ 0 h 197008"/>
                    <a:gd name="connsiteX2" fmla="*/ 38275 w 38299"/>
                    <a:gd name="connsiteY2" fmla="*/ 6422 h 197008"/>
                    <a:gd name="connsiteX3" fmla="*/ 38300 w 38299"/>
                    <a:gd name="connsiteY3" fmla="*/ 190586 h 197008"/>
                    <a:gd name="connsiteX4" fmla="*/ 27776 w 38299"/>
                    <a:gd name="connsiteY4" fmla="*/ 197008 h 1970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99" h="197008">
                      <a:moveTo>
                        <a:pt x="27776" y="197008"/>
                      </a:moveTo>
                      <a:cubicBezTo>
                        <a:pt x="-9248" y="136259"/>
                        <a:pt x="-9261" y="60774"/>
                        <a:pt x="27751" y="0"/>
                      </a:cubicBezTo>
                      <a:lnTo>
                        <a:pt x="38275" y="6422"/>
                      </a:lnTo>
                      <a:cubicBezTo>
                        <a:pt x="3695" y="63230"/>
                        <a:pt x="3707" y="133803"/>
                        <a:pt x="38300" y="190586"/>
                      </a:cubicBezTo>
                      <a:lnTo>
                        <a:pt x="27776" y="197008"/>
                      </a:lnTo>
                      <a:close/>
                    </a:path>
                  </a:pathLst>
                </a:custGeom>
                <a:solidFill>
                  <a:schemeClr val="tx2"/>
                </a:solidFill>
                <a:ln w="1228" cap="flat">
                  <a:noFill/>
                  <a:prstDash val="solid"/>
                  <a:miter/>
                </a:ln>
              </p:spPr>
              <p:txBody>
                <a:bodyPr rtlCol="0" anchor="ctr"/>
                <a:lstStyle/>
                <a:p>
                  <a:endParaRPr lang="en-GB" dirty="0"/>
                </a:p>
              </p:txBody>
            </p:sp>
            <p:sp>
              <p:nvSpPr>
                <p:cNvPr id="52" name="Freihandform: Form 40">
                  <a:extLst>
                    <a:ext uri="{FF2B5EF4-FFF2-40B4-BE49-F238E27FC236}">
                      <a16:creationId xmlns:a16="http://schemas.microsoft.com/office/drawing/2014/main" id="{48E57869-8769-4D30-A679-38EB5531A615}"/>
                    </a:ext>
                  </a:extLst>
                </p:cNvPr>
                <p:cNvSpPr/>
                <p:nvPr/>
              </p:nvSpPr>
              <p:spPr>
                <a:xfrm>
                  <a:off x="4011774" y="2911855"/>
                  <a:ext cx="191212" cy="37957"/>
                </a:xfrm>
                <a:custGeom>
                  <a:avLst/>
                  <a:gdLst>
                    <a:gd name="connsiteX0" fmla="*/ 92984 w 191212"/>
                    <a:gd name="connsiteY0" fmla="*/ 37958 h 37957"/>
                    <a:gd name="connsiteX1" fmla="*/ 0 w 191212"/>
                    <a:gd name="connsiteY1" fmla="*/ 13606 h 37957"/>
                    <a:gd name="connsiteX2" fmla="*/ 6042 w 191212"/>
                    <a:gd name="connsiteY2" fmla="*/ 2861 h 37957"/>
                    <a:gd name="connsiteX3" fmla="*/ 184802 w 191212"/>
                    <a:gd name="connsiteY3" fmla="*/ 0 h 37957"/>
                    <a:gd name="connsiteX4" fmla="*/ 191212 w 191212"/>
                    <a:gd name="connsiteY4" fmla="*/ 10536 h 37957"/>
                    <a:gd name="connsiteX5" fmla="*/ 92984 w 191212"/>
                    <a:gd name="connsiteY5" fmla="*/ 37958 h 37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212" h="37957">
                      <a:moveTo>
                        <a:pt x="92984" y="37958"/>
                      </a:moveTo>
                      <a:cubicBezTo>
                        <a:pt x="60933" y="37958"/>
                        <a:pt x="28858" y="29865"/>
                        <a:pt x="0" y="13606"/>
                      </a:cubicBezTo>
                      <a:lnTo>
                        <a:pt x="6042" y="2861"/>
                      </a:lnTo>
                      <a:cubicBezTo>
                        <a:pt x="61719" y="34212"/>
                        <a:pt x="130217" y="33119"/>
                        <a:pt x="184802" y="0"/>
                      </a:cubicBezTo>
                      <a:lnTo>
                        <a:pt x="191212" y="10536"/>
                      </a:lnTo>
                      <a:cubicBezTo>
                        <a:pt x="161101" y="28797"/>
                        <a:pt x="127061" y="37958"/>
                        <a:pt x="92984" y="37958"/>
                      </a:cubicBezTo>
                      <a:close/>
                    </a:path>
                  </a:pathLst>
                </a:custGeom>
                <a:solidFill>
                  <a:schemeClr val="tx2"/>
                </a:solidFill>
                <a:ln w="1228" cap="flat">
                  <a:noFill/>
                  <a:prstDash val="solid"/>
                  <a:miter/>
                </a:ln>
              </p:spPr>
              <p:txBody>
                <a:bodyPr rtlCol="0" anchor="ctr"/>
                <a:lstStyle/>
                <a:p>
                  <a:endParaRPr lang="en-GB" dirty="0"/>
                </a:p>
              </p:txBody>
            </p:sp>
          </p:grpSp>
          <p:sp>
            <p:nvSpPr>
              <p:cNvPr id="48" name="Freihandform: Form 41">
                <a:extLst>
                  <a:ext uri="{FF2B5EF4-FFF2-40B4-BE49-F238E27FC236}">
                    <a16:creationId xmlns:a16="http://schemas.microsoft.com/office/drawing/2014/main" id="{1A4C00CF-403E-4AB8-A436-8B0E10C287CF}"/>
                  </a:ext>
                </a:extLst>
              </p:cNvPr>
              <p:cNvSpPr/>
              <p:nvPr/>
            </p:nvSpPr>
            <p:spPr>
              <a:xfrm>
                <a:off x="3991527" y="2646954"/>
                <a:ext cx="226474" cy="226477"/>
              </a:xfrm>
              <a:custGeom>
                <a:avLst/>
                <a:gdLst>
                  <a:gd name="connsiteX0" fmla="*/ 113231 w 226474"/>
                  <a:gd name="connsiteY0" fmla="*/ 226477 h 226477"/>
                  <a:gd name="connsiteX1" fmla="*/ 33128 w 226474"/>
                  <a:gd name="connsiteY1" fmla="*/ 193346 h 226477"/>
                  <a:gd name="connsiteX2" fmla="*/ 33128 w 226474"/>
                  <a:gd name="connsiteY2" fmla="*/ 33128 h 226477"/>
                  <a:gd name="connsiteX3" fmla="*/ 193346 w 226474"/>
                  <a:gd name="connsiteY3" fmla="*/ 33128 h 226477"/>
                  <a:gd name="connsiteX4" fmla="*/ 193346 w 226474"/>
                  <a:gd name="connsiteY4" fmla="*/ 193346 h 226477"/>
                  <a:gd name="connsiteX5" fmla="*/ 113231 w 226474"/>
                  <a:gd name="connsiteY5" fmla="*/ 226477 h 226477"/>
                  <a:gd name="connsiteX6" fmla="*/ 113231 w 226474"/>
                  <a:gd name="connsiteY6" fmla="*/ 12326 h 226477"/>
                  <a:gd name="connsiteX7" fmla="*/ 41847 w 226474"/>
                  <a:gd name="connsiteY7" fmla="*/ 41847 h 226477"/>
                  <a:gd name="connsiteX8" fmla="*/ 41847 w 226474"/>
                  <a:gd name="connsiteY8" fmla="*/ 184627 h 226477"/>
                  <a:gd name="connsiteX9" fmla="*/ 184627 w 226474"/>
                  <a:gd name="connsiteY9" fmla="*/ 184627 h 226477"/>
                  <a:gd name="connsiteX10" fmla="*/ 184627 w 226474"/>
                  <a:gd name="connsiteY10" fmla="*/ 41847 h 226477"/>
                  <a:gd name="connsiteX11" fmla="*/ 113231 w 226474"/>
                  <a:gd name="connsiteY11" fmla="*/ 12326 h 22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6474" h="226477">
                    <a:moveTo>
                      <a:pt x="113231" y="226477"/>
                    </a:moveTo>
                    <a:cubicBezTo>
                      <a:pt x="84225" y="226477"/>
                      <a:pt x="55208" y="215437"/>
                      <a:pt x="33128" y="193346"/>
                    </a:cubicBezTo>
                    <a:cubicBezTo>
                      <a:pt x="-11043" y="149174"/>
                      <a:pt x="-11043" y="77300"/>
                      <a:pt x="33128" y="33128"/>
                    </a:cubicBezTo>
                    <a:cubicBezTo>
                      <a:pt x="77300" y="-11043"/>
                      <a:pt x="149175" y="-11043"/>
                      <a:pt x="193346" y="33128"/>
                    </a:cubicBezTo>
                    <a:cubicBezTo>
                      <a:pt x="237517" y="77300"/>
                      <a:pt x="237517" y="149174"/>
                      <a:pt x="193346" y="193346"/>
                    </a:cubicBezTo>
                    <a:cubicBezTo>
                      <a:pt x="171254" y="215425"/>
                      <a:pt x="142236" y="226477"/>
                      <a:pt x="113231" y="226477"/>
                    </a:cubicBezTo>
                    <a:close/>
                    <a:moveTo>
                      <a:pt x="113231" y="12326"/>
                    </a:moveTo>
                    <a:cubicBezTo>
                      <a:pt x="87369" y="12326"/>
                      <a:pt x="61520" y="22162"/>
                      <a:pt x="41847" y="41847"/>
                    </a:cubicBezTo>
                    <a:cubicBezTo>
                      <a:pt x="2478" y="81205"/>
                      <a:pt x="2478" y="145257"/>
                      <a:pt x="41847" y="184627"/>
                    </a:cubicBezTo>
                    <a:cubicBezTo>
                      <a:pt x="81205" y="223997"/>
                      <a:pt x="145270" y="223997"/>
                      <a:pt x="184627" y="184627"/>
                    </a:cubicBezTo>
                    <a:cubicBezTo>
                      <a:pt x="223997" y="145269"/>
                      <a:pt x="223997" y="81217"/>
                      <a:pt x="184627" y="41847"/>
                    </a:cubicBezTo>
                    <a:cubicBezTo>
                      <a:pt x="164942" y="22162"/>
                      <a:pt x="139080" y="12326"/>
                      <a:pt x="113231" y="12326"/>
                    </a:cubicBezTo>
                    <a:close/>
                  </a:path>
                </a:pathLst>
              </a:custGeom>
              <a:solidFill>
                <a:schemeClr val="tx2"/>
              </a:solidFill>
              <a:ln w="1228" cap="flat">
                <a:noFill/>
                <a:prstDash val="solid"/>
                <a:miter/>
              </a:ln>
            </p:spPr>
            <p:txBody>
              <a:bodyPr rtlCol="0" anchor="ctr"/>
              <a:lstStyle/>
              <a:p>
                <a:endParaRPr lang="en-GB" dirty="0"/>
              </a:p>
            </p:txBody>
          </p:sp>
        </p:grpSp>
        <p:sp>
          <p:nvSpPr>
            <p:cNvPr id="43" name="Freihandform: Form 32">
              <a:extLst>
                <a:ext uri="{FF2B5EF4-FFF2-40B4-BE49-F238E27FC236}">
                  <a16:creationId xmlns:a16="http://schemas.microsoft.com/office/drawing/2014/main" id="{C3904D7C-4A53-43D5-801D-C54F096C8E91}"/>
                </a:ext>
              </a:extLst>
            </p:cNvPr>
            <p:cNvSpPr/>
            <p:nvPr/>
          </p:nvSpPr>
          <p:spPr>
            <a:xfrm>
              <a:off x="3932159" y="2800138"/>
              <a:ext cx="132645" cy="132654"/>
            </a:xfrm>
            <a:custGeom>
              <a:avLst/>
              <a:gdLst>
                <a:gd name="connsiteX0" fmla="*/ 70736 w 132645"/>
                <a:gd name="connsiteY0" fmla="*/ 132654 h 132654"/>
                <a:gd name="connsiteX1" fmla="*/ 63650 w 132645"/>
                <a:gd name="connsiteY1" fmla="*/ 130604 h 132654"/>
                <a:gd name="connsiteX2" fmla="*/ 29352 w 132645"/>
                <a:gd name="connsiteY2" fmla="*/ 103281 h 132654"/>
                <a:gd name="connsiteX3" fmla="*/ 2054 w 132645"/>
                <a:gd name="connsiteY3" fmla="*/ 68983 h 132654"/>
                <a:gd name="connsiteX4" fmla="*/ 4841 w 132645"/>
                <a:gd name="connsiteY4" fmla="*/ 51533 h 132654"/>
                <a:gd name="connsiteX5" fmla="*/ 62975 w 132645"/>
                <a:gd name="connsiteY5" fmla="*/ 3076 h 132654"/>
                <a:gd name="connsiteX6" fmla="*/ 73978 w 132645"/>
                <a:gd name="connsiteY6" fmla="*/ 251 h 132654"/>
                <a:gd name="connsiteX7" fmla="*/ 83445 w 132645"/>
                <a:gd name="connsiteY7" fmla="*/ 7362 h 132654"/>
                <a:gd name="connsiteX8" fmla="*/ 101202 w 132645"/>
                <a:gd name="connsiteY8" fmla="*/ 31443 h 132654"/>
                <a:gd name="connsiteX9" fmla="*/ 125284 w 132645"/>
                <a:gd name="connsiteY9" fmla="*/ 49212 h 132654"/>
                <a:gd name="connsiteX10" fmla="*/ 132394 w 132645"/>
                <a:gd name="connsiteY10" fmla="*/ 58680 h 132654"/>
                <a:gd name="connsiteX11" fmla="*/ 129582 w 132645"/>
                <a:gd name="connsiteY11" fmla="*/ 69683 h 132654"/>
                <a:gd name="connsiteX12" fmla="*/ 81125 w 132645"/>
                <a:gd name="connsiteY12" fmla="*/ 127804 h 132654"/>
                <a:gd name="connsiteX13" fmla="*/ 70736 w 132645"/>
                <a:gd name="connsiteY13" fmla="*/ 132654 h 132654"/>
                <a:gd name="connsiteX14" fmla="*/ 70871 w 132645"/>
                <a:gd name="connsiteY14" fmla="*/ 12556 h 132654"/>
                <a:gd name="connsiteX15" fmla="*/ 12750 w 132645"/>
                <a:gd name="connsiteY15" fmla="*/ 61013 h 132654"/>
                <a:gd name="connsiteX16" fmla="*/ 12455 w 132645"/>
                <a:gd name="connsiteY16" fmla="*/ 62388 h 132654"/>
                <a:gd name="connsiteX17" fmla="*/ 38071 w 132645"/>
                <a:gd name="connsiteY17" fmla="*/ 94574 h 132654"/>
                <a:gd name="connsiteX18" fmla="*/ 70244 w 132645"/>
                <a:gd name="connsiteY18" fmla="*/ 120203 h 132654"/>
                <a:gd name="connsiteX19" fmla="*/ 71645 w 132645"/>
                <a:gd name="connsiteY19" fmla="*/ 119896 h 132654"/>
                <a:gd name="connsiteX20" fmla="*/ 120101 w 132645"/>
                <a:gd name="connsiteY20" fmla="*/ 61787 h 132654"/>
                <a:gd name="connsiteX21" fmla="*/ 122398 w 132645"/>
                <a:gd name="connsiteY21" fmla="*/ 54664 h 132654"/>
                <a:gd name="connsiteX22" fmla="*/ 119524 w 132645"/>
                <a:gd name="connsiteY22" fmla="*/ 60116 h 132654"/>
                <a:gd name="connsiteX23" fmla="*/ 92471 w 132645"/>
                <a:gd name="connsiteY23" fmla="*/ 40174 h 132654"/>
                <a:gd name="connsiteX24" fmla="*/ 72529 w 132645"/>
                <a:gd name="connsiteY24" fmla="*/ 13133 h 132654"/>
                <a:gd name="connsiteX25" fmla="*/ 70871 w 132645"/>
                <a:gd name="connsiteY25" fmla="*/ 12556 h 132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645" h="132654">
                  <a:moveTo>
                    <a:pt x="70736" y="132654"/>
                  </a:moveTo>
                  <a:cubicBezTo>
                    <a:pt x="68292" y="132654"/>
                    <a:pt x="65836" y="131991"/>
                    <a:pt x="63650" y="130604"/>
                  </a:cubicBezTo>
                  <a:cubicBezTo>
                    <a:pt x="50965" y="122548"/>
                    <a:pt x="39434" y="113363"/>
                    <a:pt x="29352" y="103281"/>
                  </a:cubicBezTo>
                  <a:cubicBezTo>
                    <a:pt x="19258" y="93174"/>
                    <a:pt x="10072" y="81631"/>
                    <a:pt x="2054" y="68983"/>
                  </a:cubicBezTo>
                  <a:cubicBezTo>
                    <a:pt x="-1520" y="63358"/>
                    <a:pt x="-329" y="55855"/>
                    <a:pt x="4841" y="51533"/>
                  </a:cubicBezTo>
                  <a:lnTo>
                    <a:pt x="62975" y="3076"/>
                  </a:lnTo>
                  <a:cubicBezTo>
                    <a:pt x="66057" y="509"/>
                    <a:pt x="70085" y="-522"/>
                    <a:pt x="73978" y="251"/>
                  </a:cubicBezTo>
                  <a:cubicBezTo>
                    <a:pt x="78030" y="1050"/>
                    <a:pt x="81481" y="3641"/>
                    <a:pt x="83445" y="7362"/>
                  </a:cubicBezTo>
                  <a:cubicBezTo>
                    <a:pt x="88149" y="16265"/>
                    <a:pt x="94141" y="24369"/>
                    <a:pt x="101202" y="31443"/>
                  </a:cubicBezTo>
                  <a:cubicBezTo>
                    <a:pt x="108312" y="38540"/>
                    <a:pt x="116417" y="44521"/>
                    <a:pt x="125284" y="49212"/>
                  </a:cubicBezTo>
                  <a:cubicBezTo>
                    <a:pt x="129004" y="51177"/>
                    <a:pt x="131595" y="54627"/>
                    <a:pt x="132394" y="58680"/>
                  </a:cubicBezTo>
                  <a:cubicBezTo>
                    <a:pt x="133167" y="62597"/>
                    <a:pt x="132136" y="66600"/>
                    <a:pt x="129582" y="69683"/>
                  </a:cubicBezTo>
                  <a:lnTo>
                    <a:pt x="81125" y="127804"/>
                  </a:lnTo>
                  <a:cubicBezTo>
                    <a:pt x="78472" y="130972"/>
                    <a:pt x="74616" y="132654"/>
                    <a:pt x="70736" y="132654"/>
                  </a:cubicBezTo>
                  <a:close/>
                  <a:moveTo>
                    <a:pt x="70871" y="12556"/>
                  </a:moveTo>
                  <a:lnTo>
                    <a:pt x="12750" y="61013"/>
                  </a:lnTo>
                  <a:cubicBezTo>
                    <a:pt x="12332" y="61357"/>
                    <a:pt x="12197" y="61983"/>
                    <a:pt x="12455" y="62388"/>
                  </a:cubicBezTo>
                  <a:cubicBezTo>
                    <a:pt x="20007" y="74275"/>
                    <a:pt x="28615" y="85106"/>
                    <a:pt x="38071" y="94574"/>
                  </a:cubicBezTo>
                  <a:cubicBezTo>
                    <a:pt x="47514" y="104005"/>
                    <a:pt x="58333" y="112626"/>
                    <a:pt x="70244" y="120203"/>
                  </a:cubicBezTo>
                  <a:cubicBezTo>
                    <a:pt x="70650" y="120460"/>
                    <a:pt x="71288" y="120325"/>
                    <a:pt x="71645" y="119896"/>
                  </a:cubicBezTo>
                  <a:lnTo>
                    <a:pt x="120101" y="61787"/>
                  </a:lnTo>
                  <a:lnTo>
                    <a:pt x="122398" y="54664"/>
                  </a:lnTo>
                  <a:lnTo>
                    <a:pt x="119524" y="60116"/>
                  </a:lnTo>
                  <a:cubicBezTo>
                    <a:pt x="109553" y="54861"/>
                    <a:pt x="100466" y="48143"/>
                    <a:pt x="92471" y="40174"/>
                  </a:cubicBezTo>
                  <a:cubicBezTo>
                    <a:pt x="84526" y="32229"/>
                    <a:pt x="77809" y="23129"/>
                    <a:pt x="72529" y="13133"/>
                  </a:cubicBezTo>
                  <a:lnTo>
                    <a:pt x="70871" y="12556"/>
                  </a:lnTo>
                  <a:close/>
                </a:path>
              </a:pathLst>
            </a:custGeom>
            <a:solidFill>
              <a:schemeClr val="accent1"/>
            </a:solidFill>
            <a:ln w="1228" cap="flat">
              <a:noFill/>
              <a:prstDash val="solid"/>
              <a:miter/>
            </a:ln>
          </p:spPr>
          <p:txBody>
            <a:bodyPr rtlCol="0" anchor="ctr"/>
            <a:lstStyle/>
            <a:p>
              <a:endParaRPr lang="en-GB" dirty="0"/>
            </a:p>
          </p:txBody>
        </p:sp>
        <p:sp>
          <p:nvSpPr>
            <p:cNvPr id="44" name="Freihandform: Form 33">
              <a:extLst>
                <a:ext uri="{FF2B5EF4-FFF2-40B4-BE49-F238E27FC236}">
                  <a16:creationId xmlns:a16="http://schemas.microsoft.com/office/drawing/2014/main" id="{0FA67857-6735-40BA-A581-873614CA6D0C}"/>
                </a:ext>
              </a:extLst>
            </p:cNvPr>
            <p:cNvSpPr/>
            <p:nvPr/>
          </p:nvSpPr>
          <p:spPr>
            <a:xfrm>
              <a:off x="3932147" y="2587590"/>
              <a:ext cx="132645" cy="132648"/>
            </a:xfrm>
            <a:custGeom>
              <a:avLst/>
              <a:gdLst>
                <a:gd name="connsiteX0" fmla="*/ 71424 w 132645"/>
                <a:gd name="connsiteY0" fmla="*/ 132649 h 132648"/>
                <a:gd name="connsiteX1" fmla="*/ 62988 w 132645"/>
                <a:gd name="connsiteY1" fmla="*/ 129566 h 132648"/>
                <a:gd name="connsiteX2" fmla="*/ 4866 w 132645"/>
                <a:gd name="connsiteY2" fmla="*/ 81110 h 132648"/>
                <a:gd name="connsiteX3" fmla="*/ 2054 w 132645"/>
                <a:gd name="connsiteY3" fmla="*/ 63660 h 132648"/>
                <a:gd name="connsiteX4" fmla="*/ 29365 w 132645"/>
                <a:gd name="connsiteY4" fmla="*/ 29374 h 132648"/>
                <a:gd name="connsiteX5" fmla="*/ 63651 w 132645"/>
                <a:gd name="connsiteY5" fmla="*/ 2051 h 132648"/>
                <a:gd name="connsiteX6" fmla="*/ 81125 w 132645"/>
                <a:gd name="connsiteY6" fmla="*/ 4863 h 132648"/>
                <a:gd name="connsiteX7" fmla="*/ 129570 w 132645"/>
                <a:gd name="connsiteY7" fmla="*/ 62972 h 132648"/>
                <a:gd name="connsiteX8" fmla="*/ 132394 w 132645"/>
                <a:gd name="connsiteY8" fmla="*/ 73975 h 132648"/>
                <a:gd name="connsiteX9" fmla="*/ 125284 w 132645"/>
                <a:gd name="connsiteY9" fmla="*/ 83443 h 132648"/>
                <a:gd name="connsiteX10" fmla="*/ 101203 w 132645"/>
                <a:gd name="connsiteY10" fmla="*/ 101212 h 132648"/>
                <a:gd name="connsiteX11" fmla="*/ 83434 w 132645"/>
                <a:gd name="connsiteY11" fmla="*/ 125293 h 132648"/>
                <a:gd name="connsiteX12" fmla="*/ 73966 w 132645"/>
                <a:gd name="connsiteY12" fmla="*/ 132403 h 132648"/>
                <a:gd name="connsiteX13" fmla="*/ 71424 w 132645"/>
                <a:gd name="connsiteY13" fmla="*/ 132649 h 132648"/>
                <a:gd name="connsiteX14" fmla="*/ 70761 w 132645"/>
                <a:gd name="connsiteY14" fmla="*/ 12329 h 132648"/>
                <a:gd name="connsiteX15" fmla="*/ 70270 w 132645"/>
                <a:gd name="connsiteY15" fmla="*/ 12464 h 132648"/>
                <a:gd name="connsiteX16" fmla="*/ 38096 w 132645"/>
                <a:gd name="connsiteY16" fmla="*/ 38093 h 132648"/>
                <a:gd name="connsiteX17" fmla="*/ 12468 w 132645"/>
                <a:gd name="connsiteY17" fmla="*/ 70279 h 132648"/>
                <a:gd name="connsiteX18" fmla="*/ 12763 w 132645"/>
                <a:gd name="connsiteY18" fmla="*/ 71642 h 132648"/>
                <a:gd name="connsiteX19" fmla="*/ 70896 w 132645"/>
                <a:gd name="connsiteY19" fmla="*/ 120111 h 132648"/>
                <a:gd name="connsiteX20" fmla="*/ 72566 w 132645"/>
                <a:gd name="connsiteY20" fmla="*/ 119521 h 132648"/>
                <a:gd name="connsiteX21" fmla="*/ 92509 w 132645"/>
                <a:gd name="connsiteY21" fmla="*/ 92481 h 132648"/>
                <a:gd name="connsiteX22" fmla="*/ 119562 w 132645"/>
                <a:gd name="connsiteY22" fmla="*/ 72538 h 132648"/>
                <a:gd name="connsiteX23" fmla="*/ 120127 w 132645"/>
                <a:gd name="connsiteY23" fmla="*/ 70868 h 132648"/>
                <a:gd name="connsiteX24" fmla="*/ 71682 w 132645"/>
                <a:gd name="connsiteY24" fmla="*/ 12759 h 132648"/>
                <a:gd name="connsiteX25" fmla="*/ 70761 w 132645"/>
                <a:gd name="connsiteY25" fmla="*/ 12329 h 13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645" h="132648">
                  <a:moveTo>
                    <a:pt x="71424" y="132649"/>
                  </a:moveTo>
                  <a:cubicBezTo>
                    <a:pt x="68366" y="132649"/>
                    <a:pt x="65394" y="131580"/>
                    <a:pt x="62988" y="129566"/>
                  </a:cubicBezTo>
                  <a:lnTo>
                    <a:pt x="4866" y="81110"/>
                  </a:lnTo>
                  <a:cubicBezTo>
                    <a:pt x="-316" y="76799"/>
                    <a:pt x="-1532" y="69296"/>
                    <a:pt x="2054" y="63660"/>
                  </a:cubicBezTo>
                  <a:cubicBezTo>
                    <a:pt x="10110" y="50974"/>
                    <a:pt x="19295" y="39443"/>
                    <a:pt x="29365" y="29374"/>
                  </a:cubicBezTo>
                  <a:cubicBezTo>
                    <a:pt x="39422" y="19316"/>
                    <a:pt x="50953" y="10119"/>
                    <a:pt x="63651" y="2051"/>
                  </a:cubicBezTo>
                  <a:cubicBezTo>
                    <a:pt x="69336" y="-1535"/>
                    <a:pt x="76815" y="-307"/>
                    <a:pt x="81125" y="4863"/>
                  </a:cubicBezTo>
                  <a:lnTo>
                    <a:pt x="129570" y="62972"/>
                  </a:lnTo>
                  <a:cubicBezTo>
                    <a:pt x="132136" y="66054"/>
                    <a:pt x="133168" y="70057"/>
                    <a:pt x="132394" y="73975"/>
                  </a:cubicBezTo>
                  <a:cubicBezTo>
                    <a:pt x="131596" y="78015"/>
                    <a:pt x="129005" y="81478"/>
                    <a:pt x="125284" y="83443"/>
                  </a:cubicBezTo>
                  <a:cubicBezTo>
                    <a:pt x="116369" y="88158"/>
                    <a:pt x="108264" y="94139"/>
                    <a:pt x="101203" y="101212"/>
                  </a:cubicBezTo>
                  <a:cubicBezTo>
                    <a:pt x="94118" y="108297"/>
                    <a:pt x="88149" y="116402"/>
                    <a:pt x="83434" y="125293"/>
                  </a:cubicBezTo>
                  <a:cubicBezTo>
                    <a:pt x="81469" y="129014"/>
                    <a:pt x="78031" y="131605"/>
                    <a:pt x="73966" y="132403"/>
                  </a:cubicBezTo>
                  <a:cubicBezTo>
                    <a:pt x="73143" y="132575"/>
                    <a:pt x="72271" y="132649"/>
                    <a:pt x="71424" y="132649"/>
                  </a:cubicBezTo>
                  <a:close/>
                  <a:moveTo>
                    <a:pt x="70761" y="12329"/>
                  </a:moveTo>
                  <a:cubicBezTo>
                    <a:pt x="70577" y="12329"/>
                    <a:pt x="70417" y="12378"/>
                    <a:pt x="70270" y="12464"/>
                  </a:cubicBezTo>
                  <a:cubicBezTo>
                    <a:pt x="58346" y="20041"/>
                    <a:pt x="47515" y="28674"/>
                    <a:pt x="38096" y="38093"/>
                  </a:cubicBezTo>
                  <a:cubicBezTo>
                    <a:pt x="28665" y="47524"/>
                    <a:pt x="20044" y="58367"/>
                    <a:pt x="12468" y="70279"/>
                  </a:cubicBezTo>
                  <a:cubicBezTo>
                    <a:pt x="12210" y="70684"/>
                    <a:pt x="12345" y="71298"/>
                    <a:pt x="12763" y="71642"/>
                  </a:cubicBezTo>
                  <a:lnTo>
                    <a:pt x="70896" y="120111"/>
                  </a:lnTo>
                  <a:lnTo>
                    <a:pt x="72566" y="119521"/>
                  </a:lnTo>
                  <a:cubicBezTo>
                    <a:pt x="77847" y="109538"/>
                    <a:pt x="84564" y="100451"/>
                    <a:pt x="92509" y="92481"/>
                  </a:cubicBezTo>
                  <a:cubicBezTo>
                    <a:pt x="100442" y="84536"/>
                    <a:pt x="109553" y="77818"/>
                    <a:pt x="119562" y="72538"/>
                  </a:cubicBezTo>
                  <a:lnTo>
                    <a:pt x="120127" y="70868"/>
                  </a:lnTo>
                  <a:lnTo>
                    <a:pt x="71682" y="12759"/>
                  </a:lnTo>
                  <a:cubicBezTo>
                    <a:pt x="71436" y="12477"/>
                    <a:pt x="71093" y="12329"/>
                    <a:pt x="70761" y="12329"/>
                  </a:cubicBezTo>
                  <a:close/>
                </a:path>
              </a:pathLst>
            </a:custGeom>
            <a:solidFill>
              <a:schemeClr val="accent1"/>
            </a:solidFill>
            <a:ln w="1228" cap="flat">
              <a:noFill/>
              <a:prstDash val="solid"/>
              <a:miter/>
            </a:ln>
          </p:spPr>
          <p:txBody>
            <a:bodyPr rtlCol="0" anchor="ctr"/>
            <a:lstStyle/>
            <a:p>
              <a:endParaRPr lang="en-GB" dirty="0"/>
            </a:p>
          </p:txBody>
        </p:sp>
        <p:sp>
          <p:nvSpPr>
            <p:cNvPr id="45" name="Freihandform: Form 34">
              <a:extLst>
                <a:ext uri="{FF2B5EF4-FFF2-40B4-BE49-F238E27FC236}">
                  <a16:creationId xmlns:a16="http://schemas.microsoft.com/office/drawing/2014/main" id="{F4E0C5CB-AD5D-4EC0-859F-E43FCA26CA03}"/>
                </a:ext>
              </a:extLst>
            </p:cNvPr>
            <p:cNvSpPr/>
            <p:nvPr/>
          </p:nvSpPr>
          <p:spPr>
            <a:xfrm>
              <a:off x="4144710" y="2800129"/>
              <a:ext cx="132659" cy="132664"/>
            </a:xfrm>
            <a:custGeom>
              <a:avLst/>
              <a:gdLst>
                <a:gd name="connsiteX0" fmla="*/ 61898 w 132659"/>
                <a:gd name="connsiteY0" fmla="*/ 132664 h 132664"/>
                <a:gd name="connsiteX1" fmla="*/ 51522 w 132659"/>
                <a:gd name="connsiteY1" fmla="*/ 127789 h 132664"/>
                <a:gd name="connsiteX2" fmla="*/ 3077 w 132659"/>
                <a:gd name="connsiteY2" fmla="*/ 69680 h 132664"/>
                <a:gd name="connsiteX3" fmla="*/ 253 w 132659"/>
                <a:gd name="connsiteY3" fmla="*/ 58677 h 132664"/>
                <a:gd name="connsiteX4" fmla="*/ 7375 w 132659"/>
                <a:gd name="connsiteY4" fmla="*/ 49209 h 132664"/>
                <a:gd name="connsiteX5" fmla="*/ 31444 w 132659"/>
                <a:gd name="connsiteY5" fmla="*/ 31452 h 132664"/>
                <a:gd name="connsiteX6" fmla="*/ 49201 w 132659"/>
                <a:gd name="connsiteY6" fmla="*/ 7371 h 132664"/>
                <a:gd name="connsiteX7" fmla="*/ 58669 w 132659"/>
                <a:gd name="connsiteY7" fmla="*/ 261 h 132664"/>
                <a:gd name="connsiteX8" fmla="*/ 69684 w 132659"/>
                <a:gd name="connsiteY8" fmla="*/ 3086 h 132664"/>
                <a:gd name="connsiteX9" fmla="*/ 127793 w 132659"/>
                <a:gd name="connsiteY9" fmla="*/ 51543 h 132664"/>
                <a:gd name="connsiteX10" fmla="*/ 130605 w 132659"/>
                <a:gd name="connsiteY10" fmla="*/ 69005 h 132664"/>
                <a:gd name="connsiteX11" fmla="*/ 103294 w 132659"/>
                <a:gd name="connsiteY11" fmla="*/ 103290 h 132664"/>
                <a:gd name="connsiteX12" fmla="*/ 69009 w 132659"/>
                <a:gd name="connsiteY12" fmla="*/ 130601 h 132664"/>
                <a:gd name="connsiteX13" fmla="*/ 61898 w 132659"/>
                <a:gd name="connsiteY13" fmla="*/ 132664 h 132664"/>
                <a:gd name="connsiteX14" fmla="*/ 54653 w 132659"/>
                <a:gd name="connsiteY14" fmla="*/ 10245 h 132664"/>
                <a:gd name="connsiteX15" fmla="*/ 60106 w 132659"/>
                <a:gd name="connsiteY15" fmla="*/ 13118 h 132664"/>
                <a:gd name="connsiteX16" fmla="*/ 40151 w 132659"/>
                <a:gd name="connsiteY16" fmla="*/ 40171 h 132664"/>
                <a:gd name="connsiteX17" fmla="*/ 13110 w 132659"/>
                <a:gd name="connsiteY17" fmla="*/ 60114 h 132664"/>
                <a:gd name="connsiteX18" fmla="*/ 12533 w 132659"/>
                <a:gd name="connsiteY18" fmla="*/ 61784 h 132664"/>
                <a:gd name="connsiteX19" fmla="*/ 61002 w 132659"/>
                <a:gd name="connsiteY19" fmla="*/ 119905 h 132664"/>
                <a:gd name="connsiteX20" fmla="*/ 62365 w 132659"/>
                <a:gd name="connsiteY20" fmla="*/ 120200 h 132664"/>
                <a:gd name="connsiteX21" fmla="*/ 94551 w 132659"/>
                <a:gd name="connsiteY21" fmla="*/ 94572 h 132664"/>
                <a:gd name="connsiteX22" fmla="*/ 120179 w 132659"/>
                <a:gd name="connsiteY22" fmla="*/ 62386 h 132664"/>
                <a:gd name="connsiteX23" fmla="*/ 119872 w 132659"/>
                <a:gd name="connsiteY23" fmla="*/ 61010 h 132664"/>
                <a:gd name="connsiteX24" fmla="*/ 61764 w 132659"/>
                <a:gd name="connsiteY24" fmla="*/ 12554 h 132664"/>
                <a:gd name="connsiteX25" fmla="*/ 54653 w 132659"/>
                <a:gd name="connsiteY25" fmla="*/ 10245 h 13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659" h="132664">
                  <a:moveTo>
                    <a:pt x="61898" y="132664"/>
                  </a:moveTo>
                  <a:cubicBezTo>
                    <a:pt x="58018" y="132664"/>
                    <a:pt x="54162" y="130982"/>
                    <a:pt x="51522" y="127789"/>
                  </a:cubicBezTo>
                  <a:lnTo>
                    <a:pt x="3077" y="69680"/>
                  </a:lnTo>
                  <a:cubicBezTo>
                    <a:pt x="498" y="66598"/>
                    <a:pt x="-521" y="62582"/>
                    <a:pt x="253" y="58677"/>
                  </a:cubicBezTo>
                  <a:cubicBezTo>
                    <a:pt x="1051" y="54625"/>
                    <a:pt x="3654" y="51174"/>
                    <a:pt x="7375" y="49209"/>
                  </a:cubicBezTo>
                  <a:cubicBezTo>
                    <a:pt x="16266" y="44506"/>
                    <a:pt x="24371" y="38538"/>
                    <a:pt x="31444" y="31452"/>
                  </a:cubicBezTo>
                  <a:cubicBezTo>
                    <a:pt x="38542" y="24379"/>
                    <a:pt x="44510" y="16274"/>
                    <a:pt x="49201" y="7371"/>
                  </a:cubicBezTo>
                  <a:cubicBezTo>
                    <a:pt x="51166" y="3651"/>
                    <a:pt x="54616" y="1059"/>
                    <a:pt x="58669" y="261"/>
                  </a:cubicBezTo>
                  <a:cubicBezTo>
                    <a:pt x="62574" y="-537"/>
                    <a:pt x="66602" y="519"/>
                    <a:pt x="69684" y="3086"/>
                  </a:cubicBezTo>
                  <a:lnTo>
                    <a:pt x="127793" y="51543"/>
                  </a:lnTo>
                  <a:cubicBezTo>
                    <a:pt x="132975" y="55865"/>
                    <a:pt x="134191" y="63368"/>
                    <a:pt x="130605" y="69005"/>
                  </a:cubicBezTo>
                  <a:cubicBezTo>
                    <a:pt x="122537" y="81702"/>
                    <a:pt x="113352" y="93233"/>
                    <a:pt x="103294" y="103290"/>
                  </a:cubicBezTo>
                  <a:cubicBezTo>
                    <a:pt x="93225" y="113348"/>
                    <a:pt x="81694" y="122546"/>
                    <a:pt x="69009" y="130601"/>
                  </a:cubicBezTo>
                  <a:cubicBezTo>
                    <a:pt x="66810" y="132001"/>
                    <a:pt x="64342" y="132664"/>
                    <a:pt x="61898" y="132664"/>
                  </a:cubicBezTo>
                  <a:close/>
                  <a:moveTo>
                    <a:pt x="54653" y="10245"/>
                  </a:moveTo>
                  <a:lnTo>
                    <a:pt x="60106" y="13118"/>
                  </a:lnTo>
                  <a:cubicBezTo>
                    <a:pt x="54813" y="23114"/>
                    <a:pt x="48108" y="32214"/>
                    <a:pt x="40151" y="40171"/>
                  </a:cubicBezTo>
                  <a:cubicBezTo>
                    <a:pt x="32205" y="48116"/>
                    <a:pt x="23106" y="54834"/>
                    <a:pt x="13110" y="60114"/>
                  </a:cubicBezTo>
                  <a:lnTo>
                    <a:pt x="12533" y="61784"/>
                  </a:lnTo>
                  <a:lnTo>
                    <a:pt x="61002" y="119905"/>
                  </a:lnTo>
                  <a:cubicBezTo>
                    <a:pt x="61334" y="120323"/>
                    <a:pt x="61984" y="120470"/>
                    <a:pt x="62365" y="120200"/>
                  </a:cubicBezTo>
                  <a:cubicBezTo>
                    <a:pt x="74301" y="112623"/>
                    <a:pt x="85120" y="103990"/>
                    <a:pt x="94551" y="94572"/>
                  </a:cubicBezTo>
                  <a:cubicBezTo>
                    <a:pt x="103970" y="85153"/>
                    <a:pt x="112590" y="74322"/>
                    <a:pt x="120179" y="62386"/>
                  </a:cubicBezTo>
                  <a:cubicBezTo>
                    <a:pt x="120437" y="61981"/>
                    <a:pt x="120302" y="61354"/>
                    <a:pt x="119872" y="61010"/>
                  </a:cubicBezTo>
                  <a:lnTo>
                    <a:pt x="61764" y="12554"/>
                  </a:lnTo>
                  <a:lnTo>
                    <a:pt x="54653" y="10245"/>
                  </a:lnTo>
                  <a:close/>
                </a:path>
              </a:pathLst>
            </a:custGeom>
            <a:solidFill>
              <a:schemeClr val="accent1"/>
            </a:solidFill>
            <a:ln w="1228" cap="flat">
              <a:noFill/>
              <a:prstDash val="solid"/>
              <a:miter/>
            </a:ln>
          </p:spPr>
          <p:txBody>
            <a:bodyPr rtlCol="0" anchor="ctr"/>
            <a:lstStyle/>
            <a:p>
              <a:endParaRPr lang="en-GB" dirty="0"/>
            </a:p>
          </p:txBody>
        </p:sp>
        <p:sp>
          <p:nvSpPr>
            <p:cNvPr id="46" name="Freihandform: Form 35">
              <a:extLst>
                <a:ext uri="{FF2B5EF4-FFF2-40B4-BE49-F238E27FC236}">
                  <a16:creationId xmlns:a16="http://schemas.microsoft.com/office/drawing/2014/main" id="{F4957C2B-D19A-4718-B28A-D5504F53F7DF}"/>
                </a:ext>
              </a:extLst>
            </p:cNvPr>
            <p:cNvSpPr/>
            <p:nvPr/>
          </p:nvSpPr>
          <p:spPr>
            <a:xfrm>
              <a:off x="4144700" y="2587598"/>
              <a:ext cx="132644" cy="132640"/>
            </a:xfrm>
            <a:custGeom>
              <a:avLst/>
              <a:gdLst>
                <a:gd name="connsiteX0" fmla="*/ 61232 w 132644"/>
                <a:gd name="connsiteY0" fmla="*/ 132640 h 132640"/>
                <a:gd name="connsiteX1" fmla="*/ 58654 w 132644"/>
                <a:gd name="connsiteY1" fmla="*/ 132383 h 132640"/>
                <a:gd name="connsiteX2" fmla="*/ 49198 w 132644"/>
                <a:gd name="connsiteY2" fmla="*/ 125272 h 132640"/>
                <a:gd name="connsiteX3" fmla="*/ 31441 w 132644"/>
                <a:gd name="connsiteY3" fmla="*/ 101191 h 132640"/>
                <a:gd name="connsiteX4" fmla="*/ 7372 w 132644"/>
                <a:gd name="connsiteY4" fmla="*/ 83434 h 132640"/>
                <a:gd name="connsiteX5" fmla="*/ 250 w 132644"/>
                <a:gd name="connsiteY5" fmla="*/ 73954 h 132640"/>
                <a:gd name="connsiteX6" fmla="*/ 3074 w 132644"/>
                <a:gd name="connsiteY6" fmla="*/ 62964 h 132640"/>
                <a:gd name="connsiteX7" fmla="*/ 51531 w 132644"/>
                <a:gd name="connsiteY7" fmla="*/ 4855 h 132640"/>
                <a:gd name="connsiteX8" fmla="*/ 68993 w 132644"/>
                <a:gd name="connsiteY8" fmla="*/ 2055 h 132640"/>
                <a:gd name="connsiteX9" fmla="*/ 103279 w 132644"/>
                <a:gd name="connsiteY9" fmla="*/ 29366 h 132640"/>
                <a:gd name="connsiteX10" fmla="*/ 130590 w 132644"/>
                <a:gd name="connsiteY10" fmla="*/ 63651 h 132640"/>
                <a:gd name="connsiteX11" fmla="*/ 127778 w 132644"/>
                <a:gd name="connsiteY11" fmla="*/ 81114 h 132640"/>
                <a:gd name="connsiteX12" fmla="*/ 69669 w 132644"/>
                <a:gd name="connsiteY12" fmla="*/ 129570 h 132640"/>
                <a:gd name="connsiteX13" fmla="*/ 61232 w 132644"/>
                <a:gd name="connsiteY13" fmla="*/ 132640 h 132640"/>
                <a:gd name="connsiteX14" fmla="*/ 61908 w 132644"/>
                <a:gd name="connsiteY14" fmla="*/ 12333 h 132640"/>
                <a:gd name="connsiteX15" fmla="*/ 60999 w 132644"/>
                <a:gd name="connsiteY15" fmla="*/ 12751 h 132640"/>
                <a:gd name="connsiteX16" fmla="*/ 12542 w 132644"/>
                <a:gd name="connsiteY16" fmla="*/ 70872 h 132640"/>
                <a:gd name="connsiteX17" fmla="*/ 13119 w 132644"/>
                <a:gd name="connsiteY17" fmla="*/ 72542 h 132640"/>
                <a:gd name="connsiteX18" fmla="*/ 40160 w 132644"/>
                <a:gd name="connsiteY18" fmla="*/ 92485 h 132640"/>
                <a:gd name="connsiteX19" fmla="*/ 60115 w 132644"/>
                <a:gd name="connsiteY19" fmla="*/ 119525 h 132640"/>
                <a:gd name="connsiteX20" fmla="*/ 65739 w 132644"/>
                <a:gd name="connsiteY20" fmla="*/ 124843 h 132640"/>
                <a:gd name="connsiteX21" fmla="*/ 61785 w 132644"/>
                <a:gd name="connsiteY21" fmla="*/ 120115 h 132640"/>
                <a:gd name="connsiteX22" fmla="*/ 119894 w 132644"/>
                <a:gd name="connsiteY22" fmla="*/ 71658 h 132640"/>
                <a:gd name="connsiteX23" fmla="*/ 120201 w 132644"/>
                <a:gd name="connsiteY23" fmla="*/ 70283 h 132640"/>
                <a:gd name="connsiteX24" fmla="*/ 94573 w 132644"/>
                <a:gd name="connsiteY24" fmla="*/ 38097 h 132640"/>
                <a:gd name="connsiteX25" fmla="*/ 62399 w 132644"/>
                <a:gd name="connsiteY25" fmla="*/ 12468 h 132640"/>
                <a:gd name="connsiteX26" fmla="*/ 61908 w 132644"/>
                <a:gd name="connsiteY26" fmla="*/ 12333 h 132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2644" h="132640">
                  <a:moveTo>
                    <a:pt x="61232" y="132640"/>
                  </a:moveTo>
                  <a:cubicBezTo>
                    <a:pt x="60373" y="132640"/>
                    <a:pt x="59513" y="132554"/>
                    <a:pt x="58654" y="132383"/>
                  </a:cubicBezTo>
                  <a:cubicBezTo>
                    <a:pt x="54614" y="131584"/>
                    <a:pt x="51163" y="128981"/>
                    <a:pt x="49198" y="125272"/>
                  </a:cubicBezTo>
                  <a:cubicBezTo>
                    <a:pt x="44495" y="116382"/>
                    <a:pt x="38527" y="108277"/>
                    <a:pt x="31441" y="101191"/>
                  </a:cubicBezTo>
                  <a:cubicBezTo>
                    <a:pt x="24344" y="94093"/>
                    <a:pt x="16239" y="88113"/>
                    <a:pt x="7372" y="83434"/>
                  </a:cubicBezTo>
                  <a:cubicBezTo>
                    <a:pt x="3639" y="81470"/>
                    <a:pt x="1048" y="78007"/>
                    <a:pt x="250" y="73954"/>
                  </a:cubicBezTo>
                  <a:cubicBezTo>
                    <a:pt x="-524" y="70037"/>
                    <a:pt x="520" y="66034"/>
                    <a:pt x="3074" y="62964"/>
                  </a:cubicBezTo>
                  <a:lnTo>
                    <a:pt x="51531" y="4855"/>
                  </a:lnTo>
                  <a:cubicBezTo>
                    <a:pt x="55854" y="-315"/>
                    <a:pt x="63369" y="-1531"/>
                    <a:pt x="68993" y="2055"/>
                  </a:cubicBezTo>
                  <a:cubicBezTo>
                    <a:pt x="81679" y="10111"/>
                    <a:pt x="93210" y="19296"/>
                    <a:pt x="103279" y="29366"/>
                  </a:cubicBezTo>
                  <a:cubicBezTo>
                    <a:pt x="113337" y="39411"/>
                    <a:pt x="122522" y="50942"/>
                    <a:pt x="130590" y="63651"/>
                  </a:cubicBezTo>
                  <a:cubicBezTo>
                    <a:pt x="134176" y="69288"/>
                    <a:pt x="132960" y="76803"/>
                    <a:pt x="127778" y="81114"/>
                  </a:cubicBezTo>
                  <a:lnTo>
                    <a:pt x="69669" y="129570"/>
                  </a:lnTo>
                  <a:cubicBezTo>
                    <a:pt x="67274" y="131584"/>
                    <a:pt x="64290" y="132640"/>
                    <a:pt x="61232" y="132640"/>
                  </a:cubicBezTo>
                  <a:close/>
                  <a:moveTo>
                    <a:pt x="61908" y="12333"/>
                  </a:moveTo>
                  <a:cubicBezTo>
                    <a:pt x="61576" y="12333"/>
                    <a:pt x="61232" y="12481"/>
                    <a:pt x="60999" y="12751"/>
                  </a:cubicBezTo>
                  <a:lnTo>
                    <a:pt x="12542" y="70872"/>
                  </a:lnTo>
                  <a:cubicBezTo>
                    <a:pt x="12382" y="71768"/>
                    <a:pt x="12530" y="72223"/>
                    <a:pt x="13119" y="72542"/>
                  </a:cubicBezTo>
                  <a:cubicBezTo>
                    <a:pt x="23091" y="77798"/>
                    <a:pt x="32178" y="84515"/>
                    <a:pt x="40160" y="92485"/>
                  </a:cubicBezTo>
                  <a:cubicBezTo>
                    <a:pt x="48117" y="100442"/>
                    <a:pt x="54835" y="109542"/>
                    <a:pt x="60115" y="119525"/>
                  </a:cubicBezTo>
                  <a:lnTo>
                    <a:pt x="65739" y="124843"/>
                  </a:lnTo>
                  <a:lnTo>
                    <a:pt x="61785" y="120115"/>
                  </a:lnTo>
                  <a:lnTo>
                    <a:pt x="119894" y="71658"/>
                  </a:lnTo>
                  <a:cubicBezTo>
                    <a:pt x="120312" y="71302"/>
                    <a:pt x="120447" y="70688"/>
                    <a:pt x="120201" y="70283"/>
                  </a:cubicBezTo>
                  <a:cubicBezTo>
                    <a:pt x="112612" y="58334"/>
                    <a:pt x="103992" y="47503"/>
                    <a:pt x="94573" y="38097"/>
                  </a:cubicBezTo>
                  <a:cubicBezTo>
                    <a:pt x="85142" y="28666"/>
                    <a:pt x="74323" y="20045"/>
                    <a:pt x="62399" y="12468"/>
                  </a:cubicBezTo>
                  <a:cubicBezTo>
                    <a:pt x="62252" y="12370"/>
                    <a:pt x="62080" y="12333"/>
                    <a:pt x="61908" y="12333"/>
                  </a:cubicBezTo>
                  <a:close/>
                </a:path>
              </a:pathLst>
            </a:custGeom>
            <a:solidFill>
              <a:schemeClr val="accent1"/>
            </a:solidFill>
            <a:ln w="1228" cap="flat">
              <a:noFill/>
              <a:prstDash val="solid"/>
              <a:miter/>
            </a:ln>
          </p:spPr>
          <p:txBody>
            <a:bodyPr rtlCol="0" anchor="ctr"/>
            <a:lstStyle/>
            <a:p>
              <a:endParaRPr lang="en-GB" dirty="0"/>
            </a:p>
          </p:txBody>
        </p:sp>
      </p:grpSp>
      <p:grpSp>
        <p:nvGrpSpPr>
          <p:cNvPr id="53" name="Gruppieren 432">
            <a:extLst>
              <a:ext uri="{FF2B5EF4-FFF2-40B4-BE49-F238E27FC236}">
                <a16:creationId xmlns:a16="http://schemas.microsoft.com/office/drawing/2014/main" id="{61366779-6C2D-4173-937F-00F90E65A9EF}"/>
              </a:ext>
            </a:extLst>
          </p:cNvPr>
          <p:cNvGrpSpPr>
            <a:grpSpLocks noChangeAspect="1"/>
          </p:cNvGrpSpPr>
          <p:nvPr/>
        </p:nvGrpSpPr>
        <p:grpSpPr>
          <a:xfrm>
            <a:off x="3816251" y="3273397"/>
            <a:ext cx="415555" cy="432000"/>
            <a:chOff x="3904458" y="3415176"/>
            <a:chExt cx="400598" cy="416452"/>
          </a:xfrm>
        </p:grpSpPr>
        <p:sp>
          <p:nvSpPr>
            <p:cNvPr id="54" name="Freihandform: Form 47">
              <a:extLst>
                <a:ext uri="{FF2B5EF4-FFF2-40B4-BE49-F238E27FC236}">
                  <a16:creationId xmlns:a16="http://schemas.microsoft.com/office/drawing/2014/main" id="{CB996CCB-63E6-4B07-8303-084B5E7B760C}"/>
                </a:ext>
              </a:extLst>
            </p:cNvPr>
            <p:cNvSpPr/>
            <p:nvPr/>
          </p:nvSpPr>
          <p:spPr>
            <a:xfrm>
              <a:off x="4031397" y="3586581"/>
              <a:ext cx="79611" cy="245047"/>
            </a:xfrm>
            <a:custGeom>
              <a:avLst/>
              <a:gdLst>
                <a:gd name="connsiteX0" fmla="*/ 39799 w 79611"/>
                <a:gd name="connsiteY0" fmla="*/ 245047 h 245047"/>
                <a:gd name="connsiteX1" fmla="*/ 0 w 79611"/>
                <a:gd name="connsiteY1" fmla="*/ 205248 h 245047"/>
                <a:gd name="connsiteX2" fmla="*/ 12329 w 79611"/>
                <a:gd name="connsiteY2" fmla="*/ 205248 h 245047"/>
                <a:gd name="connsiteX3" fmla="*/ 39799 w 79611"/>
                <a:gd name="connsiteY3" fmla="*/ 232718 h 245047"/>
                <a:gd name="connsiteX4" fmla="*/ 67282 w 79611"/>
                <a:gd name="connsiteY4" fmla="*/ 205248 h 245047"/>
                <a:gd name="connsiteX5" fmla="*/ 67282 w 79611"/>
                <a:gd name="connsiteY5" fmla="*/ 0 h 245047"/>
                <a:gd name="connsiteX6" fmla="*/ 79611 w 79611"/>
                <a:gd name="connsiteY6" fmla="*/ 0 h 245047"/>
                <a:gd name="connsiteX7" fmla="*/ 79611 w 79611"/>
                <a:gd name="connsiteY7" fmla="*/ 205248 h 245047"/>
                <a:gd name="connsiteX8" fmla="*/ 39799 w 79611"/>
                <a:gd name="connsiteY8" fmla="*/ 245047 h 245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11" h="245047">
                  <a:moveTo>
                    <a:pt x="39799" y="245047"/>
                  </a:moveTo>
                  <a:cubicBezTo>
                    <a:pt x="17855" y="245047"/>
                    <a:pt x="0" y="227192"/>
                    <a:pt x="0" y="205248"/>
                  </a:cubicBezTo>
                  <a:lnTo>
                    <a:pt x="12329" y="205248"/>
                  </a:lnTo>
                  <a:cubicBezTo>
                    <a:pt x="12329" y="220402"/>
                    <a:pt x="24646" y="232718"/>
                    <a:pt x="39799" y="232718"/>
                  </a:cubicBezTo>
                  <a:cubicBezTo>
                    <a:pt x="54953" y="232718"/>
                    <a:pt x="67282" y="220402"/>
                    <a:pt x="67282" y="205248"/>
                  </a:cubicBezTo>
                  <a:lnTo>
                    <a:pt x="67282" y="0"/>
                  </a:lnTo>
                  <a:lnTo>
                    <a:pt x="79611" y="0"/>
                  </a:lnTo>
                  <a:lnTo>
                    <a:pt x="79611" y="205248"/>
                  </a:lnTo>
                  <a:cubicBezTo>
                    <a:pt x="79611" y="227192"/>
                    <a:pt x="61744" y="245047"/>
                    <a:pt x="39799" y="245047"/>
                  </a:cubicBezTo>
                  <a:close/>
                </a:path>
              </a:pathLst>
            </a:custGeom>
            <a:solidFill>
              <a:schemeClr val="accent1"/>
            </a:solidFill>
            <a:ln w="1228" cap="flat">
              <a:noFill/>
              <a:prstDash val="solid"/>
              <a:miter/>
            </a:ln>
          </p:spPr>
          <p:txBody>
            <a:bodyPr rtlCol="0" anchor="ctr"/>
            <a:lstStyle/>
            <a:p>
              <a:endParaRPr lang="en-GB" dirty="0"/>
            </a:p>
          </p:txBody>
        </p:sp>
        <p:grpSp>
          <p:nvGrpSpPr>
            <p:cNvPr id="55" name="Gruppieren 431">
              <a:extLst>
                <a:ext uri="{FF2B5EF4-FFF2-40B4-BE49-F238E27FC236}">
                  <a16:creationId xmlns:a16="http://schemas.microsoft.com/office/drawing/2014/main" id="{3EE76D70-3FB1-4EF3-8329-42786F9FC98C}"/>
                </a:ext>
              </a:extLst>
            </p:cNvPr>
            <p:cNvGrpSpPr/>
            <p:nvPr/>
          </p:nvGrpSpPr>
          <p:grpSpPr>
            <a:xfrm>
              <a:off x="3904458" y="3415176"/>
              <a:ext cx="400598" cy="220721"/>
              <a:chOff x="3904458" y="3415176"/>
              <a:chExt cx="400598" cy="220721"/>
            </a:xfrm>
          </p:grpSpPr>
          <p:sp>
            <p:nvSpPr>
              <p:cNvPr id="56" name="Freihandform: Form 44">
                <a:extLst>
                  <a:ext uri="{FF2B5EF4-FFF2-40B4-BE49-F238E27FC236}">
                    <a16:creationId xmlns:a16="http://schemas.microsoft.com/office/drawing/2014/main" id="{27BA4A39-F03F-4F2F-9733-843E22341DEB}"/>
                  </a:ext>
                </a:extLst>
              </p:cNvPr>
              <p:cNvSpPr/>
              <p:nvPr/>
            </p:nvSpPr>
            <p:spPr>
              <a:xfrm>
                <a:off x="3904458" y="3429188"/>
                <a:ext cx="400598" cy="206709"/>
              </a:xfrm>
              <a:custGeom>
                <a:avLst/>
                <a:gdLst>
                  <a:gd name="connsiteX0" fmla="*/ 264929 w 400598"/>
                  <a:gd name="connsiteY0" fmla="*/ 206709 h 206709"/>
                  <a:gd name="connsiteX1" fmla="*/ 259243 w 400598"/>
                  <a:gd name="connsiteY1" fmla="*/ 202927 h 206709"/>
                  <a:gd name="connsiteX2" fmla="*/ 245588 w 400598"/>
                  <a:gd name="connsiteY2" fmla="*/ 182518 h 206709"/>
                  <a:gd name="connsiteX3" fmla="*/ 225277 w 400598"/>
                  <a:gd name="connsiteY3" fmla="*/ 168703 h 206709"/>
                  <a:gd name="connsiteX4" fmla="*/ 200349 w 400598"/>
                  <a:gd name="connsiteY4" fmla="*/ 163557 h 206709"/>
                  <a:gd name="connsiteX5" fmla="*/ 200103 w 400598"/>
                  <a:gd name="connsiteY5" fmla="*/ 163557 h 206709"/>
                  <a:gd name="connsiteX6" fmla="*/ 175408 w 400598"/>
                  <a:gd name="connsiteY6" fmla="*/ 168494 h 206709"/>
                  <a:gd name="connsiteX7" fmla="*/ 154998 w 400598"/>
                  <a:gd name="connsiteY7" fmla="*/ 182137 h 206709"/>
                  <a:gd name="connsiteX8" fmla="*/ 141392 w 400598"/>
                  <a:gd name="connsiteY8" fmla="*/ 201957 h 206709"/>
                  <a:gd name="connsiteX9" fmla="*/ 137598 w 400598"/>
                  <a:gd name="connsiteY9" fmla="*/ 205973 h 206709"/>
                  <a:gd name="connsiteX10" fmla="*/ 129898 w 400598"/>
                  <a:gd name="connsiteY10" fmla="*/ 202682 h 206709"/>
                  <a:gd name="connsiteX11" fmla="*/ 116181 w 400598"/>
                  <a:gd name="connsiteY11" fmla="*/ 182321 h 206709"/>
                  <a:gd name="connsiteX12" fmla="*/ 95821 w 400598"/>
                  <a:gd name="connsiteY12" fmla="*/ 168605 h 206709"/>
                  <a:gd name="connsiteX13" fmla="*/ 45940 w 400598"/>
                  <a:gd name="connsiteY13" fmla="*/ 168605 h 206709"/>
                  <a:gd name="connsiteX14" fmla="*/ 25579 w 400598"/>
                  <a:gd name="connsiteY14" fmla="*/ 182321 h 206709"/>
                  <a:gd name="connsiteX15" fmla="*/ 11838 w 400598"/>
                  <a:gd name="connsiteY15" fmla="*/ 202694 h 206709"/>
                  <a:gd name="connsiteX16" fmla="*/ 4937 w 400598"/>
                  <a:gd name="connsiteY16" fmla="*/ 206329 h 206709"/>
                  <a:gd name="connsiteX17" fmla="*/ 0 w 400598"/>
                  <a:gd name="connsiteY17" fmla="*/ 200287 h 206709"/>
                  <a:gd name="connsiteX18" fmla="*/ 200299 w 400598"/>
                  <a:gd name="connsiteY18" fmla="*/ 0 h 206709"/>
                  <a:gd name="connsiteX19" fmla="*/ 400599 w 400598"/>
                  <a:gd name="connsiteY19" fmla="*/ 200287 h 206709"/>
                  <a:gd name="connsiteX20" fmla="*/ 395662 w 400598"/>
                  <a:gd name="connsiteY20" fmla="*/ 206329 h 206709"/>
                  <a:gd name="connsiteX21" fmla="*/ 388761 w 400598"/>
                  <a:gd name="connsiteY21" fmla="*/ 202694 h 206709"/>
                  <a:gd name="connsiteX22" fmla="*/ 375019 w 400598"/>
                  <a:gd name="connsiteY22" fmla="*/ 182321 h 206709"/>
                  <a:gd name="connsiteX23" fmla="*/ 354659 w 400598"/>
                  <a:gd name="connsiteY23" fmla="*/ 168605 h 206709"/>
                  <a:gd name="connsiteX24" fmla="*/ 304778 w 400598"/>
                  <a:gd name="connsiteY24" fmla="*/ 168605 h 206709"/>
                  <a:gd name="connsiteX25" fmla="*/ 284418 w 400598"/>
                  <a:gd name="connsiteY25" fmla="*/ 182321 h 206709"/>
                  <a:gd name="connsiteX26" fmla="*/ 270787 w 400598"/>
                  <a:gd name="connsiteY26" fmla="*/ 202473 h 206709"/>
                  <a:gd name="connsiteX27" fmla="*/ 270787 w 400598"/>
                  <a:gd name="connsiteY27" fmla="*/ 202497 h 206709"/>
                  <a:gd name="connsiteX28" fmla="*/ 265163 w 400598"/>
                  <a:gd name="connsiteY28" fmla="*/ 206709 h 206709"/>
                  <a:gd name="connsiteX29" fmla="*/ 264929 w 400598"/>
                  <a:gd name="connsiteY29" fmla="*/ 206709 h 206709"/>
                  <a:gd name="connsiteX30" fmla="*/ 200103 w 400598"/>
                  <a:gd name="connsiteY30" fmla="*/ 151228 h 206709"/>
                  <a:gd name="connsiteX31" fmla="*/ 200410 w 400598"/>
                  <a:gd name="connsiteY31" fmla="*/ 151228 h 206709"/>
                  <a:gd name="connsiteX32" fmla="*/ 230128 w 400598"/>
                  <a:gd name="connsiteY32" fmla="*/ 157356 h 206709"/>
                  <a:gd name="connsiteX33" fmla="*/ 254331 w 400598"/>
                  <a:gd name="connsiteY33" fmla="*/ 173824 h 206709"/>
                  <a:gd name="connsiteX34" fmla="*/ 264917 w 400598"/>
                  <a:gd name="connsiteY34" fmla="*/ 187147 h 206709"/>
                  <a:gd name="connsiteX35" fmla="*/ 275699 w 400598"/>
                  <a:gd name="connsiteY35" fmla="*/ 173615 h 206709"/>
                  <a:gd name="connsiteX36" fmla="*/ 299988 w 400598"/>
                  <a:gd name="connsiteY36" fmla="*/ 157246 h 206709"/>
                  <a:gd name="connsiteX37" fmla="*/ 359461 w 400598"/>
                  <a:gd name="connsiteY37" fmla="*/ 157246 h 206709"/>
                  <a:gd name="connsiteX38" fmla="*/ 383750 w 400598"/>
                  <a:gd name="connsiteY38" fmla="*/ 173615 h 206709"/>
                  <a:gd name="connsiteX39" fmla="*/ 386820 w 400598"/>
                  <a:gd name="connsiteY39" fmla="*/ 176881 h 206709"/>
                  <a:gd name="connsiteX40" fmla="*/ 200299 w 400598"/>
                  <a:gd name="connsiteY40" fmla="*/ 12341 h 206709"/>
                  <a:gd name="connsiteX41" fmla="*/ 13778 w 400598"/>
                  <a:gd name="connsiteY41" fmla="*/ 176881 h 206709"/>
                  <a:gd name="connsiteX42" fmla="*/ 16848 w 400598"/>
                  <a:gd name="connsiteY42" fmla="*/ 173615 h 206709"/>
                  <a:gd name="connsiteX43" fmla="*/ 41138 w 400598"/>
                  <a:gd name="connsiteY43" fmla="*/ 157246 h 206709"/>
                  <a:gd name="connsiteX44" fmla="*/ 100598 w 400598"/>
                  <a:gd name="connsiteY44" fmla="*/ 157246 h 206709"/>
                  <a:gd name="connsiteX45" fmla="*/ 124888 w 400598"/>
                  <a:gd name="connsiteY45" fmla="*/ 173615 h 206709"/>
                  <a:gd name="connsiteX46" fmla="*/ 135473 w 400598"/>
                  <a:gd name="connsiteY46" fmla="*/ 186853 h 206709"/>
                  <a:gd name="connsiteX47" fmla="*/ 146292 w 400598"/>
                  <a:gd name="connsiteY47" fmla="*/ 173418 h 206709"/>
                  <a:gd name="connsiteX48" fmla="*/ 170643 w 400598"/>
                  <a:gd name="connsiteY48" fmla="*/ 157147 h 206709"/>
                  <a:gd name="connsiteX49" fmla="*/ 200103 w 400598"/>
                  <a:gd name="connsiteY49" fmla="*/ 151228 h 206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0598" h="206709">
                    <a:moveTo>
                      <a:pt x="264929" y="206709"/>
                    </a:moveTo>
                    <a:cubicBezTo>
                      <a:pt x="262448" y="206709"/>
                      <a:pt x="260214" y="205223"/>
                      <a:pt x="259243" y="202927"/>
                    </a:cubicBezTo>
                    <a:cubicBezTo>
                      <a:pt x="256026" y="195264"/>
                      <a:pt x="251446" y="188388"/>
                      <a:pt x="245588" y="182518"/>
                    </a:cubicBezTo>
                    <a:cubicBezTo>
                      <a:pt x="239694" y="176587"/>
                      <a:pt x="232866" y="171945"/>
                      <a:pt x="225277" y="168703"/>
                    </a:cubicBezTo>
                    <a:cubicBezTo>
                      <a:pt x="217418" y="165326"/>
                      <a:pt x="209018" y="163607"/>
                      <a:pt x="200349" y="163557"/>
                    </a:cubicBezTo>
                    <a:cubicBezTo>
                      <a:pt x="200275" y="163557"/>
                      <a:pt x="200189" y="163557"/>
                      <a:pt x="200103" y="163557"/>
                    </a:cubicBezTo>
                    <a:cubicBezTo>
                      <a:pt x="191544" y="163557"/>
                      <a:pt x="183218" y="165215"/>
                      <a:pt x="175408" y="168494"/>
                    </a:cubicBezTo>
                    <a:cubicBezTo>
                      <a:pt x="167770" y="171687"/>
                      <a:pt x="160893" y="176280"/>
                      <a:pt x="154998" y="182137"/>
                    </a:cubicBezTo>
                    <a:cubicBezTo>
                      <a:pt x="149202" y="187896"/>
                      <a:pt x="144634" y="194552"/>
                      <a:pt x="141392" y="201957"/>
                    </a:cubicBezTo>
                    <a:cubicBezTo>
                      <a:pt x="140840" y="203774"/>
                      <a:pt x="139476" y="205309"/>
                      <a:pt x="137598" y="205973"/>
                    </a:cubicBezTo>
                    <a:cubicBezTo>
                      <a:pt x="134577" y="207053"/>
                      <a:pt x="131187" y="205690"/>
                      <a:pt x="129898" y="202682"/>
                    </a:cubicBezTo>
                    <a:cubicBezTo>
                      <a:pt x="126681" y="195068"/>
                      <a:pt x="122076" y="188216"/>
                      <a:pt x="116181" y="182321"/>
                    </a:cubicBezTo>
                    <a:cubicBezTo>
                      <a:pt x="110287" y="176427"/>
                      <a:pt x="103422" y="171822"/>
                      <a:pt x="95821" y="168605"/>
                    </a:cubicBezTo>
                    <a:cubicBezTo>
                      <a:pt x="79968" y="161912"/>
                      <a:pt x="61793" y="161912"/>
                      <a:pt x="45940" y="168605"/>
                    </a:cubicBezTo>
                    <a:cubicBezTo>
                      <a:pt x="38326" y="171822"/>
                      <a:pt x="31474" y="176427"/>
                      <a:pt x="25579" y="182321"/>
                    </a:cubicBezTo>
                    <a:cubicBezTo>
                      <a:pt x="19697" y="188216"/>
                      <a:pt x="15080" y="195068"/>
                      <a:pt x="11838" y="202694"/>
                    </a:cubicBezTo>
                    <a:cubicBezTo>
                      <a:pt x="10696" y="205395"/>
                      <a:pt x="7786" y="206906"/>
                      <a:pt x="4937" y="206329"/>
                    </a:cubicBezTo>
                    <a:cubicBezTo>
                      <a:pt x="2063" y="205739"/>
                      <a:pt x="0" y="203210"/>
                      <a:pt x="0" y="200287"/>
                    </a:cubicBezTo>
                    <a:cubicBezTo>
                      <a:pt x="0" y="89841"/>
                      <a:pt x="89865" y="0"/>
                      <a:pt x="200299" y="0"/>
                    </a:cubicBezTo>
                    <a:cubicBezTo>
                      <a:pt x="310733" y="0"/>
                      <a:pt x="400599" y="89853"/>
                      <a:pt x="400599" y="200287"/>
                    </a:cubicBezTo>
                    <a:cubicBezTo>
                      <a:pt x="400599" y="203210"/>
                      <a:pt x="398536" y="205739"/>
                      <a:pt x="395662" y="206329"/>
                    </a:cubicBezTo>
                    <a:cubicBezTo>
                      <a:pt x="392862" y="206943"/>
                      <a:pt x="389903" y="205395"/>
                      <a:pt x="388761" y="202694"/>
                    </a:cubicBezTo>
                    <a:cubicBezTo>
                      <a:pt x="385519" y="195056"/>
                      <a:pt x="380902" y="188203"/>
                      <a:pt x="375019" y="182321"/>
                    </a:cubicBezTo>
                    <a:cubicBezTo>
                      <a:pt x="369113" y="176427"/>
                      <a:pt x="362273" y="171822"/>
                      <a:pt x="354659" y="168605"/>
                    </a:cubicBezTo>
                    <a:cubicBezTo>
                      <a:pt x="338806" y="161912"/>
                      <a:pt x="320631" y="161912"/>
                      <a:pt x="304778" y="168605"/>
                    </a:cubicBezTo>
                    <a:cubicBezTo>
                      <a:pt x="297164" y="171822"/>
                      <a:pt x="290312" y="176427"/>
                      <a:pt x="284418" y="182321"/>
                    </a:cubicBezTo>
                    <a:cubicBezTo>
                      <a:pt x="278585" y="188167"/>
                      <a:pt x="274004" y="194945"/>
                      <a:pt x="270787" y="202473"/>
                    </a:cubicBezTo>
                    <a:lnTo>
                      <a:pt x="270787" y="202497"/>
                    </a:lnTo>
                    <a:cubicBezTo>
                      <a:pt x="269964" y="204929"/>
                      <a:pt x="267729" y="206611"/>
                      <a:pt x="265163" y="206709"/>
                    </a:cubicBezTo>
                    <a:cubicBezTo>
                      <a:pt x="265089" y="206709"/>
                      <a:pt x="265003" y="206709"/>
                      <a:pt x="264929" y="206709"/>
                    </a:cubicBezTo>
                    <a:close/>
                    <a:moveTo>
                      <a:pt x="200103" y="151228"/>
                    </a:moveTo>
                    <a:cubicBezTo>
                      <a:pt x="200213" y="151228"/>
                      <a:pt x="200312" y="151228"/>
                      <a:pt x="200410" y="151228"/>
                    </a:cubicBezTo>
                    <a:cubicBezTo>
                      <a:pt x="210737" y="151277"/>
                      <a:pt x="220733" y="153353"/>
                      <a:pt x="230128" y="157356"/>
                    </a:cubicBezTo>
                    <a:cubicBezTo>
                      <a:pt x="239166" y="161224"/>
                      <a:pt x="247320" y="166763"/>
                      <a:pt x="254331" y="173824"/>
                    </a:cubicBezTo>
                    <a:cubicBezTo>
                      <a:pt x="258384" y="177876"/>
                      <a:pt x="261908" y="182334"/>
                      <a:pt x="264917" y="187147"/>
                    </a:cubicBezTo>
                    <a:cubicBezTo>
                      <a:pt x="267962" y="182272"/>
                      <a:pt x="271560" y="177741"/>
                      <a:pt x="275699" y="173615"/>
                    </a:cubicBezTo>
                    <a:cubicBezTo>
                      <a:pt x="282735" y="166591"/>
                      <a:pt x="290901" y="161089"/>
                      <a:pt x="299988" y="157246"/>
                    </a:cubicBezTo>
                    <a:cubicBezTo>
                      <a:pt x="318875" y="149276"/>
                      <a:pt x="340574" y="149276"/>
                      <a:pt x="359461" y="157246"/>
                    </a:cubicBezTo>
                    <a:cubicBezTo>
                      <a:pt x="368548" y="161089"/>
                      <a:pt x="376714" y="166591"/>
                      <a:pt x="383750" y="173615"/>
                    </a:cubicBezTo>
                    <a:cubicBezTo>
                      <a:pt x="384807" y="174671"/>
                      <a:pt x="385838" y="175764"/>
                      <a:pt x="386820" y="176881"/>
                    </a:cubicBezTo>
                    <a:cubicBezTo>
                      <a:pt x="375265" y="84253"/>
                      <a:pt x="296022" y="12341"/>
                      <a:pt x="200299" y="12341"/>
                    </a:cubicBezTo>
                    <a:cubicBezTo>
                      <a:pt x="104577" y="12341"/>
                      <a:pt x="25346" y="84253"/>
                      <a:pt x="13778" y="176881"/>
                    </a:cubicBezTo>
                    <a:cubicBezTo>
                      <a:pt x="14761" y="175776"/>
                      <a:pt x="15792" y="174683"/>
                      <a:pt x="16848" y="173615"/>
                    </a:cubicBezTo>
                    <a:cubicBezTo>
                      <a:pt x="23885" y="166591"/>
                      <a:pt x="32051" y="161089"/>
                      <a:pt x="41138" y="157246"/>
                    </a:cubicBezTo>
                    <a:cubicBezTo>
                      <a:pt x="60025" y="149276"/>
                      <a:pt x="81724" y="149276"/>
                      <a:pt x="100598" y="157246"/>
                    </a:cubicBezTo>
                    <a:cubicBezTo>
                      <a:pt x="109685" y="161089"/>
                      <a:pt x="117851" y="166591"/>
                      <a:pt x="124888" y="173615"/>
                    </a:cubicBezTo>
                    <a:cubicBezTo>
                      <a:pt x="128940" y="177655"/>
                      <a:pt x="132477" y="182088"/>
                      <a:pt x="135473" y="186853"/>
                    </a:cubicBezTo>
                    <a:cubicBezTo>
                      <a:pt x="138543" y="182014"/>
                      <a:pt x="142153" y="177508"/>
                      <a:pt x="146292" y="173418"/>
                    </a:cubicBezTo>
                    <a:cubicBezTo>
                      <a:pt x="153341" y="166419"/>
                      <a:pt x="161519" y="160942"/>
                      <a:pt x="170643" y="157147"/>
                    </a:cubicBezTo>
                    <a:cubicBezTo>
                      <a:pt x="179976" y="153218"/>
                      <a:pt x="189898" y="151228"/>
                      <a:pt x="200103" y="151228"/>
                    </a:cubicBezTo>
                    <a:close/>
                  </a:path>
                </a:pathLst>
              </a:custGeom>
              <a:solidFill>
                <a:schemeClr val="tx2"/>
              </a:solidFill>
              <a:ln w="1228" cap="flat">
                <a:noFill/>
                <a:prstDash val="solid"/>
                <a:miter/>
              </a:ln>
            </p:spPr>
            <p:txBody>
              <a:bodyPr rtlCol="0" anchor="ctr"/>
              <a:lstStyle/>
              <a:p>
                <a:endParaRPr lang="en-GB" dirty="0"/>
              </a:p>
            </p:txBody>
          </p:sp>
          <p:sp>
            <p:nvSpPr>
              <p:cNvPr id="57" name="Freihandform: Form 45">
                <a:extLst>
                  <a:ext uri="{FF2B5EF4-FFF2-40B4-BE49-F238E27FC236}">
                    <a16:creationId xmlns:a16="http://schemas.microsoft.com/office/drawing/2014/main" id="{651D584C-77D3-4796-9B3D-C5D4F4032447}"/>
                  </a:ext>
                </a:extLst>
              </p:cNvPr>
              <p:cNvSpPr/>
              <p:nvPr/>
            </p:nvSpPr>
            <p:spPr>
              <a:xfrm>
                <a:off x="4114471" y="3431644"/>
                <a:ext cx="63698" cy="198960"/>
              </a:xfrm>
              <a:custGeom>
                <a:avLst/>
                <a:gdLst>
                  <a:gd name="connsiteX0" fmla="*/ 61056 w 63698"/>
                  <a:gd name="connsiteY0" fmla="*/ 198961 h 198960"/>
                  <a:gd name="connsiteX1" fmla="*/ 48936 w 63698"/>
                  <a:gd name="connsiteY1" fmla="*/ 196726 h 198960"/>
                  <a:gd name="connsiteX2" fmla="*/ 0 w 63698"/>
                  <a:gd name="connsiteY2" fmla="*/ 7442 h 198960"/>
                  <a:gd name="connsiteX3" fmla="*/ 9824 w 63698"/>
                  <a:gd name="connsiteY3" fmla="*/ 0 h 198960"/>
                  <a:gd name="connsiteX4" fmla="*/ 61056 w 63698"/>
                  <a:gd name="connsiteY4" fmla="*/ 198961 h 19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98" h="198960">
                    <a:moveTo>
                      <a:pt x="61056" y="198961"/>
                    </a:moveTo>
                    <a:lnTo>
                      <a:pt x="48936" y="196726"/>
                    </a:lnTo>
                    <a:cubicBezTo>
                      <a:pt x="49120" y="195731"/>
                      <a:pt x="66582" y="95452"/>
                      <a:pt x="0" y="7442"/>
                    </a:cubicBezTo>
                    <a:lnTo>
                      <a:pt x="9824" y="0"/>
                    </a:lnTo>
                    <a:cubicBezTo>
                      <a:pt x="79808" y="92481"/>
                      <a:pt x="61867" y="194663"/>
                      <a:pt x="61056" y="198961"/>
                    </a:cubicBezTo>
                    <a:close/>
                  </a:path>
                </a:pathLst>
              </a:custGeom>
              <a:solidFill>
                <a:schemeClr val="tx2"/>
              </a:solidFill>
              <a:ln w="1228" cap="flat">
                <a:noFill/>
                <a:prstDash val="solid"/>
                <a:miter/>
              </a:ln>
            </p:spPr>
            <p:txBody>
              <a:bodyPr rtlCol="0" anchor="ctr"/>
              <a:lstStyle/>
              <a:p>
                <a:endParaRPr lang="en-GB" dirty="0"/>
              </a:p>
            </p:txBody>
          </p:sp>
          <p:sp>
            <p:nvSpPr>
              <p:cNvPr id="58" name="Freihandform: Form 46">
                <a:extLst>
                  <a:ext uri="{FF2B5EF4-FFF2-40B4-BE49-F238E27FC236}">
                    <a16:creationId xmlns:a16="http://schemas.microsoft.com/office/drawing/2014/main" id="{BBA6C7BD-0748-4441-81CA-95C385809503}"/>
                  </a:ext>
                </a:extLst>
              </p:cNvPr>
              <p:cNvSpPr/>
              <p:nvPr/>
            </p:nvSpPr>
            <p:spPr>
              <a:xfrm>
                <a:off x="4031271" y="3431386"/>
                <a:ext cx="63686" cy="198960"/>
              </a:xfrm>
              <a:custGeom>
                <a:avLst/>
                <a:gdLst>
                  <a:gd name="connsiteX0" fmla="*/ 2643 w 63686"/>
                  <a:gd name="connsiteY0" fmla="*/ 198961 h 198960"/>
                  <a:gd name="connsiteX1" fmla="*/ 53863 w 63686"/>
                  <a:gd name="connsiteY1" fmla="*/ 0 h 198960"/>
                  <a:gd name="connsiteX2" fmla="*/ 63687 w 63686"/>
                  <a:gd name="connsiteY2" fmla="*/ 7442 h 198960"/>
                  <a:gd name="connsiteX3" fmla="*/ 14763 w 63686"/>
                  <a:gd name="connsiteY3" fmla="*/ 196726 h 198960"/>
                  <a:gd name="connsiteX4" fmla="*/ 2643 w 63686"/>
                  <a:gd name="connsiteY4" fmla="*/ 198961 h 1989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86" h="198960">
                    <a:moveTo>
                      <a:pt x="2643" y="198961"/>
                    </a:moveTo>
                    <a:cubicBezTo>
                      <a:pt x="1832" y="194663"/>
                      <a:pt x="-16109" y="92481"/>
                      <a:pt x="53863" y="0"/>
                    </a:cubicBezTo>
                    <a:lnTo>
                      <a:pt x="63687" y="7442"/>
                    </a:lnTo>
                    <a:cubicBezTo>
                      <a:pt x="-3018" y="95624"/>
                      <a:pt x="14579" y="195731"/>
                      <a:pt x="14763" y="196726"/>
                    </a:cubicBezTo>
                    <a:lnTo>
                      <a:pt x="2643" y="198961"/>
                    </a:lnTo>
                    <a:close/>
                  </a:path>
                </a:pathLst>
              </a:custGeom>
              <a:solidFill>
                <a:schemeClr val="tx2"/>
              </a:solidFill>
              <a:ln w="1228" cap="flat">
                <a:noFill/>
                <a:prstDash val="solid"/>
                <a:miter/>
              </a:ln>
            </p:spPr>
            <p:txBody>
              <a:bodyPr rtlCol="0" anchor="ctr"/>
              <a:lstStyle/>
              <a:p>
                <a:endParaRPr lang="en-GB" dirty="0"/>
              </a:p>
            </p:txBody>
          </p:sp>
          <p:sp>
            <p:nvSpPr>
              <p:cNvPr id="59" name="Freihandform: Form 48">
                <a:extLst>
                  <a:ext uri="{FF2B5EF4-FFF2-40B4-BE49-F238E27FC236}">
                    <a16:creationId xmlns:a16="http://schemas.microsoft.com/office/drawing/2014/main" id="{EB81C4E2-1E55-46CB-9873-2EDC16B80B79}"/>
                  </a:ext>
                </a:extLst>
              </p:cNvPr>
              <p:cNvSpPr/>
              <p:nvPr/>
            </p:nvSpPr>
            <p:spPr>
              <a:xfrm>
                <a:off x="4098593" y="3415176"/>
                <a:ext cx="12329" cy="26340"/>
              </a:xfrm>
              <a:custGeom>
                <a:avLst/>
                <a:gdLst>
                  <a:gd name="connsiteX0" fmla="*/ 6165 w 12329"/>
                  <a:gd name="connsiteY0" fmla="*/ 26341 h 26340"/>
                  <a:gd name="connsiteX1" fmla="*/ 0 w 12329"/>
                  <a:gd name="connsiteY1" fmla="*/ 20176 h 26340"/>
                  <a:gd name="connsiteX2" fmla="*/ 0 w 12329"/>
                  <a:gd name="connsiteY2" fmla="*/ 6165 h 26340"/>
                  <a:gd name="connsiteX3" fmla="*/ 6165 w 12329"/>
                  <a:gd name="connsiteY3" fmla="*/ 0 h 26340"/>
                  <a:gd name="connsiteX4" fmla="*/ 12329 w 12329"/>
                  <a:gd name="connsiteY4" fmla="*/ 6165 h 26340"/>
                  <a:gd name="connsiteX5" fmla="*/ 12329 w 12329"/>
                  <a:gd name="connsiteY5" fmla="*/ 20176 h 26340"/>
                  <a:gd name="connsiteX6" fmla="*/ 6165 w 12329"/>
                  <a:gd name="connsiteY6" fmla="*/ 26341 h 2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29" h="26340">
                    <a:moveTo>
                      <a:pt x="6165" y="26341"/>
                    </a:moveTo>
                    <a:cubicBezTo>
                      <a:pt x="2751" y="26341"/>
                      <a:pt x="0" y="23578"/>
                      <a:pt x="0" y="20176"/>
                    </a:cubicBezTo>
                    <a:lnTo>
                      <a:pt x="0" y="6165"/>
                    </a:lnTo>
                    <a:cubicBezTo>
                      <a:pt x="0" y="2751"/>
                      <a:pt x="2763" y="0"/>
                      <a:pt x="6165" y="0"/>
                    </a:cubicBezTo>
                    <a:cubicBezTo>
                      <a:pt x="9566" y="0"/>
                      <a:pt x="12329" y="2763"/>
                      <a:pt x="12329" y="6165"/>
                    </a:cubicBezTo>
                    <a:lnTo>
                      <a:pt x="12329" y="20176"/>
                    </a:lnTo>
                    <a:cubicBezTo>
                      <a:pt x="12329" y="23590"/>
                      <a:pt x="9566" y="26341"/>
                      <a:pt x="6165" y="26341"/>
                    </a:cubicBezTo>
                    <a:close/>
                  </a:path>
                </a:pathLst>
              </a:custGeom>
              <a:solidFill>
                <a:schemeClr val="tx2"/>
              </a:solidFill>
              <a:ln w="1228" cap="flat">
                <a:noFill/>
                <a:prstDash val="solid"/>
                <a:miter/>
              </a:ln>
            </p:spPr>
            <p:txBody>
              <a:bodyPr rtlCol="0" anchor="ctr"/>
              <a:lstStyle/>
              <a:p>
                <a:endParaRPr lang="en-GB" dirty="0"/>
              </a:p>
            </p:txBody>
          </p:sp>
        </p:grpSp>
      </p:grpSp>
      <p:grpSp>
        <p:nvGrpSpPr>
          <p:cNvPr id="60" name="Gruppieren 402">
            <a:extLst>
              <a:ext uri="{FF2B5EF4-FFF2-40B4-BE49-F238E27FC236}">
                <a16:creationId xmlns:a16="http://schemas.microsoft.com/office/drawing/2014/main" id="{79EBAF23-AD8B-4391-A184-33C5F0D3FEF4}"/>
              </a:ext>
            </a:extLst>
          </p:cNvPr>
          <p:cNvGrpSpPr>
            <a:grpSpLocks noChangeAspect="1"/>
          </p:cNvGrpSpPr>
          <p:nvPr/>
        </p:nvGrpSpPr>
        <p:grpSpPr>
          <a:xfrm>
            <a:off x="500107" y="1626716"/>
            <a:ext cx="397160" cy="432000"/>
            <a:chOff x="455777" y="1683646"/>
            <a:chExt cx="392260" cy="426669"/>
          </a:xfrm>
        </p:grpSpPr>
        <p:grpSp>
          <p:nvGrpSpPr>
            <p:cNvPr id="61" name="Gruppieren 400">
              <a:extLst>
                <a:ext uri="{FF2B5EF4-FFF2-40B4-BE49-F238E27FC236}">
                  <a16:creationId xmlns:a16="http://schemas.microsoft.com/office/drawing/2014/main" id="{3BAD4C09-1A4B-4E3D-9A02-9862553DBAD5}"/>
                </a:ext>
              </a:extLst>
            </p:cNvPr>
            <p:cNvGrpSpPr/>
            <p:nvPr/>
          </p:nvGrpSpPr>
          <p:grpSpPr>
            <a:xfrm>
              <a:off x="587394" y="1718177"/>
              <a:ext cx="127957" cy="388564"/>
              <a:chOff x="587394" y="1718177"/>
              <a:chExt cx="127957" cy="388564"/>
            </a:xfrm>
          </p:grpSpPr>
          <p:sp>
            <p:nvSpPr>
              <p:cNvPr id="79" name="Freihandform: Form 52">
                <a:extLst>
                  <a:ext uri="{FF2B5EF4-FFF2-40B4-BE49-F238E27FC236}">
                    <a16:creationId xmlns:a16="http://schemas.microsoft.com/office/drawing/2014/main" id="{01F1ECF4-76C0-4376-800F-89B4DE16405D}"/>
                  </a:ext>
                </a:extLst>
              </p:cNvPr>
              <p:cNvSpPr/>
              <p:nvPr/>
            </p:nvSpPr>
            <p:spPr>
              <a:xfrm>
                <a:off x="587394" y="1994392"/>
                <a:ext cx="127957" cy="112349"/>
              </a:xfrm>
              <a:custGeom>
                <a:avLst/>
                <a:gdLst>
                  <a:gd name="connsiteX0" fmla="*/ 127958 w 127957"/>
                  <a:gd name="connsiteY0" fmla="*/ 112350 h 112349"/>
                  <a:gd name="connsiteX1" fmla="*/ 0 w 127957"/>
                  <a:gd name="connsiteY1" fmla="*/ 112350 h 112349"/>
                  <a:gd name="connsiteX2" fmla="*/ 0 w 127957"/>
                  <a:gd name="connsiteY2" fmla="*/ 0 h 112349"/>
                  <a:gd name="connsiteX3" fmla="*/ 127958 w 127957"/>
                  <a:gd name="connsiteY3" fmla="*/ 0 h 112349"/>
                  <a:gd name="connsiteX4" fmla="*/ 127958 w 127957"/>
                  <a:gd name="connsiteY4" fmla="*/ 112350 h 112349"/>
                  <a:gd name="connsiteX5" fmla="*/ 12341 w 127957"/>
                  <a:gd name="connsiteY5" fmla="*/ 100021 h 112349"/>
                  <a:gd name="connsiteX6" fmla="*/ 115629 w 127957"/>
                  <a:gd name="connsiteY6" fmla="*/ 100021 h 112349"/>
                  <a:gd name="connsiteX7" fmla="*/ 115629 w 127957"/>
                  <a:gd name="connsiteY7" fmla="*/ 12341 h 112349"/>
                  <a:gd name="connsiteX8" fmla="*/ 12341 w 127957"/>
                  <a:gd name="connsiteY8" fmla="*/ 12341 h 112349"/>
                  <a:gd name="connsiteX9" fmla="*/ 12341 w 127957"/>
                  <a:gd name="connsiteY9" fmla="*/ 100021 h 112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957" h="112349">
                    <a:moveTo>
                      <a:pt x="127958" y="112350"/>
                    </a:moveTo>
                    <a:lnTo>
                      <a:pt x="0" y="112350"/>
                    </a:lnTo>
                    <a:lnTo>
                      <a:pt x="0" y="0"/>
                    </a:lnTo>
                    <a:lnTo>
                      <a:pt x="127958" y="0"/>
                    </a:lnTo>
                    <a:lnTo>
                      <a:pt x="127958" y="112350"/>
                    </a:lnTo>
                    <a:close/>
                    <a:moveTo>
                      <a:pt x="12341" y="100021"/>
                    </a:moveTo>
                    <a:lnTo>
                      <a:pt x="115629" y="100021"/>
                    </a:lnTo>
                    <a:lnTo>
                      <a:pt x="115629" y="12341"/>
                    </a:lnTo>
                    <a:lnTo>
                      <a:pt x="12341" y="12341"/>
                    </a:lnTo>
                    <a:lnTo>
                      <a:pt x="12341" y="100021"/>
                    </a:lnTo>
                    <a:close/>
                  </a:path>
                </a:pathLst>
              </a:custGeom>
              <a:solidFill>
                <a:schemeClr val="accent1"/>
              </a:solidFill>
              <a:ln w="1228" cap="flat">
                <a:noFill/>
                <a:prstDash val="solid"/>
                <a:miter/>
              </a:ln>
            </p:spPr>
            <p:txBody>
              <a:bodyPr rtlCol="0" anchor="ctr"/>
              <a:lstStyle/>
              <a:p>
                <a:endParaRPr lang="en-GB" dirty="0"/>
              </a:p>
            </p:txBody>
          </p:sp>
          <p:sp>
            <p:nvSpPr>
              <p:cNvPr id="80" name="Freihandform: Form 53">
                <a:extLst>
                  <a:ext uri="{FF2B5EF4-FFF2-40B4-BE49-F238E27FC236}">
                    <a16:creationId xmlns:a16="http://schemas.microsoft.com/office/drawing/2014/main" id="{0CBB6AC0-ECE3-4B61-A34F-3DACB5D57153}"/>
                  </a:ext>
                </a:extLst>
              </p:cNvPr>
              <p:cNvSpPr/>
              <p:nvPr/>
            </p:nvSpPr>
            <p:spPr>
              <a:xfrm>
                <a:off x="588462" y="1718177"/>
                <a:ext cx="126889" cy="12329"/>
              </a:xfrm>
              <a:custGeom>
                <a:avLst/>
                <a:gdLst>
                  <a:gd name="connsiteX0" fmla="*/ 0 w 126889"/>
                  <a:gd name="connsiteY0" fmla="*/ 0 h 12329"/>
                  <a:gd name="connsiteX1" fmla="*/ 126889 w 126889"/>
                  <a:gd name="connsiteY1" fmla="*/ 0 h 12329"/>
                  <a:gd name="connsiteX2" fmla="*/ 126889 w 126889"/>
                  <a:gd name="connsiteY2" fmla="*/ 12329 h 12329"/>
                  <a:gd name="connsiteX3" fmla="*/ 0 w 126889"/>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26889" h="12329">
                    <a:moveTo>
                      <a:pt x="0" y="0"/>
                    </a:moveTo>
                    <a:lnTo>
                      <a:pt x="126889" y="0"/>
                    </a:lnTo>
                    <a:lnTo>
                      <a:pt x="126889" y="12329"/>
                    </a:lnTo>
                    <a:lnTo>
                      <a:pt x="0" y="12329"/>
                    </a:lnTo>
                    <a:close/>
                  </a:path>
                </a:pathLst>
              </a:custGeom>
              <a:solidFill>
                <a:schemeClr val="accent1"/>
              </a:solidFill>
              <a:ln w="1228" cap="flat">
                <a:noFill/>
                <a:prstDash val="solid"/>
                <a:miter/>
              </a:ln>
            </p:spPr>
            <p:txBody>
              <a:bodyPr rtlCol="0" anchor="ctr"/>
              <a:lstStyle/>
              <a:p>
                <a:endParaRPr lang="en-GB" dirty="0"/>
              </a:p>
            </p:txBody>
          </p:sp>
          <p:sp>
            <p:nvSpPr>
              <p:cNvPr id="81" name="Freihandform: Form 54">
                <a:extLst>
                  <a:ext uri="{FF2B5EF4-FFF2-40B4-BE49-F238E27FC236}">
                    <a16:creationId xmlns:a16="http://schemas.microsoft.com/office/drawing/2014/main" id="{E0F5C71F-3958-4C87-80C5-B4CE369C88C2}"/>
                  </a:ext>
                </a:extLst>
              </p:cNvPr>
              <p:cNvSpPr/>
              <p:nvPr/>
            </p:nvSpPr>
            <p:spPr>
              <a:xfrm>
                <a:off x="588462" y="1752696"/>
                <a:ext cx="126889" cy="12329"/>
              </a:xfrm>
              <a:custGeom>
                <a:avLst/>
                <a:gdLst>
                  <a:gd name="connsiteX0" fmla="*/ 0 w 126889"/>
                  <a:gd name="connsiteY0" fmla="*/ 0 h 12329"/>
                  <a:gd name="connsiteX1" fmla="*/ 126889 w 126889"/>
                  <a:gd name="connsiteY1" fmla="*/ 0 h 12329"/>
                  <a:gd name="connsiteX2" fmla="*/ 126889 w 126889"/>
                  <a:gd name="connsiteY2" fmla="*/ 12329 h 12329"/>
                  <a:gd name="connsiteX3" fmla="*/ 0 w 126889"/>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26889" h="12329">
                    <a:moveTo>
                      <a:pt x="0" y="0"/>
                    </a:moveTo>
                    <a:lnTo>
                      <a:pt x="126889" y="0"/>
                    </a:lnTo>
                    <a:lnTo>
                      <a:pt x="126889" y="12329"/>
                    </a:lnTo>
                    <a:lnTo>
                      <a:pt x="0" y="12329"/>
                    </a:lnTo>
                    <a:close/>
                  </a:path>
                </a:pathLst>
              </a:custGeom>
              <a:solidFill>
                <a:schemeClr val="accent1"/>
              </a:solidFill>
              <a:ln w="1228" cap="flat">
                <a:noFill/>
                <a:prstDash val="solid"/>
                <a:miter/>
              </a:ln>
            </p:spPr>
            <p:txBody>
              <a:bodyPr rtlCol="0" anchor="ctr"/>
              <a:lstStyle/>
              <a:p>
                <a:endParaRPr lang="en-GB" dirty="0"/>
              </a:p>
            </p:txBody>
          </p:sp>
          <p:sp>
            <p:nvSpPr>
              <p:cNvPr id="82" name="Freihandform: Form 55">
                <a:extLst>
                  <a:ext uri="{FF2B5EF4-FFF2-40B4-BE49-F238E27FC236}">
                    <a16:creationId xmlns:a16="http://schemas.microsoft.com/office/drawing/2014/main" id="{30B13B42-6467-46F5-9E7C-9EC1400E9B62}"/>
                  </a:ext>
                </a:extLst>
              </p:cNvPr>
              <p:cNvSpPr/>
              <p:nvPr/>
            </p:nvSpPr>
            <p:spPr>
              <a:xfrm>
                <a:off x="588462" y="1787228"/>
                <a:ext cx="126889" cy="12329"/>
              </a:xfrm>
              <a:custGeom>
                <a:avLst/>
                <a:gdLst>
                  <a:gd name="connsiteX0" fmla="*/ 0 w 126889"/>
                  <a:gd name="connsiteY0" fmla="*/ 0 h 12329"/>
                  <a:gd name="connsiteX1" fmla="*/ 126889 w 126889"/>
                  <a:gd name="connsiteY1" fmla="*/ 0 h 12329"/>
                  <a:gd name="connsiteX2" fmla="*/ 126889 w 126889"/>
                  <a:gd name="connsiteY2" fmla="*/ 12329 h 12329"/>
                  <a:gd name="connsiteX3" fmla="*/ 0 w 126889"/>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26889" h="12329">
                    <a:moveTo>
                      <a:pt x="0" y="0"/>
                    </a:moveTo>
                    <a:lnTo>
                      <a:pt x="126889" y="0"/>
                    </a:lnTo>
                    <a:lnTo>
                      <a:pt x="126889" y="12329"/>
                    </a:lnTo>
                    <a:lnTo>
                      <a:pt x="0" y="12329"/>
                    </a:lnTo>
                    <a:close/>
                  </a:path>
                </a:pathLst>
              </a:custGeom>
              <a:solidFill>
                <a:schemeClr val="accent1"/>
              </a:solidFill>
              <a:ln w="1228" cap="flat">
                <a:noFill/>
                <a:prstDash val="solid"/>
                <a:miter/>
              </a:ln>
            </p:spPr>
            <p:txBody>
              <a:bodyPr rtlCol="0" anchor="ctr"/>
              <a:lstStyle/>
              <a:p>
                <a:endParaRPr lang="en-GB" dirty="0"/>
              </a:p>
            </p:txBody>
          </p:sp>
          <p:sp>
            <p:nvSpPr>
              <p:cNvPr id="83" name="Freihandform: Form 56">
                <a:extLst>
                  <a:ext uri="{FF2B5EF4-FFF2-40B4-BE49-F238E27FC236}">
                    <a16:creationId xmlns:a16="http://schemas.microsoft.com/office/drawing/2014/main" id="{5C82E32A-DF71-4142-98A1-F874DE59E9CE}"/>
                  </a:ext>
                </a:extLst>
              </p:cNvPr>
              <p:cNvSpPr/>
              <p:nvPr/>
            </p:nvSpPr>
            <p:spPr>
              <a:xfrm>
                <a:off x="588462" y="1821759"/>
                <a:ext cx="126889" cy="12329"/>
              </a:xfrm>
              <a:custGeom>
                <a:avLst/>
                <a:gdLst>
                  <a:gd name="connsiteX0" fmla="*/ 0 w 126889"/>
                  <a:gd name="connsiteY0" fmla="*/ 0 h 12329"/>
                  <a:gd name="connsiteX1" fmla="*/ 126889 w 126889"/>
                  <a:gd name="connsiteY1" fmla="*/ 0 h 12329"/>
                  <a:gd name="connsiteX2" fmla="*/ 126889 w 126889"/>
                  <a:gd name="connsiteY2" fmla="*/ 12329 h 12329"/>
                  <a:gd name="connsiteX3" fmla="*/ 0 w 126889"/>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26889" h="12329">
                    <a:moveTo>
                      <a:pt x="0" y="0"/>
                    </a:moveTo>
                    <a:lnTo>
                      <a:pt x="126889" y="0"/>
                    </a:lnTo>
                    <a:lnTo>
                      <a:pt x="126889" y="12329"/>
                    </a:lnTo>
                    <a:lnTo>
                      <a:pt x="0" y="12329"/>
                    </a:lnTo>
                    <a:close/>
                  </a:path>
                </a:pathLst>
              </a:custGeom>
              <a:solidFill>
                <a:schemeClr val="accent1"/>
              </a:solidFill>
              <a:ln w="1228" cap="flat">
                <a:noFill/>
                <a:prstDash val="solid"/>
                <a:miter/>
              </a:ln>
            </p:spPr>
            <p:txBody>
              <a:bodyPr rtlCol="0" anchor="ctr"/>
              <a:lstStyle/>
              <a:p>
                <a:endParaRPr lang="en-GB" dirty="0"/>
              </a:p>
            </p:txBody>
          </p:sp>
          <p:sp>
            <p:nvSpPr>
              <p:cNvPr id="84" name="Freihandform: Form 57">
                <a:extLst>
                  <a:ext uri="{FF2B5EF4-FFF2-40B4-BE49-F238E27FC236}">
                    <a16:creationId xmlns:a16="http://schemas.microsoft.com/office/drawing/2014/main" id="{6C2E97AA-75C2-4DAB-8210-13DCCE4CEE34}"/>
                  </a:ext>
                </a:extLst>
              </p:cNvPr>
              <p:cNvSpPr/>
              <p:nvPr/>
            </p:nvSpPr>
            <p:spPr>
              <a:xfrm>
                <a:off x="588462" y="1856291"/>
                <a:ext cx="126889" cy="12329"/>
              </a:xfrm>
              <a:custGeom>
                <a:avLst/>
                <a:gdLst>
                  <a:gd name="connsiteX0" fmla="*/ 0 w 126889"/>
                  <a:gd name="connsiteY0" fmla="*/ 0 h 12329"/>
                  <a:gd name="connsiteX1" fmla="*/ 126889 w 126889"/>
                  <a:gd name="connsiteY1" fmla="*/ 0 h 12329"/>
                  <a:gd name="connsiteX2" fmla="*/ 126889 w 126889"/>
                  <a:gd name="connsiteY2" fmla="*/ 12329 h 12329"/>
                  <a:gd name="connsiteX3" fmla="*/ 0 w 126889"/>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26889" h="12329">
                    <a:moveTo>
                      <a:pt x="0" y="0"/>
                    </a:moveTo>
                    <a:lnTo>
                      <a:pt x="126889" y="0"/>
                    </a:lnTo>
                    <a:lnTo>
                      <a:pt x="126889" y="12329"/>
                    </a:lnTo>
                    <a:lnTo>
                      <a:pt x="0" y="12329"/>
                    </a:lnTo>
                    <a:close/>
                  </a:path>
                </a:pathLst>
              </a:custGeom>
              <a:solidFill>
                <a:schemeClr val="accent1"/>
              </a:solidFill>
              <a:ln w="1228" cap="flat">
                <a:noFill/>
                <a:prstDash val="solid"/>
                <a:miter/>
              </a:ln>
            </p:spPr>
            <p:txBody>
              <a:bodyPr rtlCol="0" anchor="ctr"/>
              <a:lstStyle/>
              <a:p>
                <a:endParaRPr lang="en-GB" dirty="0"/>
              </a:p>
            </p:txBody>
          </p:sp>
          <p:sp>
            <p:nvSpPr>
              <p:cNvPr id="85" name="Freihandform: Form 58">
                <a:extLst>
                  <a:ext uri="{FF2B5EF4-FFF2-40B4-BE49-F238E27FC236}">
                    <a16:creationId xmlns:a16="http://schemas.microsoft.com/office/drawing/2014/main" id="{46D81631-0EE6-4952-84F3-C2DE06450B08}"/>
                  </a:ext>
                </a:extLst>
              </p:cNvPr>
              <p:cNvSpPr/>
              <p:nvPr/>
            </p:nvSpPr>
            <p:spPr>
              <a:xfrm>
                <a:off x="588462" y="1890810"/>
                <a:ext cx="126889" cy="12329"/>
              </a:xfrm>
              <a:custGeom>
                <a:avLst/>
                <a:gdLst>
                  <a:gd name="connsiteX0" fmla="*/ 0 w 126889"/>
                  <a:gd name="connsiteY0" fmla="*/ 0 h 12329"/>
                  <a:gd name="connsiteX1" fmla="*/ 126889 w 126889"/>
                  <a:gd name="connsiteY1" fmla="*/ 0 h 12329"/>
                  <a:gd name="connsiteX2" fmla="*/ 126889 w 126889"/>
                  <a:gd name="connsiteY2" fmla="*/ 12329 h 12329"/>
                  <a:gd name="connsiteX3" fmla="*/ 0 w 126889"/>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26889" h="12329">
                    <a:moveTo>
                      <a:pt x="0" y="0"/>
                    </a:moveTo>
                    <a:lnTo>
                      <a:pt x="126889" y="0"/>
                    </a:lnTo>
                    <a:lnTo>
                      <a:pt x="126889" y="12329"/>
                    </a:lnTo>
                    <a:lnTo>
                      <a:pt x="0" y="12329"/>
                    </a:lnTo>
                    <a:close/>
                  </a:path>
                </a:pathLst>
              </a:custGeom>
              <a:solidFill>
                <a:schemeClr val="accent1"/>
              </a:solidFill>
              <a:ln w="1228" cap="flat">
                <a:noFill/>
                <a:prstDash val="solid"/>
                <a:miter/>
              </a:ln>
            </p:spPr>
            <p:txBody>
              <a:bodyPr rtlCol="0" anchor="ctr"/>
              <a:lstStyle/>
              <a:p>
                <a:endParaRPr lang="en-GB" dirty="0"/>
              </a:p>
            </p:txBody>
          </p:sp>
          <p:sp>
            <p:nvSpPr>
              <p:cNvPr id="86" name="Freihandform: Form 59">
                <a:extLst>
                  <a:ext uri="{FF2B5EF4-FFF2-40B4-BE49-F238E27FC236}">
                    <a16:creationId xmlns:a16="http://schemas.microsoft.com/office/drawing/2014/main" id="{A978C56B-143D-4D30-97E1-675C3E561B55}"/>
                  </a:ext>
                </a:extLst>
              </p:cNvPr>
              <p:cNvSpPr/>
              <p:nvPr/>
            </p:nvSpPr>
            <p:spPr>
              <a:xfrm>
                <a:off x="588462" y="1925341"/>
                <a:ext cx="126889" cy="12329"/>
              </a:xfrm>
              <a:custGeom>
                <a:avLst/>
                <a:gdLst>
                  <a:gd name="connsiteX0" fmla="*/ 0 w 126889"/>
                  <a:gd name="connsiteY0" fmla="*/ 0 h 12329"/>
                  <a:gd name="connsiteX1" fmla="*/ 126889 w 126889"/>
                  <a:gd name="connsiteY1" fmla="*/ 0 h 12329"/>
                  <a:gd name="connsiteX2" fmla="*/ 126889 w 126889"/>
                  <a:gd name="connsiteY2" fmla="*/ 12329 h 12329"/>
                  <a:gd name="connsiteX3" fmla="*/ 0 w 126889"/>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26889" h="12329">
                    <a:moveTo>
                      <a:pt x="0" y="0"/>
                    </a:moveTo>
                    <a:lnTo>
                      <a:pt x="126889" y="0"/>
                    </a:lnTo>
                    <a:lnTo>
                      <a:pt x="126889" y="12329"/>
                    </a:lnTo>
                    <a:lnTo>
                      <a:pt x="0" y="12329"/>
                    </a:lnTo>
                    <a:close/>
                  </a:path>
                </a:pathLst>
              </a:custGeom>
              <a:solidFill>
                <a:schemeClr val="accent1"/>
              </a:solidFill>
              <a:ln w="1228" cap="flat">
                <a:noFill/>
                <a:prstDash val="solid"/>
                <a:miter/>
              </a:ln>
            </p:spPr>
            <p:txBody>
              <a:bodyPr rtlCol="0" anchor="ctr"/>
              <a:lstStyle/>
              <a:p>
                <a:endParaRPr lang="en-GB" dirty="0"/>
              </a:p>
            </p:txBody>
          </p:sp>
          <p:sp>
            <p:nvSpPr>
              <p:cNvPr id="87" name="Freihandform: Form 60">
                <a:extLst>
                  <a:ext uri="{FF2B5EF4-FFF2-40B4-BE49-F238E27FC236}">
                    <a16:creationId xmlns:a16="http://schemas.microsoft.com/office/drawing/2014/main" id="{A3C41AD7-DEDB-4D6E-A512-456ADA35947D}"/>
                  </a:ext>
                </a:extLst>
              </p:cNvPr>
              <p:cNvSpPr/>
              <p:nvPr/>
            </p:nvSpPr>
            <p:spPr>
              <a:xfrm>
                <a:off x="588462" y="1959872"/>
                <a:ext cx="126889" cy="12329"/>
              </a:xfrm>
              <a:custGeom>
                <a:avLst/>
                <a:gdLst>
                  <a:gd name="connsiteX0" fmla="*/ 0 w 126889"/>
                  <a:gd name="connsiteY0" fmla="*/ 0 h 12329"/>
                  <a:gd name="connsiteX1" fmla="*/ 126889 w 126889"/>
                  <a:gd name="connsiteY1" fmla="*/ 0 h 12329"/>
                  <a:gd name="connsiteX2" fmla="*/ 126889 w 126889"/>
                  <a:gd name="connsiteY2" fmla="*/ 12329 h 12329"/>
                  <a:gd name="connsiteX3" fmla="*/ 0 w 126889"/>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26889" h="12329">
                    <a:moveTo>
                      <a:pt x="0" y="0"/>
                    </a:moveTo>
                    <a:lnTo>
                      <a:pt x="126889" y="0"/>
                    </a:lnTo>
                    <a:lnTo>
                      <a:pt x="126889" y="12329"/>
                    </a:lnTo>
                    <a:lnTo>
                      <a:pt x="0" y="12329"/>
                    </a:lnTo>
                    <a:close/>
                  </a:path>
                </a:pathLst>
              </a:custGeom>
              <a:solidFill>
                <a:schemeClr val="accent1"/>
              </a:solidFill>
              <a:ln w="1228" cap="flat">
                <a:noFill/>
                <a:prstDash val="solid"/>
                <a:miter/>
              </a:ln>
            </p:spPr>
            <p:txBody>
              <a:bodyPr rtlCol="0" anchor="ctr"/>
              <a:lstStyle/>
              <a:p>
                <a:endParaRPr lang="en-GB" dirty="0"/>
              </a:p>
            </p:txBody>
          </p:sp>
        </p:grpSp>
        <p:grpSp>
          <p:nvGrpSpPr>
            <p:cNvPr id="62" name="Gruppieren 401">
              <a:extLst>
                <a:ext uri="{FF2B5EF4-FFF2-40B4-BE49-F238E27FC236}">
                  <a16:creationId xmlns:a16="http://schemas.microsoft.com/office/drawing/2014/main" id="{214BF743-8A8C-41EF-96BD-69AC12B62B57}"/>
                </a:ext>
              </a:extLst>
            </p:cNvPr>
            <p:cNvGrpSpPr/>
            <p:nvPr/>
          </p:nvGrpSpPr>
          <p:grpSpPr>
            <a:xfrm>
              <a:off x="455777" y="1683646"/>
              <a:ext cx="392260" cy="426669"/>
              <a:chOff x="455777" y="1683646"/>
              <a:chExt cx="392260" cy="426669"/>
            </a:xfrm>
          </p:grpSpPr>
          <p:sp>
            <p:nvSpPr>
              <p:cNvPr id="63" name="Freihandform: Form 51">
                <a:extLst>
                  <a:ext uri="{FF2B5EF4-FFF2-40B4-BE49-F238E27FC236}">
                    <a16:creationId xmlns:a16="http://schemas.microsoft.com/office/drawing/2014/main" id="{F75C58B8-1CA8-4F55-B093-4D18ECE87215}"/>
                  </a:ext>
                </a:extLst>
              </p:cNvPr>
              <p:cNvSpPr/>
              <p:nvPr/>
            </p:nvSpPr>
            <p:spPr>
              <a:xfrm>
                <a:off x="549805" y="1683646"/>
                <a:ext cx="204204" cy="426668"/>
              </a:xfrm>
              <a:custGeom>
                <a:avLst/>
                <a:gdLst>
                  <a:gd name="connsiteX0" fmla="*/ 204204 w 204204"/>
                  <a:gd name="connsiteY0" fmla="*/ 426669 h 426668"/>
                  <a:gd name="connsiteX1" fmla="*/ 0 w 204204"/>
                  <a:gd name="connsiteY1" fmla="*/ 426669 h 426668"/>
                  <a:gd name="connsiteX2" fmla="*/ 0 w 204204"/>
                  <a:gd name="connsiteY2" fmla="*/ 0 h 426668"/>
                  <a:gd name="connsiteX3" fmla="*/ 204204 w 204204"/>
                  <a:gd name="connsiteY3" fmla="*/ 0 h 426668"/>
                  <a:gd name="connsiteX4" fmla="*/ 204204 w 204204"/>
                  <a:gd name="connsiteY4" fmla="*/ 426669 h 426668"/>
                  <a:gd name="connsiteX5" fmla="*/ 12329 w 204204"/>
                  <a:gd name="connsiteY5" fmla="*/ 414340 h 426668"/>
                  <a:gd name="connsiteX6" fmla="*/ 191875 w 204204"/>
                  <a:gd name="connsiteY6" fmla="*/ 414340 h 426668"/>
                  <a:gd name="connsiteX7" fmla="*/ 191875 w 204204"/>
                  <a:gd name="connsiteY7" fmla="*/ 12329 h 426668"/>
                  <a:gd name="connsiteX8" fmla="*/ 12329 w 204204"/>
                  <a:gd name="connsiteY8" fmla="*/ 12329 h 426668"/>
                  <a:gd name="connsiteX9" fmla="*/ 12329 w 204204"/>
                  <a:gd name="connsiteY9" fmla="*/ 414340 h 42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204" h="426668">
                    <a:moveTo>
                      <a:pt x="204204" y="426669"/>
                    </a:moveTo>
                    <a:lnTo>
                      <a:pt x="0" y="426669"/>
                    </a:lnTo>
                    <a:lnTo>
                      <a:pt x="0" y="0"/>
                    </a:lnTo>
                    <a:lnTo>
                      <a:pt x="204204" y="0"/>
                    </a:lnTo>
                    <a:lnTo>
                      <a:pt x="204204" y="426669"/>
                    </a:lnTo>
                    <a:close/>
                    <a:moveTo>
                      <a:pt x="12329" y="414340"/>
                    </a:moveTo>
                    <a:lnTo>
                      <a:pt x="191875" y="414340"/>
                    </a:lnTo>
                    <a:lnTo>
                      <a:pt x="191875" y="12329"/>
                    </a:lnTo>
                    <a:lnTo>
                      <a:pt x="12329" y="12329"/>
                    </a:lnTo>
                    <a:lnTo>
                      <a:pt x="12329" y="414340"/>
                    </a:lnTo>
                    <a:close/>
                  </a:path>
                </a:pathLst>
              </a:custGeom>
              <a:solidFill>
                <a:schemeClr val="tx2"/>
              </a:solidFill>
              <a:ln w="1228" cap="flat">
                <a:noFill/>
                <a:prstDash val="solid"/>
                <a:miter/>
              </a:ln>
            </p:spPr>
            <p:txBody>
              <a:bodyPr rtlCol="0" anchor="ctr"/>
              <a:lstStyle/>
              <a:p>
                <a:endParaRPr lang="en-GB" dirty="0"/>
              </a:p>
            </p:txBody>
          </p:sp>
          <p:grpSp>
            <p:nvGrpSpPr>
              <p:cNvPr id="64" name="Grafik 11">
                <a:extLst>
                  <a:ext uri="{FF2B5EF4-FFF2-40B4-BE49-F238E27FC236}">
                    <a16:creationId xmlns:a16="http://schemas.microsoft.com/office/drawing/2014/main" id="{E14E2E5D-ED9F-4D49-89D9-839B0498A634}"/>
                  </a:ext>
                </a:extLst>
              </p:cNvPr>
              <p:cNvGrpSpPr/>
              <p:nvPr/>
            </p:nvGrpSpPr>
            <p:grpSpPr>
              <a:xfrm>
                <a:off x="741680" y="1890810"/>
                <a:ext cx="90417" cy="219505"/>
                <a:chOff x="741680" y="1890810"/>
                <a:chExt cx="90417" cy="219505"/>
              </a:xfrm>
              <a:solidFill>
                <a:srgbClr val="4D4E53"/>
              </a:solidFill>
            </p:grpSpPr>
            <p:sp>
              <p:nvSpPr>
                <p:cNvPr id="73" name="Freihandform: Form 62">
                  <a:extLst>
                    <a:ext uri="{FF2B5EF4-FFF2-40B4-BE49-F238E27FC236}">
                      <a16:creationId xmlns:a16="http://schemas.microsoft.com/office/drawing/2014/main" id="{07BCCF5D-C001-44C0-9AC9-111C27BD4F19}"/>
                    </a:ext>
                  </a:extLst>
                </p:cNvPr>
                <p:cNvSpPr/>
                <p:nvPr/>
              </p:nvSpPr>
              <p:spPr>
                <a:xfrm>
                  <a:off x="741680" y="1890810"/>
                  <a:ext cx="90417" cy="219505"/>
                </a:xfrm>
                <a:custGeom>
                  <a:avLst/>
                  <a:gdLst>
                    <a:gd name="connsiteX0" fmla="*/ 90418 w 90417"/>
                    <a:gd name="connsiteY0" fmla="*/ 219505 h 219505"/>
                    <a:gd name="connsiteX1" fmla="*/ 0 w 90417"/>
                    <a:gd name="connsiteY1" fmla="*/ 219505 h 219505"/>
                    <a:gd name="connsiteX2" fmla="*/ 0 w 90417"/>
                    <a:gd name="connsiteY2" fmla="*/ 0 h 219505"/>
                    <a:gd name="connsiteX3" fmla="*/ 90418 w 90417"/>
                    <a:gd name="connsiteY3" fmla="*/ 0 h 219505"/>
                    <a:gd name="connsiteX4" fmla="*/ 90418 w 90417"/>
                    <a:gd name="connsiteY4" fmla="*/ 219505 h 219505"/>
                    <a:gd name="connsiteX5" fmla="*/ 12329 w 90417"/>
                    <a:gd name="connsiteY5" fmla="*/ 207176 h 219505"/>
                    <a:gd name="connsiteX6" fmla="*/ 78089 w 90417"/>
                    <a:gd name="connsiteY6" fmla="*/ 207176 h 219505"/>
                    <a:gd name="connsiteX7" fmla="*/ 78089 w 90417"/>
                    <a:gd name="connsiteY7" fmla="*/ 12341 h 219505"/>
                    <a:gd name="connsiteX8" fmla="*/ 12329 w 90417"/>
                    <a:gd name="connsiteY8" fmla="*/ 12341 h 219505"/>
                    <a:gd name="connsiteX9" fmla="*/ 12329 w 90417"/>
                    <a:gd name="connsiteY9" fmla="*/ 207176 h 21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17" h="219505">
                      <a:moveTo>
                        <a:pt x="90418" y="219505"/>
                      </a:moveTo>
                      <a:lnTo>
                        <a:pt x="0" y="219505"/>
                      </a:lnTo>
                      <a:lnTo>
                        <a:pt x="0" y="0"/>
                      </a:lnTo>
                      <a:lnTo>
                        <a:pt x="90418" y="0"/>
                      </a:lnTo>
                      <a:lnTo>
                        <a:pt x="90418" y="219505"/>
                      </a:lnTo>
                      <a:close/>
                      <a:moveTo>
                        <a:pt x="12329" y="207176"/>
                      </a:moveTo>
                      <a:lnTo>
                        <a:pt x="78089" y="207176"/>
                      </a:lnTo>
                      <a:lnTo>
                        <a:pt x="78089" y="12341"/>
                      </a:lnTo>
                      <a:lnTo>
                        <a:pt x="12329" y="12341"/>
                      </a:lnTo>
                      <a:lnTo>
                        <a:pt x="12329" y="207176"/>
                      </a:lnTo>
                      <a:close/>
                    </a:path>
                  </a:pathLst>
                </a:custGeom>
                <a:solidFill>
                  <a:schemeClr val="tx2"/>
                </a:solidFill>
                <a:ln w="1228" cap="flat">
                  <a:noFill/>
                  <a:prstDash val="solid"/>
                  <a:miter/>
                </a:ln>
              </p:spPr>
              <p:txBody>
                <a:bodyPr rtlCol="0" anchor="ctr"/>
                <a:lstStyle/>
                <a:p>
                  <a:endParaRPr lang="en-GB" dirty="0"/>
                </a:p>
              </p:txBody>
            </p:sp>
            <p:sp>
              <p:nvSpPr>
                <p:cNvPr id="74" name="Freihandform: Form 63">
                  <a:extLst>
                    <a:ext uri="{FF2B5EF4-FFF2-40B4-BE49-F238E27FC236}">
                      <a16:creationId xmlns:a16="http://schemas.microsoft.com/office/drawing/2014/main" id="{F2CDDFCD-FF5E-4A66-94E2-0ABBD7E57A1D}"/>
                    </a:ext>
                  </a:extLst>
                </p:cNvPr>
                <p:cNvSpPr/>
                <p:nvPr/>
              </p:nvSpPr>
              <p:spPr>
                <a:xfrm>
                  <a:off x="778250" y="1925341"/>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75" name="Freihandform: Form 64">
                  <a:extLst>
                    <a:ext uri="{FF2B5EF4-FFF2-40B4-BE49-F238E27FC236}">
                      <a16:creationId xmlns:a16="http://schemas.microsoft.com/office/drawing/2014/main" id="{2927D4C5-CD4C-4717-B8B3-F19B6561968D}"/>
                    </a:ext>
                  </a:extLst>
                </p:cNvPr>
                <p:cNvSpPr/>
                <p:nvPr/>
              </p:nvSpPr>
              <p:spPr>
                <a:xfrm>
                  <a:off x="778250" y="195987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76" name="Freihandform: Form 65">
                  <a:extLst>
                    <a:ext uri="{FF2B5EF4-FFF2-40B4-BE49-F238E27FC236}">
                      <a16:creationId xmlns:a16="http://schemas.microsoft.com/office/drawing/2014/main" id="{80CAF55E-BACB-41E2-A14E-EFCE286DD335}"/>
                    </a:ext>
                  </a:extLst>
                </p:cNvPr>
                <p:cNvSpPr/>
                <p:nvPr/>
              </p:nvSpPr>
              <p:spPr>
                <a:xfrm>
                  <a:off x="778250" y="1994404"/>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77" name="Freihandform: Form 66">
                  <a:extLst>
                    <a:ext uri="{FF2B5EF4-FFF2-40B4-BE49-F238E27FC236}">
                      <a16:creationId xmlns:a16="http://schemas.microsoft.com/office/drawing/2014/main" id="{6F531FF0-D6CB-490F-9DC8-EC9C36972567}"/>
                    </a:ext>
                  </a:extLst>
                </p:cNvPr>
                <p:cNvSpPr/>
                <p:nvPr/>
              </p:nvSpPr>
              <p:spPr>
                <a:xfrm>
                  <a:off x="778250" y="2028923"/>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78" name="Freihandform: Form 67">
                  <a:extLst>
                    <a:ext uri="{FF2B5EF4-FFF2-40B4-BE49-F238E27FC236}">
                      <a16:creationId xmlns:a16="http://schemas.microsoft.com/office/drawing/2014/main" id="{794B803F-D7A7-4CF6-B9A8-F80E44A15F21}"/>
                    </a:ext>
                  </a:extLst>
                </p:cNvPr>
                <p:cNvSpPr/>
                <p:nvPr/>
              </p:nvSpPr>
              <p:spPr>
                <a:xfrm>
                  <a:off x="778250" y="2063454"/>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grpSp>
          <p:grpSp>
            <p:nvGrpSpPr>
              <p:cNvPr id="65" name="Grafik 11">
                <a:extLst>
                  <a:ext uri="{FF2B5EF4-FFF2-40B4-BE49-F238E27FC236}">
                    <a16:creationId xmlns:a16="http://schemas.microsoft.com/office/drawing/2014/main" id="{40A74A6D-348E-426F-8CBA-CB6980C6EADC}"/>
                  </a:ext>
                </a:extLst>
              </p:cNvPr>
              <p:cNvGrpSpPr/>
              <p:nvPr/>
            </p:nvGrpSpPr>
            <p:grpSpPr>
              <a:xfrm>
                <a:off x="471716" y="1890810"/>
                <a:ext cx="90417" cy="219505"/>
                <a:chOff x="471716" y="1890810"/>
                <a:chExt cx="90417" cy="219505"/>
              </a:xfrm>
              <a:solidFill>
                <a:srgbClr val="4D4E53"/>
              </a:solidFill>
            </p:grpSpPr>
            <p:sp>
              <p:nvSpPr>
                <p:cNvPr id="67" name="Freihandform: Form 69">
                  <a:extLst>
                    <a:ext uri="{FF2B5EF4-FFF2-40B4-BE49-F238E27FC236}">
                      <a16:creationId xmlns:a16="http://schemas.microsoft.com/office/drawing/2014/main" id="{E30423F3-1401-4335-AADB-C949F1A4FCF4}"/>
                    </a:ext>
                  </a:extLst>
                </p:cNvPr>
                <p:cNvSpPr/>
                <p:nvPr/>
              </p:nvSpPr>
              <p:spPr>
                <a:xfrm>
                  <a:off x="471716" y="1890810"/>
                  <a:ext cx="90417" cy="219505"/>
                </a:xfrm>
                <a:custGeom>
                  <a:avLst/>
                  <a:gdLst>
                    <a:gd name="connsiteX0" fmla="*/ 90418 w 90417"/>
                    <a:gd name="connsiteY0" fmla="*/ 219505 h 219505"/>
                    <a:gd name="connsiteX1" fmla="*/ 0 w 90417"/>
                    <a:gd name="connsiteY1" fmla="*/ 219505 h 219505"/>
                    <a:gd name="connsiteX2" fmla="*/ 0 w 90417"/>
                    <a:gd name="connsiteY2" fmla="*/ 0 h 219505"/>
                    <a:gd name="connsiteX3" fmla="*/ 90418 w 90417"/>
                    <a:gd name="connsiteY3" fmla="*/ 0 h 219505"/>
                    <a:gd name="connsiteX4" fmla="*/ 90418 w 90417"/>
                    <a:gd name="connsiteY4" fmla="*/ 219505 h 219505"/>
                    <a:gd name="connsiteX5" fmla="*/ 12329 w 90417"/>
                    <a:gd name="connsiteY5" fmla="*/ 207176 h 219505"/>
                    <a:gd name="connsiteX6" fmla="*/ 78089 w 90417"/>
                    <a:gd name="connsiteY6" fmla="*/ 207176 h 219505"/>
                    <a:gd name="connsiteX7" fmla="*/ 78089 w 90417"/>
                    <a:gd name="connsiteY7" fmla="*/ 12341 h 219505"/>
                    <a:gd name="connsiteX8" fmla="*/ 12329 w 90417"/>
                    <a:gd name="connsiteY8" fmla="*/ 12341 h 219505"/>
                    <a:gd name="connsiteX9" fmla="*/ 12329 w 90417"/>
                    <a:gd name="connsiteY9" fmla="*/ 207176 h 21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17" h="219505">
                      <a:moveTo>
                        <a:pt x="90418" y="219505"/>
                      </a:moveTo>
                      <a:lnTo>
                        <a:pt x="0" y="219505"/>
                      </a:lnTo>
                      <a:lnTo>
                        <a:pt x="0" y="0"/>
                      </a:lnTo>
                      <a:lnTo>
                        <a:pt x="90418" y="0"/>
                      </a:lnTo>
                      <a:lnTo>
                        <a:pt x="90418" y="219505"/>
                      </a:lnTo>
                      <a:close/>
                      <a:moveTo>
                        <a:pt x="12329" y="207176"/>
                      </a:moveTo>
                      <a:lnTo>
                        <a:pt x="78089" y="207176"/>
                      </a:lnTo>
                      <a:lnTo>
                        <a:pt x="78089" y="12341"/>
                      </a:lnTo>
                      <a:lnTo>
                        <a:pt x="12329" y="12341"/>
                      </a:lnTo>
                      <a:lnTo>
                        <a:pt x="12329" y="207176"/>
                      </a:lnTo>
                      <a:close/>
                    </a:path>
                  </a:pathLst>
                </a:custGeom>
                <a:solidFill>
                  <a:schemeClr val="tx2"/>
                </a:solidFill>
                <a:ln w="1228" cap="flat">
                  <a:noFill/>
                  <a:prstDash val="solid"/>
                  <a:miter/>
                </a:ln>
              </p:spPr>
              <p:txBody>
                <a:bodyPr rtlCol="0" anchor="ctr"/>
                <a:lstStyle/>
                <a:p>
                  <a:endParaRPr lang="en-GB" dirty="0"/>
                </a:p>
              </p:txBody>
            </p:sp>
            <p:sp>
              <p:nvSpPr>
                <p:cNvPr id="68" name="Freihandform: Form 70">
                  <a:extLst>
                    <a:ext uri="{FF2B5EF4-FFF2-40B4-BE49-F238E27FC236}">
                      <a16:creationId xmlns:a16="http://schemas.microsoft.com/office/drawing/2014/main" id="{A69B7EDD-9728-49E7-BC20-F55D543D8963}"/>
                    </a:ext>
                  </a:extLst>
                </p:cNvPr>
                <p:cNvSpPr/>
                <p:nvPr/>
              </p:nvSpPr>
              <p:spPr>
                <a:xfrm>
                  <a:off x="508286" y="1925341"/>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69" name="Freihandform: Form 71">
                  <a:extLst>
                    <a:ext uri="{FF2B5EF4-FFF2-40B4-BE49-F238E27FC236}">
                      <a16:creationId xmlns:a16="http://schemas.microsoft.com/office/drawing/2014/main" id="{C368D416-1215-4346-8E7D-2519CC989CDE}"/>
                    </a:ext>
                  </a:extLst>
                </p:cNvPr>
                <p:cNvSpPr/>
                <p:nvPr/>
              </p:nvSpPr>
              <p:spPr>
                <a:xfrm>
                  <a:off x="508286" y="195987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70" name="Freihandform: Form 72">
                  <a:extLst>
                    <a:ext uri="{FF2B5EF4-FFF2-40B4-BE49-F238E27FC236}">
                      <a16:creationId xmlns:a16="http://schemas.microsoft.com/office/drawing/2014/main" id="{309E6B82-8C5F-4166-A9D9-472ECC05FE48}"/>
                    </a:ext>
                  </a:extLst>
                </p:cNvPr>
                <p:cNvSpPr/>
                <p:nvPr/>
              </p:nvSpPr>
              <p:spPr>
                <a:xfrm>
                  <a:off x="508286" y="1994404"/>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71" name="Freihandform: Form 73">
                  <a:extLst>
                    <a:ext uri="{FF2B5EF4-FFF2-40B4-BE49-F238E27FC236}">
                      <a16:creationId xmlns:a16="http://schemas.microsoft.com/office/drawing/2014/main" id="{E44F04E5-7DD3-4E14-AD59-7352F76B08CA}"/>
                    </a:ext>
                  </a:extLst>
                </p:cNvPr>
                <p:cNvSpPr/>
                <p:nvPr/>
              </p:nvSpPr>
              <p:spPr>
                <a:xfrm>
                  <a:off x="508286" y="2028923"/>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72" name="Freihandform: Form 74">
                  <a:extLst>
                    <a:ext uri="{FF2B5EF4-FFF2-40B4-BE49-F238E27FC236}">
                      <a16:creationId xmlns:a16="http://schemas.microsoft.com/office/drawing/2014/main" id="{C2A7FCFB-D8A4-4091-9CB7-D4832CBC86D8}"/>
                    </a:ext>
                  </a:extLst>
                </p:cNvPr>
                <p:cNvSpPr/>
                <p:nvPr/>
              </p:nvSpPr>
              <p:spPr>
                <a:xfrm>
                  <a:off x="508286" y="2063454"/>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grpSp>
          <p:sp>
            <p:nvSpPr>
              <p:cNvPr id="66" name="Freihandform: Form 75">
                <a:extLst>
                  <a:ext uri="{FF2B5EF4-FFF2-40B4-BE49-F238E27FC236}">
                    <a16:creationId xmlns:a16="http://schemas.microsoft.com/office/drawing/2014/main" id="{6EEB7FA8-FCB3-4198-8BC8-55DAA61C3412}"/>
                  </a:ext>
                </a:extLst>
              </p:cNvPr>
              <p:cNvSpPr/>
              <p:nvPr/>
            </p:nvSpPr>
            <p:spPr>
              <a:xfrm>
                <a:off x="455777" y="2097986"/>
                <a:ext cx="392260" cy="12329"/>
              </a:xfrm>
              <a:custGeom>
                <a:avLst/>
                <a:gdLst>
                  <a:gd name="connsiteX0" fmla="*/ 0 w 392260"/>
                  <a:gd name="connsiteY0" fmla="*/ 0 h 12329"/>
                  <a:gd name="connsiteX1" fmla="*/ 392260 w 392260"/>
                  <a:gd name="connsiteY1" fmla="*/ 0 h 12329"/>
                  <a:gd name="connsiteX2" fmla="*/ 392260 w 392260"/>
                  <a:gd name="connsiteY2" fmla="*/ 12329 h 12329"/>
                  <a:gd name="connsiteX3" fmla="*/ 0 w 392260"/>
                  <a:gd name="connsiteY3" fmla="*/ 12329 h 12329"/>
                </a:gdLst>
                <a:ahLst/>
                <a:cxnLst>
                  <a:cxn ang="0">
                    <a:pos x="connsiteX0" y="connsiteY0"/>
                  </a:cxn>
                  <a:cxn ang="0">
                    <a:pos x="connsiteX1" y="connsiteY1"/>
                  </a:cxn>
                  <a:cxn ang="0">
                    <a:pos x="connsiteX2" y="connsiteY2"/>
                  </a:cxn>
                  <a:cxn ang="0">
                    <a:pos x="connsiteX3" y="connsiteY3"/>
                  </a:cxn>
                </a:cxnLst>
                <a:rect l="l" t="t" r="r" b="b"/>
                <a:pathLst>
                  <a:path w="392260" h="12329">
                    <a:moveTo>
                      <a:pt x="0" y="0"/>
                    </a:moveTo>
                    <a:lnTo>
                      <a:pt x="392260" y="0"/>
                    </a:lnTo>
                    <a:lnTo>
                      <a:pt x="392260" y="12329"/>
                    </a:lnTo>
                    <a:lnTo>
                      <a:pt x="0" y="12329"/>
                    </a:lnTo>
                    <a:close/>
                  </a:path>
                </a:pathLst>
              </a:custGeom>
              <a:solidFill>
                <a:schemeClr val="tx2"/>
              </a:solidFill>
              <a:ln w="1228" cap="flat">
                <a:noFill/>
                <a:prstDash val="solid"/>
                <a:miter/>
              </a:ln>
            </p:spPr>
            <p:txBody>
              <a:bodyPr rtlCol="0" anchor="ctr"/>
              <a:lstStyle/>
              <a:p>
                <a:endParaRPr lang="en-GB" dirty="0"/>
              </a:p>
            </p:txBody>
          </p:sp>
        </p:grpSp>
      </p:grpSp>
      <p:grpSp>
        <p:nvGrpSpPr>
          <p:cNvPr id="88" name="Gruppieren 403">
            <a:extLst>
              <a:ext uri="{FF2B5EF4-FFF2-40B4-BE49-F238E27FC236}">
                <a16:creationId xmlns:a16="http://schemas.microsoft.com/office/drawing/2014/main" id="{E6BBE79A-E2B0-4635-A62C-53ED0A6285AD}"/>
              </a:ext>
            </a:extLst>
          </p:cNvPr>
          <p:cNvGrpSpPr>
            <a:grpSpLocks noChangeAspect="1"/>
          </p:cNvGrpSpPr>
          <p:nvPr/>
        </p:nvGrpSpPr>
        <p:grpSpPr>
          <a:xfrm>
            <a:off x="1279735" y="1626716"/>
            <a:ext cx="504257" cy="432000"/>
            <a:chOff x="1288656" y="1699352"/>
            <a:chExt cx="489518" cy="419374"/>
          </a:xfrm>
        </p:grpSpPr>
        <p:grpSp>
          <p:nvGrpSpPr>
            <p:cNvPr id="89" name="Grafik 11">
              <a:extLst>
                <a:ext uri="{FF2B5EF4-FFF2-40B4-BE49-F238E27FC236}">
                  <a16:creationId xmlns:a16="http://schemas.microsoft.com/office/drawing/2014/main" id="{03B138FA-6477-43A1-AD4F-5F9A2D29FF33}"/>
                </a:ext>
              </a:extLst>
            </p:cNvPr>
            <p:cNvGrpSpPr/>
            <p:nvPr/>
          </p:nvGrpSpPr>
          <p:grpSpPr>
            <a:xfrm>
              <a:off x="1288656" y="1699352"/>
              <a:ext cx="426668" cy="345547"/>
              <a:chOff x="1288656" y="1699352"/>
              <a:chExt cx="426668" cy="345547"/>
            </a:xfrm>
            <a:solidFill>
              <a:srgbClr val="4D4E53"/>
            </a:solidFill>
          </p:grpSpPr>
          <p:sp>
            <p:nvSpPr>
              <p:cNvPr id="93" name="Freihandform: Form 78">
                <a:extLst>
                  <a:ext uri="{FF2B5EF4-FFF2-40B4-BE49-F238E27FC236}">
                    <a16:creationId xmlns:a16="http://schemas.microsoft.com/office/drawing/2014/main" id="{A495EC55-D9F4-4959-A803-6B8173072716}"/>
                  </a:ext>
                </a:extLst>
              </p:cNvPr>
              <p:cNvSpPr/>
              <p:nvPr/>
            </p:nvSpPr>
            <p:spPr>
              <a:xfrm>
                <a:off x="1288656" y="1751137"/>
                <a:ext cx="426668" cy="293762"/>
              </a:xfrm>
              <a:custGeom>
                <a:avLst/>
                <a:gdLst>
                  <a:gd name="connsiteX0" fmla="*/ 331081 w 426668"/>
                  <a:gd name="connsiteY0" fmla="*/ 293762 h 293762"/>
                  <a:gd name="connsiteX1" fmla="*/ 0 w 426668"/>
                  <a:gd name="connsiteY1" fmla="*/ 293762 h 293762"/>
                  <a:gd name="connsiteX2" fmla="*/ 0 w 426668"/>
                  <a:gd name="connsiteY2" fmla="*/ 0 h 293762"/>
                  <a:gd name="connsiteX3" fmla="*/ 426669 w 426668"/>
                  <a:gd name="connsiteY3" fmla="*/ 0 h 293762"/>
                  <a:gd name="connsiteX4" fmla="*/ 426669 w 426668"/>
                  <a:gd name="connsiteY4" fmla="*/ 174536 h 293762"/>
                  <a:gd name="connsiteX5" fmla="*/ 414340 w 426668"/>
                  <a:gd name="connsiteY5" fmla="*/ 174536 h 293762"/>
                  <a:gd name="connsiteX6" fmla="*/ 414340 w 426668"/>
                  <a:gd name="connsiteY6" fmla="*/ 12341 h 293762"/>
                  <a:gd name="connsiteX7" fmla="*/ 12329 w 426668"/>
                  <a:gd name="connsiteY7" fmla="*/ 12341 h 293762"/>
                  <a:gd name="connsiteX8" fmla="*/ 12329 w 426668"/>
                  <a:gd name="connsiteY8" fmla="*/ 281421 h 293762"/>
                  <a:gd name="connsiteX9" fmla="*/ 331081 w 426668"/>
                  <a:gd name="connsiteY9" fmla="*/ 281421 h 293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6668" h="293762">
                    <a:moveTo>
                      <a:pt x="331081" y="293762"/>
                    </a:moveTo>
                    <a:lnTo>
                      <a:pt x="0" y="293762"/>
                    </a:lnTo>
                    <a:lnTo>
                      <a:pt x="0" y="0"/>
                    </a:lnTo>
                    <a:lnTo>
                      <a:pt x="426669" y="0"/>
                    </a:lnTo>
                    <a:lnTo>
                      <a:pt x="426669" y="174536"/>
                    </a:lnTo>
                    <a:lnTo>
                      <a:pt x="414340" y="174536"/>
                    </a:lnTo>
                    <a:lnTo>
                      <a:pt x="414340" y="12341"/>
                    </a:lnTo>
                    <a:lnTo>
                      <a:pt x="12329" y="12341"/>
                    </a:lnTo>
                    <a:lnTo>
                      <a:pt x="12329" y="281421"/>
                    </a:lnTo>
                    <a:lnTo>
                      <a:pt x="331081" y="281421"/>
                    </a:lnTo>
                    <a:close/>
                  </a:path>
                </a:pathLst>
              </a:custGeom>
              <a:solidFill>
                <a:schemeClr val="tx2"/>
              </a:solidFill>
              <a:ln w="1228" cap="flat">
                <a:noFill/>
                <a:prstDash val="solid"/>
                <a:miter/>
              </a:ln>
            </p:spPr>
            <p:txBody>
              <a:bodyPr rtlCol="0" anchor="ctr"/>
              <a:lstStyle/>
              <a:p>
                <a:endParaRPr lang="en-GB" dirty="0"/>
              </a:p>
            </p:txBody>
          </p:sp>
          <p:sp>
            <p:nvSpPr>
              <p:cNvPr id="94" name="Freihandform: Form 79">
                <a:extLst>
                  <a:ext uri="{FF2B5EF4-FFF2-40B4-BE49-F238E27FC236}">
                    <a16:creationId xmlns:a16="http://schemas.microsoft.com/office/drawing/2014/main" id="{BA4EDE12-68E0-4A2B-A7FD-FE563550F9EA}"/>
                  </a:ext>
                </a:extLst>
              </p:cNvPr>
              <p:cNvSpPr/>
              <p:nvPr/>
            </p:nvSpPr>
            <p:spPr>
              <a:xfrm>
                <a:off x="1445239" y="1699352"/>
                <a:ext cx="108850" cy="64126"/>
              </a:xfrm>
              <a:custGeom>
                <a:avLst/>
                <a:gdLst>
                  <a:gd name="connsiteX0" fmla="*/ 108850 w 108850"/>
                  <a:gd name="connsiteY0" fmla="*/ 64126 h 64126"/>
                  <a:gd name="connsiteX1" fmla="*/ 0 w 108850"/>
                  <a:gd name="connsiteY1" fmla="*/ 64126 h 64126"/>
                  <a:gd name="connsiteX2" fmla="*/ 0 w 108850"/>
                  <a:gd name="connsiteY2" fmla="*/ 0 h 64126"/>
                  <a:gd name="connsiteX3" fmla="*/ 108850 w 108850"/>
                  <a:gd name="connsiteY3" fmla="*/ 0 h 64126"/>
                  <a:gd name="connsiteX4" fmla="*/ 108850 w 108850"/>
                  <a:gd name="connsiteY4" fmla="*/ 64126 h 64126"/>
                  <a:gd name="connsiteX5" fmla="*/ 12329 w 108850"/>
                  <a:gd name="connsiteY5" fmla="*/ 51785 h 64126"/>
                  <a:gd name="connsiteX6" fmla="*/ 96521 w 108850"/>
                  <a:gd name="connsiteY6" fmla="*/ 51785 h 64126"/>
                  <a:gd name="connsiteX7" fmla="*/ 96521 w 108850"/>
                  <a:gd name="connsiteY7" fmla="*/ 12329 h 64126"/>
                  <a:gd name="connsiteX8" fmla="*/ 12329 w 108850"/>
                  <a:gd name="connsiteY8" fmla="*/ 12329 h 64126"/>
                  <a:gd name="connsiteX9" fmla="*/ 12329 w 108850"/>
                  <a:gd name="connsiteY9" fmla="*/ 51785 h 64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850" h="64126">
                    <a:moveTo>
                      <a:pt x="108850" y="64126"/>
                    </a:moveTo>
                    <a:lnTo>
                      <a:pt x="0" y="64126"/>
                    </a:lnTo>
                    <a:lnTo>
                      <a:pt x="0" y="0"/>
                    </a:lnTo>
                    <a:lnTo>
                      <a:pt x="108850" y="0"/>
                    </a:lnTo>
                    <a:lnTo>
                      <a:pt x="108850" y="64126"/>
                    </a:lnTo>
                    <a:close/>
                    <a:moveTo>
                      <a:pt x="12329" y="51785"/>
                    </a:moveTo>
                    <a:lnTo>
                      <a:pt x="96521" y="51785"/>
                    </a:lnTo>
                    <a:lnTo>
                      <a:pt x="96521" y="12329"/>
                    </a:lnTo>
                    <a:lnTo>
                      <a:pt x="12329" y="12329"/>
                    </a:lnTo>
                    <a:lnTo>
                      <a:pt x="12329" y="51785"/>
                    </a:lnTo>
                    <a:close/>
                  </a:path>
                </a:pathLst>
              </a:custGeom>
              <a:solidFill>
                <a:schemeClr val="tx2"/>
              </a:solidFill>
              <a:ln w="1228" cap="flat">
                <a:noFill/>
                <a:prstDash val="solid"/>
                <a:miter/>
              </a:ln>
            </p:spPr>
            <p:txBody>
              <a:bodyPr rtlCol="0" anchor="ctr"/>
              <a:lstStyle/>
              <a:p>
                <a:endParaRPr lang="en-GB" dirty="0"/>
              </a:p>
            </p:txBody>
          </p:sp>
          <p:sp>
            <p:nvSpPr>
              <p:cNvPr id="95" name="Freihandform: Form 80">
                <a:extLst>
                  <a:ext uri="{FF2B5EF4-FFF2-40B4-BE49-F238E27FC236}">
                    <a16:creationId xmlns:a16="http://schemas.microsoft.com/office/drawing/2014/main" id="{2F8DBB9E-4E25-4C7F-8977-045D3721E7A6}"/>
                  </a:ext>
                </a:extLst>
              </p:cNvPr>
              <p:cNvSpPr/>
              <p:nvPr/>
            </p:nvSpPr>
            <p:spPr>
              <a:xfrm>
                <a:off x="1288656" y="1751137"/>
                <a:ext cx="426668" cy="153045"/>
              </a:xfrm>
              <a:custGeom>
                <a:avLst/>
                <a:gdLst>
                  <a:gd name="connsiteX0" fmla="*/ 387643 w 426668"/>
                  <a:gd name="connsiteY0" fmla="*/ 153046 h 153045"/>
                  <a:gd name="connsiteX1" fmla="*/ 337013 w 426668"/>
                  <a:gd name="connsiteY1" fmla="*/ 153046 h 153045"/>
                  <a:gd name="connsiteX2" fmla="*/ 330848 w 426668"/>
                  <a:gd name="connsiteY2" fmla="*/ 146881 h 153045"/>
                  <a:gd name="connsiteX3" fmla="*/ 337013 w 426668"/>
                  <a:gd name="connsiteY3" fmla="*/ 140717 h 153045"/>
                  <a:gd name="connsiteX4" fmla="*/ 387643 w 426668"/>
                  <a:gd name="connsiteY4" fmla="*/ 140717 h 153045"/>
                  <a:gd name="connsiteX5" fmla="*/ 414352 w 426668"/>
                  <a:gd name="connsiteY5" fmla="*/ 114008 h 153045"/>
                  <a:gd name="connsiteX6" fmla="*/ 414352 w 426668"/>
                  <a:gd name="connsiteY6" fmla="*/ 12329 h 153045"/>
                  <a:gd name="connsiteX7" fmla="*/ 12329 w 426668"/>
                  <a:gd name="connsiteY7" fmla="*/ 12329 h 153045"/>
                  <a:gd name="connsiteX8" fmla="*/ 12329 w 426668"/>
                  <a:gd name="connsiteY8" fmla="*/ 114008 h 153045"/>
                  <a:gd name="connsiteX9" fmla="*/ 39038 w 426668"/>
                  <a:gd name="connsiteY9" fmla="*/ 140717 h 153045"/>
                  <a:gd name="connsiteX10" fmla="*/ 87913 w 426668"/>
                  <a:gd name="connsiteY10" fmla="*/ 140717 h 153045"/>
                  <a:gd name="connsiteX11" fmla="*/ 94077 w 426668"/>
                  <a:gd name="connsiteY11" fmla="*/ 146881 h 153045"/>
                  <a:gd name="connsiteX12" fmla="*/ 87913 w 426668"/>
                  <a:gd name="connsiteY12" fmla="*/ 153046 h 153045"/>
                  <a:gd name="connsiteX13" fmla="*/ 39038 w 426668"/>
                  <a:gd name="connsiteY13" fmla="*/ 153046 h 153045"/>
                  <a:gd name="connsiteX14" fmla="*/ 0 w 426668"/>
                  <a:gd name="connsiteY14" fmla="*/ 114008 h 153045"/>
                  <a:gd name="connsiteX15" fmla="*/ 0 w 426668"/>
                  <a:gd name="connsiteY15" fmla="*/ 0 h 153045"/>
                  <a:gd name="connsiteX16" fmla="*/ 426669 w 426668"/>
                  <a:gd name="connsiteY16" fmla="*/ 0 h 153045"/>
                  <a:gd name="connsiteX17" fmla="*/ 426669 w 426668"/>
                  <a:gd name="connsiteY17" fmla="*/ 114008 h 153045"/>
                  <a:gd name="connsiteX18" fmla="*/ 387643 w 426668"/>
                  <a:gd name="connsiteY18" fmla="*/ 153046 h 15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6668" h="153045">
                    <a:moveTo>
                      <a:pt x="387643" y="153046"/>
                    </a:moveTo>
                    <a:lnTo>
                      <a:pt x="337013" y="153046"/>
                    </a:lnTo>
                    <a:cubicBezTo>
                      <a:pt x="333611" y="153046"/>
                      <a:pt x="330848" y="150283"/>
                      <a:pt x="330848" y="146881"/>
                    </a:cubicBezTo>
                    <a:cubicBezTo>
                      <a:pt x="330848" y="143480"/>
                      <a:pt x="333611" y="140717"/>
                      <a:pt x="337013" y="140717"/>
                    </a:cubicBezTo>
                    <a:lnTo>
                      <a:pt x="387643" y="140717"/>
                    </a:lnTo>
                    <a:cubicBezTo>
                      <a:pt x="402367" y="140717"/>
                      <a:pt x="414352" y="128731"/>
                      <a:pt x="414352" y="114008"/>
                    </a:cubicBezTo>
                    <a:lnTo>
                      <a:pt x="414352" y="12329"/>
                    </a:lnTo>
                    <a:lnTo>
                      <a:pt x="12329" y="12329"/>
                    </a:lnTo>
                    <a:lnTo>
                      <a:pt x="12329" y="114008"/>
                    </a:lnTo>
                    <a:cubicBezTo>
                      <a:pt x="12329" y="128731"/>
                      <a:pt x="24314" y="140717"/>
                      <a:pt x="39038" y="140717"/>
                    </a:cubicBezTo>
                    <a:lnTo>
                      <a:pt x="87913" y="140717"/>
                    </a:lnTo>
                    <a:cubicBezTo>
                      <a:pt x="91314" y="140717"/>
                      <a:pt x="94077" y="143480"/>
                      <a:pt x="94077" y="146881"/>
                    </a:cubicBezTo>
                    <a:cubicBezTo>
                      <a:pt x="94077" y="150295"/>
                      <a:pt x="91314" y="153046"/>
                      <a:pt x="87913" y="153046"/>
                    </a:cubicBezTo>
                    <a:lnTo>
                      <a:pt x="39038" y="153046"/>
                    </a:lnTo>
                    <a:cubicBezTo>
                      <a:pt x="17511" y="153046"/>
                      <a:pt x="0" y="135534"/>
                      <a:pt x="0" y="114008"/>
                    </a:cubicBezTo>
                    <a:lnTo>
                      <a:pt x="0" y="0"/>
                    </a:lnTo>
                    <a:lnTo>
                      <a:pt x="426669" y="0"/>
                    </a:lnTo>
                    <a:lnTo>
                      <a:pt x="426669" y="114008"/>
                    </a:lnTo>
                    <a:cubicBezTo>
                      <a:pt x="426669" y="135534"/>
                      <a:pt x="409170" y="153046"/>
                      <a:pt x="387643" y="153046"/>
                    </a:cubicBezTo>
                    <a:close/>
                  </a:path>
                </a:pathLst>
              </a:custGeom>
              <a:solidFill>
                <a:schemeClr val="tx2"/>
              </a:solidFill>
              <a:ln w="1228" cap="flat">
                <a:noFill/>
                <a:prstDash val="solid"/>
                <a:miter/>
              </a:ln>
            </p:spPr>
            <p:txBody>
              <a:bodyPr rtlCol="0" anchor="ctr"/>
              <a:lstStyle/>
              <a:p>
                <a:endParaRPr lang="en-GB" dirty="0"/>
              </a:p>
            </p:txBody>
          </p:sp>
          <p:sp>
            <p:nvSpPr>
              <p:cNvPr id="96" name="Freihandform: Form 81">
                <a:extLst>
                  <a:ext uri="{FF2B5EF4-FFF2-40B4-BE49-F238E27FC236}">
                    <a16:creationId xmlns:a16="http://schemas.microsoft.com/office/drawing/2014/main" id="{639E609E-3991-49F3-9339-AE8019658729}"/>
                  </a:ext>
                </a:extLst>
              </p:cNvPr>
              <p:cNvSpPr/>
              <p:nvPr/>
            </p:nvSpPr>
            <p:spPr>
              <a:xfrm>
                <a:off x="1414895" y="1891853"/>
                <a:ext cx="174204" cy="12329"/>
              </a:xfrm>
              <a:custGeom>
                <a:avLst/>
                <a:gdLst>
                  <a:gd name="connsiteX0" fmla="*/ 0 w 174204"/>
                  <a:gd name="connsiteY0" fmla="*/ 0 h 12329"/>
                  <a:gd name="connsiteX1" fmla="*/ 174204 w 174204"/>
                  <a:gd name="connsiteY1" fmla="*/ 0 h 12329"/>
                  <a:gd name="connsiteX2" fmla="*/ 174204 w 174204"/>
                  <a:gd name="connsiteY2" fmla="*/ 12329 h 12329"/>
                  <a:gd name="connsiteX3" fmla="*/ 0 w 174204"/>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4204" h="12329">
                    <a:moveTo>
                      <a:pt x="0" y="0"/>
                    </a:moveTo>
                    <a:lnTo>
                      <a:pt x="174204" y="0"/>
                    </a:lnTo>
                    <a:lnTo>
                      <a:pt x="174204" y="12329"/>
                    </a:lnTo>
                    <a:lnTo>
                      <a:pt x="0" y="12329"/>
                    </a:lnTo>
                    <a:close/>
                  </a:path>
                </a:pathLst>
              </a:custGeom>
              <a:solidFill>
                <a:schemeClr val="tx2"/>
              </a:solidFill>
              <a:ln w="1228" cap="flat">
                <a:noFill/>
                <a:prstDash val="solid"/>
                <a:miter/>
              </a:ln>
            </p:spPr>
            <p:txBody>
              <a:bodyPr rtlCol="0" anchor="ctr"/>
              <a:lstStyle/>
              <a:p>
                <a:endParaRPr lang="en-GB" dirty="0"/>
              </a:p>
            </p:txBody>
          </p:sp>
          <p:grpSp>
            <p:nvGrpSpPr>
              <p:cNvPr id="97" name="Grafik 11">
                <a:extLst>
                  <a:ext uri="{FF2B5EF4-FFF2-40B4-BE49-F238E27FC236}">
                    <a16:creationId xmlns:a16="http://schemas.microsoft.com/office/drawing/2014/main" id="{4017014B-794F-44F8-95AC-7AD0566AF2D8}"/>
                  </a:ext>
                </a:extLst>
              </p:cNvPr>
              <p:cNvGrpSpPr/>
              <p:nvPr/>
            </p:nvGrpSpPr>
            <p:grpSpPr>
              <a:xfrm>
                <a:off x="1374199" y="1862148"/>
                <a:ext cx="255596" cy="75215"/>
                <a:chOff x="1374199" y="1862148"/>
                <a:chExt cx="255596" cy="75215"/>
              </a:xfrm>
              <a:solidFill>
                <a:srgbClr val="4D4E53"/>
              </a:solidFill>
            </p:grpSpPr>
            <p:grpSp>
              <p:nvGrpSpPr>
                <p:cNvPr id="98" name="Grafik 11">
                  <a:extLst>
                    <a:ext uri="{FF2B5EF4-FFF2-40B4-BE49-F238E27FC236}">
                      <a16:creationId xmlns:a16="http://schemas.microsoft.com/office/drawing/2014/main" id="{94B3EFAF-41B7-4C97-9E90-A09AC952B899}"/>
                    </a:ext>
                  </a:extLst>
                </p:cNvPr>
                <p:cNvGrpSpPr/>
                <p:nvPr/>
              </p:nvGrpSpPr>
              <p:grpSpPr>
                <a:xfrm>
                  <a:off x="1374199" y="1862148"/>
                  <a:ext cx="46860" cy="75215"/>
                  <a:chOff x="1374199" y="1862148"/>
                  <a:chExt cx="46860" cy="75215"/>
                </a:xfrm>
                <a:solidFill>
                  <a:srgbClr val="4D4E53"/>
                </a:solidFill>
              </p:grpSpPr>
              <p:sp>
                <p:nvSpPr>
                  <p:cNvPr id="103" name="Freihandform: Form 84">
                    <a:extLst>
                      <a:ext uri="{FF2B5EF4-FFF2-40B4-BE49-F238E27FC236}">
                        <a16:creationId xmlns:a16="http://schemas.microsoft.com/office/drawing/2014/main" id="{1DC973EE-A148-43AB-853E-0C6ED70323C3}"/>
                      </a:ext>
                    </a:extLst>
                  </p:cNvPr>
                  <p:cNvSpPr/>
                  <p:nvPr/>
                </p:nvSpPr>
                <p:spPr>
                  <a:xfrm>
                    <a:off x="1374199" y="1862148"/>
                    <a:ext cx="46860" cy="64126"/>
                  </a:xfrm>
                  <a:custGeom>
                    <a:avLst/>
                    <a:gdLst>
                      <a:gd name="connsiteX0" fmla="*/ 46860 w 46860"/>
                      <a:gd name="connsiteY0" fmla="*/ 64126 h 64126"/>
                      <a:gd name="connsiteX1" fmla="*/ 0 w 46860"/>
                      <a:gd name="connsiteY1" fmla="*/ 64126 h 64126"/>
                      <a:gd name="connsiteX2" fmla="*/ 0 w 46860"/>
                      <a:gd name="connsiteY2" fmla="*/ 0 h 64126"/>
                      <a:gd name="connsiteX3" fmla="*/ 46860 w 46860"/>
                      <a:gd name="connsiteY3" fmla="*/ 0 h 64126"/>
                      <a:gd name="connsiteX4" fmla="*/ 46860 w 46860"/>
                      <a:gd name="connsiteY4" fmla="*/ 64126 h 64126"/>
                      <a:gd name="connsiteX5" fmla="*/ 12329 w 46860"/>
                      <a:gd name="connsiteY5" fmla="*/ 51785 h 64126"/>
                      <a:gd name="connsiteX6" fmla="*/ 34531 w 46860"/>
                      <a:gd name="connsiteY6" fmla="*/ 51785 h 64126"/>
                      <a:gd name="connsiteX7" fmla="*/ 34531 w 46860"/>
                      <a:gd name="connsiteY7" fmla="*/ 12329 h 64126"/>
                      <a:gd name="connsiteX8" fmla="*/ 12329 w 46860"/>
                      <a:gd name="connsiteY8" fmla="*/ 12329 h 64126"/>
                      <a:gd name="connsiteX9" fmla="*/ 12329 w 46860"/>
                      <a:gd name="connsiteY9" fmla="*/ 51785 h 64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860" h="64126">
                        <a:moveTo>
                          <a:pt x="46860" y="64126"/>
                        </a:moveTo>
                        <a:lnTo>
                          <a:pt x="0" y="64126"/>
                        </a:lnTo>
                        <a:lnTo>
                          <a:pt x="0" y="0"/>
                        </a:lnTo>
                        <a:lnTo>
                          <a:pt x="46860" y="0"/>
                        </a:lnTo>
                        <a:lnTo>
                          <a:pt x="46860" y="64126"/>
                        </a:lnTo>
                        <a:close/>
                        <a:moveTo>
                          <a:pt x="12329" y="51785"/>
                        </a:moveTo>
                        <a:lnTo>
                          <a:pt x="34531" y="51785"/>
                        </a:lnTo>
                        <a:lnTo>
                          <a:pt x="34531" y="12329"/>
                        </a:lnTo>
                        <a:lnTo>
                          <a:pt x="12329" y="12329"/>
                        </a:lnTo>
                        <a:lnTo>
                          <a:pt x="12329" y="51785"/>
                        </a:lnTo>
                        <a:close/>
                      </a:path>
                    </a:pathLst>
                  </a:custGeom>
                  <a:solidFill>
                    <a:schemeClr val="tx2"/>
                  </a:solidFill>
                  <a:ln w="1228" cap="flat">
                    <a:noFill/>
                    <a:prstDash val="solid"/>
                    <a:miter/>
                  </a:ln>
                </p:spPr>
                <p:txBody>
                  <a:bodyPr rtlCol="0" anchor="ctr"/>
                  <a:lstStyle/>
                  <a:p>
                    <a:endParaRPr lang="en-GB" dirty="0"/>
                  </a:p>
                </p:txBody>
              </p:sp>
              <p:sp>
                <p:nvSpPr>
                  <p:cNvPr id="104" name="Freihandform: Form 85">
                    <a:extLst>
                      <a:ext uri="{FF2B5EF4-FFF2-40B4-BE49-F238E27FC236}">
                        <a16:creationId xmlns:a16="http://schemas.microsoft.com/office/drawing/2014/main" id="{464C6BA4-B959-435F-921C-F67F1633BD81}"/>
                      </a:ext>
                    </a:extLst>
                  </p:cNvPr>
                  <p:cNvSpPr/>
                  <p:nvPr/>
                </p:nvSpPr>
                <p:spPr>
                  <a:xfrm>
                    <a:off x="1374199" y="1920097"/>
                    <a:ext cx="12329" cy="17265"/>
                  </a:xfrm>
                  <a:custGeom>
                    <a:avLst/>
                    <a:gdLst>
                      <a:gd name="connsiteX0" fmla="*/ 0 w 12329"/>
                      <a:gd name="connsiteY0" fmla="*/ 0 h 17265"/>
                      <a:gd name="connsiteX1" fmla="*/ 12329 w 12329"/>
                      <a:gd name="connsiteY1" fmla="*/ 0 h 17265"/>
                      <a:gd name="connsiteX2" fmla="*/ 12329 w 12329"/>
                      <a:gd name="connsiteY2" fmla="*/ 17266 h 17265"/>
                      <a:gd name="connsiteX3" fmla="*/ 0 w 12329"/>
                      <a:gd name="connsiteY3" fmla="*/ 17266 h 17265"/>
                    </a:gdLst>
                    <a:ahLst/>
                    <a:cxnLst>
                      <a:cxn ang="0">
                        <a:pos x="connsiteX0" y="connsiteY0"/>
                      </a:cxn>
                      <a:cxn ang="0">
                        <a:pos x="connsiteX1" y="connsiteY1"/>
                      </a:cxn>
                      <a:cxn ang="0">
                        <a:pos x="connsiteX2" y="connsiteY2"/>
                      </a:cxn>
                      <a:cxn ang="0">
                        <a:pos x="connsiteX3" y="connsiteY3"/>
                      </a:cxn>
                    </a:cxnLst>
                    <a:rect l="l" t="t" r="r" b="b"/>
                    <a:pathLst>
                      <a:path w="12329" h="17265">
                        <a:moveTo>
                          <a:pt x="0" y="0"/>
                        </a:moveTo>
                        <a:lnTo>
                          <a:pt x="12329" y="0"/>
                        </a:lnTo>
                        <a:lnTo>
                          <a:pt x="12329" y="17266"/>
                        </a:lnTo>
                        <a:lnTo>
                          <a:pt x="0" y="17266"/>
                        </a:lnTo>
                        <a:close/>
                      </a:path>
                    </a:pathLst>
                  </a:custGeom>
                  <a:solidFill>
                    <a:schemeClr val="tx2"/>
                  </a:solidFill>
                  <a:ln w="1228" cap="flat">
                    <a:noFill/>
                    <a:prstDash val="solid"/>
                    <a:miter/>
                  </a:ln>
                </p:spPr>
                <p:txBody>
                  <a:bodyPr rtlCol="0" anchor="ctr"/>
                  <a:lstStyle/>
                  <a:p>
                    <a:endParaRPr lang="en-GB" dirty="0"/>
                  </a:p>
                </p:txBody>
              </p:sp>
              <p:sp>
                <p:nvSpPr>
                  <p:cNvPr id="105" name="Freihandform: Form 86">
                    <a:extLst>
                      <a:ext uri="{FF2B5EF4-FFF2-40B4-BE49-F238E27FC236}">
                        <a16:creationId xmlns:a16="http://schemas.microsoft.com/office/drawing/2014/main" id="{DBAE3FAD-D4DC-411D-ADCF-AB283E59695D}"/>
                      </a:ext>
                    </a:extLst>
                  </p:cNvPr>
                  <p:cNvSpPr/>
                  <p:nvPr/>
                </p:nvSpPr>
                <p:spPr>
                  <a:xfrm>
                    <a:off x="1408730" y="1920097"/>
                    <a:ext cx="12329" cy="17265"/>
                  </a:xfrm>
                  <a:custGeom>
                    <a:avLst/>
                    <a:gdLst>
                      <a:gd name="connsiteX0" fmla="*/ 0 w 12329"/>
                      <a:gd name="connsiteY0" fmla="*/ 0 h 17265"/>
                      <a:gd name="connsiteX1" fmla="*/ 12329 w 12329"/>
                      <a:gd name="connsiteY1" fmla="*/ 0 h 17265"/>
                      <a:gd name="connsiteX2" fmla="*/ 12329 w 12329"/>
                      <a:gd name="connsiteY2" fmla="*/ 17266 h 17265"/>
                      <a:gd name="connsiteX3" fmla="*/ 0 w 12329"/>
                      <a:gd name="connsiteY3" fmla="*/ 17266 h 17265"/>
                    </a:gdLst>
                    <a:ahLst/>
                    <a:cxnLst>
                      <a:cxn ang="0">
                        <a:pos x="connsiteX0" y="connsiteY0"/>
                      </a:cxn>
                      <a:cxn ang="0">
                        <a:pos x="connsiteX1" y="connsiteY1"/>
                      </a:cxn>
                      <a:cxn ang="0">
                        <a:pos x="connsiteX2" y="connsiteY2"/>
                      </a:cxn>
                      <a:cxn ang="0">
                        <a:pos x="connsiteX3" y="connsiteY3"/>
                      </a:cxn>
                    </a:cxnLst>
                    <a:rect l="l" t="t" r="r" b="b"/>
                    <a:pathLst>
                      <a:path w="12329" h="17265">
                        <a:moveTo>
                          <a:pt x="0" y="0"/>
                        </a:moveTo>
                        <a:lnTo>
                          <a:pt x="12329" y="0"/>
                        </a:lnTo>
                        <a:lnTo>
                          <a:pt x="12329" y="17266"/>
                        </a:lnTo>
                        <a:lnTo>
                          <a:pt x="0" y="17266"/>
                        </a:lnTo>
                        <a:close/>
                      </a:path>
                    </a:pathLst>
                  </a:custGeom>
                  <a:solidFill>
                    <a:schemeClr val="tx2"/>
                  </a:solidFill>
                  <a:ln w="1228" cap="flat">
                    <a:noFill/>
                    <a:prstDash val="solid"/>
                    <a:miter/>
                  </a:ln>
                </p:spPr>
                <p:txBody>
                  <a:bodyPr rtlCol="0" anchor="ctr"/>
                  <a:lstStyle/>
                  <a:p>
                    <a:endParaRPr lang="en-GB" dirty="0"/>
                  </a:p>
                </p:txBody>
              </p:sp>
            </p:grpSp>
            <p:grpSp>
              <p:nvGrpSpPr>
                <p:cNvPr id="99" name="Grafik 11">
                  <a:extLst>
                    <a:ext uri="{FF2B5EF4-FFF2-40B4-BE49-F238E27FC236}">
                      <a16:creationId xmlns:a16="http://schemas.microsoft.com/office/drawing/2014/main" id="{A2BB4676-9BD5-4C47-AB6A-84EFA2AB0146}"/>
                    </a:ext>
                  </a:extLst>
                </p:cNvPr>
                <p:cNvGrpSpPr/>
                <p:nvPr/>
              </p:nvGrpSpPr>
              <p:grpSpPr>
                <a:xfrm>
                  <a:off x="1582934" y="1862148"/>
                  <a:ext cx="46860" cy="75215"/>
                  <a:chOff x="1582934" y="1862148"/>
                  <a:chExt cx="46860" cy="75215"/>
                </a:xfrm>
                <a:solidFill>
                  <a:srgbClr val="4D4E53"/>
                </a:solidFill>
              </p:grpSpPr>
              <p:sp>
                <p:nvSpPr>
                  <p:cNvPr id="100" name="Freihandform: Form 88">
                    <a:extLst>
                      <a:ext uri="{FF2B5EF4-FFF2-40B4-BE49-F238E27FC236}">
                        <a16:creationId xmlns:a16="http://schemas.microsoft.com/office/drawing/2014/main" id="{AD590CEB-B4DD-4122-BD3E-447DD6FD7DD6}"/>
                      </a:ext>
                    </a:extLst>
                  </p:cNvPr>
                  <p:cNvSpPr/>
                  <p:nvPr/>
                </p:nvSpPr>
                <p:spPr>
                  <a:xfrm>
                    <a:off x="1582934" y="1862148"/>
                    <a:ext cx="46860" cy="64126"/>
                  </a:xfrm>
                  <a:custGeom>
                    <a:avLst/>
                    <a:gdLst>
                      <a:gd name="connsiteX0" fmla="*/ 46861 w 46860"/>
                      <a:gd name="connsiteY0" fmla="*/ 64126 h 64126"/>
                      <a:gd name="connsiteX1" fmla="*/ 0 w 46860"/>
                      <a:gd name="connsiteY1" fmla="*/ 64126 h 64126"/>
                      <a:gd name="connsiteX2" fmla="*/ 0 w 46860"/>
                      <a:gd name="connsiteY2" fmla="*/ 0 h 64126"/>
                      <a:gd name="connsiteX3" fmla="*/ 46861 w 46860"/>
                      <a:gd name="connsiteY3" fmla="*/ 0 h 64126"/>
                      <a:gd name="connsiteX4" fmla="*/ 46861 w 46860"/>
                      <a:gd name="connsiteY4" fmla="*/ 64126 h 64126"/>
                      <a:gd name="connsiteX5" fmla="*/ 12329 w 46860"/>
                      <a:gd name="connsiteY5" fmla="*/ 51785 h 64126"/>
                      <a:gd name="connsiteX6" fmla="*/ 34519 w 46860"/>
                      <a:gd name="connsiteY6" fmla="*/ 51785 h 64126"/>
                      <a:gd name="connsiteX7" fmla="*/ 34519 w 46860"/>
                      <a:gd name="connsiteY7" fmla="*/ 12329 h 64126"/>
                      <a:gd name="connsiteX8" fmla="*/ 12329 w 46860"/>
                      <a:gd name="connsiteY8" fmla="*/ 12329 h 64126"/>
                      <a:gd name="connsiteX9" fmla="*/ 12329 w 46860"/>
                      <a:gd name="connsiteY9" fmla="*/ 51785 h 64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860" h="64126">
                        <a:moveTo>
                          <a:pt x="46861" y="64126"/>
                        </a:moveTo>
                        <a:lnTo>
                          <a:pt x="0" y="64126"/>
                        </a:lnTo>
                        <a:lnTo>
                          <a:pt x="0" y="0"/>
                        </a:lnTo>
                        <a:lnTo>
                          <a:pt x="46861" y="0"/>
                        </a:lnTo>
                        <a:lnTo>
                          <a:pt x="46861" y="64126"/>
                        </a:lnTo>
                        <a:close/>
                        <a:moveTo>
                          <a:pt x="12329" y="51785"/>
                        </a:moveTo>
                        <a:lnTo>
                          <a:pt x="34519" y="51785"/>
                        </a:lnTo>
                        <a:lnTo>
                          <a:pt x="34519" y="12329"/>
                        </a:lnTo>
                        <a:lnTo>
                          <a:pt x="12329" y="12329"/>
                        </a:lnTo>
                        <a:lnTo>
                          <a:pt x="12329" y="51785"/>
                        </a:lnTo>
                        <a:close/>
                      </a:path>
                    </a:pathLst>
                  </a:custGeom>
                  <a:solidFill>
                    <a:schemeClr val="tx2"/>
                  </a:solidFill>
                  <a:ln w="1228" cap="flat">
                    <a:noFill/>
                    <a:prstDash val="solid"/>
                    <a:miter/>
                  </a:ln>
                </p:spPr>
                <p:txBody>
                  <a:bodyPr rtlCol="0" anchor="ctr"/>
                  <a:lstStyle/>
                  <a:p>
                    <a:endParaRPr lang="en-GB" dirty="0"/>
                  </a:p>
                </p:txBody>
              </p:sp>
              <p:sp>
                <p:nvSpPr>
                  <p:cNvPr id="101" name="Freihandform: Form 89">
                    <a:extLst>
                      <a:ext uri="{FF2B5EF4-FFF2-40B4-BE49-F238E27FC236}">
                        <a16:creationId xmlns:a16="http://schemas.microsoft.com/office/drawing/2014/main" id="{8C64A133-EE40-48D4-B903-F2E7A5706A38}"/>
                      </a:ext>
                    </a:extLst>
                  </p:cNvPr>
                  <p:cNvSpPr/>
                  <p:nvPr/>
                </p:nvSpPr>
                <p:spPr>
                  <a:xfrm>
                    <a:off x="1582934" y="1920097"/>
                    <a:ext cx="12329" cy="17265"/>
                  </a:xfrm>
                  <a:custGeom>
                    <a:avLst/>
                    <a:gdLst>
                      <a:gd name="connsiteX0" fmla="*/ 0 w 12329"/>
                      <a:gd name="connsiteY0" fmla="*/ 0 h 17265"/>
                      <a:gd name="connsiteX1" fmla="*/ 12329 w 12329"/>
                      <a:gd name="connsiteY1" fmla="*/ 0 h 17265"/>
                      <a:gd name="connsiteX2" fmla="*/ 12329 w 12329"/>
                      <a:gd name="connsiteY2" fmla="*/ 17266 h 17265"/>
                      <a:gd name="connsiteX3" fmla="*/ 0 w 12329"/>
                      <a:gd name="connsiteY3" fmla="*/ 17266 h 17265"/>
                    </a:gdLst>
                    <a:ahLst/>
                    <a:cxnLst>
                      <a:cxn ang="0">
                        <a:pos x="connsiteX0" y="connsiteY0"/>
                      </a:cxn>
                      <a:cxn ang="0">
                        <a:pos x="connsiteX1" y="connsiteY1"/>
                      </a:cxn>
                      <a:cxn ang="0">
                        <a:pos x="connsiteX2" y="connsiteY2"/>
                      </a:cxn>
                      <a:cxn ang="0">
                        <a:pos x="connsiteX3" y="connsiteY3"/>
                      </a:cxn>
                    </a:cxnLst>
                    <a:rect l="l" t="t" r="r" b="b"/>
                    <a:pathLst>
                      <a:path w="12329" h="17265">
                        <a:moveTo>
                          <a:pt x="0" y="0"/>
                        </a:moveTo>
                        <a:lnTo>
                          <a:pt x="12329" y="0"/>
                        </a:lnTo>
                        <a:lnTo>
                          <a:pt x="12329" y="17266"/>
                        </a:lnTo>
                        <a:lnTo>
                          <a:pt x="0" y="17266"/>
                        </a:lnTo>
                        <a:close/>
                      </a:path>
                    </a:pathLst>
                  </a:custGeom>
                  <a:solidFill>
                    <a:schemeClr val="tx2"/>
                  </a:solidFill>
                  <a:ln w="1228" cap="flat">
                    <a:noFill/>
                    <a:prstDash val="solid"/>
                    <a:miter/>
                  </a:ln>
                </p:spPr>
                <p:txBody>
                  <a:bodyPr rtlCol="0" anchor="ctr"/>
                  <a:lstStyle/>
                  <a:p>
                    <a:endParaRPr lang="en-GB" dirty="0"/>
                  </a:p>
                </p:txBody>
              </p:sp>
              <p:sp>
                <p:nvSpPr>
                  <p:cNvPr id="102" name="Freihandform: Form 90">
                    <a:extLst>
                      <a:ext uri="{FF2B5EF4-FFF2-40B4-BE49-F238E27FC236}">
                        <a16:creationId xmlns:a16="http://schemas.microsoft.com/office/drawing/2014/main" id="{C3F75D9B-2B07-4CC1-BA13-5AE57F44620E}"/>
                      </a:ext>
                    </a:extLst>
                  </p:cNvPr>
                  <p:cNvSpPr/>
                  <p:nvPr/>
                </p:nvSpPr>
                <p:spPr>
                  <a:xfrm>
                    <a:off x="1617466" y="1920097"/>
                    <a:ext cx="12329" cy="17265"/>
                  </a:xfrm>
                  <a:custGeom>
                    <a:avLst/>
                    <a:gdLst>
                      <a:gd name="connsiteX0" fmla="*/ 0 w 12329"/>
                      <a:gd name="connsiteY0" fmla="*/ 0 h 17265"/>
                      <a:gd name="connsiteX1" fmla="*/ 12329 w 12329"/>
                      <a:gd name="connsiteY1" fmla="*/ 0 h 17265"/>
                      <a:gd name="connsiteX2" fmla="*/ 12329 w 12329"/>
                      <a:gd name="connsiteY2" fmla="*/ 17266 h 17265"/>
                      <a:gd name="connsiteX3" fmla="*/ 0 w 12329"/>
                      <a:gd name="connsiteY3" fmla="*/ 17266 h 17265"/>
                    </a:gdLst>
                    <a:ahLst/>
                    <a:cxnLst>
                      <a:cxn ang="0">
                        <a:pos x="connsiteX0" y="connsiteY0"/>
                      </a:cxn>
                      <a:cxn ang="0">
                        <a:pos x="connsiteX1" y="connsiteY1"/>
                      </a:cxn>
                      <a:cxn ang="0">
                        <a:pos x="connsiteX2" y="connsiteY2"/>
                      </a:cxn>
                      <a:cxn ang="0">
                        <a:pos x="connsiteX3" y="connsiteY3"/>
                      </a:cxn>
                    </a:cxnLst>
                    <a:rect l="l" t="t" r="r" b="b"/>
                    <a:pathLst>
                      <a:path w="12329" h="17265">
                        <a:moveTo>
                          <a:pt x="0" y="0"/>
                        </a:moveTo>
                        <a:lnTo>
                          <a:pt x="12329" y="0"/>
                        </a:lnTo>
                        <a:lnTo>
                          <a:pt x="12329" y="17266"/>
                        </a:lnTo>
                        <a:lnTo>
                          <a:pt x="0" y="17266"/>
                        </a:lnTo>
                        <a:close/>
                      </a:path>
                    </a:pathLst>
                  </a:custGeom>
                  <a:solidFill>
                    <a:schemeClr val="tx2"/>
                  </a:solidFill>
                  <a:ln w="1228" cap="flat">
                    <a:noFill/>
                    <a:prstDash val="solid"/>
                    <a:miter/>
                  </a:ln>
                </p:spPr>
                <p:txBody>
                  <a:bodyPr rtlCol="0" anchor="ctr"/>
                  <a:lstStyle/>
                  <a:p>
                    <a:endParaRPr lang="en-GB" dirty="0"/>
                  </a:p>
                </p:txBody>
              </p:sp>
            </p:grpSp>
          </p:grpSp>
        </p:grpSp>
        <p:grpSp>
          <p:nvGrpSpPr>
            <p:cNvPr id="90" name="Grafik 11">
              <a:extLst>
                <a:ext uri="{FF2B5EF4-FFF2-40B4-BE49-F238E27FC236}">
                  <a16:creationId xmlns:a16="http://schemas.microsoft.com/office/drawing/2014/main" id="{874782EE-DECF-4C76-885C-E92B8968071A}"/>
                </a:ext>
              </a:extLst>
            </p:cNvPr>
            <p:cNvGrpSpPr/>
            <p:nvPr/>
          </p:nvGrpSpPr>
          <p:grpSpPr>
            <a:xfrm>
              <a:off x="1640147" y="1945746"/>
              <a:ext cx="138027" cy="172980"/>
              <a:chOff x="1640147" y="1945746"/>
              <a:chExt cx="138027" cy="172980"/>
            </a:xfrm>
            <a:solidFill>
              <a:schemeClr val="accent1"/>
            </a:solidFill>
          </p:grpSpPr>
          <p:sp>
            <p:nvSpPr>
              <p:cNvPr id="91" name="Freihandform: Form 92">
                <a:extLst>
                  <a:ext uri="{FF2B5EF4-FFF2-40B4-BE49-F238E27FC236}">
                    <a16:creationId xmlns:a16="http://schemas.microsoft.com/office/drawing/2014/main" id="{500A19B5-32B6-4309-8464-F7DDF66C3BA0}"/>
                  </a:ext>
                </a:extLst>
              </p:cNvPr>
              <p:cNvSpPr/>
              <p:nvPr/>
            </p:nvSpPr>
            <p:spPr>
              <a:xfrm>
                <a:off x="1640147" y="1945746"/>
                <a:ext cx="138027" cy="172980"/>
              </a:xfrm>
              <a:custGeom>
                <a:avLst/>
                <a:gdLst>
                  <a:gd name="connsiteX0" fmla="*/ 69014 w 138027"/>
                  <a:gd name="connsiteY0" fmla="*/ 172981 h 172980"/>
                  <a:gd name="connsiteX1" fmla="*/ 65882 w 138027"/>
                  <a:gd name="connsiteY1" fmla="*/ 171127 h 172980"/>
                  <a:gd name="connsiteX2" fmla="*/ 10585 w 138027"/>
                  <a:gd name="connsiteY2" fmla="*/ 127778 h 172980"/>
                  <a:gd name="connsiteX3" fmla="*/ 0 w 138027"/>
                  <a:gd name="connsiteY3" fmla="*/ 98159 h 172980"/>
                  <a:gd name="connsiteX4" fmla="*/ 0 w 138027"/>
                  <a:gd name="connsiteY4" fmla="*/ 14249 h 172980"/>
                  <a:gd name="connsiteX5" fmla="*/ 34765 w 138027"/>
                  <a:gd name="connsiteY5" fmla="*/ 4646 h 172980"/>
                  <a:gd name="connsiteX6" fmla="*/ 103263 w 138027"/>
                  <a:gd name="connsiteY6" fmla="*/ 4646 h 172980"/>
                  <a:gd name="connsiteX7" fmla="*/ 138027 w 138027"/>
                  <a:gd name="connsiteY7" fmla="*/ 14249 h 172980"/>
                  <a:gd name="connsiteX8" fmla="*/ 138027 w 138027"/>
                  <a:gd name="connsiteY8" fmla="*/ 98159 h 172980"/>
                  <a:gd name="connsiteX9" fmla="*/ 127442 w 138027"/>
                  <a:gd name="connsiteY9" fmla="*/ 127766 h 172980"/>
                  <a:gd name="connsiteX10" fmla="*/ 72145 w 138027"/>
                  <a:gd name="connsiteY10" fmla="*/ 171127 h 172980"/>
                  <a:gd name="connsiteX11" fmla="*/ 69014 w 138027"/>
                  <a:gd name="connsiteY11" fmla="*/ 172981 h 172980"/>
                  <a:gd name="connsiteX12" fmla="*/ 12341 w 138027"/>
                  <a:gd name="connsiteY12" fmla="*/ 23644 h 172980"/>
                  <a:gd name="connsiteX13" fmla="*/ 12341 w 138027"/>
                  <a:gd name="connsiteY13" fmla="*/ 98159 h 172980"/>
                  <a:gd name="connsiteX14" fmla="*/ 20016 w 138027"/>
                  <a:gd name="connsiteY14" fmla="*/ 119821 h 172980"/>
                  <a:gd name="connsiteX15" fmla="*/ 69014 w 138027"/>
                  <a:gd name="connsiteY15" fmla="*/ 158638 h 172980"/>
                  <a:gd name="connsiteX16" fmla="*/ 118023 w 138027"/>
                  <a:gd name="connsiteY16" fmla="*/ 119808 h 172980"/>
                  <a:gd name="connsiteX17" fmla="*/ 125698 w 138027"/>
                  <a:gd name="connsiteY17" fmla="*/ 98146 h 172980"/>
                  <a:gd name="connsiteX18" fmla="*/ 125698 w 138027"/>
                  <a:gd name="connsiteY18" fmla="*/ 23631 h 172980"/>
                  <a:gd name="connsiteX19" fmla="*/ 99984 w 138027"/>
                  <a:gd name="connsiteY19" fmla="*/ 16521 h 172980"/>
                  <a:gd name="connsiteX20" fmla="*/ 38068 w 138027"/>
                  <a:gd name="connsiteY20" fmla="*/ 16521 h 172980"/>
                  <a:gd name="connsiteX21" fmla="*/ 12341 w 138027"/>
                  <a:gd name="connsiteY21" fmla="*/ 23644 h 17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027" h="172980">
                    <a:moveTo>
                      <a:pt x="69014" y="172981"/>
                    </a:moveTo>
                    <a:lnTo>
                      <a:pt x="65882" y="171127"/>
                    </a:lnTo>
                    <a:cubicBezTo>
                      <a:pt x="40843" y="156378"/>
                      <a:pt x="22755" y="142183"/>
                      <a:pt x="10585" y="127778"/>
                    </a:cubicBezTo>
                    <a:cubicBezTo>
                      <a:pt x="3758" y="119673"/>
                      <a:pt x="0" y="109162"/>
                      <a:pt x="0" y="98159"/>
                    </a:cubicBezTo>
                    <a:lnTo>
                      <a:pt x="0" y="14249"/>
                    </a:lnTo>
                    <a:lnTo>
                      <a:pt x="34765" y="4646"/>
                    </a:lnTo>
                    <a:cubicBezTo>
                      <a:pt x="57176" y="-1555"/>
                      <a:pt x="80852" y="-1543"/>
                      <a:pt x="103263" y="4646"/>
                    </a:cubicBezTo>
                    <a:lnTo>
                      <a:pt x="138027" y="14249"/>
                    </a:lnTo>
                    <a:lnTo>
                      <a:pt x="138027" y="98159"/>
                    </a:lnTo>
                    <a:cubicBezTo>
                      <a:pt x="138027" y="109174"/>
                      <a:pt x="134270" y="119686"/>
                      <a:pt x="127442" y="127766"/>
                    </a:cubicBezTo>
                    <a:cubicBezTo>
                      <a:pt x="115272" y="142183"/>
                      <a:pt x="97184" y="156378"/>
                      <a:pt x="72145" y="171127"/>
                    </a:cubicBezTo>
                    <a:lnTo>
                      <a:pt x="69014" y="172981"/>
                    </a:lnTo>
                    <a:close/>
                    <a:moveTo>
                      <a:pt x="12341" y="23644"/>
                    </a:moveTo>
                    <a:lnTo>
                      <a:pt x="12341" y="98159"/>
                    </a:lnTo>
                    <a:cubicBezTo>
                      <a:pt x="12341" y="106251"/>
                      <a:pt x="15068" y="113951"/>
                      <a:pt x="20016" y="119821"/>
                    </a:cubicBezTo>
                    <a:cubicBezTo>
                      <a:pt x="30774" y="132567"/>
                      <a:pt x="46824" y="145289"/>
                      <a:pt x="69014" y="158638"/>
                    </a:cubicBezTo>
                    <a:cubicBezTo>
                      <a:pt x="91204" y="145277"/>
                      <a:pt x="107254" y="132567"/>
                      <a:pt x="118023" y="119808"/>
                    </a:cubicBezTo>
                    <a:cubicBezTo>
                      <a:pt x="122960" y="113951"/>
                      <a:pt x="125698" y="106251"/>
                      <a:pt x="125698" y="98146"/>
                    </a:cubicBezTo>
                    <a:lnTo>
                      <a:pt x="125698" y="23631"/>
                    </a:lnTo>
                    <a:lnTo>
                      <a:pt x="99984" y="16521"/>
                    </a:lnTo>
                    <a:cubicBezTo>
                      <a:pt x="79734" y="10922"/>
                      <a:pt x="58305" y="10922"/>
                      <a:pt x="38068" y="16521"/>
                    </a:cubicBezTo>
                    <a:lnTo>
                      <a:pt x="12341" y="23644"/>
                    </a:lnTo>
                    <a:close/>
                  </a:path>
                </a:pathLst>
              </a:custGeom>
              <a:solidFill>
                <a:schemeClr val="accent1"/>
              </a:solidFill>
              <a:ln w="1228" cap="flat">
                <a:noFill/>
                <a:prstDash val="solid"/>
                <a:miter/>
              </a:ln>
            </p:spPr>
            <p:txBody>
              <a:bodyPr rtlCol="0" anchor="ctr"/>
              <a:lstStyle/>
              <a:p>
                <a:endParaRPr lang="en-GB" dirty="0"/>
              </a:p>
            </p:txBody>
          </p:sp>
          <p:sp>
            <p:nvSpPr>
              <p:cNvPr id="92" name="Freihandform: Form 93">
                <a:extLst>
                  <a:ext uri="{FF2B5EF4-FFF2-40B4-BE49-F238E27FC236}">
                    <a16:creationId xmlns:a16="http://schemas.microsoft.com/office/drawing/2014/main" id="{43ABBD40-256A-440A-9E06-8080201C8777}"/>
                  </a:ext>
                </a:extLst>
              </p:cNvPr>
              <p:cNvSpPr/>
              <p:nvPr/>
            </p:nvSpPr>
            <p:spPr>
              <a:xfrm>
                <a:off x="1682403" y="2005186"/>
                <a:ext cx="53516" cy="41543"/>
              </a:xfrm>
              <a:custGeom>
                <a:avLst/>
                <a:gdLst>
                  <a:gd name="connsiteX0" fmla="*/ 20692 w 53516"/>
                  <a:gd name="connsiteY0" fmla="*/ 41543 h 41543"/>
                  <a:gd name="connsiteX1" fmla="*/ 0 w 53516"/>
                  <a:gd name="connsiteY1" fmla="*/ 20851 h 41543"/>
                  <a:gd name="connsiteX2" fmla="*/ 8719 w 53516"/>
                  <a:gd name="connsiteY2" fmla="*/ 12133 h 41543"/>
                  <a:gd name="connsiteX3" fmla="*/ 20692 w 53516"/>
                  <a:gd name="connsiteY3" fmla="*/ 24106 h 41543"/>
                  <a:gd name="connsiteX4" fmla="*/ 44797 w 53516"/>
                  <a:gd name="connsiteY4" fmla="*/ 0 h 41543"/>
                  <a:gd name="connsiteX5" fmla="*/ 53516 w 53516"/>
                  <a:gd name="connsiteY5" fmla="*/ 8719 h 4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16" h="41543">
                    <a:moveTo>
                      <a:pt x="20692" y="41543"/>
                    </a:moveTo>
                    <a:lnTo>
                      <a:pt x="0" y="20851"/>
                    </a:lnTo>
                    <a:lnTo>
                      <a:pt x="8719" y="12133"/>
                    </a:lnTo>
                    <a:lnTo>
                      <a:pt x="20692" y="24106"/>
                    </a:lnTo>
                    <a:lnTo>
                      <a:pt x="44797" y="0"/>
                    </a:lnTo>
                    <a:lnTo>
                      <a:pt x="53516" y="8719"/>
                    </a:lnTo>
                    <a:close/>
                  </a:path>
                </a:pathLst>
              </a:custGeom>
              <a:solidFill>
                <a:schemeClr val="accent1"/>
              </a:solidFill>
              <a:ln w="1228" cap="flat">
                <a:noFill/>
                <a:prstDash val="solid"/>
                <a:miter/>
              </a:ln>
            </p:spPr>
            <p:txBody>
              <a:bodyPr rtlCol="0" anchor="ctr"/>
              <a:lstStyle/>
              <a:p>
                <a:endParaRPr lang="en-GB" dirty="0"/>
              </a:p>
            </p:txBody>
          </p:sp>
        </p:grpSp>
      </p:grpSp>
      <p:grpSp>
        <p:nvGrpSpPr>
          <p:cNvPr id="106" name="Gruppieren 407">
            <a:extLst>
              <a:ext uri="{FF2B5EF4-FFF2-40B4-BE49-F238E27FC236}">
                <a16:creationId xmlns:a16="http://schemas.microsoft.com/office/drawing/2014/main" id="{486B878A-2B74-47CD-AEA1-8B23ED4B4C96}"/>
              </a:ext>
            </a:extLst>
          </p:cNvPr>
          <p:cNvGrpSpPr>
            <a:grpSpLocks noChangeAspect="1"/>
          </p:cNvGrpSpPr>
          <p:nvPr/>
        </p:nvGrpSpPr>
        <p:grpSpPr>
          <a:xfrm>
            <a:off x="3017406" y="1626716"/>
            <a:ext cx="350213" cy="432000"/>
            <a:chOff x="3064371" y="1678933"/>
            <a:chExt cx="354339" cy="437091"/>
          </a:xfrm>
        </p:grpSpPr>
        <p:grpSp>
          <p:nvGrpSpPr>
            <p:cNvPr id="107" name="Gruppieren 406">
              <a:extLst>
                <a:ext uri="{FF2B5EF4-FFF2-40B4-BE49-F238E27FC236}">
                  <a16:creationId xmlns:a16="http://schemas.microsoft.com/office/drawing/2014/main" id="{D18D4072-1F09-4747-AB21-4F0BA2002F95}"/>
                </a:ext>
              </a:extLst>
            </p:cNvPr>
            <p:cNvGrpSpPr/>
            <p:nvPr/>
          </p:nvGrpSpPr>
          <p:grpSpPr>
            <a:xfrm>
              <a:off x="3064371" y="1678933"/>
              <a:ext cx="354339" cy="437091"/>
              <a:chOff x="3064371" y="1678933"/>
              <a:chExt cx="354339" cy="437091"/>
            </a:xfrm>
          </p:grpSpPr>
          <p:sp>
            <p:nvSpPr>
              <p:cNvPr id="111" name="Freihandform: Form 95">
                <a:extLst>
                  <a:ext uri="{FF2B5EF4-FFF2-40B4-BE49-F238E27FC236}">
                    <a16:creationId xmlns:a16="http://schemas.microsoft.com/office/drawing/2014/main" id="{1CFB3251-606F-4758-AD75-37DF72061868}"/>
                  </a:ext>
                </a:extLst>
              </p:cNvPr>
              <p:cNvSpPr/>
              <p:nvPr/>
            </p:nvSpPr>
            <p:spPr>
              <a:xfrm>
                <a:off x="3097060" y="1713634"/>
                <a:ext cx="288973" cy="364716"/>
              </a:xfrm>
              <a:custGeom>
                <a:avLst/>
                <a:gdLst>
                  <a:gd name="connsiteX0" fmla="*/ 144487 w 288973"/>
                  <a:gd name="connsiteY0" fmla="*/ 364716 h 364716"/>
                  <a:gd name="connsiteX1" fmla="*/ 141355 w 288973"/>
                  <a:gd name="connsiteY1" fmla="*/ 362862 h 364716"/>
                  <a:gd name="connsiteX2" fmla="*/ 21551 w 288973"/>
                  <a:gd name="connsiteY2" fmla="*/ 269030 h 364716"/>
                  <a:gd name="connsiteX3" fmla="*/ 0 w 288973"/>
                  <a:gd name="connsiteY3" fmla="*/ 208625 h 364716"/>
                  <a:gd name="connsiteX4" fmla="*/ 0 w 288973"/>
                  <a:gd name="connsiteY4" fmla="*/ 29570 h 364716"/>
                  <a:gd name="connsiteX5" fmla="*/ 71089 w 288973"/>
                  <a:gd name="connsiteY5" fmla="*/ 9947 h 364716"/>
                  <a:gd name="connsiteX6" fmla="*/ 217884 w 288973"/>
                  <a:gd name="connsiteY6" fmla="*/ 9947 h 364716"/>
                  <a:gd name="connsiteX7" fmla="*/ 288973 w 288973"/>
                  <a:gd name="connsiteY7" fmla="*/ 29570 h 364716"/>
                  <a:gd name="connsiteX8" fmla="*/ 288973 w 288973"/>
                  <a:gd name="connsiteY8" fmla="*/ 208637 h 364716"/>
                  <a:gd name="connsiteX9" fmla="*/ 267422 w 288973"/>
                  <a:gd name="connsiteY9" fmla="*/ 269043 h 364716"/>
                  <a:gd name="connsiteX10" fmla="*/ 147618 w 288973"/>
                  <a:gd name="connsiteY10" fmla="*/ 362874 h 364716"/>
                  <a:gd name="connsiteX11" fmla="*/ 144487 w 288973"/>
                  <a:gd name="connsiteY11" fmla="*/ 364716 h 364716"/>
                  <a:gd name="connsiteX12" fmla="*/ 12329 w 288973"/>
                  <a:gd name="connsiteY12" fmla="*/ 38964 h 364716"/>
                  <a:gd name="connsiteX13" fmla="*/ 12329 w 288973"/>
                  <a:gd name="connsiteY13" fmla="*/ 208637 h 364716"/>
                  <a:gd name="connsiteX14" fmla="*/ 30970 w 288973"/>
                  <a:gd name="connsiteY14" fmla="*/ 261085 h 364716"/>
                  <a:gd name="connsiteX15" fmla="*/ 144487 w 288973"/>
                  <a:gd name="connsiteY15" fmla="*/ 350398 h 364716"/>
                  <a:gd name="connsiteX16" fmla="*/ 258003 w 288973"/>
                  <a:gd name="connsiteY16" fmla="*/ 261085 h 364716"/>
                  <a:gd name="connsiteX17" fmla="*/ 276644 w 288973"/>
                  <a:gd name="connsiteY17" fmla="*/ 208637 h 364716"/>
                  <a:gd name="connsiteX18" fmla="*/ 276644 w 288973"/>
                  <a:gd name="connsiteY18" fmla="*/ 38964 h 364716"/>
                  <a:gd name="connsiteX19" fmla="*/ 214618 w 288973"/>
                  <a:gd name="connsiteY19" fmla="*/ 21834 h 364716"/>
                  <a:gd name="connsiteX20" fmla="*/ 74368 w 288973"/>
                  <a:gd name="connsiteY20" fmla="*/ 21834 h 364716"/>
                  <a:gd name="connsiteX21" fmla="*/ 12329 w 288973"/>
                  <a:gd name="connsiteY21" fmla="*/ 38964 h 36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8973" h="364716">
                    <a:moveTo>
                      <a:pt x="144487" y="364716"/>
                    </a:moveTo>
                    <a:lnTo>
                      <a:pt x="141355" y="362862"/>
                    </a:lnTo>
                    <a:cubicBezTo>
                      <a:pt x="86979" y="330823"/>
                      <a:pt x="47794" y="300136"/>
                      <a:pt x="21551" y="269030"/>
                    </a:cubicBezTo>
                    <a:cubicBezTo>
                      <a:pt x="7650" y="252575"/>
                      <a:pt x="0" y="231122"/>
                      <a:pt x="0" y="208625"/>
                    </a:cubicBezTo>
                    <a:lnTo>
                      <a:pt x="0" y="29570"/>
                    </a:lnTo>
                    <a:lnTo>
                      <a:pt x="71089" y="9947"/>
                    </a:lnTo>
                    <a:cubicBezTo>
                      <a:pt x="119092" y="-3316"/>
                      <a:pt x="169882" y="-3316"/>
                      <a:pt x="217884" y="9947"/>
                    </a:cubicBezTo>
                    <a:lnTo>
                      <a:pt x="288973" y="29570"/>
                    </a:lnTo>
                    <a:lnTo>
                      <a:pt x="288973" y="208637"/>
                    </a:lnTo>
                    <a:cubicBezTo>
                      <a:pt x="288973" y="231122"/>
                      <a:pt x="281311" y="252575"/>
                      <a:pt x="267422" y="269043"/>
                    </a:cubicBezTo>
                    <a:cubicBezTo>
                      <a:pt x="241180" y="300136"/>
                      <a:pt x="201994" y="330836"/>
                      <a:pt x="147618" y="362874"/>
                    </a:cubicBezTo>
                    <a:lnTo>
                      <a:pt x="144487" y="364716"/>
                    </a:lnTo>
                    <a:close/>
                    <a:moveTo>
                      <a:pt x="12329" y="38964"/>
                    </a:moveTo>
                    <a:lnTo>
                      <a:pt x="12329" y="208637"/>
                    </a:lnTo>
                    <a:cubicBezTo>
                      <a:pt x="12329" y="228224"/>
                      <a:pt x="18948" y="246853"/>
                      <a:pt x="30970" y="261085"/>
                    </a:cubicBezTo>
                    <a:cubicBezTo>
                      <a:pt x="55813" y="290520"/>
                      <a:pt x="92960" y="319747"/>
                      <a:pt x="144487" y="350398"/>
                    </a:cubicBezTo>
                    <a:cubicBezTo>
                      <a:pt x="196014" y="319747"/>
                      <a:pt x="233161" y="290520"/>
                      <a:pt x="258003" y="261085"/>
                    </a:cubicBezTo>
                    <a:cubicBezTo>
                      <a:pt x="270025" y="246840"/>
                      <a:pt x="276644" y="228212"/>
                      <a:pt x="276644" y="208637"/>
                    </a:cubicBezTo>
                    <a:lnTo>
                      <a:pt x="276644" y="38964"/>
                    </a:lnTo>
                    <a:lnTo>
                      <a:pt x="214618" y="21834"/>
                    </a:lnTo>
                    <a:cubicBezTo>
                      <a:pt x="168740" y="9161"/>
                      <a:pt x="120258" y="9161"/>
                      <a:pt x="74368" y="21834"/>
                    </a:cubicBezTo>
                    <a:lnTo>
                      <a:pt x="12329" y="38964"/>
                    </a:lnTo>
                    <a:close/>
                  </a:path>
                </a:pathLst>
              </a:custGeom>
              <a:solidFill>
                <a:schemeClr val="tx2"/>
              </a:solidFill>
              <a:ln w="1228" cap="flat">
                <a:noFill/>
                <a:prstDash val="solid"/>
                <a:miter/>
              </a:ln>
            </p:spPr>
            <p:txBody>
              <a:bodyPr rtlCol="0" anchor="ctr"/>
              <a:lstStyle/>
              <a:p>
                <a:endParaRPr lang="en-GB" dirty="0"/>
              </a:p>
            </p:txBody>
          </p:sp>
          <p:sp>
            <p:nvSpPr>
              <p:cNvPr id="112" name="Freihandform: Form 96">
                <a:extLst>
                  <a:ext uri="{FF2B5EF4-FFF2-40B4-BE49-F238E27FC236}">
                    <a16:creationId xmlns:a16="http://schemas.microsoft.com/office/drawing/2014/main" id="{388953C6-BAB4-4BB5-91D4-9170CC701C99}"/>
                  </a:ext>
                </a:extLst>
              </p:cNvPr>
              <p:cNvSpPr/>
              <p:nvPr/>
            </p:nvSpPr>
            <p:spPr>
              <a:xfrm>
                <a:off x="3064371" y="1678933"/>
                <a:ext cx="354339" cy="437091"/>
              </a:xfrm>
              <a:custGeom>
                <a:avLst/>
                <a:gdLst>
                  <a:gd name="connsiteX0" fmla="*/ 177176 w 354339"/>
                  <a:gd name="connsiteY0" fmla="*/ 437092 h 437091"/>
                  <a:gd name="connsiteX1" fmla="*/ 174045 w 354339"/>
                  <a:gd name="connsiteY1" fmla="*/ 435237 h 437091"/>
                  <a:gd name="connsiteX2" fmla="*/ 39480 w 354339"/>
                  <a:gd name="connsiteY2" fmla="*/ 334185 h 437091"/>
                  <a:gd name="connsiteX3" fmla="*/ 0 w 354339"/>
                  <a:gd name="connsiteY3" fmla="*/ 232666 h 437091"/>
                  <a:gd name="connsiteX4" fmla="*/ 0 w 354339"/>
                  <a:gd name="connsiteY4" fmla="*/ 36923 h 437091"/>
                  <a:gd name="connsiteX5" fmla="*/ 105952 w 354339"/>
                  <a:gd name="connsiteY5" fmla="*/ 9342 h 437091"/>
                  <a:gd name="connsiteX6" fmla="*/ 248425 w 354339"/>
                  <a:gd name="connsiteY6" fmla="*/ 9354 h 437091"/>
                  <a:gd name="connsiteX7" fmla="*/ 354340 w 354339"/>
                  <a:gd name="connsiteY7" fmla="*/ 36923 h 437091"/>
                  <a:gd name="connsiteX8" fmla="*/ 354340 w 354339"/>
                  <a:gd name="connsiteY8" fmla="*/ 232679 h 437091"/>
                  <a:gd name="connsiteX9" fmla="*/ 314859 w 354339"/>
                  <a:gd name="connsiteY9" fmla="*/ 334197 h 437091"/>
                  <a:gd name="connsiteX10" fmla="*/ 180295 w 354339"/>
                  <a:gd name="connsiteY10" fmla="*/ 435250 h 437091"/>
                  <a:gd name="connsiteX11" fmla="*/ 177176 w 354339"/>
                  <a:gd name="connsiteY11" fmla="*/ 437092 h 437091"/>
                  <a:gd name="connsiteX12" fmla="*/ 12329 w 354339"/>
                  <a:gd name="connsiteY12" fmla="*/ 46464 h 437091"/>
                  <a:gd name="connsiteX13" fmla="*/ 12329 w 354339"/>
                  <a:gd name="connsiteY13" fmla="*/ 232691 h 437091"/>
                  <a:gd name="connsiteX14" fmla="*/ 48383 w 354339"/>
                  <a:gd name="connsiteY14" fmla="*/ 325700 h 437091"/>
                  <a:gd name="connsiteX15" fmla="*/ 177164 w 354339"/>
                  <a:gd name="connsiteY15" fmla="*/ 422785 h 437091"/>
                  <a:gd name="connsiteX16" fmla="*/ 305944 w 354339"/>
                  <a:gd name="connsiteY16" fmla="*/ 325700 h 437091"/>
                  <a:gd name="connsiteX17" fmla="*/ 341998 w 354339"/>
                  <a:gd name="connsiteY17" fmla="*/ 232691 h 437091"/>
                  <a:gd name="connsiteX18" fmla="*/ 341998 w 354339"/>
                  <a:gd name="connsiteY18" fmla="*/ 46464 h 437091"/>
                  <a:gd name="connsiteX19" fmla="*/ 245269 w 354339"/>
                  <a:gd name="connsiteY19" fmla="*/ 21278 h 437091"/>
                  <a:gd name="connsiteX20" fmla="*/ 109083 w 354339"/>
                  <a:gd name="connsiteY20" fmla="*/ 21266 h 437091"/>
                  <a:gd name="connsiteX21" fmla="*/ 12329 w 354339"/>
                  <a:gd name="connsiteY21" fmla="*/ 46464 h 437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4339" h="437091">
                    <a:moveTo>
                      <a:pt x="177176" y="437092"/>
                    </a:moveTo>
                    <a:lnTo>
                      <a:pt x="174045" y="435237"/>
                    </a:lnTo>
                    <a:cubicBezTo>
                      <a:pt x="115469" y="400706"/>
                      <a:pt x="71457" y="367660"/>
                      <a:pt x="39480" y="334185"/>
                    </a:cubicBezTo>
                    <a:cubicBezTo>
                      <a:pt x="14024" y="307537"/>
                      <a:pt x="0" y="271496"/>
                      <a:pt x="0" y="232666"/>
                    </a:cubicBezTo>
                    <a:lnTo>
                      <a:pt x="0" y="36923"/>
                    </a:lnTo>
                    <a:lnTo>
                      <a:pt x="105952" y="9342"/>
                    </a:lnTo>
                    <a:cubicBezTo>
                      <a:pt x="152530" y="-3122"/>
                      <a:pt x="201822" y="-3110"/>
                      <a:pt x="248425" y="9354"/>
                    </a:cubicBezTo>
                    <a:lnTo>
                      <a:pt x="354340" y="36923"/>
                    </a:lnTo>
                    <a:lnTo>
                      <a:pt x="354340" y="232679"/>
                    </a:lnTo>
                    <a:cubicBezTo>
                      <a:pt x="354340" y="271508"/>
                      <a:pt x="340328" y="307550"/>
                      <a:pt x="314859" y="334197"/>
                    </a:cubicBezTo>
                    <a:cubicBezTo>
                      <a:pt x="282882" y="367673"/>
                      <a:pt x="238871" y="400718"/>
                      <a:pt x="180295" y="435250"/>
                    </a:cubicBezTo>
                    <a:lnTo>
                      <a:pt x="177176" y="437092"/>
                    </a:lnTo>
                    <a:close/>
                    <a:moveTo>
                      <a:pt x="12329" y="46464"/>
                    </a:moveTo>
                    <a:lnTo>
                      <a:pt x="12329" y="232691"/>
                    </a:lnTo>
                    <a:cubicBezTo>
                      <a:pt x="12329" y="268327"/>
                      <a:pt x="25125" y="301348"/>
                      <a:pt x="48383" y="325700"/>
                    </a:cubicBezTo>
                    <a:cubicBezTo>
                      <a:pt x="78997" y="357750"/>
                      <a:pt x="121142" y="389519"/>
                      <a:pt x="177164" y="422785"/>
                    </a:cubicBezTo>
                    <a:cubicBezTo>
                      <a:pt x="233185" y="389519"/>
                      <a:pt x="275330" y="357738"/>
                      <a:pt x="305944" y="325700"/>
                    </a:cubicBezTo>
                    <a:cubicBezTo>
                      <a:pt x="329202" y="301361"/>
                      <a:pt x="341998" y="268327"/>
                      <a:pt x="341998" y="232691"/>
                    </a:cubicBezTo>
                    <a:lnTo>
                      <a:pt x="341998" y="46464"/>
                    </a:lnTo>
                    <a:lnTo>
                      <a:pt x="245269" y="21278"/>
                    </a:lnTo>
                    <a:cubicBezTo>
                      <a:pt x="200704" y="9354"/>
                      <a:pt x="153623" y="9354"/>
                      <a:pt x="109083" y="21266"/>
                    </a:cubicBezTo>
                    <a:lnTo>
                      <a:pt x="12329" y="46464"/>
                    </a:lnTo>
                    <a:close/>
                  </a:path>
                </a:pathLst>
              </a:custGeom>
              <a:solidFill>
                <a:schemeClr val="tx2"/>
              </a:solidFill>
              <a:ln w="1228" cap="flat">
                <a:noFill/>
                <a:prstDash val="solid"/>
                <a:miter/>
              </a:ln>
            </p:spPr>
            <p:txBody>
              <a:bodyPr rtlCol="0" anchor="ctr"/>
              <a:lstStyle/>
              <a:p>
                <a:endParaRPr lang="en-GB" dirty="0"/>
              </a:p>
            </p:txBody>
          </p:sp>
        </p:grpSp>
        <p:grpSp>
          <p:nvGrpSpPr>
            <p:cNvPr id="108" name="Gruppieren 405">
              <a:extLst>
                <a:ext uri="{FF2B5EF4-FFF2-40B4-BE49-F238E27FC236}">
                  <a16:creationId xmlns:a16="http://schemas.microsoft.com/office/drawing/2014/main" id="{A440C367-2231-4C56-B158-6ACDD9B82686}"/>
                </a:ext>
              </a:extLst>
            </p:cNvPr>
            <p:cNvGrpSpPr/>
            <p:nvPr/>
          </p:nvGrpSpPr>
          <p:grpSpPr>
            <a:xfrm>
              <a:off x="3170433" y="1798943"/>
              <a:ext cx="142227" cy="142227"/>
              <a:chOff x="3170433" y="1798943"/>
              <a:chExt cx="142227" cy="142227"/>
            </a:xfrm>
          </p:grpSpPr>
          <p:sp>
            <p:nvSpPr>
              <p:cNvPr id="109" name="Freihandform: Form 97">
                <a:extLst>
                  <a:ext uri="{FF2B5EF4-FFF2-40B4-BE49-F238E27FC236}">
                    <a16:creationId xmlns:a16="http://schemas.microsoft.com/office/drawing/2014/main" id="{F1343E2E-454D-4CFE-BDE6-55E6F8D8B1E6}"/>
                  </a:ext>
                </a:extLst>
              </p:cNvPr>
              <p:cNvSpPr/>
              <p:nvPr/>
            </p:nvSpPr>
            <p:spPr>
              <a:xfrm>
                <a:off x="3170433" y="1798943"/>
                <a:ext cx="142227" cy="142227"/>
              </a:xfrm>
              <a:custGeom>
                <a:avLst/>
                <a:gdLst>
                  <a:gd name="connsiteX0" fmla="*/ 71114 w 142227"/>
                  <a:gd name="connsiteY0" fmla="*/ 142227 h 142227"/>
                  <a:gd name="connsiteX1" fmla="*/ 0 w 142227"/>
                  <a:gd name="connsiteY1" fmla="*/ 71114 h 142227"/>
                  <a:gd name="connsiteX2" fmla="*/ 71114 w 142227"/>
                  <a:gd name="connsiteY2" fmla="*/ 0 h 142227"/>
                  <a:gd name="connsiteX3" fmla="*/ 142227 w 142227"/>
                  <a:gd name="connsiteY3" fmla="*/ 71114 h 142227"/>
                  <a:gd name="connsiteX4" fmla="*/ 71114 w 142227"/>
                  <a:gd name="connsiteY4" fmla="*/ 142227 h 142227"/>
                  <a:gd name="connsiteX5" fmla="*/ 71114 w 142227"/>
                  <a:gd name="connsiteY5" fmla="*/ 12329 h 142227"/>
                  <a:gd name="connsiteX6" fmla="*/ 12329 w 142227"/>
                  <a:gd name="connsiteY6" fmla="*/ 71114 h 142227"/>
                  <a:gd name="connsiteX7" fmla="*/ 71114 w 142227"/>
                  <a:gd name="connsiteY7" fmla="*/ 129898 h 142227"/>
                  <a:gd name="connsiteX8" fmla="*/ 129898 w 142227"/>
                  <a:gd name="connsiteY8" fmla="*/ 71114 h 142227"/>
                  <a:gd name="connsiteX9" fmla="*/ 71114 w 142227"/>
                  <a:gd name="connsiteY9" fmla="*/ 12329 h 14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227" h="142227">
                    <a:moveTo>
                      <a:pt x="71114" y="142227"/>
                    </a:moveTo>
                    <a:cubicBezTo>
                      <a:pt x="31903" y="142227"/>
                      <a:pt x="0" y="110324"/>
                      <a:pt x="0" y="71114"/>
                    </a:cubicBezTo>
                    <a:cubicBezTo>
                      <a:pt x="0" y="31891"/>
                      <a:pt x="31903" y="0"/>
                      <a:pt x="71114" y="0"/>
                    </a:cubicBezTo>
                    <a:cubicBezTo>
                      <a:pt x="110324" y="0"/>
                      <a:pt x="142227" y="31903"/>
                      <a:pt x="142227" y="71114"/>
                    </a:cubicBezTo>
                    <a:cubicBezTo>
                      <a:pt x="142227" y="110324"/>
                      <a:pt x="110324" y="142227"/>
                      <a:pt x="71114" y="142227"/>
                    </a:cubicBezTo>
                    <a:close/>
                    <a:moveTo>
                      <a:pt x="71114" y="12329"/>
                    </a:moveTo>
                    <a:cubicBezTo>
                      <a:pt x="38707" y="12329"/>
                      <a:pt x="12329" y="38707"/>
                      <a:pt x="12329" y="71114"/>
                    </a:cubicBezTo>
                    <a:cubicBezTo>
                      <a:pt x="12329" y="103520"/>
                      <a:pt x="38707" y="129898"/>
                      <a:pt x="71114" y="129898"/>
                    </a:cubicBezTo>
                    <a:cubicBezTo>
                      <a:pt x="103521" y="129898"/>
                      <a:pt x="129898" y="103520"/>
                      <a:pt x="129898" y="71114"/>
                    </a:cubicBezTo>
                    <a:cubicBezTo>
                      <a:pt x="129886" y="38694"/>
                      <a:pt x="103521" y="12329"/>
                      <a:pt x="71114" y="12329"/>
                    </a:cubicBezTo>
                    <a:close/>
                  </a:path>
                </a:pathLst>
              </a:custGeom>
              <a:solidFill>
                <a:schemeClr val="accent1"/>
              </a:solidFill>
              <a:ln w="1228" cap="flat">
                <a:noFill/>
                <a:prstDash val="solid"/>
                <a:miter/>
              </a:ln>
            </p:spPr>
            <p:txBody>
              <a:bodyPr rtlCol="0" anchor="ctr"/>
              <a:lstStyle/>
              <a:p>
                <a:endParaRPr lang="en-GB" dirty="0"/>
              </a:p>
            </p:txBody>
          </p:sp>
          <p:sp>
            <p:nvSpPr>
              <p:cNvPr id="110" name="Freihandform: Form 98">
                <a:extLst>
                  <a:ext uri="{FF2B5EF4-FFF2-40B4-BE49-F238E27FC236}">
                    <a16:creationId xmlns:a16="http://schemas.microsoft.com/office/drawing/2014/main" id="{99616666-D9F9-4128-BBDB-6EE82B632C7D}"/>
                  </a:ext>
                </a:extLst>
              </p:cNvPr>
              <p:cNvSpPr/>
              <p:nvPr/>
            </p:nvSpPr>
            <p:spPr>
              <a:xfrm>
                <a:off x="3210134" y="1848026"/>
                <a:ext cx="62812" cy="48420"/>
              </a:xfrm>
              <a:custGeom>
                <a:avLst/>
                <a:gdLst>
                  <a:gd name="connsiteX0" fmla="*/ 23111 w 62812"/>
                  <a:gd name="connsiteY0" fmla="*/ 48420 h 48420"/>
                  <a:gd name="connsiteX1" fmla="*/ 0 w 62812"/>
                  <a:gd name="connsiteY1" fmla="*/ 25309 h 48420"/>
                  <a:gd name="connsiteX2" fmla="*/ 8719 w 62812"/>
                  <a:gd name="connsiteY2" fmla="*/ 16590 h 48420"/>
                  <a:gd name="connsiteX3" fmla="*/ 23111 w 62812"/>
                  <a:gd name="connsiteY3" fmla="*/ 30970 h 48420"/>
                  <a:gd name="connsiteX4" fmla="*/ 54094 w 62812"/>
                  <a:gd name="connsiteY4" fmla="*/ 0 h 48420"/>
                  <a:gd name="connsiteX5" fmla="*/ 62812 w 62812"/>
                  <a:gd name="connsiteY5" fmla="*/ 8719 h 48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812" h="48420">
                    <a:moveTo>
                      <a:pt x="23111" y="48420"/>
                    </a:moveTo>
                    <a:lnTo>
                      <a:pt x="0" y="25309"/>
                    </a:lnTo>
                    <a:lnTo>
                      <a:pt x="8719" y="16590"/>
                    </a:lnTo>
                    <a:lnTo>
                      <a:pt x="23111" y="30970"/>
                    </a:lnTo>
                    <a:lnTo>
                      <a:pt x="54094" y="0"/>
                    </a:lnTo>
                    <a:lnTo>
                      <a:pt x="62812" y="8719"/>
                    </a:lnTo>
                    <a:close/>
                  </a:path>
                </a:pathLst>
              </a:custGeom>
              <a:solidFill>
                <a:schemeClr val="accent1"/>
              </a:solidFill>
              <a:ln w="1228" cap="flat">
                <a:noFill/>
                <a:prstDash val="solid"/>
                <a:miter/>
              </a:ln>
            </p:spPr>
            <p:txBody>
              <a:bodyPr rtlCol="0" anchor="ctr"/>
              <a:lstStyle/>
              <a:p>
                <a:endParaRPr lang="en-GB" dirty="0"/>
              </a:p>
            </p:txBody>
          </p:sp>
        </p:grpSp>
      </p:grpSp>
      <p:grpSp>
        <p:nvGrpSpPr>
          <p:cNvPr id="113" name="Gruppieren 443">
            <a:extLst>
              <a:ext uri="{FF2B5EF4-FFF2-40B4-BE49-F238E27FC236}">
                <a16:creationId xmlns:a16="http://schemas.microsoft.com/office/drawing/2014/main" id="{39AECC77-69FB-4D6C-883A-449AB57E14F6}"/>
              </a:ext>
            </a:extLst>
          </p:cNvPr>
          <p:cNvGrpSpPr>
            <a:grpSpLocks noChangeAspect="1"/>
          </p:cNvGrpSpPr>
          <p:nvPr/>
        </p:nvGrpSpPr>
        <p:grpSpPr>
          <a:xfrm>
            <a:off x="3806388" y="4097454"/>
            <a:ext cx="435280" cy="432000"/>
            <a:chOff x="3867631" y="4230937"/>
            <a:chExt cx="476059" cy="472473"/>
          </a:xfrm>
        </p:grpSpPr>
        <p:grpSp>
          <p:nvGrpSpPr>
            <p:cNvPr id="114" name="Grafik 11">
              <a:extLst>
                <a:ext uri="{FF2B5EF4-FFF2-40B4-BE49-F238E27FC236}">
                  <a16:creationId xmlns:a16="http://schemas.microsoft.com/office/drawing/2014/main" id="{5B18BDEA-C1D7-4605-A815-E935907603F6}"/>
                </a:ext>
              </a:extLst>
            </p:cNvPr>
            <p:cNvGrpSpPr/>
            <p:nvPr/>
          </p:nvGrpSpPr>
          <p:grpSpPr>
            <a:xfrm>
              <a:off x="3867631" y="4230937"/>
              <a:ext cx="418236" cy="207421"/>
              <a:chOff x="3867631" y="4230937"/>
              <a:chExt cx="418236" cy="207421"/>
            </a:xfrm>
            <a:solidFill>
              <a:schemeClr val="accent1"/>
            </a:solidFill>
          </p:grpSpPr>
          <p:grpSp>
            <p:nvGrpSpPr>
              <p:cNvPr id="136" name="Grafik 11">
                <a:extLst>
                  <a:ext uri="{FF2B5EF4-FFF2-40B4-BE49-F238E27FC236}">
                    <a16:creationId xmlns:a16="http://schemas.microsoft.com/office/drawing/2014/main" id="{17AB92CD-760B-481B-9186-6E42FF9F22D6}"/>
                  </a:ext>
                </a:extLst>
              </p:cNvPr>
              <p:cNvGrpSpPr/>
              <p:nvPr/>
            </p:nvGrpSpPr>
            <p:grpSpPr>
              <a:xfrm>
                <a:off x="3914958" y="4280585"/>
                <a:ext cx="370909" cy="157773"/>
                <a:chOff x="3914958" y="4280585"/>
                <a:chExt cx="370909" cy="157773"/>
              </a:xfrm>
              <a:solidFill>
                <a:schemeClr val="accent1"/>
              </a:solidFill>
            </p:grpSpPr>
            <p:sp>
              <p:nvSpPr>
                <p:cNvPr id="138" name="Freihandform: Form 102">
                  <a:extLst>
                    <a:ext uri="{FF2B5EF4-FFF2-40B4-BE49-F238E27FC236}">
                      <a16:creationId xmlns:a16="http://schemas.microsoft.com/office/drawing/2014/main" id="{6BFBFC5B-6725-4717-B786-D129B86872BA}"/>
                    </a:ext>
                  </a:extLst>
                </p:cNvPr>
                <p:cNvSpPr/>
                <p:nvPr/>
              </p:nvSpPr>
              <p:spPr>
                <a:xfrm>
                  <a:off x="3914958" y="4365600"/>
                  <a:ext cx="228875" cy="72759"/>
                </a:xfrm>
                <a:custGeom>
                  <a:avLst/>
                  <a:gdLst>
                    <a:gd name="connsiteX0" fmla="*/ 97368 w 228875"/>
                    <a:gd name="connsiteY0" fmla="*/ 72759 h 72759"/>
                    <a:gd name="connsiteX1" fmla="*/ 46025 w 228875"/>
                    <a:gd name="connsiteY1" fmla="*/ 55260 h 72759"/>
                    <a:gd name="connsiteX2" fmla="*/ 0 w 228875"/>
                    <a:gd name="connsiteY2" fmla="*/ 8670 h 72759"/>
                    <a:gd name="connsiteX3" fmla="*/ 8768 w 228875"/>
                    <a:gd name="connsiteY3" fmla="*/ 0 h 72759"/>
                    <a:gd name="connsiteX4" fmla="*/ 54769 w 228875"/>
                    <a:gd name="connsiteY4" fmla="*/ 46566 h 72759"/>
                    <a:gd name="connsiteX5" fmla="*/ 97368 w 228875"/>
                    <a:gd name="connsiteY5" fmla="*/ 60430 h 72759"/>
                    <a:gd name="connsiteX6" fmla="*/ 104994 w 228875"/>
                    <a:gd name="connsiteY6" fmla="*/ 60258 h 72759"/>
                    <a:gd name="connsiteX7" fmla="*/ 137536 w 228875"/>
                    <a:gd name="connsiteY7" fmla="*/ 51171 h 72759"/>
                    <a:gd name="connsiteX8" fmla="*/ 138850 w 228875"/>
                    <a:gd name="connsiteY8" fmla="*/ 50508 h 72759"/>
                    <a:gd name="connsiteX9" fmla="*/ 202669 w 228875"/>
                    <a:gd name="connsiteY9" fmla="*/ 50508 h 72759"/>
                    <a:gd name="connsiteX10" fmla="*/ 216534 w 228875"/>
                    <a:gd name="connsiteY10" fmla="*/ 36643 h 72759"/>
                    <a:gd name="connsiteX11" fmla="*/ 198642 w 228875"/>
                    <a:gd name="connsiteY11" fmla="*/ 18752 h 72759"/>
                    <a:gd name="connsiteX12" fmla="*/ 144536 w 228875"/>
                    <a:gd name="connsiteY12" fmla="*/ 18752 h 72759"/>
                    <a:gd name="connsiteX13" fmla="*/ 144536 w 228875"/>
                    <a:gd name="connsiteY13" fmla="*/ 6422 h 72759"/>
                    <a:gd name="connsiteX14" fmla="*/ 198642 w 228875"/>
                    <a:gd name="connsiteY14" fmla="*/ 6422 h 72759"/>
                    <a:gd name="connsiteX15" fmla="*/ 228875 w 228875"/>
                    <a:gd name="connsiteY15" fmla="*/ 36643 h 72759"/>
                    <a:gd name="connsiteX16" fmla="*/ 202682 w 228875"/>
                    <a:gd name="connsiteY16" fmla="*/ 62837 h 72759"/>
                    <a:gd name="connsiteX17" fmla="*/ 141773 w 228875"/>
                    <a:gd name="connsiteY17" fmla="*/ 62837 h 72759"/>
                    <a:gd name="connsiteX18" fmla="*/ 105571 w 228875"/>
                    <a:gd name="connsiteY18" fmla="*/ 72562 h 72759"/>
                    <a:gd name="connsiteX19" fmla="*/ 97368 w 228875"/>
                    <a:gd name="connsiteY19" fmla="*/ 72759 h 72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8875" h="72759">
                      <a:moveTo>
                        <a:pt x="97368" y="72759"/>
                      </a:moveTo>
                      <a:cubicBezTo>
                        <a:pt x="82829" y="72759"/>
                        <a:pt x="61695" y="70942"/>
                        <a:pt x="46025" y="55260"/>
                      </a:cubicBezTo>
                      <a:lnTo>
                        <a:pt x="0" y="8670"/>
                      </a:lnTo>
                      <a:lnTo>
                        <a:pt x="8768" y="0"/>
                      </a:lnTo>
                      <a:lnTo>
                        <a:pt x="54769" y="46566"/>
                      </a:lnTo>
                      <a:cubicBezTo>
                        <a:pt x="64212" y="56021"/>
                        <a:pt x="77745" y="60430"/>
                        <a:pt x="97368" y="60430"/>
                      </a:cubicBezTo>
                      <a:cubicBezTo>
                        <a:pt x="99898" y="60430"/>
                        <a:pt x="102452" y="60368"/>
                        <a:pt x="104994" y="60258"/>
                      </a:cubicBezTo>
                      <a:cubicBezTo>
                        <a:pt x="115641" y="59754"/>
                        <a:pt x="126595" y="56697"/>
                        <a:pt x="137536" y="51171"/>
                      </a:cubicBezTo>
                      <a:lnTo>
                        <a:pt x="138850" y="50508"/>
                      </a:lnTo>
                      <a:lnTo>
                        <a:pt x="202669" y="50508"/>
                      </a:lnTo>
                      <a:cubicBezTo>
                        <a:pt x="210320" y="50508"/>
                        <a:pt x="216534" y="44294"/>
                        <a:pt x="216534" y="36643"/>
                      </a:cubicBezTo>
                      <a:cubicBezTo>
                        <a:pt x="216534" y="33659"/>
                        <a:pt x="215662" y="18752"/>
                        <a:pt x="198642" y="18752"/>
                      </a:cubicBezTo>
                      <a:lnTo>
                        <a:pt x="144536" y="18752"/>
                      </a:lnTo>
                      <a:lnTo>
                        <a:pt x="144536" y="6422"/>
                      </a:lnTo>
                      <a:lnTo>
                        <a:pt x="198642" y="6422"/>
                      </a:lnTo>
                      <a:cubicBezTo>
                        <a:pt x="219419" y="6422"/>
                        <a:pt x="228875" y="22092"/>
                        <a:pt x="228875" y="36643"/>
                      </a:cubicBezTo>
                      <a:cubicBezTo>
                        <a:pt x="228875" y="51085"/>
                        <a:pt x="217123" y="62837"/>
                        <a:pt x="202682" y="62837"/>
                      </a:cubicBezTo>
                      <a:lnTo>
                        <a:pt x="141773" y="62837"/>
                      </a:lnTo>
                      <a:cubicBezTo>
                        <a:pt x="129702" y="68743"/>
                        <a:pt x="117544" y="71998"/>
                        <a:pt x="105571" y="72562"/>
                      </a:cubicBezTo>
                      <a:cubicBezTo>
                        <a:pt x="102833" y="72698"/>
                        <a:pt x="100094" y="72759"/>
                        <a:pt x="97368" y="72759"/>
                      </a:cubicBezTo>
                      <a:close/>
                    </a:path>
                  </a:pathLst>
                </a:custGeom>
                <a:solidFill>
                  <a:schemeClr val="accent1"/>
                </a:solidFill>
                <a:ln w="1228" cap="flat">
                  <a:noFill/>
                  <a:prstDash val="solid"/>
                  <a:miter/>
                </a:ln>
              </p:spPr>
              <p:txBody>
                <a:bodyPr rtlCol="0" anchor="ctr"/>
                <a:lstStyle/>
                <a:p>
                  <a:endParaRPr lang="en-GB" dirty="0"/>
                </a:p>
              </p:txBody>
            </p:sp>
            <p:sp>
              <p:nvSpPr>
                <p:cNvPr id="139" name="Freihandform: Form 103">
                  <a:extLst>
                    <a:ext uri="{FF2B5EF4-FFF2-40B4-BE49-F238E27FC236}">
                      <a16:creationId xmlns:a16="http://schemas.microsoft.com/office/drawing/2014/main" id="{E3B0E694-B810-4A41-9E8D-EE5FEC83F8CB}"/>
                    </a:ext>
                  </a:extLst>
                </p:cNvPr>
                <p:cNvSpPr/>
                <p:nvPr/>
              </p:nvSpPr>
              <p:spPr>
                <a:xfrm>
                  <a:off x="4002269" y="4280585"/>
                  <a:ext cx="283598" cy="151829"/>
                </a:xfrm>
                <a:custGeom>
                  <a:avLst/>
                  <a:gdLst>
                    <a:gd name="connsiteX0" fmla="*/ 255498 w 283598"/>
                    <a:gd name="connsiteY0" fmla="*/ 151830 h 151829"/>
                    <a:gd name="connsiteX1" fmla="*/ 238601 w 283598"/>
                    <a:gd name="connsiteY1" fmla="*/ 146157 h 151829"/>
                    <a:gd name="connsiteX2" fmla="*/ 152972 w 283598"/>
                    <a:gd name="connsiteY2" fmla="*/ 107843 h 151829"/>
                    <a:gd name="connsiteX3" fmla="*/ 152972 w 283598"/>
                    <a:gd name="connsiteY3" fmla="*/ 107843 h 151829"/>
                    <a:gd name="connsiteX4" fmla="*/ 111330 w 283598"/>
                    <a:gd name="connsiteY4" fmla="*/ 103766 h 151829"/>
                    <a:gd name="connsiteX5" fmla="*/ 111330 w 283598"/>
                    <a:gd name="connsiteY5" fmla="*/ 91437 h 151829"/>
                    <a:gd name="connsiteX6" fmla="*/ 155784 w 283598"/>
                    <a:gd name="connsiteY6" fmla="*/ 95882 h 151829"/>
                    <a:gd name="connsiteX7" fmla="*/ 246018 w 283598"/>
                    <a:gd name="connsiteY7" fmla="*/ 136296 h 151829"/>
                    <a:gd name="connsiteX8" fmla="*/ 267667 w 283598"/>
                    <a:gd name="connsiteY8" fmla="*/ 133741 h 151829"/>
                    <a:gd name="connsiteX9" fmla="*/ 271143 w 283598"/>
                    <a:gd name="connsiteY9" fmla="*/ 121879 h 151829"/>
                    <a:gd name="connsiteX10" fmla="*/ 265003 w 283598"/>
                    <a:gd name="connsiteY10" fmla="*/ 111159 h 151829"/>
                    <a:gd name="connsiteX11" fmla="*/ 263308 w 283598"/>
                    <a:gd name="connsiteY11" fmla="*/ 109759 h 151829"/>
                    <a:gd name="connsiteX12" fmla="*/ 143652 w 283598"/>
                    <a:gd name="connsiteY12" fmla="*/ 47646 h 151829"/>
                    <a:gd name="connsiteX13" fmla="*/ 19648 w 283598"/>
                    <a:gd name="connsiteY13" fmla="*/ 28379 h 151829"/>
                    <a:gd name="connsiteX14" fmla="*/ 0 w 283598"/>
                    <a:gd name="connsiteY14" fmla="*/ 8719 h 151829"/>
                    <a:gd name="connsiteX15" fmla="*/ 8719 w 283598"/>
                    <a:gd name="connsiteY15" fmla="*/ 0 h 151829"/>
                    <a:gd name="connsiteX16" fmla="*/ 25530 w 283598"/>
                    <a:gd name="connsiteY16" fmla="*/ 16824 h 151829"/>
                    <a:gd name="connsiteX17" fmla="*/ 147704 w 283598"/>
                    <a:gd name="connsiteY17" fmla="*/ 35980 h 151829"/>
                    <a:gd name="connsiteX18" fmla="*/ 270983 w 283598"/>
                    <a:gd name="connsiteY18" fmla="*/ 100107 h 151829"/>
                    <a:gd name="connsiteX19" fmla="*/ 272665 w 283598"/>
                    <a:gd name="connsiteY19" fmla="*/ 101506 h 151829"/>
                    <a:gd name="connsiteX20" fmla="*/ 283398 w 283598"/>
                    <a:gd name="connsiteY20" fmla="*/ 120454 h 151829"/>
                    <a:gd name="connsiteX21" fmla="*/ 277184 w 283598"/>
                    <a:gd name="connsiteY21" fmla="*/ 141576 h 151829"/>
                    <a:gd name="connsiteX22" fmla="*/ 255498 w 283598"/>
                    <a:gd name="connsiteY22" fmla="*/ 151830 h 15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3598" h="151829">
                      <a:moveTo>
                        <a:pt x="255498" y="151830"/>
                      </a:moveTo>
                      <a:cubicBezTo>
                        <a:pt x="249616" y="151830"/>
                        <a:pt x="243672" y="149976"/>
                        <a:pt x="238601" y="146157"/>
                      </a:cubicBezTo>
                      <a:cubicBezTo>
                        <a:pt x="213795" y="127565"/>
                        <a:pt x="154053" y="108199"/>
                        <a:pt x="152972" y="107843"/>
                      </a:cubicBezTo>
                      <a:lnTo>
                        <a:pt x="152972" y="107843"/>
                      </a:lnTo>
                      <a:cubicBezTo>
                        <a:pt x="152456" y="107843"/>
                        <a:pt x="125096" y="103766"/>
                        <a:pt x="111330" y="103766"/>
                      </a:cubicBezTo>
                      <a:lnTo>
                        <a:pt x="111330" y="91437"/>
                      </a:lnTo>
                      <a:cubicBezTo>
                        <a:pt x="126312" y="91437"/>
                        <a:pt x="154581" y="95698"/>
                        <a:pt x="155784" y="95882"/>
                      </a:cubicBezTo>
                      <a:cubicBezTo>
                        <a:pt x="159284" y="96926"/>
                        <a:pt x="219468" y="116402"/>
                        <a:pt x="246018" y="136296"/>
                      </a:cubicBezTo>
                      <a:cubicBezTo>
                        <a:pt x="252808" y="141429"/>
                        <a:pt x="262289" y="140238"/>
                        <a:pt x="267667" y="133741"/>
                      </a:cubicBezTo>
                      <a:cubicBezTo>
                        <a:pt x="270418" y="130389"/>
                        <a:pt x="271658" y="126189"/>
                        <a:pt x="271143" y="121879"/>
                      </a:cubicBezTo>
                      <a:cubicBezTo>
                        <a:pt x="270639" y="117581"/>
                        <a:pt x="268453" y="113774"/>
                        <a:pt x="265003" y="111159"/>
                      </a:cubicBezTo>
                      <a:lnTo>
                        <a:pt x="263308" y="109759"/>
                      </a:lnTo>
                      <a:cubicBezTo>
                        <a:pt x="229317" y="83921"/>
                        <a:pt x="151720" y="51035"/>
                        <a:pt x="143652" y="47646"/>
                      </a:cubicBezTo>
                      <a:lnTo>
                        <a:pt x="19648" y="28379"/>
                      </a:lnTo>
                      <a:lnTo>
                        <a:pt x="0" y="8719"/>
                      </a:lnTo>
                      <a:lnTo>
                        <a:pt x="8719" y="0"/>
                      </a:lnTo>
                      <a:lnTo>
                        <a:pt x="25530" y="16824"/>
                      </a:lnTo>
                      <a:lnTo>
                        <a:pt x="147704" y="35980"/>
                      </a:lnTo>
                      <a:cubicBezTo>
                        <a:pt x="151204" y="37442"/>
                        <a:pt x="233811" y="71850"/>
                        <a:pt x="270983" y="100107"/>
                      </a:cubicBezTo>
                      <a:lnTo>
                        <a:pt x="272665" y="101506"/>
                      </a:lnTo>
                      <a:cubicBezTo>
                        <a:pt x="278609" y="105989"/>
                        <a:pt x="282489" y="112779"/>
                        <a:pt x="283398" y="120454"/>
                      </a:cubicBezTo>
                      <a:cubicBezTo>
                        <a:pt x="284307" y="128117"/>
                        <a:pt x="282096" y="135633"/>
                        <a:pt x="277184" y="141576"/>
                      </a:cubicBezTo>
                      <a:cubicBezTo>
                        <a:pt x="271622" y="148306"/>
                        <a:pt x="263603" y="151830"/>
                        <a:pt x="255498" y="151830"/>
                      </a:cubicBezTo>
                      <a:close/>
                    </a:path>
                  </a:pathLst>
                </a:custGeom>
                <a:solidFill>
                  <a:schemeClr val="accent1"/>
                </a:solidFill>
                <a:ln w="1228" cap="flat">
                  <a:noFill/>
                  <a:prstDash val="solid"/>
                  <a:miter/>
                </a:ln>
              </p:spPr>
              <p:txBody>
                <a:bodyPr rtlCol="0" anchor="ctr"/>
                <a:lstStyle/>
                <a:p>
                  <a:endParaRPr lang="en-GB" dirty="0"/>
                </a:p>
              </p:txBody>
            </p:sp>
          </p:grpSp>
          <p:sp>
            <p:nvSpPr>
              <p:cNvPr id="137" name="Freihandform: Form 104">
                <a:extLst>
                  <a:ext uri="{FF2B5EF4-FFF2-40B4-BE49-F238E27FC236}">
                    <a16:creationId xmlns:a16="http://schemas.microsoft.com/office/drawing/2014/main" id="{01A4B8A8-70AE-48C9-97B8-8F9D52A0C50B}"/>
                  </a:ext>
                </a:extLst>
              </p:cNvPr>
              <p:cNvSpPr/>
              <p:nvPr/>
            </p:nvSpPr>
            <p:spPr>
              <a:xfrm>
                <a:off x="3867631" y="4230937"/>
                <a:ext cx="157638" cy="157663"/>
              </a:xfrm>
              <a:custGeom>
                <a:avLst/>
                <a:gdLst>
                  <a:gd name="connsiteX0" fmla="*/ 35784 w 157638"/>
                  <a:gd name="connsiteY0" fmla="*/ 157663 h 157663"/>
                  <a:gd name="connsiteX1" fmla="*/ 0 w 157638"/>
                  <a:gd name="connsiteY1" fmla="*/ 121867 h 157663"/>
                  <a:gd name="connsiteX2" fmla="*/ 8707 w 157638"/>
                  <a:gd name="connsiteY2" fmla="*/ 113148 h 157663"/>
                  <a:gd name="connsiteX3" fmla="*/ 35784 w 157638"/>
                  <a:gd name="connsiteY3" fmla="*/ 140226 h 157663"/>
                  <a:gd name="connsiteX4" fmla="*/ 140201 w 157638"/>
                  <a:gd name="connsiteY4" fmla="*/ 35796 h 157663"/>
                  <a:gd name="connsiteX5" fmla="*/ 113136 w 157638"/>
                  <a:gd name="connsiteY5" fmla="*/ 8719 h 157663"/>
                  <a:gd name="connsiteX6" fmla="*/ 121855 w 157638"/>
                  <a:gd name="connsiteY6" fmla="*/ 0 h 157663"/>
                  <a:gd name="connsiteX7" fmla="*/ 157639 w 157638"/>
                  <a:gd name="connsiteY7" fmla="*/ 35796 h 157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638" h="157663">
                    <a:moveTo>
                      <a:pt x="35784" y="157663"/>
                    </a:moveTo>
                    <a:lnTo>
                      <a:pt x="0" y="121867"/>
                    </a:lnTo>
                    <a:lnTo>
                      <a:pt x="8707" y="113148"/>
                    </a:lnTo>
                    <a:lnTo>
                      <a:pt x="35784" y="140226"/>
                    </a:lnTo>
                    <a:lnTo>
                      <a:pt x="140201" y="35796"/>
                    </a:lnTo>
                    <a:lnTo>
                      <a:pt x="113136" y="8719"/>
                    </a:lnTo>
                    <a:lnTo>
                      <a:pt x="121855" y="0"/>
                    </a:lnTo>
                    <a:lnTo>
                      <a:pt x="157639" y="35796"/>
                    </a:lnTo>
                    <a:close/>
                  </a:path>
                </a:pathLst>
              </a:custGeom>
              <a:solidFill>
                <a:schemeClr val="accent1"/>
              </a:solidFill>
              <a:ln w="1228" cap="flat">
                <a:noFill/>
                <a:prstDash val="solid"/>
                <a:miter/>
              </a:ln>
            </p:spPr>
            <p:txBody>
              <a:bodyPr rtlCol="0" anchor="ctr"/>
              <a:lstStyle/>
              <a:p>
                <a:endParaRPr lang="en-GB" dirty="0"/>
              </a:p>
            </p:txBody>
          </p:sp>
        </p:grpSp>
        <p:grpSp>
          <p:nvGrpSpPr>
            <p:cNvPr id="115" name="Gruppieren 442">
              <a:extLst>
                <a:ext uri="{FF2B5EF4-FFF2-40B4-BE49-F238E27FC236}">
                  <a16:creationId xmlns:a16="http://schemas.microsoft.com/office/drawing/2014/main" id="{0B3E260A-B803-44F7-B424-B084E68DD7EC}"/>
                </a:ext>
              </a:extLst>
            </p:cNvPr>
            <p:cNvGrpSpPr/>
            <p:nvPr/>
          </p:nvGrpSpPr>
          <p:grpSpPr>
            <a:xfrm>
              <a:off x="3916161" y="4460537"/>
              <a:ext cx="427529" cy="242873"/>
              <a:chOff x="3916161" y="4460537"/>
              <a:chExt cx="427529" cy="242873"/>
            </a:xfrm>
          </p:grpSpPr>
          <p:sp>
            <p:nvSpPr>
              <p:cNvPr id="116" name="Freihandform: Form 108">
                <a:extLst>
                  <a:ext uri="{FF2B5EF4-FFF2-40B4-BE49-F238E27FC236}">
                    <a16:creationId xmlns:a16="http://schemas.microsoft.com/office/drawing/2014/main" id="{A531D8B5-AA8A-40D1-9A29-6861E4497865}"/>
                  </a:ext>
                </a:extLst>
              </p:cNvPr>
              <p:cNvSpPr/>
              <p:nvPr/>
            </p:nvSpPr>
            <p:spPr>
              <a:xfrm>
                <a:off x="3972413" y="4460537"/>
                <a:ext cx="97974" cy="134085"/>
              </a:xfrm>
              <a:custGeom>
                <a:avLst/>
                <a:gdLst>
                  <a:gd name="connsiteX0" fmla="*/ 50584 w 97974"/>
                  <a:gd name="connsiteY0" fmla="*/ 134085 h 134085"/>
                  <a:gd name="connsiteX1" fmla="*/ 50572 w 97974"/>
                  <a:gd name="connsiteY1" fmla="*/ 134085 h 134085"/>
                  <a:gd name="connsiteX2" fmla="*/ 47416 w 97974"/>
                  <a:gd name="connsiteY2" fmla="*/ 134085 h 134085"/>
                  <a:gd name="connsiteX3" fmla="*/ 3785 w 97974"/>
                  <a:gd name="connsiteY3" fmla="*/ 90602 h 134085"/>
                  <a:gd name="connsiteX4" fmla="*/ 1808 w 97974"/>
                  <a:gd name="connsiteY4" fmla="*/ 81244 h 134085"/>
                  <a:gd name="connsiteX5" fmla="*/ 126 w 97974"/>
                  <a:gd name="connsiteY5" fmla="*/ 51686 h 134085"/>
                  <a:gd name="connsiteX6" fmla="*/ 248 w 97974"/>
                  <a:gd name="connsiteY6" fmla="*/ 43360 h 134085"/>
                  <a:gd name="connsiteX7" fmla="*/ 12958 w 97974"/>
                  <a:gd name="connsiteY7" fmla="*/ 12697 h 134085"/>
                  <a:gd name="connsiteX8" fmla="*/ 43621 w 97974"/>
                  <a:gd name="connsiteY8" fmla="*/ 0 h 134085"/>
                  <a:gd name="connsiteX9" fmla="*/ 43646 w 97974"/>
                  <a:gd name="connsiteY9" fmla="*/ 0 h 134085"/>
                  <a:gd name="connsiteX10" fmla="*/ 54489 w 97974"/>
                  <a:gd name="connsiteY10" fmla="*/ 0 h 134085"/>
                  <a:gd name="connsiteX11" fmla="*/ 97850 w 97974"/>
                  <a:gd name="connsiteY11" fmla="*/ 43397 h 134085"/>
                  <a:gd name="connsiteX12" fmla="*/ 97911 w 97974"/>
                  <a:gd name="connsiteY12" fmla="*/ 50692 h 134085"/>
                  <a:gd name="connsiteX13" fmla="*/ 95996 w 97974"/>
                  <a:gd name="connsiteY13" fmla="*/ 81269 h 134085"/>
                  <a:gd name="connsiteX14" fmla="*/ 94019 w 97974"/>
                  <a:gd name="connsiteY14" fmla="*/ 90589 h 134085"/>
                  <a:gd name="connsiteX15" fmla="*/ 50584 w 97974"/>
                  <a:gd name="connsiteY15" fmla="*/ 134085 h 134085"/>
                  <a:gd name="connsiteX16" fmla="*/ 43609 w 97974"/>
                  <a:gd name="connsiteY16" fmla="*/ 12353 h 134085"/>
                  <a:gd name="connsiteX17" fmla="*/ 21665 w 97974"/>
                  <a:gd name="connsiteY17" fmla="*/ 21429 h 134085"/>
                  <a:gd name="connsiteX18" fmla="*/ 12577 w 97974"/>
                  <a:gd name="connsiteY18" fmla="*/ 43373 h 134085"/>
                  <a:gd name="connsiteX19" fmla="*/ 12455 w 97974"/>
                  <a:gd name="connsiteY19" fmla="*/ 51956 h 134085"/>
                  <a:gd name="connsiteX20" fmla="*/ 13879 w 97974"/>
                  <a:gd name="connsiteY20" fmla="*/ 78715 h 134085"/>
                  <a:gd name="connsiteX21" fmla="*/ 15807 w 97974"/>
                  <a:gd name="connsiteY21" fmla="*/ 87876 h 134085"/>
                  <a:gd name="connsiteX22" fmla="*/ 47416 w 97974"/>
                  <a:gd name="connsiteY22" fmla="*/ 121756 h 134085"/>
                  <a:gd name="connsiteX23" fmla="*/ 50572 w 97974"/>
                  <a:gd name="connsiteY23" fmla="*/ 121756 h 134085"/>
                  <a:gd name="connsiteX24" fmla="*/ 50584 w 97974"/>
                  <a:gd name="connsiteY24" fmla="*/ 121756 h 134085"/>
                  <a:gd name="connsiteX25" fmla="*/ 82009 w 97974"/>
                  <a:gd name="connsiteY25" fmla="*/ 87814 h 134085"/>
                  <a:gd name="connsiteX26" fmla="*/ 83924 w 97974"/>
                  <a:gd name="connsiteY26" fmla="*/ 78752 h 134085"/>
                  <a:gd name="connsiteX27" fmla="*/ 85570 w 97974"/>
                  <a:gd name="connsiteY27" fmla="*/ 50888 h 134085"/>
                  <a:gd name="connsiteX28" fmla="*/ 85508 w 97974"/>
                  <a:gd name="connsiteY28" fmla="*/ 43422 h 134085"/>
                  <a:gd name="connsiteX29" fmla="*/ 54477 w 97974"/>
                  <a:gd name="connsiteY29" fmla="*/ 12366 h 134085"/>
                  <a:gd name="connsiteX30" fmla="*/ 43634 w 97974"/>
                  <a:gd name="connsiteY30" fmla="*/ 12366 h 134085"/>
                  <a:gd name="connsiteX31" fmla="*/ 43609 w 97974"/>
                  <a:gd name="connsiteY31" fmla="*/ 12353 h 13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7974" h="134085">
                    <a:moveTo>
                      <a:pt x="50584" y="134085"/>
                    </a:moveTo>
                    <a:lnTo>
                      <a:pt x="50572" y="134085"/>
                    </a:lnTo>
                    <a:lnTo>
                      <a:pt x="47416" y="134085"/>
                    </a:lnTo>
                    <a:cubicBezTo>
                      <a:pt x="14763" y="134073"/>
                      <a:pt x="4215" y="92382"/>
                      <a:pt x="3785" y="90602"/>
                    </a:cubicBezTo>
                    <a:lnTo>
                      <a:pt x="1808" y="81244"/>
                    </a:lnTo>
                    <a:cubicBezTo>
                      <a:pt x="-292" y="71273"/>
                      <a:pt x="-83" y="61314"/>
                      <a:pt x="126" y="51686"/>
                    </a:cubicBezTo>
                    <a:cubicBezTo>
                      <a:pt x="187" y="48911"/>
                      <a:pt x="248" y="46136"/>
                      <a:pt x="248" y="43360"/>
                    </a:cubicBezTo>
                    <a:cubicBezTo>
                      <a:pt x="248" y="31781"/>
                      <a:pt x="4767" y="20888"/>
                      <a:pt x="12958" y="12697"/>
                    </a:cubicBezTo>
                    <a:cubicBezTo>
                      <a:pt x="21161" y="4507"/>
                      <a:pt x="32041" y="0"/>
                      <a:pt x="43621" y="0"/>
                    </a:cubicBezTo>
                    <a:cubicBezTo>
                      <a:pt x="43634" y="0"/>
                      <a:pt x="43646" y="0"/>
                      <a:pt x="43646" y="0"/>
                    </a:cubicBezTo>
                    <a:lnTo>
                      <a:pt x="54489" y="0"/>
                    </a:lnTo>
                    <a:cubicBezTo>
                      <a:pt x="78423" y="12"/>
                      <a:pt x="97862" y="19488"/>
                      <a:pt x="97850" y="43397"/>
                    </a:cubicBezTo>
                    <a:lnTo>
                      <a:pt x="97911" y="50692"/>
                    </a:lnTo>
                    <a:cubicBezTo>
                      <a:pt x="98046" y="60663"/>
                      <a:pt x="98169" y="70966"/>
                      <a:pt x="95996" y="81269"/>
                    </a:cubicBezTo>
                    <a:lnTo>
                      <a:pt x="94019" y="90589"/>
                    </a:lnTo>
                    <a:cubicBezTo>
                      <a:pt x="93589" y="92382"/>
                      <a:pt x="83261" y="134085"/>
                      <a:pt x="50584" y="134085"/>
                    </a:cubicBezTo>
                    <a:close/>
                    <a:moveTo>
                      <a:pt x="43609" y="12353"/>
                    </a:moveTo>
                    <a:cubicBezTo>
                      <a:pt x="35320" y="12353"/>
                      <a:pt x="27534" y="15583"/>
                      <a:pt x="21665" y="21429"/>
                    </a:cubicBezTo>
                    <a:cubicBezTo>
                      <a:pt x="15795" y="27298"/>
                      <a:pt x="12577" y="35084"/>
                      <a:pt x="12577" y="43373"/>
                    </a:cubicBezTo>
                    <a:cubicBezTo>
                      <a:pt x="12577" y="46234"/>
                      <a:pt x="12516" y="49108"/>
                      <a:pt x="12455" y="51956"/>
                    </a:cubicBezTo>
                    <a:cubicBezTo>
                      <a:pt x="12258" y="61289"/>
                      <a:pt x="12074" y="70119"/>
                      <a:pt x="13879" y="78715"/>
                    </a:cubicBezTo>
                    <a:lnTo>
                      <a:pt x="15807" y="87876"/>
                    </a:lnTo>
                    <a:cubicBezTo>
                      <a:pt x="15844" y="88011"/>
                      <a:pt x="24464" y="121744"/>
                      <a:pt x="47416" y="121756"/>
                    </a:cubicBezTo>
                    <a:lnTo>
                      <a:pt x="50572" y="121756"/>
                    </a:lnTo>
                    <a:lnTo>
                      <a:pt x="50584" y="121756"/>
                    </a:lnTo>
                    <a:cubicBezTo>
                      <a:pt x="73179" y="121756"/>
                      <a:pt x="81591" y="89411"/>
                      <a:pt x="82009" y="87814"/>
                    </a:cubicBezTo>
                    <a:lnTo>
                      <a:pt x="83924" y="78752"/>
                    </a:lnTo>
                    <a:cubicBezTo>
                      <a:pt x="85815" y="69787"/>
                      <a:pt x="85693" y="60614"/>
                      <a:pt x="85570" y="50888"/>
                    </a:cubicBezTo>
                    <a:lnTo>
                      <a:pt x="85508" y="43422"/>
                    </a:lnTo>
                    <a:cubicBezTo>
                      <a:pt x="85521" y="26304"/>
                      <a:pt x="71595" y="12378"/>
                      <a:pt x="54477" y="12366"/>
                    </a:cubicBezTo>
                    <a:lnTo>
                      <a:pt x="43634" y="12366"/>
                    </a:lnTo>
                    <a:cubicBezTo>
                      <a:pt x="43621" y="12353"/>
                      <a:pt x="43621" y="12353"/>
                      <a:pt x="43609" y="12353"/>
                    </a:cubicBezTo>
                    <a:close/>
                  </a:path>
                </a:pathLst>
              </a:custGeom>
              <a:solidFill>
                <a:schemeClr val="tx2"/>
              </a:solidFill>
              <a:ln w="1228" cap="flat">
                <a:noFill/>
                <a:prstDash val="solid"/>
                <a:miter/>
              </a:ln>
            </p:spPr>
            <p:txBody>
              <a:bodyPr rtlCol="0" anchor="ctr"/>
              <a:lstStyle/>
              <a:p>
                <a:endParaRPr lang="en-GB" dirty="0"/>
              </a:p>
            </p:txBody>
          </p:sp>
          <p:sp>
            <p:nvSpPr>
              <p:cNvPr id="117" name="Freihandform: Form 109">
                <a:extLst>
                  <a:ext uri="{FF2B5EF4-FFF2-40B4-BE49-F238E27FC236}">
                    <a16:creationId xmlns:a16="http://schemas.microsoft.com/office/drawing/2014/main" id="{155C1701-E040-4683-AB95-2D9B7BB2CD68}"/>
                  </a:ext>
                </a:extLst>
              </p:cNvPr>
              <p:cNvSpPr/>
              <p:nvPr/>
            </p:nvSpPr>
            <p:spPr>
              <a:xfrm>
                <a:off x="4034135" y="4582637"/>
                <a:ext cx="36827" cy="30908"/>
              </a:xfrm>
              <a:custGeom>
                <a:avLst/>
                <a:gdLst>
                  <a:gd name="connsiteX0" fmla="*/ 32738 w 36827"/>
                  <a:gd name="connsiteY0" fmla="*/ 30909 h 30908"/>
                  <a:gd name="connsiteX1" fmla="*/ 19550 w 36827"/>
                  <a:gd name="connsiteY1" fmla="*/ 26549 h 30908"/>
                  <a:gd name="connsiteX2" fmla="*/ 0 w 36827"/>
                  <a:gd name="connsiteY2" fmla="*/ 0 h 30908"/>
                  <a:gd name="connsiteX3" fmla="*/ 12329 w 36827"/>
                  <a:gd name="connsiteY3" fmla="*/ 0 h 30908"/>
                  <a:gd name="connsiteX4" fmla="*/ 23271 w 36827"/>
                  <a:gd name="connsiteY4" fmla="*/ 14785 h 30908"/>
                  <a:gd name="connsiteX5" fmla="*/ 36828 w 36827"/>
                  <a:gd name="connsiteY5" fmla="*/ 19280 h 30908"/>
                  <a:gd name="connsiteX6" fmla="*/ 32738 w 36827"/>
                  <a:gd name="connsiteY6" fmla="*/ 30909 h 30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827" h="30908">
                    <a:moveTo>
                      <a:pt x="32738" y="30909"/>
                    </a:moveTo>
                    <a:cubicBezTo>
                      <a:pt x="28035" y="29263"/>
                      <a:pt x="19550" y="26549"/>
                      <a:pt x="19550" y="26549"/>
                    </a:cubicBezTo>
                    <a:cubicBezTo>
                      <a:pt x="7884" y="22902"/>
                      <a:pt x="0" y="12219"/>
                      <a:pt x="0" y="0"/>
                    </a:cubicBezTo>
                    <a:lnTo>
                      <a:pt x="12329" y="0"/>
                    </a:lnTo>
                    <a:cubicBezTo>
                      <a:pt x="12329" y="6803"/>
                      <a:pt x="16725" y="12759"/>
                      <a:pt x="23271" y="14785"/>
                    </a:cubicBezTo>
                    <a:cubicBezTo>
                      <a:pt x="23307" y="14797"/>
                      <a:pt x="32002" y="17585"/>
                      <a:pt x="36828" y="19280"/>
                    </a:cubicBezTo>
                    <a:lnTo>
                      <a:pt x="32738" y="30909"/>
                    </a:lnTo>
                    <a:close/>
                  </a:path>
                </a:pathLst>
              </a:custGeom>
              <a:solidFill>
                <a:schemeClr val="tx2"/>
              </a:solidFill>
              <a:ln w="1228" cap="flat">
                <a:noFill/>
                <a:prstDash val="solid"/>
                <a:miter/>
              </a:ln>
            </p:spPr>
            <p:txBody>
              <a:bodyPr rtlCol="0" anchor="ctr"/>
              <a:lstStyle/>
              <a:p>
                <a:endParaRPr lang="en-GB" dirty="0"/>
              </a:p>
            </p:txBody>
          </p:sp>
          <p:sp>
            <p:nvSpPr>
              <p:cNvPr id="118" name="Freihandform: Form 110">
                <a:extLst>
                  <a:ext uri="{FF2B5EF4-FFF2-40B4-BE49-F238E27FC236}">
                    <a16:creationId xmlns:a16="http://schemas.microsoft.com/office/drawing/2014/main" id="{09C9440B-96F5-4C0A-8BFF-1504A62CB871}"/>
                  </a:ext>
                </a:extLst>
              </p:cNvPr>
              <p:cNvSpPr/>
              <p:nvPr/>
            </p:nvSpPr>
            <p:spPr>
              <a:xfrm>
                <a:off x="3916161" y="4582612"/>
                <a:ext cx="92530" cy="103495"/>
              </a:xfrm>
              <a:custGeom>
                <a:avLst/>
                <a:gdLst>
                  <a:gd name="connsiteX0" fmla="*/ 12403 w 92530"/>
                  <a:gd name="connsiteY0" fmla="*/ 103496 h 103495"/>
                  <a:gd name="connsiteX1" fmla="*/ 74 w 92530"/>
                  <a:gd name="connsiteY1" fmla="*/ 103496 h 103495"/>
                  <a:gd name="connsiteX2" fmla="*/ 99 w 92530"/>
                  <a:gd name="connsiteY2" fmla="*/ 72538 h 103495"/>
                  <a:gd name="connsiteX3" fmla="*/ 22227 w 92530"/>
                  <a:gd name="connsiteY3" fmla="*/ 34003 h 103495"/>
                  <a:gd name="connsiteX4" fmla="*/ 69260 w 92530"/>
                  <a:gd name="connsiteY4" fmla="*/ 14773 h 103495"/>
                  <a:gd name="connsiteX5" fmla="*/ 80201 w 92530"/>
                  <a:gd name="connsiteY5" fmla="*/ 0 h 103495"/>
                  <a:gd name="connsiteX6" fmla="*/ 92530 w 92530"/>
                  <a:gd name="connsiteY6" fmla="*/ 0 h 103495"/>
                  <a:gd name="connsiteX7" fmla="*/ 72907 w 92530"/>
                  <a:gd name="connsiteY7" fmla="*/ 26549 h 103495"/>
                  <a:gd name="connsiteX8" fmla="*/ 28527 w 92530"/>
                  <a:gd name="connsiteY8" fmla="*/ 44601 h 103495"/>
                  <a:gd name="connsiteX9" fmla="*/ 12379 w 92530"/>
                  <a:gd name="connsiteY9" fmla="*/ 71875 h 103495"/>
                  <a:gd name="connsiteX10" fmla="*/ 12403 w 92530"/>
                  <a:gd name="connsiteY10" fmla="*/ 103496 h 103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530" h="103495">
                    <a:moveTo>
                      <a:pt x="12403" y="103496"/>
                    </a:moveTo>
                    <a:lnTo>
                      <a:pt x="74" y="103496"/>
                    </a:lnTo>
                    <a:lnTo>
                      <a:pt x="99" y="72538"/>
                    </a:lnTo>
                    <a:cubicBezTo>
                      <a:pt x="25" y="72268"/>
                      <a:pt x="-2419" y="48715"/>
                      <a:pt x="22227" y="34003"/>
                    </a:cubicBezTo>
                    <a:cubicBezTo>
                      <a:pt x="35539" y="26070"/>
                      <a:pt x="55150" y="19169"/>
                      <a:pt x="69260" y="14773"/>
                    </a:cubicBezTo>
                    <a:cubicBezTo>
                      <a:pt x="75805" y="12734"/>
                      <a:pt x="80201" y="6803"/>
                      <a:pt x="80201" y="0"/>
                    </a:cubicBezTo>
                    <a:lnTo>
                      <a:pt x="92530" y="0"/>
                    </a:lnTo>
                    <a:cubicBezTo>
                      <a:pt x="92530" y="12231"/>
                      <a:pt x="84647" y="22902"/>
                      <a:pt x="72907" y="26549"/>
                    </a:cubicBezTo>
                    <a:cubicBezTo>
                      <a:pt x="59448" y="30737"/>
                      <a:pt x="40819" y="37270"/>
                      <a:pt x="28527" y="44601"/>
                    </a:cubicBezTo>
                    <a:cubicBezTo>
                      <a:pt x="10917" y="55113"/>
                      <a:pt x="12305" y="71187"/>
                      <a:pt x="12379" y="71875"/>
                    </a:cubicBezTo>
                    <a:lnTo>
                      <a:pt x="12403" y="103496"/>
                    </a:lnTo>
                    <a:close/>
                  </a:path>
                </a:pathLst>
              </a:custGeom>
              <a:solidFill>
                <a:schemeClr val="tx2"/>
              </a:solidFill>
              <a:ln w="1228" cap="flat">
                <a:noFill/>
                <a:prstDash val="solid"/>
                <a:miter/>
              </a:ln>
            </p:spPr>
            <p:txBody>
              <a:bodyPr rtlCol="0" anchor="ctr"/>
              <a:lstStyle/>
              <a:p>
                <a:endParaRPr lang="en-GB" dirty="0"/>
              </a:p>
            </p:txBody>
          </p:sp>
          <p:sp>
            <p:nvSpPr>
              <p:cNvPr id="119" name="Freihandform: Form 111">
                <a:extLst>
                  <a:ext uri="{FF2B5EF4-FFF2-40B4-BE49-F238E27FC236}">
                    <a16:creationId xmlns:a16="http://schemas.microsoft.com/office/drawing/2014/main" id="{2218D5D3-ACD5-43F8-A13B-E9696C27BAFD}"/>
                  </a:ext>
                </a:extLst>
              </p:cNvPr>
              <p:cNvSpPr/>
              <p:nvPr/>
            </p:nvSpPr>
            <p:spPr>
              <a:xfrm>
                <a:off x="3988663" y="4599190"/>
                <a:ext cx="65403" cy="32726"/>
              </a:xfrm>
              <a:custGeom>
                <a:avLst/>
                <a:gdLst>
                  <a:gd name="connsiteX0" fmla="*/ 32690 w 65403"/>
                  <a:gd name="connsiteY0" fmla="*/ 32726 h 32726"/>
                  <a:gd name="connsiteX1" fmla="*/ 0 w 65403"/>
                  <a:gd name="connsiteY1" fmla="*/ 0 h 32726"/>
                  <a:gd name="connsiteX2" fmla="*/ 12329 w 65403"/>
                  <a:gd name="connsiteY2" fmla="*/ 0 h 32726"/>
                  <a:gd name="connsiteX3" fmla="*/ 18285 w 65403"/>
                  <a:gd name="connsiteY3" fmla="*/ 14429 h 32726"/>
                  <a:gd name="connsiteX4" fmla="*/ 32690 w 65403"/>
                  <a:gd name="connsiteY4" fmla="*/ 20397 h 32726"/>
                  <a:gd name="connsiteX5" fmla="*/ 53074 w 65403"/>
                  <a:gd name="connsiteY5" fmla="*/ 37 h 32726"/>
                  <a:gd name="connsiteX6" fmla="*/ 65403 w 65403"/>
                  <a:gd name="connsiteY6" fmla="*/ 37 h 32726"/>
                  <a:gd name="connsiteX7" fmla="*/ 32690 w 65403"/>
                  <a:gd name="connsiteY7" fmla="*/ 32726 h 3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03" h="32726">
                    <a:moveTo>
                      <a:pt x="32690" y="32726"/>
                    </a:moveTo>
                    <a:cubicBezTo>
                      <a:pt x="14650" y="32714"/>
                      <a:pt x="-12" y="18027"/>
                      <a:pt x="0" y="0"/>
                    </a:cubicBezTo>
                    <a:lnTo>
                      <a:pt x="12329" y="0"/>
                    </a:lnTo>
                    <a:cubicBezTo>
                      <a:pt x="12329" y="5452"/>
                      <a:pt x="14441" y="10573"/>
                      <a:pt x="18285" y="14429"/>
                    </a:cubicBezTo>
                    <a:cubicBezTo>
                      <a:pt x="22129" y="18273"/>
                      <a:pt x="27249" y="20397"/>
                      <a:pt x="32690" y="20397"/>
                    </a:cubicBezTo>
                    <a:cubicBezTo>
                      <a:pt x="43938" y="20397"/>
                      <a:pt x="53074" y="11261"/>
                      <a:pt x="53074" y="37"/>
                    </a:cubicBezTo>
                    <a:lnTo>
                      <a:pt x="65403" y="37"/>
                    </a:lnTo>
                    <a:cubicBezTo>
                      <a:pt x="65403" y="18064"/>
                      <a:pt x="50729" y="32726"/>
                      <a:pt x="32690" y="32726"/>
                    </a:cubicBezTo>
                    <a:close/>
                  </a:path>
                </a:pathLst>
              </a:custGeom>
              <a:solidFill>
                <a:schemeClr val="tx2"/>
              </a:solidFill>
              <a:ln w="1228" cap="flat">
                <a:noFill/>
                <a:prstDash val="solid"/>
                <a:miter/>
              </a:ln>
            </p:spPr>
            <p:txBody>
              <a:bodyPr rtlCol="0" anchor="ctr"/>
              <a:lstStyle/>
              <a:p>
                <a:endParaRPr lang="en-GB" dirty="0"/>
              </a:p>
            </p:txBody>
          </p:sp>
          <p:sp>
            <p:nvSpPr>
              <p:cNvPr id="120" name="Freihandform: Form 112">
                <a:extLst>
                  <a:ext uri="{FF2B5EF4-FFF2-40B4-BE49-F238E27FC236}">
                    <a16:creationId xmlns:a16="http://schemas.microsoft.com/office/drawing/2014/main" id="{323BEE37-7A83-4998-AED3-230A929B805D}"/>
                  </a:ext>
                </a:extLst>
              </p:cNvPr>
              <p:cNvSpPr/>
              <p:nvPr/>
            </p:nvSpPr>
            <p:spPr>
              <a:xfrm>
                <a:off x="4220435" y="4599190"/>
                <a:ext cx="65415" cy="32726"/>
              </a:xfrm>
              <a:custGeom>
                <a:avLst/>
                <a:gdLst>
                  <a:gd name="connsiteX0" fmla="*/ 32702 w 65415"/>
                  <a:gd name="connsiteY0" fmla="*/ 32726 h 32726"/>
                  <a:gd name="connsiteX1" fmla="*/ 0 w 65415"/>
                  <a:gd name="connsiteY1" fmla="*/ 0 h 32726"/>
                  <a:gd name="connsiteX2" fmla="*/ 12329 w 65415"/>
                  <a:gd name="connsiteY2" fmla="*/ 0 h 32726"/>
                  <a:gd name="connsiteX3" fmla="*/ 32702 w 65415"/>
                  <a:gd name="connsiteY3" fmla="*/ 20397 h 32726"/>
                  <a:gd name="connsiteX4" fmla="*/ 53086 w 65415"/>
                  <a:gd name="connsiteY4" fmla="*/ 37 h 32726"/>
                  <a:gd name="connsiteX5" fmla="*/ 65416 w 65415"/>
                  <a:gd name="connsiteY5" fmla="*/ 37 h 32726"/>
                  <a:gd name="connsiteX6" fmla="*/ 32702 w 65415"/>
                  <a:gd name="connsiteY6" fmla="*/ 32726 h 32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15" h="32726">
                    <a:moveTo>
                      <a:pt x="32702" y="32726"/>
                    </a:moveTo>
                    <a:cubicBezTo>
                      <a:pt x="14662" y="32714"/>
                      <a:pt x="0" y="18027"/>
                      <a:pt x="0" y="0"/>
                    </a:cubicBezTo>
                    <a:lnTo>
                      <a:pt x="12329" y="0"/>
                    </a:lnTo>
                    <a:cubicBezTo>
                      <a:pt x="12329" y="11236"/>
                      <a:pt x="21465" y="20385"/>
                      <a:pt x="32702" y="20397"/>
                    </a:cubicBezTo>
                    <a:cubicBezTo>
                      <a:pt x="43938" y="20397"/>
                      <a:pt x="53074" y="11261"/>
                      <a:pt x="53086" y="37"/>
                    </a:cubicBezTo>
                    <a:lnTo>
                      <a:pt x="65416" y="37"/>
                    </a:lnTo>
                    <a:cubicBezTo>
                      <a:pt x="65403" y="18064"/>
                      <a:pt x="50729" y="32726"/>
                      <a:pt x="32702" y="32726"/>
                    </a:cubicBezTo>
                    <a:close/>
                  </a:path>
                </a:pathLst>
              </a:custGeom>
              <a:solidFill>
                <a:schemeClr val="tx2"/>
              </a:solidFill>
              <a:ln w="1228" cap="flat">
                <a:noFill/>
                <a:prstDash val="solid"/>
                <a:miter/>
              </a:ln>
            </p:spPr>
            <p:txBody>
              <a:bodyPr rtlCol="0" anchor="ctr"/>
              <a:lstStyle/>
              <a:p>
                <a:endParaRPr lang="en-GB" dirty="0"/>
              </a:p>
            </p:txBody>
          </p:sp>
          <p:grpSp>
            <p:nvGrpSpPr>
              <p:cNvPr id="121" name="Grafik 11">
                <a:extLst>
                  <a:ext uri="{FF2B5EF4-FFF2-40B4-BE49-F238E27FC236}">
                    <a16:creationId xmlns:a16="http://schemas.microsoft.com/office/drawing/2014/main" id="{D0A5E79F-4DC5-4BC1-A83A-4232AA52E682}"/>
                  </a:ext>
                </a:extLst>
              </p:cNvPr>
              <p:cNvGrpSpPr/>
              <p:nvPr/>
            </p:nvGrpSpPr>
            <p:grpSpPr>
              <a:xfrm>
                <a:off x="4194232" y="4460549"/>
                <a:ext cx="117814" cy="132832"/>
                <a:chOff x="4194232" y="4460549"/>
                <a:chExt cx="117814" cy="132832"/>
              </a:xfrm>
              <a:solidFill>
                <a:srgbClr val="4D4E53"/>
              </a:solidFill>
            </p:grpSpPr>
            <p:sp>
              <p:nvSpPr>
                <p:cNvPr id="134" name="Freihandform: Form 114">
                  <a:extLst>
                    <a:ext uri="{FF2B5EF4-FFF2-40B4-BE49-F238E27FC236}">
                      <a16:creationId xmlns:a16="http://schemas.microsoft.com/office/drawing/2014/main" id="{B9B0AE32-3DCD-446C-96E9-37BC9245ACC9}"/>
                    </a:ext>
                  </a:extLst>
                </p:cNvPr>
                <p:cNvSpPr/>
                <p:nvPr/>
              </p:nvSpPr>
              <p:spPr>
                <a:xfrm>
                  <a:off x="4253137" y="4460561"/>
                  <a:ext cx="58909" cy="131924"/>
                </a:xfrm>
                <a:custGeom>
                  <a:avLst/>
                  <a:gdLst>
                    <a:gd name="connsiteX0" fmla="*/ 24093 w 58909"/>
                    <a:gd name="connsiteY0" fmla="*/ 131924 h 131924"/>
                    <a:gd name="connsiteX1" fmla="*/ 8461 w 58909"/>
                    <a:gd name="connsiteY1" fmla="*/ 124753 h 131924"/>
                    <a:gd name="connsiteX2" fmla="*/ 17781 w 58909"/>
                    <a:gd name="connsiteY2" fmla="*/ 116685 h 131924"/>
                    <a:gd name="connsiteX3" fmla="*/ 30184 w 58909"/>
                    <a:gd name="connsiteY3" fmla="*/ 118109 h 131924"/>
                    <a:gd name="connsiteX4" fmla="*/ 46443 w 58909"/>
                    <a:gd name="connsiteY4" fmla="*/ 92690 h 131924"/>
                    <a:gd name="connsiteX5" fmla="*/ 42145 w 58909"/>
                    <a:gd name="connsiteY5" fmla="*/ 62518 h 131924"/>
                    <a:gd name="connsiteX6" fmla="*/ 40954 w 58909"/>
                    <a:gd name="connsiteY6" fmla="*/ 51908 h 131924"/>
                    <a:gd name="connsiteX7" fmla="*/ 40671 w 58909"/>
                    <a:gd name="connsiteY7" fmla="*/ 49010 h 131924"/>
                    <a:gd name="connsiteX8" fmla="*/ 0 w 58909"/>
                    <a:gd name="connsiteY8" fmla="*/ 12329 h 131924"/>
                    <a:gd name="connsiteX9" fmla="*/ 0 w 58909"/>
                    <a:gd name="connsiteY9" fmla="*/ 0 h 131924"/>
                    <a:gd name="connsiteX10" fmla="*/ 52927 w 58909"/>
                    <a:gd name="connsiteY10" fmla="*/ 47769 h 131924"/>
                    <a:gd name="connsiteX11" fmla="*/ 53209 w 58909"/>
                    <a:gd name="connsiteY11" fmla="*/ 50716 h 131924"/>
                    <a:gd name="connsiteX12" fmla="*/ 54339 w 58909"/>
                    <a:gd name="connsiteY12" fmla="*/ 60786 h 131924"/>
                    <a:gd name="connsiteX13" fmla="*/ 58637 w 58909"/>
                    <a:gd name="connsiteY13" fmla="*/ 90958 h 131924"/>
                    <a:gd name="connsiteX14" fmla="*/ 35280 w 58909"/>
                    <a:gd name="connsiteY14" fmla="*/ 129321 h 131924"/>
                    <a:gd name="connsiteX15" fmla="*/ 24093 w 58909"/>
                    <a:gd name="connsiteY15" fmla="*/ 131924 h 131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09" h="131924">
                      <a:moveTo>
                        <a:pt x="24093" y="131924"/>
                      </a:moveTo>
                      <a:cubicBezTo>
                        <a:pt x="18052" y="131924"/>
                        <a:pt x="12575" y="129481"/>
                        <a:pt x="8461" y="124753"/>
                      </a:cubicBezTo>
                      <a:lnTo>
                        <a:pt x="17781" y="116685"/>
                      </a:lnTo>
                      <a:cubicBezTo>
                        <a:pt x="20692" y="120037"/>
                        <a:pt x="24892" y="120516"/>
                        <a:pt x="30184" y="118109"/>
                      </a:cubicBezTo>
                      <a:cubicBezTo>
                        <a:pt x="39026" y="114081"/>
                        <a:pt x="47867" y="102649"/>
                        <a:pt x="46443" y="92690"/>
                      </a:cubicBezTo>
                      <a:lnTo>
                        <a:pt x="42145" y="62518"/>
                      </a:lnTo>
                      <a:cubicBezTo>
                        <a:pt x="41641" y="59006"/>
                        <a:pt x="41298" y="55457"/>
                        <a:pt x="40954" y="51908"/>
                      </a:cubicBezTo>
                      <a:lnTo>
                        <a:pt x="40671" y="49010"/>
                      </a:lnTo>
                      <a:cubicBezTo>
                        <a:pt x="38535" y="28109"/>
                        <a:pt x="21060" y="12329"/>
                        <a:pt x="0" y="12329"/>
                      </a:cubicBezTo>
                      <a:lnTo>
                        <a:pt x="0" y="0"/>
                      </a:lnTo>
                      <a:cubicBezTo>
                        <a:pt x="27409" y="0"/>
                        <a:pt x="50164" y="20545"/>
                        <a:pt x="52927" y="47769"/>
                      </a:cubicBezTo>
                      <a:lnTo>
                        <a:pt x="53209" y="50716"/>
                      </a:lnTo>
                      <a:cubicBezTo>
                        <a:pt x="53553" y="54093"/>
                        <a:pt x="53860" y="57446"/>
                        <a:pt x="54339" y="60786"/>
                      </a:cubicBezTo>
                      <a:lnTo>
                        <a:pt x="58637" y="90958"/>
                      </a:lnTo>
                      <a:cubicBezTo>
                        <a:pt x="60933" y="107033"/>
                        <a:pt x="48309" y="123390"/>
                        <a:pt x="35280" y="129321"/>
                      </a:cubicBezTo>
                      <a:cubicBezTo>
                        <a:pt x="31474" y="131053"/>
                        <a:pt x="27679" y="131924"/>
                        <a:pt x="24093" y="131924"/>
                      </a:cubicBezTo>
                      <a:close/>
                    </a:path>
                  </a:pathLst>
                </a:custGeom>
                <a:solidFill>
                  <a:schemeClr val="tx2"/>
                </a:solidFill>
                <a:ln w="1228" cap="flat">
                  <a:noFill/>
                  <a:prstDash val="solid"/>
                  <a:miter/>
                </a:ln>
              </p:spPr>
              <p:txBody>
                <a:bodyPr rtlCol="0" anchor="ctr"/>
                <a:lstStyle/>
                <a:p>
                  <a:endParaRPr lang="en-GB" dirty="0"/>
                </a:p>
              </p:txBody>
            </p:sp>
            <p:sp>
              <p:nvSpPr>
                <p:cNvPr id="135" name="Freihandform: Form 115">
                  <a:extLst>
                    <a:ext uri="{FF2B5EF4-FFF2-40B4-BE49-F238E27FC236}">
                      <a16:creationId xmlns:a16="http://schemas.microsoft.com/office/drawing/2014/main" id="{44E3A670-3F96-4F76-9AD0-C6E181D756D6}"/>
                    </a:ext>
                  </a:extLst>
                </p:cNvPr>
                <p:cNvSpPr/>
                <p:nvPr/>
              </p:nvSpPr>
              <p:spPr>
                <a:xfrm>
                  <a:off x="4194232" y="4460549"/>
                  <a:ext cx="58917" cy="132832"/>
                </a:xfrm>
                <a:custGeom>
                  <a:avLst/>
                  <a:gdLst>
                    <a:gd name="connsiteX0" fmla="*/ 35205 w 58917"/>
                    <a:gd name="connsiteY0" fmla="*/ 132833 h 132832"/>
                    <a:gd name="connsiteX1" fmla="*/ 26646 w 58917"/>
                    <a:gd name="connsiteY1" fmla="*/ 131199 h 132832"/>
                    <a:gd name="connsiteX2" fmla="*/ 256 w 58917"/>
                    <a:gd name="connsiteY2" fmla="*/ 90958 h 132832"/>
                    <a:gd name="connsiteX3" fmla="*/ 4554 w 58917"/>
                    <a:gd name="connsiteY3" fmla="*/ 60786 h 132832"/>
                    <a:gd name="connsiteX4" fmla="*/ 5684 w 58917"/>
                    <a:gd name="connsiteY4" fmla="*/ 50716 h 132832"/>
                    <a:gd name="connsiteX5" fmla="*/ 5978 w 58917"/>
                    <a:gd name="connsiteY5" fmla="*/ 47781 h 132832"/>
                    <a:gd name="connsiteX6" fmla="*/ 58918 w 58917"/>
                    <a:gd name="connsiteY6" fmla="*/ 0 h 132832"/>
                    <a:gd name="connsiteX7" fmla="*/ 58918 w 58917"/>
                    <a:gd name="connsiteY7" fmla="*/ 12329 h 132832"/>
                    <a:gd name="connsiteX8" fmla="*/ 18234 w 58917"/>
                    <a:gd name="connsiteY8" fmla="*/ 49022 h 132832"/>
                    <a:gd name="connsiteX9" fmla="*/ 17951 w 58917"/>
                    <a:gd name="connsiteY9" fmla="*/ 51907 h 132832"/>
                    <a:gd name="connsiteX10" fmla="*/ 16760 w 58917"/>
                    <a:gd name="connsiteY10" fmla="*/ 62517 h 132832"/>
                    <a:gd name="connsiteX11" fmla="*/ 12462 w 58917"/>
                    <a:gd name="connsiteY11" fmla="*/ 92689 h 132832"/>
                    <a:gd name="connsiteX12" fmla="*/ 30944 w 58917"/>
                    <a:gd name="connsiteY12" fmla="*/ 119656 h 132832"/>
                    <a:gd name="connsiteX13" fmla="*/ 40596 w 58917"/>
                    <a:gd name="connsiteY13" fmla="*/ 117372 h 132832"/>
                    <a:gd name="connsiteX14" fmla="*/ 50948 w 58917"/>
                    <a:gd name="connsiteY14" fmla="*/ 124065 h 132832"/>
                    <a:gd name="connsiteX15" fmla="*/ 35205 w 58917"/>
                    <a:gd name="connsiteY15" fmla="*/ 132833 h 132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917" h="132832">
                      <a:moveTo>
                        <a:pt x="35205" y="132833"/>
                      </a:moveTo>
                      <a:cubicBezTo>
                        <a:pt x="32466" y="132833"/>
                        <a:pt x="29593" y="132293"/>
                        <a:pt x="26646" y="131199"/>
                      </a:cubicBezTo>
                      <a:cubicBezTo>
                        <a:pt x="12241" y="125821"/>
                        <a:pt x="-2102" y="107450"/>
                        <a:pt x="256" y="90958"/>
                      </a:cubicBezTo>
                      <a:lnTo>
                        <a:pt x="4554" y="60786"/>
                      </a:lnTo>
                      <a:cubicBezTo>
                        <a:pt x="5033" y="57446"/>
                        <a:pt x="5352" y="54093"/>
                        <a:pt x="5684" y="50716"/>
                      </a:cubicBezTo>
                      <a:lnTo>
                        <a:pt x="5978" y="47781"/>
                      </a:lnTo>
                      <a:cubicBezTo>
                        <a:pt x="8741" y="20544"/>
                        <a:pt x="31496" y="0"/>
                        <a:pt x="58918" y="0"/>
                      </a:cubicBezTo>
                      <a:lnTo>
                        <a:pt x="58918" y="12329"/>
                      </a:lnTo>
                      <a:cubicBezTo>
                        <a:pt x="37857" y="12329"/>
                        <a:pt x="20370" y="28109"/>
                        <a:pt x="18234" y="49022"/>
                      </a:cubicBezTo>
                      <a:lnTo>
                        <a:pt x="17951" y="51907"/>
                      </a:lnTo>
                      <a:cubicBezTo>
                        <a:pt x="17607" y="55456"/>
                        <a:pt x="17264" y="59005"/>
                        <a:pt x="16760" y="62517"/>
                      </a:cubicBezTo>
                      <a:lnTo>
                        <a:pt x="12462" y="92689"/>
                      </a:lnTo>
                      <a:cubicBezTo>
                        <a:pt x="10989" y="102943"/>
                        <a:pt x="21414" y="116070"/>
                        <a:pt x="30944" y="119656"/>
                      </a:cubicBezTo>
                      <a:cubicBezTo>
                        <a:pt x="37587" y="122125"/>
                        <a:pt x="39773" y="118674"/>
                        <a:pt x="40596" y="117372"/>
                      </a:cubicBezTo>
                      <a:lnTo>
                        <a:pt x="50948" y="124065"/>
                      </a:lnTo>
                      <a:cubicBezTo>
                        <a:pt x="47239" y="129812"/>
                        <a:pt x="41639" y="132833"/>
                        <a:pt x="35205" y="132833"/>
                      </a:cubicBezTo>
                      <a:close/>
                    </a:path>
                  </a:pathLst>
                </a:custGeom>
                <a:solidFill>
                  <a:schemeClr val="tx2"/>
                </a:solidFill>
                <a:ln w="1228" cap="flat">
                  <a:noFill/>
                  <a:prstDash val="solid"/>
                  <a:miter/>
                </a:ln>
              </p:spPr>
              <p:txBody>
                <a:bodyPr rtlCol="0" anchor="ctr"/>
                <a:lstStyle/>
                <a:p>
                  <a:endParaRPr lang="en-GB" dirty="0"/>
                </a:p>
              </p:txBody>
            </p:sp>
          </p:grpSp>
          <p:grpSp>
            <p:nvGrpSpPr>
              <p:cNvPr id="122" name="Grafik 11">
                <a:extLst>
                  <a:ext uri="{FF2B5EF4-FFF2-40B4-BE49-F238E27FC236}">
                    <a16:creationId xmlns:a16="http://schemas.microsoft.com/office/drawing/2014/main" id="{A207FC45-5D5A-4A4C-AE7A-941CD1D1029E}"/>
                  </a:ext>
                </a:extLst>
              </p:cNvPr>
              <p:cNvGrpSpPr/>
              <p:nvPr/>
            </p:nvGrpSpPr>
            <p:grpSpPr>
              <a:xfrm>
                <a:off x="4204312" y="4581261"/>
                <a:ext cx="139378" cy="104846"/>
                <a:chOff x="4204312" y="4581261"/>
                <a:chExt cx="139378" cy="104846"/>
              </a:xfrm>
              <a:solidFill>
                <a:srgbClr val="4D4E53"/>
              </a:solidFill>
            </p:grpSpPr>
            <p:sp>
              <p:nvSpPr>
                <p:cNvPr id="132" name="Freihandform: Form 117">
                  <a:extLst>
                    <a:ext uri="{FF2B5EF4-FFF2-40B4-BE49-F238E27FC236}">
                      <a16:creationId xmlns:a16="http://schemas.microsoft.com/office/drawing/2014/main" id="{1E4EB55D-5336-4C42-B354-7F5EAA60956D}"/>
                    </a:ext>
                  </a:extLst>
                </p:cNvPr>
                <p:cNvSpPr/>
                <p:nvPr/>
              </p:nvSpPr>
              <p:spPr>
                <a:xfrm>
                  <a:off x="4204312" y="4581261"/>
                  <a:ext cx="41862" cy="38669"/>
                </a:xfrm>
                <a:custGeom>
                  <a:avLst/>
                  <a:gdLst>
                    <a:gd name="connsiteX0" fmla="*/ 5906 w 41862"/>
                    <a:gd name="connsiteY0" fmla="*/ 38670 h 38669"/>
                    <a:gd name="connsiteX1" fmla="*/ 0 w 41862"/>
                    <a:gd name="connsiteY1" fmla="*/ 27827 h 38669"/>
                    <a:gd name="connsiteX2" fmla="*/ 20065 w 41862"/>
                    <a:gd name="connsiteY2" fmla="*/ 16897 h 38669"/>
                    <a:gd name="connsiteX3" fmla="*/ 29533 w 41862"/>
                    <a:gd name="connsiteY3" fmla="*/ 0 h 38669"/>
                    <a:gd name="connsiteX4" fmla="*/ 41862 w 41862"/>
                    <a:gd name="connsiteY4" fmla="*/ 0 h 38669"/>
                    <a:gd name="connsiteX5" fmla="*/ 28183 w 41862"/>
                    <a:gd name="connsiteY5" fmla="*/ 26243 h 38669"/>
                    <a:gd name="connsiteX6" fmla="*/ 26782 w 41862"/>
                    <a:gd name="connsiteY6" fmla="*/ 27286 h 38669"/>
                    <a:gd name="connsiteX7" fmla="*/ 5906 w 41862"/>
                    <a:gd name="connsiteY7" fmla="*/ 38670 h 3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862" h="38669">
                      <a:moveTo>
                        <a:pt x="5906" y="38670"/>
                      </a:moveTo>
                      <a:lnTo>
                        <a:pt x="0" y="27827"/>
                      </a:lnTo>
                      <a:lnTo>
                        <a:pt x="20065" y="16897"/>
                      </a:lnTo>
                      <a:cubicBezTo>
                        <a:pt x="23958" y="12808"/>
                        <a:pt x="29533" y="5146"/>
                        <a:pt x="29533" y="0"/>
                      </a:cubicBezTo>
                      <a:lnTo>
                        <a:pt x="41862" y="0"/>
                      </a:lnTo>
                      <a:cubicBezTo>
                        <a:pt x="41862" y="12243"/>
                        <a:pt x="29595" y="24842"/>
                        <a:pt x="28183" y="26243"/>
                      </a:cubicBezTo>
                      <a:lnTo>
                        <a:pt x="26782" y="27286"/>
                      </a:lnTo>
                      <a:lnTo>
                        <a:pt x="5906" y="38670"/>
                      </a:lnTo>
                      <a:close/>
                    </a:path>
                  </a:pathLst>
                </a:custGeom>
                <a:solidFill>
                  <a:schemeClr val="tx2"/>
                </a:solidFill>
                <a:ln w="1228" cap="flat">
                  <a:noFill/>
                  <a:prstDash val="solid"/>
                  <a:miter/>
                </a:ln>
              </p:spPr>
              <p:txBody>
                <a:bodyPr rtlCol="0" anchor="ctr"/>
                <a:lstStyle/>
                <a:p>
                  <a:endParaRPr lang="en-GB" dirty="0"/>
                </a:p>
              </p:txBody>
            </p:sp>
            <p:sp>
              <p:nvSpPr>
                <p:cNvPr id="133" name="Freihandform: Form 118">
                  <a:extLst>
                    <a:ext uri="{FF2B5EF4-FFF2-40B4-BE49-F238E27FC236}">
                      <a16:creationId xmlns:a16="http://schemas.microsoft.com/office/drawing/2014/main" id="{852EBB18-887D-411E-BC07-FC774C1D2BE8}"/>
                    </a:ext>
                  </a:extLst>
                </p:cNvPr>
                <p:cNvSpPr/>
                <p:nvPr/>
              </p:nvSpPr>
              <p:spPr>
                <a:xfrm>
                  <a:off x="4260100" y="4581273"/>
                  <a:ext cx="83590" cy="104834"/>
                </a:xfrm>
                <a:custGeom>
                  <a:avLst/>
                  <a:gdLst>
                    <a:gd name="connsiteX0" fmla="*/ 83590 w 83590"/>
                    <a:gd name="connsiteY0" fmla="*/ 104835 h 104834"/>
                    <a:gd name="connsiteX1" fmla="*/ 71261 w 83590"/>
                    <a:gd name="connsiteY1" fmla="*/ 104835 h 104834"/>
                    <a:gd name="connsiteX2" fmla="*/ 71261 w 83590"/>
                    <a:gd name="connsiteY2" fmla="*/ 67565 h 104834"/>
                    <a:gd name="connsiteX3" fmla="*/ 53492 w 83590"/>
                    <a:gd name="connsiteY3" fmla="*/ 41077 h 104834"/>
                    <a:gd name="connsiteX4" fmla="*/ 16222 w 83590"/>
                    <a:gd name="connsiteY4" fmla="*/ 27741 h 104834"/>
                    <a:gd name="connsiteX5" fmla="*/ 14761 w 83590"/>
                    <a:gd name="connsiteY5" fmla="*/ 27298 h 104834"/>
                    <a:gd name="connsiteX6" fmla="*/ 13680 w 83590"/>
                    <a:gd name="connsiteY6" fmla="*/ 26230 h 104834"/>
                    <a:gd name="connsiteX7" fmla="*/ 0 w 83590"/>
                    <a:gd name="connsiteY7" fmla="*/ 0 h 104834"/>
                    <a:gd name="connsiteX8" fmla="*/ 12329 w 83590"/>
                    <a:gd name="connsiteY8" fmla="*/ 0 h 104834"/>
                    <a:gd name="connsiteX9" fmla="*/ 21367 w 83590"/>
                    <a:gd name="connsiteY9" fmla="*/ 16443 h 104834"/>
                    <a:gd name="connsiteX10" fmla="*/ 58256 w 83590"/>
                    <a:gd name="connsiteY10" fmla="*/ 29718 h 104834"/>
                    <a:gd name="connsiteX11" fmla="*/ 83590 w 83590"/>
                    <a:gd name="connsiteY11" fmla="*/ 67577 h 104834"/>
                    <a:gd name="connsiteX12" fmla="*/ 83590 w 83590"/>
                    <a:gd name="connsiteY12" fmla="*/ 104835 h 104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3590" h="104834">
                      <a:moveTo>
                        <a:pt x="83590" y="104835"/>
                      </a:moveTo>
                      <a:lnTo>
                        <a:pt x="71261" y="104835"/>
                      </a:lnTo>
                      <a:lnTo>
                        <a:pt x="71261" y="67565"/>
                      </a:lnTo>
                      <a:cubicBezTo>
                        <a:pt x="71261" y="56009"/>
                        <a:pt x="64286" y="45596"/>
                        <a:pt x="53492" y="41077"/>
                      </a:cubicBezTo>
                      <a:cubicBezTo>
                        <a:pt x="36951" y="34126"/>
                        <a:pt x="16418" y="27814"/>
                        <a:pt x="16222" y="27741"/>
                      </a:cubicBezTo>
                      <a:lnTo>
                        <a:pt x="14761" y="27298"/>
                      </a:lnTo>
                      <a:lnTo>
                        <a:pt x="13680" y="26230"/>
                      </a:lnTo>
                      <a:cubicBezTo>
                        <a:pt x="12268" y="24830"/>
                        <a:pt x="0" y="12243"/>
                        <a:pt x="0" y="0"/>
                      </a:cubicBezTo>
                      <a:lnTo>
                        <a:pt x="12329" y="0"/>
                      </a:lnTo>
                      <a:cubicBezTo>
                        <a:pt x="12329" y="5133"/>
                        <a:pt x="17892" y="12648"/>
                        <a:pt x="21367" y="16443"/>
                      </a:cubicBezTo>
                      <a:cubicBezTo>
                        <a:pt x="26562" y="18076"/>
                        <a:pt x="43606" y="23578"/>
                        <a:pt x="58256" y="29718"/>
                      </a:cubicBezTo>
                      <a:cubicBezTo>
                        <a:pt x="73643" y="36177"/>
                        <a:pt x="83590" y="51036"/>
                        <a:pt x="83590" y="67577"/>
                      </a:cubicBezTo>
                      <a:lnTo>
                        <a:pt x="83590" y="104835"/>
                      </a:lnTo>
                      <a:close/>
                    </a:path>
                  </a:pathLst>
                </a:custGeom>
                <a:solidFill>
                  <a:schemeClr val="tx2"/>
                </a:solidFill>
                <a:ln w="1228" cap="flat">
                  <a:noFill/>
                  <a:prstDash val="solid"/>
                  <a:miter/>
                </a:ln>
              </p:spPr>
              <p:txBody>
                <a:bodyPr rtlCol="0" anchor="ctr"/>
                <a:lstStyle/>
                <a:p>
                  <a:endParaRPr lang="en-GB" dirty="0"/>
                </a:p>
              </p:txBody>
            </p:sp>
          </p:grpSp>
          <p:sp>
            <p:nvSpPr>
              <p:cNvPr id="123" name="Freihandform: Form 119">
                <a:extLst>
                  <a:ext uri="{FF2B5EF4-FFF2-40B4-BE49-F238E27FC236}">
                    <a16:creationId xmlns:a16="http://schemas.microsoft.com/office/drawing/2014/main" id="{C4A6AB2D-5476-4597-92A0-9469CD843531}"/>
                  </a:ext>
                </a:extLst>
              </p:cNvPr>
              <p:cNvSpPr/>
              <p:nvPr/>
            </p:nvSpPr>
            <p:spPr>
              <a:xfrm>
                <a:off x="4224120" y="4513082"/>
                <a:ext cx="58134" cy="80495"/>
              </a:xfrm>
              <a:custGeom>
                <a:avLst/>
                <a:gdLst>
                  <a:gd name="connsiteX0" fmla="*/ 29030 w 58134"/>
                  <a:gd name="connsiteY0" fmla="*/ 80496 h 80495"/>
                  <a:gd name="connsiteX1" fmla="*/ 0 w 58134"/>
                  <a:gd name="connsiteY1" fmla="*/ 42563 h 80495"/>
                  <a:gd name="connsiteX2" fmla="*/ 0 w 58134"/>
                  <a:gd name="connsiteY2" fmla="*/ 25420 h 80495"/>
                  <a:gd name="connsiteX3" fmla="*/ 25407 w 58134"/>
                  <a:gd name="connsiteY3" fmla="*/ 0 h 80495"/>
                  <a:gd name="connsiteX4" fmla="*/ 32726 w 58134"/>
                  <a:gd name="connsiteY4" fmla="*/ 0 h 80495"/>
                  <a:gd name="connsiteX5" fmla="*/ 50741 w 58134"/>
                  <a:gd name="connsiteY5" fmla="*/ 7491 h 80495"/>
                  <a:gd name="connsiteX6" fmla="*/ 58134 w 58134"/>
                  <a:gd name="connsiteY6" fmla="*/ 25555 h 80495"/>
                  <a:gd name="connsiteX7" fmla="*/ 58048 w 58134"/>
                  <a:gd name="connsiteY7" fmla="*/ 42612 h 80495"/>
                  <a:gd name="connsiteX8" fmla="*/ 29030 w 58134"/>
                  <a:gd name="connsiteY8" fmla="*/ 80496 h 80495"/>
                  <a:gd name="connsiteX9" fmla="*/ 25395 w 58134"/>
                  <a:gd name="connsiteY9" fmla="*/ 12317 h 80495"/>
                  <a:gd name="connsiteX10" fmla="*/ 12317 w 58134"/>
                  <a:gd name="connsiteY10" fmla="*/ 25408 h 80495"/>
                  <a:gd name="connsiteX11" fmla="*/ 12317 w 58134"/>
                  <a:gd name="connsiteY11" fmla="*/ 42550 h 80495"/>
                  <a:gd name="connsiteX12" fmla="*/ 29018 w 58134"/>
                  <a:gd name="connsiteY12" fmla="*/ 68154 h 80495"/>
                  <a:gd name="connsiteX13" fmla="*/ 45706 w 58134"/>
                  <a:gd name="connsiteY13" fmla="*/ 42550 h 80495"/>
                  <a:gd name="connsiteX14" fmla="*/ 45792 w 58134"/>
                  <a:gd name="connsiteY14" fmla="*/ 25456 h 80495"/>
                  <a:gd name="connsiteX15" fmla="*/ 41985 w 58134"/>
                  <a:gd name="connsiteY15" fmla="*/ 16161 h 80495"/>
                  <a:gd name="connsiteX16" fmla="*/ 32714 w 58134"/>
                  <a:gd name="connsiteY16" fmla="*/ 12305 h 80495"/>
                  <a:gd name="connsiteX17" fmla="*/ 25395 w 58134"/>
                  <a:gd name="connsiteY17" fmla="*/ 12305 h 80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8134" h="80495">
                    <a:moveTo>
                      <a:pt x="29030" y="80496"/>
                    </a:moveTo>
                    <a:cubicBezTo>
                      <a:pt x="14368" y="80496"/>
                      <a:pt x="0" y="61707"/>
                      <a:pt x="0" y="42563"/>
                    </a:cubicBezTo>
                    <a:lnTo>
                      <a:pt x="0" y="25420"/>
                    </a:lnTo>
                    <a:cubicBezTo>
                      <a:pt x="0" y="11408"/>
                      <a:pt x="11408" y="0"/>
                      <a:pt x="25407" y="0"/>
                    </a:cubicBezTo>
                    <a:lnTo>
                      <a:pt x="32726" y="0"/>
                    </a:lnTo>
                    <a:cubicBezTo>
                      <a:pt x="39542" y="0"/>
                      <a:pt x="45939" y="2665"/>
                      <a:pt x="50741" y="7491"/>
                    </a:cubicBezTo>
                    <a:cubicBezTo>
                      <a:pt x="55542" y="12329"/>
                      <a:pt x="58171" y="18739"/>
                      <a:pt x="58134" y="25555"/>
                    </a:cubicBezTo>
                    <a:lnTo>
                      <a:pt x="58048" y="42612"/>
                    </a:lnTo>
                    <a:cubicBezTo>
                      <a:pt x="58048" y="61707"/>
                      <a:pt x="43668" y="80496"/>
                      <a:pt x="29030" y="80496"/>
                    </a:cubicBezTo>
                    <a:close/>
                    <a:moveTo>
                      <a:pt x="25395" y="12317"/>
                    </a:moveTo>
                    <a:cubicBezTo>
                      <a:pt x="18187" y="12317"/>
                      <a:pt x="12317" y="18187"/>
                      <a:pt x="12317" y="25408"/>
                    </a:cubicBezTo>
                    <a:lnTo>
                      <a:pt x="12317" y="42550"/>
                    </a:lnTo>
                    <a:cubicBezTo>
                      <a:pt x="12317" y="56439"/>
                      <a:pt x="22571" y="68154"/>
                      <a:pt x="29018" y="68154"/>
                    </a:cubicBezTo>
                    <a:cubicBezTo>
                      <a:pt x="35465" y="68154"/>
                      <a:pt x="45706" y="56439"/>
                      <a:pt x="45706" y="42550"/>
                    </a:cubicBezTo>
                    <a:lnTo>
                      <a:pt x="45792" y="25456"/>
                    </a:lnTo>
                    <a:cubicBezTo>
                      <a:pt x="45817" y="21957"/>
                      <a:pt x="44454" y="18654"/>
                      <a:pt x="41985" y="16161"/>
                    </a:cubicBezTo>
                    <a:cubicBezTo>
                      <a:pt x="39517" y="13680"/>
                      <a:pt x="36214" y="12305"/>
                      <a:pt x="32714" y="12305"/>
                    </a:cubicBezTo>
                    <a:lnTo>
                      <a:pt x="25395" y="12305"/>
                    </a:lnTo>
                    <a:close/>
                  </a:path>
                </a:pathLst>
              </a:custGeom>
              <a:solidFill>
                <a:schemeClr val="tx2"/>
              </a:solidFill>
              <a:ln w="1228" cap="flat">
                <a:noFill/>
                <a:prstDash val="solid"/>
                <a:miter/>
              </a:ln>
            </p:spPr>
            <p:txBody>
              <a:bodyPr rtlCol="0" anchor="ctr"/>
              <a:lstStyle/>
              <a:p>
                <a:endParaRPr lang="en-GB" dirty="0"/>
              </a:p>
            </p:txBody>
          </p:sp>
          <p:sp>
            <p:nvSpPr>
              <p:cNvPr id="124" name="Freihandform: Form 123">
                <a:extLst>
                  <a:ext uri="{FF2B5EF4-FFF2-40B4-BE49-F238E27FC236}">
                    <a16:creationId xmlns:a16="http://schemas.microsoft.com/office/drawing/2014/main" id="{6B7AA050-7A23-4179-A4A7-E7320A86AFDD}"/>
                  </a:ext>
                </a:extLst>
              </p:cNvPr>
              <p:cNvSpPr/>
              <p:nvPr/>
            </p:nvSpPr>
            <p:spPr>
              <a:xfrm>
                <a:off x="4090610" y="4502252"/>
                <a:ext cx="81681" cy="110925"/>
              </a:xfrm>
              <a:custGeom>
                <a:avLst/>
                <a:gdLst>
                  <a:gd name="connsiteX0" fmla="*/ 42146 w 81681"/>
                  <a:gd name="connsiteY0" fmla="*/ 110925 h 110925"/>
                  <a:gd name="connsiteX1" fmla="*/ 39592 w 81681"/>
                  <a:gd name="connsiteY1" fmla="*/ 110925 h 110925"/>
                  <a:gd name="connsiteX2" fmla="*/ 3096 w 81681"/>
                  <a:gd name="connsiteY2" fmla="*/ 74834 h 110925"/>
                  <a:gd name="connsiteX3" fmla="*/ 1500 w 81681"/>
                  <a:gd name="connsiteY3" fmla="*/ 67208 h 110925"/>
                  <a:gd name="connsiteX4" fmla="*/ 87 w 81681"/>
                  <a:gd name="connsiteY4" fmla="*/ 43066 h 110925"/>
                  <a:gd name="connsiteX5" fmla="*/ 185 w 81681"/>
                  <a:gd name="connsiteY5" fmla="*/ 36299 h 110925"/>
                  <a:gd name="connsiteX6" fmla="*/ 36498 w 81681"/>
                  <a:gd name="connsiteY6" fmla="*/ 0 h 110925"/>
                  <a:gd name="connsiteX7" fmla="*/ 45266 w 81681"/>
                  <a:gd name="connsiteY7" fmla="*/ 0 h 110925"/>
                  <a:gd name="connsiteX8" fmla="*/ 81577 w 81681"/>
                  <a:gd name="connsiteY8" fmla="*/ 36299 h 110925"/>
                  <a:gd name="connsiteX9" fmla="*/ 81627 w 81681"/>
                  <a:gd name="connsiteY9" fmla="*/ 42169 h 110925"/>
                  <a:gd name="connsiteX10" fmla="*/ 80067 w 81681"/>
                  <a:gd name="connsiteY10" fmla="*/ 67221 h 110925"/>
                  <a:gd name="connsiteX11" fmla="*/ 78471 w 81681"/>
                  <a:gd name="connsiteY11" fmla="*/ 74810 h 110925"/>
                  <a:gd name="connsiteX12" fmla="*/ 42146 w 81681"/>
                  <a:gd name="connsiteY12" fmla="*/ 110925 h 110925"/>
                  <a:gd name="connsiteX13" fmla="*/ 36485 w 81681"/>
                  <a:gd name="connsiteY13" fmla="*/ 12341 h 110925"/>
                  <a:gd name="connsiteX14" fmla="*/ 12515 w 81681"/>
                  <a:gd name="connsiteY14" fmla="*/ 36312 h 110925"/>
                  <a:gd name="connsiteX15" fmla="*/ 12417 w 81681"/>
                  <a:gd name="connsiteY15" fmla="*/ 43336 h 110925"/>
                  <a:gd name="connsiteX16" fmla="*/ 13559 w 81681"/>
                  <a:gd name="connsiteY16" fmla="*/ 64691 h 110925"/>
                  <a:gd name="connsiteX17" fmla="*/ 15118 w 81681"/>
                  <a:gd name="connsiteY17" fmla="*/ 72120 h 110925"/>
                  <a:gd name="connsiteX18" fmla="*/ 39604 w 81681"/>
                  <a:gd name="connsiteY18" fmla="*/ 98608 h 110925"/>
                  <a:gd name="connsiteX19" fmla="*/ 42159 w 81681"/>
                  <a:gd name="connsiteY19" fmla="*/ 98608 h 110925"/>
                  <a:gd name="connsiteX20" fmla="*/ 66461 w 81681"/>
                  <a:gd name="connsiteY20" fmla="*/ 72010 h 110925"/>
                  <a:gd name="connsiteX21" fmla="*/ 68008 w 81681"/>
                  <a:gd name="connsiteY21" fmla="*/ 64691 h 110925"/>
                  <a:gd name="connsiteX22" fmla="*/ 69297 w 81681"/>
                  <a:gd name="connsiteY22" fmla="*/ 42341 h 110925"/>
                  <a:gd name="connsiteX23" fmla="*/ 69248 w 81681"/>
                  <a:gd name="connsiteY23" fmla="*/ 36324 h 110925"/>
                  <a:gd name="connsiteX24" fmla="*/ 45278 w 81681"/>
                  <a:gd name="connsiteY24" fmla="*/ 12353 h 110925"/>
                  <a:gd name="connsiteX25" fmla="*/ 36485 w 81681"/>
                  <a:gd name="connsiteY25" fmla="*/ 12353 h 110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1681" h="110925">
                    <a:moveTo>
                      <a:pt x="42146" y="110925"/>
                    </a:moveTo>
                    <a:lnTo>
                      <a:pt x="39592" y="110925"/>
                    </a:lnTo>
                    <a:cubicBezTo>
                      <a:pt x="12232" y="110925"/>
                      <a:pt x="3452" y="76308"/>
                      <a:pt x="3096" y="74834"/>
                    </a:cubicBezTo>
                    <a:lnTo>
                      <a:pt x="1500" y="67208"/>
                    </a:lnTo>
                    <a:cubicBezTo>
                      <a:pt x="-232" y="59017"/>
                      <a:pt x="-60" y="50901"/>
                      <a:pt x="87" y="43066"/>
                    </a:cubicBezTo>
                    <a:cubicBezTo>
                      <a:pt x="137" y="40819"/>
                      <a:pt x="185" y="38559"/>
                      <a:pt x="185" y="36299"/>
                    </a:cubicBezTo>
                    <a:cubicBezTo>
                      <a:pt x="185" y="16283"/>
                      <a:pt x="16481" y="0"/>
                      <a:pt x="36498" y="0"/>
                    </a:cubicBezTo>
                    <a:lnTo>
                      <a:pt x="45266" y="0"/>
                    </a:lnTo>
                    <a:cubicBezTo>
                      <a:pt x="65282" y="0"/>
                      <a:pt x="81577" y="16283"/>
                      <a:pt x="81577" y="36299"/>
                    </a:cubicBezTo>
                    <a:lnTo>
                      <a:pt x="81627" y="42169"/>
                    </a:lnTo>
                    <a:cubicBezTo>
                      <a:pt x="81737" y="50311"/>
                      <a:pt x="81860" y="58735"/>
                      <a:pt x="80067" y="67221"/>
                    </a:cubicBezTo>
                    <a:lnTo>
                      <a:pt x="78471" y="74810"/>
                    </a:lnTo>
                    <a:cubicBezTo>
                      <a:pt x="78102" y="76271"/>
                      <a:pt x="69531" y="110925"/>
                      <a:pt x="42146" y="110925"/>
                    </a:cubicBezTo>
                    <a:close/>
                    <a:moveTo>
                      <a:pt x="36485" y="12341"/>
                    </a:moveTo>
                    <a:cubicBezTo>
                      <a:pt x="23260" y="12341"/>
                      <a:pt x="12515" y="23098"/>
                      <a:pt x="12515" y="36312"/>
                    </a:cubicBezTo>
                    <a:cubicBezTo>
                      <a:pt x="12515" y="38645"/>
                      <a:pt x="12465" y="40991"/>
                      <a:pt x="12417" y="43336"/>
                    </a:cubicBezTo>
                    <a:cubicBezTo>
                      <a:pt x="12257" y="50815"/>
                      <a:pt x="12122" y="57888"/>
                      <a:pt x="13559" y="64691"/>
                    </a:cubicBezTo>
                    <a:lnTo>
                      <a:pt x="15118" y="72120"/>
                    </a:lnTo>
                    <a:cubicBezTo>
                      <a:pt x="15143" y="72182"/>
                      <a:pt x="21921" y="98608"/>
                      <a:pt x="39604" y="98608"/>
                    </a:cubicBezTo>
                    <a:lnTo>
                      <a:pt x="42159" y="98608"/>
                    </a:lnTo>
                    <a:cubicBezTo>
                      <a:pt x="59510" y="98608"/>
                      <a:pt x="66117" y="73410"/>
                      <a:pt x="66461" y="72010"/>
                    </a:cubicBezTo>
                    <a:lnTo>
                      <a:pt x="68008" y="64691"/>
                    </a:lnTo>
                    <a:cubicBezTo>
                      <a:pt x="69506" y="57544"/>
                      <a:pt x="69408" y="50164"/>
                      <a:pt x="69297" y="42341"/>
                    </a:cubicBezTo>
                    <a:lnTo>
                      <a:pt x="69248" y="36324"/>
                    </a:lnTo>
                    <a:cubicBezTo>
                      <a:pt x="69248" y="23111"/>
                      <a:pt x="58491" y="12353"/>
                      <a:pt x="45278" y="12353"/>
                    </a:cubicBezTo>
                    <a:lnTo>
                      <a:pt x="36485" y="12353"/>
                    </a:lnTo>
                    <a:close/>
                  </a:path>
                </a:pathLst>
              </a:custGeom>
              <a:solidFill>
                <a:schemeClr val="tx2"/>
              </a:solidFill>
              <a:ln w="1228" cap="flat">
                <a:noFill/>
                <a:prstDash val="solid"/>
                <a:miter/>
              </a:ln>
            </p:spPr>
            <p:txBody>
              <a:bodyPr rtlCol="0" anchor="ctr"/>
              <a:lstStyle/>
              <a:p>
                <a:endParaRPr lang="en-GB" dirty="0"/>
              </a:p>
            </p:txBody>
          </p:sp>
          <p:sp>
            <p:nvSpPr>
              <p:cNvPr id="125" name="Freihandform: Form 124">
                <a:extLst>
                  <a:ext uri="{FF2B5EF4-FFF2-40B4-BE49-F238E27FC236}">
                    <a16:creationId xmlns:a16="http://schemas.microsoft.com/office/drawing/2014/main" id="{26CBD16E-B148-4F97-9D38-070182D3D0A2}"/>
                  </a:ext>
                </a:extLst>
              </p:cNvPr>
              <p:cNvSpPr/>
              <p:nvPr/>
            </p:nvSpPr>
            <p:spPr>
              <a:xfrm>
                <a:off x="4140603" y="4602272"/>
                <a:ext cx="77243" cy="101125"/>
              </a:xfrm>
              <a:custGeom>
                <a:avLst/>
                <a:gdLst>
                  <a:gd name="connsiteX0" fmla="*/ 77192 w 77243"/>
                  <a:gd name="connsiteY0" fmla="*/ 101126 h 101125"/>
                  <a:gd name="connsiteX1" fmla="*/ 64863 w 77243"/>
                  <a:gd name="connsiteY1" fmla="*/ 101126 h 101125"/>
                  <a:gd name="connsiteX2" fmla="*/ 64863 w 77243"/>
                  <a:gd name="connsiteY2" fmla="*/ 58797 h 101125"/>
                  <a:gd name="connsiteX3" fmla="*/ 52399 w 77243"/>
                  <a:gd name="connsiteY3" fmla="*/ 37172 h 101125"/>
                  <a:gd name="connsiteX4" fmla="*/ 16701 w 77243"/>
                  <a:gd name="connsiteY4" fmla="*/ 22632 h 101125"/>
                  <a:gd name="connsiteX5" fmla="*/ 0 w 77243"/>
                  <a:gd name="connsiteY5" fmla="*/ 0 h 101125"/>
                  <a:gd name="connsiteX6" fmla="*/ 12329 w 77243"/>
                  <a:gd name="connsiteY6" fmla="*/ 0 h 101125"/>
                  <a:gd name="connsiteX7" fmla="*/ 20360 w 77243"/>
                  <a:gd name="connsiteY7" fmla="*/ 10856 h 101125"/>
                  <a:gd name="connsiteX8" fmla="*/ 58699 w 77243"/>
                  <a:gd name="connsiteY8" fmla="*/ 26574 h 101125"/>
                  <a:gd name="connsiteX9" fmla="*/ 77143 w 77243"/>
                  <a:gd name="connsiteY9" fmla="*/ 59521 h 101125"/>
                  <a:gd name="connsiteX10" fmla="*/ 77192 w 77243"/>
                  <a:gd name="connsiteY10" fmla="*/ 101126 h 10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243" h="101125">
                    <a:moveTo>
                      <a:pt x="77192" y="101126"/>
                    </a:moveTo>
                    <a:lnTo>
                      <a:pt x="64863" y="101126"/>
                    </a:lnTo>
                    <a:lnTo>
                      <a:pt x="64863" y="58797"/>
                    </a:lnTo>
                    <a:cubicBezTo>
                      <a:pt x="64949" y="57618"/>
                      <a:pt x="65968" y="45264"/>
                      <a:pt x="52399" y="37172"/>
                    </a:cubicBezTo>
                    <a:cubicBezTo>
                      <a:pt x="42538" y="31277"/>
                      <a:pt x="27544" y="26021"/>
                      <a:pt x="16701" y="22632"/>
                    </a:cubicBezTo>
                    <a:cubicBezTo>
                      <a:pt x="6705" y="19513"/>
                      <a:pt x="0" y="10426"/>
                      <a:pt x="0" y="0"/>
                    </a:cubicBezTo>
                    <a:lnTo>
                      <a:pt x="12329" y="0"/>
                    </a:lnTo>
                    <a:cubicBezTo>
                      <a:pt x="12329" y="4998"/>
                      <a:pt x="15559" y="9357"/>
                      <a:pt x="20360" y="10856"/>
                    </a:cubicBezTo>
                    <a:cubicBezTo>
                      <a:pt x="31842" y="14429"/>
                      <a:pt x="47806" y="20066"/>
                      <a:pt x="58699" y="26574"/>
                    </a:cubicBezTo>
                    <a:cubicBezTo>
                      <a:pt x="79304" y="38878"/>
                      <a:pt x="77241" y="58686"/>
                      <a:pt x="77143" y="59521"/>
                    </a:cubicBezTo>
                    <a:lnTo>
                      <a:pt x="77192" y="101126"/>
                    </a:lnTo>
                    <a:close/>
                  </a:path>
                </a:pathLst>
              </a:custGeom>
              <a:solidFill>
                <a:schemeClr val="tx2"/>
              </a:solidFill>
              <a:ln w="1228" cap="flat">
                <a:noFill/>
                <a:prstDash val="solid"/>
                <a:miter/>
              </a:ln>
            </p:spPr>
            <p:txBody>
              <a:bodyPr rtlCol="0" anchor="ctr"/>
              <a:lstStyle/>
              <a:p>
                <a:endParaRPr lang="en-GB" dirty="0"/>
              </a:p>
            </p:txBody>
          </p:sp>
          <p:sp>
            <p:nvSpPr>
              <p:cNvPr id="126" name="Freihandform: Form 125">
                <a:extLst>
                  <a:ext uri="{FF2B5EF4-FFF2-40B4-BE49-F238E27FC236}">
                    <a16:creationId xmlns:a16="http://schemas.microsoft.com/office/drawing/2014/main" id="{FDEDDDCE-611C-4548-8022-0BDCA4DA5A51}"/>
                  </a:ext>
                </a:extLst>
              </p:cNvPr>
              <p:cNvSpPr/>
              <p:nvPr/>
            </p:nvSpPr>
            <p:spPr>
              <a:xfrm>
                <a:off x="4045079" y="4602272"/>
                <a:ext cx="77251" cy="101125"/>
              </a:xfrm>
              <a:custGeom>
                <a:avLst/>
                <a:gdLst>
                  <a:gd name="connsiteX0" fmla="*/ 12413 w 77251"/>
                  <a:gd name="connsiteY0" fmla="*/ 101126 h 101125"/>
                  <a:gd name="connsiteX1" fmla="*/ 84 w 77251"/>
                  <a:gd name="connsiteY1" fmla="*/ 101126 h 101125"/>
                  <a:gd name="connsiteX2" fmla="*/ 84 w 77251"/>
                  <a:gd name="connsiteY2" fmla="*/ 58797 h 101125"/>
                  <a:gd name="connsiteX3" fmla="*/ 18565 w 77251"/>
                  <a:gd name="connsiteY3" fmla="*/ 26574 h 101125"/>
                  <a:gd name="connsiteX4" fmla="*/ 56904 w 77251"/>
                  <a:gd name="connsiteY4" fmla="*/ 10856 h 101125"/>
                  <a:gd name="connsiteX5" fmla="*/ 64922 w 77251"/>
                  <a:gd name="connsiteY5" fmla="*/ 0 h 101125"/>
                  <a:gd name="connsiteX6" fmla="*/ 77252 w 77251"/>
                  <a:gd name="connsiteY6" fmla="*/ 0 h 101125"/>
                  <a:gd name="connsiteX7" fmla="*/ 60563 w 77251"/>
                  <a:gd name="connsiteY7" fmla="*/ 22632 h 101125"/>
                  <a:gd name="connsiteX8" fmla="*/ 24865 w 77251"/>
                  <a:gd name="connsiteY8" fmla="*/ 37172 h 101125"/>
                  <a:gd name="connsiteX9" fmla="*/ 12364 w 77251"/>
                  <a:gd name="connsiteY9" fmla="*/ 58072 h 101125"/>
                  <a:gd name="connsiteX10" fmla="*/ 12413 w 77251"/>
                  <a:gd name="connsiteY10" fmla="*/ 101126 h 101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251" h="101125">
                    <a:moveTo>
                      <a:pt x="12413" y="101126"/>
                    </a:moveTo>
                    <a:lnTo>
                      <a:pt x="84" y="101126"/>
                    </a:lnTo>
                    <a:lnTo>
                      <a:pt x="84" y="58797"/>
                    </a:lnTo>
                    <a:cubicBezTo>
                      <a:pt x="22" y="58674"/>
                      <a:pt x="-2040" y="38878"/>
                      <a:pt x="18565" y="26574"/>
                    </a:cubicBezTo>
                    <a:cubicBezTo>
                      <a:pt x="29470" y="20066"/>
                      <a:pt x="45434" y="14441"/>
                      <a:pt x="56904" y="10856"/>
                    </a:cubicBezTo>
                    <a:cubicBezTo>
                      <a:pt x="61693" y="9357"/>
                      <a:pt x="64922" y="4998"/>
                      <a:pt x="64922" y="0"/>
                    </a:cubicBezTo>
                    <a:lnTo>
                      <a:pt x="77252" y="0"/>
                    </a:lnTo>
                    <a:cubicBezTo>
                      <a:pt x="77252" y="10413"/>
                      <a:pt x="70547" y="19513"/>
                      <a:pt x="60563" y="22632"/>
                    </a:cubicBezTo>
                    <a:cubicBezTo>
                      <a:pt x="49720" y="26021"/>
                      <a:pt x="34726" y="31277"/>
                      <a:pt x="24865" y="37172"/>
                    </a:cubicBezTo>
                    <a:cubicBezTo>
                      <a:pt x="11038" y="45424"/>
                      <a:pt x="12339" y="57962"/>
                      <a:pt x="12364" y="58072"/>
                    </a:cubicBezTo>
                    <a:lnTo>
                      <a:pt x="12413" y="101126"/>
                    </a:lnTo>
                    <a:close/>
                  </a:path>
                </a:pathLst>
              </a:custGeom>
              <a:solidFill>
                <a:schemeClr val="tx2"/>
              </a:solidFill>
              <a:ln w="1228" cap="flat">
                <a:noFill/>
                <a:prstDash val="solid"/>
                <a:miter/>
              </a:ln>
            </p:spPr>
            <p:txBody>
              <a:bodyPr rtlCol="0" anchor="ctr"/>
              <a:lstStyle/>
              <a:p>
                <a:endParaRPr lang="en-GB" dirty="0"/>
              </a:p>
            </p:txBody>
          </p:sp>
          <p:sp>
            <p:nvSpPr>
              <p:cNvPr id="127" name="Freihandform: Form 126">
                <a:extLst>
                  <a:ext uri="{FF2B5EF4-FFF2-40B4-BE49-F238E27FC236}">
                    <a16:creationId xmlns:a16="http://schemas.microsoft.com/office/drawing/2014/main" id="{853E6F96-EAF2-4968-B23A-B1F07589A065}"/>
                  </a:ext>
                </a:extLst>
              </p:cNvPr>
              <p:cNvSpPr/>
              <p:nvPr/>
            </p:nvSpPr>
            <p:spPr>
              <a:xfrm>
                <a:off x="4103763" y="4615719"/>
                <a:ext cx="55321" cy="27666"/>
              </a:xfrm>
              <a:custGeom>
                <a:avLst/>
                <a:gdLst>
                  <a:gd name="connsiteX0" fmla="*/ 27679 w 55321"/>
                  <a:gd name="connsiteY0" fmla="*/ 27667 h 27666"/>
                  <a:gd name="connsiteX1" fmla="*/ 0 w 55321"/>
                  <a:gd name="connsiteY1" fmla="*/ 0 h 27666"/>
                  <a:gd name="connsiteX2" fmla="*/ 12329 w 55321"/>
                  <a:gd name="connsiteY2" fmla="*/ 0 h 27666"/>
                  <a:gd name="connsiteX3" fmla="*/ 27667 w 55321"/>
                  <a:gd name="connsiteY3" fmla="*/ 15325 h 27666"/>
                  <a:gd name="connsiteX4" fmla="*/ 42992 w 55321"/>
                  <a:gd name="connsiteY4" fmla="*/ 0 h 27666"/>
                  <a:gd name="connsiteX5" fmla="*/ 55322 w 55321"/>
                  <a:gd name="connsiteY5" fmla="*/ 0 h 27666"/>
                  <a:gd name="connsiteX6" fmla="*/ 27679 w 55321"/>
                  <a:gd name="connsiteY6" fmla="*/ 27667 h 27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321" h="27666">
                    <a:moveTo>
                      <a:pt x="27679" y="27667"/>
                    </a:moveTo>
                    <a:cubicBezTo>
                      <a:pt x="12415" y="27667"/>
                      <a:pt x="0" y="15264"/>
                      <a:pt x="0" y="0"/>
                    </a:cubicBezTo>
                    <a:lnTo>
                      <a:pt x="12329" y="0"/>
                    </a:lnTo>
                    <a:cubicBezTo>
                      <a:pt x="12329" y="8449"/>
                      <a:pt x="19218" y="15325"/>
                      <a:pt x="27667" y="15325"/>
                    </a:cubicBezTo>
                    <a:cubicBezTo>
                      <a:pt x="36116" y="15325"/>
                      <a:pt x="42992" y="8449"/>
                      <a:pt x="42992" y="0"/>
                    </a:cubicBezTo>
                    <a:lnTo>
                      <a:pt x="55322" y="0"/>
                    </a:lnTo>
                    <a:cubicBezTo>
                      <a:pt x="55346" y="15264"/>
                      <a:pt x="42943" y="27667"/>
                      <a:pt x="27679" y="27667"/>
                    </a:cubicBezTo>
                    <a:close/>
                  </a:path>
                </a:pathLst>
              </a:custGeom>
              <a:solidFill>
                <a:schemeClr val="tx2"/>
              </a:solidFill>
              <a:ln w="1228" cap="flat">
                <a:noFill/>
                <a:prstDash val="solid"/>
                <a:miter/>
              </a:ln>
            </p:spPr>
            <p:txBody>
              <a:bodyPr rtlCol="0" anchor="ctr"/>
              <a:lstStyle/>
              <a:p>
                <a:endParaRPr lang="en-GB" dirty="0"/>
              </a:p>
            </p:txBody>
          </p:sp>
          <p:sp>
            <p:nvSpPr>
              <p:cNvPr id="128" name="Freihandform: Form 127">
                <a:extLst>
                  <a:ext uri="{FF2B5EF4-FFF2-40B4-BE49-F238E27FC236}">
                    <a16:creationId xmlns:a16="http://schemas.microsoft.com/office/drawing/2014/main" id="{C2170FF6-C59C-4C7E-8490-385165A65A85}"/>
                  </a:ext>
                </a:extLst>
              </p:cNvPr>
              <p:cNvSpPr/>
              <p:nvPr/>
            </p:nvSpPr>
            <p:spPr>
              <a:xfrm>
                <a:off x="4082408" y="4665121"/>
                <a:ext cx="12329" cy="38289"/>
              </a:xfrm>
              <a:custGeom>
                <a:avLst/>
                <a:gdLst>
                  <a:gd name="connsiteX0" fmla="*/ 0 w 12329"/>
                  <a:gd name="connsiteY0" fmla="*/ 0 h 38289"/>
                  <a:gd name="connsiteX1" fmla="*/ 12329 w 12329"/>
                  <a:gd name="connsiteY1" fmla="*/ 0 h 38289"/>
                  <a:gd name="connsiteX2" fmla="*/ 12329 w 12329"/>
                  <a:gd name="connsiteY2" fmla="*/ 38289 h 38289"/>
                  <a:gd name="connsiteX3" fmla="*/ 0 w 12329"/>
                  <a:gd name="connsiteY3" fmla="*/ 38289 h 38289"/>
                </a:gdLst>
                <a:ahLst/>
                <a:cxnLst>
                  <a:cxn ang="0">
                    <a:pos x="connsiteX0" y="connsiteY0"/>
                  </a:cxn>
                  <a:cxn ang="0">
                    <a:pos x="connsiteX1" y="connsiteY1"/>
                  </a:cxn>
                  <a:cxn ang="0">
                    <a:pos x="connsiteX2" y="connsiteY2"/>
                  </a:cxn>
                  <a:cxn ang="0">
                    <a:pos x="connsiteX3" y="connsiteY3"/>
                  </a:cxn>
                </a:cxnLst>
                <a:rect l="l" t="t" r="r" b="b"/>
                <a:pathLst>
                  <a:path w="12329" h="38289">
                    <a:moveTo>
                      <a:pt x="0" y="0"/>
                    </a:moveTo>
                    <a:lnTo>
                      <a:pt x="12329" y="0"/>
                    </a:lnTo>
                    <a:lnTo>
                      <a:pt x="12329" y="38289"/>
                    </a:lnTo>
                    <a:lnTo>
                      <a:pt x="0" y="38289"/>
                    </a:lnTo>
                    <a:close/>
                  </a:path>
                </a:pathLst>
              </a:custGeom>
              <a:solidFill>
                <a:schemeClr val="tx2"/>
              </a:solidFill>
              <a:ln w="1228" cap="flat">
                <a:noFill/>
                <a:prstDash val="solid"/>
                <a:miter/>
              </a:ln>
            </p:spPr>
            <p:txBody>
              <a:bodyPr rtlCol="0" anchor="ctr"/>
              <a:lstStyle/>
              <a:p>
                <a:endParaRPr lang="en-GB" dirty="0"/>
              </a:p>
            </p:txBody>
          </p:sp>
          <p:sp>
            <p:nvSpPr>
              <p:cNvPr id="129" name="Freihandform: Form 128">
                <a:extLst>
                  <a:ext uri="{FF2B5EF4-FFF2-40B4-BE49-F238E27FC236}">
                    <a16:creationId xmlns:a16="http://schemas.microsoft.com/office/drawing/2014/main" id="{211D8EA5-6893-41C1-8E02-D57D06BF730D}"/>
                  </a:ext>
                </a:extLst>
              </p:cNvPr>
              <p:cNvSpPr/>
              <p:nvPr/>
            </p:nvSpPr>
            <p:spPr>
              <a:xfrm>
                <a:off x="3963489" y="4647856"/>
                <a:ext cx="12329" cy="38276"/>
              </a:xfrm>
              <a:custGeom>
                <a:avLst/>
                <a:gdLst>
                  <a:gd name="connsiteX0" fmla="*/ 0 w 12329"/>
                  <a:gd name="connsiteY0" fmla="*/ 0 h 38276"/>
                  <a:gd name="connsiteX1" fmla="*/ 12329 w 12329"/>
                  <a:gd name="connsiteY1" fmla="*/ 0 h 38276"/>
                  <a:gd name="connsiteX2" fmla="*/ 12329 w 12329"/>
                  <a:gd name="connsiteY2" fmla="*/ 38277 h 38276"/>
                  <a:gd name="connsiteX3" fmla="*/ 0 w 12329"/>
                  <a:gd name="connsiteY3" fmla="*/ 38277 h 38276"/>
                </a:gdLst>
                <a:ahLst/>
                <a:cxnLst>
                  <a:cxn ang="0">
                    <a:pos x="connsiteX0" y="connsiteY0"/>
                  </a:cxn>
                  <a:cxn ang="0">
                    <a:pos x="connsiteX1" y="connsiteY1"/>
                  </a:cxn>
                  <a:cxn ang="0">
                    <a:pos x="connsiteX2" y="connsiteY2"/>
                  </a:cxn>
                  <a:cxn ang="0">
                    <a:pos x="connsiteX3" y="connsiteY3"/>
                  </a:cxn>
                </a:cxnLst>
                <a:rect l="l" t="t" r="r" b="b"/>
                <a:pathLst>
                  <a:path w="12329" h="38276">
                    <a:moveTo>
                      <a:pt x="0" y="0"/>
                    </a:moveTo>
                    <a:lnTo>
                      <a:pt x="12329" y="0"/>
                    </a:lnTo>
                    <a:lnTo>
                      <a:pt x="12329" y="38277"/>
                    </a:lnTo>
                    <a:lnTo>
                      <a:pt x="0" y="38277"/>
                    </a:lnTo>
                    <a:close/>
                  </a:path>
                </a:pathLst>
              </a:custGeom>
              <a:solidFill>
                <a:schemeClr val="tx2"/>
              </a:solidFill>
              <a:ln w="1228" cap="flat">
                <a:noFill/>
                <a:prstDash val="solid"/>
                <a:miter/>
              </a:ln>
            </p:spPr>
            <p:txBody>
              <a:bodyPr rtlCol="0" anchor="ctr"/>
              <a:lstStyle/>
              <a:p>
                <a:endParaRPr lang="en-GB" dirty="0"/>
              </a:p>
            </p:txBody>
          </p:sp>
          <p:sp>
            <p:nvSpPr>
              <p:cNvPr id="130" name="Freihandform: Form 129">
                <a:extLst>
                  <a:ext uri="{FF2B5EF4-FFF2-40B4-BE49-F238E27FC236}">
                    <a16:creationId xmlns:a16="http://schemas.microsoft.com/office/drawing/2014/main" id="{8C25200E-E22C-4FE6-A3C6-368C636F6A49}"/>
                  </a:ext>
                </a:extLst>
              </p:cNvPr>
              <p:cNvSpPr/>
              <p:nvPr/>
            </p:nvSpPr>
            <p:spPr>
              <a:xfrm>
                <a:off x="4291488" y="4647856"/>
                <a:ext cx="12329" cy="38276"/>
              </a:xfrm>
              <a:custGeom>
                <a:avLst/>
                <a:gdLst>
                  <a:gd name="connsiteX0" fmla="*/ 0 w 12329"/>
                  <a:gd name="connsiteY0" fmla="*/ 0 h 38276"/>
                  <a:gd name="connsiteX1" fmla="*/ 12329 w 12329"/>
                  <a:gd name="connsiteY1" fmla="*/ 0 h 38276"/>
                  <a:gd name="connsiteX2" fmla="*/ 12329 w 12329"/>
                  <a:gd name="connsiteY2" fmla="*/ 38277 h 38276"/>
                  <a:gd name="connsiteX3" fmla="*/ 0 w 12329"/>
                  <a:gd name="connsiteY3" fmla="*/ 38277 h 38276"/>
                </a:gdLst>
                <a:ahLst/>
                <a:cxnLst>
                  <a:cxn ang="0">
                    <a:pos x="connsiteX0" y="connsiteY0"/>
                  </a:cxn>
                  <a:cxn ang="0">
                    <a:pos x="connsiteX1" y="connsiteY1"/>
                  </a:cxn>
                  <a:cxn ang="0">
                    <a:pos x="connsiteX2" y="connsiteY2"/>
                  </a:cxn>
                  <a:cxn ang="0">
                    <a:pos x="connsiteX3" y="connsiteY3"/>
                  </a:cxn>
                </a:cxnLst>
                <a:rect l="l" t="t" r="r" b="b"/>
                <a:pathLst>
                  <a:path w="12329" h="38276">
                    <a:moveTo>
                      <a:pt x="0" y="0"/>
                    </a:moveTo>
                    <a:lnTo>
                      <a:pt x="12329" y="0"/>
                    </a:lnTo>
                    <a:lnTo>
                      <a:pt x="12329" y="38277"/>
                    </a:lnTo>
                    <a:lnTo>
                      <a:pt x="0" y="38277"/>
                    </a:lnTo>
                    <a:close/>
                  </a:path>
                </a:pathLst>
              </a:custGeom>
              <a:solidFill>
                <a:schemeClr val="tx2"/>
              </a:solidFill>
              <a:ln w="1228" cap="flat">
                <a:noFill/>
                <a:prstDash val="solid"/>
                <a:miter/>
              </a:ln>
            </p:spPr>
            <p:txBody>
              <a:bodyPr rtlCol="0" anchor="ctr"/>
              <a:lstStyle/>
              <a:p>
                <a:endParaRPr lang="en-GB" dirty="0"/>
              </a:p>
            </p:txBody>
          </p:sp>
          <p:sp>
            <p:nvSpPr>
              <p:cNvPr id="131" name="Freihandform: Form 130">
                <a:extLst>
                  <a:ext uri="{FF2B5EF4-FFF2-40B4-BE49-F238E27FC236}">
                    <a16:creationId xmlns:a16="http://schemas.microsoft.com/office/drawing/2014/main" id="{1863B528-E65A-4DD7-B15A-25C1FF8F16D6}"/>
                  </a:ext>
                </a:extLst>
              </p:cNvPr>
              <p:cNvSpPr/>
              <p:nvPr/>
            </p:nvSpPr>
            <p:spPr>
              <a:xfrm>
                <a:off x="4168810" y="4665121"/>
                <a:ext cx="12329" cy="38289"/>
              </a:xfrm>
              <a:custGeom>
                <a:avLst/>
                <a:gdLst>
                  <a:gd name="connsiteX0" fmla="*/ 0 w 12329"/>
                  <a:gd name="connsiteY0" fmla="*/ 0 h 38289"/>
                  <a:gd name="connsiteX1" fmla="*/ 12329 w 12329"/>
                  <a:gd name="connsiteY1" fmla="*/ 0 h 38289"/>
                  <a:gd name="connsiteX2" fmla="*/ 12329 w 12329"/>
                  <a:gd name="connsiteY2" fmla="*/ 38289 h 38289"/>
                  <a:gd name="connsiteX3" fmla="*/ 0 w 12329"/>
                  <a:gd name="connsiteY3" fmla="*/ 38289 h 38289"/>
                </a:gdLst>
                <a:ahLst/>
                <a:cxnLst>
                  <a:cxn ang="0">
                    <a:pos x="connsiteX0" y="connsiteY0"/>
                  </a:cxn>
                  <a:cxn ang="0">
                    <a:pos x="connsiteX1" y="connsiteY1"/>
                  </a:cxn>
                  <a:cxn ang="0">
                    <a:pos x="connsiteX2" y="connsiteY2"/>
                  </a:cxn>
                  <a:cxn ang="0">
                    <a:pos x="connsiteX3" y="connsiteY3"/>
                  </a:cxn>
                </a:cxnLst>
                <a:rect l="l" t="t" r="r" b="b"/>
                <a:pathLst>
                  <a:path w="12329" h="38289">
                    <a:moveTo>
                      <a:pt x="0" y="0"/>
                    </a:moveTo>
                    <a:lnTo>
                      <a:pt x="12329" y="0"/>
                    </a:lnTo>
                    <a:lnTo>
                      <a:pt x="12329" y="38289"/>
                    </a:lnTo>
                    <a:lnTo>
                      <a:pt x="0" y="38289"/>
                    </a:lnTo>
                    <a:close/>
                  </a:path>
                </a:pathLst>
              </a:custGeom>
              <a:solidFill>
                <a:schemeClr val="tx2"/>
              </a:solidFill>
              <a:ln w="1228" cap="flat">
                <a:noFill/>
                <a:prstDash val="solid"/>
                <a:miter/>
              </a:ln>
            </p:spPr>
            <p:txBody>
              <a:bodyPr rtlCol="0" anchor="ctr"/>
              <a:lstStyle/>
              <a:p>
                <a:endParaRPr lang="en-GB" dirty="0"/>
              </a:p>
            </p:txBody>
          </p:sp>
        </p:grpSp>
      </p:grpSp>
      <p:grpSp>
        <p:nvGrpSpPr>
          <p:cNvPr id="140" name="Gruppieren 436">
            <a:extLst>
              <a:ext uri="{FF2B5EF4-FFF2-40B4-BE49-F238E27FC236}">
                <a16:creationId xmlns:a16="http://schemas.microsoft.com/office/drawing/2014/main" id="{103B9893-2F78-46B9-96B3-B25A8417217D}"/>
              </a:ext>
            </a:extLst>
          </p:cNvPr>
          <p:cNvGrpSpPr>
            <a:grpSpLocks noChangeAspect="1"/>
          </p:cNvGrpSpPr>
          <p:nvPr/>
        </p:nvGrpSpPr>
        <p:grpSpPr>
          <a:xfrm>
            <a:off x="1169480" y="4143990"/>
            <a:ext cx="720000" cy="385464"/>
            <a:chOff x="1221816" y="4327938"/>
            <a:chExt cx="592821" cy="317376"/>
          </a:xfrm>
        </p:grpSpPr>
        <p:grpSp>
          <p:nvGrpSpPr>
            <p:cNvPr id="141" name="Grafik 11">
              <a:extLst>
                <a:ext uri="{FF2B5EF4-FFF2-40B4-BE49-F238E27FC236}">
                  <a16:creationId xmlns:a16="http://schemas.microsoft.com/office/drawing/2014/main" id="{2C51B94B-203A-4662-8946-CFA0585EA2FA}"/>
                </a:ext>
              </a:extLst>
            </p:cNvPr>
            <p:cNvGrpSpPr/>
            <p:nvPr/>
          </p:nvGrpSpPr>
          <p:grpSpPr>
            <a:xfrm>
              <a:off x="1614163" y="4327938"/>
              <a:ext cx="138015" cy="172962"/>
              <a:chOff x="1614163" y="4327938"/>
              <a:chExt cx="138015" cy="172962"/>
            </a:xfrm>
            <a:solidFill>
              <a:schemeClr val="accent1"/>
            </a:solidFill>
          </p:grpSpPr>
          <p:sp>
            <p:nvSpPr>
              <p:cNvPr id="151" name="Freihandform: Form 133">
                <a:extLst>
                  <a:ext uri="{FF2B5EF4-FFF2-40B4-BE49-F238E27FC236}">
                    <a16:creationId xmlns:a16="http://schemas.microsoft.com/office/drawing/2014/main" id="{820AB17D-D1C5-45FA-B4A1-4E1B1477C65F}"/>
                  </a:ext>
                </a:extLst>
              </p:cNvPr>
              <p:cNvSpPr/>
              <p:nvPr/>
            </p:nvSpPr>
            <p:spPr>
              <a:xfrm>
                <a:off x="1614163" y="4327938"/>
                <a:ext cx="138015" cy="172962"/>
              </a:xfrm>
              <a:custGeom>
                <a:avLst/>
                <a:gdLst>
                  <a:gd name="connsiteX0" fmla="*/ 69014 w 138015"/>
                  <a:gd name="connsiteY0" fmla="*/ 172962 h 172962"/>
                  <a:gd name="connsiteX1" fmla="*/ 65882 w 138015"/>
                  <a:gd name="connsiteY1" fmla="*/ 171120 h 172962"/>
                  <a:gd name="connsiteX2" fmla="*/ 10585 w 138015"/>
                  <a:gd name="connsiteY2" fmla="*/ 127760 h 172962"/>
                  <a:gd name="connsiteX3" fmla="*/ 0 w 138015"/>
                  <a:gd name="connsiteY3" fmla="*/ 98153 h 172962"/>
                  <a:gd name="connsiteX4" fmla="*/ 0 w 138015"/>
                  <a:gd name="connsiteY4" fmla="*/ 14243 h 172962"/>
                  <a:gd name="connsiteX5" fmla="*/ 34765 w 138015"/>
                  <a:gd name="connsiteY5" fmla="*/ 4628 h 172962"/>
                  <a:gd name="connsiteX6" fmla="*/ 103250 w 138015"/>
                  <a:gd name="connsiteY6" fmla="*/ 4628 h 172962"/>
                  <a:gd name="connsiteX7" fmla="*/ 138015 w 138015"/>
                  <a:gd name="connsiteY7" fmla="*/ 14243 h 172962"/>
                  <a:gd name="connsiteX8" fmla="*/ 138015 w 138015"/>
                  <a:gd name="connsiteY8" fmla="*/ 98153 h 172962"/>
                  <a:gd name="connsiteX9" fmla="*/ 127442 w 138015"/>
                  <a:gd name="connsiteY9" fmla="*/ 127760 h 172962"/>
                  <a:gd name="connsiteX10" fmla="*/ 72145 w 138015"/>
                  <a:gd name="connsiteY10" fmla="*/ 171120 h 172962"/>
                  <a:gd name="connsiteX11" fmla="*/ 69014 w 138015"/>
                  <a:gd name="connsiteY11" fmla="*/ 172962 h 172962"/>
                  <a:gd name="connsiteX12" fmla="*/ 12329 w 138015"/>
                  <a:gd name="connsiteY12" fmla="*/ 23613 h 172962"/>
                  <a:gd name="connsiteX13" fmla="*/ 12329 w 138015"/>
                  <a:gd name="connsiteY13" fmla="*/ 98128 h 172962"/>
                  <a:gd name="connsiteX14" fmla="*/ 20004 w 138015"/>
                  <a:gd name="connsiteY14" fmla="*/ 119790 h 172962"/>
                  <a:gd name="connsiteX15" fmla="*/ 69001 w 138015"/>
                  <a:gd name="connsiteY15" fmla="*/ 158619 h 172962"/>
                  <a:gd name="connsiteX16" fmla="*/ 117999 w 138015"/>
                  <a:gd name="connsiteY16" fmla="*/ 119790 h 172962"/>
                  <a:gd name="connsiteX17" fmla="*/ 125674 w 138015"/>
                  <a:gd name="connsiteY17" fmla="*/ 98128 h 172962"/>
                  <a:gd name="connsiteX18" fmla="*/ 125674 w 138015"/>
                  <a:gd name="connsiteY18" fmla="*/ 23613 h 172962"/>
                  <a:gd name="connsiteX19" fmla="*/ 99959 w 138015"/>
                  <a:gd name="connsiteY19" fmla="*/ 16503 h 172962"/>
                  <a:gd name="connsiteX20" fmla="*/ 38031 w 138015"/>
                  <a:gd name="connsiteY20" fmla="*/ 16503 h 172962"/>
                  <a:gd name="connsiteX21" fmla="*/ 12329 w 138015"/>
                  <a:gd name="connsiteY21" fmla="*/ 23613 h 17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015" h="172962">
                    <a:moveTo>
                      <a:pt x="69014" y="172962"/>
                    </a:moveTo>
                    <a:lnTo>
                      <a:pt x="65882" y="171120"/>
                    </a:lnTo>
                    <a:cubicBezTo>
                      <a:pt x="40856" y="156384"/>
                      <a:pt x="22767" y="142189"/>
                      <a:pt x="10585" y="127760"/>
                    </a:cubicBezTo>
                    <a:cubicBezTo>
                      <a:pt x="3758" y="119680"/>
                      <a:pt x="0" y="109156"/>
                      <a:pt x="0" y="98153"/>
                    </a:cubicBezTo>
                    <a:lnTo>
                      <a:pt x="0" y="14243"/>
                    </a:lnTo>
                    <a:lnTo>
                      <a:pt x="34765" y="4628"/>
                    </a:lnTo>
                    <a:cubicBezTo>
                      <a:pt x="57164" y="-1537"/>
                      <a:pt x="80839" y="-1549"/>
                      <a:pt x="103250" y="4628"/>
                    </a:cubicBezTo>
                    <a:lnTo>
                      <a:pt x="138015" y="14243"/>
                    </a:lnTo>
                    <a:lnTo>
                      <a:pt x="138015" y="98153"/>
                    </a:lnTo>
                    <a:cubicBezTo>
                      <a:pt x="138015" y="109156"/>
                      <a:pt x="134257" y="119680"/>
                      <a:pt x="127442" y="127760"/>
                    </a:cubicBezTo>
                    <a:cubicBezTo>
                      <a:pt x="115260" y="142189"/>
                      <a:pt x="97172" y="156372"/>
                      <a:pt x="72145" y="171120"/>
                    </a:cubicBezTo>
                    <a:lnTo>
                      <a:pt x="69014" y="172962"/>
                    </a:lnTo>
                    <a:close/>
                    <a:moveTo>
                      <a:pt x="12329" y="23613"/>
                    </a:moveTo>
                    <a:lnTo>
                      <a:pt x="12329" y="98128"/>
                    </a:lnTo>
                    <a:cubicBezTo>
                      <a:pt x="12329" y="106233"/>
                      <a:pt x="15055" y="113932"/>
                      <a:pt x="20004" y="119790"/>
                    </a:cubicBezTo>
                    <a:cubicBezTo>
                      <a:pt x="30774" y="132549"/>
                      <a:pt x="46824" y="145271"/>
                      <a:pt x="69001" y="158619"/>
                    </a:cubicBezTo>
                    <a:cubicBezTo>
                      <a:pt x="91179" y="145259"/>
                      <a:pt x="107229" y="132549"/>
                      <a:pt x="117999" y="119790"/>
                    </a:cubicBezTo>
                    <a:cubicBezTo>
                      <a:pt x="122935" y="113920"/>
                      <a:pt x="125674" y="106233"/>
                      <a:pt x="125674" y="98128"/>
                    </a:cubicBezTo>
                    <a:lnTo>
                      <a:pt x="125674" y="23613"/>
                    </a:lnTo>
                    <a:lnTo>
                      <a:pt x="99959" y="16503"/>
                    </a:lnTo>
                    <a:cubicBezTo>
                      <a:pt x="79710" y="10891"/>
                      <a:pt x="58293" y="10891"/>
                      <a:pt x="38031" y="16503"/>
                    </a:cubicBezTo>
                    <a:lnTo>
                      <a:pt x="12329" y="23613"/>
                    </a:lnTo>
                    <a:close/>
                  </a:path>
                </a:pathLst>
              </a:custGeom>
              <a:solidFill>
                <a:schemeClr val="accent1"/>
              </a:solidFill>
              <a:ln w="1228" cap="flat">
                <a:noFill/>
                <a:prstDash val="solid"/>
                <a:miter/>
              </a:ln>
            </p:spPr>
            <p:txBody>
              <a:bodyPr rtlCol="0" anchor="ctr"/>
              <a:lstStyle/>
              <a:p>
                <a:endParaRPr lang="en-GB" dirty="0"/>
              </a:p>
            </p:txBody>
          </p:sp>
          <p:sp>
            <p:nvSpPr>
              <p:cNvPr id="152" name="Freihandform: Form 134">
                <a:extLst>
                  <a:ext uri="{FF2B5EF4-FFF2-40B4-BE49-F238E27FC236}">
                    <a16:creationId xmlns:a16="http://schemas.microsoft.com/office/drawing/2014/main" id="{3088960E-1154-4B06-A9B8-A1B9C4EF8174}"/>
                  </a:ext>
                </a:extLst>
              </p:cNvPr>
              <p:cNvSpPr/>
              <p:nvPr/>
            </p:nvSpPr>
            <p:spPr>
              <a:xfrm>
                <a:off x="1656418" y="4387348"/>
                <a:ext cx="53516" cy="41555"/>
              </a:xfrm>
              <a:custGeom>
                <a:avLst/>
                <a:gdLst>
                  <a:gd name="connsiteX0" fmla="*/ 20679 w 53516"/>
                  <a:gd name="connsiteY0" fmla="*/ 41556 h 41555"/>
                  <a:gd name="connsiteX1" fmla="*/ 0 w 53516"/>
                  <a:gd name="connsiteY1" fmla="*/ 20864 h 41555"/>
                  <a:gd name="connsiteX2" fmla="*/ 8719 w 53516"/>
                  <a:gd name="connsiteY2" fmla="*/ 12145 h 41555"/>
                  <a:gd name="connsiteX3" fmla="*/ 20679 w 53516"/>
                  <a:gd name="connsiteY3" fmla="*/ 24118 h 41555"/>
                  <a:gd name="connsiteX4" fmla="*/ 44797 w 53516"/>
                  <a:gd name="connsiteY4" fmla="*/ 0 h 41555"/>
                  <a:gd name="connsiteX5" fmla="*/ 53516 w 53516"/>
                  <a:gd name="connsiteY5" fmla="*/ 8719 h 4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16" h="41555">
                    <a:moveTo>
                      <a:pt x="20679" y="41556"/>
                    </a:moveTo>
                    <a:lnTo>
                      <a:pt x="0" y="20864"/>
                    </a:lnTo>
                    <a:lnTo>
                      <a:pt x="8719" y="12145"/>
                    </a:lnTo>
                    <a:lnTo>
                      <a:pt x="20679" y="24118"/>
                    </a:lnTo>
                    <a:lnTo>
                      <a:pt x="44797" y="0"/>
                    </a:lnTo>
                    <a:lnTo>
                      <a:pt x="53516" y="8719"/>
                    </a:lnTo>
                    <a:close/>
                  </a:path>
                </a:pathLst>
              </a:custGeom>
              <a:solidFill>
                <a:schemeClr val="accent1"/>
              </a:solidFill>
              <a:ln w="1228" cap="flat">
                <a:noFill/>
                <a:prstDash val="solid"/>
                <a:miter/>
              </a:ln>
            </p:spPr>
            <p:txBody>
              <a:bodyPr rtlCol="0" anchor="ctr"/>
              <a:lstStyle/>
              <a:p>
                <a:endParaRPr lang="en-GB" dirty="0"/>
              </a:p>
            </p:txBody>
          </p:sp>
        </p:grpSp>
        <p:grpSp>
          <p:nvGrpSpPr>
            <p:cNvPr id="142" name="Gruppieren 435">
              <a:extLst>
                <a:ext uri="{FF2B5EF4-FFF2-40B4-BE49-F238E27FC236}">
                  <a16:creationId xmlns:a16="http://schemas.microsoft.com/office/drawing/2014/main" id="{7BB9AC4C-88DB-40E8-BFA6-3D82F9040737}"/>
                </a:ext>
              </a:extLst>
            </p:cNvPr>
            <p:cNvGrpSpPr/>
            <p:nvPr/>
          </p:nvGrpSpPr>
          <p:grpSpPr>
            <a:xfrm>
              <a:off x="1221816" y="4424535"/>
              <a:ext cx="592821" cy="220779"/>
              <a:chOff x="1221816" y="4424535"/>
              <a:chExt cx="592821" cy="220779"/>
            </a:xfrm>
          </p:grpSpPr>
          <p:grpSp>
            <p:nvGrpSpPr>
              <p:cNvPr id="143" name="Grafik 11">
                <a:extLst>
                  <a:ext uri="{FF2B5EF4-FFF2-40B4-BE49-F238E27FC236}">
                    <a16:creationId xmlns:a16="http://schemas.microsoft.com/office/drawing/2014/main" id="{53923253-51BC-4AD6-B328-FF368CD337D8}"/>
                  </a:ext>
                </a:extLst>
              </p:cNvPr>
              <p:cNvGrpSpPr/>
              <p:nvPr/>
            </p:nvGrpSpPr>
            <p:grpSpPr>
              <a:xfrm>
                <a:off x="1224665" y="4424535"/>
                <a:ext cx="589972" cy="208793"/>
                <a:chOff x="1224665" y="4424535"/>
                <a:chExt cx="589972" cy="208793"/>
              </a:xfrm>
              <a:solidFill>
                <a:srgbClr val="4D4E53"/>
              </a:solidFill>
            </p:grpSpPr>
            <p:sp>
              <p:nvSpPr>
                <p:cNvPr id="149" name="Freihandform: Form 136">
                  <a:extLst>
                    <a:ext uri="{FF2B5EF4-FFF2-40B4-BE49-F238E27FC236}">
                      <a16:creationId xmlns:a16="http://schemas.microsoft.com/office/drawing/2014/main" id="{C46B2FD4-5D09-4B31-BC99-6C54981341B4}"/>
                    </a:ext>
                  </a:extLst>
                </p:cNvPr>
                <p:cNvSpPr/>
                <p:nvPr/>
              </p:nvSpPr>
              <p:spPr>
                <a:xfrm>
                  <a:off x="1224665" y="4424535"/>
                  <a:ext cx="589972" cy="208793"/>
                </a:xfrm>
                <a:custGeom>
                  <a:avLst/>
                  <a:gdLst>
                    <a:gd name="connsiteX0" fmla="*/ 494381 w 589972"/>
                    <a:gd name="connsiteY0" fmla="*/ 208793 h 208793"/>
                    <a:gd name="connsiteX1" fmla="*/ 494197 w 589972"/>
                    <a:gd name="connsiteY1" fmla="*/ 208793 h 208793"/>
                    <a:gd name="connsiteX2" fmla="*/ 453931 w 589972"/>
                    <a:gd name="connsiteY2" fmla="*/ 186419 h 208793"/>
                    <a:gd name="connsiteX3" fmla="*/ 151781 w 589972"/>
                    <a:gd name="connsiteY3" fmla="*/ 186419 h 208793"/>
                    <a:gd name="connsiteX4" fmla="*/ 113111 w 589972"/>
                    <a:gd name="connsiteY4" fmla="*/ 208756 h 208793"/>
                    <a:gd name="connsiteX5" fmla="*/ 78776 w 589972"/>
                    <a:gd name="connsiteY5" fmla="*/ 195703 h 208793"/>
                    <a:gd name="connsiteX6" fmla="*/ 71187 w 589972"/>
                    <a:gd name="connsiteY6" fmla="*/ 186431 h 208793"/>
                    <a:gd name="connsiteX7" fmla="*/ 0 w 589972"/>
                    <a:gd name="connsiteY7" fmla="*/ 186431 h 208793"/>
                    <a:gd name="connsiteX8" fmla="*/ 0 w 589972"/>
                    <a:gd name="connsiteY8" fmla="*/ 130324 h 208793"/>
                    <a:gd name="connsiteX9" fmla="*/ 24671 w 589972"/>
                    <a:gd name="connsiteY9" fmla="*/ 92833 h 208793"/>
                    <a:gd name="connsiteX10" fmla="*/ 163152 w 589972"/>
                    <a:gd name="connsiteY10" fmla="*/ 56312 h 208793"/>
                    <a:gd name="connsiteX11" fmla="*/ 254295 w 589972"/>
                    <a:gd name="connsiteY11" fmla="*/ 7303 h 208793"/>
                    <a:gd name="connsiteX12" fmla="*/ 369162 w 589972"/>
                    <a:gd name="connsiteY12" fmla="*/ 1323 h 208793"/>
                    <a:gd name="connsiteX13" fmla="*/ 368179 w 589972"/>
                    <a:gd name="connsiteY13" fmla="*/ 13603 h 208793"/>
                    <a:gd name="connsiteX14" fmla="*/ 257414 w 589972"/>
                    <a:gd name="connsiteY14" fmla="*/ 19276 h 208793"/>
                    <a:gd name="connsiteX15" fmla="*/ 166357 w 589972"/>
                    <a:gd name="connsiteY15" fmla="*/ 68261 h 208793"/>
                    <a:gd name="connsiteX16" fmla="*/ 29951 w 589972"/>
                    <a:gd name="connsiteY16" fmla="*/ 103996 h 208793"/>
                    <a:gd name="connsiteX17" fmla="*/ 12305 w 589972"/>
                    <a:gd name="connsiteY17" fmla="*/ 130889 h 208793"/>
                    <a:gd name="connsiteX18" fmla="*/ 12329 w 589972"/>
                    <a:gd name="connsiteY18" fmla="*/ 174114 h 208793"/>
                    <a:gd name="connsiteX19" fmla="*/ 65747 w 589972"/>
                    <a:gd name="connsiteY19" fmla="*/ 174114 h 208793"/>
                    <a:gd name="connsiteX20" fmla="*/ 63967 w 589972"/>
                    <a:gd name="connsiteY20" fmla="*/ 162055 h 208793"/>
                    <a:gd name="connsiteX21" fmla="*/ 77241 w 589972"/>
                    <a:gd name="connsiteY21" fmla="*/ 128052 h 208793"/>
                    <a:gd name="connsiteX22" fmla="*/ 109906 w 589972"/>
                    <a:gd name="connsiteY22" fmla="*/ 113599 h 208793"/>
                    <a:gd name="connsiteX23" fmla="*/ 158977 w 589972"/>
                    <a:gd name="connsiteY23" fmla="*/ 160189 h 208793"/>
                    <a:gd name="connsiteX24" fmla="*/ 157233 w 589972"/>
                    <a:gd name="connsiteY24" fmla="*/ 174102 h 208793"/>
                    <a:gd name="connsiteX25" fmla="*/ 448441 w 589972"/>
                    <a:gd name="connsiteY25" fmla="*/ 174078 h 208793"/>
                    <a:gd name="connsiteX26" fmla="*/ 446661 w 589972"/>
                    <a:gd name="connsiteY26" fmla="*/ 160999 h 208793"/>
                    <a:gd name="connsiteX27" fmla="*/ 494356 w 589972"/>
                    <a:gd name="connsiteY27" fmla="*/ 113562 h 208793"/>
                    <a:gd name="connsiteX28" fmla="*/ 494492 w 589972"/>
                    <a:gd name="connsiteY28" fmla="*/ 113562 h 208793"/>
                    <a:gd name="connsiteX29" fmla="*/ 541868 w 589972"/>
                    <a:gd name="connsiteY29" fmla="*/ 161257 h 208793"/>
                    <a:gd name="connsiteX30" fmla="*/ 541868 w 589972"/>
                    <a:gd name="connsiteY30" fmla="*/ 161257 h 208793"/>
                    <a:gd name="connsiteX31" fmla="*/ 540100 w 589972"/>
                    <a:gd name="connsiteY31" fmla="*/ 174102 h 208793"/>
                    <a:gd name="connsiteX32" fmla="*/ 562302 w 589972"/>
                    <a:gd name="connsiteY32" fmla="*/ 174102 h 208793"/>
                    <a:gd name="connsiteX33" fmla="*/ 574545 w 589972"/>
                    <a:gd name="connsiteY33" fmla="*/ 139595 h 208793"/>
                    <a:gd name="connsiteX34" fmla="*/ 562953 w 589972"/>
                    <a:gd name="connsiteY34" fmla="*/ 85367 h 208793"/>
                    <a:gd name="connsiteX35" fmla="*/ 561246 w 589972"/>
                    <a:gd name="connsiteY35" fmla="*/ 83574 h 208793"/>
                    <a:gd name="connsiteX36" fmla="*/ 561246 w 589972"/>
                    <a:gd name="connsiteY36" fmla="*/ 65264 h 208793"/>
                    <a:gd name="connsiteX37" fmla="*/ 520415 w 589972"/>
                    <a:gd name="connsiteY37" fmla="*/ 58940 h 208793"/>
                    <a:gd name="connsiteX38" fmla="*/ 522306 w 589972"/>
                    <a:gd name="connsiteY38" fmla="*/ 46759 h 208793"/>
                    <a:gd name="connsiteX39" fmla="*/ 573587 w 589972"/>
                    <a:gd name="connsiteY39" fmla="*/ 54691 h 208793"/>
                    <a:gd name="connsiteX40" fmla="*/ 573587 w 589972"/>
                    <a:gd name="connsiteY40" fmla="*/ 78699 h 208793"/>
                    <a:gd name="connsiteX41" fmla="*/ 586174 w 589972"/>
                    <a:gd name="connsiteY41" fmla="*/ 143709 h 208793"/>
                    <a:gd name="connsiteX42" fmla="*/ 571021 w 589972"/>
                    <a:gd name="connsiteY42" fmla="*/ 186419 h 208793"/>
                    <a:gd name="connsiteX43" fmla="*/ 534647 w 589972"/>
                    <a:gd name="connsiteY43" fmla="*/ 186419 h 208793"/>
                    <a:gd name="connsiteX44" fmla="*/ 527807 w 589972"/>
                    <a:gd name="connsiteY44" fmla="*/ 194966 h 208793"/>
                    <a:gd name="connsiteX45" fmla="*/ 494381 w 589972"/>
                    <a:gd name="connsiteY45" fmla="*/ 208793 h 208793"/>
                    <a:gd name="connsiteX46" fmla="*/ 494344 w 589972"/>
                    <a:gd name="connsiteY46" fmla="*/ 125879 h 208793"/>
                    <a:gd name="connsiteX47" fmla="*/ 458966 w 589972"/>
                    <a:gd name="connsiteY47" fmla="*/ 161036 h 208793"/>
                    <a:gd name="connsiteX48" fmla="*/ 494234 w 589972"/>
                    <a:gd name="connsiteY48" fmla="*/ 196464 h 208793"/>
                    <a:gd name="connsiteX49" fmla="*/ 494369 w 589972"/>
                    <a:gd name="connsiteY49" fmla="*/ 196464 h 208793"/>
                    <a:gd name="connsiteX50" fmla="*/ 519088 w 589972"/>
                    <a:gd name="connsiteY50" fmla="*/ 186235 h 208793"/>
                    <a:gd name="connsiteX51" fmla="*/ 529514 w 589972"/>
                    <a:gd name="connsiteY51" fmla="*/ 161220 h 208793"/>
                    <a:gd name="connsiteX52" fmla="*/ 535679 w 589972"/>
                    <a:gd name="connsiteY52" fmla="*/ 161233 h 208793"/>
                    <a:gd name="connsiteX53" fmla="*/ 529514 w 589972"/>
                    <a:gd name="connsiteY53" fmla="*/ 161220 h 208793"/>
                    <a:gd name="connsiteX54" fmla="*/ 494430 w 589972"/>
                    <a:gd name="connsiteY54" fmla="*/ 125879 h 208793"/>
                    <a:gd name="connsiteX55" fmla="*/ 494344 w 589972"/>
                    <a:gd name="connsiteY55" fmla="*/ 125879 h 208793"/>
                    <a:gd name="connsiteX56" fmla="*/ 110925 w 589972"/>
                    <a:gd name="connsiteY56" fmla="*/ 125903 h 208793"/>
                    <a:gd name="connsiteX57" fmla="*/ 110139 w 589972"/>
                    <a:gd name="connsiteY57" fmla="*/ 125915 h 208793"/>
                    <a:gd name="connsiteX58" fmla="*/ 86132 w 589972"/>
                    <a:gd name="connsiteY58" fmla="*/ 136574 h 208793"/>
                    <a:gd name="connsiteX59" fmla="*/ 76296 w 589972"/>
                    <a:gd name="connsiteY59" fmla="*/ 161773 h 208793"/>
                    <a:gd name="connsiteX60" fmla="*/ 87262 w 589972"/>
                    <a:gd name="connsiteY60" fmla="*/ 186763 h 208793"/>
                    <a:gd name="connsiteX61" fmla="*/ 112743 w 589972"/>
                    <a:gd name="connsiteY61" fmla="*/ 196415 h 208793"/>
                    <a:gd name="connsiteX62" fmla="*/ 146636 w 589972"/>
                    <a:gd name="connsiteY62" fmla="*/ 160459 h 208793"/>
                    <a:gd name="connsiteX63" fmla="*/ 146636 w 589972"/>
                    <a:gd name="connsiteY63" fmla="*/ 160459 h 208793"/>
                    <a:gd name="connsiteX64" fmla="*/ 110925 w 589972"/>
                    <a:gd name="connsiteY64" fmla="*/ 125903 h 208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589972" h="208793">
                      <a:moveTo>
                        <a:pt x="494381" y="208793"/>
                      </a:moveTo>
                      <a:cubicBezTo>
                        <a:pt x="494320" y="208793"/>
                        <a:pt x="494258" y="208793"/>
                        <a:pt x="494197" y="208793"/>
                      </a:cubicBezTo>
                      <a:cubicBezTo>
                        <a:pt x="477238" y="208732"/>
                        <a:pt x="462343" y="199792"/>
                        <a:pt x="453931" y="186419"/>
                      </a:cubicBezTo>
                      <a:cubicBezTo>
                        <a:pt x="345805" y="186051"/>
                        <a:pt x="176550" y="186382"/>
                        <a:pt x="151781" y="186419"/>
                      </a:cubicBezTo>
                      <a:cubicBezTo>
                        <a:pt x="143664" y="199436"/>
                        <a:pt x="129444" y="208277"/>
                        <a:pt x="113111" y="208756"/>
                      </a:cubicBezTo>
                      <a:cubicBezTo>
                        <a:pt x="100119" y="209211"/>
                        <a:pt x="88023" y="204495"/>
                        <a:pt x="78776" y="195703"/>
                      </a:cubicBezTo>
                      <a:cubicBezTo>
                        <a:pt x="75829" y="192903"/>
                        <a:pt x="73299" y="189784"/>
                        <a:pt x="71187" y="186431"/>
                      </a:cubicBezTo>
                      <a:lnTo>
                        <a:pt x="0" y="186431"/>
                      </a:lnTo>
                      <a:lnTo>
                        <a:pt x="0" y="130324"/>
                      </a:lnTo>
                      <a:cubicBezTo>
                        <a:pt x="1572" y="112530"/>
                        <a:pt x="10094" y="99747"/>
                        <a:pt x="24671" y="92833"/>
                      </a:cubicBezTo>
                      <a:cubicBezTo>
                        <a:pt x="60663" y="75801"/>
                        <a:pt x="152100" y="58375"/>
                        <a:pt x="163152" y="56312"/>
                      </a:cubicBezTo>
                      <a:lnTo>
                        <a:pt x="254295" y="7303"/>
                      </a:lnTo>
                      <a:cubicBezTo>
                        <a:pt x="293836" y="377"/>
                        <a:pt x="332506" y="-1637"/>
                        <a:pt x="369162" y="1323"/>
                      </a:cubicBezTo>
                      <a:lnTo>
                        <a:pt x="368179" y="13603"/>
                      </a:lnTo>
                      <a:cubicBezTo>
                        <a:pt x="332862" y="10803"/>
                        <a:pt x="295580" y="12669"/>
                        <a:pt x="257414" y="19276"/>
                      </a:cubicBezTo>
                      <a:lnTo>
                        <a:pt x="166357" y="68261"/>
                      </a:lnTo>
                      <a:cubicBezTo>
                        <a:pt x="165363" y="68457"/>
                        <a:pt x="66017" y="86914"/>
                        <a:pt x="29951" y="103996"/>
                      </a:cubicBezTo>
                      <a:cubicBezTo>
                        <a:pt x="19243" y="109067"/>
                        <a:pt x="13471" y="117872"/>
                        <a:pt x="12305" y="130889"/>
                      </a:cubicBezTo>
                      <a:lnTo>
                        <a:pt x="12329" y="174114"/>
                      </a:lnTo>
                      <a:lnTo>
                        <a:pt x="65747" y="174114"/>
                      </a:lnTo>
                      <a:cubicBezTo>
                        <a:pt x="64667" y="170246"/>
                        <a:pt x="64065" y="166206"/>
                        <a:pt x="63967" y="162055"/>
                      </a:cubicBezTo>
                      <a:cubicBezTo>
                        <a:pt x="63684" y="149345"/>
                        <a:pt x="68400" y="137274"/>
                        <a:pt x="77241" y="128052"/>
                      </a:cubicBezTo>
                      <a:cubicBezTo>
                        <a:pt x="85936" y="118989"/>
                        <a:pt x="97540" y="113856"/>
                        <a:pt x="109906" y="113599"/>
                      </a:cubicBezTo>
                      <a:cubicBezTo>
                        <a:pt x="136357" y="113328"/>
                        <a:pt x="158363" y="133554"/>
                        <a:pt x="158977" y="160189"/>
                      </a:cubicBezTo>
                      <a:cubicBezTo>
                        <a:pt x="159088" y="165003"/>
                        <a:pt x="158474" y="169681"/>
                        <a:pt x="157233" y="174102"/>
                      </a:cubicBezTo>
                      <a:cubicBezTo>
                        <a:pt x="194589" y="174028"/>
                        <a:pt x="346296" y="173771"/>
                        <a:pt x="448441" y="174078"/>
                      </a:cubicBezTo>
                      <a:cubicBezTo>
                        <a:pt x="447263" y="169927"/>
                        <a:pt x="446649" y="165543"/>
                        <a:pt x="446661" y="160999"/>
                      </a:cubicBezTo>
                      <a:cubicBezTo>
                        <a:pt x="446747" y="134818"/>
                        <a:pt x="468139" y="113562"/>
                        <a:pt x="494356" y="113562"/>
                      </a:cubicBezTo>
                      <a:cubicBezTo>
                        <a:pt x="494406" y="113562"/>
                        <a:pt x="494443" y="113562"/>
                        <a:pt x="494492" y="113562"/>
                      </a:cubicBezTo>
                      <a:cubicBezTo>
                        <a:pt x="520673" y="113635"/>
                        <a:pt x="541917" y="135039"/>
                        <a:pt x="541868" y="161257"/>
                      </a:cubicBezTo>
                      <a:lnTo>
                        <a:pt x="541868" y="161257"/>
                      </a:lnTo>
                      <a:cubicBezTo>
                        <a:pt x="541856" y="165666"/>
                        <a:pt x="541254" y="169976"/>
                        <a:pt x="540100" y="174102"/>
                      </a:cubicBezTo>
                      <a:lnTo>
                        <a:pt x="562302" y="174102"/>
                      </a:lnTo>
                      <a:lnTo>
                        <a:pt x="574545" y="139595"/>
                      </a:lnTo>
                      <a:cubicBezTo>
                        <a:pt x="581262" y="120660"/>
                        <a:pt x="576817" y="99882"/>
                        <a:pt x="562953" y="85367"/>
                      </a:cubicBezTo>
                      <a:lnTo>
                        <a:pt x="561246" y="83574"/>
                      </a:lnTo>
                      <a:lnTo>
                        <a:pt x="561246" y="65264"/>
                      </a:lnTo>
                      <a:lnTo>
                        <a:pt x="520415" y="58940"/>
                      </a:lnTo>
                      <a:lnTo>
                        <a:pt x="522306" y="46759"/>
                      </a:lnTo>
                      <a:lnTo>
                        <a:pt x="573587" y="54691"/>
                      </a:lnTo>
                      <a:lnTo>
                        <a:pt x="573587" y="78699"/>
                      </a:lnTo>
                      <a:cubicBezTo>
                        <a:pt x="589342" y="96480"/>
                        <a:pt x="594168" y="121163"/>
                        <a:pt x="586174" y="143709"/>
                      </a:cubicBezTo>
                      <a:lnTo>
                        <a:pt x="571021" y="186419"/>
                      </a:lnTo>
                      <a:lnTo>
                        <a:pt x="534647" y="186419"/>
                      </a:lnTo>
                      <a:cubicBezTo>
                        <a:pt x="532732" y="189489"/>
                        <a:pt x="530435" y="192362"/>
                        <a:pt x="527807" y="194966"/>
                      </a:cubicBezTo>
                      <a:cubicBezTo>
                        <a:pt x="518831" y="203893"/>
                        <a:pt x="506968" y="208793"/>
                        <a:pt x="494381" y="208793"/>
                      </a:cubicBezTo>
                      <a:close/>
                      <a:moveTo>
                        <a:pt x="494344" y="125879"/>
                      </a:moveTo>
                      <a:cubicBezTo>
                        <a:pt x="474893" y="125879"/>
                        <a:pt x="459039" y="141634"/>
                        <a:pt x="458966" y="161036"/>
                      </a:cubicBezTo>
                      <a:cubicBezTo>
                        <a:pt x="458904" y="180500"/>
                        <a:pt x="474733" y="196390"/>
                        <a:pt x="494234" y="196464"/>
                      </a:cubicBezTo>
                      <a:cubicBezTo>
                        <a:pt x="494271" y="196464"/>
                        <a:pt x="494320" y="196464"/>
                        <a:pt x="494369" y="196464"/>
                      </a:cubicBezTo>
                      <a:cubicBezTo>
                        <a:pt x="503689" y="196464"/>
                        <a:pt x="512457" y="192841"/>
                        <a:pt x="519088" y="186235"/>
                      </a:cubicBezTo>
                      <a:cubicBezTo>
                        <a:pt x="525793" y="179579"/>
                        <a:pt x="529490" y="170688"/>
                        <a:pt x="529514" y="161220"/>
                      </a:cubicBezTo>
                      <a:lnTo>
                        <a:pt x="535679" y="161233"/>
                      </a:lnTo>
                      <a:lnTo>
                        <a:pt x="529514" y="161220"/>
                      </a:lnTo>
                      <a:cubicBezTo>
                        <a:pt x="529551" y="141462"/>
                        <a:pt x="514140" y="125928"/>
                        <a:pt x="494430" y="125879"/>
                      </a:cubicBezTo>
                      <a:cubicBezTo>
                        <a:pt x="494406" y="125879"/>
                        <a:pt x="494381" y="125879"/>
                        <a:pt x="494344" y="125879"/>
                      </a:cubicBezTo>
                      <a:close/>
                      <a:moveTo>
                        <a:pt x="110925" y="125903"/>
                      </a:moveTo>
                      <a:cubicBezTo>
                        <a:pt x="110655" y="125903"/>
                        <a:pt x="110397" y="125903"/>
                        <a:pt x="110139" y="125915"/>
                      </a:cubicBezTo>
                      <a:cubicBezTo>
                        <a:pt x="101077" y="126100"/>
                        <a:pt x="92542" y="129882"/>
                        <a:pt x="86132" y="136574"/>
                      </a:cubicBezTo>
                      <a:cubicBezTo>
                        <a:pt x="79574" y="143414"/>
                        <a:pt x="76087" y="152367"/>
                        <a:pt x="76296" y="161773"/>
                      </a:cubicBezTo>
                      <a:cubicBezTo>
                        <a:pt x="76504" y="171364"/>
                        <a:pt x="80397" y="180230"/>
                        <a:pt x="87262" y="186763"/>
                      </a:cubicBezTo>
                      <a:cubicBezTo>
                        <a:pt x="94114" y="193271"/>
                        <a:pt x="103091" y="196722"/>
                        <a:pt x="112743" y="196415"/>
                      </a:cubicBezTo>
                      <a:cubicBezTo>
                        <a:pt x="131875" y="195862"/>
                        <a:pt x="147090" y="179726"/>
                        <a:pt x="146636" y="160459"/>
                      </a:cubicBezTo>
                      <a:lnTo>
                        <a:pt x="146636" y="160459"/>
                      </a:lnTo>
                      <a:cubicBezTo>
                        <a:pt x="146181" y="140627"/>
                        <a:pt x="130880" y="125903"/>
                        <a:pt x="110925" y="125903"/>
                      </a:cubicBezTo>
                      <a:close/>
                    </a:path>
                  </a:pathLst>
                </a:custGeom>
                <a:solidFill>
                  <a:schemeClr val="tx2"/>
                </a:solidFill>
                <a:ln w="1228" cap="flat">
                  <a:noFill/>
                  <a:prstDash val="solid"/>
                  <a:miter/>
                </a:ln>
              </p:spPr>
              <p:txBody>
                <a:bodyPr rtlCol="0" anchor="ctr"/>
                <a:lstStyle/>
                <a:p>
                  <a:endParaRPr lang="en-GB" dirty="0"/>
                </a:p>
              </p:txBody>
            </p:sp>
            <p:sp>
              <p:nvSpPr>
                <p:cNvPr id="150" name="Freihandform: Form 137">
                  <a:extLst>
                    <a:ext uri="{FF2B5EF4-FFF2-40B4-BE49-F238E27FC236}">
                      <a16:creationId xmlns:a16="http://schemas.microsoft.com/office/drawing/2014/main" id="{1DB8E154-3511-4F34-AE40-0655097DAD00}"/>
                    </a:ext>
                  </a:extLst>
                </p:cNvPr>
                <p:cNvSpPr/>
                <p:nvPr/>
              </p:nvSpPr>
              <p:spPr>
                <a:xfrm rot="-50193">
                  <a:off x="1435438" y="4486157"/>
                  <a:ext cx="195228" cy="12329"/>
                </a:xfrm>
                <a:custGeom>
                  <a:avLst/>
                  <a:gdLst>
                    <a:gd name="connsiteX0" fmla="*/ 0 w 195228"/>
                    <a:gd name="connsiteY0" fmla="*/ 0 h 12329"/>
                    <a:gd name="connsiteX1" fmla="*/ 195229 w 195228"/>
                    <a:gd name="connsiteY1" fmla="*/ 0 h 12329"/>
                    <a:gd name="connsiteX2" fmla="*/ 195229 w 195228"/>
                    <a:gd name="connsiteY2" fmla="*/ 12329 h 12329"/>
                    <a:gd name="connsiteX3" fmla="*/ 0 w 195228"/>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95228" h="12329">
                      <a:moveTo>
                        <a:pt x="0" y="0"/>
                      </a:moveTo>
                      <a:lnTo>
                        <a:pt x="195229" y="0"/>
                      </a:lnTo>
                      <a:lnTo>
                        <a:pt x="195229" y="12329"/>
                      </a:lnTo>
                      <a:lnTo>
                        <a:pt x="0" y="12329"/>
                      </a:lnTo>
                      <a:close/>
                    </a:path>
                  </a:pathLst>
                </a:custGeom>
                <a:solidFill>
                  <a:schemeClr val="tx2"/>
                </a:solidFill>
                <a:ln w="1228" cap="flat">
                  <a:noFill/>
                  <a:prstDash val="solid"/>
                  <a:miter/>
                </a:ln>
              </p:spPr>
              <p:txBody>
                <a:bodyPr rtlCol="0" anchor="ctr"/>
                <a:lstStyle/>
                <a:p>
                  <a:endParaRPr lang="en-GB" dirty="0"/>
                </a:p>
              </p:txBody>
            </p:sp>
          </p:grpSp>
          <p:sp>
            <p:nvSpPr>
              <p:cNvPr id="144" name="Freihandform: Form 138">
                <a:extLst>
                  <a:ext uri="{FF2B5EF4-FFF2-40B4-BE49-F238E27FC236}">
                    <a16:creationId xmlns:a16="http://schemas.microsoft.com/office/drawing/2014/main" id="{2DD3BC9C-68F5-4C80-ACFD-E205FEACC405}"/>
                  </a:ext>
                </a:extLst>
              </p:cNvPr>
              <p:cNvSpPr/>
              <p:nvPr/>
            </p:nvSpPr>
            <p:spPr>
              <a:xfrm>
                <a:off x="1329954" y="4577074"/>
                <a:ext cx="12329" cy="17265"/>
              </a:xfrm>
              <a:custGeom>
                <a:avLst/>
                <a:gdLst>
                  <a:gd name="connsiteX0" fmla="*/ 0 w 12329"/>
                  <a:gd name="connsiteY0" fmla="*/ 0 h 17265"/>
                  <a:gd name="connsiteX1" fmla="*/ 12329 w 12329"/>
                  <a:gd name="connsiteY1" fmla="*/ 0 h 17265"/>
                  <a:gd name="connsiteX2" fmla="*/ 12329 w 12329"/>
                  <a:gd name="connsiteY2" fmla="*/ 17266 h 17265"/>
                  <a:gd name="connsiteX3" fmla="*/ 0 w 12329"/>
                  <a:gd name="connsiteY3" fmla="*/ 17266 h 17265"/>
                </a:gdLst>
                <a:ahLst/>
                <a:cxnLst>
                  <a:cxn ang="0">
                    <a:pos x="connsiteX0" y="connsiteY0"/>
                  </a:cxn>
                  <a:cxn ang="0">
                    <a:pos x="connsiteX1" y="connsiteY1"/>
                  </a:cxn>
                  <a:cxn ang="0">
                    <a:pos x="connsiteX2" y="connsiteY2"/>
                  </a:cxn>
                  <a:cxn ang="0">
                    <a:pos x="connsiteX3" y="connsiteY3"/>
                  </a:cxn>
                </a:cxnLst>
                <a:rect l="l" t="t" r="r" b="b"/>
                <a:pathLst>
                  <a:path w="12329" h="17265">
                    <a:moveTo>
                      <a:pt x="0" y="0"/>
                    </a:moveTo>
                    <a:lnTo>
                      <a:pt x="12329" y="0"/>
                    </a:lnTo>
                    <a:lnTo>
                      <a:pt x="12329" y="17266"/>
                    </a:lnTo>
                    <a:lnTo>
                      <a:pt x="0" y="17266"/>
                    </a:lnTo>
                    <a:close/>
                  </a:path>
                </a:pathLst>
              </a:custGeom>
              <a:solidFill>
                <a:schemeClr val="tx2"/>
              </a:solidFill>
              <a:ln w="1228" cap="flat">
                <a:noFill/>
                <a:prstDash val="solid"/>
                <a:miter/>
              </a:ln>
            </p:spPr>
            <p:txBody>
              <a:bodyPr rtlCol="0" anchor="ctr"/>
              <a:lstStyle/>
              <a:p>
                <a:endParaRPr lang="en-GB" dirty="0"/>
              </a:p>
            </p:txBody>
          </p:sp>
          <p:sp>
            <p:nvSpPr>
              <p:cNvPr id="145" name="Freihandform: Form 139">
                <a:extLst>
                  <a:ext uri="{FF2B5EF4-FFF2-40B4-BE49-F238E27FC236}">
                    <a16:creationId xmlns:a16="http://schemas.microsoft.com/office/drawing/2014/main" id="{30703364-78E0-4D84-BC66-A2321A267926}"/>
                  </a:ext>
                </a:extLst>
              </p:cNvPr>
              <p:cNvSpPr/>
              <p:nvPr/>
            </p:nvSpPr>
            <p:spPr>
              <a:xfrm>
                <a:off x="1712746" y="4577074"/>
                <a:ext cx="12329" cy="17265"/>
              </a:xfrm>
              <a:custGeom>
                <a:avLst/>
                <a:gdLst>
                  <a:gd name="connsiteX0" fmla="*/ 0 w 12329"/>
                  <a:gd name="connsiteY0" fmla="*/ 0 h 17265"/>
                  <a:gd name="connsiteX1" fmla="*/ 12329 w 12329"/>
                  <a:gd name="connsiteY1" fmla="*/ 0 h 17265"/>
                  <a:gd name="connsiteX2" fmla="*/ 12329 w 12329"/>
                  <a:gd name="connsiteY2" fmla="*/ 17266 h 17265"/>
                  <a:gd name="connsiteX3" fmla="*/ 0 w 12329"/>
                  <a:gd name="connsiteY3" fmla="*/ 17266 h 17265"/>
                </a:gdLst>
                <a:ahLst/>
                <a:cxnLst>
                  <a:cxn ang="0">
                    <a:pos x="connsiteX0" y="connsiteY0"/>
                  </a:cxn>
                  <a:cxn ang="0">
                    <a:pos x="connsiteX1" y="connsiteY1"/>
                  </a:cxn>
                  <a:cxn ang="0">
                    <a:pos x="connsiteX2" y="connsiteY2"/>
                  </a:cxn>
                  <a:cxn ang="0">
                    <a:pos x="connsiteX3" y="connsiteY3"/>
                  </a:cxn>
                </a:cxnLst>
                <a:rect l="l" t="t" r="r" b="b"/>
                <a:pathLst>
                  <a:path w="12329" h="17265">
                    <a:moveTo>
                      <a:pt x="0" y="0"/>
                    </a:moveTo>
                    <a:lnTo>
                      <a:pt x="12329" y="0"/>
                    </a:lnTo>
                    <a:lnTo>
                      <a:pt x="12329" y="17266"/>
                    </a:lnTo>
                    <a:lnTo>
                      <a:pt x="0" y="17266"/>
                    </a:lnTo>
                    <a:close/>
                  </a:path>
                </a:pathLst>
              </a:custGeom>
              <a:solidFill>
                <a:schemeClr val="tx2"/>
              </a:solidFill>
              <a:ln w="1228" cap="flat">
                <a:noFill/>
                <a:prstDash val="solid"/>
                <a:miter/>
              </a:ln>
            </p:spPr>
            <p:txBody>
              <a:bodyPr rtlCol="0" anchor="ctr"/>
              <a:lstStyle/>
              <a:p>
                <a:endParaRPr lang="en-GB" dirty="0"/>
              </a:p>
            </p:txBody>
          </p:sp>
          <p:sp>
            <p:nvSpPr>
              <p:cNvPr id="146" name="Freihandform: Form 140">
                <a:extLst>
                  <a:ext uri="{FF2B5EF4-FFF2-40B4-BE49-F238E27FC236}">
                    <a16:creationId xmlns:a16="http://schemas.microsoft.com/office/drawing/2014/main" id="{1BC07DDE-0CBE-444A-BE85-6AE4D763BD5B}"/>
                  </a:ext>
                </a:extLst>
              </p:cNvPr>
              <p:cNvSpPr/>
              <p:nvPr/>
            </p:nvSpPr>
            <p:spPr>
              <a:xfrm>
                <a:off x="1233445" y="4546030"/>
                <a:ext cx="22558" cy="12329"/>
              </a:xfrm>
              <a:custGeom>
                <a:avLst/>
                <a:gdLst>
                  <a:gd name="connsiteX0" fmla="*/ 0 w 22558"/>
                  <a:gd name="connsiteY0" fmla="*/ 0 h 12329"/>
                  <a:gd name="connsiteX1" fmla="*/ 22558 w 22558"/>
                  <a:gd name="connsiteY1" fmla="*/ 0 h 12329"/>
                  <a:gd name="connsiteX2" fmla="*/ 22558 w 22558"/>
                  <a:gd name="connsiteY2" fmla="*/ 12329 h 12329"/>
                  <a:gd name="connsiteX3" fmla="*/ 0 w 22558"/>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2558" h="12329">
                    <a:moveTo>
                      <a:pt x="0" y="0"/>
                    </a:moveTo>
                    <a:lnTo>
                      <a:pt x="22558" y="0"/>
                    </a:lnTo>
                    <a:lnTo>
                      <a:pt x="22558"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147" name="Freihandform: Form 141">
                <a:extLst>
                  <a:ext uri="{FF2B5EF4-FFF2-40B4-BE49-F238E27FC236}">
                    <a16:creationId xmlns:a16="http://schemas.microsoft.com/office/drawing/2014/main" id="{2D8BDDAE-6601-4169-AFF3-CFBC8A1D47DD}"/>
                  </a:ext>
                </a:extLst>
              </p:cNvPr>
              <p:cNvSpPr/>
              <p:nvPr/>
            </p:nvSpPr>
            <p:spPr>
              <a:xfrm>
                <a:off x="1785862" y="4546030"/>
                <a:ext cx="22558" cy="12329"/>
              </a:xfrm>
              <a:custGeom>
                <a:avLst/>
                <a:gdLst>
                  <a:gd name="connsiteX0" fmla="*/ 0 w 22558"/>
                  <a:gd name="connsiteY0" fmla="*/ 0 h 12329"/>
                  <a:gd name="connsiteX1" fmla="*/ 22558 w 22558"/>
                  <a:gd name="connsiteY1" fmla="*/ 0 h 12329"/>
                  <a:gd name="connsiteX2" fmla="*/ 22558 w 22558"/>
                  <a:gd name="connsiteY2" fmla="*/ 12329 h 12329"/>
                  <a:gd name="connsiteX3" fmla="*/ 0 w 22558"/>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2558" h="12329">
                    <a:moveTo>
                      <a:pt x="0" y="0"/>
                    </a:moveTo>
                    <a:lnTo>
                      <a:pt x="22558" y="0"/>
                    </a:lnTo>
                    <a:lnTo>
                      <a:pt x="22558"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148" name="Freihandform: Form 142">
                <a:extLst>
                  <a:ext uri="{FF2B5EF4-FFF2-40B4-BE49-F238E27FC236}">
                    <a16:creationId xmlns:a16="http://schemas.microsoft.com/office/drawing/2014/main" id="{640FDBD1-BA25-4AD4-813E-07897985ADBA}"/>
                  </a:ext>
                </a:extLst>
              </p:cNvPr>
              <p:cNvSpPr/>
              <p:nvPr/>
            </p:nvSpPr>
            <p:spPr>
              <a:xfrm>
                <a:off x="1221816" y="4632985"/>
                <a:ext cx="575822" cy="12329"/>
              </a:xfrm>
              <a:custGeom>
                <a:avLst/>
                <a:gdLst>
                  <a:gd name="connsiteX0" fmla="*/ 0 w 575822"/>
                  <a:gd name="connsiteY0" fmla="*/ 0 h 12329"/>
                  <a:gd name="connsiteX1" fmla="*/ 575822 w 575822"/>
                  <a:gd name="connsiteY1" fmla="*/ 0 h 12329"/>
                  <a:gd name="connsiteX2" fmla="*/ 575822 w 575822"/>
                  <a:gd name="connsiteY2" fmla="*/ 12329 h 12329"/>
                  <a:gd name="connsiteX3" fmla="*/ 0 w 575822"/>
                  <a:gd name="connsiteY3" fmla="*/ 12329 h 12329"/>
                </a:gdLst>
                <a:ahLst/>
                <a:cxnLst>
                  <a:cxn ang="0">
                    <a:pos x="connsiteX0" y="connsiteY0"/>
                  </a:cxn>
                  <a:cxn ang="0">
                    <a:pos x="connsiteX1" y="connsiteY1"/>
                  </a:cxn>
                  <a:cxn ang="0">
                    <a:pos x="connsiteX2" y="connsiteY2"/>
                  </a:cxn>
                  <a:cxn ang="0">
                    <a:pos x="connsiteX3" y="connsiteY3"/>
                  </a:cxn>
                </a:cxnLst>
                <a:rect l="l" t="t" r="r" b="b"/>
                <a:pathLst>
                  <a:path w="575822" h="12329">
                    <a:moveTo>
                      <a:pt x="0" y="0"/>
                    </a:moveTo>
                    <a:lnTo>
                      <a:pt x="575822" y="0"/>
                    </a:lnTo>
                    <a:lnTo>
                      <a:pt x="575822" y="12329"/>
                    </a:lnTo>
                    <a:lnTo>
                      <a:pt x="0" y="12329"/>
                    </a:lnTo>
                    <a:close/>
                  </a:path>
                </a:pathLst>
              </a:custGeom>
              <a:solidFill>
                <a:schemeClr val="tx2"/>
              </a:solidFill>
              <a:ln w="1228" cap="flat">
                <a:noFill/>
                <a:prstDash val="solid"/>
                <a:miter/>
              </a:ln>
            </p:spPr>
            <p:txBody>
              <a:bodyPr rtlCol="0" anchor="ctr"/>
              <a:lstStyle/>
              <a:p>
                <a:endParaRPr lang="en-GB" dirty="0"/>
              </a:p>
            </p:txBody>
          </p:sp>
        </p:grpSp>
      </p:grpSp>
      <p:grpSp>
        <p:nvGrpSpPr>
          <p:cNvPr id="153" name="Gruppieren 420">
            <a:extLst>
              <a:ext uri="{FF2B5EF4-FFF2-40B4-BE49-F238E27FC236}">
                <a16:creationId xmlns:a16="http://schemas.microsoft.com/office/drawing/2014/main" id="{A33CA722-D737-401F-A129-B7FD1AB41255}"/>
              </a:ext>
            </a:extLst>
          </p:cNvPr>
          <p:cNvGrpSpPr>
            <a:grpSpLocks noChangeAspect="1"/>
          </p:cNvGrpSpPr>
          <p:nvPr/>
        </p:nvGrpSpPr>
        <p:grpSpPr>
          <a:xfrm>
            <a:off x="2832512" y="2456970"/>
            <a:ext cx="720000" cy="424371"/>
            <a:chOff x="2955324" y="2589677"/>
            <a:chExt cx="578596" cy="341028"/>
          </a:xfrm>
        </p:grpSpPr>
        <p:grpSp>
          <p:nvGrpSpPr>
            <p:cNvPr id="154" name="Grafik 11">
              <a:extLst>
                <a:ext uri="{FF2B5EF4-FFF2-40B4-BE49-F238E27FC236}">
                  <a16:creationId xmlns:a16="http://schemas.microsoft.com/office/drawing/2014/main" id="{0496A4D6-6CF7-4771-92B4-EB00467A1349}"/>
                </a:ext>
              </a:extLst>
            </p:cNvPr>
            <p:cNvGrpSpPr/>
            <p:nvPr/>
          </p:nvGrpSpPr>
          <p:grpSpPr>
            <a:xfrm>
              <a:off x="3395906" y="2589677"/>
              <a:ext cx="138014" cy="172963"/>
              <a:chOff x="3395906" y="2589677"/>
              <a:chExt cx="138014" cy="172963"/>
            </a:xfrm>
            <a:solidFill>
              <a:schemeClr val="accent1"/>
            </a:solidFill>
          </p:grpSpPr>
          <p:sp>
            <p:nvSpPr>
              <p:cNvPr id="176" name="Freihandform: Form 145">
                <a:extLst>
                  <a:ext uri="{FF2B5EF4-FFF2-40B4-BE49-F238E27FC236}">
                    <a16:creationId xmlns:a16="http://schemas.microsoft.com/office/drawing/2014/main" id="{ED2F1542-EC3E-4DFB-9D04-5A6D68581CFD}"/>
                  </a:ext>
                </a:extLst>
              </p:cNvPr>
              <p:cNvSpPr/>
              <p:nvPr/>
            </p:nvSpPr>
            <p:spPr>
              <a:xfrm>
                <a:off x="3395906" y="2589677"/>
                <a:ext cx="138014" cy="172963"/>
              </a:xfrm>
              <a:custGeom>
                <a:avLst/>
                <a:gdLst>
                  <a:gd name="connsiteX0" fmla="*/ 69001 w 138014"/>
                  <a:gd name="connsiteY0" fmla="*/ 172964 h 172963"/>
                  <a:gd name="connsiteX1" fmla="*/ 65870 w 138014"/>
                  <a:gd name="connsiteY1" fmla="*/ 171122 h 172963"/>
                  <a:gd name="connsiteX2" fmla="*/ 10585 w 138014"/>
                  <a:gd name="connsiteY2" fmla="*/ 127761 h 172963"/>
                  <a:gd name="connsiteX3" fmla="*/ 0 w 138014"/>
                  <a:gd name="connsiteY3" fmla="*/ 98154 h 172963"/>
                  <a:gd name="connsiteX4" fmla="*/ 0 w 138014"/>
                  <a:gd name="connsiteY4" fmla="*/ 14245 h 172963"/>
                  <a:gd name="connsiteX5" fmla="*/ 34765 w 138014"/>
                  <a:gd name="connsiteY5" fmla="*/ 4642 h 172963"/>
                  <a:gd name="connsiteX6" fmla="*/ 103238 w 138014"/>
                  <a:gd name="connsiteY6" fmla="*/ 4642 h 172963"/>
                  <a:gd name="connsiteX7" fmla="*/ 138015 w 138014"/>
                  <a:gd name="connsiteY7" fmla="*/ 14245 h 172963"/>
                  <a:gd name="connsiteX8" fmla="*/ 138015 w 138014"/>
                  <a:gd name="connsiteY8" fmla="*/ 98154 h 172963"/>
                  <a:gd name="connsiteX9" fmla="*/ 127417 w 138014"/>
                  <a:gd name="connsiteY9" fmla="*/ 127773 h 172963"/>
                  <a:gd name="connsiteX10" fmla="*/ 72133 w 138014"/>
                  <a:gd name="connsiteY10" fmla="*/ 171122 h 172963"/>
                  <a:gd name="connsiteX11" fmla="*/ 69001 w 138014"/>
                  <a:gd name="connsiteY11" fmla="*/ 172964 h 172963"/>
                  <a:gd name="connsiteX12" fmla="*/ 12329 w 138014"/>
                  <a:gd name="connsiteY12" fmla="*/ 23639 h 172963"/>
                  <a:gd name="connsiteX13" fmla="*/ 12329 w 138014"/>
                  <a:gd name="connsiteY13" fmla="*/ 98154 h 172963"/>
                  <a:gd name="connsiteX14" fmla="*/ 20004 w 138014"/>
                  <a:gd name="connsiteY14" fmla="*/ 119816 h 172963"/>
                  <a:gd name="connsiteX15" fmla="*/ 69001 w 138014"/>
                  <a:gd name="connsiteY15" fmla="*/ 158645 h 172963"/>
                  <a:gd name="connsiteX16" fmla="*/ 117999 w 138014"/>
                  <a:gd name="connsiteY16" fmla="*/ 119828 h 172963"/>
                  <a:gd name="connsiteX17" fmla="*/ 125686 w 138014"/>
                  <a:gd name="connsiteY17" fmla="*/ 98166 h 172963"/>
                  <a:gd name="connsiteX18" fmla="*/ 125686 w 138014"/>
                  <a:gd name="connsiteY18" fmla="*/ 23651 h 172963"/>
                  <a:gd name="connsiteX19" fmla="*/ 99959 w 138014"/>
                  <a:gd name="connsiteY19" fmla="*/ 16541 h 172963"/>
                  <a:gd name="connsiteX20" fmla="*/ 38031 w 138014"/>
                  <a:gd name="connsiteY20" fmla="*/ 16541 h 172963"/>
                  <a:gd name="connsiteX21" fmla="*/ 12329 w 138014"/>
                  <a:gd name="connsiteY21" fmla="*/ 23639 h 172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014" h="172963">
                    <a:moveTo>
                      <a:pt x="69001" y="172964"/>
                    </a:moveTo>
                    <a:lnTo>
                      <a:pt x="65870" y="171122"/>
                    </a:lnTo>
                    <a:cubicBezTo>
                      <a:pt x="40843" y="156386"/>
                      <a:pt x="22755" y="142202"/>
                      <a:pt x="10585" y="127761"/>
                    </a:cubicBezTo>
                    <a:cubicBezTo>
                      <a:pt x="3758" y="119693"/>
                      <a:pt x="0" y="109169"/>
                      <a:pt x="0" y="98154"/>
                    </a:cubicBezTo>
                    <a:lnTo>
                      <a:pt x="0" y="14245"/>
                    </a:lnTo>
                    <a:lnTo>
                      <a:pt x="34765" y="4642"/>
                    </a:lnTo>
                    <a:cubicBezTo>
                      <a:pt x="57176" y="-1547"/>
                      <a:pt x="80852" y="-1547"/>
                      <a:pt x="103238" y="4642"/>
                    </a:cubicBezTo>
                    <a:lnTo>
                      <a:pt x="138015" y="14245"/>
                    </a:lnTo>
                    <a:lnTo>
                      <a:pt x="138015" y="98154"/>
                    </a:lnTo>
                    <a:cubicBezTo>
                      <a:pt x="138015" y="109169"/>
                      <a:pt x="134257" y="119681"/>
                      <a:pt x="127417" y="127773"/>
                    </a:cubicBezTo>
                    <a:cubicBezTo>
                      <a:pt x="115248" y="142202"/>
                      <a:pt x="97159" y="156386"/>
                      <a:pt x="72133" y="171122"/>
                    </a:cubicBezTo>
                    <a:lnTo>
                      <a:pt x="69001" y="172964"/>
                    </a:lnTo>
                    <a:close/>
                    <a:moveTo>
                      <a:pt x="12329" y="23639"/>
                    </a:moveTo>
                    <a:lnTo>
                      <a:pt x="12329" y="98154"/>
                    </a:lnTo>
                    <a:cubicBezTo>
                      <a:pt x="12329" y="106259"/>
                      <a:pt x="15055" y="113958"/>
                      <a:pt x="20004" y="119816"/>
                    </a:cubicBezTo>
                    <a:cubicBezTo>
                      <a:pt x="30774" y="132587"/>
                      <a:pt x="46824" y="145309"/>
                      <a:pt x="69001" y="158645"/>
                    </a:cubicBezTo>
                    <a:cubicBezTo>
                      <a:pt x="91179" y="145309"/>
                      <a:pt x="107241" y="132587"/>
                      <a:pt x="117999" y="119828"/>
                    </a:cubicBezTo>
                    <a:cubicBezTo>
                      <a:pt x="122947" y="113958"/>
                      <a:pt x="125686" y="106271"/>
                      <a:pt x="125686" y="98166"/>
                    </a:cubicBezTo>
                    <a:lnTo>
                      <a:pt x="125686" y="23651"/>
                    </a:lnTo>
                    <a:lnTo>
                      <a:pt x="99959" y="16541"/>
                    </a:lnTo>
                    <a:cubicBezTo>
                      <a:pt x="79697" y="10942"/>
                      <a:pt x="58293" y="10942"/>
                      <a:pt x="38031" y="16541"/>
                    </a:cubicBezTo>
                    <a:lnTo>
                      <a:pt x="12329" y="23639"/>
                    </a:lnTo>
                    <a:close/>
                  </a:path>
                </a:pathLst>
              </a:custGeom>
              <a:solidFill>
                <a:schemeClr val="accent1"/>
              </a:solidFill>
              <a:ln w="1228" cap="flat">
                <a:noFill/>
                <a:prstDash val="solid"/>
                <a:miter/>
              </a:ln>
            </p:spPr>
            <p:txBody>
              <a:bodyPr rtlCol="0" anchor="ctr"/>
              <a:lstStyle/>
              <a:p>
                <a:endParaRPr lang="en-GB" dirty="0"/>
              </a:p>
            </p:txBody>
          </p:sp>
          <p:sp>
            <p:nvSpPr>
              <p:cNvPr id="177" name="Freihandform: Form 146">
                <a:extLst>
                  <a:ext uri="{FF2B5EF4-FFF2-40B4-BE49-F238E27FC236}">
                    <a16:creationId xmlns:a16="http://schemas.microsoft.com/office/drawing/2014/main" id="{4514DF63-5AF6-48DB-9E1F-5E9CC5BD6A55}"/>
                  </a:ext>
                </a:extLst>
              </p:cNvPr>
              <p:cNvSpPr/>
              <p:nvPr/>
            </p:nvSpPr>
            <p:spPr>
              <a:xfrm>
                <a:off x="3438150" y="2649112"/>
                <a:ext cx="53516" cy="41543"/>
              </a:xfrm>
              <a:custGeom>
                <a:avLst/>
                <a:gdLst>
                  <a:gd name="connsiteX0" fmla="*/ 20692 w 53516"/>
                  <a:gd name="connsiteY0" fmla="*/ 41543 h 41543"/>
                  <a:gd name="connsiteX1" fmla="*/ 0 w 53516"/>
                  <a:gd name="connsiteY1" fmla="*/ 20864 h 41543"/>
                  <a:gd name="connsiteX2" fmla="*/ 8719 w 53516"/>
                  <a:gd name="connsiteY2" fmla="*/ 12145 h 41543"/>
                  <a:gd name="connsiteX3" fmla="*/ 20692 w 53516"/>
                  <a:gd name="connsiteY3" fmla="*/ 24106 h 41543"/>
                  <a:gd name="connsiteX4" fmla="*/ 44797 w 53516"/>
                  <a:gd name="connsiteY4" fmla="*/ 0 h 41543"/>
                  <a:gd name="connsiteX5" fmla="*/ 53516 w 53516"/>
                  <a:gd name="connsiteY5" fmla="*/ 8719 h 4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16" h="41543">
                    <a:moveTo>
                      <a:pt x="20692" y="41543"/>
                    </a:moveTo>
                    <a:lnTo>
                      <a:pt x="0" y="20864"/>
                    </a:lnTo>
                    <a:lnTo>
                      <a:pt x="8719" y="12145"/>
                    </a:lnTo>
                    <a:lnTo>
                      <a:pt x="20692" y="24106"/>
                    </a:lnTo>
                    <a:lnTo>
                      <a:pt x="44797" y="0"/>
                    </a:lnTo>
                    <a:lnTo>
                      <a:pt x="53516" y="8719"/>
                    </a:lnTo>
                    <a:close/>
                  </a:path>
                </a:pathLst>
              </a:custGeom>
              <a:solidFill>
                <a:schemeClr val="accent1"/>
              </a:solidFill>
              <a:ln w="1228" cap="flat">
                <a:noFill/>
                <a:prstDash val="solid"/>
                <a:miter/>
              </a:ln>
            </p:spPr>
            <p:txBody>
              <a:bodyPr rtlCol="0" anchor="ctr"/>
              <a:lstStyle/>
              <a:p>
                <a:endParaRPr lang="en-GB" dirty="0"/>
              </a:p>
            </p:txBody>
          </p:sp>
        </p:grpSp>
        <p:grpSp>
          <p:nvGrpSpPr>
            <p:cNvPr id="155" name="Grafik 11">
              <a:extLst>
                <a:ext uri="{FF2B5EF4-FFF2-40B4-BE49-F238E27FC236}">
                  <a16:creationId xmlns:a16="http://schemas.microsoft.com/office/drawing/2014/main" id="{2FF03091-3B99-4428-8B1D-631DDC4D54F7}"/>
                </a:ext>
              </a:extLst>
            </p:cNvPr>
            <p:cNvGrpSpPr/>
            <p:nvPr/>
          </p:nvGrpSpPr>
          <p:grpSpPr>
            <a:xfrm>
              <a:off x="2955324" y="2621544"/>
              <a:ext cx="528040" cy="309161"/>
              <a:chOff x="2955324" y="2621544"/>
              <a:chExt cx="528040" cy="309161"/>
            </a:xfrm>
            <a:solidFill>
              <a:srgbClr val="4D4E53"/>
            </a:solidFill>
          </p:grpSpPr>
          <p:sp>
            <p:nvSpPr>
              <p:cNvPr id="156" name="Freihandform: Form 148">
                <a:extLst>
                  <a:ext uri="{FF2B5EF4-FFF2-40B4-BE49-F238E27FC236}">
                    <a16:creationId xmlns:a16="http://schemas.microsoft.com/office/drawing/2014/main" id="{9C8592B8-4452-4B7D-9D6F-C495AAC7B3C9}"/>
                  </a:ext>
                </a:extLst>
              </p:cNvPr>
              <p:cNvSpPr/>
              <p:nvPr/>
            </p:nvSpPr>
            <p:spPr>
              <a:xfrm>
                <a:off x="3429382" y="2787594"/>
                <a:ext cx="41690" cy="108395"/>
              </a:xfrm>
              <a:custGeom>
                <a:avLst/>
                <a:gdLst>
                  <a:gd name="connsiteX0" fmla="*/ 41691 w 41690"/>
                  <a:gd name="connsiteY0" fmla="*/ 108396 h 108395"/>
                  <a:gd name="connsiteX1" fmla="*/ 0 w 41690"/>
                  <a:gd name="connsiteY1" fmla="*/ 108396 h 108395"/>
                  <a:gd name="connsiteX2" fmla="*/ 0 w 41690"/>
                  <a:gd name="connsiteY2" fmla="*/ 96066 h 108395"/>
                  <a:gd name="connsiteX3" fmla="*/ 29361 w 41690"/>
                  <a:gd name="connsiteY3" fmla="*/ 96066 h 108395"/>
                  <a:gd name="connsiteX4" fmla="*/ 29361 w 41690"/>
                  <a:gd name="connsiteY4" fmla="*/ 0 h 108395"/>
                  <a:gd name="connsiteX5" fmla="*/ 41691 w 41690"/>
                  <a:gd name="connsiteY5" fmla="*/ 0 h 108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690" h="108395">
                    <a:moveTo>
                      <a:pt x="41691" y="108396"/>
                    </a:moveTo>
                    <a:lnTo>
                      <a:pt x="0" y="108396"/>
                    </a:lnTo>
                    <a:lnTo>
                      <a:pt x="0" y="96066"/>
                    </a:lnTo>
                    <a:lnTo>
                      <a:pt x="29361" y="96066"/>
                    </a:lnTo>
                    <a:lnTo>
                      <a:pt x="29361" y="0"/>
                    </a:lnTo>
                    <a:lnTo>
                      <a:pt x="41691" y="0"/>
                    </a:lnTo>
                    <a:close/>
                  </a:path>
                </a:pathLst>
              </a:custGeom>
              <a:solidFill>
                <a:schemeClr val="tx2"/>
              </a:solidFill>
              <a:ln w="1228" cap="flat">
                <a:noFill/>
                <a:prstDash val="solid"/>
                <a:miter/>
              </a:ln>
            </p:spPr>
            <p:txBody>
              <a:bodyPr rtlCol="0" anchor="ctr"/>
              <a:lstStyle/>
              <a:p>
                <a:endParaRPr lang="en-GB" dirty="0"/>
              </a:p>
            </p:txBody>
          </p:sp>
          <p:sp>
            <p:nvSpPr>
              <p:cNvPr id="157" name="Freihandform: Form 149">
                <a:extLst>
                  <a:ext uri="{FF2B5EF4-FFF2-40B4-BE49-F238E27FC236}">
                    <a16:creationId xmlns:a16="http://schemas.microsoft.com/office/drawing/2014/main" id="{D685F7AD-508B-40C3-A2FC-A86018698630}"/>
                  </a:ext>
                </a:extLst>
              </p:cNvPr>
              <p:cNvSpPr/>
              <p:nvPr/>
            </p:nvSpPr>
            <p:spPr>
              <a:xfrm>
                <a:off x="3145370" y="2658458"/>
                <a:ext cx="233614" cy="198629"/>
              </a:xfrm>
              <a:custGeom>
                <a:avLst/>
                <a:gdLst>
                  <a:gd name="connsiteX0" fmla="*/ 12329 w 233614"/>
                  <a:gd name="connsiteY0" fmla="*/ 198629 h 198629"/>
                  <a:gd name="connsiteX1" fmla="*/ 0 w 233614"/>
                  <a:gd name="connsiteY1" fmla="*/ 198629 h 198629"/>
                  <a:gd name="connsiteX2" fmla="*/ 0 w 233614"/>
                  <a:gd name="connsiteY2" fmla="*/ 0 h 198629"/>
                  <a:gd name="connsiteX3" fmla="*/ 233615 w 233614"/>
                  <a:gd name="connsiteY3" fmla="*/ 0 h 198629"/>
                  <a:gd name="connsiteX4" fmla="*/ 233615 w 233614"/>
                  <a:gd name="connsiteY4" fmla="*/ 12329 h 198629"/>
                  <a:gd name="connsiteX5" fmla="*/ 12329 w 233614"/>
                  <a:gd name="connsiteY5" fmla="*/ 12329 h 19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3614" h="198629">
                    <a:moveTo>
                      <a:pt x="12329" y="198629"/>
                    </a:moveTo>
                    <a:lnTo>
                      <a:pt x="0" y="198629"/>
                    </a:lnTo>
                    <a:lnTo>
                      <a:pt x="0" y="0"/>
                    </a:lnTo>
                    <a:lnTo>
                      <a:pt x="233615" y="0"/>
                    </a:lnTo>
                    <a:lnTo>
                      <a:pt x="233615" y="12329"/>
                    </a:lnTo>
                    <a:lnTo>
                      <a:pt x="12329" y="12329"/>
                    </a:lnTo>
                    <a:close/>
                  </a:path>
                </a:pathLst>
              </a:custGeom>
              <a:solidFill>
                <a:schemeClr val="tx2"/>
              </a:solidFill>
              <a:ln w="1228" cap="flat">
                <a:noFill/>
                <a:prstDash val="solid"/>
                <a:miter/>
              </a:ln>
            </p:spPr>
            <p:txBody>
              <a:bodyPr rtlCol="0" anchor="ctr"/>
              <a:lstStyle/>
              <a:p>
                <a:endParaRPr lang="en-GB" dirty="0"/>
              </a:p>
            </p:txBody>
          </p:sp>
          <p:sp>
            <p:nvSpPr>
              <p:cNvPr id="158" name="Freihandform: Form 150">
                <a:extLst>
                  <a:ext uri="{FF2B5EF4-FFF2-40B4-BE49-F238E27FC236}">
                    <a16:creationId xmlns:a16="http://schemas.microsoft.com/office/drawing/2014/main" id="{B6E39202-5B35-4BA5-87FB-2A18B1C8B915}"/>
                  </a:ext>
                </a:extLst>
              </p:cNvPr>
              <p:cNvSpPr/>
              <p:nvPr/>
            </p:nvSpPr>
            <p:spPr>
              <a:xfrm>
                <a:off x="3022127" y="2848945"/>
                <a:ext cx="81748" cy="81760"/>
              </a:xfrm>
              <a:custGeom>
                <a:avLst/>
                <a:gdLst>
                  <a:gd name="connsiteX0" fmla="*/ 40868 w 81748"/>
                  <a:gd name="connsiteY0" fmla="*/ 81760 h 81760"/>
                  <a:gd name="connsiteX1" fmla="*/ 0 w 81748"/>
                  <a:gd name="connsiteY1" fmla="*/ 40880 h 81760"/>
                  <a:gd name="connsiteX2" fmla="*/ 40868 w 81748"/>
                  <a:gd name="connsiteY2" fmla="*/ 0 h 81760"/>
                  <a:gd name="connsiteX3" fmla="*/ 81748 w 81748"/>
                  <a:gd name="connsiteY3" fmla="*/ 40880 h 81760"/>
                  <a:gd name="connsiteX4" fmla="*/ 40868 w 81748"/>
                  <a:gd name="connsiteY4" fmla="*/ 81760 h 81760"/>
                  <a:gd name="connsiteX5" fmla="*/ 40868 w 81748"/>
                  <a:gd name="connsiteY5" fmla="*/ 12329 h 81760"/>
                  <a:gd name="connsiteX6" fmla="*/ 12329 w 81748"/>
                  <a:gd name="connsiteY6" fmla="*/ 40880 h 81760"/>
                  <a:gd name="connsiteX7" fmla="*/ 40868 w 81748"/>
                  <a:gd name="connsiteY7" fmla="*/ 69431 h 81760"/>
                  <a:gd name="connsiteX8" fmla="*/ 69419 w 81748"/>
                  <a:gd name="connsiteY8" fmla="*/ 40880 h 81760"/>
                  <a:gd name="connsiteX9" fmla="*/ 40868 w 81748"/>
                  <a:gd name="connsiteY9" fmla="*/ 12329 h 8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748" h="81760">
                    <a:moveTo>
                      <a:pt x="40868" y="81760"/>
                    </a:moveTo>
                    <a:cubicBezTo>
                      <a:pt x="18334" y="81760"/>
                      <a:pt x="0" y="63414"/>
                      <a:pt x="0" y="40880"/>
                    </a:cubicBezTo>
                    <a:cubicBezTo>
                      <a:pt x="0" y="18334"/>
                      <a:pt x="18347" y="0"/>
                      <a:pt x="40868" y="0"/>
                    </a:cubicBezTo>
                    <a:cubicBezTo>
                      <a:pt x="63414" y="0"/>
                      <a:pt x="81748" y="18346"/>
                      <a:pt x="81748" y="40880"/>
                    </a:cubicBezTo>
                    <a:cubicBezTo>
                      <a:pt x="81760" y="63414"/>
                      <a:pt x="63414" y="81760"/>
                      <a:pt x="40868" y="81760"/>
                    </a:cubicBezTo>
                    <a:close/>
                    <a:moveTo>
                      <a:pt x="40868" y="12329"/>
                    </a:moveTo>
                    <a:cubicBezTo>
                      <a:pt x="25125" y="12329"/>
                      <a:pt x="12329" y="25137"/>
                      <a:pt x="12329" y="40880"/>
                    </a:cubicBezTo>
                    <a:cubicBezTo>
                      <a:pt x="12329" y="56623"/>
                      <a:pt x="25125" y="69431"/>
                      <a:pt x="40868" y="69431"/>
                    </a:cubicBezTo>
                    <a:cubicBezTo>
                      <a:pt x="56611" y="69431"/>
                      <a:pt x="69419" y="56623"/>
                      <a:pt x="69419" y="40880"/>
                    </a:cubicBezTo>
                    <a:cubicBezTo>
                      <a:pt x="69419" y="25137"/>
                      <a:pt x="56611" y="12329"/>
                      <a:pt x="40868" y="12329"/>
                    </a:cubicBezTo>
                    <a:close/>
                  </a:path>
                </a:pathLst>
              </a:custGeom>
              <a:solidFill>
                <a:schemeClr val="tx2"/>
              </a:solidFill>
              <a:ln w="1228" cap="flat">
                <a:noFill/>
                <a:prstDash val="solid"/>
                <a:miter/>
              </a:ln>
            </p:spPr>
            <p:txBody>
              <a:bodyPr rtlCol="0" anchor="ctr"/>
              <a:lstStyle/>
              <a:p>
                <a:endParaRPr lang="en-GB" dirty="0"/>
              </a:p>
            </p:txBody>
          </p:sp>
          <p:sp>
            <p:nvSpPr>
              <p:cNvPr id="159" name="Freihandform: Form 151">
                <a:extLst>
                  <a:ext uri="{FF2B5EF4-FFF2-40B4-BE49-F238E27FC236}">
                    <a16:creationId xmlns:a16="http://schemas.microsoft.com/office/drawing/2014/main" id="{2EBA7CFF-1EB5-4D28-B877-F48DDB8D7C4D}"/>
                  </a:ext>
                </a:extLst>
              </p:cNvPr>
              <p:cNvSpPr/>
              <p:nvPr/>
            </p:nvSpPr>
            <p:spPr>
              <a:xfrm>
                <a:off x="3348137" y="2848945"/>
                <a:ext cx="81748" cy="81760"/>
              </a:xfrm>
              <a:custGeom>
                <a:avLst/>
                <a:gdLst>
                  <a:gd name="connsiteX0" fmla="*/ 40880 w 81748"/>
                  <a:gd name="connsiteY0" fmla="*/ 81760 h 81760"/>
                  <a:gd name="connsiteX1" fmla="*/ 0 w 81748"/>
                  <a:gd name="connsiteY1" fmla="*/ 40880 h 81760"/>
                  <a:gd name="connsiteX2" fmla="*/ 40880 w 81748"/>
                  <a:gd name="connsiteY2" fmla="*/ 0 h 81760"/>
                  <a:gd name="connsiteX3" fmla="*/ 81748 w 81748"/>
                  <a:gd name="connsiteY3" fmla="*/ 40880 h 81760"/>
                  <a:gd name="connsiteX4" fmla="*/ 40880 w 81748"/>
                  <a:gd name="connsiteY4" fmla="*/ 81760 h 81760"/>
                  <a:gd name="connsiteX5" fmla="*/ 40880 w 81748"/>
                  <a:gd name="connsiteY5" fmla="*/ 12329 h 81760"/>
                  <a:gd name="connsiteX6" fmla="*/ 12329 w 81748"/>
                  <a:gd name="connsiteY6" fmla="*/ 40880 h 81760"/>
                  <a:gd name="connsiteX7" fmla="*/ 40880 w 81748"/>
                  <a:gd name="connsiteY7" fmla="*/ 69431 h 81760"/>
                  <a:gd name="connsiteX8" fmla="*/ 69419 w 81748"/>
                  <a:gd name="connsiteY8" fmla="*/ 40880 h 81760"/>
                  <a:gd name="connsiteX9" fmla="*/ 40880 w 81748"/>
                  <a:gd name="connsiteY9" fmla="*/ 12329 h 8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748" h="81760">
                    <a:moveTo>
                      <a:pt x="40880" y="81760"/>
                    </a:moveTo>
                    <a:cubicBezTo>
                      <a:pt x="18334" y="81760"/>
                      <a:pt x="0" y="63414"/>
                      <a:pt x="0" y="40880"/>
                    </a:cubicBezTo>
                    <a:cubicBezTo>
                      <a:pt x="0" y="18334"/>
                      <a:pt x="18347" y="0"/>
                      <a:pt x="40880" y="0"/>
                    </a:cubicBezTo>
                    <a:cubicBezTo>
                      <a:pt x="63414" y="0"/>
                      <a:pt x="81748" y="18346"/>
                      <a:pt x="81748" y="40880"/>
                    </a:cubicBezTo>
                    <a:cubicBezTo>
                      <a:pt x="81748" y="63414"/>
                      <a:pt x="63414" y="81760"/>
                      <a:pt x="40880" y="81760"/>
                    </a:cubicBezTo>
                    <a:close/>
                    <a:moveTo>
                      <a:pt x="40880" y="12329"/>
                    </a:moveTo>
                    <a:cubicBezTo>
                      <a:pt x="25137" y="12329"/>
                      <a:pt x="12329" y="25137"/>
                      <a:pt x="12329" y="40880"/>
                    </a:cubicBezTo>
                    <a:cubicBezTo>
                      <a:pt x="12329" y="56623"/>
                      <a:pt x="25137" y="69431"/>
                      <a:pt x="40880" y="69431"/>
                    </a:cubicBezTo>
                    <a:cubicBezTo>
                      <a:pt x="56623" y="69431"/>
                      <a:pt x="69419" y="56623"/>
                      <a:pt x="69419" y="40880"/>
                    </a:cubicBezTo>
                    <a:cubicBezTo>
                      <a:pt x="69419" y="25137"/>
                      <a:pt x="56623" y="12329"/>
                      <a:pt x="40880" y="12329"/>
                    </a:cubicBezTo>
                    <a:close/>
                  </a:path>
                </a:pathLst>
              </a:custGeom>
              <a:solidFill>
                <a:schemeClr val="tx2"/>
              </a:solidFill>
              <a:ln w="1228" cap="flat">
                <a:noFill/>
                <a:prstDash val="solid"/>
                <a:miter/>
              </a:ln>
            </p:spPr>
            <p:txBody>
              <a:bodyPr rtlCol="0" anchor="ctr"/>
              <a:lstStyle/>
              <a:p>
                <a:endParaRPr lang="en-GB" dirty="0"/>
              </a:p>
            </p:txBody>
          </p:sp>
          <p:sp>
            <p:nvSpPr>
              <p:cNvPr id="160" name="Freihandform: Form 152">
                <a:extLst>
                  <a:ext uri="{FF2B5EF4-FFF2-40B4-BE49-F238E27FC236}">
                    <a16:creationId xmlns:a16="http://schemas.microsoft.com/office/drawing/2014/main" id="{C7C407E9-1BF9-4761-AAF5-A3798F183871}"/>
                  </a:ext>
                </a:extLst>
              </p:cNvPr>
              <p:cNvSpPr/>
              <p:nvPr/>
            </p:nvSpPr>
            <p:spPr>
              <a:xfrm>
                <a:off x="3029569" y="2772723"/>
                <a:ext cx="128129" cy="12329"/>
              </a:xfrm>
              <a:custGeom>
                <a:avLst/>
                <a:gdLst>
                  <a:gd name="connsiteX0" fmla="*/ 0 w 128129"/>
                  <a:gd name="connsiteY0" fmla="*/ 0 h 12329"/>
                  <a:gd name="connsiteX1" fmla="*/ 128130 w 128129"/>
                  <a:gd name="connsiteY1" fmla="*/ 0 h 12329"/>
                  <a:gd name="connsiteX2" fmla="*/ 128130 w 128129"/>
                  <a:gd name="connsiteY2" fmla="*/ 12329 h 12329"/>
                  <a:gd name="connsiteX3" fmla="*/ 0 w 128129"/>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28129" h="12329">
                    <a:moveTo>
                      <a:pt x="0" y="0"/>
                    </a:moveTo>
                    <a:lnTo>
                      <a:pt x="128130" y="0"/>
                    </a:lnTo>
                    <a:lnTo>
                      <a:pt x="128130"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161" name="Freihandform: Form 153">
                <a:extLst>
                  <a:ext uri="{FF2B5EF4-FFF2-40B4-BE49-F238E27FC236}">
                    <a16:creationId xmlns:a16="http://schemas.microsoft.com/office/drawing/2014/main" id="{121047FF-1500-4D01-BE1B-E60AF9C03D08}"/>
                  </a:ext>
                </a:extLst>
              </p:cNvPr>
              <p:cNvSpPr/>
              <p:nvPr/>
            </p:nvSpPr>
            <p:spPr>
              <a:xfrm>
                <a:off x="2958873" y="2695371"/>
                <a:ext cx="198825" cy="200618"/>
              </a:xfrm>
              <a:custGeom>
                <a:avLst/>
                <a:gdLst>
                  <a:gd name="connsiteX0" fmla="*/ 198826 w 198825"/>
                  <a:gd name="connsiteY0" fmla="*/ 200618 h 200618"/>
                  <a:gd name="connsiteX1" fmla="*/ 138838 w 198825"/>
                  <a:gd name="connsiteY1" fmla="*/ 200618 h 200618"/>
                  <a:gd name="connsiteX2" fmla="*/ 138838 w 198825"/>
                  <a:gd name="connsiteY2" fmla="*/ 188289 h 200618"/>
                  <a:gd name="connsiteX3" fmla="*/ 186497 w 198825"/>
                  <a:gd name="connsiteY3" fmla="*/ 188289 h 200618"/>
                  <a:gd name="connsiteX4" fmla="*/ 186497 w 198825"/>
                  <a:gd name="connsiteY4" fmla="*/ 12341 h 200618"/>
                  <a:gd name="connsiteX5" fmla="*/ 118109 w 198825"/>
                  <a:gd name="connsiteY5" fmla="*/ 12341 h 200618"/>
                  <a:gd name="connsiteX6" fmla="*/ 104503 w 198825"/>
                  <a:gd name="connsiteY6" fmla="*/ 21441 h 200618"/>
                  <a:gd name="connsiteX7" fmla="*/ 76861 w 198825"/>
                  <a:gd name="connsiteY7" fmla="*/ 88527 h 200618"/>
                  <a:gd name="connsiteX8" fmla="*/ 22632 w 198825"/>
                  <a:gd name="connsiteY8" fmla="*/ 105583 h 200618"/>
                  <a:gd name="connsiteX9" fmla="*/ 12329 w 198825"/>
                  <a:gd name="connsiteY9" fmla="*/ 119607 h 200618"/>
                  <a:gd name="connsiteX10" fmla="*/ 12329 w 198825"/>
                  <a:gd name="connsiteY10" fmla="*/ 188289 h 200618"/>
                  <a:gd name="connsiteX11" fmla="*/ 66582 w 198825"/>
                  <a:gd name="connsiteY11" fmla="*/ 188289 h 200618"/>
                  <a:gd name="connsiteX12" fmla="*/ 66582 w 198825"/>
                  <a:gd name="connsiteY12" fmla="*/ 200618 h 200618"/>
                  <a:gd name="connsiteX13" fmla="*/ 0 w 198825"/>
                  <a:gd name="connsiteY13" fmla="*/ 200618 h 200618"/>
                  <a:gd name="connsiteX14" fmla="*/ 0 w 198825"/>
                  <a:gd name="connsiteY14" fmla="*/ 119595 h 200618"/>
                  <a:gd name="connsiteX15" fmla="*/ 18924 w 198825"/>
                  <a:gd name="connsiteY15" fmla="*/ 93807 h 200618"/>
                  <a:gd name="connsiteX16" fmla="*/ 67663 w 198825"/>
                  <a:gd name="connsiteY16" fmla="*/ 78494 h 200618"/>
                  <a:gd name="connsiteX17" fmla="*/ 93107 w 198825"/>
                  <a:gd name="connsiteY17" fmla="*/ 16738 h 200618"/>
                  <a:gd name="connsiteX18" fmla="*/ 118109 w 198825"/>
                  <a:gd name="connsiteY18" fmla="*/ 0 h 200618"/>
                  <a:gd name="connsiteX19" fmla="*/ 198826 w 198825"/>
                  <a:gd name="connsiteY19" fmla="*/ 0 h 200618"/>
                  <a:gd name="connsiteX20" fmla="*/ 198826 w 198825"/>
                  <a:gd name="connsiteY20" fmla="*/ 200618 h 200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825" h="200618">
                    <a:moveTo>
                      <a:pt x="198826" y="200618"/>
                    </a:moveTo>
                    <a:lnTo>
                      <a:pt x="138838" y="200618"/>
                    </a:lnTo>
                    <a:lnTo>
                      <a:pt x="138838" y="188289"/>
                    </a:lnTo>
                    <a:lnTo>
                      <a:pt x="186497" y="188289"/>
                    </a:lnTo>
                    <a:lnTo>
                      <a:pt x="186497" y="12341"/>
                    </a:lnTo>
                    <a:lnTo>
                      <a:pt x="118109" y="12341"/>
                    </a:lnTo>
                    <a:cubicBezTo>
                      <a:pt x="112129" y="12341"/>
                      <a:pt x="106787" y="15915"/>
                      <a:pt x="104503" y="21441"/>
                    </a:cubicBezTo>
                    <a:lnTo>
                      <a:pt x="76861" y="88527"/>
                    </a:lnTo>
                    <a:lnTo>
                      <a:pt x="22632" y="105583"/>
                    </a:lnTo>
                    <a:cubicBezTo>
                      <a:pt x="16468" y="107511"/>
                      <a:pt x="12329" y="113148"/>
                      <a:pt x="12329" y="119607"/>
                    </a:cubicBezTo>
                    <a:lnTo>
                      <a:pt x="12329" y="188289"/>
                    </a:lnTo>
                    <a:lnTo>
                      <a:pt x="66582" y="188289"/>
                    </a:lnTo>
                    <a:lnTo>
                      <a:pt x="66582" y="200618"/>
                    </a:lnTo>
                    <a:lnTo>
                      <a:pt x="0" y="200618"/>
                    </a:lnTo>
                    <a:lnTo>
                      <a:pt x="0" y="119595"/>
                    </a:lnTo>
                    <a:cubicBezTo>
                      <a:pt x="0" y="107732"/>
                      <a:pt x="7614" y="97368"/>
                      <a:pt x="18924" y="93807"/>
                    </a:cubicBezTo>
                    <a:lnTo>
                      <a:pt x="67663" y="78494"/>
                    </a:lnTo>
                    <a:lnTo>
                      <a:pt x="93107" y="16738"/>
                    </a:lnTo>
                    <a:cubicBezTo>
                      <a:pt x="97295" y="6570"/>
                      <a:pt x="107119" y="0"/>
                      <a:pt x="118109" y="0"/>
                    </a:cubicBezTo>
                    <a:lnTo>
                      <a:pt x="198826" y="0"/>
                    </a:lnTo>
                    <a:lnTo>
                      <a:pt x="198826" y="200618"/>
                    </a:lnTo>
                    <a:close/>
                  </a:path>
                </a:pathLst>
              </a:custGeom>
              <a:solidFill>
                <a:schemeClr val="tx2"/>
              </a:solidFill>
              <a:ln w="1228" cap="flat">
                <a:noFill/>
                <a:prstDash val="solid"/>
                <a:miter/>
              </a:ln>
            </p:spPr>
            <p:txBody>
              <a:bodyPr rtlCol="0" anchor="ctr"/>
              <a:lstStyle/>
              <a:p>
                <a:endParaRPr lang="en-GB" dirty="0"/>
              </a:p>
            </p:txBody>
          </p:sp>
          <p:sp>
            <p:nvSpPr>
              <p:cNvPr id="162" name="Freihandform: Form 154">
                <a:extLst>
                  <a:ext uri="{FF2B5EF4-FFF2-40B4-BE49-F238E27FC236}">
                    <a16:creationId xmlns:a16="http://schemas.microsoft.com/office/drawing/2014/main" id="{AD5439CF-F92A-4137-81FE-18ABE6085C95}"/>
                  </a:ext>
                </a:extLst>
              </p:cNvPr>
              <p:cNvSpPr/>
              <p:nvPr/>
            </p:nvSpPr>
            <p:spPr>
              <a:xfrm>
                <a:off x="2958873" y="2843051"/>
                <a:ext cx="30798" cy="12329"/>
              </a:xfrm>
              <a:custGeom>
                <a:avLst/>
                <a:gdLst>
                  <a:gd name="connsiteX0" fmla="*/ 0 w 30798"/>
                  <a:gd name="connsiteY0" fmla="*/ 0 h 12329"/>
                  <a:gd name="connsiteX1" fmla="*/ 30798 w 30798"/>
                  <a:gd name="connsiteY1" fmla="*/ 0 h 12329"/>
                  <a:gd name="connsiteX2" fmla="*/ 30798 w 30798"/>
                  <a:gd name="connsiteY2" fmla="*/ 12329 h 12329"/>
                  <a:gd name="connsiteX3" fmla="*/ 0 w 30798"/>
                  <a:gd name="connsiteY3" fmla="*/ 12329 h 12329"/>
                </a:gdLst>
                <a:ahLst/>
                <a:cxnLst>
                  <a:cxn ang="0">
                    <a:pos x="connsiteX0" y="connsiteY0"/>
                  </a:cxn>
                  <a:cxn ang="0">
                    <a:pos x="connsiteX1" y="connsiteY1"/>
                  </a:cxn>
                  <a:cxn ang="0">
                    <a:pos x="connsiteX2" y="connsiteY2"/>
                  </a:cxn>
                  <a:cxn ang="0">
                    <a:pos x="connsiteX3" y="connsiteY3"/>
                  </a:cxn>
                </a:cxnLst>
                <a:rect l="l" t="t" r="r" b="b"/>
                <a:pathLst>
                  <a:path w="30798" h="12329">
                    <a:moveTo>
                      <a:pt x="0" y="0"/>
                    </a:moveTo>
                    <a:lnTo>
                      <a:pt x="30798" y="0"/>
                    </a:lnTo>
                    <a:lnTo>
                      <a:pt x="30798"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163" name="Freihandform: Form 155">
                <a:extLst>
                  <a:ext uri="{FF2B5EF4-FFF2-40B4-BE49-F238E27FC236}">
                    <a16:creationId xmlns:a16="http://schemas.microsoft.com/office/drawing/2014/main" id="{005DDF12-5E6B-4CC4-B01C-90054AED1A29}"/>
                  </a:ext>
                </a:extLst>
              </p:cNvPr>
              <p:cNvSpPr/>
              <p:nvPr/>
            </p:nvSpPr>
            <p:spPr>
              <a:xfrm>
                <a:off x="3464908" y="2883661"/>
                <a:ext cx="18456" cy="12329"/>
              </a:xfrm>
              <a:custGeom>
                <a:avLst/>
                <a:gdLst>
                  <a:gd name="connsiteX0" fmla="*/ 0 w 18456"/>
                  <a:gd name="connsiteY0" fmla="*/ 0 h 12329"/>
                  <a:gd name="connsiteX1" fmla="*/ 18457 w 18456"/>
                  <a:gd name="connsiteY1" fmla="*/ 0 h 12329"/>
                  <a:gd name="connsiteX2" fmla="*/ 18457 w 18456"/>
                  <a:gd name="connsiteY2" fmla="*/ 12329 h 12329"/>
                  <a:gd name="connsiteX3" fmla="*/ 0 w 18456"/>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8456" h="12329">
                    <a:moveTo>
                      <a:pt x="0" y="0"/>
                    </a:moveTo>
                    <a:lnTo>
                      <a:pt x="18457" y="0"/>
                    </a:lnTo>
                    <a:lnTo>
                      <a:pt x="18457"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164" name="Freihandform: Form 156">
                <a:extLst>
                  <a:ext uri="{FF2B5EF4-FFF2-40B4-BE49-F238E27FC236}">
                    <a16:creationId xmlns:a16="http://schemas.microsoft.com/office/drawing/2014/main" id="{3FFB0829-AF45-40DD-91E3-3DC0CDEE6B41}"/>
                  </a:ext>
                </a:extLst>
              </p:cNvPr>
              <p:cNvSpPr/>
              <p:nvPr/>
            </p:nvSpPr>
            <p:spPr>
              <a:xfrm>
                <a:off x="3464908" y="2845261"/>
                <a:ext cx="18456" cy="12329"/>
              </a:xfrm>
              <a:custGeom>
                <a:avLst/>
                <a:gdLst>
                  <a:gd name="connsiteX0" fmla="*/ 0 w 18456"/>
                  <a:gd name="connsiteY0" fmla="*/ 0 h 12329"/>
                  <a:gd name="connsiteX1" fmla="*/ 18457 w 18456"/>
                  <a:gd name="connsiteY1" fmla="*/ 0 h 12329"/>
                  <a:gd name="connsiteX2" fmla="*/ 18457 w 18456"/>
                  <a:gd name="connsiteY2" fmla="*/ 12329 h 12329"/>
                  <a:gd name="connsiteX3" fmla="*/ 0 w 18456"/>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8456" h="12329">
                    <a:moveTo>
                      <a:pt x="0" y="0"/>
                    </a:moveTo>
                    <a:lnTo>
                      <a:pt x="18457" y="0"/>
                    </a:lnTo>
                    <a:lnTo>
                      <a:pt x="18457"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165" name="Freihandform: Form 157">
                <a:extLst>
                  <a:ext uri="{FF2B5EF4-FFF2-40B4-BE49-F238E27FC236}">
                    <a16:creationId xmlns:a16="http://schemas.microsoft.com/office/drawing/2014/main" id="{EF4BF3B3-2961-4143-9494-EFC1521C9D24}"/>
                  </a:ext>
                </a:extLst>
              </p:cNvPr>
              <p:cNvSpPr/>
              <p:nvPr/>
            </p:nvSpPr>
            <p:spPr>
              <a:xfrm>
                <a:off x="3151534" y="2883661"/>
                <a:ext cx="202755" cy="12329"/>
              </a:xfrm>
              <a:custGeom>
                <a:avLst/>
                <a:gdLst>
                  <a:gd name="connsiteX0" fmla="*/ 0 w 202755"/>
                  <a:gd name="connsiteY0" fmla="*/ 0 h 12329"/>
                  <a:gd name="connsiteX1" fmla="*/ 202755 w 202755"/>
                  <a:gd name="connsiteY1" fmla="*/ 0 h 12329"/>
                  <a:gd name="connsiteX2" fmla="*/ 202755 w 202755"/>
                  <a:gd name="connsiteY2" fmla="*/ 12329 h 12329"/>
                  <a:gd name="connsiteX3" fmla="*/ 0 w 20275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02755" h="12329">
                    <a:moveTo>
                      <a:pt x="0" y="0"/>
                    </a:moveTo>
                    <a:lnTo>
                      <a:pt x="202755" y="0"/>
                    </a:lnTo>
                    <a:lnTo>
                      <a:pt x="202755"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166" name="Freihandform: Form 158">
                <a:extLst>
                  <a:ext uri="{FF2B5EF4-FFF2-40B4-BE49-F238E27FC236}">
                    <a16:creationId xmlns:a16="http://schemas.microsoft.com/office/drawing/2014/main" id="{DB45A1C2-9A05-4806-B33E-7F920F19B5DD}"/>
                  </a:ext>
                </a:extLst>
              </p:cNvPr>
              <p:cNvSpPr/>
              <p:nvPr/>
            </p:nvSpPr>
            <p:spPr>
              <a:xfrm>
                <a:off x="3179238" y="2695383"/>
                <a:ext cx="18456" cy="12329"/>
              </a:xfrm>
              <a:custGeom>
                <a:avLst/>
                <a:gdLst>
                  <a:gd name="connsiteX0" fmla="*/ 0 w 18456"/>
                  <a:gd name="connsiteY0" fmla="*/ 0 h 12329"/>
                  <a:gd name="connsiteX1" fmla="*/ 18457 w 18456"/>
                  <a:gd name="connsiteY1" fmla="*/ 0 h 12329"/>
                  <a:gd name="connsiteX2" fmla="*/ 18457 w 18456"/>
                  <a:gd name="connsiteY2" fmla="*/ 12329 h 12329"/>
                  <a:gd name="connsiteX3" fmla="*/ 0 w 18456"/>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8456" h="12329">
                    <a:moveTo>
                      <a:pt x="0" y="0"/>
                    </a:moveTo>
                    <a:lnTo>
                      <a:pt x="18457" y="0"/>
                    </a:lnTo>
                    <a:lnTo>
                      <a:pt x="18457"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167" name="Freihandform: Form 159">
                <a:extLst>
                  <a:ext uri="{FF2B5EF4-FFF2-40B4-BE49-F238E27FC236}">
                    <a16:creationId xmlns:a16="http://schemas.microsoft.com/office/drawing/2014/main" id="{3FD20CA1-6E23-48D3-B838-CF033C2A7839}"/>
                  </a:ext>
                </a:extLst>
              </p:cNvPr>
              <p:cNvSpPr/>
              <p:nvPr/>
            </p:nvSpPr>
            <p:spPr>
              <a:xfrm>
                <a:off x="3255902" y="2621544"/>
                <a:ext cx="104637" cy="49242"/>
              </a:xfrm>
              <a:custGeom>
                <a:avLst/>
                <a:gdLst>
                  <a:gd name="connsiteX0" fmla="*/ 86144 w 104637"/>
                  <a:gd name="connsiteY0" fmla="*/ 49243 h 49242"/>
                  <a:gd name="connsiteX1" fmla="*/ 18494 w 104637"/>
                  <a:gd name="connsiteY1" fmla="*/ 49243 h 49242"/>
                  <a:gd name="connsiteX2" fmla="*/ 0 w 104637"/>
                  <a:gd name="connsiteY2" fmla="*/ 30749 h 49242"/>
                  <a:gd name="connsiteX3" fmla="*/ 0 w 104637"/>
                  <a:gd name="connsiteY3" fmla="*/ 18494 h 49242"/>
                  <a:gd name="connsiteX4" fmla="*/ 18494 w 104637"/>
                  <a:gd name="connsiteY4" fmla="*/ 0 h 49242"/>
                  <a:gd name="connsiteX5" fmla="*/ 86144 w 104637"/>
                  <a:gd name="connsiteY5" fmla="*/ 0 h 49242"/>
                  <a:gd name="connsiteX6" fmla="*/ 104638 w 104637"/>
                  <a:gd name="connsiteY6" fmla="*/ 18494 h 49242"/>
                  <a:gd name="connsiteX7" fmla="*/ 104638 w 104637"/>
                  <a:gd name="connsiteY7" fmla="*/ 30749 h 49242"/>
                  <a:gd name="connsiteX8" fmla="*/ 86144 w 104637"/>
                  <a:gd name="connsiteY8" fmla="*/ 49243 h 49242"/>
                  <a:gd name="connsiteX9" fmla="*/ 18494 w 104637"/>
                  <a:gd name="connsiteY9" fmla="*/ 12317 h 49242"/>
                  <a:gd name="connsiteX10" fmla="*/ 12329 w 104637"/>
                  <a:gd name="connsiteY10" fmla="*/ 18481 h 49242"/>
                  <a:gd name="connsiteX11" fmla="*/ 12329 w 104637"/>
                  <a:gd name="connsiteY11" fmla="*/ 30737 h 49242"/>
                  <a:gd name="connsiteX12" fmla="*/ 18494 w 104637"/>
                  <a:gd name="connsiteY12" fmla="*/ 36901 h 49242"/>
                  <a:gd name="connsiteX13" fmla="*/ 86144 w 104637"/>
                  <a:gd name="connsiteY13" fmla="*/ 36901 h 49242"/>
                  <a:gd name="connsiteX14" fmla="*/ 92309 w 104637"/>
                  <a:gd name="connsiteY14" fmla="*/ 30737 h 49242"/>
                  <a:gd name="connsiteX15" fmla="*/ 92309 w 104637"/>
                  <a:gd name="connsiteY15" fmla="*/ 18481 h 49242"/>
                  <a:gd name="connsiteX16" fmla="*/ 86144 w 104637"/>
                  <a:gd name="connsiteY16" fmla="*/ 12317 h 49242"/>
                  <a:gd name="connsiteX17" fmla="*/ 18494 w 104637"/>
                  <a:gd name="connsiteY17" fmla="*/ 12317 h 49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4637" h="49242">
                    <a:moveTo>
                      <a:pt x="86144" y="49243"/>
                    </a:moveTo>
                    <a:lnTo>
                      <a:pt x="18494" y="49243"/>
                    </a:lnTo>
                    <a:cubicBezTo>
                      <a:pt x="8289" y="49243"/>
                      <a:pt x="0" y="40942"/>
                      <a:pt x="0" y="30749"/>
                    </a:cubicBezTo>
                    <a:lnTo>
                      <a:pt x="0" y="18494"/>
                    </a:lnTo>
                    <a:cubicBezTo>
                      <a:pt x="0" y="8289"/>
                      <a:pt x="8301" y="0"/>
                      <a:pt x="18494" y="0"/>
                    </a:cubicBezTo>
                    <a:lnTo>
                      <a:pt x="86144" y="0"/>
                    </a:lnTo>
                    <a:cubicBezTo>
                      <a:pt x="96349" y="0"/>
                      <a:pt x="104638" y="8301"/>
                      <a:pt x="104638" y="18494"/>
                    </a:cubicBezTo>
                    <a:lnTo>
                      <a:pt x="104638" y="30749"/>
                    </a:lnTo>
                    <a:cubicBezTo>
                      <a:pt x="104650" y="40942"/>
                      <a:pt x="96349" y="49243"/>
                      <a:pt x="86144" y="49243"/>
                    </a:cubicBezTo>
                    <a:close/>
                    <a:moveTo>
                      <a:pt x="18494" y="12317"/>
                    </a:moveTo>
                    <a:cubicBezTo>
                      <a:pt x="15092" y="12317"/>
                      <a:pt x="12329" y="15080"/>
                      <a:pt x="12329" y="18481"/>
                    </a:cubicBezTo>
                    <a:lnTo>
                      <a:pt x="12329" y="30737"/>
                    </a:lnTo>
                    <a:cubicBezTo>
                      <a:pt x="12329" y="34138"/>
                      <a:pt x="15104" y="36901"/>
                      <a:pt x="18494" y="36901"/>
                    </a:cubicBezTo>
                    <a:lnTo>
                      <a:pt x="86144" y="36901"/>
                    </a:lnTo>
                    <a:cubicBezTo>
                      <a:pt x="89546" y="36901"/>
                      <a:pt x="92309" y="34138"/>
                      <a:pt x="92309" y="30737"/>
                    </a:cubicBezTo>
                    <a:lnTo>
                      <a:pt x="92309" y="18481"/>
                    </a:lnTo>
                    <a:cubicBezTo>
                      <a:pt x="92309" y="15080"/>
                      <a:pt x="89533" y="12317"/>
                      <a:pt x="86144" y="12317"/>
                    </a:cubicBezTo>
                    <a:lnTo>
                      <a:pt x="18494" y="12317"/>
                    </a:lnTo>
                    <a:close/>
                  </a:path>
                </a:pathLst>
              </a:custGeom>
              <a:solidFill>
                <a:schemeClr val="tx2"/>
              </a:solidFill>
              <a:ln w="1228" cap="flat">
                <a:noFill/>
                <a:prstDash val="solid"/>
                <a:miter/>
              </a:ln>
            </p:spPr>
            <p:txBody>
              <a:bodyPr rtlCol="0" anchor="ctr"/>
              <a:lstStyle/>
              <a:p>
                <a:endParaRPr lang="en-GB" dirty="0"/>
              </a:p>
            </p:txBody>
          </p:sp>
          <p:sp>
            <p:nvSpPr>
              <p:cNvPr id="168" name="Freihandform: Form 160">
                <a:extLst>
                  <a:ext uri="{FF2B5EF4-FFF2-40B4-BE49-F238E27FC236}">
                    <a16:creationId xmlns:a16="http://schemas.microsoft.com/office/drawing/2014/main" id="{ECF0C384-029D-4F4A-A4F1-5FEA2D312283}"/>
                  </a:ext>
                </a:extLst>
              </p:cNvPr>
              <p:cNvSpPr/>
              <p:nvPr/>
            </p:nvSpPr>
            <p:spPr>
              <a:xfrm>
                <a:off x="3302050" y="2627696"/>
                <a:ext cx="12329" cy="36925"/>
              </a:xfrm>
              <a:custGeom>
                <a:avLst/>
                <a:gdLst>
                  <a:gd name="connsiteX0" fmla="*/ 0 w 12329"/>
                  <a:gd name="connsiteY0" fmla="*/ 0 h 36925"/>
                  <a:gd name="connsiteX1" fmla="*/ 12329 w 12329"/>
                  <a:gd name="connsiteY1" fmla="*/ 0 h 36925"/>
                  <a:gd name="connsiteX2" fmla="*/ 12329 w 12329"/>
                  <a:gd name="connsiteY2" fmla="*/ 36926 h 36925"/>
                  <a:gd name="connsiteX3" fmla="*/ 0 w 12329"/>
                  <a:gd name="connsiteY3" fmla="*/ 36926 h 36925"/>
                </a:gdLst>
                <a:ahLst/>
                <a:cxnLst>
                  <a:cxn ang="0">
                    <a:pos x="connsiteX0" y="connsiteY0"/>
                  </a:cxn>
                  <a:cxn ang="0">
                    <a:pos x="connsiteX1" y="connsiteY1"/>
                  </a:cxn>
                  <a:cxn ang="0">
                    <a:pos x="connsiteX2" y="connsiteY2"/>
                  </a:cxn>
                  <a:cxn ang="0">
                    <a:pos x="connsiteX3" y="connsiteY3"/>
                  </a:cxn>
                </a:cxnLst>
                <a:rect l="l" t="t" r="r" b="b"/>
                <a:pathLst>
                  <a:path w="12329" h="36925">
                    <a:moveTo>
                      <a:pt x="0" y="0"/>
                    </a:moveTo>
                    <a:lnTo>
                      <a:pt x="12329" y="0"/>
                    </a:lnTo>
                    <a:lnTo>
                      <a:pt x="12329" y="36926"/>
                    </a:lnTo>
                    <a:lnTo>
                      <a:pt x="0" y="36926"/>
                    </a:lnTo>
                    <a:close/>
                  </a:path>
                </a:pathLst>
              </a:custGeom>
              <a:solidFill>
                <a:schemeClr val="tx2"/>
              </a:solidFill>
              <a:ln w="1228" cap="flat">
                <a:noFill/>
                <a:prstDash val="solid"/>
                <a:miter/>
              </a:ln>
            </p:spPr>
            <p:txBody>
              <a:bodyPr rtlCol="0" anchor="ctr"/>
              <a:lstStyle/>
              <a:p>
                <a:endParaRPr lang="en-GB" dirty="0"/>
              </a:p>
            </p:txBody>
          </p:sp>
          <p:grpSp>
            <p:nvGrpSpPr>
              <p:cNvPr id="169" name="Grafik 11">
                <a:extLst>
                  <a:ext uri="{FF2B5EF4-FFF2-40B4-BE49-F238E27FC236}">
                    <a16:creationId xmlns:a16="http://schemas.microsoft.com/office/drawing/2014/main" id="{FEDE7C25-170B-4EEB-A0E5-8BAF2FE51689}"/>
                  </a:ext>
                </a:extLst>
              </p:cNvPr>
              <p:cNvGrpSpPr/>
              <p:nvPr/>
            </p:nvGrpSpPr>
            <p:grpSpPr>
              <a:xfrm>
                <a:off x="3151534" y="2745560"/>
                <a:ext cx="285694" cy="63328"/>
                <a:chOff x="3151534" y="2745560"/>
                <a:chExt cx="285694" cy="63328"/>
              </a:xfrm>
              <a:solidFill>
                <a:srgbClr val="4D4E53"/>
              </a:solidFill>
            </p:grpSpPr>
            <p:grpSp>
              <p:nvGrpSpPr>
                <p:cNvPr id="171" name="Grafik 11">
                  <a:extLst>
                    <a:ext uri="{FF2B5EF4-FFF2-40B4-BE49-F238E27FC236}">
                      <a16:creationId xmlns:a16="http://schemas.microsoft.com/office/drawing/2014/main" id="{F821672C-11D4-4830-BA85-55773D7B81B0}"/>
                    </a:ext>
                  </a:extLst>
                </p:cNvPr>
                <p:cNvGrpSpPr/>
                <p:nvPr/>
              </p:nvGrpSpPr>
              <p:grpSpPr>
                <a:xfrm>
                  <a:off x="3278227" y="2745560"/>
                  <a:ext cx="60012" cy="63328"/>
                  <a:chOff x="3278227" y="2745560"/>
                  <a:chExt cx="60012" cy="63328"/>
                </a:xfrm>
                <a:solidFill>
                  <a:srgbClr val="4D4E53"/>
                </a:solidFill>
              </p:grpSpPr>
              <p:sp>
                <p:nvSpPr>
                  <p:cNvPr id="174" name="Freihandform: Form 163">
                    <a:extLst>
                      <a:ext uri="{FF2B5EF4-FFF2-40B4-BE49-F238E27FC236}">
                        <a16:creationId xmlns:a16="http://schemas.microsoft.com/office/drawing/2014/main" id="{5810DBB4-4D9D-476B-85CB-B15CC816525E}"/>
                      </a:ext>
                    </a:extLst>
                  </p:cNvPr>
                  <p:cNvSpPr/>
                  <p:nvPr/>
                </p:nvSpPr>
                <p:spPr>
                  <a:xfrm>
                    <a:off x="3302050" y="2745560"/>
                    <a:ext cx="12329" cy="63328"/>
                  </a:xfrm>
                  <a:custGeom>
                    <a:avLst/>
                    <a:gdLst>
                      <a:gd name="connsiteX0" fmla="*/ 0 w 12329"/>
                      <a:gd name="connsiteY0" fmla="*/ 0 h 63328"/>
                      <a:gd name="connsiteX1" fmla="*/ 12329 w 12329"/>
                      <a:gd name="connsiteY1" fmla="*/ 0 h 63328"/>
                      <a:gd name="connsiteX2" fmla="*/ 12329 w 12329"/>
                      <a:gd name="connsiteY2" fmla="*/ 63328 h 63328"/>
                      <a:gd name="connsiteX3" fmla="*/ 0 w 12329"/>
                      <a:gd name="connsiteY3" fmla="*/ 63328 h 63328"/>
                    </a:gdLst>
                    <a:ahLst/>
                    <a:cxnLst>
                      <a:cxn ang="0">
                        <a:pos x="connsiteX0" y="connsiteY0"/>
                      </a:cxn>
                      <a:cxn ang="0">
                        <a:pos x="connsiteX1" y="connsiteY1"/>
                      </a:cxn>
                      <a:cxn ang="0">
                        <a:pos x="connsiteX2" y="connsiteY2"/>
                      </a:cxn>
                      <a:cxn ang="0">
                        <a:pos x="connsiteX3" y="connsiteY3"/>
                      </a:cxn>
                    </a:cxnLst>
                    <a:rect l="l" t="t" r="r" b="b"/>
                    <a:pathLst>
                      <a:path w="12329" h="63328">
                        <a:moveTo>
                          <a:pt x="0" y="0"/>
                        </a:moveTo>
                        <a:lnTo>
                          <a:pt x="12329" y="0"/>
                        </a:lnTo>
                        <a:lnTo>
                          <a:pt x="12329" y="63328"/>
                        </a:lnTo>
                        <a:lnTo>
                          <a:pt x="0" y="63328"/>
                        </a:lnTo>
                        <a:close/>
                      </a:path>
                    </a:pathLst>
                  </a:custGeom>
                  <a:solidFill>
                    <a:schemeClr val="tx2"/>
                  </a:solidFill>
                  <a:ln w="1228" cap="flat">
                    <a:noFill/>
                    <a:prstDash val="solid"/>
                    <a:miter/>
                  </a:ln>
                </p:spPr>
                <p:txBody>
                  <a:bodyPr rtlCol="0" anchor="ctr"/>
                  <a:lstStyle/>
                  <a:p>
                    <a:endParaRPr lang="en-GB" dirty="0"/>
                  </a:p>
                </p:txBody>
              </p:sp>
              <p:sp>
                <p:nvSpPr>
                  <p:cNvPr id="175" name="Freihandform: Form 164">
                    <a:extLst>
                      <a:ext uri="{FF2B5EF4-FFF2-40B4-BE49-F238E27FC236}">
                        <a16:creationId xmlns:a16="http://schemas.microsoft.com/office/drawing/2014/main" id="{A1249BC9-4136-4CAA-BA0F-59F243D19C79}"/>
                      </a:ext>
                    </a:extLst>
                  </p:cNvPr>
                  <p:cNvSpPr/>
                  <p:nvPr/>
                </p:nvSpPr>
                <p:spPr>
                  <a:xfrm>
                    <a:off x="3278227" y="2772723"/>
                    <a:ext cx="60012" cy="12329"/>
                  </a:xfrm>
                  <a:custGeom>
                    <a:avLst/>
                    <a:gdLst>
                      <a:gd name="connsiteX0" fmla="*/ 0 w 60012"/>
                      <a:gd name="connsiteY0" fmla="*/ 0 h 12329"/>
                      <a:gd name="connsiteX1" fmla="*/ 60013 w 60012"/>
                      <a:gd name="connsiteY1" fmla="*/ 0 h 12329"/>
                      <a:gd name="connsiteX2" fmla="*/ 60013 w 60012"/>
                      <a:gd name="connsiteY2" fmla="*/ 12329 h 12329"/>
                      <a:gd name="connsiteX3" fmla="*/ 0 w 60012"/>
                      <a:gd name="connsiteY3" fmla="*/ 12329 h 12329"/>
                    </a:gdLst>
                    <a:ahLst/>
                    <a:cxnLst>
                      <a:cxn ang="0">
                        <a:pos x="connsiteX0" y="connsiteY0"/>
                      </a:cxn>
                      <a:cxn ang="0">
                        <a:pos x="connsiteX1" y="connsiteY1"/>
                      </a:cxn>
                      <a:cxn ang="0">
                        <a:pos x="connsiteX2" y="connsiteY2"/>
                      </a:cxn>
                      <a:cxn ang="0">
                        <a:pos x="connsiteX3" y="connsiteY3"/>
                      </a:cxn>
                    </a:cxnLst>
                    <a:rect l="l" t="t" r="r" b="b"/>
                    <a:pathLst>
                      <a:path w="60012" h="12329">
                        <a:moveTo>
                          <a:pt x="0" y="0"/>
                        </a:moveTo>
                        <a:lnTo>
                          <a:pt x="60013" y="0"/>
                        </a:lnTo>
                        <a:lnTo>
                          <a:pt x="60013" y="12329"/>
                        </a:lnTo>
                        <a:lnTo>
                          <a:pt x="0" y="12329"/>
                        </a:lnTo>
                        <a:close/>
                      </a:path>
                    </a:pathLst>
                  </a:custGeom>
                  <a:solidFill>
                    <a:schemeClr val="tx2"/>
                  </a:solidFill>
                  <a:ln w="1228" cap="flat">
                    <a:noFill/>
                    <a:prstDash val="solid"/>
                    <a:miter/>
                  </a:ln>
                </p:spPr>
                <p:txBody>
                  <a:bodyPr rtlCol="0" anchor="ctr"/>
                  <a:lstStyle/>
                  <a:p>
                    <a:endParaRPr lang="en-GB" dirty="0"/>
                  </a:p>
                </p:txBody>
              </p:sp>
            </p:grpSp>
            <p:sp>
              <p:nvSpPr>
                <p:cNvPr id="172" name="Freihandform: Form 165">
                  <a:extLst>
                    <a:ext uri="{FF2B5EF4-FFF2-40B4-BE49-F238E27FC236}">
                      <a16:creationId xmlns:a16="http://schemas.microsoft.com/office/drawing/2014/main" id="{C030392E-DBCC-4951-B669-C9D25D2978FB}"/>
                    </a:ext>
                  </a:extLst>
                </p:cNvPr>
                <p:cNvSpPr/>
                <p:nvPr/>
              </p:nvSpPr>
              <p:spPr>
                <a:xfrm>
                  <a:off x="3356696" y="2772723"/>
                  <a:ext cx="80532" cy="12329"/>
                </a:xfrm>
                <a:custGeom>
                  <a:avLst/>
                  <a:gdLst>
                    <a:gd name="connsiteX0" fmla="*/ 0 w 80532"/>
                    <a:gd name="connsiteY0" fmla="*/ 0 h 12329"/>
                    <a:gd name="connsiteX1" fmla="*/ 80533 w 80532"/>
                    <a:gd name="connsiteY1" fmla="*/ 0 h 12329"/>
                    <a:gd name="connsiteX2" fmla="*/ 80533 w 80532"/>
                    <a:gd name="connsiteY2" fmla="*/ 12329 h 12329"/>
                    <a:gd name="connsiteX3" fmla="*/ 0 w 80532"/>
                    <a:gd name="connsiteY3" fmla="*/ 12329 h 12329"/>
                  </a:gdLst>
                  <a:ahLst/>
                  <a:cxnLst>
                    <a:cxn ang="0">
                      <a:pos x="connsiteX0" y="connsiteY0"/>
                    </a:cxn>
                    <a:cxn ang="0">
                      <a:pos x="connsiteX1" y="connsiteY1"/>
                    </a:cxn>
                    <a:cxn ang="0">
                      <a:pos x="connsiteX2" y="connsiteY2"/>
                    </a:cxn>
                    <a:cxn ang="0">
                      <a:pos x="connsiteX3" y="connsiteY3"/>
                    </a:cxn>
                  </a:cxnLst>
                  <a:rect l="l" t="t" r="r" b="b"/>
                  <a:pathLst>
                    <a:path w="80532" h="12329">
                      <a:moveTo>
                        <a:pt x="0" y="0"/>
                      </a:moveTo>
                      <a:lnTo>
                        <a:pt x="80533" y="0"/>
                      </a:lnTo>
                      <a:lnTo>
                        <a:pt x="8053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173" name="Freihandform: Form 166">
                  <a:extLst>
                    <a:ext uri="{FF2B5EF4-FFF2-40B4-BE49-F238E27FC236}">
                      <a16:creationId xmlns:a16="http://schemas.microsoft.com/office/drawing/2014/main" id="{27C94A32-2894-4615-A469-F501A37DBE25}"/>
                    </a:ext>
                  </a:extLst>
                </p:cNvPr>
                <p:cNvSpPr/>
                <p:nvPr/>
              </p:nvSpPr>
              <p:spPr>
                <a:xfrm>
                  <a:off x="3151534" y="2772723"/>
                  <a:ext cx="108223" cy="12329"/>
                </a:xfrm>
                <a:custGeom>
                  <a:avLst/>
                  <a:gdLst>
                    <a:gd name="connsiteX0" fmla="*/ 0 w 108223"/>
                    <a:gd name="connsiteY0" fmla="*/ 0 h 12329"/>
                    <a:gd name="connsiteX1" fmla="*/ 108224 w 108223"/>
                    <a:gd name="connsiteY1" fmla="*/ 0 h 12329"/>
                    <a:gd name="connsiteX2" fmla="*/ 108224 w 108223"/>
                    <a:gd name="connsiteY2" fmla="*/ 12329 h 12329"/>
                    <a:gd name="connsiteX3" fmla="*/ 0 w 10822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08223" h="12329">
                      <a:moveTo>
                        <a:pt x="0" y="0"/>
                      </a:moveTo>
                      <a:lnTo>
                        <a:pt x="108224" y="0"/>
                      </a:lnTo>
                      <a:lnTo>
                        <a:pt x="108224" y="12329"/>
                      </a:lnTo>
                      <a:lnTo>
                        <a:pt x="0" y="12329"/>
                      </a:lnTo>
                      <a:close/>
                    </a:path>
                  </a:pathLst>
                </a:custGeom>
                <a:solidFill>
                  <a:schemeClr val="tx2"/>
                </a:solidFill>
                <a:ln w="1228" cap="flat">
                  <a:noFill/>
                  <a:prstDash val="solid"/>
                  <a:miter/>
                </a:ln>
              </p:spPr>
              <p:txBody>
                <a:bodyPr rtlCol="0" anchor="ctr"/>
                <a:lstStyle/>
                <a:p>
                  <a:endParaRPr lang="en-GB" dirty="0"/>
                </a:p>
              </p:txBody>
            </p:sp>
          </p:grpSp>
          <p:sp>
            <p:nvSpPr>
              <p:cNvPr id="170" name="Freihandform: Form 167">
                <a:extLst>
                  <a:ext uri="{FF2B5EF4-FFF2-40B4-BE49-F238E27FC236}">
                    <a16:creationId xmlns:a16="http://schemas.microsoft.com/office/drawing/2014/main" id="{12DFCBA6-2AAF-4821-BEC2-92454EA727B1}"/>
                  </a:ext>
                </a:extLst>
              </p:cNvPr>
              <p:cNvSpPr/>
              <p:nvPr/>
            </p:nvSpPr>
            <p:spPr>
              <a:xfrm>
                <a:off x="2955324" y="2918376"/>
                <a:ext cx="528040" cy="12329"/>
              </a:xfrm>
              <a:custGeom>
                <a:avLst/>
                <a:gdLst>
                  <a:gd name="connsiteX0" fmla="*/ 0 w 528040"/>
                  <a:gd name="connsiteY0" fmla="*/ 0 h 12329"/>
                  <a:gd name="connsiteX1" fmla="*/ 528041 w 528040"/>
                  <a:gd name="connsiteY1" fmla="*/ 0 h 12329"/>
                  <a:gd name="connsiteX2" fmla="*/ 528041 w 528040"/>
                  <a:gd name="connsiteY2" fmla="*/ 12329 h 12329"/>
                  <a:gd name="connsiteX3" fmla="*/ 0 w 528040"/>
                  <a:gd name="connsiteY3" fmla="*/ 12329 h 12329"/>
                </a:gdLst>
                <a:ahLst/>
                <a:cxnLst>
                  <a:cxn ang="0">
                    <a:pos x="connsiteX0" y="connsiteY0"/>
                  </a:cxn>
                  <a:cxn ang="0">
                    <a:pos x="connsiteX1" y="connsiteY1"/>
                  </a:cxn>
                  <a:cxn ang="0">
                    <a:pos x="connsiteX2" y="connsiteY2"/>
                  </a:cxn>
                  <a:cxn ang="0">
                    <a:pos x="connsiteX3" y="connsiteY3"/>
                  </a:cxn>
                </a:cxnLst>
                <a:rect l="l" t="t" r="r" b="b"/>
                <a:pathLst>
                  <a:path w="528040" h="12329">
                    <a:moveTo>
                      <a:pt x="0" y="0"/>
                    </a:moveTo>
                    <a:lnTo>
                      <a:pt x="528041" y="0"/>
                    </a:lnTo>
                    <a:lnTo>
                      <a:pt x="528041" y="12329"/>
                    </a:lnTo>
                    <a:lnTo>
                      <a:pt x="0" y="12329"/>
                    </a:lnTo>
                    <a:close/>
                  </a:path>
                </a:pathLst>
              </a:custGeom>
              <a:solidFill>
                <a:schemeClr val="tx2"/>
              </a:solidFill>
              <a:ln w="1228" cap="flat">
                <a:noFill/>
                <a:prstDash val="solid"/>
                <a:miter/>
              </a:ln>
            </p:spPr>
            <p:txBody>
              <a:bodyPr rtlCol="0" anchor="ctr"/>
              <a:lstStyle/>
              <a:p>
                <a:endParaRPr lang="en-GB" dirty="0"/>
              </a:p>
            </p:txBody>
          </p:sp>
        </p:grpSp>
      </p:grpSp>
      <p:grpSp>
        <p:nvGrpSpPr>
          <p:cNvPr id="178" name="Gruppieren 404">
            <a:extLst>
              <a:ext uri="{FF2B5EF4-FFF2-40B4-BE49-F238E27FC236}">
                <a16:creationId xmlns:a16="http://schemas.microsoft.com/office/drawing/2014/main" id="{C7321995-4D31-4BBA-B4C2-118B66120676}"/>
              </a:ext>
            </a:extLst>
          </p:cNvPr>
          <p:cNvGrpSpPr>
            <a:grpSpLocks noChangeAspect="1"/>
          </p:cNvGrpSpPr>
          <p:nvPr/>
        </p:nvGrpSpPr>
        <p:grpSpPr>
          <a:xfrm>
            <a:off x="2134006" y="1626716"/>
            <a:ext cx="453981" cy="432000"/>
            <a:chOff x="2153517" y="1683572"/>
            <a:chExt cx="449579" cy="427810"/>
          </a:xfrm>
        </p:grpSpPr>
        <p:grpSp>
          <p:nvGrpSpPr>
            <p:cNvPr id="179" name="Grafik 11">
              <a:extLst>
                <a:ext uri="{FF2B5EF4-FFF2-40B4-BE49-F238E27FC236}">
                  <a16:creationId xmlns:a16="http://schemas.microsoft.com/office/drawing/2014/main" id="{33964056-E348-475F-A202-D7550A0A4F55}"/>
                </a:ext>
              </a:extLst>
            </p:cNvPr>
            <p:cNvGrpSpPr/>
            <p:nvPr/>
          </p:nvGrpSpPr>
          <p:grpSpPr>
            <a:xfrm>
              <a:off x="2465081" y="1938402"/>
              <a:ext cx="138015" cy="172980"/>
              <a:chOff x="2465081" y="1938402"/>
              <a:chExt cx="138015" cy="172980"/>
            </a:xfrm>
            <a:solidFill>
              <a:schemeClr val="accent1"/>
            </a:solidFill>
          </p:grpSpPr>
          <p:sp>
            <p:nvSpPr>
              <p:cNvPr id="191" name="Freihandform: Form 170">
                <a:extLst>
                  <a:ext uri="{FF2B5EF4-FFF2-40B4-BE49-F238E27FC236}">
                    <a16:creationId xmlns:a16="http://schemas.microsoft.com/office/drawing/2014/main" id="{643874D9-CB1E-4B7B-ACD8-AD419CD289CC}"/>
                  </a:ext>
                </a:extLst>
              </p:cNvPr>
              <p:cNvSpPr/>
              <p:nvPr/>
            </p:nvSpPr>
            <p:spPr>
              <a:xfrm>
                <a:off x="2465081" y="1938402"/>
                <a:ext cx="138015" cy="172980"/>
              </a:xfrm>
              <a:custGeom>
                <a:avLst/>
                <a:gdLst>
                  <a:gd name="connsiteX0" fmla="*/ 69014 w 138015"/>
                  <a:gd name="connsiteY0" fmla="*/ 172981 h 172980"/>
                  <a:gd name="connsiteX1" fmla="*/ 65882 w 138015"/>
                  <a:gd name="connsiteY1" fmla="*/ 171127 h 172980"/>
                  <a:gd name="connsiteX2" fmla="*/ 10585 w 138015"/>
                  <a:gd name="connsiteY2" fmla="*/ 127778 h 172980"/>
                  <a:gd name="connsiteX3" fmla="*/ 0 w 138015"/>
                  <a:gd name="connsiteY3" fmla="*/ 98159 h 172980"/>
                  <a:gd name="connsiteX4" fmla="*/ 0 w 138015"/>
                  <a:gd name="connsiteY4" fmla="*/ 14249 h 172980"/>
                  <a:gd name="connsiteX5" fmla="*/ 34765 w 138015"/>
                  <a:gd name="connsiteY5" fmla="*/ 4646 h 172980"/>
                  <a:gd name="connsiteX6" fmla="*/ 103250 w 138015"/>
                  <a:gd name="connsiteY6" fmla="*/ 4646 h 172980"/>
                  <a:gd name="connsiteX7" fmla="*/ 138015 w 138015"/>
                  <a:gd name="connsiteY7" fmla="*/ 14249 h 172980"/>
                  <a:gd name="connsiteX8" fmla="*/ 138015 w 138015"/>
                  <a:gd name="connsiteY8" fmla="*/ 98159 h 172980"/>
                  <a:gd name="connsiteX9" fmla="*/ 127430 w 138015"/>
                  <a:gd name="connsiteY9" fmla="*/ 127766 h 172980"/>
                  <a:gd name="connsiteX10" fmla="*/ 72145 w 138015"/>
                  <a:gd name="connsiteY10" fmla="*/ 171127 h 172980"/>
                  <a:gd name="connsiteX11" fmla="*/ 69014 w 138015"/>
                  <a:gd name="connsiteY11" fmla="*/ 172981 h 172980"/>
                  <a:gd name="connsiteX12" fmla="*/ 12341 w 138015"/>
                  <a:gd name="connsiteY12" fmla="*/ 23644 h 172980"/>
                  <a:gd name="connsiteX13" fmla="*/ 12341 w 138015"/>
                  <a:gd name="connsiteY13" fmla="*/ 98159 h 172980"/>
                  <a:gd name="connsiteX14" fmla="*/ 20016 w 138015"/>
                  <a:gd name="connsiteY14" fmla="*/ 119821 h 172980"/>
                  <a:gd name="connsiteX15" fmla="*/ 69026 w 138015"/>
                  <a:gd name="connsiteY15" fmla="*/ 158638 h 172980"/>
                  <a:gd name="connsiteX16" fmla="*/ 118023 w 138015"/>
                  <a:gd name="connsiteY16" fmla="*/ 119808 h 172980"/>
                  <a:gd name="connsiteX17" fmla="*/ 125698 w 138015"/>
                  <a:gd name="connsiteY17" fmla="*/ 98146 h 172980"/>
                  <a:gd name="connsiteX18" fmla="*/ 125698 w 138015"/>
                  <a:gd name="connsiteY18" fmla="*/ 23631 h 172980"/>
                  <a:gd name="connsiteX19" fmla="*/ 99984 w 138015"/>
                  <a:gd name="connsiteY19" fmla="*/ 16521 h 172980"/>
                  <a:gd name="connsiteX20" fmla="*/ 38043 w 138015"/>
                  <a:gd name="connsiteY20" fmla="*/ 16521 h 172980"/>
                  <a:gd name="connsiteX21" fmla="*/ 12341 w 138015"/>
                  <a:gd name="connsiteY21" fmla="*/ 23644 h 17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015" h="172980">
                    <a:moveTo>
                      <a:pt x="69014" y="172981"/>
                    </a:moveTo>
                    <a:lnTo>
                      <a:pt x="65882" y="171127"/>
                    </a:lnTo>
                    <a:cubicBezTo>
                      <a:pt x="40856" y="156378"/>
                      <a:pt x="22767" y="142195"/>
                      <a:pt x="10585" y="127778"/>
                    </a:cubicBezTo>
                    <a:cubicBezTo>
                      <a:pt x="3758" y="119686"/>
                      <a:pt x="0" y="109162"/>
                      <a:pt x="0" y="98159"/>
                    </a:cubicBezTo>
                    <a:lnTo>
                      <a:pt x="0" y="14249"/>
                    </a:lnTo>
                    <a:lnTo>
                      <a:pt x="34765" y="4646"/>
                    </a:lnTo>
                    <a:cubicBezTo>
                      <a:pt x="57151" y="-1543"/>
                      <a:pt x="80839" y="-1555"/>
                      <a:pt x="103250" y="4646"/>
                    </a:cubicBezTo>
                    <a:lnTo>
                      <a:pt x="138015" y="14249"/>
                    </a:lnTo>
                    <a:lnTo>
                      <a:pt x="138015" y="98159"/>
                    </a:lnTo>
                    <a:cubicBezTo>
                      <a:pt x="138015" y="109162"/>
                      <a:pt x="134257" y="119673"/>
                      <a:pt x="127430" y="127766"/>
                    </a:cubicBezTo>
                    <a:cubicBezTo>
                      <a:pt x="115285" y="142170"/>
                      <a:pt x="97196" y="156366"/>
                      <a:pt x="72145" y="171127"/>
                    </a:cubicBezTo>
                    <a:lnTo>
                      <a:pt x="69014" y="172981"/>
                    </a:lnTo>
                    <a:close/>
                    <a:moveTo>
                      <a:pt x="12341" y="23644"/>
                    </a:moveTo>
                    <a:lnTo>
                      <a:pt x="12341" y="98159"/>
                    </a:lnTo>
                    <a:cubicBezTo>
                      <a:pt x="12341" y="106251"/>
                      <a:pt x="15068" y="113951"/>
                      <a:pt x="20016" y="119821"/>
                    </a:cubicBezTo>
                    <a:cubicBezTo>
                      <a:pt x="30798" y="132567"/>
                      <a:pt x="46848" y="145289"/>
                      <a:pt x="69026" y="158638"/>
                    </a:cubicBezTo>
                    <a:cubicBezTo>
                      <a:pt x="91228" y="145265"/>
                      <a:pt x="107278" y="132543"/>
                      <a:pt x="118023" y="119808"/>
                    </a:cubicBezTo>
                    <a:cubicBezTo>
                      <a:pt x="122972" y="113951"/>
                      <a:pt x="125698" y="106251"/>
                      <a:pt x="125698" y="98146"/>
                    </a:cubicBezTo>
                    <a:lnTo>
                      <a:pt x="125698" y="23631"/>
                    </a:lnTo>
                    <a:lnTo>
                      <a:pt x="99984" y="16521"/>
                    </a:lnTo>
                    <a:cubicBezTo>
                      <a:pt x="79746" y="10922"/>
                      <a:pt x="58318" y="10922"/>
                      <a:pt x="38043" y="16521"/>
                    </a:cubicBezTo>
                    <a:lnTo>
                      <a:pt x="12341" y="23644"/>
                    </a:lnTo>
                    <a:close/>
                  </a:path>
                </a:pathLst>
              </a:custGeom>
              <a:solidFill>
                <a:schemeClr val="accent1"/>
              </a:solidFill>
              <a:ln w="1228" cap="flat">
                <a:noFill/>
                <a:prstDash val="solid"/>
                <a:miter/>
              </a:ln>
            </p:spPr>
            <p:txBody>
              <a:bodyPr rtlCol="0" anchor="ctr"/>
              <a:lstStyle/>
              <a:p>
                <a:endParaRPr lang="en-GB" dirty="0"/>
              </a:p>
            </p:txBody>
          </p:sp>
          <p:sp>
            <p:nvSpPr>
              <p:cNvPr id="192" name="Freihandform: Form 171">
                <a:extLst>
                  <a:ext uri="{FF2B5EF4-FFF2-40B4-BE49-F238E27FC236}">
                    <a16:creationId xmlns:a16="http://schemas.microsoft.com/office/drawing/2014/main" id="{60A52F6D-67EF-4577-939E-D1C71CA73A03}"/>
                  </a:ext>
                </a:extLst>
              </p:cNvPr>
              <p:cNvSpPr/>
              <p:nvPr/>
            </p:nvSpPr>
            <p:spPr>
              <a:xfrm>
                <a:off x="2507337" y="1997842"/>
                <a:ext cx="53528" cy="41543"/>
              </a:xfrm>
              <a:custGeom>
                <a:avLst/>
                <a:gdLst>
                  <a:gd name="connsiteX0" fmla="*/ 20680 w 53528"/>
                  <a:gd name="connsiteY0" fmla="*/ 41543 h 41543"/>
                  <a:gd name="connsiteX1" fmla="*/ 0 w 53528"/>
                  <a:gd name="connsiteY1" fmla="*/ 20851 h 41543"/>
                  <a:gd name="connsiteX2" fmla="*/ 8719 w 53528"/>
                  <a:gd name="connsiteY2" fmla="*/ 12133 h 41543"/>
                  <a:gd name="connsiteX3" fmla="*/ 20680 w 53528"/>
                  <a:gd name="connsiteY3" fmla="*/ 24106 h 41543"/>
                  <a:gd name="connsiteX4" fmla="*/ 44798 w 53528"/>
                  <a:gd name="connsiteY4" fmla="*/ 0 h 41543"/>
                  <a:gd name="connsiteX5" fmla="*/ 53529 w 53528"/>
                  <a:gd name="connsiteY5" fmla="*/ 8719 h 4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28" h="41543">
                    <a:moveTo>
                      <a:pt x="20680" y="41543"/>
                    </a:moveTo>
                    <a:lnTo>
                      <a:pt x="0" y="20851"/>
                    </a:lnTo>
                    <a:lnTo>
                      <a:pt x="8719" y="12133"/>
                    </a:lnTo>
                    <a:lnTo>
                      <a:pt x="20680" y="24106"/>
                    </a:lnTo>
                    <a:lnTo>
                      <a:pt x="44798" y="0"/>
                    </a:lnTo>
                    <a:lnTo>
                      <a:pt x="53529" y="8719"/>
                    </a:lnTo>
                    <a:close/>
                  </a:path>
                </a:pathLst>
              </a:custGeom>
              <a:solidFill>
                <a:schemeClr val="accent1"/>
              </a:solidFill>
              <a:ln w="1228" cap="flat">
                <a:noFill/>
                <a:prstDash val="solid"/>
                <a:miter/>
              </a:ln>
            </p:spPr>
            <p:txBody>
              <a:bodyPr rtlCol="0" anchor="ctr"/>
              <a:lstStyle/>
              <a:p>
                <a:endParaRPr lang="en-GB" dirty="0"/>
              </a:p>
            </p:txBody>
          </p:sp>
        </p:grpSp>
        <p:grpSp>
          <p:nvGrpSpPr>
            <p:cNvPr id="180" name="Grafik 11">
              <a:extLst>
                <a:ext uri="{FF2B5EF4-FFF2-40B4-BE49-F238E27FC236}">
                  <a16:creationId xmlns:a16="http://schemas.microsoft.com/office/drawing/2014/main" id="{ED5524F6-AA65-4111-BF61-D060F4D8BCB9}"/>
                </a:ext>
              </a:extLst>
            </p:cNvPr>
            <p:cNvGrpSpPr/>
            <p:nvPr/>
          </p:nvGrpSpPr>
          <p:grpSpPr>
            <a:xfrm>
              <a:off x="2153517" y="1683572"/>
              <a:ext cx="296877" cy="417309"/>
              <a:chOff x="2153517" y="1683572"/>
              <a:chExt cx="296877" cy="417309"/>
            </a:xfrm>
            <a:solidFill>
              <a:srgbClr val="4D4E53"/>
            </a:solidFill>
          </p:grpSpPr>
          <p:grpSp>
            <p:nvGrpSpPr>
              <p:cNvPr id="181" name="Grafik 11">
                <a:extLst>
                  <a:ext uri="{FF2B5EF4-FFF2-40B4-BE49-F238E27FC236}">
                    <a16:creationId xmlns:a16="http://schemas.microsoft.com/office/drawing/2014/main" id="{3595CE0A-910D-4ECC-AEA5-9BC1351A39FE}"/>
                  </a:ext>
                </a:extLst>
              </p:cNvPr>
              <p:cNvGrpSpPr/>
              <p:nvPr/>
            </p:nvGrpSpPr>
            <p:grpSpPr>
              <a:xfrm>
                <a:off x="2153517" y="1683572"/>
                <a:ext cx="296877" cy="417309"/>
                <a:chOff x="2153517" y="1683572"/>
                <a:chExt cx="296877" cy="417309"/>
              </a:xfrm>
              <a:solidFill>
                <a:srgbClr val="4D4E53"/>
              </a:solidFill>
            </p:grpSpPr>
            <p:sp>
              <p:nvSpPr>
                <p:cNvPr id="183" name="Freihandform: Form 174">
                  <a:extLst>
                    <a:ext uri="{FF2B5EF4-FFF2-40B4-BE49-F238E27FC236}">
                      <a16:creationId xmlns:a16="http://schemas.microsoft.com/office/drawing/2014/main" id="{038D141E-EE1E-473C-B57D-EA5D7265D280}"/>
                    </a:ext>
                  </a:extLst>
                </p:cNvPr>
                <p:cNvSpPr/>
                <p:nvPr/>
              </p:nvSpPr>
              <p:spPr>
                <a:xfrm>
                  <a:off x="2252993" y="1683572"/>
                  <a:ext cx="197401" cy="250647"/>
                </a:xfrm>
                <a:custGeom>
                  <a:avLst/>
                  <a:gdLst>
                    <a:gd name="connsiteX0" fmla="*/ 101851 w 197401"/>
                    <a:gd name="connsiteY0" fmla="*/ 250647 h 250647"/>
                    <a:gd name="connsiteX1" fmla="*/ 95735 w 197401"/>
                    <a:gd name="connsiteY1" fmla="*/ 250647 h 250647"/>
                    <a:gd name="connsiteX2" fmla="*/ 22190 w 197401"/>
                    <a:gd name="connsiteY2" fmla="*/ 175052 h 250647"/>
                    <a:gd name="connsiteX3" fmla="*/ 0 w 197401"/>
                    <a:gd name="connsiteY3" fmla="*/ 144523 h 250647"/>
                    <a:gd name="connsiteX4" fmla="*/ 0 w 197401"/>
                    <a:gd name="connsiteY4" fmla="*/ 110287 h 250647"/>
                    <a:gd name="connsiteX5" fmla="*/ 9959 w 197401"/>
                    <a:gd name="connsiteY5" fmla="*/ 110287 h 250647"/>
                    <a:gd name="connsiteX6" fmla="*/ 9959 w 197401"/>
                    <a:gd name="connsiteY6" fmla="*/ 61732 h 250647"/>
                    <a:gd name="connsiteX7" fmla="*/ 71691 w 197401"/>
                    <a:gd name="connsiteY7" fmla="*/ 0 h 250647"/>
                    <a:gd name="connsiteX8" fmla="*/ 167856 w 197401"/>
                    <a:gd name="connsiteY8" fmla="*/ 0 h 250647"/>
                    <a:gd name="connsiteX9" fmla="*/ 167856 w 197401"/>
                    <a:gd name="connsiteY9" fmla="*/ 12661 h 250647"/>
                    <a:gd name="connsiteX10" fmla="*/ 167450 w 197401"/>
                    <a:gd name="connsiteY10" fmla="*/ 19402 h 250647"/>
                    <a:gd name="connsiteX11" fmla="*/ 187639 w 197401"/>
                    <a:gd name="connsiteY11" fmla="*/ 50274 h 250647"/>
                    <a:gd name="connsiteX12" fmla="*/ 187639 w 197401"/>
                    <a:gd name="connsiteY12" fmla="*/ 110287 h 250647"/>
                    <a:gd name="connsiteX13" fmla="*/ 197401 w 197401"/>
                    <a:gd name="connsiteY13" fmla="*/ 110287 h 250647"/>
                    <a:gd name="connsiteX14" fmla="*/ 197401 w 197401"/>
                    <a:gd name="connsiteY14" fmla="*/ 144523 h 250647"/>
                    <a:gd name="connsiteX15" fmla="*/ 175396 w 197401"/>
                    <a:gd name="connsiteY15" fmla="*/ 175076 h 250647"/>
                    <a:gd name="connsiteX16" fmla="*/ 101851 w 197401"/>
                    <a:gd name="connsiteY16" fmla="*/ 250647 h 250647"/>
                    <a:gd name="connsiteX17" fmla="*/ 12329 w 197401"/>
                    <a:gd name="connsiteY17" fmla="*/ 122616 h 250647"/>
                    <a:gd name="connsiteX18" fmla="*/ 12329 w 197401"/>
                    <a:gd name="connsiteY18" fmla="*/ 144523 h 250647"/>
                    <a:gd name="connsiteX19" fmla="*/ 27249 w 197401"/>
                    <a:gd name="connsiteY19" fmla="*/ 163164 h 250647"/>
                    <a:gd name="connsiteX20" fmla="*/ 32370 w 197401"/>
                    <a:gd name="connsiteY20" fmla="*/ 163164 h 250647"/>
                    <a:gd name="connsiteX21" fmla="*/ 33316 w 197401"/>
                    <a:gd name="connsiteY21" fmla="*/ 168212 h 250647"/>
                    <a:gd name="connsiteX22" fmla="*/ 95735 w 197401"/>
                    <a:gd name="connsiteY22" fmla="*/ 238318 h 250647"/>
                    <a:gd name="connsiteX23" fmla="*/ 101851 w 197401"/>
                    <a:gd name="connsiteY23" fmla="*/ 238318 h 250647"/>
                    <a:gd name="connsiteX24" fmla="*/ 164257 w 197401"/>
                    <a:gd name="connsiteY24" fmla="*/ 168224 h 250647"/>
                    <a:gd name="connsiteX25" fmla="*/ 165191 w 197401"/>
                    <a:gd name="connsiteY25" fmla="*/ 163177 h 250647"/>
                    <a:gd name="connsiteX26" fmla="*/ 170324 w 197401"/>
                    <a:gd name="connsiteY26" fmla="*/ 163177 h 250647"/>
                    <a:gd name="connsiteX27" fmla="*/ 185048 w 197401"/>
                    <a:gd name="connsiteY27" fmla="*/ 144536 h 250647"/>
                    <a:gd name="connsiteX28" fmla="*/ 185048 w 197401"/>
                    <a:gd name="connsiteY28" fmla="*/ 122628 h 250647"/>
                    <a:gd name="connsiteX29" fmla="*/ 175285 w 197401"/>
                    <a:gd name="connsiteY29" fmla="*/ 122628 h 250647"/>
                    <a:gd name="connsiteX30" fmla="*/ 175285 w 197401"/>
                    <a:gd name="connsiteY30" fmla="*/ 50274 h 250647"/>
                    <a:gd name="connsiteX31" fmla="*/ 164454 w 197401"/>
                    <a:gd name="connsiteY31" fmla="*/ 31695 h 250647"/>
                    <a:gd name="connsiteX32" fmla="*/ 112596 w 197401"/>
                    <a:gd name="connsiteY32" fmla="*/ 67896 h 250647"/>
                    <a:gd name="connsiteX33" fmla="*/ 64740 w 197401"/>
                    <a:gd name="connsiteY33" fmla="*/ 67896 h 250647"/>
                    <a:gd name="connsiteX34" fmla="*/ 56807 w 197401"/>
                    <a:gd name="connsiteY34" fmla="*/ 75829 h 250647"/>
                    <a:gd name="connsiteX35" fmla="*/ 56807 w 197401"/>
                    <a:gd name="connsiteY35" fmla="*/ 84904 h 250647"/>
                    <a:gd name="connsiteX36" fmla="*/ 44478 w 197401"/>
                    <a:gd name="connsiteY36" fmla="*/ 84904 h 250647"/>
                    <a:gd name="connsiteX37" fmla="*/ 44478 w 197401"/>
                    <a:gd name="connsiteY37" fmla="*/ 75829 h 250647"/>
                    <a:gd name="connsiteX38" fmla="*/ 64740 w 197401"/>
                    <a:gd name="connsiteY38" fmla="*/ 55567 h 250647"/>
                    <a:gd name="connsiteX39" fmla="*/ 112596 w 197401"/>
                    <a:gd name="connsiteY39" fmla="*/ 55567 h 250647"/>
                    <a:gd name="connsiteX40" fmla="*/ 153905 w 197401"/>
                    <a:gd name="connsiteY40" fmla="*/ 24290 h 250647"/>
                    <a:gd name="connsiteX41" fmla="*/ 153905 w 197401"/>
                    <a:gd name="connsiteY41" fmla="*/ 16578 h 250647"/>
                    <a:gd name="connsiteX42" fmla="*/ 155330 w 197401"/>
                    <a:gd name="connsiteY42" fmla="*/ 16615 h 250647"/>
                    <a:gd name="connsiteX43" fmla="*/ 155514 w 197401"/>
                    <a:gd name="connsiteY43" fmla="*/ 12673 h 250647"/>
                    <a:gd name="connsiteX44" fmla="*/ 155514 w 197401"/>
                    <a:gd name="connsiteY44" fmla="*/ 12341 h 250647"/>
                    <a:gd name="connsiteX45" fmla="*/ 71691 w 197401"/>
                    <a:gd name="connsiteY45" fmla="*/ 12341 h 250647"/>
                    <a:gd name="connsiteX46" fmla="*/ 22288 w 197401"/>
                    <a:gd name="connsiteY46" fmla="*/ 61744 h 250647"/>
                    <a:gd name="connsiteX47" fmla="*/ 22288 w 197401"/>
                    <a:gd name="connsiteY47" fmla="*/ 122628 h 250647"/>
                    <a:gd name="connsiteX48" fmla="*/ 12329 w 197401"/>
                    <a:gd name="connsiteY48" fmla="*/ 122628 h 250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97401" h="250647">
                      <a:moveTo>
                        <a:pt x="101851" y="250647"/>
                      </a:moveTo>
                      <a:lnTo>
                        <a:pt x="95735" y="250647"/>
                      </a:lnTo>
                      <a:cubicBezTo>
                        <a:pt x="44245" y="250647"/>
                        <a:pt x="26341" y="192256"/>
                        <a:pt x="22190" y="175052"/>
                      </a:cubicBezTo>
                      <a:cubicBezTo>
                        <a:pt x="8903" y="172657"/>
                        <a:pt x="0" y="160770"/>
                        <a:pt x="0" y="144523"/>
                      </a:cubicBezTo>
                      <a:lnTo>
                        <a:pt x="0" y="110287"/>
                      </a:lnTo>
                      <a:lnTo>
                        <a:pt x="9959" y="110287"/>
                      </a:lnTo>
                      <a:lnTo>
                        <a:pt x="9959" y="61732"/>
                      </a:lnTo>
                      <a:cubicBezTo>
                        <a:pt x="9959" y="27691"/>
                        <a:pt x="37651" y="0"/>
                        <a:pt x="71691" y="0"/>
                      </a:cubicBezTo>
                      <a:lnTo>
                        <a:pt x="167856" y="0"/>
                      </a:lnTo>
                      <a:lnTo>
                        <a:pt x="167856" y="12661"/>
                      </a:lnTo>
                      <a:cubicBezTo>
                        <a:pt x="167856" y="14945"/>
                        <a:pt x="167708" y="17192"/>
                        <a:pt x="167450" y="19402"/>
                      </a:cubicBezTo>
                      <a:cubicBezTo>
                        <a:pt x="179325" y="24621"/>
                        <a:pt x="187639" y="36496"/>
                        <a:pt x="187639" y="50274"/>
                      </a:cubicBezTo>
                      <a:lnTo>
                        <a:pt x="187639" y="110287"/>
                      </a:lnTo>
                      <a:lnTo>
                        <a:pt x="197401" y="110287"/>
                      </a:lnTo>
                      <a:lnTo>
                        <a:pt x="197401" y="144523"/>
                      </a:lnTo>
                      <a:cubicBezTo>
                        <a:pt x="197401" y="161052"/>
                        <a:pt x="188756" y="172731"/>
                        <a:pt x="175396" y="175076"/>
                      </a:cubicBezTo>
                      <a:cubicBezTo>
                        <a:pt x="171233" y="192293"/>
                        <a:pt x="153341" y="250647"/>
                        <a:pt x="101851" y="250647"/>
                      </a:cubicBezTo>
                      <a:close/>
                      <a:moveTo>
                        <a:pt x="12329" y="122616"/>
                      </a:moveTo>
                      <a:lnTo>
                        <a:pt x="12329" y="144523"/>
                      </a:lnTo>
                      <a:cubicBezTo>
                        <a:pt x="12329" y="153537"/>
                        <a:pt x="16247" y="163164"/>
                        <a:pt x="27249" y="163164"/>
                      </a:cubicBezTo>
                      <a:lnTo>
                        <a:pt x="32370" y="163164"/>
                      </a:lnTo>
                      <a:lnTo>
                        <a:pt x="33316" y="168212"/>
                      </a:lnTo>
                      <a:cubicBezTo>
                        <a:pt x="33451" y="168912"/>
                        <a:pt x="46910" y="238318"/>
                        <a:pt x="95735" y="238318"/>
                      </a:cubicBezTo>
                      <a:lnTo>
                        <a:pt x="101851" y="238318"/>
                      </a:lnTo>
                      <a:cubicBezTo>
                        <a:pt x="150811" y="238318"/>
                        <a:pt x="164147" y="168912"/>
                        <a:pt x="164257" y="168224"/>
                      </a:cubicBezTo>
                      <a:lnTo>
                        <a:pt x="165191" y="163177"/>
                      </a:lnTo>
                      <a:lnTo>
                        <a:pt x="170324" y="163177"/>
                      </a:lnTo>
                      <a:cubicBezTo>
                        <a:pt x="181192" y="163177"/>
                        <a:pt x="185048" y="153549"/>
                        <a:pt x="185048" y="144536"/>
                      </a:cubicBezTo>
                      <a:lnTo>
                        <a:pt x="185048" y="122628"/>
                      </a:lnTo>
                      <a:lnTo>
                        <a:pt x="175285" y="122628"/>
                      </a:lnTo>
                      <a:lnTo>
                        <a:pt x="175285" y="50274"/>
                      </a:lnTo>
                      <a:cubicBezTo>
                        <a:pt x="175285" y="42329"/>
                        <a:pt x="170926" y="35379"/>
                        <a:pt x="164454" y="31695"/>
                      </a:cubicBezTo>
                      <a:cubicBezTo>
                        <a:pt x="156681" y="52804"/>
                        <a:pt x="136370" y="67896"/>
                        <a:pt x="112596" y="67896"/>
                      </a:cubicBezTo>
                      <a:lnTo>
                        <a:pt x="64740" y="67896"/>
                      </a:lnTo>
                      <a:cubicBezTo>
                        <a:pt x="60369" y="67896"/>
                        <a:pt x="56807" y="71457"/>
                        <a:pt x="56807" y="75829"/>
                      </a:cubicBezTo>
                      <a:lnTo>
                        <a:pt x="56807" y="84904"/>
                      </a:lnTo>
                      <a:lnTo>
                        <a:pt x="44478" y="84904"/>
                      </a:lnTo>
                      <a:lnTo>
                        <a:pt x="44478" y="75829"/>
                      </a:lnTo>
                      <a:cubicBezTo>
                        <a:pt x="44478" y="64654"/>
                        <a:pt x="53565" y="55567"/>
                        <a:pt x="64740" y="55567"/>
                      </a:cubicBezTo>
                      <a:lnTo>
                        <a:pt x="112596" y="55567"/>
                      </a:lnTo>
                      <a:cubicBezTo>
                        <a:pt x="132219" y="55567"/>
                        <a:pt x="148822" y="42317"/>
                        <a:pt x="153905" y="24290"/>
                      </a:cubicBezTo>
                      <a:lnTo>
                        <a:pt x="153905" y="16578"/>
                      </a:lnTo>
                      <a:cubicBezTo>
                        <a:pt x="154384" y="16578"/>
                        <a:pt x="154851" y="16590"/>
                        <a:pt x="155330" y="16615"/>
                      </a:cubicBezTo>
                      <a:cubicBezTo>
                        <a:pt x="155453" y="15313"/>
                        <a:pt x="155514" y="13999"/>
                        <a:pt x="155514" y="12673"/>
                      </a:cubicBezTo>
                      <a:lnTo>
                        <a:pt x="155514" y="12341"/>
                      </a:lnTo>
                      <a:lnTo>
                        <a:pt x="71691" y="12341"/>
                      </a:lnTo>
                      <a:cubicBezTo>
                        <a:pt x="44454" y="12341"/>
                        <a:pt x="22288" y="34495"/>
                        <a:pt x="22288" y="61744"/>
                      </a:cubicBezTo>
                      <a:lnTo>
                        <a:pt x="22288" y="122628"/>
                      </a:lnTo>
                      <a:lnTo>
                        <a:pt x="12329" y="122628"/>
                      </a:lnTo>
                      <a:close/>
                    </a:path>
                  </a:pathLst>
                </a:custGeom>
                <a:solidFill>
                  <a:schemeClr val="tx2"/>
                </a:solidFill>
                <a:ln w="1228" cap="flat">
                  <a:noFill/>
                  <a:prstDash val="solid"/>
                  <a:miter/>
                </a:ln>
              </p:spPr>
              <p:txBody>
                <a:bodyPr rtlCol="0" anchor="ctr"/>
                <a:lstStyle/>
                <a:p>
                  <a:endParaRPr lang="en-GB" dirty="0"/>
                </a:p>
              </p:txBody>
            </p:sp>
            <p:sp>
              <p:nvSpPr>
                <p:cNvPr id="184" name="Freihandform: Form 175">
                  <a:extLst>
                    <a:ext uri="{FF2B5EF4-FFF2-40B4-BE49-F238E27FC236}">
                      <a16:creationId xmlns:a16="http://schemas.microsoft.com/office/drawing/2014/main" id="{ADE55C4C-E95B-4AFE-8CCA-979BB0783BB7}"/>
                    </a:ext>
                  </a:extLst>
                </p:cNvPr>
                <p:cNvSpPr/>
                <p:nvPr/>
              </p:nvSpPr>
              <p:spPr>
                <a:xfrm>
                  <a:off x="2382253" y="1916720"/>
                  <a:ext cx="63696" cy="54474"/>
                </a:xfrm>
                <a:custGeom>
                  <a:avLst/>
                  <a:gdLst>
                    <a:gd name="connsiteX0" fmla="*/ 59607 w 63696"/>
                    <a:gd name="connsiteY0" fmla="*/ 54474 h 54474"/>
                    <a:gd name="connsiteX1" fmla="*/ 33942 w 63696"/>
                    <a:gd name="connsiteY1" fmla="*/ 45976 h 54474"/>
                    <a:gd name="connsiteX2" fmla="*/ 0 w 63696"/>
                    <a:gd name="connsiteY2" fmla="*/ 0 h 54474"/>
                    <a:gd name="connsiteX3" fmla="*/ 12341 w 63696"/>
                    <a:gd name="connsiteY3" fmla="*/ 0 h 54474"/>
                    <a:gd name="connsiteX4" fmla="*/ 37601 w 63696"/>
                    <a:gd name="connsiteY4" fmla="*/ 34200 h 54474"/>
                    <a:gd name="connsiteX5" fmla="*/ 63696 w 63696"/>
                    <a:gd name="connsiteY5" fmla="*/ 42845 h 54474"/>
                    <a:gd name="connsiteX6" fmla="*/ 59607 w 63696"/>
                    <a:gd name="connsiteY6" fmla="*/ 54474 h 5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696" h="54474">
                      <a:moveTo>
                        <a:pt x="59607" y="54474"/>
                      </a:moveTo>
                      <a:cubicBezTo>
                        <a:pt x="50459" y="51244"/>
                        <a:pt x="41678" y="48383"/>
                        <a:pt x="33942" y="45976"/>
                      </a:cubicBezTo>
                      <a:cubicBezTo>
                        <a:pt x="13643" y="39640"/>
                        <a:pt x="0" y="21171"/>
                        <a:pt x="0" y="0"/>
                      </a:cubicBezTo>
                      <a:lnTo>
                        <a:pt x="12341" y="0"/>
                      </a:lnTo>
                      <a:cubicBezTo>
                        <a:pt x="12341" y="15743"/>
                        <a:pt x="22497" y="29484"/>
                        <a:pt x="37601" y="34200"/>
                      </a:cubicBezTo>
                      <a:cubicBezTo>
                        <a:pt x="45473" y="36656"/>
                        <a:pt x="54401" y="39566"/>
                        <a:pt x="63696" y="42845"/>
                      </a:cubicBezTo>
                      <a:lnTo>
                        <a:pt x="59607" y="54474"/>
                      </a:lnTo>
                      <a:close/>
                    </a:path>
                  </a:pathLst>
                </a:custGeom>
                <a:solidFill>
                  <a:schemeClr val="tx2"/>
                </a:solidFill>
                <a:ln w="1228" cap="flat">
                  <a:noFill/>
                  <a:prstDash val="solid"/>
                  <a:miter/>
                </a:ln>
              </p:spPr>
              <p:txBody>
                <a:bodyPr rtlCol="0" anchor="ctr"/>
                <a:lstStyle/>
                <a:p>
                  <a:endParaRPr lang="en-GB" dirty="0"/>
                </a:p>
              </p:txBody>
            </p:sp>
            <p:sp>
              <p:nvSpPr>
                <p:cNvPr id="185" name="Freihandform: Form 176">
                  <a:extLst>
                    <a:ext uri="{FF2B5EF4-FFF2-40B4-BE49-F238E27FC236}">
                      <a16:creationId xmlns:a16="http://schemas.microsoft.com/office/drawing/2014/main" id="{904E9235-645D-4A87-ABE5-F040B498B85D}"/>
                    </a:ext>
                  </a:extLst>
                </p:cNvPr>
                <p:cNvSpPr/>
                <p:nvPr/>
              </p:nvSpPr>
              <p:spPr>
                <a:xfrm>
                  <a:off x="2153517" y="1916720"/>
                  <a:ext cx="167814" cy="182837"/>
                </a:xfrm>
                <a:custGeom>
                  <a:avLst/>
                  <a:gdLst>
                    <a:gd name="connsiteX0" fmla="*/ 12521 w 167814"/>
                    <a:gd name="connsiteY0" fmla="*/ 182837 h 182837"/>
                    <a:gd name="connsiteX1" fmla="*/ 192 w 167814"/>
                    <a:gd name="connsiteY1" fmla="*/ 182837 h 182837"/>
                    <a:gd name="connsiteX2" fmla="*/ 192 w 167814"/>
                    <a:gd name="connsiteY2" fmla="*/ 140753 h 182837"/>
                    <a:gd name="connsiteX3" fmla="*/ 40250 w 167814"/>
                    <a:gd name="connsiteY3" fmla="*/ 70991 h 182837"/>
                    <a:gd name="connsiteX4" fmla="*/ 130201 w 167814"/>
                    <a:gd name="connsiteY4" fmla="*/ 34200 h 182837"/>
                    <a:gd name="connsiteX5" fmla="*/ 155485 w 167814"/>
                    <a:gd name="connsiteY5" fmla="*/ 0 h 182837"/>
                    <a:gd name="connsiteX6" fmla="*/ 167814 w 167814"/>
                    <a:gd name="connsiteY6" fmla="*/ 0 h 182837"/>
                    <a:gd name="connsiteX7" fmla="*/ 133872 w 167814"/>
                    <a:gd name="connsiteY7" fmla="*/ 45976 h 182837"/>
                    <a:gd name="connsiteX8" fmla="*/ 46574 w 167814"/>
                    <a:gd name="connsiteY8" fmla="*/ 81576 h 182837"/>
                    <a:gd name="connsiteX9" fmla="*/ 12497 w 167814"/>
                    <a:gd name="connsiteY9" fmla="*/ 140066 h 182837"/>
                    <a:gd name="connsiteX10" fmla="*/ 12521 w 167814"/>
                    <a:gd name="connsiteY10" fmla="*/ 182837 h 18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814" h="182837">
                      <a:moveTo>
                        <a:pt x="12521" y="182837"/>
                      </a:moveTo>
                      <a:lnTo>
                        <a:pt x="192" y="182837"/>
                      </a:lnTo>
                      <a:lnTo>
                        <a:pt x="192" y="140753"/>
                      </a:lnTo>
                      <a:cubicBezTo>
                        <a:pt x="20" y="139697"/>
                        <a:pt x="-4364" y="97626"/>
                        <a:pt x="40250" y="70991"/>
                      </a:cubicBezTo>
                      <a:cubicBezTo>
                        <a:pt x="65583" y="55862"/>
                        <a:pt x="103148" y="42636"/>
                        <a:pt x="130201" y="34200"/>
                      </a:cubicBezTo>
                      <a:cubicBezTo>
                        <a:pt x="145317" y="29484"/>
                        <a:pt x="155485" y="15743"/>
                        <a:pt x="155485" y="0"/>
                      </a:cubicBezTo>
                      <a:lnTo>
                        <a:pt x="167814" y="0"/>
                      </a:lnTo>
                      <a:cubicBezTo>
                        <a:pt x="167814" y="21158"/>
                        <a:pt x="154171" y="39628"/>
                        <a:pt x="133872" y="45976"/>
                      </a:cubicBezTo>
                      <a:cubicBezTo>
                        <a:pt x="107458" y="54204"/>
                        <a:pt x="70876" y="67073"/>
                        <a:pt x="46574" y="81576"/>
                      </a:cubicBezTo>
                      <a:cubicBezTo>
                        <a:pt x="9022" y="103987"/>
                        <a:pt x="12325" y="138592"/>
                        <a:pt x="12497" y="140066"/>
                      </a:cubicBezTo>
                      <a:lnTo>
                        <a:pt x="12521" y="182837"/>
                      </a:lnTo>
                      <a:close/>
                    </a:path>
                  </a:pathLst>
                </a:custGeom>
                <a:solidFill>
                  <a:schemeClr val="tx2"/>
                </a:solidFill>
                <a:ln w="1228" cap="flat">
                  <a:noFill/>
                  <a:prstDash val="solid"/>
                  <a:miter/>
                </a:ln>
              </p:spPr>
              <p:txBody>
                <a:bodyPr rtlCol="0" anchor="ctr"/>
                <a:lstStyle/>
                <a:p>
                  <a:endParaRPr lang="en-GB" dirty="0"/>
                </a:p>
              </p:txBody>
            </p:sp>
            <p:sp>
              <p:nvSpPr>
                <p:cNvPr id="186" name="Freihandform: Form 177">
                  <a:extLst>
                    <a:ext uri="{FF2B5EF4-FFF2-40B4-BE49-F238E27FC236}">
                      <a16:creationId xmlns:a16="http://schemas.microsoft.com/office/drawing/2014/main" id="{1189F9A0-F076-4679-9B44-B24E9AE2AA5B}"/>
                    </a:ext>
                  </a:extLst>
                </p:cNvPr>
                <p:cNvSpPr/>
                <p:nvPr/>
              </p:nvSpPr>
              <p:spPr>
                <a:xfrm>
                  <a:off x="2269252" y="1936074"/>
                  <a:ext cx="91129" cy="91793"/>
                </a:xfrm>
                <a:custGeom>
                  <a:avLst/>
                  <a:gdLst>
                    <a:gd name="connsiteX0" fmla="*/ 50434 w 91129"/>
                    <a:gd name="connsiteY0" fmla="*/ 91793 h 91793"/>
                    <a:gd name="connsiteX1" fmla="*/ 0 w 91129"/>
                    <a:gd name="connsiteY1" fmla="*/ 28244 h 91793"/>
                    <a:gd name="connsiteX2" fmla="*/ 9652 w 91129"/>
                    <a:gd name="connsiteY2" fmla="*/ 20569 h 91793"/>
                    <a:gd name="connsiteX3" fmla="*/ 51674 w 91129"/>
                    <a:gd name="connsiteY3" fmla="*/ 73533 h 91793"/>
                    <a:gd name="connsiteX4" fmla="*/ 73926 w 91129"/>
                    <a:gd name="connsiteY4" fmla="*/ 52202 h 91793"/>
                    <a:gd name="connsiteX5" fmla="*/ 34077 w 91129"/>
                    <a:gd name="connsiteY5" fmla="*/ 8289 h 91793"/>
                    <a:gd name="connsiteX6" fmla="*/ 43213 w 91129"/>
                    <a:gd name="connsiteY6" fmla="*/ 0 h 91793"/>
                    <a:gd name="connsiteX7" fmla="*/ 91130 w 91129"/>
                    <a:gd name="connsiteY7" fmla="*/ 52804 h 91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129" h="91793">
                      <a:moveTo>
                        <a:pt x="50434" y="91793"/>
                      </a:moveTo>
                      <a:lnTo>
                        <a:pt x="0" y="28244"/>
                      </a:lnTo>
                      <a:lnTo>
                        <a:pt x="9652" y="20569"/>
                      </a:lnTo>
                      <a:lnTo>
                        <a:pt x="51674" y="73533"/>
                      </a:lnTo>
                      <a:lnTo>
                        <a:pt x="73926" y="52202"/>
                      </a:lnTo>
                      <a:lnTo>
                        <a:pt x="34077" y="8289"/>
                      </a:lnTo>
                      <a:lnTo>
                        <a:pt x="43213" y="0"/>
                      </a:lnTo>
                      <a:lnTo>
                        <a:pt x="91130" y="52804"/>
                      </a:lnTo>
                      <a:close/>
                    </a:path>
                  </a:pathLst>
                </a:custGeom>
                <a:solidFill>
                  <a:schemeClr val="tx2"/>
                </a:solidFill>
                <a:ln w="1228" cap="flat">
                  <a:noFill/>
                  <a:prstDash val="solid"/>
                  <a:miter/>
                </a:ln>
              </p:spPr>
              <p:txBody>
                <a:bodyPr rtlCol="0" anchor="ctr"/>
                <a:lstStyle/>
                <a:p>
                  <a:endParaRPr lang="en-GB" dirty="0"/>
                </a:p>
              </p:txBody>
            </p:sp>
            <p:sp>
              <p:nvSpPr>
                <p:cNvPr id="187" name="Freihandform: Form 178">
                  <a:extLst>
                    <a:ext uri="{FF2B5EF4-FFF2-40B4-BE49-F238E27FC236}">
                      <a16:creationId xmlns:a16="http://schemas.microsoft.com/office/drawing/2014/main" id="{AE80EA54-FAE6-4153-825F-25533AD04E0C}"/>
                    </a:ext>
                  </a:extLst>
                </p:cNvPr>
                <p:cNvSpPr/>
                <p:nvPr/>
              </p:nvSpPr>
              <p:spPr>
                <a:xfrm>
                  <a:off x="2343178" y="1936061"/>
                  <a:ext cx="91142" cy="91805"/>
                </a:xfrm>
                <a:custGeom>
                  <a:avLst/>
                  <a:gdLst>
                    <a:gd name="connsiteX0" fmla="*/ 40708 w 91142"/>
                    <a:gd name="connsiteY0" fmla="*/ 91805 h 91805"/>
                    <a:gd name="connsiteX1" fmla="*/ 0 w 91142"/>
                    <a:gd name="connsiteY1" fmla="*/ 52816 h 91805"/>
                    <a:gd name="connsiteX2" fmla="*/ 47941 w 91142"/>
                    <a:gd name="connsiteY2" fmla="*/ 0 h 91805"/>
                    <a:gd name="connsiteX3" fmla="*/ 57065 w 91142"/>
                    <a:gd name="connsiteY3" fmla="*/ 8289 h 91805"/>
                    <a:gd name="connsiteX4" fmla="*/ 17204 w 91142"/>
                    <a:gd name="connsiteY4" fmla="*/ 52215 h 91805"/>
                    <a:gd name="connsiteX5" fmla="*/ 39468 w 91142"/>
                    <a:gd name="connsiteY5" fmla="*/ 73545 h 91805"/>
                    <a:gd name="connsiteX6" fmla="*/ 81478 w 91142"/>
                    <a:gd name="connsiteY6" fmla="*/ 20594 h 91805"/>
                    <a:gd name="connsiteX7" fmla="*/ 91142 w 91142"/>
                    <a:gd name="connsiteY7" fmla="*/ 28256 h 91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142" h="91805">
                      <a:moveTo>
                        <a:pt x="40708" y="91805"/>
                      </a:moveTo>
                      <a:lnTo>
                        <a:pt x="0" y="52816"/>
                      </a:lnTo>
                      <a:lnTo>
                        <a:pt x="47941" y="0"/>
                      </a:lnTo>
                      <a:lnTo>
                        <a:pt x="57065" y="8289"/>
                      </a:lnTo>
                      <a:lnTo>
                        <a:pt x="17204" y="52215"/>
                      </a:lnTo>
                      <a:lnTo>
                        <a:pt x="39468" y="73545"/>
                      </a:lnTo>
                      <a:lnTo>
                        <a:pt x="81478" y="20594"/>
                      </a:lnTo>
                      <a:lnTo>
                        <a:pt x="91142" y="28256"/>
                      </a:lnTo>
                      <a:close/>
                    </a:path>
                  </a:pathLst>
                </a:custGeom>
                <a:solidFill>
                  <a:schemeClr val="tx2"/>
                </a:solidFill>
                <a:ln w="1228" cap="flat">
                  <a:noFill/>
                  <a:prstDash val="solid"/>
                  <a:miter/>
                </a:ln>
              </p:spPr>
              <p:txBody>
                <a:bodyPr rtlCol="0" anchor="ctr"/>
                <a:lstStyle/>
                <a:p>
                  <a:endParaRPr lang="en-GB" dirty="0"/>
                </a:p>
              </p:txBody>
            </p:sp>
            <p:sp>
              <p:nvSpPr>
                <p:cNvPr id="188" name="Freihandform: Form 179">
                  <a:extLst>
                    <a:ext uri="{FF2B5EF4-FFF2-40B4-BE49-F238E27FC236}">
                      <a16:creationId xmlns:a16="http://schemas.microsoft.com/office/drawing/2014/main" id="{09011927-362B-42A5-BC22-961DB21935D6}"/>
                    </a:ext>
                  </a:extLst>
                </p:cNvPr>
                <p:cNvSpPr/>
                <p:nvPr/>
              </p:nvSpPr>
              <p:spPr>
                <a:xfrm>
                  <a:off x="2322363" y="1980024"/>
                  <a:ext cx="58845" cy="55714"/>
                </a:xfrm>
                <a:custGeom>
                  <a:avLst/>
                  <a:gdLst>
                    <a:gd name="connsiteX0" fmla="*/ 29423 w 58845"/>
                    <a:gd name="connsiteY0" fmla="*/ 55714 h 55714"/>
                    <a:gd name="connsiteX1" fmla="*/ 29423 w 58845"/>
                    <a:gd name="connsiteY1" fmla="*/ 55714 h 55714"/>
                    <a:gd name="connsiteX2" fmla="*/ 14306 w 58845"/>
                    <a:gd name="connsiteY2" fmla="*/ 47978 h 55714"/>
                    <a:gd name="connsiteX3" fmla="*/ 0 w 58845"/>
                    <a:gd name="connsiteY3" fmla="*/ 28183 h 55714"/>
                    <a:gd name="connsiteX4" fmla="*/ 29423 w 58845"/>
                    <a:gd name="connsiteY4" fmla="*/ 0 h 55714"/>
                    <a:gd name="connsiteX5" fmla="*/ 58846 w 58845"/>
                    <a:gd name="connsiteY5" fmla="*/ 28183 h 55714"/>
                    <a:gd name="connsiteX6" fmla="*/ 44552 w 58845"/>
                    <a:gd name="connsiteY6" fmla="*/ 47978 h 55714"/>
                    <a:gd name="connsiteX7" fmla="*/ 29423 w 58845"/>
                    <a:gd name="connsiteY7" fmla="*/ 55714 h 55714"/>
                    <a:gd name="connsiteX8" fmla="*/ 16283 w 58845"/>
                    <a:gd name="connsiteY8" fmla="*/ 29681 h 55714"/>
                    <a:gd name="connsiteX9" fmla="*/ 24302 w 58845"/>
                    <a:gd name="connsiteY9" fmla="*/ 40770 h 55714"/>
                    <a:gd name="connsiteX10" fmla="*/ 29423 w 58845"/>
                    <a:gd name="connsiteY10" fmla="*/ 43398 h 55714"/>
                    <a:gd name="connsiteX11" fmla="*/ 29423 w 58845"/>
                    <a:gd name="connsiteY11" fmla="*/ 43398 h 55714"/>
                    <a:gd name="connsiteX12" fmla="*/ 34556 w 58845"/>
                    <a:gd name="connsiteY12" fmla="*/ 40770 h 55714"/>
                    <a:gd name="connsiteX13" fmla="*/ 42562 w 58845"/>
                    <a:gd name="connsiteY13" fmla="*/ 29681 h 55714"/>
                    <a:gd name="connsiteX14" fmla="*/ 29423 w 58845"/>
                    <a:gd name="connsiteY14" fmla="*/ 17094 h 55714"/>
                    <a:gd name="connsiteX15" fmla="*/ 16283 w 58845"/>
                    <a:gd name="connsiteY15" fmla="*/ 29681 h 55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8845" h="55714">
                      <a:moveTo>
                        <a:pt x="29423" y="55714"/>
                      </a:moveTo>
                      <a:cubicBezTo>
                        <a:pt x="29423" y="55714"/>
                        <a:pt x="29423" y="55714"/>
                        <a:pt x="29423" y="55714"/>
                      </a:cubicBezTo>
                      <a:cubicBezTo>
                        <a:pt x="23356" y="55702"/>
                        <a:pt x="17855" y="52890"/>
                        <a:pt x="14306" y="47978"/>
                      </a:cubicBezTo>
                      <a:lnTo>
                        <a:pt x="0" y="28183"/>
                      </a:lnTo>
                      <a:lnTo>
                        <a:pt x="29423" y="0"/>
                      </a:lnTo>
                      <a:lnTo>
                        <a:pt x="58846" y="28183"/>
                      </a:lnTo>
                      <a:lnTo>
                        <a:pt x="44552" y="47978"/>
                      </a:lnTo>
                      <a:cubicBezTo>
                        <a:pt x="40991" y="52902"/>
                        <a:pt x="35477" y="55714"/>
                        <a:pt x="29423" y="55714"/>
                      </a:cubicBezTo>
                      <a:close/>
                      <a:moveTo>
                        <a:pt x="16283" y="29681"/>
                      </a:moveTo>
                      <a:lnTo>
                        <a:pt x="24302" y="40770"/>
                      </a:lnTo>
                      <a:cubicBezTo>
                        <a:pt x="25505" y="42440"/>
                        <a:pt x="27372" y="43385"/>
                        <a:pt x="29423" y="43398"/>
                      </a:cubicBezTo>
                      <a:lnTo>
                        <a:pt x="29423" y="43398"/>
                      </a:lnTo>
                      <a:cubicBezTo>
                        <a:pt x="31474" y="43398"/>
                        <a:pt x="33352" y="42440"/>
                        <a:pt x="34556" y="40770"/>
                      </a:cubicBezTo>
                      <a:lnTo>
                        <a:pt x="42562" y="29681"/>
                      </a:lnTo>
                      <a:lnTo>
                        <a:pt x="29423" y="17094"/>
                      </a:lnTo>
                      <a:lnTo>
                        <a:pt x="16283" y="29681"/>
                      </a:lnTo>
                      <a:close/>
                    </a:path>
                  </a:pathLst>
                </a:custGeom>
                <a:solidFill>
                  <a:schemeClr val="tx2"/>
                </a:solidFill>
                <a:ln w="1228" cap="flat">
                  <a:noFill/>
                  <a:prstDash val="solid"/>
                  <a:miter/>
                </a:ln>
              </p:spPr>
              <p:txBody>
                <a:bodyPr rtlCol="0" anchor="ctr"/>
                <a:lstStyle/>
                <a:p>
                  <a:endParaRPr lang="en-GB" dirty="0"/>
                </a:p>
              </p:txBody>
            </p:sp>
            <p:sp>
              <p:nvSpPr>
                <p:cNvPr id="189" name="Freihandform: Form 180">
                  <a:extLst>
                    <a:ext uri="{FF2B5EF4-FFF2-40B4-BE49-F238E27FC236}">
                      <a16:creationId xmlns:a16="http://schemas.microsoft.com/office/drawing/2014/main" id="{09CB1577-4B6F-46E7-8E71-9F1D3D541A53}"/>
                    </a:ext>
                  </a:extLst>
                </p:cNvPr>
                <p:cNvSpPr/>
                <p:nvPr/>
              </p:nvSpPr>
              <p:spPr>
                <a:xfrm rot="-4689850">
                  <a:off x="2295325" y="2055871"/>
                  <a:ext cx="76796" cy="12328"/>
                </a:xfrm>
                <a:custGeom>
                  <a:avLst/>
                  <a:gdLst>
                    <a:gd name="connsiteX0" fmla="*/ 0 w 76796"/>
                    <a:gd name="connsiteY0" fmla="*/ 0 h 12328"/>
                    <a:gd name="connsiteX1" fmla="*/ 76796 w 76796"/>
                    <a:gd name="connsiteY1" fmla="*/ 0 h 12328"/>
                    <a:gd name="connsiteX2" fmla="*/ 76796 w 76796"/>
                    <a:gd name="connsiteY2" fmla="*/ 12329 h 12328"/>
                    <a:gd name="connsiteX3" fmla="*/ 0 w 76796"/>
                    <a:gd name="connsiteY3" fmla="*/ 12329 h 12328"/>
                  </a:gdLst>
                  <a:ahLst/>
                  <a:cxnLst>
                    <a:cxn ang="0">
                      <a:pos x="connsiteX0" y="connsiteY0"/>
                    </a:cxn>
                    <a:cxn ang="0">
                      <a:pos x="connsiteX1" y="connsiteY1"/>
                    </a:cxn>
                    <a:cxn ang="0">
                      <a:pos x="connsiteX2" y="connsiteY2"/>
                    </a:cxn>
                    <a:cxn ang="0">
                      <a:pos x="connsiteX3" y="connsiteY3"/>
                    </a:cxn>
                  </a:cxnLst>
                  <a:rect l="l" t="t" r="r" b="b"/>
                  <a:pathLst>
                    <a:path w="76796" h="12328">
                      <a:moveTo>
                        <a:pt x="0" y="0"/>
                      </a:moveTo>
                      <a:lnTo>
                        <a:pt x="76796" y="0"/>
                      </a:lnTo>
                      <a:lnTo>
                        <a:pt x="7679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190" name="Freihandform: Form 181">
                  <a:extLst>
                    <a:ext uri="{FF2B5EF4-FFF2-40B4-BE49-F238E27FC236}">
                      <a16:creationId xmlns:a16="http://schemas.microsoft.com/office/drawing/2014/main" id="{E0AE8E06-F6B8-4C82-80A8-7C7FE2A2F069}"/>
                    </a:ext>
                  </a:extLst>
                </p:cNvPr>
                <p:cNvSpPr/>
                <p:nvPr/>
              </p:nvSpPr>
              <p:spPr>
                <a:xfrm rot="-709743">
                  <a:off x="2363686" y="2023522"/>
                  <a:ext cx="12329" cy="76802"/>
                </a:xfrm>
                <a:custGeom>
                  <a:avLst/>
                  <a:gdLst>
                    <a:gd name="connsiteX0" fmla="*/ 0 w 12329"/>
                    <a:gd name="connsiteY0" fmla="*/ 0 h 76802"/>
                    <a:gd name="connsiteX1" fmla="*/ 12330 w 12329"/>
                    <a:gd name="connsiteY1" fmla="*/ 0 h 76802"/>
                    <a:gd name="connsiteX2" fmla="*/ 12330 w 12329"/>
                    <a:gd name="connsiteY2" fmla="*/ 76802 h 76802"/>
                    <a:gd name="connsiteX3" fmla="*/ 0 w 12329"/>
                    <a:gd name="connsiteY3" fmla="*/ 76802 h 76802"/>
                  </a:gdLst>
                  <a:ahLst/>
                  <a:cxnLst>
                    <a:cxn ang="0">
                      <a:pos x="connsiteX0" y="connsiteY0"/>
                    </a:cxn>
                    <a:cxn ang="0">
                      <a:pos x="connsiteX1" y="connsiteY1"/>
                    </a:cxn>
                    <a:cxn ang="0">
                      <a:pos x="connsiteX2" y="connsiteY2"/>
                    </a:cxn>
                    <a:cxn ang="0">
                      <a:pos x="connsiteX3" y="connsiteY3"/>
                    </a:cxn>
                  </a:cxnLst>
                  <a:rect l="l" t="t" r="r" b="b"/>
                  <a:pathLst>
                    <a:path w="12329" h="76802">
                      <a:moveTo>
                        <a:pt x="0" y="0"/>
                      </a:moveTo>
                      <a:lnTo>
                        <a:pt x="12330" y="0"/>
                      </a:lnTo>
                      <a:lnTo>
                        <a:pt x="12330" y="76802"/>
                      </a:lnTo>
                      <a:lnTo>
                        <a:pt x="0" y="76802"/>
                      </a:lnTo>
                      <a:close/>
                    </a:path>
                  </a:pathLst>
                </a:custGeom>
                <a:solidFill>
                  <a:schemeClr val="tx2"/>
                </a:solidFill>
                <a:ln w="1228" cap="flat">
                  <a:noFill/>
                  <a:prstDash val="solid"/>
                  <a:miter/>
                </a:ln>
              </p:spPr>
              <p:txBody>
                <a:bodyPr rtlCol="0" anchor="ctr"/>
                <a:lstStyle/>
                <a:p>
                  <a:endParaRPr lang="en-GB" dirty="0"/>
                </a:p>
              </p:txBody>
            </p:sp>
          </p:grpSp>
          <p:sp>
            <p:nvSpPr>
              <p:cNvPr id="182" name="Freihandform: Form 182">
                <a:extLst>
                  <a:ext uri="{FF2B5EF4-FFF2-40B4-BE49-F238E27FC236}">
                    <a16:creationId xmlns:a16="http://schemas.microsoft.com/office/drawing/2014/main" id="{868F910D-E845-41CE-8A9D-4E1597E4DFCA}"/>
                  </a:ext>
                </a:extLst>
              </p:cNvPr>
              <p:cNvSpPr/>
              <p:nvPr/>
            </p:nvSpPr>
            <p:spPr>
              <a:xfrm>
                <a:off x="2209191" y="2061981"/>
                <a:ext cx="12329" cy="37576"/>
              </a:xfrm>
              <a:custGeom>
                <a:avLst/>
                <a:gdLst>
                  <a:gd name="connsiteX0" fmla="*/ 0 w 12329"/>
                  <a:gd name="connsiteY0" fmla="*/ 0 h 37576"/>
                  <a:gd name="connsiteX1" fmla="*/ 12329 w 12329"/>
                  <a:gd name="connsiteY1" fmla="*/ 0 h 37576"/>
                  <a:gd name="connsiteX2" fmla="*/ 12329 w 12329"/>
                  <a:gd name="connsiteY2" fmla="*/ 37577 h 37576"/>
                  <a:gd name="connsiteX3" fmla="*/ 0 w 12329"/>
                  <a:gd name="connsiteY3" fmla="*/ 37577 h 37576"/>
                </a:gdLst>
                <a:ahLst/>
                <a:cxnLst>
                  <a:cxn ang="0">
                    <a:pos x="connsiteX0" y="connsiteY0"/>
                  </a:cxn>
                  <a:cxn ang="0">
                    <a:pos x="connsiteX1" y="connsiteY1"/>
                  </a:cxn>
                  <a:cxn ang="0">
                    <a:pos x="connsiteX2" y="connsiteY2"/>
                  </a:cxn>
                  <a:cxn ang="0">
                    <a:pos x="connsiteX3" y="connsiteY3"/>
                  </a:cxn>
                </a:cxnLst>
                <a:rect l="l" t="t" r="r" b="b"/>
                <a:pathLst>
                  <a:path w="12329" h="37576">
                    <a:moveTo>
                      <a:pt x="0" y="0"/>
                    </a:moveTo>
                    <a:lnTo>
                      <a:pt x="12329" y="0"/>
                    </a:lnTo>
                    <a:lnTo>
                      <a:pt x="12329" y="37577"/>
                    </a:lnTo>
                    <a:lnTo>
                      <a:pt x="0" y="37577"/>
                    </a:lnTo>
                    <a:close/>
                  </a:path>
                </a:pathLst>
              </a:custGeom>
              <a:solidFill>
                <a:schemeClr val="tx2"/>
              </a:solidFill>
              <a:ln w="1228" cap="flat">
                <a:noFill/>
                <a:prstDash val="solid"/>
                <a:miter/>
              </a:ln>
            </p:spPr>
            <p:txBody>
              <a:bodyPr rtlCol="0" anchor="ctr"/>
              <a:lstStyle/>
              <a:p>
                <a:endParaRPr lang="en-GB" dirty="0"/>
              </a:p>
            </p:txBody>
          </p:sp>
        </p:grpSp>
      </p:grpSp>
      <p:grpSp>
        <p:nvGrpSpPr>
          <p:cNvPr id="193" name="Gruppieren 419">
            <a:extLst>
              <a:ext uri="{FF2B5EF4-FFF2-40B4-BE49-F238E27FC236}">
                <a16:creationId xmlns:a16="http://schemas.microsoft.com/office/drawing/2014/main" id="{0A4B0DF0-B112-490C-BB99-14BDB6A8116C}"/>
              </a:ext>
            </a:extLst>
          </p:cNvPr>
          <p:cNvGrpSpPr>
            <a:grpSpLocks noChangeAspect="1"/>
          </p:cNvGrpSpPr>
          <p:nvPr/>
        </p:nvGrpSpPr>
        <p:grpSpPr>
          <a:xfrm>
            <a:off x="2162487" y="2449341"/>
            <a:ext cx="397019" cy="432000"/>
            <a:chOff x="2195916" y="2563056"/>
            <a:chExt cx="420602" cy="457661"/>
          </a:xfrm>
        </p:grpSpPr>
        <p:grpSp>
          <p:nvGrpSpPr>
            <p:cNvPr id="194" name="Gruppieren 418">
              <a:extLst>
                <a:ext uri="{FF2B5EF4-FFF2-40B4-BE49-F238E27FC236}">
                  <a16:creationId xmlns:a16="http://schemas.microsoft.com/office/drawing/2014/main" id="{EE8B22CB-085A-45D8-AA0D-B225E45D1809}"/>
                </a:ext>
              </a:extLst>
            </p:cNvPr>
            <p:cNvGrpSpPr/>
            <p:nvPr/>
          </p:nvGrpSpPr>
          <p:grpSpPr>
            <a:xfrm>
              <a:off x="2265544" y="2564884"/>
              <a:ext cx="288125" cy="386869"/>
              <a:chOff x="2265544" y="2564884"/>
              <a:chExt cx="288125" cy="386869"/>
            </a:xfrm>
          </p:grpSpPr>
          <p:sp>
            <p:nvSpPr>
              <p:cNvPr id="203" name="Freihandform: Form 186">
                <a:extLst>
                  <a:ext uri="{FF2B5EF4-FFF2-40B4-BE49-F238E27FC236}">
                    <a16:creationId xmlns:a16="http://schemas.microsoft.com/office/drawing/2014/main" id="{FD6DCBC3-1F03-4147-A02E-BE876475FB88}"/>
                  </a:ext>
                </a:extLst>
              </p:cNvPr>
              <p:cNvSpPr/>
              <p:nvPr/>
            </p:nvSpPr>
            <p:spPr>
              <a:xfrm>
                <a:off x="2502093" y="2577385"/>
                <a:ext cx="40683" cy="40695"/>
              </a:xfrm>
              <a:custGeom>
                <a:avLst/>
                <a:gdLst>
                  <a:gd name="connsiteX0" fmla="*/ 40684 w 40683"/>
                  <a:gd name="connsiteY0" fmla="*/ 40696 h 40695"/>
                  <a:gd name="connsiteX1" fmla="*/ 0 w 40683"/>
                  <a:gd name="connsiteY1" fmla="*/ 40696 h 40695"/>
                  <a:gd name="connsiteX2" fmla="*/ 0 w 40683"/>
                  <a:gd name="connsiteY2" fmla="*/ 0 h 40695"/>
                  <a:gd name="connsiteX3" fmla="*/ 12329 w 40683"/>
                  <a:gd name="connsiteY3" fmla="*/ 0 h 40695"/>
                  <a:gd name="connsiteX4" fmla="*/ 12329 w 40683"/>
                  <a:gd name="connsiteY4" fmla="*/ 28367 h 40695"/>
                  <a:gd name="connsiteX5" fmla="*/ 40684 w 40683"/>
                  <a:gd name="connsiteY5" fmla="*/ 28367 h 40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83" h="40695">
                    <a:moveTo>
                      <a:pt x="40684" y="40696"/>
                    </a:moveTo>
                    <a:lnTo>
                      <a:pt x="0" y="40696"/>
                    </a:lnTo>
                    <a:lnTo>
                      <a:pt x="0" y="0"/>
                    </a:lnTo>
                    <a:lnTo>
                      <a:pt x="12329" y="0"/>
                    </a:lnTo>
                    <a:lnTo>
                      <a:pt x="12329" y="28367"/>
                    </a:lnTo>
                    <a:lnTo>
                      <a:pt x="40684" y="28367"/>
                    </a:lnTo>
                    <a:close/>
                  </a:path>
                </a:pathLst>
              </a:custGeom>
              <a:solidFill>
                <a:schemeClr val="tx2"/>
              </a:solidFill>
              <a:ln w="1228" cap="flat">
                <a:noFill/>
                <a:prstDash val="solid"/>
                <a:miter/>
              </a:ln>
            </p:spPr>
            <p:txBody>
              <a:bodyPr rtlCol="0" anchor="ctr"/>
              <a:lstStyle/>
              <a:p>
                <a:endParaRPr lang="en-GB" dirty="0"/>
              </a:p>
            </p:txBody>
          </p:sp>
          <p:sp>
            <p:nvSpPr>
              <p:cNvPr id="204" name="Freihandform: Form 187">
                <a:extLst>
                  <a:ext uri="{FF2B5EF4-FFF2-40B4-BE49-F238E27FC236}">
                    <a16:creationId xmlns:a16="http://schemas.microsoft.com/office/drawing/2014/main" id="{DD0F43AC-6E29-4787-BADA-AAB7B38CE57B}"/>
                  </a:ext>
                </a:extLst>
              </p:cNvPr>
              <p:cNvSpPr/>
              <p:nvPr/>
            </p:nvSpPr>
            <p:spPr>
              <a:xfrm>
                <a:off x="2265544" y="2564884"/>
                <a:ext cx="288125" cy="386869"/>
              </a:xfrm>
              <a:custGeom>
                <a:avLst/>
                <a:gdLst>
                  <a:gd name="connsiteX0" fmla="*/ 193091 w 288125"/>
                  <a:gd name="connsiteY0" fmla="*/ 386869 h 386869"/>
                  <a:gd name="connsiteX1" fmla="*/ 0 w 288125"/>
                  <a:gd name="connsiteY1" fmla="*/ 386869 h 386869"/>
                  <a:gd name="connsiteX2" fmla="*/ 0 w 288125"/>
                  <a:gd name="connsiteY2" fmla="*/ 0 h 386869"/>
                  <a:gd name="connsiteX3" fmla="*/ 249984 w 288125"/>
                  <a:gd name="connsiteY3" fmla="*/ 0 h 386869"/>
                  <a:gd name="connsiteX4" fmla="*/ 288126 w 288125"/>
                  <a:gd name="connsiteY4" fmla="*/ 38142 h 386869"/>
                  <a:gd name="connsiteX5" fmla="*/ 288126 w 288125"/>
                  <a:gd name="connsiteY5" fmla="*/ 261712 h 386869"/>
                  <a:gd name="connsiteX6" fmla="*/ 275797 w 288125"/>
                  <a:gd name="connsiteY6" fmla="*/ 261712 h 386869"/>
                  <a:gd name="connsiteX7" fmla="*/ 275797 w 288125"/>
                  <a:gd name="connsiteY7" fmla="*/ 43250 h 386869"/>
                  <a:gd name="connsiteX8" fmla="*/ 244876 w 288125"/>
                  <a:gd name="connsiteY8" fmla="*/ 12341 h 386869"/>
                  <a:gd name="connsiteX9" fmla="*/ 12329 w 288125"/>
                  <a:gd name="connsiteY9" fmla="*/ 12341 h 386869"/>
                  <a:gd name="connsiteX10" fmla="*/ 12329 w 288125"/>
                  <a:gd name="connsiteY10" fmla="*/ 374540 h 386869"/>
                  <a:gd name="connsiteX11" fmla="*/ 193091 w 288125"/>
                  <a:gd name="connsiteY11" fmla="*/ 374540 h 386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8125" h="386869">
                    <a:moveTo>
                      <a:pt x="193091" y="386869"/>
                    </a:moveTo>
                    <a:lnTo>
                      <a:pt x="0" y="386869"/>
                    </a:lnTo>
                    <a:lnTo>
                      <a:pt x="0" y="0"/>
                    </a:lnTo>
                    <a:lnTo>
                      <a:pt x="249984" y="0"/>
                    </a:lnTo>
                    <a:lnTo>
                      <a:pt x="288126" y="38142"/>
                    </a:lnTo>
                    <a:lnTo>
                      <a:pt x="288126" y="261712"/>
                    </a:lnTo>
                    <a:lnTo>
                      <a:pt x="275797" y="261712"/>
                    </a:lnTo>
                    <a:lnTo>
                      <a:pt x="275797" y="43250"/>
                    </a:lnTo>
                    <a:lnTo>
                      <a:pt x="244876" y="12341"/>
                    </a:lnTo>
                    <a:lnTo>
                      <a:pt x="12329" y="12341"/>
                    </a:lnTo>
                    <a:lnTo>
                      <a:pt x="12329" y="374540"/>
                    </a:lnTo>
                    <a:lnTo>
                      <a:pt x="193091" y="374540"/>
                    </a:lnTo>
                    <a:close/>
                  </a:path>
                </a:pathLst>
              </a:custGeom>
              <a:solidFill>
                <a:schemeClr val="tx2"/>
              </a:solidFill>
              <a:ln w="1228" cap="flat">
                <a:noFill/>
                <a:prstDash val="solid"/>
                <a:miter/>
              </a:ln>
            </p:spPr>
            <p:txBody>
              <a:bodyPr rtlCol="0" anchor="ctr"/>
              <a:lstStyle/>
              <a:p>
                <a:endParaRPr lang="en-GB" dirty="0"/>
              </a:p>
            </p:txBody>
          </p:sp>
          <p:sp>
            <p:nvSpPr>
              <p:cNvPr id="205" name="Freihandform: Form 188">
                <a:extLst>
                  <a:ext uri="{FF2B5EF4-FFF2-40B4-BE49-F238E27FC236}">
                    <a16:creationId xmlns:a16="http://schemas.microsoft.com/office/drawing/2014/main" id="{2D6CC302-0957-411F-B85F-9CABF836EB0F}"/>
                  </a:ext>
                </a:extLst>
              </p:cNvPr>
              <p:cNvSpPr/>
              <p:nvPr/>
            </p:nvSpPr>
            <p:spPr>
              <a:xfrm>
                <a:off x="2306227" y="2683067"/>
                <a:ext cx="206746" cy="12329"/>
              </a:xfrm>
              <a:custGeom>
                <a:avLst/>
                <a:gdLst>
                  <a:gd name="connsiteX0" fmla="*/ 0 w 206746"/>
                  <a:gd name="connsiteY0" fmla="*/ 0 h 12329"/>
                  <a:gd name="connsiteX1" fmla="*/ 206746 w 206746"/>
                  <a:gd name="connsiteY1" fmla="*/ 0 h 12329"/>
                  <a:gd name="connsiteX2" fmla="*/ 206746 w 206746"/>
                  <a:gd name="connsiteY2" fmla="*/ 12329 h 12329"/>
                  <a:gd name="connsiteX3" fmla="*/ 0 w 206746"/>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06746" h="12329">
                    <a:moveTo>
                      <a:pt x="0" y="0"/>
                    </a:moveTo>
                    <a:lnTo>
                      <a:pt x="206746" y="0"/>
                    </a:lnTo>
                    <a:lnTo>
                      <a:pt x="20674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06" name="Freihandform: Form 189">
                <a:extLst>
                  <a:ext uri="{FF2B5EF4-FFF2-40B4-BE49-F238E27FC236}">
                    <a16:creationId xmlns:a16="http://schemas.microsoft.com/office/drawing/2014/main" id="{2A813E62-D2AB-4CE2-9F9C-958A6743376D}"/>
                  </a:ext>
                </a:extLst>
              </p:cNvPr>
              <p:cNvSpPr/>
              <p:nvPr/>
            </p:nvSpPr>
            <p:spPr>
              <a:xfrm>
                <a:off x="2306227" y="2717598"/>
                <a:ext cx="206746" cy="12329"/>
              </a:xfrm>
              <a:custGeom>
                <a:avLst/>
                <a:gdLst>
                  <a:gd name="connsiteX0" fmla="*/ 0 w 206746"/>
                  <a:gd name="connsiteY0" fmla="*/ 0 h 12329"/>
                  <a:gd name="connsiteX1" fmla="*/ 206746 w 206746"/>
                  <a:gd name="connsiteY1" fmla="*/ 0 h 12329"/>
                  <a:gd name="connsiteX2" fmla="*/ 206746 w 206746"/>
                  <a:gd name="connsiteY2" fmla="*/ 12329 h 12329"/>
                  <a:gd name="connsiteX3" fmla="*/ 0 w 206746"/>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06746" h="12329">
                    <a:moveTo>
                      <a:pt x="0" y="0"/>
                    </a:moveTo>
                    <a:lnTo>
                      <a:pt x="206746" y="0"/>
                    </a:lnTo>
                    <a:lnTo>
                      <a:pt x="20674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07" name="Freihandform: Form 190">
                <a:extLst>
                  <a:ext uri="{FF2B5EF4-FFF2-40B4-BE49-F238E27FC236}">
                    <a16:creationId xmlns:a16="http://schemas.microsoft.com/office/drawing/2014/main" id="{7A0BE19F-90DD-47C3-9C62-76B0D35D2762}"/>
                  </a:ext>
                </a:extLst>
              </p:cNvPr>
              <p:cNvSpPr/>
              <p:nvPr/>
            </p:nvSpPr>
            <p:spPr>
              <a:xfrm>
                <a:off x="2306227" y="2752129"/>
                <a:ext cx="206746" cy="12329"/>
              </a:xfrm>
              <a:custGeom>
                <a:avLst/>
                <a:gdLst>
                  <a:gd name="connsiteX0" fmla="*/ 0 w 206746"/>
                  <a:gd name="connsiteY0" fmla="*/ 0 h 12329"/>
                  <a:gd name="connsiteX1" fmla="*/ 206746 w 206746"/>
                  <a:gd name="connsiteY1" fmla="*/ 0 h 12329"/>
                  <a:gd name="connsiteX2" fmla="*/ 206746 w 206746"/>
                  <a:gd name="connsiteY2" fmla="*/ 12329 h 12329"/>
                  <a:gd name="connsiteX3" fmla="*/ 0 w 206746"/>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06746" h="12329">
                    <a:moveTo>
                      <a:pt x="0" y="0"/>
                    </a:moveTo>
                    <a:lnTo>
                      <a:pt x="206746" y="0"/>
                    </a:lnTo>
                    <a:lnTo>
                      <a:pt x="20674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08" name="Freihandform: Form 191">
                <a:extLst>
                  <a:ext uri="{FF2B5EF4-FFF2-40B4-BE49-F238E27FC236}">
                    <a16:creationId xmlns:a16="http://schemas.microsoft.com/office/drawing/2014/main" id="{72679186-8999-448F-9122-44FCECA1D508}"/>
                  </a:ext>
                </a:extLst>
              </p:cNvPr>
              <p:cNvSpPr/>
              <p:nvPr/>
            </p:nvSpPr>
            <p:spPr>
              <a:xfrm>
                <a:off x="2306227" y="2786649"/>
                <a:ext cx="206746" cy="12329"/>
              </a:xfrm>
              <a:custGeom>
                <a:avLst/>
                <a:gdLst>
                  <a:gd name="connsiteX0" fmla="*/ 0 w 206746"/>
                  <a:gd name="connsiteY0" fmla="*/ 0 h 12329"/>
                  <a:gd name="connsiteX1" fmla="*/ 206746 w 206746"/>
                  <a:gd name="connsiteY1" fmla="*/ 0 h 12329"/>
                  <a:gd name="connsiteX2" fmla="*/ 206746 w 206746"/>
                  <a:gd name="connsiteY2" fmla="*/ 12329 h 12329"/>
                  <a:gd name="connsiteX3" fmla="*/ 0 w 206746"/>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06746" h="12329">
                    <a:moveTo>
                      <a:pt x="0" y="0"/>
                    </a:moveTo>
                    <a:lnTo>
                      <a:pt x="206746" y="0"/>
                    </a:lnTo>
                    <a:lnTo>
                      <a:pt x="20674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09" name="Freihandform: Form 192">
                <a:extLst>
                  <a:ext uri="{FF2B5EF4-FFF2-40B4-BE49-F238E27FC236}">
                    <a16:creationId xmlns:a16="http://schemas.microsoft.com/office/drawing/2014/main" id="{1FA3029A-99A2-42F4-9D4C-0D10D578D8AB}"/>
                  </a:ext>
                </a:extLst>
              </p:cNvPr>
              <p:cNvSpPr/>
              <p:nvPr/>
            </p:nvSpPr>
            <p:spPr>
              <a:xfrm>
                <a:off x="2306227" y="2821180"/>
                <a:ext cx="206746" cy="12329"/>
              </a:xfrm>
              <a:custGeom>
                <a:avLst/>
                <a:gdLst>
                  <a:gd name="connsiteX0" fmla="*/ 0 w 206746"/>
                  <a:gd name="connsiteY0" fmla="*/ 0 h 12329"/>
                  <a:gd name="connsiteX1" fmla="*/ 206746 w 206746"/>
                  <a:gd name="connsiteY1" fmla="*/ 0 h 12329"/>
                  <a:gd name="connsiteX2" fmla="*/ 206746 w 206746"/>
                  <a:gd name="connsiteY2" fmla="*/ 12329 h 12329"/>
                  <a:gd name="connsiteX3" fmla="*/ 0 w 206746"/>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06746" h="12329">
                    <a:moveTo>
                      <a:pt x="0" y="0"/>
                    </a:moveTo>
                    <a:lnTo>
                      <a:pt x="206746" y="0"/>
                    </a:lnTo>
                    <a:lnTo>
                      <a:pt x="20674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10" name="Freihandform: Form 193">
                <a:extLst>
                  <a:ext uri="{FF2B5EF4-FFF2-40B4-BE49-F238E27FC236}">
                    <a16:creationId xmlns:a16="http://schemas.microsoft.com/office/drawing/2014/main" id="{5C1C9E3D-67AC-4500-A907-2E76A5C6D724}"/>
                  </a:ext>
                </a:extLst>
              </p:cNvPr>
              <p:cNvSpPr/>
              <p:nvPr/>
            </p:nvSpPr>
            <p:spPr>
              <a:xfrm>
                <a:off x="2306227" y="2855711"/>
                <a:ext cx="149791" cy="12329"/>
              </a:xfrm>
              <a:custGeom>
                <a:avLst/>
                <a:gdLst>
                  <a:gd name="connsiteX0" fmla="*/ 0 w 149791"/>
                  <a:gd name="connsiteY0" fmla="*/ 0 h 12329"/>
                  <a:gd name="connsiteX1" fmla="*/ 149792 w 149791"/>
                  <a:gd name="connsiteY1" fmla="*/ 0 h 12329"/>
                  <a:gd name="connsiteX2" fmla="*/ 149792 w 149791"/>
                  <a:gd name="connsiteY2" fmla="*/ 12329 h 12329"/>
                  <a:gd name="connsiteX3" fmla="*/ 0 w 149791"/>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49791" h="12329">
                    <a:moveTo>
                      <a:pt x="0" y="0"/>
                    </a:moveTo>
                    <a:lnTo>
                      <a:pt x="149792" y="0"/>
                    </a:lnTo>
                    <a:lnTo>
                      <a:pt x="149792"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11" name="Freihandform: Form 194">
                <a:extLst>
                  <a:ext uri="{FF2B5EF4-FFF2-40B4-BE49-F238E27FC236}">
                    <a16:creationId xmlns:a16="http://schemas.microsoft.com/office/drawing/2014/main" id="{A7A6E85F-04C0-45DC-8E38-BBDCE8DA64EE}"/>
                  </a:ext>
                </a:extLst>
              </p:cNvPr>
              <p:cNvSpPr/>
              <p:nvPr/>
            </p:nvSpPr>
            <p:spPr>
              <a:xfrm>
                <a:off x="2306227" y="2890243"/>
                <a:ext cx="149791" cy="12329"/>
              </a:xfrm>
              <a:custGeom>
                <a:avLst/>
                <a:gdLst>
                  <a:gd name="connsiteX0" fmla="*/ 0 w 149791"/>
                  <a:gd name="connsiteY0" fmla="*/ 0 h 12329"/>
                  <a:gd name="connsiteX1" fmla="*/ 149792 w 149791"/>
                  <a:gd name="connsiteY1" fmla="*/ 0 h 12329"/>
                  <a:gd name="connsiteX2" fmla="*/ 149792 w 149791"/>
                  <a:gd name="connsiteY2" fmla="*/ 12329 h 12329"/>
                  <a:gd name="connsiteX3" fmla="*/ 0 w 149791"/>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49791" h="12329">
                    <a:moveTo>
                      <a:pt x="0" y="0"/>
                    </a:moveTo>
                    <a:lnTo>
                      <a:pt x="149792" y="0"/>
                    </a:lnTo>
                    <a:lnTo>
                      <a:pt x="149792"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12" name="Freihandform: Form 195">
                <a:extLst>
                  <a:ext uri="{FF2B5EF4-FFF2-40B4-BE49-F238E27FC236}">
                    <a16:creationId xmlns:a16="http://schemas.microsoft.com/office/drawing/2014/main" id="{9C08B68E-E6DB-4997-AE44-FBFDCA0EEACA}"/>
                  </a:ext>
                </a:extLst>
              </p:cNvPr>
              <p:cNvSpPr/>
              <p:nvPr/>
            </p:nvSpPr>
            <p:spPr>
              <a:xfrm>
                <a:off x="2306227" y="2648535"/>
                <a:ext cx="103373" cy="12329"/>
              </a:xfrm>
              <a:custGeom>
                <a:avLst/>
                <a:gdLst>
                  <a:gd name="connsiteX0" fmla="*/ 0 w 103373"/>
                  <a:gd name="connsiteY0" fmla="*/ 0 h 12329"/>
                  <a:gd name="connsiteX1" fmla="*/ 103373 w 103373"/>
                  <a:gd name="connsiteY1" fmla="*/ 0 h 12329"/>
                  <a:gd name="connsiteX2" fmla="*/ 103373 w 103373"/>
                  <a:gd name="connsiteY2" fmla="*/ 12329 h 12329"/>
                  <a:gd name="connsiteX3" fmla="*/ 0 w 10337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03373" h="12329">
                    <a:moveTo>
                      <a:pt x="0" y="0"/>
                    </a:moveTo>
                    <a:lnTo>
                      <a:pt x="103373" y="0"/>
                    </a:lnTo>
                    <a:lnTo>
                      <a:pt x="103373" y="12329"/>
                    </a:lnTo>
                    <a:lnTo>
                      <a:pt x="0" y="12329"/>
                    </a:lnTo>
                    <a:close/>
                  </a:path>
                </a:pathLst>
              </a:custGeom>
              <a:solidFill>
                <a:schemeClr val="tx2"/>
              </a:solidFill>
              <a:ln w="1228" cap="flat">
                <a:noFill/>
                <a:prstDash val="solid"/>
                <a:miter/>
              </a:ln>
            </p:spPr>
            <p:txBody>
              <a:bodyPr rtlCol="0" anchor="ctr"/>
              <a:lstStyle/>
              <a:p>
                <a:endParaRPr lang="en-GB" dirty="0"/>
              </a:p>
            </p:txBody>
          </p:sp>
        </p:grpSp>
        <p:grpSp>
          <p:nvGrpSpPr>
            <p:cNvPr id="195" name="Gruppieren 417">
              <a:extLst>
                <a:ext uri="{FF2B5EF4-FFF2-40B4-BE49-F238E27FC236}">
                  <a16:creationId xmlns:a16="http://schemas.microsoft.com/office/drawing/2014/main" id="{0CC47B8E-3A23-40CD-B8CA-CC771E5CC032}"/>
                </a:ext>
              </a:extLst>
            </p:cNvPr>
            <p:cNvGrpSpPr/>
            <p:nvPr/>
          </p:nvGrpSpPr>
          <p:grpSpPr>
            <a:xfrm>
              <a:off x="2195916" y="2563056"/>
              <a:ext cx="420602" cy="457661"/>
              <a:chOff x="2195916" y="2563056"/>
              <a:chExt cx="420602" cy="457661"/>
            </a:xfrm>
          </p:grpSpPr>
          <p:sp>
            <p:nvSpPr>
              <p:cNvPr id="196" name="Freihandform: Form 184">
                <a:extLst>
                  <a:ext uri="{FF2B5EF4-FFF2-40B4-BE49-F238E27FC236}">
                    <a16:creationId xmlns:a16="http://schemas.microsoft.com/office/drawing/2014/main" id="{F855B69B-484D-49DD-8A0B-68BD8C154B7F}"/>
                  </a:ext>
                </a:extLst>
              </p:cNvPr>
              <p:cNvSpPr/>
              <p:nvPr/>
            </p:nvSpPr>
            <p:spPr>
              <a:xfrm>
                <a:off x="2478503" y="2847737"/>
                <a:ext cx="138015" cy="172980"/>
              </a:xfrm>
              <a:custGeom>
                <a:avLst/>
                <a:gdLst>
                  <a:gd name="connsiteX0" fmla="*/ 69001 w 138015"/>
                  <a:gd name="connsiteY0" fmla="*/ 172981 h 172980"/>
                  <a:gd name="connsiteX1" fmla="*/ 65870 w 138015"/>
                  <a:gd name="connsiteY1" fmla="*/ 171127 h 172980"/>
                  <a:gd name="connsiteX2" fmla="*/ 10585 w 138015"/>
                  <a:gd name="connsiteY2" fmla="*/ 127766 h 172980"/>
                  <a:gd name="connsiteX3" fmla="*/ 0 w 138015"/>
                  <a:gd name="connsiteY3" fmla="*/ 98159 h 172980"/>
                  <a:gd name="connsiteX4" fmla="*/ 0 w 138015"/>
                  <a:gd name="connsiteY4" fmla="*/ 14249 h 172980"/>
                  <a:gd name="connsiteX5" fmla="*/ 34765 w 138015"/>
                  <a:gd name="connsiteY5" fmla="*/ 4646 h 172980"/>
                  <a:gd name="connsiteX6" fmla="*/ 103238 w 138015"/>
                  <a:gd name="connsiteY6" fmla="*/ 4646 h 172980"/>
                  <a:gd name="connsiteX7" fmla="*/ 138003 w 138015"/>
                  <a:gd name="connsiteY7" fmla="*/ 14249 h 172980"/>
                  <a:gd name="connsiteX8" fmla="*/ 138015 w 138015"/>
                  <a:gd name="connsiteY8" fmla="*/ 98159 h 172980"/>
                  <a:gd name="connsiteX9" fmla="*/ 127417 w 138015"/>
                  <a:gd name="connsiteY9" fmla="*/ 127778 h 172980"/>
                  <a:gd name="connsiteX10" fmla="*/ 72133 w 138015"/>
                  <a:gd name="connsiteY10" fmla="*/ 171127 h 172980"/>
                  <a:gd name="connsiteX11" fmla="*/ 69001 w 138015"/>
                  <a:gd name="connsiteY11" fmla="*/ 172981 h 172980"/>
                  <a:gd name="connsiteX12" fmla="*/ 12329 w 138015"/>
                  <a:gd name="connsiteY12" fmla="*/ 23644 h 172980"/>
                  <a:gd name="connsiteX13" fmla="*/ 12329 w 138015"/>
                  <a:gd name="connsiteY13" fmla="*/ 98159 h 172980"/>
                  <a:gd name="connsiteX14" fmla="*/ 20004 w 138015"/>
                  <a:gd name="connsiteY14" fmla="*/ 119821 h 172980"/>
                  <a:gd name="connsiteX15" fmla="*/ 69001 w 138015"/>
                  <a:gd name="connsiteY15" fmla="*/ 158650 h 172980"/>
                  <a:gd name="connsiteX16" fmla="*/ 117999 w 138015"/>
                  <a:gd name="connsiteY16" fmla="*/ 119833 h 172980"/>
                  <a:gd name="connsiteX17" fmla="*/ 125686 w 138015"/>
                  <a:gd name="connsiteY17" fmla="*/ 98171 h 172980"/>
                  <a:gd name="connsiteX18" fmla="*/ 125674 w 138015"/>
                  <a:gd name="connsiteY18" fmla="*/ 23656 h 172980"/>
                  <a:gd name="connsiteX19" fmla="*/ 99959 w 138015"/>
                  <a:gd name="connsiteY19" fmla="*/ 16546 h 172980"/>
                  <a:gd name="connsiteX20" fmla="*/ 38031 w 138015"/>
                  <a:gd name="connsiteY20" fmla="*/ 16546 h 172980"/>
                  <a:gd name="connsiteX21" fmla="*/ 12329 w 138015"/>
                  <a:gd name="connsiteY21" fmla="*/ 23644 h 172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015" h="172980">
                    <a:moveTo>
                      <a:pt x="69001" y="172981"/>
                    </a:moveTo>
                    <a:lnTo>
                      <a:pt x="65870" y="171127"/>
                    </a:lnTo>
                    <a:cubicBezTo>
                      <a:pt x="40831" y="156366"/>
                      <a:pt x="22743" y="142183"/>
                      <a:pt x="10585" y="127766"/>
                    </a:cubicBezTo>
                    <a:cubicBezTo>
                      <a:pt x="3758" y="119686"/>
                      <a:pt x="0" y="109174"/>
                      <a:pt x="0" y="98159"/>
                    </a:cubicBezTo>
                    <a:lnTo>
                      <a:pt x="0" y="14249"/>
                    </a:lnTo>
                    <a:lnTo>
                      <a:pt x="34765" y="4646"/>
                    </a:lnTo>
                    <a:cubicBezTo>
                      <a:pt x="57176" y="-1555"/>
                      <a:pt x="80852" y="-1543"/>
                      <a:pt x="103238" y="4646"/>
                    </a:cubicBezTo>
                    <a:lnTo>
                      <a:pt x="138003" y="14249"/>
                    </a:lnTo>
                    <a:lnTo>
                      <a:pt x="138015" y="98159"/>
                    </a:lnTo>
                    <a:cubicBezTo>
                      <a:pt x="138015" y="109174"/>
                      <a:pt x="134257" y="119686"/>
                      <a:pt x="127417" y="127778"/>
                    </a:cubicBezTo>
                    <a:cubicBezTo>
                      <a:pt x="115248" y="142195"/>
                      <a:pt x="97159" y="156378"/>
                      <a:pt x="72133" y="171127"/>
                    </a:cubicBezTo>
                    <a:lnTo>
                      <a:pt x="69001" y="172981"/>
                    </a:lnTo>
                    <a:close/>
                    <a:moveTo>
                      <a:pt x="12329" y="23644"/>
                    </a:moveTo>
                    <a:lnTo>
                      <a:pt x="12329" y="98159"/>
                    </a:lnTo>
                    <a:cubicBezTo>
                      <a:pt x="12329" y="106264"/>
                      <a:pt x="15055" y="113963"/>
                      <a:pt x="20004" y="119821"/>
                    </a:cubicBezTo>
                    <a:cubicBezTo>
                      <a:pt x="30761" y="132567"/>
                      <a:pt x="46811" y="145289"/>
                      <a:pt x="69001" y="158650"/>
                    </a:cubicBezTo>
                    <a:cubicBezTo>
                      <a:pt x="91191" y="145289"/>
                      <a:pt x="107254" y="132580"/>
                      <a:pt x="117999" y="119833"/>
                    </a:cubicBezTo>
                    <a:cubicBezTo>
                      <a:pt x="122947" y="113963"/>
                      <a:pt x="125686" y="106276"/>
                      <a:pt x="125686" y="98171"/>
                    </a:cubicBezTo>
                    <a:lnTo>
                      <a:pt x="125674" y="23656"/>
                    </a:lnTo>
                    <a:lnTo>
                      <a:pt x="99959" y="16546"/>
                    </a:lnTo>
                    <a:cubicBezTo>
                      <a:pt x="79710" y="10946"/>
                      <a:pt x="58293" y="10946"/>
                      <a:pt x="38031" y="16546"/>
                    </a:cubicBezTo>
                    <a:lnTo>
                      <a:pt x="12329" y="23644"/>
                    </a:lnTo>
                    <a:close/>
                  </a:path>
                </a:pathLst>
              </a:custGeom>
              <a:solidFill>
                <a:schemeClr val="accent1"/>
              </a:solidFill>
              <a:ln w="1228" cap="flat">
                <a:noFill/>
                <a:prstDash val="solid"/>
                <a:miter/>
              </a:ln>
            </p:spPr>
            <p:txBody>
              <a:bodyPr rtlCol="0" anchor="ctr"/>
              <a:lstStyle/>
              <a:p>
                <a:endParaRPr lang="en-GB" dirty="0"/>
              </a:p>
            </p:txBody>
          </p:sp>
          <p:sp>
            <p:nvSpPr>
              <p:cNvPr id="197" name="Freihandform: Form 185">
                <a:extLst>
                  <a:ext uri="{FF2B5EF4-FFF2-40B4-BE49-F238E27FC236}">
                    <a16:creationId xmlns:a16="http://schemas.microsoft.com/office/drawing/2014/main" id="{FE4F3704-8692-4521-86CF-985978C5889C}"/>
                  </a:ext>
                </a:extLst>
              </p:cNvPr>
              <p:cNvSpPr/>
              <p:nvPr/>
            </p:nvSpPr>
            <p:spPr>
              <a:xfrm>
                <a:off x="2520747" y="2907177"/>
                <a:ext cx="53516" cy="41543"/>
              </a:xfrm>
              <a:custGeom>
                <a:avLst/>
                <a:gdLst>
                  <a:gd name="connsiteX0" fmla="*/ 20692 w 53516"/>
                  <a:gd name="connsiteY0" fmla="*/ 41543 h 41543"/>
                  <a:gd name="connsiteX1" fmla="*/ 0 w 53516"/>
                  <a:gd name="connsiteY1" fmla="*/ 20852 h 41543"/>
                  <a:gd name="connsiteX2" fmla="*/ 8719 w 53516"/>
                  <a:gd name="connsiteY2" fmla="*/ 12133 h 41543"/>
                  <a:gd name="connsiteX3" fmla="*/ 20692 w 53516"/>
                  <a:gd name="connsiteY3" fmla="*/ 24106 h 41543"/>
                  <a:gd name="connsiteX4" fmla="*/ 44797 w 53516"/>
                  <a:gd name="connsiteY4" fmla="*/ 0 h 41543"/>
                  <a:gd name="connsiteX5" fmla="*/ 53516 w 53516"/>
                  <a:gd name="connsiteY5" fmla="*/ 8719 h 4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16" h="41543">
                    <a:moveTo>
                      <a:pt x="20692" y="41543"/>
                    </a:moveTo>
                    <a:lnTo>
                      <a:pt x="0" y="20852"/>
                    </a:lnTo>
                    <a:lnTo>
                      <a:pt x="8719" y="12133"/>
                    </a:lnTo>
                    <a:lnTo>
                      <a:pt x="20692" y="24106"/>
                    </a:lnTo>
                    <a:lnTo>
                      <a:pt x="44797" y="0"/>
                    </a:lnTo>
                    <a:lnTo>
                      <a:pt x="53516" y="8719"/>
                    </a:lnTo>
                    <a:close/>
                  </a:path>
                </a:pathLst>
              </a:custGeom>
              <a:solidFill>
                <a:schemeClr val="accent1"/>
              </a:solidFill>
              <a:ln w="1228" cap="flat">
                <a:noFill/>
                <a:prstDash val="solid"/>
                <a:miter/>
              </a:ln>
            </p:spPr>
            <p:txBody>
              <a:bodyPr rtlCol="0" anchor="ctr"/>
              <a:lstStyle/>
              <a:p>
                <a:endParaRPr lang="en-GB" dirty="0"/>
              </a:p>
            </p:txBody>
          </p:sp>
          <p:sp>
            <p:nvSpPr>
              <p:cNvPr id="198" name="Freihandform: Form 196">
                <a:extLst>
                  <a:ext uri="{FF2B5EF4-FFF2-40B4-BE49-F238E27FC236}">
                    <a16:creationId xmlns:a16="http://schemas.microsoft.com/office/drawing/2014/main" id="{AA42DA2A-22DB-4B0A-B359-BAD8861D6B75}"/>
                  </a:ext>
                </a:extLst>
              </p:cNvPr>
              <p:cNvSpPr/>
              <p:nvPr/>
            </p:nvSpPr>
            <p:spPr>
              <a:xfrm>
                <a:off x="2195916" y="2582309"/>
                <a:ext cx="47425" cy="369456"/>
              </a:xfrm>
              <a:custGeom>
                <a:avLst/>
                <a:gdLst>
                  <a:gd name="connsiteX0" fmla="*/ 17327 w 47425"/>
                  <a:gd name="connsiteY0" fmla="*/ 369456 h 369456"/>
                  <a:gd name="connsiteX1" fmla="*/ 565 w 47425"/>
                  <a:gd name="connsiteY1" fmla="*/ 309321 h 369456"/>
                  <a:gd name="connsiteX2" fmla="*/ 0 w 47425"/>
                  <a:gd name="connsiteY2" fmla="*/ 86 h 369456"/>
                  <a:gd name="connsiteX3" fmla="*/ 46861 w 47425"/>
                  <a:gd name="connsiteY3" fmla="*/ 0 h 369456"/>
                  <a:gd name="connsiteX4" fmla="*/ 47425 w 47425"/>
                  <a:gd name="connsiteY4" fmla="*/ 310193 h 369456"/>
                  <a:gd name="connsiteX5" fmla="*/ 28625 w 47425"/>
                  <a:gd name="connsiteY5" fmla="*/ 369432 h 369456"/>
                  <a:gd name="connsiteX6" fmla="*/ 17327 w 47425"/>
                  <a:gd name="connsiteY6" fmla="*/ 369456 h 369456"/>
                  <a:gd name="connsiteX7" fmla="*/ 12894 w 47425"/>
                  <a:gd name="connsiteY7" fmla="*/ 308449 h 369456"/>
                  <a:gd name="connsiteX8" fmla="*/ 23320 w 47425"/>
                  <a:gd name="connsiteY8" fmla="*/ 345363 h 369456"/>
                  <a:gd name="connsiteX9" fmla="*/ 35096 w 47425"/>
                  <a:gd name="connsiteY9" fmla="*/ 308290 h 369456"/>
                  <a:gd name="connsiteX10" fmla="*/ 34556 w 47425"/>
                  <a:gd name="connsiteY10" fmla="*/ 12354 h 369456"/>
                  <a:gd name="connsiteX11" fmla="*/ 12366 w 47425"/>
                  <a:gd name="connsiteY11" fmla="*/ 12391 h 369456"/>
                  <a:gd name="connsiteX12" fmla="*/ 12894 w 47425"/>
                  <a:gd name="connsiteY12" fmla="*/ 308449 h 36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25" h="369456">
                    <a:moveTo>
                      <a:pt x="17327" y="369456"/>
                    </a:moveTo>
                    <a:lnTo>
                      <a:pt x="565" y="309321"/>
                    </a:lnTo>
                    <a:lnTo>
                      <a:pt x="0" y="86"/>
                    </a:lnTo>
                    <a:lnTo>
                      <a:pt x="46861" y="0"/>
                    </a:lnTo>
                    <a:lnTo>
                      <a:pt x="47425" y="310193"/>
                    </a:lnTo>
                    <a:lnTo>
                      <a:pt x="28625" y="369432"/>
                    </a:lnTo>
                    <a:lnTo>
                      <a:pt x="17327" y="369456"/>
                    </a:lnTo>
                    <a:close/>
                    <a:moveTo>
                      <a:pt x="12894" y="308449"/>
                    </a:moveTo>
                    <a:lnTo>
                      <a:pt x="23320" y="345363"/>
                    </a:lnTo>
                    <a:lnTo>
                      <a:pt x="35096" y="308290"/>
                    </a:lnTo>
                    <a:lnTo>
                      <a:pt x="34556" y="12354"/>
                    </a:lnTo>
                    <a:lnTo>
                      <a:pt x="12366" y="12391"/>
                    </a:lnTo>
                    <a:lnTo>
                      <a:pt x="12894" y="308449"/>
                    </a:lnTo>
                    <a:close/>
                  </a:path>
                </a:pathLst>
              </a:custGeom>
              <a:solidFill>
                <a:schemeClr val="accent1"/>
              </a:solidFill>
              <a:ln w="1228" cap="flat">
                <a:noFill/>
                <a:prstDash val="solid"/>
                <a:miter/>
              </a:ln>
            </p:spPr>
            <p:txBody>
              <a:bodyPr rtlCol="0" anchor="ctr"/>
              <a:lstStyle/>
              <a:p>
                <a:endParaRPr lang="en-GB" dirty="0"/>
              </a:p>
            </p:txBody>
          </p:sp>
          <p:sp>
            <p:nvSpPr>
              <p:cNvPr id="199" name="Freihandform: Form 197">
                <a:extLst>
                  <a:ext uri="{FF2B5EF4-FFF2-40B4-BE49-F238E27FC236}">
                    <a16:creationId xmlns:a16="http://schemas.microsoft.com/office/drawing/2014/main" id="{49AC582B-D03D-4AE0-9E12-F4C8221E1194}"/>
                  </a:ext>
                </a:extLst>
              </p:cNvPr>
              <p:cNvSpPr/>
              <p:nvPr/>
            </p:nvSpPr>
            <p:spPr>
              <a:xfrm rot="21592670">
                <a:off x="2213173" y="2563056"/>
                <a:ext cx="12329" cy="25444"/>
              </a:xfrm>
              <a:custGeom>
                <a:avLst/>
                <a:gdLst>
                  <a:gd name="connsiteX0" fmla="*/ 0 w 12329"/>
                  <a:gd name="connsiteY0" fmla="*/ 0 h 25444"/>
                  <a:gd name="connsiteX1" fmla="*/ 12329 w 12329"/>
                  <a:gd name="connsiteY1" fmla="*/ 0 h 25444"/>
                  <a:gd name="connsiteX2" fmla="*/ 12329 w 12329"/>
                  <a:gd name="connsiteY2" fmla="*/ 25444 h 25444"/>
                  <a:gd name="connsiteX3" fmla="*/ 0 w 12329"/>
                  <a:gd name="connsiteY3" fmla="*/ 25444 h 25444"/>
                </a:gdLst>
                <a:ahLst/>
                <a:cxnLst>
                  <a:cxn ang="0">
                    <a:pos x="connsiteX0" y="connsiteY0"/>
                  </a:cxn>
                  <a:cxn ang="0">
                    <a:pos x="connsiteX1" y="connsiteY1"/>
                  </a:cxn>
                  <a:cxn ang="0">
                    <a:pos x="connsiteX2" y="connsiteY2"/>
                  </a:cxn>
                  <a:cxn ang="0">
                    <a:pos x="connsiteX3" y="connsiteY3"/>
                  </a:cxn>
                </a:cxnLst>
                <a:rect l="l" t="t" r="r" b="b"/>
                <a:pathLst>
                  <a:path w="12329" h="25444">
                    <a:moveTo>
                      <a:pt x="0" y="0"/>
                    </a:moveTo>
                    <a:lnTo>
                      <a:pt x="12329" y="0"/>
                    </a:lnTo>
                    <a:lnTo>
                      <a:pt x="12329" y="25444"/>
                    </a:lnTo>
                    <a:lnTo>
                      <a:pt x="0" y="25444"/>
                    </a:lnTo>
                    <a:close/>
                  </a:path>
                </a:pathLst>
              </a:custGeom>
              <a:solidFill>
                <a:schemeClr val="accent1"/>
              </a:solidFill>
              <a:ln w="1228" cap="flat">
                <a:noFill/>
                <a:prstDash val="solid"/>
                <a:miter/>
              </a:ln>
            </p:spPr>
            <p:txBody>
              <a:bodyPr rtlCol="0" anchor="ctr"/>
              <a:lstStyle/>
              <a:p>
                <a:endParaRPr lang="en-GB" dirty="0"/>
              </a:p>
            </p:txBody>
          </p:sp>
          <p:sp>
            <p:nvSpPr>
              <p:cNvPr id="200" name="Freihandform: Form 198">
                <a:extLst>
                  <a:ext uri="{FF2B5EF4-FFF2-40B4-BE49-F238E27FC236}">
                    <a16:creationId xmlns:a16="http://schemas.microsoft.com/office/drawing/2014/main" id="{F05F163E-0F5D-405B-BE15-75E709534180}"/>
                  </a:ext>
                </a:extLst>
              </p:cNvPr>
              <p:cNvSpPr/>
              <p:nvPr/>
            </p:nvSpPr>
            <p:spPr>
              <a:xfrm rot="21593125">
                <a:off x="2202649" y="2885419"/>
                <a:ext cx="34531" cy="12329"/>
              </a:xfrm>
              <a:custGeom>
                <a:avLst/>
                <a:gdLst>
                  <a:gd name="connsiteX0" fmla="*/ 0 w 34531"/>
                  <a:gd name="connsiteY0" fmla="*/ 0 h 12329"/>
                  <a:gd name="connsiteX1" fmla="*/ 34531 w 34531"/>
                  <a:gd name="connsiteY1" fmla="*/ 0 h 12329"/>
                  <a:gd name="connsiteX2" fmla="*/ 34531 w 34531"/>
                  <a:gd name="connsiteY2" fmla="*/ 12329 h 12329"/>
                  <a:gd name="connsiteX3" fmla="*/ 0 w 34531"/>
                  <a:gd name="connsiteY3" fmla="*/ 12329 h 12329"/>
                </a:gdLst>
                <a:ahLst/>
                <a:cxnLst>
                  <a:cxn ang="0">
                    <a:pos x="connsiteX0" y="connsiteY0"/>
                  </a:cxn>
                  <a:cxn ang="0">
                    <a:pos x="connsiteX1" y="connsiteY1"/>
                  </a:cxn>
                  <a:cxn ang="0">
                    <a:pos x="connsiteX2" y="connsiteY2"/>
                  </a:cxn>
                  <a:cxn ang="0">
                    <a:pos x="connsiteX3" y="connsiteY3"/>
                  </a:cxn>
                </a:cxnLst>
                <a:rect l="l" t="t" r="r" b="b"/>
                <a:pathLst>
                  <a:path w="34531" h="12329">
                    <a:moveTo>
                      <a:pt x="0" y="0"/>
                    </a:moveTo>
                    <a:lnTo>
                      <a:pt x="34531" y="0"/>
                    </a:lnTo>
                    <a:lnTo>
                      <a:pt x="34531" y="12329"/>
                    </a:lnTo>
                    <a:lnTo>
                      <a:pt x="0" y="12329"/>
                    </a:lnTo>
                    <a:close/>
                  </a:path>
                </a:pathLst>
              </a:custGeom>
              <a:solidFill>
                <a:schemeClr val="accent1"/>
              </a:solidFill>
              <a:ln w="1228" cap="flat">
                <a:noFill/>
                <a:prstDash val="solid"/>
                <a:miter/>
              </a:ln>
            </p:spPr>
            <p:txBody>
              <a:bodyPr rtlCol="0" anchor="ctr"/>
              <a:lstStyle/>
              <a:p>
                <a:endParaRPr lang="en-GB" dirty="0"/>
              </a:p>
            </p:txBody>
          </p:sp>
          <p:sp>
            <p:nvSpPr>
              <p:cNvPr id="201" name="Freihandform: Form 199">
                <a:extLst>
                  <a:ext uri="{FF2B5EF4-FFF2-40B4-BE49-F238E27FC236}">
                    <a16:creationId xmlns:a16="http://schemas.microsoft.com/office/drawing/2014/main" id="{6EE6F398-DCCD-4E1C-AB5D-81C51B081BDC}"/>
                  </a:ext>
                </a:extLst>
              </p:cNvPr>
              <p:cNvSpPr/>
              <p:nvPr/>
            </p:nvSpPr>
            <p:spPr>
              <a:xfrm>
                <a:off x="2195916" y="2582309"/>
                <a:ext cx="46958" cy="46946"/>
              </a:xfrm>
              <a:custGeom>
                <a:avLst/>
                <a:gdLst>
                  <a:gd name="connsiteX0" fmla="*/ 98 w 46958"/>
                  <a:gd name="connsiteY0" fmla="*/ 46947 h 46946"/>
                  <a:gd name="connsiteX1" fmla="*/ 0 w 46958"/>
                  <a:gd name="connsiteY1" fmla="*/ 86 h 46946"/>
                  <a:gd name="connsiteX2" fmla="*/ 46861 w 46958"/>
                  <a:gd name="connsiteY2" fmla="*/ 0 h 46946"/>
                  <a:gd name="connsiteX3" fmla="*/ 46959 w 46958"/>
                  <a:gd name="connsiteY3" fmla="*/ 46861 h 46946"/>
                  <a:gd name="connsiteX4" fmla="*/ 98 w 46958"/>
                  <a:gd name="connsiteY4" fmla="*/ 46947 h 46946"/>
                  <a:gd name="connsiteX5" fmla="*/ 12366 w 46958"/>
                  <a:gd name="connsiteY5" fmla="*/ 12378 h 46946"/>
                  <a:gd name="connsiteX6" fmla="*/ 12415 w 46958"/>
                  <a:gd name="connsiteY6" fmla="*/ 34581 h 46946"/>
                  <a:gd name="connsiteX7" fmla="*/ 34605 w 46958"/>
                  <a:gd name="connsiteY7" fmla="*/ 34531 h 46946"/>
                  <a:gd name="connsiteX8" fmla="*/ 34556 w 46958"/>
                  <a:gd name="connsiteY8" fmla="*/ 12341 h 46946"/>
                  <a:gd name="connsiteX9" fmla="*/ 12366 w 46958"/>
                  <a:gd name="connsiteY9" fmla="*/ 12378 h 4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958" h="46946">
                    <a:moveTo>
                      <a:pt x="98" y="46947"/>
                    </a:moveTo>
                    <a:lnTo>
                      <a:pt x="0" y="86"/>
                    </a:lnTo>
                    <a:lnTo>
                      <a:pt x="46861" y="0"/>
                    </a:lnTo>
                    <a:lnTo>
                      <a:pt x="46959" y="46861"/>
                    </a:lnTo>
                    <a:lnTo>
                      <a:pt x="98" y="46947"/>
                    </a:lnTo>
                    <a:close/>
                    <a:moveTo>
                      <a:pt x="12366" y="12378"/>
                    </a:moveTo>
                    <a:lnTo>
                      <a:pt x="12415" y="34581"/>
                    </a:lnTo>
                    <a:lnTo>
                      <a:pt x="34605" y="34531"/>
                    </a:lnTo>
                    <a:lnTo>
                      <a:pt x="34556" y="12341"/>
                    </a:lnTo>
                    <a:lnTo>
                      <a:pt x="12366" y="12378"/>
                    </a:lnTo>
                    <a:close/>
                  </a:path>
                </a:pathLst>
              </a:custGeom>
              <a:solidFill>
                <a:schemeClr val="accent1"/>
              </a:solidFill>
              <a:ln w="1228" cap="flat">
                <a:noFill/>
                <a:prstDash val="solid"/>
                <a:miter/>
              </a:ln>
            </p:spPr>
            <p:txBody>
              <a:bodyPr rtlCol="0" anchor="ctr"/>
              <a:lstStyle/>
              <a:p>
                <a:endParaRPr lang="en-GB" dirty="0"/>
              </a:p>
            </p:txBody>
          </p:sp>
          <p:sp>
            <p:nvSpPr>
              <p:cNvPr id="202" name="Freihandform: Form 200">
                <a:extLst>
                  <a:ext uri="{FF2B5EF4-FFF2-40B4-BE49-F238E27FC236}">
                    <a16:creationId xmlns:a16="http://schemas.microsoft.com/office/drawing/2014/main" id="{63AA4EB3-30F4-4DF7-B3BD-4DA50583F8AB}"/>
                  </a:ext>
                </a:extLst>
              </p:cNvPr>
              <p:cNvSpPr/>
              <p:nvPr/>
            </p:nvSpPr>
            <p:spPr>
              <a:xfrm>
                <a:off x="2196333" y="2816305"/>
                <a:ext cx="46958" cy="46958"/>
              </a:xfrm>
              <a:custGeom>
                <a:avLst/>
                <a:gdLst>
                  <a:gd name="connsiteX0" fmla="*/ 86 w 46958"/>
                  <a:gd name="connsiteY0" fmla="*/ 46959 h 46958"/>
                  <a:gd name="connsiteX1" fmla="*/ 0 w 46958"/>
                  <a:gd name="connsiteY1" fmla="*/ 98 h 46958"/>
                  <a:gd name="connsiteX2" fmla="*/ 46860 w 46958"/>
                  <a:gd name="connsiteY2" fmla="*/ 0 h 46958"/>
                  <a:gd name="connsiteX3" fmla="*/ 46959 w 46958"/>
                  <a:gd name="connsiteY3" fmla="*/ 46861 h 46958"/>
                  <a:gd name="connsiteX4" fmla="*/ 86 w 46958"/>
                  <a:gd name="connsiteY4" fmla="*/ 46959 h 46958"/>
                  <a:gd name="connsiteX5" fmla="*/ 12354 w 46958"/>
                  <a:gd name="connsiteY5" fmla="*/ 12403 h 46958"/>
                  <a:gd name="connsiteX6" fmla="*/ 12390 w 46958"/>
                  <a:gd name="connsiteY6" fmla="*/ 34593 h 46958"/>
                  <a:gd name="connsiteX7" fmla="*/ 34593 w 46958"/>
                  <a:gd name="connsiteY7" fmla="*/ 34556 h 46958"/>
                  <a:gd name="connsiteX8" fmla="*/ 34544 w 46958"/>
                  <a:gd name="connsiteY8" fmla="*/ 12354 h 46958"/>
                  <a:gd name="connsiteX9" fmla="*/ 12354 w 46958"/>
                  <a:gd name="connsiteY9" fmla="*/ 12403 h 46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958" h="46958">
                    <a:moveTo>
                      <a:pt x="86" y="46959"/>
                    </a:moveTo>
                    <a:lnTo>
                      <a:pt x="0" y="98"/>
                    </a:lnTo>
                    <a:lnTo>
                      <a:pt x="46860" y="0"/>
                    </a:lnTo>
                    <a:lnTo>
                      <a:pt x="46959" y="46861"/>
                    </a:lnTo>
                    <a:lnTo>
                      <a:pt x="86" y="46959"/>
                    </a:lnTo>
                    <a:close/>
                    <a:moveTo>
                      <a:pt x="12354" y="12403"/>
                    </a:moveTo>
                    <a:lnTo>
                      <a:pt x="12390" y="34593"/>
                    </a:lnTo>
                    <a:lnTo>
                      <a:pt x="34593" y="34556"/>
                    </a:lnTo>
                    <a:lnTo>
                      <a:pt x="34544" y="12354"/>
                    </a:lnTo>
                    <a:lnTo>
                      <a:pt x="12354" y="12403"/>
                    </a:lnTo>
                    <a:close/>
                  </a:path>
                </a:pathLst>
              </a:custGeom>
              <a:solidFill>
                <a:schemeClr val="accent1"/>
              </a:solidFill>
              <a:ln w="1228" cap="flat">
                <a:noFill/>
                <a:prstDash val="solid"/>
                <a:miter/>
              </a:ln>
            </p:spPr>
            <p:txBody>
              <a:bodyPr rtlCol="0" anchor="ctr"/>
              <a:lstStyle/>
              <a:p>
                <a:endParaRPr lang="en-GB" dirty="0"/>
              </a:p>
            </p:txBody>
          </p:sp>
        </p:grpSp>
      </p:grpSp>
      <p:grpSp>
        <p:nvGrpSpPr>
          <p:cNvPr id="213" name="Gruppieren 425">
            <a:extLst>
              <a:ext uri="{FF2B5EF4-FFF2-40B4-BE49-F238E27FC236}">
                <a16:creationId xmlns:a16="http://schemas.microsoft.com/office/drawing/2014/main" id="{F9AEEEF4-C42C-4E56-9EB3-B7A045B9B3BE}"/>
              </a:ext>
            </a:extLst>
          </p:cNvPr>
          <p:cNvGrpSpPr>
            <a:grpSpLocks noChangeAspect="1"/>
          </p:cNvGrpSpPr>
          <p:nvPr/>
        </p:nvGrpSpPr>
        <p:grpSpPr>
          <a:xfrm>
            <a:off x="413810" y="3273397"/>
            <a:ext cx="569755" cy="432000"/>
            <a:chOff x="400566" y="3433338"/>
            <a:chExt cx="502670" cy="381134"/>
          </a:xfrm>
        </p:grpSpPr>
        <p:grpSp>
          <p:nvGrpSpPr>
            <p:cNvPr id="214" name="Grafik 11">
              <a:extLst>
                <a:ext uri="{FF2B5EF4-FFF2-40B4-BE49-F238E27FC236}">
                  <a16:creationId xmlns:a16="http://schemas.microsoft.com/office/drawing/2014/main" id="{E9C2899E-2BEB-4B1C-AAAB-983B02F66050}"/>
                </a:ext>
              </a:extLst>
            </p:cNvPr>
            <p:cNvGrpSpPr/>
            <p:nvPr/>
          </p:nvGrpSpPr>
          <p:grpSpPr>
            <a:xfrm>
              <a:off x="765221" y="3641506"/>
              <a:ext cx="138015" cy="172966"/>
              <a:chOff x="765221" y="3641506"/>
              <a:chExt cx="138015" cy="172966"/>
            </a:xfrm>
            <a:solidFill>
              <a:schemeClr val="accent1"/>
            </a:solidFill>
          </p:grpSpPr>
          <p:sp>
            <p:nvSpPr>
              <p:cNvPr id="231" name="Freihandform: Form 204">
                <a:extLst>
                  <a:ext uri="{FF2B5EF4-FFF2-40B4-BE49-F238E27FC236}">
                    <a16:creationId xmlns:a16="http://schemas.microsoft.com/office/drawing/2014/main" id="{D038CE8D-5AC8-4022-B26E-59CE3E42184F}"/>
                  </a:ext>
                </a:extLst>
              </p:cNvPr>
              <p:cNvSpPr/>
              <p:nvPr/>
            </p:nvSpPr>
            <p:spPr>
              <a:xfrm>
                <a:off x="765221" y="3641506"/>
                <a:ext cx="138015" cy="172966"/>
              </a:xfrm>
              <a:custGeom>
                <a:avLst/>
                <a:gdLst>
                  <a:gd name="connsiteX0" fmla="*/ 69014 w 138015"/>
                  <a:gd name="connsiteY0" fmla="*/ 172967 h 172966"/>
                  <a:gd name="connsiteX1" fmla="*/ 65882 w 138015"/>
                  <a:gd name="connsiteY1" fmla="*/ 171125 h 172966"/>
                  <a:gd name="connsiteX2" fmla="*/ 10585 w 138015"/>
                  <a:gd name="connsiteY2" fmla="*/ 127764 h 172966"/>
                  <a:gd name="connsiteX3" fmla="*/ 0 w 138015"/>
                  <a:gd name="connsiteY3" fmla="*/ 98157 h 172966"/>
                  <a:gd name="connsiteX4" fmla="*/ 0 w 138015"/>
                  <a:gd name="connsiteY4" fmla="*/ 14248 h 172966"/>
                  <a:gd name="connsiteX5" fmla="*/ 34765 w 138015"/>
                  <a:gd name="connsiteY5" fmla="*/ 4645 h 172966"/>
                  <a:gd name="connsiteX6" fmla="*/ 103250 w 138015"/>
                  <a:gd name="connsiteY6" fmla="*/ 4657 h 172966"/>
                  <a:gd name="connsiteX7" fmla="*/ 138015 w 138015"/>
                  <a:gd name="connsiteY7" fmla="*/ 14248 h 172966"/>
                  <a:gd name="connsiteX8" fmla="*/ 138015 w 138015"/>
                  <a:gd name="connsiteY8" fmla="*/ 98157 h 172966"/>
                  <a:gd name="connsiteX9" fmla="*/ 127430 w 138015"/>
                  <a:gd name="connsiteY9" fmla="*/ 127764 h 172966"/>
                  <a:gd name="connsiteX10" fmla="*/ 72133 w 138015"/>
                  <a:gd name="connsiteY10" fmla="*/ 171125 h 172966"/>
                  <a:gd name="connsiteX11" fmla="*/ 69014 w 138015"/>
                  <a:gd name="connsiteY11" fmla="*/ 172967 h 172966"/>
                  <a:gd name="connsiteX12" fmla="*/ 12341 w 138015"/>
                  <a:gd name="connsiteY12" fmla="*/ 23618 h 172966"/>
                  <a:gd name="connsiteX13" fmla="*/ 12341 w 138015"/>
                  <a:gd name="connsiteY13" fmla="*/ 98133 h 172966"/>
                  <a:gd name="connsiteX14" fmla="*/ 20016 w 138015"/>
                  <a:gd name="connsiteY14" fmla="*/ 119794 h 172966"/>
                  <a:gd name="connsiteX15" fmla="*/ 69014 w 138015"/>
                  <a:gd name="connsiteY15" fmla="*/ 158624 h 172966"/>
                  <a:gd name="connsiteX16" fmla="*/ 118011 w 138015"/>
                  <a:gd name="connsiteY16" fmla="*/ 119794 h 172966"/>
                  <a:gd name="connsiteX17" fmla="*/ 125698 w 138015"/>
                  <a:gd name="connsiteY17" fmla="*/ 98133 h 172966"/>
                  <a:gd name="connsiteX18" fmla="*/ 125698 w 138015"/>
                  <a:gd name="connsiteY18" fmla="*/ 23618 h 172966"/>
                  <a:gd name="connsiteX19" fmla="*/ 99984 w 138015"/>
                  <a:gd name="connsiteY19" fmla="*/ 16520 h 172966"/>
                  <a:gd name="connsiteX20" fmla="*/ 38056 w 138015"/>
                  <a:gd name="connsiteY20" fmla="*/ 16507 h 172966"/>
                  <a:gd name="connsiteX21" fmla="*/ 12341 w 138015"/>
                  <a:gd name="connsiteY21" fmla="*/ 23618 h 172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015" h="172966">
                    <a:moveTo>
                      <a:pt x="69014" y="172967"/>
                    </a:moveTo>
                    <a:lnTo>
                      <a:pt x="65882" y="171125"/>
                    </a:lnTo>
                    <a:cubicBezTo>
                      <a:pt x="40856" y="156389"/>
                      <a:pt x="22767" y="142193"/>
                      <a:pt x="10585" y="127764"/>
                    </a:cubicBezTo>
                    <a:cubicBezTo>
                      <a:pt x="3758" y="119684"/>
                      <a:pt x="0" y="109160"/>
                      <a:pt x="0" y="98157"/>
                    </a:cubicBezTo>
                    <a:lnTo>
                      <a:pt x="0" y="14248"/>
                    </a:lnTo>
                    <a:lnTo>
                      <a:pt x="34765" y="4645"/>
                    </a:lnTo>
                    <a:cubicBezTo>
                      <a:pt x="57163" y="-1544"/>
                      <a:pt x="80852" y="-1556"/>
                      <a:pt x="103250" y="4657"/>
                    </a:cubicBezTo>
                    <a:lnTo>
                      <a:pt x="138015" y="14248"/>
                    </a:lnTo>
                    <a:lnTo>
                      <a:pt x="138015" y="98157"/>
                    </a:lnTo>
                    <a:cubicBezTo>
                      <a:pt x="138015" y="109160"/>
                      <a:pt x="134257" y="119672"/>
                      <a:pt x="127430" y="127764"/>
                    </a:cubicBezTo>
                    <a:cubicBezTo>
                      <a:pt x="115248" y="142206"/>
                      <a:pt x="97159" y="156377"/>
                      <a:pt x="72133" y="171125"/>
                    </a:cubicBezTo>
                    <a:lnTo>
                      <a:pt x="69014" y="172967"/>
                    </a:lnTo>
                    <a:close/>
                    <a:moveTo>
                      <a:pt x="12341" y="23618"/>
                    </a:moveTo>
                    <a:lnTo>
                      <a:pt x="12341" y="98133"/>
                    </a:lnTo>
                    <a:cubicBezTo>
                      <a:pt x="12341" y="106237"/>
                      <a:pt x="15068" y="113937"/>
                      <a:pt x="20016" y="119794"/>
                    </a:cubicBezTo>
                    <a:cubicBezTo>
                      <a:pt x="30786" y="132541"/>
                      <a:pt x="46836" y="145276"/>
                      <a:pt x="69014" y="158624"/>
                    </a:cubicBezTo>
                    <a:cubicBezTo>
                      <a:pt x="91191" y="145276"/>
                      <a:pt x="107241" y="132553"/>
                      <a:pt x="118011" y="119794"/>
                    </a:cubicBezTo>
                    <a:cubicBezTo>
                      <a:pt x="122960" y="113912"/>
                      <a:pt x="125698" y="106237"/>
                      <a:pt x="125698" y="98133"/>
                    </a:cubicBezTo>
                    <a:lnTo>
                      <a:pt x="125698" y="23618"/>
                    </a:lnTo>
                    <a:lnTo>
                      <a:pt x="99984" y="16520"/>
                    </a:lnTo>
                    <a:cubicBezTo>
                      <a:pt x="79722" y="10908"/>
                      <a:pt x="58318" y="10920"/>
                      <a:pt x="38056" y="16507"/>
                    </a:cubicBezTo>
                    <a:lnTo>
                      <a:pt x="12341" y="23618"/>
                    </a:lnTo>
                    <a:close/>
                  </a:path>
                </a:pathLst>
              </a:custGeom>
              <a:solidFill>
                <a:schemeClr val="accent1"/>
              </a:solidFill>
              <a:ln w="1228" cap="flat">
                <a:noFill/>
                <a:prstDash val="solid"/>
                <a:miter/>
              </a:ln>
            </p:spPr>
            <p:txBody>
              <a:bodyPr rtlCol="0" anchor="ctr"/>
              <a:lstStyle/>
              <a:p>
                <a:endParaRPr lang="en-GB" dirty="0"/>
              </a:p>
            </p:txBody>
          </p:sp>
          <p:sp>
            <p:nvSpPr>
              <p:cNvPr id="232" name="Freihandform: Form 205">
                <a:extLst>
                  <a:ext uri="{FF2B5EF4-FFF2-40B4-BE49-F238E27FC236}">
                    <a16:creationId xmlns:a16="http://schemas.microsoft.com/office/drawing/2014/main" id="{36808512-6BEA-4E3C-9CEE-20D2EB01C9AE}"/>
                  </a:ext>
                </a:extLst>
              </p:cNvPr>
              <p:cNvSpPr/>
              <p:nvPr/>
            </p:nvSpPr>
            <p:spPr>
              <a:xfrm>
                <a:off x="807476" y="3700932"/>
                <a:ext cx="53516" cy="41543"/>
              </a:xfrm>
              <a:custGeom>
                <a:avLst/>
                <a:gdLst>
                  <a:gd name="connsiteX0" fmla="*/ 20692 w 53516"/>
                  <a:gd name="connsiteY0" fmla="*/ 41543 h 41543"/>
                  <a:gd name="connsiteX1" fmla="*/ 0 w 53516"/>
                  <a:gd name="connsiteY1" fmla="*/ 20851 h 41543"/>
                  <a:gd name="connsiteX2" fmla="*/ 8719 w 53516"/>
                  <a:gd name="connsiteY2" fmla="*/ 12133 h 41543"/>
                  <a:gd name="connsiteX3" fmla="*/ 20692 w 53516"/>
                  <a:gd name="connsiteY3" fmla="*/ 24106 h 41543"/>
                  <a:gd name="connsiteX4" fmla="*/ 44798 w 53516"/>
                  <a:gd name="connsiteY4" fmla="*/ 0 h 41543"/>
                  <a:gd name="connsiteX5" fmla="*/ 53516 w 53516"/>
                  <a:gd name="connsiteY5" fmla="*/ 8719 h 4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16" h="41543">
                    <a:moveTo>
                      <a:pt x="20692" y="41543"/>
                    </a:moveTo>
                    <a:lnTo>
                      <a:pt x="0" y="20851"/>
                    </a:lnTo>
                    <a:lnTo>
                      <a:pt x="8719" y="12133"/>
                    </a:lnTo>
                    <a:lnTo>
                      <a:pt x="20692" y="24106"/>
                    </a:lnTo>
                    <a:lnTo>
                      <a:pt x="44798" y="0"/>
                    </a:lnTo>
                    <a:lnTo>
                      <a:pt x="53516" y="8719"/>
                    </a:lnTo>
                    <a:close/>
                  </a:path>
                </a:pathLst>
              </a:custGeom>
              <a:solidFill>
                <a:schemeClr val="accent1"/>
              </a:solidFill>
              <a:ln w="1228" cap="flat">
                <a:noFill/>
                <a:prstDash val="solid"/>
                <a:miter/>
              </a:ln>
            </p:spPr>
            <p:txBody>
              <a:bodyPr rtlCol="0" anchor="ctr"/>
              <a:lstStyle/>
              <a:p>
                <a:endParaRPr lang="en-GB" dirty="0"/>
              </a:p>
            </p:txBody>
          </p:sp>
        </p:grpSp>
        <p:grpSp>
          <p:nvGrpSpPr>
            <p:cNvPr id="215" name="Gruppieren 424">
              <a:extLst>
                <a:ext uri="{FF2B5EF4-FFF2-40B4-BE49-F238E27FC236}">
                  <a16:creationId xmlns:a16="http://schemas.microsoft.com/office/drawing/2014/main" id="{B5731EC4-C091-493D-9D49-1E58BCF56414}"/>
                </a:ext>
              </a:extLst>
            </p:cNvPr>
            <p:cNvGrpSpPr/>
            <p:nvPr/>
          </p:nvGrpSpPr>
          <p:grpSpPr>
            <a:xfrm>
              <a:off x="400566" y="3433338"/>
              <a:ext cx="456386" cy="321319"/>
              <a:chOff x="400566" y="3433338"/>
              <a:chExt cx="456386" cy="321319"/>
            </a:xfrm>
          </p:grpSpPr>
          <p:grpSp>
            <p:nvGrpSpPr>
              <p:cNvPr id="216" name="Grafik 11">
                <a:extLst>
                  <a:ext uri="{FF2B5EF4-FFF2-40B4-BE49-F238E27FC236}">
                    <a16:creationId xmlns:a16="http://schemas.microsoft.com/office/drawing/2014/main" id="{1AF988AE-DFF7-453F-8458-5151F4CEFC0F}"/>
                  </a:ext>
                </a:extLst>
              </p:cNvPr>
              <p:cNvGrpSpPr/>
              <p:nvPr/>
            </p:nvGrpSpPr>
            <p:grpSpPr>
              <a:xfrm>
                <a:off x="400566" y="3502389"/>
                <a:ext cx="456386" cy="252268"/>
                <a:chOff x="400566" y="3502389"/>
                <a:chExt cx="456386" cy="252268"/>
              </a:xfrm>
              <a:solidFill>
                <a:srgbClr val="4D4E53"/>
              </a:solidFill>
            </p:grpSpPr>
            <p:sp>
              <p:nvSpPr>
                <p:cNvPr id="220" name="Freihandform: Form 207">
                  <a:extLst>
                    <a:ext uri="{FF2B5EF4-FFF2-40B4-BE49-F238E27FC236}">
                      <a16:creationId xmlns:a16="http://schemas.microsoft.com/office/drawing/2014/main" id="{8DC4F152-4A5C-49C7-B854-6534B7760531}"/>
                    </a:ext>
                  </a:extLst>
                </p:cNvPr>
                <p:cNvSpPr/>
                <p:nvPr/>
              </p:nvSpPr>
              <p:spPr>
                <a:xfrm>
                  <a:off x="400566" y="3502389"/>
                  <a:ext cx="456386" cy="252268"/>
                </a:xfrm>
                <a:custGeom>
                  <a:avLst/>
                  <a:gdLst>
                    <a:gd name="connsiteX0" fmla="*/ 344540 w 456386"/>
                    <a:gd name="connsiteY0" fmla="*/ 252268 h 252268"/>
                    <a:gd name="connsiteX1" fmla="*/ 0 w 456386"/>
                    <a:gd name="connsiteY1" fmla="*/ 252268 h 252268"/>
                    <a:gd name="connsiteX2" fmla="*/ 0 w 456386"/>
                    <a:gd name="connsiteY2" fmla="*/ 0 h 252268"/>
                    <a:gd name="connsiteX3" fmla="*/ 456387 w 456386"/>
                    <a:gd name="connsiteY3" fmla="*/ 0 h 252268"/>
                    <a:gd name="connsiteX4" fmla="*/ 456387 w 456386"/>
                    <a:gd name="connsiteY4" fmla="*/ 119828 h 252268"/>
                    <a:gd name="connsiteX5" fmla="*/ 444058 w 456386"/>
                    <a:gd name="connsiteY5" fmla="*/ 119828 h 252268"/>
                    <a:gd name="connsiteX6" fmla="*/ 444058 w 456386"/>
                    <a:gd name="connsiteY6" fmla="*/ 12329 h 252268"/>
                    <a:gd name="connsiteX7" fmla="*/ 12329 w 456386"/>
                    <a:gd name="connsiteY7" fmla="*/ 12329 h 252268"/>
                    <a:gd name="connsiteX8" fmla="*/ 12329 w 456386"/>
                    <a:gd name="connsiteY8" fmla="*/ 239927 h 252268"/>
                    <a:gd name="connsiteX9" fmla="*/ 344540 w 456386"/>
                    <a:gd name="connsiteY9" fmla="*/ 239927 h 252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6386" h="252268">
                      <a:moveTo>
                        <a:pt x="344540" y="252268"/>
                      </a:moveTo>
                      <a:lnTo>
                        <a:pt x="0" y="252268"/>
                      </a:lnTo>
                      <a:lnTo>
                        <a:pt x="0" y="0"/>
                      </a:lnTo>
                      <a:lnTo>
                        <a:pt x="456387" y="0"/>
                      </a:lnTo>
                      <a:lnTo>
                        <a:pt x="456387" y="119828"/>
                      </a:lnTo>
                      <a:lnTo>
                        <a:pt x="444058" y="119828"/>
                      </a:lnTo>
                      <a:lnTo>
                        <a:pt x="444058" y="12329"/>
                      </a:lnTo>
                      <a:lnTo>
                        <a:pt x="12329" y="12329"/>
                      </a:lnTo>
                      <a:lnTo>
                        <a:pt x="12329" y="239927"/>
                      </a:lnTo>
                      <a:lnTo>
                        <a:pt x="344540" y="239927"/>
                      </a:lnTo>
                      <a:close/>
                    </a:path>
                  </a:pathLst>
                </a:custGeom>
                <a:solidFill>
                  <a:schemeClr val="tx2"/>
                </a:solidFill>
                <a:ln w="1228" cap="flat">
                  <a:noFill/>
                  <a:prstDash val="solid"/>
                  <a:miter/>
                </a:ln>
              </p:spPr>
              <p:txBody>
                <a:bodyPr rtlCol="0" anchor="ctr"/>
                <a:lstStyle/>
                <a:p>
                  <a:endParaRPr lang="en-GB" dirty="0"/>
                </a:p>
              </p:txBody>
            </p:sp>
            <p:sp>
              <p:nvSpPr>
                <p:cNvPr id="221" name="Freihandform: Form 208">
                  <a:extLst>
                    <a:ext uri="{FF2B5EF4-FFF2-40B4-BE49-F238E27FC236}">
                      <a16:creationId xmlns:a16="http://schemas.microsoft.com/office/drawing/2014/main" id="{AAEBD5AA-4CB4-4432-97CA-F172C2C24B06}"/>
                    </a:ext>
                  </a:extLst>
                </p:cNvPr>
                <p:cNvSpPr/>
                <p:nvPr/>
              </p:nvSpPr>
              <p:spPr>
                <a:xfrm>
                  <a:off x="558769" y="3558521"/>
                  <a:ext cx="139967" cy="139992"/>
                </a:xfrm>
                <a:custGeom>
                  <a:avLst/>
                  <a:gdLst>
                    <a:gd name="connsiteX0" fmla="*/ 69984 w 139967"/>
                    <a:gd name="connsiteY0" fmla="*/ 139992 h 139992"/>
                    <a:gd name="connsiteX1" fmla="*/ 0 w 139967"/>
                    <a:gd name="connsiteY1" fmla="*/ 69996 h 139992"/>
                    <a:gd name="connsiteX2" fmla="*/ 69984 w 139967"/>
                    <a:gd name="connsiteY2" fmla="*/ 0 h 139992"/>
                    <a:gd name="connsiteX3" fmla="*/ 139968 w 139967"/>
                    <a:gd name="connsiteY3" fmla="*/ 69996 h 139992"/>
                    <a:gd name="connsiteX4" fmla="*/ 69984 w 139967"/>
                    <a:gd name="connsiteY4" fmla="*/ 139992 h 139992"/>
                    <a:gd name="connsiteX5" fmla="*/ 69984 w 139967"/>
                    <a:gd name="connsiteY5" fmla="*/ 12341 h 139992"/>
                    <a:gd name="connsiteX6" fmla="*/ 12329 w 139967"/>
                    <a:gd name="connsiteY6" fmla="*/ 69996 h 139992"/>
                    <a:gd name="connsiteX7" fmla="*/ 69984 w 139967"/>
                    <a:gd name="connsiteY7" fmla="*/ 127651 h 139992"/>
                    <a:gd name="connsiteX8" fmla="*/ 127638 w 139967"/>
                    <a:gd name="connsiteY8" fmla="*/ 69996 h 139992"/>
                    <a:gd name="connsiteX9" fmla="*/ 69984 w 139967"/>
                    <a:gd name="connsiteY9" fmla="*/ 12341 h 139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967" h="139992">
                      <a:moveTo>
                        <a:pt x="69984" y="139992"/>
                      </a:moveTo>
                      <a:cubicBezTo>
                        <a:pt x="31400" y="139992"/>
                        <a:pt x="0" y="108592"/>
                        <a:pt x="0" y="69996"/>
                      </a:cubicBezTo>
                      <a:cubicBezTo>
                        <a:pt x="0" y="31400"/>
                        <a:pt x="31400" y="0"/>
                        <a:pt x="69984" y="0"/>
                      </a:cubicBezTo>
                      <a:cubicBezTo>
                        <a:pt x="108580" y="0"/>
                        <a:pt x="139968" y="31400"/>
                        <a:pt x="139968" y="69996"/>
                      </a:cubicBezTo>
                      <a:cubicBezTo>
                        <a:pt x="139968" y="108592"/>
                        <a:pt x="108580" y="139992"/>
                        <a:pt x="69984" y="139992"/>
                      </a:cubicBezTo>
                      <a:close/>
                      <a:moveTo>
                        <a:pt x="69984" y="12341"/>
                      </a:moveTo>
                      <a:cubicBezTo>
                        <a:pt x="38191" y="12341"/>
                        <a:pt x="12329" y="38215"/>
                        <a:pt x="12329" y="69996"/>
                      </a:cubicBezTo>
                      <a:cubicBezTo>
                        <a:pt x="12329" y="101777"/>
                        <a:pt x="38191" y="127651"/>
                        <a:pt x="69984" y="127651"/>
                      </a:cubicBezTo>
                      <a:cubicBezTo>
                        <a:pt x="101777" y="127651"/>
                        <a:pt x="127638" y="101777"/>
                        <a:pt x="127638" y="69996"/>
                      </a:cubicBezTo>
                      <a:cubicBezTo>
                        <a:pt x="127638" y="38215"/>
                        <a:pt x="101777" y="12341"/>
                        <a:pt x="69984" y="12341"/>
                      </a:cubicBezTo>
                      <a:close/>
                    </a:path>
                  </a:pathLst>
                </a:custGeom>
                <a:solidFill>
                  <a:schemeClr val="tx2"/>
                </a:solidFill>
                <a:ln w="1228" cap="flat">
                  <a:noFill/>
                  <a:prstDash val="solid"/>
                  <a:miter/>
                </a:ln>
              </p:spPr>
              <p:txBody>
                <a:bodyPr rtlCol="0" anchor="ctr"/>
                <a:lstStyle/>
                <a:p>
                  <a:endParaRPr lang="en-GB" dirty="0"/>
                </a:p>
              </p:txBody>
            </p:sp>
            <p:sp>
              <p:nvSpPr>
                <p:cNvPr id="222" name="Freihandform: Form 209">
                  <a:extLst>
                    <a:ext uri="{FF2B5EF4-FFF2-40B4-BE49-F238E27FC236}">
                      <a16:creationId xmlns:a16="http://schemas.microsoft.com/office/drawing/2014/main" id="{09B8251A-DED3-4DD4-BD2C-CFC6C052F6EB}"/>
                    </a:ext>
                  </a:extLst>
                </p:cNvPr>
                <p:cNvSpPr/>
                <p:nvPr/>
              </p:nvSpPr>
              <p:spPr>
                <a:xfrm>
                  <a:off x="435097" y="3533740"/>
                  <a:ext cx="387336" cy="189038"/>
                </a:xfrm>
                <a:custGeom>
                  <a:avLst/>
                  <a:gdLst>
                    <a:gd name="connsiteX0" fmla="*/ 310537 w 387336"/>
                    <a:gd name="connsiteY0" fmla="*/ 189038 h 189038"/>
                    <a:gd name="connsiteX1" fmla="*/ 38952 w 387336"/>
                    <a:gd name="connsiteY1" fmla="*/ 189038 h 189038"/>
                    <a:gd name="connsiteX2" fmla="*/ 0 w 387336"/>
                    <a:gd name="connsiteY2" fmla="*/ 150086 h 189038"/>
                    <a:gd name="connsiteX3" fmla="*/ 0 w 387336"/>
                    <a:gd name="connsiteY3" fmla="*/ 38940 h 189038"/>
                    <a:gd name="connsiteX4" fmla="*/ 38952 w 387336"/>
                    <a:gd name="connsiteY4" fmla="*/ 0 h 189038"/>
                    <a:gd name="connsiteX5" fmla="*/ 348384 w 387336"/>
                    <a:gd name="connsiteY5" fmla="*/ 0 h 189038"/>
                    <a:gd name="connsiteX6" fmla="*/ 387336 w 387336"/>
                    <a:gd name="connsiteY6" fmla="*/ 38940 h 189038"/>
                    <a:gd name="connsiteX7" fmla="*/ 387336 w 387336"/>
                    <a:gd name="connsiteY7" fmla="*/ 87765 h 189038"/>
                    <a:gd name="connsiteX8" fmla="*/ 375007 w 387336"/>
                    <a:gd name="connsiteY8" fmla="*/ 87765 h 189038"/>
                    <a:gd name="connsiteX9" fmla="*/ 375007 w 387336"/>
                    <a:gd name="connsiteY9" fmla="*/ 38940 h 189038"/>
                    <a:gd name="connsiteX10" fmla="*/ 348384 w 387336"/>
                    <a:gd name="connsiteY10" fmla="*/ 12329 h 189038"/>
                    <a:gd name="connsiteX11" fmla="*/ 38952 w 387336"/>
                    <a:gd name="connsiteY11" fmla="*/ 12329 h 189038"/>
                    <a:gd name="connsiteX12" fmla="*/ 12329 w 387336"/>
                    <a:gd name="connsiteY12" fmla="*/ 38940 h 189038"/>
                    <a:gd name="connsiteX13" fmla="*/ 12329 w 387336"/>
                    <a:gd name="connsiteY13" fmla="*/ 150086 h 189038"/>
                    <a:gd name="connsiteX14" fmla="*/ 38952 w 387336"/>
                    <a:gd name="connsiteY14" fmla="*/ 176709 h 189038"/>
                    <a:gd name="connsiteX15" fmla="*/ 310537 w 387336"/>
                    <a:gd name="connsiteY15" fmla="*/ 176709 h 189038"/>
                    <a:gd name="connsiteX16" fmla="*/ 310537 w 387336"/>
                    <a:gd name="connsiteY16" fmla="*/ 189038 h 189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7336" h="189038">
                      <a:moveTo>
                        <a:pt x="310537" y="189038"/>
                      </a:moveTo>
                      <a:lnTo>
                        <a:pt x="38952" y="189038"/>
                      </a:lnTo>
                      <a:cubicBezTo>
                        <a:pt x="17474" y="189038"/>
                        <a:pt x="0" y="171564"/>
                        <a:pt x="0" y="150086"/>
                      </a:cubicBezTo>
                      <a:lnTo>
                        <a:pt x="0" y="38940"/>
                      </a:lnTo>
                      <a:cubicBezTo>
                        <a:pt x="0" y="17462"/>
                        <a:pt x="17474" y="0"/>
                        <a:pt x="38952" y="0"/>
                      </a:cubicBezTo>
                      <a:lnTo>
                        <a:pt x="348384" y="0"/>
                      </a:lnTo>
                      <a:cubicBezTo>
                        <a:pt x="369862" y="0"/>
                        <a:pt x="387336" y="17474"/>
                        <a:pt x="387336" y="38940"/>
                      </a:cubicBezTo>
                      <a:lnTo>
                        <a:pt x="387336" y="87765"/>
                      </a:lnTo>
                      <a:lnTo>
                        <a:pt x="375007" y="87765"/>
                      </a:lnTo>
                      <a:lnTo>
                        <a:pt x="375007" y="38940"/>
                      </a:lnTo>
                      <a:cubicBezTo>
                        <a:pt x="375007" y="24253"/>
                        <a:pt x="363071" y="12329"/>
                        <a:pt x="348384" y="12329"/>
                      </a:cubicBezTo>
                      <a:lnTo>
                        <a:pt x="38952" y="12329"/>
                      </a:lnTo>
                      <a:cubicBezTo>
                        <a:pt x="24278" y="12329"/>
                        <a:pt x="12329" y="24265"/>
                        <a:pt x="12329" y="38940"/>
                      </a:cubicBezTo>
                      <a:lnTo>
                        <a:pt x="12329" y="150086"/>
                      </a:lnTo>
                      <a:cubicBezTo>
                        <a:pt x="12329" y="164761"/>
                        <a:pt x="24265" y="176709"/>
                        <a:pt x="38952" y="176709"/>
                      </a:cubicBezTo>
                      <a:lnTo>
                        <a:pt x="310537" y="176709"/>
                      </a:lnTo>
                      <a:lnTo>
                        <a:pt x="310537" y="189038"/>
                      </a:lnTo>
                      <a:close/>
                    </a:path>
                  </a:pathLst>
                </a:custGeom>
                <a:solidFill>
                  <a:schemeClr val="tx2"/>
                </a:solidFill>
                <a:ln w="1228" cap="flat">
                  <a:noFill/>
                  <a:prstDash val="solid"/>
                  <a:miter/>
                </a:ln>
              </p:spPr>
              <p:txBody>
                <a:bodyPr rtlCol="0" anchor="ctr"/>
                <a:lstStyle/>
                <a:p>
                  <a:endParaRPr lang="en-GB" dirty="0"/>
                </a:p>
              </p:txBody>
            </p:sp>
            <p:grpSp>
              <p:nvGrpSpPr>
                <p:cNvPr id="223" name="Grafik 11">
                  <a:extLst>
                    <a:ext uri="{FF2B5EF4-FFF2-40B4-BE49-F238E27FC236}">
                      <a16:creationId xmlns:a16="http://schemas.microsoft.com/office/drawing/2014/main" id="{0E9C2CB6-CE6D-4192-93B0-D8CC198EC624}"/>
                    </a:ext>
                  </a:extLst>
                </p:cNvPr>
                <p:cNvGrpSpPr/>
                <p:nvPr/>
              </p:nvGrpSpPr>
              <p:grpSpPr>
                <a:xfrm>
                  <a:off x="497001" y="3621849"/>
                  <a:ext cx="263504" cy="12329"/>
                  <a:chOff x="497001" y="3621849"/>
                  <a:chExt cx="263504" cy="12329"/>
                </a:xfrm>
                <a:solidFill>
                  <a:srgbClr val="4D4E53"/>
                </a:solidFill>
              </p:grpSpPr>
              <p:sp>
                <p:nvSpPr>
                  <p:cNvPr id="229" name="Freihandform: Form 211">
                    <a:extLst>
                      <a:ext uri="{FF2B5EF4-FFF2-40B4-BE49-F238E27FC236}">
                        <a16:creationId xmlns:a16="http://schemas.microsoft.com/office/drawing/2014/main" id="{644D371F-870C-4A22-8286-91F21AEEAD1D}"/>
                      </a:ext>
                    </a:extLst>
                  </p:cNvPr>
                  <p:cNvSpPr/>
                  <p:nvPr/>
                </p:nvSpPr>
                <p:spPr>
                  <a:xfrm>
                    <a:off x="743240" y="3621849"/>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30" name="Freihandform: Form 212">
                    <a:extLst>
                      <a:ext uri="{FF2B5EF4-FFF2-40B4-BE49-F238E27FC236}">
                        <a16:creationId xmlns:a16="http://schemas.microsoft.com/office/drawing/2014/main" id="{9F2C0D24-1F7E-4602-8CFF-FCD314F59DA7}"/>
                      </a:ext>
                    </a:extLst>
                  </p:cNvPr>
                  <p:cNvSpPr/>
                  <p:nvPr/>
                </p:nvSpPr>
                <p:spPr>
                  <a:xfrm>
                    <a:off x="497001" y="3621849"/>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grpSp>
            <p:grpSp>
              <p:nvGrpSpPr>
                <p:cNvPr id="224" name="Grafik 11">
                  <a:extLst>
                    <a:ext uri="{FF2B5EF4-FFF2-40B4-BE49-F238E27FC236}">
                      <a16:creationId xmlns:a16="http://schemas.microsoft.com/office/drawing/2014/main" id="{5E974FF2-0F80-4F9A-816D-435567576AED}"/>
                    </a:ext>
                  </a:extLst>
                </p:cNvPr>
                <p:cNvGrpSpPr/>
                <p:nvPr/>
              </p:nvGrpSpPr>
              <p:grpSpPr>
                <a:xfrm>
                  <a:off x="607545" y="3583891"/>
                  <a:ext cx="42415" cy="89251"/>
                  <a:chOff x="607545" y="3583891"/>
                  <a:chExt cx="42415" cy="89251"/>
                </a:xfrm>
                <a:solidFill>
                  <a:srgbClr val="4D4E53"/>
                </a:solidFill>
              </p:grpSpPr>
              <p:sp>
                <p:nvSpPr>
                  <p:cNvPr id="225" name="Freihandform: Form 214">
                    <a:extLst>
                      <a:ext uri="{FF2B5EF4-FFF2-40B4-BE49-F238E27FC236}">
                        <a16:creationId xmlns:a16="http://schemas.microsoft.com/office/drawing/2014/main" id="{5BCA70E8-4598-4B27-91E0-19635A5CFB11}"/>
                      </a:ext>
                    </a:extLst>
                  </p:cNvPr>
                  <p:cNvSpPr/>
                  <p:nvPr/>
                </p:nvSpPr>
                <p:spPr>
                  <a:xfrm>
                    <a:off x="622588" y="3583891"/>
                    <a:ext cx="12329" cy="17253"/>
                  </a:xfrm>
                  <a:custGeom>
                    <a:avLst/>
                    <a:gdLst>
                      <a:gd name="connsiteX0" fmla="*/ 0 w 12329"/>
                      <a:gd name="connsiteY0" fmla="*/ 0 h 17253"/>
                      <a:gd name="connsiteX1" fmla="*/ 12329 w 12329"/>
                      <a:gd name="connsiteY1" fmla="*/ 0 h 17253"/>
                      <a:gd name="connsiteX2" fmla="*/ 12329 w 12329"/>
                      <a:gd name="connsiteY2" fmla="*/ 17253 h 17253"/>
                      <a:gd name="connsiteX3" fmla="*/ 0 w 12329"/>
                      <a:gd name="connsiteY3" fmla="*/ 17253 h 17253"/>
                    </a:gdLst>
                    <a:ahLst/>
                    <a:cxnLst>
                      <a:cxn ang="0">
                        <a:pos x="connsiteX0" y="connsiteY0"/>
                      </a:cxn>
                      <a:cxn ang="0">
                        <a:pos x="connsiteX1" y="connsiteY1"/>
                      </a:cxn>
                      <a:cxn ang="0">
                        <a:pos x="connsiteX2" y="connsiteY2"/>
                      </a:cxn>
                      <a:cxn ang="0">
                        <a:pos x="connsiteX3" y="connsiteY3"/>
                      </a:cxn>
                    </a:cxnLst>
                    <a:rect l="l" t="t" r="r" b="b"/>
                    <a:pathLst>
                      <a:path w="12329" h="17253">
                        <a:moveTo>
                          <a:pt x="0" y="0"/>
                        </a:moveTo>
                        <a:lnTo>
                          <a:pt x="12329" y="0"/>
                        </a:lnTo>
                        <a:lnTo>
                          <a:pt x="12329" y="17253"/>
                        </a:lnTo>
                        <a:lnTo>
                          <a:pt x="0" y="17253"/>
                        </a:lnTo>
                        <a:close/>
                      </a:path>
                    </a:pathLst>
                  </a:custGeom>
                  <a:solidFill>
                    <a:schemeClr val="tx2"/>
                  </a:solidFill>
                  <a:ln w="1228" cap="flat">
                    <a:noFill/>
                    <a:prstDash val="solid"/>
                    <a:miter/>
                  </a:ln>
                </p:spPr>
                <p:txBody>
                  <a:bodyPr rtlCol="0" anchor="ctr"/>
                  <a:lstStyle/>
                  <a:p>
                    <a:endParaRPr lang="en-GB" dirty="0"/>
                  </a:p>
                </p:txBody>
              </p:sp>
              <p:sp>
                <p:nvSpPr>
                  <p:cNvPr id="226" name="Freihandform: Form 215">
                    <a:extLst>
                      <a:ext uri="{FF2B5EF4-FFF2-40B4-BE49-F238E27FC236}">
                        <a16:creationId xmlns:a16="http://schemas.microsoft.com/office/drawing/2014/main" id="{744F2A55-FB89-4D3A-B48F-45355AB6801C}"/>
                      </a:ext>
                    </a:extLst>
                  </p:cNvPr>
                  <p:cNvSpPr/>
                  <p:nvPr/>
                </p:nvSpPr>
                <p:spPr>
                  <a:xfrm>
                    <a:off x="622588" y="3655877"/>
                    <a:ext cx="12329" cy="17265"/>
                  </a:xfrm>
                  <a:custGeom>
                    <a:avLst/>
                    <a:gdLst>
                      <a:gd name="connsiteX0" fmla="*/ 0 w 12329"/>
                      <a:gd name="connsiteY0" fmla="*/ 0 h 17265"/>
                      <a:gd name="connsiteX1" fmla="*/ 12329 w 12329"/>
                      <a:gd name="connsiteY1" fmla="*/ 0 h 17265"/>
                      <a:gd name="connsiteX2" fmla="*/ 12329 w 12329"/>
                      <a:gd name="connsiteY2" fmla="*/ 17266 h 17265"/>
                      <a:gd name="connsiteX3" fmla="*/ 0 w 12329"/>
                      <a:gd name="connsiteY3" fmla="*/ 17266 h 17265"/>
                    </a:gdLst>
                    <a:ahLst/>
                    <a:cxnLst>
                      <a:cxn ang="0">
                        <a:pos x="connsiteX0" y="connsiteY0"/>
                      </a:cxn>
                      <a:cxn ang="0">
                        <a:pos x="connsiteX1" y="connsiteY1"/>
                      </a:cxn>
                      <a:cxn ang="0">
                        <a:pos x="connsiteX2" y="connsiteY2"/>
                      </a:cxn>
                      <a:cxn ang="0">
                        <a:pos x="connsiteX3" y="connsiteY3"/>
                      </a:cxn>
                    </a:cxnLst>
                    <a:rect l="l" t="t" r="r" b="b"/>
                    <a:pathLst>
                      <a:path w="12329" h="17265">
                        <a:moveTo>
                          <a:pt x="0" y="0"/>
                        </a:moveTo>
                        <a:lnTo>
                          <a:pt x="12329" y="0"/>
                        </a:lnTo>
                        <a:lnTo>
                          <a:pt x="12329" y="17266"/>
                        </a:lnTo>
                        <a:lnTo>
                          <a:pt x="0" y="17266"/>
                        </a:lnTo>
                        <a:close/>
                      </a:path>
                    </a:pathLst>
                  </a:custGeom>
                  <a:solidFill>
                    <a:schemeClr val="tx2"/>
                  </a:solidFill>
                  <a:ln w="1228" cap="flat">
                    <a:noFill/>
                    <a:prstDash val="solid"/>
                    <a:miter/>
                  </a:ln>
                </p:spPr>
                <p:txBody>
                  <a:bodyPr rtlCol="0" anchor="ctr"/>
                  <a:lstStyle/>
                  <a:p>
                    <a:endParaRPr lang="en-GB" dirty="0"/>
                  </a:p>
                </p:txBody>
              </p:sp>
              <p:sp>
                <p:nvSpPr>
                  <p:cNvPr id="227" name="Freihandform: Form 216">
                    <a:extLst>
                      <a:ext uri="{FF2B5EF4-FFF2-40B4-BE49-F238E27FC236}">
                        <a16:creationId xmlns:a16="http://schemas.microsoft.com/office/drawing/2014/main" id="{8BF7713F-E3C5-4A5C-BDA4-F8A69C003303}"/>
                      </a:ext>
                    </a:extLst>
                  </p:cNvPr>
                  <p:cNvSpPr/>
                  <p:nvPr/>
                </p:nvSpPr>
                <p:spPr>
                  <a:xfrm>
                    <a:off x="607545" y="3622352"/>
                    <a:ext cx="42415" cy="39688"/>
                  </a:xfrm>
                  <a:custGeom>
                    <a:avLst/>
                    <a:gdLst>
                      <a:gd name="connsiteX0" fmla="*/ 21208 w 42415"/>
                      <a:gd name="connsiteY0" fmla="*/ 39689 h 39688"/>
                      <a:gd name="connsiteX1" fmla="*/ 0 w 42415"/>
                      <a:gd name="connsiteY1" fmla="*/ 19844 h 39688"/>
                      <a:gd name="connsiteX2" fmla="*/ 12329 w 42415"/>
                      <a:gd name="connsiteY2" fmla="*/ 19844 h 39688"/>
                      <a:gd name="connsiteX3" fmla="*/ 21208 w 42415"/>
                      <a:gd name="connsiteY3" fmla="*/ 27360 h 39688"/>
                      <a:gd name="connsiteX4" fmla="*/ 30086 w 42415"/>
                      <a:gd name="connsiteY4" fmla="*/ 19844 h 39688"/>
                      <a:gd name="connsiteX5" fmla="*/ 21208 w 42415"/>
                      <a:gd name="connsiteY5" fmla="*/ 12329 h 39688"/>
                      <a:gd name="connsiteX6" fmla="*/ 21208 w 42415"/>
                      <a:gd name="connsiteY6" fmla="*/ 0 h 39688"/>
                      <a:gd name="connsiteX7" fmla="*/ 42415 w 42415"/>
                      <a:gd name="connsiteY7" fmla="*/ 19844 h 39688"/>
                      <a:gd name="connsiteX8" fmla="*/ 21208 w 42415"/>
                      <a:gd name="connsiteY8" fmla="*/ 39689 h 39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15" h="39688">
                        <a:moveTo>
                          <a:pt x="21208" y="39689"/>
                        </a:moveTo>
                        <a:cubicBezTo>
                          <a:pt x="9517" y="39689"/>
                          <a:pt x="0" y="30786"/>
                          <a:pt x="0" y="19844"/>
                        </a:cubicBezTo>
                        <a:lnTo>
                          <a:pt x="12329" y="19844"/>
                        </a:lnTo>
                        <a:cubicBezTo>
                          <a:pt x="12329" y="23983"/>
                          <a:pt x="16308" y="27360"/>
                          <a:pt x="21208" y="27360"/>
                        </a:cubicBezTo>
                        <a:cubicBezTo>
                          <a:pt x="26107" y="27360"/>
                          <a:pt x="30086" y="23983"/>
                          <a:pt x="30086" y="19844"/>
                        </a:cubicBezTo>
                        <a:cubicBezTo>
                          <a:pt x="30086" y="15706"/>
                          <a:pt x="26107" y="12329"/>
                          <a:pt x="21208" y="12329"/>
                        </a:cubicBezTo>
                        <a:lnTo>
                          <a:pt x="21208" y="0"/>
                        </a:lnTo>
                        <a:cubicBezTo>
                          <a:pt x="32898" y="0"/>
                          <a:pt x="42415" y="8903"/>
                          <a:pt x="42415" y="19844"/>
                        </a:cubicBezTo>
                        <a:cubicBezTo>
                          <a:pt x="42415" y="30786"/>
                          <a:pt x="32910" y="39689"/>
                          <a:pt x="21208" y="39689"/>
                        </a:cubicBezTo>
                        <a:close/>
                      </a:path>
                    </a:pathLst>
                  </a:custGeom>
                  <a:solidFill>
                    <a:schemeClr val="tx2"/>
                  </a:solidFill>
                  <a:ln w="1228" cap="flat">
                    <a:noFill/>
                    <a:prstDash val="solid"/>
                    <a:miter/>
                  </a:ln>
                </p:spPr>
                <p:txBody>
                  <a:bodyPr rtlCol="0" anchor="ctr"/>
                  <a:lstStyle/>
                  <a:p>
                    <a:endParaRPr lang="en-GB" dirty="0"/>
                  </a:p>
                </p:txBody>
              </p:sp>
              <p:sp>
                <p:nvSpPr>
                  <p:cNvPr id="228" name="Freihandform: Form 217">
                    <a:extLst>
                      <a:ext uri="{FF2B5EF4-FFF2-40B4-BE49-F238E27FC236}">
                        <a16:creationId xmlns:a16="http://schemas.microsoft.com/office/drawing/2014/main" id="{F3CE13D8-CD89-4D8F-874D-3A9A2CACC116}"/>
                      </a:ext>
                    </a:extLst>
                  </p:cNvPr>
                  <p:cNvSpPr/>
                  <p:nvPr/>
                </p:nvSpPr>
                <p:spPr>
                  <a:xfrm>
                    <a:off x="607545" y="3594980"/>
                    <a:ext cx="42415" cy="39701"/>
                  </a:xfrm>
                  <a:custGeom>
                    <a:avLst/>
                    <a:gdLst>
                      <a:gd name="connsiteX0" fmla="*/ 21208 w 42415"/>
                      <a:gd name="connsiteY0" fmla="*/ 39701 h 39701"/>
                      <a:gd name="connsiteX1" fmla="*/ 0 w 42415"/>
                      <a:gd name="connsiteY1" fmla="*/ 19857 h 39701"/>
                      <a:gd name="connsiteX2" fmla="*/ 21208 w 42415"/>
                      <a:gd name="connsiteY2" fmla="*/ 0 h 39701"/>
                      <a:gd name="connsiteX3" fmla="*/ 42415 w 42415"/>
                      <a:gd name="connsiteY3" fmla="*/ 19857 h 39701"/>
                      <a:gd name="connsiteX4" fmla="*/ 30086 w 42415"/>
                      <a:gd name="connsiteY4" fmla="*/ 19857 h 39701"/>
                      <a:gd name="connsiteX5" fmla="*/ 21208 w 42415"/>
                      <a:gd name="connsiteY5" fmla="*/ 12329 h 39701"/>
                      <a:gd name="connsiteX6" fmla="*/ 12329 w 42415"/>
                      <a:gd name="connsiteY6" fmla="*/ 19857 h 39701"/>
                      <a:gd name="connsiteX7" fmla="*/ 21208 w 42415"/>
                      <a:gd name="connsiteY7" fmla="*/ 27372 h 39701"/>
                      <a:gd name="connsiteX8" fmla="*/ 21208 w 42415"/>
                      <a:gd name="connsiteY8" fmla="*/ 39701 h 39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415" h="39701">
                        <a:moveTo>
                          <a:pt x="21208" y="39701"/>
                        </a:moveTo>
                        <a:cubicBezTo>
                          <a:pt x="9517" y="39701"/>
                          <a:pt x="0" y="30798"/>
                          <a:pt x="0" y="19857"/>
                        </a:cubicBezTo>
                        <a:cubicBezTo>
                          <a:pt x="0" y="8915"/>
                          <a:pt x="9517" y="0"/>
                          <a:pt x="21208" y="0"/>
                        </a:cubicBezTo>
                        <a:cubicBezTo>
                          <a:pt x="32898" y="0"/>
                          <a:pt x="42415" y="8915"/>
                          <a:pt x="42415" y="19857"/>
                        </a:cubicBezTo>
                        <a:lnTo>
                          <a:pt x="30086" y="19857"/>
                        </a:lnTo>
                        <a:cubicBezTo>
                          <a:pt x="30086" y="15706"/>
                          <a:pt x="26107" y="12329"/>
                          <a:pt x="21208" y="12329"/>
                        </a:cubicBezTo>
                        <a:cubicBezTo>
                          <a:pt x="16308" y="12329"/>
                          <a:pt x="12329" y="15706"/>
                          <a:pt x="12329" y="19857"/>
                        </a:cubicBezTo>
                        <a:cubicBezTo>
                          <a:pt x="12329" y="23995"/>
                          <a:pt x="16308" y="27372"/>
                          <a:pt x="21208" y="27372"/>
                        </a:cubicBezTo>
                        <a:lnTo>
                          <a:pt x="21208" y="39701"/>
                        </a:lnTo>
                        <a:close/>
                      </a:path>
                    </a:pathLst>
                  </a:custGeom>
                  <a:solidFill>
                    <a:schemeClr val="tx2"/>
                  </a:solidFill>
                  <a:ln w="1228" cap="flat">
                    <a:noFill/>
                    <a:prstDash val="solid"/>
                    <a:miter/>
                  </a:ln>
                </p:spPr>
                <p:txBody>
                  <a:bodyPr rtlCol="0" anchor="ctr"/>
                  <a:lstStyle/>
                  <a:p>
                    <a:endParaRPr lang="en-GB" dirty="0"/>
                  </a:p>
                </p:txBody>
              </p:sp>
            </p:grpSp>
          </p:grpSp>
          <p:grpSp>
            <p:nvGrpSpPr>
              <p:cNvPr id="217" name="Grafik 11">
                <a:extLst>
                  <a:ext uri="{FF2B5EF4-FFF2-40B4-BE49-F238E27FC236}">
                    <a16:creationId xmlns:a16="http://schemas.microsoft.com/office/drawing/2014/main" id="{6220C027-F3A6-41E0-ACD6-885BA364C1AA}"/>
                  </a:ext>
                </a:extLst>
              </p:cNvPr>
              <p:cNvGrpSpPr/>
              <p:nvPr/>
            </p:nvGrpSpPr>
            <p:grpSpPr>
              <a:xfrm>
                <a:off x="423996" y="3433338"/>
                <a:ext cx="409526" cy="46848"/>
                <a:chOff x="423996" y="3433338"/>
                <a:chExt cx="409526" cy="46848"/>
              </a:xfrm>
              <a:solidFill>
                <a:srgbClr val="4D4E53"/>
              </a:solidFill>
            </p:grpSpPr>
            <p:sp>
              <p:nvSpPr>
                <p:cNvPr id="218" name="Freihandform: Form 219">
                  <a:extLst>
                    <a:ext uri="{FF2B5EF4-FFF2-40B4-BE49-F238E27FC236}">
                      <a16:creationId xmlns:a16="http://schemas.microsoft.com/office/drawing/2014/main" id="{734359F7-0623-40C4-8F26-7B1E5CB211AD}"/>
                    </a:ext>
                  </a:extLst>
                </p:cNvPr>
                <p:cNvSpPr/>
                <p:nvPr/>
              </p:nvSpPr>
              <p:spPr>
                <a:xfrm>
                  <a:off x="423996" y="3467857"/>
                  <a:ext cx="409526" cy="12329"/>
                </a:xfrm>
                <a:custGeom>
                  <a:avLst/>
                  <a:gdLst>
                    <a:gd name="connsiteX0" fmla="*/ 0 w 409526"/>
                    <a:gd name="connsiteY0" fmla="*/ 0 h 12329"/>
                    <a:gd name="connsiteX1" fmla="*/ 409526 w 409526"/>
                    <a:gd name="connsiteY1" fmla="*/ 0 h 12329"/>
                    <a:gd name="connsiteX2" fmla="*/ 409526 w 409526"/>
                    <a:gd name="connsiteY2" fmla="*/ 12329 h 12329"/>
                    <a:gd name="connsiteX3" fmla="*/ 0 w 409526"/>
                    <a:gd name="connsiteY3" fmla="*/ 12329 h 12329"/>
                  </a:gdLst>
                  <a:ahLst/>
                  <a:cxnLst>
                    <a:cxn ang="0">
                      <a:pos x="connsiteX0" y="connsiteY0"/>
                    </a:cxn>
                    <a:cxn ang="0">
                      <a:pos x="connsiteX1" y="connsiteY1"/>
                    </a:cxn>
                    <a:cxn ang="0">
                      <a:pos x="connsiteX2" y="connsiteY2"/>
                    </a:cxn>
                    <a:cxn ang="0">
                      <a:pos x="connsiteX3" y="connsiteY3"/>
                    </a:cxn>
                  </a:cxnLst>
                  <a:rect l="l" t="t" r="r" b="b"/>
                  <a:pathLst>
                    <a:path w="409526" h="12329">
                      <a:moveTo>
                        <a:pt x="0" y="0"/>
                      </a:moveTo>
                      <a:lnTo>
                        <a:pt x="409526" y="0"/>
                      </a:lnTo>
                      <a:lnTo>
                        <a:pt x="40952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19" name="Freihandform: Form 220">
                  <a:extLst>
                    <a:ext uri="{FF2B5EF4-FFF2-40B4-BE49-F238E27FC236}">
                      <a16:creationId xmlns:a16="http://schemas.microsoft.com/office/drawing/2014/main" id="{9C2C160C-75B3-4631-B19F-C7790C73C64B}"/>
                    </a:ext>
                  </a:extLst>
                </p:cNvPr>
                <p:cNvSpPr/>
                <p:nvPr/>
              </p:nvSpPr>
              <p:spPr>
                <a:xfrm>
                  <a:off x="458527" y="3433338"/>
                  <a:ext cx="340475" cy="12329"/>
                </a:xfrm>
                <a:custGeom>
                  <a:avLst/>
                  <a:gdLst>
                    <a:gd name="connsiteX0" fmla="*/ 0 w 340475"/>
                    <a:gd name="connsiteY0" fmla="*/ 0 h 12329"/>
                    <a:gd name="connsiteX1" fmla="*/ 340476 w 340475"/>
                    <a:gd name="connsiteY1" fmla="*/ 0 h 12329"/>
                    <a:gd name="connsiteX2" fmla="*/ 340476 w 340475"/>
                    <a:gd name="connsiteY2" fmla="*/ 12329 h 12329"/>
                    <a:gd name="connsiteX3" fmla="*/ 0 w 34047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340475" h="12329">
                      <a:moveTo>
                        <a:pt x="0" y="0"/>
                      </a:moveTo>
                      <a:lnTo>
                        <a:pt x="340476" y="0"/>
                      </a:lnTo>
                      <a:lnTo>
                        <a:pt x="340476" y="12329"/>
                      </a:lnTo>
                      <a:lnTo>
                        <a:pt x="0" y="12329"/>
                      </a:lnTo>
                      <a:close/>
                    </a:path>
                  </a:pathLst>
                </a:custGeom>
                <a:solidFill>
                  <a:schemeClr val="tx2"/>
                </a:solidFill>
                <a:ln w="1228" cap="flat">
                  <a:noFill/>
                  <a:prstDash val="solid"/>
                  <a:miter/>
                </a:ln>
              </p:spPr>
              <p:txBody>
                <a:bodyPr rtlCol="0" anchor="ctr"/>
                <a:lstStyle/>
                <a:p>
                  <a:endParaRPr lang="en-GB" dirty="0"/>
                </a:p>
              </p:txBody>
            </p:sp>
          </p:grpSp>
        </p:grpSp>
      </p:grpSp>
      <p:grpSp>
        <p:nvGrpSpPr>
          <p:cNvPr id="233" name="Gruppieren 416">
            <a:extLst>
              <a:ext uri="{FF2B5EF4-FFF2-40B4-BE49-F238E27FC236}">
                <a16:creationId xmlns:a16="http://schemas.microsoft.com/office/drawing/2014/main" id="{EC720392-00F9-4E7C-ADFF-CE013FA4C386}"/>
              </a:ext>
            </a:extLst>
          </p:cNvPr>
          <p:cNvGrpSpPr>
            <a:grpSpLocks noChangeAspect="1"/>
          </p:cNvGrpSpPr>
          <p:nvPr/>
        </p:nvGrpSpPr>
        <p:grpSpPr>
          <a:xfrm>
            <a:off x="1313273" y="2449341"/>
            <a:ext cx="432415" cy="432000"/>
            <a:chOff x="1309274" y="2558549"/>
            <a:chExt cx="407702" cy="407313"/>
          </a:xfrm>
        </p:grpSpPr>
        <p:grpSp>
          <p:nvGrpSpPr>
            <p:cNvPr id="234" name="Gruppieren 414">
              <a:extLst>
                <a:ext uri="{FF2B5EF4-FFF2-40B4-BE49-F238E27FC236}">
                  <a16:creationId xmlns:a16="http://schemas.microsoft.com/office/drawing/2014/main" id="{FEE318B8-3958-403C-B13F-1436515123DB}"/>
                </a:ext>
              </a:extLst>
            </p:cNvPr>
            <p:cNvGrpSpPr/>
            <p:nvPr/>
          </p:nvGrpSpPr>
          <p:grpSpPr>
            <a:xfrm>
              <a:off x="1423268" y="2615907"/>
              <a:ext cx="236067" cy="236043"/>
              <a:chOff x="1423268" y="2615907"/>
              <a:chExt cx="236067" cy="236043"/>
            </a:xfrm>
          </p:grpSpPr>
          <p:grpSp>
            <p:nvGrpSpPr>
              <p:cNvPr id="239" name="Grafik 11">
                <a:extLst>
                  <a:ext uri="{FF2B5EF4-FFF2-40B4-BE49-F238E27FC236}">
                    <a16:creationId xmlns:a16="http://schemas.microsoft.com/office/drawing/2014/main" id="{A9D3582D-8F9E-41B0-88B1-D2202BB26188}"/>
                  </a:ext>
                </a:extLst>
              </p:cNvPr>
              <p:cNvGrpSpPr/>
              <p:nvPr/>
            </p:nvGrpSpPr>
            <p:grpSpPr>
              <a:xfrm>
                <a:off x="1423268" y="2615907"/>
                <a:ext cx="75862" cy="40773"/>
                <a:chOff x="1423268" y="2615907"/>
                <a:chExt cx="75862" cy="40773"/>
              </a:xfrm>
              <a:solidFill>
                <a:schemeClr val="accent1"/>
              </a:solidFill>
            </p:grpSpPr>
            <p:sp>
              <p:nvSpPr>
                <p:cNvPr id="243" name="Freihandform: Form 225">
                  <a:extLst>
                    <a:ext uri="{FF2B5EF4-FFF2-40B4-BE49-F238E27FC236}">
                      <a16:creationId xmlns:a16="http://schemas.microsoft.com/office/drawing/2014/main" id="{42497F90-0F78-4724-8896-1BB80ADF2821}"/>
                    </a:ext>
                  </a:extLst>
                </p:cNvPr>
                <p:cNvSpPr/>
                <p:nvPr/>
              </p:nvSpPr>
              <p:spPr>
                <a:xfrm rot="-2700243">
                  <a:off x="1466815" y="2634575"/>
                  <a:ext cx="32752" cy="12329"/>
                </a:xfrm>
                <a:custGeom>
                  <a:avLst/>
                  <a:gdLst>
                    <a:gd name="connsiteX0" fmla="*/ 0 w 32752"/>
                    <a:gd name="connsiteY0" fmla="*/ 0 h 12329"/>
                    <a:gd name="connsiteX1" fmla="*/ 32753 w 32752"/>
                    <a:gd name="connsiteY1" fmla="*/ 0 h 12329"/>
                    <a:gd name="connsiteX2" fmla="*/ 32753 w 32752"/>
                    <a:gd name="connsiteY2" fmla="*/ 12330 h 12329"/>
                    <a:gd name="connsiteX3" fmla="*/ 0 w 32752"/>
                    <a:gd name="connsiteY3" fmla="*/ 12330 h 12329"/>
                  </a:gdLst>
                  <a:ahLst/>
                  <a:cxnLst>
                    <a:cxn ang="0">
                      <a:pos x="connsiteX0" y="connsiteY0"/>
                    </a:cxn>
                    <a:cxn ang="0">
                      <a:pos x="connsiteX1" y="connsiteY1"/>
                    </a:cxn>
                    <a:cxn ang="0">
                      <a:pos x="connsiteX2" y="connsiteY2"/>
                    </a:cxn>
                    <a:cxn ang="0">
                      <a:pos x="connsiteX3" y="connsiteY3"/>
                    </a:cxn>
                  </a:cxnLst>
                  <a:rect l="l" t="t" r="r" b="b"/>
                  <a:pathLst>
                    <a:path w="32752" h="12329">
                      <a:moveTo>
                        <a:pt x="0" y="0"/>
                      </a:moveTo>
                      <a:lnTo>
                        <a:pt x="32753" y="0"/>
                      </a:lnTo>
                      <a:lnTo>
                        <a:pt x="32753" y="12330"/>
                      </a:lnTo>
                      <a:lnTo>
                        <a:pt x="0" y="12330"/>
                      </a:lnTo>
                      <a:close/>
                    </a:path>
                  </a:pathLst>
                </a:custGeom>
                <a:solidFill>
                  <a:schemeClr val="accent1"/>
                </a:solidFill>
                <a:ln w="1228" cap="flat">
                  <a:noFill/>
                  <a:prstDash val="solid"/>
                  <a:miter/>
                </a:ln>
              </p:spPr>
              <p:txBody>
                <a:bodyPr rtlCol="0" anchor="ctr"/>
                <a:lstStyle/>
                <a:p>
                  <a:endParaRPr lang="en-GB" dirty="0"/>
                </a:p>
              </p:txBody>
            </p:sp>
            <p:sp>
              <p:nvSpPr>
                <p:cNvPr id="244" name="Freihandform: Form 226">
                  <a:extLst>
                    <a:ext uri="{FF2B5EF4-FFF2-40B4-BE49-F238E27FC236}">
                      <a16:creationId xmlns:a16="http://schemas.microsoft.com/office/drawing/2014/main" id="{7FB3A851-A8B8-45EC-9A1D-587C50CE06C0}"/>
                    </a:ext>
                  </a:extLst>
                </p:cNvPr>
                <p:cNvSpPr/>
                <p:nvPr/>
              </p:nvSpPr>
              <p:spPr>
                <a:xfrm rot="-2700243">
                  <a:off x="1422832" y="2625677"/>
                  <a:ext cx="32740" cy="12329"/>
                </a:xfrm>
                <a:custGeom>
                  <a:avLst/>
                  <a:gdLst>
                    <a:gd name="connsiteX0" fmla="*/ 0 w 32740"/>
                    <a:gd name="connsiteY0" fmla="*/ 0 h 12329"/>
                    <a:gd name="connsiteX1" fmla="*/ 32741 w 32740"/>
                    <a:gd name="connsiteY1" fmla="*/ 0 h 12329"/>
                    <a:gd name="connsiteX2" fmla="*/ 32741 w 32740"/>
                    <a:gd name="connsiteY2" fmla="*/ 12330 h 12329"/>
                    <a:gd name="connsiteX3" fmla="*/ 0 w 32740"/>
                    <a:gd name="connsiteY3" fmla="*/ 12330 h 12329"/>
                  </a:gdLst>
                  <a:ahLst/>
                  <a:cxnLst>
                    <a:cxn ang="0">
                      <a:pos x="connsiteX0" y="connsiteY0"/>
                    </a:cxn>
                    <a:cxn ang="0">
                      <a:pos x="connsiteX1" y="connsiteY1"/>
                    </a:cxn>
                    <a:cxn ang="0">
                      <a:pos x="connsiteX2" y="connsiteY2"/>
                    </a:cxn>
                    <a:cxn ang="0">
                      <a:pos x="connsiteX3" y="connsiteY3"/>
                    </a:cxn>
                  </a:cxnLst>
                  <a:rect l="l" t="t" r="r" b="b"/>
                  <a:pathLst>
                    <a:path w="32740" h="12329">
                      <a:moveTo>
                        <a:pt x="0" y="0"/>
                      </a:moveTo>
                      <a:lnTo>
                        <a:pt x="32741" y="0"/>
                      </a:lnTo>
                      <a:lnTo>
                        <a:pt x="32741" y="12330"/>
                      </a:lnTo>
                      <a:lnTo>
                        <a:pt x="0" y="12330"/>
                      </a:lnTo>
                      <a:close/>
                    </a:path>
                  </a:pathLst>
                </a:custGeom>
                <a:solidFill>
                  <a:schemeClr val="accent1"/>
                </a:solidFill>
                <a:ln w="1228" cap="flat">
                  <a:noFill/>
                  <a:prstDash val="solid"/>
                  <a:miter/>
                </a:ln>
              </p:spPr>
              <p:txBody>
                <a:bodyPr rtlCol="0" anchor="ctr"/>
                <a:lstStyle/>
                <a:p>
                  <a:endParaRPr lang="en-GB" dirty="0"/>
                </a:p>
              </p:txBody>
            </p:sp>
          </p:grpSp>
          <p:grpSp>
            <p:nvGrpSpPr>
              <p:cNvPr id="240" name="Grafik 11">
                <a:extLst>
                  <a:ext uri="{FF2B5EF4-FFF2-40B4-BE49-F238E27FC236}">
                    <a16:creationId xmlns:a16="http://schemas.microsoft.com/office/drawing/2014/main" id="{F84232CA-CDD3-4A8C-952B-941736780F3A}"/>
                  </a:ext>
                </a:extLst>
              </p:cNvPr>
              <p:cNvGrpSpPr/>
              <p:nvPr/>
            </p:nvGrpSpPr>
            <p:grpSpPr>
              <a:xfrm>
                <a:off x="1618548" y="2776095"/>
                <a:ext cx="40787" cy="75855"/>
                <a:chOff x="1618548" y="2776095"/>
                <a:chExt cx="40787" cy="75855"/>
              </a:xfrm>
              <a:solidFill>
                <a:schemeClr val="accent1"/>
              </a:solidFill>
            </p:grpSpPr>
            <p:sp>
              <p:nvSpPr>
                <p:cNvPr id="241" name="Freihandform: Form 228">
                  <a:extLst>
                    <a:ext uri="{FF2B5EF4-FFF2-40B4-BE49-F238E27FC236}">
                      <a16:creationId xmlns:a16="http://schemas.microsoft.com/office/drawing/2014/main" id="{0BDB9A62-BF22-4BA0-8F37-25B4E9777841}"/>
                    </a:ext>
                  </a:extLst>
                </p:cNvPr>
                <p:cNvSpPr/>
                <p:nvPr/>
              </p:nvSpPr>
              <p:spPr>
                <a:xfrm rot="-2699757">
                  <a:off x="1618111" y="2785869"/>
                  <a:ext cx="32752" cy="12329"/>
                </a:xfrm>
                <a:custGeom>
                  <a:avLst/>
                  <a:gdLst>
                    <a:gd name="connsiteX0" fmla="*/ 0 w 32752"/>
                    <a:gd name="connsiteY0" fmla="*/ 0 h 12329"/>
                    <a:gd name="connsiteX1" fmla="*/ 32753 w 32752"/>
                    <a:gd name="connsiteY1" fmla="*/ 0 h 12329"/>
                    <a:gd name="connsiteX2" fmla="*/ 32753 w 32752"/>
                    <a:gd name="connsiteY2" fmla="*/ 12330 h 12329"/>
                    <a:gd name="connsiteX3" fmla="*/ 0 w 32752"/>
                    <a:gd name="connsiteY3" fmla="*/ 12330 h 12329"/>
                  </a:gdLst>
                  <a:ahLst/>
                  <a:cxnLst>
                    <a:cxn ang="0">
                      <a:pos x="connsiteX0" y="connsiteY0"/>
                    </a:cxn>
                    <a:cxn ang="0">
                      <a:pos x="connsiteX1" y="connsiteY1"/>
                    </a:cxn>
                    <a:cxn ang="0">
                      <a:pos x="connsiteX2" y="connsiteY2"/>
                    </a:cxn>
                    <a:cxn ang="0">
                      <a:pos x="connsiteX3" y="connsiteY3"/>
                    </a:cxn>
                  </a:cxnLst>
                  <a:rect l="l" t="t" r="r" b="b"/>
                  <a:pathLst>
                    <a:path w="32752" h="12329">
                      <a:moveTo>
                        <a:pt x="0" y="0"/>
                      </a:moveTo>
                      <a:lnTo>
                        <a:pt x="32753" y="0"/>
                      </a:lnTo>
                      <a:lnTo>
                        <a:pt x="32753" y="12330"/>
                      </a:lnTo>
                      <a:lnTo>
                        <a:pt x="0" y="12330"/>
                      </a:lnTo>
                      <a:close/>
                    </a:path>
                  </a:pathLst>
                </a:custGeom>
                <a:solidFill>
                  <a:schemeClr val="accent1"/>
                </a:solidFill>
                <a:ln w="1228" cap="flat">
                  <a:noFill/>
                  <a:prstDash val="solid"/>
                  <a:miter/>
                </a:ln>
              </p:spPr>
              <p:txBody>
                <a:bodyPr rtlCol="0" anchor="ctr"/>
                <a:lstStyle/>
                <a:p>
                  <a:endParaRPr lang="en-GB" dirty="0"/>
                </a:p>
              </p:txBody>
            </p:sp>
            <p:sp>
              <p:nvSpPr>
                <p:cNvPr id="242" name="Freihandform: Form 229">
                  <a:extLst>
                    <a:ext uri="{FF2B5EF4-FFF2-40B4-BE49-F238E27FC236}">
                      <a16:creationId xmlns:a16="http://schemas.microsoft.com/office/drawing/2014/main" id="{2708016A-048F-4EF1-8905-771867EA1387}"/>
                    </a:ext>
                  </a:extLst>
                </p:cNvPr>
                <p:cNvSpPr/>
                <p:nvPr/>
              </p:nvSpPr>
              <p:spPr>
                <a:xfrm rot="-2699757">
                  <a:off x="1627019" y="2829848"/>
                  <a:ext cx="32752" cy="12329"/>
                </a:xfrm>
                <a:custGeom>
                  <a:avLst/>
                  <a:gdLst>
                    <a:gd name="connsiteX0" fmla="*/ 0 w 32752"/>
                    <a:gd name="connsiteY0" fmla="*/ 0 h 12329"/>
                    <a:gd name="connsiteX1" fmla="*/ 32753 w 32752"/>
                    <a:gd name="connsiteY1" fmla="*/ 0 h 12329"/>
                    <a:gd name="connsiteX2" fmla="*/ 32753 w 32752"/>
                    <a:gd name="connsiteY2" fmla="*/ 12330 h 12329"/>
                    <a:gd name="connsiteX3" fmla="*/ 0 w 32752"/>
                    <a:gd name="connsiteY3" fmla="*/ 12330 h 12329"/>
                  </a:gdLst>
                  <a:ahLst/>
                  <a:cxnLst>
                    <a:cxn ang="0">
                      <a:pos x="connsiteX0" y="connsiteY0"/>
                    </a:cxn>
                    <a:cxn ang="0">
                      <a:pos x="connsiteX1" y="connsiteY1"/>
                    </a:cxn>
                    <a:cxn ang="0">
                      <a:pos x="connsiteX2" y="connsiteY2"/>
                    </a:cxn>
                    <a:cxn ang="0">
                      <a:pos x="connsiteX3" y="connsiteY3"/>
                    </a:cxn>
                  </a:cxnLst>
                  <a:rect l="l" t="t" r="r" b="b"/>
                  <a:pathLst>
                    <a:path w="32752" h="12329">
                      <a:moveTo>
                        <a:pt x="0" y="0"/>
                      </a:moveTo>
                      <a:lnTo>
                        <a:pt x="32753" y="0"/>
                      </a:lnTo>
                      <a:lnTo>
                        <a:pt x="32753" y="12330"/>
                      </a:lnTo>
                      <a:lnTo>
                        <a:pt x="0" y="12330"/>
                      </a:lnTo>
                      <a:close/>
                    </a:path>
                  </a:pathLst>
                </a:custGeom>
                <a:solidFill>
                  <a:schemeClr val="accent1"/>
                </a:solidFill>
                <a:ln w="1228" cap="flat">
                  <a:noFill/>
                  <a:prstDash val="solid"/>
                  <a:miter/>
                </a:ln>
              </p:spPr>
              <p:txBody>
                <a:bodyPr rtlCol="0" anchor="ctr"/>
                <a:lstStyle/>
                <a:p>
                  <a:endParaRPr lang="en-GB" dirty="0"/>
                </a:p>
              </p:txBody>
            </p:sp>
          </p:grpSp>
        </p:grpSp>
        <p:grpSp>
          <p:nvGrpSpPr>
            <p:cNvPr id="235" name="Gruppieren 415">
              <a:extLst>
                <a:ext uri="{FF2B5EF4-FFF2-40B4-BE49-F238E27FC236}">
                  <a16:creationId xmlns:a16="http://schemas.microsoft.com/office/drawing/2014/main" id="{0DB55B8B-1FF0-45BE-94B2-EB09C59EE2FB}"/>
                </a:ext>
              </a:extLst>
            </p:cNvPr>
            <p:cNvGrpSpPr/>
            <p:nvPr/>
          </p:nvGrpSpPr>
          <p:grpSpPr>
            <a:xfrm>
              <a:off x="1309274" y="2558549"/>
              <a:ext cx="407702" cy="407313"/>
              <a:chOff x="1309274" y="2558549"/>
              <a:chExt cx="407702" cy="407313"/>
            </a:xfrm>
          </p:grpSpPr>
          <p:sp>
            <p:nvSpPr>
              <p:cNvPr id="236" name="Freihandform: Form 223">
                <a:extLst>
                  <a:ext uri="{FF2B5EF4-FFF2-40B4-BE49-F238E27FC236}">
                    <a16:creationId xmlns:a16="http://schemas.microsoft.com/office/drawing/2014/main" id="{59DAB686-8467-494B-8E80-E7EF2D9D5F79}"/>
                  </a:ext>
                </a:extLst>
              </p:cNvPr>
              <p:cNvSpPr/>
              <p:nvPr/>
            </p:nvSpPr>
            <p:spPr>
              <a:xfrm>
                <a:off x="1309274" y="2558549"/>
                <a:ext cx="407702" cy="407313"/>
              </a:xfrm>
              <a:custGeom>
                <a:avLst/>
                <a:gdLst>
                  <a:gd name="connsiteX0" fmla="*/ 304667 w 407702"/>
                  <a:gd name="connsiteY0" fmla="*/ 407314 h 407313"/>
                  <a:gd name="connsiteX1" fmla="*/ 215969 w 407702"/>
                  <a:gd name="connsiteY1" fmla="*/ 246998 h 407313"/>
                  <a:gd name="connsiteX2" fmla="*/ 149116 w 407702"/>
                  <a:gd name="connsiteY2" fmla="*/ 308276 h 407313"/>
                  <a:gd name="connsiteX3" fmla="*/ 143848 w 407702"/>
                  <a:gd name="connsiteY3" fmla="*/ 361546 h 407313"/>
                  <a:gd name="connsiteX4" fmla="*/ 119288 w 407702"/>
                  <a:gd name="connsiteY4" fmla="*/ 386106 h 407313"/>
                  <a:gd name="connsiteX5" fmla="*/ 90393 w 407702"/>
                  <a:gd name="connsiteY5" fmla="*/ 316921 h 407313"/>
                  <a:gd name="connsiteX6" fmla="*/ 21208 w 407702"/>
                  <a:gd name="connsiteY6" fmla="*/ 288026 h 407313"/>
                  <a:gd name="connsiteX7" fmla="*/ 45768 w 407702"/>
                  <a:gd name="connsiteY7" fmla="*/ 263466 h 407313"/>
                  <a:gd name="connsiteX8" fmla="*/ 99038 w 407702"/>
                  <a:gd name="connsiteY8" fmla="*/ 258198 h 407313"/>
                  <a:gd name="connsiteX9" fmla="*/ 160316 w 407702"/>
                  <a:gd name="connsiteY9" fmla="*/ 191358 h 407313"/>
                  <a:gd name="connsiteX10" fmla="*/ 0 w 407702"/>
                  <a:gd name="connsiteY10" fmla="*/ 102659 h 407313"/>
                  <a:gd name="connsiteX11" fmla="*/ 39898 w 407702"/>
                  <a:gd name="connsiteY11" fmla="*/ 62749 h 407313"/>
                  <a:gd name="connsiteX12" fmla="*/ 241069 w 407702"/>
                  <a:gd name="connsiteY12" fmla="*/ 103445 h 407313"/>
                  <a:gd name="connsiteX13" fmla="*/ 284540 w 407702"/>
                  <a:gd name="connsiteY13" fmla="*/ 59839 h 407313"/>
                  <a:gd name="connsiteX14" fmla="*/ 368339 w 407702"/>
                  <a:gd name="connsiteY14" fmla="*/ 7096 h 407313"/>
                  <a:gd name="connsiteX15" fmla="*/ 386231 w 407702"/>
                  <a:gd name="connsiteY15" fmla="*/ 747 h 407313"/>
                  <a:gd name="connsiteX16" fmla="*/ 402748 w 407702"/>
                  <a:gd name="connsiteY16" fmla="*/ 4689 h 407313"/>
                  <a:gd name="connsiteX17" fmla="*/ 407107 w 407702"/>
                  <a:gd name="connsiteY17" fmla="*/ 20751 h 407313"/>
                  <a:gd name="connsiteX18" fmla="*/ 400242 w 407702"/>
                  <a:gd name="connsiteY18" fmla="*/ 39773 h 407313"/>
                  <a:gd name="connsiteX19" fmla="*/ 347979 w 407702"/>
                  <a:gd name="connsiteY19" fmla="*/ 122246 h 407313"/>
                  <a:gd name="connsiteX20" fmla="*/ 303869 w 407702"/>
                  <a:gd name="connsiteY20" fmla="*/ 166233 h 407313"/>
                  <a:gd name="connsiteX21" fmla="*/ 344553 w 407702"/>
                  <a:gd name="connsiteY21" fmla="*/ 367404 h 407313"/>
                  <a:gd name="connsiteX22" fmla="*/ 304667 w 407702"/>
                  <a:gd name="connsiteY22" fmla="*/ 407314 h 407313"/>
                  <a:gd name="connsiteX23" fmla="*/ 219174 w 407702"/>
                  <a:gd name="connsiteY23" fmla="*/ 227338 h 407313"/>
                  <a:gd name="connsiteX24" fmla="*/ 307528 w 407702"/>
                  <a:gd name="connsiteY24" fmla="*/ 387015 h 407313"/>
                  <a:gd name="connsiteX25" fmla="*/ 331167 w 407702"/>
                  <a:gd name="connsiteY25" fmla="*/ 363376 h 407313"/>
                  <a:gd name="connsiteX26" fmla="*/ 290484 w 407702"/>
                  <a:gd name="connsiteY26" fmla="*/ 162180 h 407313"/>
                  <a:gd name="connsiteX27" fmla="*/ 292841 w 407702"/>
                  <a:gd name="connsiteY27" fmla="*/ 159835 h 407313"/>
                  <a:gd name="connsiteX28" fmla="*/ 339272 w 407702"/>
                  <a:gd name="connsiteY28" fmla="*/ 113539 h 407313"/>
                  <a:gd name="connsiteX29" fmla="*/ 388662 w 407702"/>
                  <a:gd name="connsiteY29" fmla="*/ 35598 h 407313"/>
                  <a:gd name="connsiteX30" fmla="*/ 395367 w 407702"/>
                  <a:gd name="connsiteY30" fmla="*/ 17055 h 407313"/>
                  <a:gd name="connsiteX31" fmla="*/ 394127 w 407702"/>
                  <a:gd name="connsiteY31" fmla="*/ 13506 h 407313"/>
                  <a:gd name="connsiteX32" fmla="*/ 390038 w 407702"/>
                  <a:gd name="connsiteY32" fmla="*/ 12487 h 407313"/>
                  <a:gd name="connsiteX33" fmla="*/ 372465 w 407702"/>
                  <a:gd name="connsiteY33" fmla="*/ 18725 h 407313"/>
                  <a:gd name="connsiteX34" fmla="*/ 293271 w 407702"/>
                  <a:gd name="connsiteY34" fmla="*/ 68558 h 407313"/>
                  <a:gd name="connsiteX35" fmla="*/ 247491 w 407702"/>
                  <a:gd name="connsiteY35" fmla="*/ 114485 h 407313"/>
                  <a:gd name="connsiteX36" fmla="*/ 245146 w 407702"/>
                  <a:gd name="connsiteY36" fmla="*/ 116843 h 407313"/>
                  <a:gd name="connsiteX37" fmla="*/ 43950 w 407702"/>
                  <a:gd name="connsiteY37" fmla="*/ 76147 h 407313"/>
                  <a:gd name="connsiteX38" fmla="*/ 20299 w 407702"/>
                  <a:gd name="connsiteY38" fmla="*/ 99786 h 407313"/>
                  <a:gd name="connsiteX39" fmla="*/ 179976 w 407702"/>
                  <a:gd name="connsiteY39" fmla="*/ 188140 h 407313"/>
                  <a:gd name="connsiteX40" fmla="*/ 104945 w 407702"/>
                  <a:gd name="connsiteY40" fmla="*/ 270011 h 407313"/>
                  <a:gd name="connsiteX41" fmla="*/ 51367 w 407702"/>
                  <a:gd name="connsiteY41" fmla="*/ 275304 h 407313"/>
                  <a:gd name="connsiteX42" fmla="*/ 42943 w 407702"/>
                  <a:gd name="connsiteY42" fmla="*/ 283728 h 407313"/>
                  <a:gd name="connsiteX43" fmla="*/ 99836 w 407702"/>
                  <a:gd name="connsiteY43" fmla="*/ 307477 h 407313"/>
                  <a:gd name="connsiteX44" fmla="*/ 123586 w 407702"/>
                  <a:gd name="connsiteY44" fmla="*/ 364371 h 407313"/>
                  <a:gd name="connsiteX45" fmla="*/ 132022 w 407702"/>
                  <a:gd name="connsiteY45" fmla="*/ 355947 h 407313"/>
                  <a:gd name="connsiteX46" fmla="*/ 137315 w 407702"/>
                  <a:gd name="connsiteY46" fmla="*/ 302381 h 407313"/>
                  <a:gd name="connsiteX47" fmla="*/ 219174 w 407702"/>
                  <a:gd name="connsiteY47" fmla="*/ 227338 h 407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07702" h="407313">
                    <a:moveTo>
                      <a:pt x="304667" y="407314"/>
                    </a:moveTo>
                    <a:lnTo>
                      <a:pt x="215969" y="246998"/>
                    </a:lnTo>
                    <a:lnTo>
                      <a:pt x="149116" y="308276"/>
                    </a:lnTo>
                    <a:lnTo>
                      <a:pt x="143848" y="361546"/>
                    </a:lnTo>
                    <a:lnTo>
                      <a:pt x="119288" y="386106"/>
                    </a:lnTo>
                    <a:lnTo>
                      <a:pt x="90393" y="316921"/>
                    </a:lnTo>
                    <a:lnTo>
                      <a:pt x="21208" y="288026"/>
                    </a:lnTo>
                    <a:lnTo>
                      <a:pt x="45768" y="263466"/>
                    </a:lnTo>
                    <a:lnTo>
                      <a:pt x="99038" y="258198"/>
                    </a:lnTo>
                    <a:lnTo>
                      <a:pt x="160316" y="191358"/>
                    </a:lnTo>
                    <a:lnTo>
                      <a:pt x="0" y="102659"/>
                    </a:lnTo>
                    <a:lnTo>
                      <a:pt x="39898" y="62749"/>
                    </a:lnTo>
                    <a:lnTo>
                      <a:pt x="241069" y="103445"/>
                    </a:lnTo>
                    <a:cubicBezTo>
                      <a:pt x="252735" y="91705"/>
                      <a:pt x="274385" y="70007"/>
                      <a:pt x="284540" y="59839"/>
                    </a:cubicBezTo>
                    <a:cubicBezTo>
                      <a:pt x="307860" y="36507"/>
                      <a:pt x="336841" y="18271"/>
                      <a:pt x="368339" y="7096"/>
                    </a:cubicBezTo>
                    <a:lnTo>
                      <a:pt x="386231" y="747"/>
                    </a:lnTo>
                    <a:cubicBezTo>
                      <a:pt x="392371" y="-1058"/>
                      <a:pt x="398425" y="465"/>
                      <a:pt x="402748" y="4689"/>
                    </a:cubicBezTo>
                    <a:cubicBezTo>
                      <a:pt x="407070" y="8914"/>
                      <a:pt x="408691" y="14918"/>
                      <a:pt x="407107" y="20751"/>
                    </a:cubicBezTo>
                    <a:lnTo>
                      <a:pt x="400242" y="39773"/>
                    </a:lnTo>
                    <a:cubicBezTo>
                      <a:pt x="389043" y="70743"/>
                      <a:pt x="370967" y="99258"/>
                      <a:pt x="347979" y="122246"/>
                    </a:cubicBezTo>
                    <a:cubicBezTo>
                      <a:pt x="337651" y="132573"/>
                      <a:pt x="315756" y="154419"/>
                      <a:pt x="303869" y="166233"/>
                    </a:cubicBezTo>
                    <a:lnTo>
                      <a:pt x="344553" y="367404"/>
                    </a:lnTo>
                    <a:lnTo>
                      <a:pt x="304667" y="407314"/>
                    </a:lnTo>
                    <a:close/>
                    <a:moveTo>
                      <a:pt x="219174" y="227338"/>
                    </a:moveTo>
                    <a:lnTo>
                      <a:pt x="307528" y="387015"/>
                    </a:lnTo>
                    <a:lnTo>
                      <a:pt x="331167" y="363376"/>
                    </a:lnTo>
                    <a:lnTo>
                      <a:pt x="290484" y="162180"/>
                    </a:lnTo>
                    <a:lnTo>
                      <a:pt x="292841" y="159835"/>
                    </a:lnTo>
                    <a:cubicBezTo>
                      <a:pt x="303930" y="148832"/>
                      <a:pt x="328232" y="124591"/>
                      <a:pt x="339272" y="113539"/>
                    </a:cubicBezTo>
                    <a:cubicBezTo>
                      <a:pt x="360996" y="91828"/>
                      <a:pt x="378065" y="64886"/>
                      <a:pt x="388662" y="35598"/>
                    </a:cubicBezTo>
                    <a:lnTo>
                      <a:pt x="395367" y="17055"/>
                    </a:lnTo>
                    <a:cubicBezTo>
                      <a:pt x="395785" y="15422"/>
                      <a:pt x="394643" y="14010"/>
                      <a:pt x="394127" y="13506"/>
                    </a:cubicBezTo>
                    <a:cubicBezTo>
                      <a:pt x="393599" y="13003"/>
                      <a:pt x="392138" y="11898"/>
                      <a:pt x="390038" y="12487"/>
                    </a:cubicBezTo>
                    <a:lnTo>
                      <a:pt x="372465" y="18725"/>
                    </a:lnTo>
                    <a:cubicBezTo>
                      <a:pt x="342686" y="29286"/>
                      <a:pt x="315302" y="46515"/>
                      <a:pt x="293271" y="68558"/>
                    </a:cubicBezTo>
                    <a:cubicBezTo>
                      <a:pt x="282391" y="79438"/>
                      <a:pt x="258335" y="103568"/>
                      <a:pt x="247491" y="114485"/>
                    </a:cubicBezTo>
                    <a:lnTo>
                      <a:pt x="245146" y="116843"/>
                    </a:lnTo>
                    <a:lnTo>
                      <a:pt x="43950" y="76147"/>
                    </a:lnTo>
                    <a:lnTo>
                      <a:pt x="20299" y="99786"/>
                    </a:lnTo>
                    <a:lnTo>
                      <a:pt x="179976" y="188140"/>
                    </a:lnTo>
                    <a:lnTo>
                      <a:pt x="104945" y="270011"/>
                    </a:lnTo>
                    <a:lnTo>
                      <a:pt x="51367" y="275304"/>
                    </a:lnTo>
                    <a:lnTo>
                      <a:pt x="42943" y="283728"/>
                    </a:lnTo>
                    <a:lnTo>
                      <a:pt x="99836" y="307477"/>
                    </a:lnTo>
                    <a:lnTo>
                      <a:pt x="123586" y="364371"/>
                    </a:lnTo>
                    <a:lnTo>
                      <a:pt x="132022" y="355947"/>
                    </a:lnTo>
                    <a:lnTo>
                      <a:pt x="137315" y="302381"/>
                    </a:lnTo>
                    <a:lnTo>
                      <a:pt x="219174" y="227338"/>
                    </a:lnTo>
                    <a:close/>
                  </a:path>
                </a:pathLst>
              </a:custGeom>
              <a:solidFill>
                <a:schemeClr val="tx2"/>
              </a:solidFill>
              <a:ln w="1228" cap="flat">
                <a:noFill/>
                <a:prstDash val="solid"/>
                <a:miter/>
              </a:ln>
            </p:spPr>
            <p:txBody>
              <a:bodyPr rtlCol="0" anchor="ctr"/>
              <a:lstStyle/>
              <a:p>
                <a:endParaRPr lang="en-GB" dirty="0"/>
              </a:p>
            </p:txBody>
          </p:sp>
          <p:sp>
            <p:nvSpPr>
              <p:cNvPr id="237" name="Freihandform: Form 230">
                <a:extLst>
                  <a:ext uri="{FF2B5EF4-FFF2-40B4-BE49-F238E27FC236}">
                    <a16:creationId xmlns:a16="http://schemas.microsoft.com/office/drawing/2014/main" id="{115B248F-F028-4749-AD1E-0B9ADC1D037B}"/>
                  </a:ext>
                </a:extLst>
              </p:cNvPr>
              <p:cNvSpPr/>
              <p:nvPr/>
            </p:nvSpPr>
            <p:spPr>
              <a:xfrm rot="19049542">
                <a:off x="1425059" y="2787150"/>
                <a:ext cx="208862" cy="12329"/>
              </a:xfrm>
              <a:custGeom>
                <a:avLst/>
                <a:gdLst>
                  <a:gd name="connsiteX0" fmla="*/ 0 w 208862"/>
                  <a:gd name="connsiteY0" fmla="*/ 0 h 12329"/>
                  <a:gd name="connsiteX1" fmla="*/ 208862 w 208862"/>
                  <a:gd name="connsiteY1" fmla="*/ 0 h 12329"/>
                  <a:gd name="connsiteX2" fmla="*/ 208862 w 208862"/>
                  <a:gd name="connsiteY2" fmla="*/ 12329 h 12329"/>
                  <a:gd name="connsiteX3" fmla="*/ 0 w 208862"/>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08862" h="12329">
                    <a:moveTo>
                      <a:pt x="0" y="0"/>
                    </a:moveTo>
                    <a:lnTo>
                      <a:pt x="208862" y="0"/>
                    </a:lnTo>
                    <a:lnTo>
                      <a:pt x="208862"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38" name="Freihandform: Form 231">
                <a:extLst>
                  <a:ext uri="{FF2B5EF4-FFF2-40B4-BE49-F238E27FC236}">
                    <a16:creationId xmlns:a16="http://schemas.microsoft.com/office/drawing/2014/main" id="{BF871153-1ACD-40B7-A337-BCE27CD3CA4B}"/>
                  </a:ext>
                </a:extLst>
              </p:cNvPr>
              <p:cNvSpPr/>
              <p:nvPr/>
            </p:nvSpPr>
            <p:spPr>
              <a:xfrm rot="18750458">
                <a:off x="1377411" y="2739486"/>
                <a:ext cx="208862" cy="12329"/>
              </a:xfrm>
              <a:custGeom>
                <a:avLst/>
                <a:gdLst>
                  <a:gd name="connsiteX0" fmla="*/ 0 w 208862"/>
                  <a:gd name="connsiteY0" fmla="*/ 0 h 12329"/>
                  <a:gd name="connsiteX1" fmla="*/ 208862 w 208862"/>
                  <a:gd name="connsiteY1" fmla="*/ 0 h 12329"/>
                  <a:gd name="connsiteX2" fmla="*/ 208862 w 208862"/>
                  <a:gd name="connsiteY2" fmla="*/ 12329 h 12329"/>
                  <a:gd name="connsiteX3" fmla="*/ 0 w 208862"/>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08862" h="12329">
                    <a:moveTo>
                      <a:pt x="0" y="0"/>
                    </a:moveTo>
                    <a:lnTo>
                      <a:pt x="208862" y="0"/>
                    </a:lnTo>
                    <a:lnTo>
                      <a:pt x="208862" y="12329"/>
                    </a:lnTo>
                    <a:lnTo>
                      <a:pt x="0" y="12329"/>
                    </a:lnTo>
                    <a:close/>
                  </a:path>
                </a:pathLst>
              </a:custGeom>
              <a:solidFill>
                <a:schemeClr val="tx2"/>
              </a:solidFill>
              <a:ln w="1228" cap="flat">
                <a:noFill/>
                <a:prstDash val="solid"/>
                <a:miter/>
              </a:ln>
            </p:spPr>
            <p:txBody>
              <a:bodyPr rtlCol="0" anchor="ctr"/>
              <a:lstStyle/>
              <a:p>
                <a:endParaRPr lang="en-GB" dirty="0"/>
              </a:p>
            </p:txBody>
          </p:sp>
        </p:grpSp>
      </p:grpSp>
      <p:grpSp>
        <p:nvGrpSpPr>
          <p:cNvPr id="245" name="Gruppieren 430">
            <a:extLst>
              <a:ext uri="{FF2B5EF4-FFF2-40B4-BE49-F238E27FC236}">
                <a16:creationId xmlns:a16="http://schemas.microsoft.com/office/drawing/2014/main" id="{F72CFF52-EDB2-42B0-8C28-BA0D834569B8}"/>
              </a:ext>
            </a:extLst>
          </p:cNvPr>
          <p:cNvGrpSpPr>
            <a:grpSpLocks noChangeAspect="1"/>
          </p:cNvGrpSpPr>
          <p:nvPr/>
        </p:nvGrpSpPr>
        <p:grpSpPr>
          <a:xfrm>
            <a:off x="2991061" y="3273397"/>
            <a:ext cx="402903" cy="432000"/>
            <a:chOff x="3050777" y="3417884"/>
            <a:chExt cx="383356" cy="411042"/>
          </a:xfrm>
        </p:grpSpPr>
        <p:grpSp>
          <p:nvGrpSpPr>
            <p:cNvPr id="246" name="Grafik 11">
              <a:extLst>
                <a:ext uri="{FF2B5EF4-FFF2-40B4-BE49-F238E27FC236}">
                  <a16:creationId xmlns:a16="http://schemas.microsoft.com/office/drawing/2014/main" id="{0EF8D9FF-5A0A-4EB0-B0AB-BC18FB1C3625}"/>
                </a:ext>
              </a:extLst>
            </p:cNvPr>
            <p:cNvGrpSpPr/>
            <p:nvPr/>
          </p:nvGrpSpPr>
          <p:grpSpPr>
            <a:xfrm>
              <a:off x="3290998" y="3569432"/>
              <a:ext cx="143135" cy="179466"/>
              <a:chOff x="3290998" y="3569432"/>
              <a:chExt cx="143135" cy="179466"/>
            </a:xfrm>
            <a:solidFill>
              <a:schemeClr val="accent1"/>
            </a:solidFill>
          </p:grpSpPr>
          <p:sp>
            <p:nvSpPr>
              <p:cNvPr id="259" name="Freihandform: Form 234">
                <a:extLst>
                  <a:ext uri="{FF2B5EF4-FFF2-40B4-BE49-F238E27FC236}">
                    <a16:creationId xmlns:a16="http://schemas.microsoft.com/office/drawing/2014/main" id="{CA851361-5174-40F2-BF37-E3FA8D5709E6}"/>
                  </a:ext>
                </a:extLst>
              </p:cNvPr>
              <p:cNvSpPr/>
              <p:nvPr/>
            </p:nvSpPr>
            <p:spPr>
              <a:xfrm>
                <a:off x="3290998" y="3569432"/>
                <a:ext cx="143135" cy="179466"/>
              </a:xfrm>
              <a:custGeom>
                <a:avLst/>
                <a:gdLst>
                  <a:gd name="connsiteX0" fmla="*/ 71568 w 143135"/>
                  <a:gd name="connsiteY0" fmla="*/ 179466 h 179466"/>
                  <a:gd name="connsiteX1" fmla="*/ 68436 w 143135"/>
                  <a:gd name="connsiteY1" fmla="*/ 177624 h 179466"/>
                  <a:gd name="connsiteX2" fmla="*/ 10954 w 143135"/>
                  <a:gd name="connsiteY2" fmla="*/ 132544 h 179466"/>
                  <a:gd name="connsiteX3" fmla="*/ 0 w 143135"/>
                  <a:gd name="connsiteY3" fmla="*/ 101893 h 179466"/>
                  <a:gd name="connsiteX4" fmla="*/ 0 w 143135"/>
                  <a:gd name="connsiteY4" fmla="*/ 14754 h 179466"/>
                  <a:gd name="connsiteX5" fmla="*/ 36005 w 143135"/>
                  <a:gd name="connsiteY5" fmla="*/ 4808 h 179466"/>
                  <a:gd name="connsiteX6" fmla="*/ 107143 w 143135"/>
                  <a:gd name="connsiteY6" fmla="*/ 4808 h 179466"/>
                  <a:gd name="connsiteX7" fmla="*/ 143136 w 143135"/>
                  <a:gd name="connsiteY7" fmla="*/ 14754 h 179466"/>
                  <a:gd name="connsiteX8" fmla="*/ 143136 w 143135"/>
                  <a:gd name="connsiteY8" fmla="*/ 101893 h 179466"/>
                  <a:gd name="connsiteX9" fmla="*/ 132182 w 143135"/>
                  <a:gd name="connsiteY9" fmla="*/ 132544 h 179466"/>
                  <a:gd name="connsiteX10" fmla="*/ 74699 w 143135"/>
                  <a:gd name="connsiteY10" fmla="*/ 177624 h 179466"/>
                  <a:gd name="connsiteX11" fmla="*/ 71568 w 143135"/>
                  <a:gd name="connsiteY11" fmla="*/ 179466 h 179466"/>
                  <a:gd name="connsiteX12" fmla="*/ 12329 w 143135"/>
                  <a:gd name="connsiteY12" fmla="*/ 24149 h 179466"/>
                  <a:gd name="connsiteX13" fmla="*/ 12329 w 143135"/>
                  <a:gd name="connsiteY13" fmla="*/ 101893 h 179466"/>
                  <a:gd name="connsiteX14" fmla="*/ 20372 w 143135"/>
                  <a:gd name="connsiteY14" fmla="*/ 124599 h 179466"/>
                  <a:gd name="connsiteX15" fmla="*/ 71568 w 143135"/>
                  <a:gd name="connsiteY15" fmla="*/ 165135 h 179466"/>
                  <a:gd name="connsiteX16" fmla="*/ 122763 w 143135"/>
                  <a:gd name="connsiteY16" fmla="*/ 124599 h 179466"/>
                  <a:gd name="connsiteX17" fmla="*/ 130807 w 143135"/>
                  <a:gd name="connsiteY17" fmla="*/ 101893 h 179466"/>
                  <a:gd name="connsiteX18" fmla="*/ 130807 w 143135"/>
                  <a:gd name="connsiteY18" fmla="*/ 24149 h 179466"/>
                  <a:gd name="connsiteX19" fmla="*/ 103864 w 143135"/>
                  <a:gd name="connsiteY19" fmla="*/ 16707 h 179466"/>
                  <a:gd name="connsiteX20" fmla="*/ 39284 w 143135"/>
                  <a:gd name="connsiteY20" fmla="*/ 16707 h 179466"/>
                  <a:gd name="connsiteX21" fmla="*/ 12329 w 143135"/>
                  <a:gd name="connsiteY21" fmla="*/ 24149 h 179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3135" h="179466">
                    <a:moveTo>
                      <a:pt x="71568" y="179466"/>
                    </a:moveTo>
                    <a:lnTo>
                      <a:pt x="68436" y="177624"/>
                    </a:lnTo>
                    <a:cubicBezTo>
                      <a:pt x="42427" y="162299"/>
                      <a:pt x="23614" y="147550"/>
                      <a:pt x="10954" y="132544"/>
                    </a:cubicBezTo>
                    <a:cubicBezTo>
                      <a:pt x="3880" y="124182"/>
                      <a:pt x="0" y="113301"/>
                      <a:pt x="0" y="101893"/>
                    </a:cubicBezTo>
                    <a:lnTo>
                      <a:pt x="0" y="14754"/>
                    </a:lnTo>
                    <a:lnTo>
                      <a:pt x="36005" y="4808"/>
                    </a:lnTo>
                    <a:cubicBezTo>
                      <a:pt x="59276" y="-1603"/>
                      <a:pt x="83872" y="-1603"/>
                      <a:pt x="107143" y="4808"/>
                    </a:cubicBezTo>
                    <a:lnTo>
                      <a:pt x="143136" y="14754"/>
                    </a:lnTo>
                    <a:lnTo>
                      <a:pt x="143136" y="101893"/>
                    </a:lnTo>
                    <a:cubicBezTo>
                      <a:pt x="143136" y="113301"/>
                      <a:pt x="139243" y="124182"/>
                      <a:pt x="132182" y="132544"/>
                    </a:cubicBezTo>
                    <a:cubicBezTo>
                      <a:pt x="119521" y="147550"/>
                      <a:pt x="100708" y="162286"/>
                      <a:pt x="74699" y="177624"/>
                    </a:cubicBezTo>
                    <a:lnTo>
                      <a:pt x="71568" y="179466"/>
                    </a:lnTo>
                    <a:close/>
                    <a:moveTo>
                      <a:pt x="12329" y="24149"/>
                    </a:moveTo>
                    <a:lnTo>
                      <a:pt x="12329" y="101893"/>
                    </a:lnTo>
                    <a:cubicBezTo>
                      <a:pt x="12329" y="110379"/>
                      <a:pt x="15178" y="118435"/>
                      <a:pt x="20372" y="124599"/>
                    </a:cubicBezTo>
                    <a:cubicBezTo>
                      <a:pt x="31633" y="137935"/>
                      <a:pt x="48395" y="151210"/>
                      <a:pt x="71568" y="165135"/>
                    </a:cubicBezTo>
                    <a:cubicBezTo>
                      <a:pt x="94740" y="151210"/>
                      <a:pt x="111502" y="137935"/>
                      <a:pt x="122763" y="124599"/>
                    </a:cubicBezTo>
                    <a:cubicBezTo>
                      <a:pt x="127958" y="118447"/>
                      <a:pt x="130807" y="110391"/>
                      <a:pt x="130807" y="101893"/>
                    </a:cubicBezTo>
                    <a:lnTo>
                      <a:pt x="130807" y="24149"/>
                    </a:lnTo>
                    <a:lnTo>
                      <a:pt x="103864" y="16707"/>
                    </a:lnTo>
                    <a:cubicBezTo>
                      <a:pt x="82743" y="10849"/>
                      <a:pt x="60405" y="10849"/>
                      <a:pt x="39284" y="16707"/>
                    </a:cubicBezTo>
                    <a:lnTo>
                      <a:pt x="12329" y="24149"/>
                    </a:lnTo>
                    <a:close/>
                  </a:path>
                </a:pathLst>
              </a:custGeom>
              <a:solidFill>
                <a:schemeClr val="accent1"/>
              </a:solidFill>
              <a:ln w="1228" cap="flat">
                <a:noFill/>
                <a:prstDash val="solid"/>
                <a:miter/>
              </a:ln>
            </p:spPr>
            <p:txBody>
              <a:bodyPr rtlCol="0" anchor="ctr"/>
              <a:lstStyle/>
              <a:p>
                <a:endParaRPr lang="en-GB" dirty="0"/>
              </a:p>
            </p:txBody>
          </p:sp>
          <p:sp>
            <p:nvSpPr>
              <p:cNvPr id="260" name="Freihandform: Form 235">
                <a:extLst>
                  <a:ext uri="{FF2B5EF4-FFF2-40B4-BE49-F238E27FC236}">
                    <a16:creationId xmlns:a16="http://schemas.microsoft.com/office/drawing/2014/main" id="{C3127BBB-D1B4-4E84-A9ED-61F425C21937}"/>
                  </a:ext>
                </a:extLst>
              </p:cNvPr>
              <p:cNvSpPr/>
              <p:nvPr/>
            </p:nvSpPr>
            <p:spPr>
              <a:xfrm>
                <a:off x="3334899" y="3631206"/>
                <a:ext cx="55345" cy="42697"/>
              </a:xfrm>
              <a:custGeom>
                <a:avLst/>
                <a:gdLst>
                  <a:gd name="connsiteX0" fmla="*/ 21355 w 55345"/>
                  <a:gd name="connsiteY0" fmla="*/ 42698 h 42697"/>
                  <a:gd name="connsiteX1" fmla="*/ 0 w 55345"/>
                  <a:gd name="connsiteY1" fmla="*/ 21355 h 42697"/>
                  <a:gd name="connsiteX2" fmla="*/ 8719 w 55345"/>
                  <a:gd name="connsiteY2" fmla="*/ 12636 h 42697"/>
                  <a:gd name="connsiteX3" fmla="*/ 21355 w 55345"/>
                  <a:gd name="connsiteY3" fmla="*/ 25260 h 42697"/>
                  <a:gd name="connsiteX4" fmla="*/ 46627 w 55345"/>
                  <a:gd name="connsiteY4" fmla="*/ 0 h 42697"/>
                  <a:gd name="connsiteX5" fmla="*/ 55346 w 55345"/>
                  <a:gd name="connsiteY5" fmla="*/ 8719 h 42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345" h="42697">
                    <a:moveTo>
                      <a:pt x="21355" y="42698"/>
                    </a:moveTo>
                    <a:lnTo>
                      <a:pt x="0" y="21355"/>
                    </a:lnTo>
                    <a:lnTo>
                      <a:pt x="8719" y="12636"/>
                    </a:lnTo>
                    <a:lnTo>
                      <a:pt x="21355" y="25260"/>
                    </a:lnTo>
                    <a:lnTo>
                      <a:pt x="46627" y="0"/>
                    </a:lnTo>
                    <a:lnTo>
                      <a:pt x="55346" y="8719"/>
                    </a:lnTo>
                    <a:close/>
                  </a:path>
                </a:pathLst>
              </a:custGeom>
              <a:solidFill>
                <a:schemeClr val="accent1"/>
              </a:solidFill>
              <a:ln w="1228" cap="flat">
                <a:noFill/>
                <a:prstDash val="solid"/>
                <a:miter/>
              </a:ln>
            </p:spPr>
            <p:txBody>
              <a:bodyPr rtlCol="0" anchor="ctr"/>
              <a:lstStyle/>
              <a:p>
                <a:endParaRPr lang="en-GB" dirty="0"/>
              </a:p>
            </p:txBody>
          </p:sp>
        </p:grpSp>
        <p:grpSp>
          <p:nvGrpSpPr>
            <p:cNvPr id="247" name="Gruppieren 429">
              <a:extLst>
                <a:ext uri="{FF2B5EF4-FFF2-40B4-BE49-F238E27FC236}">
                  <a16:creationId xmlns:a16="http://schemas.microsoft.com/office/drawing/2014/main" id="{893A87F6-B88D-4C5C-94AF-85C0D1D74074}"/>
                </a:ext>
              </a:extLst>
            </p:cNvPr>
            <p:cNvGrpSpPr/>
            <p:nvPr/>
          </p:nvGrpSpPr>
          <p:grpSpPr>
            <a:xfrm>
              <a:off x="3050777" y="3417884"/>
              <a:ext cx="339014" cy="411042"/>
              <a:chOff x="3050777" y="3417884"/>
              <a:chExt cx="339014" cy="411042"/>
            </a:xfrm>
          </p:grpSpPr>
          <p:sp>
            <p:nvSpPr>
              <p:cNvPr id="248" name="Freihandform: Form 236">
                <a:extLst>
                  <a:ext uri="{FF2B5EF4-FFF2-40B4-BE49-F238E27FC236}">
                    <a16:creationId xmlns:a16="http://schemas.microsoft.com/office/drawing/2014/main" id="{A59312D8-B0BB-451B-8007-1225C27348C3}"/>
                  </a:ext>
                </a:extLst>
              </p:cNvPr>
              <p:cNvSpPr/>
              <p:nvPr/>
            </p:nvSpPr>
            <p:spPr>
              <a:xfrm>
                <a:off x="3054080" y="3569266"/>
                <a:ext cx="216422" cy="218007"/>
              </a:xfrm>
              <a:custGeom>
                <a:avLst/>
                <a:gdLst>
                  <a:gd name="connsiteX0" fmla="*/ 60921 w 216422"/>
                  <a:gd name="connsiteY0" fmla="*/ 218007 h 218007"/>
                  <a:gd name="connsiteX1" fmla="*/ 0 w 216422"/>
                  <a:gd name="connsiteY1" fmla="*/ 38129 h 218007"/>
                  <a:gd name="connsiteX2" fmla="*/ 166198 w 216422"/>
                  <a:gd name="connsiteY2" fmla="*/ 0 h 218007"/>
                  <a:gd name="connsiteX3" fmla="*/ 216423 w 216422"/>
                  <a:gd name="connsiteY3" fmla="*/ 11531 h 218007"/>
                  <a:gd name="connsiteX4" fmla="*/ 213660 w 216422"/>
                  <a:gd name="connsiteY4" fmla="*/ 23553 h 218007"/>
                  <a:gd name="connsiteX5" fmla="*/ 166198 w 216422"/>
                  <a:gd name="connsiteY5" fmla="*/ 12648 h 218007"/>
                  <a:gd name="connsiteX6" fmla="*/ 16062 w 216422"/>
                  <a:gd name="connsiteY6" fmla="*/ 47094 h 218007"/>
                  <a:gd name="connsiteX7" fmla="*/ 72600 w 216422"/>
                  <a:gd name="connsiteY7" fmla="*/ 214065 h 21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422" h="218007">
                    <a:moveTo>
                      <a:pt x="60921" y="218007"/>
                    </a:moveTo>
                    <a:lnTo>
                      <a:pt x="0" y="38129"/>
                    </a:lnTo>
                    <a:lnTo>
                      <a:pt x="166198" y="0"/>
                    </a:lnTo>
                    <a:lnTo>
                      <a:pt x="216423" y="11531"/>
                    </a:lnTo>
                    <a:lnTo>
                      <a:pt x="213660" y="23553"/>
                    </a:lnTo>
                    <a:lnTo>
                      <a:pt x="166198" y="12648"/>
                    </a:lnTo>
                    <a:lnTo>
                      <a:pt x="16062" y="47094"/>
                    </a:lnTo>
                    <a:lnTo>
                      <a:pt x="72600" y="214065"/>
                    </a:lnTo>
                    <a:close/>
                  </a:path>
                </a:pathLst>
              </a:custGeom>
              <a:solidFill>
                <a:schemeClr val="tx2"/>
              </a:solidFill>
              <a:ln w="1228" cap="flat">
                <a:noFill/>
                <a:prstDash val="solid"/>
                <a:miter/>
              </a:ln>
            </p:spPr>
            <p:txBody>
              <a:bodyPr rtlCol="0" anchor="ctr"/>
              <a:lstStyle/>
              <a:p>
                <a:endParaRPr lang="en-GB" dirty="0"/>
              </a:p>
            </p:txBody>
          </p:sp>
          <p:sp>
            <p:nvSpPr>
              <p:cNvPr id="249" name="Freihandform: Form 237">
                <a:extLst>
                  <a:ext uri="{FF2B5EF4-FFF2-40B4-BE49-F238E27FC236}">
                    <a16:creationId xmlns:a16="http://schemas.microsoft.com/office/drawing/2014/main" id="{F4A4CDD9-96B8-49EC-9864-5714757CD1F9}"/>
                  </a:ext>
                </a:extLst>
              </p:cNvPr>
              <p:cNvSpPr/>
              <p:nvPr/>
            </p:nvSpPr>
            <p:spPr>
              <a:xfrm rot="17320882">
                <a:off x="3307894" y="3762779"/>
                <a:ext cx="34420" cy="12328"/>
              </a:xfrm>
              <a:custGeom>
                <a:avLst/>
                <a:gdLst>
                  <a:gd name="connsiteX0" fmla="*/ 0 w 34420"/>
                  <a:gd name="connsiteY0" fmla="*/ 0 h 12328"/>
                  <a:gd name="connsiteX1" fmla="*/ 34420 w 34420"/>
                  <a:gd name="connsiteY1" fmla="*/ 0 h 12328"/>
                  <a:gd name="connsiteX2" fmla="*/ 34420 w 34420"/>
                  <a:gd name="connsiteY2" fmla="*/ 12329 h 12328"/>
                  <a:gd name="connsiteX3" fmla="*/ 0 w 34420"/>
                  <a:gd name="connsiteY3" fmla="*/ 12329 h 12328"/>
                </a:gdLst>
                <a:ahLst/>
                <a:cxnLst>
                  <a:cxn ang="0">
                    <a:pos x="connsiteX0" y="connsiteY0"/>
                  </a:cxn>
                  <a:cxn ang="0">
                    <a:pos x="connsiteX1" y="connsiteY1"/>
                  </a:cxn>
                  <a:cxn ang="0">
                    <a:pos x="connsiteX2" y="connsiteY2"/>
                  </a:cxn>
                  <a:cxn ang="0">
                    <a:pos x="connsiteX3" y="connsiteY3"/>
                  </a:cxn>
                </a:cxnLst>
                <a:rect l="l" t="t" r="r" b="b"/>
                <a:pathLst>
                  <a:path w="34420" h="12328">
                    <a:moveTo>
                      <a:pt x="0" y="0"/>
                    </a:moveTo>
                    <a:lnTo>
                      <a:pt x="34420" y="0"/>
                    </a:lnTo>
                    <a:lnTo>
                      <a:pt x="34420"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50" name="Freihandform: Form 238">
                <a:extLst>
                  <a:ext uri="{FF2B5EF4-FFF2-40B4-BE49-F238E27FC236}">
                    <a16:creationId xmlns:a16="http://schemas.microsoft.com/office/drawing/2014/main" id="{161056E2-1CE2-4984-ABCD-658BE3806B76}"/>
                  </a:ext>
                </a:extLst>
              </p:cNvPr>
              <p:cNvSpPr/>
              <p:nvPr/>
            </p:nvSpPr>
            <p:spPr>
              <a:xfrm>
                <a:off x="3050777" y="3770151"/>
                <a:ext cx="339014" cy="22856"/>
              </a:xfrm>
              <a:custGeom>
                <a:avLst/>
                <a:gdLst>
                  <a:gd name="connsiteX0" fmla="*/ 321957 w 339014"/>
                  <a:gd name="connsiteY0" fmla="*/ 22856 h 22856"/>
                  <a:gd name="connsiteX1" fmla="*/ 304888 w 339014"/>
                  <a:gd name="connsiteY1" fmla="*/ 15783 h 22856"/>
                  <a:gd name="connsiteX2" fmla="*/ 288200 w 339014"/>
                  <a:gd name="connsiteY2" fmla="*/ 15783 h 22856"/>
                  <a:gd name="connsiteX3" fmla="*/ 254073 w 339014"/>
                  <a:gd name="connsiteY3" fmla="*/ 15783 h 22856"/>
                  <a:gd name="connsiteX4" fmla="*/ 237385 w 339014"/>
                  <a:gd name="connsiteY4" fmla="*/ 15783 h 22856"/>
                  <a:gd name="connsiteX5" fmla="*/ 203259 w 339014"/>
                  <a:gd name="connsiteY5" fmla="*/ 15783 h 22856"/>
                  <a:gd name="connsiteX6" fmla="*/ 186570 w 339014"/>
                  <a:gd name="connsiteY6" fmla="*/ 15783 h 22856"/>
                  <a:gd name="connsiteX7" fmla="*/ 152444 w 339014"/>
                  <a:gd name="connsiteY7" fmla="*/ 15783 h 22856"/>
                  <a:gd name="connsiteX8" fmla="*/ 135756 w 339014"/>
                  <a:gd name="connsiteY8" fmla="*/ 15783 h 22856"/>
                  <a:gd name="connsiteX9" fmla="*/ 101629 w 339014"/>
                  <a:gd name="connsiteY9" fmla="*/ 15783 h 22856"/>
                  <a:gd name="connsiteX10" fmla="*/ 84941 w 339014"/>
                  <a:gd name="connsiteY10" fmla="*/ 15783 h 22856"/>
                  <a:gd name="connsiteX11" fmla="*/ 50815 w 339014"/>
                  <a:gd name="connsiteY11" fmla="*/ 15783 h 22856"/>
                  <a:gd name="connsiteX12" fmla="*/ 34126 w 339014"/>
                  <a:gd name="connsiteY12" fmla="*/ 15783 h 22856"/>
                  <a:gd name="connsiteX13" fmla="*/ 0 w 339014"/>
                  <a:gd name="connsiteY13" fmla="*/ 15783 h 22856"/>
                  <a:gd name="connsiteX14" fmla="*/ 8719 w 339014"/>
                  <a:gd name="connsiteY14" fmla="*/ 7064 h 22856"/>
                  <a:gd name="connsiteX15" fmla="*/ 25407 w 339014"/>
                  <a:gd name="connsiteY15" fmla="*/ 7064 h 22856"/>
                  <a:gd name="connsiteX16" fmla="*/ 59533 w 339014"/>
                  <a:gd name="connsiteY16" fmla="*/ 7064 h 22856"/>
                  <a:gd name="connsiteX17" fmla="*/ 76222 w 339014"/>
                  <a:gd name="connsiteY17" fmla="*/ 7064 h 22856"/>
                  <a:gd name="connsiteX18" fmla="*/ 110348 w 339014"/>
                  <a:gd name="connsiteY18" fmla="*/ 7064 h 22856"/>
                  <a:gd name="connsiteX19" fmla="*/ 127037 w 339014"/>
                  <a:gd name="connsiteY19" fmla="*/ 7064 h 22856"/>
                  <a:gd name="connsiteX20" fmla="*/ 161163 w 339014"/>
                  <a:gd name="connsiteY20" fmla="*/ 7064 h 22856"/>
                  <a:gd name="connsiteX21" fmla="*/ 177852 w 339014"/>
                  <a:gd name="connsiteY21" fmla="*/ 7064 h 22856"/>
                  <a:gd name="connsiteX22" fmla="*/ 211978 w 339014"/>
                  <a:gd name="connsiteY22" fmla="*/ 7064 h 22856"/>
                  <a:gd name="connsiteX23" fmla="*/ 228666 w 339014"/>
                  <a:gd name="connsiteY23" fmla="*/ 7064 h 22856"/>
                  <a:gd name="connsiteX24" fmla="*/ 262792 w 339014"/>
                  <a:gd name="connsiteY24" fmla="*/ 7064 h 22856"/>
                  <a:gd name="connsiteX25" fmla="*/ 279481 w 339014"/>
                  <a:gd name="connsiteY25" fmla="*/ 7064 h 22856"/>
                  <a:gd name="connsiteX26" fmla="*/ 313607 w 339014"/>
                  <a:gd name="connsiteY26" fmla="*/ 7064 h 22856"/>
                  <a:gd name="connsiteX27" fmla="*/ 330295 w 339014"/>
                  <a:gd name="connsiteY27" fmla="*/ 7064 h 22856"/>
                  <a:gd name="connsiteX28" fmla="*/ 339014 w 339014"/>
                  <a:gd name="connsiteY28" fmla="*/ 15783 h 22856"/>
                  <a:gd name="connsiteX29" fmla="*/ 321957 w 339014"/>
                  <a:gd name="connsiteY29" fmla="*/ 22856 h 2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39014" h="22856">
                    <a:moveTo>
                      <a:pt x="321957" y="22856"/>
                    </a:moveTo>
                    <a:cubicBezTo>
                      <a:pt x="315498" y="22856"/>
                      <a:pt x="309444" y="20351"/>
                      <a:pt x="304888" y="15783"/>
                    </a:cubicBezTo>
                    <a:cubicBezTo>
                      <a:pt x="300430" y="11313"/>
                      <a:pt x="292657" y="11338"/>
                      <a:pt x="288200" y="15783"/>
                    </a:cubicBezTo>
                    <a:cubicBezTo>
                      <a:pt x="279063" y="24919"/>
                      <a:pt x="263161" y="24907"/>
                      <a:pt x="254073" y="15783"/>
                    </a:cubicBezTo>
                    <a:cubicBezTo>
                      <a:pt x="249616" y="11313"/>
                      <a:pt x="241842" y="11338"/>
                      <a:pt x="237385" y="15783"/>
                    </a:cubicBezTo>
                    <a:cubicBezTo>
                      <a:pt x="227991" y="25202"/>
                      <a:pt x="212677" y="25202"/>
                      <a:pt x="203259" y="15783"/>
                    </a:cubicBezTo>
                    <a:cubicBezTo>
                      <a:pt x="198654" y="11178"/>
                      <a:pt x="191163" y="11178"/>
                      <a:pt x="186570" y="15783"/>
                    </a:cubicBezTo>
                    <a:cubicBezTo>
                      <a:pt x="177151" y="25202"/>
                      <a:pt x="161863" y="25202"/>
                      <a:pt x="152444" y="15783"/>
                    </a:cubicBezTo>
                    <a:cubicBezTo>
                      <a:pt x="147839" y="11178"/>
                      <a:pt x="140348" y="11178"/>
                      <a:pt x="135756" y="15783"/>
                    </a:cubicBezTo>
                    <a:cubicBezTo>
                      <a:pt x="126337" y="25202"/>
                      <a:pt x="111048" y="25202"/>
                      <a:pt x="101629" y="15783"/>
                    </a:cubicBezTo>
                    <a:cubicBezTo>
                      <a:pt x="97172" y="11325"/>
                      <a:pt x="89399" y="11325"/>
                      <a:pt x="84941" y="15783"/>
                    </a:cubicBezTo>
                    <a:cubicBezTo>
                      <a:pt x="75817" y="24907"/>
                      <a:pt x="59939" y="24907"/>
                      <a:pt x="50815" y="15783"/>
                    </a:cubicBezTo>
                    <a:cubicBezTo>
                      <a:pt x="46210" y="11178"/>
                      <a:pt x="38719" y="11178"/>
                      <a:pt x="34126" y="15783"/>
                    </a:cubicBezTo>
                    <a:cubicBezTo>
                      <a:pt x="25002" y="24907"/>
                      <a:pt x="9124" y="24907"/>
                      <a:pt x="0" y="15783"/>
                    </a:cubicBezTo>
                    <a:lnTo>
                      <a:pt x="8719" y="7064"/>
                    </a:lnTo>
                    <a:cubicBezTo>
                      <a:pt x="13324" y="11669"/>
                      <a:pt x="20815" y="11669"/>
                      <a:pt x="25407" y="7064"/>
                    </a:cubicBezTo>
                    <a:cubicBezTo>
                      <a:pt x="34532" y="-2060"/>
                      <a:pt x="50410" y="-2060"/>
                      <a:pt x="59533" y="7064"/>
                    </a:cubicBezTo>
                    <a:cubicBezTo>
                      <a:pt x="64138" y="11669"/>
                      <a:pt x="71629" y="11669"/>
                      <a:pt x="76222" y="7064"/>
                    </a:cubicBezTo>
                    <a:cubicBezTo>
                      <a:pt x="85641" y="-2355"/>
                      <a:pt x="100929" y="-2355"/>
                      <a:pt x="110348" y="7064"/>
                    </a:cubicBezTo>
                    <a:cubicBezTo>
                      <a:pt x="114953" y="11669"/>
                      <a:pt x="122444" y="11669"/>
                      <a:pt x="127037" y="7064"/>
                    </a:cubicBezTo>
                    <a:cubicBezTo>
                      <a:pt x="136161" y="-2060"/>
                      <a:pt x="152039" y="-2060"/>
                      <a:pt x="161163" y="7064"/>
                    </a:cubicBezTo>
                    <a:cubicBezTo>
                      <a:pt x="165768" y="11669"/>
                      <a:pt x="173259" y="11669"/>
                      <a:pt x="177852" y="7064"/>
                    </a:cubicBezTo>
                    <a:cubicBezTo>
                      <a:pt x="186975" y="-2060"/>
                      <a:pt x="202853" y="-2060"/>
                      <a:pt x="211978" y="7064"/>
                    </a:cubicBezTo>
                    <a:cubicBezTo>
                      <a:pt x="216583" y="11669"/>
                      <a:pt x="224073" y="11669"/>
                      <a:pt x="228666" y="7064"/>
                    </a:cubicBezTo>
                    <a:cubicBezTo>
                      <a:pt x="237753" y="-2048"/>
                      <a:pt x="253656" y="-2072"/>
                      <a:pt x="262792" y="7064"/>
                    </a:cubicBezTo>
                    <a:cubicBezTo>
                      <a:pt x="267250" y="11509"/>
                      <a:pt x="275011" y="11534"/>
                      <a:pt x="279481" y="7064"/>
                    </a:cubicBezTo>
                    <a:cubicBezTo>
                      <a:pt x="288568" y="-2048"/>
                      <a:pt x="304483" y="-2072"/>
                      <a:pt x="313607" y="7064"/>
                    </a:cubicBezTo>
                    <a:cubicBezTo>
                      <a:pt x="318065" y="11509"/>
                      <a:pt x="325838" y="11534"/>
                      <a:pt x="330295" y="7064"/>
                    </a:cubicBezTo>
                    <a:lnTo>
                      <a:pt x="339014" y="15783"/>
                    </a:lnTo>
                    <a:cubicBezTo>
                      <a:pt x="334459" y="20351"/>
                      <a:pt x="328404" y="22856"/>
                      <a:pt x="321957" y="22856"/>
                    </a:cubicBezTo>
                    <a:close/>
                  </a:path>
                </a:pathLst>
              </a:custGeom>
              <a:solidFill>
                <a:schemeClr val="tx2"/>
              </a:solidFill>
              <a:ln w="1228" cap="flat">
                <a:noFill/>
                <a:prstDash val="solid"/>
                <a:miter/>
              </a:ln>
            </p:spPr>
            <p:txBody>
              <a:bodyPr rtlCol="0" anchor="ctr"/>
              <a:lstStyle/>
              <a:p>
                <a:endParaRPr lang="en-GB" dirty="0"/>
              </a:p>
            </p:txBody>
          </p:sp>
          <p:sp>
            <p:nvSpPr>
              <p:cNvPr id="251" name="Freihandform: Form 239">
                <a:extLst>
                  <a:ext uri="{FF2B5EF4-FFF2-40B4-BE49-F238E27FC236}">
                    <a16:creationId xmlns:a16="http://schemas.microsoft.com/office/drawing/2014/main" id="{57E52ABE-D42C-4909-9E37-1D0B26DB5BB1}"/>
                  </a:ext>
                </a:extLst>
              </p:cNvPr>
              <p:cNvSpPr/>
              <p:nvPr/>
            </p:nvSpPr>
            <p:spPr>
              <a:xfrm>
                <a:off x="3050777" y="3806083"/>
                <a:ext cx="339014" cy="22843"/>
              </a:xfrm>
              <a:custGeom>
                <a:avLst/>
                <a:gdLst>
                  <a:gd name="connsiteX0" fmla="*/ 321957 w 339014"/>
                  <a:gd name="connsiteY0" fmla="*/ 22844 h 22843"/>
                  <a:gd name="connsiteX1" fmla="*/ 304888 w 339014"/>
                  <a:gd name="connsiteY1" fmla="*/ 15783 h 22843"/>
                  <a:gd name="connsiteX2" fmla="*/ 288200 w 339014"/>
                  <a:gd name="connsiteY2" fmla="*/ 15783 h 22843"/>
                  <a:gd name="connsiteX3" fmla="*/ 254073 w 339014"/>
                  <a:gd name="connsiteY3" fmla="*/ 15783 h 22843"/>
                  <a:gd name="connsiteX4" fmla="*/ 237385 w 339014"/>
                  <a:gd name="connsiteY4" fmla="*/ 15783 h 22843"/>
                  <a:gd name="connsiteX5" fmla="*/ 203259 w 339014"/>
                  <a:gd name="connsiteY5" fmla="*/ 15783 h 22843"/>
                  <a:gd name="connsiteX6" fmla="*/ 186570 w 339014"/>
                  <a:gd name="connsiteY6" fmla="*/ 15783 h 22843"/>
                  <a:gd name="connsiteX7" fmla="*/ 152444 w 339014"/>
                  <a:gd name="connsiteY7" fmla="*/ 15783 h 22843"/>
                  <a:gd name="connsiteX8" fmla="*/ 135756 w 339014"/>
                  <a:gd name="connsiteY8" fmla="*/ 15783 h 22843"/>
                  <a:gd name="connsiteX9" fmla="*/ 101629 w 339014"/>
                  <a:gd name="connsiteY9" fmla="*/ 15783 h 22843"/>
                  <a:gd name="connsiteX10" fmla="*/ 84941 w 339014"/>
                  <a:gd name="connsiteY10" fmla="*/ 15783 h 22843"/>
                  <a:gd name="connsiteX11" fmla="*/ 50815 w 339014"/>
                  <a:gd name="connsiteY11" fmla="*/ 15783 h 22843"/>
                  <a:gd name="connsiteX12" fmla="*/ 34126 w 339014"/>
                  <a:gd name="connsiteY12" fmla="*/ 15783 h 22843"/>
                  <a:gd name="connsiteX13" fmla="*/ 0 w 339014"/>
                  <a:gd name="connsiteY13" fmla="*/ 15783 h 22843"/>
                  <a:gd name="connsiteX14" fmla="*/ 8719 w 339014"/>
                  <a:gd name="connsiteY14" fmla="*/ 7064 h 22843"/>
                  <a:gd name="connsiteX15" fmla="*/ 25407 w 339014"/>
                  <a:gd name="connsiteY15" fmla="*/ 7064 h 22843"/>
                  <a:gd name="connsiteX16" fmla="*/ 59533 w 339014"/>
                  <a:gd name="connsiteY16" fmla="*/ 7064 h 22843"/>
                  <a:gd name="connsiteX17" fmla="*/ 76222 w 339014"/>
                  <a:gd name="connsiteY17" fmla="*/ 7064 h 22843"/>
                  <a:gd name="connsiteX18" fmla="*/ 110348 w 339014"/>
                  <a:gd name="connsiteY18" fmla="*/ 7064 h 22843"/>
                  <a:gd name="connsiteX19" fmla="*/ 127037 w 339014"/>
                  <a:gd name="connsiteY19" fmla="*/ 7064 h 22843"/>
                  <a:gd name="connsiteX20" fmla="*/ 161163 w 339014"/>
                  <a:gd name="connsiteY20" fmla="*/ 7064 h 22843"/>
                  <a:gd name="connsiteX21" fmla="*/ 177852 w 339014"/>
                  <a:gd name="connsiteY21" fmla="*/ 7064 h 22843"/>
                  <a:gd name="connsiteX22" fmla="*/ 211978 w 339014"/>
                  <a:gd name="connsiteY22" fmla="*/ 7064 h 22843"/>
                  <a:gd name="connsiteX23" fmla="*/ 228666 w 339014"/>
                  <a:gd name="connsiteY23" fmla="*/ 7064 h 22843"/>
                  <a:gd name="connsiteX24" fmla="*/ 262792 w 339014"/>
                  <a:gd name="connsiteY24" fmla="*/ 7064 h 22843"/>
                  <a:gd name="connsiteX25" fmla="*/ 279481 w 339014"/>
                  <a:gd name="connsiteY25" fmla="*/ 7064 h 22843"/>
                  <a:gd name="connsiteX26" fmla="*/ 313607 w 339014"/>
                  <a:gd name="connsiteY26" fmla="*/ 7064 h 22843"/>
                  <a:gd name="connsiteX27" fmla="*/ 330295 w 339014"/>
                  <a:gd name="connsiteY27" fmla="*/ 7064 h 22843"/>
                  <a:gd name="connsiteX28" fmla="*/ 339014 w 339014"/>
                  <a:gd name="connsiteY28" fmla="*/ 15783 h 22843"/>
                  <a:gd name="connsiteX29" fmla="*/ 321957 w 339014"/>
                  <a:gd name="connsiteY29" fmla="*/ 22844 h 22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39014" h="22843">
                    <a:moveTo>
                      <a:pt x="321957" y="22844"/>
                    </a:moveTo>
                    <a:cubicBezTo>
                      <a:pt x="315768" y="22844"/>
                      <a:pt x="309592" y="20486"/>
                      <a:pt x="304888" y="15783"/>
                    </a:cubicBezTo>
                    <a:cubicBezTo>
                      <a:pt x="300430" y="11325"/>
                      <a:pt x="292657" y="11338"/>
                      <a:pt x="288200" y="15783"/>
                    </a:cubicBezTo>
                    <a:cubicBezTo>
                      <a:pt x="278793" y="25165"/>
                      <a:pt x="263480" y="25189"/>
                      <a:pt x="254073" y="15783"/>
                    </a:cubicBezTo>
                    <a:cubicBezTo>
                      <a:pt x="249616" y="11325"/>
                      <a:pt x="241842" y="11338"/>
                      <a:pt x="237385" y="15783"/>
                    </a:cubicBezTo>
                    <a:cubicBezTo>
                      <a:pt x="227966" y="25177"/>
                      <a:pt x="212677" y="25177"/>
                      <a:pt x="203259" y="15783"/>
                    </a:cubicBezTo>
                    <a:cubicBezTo>
                      <a:pt x="198654" y="11178"/>
                      <a:pt x="191163" y="11178"/>
                      <a:pt x="186570" y="15783"/>
                    </a:cubicBezTo>
                    <a:cubicBezTo>
                      <a:pt x="177151" y="25177"/>
                      <a:pt x="161863" y="25177"/>
                      <a:pt x="152444" y="15783"/>
                    </a:cubicBezTo>
                    <a:cubicBezTo>
                      <a:pt x="147839" y="11178"/>
                      <a:pt x="140348" y="11178"/>
                      <a:pt x="135756" y="15783"/>
                    </a:cubicBezTo>
                    <a:cubicBezTo>
                      <a:pt x="126337" y="25177"/>
                      <a:pt x="111048" y="25177"/>
                      <a:pt x="101629" y="15783"/>
                    </a:cubicBezTo>
                    <a:cubicBezTo>
                      <a:pt x="97172" y="11325"/>
                      <a:pt x="89399" y="11325"/>
                      <a:pt x="84941" y="15783"/>
                    </a:cubicBezTo>
                    <a:cubicBezTo>
                      <a:pt x="75522" y="25177"/>
                      <a:pt x="60234" y="25177"/>
                      <a:pt x="50815" y="15783"/>
                    </a:cubicBezTo>
                    <a:cubicBezTo>
                      <a:pt x="46210" y="11178"/>
                      <a:pt x="38719" y="11178"/>
                      <a:pt x="34126" y="15783"/>
                    </a:cubicBezTo>
                    <a:cubicBezTo>
                      <a:pt x="24708" y="25177"/>
                      <a:pt x="9419" y="25177"/>
                      <a:pt x="0" y="15783"/>
                    </a:cubicBezTo>
                    <a:lnTo>
                      <a:pt x="8719" y="7064"/>
                    </a:lnTo>
                    <a:cubicBezTo>
                      <a:pt x="13324" y="11645"/>
                      <a:pt x="20815" y="11645"/>
                      <a:pt x="25407" y="7064"/>
                    </a:cubicBezTo>
                    <a:cubicBezTo>
                      <a:pt x="34826" y="-2355"/>
                      <a:pt x="50115" y="-2355"/>
                      <a:pt x="59533" y="7064"/>
                    </a:cubicBezTo>
                    <a:cubicBezTo>
                      <a:pt x="64138" y="11669"/>
                      <a:pt x="71629" y="11669"/>
                      <a:pt x="76222" y="7064"/>
                    </a:cubicBezTo>
                    <a:cubicBezTo>
                      <a:pt x="85641" y="-2355"/>
                      <a:pt x="100929" y="-2355"/>
                      <a:pt x="110348" y="7064"/>
                    </a:cubicBezTo>
                    <a:cubicBezTo>
                      <a:pt x="114953" y="11669"/>
                      <a:pt x="122444" y="11669"/>
                      <a:pt x="127037" y="7064"/>
                    </a:cubicBezTo>
                    <a:cubicBezTo>
                      <a:pt x="136456" y="-2355"/>
                      <a:pt x="151744" y="-2355"/>
                      <a:pt x="161163" y="7064"/>
                    </a:cubicBezTo>
                    <a:cubicBezTo>
                      <a:pt x="165768" y="11669"/>
                      <a:pt x="173259" y="11669"/>
                      <a:pt x="177852" y="7064"/>
                    </a:cubicBezTo>
                    <a:cubicBezTo>
                      <a:pt x="187270" y="-2355"/>
                      <a:pt x="202559" y="-2355"/>
                      <a:pt x="211978" y="7064"/>
                    </a:cubicBezTo>
                    <a:cubicBezTo>
                      <a:pt x="216583" y="11669"/>
                      <a:pt x="224073" y="11669"/>
                      <a:pt x="228666" y="7064"/>
                    </a:cubicBezTo>
                    <a:cubicBezTo>
                      <a:pt x="237753" y="-2048"/>
                      <a:pt x="253656" y="-2060"/>
                      <a:pt x="262792" y="7064"/>
                    </a:cubicBezTo>
                    <a:cubicBezTo>
                      <a:pt x="267397" y="11669"/>
                      <a:pt x="274888" y="11669"/>
                      <a:pt x="279481" y="7064"/>
                    </a:cubicBezTo>
                    <a:cubicBezTo>
                      <a:pt x="288568" y="-2048"/>
                      <a:pt x="304483" y="-2060"/>
                      <a:pt x="313607" y="7064"/>
                    </a:cubicBezTo>
                    <a:cubicBezTo>
                      <a:pt x="318212" y="11669"/>
                      <a:pt x="325703" y="11669"/>
                      <a:pt x="330295" y="7064"/>
                    </a:cubicBezTo>
                    <a:lnTo>
                      <a:pt x="339014" y="15783"/>
                    </a:lnTo>
                    <a:cubicBezTo>
                      <a:pt x="334311" y="20498"/>
                      <a:pt x="328134" y="22844"/>
                      <a:pt x="321957" y="22844"/>
                    </a:cubicBezTo>
                    <a:close/>
                  </a:path>
                </a:pathLst>
              </a:custGeom>
              <a:solidFill>
                <a:schemeClr val="tx2"/>
              </a:solidFill>
              <a:ln w="1228" cap="flat">
                <a:noFill/>
                <a:prstDash val="solid"/>
                <a:miter/>
              </a:ln>
            </p:spPr>
            <p:txBody>
              <a:bodyPr rtlCol="0" anchor="ctr"/>
              <a:lstStyle/>
              <a:p>
                <a:endParaRPr lang="en-GB" dirty="0"/>
              </a:p>
            </p:txBody>
          </p:sp>
          <p:sp>
            <p:nvSpPr>
              <p:cNvPr id="252" name="Freihandform: Form 240">
                <a:extLst>
                  <a:ext uri="{FF2B5EF4-FFF2-40B4-BE49-F238E27FC236}">
                    <a16:creationId xmlns:a16="http://schemas.microsoft.com/office/drawing/2014/main" id="{696DF793-0126-45C2-8039-BEAD720D050C}"/>
                  </a:ext>
                </a:extLst>
              </p:cNvPr>
              <p:cNvSpPr/>
              <p:nvPr/>
            </p:nvSpPr>
            <p:spPr>
              <a:xfrm>
                <a:off x="3214113" y="3575590"/>
                <a:ext cx="12329" cy="209705"/>
              </a:xfrm>
              <a:custGeom>
                <a:avLst/>
                <a:gdLst>
                  <a:gd name="connsiteX0" fmla="*/ 0 w 12329"/>
                  <a:gd name="connsiteY0" fmla="*/ 0 h 209705"/>
                  <a:gd name="connsiteX1" fmla="*/ 12329 w 12329"/>
                  <a:gd name="connsiteY1" fmla="*/ 0 h 209705"/>
                  <a:gd name="connsiteX2" fmla="*/ 12329 w 12329"/>
                  <a:gd name="connsiteY2" fmla="*/ 209706 h 209705"/>
                  <a:gd name="connsiteX3" fmla="*/ 0 w 12329"/>
                  <a:gd name="connsiteY3" fmla="*/ 209706 h 209705"/>
                </a:gdLst>
                <a:ahLst/>
                <a:cxnLst>
                  <a:cxn ang="0">
                    <a:pos x="connsiteX0" y="connsiteY0"/>
                  </a:cxn>
                  <a:cxn ang="0">
                    <a:pos x="connsiteX1" y="connsiteY1"/>
                  </a:cxn>
                  <a:cxn ang="0">
                    <a:pos x="connsiteX2" y="connsiteY2"/>
                  </a:cxn>
                  <a:cxn ang="0">
                    <a:pos x="connsiteX3" y="connsiteY3"/>
                  </a:cxn>
                </a:cxnLst>
                <a:rect l="l" t="t" r="r" b="b"/>
                <a:pathLst>
                  <a:path w="12329" h="209705">
                    <a:moveTo>
                      <a:pt x="0" y="0"/>
                    </a:moveTo>
                    <a:lnTo>
                      <a:pt x="12329" y="0"/>
                    </a:lnTo>
                    <a:lnTo>
                      <a:pt x="12329" y="209706"/>
                    </a:lnTo>
                    <a:lnTo>
                      <a:pt x="0" y="209706"/>
                    </a:lnTo>
                    <a:close/>
                  </a:path>
                </a:pathLst>
              </a:custGeom>
              <a:solidFill>
                <a:schemeClr val="tx2"/>
              </a:solidFill>
              <a:ln w="1228" cap="flat">
                <a:noFill/>
                <a:prstDash val="solid"/>
                <a:miter/>
              </a:ln>
            </p:spPr>
            <p:txBody>
              <a:bodyPr rtlCol="0" anchor="ctr"/>
              <a:lstStyle/>
              <a:p>
                <a:endParaRPr lang="en-GB" dirty="0"/>
              </a:p>
            </p:txBody>
          </p:sp>
          <p:sp>
            <p:nvSpPr>
              <p:cNvPr id="253" name="Freihandform: Form 241">
                <a:extLst>
                  <a:ext uri="{FF2B5EF4-FFF2-40B4-BE49-F238E27FC236}">
                    <a16:creationId xmlns:a16="http://schemas.microsoft.com/office/drawing/2014/main" id="{648449BA-CB97-4106-8B0B-4276ECD3B889}"/>
                  </a:ext>
                </a:extLst>
              </p:cNvPr>
              <p:cNvSpPr/>
              <p:nvPr/>
            </p:nvSpPr>
            <p:spPr>
              <a:xfrm>
                <a:off x="3110114" y="3533494"/>
                <a:ext cx="220327" cy="65956"/>
              </a:xfrm>
              <a:custGeom>
                <a:avLst/>
                <a:gdLst>
                  <a:gd name="connsiteX0" fmla="*/ 12329 w 220327"/>
                  <a:gd name="connsiteY0" fmla="*/ 65956 h 65956"/>
                  <a:gd name="connsiteX1" fmla="*/ 0 w 220327"/>
                  <a:gd name="connsiteY1" fmla="*/ 65956 h 65956"/>
                  <a:gd name="connsiteX2" fmla="*/ 0 w 220327"/>
                  <a:gd name="connsiteY2" fmla="*/ 0 h 65956"/>
                  <a:gd name="connsiteX3" fmla="*/ 220328 w 220327"/>
                  <a:gd name="connsiteY3" fmla="*/ 0 h 65956"/>
                  <a:gd name="connsiteX4" fmla="*/ 220328 w 220327"/>
                  <a:gd name="connsiteY4" fmla="*/ 24130 h 65956"/>
                  <a:gd name="connsiteX5" fmla="*/ 207999 w 220327"/>
                  <a:gd name="connsiteY5" fmla="*/ 24130 h 65956"/>
                  <a:gd name="connsiteX6" fmla="*/ 207999 w 220327"/>
                  <a:gd name="connsiteY6" fmla="*/ 12329 h 65956"/>
                  <a:gd name="connsiteX7" fmla="*/ 12329 w 220327"/>
                  <a:gd name="connsiteY7" fmla="*/ 12329 h 65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327" h="65956">
                    <a:moveTo>
                      <a:pt x="12329" y="65956"/>
                    </a:moveTo>
                    <a:lnTo>
                      <a:pt x="0" y="65956"/>
                    </a:lnTo>
                    <a:lnTo>
                      <a:pt x="0" y="0"/>
                    </a:lnTo>
                    <a:lnTo>
                      <a:pt x="220328" y="0"/>
                    </a:lnTo>
                    <a:lnTo>
                      <a:pt x="220328" y="24130"/>
                    </a:lnTo>
                    <a:lnTo>
                      <a:pt x="207999" y="24130"/>
                    </a:lnTo>
                    <a:lnTo>
                      <a:pt x="207999" y="12329"/>
                    </a:lnTo>
                    <a:lnTo>
                      <a:pt x="12329" y="12329"/>
                    </a:lnTo>
                    <a:close/>
                  </a:path>
                </a:pathLst>
              </a:custGeom>
              <a:solidFill>
                <a:schemeClr val="tx2"/>
              </a:solidFill>
              <a:ln w="1228" cap="flat">
                <a:noFill/>
                <a:prstDash val="solid"/>
                <a:miter/>
              </a:ln>
            </p:spPr>
            <p:txBody>
              <a:bodyPr rtlCol="0" anchor="ctr"/>
              <a:lstStyle/>
              <a:p>
                <a:endParaRPr lang="en-GB" dirty="0"/>
              </a:p>
            </p:txBody>
          </p:sp>
          <p:sp>
            <p:nvSpPr>
              <p:cNvPr id="254" name="Freihandform: Form 242">
                <a:extLst>
                  <a:ext uri="{FF2B5EF4-FFF2-40B4-BE49-F238E27FC236}">
                    <a16:creationId xmlns:a16="http://schemas.microsoft.com/office/drawing/2014/main" id="{8DD845F8-4E95-4A39-8BD0-BAFDA234C744}"/>
                  </a:ext>
                </a:extLst>
              </p:cNvPr>
              <p:cNvSpPr/>
              <p:nvPr/>
            </p:nvSpPr>
            <p:spPr>
              <a:xfrm>
                <a:off x="3140286" y="3497551"/>
                <a:ext cx="159959" cy="44183"/>
              </a:xfrm>
              <a:custGeom>
                <a:avLst/>
                <a:gdLst>
                  <a:gd name="connsiteX0" fmla="*/ 12329 w 159959"/>
                  <a:gd name="connsiteY0" fmla="*/ 44183 h 44183"/>
                  <a:gd name="connsiteX1" fmla="*/ 0 w 159959"/>
                  <a:gd name="connsiteY1" fmla="*/ 44183 h 44183"/>
                  <a:gd name="connsiteX2" fmla="*/ 0 w 159959"/>
                  <a:gd name="connsiteY2" fmla="*/ 0 h 44183"/>
                  <a:gd name="connsiteX3" fmla="*/ 159959 w 159959"/>
                  <a:gd name="connsiteY3" fmla="*/ 0 h 44183"/>
                  <a:gd name="connsiteX4" fmla="*/ 159959 w 159959"/>
                  <a:gd name="connsiteY4" fmla="*/ 42108 h 44183"/>
                  <a:gd name="connsiteX5" fmla="*/ 147630 w 159959"/>
                  <a:gd name="connsiteY5" fmla="*/ 42108 h 44183"/>
                  <a:gd name="connsiteX6" fmla="*/ 147630 w 159959"/>
                  <a:gd name="connsiteY6" fmla="*/ 12341 h 44183"/>
                  <a:gd name="connsiteX7" fmla="*/ 12329 w 159959"/>
                  <a:gd name="connsiteY7" fmla="*/ 12341 h 44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959" h="44183">
                    <a:moveTo>
                      <a:pt x="12329" y="44183"/>
                    </a:moveTo>
                    <a:lnTo>
                      <a:pt x="0" y="44183"/>
                    </a:lnTo>
                    <a:lnTo>
                      <a:pt x="0" y="0"/>
                    </a:lnTo>
                    <a:lnTo>
                      <a:pt x="159959" y="0"/>
                    </a:lnTo>
                    <a:lnTo>
                      <a:pt x="159959" y="42108"/>
                    </a:lnTo>
                    <a:lnTo>
                      <a:pt x="147630" y="42108"/>
                    </a:lnTo>
                    <a:lnTo>
                      <a:pt x="147630" y="12341"/>
                    </a:lnTo>
                    <a:lnTo>
                      <a:pt x="12329" y="12341"/>
                    </a:lnTo>
                    <a:close/>
                  </a:path>
                </a:pathLst>
              </a:custGeom>
              <a:solidFill>
                <a:schemeClr val="tx2"/>
              </a:solidFill>
              <a:ln w="1228" cap="flat">
                <a:noFill/>
                <a:prstDash val="solid"/>
                <a:miter/>
              </a:ln>
            </p:spPr>
            <p:txBody>
              <a:bodyPr rtlCol="0" anchor="ctr"/>
              <a:lstStyle/>
              <a:p>
                <a:endParaRPr lang="en-GB" dirty="0"/>
              </a:p>
            </p:txBody>
          </p:sp>
          <p:sp>
            <p:nvSpPr>
              <p:cNvPr id="255" name="Freihandform: Form 243">
                <a:extLst>
                  <a:ext uri="{FF2B5EF4-FFF2-40B4-BE49-F238E27FC236}">
                    <a16:creationId xmlns:a16="http://schemas.microsoft.com/office/drawing/2014/main" id="{1A247E71-FD70-4278-BFFC-6E634AB486BE}"/>
                  </a:ext>
                </a:extLst>
              </p:cNvPr>
              <p:cNvSpPr/>
              <p:nvPr/>
            </p:nvSpPr>
            <p:spPr>
              <a:xfrm>
                <a:off x="3186569" y="3417884"/>
                <a:ext cx="67454" cy="92007"/>
              </a:xfrm>
              <a:custGeom>
                <a:avLst/>
                <a:gdLst>
                  <a:gd name="connsiteX0" fmla="*/ 67454 w 67454"/>
                  <a:gd name="connsiteY0" fmla="*/ 92008 h 92007"/>
                  <a:gd name="connsiteX1" fmla="*/ 0 w 67454"/>
                  <a:gd name="connsiteY1" fmla="*/ 92008 h 92007"/>
                  <a:gd name="connsiteX2" fmla="*/ 9873 w 67454"/>
                  <a:gd name="connsiteY2" fmla="*/ 10739 h 92007"/>
                  <a:gd name="connsiteX3" fmla="*/ 11384 w 67454"/>
                  <a:gd name="connsiteY3" fmla="*/ 9228 h 92007"/>
                  <a:gd name="connsiteX4" fmla="*/ 56034 w 67454"/>
                  <a:gd name="connsiteY4" fmla="*/ 9228 h 92007"/>
                  <a:gd name="connsiteX5" fmla="*/ 57544 w 67454"/>
                  <a:gd name="connsiteY5" fmla="*/ 10739 h 92007"/>
                  <a:gd name="connsiteX6" fmla="*/ 67454 w 67454"/>
                  <a:gd name="connsiteY6" fmla="*/ 92008 h 92007"/>
                  <a:gd name="connsiteX7" fmla="*/ 13925 w 67454"/>
                  <a:gd name="connsiteY7" fmla="*/ 79667 h 92007"/>
                  <a:gd name="connsiteX8" fmla="*/ 53528 w 67454"/>
                  <a:gd name="connsiteY8" fmla="*/ 79667 h 92007"/>
                  <a:gd name="connsiteX9" fmla="*/ 45829 w 67454"/>
                  <a:gd name="connsiteY9" fmla="*/ 16609 h 92007"/>
                  <a:gd name="connsiteX10" fmla="*/ 21576 w 67454"/>
                  <a:gd name="connsiteY10" fmla="*/ 16609 h 92007"/>
                  <a:gd name="connsiteX11" fmla="*/ 13925 w 67454"/>
                  <a:gd name="connsiteY11" fmla="*/ 79667 h 92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454" h="92007">
                    <a:moveTo>
                      <a:pt x="67454" y="92008"/>
                    </a:moveTo>
                    <a:lnTo>
                      <a:pt x="0" y="92008"/>
                    </a:lnTo>
                    <a:lnTo>
                      <a:pt x="9873" y="10739"/>
                    </a:lnTo>
                    <a:lnTo>
                      <a:pt x="11384" y="9228"/>
                    </a:lnTo>
                    <a:cubicBezTo>
                      <a:pt x="23688" y="-3076"/>
                      <a:pt x="43729" y="-3076"/>
                      <a:pt x="56034" y="9228"/>
                    </a:cubicBezTo>
                    <a:lnTo>
                      <a:pt x="57544" y="10739"/>
                    </a:lnTo>
                    <a:lnTo>
                      <a:pt x="67454" y="92008"/>
                    </a:lnTo>
                    <a:close/>
                    <a:moveTo>
                      <a:pt x="13925" y="79667"/>
                    </a:moveTo>
                    <a:lnTo>
                      <a:pt x="53528" y="79667"/>
                    </a:lnTo>
                    <a:lnTo>
                      <a:pt x="45829" y="16609"/>
                    </a:lnTo>
                    <a:cubicBezTo>
                      <a:pt x="38792" y="10899"/>
                      <a:pt x="28637" y="10874"/>
                      <a:pt x="21576" y="16609"/>
                    </a:cubicBezTo>
                    <a:lnTo>
                      <a:pt x="13925" y="79667"/>
                    </a:lnTo>
                    <a:close/>
                  </a:path>
                </a:pathLst>
              </a:custGeom>
              <a:solidFill>
                <a:schemeClr val="tx2"/>
              </a:solidFill>
              <a:ln w="1228" cap="flat">
                <a:noFill/>
                <a:prstDash val="solid"/>
                <a:miter/>
              </a:ln>
            </p:spPr>
            <p:txBody>
              <a:bodyPr rtlCol="0" anchor="ctr"/>
              <a:lstStyle/>
              <a:p>
                <a:endParaRPr lang="en-GB" dirty="0"/>
              </a:p>
            </p:txBody>
          </p:sp>
          <p:sp>
            <p:nvSpPr>
              <p:cNvPr id="256" name="Freihandform: Form 244">
                <a:extLst>
                  <a:ext uri="{FF2B5EF4-FFF2-40B4-BE49-F238E27FC236}">
                    <a16:creationId xmlns:a16="http://schemas.microsoft.com/office/drawing/2014/main" id="{92B6A0DA-4116-4A80-9E9C-0C57216215C5}"/>
                  </a:ext>
                </a:extLst>
              </p:cNvPr>
              <p:cNvSpPr/>
              <p:nvPr/>
            </p:nvSpPr>
            <p:spPr>
              <a:xfrm>
                <a:off x="3241461" y="3452458"/>
                <a:ext cx="28477" cy="12329"/>
              </a:xfrm>
              <a:custGeom>
                <a:avLst/>
                <a:gdLst>
                  <a:gd name="connsiteX0" fmla="*/ 0 w 28477"/>
                  <a:gd name="connsiteY0" fmla="*/ 0 h 12329"/>
                  <a:gd name="connsiteX1" fmla="*/ 28477 w 28477"/>
                  <a:gd name="connsiteY1" fmla="*/ 0 h 12329"/>
                  <a:gd name="connsiteX2" fmla="*/ 28477 w 28477"/>
                  <a:gd name="connsiteY2" fmla="*/ 12329 h 12329"/>
                  <a:gd name="connsiteX3" fmla="*/ 0 w 28477"/>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8477" h="12329">
                    <a:moveTo>
                      <a:pt x="0" y="0"/>
                    </a:moveTo>
                    <a:lnTo>
                      <a:pt x="28477" y="0"/>
                    </a:lnTo>
                    <a:lnTo>
                      <a:pt x="28477"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57" name="Freihandform: Form 245">
                <a:extLst>
                  <a:ext uri="{FF2B5EF4-FFF2-40B4-BE49-F238E27FC236}">
                    <a16:creationId xmlns:a16="http://schemas.microsoft.com/office/drawing/2014/main" id="{2D0029CC-E25C-4140-9720-5434FD42F9C9}"/>
                  </a:ext>
                </a:extLst>
              </p:cNvPr>
              <p:cNvSpPr/>
              <p:nvPr/>
            </p:nvSpPr>
            <p:spPr>
              <a:xfrm>
                <a:off x="3170568" y="3452458"/>
                <a:ext cx="28477" cy="12329"/>
              </a:xfrm>
              <a:custGeom>
                <a:avLst/>
                <a:gdLst>
                  <a:gd name="connsiteX0" fmla="*/ 0 w 28477"/>
                  <a:gd name="connsiteY0" fmla="*/ 0 h 12329"/>
                  <a:gd name="connsiteX1" fmla="*/ 28477 w 28477"/>
                  <a:gd name="connsiteY1" fmla="*/ 0 h 12329"/>
                  <a:gd name="connsiteX2" fmla="*/ 28477 w 28477"/>
                  <a:gd name="connsiteY2" fmla="*/ 12329 h 12329"/>
                  <a:gd name="connsiteX3" fmla="*/ 0 w 28477"/>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8477" h="12329">
                    <a:moveTo>
                      <a:pt x="0" y="0"/>
                    </a:moveTo>
                    <a:lnTo>
                      <a:pt x="28477" y="0"/>
                    </a:lnTo>
                    <a:lnTo>
                      <a:pt x="28477"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58" name="Freihandform: Form 246">
                <a:extLst>
                  <a:ext uri="{FF2B5EF4-FFF2-40B4-BE49-F238E27FC236}">
                    <a16:creationId xmlns:a16="http://schemas.microsoft.com/office/drawing/2014/main" id="{DCC9BF2C-B9D2-42A5-93CE-93AD04928ECB}"/>
                  </a:ext>
                </a:extLst>
              </p:cNvPr>
              <p:cNvSpPr/>
              <p:nvPr/>
            </p:nvSpPr>
            <p:spPr>
              <a:xfrm rot="20477380">
                <a:off x="3079075" y="3587082"/>
                <a:ext cx="12329" cy="185167"/>
              </a:xfrm>
              <a:custGeom>
                <a:avLst/>
                <a:gdLst>
                  <a:gd name="connsiteX0" fmla="*/ 0 w 12329"/>
                  <a:gd name="connsiteY0" fmla="*/ 0 h 185167"/>
                  <a:gd name="connsiteX1" fmla="*/ 12330 w 12329"/>
                  <a:gd name="connsiteY1" fmla="*/ 0 h 185167"/>
                  <a:gd name="connsiteX2" fmla="*/ 12330 w 12329"/>
                  <a:gd name="connsiteY2" fmla="*/ 185167 h 185167"/>
                  <a:gd name="connsiteX3" fmla="*/ 0 w 12329"/>
                  <a:gd name="connsiteY3" fmla="*/ 185167 h 185167"/>
                </a:gdLst>
                <a:ahLst/>
                <a:cxnLst>
                  <a:cxn ang="0">
                    <a:pos x="connsiteX0" y="connsiteY0"/>
                  </a:cxn>
                  <a:cxn ang="0">
                    <a:pos x="connsiteX1" y="connsiteY1"/>
                  </a:cxn>
                  <a:cxn ang="0">
                    <a:pos x="connsiteX2" y="connsiteY2"/>
                  </a:cxn>
                  <a:cxn ang="0">
                    <a:pos x="connsiteX3" y="connsiteY3"/>
                  </a:cxn>
                </a:cxnLst>
                <a:rect l="l" t="t" r="r" b="b"/>
                <a:pathLst>
                  <a:path w="12329" h="185167">
                    <a:moveTo>
                      <a:pt x="0" y="0"/>
                    </a:moveTo>
                    <a:lnTo>
                      <a:pt x="12330" y="0"/>
                    </a:lnTo>
                    <a:lnTo>
                      <a:pt x="12330" y="185167"/>
                    </a:lnTo>
                    <a:lnTo>
                      <a:pt x="0" y="185167"/>
                    </a:lnTo>
                    <a:close/>
                  </a:path>
                </a:pathLst>
              </a:custGeom>
              <a:solidFill>
                <a:schemeClr val="tx2"/>
              </a:solidFill>
              <a:ln w="1228" cap="flat">
                <a:noFill/>
                <a:prstDash val="solid"/>
                <a:miter/>
              </a:ln>
            </p:spPr>
            <p:txBody>
              <a:bodyPr rtlCol="0" anchor="ctr"/>
              <a:lstStyle/>
              <a:p>
                <a:endParaRPr lang="en-GB" dirty="0"/>
              </a:p>
            </p:txBody>
          </p:sp>
        </p:grpSp>
      </p:grpSp>
      <p:grpSp>
        <p:nvGrpSpPr>
          <p:cNvPr id="261" name="Gruppieren 428">
            <a:extLst>
              <a:ext uri="{FF2B5EF4-FFF2-40B4-BE49-F238E27FC236}">
                <a16:creationId xmlns:a16="http://schemas.microsoft.com/office/drawing/2014/main" id="{6035BBF3-DECA-48F1-86A5-3C0958776E71}"/>
              </a:ext>
            </a:extLst>
          </p:cNvPr>
          <p:cNvGrpSpPr>
            <a:grpSpLocks noChangeAspect="1"/>
          </p:cNvGrpSpPr>
          <p:nvPr/>
        </p:nvGrpSpPr>
        <p:grpSpPr>
          <a:xfrm>
            <a:off x="2081518" y="3273397"/>
            <a:ext cx="558956" cy="432000"/>
            <a:chOff x="2133819" y="3434161"/>
            <a:chExt cx="486788" cy="376223"/>
          </a:xfrm>
        </p:grpSpPr>
        <p:grpSp>
          <p:nvGrpSpPr>
            <p:cNvPr id="262" name="Gruppieren 427">
              <a:extLst>
                <a:ext uri="{FF2B5EF4-FFF2-40B4-BE49-F238E27FC236}">
                  <a16:creationId xmlns:a16="http://schemas.microsoft.com/office/drawing/2014/main" id="{D4AAA174-9CF2-4C22-9859-46D205517C2D}"/>
                </a:ext>
              </a:extLst>
            </p:cNvPr>
            <p:cNvGrpSpPr/>
            <p:nvPr/>
          </p:nvGrpSpPr>
          <p:grpSpPr>
            <a:xfrm>
              <a:off x="2373509" y="3763523"/>
              <a:ext cx="247098" cy="46861"/>
              <a:chOff x="2373509" y="3763523"/>
              <a:chExt cx="247098" cy="46861"/>
            </a:xfrm>
          </p:grpSpPr>
          <p:sp>
            <p:nvSpPr>
              <p:cNvPr id="272" name="Freihandform: Form 248">
                <a:extLst>
                  <a:ext uri="{FF2B5EF4-FFF2-40B4-BE49-F238E27FC236}">
                    <a16:creationId xmlns:a16="http://schemas.microsoft.com/office/drawing/2014/main" id="{F3DB91DE-B130-4189-9455-97B254DBA64C}"/>
                  </a:ext>
                </a:extLst>
              </p:cNvPr>
              <p:cNvSpPr/>
              <p:nvPr/>
            </p:nvSpPr>
            <p:spPr>
              <a:xfrm>
                <a:off x="2390775" y="3763523"/>
                <a:ext cx="212566" cy="46860"/>
              </a:xfrm>
              <a:custGeom>
                <a:avLst/>
                <a:gdLst>
                  <a:gd name="connsiteX0" fmla="*/ 212567 w 212566"/>
                  <a:gd name="connsiteY0" fmla="*/ 46861 h 46860"/>
                  <a:gd name="connsiteX1" fmla="*/ 0 w 212566"/>
                  <a:gd name="connsiteY1" fmla="*/ 46861 h 46860"/>
                  <a:gd name="connsiteX2" fmla="*/ 0 w 212566"/>
                  <a:gd name="connsiteY2" fmla="*/ 0 h 46860"/>
                  <a:gd name="connsiteX3" fmla="*/ 212567 w 212566"/>
                  <a:gd name="connsiteY3" fmla="*/ 0 h 46860"/>
                  <a:gd name="connsiteX4" fmla="*/ 212567 w 212566"/>
                  <a:gd name="connsiteY4" fmla="*/ 46861 h 46860"/>
                  <a:gd name="connsiteX5" fmla="*/ 12341 w 212566"/>
                  <a:gd name="connsiteY5" fmla="*/ 34531 h 46860"/>
                  <a:gd name="connsiteX6" fmla="*/ 200238 w 212566"/>
                  <a:gd name="connsiteY6" fmla="*/ 34531 h 46860"/>
                  <a:gd name="connsiteX7" fmla="*/ 200238 w 212566"/>
                  <a:gd name="connsiteY7" fmla="*/ 12341 h 46860"/>
                  <a:gd name="connsiteX8" fmla="*/ 12341 w 212566"/>
                  <a:gd name="connsiteY8" fmla="*/ 12341 h 46860"/>
                  <a:gd name="connsiteX9" fmla="*/ 12341 w 212566"/>
                  <a:gd name="connsiteY9" fmla="*/ 34531 h 46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2566" h="46860">
                    <a:moveTo>
                      <a:pt x="212567" y="46861"/>
                    </a:moveTo>
                    <a:lnTo>
                      <a:pt x="0" y="46861"/>
                    </a:lnTo>
                    <a:lnTo>
                      <a:pt x="0" y="0"/>
                    </a:lnTo>
                    <a:lnTo>
                      <a:pt x="212567" y="0"/>
                    </a:lnTo>
                    <a:lnTo>
                      <a:pt x="212567" y="46861"/>
                    </a:lnTo>
                    <a:close/>
                    <a:moveTo>
                      <a:pt x="12341" y="34531"/>
                    </a:moveTo>
                    <a:lnTo>
                      <a:pt x="200238" y="34531"/>
                    </a:lnTo>
                    <a:lnTo>
                      <a:pt x="200238" y="12341"/>
                    </a:lnTo>
                    <a:lnTo>
                      <a:pt x="12341" y="12341"/>
                    </a:lnTo>
                    <a:lnTo>
                      <a:pt x="12341" y="34531"/>
                    </a:lnTo>
                    <a:close/>
                  </a:path>
                </a:pathLst>
              </a:custGeom>
              <a:solidFill>
                <a:schemeClr val="accent1"/>
              </a:solidFill>
              <a:ln w="1228" cap="flat">
                <a:noFill/>
                <a:prstDash val="solid"/>
                <a:miter/>
              </a:ln>
            </p:spPr>
            <p:txBody>
              <a:bodyPr rtlCol="0" anchor="ctr"/>
              <a:lstStyle/>
              <a:p>
                <a:endParaRPr lang="en-GB" dirty="0"/>
              </a:p>
            </p:txBody>
          </p:sp>
          <p:sp>
            <p:nvSpPr>
              <p:cNvPr id="273" name="Freihandform: Form 249">
                <a:extLst>
                  <a:ext uri="{FF2B5EF4-FFF2-40B4-BE49-F238E27FC236}">
                    <a16:creationId xmlns:a16="http://schemas.microsoft.com/office/drawing/2014/main" id="{24073EDF-1CA4-4F3A-B6E2-42C410F89CC7}"/>
                  </a:ext>
                </a:extLst>
              </p:cNvPr>
              <p:cNvSpPr/>
              <p:nvPr/>
            </p:nvSpPr>
            <p:spPr>
              <a:xfrm>
                <a:off x="2373509" y="3798055"/>
                <a:ext cx="247098" cy="12329"/>
              </a:xfrm>
              <a:custGeom>
                <a:avLst/>
                <a:gdLst>
                  <a:gd name="connsiteX0" fmla="*/ 0 w 247098"/>
                  <a:gd name="connsiteY0" fmla="*/ 0 h 12329"/>
                  <a:gd name="connsiteX1" fmla="*/ 247098 w 247098"/>
                  <a:gd name="connsiteY1" fmla="*/ 0 h 12329"/>
                  <a:gd name="connsiteX2" fmla="*/ 247098 w 247098"/>
                  <a:gd name="connsiteY2" fmla="*/ 12329 h 12329"/>
                  <a:gd name="connsiteX3" fmla="*/ 0 w 247098"/>
                  <a:gd name="connsiteY3" fmla="*/ 12329 h 12329"/>
                </a:gdLst>
                <a:ahLst/>
                <a:cxnLst>
                  <a:cxn ang="0">
                    <a:pos x="connsiteX0" y="connsiteY0"/>
                  </a:cxn>
                  <a:cxn ang="0">
                    <a:pos x="connsiteX1" y="connsiteY1"/>
                  </a:cxn>
                  <a:cxn ang="0">
                    <a:pos x="connsiteX2" y="connsiteY2"/>
                  </a:cxn>
                  <a:cxn ang="0">
                    <a:pos x="connsiteX3" y="connsiteY3"/>
                  </a:cxn>
                </a:cxnLst>
                <a:rect l="l" t="t" r="r" b="b"/>
                <a:pathLst>
                  <a:path w="247098" h="12329">
                    <a:moveTo>
                      <a:pt x="0" y="0"/>
                    </a:moveTo>
                    <a:lnTo>
                      <a:pt x="247098" y="0"/>
                    </a:lnTo>
                    <a:lnTo>
                      <a:pt x="247098" y="12329"/>
                    </a:lnTo>
                    <a:lnTo>
                      <a:pt x="0" y="12329"/>
                    </a:lnTo>
                    <a:close/>
                  </a:path>
                </a:pathLst>
              </a:custGeom>
              <a:solidFill>
                <a:schemeClr val="accent1"/>
              </a:solidFill>
              <a:ln w="1228" cap="flat">
                <a:noFill/>
                <a:prstDash val="solid"/>
                <a:miter/>
              </a:ln>
            </p:spPr>
            <p:txBody>
              <a:bodyPr rtlCol="0" anchor="ctr"/>
              <a:lstStyle/>
              <a:p>
                <a:endParaRPr lang="en-GB" dirty="0"/>
              </a:p>
            </p:txBody>
          </p:sp>
        </p:grpSp>
        <p:grpSp>
          <p:nvGrpSpPr>
            <p:cNvPr id="263" name="Grafik 11">
              <a:extLst>
                <a:ext uri="{FF2B5EF4-FFF2-40B4-BE49-F238E27FC236}">
                  <a16:creationId xmlns:a16="http://schemas.microsoft.com/office/drawing/2014/main" id="{2F7CA45A-8F55-4091-BF63-50A2B3385C18}"/>
                </a:ext>
              </a:extLst>
            </p:cNvPr>
            <p:cNvGrpSpPr/>
            <p:nvPr/>
          </p:nvGrpSpPr>
          <p:grpSpPr>
            <a:xfrm>
              <a:off x="2133819" y="3434161"/>
              <a:ext cx="438823" cy="330786"/>
              <a:chOff x="2133819" y="3434161"/>
              <a:chExt cx="438823" cy="330786"/>
            </a:xfrm>
            <a:solidFill>
              <a:srgbClr val="4D4E53"/>
            </a:solidFill>
          </p:grpSpPr>
          <p:grpSp>
            <p:nvGrpSpPr>
              <p:cNvPr id="264" name="Grafik 11">
                <a:extLst>
                  <a:ext uri="{FF2B5EF4-FFF2-40B4-BE49-F238E27FC236}">
                    <a16:creationId xmlns:a16="http://schemas.microsoft.com/office/drawing/2014/main" id="{F4811F29-9BA5-49DC-AB84-971F1998B89B}"/>
                  </a:ext>
                </a:extLst>
              </p:cNvPr>
              <p:cNvGrpSpPr/>
              <p:nvPr/>
            </p:nvGrpSpPr>
            <p:grpSpPr>
              <a:xfrm>
                <a:off x="2133819" y="3434161"/>
                <a:ext cx="438823" cy="330786"/>
                <a:chOff x="2133819" y="3434161"/>
                <a:chExt cx="438823" cy="330786"/>
              </a:xfrm>
              <a:solidFill>
                <a:srgbClr val="4D4E53"/>
              </a:solidFill>
            </p:grpSpPr>
            <p:sp>
              <p:nvSpPr>
                <p:cNvPr id="266" name="Freihandform: Form 252">
                  <a:extLst>
                    <a:ext uri="{FF2B5EF4-FFF2-40B4-BE49-F238E27FC236}">
                      <a16:creationId xmlns:a16="http://schemas.microsoft.com/office/drawing/2014/main" id="{D39B455A-BAB2-463C-9C28-B311FD0B766F}"/>
                    </a:ext>
                  </a:extLst>
                </p:cNvPr>
                <p:cNvSpPr/>
                <p:nvPr/>
              </p:nvSpPr>
              <p:spPr>
                <a:xfrm>
                  <a:off x="2358258" y="3471701"/>
                  <a:ext cx="183893" cy="196038"/>
                </a:xfrm>
                <a:custGeom>
                  <a:avLst/>
                  <a:gdLst>
                    <a:gd name="connsiteX0" fmla="*/ 77831 w 183893"/>
                    <a:gd name="connsiteY0" fmla="*/ 196038 h 196038"/>
                    <a:gd name="connsiteX1" fmla="*/ 0 w 183893"/>
                    <a:gd name="connsiteY1" fmla="*/ 61240 h 196038"/>
                    <a:gd name="connsiteX2" fmla="*/ 106075 w 183893"/>
                    <a:gd name="connsiteY2" fmla="*/ 0 h 196038"/>
                    <a:gd name="connsiteX3" fmla="*/ 183893 w 183893"/>
                    <a:gd name="connsiteY3" fmla="*/ 134798 h 196038"/>
                    <a:gd name="connsiteX4" fmla="*/ 77831 w 183893"/>
                    <a:gd name="connsiteY4" fmla="*/ 196038 h 196038"/>
                    <a:gd name="connsiteX5" fmla="*/ 16848 w 183893"/>
                    <a:gd name="connsiteY5" fmla="*/ 65747 h 196038"/>
                    <a:gd name="connsiteX6" fmla="*/ 82337 w 183893"/>
                    <a:gd name="connsiteY6" fmla="*/ 179202 h 196038"/>
                    <a:gd name="connsiteX7" fmla="*/ 167057 w 183893"/>
                    <a:gd name="connsiteY7" fmla="*/ 130303 h 196038"/>
                    <a:gd name="connsiteX8" fmla="*/ 101568 w 183893"/>
                    <a:gd name="connsiteY8" fmla="*/ 16848 h 196038"/>
                    <a:gd name="connsiteX9" fmla="*/ 16848 w 183893"/>
                    <a:gd name="connsiteY9" fmla="*/ 65747 h 196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893" h="196038">
                      <a:moveTo>
                        <a:pt x="77831" y="196038"/>
                      </a:moveTo>
                      <a:lnTo>
                        <a:pt x="0" y="61240"/>
                      </a:lnTo>
                      <a:lnTo>
                        <a:pt x="106075" y="0"/>
                      </a:lnTo>
                      <a:lnTo>
                        <a:pt x="183893" y="134798"/>
                      </a:lnTo>
                      <a:lnTo>
                        <a:pt x="77831" y="196038"/>
                      </a:lnTo>
                      <a:close/>
                      <a:moveTo>
                        <a:pt x="16848" y="65747"/>
                      </a:moveTo>
                      <a:lnTo>
                        <a:pt x="82337" y="179202"/>
                      </a:lnTo>
                      <a:lnTo>
                        <a:pt x="167057" y="130303"/>
                      </a:lnTo>
                      <a:lnTo>
                        <a:pt x="101568" y="16848"/>
                      </a:lnTo>
                      <a:lnTo>
                        <a:pt x="16848" y="65747"/>
                      </a:lnTo>
                      <a:close/>
                    </a:path>
                  </a:pathLst>
                </a:custGeom>
                <a:solidFill>
                  <a:schemeClr val="tx2"/>
                </a:solidFill>
                <a:ln w="1228" cap="flat">
                  <a:noFill/>
                  <a:prstDash val="solid"/>
                  <a:miter/>
                </a:ln>
              </p:spPr>
              <p:txBody>
                <a:bodyPr rtlCol="0" anchor="ctr"/>
                <a:lstStyle/>
                <a:p>
                  <a:endParaRPr lang="en-GB" dirty="0"/>
                </a:p>
              </p:txBody>
            </p:sp>
            <p:sp>
              <p:nvSpPr>
                <p:cNvPr id="267" name="Freihandform: Form 253">
                  <a:extLst>
                    <a:ext uri="{FF2B5EF4-FFF2-40B4-BE49-F238E27FC236}">
                      <a16:creationId xmlns:a16="http://schemas.microsoft.com/office/drawing/2014/main" id="{AAA0ABB2-2FDB-4D4A-8203-EED14AC68781}"/>
                    </a:ext>
                  </a:extLst>
                </p:cNvPr>
                <p:cNvSpPr/>
                <p:nvPr/>
              </p:nvSpPr>
              <p:spPr>
                <a:xfrm>
                  <a:off x="2327754" y="3434161"/>
                  <a:ext cx="155968" cy="117089"/>
                </a:xfrm>
                <a:custGeom>
                  <a:avLst/>
                  <a:gdLst>
                    <a:gd name="connsiteX0" fmla="*/ 23430 w 155968"/>
                    <a:gd name="connsiteY0" fmla="*/ 117090 h 117089"/>
                    <a:gd name="connsiteX1" fmla="*/ 0 w 155968"/>
                    <a:gd name="connsiteY1" fmla="*/ 76517 h 117089"/>
                    <a:gd name="connsiteX2" fmla="*/ 132538 w 155968"/>
                    <a:gd name="connsiteY2" fmla="*/ 0 h 117089"/>
                    <a:gd name="connsiteX3" fmla="*/ 155968 w 155968"/>
                    <a:gd name="connsiteY3" fmla="*/ 40573 h 117089"/>
                    <a:gd name="connsiteX4" fmla="*/ 23430 w 155968"/>
                    <a:gd name="connsiteY4" fmla="*/ 117090 h 117089"/>
                    <a:gd name="connsiteX5" fmla="*/ 16848 w 155968"/>
                    <a:gd name="connsiteY5" fmla="*/ 81023 h 117089"/>
                    <a:gd name="connsiteX6" fmla="*/ 27949 w 155968"/>
                    <a:gd name="connsiteY6" fmla="*/ 100254 h 117089"/>
                    <a:gd name="connsiteX7" fmla="*/ 139133 w 155968"/>
                    <a:gd name="connsiteY7" fmla="*/ 36066 h 117089"/>
                    <a:gd name="connsiteX8" fmla="*/ 128031 w 155968"/>
                    <a:gd name="connsiteY8" fmla="*/ 16836 h 117089"/>
                    <a:gd name="connsiteX9" fmla="*/ 16848 w 155968"/>
                    <a:gd name="connsiteY9" fmla="*/ 81023 h 11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968" h="117089">
                      <a:moveTo>
                        <a:pt x="23430" y="117090"/>
                      </a:moveTo>
                      <a:lnTo>
                        <a:pt x="0" y="76517"/>
                      </a:lnTo>
                      <a:lnTo>
                        <a:pt x="132538" y="0"/>
                      </a:lnTo>
                      <a:lnTo>
                        <a:pt x="155968" y="40573"/>
                      </a:lnTo>
                      <a:lnTo>
                        <a:pt x="23430" y="117090"/>
                      </a:lnTo>
                      <a:close/>
                      <a:moveTo>
                        <a:pt x="16848" y="81023"/>
                      </a:moveTo>
                      <a:lnTo>
                        <a:pt x="27949" y="100254"/>
                      </a:lnTo>
                      <a:lnTo>
                        <a:pt x="139133" y="36066"/>
                      </a:lnTo>
                      <a:lnTo>
                        <a:pt x="128031" y="16836"/>
                      </a:lnTo>
                      <a:lnTo>
                        <a:pt x="16848" y="81023"/>
                      </a:lnTo>
                      <a:close/>
                    </a:path>
                  </a:pathLst>
                </a:custGeom>
                <a:solidFill>
                  <a:schemeClr val="tx2"/>
                </a:solidFill>
                <a:ln w="1228" cap="flat">
                  <a:noFill/>
                  <a:prstDash val="solid"/>
                  <a:miter/>
                </a:ln>
              </p:spPr>
              <p:txBody>
                <a:bodyPr rtlCol="0" anchor="ctr"/>
                <a:lstStyle/>
                <a:p>
                  <a:endParaRPr lang="en-GB" dirty="0"/>
                </a:p>
              </p:txBody>
            </p:sp>
            <p:sp>
              <p:nvSpPr>
                <p:cNvPr id="268" name="Freihandform: Form 254">
                  <a:extLst>
                    <a:ext uri="{FF2B5EF4-FFF2-40B4-BE49-F238E27FC236}">
                      <a16:creationId xmlns:a16="http://schemas.microsoft.com/office/drawing/2014/main" id="{F1BDD52B-7652-4C37-8D7D-00DF6DF5FBEC}"/>
                    </a:ext>
                  </a:extLst>
                </p:cNvPr>
                <p:cNvSpPr/>
                <p:nvPr/>
              </p:nvSpPr>
              <p:spPr>
                <a:xfrm>
                  <a:off x="2416686" y="3588189"/>
                  <a:ext cx="155956" cy="117089"/>
                </a:xfrm>
                <a:custGeom>
                  <a:avLst/>
                  <a:gdLst>
                    <a:gd name="connsiteX0" fmla="*/ 23430 w 155956"/>
                    <a:gd name="connsiteY0" fmla="*/ 117090 h 117089"/>
                    <a:gd name="connsiteX1" fmla="*/ 0 w 155956"/>
                    <a:gd name="connsiteY1" fmla="*/ 76517 h 117089"/>
                    <a:gd name="connsiteX2" fmla="*/ 132526 w 155956"/>
                    <a:gd name="connsiteY2" fmla="*/ 0 h 117089"/>
                    <a:gd name="connsiteX3" fmla="*/ 155956 w 155956"/>
                    <a:gd name="connsiteY3" fmla="*/ 40573 h 117089"/>
                    <a:gd name="connsiteX4" fmla="*/ 23430 w 155956"/>
                    <a:gd name="connsiteY4" fmla="*/ 117090 h 117089"/>
                    <a:gd name="connsiteX5" fmla="*/ 16836 w 155956"/>
                    <a:gd name="connsiteY5" fmla="*/ 81023 h 117089"/>
                    <a:gd name="connsiteX6" fmla="*/ 27937 w 155956"/>
                    <a:gd name="connsiteY6" fmla="*/ 100254 h 117089"/>
                    <a:gd name="connsiteX7" fmla="*/ 139120 w 155956"/>
                    <a:gd name="connsiteY7" fmla="*/ 36066 h 117089"/>
                    <a:gd name="connsiteX8" fmla="*/ 128019 w 155956"/>
                    <a:gd name="connsiteY8" fmla="*/ 16836 h 117089"/>
                    <a:gd name="connsiteX9" fmla="*/ 16836 w 155956"/>
                    <a:gd name="connsiteY9" fmla="*/ 81023 h 11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956" h="117089">
                      <a:moveTo>
                        <a:pt x="23430" y="117090"/>
                      </a:moveTo>
                      <a:lnTo>
                        <a:pt x="0" y="76517"/>
                      </a:lnTo>
                      <a:lnTo>
                        <a:pt x="132526" y="0"/>
                      </a:lnTo>
                      <a:lnTo>
                        <a:pt x="155956" y="40573"/>
                      </a:lnTo>
                      <a:lnTo>
                        <a:pt x="23430" y="117090"/>
                      </a:lnTo>
                      <a:close/>
                      <a:moveTo>
                        <a:pt x="16836" y="81023"/>
                      </a:moveTo>
                      <a:lnTo>
                        <a:pt x="27937" y="100254"/>
                      </a:lnTo>
                      <a:lnTo>
                        <a:pt x="139120" y="36066"/>
                      </a:lnTo>
                      <a:lnTo>
                        <a:pt x="128019" y="16836"/>
                      </a:lnTo>
                      <a:lnTo>
                        <a:pt x="16836" y="81023"/>
                      </a:lnTo>
                      <a:close/>
                    </a:path>
                  </a:pathLst>
                </a:custGeom>
                <a:solidFill>
                  <a:schemeClr val="tx2"/>
                </a:solidFill>
                <a:ln w="1228" cap="flat">
                  <a:noFill/>
                  <a:prstDash val="solid"/>
                  <a:miter/>
                </a:ln>
              </p:spPr>
              <p:txBody>
                <a:bodyPr rtlCol="0" anchor="ctr"/>
                <a:lstStyle/>
                <a:p>
                  <a:endParaRPr lang="en-GB" dirty="0"/>
                </a:p>
              </p:txBody>
            </p:sp>
            <p:sp>
              <p:nvSpPr>
                <p:cNvPr id="269" name="Freihandform: Form 255">
                  <a:extLst>
                    <a:ext uri="{FF2B5EF4-FFF2-40B4-BE49-F238E27FC236}">
                      <a16:creationId xmlns:a16="http://schemas.microsoft.com/office/drawing/2014/main" id="{5BE3A835-900C-4434-AB8E-061804BAE8BB}"/>
                    </a:ext>
                  </a:extLst>
                </p:cNvPr>
                <p:cNvSpPr/>
                <p:nvPr/>
              </p:nvSpPr>
              <p:spPr>
                <a:xfrm>
                  <a:off x="2346506" y="3570371"/>
                  <a:ext cx="75092" cy="75104"/>
                </a:xfrm>
                <a:custGeom>
                  <a:avLst/>
                  <a:gdLst>
                    <a:gd name="connsiteX0" fmla="*/ 27483 w 75092"/>
                    <a:gd name="connsiteY0" fmla="*/ 75105 h 75104"/>
                    <a:gd name="connsiteX1" fmla="*/ 0 w 75092"/>
                    <a:gd name="connsiteY1" fmla="*/ 27483 h 75104"/>
                    <a:gd name="connsiteX2" fmla="*/ 47610 w 75092"/>
                    <a:gd name="connsiteY2" fmla="*/ 0 h 75104"/>
                    <a:gd name="connsiteX3" fmla="*/ 75092 w 75092"/>
                    <a:gd name="connsiteY3" fmla="*/ 47597 h 75104"/>
                    <a:gd name="connsiteX4" fmla="*/ 27483 w 75092"/>
                    <a:gd name="connsiteY4" fmla="*/ 75105 h 75104"/>
                    <a:gd name="connsiteX5" fmla="*/ 16848 w 75092"/>
                    <a:gd name="connsiteY5" fmla="*/ 31989 h 75104"/>
                    <a:gd name="connsiteX6" fmla="*/ 32002 w 75092"/>
                    <a:gd name="connsiteY6" fmla="*/ 58244 h 75104"/>
                    <a:gd name="connsiteX7" fmla="*/ 58244 w 75092"/>
                    <a:gd name="connsiteY7" fmla="*/ 43091 h 75104"/>
                    <a:gd name="connsiteX8" fmla="*/ 43091 w 75092"/>
                    <a:gd name="connsiteY8" fmla="*/ 16836 h 75104"/>
                    <a:gd name="connsiteX9" fmla="*/ 16848 w 75092"/>
                    <a:gd name="connsiteY9" fmla="*/ 31989 h 75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92" h="75104">
                      <a:moveTo>
                        <a:pt x="27483" y="75105"/>
                      </a:moveTo>
                      <a:lnTo>
                        <a:pt x="0" y="27483"/>
                      </a:lnTo>
                      <a:lnTo>
                        <a:pt x="47610" y="0"/>
                      </a:lnTo>
                      <a:lnTo>
                        <a:pt x="75092" y="47597"/>
                      </a:lnTo>
                      <a:lnTo>
                        <a:pt x="27483" y="75105"/>
                      </a:lnTo>
                      <a:close/>
                      <a:moveTo>
                        <a:pt x="16848" y="31989"/>
                      </a:moveTo>
                      <a:lnTo>
                        <a:pt x="32002" y="58244"/>
                      </a:lnTo>
                      <a:lnTo>
                        <a:pt x="58244" y="43091"/>
                      </a:lnTo>
                      <a:lnTo>
                        <a:pt x="43091" y="16836"/>
                      </a:lnTo>
                      <a:lnTo>
                        <a:pt x="16848" y="31989"/>
                      </a:lnTo>
                      <a:close/>
                    </a:path>
                  </a:pathLst>
                </a:custGeom>
                <a:solidFill>
                  <a:schemeClr val="tx2"/>
                </a:solidFill>
                <a:ln w="1228" cap="flat">
                  <a:noFill/>
                  <a:prstDash val="solid"/>
                  <a:miter/>
                </a:ln>
              </p:spPr>
              <p:txBody>
                <a:bodyPr rtlCol="0" anchor="ctr"/>
                <a:lstStyle/>
                <a:p>
                  <a:endParaRPr lang="en-GB" dirty="0"/>
                </a:p>
              </p:txBody>
            </p:sp>
            <p:sp>
              <p:nvSpPr>
                <p:cNvPr id="270" name="Freihandform: Form 256">
                  <a:extLst>
                    <a:ext uri="{FF2B5EF4-FFF2-40B4-BE49-F238E27FC236}">
                      <a16:creationId xmlns:a16="http://schemas.microsoft.com/office/drawing/2014/main" id="{04C1051F-D835-4A71-B077-E1862A3FC02E}"/>
                    </a:ext>
                  </a:extLst>
                </p:cNvPr>
                <p:cNvSpPr/>
                <p:nvPr/>
              </p:nvSpPr>
              <p:spPr>
                <a:xfrm>
                  <a:off x="2133819" y="3607776"/>
                  <a:ext cx="222989" cy="157171"/>
                </a:xfrm>
                <a:custGeom>
                  <a:avLst/>
                  <a:gdLst>
                    <a:gd name="connsiteX0" fmla="*/ 27529 w 222989"/>
                    <a:gd name="connsiteY0" fmla="*/ 157172 h 157171"/>
                    <a:gd name="connsiteX1" fmla="*/ 21954 w 222989"/>
                    <a:gd name="connsiteY1" fmla="*/ 156435 h 157171"/>
                    <a:gd name="connsiteX2" fmla="*/ 8962 w 222989"/>
                    <a:gd name="connsiteY2" fmla="*/ 146464 h 157171"/>
                    <a:gd name="connsiteX3" fmla="*/ 2871 w 222989"/>
                    <a:gd name="connsiteY3" fmla="*/ 135915 h 157171"/>
                    <a:gd name="connsiteX4" fmla="*/ 734 w 222989"/>
                    <a:gd name="connsiteY4" fmla="*/ 119681 h 157171"/>
                    <a:gd name="connsiteX5" fmla="*/ 10705 w 222989"/>
                    <a:gd name="connsiteY5" fmla="*/ 106701 h 157171"/>
                    <a:gd name="connsiteX6" fmla="*/ 195507 w 222989"/>
                    <a:gd name="connsiteY6" fmla="*/ 0 h 157171"/>
                    <a:gd name="connsiteX7" fmla="*/ 222990 w 222989"/>
                    <a:gd name="connsiteY7" fmla="*/ 47597 h 157171"/>
                    <a:gd name="connsiteX8" fmla="*/ 38188 w 222989"/>
                    <a:gd name="connsiteY8" fmla="*/ 154298 h 157171"/>
                    <a:gd name="connsiteX9" fmla="*/ 27529 w 222989"/>
                    <a:gd name="connsiteY9" fmla="*/ 157172 h 157171"/>
                    <a:gd name="connsiteX10" fmla="*/ 190988 w 222989"/>
                    <a:gd name="connsiteY10" fmla="*/ 16836 h 157171"/>
                    <a:gd name="connsiteX11" fmla="*/ 16870 w 222989"/>
                    <a:gd name="connsiteY11" fmla="*/ 117372 h 157171"/>
                    <a:gd name="connsiteX12" fmla="*/ 12646 w 222989"/>
                    <a:gd name="connsiteY12" fmla="*/ 122874 h 157171"/>
                    <a:gd name="connsiteX13" fmla="*/ 13554 w 222989"/>
                    <a:gd name="connsiteY13" fmla="*/ 129750 h 157171"/>
                    <a:gd name="connsiteX14" fmla="*/ 19645 w 222989"/>
                    <a:gd name="connsiteY14" fmla="*/ 140299 h 157171"/>
                    <a:gd name="connsiteX15" fmla="*/ 25147 w 222989"/>
                    <a:gd name="connsiteY15" fmla="*/ 144523 h 157171"/>
                    <a:gd name="connsiteX16" fmla="*/ 32023 w 222989"/>
                    <a:gd name="connsiteY16" fmla="*/ 143615 h 157171"/>
                    <a:gd name="connsiteX17" fmla="*/ 206142 w 222989"/>
                    <a:gd name="connsiteY17" fmla="*/ 43078 h 157171"/>
                    <a:gd name="connsiteX18" fmla="*/ 190988 w 222989"/>
                    <a:gd name="connsiteY18" fmla="*/ 16836 h 15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2989" h="157171">
                      <a:moveTo>
                        <a:pt x="27529" y="157172"/>
                      </a:moveTo>
                      <a:cubicBezTo>
                        <a:pt x="25663" y="157172"/>
                        <a:pt x="23796" y="156926"/>
                        <a:pt x="21954" y="156435"/>
                      </a:cubicBezTo>
                      <a:cubicBezTo>
                        <a:pt x="16428" y="154949"/>
                        <a:pt x="11823" y="151412"/>
                        <a:pt x="8962" y="146464"/>
                      </a:cubicBezTo>
                      <a:lnTo>
                        <a:pt x="2871" y="135915"/>
                      </a:lnTo>
                      <a:cubicBezTo>
                        <a:pt x="22" y="130978"/>
                        <a:pt x="-740" y="125207"/>
                        <a:pt x="734" y="119681"/>
                      </a:cubicBezTo>
                      <a:cubicBezTo>
                        <a:pt x="2220" y="114167"/>
                        <a:pt x="5757" y="109550"/>
                        <a:pt x="10705" y="106701"/>
                      </a:cubicBezTo>
                      <a:lnTo>
                        <a:pt x="195507" y="0"/>
                      </a:lnTo>
                      <a:lnTo>
                        <a:pt x="222990" y="47597"/>
                      </a:lnTo>
                      <a:lnTo>
                        <a:pt x="38188" y="154298"/>
                      </a:lnTo>
                      <a:cubicBezTo>
                        <a:pt x="34897" y="156202"/>
                        <a:pt x="31225" y="157172"/>
                        <a:pt x="27529" y="157172"/>
                      </a:cubicBezTo>
                      <a:close/>
                      <a:moveTo>
                        <a:pt x="190988" y="16836"/>
                      </a:moveTo>
                      <a:lnTo>
                        <a:pt x="16870" y="117372"/>
                      </a:lnTo>
                      <a:cubicBezTo>
                        <a:pt x="14770" y="118588"/>
                        <a:pt x="13272" y="120540"/>
                        <a:pt x="12646" y="122874"/>
                      </a:cubicBezTo>
                      <a:cubicBezTo>
                        <a:pt x="12019" y="125219"/>
                        <a:pt x="12339" y="127651"/>
                        <a:pt x="13554" y="129750"/>
                      </a:cubicBezTo>
                      <a:lnTo>
                        <a:pt x="19645" y="140299"/>
                      </a:lnTo>
                      <a:cubicBezTo>
                        <a:pt x="20861" y="142399"/>
                        <a:pt x="22801" y="143897"/>
                        <a:pt x="25147" y="144523"/>
                      </a:cubicBezTo>
                      <a:cubicBezTo>
                        <a:pt x="27505" y="145162"/>
                        <a:pt x="29936" y="144806"/>
                        <a:pt x="32023" y="143615"/>
                      </a:cubicBezTo>
                      <a:lnTo>
                        <a:pt x="206142" y="43078"/>
                      </a:lnTo>
                      <a:lnTo>
                        <a:pt x="190988" y="16836"/>
                      </a:lnTo>
                      <a:close/>
                    </a:path>
                  </a:pathLst>
                </a:custGeom>
                <a:solidFill>
                  <a:schemeClr val="tx2"/>
                </a:solidFill>
                <a:ln w="1228" cap="flat">
                  <a:noFill/>
                  <a:prstDash val="solid"/>
                  <a:miter/>
                </a:ln>
              </p:spPr>
              <p:txBody>
                <a:bodyPr rtlCol="0" anchor="ctr"/>
                <a:lstStyle/>
                <a:p>
                  <a:endParaRPr lang="en-GB" dirty="0"/>
                </a:p>
              </p:txBody>
            </p:sp>
            <p:sp>
              <p:nvSpPr>
                <p:cNvPr id="271" name="Freihandform: Form 257">
                  <a:extLst>
                    <a:ext uri="{FF2B5EF4-FFF2-40B4-BE49-F238E27FC236}">
                      <a16:creationId xmlns:a16="http://schemas.microsoft.com/office/drawing/2014/main" id="{F49FA957-3A7E-4383-85F1-ADAD26FC52F1}"/>
                    </a:ext>
                  </a:extLst>
                </p:cNvPr>
                <p:cNvSpPr/>
                <p:nvPr/>
              </p:nvSpPr>
              <p:spPr>
                <a:xfrm rot="-1801281">
                  <a:off x="2335464" y="3620400"/>
                  <a:ext cx="32159" cy="12328"/>
                </a:xfrm>
                <a:custGeom>
                  <a:avLst/>
                  <a:gdLst>
                    <a:gd name="connsiteX0" fmla="*/ 0 w 32159"/>
                    <a:gd name="connsiteY0" fmla="*/ 0 h 12328"/>
                    <a:gd name="connsiteX1" fmla="*/ 32160 w 32159"/>
                    <a:gd name="connsiteY1" fmla="*/ 0 h 12328"/>
                    <a:gd name="connsiteX2" fmla="*/ 32160 w 32159"/>
                    <a:gd name="connsiteY2" fmla="*/ 12329 h 12328"/>
                    <a:gd name="connsiteX3" fmla="*/ 0 w 32159"/>
                    <a:gd name="connsiteY3" fmla="*/ 12329 h 12328"/>
                  </a:gdLst>
                  <a:ahLst/>
                  <a:cxnLst>
                    <a:cxn ang="0">
                      <a:pos x="connsiteX0" y="connsiteY0"/>
                    </a:cxn>
                    <a:cxn ang="0">
                      <a:pos x="connsiteX1" y="connsiteY1"/>
                    </a:cxn>
                    <a:cxn ang="0">
                      <a:pos x="connsiteX2" y="connsiteY2"/>
                    </a:cxn>
                    <a:cxn ang="0">
                      <a:pos x="connsiteX3" y="connsiteY3"/>
                    </a:cxn>
                  </a:cxnLst>
                  <a:rect l="l" t="t" r="r" b="b"/>
                  <a:pathLst>
                    <a:path w="32159" h="12328">
                      <a:moveTo>
                        <a:pt x="0" y="0"/>
                      </a:moveTo>
                      <a:lnTo>
                        <a:pt x="32160" y="0"/>
                      </a:lnTo>
                      <a:lnTo>
                        <a:pt x="32160" y="12329"/>
                      </a:lnTo>
                      <a:lnTo>
                        <a:pt x="0" y="12329"/>
                      </a:lnTo>
                      <a:close/>
                    </a:path>
                  </a:pathLst>
                </a:custGeom>
                <a:solidFill>
                  <a:schemeClr val="tx2"/>
                </a:solidFill>
                <a:ln w="1228" cap="flat">
                  <a:noFill/>
                  <a:prstDash val="solid"/>
                  <a:miter/>
                </a:ln>
              </p:spPr>
              <p:txBody>
                <a:bodyPr rtlCol="0" anchor="ctr"/>
                <a:lstStyle/>
                <a:p>
                  <a:endParaRPr lang="en-GB" dirty="0"/>
                </a:p>
              </p:txBody>
            </p:sp>
          </p:grpSp>
          <p:sp>
            <p:nvSpPr>
              <p:cNvPr id="265" name="Freihandform: Form 258">
                <a:extLst>
                  <a:ext uri="{FF2B5EF4-FFF2-40B4-BE49-F238E27FC236}">
                    <a16:creationId xmlns:a16="http://schemas.microsoft.com/office/drawing/2014/main" id="{7F7729EB-CC8E-4788-A9F9-5FF6B99CB229}"/>
                  </a:ext>
                </a:extLst>
              </p:cNvPr>
              <p:cNvSpPr/>
              <p:nvPr/>
            </p:nvSpPr>
            <p:spPr>
              <a:xfrm rot="-1800044">
                <a:off x="2168804" y="3707171"/>
                <a:ext cx="12328" cy="42635"/>
              </a:xfrm>
              <a:custGeom>
                <a:avLst/>
                <a:gdLst>
                  <a:gd name="connsiteX0" fmla="*/ 0 w 12328"/>
                  <a:gd name="connsiteY0" fmla="*/ 0 h 42635"/>
                  <a:gd name="connsiteX1" fmla="*/ 12329 w 12328"/>
                  <a:gd name="connsiteY1" fmla="*/ 0 h 42635"/>
                  <a:gd name="connsiteX2" fmla="*/ 12329 w 12328"/>
                  <a:gd name="connsiteY2" fmla="*/ 42635 h 42635"/>
                  <a:gd name="connsiteX3" fmla="*/ 0 w 12328"/>
                  <a:gd name="connsiteY3" fmla="*/ 42635 h 42635"/>
                </a:gdLst>
                <a:ahLst/>
                <a:cxnLst>
                  <a:cxn ang="0">
                    <a:pos x="connsiteX0" y="connsiteY0"/>
                  </a:cxn>
                  <a:cxn ang="0">
                    <a:pos x="connsiteX1" y="connsiteY1"/>
                  </a:cxn>
                  <a:cxn ang="0">
                    <a:pos x="connsiteX2" y="connsiteY2"/>
                  </a:cxn>
                  <a:cxn ang="0">
                    <a:pos x="connsiteX3" y="connsiteY3"/>
                  </a:cxn>
                </a:cxnLst>
                <a:rect l="l" t="t" r="r" b="b"/>
                <a:pathLst>
                  <a:path w="12328" h="42635">
                    <a:moveTo>
                      <a:pt x="0" y="0"/>
                    </a:moveTo>
                    <a:lnTo>
                      <a:pt x="12329" y="0"/>
                    </a:lnTo>
                    <a:lnTo>
                      <a:pt x="12329" y="42635"/>
                    </a:lnTo>
                    <a:lnTo>
                      <a:pt x="0" y="42635"/>
                    </a:lnTo>
                    <a:close/>
                  </a:path>
                </a:pathLst>
              </a:custGeom>
              <a:solidFill>
                <a:schemeClr val="tx2"/>
              </a:solidFill>
              <a:ln w="1228" cap="flat">
                <a:noFill/>
                <a:prstDash val="solid"/>
                <a:miter/>
              </a:ln>
            </p:spPr>
            <p:txBody>
              <a:bodyPr rtlCol="0" anchor="ctr"/>
              <a:lstStyle/>
              <a:p>
                <a:endParaRPr lang="en-GB" dirty="0"/>
              </a:p>
            </p:txBody>
          </p:sp>
        </p:grpSp>
      </p:grpSp>
      <p:grpSp>
        <p:nvGrpSpPr>
          <p:cNvPr id="274" name="Gruppieren 426">
            <a:extLst>
              <a:ext uri="{FF2B5EF4-FFF2-40B4-BE49-F238E27FC236}">
                <a16:creationId xmlns:a16="http://schemas.microsoft.com/office/drawing/2014/main" id="{1307DD4F-9517-478B-A746-9F363A76C96A}"/>
              </a:ext>
            </a:extLst>
          </p:cNvPr>
          <p:cNvGrpSpPr>
            <a:grpSpLocks noChangeAspect="1"/>
          </p:cNvGrpSpPr>
          <p:nvPr/>
        </p:nvGrpSpPr>
        <p:grpSpPr>
          <a:xfrm>
            <a:off x="1229140" y="3273397"/>
            <a:ext cx="600680" cy="432000"/>
            <a:chOff x="1281583" y="3455943"/>
            <a:chExt cx="467070" cy="335909"/>
          </a:xfrm>
        </p:grpSpPr>
        <p:grpSp>
          <p:nvGrpSpPr>
            <p:cNvPr id="275" name="Grafik 11">
              <a:extLst>
                <a:ext uri="{FF2B5EF4-FFF2-40B4-BE49-F238E27FC236}">
                  <a16:creationId xmlns:a16="http://schemas.microsoft.com/office/drawing/2014/main" id="{B7ECF9FA-CDEA-4615-B2E6-28F62412985F}"/>
                </a:ext>
              </a:extLst>
            </p:cNvPr>
            <p:cNvGrpSpPr/>
            <p:nvPr/>
          </p:nvGrpSpPr>
          <p:grpSpPr>
            <a:xfrm>
              <a:off x="1587061" y="3618895"/>
              <a:ext cx="138027" cy="172957"/>
              <a:chOff x="1587061" y="3618895"/>
              <a:chExt cx="138027" cy="172957"/>
            </a:xfrm>
            <a:solidFill>
              <a:schemeClr val="accent1"/>
            </a:solidFill>
          </p:grpSpPr>
          <p:sp>
            <p:nvSpPr>
              <p:cNvPr id="283" name="Freihandform: Form 261">
                <a:extLst>
                  <a:ext uri="{FF2B5EF4-FFF2-40B4-BE49-F238E27FC236}">
                    <a16:creationId xmlns:a16="http://schemas.microsoft.com/office/drawing/2014/main" id="{775707FF-D6A5-4544-A866-E1D2E91B32ED}"/>
                  </a:ext>
                </a:extLst>
              </p:cNvPr>
              <p:cNvSpPr/>
              <p:nvPr/>
            </p:nvSpPr>
            <p:spPr>
              <a:xfrm>
                <a:off x="1587061" y="3618895"/>
                <a:ext cx="138027" cy="172957"/>
              </a:xfrm>
              <a:custGeom>
                <a:avLst/>
                <a:gdLst>
                  <a:gd name="connsiteX0" fmla="*/ 69014 w 138027"/>
                  <a:gd name="connsiteY0" fmla="*/ 172958 h 172957"/>
                  <a:gd name="connsiteX1" fmla="*/ 65882 w 138027"/>
                  <a:gd name="connsiteY1" fmla="*/ 171116 h 172957"/>
                  <a:gd name="connsiteX2" fmla="*/ 10585 w 138027"/>
                  <a:gd name="connsiteY2" fmla="*/ 127755 h 172957"/>
                  <a:gd name="connsiteX3" fmla="*/ 0 w 138027"/>
                  <a:gd name="connsiteY3" fmla="*/ 98148 h 172957"/>
                  <a:gd name="connsiteX4" fmla="*/ 0 w 138027"/>
                  <a:gd name="connsiteY4" fmla="*/ 14239 h 172957"/>
                  <a:gd name="connsiteX5" fmla="*/ 34765 w 138027"/>
                  <a:gd name="connsiteY5" fmla="*/ 4623 h 172957"/>
                  <a:gd name="connsiteX6" fmla="*/ 103250 w 138027"/>
                  <a:gd name="connsiteY6" fmla="*/ 4623 h 172957"/>
                  <a:gd name="connsiteX7" fmla="*/ 138015 w 138027"/>
                  <a:gd name="connsiteY7" fmla="*/ 14239 h 172957"/>
                  <a:gd name="connsiteX8" fmla="*/ 138027 w 138027"/>
                  <a:gd name="connsiteY8" fmla="*/ 98148 h 172957"/>
                  <a:gd name="connsiteX9" fmla="*/ 127442 w 138027"/>
                  <a:gd name="connsiteY9" fmla="*/ 127755 h 172957"/>
                  <a:gd name="connsiteX10" fmla="*/ 72145 w 138027"/>
                  <a:gd name="connsiteY10" fmla="*/ 171116 h 172957"/>
                  <a:gd name="connsiteX11" fmla="*/ 69014 w 138027"/>
                  <a:gd name="connsiteY11" fmla="*/ 172958 h 172957"/>
                  <a:gd name="connsiteX12" fmla="*/ 12341 w 138027"/>
                  <a:gd name="connsiteY12" fmla="*/ 23621 h 172957"/>
                  <a:gd name="connsiteX13" fmla="*/ 12341 w 138027"/>
                  <a:gd name="connsiteY13" fmla="*/ 98136 h 172957"/>
                  <a:gd name="connsiteX14" fmla="*/ 20016 w 138027"/>
                  <a:gd name="connsiteY14" fmla="*/ 119798 h 172957"/>
                  <a:gd name="connsiteX15" fmla="*/ 69014 w 138027"/>
                  <a:gd name="connsiteY15" fmla="*/ 158627 h 172957"/>
                  <a:gd name="connsiteX16" fmla="*/ 118011 w 138027"/>
                  <a:gd name="connsiteY16" fmla="*/ 119798 h 172957"/>
                  <a:gd name="connsiteX17" fmla="*/ 125698 w 138027"/>
                  <a:gd name="connsiteY17" fmla="*/ 98136 h 172957"/>
                  <a:gd name="connsiteX18" fmla="*/ 125686 w 138027"/>
                  <a:gd name="connsiteY18" fmla="*/ 23621 h 172957"/>
                  <a:gd name="connsiteX19" fmla="*/ 99971 w 138027"/>
                  <a:gd name="connsiteY19" fmla="*/ 16511 h 172957"/>
                  <a:gd name="connsiteX20" fmla="*/ 38043 w 138027"/>
                  <a:gd name="connsiteY20" fmla="*/ 16511 h 172957"/>
                  <a:gd name="connsiteX21" fmla="*/ 12341 w 138027"/>
                  <a:gd name="connsiteY21" fmla="*/ 23621 h 172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027" h="172957">
                    <a:moveTo>
                      <a:pt x="69014" y="172958"/>
                    </a:moveTo>
                    <a:lnTo>
                      <a:pt x="65882" y="171116"/>
                    </a:lnTo>
                    <a:cubicBezTo>
                      <a:pt x="40856" y="156380"/>
                      <a:pt x="22767" y="142184"/>
                      <a:pt x="10585" y="127755"/>
                    </a:cubicBezTo>
                    <a:cubicBezTo>
                      <a:pt x="3758" y="119675"/>
                      <a:pt x="0" y="109151"/>
                      <a:pt x="0" y="98148"/>
                    </a:cubicBezTo>
                    <a:lnTo>
                      <a:pt x="0" y="14239"/>
                    </a:lnTo>
                    <a:lnTo>
                      <a:pt x="34765" y="4623"/>
                    </a:lnTo>
                    <a:cubicBezTo>
                      <a:pt x="57176" y="-1541"/>
                      <a:pt x="80864" y="-1541"/>
                      <a:pt x="103250" y="4623"/>
                    </a:cubicBezTo>
                    <a:lnTo>
                      <a:pt x="138015" y="14239"/>
                    </a:lnTo>
                    <a:lnTo>
                      <a:pt x="138027" y="98148"/>
                    </a:lnTo>
                    <a:cubicBezTo>
                      <a:pt x="138027" y="109151"/>
                      <a:pt x="134270" y="119663"/>
                      <a:pt x="127442" y="127755"/>
                    </a:cubicBezTo>
                    <a:cubicBezTo>
                      <a:pt x="115260" y="142196"/>
                      <a:pt x="97172" y="156367"/>
                      <a:pt x="72145" y="171116"/>
                    </a:cubicBezTo>
                    <a:lnTo>
                      <a:pt x="69014" y="172958"/>
                    </a:lnTo>
                    <a:close/>
                    <a:moveTo>
                      <a:pt x="12341" y="23621"/>
                    </a:moveTo>
                    <a:lnTo>
                      <a:pt x="12341" y="98136"/>
                    </a:lnTo>
                    <a:cubicBezTo>
                      <a:pt x="12341" y="106241"/>
                      <a:pt x="15068" y="113940"/>
                      <a:pt x="20016" y="119798"/>
                    </a:cubicBezTo>
                    <a:cubicBezTo>
                      <a:pt x="30786" y="132544"/>
                      <a:pt x="46836" y="145279"/>
                      <a:pt x="69014" y="158627"/>
                    </a:cubicBezTo>
                    <a:cubicBezTo>
                      <a:pt x="91191" y="145279"/>
                      <a:pt x="107241" y="132557"/>
                      <a:pt x="118011" y="119798"/>
                    </a:cubicBezTo>
                    <a:cubicBezTo>
                      <a:pt x="122972" y="113916"/>
                      <a:pt x="125698" y="106241"/>
                      <a:pt x="125698" y="98136"/>
                    </a:cubicBezTo>
                    <a:lnTo>
                      <a:pt x="125686" y="23621"/>
                    </a:lnTo>
                    <a:lnTo>
                      <a:pt x="99971" y="16511"/>
                    </a:lnTo>
                    <a:cubicBezTo>
                      <a:pt x="79734" y="10899"/>
                      <a:pt x="58318" y="10899"/>
                      <a:pt x="38043" y="16511"/>
                    </a:cubicBezTo>
                    <a:lnTo>
                      <a:pt x="12341" y="23621"/>
                    </a:lnTo>
                    <a:close/>
                  </a:path>
                </a:pathLst>
              </a:custGeom>
              <a:solidFill>
                <a:schemeClr val="accent1"/>
              </a:solidFill>
              <a:ln w="1228" cap="flat">
                <a:noFill/>
                <a:prstDash val="solid"/>
                <a:miter/>
              </a:ln>
            </p:spPr>
            <p:txBody>
              <a:bodyPr rtlCol="0" anchor="ctr"/>
              <a:lstStyle/>
              <a:p>
                <a:endParaRPr lang="en-GB" dirty="0"/>
              </a:p>
            </p:txBody>
          </p:sp>
          <p:sp>
            <p:nvSpPr>
              <p:cNvPr id="284" name="Freihandform: Form 262">
                <a:extLst>
                  <a:ext uri="{FF2B5EF4-FFF2-40B4-BE49-F238E27FC236}">
                    <a16:creationId xmlns:a16="http://schemas.microsoft.com/office/drawing/2014/main" id="{C55B4A9C-0E8B-4903-9BDB-CF95C99279E9}"/>
                  </a:ext>
                </a:extLst>
              </p:cNvPr>
              <p:cNvSpPr/>
              <p:nvPr/>
            </p:nvSpPr>
            <p:spPr>
              <a:xfrm>
                <a:off x="1629316" y="3678300"/>
                <a:ext cx="53516" cy="41567"/>
              </a:xfrm>
              <a:custGeom>
                <a:avLst/>
                <a:gdLst>
                  <a:gd name="connsiteX0" fmla="*/ 20692 w 53516"/>
                  <a:gd name="connsiteY0" fmla="*/ 41568 h 41567"/>
                  <a:gd name="connsiteX1" fmla="*/ 0 w 53516"/>
                  <a:gd name="connsiteY1" fmla="*/ 20876 h 41567"/>
                  <a:gd name="connsiteX2" fmla="*/ 8719 w 53516"/>
                  <a:gd name="connsiteY2" fmla="*/ 12157 h 41567"/>
                  <a:gd name="connsiteX3" fmla="*/ 20692 w 53516"/>
                  <a:gd name="connsiteY3" fmla="*/ 24130 h 41567"/>
                  <a:gd name="connsiteX4" fmla="*/ 44798 w 53516"/>
                  <a:gd name="connsiteY4" fmla="*/ 0 h 41567"/>
                  <a:gd name="connsiteX5" fmla="*/ 53516 w 53516"/>
                  <a:gd name="connsiteY5" fmla="*/ 8719 h 41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16" h="41567">
                    <a:moveTo>
                      <a:pt x="20692" y="41568"/>
                    </a:moveTo>
                    <a:lnTo>
                      <a:pt x="0" y="20876"/>
                    </a:lnTo>
                    <a:lnTo>
                      <a:pt x="8719" y="12157"/>
                    </a:lnTo>
                    <a:lnTo>
                      <a:pt x="20692" y="24130"/>
                    </a:lnTo>
                    <a:lnTo>
                      <a:pt x="44798" y="0"/>
                    </a:lnTo>
                    <a:lnTo>
                      <a:pt x="53516" y="8719"/>
                    </a:lnTo>
                    <a:close/>
                  </a:path>
                </a:pathLst>
              </a:custGeom>
              <a:solidFill>
                <a:schemeClr val="accent1"/>
              </a:solidFill>
              <a:ln w="1228" cap="flat">
                <a:noFill/>
                <a:prstDash val="solid"/>
                <a:miter/>
              </a:ln>
            </p:spPr>
            <p:txBody>
              <a:bodyPr rtlCol="0" anchor="ctr"/>
              <a:lstStyle/>
              <a:p>
                <a:endParaRPr lang="en-GB" dirty="0"/>
              </a:p>
            </p:txBody>
          </p:sp>
        </p:grpSp>
        <p:grpSp>
          <p:nvGrpSpPr>
            <p:cNvPr id="276" name="Grafik 11">
              <a:extLst>
                <a:ext uri="{FF2B5EF4-FFF2-40B4-BE49-F238E27FC236}">
                  <a16:creationId xmlns:a16="http://schemas.microsoft.com/office/drawing/2014/main" id="{9F7C46B7-8BF0-4F80-8138-BC477001A057}"/>
                </a:ext>
              </a:extLst>
            </p:cNvPr>
            <p:cNvGrpSpPr/>
            <p:nvPr/>
          </p:nvGrpSpPr>
          <p:grpSpPr>
            <a:xfrm>
              <a:off x="1281583" y="3455943"/>
              <a:ext cx="467070" cy="290830"/>
              <a:chOff x="1281583" y="3455943"/>
              <a:chExt cx="467070" cy="290830"/>
            </a:xfrm>
            <a:solidFill>
              <a:srgbClr val="4D4E53"/>
            </a:solidFill>
          </p:grpSpPr>
          <p:sp>
            <p:nvSpPr>
              <p:cNvPr id="277" name="Freihandform: Form 264">
                <a:extLst>
                  <a:ext uri="{FF2B5EF4-FFF2-40B4-BE49-F238E27FC236}">
                    <a16:creationId xmlns:a16="http://schemas.microsoft.com/office/drawing/2014/main" id="{A1B53F34-2084-4E24-8E34-80C9047F6405}"/>
                  </a:ext>
                </a:extLst>
              </p:cNvPr>
              <p:cNvSpPr/>
              <p:nvPr/>
            </p:nvSpPr>
            <p:spPr>
              <a:xfrm>
                <a:off x="1281583" y="3455943"/>
                <a:ext cx="467070" cy="169000"/>
              </a:xfrm>
              <a:custGeom>
                <a:avLst/>
                <a:gdLst>
                  <a:gd name="connsiteX0" fmla="*/ 233529 w 467070"/>
                  <a:gd name="connsiteY0" fmla="*/ 169001 h 169000"/>
                  <a:gd name="connsiteX1" fmla="*/ 231491 w 467070"/>
                  <a:gd name="connsiteY1" fmla="*/ 168644 h 169000"/>
                  <a:gd name="connsiteX2" fmla="*/ 4126 w 467070"/>
                  <a:gd name="connsiteY2" fmla="*/ 89107 h 169000"/>
                  <a:gd name="connsiteX3" fmla="*/ 0 w 467070"/>
                  <a:gd name="connsiteY3" fmla="*/ 83262 h 169000"/>
                  <a:gd name="connsiteX4" fmla="*/ 4188 w 467070"/>
                  <a:gd name="connsiteY4" fmla="*/ 77441 h 169000"/>
                  <a:gd name="connsiteX5" fmla="*/ 231552 w 467070"/>
                  <a:gd name="connsiteY5" fmla="*/ 322 h 169000"/>
                  <a:gd name="connsiteX6" fmla="*/ 235518 w 467070"/>
                  <a:gd name="connsiteY6" fmla="*/ 322 h 169000"/>
                  <a:gd name="connsiteX7" fmla="*/ 462883 w 467070"/>
                  <a:gd name="connsiteY7" fmla="*/ 77441 h 169000"/>
                  <a:gd name="connsiteX8" fmla="*/ 467070 w 467070"/>
                  <a:gd name="connsiteY8" fmla="*/ 83262 h 169000"/>
                  <a:gd name="connsiteX9" fmla="*/ 462944 w 467070"/>
                  <a:gd name="connsiteY9" fmla="*/ 89107 h 169000"/>
                  <a:gd name="connsiteX10" fmla="*/ 235580 w 467070"/>
                  <a:gd name="connsiteY10" fmla="*/ 168644 h 169000"/>
                  <a:gd name="connsiteX11" fmla="*/ 233529 w 467070"/>
                  <a:gd name="connsiteY11" fmla="*/ 169001 h 169000"/>
                  <a:gd name="connsiteX12" fmla="*/ 25100 w 467070"/>
                  <a:gd name="connsiteY12" fmla="*/ 83372 h 169000"/>
                  <a:gd name="connsiteX13" fmla="*/ 233529 w 467070"/>
                  <a:gd name="connsiteY13" fmla="*/ 156303 h 169000"/>
                  <a:gd name="connsiteX14" fmla="*/ 441958 w 467070"/>
                  <a:gd name="connsiteY14" fmla="*/ 83372 h 169000"/>
                  <a:gd name="connsiteX15" fmla="*/ 233529 w 467070"/>
                  <a:gd name="connsiteY15" fmla="*/ 12688 h 169000"/>
                  <a:gd name="connsiteX16" fmla="*/ 25100 w 467070"/>
                  <a:gd name="connsiteY16" fmla="*/ 83372 h 16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7070" h="169000">
                    <a:moveTo>
                      <a:pt x="233529" y="169001"/>
                    </a:moveTo>
                    <a:cubicBezTo>
                      <a:pt x="232841" y="169001"/>
                      <a:pt x="232154" y="168878"/>
                      <a:pt x="231491" y="168644"/>
                    </a:cubicBezTo>
                    <a:lnTo>
                      <a:pt x="4126" y="89107"/>
                    </a:lnTo>
                    <a:cubicBezTo>
                      <a:pt x="1646" y="88235"/>
                      <a:pt x="-12" y="85889"/>
                      <a:pt x="0" y="83262"/>
                    </a:cubicBezTo>
                    <a:cubicBezTo>
                      <a:pt x="12" y="80621"/>
                      <a:pt x="1695" y="78288"/>
                      <a:pt x="4188" y="77441"/>
                    </a:cubicBezTo>
                    <a:lnTo>
                      <a:pt x="231552" y="322"/>
                    </a:lnTo>
                    <a:cubicBezTo>
                      <a:pt x="232841" y="-107"/>
                      <a:pt x="234229" y="-107"/>
                      <a:pt x="235518" y="322"/>
                    </a:cubicBezTo>
                    <a:lnTo>
                      <a:pt x="462883" y="77441"/>
                    </a:lnTo>
                    <a:cubicBezTo>
                      <a:pt x="465376" y="78288"/>
                      <a:pt x="467058" y="80621"/>
                      <a:pt x="467070" y="83262"/>
                    </a:cubicBezTo>
                    <a:cubicBezTo>
                      <a:pt x="467083" y="85889"/>
                      <a:pt x="465425" y="88235"/>
                      <a:pt x="462944" y="89107"/>
                    </a:cubicBezTo>
                    <a:lnTo>
                      <a:pt x="235580" y="168644"/>
                    </a:lnTo>
                    <a:cubicBezTo>
                      <a:pt x="234917" y="168878"/>
                      <a:pt x="234217" y="169001"/>
                      <a:pt x="233529" y="169001"/>
                    </a:cubicBezTo>
                    <a:close/>
                    <a:moveTo>
                      <a:pt x="25100" y="83372"/>
                    </a:moveTo>
                    <a:lnTo>
                      <a:pt x="233529" y="156303"/>
                    </a:lnTo>
                    <a:lnTo>
                      <a:pt x="441958" y="83372"/>
                    </a:lnTo>
                    <a:lnTo>
                      <a:pt x="233529" y="12688"/>
                    </a:lnTo>
                    <a:lnTo>
                      <a:pt x="25100" y="83372"/>
                    </a:lnTo>
                    <a:close/>
                  </a:path>
                </a:pathLst>
              </a:custGeom>
              <a:solidFill>
                <a:schemeClr val="tx2"/>
              </a:solidFill>
              <a:ln w="1228" cap="flat">
                <a:noFill/>
                <a:prstDash val="solid"/>
                <a:miter/>
              </a:ln>
            </p:spPr>
            <p:txBody>
              <a:bodyPr rtlCol="0" anchor="ctr"/>
              <a:lstStyle/>
              <a:p>
                <a:endParaRPr lang="en-GB" dirty="0"/>
              </a:p>
            </p:txBody>
          </p:sp>
          <p:sp>
            <p:nvSpPr>
              <p:cNvPr id="278" name="Freihandform: Form 265">
                <a:extLst>
                  <a:ext uri="{FF2B5EF4-FFF2-40B4-BE49-F238E27FC236}">
                    <a16:creationId xmlns:a16="http://schemas.microsoft.com/office/drawing/2014/main" id="{68F13605-2092-4C4D-AF93-EC9E3A561E15}"/>
                  </a:ext>
                </a:extLst>
              </p:cNvPr>
              <p:cNvSpPr/>
              <p:nvPr/>
            </p:nvSpPr>
            <p:spPr>
              <a:xfrm>
                <a:off x="1327952" y="3528508"/>
                <a:ext cx="187871" cy="159247"/>
              </a:xfrm>
              <a:custGeom>
                <a:avLst/>
                <a:gdLst>
                  <a:gd name="connsiteX0" fmla="*/ 12329 w 187871"/>
                  <a:gd name="connsiteY0" fmla="*/ 159247 h 159247"/>
                  <a:gd name="connsiteX1" fmla="*/ 0 w 187871"/>
                  <a:gd name="connsiteY1" fmla="*/ 159247 h 159247"/>
                  <a:gd name="connsiteX2" fmla="*/ 0 w 187871"/>
                  <a:gd name="connsiteY2" fmla="*/ 21453 h 159247"/>
                  <a:gd name="connsiteX3" fmla="*/ 186460 w 187871"/>
                  <a:gd name="connsiteY3" fmla="*/ 0 h 159247"/>
                  <a:gd name="connsiteX4" fmla="*/ 187872 w 187871"/>
                  <a:gd name="connsiteY4" fmla="*/ 12255 h 159247"/>
                  <a:gd name="connsiteX5" fmla="*/ 12329 w 187871"/>
                  <a:gd name="connsiteY5" fmla="*/ 32444 h 15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7871" h="159247">
                    <a:moveTo>
                      <a:pt x="12329" y="159247"/>
                    </a:moveTo>
                    <a:lnTo>
                      <a:pt x="0" y="159247"/>
                    </a:lnTo>
                    <a:lnTo>
                      <a:pt x="0" y="21453"/>
                    </a:lnTo>
                    <a:lnTo>
                      <a:pt x="186460" y="0"/>
                    </a:lnTo>
                    <a:lnTo>
                      <a:pt x="187872" y="12255"/>
                    </a:lnTo>
                    <a:lnTo>
                      <a:pt x="12329" y="32444"/>
                    </a:lnTo>
                    <a:close/>
                  </a:path>
                </a:pathLst>
              </a:custGeom>
              <a:solidFill>
                <a:schemeClr val="tx2"/>
              </a:solidFill>
              <a:ln w="1228" cap="flat">
                <a:noFill/>
                <a:prstDash val="solid"/>
                <a:miter/>
              </a:ln>
            </p:spPr>
            <p:txBody>
              <a:bodyPr rtlCol="0" anchor="ctr"/>
              <a:lstStyle/>
              <a:p>
                <a:endParaRPr lang="en-GB" dirty="0"/>
              </a:p>
            </p:txBody>
          </p:sp>
          <p:sp>
            <p:nvSpPr>
              <p:cNvPr id="279" name="Freihandform: Form 266">
                <a:extLst>
                  <a:ext uri="{FF2B5EF4-FFF2-40B4-BE49-F238E27FC236}">
                    <a16:creationId xmlns:a16="http://schemas.microsoft.com/office/drawing/2014/main" id="{F11AA5F8-BD29-467F-912B-7E4F2FAFDF0E}"/>
                  </a:ext>
                </a:extLst>
              </p:cNvPr>
              <p:cNvSpPr/>
              <p:nvPr/>
            </p:nvSpPr>
            <p:spPr>
              <a:xfrm>
                <a:off x="1310809" y="3676863"/>
                <a:ext cx="46639" cy="69910"/>
              </a:xfrm>
              <a:custGeom>
                <a:avLst/>
                <a:gdLst>
                  <a:gd name="connsiteX0" fmla="*/ 46627 w 46639"/>
                  <a:gd name="connsiteY0" fmla="*/ 69910 h 69910"/>
                  <a:gd name="connsiteX1" fmla="*/ 0 w 46639"/>
                  <a:gd name="connsiteY1" fmla="*/ 69910 h 69910"/>
                  <a:gd name="connsiteX2" fmla="*/ 0 w 46639"/>
                  <a:gd name="connsiteY2" fmla="*/ 23320 h 69910"/>
                  <a:gd name="connsiteX3" fmla="*/ 23320 w 46639"/>
                  <a:gd name="connsiteY3" fmla="*/ 0 h 69910"/>
                  <a:gd name="connsiteX4" fmla="*/ 46639 w 46639"/>
                  <a:gd name="connsiteY4" fmla="*/ 23320 h 69910"/>
                  <a:gd name="connsiteX5" fmla="*/ 46639 w 46639"/>
                  <a:gd name="connsiteY5" fmla="*/ 69910 h 69910"/>
                  <a:gd name="connsiteX6" fmla="*/ 12329 w 46639"/>
                  <a:gd name="connsiteY6" fmla="*/ 57581 h 69910"/>
                  <a:gd name="connsiteX7" fmla="*/ 34298 w 46639"/>
                  <a:gd name="connsiteY7" fmla="*/ 57581 h 69910"/>
                  <a:gd name="connsiteX8" fmla="*/ 34298 w 46639"/>
                  <a:gd name="connsiteY8" fmla="*/ 23320 h 69910"/>
                  <a:gd name="connsiteX9" fmla="*/ 23320 w 46639"/>
                  <a:gd name="connsiteY9" fmla="*/ 12341 h 69910"/>
                  <a:gd name="connsiteX10" fmla="*/ 12341 w 46639"/>
                  <a:gd name="connsiteY10" fmla="*/ 23320 h 69910"/>
                  <a:gd name="connsiteX11" fmla="*/ 12341 w 46639"/>
                  <a:gd name="connsiteY11" fmla="*/ 57581 h 69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39" h="69910">
                    <a:moveTo>
                      <a:pt x="46627" y="69910"/>
                    </a:moveTo>
                    <a:lnTo>
                      <a:pt x="0" y="69910"/>
                    </a:lnTo>
                    <a:lnTo>
                      <a:pt x="0" y="23320"/>
                    </a:lnTo>
                    <a:cubicBezTo>
                      <a:pt x="0" y="10463"/>
                      <a:pt x="10463" y="0"/>
                      <a:pt x="23320" y="0"/>
                    </a:cubicBezTo>
                    <a:cubicBezTo>
                      <a:pt x="36177" y="0"/>
                      <a:pt x="46639" y="10450"/>
                      <a:pt x="46639" y="23320"/>
                    </a:cubicBezTo>
                    <a:lnTo>
                      <a:pt x="46639" y="69910"/>
                    </a:lnTo>
                    <a:close/>
                    <a:moveTo>
                      <a:pt x="12329" y="57581"/>
                    </a:moveTo>
                    <a:lnTo>
                      <a:pt x="34298" y="57581"/>
                    </a:lnTo>
                    <a:lnTo>
                      <a:pt x="34298" y="23320"/>
                    </a:lnTo>
                    <a:cubicBezTo>
                      <a:pt x="34298" y="17266"/>
                      <a:pt x="29374" y="12341"/>
                      <a:pt x="23320" y="12341"/>
                    </a:cubicBezTo>
                    <a:cubicBezTo>
                      <a:pt x="17266" y="12341"/>
                      <a:pt x="12341" y="17266"/>
                      <a:pt x="12341" y="23320"/>
                    </a:cubicBezTo>
                    <a:lnTo>
                      <a:pt x="12341" y="57581"/>
                    </a:lnTo>
                    <a:close/>
                  </a:path>
                </a:pathLst>
              </a:custGeom>
              <a:solidFill>
                <a:schemeClr val="tx2"/>
              </a:solidFill>
              <a:ln w="1228" cap="flat">
                <a:noFill/>
                <a:prstDash val="solid"/>
                <a:miter/>
              </a:ln>
            </p:spPr>
            <p:txBody>
              <a:bodyPr rtlCol="0" anchor="ctr"/>
              <a:lstStyle/>
              <a:p>
                <a:endParaRPr lang="en-GB" dirty="0"/>
              </a:p>
            </p:txBody>
          </p:sp>
          <p:sp>
            <p:nvSpPr>
              <p:cNvPr id="280" name="Freihandform: Form 267">
                <a:extLst>
                  <a:ext uri="{FF2B5EF4-FFF2-40B4-BE49-F238E27FC236}">
                    <a16:creationId xmlns:a16="http://schemas.microsoft.com/office/drawing/2014/main" id="{EBAA2E0D-44C6-414E-B23C-4C0B771FFFCE}"/>
                  </a:ext>
                </a:extLst>
              </p:cNvPr>
              <p:cNvSpPr/>
              <p:nvPr/>
            </p:nvSpPr>
            <p:spPr>
              <a:xfrm>
                <a:off x="1367985" y="3573650"/>
                <a:ext cx="199009" cy="172042"/>
              </a:xfrm>
              <a:custGeom>
                <a:avLst/>
                <a:gdLst>
                  <a:gd name="connsiteX0" fmla="*/ 147127 w 199009"/>
                  <a:gd name="connsiteY0" fmla="*/ 172043 h 172042"/>
                  <a:gd name="connsiteX1" fmla="*/ 0 w 199009"/>
                  <a:gd name="connsiteY1" fmla="*/ 95796 h 172042"/>
                  <a:gd name="connsiteX2" fmla="*/ 0 w 199009"/>
                  <a:gd name="connsiteY2" fmla="*/ 0 h 172042"/>
                  <a:gd name="connsiteX3" fmla="*/ 12329 w 199009"/>
                  <a:gd name="connsiteY3" fmla="*/ 0 h 172042"/>
                  <a:gd name="connsiteX4" fmla="*/ 12329 w 199009"/>
                  <a:gd name="connsiteY4" fmla="*/ 95391 h 172042"/>
                  <a:gd name="connsiteX5" fmla="*/ 147127 w 199009"/>
                  <a:gd name="connsiteY5" fmla="*/ 159714 h 172042"/>
                  <a:gd name="connsiteX6" fmla="*/ 196677 w 199009"/>
                  <a:gd name="connsiteY6" fmla="*/ 155109 h 172042"/>
                  <a:gd name="connsiteX7" fmla="*/ 199010 w 199009"/>
                  <a:gd name="connsiteY7" fmla="*/ 167229 h 172042"/>
                  <a:gd name="connsiteX8" fmla="*/ 147127 w 199009"/>
                  <a:gd name="connsiteY8" fmla="*/ 172043 h 172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9009" h="172042">
                    <a:moveTo>
                      <a:pt x="147127" y="172043"/>
                    </a:moveTo>
                    <a:cubicBezTo>
                      <a:pt x="64888" y="172043"/>
                      <a:pt x="417" y="138592"/>
                      <a:pt x="0" y="95796"/>
                    </a:cubicBezTo>
                    <a:lnTo>
                      <a:pt x="0" y="0"/>
                    </a:lnTo>
                    <a:lnTo>
                      <a:pt x="12329" y="0"/>
                    </a:lnTo>
                    <a:lnTo>
                      <a:pt x="12329" y="95391"/>
                    </a:lnTo>
                    <a:cubicBezTo>
                      <a:pt x="12329" y="130254"/>
                      <a:pt x="74061" y="159714"/>
                      <a:pt x="147127" y="159714"/>
                    </a:cubicBezTo>
                    <a:cubicBezTo>
                      <a:pt x="164184" y="159714"/>
                      <a:pt x="180860" y="158166"/>
                      <a:pt x="196677" y="155109"/>
                    </a:cubicBezTo>
                    <a:lnTo>
                      <a:pt x="199010" y="167229"/>
                    </a:lnTo>
                    <a:cubicBezTo>
                      <a:pt x="182432" y="170422"/>
                      <a:pt x="164970" y="172043"/>
                      <a:pt x="147127" y="172043"/>
                    </a:cubicBezTo>
                    <a:close/>
                  </a:path>
                </a:pathLst>
              </a:custGeom>
              <a:solidFill>
                <a:schemeClr val="tx2"/>
              </a:solidFill>
              <a:ln w="1228" cap="flat">
                <a:noFill/>
                <a:prstDash val="solid"/>
                <a:miter/>
              </a:ln>
            </p:spPr>
            <p:txBody>
              <a:bodyPr rtlCol="0" anchor="ctr"/>
              <a:lstStyle/>
              <a:p>
                <a:endParaRPr lang="en-GB" dirty="0"/>
              </a:p>
            </p:txBody>
          </p:sp>
          <p:sp>
            <p:nvSpPr>
              <p:cNvPr id="281" name="Freihandform: Form 268">
                <a:extLst>
                  <a:ext uri="{FF2B5EF4-FFF2-40B4-BE49-F238E27FC236}">
                    <a16:creationId xmlns:a16="http://schemas.microsoft.com/office/drawing/2014/main" id="{E43A2B9C-3676-48E6-9BE9-0E10D74E4430}"/>
                  </a:ext>
                </a:extLst>
              </p:cNvPr>
              <p:cNvSpPr/>
              <p:nvPr/>
            </p:nvSpPr>
            <p:spPr>
              <a:xfrm>
                <a:off x="1649910" y="3573650"/>
                <a:ext cx="12329" cy="24474"/>
              </a:xfrm>
              <a:custGeom>
                <a:avLst/>
                <a:gdLst>
                  <a:gd name="connsiteX0" fmla="*/ 0 w 12329"/>
                  <a:gd name="connsiteY0" fmla="*/ 0 h 24474"/>
                  <a:gd name="connsiteX1" fmla="*/ 12329 w 12329"/>
                  <a:gd name="connsiteY1" fmla="*/ 0 h 24474"/>
                  <a:gd name="connsiteX2" fmla="*/ 12329 w 12329"/>
                  <a:gd name="connsiteY2" fmla="*/ 24474 h 24474"/>
                  <a:gd name="connsiteX3" fmla="*/ 0 w 12329"/>
                  <a:gd name="connsiteY3" fmla="*/ 24474 h 24474"/>
                </a:gdLst>
                <a:ahLst/>
                <a:cxnLst>
                  <a:cxn ang="0">
                    <a:pos x="connsiteX0" y="connsiteY0"/>
                  </a:cxn>
                  <a:cxn ang="0">
                    <a:pos x="connsiteX1" y="connsiteY1"/>
                  </a:cxn>
                  <a:cxn ang="0">
                    <a:pos x="connsiteX2" y="connsiteY2"/>
                  </a:cxn>
                  <a:cxn ang="0">
                    <a:pos x="connsiteX3" y="connsiteY3"/>
                  </a:cxn>
                </a:cxnLst>
                <a:rect l="l" t="t" r="r" b="b"/>
                <a:pathLst>
                  <a:path w="12329" h="24474">
                    <a:moveTo>
                      <a:pt x="0" y="0"/>
                    </a:moveTo>
                    <a:lnTo>
                      <a:pt x="12329" y="0"/>
                    </a:lnTo>
                    <a:lnTo>
                      <a:pt x="12329" y="24474"/>
                    </a:lnTo>
                    <a:lnTo>
                      <a:pt x="0" y="24474"/>
                    </a:lnTo>
                    <a:close/>
                  </a:path>
                </a:pathLst>
              </a:custGeom>
              <a:solidFill>
                <a:schemeClr val="tx2"/>
              </a:solidFill>
              <a:ln w="1228" cap="flat">
                <a:noFill/>
                <a:prstDash val="solid"/>
                <a:miter/>
              </a:ln>
            </p:spPr>
            <p:txBody>
              <a:bodyPr rtlCol="0" anchor="ctr"/>
              <a:lstStyle/>
              <a:p>
                <a:endParaRPr lang="en-GB" dirty="0"/>
              </a:p>
            </p:txBody>
          </p:sp>
          <p:sp>
            <p:nvSpPr>
              <p:cNvPr id="282" name="Freihandform: Form 269">
                <a:extLst>
                  <a:ext uri="{FF2B5EF4-FFF2-40B4-BE49-F238E27FC236}">
                    <a16:creationId xmlns:a16="http://schemas.microsoft.com/office/drawing/2014/main" id="{07BBCC9E-108F-4444-B6D6-1310104167AD}"/>
                  </a:ext>
                </a:extLst>
              </p:cNvPr>
              <p:cNvSpPr/>
              <p:nvPr/>
            </p:nvSpPr>
            <p:spPr>
              <a:xfrm>
                <a:off x="1367985" y="3634522"/>
                <a:ext cx="198494" cy="76639"/>
              </a:xfrm>
              <a:custGeom>
                <a:avLst/>
                <a:gdLst>
                  <a:gd name="connsiteX0" fmla="*/ 147127 w 198494"/>
                  <a:gd name="connsiteY0" fmla="*/ 76640 h 76639"/>
                  <a:gd name="connsiteX1" fmla="*/ 0 w 198494"/>
                  <a:gd name="connsiteY1" fmla="*/ 393 h 76639"/>
                  <a:gd name="connsiteX2" fmla="*/ 12329 w 198494"/>
                  <a:gd name="connsiteY2" fmla="*/ 0 h 76639"/>
                  <a:gd name="connsiteX3" fmla="*/ 147127 w 198494"/>
                  <a:gd name="connsiteY3" fmla="*/ 64310 h 76639"/>
                  <a:gd name="connsiteX4" fmla="*/ 196185 w 198494"/>
                  <a:gd name="connsiteY4" fmla="*/ 59816 h 76639"/>
                  <a:gd name="connsiteX5" fmla="*/ 198494 w 198494"/>
                  <a:gd name="connsiteY5" fmla="*/ 71936 h 76639"/>
                  <a:gd name="connsiteX6" fmla="*/ 147127 w 198494"/>
                  <a:gd name="connsiteY6" fmla="*/ 76640 h 76639"/>
                  <a:gd name="connsiteX7" fmla="*/ 12 w 198494"/>
                  <a:gd name="connsiteY7" fmla="*/ 393 h 76639"/>
                  <a:gd name="connsiteX8" fmla="*/ 12 w 198494"/>
                  <a:gd name="connsiteY8" fmla="*/ 0 h 76639"/>
                  <a:gd name="connsiteX9" fmla="*/ 12341 w 198494"/>
                  <a:gd name="connsiteY9" fmla="*/ 0 h 76639"/>
                  <a:gd name="connsiteX10" fmla="*/ 12 w 198494"/>
                  <a:gd name="connsiteY10" fmla="*/ 393 h 76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8494" h="76639">
                    <a:moveTo>
                      <a:pt x="147127" y="76640"/>
                    </a:moveTo>
                    <a:cubicBezTo>
                      <a:pt x="64888" y="76640"/>
                      <a:pt x="405" y="43189"/>
                      <a:pt x="0" y="393"/>
                    </a:cubicBezTo>
                    <a:lnTo>
                      <a:pt x="12329" y="0"/>
                    </a:lnTo>
                    <a:cubicBezTo>
                      <a:pt x="12329" y="34863"/>
                      <a:pt x="74061" y="64310"/>
                      <a:pt x="147127" y="64310"/>
                    </a:cubicBezTo>
                    <a:cubicBezTo>
                      <a:pt x="164049" y="64310"/>
                      <a:pt x="180553" y="62800"/>
                      <a:pt x="196185" y="59816"/>
                    </a:cubicBezTo>
                    <a:lnTo>
                      <a:pt x="198494" y="71936"/>
                    </a:lnTo>
                    <a:cubicBezTo>
                      <a:pt x="182113" y="75043"/>
                      <a:pt x="164835" y="76640"/>
                      <a:pt x="147127" y="76640"/>
                    </a:cubicBezTo>
                    <a:close/>
                    <a:moveTo>
                      <a:pt x="12" y="393"/>
                    </a:moveTo>
                    <a:cubicBezTo>
                      <a:pt x="12" y="258"/>
                      <a:pt x="12" y="123"/>
                      <a:pt x="12" y="0"/>
                    </a:cubicBezTo>
                    <a:lnTo>
                      <a:pt x="12341" y="0"/>
                    </a:lnTo>
                    <a:lnTo>
                      <a:pt x="12" y="393"/>
                    </a:lnTo>
                    <a:close/>
                  </a:path>
                </a:pathLst>
              </a:custGeom>
              <a:solidFill>
                <a:schemeClr val="tx2"/>
              </a:solidFill>
              <a:ln w="1228" cap="flat">
                <a:noFill/>
                <a:prstDash val="solid"/>
                <a:miter/>
              </a:ln>
            </p:spPr>
            <p:txBody>
              <a:bodyPr rtlCol="0" anchor="ctr"/>
              <a:lstStyle/>
              <a:p>
                <a:endParaRPr lang="en-GB" dirty="0"/>
              </a:p>
            </p:txBody>
          </p:sp>
        </p:grpSp>
      </p:grpSp>
      <p:grpSp>
        <p:nvGrpSpPr>
          <p:cNvPr id="285" name="Gruppieren 434">
            <a:extLst>
              <a:ext uri="{FF2B5EF4-FFF2-40B4-BE49-F238E27FC236}">
                <a16:creationId xmlns:a16="http://schemas.microsoft.com/office/drawing/2014/main" id="{6C1E78BF-D8FD-4B41-B3E7-63331B9F9A2E}"/>
              </a:ext>
            </a:extLst>
          </p:cNvPr>
          <p:cNvGrpSpPr>
            <a:grpSpLocks noChangeAspect="1"/>
          </p:cNvGrpSpPr>
          <p:nvPr/>
        </p:nvGrpSpPr>
        <p:grpSpPr>
          <a:xfrm>
            <a:off x="479839" y="4097454"/>
            <a:ext cx="437697" cy="432000"/>
            <a:chOff x="443693" y="4281140"/>
            <a:chExt cx="416393" cy="410972"/>
          </a:xfrm>
        </p:grpSpPr>
        <p:grpSp>
          <p:nvGrpSpPr>
            <p:cNvPr id="286" name="Gruppieren 433">
              <a:extLst>
                <a:ext uri="{FF2B5EF4-FFF2-40B4-BE49-F238E27FC236}">
                  <a16:creationId xmlns:a16="http://schemas.microsoft.com/office/drawing/2014/main" id="{CFB62166-3A44-4BCA-81A2-71A39BFC0573}"/>
                </a:ext>
              </a:extLst>
            </p:cNvPr>
            <p:cNvGrpSpPr/>
            <p:nvPr/>
          </p:nvGrpSpPr>
          <p:grpSpPr>
            <a:xfrm>
              <a:off x="478211" y="4316215"/>
              <a:ext cx="344300" cy="338382"/>
              <a:chOff x="478211" y="4316215"/>
              <a:chExt cx="344300" cy="338382"/>
            </a:xfrm>
          </p:grpSpPr>
          <p:sp>
            <p:nvSpPr>
              <p:cNvPr id="288" name="Freihandform: Form 271">
                <a:extLst>
                  <a:ext uri="{FF2B5EF4-FFF2-40B4-BE49-F238E27FC236}">
                    <a16:creationId xmlns:a16="http://schemas.microsoft.com/office/drawing/2014/main" id="{DE0AE12E-E9CC-4F64-98EB-2C8B6832A5FB}"/>
                  </a:ext>
                </a:extLst>
              </p:cNvPr>
              <p:cNvSpPr/>
              <p:nvPr/>
            </p:nvSpPr>
            <p:spPr>
              <a:xfrm>
                <a:off x="478211" y="4444348"/>
                <a:ext cx="134500" cy="146110"/>
              </a:xfrm>
              <a:custGeom>
                <a:avLst/>
                <a:gdLst>
                  <a:gd name="connsiteX0" fmla="*/ 34926 w 134500"/>
                  <a:gd name="connsiteY0" fmla="*/ 146111 h 146110"/>
                  <a:gd name="connsiteX1" fmla="*/ 10759 w 134500"/>
                  <a:gd name="connsiteY1" fmla="*/ 136004 h 146110"/>
                  <a:gd name="connsiteX2" fmla="*/ 898 w 134500"/>
                  <a:gd name="connsiteY2" fmla="*/ 98575 h 146110"/>
                  <a:gd name="connsiteX3" fmla="*/ 1721 w 134500"/>
                  <a:gd name="connsiteY3" fmla="*/ 93847 h 146110"/>
                  <a:gd name="connsiteX4" fmla="*/ 21320 w 134500"/>
                  <a:gd name="connsiteY4" fmla="*/ 92361 h 146110"/>
                  <a:gd name="connsiteX5" fmla="*/ 35491 w 134500"/>
                  <a:gd name="connsiteY5" fmla="*/ 79774 h 146110"/>
                  <a:gd name="connsiteX6" fmla="*/ 36068 w 134500"/>
                  <a:gd name="connsiteY6" fmla="*/ 69140 h 146110"/>
                  <a:gd name="connsiteX7" fmla="*/ 59093 w 134500"/>
                  <a:gd name="connsiteY7" fmla="*/ 12639 h 146110"/>
                  <a:gd name="connsiteX8" fmla="*/ 91807 w 134500"/>
                  <a:gd name="connsiteY8" fmla="*/ 138 h 146110"/>
                  <a:gd name="connsiteX9" fmla="*/ 119032 w 134500"/>
                  <a:gd name="connsiteY9" fmla="*/ 15537 h 146110"/>
                  <a:gd name="connsiteX10" fmla="*/ 129936 w 134500"/>
                  <a:gd name="connsiteY10" fmla="*/ 124633 h 146110"/>
                  <a:gd name="connsiteX11" fmla="*/ 117791 w 134500"/>
                  <a:gd name="connsiteY11" fmla="*/ 122508 h 146110"/>
                  <a:gd name="connsiteX12" fmla="*/ 109257 w 134500"/>
                  <a:gd name="connsiteY12" fmla="*/ 23053 h 146110"/>
                  <a:gd name="connsiteX13" fmla="*/ 90738 w 134500"/>
                  <a:gd name="connsiteY13" fmla="*/ 12418 h 146110"/>
                  <a:gd name="connsiteX14" fmla="*/ 67664 w 134500"/>
                  <a:gd name="connsiteY14" fmla="*/ 21518 h 146110"/>
                  <a:gd name="connsiteX15" fmla="*/ 48409 w 134500"/>
                  <a:gd name="connsiteY15" fmla="*/ 68538 h 146110"/>
                  <a:gd name="connsiteX16" fmla="*/ 47709 w 134500"/>
                  <a:gd name="connsiteY16" fmla="*/ 81628 h 146110"/>
                  <a:gd name="connsiteX17" fmla="*/ 22277 w 134500"/>
                  <a:gd name="connsiteY17" fmla="*/ 104666 h 146110"/>
                  <a:gd name="connsiteX18" fmla="*/ 12466 w 134500"/>
                  <a:gd name="connsiteY18" fmla="*/ 105402 h 146110"/>
                  <a:gd name="connsiteX19" fmla="*/ 19613 w 134500"/>
                  <a:gd name="connsiteY19" fmla="*/ 127408 h 146110"/>
                  <a:gd name="connsiteX20" fmla="*/ 51135 w 134500"/>
                  <a:gd name="connsiteY20" fmla="*/ 127408 h 146110"/>
                  <a:gd name="connsiteX21" fmla="*/ 59400 w 134500"/>
                  <a:gd name="connsiteY21" fmla="*/ 136557 h 146110"/>
                  <a:gd name="connsiteX22" fmla="*/ 34926 w 134500"/>
                  <a:gd name="connsiteY22" fmla="*/ 146111 h 146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4500" h="146110">
                    <a:moveTo>
                      <a:pt x="34926" y="146111"/>
                    </a:moveTo>
                    <a:cubicBezTo>
                      <a:pt x="26035" y="146111"/>
                      <a:pt x="17304" y="142734"/>
                      <a:pt x="10759" y="136004"/>
                    </a:cubicBezTo>
                    <a:cubicBezTo>
                      <a:pt x="1536" y="126524"/>
                      <a:pt x="-1779" y="113937"/>
                      <a:pt x="898" y="98575"/>
                    </a:cubicBezTo>
                    <a:lnTo>
                      <a:pt x="1721" y="93847"/>
                    </a:lnTo>
                    <a:lnTo>
                      <a:pt x="21320" y="92361"/>
                    </a:lnTo>
                    <a:cubicBezTo>
                      <a:pt x="28503" y="91821"/>
                      <a:pt x="34459" y="86528"/>
                      <a:pt x="35491" y="79774"/>
                    </a:cubicBezTo>
                    <a:cubicBezTo>
                      <a:pt x="36043" y="76164"/>
                      <a:pt x="36240" y="72590"/>
                      <a:pt x="36068" y="69140"/>
                    </a:cubicBezTo>
                    <a:cubicBezTo>
                      <a:pt x="35294" y="53237"/>
                      <a:pt x="43104" y="28026"/>
                      <a:pt x="59093" y="12639"/>
                    </a:cubicBezTo>
                    <a:cubicBezTo>
                      <a:pt x="68671" y="3417"/>
                      <a:pt x="79981" y="-844"/>
                      <a:pt x="91807" y="138"/>
                    </a:cubicBezTo>
                    <a:cubicBezTo>
                      <a:pt x="102613" y="1096"/>
                      <a:pt x="112020" y="6413"/>
                      <a:pt x="119032" y="15537"/>
                    </a:cubicBezTo>
                    <a:cubicBezTo>
                      <a:pt x="134787" y="36057"/>
                      <a:pt x="138667" y="74813"/>
                      <a:pt x="129936" y="124633"/>
                    </a:cubicBezTo>
                    <a:lnTo>
                      <a:pt x="117791" y="122508"/>
                    </a:lnTo>
                    <a:cubicBezTo>
                      <a:pt x="125798" y="76790"/>
                      <a:pt x="122691" y="40539"/>
                      <a:pt x="109257" y="23053"/>
                    </a:cubicBezTo>
                    <a:cubicBezTo>
                      <a:pt x="104332" y="16643"/>
                      <a:pt x="98106" y="13069"/>
                      <a:pt x="90738" y="12418"/>
                    </a:cubicBezTo>
                    <a:cubicBezTo>
                      <a:pt x="82474" y="11718"/>
                      <a:pt x="74688" y="14751"/>
                      <a:pt x="67664" y="21518"/>
                    </a:cubicBezTo>
                    <a:cubicBezTo>
                      <a:pt x="54942" y="33749"/>
                      <a:pt x="47771" y="55447"/>
                      <a:pt x="48409" y="68538"/>
                    </a:cubicBezTo>
                    <a:cubicBezTo>
                      <a:pt x="48618" y="72787"/>
                      <a:pt x="48385" y="77195"/>
                      <a:pt x="47709" y="81628"/>
                    </a:cubicBezTo>
                    <a:cubicBezTo>
                      <a:pt x="45830" y="94007"/>
                      <a:pt x="35135" y="103696"/>
                      <a:pt x="22277" y="104666"/>
                    </a:cubicBezTo>
                    <a:lnTo>
                      <a:pt x="12466" y="105402"/>
                    </a:lnTo>
                    <a:cubicBezTo>
                      <a:pt x="11766" y="114539"/>
                      <a:pt x="14123" y="121772"/>
                      <a:pt x="19613" y="127408"/>
                    </a:cubicBezTo>
                    <a:cubicBezTo>
                      <a:pt x="28823" y="136888"/>
                      <a:pt x="42896" y="134838"/>
                      <a:pt x="51135" y="127408"/>
                    </a:cubicBezTo>
                    <a:lnTo>
                      <a:pt x="59400" y="136557"/>
                    </a:lnTo>
                    <a:cubicBezTo>
                      <a:pt x="52314" y="142943"/>
                      <a:pt x="43546" y="146111"/>
                      <a:pt x="34926" y="146111"/>
                    </a:cubicBezTo>
                    <a:close/>
                  </a:path>
                </a:pathLst>
              </a:custGeom>
              <a:solidFill>
                <a:schemeClr val="tx2"/>
              </a:solidFill>
              <a:ln w="1228" cap="flat">
                <a:noFill/>
                <a:prstDash val="solid"/>
                <a:miter/>
              </a:ln>
            </p:spPr>
            <p:txBody>
              <a:bodyPr rtlCol="0" anchor="ctr"/>
              <a:lstStyle/>
              <a:p>
                <a:endParaRPr lang="en-GB" dirty="0"/>
              </a:p>
            </p:txBody>
          </p:sp>
          <p:sp>
            <p:nvSpPr>
              <p:cNvPr id="289" name="Freihandform: Form 272">
                <a:extLst>
                  <a:ext uri="{FF2B5EF4-FFF2-40B4-BE49-F238E27FC236}">
                    <a16:creationId xmlns:a16="http://schemas.microsoft.com/office/drawing/2014/main" id="{1B698D3E-CBBF-4DDE-BA33-50A448F13E9C}"/>
                  </a:ext>
                </a:extLst>
              </p:cNvPr>
              <p:cNvSpPr/>
              <p:nvPr/>
            </p:nvSpPr>
            <p:spPr>
              <a:xfrm>
                <a:off x="525648" y="4316215"/>
                <a:ext cx="296863" cy="338382"/>
              </a:xfrm>
              <a:custGeom>
                <a:avLst/>
                <a:gdLst>
                  <a:gd name="connsiteX0" fmla="*/ 85299 w 296863"/>
                  <a:gd name="connsiteY0" fmla="*/ 338382 h 338382"/>
                  <a:gd name="connsiteX1" fmla="*/ 27460 w 296863"/>
                  <a:gd name="connsiteY1" fmla="*/ 322639 h 338382"/>
                  <a:gd name="connsiteX2" fmla="*/ 28013 w 296863"/>
                  <a:gd name="connsiteY2" fmla="*/ 212660 h 338382"/>
                  <a:gd name="connsiteX3" fmla="*/ 38807 w 296863"/>
                  <a:gd name="connsiteY3" fmla="*/ 170269 h 338382"/>
                  <a:gd name="connsiteX4" fmla="*/ 47673 w 296863"/>
                  <a:gd name="connsiteY4" fmla="*/ 161710 h 338382"/>
                  <a:gd name="connsiteX5" fmla="*/ 38291 w 296863"/>
                  <a:gd name="connsiteY5" fmla="*/ 219475 h 338382"/>
                  <a:gd name="connsiteX6" fmla="*/ 34791 w 296863"/>
                  <a:gd name="connsiteY6" fmla="*/ 312717 h 338382"/>
                  <a:gd name="connsiteX7" fmla="*/ 118431 w 296863"/>
                  <a:gd name="connsiteY7" fmla="*/ 322296 h 338382"/>
                  <a:gd name="connsiteX8" fmla="*/ 224346 w 296863"/>
                  <a:gd name="connsiteY8" fmla="*/ 243875 h 338382"/>
                  <a:gd name="connsiteX9" fmla="*/ 236638 w 296863"/>
                  <a:gd name="connsiteY9" fmla="*/ 209946 h 338382"/>
                  <a:gd name="connsiteX10" fmla="*/ 239057 w 296863"/>
                  <a:gd name="connsiteY10" fmla="*/ 164289 h 338382"/>
                  <a:gd name="connsiteX11" fmla="*/ 265140 w 296863"/>
                  <a:gd name="connsiteY11" fmla="*/ 120007 h 338382"/>
                  <a:gd name="connsiteX12" fmla="*/ 283523 w 296863"/>
                  <a:gd name="connsiteY12" fmla="*/ 67178 h 338382"/>
                  <a:gd name="connsiteX13" fmla="*/ 224763 w 296863"/>
                  <a:gd name="connsiteY13" fmla="*/ 12373 h 338382"/>
                  <a:gd name="connsiteX14" fmla="*/ 159127 w 296863"/>
                  <a:gd name="connsiteY14" fmla="*/ 36159 h 338382"/>
                  <a:gd name="connsiteX15" fmla="*/ 145766 w 296863"/>
                  <a:gd name="connsiteY15" fmla="*/ 73638 h 338382"/>
                  <a:gd name="connsiteX16" fmla="*/ 156253 w 296863"/>
                  <a:gd name="connsiteY16" fmla="*/ 119405 h 338382"/>
                  <a:gd name="connsiteX17" fmla="*/ 198312 w 296863"/>
                  <a:gd name="connsiteY17" fmla="*/ 152659 h 338382"/>
                  <a:gd name="connsiteX18" fmla="*/ 197096 w 296863"/>
                  <a:gd name="connsiteY18" fmla="*/ 164915 h 338382"/>
                  <a:gd name="connsiteX19" fmla="*/ 144648 w 296863"/>
                  <a:gd name="connsiteY19" fmla="*/ 123544 h 338382"/>
                  <a:gd name="connsiteX20" fmla="*/ 133510 w 296863"/>
                  <a:gd name="connsiteY20" fmla="*/ 74817 h 338382"/>
                  <a:gd name="connsiteX21" fmla="*/ 149880 w 296863"/>
                  <a:gd name="connsiteY21" fmla="*/ 27993 h 338382"/>
                  <a:gd name="connsiteX22" fmla="*/ 225058 w 296863"/>
                  <a:gd name="connsiteY22" fmla="*/ 31 h 338382"/>
                  <a:gd name="connsiteX23" fmla="*/ 295717 w 296863"/>
                  <a:gd name="connsiteY23" fmla="*/ 65275 h 338382"/>
                  <a:gd name="connsiteX24" fmla="*/ 269168 w 296863"/>
                  <a:gd name="connsiteY24" fmla="*/ 131648 h 338382"/>
                  <a:gd name="connsiteX25" fmla="*/ 251092 w 296863"/>
                  <a:gd name="connsiteY25" fmla="*/ 161526 h 338382"/>
                  <a:gd name="connsiteX26" fmla="*/ 248660 w 296863"/>
                  <a:gd name="connsiteY26" fmla="*/ 212721 h 338382"/>
                  <a:gd name="connsiteX27" fmla="*/ 235213 w 296863"/>
                  <a:gd name="connsiteY27" fmla="*/ 249708 h 338382"/>
                  <a:gd name="connsiteX28" fmla="*/ 121132 w 296863"/>
                  <a:gd name="connsiteY28" fmla="*/ 334305 h 338382"/>
                  <a:gd name="connsiteX29" fmla="*/ 85299 w 296863"/>
                  <a:gd name="connsiteY29" fmla="*/ 338382 h 338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6863" h="338382">
                    <a:moveTo>
                      <a:pt x="85299" y="338382"/>
                    </a:moveTo>
                    <a:cubicBezTo>
                      <a:pt x="62114" y="338382"/>
                      <a:pt x="41435" y="332967"/>
                      <a:pt x="27460" y="322639"/>
                    </a:cubicBezTo>
                    <a:cubicBezTo>
                      <a:pt x="-21132" y="286782"/>
                      <a:pt x="4976" y="247400"/>
                      <a:pt x="28013" y="212660"/>
                    </a:cubicBezTo>
                    <a:cubicBezTo>
                      <a:pt x="48336" y="182009"/>
                      <a:pt x="38905" y="170380"/>
                      <a:pt x="38807" y="170269"/>
                    </a:cubicBezTo>
                    <a:lnTo>
                      <a:pt x="47673" y="161710"/>
                    </a:lnTo>
                    <a:cubicBezTo>
                      <a:pt x="49454" y="163490"/>
                      <a:pt x="64300" y="180228"/>
                      <a:pt x="38291" y="219475"/>
                    </a:cubicBezTo>
                    <a:cubicBezTo>
                      <a:pt x="11840" y="259373"/>
                      <a:pt x="-2478" y="285210"/>
                      <a:pt x="34791" y="312717"/>
                    </a:cubicBezTo>
                    <a:cubicBezTo>
                      <a:pt x="52904" y="326090"/>
                      <a:pt x="84931" y="329762"/>
                      <a:pt x="118431" y="322296"/>
                    </a:cubicBezTo>
                    <a:cubicBezTo>
                      <a:pt x="164346" y="312054"/>
                      <a:pt x="202954" y="283454"/>
                      <a:pt x="224346" y="243875"/>
                    </a:cubicBezTo>
                    <a:cubicBezTo>
                      <a:pt x="229552" y="234236"/>
                      <a:pt x="233568" y="223147"/>
                      <a:pt x="236638" y="209946"/>
                    </a:cubicBezTo>
                    <a:cubicBezTo>
                      <a:pt x="240789" y="192041"/>
                      <a:pt x="241636" y="176250"/>
                      <a:pt x="239057" y="164289"/>
                    </a:cubicBezTo>
                    <a:cubicBezTo>
                      <a:pt x="236306" y="153163"/>
                      <a:pt x="238173" y="129315"/>
                      <a:pt x="265140" y="120007"/>
                    </a:cubicBezTo>
                    <a:cubicBezTo>
                      <a:pt x="279299" y="115120"/>
                      <a:pt x="287379" y="91910"/>
                      <a:pt x="283523" y="67178"/>
                    </a:cubicBezTo>
                    <a:cubicBezTo>
                      <a:pt x="279483" y="41255"/>
                      <a:pt x="261923" y="13245"/>
                      <a:pt x="224763" y="12373"/>
                    </a:cubicBezTo>
                    <a:cubicBezTo>
                      <a:pt x="188611" y="11525"/>
                      <a:pt x="169110" y="24849"/>
                      <a:pt x="159127" y="36159"/>
                    </a:cubicBezTo>
                    <a:cubicBezTo>
                      <a:pt x="147166" y="49716"/>
                      <a:pt x="144452" y="64833"/>
                      <a:pt x="145766" y="73638"/>
                    </a:cubicBezTo>
                    <a:cubicBezTo>
                      <a:pt x="145827" y="74448"/>
                      <a:pt x="146822" y="93040"/>
                      <a:pt x="156253" y="119405"/>
                    </a:cubicBezTo>
                    <a:cubicBezTo>
                      <a:pt x="162798" y="137715"/>
                      <a:pt x="179303" y="150756"/>
                      <a:pt x="198312" y="152659"/>
                    </a:cubicBezTo>
                    <a:lnTo>
                      <a:pt x="197096" y="164915"/>
                    </a:lnTo>
                    <a:cubicBezTo>
                      <a:pt x="173371" y="162557"/>
                      <a:pt x="152790" y="146323"/>
                      <a:pt x="144648" y="123544"/>
                    </a:cubicBezTo>
                    <a:cubicBezTo>
                      <a:pt x="134542" y="95287"/>
                      <a:pt x="133547" y="75652"/>
                      <a:pt x="133510" y="74817"/>
                    </a:cubicBezTo>
                    <a:cubicBezTo>
                      <a:pt x="131865" y="64010"/>
                      <a:pt x="135119" y="44731"/>
                      <a:pt x="149880" y="27993"/>
                    </a:cubicBezTo>
                    <a:cubicBezTo>
                      <a:pt x="161595" y="14706"/>
                      <a:pt x="184215" y="-792"/>
                      <a:pt x="225058" y="31"/>
                    </a:cubicBezTo>
                    <a:cubicBezTo>
                      <a:pt x="269819" y="1075"/>
                      <a:pt x="290903" y="34428"/>
                      <a:pt x="295717" y="65275"/>
                    </a:cubicBezTo>
                    <a:cubicBezTo>
                      <a:pt x="300617" y="96736"/>
                      <a:pt x="289454" y="124649"/>
                      <a:pt x="269168" y="131648"/>
                    </a:cubicBezTo>
                    <a:cubicBezTo>
                      <a:pt x="246609" y="139446"/>
                      <a:pt x="250564" y="159291"/>
                      <a:pt x="251092" y="161526"/>
                    </a:cubicBezTo>
                    <a:cubicBezTo>
                      <a:pt x="254125" y="175586"/>
                      <a:pt x="253290" y="192766"/>
                      <a:pt x="248660" y="212721"/>
                    </a:cubicBezTo>
                    <a:cubicBezTo>
                      <a:pt x="245345" y="226990"/>
                      <a:pt x="240948" y="239099"/>
                      <a:pt x="235213" y="249708"/>
                    </a:cubicBezTo>
                    <a:cubicBezTo>
                      <a:pt x="212127" y="292443"/>
                      <a:pt x="170535" y="323290"/>
                      <a:pt x="121132" y="334305"/>
                    </a:cubicBezTo>
                    <a:cubicBezTo>
                      <a:pt x="108889" y="337056"/>
                      <a:pt x="96781" y="338382"/>
                      <a:pt x="85299" y="338382"/>
                    </a:cubicBezTo>
                    <a:close/>
                  </a:path>
                </a:pathLst>
              </a:custGeom>
              <a:solidFill>
                <a:schemeClr val="tx2"/>
              </a:solidFill>
              <a:ln w="1228" cap="flat">
                <a:noFill/>
                <a:prstDash val="solid"/>
                <a:miter/>
              </a:ln>
            </p:spPr>
            <p:txBody>
              <a:bodyPr rtlCol="0" anchor="ctr"/>
              <a:lstStyle/>
              <a:p>
                <a:endParaRPr lang="en-GB" dirty="0"/>
              </a:p>
            </p:txBody>
          </p:sp>
          <p:sp>
            <p:nvSpPr>
              <p:cNvPr id="290" name="Freihandform: Form 273">
                <a:extLst>
                  <a:ext uri="{FF2B5EF4-FFF2-40B4-BE49-F238E27FC236}">
                    <a16:creationId xmlns:a16="http://schemas.microsoft.com/office/drawing/2014/main" id="{92C32CF5-29B3-48F5-9321-8074285CFF9F}"/>
                  </a:ext>
                </a:extLst>
              </p:cNvPr>
              <p:cNvSpPr/>
              <p:nvPr/>
            </p:nvSpPr>
            <p:spPr>
              <a:xfrm>
                <a:off x="584714" y="4420352"/>
                <a:ext cx="103229" cy="58813"/>
              </a:xfrm>
              <a:custGeom>
                <a:avLst/>
                <a:gdLst>
                  <a:gd name="connsiteX0" fmla="*/ 69717 w 103229"/>
                  <a:gd name="connsiteY0" fmla="*/ 58814 h 58813"/>
                  <a:gd name="connsiteX1" fmla="*/ 57179 w 103229"/>
                  <a:gd name="connsiteY1" fmla="*/ 56308 h 58813"/>
                  <a:gd name="connsiteX2" fmla="*/ 29758 w 103229"/>
                  <a:gd name="connsiteY2" fmla="*/ 32092 h 58813"/>
                  <a:gd name="connsiteX3" fmla="*/ 18472 w 103229"/>
                  <a:gd name="connsiteY3" fmla="*/ 12334 h 58813"/>
                  <a:gd name="connsiteX4" fmla="*/ 14837 w 103229"/>
                  <a:gd name="connsiteY4" fmla="*/ 43095 h 58813"/>
                  <a:gd name="connsiteX5" fmla="*/ 3257 w 103229"/>
                  <a:gd name="connsiteY5" fmla="*/ 47332 h 58813"/>
                  <a:gd name="connsiteX6" fmla="*/ 8268 w 103229"/>
                  <a:gd name="connsiteY6" fmla="*/ 4597 h 58813"/>
                  <a:gd name="connsiteX7" fmla="*/ 20769 w 103229"/>
                  <a:gd name="connsiteY7" fmla="*/ 226 h 58813"/>
                  <a:gd name="connsiteX8" fmla="*/ 41473 w 103229"/>
                  <a:gd name="connsiteY8" fmla="*/ 28249 h 58813"/>
                  <a:gd name="connsiteX9" fmla="*/ 61968 w 103229"/>
                  <a:gd name="connsiteY9" fmla="*/ 44949 h 58813"/>
                  <a:gd name="connsiteX10" fmla="*/ 78816 w 103229"/>
                  <a:gd name="connsiteY10" fmla="*/ 44520 h 58813"/>
                  <a:gd name="connsiteX11" fmla="*/ 98157 w 103229"/>
                  <a:gd name="connsiteY11" fmla="*/ 35801 h 58813"/>
                  <a:gd name="connsiteX12" fmla="*/ 103229 w 103229"/>
                  <a:gd name="connsiteY12" fmla="*/ 47049 h 58813"/>
                  <a:gd name="connsiteX13" fmla="*/ 83876 w 103229"/>
                  <a:gd name="connsiteY13" fmla="*/ 55768 h 58813"/>
                  <a:gd name="connsiteX14" fmla="*/ 69717 w 103229"/>
                  <a:gd name="connsiteY14" fmla="*/ 58814 h 58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229" h="58813">
                    <a:moveTo>
                      <a:pt x="69717" y="58814"/>
                    </a:moveTo>
                    <a:cubicBezTo>
                      <a:pt x="65394" y="58814"/>
                      <a:pt x="61133" y="57966"/>
                      <a:pt x="57179" y="56308"/>
                    </a:cubicBezTo>
                    <a:cubicBezTo>
                      <a:pt x="46876" y="51961"/>
                      <a:pt x="33761" y="44237"/>
                      <a:pt x="29758" y="32092"/>
                    </a:cubicBezTo>
                    <a:cubicBezTo>
                      <a:pt x="23630" y="13513"/>
                      <a:pt x="18681" y="12383"/>
                      <a:pt x="18472" y="12334"/>
                    </a:cubicBezTo>
                    <a:cubicBezTo>
                      <a:pt x="10724" y="20193"/>
                      <a:pt x="11387" y="33677"/>
                      <a:pt x="14837" y="43095"/>
                    </a:cubicBezTo>
                    <a:lnTo>
                      <a:pt x="3257" y="47332"/>
                    </a:lnTo>
                    <a:cubicBezTo>
                      <a:pt x="-1569" y="34082"/>
                      <a:pt x="-1900" y="15748"/>
                      <a:pt x="8268" y="4597"/>
                    </a:cubicBezTo>
                    <a:cubicBezTo>
                      <a:pt x="8599" y="4192"/>
                      <a:pt x="13217" y="-1150"/>
                      <a:pt x="20769" y="226"/>
                    </a:cubicBezTo>
                    <a:cubicBezTo>
                      <a:pt x="28996" y="1785"/>
                      <a:pt x="35775" y="10959"/>
                      <a:pt x="41473" y="28249"/>
                    </a:cubicBezTo>
                    <a:cubicBezTo>
                      <a:pt x="43462" y="34291"/>
                      <a:pt x="50744" y="40222"/>
                      <a:pt x="61968" y="44949"/>
                    </a:cubicBezTo>
                    <a:cubicBezTo>
                      <a:pt x="67187" y="47148"/>
                      <a:pt x="73327" y="46988"/>
                      <a:pt x="78816" y="44520"/>
                    </a:cubicBezTo>
                    <a:lnTo>
                      <a:pt x="98157" y="35801"/>
                    </a:lnTo>
                    <a:lnTo>
                      <a:pt x="103229" y="47049"/>
                    </a:lnTo>
                    <a:lnTo>
                      <a:pt x="83876" y="55768"/>
                    </a:lnTo>
                    <a:cubicBezTo>
                      <a:pt x="79332" y="57794"/>
                      <a:pt x="74494" y="58814"/>
                      <a:pt x="69717" y="58814"/>
                    </a:cubicBezTo>
                    <a:close/>
                  </a:path>
                </a:pathLst>
              </a:custGeom>
              <a:solidFill>
                <a:schemeClr val="tx2"/>
              </a:solidFill>
              <a:ln w="1228" cap="flat">
                <a:noFill/>
                <a:prstDash val="solid"/>
                <a:miter/>
              </a:ln>
            </p:spPr>
            <p:txBody>
              <a:bodyPr rtlCol="0" anchor="ctr"/>
              <a:lstStyle/>
              <a:p>
                <a:endParaRPr lang="en-GB" dirty="0"/>
              </a:p>
            </p:txBody>
          </p:sp>
          <p:sp>
            <p:nvSpPr>
              <p:cNvPr id="291" name="Freihandform: Form 274">
                <a:extLst>
                  <a:ext uri="{FF2B5EF4-FFF2-40B4-BE49-F238E27FC236}">
                    <a16:creationId xmlns:a16="http://schemas.microsoft.com/office/drawing/2014/main" id="{7F5A2F57-A66C-4FA4-B508-EE28DCAD48B5}"/>
                  </a:ext>
                </a:extLst>
              </p:cNvPr>
              <p:cNvSpPr/>
              <p:nvPr/>
            </p:nvSpPr>
            <p:spPr>
              <a:xfrm>
                <a:off x="588168" y="4462907"/>
                <a:ext cx="124052" cy="66005"/>
              </a:xfrm>
              <a:custGeom>
                <a:avLst/>
                <a:gdLst>
                  <a:gd name="connsiteX0" fmla="*/ 75117 w 124052"/>
                  <a:gd name="connsiteY0" fmla="*/ 66005 h 66005"/>
                  <a:gd name="connsiteX1" fmla="*/ 67344 w 124052"/>
                  <a:gd name="connsiteY1" fmla="*/ 65379 h 66005"/>
                  <a:gd name="connsiteX2" fmla="*/ 0 w 124052"/>
                  <a:gd name="connsiteY2" fmla="*/ 5305 h 66005"/>
                  <a:gd name="connsiteX3" fmla="*/ 11138 w 124052"/>
                  <a:gd name="connsiteY3" fmla="*/ 0 h 66005"/>
                  <a:gd name="connsiteX4" fmla="*/ 69259 w 124052"/>
                  <a:gd name="connsiteY4" fmla="*/ 53185 h 66005"/>
                  <a:gd name="connsiteX5" fmla="*/ 96324 w 124052"/>
                  <a:gd name="connsiteY5" fmla="*/ 46320 h 66005"/>
                  <a:gd name="connsiteX6" fmla="*/ 124053 w 124052"/>
                  <a:gd name="connsiteY6" fmla="*/ 38866 h 66005"/>
                  <a:gd name="connsiteX7" fmla="*/ 122162 w 124052"/>
                  <a:gd name="connsiteY7" fmla="*/ 51048 h 66005"/>
                  <a:gd name="connsiteX8" fmla="*/ 102636 w 124052"/>
                  <a:gd name="connsiteY8" fmla="*/ 56918 h 66005"/>
                  <a:gd name="connsiteX9" fmla="*/ 75117 w 124052"/>
                  <a:gd name="connsiteY9" fmla="*/ 66005 h 66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4052" h="66005">
                    <a:moveTo>
                      <a:pt x="75117" y="66005"/>
                    </a:moveTo>
                    <a:cubicBezTo>
                      <a:pt x="72685" y="66005"/>
                      <a:pt x="70094" y="65808"/>
                      <a:pt x="67344" y="65379"/>
                    </a:cubicBezTo>
                    <a:cubicBezTo>
                      <a:pt x="25935" y="58870"/>
                      <a:pt x="1044" y="7491"/>
                      <a:pt x="0" y="5305"/>
                    </a:cubicBezTo>
                    <a:lnTo>
                      <a:pt x="11138" y="0"/>
                    </a:lnTo>
                    <a:cubicBezTo>
                      <a:pt x="11371" y="466"/>
                      <a:pt x="34310" y="47695"/>
                      <a:pt x="69259" y="53185"/>
                    </a:cubicBezTo>
                    <a:cubicBezTo>
                      <a:pt x="81588" y="55100"/>
                      <a:pt x="88735" y="50851"/>
                      <a:pt x="96324" y="46320"/>
                    </a:cubicBezTo>
                    <a:cubicBezTo>
                      <a:pt x="103656" y="41948"/>
                      <a:pt x="111969" y="37012"/>
                      <a:pt x="124053" y="38866"/>
                    </a:cubicBezTo>
                    <a:lnTo>
                      <a:pt x="122162" y="51048"/>
                    </a:lnTo>
                    <a:cubicBezTo>
                      <a:pt x="114487" y="49820"/>
                      <a:pt x="109243" y="52976"/>
                      <a:pt x="102636" y="56918"/>
                    </a:cubicBezTo>
                    <a:cubicBezTo>
                      <a:pt x="95723" y="61044"/>
                      <a:pt x="87409" y="66005"/>
                      <a:pt x="75117" y="66005"/>
                    </a:cubicBezTo>
                    <a:close/>
                  </a:path>
                </a:pathLst>
              </a:custGeom>
              <a:solidFill>
                <a:schemeClr val="tx2"/>
              </a:solidFill>
              <a:ln w="1228" cap="flat">
                <a:noFill/>
                <a:prstDash val="solid"/>
                <a:miter/>
              </a:ln>
            </p:spPr>
            <p:txBody>
              <a:bodyPr rtlCol="0" anchor="ctr"/>
              <a:lstStyle/>
              <a:p>
                <a:endParaRPr lang="en-GB" dirty="0"/>
              </a:p>
            </p:txBody>
          </p:sp>
        </p:grpSp>
        <p:sp>
          <p:nvSpPr>
            <p:cNvPr id="287" name="Freihandform: Form 275">
              <a:extLst>
                <a:ext uri="{FF2B5EF4-FFF2-40B4-BE49-F238E27FC236}">
                  <a16:creationId xmlns:a16="http://schemas.microsoft.com/office/drawing/2014/main" id="{F19E2D1D-9FD6-47AE-AC55-70E3F39BE8B7}"/>
                </a:ext>
              </a:extLst>
            </p:cNvPr>
            <p:cNvSpPr/>
            <p:nvPr/>
          </p:nvSpPr>
          <p:spPr>
            <a:xfrm>
              <a:off x="443693" y="4281140"/>
              <a:ext cx="416393" cy="410972"/>
            </a:xfrm>
            <a:custGeom>
              <a:avLst/>
              <a:gdLst>
                <a:gd name="connsiteX0" fmla="*/ 160414 w 416393"/>
                <a:gd name="connsiteY0" fmla="*/ 410973 h 410972"/>
                <a:gd name="connsiteX1" fmla="*/ 45706 w 416393"/>
                <a:gd name="connsiteY1" fmla="*/ 369528 h 410972"/>
                <a:gd name="connsiteX2" fmla="*/ 73 w 416393"/>
                <a:gd name="connsiteY2" fmla="*/ 285483 h 410972"/>
                <a:gd name="connsiteX3" fmla="*/ 47757 w 416393"/>
                <a:gd name="connsiteY3" fmla="*/ 172053 h 410972"/>
                <a:gd name="connsiteX4" fmla="*/ 52190 w 416393"/>
                <a:gd name="connsiteY4" fmla="*/ 107681 h 410972"/>
                <a:gd name="connsiteX5" fmla="*/ 23442 w 416393"/>
                <a:gd name="connsiteY5" fmla="*/ 67108 h 410972"/>
                <a:gd name="connsiteX6" fmla="*/ 33475 w 416393"/>
                <a:gd name="connsiteY6" fmla="*/ 59924 h 410972"/>
                <a:gd name="connsiteX7" fmla="*/ 62677 w 416393"/>
                <a:gd name="connsiteY7" fmla="*/ 101173 h 410972"/>
                <a:gd name="connsiteX8" fmla="*/ 56267 w 416393"/>
                <a:gd name="connsiteY8" fmla="*/ 180980 h 410972"/>
                <a:gd name="connsiteX9" fmla="*/ 12403 w 416393"/>
                <a:gd name="connsiteY9" fmla="*/ 285139 h 410972"/>
                <a:gd name="connsiteX10" fmla="*/ 53762 w 416393"/>
                <a:gd name="connsiteY10" fmla="*/ 360183 h 410972"/>
                <a:gd name="connsiteX11" fmla="*/ 188903 w 416393"/>
                <a:gd name="connsiteY11" fmla="*/ 396372 h 410972"/>
                <a:gd name="connsiteX12" fmla="*/ 358711 w 416393"/>
                <a:gd name="connsiteY12" fmla="*/ 191897 h 410972"/>
                <a:gd name="connsiteX13" fmla="*/ 361929 w 416393"/>
                <a:gd name="connsiteY13" fmla="*/ 186457 h 410972"/>
                <a:gd name="connsiteX14" fmla="*/ 403644 w 416393"/>
                <a:gd name="connsiteY14" fmla="*/ 120452 h 410972"/>
                <a:gd name="connsiteX15" fmla="*/ 371274 w 416393"/>
                <a:gd name="connsiteY15" fmla="*/ 35941 h 410972"/>
                <a:gd name="connsiteX16" fmla="*/ 278510 w 416393"/>
                <a:gd name="connsiteY16" fmla="*/ 14181 h 410972"/>
                <a:gd name="connsiteX17" fmla="*/ 206807 w 416393"/>
                <a:gd name="connsiteY17" fmla="*/ 60194 h 410972"/>
                <a:gd name="connsiteX18" fmla="*/ 126852 w 416393"/>
                <a:gd name="connsiteY18" fmla="*/ 112974 h 410972"/>
                <a:gd name="connsiteX19" fmla="*/ 87102 w 416393"/>
                <a:gd name="connsiteY19" fmla="*/ 85982 h 410972"/>
                <a:gd name="connsiteX20" fmla="*/ 56574 w 416393"/>
                <a:gd name="connsiteY20" fmla="*/ 44930 h 410972"/>
                <a:gd name="connsiteX21" fmla="*/ 66471 w 416393"/>
                <a:gd name="connsiteY21" fmla="*/ 37587 h 410972"/>
                <a:gd name="connsiteX22" fmla="*/ 96987 w 416393"/>
                <a:gd name="connsiteY22" fmla="*/ 78639 h 410972"/>
                <a:gd name="connsiteX23" fmla="*/ 129505 w 416393"/>
                <a:gd name="connsiteY23" fmla="*/ 100927 h 410972"/>
                <a:gd name="connsiteX24" fmla="*/ 196283 w 416393"/>
                <a:gd name="connsiteY24" fmla="*/ 53735 h 410972"/>
                <a:gd name="connsiteX25" fmla="*/ 276423 w 416393"/>
                <a:gd name="connsiteY25" fmla="*/ 2012 h 410972"/>
                <a:gd name="connsiteX26" fmla="*/ 379022 w 416393"/>
                <a:gd name="connsiteY26" fmla="*/ 26363 h 410972"/>
                <a:gd name="connsiteX27" fmla="*/ 415899 w 416393"/>
                <a:gd name="connsiteY27" fmla="*/ 121582 h 410972"/>
                <a:gd name="connsiteX28" fmla="*/ 371016 w 416393"/>
                <a:gd name="connsiteY28" fmla="*/ 195459 h 410972"/>
                <a:gd name="connsiteX29" fmla="*/ 190819 w 416393"/>
                <a:gd name="connsiteY29" fmla="*/ 408554 h 410972"/>
                <a:gd name="connsiteX30" fmla="*/ 160414 w 416393"/>
                <a:gd name="connsiteY30" fmla="*/ 410973 h 410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6393" h="410972">
                  <a:moveTo>
                    <a:pt x="160414" y="410973"/>
                  </a:moveTo>
                  <a:cubicBezTo>
                    <a:pt x="117667" y="410973"/>
                    <a:pt x="77032" y="396507"/>
                    <a:pt x="45706" y="369528"/>
                  </a:cubicBezTo>
                  <a:cubicBezTo>
                    <a:pt x="24867" y="351587"/>
                    <a:pt x="37" y="322434"/>
                    <a:pt x="73" y="285483"/>
                  </a:cubicBezTo>
                  <a:cubicBezTo>
                    <a:pt x="-62" y="283187"/>
                    <a:pt x="-3033" y="220399"/>
                    <a:pt x="47757" y="172053"/>
                  </a:cubicBezTo>
                  <a:cubicBezTo>
                    <a:pt x="70782" y="150133"/>
                    <a:pt x="62886" y="124947"/>
                    <a:pt x="52190" y="107681"/>
                  </a:cubicBezTo>
                  <a:cubicBezTo>
                    <a:pt x="50778" y="105409"/>
                    <a:pt x="34224" y="82175"/>
                    <a:pt x="23442" y="67108"/>
                  </a:cubicBezTo>
                  <a:lnTo>
                    <a:pt x="33475" y="59924"/>
                  </a:lnTo>
                  <a:cubicBezTo>
                    <a:pt x="36250" y="63792"/>
                    <a:pt x="60589" y="97820"/>
                    <a:pt x="62677" y="101173"/>
                  </a:cubicBezTo>
                  <a:cubicBezTo>
                    <a:pt x="81195" y="131075"/>
                    <a:pt x="78911" y="159429"/>
                    <a:pt x="56267" y="180980"/>
                  </a:cubicBezTo>
                  <a:cubicBezTo>
                    <a:pt x="9725" y="225287"/>
                    <a:pt x="12378" y="284538"/>
                    <a:pt x="12403" y="285139"/>
                  </a:cubicBezTo>
                  <a:cubicBezTo>
                    <a:pt x="12378" y="317768"/>
                    <a:pt x="34887" y="343924"/>
                    <a:pt x="53762" y="360183"/>
                  </a:cubicBezTo>
                  <a:cubicBezTo>
                    <a:pt x="89705" y="391153"/>
                    <a:pt x="138923" y="404391"/>
                    <a:pt x="188903" y="396372"/>
                  </a:cubicBezTo>
                  <a:cubicBezTo>
                    <a:pt x="252600" y="386216"/>
                    <a:pt x="359350" y="346159"/>
                    <a:pt x="358711" y="191897"/>
                  </a:cubicBezTo>
                  <a:cubicBezTo>
                    <a:pt x="358699" y="189638"/>
                    <a:pt x="359939" y="187538"/>
                    <a:pt x="361929" y="186457"/>
                  </a:cubicBezTo>
                  <a:cubicBezTo>
                    <a:pt x="386108" y="173330"/>
                    <a:pt x="400918" y="149900"/>
                    <a:pt x="403644" y="120452"/>
                  </a:cubicBezTo>
                  <a:cubicBezTo>
                    <a:pt x="406640" y="88045"/>
                    <a:pt x="393636" y="54091"/>
                    <a:pt x="371274" y="35941"/>
                  </a:cubicBezTo>
                  <a:cubicBezTo>
                    <a:pt x="347671" y="16772"/>
                    <a:pt x="312145" y="8434"/>
                    <a:pt x="278510" y="14181"/>
                  </a:cubicBezTo>
                  <a:cubicBezTo>
                    <a:pt x="247184" y="19523"/>
                    <a:pt x="221715" y="35868"/>
                    <a:pt x="206807" y="60194"/>
                  </a:cubicBezTo>
                  <a:cubicBezTo>
                    <a:pt x="180504" y="103101"/>
                    <a:pt x="155821" y="119347"/>
                    <a:pt x="126852" y="112974"/>
                  </a:cubicBezTo>
                  <a:cubicBezTo>
                    <a:pt x="111637" y="109585"/>
                    <a:pt x="97528" y="100018"/>
                    <a:pt x="87102" y="85982"/>
                  </a:cubicBezTo>
                  <a:lnTo>
                    <a:pt x="56574" y="44930"/>
                  </a:lnTo>
                  <a:lnTo>
                    <a:pt x="66471" y="37587"/>
                  </a:lnTo>
                  <a:lnTo>
                    <a:pt x="96987" y="78639"/>
                  </a:lnTo>
                  <a:cubicBezTo>
                    <a:pt x="105645" y="90268"/>
                    <a:pt x="117188" y="98201"/>
                    <a:pt x="129505" y="100927"/>
                  </a:cubicBezTo>
                  <a:cubicBezTo>
                    <a:pt x="146009" y="104623"/>
                    <a:pt x="166811" y="101823"/>
                    <a:pt x="196283" y="53735"/>
                  </a:cubicBezTo>
                  <a:cubicBezTo>
                    <a:pt x="213082" y="26351"/>
                    <a:pt x="241535" y="7980"/>
                    <a:pt x="276423" y="2012"/>
                  </a:cubicBezTo>
                  <a:cubicBezTo>
                    <a:pt x="313963" y="-4386"/>
                    <a:pt x="352338" y="4676"/>
                    <a:pt x="379022" y="26363"/>
                  </a:cubicBezTo>
                  <a:cubicBezTo>
                    <a:pt x="404847" y="47313"/>
                    <a:pt x="419313" y="84693"/>
                    <a:pt x="415899" y="121582"/>
                  </a:cubicBezTo>
                  <a:cubicBezTo>
                    <a:pt x="412903" y="153940"/>
                    <a:pt x="397013" y="180035"/>
                    <a:pt x="371016" y="195459"/>
                  </a:cubicBezTo>
                  <a:cubicBezTo>
                    <a:pt x="369923" y="361951"/>
                    <a:pt x="244851" y="399933"/>
                    <a:pt x="190819" y="408554"/>
                  </a:cubicBezTo>
                  <a:cubicBezTo>
                    <a:pt x="180639" y="410175"/>
                    <a:pt x="170471" y="410973"/>
                    <a:pt x="160414" y="410973"/>
                  </a:cubicBezTo>
                  <a:close/>
                </a:path>
              </a:pathLst>
            </a:custGeom>
            <a:solidFill>
              <a:schemeClr val="accent1"/>
            </a:solidFill>
            <a:ln w="1228" cap="flat">
              <a:noFill/>
              <a:prstDash val="solid"/>
              <a:miter/>
            </a:ln>
          </p:spPr>
          <p:txBody>
            <a:bodyPr rtlCol="0" anchor="ctr"/>
            <a:lstStyle/>
            <a:p>
              <a:endParaRPr lang="en-GB" dirty="0"/>
            </a:p>
          </p:txBody>
        </p:sp>
      </p:grpSp>
      <p:grpSp>
        <p:nvGrpSpPr>
          <p:cNvPr id="292" name="Gruppieren 441">
            <a:extLst>
              <a:ext uri="{FF2B5EF4-FFF2-40B4-BE49-F238E27FC236}">
                <a16:creationId xmlns:a16="http://schemas.microsoft.com/office/drawing/2014/main" id="{000E6C63-A544-4F32-BD03-F05ED5F6C5B0}"/>
              </a:ext>
            </a:extLst>
          </p:cNvPr>
          <p:cNvGrpSpPr>
            <a:grpSpLocks noChangeAspect="1"/>
          </p:cNvGrpSpPr>
          <p:nvPr/>
        </p:nvGrpSpPr>
        <p:grpSpPr>
          <a:xfrm>
            <a:off x="2961982" y="4097454"/>
            <a:ext cx="461060" cy="432000"/>
            <a:chOff x="3038104" y="4294754"/>
            <a:chExt cx="407733" cy="382033"/>
          </a:xfrm>
        </p:grpSpPr>
        <p:grpSp>
          <p:nvGrpSpPr>
            <p:cNvPr id="293" name="Gruppieren 440">
              <a:extLst>
                <a:ext uri="{FF2B5EF4-FFF2-40B4-BE49-F238E27FC236}">
                  <a16:creationId xmlns:a16="http://schemas.microsoft.com/office/drawing/2014/main" id="{88BBA500-0A2F-4A86-B3C2-28E00A15340D}"/>
                </a:ext>
              </a:extLst>
            </p:cNvPr>
            <p:cNvGrpSpPr/>
            <p:nvPr/>
          </p:nvGrpSpPr>
          <p:grpSpPr>
            <a:xfrm>
              <a:off x="3101162" y="4294754"/>
              <a:ext cx="281653" cy="157788"/>
              <a:chOff x="3101162" y="4294754"/>
              <a:chExt cx="281653" cy="157788"/>
            </a:xfrm>
          </p:grpSpPr>
          <p:grpSp>
            <p:nvGrpSpPr>
              <p:cNvPr id="359" name="Grafik 11">
                <a:extLst>
                  <a:ext uri="{FF2B5EF4-FFF2-40B4-BE49-F238E27FC236}">
                    <a16:creationId xmlns:a16="http://schemas.microsoft.com/office/drawing/2014/main" id="{C17C27EB-DAF5-4649-882A-FD9587007DC8}"/>
                  </a:ext>
                </a:extLst>
              </p:cNvPr>
              <p:cNvGrpSpPr/>
              <p:nvPr/>
            </p:nvGrpSpPr>
            <p:grpSpPr>
              <a:xfrm>
                <a:off x="3235824" y="4294773"/>
                <a:ext cx="146991" cy="157769"/>
                <a:chOff x="3235824" y="4294773"/>
                <a:chExt cx="146991" cy="157769"/>
              </a:xfrm>
              <a:solidFill>
                <a:schemeClr val="accent1"/>
              </a:solidFill>
            </p:grpSpPr>
            <p:sp>
              <p:nvSpPr>
                <p:cNvPr id="363" name="Freihandform: Form 279">
                  <a:extLst>
                    <a:ext uri="{FF2B5EF4-FFF2-40B4-BE49-F238E27FC236}">
                      <a16:creationId xmlns:a16="http://schemas.microsoft.com/office/drawing/2014/main" id="{00D502D6-F51C-453E-ACA5-B6016BFA3BE4}"/>
                    </a:ext>
                  </a:extLst>
                </p:cNvPr>
                <p:cNvSpPr/>
                <p:nvPr/>
              </p:nvSpPr>
              <p:spPr>
                <a:xfrm>
                  <a:off x="3235824" y="4348113"/>
                  <a:ext cx="86144" cy="104429"/>
                </a:xfrm>
                <a:custGeom>
                  <a:avLst/>
                  <a:gdLst>
                    <a:gd name="connsiteX0" fmla="*/ 12329 w 86144"/>
                    <a:gd name="connsiteY0" fmla="*/ 104429 h 104429"/>
                    <a:gd name="connsiteX1" fmla="*/ 0 w 86144"/>
                    <a:gd name="connsiteY1" fmla="*/ 104429 h 104429"/>
                    <a:gd name="connsiteX2" fmla="*/ 80569 w 86144"/>
                    <a:gd name="connsiteY2" fmla="*/ 0 h 104429"/>
                    <a:gd name="connsiteX3" fmla="*/ 86144 w 86144"/>
                    <a:gd name="connsiteY3" fmla="*/ 11003 h 104429"/>
                    <a:gd name="connsiteX4" fmla="*/ 12329 w 86144"/>
                    <a:gd name="connsiteY4" fmla="*/ 104429 h 104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44" h="104429">
                      <a:moveTo>
                        <a:pt x="12329" y="104429"/>
                      </a:moveTo>
                      <a:lnTo>
                        <a:pt x="0" y="104429"/>
                      </a:lnTo>
                      <a:cubicBezTo>
                        <a:pt x="0" y="41555"/>
                        <a:pt x="77266" y="1670"/>
                        <a:pt x="80569" y="0"/>
                      </a:cubicBezTo>
                      <a:lnTo>
                        <a:pt x="86144" y="11003"/>
                      </a:lnTo>
                      <a:cubicBezTo>
                        <a:pt x="85395" y="11384"/>
                        <a:pt x="12329" y="49145"/>
                        <a:pt x="12329" y="104429"/>
                      </a:cubicBezTo>
                      <a:close/>
                    </a:path>
                  </a:pathLst>
                </a:custGeom>
                <a:solidFill>
                  <a:schemeClr val="accent1"/>
                </a:solidFill>
                <a:ln w="1228" cap="flat">
                  <a:noFill/>
                  <a:prstDash val="solid"/>
                  <a:miter/>
                </a:ln>
              </p:spPr>
              <p:txBody>
                <a:bodyPr rtlCol="0" anchor="ctr"/>
                <a:lstStyle/>
                <a:p>
                  <a:endParaRPr lang="en-GB" dirty="0"/>
                </a:p>
              </p:txBody>
            </p:sp>
            <p:sp>
              <p:nvSpPr>
                <p:cNvPr id="364" name="Freihandform: Form 280">
                  <a:extLst>
                    <a:ext uri="{FF2B5EF4-FFF2-40B4-BE49-F238E27FC236}">
                      <a16:creationId xmlns:a16="http://schemas.microsoft.com/office/drawing/2014/main" id="{1AD2095E-384F-479A-888F-6444E231EE86}"/>
                    </a:ext>
                  </a:extLst>
                </p:cNvPr>
                <p:cNvSpPr/>
                <p:nvPr/>
              </p:nvSpPr>
              <p:spPr>
                <a:xfrm>
                  <a:off x="3255509" y="4294773"/>
                  <a:ext cx="127307" cy="117712"/>
                </a:xfrm>
                <a:custGeom>
                  <a:avLst/>
                  <a:gdLst>
                    <a:gd name="connsiteX0" fmla="*/ 71138 w 127307"/>
                    <a:gd name="connsiteY0" fmla="*/ 117712 h 117712"/>
                    <a:gd name="connsiteX1" fmla="*/ 65993 w 127307"/>
                    <a:gd name="connsiteY1" fmla="*/ 117454 h 117712"/>
                    <a:gd name="connsiteX2" fmla="*/ 0 w 127307"/>
                    <a:gd name="connsiteY2" fmla="*/ 110712 h 117712"/>
                    <a:gd name="connsiteX3" fmla="*/ 6742 w 127307"/>
                    <a:gd name="connsiteY3" fmla="*/ 44720 h 117712"/>
                    <a:gd name="connsiteX4" fmla="*/ 61314 w 127307"/>
                    <a:gd name="connsiteY4" fmla="*/ 266 h 117712"/>
                    <a:gd name="connsiteX5" fmla="*/ 127307 w 127307"/>
                    <a:gd name="connsiteY5" fmla="*/ 7008 h 117712"/>
                    <a:gd name="connsiteX6" fmla="*/ 120565 w 127307"/>
                    <a:gd name="connsiteY6" fmla="*/ 72988 h 117712"/>
                    <a:gd name="connsiteX7" fmla="*/ 102489 w 127307"/>
                    <a:gd name="connsiteY7" fmla="*/ 106525 h 117712"/>
                    <a:gd name="connsiteX8" fmla="*/ 71138 w 127307"/>
                    <a:gd name="connsiteY8" fmla="*/ 117712 h 117712"/>
                    <a:gd name="connsiteX9" fmla="*/ 67245 w 127307"/>
                    <a:gd name="connsiteY9" fmla="*/ 105186 h 117712"/>
                    <a:gd name="connsiteX10" fmla="*/ 94704 w 127307"/>
                    <a:gd name="connsiteY10" fmla="*/ 96959 h 117712"/>
                    <a:gd name="connsiteX11" fmla="*/ 108310 w 127307"/>
                    <a:gd name="connsiteY11" fmla="*/ 71736 h 117712"/>
                    <a:gd name="connsiteX12" fmla="*/ 113799 w 127307"/>
                    <a:gd name="connsiteY12" fmla="*/ 18011 h 117712"/>
                    <a:gd name="connsiteX13" fmla="*/ 60062 w 127307"/>
                    <a:gd name="connsiteY13" fmla="*/ 12522 h 117712"/>
                    <a:gd name="connsiteX14" fmla="*/ 18997 w 127307"/>
                    <a:gd name="connsiteY14" fmla="*/ 45960 h 117712"/>
                    <a:gd name="connsiteX15" fmla="*/ 13508 w 127307"/>
                    <a:gd name="connsiteY15" fmla="*/ 99697 h 117712"/>
                    <a:gd name="connsiteX16" fmla="*/ 67245 w 127307"/>
                    <a:gd name="connsiteY16" fmla="*/ 105186 h 11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307" h="117712">
                      <a:moveTo>
                        <a:pt x="71138" y="117712"/>
                      </a:moveTo>
                      <a:cubicBezTo>
                        <a:pt x="69444" y="117712"/>
                        <a:pt x="67712" y="117626"/>
                        <a:pt x="65993" y="117454"/>
                      </a:cubicBezTo>
                      <a:lnTo>
                        <a:pt x="0" y="110712"/>
                      </a:lnTo>
                      <a:lnTo>
                        <a:pt x="6742" y="44720"/>
                      </a:lnTo>
                      <a:cubicBezTo>
                        <a:pt x="9542" y="17421"/>
                        <a:pt x="34052" y="-2558"/>
                        <a:pt x="61314" y="266"/>
                      </a:cubicBezTo>
                      <a:lnTo>
                        <a:pt x="127307" y="7008"/>
                      </a:lnTo>
                      <a:lnTo>
                        <a:pt x="120565" y="72988"/>
                      </a:lnTo>
                      <a:cubicBezTo>
                        <a:pt x="119214" y="86214"/>
                        <a:pt x="112792" y="98125"/>
                        <a:pt x="102489" y="106525"/>
                      </a:cubicBezTo>
                      <a:cubicBezTo>
                        <a:pt x="93525" y="113819"/>
                        <a:pt x="82559" y="117712"/>
                        <a:pt x="71138" y="117712"/>
                      </a:cubicBezTo>
                      <a:close/>
                      <a:moveTo>
                        <a:pt x="67245" y="105186"/>
                      </a:moveTo>
                      <a:cubicBezTo>
                        <a:pt x="77180" y="106206"/>
                        <a:pt x="86943" y="103271"/>
                        <a:pt x="94704" y="96959"/>
                      </a:cubicBezTo>
                      <a:cubicBezTo>
                        <a:pt x="102464" y="90635"/>
                        <a:pt x="107291" y="81682"/>
                        <a:pt x="108310" y="71736"/>
                      </a:cubicBezTo>
                      <a:lnTo>
                        <a:pt x="113799" y="18011"/>
                      </a:lnTo>
                      <a:lnTo>
                        <a:pt x="60062" y="12522"/>
                      </a:lnTo>
                      <a:cubicBezTo>
                        <a:pt x="39480" y="10434"/>
                        <a:pt x="21109" y="25440"/>
                        <a:pt x="18997" y="45960"/>
                      </a:cubicBezTo>
                      <a:lnTo>
                        <a:pt x="13508" y="99697"/>
                      </a:lnTo>
                      <a:lnTo>
                        <a:pt x="67245" y="105186"/>
                      </a:lnTo>
                      <a:close/>
                    </a:path>
                  </a:pathLst>
                </a:custGeom>
                <a:solidFill>
                  <a:schemeClr val="accent1"/>
                </a:solidFill>
                <a:ln w="1228" cap="flat">
                  <a:noFill/>
                  <a:prstDash val="solid"/>
                  <a:miter/>
                </a:ln>
              </p:spPr>
              <p:txBody>
                <a:bodyPr rtlCol="0" anchor="ctr"/>
                <a:lstStyle/>
                <a:p>
                  <a:endParaRPr lang="en-GB" dirty="0"/>
                </a:p>
              </p:txBody>
            </p:sp>
          </p:grpSp>
          <p:grpSp>
            <p:nvGrpSpPr>
              <p:cNvPr id="360" name="Grafik 11">
                <a:extLst>
                  <a:ext uri="{FF2B5EF4-FFF2-40B4-BE49-F238E27FC236}">
                    <a16:creationId xmlns:a16="http://schemas.microsoft.com/office/drawing/2014/main" id="{A1E2D15E-2F78-43D2-AB59-6556E2D0A97B}"/>
                  </a:ext>
                </a:extLst>
              </p:cNvPr>
              <p:cNvGrpSpPr/>
              <p:nvPr/>
            </p:nvGrpSpPr>
            <p:grpSpPr>
              <a:xfrm>
                <a:off x="3101162" y="4294754"/>
                <a:ext cx="146991" cy="157788"/>
                <a:chOff x="3101162" y="4294754"/>
                <a:chExt cx="146991" cy="157788"/>
              </a:xfrm>
              <a:solidFill>
                <a:schemeClr val="accent1"/>
              </a:solidFill>
            </p:grpSpPr>
            <p:sp>
              <p:nvSpPr>
                <p:cNvPr id="361" name="Freihandform: Form 282">
                  <a:extLst>
                    <a:ext uri="{FF2B5EF4-FFF2-40B4-BE49-F238E27FC236}">
                      <a16:creationId xmlns:a16="http://schemas.microsoft.com/office/drawing/2014/main" id="{51B90049-41A1-4364-BC7F-9EB00E358067}"/>
                    </a:ext>
                  </a:extLst>
                </p:cNvPr>
                <p:cNvSpPr/>
                <p:nvPr/>
              </p:nvSpPr>
              <p:spPr>
                <a:xfrm>
                  <a:off x="3162034" y="4348113"/>
                  <a:ext cx="86119" cy="104429"/>
                </a:xfrm>
                <a:custGeom>
                  <a:avLst/>
                  <a:gdLst>
                    <a:gd name="connsiteX0" fmla="*/ 86120 w 86119"/>
                    <a:gd name="connsiteY0" fmla="*/ 104429 h 104429"/>
                    <a:gd name="connsiteX1" fmla="*/ 73790 w 86119"/>
                    <a:gd name="connsiteY1" fmla="*/ 104429 h 104429"/>
                    <a:gd name="connsiteX2" fmla="*/ 0 w 86119"/>
                    <a:gd name="connsiteY2" fmla="*/ 11003 h 104429"/>
                    <a:gd name="connsiteX3" fmla="*/ 5563 w 86119"/>
                    <a:gd name="connsiteY3" fmla="*/ 0 h 104429"/>
                    <a:gd name="connsiteX4" fmla="*/ 86120 w 86119"/>
                    <a:gd name="connsiteY4" fmla="*/ 104429 h 1044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119" h="104429">
                      <a:moveTo>
                        <a:pt x="86120" y="104429"/>
                      </a:moveTo>
                      <a:lnTo>
                        <a:pt x="73790" y="104429"/>
                      </a:lnTo>
                      <a:cubicBezTo>
                        <a:pt x="73790" y="49046"/>
                        <a:pt x="724" y="11371"/>
                        <a:pt x="0" y="11003"/>
                      </a:cubicBezTo>
                      <a:lnTo>
                        <a:pt x="5563" y="0"/>
                      </a:lnTo>
                      <a:cubicBezTo>
                        <a:pt x="8854" y="1670"/>
                        <a:pt x="86120" y="41555"/>
                        <a:pt x="86120" y="104429"/>
                      </a:cubicBezTo>
                      <a:close/>
                    </a:path>
                  </a:pathLst>
                </a:custGeom>
                <a:solidFill>
                  <a:schemeClr val="accent1"/>
                </a:solidFill>
                <a:ln w="1228" cap="flat">
                  <a:noFill/>
                  <a:prstDash val="solid"/>
                  <a:miter/>
                </a:ln>
              </p:spPr>
              <p:txBody>
                <a:bodyPr rtlCol="0" anchor="ctr"/>
                <a:lstStyle/>
                <a:p>
                  <a:endParaRPr lang="en-GB" dirty="0"/>
                </a:p>
              </p:txBody>
            </p:sp>
            <p:sp>
              <p:nvSpPr>
                <p:cNvPr id="362" name="Freihandform: Form 283">
                  <a:extLst>
                    <a:ext uri="{FF2B5EF4-FFF2-40B4-BE49-F238E27FC236}">
                      <a16:creationId xmlns:a16="http://schemas.microsoft.com/office/drawing/2014/main" id="{AD6F476D-A3B7-4BBC-AC8E-8ACCE1AD30B0}"/>
                    </a:ext>
                  </a:extLst>
                </p:cNvPr>
                <p:cNvSpPr/>
                <p:nvPr/>
              </p:nvSpPr>
              <p:spPr>
                <a:xfrm>
                  <a:off x="3101162" y="4294754"/>
                  <a:ext cx="127294" cy="117730"/>
                </a:xfrm>
                <a:custGeom>
                  <a:avLst/>
                  <a:gdLst>
                    <a:gd name="connsiteX0" fmla="*/ 56169 w 127294"/>
                    <a:gd name="connsiteY0" fmla="*/ 117731 h 117730"/>
                    <a:gd name="connsiteX1" fmla="*/ 24818 w 127294"/>
                    <a:gd name="connsiteY1" fmla="*/ 106544 h 117730"/>
                    <a:gd name="connsiteX2" fmla="*/ 6742 w 127294"/>
                    <a:gd name="connsiteY2" fmla="*/ 73007 h 117730"/>
                    <a:gd name="connsiteX3" fmla="*/ 0 w 127294"/>
                    <a:gd name="connsiteY3" fmla="*/ 7027 h 117730"/>
                    <a:gd name="connsiteX4" fmla="*/ 65980 w 127294"/>
                    <a:gd name="connsiteY4" fmla="*/ 285 h 117730"/>
                    <a:gd name="connsiteX5" fmla="*/ 120553 w 127294"/>
                    <a:gd name="connsiteY5" fmla="*/ 44739 h 117730"/>
                    <a:gd name="connsiteX6" fmla="*/ 127295 w 127294"/>
                    <a:gd name="connsiteY6" fmla="*/ 110731 h 117730"/>
                    <a:gd name="connsiteX7" fmla="*/ 61302 w 127294"/>
                    <a:gd name="connsiteY7" fmla="*/ 117473 h 117730"/>
                    <a:gd name="connsiteX8" fmla="*/ 56169 w 127294"/>
                    <a:gd name="connsiteY8" fmla="*/ 117731 h 117730"/>
                    <a:gd name="connsiteX9" fmla="*/ 13508 w 127294"/>
                    <a:gd name="connsiteY9" fmla="*/ 18030 h 117730"/>
                    <a:gd name="connsiteX10" fmla="*/ 18997 w 127294"/>
                    <a:gd name="connsiteY10" fmla="*/ 71755 h 117730"/>
                    <a:gd name="connsiteX11" fmla="*/ 32603 w 127294"/>
                    <a:gd name="connsiteY11" fmla="*/ 96978 h 117730"/>
                    <a:gd name="connsiteX12" fmla="*/ 60049 w 127294"/>
                    <a:gd name="connsiteY12" fmla="*/ 105205 h 117730"/>
                    <a:gd name="connsiteX13" fmla="*/ 113786 w 127294"/>
                    <a:gd name="connsiteY13" fmla="*/ 99716 h 117730"/>
                    <a:gd name="connsiteX14" fmla="*/ 108297 w 127294"/>
                    <a:gd name="connsiteY14" fmla="*/ 45979 h 117730"/>
                    <a:gd name="connsiteX15" fmla="*/ 67233 w 127294"/>
                    <a:gd name="connsiteY15" fmla="*/ 12540 h 117730"/>
                    <a:gd name="connsiteX16" fmla="*/ 13508 w 127294"/>
                    <a:gd name="connsiteY16" fmla="*/ 18030 h 11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7294" h="117730">
                      <a:moveTo>
                        <a:pt x="56169" y="117731"/>
                      </a:moveTo>
                      <a:cubicBezTo>
                        <a:pt x="44748" y="117731"/>
                        <a:pt x="33782" y="113838"/>
                        <a:pt x="24818" y="106544"/>
                      </a:cubicBezTo>
                      <a:cubicBezTo>
                        <a:pt x="14515" y="98144"/>
                        <a:pt x="8093" y="86233"/>
                        <a:pt x="6742" y="73007"/>
                      </a:cubicBezTo>
                      <a:lnTo>
                        <a:pt x="0" y="7027"/>
                      </a:lnTo>
                      <a:lnTo>
                        <a:pt x="65980" y="285"/>
                      </a:lnTo>
                      <a:cubicBezTo>
                        <a:pt x="93242" y="-2650"/>
                        <a:pt x="117777" y="17428"/>
                        <a:pt x="120553" y="44739"/>
                      </a:cubicBezTo>
                      <a:lnTo>
                        <a:pt x="127295" y="110731"/>
                      </a:lnTo>
                      <a:lnTo>
                        <a:pt x="61302" y="117473"/>
                      </a:lnTo>
                      <a:cubicBezTo>
                        <a:pt x="59583" y="117645"/>
                        <a:pt x="57863" y="117731"/>
                        <a:pt x="56169" y="117731"/>
                      </a:cubicBezTo>
                      <a:close/>
                      <a:moveTo>
                        <a:pt x="13508" y="18030"/>
                      </a:moveTo>
                      <a:lnTo>
                        <a:pt x="18997" y="71755"/>
                      </a:lnTo>
                      <a:cubicBezTo>
                        <a:pt x="20016" y="81701"/>
                        <a:pt x="24855" y="90666"/>
                        <a:pt x="32603" y="96978"/>
                      </a:cubicBezTo>
                      <a:cubicBezTo>
                        <a:pt x="40352" y="103290"/>
                        <a:pt x="50004" y="106225"/>
                        <a:pt x="60049" y="105205"/>
                      </a:cubicBezTo>
                      <a:lnTo>
                        <a:pt x="113786" y="99716"/>
                      </a:lnTo>
                      <a:lnTo>
                        <a:pt x="108297" y="45979"/>
                      </a:lnTo>
                      <a:cubicBezTo>
                        <a:pt x="106210" y="25459"/>
                        <a:pt x="87937" y="10465"/>
                        <a:pt x="67233" y="12540"/>
                      </a:cubicBezTo>
                      <a:lnTo>
                        <a:pt x="13508" y="18030"/>
                      </a:lnTo>
                      <a:close/>
                    </a:path>
                  </a:pathLst>
                </a:custGeom>
                <a:solidFill>
                  <a:schemeClr val="accent1"/>
                </a:solidFill>
                <a:ln w="1228" cap="flat">
                  <a:noFill/>
                  <a:prstDash val="solid"/>
                  <a:miter/>
                </a:ln>
              </p:spPr>
              <p:txBody>
                <a:bodyPr rtlCol="0" anchor="ctr"/>
                <a:lstStyle/>
                <a:p>
                  <a:endParaRPr lang="en-GB" dirty="0"/>
                </a:p>
              </p:txBody>
            </p:sp>
          </p:grpSp>
        </p:grpSp>
        <p:grpSp>
          <p:nvGrpSpPr>
            <p:cNvPr id="294" name="Gruppieren 439">
              <a:extLst>
                <a:ext uri="{FF2B5EF4-FFF2-40B4-BE49-F238E27FC236}">
                  <a16:creationId xmlns:a16="http://schemas.microsoft.com/office/drawing/2014/main" id="{0245FB3F-7F65-4408-B23E-18E95EF7DFBA}"/>
                </a:ext>
              </a:extLst>
            </p:cNvPr>
            <p:cNvGrpSpPr/>
            <p:nvPr/>
          </p:nvGrpSpPr>
          <p:grpSpPr>
            <a:xfrm>
              <a:off x="3038104" y="4446378"/>
              <a:ext cx="407733" cy="230409"/>
              <a:chOff x="3038104" y="4446378"/>
              <a:chExt cx="407733" cy="230409"/>
            </a:xfrm>
          </p:grpSpPr>
          <p:sp>
            <p:nvSpPr>
              <p:cNvPr id="295" name="Freihandform: Form 277">
                <a:extLst>
                  <a:ext uri="{FF2B5EF4-FFF2-40B4-BE49-F238E27FC236}">
                    <a16:creationId xmlns:a16="http://schemas.microsoft.com/office/drawing/2014/main" id="{C0CFB4F2-AC2F-4832-A7F1-F9E61D1FF514}"/>
                  </a:ext>
                </a:extLst>
              </p:cNvPr>
              <p:cNvSpPr/>
              <p:nvPr/>
            </p:nvSpPr>
            <p:spPr>
              <a:xfrm>
                <a:off x="3038104" y="4651756"/>
                <a:ext cx="407733" cy="25031"/>
              </a:xfrm>
              <a:custGeom>
                <a:avLst/>
                <a:gdLst>
                  <a:gd name="connsiteX0" fmla="*/ 388024 w 407733"/>
                  <a:gd name="connsiteY0" fmla="*/ 25031 h 25031"/>
                  <a:gd name="connsiteX1" fmla="*/ 368327 w 407733"/>
                  <a:gd name="connsiteY1" fmla="*/ 16865 h 25031"/>
                  <a:gd name="connsiteX2" fmla="*/ 346346 w 407733"/>
                  <a:gd name="connsiteY2" fmla="*/ 16865 h 25031"/>
                  <a:gd name="connsiteX3" fmla="*/ 306939 w 407733"/>
                  <a:gd name="connsiteY3" fmla="*/ 16865 h 25031"/>
                  <a:gd name="connsiteX4" fmla="*/ 284958 w 407733"/>
                  <a:gd name="connsiteY4" fmla="*/ 16865 h 25031"/>
                  <a:gd name="connsiteX5" fmla="*/ 245551 w 407733"/>
                  <a:gd name="connsiteY5" fmla="*/ 16865 h 25031"/>
                  <a:gd name="connsiteX6" fmla="*/ 223570 w 407733"/>
                  <a:gd name="connsiteY6" fmla="*/ 16865 h 25031"/>
                  <a:gd name="connsiteX7" fmla="*/ 184163 w 407733"/>
                  <a:gd name="connsiteY7" fmla="*/ 16865 h 25031"/>
                  <a:gd name="connsiteX8" fmla="*/ 162195 w 407733"/>
                  <a:gd name="connsiteY8" fmla="*/ 16865 h 25031"/>
                  <a:gd name="connsiteX9" fmla="*/ 122776 w 407733"/>
                  <a:gd name="connsiteY9" fmla="*/ 16865 h 25031"/>
                  <a:gd name="connsiteX10" fmla="*/ 100807 w 407733"/>
                  <a:gd name="connsiteY10" fmla="*/ 16865 h 25031"/>
                  <a:gd name="connsiteX11" fmla="*/ 61388 w 407733"/>
                  <a:gd name="connsiteY11" fmla="*/ 16865 h 25031"/>
                  <a:gd name="connsiteX12" fmla="*/ 39419 w 407733"/>
                  <a:gd name="connsiteY12" fmla="*/ 16865 h 25031"/>
                  <a:gd name="connsiteX13" fmla="*/ 0 w 407733"/>
                  <a:gd name="connsiteY13" fmla="*/ 16865 h 25031"/>
                  <a:gd name="connsiteX14" fmla="*/ 8719 w 407733"/>
                  <a:gd name="connsiteY14" fmla="*/ 8146 h 25031"/>
                  <a:gd name="connsiteX15" fmla="*/ 30700 w 407733"/>
                  <a:gd name="connsiteY15" fmla="*/ 8146 h 25031"/>
                  <a:gd name="connsiteX16" fmla="*/ 70107 w 407733"/>
                  <a:gd name="connsiteY16" fmla="*/ 8146 h 25031"/>
                  <a:gd name="connsiteX17" fmla="*/ 92088 w 407733"/>
                  <a:gd name="connsiteY17" fmla="*/ 8146 h 25031"/>
                  <a:gd name="connsiteX18" fmla="*/ 131494 w 407733"/>
                  <a:gd name="connsiteY18" fmla="*/ 8146 h 25031"/>
                  <a:gd name="connsiteX19" fmla="*/ 153476 w 407733"/>
                  <a:gd name="connsiteY19" fmla="*/ 8146 h 25031"/>
                  <a:gd name="connsiteX20" fmla="*/ 192882 w 407733"/>
                  <a:gd name="connsiteY20" fmla="*/ 8146 h 25031"/>
                  <a:gd name="connsiteX21" fmla="*/ 214851 w 407733"/>
                  <a:gd name="connsiteY21" fmla="*/ 8146 h 25031"/>
                  <a:gd name="connsiteX22" fmla="*/ 254270 w 407733"/>
                  <a:gd name="connsiteY22" fmla="*/ 8146 h 25031"/>
                  <a:gd name="connsiteX23" fmla="*/ 276239 w 407733"/>
                  <a:gd name="connsiteY23" fmla="*/ 8146 h 25031"/>
                  <a:gd name="connsiteX24" fmla="*/ 315658 w 407733"/>
                  <a:gd name="connsiteY24" fmla="*/ 8146 h 25031"/>
                  <a:gd name="connsiteX25" fmla="*/ 337627 w 407733"/>
                  <a:gd name="connsiteY25" fmla="*/ 8146 h 25031"/>
                  <a:gd name="connsiteX26" fmla="*/ 377046 w 407733"/>
                  <a:gd name="connsiteY26" fmla="*/ 8146 h 25031"/>
                  <a:gd name="connsiteX27" fmla="*/ 399015 w 407733"/>
                  <a:gd name="connsiteY27" fmla="*/ 8146 h 25031"/>
                  <a:gd name="connsiteX28" fmla="*/ 407733 w 407733"/>
                  <a:gd name="connsiteY28" fmla="*/ 16865 h 25031"/>
                  <a:gd name="connsiteX29" fmla="*/ 388024 w 407733"/>
                  <a:gd name="connsiteY29" fmla="*/ 25031 h 25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7733" h="25031">
                    <a:moveTo>
                      <a:pt x="388024" y="25031"/>
                    </a:moveTo>
                    <a:cubicBezTo>
                      <a:pt x="380570" y="25031"/>
                      <a:pt x="373571" y="22133"/>
                      <a:pt x="368327" y="16865"/>
                    </a:cubicBezTo>
                    <a:cubicBezTo>
                      <a:pt x="362248" y="10811"/>
                      <a:pt x="352412" y="10835"/>
                      <a:pt x="346346" y="16865"/>
                    </a:cubicBezTo>
                    <a:cubicBezTo>
                      <a:pt x="335821" y="27389"/>
                      <a:pt x="317463" y="27389"/>
                      <a:pt x="306939" y="16865"/>
                    </a:cubicBezTo>
                    <a:cubicBezTo>
                      <a:pt x="300885" y="10811"/>
                      <a:pt x="290999" y="10835"/>
                      <a:pt x="284958" y="16865"/>
                    </a:cubicBezTo>
                    <a:cubicBezTo>
                      <a:pt x="274471" y="27389"/>
                      <a:pt x="256087" y="27413"/>
                      <a:pt x="245551" y="16865"/>
                    </a:cubicBezTo>
                    <a:cubicBezTo>
                      <a:pt x="239497" y="10811"/>
                      <a:pt x="229612" y="10835"/>
                      <a:pt x="223570" y="16865"/>
                    </a:cubicBezTo>
                    <a:cubicBezTo>
                      <a:pt x="213083" y="27389"/>
                      <a:pt x="194700" y="27413"/>
                      <a:pt x="184163" y="16865"/>
                    </a:cubicBezTo>
                    <a:cubicBezTo>
                      <a:pt x="178097" y="10811"/>
                      <a:pt x="168248" y="10835"/>
                      <a:pt x="162195" y="16865"/>
                    </a:cubicBezTo>
                    <a:cubicBezTo>
                      <a:pt x="151327" y="27733"/>
                      <a:pt x="133631" y="27733"/>
                      <a:pt x="122776" y="16865"/>
                    </a:cubicBezTo>
                    <a:cubicBezTo>
                      <a:pt x="116697" y="10811"/>
                      <a:pt x="106848" y="10835"/>
                      <a:pt x="100807" y="16865"/>
                    </a:cubicBezTo>
                    <a:cubicBezTo>
                      <a:pt x="89939" y="27733"/>
                      <a:pt x="72256" y="27733"/>
                      <a:pt x="61388" y="16865"/>
                    </a:cubicBezTo>
                    <a:cubicBezTo>
                      <a:pt x="55358" y="10835"/>
                      <a:pt x="45498" y="10811"/>
                      <a:pt x="39419" y="16865"/>
                    </a:cubicBezTo>
                    <a:cubicBezTo>
                      <a:pt x="28919" y="27389"/>
                      <a:pt x="10549" y="27413"/>
                      <a:pt x="0" y="16865"/>
                    </a:cubicBezTo>
                    <a:lnTo>
                      <a:pt x="8719" y="8146"/>
                    </a:lnTo>
                    <a:cubicBezTo>
                      <a:pt x="14773" y="14200"/>
                      <a:pt x="24621" y="14225"/>
                      <a:pt x="30700" y="8146"/>
                    </a:cubicBezTo>
                    <a:cubicBezTo>
                      <a:pt x="41568" y="-2722"/>
                      <a:pt x="59239" y="-2709"/>
                      <a:pt x="70107" y="8146"/>
                    </a:cubicBezTo>
                    <a:cubicBezTo>
                      <a:pt x="76185" y="14225"/>
                      <a:pt x="86022" y="14200"/>
                      <a:pt x="92088" y="8146"/>
                    </a:cubicBezTo>
                    <a:cubicBezTo>
                      <a:pt x="102931" y="-2709"/>
                      <a:pt x="120590" y="-2722"/>
                      <a:pt x="131494" y="8146"/>
                    </a:cubicBezTo>
                    <a:cubicBezTo>
                      <a:pt x="137548" y="14176"/>
                      <a:pt x="147385" y="14225"/>
                      <a:pt x="153476" y="8146"/>
                    </a:cubicBezTo>
                    <a:cubicBezTo>
                      <a:pt x="164331" y="-2709"/>
                      <a:pt x="181978" y="-2722"/>
                      <a:pt x="192882" y="8146"/>
                    </a:cubicBezTo>
                    <a:cubicBezTo>
                      <a:pt x="198777" y="14028"/>
                      <a:pt x="208981" y="14028"/>
                      <a:pt x="214851" y="8146"/>
                    </a:cubicBezTo>
                    <a:cubicBezTo>
                      <a:pt x="225694" y="-2709"/>
                      <a:pt x="243390" y="-2722"/>
                      <a:pt x="254270" y="8146"/>
                    </a:cubicBezTo>
                    <a:cubicBezTo>
                      <a:pt x="260152" y="14028"/>
                      <a:pt x="270357" y="14028"/>
                      <a:pt x="276239" y="8146"/>
                    </a:cubicBezTo>
                    <a:cubicBezTo>
                      <a:pt x="287107" y="-2709"/>
                      <a:pt x="304790" y="-2722"/>
                      <a:pt x="315658" y="8146"/>
                    </a:cubicBezTo>
                    <a:cubicBezTo>
                      <a:pt x="321540" y="14028"/>
                      <a:pt x="331745" y="14028"/>
                      <a:pt x="337627" y="8146"/>
                    </a:cubicBezTo>
                    <a:cubicBezTo>
                      <a:pt x="348482" y="-2709"/>
                      <a:pt x="366166" y="-2722"/>
                      <a:pt x="377046" y="8146"/>
                    </a:cubicBezTo>
                    <a:cubicBezTo>
                      <a:pt x="382915" y="14028"/>
                      <a:pt x="393120" y="14028"/>
                      <a:pt x="399015" y="8146"/>
                    </a:cubicBezTo>
                    <a:lnTo>
                      <a:pt x="407733" y="16865"/>
                    </a:lnTo>
                    <a:cubicBezTo>
                      <a:pt x="402465" y="22133"/>
                      <a:pt x="395466" y="25031"/>
                      <a:pt x="388024" y="25031"/>
                    </a:cubicBezTo>
                    <a:close/>
                  </a:path>
                </a:pathLst>
              </a:custGeom>
              <a:solidFill>
                <a:schemeClr val="tx2"/>
              </a:solidFill>
              <a:ln w="1228" cap="flat">
                <a:noFill/>
                <a:prstDash val="solid"/>
                <a:miter/>
              </a:ln>
            </p:spPr>
            <p:txBody>
              <a:bodyPr rtlCol="0" anchor="ctr"/>
              <a:lstStyle/>
              <a:p>
                <a:endParaRPr lang="en-GB" dirty="0"/>
              </a:p>
            </p:txBody>
          </p:sp>
          <p:sp>
            <p:nvSpPr>
              <p:cNvPr id="296" name="Freihandform: Form 284">
                <a:extLst>
                  <a:ext uri="{FF2B5EF4-FFF2-40B4-BE49-F238E27FC236}">
                    <a16:creationId xmlns:a16="http://schemas.microsoft.com/office/drawing/2014/main" id="{67B5D176-08C1-4E7A-9841-F323F17E22B8}"/>
                  </a:ext>
                </a:extLst>
              </p:cNvPr>
              <p:cNvSpPr/>
              <p:nvPr/>
            </p:nvSpPr>
            <p:spPr>
              <a:xfrm>
                <a:off x="3044109" y="4446378"/>
                <a:ext cx="399100" cy="12329"/>
              </a:xfrm>
              <a:custGeom>
                <a:avLst/>
                <a:gdLst>
                  <a:gd name="connsiteX0" fmla="*/ 0 w 399100"/>
                  <a:gd name="connsiteY0" fmla="*/ 0 h 12329"/>
                  <a:gd name="connsiteX1" fmla="*/ 399100 w 399100"/>
                  <a:gd name="connsiteY1" fmla="*/ 0 h 12329"/>
                  <a:gd name="connsiteX2" fmla="*/ 399100 w 399100"/>
                  <a:gd name="connsiteY2" fmla="*/ 12329 h 12329"/>
                  <a:gd name="connsiteX3" fmla="*/ 0 w 399100"/>
                  <a:gd name="connsiteY3" fmla="*/ 12329 h 12329"/>
                </a:gdLst>
                <a:ahLst/>
                <a:cxnLst>
                  <a:cxn ang="0">
                    <a:pos x="connsiteX0" y="connsiteY0"/>
                  </a:cxn>
                  <a:cxn ang="0">
                    <a:pos x="connsiteX1" y="connsiteY1"/>
                  </a:cxn>
                  <a:cxn ang="0">
                    <a:pos x="connsiteX2" y="connsiteY2"/>
                  </a:cxn>
                  <a:cxn ang="0">
                    <a:pos x="connsiteX3" y="connsiteY3"/>
                  </a:cxn>
                </a:cxnLst>
                <a:rect l="l" t="t" r="r" b="b"/>
                <a:pathLst>
                  <a:path w="399100" h="12329">
                    <a:moveTo>
                      <a:pt x="0" y="0"/>
                    </a:moveTo>
                    <a:lnTo>
                      <a:pt x="399100" y="0"/>
                    </a:lnTo>
                    <a:lnTo>
                      <a:pt x="399100"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97" name="Freihandform: Form 285">
                <a:extLst>
                  <a:ext uri="{FF2B5EF4-FFF2-40B4-BE49-F238E27FC236}">
                    <a16:creationId xmlns:a16="http://schemas.microsoft.com/office/drawing/2014/main" id="{71284A08-D601-43C0-BB19-76DC3CEA700C}"/>
                  </a:ext>
                </a:extLst>
              </p:cNvPr>
              <p:cNvSpPr/>
              <p:nvPr/>
            </p:nvSpPr>
            <p:spPr>
              <a:xfrm>
                <a:off x="3076135" y="4480909"/>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98" name="Freihandform: Form 286">
                <a:extLst>
                  <a:ext uri="{FF2B5EF4-FFF2-40B4-BE49-F238E27FC236}">
                    <a16:creationId xmlns:a16="http://schemas.microsoft.com/office/drawing/2014/main" id="{1E0BA7C7-0E16-4573-98B2-1478EF5301E7}"/>
                  </a:ext>
                </a:extLst>
              </p:cNvPr>
              <p:cNvSpPr/>
              <p:nvPr/>
            </p:nvSpPr>
            <p:spPr>
              <a:xfrm>
                <a:off x="3041616" y="4480909"/>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299" name="Freihandform: Form 287">
                <a:extLst>
                  <a:ext uri="{FF2B5EF4-FFF2-40B4-BE49-F238E27FC236}">
                    <a16:creationId xmlns:a16="http://schemas.microsoft.com/office/drawing/2014/main" id="{78B70A75-858F-4F91-9D2D-5855313ADA8B}"/>
                  </a:ext>
                </a:extLst>
              </p:cNvPr>
              <p:cNvSpPr/>
              <p:nvPr/>
            </p:nvSpPr>
            <p:spPr>
              <a:xfrm>
                <a:off x="3041616" y="4515440"/>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00" name="Freihandform: Form 288">
                <a:extLst>
                  <a:ext uri="{FF2B5EF4-FFF2-40B4-BE49-F238E27FC236}">
                    <a16:creationId xmlns:a16="http://schemas.microsoft.com/office/drawing/2014/main" id="{ECD3CCD8-1DD8-4135-850A-56F5D0AC6E34}"/>
                  </a:ext>
                </a:extLst>
              </p:cNvPr>
              <p:cNvSpPr/>
              <p:nvPr/>
            </p:nvSpPr>
            <p:spPr>
              <a:xfrm>
                <a:off x="3110666" y="4480909"/>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01" name="Freihandform: Form 289">
                <a:extLst>
                  <a:ext uri="{FF2B5EF4-FFF2-40B4-BE49-F238E27FC236}">
                    <a16:creationId xmlns:a16="http://schemas.microsoft.com/office/drawing/2014/main" id="{968755B5-8290-40F8-A270-AA592C91545B}"/>
                  </a:ext>
                </a:extLst>
              </p:cNvPr>
              <p:cNvSpPr/>
              <p:nvPr/>
            </p:nvSpPr>
            <p:spPr>
              <a:xfrm>
                <a:off x="3145185" y="4480909"/>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02" name="Freihandform: Form 290">
                <a:extLst>
                  <a:ext uri="{FF2B5EF4-FFF2-40B4-BE49-F238E27FC236}">
                    <a16:creationId xmlns:a16="http://schemas.microsoft.com/office/drawing/2014/main" id="{DC3CD8BA-97B1-437A-9B91-E7A37C55A163}"/>
                  </a:ext>
                </a:extLst>
              </p:cNvPr>
              <p:cNvSpPr/>
              <p:nvPr/>
            </p:nvSpPr>
            <p:spPr>
              <a:xfrm>
                <a:off x="3179729" y="4480909"/>
                <a:ext cx="17253" cy="12329"/>
              </a:xfrm>
              <a:custGeom>
                <a:avLst/>
                <a:gdLst>
                  <a:gd name="connsiteX0" fmla="*/ 0 w 17253"/>
                  <a:gd name="connsiteY0" fmla="*/ 0 h 12329"/>
                  <a:gd name="connsiteX1" fmla="*/ 17253 w 17253"/>
                  <a:gd name="connsiteY1" fmla="*/ 0 h 12329"/>
                  <a:gd name="connsiteX2" fmla="*/ 17253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3" y="0"/>
                    </a:lnTo>
                    <a:lnTo>
                      <a:pt x="1725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03" name="Freihandform: Form 291">
                <a:extLst>
                  <a:ext uri="{FF2B5EF4-FFF2-40B4-BE49-F238E27FC236}">
                    <a16:creationId xmlns:a16="http://schemas.microsoft.com/office/drawing/2014/main" id="{84CFB8E1-E6D1-4422-ACA5-D252E58944A9}"/>
                  </a:ext>
                </a:extLst>
              </p:cNvPr>
              <p:cNvSpPr/>
              <p:nvPr/>
            </p:nvSpPr>
            <p:spPr>
              <a:xfrm>
                <a:off x="3214248" y="4480909"/>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04" name="Freihandform: Form 292">
                <a:extLst>
                  <a:ext uri="{FF2B5EF4-FFF2-40B4-BE49-F238E27FC236}">
                    <a16:creationId xmlns:a16="http://schemas.microsoft.com/office/drawing/2014/main" id="{8BDA2823-3262-4033-9480-C62AC9BC6F7A}"/>
                  </a:ext>
                </a:extLst>
              </p:cNvPr>
              <p:cNvSpPr/>
              <p:nvPr/>
            </p:nvSpPr>
            <p:spPr>
              <a:xfrm>
                <a:off x="3248780" y="4480909"/>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05" name="Freihandform: Form 293">
                <a:extLst>
                  <a:ext uri="{FF2B5EF4-FFF2-40B4-BE49-F238E27FC236}">
                    <a16:creationId xmlns:a16="http://schemas.microsoft.com/office/drawing/2014/main" id="{D87C7958-9FF0-43E7-99CB-59EB119B7D07}"/>
                  </a:ext>
                </a:extLst>
              </p:cNvPr>
              <p:cNvSpPr/>
              <p:nvPr/>
            </p:nvSpPr>
            <p:spPr>
              <a:xfrm>
                <a:off x="3283311" y="4480909"/>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06" name="Freihandform: Form 294">
                <a:extLst>
                  <a:ext uri="{FF2B5EF4-FFF2-40B4-BE49-F238E27FC236}">
                    <a16:creationId xmlns:a16="http://schemas.microsoft.com/office/drawing/2014/main" id="{F0AAAE9B-BFD5-42F7-93F1-AAF2E346CE71}"/>
                  </a:ext>
                </a:extLst>
              </p:cNvPr>
              <p:cNvSpPr/>
              <p:nvPr/>
            </p:nvSpPr>
            <p:spPr>
              <a:xfrm>
                <a:off x="3317830" y="4480909"/>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07" name="Freihandform: Form 295">
                <a:extLst>
                  <a:ext uri="{FF2B5EF4-FFF2-40B4-BE49-F238E27FC236}">
                    <a16:creationId xmlns:a16="http://schemas.microsoft.com/office/drawing/2014/main" id="{2AF2DA87-F5EC-4F52-B524-07E1AC24A0F3}"/>
                  </a:ext>
                </a:extLst>
              </p:cNvPr>
              <p:cNvSpPr/>
              <p:nvPr/>
            </p:nvSpPr>
            <p:spPr>
              <a:xfrm>
                <a:off x="3352374" y="4480909"/>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08" name="Freihandform: Form 296">
                <a:extLst>
                  <a:ext uri="{FF2B5EF4-FFF2-40B4-BE49-F238E27FC236}">
                    <a16:creationId xmlns:a16="http://schemas.microsoft.com/office/drawing/2014/main" id="{E5869F4D-2733-4C71-9079-E5585FC9F406}"/>
                  </a:ext>
                </a:extLst>
              </p:cNvPr>
              <p:cNvSpPr/>
              <p:nvPr/>
            </p:nvSpPr>
            <p:spPr>
              <a:xfrm>
                <a:off x="3386893" y="4480909"/>
                <a:ext cx="17253" cy="12329"/>
              </a:xfrm>
              <a:custGeom>
                <a:avLst/>
                <a:gdLst>
                  <a:gd name="connsiteX0" fmla="*/ 0 w 17253"/>
                  <a:gd name="connsiteY0" fmla="*/ 0 h 12329"/>
                  <a:gd name="connsiteX1" fmla="*/ 17253 w 17253"/>
                  <a:gd name="connsiteY1" fmla="*/ 0 h 12329"/>
                  <a:gd name="connsiteX2" fmla="*/ 17253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3" y="0"/>
                    </a:lnTo>
                    <a:lnTo>
                      <a:pt x="1725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09" name="Freihandform: Form 297">
                <a:extLst>
                  <a:ext uri="{FF2B5EF4-FFF2-40B4-BE49-F238E27FC236}">
                    <a16:creationId xmlns:a16="http://schemas.microsoft.com/office/drawing/2014/main" id="{52522674-50C2-4FDA-9819-6F5962F62599}"/>
                  </a:ext>
                </a:extLst>
              </p:cNvPr>
              <p:cNvSpPr/>
              <p:nvPr/>
            </p:nvSpPr>
            <p:spPr>
              <a:xfrm>
                <a:off x="3076135" y="4515440"/>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10" name="Freihandform: Form 298">
                <a:extLst>
                  <a:ext uri="{FF2B5EF4-FFF2-40B4-BE49-F238E27FC236}">
                    <a16:creationId xmlns:a16="http://schemas.microsoft.com/office/drawing/2014/main" id="{E2ACA3A8-0150-4BDC-8441-FF489757114E}"/>
                  </a:ext>
                </a:extLst>
              </p:cNvPr>
              <p:cNvSpPr/>
              <p:nvPr/>
            </p:nvSpPr>
            <p:spPr>
              <a:xfrm>
                <a:off x="3110666" y="4515440"/>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11" name="Freihandform: Form 299">
                <a:extLst>
                  <a:ext uri="{FF2B5EF4-FFF2-40B4-BE49-F238E27FC236}">
                    <a16:creationId xmlns:a16="http://schemas.microsoft.com/office/drawing/2014/main" id="{C3C4245F-2B3C-400A-B27D-48D8686FDDEF}"/>
                  </a:ext>
                </a:extLst>
              </p:cNvPr>
              <p:cNvSpPr/>
              <p:nvPr/>
            </p:nvSpPr>
            <p:spPr>
              <a:xfrm>
                <a:off x="3145185" y="4515440"/>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12" name="Freihandform: Form 300">
                <a:extLst>
                  <a:ext uri="{FF2B5EF4-FFF2-40B4-BE49-F238E27FC236}">
                    <a16:creationId xmlns:a16="http://schemas.microsoft.com/office/drawing/2014/main" id="{67ED16F6-D040-45C8-AD27-6799BDD408BA}"/>
                  </a:ext>
                </a:extLst>
              </p:cNvPr>
              <p:cNvSpPr/>
              <p:nvPr/>
            </p:nvSpPr>
            <p:spPr>
              <a:xfrm>
                <a:off x="3179729" y="4515440"/>
                <a:ext cx="17253" cy="12329"/>
              </a:xfrm>
              <a:custGeom>
                <a:avLst/>
                <a:gdLst>
                  <a:gd name="connsiteX0" fmla="*/ 0 w 17253"/>
                  <a:gd name="connsiteY0" fmla="*/ 0 h 12329"/>
                  <a:gd name="connsiteX1" fmla="*/ 17253 w 17253"/>
                  <a:gd name="connsiteY1" fmla="*/ 0 h 12329"/>
                  <a:gd name="connsiteX2" fmla="*/ 17253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3" y="0"/>
                    </a:lnTo>
                    <a:lnTo>
                      <a:pt x="1725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13" name="Freihandform: Form 301">
                <a:extLst>
                  <a:ext uri="{FF2B5EF4-FFF2-40B4-BE49-F238E27FC236}">
                    <a16:creationId xmlns:a16="http://schemas.microsoft.com/office/drawing/2014/main" id="{55868AEA-15C7-4580-BBC2-9EB187486FF1}"/>
                  </a:ext>
                </a:extLst>
              </p:cNvPr>
              <p:cNvSpPr/>
              <p:nvPr/>
            </p:nvSpPr>
            <p:spPr>
              <a:xfrm>
                <a:off x="3214248" y="4515440"/>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14" name="Freihandform: Form 302">
                <a:extLst>
                  <a:ext uri="{FF2B5EF4-FFF2-40B4-BE49-F238E27FC236}">
                    <a16:creationId xmlns:a16="http://schemas.microsoft.com/office/drawing/2014/main" id="{B6BB1911-7FF3-4BBB-BA4B-B7717DC45050}"/>
                  </a:ext>
                </a:extLst>
              </p:cNvPr>
              <p:cNvSpPr/>
              <p:nvPr/>
            </p:nvSpPr>
            <p:spPr>
              <a:xfrm>
                <a:off x="3248780" y="4515440"/>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15" name="Freihandform: Form 303">
                <a:extLst>
                  <a:ext uri="{FF2B5EF4-FFF2-40B4-BE49-F238E27FC236}">
                    <a16:creationId xmlns:a16="http://schemas.microsoft.com/office/drawing/2014/main" id="{6AAD296D-D95E-4AEA-AD3F-89512B165291}"/>
                  </a:ext>
                </a:extLst>
              </p:cNvPr>
              <p:cNvSpPr/>
              <p:nvPr/>
            </p:nvSpPr>
            <p:spPr>
              <a:xfrm>
                <a:off x="3283311" y="4515440"/>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16" name="Freihandform: Form 304">
                <a:extLst>
                  <a:ext uri="{FF2B5EF4-FFF2-40B4-BE49-F238E27FC236}">
                    <a16:creationId xmlns:a16="http://schemas.microsoft.com/office/drawing/2014/main" id="{0F6A879D-0FF9-4E57-9A94-D10DC731574C}"/>
                  </a:ext>
                </a:extLst>
              </p:cNvPr>
              <p:cNvSpPr/>
              <p:nvPr/>
            </p:nvSpPr>
            <p:spPr>
              <a:xfrm>
                <a:off x="3317830" y="4515440"/>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17" name="Freihandform: Form 305">
                <a:extLst>
                  <a:ext uri="{FF2B5EF4-FFF2-40B4-BE49-F238E27FC236}">
                    <a16:creationId xmlns:a16="http://schemas.microsoft.com/office/drawing/2014/main" id="{3D34D729-816E-490B-8530-066381B370B9}"/>
                  </a:ext>
                </a:extLst>
              </p:cNvPr>
              <p:cNvSpPr/>
              <p:nvPr/>
            </p:nvSpPr>
            <p:spPr>
              <a:xfrm>
                <a:off x="3352374" y="4515440"/>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18" name="Freihandform: Form 306">
                <a:extLst>
                  <a:ext uri="{FF2B5EF4-FFF2-40B4-BE49-F238E27FC236}">
                    <a16:creationId xmlns:a16="http://schemas.microsoft.com/office/drawing/2014/main" id="{7E52B817-CD5B-4BF6-9C4C-044541D0928D}"/>
                  </a:ext>
                </a:extLst>
              </p:cNvPr>
              <p:cNvSpPr/>
              <p:nvPr/>
            </p:nvSpPr>
            <p:spPr>
              <a:xfrm>
                <a:off x="3386893" y="4515440"/>
                <a:ext cx="17253" cy="12329"/>
              </a:xfrm>
              <a:custGeom>
                <a:avLst/>
                <a:gdLst>
                  <a:gd name="connsiteX0" fmla="*/ 0 w 17253"/>
                  <a:gd name="connsiteY0" fmla="*/ 0 h 12329"/>
                  <a:gd name="connsiteX1" fmla="*/ 17253 w 17253"/>
                  <a:gd name="connsiteY1" fmla="*/ 0 h 12329"/>
                  <a:gd name="connsiteX2" fmla="*/ 17253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3" y="0"/>
                    </a:lnTo>
                    <a:lnTo>
                      <a:pt x="1725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19" name="Freihandform: Form 307">
                <a:extLst>
                  <a:ext uri="{FF2B5EF4-FFF2-40B4-BE49-F238E27FC236}">
                    <a16:creationId xmlns:a16="http://schemas.microsoft.com/office/drawing/2014/main" id="{912C23B4-D3B8-4FFC-912A-9AD4B68D7271}"/>
                  </a:ext>
                </a:extLst>
              </p:cNvPr>
              <p:cNvSpPr/>
              <p:nvPr/>
            </p:nvSpPr>
            <p:spPr>
              <a:xfrm>
                <a:off x="3421424" y="4480909"/>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20" name="Freihandform: Form 308">
                <a:extLst>
                  <a:ext uri="{FF2B5EF4-FFF2-40B4-BE49-F238E27FC236}">
                    <a16:creationId xmlns:a16="http://schemas.microsoft.com/office/drawing/2014/main" id="{1AE37D98-02AB-42DC-AEF0-B03D04DADC0E}"/>
                  </a:ext>
                </a:extLst>
              </p:cNvPr>
              <p:cNvSpPr/>
              <p:nvPr/>
            </p:nvSpPr>
            <p:spPr>
              <a:xfrm>
                <a:off x="3421424" y="4515440"/>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21" name="Freihandform: Form 309">
                <a:extLst>
                  <a:ext uri="{FF2B5EF4-FFF2-40B4-BE49-F238E27FC236}">
                    <a16:creationId xmlns:a16="http://schemas.microsoft.com/office/drawing/2014/main" id="{442316A2-FB3C-403A-8BCE-61076FB07852}"/>
                  </a:ext>
                </a:extLst>
              </p:cNvPr>
              <p:cNvSpPr/>
              <p:nvPr/>
            </p:nvSpPr>
            <p:spPr>
              <a:xfrm>
                <a:off x="3076135" y="454997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22" name="Freihandform: Form 310">
                <a:extLst>
                  <a:ext uri="{FF2B5EF4-FFF2-40B4-BE49-F238E27FC236}">
                    <a16:creationId xmlns:a16="http://schemas.microsoft.com/office/drawing/2014/main" id="{1D69DD1F-6638-4E84-9858-1E8C0F968C78}"/>
                  </a:ext>
                </a:extLst>
              </p:cNvPr>
              <p:cNvSpPr/>
              <p:nvPr/>
            </p:nvSpPr>
            <p:spPr>
              <a:xfrm>
                <a:off x="3041616" y="4549972"/>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23" name="Freihandform: Form 311">
                <a:extLst>
                  <a:ext uri="{FF2B5EF4-FFF2-40B4-BE49-F238E27FC236}">
                    <a16:creationId xmlns:a16="http://schemas.microsoft.com/office/drawing/2014/main" id="{050B9E54-EE86-418E-8F34-8FAAD8EF82FB}"/>
                  </a:ext>
                </a:extLst>
              </p:cNvPr>
              <p:cNvSpPr/>
              <p:nvPr/>
            </p:nvSpPr>
            <p:spPr>
              <a:xfrm>
                <a:off x="3110666" y="454997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24" name="Freihandform: Form 312">
                <a:extLst>
                  <a:ext uri="{FF2B5EF4-FFF2-40B4-BE49-F238E27FC236}">
                    <a16:creationId xmlns:a16="http://schemas.microsoft.com/office/drawing/2014/main" id="{6B68A678-644E-43A8-B38C-357AF384A5A2}"/>
                  </a:ext>
                </a:extLst>
              </p:cNvPr>
              <p:cNvSpPr/>
              <p:nvPr/>
            </p:nvSpPr>
            <p:spPr>
              <a:xfrm>
                <a:off x="3145185" y="454997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25" name="Freihandform: Form 313">
                <a:extLst>
                  <a:ext uri="{FF2B5EF4-FFF2-40B4-BE49-F238E27FC236}">
                    <a16:creationId xmlns:a16="http://schemas.microsoft.com/office/drawing/2014/main" id="{6142B883-47EE-412F-A9B9-782015A1BC03}"/>
                  </a:ext>
                </a:extLst>
              </p:cNvPr>
              <p:cNvSpPr/>
              <p:nvPr/>
            </p:nvSpPr>
            <p:spPr>
              <a:xfrm>
                <a:off x="3179729" y="4549972"/>
                <a:ext cx="17253" cy="12329"/>
              </a:xfrm>
              <a:custGeom>
                <a:avLst/>
                <a:gdLst>
                  <a:gd name="connsiteX0" fmla="*/ 0 w 17253"/>
                  <a:gd name="connsiteY0" fmla="*/ 0 h 12329"/>
                  <a:gd name="connsiteX1" fmla="*/ 17253 w 17253"/>
                  <a:gd name="connsiteY1" fmla="*/ 0 h 12329"/>
                  <a:gd name="connsiteX2" fmla="*/ 17253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3" y="0"/>
                    </a:lnTo>
                    <a:lnTo>
                      <a:pt x="1725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26" name="Freihandform: Form 314">
                <a:extLst>
                  <a:ext uri="{FF2B5EF4-FFF2-40B4-BE49-F238E27FC236}">
                    <a16:creationId xmlns:a16="http://schemas.microsoft.com/office/drawing/2014/main" id="{F142A925-E6FB-4FCB-8EE3-F0049D8B09F4}"/>
                  </a:ext>
                </a:extLst>
              </p:cNvPr>
              <p:cNvSpPr/>
              <p:nvPr/>
            </p:nvSpPr>
            <p:spPr>
              <a:xfrm>
                <a:off x="3214248" y="4549972"/>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27" name="Freihandform: Form 315">
                <a:extLst>
                  <a:ext uri="{FF2B5EF4-FFF2-40B4-BE49-F238E27FC236}">
                    <a16:creationId xmlns:a16="http://schemas.microsoft.com/office/drawing/2014/main" id="{344C5857-586A-49C6-B01D-D2670512B380}"/>
                  </a:ext>
                </a:extLst>
              </p:cNvPr>
              <p:cNvSpPr/>
              <p:nvPr/>
            </p:nvSpPr>
            <p:spPr>
              <a:xfrm>
                <a:off x="3248780" y="454997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28" name="Freihandform: Form 316">
                <a:extLst>
                  <a:ext uri="{FF2B5EF4-FFF2-40B4-BE49-F238E27FC236}">
                    <a16:creationId xmlns:a16="http://schemas.microsoft.com/office/drawing/2014/main" id="{E6EA09E5-BC9F-40B2-BB6E-DD2145EEDFC4}"/>
                  </a:ext>
                </a:extLst>
              </p:cNvPr>
              <p:cNvSpPr/>
              <p:nvPr/>
            </p:nvSpPr>
            <p:spPr>
              <a:xfrm>
                <a:off x="3283311" y="454997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29" name="Freihandform: Form 317">
                <a:extLst>
                  <a:ext uri="{FF2B5EF4-FFF2-40B4-BE49-F238E27FC236}">
                    <a16:creationId xmlns:a16="http://schemas.microsoft.com/office/drawing/2014/main" id="{2D98F707-1642-47B8-92BC-1B539CFC4025}"/>
                  </a:ext>
                </a:extLst>
              </p:cNvPr>
              <p:cNvSpPr/>
              <p:nvPr/>
            </p:nvSpPr>
            <p:spPr>
              <a:xfrm>
                <a:off x="3317830" y="454997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30" name="Freihandform: Form 318">
                <a:extLst>
                  <a:ext uri="{FF2B5EF4-FFF2-40B4-BE49-F238E27FC236}">
                    <a16:creationId xmlns:a16="http://schemas.microsoft.com/office/drawing/2014/main" id="{CF4945F9-A9B2-4773-922C-3ADDC364D339}"/>
                  </a:ext>
                </a:extLst>
              </p:cNvPr>
              <p:cNvSpPr/>
              <p:nvPr/>
            </p:nvSpPr>
            <p:spPr>
              <a:xfrm>
                <a:off x="3352374" y="4549972"/>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31" name="Freihandform: Form 319">
                <a:extLst>
                  <a:ext uri="{FF2B5EF4-FFF2-40B4-BE49-F238E27FC236}">
                    <a16:creationId xmlns:a16="http://schemas.microsoft.com/office/drawing/2014/main" id="{BEBF4B30-3FC0-4514-842E-24B2C6FFEA5D}"/>
                  </a:ext>
                </a:extLst>
              </p:cNvPr>
              <p:cNvSpPr/>
              <p:nvPr/>
            </p:nvSpPr>
            <p:spPr>
              <a:xfrm>
                <a:off x="3386893" y="4549972"/>
                <a:ext cx="17253" cy="12329"/>
              </a:xfrm>
              <a:custGeom>
                <a:avLst/>
                <a:gdLst>
                  <a:gd name="connsiteX0" fmla="*/ 0 w 17253"/>
                  <a:gd name="connsiteY0" fmla="*/ 0 h 12329"/>
                  <a:gd name="connsiteX1" fmla="*/ 17253 w 17253"/>
                  <a:gd name="connsiteY1" fmla="*/ 0 h 12329"/>
                  <a:gd name="connsiteX2" fmla="*/ 17253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3" y="0"/>
                    </a:lnTo>
                    <a:lnTo>
                      <a:pt x="1725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32" name="Freihandform: Form 320">
                <a:extLst>
                  <a:ext uri="{FF2B5EF4-FFF2-40B4-BE49-F238E27FC236}">
                    <a16:creationId xmlns:a16="http://schemas.microsoft.com/office/drawing/2014/main" id="{FF429711-8EF0-471B-B0F3-FF8C0C9C4E24}"/>
                  </a:ext>
                </a:extLst>
              </p:cNvPr>
              <p:cNvSpPr/>
              <p:nvPr/>
            </p:nvSpPr>
            <p:spPr>
              <a:xfrm>
                <a:off x="3421424" y="454997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grpSp>
            <p:nvGrpSpPr>
              <p:cNvPr id="333" name="Grafik 11">
                <a:extLst>
                  <a:ext uri="{FF2B5EF4-FFF2-40B4-BE49-F238E27FC236}">
                    <a16:creationId xmlns:a16="http://schemas.microsoft.com/office/drawing/2014/main" id="{0D03BFFB-51D0-42A5-A006-C48FC035857E}"/>
                  </a:ext>
                </a:extLst>
              </p:cNvPr>
              <p:cNvGrpSpPr/>
              <p:nvPr/>
            </p:nvGrpSpPr>
            <p:grpSpPr>
              <a:xfrm>
                <a:off x="3041616" y="4584491"/>
                <a:ext cx="397074" cy="12329"/>
                <a:chOff x="3041616" y="4584491"/>
                <a:chExt cx="397074" cy="12329"/>
              </a:xfrm>
              <a:solidFill>
                <a:srgbClr val="4D4E53"/>
              </a:solidFill>
            </p:grpSpPr>
            <p:sp>
              <p:nvSpPr>
                <p:cNvPr id="347" name="Freihandform: Form 322">
                  <a:extLst>
                    <a:ext uri="{FF2B5EF4-FFF2-40B4-BE49-F238E27FC236}">
                      <a16:creationId xmlns:a16="http://schemas.microsoft.com/office/drawing/2014/main" id="{132EC513-1212-4D17-86BE-914CC0AE2F2F}"/>
                    </a:ext>
                  </a:extLst>
                </p:cNvPr>
                <p:cNvSpPr/>
                <p:nvPr/>
              </p:nvSpPr>
              <p:spPr>
                <a:xfrm>
                  <a:off x="3041616" y="4584491"/>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48" name="Freihandform: Form 323">
                  <a:extLst>
                    <a:ext uri="{FF2B5EF4-FFF2-40B4-BE49-F238E27FC236}">
                      <a16:creationId xmlns:a16="http://schemas.microsoft.com/office/drawing/2014/main" id="{B244F54E-293B-487D-91CF-FB8E7CAC7A38}"/>
                    </a:ext>
                  </a:extLst>
                </p:cNvPr>
                <p:cNvSpPr/>
                <p:nvPr/>
              </p:nvSpPr>
              <p:spPr>
                <a:xfrm>
                  <a:off x="3076135" y="4584491"/>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49" name="Freihandform: Form 324">
                  <a:extLst>
                    <a:ext uri="{FF2B5EF4-FFF2-40B4-BE49-F238E27FC236}">
                      <a16:creationId xmlns:a16="http://schemas.microsoft.com/office/drawing/2014/main" id="{B7AC8B35-6C27-4C19-BAE6-142852066F8B}"/>
                    </a:ext>
                  </a:extLst>
                </p:cNvPr>
                <p:cNvSpPr/>
                <p:nvPr/>
              </p:nvSpPr>
              <p:spPr>
                <a:xfrm>
                  <a:off x="3110666" y="4584491"/>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50" name="Freihandform: Form 325">
                  <a:extLst>
                    <a:ext uri="{FF2B5EF4-FFF2-40B4-BE49-F238E27FC236}">
                      <a16:creationId xmlns:a16="http://schemas.microsoft.com/office/drawing/2014/main" id="{F0307670-F922-42DC-8193-25744397DC16}"/>
                    </a:ext>
                  </a:extLst>
                </p:cNvPr>
                <p:cNvSpPr/>
                <p:nvPr/>
              </p:nvSpPr>
              <p:spPr>
                <a:xfrm>
                  <a:off x="3145185" y="4584491"/>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51" name="Freihandform: Form 326">
                  <a:extLst>
                    <a:ext uri="{FF2B5EF4-FFF2-40B4-BE49-F238E27FC236}">
                      <a16:creationId xmlns:a16="http://schemas.microsoft.com/office/drawing/2014/main" id="{67BDC91B-9139-4F0C-91B3-3C50772017F0}"/>
                    </a:ext>
                  </a:extLst>
                </p:cNvPr>
                <p:cNvSpPr/>
                <p:nvPr/>
              </p:nvSpPr>
              <p:spPr>
                <a:xfrm>
                  <a:off x="3179729" y="4584491"/>
                  <a:ext cx="17253" cy="12329"/>
                </a:xfrm>
                <a:custGeom>
                  <a:avLst/>
                  <a:gdLst>
                    <a:gd name="connsiteX0" fmla="*/ 0 w 17253"/>
                    <a:gd name="connsiteY0" fmla="*/ 0 h 12329"/>
                    <a:gd name="connsiteX1" fmla="*/ 17253 w 17253"/>
                    <a:gd name="connsiteY1" fmla="*/ 0 h 12329"/>
                    <a:gd name="connsiteX2" fmla="*/ 17253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3" y="0"/>
                      </a:lnTo>
                      <a:lnTo>
                        <a:pt x="1725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52" name="Freihandform: Form 327">
                  <a:extLst>
                    <a:ext uri="{FF2B5EF4-FFF2-40B4-BE49-F238E27FC236}">
                      <a16:creationId xmlns:a16="http://schemas.microsoft.com/office/drawing/2014/main" id="{AA16BD34-BA0F-4741-B05C-A314577CF4D6}"/>
                    </a:ext>
                  </a:extLst>
                </p:cNvPr>
                <p:cNvSpPr/>
                <p:nvPr/>
              </p:nvSpPr>
              <p:spPr>
                <a:xfrm>
                  <a:off x="3214248" y="4584491"/>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53" name="Freihandform: Form 328">
                  <a:extLst>
                    <a:ext uri="{FF2B5EF4-FFF2-40B4-BE49-F238E27FC236}">
                      <a16:creationId xmlns:a16="http://schemas.microsoft.com/office/drawing/2014/main" id="{7293E3E5-AB43-4679-9503-5BF5DA8E68C2}"/>
                    </a:ext>
                  </a:extLst>
                </p:cNvPr>
                <p:cNvSpPr/>
                <p:nvPr/>
              </p:nvSpPr>
              <p:spPr>
                <a:xfrm>
                  <a:off x="3248780" y="4584491"/>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54" name="Freihandform: Form 329">
                  <a:extLst>
                    <a:ext uri="{FF2B5EF4-FFF2-40B4-BE49-F238E27FC236}">
                      <a16:creationId xmlns:a16="http://schemas.microsoft.com/office/drawing/2014/main" id="{65ED4921-3DD0-48CB-988F-48E59AD713E4}"/>
                    </a:ext>
                  </a:extLst>
                </p:cNvPr>
                <p:cNvSpPr/>
                <p:nvPr/>
              </p:nvSpPr>
              <p:spPr>
                <a:xfrm>
                  <a:off x="3283311" y="4584491"/>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55" name="Freihandform: Form 330">
                  <a:extLst>
                    <a:ext uri="{FF2B5EF4-FFF2-40B4-BE49-F238E27FC236}">
                      <a16:creationId xmlns:a16="http://schemas.microsoft.com/office/drawing/2014/main" id="{FEF1C40A-9744-4C9F-873F-A2E24B5319C4}"/>
                    </a:ext>
                  </a:extLst>
                </p:cNvPr>
                <p:cNvSpPr/>
                <p:nvPr/>
              </p:nvSpPr>
              <p:spPr>
                <a:xfrm>
                  <a:off x="3317830" y="4584491"/>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56" name="Freihandform: Form 331">
                  <a:extLst>
                    <a:ext uri="{FF2B5EF4-FFF2-40B4-BE49-F238E27FC236}">
                      <a16:creationId xmlns:a16="http://schemas.microsoft.com/office/drawing/2014/main" id="{B0ACC74E-E239-4C1B-A166-E792999C18D9}"/>
                    </a:ext>
                  </a:extLst>
                </p:cNvPr>
                <p:cNvSpPr/>
                <p:nvPr/>
              </p:nvSpPr>
              <p:spPr>
                <a:xfrm>
                  <a:off x="3352374" y="4584491"/>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57" name="Freihandform: Form 332">
                  <a:extLst>
                    <a:ext uri="{FF2B5EF4-FFF2-40B4-BE49-F238E27FC236}">
                      <a16:creationId xmlns:a16="http://schemas.microsoft.com/office/drawing/2014/main" id="{477F56FD-C5DE-46F2-961C-33AE00B63212}"/>
                    </a:ext>
                  </a:extLst>
                </p:cNvPr>
                <p:cNvSpPr/>
                <p:nvPr/>
              </p:nvSpPr>
              <p:spPr>
                <a:xfrm>
                  <a:off x="3386893" y="4584491"/>
                  <a:ext cx="17253" cy="12329"/>
                </a:xfrm>
                <a:custGeom>
                  <a:avLst/>
                  <a:gdLst>
                    <a:gd name="connsiteX0" fmla="*/ 0 w 17253"/>
                    <a:gd name="connsiteY0" fmla="*/ 0 h 12329"/>
                    <a:gd name="connsiteX1" fmla="*/ 17253 w 17253"/>
                    <a:gd name="connsiteY1" fmla="*/ 0 h 12329"/>
                    <a:gd name="connsiteX2" fmla="*/ 17253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3" y="0"/>
                      </a:lnTo>
                      <a:lnTo>
                        <a:pt x="1725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58" name="Freihandform: Form 333">
                  <a:extLst>
                    <a:ext uri="{FF2B5EF4-FFF2-40B4-BE49-F238E27FC236}">
                      <a16:creationId xmlns:a16="http://schemas.microsoft.com/office/drawing/2014/main" id="{110430F5-3160-4080-90A0-8F8AB1E228B7}"/>
                    </a:ext>
                  </a:extLst>
                </p:cNvPr>
                <p:cNvSpPr/>
                <p:nvPr/>
              </p:nvSpPr>
              <p:spPr>
                <a:xfrm>
                  <a:off x="3421424" y="4584491"/>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grpSp>
          <p:grpSp>
            <p:nvGrpSpPr>
              <p:cNvPr id="334" name="Grafik 11">
                <a:extLst>
                  <a:ext uri="{FF2B5EF4-FFF2-40B4-BE49-F238E27FC236}">
                    <a16:creationId xmlns:a16="http://schemas.microsoft.com/office/drawing/2014/main" id="{E14DB4EF-DF3B-454E-BDCF-40968FD67318}"/>
                  </a:ext>
                </a:extLst>
              </p:cNvPr>
              <p:cNvGrpSpPr/>
              <p:nvPr/>
            </p:nvGrpSpPr>
            <p:grpSpPr>
              <a:xfrm>
                <a:off x="3041616" y="4619022"/>
                <a:ext cx="397074" cy="12329"/>
                <a:chOff x="3041616" y="4619022"/>
                <a:chExt cx="397074" cy="12329"/>
              </a:xfrm>
              <a:solidFill>
                <a:srgbClr val="4D4E53"/>
              </a:solidFill>
            </p:grpSpPr>
            <p:sp>
              <p:nvSpPr>
                <p:cNvPr id="335" name="Freihandform: Form 335">
                  <a:extLst>
                    <a:ext uri="{FF2B5EF4-FFF2-40B4-BE49-F238E27FC236}">
                      <a16:creationId xmlns:a16="http://schemas.microsoft.com/office/drawing/2014/main" id="{CB8D366A-86AC-49E1-884C-7D59E7FC82B6}"/>
                    </a:ext>
                  </a:extLst>
                </p:cNvPr>
                <p:cNvSpPr/>
                <p:nvPr/>
              </p:nvSpPr>
              <p:spPr>
                <a:xfrm>
                  <a:off x="3041616" y="4619022"/>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36" name="Freihandform: Form 336">
                  <a:extLst>
                    <a:ext uri="{FF2B5EF4-FFF2-40B4-BE49-F238E27FC236}">
                      <a16:creationId xmlns:a16="http://schemas.microsoft.com/office/drawing/2014/main" id="{F621EBA2-E2A4-4DBF-9224-7BEC6A2620F4}"/>
                    </a:ext>
                  </a:extLst>
                </p:cNvPr>
                <p:cNvSpPr/>
                <p:nvPr/>
              </p:nvSpPr>
              <p:spPr>
                <a:xfrm>
                  <a:off x="3076135" y="461902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37" name="Freihandform: Form 337">
                  <a:extLst>
                    <a:ext uri="{FF2B5EF4-FFF2-40B4-BE49-F238E27FC236}">
                      <a16:creationId xmlns:a16="http://schemas.microsoft.com/office/drawing/2014/main" id="{7DD0BB5F-4EFF-4805-9662-09D6ED2C2732}"/>
                    </a:ext>
                  </a:extLst>
                </p:cNvPr>
                <p:cNvSpPr/>
                <p:nvPr/>
              </p:nvSpPr>
              <p:spPr>
                <a:xfrm>
                  <a:off x="3110666" y="461902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38" name="Freihandform: Form 338">
                  <a:extLst>
                    <a:ext uri="{FF2B5EF4-FFF2-40B4-BE49-F238E27FC236}">
                      <a16:creationId xmlns:a16="http://schemas.microsoft.com/office/drawing/2014/main" id="{403F05D3-81A3-4BBC-9A18-B804D673FB45}"/>
                    </a:ext>
                  </a:extLst>
                </p:cNvPr>
                <p:cNvSpPr/>
                <p:nvPr/>
              </p:nvSpPr>
              <p:spPr>
                <a:xfrm>
                  <a:off x="3145185" y="461902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39" name="Freihandform: Form 339">
                  <a:extLst>
                    <a:ext uri="{FF2B5EF4-FFF2-40B4-BE49-F238E27FC236}">
                      <a16:creationId xmlns:a16="http://schemas.microsoft.com/office/drawing/2014/main" id="{4DCA69F1-40D0-4A80-8634-8187CF50681D}"/>
                    </a:ext>
                  </a:extLst>
                </p:cNvPr>
                <p:cNvSpPr/>
                <p:nvPr/>
              </p:nvSpPr>
              <p:spPr>
                <a:xfrm>
                  <a:off x="3179729" y="4619022"/>
                  <a:ext cx="17253" cy="12329"/>
                </a:xfrm>
                <a:custGeom>
                  <a:avLst/>
                  <a:gdLst>
                    <a:gd name="connsiteX0" fmla="*/ 0 w 17253"/>
                    <a:gd name="connsiteY0" fmla="*/ 0 h 12329"/>
                    <a:gd name="connsiteX1" fmla="*/ 17253 w 17253"/>
                    <a:gd name="connsiteY1" fmla="*/ 0 h 12329"/>
                    <a:gd name="connsiteX2" fmla="*/ 17253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3" y="0"/>
                      </a:lnTo>
                      <a:lnTo>
                        <a:pt x="1725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40" name="Freihandform: Form 340">
                  <a:extLst>
                    <a:ext uri="{FF2B5EF4-FFF2-40B4-BE49-F238E27FC236}">
                      <a16:creationId xmlns:a16="http://schemas.microsoft.com/office/drawing/2014/main" id="{071E7FFE-3DA5-4808-8FD3-9F095120E879}"/>
                    </a:ext>
                  </a:extLst>
                </p:cNvPr>
                <p:cNvSpPr/>
                <p:nvPr/>
              </p:nvSpPr>
              <p:spPr>
                <a:xfrm>
                  <a:off x="3214248" y="4619022"/>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41" name="Freihandform: Form 341">
                  <a:extLst>
                    <a:ext uri="{FF2B5EF4-FFF2-40B4-BE49-F238E27FC236}">
                      <a16:creationId xmlns:a16="http://schemas.microsoft.com/office/drawing/2014/main" id="{785D7077-23D1-4953-BFE9-A7FF89DD9EF0}"/>
                    </a:ext>
                  </a:extLst>
                </p:cNvPr>
                <p:cNvSpPr/>
                <p:nvPr/>
              </p:nvSpPr>
              <p:spPr>
                <a:xfrm>
                  <a:off x="3248780" y="461902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42" name="Freihandform: Form 342">
                  <a:extLst>
                    <a:ext uri="{FF2B5EF4-FFF2-40B4-BE49-F238E27FC236}">
                      <a16:creationId xmlns:a16="http://schemas.microsoft.com/office/drawing/2014/main" id="{E078E8B6-2945-454B-8C36-E0BD7E0E3931}"/>
                    </a:ext>
                  </a:extLst>
                </p:cNvPr>
                <p:cNvSpPr/>
                <p:nvPr/>
              </p:nvSpPr>
              <p:spPr>
                <a:xfrm>
                  <a:off x="3283311" y="461902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43" name="Freihandform: Form 343">
                  <a:extLst>
                    <a:ext uri="{FF2B5EF4-FFF2-40B4-BE49-F238E27FC236}">
                      <a16:creationId xmlns:a16="http://schemas.microsoft.com/office/drawing/2014/main" id="{7469B60A-34FA-4195-B434-E95C0E6CF97E}"/>
                    </a:ext>
                  </a:extLst>
                </p:cNvPr>
                <p:cNvSpPr/>
                <p:nvPr/>
              </p:nvSpPr>
              <p:spPr>
                <a:xfrm>
                  <a:off x="3317830" y="461902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44" name="Freihandform: Form 344">
                  <a:extLst>
                    <a:ext uri="{FF2B5EF4-FFF2-40B4-BE49-F238E27FC236}">
                      <a16:creationId xmlns:a16="http://schemas.microsoft.com/office/drawing/2014/main" id="{AF571B76-B7EA-46C3-A67C-E45685BB7A88}"/>
                    </a:ext>
                  </a:extLst>
                </p:cNvPr>
                <p:cNvSpPr/>
                <p:nvPr/>
              </p:nvSpPr>
              <p:spPr>
                <a:xfrm>
                  <a:off x="3352374" y="4619022"/>
                  <a:ext cx="17253" cy="12329"/>
                </a:xfrm>
                <a:custGeom>
                  <a:avLst/>
                  <a:gdLst>
                    <a:gd name="connsiteX0" fmla="*/ 0 w 17253"/>
                    <a:gd name="connsiteY0" fmla="*/ 0 h 12329"/>
                    <a:gd name="connsiteX1" fmla="*/ 17254 w 17253"/>
                    <a:gd name="connsiteY1" fmla="*/ 0 h 12329"/>
                    <a:gd name="connsiteX2" fmla="*/ 17254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4" y="0"/>
                      </a:lnTo>
                      <a:lnTo>
                        <a:pt x="17254"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45" name="Freihandform: Form 345">
                  <a:extLst>
                    <a:ext uri="{FF2B5EF4-FFF2-40B4-BE49-F238E27FC236}">
                      <a16:creationId xmlns:a16="http://schemas.microsoft.com/office/drawing/2014/main" id="{59071191-E9B1-495E-B8F1-849309002932}"/>
                    </a:ext>
                  </a:extLst>
                </p:cNvPr>
                <p:cNvSpPr/>
                <p:nvPr/>
              </p:nvSpPr>
              <p:spPr>
                <a:xfrm>
                  <a:off x="3386893" y="4619022"/>
                  <a:ext cx="17253" cy="12329"/>
                </a:xfrm>
                <a:custGeom>
                  <a:avLst/>
                  <a:gdLst>
                    <a:gd name="connsiteX0" fmla="*/ 0 w 17253"/>
                    <a:gd name="connsiteY0" fmla="*/ 0 h 12329"/>
                    <a:gd name="connsiteX1" fmla="*/ 17253 w 17253"/>
                    <a:gd name="connsiteY1" fmla="*/ 0 h 12329"/>
                    <a:gd name="connsiteX2" fmla="*/ 17253 w 17253"/>
                    <a:gd name="connsiteY2" fmla="*/ 12329 h 12329"/>
                    <a:gd name="connsiteX3" fmla="*/ 0 w 17253"/>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53" h="12329">
                      <a:moveTo>
                        <a:pt x="0" y="0"/>
                      </a:moveTo>
                      <a:lnTo>
                        <a:pt x="17253" y="0"/>
                      </a:lnTo>
                      <a:lnTo>
                        <a:pt x="17253"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46" name="Freihandform: Form 346">
                  <a:extLst>
                    <a:ext uri="{FF2B5EF4-FFF2-40B4-BE49-F238E27FC236}">
                      <a16:creationId xmlns:a16="http://schemas.microsoft.com/office/drawing/2014/main" id="{CA01C446-A734-4A0A-94A9-0898EEF1D71A}"/>
                    </a:ext>
                  </a:extLst>
                </p:cNvPr>
                <p:cNvSpPr/>
                <p:nvPr/>
              </p:nvSpPr>
              <p:spPr>
                <a:xfrm>
                  <a:off x="3421424" y="4619022"/>
                  <a:ext cx="17265" cy="12329"/>
                </a:xfrm>
                <a:custGeom>
                  <a:avLst/>
                  <a:gdLst>
                    <a:gd name="connsiteX0" fmla="*/ 0 w 17265"/>
                    <a:gd name="connsiteY0" fmla="*/ 0 h 12329"/>
                    <a:gd name="connsiteX1" fmla="*/ 17266 w 17265"/>
                    <a:gd name="connsiteY1" fmla="*/ 0 h 12329"/>
                    <a:gd name="connsiteX2" fmla="*/ 17266 w 17265"/>
                    <a:gd name="connsiteY2" fmla="*/ 12329 h 12329"/>
                    <a:gd name="connsiteX3" fmla="*/ 0 w 172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265" h="12329">
                      <a:moveTo>
                        <a:pt x="0" y="0"/>
                      </a:moveTo>
                      <a:lnTo>
                        <a:pt x="17266" y="0"/>
                      </a:lnTo>
                      <a:lnTo>
                        <a:pt x="17266" y="12329"/>
                      </a:lnTo>
                      <a:lnTo>
                        <a:pt x="0" y="12329"/>
                      </a:lnTo>
                      <a:close/>
                    </a:path>
                  </a:pathLst>
                </a:custGeom>
                <a:solidFill>
                  <a:schemeClr val="tx2"/>
                </a:solidFill>
                <a:ln w="1228" cap="flat">
                  <a:noFill/>
                  <a:prstDash val="solid"/>
                  <a:miter/>
                </a:ln>
              </p:spPr>
              <p:txBody>
                <a:bodyPr rtlCol="0" anchor="ctr"/>
                <a:lstStyle/>
                <a:p>
                  <a:endParaRPr lang="en-GB" dirty="0"/>
                </a:p>
              </p:txBody>
            </p:sp>
          </p:grpSp>
        </p:grpSp>
      </p:grpSp>
      <p:grpSp>
        <p:nvGrpSpPr>
          <p:cNvPr id="365" name="Gruppieren 438">
            <a:extLst>
              <a:ext uri="{FF2B5EF4-FFF2-40B4-BE49-F238E27FC236}">
                <a16:creationId xmlns:a16="http://schemas.microsoft.com/office/drawing/2014/main" id="{0B579927-549B-4268-8B77-46B2883249E6}"/>
              </a:ext>
            </a:extLst>
          </p:cNvPr>
          <p:cNvGrpSpPr>
            <a:grpSpLocks noChangeAspect="1"/>
          </p:cNvGrpSpPr>
          <p:nvPr/>
        </p:nvGrpSpPr>
        <p:grpSpPr>
          <a:xfrm>
            <a:off x="2130452" y="4097454"/>
            <a:ext cx="461088" cy="432000"/>
            <a:chOff x="2153517" y="4276508"/>
            <a:chExt cx="449579" cy="421217"/>
          </a:xfrm>
        </p:grpSpPr>
        <p:grpSp>
          <p:nvGrpSpPr>
            <p:cNvPr id="366" name="Grafik 11">
              <a:extLst>
                <a:ext uri="{FF2B5EF4-FFF2-40B4-BE49-F238E27FC236}">
                  <a16:creationId xmlns:a16="http://schemas.microsoft.com/office/drawing/2014/main" id="{9CE2FE67-01B7-4839-AF3F-53FF66B2FB79}"/>
                </a:ext>
              </a:extLst>
            </p:cNvPr>
            <p:cNvGrpSpPr/>
            <p:nvPr/>
          </p:nvGrpSpPr>
          <p:grpSpPr>
            <a:xfrm>
              <a:off x="2465081" y="4524758"/>
              <a:ext cx="138015" cy="172967"/>
              <a:chOff x="2465081" y="4524758"/>
              <a:chExt cx="138015" cy="172967"/>
            </a:xfrm>
            <a:solidFill>
              <a:schemeClr val="accent1"/>
            </a:solidFill>
          </p:grpSpPr>
          <p:sp>
            <p:nvSpPr>
              <p:cNvPr id="384" name="Freihandform: Form 349">
                <a:extLst>
                  <a:ext uri="{FF2B5EF4-FFF2-40B4-BE49-F238E27FC236}">
                    <a16:creationId xmlns:a16="http://schemas.microsoft.com/office/drawing/2014/main" id="{9EE9CC1D-8966-423F-AA74-8BD5D94DE5BC}"/>
                  </a:ext>
                </a:extLst>
              </p:cNvPr>
              <p:cNvSpPr/>
              <p:nvPr/>
            </p:nvSpPr>
            <p:spPr>
              <a:xfrm>
                <a:off x="2465081" y="4524758"/>
                <a:ext cx="138015" cy="172967"/>
              </a:xfrm>
              <a:custGeom>
                <a:avLst/>
                <a:gdLst>
                  <a:gd name="connsiteX0" fmla="*/ 69014 w 138015"/>
                  <a:gd name="connsiteY0" fmla="*/ 172967 h 172967"/>
                  <a:gd name="connsiteX1" fmla="*/ 65882 w 138015"/>
                  <a:gd name="connsiteY1" fmla="*/ 171125 h 172967"/>
                  <a:gd name="connsiteX2" fmla="*/ 10585 w 138015"/>
                  <a:gd name="connsiteY2" fmla="*/ 127764 h 172967"/>
                  <a:gd name="connsiteX3" fmla="*/ 0 w 138015"/>
                  <a:gd name="connsiteY3" fmla="*/ 98157 h 172967"/>
                  <a:gd name="connsiteX4" fmla="*/ 0 w 138015"/>
                  <a:gd name="connsiteY4" fmla="*/ 14248 h 172967"/>
                  <a:gd name="connsiteX5" fmla="*/ 34765 w 138015"/>
                  <a:gd name="connsiteY5" fmla="*/ 4645 h 172967"/>
                  <a:gd name="connsiteX6" fmla="*/ 103250 w 138015"/>
                  <a:gd name="connsiteY6" fmla="*/ 4657 h 172967"/>
                  <a:gd name="connsiteX7" fmla="*/ 138015 w 138015"/>
                  <a:gd name="connsiteY7" fmla="*/ 14248 h 172967"/>
                  <a:gd name="connsiteX8" fmla="*/ 138015 w 138015"/>
                  <a:gd name="connsiteY8" fmla="*/ 98157 h 172967"/>
                  <a:gd name="connsiteX9" fmla="*/ 127430 w 138015"/>
                  <a:gd name="connsiteY9" fmla="*/ 127764 h 172967"/>
                  <a:gd name="connsiteX10" fmla="*/ 72145 w 138015"/>
                  <a:gd name="connsiteY10" fmla="*/ 171125 h 172967"/>
                  <a:gd name="connsiteX11" fmla="*/ 69014 w 138015"/>
                  <a:gd name="connsiteY11" fmla="*/ 172967 h 172967"/>
                  <a:gd name="connsiteX12" fmla="*/ 12341 w 138015"/>
                  <a:gd name="connsiteY12" fmla="*/ 23618 h 172967"/>
                  <a:gd name="connsiteX13" fmla="*/ 12341 w 138015"/>
                  <a:gd name="connsiteY13" fmla="*/ 98133 h 172967"/>
                  <a:gd name="connsiteX14" fmla="*/ 20016 w 138015"/>
                  <a:gd name="connsiteY14" fmla="*/ 119795 h 172967"/>
                  <a:gd name="connsiteX15" fmla="*/ 69026 w 138015"/>
                  <a:gd name="connsiteY15" fmla="*/ 158624 h 172967"/>
                  <a:gd name="connsiteX16" fmla="*/ 118023 w 138015"/>
                  <a:gd name="connsiteY16" fmla="*/ 119795 h 172967"/>
                  <a:gd name="connsiteX17" fmla="*/ 125698 w 138015"/>
                  <a:gd name="connsiteY17" fmla="*/ 98133 h 172967"/>
                  <a:gd name="connsiteX18" fmla="*/ 125698 w 138015"/>
                  <a:gd name="connsiteY18" fmla="*/ 23618 h 172967"/>
                  <a:gd name="connsiteX19" fmla="*/ 99984 w 138015"/>
                  <a:gd name="connsiteY19" fmla="*/ 16520 h 172967"/>
                  <a:gd name="connsiteX20" fmla="*/ 38043 w 138015"/>
                  <a:gd name="connsiteY20" fmla="*/ 16508 h 172967"/>
                  <a:gd name="connsiteX21" fmla="*/ 12341 w 138015"/>
                  <a:gd name="connsiteY21" fmla="*/ 23618 h 172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8015" h="172967">
                    <a:moveTo>
                      <a:pt x="69014" y="172967"/>
                    </a:moveTo>
                    <a:lnTo>
                      <a:pt x="65882" y="171125"/>
                    </a:lnTo>
                    <a:cubicBezTo>
                      <a:pt x="40843" y="156377"/>
                      <a:pt x="22755" y="142181"/>
                      <a:pt x="10585" y="127764"/>
                    </a:cubicBezTo>
                    <a:cubicBezTo>
                      <a:pt x="3758" y="119672"/>
                      <a:pt x="0" y="109160"/>
                      <a:pt x="0" y="98157"/>
                    </a:cubicBezTo>
                    <a:lnTo>
                      <a:pt x="0" y="14248"/>
                    </a:lnTo>
                    <a:lnTo>
                      <a:pt x="34765" y="4645"/>
                    </a:lnTo>
                    <a:cubicBezTo>
                      <a:pt x="57176" y="-1557"/>
                      <a:pt x="80864" y="-1544"/>
                      <a:pt x="103250" y="4657"/>
                    </a:cubicBezTo>
                    <a:lnTo>
                      <a:pt x="138015" y="14248"/>
                    </a:lnTo>
                    <a:lnTo>
                      <a:pt x="138015" y="98157"/>
                    </a:lnTo>
                    <a:cubicBezTo>
                      <a:pt x="138015" y="109160"/>
                      <a:pt x="134257" y="119672"/>
                      <a:pt x="127430" y="127764"/>
                    </a:cubicBezTo>
                    <a:cubicBezTo>
                      <a:pt x="115297" y="142169"/>
                      <a:pt x="97208" y="156352"/>
                      <a:pt x="72145" y="171125"/>
                    </a:cubicBezTo>
                    <a:lnTo>
                      <a:pt x="69014" y="172967"/>
                    </a:lnTo>
                    <a:close/>
                    <a:moveTo>
                      <a:pt x="12341" y="23618"/>
                    </a:moveTo>
                    <a:lnTo>
                      <a:pt x="12341" y="98133"/>
                    </a:lnTo>
                    <a:cubicBezTo>
                      <a:pt x="12341" y="106237"/>
                      <a:pt x="15068" y="113925"/>
                      <a:pt x="20016" y="119795"/>
                    </a:cubicBezTo>
                    <a:cubicBezTo>
                      <a:pt x="30786" y="132541"/>
                      <a:pt x="46836" y="145263"/>
                      <a:pt x="69026" y="158624"/>
                    </a:cubicBezTo>
                    <a:cubicBezTo>
                      <a:pt x="91228" y="145239"/>
                      <a:pt x="107290" y="132529"/>
                      <a:pt x="118023" y="119795"/>
                    </a:cubicBezTo>
                    <a:cubicBezTo>
                      <a:pt x="122972" y="113912"/>
                      <a:pt x="125698" y="106237"/>
                      <a:pt x="125698" y="98133"/>
                    </a:cubicBezTo>
                    <a:lnTo>
                      <a:pt x="125698" y="23618"/>
                    </a:lnTo>
                    <a:lnTo>
                      <a:pt x="99984" y="16520"/>
                    </a:lnTo>
                    <a:cubicBezTo>
                      <a:pt x="79734" y="10908"/>
                      <a:pt x="58305" y="10920"/>
                      <a:pt x="38043" y="16508"/>
                    </a:cubicBezTo>
                    <a:lnTo>
                      <a:pt x="12341" y="23618"/>
                    </a:lnTo>
                    <a:close/>
                  </a:path>
                </a:pathLst>
              </a:custGeom>
              <a:solidFill>
                <a:schemeClr val="accent1"/>
              </a:solidFill>
              <a:ln w="1228" cap="flat">
                <a:noFill/>
                <a:prstDash val="solid"/>
                <a:miter/>
              </a:ln>
            </p:spPr>
            <p:txBody>
              <a:bodyPr rtlCol="0" anchor="ctr"/>
              <a:lstStyle/>
              <a:p>
                <a:endParaRPr lang="en-GB" dirty="0"/>
              </a:p>
            </p:txBody>
          </p:sp>
          <p:sp>
            <p:nvSpPr>
              <p:cNvPr id="385" name="Freihandform: Form 350">
                <a:extLst>
                  <a:ext uri="{FF2B5EF4-FFF2-40B4-BE49-F238E27FC236}">
                    <a16:creationId xmlns:a16="http://schemas.microsoft.com/office/drawing/2014/main" id="{B2D72CE0-B616-4F51-A5A5-53F1B071D033}"/>
                  </a:ext>
                </a:extLst>
              </p:cNvPr>
              <p:cNvSpPr/>
              <p:nvPr/>
            </p:nvSpPr>
            <p:spPr>
              <a:xfrm>
                <a:off x="2507337" y="4584184"/>
                <a:ext cx="53528" cy="41543"/>
              </a:xfrm>
              <a:custGeom>
                <a:avLst/>
                <a:gdLst>
                  <a:gd name="connsiteX0" fmla="*/ 20680 w 53528"/>
                  <a:gd name="connsiteY0" fmla="*/ 41543 h 41543"/>
                  <a:gd name="connsiteX1" fmla="*/ 0 w 53528"/>
                  <a:gd name="connsiteY1" fmla="*/ 20851 h 41543"/>
                  <a:gd name="connsiteX2" fmla="*/ 8719 w 53528"/>
                  <a:gd name="connsiteY2" fmla="*/ 12133 h 41543"/>
                  <a:gd name="connsiteX3" fmla="*/ 20680 w 53528"/>
                  <a:gd name="connsiteY3" fmla="*/ 24106 h 41543"/>
                  <a:gd name="connsiteX4" fmla="*/ 44798 w 53528"/>
                  <a:gd name="connsiteY4" fmla="*/ 0 h 41543"/>
                  <a:gd name="connsiteX5" fmla="*/ 53529 w 53528"/>
                  <a:gd name="connsiteY5" fmla="*/ 8719 h 41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528" h="41543">
                    <a:moveTo>
                      <a:pt x="20680" y="41543"/>
                    </a:moveTo>
                    <a:lnTo>
                      <a:pt x="0" y="20851"/>
                    </a:lnTo>
                    <a:lnTo>
                      <a:pt x="8719" y="12133"/>
                    </a:lnTo>
                    <a:lnTo>
                      <a:pt x="20680" y="24106"/>
                    </a:lnTo>
                    <a:lnTo>
                      <a:pt x="44798" y="0"/>
                    </a:lnTo>
                    <a:lnTo>
                      <a:pt x="53529" y="8719"/>
                    </a:lnTo>
                    <a:close/>
                  </a:path>
                </a:pathLst>
              </a:custGeom>
              <a:solidFill>
                <a:schemeClr val="accent1"/>
              </a:solidFill>
              <a:ln w="1228" cap="flat">
                <a:noFill/>
                <a:prstDash val="solid"/>
                <a:miter/>
              </a:ln>
            </p:spPr>
            <p:txBody>
              <a:bodyPr rtlCol="0" anchor="ctr"/>
              <a:lstStyle/>
              <a:p>
                <a:endParaRPr lang="en-GB" dirty="0"/>
              </a:p>
            </p:txBody>
          </p:sp>
        </p:grpSp>
        <p:grpSp>
          <p:nvGrpSpPr>
            <p:cNvPr id="367" name="Gruppieren 437">
              <a:extLst>
                <a:ext uri="{FF2B5EF4-FFF2-40B4-BE49-F238E27FC236}">
                  <a16:creationId xmlns:a16="http://schemas.microsoft.com/office/drawing/2014/main" id="{7E788A06-4526-42E9-85F0-0F278F2824D8}"/>
                </a:ext>
              </a:extLst>
            </p:cNvPr>
            <p:cNvGrpSpPr/>
            <p:nvPr/>
          </p:nvGrpSpPr>
          <p:grpSpPr>
            <a:xfrm>
              <a:off x="2153517" y="4276508"/>
              <a:ext cx="302747" cy="409403"/>
              <a:chOff x="2153517" y="4276508"/>
              <a:chExt cx="302747" cy="409403"/>
            </a:xfrm>
          </p:grpSpPr>
          <p:sp>
            <p:nvSpPr>
              <p:cNvPr id="368" name="Freihandform: Form 353">
                <a:extLst>
                  <a:ext uri="{FF2B5EF4-FFF2-40B4-BE49-F238E27FC236}">
                    <a16:creationId xmlns:a16="http://schemas.microsoft.com/office/drawing/2014/main" id="{77BAD5A1-6EAF-4032-943F-DCACF3341626}"/>
                  </a:ext>
                </a:extLst>
              </p:cNvPr>
              <p:cNvSpPr/>
              <p:nvPr/>
            </p:nvSpPr>
            <p:spPr>
              <a:xfrm>
                <a:off x="2265445" y="4375227"/>
                <a:ext cx="178797" cy="145334"/>
              </a:xfrm>
              <a:custGeom>
                <a:avLst/>
                <a:gdLst>
                  <a:gd name="connsiteX0" fmla="*/ 95514 w 178797"/>
                  <a:gd name="connsiteY0" fmla="*/ 145334 h 145334"/>
                  <a:gd name="connsiteX1" fmla="*/ 83283 w 178797"/>
                  <a:gd name="connsiteY1" fmla="*/ 145334 h 145334"/>
                  <a:gd name="connsiteX2" fmla="*/ 10536 w 178797"/>
                  <a:gd name="connsiteY2" fmla="*/ 98670 h 145334"/>
                  <a:gd name="connsiteX3" fmla="*/ 0 w 178797"/>
                  <a:gd name="connsiteY3" fmla="*/ 50017 h 145334"/>
                  <a:gd name="connsiteX4" fmla="*/ 0 w 178797"/>
                  <a:gd name="connsiteY4" fmla="*/ 0 h 145334"/>
                  <a:gd name="connsiteX5" fmla="*/ 12329 w 178797"/>
                  <a:gd name="connsiteY5" fmla="*/ 0 h 145334"/>
                  <a:gd name="connsiteX6" fmla="*/ 12329 w 178797"/>
                  <a:gd name="connsiteY6" fmla="*/ 50017 h 145334"/>
                  <a:gd name="connsiteX7" fmla="*/ 21613 w 178797"/>
                  <a:gd name="connsiteY7" fmla="*/ 93279 h 145334"/>
                  <a:gd name="connsiteX8" fmla="*/ 83283 w 178797"/>
                  <a:gd name="connsiteY8" fmla="*/ 133005 h 145334"/>
                  <a:gd name="connsiteX9" fmla="*/ 95514 w 178797"/>
                  <a:gd name="connsiteY9" fmla="*/ 133005 h 145334"/>
                  <a:gd name="connsiteX10" fmla="*/ 157184 w 178797"/>
                  <a:gd name="connsiteY10" fmla="*/ 93279 h 145334"/>
                  <a:gd name="connsiteX11" fmla="*/ 166468 w 178797"/>
                  <a:gd name="connsiteY11" fmla="*/ 50017 h 145334"/>
                  <a:gd name="connsiteX12" fmla="*/ 166468 w 178797"/>
                  <a:gd name="connsiteY12" fmla="*/ 0 h 145334"/>
                  <a:gd name="connsiteX13" fmla="*/ 178797 w 178797"/>
                  <a:gd name="connsiteY13" fmla="*/ 0 h 145334"/>
                  <a:gd name="connsiteX14" fmla="*/ 178797 w 178797"/>
                  <a:gd name="connsiteY14" fmla="*/ 50017 h 145334"/>
                  <a:gd name="connsiteX15" fmla="*/ 168261 w 178797"/>
                  <a:gd name="connsiteY15" fmla="*/ 98670 h 145334"/>
                  <a:gd name="connsiteX16" fmla="*/ 95514 w 178797"/>
                  <a:gd name="connsiteY16" fmla="*/ 145334 h 145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797" h="145334">
                    <a:moveTo>
                      <a:pt x="95514" y="145334"/>
                    </a:moveTo>
                    <a:lnTo>
                      <a:pt x="83283" y="145334"/>
                    </a:lnTo>
                    <a:cubicBezTo>
                      <a:pt x="41961" y="145334"/>
                      <a:pt x="20913" y="119964"/>
                      <a:pt x="10536" y="98670"/>
                    </a:cubicBezTo>
                    <a:cubicBezTo>
                      <a:pt x="3549" y="84339"/>
                      <a:pt x="0" y="67970"/>
                      <a:pt x="0" y="50017"/>
                    </a:cubicBezTo>
                    <a:lnTo>
                      <a:pt x="0" y="0"/>
                    </a:lnTo>
                    <a:lnTo>
                      <a:pt x="12329" y="0"/>
                    </a:lnTo>
                    <a:lnTo>
                      <a:pt x="12329" y="50017"/>
                    </a:lnTo>
                    <a:cubicBezTo>
                      <a:pt x="12329" y="66079"/>
                      <a:pt x="15448" y="80631"/>
                      <a:pt x="21613" y="93279"/>
                    </a:cubicBezTo>
                    <a:cubicBezTo>
                      <a:pt x="34470" y="119644"/>
                      <a:pt x="55223" y="133005"/>
                      <a:pt x="83283" y="133005"/>
                    </a:cubicBezTo>
                    <a:lnTo>
                      <a:pt x="95514" y="133005"/>
                    </a:lnTo>
                    <a:cubicBezTo>
                      <a:pt x="123574" y="133005"/>
                      <a:pt x="144327" y="119632"/>
                      <a:pt x="157184" y="93279"/>
                    </a:cubicBezTo>
                    <a:cubicBezTo>
                      <a:pt x="163349" y="80631"/>
                      <a:pt x="166468" y="66091"/>
                      <a:pt x="166468" y="50017"/>
                    </a:cubicBezTo>
                    <a:lnTo>
                      <a:pt x="166468" y="0"/>
                    </a:lnTo>
                    <a:lnTo>
                      <a:pt x="178797" y="0"/>
                    </a:lnTo>
                    <a:lnTo>
                      <a:pt x="178797" y="50017"/>
                    </a:lnTo>
                    <a:cubicBezTo>
                      <a:pt x="178797" y="67970"/>
                      <a:pt x="175260" y="84339"/>
                      <a:pt x="168261" y="98670"/>
                    </a:cubicBezTo>
                    <a:cubicBezTo>
                      <a:pt x="157884" y="119964"/>
                      <a:pt x="136849" y="145334"/>
                      <a:pt x="95514" y="145334"/>
                    </a:cubicBezTo>
                    <a:close/>
                  </a:path>
                </a:pathLst>
              </a:custGeom>
              <a:solidFill>
                <a:schemeClr val="tx2"/>
              </a:solidFill>
              <a:ln w="1228" cap="flat">
                <a:noFill/>
                <a:prstDash val="solid"/>
                <a:miter/>
              </a:ln>
            </p:spPr>
            <p:txBody>
              <a:bodyPr rtlCol="0" anchor="ctr"/>
              <a:lstStyle/>
              <a:p>
                <a:endParaRPr lang="en-GB" dirty="0"/>
              </a:p>
            </p:txBody>
          </p:sp>
          <p:sp>
            <p:nvSpPr>
              <p:cNvPr id="369" name="Freihandform: Form 355">
                <a:extLst>
                  <a:ext uri="{FF2B5EF4-FFF2-40B4-BE49-F238E27FC236}">
                    <a16:creationId xmlns:a16="http://schemas.microsoft.com/office/drawing/2014/main" id="{F461C061-D691-4C6A-94DC-33EF3C7A2D96}"/>
                  </a:ext>
                </a:extLst>
              </p:cNvPr>
              <p:cNvSpPr/>
              <p:nvPr/>
            </p:nvSpPr>
            <p:spPr>
              <a:xfrm>
                <a:off x="2382253" y="4503087"/>
                <a:ext cx="63696" cy="54461"/>
              </a:xfrm>
              <a:custGeom>
                <a:avLst/>
                <a:gdLst>
                  <a:gd name="connsiteX0" fmla="*/ 59607 w 63696"/>
                  <a:gd name="connsiteY0" fmla="*/ 54462 h 54461"/>
                  <a:gd name="connsiteX1" fmla="*/ 33942 w 63696"/>
                  <a:gd name="connsiteY1" fmla="*/ 45964 h 54461"/>
                  <a:gd name="connsiteX2" fmla="*/ 0 w 63696"/>
                  <a:gd name="connsiteY2" fmla="*/ 0 h 54461"/>
                  <a:gd name="connsiteX3" fmla="*/ 12341 w 63696"/>
                  <a:gd name="connsiteY3" fmla="*/ 0 h 54461"/>
                  <a:gd name="connsiteX4" fmla="*/ 37601 w 63696"/>
                  <a:gd name="connsiteY4" fmla="*/ 34188 h 54461"/>
                  <a:gd name="connsiteX5" fmla="*/ 63696 w 63696"/>
                  <a:gd name="connsiteY5" fmla="*/ 42833 h 54461"/>
                  <a:gd name="connsiteX6" fmla="*/ 59607 w 63696"/>
                  <a:gd name="connsiteY6" fmla="*/ 54462 h 54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696" h="54461">
                    <a:moveTo>
                      <a:pt x="59607" y="54462"/>
                    </a:moveTo>
                    <a:cubicBezTo>
                      <a:pt x="50459" y="51232"/>
                      <a:pt x="41678" y="48371"/>
                      <a:pt x="33942" y="45964"/>
                    </a:cubicBezTo>
                    <a:cubicBezTo>
                      <a:pt x="13643" y="39640"/>
                      <a:pt x="0" y="21171"/>
                      <a:pt x="0" y="0"/>
                    </a:cubicBezTo>
                    <a:lnTo>
                      <a:pt x="12341" y="0"/>
                    </a:lnTo>
                    <a:cubicBezTo>
                      <a:pt x="12341" y="15743"/>
                      <a:pt x="22497" y="29484"/>
                      <a:pt x="37601" y="34188"/>
                    </a:cubicBezTo>
                    <a:cubicBezTo>
                      <a:pt x="45473" y="36644"/>
                      <a:pt x="54401" y="39554"/>
                      <a:pt x="63696" y="42833"/>
                    </a:cubicBezTo>
                    <a:lnTo>
                      <a:pt x="59607" y="54462"/>
                    </a:lnTo>
                    <a:close/>
                  </a:path>
                </a:pathLst>
              </a:custGeom>
              <a:solidFill>
                <a:schemeClr val="tx2"/>
              </a:solidFill>
              <a:ln w="1228" cap="flat">
                <a:noFill/>
                <a:prstDash val="solid"/>
                <a:miter/>
              </a:ln>
            </p:spPr>
            <p:txBody>
              <a:bodyPr rtlCol="0" anchor="ctr"/>
              <a:lstStyle/>
              <a:p>
                <a:endParaRPr lang="en-GB" dirty="0"/>
              </a:p>
            </p:txBody>
          </p:sp>
          <p:sp>
            <p:nvSpPr>
              <p:cNvPr id="370" name="Freihandform: Form 356">
                <a:extLst>
                  <a:ext uri="{FF2B5EF4-FFF2-40B4-BE49-F238E27FC236}">
                    <a16:creationId xmlns:a16="http://schemas.microsoft.com/office/drawing/2014/main" id="{EC83F0C9-90EC-4A55-9AD1-14065E5FB18B}"/>
                  </a:ext>
                </a:extLst>
              </p:cNvPr>
              <p:cNvSpPr/>
              <p:nvPr/>
            </p:nvSpPr>
            <p:spPr>
              <a:xfrm>
                <a:off x="2153517" y="4503087"/>
                <a:ext cx="167814" cy="182824"/>
              </a:xfrm>
              <a:custGeom>
                <a:avLst/>
                <a:gdLst>
                  <a:gd name="connsiteX0" fmla="*/ 12521 w 167814"/>
                  <a:gd name="connsiteY0" fmla="*/ 182825 h 182824"/>
                  <a:gd name="connsiteX1" fmla="*/ 192 w 167814"/>
                  <a:gd name="connsiteY1" fmla="*/ 182825 h 182824"/>
                  <a:gd name="connsiteX2" fmla="*/ 192 w 167814"/>
                  <a:gd name="connsiteY2" fmla="*/ 140741 h 182824"/>
                  <a:gd name="connsiteX3" fmla="*/ 40250 w 167814"/>
                  <a:gd name="connsiteY3" fmla="*/ 70979 h 182824"/>
                  <a:gd name="connsiteX4" fmla="*/ 130201 w 167814"/>
                  <a:gd name="connsiteY4" fmla="*/ 34188 h 182824"/>
                  <a:gd name="connsiteX5" fmla="*/ 155485 w 167814"/>
                  <a:gd name="connsiteY5" fmla="*/ 0 h 182824"/>
                  <a:gd name="connsiteX6" fmla="*/ 167814 w 167814"/>
                  <a:gd name="connsiteY6" fmla="*/ 0 h 182824"/>
                  <a:gd name="connsiteX7" fmla="*/ 133872 w 167814"/>
                  <a:gd name="connsiteY7" fmla="*/ 45964 h 182824"/>
                  <a:gd name="connsiteX8" fmla="*/ 46574 w 167814"/>
                  <a:gd name="connsiteY8" fmla="*/ 81576 h 182824"/>
                  <a:gd name="connsiteX9" fmla="*/ 12497 w 167814"/>
                  <a:gd name="connsiteY9" fmla="*/ 140041 h 182824"/>
                  <a:gd name="connsiteX10" fmla="*/ 12521 w 167814"/>
                  <a:gd name="connsiteY10" fmla="*/ 182825 h 182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814" h="182824">
                    <a:moveTo>
                      <a:pt x="12521" y="182825"/>
                    </a:moveTo>
                    <a:lnTo>
                      <a:pt x="192" y="182825"/>
                    </a:lnTo>
                    <a:lnTo>
                      <a:pt x="192" y="140741"/>
                    </a:lnTo>
                    <a:cubicBezTo>
                      <a:pt x="20" y="139685"/>
                      <a:pt x="-4364" y="97614"/>
                      <a:pt x="40250" y="70979"/>
                    </a:cubicBezTo>
                    <a:cubicBezTo>
                      <a:pt x="65645" y="55825"/>
                      <a:pt x="103172" y="42612"/>
                      <a:pt x="130201" y="34188"/>
                    </a:cubicBezTo>
                    <a:cubicBezTo>
                      <a:pt x="145317" y="29484"/>
                      <a:pt x="155485" y="15743"/>
                      <a:pt x="155485" y="0"/>
                    </a:cubicBezTo>
                    <a:lnTo>
                      <a:pt x="167814" y="0"/>
                    </a:lnTo>
                    <a:cubicBezTo>
                      <a:pt x="167814" y="21158"/>
                      <a:pt x="154171" y="39628"/>
                      <a:pt x="133872" y="45964"/>
                    </a:cubicBezTo>
                    <a:cubicBezTo>
                      <a:pt x="107483" y="54179"/>
                      <a:pt x="70937" y="67037"/>
                      <a:pt x="46574" y="81576"/>
                    </a:cubicBezTo>
                    <a:cubicBezTo>
                      <a:pt x="9022" y="103987"/>
                      <a:pt x="12325" y="138580"/>
                      <a:pt x="12497" y="140041"/>
                    </a:cubicBezTo>
                    <a:lnTo>
                      <a:pt x="12521" y="182825"/>
                    </a:lnTo>
                    <a:close/>
                  </a:path>
                </a:pathLst>
              </a:custGeom>
              <a:solidFill>
                <a:schemeClr val="tx2"/>
              </a:solidFill>
              <a:ln w="1228" cap="flat">
                <a:noFill/>
                <a:prstDash val="solid"/>
                <a:miter/>
              </a:ln>
            </p:spPr>
            <p:txBody>
              <a:bodyPr rtlCol="0" anchor="ctr"/>
              <a:lstStyle/>
              <a:p>
                <a:endParaRPr lang="en-GB" dirty="0"/>
              </a:p>
            </p:txBody>
          </p:sp>
          <p:sp>
            <p:nvSpPr>
              <p:cNvPr id="371" name="Freihandform: Form 357">
                <a:extLst>
                  <a:ext uri="{FF2B5EF4-FFF2-40B4-BE49-F238E27FC236}">
                    <a16:creationId xmlns:a16="http://schemas.microsoft.com/office/drawing/2014/main" id="{BA5FA176-25C3-4264-B2A6-E4A8EA36ECE5}"/>
                  </a:ext>
                </a:extLst>
              </p:cNvPr>
              <p:cNvSpPr/>
              <p:nvPr/>
            </p:nvSpPr>
            <p:spPr>
              <a:xfrm>
                <a:off x="2209191" y="4648322"/>
                <a:ext cx="12329" cy="37589"/>
              </a:xfrm>
              <a:custGeom>
                <a:avLst/>
                <a:gdLst>
                  <a:gd name="connsiteX0" fmla="*/ 0 w 12329"/>
                  <a:gd name="connsiteY0" fmla="*/ 0 h 37589"/>
                  <a:gd name="connsiteX1" fmla="*/ 12329 w 12329"/>
                  <a:gd name="connsiteY1" fmla="*/ 0 h 37589"/>
                  <a:gd name="connsiteX2" fmla="*/ 12329 w 12329"/>
                  <a:gd name="connsiteY2" fmla="*/ 37589 h 37589"/>
                  <a:gd name="connsiteX3" fmla="*/ 0 w 12329"/>
                  <a:gd name="connsiteY3" fmla="*/ 37589 h 37589"/>
                </a:gdLst>
                <a:ahLst/>
                <a:cxnLst>
                  <a:cxn ang="0">
                    <a:pos x="connsiteX0" y="connsiteY0"/>
                  </a:cxn>
                  <a:cxn ang="0">
                    <a:pos x="connsiteX1" y="connsiteY1"/>
                  </a:cxn>
                  <a:cxn ang="0">
                    <a:pos x="connsiteX2" y="connsiteY2"/>
                  </a:cxn>
                  <a:cxn ang="0">
                    <a:pos x="connsiteX3" y="connsiteY3"/>
                  </a:cxn>
                </a:cxnLst>
                <a:rect l="l" t="t" r="r" b="b"/>
                <a:pathLst>
                  <a:path w="12329" h="37589">
                    <a:moveTo>
                      <a:pt x="0" y="0"/>
                    </a:moveTo>
                    <a:lnTo>
                      <a:pt x="12329" y="0"/>
                    </a:lnTo>
                    <a:lnTo>
                      <a:pt x="12329" y="37589"/>
                    </a:lnTo>
                    <a:lnTo>
                      <a:pt x="0" y="37589"/>
                    </a:lnTo>
                    <a:close/>
                  </a:path>
                </a:pathLst>
              </a:custGeom>
              <a:solidFill>
                <a:schemeClr val="tx2"/>
              </a:solidFill>
              <a:ln w="1228" cap="flat">
                <a:noFill/>
                <a:prstDash val="solid"/>
                <a:miter/>
              </a:ln>
            </p:spPr>
            <p:txBody>
              <a:bodyPr rtlCol="0" anchor="ctr"/>
              <a:lstStyle/>
              <a:p>
                <a:endParaRPr lang="en-GB" dirty="0"/>
              </a:p>
            </p:txBody>
          </p:sp>
          <p:sp>
            <p:nvSpPr>
              <p:cNvPr id="372" name="Freihandform: Form 358">
                <a:extLst>
                  <a:ext uri="{FF2B5EF4-FFF2-40B4-BE49-F238E27FC236}">
                    <a16:creationId xmlns:a16="http://schemas.microsoft.com/office/drawing/2014/main" id="{6AB05411-299A-41F2-9280-F85DA5E06E62}"/>
                  </a:ext>
                </a:extLst>
              </p:cNvPr>
              <p:cNvSpPr/>
              <p:nvPr/>
            </p:nvSpPr>
            <p:spPr>
              <a:xfrm>
                <a:off x="2247259" y="4276508"/>
                <a:ext cx="209005" cy="104883"/>
              </a:xfrm>
              <a:custGeom>
                <a:avLst/>
                <a:gdLst>
                  <a:gd name="connsiteX0" fmla="*/ 192415 w 209005"/>
                  <a:gd name="connsiteY0" fmla="*/ 104883 h 104883"/>
                  <a:gd name="connsiteX1" fmla="*/ 16590 w 209005"/>
                  <a:gd name="connsiteY1" fmla="*/ 104883 h 104883"/>
                  <a:gd name="connsiteX2" fmla="*/ 0 w 209005"/>
                  <a:gd name="connsiteY2" fmla="*/ 88293 h 104883"/>
                  <a:gd name="connsiteX3" fmla="*/ 0 w 209005"/>
                  <a:gd name="connsiteY3" fmla="*/ 60393 h 104883"/>
                  <a:gd name="connsiteX4" fmla="*/ 16590 w 209005"/>
                  <a:gd name="connsiteY4" fmla="*/ 43803 h 104883"/>
                  <a:gd name="connsiteX5" fmla="*/ 28244 w 209005"/>
                  <a:gd name="connsiteY5" fmla="*/ 43803 h 104883"/>
                  <a:gd name="connsiteX6" fmla="*/ 77831 w 209005"/>
                  <a:gd name="connsiteY6" fmla="*/ 0 h 104883"/>
                  <a:gd name="connsiteX7" fmla="*/ 129677 w 209005"/>
                  <a:gd name="connsiteY7" fmla="*/ 0 h 104883"/>
                  <a:gd name="connsiteX8" fmla="*/ 179276 w 209005"/>
                  <a:gd name="connsiteY8" fmla="*/ 43803 h 104883"/>
                  <a:gd name="connsiteX9" fmla="*/ 192415 w 209005"/>
                  <a:gd name="connsiteY9" fmla="*/ 43803 h 104883"/>
                  <a:gd name="connsiteX10" fmla="*/ 209006 w 209005"/>
                  <a:gd name="connsiteY10" fmla="*/ 60393 h 104883"/>
                  <a:gd name="connsiteX11" fmla="*/ 209006 w 209005"/>
                  <a:gd name="connsiteY11" fmla="*/ 88293 h 104883"/>
                  <a:gd name="connsiteX12" fmla="*/ 192415 w 209005"/>
                  <a:gd name="connsiteY12" fmla="*/ 104883 h 104883"/>
                  <a:gd name="connsiteX13" fmla="*/ 16590 w 209005"/>
                  <a:gd name="connsiteY13" fmla="*/ 56132 h 104883"/>
                  <a:gd name="connsiteX14" fmla="*/ 12329 w 209005"/>
                  <a:gd name="connsiteY14" fmla="*/ 60393 h 104883"/>
                  <a:gd name="connsiteX15" fmla="*/ 12329 w 209005"/>
                  <a:gd name="connsiteY15" fmla="*/ 88293 h 104883"/>
                  <a:gd name="connsiteX16" fmla="*/ 16590 w 209005"/>
                  <a:gd name="connsiteY16" fmla="*/ 92555 h 104883"/>
                  <a:gd name="connsiteX17" fmla="*/ 192415 w 209005"/>
                  <a:gd name="connsiteY17" fmla="*/ 92555 h 104883"/>
                  <a:gd name="connsiteX18" fmla="*/ 196677 w 209005"/>
                  <a:gd name="connsiteY18" fmla="*/ 88293 h 104883"/>
                  <a:gd name="connsiteX19" fmla="*/ 196677 w 209005"/>
                  <a:gd name="connsiteY19" fmla="*/ 60393 h 104883"/>
                  <a:gd name="connsiteX20" fmla="*/ 192415 w 209005"/>
                  <a:gd name="connsiteY20" fmla="*/ 56132 h 104883"/>
                  <a:gd name="connsiteX21" fmla="*/ 167315 w 209005"/>
                  <a:gd name="connsiteY21" fmla="*/ 56132 h 104883"/>
                  <a:gd name="connsiteX22" fmla="*/ 167315 w 209005"/>
                  <a:gd name="connsiteY22" fmla="*/ 49967 h 104883"/>
                  <a:gd name="connsiteX23" fmla="*/ 129677 w 209005"/>
                  <a:gd name="connsiteY23" fmla="*/ 12329 h 104883"/>
                  <a:gd name="connsiteX24" fmla="*/ 77831 w 209005"/>
                  <a:gd name="connsiteY24" fmla="*/ 12329 h 104883"/>
                  <a:gd name="connsiteX25" fmla="*/ 40192 w 209005"/>
                  <a:gd name="connsiteY25" fmla="*/ 49967 h 104883"/>
                  <a:gd name="connsiteX26" fmla="*/ 40192 w 209005"/>
                  <a:gd name="connsiteY26" fmla="*/ 56132 h 104883"/>
                  <a:gd name="connsiteX27" fmla="*/ 16590 w 209005"/>
                  <a:gd name="connsiteY27" fmla="*/ 56132 h 104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9005" h="104883">
                    <a:moveTo>
                      <a:pt x="192415" y="104883"/>
                    </a:moveTo>
                    <a:lnTo>
                      <a:pt x="16590" y="104883"/>
                    </a:lnTo>
                    <a:cubicBezTo>
                      <a:pt x="7442" y="104883"/>
                      <a:pt x="0" y="97442"/>
                      <a:pt x="0" y="88293"/>
                    </a:cubicBezTo>
                    <a:lnTo>
                      <a:pt x="0" y="60393"/>
                    </a:lnTo>
                    <a:cubicBezTo>
                      <a:pt x="0" y="51244"/>
                      <a:pt x="7442" y="43803"/>
                      <a:pt x="16590" y="43803"/>
                    </a:cubicBezTo>
                    <a:lnTo>
                      <a:pt x="28244" y="43803"/>
                    </a:lnTo>
                    <a:cubicBezTo>
                      <a:pt x="31289" y="19157"/>
                      <a:pt x="52374" y="0"/>
                      <a:pt x="77831" y="0"/>
                    </a:cubicBezTo>
                    <a:lnTo>
                      <a:pt x="129677" y="0"/>
                    </a:lnTo>
                    <a:cubicBezTo>
                      <a:pt x="155146" y="0"/>
                      <a:pt x="176230" y="19145"/>
                      <a:pt x="179276" y="43803"/>
                    </a:cubicBezTo>
                    <a:lnTo>
                      <a:pt x="192415" y="43803"/>
                    </a:lnTo>
                    <a:cubicBezTo>
                      <a:pt x="201564" y="43803"/>
                      <a:pt x="209006" y="51244"/>
                      <a:pt x="209006" y="60393"/>
                    </a:cubicBezTo>
                    <a:lnTo>
                      <a:pt x="209006" y="88293"/>
                    </a:lnTo>
                    <a:cubicBezTo>
                      <a:pt x="209006" y="97442"/>
                      <a:pt x="201564" y="104883"/>
                      <a:pt x="192415" y="104883"/>
                    </a:cubicBezTo>
                    <a:close/>
                    <a:moveTo>
                      <a:pt x="16590" y="56132"/>
                    </a:moveTo>
                    <a:cubicBezTo>
                      <a:pt x="14245" y="56132"/>
                      <a:pt x="12329" y="58048"/>
                      <a:pt x="12329" y="60393"/>
                    </a:cubicBezTo>
                    <a:lnTo>
                      <a:pt x="12329" y="88293"/>
                    </a:lnTo>
                    <a:cubicBezTo>
                      <a:pt x="12329" y="90639"/>
                      <a:pt x="14232" y="92555"/>
                      <a:pt x="16590" y="92555"/>
                    </a:cubicBezTo>
                    <a:lnTo>
                      <a:pt x="192415" y="92555"/>
                    </a:lnTo>
                    <a:cubicBezTo>
                      <a:pt x="194761" y="92555"/>
                      <a:pt x="196677" y="90639"/>
                      <a:pt x="196677" y="88293"/>
                    </a:cubicBezTo>
                    <a:lnTo>
                      <a:pt x="196677" y="60393"/>
                    </a:lnTo>
                    <a:cubicBezTo>
                      <a:pt x="196677" y="58048"/>
                      <a:pt x="194761" y="56132"/>
                      <a:pt x="192415" y="56132"/>
                    </a:cubicBezTo>
                    <a:lnTo>
                      <a:pt x="167315" y="56132"/>
                    </a:lnTo>
                    <a:lnTo>
                      <a:pt x="167315" y="49967"/>
                    </a:lnTo>
                    <a:cubicBezTo>
                      <a:pt x="167315" y="29214"/>
                      <a:pt x="150430" y="12329"/>
                      <a:pt x="129677" y="12329"/>
                    </a:cubicBezTo>
                    <a:lnTo>
                      <a:pt x="77831" y="12329"/>
                    </a:lnTo>
                    <a:cubicBezTo>
                      <a:pt x="57077" y="12329"/>
                      <a:pt x="40192" y="29214"/>
                      <a:pt x="40192" y="49967"/>
                    </a:cubicBezTo>
                    <a:lnTo>
                      <a:pt x="40192" y="56132"/>
                    </a:lnTo>
                    <a:lnTo>
                      <a:pt x="16590" y="56132"/>
                    </a:lnTo>
                    <a:close/>
                  </a:path>
                </a:pathLst>
              </a:custGeom>
              <a:solidFill>
                <a:schemeClr val="tx2"/>
              </a:solidFill>
              <a:ln w="1228" cap="flat">
                <a:noFill/>
                <a:prstDash val="solid"/>
                <a:miter/>
              </a:ln>
            </p:spPr>
            <p:txBody>
              <a:bodyPr rtlCol="0" anchor="ctr"/>
              <a:lstStyle/>
              <a:p>
                <a:endParaRPr lang="en-GB" dirty="0"/>
              </a:p>
            </p:txBody>
          </p:sp>
          <p:sp>
            <p:nvSpPr>
              <p:cNvPr id="373" name="Freihandform: Form 359">
                <a:extLst>
                  <a:ext uri="{FF2B5EF4-FFF2-40B4-BE49-F238E27FC236}">
                    <a16:creationId xmlns:a16="http://schemas.microsoft.com/office/drawing/2014/main" id="{B6002F72-1F9C-411F-B475-D8E4FFB84405}"/>
                  </a:ext>
                </a:extLst>
              </p:cNvPr>
              <p:cNvSpPr/>
              <p:nvPr/>
            </p:nvSpPr>
            <p:spPr>
              <a:xfrm>
                <a:off x="2283730" y="4537790"/>
                <a:ext cx="138592" cy="69296"/>
              </a:xfrm>
              <a:custGeom>
                <a:avLst/>
                <a:gdLst>
                  <a:gd name="connsiteX0" fmla="*/ 69296 w 138592"/>
                  <a:gd name="connsiteY0" fmla="*/ 69296 h 69296"/>
                  <a:gd name="connsiteX1" fmla="*/ 0 w 138592"/>
                  <a:gd name="connsiteY1" fmla="*/ 0 h 69296"/>
                  <a:gd name="connsiteX2" fmla="*/ 12329 w 138592"/>
                  <a:gd name="connsiteY2" fmla="*/ 0 h 69296"/>
                  <a:gd name="connsiteX3" fmla="*/ 69296 w 138592"/>
                  <a:gd name="connsiteY3" fmla="*/ 56967 h 69296"/>
                  <a:gd name="connsiteX4" fmla="*/ 126263 w 138592"/>
                  <a:gd name="connsiteY4" fmla="*/ 0 h 69296"/>
                  <a:gd name="connsiteX5" fmla="*/ 138592 w 138592"/>
                  <a:gd name="connsiteY5" fmla="*/ 0 h 69296"/>
                  <a:gd name="connsiteX6" fmla="*/ 69296 w 138592"/>
                  <a:gd name="connsiteY6" fmla="*/ 69296 h 69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592" h="69296">
                    <a:moveTo>
                      <a:pt x="69296" y="69296"/>
                    </a:moveTo>
                    <a:cubicBezTo>
                      <a:pt x="31081" y="69296"/>
                      <a:pt x="0" y="38215"/>
                      <a:pt x="0" y="0"/>
                    </a:cubicBezTo>
                    <a:lnTo>
                      <a:pt x="12329" y="0"/>
                    </a:lnTo>
                    <a:cubicBezTo>
                      <a:pt x="12329" y="31412"/>
                      <a:pt x="37884" y="56967"/>
                      <a:pt x="69296" y="56967"/>
                    </a:cubicBezTo>
                    <a:cubicBezTo>
                      <a:pt x="100708" y="56967"/>
                      <a:pt x="126263" y="31412"/>
                      <a:pt x="126263" y="0"/>
                    </a:cubicBezTo>
                    <a:lnTo>
                      <a:pt x="138592" y="0"/>
                    </a:lnTo>
                    <a:cubicBezTo>
                      <a:pt x="138592" y="38215"/>
                      <a:pt x="107512" y="69296"/>
                      <a:pt x="69296" y="69296"/>
                    </a:cubicBezTo>
                    <a:close/>
                  </a:path>
                </a:pathLst>
              </a:custGeom>
              <a:solidFill>
                <a:schemeClr val="tx2"/>
              </a:solidFill>
              <a:ln w="1228" cap="flat">
                <a:noFill/>
                <a:prstDash val="solid"/>
                <a:miter/>
              </a:ln>
            </p:spPr>
            <p:txBody>
              <a:bodyPr rtlCol="0" anchor="ctr"/>
              <a:lstStyle/>
              <a:p>
                <a:endParaRPr lang="en-GB" dirty="0"/>
              </a:p>
            </p:txBody>
          </p:sp>
          <p:sp>
            <p:nvSpPr>
              <p:cNvPr id="374" name="Freihandform: Form 360">
                <a:extLst>
                  <a:ext uri="{FF2B5EF4-FFF2-40B4-BE49-F238E27FC236}">
                    <a16:creationId xmlns:a16="http://schemas.microsoft.com/office/drawing/2014/main" id="{F20E35DB-C215-4173-BC2B-347609216039}"/>
                  </a:ext>
                </a:extLst>
              </p:cNvPr>
              <p:cNvSpPr/>
              <p:nvPr/>
            </p:nvSpPr>
            <p:spPr>
              <a:xfrm>
                <a:off x="2276460" y="4351736"/>
                <a:ext cx="12329" cy="23491"/>
              </a:xfrm>
              <a:custGeom>
                <a:avLst/>
                <a:gdLst>
                  <a:gd name="connsiteX0" fmla="*/ 0 w 12329"/>
                  <a:gd name="connsiteY0" fmla="*/ 0 h 23491"/>
                  <a:gd name="connsiteX1" fmla="*/ 12329 w 12329"/>
                  <a:gd name="connsiteY1" fmla="*/ 0 h 23491"/>
                  <a:gd name="connsiteX2" fmla="*/ 12329 w 12329"/>
                  <a:gd name="connsiteY2" fmla="*/ 23492 h 23491"/>
                  <a:gd name="connsiteX3" fmla="*/ 0 w 12329"/>
                  <a:gd name="connsiteY3" fmla="*/ 23492 h 23491"/>
                </a:gdLst>
                <a:ahLst/>
                <a:cxnLst>
                  <a:cxn ang="0">
                    <a:pos x="connsiteX0" y="connsiteY0"/>
                  </a:cxn>
                  <a:cxn ang="0">
                    <a:pos x="connsiteX1" y="connsiteY1"/>
                  </a:cxn>
                  <a:cxn ang="0">
                    <a:pos x="connsiteX2" y="connsiteY2"/>
                  </a:cxn>
                  <a:cxn ang="0">
                    <a:pos x="connsiteX3" y="connsiteY3"/>
                  </a:cxn>
                </a:cxnLst>
                <a:rect l="l" t="t" r="r" b="b"/>
                <a:pathLst>
                  <a:path w="12329" h="23491">
                    <a:moveTo>
                      <a:pt x="0" y="0"/>
                    </a:moveTo>
                    <a:lnTo>
                      <a:pt x="12329" y="0"/>
                    </a:lnTo>
                    <a:lnTo>
                      <a:pt x="12329" y="23492"/>
                    </a:lnTo>
                    <a:lnTo>
                      <a:pt x="0" y="23492"/>
                    </a:lnTo>
                    <a:close/>
                  </a:path>
                </a:pathLst>
              </a:custGeom>
              <a:solidFill>
                <a:schemeClr val="tx2"/>
              </a:solidFill>
              <a:ln w="1228" cap="flat">
                <a:noFill/>
                <a:prstDash val="solid"/>
                <a:miter/>
              </a:ln>
            </p:spPr>
            <p:txBody>
              <a:bodyPr rtlCol="0" anchor="ctr"/>
              <a:lstStyle/>
              <a:p>
                <a:endParaRPr lang="en-GB" dirty="0"/>
              </a:p>
            </p:txBody>
          </p:sp>
          <p:sp>
            <p:nvSpPr>
              <p:cNvPr id="375" name="Freihandform: Form 361">
                <a:extLst>
                  <a:ext uri="{FF2B5EF4-FFF2-40B4-BE49-F238E27FC236}">
                    <a16:creationId xmlns:a16="http://schemas.microsoft.com/office/drawing/2014/main" id="{BEB16F5F-AE7C-41EC-B49C-42980975F557}"/>
                  </a:ext>
                </a:extLst>
              </p:cNvPr>
              <p:cNvSpPr/>
              <p:nvPr/>
            </p:nvSpPr>
            <p:spPr>
              <a:xfrm>
                <a:off x="2310992" y="4351736"/>
                <a:ext cx="12329" cy="23491"/>
              </a:xfrm>
              <a:custGeom>
                <a:avLst/>
                <a:gdLst>
                  <a:gd name="connsiteX0" fmla="*/ 0 w 12329"/>
                  <a:gd name="connsiteY0" fmla="*/ 0 h 23491"/>
                  <a:gd name="connsiteX1" fmla="*/ 12329 w 12329"/>
                  <a:gd name="connsiteY1" fmla="*/ 0 h 23491"/>
                  <a:gd name="connsiteX2" fmla="*/ 12329 w 12329"/>
                  <a:gd name="connsiteY2" fmla="*/ 23492 h 23491"/>
                  <a:gd name="connsiteX3" fmla="*/ 0 w 12329"/>
                  <a:gd name="connsiteY3" fmla="*/ 23492 h 23491"/>
                </a:gdLst>
                <a:ahLst/>
                <a:cxnLst>
                  <a:cxn ang="0">
                    <a:pos x="connsiteX0" y="connsiteY0"/>
                  </a:cxn>
                  <a:cxn ang="0">
                    <a:pos x="connsiteX1" y="connsiteY1"/>
                  </a:cxn>
                  <a:cxn ang="0">
                    <a:pos x="connsiteX2" y="connsiteY2"/>
                  </a:cxn>
                  <a:cxn ang="0">
                    <a:pos x="connsiteX3" y="connsiteY3"/>
                  </a:cxn>
                </a:cxnLst>
                <a:rect l="l" t="t" r="r" b="b"/>
                <a:pathLst>
                  <a:path w="12329" h="23491">
                    <a:moveTo>
                      <a:pt x="0" y="0"/>
                    </a:moveTo>
                    <a:lnTo>
                      <a:pt x="12329" y="0"/>
                    </a:lnTo>
                    <a:lnTo>
                      <a:pt x="12329" y="23492"/>
                    </a:lnTo>
                    <a:lnTo>
                      <a:pt x="0" y="23492"/>
                    </a:lnTo>
                    <a:close/>
                  </a:path>
                </a:pathLst>
              </a:custGeom>
              <a:solidFill>
                <a:schemeClr val="tx2"/>
              </a:solidFill>
              <a:ln w="1228" cap="flat">
                <a:noFill/>
                <a:prstDash val="solid"/>
                <a:miter/>
              </a:ln>
            </p:spPr>
            <p:txBody>
              <a:bodyPr rtlCol="0" anchor="ctr"/>
              <a:lstStyle/>
              <a:p>
                <a:endParaRPr lang="en-GB" dirty="0"/>
              </a:p>
            </p:txBody>
          </p:sp>
          <p:sp>
            <p:nvSpPr>
              <p:cNvPr id="376" name="Freihandform: Form 362">
                <a:extLst>
                  <a:ext uri="{FF2B5EF4-FFF2-40B4-BE49-F238E27FC236}">
                    <a16:creationId xmlns:a16="http://schemas.microsoft.com/office/drawing/2014/main" id="{78BC7FC2-536C-4A2F-8F7A-0066EDE2E716}"/>
                  </a:ext>
                </a:extLst>
              </p:cNvPr>
              <p:cNvSpPr/>
              <p:nvPr/>
            </p:nvSpPr>
            <p:spPr>
              <a:xfrm>
                <a:off x="2345523" y="4351736"/>
                <a:ext cx="12329" cy="23491"/>
              </a:xfrm>
              <a:custGeom>
                <a:avLst/>
                <a:gdLst>
                  <a:gd name="connsiteX0" fmla="*/ 0 w 12329"/>
                  <a:gd name="connsiteY0" fmla="*/ 0 h 23491"/>
                  <a:gd name="connsiteX1" fmla="*/ 12329 w 12329"/>
                  <a:gd name="connsiteY1" fmla="*/ 0 h 23491"/>
                  <a:gd name="connsiteX2" fmla="*/ 12329 w 12329"/>
                  <a:gd name="connsiteY2" fmla="*/ 23492 h 23491"/>
                  <a:gd name="connsiteX3" fmla="*/ 0 w 12329"/>
                  <a:gd name="connsiteY3" fmla="*/ 23492 h 23491"/>
                </a:gdLst>
                <a:ahLst/>
                <a:cxnLst>
                  <a:cxn ang="0">
                    <a:pos x="connsiteX0" y="connsiteY0"/>
                  </a:cxn>
                  <a:cxn ang="0">
                    <a:pos x="connsiteX1" y="connsiteY1"/>
                  </a:cxn>
                  <a:cxn ang="0">
                    <a:pos x="connsiteX2" y="connsiteY2"/>
                  </a:cxn>
                  <a:cxn ang="0">
                    <a:pos x="connsiteX3" y="connsiteY3"/>
                  </a:cxn>
                </a:cxnLst>
                <a:rect l="l" t="t" r="r" b="b"/>
                <a:pathLst>
                  <a:path w="12329" h="23491">
                    <a:moveTo>
                      <a:pt x="0" y="0"/>
                    </a:moveTo>
                    <a:lnTo>
                      <a:pt x="12329" y="0"/>
                    </a:lnTo>
                    <a:lnTo>
                      <a:pt x="12329" y="23492"/>
                    </a:lnTo>
                    <a:lnTo>
                      <a:pt x="0" y="23492"/>
                    </a:lnTo>
                    <a:close/>
                  </a:path>
                </a:pathLst>
              </a:custGeom>
              <a:solidFill>
                <a:schemeClr val="tx2"/>
              </a:solidFill>
              <a:ln w="1228" cap="flat">
                <a:noFill/>
                <a:prstDash val="solid"/>
                <a:miter/>
              </a:ln>
            </p:spPr>
            <p:txBody>
              <a:bodyPr rtlCol="0" anchor="ctr"/>
              <a:lstStyle/>
              <a:p>
                <a:endParaRPr lang="en-GB" dirty="0"/>
              </a:p>
            </p:txBody>
          </p:sp>
          <p:sp>
            <p:nvSpPr>
              <p:cNvPr id="377" name="Freihandform: Form 363">
                <a:extLst>
                  <a:ext uri="{FF2B5EF4-FFF2-40B4-BE49-F238E27FC236}">
                    <a16:creationId xmlns:a16="http://schemas.microsoft.com/office/drawing/2014/main" id="{B6DD8AA4-BC96-4A8C-8027-2B3D0CE6F8B9}"/>
                  </a:ext>
                </a:extLst>
              </p:cNvPr>
              <p:cNvSpPr/>
              <p:nvPr/>
            </p:nvSpPr>
            <p:spPr>
              <a:xfrm>
                <a:off x="2380055" y="4351736"/>
                <a:ext cx="12329" cy="23491"/>
              </a:xfrm>
              <a:custGeom>
                <a:avLst/>
                <a:gdLst>
                  <a:gd name="connsiteX0" fmla="*/ 0 w 12329"/>
                  <a:gd name="connsiteY0" fmla="*/ 0 h 23491"/>
                  <a:gd name="connsiteX1" fmla="*/ 12329 w 12329"/>
                  <a:gd name="connsiteY1" fmla="*/ 0 h 23491"/>
                  <a:gd name="connsiteX2" fmla="*/ 12329 w 12329"/>
                  <a:gd name="connsiteY2" fmla="*/ 23492 h 23491"/>
                  <a:gd name="connsiteX3" fmla="*/ 0 w 12329"/>
                  <a:gd name="connsiteY3" fmla="*/ 23492 h 23491"/>
                </a:gdLst>
                <a:ahLst/>
                <a:cxnLst>
                  <a:cxn ang="0">
                    <a:pos x="connsiteX0" y="connsiteY0"/>
                  </a:cxn>
                  <a:cxn ang="0">
                    <a:pos x="connsiteX1" y="connsiteY1"/>
                  </a:cxn>
                  <a:cxn ang="0">
                    <a:pos x="connsiteX2" y="connsiteY2"/>
                  </a:cxn>
                  <a:cxn ang="0">
                    <a:pos x="connsiteX3" y="connsiteY3"/>
                  </a:cxn>
                </a:cxnLst>
                <a:rect l="l" t="t" r="r" b="b"/>
                <a:pathLst>
                  <a:path w="12329" h="23491">
                    <a:moveTo>
                      <a:pt x="0" y="0"/>
                    </a:moveTo>
                    <a:lnTo>
                      <a:pt x="12329" y="0"/>
                    </a:lnTo>
                    <a:lnTo>
                      <a:pt x="12329" y="23492"/>
                    </a:lnTo>
                    <a:lnTo>
                      <a:pt x="0" y="23492"/>
                    </a:lnTo>
                    <a:close/>
                  </a:path>
                </a:pathLst>
              </a:custGeom>
              <a:solidFill>
                <a:schemeClr val="tx2"/>
              </a:solidFill>
              <a:ln w="1228" cap="flat">
                <a:noFill/>
                <a:prstDash val="solid"/>
                <a:miter/>
              </a:ln>
            </p:spPr>
            <p:txBody>
              <a:bodyPr rtlCol="0" anchor="ctr"/>
              <a:lstStyle/>
              <a:p>
                <a:endParaRPr lang="en-GB" dirty="0"/>
              </a:p>
            </p:txBody>
          </p:sp>
          <p:sp>
            <p:nvSpPr>
              <p:cNvPr id="378" name="Freihandform: Form 364">
                <a:extLst>
                  <a:ext uri="{FF2B5EF4-FFF2-40B4-BE49-F238E27FC236}">
                    <a16:creationId xmlns:a16="http://schemas.microsoft.com/office/drawing/2014/main" id="{2D64E1AE-0D0F-4BA6-9367-8DC7FB0AA05B}"/>
                  </a:ext>
                </a:extLst>
              </p:cNvPr>
              <p:cNvSpPr/>
              <p:nvPr/>
            </p:nvSpPr>
            <p:spPr>
              <a:xfrm>
                <a:off x="2414574" y="4351736"/>
                <a:ext cx="12329" cy="23491"/>
              </a:xfrm>
              <a:custGeom>
                <a:avLst/>
                <a:gdLst>
                  <a:gd name="connsiteX0" fmla="*/ 0 w 12329"/>
                  <a:gd name="connsiteY0" fmla="*/ 0 h 23491"/>
                  <a:gd name="connsiteX1" fmla="*/ 12329 w 12329"/>
                  <a:gd name="connsiteY1" fmla="*/ 0 h 23491"/>
                  <a:gd name="connsiteX2" fmla="*/ 12329 w 12329"/>
                  <a:gd name="connsiteY2" fmla="*/ 23492 h 23491"/>
                  <a:gd name="connsiteX3" fmla="*/ 0 w 12329"/>
                  <a:gd name="connsiteY3" fmla="*/ 23492 h 23491"/>
                </a:gdLst>
                <a:ahLst/>
                <a:cxnLst>
                  <a:cxn ang="0">
                    <a:pos x="connsiteX0" y="connsiteY0"/>
                  </a:cxn>
                  <a:cxn ang="0">
                    <a:pos x="connsiteX1" y="connsiteY1"/>
                  </a:cxn>
                  <a:cxn ang="0">
                    <a:pos x="connsiteX2" y="connsiteY2"/>
                  </a:cxn>
                  <a:cxn ang="0">
                    <a:pos x="connsiteX3" y="connsiteY3"/>
                  </a:cxn>
                </a:cxnLst>
                <a:rect l="l" t="t" r="r" b="b"/>
                <a:pathLst>
                  <a:path w="12329" h="23491">
                    <a:moveTo>
                      <a:pt x="0" y="0"/>
                    </a:moveTo>
                    <a:lnTo>
                      <a:pt x="12329" y="0"/>
                    </a:lnTo>
                    <a:lnTo>
                      <a:pt x="12329" y="23492"/>
                    </a:lnTo>
                    <a:lnTo>
                      <a:pt x="0" y="23492"/>
                    </a:lnTo>
                    <a:close/>
                  </a:path>
                </a:pathLst>
              </a:custGeom>
              <a:solidFill>
                <a:schemeClr val="tx2"/>
              </a:solidFill>
              <a:ln w="1228" cap="flat">
                <a:noFill/>
                <a:prstDash val="solid"/>
                <a:miter/>
              </a:ln>
            </p:spPr>
            <p:txBody>
              <a:bodyPr rtlCol="0" anchor="ctr"/>
              <a:lstStyle/>
              <a:p>
                <a:endParaRPr lang="en-GB" dirty="0"/>
              </a:p>
            </p:txBody>
          </p:sp>
          <p:sp>
            <p:nvSpPr>
              <p:cNvPr id="379" name="Freihandform: Form 365">
                <a:extLst>
                  <a:ext uri="{FF2B5EF4-FFF2-40B4-BE49-F238E27FC236}">
                    <a16:creationId xmlns:a16="http://schemas.microsoft.com/office/drawing/2014/main" id="{625F91AF-7FFB-468F-B9F1-5A3FD265CD50}"/>
                  </a:ext>
                </a:extLst>
              </p:cNvPr>
              <p:cNvSpPr/>
              <p:nvPr/>
            </p:nvSpPr>
            <p:spPr>
              <a:xfrm>
                <a:off x="2281286" y="4320311"/>
                <a:ext cx="144351" cy="12329"/>
              </a:xfrm>
              <a:custGeom>
                <a:avLst/>
                <a:gdLst>
                  <a:gd name="connsiteX0" fmla="*/ 0 w 144351"/>
                  <a:gd name="connsiteY0" fmla="*/ 0 h 12329"/>
                  <a:gd name="connsiteX1" fmla="*/ 144352 w 144351"/>
                  <a:gd name="connsiteY1" fmla="*/ 0 h 12329"/>
                  <a:gd name="connsiteX2" fmla="*/ 144352 w 144351"/>
                  <a:gd name="connsiteY2" fmla="*/ 12329 h 12329"/>
                  <a:gd name="connsiteX3" fmla="*/ 0 w 144351"/>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44351" h="12329">
                    <a:moveTo>
                      <a:pt x="0" y="0"/>
                    </a:moveTo>
                    <a:lnTo>
                      <a:pt x="144352" y="0"/>
                    </a:lnTo>
                    <a:lnTo>
                      <a:pt x="144352" y="12329"/>
                    </a:lnTo>
                    <a:lnTo>
                      <a:pt x="0" y="12329"/>
                    </a:lnTo>
                    <a:close/>
                  </a:path>
                </a:pathLst>
              </a:custGeom>
              <a:solidFill>
                <a:schemeClr val="tx2"/>
              </a:solidFill>
              <a:ln w="1228" cap="flat">
                <a:noFill/>
                <a:prstDash val="solid"/>
                <a:miter/>
              </a:ln>
            </p:spPr>
            <p:txBody>
              <a:bodyPr rtlCol="0" anchor="ctr"/>
              <a:lstStyle/>
              <a:p>
                <a:endParaRPr lang="en-GB" dirty="0"/>
              </a:p>
            </p:txBody>
          </p:sp>
          <p:sp>
            <p:nvSpPr>
              <p:cNvPr id="380" name="Freihandform: Form 366">
                <a:extLst>
                  <a:ext uri="{FF2B5EF4-FFF2-40B4-BE49-F238E27FC236}">
                    <a16:creationId xmlns:a16="http://schemas.microsoft.com/office/drawing/2014/main" id="{98FA7BAA-B4CB-4E4B-9010-AFAC994981D3}"/>
                  </a:ext>
                </a:extLst>
              </p:cNvPr>
              <p:cNvSpPr/>
              <p:nvPr/>
            </p:nvSpPr>
            <p:spPr>
              <a:xfrm>
                <a:off x="2270443" y="4430673"/>
                <a:ext cx="167290" cy="20198"/>
              </a:xfrm>
              <a:custGeom>
                <a:avLst/>
                <a:gdLst>
                  <a:gd name="connsiteX0" fmla="*/ 2333 w 167290"/>
                  <a:gd name="connsiteY0" fmla="*/ 20199 h 20198"/>
                  <a:gd name="connsiteX1" fmla="*/ 0 w 167290"/>
                  <a:gd name="connsiteY1" fmla="*/ 8079 h 20198"/>
                  <a:gd name="connsiteX2" fmla="*/ 167291 w 167290"/>
                  <a:gd name="connsiteY2" fmla="*/ 6973 h 20198"/>
                  <a:gd name="connsiteX3" fmla="*/ 165117 w 167290"/>
                  <a:gd name="connsiteY3" fmla="*/ 19106 h 20198"/>
                  <a:gd name="connsiteX4" fmla="*/ 2333 w 167290"/>
                  <a:gd name="connsiteY4" fmla="*/ 20199 h 201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7290" h="20198">
                    <a:moveTo>
                      <a:pt x="2333" y="20199"/>
                    </a:moveTo>
                    <a:lnTo>
                      <a:pt x="0" y="8079"/>
                    </a:lnTo>
                    <a:cubicBezTo>
                      <a:pt x="53885" y="-2298"/>
                      <a:pt x="113308" y="-2691"/>
                      <a:pt x="167291" y="6973"/>
                    </a:cubicBezTo>
                    <a:lnTo>
                      <a:pt x="165117" y="19106"/>
                    </a:lnTo>
                    <a:cubicBezTo>
                      <a:pt x="112571" y="9712"/>
                      <a:pt x="54769" y="10068"/>
                      <a:pt x="2333" y="20199"/>
                    </a:cubicBezTo>
                    <a:close/>
                  </a:path>
                </a:pathLst>
              </a:custGeom>
              <a:solidFill>
                <a:schemeClr val="tx2"/>
              </a:solidFill>
              <a:ln w="1228" cap="flat">
                <a:noFill/>
                <a:prstDash val="solid"/>
                <a:miter/>
              </a:ln>
            </p:spPr>
            <p:txBody>
              <a:bodyPr rtlCol="0" anchor="ctr"/>
              <a:lstStyle/>
              <a:p>
                <a:endParaRPr lang="en-GB" dirty="0"/>
              </a:p>
            </p:txBody>
          </p:sp>
          <p:grpSp>
            <p:nvGrpSpPr>
              <p:cNvPr id="381" name="Grafik 11">
                <a:extLst>
                  <a:ext uri="{FF2B5EF4-FFF2-40B4-BE49-F238E27FC236}">
                    <a16:creationId xmlns:a16="http://schemas.microsoft.com/office/drawing/2014/main" id="{4CD02419-0D92-4BD6-8273-297EF22BB552}"/>
                  </a:ext>
                </a:extLst>
              </p:cNvPr>
              <p:cNvGrpSpPr/>
              <p:nvPr/>
            </p:nvGrpSpPr>
            <p:grpSpPr>
              <a:xfrm>
                <a:off x="2305134" y="4399861"/>
                <a:ext cx="93106" cy="15939"/>
                <a:chOff x="2305134" y="4399861"/>
                <a:chExt cx="93106" cy="15939"/>
              </a:xfrm>
              <a:solidFill>
                <a:srgbClr val="4D4E53"/>
              </a:solidFill>
            </p:grpSpPr>
            <p:sp>
              <p:nvSpPr>
                <p:cNvPr id="382" name="Freihandform: Form 368">
                  <a:extLst>
                    <a:ext uri="{FF2B5EF4-FFF2-40B4-BE49-F238E27FC236}">
                      <a16:creationId xmlns:a16="http://schemas.microsoft.com/office/drawing/2014/main" id="{3E4DFC86-9E92-43E1-B216-E93498E28F4E}"/>
                    </a:ext>
                  </a:extLst>
                </p:cNvPr>
                <p:cNvSpPr/>
                <p:nvPr/>
              </p:nvSpPr>
              <p:spPr>
                <a:xfrm>
                  <a:off x="2305134" y="4399861"/>
                  <a:ext cx="31891" cy="15939"/>
                </a:xfrm>
                <a:custGeom>
                  <a:avLst/>
                  <a:gdLst>
                    <a:gd name="connsiteX0" fmla="*/ 15952 w 31891"/>
                    <a:gd name="connsiteY0" fmla="*/ 15939 h 15939"/>
                    <a:gd name="connsiteX1" fmla="*/ 31891 w 31891"/>
                    <a:gd name="connsiteY1" fmla="*/ 0 h 15939"/>
                    <a:gd name="connsiteX2" fmla="*/ 0 w 31891"/>
                    <a:gd name="connsiteY2" fmla="*/ 0 h 15939"/>
                    <a:gd name="connsiteX3" fmla="*/ 15952 w 31891"/>
                    <a:gd name="connsiteY3" fmla="*/ 15939 h 15939"/>
                  </a:gdLst>
                  <a:ahLst/>
                  <a:cxnLst>
                    <a:cxn ang="0">
                      <a:pos x="connsiteX0" y="connsiteY0"/>
                    </a:cxn>
                    <a:cxn ang="0">
                      <a:pos x="connsiteX1" y="connsiteY1"/>
                    </a:cxn>
                    <a:cxn ang="0">
                      <a:pos x="connsiteX2" y="connsiteY2"/>
                    </a:cxn>
                    <a:cxn ang="0">
                      <a:pos x="connsiteX3" y="connsiteY3"/>
                    </a:cxn>
                  </a:cxnLst>
                  <a:rect l="l" t="t" r="r" b="b"/>
                  <a:pathLst>
                    <a:path w="31891" h="15939">
                      <a:moveTo>
                        <a:pt x="15952" y="15939"/>
                      </a:moveTo>
                      <a:cubicBezTo>
                        <a:pt x="24756" y="15939"/>
                        <a:pt x="31891" y="8805"/>
                        <a:pt x="31891" y="0"/>
                      </a:cubicBezTo>
                      <a:lnTo>
                        <a:pt x="0" y="0"/>
                      </a:lnTo>
                      <a:cubicBezTo>
                        <a:pt x="12" y="8805"/>
                        <a:pt x="7147" y="15939"/>
                        <a:pt x="15952" y="15939"/>
                      </a:cubicBezTo>
                      <a:close/>
                    </a:path>
                  </a:pathLst>
                </a:custGeom>
                <a:solidFill>
                  <a:schemeClr val="tx2"/>
                </a:solidFill>
                <a:ln w="1228" cap="flat">
                  <a:noFill/>
                  <a:prstDash val="solid"/>
                  <a:miter/>
                </a:ln>
              </p:spPr>
              <p:txBody>
                <a:bodyPr rtlCol="0" anchor="ctr"/>
                <a:lstStyle/>
                <a:p>
                  <a:endParaRPr lang="en-GB" dirty="0"/>
                </a:p>
              </p:txBody>
            </p:sp>
            <p:sp>
              <p:nvSpPr>
                <p:cNvPr id="383" name="Freihandform: Form 369">
                  <a:extLst>
                    <a:ext uri="{FF2B5EF4-FFF2-40B4-BE49-F238E27FC236}">
                      <a16:creationId xmlns:a16="http://schemas.microsoft.com/office/drawing/2014/main" id="{463B27C5-8124-44D9-9AC8-281C43251003}"/>
                    </a:ext>
                  </a:extLst>
                </p:cNvPr>
                <p:cNvSpPr/>
                <p:nvPr/>
              </p:nvSpPr>
              <p:spPr>
                <a:xfrm>
                  <a:off x="2366350" y="4399861"/>
                  <a:ext cx="31891" cy="15939"/>
                </a:xfrm>
                <a:custGeom>
                  <a:avLst/>
                  <a:gdLst>
                    <a:gd name="connsiteX0" fmla="*/ 0 w 31891"/>
                    <a:gd name="connsiteY0" fmla="*/ 0 h 15939"/>
                    <a:gd name="connsiteX1" fmla="*/ 15939 w 31891"/>
                    <a:gd name="connsiteY1" fmla="*/ 15939 h 15939"/>
                    <a:gd name="connsiteX2" fmla="*/ 31891 w 31891"/>
                    <a:gd name="connsiteY2" fmla="*/ 0 h 15939"/>
                    <a:gd name="connsiteX3" fmla="*/ 0 w 31891"/>
                    <a:gd name="connsiteY3" fmla="*/ 0 h 15939"/>
                  </a:gdLst>
                  <a:ahLst/>
                  <a:cxnLst>
                    <a:cxn ang="0">
                      <a:pos x="connsiteX0" y="connsiteY0"/>
                    </a:cxn>
                    <a:cxn ang="0">
                      <a:pos x="connsiteX1" y="connsiteY1"/>
                    </a:cxn>
                    <a:cxn ang="0">
                      <a:pos x="connsiteX2" y="connsiteY2"/>
                    </a:cxn>
                    <a:cxn ang="0">
                      <a:pos x="connsiteX3" y="connsiteY3"/>
                    </a:cxn>
                  </a:cxnLst>
                  <a:rect l="l" t="t" r="r" b="b"/>
                  <a:pathLst>
                    <a:path w="31891" h="15939">
                      <a:moveTo>
                        <a:pt x="0" y="0"/>
                      </a:moveTo>
                      <a:cubicBezTo>
                        <a:pt x="0" y="8805"/>
                        <a:pt x="7135" y="15939"/>
                        <a:pt x="15939" y="15939"/>
                      </a:cubicBezTo>
                      <a:cubicBezTo>
                        <a:pt x="24744" y="15939"/>
                        <a:pt x="31891" y="8805"/>
                        <a:pt x="31891" y="0"/>
                      </a:cubicBezTo>
                      <a:lnTo>
                        <a:pt x="0" y="0"/>
                      </a:lnTo>
                      <a:close/>
                    </a:path>
                  </a:pathLst>
                </a:custGeom>
                <a:solidFill>
                  <a:schemeClr val="tx2"/>
                </a:solidFill>
                <a:ln w="1228" cap="flat">
                  <a:noFill/>
                  <a:prstDash val="solid"/>
                  <a:miter/>
                </a:ln>
              </p:spPr>
              <p:txBody>
                <a:bodyPr rtlCol="0" anchor="ctr"/>
                <a:lstStyle/>
                <a:p>
                  <a:endParaRPr lang="en-GB" dirty="0"/>
                </a:p>
              </p:txBody>
            </p:sp>
          </p:grpSp>
        </p:grpSp>
      </p:grpSp>
      <p:grpSp>
        <p:nvGrpSpPr>
          <p:cNvPr id="386" name="Gruppieren 413">
            <a:extLst>
              <a:ext uri="{FF2B5EF4-FFF2-40B4-BE49-F238E27FC236}">
                <a16:creationId xmlns:a16="http://schemas.microsoft.com/office/drawing/2014/main" id="{7F885376-C1C5-4C3E-B19C-45B93024F2A1}"/>
              </a:ext>
            </a:extLst>
          </p:cNvPr>
          <p:cNvGrpSpPr>
            <a:grpSpLocks noChangeAspect="1"/>
          </p:cNvGrpSpPr>
          <p:nvPr/>
        </p:nvGrpSpPr>
        <p:grpSpPr>
          <a:xfrm>
            <a:off x="430912" y="2449341"/>
            <a:ext cx="535551" cy="432000"/>
            <a:chOff x="380206" y="2541527"/>
            <a:chExt cx="543402" cy="438334"/>
          </a:xfrm>
        </p:grpSpPr>
        <p:grpSp>
          <p:nvGrpSpPr>
            <p:cNvPr id="387" name="Grafik 11">
              <a:extLst>
                <a:ext uri="{FF2B5EF4-FFF2-40B4-BE49-F238E27FC236}">
                  <a16:creationId xmlns:a16="http://schemas.microsoft.com/office/drawing/2014/main" id="{BB2B54C1-FF32-44C1-99C5-CF78814AF557}"/>
                </a:ext>
              </a:extLst>
            </p:cNvPr>
            <p:cNvGrpSpPr/>
            <p:nvPr/>
          </p:nvGrpSpPr>
          <p:grpSpPr>
            <a:xfrm>
              <a:off x="585306" y="2823026"/>
              <a:ext cx="125317" cy="156835"/>
              <a:chOff x="585306" y="2823026"/>
              <a:chExt cx="125317" cy="156835"/>
            </a:xfrm>
            <a:solidFill>
              <a:schemeClr val="accent1"/>
            </a:solidFill>
          </p:grpSpPr>
          <p:sp>
            <p:nvSpPr>
              <p:cNvPr id="413" name="Freihandform: Form 373">
                <a:extLst>
                  <a:ext uri="{FF2B5EF4-FFF2-40B4-BE49-F238E27FC236}">
                    <a16:creationId xmlns:a16="http://schemas.microsoft.com/office/drawing/2014/main" id="{8B797BC5-2F9C-4299-BD95-338BD9BFADEC}"/>
                  </a:ext>
                </a:extLst>
              </p:cNvPr>
              <p:cNvSpPr/>
              <p:nvPr/>
            </p:nvSpPr>
            <p:spPr>
              <a:xfrm>
                <a:off x="585306" y="2823026"/>
                <a:ext cx="125317" cy="156835"/>
              </a:xfrm>
              <a:custGeom>
                <a:avLst/>
                <a:gdLst>
                  <a:gd name="connsiteX0" fmla="*/ 62653 w 125317"/>
                  <a:gd name="connsiteY0" fmla="*/ 156836 h 156835"/>
                  <a:gd name="connsiteX1" fmla="*/ 59521 w 125317"/>
                  <a:gd name="connsiteY1" fmla="*/ 154981 h 156835"/>
                  <a:gd name="connsiteX2" fmla="*/ 9652 w 125317"/>
                  <a:gd name="connsiteY2" fmla="*/ 115870 h 156835"/>
                  <a:gd name="connsiteX3" fmla="*/ 0 w 125317"/>
                  <a:gd name="connsiteY3" fmla="*/ 88854 h 156835"/>
                  <a:gd name="connsiteX4" fmla="*/ 0 w 125317"/>
                  <a:gd name="connsiteY4" fmla="*/ 12951 h 156835"/>
                  <a:gd name="connsiteX5" fmla="*/ 31707 w 125317"/>
                  <a:gd name="connsiteY5" fmla="*/ 4195 h 156835"/>
                  <a:gd name="connsiteX6" fmla="*/ 93611 w 125317"/>
                  <a:gd name="connsiteY6" fmla="*/ 4195 h 156835"/>
                  <a:gd name="connsiteX7" fmla="*/ 125318 w 125317"/>
                  <a:gd name="connsiteY7" fmla="*/ 12951 h 156835"/>
                  <a:gd name="connsiteX8" fmla="*/ 125318 w 125317"/>
                  <a:gd name="connsiteY8" fmla="*/ 88854 h 156835"/>
                  <a:gd name="connsiteX9" fmla="*/ 115665 w 125317"/>
                  <a:gd name="connsiteY9" fmla="*/ 115870 h 156835"/>
                  <a:gd name="connsiteX10" fmla="*/ 65796 w 125317"/>
                  <a:gd name="connsiteY10" fmla="*/ 154981 h 156835"/>
                  <a:gd name="connsiteX11" fmla="*/ 62653 w 125317"/>
                  <a:gd name="connsiteY11" fmla="*/ 156836 h 156835"/>
                  <a:gd name="connsiteX12" fmla="*/ 12329 w 125317"/>
                  <a:gd name="connsiteY12" fmla="*/ 22345 h 156835"/>
                  <a:gd name="connsiteX13" fmla="*/ 12329 w 125317"/>
                  <a:gd name="connsiteY13" fmla="*/ 88854 h 156835"/>
                  <a:gd name="connsiteX14" fmla="*/ 19083 w 125317"/>
                  <a:gd name="connsiteY14" fmla="*/ 107924 h 156835"/>
                  <a:gd name="connsiteX15" fmla="*/ 62653 w 125317"/>
                  <a:gd name="connsiteY15" fmla="*/ 142493 h 156835"/>
                  <a:gd name="connsiteX16" fmla="*/ 106222 w 125317"/>
                  <a:gd name="connsiteY16" fmla="*/ 107924 h 156835"/>
                  <a:gd name="connsiteX17" fmla="*/ 112976 w 125317"/>
                  <a:gd name="connsiteY17" fmla="*/ 88854 h 156835"/>
                  <a:gd name="connsiteX18" fmla="*/ 112976 w 125317"/>
                  <a:gd name="connsiteY18" fmla="*/ 22345 h 156835"/>
                  <a:gd name="connsiteX19" fmla="*/ 90307 w 125317"/>
                  <a:gd name="connsiteY19" fmla="*/ 16082 h 156835"/>
                  <a:gd name="connsiteX20" fmla="*/ 34986 w 125317"/>
                  <a:gd name="connsiteY20" fmla="*/ 16082 h 156835"/>
                  <a:gd name="connsiteX21" fmla="*/ 12329 w 125317"/>
                  <a:gd name="connsiteY21" fmla="*/ 22345 h 15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5317" h="156835">
                    <a:moveTo>
                      <a:pt x="62653" y="156836"/>
                    </a:moveTo>
                    <a:lnTo>
                      <a:pt x="59521" y="154981"/>
                    </a:lnTo>
                    <a:cubicBezTo>
                      <a:pt x="36951" y="141682"/>
                      <a:pt x="20643" y="128886"/>
                      <a:pt x="9652" y="115870"/>
                    </a:cubicBezTo>
                    <a:cubicBezTo>
                      <a:pt x="3426" y="108477"/>
                      <a:pt x="0" y="98886"/>
                      <a:pt x="0" y="88854"/>
                    </a:cubicBezTo>
                    <a:lnTo>
                      <a:pt x="0" y="12951"/>
                    </a:lnTo>
                    <a:lnTo>
                      <a:pt x="31707" y="4195"/>
                    </a:lnTo>
                    <a:cubicBezTo>
                      <a:pt x="51944" y="-1392"/>
                      <a:pt x="73349" y="-1405"/>
                      <a:pt x="93611" y="4195"/>
                    </a:cubicBezTo>
                    <a:lnTo>
                      <a:pt x="125318" y="12951"/>
                    </a:lnTo>
                    <a:lnTo>
                      <a:pt x="125318" y="88854"/>
                    </a:lnTo>
                    <a:cubicBezTo>
                      <a:pt x="125318" y="98886"/>
                      <a:pt x="121891" y="108477"/>
                      <a:pt x="115665" y="115870"/>
                    </a:cubicBezTo>
                    <a:cubicBezTo>
                      <a:pt x="104675" y="128899"/>
                      <a:pt x="88367" y="141694"/>
                      <a:pt x="65796" y="154981"/>
                    </a:cubicBezTo>
                    <a:lnTo>
                      <a:pt x="62653" y="156836"/>
                    </a:lnTo>
                    <a:close/>
                    <a:moveTo>
                      <a:pt x="12329" y="22345"/>
                    </a:moveTo>
                    <a:lnTo>
                      <a:pt x="12329" y="88854"/>
                    </a:lnTo>
                    <a:cubicBezTo>
                      <a:pt x="12329" y="95988"/>
                      <a:pt x="14724" y="102755"/>
                      <a:pt x="19083" y="107924"/>
                    </a:cubicBezTo>
                    <a:cubicBezTo>
                      <a:pt x="28662" y="119271"/>
                      <a:pt x="42931" y="130606"/>
                      <a:pt x="62653" y="142493"/>
                    </a:cubicBezTo>
                    <a:cubicBezTo>
                      <a:pt x="82374" y="130593"/>
                      <a:pt x="96644" y="119259"/>
                      <a:pt x="106222" y="107924"/>
                    </a:cubicBezTo>
                    <a:cubicBezTo>
                      <a:pt x="110582" y="102755"/>
                      <a:pt x="112976" y="95988"/>
                      <a:pt x="112976" y="88854"/>
                    </a:cubicBezTo>
                    <a:lnTo>
                      <a:pt x="112976" y="22345"/>
                    </a:lnTo>
                    <a:lnTo>
                      <a:pt x="90307" y="16082"/>
                    </a:lnTo>
                    <a:cubicBezTo>
                      <a:pt x="72219" y="11084"/>
                      <a:pt x="53086" y="11084"/>
                      <a:pt x="34986" y="16082"/>
                    </a:cubicBezTo>
                    <a:lnTo>
                      <a:pt x="12329" y="22345"/>
                    </a:lnTo>
                    <a:close/>
                  </a:path>
                </a:pathLst>
              </a:custGeom>
              <a:solidFill>
                <a:schemeClr val="accent1"/>
              </a:solidFill>
              <a:ln w="1228" cap="flat">
                <a:noFill/>
                <a:prstDash val="solid"/>
                <a:miter/>
              </a:ln>
            </p:spPr>
            <p:txBody>
              <a:bodyPr rtlCol="0" anchor="ctr"/>
              <a:lstStyle/>
              <a:p>
                <a:endParaRPr lang="en-GB" dirty="0"/>
              </a:p>
            </p:txBody>
          </p:sp>
          <p:sp>
            <p:nvSpPr>
              <p:cNvPr id="414" name="Freihandform: Form 374">
                <a:extLst>
                  <a:ext uri="{FF2B5EF4-FFF2-40B4-BE49-F238E27FC236}">
                    <a16:creationId xmlns:a16="http://schemas.microsoft.com/office/drawing/2014/main" id="{C7A55E52-ACA6-45B5-B403-F0BE5D8E1064}"/>
                  </a:ext>
                </a:extLst>
              </p:cNvPr>
              <p:cNvSpPr/>
              <p:nvPr/>
            </p:nvSpPr>
            <p:spPr>
              <a:xfrm>
                <a:off x="623460" y="2876624"/>
                <a:ext cx="48997" cy="38669"/>
              </a:xfrm>
              <a:custGeom>
                <a:avLst/>
                <a:gdLst>
                  <a:gd name="connsiteX0" fmla="*/ 19046 w 48997"/>
                  <a:gd name="connsiteY0" fmla="*/ 38670 h 38669"/>
                  <a:gd name="connsiteX1" fmla="*/ 0 w 48997"/>
                  <a:gd name="connsiteY1" fmla="*/ 19636 h 38669"/>
                  <a:gd name="connsiteX2" fmla="*/ 8719 w 48997"/>
                  <a:gd name="connsiteY2" fmla="*/ 10917 h 38669"/>
                  <a:gd name="connsiteX3" fmla="*/ 19046 w 48997"/>
                  <a:gd name="connsiteY3" fmla="*/ 21232 h 38669"/>
                  <a:gd name="connsiteX4" fmla="*/ 40278 w 48997"/>
                  <a:gd name="connsiteY4" fmla="*/ 0 h 38669"/>
                  <a:gd name="connsiteX5" fmla="*/ 48997 w 48997"/>
                  <a:gd name="connsiteY5" fmla="*/ 8719 h 3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997" h="38669">
                    <a:moveTo>
                      <a:pt x="19046" y="38670"/>
                    </a:moveTo>
                    <a:lnTo>
                      <a:pt x="0" y="19636"/>
                    </a:lnTo>
                    <a:lnTo>
                      <a:pt x="8719" y="10917"/>
                    </a:lnTo>
                    <a:lnTo>
                      <a:pt x="19046" y="21232"/>
                    </a:lnTo>
                    <a:lnTo>
                      <a:pt x="40278" y="0"/>
                    </a:lnTo>
                    <a:lnTo>
                      <a:pt x="48997" y="8719"/>
                    </a:lnTo>
                    <a:close/>
                  </a:path>
                </a:pathLst>
              </a:custGeom>
              <a:solidFill>
                <a:schemeClr val="accent1"/>
              </a:solidFill>
              <a:ln w="1228" cap="flat">
                <a:noFill/>
                <a:prstDash val="solid"/>
                <a:miter/>
              </a:ln>
            </p:spPr>
            <p:txBody>
              <a:bodyPr rtlCol="0" anchor="ctr"/>
              <a:lstStyle/>
              <a:p>
                <a:endParaRPr lang="en-GB" dirty="0"/>
              </a:p>
            </p:txBody>
          </p:sp>
        </p:grpSp>
        <p:grpSp>
          <p:nvGrpSpPr>
            <p:cNvPr id="388" name="Grafik 11">
              <a:extLst>
                <a:ext uri="{FF2B5EF4-FFF2-40B4-BE49-F238E27FC236}">
                  <a16:creationId xmlns:a16="http://schemas.microsoft.com/office/drawing/2014/main" id="{9A0CD0E9-48F4-4155-B2AC-6EDFD3F5D85A}"/>
                </a:ext>
              </a:extLst>
            </p:cNvPr>
            <p:cNvGrpSpPr/>
            <p:nvPr/>
          </p:nvGrpSpPr>
          <p:grpSpPr>
            <a:xfrm>
              <a:off x="380206" y="2541527"/>
              <a:ext cx="543402" cy="367258"/>
              <a:chOff x="380206" y="2541527"/>
              <a:chExt cx="543402" cy="367258"/>
            </a:xfrm>
            <a:solidFill>
              <a:srgbClr val="4D4E53"/>
            </a:solidFill>
          </p:grpSpPr>
          <p:grpSp>
            <p:nvGrpSpPr>
              <p:cNvPr id="391" name="Grafik 11">
                <a:extLst>
                  <a:ext uri="{FF2B5EF4-FFF2-40B4-BE49-F238E27FC236}">
                    <a16:creationId xmlns:a16="http://schemas.microsoft.com/office/drawing/2014/main" id="{DCFC85BE-56BB-4C97-89A6-073E3A1D6557}"/>
                  </a:ext>
                </a:extLst>
              </p:cNvPr>
              <p:cNvGrpSpPr/>
              <p:nvPr/>
            </p:nvGrpSpPr>
            <p:grpSpPr>
              <a:xfrm>
                <a:off x="380206" y="2541527"/>
                <a:ext cx="290377" cy="367098"/>
                <a:chOff x="380206" y="2541527"/>
                <a:chExt cx="290377" cy="367098"/>
              </a:xfrm>
              <a:solidFill>
                <a:srgbClr val="4D4E53"/>
              </a:solidFill>
            </p:grpSpPr>
            <p:grpSp>
              <p:nvGrpSpPr>
                <p:cNvPr id="403" name="Grafik 11">
                  <a:extLst>
                    <a:ext uri="{FF2B5EF4-FFF2-40B4-BE49-F238E27FC236}">
                      <a16:creationId xmlns:a16="http://schemas.microsoft.com/office/drawing/2014/main" id="{D3021078-4512-4494-8DDD-A4A99FE279AB}"/>
                    </a:ext>
                  </a:extLst>
                </p:cNvPr>
                <p:cNvGrpSpPr/>
                <p:nvPr/>
              </p:nvGrpSpPr>
              <p:grpSpPr>
                <a:xfrm>
                  <a:off x="380206" y="2798830"/>
                  <a:ext cx="197217" cy="109795"/>
                  <a:chOff x="380206" y="2798830"/>
                  <a:chExt cx="197217" cy="109795"/>
                </a:xfrm>
                <a:solidFill>
                  <a:srgbClr val="4D4E53"/>
                </a:solidFill>
              </p:grpSpPr>
              <p:sp>
                <p:nvSpPr>
                  <p:cNvPr id="410" name="Freihandform: Form 378">
                    <a:extLst>
                      <a:ext uri="{FF2B5EF4-FFF2-40B4-BE49-F238E27FC236}">
                        <a16:creationId xmlns:a16="http://schemas.microsoft.com/office/drawing/2014/main" id="{73D0C1E6-E556-47B2-A3D0-904F96A069F1}"/>
                      </a:ext>
                    </a:extLst>
                  </p:cNvPr>
                  <p:cNvSpPr/>
                  <p:nvPr/>
                </p:nvSpPr>
                <p:spPr>
                  <a:xfrm>
                    <a:off x="548442" y="2798830"/>
                    <a:ext cx="12329" cy="22411"/>
                  </a:xfrm>
                  <a:custGeom>
                    <a:avLst/>
                    <a:gdLst>
                      <a:gd name="connsiteX0" fmla="*/ 0 w 12329"/>
                      <a:gd name="connsiteY0" fmla="*/ 0 h 22411"/>
                      <a:gd name="connsiteX1" fmla="*/ 12329 w 12329"/>
                      <a:gd name="connsiteY1" fmla="*/ 0 h 22411"/>
                      <a:gd name="connsiteX2" fmla="*/ 12329 w 12329"/>
                      <a:gd name="connsiteY2" fmla="*/ 22411 h 22411"/>
                      <a:gd name="connsiteX3" fmla="*/ 0 w 12329"/>
                      <a:gd name="connsiteY3" fmla="*/ 22411 h 22411"/>
                    </a:gdLst>
                    <a:ahLst/>
                    <a:cxnLst>
                      <a:cxn ang="0">
                        <a:pos x="connsiteX0" y="connsiteY0"/>
                      </a:cxn>
                      <a:cxn ang="0">
                        <a:pos x="connsiteX1" y="connsiteY1"/>
                      </a:cxn>
                      <a:cxn ang="0">
                        <a:pos x="connsiteX2" y="connsiteY2"/>
                      </a:cxn>
                      <a:cxn ang="0">
                        <a:pos x="connsiteX3" y="connsiteY3"/>
                      </a:cxn>
                    </a:cxnLst>
                    <a:rect l="l" t="t" r="r" b="b"/>
                    <a:pathLst>
                      <a:path w="12329" h="22411">
                        <a:moveTo>
                          <a:pt x="0" y="0"/>
                        </a:moveTo>
                        <a:lnTo>
                          <a:pt x="12329" y="0"/>
                        </a:lnTo>
                        <a:lnTo>
                          <a:pt x="12329" y="22411"/>
                        </a:lnTo>
                        <a:lnTo>
                          <a:pt x="0" y="22411"/>
                        </a:lnTo>
                        <a:close/>
                      </a:path>
                    </a:pathLst>
                  </a:custGeom>
                  <a:solidFill>
                    <a:schemeClr val="tx2"/>
                  </a:solidFill>
                  <a:ln w="1228" cap="flat">
                    <a:noFill/>
                    <a:prstDash val="solid"/>
                    <a:miter/>
                  </a:ln>
                </p:spPr>
                <p:txBody>
                  <a:bodyPr rtlCol="0" anchor="ctr"/>
                  <a:lstStyle/>
                  <a:p>
                    <a:endParaRPr lang="en-GB" dirty="0"/>
                  </a:p>
                </p:txBody>
              </p:sp>
              <p:sp>
                <p:nvSpPr>
                  <p:cNvPr id="411" name="Freihandform: Form 379">
                    <a:extLst>
                      <a:ext uri="{FF2B5EF4-FFF2-40B4-BE49-F238E27FC236}">
                        <a16:creationId xmlns:a16="http://schemas.microsoft.com/office/drawing/2014/main" id="{7D92D69C-86D7-4F61-ACC7-A3D4BC5FC451}"/>
                      </a:ext>
                    </a:extLst>
                  </p:cNvPr>
                  <p:cNvSpPr/>
                  <p:nvPr/>
                </p:nvSpPr>
                <p:spPr>
                  <a:xfrm>
                    <a:off x="498560" y="2798830"/>
                    <a:ext cx="12329" cy="22411"/>
                  </a:xfrm>
                  <a:custGeom>
                    <a:avLst/>
                    <a:gdLst>
                      <a:gd name="connsiteX0" fmla="*/ 0 w 12329"/>
                      <a:gd name="connsiteY0" fmla="*/ 0 h 22411"/>
                      <a:gd name="connsiteX1" fmla="*/ 12329 w 12329"/>
                      <a:gd name="connsiteY1" fmla="*/ 0 h 22411"/>
                      <a:gd name="connsiteX2" fmla="*/ 12329 w 12329"/>
                      <a:gd name="connsiteY2" fmla="*/ 22411 h 22411"/>
                      <a:gd name="connsiteX3" fmla="*/ 0 w 12329"/>
                      <a:gd name="connsiteY3" fmla="*/ 22411 h 22411"/>
                    </a:gdLst>
                    <a:ahLst/>
                    <a:cxnLst>
                      <a:cxn ang="0">
                        <a:pos x="connsiteX0" y="connsiteY0"/>
                      </a:cxn>
                      <a:cxn ang="0">
                        <a:pos x="connsiteX1" y="connsiteY1"/>
                      </a:cxn>
                      <a:cxn ang="0">
                        <a:pos x="connsiteX2" y="connsiteY2"/>
                      </a:cxn>
                      <a:cxn ang="0">
                        <a:pos x="connsiteX3" y="connsiteY3"/>
                      </a:cxn>
                    </a:cxnLst>
                    <a:rect l="l" t="t" r="r" b="b"/>
                    <a:pathLst>
                      <a:path w="12329" h="22411">
                        <a:moveTo>
                          <a:pt x="0" y="0"/>
                        </a:moveTo>
                        <a:lnTo>
                          <a:pt x="12329" y="0"/>
                        </a:lnTo>
                        <a:lnTo>
                          <a:pt x="12329" y="22411"/>
                        </a:lnTo>
                        <a:lnTo>
                          <a:pt x="0" y="22411"/>
                        </a:lnTo>
                        <a:close/>
                      </a:path>
                    </a:pathLst>
                  </a:custGeom>
                  <a:solidFill>
                    <a:schemeClr val="tx2"/>
                  </a:solidFill>
                  <a:ln w="1228" cap="flat">
                    <a:noFill/>
                    <a:prstDash val="solid"/>
                    <a:miter/>
                  </a:ln>
                </p:spPr>
                <p:txBody>
                  <a:bodyPr rtlCol="0" anchor="ctr"/>
                  <a:lstStyle/>
                  <a:p>
                    <a:endParaRPr lang="en-GB" dirty="0"/>
                  </a:p>
                </p:txBody>
              </p:sp>
              <p:sp>
                <p:nvSpPr>
                  <p:cNvPr id="412" name="Freihandform: Form 380">
                    <a:extLst>
                      <a:ext uri="{FF2B5EF4-FFF2-40B4-BE49-F238E27FC236}">
                        <a16:creationId xmlns:a16="http://schemas.microsoft.com/office/drawing/2014/main" id="{2D19C6C1-647C-4CE6-996C-0F3FC0203206}"/>
                      </a:ext>
                    </a:extLst>
                  </p:cNvPr>
                  <p:cNvSpPr/>
                  <p:nvPr/>
                </p:nvSpPr>
                <p:spPr>
                  <a:xfrm>
                    <a:off x="380206" y="2812130"/>
                    <a:ext cx="197217" cy="96496"/>
                  </a:xfrm>
                  <a:custGeom>
                    <a:avLst/>
                    <a:gdLst>
                      <a:gd name="connsiteX0" fmla="*/ 12329 w 197217"/>
                      <a:gd name="connsiteY0" fmla="*/ 96496 h 96496"/>
                      <a:gd name="connsiteX1" fmla="*/ 0 w 197217"/>
                      <a:gd name="connsiteY1" fmla="*/ 96496 h 96496"/>
                      <a:gd name="connsiteX2" fmla="*/ 0 w 197217"/>
                      <a:gd name="connsiteY2" fmla="*/ 88256 h 96496"/>
                      <a:gd name="connsiteX3" fmla="*/ 49636 w 197217"/>
                      <a:gd name="connsiteY3" fmla="*/ 22779 h 96496"/>
                      <a:gd name="connsiteX4" fmla="*/ 130672 w 197217"/>
                      <a:gd name="connsiteY4" fmla="*/ 49 h 96496"/>
                      <a:gd name="connsiteX5" fmla="*/ 130672 w 197217"/>
                      <a:gd name="connsiteY5" fmla="*/ 8178 h 96496"/>
                      <a:gd name="connsiteX6" fmla="*/ 149497 w 197217"/>
                      <a:gd name="connsiteY6" fmla="*/ 27004 h 96496"/>
                      <a:gd name="connsiteX7" fmla="*/ 168322 w 197217"/>
                      <a:gd name="connsiteY7" fmla="*/ 8178 h 96496"/>
                      <a:gd name="connsiteX8" fmla="*/ 168322 w 197217"/>
                      <a:gd name="connsiteY8" fmla="*/ 0 h 96496"/>
                      <a:gd name="connsiteX9" fmla="*/ 197217 w 197217"/>
                      <a:gd name="connsiteY9" fmla="*/ 8289 h 96496"/>
                      <a:gd name="connsiteX10" fmla="*/ 193815 w 197217"/>
                      <a:gd name="connsiteY10" fmla="*/ 20139 h 96496"/>
                      <a:gd name="connsiteX11" fmla="*/ 179644 w 197217"/>
                      <a:gd name="connsiteY11" fmla="*/ 16074 h 96496"/>
                      <a:gd name="connsiteX12" fmla="*/ 149497 w 197217"/>
                      <a:gd name="connsiteY12" fmla="*/ 39333 h 96496"/>
                      <a:gd name="connsiteX13" fmla="*/ 119337 w 197217"/>
                      <a:gd name="connsiteY13" fmla="*/ 16025 h 96496"/>
                      <a:gd name="connsiteX14" fmla="*/ 52964 w 197217"/>
                      <a:gd name="connsiteY14" fmla="*/ 34654 h 96496"/>
                      <a:gd name="connsiteX15" fmla="*/ 12329 w 197217"/>
                      <a:gd name="connsiteY15" fmla="*/ 88256 h 96496"/>
                      <a:gd name="connsiteX16" fmla="*/ 12329 w 197217"/>
                      <a:gd name="connsiteY16" fmla="*/ 96496 h 96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7217" h="96496">
                        <a:moveTo>
                          <a:pt x="12329" y="96496"/>
                        </a:moveTo>
                        <a:lnTo>
                          <a:pt x="0" y="96496"/>
                        </a:lnTo>
                        <a:lnTo>
                          <a:pt x="0" y="88256"/>
                        </a:lnTo>
                        <a:cubicBezTo>
                          <a:pt x="0" y="57912"/>
                          <a:pt x="20409" y="30982"/>
                          <a:pt x="49636" y="22779"/>
                        </a:cubicBezTo>
                        <a:lnTo>
                          <a:pt x="130672" y="49"/>
                        </a:lnTo>
                        <a:lnTo>
                          <a:pt x="130672" y="8178"/>
                        </a:lnTo>
                        <a:cubicBezTo>
                          <a:pt x="130672" y="18555"/>
                          <a:pt x="139108" y="27004"/>
                          <a:pt x="149497" y="27004"/>
                        </a:cubicBezTo>
                        <a:cubicBezTo>
                          <a:pt x="159886" y="27004"/>
                          <a:pt x="168322" y="18567"/>
                          <a:pt x="168322" y="8178"/>
                        </a:cubicBezTo>
                        <a:lnTo>
                          <a:pt x="168322" y="0"/>
                        </a:lnTo>
                        <a:lnTo>
                          <a:pt x="197217" y="8289"/>
                        </a:lnTo>
                        <a:lnTo>
                          <a:pt x="193815" y="20139"/>
                        </a:lnTo>
                        <a:lnTo>
                          <a:pt x="179644" y="16074"/>
                        </a:lnTo>
                        <a:cubicBezTo>
                          <a:pt x="176145" y="29447"/>
                          <a:pt x="163950" y="39333"/>
                          <a:pt x="149497" y="39333"/>
                        </a:cubicBezTo>
                        <a:cubicBezTo>
                          <a:pt x="135031" y="39333"/>
                          <a:pt x="122837" y="29423"/>
                          <a:pt x="119337" y="16025"/>
                        </a:cubicBezTo>
                        <a:lnTo>
                          <a:pt x="52964" y="34654"/>
                        </a:lnTo>
                        <a:cubicBezTo>
                          <a:pt x="29030" y="41371"/>
                          <a:pt x="12329" y="63414"/>
                          <a:pt x="12329" y="88256"/>
                        </a:cubicBezTo>
                        <a:lnTo>
                          <a:pt x="12329" y="96496"/>
                        </a:lnTo>
                        <a:close/>
                      </a:path>
                    </a:pathLst>
                  </a:custGeom>
                  <a:solidFill>
                    <a:schemeClr val="tx2"/>
                  </a:solidFill>
                  <a:ln w="1228" cap="flat">
                    <a:noFill/>
                    <a:prstDash val="solid"/>
                    <a:miter/>
                  </a:ln>
                </p:spPr>
                <p:txBody>
                  <a:bodyPr rtlCol="0" anchor="ctr"/>
                  <a:lstStyle/>
                  <a:p>
                    <a:endParaRPr lang="en-GB" dirty="0"/>
                  </a:p>
                </p:txBody>
              </p:sp>
            </p:grpSp>
            <p:sp>
              <p:nvSpPr>
                <p:cNvPr id="404" name="Freihandform: Form 381">
                  <a:extLst>
                    <a:ext uri="{FF2B5EF4-FFF2-40B4-BE49-F238E27FC236}">
                      <a16:creationId xmlns:a16="http://schemas.microsoft.com/office/drawing/2014/main" id="{42FCB9A3-C3C1-4F4A-896B-AFDA1D22DEBC}"/>
                    </a:ext>
                  </a:extLst>
                </p:cNvPr>
                <p:cNvSpPr/>
                <p:nvPr/>
              </p:nvSpPr>
              <p:spPr>
                <a:xfrm>
                  <a:off x="498180" y="2741274"/>
                  <a:ext cx="60466" cy="26180"/>
                </a:xfrm>
                <a:custGeom>
                  <a:avLst/>
                  <a:gdLst>
                    <a:gd name="connsiteX0" fmla="*/ 30233 w 60466"/>
                    <a:gd name="connsiteY0" fmla="*/ 26181 h 26180"/>
                    <a:gd name="connsiteX1" fmla="*/ 0 w 60466"/>
                    <a:gd name="connsiteY1" fmla="*/ 6484 h 26180"/>
                    <a:gd name="connsiteX2" fmla="*/ 10487 w 60466"/>
                    <a:gd name="connsiteY2" fmla="*/ 0 h 26180"/>
                    <a:gd name="connsiteX3" fmla="*/ 49980 w 60466"/>
                    <a:gd name="connsiteY3" fmla="*/ 0 h 26180"/>
                    <a:gd name="connsiteX4" fmla="*/ 60467 w 60466"/>
                    <a:gd name="connsiteY4" fmla="*/ 6484 h 26180"/>
                    <a:gd name="connsiteX5" fmla="*/ 30233 w 60466"/>
                    <a:gd name="connsiteY5" fmla="*/ 26181 h 26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466" h="26180">
                      <a:moveTo>
                        <a:pt x="30233" y="26181"/>
                      </a:moveTo>
                      <a:cubicBezTo>
                        <a:pt x="18580" y="26181"/>
                        <a:pt x="7835" y="19181"/>
                        <a:pt x="0" y="6484"/>
                      </a:cubicBezTo>
                      <a:lnTo>
                        <a:pt x="10487" y="0"/>
                      </a:lnTo>
                      <a:cubicBezTo>
                        <a:pt x="21515" y="17855"/>
                        <a:pt x="38940" y="17855"/>
                        <a:pt x="49980" y="0"/>
                      </a:cubicBezTo>
                      <a:lnTo>
                        <a:pt x="60467" y="6484"/>
                      </a:lnTo>
                      <a:cubicBezTo>
                        <a:pt x="52620" y="19181"/>
                        <a:pt x="41887" y="26181"/>
                        <a:pt x="30233" y="26181"/>
                      </a:cubicBezTo>
                      <a:close/>
                    </a:path>
                  </a:pathLst>
                </a:custGeom>
                <a:solidFill>
                  <a:schemeClr val="tx2"/>
                </a:solidFill>
                <a:ln w="1228" cap="flat">
                  <a:noFill/>
                  <a:prstDash val="solid"/>
                  <a:miter/>
                </a:ln>
              </p:spPr>
              <p:txBody>
                <a:bodyPr rtlCol="0" anchor="ctr"/>
                <a:lstStyle/>
                <a:p>
                  <a:endParaRPr lang="en-GB" dirty="0"/>
                </a:p>
              </p:txBody>
            </p:sp>
            <p:sp>
              <p:nvSpPr>
                <p:cNvPr id="405" name="Freihandform: Form 382">
                  <a:extLst>
                    <a:ext uri="{FF2B5EF4-FFF2-40B4-BE49-F238E27FC236}">
                      <a16:creationId xmlns:a16="http://schemas.microsoft.com/office/drawing/2014/main" id="{ED221FA1-85A1-41B6-82F1-850466787E2B}"/>
                    </a:ext>
                  </a:extLst>
                </p:cNvPr>
                <p:cNvSpPr/>
                <p:nvPr/>
              </p:nvSpPr>
              <p:spPr>
                <a:xfrm>
                  <a:off x="385854" y="2541527"/>
                  <a:ext cx="284728" cy="263367"/>
                </a:xfrm>
                <a:custGeom>
                  <a:avLst/>
                  <a:gdLst>
                    <a:gd name="connsiteX0" fmla="*/ 46996 w 284728"/>
                    <a:gd name="connsiteY0" fmla="*/ 263357 h 263367"/>
                    <a:gd name="connsiteX1" fmla="*/ 4532 w 284728"/>
                    <a:gd name="connsiteY1" fmla="*/ 257217 h 263367"/>
                    <a:gd name="connsiteX2" fmla="*/ 713 w 284728"/>
                    <a:gd name="connsiteY2" fmla="*/ 254147 h 263367"/>
                    <a:gd name="connsiteX3" fmla="*/ 344 w 284728"/>
                    <a:gd name="connsiteY3" fmla="*/ 249247 h 263367"/>
                    <a:gd name="connsiteX4" fmla="*/ 32714 w 284728"/>
                    <a:gd name="connsiteY4" fmla="*/ 112030 h 263367"/>
                    <a:gd name="connsiteX5" fmla="*/ 35220 w 284728"/>
                    <a:gd name="connsiteY5" fmla="*/ 92898 h 263367"/>
                    <a:gd name="connsiteX6" fmla="*/ 137279 w 284728"/>
                    <a:gd name="connsiteY6" fmla="*/ 0 h 263367"/>
                    <a:gd name="connsiteX7" fmla="*/ 147459 w 284728"/>
                    <a:gd name="connsiteY7" fmla="*/ 0 h 263367"/>
                    <a:gd name="connsiteX8" fmla="*/ 249543 w 284728"/>
                    <a:gd name="connsiteY8" fmla="*/ 93095 h 263367"/>
                    <a:gd name="connsiteX9" fmla="*/ 252023 w 284728"/>
                    <a:gd name="connsiteY9" fmla="*/ 112043 h 263367"/>
                    <a:gd name="connsiteX10" fmla="*/ 284393 w 284728"/>
                    <a:gd name="connsiteY10" fmla="*/ 249260 h 263367"/>
                    <a:gd name="connsiteX11" fmla="*/ 284025 w 284728"/>
                    <a:gd name="connsiteY11" fmla="*/ 254159 h 263367"/>
                    <a:gd name="connsiteX12" fmla="*/ 280206 w 284728"/>
                    <a:gd name="connsiteY12" fmla="*/ 257229 h 263367"/>
                    <a:gd name="connsiteX13" fmla="*/ 182703 w 284728"/>
                    <a:gd name="connsiteY13" fmla="*/ 247098 h 263367"/>
                    <a:gd name="connsiteX14" fmla="*/ 190930 w 284728"/>
                    <a:gd name="connsiteY14" fmla="*/ 237913 h 263367"/>
                    <a:gd name="connsiteX15" fmla="*/ 270591 w 284728"/>
                    <a:gd name="connsiteY15" fmla="*/ 246951 h 263367"/>
                    <a:gd name="connsiteX16" fmla="*/ 239805 w 284728"/>
                    <a:gd name="connsiteY16" fmla="*/ 113639 h 263367"/>
                    <a:gd name="connsiteX17" fmla="*/ 237299 w 284728"/>
                    <a:gd name="connsiteY17" fmla="*/ 94507 h 263367"/>
                    <a:gd name="connsiteX18" fmla="*/ 147459 w 284728"/>
                    <a:gd name="connsiteY18" fmla="*/ 12329 h 263367"/>
                    <a:gd name="connsiteX19" fmla="*/ 137279 w 284728"/>
                    <a:gd name="connsiteY19" fmla="*/ 12329 h 263367"/>
                    <a:gd name="connsiteX20" fmla="*/ 47475 w 284728"/>
                    <a:gd name="connsiteY20" fmla="*/ 94310 h 263367"/>
                    <a:gd name="connsiteX21" fmla="*/ 44945 w 284728"/>
                    <a:gd name="connsiteY21" fmla="*/ 113627 h 263367"/>
                    <a:gd name="connsiteX22" fmla="*/ 14159 w 284728"/>
                    <a:gd name="connsiteY22" fmla="*/ 246939 h 263367"/>
                    <a:gd name="connsiteX23" fmla="*/ 93820 w 284728"/>
                    <a:gd name="connsiteY23" fmla="*/ 237901 h 263367"/>
                    <a:gd name="connsiteX24" fmla="*/ 102047 w 284728"/>
                    <a:gd name="connsiteY24" fmla="*/ 247086 h 263367"/>
                    <a:gd name="connsiteX25" fmla="*/ 46996 w 284728"/>
                    <a:gd name="connsiteY25" fmla="*/ 263357 h 263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84728" h="263367">
                      <a:moveTo>
                        <a:pt x="46996" y="263357"/>
                      </a:moveTo>
                      <a:cubicBezTo>
                        <a:pt x="34925" y="263357"/>
                        <a:pt x="20803" y="261675"/>
                        <a:pt x="4532" y="257217"/>
                      </a:cubicBezTo>
                      <a:cubicBezTo>
                        <a:pt x="2886" y="256763"/>
                        <a:pt x="1499" y="255657"/>
                        <a:pt x="713" y="254147"/>
                      </a:cubicBezTo>
                      <a:cubicBezTo>
                        <a:pt x="-85" y="252637"/>
                        <a:pt x="-221" y="250868"/>
                        <a:pt x="344" y="249247"/>
                      </a:cubicBezTo>
                      <a:cubicBezTo>
                        <a:pt x="15707" y="204818"/>
                        <a:pt x="26599" y="158658"/>
                        <a:pt x="32714" y="112030"/>
                      </a:cubicBezTo>
                      <a:lnTo>
                        <a:pt x="35220" y="92898"/>
                      </a:lnTo>
                      <a:cubicBezTo>
                        <a:pt x="40525" y="40008"/>
                        <a:pt x="84401" y="0"/>
                        <a:pt x="137279" y="0"/>
                      </a:cubicBezTo>
                      <a:lnTo>
                        <a:pt x="147459" y="0"/>
                      </a:lnTo>
                      <a:cubicBezTo>
                        <a:pt x="200324" y="0"/>
                        <a:pt x="244213" y="40021"/>
                        <a:pt x="249543" y="93095"/>
                      </a:cubicBezTo>
                      <a:lnTo>
                        <a:pt x="252023" y="112043"/>
                      </a:lnTo>
                      <a:cubicBezTo>
                        <a:pt x="258126" y="158658"/>
                        <a:pt x="269019" y="204831"/>
                        <a:pt x="284393" y="249260"/>
                      </a:cubicBezTo>
                      <a:cubicBezTo>
                        <a:pt x="284946" y="250868"/>
                        <a:pt x="284811" y="252649"/>
                        <a:pt x="284025" y="254159"/>
                      </a:cubicBezTo>
                      <a:cubicBezTo>
                        <a:pt x="283227" y="255670"/>
                        <a:pt x="281839" y="256775"/>
                        <a:pt x="280206" y="257229"/>
                      </a:cubicBezTo>
                      <a:cubicBezTo>
                        <a:pt x="214741" y="275146"/>
                        <a:pt x="183980" y="248253"/>
                        <a:pt x="182703" y="247098"/>
                      </a:cubicBezTo>
                      <a:lnTo>
                        <a:pt x="190930" y="237913"/>
                      </a:lnTo>
                      <a:cubicBezTo>
                        <a:pt x="191986" y="238846"/>
                        <a:pt x="216571" y="259734"/>
                        <a:pt x="270591" y="246951"/>
                      </a:cubicBezTo>
                      <a:cubicBezTo>
                        <a:pt x="256076" y="203676"/>
                        <a:pt x="245724" y="158866"/>
                        <a:pt x="239805" y="113639"/>
                      </a:cubicBezTo>
                      <a:lnTo>
                        <a:pt x="237299" y="94507"/>
                      </a:lnTo>
                      <a:cubicBezTo>
                        <a:pt x="232584" y="47585"/>
                        <a:pt x="193963" y="12329"/>
                        <a:pt x="147459" y="12329"/>
                      </a:cubicBezTo>
                      <a:lnTo>
                        <a:pt x="137279" y="12329"/>
                      </a:lnTo>
                      <a:cubicBezTo>
                        <a:pt x="90774" y="12329"/>
                        <a:pt x="52166" y="47573"/>
                        <a:pt x="47475" y="94310"/>
                      </a:cubicBezTo>
                      <a:lnTo>
                        <a:pt x="44945" y="113627"/>
                      </a:lnTo>
                      <a:cubicBezTo>
                        <a:pt x="39014" y="158866"/>
                        <a:pt x="28674" y="203676"/>
                        <a:pt x="14159" y="246939"/>
                      </a:cubicBezTo>
                      <a:cubicBezTo>
                        <a:pt x="68191" y="259710"/>
                        <a:pt x="92764" y="238834"/>
                        <a:pt x="93820" y="237901"/>
                      </a:cubicBezTo>
                      <a:lnTo>
                        <a:pt x="102047" y="247086"/>
                      </a:lnTo>
                      <a:cubicBezTo>
                        <a:pt x="101077" y="247946"/>
                        <a:pt x="83455" y="263357"/>
                        <a:pt x="46996" y="263357"/>
                      </a:cubicBezTo>
                      <a:close/>
                    </a:path>
                  </a:pathLst>
                </a:custGeom>
                <a:solidFill>
                  <a:schemeClr val="tx2"/>
                </a:solidFill>
                <a:ln w="1228" cap="flat">
                  <a:noFill/>
                  <a:prstDash val="solid"/>
                  <a:miter/>
                </a:ln>
              </p:spPr>
              <p:txBody>
                <a:bodyPr rtlCol="0" anchor="ctr"/>
                <a:lstStyle/>
                <a:p>
                  <a:endParaRPr lang="en-GB" dirty="0"/>
                </a:p>
              </p:txBody>
            </p:sp>
            <p:sp>
              <p:nvSpPr>
                <p:cNvPr id="406" name="Freihandform: Form 383">
                  <a:extLst>
                    <a:ext uri="{FF2B5EF4-FFF2-40B4-BE49-F238E27FC236}">
                      <a16:creationId xmlns:a16="http://schemas.microsoft.com/office/drawing/2014/main" id="{AC2CCFFE-E8BB-4D76-8E1C-3885526B4386}"/>
                    </a:ext>
                  </a:extLst>
                </p:cNvPr>
                <p:cNvSpPr/>
                <p:nvPr/>
              </p:nvSpPr>
              <p:spPr>
                <a:xfrm>
                  <a:off x="454328" y="2591347"/>
                  <a:ext cx="148170" cy="218891"/>
                </a:xfrm>
                <a:custGeom>
                  <a:avLst/>
                  <a:gdLst>
                    <a:gd name="connsiteX0" fmla="*/ 74085 w 148170"/>
                    <a:gd name="connsiteY0" fmla="*/ 218891 h 218891"/>
                    <a:gd name="connsiteX1" fmla="*/ 540 w 148170"/>
                    <a:gd name="connsiteY1" fmla="*/ 136001 h 218891"/>
                    <a:gd name="connsiteX2" fmla="*/ 0 w 148170"/>
                    <a:gd name="connsiteY2" fmla="*/ 58035 h 218891"/>
                    <a:gd name="connsiteX3" fmla="*/ 33291 w 148170"/>
                    <a:gd name="connsiteY3" fmla="*/ 26009 h 218891"/>
                    <a:gd name="connsiteX4" fmla="*/ 35502 w 148170"/>
                    <a:gd name="connsiteY4" fmla="*/ 26009 h 218891"/>
                    <a:gd name="connsiteX5" fmla="*/ 31449 w 148170"/>
                    <a:gd name="connsiteY5" fmla="*/ 0 h 218891"/>
                    <a:gd name="connsiteX6" fmla="*/ 43692 w 148170"/>
                    <a:gd name="connsiteY6" fmla="*/ 1461 h 218891"/>
                    <a:gd name="connsiteX7" fmla="*/ 54941 w 148170"/>
                    <a:gd name="connsiteY7" fmla="*/ 34323 h 218891"/>
                    <a:gd name="connsiteX8" fmla="*/ 114867 w 148170"/>
                    <a:gd name="connsiteY8" fmla="*/ 54192 h 218891"/>
                    <a:gd name="connsiteX9" fmla="*/ 148171 w 148170"/>
                    <a:gd name="connsiteY9" fmla="*/ 86169 h 218891"/>
                    <a:gd name="connsiteX10" fmla="*/ 147630 w 148170"/>
                    <a:gd name="connsiteY10" fmla="*/ 136063 h 218891"/>
                    <a:gd name="connsiteX11" fmla="*/ 74085 w 148170"/>
                    <a:gd name="connsiteY11" fmla="*/ 218891 h 218891"/>
                    <a:gd name="connsiteX12" fmla="*/ 33279 w 148170"/>
                    <a:gd name="connsiteY12" fmla="*/ 38351 h 218891"/>
                    <a:gd name="connsiteX13" fmla="*/ 12317 w 148170"/>
                    <a:gd name="connsiteY13" fmla="*/ 57999 h 218891"/>
                    <a:gd name="connsiteX14" fmla="*/ 12857 w 148170"/>
                    <a:gd name="connsiteY14" fmla="*/ 135964 h 218891"/>
                    <a:gd name="connsiteX15" fmla="*/ 74073 w 148170"/>
                    <a:gd name="connsiteY15" fmla="*/ 206562 h 218891"/>
                    <a:gd name="connsiteX16" fmla="*/ 135289 w 148170"/>
                    <a:gd name="connsiteY16" fmla="*/ 136001 h 218891"/>
                    <a:gd name="connsiteX17" fmla="*/ 135829 w 148170"/>
                    <a:gd name="connsiteY17" fmla="*/ 86107 h 218891"/>
                    <a:gd name="connsiteX18" fmla="*/ 114867 w 148170"/>
                    <a:gd name="connsiteY18" fmla="*/ 66521 h 218891"/>
                    <a:gd name="connsiteX19" fmla="*/ 45596 w 148170"/>
                    <a:gd name="connsiteY19" fmla="*/ 42366 h 218891"/>
                    <a:gd name="connsiteX20" fmla="*/ 42329 w 148170"/>
                    <a:gd name="connsiteY20" fmla="*/ 38326 h 218891"/>
                    <a:gd name="connsiteX21" fmla="*/ 33279 w 148170"/>
                    <a:gd name="connsiteY21" fmla="*/ 38326 h 218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8170" h="218891">
                      <a:moveTo>
                        <a:pt x="74085" y="218891"/>
                      </a:moveTo>
                      <a:cubicBezTo>
                        <a:pt x="38559" y="218891"/>
                        <a:pt x="540" y="185588"/>
                        <a:pt x="540" y="136001"/>
                      </a:cubicBezTo>
                      <a:lnTo>
                        <a:pt x="0" y="58035"/>
                      </a:lnTo>
                      <a:cubicBezTo>
                        <a:pt x="0" y="40352"/>
                        <a:pt x="14932" y="26009"/>
                        <a:pt x="33291" y="26009"/>
                      </a:cubicBezTo>
                      <a:lnTo>
                        <a:pt x="35502" y="26009"/>
                      </a:lnTo>
                      <a:cubicBezTo>
                        <a:pt x="30086" y="12464"/>
                        <a:pt x="31375" y="688"/>
                        <a:pt x="31449" y="0"/>
                      </a:cubicBezTo>
                      <a:lnTo>
                        <a:pt x="43692" y="1461"/>
                      </a:lnTo>
                      <a:cubicBezTo>
                        <a:pt x="43668" y="1609"/>
                        <a:pt x="41850" y="19722"/>
                        <a:pt x="54941" y="34323"/>
                      </a:cubicBezTo>
                      <a:cubicBezTo>
                        <a:pt x="66766" y="47511"/>
                        <a:pt x="86918" y="54192"/>
                        <a:pt x="114867" y="54192"/>
                      </a:cubicBezTo>
                      <a:cubicBezTo>
                        <a:pt x="133226" y="54192"/>
                        <a:pt x="148171" y="68535"/>
                        <a:pt x="148171" y="86169"/>
                      </a:cubicBezTo>
                      <a:lnTo>
                        <a:pt x="147630" y="136063"/>
                      </a:lnTo>
                      <a:cubicBezTo>
                        <a:pt x="147630" y="185588"/>
                        <a:pt x="109599" y="218891"/>
                        <a:pt x="74085" y="218891"/>
                      </a:cubicBezTo>
                      <a:close/>
                      <a:moveTo>
                        <a:pt x="33279" y="38351"/>
                      </a:moveTo>
                      <a:cubicBezTo>
                        <a:pt x="21723" y="38351"/>
                        <a:pt x="12317" y="47168"/>
                        <a:pt x="12317" y="57999"/>
                      </a:cubicBezTo>
                      <a:lnTo>
                        <a:pt x="12857" y="135964"/>
                      </a:lnTo>
                      <a:cubicBezTo>
                        <a:pt x="12857" y="177594"/>
                        <a:pt x="45117" y="206562"/>
                        <a:pt x="74073" y="206562"/>
                      </a:cubicBezTo>
                      <a:cubicBezTo>
                        <a:pt x="103029" y="206562"/>
                        <a:pt x="135289" y="177594"/>
                        <a:pt x="135289" y="136001"/>
                      </a:cubicBezTo>
                      <a:lnTo>
                        <a:pt x="135829" y="86107"/>
                      </a:lnTo>
                      <a:cubicBezTo>
                        <a:pt x="135829" y="75338"/>
                        <a:pt x="126423" y="66521"/>
                        <a:pt x="114867" y="66521"/>
                      </a:cubicBezTo>
                      <a:cubicBezTo>
                        <a:pt x="83136" y="66521"/>
                        <a:pt x="59828" y="58392"/>
                        <a:pt x="45596" y="42366"/>
                      </a:cubicBezTo>
                      <a:cubicBezTo>
                        <a:pt x="44417" y="41040"/>
                        <a:pt x="43336" y="39689"/>
                        <a:pt x="42329" y="38326"/>
                      </a:cubicBezTo>
                      <a:lnTo>
                        <a:pt x="33279" y="38326"/>
                      </a:lnTo>
                      <a:close/>
                    </a:path>
                  </a:pathLst>
                </a:custGeom>
                <a:solidFill>
                  <a:schemeClr val="tx2"/>
                </a:solidFill>
                <a:ln w="1228" cap="flat">
                  <a:noFill/>
                  <a:prstDash val="solid"/>
                  <a:miter/>
                </a:ln>
              </p:spPr>
              <p:txBody>
                <a:bodyPr rtlCol="0" anchor="ctr"/>
                <a:lstStyle/>
                <a:p>
                  <a:endParaRPr lang="en-GB" dirty="0"/>
                </a:p>
              </p:txBody>
            </p:sp>
            <p:sp>
              <p:nvSpPr>
                <p:cNvPr id="407" name="Freihandform: Form 384">
                  <a:extLst>
                    <a:ext uri="{FF2B5EF4-FFF2-40B4-BE49-F238E27FC236}">
                      <a16:creationId xmlns:a16="http://schemas.microsoft.com/office/drawing/2014/main" id="{468E408A-807F-4685-9A5B-615591B7FA71}"/>
                    </a:ext>
                  </a:extLst>
                </p:cNvPr>
                <p:cNvSpPr/>
                <p:nvPr/>
              </p:nvSpPr>
              <p:spPr>
                <a:xfrm>
                  <a:off x="493648" y="2687401"/>
                  <a:ext cx="16602" cy="16602"/>
                </a:xfrm>
                <a:custGeom>
                  <a:avLst/>
                  <a:gdLst>
                    <a:gd name="connsiteX0" fmla="*/ 16603 w 16602"/>
                    <a:gd name="connsiteY0" fmla="*/ 8301 h 16602"/>
                    <a:gd name="connsiteX1" fmla="*/ 8301 w 16602"/>
                    <a:gd name="connsiteY1" fmla="*/ 16603 h 16602"/>
                    <a:gd name="connsiteX2" fmla="*/ 0 w 16602"/>
                    <a:gd name="connsiteY2" fmla="*/ 8301 h 16602"/>
                    <a:gd name="connsiteX3" fmla="*/ 8301 w 16602"/>
                    <a:gd name="connsiteY3" fmla="*/ 0 h 16602"/>
                    <a:gd name="connsiteX4" fmla="*/ 16603 w 16602"/>
                    <a:gd name="connsiteY4" fmla="*/ 8301 h 1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2" h="16602">
                      <a:moveTo>
                        <a:pt x="16603" y="8301"/>
                      </a:moveTo>
                      <a:cubicBezTo>
                        <a:pt x="16603" y="12886"/>
                        <a:pt x="12886" y="16603"/>
                        <a:pt x="8301" y="16603"/>
                      </a:cubicBezTo>
                      <a:cubicBezTo>
                        <a:pt x="3717" y="16603"/>
                        <a:pt x="0" y="12886"/>
                        <a:pt x="0" y="8301"/>
                      </a:cubicBezTo>
                      <a:cubicBezTo>
                        <a:pt x="0" y="3717"/>
                        <a:pt x="3717" y="0"/>
                        <a:pt x="8301" y="0"/>
                      </a:cubicBezTo>
                      <a:cubicBezTo>
                        <a:pt x="12886" y="0"/>
                        <a:pt x="16603" y="3717"/>
                        <a:pt x="16603" y="8301"/>
                      </a:cubicBezTo>
                      <a:close/>
                    </a:path>
                  </a:pathLst>
                </a:custGeom>
                <a:solidFill>
                  <a:schemeClr val="tx2"/>
                </a:solidFill>
                <a:ln w="1228" cap="flat">
                  <a:noFill/>
                  <a:prstDash val="solid"/>
                  <a:miter/>
                </a:ln>
              </p:spPr>
              <p:txBody>
                <a:bodyPr rtlCol="0" anchor="ctr"/>
                <a:lstStyle/>
                <a:p>
                  <a:endParaRPr lang="en-GB" dirty="0"/>
                </a:p>
              </p:txBody>
            </p:sp>
            <p:sp>
              <p:nvSpPr>
                <p:cNvPr id="408" name="Freihandform: Form 385">
                  <a:extLst>
                    <a:ext uri="{FF2B5EF4-FFF2-40B4-BE49-F238E27FC236}">
                      <a16:creationId xmlns:a16="http://schemas.microsoft.com/office/drawing/2014/main" id="{79BCA00B-9419-4C19-8567-A877DD59FDB8}"/>
                    </a:ext>
                  </a:extLst>
                </p:cNvPr>
                <p:cNvSpPr/>
                <p:nvPr/>
              </p:nvSpPr>
              <p:spPr>
                <a:xfrm>
                  <a:off x="547545" y="2687401"/>
                  <a:ext cx="16602" cy="16602"/>
                </a:xfrm>
                <a:custGeom>
                  <a:avLst/>
                  <a:gdLst>
                    <a:gd name="connsiteX0" fmla="*/ 16603 w 16602"/>
                    <a:gd name="connsiteY0" fmla="*/ 8301 h 16602"/>
                    <a:gd name="connsiteX1" fmla="*/ 8301 w 16602"/>
                    <a:gd name="connsiteY1" fmla="*/ 16603 h 16602"/>
                    <a:gd name="connsiteX2" fmla="*/ 0 w 16602"/>
                    <a:gd name="connsiteY2" fmla="*/ 8301 h 16602"/>
                    <a:gd name="connsiteX3" fmla="*/ 8301 w 16602"/>
                    <a:gd name="connsiteY3" fmla="*/ 0 h 16602"/>
                    <a:gd name="connsiteX4" fmla="*/ 16603 w 16602"/>
                    <a:gd name="connsiteY4" fmla="*/ 8301 h 1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2" h="16602">
                      <a:moveTo>
                        <a:pt x="16603" y="8301"/>
                      </a:moveTo>
                      <a:cubicBezTo>
                        <a:pt x="16603" y="12882"/>
                        <a:pt x="12882" y="16603"/>
                        <a:pt x="8301" y="16603"/>
                      </a:cubicBezTo>
                      <a:cubicBezTo>
                        <a:pt x="3721" y="16603"/>
                        <a:pt x="0" y="12882"/>
                        <a:pt x="0" y="8301"/>
                      </a:cubicBezTo>
                      <a:cubicBezTo>
                        <a:pt x="0" y="3721"/>
                        <a:pt x="3721" y="0"/>
                        <a:pt x="8301" y="0"/>
                      </a:cubicBezTo>
                      <a:cubicBezTo>
                        <a:pt x="12894" y="0"/>
                        <a:pt x="16603" y="3721"/>
                        <a:pt x="16603" y="8301"/>
                      </a:cubicBezTo>
                      <a:close/>
                    </a:path>
                  </a:pathLst>
                </a:custGeom>
                <a:solidFill>
                  <a:schemeClr val="tx2"/>
                </a:solidFill>
                <a:ln w="1228" cap="flat">
                  <a:noFill/>
                  <a:prstDash val="solid"/>
                  <a:miter/>
                </a:ln>
              </p:spPr>
              <p:txBody>
                <a:bodyPr rtlCol="0" anchor="ctr"/>
                <a:lstStyle/>
                <a:p>
                  <a:endParaRPr lang="en-GB" dirty="0"/>
                </a:p>
              </p:txBody>
            </p:sp>
            <p:sp>
              <p:nvSpPr>
                <p:cNvPr id="409" name="Freihandform: Form 386">
                  <a:extLst>
                    <a:ext uri="{FF2B5EF4-FFF2-40B4-BE49-F238E27FC236}">
                      <a16:creationId xmlns:a16="http://schemas.microsoft.com/office/drawing/2014/main" id="{47182710-1A55-4975-A65F-808A15AD920A}"/>
                    </a:ext>
                  </a:extLst>
                </p:cNvPr>
                <p:cNvSpPr/>
                <p:nvPr/>
              </p:nvSpPr>
              <p:spPr>
                <a:xfrm>
                  <a:off x="426759" y="2882003"/>
                  <a:ext cx="12329" cy="26623"/>
                </a:xfrm>
                <a:custGeom>
                  <a:avLst/>
                  <a:gdLst>
                    <a:gd name="connsiteX0" fmla="*/ 0 w 12329"/>
                    <a:gd name="connsiteY0" fmla="*/ 0 h 26623"/>
                    <a:gd name="connsiteX1" fmla="*/ 12329 w 12329"/>
                    <a:gd name="connsiteY1" fmla="*/ 0 h 26623"/>
                    <a:gd name="connsiteX2" fmla="*/ 12329 w 12329"/>
                    <a:gd name="connsiteY2" fmla="*/ 26623 h 26623"/>
                    <a:gd name="connsiteX3" fmla="*/ 0 w 12329"/>
                    <a:gd name="connsiteY3" fmla="*/ 26623 h 26623"/>
                  </a:gdLst>
                  <a:ahLst/>
                  <a:cxnLst>
                    <a:cxn ang="0">
                      <a:pos x="connsiteX0" y="connsiteY0"/>
                    </a:cxn>
                    <a:cxn ang="0">
                      <a:pos x="connsiteX1" y="connsiteY1"/>
                    </a:cxn>
                    <a:cxn ang="0">
                      <a:pos x="connsiteX2" y="connsiteY2"/>
                    </a:cxn>
                    <a:cxn ang="0">
                      <a:pos x="connsiteX3" y="connsiteY3"/>
                    </a:cxn>
                  </a:cxnLst>
                  <a:rect l="l" t="t" r="r" b="b"/>
                  <a:pathLst>
                    <a:path w="12329" h="26623">
                      <a:moveTo>
                        <a:pt x="0" y="0"/>
                      </a:moveTo>
                      <a:lnTo>
                        <a:pt x="12329" y="0"/>
                      </a:lnTo>
                      <a:lnTo>
                        <a:pt x="12329" y="26623"/>
                      </a:lnTo>
                      <a:lnTo>
                        <a:pt x="0" y="26623"/>
                      </a:lnTo>
                      <a:close/>
                    </a:path>
                  </a:pathLst>
                </a:custGeom>
                <a:solidFill>
                  <a:schemeClr val="tx2"/>
                </a:solidFill>
                <a:ln w="1228" cap="flat">
                  <a:noFill/>
                  <a:prstDash val="solid"/>
                  <a:miter/>
                </a:ln>
              </p:spPr>
              <p:txBody>
                <a:bodyPr rtlCol="0" anchor="ctr"/>
                <a:lstStyle/>
                <a:p>
                  <a:endParaRPr lang="en-GB" dirty="0"/>
                </a:p>
              </p:txBody>
            </p:sp>
          </p:grpSp>
          <p:grpSp>
            <p:nvGrpSpPr>
              <p:cNvPr id="392" name="Grafik 11">
                <a:extLst>
                  <a:ext uri="{FF2B5EF4-FFF2-40B4-BE49-F238E27FC236}">
                    <a16:creationId xmlns:a16="http://schemas.microsoft.com/office/drawing/2014/main" id="{1195AB6F-D465-4447-B8B8-2554A2CF82C8}"/>
                  </a:ext>
                </a:extLst>
              </p:cNvPr>
              <p:cNvGrpSpPr/>
              <p:nvPr/>
            </p:nvGrpSpPr>
            <p:grpSpPr>
              <a:xfrm>
                <a:off x="666993" y="2543787"/>
                <a:ext cx="256615" cy="364998"/>
                <a:chOff x="666993" y="2543787"/>
                <a:chExt cx="256615" cy="364998"/>
              </a:xfrm>
              <a:solidFill>
                <a:srgbClr val="4D4E53"/>
              </a:solidFill>
            </p:grpSpPr>
            <p:sp>
              <p:nvSpPr>
                <p:cNvPr id="393" name="Freihandform: Form 388">
                  <a:extLst>
                    <a:ext uri="{FF2B5EF4-FFF2-40B4-BE49-F238E27FC236}">
                      <a16:creationId xmlns:a16="http://schemas.microsoft.com/office/drawing/2014/main" id="{90923D55-DD0A-45C9-81C4-B8448CF26E69}"/>
                    </a:ext>
                  </a:extLst>
                </p:cNvPr>
                <p:cNvSpPr/>
                <p:nvPr/>
              </p:nvSpPr>
              <p:spPr>
                <a:xfrm>
                  <a:off x="666993" y="2543787"/>
                  <a:ext cx="206267" cy="262079"/>
                </a:xfrm>
                <a:custGeom>
                  <a:avLst/>
                  <a:gdLst>
                    <a:gd name="connsiteX0" fmla="*/ 106443 w 206267"/>
                    <a:gd name="connsiteY0" fmla="*/ 262080 h 262079"/>
                    <a:gd name="connsiteX1" fmla="*/ 100033 w 206267"/>
                    <a:gd name="connsiteY1" fmla="*/ 262080 h 262079"/>
                    <a:gd name="connsiteX2" fmla="*/ 23209 w 206267"/>
                    <a:gd name="connsiteY2" fmla="*/ 182898 h 262079"/>
                    <a:gd name="connsiteX3" fmla="*/ 0 w 206267"/>
                    <a:gd name="connsiteY3" fmla="*/ 151167 h 262079"/>
                    <a:gd name="connsiteX4" fmla="*/ 0 w 206267"/>
                    <a:gd name="connsiteY4" fmla="*/ 115579 h 262079"/>
                    <a:gd name="connsiteX5" fmla="*/ 10438 w 206267"/>
                    <a:gd name="connsiteY5" fmla="*/ 115579 h 262079"/>
                    <a:gd name="connsiteX6" fmla="*/ 10438 w 206267"/>
                    <a:gd name="connsiteY6" fmla="*/ 64396 h 262079"/>
                    <a:gd name="connsiteX7" fmla="*/ 74834 w 206267"/>
                    <a:gd name="connsiteY7" fmla="*/ 0 h 262079"/>
                    <a:gd name="connsiteX8" fmla="*/ 167168 w 206267"/>
                    <a:gd name="connsiteY8" fmla="*/ 0 h 262079"/>
                    <a:gd name="connsiteX9" fmla="*/ 167168 w 206267"/>
                    <a:gd name="connsiteY9" fmla="*/ 17904 h 262079"/>
                    <a:gd name="connsiteX10" fmla="*/ 196026 w 206267"/>
                    <a:gd name="connsiteY10" fmla="*/ 52387 h 262079"/>
                    <a:gd name="connsiteX11" fmla="*/ 196026 w 206267"/>
                    <a:gd name="connsiteY11" fmla="*/ 115567 h 262079"/>
                    <a:gd name="connsiteX12" fmla="*/ 206267 w 206267"/>
                    <a:gd name="connsiteY12" fmla="*/ 115567 h 262079"/>
                    <a:gd name="connsiteX13" fmla="*/ 206267 w 206267"/>
                    <a:gd name="connsiteY13" fmla="*/ 151155 h 262079"/>
                    <a:gd name="connsiteX14" fmla="*/ 183267 w 206267"/>
                    <a:gd name="connsiteY14" fmla="*/ 182898 h 262079"/>
                    <a:gd name="connsiteX15" fmla="*/ 106443 w 206267"/>
                    <a:gd name="connsiteY15" fmla="*/ 262080 h 262079"/>
                    <a:gd name="connsiteX16" fmla="*/ 12329 w 206267"/>
                    <a:gd name="connsiteY16" fmla="*/ 127909 h 262079"/>
                    <a:gd name="connsiteX17" fmla="*/ 12329 w 206267"/>
                    <a:gd name="connsiteY17" fmla="*/ 151167 h 262079"/>
                    <a:gd name="connsiteX18" fmla="*/ 28256 w 206267"/>
                    <a:gd name="connsiteY18" fmla="*/ 170999 h 262079"/>
                    <a:gd name="connsiteX19" fmla="*/ 33377 w 206267"/>
                    <a:gd name="connsiteY19" fmla="*/ 170999 h 262079"/>
                    <a:gd name="connsiteX20" fmla="*/ 34310 w 206267"/>
                    <a:gd name="connsiteY20" fmla="*/ 176046 h 262079"/>
                    <a:gd name="connsiteX21" fmla="*/ 100021 w 206267"/>
                    <a:gd name="connsiteY21" fmla="*/ 249763 h 262079"/>
                    <a:gd name="connsiteX22" fmla="*/ 106431 w 206267"/>
                    <a:gd name="connsiteY22" fmla="*/ 249763 h 262079"/>
                    <a:gd name="connsiteX23" fmla="*/ 172129 w 206267"/>
                    <a:gd name="connsiteY23" fmla="*/ 176046 h 262079"/>
                    <a:gd name="connsiteX24" fmla="*/ 173075 w 206267"/>
                    <a:gd name="connsiteY24" fmla="*/ 171011 h 262079"/>
                    <a:gd name="connsiteX25" fmla="*/ 178195 w 206267"/>
                    <a:gd name="connsiteY25" fmla="*/ 170999 h 262079"/>
                    <a:gd name="connsiteX26" fmla="*/ 193926 w 206267"/>
                    <a:gd name="connsiteY26" fmla="*/ 151167 h 262079"/>
                    <a:gd name="connsiteX27" fmla="*/ 193926 w 206267"/>
                    <a:gd name="connsiteY27" fmla="*/ 127909 h 262079"/>
                    <a:gd name="connsiteX28" fmla="*/ 183684 w 206267"/>
                    <a:gd name="connsiteY28" fmla="*/ 127909 h 262079"/>
                    <a:gd name="connsiteX29" fmla="*/ 183684 w 206267"/>
                    <a:gd name="connsiteY29" fmla="*/ 52399 h 262079"/>
                    <a:gd name="connsiteX30" fmla="*/ 160991 w 206267"/>
                    <a:gd name="connsiteY30" fmla="*/ 29705 h 262079"/>
                    <a:gd name="connsiteX31" fmla="*/ 154826 w 206267"/>
                    <a:gd name="connsiteY31" fmla="*/ 29705 h 262079"/>
                    <a:gd name="connsiteX32" fmla="*/ 154826 w 206267"/>
                    <a:gd name="connsiteY32" fmla="*/ 12341 h 262079"/>
                    <a:gd name="connsiteX33" fmla="*/ 74822 w 206267"/>
                    <a:gd name="connsiteY33" fmla="*/ 12341 h 262079"/>
                    <a:gd name="connsiteX34" fmla="*/ 22755 w 206267"/>
                    <a:gd name="connsiteY34" fmla="*/ 64396 h 262079"/>
                    <a:gd name="connsiteX35" fmla="*/ 22755 w 206267"/>
                    <a:gd name="connsiteY35" fmla="*/ 127909 h 262079"/>
                    <a:gd name="connsiteX36" fmla="*/ 12329 w 206267"/>
                    <a:gd name="connsiteY36" fmla="*/ 127909 h 26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6267" h="262079">
                      <a:moveTo>
                        <a:pt x="106443" y="262080"/>
                      </a:moveTo>
                      <a:lnTo>
                        <a:pt x="100033" y="262080"/>
                      </a:lnTo>
                      <a:cubicBezTo>
                        <a:pt x="46087" y="262080"/>
                        <a:pt x="27458" y="200618"/>
                        <a:pt x="23209" y="182898"/>
                      </a:cubicBezTo>
                      <a:cubicBezTo>
                        <a:pt x="9321" y="180492"/>
                        <a:pt x="0" y="168113"/>
                        <a:pt x="0" y="151167"/>
                      </a:cubicBezTo>
                      <a:lnTo>
                        <a:pt x="0" y="115579"/>
                      </a:lnTo>
                      <a:lnTo>
                        <a:pt x="10438" y="115579"/>
                      </a:lnTo>
                      <a:lnTo>
                        <a:pt x="10438" y="64396"/>
                      </a:lnTo>
                      <a:cubicBezTo>
                        <a:pt x="10438" y="28895"/>
                        <a:pt x="39333" y="0"/>
                        <a:pt x="74834" y="0"/>
                      </a:cubicBezTo>
                      <a:lnTo>
                        <a:pt x="167168" y="0"/>
                      </a:lnTo>
                      <a:lnTo>
                        <a:pt x="167168" y="17904"/>
                      </a:lnTo>
                      <a:cubicBezTo>
                        <a:pt x="183549" y="20827"/>
                        <a:pt x="196026" y="35182"/>
                        <a:pt x="196026" y="52387"/>
                      </a:cubicBezTo>
                      <a:lnTo>
                        <a:pt x="196026" y="115567"/>
                      </a:lnTo>
                      <a:lnTo>
                        <a:pt x="206267" y="115567"/>
                      </a:lnTo>
                      <a:lnTo>
                        <a:pt x="206267" y="151155"/>
                      </a:lnTo>
                      <a:cubicBezTo>
                        <a:pt x="206267" y="168383"/>
                        <a:pt x="197217" y="180553"/>
                        <a:pt x="183267" y="182898"/>
                      </a:cubicBezTo>
                      <a:cubicBezTo>
                        <a:pt x="179006" y="200655"/>
                        <a:pt x="160365" y="262080"/>
                        <a:pt x="106443" y="262080"/>
                      </a:cubicBezTo>
                      <a:close/>
                      <a:moveTo>
                        <a:pt x="12329" y="127909"/>
                      </a:moveTo>
                      <a:lnTo>
                        <a:pt x="12329" y="151167"/>
                      </a:lnTo>
                      <a:cubicBezTo>
                        <a:pt x="12329" y="160758"/>
                        <a:pt x="16517" y="170999"/>
                        <a:pt x="28256" y="170999"/>
                      </a:cubicBezTo>
                      <a:lnTo>
                        <a:pt x="33377" y="170999"/>
                      </a:lnTo>
                      <a:lnTo>
                        <a:pt x="34310" y="176046"/>
                      </a:lnTo>
                      <a:cubicBezTo>
                        <a:pt x="34445" y="176783"/>
                        <a:pt x="48604" y="249763"/>
                        <a:pt x="100021" y="249763"/>
                      </a:cubicBezTo>
                      <a:lnTo>
                        <a:pt x="106431" y="249763"/>
                      </a:lnTo>
                      <a:cubicBezTo>
                        <a:pt x="157847" y="249763"/>
                        <a:pt x="171994" y="176783"/>
                        <a:pt x="172129" y="176046"/>
                      </a:cubicBezTo>
                      <a:lnTo>
                        <a:pt x="173075" y="171011"/>
                      </a:lnTo>
                      <a:lnTo>
                        <a:pt x="178195" y="170999"/>
                      </a:lnTo>
                      <a:cubicBezTo>
                        <a:pt x="189788" y="170999"/>
                        <a:pt x="193926" y="160758"/>
                        <a:pt x="193926" y="151167"/>
                      </a:cubicBezTo>
                      <a:lnTo>
                        <a:pt x="193926" y="127909"/>
                      </a:lnTo>
                      <a:lnTo>
                        <a:pt x="183684" y="127909"/>
                      </a:lnTo>
                      <a:lnTo>
                        <a:pt x="183684" y="52399"/>
                      </a:lnTo>
                      <a:cubicBezTo>
                        <a:pt x="183684" y="39885"/>
                        <a:pt x="173504" y="29705"/>
                        <a:pt x="160991" y="29705"/>
                      </a:cubicBezTo>
                      <a:lnTo>
                        <a:pt x="154826" y="29705"/>
                      </a:lnTo>
                      <a:lnTo>
                        <a:pt x="154826" y="12341"/>
                      </a:lnTo>
                      <a:lnTo>
                        <a:pt x="74822" y="12341"/>
                      </a:lnTo>
                      <a:cubicBezTo>
                        <a:pt x="46111" y="12341"/>
                        <a:pt x="22755" y="35698"/>
                        <a:pt x="22755" y="64396"/>
                      </a:cubicBezTo>
                      <a:lnTo>
                        <a:pt x="22755" y="127909"/>
                      </a:lnTo>
                      <a:lnTo>
                        <a:pt x="12329" y="127909"/>
                      </a:lnTo>
                      <a:close/>
                    </a:path>
                  </a:pathLst>
                </a:custGeom>
                <a:solidFill>
                  <a:schemeClr val="tx2"/>
                </a:solidFill>
                <a:ln w="1228" cap="flat">
                  <a:noFill/>
                  <a:prstDash val="solid"/>
                  <a:miter/>
                </a:ln>
              </p:spPr>
              <p:txBody>
                <a:bodyPr rtlCol="0" anchor="ctr"/>
                <a:lstStyle/>
                <a:p>
                  <a:endParaRPr lang="en-GB" dirty="0"/>
                </a:p>
              </p:txBody>
            </p:sp>
            <p:grpSp>
              <p:nvGrpSpPr>
                <p:cNvPr id="394" name="Grafik 11">
                  <a:extLst>
                    <a:ext uri="{FF2B5EF4-FFF2-40B4-BE49-F238E27FC236}">
                      <a16:creationId xmlns:a16="http://schemas.microsoft.com/office/drawing/2014/main" id="{627D849F-A0B9-48C3-992D-409A79B92F21}"/>
                    </a:ext>
                  </a:extLst>
                </p:cNvPr>
                <p:cNvGrpSpPr/>
                <p:nvPr/>
              </p:nvGrpSpPr>
              <p:grpSpPr>
                <a:xfrm>
                  <a:off x="720558" y="2794495"/>
                  <a:ext cx="203050" cy="114289"/>
                  <a:chOff x="720558" y="2794495"/>
                  <a:chExt cx="203050" cy="114289"/>
                </a:xfrm>
                <a:solidFill>
                  <a:srgbClr val="4D4E53"/>
                </a:solidFill>
              </p:grpSpPr>
              <p:sp>
                <p:nvSpPr>
                  <p:cNvPr id="400" name="Freihandform: Form 390">
                    <a:extLst>
                      <a:ext uri="{FF2B5EF4-FFF2-40B4-BE49-F238E27FC236}">
                        <a16:creationId xmlns:a16="http://schemas.microsoft.com/office/drawing/2014/main" id="{E5C71564-8498-4D9C-8175-3C51EB3C4C94}"/>
                      </a:ext>
                    </a:extLst>
                  </p:cNvPr>
                  <p:cNvSpPr/>
                  <p:nvPr/>
                </p:nvSpPr>
                <p:spPr>
                  <a:xfrm>
                    <a:off x="791132" y="2794495"/>
                    <a:ext cx="12329" cy="23663"/>
                  </a:xfrm>
                  <a:custGeom>
                    <a:avLst/>
                    <a:gdLst>
                      <a:gd name="connsiteX0" fmla="*/ 0 w 12329"/>
                      <a:gd name="connsiteY0" fmla="*/ 0 h 23663"/>
                      <a:gd name="connsiteX1" fmla="*/ 12329 w 12329"/>
                      <a:gd name="connsiteY1" fmla="*/ 0 h 23663"/>
                      <a:gd name="connsiteX2" fmla="*/ 12329 w 12329"/>
                      <a:gd name="connsiteY2" fmla="*/ 23664 h 23663"/>
                      <a:gd name="connsiteX3" fmla="*/ 0 w 12329"/>
                      <a:gd name="connsiteY3" fmla="*/ 23664 h 23663"/>
                    </a:gdLst>
                    <a:ahLst/>
                    <a:cxnLst>
                      <a:cxn ang="0">
                        <a:pos x="connsiteX0" y="connsiteY0"/>
                      </a:cxn>
                      <a:cxn ang="0">
                        <a:pos x="connsiteX1" y="connsiteY1"/>
                      </a:cxn>
                      <a:cxn ang="0">
                        <a:pos x="connsiteX2" y="connsiteY2"/>
                      </a:cxn>
                      <a:cxn ang="0">
                        <a:pos x="connsiteX3" y="connsiteY3"/>
                      </a:cxn>
                    </a:cxnLst>
                    <a:rect l="l" t="t" r="r" b="b"/>
                    <a:pathLst>
                      <a:path w="12329" h="23663">
                        <a:moveTo>
                          <a:pt x="0" y="0"/>
                        </a:moveTo>
                        <a:lnTo>
                          <a:pt x="12329" y="0"/>
                        </a:lnTo>
                        <a:lnTo>
                          <a:pt x="12329" y="23664"/>
                        </a:lnTo>
                        <a:lnTo>
                          <a:pt x="0" y="23664"/>
                        </a:lnTo>
                        <a:close/>
                      </a:path>
                    </a:pathLst>
                  </a:custGeom>
                  <a:solidFill>
                    <a:schemeClr val="tx2"/>
                  </a:solidFill>
                  <a:ln w="1228" cap="flat">
                    <a:noFill/>
                    <a:prstDash val="solid"/>
                    <a:miter/>
                  </a:ln>
                </p:spPr>
                <p:txBody>
                  <a:bodyPr rtlCol="0" anchor="ctr"/>
                  <a:lstStyle/>
                  <a:p>
                    <a:endParaRPr lang="en-GB" dirty="0"/>
                  </a:p>
                </p:txBody>
              </p:sp>
              <p:sp>
                <p:nvSpPr>
                  <p:cNvPr id="401" name="Freihandform: Form 391">
                    <a:extLst>
                      <a:ext uri="{FF2B5EF4-FFF2-40B4-BE49-F238E27FC236}">
                        <a16:creationId xmlns:a16="http://schemas.microsoft.com/office/drawing/2014/main" id="{2DB12F9F-500E-4E38-8D44-66D70AF7DCCB}"/>
                      </a:ext>
                    </a:extLst>
                  </p:cNvPr>
                  <p:cNvSpPr/>
                  <p:nvPr/>
                </p:nvSpPr>
                <p:spPr>
                  <a:xfrm>
                    <a:off x="739408" y="2794495"/>
                    <a:ext cx="12329" cy="23663"/>
                  </a:xfrm>
                  <a:custGeom>
                    <a:avLst/>
                    <a:gdLst>
                      <a:gd name="connsiteX0" fmla="*/ 0 w 12329"/>
                      <a:gd name="connsiteY0" fmla="*/ 0 h 23663"/>
                      <a:gd name="connsiteX1" fmla="*/ 12329 w 12329"/>
                      <a:gd name="connsiteY1" fmla="*/ 0 h 23663"/>
                      <a:gd name="connsiteX2" fmla="*/ 12329 w 12329"/>
                      <a:gd name="connsiteY2" fmla="*/ 23664 h 23663"/>
                      <a:gd name="connsiteX3" fmla="*/ 0 w 12329"/>
                      <a:gd name="connsiteY3" fmla="*/ 23664 h 23663"/>
                    </a:gdLst>
                    <a:ahLst/>
                    <a:cxnLst>
                      <a:cxn ang="0">
                        <a:pos x="connsiteX0" y="connsiteY0"/>
                      </a:cxn>
                      <a:cxn ang="0">
                        <a:pos x="connsiteX1" y="connsiteY1"/>
                      </a:cxn>
                      <a:cxn ang="0">
                        <a:pos x="connsiteX2" y="connsiteY2"/>
                      </a:cxn>
                      <a:cxn ang="0">
                        <a:pos x="connsiteX3" y="connsiteY3"/>
                      </a:cxn>
                    </a:cxnLst>
                    <a:rect l="l" t="t" r="r" b="b"/>
                    <a:pathLst>
                      <a:path w="12329" h="23663">
                        <a:moveTo>
                          <a:pt x="0" y="0"/>
                        </a:moveTo>
                        <a:lnTo>
                          <a:pt x="12329" y="0"/>
                        </a:lnTo>
                        <a:lnTo>
                          <a:pt x="12329" y="23664"/>
                        </a:lnTo>
                        <a:lnTo>
                          <a:pt x="0" y="23664"/>
                        </a:lnTo>
                        <a:close/>
                      </a:path>
                    </a:pathLst>
                  </a:custGeom>
                  <a:solidFill>
                    <a:schemeClr val="tx2"/>
                  </a:solidFill>
                  <a:ln w="1228" cap="flat">
                    <a:noFill/>
                    <a:prstDash val="solid"/>
                    <a:miter/>
                  </a:ln>
                </p:spPr>
                <p:txBody>
                  <a:bodyPr rtlCol="0" anchor="ctr"/>
                  <a:lstStyle/>
                  <a:p>
                    <a:endParaRPr lang="en-GB" dirty="0"/>
                  </a:p>
                </p:txBody>
              </p:sp>
              <p:sp>
                <p:nvSpPr>
                  <p:cNvPr id="402" name="Freihandform: Form 392">
                    <a:extLst>
                      <a:ext uri="{FF2B5EF4-FFF2-40B4-BE49-F238E27FC236}">
                        <a16:creationId xmlns:a16="http://schemas.microsoft.com/office/drawing/2014/main" id="{DDC50EE0-8756-4D81-B903-BB9560EAC7E7}"/>
                      </a:ext>
                    </a:extLst>
                  </p:cNvPr>
                  <p:cNvSpPr/>
                  <p:nvPr/>
                </p:nvSpPr>
                <p:spPr>
                  <a:xfrm>
                    <a:off x="720558" y="2808998"/>
                    <a:ext cx="203050" cy="99787"/>
                  </a:xfrm>
                  <a:custGeom>
                    <a:avLst/>
                    <a:gdLst>
                      <a:gd name="connsiteX0" fmla="*/ 203050 w 203050"/>
                      <a:gd name="connsiteY0" fmla="*/ 99787 h 99787"/>
                      <a:gd name="connsiteX1" fmla="*/ 190721 w 203050"/>
                      <a:gd name="connsiteY1" fmla="*/ 99787 h 99787"/>
                      <a:gd name="connsiteX2" fmla="*/ 190721 w 203050"/>
                      <a:gd name="connsiteY2" fmla="*/ 91240 h 99787"/>
                      <a:gd name="connsiteX3" fmla="*/ 148736 w 203050"/>
                      <a:gd name="connsiteY3" fmla="*/ 35231 h 99787"/>
                      <a:gd name="connsiteX4" fmla="*/ 82018 w 203050"/>
                      <a:gd name="connsiteY4" fmla="*/ 16099 h 99787"/>
                      <a:gd name="connsiteX5" fmla="*/ 50913 w 203050"/>
                      <a:gd name="connsiteY5" fmla="*/ 40278 h 99787"/>
                      <a:gd name="connsiteX6" fmla="*/ 19820 w 203050"/>
                      <a:gd name="connsiteY6" fmla="*/ 16124 h 99787"/>
                      <a:gd name="connsiteX7" fmla="*/ 3426 w 203050"/>
                      <a:gd name="connsiteY7" fmla="*/ 20876 h 99787"/>
                      <a:gd name="connsiteX8" fmla="*/ 0 w 203050"/>
                      <a:gd name="connsiteY8" fmla="*/ 9038 h 99787"/>
                      <a:gd name="connsiteX9" fmla="*/ 31167 w 203050"/>
                      <a:gd name="connsiteY9" fmla="*/ 0 h 99787"/>
                      <a:gd name="connsiteX10" fmla="*/ 31167 w 203050"/>
                      <a:gd name="connsiteY10" fmla="*/ 8203 h 99787"/>
                      <a:gd name="connsiteX11" fmla="*/ 50913 w 203050"/>
                      <a:gd name="connsiteY11" fmla="*/ 27949 h 99787"/>
                      <a:gd name="connsiteX12" fmla="*/ 70659 w 203050"/>
                      <a:gd name="connsiteY12" fmla="*/ 8203 h 99787"/>
                      <a:gd name="connsiteX13" fmla="*/ 70659 w 203050"/>
                      <a:gd name="connsiteY13" fmla="*/ 25 h 99787"/>
                      <a:gd name="connsiteX14" fmla="*/ 152125 w 203050"/>
                      <a:gd name="connsiteY14" fmla="*/ 23393 h 99787"/>
                      <a:gd name="connsiteX15" fmla="*/ 203050 w 203050"/>
                      <a:gd name="connsiteY15" fmla="*/ 90970 h 99787"/>
                      <a:gd name="connsiteX16" fmla="*/ 203050 w 203050"/>
                      <a:gd name="connsiteY16" fmla="*/ 99787 h 9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3050" h="99787">
                        <a:moveTo>
                          <a:pt x="203050" y="99787"/>
                        </a:moveTo>
                        <a:lnTo>
                          <a:pt x="190721" y="99787"/>
                        </a:lnTo>
                        <a:lnTo>
                          <a:pt x="190721" y="91240"/>
                        </a:lnTo>
                        <a:cubicBezTo>
                          <a:pt x="190721" y="65231"/>
                          <a:pt x="173455" y="42329"/>
                          <a:pt x="148736" y="35231"/>
                        </a:cubicBezTo>
                        <a:lnTo>
                          <a:pt x="82018" y="16099"/>
                        </a:lnTo>
                        <a:cubicBezTo>
                          <a:pt x="78494" y="29988"/>
                          <a:pt x="65882" y="40278"/>
                          <a:pt x="50913" y="40278"/>
                        </a:cubicBezTo>
                        <a:cubicBezTo>
                          <a:pt x="35956" y="40278"/>
                          <a:pt x="23357" y="29988"/>
                          <a:pt x="19820" y="16124"/>
                        </a:cubicBezTo>
                        <a:lnTo>
                          <a:pt x="3426" y="20876"/>
                        </a:lnTo>
                        <a:lnTo>
                          <a:pt x="0" y="9038"/>
                        </a:lnTo>
                        <a:lnTo>
                          <a:pt x="31167" y="0"/>
                        </a:lnTo>
                        <a:lnTo>
                          <a:pt x="31167" y="8203"/>
                        </a:lnTo>
                        <a:cubicBezTo>
                          <a:pt x="31167" y="19095"/>
                          <a:pt x="40021" y="27949"/>
                          <a:pt x="50913" y="27949"/>
                        </a:cubicBezTo>
                        <a:cubicBezTo>
                          <a:pt x="61805" y="27949"/>
                          <a:pt x="70659" y="19095"/>
                          <a:pt x="70659" y="8203"/>
                        </a:cubicBezTo>
                        <a:lnTo>
                          <a:pt x="70659" y="25"/>
                        </a:lnTo>
                        <a:lnTo>
                          <a:pt x="152125" y="23393"/>
                        </a:lnTo>
                        <a:cubicBezTo>
                          <a:pt x="182100" y="31989"/>
                          <a:pt x="203050" y="59779"/>
                          <a:pt x="203050" y="90970"/>
                        </a:cubicBezTo>
                        <a:lnTo>
                          <a:pt x="203050" y="99787"/>
                        </a:lnTo>
                        <a:close/>
                      </a:path>
                    </a:pathLst>
                  </a:custGeom>
                  <a:solidFill>
                    <a:schemeClr val="tx2"/>
                  </a:solidFill>
                  <a:ln w="1228" cap="flat">
                    <a:noFill/>
                    <a:prstDash val="solid"/>
                    <a:miter/>
                  </a:ln>
                </p:spPr>
                <p:txBody>
                  <a:bodyPr rtlCol="0" anchor="ctr"/>
                  <a:lstStyle/>
                  <a:p>
                    <a:endParaRPr lang="en-GB" dirty="0"/>
                  </a:p>
                </p:txBody>
              </p:sp>
            </p:grpSp>
            <p:sp>
              <p:nvSpPr>
                <p:cNvPr id="395" name="Freihandform: Form 393">
                  <a:extLst>
                    <a:ext uri="{FF2B5EF4-FFF2-40B4-BE49-F238E27FC236}">
                      <a16:creationId xmlns:a16="http://schemas.microsoft.com/office/drawing/2014/main" id="{D9ABE6FC-0089-400C-AF39-CC3E5FEE136F}"/>
                    </a:ext>
                  </a:extLst>
                </p:cNvPr>
                <p:cNvSpPr/>
                <p:nvPr/>
              </p:nvSpPr>
              <p:spPr>
                <a:xfrm>
                  <a:off x="862982" y="2881180"/>
                  <a:ext cx="12329" cy="27605"/>
                </a:xfrm>
                <a:custGeom>
                  <a:avLst/>
                  <a:gdLst>
                    <a:gd name="connsiteX0" fmla="*/ 0 w 12329"/>
                    <a:gd name="connsiteY0" fmla="*/ 0 h 27605"/>
                    <a:gd name="connsiteX1" fmla="*/ 12329 w 12329"/>
                    <a:gd name="connsiteY1" fmla="*/ 0 h 27605"/>
                    <a:gd name="connsiteX2" fmla="*/ 12329 w 12329"/>
                    <a:gd name="connsiteY2" fmla="*/ 27605 h 27605"/>
                    <a:gd name="connsiteX3" fmla="*/ 0 w 12329"/>
                    <a:gd name="connsiteY3" fmla="*/ 27605 h 27605"/>
                  </a:gdLst>
                  <a:ahLst/>
                  <a:cxnLst>
                    <a:cxn ang="0">
                      <a:pos x="connsiteX0" y="connsiteY0"/>
                    </a:cxn>
                    <a:cxn ang="0">
                      <a:pos x="connsiteX1" y="connsiteY1"/>
                    </a:cxn>
                    <a:cxn ang="0">
                      <a:pos x="connsiteX2" y="connsiteY2"/>
                    </a:cxn>
                    <a:cxn ang="0">
                      <a:pos x="connsiteX3" y="connsiteY3"/>
                    </a:cxn>
                  </a:cxnLst>
                  <a:rect l="l" t="t" r="r" b="b"/>
                  <a:pathLst>
                    <a:path w="12329" h="27605">
                      <a:moveTo>
                        <a:pt x="0" y="0"/>
                      </a:moveTo>
                      <a:lnTo>
                        <a:pt x="12329" y="0"/>
                      </a:lnTo>
                      <a:lnTo>
                        <a:pt x="12329" y="27605"/>
                      </a:lnTo>
                      <a:lnTo>
                        <a:pt x="0" y="27605"/>
                      </a:lnTo>
                      <a:close/>
                    </a:path>
                  </a:pathLst>
                </a:custGeom>
                <a:solidFill>
                  <a:schemeClr val="tx2"/>
                </a:solidFill>
                <a:ln w="1228" cap="flat">
                  <a:noFill/>
                  <a:prstDash val="solid"/>
                  <a:miter/>
                </a:ln>
              </p:spPr>
              <p:txBody>
                <a:bodyPr rtlCol="0" anchor="ctr"/>
                <a:lstStyle/>
                <a:p>
                  <a:endParaRPr lang="en-GB" dirty="0"/>
                </a:p>
              </p:txBody>
            </p:sp>
            <p:grpSp>
              <p:nvGrpSpPr>
                <p:cNvPr id="396" name="Grafik 11">
                  <a:extLst>
                    <a:ext uri="{FF2B5EF4-FFF2-40B4-BE49-F238E27FC236}">
                      <a16:creationId xmlns:a16="http://schemas.microsoft.com/office/drawing/2014/main" id="{C739931F-0117-48E7-A168-92DC5055D28E}"/>
                    </a:ext>
                  </a:extLst>
                </p:cNvPr>
                <p:cNvGrpSpPr/>
                <p:nvPr/>
              </p:nvGrpSpPr>
              <p:grpSpPr>
                <a:xfrm>
                  <a:off x="683485" y="2603701"/>
                  <a:ext cx="173270" cy="156557"/>
                  <a:chOff x="683485" y="2603701"/>
                  <a:chExt cx="173270" cy="156557"/>
                </a:xfrm>
                <a:solidFill>
                  <a:srgbClr val="4D4E53"/>
                </a:solidFill>
              </p:grpSpPr>
              <p:sp>
                <p:nvSpPr>
                  <p:cNvPr id="397" name="Freihandform: Form 395">
                    <a:extLst>
                      <a:ext uri="{FF2B5EF4-FFF2-40B4-BE49-F238E27FC236}">
                        <a16:creationId xmlns:a16="http://schemas.microsoft.com/office/drawing/2014/main" id="{C674BE24-E582-4204-9A82-25CD88240349}"/>
                      </a:ext>
                    </a:extLst>
                  </p:cNvPr>
                  <p:cNvSpPr/>
                  <p:nvPr/>
                </p:nvSpPr>
                <p:spPr>
                  <a:xfrm>
                    <a:off x="735073" y="2731303"/>
                    <a:ext cx="68743" cy="28956"/>
                  </a:xfrm>
                  <a:custGeom>
                    <a:avLst/>
                    <a:gdLst>
                      <a:gd name="connsiteX0" fmla="*/ 34372 w 68743"/>
                      <a:gd name="connsiteY0" fmla="*/ 28956 h 28956"/>
                      <a:gd name="connsiteX1" fmla="*/ 0 w 68743"/>
                      <a:gd name="connsiteY1" fmla="*/ 6484 h 28956"/>
                      <a:gd name="connsiteX2" fmla="*/ 10487 w 68743"/>
                      <a:gd name="connsiteY2" fmla="*/ 0 h 28956"/>
                      <a:gd name="connsiteX3" fmla="*/ 58256 w 68743"/>
                      <a:gd name="connsiteY3" fmla="*/ 0 h 28956"/>
                      <a:gd name="connsiteX4" fmla="*/ 68743 w 68743"/>
                      <a:gd name="connsiteY4" fmla="*/ 6484 h 28956"/>
                      <a:gd name="connsiteX5" fmla="*/ 34372 w 68743"/>
                      <a:gd name="connsiteY5" fmla="*/ 28956 h 28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43" h="28956">
                        <a:moveTo>
                          <a:pt x="34372" y="28956"/>
                        </a:moveTo>
                        <a:cubicBezTo>
                          <a:pt x="21146" y="28956"/>
                          <a:pt x="8940" y="20974"/>
                          <a:pt x="0" y="6484"/>
                        </a:cubicBezTo>
                        <a:lnTo>
                          <a:pt x="10487" y="0"/>
                        </a:lnTo>
                        <a:cubicBezTo>
                          <a:pt x="23725" y="21453"/>
                          <a:pt x="45031" y="21453"/>
                          <a:pt x="58256" y="0"/>
                        </a:cubicBezTo>
                        <a:lnTo>
                          <a:pt x="68743" y="6484"/>
                        </a:lnTo>
                        <a:cubicBezTo>
                          <a:pt x="59804" y="20974"/>
                          <a:pt x="47597" y="28956"/>
                          <a:pt x="34372" y="28956"/>
                        </a:cubicBezTo>
                        <a:close/>
                      </a:path>
                    </a:pathLst>
                  </a:custGeom>
                  <a:solidFill>
                    <a:schemeClr val="tx2"/>
                  </a:solidFill>
                  <a:ln w="1228" cap="flat">
                    <a:noFill/>
                    <a:prstDash val="solid"/>
                    <a:miter/>
                  </a:ln>
                </p:spPr>
                <p:txBody>
                  <a:bodyPr rtlCol="0" anchor="ctr"/>
                  <a:lstStyle/>
                  <a:p>
                    <a:endParaRPr lang="en-GB" dirty="0"/>
                  </a:p>
                </p:txBody>
              </p:sp>
              <p:sp>
                <p:nvSpPr>
                  <p:cNvPr id="398" name="Freihandform: Form 396">
                    <a:extLst>
                      <a:ext uri="{FF2B5EF4-FFF2-40B4-BE49-F238E27FC236}">
                        <a16:creationId xmlns:a16="http://schemas.microsoft.com/office/drawing/2014/main" id="{662A41C9-B86A-4B77-AE90-097FD5D1972E}"/>
                      </a:ext>
                    </a:extLst>
                  </p:cNvPr>
                  <p:cNvSpPr/>
                  <p:nvPr/>
                </p:nvSpPr>
                <p:spPr>
                  <a:xfrm>
                    <a:off x="683485" y="2603713"/>
                    <a:ext cx="173270" cy="50274"/>
                  </a:xfrm>
                  <a:custGeom>
                    <a:avLst/>
                    <a:gdLst>
                      <a:gd name="connsiteX0" fmla="*/ 173271 w 173270"/>
                      <a:gd name="connsiteY0" fmla="*/ 50274 h 50274"/>
                      <a:gd name="connsiteX1" fmla="*/ 160254 w 173270"/>
                      <a:gd name="connsiteY1" fmla="*/ 50274 h 50274"/>
                      <a:gd name="connsiteX2" fmla="*/ 130917 w 173270"/>
                      <a:gd name="connsiteY2" fmla="*/ 20937 h 50274"/>
                      <a:gd name="connsiteX3" fmla="*/ 122309 w 173270"/>
                      <a:gd name="connsiteY3" fmla="*/ 12329 h 50274"/>
                      <a:gd name="connsiteX4" fmla="*/ 50962 w 173270"/>
                      <a:gd name="connsiteY4" fmla="*/ 12329 h 50274"/>
                      <a:gd name="connsiteX5" fmla="*/ 42354 w 173270"/>
                      <a:gd name="connsiteY5" fmla="*/ 20937 h 50274"/>
                      <a:gd name="connsiteX6" fmla="*/ 13017 w 173270"/>
                      <a:gd name="connsiteY6" fmla="*/ 50274 h 50274"/>
                      <a:gd name="connsiteX7" fmla="*/ 0 w 173270"/>
                      <a:gd name="connsiteY7" fmla="*/ 50274 h 50274"/>
                      <a:gd name="connsiteX8" fmla="*/ 0 w 173270"/>
                      <a:gd name="connsiteY8" fmla="*/ 37945 h 50274"/>
                      <a:gd name="connsiteX9" fmla="*/ 13017 w 173270"/>
                      <a:gd name="connsiteY9" fmla="*/ 37945 h 50274"/>
                      <a:gd name="connsiteX10" fmla="*/ 30025 w 173270"/>
                      <a:gd name="connsiteY10" fmla="*/ 20937 h 50274"/>
                      <a:gd name="connsiteX11" fmla="*/ 50962 w 173270"/>
                      <a:gd name="connsiteY11" fmla="*/ 0 h 50274"/>
                      <a:gd name="connsiteX12" fmla="*/ 122309 w 173270"/>
                      <a:gd name="connsiteY12" fmla="*/ 0 h 50274"/>
                      <a:gd name="connsiteX13" fmla="*/ 143246 w 173270"/>
                      <a:gd name="connsiteY13" fmla="*/ 20937 h 50274"/>
                      <a:gd name="connsiteX14" fmla="*/ 160254 w 173270"/>
                      <a:gd name="connsiteY14" fmla="*/ 37945 h 50274"/>
                      <a:gd name="connsiteX15" fmla="*/ 173271 w 173270"/>
                      <a:gd name="connsiteY15" fmla="*/ 37945 h 50274"/>
                      <a:gd name="connsiteX16" fmla="*/ 173271 w 173270"/>
                      <a:gd name="connsiteY16" fmla="*/ 50274 h 5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3270" h="50274">
                        <a:moveTo>
                          <a:pt x="173271" y="50274"/>
                        </a:moveTo>
                        <a:lnTo>
                          <a:pt x="160254" y="50274"/>
                        </a:lnTo>
                        <a:cubicBezTo>
                          <a:pt x="144069" y="50274"/>
                          <a:pt x="130917" y="37110"/>
                          <a:pt x="130917" y="20937"/>
                        </a:cubicBezTo>
                        <a:cubicBezTo>
                          <a:pt x="130917" y="16197"/>
                          <a:pt x="127061" y="12329"/>
                          <a:pt x="122309" y="12329"/>
                        </a:cubicBezTo>
                        <a:lnTo>
                          <a:pt x="50962" y="12329"/>
                        </a:lnTo>
                        <a:cubicBezTo>
                          <a:pt x="46210" y="12329"/>
                          <a:pt x="42354" y="16197"/>
                          <a:pt x="42354" y="20937"/>
                        </a:cubicBezTo>
                        <a:cubicBezTo>
                          <a:pt x="42354" y="37123"/>
                          <a:pt x="29190" y="50274"/>
                          <a:pt x="13017" y="50274"/>
                        </a:cubicBezTo>
                        <a:lnTo>
                          <a:pt x="0" y="50274"/>
                        </a:lnTo>
                        <a:lnTo>
                          <a:pt x="0" y="37945"/>
                        </a:lnTo>
                        <a:lnTo>
                          <a:pt x="13017" y="37945"/>
                        </a:lnTo>
                        <a:cubicBezTo>
                          <a:pt x="22399" y="37945"/>
                          <a:pt x="30025" y="30319"/>
                          <a:pt x="30025" y="20937"/>
                        </a:cubicBezTo>
                        <a:cubicBezTo>
                          <a:pt x="30025" y="9382"/>
                          <a:pt x="39419" y="0"/>
                          <a:pt x="50962" y="0"/>
                        </a:cubicBezTo>
                        <a:lnTo>
                          <a:pt x="122309" y="0"/>
                        </a:lnTo>
                        <a:cubicBezTo>
                          <a:pt x="133852" y="0"/>
                          <a:pt x="143246" y="9394"/>
                          <a:pt x="143246" y="20937"/>
                        </a:cubicBezTo>
                        <a:cubicBezTo>
                          <a:pt x="143246" y="30319"/>
                          <a:pt x="150872" y="37945"/>
                          <a:pt x="160254" y="37945"/>
                        </a:cubicBezTo>
                        <a:lnTo>
                          <a:pt x="173271" y="37945"/>
                        </a:lnTo>
                        <a:lnTo>
                          <a:pt x="173271" y="50274"/>
                        </a:lnTo>
                        <a:close/>
                      </a:path>
                    </a:pathLst>
                  </a:custGeom>
                  <a:solidFill>
                    <a:schemeClr val="tx2"/>
                  </a:solidFill>
                  <a:ln w="1228" cap="flat">
                    <a:noFill/>
                    <a:prstDash val="solid"/>
                    <a:miter/>
                  </a:ln>
                </p:spPr>
                <p:txBody>
                  <a:bodyPr rtlCol="0" anchor="ctr"/>
                  <a:lstStyle/>
                  <a:p>
                    <a:endParaRPr lang="en-GB" dirty="0"/>
                  </a:p>
                </p:txBody>
              </p:sp>
              <p:sp>
                <p:nvSpPr>
                  <p:cNvPr id="399" name="Freihandform: Form 397">
                    <a:extLst>
                      <a:ext uri="{FF2B5EF4-FFF2-40B4-BE49-F238E27FC236}">
                        <a16:creationId xmlns:a16="http://schemas.microsoft.com/office/drawing/2014/main" id="{7C6C6479-3F58-47AD-905D-DC4AFC863487}"/>
                      </a:ext>
                    </a:extLst>
                  </p:cNvPr>
                  <p:cNvSpPr/>
                  <p:nvPr/>
                </p:nvSpPr>
                <p:spPr>
                  <a:xfrm>
                    <a:off x="762163" y="2603701"/>
                    <a:ext cx="17965" cy="12329"/>
                  </a:xfrm>
                  <a:custGeom>
                    <a:avLst/>
                    <a:gdLst>
                      <a:gd name="connsiteX0" fmla="*/ 0 w 17965"/>
                      <a:gd name="connsiteY0" fmla="*/ 0 h 12329"/>
                      <a:gd name="connsiteX1" fmla="*/ 17966 w 17965"/>
                      <a:gd name="connsiteY1" fmla="*/ 0 h 12329"/>
                      <a:gd name="connsiteX2" fmla="*/ 17966 w 17965"/>
                      <a:gd name="connsiteY2" fmla="*/ 12329 h 12329"/>
                      <a:gd name="connsiteX3" fmla="*/ 0 w 17965"/>
                      <a:gd name="connsiteY3" fmla="*/ 12329 h 12329"/>
                    </a:gdLst>
                    <a:ahLst/>
                    <a:cxnLst>
                      <a:cxn ang="0">
                        <a:pos x="connsiteX0" y="connsiteY0"/>
                      </a:cxn>
                      <a:cxn ang="0">
                        <a:pos x="connsiteX1" y="connsiteY1"/>
                      </a:cxn>
                      <a:cxn ang="0">
                        <a:pos x="connsiteX2" y="connsiteY2"/>
                      </a:cxn>
                      <a:cxn ang="0">
                        <a:pos x="connsiteX3" y="connsiteY3"/>
                      </a:cxn>
                    </a:cxnLst>
                    <a:rect l="l" t="t" r="r" b="b"/>
                    <a:pathLst>
                      <a:path w="17965" h="12329">
                        <a:moveTo>
                          <a:pt x="0" y="0"/>
                        </a:moveTo>
                        <a:lnTo>
                          <a:pt x="17966" y="0"/>
                        </a:lnTo>
                        <a:lnTo>
                          <a:pt x="17966" y="12329"/>
                        </a:lnTo>
                        <a:lnTo>
                          <a:pt x="0" y="12329"/>
                        </a:lnTo>
                        <a:close/>
                      </a:path>
                    </a:pathLst>
                  </a:custGeom>
                  <a:solidFill>
                    <a:schemeClr val="tx2"/>
                  </a:solidFill>
                  <a:ln w="1228" cap="flat">
                    <a:noFill/>
                    <a:prstDash val="solid"/>
                    <a:miter/>
                  </a:ln>
                </p:spPr>
                <p:txBody>
                  <a:bodyPr rtlCol="0" anchor="ctr"/>
                  <a:lstStyle/>
                  <a:p>
                    <a:endParaRPr lang="en-GB" dirty="0"/>
                  </a:p>
                </p:txBody>
              </p:sp>
            </p:grpSp>
          </p:grpSp>
        </p:grpSp>
        <p:sp>
          <p:nvSpPr>
            <p:cNvPr id="389" name="Freihandform: Form 398">
              <a:extLst>
                <a:ext uri="{FF2B5EF4-FFF2-40B4-BE49-F238E27FC236}">
                  <a16:creationId xmlns:a16="http://schemas.microsoft.com/office/drawing/2014/main" id="{D3993D4C-5032-4219-8943-6DF947239063}"/>
                </a:ext>
              </a:extLst>
            </p:cNvPr>
            <p:cNvSpPr/>
            <p:nvPr/>
          </p:nvSpPr>
          <p:spPr>
            <a:xfrm>
              <a:off x="730309" y="2674827"/>
              <a:ext cx="16602" cy="16602"/>
            </a:xfrm>
            <a:custGeom>
              <a:avLst/>
              <a:gdLst>
                <a:gd name="connsiteX0" fmla="*/ 16603 w 16602"/>
                <a:gd name="connsiteY0" fmla="*/ 8301 h 16602"/>
                <a:gd name="connsiteX1" fmla="*/ 8301 w 16602"/>
                <a:gd name="connsiteY1" fmla="*/ 16603 h 16602"/>
                <a:gd name="connsiteX2" fmla="*/ 0 w 16602"/>
                <a:gd name="connsiteY2" fmla="*/ 8301 h 16602"/>
                <a:gd name="connsiteX3" fmla="*/ 8301 w 16602"/>
                <a:gd name="connsiteY3" fmla="*/ 0 h 16602"/>
                <a:gd name="connsiteX4" fmla="*/ 16603 w 16602"/>
                <a:gd name="connsiteY4" fmla="*/ 8301 h 1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2" h="16602">
                  <a:moveTo>
                    <a:pt x="16603" y="8301"/>
                  </a:moveTo>
                  <a:cubicBezTo>
                    <a:pt x="16603" y="12886"/>
                    <a:pt x="12886" y="16603"/>
                    <a:pt x="8301" y="16603"/>
                  </a:cubicBezTo>
                  <a:cubicBezTo>
                    <a:pt x="3717" y="16603"/>
                    <a:pt x="0" y="12886"/>
                    <a:pt x="0" y="8301"/>
                  </a:cubicBezTo>
                  <a:cubicBezTo>
                    <a:pt x="0" y="3717"/>
                    <a:pt x="3717" y="0"/>
                    <a:pt x="8301" y="0"/>
                  </a:cubicBezTo>
                  <a:cubicBezTo>
                    <a:pt x="12886" y="0"/>
                    <a:pt x="16603" y="3717"/>
                    <a:pt x="16603" y="8301"/>
                  </a:cubicBezTo>
                  <a:close/>
                </a:path>
              </a:pathLst>
            </a:custGeom>
            <a:solidFill>
              <a:schemeClr val="tx2"/>
            </a:solidFill>
            <a:ln w="1228" cap="flat">
              <a:noFill/>
              <a:prstDash val="solid"/>
              <a:miter/>
            </a:ln>
          </p:spPr>
          <p:txBody>
            <a:bodyPr rtlCol="0" anchor="ctr"/>
            <a:lstStyle/>
            <a:p>
              <a:endParaRPr lang="en-GB" dirty="0"/>
            </a:p>
          </p:txBody>
        </p:sp>
        <p:sp>
          <p:nvSpPr>
            <p:cNvPr id="390" name="Freihandform: Form 399">
              <a:extLst>
                <a:ext uri="{FF2B5EF4-FFF2-40B4-BE49-F238E27FC236}">
                  <a16:creationId xmlns:a16="http://schemas.microsoft.com/office/drawing/2014/main" id="{63BFB91B-BA40-47CD-BAB5-C14A60A7E839}"/>
                </a:ext>
              </a:extLst>
            </p:cNvPr>
            <p:cNvSpPr/>
            <p:nvPr/>
          </p:nvSpPr>
          <p:spPr>
            <a:xfrm>
              <a:off x="793145" y="2674827"/>
              <a:ext cx="16602" cy="16602"/>
            </a:xfrm>
            <a:custGeom>
              <a:avLst/>
              <a:gdLst>
                <a:gd name="connsiteX0" fmla="*/ 16603 w 16602"/>
                <a:gd name="connsiteY0" fmla="*/ 8301 h 16602"/>
                <a:gd name="connsiteX1" fmla="*/ 8301 w 16602"/>
                <a:gd name="connsiteY1" fmla="*/ 16603 h 16602"/>
                <a:gd name="connsiteX2" fmla="*/ 0 w 16602"/>
                <a:gd name="connsiteY2" fmla="*/ 8301 h 16602"/>
                <a:gd name="connsiteX3" fmla="*/ 8301 w 16602"/>
                <a:gd name="connsiteY3" fmla="*/ 0 h 16602"/>
                <a:gd name="connsiteX4" fmla="*/ 16603 w 16602"/>
                <a:gd name="connsiteY4" fmla="*/ 8301 h 16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602" h="16602">
                  <a:moveTo>
                    <a:pt x="16603" y="8301"/>
                  </a:moveTo>
                  <a:cubicBezTo>
                    <a:pt x="16603" y="12882"/>
                    <a:pt x="12882" y="16603"/>
                    <a:pt x="8301" y="16603"/>
                  </a:cubicBezTo>
                  <a:cubicBezTo>
                    <a:pt x="3721" y="16603"/>
                    <a:pt x="0" y="12882"/>
                    <a:pt x="0" y="8301"/>
                  </a:cubicBezTo>
                  <a:cubicBezTo>
                    <a:pt x="0" y="3721"/>
                    <a:pt x="3721" y="0"/>
                    <a:pt x="8301" y="0"/>
                  </a:cubicBezTo>
                  <a:cubicBezTo>
                    <a:pt x="12882" y="0"/>
                    <a:pt x="16603" y="3721"/>
                    <a:pt x="16603" y="8301"/>
                  </a:cubicBezTo>
                  <a:close/>
                </a:path>
              </a:pathLst>
            </a:custGeom>
            <a:solidFill>
              <a:schemeClr val="tx2"/>
            </a:solidFill>
            <a:ln w="1228" cap="flat">
              <a:noFill/>
              <a:prstDash val="solid"/>
              <a:miter/>
            </a:ln>
          </p:spPr>
          <p:txBody>
            <a:bodyPr rtlCol="0" anchor="ctr"/>
            <a:lstStyle/>
            <a:p>
              <a:endParaRPr lang="en-GB" dirty="0"/>
            </a:p>
          </p:txBody>
        </p:sp>
      </p:grpSp>
      <p:sp>
        <p:nvSpPr>
          <p:cNvPr id="415" name="TextBox 414">
            <a:extLst>
              <a:ext uri="{FF2B5EF4-FFF2-40B4-BE49-F238E27FC236}">
                <a16:creationId xmlns:a16="http://schemas.microsoft.com/office/drawing/2014/main" id="{75370868-3348-4CBE-B90A-922C26D3EEED}"/>
              </a:ext>
            </a:extLst>
          </p:cNvPr>
          <p:cNvSpPr txBox="1"/>
          <p:nvPr/>
        </p:nvSpPr>
        <p:spPr>
          <a:xfrm>
            <a:off x="540792" y="2077494"/>
            <a:ext cx="315792" cy="107722"/>
          </a:xfrm>
          <a:prstGeom prst="rect">
            <a:avLst/>
          </a:prstGeom>
          <a:noFill/>
          <a:effectLst/>
        </p:spPr>
        <p:txBody>
          <a:bodyPr wrap="none" lIns="0" tIns="0" rIns="0" bIns="0" rtlCol="0" anchor="t">
            <a:spAutoFit/>
          </a:bodyPr>
          <a:lstStyle/>
          <a:p>
            <a:pPr algn="ctr"/>
            <a:r>
              <a:rPr lang="en-GB" sz="700" dirty="0">
                <a:solidFill>
                  <a:schemeClr val="tx2"/>
                </a:solidFill>
              </a:rPr>
              <a:t>Building</a:t>
            </a:r>
          </a:p>
        </p:txBody>
      </p:sp>
      <p:sp>
        <p:nvSpPr>
          <p:cNvPr id="416" name="TextBox 415">
            <a:extLst>
              <a:ext uri="{FF2B5EF4-FFF2-40B4-BE49-F238E27FC236}">
                <a16:creationId xmlns:a16="http://schemas.microsoft.com/office/drawing/2014/main" id="{875518A3-608D-4F1B-AB9D-7FF0622AE102}"/>
              </a:ext>
            </a:extLst>
          </p:cNvPr>
          <p:cNvSpPr txBox="1"/>
          <p:nvPr/>
        </p:nvSpPr>
        <p:spPr>
          <a:xfrm>
            <a:off x="503924" y="2899619"/>
            <a:ext cx="389530" cy="107722"/>
          </a:xfrm>
          <a:prstGeom prst="rect">
            <a:avLst/>
          </a:prstGeom>
          <a:noFill/>
          <a:effectLst/>
        </p:spPr>
        <p:txBody>
          <a:bodyPr wrap="none" lIns="0" tIns="0" rIns="0" bIns="0" rtlCol="0" anchor="t">
            <a:spAutoFit/>
          </a:bodyPr>
          <a:lstStyle/>
          <a:p>
            <a:pPr algn="ctr"/>
            <a:r>
              <a:rPr lang="en-GB" sz="700" dirty="0">
                <a:solidFill>
                  <a:schemeClr val="tx2"/>
                </a:solidFill>
              </a:rPr>
              <a:t>Life cover</a:t>
            </a:r>
          </a:p>
        </p:txBody>
      </p:sp>
      <p:sp>
        <p:nvSpPr>
          <p:cNvPr id="417" name="TextBox 416">
            <a:extLst>
              <a:ext uri="{FF2B5EF4-FFF2-40B4-BE49-F238E27FC236}">
                <a16:creationId xmlns:a16="http://schemas.microsoft.com/office/drawing/2014/main" id="{F4754D2C-1AD8-45AB-BBD1-1BFF4D1D271D}"/>
              </a:ext>
            </a:extLst>
          </p:cNvPr>
          <p:cNvSpPr txBox="1"/>
          <p:nvPr/>
        </p:nvSpPr>
        <p:spPr>
          <a:xfrm>
            <a:off x="535985" y="3723675"/>
            <a:ext cx="325409" cy="215444"/>
          </a:xfrm>
          <a:prstGeom prst="rect">
            <a:avLst/>
          </a:prstGeom>
          <a:noFill/>
          <a:effectLst/>
        </p:spPr>
        <p:txBody>
          <a:bodyPr wrap="none" lIns="0" tIns="0" rIns="0" bIns="0" rtlCol="0" anchor="t">
            <a:spAutoFit/>
          </a:bodyPr>
          <a:lstStyle/>
          <a:p>
            <a:pPr algn="ctr"/>
            <a:r>
              <a:rPr lang="en-GB" sz="700" dirty="0">
                <a:solidFill>
                  <a:schemeClr val="tx2"/>
                </a:solidFill>
              </a:rPr>
              <a:t>Insured </a:t>
            </a:r>
            <a:br>
              <a:rPr lang="en-GB" sz="700" dirty="0">
                <a:solidFill>
                  <a:schemeClr val="tx2"/>
                </a:solidFill>
              </a:rPr>
            </a:br>
            <a:r>
              <a:rPr lang="en-GB" sz="700" dirty="0">
                <a:solidFill>
                  <a:schemeClr val="tx2"/>
                </a:solidFill>
              </a:rPr>
              <a:t>income</a:t>
            </a:r>
          </a:p>
        </p:txBody>
      </p:sp>
      <p:sp>
        <p:nvSpPr>
          <p:cNvPr id="418" name="TextBox 417">
            <a:extLst>
              <a:ext uri="{FF2B5EF4-FFF2-40B4-BE49-F238E27FC236}">
                <a16:creationId xmlns:a16="http://schemas.microsoft.com/office/drawing/2014/main" id="{D85E36EF-D45C-404E-86D0-3F597DD3C33B}"/>
              </a:ext>
            </a:extLst>
          </p:cNvPr>
          <p:cNvSpPr txBox="1"/>
          <p:nvPr/>
        </p:nvSpPr>
        <p:spPr>
          <a:xfrm>
            <a:off x="484687" y="4547732"/>
            <a:ext cx="428002" cy="107722"/>
          </a:xfrm>
          <a:prstGeom prst="rect">
            <a:avLst/>
          </a:prstGeom>
          <a:noFill/>
          <a:effectLst/>
        </p:spPr>
        <p:txBody>
          <a:bodyPr wrap="none" lIns="0" tIns="0" rIns="0" bIns="0" rtlCol="0" anchor="t">
            <a:spAutoFit/>
          </a:bodyPr>
          <a:lstStyle/>
          <a:p>
            <a:pPr algn="ctr"/>
            <a:r>
              <a:rPr lang="en-GB" sz="700" dirty="0">
                <a:solidFill>
                  <a:schemeClr val="tx2"/>
                </a:solidFill>
              </a:rPr>
              <a:t>Pregnancy</a:t>
            </a:r>
          </a:p>
        </p:txBody>
      </p:sp>
      <p:sp>
        <p:nvSpPr>
          <p:cNvPr id="419" name="TextBox 418">
            <a:extLst>
              <a:ext uri="{FF2B5EF4-FFF2-40B4-BE49-F238E27FC236}">
                <a16:creationId xmlns:a16="http://schemas.microsoft.com/office/drawing/2014/main" id="{CB5FAFFF-95B6-4753-9CE6-9B3607DE9477}"/>
              </a:ext>
            </a:extLst>
          </p:cNvPr>
          <p:cNvSpPr txBox="1"/>
          <p:nvPr/>
        </p:nvSpPr>
        <p:spPr>
          <a:xfrm>
            <a:off x="1224912" y="2077494"/>
            <a:ext cx="609141" cy="107722"/>
          </a:xfrm>
          <a:prstGeom prst="rect">
            <a:avLst/>
          </a:prstGeom>
          <a:noFill/>
          <a:effectLst/>
        </p:spPr>
        <p:txBody>
          <a:bodyPr wrap="none" lIns="0" tIns="0" rIns="0" bIns="0" rtlCol="0" anchor="t">
            <a:spAutoFit/>
          </a:bodyPr>
          <a:lstStyle/>
          <a:p>
            <a:pPr algn="ctr"/>
            <a:r>
              <a:rPr lang="en-GB" sz="700" dirty="0">
                <a:solidFill>
                  <a:schemeClr val="tx2"/>
                </a:solidFill>
              </a:rPr>
              <a:t>Insurance case</a:t>
            </a:r>
          </a:p>
        </p:txBody>
      </p:sp>
      <p:sp>
        <p:nvSpPr>
          <p:cNvPr id="420" name="TextBox 419">
            <a:extLst>
              <a:ext uri="{FF2B5EF4-FFF2-40B4-BE49-F238E27FC236}">
                <a16:creationId xmlns:a16="http://schemas.microsoft.com/office/drawing/2014/main" id="{1013D612-2221-48AB-95F6-0088FCC19DA3}"/>
              </a:ext>
            </a:extLst>
          </p:cNvPr>
          <p:cNvSpPr txBox="1"/>
          <p:nvPr/>
        </p:nvSpPr>
        <p:spPr>
          <a:xfrm>
            <a:off x="1352350" y="2899619"/>
            <a:ext cx="354264" cy="107722"/>
          </a:xfrm>
          <a:prstGeom prst="rect">
            <a:avLst/>
          </a:prstGeom>
          <a:noFill/>
          <a:effectLst/>
        </p:spPr>
        <p:txBody>
          <a:bodyPr wrap="none" lIns="0" tIns="0" rIns="0" bIns="0" rtlCol="0" anchor="t">
            <a:spAutoFit/>
          </a:bodyPr>
          <a:lstStyle/>
          <a:p>
            <a:pPr algn="ctr"/>
            <a:r>
              <a:rPr lang="en-GB" sz="700" dirty="0">
                <a:solidFill>
                  <a:schemeClr val="tx2"/>
                </a:solidFill>
              </a:rPr>
              <a:t>Air travel</a:t>
            </a:r>
          </a:p>
        </p:txBody>
      </p:sp>
      <p:sp>
        <p:nvSpPr>
          <p:cNvPr id="421" name="TextBox 420">
            <a:extLst>
              <a:ext uri="{FF2B5EF4-FFF2-40B4-BE49-F238E27FC236}">
                <a16:creationId xmlns:a16="http://schemas.microsoft.com/office/drawing/2014/main" id="{81A88B2B-7547-4718-868C-E9761194FC48}"/>
              </a:ext>
            </a:extLst>
          </p:cNvPr>
          <p:cNvSpPr txBox="1"/>
          <p:nvPr/>
        </p:nvSpPr>
        <p:spPr>
          <a:xfrm>
            <a:off x="1316283" y="3723675"/>
            <a:ext cx="426400" cy="215444"/>
          </a:xfrm>
          <a:prstGeom prst="rect">
            <a:avLst/>
          </a:prstGeom>
          <a:noFill/>
          <a:effectLst/>
        </p:spPr>
        <p:txBody>
          <a:bodyPr wrap="none" lIns="0" tIns="0" rIns="0" bIns="0" rtlCol="0" anchor="t">
            <a:spAutoFit/>
          </a:bodyPr>
          <a:lstStyle/>
          <a:p>
            <a:pPr algn="ctr"/>
            <a:r>
              <a:rPr lang="en-GB" sz="700" dirty="0">
                <a:solidFill>
                  <a:schemeClr val="tx2"/>
                </a:solidFill>
              </a:rPr>
              <a:t>Insurance</a:t>
            </a:r>
            <a:br>
              <a:rPr lang="en-GB" sz="700" dirty="0">
                <a:solidFill>
                  <a:schemeClr val="tx2"/>
                </a:solidFill>
              </a:rPr>
            </a:br>
            <a:r>
              <a:rPr lang="en-GB" sz="700" dirty="0">
                <a:solidFill>
                  <a:schemeClr val="tx2"/>
                </a:solidFill>
              </a:rPr>
              <a:t>knowledge</a:t>
            </a:r>
          </a:p>
        </p:txBody>
      </p:sp>
      <p:sp>
        <p:nvSpPr>
          <p:cNvPr id="422" name="TextBox 421">
            <a:extLst>
              <a:ext uri="{FF2B5EF4-FFF2-40B4-BE49-F238E27FC236}">
                <a16:creationId xmlns:a16="http://schemas.microsoft.com/office/drawing/2014/main" id="{BF6680C6-2DBE-4829-9608-D3C6BF539C8B}"/>
              </a:ext>
            </a:extLst>
          </p:cNvPr>
          <p:cNvSpPr txBox="1"/>
          <p:nvPr/>
        </p:nvSpPr>
        <p:spPr>
          <a:xfrm>
            <a:off x="1335522" y="4547732"/>
            <a:ext cx="387927" cy="215444"/>
          </a:xfrm>
          <a:prstGeom prst="rect">
            <a:avLst/>
          </a:prstGeom>
          <a:noFill/>
          <a:effectLst/>
        </p:spPr>
        <p:txBody>
          <a:bodyPr wrap="none" lIns="0" tIns="0" rIns="0" bIns="0" rtlCol="0" anchor="t">
            <a:spAutoFit/>
          </a:bodyPr>
          <a:lstStyle/>
          <a:p>
            <a:pPr algn="ctr"/>
            <a:r>
              <a:rPr lang="en-GB" sz="700" dirty="0">
                <a:solidFill>
                  <a:schemeClr val="tx2"/>
                </a:solidFill>
              </a:rPr>
              <a:t>Car</a:t>
            </a:r>
            <a:br>
              <a:rPr lang="en-GB" sz="700" dirty="0">
                <a:solidFill>
                  <a:schemeClr val="tx2"/>
                </a:solidFill>
              </a:rPr>
            </a:br>
            <a:r>
              <a:rPr lang="en-GB" sz="700" dirty="0">
                <a:solidFill>
                  <a:schemeClr val="tx2"/>
                </a:solidFill>
              </a:rPr>
              <a:t>insurance</a:t>
            </a:r>
          </a:p>
        </p:txBody>
      </p:sp>
      <p:sp>
        <p:nvSpPr>
          <p:cNvPr id="423" name="TextBox 422">
            <a:extLst>
              <a:ext uri="{FF2B5EF4-FFF2-40B4-BE49-F238E27FC236}">
                <a16:creationId xmlns:a16="http://schemas.microsoft.com/office/drawing/2014/main" id="{33916591-278D-4556-A1EE-5F534B2D556F}"/>
              </a:ext>
            </a:extLst>
          </p:cNvPr>
          <p:cNvSpPr txBox="1"/>
          <p:nvPr/>
        </p:nvSpPr>
        <p:spPr>
          <a:xfrm>
            <a:off x="2211117" y="2077494"/>
            <a:ext cx="299762" cy="107722"/>
          </a:xfrm>
          <a:prstGeom prst="rect">
            <a:avLst/>
          </a:prstGeom>
          <a:noFill/>
          <a:effectLst/>
        </p:spPr>
        <p:txBody>
          <a:bodyPr wrap="none" lIns="0" tIns="0" rIns="0" bIns="0" rtlCol="0" anchor="t">
            <a:spAutoFit/>
          </a:bodyPr>
          <a:lstStyle/>
          <a:p>
            <a:pPr algn="ctr"/>
            <a:r>
              <a:rPr lang="en-GB" sz="700" dirty="0">
                <a:solidFill>
                  <a:schemeClr val="tx2"/>
                </a:solidFill>
              </a:rPr>
              <a:t>Insured</a:t>
            </a:r>
          </a:p>
        </p:txBody>
      </p:sp>
      <p:sp>
        <p:nvSpPr>
          <p:cNvPr id="424" name="TextBox 423">
            <a:extLst>
              <a:ext uri="{FF2B5EF4-FFF2-40B4-BE49-F238E27FC236}">
                <a16:creationId xmlns:a16="http://schemas.microsoft.com/office/drawing/2014/main" id="{45E839BF-FB8D-444F-952E-AE52D6AE5A92}"/>
              </a:ext>
            </a:extLst>
          </p:cNvPr>
          <p:cNvSpPr txBox="1"/>
          <p:nvPr/>
        </p:nvSpPr>
        <p:spPr>
          <a:xfrm>
            <a:off x="2163829" y="2899619"/>
            <a:ext cx="394339" cy="215444"/>
          </a:xfrm>
          <a:prstGeom prst="rect">
            <a:avLst/>
          </a:prstGeom>
          <a:noFill/>
          <a:effectLst/>
        </p:spPr>
        <p:txBody>
          <a:bodyPr wrap="none" lIns="0" tIns="0" rIns="0" bIns="0" rtlCol="0" anchor="t">
            <a:spAutoFit/>
          </a:bodyPr>
          <a:lstStyle/>
          <a:p>
            <a:pPr algn="ctr"/>
            <a:r>
              <a:rPr lang="en-GB" sz="700" dirty="0">
                <a:solidFill>
                  <a:schemeClr val="tx2"/>
                </a:solidFill>
              </a:rPr>
              <a:t>Insurance</a:t>
            </a:r>
            <a:br>
              <a:rPr lang="en-GB" sz="700" dirty="0">
                <a:solidFill>
                  <a:schemeClr val="tx2"/>
                </a:solidFill>
              </a:rPr>
            </a:br>
            <a:r>
              <a:rPr lang="en-GB" sz="700" dirty="0">
                <a:solidFill>
                  <a:schemeClr val="tx2"/>
                </a:solidFill>
              </a:rPr>
              <a:t>contract</a:t>
            </a:r>
          </a:p>
        </p:txBody>
      </p:sp>
      <p:sp>
        <p:nvSpPr>
          <p:cNvPr id="425" name="TextBox 424">
            <a:extLst>
              <a:ext uri="{FF2B5EF4-FFF2-40B4-BE49-F238E27FC236}">
                <a16:creationId xmlns:a16="http://schemas.microsoft.com/office/drawing/2014/main" id="{1D2D12E4-DC7D-489C-851A-F0C0A5C6A34C}"/>
              </a:ext>
            </a:extLst>
          </p:cNvPr>
          <p:cNvSpPr txBox="1"/>
          <p:nvPr/>
        </p:nvSpPr>
        <p:spPr>
          <a:xfrm>
            <a:off x="2251994" y="3723675"/>
            <a:ext cx="218009" cy="107722"/>
          </a:xfrm>
          <a:prstGeom prst="rect">
            <a:avLst/>
          </a:prstGeom>
          <a:noFill/>
          <a:effectLst/>
        </p:spPr>
        <p:txBody>
          <a:bodyPr wrap="none" lIns="0" tIns="0" rIns="0" bIns="0" rtlCol="0" anchor="t">
            <a:spAutoFit/>
          </a:bodyPr>
          <a:lstStyle/>
          <a:p>
            <a:pPr algn="ctr"/>
            <a:r>
              <a:rPr lang="en-GB" sz="700" dirty="0">
                <a:solidFill>
                  <a:schemeClr val="tx2"/>
                </a:solidFill>
              </a:rPr>
              <a:t>Legal</a:t>
            </a:r>
          </a:p>
        </p:txBody>
      </p:sp>
      <p:sp>
        <p:nvSpPr>
          <p:cNvPr id="426" name="TextBox 425">
            <a:extLst>
              <a:ext uri="{FF2B5EF4-FFF2-40B4-BE49-F238E27FC236}">
                <a16:creationId xmlns:a16="http://schemas.microsoft.com/office/drawing/2014/main" id="{54CA49E7-8F71-4AE3-BDFA-1D84FBAC1515}"/>
              </a:ext>
            </a:extLst>
          </p:cNvPr>
          <p:cNvSpPr txBox="1"/>
          <p:nvPr/>
        </p:nvSpPr>
        <p:spPr>
          <a:xfrm>
            <a:off x="2167033" y="4547732"/>
            <a:ext cx="387927" cy="215444"/>
          </a:xfrm>
          <a:prstGeom prst="rect">
            <a:avLst/>
          </a:prstGeom>
          <a:noFill/>
          <a:effectLst/>
        </p:spPr>
        <p:txBody>
          <a:bodyPr wrap="none" lIns="0" tIns="0" rIns="0" bIns="0" rtlCol="0" anchor="t">
            <a:spAutoFit/>
          </a:bodyPr>
          <a:lstStyle/>
          <a:p>
            <a:pPr algn="ctr"/>
            <a:r>
              <a:rPr lang="en-GB" sz="700" dirty="0">
                <a:solidFill>
                  <a:schemeClr val="tx2"/>
                </a:solidFill>
              </a:rPr>
              <a:t>Health</a:t>
            </a:r>
            <a:br>
              <a:rPr lang="en-GB" sz="700" dirty="0">
                <a:solidFill>
                  <a:schemeClr val="tx2"/>
                </a:solidFill>
              </a:rPr>
            </a:br>
            <a:r>
              <a:rPr lang="en-GB" sz="700" dirty="0">
                <a:solidFill>
                  <a:schemeClr val="tx2"/>
                </a:solidFill>
              </a:rPr>
              <a:t>insurance</a:t>
            </a:r>
          </a:p>
        </p:txBody>
      </p:sp>
      <p:sp>
        <p:nvSpPr>
          <p:cNvPr id="427" name="TextBox 426">
            <a:extLst>
              <a:ext uri="{FF2B5EF4-FFF2-40B4-BE49-F238E27FC236}">
                <a16:creationId xmlns:a16="http://schemas.microsoft.com/office/drawing/2014/main" id="{AFC73855-B841-4226-98C7-4FA39E103A2F}"/>
              </a:ext>
            </a:extLst>
          </p:cNvPr>
          <p:cNvSpPr txBox="1"/>
          <p:nvPr/>
        </p:nvSpPr>
        <p:spPr>
          <a:xfrm>
            <a:off x="2995345" y="2077494"/>
            <a:ext cx="394339" cy="107722"/>
          </a:xfrm>
          <a:prstGeom prst="rect">
            <a:avLst/>
          </a:prstGeom>
          <a:noFill/>
          <a:effectLst/>
        </p:spPr>
        <p:txBody>
          <a:bodyPr wrap="none" lIns="0" tIns="0" rIns="0" bIns="0" rtlCol="0" anchor="t">
            <a:spAutoFit/>
          </a:bodyPr>
          <a:lstStyle/>
          <a:p>
            <a:pPr algn="ctr"/>
            <a:r>
              <a:rPr lang="en-GB" sz="700" dirty="0">
                <a:solidFill>
                  <a:schemeClr val="tx2"/>
                </a:solidFill>
              </a:rPr>
              <a:t>Insurance</a:t>
            </a:r>
          </a:p>
        </p:txBody>
      </p:sp>
      <p:sp>
        <p:nvSpPr>
          <p:cNvPr id="428" name="TextBox 427">
            <a:extLst>
              <a:ext uri="{FF2B5EF4-FFF2-40B4-BE49-F238E27FC236}">
                <a16:creationId xmlns:a16="http://schemas.microsoft.com/office/drawing/2014/main" id="{BD855F14-FC02-49AC-A666-226F92E6FA83}"/>
              </a:ext>
            </a:extLst>
          </p:cNvPr>
          <p:cNvSpPr txBox="1"/>
          <p:nvPr/>
        </p:nvSpPr>
        <p:spPr>
          <a:xfrm>
            <a:off x="2846265" y="2899619"/>
            <a:ext cx="692498" cy="107722"/>
          </a:xfrm>
          <a:prstGeom prst="rect">
            <a:avLst/>
          </a:prstGeom>
          <a:noFill/>
          <a:effectLst/>
        </p:spPr>
        <p:txBody>
          <a:bodyPr wrap="none" lIns="0" tIns="0" rIns="0" bIns="0" rtlCol="0" anchor="t">
            <a:spAutoFit/>
          </a:bodyPr>
          <a:lstStyle/>
          <a:p>
            <a:pPr algn="ctr"/>
            <a:r>
              <a:rPr lang="en-GB" sz="700" dirty="0">
                <a:solidFill>
                  <a:schemeClr val="tx2"/>
                </a:solidFill>
              </a:rPr>
              <a:t>Ambulance cover</a:t>
            </a:r>
          </a:p>
        </p:txBody>
      </p:sp>
      <p:sp>
        <p:nvSpPr>
          <p:cNvPr id="429" name="TextBox 428">
            <a:extLst>
              <a:ext uri="{FF2B5EF4-FFF2-40B4-BE49-F238E27FC236}">
                <a16:creationId xmlns:a16="http://schemas.microsoft.com/office/drawing/2014/main" id="{108E9678-9693-483C-839C-C1445B2E21D3}"/>
              </a:ext>
            </a:extLst>
          </p:cNvPr>
          <p:cNvSpPr txBox="1"/>
          <p:nvPr/>
        </p:nvSpPr>
        <p:spPr>
          <a:xfrm>
            <a:off x="3019388" y="3723675"/>
            <a:ext cx="346250" cy="107722"/>
          </a:xfrm>
          <a:prstGeom prst="rect">
            <a:avLst/>
          </a:prstGeom>
          <a:noFill/>
          <a:effectLst/>
        </p:spPr>
        <p:txBody>
          <a:bodyPr wrap="none" lIns="0" tIns="0" rIns="0" bIns="0" rtlCol="0" anchor="t">
            <a:spAutoFit/>
          </a:bodyPr>
          <a:lstStyle/>
          <a:p>
            <a:pPr algn="ctr"/>
            <a:r>
              <a:rPr lang="en-GB" sz="700" dirty="0">
                <a:solidFill>
                  <a:schemeClr val="tx2"/>
                </a:solidFill>
              </a:rPr>
              <a:t>Shipping</a:t>
            </a:r>
          </a:p>
        </p:txBody>
      </p:sp>
      <p:sp>
        <p:nvSpPr>
          <p:cNvPr id="430" name="TextBox 429">
            <a:extLst>
              <a:ext uri="{FF2B5EF4-FFF2-40B4-BE49-F238E27FC236}">
                <a16:creationId xmlns:a16="http://schemas.microsoft.com/office/drawing/2014/main" id="{D27D0BDE-206B-4106-94A8-47534478F00E}"/>
              </a:ext>
            </a:extLst>
          </p:cNvPr>
          <p:cNvSpPr txBox="1"/>
          <p:nvPr/>
        </p:nvSpPr>
        <p:spPr>
          <a:xfrm>
            <a:off x="2949659" y="4547732"/>
            <a:ext cx="485710" cy="107722"/>
          </a:xfrm>
          <a:prstGeom prst="rect">
            <a:avLst/>
          </a:prstGeom>
          <a:noFill/>
          <a:effectLst/>
        </p:spPr>
        <p:txBody>
          <a:bodyPr wrap="none" lIns="0" tIns="0" rIns="0" bIns="0" rtlCol="0" anchor="t">
            <a:spAutoFit/>
          </a:bodyPr>
          <a:lstStyle/>
          <a:p>
            <a:pPr algn="ctr"/>
            <a:r>
              <a:rPr lang="en-GB" sz="700" dirty="0">
                <a:solidFill>
                  <a:schemeClr val="tx2"/>
                </a:solidFill>
              </a:rPr>
              <a:t>Investments</a:t>
            </a:r>
          </a:p>
        </p:txBody>
      </p:sp>
      <p:sp>
        <p:nvSpPr>
          <p:cNvPr id="431" name="TextBox 430">
            <a:extLst>
              <a:ext uri="{FF2B5EF4-FFF2-40B4-BE49-F238E27FC236}">
                <a16:creationId xmlns:a16="http://schemas.microsoft.com/office/drawing/2014/main" id="{46B60375-1B13-43DD-9770-ED1A48DCAB3B}"/>
              </a:ext>
            </a:extLst>
          </p:cNvPr>
          <p:cNvSpPr txBox="1"/>
          <p:nvPr/>
        </p:nvSpPr>
        <p:spPr>
          <a:xfrm>
            <a:off x="3866133" y="2077494"/>
            <a:ext cx="315792" cy="107722"/>
          </a:xfrm>
          <a:prstGeom prst="rect">
            <a:avLst/>
          </a:prstGeom>
          <a:noFill/>
          <a:effectLst/>
        </p:spPr>
        <p:txBody>
          <a:bodyPr wrap="none" lIns="0" tIns="0" rIns="0" bIns="0" rtlCol="0" anchor="t">
            <a:spAutoFit/>
          </a:bodyPr>
          <a:lstStyle/>
          <a:p>
            <a:pPr algn="ctr"/>
            <a:r>
              <a:rPr lang="en-GB" sz="700" dirty="0">
                <a:solidFill>
                  <a:schemeClr val="tx2"/>
                </a:solidFill>
              </a:rPr>
              <a:t>Building</a:t>
            </a:r>
          </a:p>
        </p:txBody>
      </p:sp>
      <p:sp>
        <p:nvSpPr>
          <p:cNvPr id="432" name="TextBox 431">
            <a:extLst>
              <a:ext uri="{FF2B5EF4-FFF2-40B4-BE49-F238E27FC236}">
                <a16:creationId xmlns:a16="http://schemas.microsoft.com/office/drawing/2014/main" id="{C7C72102-8275-46F1-98D5-A5D05C1A1BBD}"/>
              </a:ext>
            </a:extLst>
          </p:cNvPr>
          <p:cNvSpPr txBox="1"/>
          <p:nvPr/>
        </p:nvSpPr>
        <p:spPr>
          <a:xfrm>
            <a:off x="3807625" y="2899619"/>
            <a:ext cx="432811" cy="107722"/>
          </a:xfrm>
          <a:prstGeom prst="rect">
            <a:avLst/>
          </a:prstGeom>
          <a:noFill/>
          <a:effectLst/>
        </p:spPr>
        <p:txBody>
          <a:bodyPr wrap="none" lIns="0" tIns="0" rIns="0" bIns="0" rtlCol="0" anchor="t">
            <a:spAutoFit/>
          </a:bodyPr>
          <a:lstStyle/>
          <a:p>
            <a:pPr algn="ctr"/>
            <a:r>
              <a:rPr lang="en-GB" sz="700" dirty="0">
                <a:solidFill>
                  <a:schemeClr val="tx2"/>
                </a:solidFill>
              </a:rPr>
              <a:t>Assistance</a:t>
            </a:r>
          </a:p>
        </p:txBody>
      </p:sp>
      <p:sp>
        <p:nvSpPr>
          <p:cNvPr id="433" name="TextBox 432">
            <a:extLst>
              <a:ext uri="{FF2B5EF4-FFF2-40B4-BE49-F238E27FC236}">
                <a16:creationId xmlns:a16="http://schemas.microsoft.com/office/drawing/2014/main" id="{7914E2B1-AFF0-4FA2-B9F8-D478B8D2EDDC}"/>
              </a:ext>
            </a:extLst>
          </p:cNvPr>
          <p:cNvSpPr txBox="1"/>
          <p:nvPr/>
        </p:nvSpPr>
        <p:spPr>
          <a:xfrm>
            <a:off x="3904605" y="3723675"/>
            <a:ext cx="238848" cy="107722"/>
          </a:xfrm>
          <a:prstGeom prst="rect">
            <a:avLst/>
          </a:prstGeom>
          <a:noFill/>
          <a:effectLst/>
        </p:spPr>
        <p:txBody>
          <a:bodyPr wrap="none" lIns="0" tIns="0" rIns="0" bIns="0" rtlCol="0" anchor="t">
            <a:spAutoFit/>
          </a:bodyPr>
          <a:lstStyle/>
          <a:p>
            <a:pPr algn="ctr"/>
            <a:r>
              <a:rPr lang="en-GB" sz="700" dirty="0">
                <a:solidFill>
                  <a:schemeClr val="tx2"/>
                </a:solidFill>
              </a:rPr>
              <a:t>Cover</a:t>
            </a:r>
          </a:p>
        </p:txBody>
      </p:sp>
      <p:sp>
        <p:nvSpPr>
          <p:cNvPr id="434" name="TextBox 433">
            <a:extLst>
              <a:ext uri="{FF2B5EF4-FFF2-40B4-BE49-F238E27FC236}">
                <a16:creationId xmlns:a16="http://schemas.microsoft.com/office/drawing/2014/main" id="{44A4C70D-8141-49F2-88B4-F971E1214993}"/>
              </a:ext>
            </a:extLst>
          </p:cNvPr>
          <p:cNvSpPr txBox="1"/>
          <p:nvPr/>
        </p:nvSpPr>
        <p:spPr>
          <a:xfrm>
            <a:off x="3769954" y="4547732"/>
            <a:ext cx="508152" cy="107722"/>
          </a:xfrm>
          <a:prstGeom prst="rect">
            <a:avLst/>
          </a:prstGeom>
          <a:noFill/>
          <a:effectLst/>
        </p:spPr>
        <p:txBody>
          <a:bodyPr wrap="none" lIns="0" tIns="0" rIns="0" bIns="0" rtlCol="0" anchor="t">
            <a:spAutoFit/>
          </a:bodyPr>
          <a:lstStyle/>
          <a:p>
            <a:pPr algn="ctr"/>
            <a:r>
              <a:rPr lang="en-GB" sz="700" dirty="0">
                <a:solidFill>
                  <a:schemeClr val="tx2"/>
                </a:solidFill>
              </a:rPr>
              <a:t>Family cover</a:t>
            </a:r>
          </a:p>
        </p:txBody>
      </p:sp>
      <p:grpSp>
        <p:nvGrpSpPr>
          <p:cNvPr id="4" name="Group 3">
            <a:extLst>
              <a:ext uri="{FF2B5EF4-FFF2-40B4-BE49-F238E27FC236}">
                <a16:creationId xmlns:a16="http://schemas.microsoft.com/office/drawing/2014/main" id="{A7A132A6-3E7A-AF07-01DD-60CE276DF8DE}"/>
              </a:ext>
            </a:extLst>
          </p:cNvPr>
          <p:cNvGrpSpPr/>
          <p:nvPr/>
        </p:nvGrpSpPr>
        <p:grpSpPr>
          <a:xfrm>
            <a:off x="4806893" y="1626716"/>
            <a:ext cx="623213" cy="432000"/>
            <a:chOff x="4806481" y="1626716"/>
            <a:chExt cx="623213" cy="432000"/>
          </a:xfrm>
        </p:grpSpPr>
        <p:grpSp>
          <p:nvGrpSpPr>
            <p:cNvPr id="451" name="Grafik 212">
              <a:extLst>
                <a:ext uri="{FF2B5EF4-FFF2-40B4-BE49-F238E27FC236}">
                  <a16:creationId xmlns:a16="http://schemas.microsoft.com/office/drawing/2014/main" id="{70F454A7-6776-4837-B9C5-64616BF623AC}"/>
                </a:ext>
              </a:extLst>
            </p:cNvPr>
            <p:cNvGrpSpPr/>
            <p:nvPr/>
          </p:nvGrpSpPr>
          <p:grpSpPr>
            <a:xfrm>
              <a:off x="5018771" y="1626716"/>
              <a:ext cx="410923" cy="432000"/>
              <a:chOff x="3544443" y="3306005"/>
              <a:chExt cx="321016" cy="337482"/>
            </a:xfrm>
            <a:solidFill>
              <a:schemeClr val="accent1"/>
            </a:solidFill>
          </p:grpSpPr>
          <p:sp>
            <p:nvSpPr>
              <p:cNvPr id="468" name="Freihandform: Form 371">
                <a:extLst>
                  <a:ext uri="{FF2B5EF4-FFF2-40B4-BE49-F238E27FC236}">
                    <a16:creationId xmlns:a16="http://schemas.microsoft.com/office/drawing/2014/main" id="{F16B51B0-0240-4EDD-8601-6FFC95D4E558}"/>
                  </a:ext>
                </a:extLst>
              </p:cNvPr>
              <p:cNvSpPr/>
              <p:nvPr/>
            </p:nvSpPr>
            <p:spPr>
              <a:xfrm>
                <a:off x="3544443" y="3306005"/>
                <a:ext cx="321016" cy="337482"/>
              </a:xfrm>
              <a:custGeom>
                <a:avLst/>
                <a:gdLst>
                  <a:gd name="connsiteX0" fmla="*/ 160772 w 321016"/>
                  <a:gd name="connsiteY0" fmla="*/ 337351 h 337482"/>
                  <a:gd name="connsiteX1" fmla="*/ 160113 w 321016"/>
                  <a:gd name="connsiteY1" fmla="*/ 337351 h 337482"/>
                  <a:gd name="connsiteX2" fmla="*/ 150761 w 321016"/>
                  <a:gd name="connsiteY2" fmla="*/ 334321 h 337482"/>
                  <a:gd name="connsiteX3" fmla="*/ 395 w 321016"/>
                  <a:gd name="connsiteY3" fmla="*/ 95699 h 337482"/>
                  <a:gd name="connsiteX4" fmla="*/ 264 w 321016"/>
                  <a:gd name="connsiteY4" fmla="*/ 94975 h 337482"/>
                  <a:gd name="connsiteX5" fmla="*/ 0 w 321016"/>
                  <a:gd name="connsiteY5" fmla="*/ 92604 h 337482"/>
                  <a:gd name="connsiteX6" fmla="*/ 10275 w 321016"/>
                  <a:gd name="connsiteY6" fmla="*/ 80551 h 337482"/>
                  <a:gd name="connsiteX7" fmla="*/ 47882 w 321016"/>
                  <a:gd name="connsiteY7" fmla="*/ 73833 h 337482"/>
                  <a:gd name="connsiteX8" fmla="*/ 53152 w 321016"/>
                  <a:gd name="connsiteY8" fmla="*/ 50122 h 337482"/>
                  <a:gd name="connsiteX9" fmla="*/ 55654 w 321016"/>
                  <a:gd name="connsiteY9" fmla="*/ 41362 h 337482"/>
                  <a:gd name="connsiteX10" fmla="*/ 160838 w 321016"/>
                  <a:gd name="connsiteY10" fmla="*/ 0 h 337482"/>
                  <a:gd name="connsiteX11" fmla="*/ 213397 w 321016"/>
                  <a:gd name="connsiteY11" fmla="*/ 19825 h 337482"/>
                  <a:gd name="connsiteX12" fmla="*/ 266746 w 321016"/>
                  <a:gd name="connsiteY12" fmla="*/ 44194 h 337482"/>
                  <a:gd name="connsiteX13" fmla="*/ 267075 w 321016"/>
                  <a:gd name="connsiteY13" fmla="*/ 45380 h 337482"/>
                  <a:gd name="connsiteX14" fmla="*/ 273069 w 321016"/>
                  <a:gd name="connsiteY14" fmla="*/ 73898 h 337482"/>
                  <a:gd name="connsiteX15" fmla="*/ 310677 w 321016"/>
                  <a:gd name="connsiteY15" fmla="*/ 80617 h 337482"/>
                  <a:gd name="connsiteX16" fmla="*/ 321017 w 321016"/>
                  <a:gd name="connsiteY16" fmla="*/ 92669 h 337482"/>
                  <a:gd name="connsiteX17" fmla="*/ 320819 w 321016"/>
                  <a:gd name="connsiteY17" fmla="*/ 94843 h 337482"/>
                  <a:gd name="connsiteX18" fmla="*/ 320622 w 321016"/>
                  <a:gd name="connsiteY18" fmla="*/ 95897 h 337482"/>
                  <a:gd name="connsiteX19" fmla="*/ 170256 w 321016"/>
                  <a:gd name="connsiteY19" fmla="*/ 334453 h 337482"/>
                  <a:gd name="connsiteX20" fmla="*/ 161299 w 321016"/>
                  <a:gd name="connsiteY20" fmla="*/ 337483 h 337482"/>
                  <a:gd name="connsiteX21" fmla="*/ 160772 w 321016"/>
                  <a:gd name="connsiteY21" fmla="*/ 337351 h 337482"/>
                  <a:gd name="connsiteX22" fmla="*/ 13370 w 321016"/>
                  <a:gd name="connsiteY22" fmla="*/ 93262 h 337482"/>
                  <a:gd name="connsiteX23" fmla="*/ 13370 w 321016"/>
                  <a:gd name="connsiteY23" fmla="*/ 93262 h 337482"/>
                  <a:gd name="connsiteX24" fmla="*/ 158138 w 321016"/>
                  <a:gd name="connsiteY24" fmla="*/ 323322 h 337482"/>
                  <a:gd name="connsiteX25" fmla="*/ 160706 w 321016"/>
                  <a:gd name="connsiteY25" fmla="*/ 324178 h 337482"/>
                  <a:gd name="connsiteX26" fmla="*/ 160838 w 321016"/>
                  <a:gd name="connsiteY26" fmla="*/ 330765 h 337482"/>
                  <a:gd name="connsiteX27" fmla="*/ 160838 w 321016"/>
                  <a:gd name="connsiteY27" fmla="*/ 324178 h 337482"/>
                  <a:gd name="connsiteX28" fmla="*/ 160838 w 321016"/>
                  <a:gd name="connsiteY28" fmla="*/ 330765 h 337482"/>
                  <a:gd name="connsiteX29" fmla="*/ 160838 w 321016"/>
                  <a:gd name="connsiteY29" fmla="*/ 324178 h 337482"/>
                  <a:gd name="connsiteX30" fmla="*/ 162880 w 321016"/>
                  <a:gd name="connsiteY30" fmla="*/ 323322 h 337482"/>
                  <a:gd name="connsiteX31" fmla="*/ 307647 w 321016"/>
                  <a:gd name="connsiteY31" fmla="*/ 93394 h 337482"/>
                  <a:gd name="connsiteX32" fmla="*/ 307647 w 321016"/>
                  <a:gd name="connsiteY32" fmla="*/ 93262 h 337482"/>
                  <a:gd name="connsiteX33" fmla="*/ 267207 w 321016"/>
                  <a:gd name="connsiteY33" fmla="*/ 86017 h 337482"/>
                  <a:gd name="connsiteX34" fmla="*/ 254693 w 321016"/>
                  <a:gd name="connsiteY34" fmla="*/ 50649 h 337482"/>
                  <a:gd name="connsiteX35" fmla="*/ 160772 w 321016"/>
                  <a:gd name="connsiteY35" fmla="*/ 13304 h 337482"/>
                  <a:gd name="connsiteX36" fmla="*/ 66653 w 321016"/>
                  <a:gd name="connsiteY36" fmla="*/ 49727 h 337482"/>
                  <a:gd name="connsiteX37" fmla="*/ 66061 w 321016"/>
                  <a:gd name="connsiteY37" fmla="*/ 52559 h 337482"/>
                  <a:gd name="connsiteX38" fmla="*/ 53613 w 321016"/>
                  <a:gd name="connsiteY38" fmla="*/ 86017 h 337482"/>
                  <a:gd name="connsiteX39" fmla="*/ 13370 w 321016"/>
                  <a:gd name="connsiteY39" fmla="*/ 93262 h 337482"/>
                  <a:gd name="connsiteX40" fmla="*/ 308767 w 321016"/>
                  <a:gd name="connsiteY40" fmla="*/ 93460 h 337482"/>
                  <a:gd name="connsiteX41" fmla="*/ 308767 w 321016"/>
                  <a:gd name="connsiteY41" fmla="*/ 93460 h 337482"/>
                  <a:gd name="connsiteX42" fmla="*/ 308767 w 321016"/>
                  <a:gd name="connsiteY42" fmla="*/ 93460 h 337482"/>
                  <a:gd name="connsiteX43" fmla="*/ 12250 w 321016"/>
                  <a:gd name="connsiteY43" fmla="*/ 93460 h 337482"/>
                  <a:gd name="connsiteX44" fmla="*/ 12250 w 321016"/>
                  <a:gd name="connsiteY44" fmla="*/ 93460 h 337482"/>
                  <a:gd name="connsiteX45" fmla="*/ 12250 w 321016"/>
                  <a:gd name="connsiteY45" fmla="*/ 93460 h 337482"/>
                  <a:gd name="connsiteX46" fmla="*/ 51373 w 321016"/>
                  <a:gd name="connsiteY46" fmla="*/ 73108 h 337482"/>
                  <a:gd name="connsiteX47" fmla="*/ 51307 w 321016"/>
                  <a:gd name="connsiteY47" fmla="*/ 73108 h 337482"/>
                  <a:gd name="connsiteX48" fmla="*/ 51373 w 321016"/>
                  <a:gd name="connsiteY48" fmla="*/ 73108 h 337482"/>
                  <a:gd name="connsiteX49" fmla="*/ 269578 w 321016"/>
                  <a:gd name="connsiteY49" fmla="*/ 73108 h 337482"/>
                  <a:gd name="connsiteX50" fmla="*/ 269644 w 321016"/>
                  <a:gd name="connsiteY50" fmla="*/ 73108 h 337482"/>
                  <a:gd name="connsiteX51" fmla="*/ 269578 w 321016"/>
                  <a:gd name="connsiteY51" fmla="*/ 73108 h 337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21016" h="337482">
                    <a:moveTo>
                      <a:pt x="160772" y="337351"/>
                    </a:moveTo>
                    <a:cubicBezTo>
                      <a:pt x="160640" y="337351"/>
                      <a:pt x="160179" y="337351"/>
                      <a:pt x="160113" y="337351"/>
                    </a:cubicBezTo>
                    <a:cubicBezTo>
                      <a:pt x="157808" y="337285"/>
                      <a:pt x="154581" y="336824"/>
                      <a:pt x="150761" y="334321"/>
                    </a:cubicBezTo>
                    <a:cubicBezTo>
                      <a:pt x="39650" y="260094"/>
                      <a:pt x="8562" y="142660"/>
                      <a:pt x="395" y="95699"/>
                    </a:cubicBezTo>
                    <a:lnTo>
                      <a:pt x="264" y="94975"/>
                    </a:lnTo>
                    <a:cubicBezTo>
                      <a:pt x="132" y="94316"/>
                      <a:pt x="0" y="93460"/>
                      <a:pt x="0" y="92604"/>
                    </a:cubicBezTo>
                    <a:cubicBezTo>
                      <a:pt x="0" y="86610"/>
                      <a:pt x="4413" y="81407"/>
                      <a:pt x="10275" y="80551"/>
                    </a:cubicBezTo>
                    <a:cubicBezTo>
                      <a:pt x="11855" y="80287"/>
                      <a:pt x="30231" y="76994"/>
                      <a:pt x="47882" y="73833"/>
                    </a:cubicBezTo>
                    <a:cubicBezTo>
                      <a:pt x="49463" y="68234"/>
                      <a:pt x="52098" y="55457"/>
                      <a:pt x="53152" y="50122"/>
                    </a:cubicBezTo>
                    <a:cubicBezTo>
                      <a:pt x="54666" y="42679"/>
                      <a:pt x="54666" y="42679"/>
                      <a:pt x="55654" y="41362"/>
                    </a:cubicBezTo>
                    <a:cubicBezTo>
                      <a:pt x="58948" y="36949"/>
                      <a:pt x="160113" y="0"/>
                      <a:pt x="160838" y="0"/>
                    </a:cubicBezTo>
                    <a:cubicBezTo>
                      <a:pt x="162155" y="0"/>
                      <a:pt x="163406" y="0"/>
                      <a:pt x="213397" y="19825"/>
                    </a:cubicBezTo>
                    <a:cubicBezTo>
                      <a:pt x="265297" y="40374"/>
                      <a:pt x="265363" y="40638"/>
                      <a:pt x="266746" y="44194"/>
                    </a:cubicBezTo>
                    <a:cubicBezTo>
                      <a:pt x="266877" y="44589"/>
                      <a:pt x="267009" y="44985"/>
                      <a:pt x="267075" y="45380"/>
                    </a:cubicBezTo>
                    <a:cubicBezTo>
                      <a:pt x="268985" y="56050"/>
                      <a:pt x="271554" y="68498"/>
                      <a:pt x="273069" y="73898"/>
                    </a:cubicBezTo>
                    <a:cubicBezTo>
                      <a:pt x="285056" y="76072"/>
                      <a:pt x="308437" y="80287"/>
                      <a:pt x="310677" y="80617"/>
                    </a:cubicBezTo>
                    <a:cubicBezTo>
                      <a:pt x="316472" y="81407"/>
                      <a:pt x="321017" y="86610"/>
                      <a:pt x="321017" y="92669"/>
                    </a:cubicBezTo>
                    <a:cubicBezTo>
                      <a:pt x="321017" y="93394"/>
                      <a:pt x="320951" y="94184"/>
                      <a:pt x="320819" y="94843"/>
                    </a:cubicBezTo>
                    <a:lnTo>
                      <a:pt x="320622" y="95897"/>
                    </a:lnTo>
                    <a:cubicBezTo>
                      <a:pt x="312389" y="142857"/>
                      <a:pt x="281301" y="260291"/>
                      <a:pt x="170256" y="334453"/>
                    </a:cubicBezTo>
                    <a:cubicBezTo>
                      <a:pt x="167490" y="336363"/>
                      <a:pt x="164460" y="337351"/>
                      <a:pt x="161299" y="337483"/>
                    </a:cubicBezTo>
                    <a:cubicBezTo>
                      <a:pt x="161167" y="337351"/>
                      <a:pt x="160904" y="337351"/>
                      <a:pt x="160772" y="337351"/>
                    </a:cubicBezTo>
                    <a:close/>
                    <a:moveTo>
                      <a:pt x="13370" y="93262"/>
                    </a:moveTo>
                    <a:lnTo>
                      <a:pt x="13370" y="93262"/>
                    </a:lnTo>
                    <a:cubicBezTo>
                      <a:pt x="21274" y="138708"/>
                      <a:pt x="51176" y="251861"/>
                      <a:pt x="158138" y="323322"/>
                    </a:cubicBezTo>
                    <a:cubicBezTo>
                      <a:pt x="159257" y="324047"/>
                      <a:pt x="159850" y="324113"/>
                      <a:pt x="160706" y="324178"/>
                    </a:cubicBezTo>
                    <a:lnTo>
                      <a:pt x="160838" y="330765"/>
                    </a:lnTo>
                    <a:lnTo>
                      <a:pt x="160838" y="324178"/>
                    </a:lnTo>
                    <a:lnTo>
                      <a:pt x="160838" y="330765"/>
                    </a:lnTo>
                    <a:lnTo>
                      <a:pt x="160838" y="324178"/>
                    </a:lnTo>
                    <a:cubicBezTo>
                      <a:pt x="161233" y="324178"/>
                      <a:pt x="161892" y="324047"/>
                      <a:pt x="162880" y="323322"/>
                    </a:cubicBezTo>
                    <a:cubicBezTo>
                      <a:pt x="269710" y="251992"/>
                      <a:pt x="299743" y="138774"/>
                      <a:pt x="307647" y="93394"/>
                    </a:cubicBezTo>
                    <a:lnTo>
                      <a:pt x="307647" y="93262"/>
                    </a:lnTo>
                    <a:cubicBezTo>
                      <a:pt x="301456" y="92208"/>
                      <a:pt x="275703" y="87598"/>
                      <a:pt x="267207" y="86017"/>
                    </a:cubicBezTo>
                    <a:cubicBezTo>
                      <a:pt x="262596" y="85227"/>
                      <a:pt x="260950" y="84898"/>
                      <a:pt x="254693" y="50649"/>
                    </a:cubicBezTo>
                    <a:cubicBezTo>
                      <a:pt x="240796" y="44392"/>
                      <a:pt x="173154" y="17717"/>
                      <a:pt x="160772" y="13304"/>
                    </a:cubicBezTo>
                    <a:cubicBezTo>
                      <a:pt x="148851" y="17454"/>
                      <a:pt x="81012" y="43667"/>
                      <a:pt x="66653" y="49727"/>
                    </a:cubicBezTo>
                    <a:cubicBezTo>
                      <a:pt x="66456" y="50583"/>
                      <a:pt x="66258" y="51505"/>
                      <a:pt x="66061" y="52559"/>
                    </a:cubicBezTo>
                    <a:cubicBezTo>
                      <a:pt x="59936" y="82592"/>
                      <a:pt x="59013" y="85095"/>
                      <a:pt x="53613" y="86017"/>
                    </a:cubicBezTo>
                    <a:cubicBezTo>
                      <a:pt x="47751" y="87137"/>
                      <a:pt x="19693" y="92208"/>
                      <a:pt x="13370" y="93262"/>
                    </a:cubicBezTo>
                    <a:close/>
                    <a:moveTo>
                      <a:pt x="308767" y="93460"/>
                    </a:moveTo>
                    <a:cubicBezTo>
                      <a:pt x="308767" y="93460"/>
                      <a:pt x="308767" y="93460"/>
                      <a:pt x="308767" y="93460"/>
                    </a:cubicBezTo>
                    <a:cubicBezTo>
                      <a:pt x="308767" y="93460"/>
                      <a:pt x="308767" y="93460"/>
                      <a:pt x="308767" y="93460"/>
                    </a:cubicBezTo>
                    <a:close/>
                    <a:moveTo>
                      <a:pt x="12250" y="93460"/>
                    </a:moveTo>
                    <a:cubicBezTo>
                      <a:pt x="12250" y="93460"/>
                      <a:pt x="12250" y="93460"/>
                      <a:pt x="12250" y="93460"/>
                    </a:cubicBezTo>
                    <a:cubicBezTo>
                      <a:pt x="12250" y="93460"/>
                      <a:pt x="12250" y="93460"/>
                      <a:pt x="12250" y="93460"/>
                    </a:cubicBezTo>
                    <a:close/>
                    <a:moveTo>
                      <a:pt x="51373" y="73108"/>
                    </a:moveTo>
                    <a:cubicBezTo>
                      <a:pt x="51373" y="73108"/>
                      <a:pt x="51307" y="73108"/>
                      <a:pt x="51307" y="73108"/>
                    </a:cubicBezTo>
                    <a:cubicBezTo>
                      <a:pt x="51373" y="73108"/>
                      <a:pt x="51373" y="73108"/>
                      <a:pt x="51373" y="73108"/>
                    </a:cubicBezTo>
                    <a:close/>
                    <a:moveTo>
                      <a:pt x="269578" y="73108"/>
                    </a:moveTo>
                    <a:cubicBezTo>
                      <a:pt x="269578" y="73108"/>
                      <a:pt x="269644" y="73108"/>
                      <a:pt x="269644" y="73108"/>
                    </a:cubicBezTo>
                    <a:cubicBezTo>
                      <a:pt x="269644" y="73108"/>
                      <a:pt x="269578" y="73108"/>
                      <a:pt x="269578" y="73108"/>
                    </a:cubicBezTo>
                    <a:close/>
                  </a:path>
                </a:pathLst>
              </a:custGeom>
              <a:solidFill>
                <a:schemeClr val="accent1"/>
              </a:solidFill>
              <a:ln w="6578" cap="flat">
                <a:noFill/>
                <a:prstDash val="solid"/>
                <a:miter/>
              </a:ln>
            </p:spPr>
            <p:txBody>
              <a:bodyPr rtlCol="0" anchor="ctr"/>
              <a:lstStyle/>
              <a:p>
                <a:endParaRPr lang="en-GB" dirty="0"/>
              </a:p>
            </p:txBody>
          </p:sp>
          <p:sp>
            <p:nvSpPr>
              <p:cNvPr id="469" name="Freihandform: Form 372">
                <a:extLst>
                  <a:ext uri="{FF2B5EF4-FFF2-40B4-BE49-F238E27FC236}">
                    <a16:creationId xmlns:a16="http://schemas.microsoft.com/office/drawing/2014/main" id="{B0AB93A4-CF44-4D42-9803-0AF4C5B80A29}"/>
                  </a:ext>
                </a:extLst>
              </p:cNvPr>
              <p:cNvSpPr/>
              <p:nvPr/>
            </p:nvSpPr>
            <p:spPr>
              <a:xfrm>
                <a:off x="3583763" y="3346379"/>
                <a:ext cx="242442" cy="256405"/>
              </a:xfrm>
              <a:custGeom>
                <a:avLst/>
                <a:gdLst>
                  <a:gd name="connsiteX0" fmla="*/ 121386 w 242442"/>
                  <a:gd name="connsiteY0" fmla="*/ 256405 h 256405"/>
                  <a:gd name="connsiteX1" fmla="*/ 120661 w 242442"/>
                  <a:gd name="connsiteY1" fmla="*/ 256405 h 256405"/>
                  <a:gd name="connsiteX2" fmla="*/ 113021 w 242442"/>
                  <a:gd name="connsiteY2" fmla="*/ 253837 h 256405"/>
                  <a:gd name="connsiteX3" fmla="*/ 264 w 242442"/>
                  <a:gd name="connsiteY3" fmla="*/ 74952 h 256405"/>
                  <a:gd name="connsiteX4" fmla="*/ 0 w 242442"/>
                  <a:gd name="connsiteY4" fmla="*/ 72384 h 256405"/>
                  <a:gd name="connsiteX5" fmla="*/ 9089 w 242442"/>
                  <a:gd name="connsiteY5" fmla="*/ 61714 h 256405"/>
                  <a:gd name="connsiteX6" fmla="*/ 35961 w 242442"/>
                  <a:gd name="connsiteY6" fmla="*/ 56906 h 256405"/>
                  <a:gd name="connsiteX7" fmla="*/ 39650 w 242442"/>
                  <a:gd name="connsiteY7" fmla="*/ 39189 h 256405"/>
                  <a:gd name="connsiteX8" fmla="*/ 41823 w 242442"/>
                  <a:gd name="connsiteY8" fmla="*/ 31549 h 256405"/>
                  <a:gd name="connsiteX9" fmla="*/ 121518 w 242442"/>
                  <a:gd name="connsiteY9" fmla="*/ 0 h 256405"/>
                  <a:gd name="connsiteX10" fmla="*/ 161299 w 242442"/>
                  <a:gd name="connsiteY10" fmla="*/ 14885 h 256405"/>
                  <a:gd name="connsiteX11" fmla="*/ 201936 w 242442"/>
                  <a:gd name="connsiteY11" fmla="*/ 33985 h 256405"/>
                  <a:gd name="connsiteX12" fmla="*/ 202266 w 242442"/>
                  <a:gd name="connsiteY12" fmla="*/ 35237 h 256405"/>
                  <a:gd name="connsiteX13" fmla="*/ 206481 w 242442"/>
                  <a:gd name="connsiteY13" fmla="*/ 56840 h 256405"/>
                  <a:gd name="connsiteX14" fmla="*/ 233353 w 242442"/>
                  <a:gd name="connsiteY14" fmla="*/ 61648 h 256405"/>
                  <a:gd name="connsiteX15" fmla="*/ 242442 w 242442"/>
                  <a:gd name="connsiteY15" fmla="*/ 72318 h 256405"/>
                  <a:gd name="connsiteX16" fmla="*/ 242245 w 242442"/>
                  <a:gd name="connsiteY16" fmla="*/ 74294 h 256405"/>
                  <a:gd name="connsiteX17" fmla="*/ 242113 w 242442"/>
                  <a:gd name="connsiteY17" fmla="*/ 75018 h 256405"/>
                  <a:gd name="connsiteX18" fmla="*/ 129355 w 242442"/>
                  <a:gd name="connsiteY18" fmla="*/ 253837 h 256405"/>
                  <a:gd name="connsiteX19" fmla="*/ 121781 w 242442"/>
                  <a:gd name="connsiteY19" fmla="*/ 256405 h 256405"/>
                  <a:gd name="connsiteX20" fmla="*/ 121386 w 242442"/>
                  <a:gd name="connsiteY20" fmla="*/ 256405 h 256405"/>
                  <a:gd name="connsiteX21" fmla="*/ 121386 w 242442"/>
                  <a:gd name="connsiteY21" fmla="*/ 249621 h 256405"/>
                  <a:gd name="connsiteX22" fmla="*/ 121386 w 242442"/>
                  <a:gd name="connsiteY22" fmla="*/ 249819 h 256405"/>
                  <a:gd name="connsiteX23" fmla="*/ 121386 w 242442"/>
                  <a:gd name="connsiteY23" fmla="*/ 249621 h 256405"/>
                  <a:gd name="connsiteX24" fmla="*/ 121386 w 242442"/>
                  <a:gd name="connsiteY24" fmla="*/ 249621 h 256405"/>
                  <a:gd name="connsiteX25" fmla="*/ 121386 w 242442"/>
                  <a:gd name="connsiteY25" fmla="*/ 249819 h 256405"/>
                  <a:gd name="connsiteX26" fmla="*/ 121386 w 242442"/>
                  <a:gd name="connsiteY26" fmla="*/ 249621 h 256405"/>
                  <a:gd name="connsiteX27" fmla="*/ 13502 w 242442"/>
                  <a:gd name="connsiteY27" fmla="*/ 74294 h 256405"/>
                  <a:gd name="connsiteX28" fmla="*/ 120332 w 242442"/>
                  <a:gd name="connsiteY28" fmla="*/ 242903 h 256405"/>
                  <a:gd name="connsiteX29" fmla="*/ 121188 w 242442"/>
                  <a:gd name="connsiteY29" fmla="*/ 243233 h 256405"/>
                  <a:gd name="connsiteX30" fmla="*/ 121978 w 242442"/>
                  <a:gd name="connsiteY30" fmla="*/ 242903 h 256405"/>
                  <a:gd name="connsiteX31" fmla="*/ 228809 w 242442"/>
                  <a:gd name="connsiteY31" fmla="*/ 74294 h 256405"/>
                  <a:gd name="connsiteX32" fmla="*/ 200356 w 242442"/>
                  <a:gd name="connsiteY32" fmla="*/ 69222 h 256405"/>
                  <a:gd name="connsiteX33" fmla="*/ 189818 w 242442"/>
                  <a:gd name="connsiteY33" fmla="*/ 40835 h 256405"/>
                  <a:gd name="connsiteX34" fmla="*/ 121386 w 242442"/>
                  <a:gd name="connsiteY34" fmla="*/ 13634 h 256405"/>
                  <a:gd name="connsiteX35" fmla="*/ 52822 w 242442"/>
                  <a:gd name="connsiteY35" fmla="*/ 40177 h 256405"/>
                  <a:gd name="connsiteX36" fmla="*/ 52493 w 242442"/>
                  <a:gd name="connsiteY36" fmla="*/ 41757 h 256405"/>
                  <a:gd name="connsiteX37" fmla="*/ 41889 w 242442"/>
                  <a:gd name="connsiteY37" fmla="*/ 69288 h 256405"/>
                  <a:gd name="connsiteX38" fmla="*/ 13502 w 242442"/>
                  <a:gd name="connsiteY38" fmla="*/ 74294 h 256405"/>
                  <a:gd name="connsiteX39" fmla="*/ 231311 w 242442"/>
                  <a:gd name="connsiteY39" fmla="*/ 74689 h 256405"/>
                  <a:gd name="connsiteX40" fmla="*/ 231443 w 242442"/>
                  <a:gd name="connsiteY40" fmla="*/ 74689 h 256405"/>
                  <a:gd name="connsiteX41" fmla="*/ 231311 w 242442"/>
                  <a:gd name="connsiteY41" fmla="*/ 74689 h 256405"/>
                  <a:gd name="connsiteX42" fmla="*/ 11065 w 242442"/>
                  <a:gd name="connsiteY42" fmla="*/ 74689 h 256405"/>
                  <a:gd name="connsiteX43" fmla="*/ 11065 w 242442"/>
                  <a:gd name="connsiteY43" fmla="*/ 74689 h 256405"/>
                  <a:gd name="connsiteX44" fmla="*/ 11065 w 242442"/>
                  <a:gd name="connsiteY44" fmla="*/ 74689 h 256405"/>
                  <a:gd name="connsiteX45" fmla="*/ 39584 w 242442"/>
                  <a:gd name="connsiteY45" fmla="*/ 56247 h 256405"/>
                  <a:gd name="connsiteX46" fmla="*/ 39584 w 242442"/>
                  <a:gd name="connsiteY46" fmla="*/ 56247 h 256405"/>
                  <a:gd name="connsiteX47" fmla="*/ 39584 w 242442"/>
                  <a:gd name="connsiteY47" fmla="*/ 56247 h 256405"/>
                  <a:gd name="connsiteX48" fmla="*/ 202727 w 242442"/>
                  <a:gd name="connsiteY48" fmla="*/ 56247 h 256405"/>
                  <a:gd name="connsiteX49" fmla="*/ 202793 w 242442"/>
                  <a:gd name="connsiteY49" fmla="*/ 56247 h 256405"/>
                  <a:gd name="connsiteX50" fmla="*/ 202727 w 242442"/>
                  <a:gd name="connsiteY50" fmla="*/ 56247 h 25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42442" h="256405">
                    <a:moveTo>
                      <a:pt x="121386" y="256405"/>
                    </a:moveTo>
                    <a:cubicBezTo>
                      <a:pt x="121254" y="256405"/>
                      <a:pt x="120859" y="256405"/>
                      <a:pt x="120661" y="256405"/>
                    </a:cubicBezTo>
                    <a:cubicBezTo>
                      <a:pt x="118883" y="256340"/>
                      <a:pt x="116183" y="256010"/>
                      <a:pt x="113021" y="253837"/>
                    </a:cubicBezTo>
                    <a:cubicBezTo>
                      <a:pt x="29704" y="198182"/>
                      <a:pt x="6389" y="110189"/>
                      <a:pt x="264" y="74952"/>
                    </a:cubicBezTo>
                    <a:cubicBezTo>
                      <a:pt x="66" y="73964"/>
                      <a:pt x="0" y="73174"/>
                      <a:pt x="0" y="72384"/>
                    </a:cubicBezTo>
                    <a:cubicBezTo>
                      <a:pt x="0" y="67049"/>
                      <a:pt x="3886" y="62504"/>
                      <a:pt x="9089" y="61714"/>
                    </a:cubicBezTo>
                    <a:cubicBezTo>
                      <a:pt x="10406" y="61516"/>
                      <a:pt x="25753" y="58750"/>
                      <a:pt x="35961" y="56906"/>
                    </a:cubicBezTo>
                    <a:cubicBezTo>
                      <a:pt x="37147" y="52164"/>
                      <a:pt x="38859" y="43075"/>
                      <a:pt x="39650" y="39189"/>
                    </a:cubicBezTo>
                    <a:cubicBezTo>
                      <a:pt x="40835" y="32866"/>
                      <a:pt x="40835" y="32866"/>
                      <a:pt x="41823" y="31549"/>
                    </a:cubicBezTo>
                    <a:cubicBezTo>
                      <a:pt x="44787" y="27663"/>
                      <a:pt x="120991" y="0"/>
                      <a:pt x="121518" y="0"/>
                    </a:cubicBezTo>
                    <a:cubicBezTo>
                      <a:pt x="122901" y="0"/>
                      <a:pt x="123757" y="0"/>
                      <a:pt x="161299" y="14885"/>
                    </a:cubicBezTo>
                    <a:cubicBezTo>
                      <a:pt x="200619" y="30495"/>
                      <a:pt x="200685" y="30561"/>
                      <a:pt x="201936" y="33985"/>
                    </a:cubicBezTo>
                    <a:cubicBezTo>
                      <a:pt x="202068" y="34381"/>
                      <a:pt x="202200" y="34776"/>
                      <a:pt x="202266" y="35237"/>
                    </a:cubicBezTo>
                    <a:cubicBezTo>
                      <a:pt x="203583" y="43075"/>
                      <a:pt x="205361" y="52229"/>
                      <a:pt x="206481" y="56840"/>
                    </a:cubicBezTo>
                    <a:cubicBezTo>
                      <a:pt x="215636" y="58487"/>
                      <a:pt x="231641" y="61385"/>
                      <a:pt x="233353" y="61648"/>
                    </a:cubicBezTo>
                    <a:cubicBezTo>
                      <a:pt x="238490" y="62307"/>
                      <a:pt x="242442" y="66917"/>
                      <a:pt x="242442" y="72318"/>
                    </a:cubicBezTo>
                    <a:cubicBezTo>
                      <a:pt x="242442" y="72911"/>
                      <a:pt x="242376" y="73701"/>
                      <a:pt x="242245" y="74294"/>
                    </a:cubicBezTo>
                    <a:lnTo>
                      <a:pt x="242113" y="75018"/>
                    </a:lnTo>
                    <a:cubicBezTo>
                      <a:pt x="235988" y="110189"/>
                      <a:pt x="212672" y="198182"/>
                      <a:pt x="129355" y="253837"/>
                    </a:cubicBezTo>
                    <a:cubicBezTo>
                      <a:pt x="126984" y="255417"/>
                      <a:pt x="124481" y="256274"/>
                      <a:pt x="121781" y="256405"/>
                    </a:cubicBezTo>
                    <a:cubicBezTo>
                      <a:pt x="121781" y="256405"/>
                      <a:pt x="121518" y="256405"/>
                      <a:pt x="121386" y="256405"/>
                    </a:cubicBezTo>
                    <a:close/>
                    <a:moveTo>
                      <a:pt x="121386" y="249621"/>
                    </a:moveTo>
                    <a:lnTo>
                      <a:pt x="121386" y="249819"/>
                    </a:lnTo>
                    <a:lnTo>
                      <a:pt x="121386" y="249621"/>
                    </a:lnTo>
                    <a:close/>
                    <a:moveTo>
                      <a:pt x="121386" y="249621"/>
                    </a:moveTo>
                    <a:lnTo>
                      <a:pt x="121386" y="249819"/>
                    </a:lnTo>
                    <a:lnTo>
                      <a:pt x="121386" y="249621"/>
                    </a:lnTo>
                    <a:close/>
                    <a:moveTo>
                      <a:pt x="13502" y="74294"/>
                    </a:moveTo>
                    <a:cubicBezTo>
                      <a:pt x="19957" y="109333"/>
                      <a:pt x="42745" y="191003"/>
                      <a:pt x="120332" y="242903"/>
                    </a:cubicBezTo>
                    <a:cubicBezTo>
                      <a:pt x="120727" y="243167"/>
                      <a:pt x="120859" y="243233"/>
                      <a:pt x="121188" y="243233"/>
                    </a:cubicBezTo>
                    <a:cubicBezTo>
                      <a:pt x="121583" y="243167"/>
                      <a:pt x="121847" y="243035"/>
                      <a:pt x="121978" y="242903"/>
                    </a:cubicBezTo>
                    <a:cubicBezTo>
                      <a:pt x="199829" y="190872"/>
                      <a:pt x="222552" y="108806"/>
                      <a:pt x="228809" y="74294"/>
                    </a:cubicBezTo>
                    <a:cubicBezTo>
                      <a:pt x="222420" y="73174"/>
                      <a:pt x="206613" y="70342"/>
                      <a:pt x="200356" y="69222"/>
                    </a:cubicBezTo>
                    <a:cubicBezTo>
                      <a:pt x="195877" y="68432"/>
                      <a:pt x="194494" y="68234"/>
                      <a:pt x="189818" y="40835"/>
                    </a:cubicBezTo>
                    <a:cubicBezTo>
                      <a:pt x="178226" y="35764"/>
                      <a:pt x="131595" y="17322"/>
                      <a:pt x="121386" y="13634"/>
                    </a:cubicBezTo>
                    <a:cubicBezTo>
                      <a:pt x="111506" y="17124"/>
                      <a:pt x="64743" y="35237"/>
                      <a:pt x="52822" y="40177"/>
                    </a:cubicBezTo>
                    <a:cubicBezTo>
                      <a:pt x="52756" y="40638"/>
                      <a:pt x="52625" y="41164"/>
                      <a:pt x="52493" y="41757"/>
                    </a:cubicBezTo>
                    <a:cubicBezTo>
                      <a:pt x="47948" y="65336"/>
                      <a:pt x="47422" y="68300"/>
                      <a:pt x="41889" y="69288"/>
                    </a:cubicBezTo>
                    <a:cubicBezTo>
                      <a:pt x="33985" y="70605"/>
                      <a:pt x="19430" y="73240"/>
                      <a:pt x="13502" y="74294"/>
                    </a:cubicBezTo>
                    <a:close/>
                    <a:moveTo>
                      <a:pt x="231311" y="74689"/>
                    </a:moveTo>
                    <a:cubicBezTo>
                      <a:pt x="231377" y="74689"/>
                      <a:pt x="231377" y="74689"/>
                      <a:pt x="231443" y="74689"/>
                    </a:cubicBezTo>
                    <a:cubicBezTo>
                      <a:pt x="231377" y="74689"/>
                      <a:pt x="231377" y="74689"/>
                      <a:pt x="231311" y="74689"/>
                    </a:cubicBezTo>
                    <a:close/>
                    <a:moveTo>
                      <a:pt x="11065" y="74689"/>
                    </a:moveTo>
                    <a:cubicBezTo>
                      <a:pt x="11065" y="74689"/>
                      <a:pt x="10999" y="74689"/>
                      <a:pt x="11065" y="74689"/>
                    </a:cubicBezTo>
                    <a:cubicBezTo>
                      <a:pt x="10999" y="74689"/>
                      <a:pt x="11065" y="74689"/>
                      <a:pt x="11065" y="74689"/>
                    </a:cubicBezTo>
                    <a:close/>
                    <a:moveTo>
                      <a:pt x="39584" y="56247"/>
                    </a:moveTo>
                    <a:cubicBezTo>
                      <a:pt x="39584" y="56247"/>
                      <a:pt x="39584" y="56247"/>
                      <a:pt x="39584" y="56247"/>
                    </a:cubicBezTo>
                    <a:cubicBezTo>
                      <a:pt x="39584" y="56247"/>
                      <a:pt x="39584" y="56247"/>
                      <a:pt x="39584" y="56247"/>
                    </a:cubicBezTo>
                    <a:close/>
                    <a:moveTo>
                      <a:pt x="202727" y="56247"/>
                    </a:moveTo>
                    <a:cubicBezTo>
                      <a:pt x="202727" y="56247"/>
                      <a:pt x="202793" y="56247"/>
                      <a:pt x="202793" y="56247"/>
                    </a:cubicBezTo>
                    <a:cubicBezTo>
                      <a:pt x="202793" y="56247"/>
                      <a:pt x="202793" y="56247"/>
                      <a:pt x="202727" y="56247"/>
                    </a:cubicBezTo>
                    <a:close/>
                  </a:path>
                </a:pathLst>
              </a:custGeom>
              <a:solidFill>
                <a:schemeClr val="accent1"/>
              </a:solidFill>
              <a:ln w="6578" cap="flat">
                <a:noFill/>
                <a:prstDash val="solid"/>
                <a:miter/>
              </a:ln>
            </p:spPr>
            <p:txBody>
              <a:bodyPr rtlCol="0" anchor="ctr"/>
              <a:lstStyle/>
              <a:p>
                <a:endParaRPr lang="en-GB" dirty="0"/>
              </a:p>
            </p:txBody>
          </p:sp>
        </p:grpSp>
        <p:grpSp>
          <p:nvGrpSpPr>
            <p:cNvPr id="452" name="Grafik 212">
              <a:extLst>
                <a:ext uri="{FF2B5EF4-FFF2-40B4-BE49-F238E27FC236}">
                  <a16:creationId xmlns:a16="http://schemas.microsoft.com/office/drawing/2014/main" id="{3ED24DC9-7001-4F12-8A2D-DB86E82E4ADF}"/>
                </a:ext>
              </a:extLst>
            </p:cNvPr>
            <p:cNvGrpSpPr/>
            <p:nvPr/>
          </p:nvGrpSpPr>
          <p:grpSpPr>
            <a:xfrm>
              <a:off x="4806481" y="1781454"/>
              <a:ext cx="340525" cy="277094"/>
              <a:chOff x="3378600" y="3426888"/>
              <a:chExt cx="266021" cy="216468"/>
            </a:xfrm>
            <a:solidFill>
              <a:schemeClr val="tx2"/>
            </a:solidFill>
          </p:grpSpPr>
          <p:grpSp>
            <p:nvGrpSpPr>
              <p:cNvPr id="453" name="Grafik 212">
                <a:extLst>
                  <a:ext uri="{FF2B5EF4-FFF2-40B4-BE49-F238E27FC236}">
                    <a16:creationId xmlns:a16="http://schemas.microsoft.com/office/drawing/2014/main" id="{3458B796-2143-4CE5-8DC6-26741BDD8A73}"/>
                  </a:ext>
                </a:extLst>
              </p:cNvPr>
              <p:cNvGrpSpPr/>
              <p:nvPr/>
            </p:nvGrpSpPr>
            <p:grpSpPr>
              <a:xfrm>
                <a:off x="3378600" y="3503792"/>
                <a:ext cx="121782" cy="122637"/>
                <a:chOff x="3378600" y="3503792"/>
                <a:chExt cx="121782" cy="122637"/>
              </a:xfrm>
              <a:grpFill/>
            </p:grpSpPr>
            <p:sp>
              <p:nvSpPr>
                <p:cNvPr id="464" name="Freihandform: Form 375">
                  <a:extLst>
                    <a:ext uri="{FF2B5EF4-FFF2-40B4-BE49-F238E27FC236}">
                      <a16:creationId xmlns:a16="http://schemas.microsoft.com/office/drawing/2014/main" id="{FEE4240E-F5AD-4229-8549-262D605B5D3D}"/>
                    </a:ext>
                  </a:extLst>
                </p:cNvPr>
                <p:cNvSpPr/>
                <p:nvPr/>
              </p:nvSpPr>
              <p:spPr>
                <a:xfrm>
                  <a:off x="3378600" y="3558129"/>
                  <a:ext cx="121716" cy="68300"/>
                </a:xfrm>
                <a:custGeom>
                  <a:avLst/>
                  <a:gdLst>
                    <a:gd name="connsiteX0" fmla="*/ 78772 w 121716"/>
                    <a:gd name="connsiteY0" fmla="*/ 68300 h 68300"/>
                    <a:gd name="connsiteX1" fmla="*/ 0 w 121716"/>
                    <a:gd name="connsiteY1" fmla="*/ 37213 h 68300"/>
                    <a:gd name="connsiteX2" fmla="*/ 0 w 121716"/>
                    <a:gd name="connsiteY2" fmla="*/ 6586 h 68300"/>
                    <a:gd name="connsiteX3" fmla="*/ 6586 w 121716"/>
                    <a:gd name="connsiteY3" fmla="*/ 0 h 68300"/>
                    <a:gd name="connsiteX4" fmla="*/ 13173 w 121716"/>
                    <a:gd name="connsiteY4" fmla="*/ 6586 h 68300"/>
                    <a:gd name="connsiteX5" fmla="*/ 13173 w 121716"/>
                    <a:gd name="connsiteY5" fmla="*/ 37213 h 68300"/>
                    <a:gd name="connsiteX6" fmla="*/ 78772 w 121716"/>
                    <a:gd name="connsiteY6" fmla="*/ 55127 h 68300"/>
                    <a:gd name="connsiteX7" fmla="*/ 113812 w 121716"/>
                    <a:gd name="connsiteY7" fmla="*/ 52164 h 68300"/>
                    <a:gd name="connsiteX8" fmla="*/ 121583 w 121716"/>
                    <a:gd name="connsiteY8" fmla="*/ 57301 h 68300"/>
                    <a:gd name="connsiteX9" fmla="*/ 116446 w 121716"/>
                    <a:gd name="connsiteY9" fmla="*/ 65073 h 68300"/>
                    <a:gd name="connsiteX10" fmla="*/ 78772 w 121716"/>
                    <a:gd name="connsiteY10" fmla="*/ 68300 h 6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716" h="68300">
                      <a:moveTo>
                        <a:pt x="78772" y="68300"/>
                      </a:moveTo>
                      <a:cubicBezTo>
                        <a:pt x="39650" y="68300"/>
                        <a:pt x="0" y="57630"/>
                        <a:pt x="0" y="37213"/>
                      </a:cubicBezTo>
                      <a:lnTo>
                        <a:pt x="0" y="6586"/>
                      </a:lnTo>
                      <a:cubicBezTo>
                        <a:pt x="0" y="2964"/>
                        <a:pt x="2964" y="0"/>
                        <a:pt x="6586" y="0"/>
                      </a:cubicBezTo>
                      <a:cubicBezTo>
                        <a:pt x="10209" y="0"/>
                        <a:pt x="13173" y="2964"/>
                        <a:pt x="13173" y="6586"/>
                      </a:cubicBezTo>
                      <a:lnTo>
                        <a:pt x="13173" y="37213"/>
                      </a:lnTo>
                      <a:cubicBezTo>
                        <a:pt x="13173" y="43536"/>
                        <a:pt x="38069" y="55127"/>
                        <a:pt x="78772" y="55127"/>
                      </a:cubicBezTo>
                      <a:cubicBezTo>
                        <a:pt x="93196" y="55127"/>
                        <a:pt x="103998" y="54205"/>
                        <a:pt x="113812" y="52164"/>
                      </a:cubicBezTo>
                      <a:cubicBezTo>
                        <a:pt x="117368" y="51439"/>
                        <a:pt x="120859" y="53679"/>
                        <a:pt x="121583" y="57301"/>
                      </a:cubicBezTo>
                      <a:cubicBezTo>
                        <a:pt x="122308" y="60858"/>
                        <a:pt x="120003" y="64348"/>
                        <a:pt x="116446" y="65073"/>
                      </a:cubicBezTo>
                      <a:cubicBezTo>
                        <a:pt x="105776" y="67312"/>
                        <a:pt x="94118" y="68300"/>
                        <a:pt x="78772" y="68300"/>
                      </a:cubicBezTo>
                      <a:close/>
                    </a:path>
                  </a:pathLst>
                </a:custGeom>
                <a:grpFill/>
                <a:ln w="6578" cap="flat">
                  <a:noFill/>
                  <a:prstDash val="solid"/>
                  <a:miter/>
                </a:ln>
              </p:spPr>
              <p:txBody>
                <a:bodyPr rtlCol="0" anchor="ctr"/>
                <a:lstStyle/>
                <a:p>
                  <a:endParaRPr lang="en-GB" dirty="0"/>
                </a:p>
              </p:txBody>
            </p:sp>
            <p:grpSp>
              <p:nvGrpSpPr>
                <p:cNvPr id="465" name="Grafik 212">
                  <a:extLst>
                    <a:ext uri="{FF2B5EF4-FFF2-40B4-BE49-F238E27FC236}">
                      <a16:creationId xmlns:a16="http://schemas.microsoft.com/office/drawing/2014/main" id="{62DEFB48-0FDC-4DF9-B3A7-A7069E09E00C}"/>
                    </a:ext>
                  </a:extLst>
                </p:cNvPr>
                <p:cNvGrpSpPr/>
                <p:nvPr/>
              </p:nvGrpSpPr>
              <p:grpSpPr>
                <a:xfrm>
                  <a:off x="3378600" y="3503792"/>
                  <a:ext cx="121782" cy="92801"/>
                  <a:chOff x="3378600" y="3503792"/>
                  <a:chExt cx="121782" cy="92801"/>
                </a:xfrm>
                <a:grpFill/>
              </p:grpSpPr>
              <p:sp>
                <p:nvSpPr>
                  <p:cNvPr id="466" name="Freihandform: Form 377">
                    <a:extLst>
                      <a:ext uri="{FF2B5EF4-FFF2-40B4-BE49-F238E27FC236}">
                        <a16:creationId xmlns:a16="http://schemas.microsoft.com/office/drawing/2014/main" id="{56F7AD0F-F7A5-40FF-961F-FBEC391A68B0}"/>
                      </a:ext>
                    </a:extLst>
                  </p:cNvPr>
                  <p:cNvSpPr/>
                  <p:nvPr/>
                </p:nvSpPr>
                <p:spPr>
                  <a:xfrm>
                    <a:off x="3378600" y="3503792"/>
                    <a:ext cx="121782" cy="62174"/>
                  </a:xfrm>
                  <a:custGeom>
                    <a:avLst/>
                    <a:gdLst>
                      <a:gd name="connsiteX0" fmla="*/ 78772 w 121782"/>
                      <a:gd name="connsiteY0" fmla="*/ 62175 h 62174"/>
                      <a:gd name="connsiteX1" fmla="*/ 0 w 121782"/>
                      <a:gd name="connsiteY1" fmla="*/ 31087 h 62174"/>
                      <a:gd name="connsiteX2" fmla="*/ 78772 w 121782"/>
                      <a:gd name="connsiteY2" fmla="*/ 0 h 62174"/>
                      <a:gd name="connsiteX3" fmla="*/ 115722 w 121782"/>
                      <a:gd name="connsiteY3" fmla="*/ 3293 h 62174"/>
                      <a:gd name="connsiteX4" fmla="*/ 120925 w 121782"/>
                      <a:gd name="connsiteY4" fmla="*/ 10999 h 62174"/>
                      <a:gd name="connsiteX5" fmla="*/ 113219 w 121782"/>
                      <a:gd name="connsiteY5" fmla="*/ 16202 h 62174"/>
                      <a:gd name="connsiteX6" fmla="*/ 78772 w 121782"/>
                      <a:gd name="connsiteY6" fmla="*/ 13107 h 62174"/>
                      <a:gd name="connsiteX7" fmla="*/ 13173 w 121782"/>
                      <a:gd name="connsiteY7" fmla="*/ 31022 h 62174"/>
                      <a:gd name="connsiteX8" fmla="*/ 78772 w 121782"/>
                      <a:gd name="connsiteY8" fmla="*/ 48936 h 62174"/>
                      <a:gd name="connsiteX9" fmla="*/ 113943 w 121782"/>
                      <a:gd name="connsiteY9" fmla="*/ 45709 h 62174"/>
                      <a:gd name="connsiteX10" fmla="*/ 121649 w 121782"/>
                      <a:gd name="connsiteY10" fmla="*/ 50912 h 62174"/>
                      <a:gd name="connsiteX11" fmla="*/ 116446 w 121782"/>
                      <a:gd name="connsiteY11" fmla="*/ 58618 h 62174"/>
                      <a:gd name="connsiteX12" fmla="*/ 78772 w 121782"/>
                      <a:gd name="connsiteY12" fmla="*/ 62175 h 62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782" h="62174">
                        <a:moveTo>
                          <a:pt x="78772" y="62175"/>
                        </a:moveTo>
                        <a:cubicBezTo>
                          <a:pt x="39650" y="62175"/>
                          <a:pt x="0" y="51505"/>
                          <a:pt x="0" y="31087"/>
                        </a:cubicBezTo>
                        <a:cubicBezTo>
                          <a:pt x="0" y="10670"/>
                          <a:pt x="39650" y="0"/>
                          <a:pt x="78772" y="0"/>
                        </a:cubicBezTo>
                        <a:cubicBezTo>
                          <a:pt x="91681" y="0"/>
                          <a:pt x="104459" y="1120"/>
                          <a:pt x="115722" y="3293"/>
                        </a:cubicBezTo>
                        <a:cubicBezTo>
                          <a:pt x="119278" y="3952"/>
                          <a:pt x="121649" y="7443"/>
                          <a:pt x="120925" y="10999"/>
                        </a:cubicBezTo>
                        <a:cubicBezTo>
                          <a:pt x="120266" y="14556"/>
                          <a:pt x="116775" y="16927"/>
                          <a:pt x="113219" y="16202"/>
                        </a:cubicBezTo>
                        <a:cubicBezTo>
                          <a:pt x="102812" y="14161"/>
                          <a:pt x="90891" y="13107"/>
                          <a:pt x="78772" y="13107"/>
                        </a:cubicBezTo>
                        <a:cubicBezTo>
                          <a:pt x="38069" y="13107"/>
                          <a:pt x="13173" y="24699"/>
                          <a:pt x="13173" y="31022"/>
                        </a:cubicBezTo>
                        <a:cubicBezTo>
                          <a:pt x="13173" y="37345"/>
                          <a:pt x="38069" y="48936"/>
                          <a:pt x="78772" y="48936"/>
                        </a:cubicBezTo>
                        <a:cubicBezTo>
                          <a:pt x="91155" y="48936"/>
                          <a:pt x="103339" y="47817"/>
                          <a:pt x="113943" y="45709"/>
                        </a:cubicBezTo>
                        <a:cubicBezTo>
                          <a:pt x="117500" y="44919"/>
                          <a:pt x="120991" y="47290"/>
                          <a:pt x="121649" y="50912"/>
                        </a:cubicBezTo>
                        <a:cubicBezTo>
                          <a:pt x="122374" y="54469"/>
                          <a:pt x="120068" y="57960"/>
                          <a:pt x="116446" y="58618"/>
                        </a:cubicBezTo>
                        <a:cubicBezTo>
                          <a:pt x="105052" y="60989"/>
                          <a:pt x="92011" y="62175"/>
                          <a:pt x="78772" y="62175"/>
                        </a:cubicBezTo>
                        <a:close/>
                      </a:path>
                    </a:pathLst>
                  </a:custGeom>
                  <a:grpFill/>
                  <a:ln w="6578" cap="flat">
                    <a:noFill/>
                    <a:prstDash val="solid"/>
                    <a:miter/>
                  </a:ln>
                </p:spPr>
                <p:txBody>
                  <a:bodyPr rtlCol="0" anchor="ctr"/>
                  <a:lstStyle/>
                  <a:p>
                    <a:endParaRPr lang="en-GB" dirty="0"/>
                  </a:p>
                </p:txBody>
              </p:sp>
              <p:sp>
                <p:nvSpPr>
                  <p:cNvPr id="467" name="Freihandform: Form 378">
                    <a:extLst>
                      <a:ext uri="{FF2B5EF4-FFF2-40B4-BE49-F238E27FC236}">
                        <a16:creationId xmlns:a16="http://schemas.microsoft.com/office/drawing/2014/main" id="{85627D5F-DE38-4DD6-AC89-6074A7328626}"/>
                      </a:ext>
                    </a:extLst>
                  </p:cNvPr>
                  <p:cNvSpPr/>
                  <p:nvPr/>
                </p:nvSpPr>
                <p:spPr>
                  <a:xfrm>
                    <a:off x="3378600" y="3528293"/>
                    <a:ext cx="120971" cy="68300"/>
                  </a:xfrm>
                  <a:custGeom>
                    <a:avLst/>
                    <a:gdLst>
                      <a:gd name="connsiteX0" fmla="*/ 78772 w 120971"/>
                      <a:gd name="connsiteY0" fmla="*/ 68300 h 68300"/>
                      <a:gd name="connsiteX1" fmla="*/ 0 w 120971"/>
                      <a:gd name="connsiteY1" fmla="*/ 37213 h 68300"/>
                      <a:gd name="connsiteX2" fmla="*/ 0 w 120971"/>
                      <a:gd name="connsiteY2" fmla="*/ 6586 h 68300"/>
                      <a:gd name="connsiteX3" fmla="*/ 6586 w 120971"/>
                      <a:gd name="connsiteY3" fmla="*/ 0 h 68300"/>
                      <a:gd name="connsiteX4" fmla="*/ 13173 w 120971"/>
                      <a:gd name="connsiteY4" fmla="*/ 6586 h 68300"/>
                      <a:gd name="connsiteX5" fmla="*/ 13173 w 120971"/>
                      <a:gd name="connsiteY5" fmla="*/ 37213 h 68300"/>
                      <a:gd name="connsiteX6" fmla="*/ 78772 w 120971"/>
                      <a:gd name="connsiteY6" fmla="*/ 55127 h 68300"/>
                      <a:gd name="connsiteX7" fmla="*/ 113153 w 120971"/>
                      <a:gd name="connsiteY7" fmla="*/ 52032 h 68300"/>
                      <a:gd name="connsiteX8" fmla="*/ 120859 w 120971"/>
                      <a:gd name="connsiteY8" fmla="*/ 57235 h 68300"/>
                      <a:gd name="connsiteX9" fmla="*/ 115656 w 120971"/>
                      <a:gd name="connsiteY9" fmla="*/ 64941 h 68300"/>
                      <a:gd name="connsiteX10" fmla="*/ 78772 w 120971"/>
                      <a:gd name="connsiteY10" fmla="*/ 68300 h 6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971" h="68300">
                        <a:moveTo>
                          <a:pt x="78772" y="68300"/>
                        </a:moveTo>
                        <a:cubicBezTo>
                          <a:pt x="39650" y="68300"/>
                          <a:pt x="0" y="57630"/>
                          <a:pt x="0" y="37213"/>
                        </a:cubicBezTo>
                        <a:lnTo>
                          <a:pt x="0" y="6586"/>
                        </a:lnTo>
                        <a:cubicBezTo>
                          <a:pt x="0" y="2964"/>
                          <a:pt x="2964" y="0"/>
                          <a:pt x="6586" y="0"/>
                        </a:cubicBezTo>
                        <a:cubicBezTo>
                          <a:pt x="10209" y="0"/>
                          <a:pt x="13173" y="2964"/>
                          <a:pt x="13173" y="6586"/>
                        </a:cubicBezTo>
                        <a:lnTo>
                          <a:pt x="13173" y="37213"/>
                        </a:lnTo>
                        <a:cubicBezTo>
                          <a:pt x="13173" y="43536"/>
                          <a:pt x="38069" y="55127"/>
                          <a:pt x="78772" y="55127"/>
                        </a:cubicBezTo>
                        <a:cubicBezTo>
                          <a:pt x="90825" y="55127"/>
                          <a:pt x="102747" y="54074"/>
                          <a:pt x="113153" y="52032"/>
                        </a:cubicBezTo>
                        <a:cubicBezTo>
                          <a:pt x="116775" y="51373"/>
                          <a:pt x="120200" y="53678"/>
                          <a:pt x="120859" y="57235"/>
                        </a:cubicBezTo>
                        <a:cubicBezTo>
                          <a:pt x="121517" y="60792"/>
                          <a:pt x="119212" y="64283"/>
                          <a:pt x="115656" y="64941"/>
                        </a:cubicBezTo>
                        <a:cubicBezTo>
                          <a:pt x="104459" y="67115"/>
                          <a:pt x="91681" y="68300"/>
                          <a:pt x="78772" y="68300"/>
                        </a:cubicBezTo>
                        <a:close/>
                      </a:path>
                    </a:pathLst>
                  </a:custGeom>
                  <a:grpFill/>
                  <a:ln w="6578" cap="flat">
                    <a:noFill/>
                    <a:prstDash val="solid"/>
                    <a:miter/>
                  </a:ln>
                </p:spPr>
                <p:txBody>
                  <a:bodyPr rtlCol="0" anchor="ctr"/>
                  <a:lstStyle/>
                  <a:p>
                    <a:endParaRPr lang="en-GB" dirty="0"/>
                  </a:p>
                </p:txBody>
              </p:sp>
            </p:grpSp>
          </p:grpSp>
          <p:grpSp>
            <p:nvGrpSpPr>
              <p:cNvPr id="454" name="Grafik 212">
                <a:extLst>
                  <a:ext uri="{FF2B5EF4-FFF2-40B4-BE49-F238E27FC236}">
                    <a16:creationId xmlns:a16="http://schemas.microsoft.com/office/drawing/2014/main" id="{6CF61070-F0EC-418D-B7E5-22F6A18907DE}"/>
                  </a:ext>
                </a:extLst>
              </p:cNvPr>
              <p:cNvGrpSpPr/>
              <p:nvPr/>
            </p:nvGrpSpPr>
            <p:grpSpPr>
              <a:xfrm>
                <a:off x="3487076" y="3426888"/>
                <a:ext cx="157544" cy="216468"/>
                <a:chOff x="3487076" y="3426888"/>
                <a:chExt cx="157544" cy="216468"/>
              </a:xfrm>
              <a:grpFill/>
            </p:grpSpPr>
            <p:sp>
              <p:nvSpPr>
                <p:cNvPr id="455" name="Freihandform: Form 380">
                  <a:extLst>
                    <a:ext uri="{FF2B5EF4-FFF2-40B4-BE49-F238E27FC236}">
                      <a16:creationId xmlns:a16="http://schemas.microsoft.com/office/drawing/2014/main" id="{E4A58A5F-8DD7-42EA-A6F5-ACAB452239C7}"/>
                    </a:ext>
                  </a:extLst>
                </p:cNvPr>
                <p:cNvSpPr/>
                <p:nvPr/>
              </p:nvSpPr>
              <p:spPr>
                <a:xfrm>
                  <a:off x="3487076" y="3573278"/>
                  <a:ext cx="157544" cy="70078"/>
                </a:xfrm>
                <a:custGeom>
                  <a:avLst/>
                  <a:gdLst>
                    <a:gd name="connsiteX0" fmla="*/ 78772 w 157544"/>
                    <a:gd name="connsiteY0" fmla="*/ 70078 h 70078"/>
                    <a:gd name="connsiteX1" fmla="*/ 0 w 157544"/>
                    <a:gd name="connsiteY1" fmla="*/ 38201 h 70078"/>
                    <a:gd name="connsiteX2" fmla="*/ 0 w 157544"/>
                    <a:gd name="connsiteY2" fmla="*/ 6586 h 70078"/>
                    <a:gd name="connsiteX3" fmla="*/ 6586 w 157544"/>
                    <a:gd name="connsiteY3" fmla="*/ 0 h 70078"/>
                    <a:gd name="connsiteX4" fmla="*/ 13173 w 157544"/>
                    <a:gd name="connsiteY4" fmla="*/ 6586 h 70078"/>
                    <a:gd name="connsiteX5" fmla="*/ 13173 w 157544"/>
                    <a:gd name="connsiteY5" fmla="*/ 38201 h 70078"/>
                    <a:gd name="connsiteX6" fmla="*/ 78772 w 157544"/>
                    <a:gd name="connsiteY6" fmla="*/ 56906 h 70078"/>
                    <a:gd name="connsiteX7" fmla="*/ 144372 w 157544"/>
                    <a:gd name="connsiteY7" fmla="*/ 38201 h 70078"/>
                    <a:gd name="connsiteX8" fmla="*/ 150958 w 157544"/>
                    <a:gd name="connsiteY8" fmla="*/ 31614 h 70078"/>
                    <a:gd name="connsiteX9" fmla="*/ 157545 w 157544"/>
                    <a:gd name="connsiteY9" fmla="*/ 38201 h 70078"/>
                    <a:gd name="connsiteX10" fmla="*/ 78772 w 157544"/>
                    <a:gd name="connsiteY10" fmla="*/ 70078 h 7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544" h="70078">
                      <a:moveTo>
                        <a:pt x="78772" y="70078"/>
                      </a:moveTo>
                      <a:cubicBezTo>
                        <a:pt x="39650" y="70078"/>
                        <a:pt x="0" y="59145"/>
                        <a:pt x="0" y="38201"/>
                      </a:cubicBezTo>
                      <a:lnTo>
                        <a:pt x="0" y="6586"/>
                      </a:lnTo>
                      <a:cubicBezTo>
                        <a:pt x="0" y="2964"/>
                        <a:pt x="2964" y="0"/>
                        <a:pt x="6586" y="0"/>
                      </a:cubicBezTo>
                      <a:cubicBezTo>
                        <a:pt x="10209" y="0"/>
                        <a:pt x="13173" y="2964"/>
                        <a:pt x="13173" y="6586"/>
                      </a:cubicBezTo>
                      <a:lnTo>
                        <a:pt x="13173" y="38201"/>
                      </a:lnTo>
                      <a:cubicBezTo>
                        <a:pt x="13173" y="44523"/>
                        <a:pt x="36290" y="56906"/>
                        <a:pt x="78772" y="56906"/>
                      </a:cubicBezTo>
                      <a:cubicBezTo>
                        <a:pt x="121188" y="56906"/>
                        <a:pt x="144372" y="44523"/>
                        <a:pt x="144372" y="38201"/>
                      </a:cubicBezTo>
                      <a:cubicBezTo>
                        <a:pt x="144372" y="34578"/>
                        <a:pt x="147336" y="31614"/>
                        <a:pt x="150958" y="31614"/>
                      </a:cubicBezTo>
                      <a:cubicBezTo>
                        <a:pt x="154581" y="31614"/>
                        <a:pt x="157545" y="34578"/>
                        <a:pt x="157545" y="38201"/>
                      </a:cubicBezTo>
                      <a:cubicBezTo>
                        <a:pt x="157545" y="59079"/>
                        <a:pt x="117895" y="70078"/>
                        <a:pt x="78772" y="70078"/>
                      </a:cubicBezTo>
                      <a:close/>
                    </a:path>
                  </a:pathLst>
                </a:custGeom>
                <a:grpFill/>
                <a:ln w="6578" cap="flat">
                  <a:noFill/>
                  <a:prstDash val="solid"/>
                  <a:miter/>
                </a:ln>
              </p:spPr>
              <p:txBody>
                <a:bodyPr rtlCol="0" anchor="ctr"/>
                <a:lstStyle/>
                <a:p>
                  <a:endParaRPr lang="en-GB" dirty="0"/>
                </a:p>
              </p:txBody>
            </p:sp>
            <p:grpSp>
              <p:nvGrpSpPr>
                <p:cNvPr id="456" name="Grafik 212">
                  <a:extLst>
                    <a:ext uri="{FF2B5EF4-FFF2-40B4-BE49-F238E27FC236}">
                      <a16:creationId xmlns:a16="http://schemas.microsoft.com/office/drawing/2014/main" id="{6E49DAE8-0981-4143-B362-C7BE9E80785B}"/>
                    </a:ext>
                  </a:extLst>
                </p:cNvPr>
                <p:cNvGrpSpPr/>
                <p:nvPr/>
              </p:nvGrpSpPr>
              <p:grpSpPr>
                <a:xfrm>
                  <a:off x="3487076" y="3511630"/>
                  <a:ext cx="136374" cy="100902"/>
                  <a:chOff x="3487076" y="3511630"/>
                  <a:chExt cx="136374" cy="100902"/>
                </a:xfrm>
                <a:grpFill/>
              </p:grpSpPr>
              <p:sp>
                <p:nvSpPr>
                  <p:cNvPr id="462" name="Freihandform: Form 382">
                    <a:extLst>
                      <a:ext uri="{FF2B5EF4-FFF2-40B4-BE49-F238E27FC236}">
                        <a16:creationId xmlns:a16="http://schemas.microsoft.com/office/drawing/2014/main" id="{0535F0F3-F409-446F-B089-72C80942D975}"/>
                      </a:ext>
                    </a:extLst>
                  </p:cNvPr>
                  <p:cNvSpPr/>
                  <p:nvPr/>
                </p:nvSpPr>
                <p:spPr>
                  <a:xfrm>
                    <a:off x="3487076" y="3542454"/>
                    <a:ext cx="136374" cy="70078"/>
                  </a:xfrm>
                  <a:custGeom>
                    <a:avLst/>
                    <a:gdLst>
                      <a:gd name="connsiteX0" fmla="*/ 78772 w 136374"/>
                      <a:gd name="connsiteY0" fmla="*/ 70079 h 70078"/>
                      <a:gd name="connsiteX1" fmla="*/ 0 w 136374"/>
                      <a:gd name="connsiteY1" fmla="*/ 38201 h 70078"/>
                      <a:gd name="connsiteX2" fmla="*/ 0 w 136374"/>
                      <a:gd name="connsiteY2" fmla="*/ 6586 h 70078"/>
                      <a:gd name="connsiteX3" fmla="*/ 6586 w 136374"/>
                      <a:gd name="connsiteY3" fmla="*/ 0 h 70078"/>
                      <a:gd name="connsiteX4" fmla="*/ 13173 w 136374"/>
                      <a:gd name="connsiteY4" fmla="*/ 6586 h 70078"/>
                      <a:gd name="connsiteX5" fmla="*/ 13173 w 136374"/>
                      <a:gd name="connsiteY5" fmla="*/ 38201 h 70078"/>
                      <a:gd name="connsiteX6" fmla="*/ 78772 w 136374"/>
                      <a:gd name="connsiteY6" fmla="*/ 56906 h 70078"/>
                      <a:gd name="connsiteX7" fmla="*/ 127643 w 136374"/>
                      <a:gd name="connsiteY7" fmla="*/ 49858 h 70078"/>
                      <a:gd name="connsiteX8" fmla="*/ 136007 w 136374"/>
                      <a:gd name="connsiteY8" fmla="*/ 53876 h 70078"/>
                      <a:gd name="connsiteX9" fmla="*/ 131990 w 136374"/>
                      <a:gd name="connsiteY9" fmla="*/ 62241 h 70078"/>
                      <a:gd name="connsiteX10" fmla="*/ 78772 w 136374"/>
                      <a:gd name="connsiteY10" fmla="*/ 70079 h 7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374" h="70078">
                        <a:moveTo>
                          <a:pt x="78772" y="70079"/>
                        </a:moveTo>
                        <a:cubicBezTo>
                          <a:pt x="39650" y="70079"/>
                          <a:pt x="0" y="59145"/>
                          <a:pt x="0" y="38201"/>
                        </a:cubicBezTo>
                        <a:lnTo>
                          <a:pt x="0" y="6586"/>
                        </a:lnTo>
                        <a:cubicBezTo>
                          <a:pt x="0" y="2964"/>
                          <a:pt x="2964" y="0"/>
                          <a:pt x="6586" y="0"/>
                        </a:cubicBezTo>
                        <a:cubicBezTo>
                          <a:pt x="10209" y="0"/>
                          <a:pt x="13173" y="2964"/>
                          <a:pt x="13173" y="6586"/>
                        </a:cubicBezTo>
                        <a:lnTo>
                          <a:pt x="13173" y="38201"/>
                        </a:lnTo>
                        <a:cubicBezTo>
                          <a:pt x="13173" y="44524"/>
                          <a:pt x="36290" y="56906"/>
                          <a:pt x="78772" y="56906"/>
                        </a:cubicBezTo>
                        <a:cubicBezTo>
                          <a:pt x="97346" y="56906"/>
                          <a:pt x="114734" y="54403"/>
                          <a:pt x="127643" y="49858"/>
                        </a:cubicBezTo>
                        <a:cubicBezTo>
                          <a:pt x="131068" y="48673"/>
                          <a:pt x="134822" y="50451"/>
                          <a:pt x="136007" y="53876"/>
                        </a:cubicBezTo>
                        <a:cubicBezTo>
                          <a:pt x="137193" y="57301"/>
                          <a:pt x="135415" y="61055"/>
                          <a:pt x="131990" y="62241"/>
                        </a:cubicBezTo>
                        <a:cubicBezTo>
                          <a:pt x="117697" y="67312"/>
                          <a:pt x="98795" y="70079"/>
                          <a:pt x="78772" y="70079"/>
                        </a:cubicBezTo>
                        <a:close/>
                      </a:path>
                    </a:pathLst>
                  </a:custGeom>
                  <a:grpFill/>
                  <a:ln w="6578" cap="flat">
                    <a:noFill/>
                    <a:prstDash val="solid"/>
                    <a:miter/>
                  </a:ln>
                </p:spPr>
                <p:txBody>
                  <a:bodyPr rtlCol="0" anchor="ctr"/>
                  <a:lstStyle/>
                  <a:p>
                    <a:endParaRPr lang="en-GB" dirty="0"/>
                  </a:p>
                </p:txBody>
              </p:sp>
              <p:sp>
                <p:nvSpPr>
                  <p:cNvPr id="463" name="Freihandform: Form 383">
                    <a:extLst>
                      <a:ext uri="{FF2B5EF4-FFF2-40B4-BE49-F238E27FC236}">
                        <a16:creationId xmlns:a16="http://schemas.microsoft.com/office/drawing/2014/main" id="{7D504853-8039-461C-A159-3CAA3816C7E2}"/>
                      </a:ext>
                    </a:extLst>
                  </p:cNvPr>
                  <p:cNvSpPr/>
                  <p:nvPr/>
                </p:nvSpPr>
                <p:spPr>
                  <a:xfrm>
                    <a:off x="3487076" y="3511630"/>
                    <a:ext cx="116865" cy="70078"/>
                  </a:xfrm>
                  <a:custGeom>
                    <a:avLst/>
                    <a:gdLst>
                      <a:gd name="connsiteX0" fmla="*/ 78772 w 116865"/>
                      <a:gd name="connsiteY0" fmla="*/ 70079 h 70078"/>
                      <a:gd name="connsiteX1" fmla="*/ 0 w 116865"/>
                      <a:gd name="connsiteY1" fmla="*/ 38201 h 70078"/>
                      <a:gd name="connsiteX2" fmla="*/ 0 w 116865"/>
                      <a:gd name="connsiteY2" fmla="*/ 6586 h 70078"/>
                      <a:gd name="connsiteX3" fmla="*/ 6586 w 116865"/>
                      <a:gd name="connsiteY3" fmla="*/ 0 h 70078"/>
                      <a:gd name="connsiteX4" fmla="*/ 13173 w 116865"/>
                      <a:gd name="connsiteY4" fmla="*/ 6586 h 70078"/>
                      <a:gd name="connsiteX5" fmla="*/ 13173 w 116865"/>
                      <a:gd name="connsiteY5" fmla="*/ 38201 h 70078"/>
                      <a:gd name="connsiteX6" fmla="*/ 78772 w 116865"/>
                      <a:gd name="connsiteY6" fmla="*/ 56906 h 70078"/>
                      <a:gd name="connsiteX7" fmla="*/ 109201 w 116865"/>
                      <a:gd name="connsiteY7" fmla="*/ 54469 h 70078"/>
                      <a:gd name="connsiteX8" fmla="*/ 116775 w 116865"/>
                      <a:gd name="connsiteY8" fmla="*/ 59870 h 70078"/>
                      <a:gd name="connsiteX9" fmla="*/ 111375 w 116865"/>
                      <a:gd name="connsiteY9" fmla="*/ 67444 h 70078"/>
                      <a:gd name="connsiteX10" fmla="*/ 78772 w 116865"/>
                      <a:gd name="connsiteY10" fmla="*/ 70079 h 7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865" h="70078">
                        <a:moveTo>
                          <a:pt x="78772" y="70079"/>
                        </a:moveTo>
                        <a:cubicBezTo>
                          <a:pt x="39650" y="70079"/>
                          <a:pt x="0" y="59145"/>
                          <a:pt x="0" y="38201"/>
                        </a:cubicBezTo>
                        <a:lnTo>
                          <a:pt x="0" y="6586"/>
                        </a:lnTo>
                        <a:cubicBezTo>
                          <a:pt x="0" y="2964"/>
                          <a:pt x="2964" y="0"/>
                          <a:pt x="6586" y="0"/>
                        </a:cubicBezTo>
                        <a:cubicBezTo>
                          <a:pt x="10209" y="0"/>
                          <a:pt x="13173" y="2964"/>
                          <a:pt x="13173" y="6586"/>
                        </a:cubicBezTo>
                        <a:lnTo>
                          <a:pt x="13173" y="38201"/>
                        </a:lnTo>
                        <a:cubicBezTo>
                          <a:pt x="13173" y="44524"/>
                          <a:pt x="36290" y="56906"/>
                          <a:pt x="78772" y="56906"/>
                        </a:cubicBezTo>
                        <a:cubicBezTo>
                          <a:pt x="89508" y="56906"/>
                          <a:pt x="99717" y="56050"/>
                          <a:pt x="109201" y="54469"/>
                        </a:cubicBezTo>
                        <a:cubicBezTo>
                          <a:pt x="112824" y="53876"/>
                          <a:pt x="116183" y="56247"/>
                          <a:pt x="116775" y="59870"/>
                        </a:cubicBezTo>
                        <a:cubicBezTo>
                          <a:pt x="117368" y="63426"/>
                          <a:pt x="114997" y="66851"/>
                          <a:pt x="111375" y="67444"/>
                        </a:cubicBezTo>
                        <a:cubicBezTo>
                          <a:pt x="101232" y="69156"/>
                          <a:pt x="90232" y="70079"/>
                          <a:pt x="78772" y="70079"/>
                        </a:cubicBezTo>
                        <a:close/>
                      </a:path>
                    </a:pathLst>
                  </a:custGeom>
                  <a:grpFill/>
                  <a:ln w="6578" cap="flat">
                    <a:noFill/>
                    <a:prstDash val="solid"/>
                    <a:miter/>
                  </a:ln>
                </p:spPr>
                <p:txBody>
                  <a:bodyPr rtlCol="0" anchor="ctr"/>
                  <a:lstStyle/>
                  <a:p>
                    <a:endParaRPr lang="en-GB" dirty="0"/>
                  </a:p>
                </p:txBody>
              </p:sp>
            </p:grpSp>
            <p:grpSp>
              <p:nvGrpSpPr>
                <p:cNvPr id="457" name="Grafik 212">
                  <a:extLst>
                    <a:ext uri="{FF2B5EF4-FFF2-40B4-BE49-F238E27FC236}">
                      <a16:creationId xmlns:a16="http://schemas.microsoft.com/office/drawing/2014/main" id="{A2132244-AE52-4CB7-A561-729E53F82EEB}"/>
                    </a:ext>
                  </a:extLst>
                </p:cNvPr>
                <p:cNvGrpSpPr/>
                <p:nvPr/>
              </p:nvGrpSpPr>
              <p:grpSpPr>
                <a:xfrm>
                  <a:off x="3487076" y="3426888"/>
                  <a:ext cx="98014" cy="123469"/>
                  <a:chOff x="3487076" y="3426888"/>
                  <a:chExt cx="98014" cy="123469"/>
                </a:xfrm>
                <a:grpFill/>
              </p:grpSpPr>
              <p:sp>
                <p:nvSpPr>
                  <p:cNvPr id="458" name="Freihandform: Form 385">
                    <a:extLst>
                      <a:ext uri="{FF2B5EF4-FFF2-40B4-BE49-F238E27FC236}">
                        <a16:creationId xmlns:a16="http://schemas.microsoft.com/office/drawing/2014/main" id="{C56F68F5-7411-4E44-A1DE-C8346DDC8B53}"/>
                      </a:ext>
                    </a:extLst>
                  </p:cNvPr>
                  <p:cNvSpPr/>
                  <p:nvPr/>
                </p:nvSpPr>
                <p:spPr>
                  <a:xfrm>
                    <a:off x="3487076" y="3480279"/>
                    <a:ext cx="98014" cy="70078"/>
                  </a:xfrm>
                  <a:custGeom>
                    <a:avLst/>
                    <a:gdLst>
                      <a:gd name="connsiteX0" fmla="*/ 78772 w 98014"/>
                      <a:gd name="connsiteY0" fmla="*/ 70078 h 70078"/>
                      <a:gd name="connsiteX1" fmla="*/ 0 w 98014"/>
                      <a:gd name="connsiteY1" fmla="*/ 38201 h 70078"/>
                      <a:gd name="connsiteX2" fmla="*/ 0 w 98014"/>
                      <a:gd name="connsiteY2" fmla="*/ 6586 h 70078"/>
                      <a:gd name="connsiteX3" fmla="*/ 6586 w 98014"/>
                      <a:gd name="connsiteY3" fmla="*/ 0 h 70078"/>
                      <a:gd name="connsiteX4" fmla="*/ 13173 w 98014"/>
                      <a:gd name="connsiteY4" fmla="*/ 6586 h 70078"/>
                      <a:gd name="connsiteX5" fmla="*/ 13173 w 98014"/>
                      <a:gd name="connsiteY5" fmla="*/ 38201 h 70078"/>
                      <a:gd name="connsiteX6" fmla="*/ 78772 w 98014"/>
                      <a:gd name="connsiteY6" fmla="*/ 56906 h 70078"/>
                      <a:gd name="connsiteX7" fmla="*/ 91023 w 98014"/>
                      <a:gd name="connsiteY7" fmla="*/ 56511 h 70078"/>
                      <a:gd name="connsiteX8" fmla="*/ 98004 w 98014"/>
                      <a:gd name="connsiteY8" fmla="*/ 62702 h 70078"/>
                      <a:gd name="connsiteX9" fmla="*/ 91813 w 98014"/>
                      <a:gd name="connsiteY9" fmla="*/ 69683 h 70078"/>
                      <a:gd name="connsiteX10" fmla="*/ 78772 w 98014"/>
                      <a:gd name="connsiteY10" fmla="*/ 70078 h 7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014" h="70078">
                        <a:moveTo>
                          <a:pt x="78772" y="70078"/>
                        </a:moveTo>
                        <a:cubicBezTo>
                          <a:pt x="39650" y="70078"/>
                          <a:pt x="0" y="59145"/>
                          <a:pt x="0" y="38201"/>
                        </a:cubicBezTo>
                        <a:lnTo>
                          <a:pt x="0" y="6586"/>
                        </a:lnTo>
                        <a:cubicBezTo>
                          <a:pt x="0" y="2964"/>
                          <a:pt x="2964" y="0"/>
                          <a:pt x="6586" y="0"/>
                        </a:cubicBezTo>
                        <a:cubicBezTo>
                          <a:pt x="10209" y="0"/>
                          <a:pt x="13173" y="2964"/>
                          <a:pt x="13173" y="6586"/>
                        </a:cubicBezTo>
                        <a:lnTo>
                          <a:pt x="13173" y="38201"/>
                        </a:lnTo>
                        <a:cubicBezTo>
                          <a:pt x="13173" y="44523"/>
                          <a:pt x="36290" y="56906"/>
                          <a:pt x="78772" y="56906"/>
                        </a:cubicBezTo>
                        <a:cubicBezTo>
                          <a:pt x="82922" y="56906"/>
                          <a:pt x="87071" y="56774"/>
                          <a:pt x="91023" y="56511"/>
                        </a:cubicBezTo>
                        <a:cubicBezTo>
                          <a:pt x="94579" y="56379"/>
                          <a:pt x="97807" y="59079"/>
                          <a:pt x="98004" y="62702"/>
                        </a:cubicBezTo>
                        <a:cubicBezTo>
                          <a:pt x="98202" y="66324"/>
                          <a:pt x="95436" y="69486"/>
                          <a:pt x="91813" y="69683"/>
                        </a:cubicBezTo>
                        <a:cubicBezTo>
                          <a:pt x="87598" y="69947"/>
                          <a:pt x="83251" y="70078"/>
                          <a:pt x="78772" y="70078"/>
                        </a:cubicBezTo>
                        <a:close/>
                      </a:path>
                    </a:pathLst>
                  </a:custGeom>
                  <a:grpFill/>
                  <a:ln w="6578" cap="flat">
                    <a:noFill/>
                    <a:prstDash val="solid"/>
                    <a:miter/>
                  </a:ln>
                </p:spPr>
                <p:txBody>
                  <a:bodyPr rtlCol="0" anchor="ctr"/>
                  <a:lstStyle/>
                  <a:p>
                    <a:endParaRPr lang="en-GB" dirty="0"/>
                  </a:p>
                </p:txBody>
              </p:sp>
              <p:grpSp>
                <p:nvGrpSpPr>
                  <p:cNvPr id="459" name="Grafik 212">
                    <a:extLst>
                      <a:ext uri="{FF2B5EF4-FFF2-40B4-BE49-F238E27FC236}">
                        <a16:creationId xmlns:a16="http://schemas.microsoft.com/office/drawing/2014/main" id="{47AD80E7-2C3E-4C02-9591-618C97D1A4F8}"/>
                      </a:ext>
                    </a:extLst>
                  </p:cNvPr>
                  <p:cNvGrpSpPr/>
                  <p:nvPr/>
                </p:nvGrpSpPr>
                <p:grpSpPr>
                  <a:xfrm>
                    <a:off x="3487076" y="3426888"/>
                    <a:ext cx="85358" cy="92645"/>
                    <a:chOff x="3487076" y="3426888"/>
                    <a:chExt cx="85358" cy="92645"/>
                  </a:xfrm>
                  <a:grpFill/>
                </p:grpSpPr>
                <p:sp>
                  <p:nvSpPr>
                    <p:cNvPr id="460" name="Freihandform: Form 387">
                      <a:extLst>
                        <a:ext uri="{FF2B5EF4-FFF2-40B4-BE49-F238E27FC236}">
                          <a16:creationId xmlns:a16="http://schemas.microsoft.com/office/drawing/2014/main" id="{5E361262-55AB-4535-B16D-275442632A7D}"/>
                        </a:ext>
                      </a:extLst>
                    </p:cNvPr>
                    <p:cNvSpPr/>
                    <p:nvPr/>
                  </p:nvSpPr>
                  <p:spPr>
                    <a:xfrm>
                      <a:off x="3487076" y="3426888"/>
                      <a:ext cx="71874" cy="60635"/>
                    </a:xfrm>
                    <a:custGeom>
                      <a:avLst/>
                      <a:gdLst>
                        <a:gd name="connsiteX0" fmla="*/ 65336 w 71874"/>
                        <a:gd name="connsiteY0" fmla="*/ 60636 h 60635"/>
                        <a:gd name="connsiteX1" fmla="*/ 64875 w 71874"/>
                        <a:gd name="connsiteY1" fmla="*/ 60636 h 60635"/>
                        <a:gd name="connsiteX2" fmla="*/ 0 w 71874"/>
                        <a:gd name="connsiteY2" fmla="*/ 29219 h 60635"/>
                        <a:gd name="connsiteX3" fmla="*/ 45182 w 71874"/>
                        <a:gd name="connsiteY3" fmla="*/ 108 h 60635"/>
                        <a:gd name="connsiteX4" fmla="*/ 52822 w 71874"/>
                        <a:gd name="connsiteY4" fmla="*/ 5443 h 60635"/>
                        <a:gd name="connsiteX5" fmla="*/ 47487 w 71874"/>
                        <a:gd name="connsiteY5" fmla="*/ 13083 h 60635"/>
                        <a:gd name="connsiteX6" fmla="*/ 13173 w 71874"/>
                        <a:gd name="connsiteY6" fmla="*/ 29219 h 60635"/>
                        <a:gd name="connsiteX7" fmla="*/ 65731 w 71874"/>
                        <a:gd name="connsiteY7" fmla="*/ 47529 h 60635"/>
                        <a:gd name="connsiteX8" fmla="*/ 71857 w 71874"/>
                        <a:gd name="connsiteY8" fmla="*/ 54511 h 60635"/>
                        <a:gd name="connsiteX9" fmla="*/ 65336 w 71874"/>
                        <a:gd name="connsiteY9" fmla="*/ 60636 h 60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874" h="60635">
                          <a:moveTo>
                            <a:pt x="65336" y="60636"/>
                          </a:moveTo>
                          <a:cubicBezTo>
                            <a:pt x="65204" y="60636"/>
                            <a:pt x="65073" y="60636"/>
                            <a:pt x="64875" y="60636"/>
                          </a:cubicBezTo>
                          <a:cubicBezTo>
                            <a:pt x="34973" y="58660"/>
                            <a:pt x="0" y="49242"/>
                            <a:pt x="0" y="29219"/>
                          </a:cubicBezTo>
                          <a:cubicBezTo>
                            <a:pt x="0" y="15783"/>
                            <a:pt x="16466" y="5179"/>
                            <a:pt x="45182" y="108"/>
                          </a:cubicBezTo>
                          <a:cubicBezTo>
                            <a:pt x="48739" y="-551"/>
                            <a:pt x="52164" y="1886"/>
                            <a:pt x="52822" y="5443"/>
                          </a:cubicBezTo>
                          <a:cubicBezTo>
                            <a:pt x="53481" y="8999"/>
                            <a:pt x="51044" y="12424"/>
                            <a:pt x="47487" y="13083"/>
                          </a:cubicBezTo>
                          <a:cubicBezTo>
                            <a:pt x="23842" y="17232"/>
                            <a:pt x="13173" y="25004"/>
                            <a:pt x="13173" y="29219"/>
                          </a:cubicBezTo>
                          <a:cubicBezTo>
                            <a:pt x="13173" y="34554"/>
                            <a:pt x="30758" y="45158"/>
                            <a:pt x="65731" y="47529"/>
                          </a:cubicBezTo>
                          <a:cubicBezTo>
                            <a:pt x="69354" y="47793"/>
                            <a:pt x="72120" y="50888"/>
                            <a:pt x="71857" y="54511"/>
                          </a:cubicBezTo>
                          <a:cubicBezTo>
                            <a:pt x="71659" y="57935"/>
                            <a:pt x="68761" y="60636"/>
                            <a:pt x="65336" y="60636"/>
                          </a:cubicBezTo>
                          <a:close/>
                        </a:path>
                      </a:pathLst>
                    </a:custGeom>
                    <a:grpFill/>
                    <a:ln w="6578" cap="flat">
                      <a:noFill/>
                      <a:prstDash val="solid"/>
                      <a:miter/>
                    </a:ln>
                  </p:spPr>
                  <p:txBody>
                    <a:bodyPr rtlCol="0" anchor="ctr"/>
                    <a:lstStyle/>
                    <a:p>
                      <a:endParaRPr lang="en-GB" dirty="0"/>
                    </a:p>
                  </p:txBody>
                </p:sp>
                <p:sp>
                  <p:nvSpPr>
                    <p:cNvPr id="461" name="Freihandform: Form 388">
                      <a:extLst>
                        <a:ext uri="{FF2B5EF4-FFF2-40B4-BE49-F238E27FC236}">
                          <a16:creationId xmlns:a16="http://schemas.microsoft.com/office/drawing/2014/main" id="{52B23E5E-32A5-4753-BC88-A8CC2441CDC1}"/>
                        </a:ext>
                      </a:extLst>
                    </p:cNvPr>
                    <p:cNvSpPr/>
                    <p:nvPr/>
                  </p:nvSpPr>
                  <p:spPr>
                    <a:xfrm>
                      <a:off x="3487076" y="3449455"/>
                      <a:ext cx="85358" cy="70078"/>
                    </a:xfrm>
                    <a:custGeom>
                      <a:avLst/>
                      <a:gdLst>
                        <a:gd name="connsiteX0" fmla="*/ 78772 w 85358"/>
                        <a:gd name="connsiteY0" fmla="*/ 70079 h 70078"/>
                        <a:gd name="connsiteX1" fmla="*/ 0 w 85358"/>
                        <a:gd name="connsiteY1" fmla="*/ 38201 h 70078"/>
                        <a:gd name="connsiteX2" fmla="*/ 0 w 85358"/>
                        <a:gd name="connsiteY2" fmla="*/ 6586 h 70078"/>
                        <a:gd name="connsiteX3" fmla="*/ 6586 w 85358"/>
                        <a:gd name="connsiteY3" fmla="*/ 0 h 70078"/>
                        <a:gd name="connsiteX4" fmla="*/ 13173 w 85358"/>
                        <a:gd name="connsiteY4" fmla="*/ 6586 h 70078"/>
                        <a:gd name="connsiteX5" fmla="*/ 13173 w 85358"/>
                        <a:gd name="connsiteY5" fmla="*/ 38201 h 70078"/>
                        <a:gd name="connsiteX6" fmla="*/ 78772 w 85358"/>
                        <a:gd name="connsiteY6" fmla="*/ 56906 h 70078"/>
                        <a:gd name="connsiteX7" fmla="*/ 85359 w 85358"/>
                        <a:gd name="connsiteY7" fmla="*/ 63492 h 70078"/>
                        <a:gd name="connsiteX8" fmla="*/ 78772 w 85358"/>
                        <a:gd name="connsiteY8" fmla="*/ 70079 h 70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358" h="70078">
                          <a:moveTo>
                            <a:pt x="78772" y="70079"/>
                          </a:moveTo>
                          <a:cubicBezTo>
                            <a:pt x="39650" y="70079"/>
                            <a:pt x="0" y="59145"/>
                            <a:pt x="0" y="38201"/>
                          </a:cubicBezTo>
                          <a:lnTo>
                            <a:pt x="0" y="6586"/>
                          </a:lnTo>
                          <a:cubicBezTo>
                            <a:pt x="0" y="2964"/>
                            <a:pt x="2964" y="0"/>
                            <a:pt x="6586" y="0"/>
                          </a:cubicBezTo>
                          <a:cubicBezTo>
                            <a:pt x="10209" y="0"/>
                            <a:pt x="13173" y="2964"/>
                            <a:pt x="13173" y="6586"/>
                          </a:cubicBezTo>
                          <a:lnTo>
                            <a:pt x="13173" y="38201"/>
                          </a:lnTo>
                          <a:cubicBezTo>
                            <a:pt x="13173" y="44524"/>
                            <a:pt x="36290" y="56906"/>
                            <a:pt x="78772" y="56906"/>
                          </a:cubicBezTo>
                          <a:cubicBezTo>
                            <a:pt x="82395" y="56906"/>
                            <a:pt x="85359" y="59870"/>
                            <a:pt x="85359" y="63492"/>
                          </a:cubicBezTo>
                          <a:cubicBezTo>
                            <a:pt x="85359" y="67115"/>
                            <a:pt x="82395" y="70079"/>
                            <a:pt x="78772" y="70079"/>
                          </a:cubicBezTo>
                          <a:close/>
                        </a:path>
                      </a:pathLst>
                    </a:custGeom>
                    <a:grpFill/>
                    <a:ln w="6578" cap="flat">
                      <a:noFill/>
                      <a:prstDash val="solid"/>
                      <a:miter/>
                    </a:ln>
                  </p:spPr>
                  <p:txBody>
                    <a:bodyPr rtlCol="0" anchor="ctr"/>
                    <a:lstStyle/>
                    <a:p>
                      <a:endParaRPr lang="en-GB" dirty="0"/>
                    </a:p>
                  </p:txBody>
                </p:sp>
              </p:grpSp>
            </p:grpSp>
          </p:grpSp>
        </p:grpSp>
      </p:grpSp>
      <p:sp>
        <p:nvSpPr>
          <p:cNvPr id="470" name="TextBox 469">
            <a:extLst>
              <a:ext uri="{FF2B5EF4-FFF2-40B4-BE49-F238E27FC236}">
                <a16:creationId xmlns:a16="http://schemas.microsoft.com/office/drawing/2014/main" id="{04839CA2-AB11-416F-97C1-D32EB346DE0E}"/>
              </a:ext>
            </a:extLst>
          </p:cNvPr>
          <p:cNvSpPr txBox="1"/>
          <p:nvPr/>
        </p:nvSpPr>
        <p:spPr>
          <a:xfrm>
            <a:off x="4924536" y="2077494"/>
            <a:ext cx="387927" cy="215444"/>
          </a:xfrm>
          <a:prstGeom prst="rect">
            <a:avLst/>
          </a:prstGeom>
          <a:noFill/>
          <a:effectLst/>
        </p:spPr>
        <p:txBody>
          <a:bodyPr wrap="none" lIns="0" tIns="0" rIns="0" bIns="0" rtlCol="0" anchor="t">
            <a:spAutoFit/>
          </a:bodyPr>
          <a:lstStyle/>
          <a:p>
            <a:pPr algn="ctr"/>
            <a:r>
              <a:rPr lang="en-GB" sz="700" dirty="0">
                <a:solidFill>
                  <a:schemeClr val="tx2"/>
                </a:solidFill>
              </a:rPr>
              <a:t>Finance</a:t>
            </a:r>
            <a:br>
              <a:rPr lang="en-GB" sz="700" dirty="0">
                <a:solidFill>
                  <a:schemeClr val="tx2"/>
                </a:solidFill>
              </a:rPr>
            </a:br>
            <a:r>
              <a:rPr lang="en-GB" sz="700" dirty="0">
                <a:solidFill>
                  <a:schemeClr val="tx2"/>
                </a:solidFill>
              </a:rPr>
              <a:t>insurance</a:t>
            </a:r>
          </a:p>
        </p:txBody>
      </p:sp>
      <p:grpSp>
        <p:nvGrpSpPr>
          <p:cNvPr id="6" name="Group 5">
            <a:extLst>
              <a:ext uri="{FF2B5EF4-FFF2-40B4-BE49-F238E27FC236}">
                <a16:creationId xmlns:a16="http://schemas.microsoft.com/office/drawing/2014/main" id="{4F0A072B-41E2-5500-94A6-5F74CFD18EDA}"/>
              </a:ext>
            </a:extLst>
          </p:cNvPr>
          <p:cNvGrpSpPr/>
          <p:nvPr/>
        </p:nvGrpSpPr>
        <p:grpSpPr>
          <a:xfrm>
            <a:off x="5735675" y="1626716"/>
            <a:ext cx="432000" cy="432000"/>
            <a:chOff x="5735263" y="1626716"/>
            <a:chExt cx="432000" cy="432000"/>
          </a:xfrm>
        </p:grpSpPr>
        <p:grpSp>
          <p:nvGrpSpPr>
            <p:cNvPr id="472" name="Grafik 16">
              <a:extLst>
                <a:ext uri="{FF2B5EF4-FFF2-40B4-BE49-F238E27FC236}">
                  <a16:creationId xmlns:a16="http://schemas.microsoft.com/office/drawing/2014/main" id="{464FEA56-DE9B-471A-AE4B-74344D4ADF3E}"/>
                </a:ext>
              </a:extLst>
            </p:cNvPr>
            <p:cNvGrpSpPr/>
            <p:nvPr/>
          </p:nvGrpSpPr>
          <p:grpSpPr>
            <a:xfrm>
              <a:off x="5738498" y="1886127"/>
              <a:ext cx="427265" cy="172589"/>
              <a:chOff x="6138537" y="3515746"/>
              <a:chExt cx="479013" cy="193492"/>
            </a:xfrm>
            <a:solidFill>
              <a:schemeClr val="accent1"/>
            </a:solidFill>
          </p:grpSpPr>
          <p:grpSp>
            <p:nvGrpSpPr>
              <p:cNvPr id="479" name="Grafik 16">
                <a:extLst>
                  <a:ext uri="{FF2B5EF4-FFF2-40B4-BE49-F238E27FC236}">
                    <a16:creationId xmlns:a16="http://schemas.microsoft.com/office/drawing/2014/main" id="{E1D87434-D693-43E1-9966-BAB3EE90A07A}"/>
                  </a:ext>
                </a:extLst>
              </p:cNvPr>
              <p:cNvGrpSpPr/>
              <p:nvPr/>
            </p:nvGrpSpPr>
            <p:grpSpPr>
              <a:xfrm>
                <a:off x="6138537" y="3624147"/>
                <a:ext cx="168133" cy="85091"/>
                <a:chOff x="6138537" y="3624147"/>
                <a:chExt cx="168133" cy="85091"/>
              </a:xfrm>
              <a:solidFill>
                <a:schemeClr val="accent1"/>
              </a:solidFill>
            </p:grpSpPr>
            <p:sp>
              <p:nvSpPr>
                <p:cNvPr id="507" name="Freihandform: Form 976">
                  <a:extLst>
                    <a:ext uri="{FF2B5EF4-FFF2-40B4-BE49-F238E27FC236}">
                      <a16:creationId xmlns:a16="http://schemas.microsoft.com/office/drawing/2014/main" id="{5DAE151D-6EA2-4113-B40E-2E8BC3179A80}"/>
                    </a:ext>
                  </a:extLst>
                </p:cNvPr>
                <p:cNvSpPr/>
                <p:nvPr/>
              </p:nvSpPr>
              <p:spPr>
                <a:xfrm>
                  <a:off x="6138537" y="3624147"/>
                  <a:ext cx="168133" cy="57393"/>
                </a:xfrm>
                <a:custGeom>
                  <a:avLst/>
                  <a:gdLst>
                    <a:gd name="connsiteX0" fmla="*/ 84067 w 168133"/>
                    <a:gd name="connsiteY0" fmla="*/ 57393 h 57393"/>
                    <a:gd name="connsiteX1" fmla="*/ 0 w 168133"/>
                    <a:gd name="connsiteY1" fmla="*/ 28697 h 57393"/>
                    <a:gd name="connsiteX2" fmla="*/ 84067 w 168133"/>
                    <a:gd name="connsiteY2" fmla="*/ 0 h 57393"/>
                    <a:gd name="connsiteX3" fmla="*/ 168133 w 168133"/>
                    <a:gd name="connsiteY3" fmla="*/ 28697 h 57393"/>
                    <a:gd name="connsiteX4" fmla="*/ 84067 w 168133"/>
                    <a:gd name="connsiteY4" fmla="*/ 57393 h 57393"/>
                    <a:gd name="connsiteX5" fmla="*/ 84067 w 168133"/>
                    <a:gd name="connsiteY5" fmla="*/ 13087 h 57393"/>
                    <a:gd name="connsiteX6" fmla="*/ 13087 w 168133"/>
                    <a:gd name="connsiteY6" fmla="*/ 28697 h 57393"/>
                    <a:gd name="connsiteX7" fmla="*/ 84067 w 168133"/>
                    <a:gd name="connsiteY7" fmla="*/ 44306 h 57393"/>
                    <a:gd name="connsiteX8" fmla="*/ 155046 w 168133"/>
                    <a:gd name="connsiteY8" fmla="*/ 28697 h 57393"/>
                    <a:gd name="connsiteX9" fmla="*/ 84067 w 168133"/>
                    <a:gd name="connsiteY9" fmla="*/ 13087 h 57393"/>
                    <a:gd name="connsiteX10" fmla="*/ 155046 w 168133"/>
                    <a:gd name="connsiteY10" fmla="*/ 28697 h 57393"/>
                    <a:gd name="connsiteX11" fmla="*/ 155125 w 168133"/>
                    <a:gd name="connsiteY11" fmla="*/ 28697 h 57393"/>
                    <a:gd name="connsiteX12" fmla="*/ 155046 w 168133"/>
                    <a:gd name="connsiteY12" fmla="*/ 28697 h 5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57393">
                      <a:moveTo>
                        <a:pt x="84067" y="57393"/>
                      </a:moveTo>
                      <a:cubicBezTo>
                        <a:pt x="43571" y="57393"/>
                        <a:pt x="0" y="48406"/>
                        <a:pt x="0" y="28697"/>
                      </a:cubicBezTo>
                      <a:cubicBezTo>
                        <a:pt x="0" y="8987"/>
                        <a:pt x="43571" y="0"/>
                        <a:pt x="84067" y="0"/>
                      </a:cubicBezTo>
                      <a:cubicBezTo>
                        <a:pt x="124563" y="0"/>
                        <a:pt x="168133" y="8987"/>
                        <a:pt x="168133" y="28697"/>
                      </a:cubicBezTo>
                      <a:cubicBezTo>
                        <a:pt x="168133" y="48406"/>
                        <a:pt x="124563" y="57393"/>
                        <a:pt x="84067" y="57393"/>
                      </a:cubicBezTo>
                      <a:close/>
                      <a:moveTo>
                        <a:pt x="84067" y="13087"/>
                      </a:moveTo>
                      <a:cubicBezTo>
                        <a:pt x="38446" y="13087"/>
                        <a:pt x="13639" y="24019"/>
                        <a:pt x="13087" y="28697"/>
                      </a:cubicBezTo>
                      <a:cubicBezTo>
                        <a:pt x="13639" y="33348"/>
                        <a:pt x="38446" y="44306"/>
                        <a:pt x="84067" y="44306"/>
                      </a:cubicBezTo>
                      <a:cubicBezTo>
                        <a:pt x="129661" y="44306"/>
                        <a:pt x="154468" y="33374"/>
                        <a:pt x="155046" y="28697"/>
                      </a:cubicBezTo>
                      <a:cubicBezTo>
                        <a:pt x="154468" y="24019"/>
                        <a:pt x="129661" y="13087"/>
                        <a:pt x="84067" y="13087"/>
                      </a:cubicBezTo>
                      <a:close/>
                      <a:moveTo>
                        <a:pt x="155046" y="28697"/>
                      </a:moveTo>
                      <a:lnTo>
                        <a:pt x="155125" y="28697"/>
                      </a:lnTo>
                      <a:lnTo>
                        <a:pt x="155046" y="28697"/>
                      </a:lnTo>
                      <a:close/>
                    </a:path>
                  </a:pathLst>
                </a:custGeom>
                <a:solidFill>
                  <a:schemeClr val="accent1"/>
                </a:solidFill>
                <a:ln w="2624" cap="flat">
                  <a:noFill/>
                  <a:prstDash val="solid"/>
                  <a:miter/>
                </a:ln>
              </p:spPr>
              <p:txBody>
                <a:bodyPr rtlCol="0" anchor="ctr"/>
                <a:lstStyle/>
                <a:p>
                  <a:endParaRPr lang="en-GB" dirty="0"/>
                </a:p>
              </p:txBody>
            </p:sp>
            <p:sp>
              <p:nvSpPr>
                <p:cNvPr id="508" name="Freihandform: Form 977">
                  <a:extLst>
                    <a:ext uri="{FF2B5EF4-FFF2-40B4-BE49-F238E27FC236}">
                      <a16:creationId xmlns:a16="http://schemas.microsoft.com/office/drawing/2014/main" id="{C30F4E20-3F1C-4C11-8969-EC1B23856F0D}"/>
                    </a:ext>
                  </a:extLst>
                </p:cNvPr>
                <p:cNvSpPr/>
                <p:nvPr/>
              </p:nvSpPr>
              <p:spPr>
                <a:xfrm>
                  <a:off x="6138537" y="3646300"/>
                  <a:ext cx="168133" cy="62938"/>
                </a:xfrm>
                <a:custGeom>
                  <a:avLst/>
                  <a:gdLst>
                    <a:gd name="connsiteX0" fmla="*/ 84067 w 168133"/>
                    <a:gd name="connsiteY0" fmla="*/ 62938 h 62938"/>
                    <a:gd name="connsiteX1" fmla="*/ 0 w 168133"/>
                    <a:gd name="connsiteY1" fmla="*/ 34242 h 62938"/>
                    <a:gd name="connsiteX2" fmla="*/ 0 w 168133"/>
                    <a:gd name="connsiteY2" fmla="*/ 6543 h 62938"/>
                    <a:gd name="connsiteX3" fmla="*/ 6544 w 168133"/>
                    <a:gd name="connsiteY3" fmla="*/ 0 h 62938"/>
                    <a:gd name="connsiteX4" fmla="*/ 13087 w 168133"/>
                    <a:gd name="connsiteY4" fmla="*/ 6543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3"/>
                      </a:lnTo>
                      <a:cubicBezTo>
                        <a:pt x="0" y="2917"/>
                        <a:pt x="2943" y="0"/>
                        <a:pt x="6544" y="0"/>
                      </a:cubicBezTo>
                      <a:cubicBezTo>
                        <a:pt x="10170" y="0"/>
                        <a:pt x="13087" y="2917"/>
                        <a:pt x="13087" y="6543"/>
                      </a:cubicBezTo>
                      <a:lnTo>
                        <a:pt x="13087" y="34242"/>
                      </a:lnTo>
                      <a:cubicBezTo>
                        <a:pt x="13639" y="38919"/>
                        <a:pt x="38446" y="49851"/>
                        <a:pt x="84067" y="49851"/>
                      </a:cubicBezTo>
                      <a:cubicBezTo>
                        <a:pt x="129687" y="49851"/>
                        <a:pt x="154494" y="38919"/>
                        <a:pt x="155046" y="34242"/>
                      </a:cubicBezTo>
                      <a:lnTo>
                        <a:pt x="155046" y="6570"/>
                      </a:lnTo>
                      <a:cubicBezTo>
                        <a:pt x="155046" y="2943"/>
                        <a:pt x="157990" y="26"/>
                        <a:pt x="161590" y="26"/>
                      </a:cubicBezTo>
                      <a:cubicBezTo>
                        <a:pt x="165190" y="26"/>
                        <a:pt x="168133" y="2943"/>
                        <a:pt x="168133" y="6570"/>
                      </a:cubicBezTo>
                      <a:lnTo>
                        <a:pt x="168133" y="34268"/>
                      </a:lnTo>
                      <a:cubicBezTo>
                        <a:pt x="168133" y="53951"/>
                        <a:pt x="124563"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480" name="Grafik 16">
                <a:extLst>
                  <a:ext uri="{FF2B5EF4-FFF2-40B4-BE49-F238E27FC236}">
                    <a16:creationId xmlns:a16="http://schemas.microsoft.com/office/drawing/2014/main" id="{27BA7FFE-981A-4AFC-8AB0-908E7AD9497C}"/>
                  </a:ext>
                </a:extLst>
              </p:cNvPr>
              <p:cNvGrpSpPr/>
              <p:nvPr/>
            </p:nvGrpSpPr>
            <p:grpSpPr>
              <a:xfrm>
                <a:off x="6293977" y="3646300"/>
                <a:ext cx="168133" cy="62938"/>
                <a:chOff x="6293977" y="3646300"/>
                <a:chExt cx="168133" cy="62938"/>
              </a:xfrm>
              <a:solidFill>
                <a:schemeClr val="accent1"/>
              </a:solidFill>
            </p:grpSpPr>
            <p:sp>
              <p:nvSpPr>
                <p:cNvPr id="505" name="Freihandform: Form 979">
                  <a:extLst>
                    <a:ext uri="{FF2B5EF4-FFF2-40B4-BE49-F238E27FC236}">
                      <a16:creationId xmlns:a16="http://schemas.microsoft.com/office/drawing/2014/main" id="{6E77AC7E-5972-4435-A422-37A9D2D110C2}"/>
                    </a:ext>
                  </a:extLst>
                </p:cNvPr>
                <p:cNvSpPr/>
                <p:nvPr/>
              </p:nvSpPr>
              <p:spPr>
                <a:xfrm>
                  <a:off x="6293977" y="3646300"/>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53"/>
                        <a:pt x="124563"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506" name="Freihandform: Form 980">
                  <a:extLst>
                    <a:ext uri="{FF2B5EF4-FFF2-40B4-BE49-F238E27FC236}">
                      <a16:creationId xmlns:a16="http://schemas.microsoft.com/office/drawing/2014/main" id="{43BB6572-36CE-496F-839E-8DAAD6FC6FA0}"/>
                    </a:ext>
                  </a:extLst>
                </p:cNvPr>
                <p:cNvSpPr/>
                <p:nvPr/>
              </p:nvSpPr>
              <p:spPr>
                <a:xfrm>
                  <a:off x="6293977" y="3646300"/>
                  <a:ext cx="168133" cy="62938"/>
                </a:xfrm>
                <a:custGeom>
                  <a:avLst/>
                  <a:gdLst>
                    <a:gd name="connsiteX0" fmla="*/ 84067 w 168133"/>
                    <a:gd name="connsiteY0" fmla="*/ 62938 h 62938"/>
                    <a:gd name="connsiteX1" fmla="*/ 0 w 168133"/>
                    <a:gd name="connsiteY1" fmla="*/ 34242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3"/>
                      </a:lnTo>
                      <a:cubicBezTo>
                        <a:pt x="0" y="2917"/>
                        <a:pt x="2943" y="0"/>
                        <a:pt x="6543" y="0"/>
                      </a:cubicBezTo>
                      <a:cubicBezTo>
                        <a:pt x="10170" y="0"/>
                        <a:pt x="13087" y="2917"/>
                        <a:pt x="13087" y="6543"/>
                      </a:cubicBezTo>
                      <a:lnTo>
                        <a:pt x="13087" y="34242"/>
                      </a:lnTo>
                      <a:cubicBezTo>
                        <a:pt x="13639" y="38919"/>
                        <a:pt x="38446" y="49851"/>
                        <a:pt x="84067" y="49851"/>
                      </a:cubicBezTo>
                      <a:cubicBezTo>
                        <a:pt x="129687" y="49851"/>
                        <a:pt x="154494" y="38919"/>
                        <a:pt x="155046" y="34242"/>
                      </a:cubicBezTo>
                      <a:lnTo>
                        <a:pt x="155046" y="6570"/>
                      </a:lnTo>
                      <a:cubicBezTo>
                        <a:pt x="155046" y="2943"/>
                        <a:pt x="157989" y="26"/>
                        <a:pt x="161590" y="26"/>
                      </a:cubicBezTo>
                      <a:cubicBezTo>
                        <a:pt x="165190" y="26"/>
                        <a:pt x="168133" y="2943"/>
                        <a:pt x="168133" y="6570"/>
                      </a:cubicBezTo>
                      <a:lnTo>
                        <a:pt x="168133" y="34268"/>
                      </a:lnTo>
                      <a:cubicBezTo>
                        <a:pt x="168133" y="53951"/>
                        <a:pt x="124563"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481" name="Grafik 16">
                <a:extLst>
                  <a:ext uri="{FF2B5EF4-FFF2-40B4-BE49-F238E27FC236}">
                    <a16:creationId xmlns:a16="http://schemas.microsoft.com/office/drawing/2014/main" id="{FF1B0BD2-B4C3-46F7-9F35-670F84BFF7FC}"/>
                  </a:ext>
                </a:extLst>
              </p:cNvPr>
              <p:cNvGrpSpPr/>
              <p:nvPr/>
            </p:nvGrpSpPr>
            <p:grpSpPr>
              <a:xfrm>
                <a:off x="6293977" y="3570144"/>
                <a:ext cx="168133" cy="112079"/>
                <a:chOff x="6293977" y="3570144"/>
                <a:chExt cx="168133" cy="112079"/>
              </a:xfrm>
              <a:solidFill>
                <a:schemeClr val="accent1"/>
              </a:solidFill>
            </p:grpSpPr>
            <p:grpSp>
              <p:nvGrpSpPr>
                <p:cNvPr id="499" name="Grafik 16">
                  <a:extLst>
                    <a:ext uri="{FF2B5EF4-FFF2-40B4-BE49-F238E27FC236}">
                      <a16:creationId xmlns:a16="http://schemas.microsoft.com/office/drawing/2014/main" id="{49165313-1A47-401B-9FB9-95B35584FF0E}"/>
                    </a:ext>
                  </a:extLst>
                </p:cNvPr>
                <p:cNvGrpSpPr/>
                <p:nvPr/>
              </p:nvGrpSpPr>
              <p:grpSpPr>
                <a:xfrm>
                  <a:off x="6293977" y="3619285"/>
                  <a:ext cx="168133" cy="62938"/>
                  <a:chOff x="6293977" y="3619285"/>
                  <a:chExt cx="168133" cy="62938"/>
                </a:xfrm>
                <a:solidFill>
                  <a:schemeClr val="accent1"/>
                </a:solidFill>
              </p:grpSpPr>
              <p:sp>
                <p:nvSpPr>
                  <p:cNvPr id="503" name="Freihandform: Form 983">
                    <a:extLst>
                      <a:ext uri="{FF2B5EF4-FFF2-40B4-BE49-F238E27FC236}">
                        <a16:creationId xmlns:a16="http://schemas.microsoft.com/office/drawing/2014/main" id="{D9DAFD2C-8D29-4C25-9716-FB0118111813}"/>
                      </a:ext>
                    </a:extLst>
                  </p:cNvPr>
                  <p:cNvSpPr/>
                  <p:nvPr/>
                </p:nvSpPr>
                <p:spPr>
                  <a:xfrm>
                    <a:off x="6293977" y="3619312"/>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53"/>
                          <a:pt x="124563"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504" name="Freihandform: Form 984">
                    <a:extLst>
                      <a:ext uri="{FF2B5EF4-FFF2-40B4-BE49-F238E27FC236}">
                        <a16:creationId xmlns:a16="http://schemas.microsoft.com/office/drawing/2014/main" id="{536BF330-7A0E-4AC1-AA93-6670C173D9A1}"/>
                      </a:ext>
                    </a:extLst>
                  </p:cNvPr>
                  <p:cNvSpPr/>
                  <p:nvPr/>
                </p:nvSpPr>
                <p:spPr>
                  <a:xfrm>
                    <a:off x="6293977" y="3619285"/>
                    <a:ext cx="168133" cy="62938"/>
                  </a:xfrm>
                  <a:custGeom>
                    <a:avLst/>
                    <a:gdLst>
                      <a:gd name="connsiteX0" fmla="*/ 84067 w 168133"/>
                      <a:gd name="connsiteY0" fmla="*/ 62938 h 62938"/>
                      <a:gd name="connsiteX1" fmla="*/ 0 w 168133"/>
                      <a:gd name="connsiteY1" fmla="*/ 34242 h 62938"/>
                      <a:gd name="connsiteX2" fmla="*/ 0 w 168133"/>
                      <a:gd name="connsiteY2" fmla="*/ 6544 h 62938"/>
                      <a:gd name="connsiteX3" fmla="*/ 6543 w 168133"/>
                      <a:gd name="connsiteY3" fmla="*/ 0 h 62938"/>
                      <a:gd name="connsiteX4" fmla="*/ 13087 w 168133"/>
                      <a:gd name="connsiteY4" fmla="*/ 6544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4"/>
                        </a:lnTo>
                        <a:cubicBezTo>
                          <a:pt x="0" y="2917"/>
                          <a:pt x="2943" y="0"/>
                          <a:pt x="6543" y="0"/>
                        </a:cubicBezTo>
                        <a:cubicBezTo>
                          <a:pt x="10170" y="0"/>
                          <a:pt x="13087" y="2917"/>
                          <a:pt x="13087" y="6544"/>
                        </a:cubicBezTo>
                        <a:lnTo>
                          <a:pt x="13087" y="34242"/>
                        </a:lnTo>
                        <a:cubicBezTo>
                          <a:pt x="13639" y="38919"/>
                          <a:pt x="38446" y="49851"/>
                          <a:pt x="84067" y="49851"/>
                        </a:cubicBezTo>
                        <a:cubicBezTo>
                          <a:pt x="129687" y="49851"/>
                          <a:pt x="154494" y="38919"/>
                          <a:pt x="155046" y="34242"/>
                        </a:cubicBezTo>
                        <a:lnTo>
                          <a:pt x="155046" y="6570"/>
                        </a:lnTo>
                        <a:cubicBezTo>
                          <a:pt x="155046" y="2943"/>
                          <a:pt x="157989" y="26"/>
                          <a:pt x="161590" y="26"/>
                        </a:cubicBezTo>
                        <a:cubicBezTo>
                          <a:pt x="165190" y="26"/>
                          <a:pt x="168133" y="2943"/>
                          <a:pt x="168133" y="6570"/>
                        </a:cubicBezTo>
                        <a:lnTo>
                          <a:pt x="168133" y="34268"/>
                        </a:lnTo>
                        <a:cubicBezTo>
                          <a:pt x="168133" y="53977"/>
                          <a:pt x="124563"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500" name="Grafik 16">
                  <a:extLst>
                    <a:ext uri="{FF2B5EF4-FFF2-40B4-BE49-F238E27FC236}">
                      <a16:creationId xmlns:a16="http://schemas.microsoft.com/office/drawing/2014/main" id="{CBD5B330-85C9-4A52-A214-5414F0A93957}"/>
                    </a:ext>
                  </a:extLst>
                </p:cNvPr>
                <p:cNvGrpSpPr/>
                <p:nvPr/>
              </p:nvGrpSpPr>
              <p:grpSpPr>
                <a:xfrm>
                  <a:off x="6293977" y="3570144"/>
                  <a:ext cx="168133" cy="85091"/>
                  <a:chOff x="6293977" y="3570144"/>
                  <a:chExt cx="168133" cy="85091"/>
                </a:xfrm>
                <a:solidFill>
                  <a:schemeClr val="accent1"/>
                </a:solidFill>
              </p:grpSpPr>
              <p:sp>
                <p:nvSpPr>
                  <p:cNvPr id="501" name="Freihandform: Form 986">
                    <a:extLst>
                      <a:ext uri="{FF2B5EF4-FFF2-40B4-BE49-F238E27FC236}">
                        <a16:creationId xmlns:a16="http://schemas.microsoft.com/office/drawing/2014/main" id="{48A1E3AD-5CFA-41B2-BB74-2F87F36D5687}"/>
                      </a:ext>
                    </a:extLst>
                  </p:cNvPr>
                  <p:cNvSpPr/>
                  <p:nvPr/>
                </p:nvSpPr>
                <p:spPr>
                  <a:xfrm>
                    <a:off x="6293977" y="3570144"/>
                    <a:ext cx="168133" cy="57393"/>
                  </a:xfrm>
                  <a:custGeom>
                    <a:avLst/>
                    <a:gdLst>
                      <a:gd name="connsiteX0" fmla="*/ 84067 w 168133"/>
                      <a:gd name="connsiteY0" fmla="*/ 57393 h 57393"/>
                      <a:gd name="connsiteX1" fmla="*/ 0 w 168133"/>
                      <a:gd name="connsiteY1" fmla="*/ 28697 h 57393"/>
                      <a:gd name="connsiteX2" fmla="*/ 84067 w 168133"/>
                      <a:gd name="connsiteY2" fmla="*/ 0 h 57393"/>
                      <a:gd name="connsiteX3" fmla="*/ 168133 w 168133"/>
                      <a:gd name="connsiteY3" fmla="*/ 28697 h 57393"/>
                      <a:gd name="connsiteX4" fmla="*/ 84067 w 168133"/>
                      <a:gd name="connsiteY4" fmla="*/ 57393 h 57393"/>
                      <a:gd name="connsiteX5" fmla="*/ 84067 w 168133"/>
                      <a:gd name="connsiteY5" fmla="*/ 13087 h 57393"/>
                      <a:gd name="connsiteX6" fmla="*/ 13087 w 168133"/>
                      <a:gd name="connsiteY6" fmla="*/ 28697 h 57393"/>
                      <a:gd name="connsiteX7" fmla="*/ 84067 w 168133"/>
                      <a:gd name="connsiteY7" fmla="*/ 44306 h 57393"/>
                      <a:gd name="connsiteX8" fmla="*/ 155046 w 168133"/>
                      <a:gd name="connsiteY8" fmla="*/ 28697 h 57393"/>
                      <a:gd name="connsiteX9" fmla="*/ 84067 w 168133"/>
                      <a:gd name="connsiteY9" fmla="*/ 13087 h 57393"/>
                      <a:gd name="connsiteX10" fmla="*/ 155046 w 168133"/>
                      <a:gd name="connsiteY10" fmla="*/ 28723 h 57393"/>
                      <a:gd name="connsiteX11" fmla="*/ 155125 w 168133"/>
                      <a:gd name="connsiteY11" fmla="*/ 28723 h 57393"/>
                      <a:gd name="connsiteX12" fmla="*/ 155046 w 168133"/>
                      <a:gd name="connsiteY12" fmla="*/ 28723 h 5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57393">
                        <a:moveTo>
                          <a:pt x="84067" y="57393"/>
                        </a:moveTo>
                        <a:cubicBezTo>
                          <a:pt x="43571" y="57393"/>
                          <a:pt x="0" y="48406"/>
                          <a:pt x="0" y="28697"/>
                        </a:cubicBezTo>
                        <a:cubicBezTo>
                          <a:pt x="0" y="8987"/>
                          <a:pt x="43571" y="0"/>
                          <a:pt x="84067" y="0"/>
                        </a:cubicBezTo>
                        <a:cubicBezTo>
                          <a:pt x="124563" y="0"/>
                          <a:pt x="168133" y="8987"/>
                          <a:pt x="168133" y="28697"/>
                        </a:cubicBezTo>
                        <a:cubicBezTo>
                          <a:pt x="168133" y="48432"/>
                          <a:pt x="124563" y="57393"/>
                          <a:pt x="84067" y="57393"/>
                        </a:cubicBezTo>
                        <a:close/>
                        <a:moveTo>
                          <a:pt x="84067" y="13087"/>
                        </a:moveTo>
                        <a:cubicBezTo>
                          <a:pt x="38446" y="13087"/>
                          <a:pt x="13639" y="24019"/>
                          <a:pt x="13087" y="28697"/>
                        </a:cubicBezTo>
                        <a:cubicBezTo>
                          <a:pt x="13639" y="33348"/>
                          <a:pt x="38446" y="44306"/>
                          <a:pt x="84067" y="44306"/>
                        </a:cubicBezTo>
                        <a:cubicBezTo>
                          <a:pt x="129661" y="44306"/>
                          <a:pt x="154468" y="33374"/>
                          <a:pt x="155046" y="28697"/>
                        </a:cubicBezTo>
                        <a:cubicBezTo>
                          <a:pt x="154468" y="24045"/>
                          <a:pt x="129661" y="13087"/>
                          <a:pt x="84067" y="13087"/>
                        </a:cubicBezTo>
                        <a:close/>
                        <a:moveTo>
                          <a:pt x="155046" y="28723"/>
                        </a:moveTo>
                        <a:lnTo>
                          <a:pt x="155125" y="28723"/>
                        </a:lnTo>
                        <a:lnTo>
                          <a:pt x="155046" y="28723"/>
                        </a:lnTo>
                        <a:close/>
                      </a:path>
                    </a:pathLst>
                  </a:custGeom>
                  <a:solidFill>
                    <a:schemeClr val="accent1"/>
                  </a:solidFill>
                  <a:ln w="2624" cap="flat">
                    <a:noFill/>
                    <a:prstDash val="solid"/>
                    <a:miter/>
                  </a:ln>
                </p:spPr>
                <p:txBody>
                  <a:bodyPr rtlCol="0" anchor="ctr"/>
                  <a:lstStyle/>
                  <a:p>
                    <a:endParaRPr lang="en-GB" dirty="0"/>
                  </a:p>
                </p:txBody>
              </p:sp>
              <p:sp>
                <p:nvSpPr>
                  <p:cNvPr id="502" name="Freihandform: Form 987">
                    <a:extLst>
                      <a:ext uri="{FF2B5EF4-FFF2-40B4-BE49-F238E27FC236}">
                        <a16:creationId xmlns:a16="http://schemas.microsoft.com/office/drawing/2014/main" id="{706E48DF-FBA3-444F-8D5E-1E1D426DC8E1}"/>
                      </a:ext>
                    </a:extLst>
                  </p:cNvPr>
                  <p:cNvSpPr/>
                  <p:nvPr/>
                </p:nvSpPr>
                <p:spPr>
                  <a:xfrm>
                    <a:off x="6293977" y="3592297"/>
                    <a:ext cx="168133" cy="62938"/>
                  </a:xfrm>
                  <a:custGeom>
                    <a:avLst/>
                    <a:gdLst>
                      <a:gd name="connsiteX0" fmla="*/ 84067 w 168133"/>
                      <a:gd name="connsiteY0" fmla="*/ 62938 h 62938"/>
                      <a:gd name="connsiteX1" fmla="*/ 0 w 168133"/>
                      <a:gd name="connsiteY1" fmla="*/ 34241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1 h 62938"/>
                      <a:gd name="connsiteX6" fmla="*/ 84067 w 168133"/>
                      <a:gd name="connsiteY6" fmla="*/ 49851 h 62938"/>
                      <a:gd name="connsiteX7" fmla="*/ 155046 w 168133"/>
                      <a:gd name="connsiteY7" fmla="*/ 34241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1"/>
                        </a:cubicBezTo>
                        <a:lnTo>
                          <a:pt x="0" y="6543"/>
                        </a:lnTo>
                        <a:cubicBezTo>
                          <a:pt x="0" y="2917"/>
                          <a:pt x="2943" y="0"/>
                          <a:pt x="6543" y="0"/>
                        </a:cubicBezTo>
                        <a:cubicBezTo>
                          <a:pt x="10170" y="0"/>
                          <a:pt x="13087" y="2917"/>
                          <a:pt x="13087" y="6543"/>
                        </a:cubicBezTo>
                        <a:lnTo>
                          <a:pt x="13087" y="34241"/>
                        </a:lnTo>
                        <a:cubicBezTo>
                          <a:pt x="13639" y="38919"/>
                          <a:pt x="38446" y="49851"/>
                          <a:pt x="84067" y="49851"/>
                        </a:cubicBezTo>
                        <a:cubicBezTo>
                          <a:pt x="129687" y="49851"/>
                          <a:pt x="154494" y="38919"/>
                          <a:pt x="155046" y="34241"/>
                        </a:cubicBezTo>
                        <a:lnTo>
                          <a:pt x="155046" y="6570"/>
                        </a:lnTo>
                        <a:cubicBezTo>
                          <a:pt x="155046" y="2943"/>
                          <a:pt x="157989" y="26"/>
                          <a:pt x="161590" y="26"/>
                        </a:cubicBezTo>
                        <a:cubicBezTo>
                          <a:pt x="165190" y="26"/>
                          <a:pt x="168133" y="2943"/>
                          <a:pt x="168133" y="6570"/>
                        </a:cubicBezTo>
                        <a:lnTo>
                          <a:pt x="168133" y="34268"/>
                        </a:lnTo>
                        <a:cubicBezTo>
                          <a:pt x="168133" y="53951"/>
                          <a:pt x="124563"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grpSp>
            <p:nvGrpSpPr>
              <p:cNvPr id="482" name="Grafik 16">
                <a:extLst>
                  <a:ext uri="{FF2B5EF4-FFF2-40B4-BE49-F238E27FC236}">
                    <a16:creationId xmlns:a16="http://schemas.microsoft.com/office/drawing/2014/main" id="{B98C9B3D-6300-4697-B17D-808A5C819732}"/>
                  </a:ext>
                </a:extLst>
              </p:cNvPr>
              <p:cNvGrpSpPr/>
              <p:nvPr/>
            </p:nvGrpSpPr>
            <p:grpSpPr>
              <a:xfrm>
                <a:off x="6449417" y="3646300"/>
                <a:ext cx="168133" cy="62938"/>
                <a:chOff x="6449417" y="3646300"/>
                <a:chExt cx="168133" cy="62938"/>
              </a:xfrm>
              <a:solidFill>
                <a:schemeClr val="accent1"/>
              </a:solidFill>
            </p:grpSpPr>
            <p:sp>
              <p:nvSpPr>
                <p:cNvPr id="497" name="Freihandform: Form 989">
                  <a:extLst>
                    <a:ext uri="{FF2B5EF4-FFF2-40B4-BE49-F238E27FC236}">
                      <a16:creationId xmlns:a16="http://schemas.microsoft.com/office/drawing/2014/main" id="{6B6B2B4D-E09F-47B6-9D7E-B14D4CD29E30}"/>
                    </a:ext>
                  </a:extLst>
                </p:cNvPr>
                <p:cNvSpPr/>
                <p:nvPr/>
              </p:nvSpPr>
              <p:spPr>
                <a:xfrm>
                  <a:off x="6449417" y="3646300"/>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53"/>
                        <a:pt x="124562"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498" name="Freihandform: Form 990">
                  <a:extLst>
                    <a:ext uri="{FF2B5EF4-FFF2-40B4-BE49-F238E27FC236}">
                      <a16:creationId xmlns:a16="http://schemas.microsoft.com/office/drawing/2014/main" id="{76114A43-6981-452A-B9B0-44CE0099C1DE}"/>
                    </a:ext>
                  </a:extLst>
                </p:cNvPr>
                <p:cNvSpPr/>
                <p:nvPr/>
              </p:nvSpPr>
              <p:spPr>
                <a:xfrm>
                  <a:off x="6449417" y="3646300"/>
                  <a:ext cx="168133" cy="62938"/>
                </a:xfrm>
                <a:custGeom>
                  <a:avLst/>
                  <a:gdLst>
                    <a:gd name="connsiteX0" fmla="*/ 84067 w 168133"/>
                    <a:gd name="connsiteY0" fmla="*/ 62938 h 62938"/>
                    <a:gd name="connsiteX1" fmla="*/ 0 w 168133"/>
                    <a:gd name="connsiteY1" fmla="*/ 34242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3"/>
                      </a:lnTo>
                      <a:cubicBezTo>
                        <a:pt x="0" y="2917"/>
                        <a:pt x="2943" y="0"/>
                        <a:pt x="6543" y="0"/>
                      </a:cubicBezTo>
                      <a:cubicBezTo>
                        <a:pt x="10170" y="0"/>
                        <a:pt x="13087" y="2917"/>
                        <a:pt x="13087" y="6543"/>
                      </a:cubicBezTo>
                      <a:lnTo>
                        <a:pt x="13087" y="34242"/>
                      </a:lnTo>
                      <a:cubicBezTo>
                        <a:pt x="13639" y="38919"/>
                        <a:pt x="38446" y="49851"/>
                        <a:pt x="84067" y="49851"/>
                      </a:cubicBezTo>
                      <a:cubicBezTo>
                        <a:pt x="129687" y="49851"/>
                        <a:pt x="154494" y="38919"/>
                        <a:pt x="155046" y="34242"/>
                      </a:cubicBezTo>
                      <a:lnTo>
                        <a:pt x="155046" y="6570"/>
                      </a:lnTo>
                      <a:cubicBezTo>
                        <a:pt x="155046" y="2943"/>
                        <a:pt x="157989" y="26"/>
                        <a:pt x="161590" y="26"/>
                      </a:cubicBezTo>
                      <a:cubicBezTo>
                        <a:pt x="165190" y="26"/>
                        <a:pt x="168133" y="2943"/>
                        <a:pt x="168133" y="6570"/>
                      </a:cubicBezTo>
                      <a:lnTo>
                        <a:pt x="168133" y="34268"/>
                      </a:lnTo>
                      <a:cubicBezTo>
                        <a:pt x="168133" y="53951"/>
                        <a:pt x="124562"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483" name="Grafik 16">
                <a:extLst>
                  <a:ext uri="{FF2B5EF4-FFF2-40B4-BE49-F238E27FC236}">
                    <a16:creationId xmlns:a16="http://schemas.microsoft.com/office/drawing/2014/main" id="{04D5B306-2C09-4C1C-A6F5-2B2146B78A7A}"/>
                  </a:ext>
                </a:extLst>
              </p:cNvPr>
              <p:cNvGrpSpPr/>
              <p:nvPr/>
            </p:nvGrpSpPr>
            <p:grpSpPr>
              <a:xfrm>
                <a:off x="6449417" y="3592297"/>
                <a:ext cx="168133" cy="89926"/>
                <a:chOff x="6449417" y="3592297"/>
                <a:chExt cx="168133" cy="89926"/>
              </a:xfrm>
              <a:solidFill>
                <a:schemeClr val="accent1"/>
              </a:solidFill>
            </p:grpSpPr>
            <p:grpSp>
              <p:nvGrpSpPr>
                <p:cNvPr id="491" name="Grafik 16">
                  <a:extLst>
                    <a:ext uri="{FF2B5EF4-FFF2-40B4-BE49-F238E27FC236}">
                      <a16:creationId xmlns:a16="http://schemas.microsoft.com/office/drawing/2014/main" id="{2C4F1C20-B0B2-4C83-B629-5A4877BE2D3B}"/>
                    </a:ext>
                  </a:extLst>
                </p:cNvPr>
                <p:cNvGrpSpPr/>
                <p:nvPr/>
              </p:nvGrpSpPr>
              <p:grpSpPr>
                <a:xfrm>
                  <a:off x="6449417" y="3619285"/>
                  <a:ext cx="168133" cy="62938"/>
                  <a:chOff x="6449417" y="3619285"/>
                  <a:chExt cx="168133" cy="62938"/>
                </a:xfrm>
                <a:solidFill>
                  <a:schemeClr val="accent1"/>
                </a:solidFill>
              </p:grpSpPr>
              <p:sp>
                <p:nvSpPr>
                  <p:cNvPr id="495" name="Freihandform: Form 993">
                    <a:extLst>
                      <a:ext uri="{FF2B5EF4-FFF2-40B4-BE49-F238E27FC236}">
                        <a16:creationId xmlns:a16="http://schemas.microsoft.com/office/drawing/2014/main" id="{2AE54CE8-F6EA-4F78-A380-1EE656F3E872}"/>
                      </a:ext>
                    </a:extLst>
                  </p:cNvPr>
                  <p:cNvSpPr/>
                  <p:nvPr/>
                </p:nvSpPr>
                <p:spPr>
                  <a:xfrm>
                    <a:off x="6449417" y="3619312"/>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53"/>
                          <a:pt x="124562"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496" name="Freihandform: Form 994">
                    <a:extLst>
                      <a:ext uri="{FF2B5EF4-FFF2-40B4-BE49-F238E27FC236}">
                        <a16:creationId xmlns:a16="http://schemas.microsoft.com/office/drawing/2014/main" id="{2D50A7C3-CA73-4DBE-BCEE-90D34BEBBF27}"/>
                      </a:ext>
                    </a:extLst>
                  </p:cNvPr>
                  <p:cNvSpPr/>
                  <p:nvPr/>
                </p:nvSpPr>
                <p:spPr>
                  <a:xfrm>
                    <a:off x="6449417" y="3619285"/>
                    <a:ext cx="168133" cy="62938"/>
                  </a:xfrm>
                  <a:custGeom>
                    <a:avLst/>
                    <a:gdLst>
                      <a:gd name="connsiteX0" fmla="*/ 84067 w 168133"/>
                      <a:gd name="connsiteY0" fmla="*/ 62938 h 62938"/>
                      <a:gd name="connsiteX1" fmla="*/ 0 w 168133"/>
                      <a:gd name="connsiteY1" fmla="*/ 34242 h 62938"/>
                      <a:gd name="connsiteX2" fmla="*/ 0 w 168133"/>
                      <a:gd name="connsiteY2" fmla="*/ 6544 h 62938"/>
                      <a:gd name="connsiteX3" fmla="*/ 6543 w 168133"/>
                      <a:gd name="connsiteY3" fmla="*/ 0 h 62938"/>
                      <a:gd name="connsiteX4" fmla="*/ 13087 w 168133"/>
                      <a:gd name="connsiteY4" fmla="*/ 6544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4"/>
                        </a:lnTo>
                        <a:cubicBezTo>
                          <a:pt x="0" y="2917"/>
                          <a:pt x="2943" y="0"/>
                          <a:pt x="6543" y="0"/>
                        </a:cubicBezTo>
                        <a:cubicBezTo>
                          <a:pt x="10170" y="0"/>
                          <a:pt x="13087" y="2917"/>
                          <a:pt x="13087" y="6544"/>
                        </a:cubicBezTo>
                        <a:lnTo>
                          <a:pt x="13087" y="34242"/>
                        </a:lnTo>
                        <a:cubicBezTo>
                          <a:pt x="13639" y="38919"/>
                          <a:pt x="38446" y="49851"/>
                          <a:pt x="84067" y="49851"/>
                        </a:cubicBezTo>
                        <a:cubicBezTo>
                          <a:pt x="129687" y="49851"/>
                          <a:pt x="154494" y="38919"/>
                          <a:pt x="155046" y="34242"/>
                        </a:cubicBezTo>
                        <a:lnTo>
                          <a:pt x="155046" y="6570"/>
                        </a:lnTo>
                        <a:cubicBezTo>
                          <a:pt x="155046" y="2943"/>
                          <a:pt x="157989" y="26"/>
                          <a:pt x="161590" y="26"/>
                        </a:cubicBezTo>
                        <a:cubicBezTo>
                          <a:pt x="165190" y="26"/>
                          <a:pt x="168133" y="2943"/>
                          <a:pt x="168133" y="6570"/>
                        </a:cubicBezTo>
                        <a:lnTo>
                          <a:pt x="168133" y="34268"/>
                        </a:lnTo>
                        <a:cubicBezTo>
                          <a:pt x="168133" y="53977"/>
                          <a:pt x="124562"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492" name="Grafik 16">
                  <a:extLst>
                    <a:ext uri="{FF2B5EF4-FFF2-40B4-BE49-F238E27FC236}">
                      <a16:creationId xmlns:a16="http://schemas.microsoft.com/office/drawing/2014/main" id="{76492739-CF6D-4805-AFF5-5014DB982024}"/>
                    </a:ext>
                  </a:extLst>
                </p:cNvPr>
                <p:cNvGrpSpPr/>
                <p:nvPr/>
              </p:nvGrpSpPr>
              <p:grpSpPr>
                <a:xfrm>
                  <a:off x="6449417" y="3592297"/>
                  <a:ext cx="168133" cy="62938"/>
                  <a:chOff x="6449417" y="3592297"/>
                  <a:chExt cx="168133" cy="62938"/>
                </a:xfrm>
                <a:solidFill>
                  <a:schemeClr val="accent1"/>
                </a:solidFill>
              </p:grpSpPr>
              <p:sp>
                <p:nvSpPr>
                  <p:cNvPr id="493" name="Freihandform: Form 996">
                    <a:extLst>
                      <a:ext uri="{FF2B5EF4-FFF2-40B4-BE49-F238E27FC236}">
                        <a16:creationId xmlns:a16="http://schemas.microsoft.com/office/drawing/2014/main" id="{387CEAD1-E47F-4E22-A124-4D827D102919}"/>
                      </a:ext>
                    </a:extLst>
                  </p:cNvPr>
                  <p:cNvSpPr/>
                  <p:nvPr/>
                </p:nvSpPr>
                <p:spPr>
                  <a:xfrm>
                    <a:off x="6449417" y="3592297"/>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79"/>
                          <a:pt x="124562"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494" name="Freihandform: Form 997">
                    <a:extLst>
                      <a:ext uri="{FF2B5EF4-FFF2-40B4-BE49-F238E27FC236}">
                        <a16:creationId xmlns:a16="http://schemas.microsoft.com/office/drawing/2014/main" id="{489FD1A4-99D9-44DA-8B9E-D1816907FF88}"/>
                      </a:ext>
                    </a:extLst>
                  </p:cNvPr>
                  <p:cNvSpPr/>
                  <p:nvPr/>
                </p:nvSpPr>
                <p:spPr>
                  <a:xfrm>
                    <a:off x="6449417" y="3592297"/>
                    <a:ext cx="168133" cy="62938"/>
                  </a:xfrm>
                  <a:custGeom>
                    <a:avLst/>
                    <a:gdLst>
                      <a:gd name="connsiteX0" fmla="*/ 84067 w 168133"/>
                      <a:gd name="connsiteY0" fmla="*/ 62938 h 62938"/>
                      <a:gd name="connsiteX1" fmla="*/ 0 w 168133"/>
                      <a:gd name="connsiteY1" fmla="*/ 34241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1 h 62938"/>
                      <a:gd name="connsiteX6" fmla="*/ 84067 w 168133"/>
                      <a:gd name="connsiteY6" fmla="*/ 49851 h 62938"/>
                      <a:gd name="connsiteX7" fmla="*/ 155046 w 168133"/>
                      <a:gd name="connsiteY7" fmla="*/ 34241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1"/>
                        </a:cubicBezTo>
                        <a:lnTo>
                          <a:pt x="0" y="6543"/>
                        </a:lnTo>
                        <a:cubicBezTo>
                          <a:pt x="0" y="2917"/>
                          <a:pt x="2943" y="0"/>
                          <a:pt x="6543" y="0"/>
                        </a:cubicBezTo>
                        <a:cubicBezTo>
                          <a:pt x="10170" y="0"/>
                          <a:pt x="13087" y="2917"/>
                          <a:pt x="13087" y="6543"/>
                        </a:cubicBezTo>
                        <a:lnTo>
                          <a:pt x="13087" y="34241"/>
                        </a:lnTo>
                        <a:cubicBezTo>
                          <a:pt x="13639" y="38919"/>
                          <a:pt x="38446" y="49851"/>
                          <a:pt x="84067" y="49851"/>
                        </a:cubicBezTo>
                        <a:cubicBezTo>
                          <a:pt x="129687" y="49851"/>
                          <a:pt x="154494" y="38919"/>
                          <a:pt x="155046" y="34241"/>
                        </a:cubicBezTo>
                        <a:lnTo>
                          <a:pt x="155046" y="6570"/>
                        </a:lnTo>
                        <a:cubicBezTo>
                          <a:pt x="155046" y="2943"/>
                          <a:pt x="157989" y="26"/>
                          <a:pt x="161590" y="26"/>
                        </a:cubicBezTo>
                        <a:cubicBezTo>
                          <a:pt x="165190" y="26"/>
                          <a:pt x="168133" y="2943"/>
                          <a:pt x="168133" y="6570"/>
                        </a:cubicBezTo>
                        <a:lnTo>
                          <a:pt x="168133" y="34268"/>
                        </a:lnTo>
                        <a:cubicBezTo>
                          <a:pt x="168133" y="53951"/>
                          <a:pt x="124562"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grpSp>
            <p:nvGrpSpPr>
              <p:cNvPr id="484" name="Grafik 16">
                <a:extLst>
                  <a:ext uri="{FF2B5EF4-FFF2-40B4-BE49-F238E27FC236}">
                    <a16:creationId xmlns:a16="http://schemas.microsoft.com/office/drawing/2014/main" id="{771C26C7-123E-4E75-833D-A121227B07A5}"/>
                  </a:ext>
                </a:extLst>
              </p:cNvPr>
              <p:cNvGrpSpPr/>
              <p:nvPr/>
            </p:nvGrpSpPr>
            <p:grpSpPr>
              <a:xfrm>
                <a:off x="6449417" y="3515746"/>
                <a:ext cx="168133" cy="112079"/>
                <a:chOff x="6449417" y="3515746"/>
                <a:chExt cx="168133" cy="112079"/>
              </a:xfrm>
              <a:solidFill>
                <a:schemeClr val="accent1"/>
              </a:solidFill>
            </p:grpSpPr>
            <p:grpSp>
              <p:nvGrpSpPr>
                <p:cNvPr id="485" name="Grafik 16">
                  <a:extLst>
                    <a:ext uri="{FF2B5EF4-FFF2-40B4-BE49-F238E27FC236}">
                      <a16:creationId xmlns:a16="http://schemas.microsoft.com/office/drawing/2014/main" id="{A1FC0548-14F8-4037-9997-B17690A8C7A2}"/>
                    </a:ext>
                  </a:extLst>
                </p:cNvPr>
                <p:cNvGrpSpPr/>
                <p:nvPr/>
              </p:nvGrpSpPr>
              <p:grpSpPr>
                <a:xfrm>
                  <a:off x="6449417" y="3564888"/>
                  <a:ext cx="168133" cy="62938"/>
                  <a:chOff x="6449417" y="3564888"/>
                  <a:chExt cx="168133" cy="62938"/>
                </a:xfrm>
                <a:solidFill>
                  <a:schemeClr val="accent1"/>
                </a:solidFill>
              </p:grpSpPr>
              <p:sp>
                <p:nvSpPr>
                  <p:cNvPr id="489" name="Freihandform: Form 1000">
                    <a:extLst>
                      <a:ext uri="{FF2B5EF4-FFF2-40B4-BE49-F238E27FC236}">
                        <a16:creationId xmlns:a16="http://schemas.microsoft.com/office/drawing/2014/main" id="{F57565CB-DD7C-421B-A66F-A012980B1C50}"/>
                      </a:ext>
                    </a:extLst>
                  </p:cNvPr>
                  <p:cNvSpPr/>
                  <p:nvPr/>
                </p:nvSpPr>
                <p:spPr>
                  <a:xfrm>
                    <a:off x="6449417" y="3564888"/>
                    <a:ext cx="168133" cy="35240"/>
                  </a:xfrm>
                  <a:custGeom>
                    <a:avLst/>
                    <a:gdLst>
                      <a:gd name="connsiteX0" fmla="*/ 84067 w 168133"/>
                      <a:gd name="connsiteY0" fmla="*/ 35240 h 35240"/>
                      <a:gd name="connsiteX1" fmla="*/ 0 w 168133"/>
                      <a:gd name="connsiteY1" fmla="*/ 6543 h 35240"/>
                      <a:gd name="connsiteX2" fmla="*/ 6543 w 168133"/>
                      <a:gd name="connsiteY2" fmla="*/ 0 h 35240"/>
                      <a:gd name="connsiteX3" fmla="*/ 13087 w 168133"/>
                      <a:gd name="connsiteY3" fmla="*/ 6543 h 35240"/>
                      <a:gd name="connsiteX4" fmla="*/ 84067 w 168133"/>
                      <a:gd name="connsiteY4" fmla="*/ 22153 h 35240"/>
                      <a:gd name="connsiteX5" fmla="*/ 155046 w 168133"/>
                      <a:gd name="connsiteY5" fmla="*/ 6543 h 35240"/>
                      <a:gd name="connsiteX6" fmla="*/ 161590 w 168133"/>
                      <a:gd name="connsiteY6" fmla="*/ 0 h 35240"/>
                      <a:gd name="connsiteX7" fmla="*/ 168133 w 168133"/>
                      <a:gd name="connsiteY7" fmla="*/ 6543 h 35240"/>
                      <a:gd name="connsiteX8" fmla="*/ 84067 w 168133"/>
                      <a:gd name="connsiteY8" fmla="*/ 35240 h 35240"/>
                      <a:gd name="connsiteX9" fmla="*/ 13087 w 168133"/>
                      <a:gd name="connsiteY9" fmla="*/ 6543 h 35240"/>
                      <a:gd name="connsiteX10" fmla="*/ 13140 w 168133"/>
                      <a:gd name="connsiteY10" fmla="*/ 6543 h 35240"/>
                      <a:gd name="connsiteX11" fmla="*/ 13087 w 168133"/>
                      <a:gd name="connsiteY11" fmla="*/ 6543 h 35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8133" h="35240">
                        <a:moveTo>
                          <a:pt x="84067" y="35240"/>
                        </a:moveTo>
                        <a:cubicBezTo>
                          <a:pt x="43571" y="35240"/>
                          <a:pt x="0" y="26253"/>
                          <a:pt x="0" y="6543"/>
                        </a:cubicBezTo>
                        <a:cubicBezTo>
                          <a:pt x="0" y="2917"/>
                          <a:pt x="2943" y="0"/>
                          <a:pt x="6543" y="0"/>
                        </a:cubicBezTo>
                        <a:cubicBezTo>
                          <a:pt x="10170" y="0"/>
                          <a:pt x="13087" y="2917"/>
                          <a:pt x="13087" y="6543"/>
                        </a:cubicBezTo>
                        <a:cubicBezTo>
                          <a:pt x="13639" y="11221"/>
                          <a:pt x="38472" y="22153"/>
                          <a:pt x="84067" y="22153"/>
                        </a:cubicBezTo>
                        <a:cubicBezTo>
                          <a:pt x="129687" y="22153"/>
                          <a:pt x="154494" y="11221"/>
                          <a:pt x="155046" y="6543"/>
                        </a:cubicBezTo>
                        <a:cubicBezTo>
                          <a:pt x="155046" y="2917"/>
                          <a:pt x="157989" y="0"/>
                          <a:pt x="161590" y="0"/>
                        </a:cubicBezTo>
                        <a:cubicBezTo>
                          <a:pt x="165190" y="0"/>
                          <a:pt x="168133" y="2943"/>
                          <a:pt x="168133" y="6543"/>
                        </a:cubicBezTo>
                        <a:cubicBezTo>
                          <a:pt x="168133" y="26279"/>
                          <a:pt x="124562" y="35240"/>
                          <a:pt x="84067" y="35240"/>
                        </a:cubicBezTo>
                        <a:close/>
                        <a:moveTo>
                          <a:pt x="13087" y="6543"/>
                        </a:moveTo>
                        <a:lnTo>
                          <a:pt x="13140" y="6543"/>
                        </a:lnTo>
                        <a:lnTo>
                          <a:pt x="13087" y="6543"/>
                        </a:lnTo>
                        <a:close/>
                      </a:path>
                    </a:pathLst>
                  </a:custGeom>
                  <a:solidFill>
                    <a:schemeClr val="accent1"/>
                  </a:solidFill>
                  <a:ln w="2624" cap="flat">
                    <a:noFill/>
                    <a:prstDash val="solid"/>
                    <a:miter/>
                  </a:ln>
                </p:spPr>
                <p:txBody>
                  <a:bodyPr rtlCol="0" anchor="ctr"/>
                  <a:lstStyle/>
                  <a:p>
                    <a:endParaRPr lang="en-GB" dirty="0"/>
                  </a:p>
                </p:txBody>
              </p:sp>
              <p:sp>
                <p:nvSpPr>
                  <p:cNvPr id="490" name="Freihandform: Form 1001">
                    <a:extLst>
                      <a:ext uri="{FF2B5EF4-FFF2-40B4-BE49-F238E27FC236}">
                        <a16:creationId xmlns:a16="http://schemas.microsoft.com/office/drawing/2014/main" id="{194F04BE-1406-43AA-B2D1-95B5E030573F}"/>
                      </a:ext>
                    </a:extLst>
                  </p:cNvPr>
                  <p:cNvSpPr/>
                  <p:nvPr/>
                </p:nvSpPr>
                <p:spPr>
                  <a:xfrm>
                    <a:off x="6449417" y="3564888"/>
                    <a:ext cx="168133" cy="62938"/>
                  </a:xfrm>
                  <a:custGeom>
                    <a:avLst/>
                    <a:gdLst>
                      <a:gd name="connsiteX0" fmla="*/ 84067 w 168133"/>
                      <a:gd name="connsiteY0" fmla="*/ 62938 h 62938"/>
                      <a:gd name="connsiteX1" fmla="*/ 0 w 168133"/>
                      <a:gd name="connsiteY1" fmla="*/ 34241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1 h 62938"/>
                      <a:gd name="connsiteX6" fmla="*/ 84067 w 168133"/>
                      <a:gd name="connsiteY6" fmla="*/ 49851 h 62938"/>
                      <a:gd name="connsiteX7" fmla="*/ 155046 w 168133"/>
                      <a:gd name="connsiteY7" fmla="*/ 34241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1"/>
                        </a:cubicBezTo>
                        <a:lnTo>
                          <a:pt x="0" y="6543"/>
                        </a:lnTo>
                        <a:cubicBezTo>
                          <a:pt x="0" y="2917"/>
                          <a:pt x="2943" y="0"/>
                          <a:pt x="6543" y="0"/>
                        </a:cubicBezTo>
                        <a:cubicBezTo>
                          <a:pt x="10170" y="0"/>
                          <a:pt x="13087" y="2917"/>
                          <a:pt x="13087" y="6543"/>
                        </a:cubicBezTo>
                        <a:lnTo>
                          <a:pt x="13087" y="34241"/>
                        </a:lnTo>
                        <a:cubicBezTo>
                          <a:pt x="13639" y="38919"/>
                          <a:pt x="38446" y="49851"/>
                          <a:pt x="84067" y="49851"/>
                        </a:cubicBezTo>
                        <a:cubicBezTo>
                          <a:pt x="129687" y="49851"/>
                          <a:pt x="154494" y="38919"/>
                          <a:pt x="155046" y="34241"/>
                        </a:cubicBezTo>
                        <a:lnTo>
                          <a:pt x="155046" y="6570"/>
                        </a:lnTo>
                        <a:cubicBezTo>
                          <a:pt x="155046" y="2943"/>
                          <a:pt x="157989" y="26"/>
                          <a:pt x="161590" y="26"/>
                        </a:cubicBezTo>
                        <a:cubicBezTo>
                          <a:pt x="165190" y="26"/>
                          <a:pt x="168133" y="2943"/>
                          <a:pt x="168133" y="6570"/>
                        </a:cubicBezTo>
                        <a:lnTo>
                          <a:pt x="168133" y="34268"/>
                        </a:lnTo>
                        <a:cubicBezTo>
                          <a:pt x="168133" y="53951"/>
                          <a:pt x="124562"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nvGrpSpPr>
                <p:cNvPr id="486" name="Grafik 16">
                  <a:extLst>
                    <a:ext uri="{FF2B5EF4-FFF2-40B4-BE49-F238E27FC236}">
                      <a16:creationId xmlns:a16="http://schemas.microsoft.com/office/drawing/2014/main" id="{4F420BAC-2F54-481A-ADF9-64E256CF42CB}"/>
                    </a:ext>
                  </a:extLst>
                </p:cNvPr>
                <p:cNvGrpSpPr/>
                <p:nvPr/>
              </p:nvGrpSpPr>
              <p:grpSpPr>
                <a:xfrm>
                  <a:off x="6449417" y="3515746"/>
                  <a:ext cx="168133" cy="85091"/>
                  <a:chOff x="6449417" y="3515746"/>
                  <a:chExt cx="168133" cy="85091"/>
                </a:xfrm>
                <a:solidFill>
                  <a:schemeClr val="accent1"/>
                </a:solidFill>
              </p:grpSpPr>
              <p:sp>
                <p:nvSpPr>
                  <p:cNvPr id="487" name="Freihandform: Form 1003">
                    <a:extLst>
                      <a:ext uri="{FF2B5EF4-FFF2-40B4-BE49-F238E27FC236}">
                        <a16:creationId xmlns:a16="http://schemas.microsoft.com/office/drawing/2014/main" id="{6D3DEEB6-FB1A-4FC7-A23C-1273F4915072}"/>
                      </a:ext>
                    </a:extLst>
                  </p:cNvPr>
                  <p:cNvSpPr/>
                  <p:nvPr/>
                </p:nvSpPr>
                <p:spPr>
                  <a:xfrm>
                    <a:off x="6449417" y="3515746"/>
                    <a:ext cx="168133" cy="57393"/>
                  </a:xfrm>
                  <a:custGeom>
                    <a:avLst/>
                    <a:gdLst>
                      <a:gd name="connsiteX0" fmla="*/ 84067 w 168133"/>
                      <a:gd name="connsiteY0" fmla="*/ 57393 h 57393"/>
                      <a:gd name="connsiteX1" fmla="*/ 0 w 168133"/>
                      <a:gd name="connsiteY1" fmla="*/ 28697 h 57393"/>
                      <a:gd name="connsiteX2" fmla="*/ 84067 w 168133"/>
                      <a:gd name="connsiteY2" fmla="*/ 0 h 57393"/>
                      <a:gd name="connsiteX3" fmla="*/ 168133 w 168133"/>
                      <a:gd name="connsiteY3" fmla="*/ 28697 h 57393"/>
                      <a:gd name="connsiteX4" fmla="*/ 84067 w 168133"/>
                      <a:gd name="connsiteY4" fmla="*/ 57393 h 57393"/>
                      <a:gd name="connsiteX5" fmla="*/ 84067 w 168133"/>
                      <a:gd name="connsiteY5" fmla="*/ 13087 h 57393"/>
                      <a:gd name="connsiteX6" fmla="*/ 13087 w 168133"/>
                      <a:gd name="connsiteY6" fmla="*/ 28697 h 57393"/>
                      <a:gd name="connsiteX7" fmla="*/ 84067 w 168133"/>
                      <a:gd name="connsiteY7" fmla="*/ 44306 h 57393"/>
                      <a:gd name="connsiteX8" fmla="*/ 155046 w 168133"/>
                      <a:gd name="connsiteY8" fmla="*/ 28697 h 57393"/>
                      <a:gd name="connsiteX9" fmla="*/ 84067 w 168133"/>
                      <a:gd name="connsiteY9" fmla="*/ 13087 h 57393"/>
                      <a:gd name="connsiteX10" fmla="*/ 155046 w 168133"/>
                      <a:gd name="connsiteY10" fmla="*/ 28697 h 57393"/>
                      <a:gd name="connsiteX11" fmla="*/ 155125 w 168133"/>
                      <a:gd name="connsiteY11" fmla="*/ 28697 h 57393"/>
                      <a:gd name="connsiteX12" fmla="*/ 155046 w 168133"/>
                      <a:gd name="connsiteY12" fmla="*/ 28697 h 5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57393">
                        <a:moveTo>
                          <a:pt x="84067" y="57393"/>
                        </a:moveTo>
                        <a:cubicBezTo>
                          <a:pt x="43571" y="57393"/>
                          <a:pt x="0" y="48406"/>
                          <a:pt x="0" y="28697"/>
                        </a:cubicBezTo>
                        <a:cubicBezTo>
                          <a:pt x="0" y="8987"/>
                          <a:pt x="43571" y="0"/>
                          <a:pt x="84067" y="0"/>
                        </a:cubicBezTo>
                        <a:cubicBezTo>
                          <a:pt x="124562" y="0"/>
                          <a:pt x="168133" y="8987"/>
                          <a:pt x="168133" y="28697"/>
                        </a:cubicBezTo>
                        <a:cubicBezTo>
                          <a:pt x="168133" y="48406"/>
                          <a:pt x="124562" y="57393"/>
                          <a:pt x="84067" y="57393"/>
                        </a:cubicBezTo>
                        <a:close/>
                        <a:moveTo>
                          <a:pt x="84067" y="13087"/>
                        </a:moveTo>
                        <a:cubicBezTo>
                          <a:pt x="38446" y="13087"/>
                          <a:pt x="13639" y="24019"/>
                          <a:pt x="13087" y="28697"/>
                        </a:cubicBezTo>
                        <a:cubicBezTo>
                          <a:pt x="13639" y="33348"/>
                          <a:pt x="38446" y="44306"/>
                          <a:pt x="84067" y="44306"/>
                        </a:cubicBezTo>
                        <a:cubicBezTo>
                          <a:pt x="129661" y="44306"/>
                          <a:pt x="154468" y="33374"/>
                          <a:pt x="155046" y="28697"/>
                        </a:cubicBezTo>
                        <a:cubicBezTo>
                          <a:pt x="154468" y="24019"/>
                          <a:pt x="129661" y="13087"/>
                          <a:pt x="84067" y="13087"/>
                        </a:cubicBezTo>
                        <a:close/>
                        <a:moveTo>
                          <a:pt x="155046" y="28697"/>
                        </a:moveTo>
                        <a:lnTo>
                          <a:pt x="155125" y="28697"/>
                        </a:lnTo>
                        <a:lnTo>
                          <a:pt x="155046" y="28697"/>
                        </a:lnTo>
                        <a:close/>
                      </a:path>
                    </a:pathLst>
                  </a:custGeom>
                  <a:solidFill>
                    <a:schemeClr val="accent1"/>
                  </a:solidFill>
                  <a:ln w="2624" cap="flat">
                    <a:noFill/>
                    <a:prstDash val="solid"/>
                    <a:miter/>
                  </a:ln>
                </p:spPr>
                <p:txBody>
                  <a:bodyPr rtlCol="0" anchor="ctr"/>
                  <a:lstStyle/>
                  <a:p>
                    <a:endParaRPr lang="en-GB" dirty="0"/>
                  </a:p>
                </p:txBody>
              </p:sp>
              <p:sp>
                <p:nvSpPr>
                  <p:cNvPr id="488" name="Freihandform: Form 1004">
                    <a:extLst>
                      <a:ext uri="{FF2B5EF4-FFF2-40B4-BE49-F238E27FC236}">
                        <a16:creationId xmlns:a16="http://schemas.microsoft.com/office/drawing/2014/main" id="{240D1BA5-98AA-4E8E-BA2A-7DF5EE14CF06}"/>
                      </a:ext>
                    </a:extLst>
                  </p:cNvPr>
                  <p:cNvSpPr/>
                  <p:nvPr/>
                </p:nvSpPr>
                <p:spPr>
                  <a:xfrm>
                    <a:off x="6449417" y="3537899"/>
                    <a:ext cx="168133" cy="62938"/>
                  </a:xfrm>
                  <a:custGeom>
                    <a:avLst/>
                    <a:gdLst>
                      <a:gd name="connsiteX0" fmla="*/ 84067 w 168133"/>
                      <a:gd name="connsiteY0" fmla="*/ 62938 h 62938"/>
                      <a:gd name="connsiteX1" fmla="*/ 0 w 168133"/>
                      <a:gd name="connsiteY1" fmla="*/ 34242 h 62938"/>
                      <a:gd name="connsiteX2" fmla="*/ 0 w 168133"/>
                      <a:gd name="connsiteY2" fmla="*/ 6543 h 62938"/>
                      <a:gd name="connsiteX3" fmla="*/ 6543 w 168133"/>
                      <a:gd name="connsiteY3" fmla="*/ 0 h 62938"/>
                      <a:gd name="connsiteX4" fmla="*/ 13087 w 168133"/>
                      <a:gd name="connsiteY4" fmla="*/ 6543 h 62938"/>
                      <a:gd name="connsiteX5" fmla="*/ 13087 w 168133"/>
                      <a:gd name="connsiteY5" fmla="*/ 34242 h 62938"/>
                      <a:gd name="connsiteX6" fmla="*/ 84067 w 168133"/>
                      <a:gd name="connsiteY6" fmla="*/ 49851 h 62938"/>
                      <a:gd name="connsiteX7" fmla="*/ 155046 w 168133"/>
                      <a:gd name="connsiteY7" fmla="*/ 34242 h 62938"/>
                      <a:gd name="connsiteX8" fmla="*/ 155046 w 168133"/>
                      <a:gd name="connsiteY8" fmla="*/ 6570 h 62938"/>
                      <a:gd name="connsiteX9" fmla="*/ 161590 w 168133"/>
                      <a:gd name="connsiteY9" fmla="*/ 26 h 62938"/>
                      <a:gd name="connsiteX10" fmla="*/ 168133 w 168133"/>
                      <a:gd name="connsiteY10" fmla="*/ 6570 h 62938"/>
                      <a:gd name="connsiteX11" fmla="*/ 168133 w 168133"/>
                      <a:gd name="connsiteY11" fmla="*/ 34268 h 62938"/>
                      <a:gd name="connsiteX12" fmla="*/ 84067 w 168133"/>
                      <a:gd name="connsiteY12" fmla="*/ 62938 h 6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8133" h="62938">
                        <a:moveTo>
                          <a:pt x="84067" y="62938"/>
                        </a:moveTo>
                        <a:cubicBezTo>
                          <a:pt x="43571" y="62938"/>
                          <a:pt x="0" y="53951"/>
                          <a:pt x="0" y="34242"/>
                        </a:cubicBezTo>
                        <a:lnTo>
                          <a:pt x="0" y="6543"/>
                        </a:lnTo>
                        <a:cubicBezTo>
                          <a:pt x="0" y="2917"/>
                          <a:pt x="2943" y="0"/>
                          <a:pt x="6543" y="0"/>
                        </a:cubicBezTo>
                        <a:cubicBezTo>
                          <a:pt x="10170" y="0"/>
                          <a:pt x="13087" y="2917"/>
                          <a:pt x="13087" y="6543"/>
                        </a:cubicBezTo>
                        <a:lnTo>
                          <a:pt x="13087" y="34242"/>
                        </a:lnTo>
                        <a:cubicBezTo>
                          <a:pt x="13639" y="38919"/>
                          <a:pt x="38446" y="49851"/>
                          <a:pt x="84067" y="49851"/>
                        </a:cubicBezTo>
                        <a:cubicBezTo>
                          <a:pt x="129687" y="49851"/>
                          <a:pt x="154494" y="38919"/>
                          <a:pt x="155046" y="34242"/>
                        </a:cubicBezTo>
                        <a:lnTo>
                          <a:pt x="155046" y="6570"/>
                        </a:lnTo>
                        <a:cubicBezTo>
                          <a:pt x="155046" y="2943"/>
                          <a:pt x="157989" y="26"/>
                          <a:pt x="161590" y="26"/>
                        </a:cubicBezTo>
                        <a:cubicBezTo>
                          <a:pt x="165190" y="26"/>
                          <a:pt x="168133" y="2943"/>
                          <a:pt x="168133" y="6570"/>
                        </a:cubicBezTo>
                        <a:lnTo>
                          <a:pt x="168133" y="34268"/>
                        </a:lnTo>
                        <a:cubicBezTo>
                          <a:pt x="168133" y="53951"/>
                          <a:pt x="124562" y="62938"/>
                          <a:pt x="84067" y="62938"/>
                        </a:cubicBezTo>
                        <a:close/>
                      </a:path>
                    </a:pathLst>
                  </a:custGeom>
                  <a:solidFill>
                    <a:schemeClr val="accent1"/>
                  </a:solidFill>
                  <a:ln w="2624" cap="flat">
                    <a:noFill/>
                    <a:prstDash val="solid"/>
                    <a:miter/>
                  </a:ln>
                </p:spPr>
                <p:txBody>
                  <a:bodyPr rtlCol="0" anchor="ctr"/>
                  <a:lstStyle/>
                  <a:p>
                    <a:endParaRPr lang="en-GB" dirty="0"/>
                  </a:p>
                </p:txBody>
              </p:sp>
            </p:grpSp>
          </p:grpSp>
        </p:grpSp>
        <p:grpSp>
          <p:nvGrpSpPr>
            <p:cNvPr id="473" name="Gruppieren 1159">
              <a:extLst>
                <a:ext uri="{FF2B5EF4-FFF2-40B4-BE49-F238E27FC236}">
                  <a16:creationId xmlns:a16="http://schemas.microsoft.com/office/drawing/2014/main" id="{CDD2F286-19D7-4F44-8114-08E47863ADCF}"/>
                </a:ext>
              </a:extLst>
            </p:cNvPr>
            <p:cNvGrpSpPr/>
            <p:nvPr/>
          </p:nvGrpSpPr>
          <p:grpSpPr>
            <a:xfrm>
              <a:off x="5735263" y="1626716"/>
              <a:ext cx="432000" cy="280202"/>
              <a:chOff x="6134910" y="3224916"/>
              <a:chExt cx="484322" cy="314139"/>
            </a:xfrm>
            <a:solidFill>
              <a:schemeClr val="tx2"/>
            </a:solidFill>
          </p:grpSpPr>
          <p:grpSp>
            <p:nvGrpSpPr>
              <p:cNvPr id="474" name="Grafik 16">
                <a:extLst>
                  <a:ext uri="{FF2B5EF4-FFF2-40B4-BE49-F238E27FC236}">
                    <a16:creationId xmlns:a16="http://schemas.microsoft.com/office/drawing/2014/main" id="{E25DA5BD-9A23-4705-8B46-B7C222662C93}"/>
                  </a:ext>
                </a:extLst>
              </p:cNvPr>
              <p:cNvGrpSpPr/>
              <p:nvPr/>
            </p:nvGrpSpPr>
            <p:grpSpPr>
              <a:xfrm>
                <a:off x="6134910" y="3224916"/>
                <a:ext cx="484322" cy="274878"/>
                <a:chOff x="6134910" y="3224916"/>
                <a:chExt cx="484322" cy="274878"/>
              </a:xfrm>
              <a:grpFill/>
            </p:grpSpPr>
            <p:sp>
              <p:nvSpPr>
                <p:cNvPr id="476" name="Freihandform: Form 1006">
                  <a:extLst>
                    <a:ext uri="{FF2B5EF4-FFF2-40B4-BE49-F238E27FC236}">
                      <a16:creationId xmlns:a16="http://schemas.microsoft.com/office/drawing/2014/main" id="{74596F39-5099-4F7B-A2BF-585856D98798}"/>
                    </a:ext>
                  </a:extLst>
                </p:cNvPr>
                <p:cNvSpPr/>
                <p:nvPr/>
              </p:nvSpPr>
              <p:spPr>
                <a:xfrm>
                  <a:off x="6134910" y="3238029"/>
                  <a:ext cx="484322" cy="222504"/>
                </a:xfrm>
                <a:custGeom>
                  <a:avLst/>
                  <a:gdLst>
                    <a:gd name="connsiteX0" fmla="*/ 477726 w 484322"/>
                    <a:gd name="connsiteY0" fmla="*/ 222504 h 222504"/>
                    <a:gd name="connsiteX1" fmla="*/ 471183 w 484322"/>
                    <a:gd name="connsiteY1" fmla="*/ 215961 h 222504"/>
                    <a:gd name="connsiteX2" fmla="*/ 438465 w 484322"/>
                    <a:gd name="connsiteY2" fmla="*/ 183244 h 222504"/>
                    <a:gd name="connsiteX3" fmla="*/ 405748 w 484322"/>
                    <a:gd name="connsiteY3" fmla="*/ 215961 h 222504"/>
                    <a:gd name="connsiteX4" fmla="*/ 399204 w 484322"/>
                    <a:gd name="connsiteY4" fmla="*/ 222504 h 222504"/>
                    <a:gd name="connsiteX5" fmla="*/ 392477 w 484322"/>
                    <a:gd name="connsiteY5" fmla="*/ 215961 h 222504"/>
                    <a:gd name="connsiteX6" fmla="*/ 359760 w 484322"/>
                    <a:gd name="connsiteY6" fmla="*/ 183244 h 222504"/>
                    <a:gd name="connsiteX7" fmla="*/ 327121 w 484322"/>
                    <a:gd name="connsiteY7" fmla="*/ 214410 h 222504"/>
                    <a:gd name="connsiteX8" fmla="*/ 320578 w 484322"/>
                    <a:gd name="connsiteY8" fmla="*/ 220639 h 222504"/>
                    <a:gd name="connsiteX9" fmla="*/ 314034 w 484322"/>
                    <a:gd name="connsiteY9" fmla="*/ 214410 h 222504"/>
                    <a:gd name="connsiteX10" fmla="*/ 281396 w 484322"/>
                    <a:gd name="connsiteY10" fmla="*/ 183244 h 222504"/>
                    <a:gd name="connsiteX11" fmla="*/ 248678 w 484322"/>
                    <a:gd name="connsiteY11" fmla="*/ 215961 h 222504"/>
                    <a:gd name="connsiteX12" fmla="*/ 242135 w 484322"/>
                    <a:gd name="connsiteY12" fmla="*/ 222504 h 222504"/>
                    <a:gd name="connsiteX13" fmla="*/ 235591 w 484322"/>
                    <a:gd name="connsiteY13" fmla="*/ 215961 h 222504"/>
                    <a:gd name="connsiteX14" fmla="*/ 202874 w 484322"/>
                    <a:gd name="connsiteY14" fmla="*/ 183244 h 222504"/>
                    <a:gd name="connsiteX15" fmla="*/ 170157 w 484322"/>
                    <a:gd name="connsiteY15" fmla="*/ 215961 h 222504"/>
                    <a:gd name="connsiteX16" fmla="*/ 163613 w 484322"/>
                    <a:gd name="connsiteY16" fmla="*/ 222504 h 222504"/>
                    <a:gd name="connsiteX17" fmla="*/ 156886 w 484322"/>
                    <a:gd name="connsiteY17" fmla="*/ 215961 h 222504"/>
                    <a:gd name="connsiteX18" fmla="*/ 124168 w 484322"/>
                    <a:gd name="connsiteY18" fmla="*/ 183244 h 222504"/>
                    <a:gd name="connsiteX19" fmla="*/ 91530 w 484322"/>
                    <a:gd name="connsiteY19" fmla="*/ 214410 h 222504"/>
                    <a:gd name="connsiteX20" fmla="*/ 84986 w 484322"/>
                    <a:gd name="connsiteY20" fmla="*/ 220639 h 222504"/>
                    <a:gd name="connsiteX21" fmla="*/ 78443 w 484322"/>
                    <a:gd name="connsiteY21" fmla="*/ 214410 h 222504"/>
                    <a:gd name="connsiteX22" fmla="*/ 45804 w 484322"/>
                    <a:gd name="connsiteY22" fmla="*/ 183244 h 222504"/>
                    <a:gd name="connsiteX23" fmla="*/ 13087 w 484322"/>
                    <a:gd name="connsiteY23" fmla="*/ 215961 h 222504"/>
                    <a:gd name="connsiteX24" fmla="*/ 6543 w 484322"/>
                    <a:gd name="connsiteY24" fmla="*/ 222504 h 222504"/>
                    <a:gd name="connsiteX25" fmla="*/ 0 w 484322"/>
                    <a:gd name="connsiteY25" fmla="*/ 215961 h 222504"/>
                    <a:gd name="connsiteX26" fmla="*/ 71111 w 484322"/>
                    <a:gd name="connsiteY26" fmla="*/ 67590 h 222504"/>
                    <a:gd name="connsiteX27" fmla="*/ 242161 w 484322"/>
                    <a:gd name="connsiteY27" fmla="*/ 0 h 222504"/>
                    <a:gd name="connsiteX28" fmla="*/ 413211 w 484322"/>
                    <a:gd name="connsiteY28" fmla="*/ 67590 h 222504"/>
                    <a:gd name="connsiteX29" fmla="*/ 484322 w 484322"/>
                    <a:gd name="connsiteY29" fmla="*/ 215961 h 222504"/>
                    <a:gd name="connsiteX30" fmla="*/ 477726 w 484322"/>
                    <a:gd name="connsiteY30" fmla="*/ 222504 h 222504"/>
                    <a:gd name="connsiteX31" fmla="*/ 359733 w 484322"/>
                    <a:gd name="connsiteY31" fmla="*/ 170130 h 222504"/>
                    <a:gd name="connsiteX32" fmla="*/ 399099 w 484322"/>
                    <a:gd name="connsiteY32" fmla="*/ 192520 h 222504"/>
                    <a:gd name="connsiteX33" fmla="*/ 438465 w 484322"/>
                    <a:gd name="connsiteY33" fmla="*/ 170130 h 222504"/>
                    <a:gd name="connsiteX34" fmla="*/ 466768 w 484322"/>
                    <a:gd name="connsiteY34" fmla="*/ 179959 h 222504"/>
                    <a:gd name="connsiteX35" fmla="*/ 242109 w 484322"/>
                    <a:gd name="connsiteY35" fmla="*/ 13061 h 222504"/>
                    <a:gd name="connsiteX36" fmla="*/ 17449 w 484322"/>
                    <a:gd name="connsiteY36" fmla="*/ 179959 h 222504"/>
                    <a:gd name="connsiteX37" fmla="*/ 45752 w 484322"/>
                    <a:gd name="connsiteY37" fmla="*/ 170130 h 222504"/>
                    <a:gd name="connsiteX38" fmla="*/ 84934 w 484322"/>
                    <a:gd name="connsiteY38" fmla="*/ 192205 h 222504"/>
                    <a:gd name="connsiteX39" fmla="*/ 124116 w 484322"/>
                    <a:gd name="connsiteY39" fmla="*/ 170130 h 222504"/>
                    <a:gd name="connsiteX40" fmla="*/ 163482 w 484322"/>
                    <a:gd name="connsiteY40" fmla="*/ 192520 h 222504"/>
                    <a:gd name="connsiteX41" fmla="*/ 202848 w 484322"/>
                    <a:gd name="connsiteY41" fmla="*/ 170130 h 222504"/>
                    <a:gd name="connsiteX42" fmla="*/ 242109 w 484322"/>
                    <a:gd name="connsiteY42" fmla="*/ 192362 h 222504"/>
                    <a:gd name="connsiteX43" fmla="*/ 281369 w 484322"/>
                    <a:gd name="connsiteY43" fmla="*/ 170130 h 222504"/>
                    <a:gd name="connsiteX44" fmla="*/ 320551 w 484322"/>
                    <a:gd name="connsiteY44" fmla="*/ 192205 h 222504"/>
                    <a:gd name="connsiteX45" fmla="*/ 359733 w 484322"/>
                    <a:gd name="connsiteY45" fmla="*/ 170130 h 222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84322" h="222504">
                      <a:moveTo>
                        <a:pt x="477726" y="222504"/>
                      </a:moveTo>
                      <a:cubicBezTo>
                        <a:pt x="474100" y="222504"/>
                        <a:pt x="471183" y="219587"/>
                        <a:pt x="471183" y="215961"/>
                      </a:cubicBezTo>
                      <a:cubicBezTo>
                        <a:pt x="471183" y="197907"/>
                        <a:pt x="456493" y="183244"/>
                        <a:pt x="438465" y="183244"/>
                      </a:cubicBezTo>
                      <a:cubicBezTo>
                        <a:pt x="420438" y="183244"/>
                        <a:pt x="405748" y="197934"/>
                        <a:pt x="405748" y="215961"/>
                      </a:cubicBezTo>
                      <a:cubicBezTo>
                        <a:pt x="405748" y="219587"/>
                        <a:pt x="402805" y="222504"/>
                        <a:pt x="399204" y="222504"/>
                      </a:cubicBezTo>
                      <a:cubicBezTo>
                        <a:pt x="395604" y="222504"/>
                        <a:pt x="392477" y="219587"/>
                        <a:pt x="392477" y="215961"/>
                      </a:cubicBezTo>
                      <a:cubicBezTo>
                        <a:pt x="392477" y="197907"/>
                        <a:pt x="377787" y="183244"/>
                        <a:pt x="359760" y="183244"/>
                      </a:cubicBezTo>
                      <a:cubicBezTo>
                        <a:pt x="342284" y="183244"/>
                        <a:pt x="327936" y="196935"/>
                        <a:pt x="327121" y="214410"/>
                      </a:cubicBezTo>
                      <a:cubicBezTo>
                        <a:pt x="326963" y="217906"/>
                        <a:pt x="324073" y="220639"/>
                        <a:pt x="320578" y="220639"/>
                      </a:cubicBezTo>
                      <a:cubicBezTo>
                        <a:pt x="317083" y="220639"/>
                        <a:pt x="314192" y="217879"/>
                        <a:pt x="314034" y="214410"/>
                      </a:cubicBezTo>
                      <a:cubicBezTo>
                        <a:pt x="313220" y="196935"/>
                        <a:pt x="298871" y="183244"/>
                        <a:pt x="281396" y="183244"/>
                      </a:cubicBezTo>
                      <a:cubicBezTo>
                        <a:pt x="263342" y="183244"/>
                        <a:pt x="248678" y="197934"/>
                        <a:pt x="248678" y="215961"/>
                      </a:cubicBezTo>
                      <a:cubicBezTo>
                        <a:pt x="248678" y="219587"/>
                        <a:pt x="245735" y="222504"/>
                        <a:pt x="242135" y="222504"/>
                      </a:cubicBezTo>
                      <a:cubicBezTo>
                        <a:pt x="238535" y="222504"/>
                        <a:pt x="235591" y="219587"/>
                        <a:pt x="235591" y="215961"/>
                      </a:cubicBezTo>
                      <a:cubicBezTo>
                        <a:pt x="235591" y="197907"/>
                        <a:pt x="220901" y="183244"/>
                        <a:pt x="202874" y="183244"/>
                      </a:cubicBezTo>
                      <a:cubicBezTo>
                        <a:pt x="184820" y="183244"/>
                        <a:pt x="170157" y="197934"/>
                        <a:pt x="170157" y="215961"/>
                      </a:cubicBezTo>
                      <a:cubicBezTo>
                        <a:pt x="170157" y="219587"/>
                        <a:pt x="167213" y="222504"/>
                        <a:pt x="163613" y="222504"/>
                      </a:cubicBezTo>
                      <a:cubicBezTo>
                        <a:pt x="160013" y="222504"/>
                        <a:pt x="156886" y="219587"/>
                        <a:pt x="156886" y="215961"/>
                      </a:cubicBezTo>
                      <a:cubicBezTo>
                        <a:pt x="156886" y="197907"/>
                        <a:pt x="142196" y="183244"/>
                        <a:pt x="124168" y="183244"/>
                      </a:cubicBezTo>
                      <a:cubicBezTo>
                        <a:pt x="106693" y="183244"/>
                        <a:pt x="92344" y="196935"/>
                        <a:pt x="91530" y="214410"/>
                      </a:cubicBezTo>
                      <a:cubicBezTo>
                        <a:pt x="91372" y="217906"/>
                        <a:pt x="88481" y="220639"/>
                        <a:pt x="84986" y="220639"/>
                      </a:cubicBezTo>
                      <a:cubicBezTo>
                        <a:pt x="81491" y="220639"/>
                        <a:pt x="78600" y="217879"/>
                        <a:pt x="78443" y="214410"/>
                      </a:cubicBezTo>
                      <a:cubicBezTo>
                        <a:pt x="77628" y="196935"/>
                        <a:pt x="63280" y="183244"/>
                        <a:pt x="45804" y="183244"/>
                      </a:cubicBezTo>
                      <a:cubicBezTo>
                        <a:pt x="27751" y="183244"/>
                        <a:pt x="13087" y="197934"/>
                        <a:pt x="13087" y="215961"/>
                      </a:cubicBezTo>
                      <a:cubicBezTo>
                        <a:pt x="13087" y="219587"/>
                        <a:pt x="10144" y="222504"/>
                        <a:pt x="6543" y="222504"/>
                      </a:cubicBezTo>
                      <a:cubicBezTo>
                        <a:pt x="2917" y="222504"/>
                        <a:pt x="0" y="219587"/>
                        <a:pt x="0" y="215961"/>
                      </a:cubicBezTo>
                      <a:cubicBezTo>
                        <a:pt x="0" y="163429"/>
                        <a:pt x="25911" y="109347"/>
                        <a:pt x="71111" y="67590"/>
                      </a:cubicBezTo>
                      <a:cubicBezTo>
                        <a:pt x="118282" y="23993"/>
                        <a:pt x="179013" y="0"/>
                        <a:pt x="242161" y="0"/>
                      </a:cubicBezTo>
                      <a:cubicBezTo>
                        <a:pt x="305310" y="0"/>
                        <a:pt x="366040" y="24019"/>
                        <a:pt x="413211" y="67590"/>
                      </a:cubicBezTo>
                      <a:cubicBezTo>
                        <a:pt x="458411" y="109347"/>
                        <a:pt x="484322" y="163429"/>
                        <a:pt x="484322" y="215961"/>
                      </a:cubicBezTo>
                      <a:cubicBezTo>
                        <a:pt x="484270" y="219561"/>
                        <a:pt x="481353" y="222504"/>
                        <a:pt x="477726" y="222504"/>
                      </a:cubicBezTo>
                      <a:close/>
                      <a:moveTo>
                        <a:pt x="359733" y="170130"/>
                      </a:moveTo>
                      <a:cubicBezTo>
                        <a:pt x="376447" y="170130"/>
                        <a:pt x="391084" y="179118"/>
                        <a:pt x="399099" y="192520"/>
                      </a:cubicBezTo>
                      <a:cubicBezTo>
                        <a:pt x="407114" y="179118"/>
                        <a:pt x="421752" y="170130"/>
                        <a:pt x="438465" y="170130"/>
                      </a:cubicBezTo>
                      <a:cubicBezTo>
                        <a:pt x="449135" y="170130"/>
                        <a:pt x="458989" y="173809"/>
                        <a:pt x="466768" y="179959"/>
                      </a:cubicBezTo>
                      <a:cubicBezTo>
                        <a:pt x="446323" y="95235"/>
                        <a:pt x="356922" y="13061"/>
                        <a:pt x="242109" y="13061"/>
                      </a:cubicBezTo>
                      <a:cubicBezTo>
                        <a:pt x="127295" y="13061"/>
                        <a:pt x="37894" y="95209"/>
                        <a:pt x="17449" y="179959"/>
                      </a:cubicBezTo>
                      <a:cubicBezTo>
                        <a:pt x="25254" y="173809"/>
                        <a:pt x="35082" y="170130"/>
                        <a:pt x="45752" y="170130"/>
                      </a:cubicBezTo>
                      <a:cubicBezTo>
                        <a:pt x="62334" y="170130"/>
                        <a:pt x="76892" y="178934"/>
                        <a:pt x="84934" y="192205"/>
                      </a:cubicBezTo>
                      <a:cubicBezTo>
                        <a:pt x="92949" y="178934"/>
                        <a:pt x="107534" y="170130"/>
                        <a:pt x="124116" y="170130"/>
                      </a:cubicBezTo>
                      <a:cubicBezTo>
                        <a:pt x="140829" y="170130"/>
                        <a:pt x="155467" y="179118"/>
                        <a:pt x="163482" y="192520"/>
                      </a:cubicBezTo>
                      <a:cubicBezTo>
                        <a:pt x="171497" y="179118"/>
                        <a:pt x="186134" y="170130"/>
                        <a:pt x="202848" y="170130"/>
                      </a:cubicBezTo>
                      <a:cubicBezTo>
                        <a:pt x="219482" y="170130"/>
                        <a:pt x="234093" y="179065"/>
                        <a:pt x="242109" y="192362"/>
                      </a:cubicBezTo>
                      <a:cubicBezTo>
                        <a:pt x="250124" y="179039"/>
                        <a:pt x="264735" y="170130"/>
                        <a:pt x="281369" y="170130"/>
                      </a:cubicBezTo>
                      <a:cubicBezTo>
                        <a:pt x="297951" y="170130"/>
                        <a:pt x="312510" y="178934"/>
                        <a:pt x="320551" y="192205"/>
                      </a:cubicBezTo>
                      <a:cubicBezTo>
                        <a:pt x="328593" y="178934"/>
                        <a:pt x="343151" y="170130"/>
                        <a:pt x="359733" y="170130"/>
                      </a:cubicBezTo>
                      <a:close/>
                    </a:path>
                  </a:pathLst>
                </a:custGeom>
                <a:grpFill/>
                <a:ln w="2624" cap="flat">
                  <a:noFill/>
                  <a:prstDash val="solid"/>
                  <a:miter/>
                </a:ln>
              </p:spPr>
              <p:txBody>
                <a:bodyPr rtlCol="0" anchor="ctr"/>
                <a:lstStyle/>
                <a:p>
                  <a:endParaRPr lang="en-GB" dirty="0"/>
                </a:p>
              </p:txBody>
            </p:sp>
            <p:sp>
              <p:nvSpPr>
                <p:cNvPr id="477" name="Freihandform: Form 1007">
                  <a:extLst>
                    <a:ext uri="{FF2B5EF4-FFF2-40B4-BE49-F238E27FC236}">
                      <a16:creationId xmlns:a16="http://schemas.microsoft.com/office/drawing/2014/main" id="{B1F02D5D-B39E-465B-9FAF-F09B5DAF2791}"/>
                    </a:ext>
                  </a:extLst>
                </p:cNvPr>
                <p:cNvSpPr/>
                <p:nvPr/>
              </p:nvSpPr>
              <p:spPr>
                <a:xfrm>
                  <a:off x="6370502" y="3224916"/>
                  <a:ext cx="13086" cy="19630"/>
                </a:xfrm>
                <a:custGeom>
                  <a:avLst/>
                  <a:gdLst>
                    <a:gd name="connsiteX0" fmla="*/ 6543 w 13086"/>
                    <a:gd name="connsiteY0" fmla="*/ 19630 h 19630"/>
                    <a:gd name="connsiteX1" fmla="*/ 0 w 13086"/>
                    <a:gd name="connsiteY1" fmla="*/ 13087 h 19630"/>
                    <a:gd name="connsiteX2" fmla="*/ 0 w 13086"/>
                    <a:gd name="connsiteY2" fmla="*/ 6543 h 19630"/>
                    <a:gd name="connsiteX3" fmla="*/ 6543 w 13086"/>
                    <a:gd name="connsiteY3" fmla="*/ 0 h 19630"/>
                    <a:gd name="connsiteX4" fmla="*/ 13087 w 13086"/>
                    <a:gd name="connsiteY4" fmla="*/ 6543 h 19630"/>
                    <a:gd name="connsiteX5" fmla="*/ 13087 w 13086"/>
                    <a:gd name="connsiteY5" fmla="*/ 13087 h 19630"/>
                    <a:gd name="connsiteX6" fmla="*/ 6543 w 13086"/>
                    <a:gd name="connsiteY6" fmla="*/ 19630 h 19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6" h="19630">
                      <a:moveTo>
                        <a:pt x="6543" y="19630"/>
                      </a:moveTo>
                      <a:cubicBezTo>
                        <a:pt x="2917" y="19630"/>
                        <a:pt x="0" y="16713"/>
                        <a:pt x="0" y="13087"/>
                      </a:cubicBezTo>
                      <a:lnTo>
                        <a:pt x="0" y="6543"/>
                      </a:lnTo>
                      <a:cubicBezTo>
                        <a:pt x="0" y="2917"/>
                        <a:pt x="2943" y="0"/>
                        <a:pt x="6543" y="0"/>
                      </a:cubicBezTo>
                      <a:cubicBezTo>
                        <a:pt x="10144" y="0"/>
                        <a:pt x="13087" y="2917"/>
                        <a:pt x="13087" y="6543"/>
                      </a:cubicBezTo>
                      <a:lnTo>
                        <a:pt x="13087" y="13087"/>
                      </a:lnTo>
                      <a:cubicBezTo>
                        <a:pt x="13087" y="16713"/>
                        <a:pt x="10144" y="19630"/>
                        <a:pt x="6543" y="19630"/>
                      </a:cubicBezTo>
                      <a:close/>
                    </a:path>
                  </a:pathLst>
                </a:custGeom>
                <a:grpFill/>
                <a:ln w="2624" cap="flat">
                  <a:noFill/>
                  <a:prstDash val="solid"/>
                  <a:miter/>
                </a:ln>
              </p:spPr>
              <p:txBody>
                <a:bodyPr rtlCol="0" anchor="ctr"/>
                <a:lstStyle/>
                <a:p>
                  <a:endParaRPr lang="en-GB" dirty="0"/>
                </a:p>
              </p:txBody>
            </p:sp>
            <p:sp>
              <p:nvSpPr>
                <p:cNvPr id="478" name="Freihandform: Form 1008">
                  <a:extLst>
                    <a:ext uri="{FF2B5EF4-FFF2-40B4-BE49-F238E27FC236}">
                      <a16:creationId xmlns:a16="http://schemas.microsoft.com/office/drawing/2014/main" id="{67EB22B5-6EDD-463E-AB3F-FAFBDAACE38D}"/>
                    </a:ext>
                  </a:extLst>
                </p:cNvPr>
                <p:cNvSpPr/>
                <p:nvPr/>
              </p:nvSpPr>
              <p:spPr>
                <a:xfrm>
                  <a:off x="6370502" y="3434360"/>
                  <a:ext cx="13086" cy="65434"/>
                </a:xfrm>
                <a:custGeom>
                  <a:avLst/>
                  <a:gdLst>
                    <a:gd name="connsiteX0" fmla="*/ 6543 w 13086"/>
                    <a:gd name="connsiteY0" fmla="*/ 65435 h 65434"/>
                    <a:gd name="connsiteX1" fmla="*/ 0 w 13086"/>
                    <a:gd name="connsiteY1" fmla="*/ 58891 h 65434"/>
                    <a:gd name="connsiteX2" fmla="*/ 0 w 13086"/>
                    <a:gd name="connsiteY2" fmla="*/ 6544 h 65434"/>
                    <a:gd name="connsiteX3" fmla="*/ 6543 w 13086"/>
                    <a:gd name="connsiteY3" fmla="*/ 0 h 65434"/>
                    <a:gd name="connsiteX4" fmla="*/ 13087 w 13086"/>
                    <a:gd name="connsiteY4" fmla="*/ 6544 h 65434"/>
                    <a:gd name="connsiteX5" fmla="*/ 13087 w 13086"/>
                    <a:gd name="connsiteY5" fmla="*/ 58891 h 65434"/>
                    <a:gd name="connsiteX6" fmla="*/ 6543 w 13086"/>
                    <a:gd name="connsiteY6" fmla="*/ 65435 h 6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6" h="65434">
                      <a:moveTo>
                        <a:pt x="6543" y="65435"/>
                      </a:moveTo>
                      <a:cubicBezTo>
                        <a:pt x="2917" y="65435"/>
                        <a:pt x="0" y="62518"/>
                        <a:pt x="0" y="58891"/>
                      </a:cubicBezTo>
                      <a:lnTo>
                        <a:pt x="0" y="6544"/>
                      </a:lnTo>
                      <a:cubicBezTo>
                        <a:pt x="0" y="2917"/>
                        <a:pt x="2943" y="0"/>
                        <a:pt x="6543" y="0"/>
                      </a:cubicBezTo>
                      <a:cubicBezTo>
                        <a:pt x="10144" y="0"/>
                        <a:pt x="13087" y="2917"/>
                        <a:pt x="13087" y="6544"/>
                      </a:cubicBezTo>
                      <a:lnTo>
                        <a:pt x="13087" y="58891"/>
                      </a:lnTo>
                      <a:cubicBezTo>
                        <a:pt x="13087" y="62518"/>
                        <a:pt x="10144" y="65435"/>
                        <a:pt x="6543" y="65435"/>
                      </a:cubicBezTo>
                      <a:close/>
                    </a:path>
                  </a:pathLst>
                </a:custGeom>
                <a:grpFill/>
                <a:ln w="2624" cap="flat">
                  <a:noFill/>
                  <a:prstDash val="solid"/>
                  <a:miter/>
                </a:ln>
              </p:spPr>
              <p:txBody>
                <a:bodyPr rtlCol="0" anchor="ctr"/>
                <a:lstStyle/>
                <a:p>
                  <a:endParaRPr lang="en-GB" dirty="0"/>
                </a:p>
              </p:txBody>
            </p:sp>
          </p:grpSp>
          <p:sp>
            <p:nvSpPr>
              <p:cNvPr id="475" name="Freihandform: Form 1009">
                <a:extLst>
                  <a:ext uri="{FF2B5EF4-FFF2-40B4-BE49-F238E27FC236}">
                    <a16:creationId xmlns:a16="http://schemas.microsoft.com/office/drawing/2014/main" id="{E1706C06-8606-4639-9540-9C87B66E8645}"/>
                  </a:ext>
                </a:extLst>
              </p:cNvPr>
              <p:cNvSpPr/>
              <p:nvPr/>
            </p:nvSpPr>
            <p:spPr>
              <a:xfrm>
                <a:off x="6370502" y="3519425"/>
                <a:ext cx="13086" cy="19630"/>
              </a:xfrm>
              <a:custGeom>
                <a:avLst/>
                <a:gdLst>
                  <a:gd name="connsiteX0" fmla="*/ 6543 w 13086"/>
                  <a:gd name="connsiteY0" fmla="*/ 19631 h 19630"/>
                  <a:gd name="connsiteX1" fmla="*/ 0 w 13086"/>
                  <a:gd name="connsiteY1" fmla="*/ 13087 h 19630"/>
                  <a:gd name="connsiteX2" fmla="*/ 0 w 13086"/>
                  <a:gd name="connsiteY2" fmla="*/ 6544 h 19630"/>
                  <a:gd name="connsiteX3" fmla="*/ 6543 w 13086"/>
                  <a:gd name="connsiteY3" fmla="*/ 0 h 19630"/>
                  <a:gd name="connsiteX4" fmla="*/ 13087 w 13086"/>
                  <a:gd name="connsiteY4" fmla="*/ 6544 h 19630"/>
                  <a:gd name="connsiteX5" fmla="*/ 13087 w 13086"/>
                  <a:gd name="connsiteY5" fmla="*/ 13087 h 19630"/>
                  <a:gd name="connsiteX6" fmla="*/ 6543 w 13086"/>
                  <a:gd name="connsiteY6" fmla="*/ 19631 h 19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6" h="19630">
                    <a:moveTo>
                      <a:pt x="6543" y="19631"/>
                    </a:moveTo>
                    <a:cubicBezTo>
                      <a:pt x="2917" y="19631"/>
                      <a:pt x="0" y="16714"/>
                      <a:pt x="0" y="13087"/>
                    </a:cubicBezTo>
                    <a:lnTo>
                      <a:pt x="0" y="6544"/>
                    </a:lnTo>
                    <a:cubicBezTo>
                      <a:pt x="0" y="2917"/>
                      <a:pt x="2943" y="0"/>
                      <a:pt x="6543" y="0"/>
                    </a:cubicBezTo>
                    <a:cubicBezTo>
                      <a:pt x="10144" y="0"/>
                      <a:pt x="13087" y="2917"/>
                      <a:pt x="13087" y="6544"/>
                    </a:cubicBezTo>
                    <a:lnTo>
                      <a:pt x="13087" y="13087"/>
                    </a:lnTo>
                    <a:cubicBezTo>
                      <a:pt x="13087" y="16714"/>
                      <a:pt x="10144" y="19631"/>
                      <a:pt x="6543" y="19631"/>
                    </a:cubicBezTo>
                    <a:close/>
                  </a:path>
                </a:pathLst>
              </a:custGeom>
              <a:grpFill/>
              <a:ln w="2624" cap="flat">
                <a:noFill/>
                <a:prstDash val="solid"/>
                <a:miter/>
              </a:ln>
            </p:spPr>
            <p:txBody>
              <a:bodyPr rtlCol="0" anchor="ctr"/>
              <a:lstStyle/>
              <a:p>
                <a:endParaRPr lang="en-GB" dirty="0"/>
              </a:p>
            </p:txBody>
          </p:sp>
        </p:grpSp>
      </p:grpSp>
      <p:sp>
        <p:nvSpPr>
          <p:cNvPr id="509" name="TextBox 508">
            <a:extLst>
              <a:ext uri="{FF2B5EF4-FFF2-40B4-BE49-F238E27FC236}">
                <a16:creationId xmlns:a16="http://schemas.microsoft.com/office/drawing/2014/main" id="{3F4C51F2-3873-4284-9698-E692A62079E1}"/>
              </a:ext>
            </a:extLst>
          </p:cNvPr>
          <p:cNvSpPr txBox="1"/>
          <p:nvPr/>
        </p:nvSpPr>
        <p:spPr>
          <a:xfrm>
            <a:off x="5648708" y="2077494"/>
            <a:ext cx="605935" cy="107722"/>
          </a:xfrm>
          <a:prstGeom prst="rect">
            <a:avLst/>
          </a:prstGeom>
          <a:noFill/>
          <a:effectLst/>
        </p:spPr>
        <p:txBody>
          <a:bodyPr wrap="none" lIns="0" tIns="0" rIns="0" bIns="0" rtlCol="0" anchor="t">
            <a:spAutoFit/>
          </a:bodyPr>
          <a:lstStyle/>
          <a:p>
            <a:pPr algn="ctr"/>
            <a:r>
              <a:rPr lang="en-GB" sz="700" dirty="0">
                <a:solidFill>
                  <a:schemeClr val="tx2"/>
                </a:solidFill>
              </a:rPr>
              <a:t>Investment risk</a:t>
            </a:r>
          </a:p>
        </p:txBody>
      </p:sp>
      <p:grpSp>
        <p:nvGrpSpPr>
          <p:cNvPr id="510" name="Gruppieren 1152">
            <a:extLst>
              <a:ext uri="{FF2B5EF4-FFF2-40B4-BE49-F238E27FC236}">
                <a16:creationId xmlns:a16="http://schemas.microsoft.com/office/drawing/2014/main" id="{DA1A83AD-9436-4F6D-81A1-D1CDC695A5B8}"/>
              </a:ext>
            </a:extLst>
          </p:cNvPr>
          <p:cNvGrpSpPr>
            <a:grpSpLocks noChangeAspect="1"/>
          </p:cNvGrpSpPr>
          <p:nvPr/>
        </p:nvGrpSpPr>
        <p:grpSpPr>
          <a:xfrm>
            <a:off x="6521378" y="1626716"/>
            <a:ext cx="518861" cy="432000"/>
            <a:chOff x="6991343" y="2498459"/>
            <a:chExt cx="432316" cy="359943"/>
          </a:xfrm>
        </p:grpSpPr>
        <p:grpSp>
          <p:nvGrpSpPr>
            <p:cNvPr id="511" name="Gruppieren 1151">
              <a:extLst>
                <a:ext uri="{FF2B5EF4-FFF2-40B4-BE49-F238E27FC236}">
                  <a16:creationId xmlns:a16="http://schemas.microsoft.com/office/drawing/2014/main" id="{89CC8C9E-4229-4D64-B599-240F66252C79}"/>
                </a:ext>
              </a:extLst>
            </p:cNvPr>
            <p:cNvGrpSpPr/>
            <p:nvPr/>
          </p:nvGrpSpPr>
          <p:grpSpPr>
            <a:xfrm>
              <a:off x="7225778" y="2584943"/>
              <a:ext cx="197881" cy="273459"/>
              <a:chOff x="7225778" y="2584943"/>
              <a:chExt cx="197881" cy="273459"/>
            </a:xfrm>
          </p:grpSpPr>
          <p:sp>
            <p:nvSpPr>
              <p:cNvPr id="522" name="Freihandform: Form 918">
                <a:extLst>
                  <a:ext uri="{FF2B5EF4-FFF2-40B4-BE49-F238E27FC236}">
                    <a16:creationId xmlns:a16="http://schemas.microsoft.com/office/drawing/2014/main" id="{4C78BD72-6045-4A19-9F65-D675D8F7B93B}"/>
                  </a:ext>
                </a:extLst>
              </p:cNvPr>
              <p:cNvSpPr/>
              <p:nvPr/>
            </p:nvSpPr>
            <p:spPr>
              <a:xfrm>
                <a:off x="7225778" y="2612037"/>
                <a:ext cx="166950" cy="223319"/>
              </a:xfrm>
              <a:custGeom>
                <a:avLst/>
                <a:gdLst>
                  <a:gd name="connsiteX0" fmla="*/ 160407 w 166950"/>
                  <a:gd name="connsiteY0" fmla="*/ 223319 h 223319"/>
                  <a:gd name="connsiteX1" fmla="*/ 47118 w 166950"/>
                  <a:gd name="connsiteY1" fmla="*/ 223319 h 223319"/>
                  <a:gd name="connsiteX2" fmla="*/ 0 w 166950"/>
                  <a:gd name="connsiteY2" fmla="*/ 176201 h 223319"/>
                  <a:gd name="connsiteX3" fmla="*/ 0 w 166950"/>
                  <a:gd name="connsiteY3" fmla="*/ 19236 h 223319"/>
                  <a:gd name="connsiteX4" fmla="*/ 19210 w 166950"/>
                  <a:gd name="connsiteY4" fmla="*/ 0 h 223319"/>
                  <a:gd name="connsiteX5" fmla="*/ 22179 w 166950"/>
                  <a:gd name="connsiteY5" fmla="*/ 0 h 223319"/>
                  <a:gd name="connsiteX6" fmla="*/ 28723 w 166950"/>
                  <a:gd name="connsiteY6" fmla="*/ 6544 h 223319"/>
                  <a:gd name="connsiteX7" fmla="*/ 22179 w 166950"/>
                  <a:gd name="connsiteY7" fmla="*/ 13087 h 223319"/>
                  <a:gd name="connsiteX8" fmla="*/ 19210 w 166950"/>
                  <a:gd name="connsiteY8" fmla="*/ 13087 h 223319"/>
                  <a:gd name="connsiteX9" fmla="*/ 13087 w 166950"/>
                  <a:gd name="connsiteY9" fmla="*/ 19210 h 223319"/>
                  <a:gd name="connsiteX10" fmla="*/ 13087 w 166950"/>
                  <a:gd name="connsiteY10" fmla="*/ 176175 h 223319"/>
                  <a:gd name="connsiteX11" fmla="*/ 47145 w 166950"/>
                  <a:gd name="connsiteY11" fmla="*/ 210206 h 223319"/>
                  <a:gd name="connsiteX12" fmla="*/ 160407 w 166950"/>
                  <a:gd name="connsiteY12" fmla="*/ 210206 h 223319"/>
                  <a:gd name="connsiteX13" fmla="*/ 166951 w 166950"/>
                  <a:gd name="connsiteY13" fmla="*/ 216749 h 223319"/>
                  <a:gd name="connsiteX14" fmla="*/ 160407 w 166950"/>
                  <a:gd name="connsiteY14" fmla="*/ 223319 h 22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950" h="223319">
                    <a:moveTo>
                      <a:pt x="160407" y="223319"/>
                    </a:moveTo>
                    <a:lnTo>
                      <a:pt x="47118" y="223319"/>
                    </a:lnTo>
                    <a:cubicBezTo>
                      <a:pt x="30825" y="223319"/>
                      <a:pt x="0" y="213465"/>
                      <a:pt x="0" y="176201"/>
                    </a:cubicBezTo>
                    <a:lnTo>
                      <a:pt x="0" y="19236"/>
                    </a:lnTo>
                    <a:cubicBezTo>
                      <a:pt x="0" y="8646"/>
                      <a:pt x="8620" y="0"/>
                      <a:pt x="19210" y="0"/>
                    </a:cubicBezTo>
                    <a:lnTo>
                      <a:pt x="22179" y="0"/>
                    </a:lnTo>
                    <a:cubicBezTo>
                      <a:pt x="25806" y="0"/>
                      <a:pt x="28723" y="2917"/>
                      <a:pt x="28723" y="6544"/>
                    </a:cubicBezTo>
                    <a:cubicBezTo>
                      <a:pt x="28723" y="10170"/>
                      <a:pt x="25806" y="13087"/>
                      <a:pt x="22179" y="13087"/>
                    </a:cubicBezTo>
                    <a:lnTo>
                      <a:pt x="19210" y="13087"/>
                    </a:lnTo>
                    <a:cubicBezTo>
                      <a:pt x="15820" y="13087"/>
                      <a:pt x="13087" y="15846"/>
                      <a:pt x="13087" y="19210"/>
                    </a:cubicBezTo>
                    <a:lnTo>
                      <a:pt x="13087" y="176175"/>
                    </a:lnTo>
                    <a:cubicBezTo>
                      <a:pt x="13087" y="208997"/>
                      <a:pt x="43649" y="210180"/>
                      <a:pt x="47145" y="210206"/>
                    </a:cubicBezTo>
                    <a:lnTo>
                      <a:pt x="160407" y="210206"/>
                    </a:lnTo>
                    <a:cubicBezTo>
                      <a:pt x="164034" y="210206"/>
                      <a:pt x="166951" y="213149"/>
                      <a:pt x="166951" y="216749"/>
                    </a:cubicBezTo>
                    <a:cubicBezTo>
                      <a:pt x="166951" y="220402"/>
                      <a:pt x="164007" y="223319"/>
                      <a:pt x="160407" y="223319"/>
                    </a:cubicBezTo>
                    <a:close/>
                  </a:path>
                </a:pathLst>
              </a:custGeom>
              <a:solidFill>
                <a:schemeClr val="accent1"/>
              </a:solidFill>
              <a:ln w="2624" cap="flat">
                <a:noFill/>
                <a:prstDash val="solid"/>
                <a:miter/>
              </a:ln>
            </p:spPr>
            <p:txBody>
              <a:bodyPr rtlCol="0" anchor="ctr"/>
              <a:lstStyle/>
              <a:p>
                <a:endParaRPr lang="en-GB" dirty="0"/>
              </a:p>
            </p:txBody>
          </p:sp>
          <p:sp>
            <p:nvSpPr>
              <p:cNvPr id="523" name="Freihandform: Form 919">
                <a:extLst>
                  <a:ext uri="{FF2B5EF4-FFF2-40B4-BE49-F238E27FC236}">
                    <a16:creationId xmlns:a16="http://schemas.microsoft.com/office/drawing/2014/main" id="{22E840B5-D810-4D84-8F42-88F519959565}"/>
                  </a:ext>
                </a:extLst>
              </p:cNvPr>
              <p:cNvSpPr/>
              <p:nvPr/>
            </p:nvSpPr>
            <p:spPr>
              <a:xfrm>
                <a:off x="7249429" y="2595744"/>
                <a:ext cx="34923" cy="94709"/>
              </a:xfrm>
              <a:custGeom>
                <a:avLst/>
                <a:gdLst>
                  <a:gd name="connsiteX0" fmla="*/ 6543 w 34923"/>
                  <a:gd name="connsiteY0" fmla="*/ 94710 h 94709"/>
                  <a:gd name="connsiteX1" fmla="*/ 0 w 34923"/>
                  <a:gd name="connsiteY1" fmla="*/ 88166 h 94709"/>
                  <a:gd name="connsiteX2" fmla="*/ 0 w 34923"/>
                  <a:gd name="connsiteY2" fmla="*/ 21759 h 94709"/>
                  <a:gd name="connsiteX3" fmla="*/ 21759 w 34923"/>
                  <a:gd name="connsiteY3" fmla="*/ 0 h 94709"/>
                  <a:gd name="connsiteX4" fmla="*/ 31219 w 34923"/>
                  <a:gd name="connsiteY4" fmla="*/ 2155 h 94709"/>
                  <a:gd name="connsiteX5" fmla="*/ 34268 w 34923"/>
                  <a:gd name="connsiteY5" fmla="*/ 10906 h 94709"/>
                  <a:gd name="connsiteX6" fmla="*/ 25543 w 34923"/>
                  <a:gd name="connsiteY6" fmla="*/ 13954 h 94709"/>
                  <a:gd name="connsiteX7" fmla="*/ 21785 w 34923"/>
                  <a:gd name="connsiteY7" fmla="*/ 13087 h 94709"/>
                  <a:gd name="connsiteX8" fmla="*/ 13113 w 34923"/>
                  <a:gd name="connsiteY8" fmla="*/ 21759 h 94709"/>
                  <a:gd name="connsiteX9" fmla="*/ 13113 w 34923"/>
                  <a:gd name="connsiteY9" fmla="*/ 88166 h 94709"/>
                  <a:gd name="connsiteX10" fmla="*/ 6543 w 34923"/>
                  <a:gd name="connsiteY10" fmla="*/ 94710 h 94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923" h="94709">
                    <a:moveTo>
                      <a:pt x="6543" y="94710"/>
                    </a:moveTo>
                    <a:cubicBezTo>
                      <a:pt x="2917" y="94710"/>
                      <a:pt x="0" y="91766"/>
                      <a:pt x="0" y="88166"/>
                    </a:cubicBezTo>
                    <a:lnTo>
                      <a:pt x="0" y="21759"/>
                    </a:lnTo>
                    <a:cubicBezTo>
                      <a:pt x="0" y="9749"/>
                      <a:pt x="9750" y="0"/>
                      <a:pt x="21759" y="0"/>
                    </a:cubicBezTo>
                    <a:cubicBezTo>
                      <a:pt x="25018" y="0"/>
                      <a:pt x="28276" y="736"/>
                      <a:pt x="31219" y="2155"/>
                    </a:cubicBezTo>
                    <a:cubicBezTo>
                      <a:pt x="34478" y="3732"/>
                      <a:pt x="35845" y="7647"/>
                      <a:pt x="34268" y="10906"/>
                    </a:cubicBezTo>
                    <a:cubicBezTo>
                      <a:pt x="32717" y="14164"/>
                      <a:pt x="28828" y="15531"/>
                      <a:pt x="25543" y="13954"/>
                    </a:cubicBezTo>
                    <a:cubicBezTo>
                      <a:pt x="24361" y="13376"/>
                      <a:pt x="23099" y="13087"/>
                      <a:pt x="21785" y="13087"/>
                    </a:cubicBezTo>
                    <a:cubicBezTo>
                      <a:pt x="17002" y="13087"/>
                      <a:pt x="13113" y="16976"/>
                      <a:pt x="13113" y="21759"/>
                    </a:cubicBezTo>
                    <a:lnTo>
                      <a:pt x="13113" y="88166"/>
                    </a:lnTo>
                    <a:cubicBezTo>
                      <a:pt x="13087" y="91793"/>
                      <a:pt x="10170" y="94710"/>
                      <a:pt x="6543" y="94710"/>
                    </a:cubicBezTo>
                    <a:close/>
                  </a:path>
                </a:pathLst>
              </a:custGeom>
              <a:solidFill>
                <a:schemeClr val="accent1"/>
              </a:solidFill>
              <a:ln w="2624" cap="flat">
                <a:noFill/>
                <a:prstDash val="solid"/>
                <a:miter/>
              </a:ln>
            </p:spPr>
            <p:txBody>
              <a:bodyPr rtlCol="0" anchor="ctr"/>
              <a:lstStyle/>
              <a:p>
                <a:endParaRPr lang="en-GB" dirty="0"/>
              </a:p>
            </p:txBody>
          </p:sp>
          <p:sp>
            <p:nvSpPr>
              <p:cNvPr id="524" name="Freihandform: Form 920">
                <a:extLst>
                  <a:ext uri="{FF2B5EF4-FFF2-40B4-BE49-F238E27FC236}">
                    <a16:creationId xmlns:a16="http://schemas.microsoft.com/office/drawing/2014/main" id="{FE767B9B-0098-4B41-A43A-661DF3B76AB6}"/>
                  </a:ext>
                </a:extLst>
              </p:cNvPr>
              <p:cNvSpPr/>
              <p:nvPr/>
            </p:nvSpPr>
            <p:spPr>
              <a:xfrm>
                <a:off x="7275630" y="2584943"/>
                <a:ext cx="43518" cy="104853"/>
              </a:xfrm>
              <a:custGeom>
                <a:avLst/>
                <a:gdLst>
                  <a:gd name="connsiteX0" fmla="*/ 6544 w 43518"/>
                  <a:gd name="connsiteY0" fmla="*/ 104853 h 104853"/>
                  <a:gd name="connsiteX1" fmla="*/ 0 w 43518"/>
                  <a:gd name="connsiteY1" fmla="*/ 98310 h 104853"/>
                  <a:gd name="connsiteX2" fmla="*/ 0 w 43518"/>
                  <a:gd name="connsiteY2" fmla="*/ 21759 h 104853"/>
                  <a:gd name="connsiteX3" fmla="*/ 21759 w 43518"/>
                  <a:gd name="connsiteY3" fmla="*/ 0 h 104853"/>
                  <a:gd name="connsiteX4" fmla="*/ 43518 w 43518"/>
                  <a:gd name="connsiteY4" fmla="*/ 21759 h 104853"/>
                  <a:gd name="connsiteX5" fmla="*/ 43518 w 43518"/>
                  <a:gd name="connsiteY5" fmla="*/ 36659 h 104853"/>
                  <a:gd name="connsiteX6" fmla="*/ 36975 w 43518"/>
                  <a:gd name="connsiteY6" fmla="*/ 43203 h 104853"/>
                  <a:gd name="connsiteX7" fmla="*/ 30431 w 43518"/>
                  <a:gd name="connsiteY7" fmla="*/ 36659 h 104853"/>
                  <a:gd name="connsiteX8" fmla="*/ 30431 w 43518"/>
                  <a:gd name="connsiteY8" fmla="*/ 21759 h 104853"/>
                  <a:gd name="connsiteX9" fmla="*/ 21759 w 43518"/>
                  <a:gd name="connsiteY9" fmla="*/ 13087 h 104853"/>
                  <a:gd name="connsiteX10" fmla="*/ 13087 w 43518"/>
                  <a:gd name="connsiteY10" fmla="*/ 21759 h 104853"/>
                  <a:gd name="connsiteX11" fmla="*/ 13087 w 43518"/>
                  <a:gd name="connsiteY11" fmla="*/ 98310 h 104853"/>
                  <a:gd name="connsiteX12" fmla="*/ 6544 w 43518"/>
                  <a:gd name="connsiteY12" fmla="*/ 104853 h 10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8" h="104853">
                    <a:moveTo>
                      <a:pt x="6544" y="104853"/>
                    </a:moveTo>
                    <a:cubicBezTo>
                      <a:pt x="2917" y="104853"/>
                      <a:pt x="0" y="101910"/>
                      <a:pt x="0" y="98310"/>
                    </a:cubicBezTo>
                    <a:lnTo>
                      <a:pt x="0" y="21759"/>
                    </a:lnTo>
                    <a:cubicBezTo>
                      <a:pt x="0" y="9749"/>
                      <a:pt x="9750" y="0"/>
                      <a:pt x="21759" y="0"/>
                    </a:cubicBezTo>
                    <a:cubicBezTo>
                      <a:pt x="33769" y="0"/>
                      <a:pt x="43518" y="9749"/>
                      <a:pt x="43518" y="21759"/>
                    </a:cubicBezTo>
                    <a:lnTo>
                      <a:pt x="43518" y="36659"/>
                    </a:lnTo>
                    <a:cubicBezTo>
                      <a:pt x="43518" y="40286"/>
                      <a:pt x="40601" y="43203"/>
                      <a:pt x="36975" y="43203"/>
                    </a:cubicBezTo>
                    <a:cubicBezTo>
                      <a:pt x="33348" y="43203"/>
                      <a:pt x="30431" y="40286"/>
                      <a:pt x="30431" y="36659"/>
                    </a:cubicBezTo>
                    <a:lnTo>
                      <a:pt x="30431" y="21759"/>
                    </a:lnTo>
                    <a:cubicBezTo>
                      <a:pt x="30431" y="16976"/>
                      <a:pt x="26542" y="13087"/>
                      <a:pt x="21759" y="13087"/>
                    </a:cubicBezTo>
                    <a:cubicBezTo>
                      <a:pt x="16976" y="13087"/>
                      <a:pt x="13087" y="16976"/>
                      <a:pt x="13087" y="21759"/>
                    </a:cubicBezTo>
                    <a:lnTo>
                      <a:pt x="13087" y="98310"/>
                    </a:lnTo>
                    <a:cubicBezTo>
                      <a:pt x="13087" y="101936"/>
                      <a:pt x="10144" y="104853"/>
                      <a:pt x="6544" y="104853"/>
                    </a:cubicBezTo>
                    <a:close/>
                  </a:path>
                </a:pathLst>
              </a:custGeom>
              <a:solidFill>
                <a:schemeClr val="accent1"/>
              </a:solidFill>
              <a:ln w="2624" cap="flat">
                <a:noFill/>
                <a:prstDash val="solid"/>
                <a:miter/>
              </a:ln>
            </p:spPr>
            <p:txBody>
              <a:bodyPr rtlCol="0" anchor="ctr"/>
              <a:lstStyle/>
              <a:p>
                <a:endParaRPr lang="en-GB" dirty="0"/>
              </a:p>
            </p:txBody>
          </p:sp>
          <p:sp>
            <p:nvSpPr>
              <p:cNvPr id="525" name="Freihandform: Form 921">
                <a:extLst>
                  <a:ext uri="{FF2B5EF4-FFF2-40B4-BE49-F238E27FC236}">
                    <a16:creationId xmlns:a16="http://schemas.microsoft.com/office/drawing/2014/main" id="{09A0EA13-763E-4456-94E8-71D9F751CF9B}"/>
                  </a:ext>
                </a:extLst>
              </p:cNvPr>
              <p:cNvSpPr/>
              <p:nvPr/>
            </p:nvSpPr>
            <p:spPr>
              <a:xfrm>
                <a:off x="7300752" y="2613929"/>
                <a:ext cx="43518" cy="79021"/>
              </a:xfrm>
              <a:custGeom>
                <a:avLst/>
                <a:gdLst>
                  <a:gd name="connsiteX0" fmla="*/ 36974 w 43518"/>
                  <a:gd name="connsiteY0" fmla="*/ 79021 h 79021"/>
                  <a:gd name="connsiteX1" fmla="*/ 30431 w 43518"/>
                  <a:gd name="connsiteY1" fmla="*/ 72478 h 79021"/>
                  <a:gd name="connsiteX2" fmla="*/ 30431 w 43518"/>
                  <a:gd name="connsiteY2" fmla="*/ 21759 h 79021"/>
                  <a:gd name="connsiteX3" fmla="*/ 21759 w 43518"/>
                  <a:gd name="connsiteY3" fmla="*/ 13087 h 79021"/>
                  <a:gd name="connsiteX4" fmla="*/ 13087 w 43518"/>
                  <a:gd name="connsiteY4" fmla="*/ 21759 h 79021"/>
                  <a:gd name="connsiteX5" fmla="*/ 13087 w 43518"/>
                  <a:gd name="connsiteY5" fmla="*/ 67879 h 79021"/>
                  <a:gd name="connsiteX6" fmla="*/ 6543 w 43518"/>
                  <a:gd name="connsiteY6" fmla="*/ 74422 h 79021"/>
                  <a:gd name="connsiteX7" fmla="*/ 0 w 43518"/>
                  <a:gd name="connsiteY7" fmla="*/ 67879 h 79021"/>
                  <a:gd name="connsiteX8" fmla="*/ 0 w 43518"/>
                  <a:gd name="connsiteY8" fmla="*/ 21759 h 79021"/>
                  <a:gd name="connsiteX9" fmla="*/ 21759 w 43518"/>
                  <a:gd name="connsiteY9" fmla="*/ 0 h 79021"/>
                  <a:gd name="connsiteX10" fmla="*/ 43518 w 43518"/>
                  <a:gd name="connsiteY10" fmla="*/ 21759 h 79021"/>
                  <a:gd name="connsiteX11" fmla="*/ 43518 w 43518"/>
                  <a:gd name="connsiteY11" fmla="*/ 72478 h 79021"/>
                  <a:gd name="connsiteX12" fmla="*/ 36974 w 43518"/>
                  <a:gd name="connsiteY12" fmla="*/ 79021 h 7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518" h="79021">
                    <a:moveTo>
                      <a:pt x="36974" y="79021"/>
                    </a:moveTo>
                    <a:cubicBezTo>
                      <a:pt x="33348" y="79021"/>
                      <a:pt x="30431" y="76104"/>
                      <a:pt x="30431" y="72478"/>
                    </a:cubicBezTo>
                    <a:lnTo>
                      <a:pt x="30431" y="21759"/>
                    </a:lnTo>
                    <a:cubicBezTo>
                      <a:pt x="30431" y="16976"/>
                      <a:pt x="26542" y="13087"/>
                      <a:pt x="21759" y="13087"/>
                    </a:cubicBezTo>
                    <a:cubicBezTo>
                      <a:pt x="16976" y="13087"/>
                      <a:pt x="13087" y="16976"/>
                      <a:pt x="13087" y="21759"/>
                    </a:cubicBezTo>
                    <a:lnTo>
                      <a:pt x="13087" y="67879"/>
                    </a:lnTo>
                    <a:cubicBezTo>
                      <a:pt x="13087" y="71505"/>
                      <a:pt x="10170" y="74422"/>
                      <a:pt x="6543" y="74422"/>
                    </a:cubicBezTo>
                    <a:cubicBezTo>
                      <a:pt x="2917" y="74422"/>
                      <a:pt x="0" y="71505"/>
                      <a:pt x="0" y="67879"/>
                    </a:cubicBezTo>
                    <a:lnTo>
                      <a:pt x="0" y="21759"/>
                    </a:lnTo>
                    <a:cubicBezTo>
                      <a:pt x="0" y="9749"/>
                      <a:pt x="9749" y="0"/>
                      <a:pt x="21759" y="0"/>
                    </a:cubicBezTo>
                    <a:cubicBezTo>
                      <a:pt x="33768" y="0"/>
                      <a:pt x="43518" y="9749"/>
                      <a:pt x="43518" y="21759"/>
                    </a:cubicBezTo>
                    <a:lnTo>
                      <a:pt x="43518" y="72478"/>
                    </a:lnTo>
                    <a:cubicBezTo>
                      <a:pt x="43518" y="76078"/>
                      <a:pt x="40575" y="79021"/>
                      <a:pt x="36974" y="79021"/>
                    </a:cubicBezTo>
                    <a:close/>
                  </a:path>
                </a:pathLst>
              </a:custGeom>
              <a:solidFill>
                <a:schemeClr val="accent1"/>
              </a:solidFill>
              <a:ln w="2624" cap="flat">
                <a:noFill/>
                <a:prstDash val="solid"/>
                <a:miter/>
              </a:ln>
            </p:spPr>
            <p:txBody>
              <a:bodyPr rtlCol="0" anchor="ctr"/>
              <a:lstStyle/>
              <a:p>
                <a:endParaRPr lang="en-GB" dirty="0"/>
              </a:p>
            </p:txBody>
          </p:sp>
          <p:sp>
            <p:nvSpPr>
              <p:cNvPr id="526" name="Freihandform: Form 922">
                <a:extLst>
                  <a:ext uri="{FF2B5EF4-FFF2-40B4-BE49-F238E27FC236}">
                    <a16:creationId xmlns:a16="http://schemas.microsoft.com/office/drawing/2014/main" id="{DA60B3B9-2D8C-475F-902A-E1F131F8B30C}"/>
                  </a:ext>
                </a:extLst>
              </p:cNvPr>
              <p:cNvSpPr/>
              <p:nvPr/>
            </p:nvSpPr>
            <p:spPr>
              <a:xfrm>
                <a:off x="7314785" y="2681939"/>
                <a:ext cx="79021" cy="79021"/>
              </a:xfrm>
              <a:custGeom>
                <a:avLst/>
                <a:gdLst>
                  <a:gd name="connsiteX0" fmla="*/ 6543 w 79021"/>
                  <a:gd name="connsiteY0" fmla="*/ 79021 h 79021"/>
                  <a:gd name="connsiteX1" fmla="*/ 0 w 79021"/>
                  <a:gd name="connsiteY1" fmla="*/ 72478 h 79021"/>
                  <a:gd name="connsiteX2" fmla="*/ 0 w 79021"/>
                  <a:gd name="connsiteY2" fmla="*/ 21759 h 79021"/>
                  <a:gd name="connsiteX3" fmla="*/ 21759 w 79021"/>
                  <a:gd name="connsiteY3" fmla="*/ 0 h 79021"/>
                  <a:gd name="connsiteX4" fmla="*/ 43518 w 79021"/>
                  <a:gd name="connsiteY4" fmla="*/ 21759 h 79021"/>
                  <a:gd name="connsiteX5" fmla="*/ 43518 w 79021"/>
                  <a:gd name="connsiteY5" fmla="*/ 55081 h 79021"/>
                  <a:gd name="connsiteX6" fmla="*/ 52190 w 79021"/>
                  <a:gd name="connsiteY6" fmla="*/ 63753 h 79021"/>
                  <a:gd name="connsiteX7" fmla="*/ 72478 w 79021"/>
                  <a:gd name="connsiteY7" fmla="*/ 63753 h 79021"/>
                  <a:gd name="connsiteX8" fmla="*/ 79021 w 79021"/>
                  <a:gd name="connsiteY8" fmla="*/ 70296 h 79021"/>
                  <a:gd name="connsiteX9" fmla="*/ 72478 w 79021"/>
                  <a:gd name="connsiteY9" fmla="*/ 76840 h 79021"/>
                  <a:gd name="connsiteX10" fmla="*/ 52190 w 79021"/>
                  <a:gd name="connsiteY10" fmla="*/ 76840 h 79021"/>
                  <a:gd name="connsiteX11" fmla="*/ 30431 w 79021"/>
                  <a:gd name="connsiteY11" fmla="*/ 55081 h 79021"/>
                  <a:gd name="connsiteX12" fmla="*/ 30431 w 79021"/>
                  <a:gd name="connsiteY12" fmla="*/ 21759 h 79021"/>
                  <a:gd name="connsiteX13" fmla="*/ 21759 w 79021"/>
                  <a:gd name="connsiteY13" fmla="*/ 13087 h 79021"/>
                  <a:gd name="connsiteX14" fmla="*/ 13087 w 79021"/>
                  <a:gd name="connsiteY14" fmla="*/ 21759 h 79021"/>
                  <a:gd name="connsiteX15" fmla="*/ 13087 w 79021"/>
                  <a:gd name="connsiteY15" fmla="*/ 72478 h 79021"/>
                  <a:gd name="connsiteX16" fmla="*/ 6543 w 79021"/>
                  <a:gd name="connsiteY16" fmla="*/ 79021 h 7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21" h="79021">
                    <a:moveTo>
                      <a:pt x="6543" y="79021"/>
                    </a:moveTo>
                    <a:cubicBezTo>
                      <a:pt x="2917" y="79021"/>
                      <a:pt x="0" y="76104"/>
                      <a:pt x="0" y="72478"/>
                    </a:cubicBezTo>
                    <a:lnTo>
                      <a:pt x="0" y="21759"/>
                    </a:lnTo>
                    <a:cubicBezTo>
                      <a:pt x="0" y="9749"/>
                      <a:pt x="9750" y="0"/>
                      <a:pt x="21759" y="0"/>
                    </a:cubicBezTo>
                    <a:cubicBezTo>
                      <a:pt x="33768" y="0"/>
                      <a:pt x="43518" y="9749"/>
                      <a:pt x="43518" y="21759"/>
                    </a:cubicBezTo>
                    <a:lnTo>
                      <a:pt x="43518" y="55081"/>
                    </a:lnTo>
                    <a:cubicBezTo>
                      <a:pt x="43518" y="63122"/>
                      <a:pt x="50140" y="63753"/>
                      <a:pt x="52190" y="63753"/>
                    </a:cubicBezTo>
                    <a:lnTo>
                      <a:pt x="72478" y="63753"/>
                    </a:lnTo>
                    <a:cubicBezTo>
                      <a:pt x="76104" y="63753"/>
                      <a:pt x="79021" y="66670"/>
                      <a:pt x="79021" y="70296"/>
                    </a:cubicBezTo>
                    <a:cubicBezTo>
                      <a:pt x="79021" y="73923"/>
                      <a:pt x="76104" y="76840"/>
                      <a:pt x="72478" y="76840"/>
                    </a:cubicBezTo>
                    <a:lnTo>
                      <a:pt x="52190" y="76840"/>
                    </a:lnTo>
                    <a:cubicBezTo>
                      <a:pt x="43439" y="76840"/>
                      <a:pt x="30431" y="71058"/>
                      <a:pt x="30431" y="55081"/>
                    </a:cubicBezTo>
                    <a:lnTo>
                      <a:pt x="30431" y="21759"/>
                    </a:lnTo>
                    <a:cubicBezTo>
                      <a:pt x="30431" y="16976"/>
                      <a:pt x="26542" y="13087"/>
                      <a:pt x="21759" y="13087"/>
                    </a:cubicBezTo>
                    <a:cubicBezTo>
                      <a:pt x="16976" y="13087"/>
                      <a:pt x="13087" y="16976"/>
                      <a:pt x="13087" y="21759"/>
                    </a:cubicBezTo>
                    <a:lnTo>
                      <a:pt x="13087" y="72478"/>
                    </a:lnTo>
                    <a:cubicBezTo>
                      <a:pt x="13113" y="76104"/>
                      <a:pt x="10170" y="79021"/>
                      <a:pt x="6543" y="79021"/>
                    </a:cubicBezTo>
                    <a:close/>
                  </a:path>
                </a:pathLst>
              </a:custGeom>
              <a:solidFill>
                <a:schemeClr val="accent1"/>
              </a:solidFill>
              <a:ln w="2624" cap="flat">
                <a:noFill/>
                <a:prstDash val="solid"/>
                <a:miter/>
              </a:ln>
            </p:spPr>
            <p:txBody>
              <a:bodyPr rtlCol="0" anchor="ctr"/>
              <a:lstStyle/>
              <a:p>
                <a:endParaRPr lang="en-GB" dirty="0"/>
              </a:p>
            </p:txBody>
          </p:sp>
          <p:sp>
            <p:nvSpPr>
              <p:cNvPr id="527" name="Freihandform: Form 923">
                <a:extLst>
                  <a:ext uri="{FF2B5EF4-FFF2-40B4-BE49-F238E27FC236}">
                    <a16:creationId xmlns:a16="http://schemas.microsoft.com/office/drawing/2014/main" id="{4E59BC9E-BC56-4F8C-8582-B3C786350B3F}"/>
                  </a:ext>
                </a:extLst>
              </p:cNvPr>
              <p:cNvSpPr/>
              <p:nvPr/>
            </p:nvSpPr>
            <p:spPr>
              <a:xfrm>
                <a:off x="7299322" y="2748719"/>
                <a:ext cx="28417" cy="31844"/>
              </a:xfrm>
              <a:custGeom>
                <a:avLst/>
                <a:gdLst>
                  <a:gd name="connsiteX0" fmla="*/ 6555 w 28417"/>
                  <a:gd name="connsiteY0" fmla="*/ 31845 h 31844"/>
                  <a:gd name="connsiteX1" fmla="*/ 5083 w 28417"/>
                  <a:gd name="connsiteY1" fmla="*/ 31687 h 31844"/>
                  <a:gd name="connsiteX2" fmla="*/ 169 w 28417"/>
                  <a:gd name="connsiteY2" fmla="*/ 23856 h 31844"/>
                  <a:gd name="connsiteX3" fmla="*/ 19563 w 28417"/>
                  <a:gd name="connsiteY3" fmla="*/ 415 h 31844"/>
                  <a:gd name="connsiteX4" fmla="*/ 27999 w 28417"/>
                  <a:gd name="connsiteY4" fmla="*/ 4252 h 31844"/>
                  <a:gd name="connsiteX5" fmla="*/ 24215 w 28417"/>
                  <a:gd name="connsiteY5" fmla="*/ 12661 h 31844"/>
                  <a:gd name="connsiteX6" fmla="*/ 12915 w 28417"/>
                  <a:gd name="connsiteY6" fmla="*/ 26799 h 31844"/>
                  <a:gd name="connsiteX7" fmla="*/ 6555 w 28417"/>
                  <a:gd name="connsiteY7" fmla="*/ 31845 h 3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17" h="31844">
                    <a:moveTo>
                      <a:pt x="6555" y="31845"/>
                    </a:moveTo>
                    <a:cubicBezTo>
                      <a:pt x="6082" y="31845"/>
                      <a:pt x="5583" y="31792"/>
                      <a:pt x="5083" y="31687"/>
                    </a:cubicBezTo>
                    <a:cubicBezTo>
                      <a:pt x="1562" y="30873"/>
                      <a:pt x="-646" y="27377"/>
                      <a:pt x="169" y="23856"/>
                    </a:cubicBezTo>
                    <a:cubicBezTo>
                      <a:pt x="4164" y="6354"/>
                      <a:pt x="18959" y="625"/>
                      <a:pt x="19563" y="415"/>
                    </a:cubicBezTo>
                    <a:cubicBezTo>
                      <a:pt x="22953" y="-846"/>
                      <a:pt x="26737" y="862"/>
                      <a:pt x="27999" y="4252"/>
                    </a:cubicBezTo>
                    <a:cubicBezTo>
                      <a:pt x="29260" y="7616"/>
                      <a:pt x="27578" y="11373"/>
                      <a:pt x="24215" y="12661"/>
                    </a:cubicBezTo>
                    <a:cubicBezTo>
                      <a:pt x="23741" y="12845"/>
                      <a:pt x="15306" y="16393"/>
                      <a:pt x="12915" y="26799"/>
                    </a:cubicBezTo>
                    <a:cubicBezTo>
                      <a:pt x="12231" y="29795"/>
                      <a:pt x="9524" y="31845"/>
                      <a:pt x="6555" y="31845"/>
                    </a:cubicBezTo>
                    <a:close/>
                  </a:path>
                </a:pathLst>
              </a:custGeom>
              <a:solidFill>
                <a:schemeClr val="accent1"/>
              </a:solidFill>
              <a:ln w="2624" cap="flat">
                <a:noFill/>
                <a:prstDash val="solid"/>
                <a:miter/>
              </a:ln>
            </p:spPr>
            <p:txBody>
              <a:bodyPr rtlCol="0" anchor="ctr"/>
              <a:lstStyle/>
              <a:p>
                <a:endParaRPr lang="en-GB" dirty="0"/>
              </a:p>
            </p:txBody>
          </p:sp>
          <p:sp>
            <p:nvSpPr>
              <p:cNvPr id="528" name="Freihandform: Form 929">
                <a:extLst>
                  <a:ext uri="{FF2B5EF4-FFF2-40B4-BE49-F238E27FC236}">
                    <a16:creationId xmlns:a16="http://schemas.microsoft.com/office/drawing/2014/main" id="{EA3C8C53-2206-4D10-8A4C-7BAEDF1693B0}"/>
                  </a:ext>
                </a:extLst>
              </p:cNvPr>
              <p:cNvSpPr/>
              <p:nvPr/>
            </p:nvSpPr>
            <p:spPr>
              <a:xfrm>
                <a:off x="7381613" y="2728321"/>
                <a:ext cx="42046" cy="130081"/>
              </a:xfrm>
              <a:custGeom>
                <a:avLst/>
                <a:gdLst>
                  <a:gd name="connsiteX0" fmla="*/ 35503 w 42046"/>
                  <a:gd name="connsiteY0" fmla="*/ 130081 h 130081"/>
                  <a:gd name="connsiteX1" fmla="*/ 6543 w 42046"/>
                  <a:gd name="connsiteY1" fmla="*/ 130081 h 130081"/>
                  <a:gd name="connsiteX2" fmla="*/ 0 w 42046"/>
                  <a:gd name="connsiteY2" fmla="*/ 123538 h 130081"/>
                  <a:gd name="connsiteX3" fmla="*/ 0 w 42046"/>
                  <a:gd name="connsiteY3" fmla="*/ 6544 h 130081"/>
                  <a:gd name="connsiteX4" fmla="*/ 6543 w 42046"/>
                  <a:gd name="connsiteY4" fmla="*/ 0 h 130081"/>
                  <a:gd name="connsiteX5" fmla="*/ 35503 w 42046"/>
                  <a:gd name="connsiteY5" fmla="*/ 0 h 130081"/>
                  <a:gd name="connsiteX6" fmla="*/ 42046 w 42046"/>
                  <a:gd name="connsiteY6" fmla="*/ 6544 h 130081"/>
                  <a:gd name="connsiteX7" fmla="*/ 35503 w 42046"/>
                  <a:gd name="connsiteY7" fmla="*/ 13087 h 130081"/>
                  <a:gd name="connsiteX8" fmla="*/ 13087 w 42046"/>
                  <a:gd name="connsiteY8" fmla="*/ 13087 h 130081"/>
                  <a:gd name="connsiteX9" fmla="*/ 13087 w 42046"/>
                  <a:gd name="connsiteY9" fmla="*/ 116994 h 130081"/>
                  <a:gd name="connsiteX10" fmla="*/ 35503 w 42046"/>
                  <a:gd name="connsiteY10" fmla="*/ 116994 h 130081"/>
                  <a:gd name="connsiteX11" fmla="*/ 42046 w 42046"/>
                  <a:gd name="connsiteY11" fmla="*/ 123538 h 130081"/>
                  <a:gd name="connsiteX12" fmla="*/ 35503 w 42046"/>
                  <a:gd name="connsiteY12" fmla="*/ 130081 h 13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046" h="130081">
                    <a:moveTo>
                      <a:pt x="35503" y="130081"/>
                    </a:moveTo>
                    <a:lnTo>
                      <a:pt x="6543" y="130081"/>
                    </a:lnTo>
                    <a:cubicBezTo>
                      <a:pt x="2917" y="130081"/>
                      <a:pt x="0" y="127138"/>
                      <a:pt x="0" y="123538"/>
                    </a:cubicBezTo>
                    <a:lnTo>
                      <a:pt x="0" y="6544"/>
                    </a:lnTo>
                    <a:cubicBezTo>
                      <a:pt x="0" y="2917"/>
                      <a:pt x="2917" y="0"/>
                      <a:pt x="6543" y="0"/>
                    </a:cubicBezTo>
                    <a:lnTo>
                      <a:pt x="35503" y="0"/>
                    </a:lnTo>
                    <a:cubicBezTo>
                      <a:pt x="39129" y="0"/>
                      <a:pt x="42046" y="2943"/>
                      <a:pt x="42046" y="6544"/>
                    </a:cubicBezTo>
                    <a:cubicBezTo>
                      <a:pt x="42046" y="10170"/>
                      <a:pt x="39129" y="13087"/>
                      <a:pt x="35503" y="13087"/>
                    </a:cubicBezTo>
                    <a:lnTo>
                      <a:pt x="13087" y="13087"/>
                    </a:lnTo>
                    <a:lnTo>
                      <a:pt x="13087" y="116994"/>
                    </a:lnTo>
                    <a:lnTo>
                      <a:pt x="35503" y="116994"/>
                    </a:lnTo>
                    <a:cubicBezTo>
                      <a:pt x="39129" y="116994"/>
                      <a:pt x="42046" y="119937"/>
                      <a:pt x="42046" y="123538"/>
                    </a:cubicBezTo>
                    <a:cubicBezTo>
                      <a:pt x="42046" y="127138"/>
                      <a:pt x="39129" y="130081"/>
                      <a:pt x="35503" y="130081"/>
                    </a:cubicBezTo>
                    <a:close/>
                  </a:path>
                </a:pathLst>
              </a:custGeom>
              <a:solidFill>
                <a:schemeClr val="accent1"/>
              </a:solidFill>
              <a:ln w="2624" cap="flat">
                <a:noFill/>
                <a:prstDash val="solid"/>
                <a:miter/>
              </a:ln>
            </p:spPr>
            <p:txBody>
              <a:bodyPr rtlCol="0" anchor="ctr"/>
              <a:lstStyle/>
              <a:p>
                <a:endParaRPr lang="en-GB" dirty="0"/>
              </a:p>
            </p:txBody>
          </p:sp>
        </p:grpSp>
        <p:grpSp>
          <p:nvGrpSpPr>
            <p:cNvPr id="512" name="Gruppieren 1150">
              <a:extLst>
                <a:ext uri="{FF2B5EF4-FFF2-40B4-BE49-F238E27FC236}">
                  <a16:creationId xmlns:a16="http://schemas.microsoft.com/office/drawing/2014/main" id="{04635D85-7F6B-4526-8B70-8C0B4B0F9C33}"/>
                </a:ext>
              </a:extLst>
            </p:cNvPr>
            <p:cNvGrpSpPr/>
            <p:nvPr/>
          </p:nvGrpSpPr>
          <p:grpSpPr>
            <a:xfrm>
              <a:off x="6991343" y="2498459"/>
              <a:ext cx="320256" cy="359943"/>
              <a:chOff x="6991343" y="2498459"/>
              <a:chExt cx="320256" cy="359943"/>
            </a:xfrm>
          </p:grpSpPr>
          <p:sp>
            <p:nvSpPr>
              <p:cNvPr id="513" name="Freihandform: Form 914">
                <a:extLst>
                  <a:ext uri="{FF2B5EF4-FFF2-40B4-BE49-F238E27FC236}">
                    <a16:creationId xmlns:a16="http://schemas.microsoft.com/office/drawing/2014/main" id="{0E0F0E77-3458-47F4-B8BE-37B96981FA9E}"/>
                  </a:ext>
                </a:extLst>
              </p:cNvPr>
              <p:cNvSpPr/>
              <p:nvPr/>
            </p:nvSpPr>
            <p:spPr>
              <a:xfrm>
                <a:off x="7202548" y="2498459"/>
                <a:ext cx="13087" cy="63043"/>
              </a:xfrm>
              <a:custGeom>
                <a:avLst/>
                <a:gdLst>
                  <a:gd name="connsiteX0" fmla="*/ 6544 w 13087"/>
                  <a:gd name="connsiteY0" fmla="*/ 63043 h 63043"/>
                  <a:gd name="connsiteX1" fmla="*/ 0 w 13087"/>
                  <a:gd name="connsiteY1" fmla="*/ 56500 h 63043"/>
                  <a:gd name="connsiteX2" fmla="*/ 0 w 13087"/>
                  <a:gd name="connsiteY2" fmla="*/ 6544 h 63043"/>
                  <a:gd name="connsiteX3" fmla="*/ 6544 w 13087"/>
                  <a:gd name="connsiteY3" fmla="*/ 0 h 63043"/>
                  <a:gd name="connsiteX4" fmla="*/ 13087 w 13087"/>
                  <a:gd name="connsiteY4" fmla="*/ 6544 h 63043"/>
                  <a:gd name="connsiteX5" fmla="*/ 13087 w 13087"/>
                  <a:gd name="connsiteY5" fmla="*/ 56526 h 63043"/>
                  <a:gd name="connsiteX6" fmla="*/ 6544 w 13087"/>
                  <a:gd name="connsiteY6" fmla="*/ 63043 h 63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7" h="63043">
                    <a:moveTo>
                      <a:pt x="6544" y="63043"/>
                    </a:moveTo>
                    <a:cubicBezTo>
                      <a:pt x="2917" y="63043"/>
                      <a:pt x="0" y="60100"/>
                      <a:pt x="0" y="56500"/>
                    </a:cubicBezTo>
                    <a:lnTo>
                      <a:pt x="0" y="6544"/>
                    </a:lnTo>
                    <a:cubicBezTo>
                      <a:pt x="0" y="2917"/>
                      <a:pt x="2917" y="0"/>
                      <a:pt x="6544" y="0"/>
                    </a:cubicBezTo>
                    <a:cubicBezTo>
                      <a:pt x="10170" y="0"/>
                      <a:pt x="13087" y="2943"/>
                      <a:pt x="13087" y="6544"/>
                    </a:cubicBezTo>
                    <a:lnTo>
                      <a:pt x="13087" y="56526"/>
                    </a:lnTo>
                    <a:cubicBezTo>
                      <a:pt x="13087" y="60126"/>
                      <a:pt x="10170" y="63043"/>
                      <a:pt x="6544" y="63043"/>
                    </a:cubicBezTo>
                    <a:close/>
                  </a:path>
                </a:pathLst>
              </a:custGeom>
              <a:solidFill>
                <a:schemeClr val="tx2"/>
              </a:solidFill>
              <a:ln w="2624" cap="flat">
                <a:noFill/>
                <a:prstDash val="solid"/>
                <a:miter/>
              </a:ln>
            </p:spPr>
            <p:txBody>
              <a:bodyPr rtlCol="0" anchor="ctr"/>
              <a:lstStyle/>
              <a:p>
                <a:endParaRPr lang="en-GB" dirty="0"/>
              </a:p>
            </p:txBody>
          </p:sp>
          <p:sp>
            <p:nvSpPr>
              <p:cNvPr id="514" name="Freihandform: Form 915">
                <a:extLst>
                  <a:ext uri="{FF2B5EF4-FFF2-40B4-BE49-F238E27FC236}">
                    <a16:creationId xmlns:a16="http://schemas.microsoft.com/office/drawing/2014/main" id="{5C2CE57F-F0A3-4A44-8529-D6592A2B37AD}"/>
                  </a:ext>
                </a:extLst>
              </p:cNvPr>
              <p:cNvSpPr/>
              <p:nvPr/>
            </p:nvSpPr>
            <p:spPr>
              <a:xfrm>
                <a:off x="7108659" y="2513077"/>
                <a:ext cx="48419" cy="48425"/>
              </a:xfrm>
              <a:custGeom>
                <a:avLst/>
                <a:gdLst>
                  <a:gd name="connsiteX0" fmla="*/ 41882 w 48419"/>
                  <a:gd name="connsiteY0" fmla="*/ 48426 h 48425"/>
                  <a:gd name="connsiteX1" fmla="*/ 37257 w 48419"/>
                  <a:gd name="connsiteY1" fmla="*/ 46507 h 48425"/>
                  <a:gd name="connsiteX2" fmla="*/ 1912 w 48419"/>
                  <a:gd name="connsiteY2" fmla="*/ 11162 h 48425"/>
                  <a:gd name="connsiteX3" fmla="*/ 1912 w 48419"/>
                  <a:gd name="connsiteY3" fmla="*/ 1912 h 48425"/>
                  <a:gd name="connsiteX4" fmla="*/ 11162 w 48419"/>
                  <a:gd name="connsiteY4" fmla="*/ 1912 h 48425"/>
                  <a:gd name="connsiteX5" fmla="*/ 46507 w 48419"/>
                  <a:gd name="connsiteY5" fmla="*/ 37257 h 48425"/>
                  <a:gd name="connsiteX6" fmla="*/ 46507 w 48419"/>
                  <a:gd name="connsiteY6" fmla="*/ 46507 h 48425"/>
                  <a:gd name="connsiteX7" fmla="*/ 41882 w 48419"/>
                  <a:gd name="connsiteY7" fmla="*/ 48426 h 4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19" h="48425">
                    <a:moveTo>
                      <a:pt x="41882" y="48426"/>
                    </a:moveTo>
                    <a:cubicBezTo>
                      <a:pt x="40200" y="48426"/>
                      <a:pt x="38545" y="47795"/>
                      <a:pt x="37257" y="46507"/>
                    </a:cubicBezTo>
                    <a:lnTo>
                      <a:pt x="1912" y="11162"/>
                    </a:lnTo>
                    <a:cubicBezTo>
                      <a:pt x="-637" y="8613"/>
                      <a:pt x="-637" y="4461"/>
                      <a:pt x="1912" y="1912"/>
                    </a:cubicBezTo>
                    <a:cubicBezTo>
                      <a:pt x="4461" y="-637"/>
                      <a:pt x="8613" y="-637"/>
                      <a:pt x="11162" y="1912"/>
                    </a:cubicBezTo>
                    <a:lnTo>
                      <a:pt x="46507" y="37257"/>
                    </a:lnTo>
                    <a:cubicBezTo>
                      <a:pt x="49056" y="39806"/>
                      <a:pt x="49056" y="43958"/>
                      <a:pt x="46507" y="46507"/>
                    </a:cubicBezTo>
                    <a:cubicBezTo>
                      <a:pt x="45220" y="47795"/>
                      <a:pt x="43538" y="48426"/>
                      <a:pt x="41882" y="48426"/>
                    </a:cubicBezTo>
                    <a:close/>
                  </a:path>
                </a:pathLst>
              </a:custGeom>
              <a:solidFill>
                <a:schemeClr val="tx2"/>
              </a:solidFill>
              <a:ln w="2624" cap="flat">
                <a:noFill/>
                <a:prstDash val="solid"/>
                <a:miter/>
              </a:ln>
            </p:spPr>
            <p:txBody>
              <a:bodyPr rtlCol="0" anchor="ctr"/>
              <a:lstStyle/>
              <a:p>
                <a:endParaRPr lang="en-GB" dirty="0"/>
              </a:p>
            </p:txBody>
          </p:sp>
          <p:sp>
            <p:nvSpPr>
              <p:cNvPr id="515" name="Freihandform: Form 916">
                <a:extLst>
                  <a:ext uri="{FF2B5EF4-FFF2-40B4-BE49-F238E27FC236}">
                    <a16:creationId xmlns:a16="http://schemas.microsoft.com/office/drawing/2014/main" id="{96A0ABF4-140D-4209-B492-5419D8A1385E}"/>
                  </a:ext>
                </a:extLst>
              </p:cNvPr>
              <p:cNvSpPr/>
              <p:nvPr/>
            </p:nvSpPr>
            <p:spPr>
              <a:xfrm>
                <a:off x="7263180" y="2513077"/>
                <a:ext cx="48419" cy="48425"/>
              </a:xfrm>
              <a:custGeom>
                <a:avLst/>
                <a:gdLst>
                  <a:gd name="connsiteX0" fmla="*/ 6537 w 48419"/>
                  <a:gd name="connsiteY0" fmla="*/ 48426 h 48425"/>
                  <a:gd name="connsiteX1" fmla="*/ 1912 w 48419"/>
                  <a:gd name="connsiteY1" fmla="*/ 46507 h 48425"/>
                  <a:gd name="connsiteX2" fmla="*/ 1912 w 48419"/>
                  <a:gd name="connsiteY2" fmla="*/ 37257 h 48425"/>
                  <a:gd name="connsiteX3" fmla="*/ 37257 w 48419"/>
                  <a:gd name="connsiteY3" fmla="*/ 1912 h 48425"/>
                  <a:gd name="connsiteX4" fmla="*/ 46507 w 48419"/>
                  <a:gd name="connsiteY4" fmla="*/ 1912 h 48425"/>
                  <a:gd name="connsiteX5" fmla="*/ 46507 w 48419"/>
                  <a:gd name="connsiteY5" fmla="*/ 11162 h 48425"/>
                  <a:gd name="connsiteX6" fmla="*/ 11162 w 48419"/>
                  <a:gd name="connsiteY6" fmla="*/ 46507 h 48425"/>
                  <a:gd name="connsiteX7" fmla="*/ 6537 w 48419"/>
                  <a:gd name="connsiteY7" fmla="*/ 48426 h 4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19" h="48425">
                    <a:moveTo>
                      <a:pt x="6537" y="48426"/>
                    </a:moveTo>
                    <a:cubicBezTo>
                      <a:pt x="4855" y="48426"/>
                      <a:pt x="3200" y="47795"/>
                      <a:pt x="1912" y="46507"/>
                    </a:cubicBezTo>
                    <a:cubicBezTo>
                      <a:pt x="-637" y="43958"/>
                      <a:pt x="-637" y="39806"/>
                      <a:pt x="1912" y="37257"/>
                    </a:cubicBezTo>
                    <a:lnTo>
                      <a:pt x="37257" y="1912"/>
                    </a:lnTo>
                    <a:cubicBezTo>
                      <a:pt x="39806" y="-637"/>
                      <a:pt x="43958" y="-637"/>
                      <a:pt x="46507" y="1912"/>
                    </a:cubicBezTo>
                    <a:cubicBezTo>
                      <a:pt x="49056" y="4461"/>
                      <a:pt x="49056" y="8613"/>
                      <a:pt x="46507" y="11162"/>
                    </a:cubicBezTo>
                    <a:lnTo>
                      <a:pt x="11162" y="46507"/>
                    </a:lnTo>
                    <a:cubicBezTo>
                      <a:pt x="9874" y="47795"/>
                      <a:pt x="8192" y="48426"/>
                      <a:pt x="6537" y="48426"/>
                    </a:cubicBezTo>
                    <a:close/>
                  </a:path>
                </a:pathLst>
              </a:custGeom>
              <a:solidFill>
                <a:schemeClr val="tx2"/>
              </a:solidFill>
              <a:ln w="2624" cap="flat">
                <a:noFill/>
                <a:prstDash val="solid"/>
                <a:miter/>
              </a:ln>
            </p:spPr>
            <p:txBody>
              <a:bodyPr rtlCol="0" anchor="ctr"/>
              <a:lstStyle/>
              <a:p>
                <a:endParaRPr lang="en-GB" dirty="0"/>
              </a:p>
            </p:txBody>
          </p:sp>
          <p:sp>
            <p:nvSpPr>
              <p:cNvPr id="516" name="Freihandform: Form 924">
                <a:extLst>
                  <a:ext uri="{FF2B5EF4-FFF2-40B4-BE49-F238E27FC236}">
                    <a16:creationId xmlns:a16="http://schemas.microsoft.com/office/drawing/2014/main" id="{117FA466-F3CA-4604-ACDD-5712524B5EEA}"/>
                  </a:ext>
                </a:extLst>
              </p:cNvPr>
              <p:cNvSpPr/>
              <p:nvPr/>
            </p:nvSpPr>
            <p:spPr>
              <a:xfrm>
                <a:off x="7027661" y="2704986"/>
                <a:ext cx="163508" cy="137544"/>
              </a:xfrm>
              <a:custGeom>
                <a:avLst/>
                <a:gdLst>
                  <a:gd name="connsiteX0" fmla="*/ 118229 w 163508"/>
                  <a:gd name="connsiteY0" fmla="*/ 137544 h 137544"/>
                  <a:gd name="connsiteX1" fmla="*/ 6517 w 163508"/>
                  <a:gd name="connsiteY1" fmla="*/ 136914 h 137544"/>
                  <a:gd name="connsiteX2" fmla="*/ 0 w 163508"/>
                  <a:gd name="connsiteY2" fmla="*/ 130318 h 137544"/>
                  <a:gd name="connsiteX3" fmla="*/ 6543 w 163508"/>
                  <a:gd name="connsiteY3" fmla="*/ 123801 h 137544"/>
                  <a:gd name="connsiteX4" fmla="*/ 6570 w 163508"/>
                  <a:gd name="connsiteY4" fmla="*/ 123801 h 137544"/>
                  <a:gd name="connsiteX5" fmla="*/ 118124 w 163508"/>
                  <a:gd name="connsiteY5" fmla="*/ 124431 h 137544"/>
                  <a:gd name="connsiteX6" fmla="*/ 150211 w 163508"/>
                  <a:gd name="connsiteY6" fmla="*/ 83988 h 137544"/>
                  <a:gd name="connsiteX7" fmla="*/ 150421 w 163508"/>
                  <a:gd name="connsiteY7" fmla="*/ 18973 h 137544"/>
                  <a:gd name="connsiteX8" fmla="*/ 141749 w 163508"/>
                  <a:gd name="connsiteY8" fmla="*/ 13113 h 137544"/>
                  <a:gd name="connsiteX9" fmla="*/ 141749 w 163508"/>
                  <a:gd name="connsiteY9" fmla="*/ 13113 h 137544"/>
                  <a:gd name="connsiteX10" fmla="*/ 133077 w 163508"/>
                  <a:gd name="connsiteY10" fmla="*/ 19184 h 137544"/>
                  <a:gd name="connsiteX11" fmla="*/ 133077 w 163508"/>
                  <a:gd name="connsiteY11" fmla="*/ 68956 h 137544"/>
                  <a:gd name="connsiteX12" fmla="*/ 126534 w 163508"/>
                  <a:gd name="connsiteY12" fmla="*/ 75500 h 137544"/>
                  <a:gd name="connsiteX13" fmla="*/ 119990 w 163508"/>
                  <a:gd name="connsiteY13" fmla="*/ 68956 h 137544"/>
                  <a:gd name="connsiteX14" fmla="*/ 119990 w 163508"/>
                  <a:gd name="connsiteY14" fmla="*/ 18973 h 137544"/>
                  <a:gd name="connsiteX15" fmla="*/ 141749 w 163508"/>
                  <a:gd name="connsiteY15" fmla="*/ 0 h 137544"/>
                  <a:gd name="connsiteX16" fmla="*/ 141749 w 163508"/>
                  <a:gd name="connsiteY16" fmla="*/ 0 h 137544"/>
                  <a:gd name="connsiteX17" fmla="*/ 156518 w 163508"/>
                  <a:gd name="connsiteY17" fmla="*/ 5992 h 137544"/>
                  <a:gd name="connsiteX18" fmla="*/ 163508 w 163508"/>
                  <a:gd name="connsiteY18" fmla="*/ 18973 h 137544"/>
                  <a:gd name="connsiteX19" fmla="*/ 163298 w 163508"/>
                  <a:gd name="connsiteY19" fmla="*/ 84067 h 137544"/>
                  <a:gd name="connsiteX20" fmla="*/ 118229 w 163508"/>
                  <a:gd name="connsiteY20" fmla="*/ 137544 h 137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3508" h="137544">
                    <a:moveTo>
                      <a:pt x="118229" y="137544"/>
                    </a:moveTo>
                    <a:lnTo>
                      <a:pt x="6517" y="136914"/>
                    </a:lnTo>
                    <a:cubicBezTo>
                      <a:pt x="2917" y="136887"/>
                      <a:pt x="0" y="133944"/>
                      <a:pt x="0" y="130318"/>
                    </a:cubicBezTo>
                    <a:cubicBezTo>
                      <a:pt x="26" y="126717"/>
                      <a:pt x="2943" y="123801"/>
                      <a:pt x="6543" y="123801"/>
                    </a:cubicBezTo>
                    <a:cubicBezTo>
                      <a:pt x="6543" y="123801"/>
                      <a:pt x="6570" y="123801"/>
                      <a:pt x="6570" y="123801"/>
                    </a:cubicBezTo>
                    <a:lnTo>
                      <a:pt x="118124" y="124431"/>
                    </a:lnTo>
                    <a:cubicBezTo>
                      <a:pt x="121173" y="124352"/>
                      <a:pt x="149685" y="122434"/>
                      <a:pt x="150211" y="83988"/>
                    </a:cubicBezTo>
                    <a:lnTo>
                      <a:pt x="150421" y="18973"/>
                    </a:lnTo>
                    <a:cubicBezTo>
                      <a:pt x="150106" y="17528"/>
                      <a:pt x="145822" y="13113"/>
                      <a:pt x="141749" y="13113"/>
                    </a:cubicBezTo>
                    <a:cubicBezTo>
                      <a:pt x="141749" y="13113"/>
                      <a:pt x="141749" y="13113"/>
                      <a:pt x="141749" y="13113"/>
                    </a:cubicBezTo>
                    <a:cubicBezTo>
                      <a:pt x="137702" y="13113"/>
                      <a:pt x="133419" y="17528"/>
                      <a:pt x="133077" y="19184"/>
                    </a:cubicBezTo>
                    <a:lnTo>
                      <a:pt x="133077" y="68956"/>
                    </a:lnTo>
                    <a:cubicBezTo>
                      <a:pt x="133077" y="72583"/>
                      <a:pt x="130160" y="75500"/>
                      <a:pt x="126534" y="75500"/>
                    </a:cubicBezTo>
                    <a:cubicBezTo>
                      <a:pt x="122907" y="75500"/>
                      <a:pt x="119990" y="72556"/>
                      <a:pt x="119990" y="68956"/>
                    </a:cubicBezTo>
                    <a:lnTo>
                      <a:pt x="119990" y="18973"/>
                    </a:lnTo>
                    <a:cubicBezTo>
                      <a:pt x="119990" y="9750"/>
                      <a:pt x="131185" y="0"/>
                      <a:pt x="141749" y="0"/>
                    </a:cubicBezTo>
                    <a:lnTo>
                      <a:pt x="141749" y="0"/>
                    </a:lnTo>
                    <a:cubicBezTo>
                      <a:pt x="146768" y="0"/>
                      <a:pt x="152156" y="2181"/>
                      <a:pt x="156518" y="5992"/>
                    </a:cubicBezTo>
                    <a:cubicBezTo>
                      <a:pt x="160959" y="9881"/>
                      <a:pt x="163508" y="14611"/>
                      <a:pt x="163508" y="18973"/>
                    </a:cubicBezTo>
                    <a:lnTo>
                      <a:pt x="163298" y="84067"/>
                    </a:lnTo>
                    <a:cubicBezTo>
                      <a:pt x="162641" y="136204"/>
                      <a:pt x="118676" y="137544"/>
                      <a:pt x="118229" y="137544"/>
                    </a:cubicBezTo>
                    <a:close/>
                  </a:path>
                </a:pathLst>
              </a:custGeom>
              <a:solidFill>
                <a:schemeClr val="tx2"/>
              </a:solidFill>
              <a:ln w="2624" cap="flat">
                <a:noFill/>
                <a:prstDash val="solid"/>
                <a:miter/>
              </a:ln>
            </p:spPr>
            <p:txBody>
              <a:bodyPr rtlCol="0" anchor="ctr"/>
              <a:lstStyle/>
              <a:p>
                <a:endParaRPr lang="en-GB" dirty="0"/>
              </a:p>
            </p:txBody>
          </p:sp>
          <p:sp>
            <p:nvSpPr>
              <p:cNvPr id="517" name="Freihandform: Form 925">
                <a:extLst>
                  <a:ext uri="{FF2B5EF4-FFF2-40B4-BE49-F238E27FC236}">
                    <a16:creationId xmlns:a16="http://schemas.microsoft.com/office/drawing/2014/main" id="{728783D9-0346-4C7B-B61C-69E51C4498E9}"/>
                  </a:ext>
                </a:extLst>
              </p:cNvPr>
              <p:cNvSpPr/>
              <p:nvPr/>
            </p:nvSpPr>
            <p:spPr>
              <a:xfrm>
                <a:off x="7131647" y="2614376"/>
                <a:ext cx="40969" cy="105194"/>
              </a:xfrm>
              <a:custGeom>
                <a:avLst/>
                <a:gdLst>
                  <a:gd name="connsiteX0" fmla="*/ 6543 w 40969"/>
                  <a:gd name="connsiteY0" fmla="*/ 105195 h 105194"/>
                  <a:gd name="connsiteX1" fmla="*/ 0 w 40969"/>
                  <a:gd name="connsiteY1" fmla="*/ 98651 h 105194"/>
                  <a:gd name="connsiteX2" fmla="*/ 0 w 40969"/>
                  <a:gd name="connsiteY2" fmla="*/ 20471 h 105194"/>
                  <a:gd name="connsiteX3" fmla="*/ 20471 w 40969"/>
                  <a:gd name="connsiteY3" fmla="*/ 0 h 105194"/>
                  <a:gd name="connsiteX4" fmla="*/ 40969 w 40969"/>
                  <a:gd name="connsiteY4" fmla="*/ 20471 h 105194"/>
                  <a:gd name="connsiteX5" fmla="*/ 40969 w 40969"/>
                  <a:gd name="connsiteY5" fmla="*/ 96970 h 105194"/>
                  <a:gd name="connsiteX6" fmla="*/ 34426 w 40969"/>
                  <a:gd name="connsiteY6" fmla="*/ 103513 h 105194"/>
                  <a:gd name="connsiteX7" fmla="*/ 27882 w 40969"/>
                  <a:gd name="connsiteY7" fmla="*/ 96970 h 105194"/>
                  <a:gd name="connsiteX8" fmla="*/ 27882 w 40969"/>
                  <a:gd name="connsiteY8" fmla="*/ 20471 h 105194"/>
                  <a:gd name="connsiteX9" fmla="*/ 20471 w 40969"/>
                  <a:gd name="connsiteY9" fmla="*/ 13087 h 105194"/>
                  <a:gd name="connsiteX10" fmla="*/ 13087 w 40969"/>
                  <a:gd name="connsiteY10" fmla="*/ 20471 h 105194"/>
                  <a:gd name="connsiteX11" fmla="*/ 13087 w 40969"/>
                  <a:gd name="connsiteY11" fmla="*/ 98651 h 105194"/>
                  <a:gd name="connsiteX12" fmla="*/ 6543 w 40969"/>
                  <a:gd name="connsiteY12" fmla="*/ 105195 h 10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969" h="105194">
                    <a:moveTo>
                      <a:pt x="6543" y="105195"/>
                    </a:moveTo>
                    <a:cubicBezTo>
                      <a:pt x="2917" y="105195"/>
                      <a:pt x="0" y="102252"/>
                      <a:pt x="0" y="98651"/>
                    </a:cubicBezTo>
                    <a:lnTo>
                      <a:pt x="0" y="20471"/>
                    </a:lnTo>
                    <a:cubicBezTo>
                      <a:pt x="0" y="9171"/>
                      <a:pt x="9198" y="0"/>
                      <a:pt x="20471" y="0"/>
                    </a:cubicBezTo>
                    <a:cubicBezTo>
                      <a:pt x="31771" y="0"/>
                      <a:pt x="40969" y="9198"/>
                      <a:pt x="40969" y="20471"/>
                    </a:cubicBezTo>
                    <a:lnTo>
                      <a:pt x="40969" y="96970"/>
                    </a:lnTo>
                    <a:cubicBezTo>
                      <a:pt x="40969" y="100596"/>
                      <a:pt x="38052" y="103513"/>
                      <a:pt x="34426" y="103513"/>
                    </a:cubicBezTo>
                    <a:cubicBezTo>
                      <a:pt x="30799" y="103513"/>
                      <a:pt x="27882" y="100570"/>
                      <a:pt x="27882" y="96970"/>
                    </a:cubicBezTo>
                    <a:lnTo>
                      <a:pt x="27882" y="20471"/>
                    </a:lnTo>
                    <a:cubicBezTo>
                      <a:pt x="27882" y="16398"/>
                      <a:pt x="24571" y="13087"/>
                      <a:pt x="20471" y="13087"/>
                    </a:cubicBezTo>
                    <a:cubicBezTo>
                      <a:pt x="16398" y="13087"/>
                      <a:pt x="13087" y="16398"/>
                      <a:pt x="13087" y="20471"/>
                    </a:cubicBezTo>
                    <a:lnTo>
                      <a:pt x="13087" y="98651"/>
                    </a:lnTo>
                    <a:cubicBezTo>
                      <a:pt x="13087" y="102252"/>
                      <a:pt x="10144" y="105195"/>
                      <a:pt x="6543" y="105195"/>
                    </a:cubicBezTo>
                    <a:close/>
                  </a:path>
                </a:pathLst>
              </a:custGeom>
              <a:solidFill>
                <a:schemeClr val="tx2"/>
              </a:solidFill>
              <a:ln w="2624" cap="flat">
                <a:noFill/>
                <a:prstDash val="solid"/>
                <a:miter/>
              </a:ln>
            </p:spPr>
            <p:txBody>
              <a:bodyPr rtlCol="0" anchor="ctr"/>
              <a:lstStyle/>
              <a:p>
                <a:endParaRPr lang="en-GB" dirty="0"/>
              </a:p>
            </p:txBody>
          </p:sp>
          <p:sp>
            <p:nvSpPr>
              <p:cNvPr id="518" name="Freihandform: Form 926">
                <a:extLst>
                  <a:ext uri="{FF2B5EF4-FFF2-40B4-BE49-F238E27FC236}">
                    <a16:creationId xmlns:a16="http://schemas.microsoft.com/office/drawing/2014/main" id="{30AAD2FA-B1A1-4A77-A98D-8B07E44B1204}"/>
                  </a:ext>
                </a:extLst>
              </p:cNvPr>
              <p:cNvSpPr/>
              <p:nvPr/>
            </p:nvSpPr>
            <p:spPr>
              <a:xfrm>
                <a:off x="7079825" y="2592821"/>
                <a:ext cx="34254" cy="125462"/>
              </a:xfrm>
              <a:custGeom>
                <a:avLst/>
                <a:gdLst>
                  <a:gd name="connsiteX0" fmla="*/ 6543 w 34254"/>
                  <a:gd name="connsiteY0" fmla="*/ 125462 h 125462"/>
                  <a:gd name="connsiteX1" fmla="*/ 0 w 34254"/>
                  <a:gd name="connsiteY1" fmla="*/ 118919 h 125462"/>
                  <a:gd name="connsiteX2" fmla="*/ 0 w 34254"/>
                  <a:gd name="connsiteY2" fmla="*/ 25523 h 125462"/>
                  <a:gd name="connsiteX3" fmla="*/ 31114 w 34254"/>
                  <a:gd name="connsiteY3" fmla="*/ 2923 h 125462"/>
                  <a:gd name="connsiteX4" fmla="*/ 33295 w 34254"/>
                  <a:gd name="connsiteY4" fmla="*/ 11911 h 125462"/>
                  <a:gd name="connsiteX5" fmla="*/ 24308 w 34254"/>
                  <a:gd name="connsiteY5" fmla="*/ 14092 h 125462"/>
                  <a:gd name="connsiteX6" fmla="*/ 20498 w 34254"/>
                  <a:gd name="connsiteY6" fmla="*/ 13041 h 125462"/>
                  <a:gd name="connsiteX7" fmla="*/ 13087 w 34254"/>
                  <a:gd name="connsiteY7" fmla="*/ 25523 h 125462"/>
                  <a:gd name="connsiteX8" fmla="*/ 13087 w 34254"/>
                  <a:gd name="connsiteY8" fmla="*/ 118919 h 125462"/>
                  <a:gd name="connsiteX9" fmla="*/ 6543 w 34254"/>
                  <a:gd name="connsiteY9" fmla="*/ 125462 h 125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54" h="125462">
                    <a:moveTo>
                      <a:pt x="6543" y="125462"/>
                    </a:moveTo>
                    <a:cubicBezTo>
                      <a:pt x="2917" y="125462"/>
                      <a:pt x="0" y="122545"/>
                      <a:pt x="0" y="118919"/>
                    </a:cubicBezTo>
                    <a:lnTo>
                      <a:pt x="0" y="25523"/>
                    </a:lnTo>
                    <a:cubicBezTo>
                      <a:pt x="0" y="1373"/>
                      <a:pt x="19210" y="-4303"/>
                      <a:pt x="31114" y="2923"/>
                    </a:cubicBezTo>
                    <a:cubicBezTo>
                      <a:pt x="34189" y="4815"/>
                      <a:pt x="35187" y="8836"/>
                      <a:pt x="33295" y="11911"/>
                    </a:cubicBezTo>
                    <a:cubicBezTo>
                      <a:pt x="31403" y="14985"/>
                      <a:pt x="27409" y="15984"/>
                      <a:pt x="24308" y="14092"/>
                    </a:cubicBezTo>
                    <a:cubicBezTo>
                      <a:pt x="23152" y="13409"/>
                      <a:pt x="21838" y="13041"/>
                      <a:pt x="20498" y="13041"/>
                    </a:cubicBezTo>
                    <a:cubicBezTo>
                      <a:pt x="13639" y="13041"/>
                      <a:pt x="13087" y="22580"/>
                      <a:pt x="13087" y="25523"/>
                    </a:cubicBezTo>
                    <a:lnTo>
                      <a:pt x="13087" y="118919"/>
                    </a:lnTo>
                    <a:cubicBezTo>
                      <a:pt x="13087" y="122545"/>
                      <a:pt x="10170" y="125462"/>
                      <a:pt x="6543" y="125462"/>
                    </a:cubicBezTo>
                    <a:close/>
                  </a:path>
                </a:pathLst>
              </a:custGeom>
              <a:solidFill>
                <a:schemeClr val="tx2"/>
              </a:solidFill>
              <a:ln w="2624" cap="flat">
                <a:noFill/>
                <a:prstDash val="solid"/>
                <a:miter/>
              </a:ln>
            </p:spPr>
            <p:txBody>
              <a:bodyPr rtlCol="0" anchor="ctr"/>
              <a:lstStyle/>
              <a:p>
                <a:endParaRPr lang="en-GB" dirty="0"/>
              </a:p>
            </p:txBody>
          </p:sp>
          <p:sp>
            <p:nvSpPr>
              <p:cNvPr id="519" name="Freihandform: Form 927">
                <a:extLst>
                  <a:ext uri="{FF2B5EF4-FFF2-40B4-BE49-F238E27FC236}">
                    <a16:creationId xmlns:a16="http://schemas.microsoft.com/office/drawing/2014/main" id="{609B47D9-6763-4C1A-9C3E-AAF2503F4480}"/>
                  </a:ext>
                </a:extLst>
              </p:cNvPr>
              <p:cNvSpPr/>
              <p:nvPr/>
            </p:nvSpPr>
            <p:spPr>
              <a:xfrm>
                <a:off x="7105526" y="2585626"/>
                <a:ext cx="44358" cy="133523"/>
              </a:xfrm>
              <a:custGeom>
                <a:avLst/>
                <a:gdLst>
                  <a:gd name="connsiteX0" fmla="*/ 6543 w 44358"/>
                  <a:gd name="connsiteY0" fmla="*/ 133524 h 133523"/>
                  <a:gd name="connsiteX1" fmla="*/ 0 w 44358"/>
                  <a:gd name="connsiteY1" fmla="*/ 126980 h 133523"/>
                  <a:gd name="connsiteX2" fmla="*/ 0 w 44358"/>
                  <a:gd name="connsiteY2" fmla="*/ 22179 h 133523"/>
                  <a:gd name="connsiteX3" fmla="*/ 22179 w 44358"/>
                  <a:gd name="connsiteY3" fmla="*/ 0 h 133523"/>
                  <a:gd name="connsiteX4" fmla="*/ 44359 w 44358"/>
                  <a:gd name="connsiteY4" fmla="*/ 22179 h 133523"/>
                  <a:gd name="connsiteX5" fmla="*/ 44359 w 44358"/>
                  <a:gd name="connsiteY5" fmla="*/ 34531 h 133523"/>
                  <a:gd name="connsiteX6" fmla="*/ 37816 w 44358"/>
                  <a:gd name="connsiteY6" fmla="*/ 41074 h 133523"/>
                  <a:gd name="connsiteX7" fmla="*/ 31272 w 44358"/>
                  <a:gd name="connsiteY7" fmla="*/ 34531 h 133523"/>
                  <a:gd name="connsiteX8" fmla="*/ 31272 w 44358"/>
                  <a:gd name="connsiteY8" fmla="*/ 22179 h 133523"/>
                  <a:gd name="connsiteX9" fmla="*/ 22179 w 44358"/>
                  <a:gd name="connsiteY9" fmla="*/ 13087 h 133523"/>
                  <a:gd name="connsiteX10" fmla="*/ 13087 w 44358"/>
                  <a:gd name="connsiteY10" fmla="*/ 22179 h 133523"/>
                  <a:gd name="connsiteX11" fmla="*/ 13087 w 44358"/>
                  <a:gd name="connsiteY11" fmla="*/ 126980 h 133523"/>
                  <a:gd name="connsiteX12" fmla="*/ 6543 w 44358"/>
                  <a:gd name="connsiteY12" fmla="*/ 133524 h 133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358" h="133523">
                    <a:moveTo>
                      <a:pt x="6543" y="133524"/>
                    </a:moveTo>
                    <a:cubicBezTo>
                      <a:pt x="2917" y="133524"/>
                      <a:pt x="0" y="130580"/>
                      <a:pt x="0" y="126980"/>
                    </a:cubicBezTo>
                    <a:lnTo>
                      <a:pt x="0" y="22179"/>
                    </a:lnTo>
                    <a:cubicBezTo>
                      <a:pt x="0" y="9960"/>
                      <a:pt x="9960" y="0"/>
                      <a:pt x="22179" y="0"/>
                    </a:cubicBezTo>
                    <a:cubicBezTo>
                      <a:pt x="34399" y="0"/>
                      <a:pt x="44359" y="9960"/>
                      <a:pt x="44359" y="22179"/>
                    </a:cubicBezTo>
                    <a:lnTo>
                      <a:pt x="44359" y="34531"/>
                    </a:lnTo>
                    <a:cubicBezTo>
                      <a:pt x="44359" y="38157"/>
                      <a:pt x="41442" y="41074"/>
                      <a:pt x="37816" y="41074"/>
                    </a:cubicBezTo>
                    <a:cubicBezTo>
                      <a:pt x="34189" y="41074"/>
                      <a:pt x="31272" y="38157"/>
                      <a:pt x="31272" y="34531"/>
                    </a:cubicBezTo>
                    <a:lnTo>
                      <a:pt x="31272" y="22179"/>
                    </a:lnTo>
                    <a:cubicBezTo>
                      <a:pt x="31272" y="17160"/>
                      <a:pt x="27199" y="13087"/>
                      <a:pt x="22179" y="13087"/>
                    </a:cubicBezTo>
                    <a:cubicBezTo>
                      <a:pt x="17160" y="13087"/>
                      <a:pt x="13087" y="17160"/>
                      <a:pt x="13087" y="22179"/>
                    </a:cubicBezTo>
                    <a:lnTo>
                      <a:pt x="13087" y="126980"/>
                    </a:lnTo>
                    <a:cubicBezTo>
                      <a:pt x="13087" y="130580"/>
                      <a:pt x="10170" y="133524"/>
                      <a:pt x="6543" y="133524"/>
                    </a:cubicBezTo>
                    <a:close/>
                  </a:path>
                </a:pathLst>
              </a:custGeom>
              <a:solidFill>
                <a:schemeClr val="tx2"/>
              </a:solidFill>
              <a:ln w="2624" cap="flat">
                <a:noFill/>
                <a:prstDash val="solid"/>
                <a:miter/>
              </a:ln>
            </p:spPr>
            <p:txBody>
              <a:bodyPr rtlCol="0" anchor="ctr"/>
              <a:lstStyle/>
              <a:p>
                <a:endParaRPr lang="en-GB" dirty="0"/>
              </a:p>
            </p:txBody>
          </p:sp>
          <p:sp>
            <p:nvSpPr>
              <p:cNvPr id="520" name="Freihandform: Form 928">
                <a:extLst>
                  <a:ext uri="{FF2B5EF4-FFF2-40B4-BE49-F238E27FC236}">
                    <a16:creationId xmlns:a16="http://schemas.microsoft.com/office/drawing/2014/main" id="{E94D7601-A424-491E-8DBA-C3C8FBAD4BC1}"/>
                  </a:ext>
                </a:extLst>
              </p:cNvPr>
              <p:cNvSpPr/>
              <p:nvPr/>
            </p:nvSpPr>
            <p:spPr>
              <a:xfrm>
                <a:off x="7023351" y="2620236"/>
                <a:ext cx="62833" cy="138989"/>
              </a:xfrm>
              <a:custGeom>
                <a:avLst/>
                <a:gdLst>
                  <a:gd name="connsiteX0" fmla="*/ 23809 w 62833"/>
                  <a:gd name="connsiteY0" fmla="*/ 138990 h 138989"/>
                  <a:gd name="connsiteX1" fmla="*/ 6544 w 62833"/>
                  <a:gd name="connsiteY1" fmla="*/ 138990 h 138989"/>
                  <a:gd name="connsiteX2" fmla="*/ 0 w 62833"/>
                  <a:gd name="connsiteY2" fmla="*/ 132446 h 138989"/>
                  <a:gd name="connsiteX3" fmla="*/ 6544 w 62833"/>
                  <a:gd name="connsiteY3" fmla="*/ 125903 h 138989"/>
                  <a:gd name="connsiteX4" fmla="*/ 23809 w 62833"/>
                  <a:gd name="connsiteY4" fmla="*/ 125903 h 138989"/>
                  <a:gd name="connsiteX5" fmla="*/ 28723 w 62833"/>
                  <a:gd name="connsiteY5" fmla="*/ 124589 h 138989"/>
                  <a:gd name="connsiteX6" fmla="*/ 32166 w 62833"/>
                  <a:gd name="connsiteY6" fmla="*/ 117677 h 138989"/>
                  <a:gd name="connsiteX7" fmla="*/ 33112 w 62833"/>
                  <a:gd name="connsiteY7" fmla="*/ 23099 h 138989"/>
                  <a:gd name="connsiteX8" fmla="*/ 38893 w 62833"/>
                  <a:gd name="connsiteY8" fmla="*/ 5571 h 138989"/>
                  <a:gd name="connsiteX9" fmla="*/ 56290 w 62833"/>
                  <a:gd name="connsiteY9" fmla="*/ 0 h 138989"/>
                  <a:gd name="connsiteX10" fmla="*/ 62833 w 62833"/>
                  <a:gd name="connsiteY10" fmla="*/ 6544 h 138989"/>
                  <a:gd name="connsiteX11" fmla="*/ 56290 w 62833"/>
                  <a:gd name="connsiteY11" fmla="*/ 13087 h 138989"/>
                  <a:gd name="connsiteX12" fmla="*/ 48196 w 62833"/>
                  <a:gd name="connsiteY12" fmla="*/ 14769 h 138989"/>
                  <a:gd name="connsiteX13" fmla="*/ 46199 w 62833"/>
                  <a:gd name="connsiteY13" fmla="*/ 23099 h 138989"/>
                  <a:gd name="connsiteX14" fmla="*/ 45253 w 62833"/>
                  <a:gd name="connsiteY14" fmla="*/ 117362 h 138989"/>
                  <a:gd name="connsiteX15" fmla="*/ 39760 w 62833"/>
                  <a:gd name="connsiteY15" fmla="*/ 132473 h 138989"/>
                  <a:gd name="connsiteX16" fmla="*/ 23809 w 62833"/>
                  <a:gd name="connsiteY16" fmla="*/ 138990 h 13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833" h="138989">
                    <a:moveTo>
                      <a:pt x="23809" y="138990"/>
                    </a:moveTo>
                    <a:lnTo>
                      <a:pt x="6544" y="138990"/>
                    </a:lnTo>
                    <a:cubicBezTo>
                      <a:pt x="2917" y="138990"/>
                      <a:pt x="0" y="136073"/>
                      <a:pt x="0" y="132446"/>
                    </a:cubicBezTo>
                    <a:cubicBezTo>
                      <a:pt x="0" y="128820"/>
                      <a:pt x="2917" y="125903"/>
                      <a:pt x="6544" y="125903"/>
                    </a:cubicBezTo>
                    <a:lnTo>
                      <a:pt x="23809" y="125903"/>
                    </a:lnTo>
                    <a:cubicBezTo>
                      <a:pt x="23783" y="125903"/>
                      <a:pt x="26411" y="125824"/>
                      <a:pt x="28723" y="124589"/>
                    </a:cubicBezTo>
                    <a:cubicBezTo>
                      <a:pt x="30379" y="123695"/>
                      <a:pt x="32244" y="122119"/>
                      <a:pt x="32166" y="117677"/>
                    </a:cubicBezTo>
                    <a:cubicBezTo>
                      <a:pt x="31929" y="107008"/>
                      <a:pt x="33059" y="26542"/>
                      <a:pt x="33112" y="23099"/>
                    </a:cubicBezTo>
                    <a:cubicBezTo>
                      <a:pt x="33007" y="15505"/>
                      <a:pt x="34978" y="9566"/>
                      <a:pt x="38893" y="5571"/>
                    </a:cubicBezTo>
                    <a:cubicBezTo>
                      <a:pt x="44385" y="0"/>
                      <a:pt x="51849" y="0"/>
                      <a:pt x="56290" y="0"/>
                    </a:cubicBezTo>
                    <a:cubicBezTo>
                      <a:pt x="59916" y="0"/>
                      <a:pt x="62833" y="2943"/>
                      <a:pt x="62833" y="6544"/>
                    </a:cubicBezTo>
                    <a:cubicBezTo>
                      <a:pt x="62833" y="10170"/>
                      <a:pt x="59916" y="13087"/>
                      <a:pt x="56290" y="13087"/>
                    </a:cubicBezTo>
                    <a:cubicBezTo>
                      <a:pt x="53425" y="13087"/>
                      <a:pt x="49851" y="13087"/>
                      <a:pt x="48196" y="14769"/>
                    </a:cubicBezTo>
                    <a:cubicBezTo>
                      <a:pt x="46856" y="16135"/>
                      <a:pt x="46146" y="19079"/>
                      <a:pt x="46199" y="23099"/>
                    </a:cubicBezTo>
                    <a:cubicBezTo>
                      <a:pt x="46199" y="24098"/>
                      <a:pt x="45016" y="106956"/>
                      <a:pt x="45253" y="117362"/>
                    </a:cubicBezTo>
                    <a:cubicBezTo>
                      <a:pt x="45410" y="125036"/>
                      <a:pt x="42362" y="129818"/>
                      <a:pt x="39760" y="132473"/>
                    </a:cubicBezTo>
                    <a:cubicBezTo>
                      <a:pt x="33585" y="138806"/>
                      <a:pt x="24781" y="138990"/>
                      <a:pt x="23809" y="138990"/>
                    </a:cubicBezTo>
                    <a:close/>
                  </a:path>
                </a:pathLst>
              </a:custGeom>
              <a:solidFill>
                <a:schemeClr val="tx2"/>
              </a:solidFill>
              <a:ln w="2624" cap="flat">
                <a:noFill/>
                <a:prstDash val="solid"/>
                <a:miter/>
              </a:ln>
            </p:spPr>
            <p:txBody>
              <a:bodyPr rtlCol="0" anchor="ctr"/>
              <a:lstStyle/>
              <a:p>
                <a:endParaRPr lang="en-GB" dirty="0"/>
              </a:p>
            </p:txBody>
          </p:sp>
          <p:sp>
            <p:nvSpPr>
              <p:cNvPr id="521" name="Freihandform: Form 930">
                <a:extLst>
                  <a:ext uri="{FF2B5EF4-FFF2-40B4-BE49-F238E27FC236}">
                    <a16:creationId xmlns:a16="http://schemas.microsoft.com/office/drawing/2014/main" id="{6CD6F2AB-9D8D-4F49-B2EE-69907A29FD50}"/>
                  </a:ext>
                </a:extLst>
              </p:cNvPr>
              <p:cNvSpPr/>
              <p:nvPr/>
            </p:nvSpPr>
            <p:spPr>
              <a:xfrm>
                <a:off x="6991343" y="2728321"/>
                <a:ext cx="42072" cy="130081"/>
              </a:xfrm>
              <a:custGeom>
                <a:avLst/>
                <a:gdLst>
                  <a:gd name="connsiteX0" fmla="*/ 35529 w 42072"/>
                  <a:gd name="connsiteY0" fmla="*/ 130081 h 130081"/>
                  <a:gd name="connsiteX1" fmla="*/ 6544 w 42072"/>
                  <a:gd name="connsiteY1" fmla="*/ 130081 h 130081"/>
                  <a:gd name="connsiteX2" fmla="*/ 0 w 42072"/>
                  <a:gd name="connsiteY2" fmla="*/ 123538 h 130081"/>
                  <a:gd name="connsiteX3" fmla="*/ 6544 w 42072"/>
                  <a:gd name="connsiteY3" fmla="*/ 116994 h 130081"/>
                  <a:gd name="connsiteX4" fmla="*/ 28986 w 42072"/>
                  <a:gd name="connsiteY4" fmla="*/ 116994 h 130081"/>
                  <a:gd name="connsiteX5" fmla="*/ 28986 w 42072"/>
                  <a:gd name="connsiteY5" fmla="*/ 13087 h 130081"/>
                  <a:gd name="connsiteX6" fmla="*/ 6544 w 42072"/>
                  <a:gd name="connsiteY6" fmla="*/ 13087 h 130081"/>
                  <a:gd name="connsiteX7" fmla="*/ 0 w 42072"/>
                  <a:gd name="connsiteY7" fmla="*/ 6544 h 130081"/>
                  <a:gd name="connsiteX8" fmla="*/ 6544 w 42072"/>
                  <a:gd name="connsiteY8" fmla="*/ 0 h 130081"/>
                  <a:gd name="connsiteX9" fmla="*/ 35529 w 42072"/>
                  <a:gd name="connsiteY9" fmla="*/ 0 h 130081"/>
                  <a:gd name="connsiteX10" fmla="*/ 42073 w 42072"/>
                  <a:gd name="connsiteY10" fmla="*/ 6544 h 130081"/>
                  <a:gd name="connsiteX11" fmla="*/ 42073 w 42072"/>
                  <a:gd name="connsiteY11" fmla="*/ 123538 h 130081"/>
                  <a:gd name="connsiteX12" fmla="*/ 35529 w 42072"/>
                  <a:gd name="connsiteY12" fmla="*/ 130081 h 130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072" h="130081">
                    <a:moveTo>
                      <a:pt x="35529" y="130081"/>
                    </a:moveTo>
                    <a:lnTo>
                      <a:pt x="6544" y="130081"/>
                    </a:lnTo>
                    <a:cubicBezTo>
                      <a:pt x="2917" y="130081"/>
                      <a:pt x="0" y="127138"/>
                      <a:pt x="0" y="123538"/>
                    </a:cubicBezTo>
                    <a:cubicBezTo>
                      <a:pt x="0" y="119937"/>
                      <a:pt x="2917" y="116994"/>
                      <a:pt x="6544" y="116994"/>
                    </a:cubicBezTo>
                    <a:lnTo>
                      <a:pt x="28986" y="116994"/>
                    </a:lnTo>
                    <a:lnTo>
                      <a:pt x="28986" y="13087"/>
                    </a:lnTo>
                    <a:lnTo>
                      <a:pt x="6544" y="13087"/>
                    </a:lnTo>
                    <a:cubicBezTo>
                      <a:pt x="2917" y="13087"/>
                      <a:pt x="0" y="10170"/>
                      <a:pt x="0" y="6544"/>
                    </a:cubicBezTo>
                    <a:cubicBezTo>
                      <a:pt x="0" y="2917"/>
                      <a:pt x="2917" y="0"/>
                      <a:pt x="6544" y="0"/>
                    </a:cubicBezTo>
                    <a:lnTo>
                      <a:pt x="35529" y="0"/>
                    </a:lnTo>
                    <a:cubicBezTo>
                      <a:pt x="39156" y="0"/>
                      <a:pt x="42073" y="2943"/>
                      <a:pt x="42073" y="6544"/>
                    </a:cubicBezTo>
                    <a:lnTo>
                      <a:pt x="42073" y="123538"/>
                    </a:lnTo>
                    <a:cubicBezTo>
                      <a:pt x="42073" y="127164"/>
                      <a:pt x="39129" y="130081"/>
                      <a:pt x="35529" y="130081"/>
                    </a:cubicBezTo>
                    <a:close/>
                  </a:path>
                </a:pathLst>
              </a:custGeom>
              <a:solidFill>
                <a:schemeClr val="tx2"/>
              </a:solidFill>
              <a:ln w="2624" cap="flat">
                <a:noFill/>
                <a:prstDash val="solid"/>
                <a:miter/>
              </a:ln>
            </p:spPr>
            <p:txBody>
              <a:bodyPr rtlCol="0" anchor="ctr"/>
              <a:lstStyle/>
              <a:p>
                <a:endParaRPr lang="en-GB" dirty="0"/>
              </a:p>
            </p:txBody>
          </p:sp>
        </p:grpSp>
      </p:grpSp>
      <p:sp>
        <p:nvSpPr>
          <p:cNvPr id="529" name="TextBox 528">
            <a:extLst>
              <a:ext uri="{FF2B5EF4-FFF2-40B4-BE49-F238E27FC236}">
                <a16:creationId xmlns:a16="http://schemas.microsoft.com/office/drawing/2014/main" id="{9C52C515-161B-40D8-A269-5C7798BD32B8}"/>
              </a:ext>
            </a:extLst>
          </p:cNvPr>
          <p:cNvSpPr txBox="1"/>
          <p:nvPr/>
        </p:nvSpPr>
        <p:spPr>
          <a:xfrm>
            <a:off x="6537152" y="2077494"/>
            <a:ext cx="487313" cy="215444"/>
          </a:xfrm>
          <a:prstGeom prst="rect">
            <a:avLst/>
          </a:prstGeom>
          <a:noFill/>
          <a:effectLst/>
        </p:spPr>
        <p:txBody>
          <a:bodyPr wrap="none" lIns="0" tIns="0" rIns="0" bIns="0" rtlCol="0" anchor="t">
            <a:spAutoFit/>
          </a:bodyPr>
          <a:lstStyle/>
          <a:p>
            <a:pPr algn="ctr"/>
            <a:r>
              <a:rPr lang="en-GB" sz="700" dirty="0">
                <a:solidFill>
                  <a:schemeClr val="tx2"/>
                </a:solidFill>
              </a:rPr>
              <a:t>Shareholder</a:t>
            </a:r>
            <a:br>
              <a:rPr lang="en-GB" sz="700" dirty="0">
                <a:solidFill>
                  <a:schemeClr val="tx2"/>
                </a:solidFill>
              </a:rPr>
            </a:br>
            <a:r>
              <a:rPr lang="en-GB" sz="700" dirty="0">
                <a:solidFill>
                  <a:schemeClr val="tx2"/>
                </a:solidFill>
              </a:rPr>
              <a:t>agreement</a:t>
            </a:r>
          </a:p>
        </p:txBody>
      </p:sp>
      <p:grpSp>
        <p:nvGrpSpPr>
          <p:cNvPr id="530" name="Gruppieren 260">
            <a:extLst>
              <a:ext uri="{FF2B5EF4-FFF2-40B4-BE49-F238E27FC236}">
                <a16:creationId xmlns:a16="http://schemas.microsoft.com/office/drawing/2014/main" id="{C6F4A3FE-A856-4AD5-90A0-397D24D9F044}"/>
              </a:ext>
            </a:extLst>
          </p:cNvPr>
          <p:cNvGrpSpPr>
            <a:grpSpLocks noChangeAspect="1"/>
          </p:cNvGrpSpPr>
          <p:nvPr/>
        </p:nvGrpSpPr>
        <p:grpSpPr>
          <a:xfrm>
            <a:off x="7325851" y="1626716"/>
            <a:ext cx="572946" cy="432000"/>
            <a:chOff x="6870277" y="3278742"/>
            <a:chExt cx="559687" cy="422003"/>
          </a:xfrm>
        </p:grpSpPr>
        <p:grpSp>
          <p:nvGrpSpPr>
            <p:cNvPr id="531" name="Gruppieren 248">
              <a:extLst>
                <a:ext uri="{FF2B5EF4-FFF2-40B4-BE49-F238E27FC236}">
                  <a16:creationId xmlns:a16="http://schemas.microsoft.com/office/drawing/2014/main" id="{FFF4CAA9-E9BD-42B5-826A-E298632137BE}"/>
                </a:ext>
              </a:extLst>
            </p:cNvPr>
            <p:cNvGrpSpPr/>
            <p:nvPr/>
          </p:nvGrpSpPr>
          <p:grpSpPr>
            <a:xfrm>
              <a:off x="7304485" y="3290694"/>
              <a:ext cx="125479" cy="410027"/>
              <a:chOff x="7304485" y="3290694"/>
              <a:chExt cx="125479" cy="410027"/>
            </a:xfrm>
          </p:grpSpPr>
          <p:sp>
            <p:nvSpPr>
              <p:cNvPr id="551" name="Freihandform: Form 771">
                <a:extLst>
                  <a:ext uri="{FF2B5EF4-FFF2-40B4-BE49-F238E27FC236}">
                    <a16:creationId xmlns:a16="http://schemas.microsoft.com/office/drawing/2014/main" id="{577AD182-89A4-47C5-8E4C-3148CFCCC23B}"/>
                  </a:ext>
                </a:extLst>
              </p:cNvPr>
              <p:cNvSpPr/>
              <p:nvPr/>
            </p:nvSpPr>
            <p:spPr>
              <a:xfrm>
                <a:off x="7304485" y="3391590"/>
                <a:ext cx="125479" cy="221972"/>
              </a:xfrm>
              <a:custGeom>
                <a:avLst/>
                <a:gdLst>
                  <a:gd name="connsiteX0" fmla="*/ 118988 w 125479"/>
                  <a:gd name="connsiteY0" fmla="*/ 221972 h 221972"/>
                  <a:gd name="connsiteX1" fmla="*/ 104570 w 125479"/>
                  <a:gd name="connsiteY1" fmla="*/ 221972 h 221972"/>
                  <a:gd name="connsiteX2" fmla="*/ 98079 w 125479"/>
                  <a:gd name="connsiteY2" fmla="*/ 215481 h 221972"/>
                  <a:gd name="connsiteX3" fmla="*/ 104570 w 125479"/>
                  <a:gd name="connsiteY3" fmla="*/ 208989 h 221972"/>
                  <a:gd name="connsiteX4" fmla="*/ 112471 w 125479"/>
                  <a:gd name="connsiteY4" fmla="*/ 208989 h 221972"/>
                  <a:gd name="connsiteX5" fmla="*/ 112471 w 125479"/>
                  <a:gd name="connsiteY5" fmla="*/ 64136 h 221972"/>
                  <a:gd name="connsiteX6" fmla="*/ 54122 w 125479"/>
                  <a:gd name="connsiteY6" fmla="*/ 12983 h 221972"/>
                  <a:gd name="connsiteX7" fmla="*/ 6492 w 125479"/>
                  <a:gd name="connsiteY7" fmla="*/ 12983 h 221972"/>
                  <a:gd name="connsiteX8" fmla="*/ 0 w 125479"/>
                  <a:gd name="connsiteY8" fmla="*/ 6492 h 221972"/>
                  <a:gd name="connsiteX9" fmla="*/ 6492 w 125479"/>
                  <a:gd name="connsiteY9" fmla="*/ 0 h 221972"/>
                  <a:gd name="connsiteX10" fmla="*/ 54122 w 125479"/>
                  <a:gd name="connsiteY10" fmla="*/ 0 h 221972"/>
                  <a:gd name="connsiteX11" fmla="*/ 125479 w 125479"/>
                  <a:gd name="connsiteY11" fmla="*/ 64161 h 221972"/>
                  <a:gd name="connsiteX12" fmla="*/ 125479 w 125479"/>
                  <a:gd name="connsiteY12" fmla="*/ 215481 h 221972"/>
                  <a:gd name="connsiteX13" fmla="*/ 118988 w 125479"/>
                  <a:gd name="connsiteY13" fmla="*/ 221972 h 22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479" h="221972">
                    <a:moveTo>
                      <a:pt x="118988" y="221972"/>
                    </a:moveTo>
                    <a:lnTo>
                      <a:pt x="104570" y="221972"/>
                    </a:lnTo>
                    <a:cubicBezTo>
                      <a:pt x="100972" y="221972"/>
                      <a:pt x="98079" y="219054"/>
                      <a:pt x="98079" y="215481"/>
                    </a:cubicBezTo>
                    <a:cubicBezTo>
                      <a:pt x="98079" y="211883"/>
                      <a:pt x="100997" y="208989"/>
                      <a:pt x="104570" y="208989"/>
                    </a:cubicBezTo>
                    <a:lnTo>
                      <a:pt x="112471" y="208989"/>
                    </a:lnTo>
                    <a:lnTo>
                      <a:pt x="112471" y="64136"/>
                    </a:lnTo>
                    <a:cubicBezTo>
                      <a:pt x="112471" y="19626"/>
                      <a:pt x="75911" y="12983"/>
                      <a:pt x="54122" y="12983"/>
                    </a:cubicBezTo>
                    <a:lnTo>
                      <a:pt x="6492" y="12983"/>
                    </a:lnTo>
                    <a:cubicBezTo>
                      <a:pt x="2894" y="12983"/>
                      <a:pt x="0" y="10064"/>
                      <a:pt x="0" y="6492"/>
                    </a:cubicBezTo>
                    <a:cubicBezTo>
                      <a:pt x="0" y="2894"/>
                      <a:pt x="2919" y="0"/>
                      <a:pt x="6492" y="0"/>
                    </a:cubicBezTo>
                    <a:lnTo>
                      <a:pt x="54122" y="0"/>
                    </a:lnTo>
                    <a:cubicBezTo>
                      <a:pt x="98808" y="0"/>
                      <a:pt x="125479" y="23979"/>
                      <a:pt x="125479" y="64161"/>
                    </a:cubicBezTo>
                    <a:lnTo>
                      <a:pt x="125479" y="215481"/>
                    </a:lnTo>
                    <a:cubicBezTo>
                      <a:pt x="125504" y="219054"/>
                      <a:pt x="122586" y="221972"/>
                      <a:pt x="118988" y="221972"/>
                    </a:cubicBezTo>
                    <a:close/>
                  </a:path>
                </a:pathLst>
              </a:custGeom>
              <a:solidFill>
                <a:schemeClr val="tx2"/>
              </a:solidFill>
              <a:ln w="2515" cap="flat">
                <a:noFill/>
                <a:prstDash val="solid"/>
                <a:miter/>
              </a:ln>
            </p:spPr>
            <p:txBody>
              <a:bodyPr rtlCol="0" anchor="ctr"/>
              <a:lstStyle/>
              <a:p>
                <a:endParaRPr lang="en-GB" dirty="0"/>
              </a:p>
            </p:txBody>
          </p:sp>
          <p:sp>
            <p:nvSpPr>
              <p:cNvPr id="552" name="Freihandform: Form 772">
                <a:extLst>
                  <a:ext uri="{FF2B5EF4-FFF2-40B4-BE49-F238E27FC236}">
                    <a16:creationId xmlns:a16="http://schemas.microsoft.com/office/drawing/2014/main" id="{C914E1CB-41BC-4A1F-88ED-692E7892BCA0}"/>
                  </a:ext>
                </a:extLst>
              </p:cNvPr>
              <p:cNvSpPr/>
              <p:nvPr/>
            </p:nvSpPr>
            <p:spPr>
              <a:xfrm>
                <a:off x="7380950" y="3485265"/>
                <a:ext cx="20908" cy="215455"/>
              </a:xfrm>
              <a:custGeom>
                <a:avLst/>
                <a:gdLst>
                  <a:gd name="connsiteX0" fmla="*/ 13008 w 20908"/>
                  <a:gd name="connsiteY0" fmla="*/ 215455 h 215455"/>
                  <a:gd name="connsiteX1" fmla="*/ 0 w 20908"/>
                  <a:gd name="connsiteY1" fmla="*/ 215455 h 215455"/>
                  <a:gd name="connsiteX2" fmla="*/ 0 w 20908"/>
                  <a:gd name="connsiteY2" fmla="*/ 6491 h 215455"/>
                  <a:gd name="connsiteX3" fmla="*/ 6492 w 20908"/>
                  <a:gd name="connsiteY3" fmla="*/ 0 h 215455"/>
                  <a:gd name="connsiteX4" fmla="*/ 20909 w 20908"/>
                  <a:gd name="connsiteY4" fmla="*/ 0 h 215455"/>
                  <a:gd name="connsiteX5" fmla="*/ 20909 w 20908"/>
                  <a:gd name="connsiteY5" fmla="*/ 13008 h 215455"/>
                  <a:gd name="connsiteX6" fmla="*/ 13008 w 20908"/>
                  <a:gd name="connsiteY6" fmla="*/ 13008 h 215455"/>
                  <a:gd name="connsiteX7" fmla="*/ 13008 w 20908"/>
                  <a:gd name="connsiteY7" fmla="*/ 215455 h 21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08" h="215455">
                    <a:moveTo>
                      <a:pt x="13008" y="215455"/>
                    </a:moveTo>
                    <a:lnTo>
                      <a:pt x="0" y="215455"/>
                    </a:lnTo>
                    <a:lnTo>
                      <a:pt x="0" y="6491"/>
                    </a:lnTo>
                    <a:cubicBezTo>
                      <a:pt x="0" y="2893"/>
                      <a:pt x="2919" y="0"/>
                      <a:pt x="6492" y="0"/>
                    </a:cubicBezTo>
                    <a:lnTo>
                      <a:pt x="20909" y="0"/>
                    </a:lnTo>
                    <a:lnTo>
                      <a:pt x="20909" y="13008"/>
                    </a:lnTo>
                    <a:lnTo>
                      <a:pt x="13008" y="13008"/>
                    </a:lnTo>
                    <a:lnTo>
                      <a:pt x="13008" y="215455"/>
                    </a:lnTo>
                    <a:close/>
                  </a:path>
                </a:pathLst>
              </a:custGeom>
              <a:solidFill>
                <a:schemeClr val="tx2"/>
              </a:solidFill>
              <a:ln w="2515" cap="flat">
                <a:noFill/>
                <a:prstDash val="solid"/>
                <a:miter/>
              </a:ln>
            </p:spPr>
            <p:txBody>
              <a:bodyPr rtlCol="0" anchor="ctr"/>
              <a:lstStyle/>
              <a:p>
                <a:endParaRPr lang="en-GB" dirty="0"/>
              </a:p>
            </p:txBody>
          </p:sp>
          <p:sp>
            <p:nvSpPr>
              <p:cNvPr id="553" name="Freihandform: Form 773">
                <a:extLst>
                  <a:ext uri="{FF2B5EF4-FFF2-40B4-BE49-F238E27FC236}">
                    <a16:creationId xmlns:a16="http://schemas.microsoft.com/office/drawing/2014/main" id="{91593328-280E-4243-A8F6-3F048E7488E6}"/>
                  </a:ext>
                </a:extLst>
              </p:cNvPr>
              <p:cNvSpPr/>
              <p:nvPr/>
            </p:nvSpPr>
            <p:spPr>
              <a:xfrm>
                <a:off x="7337018" y="3608153"/>
                <a:ext cx="13008" cy="92568"/>
              </a:xfrm>
              <a:custGeom>
                <a:avLst/>
                <a:gdLst>
                  <a:gd name="connsiteX0" fmla="*/ 0 w 13008"/>
                  <a:gd name="connsiteY0" fmla="*/ 0 h 92568"/>
                  <a:gd name="connsiteX1" fmla="*/ 13008 w 13008"/>
                  <a:gd name="connsiteY1" fmla="*/ 0 h 92568"/>
                  <a:gd name="connsiteX2" fmla="*/ 13008 w 13008"/>
                  <a:gd name="connsiteY2" fmla="*/ 92568 h 92568"/>
                  <a:gd name="connsiteX3" fmla="*/ 0 w 13008"/>
                  <a:gd name="connsiteY3" fmla="*/ 92568 h 92568"/>
                </a:gdLst>
                <a:ahLst/>
                <a:cxnLst>
                  <a:cxn ang="0">
                    <a:pos x="connsiteX0" y="connsiteY0"/>
                  </a:cxn>
                  <a:cxn ang="0">
                    <a:pos x="connsiteX1" y="connsiteY1"/>
                  </a:cxn>
                  <a:cxn ang="0">
                    <a:pos x="connsiteX2" y="connsiteY2"/>
                  </a:cxn>
                  <a:cxn ang="0">
                    <a:pos x="connsiteX3" y="connsiteY3"/>
                  </a:cxn>
                </a:cxnLst>
                <a:rect l="l" t="t" r="r" b="b"/>
                <a:pathLst>
                  <a:path w="13008" h="92568">
                    <a:moveTo>
                      <a:pt x="0" y="0"/>
                    </a:moveTo>
                    <a:lnTo>
                      <a:pt x="13008" y="0"/>
                    </a:lnTo>
                    <a:lnTo>
                      <a:pt x="13008" y="92568"/>
                    </a:lnTo>
                    <a:lnTo>
                      <a:pt x="0" y="92568"/>
                    </a:lnTo>
                    <a:close/>
                  </a:path>
                </a:pathLst>
              </a:custGeom>
              <a:solidFill>
                <a:schemeClr val="tx2"/>
              </a:solidFill>
              <a:ln w="2515" cap="flat">
                <a:noFill/>
                <a:prstDash val="solid"/>
                <a:miter/>
              </a:ln>
            </p:spPr>
            <p:txBody>
              <a:bodyPr rtlCol="0" anchor="ctr"/>
              <a:lstStyle/>
              <a:p>
                <a:endParaRPr lang="en-GB" dirty="0"/>
              </a:p>
            </p:txBody>
          </p:sp>
          <p:sp>
            <p:nvSpPr>
              <p:cNvPr id="554" name="Freihandform: Form 774">
                <a:extLst>
                  <a:ext uri="{FF2B5EF4-FFF2-40B4-BE49-F238E27FC236}">
                    <a16:creationId xmlns:a16="http://schemas.microsoft.com/office/drawing/2014/main" id="{2D331D86-B2B0-4A27-AD4B-FA03F2B88132}"/>
                  </a:ext>
                </a:extLst>
              </p:cNvPr>
              <p:cNvSpPr/>
              <p:nvPr/>
            </p:nvSpPr>
            <p:spPr>
              <a:xfrm>
                <a:off x="7314197" y="3290694"/>
                <a:ext cx="73068" cy="85070"/>
              </a:xfrm>
              <a:custGeom>
                <a:avLst/>
                <a:gdLst>
                  <a:gd name="connsiteX0" fmla="*/ 36534 w 73068"/>
                  <a:gd name="connsiteY0" fmla="*/ 85070 h 85070"/>
                  <a:gd name="connsiteX1" fmla="*/ 0 w 73068"/>
                  <a:gd name="connsiteY1" fmla="*/ 42548 h 85070"/>
                  <a:gd name="connsiteX2" fmla="*/ 36534 w 73068"/>
                  <a:gd name="connsiteY2" fmla="*/ 0 h 85070"/>
                  <a:gd name="connsiteX3" fmla="*/ 73068 w 73068"/>
                  <a:gd name="connsiteY3" fmla="*/ 42548 h 85070"/>
                  <a:gd name="connsiteX4" fmla="*/ 36534 w 73068"/>
                  <a:gd name="connsiteY4" fmla="*/ 85070 h 85070"/>
                  <a:gd name="connsiteX5" fmla="*/ 36534 w 73068"/>
                  <a:gd name="connsiteY5" fmla="*/ 13008 h 85070"/>
                  <a:gd name="connsiteX6" fmla="*/ 13008 w 73068"/>
                  <a:gd name="connsiteY6" fmla="*/ 42548 h 85070"/>
                  <a:gd name="connsiteX7" fmla="*/ 36534 w 73068"/>
                  <a:gd name="connsiteY7" fmla="*/ 72062 h 85070"/>
                  <a:gd name="connsiteX8" fmla="*/ 60060 w 73068"/>
                  <a:gd name="connsiteY8" fmla="*/ 42548 h 85070"/>
                  <a:gd name="connsiteX9" fmla="*/ 36534 w 73068"/>
                  <a:gd name="connsiteY9" fmla="*/ 13008 h 8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068" h="85070">
                    <a:moveTo>
                      <a:pt x="36534" y="85070"/>
                    </a:moveTo>
                    <a:cubicBezTo>
                      <a:pt x="14694" y="85070"/>
                      <a:pt x="0" y="67986"/>
                      <a:pt x="0" y="42548"/>
                    </a:cubicBezTo>
                    <a:cubicBezTo>
                      <a:pt x="0" y="17110"/>
                      <a:pt x="14669" y="0"/>
                      <a:pt x="36534" y="0"/>
                    </a:cubicBezTo>
                    <a:cubicBezTo>
                      <a:pt x="58374" y="0"/>
                      <a:pt x="73068" y="17084"/>
                      <a:pt x="73068" y="42548"/>
                    </a:cubicBezTo>
                    <a:cubicBezTo>
                      <a:pt x="73043" y="67986"/>
                      <a:pt x="58374" y="85070"/>
                      <a:pt x="36534" y="85070"/>
                    </a:cubicBezTo>
                    <a:close/>
                    <a:moveTo>
                      <a:pt x="36534" y="13008"/>
                    </a:moveTo>
                    <a:cubicBezTo>
                      <a:pt x="19198" y="13008"/>
                      <a:pt x="13008" y="28256"/>
                      <a:pt x="13008" y="42548"/>
                    </a:cubicBezTo>
                    <a:cubicBezTo>
                      <a:pt x="13008" y="56814"/>
                      <a:pt x="19198" y="72062"/>
                      <a:pt x="36534" y="72062"/>
                    </a:cubicBezTo>
                    <a:cubicBezTo>
                      <a:pt x="53870" y="72062"/>
                      <a:pt x="60060" y="56814"/>
                      <a:pt x="60060" y="42548"/>
                    </a:cubicBezTo>
                    <a:cubicBezTo>
                      <a:pt x="60035" y="28281"/>
                      <a:pt x="53870" y="13008"/>
                      <a:pt x="36534" y="13008"/>
                    </a:cubicBezTo>
                    <a:close/>
                  </a:path>
                </a:pathLst>
              </a:custGeom>
              <a:solidFill>
                <a:schemeClr val="tx2"/>
              </a:solidFill>
              <a:ln w="2515" cap="flat">
                <a:noFill/>
                <a:prstDash val="solid"/>
                <a:miter/>
              </a:ln>
            </p:spPr>
            <p:txBody>
              <a:bodyPr rtlCol="0" anchor="ctr"/>
              <a:lstStyle/>
              <a:p>
                <a:endParaRPr lang="en-GB" dirty="0"/>
              </a:p>
            </p:txBody>
          </p:sp>
        </p:grpSp>
        <p:grpSp>
          <p:nvGrpSpPr>
            <p:cNvPr id="532" name="Gruppieren 237">
              <a:extLst>
                <a:ext uri="{FF2B5EF4-FFF2-40B4-BE49-F238E27FC236}">
                  <a16:creationId xmlns:a16="http://schemas.microsoft.com/office/drawing/2014/main" id="{63A9C5B5-2BE7-429D-95FC-80AA216922A1}"/>
                </a:ext>
              </a:extLst>
            </p:cNvPr>
            <p:cNvGrpSpPr/>
            <p:nvPr/>
          </p:nvGrpSpPr>
          <p:grpSpPr>
            <a:xfrm>
              <a:off x="6870277" y="3278742"/>
              <a:ext cx="264320" cy="422003"/>
              <a:chOff x="6870277" y="3278742"/>
              <a:chExt cx="264320" cy="422003"/>
            </a:xfrm>
          </p:grpSpPr>
          <p:sp>
            <p:nvSpPr>
              <p:cNvPr id="540" name="Freihandform: Form 775">
                <a:extLst>
                  <a:ext uri="{FF2B5EF4-FFF2-40B4-BE49-F238E27FC236}">
                    <a16:creationId xmlns:a16="http://schemas.microsoft.com/office/drawing/2014/main" id="{62285385-CACE-49D0-9AF7-823F61D37CBD}"/>
                  </a:ext>
                </a:extLst>
              </p:cNvPr>
              <p:cNvSpPr/>
              <p:nvPr/>
            </p:nvSpPr>
            <p:spPr>
              <a:xfrm>
                <a:off x="6870277" y="3391565"/>
                <a:ext cx="125478" cy="221997"/>
              </a:xfrm>
              <a:custGeom>
                <a:avLst/>
                <a:gdLst>
                  <a:gd name="connsiteX0" fmla="*/ 20909 w 125478"/>
                  <a:gd name="connsiteY0" fmla="*/ 221997 h 221997"/>
                  <a:gd name="connsiteX1" fmla="*/ 6492 w 125478"/>
                  <a:gd name="connsiteY1" fmla="*/ 221997 h 221997"/>
                  <a:gd name="connsiteX2" fmla="*/ 0 w 125478"/>
                  <a:gd name="connsiteY2" fmla="*/ 215506 h 221997"/>
                  <a:gd name="connsiteX3" fmla="*/ 0 w 125478"/>
                  <a:gd name="connsiteY3" fmla="*/ 64161 h 221997"/>
                  <a:gd name="connsiteX4" fmla="*/ 71357 w 125478"/>
                  <a:gd name="connsiteY4" fmla="*/ 0 h 221997"/>
                  <a:gd name="connsiteX5" fmla="*/ 118988 w 125478"/>
                  <a:gd name="connsiteY5" fmla="*/ 0 h 221997"/>
                  <a:gd name="connsiteX6" fmla="*/ 125479 w 125478"/>
                  <a:gd name="connsiteY6" fmla="*/ 6491 h 221997"/>
                  <a:gd name="connsiteX7" fmla="*/ 118988 w 125478"/>
                  <a:gd name="connsiteY7" fmla="*/ 12983 h 221997"/>
                  <a:gd name="connsiteX8" fmla="*/ 71357 w 125478"/>
                  <a:gd name="connsiteY8" fmla="*/ 12983 h 221997"/>
                  <a:gd name="connsiteX9" fmla="*/ 13008 w 125478"/>
                  <a:gd name="connsiteY9" fmla="*/ 64136 h 221997"/>
                  <a:gd name="connsiteX10" fmla="*/ 13008 w 125478"/>
                  <a:gd name="connsiteY10" fmla="*/ 208964 h 221997"/>
                  <a:gd name="connsiteX11" fmla="*/ 20909 w 125478"/>
                  <a:gd name="connsiteY11" fmla="*/ 208964 h 221997"/>
                  <a:gd name="connsiteX12" fmla="*/ 27401 w 125478"/>
                  <a:gd name="connsiteY12" fmla="*/ 215455 h 221997"/>
                  <a:gd name="connsiteX13" fmla="*/ 20909 w 125478"/>
                  <a:gd name="connsiteY13" fmla="*/ 221997 h 221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478" h="221997">
                    <a:moveTo>
                      <a:pt x="20909" y="221997"/>
                    </a:moveTo>
                    <a:lnTo>
                      <a:pt x="6492" y="221997"/>
                    </a:lnTo>
                    <a:cubicBezTo>
                      <a:pt x="2894" y="221997"/>
                      <a:pt x="0" y="219079"/>
                      <a:pt x="0" y="215506"/>
                    </a:cubicBezTo>
                    <a:lnTo>
                      <a:pt x="0" y="64161"/>
                    </a:lnTo>
                    <a:cubicBezTo>
                      <a:pt x="0" y="24004"/>
                      <a:pt x="26671" y="0"/>
                      <a:pt x="71357" y="0"/>
                    </a:cubicBezTo>
                    <a:lnTo>
                      <a:pt x="118988" y="0"/>
                    </a:lnTo>
                    <a:cubicBezTo>
                      <a:pt x="122586" y="0"/>
                      <a:pt x="125479" y="2919"/>
                      <a:pt x="125479" y="6491"/>
                    </a:cubicBezTo>
                    <a:cubicBezTo>
                      <a:pt x="125479" y="10090"/>
                      <a:pt x="122560" y="12983"/>
                      <a:pt x="118988" y="12983"/>
                    </a:cubicBezTo>
                    <a:lnTo>
                      <a:pt x="71357" y="12983"/>
                    </a:lnTo>
                    <a:cubicBezTo>
                      <a:pt x="49568" y="12983"/>
                      <a:pt x="13008" y="19626"/>
                      <a:pt x="13008" y="64136"/>
                    </a:cubicBezTo>
                    <a:lnTo>
                      <a:pt x="13008" y="208964"/>
                    </a:lnTo>
                    <a:lnTo>
                      <a:pt x="20909" y="208964"/>
                    </a:lnTo>
                    <a:cubicBezTo>
                      <a:pt x="24507" y="208964"/>
                      <a:pt x="27401" y="211882"/>
                      <a:pt x="27401" y="215455"/>
                    </a:cubicBezTo>
                    <a:cubicBezTo>
                      <a:pt x="27401" y="219079"/>
                      <a:pt x="24507" y="221997"/>
                      <a:pt x="20909" y="221997"/>
                    </a:cubicBezTo>
                    <a:close/>
                  </a:path>
                </a:pathLst>
              </a:custGeom>
              <a:solidFill>
                <a:schemeClr val="tx2"/>
              </a:solidFill>
              <a:ln w="2515" cap="flat">
                <a:noFill/>
                <a:prstDash val="solid"/>
                <a:miter/>
              </a:ln>
            </p:spPr>
            <p:txBody>
              <a:bodyPr rtlCol="0" anchor="ctr"/>
              <a:lstStyle/>
              <a:p>
                <a:endParaRPr lang="en-GB" dirty="0"/>
              </a:p>
            </p:txBody>
          </p:sp>
          <p:sp>
            <p:nvSpPr>
              <p:cNvPr id="541" name="Freihandform: Form 776">
                <a:extLst>
                  <a:ext uri="{FF2B5EF4-FFF2-40B4-BE49-F238E27FC236}">
                    <a16:creationId xmlns:a16="http://schemas.microsoft.com/office/drawing/2014/main" id="{63E8B975-FBC9-4CAE-B1E6-71346B70171C}"/>
                  </a:ext>
                </a:extLst>
              </p:cNvPr>
              <p:cNvSpPr/>
              <p:nvPr/>
            </p:nvSpPr>
            <p:spPr>
              <a:xfrm>
                <a:off x="6898383" y="3485240"/>
                <a:ext cx="20908" cy="215480"/>
              </a:xfrm>
              <a:custGeom>
                <a:avLst/>
                <a:gdLst>
                  <a:gd name="connsiteX0" fmla="*/ 20909 w 20908"/>
                  <a:gd name="connsiteY0" fmla="*/ 215481 h 215480"/>
                  <a:gd name="connsiteX1" fmla="*/ 7901 w 20908"/>
                  <a:gd name="connsiteY1" fmla="*/ 215481 h 215480"/>
                  <a:gd name="connsiteX2" fmla="*/ 7901 w 20908"/>
                  <a:gd name="connsiteY2" fmla="*/ 13008 h 215480"/>
                  <a:gd name="connsiteX3" fmla="*/ 0 w 20908"/>
                  <a:gd name="connsiteY3" fmla="*/ 13008 h 215480"/>
                  <a:gd name="connsiteX4" fmla="*/ 0 w 20908"/>
                  <a:gd name="connsiteY4" fmla="*/ 0 h 215480"/>
                  <a:gd name="connsiteX5" fmla="*/ 14417 w 20908"/>
                  <a:gd name="connsiteY5" fmla="*/ 0 h 215480"/>
                  <a:gd name="connsiteX6" fmla="*/ 20909 w 20908"/>
                  <a:gd name="connsiteY6" fmla="*/ 6492 h 215480"/>
                  <a:gd name="connsiteX7" fmla="*/ 20909 w 20908"/>
                  <a:gd name="connsiteY7" fmla="*/ 215481 h 215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08" h="215480">
                    <a:moveTo>
                      <a:pt x="20909" y="215481"/>
                    </a:moveTo>
                    <a:lnTo>
                      <a:pt x="7901" y="215481"/>
                    </a:lnTo>
                    <a:lnTo>
                      <a:pt x="7901" y="13008"/>
                    </a:lnTo>
                    <a:lnTo>
                      <a:pt x="0" y="13008"/>
                    </a:lnTo>
                    <a:lnTo>
                      <a:pt x="0" y="0"/>
                    </a:lnTo>
                    <a:lnTo>
                      <a:pt x="14417" y="0"/>
                    </a:lnTo>
                    <a:cubicBezTo>
                      <a:pt x="18015" y="0"/>
                      <a:pt x="20909" y="2919"/>
                      <a:pt x="20909" y="6492"/>
                    </a:cubicBezTo>
                    <a:lnTo>
                      <a:pt x="20909" y="215481"/>
                    </a:lnTo>
                    <a:close/>
                  </a:path>
                </a:pathLst>
              </a:custGeom>
              <a:solidFill>
                <a:schemeClr val="tx2"/>
              </a:solidFill>
              <a:ln w="2515" cap="flat">
                <a:noFill/>
                <a:prstDash val="solid"/>
                <a:miter/>
              </a:ln>
            </p:spPr>
            <p:txBody>
              <a:bodyPr rtlCol="0" anchor="ctr"/>
              <a:lstStyle/>
              <a:p>
                <a:endParaRPr lang="en-GB" dirty="0"/>
              </a:p>
            </p:txBody>
          </p:sp>
          <p:sp>
            <p:nvSpPr>
              <p:cNvPr id="542" name="Freihandform: Form 777">
                <a:extLst>
                  <a:ext uri="{FF2B5EF4-FFF2-40B4-BE49-F238E27FC236}">
                    <a16:creationId xmlns:a16="http://schemas.microsoft.com/office/drawing/2014/main" id="{1C4D662B-BA33-4A7A-8565-CD18910002BF}"/>
                  </a:ext>
                </a:extLst>
              </p:cNvPr>
              <p:cNvSpPr/>
              <p:nvPr/>
            </p:nvSpPr>
            <p:spPr>
              <a:xfrm>
                <a:off x="6950240" y="3608153"/>
                <a:ext cx="13008" cy="92568"/>
              </a:xfrm>
              <a:custGeom>
                <a:avLst/>
                <a:gdLst>
                  <a:gd name="connsiteX0" fmla="*/ 0 w 13008"/>
                  <a:gd name="connsiteY0" fmla="*/ 0 h 92568"/>
                  <a:gd name="connsiteX1" fmla="*/ 13008 w 13008"/>
                  <a:gd name="connsiteY1" fmla="*/ 0 h 92568"/>
                  <a:gd name="connsiteX2" fmla="*/ 13008 w 13008"/>
                  <a:gd name="connsiteY2" fmla="*/ 92568 h 92568"/>
                  <a:gd name="connsiteX3" fmla="*/ 0 w 13008"/>
                  <a:gd name="connsiteY3" fmla="*/ 92568 h 92568"/>
                </a:gdLst>
                <a:ahLst/>
                <a:cxnLst>
                  <a:cxn ang="0">
                    <a:pos x="connsiteX0" y="connsiteY0"/>
                  </a:cxn>
                  <a:cxn ang="0">
                    <a:pos x="connsiteX1" y="connsiteY1"/>
                  </a:cxn>
                  <a:cxn ang="0">
                    <a:pos x="connsiteX2" y="connsiteY2"/>
                  </a:cxn>
                  <a:cxn ang="0">
                    <a:pos x="connsiteX3" y="connsiteY3"/>
                  </a:cxn>
                </a:cxnLst>
                <a:rect l="l" t="t" r="r" b="b"/>
                <a:pathLst>
                  <a:path w="13008" h="92568">
                    <a:moveTo>
                      <a:pt x="0" y="0"/>
                    </a:moveTo>
                    <a:lnTo>
                      <a:pt x="13008" y="0"/>
                    </a:lnTo>
                    <a:lnTo>
                      <a:pt x="13008" y="92568"/>
                    </a:lnTo>
                    <a:lnTo>
                      <a:pt x="0" y="92568"/>
                    </a:lnTo>
                    <a:close/>
                  </a:path>
                </a:pathLst>
              </a:custGeom>
              <a:solidFill>
                <a:schemeClr val="tx2"/>
              </a:solidFill>
              <a:ln w="2515" cap="flat">
                <a:noFill/>
                <a:prstDash val="solid"/>
                <a:miter/>
              </a:ln>
            </p:spPr>
            <p:txBody>
              <a:bodyPr rtlCol="0" anchor="ctr"/>
              <a:lstStyle/>
              <a:p>
                <a:endParaRPr lang="en-GB" dirty="0"/>
              </a:p>
            </p:txBody>
          </p:sp>
          <p:sp>
            <p:nvSpPr>
              <p:cNvPr id="543" name="Freihandform: Form 778">
                <a:extLst>
                  <a:ext uri="{FF2B5EF4-FFF2-40B4-BE49-F238E27FC236}">
                    <a16:creationId xmlns:a16="http://schemas.microsoft.com/office/drawing/2014/main" id="{82677AE0-113A-49C5-9F19-FD9C33DB7F6B}"/>
                  </a:ext>
                </a:extLst>
              </p:cNvPr>
              <p:cNvSpPr/>
              <p:nvPr/>
            </p:nvSpPr>
            <p:spPr>
              <a:xfrm>
                <a:off x="6913001" y="3290694"/>
                <a:ext cx="73068" cy="85070"/>
              </a:xfrm>
              <a:custGeom>
                <a:avLst/>
                <a:gdLst>
                  <a:gd name="connsiteX0" fmla="*/ 36534 w 73068"/>
                  <a:gd name="connsiteY0" fmla="*/ 85070 h 85070"/>
                  <a:gd name="connsiteX1" fmla="*/ 0 w 73068"/>
                  <a:gd name="connsiteY1" fmla="*/ 42548 h 85070"/>
                  <a:gd name="connsiteX2" fmla="*/ 36534 w 73068"/>
                  <a:gd name="connsiteY2" fmla="*/ 0 h 85070"/>
                  <a:gd name="connsiteX3" fmla="*/ 73068 w 73068"/>
                  <a:gd name="connsiteY3" fmla="*/ 42548 h 85070"/>
                  <a:gd name="connsiteX4" fmla="*/ 36534 w 73068"/>
                  <a:gd name="connsiteY4" fmla="*/ 85070 h 85070"/>
                  <a:gd name="connsiteX5" fmla="*/ 36534 w 73068"/>
                  <a:gd name="connsiteY5" fmla="*/ 13008 h 85070"/>
                  <a:gd name="connsiteX6" fmla="*/ 13008 w 73068"/>
                  <a:gd name="connsiteY6" fmla="*/ 42548 h 85070"/>
                  <a:gd name="connsiteX7" fmla="*/ 36534 w 73068"/>
                  <a:gd name="connsiteY7" fmla="*/ 72062 h 85070"/>
                  <a:gd name="connsiteX8" fmla="*/ 60060 w 73068"/>
                  <a:gd name="connsiteY8" fmla="*/ 42548 h 85070"/>
                  <a:gd name="connsiteX9" fmla="*/ 36534 w 73068"/>
                  <a:gd name="connsiteY9" fmla="*/ 13008 h 8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068" h="85070">
                    <a:moveTo>
                      <a:pt x="36534" y="85070"/>
                    </a:moveTo>
                    <a:cubicBezTo>
                      <a:pt x="14694" y="85070"/>
                      <a:pt x="0" y="67986"/>
                      <a:pt x="0" y="42548"/>
                    </a:cubicBezTo>
                    <a:cubicBezTo>
                      <a:pt x="0" y="17110"/>
                      <a:pt x="14669" y="0"/>
                      <a:pt x="36534" y="0"/>
                    </a:cubicBezTo>
                    <a:cubicBezTo>
                      <a:pt x="58374" y="0"/>
                      <a:pt x="73068" y="17084"/>
                      <a:pt x="73068" y="42548"/>
                    </a:cubicBezTo>
                    <a:cubicBezTo>
                      <a:pt x="73068" y="67986"/>
                      <a:pt x="58374" y="85070"/>
                      <a:pt x="36534" y="85070"/>
                    </a:cubicBezTo>
                    <a:close/>
                    <a:moveTo>
                      <a:pt x="36534" y="13008"/>
                    </a:moveTo>
                    <a:cubicBezTo>
                      <a:pt x="19198" y="13008"/>
                      <a:pt x="13008" y="28256"/>
                      <a:pt x="13008" y="42548"/>
                    </a:cubicBezTo>
                    <a:cubicBezTo>
                      <a:pt x="13008" y="56814"/>
                      <a:pt x="19198" y="72062"/>
                      <a:pt x="36534" y="72062"/>
                    </a:cubicBezTo>
                    <a:cubicBezTo>
                      <a:pt x="53870" y="72062"/>
                      <a:pt x="60060" y="56814"/>
                      <a:pt x="60060" y="42548"/>
                    </a:cubicBezTo>
                    <a:cubicBezTo>
                      <a:pt x="60060" y="28281"/>
                      <a:pt x="53870" y="13008"/>
                      <a:pt x="36534" y="13008"/>
                    </a:cubicBezTo>
                    <a:close/>
                  </a:path>
                </a:pathLst>
              </a:custGeom>
              <a:solidFill>
                <a:schemeClr val="tx2"/>
              </a:solidFill>
              <a:ln w="2515" cap="flat">
                <a:noFill/>
                <a:prstDash val="solid"/>
                <a:miter/>
              </a:ln>
            </p:spPr>
            <p:txBody>
              <a:bodyPr rtlCol="0" anchor="ctr"/>
              <a:lstStyle/>
              <a:p>
                <a:endParaRPr lang="en-GB" dirty="0"/>
              </a:p>
            </p:txBody>
          </p:sp>
          <p:sp>
            <p:nvSpPr>
              <p:cNvPr id="544" name="Freihandform: Form 779">
                <a:extLst>
                  <a:ext uri="{FF2B5EF4-FFF2-40B4-BE49-F238E27FC236}">
                    <a16:creationId xmlns:a16="http://schemas.microsoft.com/office/drawing/2014/main" id="{45F735A8-7C5E-4B68-BD48-F5A452E16B45}"/>
                  </a:ext>
                </a:extLst>
              </p:cNvPr>
              <p:cNvSpPr/>
              <p:nvPr/>
            </p:nvSpPr>
            <p:spPr>
              <a:xfrm>
                <a:off x="6993492" y="3510804"/>
                <a:ext cx="13008" cy="189941"/>
              </a:xfrm>
              <a:custGeom>
                <a:avLst/>
                <a:gdLst>
                  <a:gd name="connsiteX0" fmla="*/ 0 w 13008"/>
                  <a:gd name="connsiteY0" fmla="*/ 0 h 189941"/>
                  <a:gd name="connsiteX1" fmla="*/ 13008 w 13008"/>
                  <a:gd name="connsiteY1" fmla="*/ 0 h 189941"/>
                  <a:gd name="connsiteX2" fmla="*/ 13008 w 13008"/>
                  <a:gd name="connsiteY2" fmla="*/ 189942 h 189941"/>
                  <a:gd name="connsiteX3" fmla="*/ 0 w 13008"/>
                  <a:gd name="connsiteY3" fmla="*/ 189942 h 189941"/>
                </a:gdLst>
                <a:ahLst/>
                <a:cxnLst>
                  <a:cxn ang="0">
                    <a:pos x="connsiteX0" y="connsiteY0"/>
                  </a:cxn>
                  <a:cxn ang="0">
                    <a:pos x="connsiteX1" y="connsiteY1"/>
                  </a:cxn>
                  <a:cxn ang="0">
                    <a:pos x="connsiteX2" y="connsiteY2"/>
                  </a:cxn>
                  <a:cxn ang="0">
                    <a:pos x="connsiteX3" y="connsiteY3"/>
                  </a:cxn>
                </a:cxnLst>
                <a:rect l="l" t="t" r="r" b="b"/>
                <a:pathLst>
                  <a:path w="13008" h="189941">
                    <a:moveTo>
                      <a:pt x="0" y="0"/>
                    </a:moveTo>
                    <a:lnTo>
                      <a:pt x="13008" y="0"/>
                    </a:lnTo>
                    <a:lnTo>
                      <a:pt x="13008" y="189942"/>
                    </a:lnTo>
                    <a:lnTo>
                      <a:pt x="0" y="189942"/>
                    </a:lnTo>
                    <a:close/>
                  </a:path>
                </a:pathLst>
              </a:custGeom>
              <a:solidFill>
                <a:schemeClr val="tx2"/>
              </a:solidFill>
              <a:ln w="2515" cap="flat">
                <a:noFill/>
                <a:prstDash val="solid"/>
                <a:miter/>
              </a:ln>
            </p:spPr>
            <p:txBody>
              <a:bodyPr rtlCol="0" anchor="ctr"/>
              <a:lstStyle/>
              <a:p>
                <a:endParaRPr lang="en-GB" dirty="0"/>
              </a:p>
            </p:txBody>
          </p:sp>
          <p:sp>
            <p:nvSpPr>
              <p:cNvPr id="545" name="Freihandform: Form 782">
                <a:extLst>
                  <a:ext uri="{FF2B5EF4-FFF2-40B4-BE49-F238E27FC236}">
                    <a16:creationId xmlns:a16="http://schemas.microsoft.com/office/drawing/2014/main" id="{BCF744D1-7CC1-478A-AB5E-275809A1831B}"/>
                  </a:ext>
                </a:extLst>
              </p:cNvPr>
              <p:cNvSpPr/>
              <p:nvPr/>
            </p:nvSpPr>
            <p:spPr>
              <a:xfrm>
                <a:off x="7076398" y="3463325"/>
                <a:ext cx="13008" cy="21512"/>
              </a:xfrm>
              <a:custGeom>
                <a:avLst/>
                <a:gdLst>
                  <a:gd name="connsiteX0" fmla="*/ 0 w 13008"/>
                  <a:gd name="connsiteY0" fmla="*/ 0 h 21512"/>
                  <a:gd name="connsiteX1" fmla="*/ 13008 w 13008"/>
                  <a:gd name="connsiteY1" fmla="*/ 0 h 21512"/>
                  <a:gd name="connsiteX2" fmla="*/ 13008 w 13008"/>
                  <a:gd name="connsiteY2" fmla="*/ 21513 h 21512"/>
                  <a:gd name="connsiteX3" fmla="*/ 0 w 13008"/>
                  <a:gd name="connsiteY3" fmla="*/ 21513 h 21512"/>
                </a:gdLst>
                <a:ahLst/>
                <a:cxnLst>
                  <a:cxn ang="0">
                    <a:pos x="connsiteX0" y="connsiteY0"/>
                  </a:cxn>
                  <a:cxn ang="0">
                    <a:pos x="connsiteX1" y="connsiteY1"/>
                  </a:cxn>
                  <a:cxn ang="0">
                    <a:pos x="connsiteX2" y="connsiteY2"/>
                  </a:cxn>
                  <a:cxn ang="0">
                    <a:pos x="connsiteX3" y="connsiteY3"/>
                  </a:cxn>
                </a:cxnLst>
                <a:rect l="l" t="t" r="r" b="b"/>
                <a:pathLst>
                  <a:path w="13008" h="21512">
                    <a:moveTo>
                      <a:pt x="0" y="0"/>
                    </a:moveTo>
                    <a:lnTo>
                      <a:pt x="13008" y="0"/>
                    </a:lnTo>
                    <a:lnTo>
                      <a:pt x="13008" y="21513"/>
                    </a:lnTo>
                    <a:lnTo>
                      <a:pt x="0" y="21513"/>
                    </a:lnTo>
                    <a:close/>
                  </a:path>
                </a:pathLst>
              </a:custGeom>
              <a:solidFill>
                <a:schemeClr val="tx2"/>
              </a:solidFill>
              <a:ln w="2515" cap="flat">
                <a:noFill/>
                <a:prstDash val="solid"/>
                <a:miter/>
              </a:ln>
            </p:spPr>
            <p:txBody>
              <a:bodyPr rtlCol="0" anchor="ctr"/>
              <a:lstStyle/>
              <a:p>
                <a:endParaRPr lang="en-GB" dirty="0"/>
              </a:p>
            </p:txBody>
          </p:sp>
          <p:sp>
            <p:nvSpPr>
              <p:cNvPr id="546" name="Freihandform: Form 783">
                <a:extLst>
                  <a:ext uri="{FF2B5EF4-FFF2-40B4-BE49-F238E27FC236}">
                    <a16:creationId xmlns:a16="http://schemas.microsoft.com/office/drawing/2014/main" id="{ECC7CEC7-20AB-486A-8A7B-A0085DF94478}"/>
                  </a:ext>
                </a:extLst>
              </p:cNvPr>
              <p:cNvSpPr/>
              <p:nvPr/>
            </p:nvSpPr>
            <p:spPr>
              <a:xfrm>
                <a:off x="7076398" y="3520441"/>
                <a:ext cx="13008" cy="180280"/>
              </a:xfrm>
              <a:custGeom>
                <a:avLst/>
                <a:gdLst>
                  <a:gd name="connsiteX0" fmla="*/ 0 w 13008"/>
                  <a:gd name="connsiteY0" fmla="*/ 0 h 180280"/>
                  <a:gd name="connsiteX1" fmla="*/ 13008 w 13008"/>
                  <a:gd name="connsiteY1" fmla="*/ 0 h 180280"/>
                  <a:gd name="connsiteX2" fmla="*/ 13008 w 13008"/>
                  <a:gd name="connsiteY2" fmla="*/ 180280 h 180280"/>
                  <a:gd name="connsiteX3" fmla="*/ 0 w 13008"/>
                  <a:gd name="connsiteY3" fmla="*/ 180280 h 180280"/>
                </a:gdLst>
                <a:ahLst/>
                <a:cxnLst>
                  <a:cxn ang="0">
                    <a:pos x="connsiteX0" y="connsiteY0"/>
                  </a:cxn>
                  <a:cxn ang="0">
                    <a:pos x="connsiteX1" y="connsiteY1"/>
                  </a:cxn>
                  <a:cxn ang="0">
                    <a:pos x="connsiteX2" y="connsiteY2"/>
                  </a:cxn>
                  <a:cxn ang="0">
                    <a:pos x="connsiteX3" y="connsiteY3"/>
                  </a:cxn>
                </a:cxnLst>
                <a:rect l="l" t="t" r="r" b="b"/>
                <a:pathLst>
                  <a:path w="13008" h="180280">
                    <a:moveTo>
                      <a:pt x="0" y="0"/>
                    </a:moveTo>
                    <a:lnTo>
                      <a:pt x="13008" y="0"/>
                    </a:lnTo>
                    <a:lnTo>
                      <a:pt x="13008" y="180280"/>
                    </a:lnTo>
                    <a:lnTo>
                      <a:pt x="0" y="180280"/>
                    </a:lnTo>
                    <a:close/>
                  </a:path>
                </a:pathLst>
              </a:custGeom>
              <a:solidFill>
                <a:schemeClr val="tx2"/>
              </a:solidFill>
              <a:ln w="2515" cap="flat">
                <a:noFill/>
                <a:prstDash val="solid"/>
                <a:miter/>
              </a:ln>
            </p:spPr>
            <p:txBody>
              <a:bodyPr rtlCol="0" anchor="ctr"/>
              <a:lstStyle/>
              <a:p>
                <a:endParaRPr lang="en-GB" dirty="0"/>
              </a:p>
            </p:txBody>
          </p:sp>
          <p:sp>
            <p:nvSpPr>
              <p:cNvPr id="547" name="Freihandform: Form 784">
                <a:extLst>
                  <a:ext uri="{FF2B5EF4-FFF2-40B4-BE49-F238E27FC236}">
                    <a16:creationId xmlns:a16="http://schemas.microsoft.com/office/drawing/2014/main" id="{BA560AE5-3403-4FC2-ADCA-FBDD95C43239}"/>
                  </a:ext>
                </a:extLst>
              </p:cNvPr>
              <p:cNvSpPr/>
              <p:nvPr/>
            </p:nvSpPr>
            <p:spPr>
              <a:xfrm>
                <a:off x="7040795" y="3570159"/>
                <a:ext cx="13008" cy="130586"/>
              </a:xfrm>
              <a:custGeom>
                <a:avLst/>
                <a:gdLst>
                  <a:gd name="connsiteX0" fmla="*/ 0 w 13008"/>
                  <a:gd name="connsiteY0" fmla="*/ 0 h 130586"/>
                  <a:gd name="connsiteX1" fmla="*/ 13008 w 13008"/>
                  <a:gd name="connsiteY1" fmla="*/ 0 h 130586"/>
                  <a:gd name="connsiteX2" fmla="*/ 13008 w 13008"/>
                  <a:gd name="connsiteY2" fmla="*/ 130587 h 130586"/>
                  <a:gd name="connsiteX3" fmla="*/ 0 w 13008"/>
                  <a:gd name="connsiteY3" fmla="*/ 130587 h 130586"/>
                </a:gdLst>
                <a:ahLst/>
                <a:cxnLst>
                  <a:cxn ang="0">
                    <a:pos x="connsiteX0" y="connsiteY0"/>
                  </a:cxn>
                  <a:cxn ang="0">
                    <a:pos x="connsiteX1" y="connsiteY1"/>
                  </a:cxn>
                  <a:cxn ang="0">
                    <a:pos x="connsiteX2" y="connsiteY2"/>
                  </a:cxn>
                  <a:cxn ang="0">
                    <a:pos x="connsiteX3" y="connsiteY3"/>
                  </a:cxn>
                </a:cxnLst>
                <a:rect l="l" t="t" r="r" b="b"/>
                <a:pathLst>
                  <a:path w="13008" h="130586">
                    <a:moveTo>
                      <a:pt x="0" y="0"/>
                    </a:moveTo>
                    <a:lnTo>
                      <a:pt x="13008" y="0"/>
                    </a:lnTo>
                    <a:lnTo>
                      <a:pt x="13008" y="130587"/>
                    </a:lnTo>
                    <a:lnTo>
                      <a:pt x="0" y="130587"/>
                    </a:lnTo>
                    <a:close/>
                  </a:path>
                </a:pathLst>
              </a:custGeom>
              <a:solidFill>
                <a:schemeClr val="tx2"/>
              </a:solidFill>
              <a:ln w="2515" cap="flat">
                <a:noFill/>
                <a:prstDash val="solid"/>
                <a:miter/>
              </a:ln>
            </p:spPr>
            <p:txBody>
              <a:bodyPr rtlCol="0" anchor="ctr"/>
              <a:lstStyle/>
              <a:p>
                <a:endParaRPr lang="en-GB" dirty="0"/>
              </a:p>
            </p:txBody>
          </p:sp>
          <p:sp>
            <p:nvSpPr>
              <p:cNvPr id="548" name="Freihandform: Form 785">
                <a:extLst>
                  <a:ext uri="{FF2B5EF4-FFF2-40B4-BE49-F238E27FC236}">
                    <a16:creationId xmlns:a16="http://schemas.microsoft.com/office/drawing/2014/main" id="{C17DC53B-5461-481F-AC27-399093D6AF85}"/>
                  </a:ext>
                </a:extLst>
              </p:cNvPr>
              <p:cNvSpPr/>
              <p:nvPr/>
            </p:nvSpPr>
            <p:spPr>
              <a:xfrm>
                <a:off x="6952936" y="3385577"/>
                <a:ext cx="181661" cy="141657"/>
              </a:xfrm>
              <a:custGeom>
                <a:avLst/>
                <a:gdLst>
                  <a:gd name="connsiteX0" fmla="*/ 114681 w 181661"/>
                  <a:gd name="connsiteY0" fmla="*/ 141658 h 141657"/>
                  <a:gd name="connsiteX1" fmla="*/ 20477 w 181661"/>
                  <a:gd name="connsiteY1" fmla="*/ 116647 h 141657"/>
                  <a:gd name="connsiteX2" fmla="*/ 21 w 181661"/>
                  <a:gd name="connsiteY2" fmla="*/ 63306 h 141657"/>
                  <a:gd name="connsiteX3" fmla="*/ 70624 w 181661"/>
                  <a:gd name="connsiteY3" fmla="*/ 0 h 141657"/>
                  <a:gd name="connsiteX4" fmla="*/ 88438 w 181661"/>
                  <a:gd name="connsiteY4" fmla="*/ 0 h 141657"/>
                  <a:gd name="connsiteX5" fmla="*/ 160248 w 181661"/>
                  <a:gd name="connsiteY5" fmla="*/ 77723 h 141657"/>
                  <a:gd name="connsiteX6" fmla="*/ 160349 w 181661"/>
                  <a:gd name="connsiteY6" fmla="*/ 93902 h 141657"/>
                  <a:gd name="connsiteX7" fmla="*/ 174011 w 181661"/>
                  <a:gd name="connsiteY7" fmla="*/ 92971 h 141657"/>
                  <a:gd name="connsiteX8" fmla="*/ 178968 w 181661"/>
                  <a:gd name="connsiteY8" fmla="*/ 94581 h 141657"/>
                  <a:gd name="connsiteX9" fmla="*/ 181157 w 181661"/>
                  <a:gd name="connsiteY9" fmla="*/ 99336 h 141657"/>
                  <a:gd name="connsiteX10" fmla="*/ 181660 w 181661"/>
                  <a:gd name="connsiteY10" fmla="*/ 130989 h 141657"/>
                  <a:gd name="connsiteX11" fmla="*/ 175923 w 181661"/>
                  <a:gd name="connsiteY11" fmla="*/ 137556 h 141657"/>
                  <a:gd name="connsiteX12" fmla="*/ 114681 w 181661"/>
                  <a:gd name="connsiteY12" fmla="*/ 141658 h 141657"/>
                  <a:gd name="connsiteX13" fmla="*/ 70599 w 181661"/>
                  <a:gd name="connsiteY13" fmla="*/ 13008 h 141657"/>
                  <a:gd name="connsiteX14" fmla="*/ 13005 w 181661"/>
                  <a:gd name="connsiteY14" fmla="*/ 63532 h 141657"/>
                  <a:gd name="connsiteX15" fmla="*/ 29183 w 181661"/>
                  <a:gd name="connsiteY15" fmla="*/ 106985 h 141657"/>
                  <a:gd name="connsiteX16" fmla="*/ 168476 w 181661"/>
                  <a:gd name="connsiteY16" fmla="*/ 125328 h 141657"/>
                  <a:gd name="connsiteX17" fmla="*/ 168174 w 181661"/>
                  <a:gd name="connsiteY17" fmla="*/ 106482 h 141657"/>
                  <a:gd name="connsiteX18" fmla="*/ 40279 w 181661"/>
                  <a:gd name="connsiteY18" fmla="*/ 68313 h 141657"/>
                  <a:gd name="connsiteX19" fmla="*/ 52306 w 181661"/>
                  <a:gd name="connsiteY19" fmla="*/ 63356 h 141657"/>
                  <a:gd name="connsiteX20" fmla="*/ 147265 w 181661"/>
                  <a:gd name="connsiteY20" fmla="*/ 94204 h 141657"/>
                  <a:gd name="connsiteX21" fmla="*/ 147164 w 181661"/>
                  <a:gd name="connsiteY21" fmla="*/ 77773 h 141657"/>
                  <a:gd name="connsiteX22" fmla="*/ 88362 w 181661"/>
                  <a:gd name="connsiteY22" fmla="*/ 13008 h 141657"/>
                  <a:gd name="connsiteX23" fmla="*/ 70599 w 181661"/>
                  <a:gd name="connsiteY23" fmla="*/ 13008 h 141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1661" h="141657">
                    <a:moveTo>
                      <a:pt x="114681" y="141658"/>
                    </a:moveTo>
                    <a:cubicBezTo>
                      <a:pt x="70045" y="141658"/>
                      <a:pt x="38996" y="133380"/>
                      <a:pt x="20477" y="116647"/>
                    </a:cubicBezTo>
                    <a:cubicBezTo>
                      <a:pt x="6287" y="103815"/>
                      <a:pt x="-432" y="86353"/>
                      <a:pt x="21" y="63306"/>
                    </a:cubicBezTo>
                    <a:cubicBezTo>
                      <a:pt x="751" y="24859"/>
                      <a:pt x="28454" y="0"/>
                      <a:pt x="70624" y="0"/>
                    </a:cubicBezTo>
                    <a:lnTo>
                      <a:pt x="88438" y="0"/>
                    </a:lnTo>
                    <a:cubicBezTo>
                      <a:pt x="129375" y="0"/>
                      <a:pt x="160248" y="33414"/>
                      <a:pt x="160248" y="77723"/>
                    </a:cubicBezTo>
                    <a:lnTo>
                      <a:pt x="160349" y="93902"/>
                    </a:lnTo>
                    <a:cubicBezTo>
                      <a:pt x="165557" y="93675"/>
                      <a:pt x="170212" y="93348"/>
                      <a:pt x="174011" y="92971"/>
                    </a:cubicBezTo>
                    <a:cubicBezTo>
                      <a:pt x="175823" y="92795"/>
                      <a:pt x="177634" y="93373"/>
                      <a:pt x="178968" y="94581"/>
                    </a:cubicBezTo>
                    <a:cubicBezTo>
                      <a:pt x="180327" y="95789"/>
                      <a:pt x="181107" y="97525"/>
                      <a:pt x="181157" y="99336"/>
                    </a:cubicBezTo>
                    <a:lnTo>
                      <a:pt x="181660" y="130989"/>
                    </a:lnTo>
                    <a:cubicBezTo>
                      <a:pt x="181711" y="134311"/>
                      <a:pt x="179245" y="137154"/>
                      <a:pt x="175923" y="137556"/>
                    </a:cubicBezTo>
                    <a:cubicBezTo>
                      <a:pt x="153178" y="140299"/>
                      <a:pt x="132822" y="141658"/>
                      <a:pt x="114681" y="141658"/>
                    </a:cubicBezTo>
                    <a:close/>
                    <a:moveTo>
                      <a:pt x="70599" y="13008"/>
                    </a:moveTo>
                    <a:cubicBezTo>
                      <a:pt x="43223" y="13008"/>
                      <a:pt x="13709" y="26293"/>
                      <a:pt x="13005" y="63532"/>
                    </a:cubicBezTo>
                    <a:cubicBezTo>
                      <a:pt x="12652" y="82604"/>
                      <a:pt x="17936" y="96820"/>
                      <a:pt x="29183" y="106985"/>
                    </a:cubicBezTo>
                    <a:cubicBezTo>
                      <a:pt x="51325" y="126989"/>
                      <a:pt x="98175" y="133178"/>
                      <a:pt x="168476" y="125328"/>
                    </a:cubicBezTo>
                    <a:lnTo>
                      <a:pt x="168174" y="106482"/>
                    </a:lnTo>
                    <a:cubicBezTo>
                      <a:pt x="142736" y="108092"/>
                      <a:pt x="57590" y="110307"/>
                      <a:pt x="40279" y="68313"/>
                    </a:cubicBezTo>
                    <a:lnTo>
                      <a:pt x="52306" y="63356"/>
                    </a:lnTo>
                    <a:cubicBezTo>
                      <a:pt x="62723" y="88643"/>
                      <a:pt x="112115" y="94304"/>
                      <a:pt x="147265" y="94204"/>
                    </a:cubicBezTo>
                    <a:lnTo>
                      <a:pt x="147164" y="77773"/>
                    </a:lnTo>
                    <a:cubicBezTo>
                      <a:pt x="147164" y="40233"/>
                      <a:pt x="122431" y="13008"/>
                      <a:pt x="88362" y="13008"/>
                    </a:cubicBezTo>
                    <a:lnTo>
                      <a:pt x="70599" y="13008"/>
                    </a:lnTo>
                    <a:close/>
                  </a:path>
                </a:pathLst>
              </a:custGeom>
              <a:solidFill>
                <a:schemeClr val="tx2"/>
              </a:solidFill>
              <a:ln w="2515" cap="flat">
                <a:noFill/>
                <a:prstDash val="solid"/>
                <a:miter/>
              </a:ln>
            </p:spPr>
            <p:txBody>
              <a:bodyPr rtlCol="0" anchor="ctr"/>
              <a:lstStyle/>
              <a:p>
                <a:endParaRPr lang="en-GB" dirty="0"/>
              </a:p>
            </p:txBody>
          </p:sp>
          <p:sp>
            <p:nvSpPr>
              <p:cNvPr id="549" name="Freihandform: Form 786">
                <a:extLst>
                  <a:ext uri="{FF2B5EF4-FFF2-40B4-BE49-F238E27FC236}">
                    <a16:creationId xmlns:a16="http://schemas.microsoft.com/office/drawing/2014/main" id="{CD580D60-D5F9-49B4-87A1-B7908D82981B}"/>
                  </a:ext>
                </a:extLst>
              </p:cNvPr>
              <p:cNvSpPr/>
              <p:nvPr/>
            </p:nvSpPr>
            <p:spPr>
              <a:xfrm>
                <a:off x="7088828" y="3519585"/>
                <a:ext cx="24305" cy="63003"/>
              </a:xfrm>
              <a:custGeom>
                <a:avLst/>
                <a:gdLst>
                  <a:gd name="connsiteX0" fmla="*/ 17814 w 24305"/>
                  <a:gd name="connsiteY0" fmla="*/ 63004 h 63003"/>
                  <a:gd name="connsiteX1" fmla="*/ 0 w 24305"/>
                  <a:gd name="connsiteY1" fmla="*/ 63004 h 63003"/>
                  <a:gd name="connsiteX2" fmla="*/ 0 w 24305"/>
                  <a:gd name="connsiteY2" fmla="*/ 49995 h 63003"/>
                  <a:gd name="connsiteX3" fmla="*/ 11297 w 24305"/>
                  <a:gd name="connsiteY3" fmla="*/ 49995 h 63003"/>
                  <a:gd name="connsiteX4" fmla="*/ 11297 w 24305"/>
                  <a:gd name="connsiteY4" fmla="*/ 0 h 63003"/>
                  <a:gd name="connsiteX5" fmla="*/ 24306 w 24305"/>
                  <a:gd name="connsiteY5" fmla="*/ 0 h 63003"/>
                  <a:gd name="connsiteX6" fmla="*/ 24306 w 24305"/>
                  <a:gd name="connsiteY6" fmla="*/ 56512 h 63003"/>
                  <a:gd name="connsiteX7" fmla="*/ 17814 w 24305"/>
                  <a:gd name="connsiteY7" fmla="*/ 63004 h 6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05" h="63003">
                    <a:moveTo>
                      <a:pt x="17814" y="63004"/>
                    </a:moveTo>
                    <a:lnTo>
                      <a:pt x="0" y="63004"/>
                    </a:lnTo>
                    <a:lnTo>
                      <a:pt x="0" y="49995"/>
                    </a:lnTo>
                    <a:lnTo>
                      <a:pt x="11297" y="49995"/>
                    </a:lnTo>
                    <a:lnTo>
                      <a:pt x="11297" y="0"/>
                    </a:lnTo>
                    <a:lnTo>
                      <a:pt x="24306" y="0"/>
                    </a:lnTo>
                    <a:lnTo>
                      <a:pt x="24306" y="56512"/>
                    </a:lnTo>
                    <a:cubicBezTo>
                      <a:pt x="24331" y="60110"/>
                      <a:pt x="21412" y="63004"/>
                      <a:pt x="17814" y="63004"/>
                    </a:cubicBezTo>
                    <a:close/>
                  </a:path>
                </a:pathLst>
              </a:custGeom>
              <a:solidFill>
                <a:schemeClr val="tx2"/>
              </a:solidFill>
              <a:ln w="2515" cap="flat">
                <a:noFill/>
                <a:prstDash val="solid"/>
                <a:miter/>
              </a:ln>
            </p:spPr>
            <p:txBody>
              <a:bodyPr rtlCol="0" anchor="ctr"/>
              <a:lstStyle/>
              <a:p>
                <a:endParaRPr lang="en-GB" dirty="0"/>
              </a:p>
            </p:txBody>
          </p:sp>
          <p:sp>
            <p:nvSpPr>
              <p:cNvPr id="550" name="Freihandform: Form 787">
                <a:extLst>
                  <a:ext uri="{FF2B5EF4-FFF2-40B4-BE49-F238E27FC236}">
                    <a16:creationId xmlns:a16="http://schemas.microsoft.com/office/drawing/2014/main" id="{3832772D-237E-4087-8246-0A472229A5B5}"/>
                  </a:ext>
                </a:extLst>
              </p:cNvPr>
              <p:cNvSpPr/>
              <p:nvPr/>
            </p:nvSpPr>
            <p:spPr>
              <a:xfrm>
                <a:off x="6993869" y="3278742"/>
                <a:ext cx="84239" cy="96115"/>
              </a:xfrm>
              <a:custGeom>
                <a:avLst/>
                <a:gdLst>
                  <a:gd name="connsiteX0" fmla="*/ 42120 w 84239"/>
                  <a:gd name="connsiteY0" fmla="*/ 96116 h 96115"/>
                  <a:gd name="connsiteX1" fmla="*/ 0 w 84239"/>
                  <a:gd name="connsiteY1" fmla="*/ 48058 h 96115"/>
                  <a:gd name="connsiteX2" fmla="*/ 42120 w 84239"/>
                  <a:gd name="connsiteY2" fmla="*/ 0 h 96115"/>
                  <a:gd name="connsiteX3" fmla="*/ 84240 w 84239"/>
                  <a:gd name="connsiteY3" fmla="*/ 48058 h 96115"/>
                  <a:gd name="connsiteX4" fmla="*/ 42120 w 84239"/>
                  <a:gd name="connsiteY4" fmla="*/ 96116 h 96115"/>
                  <a:gd name="connsiteX5" fmla="*/ 42120 w 84239"/>
                  <a:gd name="connsiteY5" fmla="*/ 13008 h 96115"/>
                  <a:gd name="connsiteX6" fmla="*/ 13008 w 84239"/>
                  <a:gd name="connsiteY6" fmla="*/ 48058 h 96115"/>
                  <a:gd name="connsiteX7" fmla="*/ 42120 w 84239"/>
                  <a:gd name="connsiteY7" fmla="*/ 83108 h 96115"/>
                  <a:gd name="connsiteX8" fmla="*/ 71231 w 84239"/>
                  <a:gd name="connsiteY8" fmla="*/ 48058 h 96115"/>
                  <a:gd name="connsiteX9" fmla="*/ 42120 w 84239"/>
                  <a:gd name="connsiteY9" fmla="*/ 13008 h 9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39" h="96115">
                    <a:moveTo>
                      <a:pt x="42120" y="96116"/>
                    </a:moveTo>
                    <a:cubicBezTo>
                      <a:pt x="17311" y="96116"/>
                      <a:pt x="0" y="76364"/>
                      <a:pt x="0" y="48058"/>
                    </a:cubicBezTo>
                    <a:cubicBezTo>
                      <a:pt x="0" y="19751"/>
                      <a:pt x="17311" y="0"/>
                      <a:pt x="42120" y="0"/>
                    </a:cubicBezTo>
                    <a:cubicBezTo>
                      <a:pt x="66929" y="0"/>
                      <a:pt x="84240" y="19751"/>
                      <a:pt x="84240" y="48058"/>
                    </a:cubicBezTo>
                    <a:cubicBezTo>
                      <a:pt x="84240" y="76339"/>
                      <a:pt x="66904" y="96116"/>
                      <a:pt x="42120" y="96116"/>
                    </a:cubicBezTo>
                    <a:close/>
                    <a:moveTo>
                      <a:pt x="42120" y="13008"/>
                    </a:moveTo>
                    <a:cubicBezTo>
                      <a:pt x="20632" y="13008"/>
                      <a:pt x="13008" y="31904"/>
                      <a:pt x="13008" y="48058"/>
                    </a:cubicBezTo>
                    <a:cubicBezTo>
                      <a:pt x="13008" y="64211"/>
                      <a:pt x="20632" y="83108"/>
                      <a:pt x="42120" y="83108"/>
                    </a:cubicBezTo>
                    <a:cubicBezTo>
                      <a:pt x="63608" y="83108"/>
                      <a:pt x="71231" y="64237"/>
                      <a:pt x="71231" y="48058"/>
                    </a:cubicBezTo>
                    <a:cubicBezTo>
                      <a:pt x="71231" y="31904"/>
                      <a:pt x="63608" y="13008"/>
                      <a:pt x="42120" y="13008"/>
                    </a:cubicBezTo>
                    <a:close/>
                  </a:path>
                </a:pathLst>
              </a:custGeom>
              <a:solidFill>
                <a:schemeClr val="tx2"/>
              </a:solidFill>
              <a:ln w="2515" cap="flat">
                <a:noFill/>
                <a:prstDash val="solid"/>
                <a:miter/>
              </a:ln>
            </p:spPr>
            <p:txBody>
              <a:bodyPr rtlCol="0" anchor="ctr"/>
              <a:lstStyle/>
              <a:p>
                <a:endParaRPr lang="en-GB" dirty="0"/>
              </a:p>
            </p:txBody>
          </p:sp>
        </p:grpSp>
        <p:grpSp>
          <p:nvGrpSpPr>
            <p:cNvPr id="533" name="Gruppieren 259">
              <a:extLst>
                <a:ext uri="{FF2B5EF4-FFF2-40B4-BE49-F238E27FC236}">
                  <a16:creationId xmlns:a16="http://schemas.microsoft.com/office/drawing/2014/main" id="{9925DE20-288B-4BBD-8D42-A98F832886F9}"/>
                </a:ext>
              </a:extLst>
            </p:cNvPr>
            <p:cNvGrpSpPr/>
            <p:nvPr/>
          </p:nvGrpSpPr>
          <p:grpSpPr>
            <a:xfrm>
              <a:off x="7127576" y="3278742"/>
              <a:ext cx="222199" cy="422003"/>
              <a:chOff x="7127576" y="3278742"/>
              <a:chExt cx="222199" cy="422003"/>
            </a:xfrm>
          </p:grpSpPr>
          <p:sp>
            <p:nvSpPr>
              <p:cNvPr id="534" name="Freihandform: Form 780">
                <a:extLst>
                  <a:ext uri="{FF2B5EF4-FFF2-40B4-BE49-F238E27FC236}">
                    <a16:creationId xmlns:a16="http://schemas.microsoft.com/office/drawing/2014/main" id="{C0CBD5C1-69E2-4BBD-8776-5077C7CD9838}"/>
                  </a:ext>
                </a:extLst>
              </p:cNvPr>
              <p:cNvSpPr/>
              <p:nvPr/>
            </p:nvSpPr>
            <p:spPr>
              <a:xfrm>
                <a:off x="7302119" y="3468684"/>
                <a:ext cx="18745" cy="232036"/>
              </a:xfrm>
              <a:custGeom>
                <a:avLst/>
                <a:gdLst>
                  <a:gd name="connsiteX0" fmla="*/ 13008 w 18745"/>
                  <a:gd name="connsiteY0" fmla="*/ 232037 h 232036"/>
                  <a:gd name="connsiteX1" fmla="*/ 0 w 18745"/>
                  <a:gd name="connsiteY1" fmla="*/ 232037 h 232036"/>
                  <a:gd name="connsiteX2" fmla="*/ 0 w 18745"/>
                  <a:gd name="connsiteY2" fmla="*/ 6492 h 232036"/>
                  <a:gd name="connsiteX3" fmla="*/ 6492 w 18745"/>
                  <a:gd name="connsiteY3" fmla="*/ 0 h 232036"/>
                  <a:gd name="connsiteX4" fmla="*/ 18745 w 18745"/>
                  <a:gd name="connsiteY4" fmla="*/ 0 h 232036"/>
                  <a:gd name="connsiteX5" fmla="*/ 18745 w 18745"/>
                  <a:gd name="connsiteY5" fmla="*/ 13008 h 232036"/>
                  <a:gd name="connsiteX6" fmla="*/ 13008 w 18745"/>
                  <a:gd name="connsiteY6" fmla="*/ 13008 h 232036"/>
                  <a:gd name="connsiteX7" fmla="*/ 13008 w 18745"/>
                  <a:gd name="connsiteY7" fmla="*/ 232037 h 23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45" h="232036">
                    <a:moveTo>
                      <a:pt x="13008" y="232037"/>
                    </a:moveTo>
                    <a:lnTo>
                      <a:pt x="0" y="232037"/>
                    </a:lnTo>
                    <a:lnTo>
                      <a:pt x="0" y="6492"/>
                    </a:lnTo>
                    <a:cubicBezTo>
                      <a:pt x="0" y="2894"/>
                      <a:pt x="2919" y="0"/>
                      <a:pt x="6492" y="0"/>
                    </a:cubicBezTo>
                    <a:lnTo>
                      <a:pt x="18745" y="0"/>
                    </a:lnTo>
                    <a:lnTo>
                      <a:pt x="18745" y="13008"/>
                    </a:lnTo>
                    <a:lnTo>
                      <a:pt x="13008" y="13008"/>
                    </a:lnTo>
                    <a:lnTo>
                      <a:pt x="13008" y="232037"/>
                    </a:lnTo>
                    <a:close/>
                  </a:path>
                </a:pathLst>
              </a:custGeom>
              <a:solidFill>
                <a:schemeClr val="accent1"/>
              </a:solidFill>
              <a:ln w="2515" cap="flat">
                <a:noFill/>
                <a:prstDash val="solid"/>
                <a:miter/>
              </a:ln>
            </p:spPr>
            <p:txBody>
              <a:bodyPr rtlCol="0" anchor="ctr"/>
              <a:lstStyle/>
              <a:p>
                <a:endParaRPr lang="en-GB" dirty="0"/>
              </a:p>
            </p:txBody>
          </p:sp>
          <p:sp>
            <p:nvSpPr>
              <p:cNvPr id="535" name="Freihandform: Form 788">
                <a:extLst>
                  <a:ext uri="{FF2B5EF4-FFF2-40B4-BE49-F238E27FC236}">
                    <a16:creationId xmlns:a16="http://schemas.microsoft.com/office/drawing/2014/main" id="{2B5882A7-9D4C-43F6-B4E2-570BD6AD841C}"/>
                  </a:ext>
                </a:extLst>
              </p:cNvPr>
              <p:cNvSpPr/>
              <p:nvPr/>
            </p:nvSpPr>
            <p:spPr>
              <a:xfrm>
                <a:off x="7214382" y="3475176"/>
                <a:ext cx="13008" cy="225545"/>
              </a:xfrm>
              <a:custGeom>
                <a:avLst/>
                <a:gdLst>
                  <a:gd name="connsiteX0" fmla="*/ 0 w 13008"/>
                  <a:gd name="connsiteY0" fmla="*/ 0 h 225545"/>
                  <a:gd name="connsiteX1" fmla="*/ 13008 w 13008"/>
                  <a:gd name="connsiteY1" fmla="*/ 0 h 225545"/>
                  <a:gd name="connsiteX2" fmla="*/ 13008 w 13008"/>
                  <a:gd name="connsiteY2" fmla="*/ 225545 h 225545"/>
                  <a:gd name="connsiteX3" fmla="*/ 0 w 13008"/>
                  <a:gd name="connsiteY3" fmla="*/ 225545 h 225545"/>
                </a:gdLst>
                <a:ahLst/>
                <a:cxnLst>
                  <a:cxn ang="0">
                    <a:pos x="connsiteX0" y="connsiteY0"/>
                  </a:cxn>
                  <a:cxn ang="0">
                    <a:pos x="connsiteX1" y="connsiteY1"/>
                  </a:cxn>
                  <a:cxn ang="0">
                    <a:pos x="connsiteX2" y="connsiteY2"/>
                  </a:cxn>
                  <a:cxn ang="0">
                    <a:pos x="connsiteX3" y="connsiteY3"/>
                  </a:cxn>
                </a:cxnLst>
                <a:rect l="l" t="t" r="r" b="b"/>
                <a:pathLst>
                  <a:path w="13008" h="225545">
                    <a:moveTo>
                      <a:pt x="0" y="0"/>
                    </a:moveTo>
                    <a:lnTo>
                      <a:pt x="13008" y="0"/>
                    </a:lnTo>
                    <a:lnTo>
                      <a:pt x="13008" y="225545"/>
                    </a:lnTo>
                    <a:lnTo>
                      <a:pt x="0" y="225545"/>
                    </a:lnTo>
                    <a:close/>
                  </a:path>
                </a:pathLst>
              </a:custGeom>
              <a:solidFill>
                <a:schemeClr val="accent1"/>
              </a:solidFill>
              <a:ln w="2515" cap="flat">
                <a:noFill/>
                <a:prstDash val="solid"/>
                <a:miter/>
              </a:ln>
            </p:spPr>
            <p:txBody>
              <a:bodyPr rtlCol="0" anchor="ctr"/>
              <a:lstStyle/>
              <a:p>
                <a:endParaRPr lang="en-GB" dirty="0"/>
              </a:p>
            </p:txBody>
          </p:sp>
          <p:sp>
            <p:nvSpPr>
              <p:cNvPr id="536" name="Freihandform: Form 789">
                <a:extLst>
                  <a:ext uri="{FF2B5EF4-FFF2-40B4-BE49-F238E27FC236}">
                    <a16:creationId xmlns:a16="http://schemas.microsoft.com/office/drawing/2014/main" id="{8B66AEC4-FD83-45C8-BCE9-2AAB2DB513EF}"/>
                  </a:ext>
                </a:extLst>
              </p:cNvPr>
              <p:cNvSpPr/>
              <p:nvPr/>
            </p:nvSpPr>
            <p:spPr>
              <a:xfrm>
                <a:off x="7255949" y="3570159"/>
                <a:ext cx="13008" cy="130586"/>
              </a:xfrm>
              <a:custGeom>
                <a:avLst/>
                <a:gdLst>
                  <a:gd name="connsiteX0" fmla="*/ 0 w 13008"/>
                  <a:gd name="connsiteY0" fmla="*/ 0 h 130586"/>
                  <a:gd name="connsiteX1" fmla="*/ 13008 w 13008"/>
                  <a:gd name="connsiteY1" fmla="*/ 0 h 130586"/>
                  <a:gd name="connsiteX2" fmla="*/ 13008 w 13008"/>
                  <a:gd name="connsiteY2" fmla="*/ 130587 h 130586"/>
                  <a:gd name="connsiteX3" fmla="*/ 0 w 13008"/>
                  <a:gd name="connsiteY3" fmla="*/ 130587 h 130586"/>
                </a:gdLst>
                <a:ahLst/>
                <a:cxnLst>
                  <a:cxn ang="0">
                    <a:pos x="connsiteX0" y="connsiteY0"/>
                  </a:cxn>
                  <a:cxn ang="0">
                    <a:pos x="connsiteX1" y="connsiteY1"/>
                  </a:cxn>
                  <a:cxn ang="0">
                    <a:pos x="connsiteX2" y="connsiteY2"/>
                  </a:cxn>
                  <a:cxn ang="0">
                    <a:pos x="connsiteX3" y="connsiteY3"/>
                  </a:cxn>
                </a:cxnLst>
                <a:rect l="l" t="t" r="r" b="b"/>
                <a:pathLst>
                  <a:path w="13008" h="130586">
                    <a:moveTo>
                      <a:pt x="0" y="0"/>
                    </a:moveTo>
                    <a:lnTo>
                      <a:pt x="13008" y="0"/>
                    </a:lnTo>
                    <a:lnTo>
                      <a:pt x="13008" y="130587"/>
                    </a:lnTo>
                    <a:lnTo>
                      <a:pt x="0" y="130587"/>
                    </a:lnTo>
                    <a:close/>
                  </a:path>
                </a:pathLst>
              </a:custGeom>
              <a:solidFill>
                <a:schemeClr val="accent1"/>
              </a:solidFill>
              <a:ln w="2515" cap="flat">
                <a:noFill/>
                <a:prstDash val="solid"/>
                <a:miter/>
              </a:ln>
            </p:spPr>
            <p:txBody>
              <a:bodyPr rtlCol="0" anchor="ctr"/>
              <a:lstStyle/>
              <a:p>
                <a:endParaRPr lang="en-GB" dirty="0"/>
              </a:p>
            </p:txBody>
          </p:sp>
          <p:sp>
            <p:nvSpPr>
              <p:cNvPr id="537" name="Freihandform: Form 790">
                <a:extLst>
                  <a:ext uri="{FF2B5EF4-FFF2-40B4-BE49-F238E27FC236}">
                    <a16:creationId xmlns:a16="http://schemas.microsoft.com/office/drawing/2014/main" id="{D7A8E0F4-9A87-4CCB-A40E-9C87504BCF19}"/>
                  </a:ext>
                </a:extLst>
              </p:cNvPr>
              <p:cNvSpPr/>
              <p:nvPr/>
            </p:nvSpPr>
            <p:spPr>
              <a:xfrm>
                <a:off x="7127576" y="3474572"/>
                <a:ext cx="99739" cy="49240"/>
              </a:xfrm>
              <a:custGeom>
                <a:avLst/>
                <a:gdLst>
                  <a:gd name="connsiteX0" fmla="*/ 16355 w 99739"/>
                  <a:gd name="connsiteY0" fmla="*/ 49241 h 49240"/>
                  <a:gd name="connsiteX1" fmla="*/ 0 w 99739"/>
                  <a:gd name="connsiteY1" fmla="*/ 48611 h 49240"/>
                  <a:gd name="connsiteX2" fmla="*/ 1032 w 99739"/>
                  <a:gd name="connsiteY2" fmla="*/ 35653 h 49240"/>
                  <a:gd name="connsiteX3" fmla="*/ 64891 w 99739"/>
                  <a:gd name="connsiteY3" fmla="*/ 29539 h 49240"/>
                  <a:gd name="connsiteX4" fmla="*/ 86454 w 99739"/>
                  <a:gd name="connsiteY4" fmla="*/ 6265 h 49240"/>
                  <a:gd name="connsiteX5" fmla="*/ 86806 w 99739"/>
                  <a:gd name="connsiteY5" fmla="*/ 0 h 49240"/>
                  <a:gd name="connsiteX6" fmla="*/ 99739 w 99739"/>
                  <a:gd name="connsiteY6" fmla="*/ 1283 h 49240"/>
                  <a:gd name="connsiteX7" fmla="*/ 99437 w 99739"/>
                  <a:gd name="connsiteY7" fmla="*/ 6718 h 49240"/>
                  <a:gd name="connsiteX8" fmla="*/ 69168 w 99739"/>
                  <a:gd name="connsiteY8" fmla="*/ 41818 h 49240"/>
                  <a:gd name="connsiteX9" fmla="*/ 16355 w 99739"/>
                  <a:gd name="connsiteY9" fmla="*/ 49241 h 49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739" h="49240">
                    <a:moveTo>
                      <a:pt x="16355" y="49241"/>
                    </a:moveTo>
                    <a:cubicBezTo>
                      <a:pt x="10870" y="49241"/>
                      <a:pt x="5359" y="49039"/>
                      <a:pt x="0" y="48611"/>
                    </a:cubicBezTo>
                    <a:lnTo>
                      <a:pt x="1032" y="35653"/>
                    </a:lnTo>
                    <a:cubicBezTo>
                      <a:pt x="23903" y="37515"/>
                      <a:pt x="48964" y="35100"/>
                      <a:pt x="64891" y="29539"/>
                    </a:cubicBezTo>
                    <a:cubicBezTo>
                      <a:pt x="85900" y="22192"/>
                      <a:pt x="86127" y="16204"/>
                      <a:pt x="86454" y="6265"/>
                    </a:cubicBezTo>
                    <a:cubicBezTo>
                      <a:pt x="86529" y="4227"/>
                      <a:pt x="86605" y="2139"/>
                      <a:pt x="86806" y="0"/>
                    </a:cubicBezTo>
                    <a:lnTo>
                      <a:pt x="99739" y="1283"/>
                    </a:lnTo>
                    <a:cubicBezTo>
                      <a:pt x="99563" y="3145"/>
                      <a:pt x="99488" y="4957"/>
                      <a:pt x="99437" y="6718"/>
                    </a:cubicBezTo>
                    <a:cubicBezTo>
                      <a:pt x="98959" y="20783"/>
                      <a:pt x="96418" y="32307"/>
                      <a:pt x="69168" y="41818"/>
                    </a:cubicBezTo>
                    <a:cubicBezTo>
                      <a:pt x="55531" y="46573"/>
                      <a:pt x="35955" y="49241"/>
                      <a:pt x="16355" y="49241"/>
                    </a:cubicBezTo>
                    <a:close/>
                  </a:path>
                </a:pathLst>
              </a:custGeom>
              <a:solidFill>
                <a:schemeClr val="accent1"/>
              </a:solidFill>
              <a:ln w="2515" cap="flat">
                <a:noFill/>
                <a:prstDash val="solid"/>
                <a:miter/>
              </a:ln>
            </p:spPr>
            <p:txBody>
              <a:bodyPr rtlCol="0" anchor="ctr"/>
              <a:lstStyle/>
              <a:p>
                <a:endParaRPr lang="en-GB" dirty="0"/>
              </a:p>
            </p:txBody>
          </p:sp>
          <p:sp>
            <p:nvSpPr>
              <p:cNvPr id="538" name="Freihandform: Form 791">
                <a:extLst>
                  <a:ext uri="{FF2B5EF4-FFF2-40B4-BE49-F238E27FC236}">
                    <a16:creationId xmlns:a16="http://schemas.microsoft.com/office/drawing/2014/main" id="{A6B1251C-85EF-481B-881F-8698E2870EA6}"/>
                  </a:ext>
                </a:extLst>
              </p:cNvPr>
              <p:cNvSpPr/>
              <p:nvPr/>
            </p:nvSpPr>
            <p:spPr>
              <a:xfrm>
                <a:off x="7128381" y="3385602"/>
                <a:ext cx="221394" cy="196987"/>
              </a:xfrm>
              <a:custGeom>
                <a:avLst/>
                <a:gdLst>
                  <a:gd name="connsiteX0" fmla="*/ 214927 w 221394"/>
                  <a:gd name="connsiteY0" fmla="*/ 196987 h 196987"/>
                  <a:gd name="connsiteX1" fmla="*/ 197113 w 221394"/>
                  <a:gd name="connsiteY1" fmla="*/ 196987 h 196987"/>
                  <a:gd name="connsiteX2" fmla="*/ 197113 w 221394"/>
                  <a:gd name="connsiteY2" fmla="*/ 183979 h 196987"/>
                  <a:gd name="connsiteX3" fmla="*/ 208410 w 221394"/>
                  <a:gd name="connsiteY3" fmla="*/ 183979 h 196987"/>
                  <a:gd name="connsiteX4" fmla="*/ 208410 w 221394"/>
                  <a:gd name="connsiteY4" fmla="*/ 77723 h 196987"/>
                  <a:gd name="connsiteX5" fmla="*/ 149634 w 221394"/>
                  <a:gd name="connsiteY5" fmla="*/ 13008 h 196987"/>
                  <a:gd name="connsiteX6" fmla="*/ 128498 w 221394"/>
                  <a:gd name="connsiteY6" fmla="*/ 13008 h 196987"/>
                  <a:gd name="connsiteX7" fmla="*/ 78025 w 221394"/>
                  <a:gd name="connsiteY7" fmla="*/ 58676 h 196987"/>
                  <a:gd name="connsiteX8" fmla="*/ 70653 w 221394"/>
                  <a:gd name="connsiteY8" fmla="*/ 72842 h 196987"/>
                  <a:gd name="connsiteX9" fmla="*/ 2592 w 221394"/>
                  <a:gd name="connsiteY9" fmla="*/ 106029 h 196987"/>
                  <a:gd name="connsiteX10" fmla="*/ 352 w 221394"/>
                  <a:gd name="connsiteY10" fmla="*/ 105954 h 196987"/>
                  <a:gd name="connsiteX11" fmla="*/ 0 w 221394"/>
                  <a:gd name="connsiteY11" fmla="*/ 92945 h 196987"/>
                  <a:gd name="connsiteX12" fmla="*/ 3196 w 221394"/>
                  <a:gd name="connsiteY12" fmla="*/ 93046 h 196987"/>
                  <a:gd name="connsiteX13" fmla="*/ 59406 w 221394"/>
                  <a:gd name="connsiteY13" fmla="*/ 66300 h 196987"/>
                  <a:gd name="connsiteX14" fmla="*/ 66325 w 221394"/>
                  <a:gd name="connsiteY14" fmla="*/ 52964 h 196987"/>
                  <a:gd name="connsiteX15" fmla="*/ 127316 w 221394"/>
                  <a:gd name="connsiteY15" fmla="*/ 50 h 196987"/>
                  <a:gd name="connsiteX16" fmla="*/ 128096 w 221394"/>
                  <a:gd name="connsiteY16" fmla="*/ 0 h 196987"/>
                  <a:gd name="connsiteX17" fmla="*/ 149609 w 221394"/>
                  <a:gd name="connsiteY17" fmla="*/ 0 h 196987"/>
                  <a:gd name="connsiteX18" fmla="*/ 221394 w 221394"/>
                  <a:gd name="connsiteY18" fmla="*/ 77723 h 196987"/>
                  <a:gd name="connsiteX19" fmla="*/ 221394 w 221394"/>
                  <a:gd name="connsiteY19" fmla="*/ 190495 h 196987"/>
                  <a:gd name="connsiteX20" fmla="*/ 214927 w 221394"/>
                  <a:gd name="connsiteY20" fmla="*/ 196987 h 196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1394" h="196987">
                    <a:moveTo>
                      <a:pt x="214927" y="196987"/>
                    </a:moveTo>
                    <a:lnTo>
                      <a:pt x="197113" y="196987"/>
                    </a:lnTo>
                    <a:lnTo>
                      <a:pt x="197113" y="183979"/>
                    </a:lnTo>
                    <a:lnTo>
                      <a:pt x="208410" y="183979"/>
                    </a:lnTo>
                    <a:lnTo>
                      <a:pt x="208410" y="77723"/>
                    </a:lnTo>
                    <a:cubicBezTo>
                      <a:pt x="208410" y="31753"/>
                      <a:pt x="191376" y="13008"/>
                      <a:pt x="149634" y="13008"/>
                    </a:cubicBezTo>
                    <a:lnTo>
                      <a:pt x="128498" y="13008"/>
                    </a:lnTo>
                    <a:cubicBezTo>
                      <a:pt x="98556" y="16732"/>
                      <a:pt x="88115" y="38044"/>
                      <a:pt x="78025" y="58676"/>
                    </a:cubicBezTo>
                    <a:cubicBezTo>
                      <a:pt x="75559" y="63683"/>
                      <a:pt x="73244" y="68438"/>
                      <a:pt x="70653" y="72842"/>
                    </a:cubicBezTo>
                    <a:cubicBezTo>
                      <a:pt x="56940" y="96367"/>
                      <a:pt x="33968" y="107514"/>
                      <a:pt x="2592" y="106029"/>
                    </a:cubicBezTo>
                    <a:cubicBezTo>
                      <a:pt x="1610" y="105979"/>
                      <a:pt x="830" y="105903"/>
                      <a:pt x="352" y="105954"/>
                    </a:cubicBezTo>
                    <a:lnTo>
                      <a:pt x="0" y="92945"/>
                    </a:lnTo>
                    <a:cubicBezTo>
                      <a:pt x="679" y="92945"/>
                      <a:pt x="1787" y="92971"/>
                      <a:pt x="3196" y="93046"/>
                    </a:cubicBezTo>
                    <a:cubicBezTo>
                      <a:pt x="13990" y="93549"/>
                      <a:pt x="42699" y="94933"/>
                      <a:pt x="59406" y="66300"/>
                    </a:cubicBezTo>
                    <a:cubicBezTo>
                      <a:pt x="61746" y="62274"/>
                      <a:pt x="63985" y="57745"/>
                      <a:pt x="66325" y="52964"/>
                    </a:cubicBezTo>
                    <a:cubicBezTo>
                      <a:pt x="76918" y="31376"/>
                      <a:pt x="90077" y="4504"/>
                      <a:pt x="127316" y="50"/>
                    </a:cubicBezTo>
                    <a:cubicBezTo>
                      <a:pt x="127567" y="25"/>
                      <a:pt x="127819" y="0"/>
                      <a:pt x="128096" y="0"/>
                    </a:cubicBezTo>
                    <a:lnTo>
                      <a:pt x="149609" y="0"/>
                    </a:lnTo>
                    <a:cubicBezTo>
                      <a:pt x="198597" y="0"/>
                      <a:pt x="221394" y="24708"/>
                      <a:pt x="221394" y="77723"/>
                    </a:cubicBezTo>
                    <a:lnTo>
                      <a:pt x="221394" y="190495"/>
                    </a:lnTo>
                    <a:cubicBezTo>
                      <a:pt x="221444" y="194093"/>
                      <a:pt x="218525" y="196987"/>
                      <a:pt x="214927" y="196987"/>
                    </a:cubicBezTo>
                    <a:close/>
                  </a:path>
                </a:pathLst>
              </a:custGeom>
              <a:solidFill>
                <a:schemeClr val="accent1"/>
              </a:solidFill>
              <a:ln w="2515" cap="flat">
                <a:noFill/>
                <a:prstDash val="solid"/>
                <a:miter/>
              </a:ln>
            </p:spPr>
            <p:txBody>
              <a:bodyPr rtlCol="0" anchor="ctr"/>
              <a:lstStyle/>
              <a:p>
                <a:endParaRPr lang="en-GB" dirty="0"/>
              </a:p>
            </p:txBody>
          </p:sp>
          <p:sp>
            <p:nvSpPr>
              <p:cNvPr id="539" name="Freihandform: Form 792">
                <a:extLst>
                  <a:ext uri="{FF2B5EF4-FFF2-40B4-BE49-F238E27FC236}">
                    <a16:creationId xmlns:a16="http://schemas.microsoft.com/office/drawing/2014/main" id="{1C34B31C-DD15-4A1B-9EF7-C55AD6BB1787}"/>
                  </a:ext>
                </a:extLst>
              </p:cNvPr>
              <p:cNvSpPr/>
              <p:nvPr/>
            </p:nvSpPr>
            <p:spPr>
              <a:xfrm>
                <a:off x="7219767" y="3278742"/>
                <a:ext cx="84239" cy="96115"/>
              </a:xfrm>
              <a:custGeom>
                <a:avLst/>
                <a:gdLst>
                  <a:gd name="connsiteX0" fmla="*/ 42120 w 84239"/>
                  <a:gd name="connsiteY0" fmla="*/ 96116 h 96115"/>
                  <a:gd name="connsiteX1" fmla="*/ 0 w 84239"/>
                  <a:gd name="connsiteY1" fmla="*/ 48058 h 96115"/>
                  <a:gd name="connsiteX2" fmla="*/ 42120 w 84239"/>
                  <a:gd name="connsiteY2" fmla="*/ 0 h 96115"/>
                  <a:gd name="connsiteX3" fmla="*/ 84240 w 84239"/>
                  <a:gd name="connsiteY3" fmla="*/ 48058 h 96115"/>
                  <a:gd name="connsiteX4" fmla="*/ 42120 w 84239"/>
                  <a:gd name="connsiteY4" fmla="*/ 96116 h 96115"/>
                  <a:gd name="connsiteX5" fmla="*/ 42120 w 84239"/>
                  <a:gd name="connsiteY5" fmla="*/ 13008 h 96115"/>
                  <a:gd name="connsiteX6" fmla="*/ 13008 w 84239"/>
                  <a:gd name="connsiteY6" fmla="*/ 48058 h 96115"/>
                  <a:gd name="connsiteX7" fmla="*/ 42120 w 84239"/>
                  <a:gd name="connsiteY7" fmla="*/ 83108 h 96115"/>
                  <a:gd name="connsiteX8" fmla="*/ 71231 w 84239"/>
                  <a:gd name="connsiteY8" fmla="*/ 48058 h 96115"/>
                  <a:gd name="connsiteX9" fmla="*/ 42120 w 84239"/>
                  <a:gd name="connsiteY9" fmla="*/ 13008 h 96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39" h="96115">
                    <a:moveTo>
                      <a:pt x="42120" y="96116"/>
                    </a:moveTo>
                    <a:cubicBezTo>
                      <a:pt x="17311" y="96116"/>
                      <a:pt x="0" y="76364"/>
                      <a:pt x="0" y="48058"/>
                    </a:cubicBezTo>
                    <a:cubicBezTo>
                      <a:pt x="0" y="19751"/>
                      <a:pt x="17311" y="0"/>
                      <a:pt x="42120" y="0"/>
                    </a:cubicBezTo>
                    <a:cubicBezTo>
                      <a:pt x="66929" y="0"/>
                      <a:pt x="84240" y="19751"/>
                      <a:pt x="84240" y="48058"/>
                    </a:cubicBezTo>
                    <a:cubicBezTo>
                      <a:pt x="84215" y="76339"/>
                      <a:pt x="66904" y="96116"/>
                      <a:pt x="42120" y="96116"/>
                    </a:cubicBezTo>
                    <a:close/>
                    <a:moveTo>
                      <a:pt x="42120" y="13008"/>
                    </a:moveTo>
                    <a:cubicBezTo>
                      <a:pt x="20632" y="13008"/>
                      <a:pt x="13008" y="31904"/>
                      <a:pt x="13008" y="48058"/>
                    </a:cubicBezTo>
                    <a:cubicBezTo>
                      <a:pt x="13008" y="64211"/>
                      <a:pt x="20632" y="83108"/>
                      <a:pt x="42120" y="83108"/>
                    </a:cubicBezTo>
                    <a:cubicBezTo>
                      <a:pt x="63607" y="83108"/>
                      <a:pt x="71231" y="64237"/>
                      <a:pt x="71231" y="48058"/>
                    </a:cubicBezTo>
                    <a:cubicBezTo>
                      <a:pt x="71206" y="31904"/>
                      <a:pt x="63607" y="13008"/>
                      <a:pt x="42120" y="13008"/>
                    </a:cubicBezTo>
                    <a:close/>
                  </a:path>
                </a:pathLst>
              </a:custGeom>
              <a:solidFill>
                <a:schemeClr val="accent1"/>
              </a:solidFill>
              <a:ln w="2515" cap="flat">
                <a:noFill/>
                <a:prstDash val="solid"/>
                <a:miter/>
              </a:ln>
            </p:spPr>
            <p:txBody>
              <a:bodyPr rtlCol="0" anchor="ctr"/>
              <a:lstStyle/>
              <a:p>
                <a:endParaRPr lang="en-GB" dirty="0"/>
              </a:p>
            </p:txBody>
          </p:sp>
        </p:grpSp>
      </p:grpSp>
      <p:sp>
        <p:nvSpPr>
          <p:cNvPr id="555" name="TextBox 1427">
            <a:extLst>
              <a:ext uri="{FF2B5EF4-FFF2-40B4-BE49-F238E27FC236}">
                <a16:creationId xmlns:a16="http://schemas.microsoft.com/office/drawing/2014/main" id="{C232A741-C205-4435-AA81-46658EA0F0BC}"/>
              </a:ext>
            </a:extLst>
          </p:cNvPr>
          <p:cNvSpPr txBox="1"/>
          <p:nvPr/>
        </p:nvSpPr>
        <p:spPr>
          <a:xfrm>
            <a:off x="7452825" y="2077494"/>
            <a:ext cx="318998" cy="215444"/>
          </a:xfrm>
          <a:prstGeom prst="rect">
            <a:avLst/>
          </a:prstGeom>
          <a:noFill/>
          <a:effectLst/>
        </p:spPr>
        <p:txBody>
          <a:bodyPr wrap="none" lIns="0" tIns="0" rIns="0" bIns="0" rtlCol="0" anchor="t">
            <a:spAutoFit/>
          </a:bodyPr>
          <a:lstStyle/>
          <a:p>
            <a:pPr algn="ctr"/>
            <a:r>
              <a:rPr lang="en-GB" sz="700" dirty="0">
                <a:solidFill>
                  <a:schemeClr val="tx2"/>
                </a:solidFill>
              </a:rPr>
              <a:t>Annual</a:t>
            </a:r>
            <a:br>
              <a:rPr lang="en-GB" sz="700" dirty="0">
                <a:solidFill>
                  <a:schemeClr val="tx2"/>
                </a:solidFill>
              </a:rPr>
            </a:br>
            <a:r>
              <a:rPr lang="en-GB" sz="700" dirty="0">
                <a:solidFill>
                  <a:schemeClr val="tx2"/>
                </a:solidFill>
              </a:rPr>
              <a:t>meeting</a:t>
            </a:r>
          </a:p>
        </p:txBody>
      </p:sp>
      <p:grpSp>
        <p:nvGrpSpPr>
          <p:cNvPr id="7" name="Group 6">
            <a:extLst>
              <a:ext uri="{FF2B5EF4-FFF2-40B4-BE49-F238E27FC236}">
                <a16:creationId xmlns:a16="http://schemas.microsoft.com/office/drawing/2014/main" id="{32F1719C-9B4B-A7D6-6F80-5014F60B875A}"/>
              </a:ext>
            </a:extLst>
          </p:cNvPr>
          <p:cNvGrpSpPr/>
          <p:nvPr/>
        </p:nvGrpSpPr>
        <p:grpSpPr>
          <a:xfrm>
            <a:off x="8217956" y="1626716"/>
            <a:ext cx="451769" cy="432000"/>
            <a:chOff x="8217544" y="1626716"/>
            <a:chExt cx="451769" cy="432000"/>
          </a:xfrm>
        </p:grpSpPr>
        <p:grpSp>
          <p:nvGrpSpPr>
            <p:cNvPr id="567" name="Graphic 10">
              <a:extLst>
                <a:ext uri="{FF2B5EF4-FFF2-40B4-BE49-F238E27FC236}">
                  <a16:creationId xmlns:a16="http://schemas.microsoft.com/office/drawing/2014/main" id="{7BDFDA35-C0E6-4EBD-BB81-22F173B7CBA1}"/>
                </a:ext>
              </a:extLst>
            </p:cNvPr>
            <p:cNvGrpSpPr/>
            <p:nvPr/>
          </p:nvGrpSpPr>
          <p:grpSpPr>
            <a:xfrm>
              <a:off x="8480925" y="1865105"/>
              <a:ext cx="114190" cy="114179"/>
              <a:chOff x="2838873" y="1919669"/>
              <a:chExt cx="113193" cy="113182"/>
            </a:xfrm>
            <a:solidFill>
              <a:schemeClr val="accent1"/>
            </a:solidFill>
          </p:grpSpPr>
          <p:sp>
            <p:nvSpPr>
              <p:cNvPr id="574" name="Freihandform: Form 158">
                <a:extLst>
                  <a:ext uri="{FF2B5EF4-FFF2-40B4-BE49-F238E27FC236}">
                    <a16:creationId xmlns:a16="http://schemas.microsoft.com/office/drawing/2014/main" id="{F77F0D8F-8C0D-458C-91E9-E9C8F492F7C9}"/>
                  </a:ext>
                </a:extLst>
              </p:cNvPr>
              <p:cNvSpPr/>
              <p:nvPr/>
            </p:nvSpPr>
            <p:spPr>
              <a:xfrm>
                <a:off x="2838873" y="1919669"/>
                <a:ext cx="113193" cy="113182"/>
              </a:xfrm>
              <a:custGeom>
                <a:avLst/>
                <a:gdLst>
                  <a:gd name="connsiteX0" fmla="*/ 56593 w 113193"/>
                  <a:gd name="connsiteY0" fmla="*/ 113183 h 113182"/>
                  <a:gd name="connsiteX1" fmla="*/ 0 w 113193"/>
                  <a:gd name="connsiteY1" fmla="*/ 56590 h 113182"/>
                  <a:gd name="connsiteX2" fmla="*/ 56593 w 113193"/>
                  <a:gd name="connsiteY2" fmla="*/ 0 h 113182"/>
                  <a:gd name="connsiteX3" fmla="*/ 74596 w 113193"/>
                  <a:gd name="connsiteY3" fmla="*/ 2921 h 113182"/>
                  <a:gd name="connsiteX4" fmla="*/ 78971 w 113193"/>
                  <a:gd name="connsiteY4" fmla="*/ 11698 h 113182"/>
                  <a:gd name="connsiteX5" fmla="*/ 70194 w 113193"/>
                  <a:gd name="connsiteY5" fmla="*/ 16072 h 113182"/>
                  <a:gd name="connsiteX6" fmla="*/ 56593 w 113193"/>
                  <a:gd name="connsiteY6" fmla="*/ 13867 h 113182"/>
                  <a:gd name="connsiteX7" fmla="*/ 13871 w 113193"/>
                  <a:gd name="connsiteY7" fmla="*/ 56586 h 113182"/>
                  <a:gd name="connsiteX8" fmla="*/ 56593 w 113193"/>
                  <a:gd name="connsiteY8" fmla="*/ 99308 h 113182"/>
                  <a:gd name="connsiteX9" fmla="*/ 99322 w 113193"/>
                  <a:gd name="connsiteY9" fmla="*/ 56586 h 113182"/>
                  <a:gd name="connsiteX10" fmla="*/ 99066 w 113193"/>
                  <a:gd name="connsiteY10" fmla="*/ 51924 h 113182"/>
                  <a:gd name="connsiteX11" fmla="*/ 105203 w 113193"/>
                  <a:gd name="connsiteY11" fmla="*/ 44270 h 113182"/>
                  <a:gd name="connsiteX12" fmla="*/ 112856 w 113193"/>
                  <a:gd name="connsiteY12" fmla="*/ 50407 h 113182"/>
                  <a:gd name="connsiteX13" fmla="*/ 113193 w 113193"/>
                  <a:gd name="connsiteY13" fmla="*/ 56586 h 113182"/>
                  <a:gd name="connsiteX14" fmla="*/ 56593 w 113193"/>
                  <a:gd name="connsiteY14" fmla="*/ 113183 h 1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193" h="113182">
                    <a:moveTo>
                      <a:pt x="56593" y="113183"/>
                    </a:moveTo>
                    <a:cubicBezTo>
                      <a:pt x="25386" y="113183"/>
                      <a:pt x="0" y="87796"/>
                      <a:pt x="0" y="56590"/>
                    </a:cubicBezTo>
                    <a:cubicBezTo>
                      <a:pt x="0" y="25390"/>
                      <a:pt x="25383" y="0"/>
                      <a:pt x="56593" y="0"/>
                    </a:cubicBezTo>
                    <a:cubicBezTo>
                      <a:pt x="62751" y="0"/>
                      <a:pt x="68804" y="983"/>
                      <a:pt x="74596" y="2921"/>
                    </a:cubicBezTo>
                    <a:cubicBezTo>
                      <a:pt x="78226" y="4136"/>
                      <a:pt x="80189" y="8068"/>
                      <a:pt x="78971" y="11698"/>
                    </a:cubicBezTo>
                    <a:cubicBezTo>
                      <a:pt x="77759" y="15335"/>
                      <a:pt x="73824" y="17290"/>
                      <a:pt x="70194" y="16072"/>
                    </a:cubicBezTo>
                    <a:cubicBezTo>
                      <a:pt x="65826" y="14608"/>
                      <a:pt x="61248" y="13867"/>
                      <a:pt x="56593" y="13867"/>
                    </a:cubicBezTo>
                    <a:cubicBezTo>
                      <a:pt x="33040" y="13867"/>
                      <a:pt x="13871" y="33029"/>
                      <a:pt x="13871" y="56586"/>
                    </a:cubicBezTo>
                    <a:cubicBezTo>
                      <a:pt x="13871" y="80140"/>
                      <a:pt x="33036" y="99308"/>
                      <a:pt x="56593" y="99308"/>
                    </a:cubicBezTo>
                    <a:cubicBezTo>
                      <a:pt x="80154" y="99308"/>
                      <a:pt x="99322" y="80143"/>
                      <a:pt x="99322" y="56586"/>
                    </a:cubicBezTo>
                    <a:cubicBezTo>
                      <a:pt x="99322" y="55010"/>
                      <a:pt x="99235" y="53458"/>
                      <a:pt x="99066" y="51924"/>
                    </a:cubicBezTo>
                    <a:cubicBezTo>
                      <a:pt x="98645" y="48118"/>
                      <a:pt x="101397" y="44692"/>
                      <a:pt x="105203" y="44270"/>
                    </a:cubicBezTo>
                    <a:cubicBezTo>
                      <a:pt x="109036" y="43867"/>
                      <a:pt x="112435" y="46602"/>
                      <a:pt x="112856" y="50407"/>
                    </a:cubicBezTo>
                    <a:cubicBezTo>
                      <a:pt x="113081" y="52436"/>
                      <a:pt x="113193" y="54497"/>
                      <a:pt x="113193" y="56586"/>
                    </a:cubicBezTo>
                    <a:cubicBezTo>
                      <a:pt x="113193" y="87796"/>
                      <a:pt x="87804" y="113183"/>
                      <a:pt x="56593" y="113183"/>
                    </a:cubicBezTo>
                    <a:close/>
                  </a:path>
                </a:pathLst>
              </a:custGeom>
              <a:solidFill>
                <a:schemeClr val="accent1"/>
              </a:solidFill>
              <a:ln w="351" cap="flat">
                <a:noFill/>
                <a:prstDash val="solid"/>
                <a:miter/>
              </a:ln>
            </p:spPr>
            <p:txBody>
              <a:bodyPr rtlCol="0" anchor="ctr"/>
              <a:lstStyle/>
              <a:p>
                <a:endParaRPr lang="en-GB" dirty="0"/>
              </a:p>
            </p:txBody>
          </p:sp>
          <p:sp>
            <p:nvSpPr>
              <p:cNvPr id="575" name="Freihandform: Form 159">
                <a:extLst>
                  <a:ext uri="{FF2B5EF4-FFF2-40B4-BE49-F238E27FC236}">
                    <a16:creationId xmlns:a16="http://schemas.microsoft.com/office/drawing/2014/main" id="{1C6FBA1B-5D48-4D93-8DB8-542C6AF3F345}"/>
                  </a:ext>
                </a:extLst>
              </p:cNvPr>
              <p:cNvSpPr/>
              <p:nvPr/>
            </p:nvSpPr>
            <p:spPr>
              <a:xfrm>
                <a:off x="2868159" y="1929995"/>
                <a:ext cx="75371" cy="73064"/>
              </a:xfrm>
              <a:custGeom>
                <a:avLst/>
                <a:gdLst>
                  <a:gd name="connsiteX0" fmla="*/ 27307 w 75371"/>
                  <a:gd name="connsiteY0" fmla="*/ 73064 h 73064"/>
                  <a:gd name="connsiteX1" fmla="*/ 22466 w 75371"/>
                  <a:gd name="connsiteY1" fmla="*/ 71095 h 73064"/>
                  <a:gd name="connsiteX2" fmla="*/ 2093 w 75371"/>
                  <a:gd name="connsiteY2" fmla="*/ 51231 h 73064"/>
                  <a:gd name="connsiteX3" fmla="*/ 1971 w 75371"/>
                  <a:gd name="connsiteY3" fmla="*/ 41426 h 73064"/>
                  <a:gd name="connsiteX4" fmla="*/ 11776 w 75371"/>
                  <a:gd name="connsiteY4" fmla="*/ 41303 h 73064"/>
                  <a:gd name="connsiteX5" fmla="*/ 26282 w 75371"/>
                  <a:gd name="connsiteY5" fmla="*/ 55448 h 73064"/>
                  <a:gd name="connsiteX6" fmla="*/ 62738 w 75371"/>
                  <a:gd name="connsiteY6" fmla="*/ 2976 h 73064"/>
                  <a:gd name="connsiteX7" fmla="*/ 72389 w 75371"/>
                  <a:gd name="connsiteY7" fmla="*/ 1238 h 73064"/>
                  <a:gd name="connsiteX8" fmla="*/ 74130 w 75371"/>
                  <a:gd name="connsiteY8" fmla="*/ 10893 h 73064"/>
                  <a:gd name="connsiteX9" fmla="*/ 32998 w 75371"/>
                  <a:gd name="connsiteY9" fmla="*/ 70087 h 73064"/>
                  <a:gd name="connsiteX10" fmla="*/ 27967 w 75371"/>
                  <a:gd name="connsiteY10" fmla="*/ 73033 h 73064"/>
                  <a:gd name="connsiteX11" fmla="*/ 27307 w 75371"/>
                  <a:gd name="connsiteY11" fmla="*/ 73064 h 7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71" h="73064">
                    <a:moveTo>
                      <a:pt x="27307" y="73064"/>
                    </a:moveTo>
                    <a:cubicBezTo>
                      <a:pt x="25507" y="73064"/>
                      <a:pt x="23765" y="72362"/>
                      <a:pt x="22466" y="71095"/>
                    </a:cubicBezTo>
                    <a:lnTo>
                      <a:pt x="2093" y="51231"/>
                    </a:lnTo>
                    <a:cubicBezTo>
                      <a:pt x="-648" y="48559"/>
                      <a:pt x="-705" y="44168"/>
                      <a:pt x="1971" y="41426"/>
                    </a:cubicBezTo>
                    <a:cubicBezTo>
                      <a:pt x="4660" y="38691"/>
                      <a:pt x="9041" y="38631"/>
                      <a:pt x="11776" y="41303"/>
                    </a:cubicBezTo>
                    <a:lnTo>
                      <a:pt x="26282" y="55448"/>
                    </a:lnTo>
                    <a:lnTo>
                      <a:pt x="62738" y="2976"/>
                    </a:lnTo>
                    <a:cubicBezTo>
                      <a:pt x="64918" y="-170"/>
                      <a:pt x="69240" y="-942"/>
                      <a:pt x="72389" y="1238"/>
                    </a:cubicBezTo>
                    <a:cubicBezTo>
                      <a:pt x="75538" y="3425"/>
                      <a:pt x="76317" y="7747"/>
                      <a:pt x="74130" y="10893"/>
                    </a:cubicBezTo>
                    <a:lnTo>
                      <a:pt x="32998" y="70087"/>
                    </a:lnTo>
                    <a:cubicBezTo>
                      <a:pt x="31833" y="71758"/>
                      <a:pt x="29993" y="72836"/>
                      <a:pt x="27967" y="73033"/>
                    </a:cubicBezTo>
                    <a:cubicBezTo>
                      <a:pt x="27750" y="73054"/>
                      <a:pt x="27525" y="73064"/>
                      <a:pt x="27307" y="73064"/>
                    </a:cubicBezTo>
                    <a:close/>
                  </a:path>
                </a:pathLst>
              </a:custGeom>
              <a:solidFill>
                <a:schemeClr val="accent1"/>
              </a:solidFill>
              <a:ln w="351" cap="flat">
                <a:noFill/>
                <a:prstDash val="solid"/>
                <a:miter/>
              </a:ln>
            </p:spPr>
            <p:txBody>
              <a:bodyPr rtlCol="0" anchor="ctr"/>
              <a:lstStyle/>
              <a:p>
                <a:endParaRPr lang="en-GB" dirty="0"/>
              </a:p>
            </p:txBody>
          </p:sp>
        </p:grpSp>
        <p:grpSp>
          <p:nvGrpSpPr>
            <p:cNvPr id="568" name="Group 567">
              <a:extLst>
                <a:ext uri="{FF2B5EF4-FFF2-40B4-BE49-F238E27FC236}">
                  <a16:creationId xmlns:a16="http://schemas.microsoft.com/office/drawing/2014/main" id="{A199149A-7B3E-4C92-B701-562E8E0A7CF6}"/>
                </a:ext>
              </a:extLst>
            </p:cNvPr>
            <p:cNvGrpSpPr/>
            <p:nvPr/>
          </p:nvGrpSpPr>
          <p:grpSpPr>
            <a:xfrm>
              <a:off x="8217544" y="1626716"/>
              <a:ext cx="451769" cy="432000"/>
              <a:chOff x="2577792" y="1683361"/>
              <a:chExt cx="447824" cy="428228"/>
            </a:xfrm>
            <a:solidFill>
              <a:schemeClr val="tx2"/>
            </a:solidFill>
          </p:grpSpPr>
          <p:grpSp>
            <p:nvGrpSpPr>
              <p:cNvPr id="569" name="Graphic 10">
                <a:extLst>
                  <a:ext uri="{FF2B5EF4-FFF2-40B4-BE49-F238E27FC236}">
                    <a16:creationId xmlns:a16="http://schemas.microsoft.com/office/drawing/2014/main" id="{FA6950FD-080A-4FC2-A6EF-BFF48C85E00F}"/>
                  </a:ext>
                </a:extLst>
              </p:cNvPr>
              <p:cNvGrpSpPr/>
              <p:nvPr/>
            </p:nvGrpSpPr>
            <p:grpSpPr>
              <a:xfrm>
                <a:off x="2577792" y="1683361"/>
                <a:ext cx="323812" cy="389554"/>
                <a:chOff x="2577792" y="1683361"/>
                <a:chExt cx="323812" cy="389554"/>
              </a:xfrm>
              <a:grpFill/>
            </p:grpSpPr>
            <p:sp>
              <p:nvSpPr>
                <p:cNvPr id="571" name="Freihandform: Form 161">
                  <a:extLst>
                    <a:ext uri="{FF2B5EF4-FFF2-40B4-BE49-F238E27FC236}">
                      <a16:creationId xmlns:a16="http://schemas.microsoft.com/office/drawing/2014/main" id="{4BC69D76-81CA-4062-A901-84135D23E435}"/>
                    </a:ext>
                  </a:extLst>
                </p:cNvPr>
                <p:cNvSpPr/>
                <p:nvPr/>
              </p:nvSpPr>
              <p:spPr>
                <a:xfrm>
                  <a:off x="2577794" y="1767889"/>
                  <a:ext cx="323809" cy="305026"/>
                </a:xfrm>
                <a:custGeom>
                  <a:avLst/>
                  <a:gdLst>
                    <a:gd name="connsiteX0" fmla="*/ 233194 w 323809"/>
                    <a:gd name="connsiteY0" fmla="*/ 305027 h 305026"/>
                    <a:gd name="connsiteX1" fmla="*/ 6934 w 323809"/>
                    <a:gd name="connsiteY1" fmla="*/ 305027 h 305026"/>
                    <a:gd name="connsiteX2" fmla="*/ 0 w 323809"/>
                    <a:gd name="connsiteY2" fmla="*/ 298093 h 305026"/>
                    <a:gd name="connsiteX3" fmla="*/ 0 w 323809"/>
                    <a:gd name="connsiteY3" fmla="*/ 6934 h 305026"/>
                    <a:gd name="connsiteX4" fmla="*/ 6934 w 323809"/>
                    <a:gd name="connsiteY4" fmla="*/ 0 h 305026"/>
                    <a:gd name="connsiteX5" fmla="*/ 316875 w 323809"/>
                    <a:gd name="connsiteY5" fmla="*/ 0 h 305026"/>
                    <a:gd name="connsiteX6" fmla="*/ 323809 w 323809"/>
                    <a:gd name="connsiteY6" fmla="*/ 6934 h 305026"/>
                    <a:gd name="connsiteX7" fmla="*/ 323809 w 323809"/>
                    <a:gd name="connsiteY7" fmla="*/ 80789 h 305026"/>
                    <a:gd name="connsiteX8" fmla="*/ 316875 w 323809"/>
                    <a:gd name="connsiteY8" fmla="*/ 87723 h 305026"/>
                    <a:gd name="connsiteX9" fmla="*/ 309942 w 323809"/>
                    <a:gd name="connsiteY9" fmla="*/ 80789 h 305026"/>
                    <a:gd name="connsiteX10" fmla="*/ 309942 w 323809"/>
                    <a:gd name="connsiteY10" fmla="*/ 13871 h 305026"/>
                    <a:gd name="connsiteX11" fmla="*/ 13867 w 323809"/>
                    <a:gd name="connsiteY11" fmla="*/ 13871 h 305026"/>
                    <a:gd name="connsiteX12" fmla="*/ 13867 w 323809"/>
                    <a:gd name="connsiteY12" fmla="*/ 291159 h 305026"/>
                    <a:gd name="connsiteX13" fmla="*/ 233194 w 323809"/>
                    <a:gd name="connsiteY13" fmla="*/ 291159 h 305026"/>
                    <a:gd name="connsiteX14" fmla="*/ 240127 w 323809"/>
                    <a:gd name="connsiteY14" fmla="*/ 298093 h 305026"/>
                    <a:gd name="connsiteX15" fmla="*/ 233194 w 323809"/>
                    <a:gd name="connsiteY15" fmla="*/ 305027 h 305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3809" h="305026">
                      <a:moveTo>
                        <a:pt x="233194" y="305027"/>
                      </a:moveTo>
                      <a:lnTo>
                        <a:pt x="6934" y="305027"/>
                      </a:lnTo>
                      <a:cubicBezTo>
                        <a:pt x="3100" y="305027"/>
                        <a:pt x="0" y="301920"/>
                        <a:pt x="0" y="298093"/>
                      </a:cubicBezTo>
                      <a:lnTo>
                        <a:pt x="0" y="6934"/>
                      </a:lnTo>
                      <a:cubicBezTo>
                        <a:pt x="0" y="3103"/>
                        <a:pt x="3103" y="0"/>
                        <a:pt x="6934" y="0"/>
                      </a:cubicBezTo>
                      <a:lnTo>
                        <a:pt x="316875" y="0"/>
                      </a:lnTo>
                      <a:cubicBezTo>
                        <a:pt x="320709" y="0"/>
                        <a:pt x="323809" y="3103"/>
                        <a:pt x="323809" y="6934"/>
                      </a:cubicBezTo>
                      <a:lnTo>
                        <a:pt x="323809" y="80789"/>
                      </a:lnTo>
                      <a:cubicBezTo>
                        <a:pt x="323809" y="84619"/>
                        <a:pt x="320706" y="87723"/>
                        <a:pt x="316875" y="87723"/>
                      </a:cubicBezTo>
                      <a:cubicBezTo>
                        <a:pt x="313045" y="87723"/>
                        <a:pt x="309942" y="84619"/>
                        <a:pt x="309942" y="80789"/>
                      </a:cubicBezTo>
                      <a:lnTo>
                        <a:pt x="309942" y="13871"/>
                      </a:lnTo>
                      <a:lnTo>
                        <a:pt x="13867" y="13871"/>
                      </a:lnTo>
                      <a:lnTo>
                        <a:pt x="13867" y="291159"/>
                      </a:lnTo>
                      <a:lnTo>
                        <a:pt x="233194" y="291159"/>
                      </a:lnTo>
                      <a:cubicBezTo>
                        <a:pt x="237027" y="291159"/>
                        <a:pt x="240127" y="294263"/>
                        <a:pt x="240127" y="298093"/>
                      </a:cubicBezTo>
                      <a:cubicBezTo>
                        <a:pt x="240127" y="301923"/>
                        <a:pt x="237024" y="305027"/>
                        <a:pt x="233194" y="305027"/>
                      </a:cubicBezTo>
                      <a:close/>
                    </a:path>
                  </a:pathLst>
                </a:custGeom>
                <a:grpFill/>
                <a:ln w="351" cap="flat">
                  <a:noFill/>
                  <a:prstDash val="solid"/>
                  <a:miter/>
                </a:ln>
              </p:spPr>
              <p:txBody>
                <a:bodyPr rtlCol="0" anchor="ctr"/>
                <a:lstStyle/>
                <a:p>
                  <a:endParaRPr lang="en-GB" dirty="0"/>
                </a:p>
              </p:txBody>
            </p:sp>
            <p:sp>
              <p:nvSpPr>
                <p:cNvPr id="572" name="Freihandform: Form 162">
                  <a:extLst>
                    <a:ext uri="{FF2B5EF4-FFF2-40B4-BE49-F238E27FC236}">
                      <a16:creationId xmlns:a16="http://schemas.microsoft.com/office/drawing/2014/main" id="{14F01F78-1AB7-45E5-83AF-8ECE53A9F888}"/>
                    </a:ext>
                  </a:extLst>
                </p:cNvPr>
                <p:cNvSpPr/>
                <p:nvPr/>
              </p:nvSpPr>
              <p:spPr>
                <a:xfrm>
                  <a:off x="2577792" y="1683361"/>
                  <a:ext cx="323812" cy="98398"/>
                </a:xfrm>
                <a:custGeom>
                  <a:avLst/>
                  <a:gdLst>
                    <a:gd name="connsiteX0" fmla="*/ 316877 w 323812"/>
                    <a:gd name="connsiteY0" fmla="*/ 98399 h 98398"/>
                    <a:gd name="connsiteX1" fmla="*/ 6935 w 323812"/>
                    <a:gd name="connsiteY1" fmla="*/ 98399 h 98398"/>
                    <a:gd name="connsiteX2" fmla="*/ 1308 w 323812"/>
                    <a:gd name="connsiteY2" fmla="*/ 95520 h 98398"/>
                    <a:gd name="connsiteX3" fmla="*/ 360 w 323812"/>
                    <a:gd name="connsiteY3" fmla="*/ 89267 h 98398"/>
                    <a:gd name="connsiteX4" fmla="*/ 28533 w 323812"/>
                    <a:gd name="connsiteY4" fmla="*/ 4739 h 98398"/>
                    <a:gd name="connsiteX5" fmla="*/ 35109 w 323812"/>
                    <a:gd name="connsiteY5" fmla="*/ 0 h 98398"/>
                    <a:gd name="connsiteX6" fmla="*/ 288703 w 323812"/>
                    <a:gd name="connsiteY6" fmla="*/ 0 h 98398"/>
                    <a:gd name="connsiteX7" fmla="*/ 295279 w 323812"/>
                    <a:gd name="connsiteY7" fmla="*/ 4739 h 98398"/>
                    <a:gd name="connsiteX8" fmla="*/ 323453 w 323812"/>
                    <a:gd name="connsiteY8" fmla="*/ 89267 h 98398"/>
                    <a:gd name="connsiteX9" fmla="*/ 322505 w 323812"/>
                    <a:gd name="connsiteY9" fmla="*/ 95520 h 98398"/>
                    <a:gd name="connsiteX10" fmla="*/ 316877 w 323812"/>
                    <a:gd name="connsiteY10" fmla="*/ 98399 h 98398"/>
                    <a:gd name="connsiteX11" fmla="*/ 16558 w 323812"/>
                    <a:gd name="connsiteY11" fmla="*/ 84528 h 98398"/>
                    <a:gd name="connsiteX12" fmla="*/ 307254 w 323812"/>
                    <a:gd name="connsiteY12" fmla="*/ 84528 h 98398"/>
                    <a:gd name="connsiteX13" fmla="*/ 283704 w 323812"/>
                    <a:gd name="connsiteY13" fmla="*/ 13871 h 98398"/>
                    <a:gd name="connsiteX14" fmla="*/ 40105 w 323812"/>
                    <a:gd name="connsiteY14" fmla="*/ 13871 h 98398"/>
                    <a:gd name="connsiteX15" fmla="*/ 16558 w 323812"/>
                    <a:gd name="connsiteY15" fmla="*/ 84528 h 9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3812" h="98398">
                      <a:moveTo>
                        <a:pt x="316877" y="98399"/>
                      </a:moveTo>
                      <a:lnTo>
                        <a:pt x="6935" y="98399"/>
                      </a:lnTo>
                      <a:cubicBezTo>
                        <a:pt x="4706" y="98399"/>
                        <a:pt x="2614" y="97328"/>
                        <a:pt x="1308" y="95520"/>
                      </a:cubicBezTo>
                      <a:cubicBezTo>
                        <a:pt x="9" y="93709"/>
                        <a:pt x="-353" y="91384"/>
                        <a:pt x="360" y="89267"/>
                      </a:cubicBezTo>
                      <a:lnTo>
                        <a:pt x="28533" y="4739"/>
                      </a:lnTo>
                      <a:cubicBezTo>
                        <a:pt x="29474" y="1910"/>
                        <a:pt x="32121" y="0"/>
                        <a:pt x="35109" y="0"/>
                      </a:cubicBezTo>
                      <a:lnTo>
                        <a:pt x="288703" y="0"/>
                      </a:lnTo>
                      <a:cubicBezTo>
                        <a:pt x="291691" y="0"/>
                        <a:pt x="294338" y="1910"/>
                        <a:pt x="295279" y="4739"/>
                      </a:cubicBezTo>
                      <a:lnTo>
                        <a:pt x="323453" y="89267"/>
                      </a:lnTo>
                      <a:cubicBezTo>
                        <a:pt x="324166" y="91384"/>
                        <a:pt x="323804" y="93709"/>
                        <a:pt x="322505" y="95520"/>
                      </a:cubicBezTo>
                      <a:cubicBezTo>
                        <a:pt x="321195" y="97328"/>
                        <a:pt x="319103" y="98399"/>
                        <a:pt x="316877" y="98399"/>
                      </a:cubicBezTo>
                      <a:close/>
                      <a:moveTo>
                        <a:pt x="16558" y="84528"/>
                      </a:moveTo>
                      <a:lnTo>
                        <a:pt x="307254" y="84528"/>
                      </a:lnTo>
                      <a:lnTo>
                        <a:pt x="283704" y="13871"/>
                      </a:lnTo>
                      <a:lnTo>
                        <a:pt x="40105" y="13871"/>
                      </a:lnTo>
                      <a:lnTo>
                        <a:pt x="16558" y="84528"/>
                      </a:lnTo>
                      <a:close/>
                    </a:path>
                  </a:pathLst>
                </a:custGeom>
                <a:grpFill/>
                <a:ln w="351" cap="flat">
                  <a:noFill/>
                  <a:prstDash val="solid"/>
                  <a:miter/>
                </a:ln>
              </p:spPr>
              <p:txBody>
                <a:bodyPr rtlCol="0" anchor="ctr"/>
                <a:lstStyle/>
                <a:p>
                  <a:endParaRPr lang="en-GB" dirty="0"/>
                </a:p>
              </p:txBody>
            </p:sp>
            <p:sp>
              <p:nvSpPr>
                <p:cNvPr id="573" name="Freihandform: Form 163">
                  <a:extLst>
                    <a:ext uri="{FF2B5EF4-FFF2-40B4-BE49-F238E27FC236}">
                      <a16:creationId xmlns:a16="http://schemas.microsoft.com/office/drawing/2014/main" id="{E43F934E-CB38-4087-BA81-D9BA2803A702}"/>
                    </a:ext>
                  </a:extLst>
                </p:cNvPr>
                <p:cNvSpPr/>
                <p:nvPr/>
              </p:nvSpPr>
              <p:spPr>
                <a:xfrm>
                  <a:off x="2695196" y="1767889"/>
                  <a:ext cx="89004" cy="51439"/>
                </a:xfrm>
                <a:custGeom>
                  <a:avLst/>
                  <a:gdLst>
                    <a:gd name="connsiteX0" fmla="*/ 82067 w 89004"/>
                    <a:gd name="connsiteY0" fmla="*/ 51439 h 51439"/>
                    <a:gd name="connsiteX1" fmla="*/ 75133 w 89004"/>
                    <a:gd name="connsiteY1" fmla="*/ 44506 h 51439"/>
                    <a:gd name="connsiteX2" fmla="*/ 75133 w 89004"/>
                    <a:gd name="connsiteY2" fmla="*/ 13874 h 51439"/>
                    <a:gd name="connsiteX3" fmla="*/ 13867 w 89004"/>
                    <a:gd name="connsiteY3" fmla="*/ 13874 h 51439"/>
                    <a:gd name="connsiteX4" fmla="*/ 13867 w 89004"/>
                    <a:gd name="connsiteY4" fmla="*/ 44506 h 51439"/>
                    <a:gd name="connsiteX5" fmla="*/ 6934 w 89004"/>
                    <a:gd name="connsiteY5" fmla="*/ 51439 h 51439"/>
                    <a:gd name="connsiteX6" fmla="*/ 0 w 89004"/>
                    <a:gd name="connsiteY6" fmla="*/ 44506 h 51439"/>
                    <a:gd name="connsiteX7" fmla="*/ 0 w 89004"/>
                    <a:gd name="connsiteY7" fmla="*/ 6934 h 51439"/>
                    <a:gd name="connsiteX8" fmla="*/ 6934 w 89004"/>
                    <a:gd name="connsiteY8" fmla="*/ 0 h 51439"/>
                    <a:gd name="connsiteX9" fmla="*/ 82070 w 89004"/>
                    <a:gd name="connsiteY9" fmla="*/ 0 h 51439"/>
                    <a:gd name="connsiteX10" fmla="*/ 89004 w 89004"/>
                    <a:gd name="connsiteY10" fmla="*/ 6934 h 51439"/>
                    <a:gd name="connsiteX11" fmla="*/ 89004 w 89004"/>
                    <a:gd name="connsiteY11" fmla="*/ 44502 h 51439"/>
                    <a:gd name="connsiteX12" fmla="*/ 82067 w 89004"/>
                    <a:gd name="connsiteY12" fmla="*/ 51439 h 5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004" h="51439">
                      <a:moveTo>
                        <a:pt x="82067" y="51439"/>
                      </a:moveTo>
                      <a:cubicBezTo>
                        <a:pt x="78233" y="51439"/>
                        <a:pt x="75133" y="48332"/>
                        <a:pt x="75133" y="44506"/>
                      </a:cubicBezTo>
                      <a:lnTo>
                        <a:pt x="75133" y="13874"/>
                      </a:lnTo>
                      <a:lnTo>
                        <a:pt x="13867" y="13874"/>
                      </a:lnTo>
                      <a:lnTo>
                        <a:pt x="13867" y="44506"/>
                      </a:lnTo>
                      <a:cubicBezTo>
                        <a:pt x="13867" y="48336"/>
                        <a:pt x="10764" y="51439"/>
                        <a:pt x="6934" y="51439"/>
                      </a:cubicBezTo>
                      <a:cubicBezTo>
                        <a:pt x="3100" y="51439"/>
                        <a:pt x="0" y="48332"/>
                        <a:pt x="0" y="44506"/>
                      </a:cubicBezTo>
                      <a:lnTo>
                        <a:pt x="0" y="6934"/>
                      </a:lnTo>
                      <a:cubicBezTo>
                        <a:pt x="0" y="3103"/>
                        <a:pt x="3104" y="0"/>
                        <a:pt x="6934" y="0"/>
                      </a:cubicBezTo>
                      <a:lnTo>
                        <a:pt x="82070" y="0"/>
                      </a:lnTo>
                      <a:cubicBezTo>
                        <a:pt x="85904" y="0"/>
                        <a:pt x="89004" y="3103"/>
                        <a:pt x="89004" y="6934"/>
                      </a:cubicBezTo>
                      <a:lnTo>
                        <a:pt x="89004" y="44502"/>
                      </a:lnTo>
                      <a:cubicBezTo>
                        <a:pt x="89004" y="48332"/>
                        <a:pt x="85901" y="51439"/>
                        <a:pt x="82067" y="51439"/>
                      </a:cubicBezTo>
                      <a:close/>
                    </a:path>
                  </a:pathLst>
                </a:custGeom>
                <a:grpFill/>
                <a:ln w="351" cap="flat">
                  <a:noFill/>
                  <a:prstDash val="solid"/>
                  <a:miter/>
                </a:ln>
              </p:spPr>
              <p:txBody>
                <a:bodyPr rtlCol="0" anchor="ctr"/>
                <a:lstStyle/>
                <a:p>
                  <a:endParaRPr lang="en-GB" dirty="0"/>
                </a:p>
              </p:txBody>
            </p:sp>
          </p:grpSp>
          <p:sp>
            <p:nvSpPr>
              <p:cNvPr id="570" name="Freihandform: Form 164">
                <a:extLst>
                  <a:ext uri="{FF2B5EF4-FFF2-40B4-BE49-F238E27FC236}">
                    <a16:creationId xmlns:a16="http://schemas.microsoft.com/office/drawing/2014/main" id="{1DA3C8AC-7C25-423C-A065-8B5FD664AE18}"/>
                  </a:ext>
                </a:extLst>
              </p:cNvPr>
              <p:cNvSpPr/>
              <p:nvPr/>
            </p:nvSpPr>
            <p:spPr>
              <a:xfrm>
                <a:off x="2765323" y="1840017"/>
                <a:ext cx="260293" cy="271572"/>
              </a:xfrm>
              <a:custGeom>
                <a:avLst/>
                <a:gdLst>
                  <a:gd name="connsiteX0" fmla="*/ 130361 w 260293"/>
                  <a:gd name="connsiteY0" fmla="*/ 271573 h 271572"/>
                  <a:gd name="connsiteX1" fmla="*/ 129588 w 260293"/>
                  <a:gd name="connsiteY1" fmla="*/ 271545 h 271572"/>
                  <a:gd name="connsiteX2" fmla="*/ 121461 w 260293"/>
                  <a:gd name="connsiteY2" fmla="*/ 268877 h 271572"/>
                  <a:gd name="connsiteX3" fmla="*/ 320 w 260293"/>
                  <a:gd name="connsiteY3" fmla="*/ 79543 h 271572"/>
                  <a:gd name="connsiteX4" fmla="*/ 0 w 260293"/>
                  <a:gd name="connsiteY4" fmla="*/ 76780 h 271572"/>
                  <a:gd name="connsiteX5" fmla="*/ 9644 w 260293"/>
                  <a:gd name="connsiteY5" fmla="*/ 65535 h 271572"/>
                  <a:gd name="connsiteX6" fmla="*/ 38955 w 260293"/>
                  <a:gd name="connsiteY6" fmla="*/ 60395 h 271572"/>
                  <a:gd name="connsiteX7" fmla="*/ 42722 w 260293"/>
                  <a:gd name="connsiteY7" fmla="*/ 46528 h 271572"/>
                  <a:gd name="connsiteX8" fmla="*/ 44944 w 260293"/>
                  <a:gd name="connsiteY8" fmla="*/ 40194 h 271572"/>
                  <a:gd name="connsiteX9" fmla="*/ 130434 w 260293"/>
                  <a:gd name="connsiteY9" fmla="*/ 0 h 271572"/>
                  <a:gd name="connsiteX10" fmla="*/ 216770 w 260293"/>
                  <a:gd name="connsiteY10" fmla="*/ 42870 h 271572"/>
                  <a:gd name="connsiteX11" fmla="*/ 217062 w 260293"/>
                  <a:gd name="connsiteY11" fmla="*/ 43817 h 271572"/>
                  <a:gd name="connsiteX12" fmla="*/ 221320 w 260293"/>
                  <a:gd name="connsiteY12" fmla="*/ 60388 h 271572"/>
                  <a:gd name="connsiteX13" fmla="*/ 250593 w 260293"/>
                  <a:gd name="connsiteY13" fmla="*/ 65531 h 271572"/>
                  <a:gd name="connsiteX14" fmla="*/ 260293 w 260293"/>
                  <a:gd name="connsiteY14" fmla="*/ 76780 h 271572"/>
                  <a:gd name="connsiteX15" fmla="*/ 260111 w 260293"/>
                  <a:gd name="connsiteY15" fmla="*/ 78865 h 271572"/>
                  <a:gd name="connsiteX16" fmla="*/ 259956 w 260293"/>
                  <a:gd name="connsiteY16" fmla="*/ 79680 h 271572"/>
                  <a:gd name="connsiteX17" fmla="*/ 138801 w 260293"/>
                  <a:gd name="connsiteY17" fmla="*/ 268894 h 271572"/>
                  <a:gd name="connsiteX18" fmla="*/ 130821 w 260293"/>
                  <a:gd name="connsiteY18" fmla="*/ 271566 h 271572"/>
                  <a:gd name="connsiteX19" fmla="*/ 130361 w 260293"/>
                  <a:gd name="connsiteY19" fmla="*/ 271573 h 271572"/>
                  <a:gd name="connsiteX20" fmla="*/ 14243 w 260293"/>
                  <a:gd name="connsiteY20" fmla="*/ 78820 h 271572"/>
                  <a:gd name="connsiteX21" fmla="*/ 129100 w 260293"/>
                  <a:gd name="connsiteY21" fmla="*/ 257298 h 271572"/>
                  <a:gd name="connsiteX22" fmla="*/ 130326 w 260293"/>
                  <a:gd name="connsiteY22" fmla="*/ 257695 h 271572"/>
                  <a:gd name="connsiteX23" fmla="*/ 130361 w 260293"/>
                  <a:gd name="connsiteY23" fmla="*/ 264636 h 271572"/>
                  <a:gd name="connsiteX24" fmla="*/ 130361 w 260293"/>
                  <a:gd name="connsiteY24" fmla="*/ 257702 h 271572"/>
                  <a:gd name="connsiteX25" fmla="*/ 130361 w 260293"/>
                  <a:gd name="connsiteY25" fmla="*/ 264636 h 271572"/>
                  <a:gd name="connsiteX26" fmla="*/ 130382 w 260293"/>
                  <a:gd name="connsiteY26" fmla="*/ 257702 h 271572"/>
                  <a:gd name="connsiteX27" fmla="*/ 131133 w 260293"/>
                  <a:gd name="connsiteY27" fmla="*/ 257330 h 271572"/>
                  <a:gd name="connsiteX28" fmla="*/ 246018 w 260293"/>
                  <a:gd name="connsiteY28" fmla="*/ 78820 h 271572"/>
                  <a:gd name="connsiteX29" fmla="*/ 215324 w 260293"/>
                  <a:gd name="connsiteY29" fmla="*/ 73402 h 271572"/>
                  <a:gd name="connsiteX30" fmla="*/ 204202 w 260293"/>
                  <a:gd name="connsiteY30" fmla="*/ 49803 h 271572"/>
                  <a:gd name="connsiteX31" fmla="*/ 130361 w 260293"/>
                  <a:gd name="connsiteY31" fmla="*/ 14412 h 271572"/>
                  <a:gd name="connsiteX32" fmla="*/ 56382 w 260293"/>
                  <a:gd name="connsiteY32" fmla="*/ 49087 h 271572"/>
                  <a:gd name="connsiteX33" fmla="*/ 56165 w 260293"/>
                  <a:gd name="connsiteY33" fmla="*/ 49933 h 271572"/>
                  <a:gd name="connsiteX34" fmla="*/ 44881 w 260293"/>
                  <a:gd name="connsiteY34" fmla="*/ 73424 h 271572"/>
                  <a:gd name="connsiteX35" fmla="*/ 14243 w 260293"/>
                  <a:gd name="connsiteY35" fmla="*/ 78820 h 271572"/>
                  <a:gd name="connsiteX36" fmla="*/ 248522 w 260293"/>
                  <a:gd name="connsiteY36" fmla="*/ 79244 h 271572"/>
                  <a:gd name="connsiteX37" fmla="*/ 248658 w 260293"/>
                  <a:gd name="connsiteY37" fmla="*/ 79265 h 271572"/>
                  <a:gd name="connsiteX38" fmla="*/ 248522 w 260293"/>
                  <a:gd name="connsiteY38" fmla="*/ 79244 h 271572"/>
                  <a:gd name="connsiteX39" fmla="*/ 11705 w 260293"/>
                  <a:gd name="connsiteY39" fmla="*/ 79251 h 271572"/>
                  <a:gd name="connsiteX40" fmla="*/ 11677 w 260293"/>
                  <a:gd name="connsiteY40" fmla="*/ 79255 h 271572"/>
                  <a:gd name="connsiteX41" fmla="*/ 11705 w 260293"/>
                  <a:gd name="connsiteY41" fmla="*/ 79251 h 271572"/>
                  <a:gd name="connsiteX42" fmla="*/ 42494 w 260293"/>
                  <a:gd name="connsiteY42" fmla="*/ 59767 h 271572"/>
                  <a:gd name="connsiteX43" fmla="*/ 42434 w 260293"/>
                  <a:gd name="connsiteY43" fmla="*/ 59777 h 271572"/>
                  <a:gd name="connsiteX44" fmla="*/ 42494 w 260293"/>
                  <a:gd name="connsiteY44" fmla="*/ 59767 h 271572"/>
                  <a:gd name="connsiteX45" fmla="*/ 217701 w 260293"/>
                  <a:gd name="connsiteY45" fmla="*/ 59735 h 271572"/>
                  <a:gd name="connsiteX46" fmla="*/ 217848 w 260293"/>
                  <a:gd name="connsiteY46" fmla="*/ 59763 h 271572"/>
                  <a:gd name="connsiteX47" fmla="*/ 217701 w 260293"/>
                  <a:gd name="connsiteY47" fmla="*/ 59735 h 27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60293" h="271572">
                    <a:moveTo>
                      <a:pt x="130361" y="271573"/>
                    </a:moveTo>
                    <a:cubicBezTo>
                      <a:pt x="130199" y="271573"/>
                      <a:pt x="129750" y="271555"/>
                      <a:pt x="129588" y="271545"/>
                    </a:cubicBezTo>
                    <a:cubicBezTo>
                      <a:pt x="127714" y="271482"/>
                      <a:pt x="124835" y="271110"/>
                      <a:pt x="121461" y="268877"/>
                    </a:cubicBezTo>
                    <a:cubicBezTo>
                      <a:pt x="31927" y="209970"/>
                      <a:pt x="6916" y="116844"/>
                      <a:pt x="320" y="79543"/>
                    </a:cubicBezTo>
                    <a:cubicBezTo>
                      <a:pt x="95" y="78461"/>
                      <a:pt x="0" y="77615"/>
                      <a:pt x="0" y="76780"/>
                    </a:cubicBezTo>
                    <a:cubicBezTo>
                      <a:pt x="0" y="71173"/>
                      <a:pt x="4146" y="66339"/>
                      <a:pt x="9644" y="65535"/>
                    </a:cubicBezTo>
                    <a:cubicBezTo>
                      <a:pt x="11115" y="65317"/>
                      <a:pt x="28037" y="62330"/>
                      <a:pt x="38955" y="60395"/>
                    </a:cubicBezTo>
                    <a:cubicBezTo>
                      <a:pt x="40202" y="56449"/>
                      <a:pt x="42024" y="49273"/>
                      <a:pt x="42722" y="46528"/>
                    </a:cubicBezTo>
                    <a:cubicBezTo>
                      <a:pt x="43947" y="41704"/>
                      <a:pt x="44018" y="41416"/>
                      <a:pt x="44944" y="40194"/>
                    </a:cubicBezTo>
                    <a:cubicBezTo>
                      <a:pt x="48181" y="35957"/>
                      <a:pt x="129887" y="0"/>
                      <a:pt x="130434" y="0"/>
                    </a:cubicBezTo>
                    <a:cubicBezTo>
                      <a:pt x="131133" y="0"/>
                      <a:pt x="214267" y="36329"/>
                      <a:pt x="216770" y="42870"/>
                    </a:cubicBezTo>
                    <a:cubicBezTo>
                      <a:pt x="216893" y="43179"/>
                      <a:pt x="216988" y="43495"/>
                      <a:pt x="217062" y="43817"/>
                    </a:cubicBezTo>
                    <a:cubicBezTo>
                      <a:pt x="218389" y="49708"/>
                      <a:pt x="220165" y="56667"/>
                      <a:pt x="221320" y="60388"/>
                    </a:cubicBezTo>
                    <a:cubicBezTo>
                      <a:pt x="231115" y="62133"/>
                      <a:pt x="248778" y="65258"/>
                      <a:pt x="250593" y="65531"/>
                    </a:cubicBezTo>
                    <a:cubicBezTo>
                      <a:pt x="256059" y="66244"/>
                      <a:pt x="260293" y="71089"/>
                      <a:pt x="260293" y="76780"/>
                    </a:cubicBezTo>
                    <a:cubicBezTo>
                      <a:pt x="260293" y="77443"/>
                      <a:pt x="260226" y="78226"/>
                      <a:pt x="260111" y="78865"/>
                    </a:cubicBezTo>
                    <a:lnTo>
                      <a:pt x="259956" y="79680"/>
                    </a:lnTo>
                    <a:cubicBezTo>
                      <a:pt x="253352" y="116911"/>
                      <a:pt x="228286" y="210037"/>
                      <a:pt x="138801" y="268894"/>
                    </a:cubicBezTo>
                    <a:cubicBezTo>
                      <a:pt x="136336" y="270541"/>
                      <a:pt x="133633" y="271450"/>
                      <a:pt x="130821" y="271566"/>
                    </a:cubicBezTo>
                    <a:cubicBezTo>
                      <a:pt x="130719" y="271566"/>
                      <a:pt x="130456" y="271573"/>
                      <a:pt x="130361" y="271573"/>
                    </a:cubicBezTo>
                    <a:close/>
                    <a:moveTo>
                      <a:pt x="14243" y="78820"/>
                    </a:moveTo>
                    <a:cubicBezTo>
                      <a:pt x="21159" y="115928"/>
                      <a:pt x="45629" y="202380"/>
                      <a:pt x="129100" y="257298"/>
                    </a:cubicBezTo>
                    <a:cubicBezTo>
                      <a:pt x="129662" y="257670"/>
                      <a:pt x="129806" y="257677"/>
                      <a:pt x="130326" y="257695"/>
                    </a:cubicBezTo>
                    <a:lnTo>
                      <a:pt x="130361" y="264636"/>
                    </a:lnTo>
                    <a:lnTo>
                      <a:pt x="130361" y="257702"/>
                    </a:lnTo>
                    <a:lnTo>
                      <a:pt x="130361" y="264636"/>
                    </a:lnTo>
                    <a:lnTo>
                      <a:pt x="130382" y="257702"/>
                    </a:lnTo>
                    <a:cubicBezTo>
                      <a:pt x="130347" y="257699"/>
                      <a:pt x="130599" y="257688"/>
                      <a:pt x="131133" y="257330"/>
                    </a:cubicBezTo>
                    <a:cubicBezTo>
                      <a:pt x="214882" y="202246"/>
                      <a:pt x="239278" y="115377"/>
                      <a:pt x="246018" y="78820"/>
                    </a:cubicBezTo>
                    <a:cubicBezTo>
                      <a:pt x="239239" y="77650"/>
                      <a:pt x="222089" y="74614"/>
                      <a:pt x="215324" y="73402"/>
                    </a:cubicBezTo>
                    <a:cubicBezTo>
                      <a:pt x="210957" y="72669"/>
                      <a:pt x="209187" y="71345"/>
                      <a:pt x="204202" y="49803"/>
                    </a:cubicBezTo>
                    <a:cubicBezTo>
                      <a:pt x="192810" y="43828"/>
                      <a:pt x="142023" y="19639"/>
                      <a:pt x="130361" y="14412"/>
                    </a:cubicBezTo>
                    <a:cubicBezTo>
                      <a:pt x="118954" y="19369"/>
                      <a:pt x="68203" y="43157"/>
                      <a:pt x="56382" y="49087"/>
                    </a:cubicBezTo>
                    <a:cubicBezTo>
                      <a:pt x="56316" y="49354"/>
                      <a:pt x="56239" y="49635"/>
                      <a:pt x="56165" y="49933"/>
                    </a:cubicBezTo>
                    <a:cubicBezTo>
                      <a:pt x="51545" y="68136"/>
                      <a:pt x="50449" y="72462"/>
                      <a:pt x="44881" y="73424"/>
                    </a:cubicBezTo>
                    <a:cubicBezTo>
                      <a:pt x="36350" y="74944"/>
                      <a:pt x="20531" y="77735"/>
                      <a:pt x="14243" y="78820"/>
                    </a:cubicBezTo>
                    <a:close/>
                    <a:moveTo>
                      <a:pt x="248522" y="79244"/>
                    </a:moveTo>
                    <a:cubicBezTo>
                      <a:pt x="248564" y="79251"/>
                      <a:pt x="248609" y="79258"/>
                      <a:pt x="248658" y="79265"/>
                    </a:cubicBezTo>
                    <a:cubicBezTo>
                      <a:pt x="248616" y="79258"/>
                      <a:pt x="248571" y="79251"/>
                      <a:pt x="248522" y="79244"/>
                    </a:cubicBezTo>
                    <a:close/>
                    <a:moveTo>
                      <a:pt x="11705" y="79251"/>
                    </a:moveTo>
                    <a:cubicBezTo>
                      <a:pt x="11691" y="79255"/>
                      <a:pt x="11684" y="79255"/>
                      <a:pt x="11677" y="79255"/>
                    </a:cubicBezTo>
                    <a:cubicBezTo>
                      <a:pt x="11684" y="79255"/>
                      <a:pt x="11691" y="79255"/>
                      <a:pt x="11705" y="79251"/>
                    </a:cubicBezTo>
                    <a:close/>
                    <a:moveTo>
                      <a:pt x="42494" y="59767"/>
                    </a:moveTo>
                    <a:cubicBezTo>
                      <a:pt x="42473" y="59770"/>
                      <a:pt x="42452" y="59774"/>
                      <a:pt x="42434" y="59777"/>
                    </a:cubicBezTo>
                    <a:cubicBezTo>
                      <a:pt x="42452" y="59770"/>
                      <a:pt x="42473" y="59767"/>
                      <a:pt x="42494" y="59767"/>
                    </a:cubicBezTo>
                    <a:close/>
                    <a:moveTo>
                      <a:pt x="217701" y="59735"/>
                    </a:moveTo>
                    <a:cubicBezTo>
                      <a:pt x="217750" y="59746"/>
                      <a:pt x="217796" y="59756"/>
                      <a:pt x="217848" y="59763"/>
                    </a:cubicBezTo>
                    <a:cubicBezTo>
                      <a:pt x="217803" y="59753"/>
                      <a:pt x="217747" y="59746"/>
                      <a:pt x="217701" y="59735"/>
                    </a:cubicBezTo>
                    <a:close/>
                  </a:path>
                </a:pathLst>
              </a:custGeom>
              <a:grpFill/>
              <a:ln w="351" cap="flat">
                <a:noFill/>
                <a:prstDash val="solid"/>
                <a:miter/>
              </a:ln>
            </p:spPr>
            <p:txBody>
              <a:bodyPr rtlCol="0" anchor="ctr"/>
              <a:lstStyle/>
              <a:p>
                <a:endParaRPr lang="en-GB" dirty="0"/>
              </a:p>
            </p:txBody>
          </p:sp>
        </p:grpSp>
      </p:grpSp>
      <p:sp>
        <p:nvSpPr>
          <p:cNvPr id="576" name="TextBox 1413">
            <a:extLst>
              <a:ext uri="{FF2B5EF4-FFF2-40B4-BE49-F238E27FC236}">
                <a16:creationId xmlns:a16="http://schemas.microsoft.com/office/drawing/2014/main" id="{7EC7331D-7D5F-4064-A6AA-B5AC25CE8987}"/>
              </a:ext>
            </a:extLst>
          </p:cNvPr>
          <p:cNvSpPr txBox="1"/>
          <p:nvPr/>
        </p:nvSpPr>
        <p:spPr>
          <a:xfrm>
            <a:off x="8237053" y="2077494"/>
            <a:ext cx="413575" cy="215444"/>
          </a:xfrm>
          <a:prstGeom prst="rect">
            <a:avLst/>
          </a:prstGeom>
          <a:noFill/>
          <a:effectLst/>
        </p:spPr>
        <p:txBody>
          <a:bodyPr wrap="none" lIns="0" tIns="0" rIns="0" bIns="0" rtlCol="0" anchor="t" anchorCtr="0">
            <a:spAutoFit/>
          </a:bodyPr>
          <a:lstStyle/>
          <a:p>
            <a:pPr algn="ctr"/>
            <a:r>
              <a:rPr lang="en-GB" sz="700" dirty="0">
                <a:solidFill>
                  <a:schemeClr val="tx2"/>
                </a:solidFill>
              </a:rPr>
              <a:t>Product</a:t>
            </a:r>
            <a:br>
              <a:rPr lang="en-GB" sz="700" dirty="0">
                <a:solidFill>
                  <a:schemeClr val="tx2"/>
                </a:solidFill>
              </a:rPr>
            </a:br>
            <a:r>
              <a:rPr lang="en-GB" sz="700" dirty="0">
                <a:solidFill>
                  <a:schemeClr val="tx2"/>
                </a:solidFill>
              </a:rPr>
              <a:t>insurance </a:t>
            </a:r>
          </a:p>
        </p:txBody>
      </p:sp>
      <p:grpSp>
        <p:nvGrpSpPr>
          <p:cNvPr id="577" name="Gruppieren 627">
            <a:extLst>
              <a:ext uri="{FF2B5EF4-FFF2-40B4-BE49-F238E27FC236}">
                <a16:creationId xmlns:a16="http://schemas.microsoft.com/office/drawing/2014/main" id="{8764521E-810D-4454-A698-15B267BD2033}"/>
              </a:ext>
            </a:extLst>
          </p:cNvPr>
          <p:cNvGrpSpPr>
            <a:grpSpLocks noChangeAspect="1"/>
          </p:cNvGrpSpPr>
          <p:nvPr/>
        </p:nvGrpSpPr>
        <p:grpSpPr>
          <a:xfrm>
            <a:off x="4880360" y="2449341"/>
            <a:ext cx="476278" cy="432000"/>
            <a:chOff x="1599347" y="4186749"/>
            <a:chExt cx="634040" cy="575095"/>
          </a:xfrm>
        </p:grpSpPr>
        <p:grpSp>
          <p:nvGrpSpPr>
            <p:cNvPr id="578" name="Gruppieren 626">
              <a:extLst>
                <a:ext uri="{FF2B5EF4-FFF2-40B4-BE49-F238E27FC236}">
                  <a16:creationId xmlns:a16="http://schemas.microsoft.com/office/drawing/2014/main" id="{77868803-C011-41B4-A004-D8278A1219FC}"/>
                </a:ext>
              </a:extLst>
            </p:cNvPr>
            <p:cNvGrpSpPr/>
            <p:nvPr/>
          </p:nvGrpSpPr>
          <p:grpSpPr>
            <a:xfrm>
              <a:off x="1896216" y="4186749"/>
              <a:ext cx="309632" cy="438698"/>
              <a:chOff x="1896216" y="4186749"/>
              <a:chExt cx="309632" cy="438698"/>
            </a:xfrm>
          </p:grpSpPr>
          <p:sp>
            <p:nvSpPr>
              <p:cNvPr id="586" name="Freihandform: Form 168">
                <a:extLst>
                  <a:ext uri="{FF2B5EF4-FFF2-40B4-BE49-F238E27FC236}">
                    <a16:creationId xmlns:a16="http://schemas.microsoft.com/office/drawing/2014/main" id="{71F093E8-B3D8-496A-A827-D22BA0D033F9}"/>
                  </a:ext>
                </a:extLst>
              </p:cNvPr>
              <p:cNvSpPr/>
              <p:nvPr/>
            </p:nvSpPr>
            <p:spPr>
              <a:xfrm>
                <a:off x="1940655" y="4186749"/>
                <a:ext cx="88754" cy="96065"/>
              </a:xfrm>
              <a:custGeom>
                <a:avLst/>
                <a:gdLst>
                  <a:gd name="connsiteX0" fmla="*/ 46628 w 88754"/>
                  <a:gd name="connsiteY0" fmla="*/ 96066 h 96065"/>
                  <a:gd name="connsiteX1" fmla="*/ 4632 w 88754"/>
                  <a:gd name="connsiteY1" fmla="*/ 64138 h 96065"/>
                  <a:gd name="connsiteX2" fmla="*/ 4632 w 88754"/>
                  <a:gd name="connsiteY2" fmla="*/ 64138 h 96065"/>
                  <a:gd name="connsiteX3" fmla="*/ 3303 w 88754"/>
                  <a:gd name="connsiteY3" fmla="*/ 24917 h 96065"/>
                  <a:gd name="connsiteX4" fmla="*/ 26022 w 88754"/>
                  <a:gd name="connsiteY4" fmla="*/ 3231 h 96065"/>
                  <a:gd name="connsiteX5" fmla="*/ 84123 w 88754"/>
                  <a:gd name="connsiteY5" fmla="*/ 31921 h 96065"/>
                  <a:gd name="connsiteX6" fmla="*/ 85451 w 88754"/>
                  <a:gd name="connsiteY6" fmla="*/ 71134 h 96065"/>
                  <a:gd name="connsiteX7" fmla="*/ 62732 w 88754"/>
                  <a:gd name="connsiteY7" fmla="*/ 92831 h 96065"/>
                  <a:gd name="connsiteX8" fmla="*/ 46628 w 88754"/>
                  <a:gd name="connsiteY8" fmla="*/ 96066 h 96065"/>
                  <a:gd name="connsiteX9" fmla="*/ 17238 w 88754"/>
                  <a:gd name="connsiteY9" fmla="*/ 58958 h 96065"/>
                  <a:gd name="connsiteX10" fmla="*/ 57622 w 88754"/>
                  <a:gd name="connsiteY10" fmla="*/ 80196 h 96065"/>
                  <a:gd name="connsiteX11" fmla="*/ 72880 w 88754"/>
                  <a:gd name="connsiteY11" fmla="*/ 65851 h 96065"/>
                  <a:gd name="connsiteX12" fmla="*/ 71507 w 88754"/>
                  <a:gd name="connsiteY12" fmla="*/ 37105 h 96065"/>
                  <a:gd name="connsiteX13" fmla="*/ 31124 w 88754"/>
                  <a:gd name="connsiteY13" fmla="*/ 15872 h 96065"/>
                  <a:gd name="connsiteX14" fmla="*/ 15865 w 88754"/>
                  <a:gd name="connsiteY14" fmla="*/ 30212 h 96065"/>
                  <a:gd name="connsiteX15" fmla="*/ 17238 w 88754"/>
                  <a:gd name="connsiteY15" fmla="*/ 58958 h 96065"/>
                  <a:gd name="connsiteX16" fmla="*/ 17238 w 88754"/>
                  <a:gd name="connsiteY16" fmla="*/ 58958 h 96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8754" h="96065">
                    <a:moveTo>
                      <a:pt x="46628" y="96066"/>
                    </a:moveTo>
                    <a:cubicBezTo>
                      <a:pt x="29010" y="96066"/>
                      <a:pt x="12953" y="84405"/>
                      <a:pt x="4632" y="64138"/>
                    </a:cubicBezTo>
                    <a:lnTo>
                      <a:pt x="4632" y="64138"/>
                    </a:lnTo>
                    <a:cubicBezTo>
                      <a:pt x="-1047" y="50305"/>
                      <a:pt x="-1521" y="36379"/>
                      <a:pt x="3303" y="24917"/>
                    </a:cubicBezTo>
                    <a:cubicBezTo>
                      <a:pt x="7456" y="15053"/>
                      <a:pt x="15312" y="7554"/>
                      <a:pt x="26022" y="3231"/>
                    </a:cubicBezTo>
                    <a:cubicBezTo>
                      <a:pt x="49423" y="-6220"/>
                      <a:pt x="73310" y="5575"/>
                      <a:pt x="84123" y="31921"/>
                    </a:cubicBezTo>
                    <a:cubicBezTo>
                      <a:pt x="89801" y="45754"/>
                      <a:pt x="90275" y="59681"/>
                      <a:pt x="85451" y="71134"/>
                    </a:cubicBezTo>
                    <a:cubicBezTo>
                      <a:pt x="81301" y="81004"/>
                      <a:pt x="73445" y="88502"/>
                      <a:pt x="62732" y="92831"/>
                    </a:cubicBezTo>
                    <a:cubicBezTo>
                      <a:pt x="57332" y="95021"/>
                      <a:pt x="51911" y="96066"/>
                      <a:pt x="46628" y="96066"/>
                    </a:cubicBezTo>
                    <a:close/>
                    <a:moveTo>
                      <a:pt x="17238" y="58958"/>
                    </a:moveTo>
                    <a:cubicBezTo>
                      <a:pt x="23344" y="73809"/>
                      <a:pt x="37572" y="88274"/>
                      <a:pt x="57622" y="80196"/>
                    </a:cubicBezTo>
                    <a:cubicBezTo>
                      <a:pt x="64995" y="77213"/>
                      <a:pt x="70132" y="72384"/>
                      <a:pt x="72880" y="65851"/>
                    </a:cubicBezTo>
                    <a:cubicBezTo>
                      <a:pt x="76287" y="57766"/>
                      <a:pt x="75795" y="47557"/>
                      <a:pt x="71507" y="37105"/>
                    </a:cubicBezTo>
                    <a:cubicBezTo>
                      <a:pt x="65407" y="22247"/>
                      <a:pt x="51182" y="7774"/>
                      <a:pt x="31124" y="15872"/>
                    </a:cubicBezTo>
                    <a:cubicBezTo>
                      <a:pt x="23751" y="18855"/>
                      <a:pt x="18617" y="23679"/>
                      <a:pt x="15865" y="30212"/>
                    </a:cubicBezTo>
                    <a:cubicBezTo>
                      <a:pt x="12461" y="38299"/>
                      <a:pt x="12950" y="48508"/>
                      <a:pt x="17238" y="58958"/>
                    </a:cubicBezTo>
                    <a:lnTo>
                      <a:pt x="17238" y="58958"/>
                    </a:lnTo>
                    <a:close/>
                  </a:path>
                </a:pathLst>
              </a:custGeom>
              <a:solidFill>
                <a:schemeClr val="accent1"/>
              </a:solidFill>
              <a:ln w="292" cap="flat">
                <a:noFill/>
                <a:prstDash val="solid"/>
                <a:miter/>
              </a:ln>
            </p:spPr>
            <p:txBody>
              <a:bodyPr rtlCol="0" anchor="ctr"/>
              <a:lstStyle/>
              <a:p>
                <a:endParaRPr lang="en-GB" dirty="0"/>
              </a:p>
            </p:txBody>
          </p:sp>
          <p:grpSp>
            <p:nvGrpSpPr>
              <p:cNvPr id="587" name="Graphic 9">
                <a:extLst>
                  <a:ext uri="{FF2B5EF4-FFF2-40B4-BE49-F238E27FC236}">
                    <a16:creationId xmlns:a16="http://schemas.microsoft.com/office/drawing/2014/main" id="{362FD79D-4B64-48F2-8FC8-3F99B8EC7305}"/>
                  </a:ext>
                </a:extLst>
              </p:cNvPr>
              <p:cNvGrpSpPr/>
              <p:nvPr/>
            </p:nvGrpSpPr>
            <p:grpSpPr>
              <a:xfrm>
                <a:off x="1896216" y="4280855"/>
                <a:ext cx="309632" cy="344592"/>
                <a:chOff x="1896216" y="4280855"/>
                <a:chExt cx="309632" cy="344592"/>
              </a:xfrm>
              <a:solidFill>
                <a:schemeClr val="accent1"/>
              </a:solidFill>
            </p:grpSpPr>
            <p:sp>
              <p:nvSpPr>
                <p:cNvPr id="588" name="Freihandform: Form 172">
                  <a:extLst>
                    <a:ext uri="{FF2B5EF4-FFF2-40B4-BE49-F238E27FC236}">
                      <a16:creationId xmlns:a16="http://schemas.microsoft.com/office/drawing/2014/main" id="{4587D1F1-55B8-4704-88FE-74B0EB30AA05}"/>
                    </a:ext>
                  </a:extLst>
                </p:cNvPr>
                <p:cNvSpPr/>
                <p:nvPr/>
              </p:nvSpPr>
              <p:spPr>
                <a:xfrm>
                  <a:off x="1970922" y="4380273"/>
                  <a:ext cx="77267" cy="242334"/>
                </a:xfrm>
                <a:custGeom>
                  <a:avLst/>
                  <a:gdLst>
                    <a:gd name="connsiteX0" fmla="*/ 6825 w 77267"/>
                    <a:gd name="connsiteY0" fmla="*/ 242335 h 242334"/>
                    <a:gd name="connsiteX1" fmla="*/ 6146 w 77267"/>
                    <a:gd name="connsiteY1" fmla="*/ 242306 h 242334"/>
                    <a:gd name="connsiteX2" fmla="*/ 34 w 77267"/>
                    <a:gd name="connsiteY2" fmla="*/ 234842 h 242334"/>
                    <a:gd name="connsiteX3" fmla="*/ 7475 w 77267"/>
                    <a:gd name="connsiteY3" fmla="*/ 159812 h 242334"/>
                    <a:gd name="connsiteX4" fmla="*/ 18972 w 77267"/>
                    <a:gd name="connsiteY4" fmla="*/ 135290 h 242334"/>
                    <a:gd name="connsiteX5" fmla="*/ 62859 w 77267"/>
                    <a:gd name="connsiteY5" fmla="*/ 84954 h 242334"/>
                    <a:gd name="connsiteX6" fmla="*/ 40579 w 77267"/>
                    <a:gd name="connsiteY6" fmla="*/ 8730 h 242334"/>
                    <a:gd name="connsiteX7" fmla="*/ 45209 w 77267"/>
                    <a:gd name="connsiteY7" fmla="*/ 271 h 242334"/>
                    <a:gd name="connsiteX8" fmla="*/ 53668 w 77267"/>
                    <a:gd name="connsiteY8" fmla="*/ 4907 h 242334"/>
                    <a:gd name="connsiteX9" fmla="*/ 76993 w 77267"/>
                    <a:gd name="connsiteY9" fmla="*/ 84714 h 242334"/>
                    <a:gd name="connsiteX10" fmla="*/ 75586 w 77267"/>
                    <a:gd name="connsiteY10" fmla="*/ 91107 h 242334"/>
                    <a:gd name="connsiteX11" fmla="*/ 28929 w 77267"/>
                    <a:gd name="connsiteY11" fmla="*/ 144594 h 242334"/>
                    <a:gd name="connsiteX12" fmla="*/ 21047 w 77267"/>
                    <a:gd name="connsiteY12" fmla="*/ 161106 h 242334"/>
                    <a:gd name="connsiteX13" fmla="*/ 13601 w 77267"/>
                    <a:gd name="connsiteY13" fmla="*/ 236188 h 242334"/>
                    <a:gd name="connsiteX14" fmla="*/ 6825 w 77267"/>
                    <a:gd name="connsiteY14" fmla="*/ 242335 h 242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267" h="242334">
                      <a:moveTo>
                        <a:pt x="6825" y="242335"/>
                      </a:moveTo>
                      <a:cubicBezTo>
                        <a:pt x="6602" y="242335"/>
                        <a:pt x="6374" y="242335"/>
                        <a:pt x="6146" y="242306"/>
                      </a:cubicBezTo>
                      <a:cubicBezTo>
                        <a:pt x="2396" y="241925"/>
                        <a:pt x="-340" y="238588"/>
                        <a:pt x="34" y="234842"/>
                      </a:cubicBezTo>
                      <a:lnTo>
                        <a:pt x="7475" y="159812"/>
                      </a:lnTo>
                      <a:cubicBezTo>
                        <a:pt x="8309" y="150600"/>
                        <a:pt x="12395" y="141875"/>
                        <a:pt x="18972" y="135290"/>
                      </a:cubicBezTo>
                      <a:lnTo>
                        <a:pt x="62859" y="84954"/>
                      </a:lnTo>
                      <a:lnTo>
                        <a:pt x="40579" y="8730"/>
                      </a:lnTo>
                      <a:cubicBezTo>
                        <a:pt x="39522" y="5121"/>
                        <a:pt x="41597" y="1331"/>
                        <a:pt x="45209" y="271"/>
                      </a:cubicBezTo>
                      <a:cubicBezTo>
                        <a:pt x="48842" y="-774"/>
                        <a:pt x="52609" y="1295"/>
                        <a:pt x="53668" y="4907"/>
                      </a:cubicBezTo>
                      <a:lnTo>
                        <a:pt x="76993" y="84714"/>
                      </a:lnTo>
                      <a:cubicBezTo>
                        <a:pt x="77646" y="86945"/>
                        <a:pt x="77113" y="89357"/>
                        <a:pt x="75586" y="91107"/>
                      </a:cubicBezTo>
                      <a:lnTo>
                        <a:pt x="28929" y="144594"/>
                      </a:lnTo>
                      <a:cubicBezTo>
                        <a:pt x="24284" y="149263"/>
                        <a:pt x="21600" y="155011"/>
                        <a:pt x="21047" y="161106"/>
                      </a:cubicBezTo>
                      <a:lnTo>
                        <a:pt x="13601" y="236188"/>
                      </a:lnTo>
                      <a:cubicBezTo>
                        <a:pt x="13253" y="239701"/>
                        <a:pt x="10288" y="242335"/>
                        <a:pt x="6825" y="242335"/>
                      </a:cubicBezTo>
                      <a:close/>
                    </a:path>
                  </a:pathLst>
                </a:custGeom>
                <a:solidFill>
                  <a:schemeClr val="accent1"/>
                </a:solidFill>
                <a:ln w="292" cap="flat">
                  <a:noFill/>
                  <a:prstDash val="solid"/>
                  <a:miter/>
                </a:ln>
              </p:spPr>
              <p:txBody>
                <a:bodyPr rtlCol="0" anchor="ctr"/>
                <a:lstStyle/>
                <a:p>
                  <a:endParaRPr lang="en-GB" dirty="0"/>
                </a:p>
              </p:txBody>
            </p:sp>
            <p:sp>
              <p:nvSpPr>
                <p:cNvPr id="589" name="Freihandform: Form 173">
                  <a:extLst>
                    <a:ext uri="{FF2B5EF4-FFF2-40B4-BE49-F238E27FC236}">
                      <a16:creationId xmlns:a16="http://schemas.microsoft.com/office/drawing/2014/main" id="{5A5033CF-1D0C-4B3D-ABCF-2615C8CDBD5E}"/>
                    </a:ext>
                  </a:extLst>
                </p:cNvPr>
                <p:cNvSpPr/>
                <p:nvPr/>
              </p:nvSpPr>
              <p:spPr>
                <a:xfrm>
                  <a:off x="1896216" y="4280855"/>
                  <a:ext cx="250644" cy="342923"/>
                </a:xfrm>
                <a:custGeom>
                  <a:avLst/>
                  <a:gdLst>
                    <a:gd name="connsiteX0" fmla="*/ 125328 w 250644"/>
                    <a:gd name="connsiteY0" fmla="*/ 342924 h 342923"/>
                    <a:gd name="connsiteX1" fmla="*/ 124283 w 250644"/>
                    <a:gd name="connsiteY1" fmla="*/ 342836 h 342923"/>
                    <a:gd name="connsiteX2" fmla="*/ 118581 w 250644"/>
                    <a:gd name="connsiteY2" fmla="*/ 335051 h 342923"/>
                    <a:gd name="connsiteX3" fmla="*/ 129329 w 250644"/>
                    <a:gd name="connsiteY3" fmla="*/ 265137 h 342923"/>
                    <a:gd name="connsiteX4" fmla="*/ 132083 w 250644"/>
                    <a:gd name="connsiteY4" fmla="*/ 260641 h 342923"/>
                    <a:gd name="connsiteX5" fmla="*/ 221269 w 250644"/>
                    <a:gd name="connsiteY5" fmla="*/ 196417 h 342923"/>
                    <a:gd name="connsiteX6" fmla="*/ 232663 w 250644"/>
                    <a:gd name="connsiteY6" fmla="*/ 144463 h 342923"/>
                    <a:gd name="connsiteX7" fmla="*/ 173562 w 250644"/>
                    <a:gd name="connsiteY7" fmla="*/ 30285 h 342923"/>
                    <a:gd name="connsiteX8" fmla="*/ 134785 w 250644"/>
                    <a:gd name="connsiteY8" fmla="*/ 15925 h 342923"/>
                    <a:gd name="connsiteX9" fmla="*/ 106756 w 250644"/>
                    <a:gd name="connsiteY9" fmla="*/ 27267 h 342923"/>
                    <a:gd name="connsiteX10" fmla="*/ 88530 w 250644"/>
                    <a:gd name="connsiteY10" fmla="*/ 48098 h 342923"/>
                    <a:gd name="connsiteX11" fmla="*/ 76886 w 250644"/>
                    <a:gd name="connsiteY11" fmla="*/ 117268 h 342923"/>
                    <a:gd name="connsiteX12" fmla="*/ 73880 w 250644"/>
                    <a:gd name="connsiteY12" fmla="*/ 121858 h 342923"/>
                    <a:gd name="connsiteX13" fmla="*/ 10535 w 250644"/>
                    <a:gd name="connsiteY13" fmla="*/ 163049 h 342923"/>
                    <a:gd name="connsiteX14" fmla="*/ 1104 w 250644"/>
                    <a:gd name="connsiteY14" fmla="*/ 161050 h 342923"/>
                    <a:gd name="connsiteX15" fmla="*/ 3106 w 250644"/>
                    <a:gd name="connsiteY15" fmla="*/ 151614 h 342923"/>
                    <a:gd name="connsiteX16" fmla="*/ 63943 w 250644"/>
                    <a:gd name="connsiteY16" fmla="*/ 112047 h 342923"/>
                    <a:gd name="connsiteX17" fmla="*/ 75209 w 250644"/>
                    <a:gd name="connsiteY17" fmla="*/ 45268 h 342923"/>
                    <a:gd name="connsiteX18" fmla="*/ 101652 w 250644"/>
                    <a:gd name="connsiteY18" fmla="*/ 14625 h 342923"/>
                    <a:gd name="connsiteX19" fmla="*/ 129677 w 250644"/>
                    <a:gd name="connsiteY19" fmla="*/ 3283 h 342923"/>
                    <a:gd name="connsiteX20" fmla="*/ 185676 w 250644"/>
                    <a:gd name="connsiteY20" fmla="*/ 24009 h 342923"/>
                    <a:gd name="connsiteX21" fmla="*/ 244962 w 250644"/>
                    <a:gd name="connsiteY21" fmla="*/ 138574 h 342923"/>
                    <a:gd name="connsiteX22" fmla="*/ 228767 w 250644"/>
                    <a:gd name="connsiteY22" fmla="*/ 207797 h 342923"/>
                    <a:gd name="connsiteX23" fmla="*/ 142378 w 250644"/>
                    <a:gd name="connsiteY23" fmla="*/ 270033 h 342923"/>
                    <a:gd name="connsiteX24" fmla="*/ 132060 w 250644"/>
                    <a:gd name="connsiteY24" fmla="*/ 337129 h 342923"/>
                    <a:gd name="connsiteX25" fmla="*/ 125328 w 250644"/>
                    <a:gd name="connsiteY25" fmla="*/ 342924 h 34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0644" h="342923">
                      <a:moveTo>
                        <a:pt x="125328" y="342924"/>
                      </a:moveTo>
                      <a:cubicBezTo>
                        <a:pt x="124983" y="342924"/>
                        <a:pt x="124631" y="342895"/>
                        <a:pt x="124283" y="342836"/>
                      </a:cubicBezTo>
                      <a:cubicBezTo>
                        <a:pt x="120560" y="342251"/>
                        <a:pt x="118008" y="338797"/>
                        <a:pt x="118581" y="335051"/>
                      </a:cubicBezTo>
                      <a:lnTo>
                        <a:pt x="129329" y="265137"/>
                      </a:lnTo>
                      <a:cubicBezTo>
                        <a:pt x="129604" y="263331"/>
                        <a:pt x="130600" y="261706"/>
                        <a:pt x="132083" y="260641"/>
                      </a:cubicBezTo>
                      <a:lnTo>
                        <a:pt x="221269" y="196417"/>
                      </a:lnTo>
                      <a:cubicBezTo>
                        <a:pt x="238424" y="186094"/>
                        <a:pt x="240393" y="161984"/>
                        <a:pt x="232663" y="144463"/>
                      </a:cubicBezTo>
                      <a:lnTo>
                        <a:pt x="173562" y="30285"/>
                      </a:lnTo>
                      <a:cubicBezTo>
                        <a:pt x="166232" y="16112"/>
                        <a:pt x="149543" y="9951"/>
                        <a:pt x="134785" y="15925"/>
                      </a:cubicBezTo>
                      <a:lnTo>
                        <a:pt x="106756" y="27267"/>
                      </a:lnTo>
                      <a:cubicBezTo>
                        <a:pt x="97759" y="30902"/>
                        <a:pt x="90948" y="38688"/>
                        <a:pt x="88530" y="48098"/>
                      </a:cubicBezTo>
                      <a:lnTo>
                        <a:pt x="76886" y="117268"/>
                      </a:lnTo>
                      <a:cubicBezTo>
                        <a:pt x="76570" y="119154"/>
                        <a:pt x="75482" y="120810"/>
                        <a:pt x="73880" y="121858"/>
                      </a:cubicBezTo>
                      <a:lnTo>
                        <a:pt x="10535" y="163049"/>
                      </a:lnTo>
                      <a:cubicBezTo>
                        <a:pt x="7388" y="165122"/>
                        <a:pt x="3156" y="164214"/>
                        <a:pt x="1104" y="161050"/>
                      </a:cubicBezTo>
                      <a:cubicBezTo>
                        <a:pt x="-951" y="157892"/>
                        <a:pt x="-55" y="153671"/>
                        <a:pt x="3106" y="151614"/>
                      </a:cubicBezTo>
                      <a:lnTo>
                        <a:pt x="63943" y="112047"/>
                      </a:lnTo>
                      <a:lnTo>
                        <a:pt x="75209" y="45268"/>
                      </a:lnTo>
                      <a:cubicBezTo>
                        <a:pt x="78818" y="31116"/>
                        <a:pt x="88659" y="19873"/>
                        <a:pt x="101652" y="14625"/>
                      </a:cubicBezTo>
                      <a:lnTo>
                        <a:pt x="129677" y="3283"/>
                      </a:lnTo>
                      <a:cubicBezTo>
                        <a:pt x="151024" y="-5354"/>
                        <a:pt x="175090" y="3564"/>
                        <a:pt x="185676" y="24009"/>
                      </a:cubicBezTo>
                      <a:lnTo>
                        <a:pt x="244962" y="138574"/>
                      </a:lnTo>
                      <a:cubicBezTo>
                        <a:pt x="255122" y="161577"/>
                        <a:pt x="252772" y="193385"/>
                        <a:pt x="228767" y="207797"/>
                      </a:cubicBezTo>
                      <a:lnTo>
                        <a:pt x="142378" y="270033"/>
                      </a:lnTo>
                      <a:lnTo>
                        <a:pt x="132060" y="337129"/>
                      </a:lnTo>
                      <a:cubicBezTo>
                        <a:pt x="131539" y="340495"/>
                        <a:pt x="128633" y="342924"/>
                        <a:pt x="125328" y="342924"/>
                      </a:cubicBezTo>
                      <a:close/>
                    </a:path>
                  </a:pathLst>
                </a:custGeom>
                <a:solidFill>
                  <a:schemeClr val="accent1"/>
                </a:solidFill>
                <a:ln w="292" cap="flat">
                  <a:noFill/>
                  <a:prstDash val="solid"/>
                  <a:miter/>
                </a:ln>
              </p:spPr>
              <p:txBody>
                <a:bodyPr rtlCol="0" anchor="ctr"/>
                <a:lstStyle/>
                <a:p>
                  <a:endParaRPr lang="en-GB" dirty="0"/>
                </a:p>
              </p:txBody>
            </p:sp>
            <p:sp>
              <p:nvSpPr>
                <p:cNvPr id="590" name="Freihandform: Form 174">
                  <a:extLst>
                    <a:ext uri="{FF2B5EF4-FFF2-40B4-BE49-F238E27FC236}">
                      <a16:creationId xmlns:a16="http://schemas.microsoft.com/office/drawing/2014/main" id="{E461D4C8-289A-4CC8-868F-270CA0DC8E98}"/>
                    </a:ext>
                  </a:extLst>
                </p:cNvPr>
                <p:cNvSpPr/>
                <p:nvPr/>
              </p:nvSpPr>
              <p:spPr>
                <a:xfrm>
                  <a:off x="1903599" y="4367440"/>
                  <a:ext cx="127550" cy="102868"/>
                </a:xfrm>
                <a:custGeom>
                  <a:avLst/>
                  <a:gdLst>
                    <a:gd name="connsiteX0" fmla="*/ 6822 w 127550"/>
                    <a:gd name="connsiteY0" fmla="*/ 102869 h 102868"/>
                    <a:gd name="connsiteX1" fmla="*/ 538 w 127550"/>
                    <a:gd name="connsiteY1" fmla="*/ 98701 h 102868"/>
                    <a:gd name="connsiteX2" fmla="*/ 4170 w 127550"/>
                    <a:gd name="connsiteY2" fmla="*/ 89762 h 102868"/>
                    <a:gd name="connsiteX3" fmla="*/ 77216 w 127550"/>
                    <a:gd name="connsiteY3" fmla="*/ 58946 h 102868"/>
                    <a:gd name="connsiteX4" fmla="*/ 115085 w 127550"/>
                    <a:gd name="connsiteY4" fmla="*/ 2997 h 102868"/>
                    <a:gd name="connsiteX5" fmla="*/ 124554 w 127550"/>
                    <a:gd name="connsiteY5" fmla="*/ 1174 h 102868"/>
                    <a:gd name="connsiteX6" fmla="*/ 126377 w 127550"/>
                    <a:gd name="connsiteY6" fmla="*/ 10645 h 102868"/>
                    <a:gd name="connsiteX7" fmla="*/ 87372 w 127550"/>
                    <a:gd name="connsiteY7" fmla="*/ 68275 h 102868"/>
                    <a:gd name="connsiteX8" fmla="*/ 84375 w 127550"/>
                    <a:gd name="connsiteY8" fmla="*/ 70739 h 102868"/>
                    <a:gd name="connsiteX9" fmla="*/ 9468 w 127550"/>
                    <a:gd name="connsiteY9" fmla="*/ 102342 h 102868"/>
                    <a:gd name="connsiteX10" fmla="*/ 6822 w 127550"/>
                    <a:gd name="connsiteY10" fmla="*/ 102869 h 10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550" h="102868">
                      <a:moveTo>
                        <a:pt x="6822" y="102869"/>
                      </a:moveTo>
                      <a:cubicBezTo>
                        <a:pt x="4161" y="102869"/>
                        <a:pt x="1635" y="101303"/>
                        <a:pt x="538" y="98701"/>
                      </a:cubicBezTo>
                      <a:cubicBezTo>
                        <a:pt x="-926" y="95232"/>
                        <a:pt x="702" y="91228"/>
                        <a:pt x="4170" y="89762"/>
                      </a:cubicBezTo>
                      <a:lnTo>
                        <a:pt x="77216" y="58946"/>
                      </a:lnTo>
                      <a:lnTo>
                        <a:pt x="115085" y="2997"/>
                      </a:lnTo>
                      <a:cubicBezTo>
                        <a:pt x="117195" y="-120"/>
                        <a:pt x="121431" y="-940"/>
                        <a:pt x="124554" y="1174"/>
                      </a:cubicBezTo>
                      <a:cubicBezTo>
                        <a:pt x="127674" y="3284"/>
                        <a:pt x="128488" y="7528"/>
                        <a:pt x="126377" y="10645"/>
                      </a:cubicBezTo>
                      <a:lnTo>
                        <a:pt x="87372" y="68275"/>
                      </a:lnTo>
                      <a:cubicBezTo>
                        <a:pt x="86635" y="69366"/>
                        <a:pt x="85593" y="70227"/>
                        <a:pt x="84375" y="70739"/>
                      </a:cubicBezTo>
                      <a:lnTo>
                        <a:pt x="9468" y="102342"/>
                      </a:lnTo>
                      <a:cubicBezTo>
                        <a:pt x="8601" y="102696"/>
                        <a:pt x="7703" y="102869"/>
                        <a:pt x="6822" y="102869"/>
                      </a:cubicBezTo>
                      <a:close/>
                    </a:path>
                  </a:pathLst>
                </a:custGeom>
                <a:solidFill>
                  <a:schemeClr val="accent1"/>
                </a:solidFill>
                <a:ln w="292" cap="flat">
                  <a:noFill/>
                  <a:prstDash val="solid"/>
                  <a:miter/>
                </a:ln>
              </p:spPr>
              <p:txBody>
                <a:bodyPr rtlCol="0" anchor="ctr"/>
                <a:lstStyle/>
                <a:p>
                  <a:endParaRPr lang="en-GB" dirty="0"/>
                </a:p>
              </p:txBody>
            </p:sp>
            <p:sp>
              <p:nvSpPr>
                <p:cNvPr id="591" name="Freihandform: Form 175">
                  <a:extLst>
                    <a:ext uri="{FF2B5EF4-FFF2-40B4-BE49-F238E27FC236}">
                      <a16:creationId xmlns:a16="http://schemas.microsoft.com/office/drawing/2014/main" id="{2FFBA2E2-BE3F-4BEC-B882-4276D894C2AB}"/>
                    </a:ext>
                  </a:extLst>
                </p:cNvPr>
                <p:cNvSpPr/>
                <p:nvPr/>
              </p:nvSpPr>
              <p:spPr>
                <a:xfrm>
                  <a:off x="2133963" y="4440168"/>
                  <a:ext cx="71885" cy="182469"/>
                </a:xfrm>
                <a:custGeom>
                  <a:avLst/>
                  <a:gdLst>
                    <a:gd name="connsiteX0" fmla="*/ 65076 w 71885"/>
                    <a:gd name="connsiteY0" fmla="*/ 182470 h 182469"/>
                    <a:gd name="connsiteX1" fmla="*/ 59157 w 71885"/>
                    <a:gd name="connsiteY1" fmla="*/ 179045 h 182469"/>
                    <a:gd name="connsiteX2" fmla="*/ 16429 w 71885"/>
                    <a:gd name="connsiteY2" fmla="*/ 104609 h 182469"/>
                    <a:gd name="connsiteX3" fmla="*/ 15613 w 71885"/>
                    <a:gd name="connsiteY3" fmla="*/ 102317 h 182469"/>
                    <a:gd name="connsiteX4" fmla="*/ 91 w 71885"/>
                    <a:gd name="connsiteY4" fmla="*/ 7940 h 182469"/>
                    <a:gd name="connsiteX5" fmla="*/ 5714 w 71885"/>
                    <a:gd name="connsiteY5" fmla="*/ 107 h 182469"/>
                    <a:gd name="connsiteX6" fmla="*/ 13546 w 71885"/>
                    <a:gd name="connsiteY6" fmla="*/ 5727 h 182469"/>
                    <a:gd name="connsiteX7" fmla="*/ 28869 w 71885"/>
                    <a:gd name="connsiteY7" fmla="*/ 98887 h 182469"/>
                    <a:gd name="connsiteX8" fmla="*/ 70979 w 71885"/>
                    <a:gd name="connsiteY8" fmla="*/ 172254 h 182469"/>
                    <a:gd name="connsiteX9" fmla="*/ 68462 w 71885"/>
                    <a:gd name="connsiteY9" fmla="*/ 181562 h 182469"/>
                    <a:gd name="connsiteX10" fmla="*/ 65076 w 71885"/>
                    <a:gd name="connsiteY10" fmla="*/ 182470 h 182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885" h="182469">
                      <a:moveTo>
                        <a:pt x="65076" y="182470"/>
                      </a:moveTo>
                      <a:cubicBezTo>
                        <a:pt x="62711" y="182470"/>
                        <a:pt x="60419" y="181240"/>
                        <a:pt x="59157" y="179045"/>
                      </a:cubicBezTo>
                      <a:lnTo>
                        <a:pt x="16429" y="104609"/>
                      </a:lnTo>
                      <a:cubicBezTo>
                        <a:pt x="16022" y="103904"/>
                        <a:pt x="15747" y="103125"/>
                        <a:pt x="15613" y="102317"/>
                      </a:cubicBezTo>
                      <a:lnTo>
                        <a:pt x="91" y="7940"/>
                      </a:lnTo>
                      <a:cubicBezTo>
                        <a:pt x="-518" y="4222"/>
                        <a:pt x="1996" y="713"/>
                        <a:pt x="5714" y="107"/>
                      </a:cubicBezTo>
                      <a:cubicBezTo>
                        <a:pt x="9396" y="-566"/>
                        <a:pt x="12934" y="2012"/>
                        <a:pt x="13546" y="5727"/>
                      </a:cubicBezTo>
                      <a:lnTo>
                        <a:pt x="28869" y="98887"/>
                      </a:lnTo>
                      <a:lnTo>
                        <a:pt x="70979" y="172254"/>
                      </a:lnTo>
                      <a:cubicBezTo>
                        <a:pt x="72853" y="175503"/>
                        <a:pt x="71729" y="179689"/>
                        <a:pt x="68462" y="181562"/>
                      </a:cubicBezTo>
                      <a:cubicBezTo>
                        <a:pt x="67391" y="182177"/>
                        <a:pt x="66226" y="182470"/>
                        <a:pt x="65076" y="182470"/>
                      </a:cubicBezTo>
                      <a:close/>
                    </a:path>
                  </a:pathLst>
                </a:custGeom>
                <a:solidFill>
                  <a:schemeClr val="accent1"/>
                </a:solidFill>
                <a:ln w="292" cap="flat">
                  <a:noFill/>
                  <a:prstDash val="solid"/>
                  <a:miter/>
                </a:ln>
              </p:spPr>
              <p:txBody>
                <a:bodyPr rtlCol="0" anchor="ctr"/>
                <a:lstStyle/>
                <a:p>
                  <a:endParaRPr lang="en-GB" dirty="0"/>
                </a:p>
              </p:txBody>
            </p:sp>
            <p:sp>
              <p:nvSpPr>
                <p:cNvPr id="592" name="Freihandform: Form 176">
                  <a:extLst>
                    <a:ext uri="{FF2B5EF4-FFF2-40B4-BE49-F238E27FC236}">
                      <a16:creationId xmlns:a16="http://schemas.microsoft.com/office/drawing/2014/main" id="{84A34E22-6A59-47FC-ABDD-FCD462F6EDDD}"/>
                    </a:ext>
                  </a:extLst>
                </p:cNvPr>
                <p:cNvSpPr/>
                <p:nvPr/>
              </p:nvSpPr>
              <p:spPr>
                <a:xfrm>
                  <a:off x="2092492" y="4494175"/>
                  <a:ext cx="72167" cy="131272"/>
                </a:xfrm>
                <a:custGeom>
                  <a:avLst/>
                  <a:gdLst>
                    <a:gd name="connsiteX0" fmla="*/ 65358 w 72167"/>
                    <a:gd name="connsiteY0" fmla="*/ 131273 h 131272"/>
                    <a:gd name="connsiteX1" fmla="*/ 59802 w 72167"/>
                    <a:gd name="connsiteY1" fmla="*/ 128433 h 131272"/>
                    <a:gd name="connsiteX2" fmla="*/ 14349 w 72167"/>
                    <a:gd name="connsiteY2" fmla="*/ 64772 h 131272"/>
                    <a:gd name="connsiteX3" fmla="*/ 13275 w 72167"/>
                    <a:gd name="connsiteY3" fmla="*/ 62430 h 131272"/>
                    <a:gd name="connsiteX4" fmla="*/ 194 w 72167"/>
                    <a:gd name="connsiteY4" fmla="*/ 8430 h 131272"/>
                    <a:gd name="connsiteX5" fmla="*/ 5214 w 72167"/>
                    <a:gd name="connsiteY5" fmla="*/ 200 h 131272"/>
                    <a:gd name="connsiteX6" fmla="*/ 13442 w 72167"/>
                    <a:gd name="connsiteY6" fmla="*/ 5222 h 131272"/>
                    <a:gd name="connsiteX7" fmla="*/ 26212 w 72167"/>
                    <a:gd name="connsiteY7" fmla="*/ 57923 h 131272"/>
                    <a:gd name="connsiteX8" fmla="*/ 70899 w 72167"/>
                    <a:gd name="connsiteY8" fmla="*/ 120501 h 131272"/>
                    <a:gd name="connsiteX9" fmla="*/ 69312 w 72167"/>
                    <a:gd name="connsiteY9" fmla="*/ 130014 h 131272"/>
                    <a:gd name="connsiteX10" fmla="*/ 65358 w 72167"/>
                    <a:gd name="connsiteY10" fmla="*/ 131273 h 13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167" h="131272">
                      <a:moveTo>
                        <a:pt x="65358" y="131273"/>
                      </a:moveTo>
                      <a:cubicBezTo>
                        <a:pt x="63230" y="131273"/>
                        <a:pt x="61134" y="130307"/>
                        <a:pt x="59802" y="128433"/>
                      </a:cubicBezTo>
                      <a:lnTo>
                        <a:pt x="14349" y="64772"/>
                      </a:lnTo>
                      <a:cubicBezTo>
                        <a:pt x="13843" y="64069"/>
                        <a:pt x="13477" y="63249"/>
                        <a:pt x="13275" y="62430"/>
                      </a:cubicBezTo>
                      <a:lnTo>
                        <a:pt x="194" y="8430"/>
                      </a:lnTo>
                      <a:cubicBezTo>
                        <a:pt x="-695" y="4774"/>
                        <a:pt x="1553" y="1083"/>
                        <a:pt x="5214" y="200"/>
                      </a:cubicBezTo>
                      <a:cubicBezTo>
                        <a:pt x="8861" y="-705"/>
                        <a:pt x="12555" y="1552"/>
                        <a:pt x="13442" y="5222"/>
                      </a:cubicBezTo>
                      <a:lnTo>
                        <a:pt x="26212" y="57923"/>
                      </a:lnTo>
                      <a:lnTo>
                        <a:pt x="70899" y="120501"/>
                      </a:lnTo>
                      <a:cubicBezTo>
                        <a:pt x="73085" y="123575"/>
                        <a:pt x="72377" y="127848"/>
                        <a:pt x="69312" y="130014"/>
                      </a:cubicBezTo>
                      <a:cubicBezTo>
                        <a:pt x="68112" y="130863"/>
                        <a:pt x="66728" y="131273"/>
                        <a:pt x="65358" y="131273"/>
                      </a:cubicBezTo>
                      <a:close/>
                    </a:path>
                  </a:pathLst>
                </a:custGeom>
                <a:solidFill>
                  <a:schemeClr val="accent1"/>
                </a:solidFill>
                <a:ln w="292" cap="flat">
                  <a:noFill/>
                  <a:prstDash val="solid"/>
                  <a:miter/>
                </a:ln>
              </p:spPr>
              <p:txBody>
                <a:bodyPr rtlCol="0" anchor="ctr"/>
                <a:lstStyle/>
                <a:p>
                  <a:endParaRPr lang="en-GB" dirty="0"/>
                </a:p>
              </p:txBody>
            </p:sp>
          </p:grpSp>
        </p:grpSp>
        <p:grpSp>
          <p:nvGrpSpPr>
            <p:cNvPr id="579" name="Gruppieren 625">
              <a:extLst>
                <a:ext uri="{FF2B5EF4-FFF2-40B4-BE49-F238E27FC236}">
                  <a16:creationId xmlns:a16="http://schemas.microsoft.com/office/drawing/2014/main" id="{C50FD757-BA95-4019-9280-96E056157218}"/>
                </a:ext>
              </a:extLst>
            </p:cNvPr>
            <p:cNvGrpSpPr/>
            <p:nvPr/>
          </p:nvGrpSpPr>
          <p:grpSpPr>
            <a:xfrm>
              <a:off x="1599347" y="4298459"/>
              <a:ext cx="634040" cy="463385"/>
              <a:chOff x="1599347" y="4298459"/>
              <a:chExt cx="634040" cy="463385"/>
            </a:xfrm>
          </p:grpSpPr>
          <p:sp>
            <p:nvSpPr>
              <p:cNvPr id="580" name="Freihandform: Form 166">
                <a:extLst>
                  <a:ext uri="{FF2B5EF4-FFF2-40B4-BE49-F238E27FC236}">
                    <a16:creationId xmlns:a16="http://schemas.microsoft.com/office/drawing/2014/main" id="{6D82079F-A775-4E15-93DE-42CF4398F8C0}"/>
                  </a:ext>
                </a:extLst>
              </p:cNvPr>
              <p:cNvSpPr/>
              <p:nvPr/>
            </p:nvSpPr>
            <p:spPr>
              <a:xfrm>
                <a:off x="1680972" y="4571189"/>
                <a:ext cx="27461" cy="189337"/>
              </a:xfrm>
              <a:custGeom>
                <a:avLst/>
                <a:gdLst>
                  <a:gd name="connsiteX0" fmla="*/ 6823 w 27461"/>
                  <a:gd name="connsiteY0" fmla="*/ 189338 h 189337"/>
                  <a:gd name="connsiteX1" fmla="*/ 6282 w 27461"/>
                  <a:gd name="connsiteY1" fmla="*/ 189309 h 189337"/>
                  <a:gd name="connsiteX2" fmla="*/ 21 w 27461"/>
                  <a:gd name="connsiteY2" fmla="*/ 181962 h 189337"/>
                  <a:gd name="connsiteX3" fmla="*/ 13845 w 27461"/>
                  <a:gd name="connsiteY3" fmla="*/ 6285 h 189337"/>
                  <a:gd name="connsiteX4" fmla="*/ 21180 w 27461"/>
                  <a:gd name="connsiteY4" fmla="*/ 21 h 189337"/>
                  <a:gd name="connsiteX5" fmla="*/ 27441 w 27461"/>
                  <a:gd name="connsiteY5" fmla="*/ 7338 h 189337"/>
                  <a:gd name="connsiteX6" fmla="*/ 13617 w 27461"/>
                  <a:gd name="connsiteY6" fmla="*/ 183045 h 189337"/>
                  <a:gd name="connsiteX7" fmla="*/ 6823 w 27461"/>
                  <a:gd name="connsiteY7" fmla="*/ 189338 h 189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61" h="189337">
                    <a:moveTo>
                      <a:pt x="6823" y="189338"/>
                    </a:moveTo>
                    <a:cubicBezTo>
                      <a:pt x="6645" y="189338"/>
                      <a:pt x="6463" y="189309"/>
                      <a:pt x="6282" y="189309"/>
                    </a:cubicBezTo>
                    <a:cubicBezTo>
                      <a:pt x="2529" y="189016"/>
                      <a:pt x="-272" y="185738"/>
                      <a:pt x="21" y="181962"/>
                    </a:cubicBezTo>
                    <a:lnTo>
                      <a:pt x="13845" y="6285"/>
                    </a:lnTo>
                    <a:cubicBezTo>
                      <a:pt x="14144" y="2538"/>
                      <a:pt x="17451" y="-272"/>
                      <a:pt x="21180" y="21"/>
                    </a:cubicBezTo>
                    <a:cubicBezTo>
                      <a:pt x="24933" y="314"/>
                      <a:pt x="27734" y="3592"/>
                      <a:pt x="27441" y="7338"/>
                    </a:cubicBezTo>
                    <a:lnTo>
                      <a:pt x="13617" y="183045"/>
                    </a:lnTo>
                    <a:cubicBezTo>
                      <a:pt x="13333" y="186616"/>
                      <a:pt x="10347" y="189338"/>
                      <a:pt x="6823" y="189338"/>
                    </a:cubicBezTo>
                    <a:close/>
                  </a:path>
                </a:pathLst>
              </a:custGeom>
              <a:solidFill>
                <a:schemeClr val="tx2"/>
              </a:solidFill>
              <a:ln w="292" cap="flat">
                <a:noFill/>
                <a:prstDash val="solid"/>
                <a:miter/>
              </a:ln>
            </p:spPr>
            <p:txBody>
              <a:bodyPr rtlCol="0" anchor="ctr"/>
              <a:lstStyle/>
              <a:p>
                <a:endParaRPr lang="en-GB" dirty="0"/>
              </a:p>
            </p:txBody>
          </p:sp>
          <p:sp>
            <p:nvSpPr>
              <p:cNvPr id="581" name="Freihandform: Form 167">
                <a:extLst>
                  <a:ext uri="{FF2B5EF4-FFF2-40B4-BE49-F238E27FC236}">
                    <a16:creationId xmlns:a16="http://schemas.microsoft.com/office/drawing/2014/main" id="{D9C9970B-1564-461A-95C4-7FC46E534F2D}"/>
                  </a:ext>
                </a:extLst>
              </p:cNvPr>
              <p:cNvSpPr/>
              <p:nvPr/>
            </p:nvSpPr>
            <p:spPr>
              <a:xfrm>
                <a:off x="1713137" y="4298459"/>
                <a:ext cx="85929" cy="96796"/>
              </a:xfrm>
              <a:custGeom>
                <a:avLst/>
                <a:gdLst>
                  <a:gd name="connsiteX0" fmla="*/ 42628 w 85929"/>
                  <a:gd name="connsiteY0" fmla="*/ 96796 h 96796"/>
                  <a:gd name="connsiteX1" fmla="*/ 39435 w 85929"/>
                  <a:gd name="connsiteY1" fmla="*/ 96691 h 96796"/>
                  <a:gd name="connsiteX2" fmla="*/ 11102 w 85929"/>
                  <a:gd name="connsiteY2" fmla="*/ 83130 h 96796"/>
                  <a:gd name="connsiteX3" fmla="*/ 184 w 85929"/>
                  <a:gd name="connsiteY3" fmla="*/ 45448 h 96796"/>
                  <a:gd name="connsiteX4" fmla="*/ 46495 w 85929"/>
                  <a:gd name="connsiteY4" fmla="*/ 106 h 96796"/>
                  <a:gd name="connsiteX5" fmla="*/ 74828 w 85929"/>
                  <a:gd name="connsiteY5" fmla="*/ 13667 h 96796"/>
                  <a:gd name="connsiteX6" fmla="*/ 85746 w 85929"/>
                  <a:gd name="connsiteY6" fmla="*/ 51349 h 96796"/>
                  <a:gd name="connsiteX7" fmla="*/ 85746 w 85929"/>
                  <a:gd name="connsiteY7" fmla="*/ 51355 h 96796"/>
                  <a:gd name="connsiteX8" fmla="*/ 42628 w 85929"/>
                  <a:gd name="connsiteY8" fmla="*/ 96796 h 96796"/>
                  <a:gd name="connsiteX9" fmla="*/ 43146 w 85929"/>
                  <a:gd name="connsiteY9" fmla="*/ 13635 h 96796"/>
                  <a:gd name="connsiteX10" fmla="*/ 13783 w 85929"/>
                  <a:gd name="connsiteY10" fmla="*/ 46455 h 96796"/>
                  <a:gd name="connsiteX11" fmla="*/ 21405 w 85929"/>
                  <a:gd name="connsiteY11" fmla="*/ 74194 h 96796"/>
                  <a:gd name="connsiteX12" fmla="*/ 40366 w 85929"/>
                  <a:gd name="connsiteY12" fmla="*/ 83077 h 96796"/>
                  <a:gd name="connsiteX13" fmla="*/ 72153 w 85929"/>
                  <a:gd name="connsiteY13" fmla="*/ 50345 h 96796"/>
                  <a:gd name="connsiteX14" fmla="*/ 72153 w 85929"/>
                  <a:gd name="connsiteY14" fmla="*/ 50351 h 96796"/>
                  <a:gd name="connsiteX15" fmla="*/ 64531 w 85929"/>
                  <a:gd name="connsiteY15" fmla="*/ 22606 h 96796"/>
                  <a:gd name="connsiteX16" fmla="*/ 45570 w 85929"/>
                  <a:gd name="connsiteY16" fmla="*/ 13723 h 96796"/>
                  <a:gd name="connsiteX17" fmla="*/ 43146 w 85929"/>
                  <a:gd name="connsiteY17" fmla="*/ 13635 h 96796"/>
                  <a:gd name="connsiteX18" fmla="*/ 78952 w 85929"/>
                  <a:gd name="connsiteY18" fmla="*/ 50852 h 96796"/>
                  <a:gd name="connsiteX19" fmla="*/ 79020 w 85929"/>
                  <a:gd name="connsiteY19" fmla="*/ 50852 h 96796"/>
                  <a:gd name="connsiteX20" fmla="*/ 78952 w 85929"/>
                  <a:gd name="connsiteY20" fmla="*/ 50852 h 9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5929" h="96796">
                    <a:moveTo>
                      <a:pt x="42628" y="96796"/>
                    </a:moveTo>
                    <a:cubicBezTo>
                      <a:pt x="41578" y="96796"/>
                      <a:pt x="40512" y="96764"/>
                      <a:pt x="39435" y="96691"/>
                    </a:cubicBezTo>
                    <a:cubicBezTo>
                      <a:pt x="27914" y="95904"/>
                      <a:pt x="18112" y="91218"/>
                      <a:pt x="11102" y="83130"/>
                    </a:cubicBezTo>
                    <a:cubicBezTo>
                      <a:pt x="2959" y="73741"/>
                      <a:pt x="-919" y="60361"/>
                      <a:pt x="184" y="45448"/>
                    </a:cubicBezTo>
                    <a:cubicBezTo>
                      <a:pt x="2289" y="17036"/>
                      <a:pt x="21270" y="-1585"/>
                      <a:pt x="46495" y="106"/>
                    </a:cubicBezTo>
                    <a:cubicBezTo>
                      <a:pt x="58016" y="891"/>
                      <a:pt x="67818" y="5580"/>
                      <a:pt x="74828" y="13667"/>
                    </a:cubicBezTo>
                    <a:cubicBezTo>
                      <a:pt x="82971" y="23057"/>
                      <a:pt x="86849" y="36439"/>
                      <a:pt x="85746" y="51349"/>
                    </a:cubicBezTo>
                    <a:cubicBezTo>
                      <a:pt x="85746" y="51349"/>
                      <a:pt x="85746" y="51349"/>
                      <a:pt x="85746" y="51355"/>
                    </a:cubicBezTo>
                    <a:cubicBezTo>
                      <a:pt x="83738" y="78555"/>
                      <a:pt x="66202" y="96796"/>
                      <a:pt x="42628" y="96796"/>
                    </a:cubicBezTo>
                    <a:close/>
                    <a:moveTo>
                      <a:pt x="43146" y="13635"/>
                    </a:moveTo>
                    <a:cubicBezTo>
                      <a:pt x="23319" y="13635"/>
                      <a:pt x="14925" y="31045"/>
                      <a:pt x="13783" y="46455"/>
                    </a:cubicBezTo>
                    <a:cubicBezTo>
                      <a:pt x="12955" y="57718"/>
                      <a:pt x="15659" y="67568"/>
                      <a:pt x="21405" y="74194"/>
                    </a:cubicBezTo>
                    <a:cubicBezTo>
                      <a:pt x="26053" y="79548"/>
                      <a:pt x="32431" y="82539"/>
                      <a:pt x="40366" y="83077"/>
                    </a:cubicBezTo>
                    <a:cubicBezTo>
                      <a:pt x="61999" y="84696"/>
                      <a:pt x="70967" y="66367"/>
                      <a:pt x="72153" y="50345"/>
                    </a:cubicBezTo>
                    <a:lnTo>
                      <a:pt x="72153" y="50351"/>
                    </a:lnTo>
                    <a:cubicBezTo>
                      <a:pt x="72981" y="39082"/>
                      <a:pt x="70277" y="29233"/>
                      <a:pt x="64531" y="22606"/>
                    </a:cubicBezTo>
                    <a:cubicBezTo>
                      <a:pt x="59883" y="17253"/>
                      <a:pt x="53505" y="14261"/>
                      <a:pt x="45570" y="13723"/>
                    </a:cubicBezTo>
                    <a:cubicBezTo>
                      <a:pt x="44742" y="13661"/>
                      <a:pt x="43934" y="13635"/>
                      <a:pt x="43146" y="13635"/>
                    </a:cubicBezTo>
                    <a:close/>
                    <a:moveTo>
                      <a:pt x="78952" y="50852"/>
                    </a:moveTo>
                    <a:lnTo>
                      <a:pt x="79020" y="50852"/>
                    </a:lnTo>
                    <a:lnTo>
                      <a:pt x="78952" y="50852"/>
                    </a:lnTo>
                    <a:close/>
                  </a:path>
                </a:pathLst>
              </a:custGeom>
              <a:solidFill>
                <a:schemeClr val="tx2"/>
              </a:solidFill>
              <a:ln w="292" cap="flat">
                <a:noFill/>
                <a:prstDash val="solid"/>
                <a:miter/>
              </a:ln>
            </p:spPr>
            <p:txBody>
              <a:bodyPr rtlCol="0" anchor="ctr"/>
              <a:lstStyle/>
              <a:p>
                <a:endParaRPr lang="en-GB" dirty="0"/>
              </a:p>
            </p:txBody>
          </p:sp>
          <p:sp>
            <p:nvSpPr>
              <p:cNvPr id="582" name="Freihandform: Form 169">
                <a:extLst>
                  <a:ext uri="{FF2B5EF4-FFF2-40B4-BE49-F238E27FC236}">
                    <a16:creationId xmlns:a16="http://schemas.microsoft.com/office/drawing/2014/main" id="{51BCCF1D-5434-4D7E-B360-C30B5D4FDD39}"/>
                  </a:ext>
                </a:extLst>
              </p:cNvPr>
              <p:cNvSpPr/>
              <p:nvPr/>
            </p:nvSpPr>
            <p:spPr>
              <a:xfrm>
                <a:off x="1599347" y="4406517"/>
                <a:ext cx="280598" cy="283792"/>
              </a:xfrm>
              <a:custGeom>
                <a:avLst/>
                <a:gdLst>
                  <a:gd name="connsiteX0" fmla="*/ 259869 w 280598"/>
                  <a:gd name="connsiteY0" fmla="*/ 283792 h 283792"/>
                  <a:gd name="connsiteX1" fmla="*/ 258877 w 280598"/>
                  <a:gd name="connsiteY1" fmla="*/ 283734 h 283792"/>
                  <a:gd name="connsiteX2" fmla="*/ 253111 w 280598"/>
                  <a:gd name="connsiteY2" fmla="*/ 276007 h 283792"/>
                  <a:gd name="connsiteX3" fmla="*/ 266297 w 280598"/>
                  <a:gd name="connsiteY3" fmla="*/ 185534 h 283792"/>
                  <a:gd name="connsiteX4" fmla="*/ 262729 w 280598"/>
                  <a:gd name="connsiteY4" fmla="*/ 165367 h 283792"/>
                  <a:gd name="connsiteX5" fmla="*/ 246469 w 280598"/>
                  <a:gd name="connsiteY5" fmla="*/ 154332 h 283792"/>
                  <a:gd name="connsiteX6" fmla="*/ 183086 w 280598"/>
                  <a:gd name="connsiteY6" fmla="*/ 141313 h 283792"/>
                  <a:gd name="connsiteX7" fmla="*/ 177680 w 280598"/>
                  <a:gd name="connsiteY7" fmla="*/ 133887 h 283792"/>
                  <a:gd name="connsiteX8" fmla="*/ 188290 w 280598"/>
                  <a:gd name="connsiteY8" fmla="*/ 37525 h 283792"/>
                  <a:gd name="connsiteX9" fmla="*/ 184420 w 280598"/>
                  <a:gd name="connsiteY9" fmla="*/ 24596 h 283792"/>
                  <a:gd name="connsiteX10" fmla="*/ 172569 w 280598"/>
                  <a:gd name="connsiteY10" fmla="*/ 18450 h 283792"/>
                  <a:gd name="connsiteX11" fmla="*/ 111843 w 280598"/>
                  <a:gd name="connsiteY11" fmla="*/ 13787 h 283792"/>
                  <a:gd name="connsiteX12" fmla="*/ 69516 w 280598"/>
                  <a:gd name="connsiteY12" fmla="*/ 33667 h 283792"/>
                  <a:gd name="connsiteX13" fmla="*/ 26103 w 280598"/>
                  <a:gd name="connsiteY13" fmla="*/ 97171 h 283792"/>
                  <a:gd name="connsiteX14" fmla="*/ 13795 w 280598"/>
                  <a:gd name="connsiteY14" fmla="*/ 155035 h 283792"/>
                  <a:gd name="connsiteX15" fmla="*/ 15273 w 280598"/>
                  <a:gd name="connsiteY15" fmla="*/ 160976 h 283792"/>
                  <a:gd name="connsiteX16" fmla="*/ 20761 w 280598"/>
                  <a:gd name="connsiteY16" fmla="*/ 163406 h 283792"/>
                  <a:gd name="connsiteX17" fmla="*/ 27095 w 280598"/>
                  <a:gd name="connsiteY17" fmla="*/ 158488 h 283792"/>
                  <a:gd name="connsiteX18" fmla="*/ 44113 w 280598"/>
                  <a:gd name="connsiteY18" fmla="*/ 101916 h 283792"/>
                  <a:gd name="connsiteX19" fmla="*/ 45620 w 280598"/>
                  <a:gd name="connsiteY19" fmla="*/ 99264 h 283792"/>
                  <a:gd name="connsiteX20" fmla="*/ 94492 w 280598"/>
                  <a:gd name="connsiteY20" fmla="*/ 46031 h 283792"/>
                  <a:gd name="connsiteX21" fmla="*/ 102447 w 280598"/>
                  <a:gd name="connsiteY21" fmla="*/ 44491 h 283792"/>
                  <a:gd name="connsiteX22" fmla="*/ 106255 w 280598"/>
                  <a:gd name="connsiteY22" fmla="*/ 51651 h 283792"/>
                  <a:gd name="connsiteX23" fmla="*/ 97246 w 280598"/>
                  <a:gd name="connsiteY23" fmla="*/ 112105 h 283792"/>
                  <a:gd name="connsiteX24" fmla="*/ 143812 w 280598"/>
                  <a:gd name="connsiteY24" fmla="*/ 175992 h 283792"/>
                  <a:gd name="connsiteX25" fmla="*/ 232051 w 280598"/>
                  <a:gd name="connsiteY25" fmla="*/ 189368 h 283792"/>
                  <a:gd name="connsiteX26" fmla="*/ 237826 w 280598"/>
                  <a:gd name="connsiteY26" fmla="*/ 196656 h 283792"/>
                  <a:gd name="connsiteX27" fmla="*/ 231179 w 280598"/>
                  <a:gd name="connsiteY27" fmla="*/ 277529 h 283792"/>
                  <a:gd name="connsiteX28" fmla="*/ 223826 w 280598"/>
                  <a:gd name="connsiteY28" fmla="*/ 283763 h 283792"/>
                  <a:gd name="connsiteX29" fmla="*/ 217592 w 280598"/>
                  <a:gd name="connsiteY29" fmla="*/ 276416 h 283792"/>
                  <a:gd name="connsiteX30" fmla="*/ 223718 w 280598"/>
                  <a:gd name="connsiteY30" fmla="*/ 201895 h 283792"/>
                  <a:gd name="connsiteX31" fmla="*/ 141807 w 280598"/>
                  <a:gd name="connsiteY31" fmla="*/ 189485 h 283792"/>
                  <a:gd name="connsiteX32" fmla="*/ 83747 w 280598"/>
                  <a:gd name="connsiteY32" fmla="*/ 110187 h 283792"/>
                  <a:gd name="connsiteX33" fmla="*/ 89493 w 280598"/>
                  <a:gd name="connsiteY33" fmla="*/ 71645 h 283792"/>
                  <a:gd name="connsiteX34" fmla="*/ 56719 w 280598"/>
                  <a:gd name="connsiteY34" fmla="*/ 107342 h 283792"/>
                  <a:gd name="connsiteX35" fmla="*/ 40153 w 280598"/>
                  <a:gd name="connsiteY35" fmla="*/ 162440 h 283792"/>
                  <a:gd name="connsiteX36" fmla="*/ 21250 w 280598"/>
                  <a:gd name="connsiteY36" fmla="*/ 177045 h 283792"/>
                  <a:gd name="connsiteX37" fmla="*/ 4833 w 280598"/>
                  <a:gd name="connsiteY37" fmla="*/ 169728 h 283792"/>
                  <a:gd name="connsiteX38" fmla="*/ 460 w 280598"/>
                  <a:gd name="connsiteY38" fmla="*/ 152195 h 283792"/>
                  <a:gd name="connsiteX39" fmla="*/ 13046 w 280598"/>
                  <a:gd name="connsiteY39" fmla="*/ 93009 h 283792"/>
                  <a:gd name="connsiteX40" fmla="*/ 14085 w 280598"/>
                  <a:gd name="connsiteY40" fmla="*/ 90577 h 283792"/>
                  <a:gd name="connsiteX41" fmla="*/ 58329 w 280598"/>
                  <a:gd name="connsiteY41" fmla="*/ 25855 h 283792"/>
                  <a:gd name="connsiteX42" fmla="*/ 112888 w 280598"/>
                  <a:gd name="connsiteY42" fmla="*/ 180 h 283792"/>
                  <a:gd name="connsiteX43" fmla="*/ 173614 w 280598"/>
                  <a:gd name="connsiteY43" fmla="*/ 4843 h 283792"/>
                  <a:gd name="connsiteX44" fmla="*/ 194919 w 280598"/>
                  <a:gd name="connsiteY44" fmla="*/ 15886 h 283792"/>
                  <a:gd name="connsiteX45" fmla="*/ 201845 w 280598"/>
                  <a:gd name="connsiteY45" fmla="*/ 39009 h 283792"/>
                  <a:gd name="connsiteX46" fmla="*/ 191913 w 280598"/>
                  <a:gd name="connsiteY46" fmla="*/ 129198 h 283792"/>
                  <a:gd name="connsiteX47" fmla="*/ 249212 w 280598"/>
                  <a:gd name="connsiteY47" fmla="*/ 140979 h 283792"/>
                  <a:gd name="connsiteX48" fmla="*/ 274132 w 280598"/>
                  <a:gd name="connsiteY48" fmla="*/ 157903 h 283792"/>
                  <a:gd name="connsiteX49" fmla="*/ 279714 w 280598"/>
                  <a:gd name="connsiteY49" fmla="*/ 187904 h 283792"/>
                  <a:gd name="connsiteX50" fmla="*/ 266604 w 280598"/>
                  <a:gd name="connsiteY50" fmla="*/ 277968 h 283792"/>
                  <a:gd name="connsiteX51" fmla="*/ 259869 w 280598"/>
                  <a:gd name="connsiteY51" fmla="*/ 283792 h 28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80598" h="283792">
                    <a:moveTo>
                      <a:pt x="259869" y="283792"/>
                    </a:moveTo>
                    <a:cubicBezTo>
                      <a:pt x="259538" y="283792"/>
                      <a:pt x="259211" y="283792"/>
                      <a:pt x="258877" y="283734"/>
                    </a:cubicBezTo>
                    <a:cubicBezTo>
                      <a:pt x="255148" y="283178"/>
                      <a:pt x="252569" y="279724"/>
                      <a:pt x="253111" y="276007"/>
                    </a:cubicBezTo>
                    <a:lnTo>
                      <a:pt x="266297" y="185534"/>
                    </a:lnTo>
                    <a:cubicBezTo>
                      <a:pt x="267831" y="178187"/>
                      <a:pt x="266537" y="171192"/>
                      <a:pt x="262729" y="165367"/>
                    </a:cubicBezTo>
                    <a:cubicBezTo>
                      <a:pt x="258976" y="159659"/>
                      <a:pt x="253202" y="155737"/>
                      <a:pt x="246469" y="154332"/>
                    </a:cubicBezTo>
                    <a:lnTo>
                      <a:pt x="183086" y="141313"/>
                    </a:lnTo>
                    <a:cubicBezTo>
                      <a:pt x="179638" y="140607"/>
                      <a:pt x="177296" y="137385"/>
                      <a:pt x="177680" y="133887"/>
                    </a:cubicBezTo>
                    <a:lnTo>
                      <a:pt x="188290" y="37525"/>
                    </a:lnTo>
                    <a:cubicBezTo>
                      <a:pt x="188808" y="32824"/>
                      <a:pt x="187435" y="28235"/>
                      <a:pt x="184420" y="24596"/>
                    </a:cubicBezTo>
                    <a:cubicBezTo>
                      <a:pt x="181435" y="20993"/>
                      <a:pt x="177223" y="18810"/>
                      <a:pt x="172569" y="18450"/>
                    </a:cubicBezTo>
                    <a:lnTo>
                      <a:pt x="111843" y="13787"/>
                    </a:lnTo>
                    <a:cubicBezTo>
                      <a:pt x="95358" y="12523"/>
                      <a:pt x="79134" y="20142"/>
                      <a:pt x="69516" y="33667"/>
                    </a:cubicBezTo>
                    <a:lnTo>
                      <a:pt x="26103" y="97171"/>
                    </a:lnTo>
                    <a:lnTo>
                      <a:pt x="13795" y="155035"/>
                    </a:lnTo>
                    <a:cubicBezTo>
                      <a:pt x="13344" y="157142"/>
                      <a:pt x="13883" y="159308"/>
                      <a:pt x="15273" y="160976"/>
                    </a:cubicBezTo>
                    <a:cubicBezTo>
                      <a:pt x="16640" y="162615"/>
                      <a:pt x="18581" y="163376"/>
                      <a:pt x="20761" y="163406"/>
                    </a:cubicBezTo>
                    <a:cubicBezTo>
                      <a:pt x="23700" y="163318"/>
                      <a:pt x="26244" y="161328"/>
                      <a:pt x="27095" y="158488"/>
                    </a:cubicBezTo>
                    <a:lnTo>
                      <a:pt x="44113" y="101916"/>
                    </a:lnTo>
                    <a:cubicBezTo>
                      <a:pt x="44408" y="100929"/>
                      <a:pt x="44924" y="100025"/>
                      <a:pt x="45620" y="99264"/>
                    </a:cubicBezTo>
                    <a:lnTo>
                      <a:pt x="94492" y="46031"/>
                    </a:lnTo>
                    <a:cubicBezTo>
                      <a:pt x="96512" y="43833"/>
                      <a:pt x="99737" y="43206"/>
                      <a:pt x="102447" y="44491"/>
                    </a:cubicBezTo>
                    <a:cubicBezTo>
                      <a:pt x="105149" y="45782"/>
                      <a:pt x="106694" y="48686"/>
                      <a:pt x="106255" y="51651"/>
                    </a:cubicBezTo>
                    <a:lnTo>
                      <a:pt x="97246" y="112105"/>
                    </a:lnTo>
                    <a:cubicBezTo>
                      <a:pt x="91913" y="151551"/>
                      <a:pt x="97202" y="169172"/>
                      <a:pt x="143812" y="175992"/>
                    </a:cubicBezTo>
                    <a:lnTo>
                      <a:pt x="232051" y="189368"/>
                    </a:lnTo>
                    <a:cubicBezTo>
                      <a:pt x="235596" y="189895"/>
                      <a:pt x="238119" y="193085"/>
                      <a:pt x="237826" y="196656"/>
                    </a:cubicBezTo>
                    <a:lnTo>
                      <a:pt x="231179" y="277529"/>
                    </a:lnTo>
                    <a:cubicBezTo>
                      <a:pt x="230869" y="281275"/>
                      <a:pt x="227561" y="284027"/>
                      <a:pt x="223826" y="283763"/>
                    </a:cubicBezTo>
                    <a:cubicBezTo>
                      <a:pt x="220074" y="283470"/>
                      <a:pt x="217282" y="280163"/>
                      <a:pt x="217592" y="276416"/>
                    </a:cubicBezTo>
                    <a:lnTo>
                      <a:pt x="223718" y="201895"/>
                    </a:lnTo>
                    <a:lnTo>
                      <a:pt x="141807" y="189485"/>
                    </a:lnTo>
                    <a:cubicBezTo>
                      <a:pt x="85404" y="181231"/>
                      <a:pt x="77805" y="154156"/>
                      <a:pt x="83747" y="110187"/>
                    </a:cubicBezTo>
                    <a:lnTo>
                      <a:pt x="89493" y="71645"/>
                    </a:lnTo>
                    <a:lnTo>
                      <a:pt x="56719" y="107342"/>
                    </a:lnTo>
                    <a:lnTo>
                      <a:pt x="40153" y="162440"/>
                    </a:lnTo>
                    <a:cubicBezTo>
                      <a:pt x="37621" y="170869"/>
                      <a:pt x="30022" y="176723"/>
                      <a:pt x="21250" y="177045"/>
                    </a:cubicBezTo>
                    <a:cubicBezTo>
                      <a:pt x="14866" y="177338"/>
                      <a:pt x="8922" y="174616"/>
                      <a:pt x="4833" y="169728"/>
                    </a:cubicBezTo>
                    <a:cubicBezTo>
                      <a:pt x="720" y="164840"/>
                      <a:pt x="-872" y="158430"/>
                      <a:pt x="460" y="152195"/>
                    </a:cubicBezTo>
                    <a:lnTo>
                      <a:pt x="13046" y="93009"/>
                    </a:lnTo>
                    <a:cubicBezTo>
                      <a:pt x="13230" y="92137"/>
                      <a:pt x="13584" y="91311"/>
                      <a:pt x="14085" y="90577"/>
                    </a:cubicBezTo>
                    <a:lnTo>
                      <a:pt x="58329" y="25855"/>
                    </a:lnTo>
                    <a:cubicBezTo>
                      <a:pt x="70780" y="8346"/>
                      <a:pt x="91676" y="-1471"/>
                      <a:pt x="112888" y="180"/>
                    </a:cubicBezTo>
                    <a:lnTo>
                      <a:pt x="173614" y="4843"/>
                    </a:lnTo>
                    <a:cubicBezTo>
                      <a:pt x="181985" y="5489"/>
                      <a:pt x="189549" y="9411"/>
                      <a:pt x="194919" y="15886"/>
                    </a:cubicBezTo>
                    <a:cubicBezTo>
                      <a:pt x="200308" y="22393"/>
                      <a:pt x="202770" y="30606"/>
                      <a:pt x="201845" y="39009"/>
                    </a:cubicBezTo>
                    <a:lnTo>
                      <a:pt x="191913" y="129198"/>
                    </a:lnTo>
                    <a:lnTo>
                      <a:pt x="249212" y="140979"/>
                    </a:lnTo>
                    <a:cubicBezTo>
                      <a:pt x="259530" y="143098"/>
                      <a:pt x="268378" y="149093"/>
                      <a:pt x="274132" y="157903"/>
                    </a:cubicBezTo>
                    <a:cubicBezTo>
                      <a:pt x="279948" y="166772"/>
                      <a:pt x="281930" y="177426"/>
                      <a:pt x="279714" y="187904"/>
                    </a:cubicBezTo>
                    <a:lnTo>
                      <a:pt x="266604" y="277968"/>
                    </a:lnTo>
                    <a:cubicBezTo>
                      <a:pt x="266109" y="281363"/>
                      <a:pt x="263197" y="283792"/>
                      <a:pt x="259869" y="283792"/>
                    </a:cubicBezTo>
                    <a:close/>
                  </a:path>
                </a:pathLst>
              </a:custGeom>
              <a:solidFill>
                <a:schemeClr val="tx2"/>
              </a:solidFill>
              <a:ln w="292" cap="flat">
                <a:noFill/>
                <a:prstDash val="solid"/>
                <a:miter/>
              </a:ln>
            </p:spPr>
            <p:txBody>
              <a:bodyPr rtlCol="0" anchor="ctr"/>
              <a:lstStyle/>
              <a:p>
                <a:endParaRPr lang="en-GB" dirty="0"/>
              </a:p>
            </p:txBody>
          </p:sp>
          <p:sp>
            <p:nvSpPr>
              <p:cNvPr id="583" name="Freihandform: Form 170">
                <a:extLst>
                  <a:ext uri="{FF2B5EF4-FFF2-40B4-BE49-F238E27FC236}">
                    <a16:creationId xmlns:a16="http://schemas.microsoft.com/office/drawing/2014/main" id="{7599ECCB-715B-4096-B2C6-064BF44D46B1}"/>
                  </a:ext>
                </a:extLst>
              </p:cNvPr>
              <p:cNvSpPr/>
              <p:nvPr/>
            </p:nvSpPr>
            <p:spPr>
              <a:xfrm>
                <a:off x="1720601" y="4608391"/>
                <a:ext cx="32714" cy="152663"/>
              </a:xfrm>
              <a:custGeom>
                <a:avLst/>
                <a:gdLst>
                  <a:gd name="connsiteX0" fmla="*/ 6828 w 32714"/>
                  <a:gd name="connsiteY0" fmla="*/ 152663 h 152663"/>
                  <a:gd name="connsiteX1" fmla="*/ 5889 w 32714"/>
                  <a:gd name="connsiteY1" fmla="*/ 152576 h 152663"/>
                  <a:gd name="connsiteX2" fmla="*/ 64 w 32714"/>
                  <a:gd name="connsiteY2" fmla="*/ 144907 h 152663"/>
                  <a:gd name="connsiteX3" fmla="*/ 19142 w 32714"/>
                  <a:gd name="connsiteY3" fmla="*/ 5905 h 152663"/>
                  <a:gd name="connsiteX4" fmla="*/ 26826 w 32714"/>
                  <a:gd name="connsiteY4" fmla="*/ 80 h 152663"/>
                  <a:gd name="connsiteX5" fmla="*/ 32650 w 32714"/>
                  <a:gd name="connsiteY5" fmla="*/ 7778 h 152663"/>
                  <a:gd name="connsiteX6" fmla="*/ 13572 w 32714"/>
                  <a:gd name="connsiteY6" fmla="*/ 146751 h 152663"/>
                  <a:gd name="connsiteX7" fmla="*/ 6828 w 32714"/>
                  <a:gd name="connsiteY7" fmla="*/ 152663 h 15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14" h="152663">
                    <a:moveTo>
                      <a:pt x="6828" y="152663"/>
                    </a:moveTo>
                    <a:cubicBezTo>
                      <a:pt x="6518" y="152663"/>
                      <a:pt x="6205" y="152634"/>
                      <a:pt x="5889" y="152576"/>
                    </a:cubicBezTo>
                    <a:cubicBezTo>
                      <a:pt x="2160" y="152078"/>
                      <a:pt x="-448" y="148653"/>
                      <a:pt x="64" y="144907"/>
                    </a:cubicBezTo>
                    <a:lnTo>
                      <a:pt x="19142" y="5905"/>
                    </a:lnTo>
                    <a:cubicBezTo>
                      <a:pt x="19652" y="2188"/>
                      <a:pt x="23094" y="-505"/>
                      <a:pt x="26826" y="80"/>
                    </a:cubicBezTo>
                    <a:cubicBezTo>
                      <a:pt x="30555" y="578"/>
                      <a:pt x="33163" y="4032"/>
                      <a:pt x="32650" y="7778"/>
                    </a:cubicBezTo>
                    <a:lnTo>
                      <a:pt x="13572" y="146751"/>
                    </a:lnTo>
                    <a:cubicBezTo>
                      <a:pt x="13104" y="150176"/>
                      <a:pt x="10183" y="152663"/>
                      <a:pt x="6828" y="152663"/>
                    </a:cubicBezTo>
                    <a:close/>
                  </a:path>
                </a:pathLst>
              </a:custGeom>
              <a:solidFill>
                <a:schemeClr val="tx2"/>
              </a:solidFill>
              <a:ln w="292" cap="flat">
                <a:noFill/>
                <a:prstDash val="solid"/>
                <a:miter/>
              </a:ln>
            </p:spPr>
            <p:txBody>
              <a:bodyPr rtlCol="0" anchor="ctr"/>
              <a:lstStyle/>
              <a:p>
                <a:endParaRPr lang="en-GB" dirty="0"/>
              </a:p>
            </p:txBody>
          </p:sp>
          <p:sp>
            <p:nvSpPr>
              <p:cNvPr id="584" name="Freihandform: Form 177">
                <a:extLst>
                  <a:ext uri="{FF2B5EF4-FFF2-40B4-BE49-F238E27FC236}">
                    <a16:creationId xmlns:a16="http://schemas.microsoft.com/office/drawing/2014/main" id="{725C8034-DDC6-4A30-9113-19C92D30AAF4}"/>
                  </a:ext>
                </a:extLst>
              </p:cNvPr>
              <p:cNvSpPr/>
              <p:nvPr/>
            </p:nvSpPr>
            <p:spPr>
              <a:xfrm>
                <a:off x="1779477" y="4416454"/>
                <a:ext cx="139722" cy="88345"/>
              </a:xfrm>
              <a:custGeom>
                <a:avLst/>
                <a:gdLst>
                  <a:gd name="connsiteX0" fmla="*/ 73815 w 139722"/>
                  <a:gd name="connsiteY0" fmla="*/ 88346 h 88345"/>
                  <a:gd name="connsiteX1" fmla="*/ 71511 w 139722"/>
                  <a:gd name="connsiteY1" fmla="*/ 87945 h 88345"/>
                  <a:gd name="connsiteX2" fmla="*/ 27665 w 139722"/>
                  <a:gd name="connsiteY2" fmla="*/ 72201 h 88345"/>
                  <a:gd name="connsiteX3" fmla="*/ 23550 w 139722"/>
                  <a:gd name="connsiteY3" fmla="*/ 63475 h 88345"/>
                  <a:gd name="connsiteX4" fmla="*/ 32272 w 139722"/>
                  <a:gd name="connsiteY4" fmla="*/ 59360 h 88345"/>
                  <a:gd name="connsiteX5" fmla="*/ 73074 w 139722"/>
                  <a:gd name="connsiteY5" fmla="*/ 74012 h 88345"/>
                  <a:gd name="connsiteX6" fmla="*/ 121202 w 139722"/>
                  <a:gd name="connsiteY6" fmla="*/ 45088 h 88345"/>
                  <a:gd name="connsiteX7" fmla="*/ 121849 w 139722"/>
                  <a:gd name="connsiteY7" fmla="*/ 44749 h 88345"/>
                  <a:gd name="connsiteX8" fmla="*/ 125648 w 139722"/>
                  <a:gd name="connsiteY8" fmla="*/ 35663 h 88345"/>
                  <a:gd name="connsiteX9" fmla="*/ 123930 w 139722"/>
                  <a:gd name="connsiteY9" fmla="*/ 30801 h 88345"/>
                  <a:gd name="connsiteX10" fmla="*/ 119979 w 139722"/>
                  <a:gd name="connsiteY10" fmla="*/ 24447 h 88345"/>
                  <a:gd name="connsiteX11" fmla="*/ 123137 w 139722"/>
                  <a:gd name="connsiteY11" fmla="*/ 30488 h 88345"/>
                  <a:gd name="connsiteX12" fmla="*/ 77184 w 139722"/>
                  <a:gd name="connsiteY12" fmla="*/ 54519 h 88345"/>
                  <a:gd name="connsiteX13" fmla="*/ 70434 w 139722"/>
                  <a:gd name="connsiteY13" fmla="*/ 54273 h 88345"/>
                  <a:gd name="connsiteX14" fmla="*/ 3228 w 139722"/>
                  <a:gd name="connsiteY14" fmla="*/ 12622 h 88345"/>
                  <a:gd name="connsiteX15" fmla="*/ 1024 w 139722"/>
                  <a:gd name="connsiteY15" fmla="*/ 3238 h 88345"/>
                  <a:gd name="connsiteX16" fmla="*/ 10410 w 139722"/>
                  <a:gd name="connsiteY16" fmla="*/ 1034 h 88345"/>
                  <a:gd name="connsiteX17" fmla="*/ 74312 w 139722"/>
                  <a:gd name="connsiteY17" fmla="*/ 40633 h 88345"/>
                  <a:gd name="connsiteX18" fmla="*/ 116818 w 139722"/>
                  <a:gd name="connsiteY18" fmla="*/ 18409 h 88345"/>
                  <a:gd name="connsiteX19" fmla="*/ 128599 w 139722"/>
                  <a:gd name="connsiteY19" fmla="*/ 17776 h 88345"/>
                  <a:gd name="connsiteX20" fmla="*/ 136786 w 139722"/>
                  <a:gd name="connsiteY20" fmla="*/ 26256 h 88345"/>
                  <a:gd name="connsiteX21" fmla="*/ 138504 w 139722"/>
                  <a:gd name="connsiteY21" fmla="*/ 31123 h 88345"/>
                  <a:gd name="connsiteX22" fmla="*/ 127940 w 139722"/>
                  <a:gd name="connsiteY22" fmla="*/ 56951 h 88345"/>
                  <a:gd name="connsiteX23" fmla="*/ 77324 w 139722"/>
                  <a:gd name="connsiteY23" fmla="*/ 87374 h 88345"/>
                  <a:gd name="connsiteX24" fmla="*/ 73815 w 139722"/>
                  <a:gd name="connsiteY24" fmla="*/ 88346 h 88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9722" h="88345">
                    <a:moveTo>
                      <a:pt x="73815" y="88346"/>
                    </a:moveTo>
                    <a:cubicBezTo>
                      <a:pt x="73039" y="88346"/>
                      <a:pt x="72260" y="88211"/>
                      <a:pt x="71511" y="87945"/>
                    </a:cubicBezTo>
                    <a:lnTo>
                      <a:pt x="27665" y="72201"/>
                    </a:lnTo>
                    <a:cubicBezTo>
                      <a:pt x="24120" y="70927"/>
                      <a:pt x="22279" y="67020"/>
                      <a:pt x="23550" y="63475"/>
                    </a:cubicBezTo>
                    <a:cubicBezTo>
                      <a:pt x="24820" y="59925"/>
                      <a:pt x="28719" y="58087"/>
                      <a:pt x="32272" y="59360"/>
                    </a:cubicBezTo>
                    <a:lnTo>
                      <a:pt x="73074" y="74012"/>
                    </a:lnTo>
                    <a:lnTo>
                      <a:pt x="121202" y="45088"/>
                    </a:lnTo>
                    <a:cubicBezTo>
                      <a:pt x="121413" y="44962"/>
                      <a:pt x="121630" y="44848"/>
                      <a:pt x="121849" y="44749"/>
                    </a:cubicBezTo>
                    <a:cubicBezTo>
                      <a:pt x="125283" y="43156"/>
                      <a:pt x="126916" y="39255"/>
                      <a:pt x="125648" y="35663"/>
                    </a:cubicBezTo>
                    <a:lnTo>
                      <a:pt x="123930" y="30801"/>
                    </a:lnTo>
                    <a:lnTo>
                      <a:pt x="119979" y="24447"/>
                    </a:lnTo>
                    <a:lnTo>
                      <a:pt x="123137" y="30488"/>
                    </a:lnTo>
                    <a:lnTo>
                      <a:pt x="77184" y="54519"/>
                    </a:lnTo>
                    <a:cubicBezTo>
                      <a:pt x="75053" y="55643"/>
                      <a:pt x="72483" y="55558"/>
                      <a:pt x="70434" y="54273"/>
                    </a:cubicBezTo>
                    <a:lnTo>
                      <a:pt x="3228" y="12622"/>
                    </a:lnTo>
                    <a:cubicBezTo>
                      <a:pt x="28" y="10643"/>
                      <a:pt x="-961" y="6434"/>
                      <a:pt x="1024" y="3238"/>
                    </a:cubicBezTo>
                    <a:cubicBezTo>
                      <a:pt x="3005" y="33"/>
                      <a:pt x="7205" y="-971"/>
                      <a:pt x="10410" y="1034"/>
                    </a:cubicBezTo>
                    <a:lnTo>
                      <a:pt x="74312" y="40633"/>
                    </a:lnTo>
                    <a:lnTo>
                      <a:pt x="116818" y="18409"/>
                    </a:lnTo>
                    <a:cubicBezTo>
                      <a:pt x="120477" y="16492"/>
                      <a:pt x="124762" y="16263"/>
                      <a:pt x="128599" y="17776"/>
                    </a:cubicBezTo>
                    <a:cubicBezTo>
                      <a:pt x="132427" y="19290"/>
                      <a:pt x="135410" y="22378"/>
                      <a:pt x="136786" y="26256"/>
                    </a:cubicBezTo>
                    <a:lnTo>
                      <a:pt x="138504" y="31123"/>
                    </a:lnTo>
                    <a:cubicBezTo>
                      <a:pt x="142084" y="41254"/>
                      <a:pt x="137544" y="52288"/>
                      <a:pt x="127940" y="56951"/>
                    </a:cubicBezTo>
                    <a:lnTo>
                      <a:pt x="77324" y="87374"/>
                    </a:lnTo>
                    <a:cubicBezTo>
                      <a:pt x="76253" y="88018"/>
                      <a:pt x="75038" y="88346"/>
                      <a:pt x="73815" y="88346"/>
                    </a:cubicBezTo>
                    <a:close/>
                  </a:path>
                </a:pathLst>
              </a:custGeom>
              <a:solidFill>
                <a:schemeClr val="tx2"/>
              </a:solidFill>
              <a:ln w="292" cap="flat">
                <a:noFill/>
                <a:prstDash val="solid"/>
                <a:miter/>
              </a:ln>
            </p:spPr>
            <p:txBody>
              <a:bodyPr rtlCol="0" anchor="ctr"/>
              <a:lstStyle/>
              <a:p>
                <a:endParaRPr lang="en-GB" dirty="0"/>
              </a:p>
            </p:txBody>
          </p:sp>
          <p:sp>
            <p:nvSpPr>
              <p:cNvPr id="585" name="Freihandform: Form 178">
                <a:extLst>
                  <a:ext uri="{FF2B5EF4-FFF2-40B4-BE49-F238E27FC236}">
                    <a16:creationId xmlns:a16="http://schemas.microsoft.com/office/drawing/2014/main" id="{195D64BF-AABA-4680-BA5A-89ED84400BEE}"/>
                  </a:ext>
                </a:extLst>
              </p:cNvPr>
              <p:cNvSpPr/>
              <p:nvPr/>
            </p:nvSpPr>
            <p:spPr>
              <a:xfrm>
                <a:off x="1660709" y="4611808"/>
                <a:ext cx="572678" cy="150036"/>
              </a:xfrm>
              <a:custGeom>
                <a:avLst/>
                <a:gdLst>
                  <a:gd name="connsiteX0" fmla="*/ 122717 w 572678"/>
                  <a:gd name="connsiteY0" fmla="*/ 150037 h 150036"/>
                  <a:gd name="connsiteX1" fmla="*/ 6817 w 572678"/>
                  <a:gd name="connsiteY1" fmla="*/ 150037 h 150036"/>
                  <a:gd name="connsiteX2" fmla="*/ 0 w 572678"/>
                  <a:gd name="connsiteY2" fmla="*/ 143217 h 150036"/>
                  <a:gd name="connsiteX3" fmla="*/ 6817 w 572678"/>
                  <a:gd name="connsiteY3" fmla="*/ 136397 h 150036"/>
                  <a:gd name="connsiteX4" fmla="*/ 115900 w 572678"/>
                  <a:gd name="connsiteY4" fmla="*/ 136397 h 150036"/>
                  <a:gd name="connsiteX5" fmla="*/ 115900 w 572678"/>
                  <a:gd name="connsiteY5" fmla="*/ 75018 h 150036"/>
                  <a:gd name="connsiteX6" fmla="*/ 122717 w 572678"/>
                  <a:gd name="connsiteY6" fmla="*/ 68199 h 150036"/>
                  <a:gd name="connsiteX7" fmla="*/ 252250 w 572678"/>
                  <a:gd name="connsiteY7" fmla="*/ 68199 h 150036"/>
                  <a:gd name="connsiteX8" fmla="*/ 252250 w 572678"/>
                  <a:gd name="connsiteY8" fmla="*/ 6820 h 150036"/>
                  <a:gd name="connsiteX9" fmla="*/ 259067 w 572678"/>
                  <a:gd name="connsiteY9" fmla="*/ 0 h 150036"/>
                  <a:gd name="connsiteX10" fmla="*/ 565861 w 572678"/>
                  <a:gd name="connsiteY10" fmla="*/ 0 h 150036"/>
                  <a:gd name="connsiteX11" fmla="*/ 572678 w 572678"/>
                  <a:gd name="connsiteY11" fmla="*/ 6820 h 150036"/>
                  <a:gd name="connsiteX12" fmla="*/ 565861 w 572678"/>
                  <a:gd name="connsiteY12" fmla="*/ 13640 h 150036"/>
                  <a:gd name="connsiteX13" fmla="*/ 265887 w 572678"/>
                  <a:gd name="connsiteY13" fmla="*/ 13640 h 150036"/>
                  <a:gd name="connsiteX14" fmla="*/ 265887 w 572678"/>
                  <a:gd name="connsiteY14" fmla="*/ 75018 h 150036"/>
                  <a:gd name="connsiteX15" fmla="*/ 259070 w 572678"/>
                  <a:gd name="connsiteY15" fmla="*/ 81838 h 150036"/>
                  <a:gd name="connsiteX16" fmla="*/ 129536 w 572678"/>
                  <a:gd name="connsiteY16" fmla="*/ 81838 h 150036"/>
                  <a:gd name="connsiteX17" fmla="*/ 129536 w 572678"/>
                  <a:gd name="connsiteY17" fmla="*/ 143217 h 150036"/>
                  <a:gd name="connsiteX18" fmla="*/ 122717 w 572678"/>
                  <a:gd name="connsiteY18" fmla="*/ 150037 h 15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2678" h="150036">
                    <a:moveTo>
                      <a:pt x="122717" y="150037"/>
                    </a:moveTo>
                    <a:lnTo>
                      <a:pt x="6817" y="150037"/>
                    </a:lnTo>
                    <a:cubicBezTo>
                      <a:pt x="3053" y="150037"/>
                      <a:pt x="0" y="146993"/>
                      <a:pt x="0" y="143217"/>
                    </a:cubicBezTo>
                    <a:cubicBezTo>
                      <a:pt x="0" y="139471"/>
                      <a:pt x="3053" y="136397"/>
                      <a:pt x="6817" y="136397"/>
                    </a:cubicBezTo>
                    <a:lnTo>
                      <a:pt x="115900" y="136397"/>
                    </a:lnTo>
                    <a:lnTo>
                      <a:pt x="115900" y="75018"/>
                    </a:lnTo>
                    <a:cubicBezTo>
                      <a:pt x="115900" y="71272"/>
                      <a:pt x="118952" y="68199"/>
                      <a:pt x="122717" y="68199"/>
                    </a:cubicBezTo>
                    <a:lnTo>
                      <a:pt x="252250" y="68199"/>
                    </a:lnTo>
                    <a:lnTo>
                      <a:pt x="252250" y="6820"/>
                    </a:lnTo>
                    <a:cubicBezTo>
                      <a:pt x="252250" y="3073"/>
                      <a:pt x="255303" y="0"/>
                      <a:pt x="259067" y="0"/>
                    </a:cubicBezTo>
                    <a:lnTo>
                      <a:pt x="565861" y="0"/>
                    </a:lnTo>
                    <a:cubicBezTo>
                      <a:pt x="569625" y="0"/>
                      <a:pt x="572678" y="3073"/>
                      <a:pt x="572678" y="6820"/>
                    </a:cubicBezTo>
                    <a:cubicBezTo>
                      <a:pt x="572678" y="10595"/>
                      <a:pt x="569625" y="13640"/>
                      <a:pt x="565861" y="13640"/>
                    </a:cubicBezTo>
                    <a:lnTo>
                      <a:pt x="265887" y="13640"/>
                    </a:lnTo>
                    <a:lnTo>
                      <a:pt x="265887" y="75018"/>
                    </a:lnTo>
                    <a:cubicBezTo>
                      <a:pt x="265887" y="78794"/>
                      <a:pt x="262834" y="81838"/>
                      <a:pt x="259070" y="81838"/>
                    </a:cubicBezTo>
                    <a:lnTo>
                      <a:pt x="129536" y="81838"/>
                    </a:lnTo>
                    <a:lnTo>
                      <a:pt x="129536" y="143217"/>
                    </a:lnTo>
                    <a:cubicBezTo>
                      <a:pt x="129533" y="146993"/>
                      <a:pt x="126483" y="150037"/>
                      <a:pt x="122717" y="150037"/>
                    </a:cubicBezTo>
                    <a:close/>
                  </a:path>
                </a:pathLst>
              </a:custGeom>
              <a:solidFill>
                <a:schemeClr val="tx2"/>
              </a:solidFill>
              <a:ln w="292" cap="flat">
                <a:noFill/>
                <a:prstDash val="solid"/>
                <a:miter/>
              </a:ln>
            </p:spPr>
            <p:txBody>
              <a:bodyPr rtlCol="0" anchor="ctr"/>
              <a:lstStyle/>
              <a:p>
                <a:endParaRPr lang="en-GB" dirty="0"/>
              </a:p>
            </p:txBody>
          </p:sp>
        </p:grpSp>
      </p:grpSp>
      <p:sp>
        <p:nvSpPr>
          <p:cNvPr id="593" name="TextBox 1421">
            <a:extLst>
              <a:ext uri="{FF2B5EF4-FFF2-40B4-BE49-F238E27FC236}">
                <a16:creationId xmlns:a16="http://schemas.microsoft.com/office/drawing/2014/main" id="{96336052-0334-4A7D-8B10-A57FE203053B}"/>
              </a:ext>
            </a:extLst>
          </p:cNvPr>
          <p:cNvSpPr txBox="1"/>
          <p:nvPr/>
        </p:nvSpPr>
        <p:spPr>
          <a:xfrm>
            <a:off x="4902093" y="2899619"/>
            <a:ext cx="432812" cy="107722"/>
          </a:xfrm>
          <a:prstGeom prst="rect">
            <a:avLst/>
          </a:prstGeom>
          <a:noFill/>
          <a:effectLst/>
        </p:spPr>
        <p:txBody>
          <a:bodyPr wrap="none" lIns="0" tIns="0" rIns="0" bIns="0" rtlCol="0" anchor="t" anchorCtr="0">
            <a:spAutoFit/>
          </a:bodyPr>
          <a:lstStyle/>
          <a:p>
            <a:pPr algn="ctr"/>
            <a:r>
              <a:rPr lang="en-GB" sz="700" dirty="0">
                <a:solidFill>
                  <a:schemeClr val="tx2"/>
                </a:solidFill>
              </a:rPr>
              <a:t>Assistance</a:t>
            </a:r>
          </a:p>
        </p:txBody>
      </p:sp>
      <p:grpSp>
        <p:nvGrpSpPr>
          <p:cNvPr id="8" name="Group 7">
            <a:extLst>
              <a:ext uri="{FF2B5EF4-FFF2-40B4-BE49-F238E27FC236}">
                <a16:creationId xmlns:a16="http://schemas.microsoft.com/office/drawing/2014/main" id="{9364FB50-4B64-EA34-21CF-B9840FA12549}"/>
              </a:ext>
            </a:extLst>
          </p:cNvPr>
          <p:cNvGrpSpPr/>
          <p:nvPr/>
        </p:nvGrpSpPr>
        <p:grpSpPr>
          <a:xfrm>
            <a:off x="5736713" y="2449341"/>
            <a:ext cx="429924" cy="432000"/>
            <a:chOff x="5736301" y="2449341"/>
            <a:chExt cx="429924" cy="432000"/>
          </a:xfrm>
        </p:grpSpPr>
        <p:grpSp>
          <p:nvGrpSpPr>
            <p:cNvPr id="619" name="Group 618">
              <a:extLst>
                <a:ext uri="{FF2B5EF4-FFF2-40B4-BE49-F238E27FC236}">
                  <a16:creationId xmlns:a16="http://schemas.microsoft.com/office/drawing/2014/main" id="{ABA763AE-1E09-44EF-BF59-0FDDF21F78A5}"/>
                </a:ext>
              </a:extLst>
            </p:cNvPr>
            <p:cNvGrpSpPr/>
            <p:nvPr/>
          </p:nvGrpSpPr>
          <p:grpSpPr>
            <a:xfrm>
              <a:off x="5736301" y="2449341"/>
              <a:ext cx="429924" cy="432000"/>
              <a:chOff x="797780" y="4300151"/>
              <a:chExt cx="459156" cy="461373"/>
            </a:xfrm>
            <a:solidFill>
              <a:schemeClr val="tx2"/>
            </a:solidFill>
          </p:grpSpPr>
          <p:grpSp>
            <p:nvGrpSpPr>
              <p:cNvPr id="631" name="Graphic 4">
                <a:extLst>
                  <a:ext uri="{FF2B5EF4-FFF2-40B4-BE49-F238E27FC236}">
                    <a16:creationId xmlns:a16="http://schemas.microsoft.com/office/drawing/2014/main" id="{72575BD9-6185-450E-84B2-7524C3130224}"/>
                  </a:ext>
                </a:extLst>
              </p:cNvPr>
              <p:cNvGrpSpPr/>
              <p:nvPr/>
            </p:nvGrpSpPr>
            <p:grpSpPr>
              <a:xfrm>
                <a:off x="797780" y="4300151"/>
                <a:ext cx="459156" cy="217481"/>
                <a:chOff x="797780" y="4300151"/>
                <a:chExt cx="459156" cy="217481"/>
              </a:xfrm>
              <a:grpFill/>
            </p:grpSpPr>
            <p:sp>
              <p:nvSpPr>
                <p:cNvPr id="633" name="Freihandform: Form 235">
                  <a:extLst>
                    <a:ext uri="{FF2B5EF4-FFF2-40B4-BE49-F238E27FC236}">
                      <a16:creationId xmlns:a16="http://schemas.microsoft.com/office/drawing/2014/main" id="{AC55CFA5-B6EC-4516-B10B-013DD8B548B5}"/>
                    </a:ext>
                  </a:extLst>
                </p:cNvPr>
                <p:cNvSpPr/>
                <p:nvPr/>
              </p:nvSpPr>
              <p:spPr>
                <a:xfrm>
                  <a:off x="1047877" y="4441130"/>
                  <a:ext cx="157129" cy="76502"/>
                </a:xfrm>
                <a:custGeom>
                  <a:avLst/>
                  <a:gdLst>
                    <a:gd name="connsiteX0" fmla="*/ 29018 w 157129"/>
                    <a:gd name="connsiteY0" fmla="*/ 76499 h 76502"/>
                    <a:gd name="connsiteX1" fmla="*/ 8564 w 157129"/>
                    <a:gd name="connsiteY1" fmla="*/ 67975 h 76502"/>
                    <a:gd name="connsiteX2" fmla="*/ 0 w 157129"/>
                    <a:gd name="connsiteY2" fmla="*/ 47271 h 76502"/>
                    <a:gd name="connsiteX3" fmla="*/ 8608 w 157129"/>
                    <a:gd name="connsiteY3" fmla="*/ 26596 h 76502"/>
                    <a:gd name="connsiteX4" fmla="*/ 18713 w 157129"/>
                    <a:gd name="connsiteY4" fmla="*/ 16837 h 76502"/>
                    <a:gd name="connsiteX5" fmla="*/ 28606 w 157129"/>
                    <a:gd name="connsiteY5" fmla="*/ 17002 h 76502"/>
                    <a:gd name="connsiteX6" fmla="*/ 28436 w 157129"/>
                    <a:gd name="connsiteY6" fmla="*/ 26894 h 76502"/>
                    <a:gd name="connsiteX7" fmla="*/ 18404 w 157129"/>
                    <a:gd name="connsiteY7" fmla="*/ 36588 h 76502"/>
                    <a:gd name="connsiteX8" fmla="*/ 13992 w 157129"/>
                    <a:gd name="connsiteY8" fmla="*/ 47297 h 76502"/>
                    <a:gd name="connsiteX9" fmla="*/ 18456 w 157129"/>
                    <a:gd name="connsiteY9" fmla="*/ 58091 h 76502"/>
                    <a:gd name="connsiteX10" fmla="*/ 29400 w 157129"/>
                    <a:gd name="connsiteY10" fmla="*/ 62518 h 76502"/>
                    <a:gd name="connsiteX11" fmla="*/ 39131 w 157129"/>
                    <a:gd name="connsiteY11" fmla="*/ 58057 h 76502"/>
                    <a:gd name="connsiteX12" fmla="*/ 98977 w 157129"/>
                    <a:gd name="connsiteY12" fmla="*/ 1892 h 76502"/>
                    <a:gd name="connsiteX13" fmla="*/ 103761 w 157129"/>
                    <a:gd name="connsiteY13" fmla="*/ 0 h 76502"/>
                    <a:gd name="connsiteX14" fmla="*/ 103764 w 157129"/>
                    <a:gd name="connsiteY14" fmla="*/ 0 h 76502"/>
                    <a:gd name="connsiteX15" fmla="*/ 150138 w 157129"/>
                    <a:gd name="connsiteY15" fmla="*/ 15 h 76502"/>
                    <a:gd name="connsiteX16" fmla="*/ 157130 w 157129"/>
                    <a:gd name="connsiteY16" fmla="*/ 7011 h 76502"/>
                    <a:gd name="connsiteX17" fmla="*/ 150134 w 157129"/>
                    <a:gd name="connsiteY17" fmla="*/ 14007 h 76502"/>
                    <a:gd name="connsiteX18" fmla="*/ 150130 w 157129"/>
                    <a:gd name="connsiteY18" fmla="*/ 14007 h 76502"/>
                    <a:gd name="connsiteX19" fmla="*/ 106528 w 157129"/>
                    <a:gd name="connsiteY19" fmla="*/ 13992 h 76502"/>
                    <a:gd name="connsiteX20" fmla="*/ 49126 w 157129"/>
                    <a:gd name="connsiteY20" fmla="*/ 67836 h 76502"/>
                    <a:gd name="connsiteX21" fmla="*/ 29779 w 157129"/>
                    <a:gd name="connsiteY21" fmla="*/ 76502 h 76502"/>
                    <a:gd name="connsiteX22" fmla="*/ 29018 w 157129"/>
                    <a:gd name="connsiteY22" fmla="*/ 76499 h 7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129" h="76502">
                      <a:moveTo>
                        <a:pt x="29018" y="76499"/>
                      </a:moveTo>
                      <a:cubicBezTo>
                        <a:pt x="21422" y="76499"/>
                        <a:pt x="14003" y="73418"/>
                        <a:pt x="8564" y="67975"/>
                      </a:cubicBezTo>
                      <a:cubicBezTo>
                        <a:pt x="3036" y="62448"/>
                        <a:pt x="-4" y="55095"/>
                        <a:pt x="0" y="47271"/>
                      </a:cubicBezTo>
                      <a:cubicBezTo>
                        <a:pt x="11" y="39458"/>
                        <a:pt x="3066" y="32113"/>
                        <a:pt x="8608" y="26596"/>
                      </a:cubicBezTo>
                      <a:lnTo>
                        <a:pt x="18713" y="16837"/>
                      </a:lnTo>
                      <a:cubicBezTo>
                        <a:pt x="21484" y="14154"/>
                        <a:pt x="25912" y="14227"/>
                        <a:pt x="28606" y="17002"/>
                      </a:cubicBezTo>
                      <a:cubicBezTo>
                        <a:pt x="31288" y="19781"/>
                        <a:pt x="31215" y="24208"/>
                        <a:pt x="28436" y="26894"/>
                      </a:cubicBezTo>
                      <a:lnTo>
                        <a:pt x="18404" y="36588"/>
                      </a:lnTo>
                      <a:cubicBezTo>
                        <a:pt x="15589" y="39396"/>
                        <a:pt x="13999" y="43219"/>
                        <a:pt x="13992" y="47297"/>
                      </a:cubicBezTo>
                      <a:cubicBezTo>
                        <a:pt x="13988" y="51374"/>
                        <a:pt x="15574" y="55205"/>
                        <a:pt x="18456" y="58091"/>
                      </a:cubicBezTo>
                      <a:cubicBezTo>
                        <a:pt x="21374" y="61009"/>
                        <a:pt x="25235" y="62536"/>
                        <a:pt x="29400" y="62518"/>
                      </a:cubicBezTo>
                      <a:cubicBezTo>
                        <a:pt x="33191" y="62415"/>
                        <a:pt x="36647" y="60832"/>
                        <a:pt x="39131" y="58057"/>
                      </a:cubicBezTo>
                      <a:lnTo>
                        <a:pt x="98977" y="1892"/>
                      </a:lnTo>
                      <a:cubicBezTo>
                        <a:pt x="100276" y="677"/>
                        <a:pt x="101983" y="0"/>
                        <a:pt x="103761" y="0"/>
                      </a:cubicBezTo>
                      <a:cubicBezTo>
                        <a:pt x="103761" y="0"/>
                        <a:pt x="103761" y="0"/>
                        <a:pt x="103764" y="0"/>
                      </a:cubicBezTo>
                      <a:lnTo>
                        <a:pt x="150138" y="15"/>
                      </a:lnTo>
                      <a:cubicBezTo>
                        <a:pt x="154002" y="15"/>
                        <a:pt x="157130" y="3150"/>
                        <a:pt x="157130" y="7011"/>
                      </a:cubicBezTo>
                      <a:cubicBezTo>
                        <a:pt x="157130" y="10878"/>
                        <a:pt x="153998" y="14007"/>
                        <a:pt x="150134" y="14007"/>
                      </a:cubicBezTo>
                      <a:cubicBezTo>
                        <a:pt x="150134" y="14007"/>
                        <a:pt x="150134" y="14007"/>
                        <a:pt x="150130" y="14007"/>
                      </a:cubicBezTo>
                      <a:lnTo>
                        <a:pt x="106528" y="13992"/>
                      </a:lnTo>
                      <a:lnTo>
                        <a:pt x="49126" y="67836"/>
                      </a:lnTo>
                      <a:cubicBezTo>
                        <a:pt x="44474" y="73061"/>
                        <a:pt x="37452" y="76292"/>
                        <a:pt x="29779" y="76502"/>
                      </a:cubicBezTo>
                      <a:cubicBezTo>
                        <a:pt x="29522" y="76499"/>
                        <a:pt x="29268" y="76499"/>
                        <a:pt x="29018" y="76499"/>
                      </a:cubicBezTo>
                      <a:close/>
                    </a:path>
                  </a:pathLst>
                </a:custGeom>
                <a:grpFill/>
                <a:ln w="368" cap="flat">
                  <a:noFill/>
                  <a:prstDash val="solid"/>
                  <a:miter/>
                </a:ln>
              </p:spPr>
              <p:txBody>
                <a:bodyPr rtlCol="0" anchor="ctr"/>
                <a:lstStyle/>
                <a:p>
                  <a:endParaRPr lang="en-GB" dirty="0"/>
                </a:p>
              </p:txBody>
            </p:sp>
            <p:sp>
              <p:nvSpPr>
                <p:cNvPr id="634" name="Freihandform: Form 236">
                  <a:extLst>
                    <a:ext uri="{FF2B5EF4-FFF2-40B4-BE49-F238E27FC236}">
                      <a16:creationId xmlns:a16="http://schemas.microsoft.com/office/drawing/2014/main" id="{A5D8BA0F-72B1-4E3F-8558-2262F3640619}"/>
                    </a:ext>
                  </a:extLst>
                </p:cNvPr>
                <p:cNvSpPr/>
                <p:nvPr/>
              </p:nvSpPr>
              <p:spPr>
                <a:xfrm>
                  <a:off x="797780" y="4300152"/>
                  <a:ext cx="459156" cy="14017"/>
                </a:xfrm>
                <a:custGeom>
                  <a:avLst/>
                  <a:gdLst>
                    <a:gd name="connsiteX0" fmla="*/ 6996 w 459156"/>
                    <a:gd name="connsiteY0" fmla="*/ 14017 h 14017"/>
                    <a:gd name="connsiteX1" fmla="*/ 0 w 459156"/>
                    <a:gd name="connsiteY1" fmla="*/ 7022 h 14017"/>
                    <a:gd name="connsiteX2" fmla="*/ 6996 w 459156"/>
                    <a:gd name="connsiteY2" fmla="*/ 26 h 14017"/>
                    <a:gd name="connsiteX3" fmla="*/ 452161 w 459156"/>
                    <a:gd name="connsiteY3" fmla="*/ 0 h 14017"/>
                    <a:gd name="connsiteX4" fmla="*/ 459157 w 459156"/>
                    <a:gd name="connsiteY4" fmla="*/ 6996 h 14017"/>
                    <a:gd name="connsiteX5" fmla="*/ 452161 w 459156"/>
                    <a:gd name="connsiteY5" fmla="*/ 13992 h 14017"/>
                    <a:gd name="connsiteX6" fmla="*/ 6996 w 459156"/>
                    <a:gd name="connsiteY6" fmla="*/ 14017 h 14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9156" h="14017">
                      <a:moveTo>
                        <a:pt x="6996" y="14017"/>
                      </a:moveTo>
                      <a:cubicBezTo>
                        <a:pt x="3132" y="14017"/>
                        <a:pt x="0" y="10889"/>
                        <a:pt x="0" y="7022"/>
                      </a:cubicBezTo>
                      <a:cubicBezTo>
                        <a:pt x="0" y="3161"/>
                        <a:pt x="3132" y="26"/>
                        <a:pt x="6996" y="26"/>
                      </a:cubicBezTo>
                      <a:lnTo>
                        <a:pt x="452161" y="0"/>
                      </a:lnTo>
                      <a:cubicBezTo>
                        <a:pt x="456025" y="0"/>
                        <a:pt x="459157" y="3128"/>
                        <a:pt x="459157" y="6996"/>
                      </a:cubicBezTo>
                      <a:cubicBezTo>
                        <a:pt x="459157" y="10856"/>
                        <a:pt x="456025" y="13992"/>
                        <a:pt x="452161" y="13992"/>
                      </a:cubicBezTo>
                      <a:lnTo>
                        <a:pt x="6996" y="14017"/>
                      </a:lnTo>
                      <a:close/>
                    </a:path>
                  </a:pathLst>
                </a:custGeom>
                <a:grpFill/>
                <a:ln w="368" cap="flat">
                  <a:noFill/>
                  <a:prstDash val="solid"/>
                  <a:miter/>
                </a:ln>
              </p:spPr>
              <p:txBody>
                <a:bodyPr rtlCol="0" anchor="ctr"/>
                <a:lstStyle/>
                <a:p>
                  <a:endParaRPr lang="en-GB" dirty="0"/>
                </a:p>
              </p:txBody>
            </p:sp>
            <p:sp>
              <p:nvSpPr>
                <p:cNvPr id="635" name="Freihandform: Form 237">
                  <a:extLst>
                    <a:ext uri="{FF2B5EF4-FFF2-40B4-BE49-F238E27FC236}">
                      <a16:creationId xmlns:a16="http://schemas.microsoft.com/office/drawing/2014/main" id="{8F121668-B0E3-43E9-B545-27BE8E27FB4B}"/>
                    </a:ext>
                  </a:extLst>
                </p:cNvPr>
                <p:cNvSpPr/>
                <p:nvPr/>
              </p:nvSpPr>
              <p:spPr>
                <a:xfrm>
                  <a:off x="901394" y="4345632"/>
                  <a:ext cx="114158" cy="131555"/>
                </a:xfrm>
                <a:custGeom>
                  <a:avLst/>
                  <a:gdLst>
                    <a:gd name="connsiteX0" fmla="*/ 29231 w 114158"/>
                    <a:gd name="connsiteY0" fmla="*/ 131556 h 131555"/>
                    <a:gd name="connsiteX1" fmla="*/ 8564 w 114158"/>
                    <a:gd name="connsiteY1" fmla="*/ 123010 h 131555"/>
                    <a:gd name="connsiteX2" fmla="*/ 0 w 114158"/>
                    <a:gd name="connsiteY2" fmla="*/ 102306 h 131555"/>
                    <a:gd name="connsiteX3" fmla="*/ 8608 w 114158"/>
                    <a:gd name="connsiteY3" fmla="*/ 81631 h 131555"/>
                    <a:gd name="connsiteX4" fmla="*/ 88540 w 114158"/>
                    <a:gd name="connsiteY4" fmla="*/ 2034 h 131555"/>
                    <a:gd name="connsiteX5" fmla="*/ 98432 w 114158"/>
                    <a:gd name="connsiteY5" fmla="*/ 2056 h 131555"/>
                    <a:gd name="connsiteX6" fmla="*/ 98410 w 114158"/>
                    <a:gd name="connsiteY6" fmla="*/ 11952 h 131555"/>
                    <a:gd name="connsiteX7" fmla="*/ 18478 w 114158"/>
                    <a:gd name="connsiteY7" fmla="*/ 91549 h 131555"/>
                    <a:gd name="connsiteX8" fmla="*/ 13992 w 114158"/>
                    <a:gd name="connsiteY8" fmla="*/ 102328 h 131555"/>
                    <a:gd name="connsiteX9" fmla="*/ 18456 w 114158"/>
                    <a:gd name="connsiteY9" fmla="*/ 113122 h 131555"/>
                    <a:gd name="connsiteX10" fmla="*/ 40014 w 114158"/>
                    <a:gd name="connsiteY10" fmla="*/ 113122 h 131555"/>
                    <a:gd name="connsiteX11" fmla="*/ 102219 w 114158"/>
                    <a:gd name="connsiteY11" fmla="*/ 50917 h 131555"/>
                    <a:gd name="connsiteX12" fmla="*/ 112111 w 114158"/>
                    <a:gd name="connsiteY12" fmla="*/ 50917 h 131555"/>
                    <a:gd name="connsiteX13" fmla="*/ 112111 w 114158"/>
                    <a:gd name="connsiteY13" fmla="*/ 60809 h 131555"/>
                    <a:gd name="connsiteX14" fmla="*/ 49906 w 114158"/>
                    <a:gd name="connsiteY14" fmla="*/ 123014 h 131555"/>
                    <a:gd name="connsiteX15" fmla="*/ 29231 w 114158"/>
                    <a:gd name="connsiteY15" fmla="*/ 131556 h 131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158" h="131555">
                      <a:moveTo>
                        <a:pt x="29231" y="131556"/>
                      </a:moveTo>
                      <a:cubicBezTo>
                        <a:pt x="21746" y="131556"/>
                        <a:pt x="14260" y="128707"/>
                        <a:pt x="8564" y="123010"/>
                      </a:cubicBezTo>
                      <a:cubicBezTo>
                        <a:pt x="3036" y="117483"/>
                        <a:pt x="-4" y="110130"/>
                        <a:pt x="0" y="102306"/>
                      </a:cubicBezTo>
                      <a:cubicBezTo>
                        <a:pt x="11" y="94493"/>
                        <a:pt x="3066" y="87148"/>
                        <a:pt x="8608" y="81631"/>
                      </a:cubicBezTo>
                      <a:lnTo>
                        <a:pt x="88540" y="2034"/>
                      </a:lnTo>
                      <a:cubicBezTo>
                        <a:pt x="91274" y="-693"/>
                        <a:pt x="95709" y="-671"/>
                        <a:pt x="98432" y="2056"/>
                      </a:cubicBezTo>
                      <a:cubicBezTo>
                        <a:pt x="101159" y="4794"/>
                        <a:pt x="101152" y="9229"/>
                        <a:pt x="98410" y="11952"/>
                      </a:cubicBezTo>
                      <a:lnTo>
                        <a:pt x="18478" y="91549"/>
                      </a:lnTo>
                      <a:cubicBezTo>
                        <a:pt x="15589" y="94423"/>
                        <a:pt x="13995" y="98251"/>
                        <a:pt x="13992" y="102328"/>
                      </a:cubicBezTo>
                      <a:cubicBezTo>
                        <a:pt x="13988" y="106406"/>
                        <a:pt x="15574" y="110237"/>
                        <a:pt x="18456" y="113122"/>
                      </a:cubicBezTo>
                      <a:cubicBezTo>
                        <a:pt x="24399" y="119065"/>
                        <a:pt x="34070" y="119065"/>
                        <a:pt x="40014" y="113122"/>
                      </a:cubicBezTo>
                      <a:lnTo>
                        <a:pt x="102219" y="50917"/>
                      </a:lnTo>
                      <a:cubicBezTo>
                        <a:pt x="104949" y="48186"/>
                        <a:pt x="109377" y="48186"/>
                        <a:pt x="112111" y="50917"/>
                      </a:cubicBezTo>
                      <a:cubicBezTo>
                        <a:pt x="114842" y="53648"/>
                        <a:pt x="114842" y="58075"/>
                        <a:pt x="112111" y="60809"/>
                      </a:cubicBezTo>
                      <a:lnTo>
                        <a:pt x="49906" y="123014"/>
                      </a:lnTo>
                      <a:cubicBezTo>
                        <a:pt x="44205" y="128707"/>
                        <a:pt x="36716" y="131556"/>
                        <a:pt x="29231" y="131556"/>
                      </a:cubicBezTo>
                      <a:close/>
                    </a:path>
                  </a:pathLst>
                </a:custGeom>
                <a:grpFill/>
                <a:ln w="368" cap="flat">
                  <a:noFill/>
                  <a:prstDash val="solid"/>
                  <a:miter/>
                </a:ln>
              </p:spPr>
              <p:txBody>
                <a:bodyPr rtlCol="0" anchor="ctr"/>
                <a:lstStyle/>
                <a:p>
                  <a:endParaRPr lang="en-GB" dirty="0"/>
                </a:p>
              </p:txBody>
            </p:sp>
            <p:sp>
              <p:nvSpPr>
                <p:cNvPr id="636" name="Freihandform: Form 238">
                  <a:extLst>
                    <a:ext uri="{FF2B5EF4-FFF2-40B4-BE49-F238E27FC236}">
                      <a16:creationId xmlns:a16="http://schemas.microsoft.com/office/drawing/2014/main" id="{A0B6857A-3D7E-4CE0-95DE-37B967AC9CC9}"/>
                    </a:ext>
                  </a:extLst>
                </p:cNvPr>
                <p:cNvSpPr/>
                <p:nvPr/>
              </p:nvSpPr>
              <p:spPr>
                <a:xfrm>
                  <a:off x="957607" y="4392638"/>
                  <a:ext cx="89976" cy="92193"/>
                </a:xfrm>
                <a:custGeom>
                  <a:avLst/>
                  <a:gdLst>
                    <a:gd name="connsiteX0" fmla="*/ 29165 w 89976"/>
                    <a:gd name="connsiteY0" fmla="*/ 92193 h 92193"/>
                    <a:gd name="connsiteX1" fmla="*/ 8564 w 89976"/>
                    <a:gd name="connsiteY1" fmla="*/ 82467 h 92193"/>
                    <a:gd name="connsiteX2" fmla="*/ 0 w 89976"/>
                    <a:gd name="connsiteY2" fmla="*/ 61770 h 92193"/>
                    <a:gd name="connsiteX3" fmla="*/ 8608 w 89976"/>
                    <a:gd name="connsiteY3" fmla="*/ 41088 h 92193"/>
                    <a:gd name="connsiteX4" fmla="*/ 47871 w 89976"/>
                    <a:gd name="connsiteY4" fmla="*/ 2038 h 92193"/>
                    <a:gd name="connsiteX5" fmla="*/ 57763 w 89976"/>
                    <a:gd name="connsiteY5" fmla="*/ 2064 h 92193"/>
                    <a:gd name="connsiteX6" fmla="*/ 57737 w 89976"/>
                    <a:gd name="connsiteY6" fmla="*/ 11956 h 92193"/>
                    <a:gd name="connsiteX7" fmla="*/ 18478 w 89976"/>
                    <a:gd name="connsiteY7" fmla="*/ 50998 h 92193"/>
                    <a:gd name="connsiteX8" fmla="*/ 13995 w 89976"/>
                    <a:gd name="connsiteY8" fmla="*/ 61785 h 92193"/>
                    <a:gd name="connsiteX9" fmla="*/ 18459 w 89976"/>
                    <a:gd name="connsiteY9" fmla="*/ 72578 h 92193"/>
                    <a:gd name="connsiteX10" fmla="*/ 29169 w 89976"/>
                    <a:gd name="connsiteY10" fmla="*/ 78205 h 92193"/>
                    <a:gd name="connsiteX11" fmla="*/ 29404 w 89976"/>
                    <a:gd name="connsiteY11" fmla="*/ 78198 h 92193"/>
                    <a:gd name="connsiteX12" fmla="*/ 39131 w 89976"/>
                    <a:gd name="connsiteY12" fmla="*/ 72534 h 92193"/>
                    <a:gd name="connsiteX13" fmla="*/ 78037 w 89976"/>
                    <a:gd name="connsiteY13" fmla="*/ 33621 h 92193"/>
                    <a:gd name="connsiteX14" fmla="*/ 87929 w 89976"/>
                    <a:gd name="connsiteY14" fmla="*/ 33621 h 92193"/>
                    <a:gd name="connsiteX15" fmla="*/ 87929 w 89976"/>
                    <a:gd name="connsiteY15" fmla="*/ 43513 h 92193"/>
                    <a:gd name="connsiteX16" fmla="*/ 49284 w 89976"/>
                    <a:gd name="connsiteY16" fmla="*/ 82154 h 92193"/>
                    <a:gd name="connsiteX17" fmla="*/ 29787 w 89976"/>
                    <a:gd name="connsiteY17" fmla="*/ 92182 h 92193"/>
                    <a:gd name="connsiteX18" fmla="*/ 29165 w 89976"/>
                    <a:gd name="connsiteY18" fmla="*/ 92193 h 9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9976" h="92193">
                      <a:moveTo>
                        <a:pt x="29165" y="92193"/>
                      </a:moveTo>
                      <a:cubicBezTo>
                        <a:pt x="22048" y="92193"/>
                        <a:pt x="14938" y="88841"/>
                        <a:pt x="8564" y="82467"/>
                      </a:cubicBezTo>
                      <a:cubicBezTo>
                        <a:pt x="3036" y="76939"/>
                        <a:pt x="-4" y="69590"/>
                        <a:pt x="0" y="61770"/>
                      </a:cubicBezTo>
                      <a:cubicBezTo>
                        <a:pt x="7" y="53950"/>
                        <a:pt x="3062" y="46608"/>
                        <a:pt x="8608" y="41088"/>
                      </a:cubicBezTo>
                      <a:lnTo>
                        <a:pt x="47871" y="2038"/>
                      </a:lnTo>
                      <a:cubicBezTo>
                        <a:pt x="50602" y="-693"/>
                        <a:pt x="55036" y="-674"/>
                        <a:pt x="57763" y="2064"/>
                      </a:cubicBezTo>
                      <a:cubicBezTo>
                        <a:pt x="60490" y="4802"/>
                        <a:pt x="60475" y="9229"/>
                        <a:pt x="57737" y="11956"/>
                      </a:cubicBezTo>
                      <a:lnTo>
                        <a:pt x="18478" y="50998"/>
                      </a:lnTo>
                      <a:cubicBezTo>
                        <a:pt x="15593" y="53872"/>
                        <a:pt x="13995" y="57707"/>
                        <a:pt x="13995" y="61785"/>
                      </a:cubicBezTo>
                      <a:cubicBezTo>
                        <a:pt x="13992" y="65862"/>
                        <a:pt x="15578" y="69693"/>
                        <a:pt x="18459" y="72578"/>
                      </a:cubicBezTo>
                      <a:cubicBezTo>
                        <a:pt x="21043" y="75162"/>
                        <a:pt x="24981" y="78205"/>
                        <a:pt x="29169" y="78205"/>
                      </a:cubicBezTo>
                      <a:cubicBezTo>
                        <a:pt x="29246" y="78205"/>
                        <a:pt x="29327" y="78205"/>
                        <a:pt x="29404" y="78198"/>
                      </a:cubicBezTo>
                      <a:cubicBezTo>
                        <a:pt x="32565" y="78117"/>
                        <a:pt x="35841" y="76210"/>
                        <a:pt x="39131" y="72534"/>
                      </a:cubicBezTo>
                      <a:lnTo>
                        <a:pt x="78037" y="33621"/>
                      </a:lnTo>
                      <a:cubicBezTo>
                        <a:pt x="80767" y="30890"/>
                        <a:pt x="85195" y="30890"/>
                        <a:pt x="87929" y="33621"/>
                      </a:cubicBezTo>
                      <a:cubicBezTo>
                        <a:pt x="90660" y="36351"/>
                        <a:pt x="90660" y="40778"/>
                        <a:pt x="87929" y="43513"/>
                      </a:cubicBezTo>
                      <a:lnTo>
                        <a:pt x="49284" y="82154"/>
                      </a:lnTo>
                      <a:cubicBezTo>
                        <a:pt x="43591" y="88521"/>
                        <a:pt x="36941" y="91991"/>
                        <a:pt x="29787" y="92182"/>
                      </a:cubicBezTo>
                      <a:cubicBezTo>
                        <a:pt x="29573" y="92186"/>
                        <a:pt x="29371" y="92193"/>
                        <a:pt x="29165" y="92193"/>
                      </a:cubicBezTo>
                      <a:close/>
                    </a:path>
                  </a:pathLst>
                </a:custGeom>
                <a:grpFill/>
                <a:ln w="368" cap="flat">
                  <a:noFill/>
                  <a:prstDash val="solid"/>
                  <a:miter/>
                </a:ln>
              </p:spPr>
              <p:txBody>
                <a:bodyPr rtlCol="0" anchor="ctr"/>
                <a:lstStyle/>
                <a:p>
                  <a:endParaRPr lang="en-GB" dirty="0"/>
                </a:p>
              </p:txBody>
            </p:sp>
            <p:sp>
              <p:nvSpPr>
                <p:cNvPr id="637" name="Freihandform: Form 239">
                  <a:extLst>
                    <a:ext uri="{FF2B5EF4-FFF2-40B4-BE49-F238E27FC236}">
                      <a16:creationId xmlns:a16="http://schemas.microsoft.com/office/drawing/2014/main" id="{9CA42310-2D08-4E51-90C6-693E48BC08BF}"/>
                    </a:ext>
                  </a:extLst>
                </p:cNvPr>
                <p:cNvSpPr/>
                <p:nvPr/>
              </p:nvSpPr>
              <p:spPr>
                <a:xfrm>
                  <a:off x="1000889" y="4424316"/>
                  <a:ext cx="77133" cy="77860"/>
                </a:xfrm>
                <a:custGeom>
                  <a:avLst/>
                  <a:gdLst>
                    <a:gd name="connsiteX0" fmla="*/ 29014 w 77133"/>
                    <a:gd name="connsiteY0" fmla="*/ 77857 h 77860"/>
                    <a:gd name="connsiteX1" fmla="*/ 8560 w 77133"/>
                    <a:gd name="connsiteY1" fmla="*/ 69333 h 77860"/>
                    <a:gd name="connsiteX2" fmla="*/ 0 w 77133"/>
                    <a:gd name="connsiteY2" fmla="*/ 48637 h 77860"/>
                    <a:gd name="connsiteX3" fmla="*/ 8604 w 77133"/>
                    <a:gd name="connsiteY3" fmla="*/ 27954 h 77860"/>
                    <a:gd name="connsiteX4" fmla="*/ 34884 w 77133"/>
                    <a:gd name="connsiteY4" fmla="*/ 2013 h 77860"/>
                    <a:gd name="connsiteX5" fmla="*/ 44776 w 77133"/>
                    <a:gd name="connsiteY5" fmla="*/ 2083 h 77860"/>
                    <a:gd name="connsiteX6" fmla="*/ 44710 w 77133"/>
                    <a:gd name="connsiteY6" fmla="*/ 11975 h 77860"/>
                    <a:gd name="connsiteX7" fmla="*/ 18448 w 77133"/>
                    <a:gd name="connsiteY7" fmla="*/ 37898 h 77860"/>
                    <a:gd name="connsiteX8" fmla="*/ 13984 w 77133"/>
                    <a:gd name="connsiteY8" fmla="*/ 48655 h 77860"/>
                    <a:gd name="connsiteX9" fmla="*/ 18448 w 77133"/>
                    <a:gd name="connsiteY9" fmla="*/ 59449 h 77860"/>
                    <a:gd name="connsiteX10" fmla="*/ 29386 w 77133"/>
                    <a:gd name="connsiteY10" fmla="*/ 63876 h 77860"/>
                    <a:gd name="connsiteX11" fmla="*/ 39120 w 77133"/>
                    <a:gd name="connsiteY11" fmla="*/ 59415 h 77860"/>
                    <a:gd name="connsiteX12" fmla="*/ 65193 w 77133"/>
                    <a:gd name="connsiteY12" fmla="*/ 33331 h 77860"/>
                    <a:gd name="connsiteX13" fmla="*/ 75085 w 77133"/>
                    <a:gd name="connsiteY13" fmla="*/ 33331 h 77860"/>
                    <a:gd name="connsiteX14" fmla="*/ 75085 w 77133"/>
                    <a:gd name="connsiteY14" fmla="*/ 43223 h 77860"/>
                    <a:gd name="connsiteX15" fmla="*/ 49273 w 77133"/>
                    <a:gd name="connsiteY15" fmla="*/ 69035 h 77860"/>
                    <a:gd name="connsiteX16" fmla="*/ 29765 w 77133"/>
                    <a:gd name="connsiteY16" fmla="*/ 77860 h 77860"/>
                    <a:gd name="connsiteX17" fmla="*/ 29014 w 77133"/>
                    <a:gd name="connsiteY17" fmla="*/ 77857 h 7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133" h="77860">
                      <a:moveTo>
                        <a:pt x="29014" y="77857"/>
                      </a:moveTo>
                      <a:cubicBezTo>
                        <a:pt x="21418" y="77857"/>
                        <a:pt x="13999" y="74776"/>
                        <a:pt x="8560" y="69333"/>
                      </a:cubicBezTo>
                      <a:cubicBezTo>
                        <a:pt x="3032" y="63806"/>
                        <a:pt x="-7" y="56457"/>
                        <a:pt x="0" y="48637"/>
                      </a:cubicBezTo>
                      <a:cubicBezTo>
                        <a:pt x="7" y="40816"/>
                        <a:pt x="3062" y="33474"/>
                        <a:pt x="8604" y="27954"/>
                      </a:cubicBezTo>
                      <a:lnTo>
                        <a:pt x="34884" y="2013"/>
                      </a:lnTo>
                      <a:cubicBezTo>
                        <a:pt x="37629" y="-699"/>
                        <a:pt x="42060" y="-666"/>
                        <a:pt x="44776" y="2083"/>
                      </a:cubicBezTo>
                      <a:cubicBezTo>
                        <a:pt x="47488" y="4829"/>
                        <a:pt x="47459" y="9256"/>
                        <a:pt x="44710" y="11975"/>
                      </a:cubicBezTo>
                      <a:lnTo>
                        <a:pt x="18448" y="37898"/>
                      </a:lnTo>
                      <a:cubicBezTo>
                        <a:pt x="15578" y="40754"/>
                        <a:pt x="13988" y="44577"/>
                        <a:pt x="13984" y="48655"/>
                      </a:cubicBezTo>
                      <a:cubicBezTo>
                        <a:pt x="13981" y="52733"/>
                        <a:pt x="15567" y="56563"/>
                        <a:pt x="18448" y="59449"/>
                      </a:cubicBezTo>
                      <a:cubicBezTo>
                        <a:pt x="21367" y="62367"/>
                        <a:pt x="25378" y="63887"/>
                        <a:pt x="29386" y="63876"/>
                      </a:cubicBezTo>
                      <a:cubicBezTo>
                        <a:pt x="33180" y="63773"/>
                        <a:pt x="36636" y="62190"/>
                        <a:pt x="39120" y="59415"/>
                      </a:cubicBezTo>
                      <a:lnTo>
                        <a:pt x="65193" y="33331"/>
                      </a:lnTo>
                      <a:cubicBezTo>
                        <a:pt x="67924" y="30600"/>
                        <a:pt x="72351" y="30600"/>
                        <a:pt x="75085" y="33331"/>
                      </a:cubicBezTo>
                      <a:cubicBezTo>
                        <a:pt x="77816" y="36062"/>
                        <a:pt x="77816" y="40489"/>
                        <a:pt x="75085" y="43223"/>
                      </a:cubicBezTo>
                      <a:lnTo>
                        <a:pt x="49273" y="69035"/>
                      </a:lnTo>
                      <a:cubicBezTo>
                        <a:pt x="44456" y="74419"/>
                        <a:pt x="37434" y="77654"/>
                        <a:pt x="29765" y="77860"/>
                      </a:cubicBezTo>
                      <a:cubicBezTo>
                        <a:pt x="29518" y="77857"/>
                        <a:pt x="29268" y="77857"/>
                        <a:pt x="29014" y="77857"/>
                      </a:cubicBezTo>
                      <a:close/>
                    </a:path>
                  </a:pathLst>
                </a:custGeom>
                <a:grpFill/>
                <a:ln w="368" cap="flat">
                  <a:noFill/>
                  <a:prstDash val="solid"/>
                  <a:miter/>
                </a:ln>
              </p:spPr>
              <p:txBody>
                <a:bodyPr rtlCol="0" anchor="ctr"/>
                <a:lstStyle/>
                <a:p>
                  <a:endParaRPr lang="en-GB" dirty="0"/>
                </a:p>
              </p:txBody>
            </p:sp>
            <p:sp>
              <p:nvSpPr>
                <p:cNvPr id="638" name="Freihandform: Form 240">
                  <a:extLst>
                    <a:ext uri="{FF2B5EF4-FFF2-40B4-BE49-F238E27FC236}">
                      <a16:creationId xmlns:a16="http://schemas.microsoft.com/office/drawing/2014/main" id="{CDAB4FB8-6128-4572-91CF-DC6398CB77EE}"/>
                    </a:ext>
                  </a:extLst>
                </p:cNvPr>
                <p:cNvSpPr/>
                <p:nvPr/>
              </p:nvSpPr>
              <p:spPr>
                <a:xfrm>
                  <a:off x="988830" y="4300151"/>
                  <a:ext cx="123188" cy="106592"/>
                </a:xfrm>
                <a:custGeom>
                  <a:avLst/>
                  <a:gdLst>
                    <a:gd name="connsiteX0" fmla="*/ 93946 w 123188"/>
                    <a:gd name="connsiteY0" fmla="*/ 106593 h 106592"/>
                    <a:gd name="connsiteX1" fmla="*/ 73264 w 123188"/>
                    <a:gd name="connsiteY1" fmla="*/ 98040 h 106592"/>
                    <a:gd name="connsiteX2" fmla="*/ 33732 w 123188"/>
                    <a:gd name="connsiteY2" fmla="*/ 58505 h 106592"/>
                    <a:gd name="connsiteX3" fmla="*/ 6996 w 123188"/>
                    <a:gd name="connsiteY3" fmla="*/ 58505 h 106592"/>
                    <a:gd name="connsiteX4" fmla="*/ 0 w 123188"/>
                    <a:gd name="connsiteY4" fmla="*/ 51509 h 106592"/>
                    <a:gd name="connsiteX5" fmla="*/ 6996 w 123188"/>
                    <a:gd name="connsiteY5" fmla="*/ 44513 h 106592"/>
                    <a:gd name="connsiteX6" fmla="*/ 36628 w 123188"/>
                    <a:gd name="connsiteY6" fmla="*/ 44513 h 106592"/>
                    <a:gd name="connsiteX7" fmla="*/ 41574 w 123188"/>
                    <a:gd name="connsiteY7" fmla="*/ 46563 h 106592"/>
                    <a:gd name="connsiteX8" fmla="*/ 83156 w 123188"/>
                    <a:gd name="connsiteY8" fmla="*/ 88148 h 106592"/>
                    <a:gd name="connsiteX9" fmla="*/ 104743 w 123188"/>
                    <a:gd name="connsiteY9" fmla="*/ 88148 h 106592"/>
                    <a:gd name="connsiteX10" fmla="*/ 104743 w 123188"/>
                    <a:gd name="connsiteY10" fmla="*/ 66557 h 106592"/>
                    <a:gd name="connsiteX11" fmla="*/ 50127 w 123188"/>
                    <a:gd name="connsiteY11" fmla="*/ 11940 h 106592"/>
                    <a:gd name="connsiteX12" fmla="*/ 50127 w 123188"/>
                    <a:gd name="connsiteY12" fmla="*/ 2048 h 106592"/>
                    <a:gd name="connsiteX13" fmla="*/ 60019 w 123188"/>
                    <a:gd name="connsiteY13" fmla="*/ 2048 h 106592"/>
                    <a:gd name="connsiteX14" fmla="*/ 114635 w 123188"/>
                    <a:gd name="connsiteY14" fmla="*/ 56665 h 106592"/>
                    <a:gd name="connsiteX15" fmla="*/ 114635 w 123188"/>
                    <a:gd name="connsiteY15" fmla="*/ 98036 h 106592"/>
                    <a:gd name="connsiteX16" fmla="*/ 93946 w 123188"/>
                    <a:gd name="connsiteY16" fmla="*/ 106593 h 10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88" h="106592">
                      <a:moveTo>
                        <a:pt x="93946" y="106593"/>
                      </a:moveTo>
                      <a:cubicBezTo>
                        <a:pt x="86457" y="106593"/>
                        <a:pt x="78968" y="103744"/>
                        <a:pt x="73264" y="98040"/>
                      </a:cubicBezTo>
                      <a:lnTo>
                        <a:pt x="33732" y="58505"/>
                      </a:lnTo>
                      <a:lnTo>
                        <a:pt x="6996" y="58505"/>
                      </a:lnTo>
                      <a:cubicBezTo>
                        <a:pt x="3132" y="58505"/>
                        <a:pt x="0" y="55377"/>
                        <a:pt x="0" y="51509"/>
                      </a:cubicBezTo>
                      <a:cubicBezTo>
                        <a:pt x="0" y="47641"/>
                        <a:pt x="3132" y="44513"/>
                        <a:pt x="6996" y="44513"/>
                      </a:cubicBezTo>
                      <a:lnTo>
                        <a:pt x="36628" y="44513"/>
                      </a:lnTo>
                      <a:cubicBezTo>
                        <a:pt x="38483" y="44513"/>
                        <a:pt x="40260" y="45249"/>
                        <a:pt x="41574" y="46563"/>
                      </a:cubicBezTo>
                      <a:lnTo>
                        <a:pt x="83156" y="88148"/>
                      </a:lnTo>
                      <a:cubicBezTo>
                        <a:pt x="89107" y="94091"/>
                        <a:pt x="98793" y="94091"/>
                        <a:pt x="104743" y="88148"/>
                      </a:cubicBezTo>
                      <a:cubicBezTo>
                        <a:pt x="110694" y="82197"/>
                        <a:pt x="110694" y="72507"/>
                        <a:pt x="104743" y="66557"/>
                      </a:cubicBezTo>
                      <a:lnTo>
                        <a:pt x="50127" y="11940"/>
                      </a:lnTo>
                      <a:cubicBezTo>
                        <a:pt x="47396" y="9209"/>
                        <a:pt x="47396" y="4782"/>
                        <a:pt x="50127" y="2048"/>
                      </a:cubicBezTo>
                      <a:cubicBezTo>
                        <a:pt x="52857" y="-683"/>
                        <a:pt x="57285" y="-683"/>
                        <a:pt x="60019" y="2048"/>
                      </a:cubicBezTo>
                      <a:lnTo>
                        <a:pt x="114635" y="56665"/>
                      </a:lnTo>
                      <a:cubicBezTo>
                        <a:pt x="126040" y="68073"/>
                        <a:pt x="126040" y="86632"/>
                        <a:pt x="114635" y="98036"/>
                      </a:cubicBezTo>
                      <a:cubicBezTo>
                        <a:pt x="108928" y="103744"/>
                        <a:pt x="101439" y="106593"/>
                        <a:pt x="93946" y="106593"/>
                      </a:cubicBezTo>
                      <a:close/>
                    </a:path>
                  </a:pathLst>
                </a:custGeom>
                <a:grpFill/>
                <a:ln w="368" cap="flat">
                  <a:noFill/>
                  <a:prstDash val="solid"/>
                  <a:miter/>
                </a:ln>
              </p:spPr>
              <p:txBody>
                <a:bodyPr rtlCol="0" anchor="ctr"/>
                <a:lstStyle/>
                <a:p>
                  <a:endParaRPr lang="en-GB" dirty="0"/>
                </a:p>
              </p:txBody>
            </p:sp>
            <p:sp>
              <p:nvSpPr>
                <p:cNvPr id="639" name="Freihandform: Form 241">
                  <a:extLst>
                    <a:ext uri="{FF2B5EF4-FFF2-40B4-BE49-F238E27FC236}">
                      <a16:creationId xmlns:a16="http://schemas.microsoft.com/office/drawing/2014/main" id="{D9823CC8-B9BD-4287-B4F9-0C400924DAAC}"/>
                    </a:ext>
                  </a:extLst>
                </p:cNvPr>
                <p:cNvSpPr/>
                <p:nvPr/>
              </p:nvSpPr>
              <p:spPr>
                <a:xfrm>
                  <a:off x="852500" y="4441119"/>
                  <a:ext cx="63143" cy="13991"/>
                </a:xfrm>
                <a:custGeom>
                  <a:avLst/>
                  <a:gdLst>
                    <a:gd name="connsiteX0" fmla="*/ 56147 w 63143"/>
                    <a:gd name="connsiteY0" fmla="*/ 13992 h 13991"/>
                    <a:gd name="connsiteX1" fmla="*/ 6996 w 63143"/>
                    <a:gd name="connsiteY1" fmla="*/ 13992 h 13991"/>
                    <a:gd name="connsiteX2" fmla="*/ 0 w 63143"/>
                    <a:gd name="connsiteY2" fmla="*/ 6996 h 13991"/>
                    <a:gd name="connsiteX3" fmla="*/ 6996 w 63143"/>
                    <a:gd name="connsiteY3" fmla="*/ 0 h 13991"/>
                    <a:gd name="connsiteX4" fmla="*/ 56147 w 63143"/>
                    <a:gd name="connsiteY4" fmla="*/ 0 h 13991"/>
                    <a:gd name="connsiteX5" fmla="*/ 63143 w 63143"/>
                    <a:gd name="connsiteY5" fmla="*/ 6996 h 13991"/>
                    <a:gd name="connsiteX6" fmla="*/ 56147 w 63143"/>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43" h="13991">
                      <a:moveTo>
                        <a:pt x="56147" y="13992"/>
                      </a:moveTo>
                      <a:lnTo>
                        <a:pt x="6996" y="13992"/>
                      </a:lnTo>
                      <a:cubicBezTo>
                        <a:pt x="3132" y="13992"/>
                        <a:pt x="0" y="10864"/>
                        <a:pt x="0" y="6996"/>
                      </a:cubicBezTo>
                      <a:cubicBezTo>
                        <a:pt x="0" y="3128"/>
                        <a:pt x="3132" y="0"/>
                        <a:pt x="6996" y="0"/>
                      </a:cubicBezTo>
                      <a:lnTo>
                        <a:pt x="56147" y="0"/>
                      </a:lnTo>
                      <a:cubicBezTo>
                        <a:pt x="60012" y="0"/>
                        <a:pt x="63143" y="3128"/>
                        <a:pt x="63143" y="6996"/>
                      </a:cubicBezTo>
                      <a:cubicBezTo>
                        <a:pt x="63143" y="10864"/>
                        <a:pt x="60012" y="13992"/>
                        <a:pt x="56147" y="13992"/>
                      </a:cubicBezTo>
                      <a:close/>
                    </a:path>
                  </a:pathLst>
                </a:custGeom>
                <a:grpFill/>
                <a:ln w="368" cap="flat">
                  <a:noFill/>
                  <a:prstDash val="solid"/>
                  <a:miter/>
                </a:ln>
              </p:spPr>
              <p:txBody>
                <a:bodyPr rtlCol="0" anchor="ctr"/>
                <a:lstStyle/>
                <a:p>
                  <a:endParaRPr lang="en-GB" dirty="0"/>
                </a:p>
              </p:txBody>
            </p:sp>
          </p:grpSp>
          <p:sp>
            <p:nvSpPr>
              <p:cNvPr id="632" name="Freihandform: Form 242">
                <a:extLst>
                  <a:ext uri="{FF2B5EF4-FFF2-40B4-BE49-F238E27FC236}">
                    <a16:creationId xmlns:a16="http://schemas.microsoft.com/office/drawing/2014/main" id="{77F0056F-121C-482C-BB78-9BB3630750A4}"/>
                  </a:ext>
                </a:extLst>
              </p:cNvPr>
              <p:cNvSpPr/>
              <p:nvPr/>
            </p:nvSpPr>
            <p:spPr>
              <a:xfrm>
                <a:off x="859996" y="4467756"/>
                <a:ext cx="335736" cy="293768"/>
              </a:xfrm>
              <a:custGeom>
                <a:avLst/>
                <a:gdLst>
                  <a:gd name="connsiteX0" fmla="*/ 328741 w 335736"/>
                  <a:gd name="connsiteY0" fmla="*/ 293769 h 293768"/>
                  <a:gd name="connsiteX1" fmla="*/ 6996 w 335736"/>
                  <a:gd name="connsiteY1" fmla="*/ 293769 h 293768"/>
                  <a:gd name="connsiteX2" fmla="*/ 0 w 335736"/>
                  <a:gd name="connsiteY2" fmla="*/ 286773 h 293768"/>
                  <a:gd name="connsiteX3" fmla="*/ 0 w 335736"/>
                  <a:gd name="connsiteY3" fmla="*/ 6996 h 293768"/>
                  <a:gd name="connsiteX4" fmla="*/ 6996 w 335736"/>
                  <a:gd name="connsiteY4" fmla="*/ 0 h 293768"/>
                  <a:gd name="connsiteX5" fmla="*/ 13992 w 335736"/>
                  <a:gd name="connsiteY5" fmla="*/ 6996 h 293768"/>
                  <a:gd name="connsiteX6" fmla="*/ 13992 w 335736"/>
                  <a:gd name="connsiteY6" fmla="*/ 279777 h 293768"/>
                  <a:gd name="connsiteX7" fmla="*/ 321745 w 335736"/>
                  <a:gd name="connsiteY7" fmla="*/ 279777 h 293768"/>
                  <a:gd name="connsiteX8" fmla="*/ 321745 w 335736"/>
                  <a:gd name="connsiteY8" fmla="*/ 6996 h 293768"/>
                  <a:gd name="connsiteX9" fmla="*/ 328741 w 335736"/>
                  <a:gd name="connsiteY9" fmla="*/ 0 h 293768"/>
                  <a:gd name="connsiteX10" fmla="*/ 335737 w 335736"/>
                  <a:gd name="connsiteY10" fmla="*/ 6996 h 293768"/>
                  <a:gd name="connsiteX11" fmla="*/ 335737 w 335736"/>
                  <a:gd name="connsiteY11" fmla="*/ 286773 h 293768"/>
                  <a:gd name="connsiteX12" fmla="*/ 328741 w 335736"/>
                  <a:gd name="connsiteY12" fmla="*/ 293769 h 293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5736" h="293768">
                    <a:moveTo>
                      <a:pt x="328741" y="293769"/>
                    </a:moveTo>
                    <a:lnTo>
                      <a:pt x="6996" y="293769"/>
                    </a:lnTo>
                    <a:cubicBezTo>
                      <a:pt x="3132" y="293769"/>
                      <a:pt x="0" y="290640"/>
                      <a:pt x="0" y="286773"/>
                    </a:cubicBezTo>
                    <a:lnTo>
                      <a:pt x="0" y="6996"/>
                    </a:lnTo>
                    <a:cubicBezTo>
                      <a:pt x="0" y="3128"/>
                      <a:pt x="3132" y="0"/>
                      <a:pt x="6996" y="0"/>
                    </a:cubicBezTo>
                    <a:cubicBezTo>
                      <a:pt x="10860" y="0"/>
                      <a:pt x="13992" y="3128"/>
                      <a:pt x="13992" y="6996"/>
                    </a:cubicBezTo>
                    <a:lnTo>
                      <a:pt x="13992" y="279777"/>
                    </a:lnTo>
                    <a:lnTo>
                      <a:pt x="321745" y="279777"/>
                    </a:lnTo>
                    <a:lnTo>
                      <a:pt x="321745" y="6996"/>
                    </a:lnTo>
                    <a:cubicBezTo>
                      <a:pt x="321745" y="3128"/>
                      <a:pt x="324877" y="0"/>
                      <a:pt x="328741" y="0"/>
                    </a:cubicBezTo>
                    <a:cubicBezTo>
                      <a:pt x="332605" y="0"/>
                      <a:pt x="335737" y="3128"/>
                      <a:pt x="335737" y="6996"/>
                    </a:cubicBezTo>
                    <a:lnTo>
                      <a:pt x="335737" y="286773"/>
                    </a:lnTo>
                    <a:cubicBezTo>
                      <a:pt x="335733" y="290640"/>
                      <a:pt x="332601" y="293769"/>
                      <a:pt x="328741" y="293769"/>
                    </a:cubicBezTo>
                    <a:close/>
                  </a:path>
                </a:pathLst>
              </a:custGeom>
              <a:grpFill/>
              <a:ln w="368" cap="flat">
                <a:noFill/>
                <a:prstDash val="solid"/>
                <a:miter/>
              </a:ln>
            </p:spPr>
            <p:txBody>
              <a:bodyPr rtlCol="0" anchor="ctr"/>
              <a:lstStyle/>
              <a:p>
                <a:endParaRPr lang="en-GB" dirty="0"/>
              </a:p>
            </p:txBody>
          </p:sp>
        </p:grpSp>
        <p:grpSp>
          <p:nvGrpSpPr>
            <p:cNvPr id="620" name="Group 619">
              <a:extLst>
                <a:ext uri="{FF2B5EF4-FFF2-40B4-BE49-F238E27FC236}">
                  <a16:creationId xmlns:a16="http://schemas.microsoft.com/office/drawing/2014/main" id="{7443D79F-063A-48A9-B465-6621BC49F86B}"/>
                </a:ext>
              </a:extLst>
            </p:cNvPr>
            <p:cNvGrpSpPr/>
            <p:nvPr/>
          </p:nvGrpSpPr>
          <p:grpSpPr>
            <a:xfrm>
              <a:off x="5840405" y="2691415"/>
              <a:ext cx="216119" cy="144083"/>
              <a:chOff x="908962" y="4558684"/>
              <a:chExt cx="230814" cy="153880"/>
            </a:xfrm>
          </p:grpSpPr>
          <p:grpSp>
            <p:nvGrpSpPr>
              <p:cNvPr id="621" name="Graphic 4">
                <a:extLst>
                  <a:ext uri="{FF2B5EF4-FFF2-40B4-BE49-F238E27FC236}">
                    <a16:creationId xmlns:a16="http://schemas.microsoft.com/office/drawing/2014/main" id="{A972FB27-6935-49D9-94A8-41A908179058}"/>
                  </a:ext>
                </a:extLst>
              </p:cNvPr>
              <p:cNvGrpSpPr/>
              <p:nvPr/>
            </p:nvGrpSpPr>
            <p:grpSpPr>
              <a:xfrm>
                <a:off x="908962" y="4558684"/>
                <a:ext cx="230814" cy="48963"/>
                <a:chOff x="908962" y="4558684"/>
                <a:chExt cx="230814" cy="48963"/>
              </a:xfrm>
              <a:solidFill>
                <a:schemeClr val="accent1"/>
              </a:solidFill>
            </p:grpSpPr>
            <p:sp>
              <p:nvSpPr>
                <p:cNvPr id="627" name="Freihandform: Form 244">
                  <a:extLst>
                    <a:ext uri="{FF2B5EF4-FFF2-40B4-BE49-F238E27FC236}">
                      <a16:creationId xmlns:a16="http://schemas.microsoft.com/office/drawing/2014/main" id="{D3B16FCD-7744-4F29-85F2-1F6F1EB68FED}"/>
                    </a:ext>
                  </a:extLst>
                </p:cNvPr>
                <p:cNvSpPr/>
                <p:nvPr/>
              </p:nvSpPr>
              <p:spPr>
                <a:xfrm>
                  <a:off x="908962" y="4558685"/>
                  <a:ext cx="48964" cy="48963"/>
                </a:xfrm>
                <a:custGeom>
                  <a:avLst/>
                  <a:gdLst>
                    <a:gd name="connsiteX0" fmla="*/ 20982 w 48964"/>
                    <a:gd name="connsiteY0" fmla="*/ 48963 h 48963"/>
                    <a:gd name="connsiteX1" fmla="*/ 16036 w 48964"/>
                    <a:gd name="connsiteY1" fmla="*/ 46913 h 48963"/>
                    <a:gd name="connsiteX2" fmla="*/ 2048 w 48964"/>
                    <a:gd name="connsiteY2" fmla="*/ 32925 h 48963"/>
                    <a:gd name="connsiteX3" fmla="*/ 2048 w 48964"/>
                    <a:gd name="connsiteY3" fmla="*/ 23033 h 48963"/>
                    <a:gd name="connsiteX4" fmla="*/ 11940 w 48964"/>
                    <a:gd name="connsiteY4" fmla="*/ 23033 h 48963"/>
                    <a:gd name="connsiteX5" fmla="*/ 19595 w 48964"/>
                    <a:gd name="connsiteY5" fmla="*/ 30691 h 48963"/>
                    <a:gd name="connsiteX6" fmla="*/ 35971 w 48964"/>
                    <a:gd name="connsiteY6" fmla="*/ 3396 h 48963"/>
                    <a:gd name="connsiteX7" fmla="*/ 45569 w 48964"/>
                    <a:gd name="connsiteY7" fmla="*/ 1000 h 48963"/>
                    <a:gd name="connsiteX8" fmla="*/ 47965 w 48964"/>
                    <a:gd name="connsiteY8" fmla="*/ 10598 h 48963"/>
                    <a:gd name="connsiteX9" fmla="*/ 26981 w 48964"/>
                    <a:gd name="connsiteY9" fmla="*/ 45570 h 48963"/>
                    <a:gd name="connsiteX10" fmla="*/ 21836 w 48964"/>
                    <a:gd name="connsiteY10" fmla="*/ 48912 h 48963"/>
                    <a:gd name="connsiteX11" fmla="*/ 20982 w 48964"/>
                    <a:gd name="connsiteY11" fmla="*/ 48963 h 4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964" h="48963">
                      <a:moveTo>
                        <a:pt x="20982" y="48963"/>
                      </a:moveTo>
                      <a:cubicBezTo>
                        <a:pt x="19138" y="48963"/>
                        <a:pt x="17354" y="48231"/>
                        <a:pt x="16036" y="46913"/>
                      </a:cubicBezTo>
                      <a:lnTo>
                        <a:pt x="2048" y="32925"/>
                      </a:lnTo>
                      <a:cubicBezTo>
                        <a:pt x="-683" y="30195"/>
                        <a:pt x="-683" y="25767"/>
                        <a:pt x="2048" y="23033"/>
                      </a:cubicBezTo>
                      <a:cubicBezTo>
                        <a:pt x="4779" y="20302"/>
                        <a:pt x="9206" y="20302"/>
                        <a:pt x="11940" y="23033"/>
                      </a:cubicBezTo>
                      <a:lnTo>
                        <a:pt x="19595" y="30691"/>
                      </a:lnTo>
                      <a:lnTo>
                        <a:pt x="35971" y="3396"/>
                      </a:lnTo>
                      <a:cubicBezTo>
                        <a:pt x="37955" y="84"/>
                        <a:pt x="42257" y="-991"/>
                        <a:pt x="45569" y="1000"/>
                      </a:cubicBezTo>
                      <a:cubicBezTo>
                        <a:pt x="48881" y="2987"/>
                        <a:pt x="49956" y="7286"/>
                        <a:pt x="47965" y="10598"/>
                      </a:cubicBezTo>
                      <a:lnTo>
                        <a:pt x="26981" y="45570"/>
                      </a:lnTo>
                      <a:cubicBezTo>
                        <a:pt x="25873" y="47414"/>
                        <a:pt x="23974" y="48650"/>
                        <a:pt x="21836" y="48912"/>
                      </a:cubicBezTo>
                      <a:cubicBezTo>
                        <a:pt x="21553" y="48945"/>
                        <a:pt x="21266" y="48963"/>
                        <a:pt x="20982" y="48963"/>
                      </a:cubicBezTo>
                      <a:close/>
                    </a:path>
                  </a:pathLst>
                </a:custGeom>
                <a:solidFill>
                  <a:schemeClr val="accent1"/>
                </a:solidFill>
                <a:ln w="368" cap="flat">
                  <a:noFill/>
                  <a:prstDash val="solid"/>
                  <a:miter/>
                </a:ln>
              </p:spPr>
              <p:txBody>
                <a:bodyPr rtlCol="0" anchor="ctr"/>
                <a:lstStyle/>
                <a:p>
                  <a:endParaRPr lang="en-GB" dirty="0"/>
                </a:p>
              </p:txBody>
            </p:sp>
            <p:grpSp>
              <p:nvGrpSpPr>
                <p:cNvPr id="628" name="Graphic 4">
                  <a:extLst>
                    <a:ext uri="{FF2B5EF4-FFF2-40B4-BE49-F238E27FC236}">
                      <a16:creationId xmlns:a16="http://schemas.microsoft.com/office/drawing/2014/main" id="{4537BCAD-2FA5-4B4C-8C4A-E3823E4ACA16}"/>
                    </a:ext>
                  </a:extLst>
                </p:cNvPr>
                <p:cNvGrpSpPr/>
                <p:nvPr/>
              </p:nvGrpSpPr>
              <p:grpSpPr>
                <a:xfrm>
                  <a:off x="985896" y="4558684"/>
                  <a:ext cx="153880" cy="48963"/>
                  <a:chOff x="985896" y="4558684"/>
                  <a:chExt cx="153880" cy="48963"/>
                </a:xfrm>
                <a:solidFill>
                  <a:schemeClr val="accent1"/>
                </a:solidFill>
              </p:grpSpPr>
              <p:sp>
                <p:nvSpPr>
                  <p:cNvPr id="629" name="Freihandform: Form 246">
                    <a:extLst>
                      <a:ext uri="{FF2B5EF4-FFF2-40B4-BE49-F238E27FC236}">
                        <a16:creationId xmlns:a16="http://schemas.microsoft.com/office/drawing/2014/main" id="{B80299A1-F84E-40C8-8415-8FE09C977242}"/>
                      </a:ext>
                    </a:extLst>
                  </p:cNvPr>
                  <p:cNvSpPr/>
                  <p:nvPr/>
                </p:nvSpPr>
                <p:spPr>
                  <a:xfrm>
                    <a:off x="985896" y="4558684"/>
                    <a:ext cx="153880" cy="13991"/>
                  </a:xfrm>
                  <a:custGeom>
                    <a:avLst/>
                    <a:gdLst>
                      <a:gd name="connsiteX0" fmla="*/ 146884 w 153880"/>
                      <a:gd name="connsiteY0" fmla="*/ 13992 h 13991"/>
                      <a:gd name="connsiteX1" fmla="*/ 6996 w 153880"/>
                      <a:gd name="connsiteY1" fmla="*/ 13992 h 13991"/>
                      <a:gd name="connsiteX2" fmla="*/ 0 w 153880"/>
                      <a:gd name="connsiteY2" fmla="*/ 6996 h 13991"/>
                      <a:gd name="connsiteX3" fmla="*/ 6996 w 153880"/>
                      <a:gd name="connsiteY3" fmla="*/ 0 h 13991"/>
                      <a:gd name="connsiteX4" fmla="*/ 146884 w 153880"/>
                      <a:gd name="connsiteY4" fmla="*/ 0 h 13991"/>
                      <a:gd name="connsiteX5" fmla="*/ 153880 w 153880"/>
                      <a:gd name="connsiteY5" fmla="*/ 6996 h 13991"/>
                      <a:gd name="connsiteX6" fmla="*/ 146884 w 153880"/>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880" h="13991">
                        <a:moveTo>
                          <a:pt x="146884" y="13992"/>
                        </a:moveTo>
                        <a:lnTo>
                          <a:pt x="6996" y="13992"/>
                        </a:lnTo>
                        <a:cubicBezTo>
                          <a:pt x="3132" y="13992"/>
                          <a:pt x="0" y="10864"/>
                          <a:pt x="0" y="6996"/>
                        </a:cubicBezTo>
                        <a:cubicBezTo>
                          <a:pt x="0" y="3132"/>
                          <a:pt x="3132" y="0"/>
                          <a:pt x="6996" y="0"/>
                        </a:cubicBezTo>
                        <a:lnTo>
                          <a:pt x="146884" y="0"/>
                        </a:lnTo>
                        <a:cubicBezTo>
                          <a:pt x="150748" y="0"/>
                          <a:pt x="153880" y="3128"/>
                          <a:pt x="153880" y="6996"/>
                        </a:cubicBezTo>
                        <a:cubicBezTo>
                          <a:pt x="153877" y="10864"/>
                          <a:pt x="150748" y="13992"/>
                          <a:pt x="146884" y="13992"/>
                        </a:cubicBezTo>
                        <a:close/>
                      </a:path>
                    </a:pathLst>
                  </a:custGeom>
                  <a:solidFill>
                    <a:schemeClr val="accent1"/>
                  </a:solidFill>
                  <a:ln w="368" cap="flat">
                    <a:noFill/>
                    <a:prstDash val="solid"/>
                    <a:miter/>
                  </a:ln>
                </p:spPr>
                <p:txBody>
                  <a:bodyPr rtlCol="0" anchor="ctr"/>
                  <a:lstStyle/>
                  <a:p>
                    <a:endParaRPr lang="en-GB" dirty="0"/>
                  </a:p>
                </p:txBody>
              </p:sp>
              <p:sp>
                <p:nvSpPr>
                  <p:cNvPr id="630" name="Freihandform: Form 247">
                    <a:extLst>
                      <a:ext uri="{FF2B5EF4-FFF2-40B4-BE49-F238E27FC236}">
                        <a16:creationId xmlns:a16="http://schemas.microsoft.com/office/drawing/2014/main" id="{7C4626A8-FA6B-4956-8FF7-FD2FCAA105C8}"/>
                      </a:ext>
                    </a:extLst>
                  </p:cNvPr>
                  <p:cNvSpPr/>
                  <p:nvPr/>
                </p:nvSpPr>
                <p:spPr>
                  <a:xfrm>
                    <a:off x="985896" y="4593656"/>
                    <a:ext cx="153880" cy="13991"/>
                  </a:xfrm>
                  <a:custGeom>
                    <a:avLst/>
                    <a:gdLst>
                      <a:gd name="connsiteX0" fmla="*/ 146884 w 153880"/>
                      <a:gd name="connsiteY0" fmla="*/ 13992 h 13991"/>
                      <a:gd name="connsiteX1" fmla="*/ 6996 w 153880"/>
                      <a:gd name="connsiteY1" fmla="*/ 13992 h 13991"/>
                      <a:gd name="connsiteX2" fmla="*/ 0 w 153880"/>
                      <a:gd name="connsiteY2" fmla="*/ 6996 h 13991"/>
                      <a:gd name="connsiteX3" fmla="*/ 6996 w 153880"/>
                      <a:gd name="connsiteY3" fmla="*/ 0 h 13991"/>
                      <a:gd name="connsiteX4" fmla="*/ 146884 w 153880"/>
                      <a:gd name="connsiteY4" fmla="*/ 0 h 13991"/>
                      <a:gd name="connsiteX5" fmla="*/ 153880 w 153880"/>
                      <a:gd name="connsiteY5" fmla="*/ 6996 h 13991"/>
                      <a:gd name="connsiteX6" fmla="*/ 146884 w 153880"/>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880" h="13991">
                        <a:moveTo>
                          <a:pt x="146884" y="13992"/>
                        </a:moveTo>
                        <a:lnTo>
                          <a:pt x="6996" y="13992"/>
                        </a:lnTo>
                        <a:cubicBezTo>
                          <a:pt x="3132" y="13992"/>
                          <a:pt x="0" y="10864"/>
                          <a:pt x="0" y="6996"/>
                        </a:cubicBezTo>
                        <a:cubicBezTo>
                          <a:pt x="0" y="3128"/>
                          <a:pt x="3132" y="0"/>
                          <a:pt x="6996" y="0"/>
                        </a:cubicBezTo>
                        <a:lnTo>
                          <a:pt x="146884" y="0"/>
                        </a:lnTo>
                        <a:cubicBezTo>
                          <a:pt x="150748" y="0"/>
                          <a:pt x="153880" y="3128"/>
                          <a:pt x="153880" y="6996"/>
                        </a:cubicBezTo>
                        <a:cubicBezTo>
                          <a:pt x="153880" y="10864"/>
                          <a:pt x="150748" y="13992"/>
                          <a:pt x="146884" y="13992"/>
                        </a:cubicBezTo>
                        <a:close/>
                      </a:path>
                    </a:pathLst>
                  </a:custGeom>
                  <a:solidFill>
                    <a:schemeClr val="accent1"/>
                  </a:solidFill>
                  <a:ln w="368" cap="flat">
                    <a:noFill/>
                    <a:prstDash val="solid"/>
                    <a:miter/>
                  </a:ln>
                </p:spPr>
                <p:txBody>
                  <a:bodyPr rtlCol="0" anchor="ctr"/>
                  <a:lstStyle/>
                  <a:p>
                    <a:endParaRPr lang="en-GB" dirty="0"/>
                  </a:p>
                </p:txBody>
              </p:sp>
            </p:grpSp>
          </p:grpSp>
          <p:grpSp>
            <p:nvGrpSpPr>
              <p:cNvPr id="622" name="Graphic 4">
                <a:extLst>
                  <a:ext uri="{FF2B5EF4-FFF2-40B4-BE49-F238E27FC236}">
                    <a16:creationId xmlns:a16="http://schemas.microsoft.com/office/drawing/2014/main" id="{3D387CBF-665E-4CA6-9D79-9FC63FE9CD54}"/>
                  </a:ext>
                </a:extLst>
              </p:cNvPr>
              <p:cNvGrpSpPr/>
              <p:nvPr/>
            </p:nvGrpSpPr>
            <p:grpSpPr>
              <a:xfrm>
                <a:off x="908962" y="4663598"/>
                <a:ext cx="230814" cy="48966"/>
                <a:chOff x="908962" y="4663598"/>
                <a:chExt cx="230814" cy="48966"/>
              </a:xfrm>
              <a:solidFill>
                <a:schemeClr val="accent1"/>
              </a:solidFill>
            </p:grpSpPr>
            <p:sp>
              <p:nvSpPr>
                <p:cNvPr id="623" name="Freihandform: Form 249">
                  <a:extLst>
                    <a:ext uri="{FF2B5EF4-FFF2-40B4-BE49-F238E27FC236}">
                      <a16:creationId xmlns:a16="http://schemas.microsoft.com/office/drawing/2014/main" id="{F56DDE57-5B8A-45FC-A166-6CC9642E627D}"/>
                    </a:ext>
                  </a:extLst>
                </p:cNvPr>
                <p:cNvSpPr/>
                <p:nvPr/>
              </p:nvSpPr>
              <p:spPr>
                <a:xfrm>
                  <a:off x="908962" y="4663598"/>
                  <a:ext cx="48964" cy="48966"/>
                </a:xfrm>
                <a:custGeom>
                  <a:avLst/>
                  <a:gdLst>
                    <a:gd name="connsiteX0" fmla="*/ 20982 w 48964"/>
                    <a:gd name="connsiteY0" fmla="*/ 48966 h 48966"/>
                    <a:gd name="connsiteX1" fmla="*/ 16036 w 48964"/>
                    <a:gd name="connsiteY1" fmla="*/ 46916 h 48966"/>
                    <a:gd name="connsiteX2" fmla="*/ 2048 w 48964"/>
                    <a:gd name="connsiteY2" fmla="*/ 32928 h 48966"/>
                    <a:gd name="connsiteX3" fmla="*/ 2048 w 48964"/>
                    <a:gd name="connsiteY3" fmla="*/ 23036 h 48966"/>
                    <a:gd name="connsiteX4" fmla="*/ 11940 w 48964"/>
                    <a:gd name="connsiteY4" fmla="*/ 23036 h 48966"/>
                    <a:gd name="connsiteX5" fmla="*/ 19595 w 48964"/>
                    <a:gd name="connsiteY5" fmla="*/ 30695 h 48966"/>
                    <a:gd name="connsiteX6" fmla="*/ 35971 w 48964"/>
                    <a:gd name="connsiteY6" fmla="*/ 3399 h 48966"/>
                    <a:gd name="connsiteX7" fmla="*/ 45569 w 48964"/>
                    <a:gd name="connsiteY7" fmla="*/ 1003 h 48966"/>
                    <a:gd name="connsiteX8" fmla="*/ 47965 w 48964"/>
                    <a:gd name="connsiteY8" fmla="*/ 10601 h 48966"/>
                    <a:gd name="connsiteX9" fmla="*/ 26981 w 48964"/>
                    <a:gd name="connsiteY9" fmla="*/ 45573 h 48966"/>
                    <a:gd name="connsiteX10" fmla="*/ 21836 w 48964"/>
                    <a:gd name="connsiteY10" fmla="*/ 48915 h 48966"/>
                    <a:gd name="connsiteX11" fmla="*/ 20982 w 48964"/>
                    <a:gd name="connsiteY11" fmla="*/ 48966 h 48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964" h="48966">
                      <a:moveTo>
                        <a:pt x="20982" y="48966"/>
                      </a:moveTo>
                      <a:cubicBezTo>
                        <a:pt x="19138" y="48966"/>
                        <a:pt x="17354" y="48234"/>
                        <a:pt x="16036" y="46916"/>
                      </a:cubicBezTo>
                      <a:lnTo>
                        <a:pt x="2048" y="32928"/>
                      </a:lnTo>
                      <a:cubicBezTo>
                        <a:pt x="-683" y="30198"/>
                        <a:pt x="-683" y="25771"/>
                        <a:pt x="2048" y="23036"/>
                      </a:cubicBezTo>
                      <a:cubicBezTo>
                        <a:pt x="4779" y="20306"/>
                        <a:pt x="9206" y="20306"/>
                        <a:pt x="11940" y="23036"/>
                      </a:cubicBezTo>
                      <a:lnTo>
                        <a:pt x="19595" y="30695"/>
                      </a:lnTo>
                      <a:lnTo>
                        <a:pt x="35971" y="3399"/>
                      </a:lnTo>
                      <a:cubicBezTo>
                        <a:pt x="37955" y="80"/>
                        <a:pt x="42257" y="-991"/>
                        <a:pt x="45569" y="1003"/>
                      </a:cubicBezTo>
                      <a:cubicBezTo>
                        <a:pt x="48881" y="2991"/>
                        <a:pt x="49956" y="7289"/>
                        <a:pt x="47965" y="10601"/>
                      </a:cubicBezTo>
                      <a:lnTo>
                        <a:pt x="26981" y="45573"/>
                      </a:lnTo>
                      <a:cubicBezTo>
                        <a:pt x="25873" y="47417"/>
                        <a:pt x="23974" y="48654"/>
                        <a:pt x="21836" y="48915"/>
                      </a:cubicBezTo>
                      <a:cubicBezTo>
                        <a:pt x="21553" y="48948"/>
                        <a:pt x="21266" y="48966"/>
                        <a:pt x="20982" y="48966"/>
                      </a:cubicBezTo>
                      <a:close/>
                    </a:path>
                  </a:pathLst>
                </a:custGeom>
                <a:solidFill>
                  <a:schemeClr val="accent1"/>
                </a:solidFill>
                <a:ln w="368" cap="flat">
                  <a:noFill/>
                  <a:prstDash val="solid"/>
                  <a:miter/>
                </a:ln>
              </p:spPr>
              <p:txBody>
                <a:bodyPr rtlCol="0" anchor="ctr"/>
                <a:lstStyle/>
                <a:p>
                  <a:endParaRPr lang="en-GB" dirty="0"/>
                </a:p>
              </p:txBody>
            </p:sp>
            <p:grpSp>
              <p:nvGrpSpPr>
                <p:cNvPr id="624" name="Graphic 4">
                  <a:extLst>
                    <a:ext uri="{FF2B5EF4-FFF2-40B4-BE49-F238E27FC236}">
                      <a16:creationId xmlns:a16="http://schemas.microsoft.com/office/drawing/2014/main" id="{14B98123-AA43-48D6-8126-74B6F190706B}"/>
                    </a:ext>
                  </a:extLst>
                </p:cNvPr>
                <p:cNvGrpSpPr/>
                <p:nvPr/>
              </p:nvGrpSpPr>
              <p:grpSpPr>
                <a:xfrm>
                  <a:off x="985896" y="4663600"/>
                  <a:ext cx="153880" cy="48963"/>
                  <a:chOff x="985896" y="4663600"/>
                  <a:chExt cx="153880" cy="48963"/>
                </a:xfrm>
                <a:solidFill>
                  <a:schemeClr val="accent1"/>
                </a:solidFill>
              </p:grpSpPr>
              <p:sp>
                <p:nvSpPr>
                  <p:cNvPr id="625" name="Freihandform: Form 251">
                    <a:extLst>
                      <a:ext uri="{FF2B5EF4-FFF2-40B4-BE49-F238E27FC236}">
                        <a16:creationId xmlns:a16="http://schemas.microsoft.com/office/drawing/2014/main" id="{748FC039-131C-4C83-855D-F5FFCC3FB204}"/>
                      </a:ext>
                    </a:extLst>
                  </p:cNvPr>
                  <p:cNvSpPr/>
                  <p:nvPr/>
                </p:nvSpPr>
                <p:spPr>
                  <a:xfrm>
                    <a:off x="985896" y="4663600"/>
                    <a:ext cx="153880" cy="13991"/>
                  </a:xfrm>
                  <a:custGeom>
                    <a:avLst/>
                    <a:gdLst>
                      <a:gd name="connsiteX0" fmla="*/ 146884 w 153880"/>
                      <a:gd name="connsiteY0" fmla="*/ 13992 h 13991"/>
                      <a:gd name="connsiteX1" fmla="*/ 6996 w 153880"/>
                      <a:gd name="connsiteY1" fmla="*/ 13992 h 13991"/>
                      <a:gd name="connsiteX2" fmla="*/ 0 w 153880"/>
                      <a:gd name="connsiteY2" fmla="*/ 6996 h 13991"/>
                      <a:gd name="connsiteX3" fmla="*/ 6996 w 153880"/>
                      <a:gd name="connsiteY3" fmla="*/ 0 h 13991"/>
                      <a:gd name="connsiteX4" fmla="*/ 146884 w 153880"/>
                      <a:gd name="connsiteY4" fmla="*/ 0 h 13991"/>
                      <a:gd name="connsiteX5" fmla="*/ 153880 w 153880"/>
                      <a:gd name="connsiteY5" fmla="*/ 6996 h 13991"/>
                      <a:gd name="connsiteX6" fmla="*/ 146884 w 153880"/>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880" h="13991">
                        <a:moveTo>
                          <a:pt x="146884" y="13992"/>
                        </a:moveTo>
                        <a:lnTo>
                          <a:pt x="6996" y="13992"/>
                        </a:lnTo>
                        <a:cubicBezTo>
                          <a:pt x="3132" y="13992"/>
                          <a:pt x="0" y="10864"/>
                          <a:pt x="0" y="6996"/>
                        </a:cubicBezTo>
                        <a:cubicBezTo>
                          <a:pt x="0" y="3128"/>
                          <a:pt x="3132" y="0"/>
                          <a:pt x="6996" y="0"/>
                        </a:cubicBezTo>
                        <a:lnTo>
                          <a:pt x="146884" y="0"/>
                        </a:lnTo>
                        <a:cubicBezTo>
                          <a:pt x="150748" y="0"/>
                          <a:pt x="153880" y="3128"/>
                          <a:pt x="153880" y="6996"/>
                        </a:cubicBezTo>
                        <a:cubicBezTo>
                          <a:pt x="153877" y="10864"/>
                          <a:pt x="150748" y="13992"/>
                          <a:pt x="146884" y="13992"/>
                        </a:cubicBezTo>
                        <a:close/>
                      </a:path>
                    </a:pathLst>
                  </a:custGeom>
                  <a:solidFill>
                    <a:schemeClr val="accent1"/>
                  </a:solidFill>
                  <a:ln w="368" cap="flat">
                    <a:noFill/>
                    <a:prstDash val="solid"/>
                    <a:miter/>
                  </a:ln>
                </p:spPr>
                <p:txBody>
                  <a:bodyPr rtlCol="0" anchor="ctr"/>
                  <a:lstStyle/>
                  <a:p>
                    <a:endParaRPr lang="en-GB" dirty="0"/>
                  </a:p>
                </p:txBody>
              </p:sp>
              <p:sp>
                <p:nvSpPr>
                  <p:cNvPr id="626" name="Freihandform: Form 252">
                    <a:extLst>
                      <a:ext uri="{FF2B5EF4-FFF2-40B4-BE49-F238E27FC236}">
                        <a16:creationId xmlns:a16="http://schemas.microsoft.com/office/drawing/2014/main" id="{7FD31EF1-2A4D-4237-BD3A-48808357CF0F}"/>
                      </a:ext>
                    </a:extLst>
                  </p:cNvPr>
                  <p:cNvSpPr/>
                  <p:nvPr/>
                </p:nvSpPr>
                <p:spPr>
                  <a:xfrm>
                    <a:off x="985896" y="4698572"/>
                    <a:ext cx="153880" cy="13991"/>
                  </a:xfrm>
                  <a:custGeom>
                    <a:avLst/>
                    <a:gdLst>
                      <a:gd name="connsiteX0" fmla="*/ 146884 w 153880"/>
                      <a:gd name="connsiteY0" fmla="*/ 13992 h 13991"/>
                      <a:gd name="connsiteX1" fmla="*/ 6996 w 153880"/>
                      <a:gd name="connsiteY1" fmla="*/ 13992 h 13991"/>
                      <a:gd name="connsiteX2" fmla="*/ 0 w 153880"/>
                      <a:gd name="connsiteY2" fmla="*/ 6996 h 13991"/>
                      <a:gd name="connsiteX3" fmla="*/ 6996 w 153880"/>
                      <a:gd name="connsiteY3" fmla="*/ 0 h 13991"/>
                      <a:gd name="connsiteX4" fmla="*/ 146884 w 153880"/>
                      <a:gd name="connsiteY4" fmla="*/ 0 h 13991"/>
                      <a:gd name="connsiteX5" fmla="*/ 153880 w 153880"/>
                      <a:gd name="connsiteY5" fmla="*/ 6996 h 13991"/>
                      <a:gd name="connsiteX6" fmla="*/ 146884 w 153880"/>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880" h="13991">
                        <a:moveTo>
                          <a:pt x="146884" y="13992"/>
                        </a:moveTo>
                        <a:lnTo>
                          <a:pt x="6996" y="13992"/>
                        </a:lnTo>
                        <a:cubicBezTo>
                          <a:pt x="3132" y="13992"/>
                          <a:pt x="0" y="10864"/>
                          <a:pt x="0" y="6996"/>
                        </a:cubicBezTo>
                        <a:cubicBezTo>
                          <a:pt x="0" y="3132"/>
                          <a:pt x="3132" y="0"/>
                          <a:pt x="6996" y="0"/>
                        </a:cubicBezTo>
                        <a:lnTo>
                          <a:pt x="146884" y="0"/>
                        </a:lnTo>
                        <a:cubicBezTo>
                          <a:pt x="150748" y="0"/>
                          <a:pt x="153880" y="3128"/>
                          <a:pt x="153880" y="6996"/>
                        </a:cubicBezTo>
                        <a:cubicBezTo>
                          <a:pt x="153877" y="10864"/>
                          <a:pt x="150748" y="13992"/>
                          <a:pt x="146884" y="13992"/>
                        </a:cubicBezTo>
                        <a:close/>
                      </a:path>
                    </a:pathLst>
                  </a:custGeom>
                  <a:solidFill>
                    <a:schemeClr val="accent1"/>
                  </a:solidFill>
                  <a:ln w="368" cap="flat">
                    <a:noFill/>
                    <a:prstDash val="solid"/>
                    <a:miter/>
                  </a:ln>
                </p:spPr>
                <p:txBody>
                  <a:bodyPr rtlCol="0" anchor="ctr"/>
                  <a:lstStyle/>
                  <a:p>
                    <a:endParaRPr lang="en-GB" dirty="0"/>
                  </a:p>
                </p:txBody>
              </p:sp>
            </p:grpSp>
          </p:grpSp>
        </p:grpSp>
      </p:grpSp>
      <p:sp>
        <p:nvSpPr>
          <p:cNvPr id="640" name="TextBox 1421">
            <a:extLst>
              <a:ext uri="{FF2B5EF4-FFF2-40B4-BE49-F238E27FC236}">
                <a16:creationId xmlns:a16="http://schemas.microsoft.com/office/drawing/2014/main" id="{95B8892B-79AE-4A84-A98A-48681C504508}"/>
              </a:ext>
            </a:extLst>
          </p:cNvPr>
          <p:cNvSpPr txBox="1"/>
          <p:nvPr/>
        </p:nvSpPr>
        <p:spPr>
          <a:xfrm>
            <a:off x="5736872" y="2899619"/>
            <a:ext cx="429606" cy="215444"/>
          </a:xfrm>
          <a:prstGeom prst="rect">
            <a:avLst/>
          </a:prstGeom>
          <a:noFill/>
          <a:effectLst/>
        </p:spPr>
        <p:txBody>
          <a:bodyPr wrap="none" lIns="0" tIns="0" rIns="0" bIns="0" rtlCol="0" anchor="t" anchorCtr="0">
            <a:spAutoFit/>
          </a:bodyPr>
          <a:lstStyle/>
          <a:p>
            <a:pPr algn="ctr"/>
            <a:r>
              <a:rPr lang="en-GB" sz="700" dirty="0">
                <a:solidFill>
                  <a:schemeClr val="tx2"/>
                </a:solidFill>
              </a:rPr>
              <a:t>Contract</a:t>
            </a:r>
            <a:br>
              <a:rPr lang="en-GB" sz="700" dirty="0">
                <a:solidFill>
                  <a:schemeClr val="tx2"/>
                </a:solidFill>
              </a:rPr>
            </a:br>
            <a:r>
              <a:rPr lang="en-GB" sz="700" dirty="0">
                <a:solidFill>
                  <a:schemeClr val="tx2"/>
                </a:solidFill>
              </a:rPr>
              <a:t>agreement</a:t>
            </a:r>
          </a:p>
        </p:txBody>
      </p:sp>
      <p:grpSp>
        <p:nvGrpSpPr>
          <p:cNvPr id="9" name="Group 8">
            <a:extLst>
              <a:ext uri="{FF2B5EF4-FFF2-40B4-BE49-F238E27FC236}">
                <a16:creationId xmlns:a16="http://schemas.microsoft.com/office/drawing/2014/main" id="{B9BC61C3-4232-7A9F-A670-782586716399}"/>
              </a:ext>
            </a:extLst>
          </p:cNvPr>
          <p:cNvGrpSpPr/>
          <p:nvPr/>
        </p:nvGrpSpPr>
        <p:grpSpPr>
          <a:xfrm>
            <a:off x="6657562" y="2449341"/>
            <a:ext cx="246492" cy="432000"/>
            <a:chOff x="6657150" y="2449341"/>
            <a:chExt cx="246492" cy="432000"/>
          </a:xfrm>
        </p:grpSpPr>
        <p:grpSp>
          <p:nvGrpSpPr>
            <p:cNvPr id="642" name="Graphic 24">
              <a:extLst>
                <a:ext uri="{FF2B5EF4-FFF2-40B4-BE49-F238E27FC236}">
                  <a16:creationId xmlns:a16="http://schemas.microsoft.com/office/drawing/2014/main" id="{4AD65557-FC49-4A08-A72F-59F998B5FAFD}"/>
                </a:ext>
              </a:extLst>
            </p:cNvPr>
            <p:cNvGrpSpPr/>
            <p:nvPr/>
          </p:nvGrpSpPr>
          <p:grpSpPr>
            <a:xfrm>
              <a:off x="6732872" y="2687678"/>
              <a:ext cx="94438" cy="98369"/>
              <a:chOff x="2732083" y="4417054"/>
              <a:chExt cx="95915" cy="99908"/>
            </a:xfrm>
            <a:solidFill>
              <a:schemeClr val="accent1"/>
            </a:solidFill>
          </p:grpSpPr>
          <p:sp>
            <p:nvSpPr>
              <p:cNvPr id="652" name="Freeform: Shape 606">
                <a:extLst>
                  <a:ext uri="{FF2B5EF4-FFF2-40B4-BE49-F238E27FC236}">
                    <a16:creationId xmlns:a16="http://schemas.microsoft.com/office/drawing/2014/main" id="{3AF01D3F-9238-41E5-84EA-F5AF91687608}"/>
                  </a:ext>
                </a:extLst>
              </p:cNvPr>
              <p:cNvSpPr/>
              <p:nvPr/>
            </p:nvSpPr>
            <p:spPr>
              <a:xfrm>
                <a:off x="2732083" y="4417054"/>
                <a:ext cx="95915" cy="99908"/>
              </a:xfrm>
              <a:custGeom>
                <a:avLst/>
                <a:gdLst>
                  <a:gd name="connsiteX0" fmla="*/ 47961 w 95915"/>
                  <a:gd name="connsiteY0" fmla="*/ 99908 h 99908"/>
                  <a:gd name="connsiteX1" fmla="*/ 0 w 95915"/>
                  <a:gd name="connsiteY1" fmla="*/ 49954 h 99908"/>
                  <a:gd name="connsiteX2" fmla="*/ 47961 w 95915"/>
                  <a:gd name="connsiteY2" fmla="*/ 0 h 99908"/>
                  <a:gd name="connsiteX3" fmla="*/ 63217 w 95915"/>
                  <a:gd name="connsiteY3" fmla="*/ 2582 h 99908"/>
                  <a:gd name="connsiteX4" fmla="*/ 67243 w 95915"/>
                  <a:gd name="connsiteY4" fmla="*/ 11019 h 99908"/>
                  <a:gd name="connsiteX5" fmla="*/ 59144 w 95915"/>
                  <a:gd name="connsiteY5" fmla="*/ 15212 h 99908"/>
                  <a:gd name="connsiteX6" fmla="*/ 47961 w 95915"/>
                  <a:gd name="connsiteY6" fmla="*/ 13320 h 99908"/>
                  <a:gd name="connsiteX7" fmla="*/ 12788 w 95915"/>
                  <a:gd name="connsiteY7" fmla="*/ 49951 h 99908"/>
                  <a:gd name="connsiteX8" fmla="*/ 47961 w 95915"/>
                  <a:gd name="connsiteY8" fmla="*/ 86582 h 99908"/>
                  <a:gd name="connsiteX9" fmla="*/ 83127 w 95915"/>
                  <a:gd name="connsiteY9" fmla="*/ 49951 h 99908"/>
                  <a:gd name="connsiteX10" fmla="*/ 82920 w 95915"/>
                  <a:gd name="connsiteY10" fmla="*/ 45924 h 99908"/>
                  <a:gd name="connsiteX11" fmla="*/ 88608 w 95915"/>
                  <a:gd name="connsiteY11" fmla="*/ 38608 h 99908"/>
                  <a:gd name="connsiteX12" fmla="*/ 95634 w 95915"/>
                  <a:gd name="connsiteY12" fmla="*/ 44533 h 99908"/>
                  <a:gd name="connsiteX13" fmla="*/ 95915 w 95915"/>
                  <a:gd name="connsiteY13" fmla="*/ 49951 h 99908"/>
                  <a:gd name="connsiteX14" fmla="*/ 47961 w 95915"/>
                  <a:gd name="connsiteY14" fmla="*/ 99908 h 99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915" h="99908">
                    <a:moveTo>
                      <a:pt x="47961" y="99908"/>
                    </a:moveTo>
                    <a:cubicBezTo>
                      <a:pt x="21516" y="99908"/>
                      <a:pt x="0" y="77499"/>
                      <a:pt x="0" y="49954"/>
                    </a:cubicBezTo>
                    <a:cubicBezTo>
                      <a:pt x="0" y="22409"/>
                      <a:pt x="21519" y="0"/>
                      <a:pt x="47961" y="0"/>
                    </a:cubicBezTo>
                    <a:cubicBezTo>
                      <a:pt x="53174" y="0"/>
                      <a:pt x="58308" y="873"/>
                      <a:pt x="63217" y="2582"/>
                    </a:cubicBezTo>
                    <a:cubicBezTo>
                      <a:pt x="66564" y="3752"/>
                      <a:pt x="68370" y="7524"/>
                      <a:pt x="67243" y="11019"/>
                    </a:cubicBezTo>
                    <a:cubicBezTo>
                      <a:pt x="66119" y="14503"/>
                      <a:pt x="62504" y="16380"/>
                      <a:pt x="59144" y="15212"/>
                    </a:cubicBezTo>
                    <a:cubicBezTo>
                      <a:pt x="55552" y="13958"/>
                      <a:pt x="51787" y="13320"/>
                      <a:pt x="47961" y="13320"/>
                    </a:cubicBezTo>
                    <a:cubicBezTo>
                      <a:pt x="28565" y="13320"/>
                      <a:pt x="12788" y="29756"/>
                      <a:pt x="12788" y="49951"/>
                    </a:cubicBezTo>
                    <a:cubicBezTo>
                      <a:pt x="12788" y="70146"/>
                      <a:pt x="28568" y="86582"/>
                      <a:pt x="47961" y="86582"/>
                    </a:cubicBezTo>
                    <a:cubicBezTo>
                      <a:pt x="67350" y="86582"/>
                      <a:pt x="83127" y="70146"/>
                      <a:pt x="83127" y="49951"/>
                    </a:cubicBezTo>
                    <a:cubicBezTo>
                      <a:pt x="83127" y="48590"/>
                      <a:pt x="83054" y="47245"/>
                      <a:pt x="82920" y="45924"/>
                    </a:cubicBezTo>
                    <a:cubicBezTo>
                      <a:pt x="82552" y="42269"/>
                      <a:pt x="85100" y="38992"/>
                      <a:pt x="88608" y="38608"/>
                    </a:cubicBezTo>
                    <a:cubicBezTo>
                      <a:pt x="92056" y="38173"/>
                      <a:pt x="95266" y="40871"/>
                      <a:pt x="95634" y="44533"/>
                    </a:cubicBezTo>
                    <a:cubicBezTo>
                      <a:pt x="95815" y="46309"/>
                      <a:pt x="95915" y="48125"/>
                      <a:pt x="95915" y="49951"/>
                    </a:cubicBezTo>
                    <a:cubicBezTo>
                      <a:pt x="95919" y="77503"/>
                      <a:pt x="74406" y="99908"/>
                      <a:pt x="47961" y="99908"/>
                    </a:cubicBezTo>
                    <a:close/>
                  </a:path>
                </a:pathLst>
              </a:custGeom>
              <a:solidFill>
                <a:schemeClr val="accent1"/>
              </a:solidFill>
              <a:ln w="334" cap="flat">
                <a:noFill/>
                <a:prstDash val="solid"/>
                <a:miter/>
              </a:ln>
            </p:spPr>
            <p:txBody>
              <a:bodyPr rtlCol="0" anchor="ctr"/>
              <a:lstStyle/>
              <a:p>
                <a:endParaRPr lang="en-GB" dirty="0"/>
              </a:p>
            </p:txBody>
          </p:sp>
          <p:sp>
            <p:nvSpPr>
              <p:cNvPr id="653" name="Freeform: Shape 607">
                <a:extLst>
                  <a:ext uri="{FF2B5EF4-FFF2-40B4-BE49-F238E27FC236}">
                    <a16:creationId xmlns:a16="http://schemas.microsoft.com/office/drawing/2014/main" id="{9A7A7465-EA3B-43CD-ACB2-9DF1F0397AEA}"/>
                  </a:ext>
                </a:extLst>
              </p:cNvPr>
              <p:cNvSpPr/>
              <p:nvPr/>
            </p:nvSpPr>
            <p:spPr>
              <a:xfrm>
                <a:off x="2756595" y="4417056"/>
                <a:ext cx="71399" cy="73935"/>
              </a:xfrm>
              <a:custGeom>
                <a:avLst/>
                <a:gdLst>
                  <a:gd name="connsiteX0" fmla="*/ 23442 w 71399"/>
                  <a:gd name="connsiteY0" fmla="*/ 73936 h 73935"/>
                  <a:gd name="connsiteX1" fmla="*/ 18978 w 71399"/>
                  <a:gd name="connsiteY1" fmla="*/ 72043 h 73935"/>
                  <a:gd name="connsiteX2" fmla="*/ 1930 w 71399"/>
                  <a:gd name="connsiteY2" fmla="*/ 54721 h 73935"/>
                  <a:gd name="connsiteX3" fmla="*/ 1816 w 71399"/>
                  <a:gd name="connsiteY3" fmla="*/ 45304 h 73935"/>
                  <a:gd name="connsiteX4" fmla="*/ 10858 w 71399"/>
                  <a:gd name="connsiteY4" fmla="*/ 45187 h 73935"/>
                  <a:gd name="connsiteX5" fmla="*/ 22573 w 71399"/>
                  <a:gd name="connsiteY5" fmla="*/ 57088 h 73935"/>
                  <a:gd name="connsiteX6" fmla="*/ 59806 w 71399"/>
                  <a:gd name="connsiteY6" fmla="*/ 2790 h 73935"/>
                  <a:gd name="connsiteX7" fmla="*/ 68721 w 71399"/>
                  <a:gd name="connsiteY7" fmla="*/ 1242 h 73935"/>
                  <a:gd name="connsiteX8" fmla="*/ 70206 w 71399"/>
                  <a:gd name="connsiteY8" fmla="*/ 10532 h 73935"/>
                  <a:gd name="connsiteX9" fmla="*/ 28639 w 71399"/>
                  <a:gd name="connsiteY9" fmla="*/ 71147 h 73935"/>
                  <a:gd name="connsiteX10" fmla="*/ 24007 w 71399"/>
                  <a:gd name="connsiteY10" fmla="*/ 73913 h 73935"/>
                  <a:gd name="connsiteX11" fmla="*/ 23442 w 71399"/>
                  <a:gd name="connsiteY11" fmla="*/ 73936 h 7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1399" h="73935">
                    <a:moveTo>
                      <a:pt x="23442" y="73936"/>
                    </a:moveTo>
                    <a:cubicBezTo>
                      <a:pt x="21780" y="73936"/>
                      <a:pt x="20175" y="73260"/>
                      <a:pt x="18978" y="72043"/>
                    </a:cubicBezTo>
                    <a:lnTo>
                      <a:pt x="1930" y="54721"/>
                    </a:lnTo>
                    <a:cubicBezTo>
                      <a:pt x="-599" y="52152"/>
                      <a:pt x="-649" y="47935"/>
                      <a:pt x="1816" y="45304"/>
                    </a:cubicBezTo>
                    <a:cubicBezTo>
                      <a:pt x="4287" y="42668"/>
                      <a:pt x="8334" y="42632"/>
                      <a:pt x="10858" y="45187"/>
                    </a:cubicBezTo>
                    <a:lnTo>
                      <a:pt x="22573" y="57088"/>
                    </a:lnTo>
                    <a:lnTo>
                      <a:pt x="59806" y="2790"/>
                    </a:lnTo>
                    <a:cubicBezTo>
                      <a:pt x="61859" y="-203"/>
                      <a:pt x="65855" y="-898"/>
                      <a:pt x="68721" y="1242"/>
                    </a:cubicBezTo>
                    <a:cubicBezTo>
                      <a:pt x="71594" y="3375"/>
                      <a:pt x="72263" y="7539"/>
                      <a:pt x="70206" y="10532"/>
                    </a:cubicBezTo>
                    <a:lnTo>
                      <a:pt x="28639" y="71147"/>
                    </a:lnTo>
                    <a:cubicBezTo>
                      <a:pt x="27559" y="72729"/>
                      <a:pt x="25860" y="73735"/>
                      <a:pt x="24007" y="73913"/>
                    </a:cubicBezTo>
                    <a:cubicBezTo>
                      <a:pt x="23817" y="73929"/>
                      <a:pt x="23629" y="73936"/>
                      <a:pt x="23442" y="73936"/>
                    </a:cubicBezTo>
                    <a:close/>
                  </a:path>
                </a:pathLst>
              </a:custGeom>
              <a:solidFill>
                <a:schemeClr val="accent1"/>
              </a:solidFill>
              <a:ln w="334" cap="flat">
                <a:noFill/>
                <a:prstDash val="solid"/>
                <a:miter/>
              </a:ln>
            </p:spPr>
            <p:txBody>
              <a:bodyPr rtlCol="0" anchor="ctr"/>
              <a:lstStyle/>
              <a:p>
                <a:endParaRPr lang="en-GB" dirty="0"/>
              </a:p>
            </p:txBody>
          </p:sp>
        </p:grpSp>
        <p:grpSp>
          <p:nvGrpSpPr>
            <p:cNvPr id="643" name="Gruppieren 979">
              <a:extLst>
                <a:ext uri="{FF2B5EF4-FFF2-40B4-BE49-F238E27FC236}">
                  <a16:creationId xmlns:a16="http://schemas.microsoft.com/office/drawing/2014/main" id="{BAC26A49-F5AE-4C1B-8880-68A138C52457}"/>
                </a:ext>
              </a:extLst>
            </p:cNvPr>
            <p:cNvGrpSpPr/>
            <p:nvPr/>
          </p:nvGrpSpPr>
          <p:grpSpPr>
            <a:xfrm>
              <a:off x="6657150" y="2449341"/>
              <a:ext cx="246492" cy="432000"/>
              <a:chOff x="7073947" y="4174989"/>
              <a:chExt cx="250348" cy="438758"/>
            </a:xfrm>
            <a:solidFill>
              <a:schemeClr val="tx2"/>
            </a:solidFill>
          </p:grpSpPr>
          <p:grpSp>
            <p:nvGrpSpPr>
              <p:cNvPr id="644" name="Graphic 24">
                <a:extLst>
                  <a:ext uri="{FF2B5EF4-FFF2-40B4-BE49-F238E27FC236}">
                    <a16:creationId xmlns:a16="http://schemas.microsoft.com/office/drawing/2014/main" id="{3145DCD6-1314-45DF-A80F-6EC6FE878C81}"/>
                  </a:ext>
                </a:extLst>
              </p:cNvPr>
              <p:cNvGrpSpPr/>
              <p:nvPr/>
            </p:nvGrpSpPr>
            <p:grpSpPr>
              <a:xfrm>
                <a:off x="7103017" y="4174989"/>
                <a:ext cx="191823" cy="223960"/>
                <a:chOff x="2684246" y="4174989"/>
                <a:chExt cx="191823" cy="223960"/>
              </a:xfrm>
              <a:grpFill/>
            </p:grpSpPr>
            <p:sp>
              <p:nvSpPr>
                <p:cNvPr id="650" name="Freeform: Shape 604">
                  <a:extLst>
                    <a:ext uri="{FF2B5EF4-FFF2-40B4-BE49-F238E27FC236}">
                      <a16:creationId xmlns:a16="http://schemas.microsoft.com/office/drawing/2014/main" id="{88C472B3-9312-4AE5-A3B5-7669F6F47D43}"/>
                    </a:ext>
                  </a:extLst>
                </p:cNvPr>
                <p:cNvSpPr/>
                <p:nvPr/>
              </p:nvSpPr>
              <p:spPr>
                <a:xfrm>
                  <a:off x="2684246" y="4294878"/>
                  <a:ext cx="191823" cy="104071"/>
                </a:xfrm>
                <a:custGeom>
                  <a:avLst/>
                  <a:gdLst>
                    <a:gd name="connsiteX0" fmla="*/ 6394 w 191823"/>
                    <a:gd name="connsiteY0" fmla="*/ 104072 h 104071"/>
                    <a:gd name="connsiteX1" fmla="*/ 0 w 191823"/>
                    <a:gd name="connsiteY1" fmla="*/ 97410 h 104071"/>
                    <a:gd name="connsiteX2" fmla="*/ 0 w 191823"/>
                    <a:gd name="connsiteY2" fmla="*/ 86585 h 104071"/>
                    <a:gd name="connsiteX3" fmla="*/ 76730 w 191823"/>
                    <a:gd name="connsiteY3" fmla="*/ 0 h 104071"/>
                    <a:gd name="connsiteX4" fmla="*/ 115094 w 191823"/>
                    <a:gd name="connsiteY4" fmla="*/ 0 h 104071"/>
                    <a:gd name="connsiteX5" fmla="*/ 191824 w 191823"/>
                    <a:gd name="connsiteY5" fmla="*/ 86585 h 104071"/>
                    <a:gd name="connsiteX6" fmla="*/ 191824 w 191823"/>
                    <a:gd name="connsiteY6" fmla="*/ 96578 h 104071"/>
                    <a:gd name="connsiteX7" fmla="*/ 185430 w 191823"/>
                    <a:gd name="connsiteY7" fmla="*/ 103239 h 104071"/>
                    <a:gd name="connsiteX8" fmla="*/ 179036 w 191823"/>
                    <a:gd name="connsiteY8" fmla="*/ 96578 h 104071"/>
                    <a:gd name="connsiteX9" fmla="*/ 179036 w 191823"/>
                    <a:gd name="connsiteY9" fmla="*/ 86585 h 104071"/>
                    <a:gd name="connsiteX10" fmla="*/ 115094 w 191823"/>
                    <a:gd name="connsiteY10" fmla="*/ 13320 h 104071"/>
                    <a:gd name="connsiteX11" fmla="*/ 76730 w 191823"/>
                    <a:gd name="connsiteY11" fmla="*/ 13320 h 104071"/>
                    <a:gd name="connsiteX12" fmla="*/ 12788 w 191823"/>
                    <a:gd name="connsiteY12" fmla="*/ 86585 h 104071"/>
                    <a:gd name="connsiteX13" fmla="*/ 12788 w 191823"/>
                    <a:gd name="connsiteY13" fmla="*/ 97410 h 104071"/>
                    <a:gd name="connsiteX14" fmla="*/ 6394 w 191823"/>
                    <a:gd name="connsiteY14" fmla="*/ 104072 h 104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1823" h="104071">
                      <a:moveTo>
                        <a:pt x="6394" y="104072"/>
                      </a:moveTo>
                      <a:cubicBezTo>
                        <a:pt x="2859" y="104072"/>
                        <a:pt x="0" y="101092"/>
                        <a:pt x="0" y="97410"/>
                      </a:cubicBezTo>
                      <a:lnTo>
                        <a:pt x="0" y="86585"/>
                      </a:lnTo>
                      <a:cubicBezTo>
                        <a:pt x="0" y="37223"/>
                        <a:pt x="32990" y="0"/>
                        <a:pt x="76730" y="0"/>
                      </a:cubicBezTo>
                      <a:lnTo>
                        <a:pt x="115094" y="0"/>
                      </a:lnTo>
                      <a:cubicBezTo>
                        <a:pt x="158834" y="0"/>
                        <a:pt x="191824" y="37223"/>
                        <a:pt x="191824" y="86585"/>
                      </a:cubicBezTo>
                      <a:lnTo>
                        <a:pt x="191824" y="96578"/>
                      </a:lnTo>
                      <a:cubicBezTo>
                        <a:pt x="191824" y="100259"/>
                        <a:pt x="188965" y="103239"/>
                        <a:pt x="185430" y="103239"/>
                      </a:cubicBezTo>
                      <a:cubicBezTo>
                        <a:pt x="181895" y="103239"/>
                        <a:pt x="179036" y="100259"/>
                        <a:pt x="179036" y="96578"/>
                      </a:cubicBezTo>
                      <a:lnTo>
                        <a:pt x="179036" y="86585"/>
                      </a:lnTo>
                      <a:cubicBezTo>
                        <a:pt x="179036" y="44132"/>
                        <a:pt x="152143" y="13320"/>
                        <a:pt x="115094" y="13320"/>
                      </a:cubicBezTo>
                      <a:lnTo>
                        <a:pt x="76730" y="13320"/>
                      </a:lnTo>
                      <a:cubicBezTo>
                        <a:pt x="39684" y="13320"/>
                        <a:pt x="12788" y="44132"/>
                        <a:pt x="12788" y="86585"/>
                      </a:cubicBezTo>
                      <a:lnTo>
                        <a:pt x="12788" y="97410"/>
                      </a:lnTo>
                      <a:cubicBezTo>
                        <a:pt x="12788" y="101092"/>
                        <a:pt x="9929" y="104072"/>
                        <a:pt x="6394" y="104072"/>
                      </a:cubicBezTo>
                      <a:close/>
                    </a:path>
                  </a:pathLst>
                </a:custGeom>
                <a:grpFill/>
                <a:ln w="334" cap="flat">
                  <a:noFill/>
                  <a:prstDash val="solid"/>
                  <a:miter/>
                </a:ln>
              </p:spPr>
              <p:txBody>
                <a:bodyPr rtlCol="0" anchor="ctr"/>
                <a:lstStyle/>
                <a:p>
                  <a:endParaRPr lang="en-GB" dirty="0"/>
                </a:p>
              </p:txBody>
            </p:sp>
            <p:sp>
              <p:nvSpPr>
                <p:cNvPr id="651" name="Freeform: Shape 605">
                  <a:extLst>
                    <a:ext uri="{FF2B5EF4-FFF2-40B4-BE49-F238E27FC236}">
                      <a16:creationId xmlns:a16="http://schemas.microsoft.com/office/drawing/2014/main" id="{E6B38B88-B519-419F-9AF1-3FD2B26C6436}"/>
                    </a:ext>
                  </a:extLst>
                </p:cNvPr>
                <p:cNvSpPr/>
                <p:nvPr/>
              </p:nvSpPr>
              <p:spPr>
                <a:xfrm>
                  <a:off x="2735401" y="4174989"/>
                  <a:ext cx="89514" cy="106569"/>
                </a:xfrm>
                <a:custGeom>
                  <a:avLst/>
                  <a:gdLst>
                    <a:gd name="connsiteX0" fmla="*/ 44757 w 89514"/>
                    <a:gd name="connsiteY0" fmla="*/ 106569 h 106569"/>
                    <a:gd name="connsiteX1" fmla="*/ 0 w 89514"/>
                    <a:gd name="connsiteY1" fmla="*/ 53285 h 106569"/>
                    <a:gd name="connsiteX2" fmla="*/ 44757 w 89514"/>
                    <a:gd name="connsiteY2" fmla="*/ 0 h 106569"/>
                    <a:gd name="connsiteX3" fmla="*/ 89515 w 89514"/>
                    <a:gd name="connsiteY3" fmla="*/ 53285 h 106569"/>
                    <a:gd name="connsiteX4" fmla="*/ 44757 w 89514"/>
                    <a:gd name="connsiteY4" fmla="*/ 106569 h 106569"/>
                    <a:gd name="connsiteX5" fmla="*/ 44757 w 89514"/>
                    <a:gd name="connsiteY5" fmla="*/ 13323 h 106569"/>
                    <a:gd name="connsiteX6" fmla="*/ 12788 w 89514"/>
                    <a:gd name="connsiteY6" fmla="*/ 53285 h 106569"/>
                    <a:gd name="connsiteX7" fmla="*/ 44757 w 89514"/>
                    <a:gd name="connsiteY7" fmla="*/ 93247 h 106569"/>
                    <a:gd name="connsiteX8" fmla="*/ 76727 w 89514"/>
                    <a:gd name="connsiteY8" fmla="*/ 53285 h 106569"/>
                    <a:gd name="connsiteX9" fmla="*/ 44757 w 89514"/>
                    <a:gd name="connsiteY9" fmla="*/ 13323 h 1065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514" h="106569">
                      <a:moveTo>
                        <a:pt x="44757" y="106569"/>
                      </a:moveTo>
                      <a:cubicBezTo>
                        <a:pt x="17988" y="106569"/>
                        <a:pt x="0" y="85157"/>
                        <a:pt x="0" y="53285"/>
                      </a:cubicBezTo>
                      <a:cubicBezTo>
                        <a:pt x="0" y="21412"/>
                        <a:pt x="17991" y="0"/>
                        <a:pt x="44757" y="0"/>
                      </a:cubicBezTo>
                      <a:cubicBezTo>
                        <a:pt x="71527" y="0"/>
                        <a:pt x="89515" y="21412"/>
                        <a:pt x="89515" y="53285"/>
                      </a:cubicBezTo>
                      <a:cubicBezTo>
                        <a:pt x="89515" y="85157"/>
                        <a:pt x="71527" y="106569"/>
                        <a:pt x="44757" y="106569"/>
                      </a:cubicBezTo>
                      <a:close/>
                      <a:moveTo>
                        <a:pt x="44757" y="13323"/>
                      </a:moveTo>
                      <a:cubicBezTo>
                        <a:pt x="21161" y="13323"/>
                        <a:pt x="12788" y="34852"/>
                        <a:pt x="12788" y="53285"/>
                      </a:cubicBezTo>
                      <a:cubicBezTo>
                        <a:pt x="12788" y="71717"/>
                        <a:pt x="21161" y="93247"/>
                        <a:pt x="44757" y="93247"/>
                      </a:cubicBezTo>
                      <a:cubicBezTo>
                        <a:pt x="68353" y="93247"/>
                        <a:pt x="76727" y="71717"/>
                        <a:pt x="76727" y="53285"/>
                      </a:cubicBezTo>
                      <a:cubicBezTo>
                        <a:pt x="76727" y="34852"/>
                        <a:pt x="68353" y="13323"/>
                        <a:pt x="44757" y="13323"/>
                      </a:cubicBezTo>
                      <a:close/>
                    </a:path>
                  </a:pathLst>
                </a:custGeom>
                <a:grpFill/>
                <a:ln w="334" cap="flat">
                  <a:noFill/>
                  <a:prstDash val="solid"/>
                  <a:miter/>
                </a:ln>
              </p:spPr>
              <p:txBody>
                <a:bodyPr rtlCol="0" anchor="ctr"/>
                <a:lstStyle/>
                <a:p>
                  <a:endParaRPr lang="en-GB" dirty="0"/>
                </a:p>
              </p:txBody>
            </p:sp>
          </p:grpSp>
          <p:grpSp>
            <p:nvGrpSpPr>
              <p:cNvPr id="645" name="Graphic 24">
                <a:extLst>
                  <a:ext uri="{FF2B5EF4-FFF2-40B4-BE49-F238E27FC236}">
                    <a16:creationId xmlns:a16="http://schemas.microsoft.com/office/drawing/2014/main" id="{5F2BC80E-1887-4FEF-8A6D-B74184801FB6}"/>
                  </a:ext>
                </a:extLst>
              </p:cNvPr>
              <p:cNvGrpSpPr/>
              <p:nvPr/>
            </p:nvGrpSpPr>
            <p:grpSpPr>
              <a:xfrm>
                <a:off x="7073947" y="4340672"/>
                <a:ext cx="250348" cy="273075"/>
                <a:chOff x="2655176" y="4340672"/>
                <a:chExt cx="250348" cy="273075"/>
              </a:xfrm>
              <a:grpFill/>
            </p:grpSpPr>
            <p:sp>
              <p:nvSpPr>
                <p:cNvPr id="648" name="Freeform: Shape 602">
                  <a:extLst>
                    <a:ext uri="{FF2B5EF4-FFF2-40B4-BE49-F238E27FC236}">
                      <a16:creationId xmlns:a16="http://schemas.microsoft.com/office/drawing/2014/main" id="{3E167686-9C93-4404-A9EA-EB07E4CDE0C3}"/>
                    </a:ext>
                  </a:extLst>
                </p:cNvPr>
                <p:cNvSpPr/>
                <p:nvPr/>
              </p:nvSpPr>
              <p:spPr>
                <a:xfrm>
                  <a:off x="2655176" y="4411649"/>
                  <a:ext cx="250348" cy="202097"/>
                </a:xfrm>
                <a:custGeom>
                  <a:avLst/>
                  <a:gdLst>
                    <a:gd name="connsiteX0" fmla="*/ 125530 w 250348"/>
                    <a:gd name="connsiteY0" fmla="*/ 202097 h 202097"/>
                    <a:gd name="connsiteX1" fmla="*/ 124688 w 250348"/>
                    <a:gd name="connsiteY1" fmla="*/ 202078 h 202097"/>
                    <a:gd name="connsiteX2" fmla="*/ 117057 w 250348"/>
                    <a:gd name="connsiteY2" fmla="*/ 199553 h 202097"/>
                    <a:gd name="connsiteX3" fmla="*/ 308 w 250348"/>
                    <a:gd name="connsiteY3" fmla="*/ 15618 h 202097"/>
                    <a:gd name="connsiteX4" fmla="*/ 0 w 250348"/>
                    <a:gd name="connsiteY4" fmla="*/ 12912 h 202097"/>
                    <a:gd name="connsiteX5" fmla="*/ 9066 w 250348"/>
                    <a:gd name="connsiteY5" fmla="*/ 2057 h 202097"/>
                    <a:gd name="connsiteX6" fmla="*/ 20369 w 250348"/>
                    <a:gd name="connsiteY6" fmla="*/ 81 h 202097"/>
                    <a:gd name="connsiteX7" fmla="*/ 27743 w 250348"/>
                    <a:gd name="connsiteY7" fmla="*/ 5539 h 202097"/>
                    <a:gd name="connsiteX8" fmla="*/ 22502 w 250348"/>
                    <a:gd name="connsiteY8" fmla="*/ 13220 h 202097"/>
                    <a:gd name="connsiteX9" fmla="*/ 13136 w 250348"/>
                    <a:gd name="connsiteY9" fmla="*/ 14865 h 202097"/>
                    <a:gd name="connsiteX10" fmla="*/ 123929 w 250348"/>
                    <a:gd name="connsiteY10" fmla="*/ 188323 h 202097"/>
                    <a:gd name="connsiteX11" fmla="*/ 125340 w 250348"/>
                    <a:gd name="connsiteY11" fmla="*/ 188778 h 202097"/>
                    <a:gd name="connsiteX12" fmla="*/ 126383 w 250348"/>
                    <a:gd name="connsiteY12" fmla="*/ 188343 h 202097"/>
                    <a:gd name="connsiteX13" fmla="*/ 237176 w 250348"/>
                    <a:gd name="connsiteY13" fmla="*/ 14865 h 202097"/>
                    <a:gd name="connsiteX14" fmla="*/ 228646 w 250348"/>
                    <a:gd name="connsiteY14" fmla="*/ 13364 h 202097"/>
                    <a:gd name="connsiteX15" fmla="*/ 223419 w 250348"/>
                    <a:gd name="connsiteY15" fmla="*/ 5682 h 202097"/>
                    <a:gd name="connsiteX16" fmla="*/ 230792 w 250348"/>
                    <a:gd name="connsiteY16" fmla="*/ 238 h 202097"/>
                    <a:gd name="connsiteX17" fmla="*/ 241226 w 250348"/>
                    <a:gd name="connsiteY17" fmla="*/ 2061 h 202097"/>
                    <a:gd name="connsiteX18" fmla="*/ 250349 w 250348"/>
                    <a:gd name="connsiteY18" fmla="*/ 12915 h 202097"/>
                    <a:gd name="connsiteX19" fmla="*/ 250182 w 250348"/>
                    <a:gd name="connsiteY19" fmla="*/ 14925 h 202097"/>
                    <a:gd name="connsiteX20" fmla="*/ 250024 w 250348"/>
                    <a:gd name="connsiteY20" fmla="*/ 15758 h 202097"/>
                    <a:gd name="connsiteX21" fmla="*/ 133275 w 250348"/>
                    <a:gd name="connsiteY21" fmla="*/ 199563 h 202097"/>
                    <a:gd name="connsiteX22" fmla="*/ 125815 w 250348"/>
                    <a:gd name="connsiteY22" fmla="*/ 202094 h 202097"/>
                    <a:gd name="connsiteX23" fmla="*/ 125530 w 250348"/>
                    <a:gd name="connsiteY23" fmla="*/ 202097 h 202097"/>
                    <a:gd name="connsiteX24" fmla="*/ 239400 w 250348"/>
                    <a:gd name="connsiteY24" fmla="*/ 15243 h 202097"/>
                    <a:gd name="connsiteX25" fmla="*/ 239501 w 250348"/>
                    <a:gd name="connsiteY25" fmla="*/ 15256 h 202097"/>
                    <a:gd name="connsiteX26" fmla="*/ 239400 w 250348"/>
                    <a:gd name="connsiteY26" fmla="*/ 15243 h 20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0348" h="202097">
                      <a:moveTo>
                        <a:pt x="125530" y="202097"/>
                      </a:moveTo>
                      <a:cubicBezTo>
                        <a:pt x="125243" y="202097"/>
                        <a:pt x="124848" y="202084"/>
                        <a:pt x="124688" y="202078"/>
                      </a:cubicBezTo>
                      <a:cubicBezTo>
                        <a:pt x="122895" y="202011"/>
                        <a:pt x="120210" y="201656"/>
                        <a:pt x="117057" y="199553"/>
                      </a:cubicBezTo>
                      <a:cubicBezTo>
                        <a:pt x="30786" y="142355"/>
                        <a:pt x="6671" y="51864"/>
                        <a:pt x="308" y="15618"/>
                      </a:cubicBezTo>
                      <a:cubicBezTo>
                        <a:pt x="100" y="14628"/>
                        <a:pt x="0" y="13772"/>
                        <a:pt x="0" y="12912"/>
                      </a:cubicBezTo>
                      <a:cubicBezTo>
                        <a:pt x="0" y="7495"/>
                        <a:pt x="3896" y="2830"/>
                        <a:pt x="9066" y="2057"/>
                      </a:cubicBezTo>
                      <a:cubicBezTo>
                        <a:pt x="9815" y="1947"/>
                        <a:pt x="14537" y="1114"/>
                        <a:pt x="20369" y="81"/>
                      </a:cubicBezTo>
                      <a:cubicBezTo>
                        <a:pt x="23840" y="-478"/>
                        <a:pt x="27151" y="1910"/>
                        <a:pt x="27743" y="5539"/>
                      </a:cubicBezTo>
                      <a:cubicBezTo>
                        <a:pt x="28331" y="9160"/>
                        <a:pt x="25987" y="12601"/>
                        <a:pt x="22502" y="13220"/>
                      </a:cubicBezTo>
                      <a:cubicBezTo>
                        <a:pt x="18657" y="13895"/>
                        <a:pt x="15272" y="14494"/>
                        <a:pt x="13136" y="14865"/>
                      </a:cubicBezTo>
                      <a:cubicBezTo>
                        <a:pt x="19797" y="50874"/>
                        <a:pt x="43396" y="134921"/>
                        <a:pt x="123929" y="188323"/>
                      </a:cubicBezTo>
                      <a:cubicBezTo>
                        <a:pt x="124564" y="188745"/>
                        <a:pt x="124791" y="188751"/>
                        <a:pt x="125340" y="188778"/>
                      </a:cubicBezTo>
                      <a:cubicBezTo>
                        <a:pt x="125427" y="188778"/>
                        <a:pt x="125741" y="188771"/>
                        <a:pt x="126383" y="188343"/>
                      </a:cubicBezTo>
                      <a:cubicBezTo>
                        <a:pt x="207170" y="134788"/>
                        <a:pt x="230682" y="50379"/>
                        <a:pt x="237176" y="14865"/>
                      </a:cubicBezTo>
                      <a:cubicBezTo>
                        <a:pt x="235160" y="14514"/>
                        <a:pt x="232107" y="13979"/>
                        <a:pt x="228646" y="13364"/>
                      </a:cubicBezTo>
                      <a:cubicBezTo>
                        <a:pt x="225168" y="12752"/>
                        <a:pt x="222827" y="9310"/>
                        <a:pt x="223419" y="5682"/>
                      </a:cubicBezTo>
                      <a:cubicBezTo>
                        <a:pt x="224004" y="2061"/>
                        <a:pt x="227335" y="-394"/>
                        <a:pt x="230792" y="238"/>
                      </a:cubicBezTo>
                      <a:cubicBezTo>
                        <a:pt x="236083" y="1174"/>
                        <a:pt x="240397" y="1930"/>
                        <a:pt x="241226" y="2061"/>
                      </a:cubicBezTo>
                      <a:cubicBezTo>
                        <a:pt x="246366" y="2723"/>
                        <a:pt x="250349" y="7401"/>
                        <a:pt x="250349" y="12915"/>
                      </a:cubicBezTo>
                      <a:cubicBezTo>
                        <a:pt x="250349" y="13561"/>
                        <a:pt x="250285" y="14313"/>
                        <a:pt x="250182" y="14925"/>
                      </a:cubicBezTo>
                      <a:lnTo>
                        <a:pt x="250024" y="15758"/>
                      </a:lnTo>
                      <a:cubicBezTo>
                        <a:pt x="243661" y="51928"/>
                        <a:pt x="219516" y="142399"/>
                        <a:pt x="133275" y="199563"/>
                      </a:cubicBezTo>
                      <a:cubicBezTo>
                        <a:pt x="130948" y="201125"/>
                        <a:pt x="128423" y="201984"/>
                        <a:pt x="125815" y="202094"/>
                      </a:cubicBezTo>
                      <a:cubicBezTo>
                        <a:pt x="125748" y="202097"/>
                        <a:pt x="125651" y="202097"/>
                        <a:pt x="125530" y="202097"/>
                      </a:cubicBezTo>
                      <a:close/>
                      <a:moveTo>
                        <a:pt x="239400" y="15243"/>
                      </a:moveTo>
                      <a:cubicBezTo>
                        <a:pt x="239430" y="15250"/>
                        <a:pt x="239470" y="15250"/>
                        <a:pt x="239501" y="15256"/>
                      </a:cubicBezTo>
                      <a:cubicBezTo>
                        <a:pt x="239470" y="15250"/>
                        <a:pt x="239440" y="15250"/>
                        <a:pt x="239400" y="15243"/>
                      </a:cubicBezTo>
                      <a:close/>
                    </a:path>
                  </a:pathLst>
                </a:custGeom>
                <a:grpFill/>
                <a:ln w="334" cap="flat">
                  <a:noFill/>
                  <a:prstDash val="solid"/>
                  <a:miter/>
                </a:ln>
              </p:spPr>
              <p:txBody>
                <a:bodyPr rtlCol="0" anchor="ctr"/>
                <a:lstStyle/>
                <a:p>
                  <a:endParaRPr lang="en-GB" dirty="0"/>
                </a:p>
              </p:txBody>
            </p:sp>
            <p:sp>
              <p:nvSpPr>
                <p:cNvPr id="649" name="Freeform: Shape 603">
                  <a:extLst>
                    <a:ext uri="{FF2B5EF4-FFF2-40B4-BE49-F238E27FC236}">
                      <a16:creationId xmlns:a16="http://schemas.microsoft.com/office/drawing/2014/main" id="{CAA9ECB9-4DFD-49E4-9F20-CA642F1A981E}"/>
                    </a:ext>
                  </a:extLst>
                </p:cNvPr>
                <p:cNvSpPr/>
                <p:nvPr/>
              </p:nvSpPr>
              <p:spPr>
                <a:xfrm>
                  <a:off x="2701183" y="4340672"/>
                  <a:ext cx="156898" cy="51923"/>
                </a:xfrm>
                <a:custGeom>
                  <a:avLst/>
                  <a:gdLst>
                    <a:gd name="connsiteX0" fmla="*/ 6405 w 156898"/>
                    <a:gd name="connsiteY0" fmla="*/ 51924 h 51923"/>
                    <a:gd name="connsiteX1" fmla="*/ 753 w 156898"/>
                    <a:gd name="connsiteY1" fmla="*/ 48399 h 51923"/>
                    <a:gd name="connsiteX2" fmla="*/ 3388 w 156898"/>
                    <a:gd name="connsiteY2" fmla="*/ 39390 h 51923"/>
                    <a:gd name="connsiteX3" fmla="*/ 79450 w 156898"/>
                    <a:gd name="connsiteY3" fmla="*/ 0 h 51923"/>
                    <a:gd name="connsiteX4" fmla="*/ 153568 w 156898"/>
                    <a:gd name="connsiteY4" fmla="*/ 39079 h 51923"/>
                    <a:gd name="connsiteX5" fmla="*/ 156116 w 156898"/>
                    <a:gd name="connsiteY5" fmla="*/ 48122 h 51923"/>
                    <a:gd name="connsiteX6" fmla="*/ 147438 w 156898"/>
                    <a:gd name="connsiteY6" fmla="*/ 50777 h 51923"/>
                    <a:gd name="connsiteX7" fmla="*/ 79369 w 156898"/>
                    <a:gd name="connsiteY7" fmla="*/ 13948 h 51923"/>
                    <a:gd name="connsiteX8" fmla="*/ 9408 w 156898"/>
                    <a:gd name="connsiteY8" fmla="*/ 51141 h 51923"/>
                    <a:gd name="connsiteX9" fmla="*/ 6405 w 156898"/>
                    <a:gd name="connsiteY9" fmla="*/ 51924 h 51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6898" h="51923">
                      <a:moveTo>
                        <a:pt x="6405" y="51924"/>
                      </a:moveTo>
                      <a:cubicBezTo>
                        <a:pt x="4121" y="51924"/>
                        <a:pt x="1910" y="50643"/>
                        <a:pt x="753" y="48399"/>
                      </a:cubicBezTo>
                      <a:cubicBezTo>
                        <a:pt x="-909" y="45152"/>
                        <a:pt x="272" y="41122"/>
                        <a:pt x="3388" y="39390"/>
                      </a:cubicBezTo>
                      <a:cubicBezTo>
                        <a:pt x="4101" y="38992"/>
                        <a:pt x="74985" y="0"/>
                        <a:pt x="79450" y="0"/>
                      </a:cubicBezTo>
                      <a:cubicBezTo>
                        <a:pt x="83653" y="0"/>
                        <a:pt x="152883" y="38688"/>
                        <a:pt x="153568" y="39079"/>
                      </a:cubicBezTo>
                      <a:cubicBezTo>
                        <a:pt x="156665" y="40848"/>
                        <a:pt x="157809" y="44894"/>
                        <a:pt x="156116" y="48122"/>
                      </a:cubicBezTo>
                      <a:cubicBezTo>
                        <a:pt x="154418" y="51342"/>
                        <a:pt x="150535" y="52539"/>
                        <a:pt x="147438" y="50777"/>
                      </a:cubicBezTo>
                      <a:cubicBezTo>
                        <a:pt x="131173" y="41514"/>
                        <a:pt x="89623" y="19185"/>
                        <a:pt x="79369" y="13948"/>
                      </a:cubicBezTo>
                      <a:cubicBezTo>
                        <a:pt x="68829" y="19152"/>
                        <a:pt x="24901" y="42534"/>
                        <a:pt x="9408" y="51141"/>
                      </a:cubicBezTo>
                      <a:cubicBezTo>
                        <a:pt x="8445" y="51670"/>
                        <a:pt x="7415" y="51924"/>
                        <a:pt x="6405" y="51924"/>
                      </a:cubicBezTo>
                      <a:close/>
                    </a:path>
                  </a:pathLst>
                </a:custGeom>
                <a:grpFill/>
                <a:ln w="334" cap="flat">
                  <a:noFill/>
                  <a:prstDash val="solid"/>
                  <a:miter/>
                </a:ln>
              </p:spPr>
              <p:txBody>
                <a:bodyPr rtlCol="0" anchor="ctr"/>
                <a:lstStyle/>
                <a:p>
                  <a:endParaRPr lang="en-GB" dirty="0"/>
                </a:p>
              </p:txBody>
            </p:sp>
          </p:grpSp>
          <p:sp>
            <p:nvSpPr>
              <p:cNvPr id="646" name="Freeform: Shape 600">
                <a:extLst>
                  <a:ext uri="{FF2B5EF4-FFF2-40B4-BE49-F238E27FC236}">
                    <a16:creationId xmlns:a16="http://schemas.microsoft.com/office/drawing/2014/main" id="{35F8F072-6F66-4C30-B360-22CF9E44A9A1}"/>
                  </a:ext>
                </a:extLst>
              </p:cNvPr>
              <p:cNvSpPr/>
              <p:nvPr/>
            </p:nvSpPr>
            <p:spPr>
              <a:xfrm>
                <a:off x="7086286" y="4379125"/>
                <a:ext cx="60128" cy="55746"/>
              </a:xfrm>
              <a:custGeom>
                <a:avLst/>
                <a:gdLst>
                  <a:gd name="connsiteX0" fmla="*/ 20671 w 60128"/>
                  <a:gd name="connsiteY0" fmla="*/ 55747 h 55746"/>
                  <a:gd name="connsiteX1" fmla="*/ 7271 w 60128"/>
                  <a:gd name="connsiteY1" fmla="*/ 47172 h 55746"/>
                  <a:gd name="connsiteX2" fmla="*/ 7271 w 60128"/>
                  <a:gd name="connsiteY2" fmla="*/ 47172 h 55746"/>
                  <a:gd name="connsiteX3" fmla="*/ 1606 w 60128"/>
                  <a:gd name="connsiteY3" fmla="*/ 35458 h 55746"/>
                  <a:gd name="connsiteX4" fmla="*/ 763 w 60128"/>
                  <a:gd name="connsiteY4" fmla="*/ 23557 h 55746"/>
                  <a:gd name="connsiteX5" fmla="*/ 8251 w 60128"/>
                  <a:gd name="connsiteY5" fmla="*/ 14521 h 55746"/>
                  <a:gd name="connsiteX6" fmla="*/ 32766 w 60128"/>
                  <a:gd name="connsiteY6" fmla="*/ 1656 h 55746"/>
                  <a:gd name="connsiteX7" fmla="*/ 52868 w 60128"/>
                  <a:gd name="connsiteY7" fmla="*/ 8565 h 55746"/>
                  <a:gd name="connsiteX8" fmla="*/ 58533 w 60128"/>
                  <a:gd name="connsiteY8" fmla="*/ 20286 h 55746"/>
                  <a:gd name="connsiteX9" fmla="*/ 51901 w 60128"/>
                  <a:gd name="connsiteY9" fmla="*/ 41223 h 55746"/>
                  <a:gd name="connsiteX10" fmla="*/ 27379 w 60128"/>
                  <a:gd name="connsiteY10" fmla="*/ 54088 h 55746"/>
                  <a:gd name="connsiteX11" fmla="*/ 20671 w 60128"/>
                  <a:gd name="connsiteY11" fmla="*/ 55747 h 55746"/>
                  <a:gd name="connsiteX12" fmla="*/ 18698 w 60128"/>
                  <a:gd name="connsiteY12" fmla="*/ 41177 h 55746"/>
                  <a:gd name="connsiteX13" fmla="*/ 21627 w 60128"/>
                  <a:gd name="connsiteY13" fmla="*/ 42183 h 55746"/>
                  <a:gd name="connsiteX14" fmla="*/ 46143 w 60128"/>
                  <a:gd name="connsiteY14" fmla="*/ 29318 h 55746"/>
                  <a:gd name="connsiteX15" fmla="*/ 47106 w 60128"/>
                  <a:gd name="connsiteY15" fmla="*/ 26269 h 55746"/>
                  <a:gd name="connsiteX16" fmla="*/ 41448 w 60128"/>
                  <a:gd name="connsiteY16" fmla="*/ 14561 h 55746"/>
                  <a:gd name="connsiteX17" fmla="*/ 38525 w 60128"/>
                  <a:gd name="connsiteY17" fmla="*/ 13558 h 55746"/>
                  <a:gd name="connsiteX18" fmla="*/ 14003 w 60128"/>
                  <a:gd name="connsiteY18" fmla="*/ 26422 h 55746"/>
                  <a:gd name="connsiteX19" fmla="*/ 12909 w 60128"/>
                  <a:gd name="connsiteY19" fmla="*/ 27737 h 55746"/>
                  <a:gd name="connsiteX20" fmla="*/ 13033 w 60128"/>
                  <a:gd name="connsiteY20" fmla="*/ 29459 h 55746"/>
                  <a:gd name="connsiteX21" fmla="*/ 18698 w 60128"/>
                  <a:gd name="connsiteY21" fmla="*/ 41177 h 55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128" h="55746">
                    <a:moveTo>
                      <a:pt x="20671" y="55747"/>
                    </a:moveTo>
                    <a:cubicBezTo>
                      <a:pt x="15190" y="55747"/>
                      <a:pt x="9900" y="52607"/>
                      <a:pt x="7271" y="47172"/>
                    </a:cubicBezTo>
                    <a:lnTo>
                      <a:pt x="7271" y="47172"/>
                    </a:lnTo>
                    <a:lnTo>
                      <a:pt x="1606" y="35458"/>
                    </a:lnTo>
                    <a:cubicBezTo>
                      <a:pt x="-193" y="31736"/>
                      <a:pt x="-491" y="27509"/>
                      <a:pt x="763" y="23557"/>
                    </a:cubicBezTo>
                    <a:cubicBezTo>
                      <a:pt x="2017" y="19601"/>
                      <a:pt x="4680" y="16393"/>
                      <a:pt x="8251" y="14521"/>
                    </a:cubicBezTo>
                    <a:lnTo>
                      <a:pt x="32766" y="1656"/>
                    </a:lnTo>
                    <a:cubicBezTo>
                      <a:pt x="40140" y="-2193"/>
                      <a:pt x="49153" y="894"/>
                      <a:pt x="52868" y="8565"/>
                    </a:cubicBezTo>
                    <a:lnTo>
                      <a:pt x="58533" y="20286"/>
                    </a:lnTo>
                    <a:cubicBezTo>
                      <a:pt x="62241" y="27967"/>
                      <a:pt x="59262" y="37354"/>
                      <a:pt x="51901" y="41223"/>
                    </a:cubicBezTo>
                    <a:lnTo>
                      <a:pt x="27379" y="54088"/>
                    </a:lnTo>
                    <a:cubicBezTo>
                      <a:pt x="25222" y="55215"/>
                      <a:pt x="22931" y="55747"/>
                      <a:pt x="20671" y="55747"/>
                    </a:cubicBezTo>
                    <a:close/>
                    <a:moveTo>
                      <a:pt x="18698" y="41177"/>
                    </a:moveTo>
                    <a:cubicBezTo>
                      <a:pt x="19240" y="42300"/>
                      <a:pt x="20564" y="42745"/>
                      <a:pt x="21627" y="42183"/>
                    </a:cubicBezTo>
                    <a:lnTo>
                      <a:pt x="46143" y="29318"/>
                    </a:lnTo>
                    <a:cubicBezTo>
                      <a:pt x="47216" y="28760"/>
                      <a:pt x="47648" y="27392"/>
                      <a:pt x="47106" y="26269"/>
                    </a:cubicBezTo>
                    <a:lnTo>
                      <a:pt x="41448" y="14561"/>
                    </a:lnTo>
                    <a:cubicBezTo>
                      <a:pt x="40906" y="13447"/>
                      <a:pt x="39599" y="12969"/>
                      <a:pt x="38525" y="13558"/>
                    </a:cubicBezTo>
                    <a:lnTo>
                      <a:pt x="14003" y="26422"/>
                    </a:lnTo>
                    <a:cubicBezTo>
                      <a:pt x="13297" y="26787"/>
                      <a:pt x="13016" y="27406"/>
                      <a:pt x="12909" y="27737"/>
                    </a:cubicBezTo>
                    <a:cubicBezTo>
                      <a:pt x="12802" y="28068"/>
                      <a:pt x="12679" y="28733"/>
                      <a:pt x="13033" y="29459"/>
                    </a:cubicBezTo>
                    <a:lnTo>
                      <a:pt x="18698" y="41177"/>
                    </a:lnTo>
                    <a:close/>
                  </a:path>
                </a:pathLst>
              </a:custGeom>
              <a:grpFill/>
              <a:ln w="334" cap="flat">
                <a:noFill/>
                <a:prstDash val="solid"/>
                <a:miter/>
              </a:ln>
            </p:spPr>
            <p:txBody>
              <a:bodyPr rtlCol="0" anchor="ctr"/>
              <a:lstStyle/>
              <a:p>
                <a:endParaRPr lang="en-GB" dirty="0"/>
              </a:p>
            </p:txBody>
          </p:sp>
          <p:sp>
            <p:nvSpPr>
              <p:cNvPr id="647" name="Freeform: Shape 601">
                <a:extLst>
                  <a:ext uri="{FF2B5EF4-FFF2-40B4-BE49-F238E27FC236}">
                    <a16:creationId xmlns:a16="http://schemas.microsoft.com/office/drawing/2014/main" id="{417C606D-03B2-488B-90CC-0FD7F337B6B1}"/>
                  </a:ext>
                </a:extLst>
              </p:cNvPr>
              <p:cNvSpPr/>
              <p:nvPr/>
            </p:nvSpPr>
            <p:spPr>
              <a:xfrm>
                <a:off x="7253682" y="4379125"/>
                <a:ext cx="60131" cy="55759"/>
              </a:xfrm>
              <a:custGeom>
                <a:avLst/>
                <a:gdLst>
                  <a:gd name="connsiteX0" fmla="*/ 39474 w 60131"/>
                  <a:gd name="connsiteY0" fmla="*/ 55760 h 55759"/>
                  <a:gd name="connsiteX1" fmla="*/ 32755 w 60131"/>
                  <a:gd name="connsiteY1" fmla="*/ 54087 h 55759"/>
                  <a:gd name="connsiteX2" fmla="*/ 8233 w 60131"/>
                  <a:gd name="connsiteY2" fmla="*/ 41223 h 55759"/>
                  <a:gd name="connsiteX3" fmla="*/ 1595 w 60131"/>
                  <a:gd name="connsiteY3" fmla="*/ 20285 h 55759"/>
                  <a:gd name="connsiteX4" fmla="*/ 7267 w 60131"/>
                  <a:gd name="connsiteY4" fmla="*/ 8571 h 55759"/>
                  <a:gd name="connsiteX5" fmla="*/ 27362 w 60131"/>
                  <a:gd name="connsiteY5" fmla="*/ 1655 h 55759"/>
                  <a:gd name="connsiteX6" fmla="*/ 51890 w 60131"/>
                  <a:gd name="connsiteY6" fmla="*/ 14520 h 55759"/>
                  <a:gd name="connsiteX7" fmla="*/ 59371 w 60131"/>
                  <a:gd name="connsiteY7" fmla="*/ 23556 h 55759"/>
                  <a:gd name="connsiteX8" fmla="*/ 58528 w 60131"/>
                  <a:gd name="connsiteY8" fmla="*/ 35458 h 55759"/>
                  <a:gd name="connsiteX9" fmla="*/ 52863 w 60131"/>
                  <a:gd name="connsiteY9" fmla="*/ 47172 h 55759"/>
                  <a:gd name="connsiteX10" fmla="*/ 44186 w 60131"/>
                  <a:gd name="connsiteY10" fmla="*/ 54964 h 55759"/>
                  <a:gd name="connsiteX11" fmla="*/ 39474 w 60131"/>
                  <a:gd name="connsiteY11" fmla="*/ 55760 h 55759"/>
                  <a:gd name="connsiteX12" fmla="*/ 20633 w 60131"/>
                  <a:gd name="connsiteY12" fmla="*/ 13313 h 55759"/>
                  <a:gd name="connsiteX13" fmla="*/ 18684 w 60131"/>
                  <a:gd name="connsiteY13" fmla="*/ 14567 h 55759"/>
                  <a:gd name="connsiteX14" fmla="*/ 18677 w 60131"/>
                  <a:gd name="connsiteY14" fmla="*/ 14567 h 55759"/>
                  <a:gd name="connsiteX15" fmla="*/ 13012 w 60131"/>
                  <a:gd name="connsiteY15" fmla="*/ 26275 h 55759"/>
                  <a:gd name="connsiteX16" fmla="*/ 13985 w 60131"/>
                  <a:gd name="connsiteY16" fmla="*/ 29318 h 55759"/>
                  <a:gd name="connsiteX17" fmla="*/ 38507 w 60131"/>
                  <a:gd name="connsiteY17" fmla="*/ 42182 h 55759"/>
                  <a:gd name="connsiteX18" fmla="*/ 40169 w 60131"/>
                  <a:gd name="connsiteY18" fmla="*/ 42313 h 55759"/>
                  <a:gd name="connsiteX19" fmla="*/ 41430 w 60131"/>
                  <a:gd name="connsiteY19" fmla="*/ 41176 h 55759"/>
                  <a:gd name="connsiteX20" fmla="*/ 47095 w 60131"/>
                  <a:gd name="connsiteY20" fmla="*/ 29461 h 55759"/>
                  <a:gd name="connsiteX21" fmla="*/ 47219 w 60131"/>
                  <a:gd name="connsiteY21" fmla="*/ 27739 h 55759"/>
                  <a:gd name="connsiteX22" fmla="*/ 46125 w 60131"/>
                  <a:gd name="connsiteY22" fmla="*/ 26425 h 55759"/>
                  <a:gd name="connsiteX23" fmla="*/ 21603 w 60131"/>
                  <a:gd name="connsiteY23" fmla="*/ 13560 h 55759"/>
                  <a:gd name="connsiteX24" fmla="*/ 20633 w 60131"/>
                  <a:gd name="connsiteY24" fmla="*/ 13313 h 55759"/>
                  <a:gd name="connsiteX25" fmla="*/ 12972 w 60131"/>
                  <a:gd name="connsiteY25" fmla="*/ 11570 h 55759"/>
                  <a:gd name="connsiteX26" fmla="*/ 13035 w 60131"/>
                  <a:gd name="connsiteY26" fmla="*/ 11570 h 55759"/>
                  <a:gd name="connsiteX27" fmla="*/ 12972 w 60131"/>
                  <a:gd name="connsiteY27" fmla="*/ 11570 h 5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0131" h="55759">
                    <a:moveTo>
                      <a:pt x="39474" y="55760"/>
                    </a:moveTo>
                    <a:cubicBezTo>
                      <a:pt x="37163" y="55760"/>
                      <a:pt x="34879" y="55194"/>
                      <a:pt x="32755" y="54087"/>
                    </a:cubicBezTo>
                    <a:lnTo>
                      <a:pt x="8233" y="41223"/>
                    </a:lnTo>
                    <a:cubicBezTo>
                      <a:pt x="866" y="37354"/>
                      <a:pt x="-2113" y="27960"/>
                      <a:pt x="1595" y="20285"/>
                    </a:cubicBezTo>
                    <a:lnTo>
                      <a:pt x="7267" y="8571"/>
                    </a:lnTo>
                    <a:cubicBezTo>
                      <a:pt x="10975" y="896"/>
                      <a:pt x="19988" y="-2194"/>
                      <a:pt x="27362" y="1655"/>
                    </a:cubicBezTo>
                    <a:lnTo>
                      <a:pt x="51890" y="14520"/>
                    </a:lnTo>
                    <a:cubicBezTo>
                      <a:pt x="55455" y="16393"/>
                      <a:pt x="58117" y="19606"/>
                      <a:pt x="59371" y="23556"/>
                    </a:cubicBezTo>
                    <a:cubicBezTo>
                      <a:pt x="60618" y="27512"/>
                      <a:pt x="60328" y="31739"/>
                      <a:pt x="58528" y="35458"/>
                    </a:cubicBezTo>
                    <a:lnTo>
                      <a:pt x="52863" y="47172"/>
                    </a:lnTo>
                    <a:cubicBezTo>
                      <a:pt x="51064" y="50887"/>
                      <a:pt x="47981" y="53656"/>
                      <a:pt x="44186" y="54964"/>
                    </a:cubicBezTo>
                    <a:cubicBezTo>
                      <a:pt x="42637" y="55492"/>
                      <a:pt x="41052" y="55760"/>
                      <a:pt x="39474" y="55760"/>
                    </a:cubicBezTo>
                    <a:close/>
                    <a:moveTo>
                      <a:pt x="20633" y="13313"/>
                    </a:moveTo>
                    <a:cubicBezTo>
                      <a:pt x="19834" y="13313"/>
                      <a:pt x="19065" y="13775"/>
                      <a:pt x="18684" y="14567"/>
                    </a:cubicBezTo>
                    <a:lnTo>
                      <a:pt x="18677" y="14567"/>
                    </a:lnTo>
                    <a:lnTo>
                      <a:pt x="13012" y="26275"/>
                    </a:lnTo>
                    <a:cubicBezTo>
                      <a:pt x="12474" y="27388"/>
                      <a:pt x="12912" y="28759"/>
                      <a:pt x="13985" y="29318"/>
                    </a:cubicBezTo>
                    <a:lnTo>
                      <a:pt x="38507" y="42182"/>
                    </a:lnTo>
                    <a:cubicBezTo>
                      <a:pt x="39193" y="42560"/>
                      <a:pt x="39845" y="42416"/>
                      <a:pt x="40169" y="42313"/>
                    </a:cubicBezTo>
                    <a:cubicBezTo>
                      <a:pt x="40487" y="42203"/>
                      <a:pt x="41082" y="41908"/>
                      <a:pt x="41430" y="41176"/>
                    </a:cubicBezTo>
                    <a:lnTo>
                      <a:pt x="47095" y="29461"/>
                    </a:lnTo>
                    <a:cubicBezTo>
                      <a:pt x="47449" y="28732"/>
                      <a:pt x="47326" y="28071"/>
                      <a:pt x="47219" y="27739"/>
                    </a:cubicBezTo>
                    <a:cubicBezTo>
                      <a:pt x="47112" y="27408"/>
                      <a:pt x="46831" y="26790"/>
                      <a:pt x="46125" y="26425"/>
                    </a:cubicBezTo>
                    <a:lnTo>
                      <a:pt x="21603" y="13560"/>
                    </a:lnTo>
                    <a:cubicBezTo>
                      <a:pt x="21295" y="13390"/>
                      <a:pt x="20964" y="13313"/>
                      <a:pt x="20633" y="13313"/>
                    </a:cubicBezTo>
                    <a:close/>
                    <a:moveTo>
                      <a:pt x="12972" y="11570"/>
                    </a:moveTo>
                    <a:lnTo>
                      <a:pt x="13035" y="11570"/>
                    </a:lnTo>
                    <a:lnTo>
                      <a:pt x="12972" y="11570"/>
                    </a:lnTo>
                    <a:close/>
                  </a:path>
                </a:pathLst>
              </a:custGeom>
              <a:grpFill/>
              <a:ln w="334" cap="flat">
                <a:noFill/>
                <a:prstDash val="solid"/>
                <a:miter/>
              </a:ln>
            </p:spPr>
            <p:txBody>
              <a:bodyPr rtlCol="0" anchor="ctr"/>
              <a:lstStyle/>
              <a:p>
                <a:endParaRPr lang="en-GB" dirty="0"/>
              </a:p>
            </p:txBody>
          </p:sp>
        </p:grpSp>
      </p:grpSp>
      <p:sp>
        <p:nvSpPr>
          <p:cNvPr id="654" name="TextBox 1423">
            <a:extLst>
              <a:ext uri="{FF2B5EF4-FFF2-40B4-BE49-F238E27FC236}">
                <a16:creationId xmlns:a16="http://schemas.microsoft.com/office/drawing/2014/main" id="{623E01D0-985D-414A-B6E1-81A6BB110BFC}"/>
              </a:ext>
            </a:extLst>
          </p:cNvPr>
          <p:cNvSpPr txBox="1">
            <a:spLocks/>
          </p:cNvSpPr>
          <p:nvPr/>
        </p:nvSpPr>
        <p:spPr>
          <a:xfrm>
            <a:off x="6583639" y="2899619"/>
            <a:ext cx="394339" cy="107722"/>
          </a:xfrm>
          <a:prstGeom prst="rect">
            <a:avLst/>
          </a:prstGeom>
          <a:noFill/>
          <a:effectLst/>
        </p:spPr>
        <p:txBody>
          <a:bodyPr wrap="none" lIns="0" tIns="0" rIns="0" bIns="0" rtlCol="0" anchor="t" anchorCtr="0">
            <a:spAutoFit/>
          </a:bodyPr>
          <a:lstStyle/>
          <a:p>
            <a:pPr algn="ctr"/>
            <a:r>
              <a:rPr lang="en-GB" sz="700" dirty="0">
                <a:solidFill>
                  <a:schemeClr val="tx2"/>
                </a:solidFill>
              </a:rPr>
              <a:t>Insurance</a:t>
            </a:r>
          </a:p>
        </p:txBody>
      </p:sp>
      <p:grpSp>
        <p:nvGrpSpPr>
          <p:cNvPr id="655" name="Group 654">
            <a:extLst>
              <a:ext uri="{FF2B5EF4-FFF2-40B4-BE49-F238E27FC236}">
                <a16:creationId xmlns:a16="http://schemas.microsoft.com/office/drawing/2014/main" id="{8714C27B-559D-4CC1-8127-53D881A7D8A6}"/>
              </a:ext>
            </a:extLst>
          </p:cNvPr>
          <p:cNvGrpSpPr>
            <a:grpSpLocks noChangeAspect="1"/>
          </p:cNvGrpSpPr>
          <p:nvPr/>
        </p:nvGrpSpPr>
        <p:grpSpPr>
          <a:xfrm>
            <a:off x="7342324" y="2552673"/>
            <a:ext cx="540000" cy="328668"/>
            <a:chOff x="6087186" y="4183454"/>
            <a:chExt cx="593814" cy="361421"/>
          </a:xfrm>
        </p:grpSpPr>
        <p:grpSp>
          <p:nvGrpSpPr>
            <p:cNvPr id="656" name="Group 655">
              <a:extLst>
                <a:ext uri="{FF2B5EF4-FFF2-40B4-BE49-F238E27FC236}">
                  <a16:creationId xmlns:a16="http://schemas.microsoft.com/office/drawing/2014/main" id="{3408BBB2-9337-4EDD-9DEC-BB6A824FE523}"/>
                </a:ext>
              </a:extLst>
            </p:cNvPr>
            <p:cNvGrpSpPr/>
            <p:nvPr/>
          </p:nvGrpSpPr>
          <p:grpSpPr>
            <a:xfrm>
              <a:off x="6087186" y="4183454"/>
              <a:ext cx="489174" cy="347399"/>
              <a:chOff x="6087186" y="4183454"/>
              <a:chExt cx="489174" cy="347399"/>
            </a:xfrm>
          </p:grpSpPr>
          <p:sp>
            <p:nvSpPr>
              <p:cNvPr id="667" name="Freihandform: Form 515">
                <a:extLst>
                  <a:ext uri="{FF2B5EF4-FFF2-40B4-BE49-F238E27FC236}">
                    <a16:creationId xmlns:a16="http://schemas.microsoft.com/office/drawing/2014/main" id="{A7F667C3-3854-406A-A713-2A90AFB7EA62}"/>
                  </a:ext>
                </a:extLst>
              </p:cNvPr>
              <p:cNvSpPr/>
              <p:nvPr/>
            </p:nvSpPr>
            <p:spPr>
              <a:xfrm>
                <a:off x="6168195" y="4183454"/>
                <a:ext cx="204984" cy="219614"/>
              </a:xfrm>
              <a:custGeom>
                <a:avLst/>
                <a:gdLst>
                  <a:gd name="connsiteX0" fmla="*/ 18043 w 204984"/>
                  <a:gd name="connsiteY0" fmla="*/ 219615 h 219614"/>
                  <a:gd name="connsiteX1" fmla="*/ 4974 w 204984"/>
                  <a:gd name="connsiteY1" fmla="*/ 219615 h 219614"/>
                  <a:gd name="connsiteX2" fmla="*/ 0 w 204984"/>
                  <a:gd name="connsiteY2" fmla="*/ 214641 h 219614"/>
                  <a:gd name="connsiteX3" fmla="*/ 0 w 204984"/>
                  <a:gd name="connsiteY3" fmla="*/ 50558 h 219614"/>
                  <a:gd name="connsiteX4" fmla="*/ 4974 w 204984"/>
                  <a:gd name="connsiteY4" fmla="*/ 45584 h 219614"/>
                  <a:gd name="connsiteX5" fmla="*/ 49341 w 204984"/>
                  <a:gd name="connsiteY5" fmla="*/ 45584 h 219614"/>
                  <a:gd name="connsiteX6" fmla="*/ 124398 w 204984"/>
                  <a:gd name="connsiteY6" fmla="*/ 0 h 219614"/>
                  <a:gd name="connsiteX7" fmla="*/ 200011 w 204984"/>
                  <a:gd name="connsiteY7" fmla="*/ 0 h 219614"/>
                  <a:gd name="connsiteX8" fmla="*/ 204984 w 204984"/>
                  <a:gd name="connsiteY8" fmla="*/ 4974 h 219614"/>
                  <a:gd name="connsiteX9" fmla="*/ 200011 w 204984"/>
                  <a:gd name="connsiteY9" fmla="*/ 9948 h 219614"/>
                  <a:gd name="connsiteX10" fmla="*/ 124398 w 204984"/>
                  <a:gd name="connsiteY10" fmla="*/ 9948 h 219614"/>
                  <a:gd name="connsiteX11" fmla="*/ 56908 w 204984"/>
                  <a:gd name="connsiteY11" fmla="*/ 52675 h 219614"/>
                  <a:gd name="connsiteX12" fmla="*/ 52410 w 204984"/>
                  <a:gd name="connsiteY12" fmla="*/ 55506 h 219614"/>
                  <a:gd name="connsiteX13" fmla="*/ 9948 w 204984"/>
                  <a:gd name="connsiteY13" fmla="*/ 55506 h 219614"/>
                  <a:gd name="connsiteX14" fmla="*/ 9948 w 204984"/>
                  <a:gd name="connsiteY14" fmla="*/ 209641 h 219614"/>
                  <a:gd name="connsiteX15" fmla="*/ 18043 w 204984"/>
                  <a:gd name="connsiteY15" fmla="*/ 209641 h 219614"/>
                  <a:gd name="connsiteX16" fmla="*/ 23017 w 204984"/>
                  <a:gd name="connsiteY16" fmla="*/ 214615 h 219614"/>
                  <a:gd name="connsiteX17" fmla="*/ 18043 w 204984"/>
                  <a:gd name="connsiteY17" fmla="*/ 219615 h 21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984" h="219614">
                    <a:moveTo>
                      <a:pt x="18043" y="219615"/>
                    </a:moveTo>
                    <a:lnTo>
                      <a:pt x="4974" y="219615"/>
                    </a:lnTo>
                    <a:cubicBezTo>
                      <a:pt x="2222" y="219615"/>
                      <a:pt x="0" y="217393"/>
                      <a:pt x="0" y="214641"/>
                    </a:cubicBezTo>
                    <a:lnTo>
                      <a:pt x="0" y="50558"/>
                    </a:lnTo>
                    <a:cubicBezTo>
                      <a:pt x="0" y="47807"/>
                      <a:pt x="2222" y="45584"/>
                      <a:pt x="4974" y="45584"/>
                    </a:cubicBezTo>
                    <a:lnTo>
                      <a:pt x="49341" y="45584"/>
                    </a:lnTo>
                    <a:cubicBezTo>
                      <a:pt x="63892" y="17805"/>
                      <a:pt x="92994" y="0"/>
                      <a:pt x="124398" y="0"/>
                    </a:cubicBezTo>
                    <a:lnTo>
                      <a:pt x="200011" y="0"/>
                    </a:lnTo>
                    <a:cubicBezTo>
                      <a:pt x="202762" y="0"/>
                      <a:pt x="204984" y="2222"/>
                      <a:pt x="204984" y="4974"/>
                    </a:cubicBezTo>
                    <a:cubicBezTo>
                      <a:pt x="204984" y="7725"/>
                      <a:pt x="202762" y="9948"/>
                      <a:pt x="200011" y="9948"/>
                    </a:cubicBezTo>
                    <a:lnTo>
                      <a:pt x="124398" y="9948"/>
                    </a:lnTo>
                    <a:cubicBezTo>
                      <a:pt x="95772" y="9948"/>
                      <a:pt x="69263" y="26721"/>
                      <a:pt x="56908" y="52675"/>
                    </a:cubicBezTo>
                    <a:cubicBezTo>
                      <a:pt x="56088" y="54421"/>
                      <a:pt x="54342" y="55506"/>
                      <a:pt x="52410" y="55506"/>
                    </a:cubicBezTo>
                    <a:lnTo>
                      <a:pt x="9948" y="55506"/>
                    </a:lnTo>
                    <a:lnTo>
                      <a:pt x="9948" y="209641"/>
                    </a:lnTo>
                    <a:lnTo>
                      <a:pt x="18043" y="209641"/>
                    </a:lnTo>
                    <a:cubicBezTo>
                      <a:pt x="20795" y="209641"/>
                      <a:pt x="23017" y="211863"/>
                      <a:pt x="23017" y="214615"/>
                    </a:cubicBezTo>
                    <a:cubicBezTo>
                      <a:pt x="23017" y="217393"/>
                      <a:pt x="20768" y="219615"/>
                      <a:pt x="18043" y="219615"/>
                    </a:cubicBezTo>
                    <a:close/>
                  </a:path>
                </a:pathLst>
              </a:custGeom>
              <a:solidFill>
                <a:schemeClr val="accent1"/>
              </a:solidFill>
              <a:ln w="2645" cap="flat">
                <a:noFill/>
                <a:prstDash val="solid"/>
                <a:miter/>
              </a:ln>
            </p:spPr>
            <p:txBody>
              <a:bodyPr rtlCol="0" anchor="ctr"/>
              <a:lstStyle/>
              <a:p>
                <a:endParaRPr lang="en-GB" dirty="0"/>
              </a:p>
            </p:txBody>
          </p:sp>
          <p:sp>
            <p:nvSpPr>
              <p:cNvPr id="668" name="Freihandform: Form 517">
                <a:extLst>
                  <a:ext uri="{FF2B5EF4-FFF2-40B4-BE49-F238E27FC236}">
                    <a16:creationId xmlns:a16="http://schemas.microsoft.com/office/drawing/2014/main" id="{B154AE02-468C-43A5-BF2D-A9713B8B3C25}"/>
                  </a:ext>
                </a:extLst>
              </p:cNvPr>
              <p:cNvSpPr/>
              <p:nvPr/>
            </p:nvSpPr>
            <p:spPr>
              <a:xfrm>
                <a:off x="6388947" y="4312614"/>
                <a:ext cx="187413" cy="218239"/>
              </a:xfrm>
              <a:custGeom>
                <a:avLst/>
                <a:gdLst>
                  <a:gd name="connsiteX0" fmla="*/ 25954 w 187413"/>
                  <a:gd name="connsiteY0" fmla="*/ 218187 h 218239"/>
                  <a:gd name="connsiteX1" fmla="*/ 8096 w 187413"/>
                  <a:gd name="connsiteY1" fmla="*/ 210515 h 218239"/>
                  <a:gd name="connsiteX2" fmla="*/ 1244 w 187413"/>
                  <a:gd name="connsiteY2" fmla="*/ 202736 h 218239"/>
                  <a:gd name="connsiteX3" fmla="*/ 1694 w 187413"/>
                  <a:gd name="connsiteY3" fmla="*/ 195699 h 218239"/>
                  <a:gd name="connsiteX4" fmla="*/ 8731 w 187413"/>
                  <a:gd name="connsiteY4" fmla="*/ 196149 h 218239"/>
                  <a:gd name="connsiteX5" fmla="*/ 15557 w 187413"/>
                  <a:gd name="connsiteY5" fmla="*/ 203927 h 218239"/>
                  <a:gd name="connsiteX6" fmla="*/ 26774 w 187413"/>
                  <a:gd name="connsiteY6" fmla="*/ 208213 h 218239"/>
                  <a:gd name="connsiteX7" fmla="*/ 41167 w 187413"/>
                  <a:gd name="connsiteY7" fmla="*/ 202075 h 218239"/>
                  <a:gd name="connsiteX8" fmla="*/ 49315 w 187413"/>
                  <a:gd name="connsiteY8" fmla="*/ 186677 h 218239"/>
                  <a:gd name="connsiteX9" fmla="*/ 46273 w 187413"/>
                  <a:gd name="connsiteY9" fmla="*/ 176915 h 218239"/>
                  <a:gd name="connsiteX10" fmla="*/ 1562 w 187413"/>
                  <a:gd name="connsiteY10" fmla="*/ 126515 h 218239"/>
                  <a:gd name="connsiteX11" fmla="*/ 1958 w 187413"/>
                  <a:gd name="connsiteY11" fmla="*/ 119504 h 218239"/>
                  <a:gd name="connsiteX12" fmla="*/ 8969 w 187413"/>
                  <a:gd name="connsiteY12" fmla="*/ 119875 h 218239"/>
                  <a:gd name="connsiteX13" fmla="*/ 72200 w 187413"/>
                  <a:gd name="connsiteY13" fmla="*/ 190196 h 218239"/>
                  <a:gd name="connsiteX14" fmla="*/ 97863 w 187413"/>
                  <a:gd name="connsiteY14" fmla="*/ 188370 h 218239"/>
                  <a:gd name="connsiteX15" fmla="*/ 105773 w 187413"/>
                  <a:gd name="connsiteY15" fmla="*/ 174878 h 218239"/>
                  <a:gd name="connsiteX16" fmla="*/ 102943 w 187413"/>
                  <a:gd name="connsiteY16" fmla="*/ 163210 h 218239"/>
                  <a:gd name="connsiteX17" fmla="*/ 8916 w 187413"/>
                  <a:gd name="connsiteY17" fmla="*/ 57226 h 218239"/>
                  <a:gd name="connsiteX18" fmla="*/ 8546 w 187413"/>
                  <a:gd name="connsiteY18" fmla="*/ 51115 h 218239"/>
                  <a:gd name="connsiteX19" fmla="*/ 8916 w 187413"/>
                  <a:gd name="connsiteY19" fmla="*/ 50559 h 218239"/>
                  <a:gd name="connsiteX20" fmla="*/ 12726 w 187413"/>
                  <a:gd name="connsiteY20" fmla="*/ 48389 h 218239"/>
                  <a:gd name="connsiteX21" fmla="*/ 16774 w 187413"/>
                  <a:gd name="connsiteY21" fmla="*/ 50083 h 218239"/>
                  <a:gd name="connsiteX22" fmla="*/ 107572 w 187413"/>
                  <a:gd name="connsiteY22" fmla="*/ 153236 h 218239"/>
                  <a:gd name="connsiteX23" fmla="*/ 133182 w 187413"/>
                  <a:gd name="connsiteY23" fmla="*/ 151358 h 218239"/>
                  <a:gd name="connsiteX24" fmla="*/ 141093 w 187413"/>
                  <a:gd name="connsiteY24" fmla="*/ 137865 h 218239"/>
                  <a:gd name="connsiteX25" fmla="*/ 138262 w 187413"/>
                  <a:gd name="connsiteY25" fmla="*/ 126198 h 218239"/>
                  <a:gd name="connsiteX26" fmla="*/ 38389 w 187413"/>
                  <a:gd name="connsiteY26" fmla="*/ 13652 h 218239"/>
                  <a:gd name="connsiteX27" fmla="*/ 37992 w 187413"/>
                  <a:gd name="connsiteY27" fmla="*/ 7541 h 218239"/>
                  <a:gd name="connsiteX28" fmla="*/ 41961 w 187413"/>
                  <a:gd name="connsiteY28" fmla="*/ 5107 h 218239"/>
                  <a:gd name="connsiteX29" fmla="*/ 46167 w 187413"/>
                  <a:gd name="connsiteY29" fmla="*/ 6535 h 218239"/>
                  <a:gd name="connsiteX30" fmla="*/ 143712 w 187413"/>
                  <a:gd name="connsiteY30" fmla="*/ 117335 h 218239"/>
                  <a:gd name="connsiteX31" fmla="*/ 154929 w 187413"/>
                  <a:gd name="connsiteY31" fmla="*/ 121621 h 218239"/>
                  <a:gd name="connsiteX32" fmla="*/ 169322 w 187413"/>
                  <a:gd name="connsiteY32" fmla="*/ 115483 h 218239"/>
                  <a:gd name="connsiteX33" fmla="*/ 174428 w 187413"/>
                  <a:gd name="connsiteY33" fmla="*/ 90296 h 218239"/>
                  <a:gd name="connsiteX34" fmla="*/ 102493 w 187413"/>
                  <a:gd name="connsiteY34" fmla="*/ 8255 h 218239"/>
                  <a:gd name="connsiteX35" fmla="*/ 102943 w 187413"/>
                  <a:gd name="connsiteY35" fmla="*/ 1244 h 218239"/>
                  <a:gd name="connsiteX36" fmla="*/ 109980 w 187413"/>
                  <a:gd name="connsiteY36" fmla="*/ 1694 h 218239"/>
                  <a:gd name="connsiteX37" fmla="*/ 181889 w 187413"/>
                  <a:gd name="connsiteY37" fmla="*/ 83735 h 218239"/>
                  <a:gd name="connsiteX38" fmla="*/ 175883 w 187413"/>
                  <a:gd name="connsiteY38" fmla="*/ 122970 h 218239"/>
                  <a:gd name="connsiteX39" fmla="*/ 155326 w 187413"/>
                  <a:gd name="connsiteY39" fmla="*/ 131595 h 218239"/>
                  <a:gd name="connsiteX40" fmla="*/ 151014 w 187413"/>
                  <a:gd name="connsiteY40" fmla="*/ 131463 h 218239"/>
                  <a:gd name="connsiteX41" fmla="*/ 150829 w 187413"/>
                  <a:gd name="connsiteY41" fmla="*/ 139585 h 218239"/>
                  <a:gd name="connsiteX42" fmla="*/ 139691 w 187413"/>
                  <a:gd name="connsiteY42" fmla="*/ 158872 h 218239"/>
                  <a:gd name="connsiteX43" fmla="*/ 115509 w 187413"/>
                  <a:gd name="connsiteY43" fmla="*/ 167390 h 218239"/>
                  <a:gd name="connsiteX44" fmla="*/ 115509 w 187413"/>
                  <a:gd name="connsiteY44" fmla="*/ 176624 h 218239"/>
                  <a:gd name="connsiteX45" fmla="*/ 104371 w 187413"/>
                  <a:gd name="connsiteY45" fmla="*/ 195911 h 218239"/>
                  <a:gd name="connsiteX46" fmla="*/ 64713 w 187413"/>
                  <a:gd name="connsiteY46" fmla="*/ 196889 h 218239"/>
                  <a:gd name="connsiteX47" fmla="*/ 58840 w 187413"/>
                  <a:gd name="connsiteY47" fmla="*/ 190355 h 218239"/>
                  <a:gd name="connsiteX48" fmla="*/ 47675 w 187413"/>
                  <a:gd name="connsiteY48" fmla="*/ 209615 h 218239"/>
                  <a:gd name="connsiteX49" fmla="*/ 27145 w 187413"/>
                  <a:gd name="connsiteY49" fmla="*/ 218240 h 218239"/>
                  <a:gd name="connsiteX50" fmla="*/ 25954 w 187413"/>
                  <a:gd name="connsiteY50" fmla="*/ 218187 h 218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87413" h="218239">
                    <a:moveTo>
                      <a:pt x="25954" y="218187"/>
                    </a:moveTo>
                    <a:cubicBezTo>
                      <a:pt x="18758" y="218187"/>
                      <a:pt x="12462" y="215488"/>
                      <a:pt x="8096" y="210515"/>
                    </a:cubicBezTo>
                    <a:lnTo>
                      <a:pt x="1244" y="202736"/>
                    </a:lnTo>
                    <a:cubicBezTo>
                      <a:pt x="-581" y="200673"/>
                      <a:pt x="-370" y="197524"/>
                      <a:pt x="1694" y="195699"/>
                    </a:cubicBezTo>
                    <a:cubicBezTo>
                      <a:pt x="3757" y="193873"/>
                      <a:pt x="6906" y="194085"/>
                      <a:pt x="8731" y="196149"/>
                    </a:cubicBezTo>
                    <a:lnTo>
                      <a:pt x="15557" y="203927"/>
                    </a:lnTo>
                    <a:cubicBezTo>
                      <a:pt x="18150" y="206890"/>
                      <a:pt x="22145" y="208451"/>
                      <a:pt x="26774" y="208213"/>
                    </a:cubicBezTo>
                    <a:cubicBezTo>
                      <a:pt x="31801" y="208001"/>
                      <a:pt x="36907" y="205805"/>
                      <a:pt x="41167" y="202075"/>
                    </a:cubicBezTo>
                    <a:cubicBezTo>
                      <a:pt x="45982" y="197842"/>
                      <a:pt x="48971" y="192207"/>
                      <a:pt x="49315" y="186677"/>
                    </a:cubicBezTo>
                    <a:cubicBezTo>
                      <a:pt x="49474" y="184005"/>
                      <a:pt x="49104" y="180116"/>
                      <a:pt x="46273" y="176915"/>
                    </a:cubicBezTo>
                    <a:lnTo>
                      <a:pt x="1562" y="126515"/>
                    </a:lnTo>
                    <a:cubicBezTo>
                      <a:pt x="-264" y="124452"/>
                      <a:pt x="-79" y="121330"/>
                      <a:pt x="1958" y="119504"/>
                    </a:cubicBezTo>
                    <a:cubicBezTo>
                      <a:pt x="3996" y="117679"/>
                      <a:pt x="7144" y="117864"/>
                      <a:pt x="8969" y="119875"/>
                    </a:cubicBezTo>
                    <a:lnTo>
                      <a:pt x="72200" y="190196"/>
                    </a:lnTo>
                    <a:cubicBezTo>
                      <a:pt x="77888" y="196651"/>
                      <a:pt x="89370" y="195805"/>
                      <a:pt x="97863" y="188370"/>
                    </a:cubicBezTo>
                    <a:cubicBezTo>
                      <a:pt x="102122" y="184614"/>
                      <a:pt x="104927" y="179825"/>
                      <a:pt x="105773" y="174878"/>
                    </a:cubicBezTo>
                    <a:cubicBezTo>
                      <a:pt x="106567" y="170301"/>
                      <a:pt x="105562" y="166174"/>
                      <a:pt x="102943" y="163210"/>
                    </a:cubicBezTo>
                    <a:lnTo>
                      <a:pt x="8916" y="57226"/>
                    </a:lnTo>
                    <a:cubicBezTo>
                      <a:pt x="7408" y="55506"/>
                      <a:pt x="7250" y="52993"/>
                      <a:pt x="8546" y="51115"/>
                    </a:cubicBezTo>
                    <a:lnTo>
                      <a:pt x="8916" y="50559"/>
                    </a:lnTo>
                    <a:cubicBezTo>
                      <a:pt x="9790" y="49289"/>
                      <a:pt x="11192" y="48495"/>
                      <a:pt x="12726" y="48389"/>
                    </a:cubicBezTo>
                    <a:cubicBezTo>
                      <a:pt x="14261" y="48283"/>
                      <a:pt x="15742" y="48918"/>
                      <a:pt x="16774" y="50083"/>
                    </a:cubicBezTo>
                    <a:lnTo>
                      <a:pt x="107572" y="153236"/>
                    </a:lnTo>
                    <a:cubicBezTo>
                      <a:pt x="113234" y="159665"/>
                      <a:pt x="124716" y="158819"/>
                      <a:pt x="133182" y="151358"/>
                    </a:cubicBezTo>
                    <a:cubicBezTo>
                      <a:pt x="137442" y="147601"/>
                      <a:pt x="140246" y="142813"/>
                      <a:pt x="141093" y="137865"/>
                    </a:cubicBezTo>
                    <a:cubicBezTo>
                      <a:pt x="141886" y="133288"/>
                      <a:pt x="140881" y="129161"/>
                      <a:pt x="138262" y="126198"/>
                    </a:cubicBezTo>
                    <a:lnTo>
                      <a:pt x="38389" y="13652"/>
                    </a:lnTo>
                    <a:cubicBezTo>
                      <a:pt x="36881" y="11959"/>
                      <a:pt x="36722" y="9446"/>
                      <a:pt x="37992" y="7541"/>
                    </a:cubicBezTo>
                    <a:cubicBezTo>
                      <a:pt x="38865" y="6271"/>
                      <a:pt x="40426" y="5213"/>
                      <a:pt x="41961" y="5107"/>
                    </a:cubicBezTo>
                    <a:cubicBezTo>
                      <a:pt x="43468" y="5054"/>
                      <a:pt x="45162" y="5371"/>
                      <a:pt x="46167" y="6535"/>
                    </a:cubicBezTo>
                    <a:lnTo>
                      <a:pt x="143712" y="117335"/>
                    </a:lnTo>
                    <a:cubicBezTo>
                      <a:pt x="146305" y="120298"/>
                      <a:pt x="150273" y="121806"/>
                      <a:pt x="154929" y="121621"/>
                    </a:cubicBezTo>
                    <a:cubicBezTo>
                      <a:pt x="159956" y="121409"/>
                      <a:pt x="165062" y="119213"/>
                      <a:pt x="169322" y="115483"/>
                    </a:cubicBezTo>
                    <a:cubicBezTo>
                      <a:pt x="177788" y="108022"/>
                      <a:pt x="180090" y="96725"/>
                      <a:pt x="174428" y="90296"/>
                    </a:cubicBezTo>
                    <a:lnTo>
                      <a:pt x="102493" y="8255"/>
                    </a:lnTo>
                    <a:cubicBezTo>
                      <a:pt x="100694" y="6191"/>
                      <a:pt x="100879" y="3043"/>
                      <a:pt x="102943" y="1244"/>
                    </a:cubicBezTo>
                    <a:cubicBezTo>
                      <a:pt x="105006" y="-581"/>
                      <a:pt x="108154" y="-370"/>
                      <a:pt x="109980" y="1694"/>
                    </a:cubicBezTo>
                    <a:lnTo>
                      <a:pt x="181889" y="83735"/>
                    </a:lnTo>
                    <a:cubicBezTo>
                      <a:pt x="191175" y="94291"/>
                      <a:pt x="188476" y="111885"/>
                      <a:pt x="175883" y="122970"/>
                    </a:cubicBezTo>
                    <a:cubicBezTo>
                      <a:pt x="169930" y="128209"/>
                      <a:pt x="162628" y="131277"/>
                      <a:pt x="155326" y="131595"/>
                    </a:cubicBezTo>
                    <a:cubicBezTo>
                      <a:pt x="153871" y="131648"/>
                      <a:pt x="152416" y="131595"/>
                      <a:pt x="151014" y="131463"/>
                    </a:cubicBezTo>
                    <a:cubicBezTo>
                      <a:pt x="151358" y="134055"/>
                      <a:pt x="151305" y="136807"/>
                      <a:pt x="150829" y="139585"/>
                    </a:cubicBezTo>
                    <a:cubicBezTo>
                      <a:pt x="149585" y="146781"/>
                      <a:pt x="145643" y="153633"/>
                      <a:pt x="139691" y="158872"/>
                    </a:cubicBezTo>
                    <a:cubicBezTo>
                      <a:pt x="132494" y="165221"/>
                      <a:pt x="123579" y="168105"/>
                      <a:pt x="115509" y="167390"/>
                    </a:cubicBezTo>
                    <a:cubicBezTo>
                      <a:pt x="116065" y="170301"/>
                      <a:pt x="116065" y="173423"/>
                      <a:pt x="115509" y="176624"/>
                    </a:cubicBezTo>
                    <a:cubicBezTo>
                      <a:pt x="114266" y="183820"/>
                      <a:pt x="110324" y="190672"/>
                      <a:pt x="104371" y="195911"/>
                    </a:cubicBezTo>
                    <a:cubicBezTo>
                      <a:pt x="91778" y="206996"/>
                      <a:pt x="73999" y="207419"/>
                      <a:pt x="64713" y="196889"/>
                    </a:cubicBezTo>
                    <a:lnTo>
                      <a:pt x="58840" y="190355"/>
                    </a:lnTo>
                    <a:cubicBezTo>
                      <a:pt x="57623" y="197498"/>
                      <a:pt x="53654" y="204376"/>
                      <a:pt x="47675" y="209615"/>
                    </a:cubicBezTo>
                    <a:cubicBezTo>
                      <a:pt x="41722" y="214853"/>
                      <a:pt x="34447" y="217922"/>
                      <a:pt x="27145" y="218240"/>
                    </a:cubicBezTo>
                    <a:cubicBezTo>
                      <a:pt x="26774" y="218160"/>
                      <a:pt x="26351" y="218187"/>
                      <a:pt x="25954" y="218187"/>
                    </a:cubicBezTo>
                    <a:close/>
                  </a:path>
                </a:pathLst>
              </a:custGeom>
              <a:solidFill>
                <a:schemeClr val="accent1"/>
              </a:solidFill>
              <a:ln w="2645" cap="flat">
                <a:noFill/>
                <a:prstDash val="solid"/>
                <a:miter/>
              </a:ln>
            </p:spPr>
            <p:txBody>
              <a:bodyPr rtlCol="0" anchor="ctr"/>
              <a:lstStyle/>
              <a:p>
                <a:endParaRPr lang="en-GB" dirty="0"/>
              </a:p>
            </p:txBody>
          </p:sp>
          <p:sp>
            <p:nvSpPr>
              <p:cNvPr id="669" name="Freihandform: Form 525">
                <a:extLst>
                  <a:ext uri="{FF2B5EF4-FFF2-40B4-BE49-F238E27FC236}">
                    <a16:creationId xmlns:a16="http://schemas.microsoft.com/office/drawing/2014/main" id="{0A46BDC3-EAE9-4F0C-99D1-2CDE11D19124}"/>
                  </a:ext>
                </a:extLst>
              </p:cNvPr>
              <p:cNvSpPr/>
              <p:nvPr/>
            </p:nvSpPr>
            <p:spPr>
              <a:xfrm>
                <a:off x="6087186" y="4206259"/>
                <a:ext cx="90719" cy="219614"/>
              </a:xfrm>
              <a:custGeom>
                <a:avLst/>
                <a:gdLst>
                  <a:gd name="connsiteX0" fmla="*/ 85745 w 90719"/>
                  <a:gd name="connsiteY0" fmla="*/ 219615 h 219614"/>
                  <a:gd name="connsiteX1" fmla="*/ 4974 w 90719"/>
                  <a:gd name="connsiteY1" fmla="*/ 219615 h 219614"/>
                  <a:gd name="connsiteX2" fmla="*/ 0 w 90719"/>
                  <a:gd name="connsiteY2" fmla="*/ 214641 h 219614"/>
                  <a:gd name="connsiteX3" fmla="*/ 4974 w 90719"/>
                  <a:gd name="connsiteY3" fmla="*/ 209667 h 219614"/>
                  <a:gd name="connsiteX4" fmla="*/ 80771 w 90719"/>
                  <a:gd name="connsiteY4" fmla="*/ 209667 h 219614"/>
                  <a:gd name="connsiteX5" fmla="*/ 80771 w 90719"/>
                  <a:gd name="connsiteY5" fmla="*/ 9948 h 219614"/>
                  <a:gd name="connsiteX6" fmla="*/ 4974 w 90719"/>
                  <a:gd name="connsiteY6" fmla="*/ 9948 h 219614"/>
                  <a:gd name="connsiteX7" fmla="*/ 0 w 90719"/>
                  <a:gd name="connsiteY7" fmla="*/ 4974 h 219614"/>
                  <a:gd name="connsiteX8" fmla="*/ 4974 w 90719"/>
                  <a:gd name="connsiteY8" fmla="*/ 0 h 219614"/>
                  <a:gd name="connsiteX9" fmla="*/ 85745 w 90719"/>
                  <a:gd name="connsiteY9" fmla="*/ 0 h 219614"/>
                  <a:gd name="connsiteX10" fmla="*/ 90719 w 90719"/>
                  <a:gd name="connsiteY10" fmla="*/ 4974 h 219614"/>
                  <a:gd name="connsiteX11" fmla="*/ 90719 w 90719"/>
                  <a:gd name="connsiteY11" fmla="*/ 214641 h 219614"/>
                  <a:gd name="connsiteX12" fmla="*/ 85745 w 90719"/>
                  <a:gd name="connsiteY12" fmla="*/ 219615 h 21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719" h="219614">
                    <a:moveTo>
                      <a:pt x="85745" y="219615"/>
                    </a:moveTo>
                    <a:lnTo>
                      <a:pt x="4974" y="219615"/>
                    </a:lnTo>
                    <a:cubicBezTo>
                      <a:pt x="2222" y="219615"/>
                      <a:pt x="0" y="217393"/>
                      <a:pt x="0" y="214641"/>
                    </a:cubicBezTo>
                    <a:cubicBezTo>
                      <a:pt x="0" y="211889"/>
                      <a:pt x="2222" y="209667"/>
                      <a:pt x="4974" y="209667"/>
                    </a:cubicBezTo>
                    <a:lnTo>
                      <a:pt x="80771" y="209667"/>
                    </a:lnTo>
                    <a:lnTo>
                      <a:pt x="80771" y="9948"/>
                    </a:lnTo>
                    <a:lnTo>
                      <a:pt x="4974" y="9948"/>
                    </a:lnTo>
                    <a:cubicBezTo>
                      <a:pt x="2222" y="9948"/>
                      <a:pt x="0" y="7725"/>
                      <a:pt x="0" y="4974"/>
                    </a:cubicBezTo>
                    <a:cubicBezTo>
                      <a:pt x="0" y="2222"/>
                      <a:pt x="2222" y="0"/>
                      <a:pt x="4974" y="0"/>
                    </a:cubicBezTo>
                    <a:lnTo>
                      <a:pt x="85745" y="0"/>
                    </a:lnTo>
                    <a:cubicBezTo>
                      <a:pt x="88497" y="0"/>
                      <a:pt x="90719" y="2222"/>
                      <a:pt x="90719" y="4974"/>
                    </a:cubicBezTo>
                    <a:lnTo>
                      <a:pt x="90719" y="214641"/>
                    </a:lnTo>
                    <a:cubicBezTo>
                      <a:pt x="90719" y="217393"/>
                      <a:pt x="88470" y="219615"/>
                      <a:pt x="85745" y="219615"/>
                    </a:cubicBezTo>
                    <a:close/>
                  </a:path>
                </a:pathLst>
              </a:custGeom>
              <a:solidFill>
                <a:schemeClr val="accent1"/>
              </a:solidFill>
              <a:ln w="2645" cap="flat">
                <a:noFill/>
                <a:prstDash val="solid"/>
                <a:miter/>
              </a:ln>
            </p:spPr>
            <p:txBody>
              <a:bodyPr rtlCol="0" anchor="ctr"/>
              <a:lstStyle/>
              <a:p>
                <a:endParaRPr lang="en-GB" dirty="0"/>
              </a:p>
            </p:txBody>
          </p:sp>
        </p:grpSp>
        <p:grpSp>
          <p:nvGrpSpPr>
            <p:cNvPr id="657" name="Group 656">
              <a:extLst>
                <a:ext uri="{FF2B5EF4-FFF2-40B4-BE49-F238E27FC236}">
                  <a16:creationId xmlns:a16="http://schemas.microsoft.com/office/drawing/2014/main" id="{3D4DFE63-491B-48DF-AD7D-D7BF366CA37F}"/>
                </a:ext>
              </a:extLst>
            </p:cNvPr>
            <p:cNvGrpSpPr/>
            <p:nvPr/>
          </p:nvGrpSpPr>
          <p:grpSpPr>
            <a:xfrm>
              <a:off x="6197982" y="4197299"/>
              <a:ext cx="483018" cy="347576"/>
              <a:chOff x="6197982" y="4197299"/>
              <a:chExt cx="483018" cy="347576"/>
            </a:xfrm>
          </p:grpSpPr>
          <p:sp>
            <p:nvSpPr>
              <p:cNvPr id="658" name="Freihandform: Form 513">
                <a:extLst>
                  <a:ext uri="{FF2B5EF4-FFF2-40B4-BE49-F238E27FC236}">
                    <a16:creationId xmlns:a16="http://schemas.microsoft.com/office/drawing/2014/main" id="{8969FA17-CF24-437F-8FCD-963D58E4A2C5}"/>
                  </a:ext>
                </a:extLst>
              </p:cNvPr>
              <p:cNvSpPr/>
              <p:nvPr/>
            </p:nvSpPr>
            <p:spPr>
              <a:xfrm>
                <a:off x="6590281" y="4252611"/>
                <a:ext cx="90719" cy="224165"/>
              </a:xfrm>
              <a:custGeom>
                <a:avLst/>
                <a:gdLst>
                  <a:gd name="connsiteX0" fmla="*/ 85745 w 90719"/>
                  <a:gd name="connsiteY0" fmla="*/ 224165 h 224165"/>
                  <a:gd name="connsiteX1" fmla="*/ 4974 w 90719"/>
                  <a:gd name="connsiteY1" fmla="*/ 224165 h 224165"/>
                  <a:gd name="connsiteX2" fmla="*/ 0 w 90719"/>
                  <a:gd name="connsiteY2" fmla="*/ 219191 h 224165"/>
                  <a:gd name="connsiteX3" fmla="*/ 0 w 90719"/>
                  <a:gd name="connsiteY3" fmla="*/ 4974 h 224165"/>
                  <a:gd name="connsiteX4" fmla="*/ 4974 w 90719"/>
                  <a:gd name="connsiteY4" fmla="*/ 0 h 224165"/>
                  <a:gd name="connsiteX5" fmla="*/ 85745 w 90719"/>
                  <a:gd name="connsiteY5" fmla="*/ 0 h 224165"/>
                  <a:gd name="connsiteX6" fmla="*/ 90719 w 90719"/>
                  <a:gd name="connsiteY6" fmla="*/ 4974 h 224165"/>
                  <a:gd name="connsiteX7" fmla="*/ 85745 w 90719"/>
                  <a:gd name="connsiteY7" fmla="*/ 9948 h 224165"/>
                  <a:gd name="connsiteX8" fmla="*/ 9974 w 90719"/>
                  <a:gd name="connsiteY8" fmla="*/ 9948 h 224165"/>
                  <a:gd name="connsiteX9" fmla="*/ 9974 w 90719"/>
                  <a:gd name="connsiteY9" fmla="*/ 214218 h 224165"/>
                  <a:gd name="connsiteX10" fmla="*/ 85745 w 90719"/>
                  <a:gd name="connsiteY10" fmla="*/ 214218 h 224165"/>
                  <a:gd name="connsiteX11" fmla="*/ 90719 w 90719"/>
                  <a:gd name="connsiteY11" fmla="*/ 219191 h 224165"/>
                  <a:gd name="connsiteX12" fmla="*/ 85745 w 90719"/>
                  <a:gd name="connsiteY12" fmla="*/ 224165 h 22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719" h="224165">
                    <a:moveTo>
                      <a:pt x="85745" y="224165"/>
                    </a:moveTo>
                    <a:lnTo>
                      <a:pt x="4974" y="224165"/>
                    </a:lnTo>
                    <a:cubicBezTo>
                      <a:pt x="2222" y="224165"/>
                      <a:pt x="0" y="221943"/>
                      <a:pt x="0" y="219191"/>
                    </a:cubicBezTo>
                    <a:lnTo>
                      <a:pt x="0" y="4974"/>
                    </a:lnTo>
                    <a:cubicBezTo>
                      <a:pt x="0" y="2222"/>
                      <a:pt x="2222" y="0"/>
                      <a:pt x="4974" y="0"/>
                    </a:cubicBezTo>
                    <a:lnTo>
                      <a:pt x="85745" y="0"/>
                    </a:lnTo>
                    <a:cubicBezTo>
                      <a:pt x="88497" y="0"/>
                      <a:pt x="90719" y="2222"/>
                      <a:pt x="90719" y="4974"/>
                    </a:cubicBezTo>
                    <a:cubicBezTo>
                      <a:pt x="90719" y="7725"/>
                      <a:pt x="88497" y="9948"/>
                      <a:pt x="85745" y="9948"/>
                    </a:cubicBezTo>
                    <a:lnTo>
                      <a:pt x="9974" y="9948"/>
                    </a:lnTo>
                    <a:lnTo>
                      <a:pt x="9974" y="214218"/>
                    </a:lnTo>
                    <a:lnTo>
                      <a:pt x="85745" y="214218"/>
                    </a:lnTo>
                    <a:cubicBezTo>
                      <a:pt x="88497" y="214218"/>
                      <a:pt x="90719" y="216440"/>
                      <a:pt x="90719" y="219191"/>
                    </a:cubicBezTo>
                    <a:cubicBezTo>
                      <a:pt x="90719" y="221943"/>
                      <a:pt x="88470" y="224165"/>
                      <a:pt x="85745" y="224165"/>
                    </a:cubicBezTo>
                    <a:close/>
                  </a:path>
                </a:pathLst>
              </a:custGeom>
              <a:solidFill>
                <a:schemeClr val="tx2"/>
              </a:solidFill>
              <a:ln w="2645" cap="flat">
                <a:noFill/>
                <a:prstDash val="solid"/>
                <a:miter/>
              </a:ln>
            </p:spPr>
            <p:txBody>
              <a:bodyPr rtlCol="0" anchor="ctr"/>
              <a:lstStyle/>
              <a:p>
                <a:endParaRPr lang="en-GB" dirty="0"/>
              </a:p>
            </p:txBody>
          </p:sp>
          <p:sp>
            <p:nvSpPr>
              <p:cNvPr id="659" name="Freihandform: Form 516">
                <a:extLst>
                  <a:ext uri="{FF2B5EF4-FFF2-40B4-BE49-F238E27FC236}">
                    <a16:creationId xmlns:a16="http://schemas.microsoft.com/office/drawing/2014/main" id="{48F8D4AE-DFC6-4318-83AF-9BF2026F0EA7}"/>
                  </a:ext>
                </a:extLst>
              </p:cNvPr>
              <p:cNvSpPr/>
              <p:nvPr/>
            </p:nvSpPr>
            <p:spPr>
              <a:xfrm>
                <a:off x="6426251" y="4197397"/>
                <a:ext cx="174136" cy="266839"/>
              </a:xfrm>
              <a:custGeom>
                <a:avLst/>
                <a:gdLst>
                  <a:gd name="connsiteX0" fmla="*/ 169162 w 174136"/>
                  <a:gd name="connsiteY0" fmla="*/ 266840 h 266839"/>
                  <a:gd name="connsiteX1" fmla="*/ 132838 w 174136"/>
                  <a:gd name="connsiteY1" fmla="*/ 266840 h 266839"/>
                  <a:gd name="connsiteX2" fmla="*/ 127864 w 174136"/>
                  <a:gd name="connsiteY2" fmla="*/ 261866 h 266839"/>
                  <a:gd name="connsiteX3" fmla="*/ 132838 w 174136"/>
                  <a:gd name="connsiteY3" fmla="*/ 256892 h 266839"/>
                  <a:gd name="connsiteX4" fmla="*/ 164189 w 174136"/>
                  <a:gd name="connsiteY4" fmla="*/ 256892 h 266839"/>
                  <a:gd name="connsiteX5" fmla="*/ 164189 w 174136"/>
                  <a:gd name="connsiteY5" fmla="*/ 79978 h 266839"/>
                  <a:gd name="connsiteX6" fmla="*/ 114980 w 174136"/>
                  <a:gd name="connsiteY6" fmla="*/ 79978 h 266839"/>
                  <a:gd name="connsiteX7" fmla="*/ 110032 w 174136"/>
                  <a:gd name="connsiteY7" fmla="*/ 75639 h 266839"/>
                  <a:gd name="connsiteX8" fmla="*/ 4974 w 174136"/>
                  <a:gd name="connsiteY8" fmla="*/ 9947 h 266839"/>
                  <a:gd name="connsiteX9" fmla="*/ 0 w 174136"/>
                  <a:gd name="connsiteY9" fmla="*/ 4974 h 266839"/>
                  <a:gd name="connsiteX10" fmla="*/ 4974 w 174136"/>
                  <a:gd name="connsiteY10" fmla="*/ 0 h 266839"/>
                  <a:gd name="connsiteX11" fmla="*/ 119239 w 174136"/>
                  <a:gd name="connsiteY11" fmla="*/ 70030 h 266839"/>
                  <a:gd name="connsiteX12" fmla="*/ 169162 w 174136"/>
                  <a:gd name="connsiteY12" fmla="*/ 70030 h 266839"/>
                  <a:gd name="connsiteX13" fmla="*/ 174136 w 174136"/>
                  <a:gd name="connsiteY13" fmla="*/ 75004 h 266839"/>
                  <a:gd name="connsiteX14" fmla="*/ 174136 w 174136"/>
                  <a:gd name="connsiteY14" fmla="*/ 261866 h 266839"/>
                  <a:gd name="connsiteX15" fmla="*/ 169162 w 174136"/>
                  <a:gd name="connsiteY15" fmla="*/ 266840 h 266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4136" h="266839">
                    <a:moveTo>
                      <a:pt x="169162" y="266840"/>
                    </a:moveTo>
                    <a:lnTo>
                      <a:pt x="132838" y="266840"/>
                    </a:lnTo>
                    <a:cubicBezTo>
                      <a:pt x="130086" y="266840"/>
                      <a:pt x="127864" y="264617"/>
                      <a:pt x="127864" y="261866"/>
                    </a:cubicBezTo>
                    <a:cubicBezTo>
                      <a:pt x="127864" y="259114"/>
                      <a:pt x="130086" y="256892"/>
                      <a:pt x="132838" y="256892"/>
                    </a:cubicBezTo>
                    <a:lnTo>
                      <a:pt x="164189" y="256892"/>
                    </a:lnTo>
                    <a:lnTo>
                      <a:pt x="164189" y="79978"/>
                    </a:lnTo>
                    <a:lnTo>
                      <a:pt x="114980" y="79978"/>
                    </a:lnTo>
                    <a:cubicBezTo>
                      <a:pt x="112466" y="79978"/>
                      <a:pt x="110376" y="78126"/>
                      <a:pt x="110032" y="75639"/>
                    </a:cubicBezTo>
                    <a:cubicBezTo>
                      <a:pt x="104529" y="33282"/>
                      <a:pt x="67226" y="9947"/>
                      <a:pt x="4974" y="9947"/>
                    </a:cubicBezTo>
                    <a:cubicBezTo>
                      <a:pt x="2222" y="9947"/>
                      <a:pt x="0" y="7725"/>
                      <a:pt x="0" y="4974"/>
                    </a:cubicBezTo>
                    <a:cubicBezTo>
                      <a:pt x="0" y="2222"/>
                      <a:pt x="2222" y="0"/>
                      <a:pt x="4974" y="0"/>
                    </a:cubicBezTo>
                    <a:cubicBezTo>
                      <a:pt x="91936" y="0"/>
                      <a:pt x="114107" y="42013"/>
                      <a:pt x="119239" y="70030"/>
                    </a:cubicBezTo>
                    <a:lnTo>
                      <a:pt x="169162" y="70030"/>
                    </a:lnTo>
                    <a:cubicBezTo>
                      <a:pt x="171914" y="70030"/>
                      <a:pt x="174136" y="72253"/>
                      <a:pt x="174136" y="75004"/>
                    </a:cubicBezTo>
                    <a:lnTo>
                      <a:pt x="174136" y="261866"/>
                    </a:lnTo>
                    <a:cubicBezTo>
                      <a:pt x="174163" y="264617"/>
                      <a:pt x="171914" y="266840"/>
                      <a:pt x="169162" y="266840"/>
                    </a:cubicBezTo>
                    <a:close/>
                  </a:path>
                </a:pathLst>
              </a:custGeom>
              <a:solidFill>
                <a:schemeClr val="tx2"/>
              </a:solidFill>
              <a:ln w="2645" cap="flat">
                <a:noFill/>
                <a:prstDash val="solid"/>
                <a:miter/>
              </a:ln>
            </p:spPr>
            <p:txBody>
              <a:bodyPr rtlCol="0" anchor="ctr"/>
              <a:lstStyle/>
              <a:p>
                <a:endParaRPr lang="en-GB" dirty="0"/>
              </a:p>
            </p:txBody>
          </p:sp>
          <p:grpSp>
            <p:nvGrpSpPr>
              <p:cNvPr id="660" name="Grafik 144">
                <a:extLst>
                  <a:ext uri="{FF2B5EF4-FFF2-40B4-BE49-F238E27FC236}">
                    <a16:creationId xmlns:a16="http://schemas.microsoft.com/office/drawing/2014/main" id="{C74CF12D-00F4-4592-8C21-7ED9EE505ED8}"/>
                  </a:ext>
                </a:extLst>
              </p:cNvPr>
              <p:cNvGrpSpPr/>
              <p:nvPr/>
            </p:nvGrpSpPr>
            <p:grpSpPr>
              <a:xfrm>
                <a:off x="6197982" y="4357342"/>
                <a:ext cx="222197" cy="187533"/>
                <a:chOff x="6197982" y="4357342"/>
                <a:chExt cx="222197" cy="187533"/>
              </a:xfrm>
              <a:solidFill>
                <a:schemeClr val="tx2"/>
              </a:solidFill>
            </p:grpSpPr>
            <p:grpSp>
              <p:nvGrpSpPr>
                <p:cNvPr id="662" name="Grafik 144">
                  <a:extLst>
                    <a:ext uri="{FF2B5EF4-FFF2-40B4-BE49-F238E27FC236}">
                      <a16:creationId xmlns:a16="http://schemas.microsoft.com/office/drawing/2014/main" id="{0E0E28A3-33C4-43B5-8640-6E05AB55E2A8}"/>
                    </a:ext>
                  </a:extLst>
                </p:cNvPr>
                <p:cNvGrpSpPr/>
                <p:nvPr/>
              </p:nvGrpSpPr>
              <p:grpSpPr>
                <a:xfrm>
                  <a:off x="6197982" y="4357342"/>
                  <a:ext cx="198782" cy="158934"/>
                  <a:chOff x="6197982" y="4357342"/>
                  <a:chExt cx="198782" cy="158934"/>
                </a:xfrm>
                <a:solidFill>
                  <a:schemeClr val="accent1"/>
                </a:solidFill>
              </p:grpSpPr>
              <p:sp>
                <p:nvSpPr>
                  <p:cNvPr id="664" name="Freihandform: Form 520">
                    <a:extLst>
                      <a:ext uri="{FF2B5EF4-FFF2-40B4-BE49-F238E27FC236}">
                        <a16:creationId xmlns:a16="http://schemas.microsoft.com/office/drawing/2014/main" id="{3E66CE38-00A4-41E5-8BB3-A4EA3F6985CB}"/>
                      </a:ext>
                    </a:extLst>
                  </p:cNvPr>
                  <p:cNvSpPr/>
                  <p:nvPr/>
                </p:nvSpPr>
                <p:spPr>
                  <a:xfrm>
                    <a:off x="6197982" y="4357342"/>
                    <a:ext cx="84798" cy="92475"/>
                  </a:xfrm>
                  <a:custGeom>
                    <a:avLst/>
                    <a:gdLst>
                      <a:gd name="connsiteX0" fmla="*/ 33364 w 84798"/>
                      <a:gd name="connsiteY0" fmla="*/ 92476 h 92475"/>
                      <a:gd name="connsiteX1" fmla="*/ 14078 w 84798"/>
                      <a:gd name="connsiteY1" fmla="*/ 86232 h 92475"/>
                      <a:gd name="connsiteX2" fmla="*/ 717 w 84798"/>
                      <a:gd name="connsiteY2" fmla="*/ 66389 h 92475"/>
                      <a:gd name="connsiteX3" fmla="*/ 5083 w 84798"/>
                      <a:gd name="connsiteY3" fmla="*/ 43769 h 92475"/>
                      <a:gd name="connsiteX4" fmla="*/ 27676 w 84798"/>
                      <a:gd name="connsiteY4" fmla="*/ 11836 h 92475"/>
                      <a:gd name="connsiteX5" fmla="*/ 70695 w 84798"/>
                      <a:gd name="connsiteY5" fmla="*/ 6227 h 92475"/>
                      <a:gd name="connsiteX6" fmla="*/ 84081 w 84798"/>
                      <a:gd name="connsiteY6" fmla="*/ 26070 h 92475"/>
                      <a:gd name="connsiteX7" fmla="*/ 79716 w 84798"/>
                      <a:gd name="connsiteY7" fmla="*/ 48690 h 92475"/>
                      <a:gd name="connsiteX8" fmla="*/ 57096 w 84798"/>
                      <a:gd name="connsiteY8" fmla="*/ 80623 h 92475"/>
                      <a:gd name="connsiteX9" fmla="*/ 33364 w 84798"/>
                      <a:gd name="connsiteY9" fmla="*/ 92476 h 92475"/>
                      <a:gd name="connsiteX10" fmla="*/ 51355 w 84798"/>
                      <a:gd name="connsiteY10" fmla="*/ 9958 h 92475"/>
                      <a:gd name="connsiteX11" fmla="*/ 35798 w 84798"/>
                      <a:gd name="connsiteY11" fmla="*/ 17604 h 92475"/>
                      <a:gd name="connsiteX12" fmla="*/ 13205 w 84798"/>
                      <a:gd name="connsiteY12" fmla="*/ 49537 h 92475"/>
                      <a:gd name="connsiteX13" fmla="*/ 10427 w 84798"/>
                      <a:gd name="connsiteY13" fmla="*/ 64273 h 92475"/>
                      <a:gd name="connsiteX14" fmla="*/ 19819 w 84798"/>
                      <a:gd name="connsiteY14" fmla="*/ 78110 h 92475"/>
                      <a:gd name="connsiteX15" fmla="*/ 48974 w 84798"/>
                      <a:gd name="connsiteY15" fmla="*/ 74882 h 92475"/>
                      <a:gd name="connsiteX16" fmla="*/ 71594 w 84798"/>
                      <a:gd name="connsiteY16" fmla="*/ 42949 h 92475"/>
                      <a:gd name="connsiteX17" fmla="*/ 71594 w 84798"/>
                      <a:gd name="connsiteY17" fmla="*/ 42949 h 92475"/>
                      <a:gd name="connsiteX18" fmla="*/ 74372 w 84798"/>
                      <a:gd name="connsiteY18" fmla="*/ 28239 h 92475"/>
                      <a:gd name="connsiteX19" fmla="*/ 64953 w 84798"/>
                      <a:gd name="connsiteY19" fmla="*/ 14376 h 92475"/>
                      <a:gd name="connsiteX20" fmla="*/ 51355 w 84798"/>
                      <a:gd name="connsiteY20" fmla="*/ 9958 h 92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4798" h="92475">
                        <a:moveTo>
                          <a:pt x="33364" y="92476"/>
                        </a:moveTo>
                        <a:cubicBezTo>
                          <a:pt x="26777" y="92476"/>
                          <a:pt x="20004" y="90438"/>
                          <a:pt x="14078" y="86232"/>
                        </a:cubicBezTo>
                        <a:cubicBezTo>
                          <a:pt x="7199" y="81364"/>
                          <a:pt x="2463" y="74326"/>
                          <a:pt x="717" y="66389"/>
                        </a:cubicBezTo>
                        <a:cubicBezTo>
                          <a:pt x="-1055" y="58294"/>
                          <a:pt x="479" y="50277"/>
                          <a:pt x="5083" y="43769"/>
                        </a:cubicBezTo>
                        <a:lnTo>
                          <a:pt x="27676" y="11836"/>
                        </a:lnTo>
                        <a:cubicBezTo>
                          <a:pt x="37068" y="-1419"/>
                          <a:pt x="56355" y="-3905"/>
                          <a:pt x="70695" y="6227"/>
                        </a:cubicBezTo>
                        <a:cubicBezTo>
                          <a:pt x="77573" y="11096"/>
                          <a:pt x="82335" y="18133"/>
                          <a:pt x="84081" y="26070"/>
                        </a:cubicBezTo>
                        <a:cubicBezTo>
                          <a:pt x="85854" y="34166"/>
                          <a:pt x="84320" y="42208"/>
                          <a:pt x="79716" y="48690"/>
                        </a:cubicBezTo>
                        <a:lnTo>
                          <a:pt x="57096" y="80623"/>
                        </a:lnTo>
                        <a:cubicBezTo>
                          <a:pt x="51593" y="88401"/>
                          <a:pt x="42704" y="92476"/>
                          <a:pt x="33364" y="92476"/>
                        </a:cubicBezTo>
                        <a:close/>
                        <a:moveTo>
                          <a:pt x="51355" y="9958"/>
                        </a:moveTo>
                        <a:cubicBezTo>
                          <a:pt x="45164" y="9958"/>
                          <a:pt x="39344" y="12577"/>
                          <a:pt x="35798" y="17604"/>
                        </a:cubicBezTo>
                        <a:lnTo>
                          <a:pt x="13205" y="49537"/>
                        </a:lnTo>
                        <a:cubicBezTo>
                          <a:pt x="10242" y="53717"/>
                          <a:pt x="9263" y="58929"/>
                          <a:pt x="10427" y="64273"/>
                        </a:cubicBezTo>
                        <a:cubicBezTo>
                          <a:pt x="11644" y="69776"/>
                          <a:pt x="14977" y="74697"/>
                          <a:pt x="19819" y="78110"/>
                        </a:cubicBezTo>
                        <a:cubicBezTo>
                          <a:pt x="29687" y="85094"/>
                          <a:pt x="42757" y="83639"/>
                          <a:pt x="48974" y="74882"/>
                        </a:cubicBezTo>
                        <a:lnTo>
                          <a:pt x="71594" y="42949"/>
                        </a:lnTo>
                        <a:cubicBezTo>
                          <a:pt x="71594" y="42949"/>
                          <a:pt x="71594" y="42949"/>
                          <a:pt x="71594" y="42949"/>
                        </a:cubicBezTo>
                        <a:cubicBezTo>
                          <a:pt x="74557" y="38795"/>
                          <a:pt x="75536" y="33557"/>
                          <a:pt x="74372" y="28239"/>
                        </a:cubicBezTo>
                        <a:cubicBezTo>
                          <a:pt x="73155" y="22736"/>
                          <a:pt x="69821" y="17815"/>
                          <a:pt x="64953" y="14376"/>
                        </a:cubicBezTo>
                        <a:cubicBezTo>
                          <a:pt x="60747" y="11387"/>
                          <a:pt x="55958" y="9958"/>
                          <a:pt x="51355" y="9958"/>
                        </a:cubicBezTo>
                        <a:close/>
                      </a:path>
                    </a:pathLst>
                  </a:custGeom>
                  <a:solidFill>
                    <a:schemeClr val="tx2"/>
                  </a:solidFill>
                  <a:ln w="2645" cap="flat">
                    <a:noFill/>
                    <a:prstDash val="solid"/>
                    <a:miter/>
                  </a:ln>
                </p:spPr>
                <p:txBody>
                  <a:bodyPr rtlCol="0" anchor="ctr"/>
                  <a:lstStyle/>
                  <a:p>
                    <a:endParaRPr lang="en-GB" dirty="0"/>
                  </a:p>
                </p:txBody>
              </p:sp>
              <p:sp>
                <p:nvSpPr>
                  <p:cNvPr id="665" name="Freihandform: Form 521">
                    <a:extLst>
                      <a:ext uri="{FF2B5EF4-FFF2-40B4-BE49-F238E27FC236}">
                        <a16:creationId xmlns:a16="http://schemas.microsoft.com/office/drawing/2014/main" id="{6E368ECF-8EB6-4153-9BBF-07A8C271D126}"/>
                      </a:ext>
                    </a:extLst>
                  </p:cNvPr>
                  <p:cNvSpPr/>
                  <p:nvPr/>
                </p:nvSpPr>
                <p:spPr>
                  <a:xfrm>
                    <a:off x="6243472" y="4365833"/>
                    <a:ext cx="102568" cy="116552"/>
                  </a:xfrm>
                  <a:custGeom>
                    <a:avLst/>
                    <a:gdLst>
                      <a:gd name="connsiteX0" fmla="*/ 34253 w 102568"/>
                      <a:gd name="connsiteY0" fmla="*/ 116553 h 116552"/>
                      <a:gd name="connsiteX1" fmla="*/ 14490 w 102568"/>
                      <a:gd name="connsiteY1" fmla="*/ 110229 h 116552"/>
                      <a:gd name="connsiteX2" fmla="*/ 494 w 102568"/>
                      <a:gd name="connsiteY2" fmla="*/ 88006 h 116552"/>
                      <a:gd name="connsiteX3" fmla="*/ 6315 w 102568"/>
                      <a:gd name="connsiteY3" fmla="*/ 62396 h 116552"/>
                      <a:gd name="connsiteX4" fmla="*/ 40232 w 102568"/>
                      <a:gd name="connsiteY4" fmla="*/ 14484 h 116552"/>
                      <a:gd name="connsiteX5" fmla="*/ 88065 w 102568"/>
                      <a:gd name="connsiteY5" fmla="*/ 6308 h 116552"/>
                      <a:gd name="connsiteX6" fmla="*/ 102061 w 102568"/>
                      <a:gd name="connsiteY6" fmla="*/ 28532 h 116552"/>
                      <a:gd name="connsiteX7" fmla="*/ 96240 w 102568"/>
                      <a:gd name="connsiteY7" fmla="*/ 54142 h 116552"/>
                      <a:gd name="connsiteX8" fmla="*/ 62323 w 102568"/>
                      <a:gd name="connsiteY8" fmla="*/ 102054 h 116552"/>
                      <a:gd name="connsiteX9" fmla="*/ 40100 w 102568"/>
                      <a:gd name="connsiteY9" fmla="*/ 116050 h 116552"/>
                      <a:gd name="connsiteX10" fmla="*/ 34253 w 102568"/>
                      <a:gd name="connsiteY10" fmla="*/ 116553 h 116552"/>
                      <a:gd name="connsiteX11" fmla="*/ 68276 w 102568"/>
                      <a:gd name="connsiteY11" fmla="*/ 9959 h 116552"/>
                      <a:gd name="connsiteX12" fmla="*/ 48354 w 102568"/>
                      <a:gd name="connsiteY12" fmla="*/ 20251 h 116552"/>
                      <a:gd name="connsiteX13" fmla="*/ 14463 w 102568"/>
                      <a:gd name="connsiteY13" fmla="*/ 68164 h 116552"/>
                      <a:gd name="connsiteX14" fmla="*/ 14463 w 102568"/>
                      <a:gd name="connsiteY14" fmla="*/ 68164 h 116552"/>
                      <a:gd name="connsiteX15" fmla="*/ 10336 w 102568"/>
                      <a:gd name="connsiteY15" fmla="*/ 86339 h 116552"/>
                      <a:gd name="connsiteX16" fmla="*/ 20257 w 102568"/>
                      <a:gd name="connsiteY16" fmla="*/ 102107 h 116552"/>
                      <a:gd name="connsiteX17" fmla="*/ 38459 w 102568"/>
                      <a:gd name="connsiteY17" fmla="*/ 106234 h 116552"/>
                      <a:gd name="connsiteX18" fmla="*/ 54227 w 102568"/>
                      <a:gd name="connsiteY18" fmla="*/ 96287 h 116552"/>
                      <a:gd name="connsiteX19" fmla="*/ 88145 w 102568"/>
                      <a:gd name="connsiteY19" fmla="*/ 48374 h 116552"/>
                      <a:gd name="connsiteX20" fmla="*/ 92272 w 102568"/>
                      <a:gd name="connsiteY20" fmla="*/ 30199 h 116552"/>
                      <a:gd name="connsiteX21" fmla="*/ 82324 w 102568"/>
                      <a:gd name="connsiteY21" fmla="*/ 14431 h 116552"/>
                      <a:gd name="connsiteX22" fmla="*/ 68276 w 102568"/>
                      <a:gd name="connsiteY22" fmla="*/ 9959 h 116552"/>
                      <a:gd name="connsiteX23" fmla="*/ 10389 w 102568"/>
                      <a:gd name="connsiteY23" fmla="*/ 65280 h 116552"/>
                      <a:gd name="connsiteX24" fmla="*/ 10442 w 102568"/>
                      <a:gd name="connsiteY24" fmla="*/ 65280 h 116552"/>
                      <a:gd name="connsiteX25" fmla="*/ 10389 w 102568"/>
                      <a:gd name="connsiteY25" fmla="*/ 65280 h 116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68" h="116552">
                        <a:moveTo>
                          <a:pt x="34253" y="116553"/>
                        </a:moveTo>
                        <a:cubicBezTo>
                          <a:pt x="27215" y="116553"/>
                          <a:pt x="20363" y="114383"/>
                          <a:pt x="14490" y="110229"/>
                        </a:cubicBezTo>
                        <a:cubicBezTo>
                          <a:pt x="7003" y="104938"/>
                          <a:pt x="2029" y="97054"/>
                          <a:pt x="494" y="88006"/>
                        </a:cubicBezTo>
                        <a:cubicBezTo>
                          <a:pt x="-1040" y="78958"/>
                          <a:pt x="1024" y="69883"/>
                          <a:pt x="6315" y="62396"/>
                        </a:cubicBezTo>
                        <a:lnTo>
                          <a:pt x="40232" y="14484"/>
                        </a:lnTo>
                        <a:cubicBezTo>
                          <a:pt x="51159" y="-967"/>
                          <a:pt x="72615" y="-4644"/>
                          <a:pt x="88065" y="6308"/>
                        </a:cubicBezTo>
                        <a:cubicBezTo>
                          <a:pt x="95552" y="11600"/>
                          <a:pt x="100526" y="19484"/>
                          <a:pt x="102061" y="28532"/>
                        </a:cubicBezTo>
                        <a:cubicBezTo>
                          <a:pt x="103622" y="37580"/>
                          <a:pt x="101558" y="46681"/>
                          <a:pt x="96240" y="54142"/>
                        </a:cubicBezTo>
                        <a:lnTo>
                          <a:pt x="62323" y="102054"/>
                        </a:lnTo>
                        <a:cubicBezTo>
                          <a:pt x="57032" y="109542"/>
                          <a:pt x="49148" y="114515"/>
                          <a:pt x="40100" y="116050"/>
                        </a:cubicBezTo>
                        <a:cubicBezTo>
                          <a:pt x="38142" y="116394"/>
                          <a:pt x="36184" y="116553"/>
                          <a:pt x="34253" y="116553"/>
                        </a:cubicBezTo>
                        <a:close/>
                        <a:moveTo>
                          <a:pt x="68276" y="9959"/>
                        </a:moveTo>
                        <a:cubicBezTo>
                          <a:pt x="60630" y="9959"/>
                          <a:pt x="53090" y="13531"/>
                          <a:pt x="48354" y="20251"/>
                        </a:cubicBezTo>
                        <a:lnTo>
                          <a:pt x="14463" y="68164"/>
                        </a:lnTo>
                        <a:lnTo>
                          <a:pt x="14463" y="68164"/>
                        </a:lnTo>
                        <a:cubicBezTo>
                          <a:pt x="10707" y="73481"/>
                          <a:pt x="9225" y="79937"/>
                          <a:pt x="10336" y="86339"/>
                        </a:cubicBezTo>
                        <a:cubicBezTo>
                          <a:pt x="11421" y="92768"/>
                          <a:pt x="14966" y="98351"/>
                          <a:pt x="20257" y="102107"/>
                        </a:cubicBezTo>
                        <a:cubicBezTo>
                          <a:pt x="25575" y="105864"/>
                          <a:pt x="32031" y="107372"/>
                          <a:pt x="38459" y="106234"/>
                        </a:cubicBezTo>
                        <a:cubicBezTo>
                          <a:pt x="44888" y="105150"/>
                          <a:pt x="50471" y="101605"/>
                          <a:pt x="54227" y="96287"/>
                        </a:cubicBezTo>
                        <a:lnTo>
                          <a:pt x="88145" y="48374"/>
                        </a:lnTo>
                        <a:cubicBezTo>
                          <a:pt x="91901" y="43057"/>
                          <a:pt x="93383" y="36601"/>
                          <a:pt x="92272" y="30199"/>
                        </a:cubicBezTo>
                        <a:cubicBezTo>
                          <a:pt x="91161" y="23796"/>
                          <a:pt x="87642" y="18187"/>
                          <a:pt x="82324" y="14431"/>
                        </a:cubicBezTo>
                        <a:cubicBezTo>
                          <a:pt x="78038" y="11415"/>
                          <a:pt x="73144" y="9959"/>
                          <a:pt x="68276" y="9959"/>
                        </a:cubicBezTo>
                        <a:close/>
                        <a:moveTo>
                          <a:pt x="10389" y="65280"/>
                        </a:moveTo>
                        <a:lnTo>
                          <a:pt x="10442" y="65280"/>
                        </a:lnTo>
                        <a:lnTo>
                          <a:pt x="10389" y="65280"/>
                        </a:lnTo>
                        <a:close/>
                      </a:path>
                    </a:pathLst>
                  </a:custGeom>
                  <a:solidFill>
                    <a:schemeClr val="tx2"/>
                  </a:solidFill>
                  <a:ln w="2645" cap="flat">
                    <a:noFill/>
                    <a:prstDash val="solid"/>
                    <a:miter/>
                  </a:ln>
                </p:spPr>
                <p:txBody>
                  <a:bodyPr rtlCol="0" anchor="ctr"/>
                  <a:lstStyle/>
                  <a:p>
                    <a:endParaRPr lang="en-GB" dirty="0"/>
                  </a:p>
                </p:txBody>
              </p:sp>
              <p:sp>
                <p:nvSpPr>
                  <p:cNvPr id="666" name="Freihandform: Form 522">
                    <a:extLst>
                      <a:ext uri="{FF2B5EF4-FFF2-40B4-BE49-F238E27FC236}">
                        <a16:creationId xmlns:a16="http://schemas.microsoft.com/office/drawing/2014/main" id="{639E0FFA-3F82-4393-BA86-F2DA0099192C}"/>
                      </a:ext>
                    </a:extLst>
                  </p:cNvPr>
                  <p:cNvSpPr/>
                  <p:nvPr/>
                </p:nvSpPr>
                <p:spPr>
                  <a:xfrm>
                    <a:off x="6291402" y="4395749"/>
                    <a:ext cx="105361" cy="120527"/>
                  </a:xfrm>
                  <a:custGeom>
                    <a:avLst/>
                    <a:gdLst>
                      <a:gd name="connsiteX0" fmla="*/ 34262 w 105361"/>
                      <a:gd name="connsiteY0" fmla="*/ 120527 h 120527"/>
                      <a:gd name="connsiteX1" fmla="*/ 14472 w 105361"/>
                      <a:gd name="connsiteY1" fmla="*/ 114231 h 120527"/>
                      <a:gd name="connsiteX2" fmla="*/ 6297 w 105361"/>
                      <a:gd name="connsiteY2" fmla="*/ 66397 h 120527"/>
                      <a:gd name="connsiteX3" fmla="*/ 6297 w 105361"/>
                      <a:gd name="connsiteY3" fmla="*/ 66397 h 120527"/>
                      <a:gd name="connsiteX4" fmla="*/ 43045 w 105361"/>
                      <a:gd name="connsiteY4" fmla="*/ 14490 h 120527"/>
                      <a:gd name="connsiteX5" fmla="*/ 65268 w 105361"/>
                      <a:gd name="connsiteY5" fmla="*/ 495 h 120527"/>
                      <a:gd name="connsiteX6" fmla="*/ 90878 w 105361"/>
                      <a:gd name="connsiteY6" fmla="*/ 6315 h 120527"/>
                      <a:gd name="connsiteX7" fmla="*/ 99053 w 105361"/>
                      <a:gd name="connsiteY7" fmla="*/ 54174 h 120527"/>
                      <a:gd name="connsiteX8" fmla="*/ 62332 w 105361"/>
                      <a:gd name="connsiteY8" fmla="*/ 106055 h 120527"/>
                      <a:gd name="connsiteX9" fmla="*/ 34262 w 105361"/>
                      <a:gd name="connsiteY9" fmla="*/ 120527 h 120527"/>
                      <a:gd name="connsiteX10" fmla="*/ 14419 w 105361"/>
                      <a:gd name="connsiteY10" fmla="*/ 72138 h 120527"/>
                      <a:gd name="connsiteX11" fmla="*/ 20240 w 105361"/>
                      <a:gd name="connsiteY11" fmla="*/ 106108 h 120527"/>
                      <a:gd name="connsiteX12" fmla="*/ 54210 w 105361"/>
                      <a:gd name="connsiteY12" fmla="*/ 100288 h 120527"/>
                      <a:gd name="connsiteX13" fmla="*/ 90931 w 105361"/>
                      <a:gd name="connsiteY13" fmla="*/ 48407 h 120527"/>
                      <a:gd name="connsiteX14" fmla="*/ 85111 w 105361"/>
                      <a:gd name="connsiteY14" fmla="*/ 14437 h 120527"/>
                      <a:gd name="connsiteX15" fmla="*/ 66935 w 105361"/>
                      <a:gd name="connsiteY15" fmla="*/ 10310 h 120527"/>
                      <a:gd name="connsiteX16" fmla="*/ 51167 w 105361"/>
                      <a:gd name="connsiteY16" fmla="*/ 20257 h 120527"/>
                      <a:gd name="connsiteX17" fmla="*/ 14419 w 105361"/>
                      <a:gd name="connsiteY17" fmla="*/ 72138 h 120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5361" h="120527">
                        <a:moveTo>
                          <a:pt x="34262" y="120527"/>
                        </a:moveTo>
                        <a:cubicBezTo>
                          <a:pt x="27409" y="120527"/>
                          <a:pt x="20478" y="118490"/>
                          <a:pt x="14472" y="114231"/>
                        </a:cubicBezTo>
                        <a:cubicBezTo>
                          <a:pt x="-978" y="103304"/>
                          <a:pt x="-4629" y="81848"/>
                          <a:pt x="6297" y="66397"/>
                        </a:cubicBezTo>
                        <a:cubicBezTo>
                          <a:pt x="6297" y="66397"/>
                          <a:pt x="6297" y="66397"/>
                          <a:pt x="6297" y="66397"/>
                        </a:cubicBezTo>
                        <a:lnTo>
                          <a:pt x="43045" y="14490"/>
                        </a:lnTo>
                        <a:cubicBezTo>
                          <a:pt x="48336" y="7003"/>
                          <a:pt x="56220" y="2029"/>
                          <a:pt x="65268" y="495"/>
                        </a:cubicBezTo>
                        <a:cubicBezTo>
                          <a:pt x="74317" y="-1040"/>
                          <a:pt x="83391" y="1024"/>
                          <a:pt x="90878" y="6315"/>
                        </a:cubicBezTo>
                        <a:cubicBezTo>
                          <a:pt x="106329" y="17241"/>
                          <a:pt x="110006" y="38724"/>
                          <a:pt x="99053" y="54174"/>
                        </a:cubicBezTo>
                        <a:lnTo>
                          <a:pt x="62332" y="106055"/>
                        </a:lnTo>
                        <a:cubicBezTo>
                          <a:pt x="55638" y="115501"/>
                          <a:pt x="45029" y="120527"/>
                          <a:pt x="34262" y="120527"/>
                        </a:cubicBezTo>
                        <a:close/>
                        <a:moveTo>
                          <a:pt x="14419" y="72138"/>
                        </a:moveTo>
                        <a:cubicBezTo>
                          <a:pt x="6667" y="83118"/>
                          <a:pt x="9260" y="98357"/>
                          <a:pt x="20240" y="106108"/>
                        </a:cubicBezTo>
                        <a:cubicBezTo>
                          <a:pt x="31219" y="113887"/>
                          <a:pt x="46458" y="111268"/>
                          <a:pt x="54210" y="100288"/>
                        </a:cubicBezTo>
                        <a:lnTo>
                          <a:pt x="90931" y="48407"/>
                        </a:lnTo>
                        <a:cubicBezTo>
                          <a:pt x="98709" y="37454"/>
                          <a:pt x="96090" y="22189"/>
                          <a:pt x="85111" y="14437"/>
                        </a:cubicBezTo>
                        <a:cubicBezTo>
                          <a:pt x="79793" y="10680"/>
                          <a:pt x="73338" y="9225"/>
                          <a:pt x="66935" y="10310"/>
                        </a:cubicBezTo>
                        <a:cubicBezTo>
                          <a:pt x="60533" y="11395"/>
                          <a:pt x="54924" y="14940"/>
                          <a:pt x="51167" y="20257"/>
                        </a:cubicBezTo>
                        <a:lnTo>
                          <a:pt x="14419" y="72138"/>
                        </a:lnTo>
                        <a:close/>
                      </a:path>
                    </a:pathLst>
                  </a:custGeom>
                  <a:solidFill>
                    <a:schemeClr val="tx2"/>
                  </a:solidFill>
                  <a:ln w="2645" cap="flat">
                    <a:noFill/>
                    <a:prstDash val="solid"/>
                    <a:miter/>
                  </a:ln>
                </p:spPr>
                <p:txBody>
                  <a:bodyPr rtlCol="0" anchor="ctr"/>
                  <a:lstStyle/>
                  <a:p>
                    <a:endParaRPr lang="en-GB" dirty="0"/>
                  </a:p>
                </p:txBody>
              </p:sp>
            </p:grpSp>
            <p:sp>
              <p:nvSpPr>
                <p:cNvPr id="663" name="Freihandform: Form 523">
                  <a:extLst>
                    <a:ext uri="{FF2B5EF4-FFF2-40B4-BE49-F238E27FC236}">
                      <a16:creationId xmlns:a16="http://schemas.microsoft.com/office/drawing/2014/main" id="{8F804DB5-9500-41CC-AE7E-548A4CF670DC}"/>
                    </a:ext>
                  </a:extLst>
                </p:cNvPr>
                <p:cNvSpPr/>
                <p:nvPr/>
              </p:nvSpPr>
              <p:spPr>
                <a:xfrm>
                  <a:off x="6335968" y="4448839"/>
                  <a:ext cx="84211" cy="96036"/>
                </a:xfrm>
                <a:custGeom>
                  <a:avLst/>
                  <a:gdLst>
                    <a:gd name="connsiteX0" fmla="*/ 28005 w 84211"/>
                    <a:gd name="connsiteY0" fmla="*/ 96037 h 96036"/>
                    <a:gd name="connsiteX1" fmla="*/ 11814 w 84211"/>
                    <a:gd name="connsiteY1" fmla="*/ 90825 h 96036"/>
                    <a:gd name="connsiteX2" fmla="*/ 570 w 84211"/>
                    <a:gd name="connsiteY2" fmla="*/ 73946 h 96036"/>
                    <a:gd name="connsiteX3" fmla="*/ 4432 w 84211"/>
                    <a:gd name="connsiteY3" fmla="*/ 54579 h 96036"/>
                    <a:gd name="connsiteX4" fmla="*/ 35757 w 84211"/>
                    <a:gd name="connsiteY4" fmla="*/ 10318 h 96036"/>
                    <a:gd name="connsiteX5" fmla="*/ 52742 w 84211"/>
                    <a:gd name="connsiteY5" fmla="*/ 238 h 96036"/>
                    <a:gd name="connsiteX6" fmla="*/ 72399 w 84211"/>
                    <a:gd name="connsiteY6" fmla="*/ 5238 h 96036"/>
                    <a:gd name="connsiteX7" fmla="*/ 79807 w 84211"/>
                    <a:gd name="connsiteY7" fmla="*/ 41510 h 96036"/>
                    <a:gd name="connsiteX8" fmla="*/ 48456 w 84211"/>
                    <a:gd name="connsiteY8" fmla="*/ 85771 h 96036"/>
                    <a:gd name="connsiteX9" fmla="*/ 28005 w 84211"/>
                    <a:gd name="connsiteY9" fmla="*/ 96037 h 96036"/>
                    <a:gd name="connsiteX10" fmla="*/ 56234 w 84211"/>
                    <a:gd name="connsiteY10" fmla="*/ 9947 h 96036"/>
                    <a:gd name="connsiteX11" fmla="*/ 54038 w 84211"/>
                    <a:gd name="connsiteY11" fmla="*/ 10080 h 96036"/>
                    <a:gd name="connsiteX12" fmla="*/ 43879 w 84211"/>
                    <a:gd name="connsiteY12" fmla="*/ 16032 h 96036"/>
                    <a:gd name="connsiteX13" fmla="*/ 12554 w 84211"/>
                    <a:gd name="connsiteY13" fmla="*/ 60294 h 96036"/>
                    <a:gd name="connsiteX14" fmla="*/ 12554 w 84211"/>
                    <a:gd name="connsiteY14" fmla="*/ 60294 h 96036"/>
                    <a:gd name="connsiteX15" fmla="*/ 10305 w 84211"/>
                    <a:gd name="connsiteY15" fmla="*/ 71855 h 96036"/>
                    <a:gd name="connsiteX16" fmla="*/ 17555 w 84211"/>
                    <a:gd name="connsiteY16" fmla="*/ 82676 h 96036"/>
                    <a:gd name="connsiteX17" fmla="*/ 40334 w 84211"/>
                    <a:gd name="connsiteY17" fmla="*/ 79978 h 96036"/>
                    <a:gd name="connsiteX18" fmla="*/ 71684 w 84211"/>
                    <a:gd name="connsiteY18" fmla="*/ 35716 h 96036"/>
                    <a:gd name="connsiteX19" fmla="*/ 66658 w 84211"/>
                    <a:gd name="connsiteY19" fmla="*/ 13334 h 96036"/>
                    <a:gd name="connsiteX20" fmla="*/ 56234 w 84211"/>
                    <a:gd name="connsiteY20" fmla="*/ 9947 h 96036"/>
                    <a:gd name="connsiteX21" fmla="*/ 8480 w 84211"/>
                    <a:gd name="connsiteY21" fmla="*/ 57437 h 96036"/>
                    <a:gd name="connsiteX22" fmla="*/ 8533 w 84211"/>
                    <a:gd name="connsiteY22" fmla="*/ 57437 h 96036"/>
                    <a:gd name="connsiteX23" fmla="*/ 8480 w 84211"/>
                    <a:gd name="connsiteY23" fmla="*/ 57437 h 96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4211" h="96036">
                      <a:moveTo>
                        <a:pt x="28005" y="96037"/>
                      </a:moveTo>
                      <a:cubicBezTo>
                        <a:pt x="22475" y="96037"/>
                        <a:pt x="16787" y="94343"/>
                        <a:pt x="11814" y="90825"/>
                      </a:cubicBezTo>
                      <a:cubicBezTo>
                        <a:pt x="5993" y="86697"/>
                        <a:pt x="1998" y="80718"/>
                        <a:pt x="570" y="73946"/>
                      </a:cubicBezTo>
                      <a:cubicBezTo>
                        <a:pt x="-886" y="67040"/>
                        <a:pt x="464" y="60162"/>
                        <a:pt x="4432" y="54579"/>
                      </a:cubicBezTo>
                      <a:lnTo>
                        <a:pt x="35757" y="10318"/>
                      </a:lnTo>
                      <a:cubicBezTo>
                        <a:pt x="39699" y="4735"/>
                        <a:pt x="45731" y="1164"/>
                        <a:pt x="52742" y="238"/>
                      </a:cubicBezTo>
                      <a:cubicBezTo>
                        <a:pt x="59567" y="-688"/>
                        <a:pt x="66578" y="1111"/>
                        <a:pt x="72399" y="5238"/>
                      </a:cubicBezTo>
                      <a:cubicBezTo>
                        <a:pt x="84542" y="13837"/>
                        <a:pt x="87876" y="30107"/>
                        <a:pt x="79807" y="41510"/>
                      </a:cubicBezTo>
                      <a:lnTo>
                        <a:pt x="48456" y="85771"/>
                      </a:lnTo>
                      <a:cubicBezTo>
                        <a:pt x="43693" y="92492"/>
                        <a:pt x="36021" y="96037"/>
                        <a:pt x="28005" y="96037"/>
                      </a:cubicBezTo>
                      <a:close/>
                      <a:moveTo>
                        <a:pt x="56234" y="9947"/>
                      </a:moveTo>
                      <a:cubicBezTo>
                        <a:pt x="55493" y="9947"/>
                        <a:pt x="54779" y="10000"/>
                        <a:pt x="54038" y="10080"/>
                      </a:cubicBezTo>
                      <a:cubicBezTo>
                        <a:pt x="49831" y="10635"/>
                        <a:pt x="46207" y="12752"/>
                        <a:pt x="43879" y="16032"/>
                      </a:cubicBezTo>
                      <a:lnTo>
                        <a:pt x="12554" y="60294"/>
                      </a:lnTo>
                      <a:lnTo>
                        <a:pt x="12554" y="60294"/>
                      </a:lnTo>
                      <a:cubicBezTo>
                        <a:pt x="10226" y="63574"/>
                        <a:pt x="9432" y="67675"/>
                        <a:pt x="10305" y="71855"/>
                      </a:cubicBezTo>
                      <a:cubicBezTo>
                        <a:pt x="11231" y="76168"/>
                        <a:pt x="13798" y="80004"/>
                        <a:pt x="17555" y="82676"/>
                      </a:cubicBezTo>
                      <a:cubicBezTo>
                        <a:pt x="25227" y="88100"/>
                        <a:pt x="35439" y="86883"/>
                        <a:pt x="40334" y="79978"/>
                      </a:cubicBezTo>
                      <a:lnTo>
                        <a:pt x="71684" y="35716"/>
                      </a:lnTo>
                      <a:cubicBezTo>
                        <a:pt x="76579" y="28811"/>
                        <a:pt x="74304" y="18757"/>
                        <a:pt x="66658" y="13334"/>
                      </a:cubicBezTo>
                      <a:cubicBezTo>
                        <a:pt x="63509" y="11138"/>
                        <a:pt x="59885" y="9947"/>
                        <a:pt x="56234" y="9947"/>
                      </a:cubicBezTo>
                      <a:close/>
                      <a:moveTo>
                        <a:pt x="8480" y="57437"/>
                      </a:moveTo>
                      <a:lnTo>
                        <a:pt x="8533" y="57437"/>
                      </a:lnTo>
                      <a:lnTo>
                        <a:pt x="8480" y="57437"/>
                      </a:lnTo>
                      <a:close/>
                    </a:path>
                  </a:pathLst>
                </a:custGeom>
                <a:solidFill>
                  <a:schemeClr val="tx2"/>
                </a:solidFill>
                <a:ln w="2645" cap="flat">
                  <a:noFill/>
                  <a:prstDash val="solid"/>
                  <a:miter/>
                </a:ln>
              </p:spPr>
              <p:txBody>
                <a:bodyPr rtlCol="0" anchor="ctr"/>
                <a:lstStyle/>
                <a:p>
                  <a:endParaRPr lang="en-GB" dirty="0"/>
                </a:p>
              </p:txBody>
            </p:sp>
          </p:grpSp>
          <p:sp>
            <p:nvSpPr>
              <p:cNvPr id="661" name="Freihandform: Form 524">
                <a:extLst>
                  <a:ext uri="{FF2B5EF4-FFF2-40B4-BE49-F238E27FC236}">
                    <a16:creationId xmlns:a16="http://schemas.microsoft.com/office/drawing/2014/main" id="{C7C73B7F-C488-473B-9811-F32573B0B914}"/>
                  </a:ext>
                </a:extLst>
              </p:cNvPr>
              <p:cNvSpPr/>
              <p:nvPr/>
            </p:nvSpPr>
            <p:spPr>
              <a:xfrm>
                <a:off x="6267915" y="4197299"/>
                <a:ext cx="232457" cy="134840"/>
              </a:xfrm>
              <a:custGeom>
                <a:avLst/>
                <a:gdLst>
                  <a:gd name="connsiteX0" fmla="*/ 50712 w 232457"/>
                  <a:gd name="connsiteY0" fmla="*/ 134840 h 134840"/>
                  <a:gd name="connsiteX1" fmla="*/ 3752 w 232457"/>
                  <a:gd name="connsiteY1" fmla="*/ 117749 h 134840"/>
                  <a:gd name="connsiteX2" fmla="*/ 3328 w 232457"/>
                  <a:gd name="connsiteY2" fmla="*/ 101188 h 134840"/>
                  <a:gd name="connsiteX3" fmla="*/ 87698 w 232457"/>
                  <a:gd name="connsiteY3" fmla="*/ 16897 h 134840"/>
                  <a:gd name="connsiteX4" fmla="*/ 121959 w 232457"/>
                  <a:gd name="connsiteY4" fmla="*/ 389 h 134840"/>
                  <a:gd name="connsiteX5" fmla="*/ 180481 w 232457"/>
                  <a:gd name="connsiteY5" fmla="*/ 627 h 134840"/>
                  <a:gd name="connsiteX6" fmla="*/ 185349 w 232457"/>
                  <a:gd name="connsiteY6" fmla="*/ 5733 h 134840"/>
                  <a:gd name="connsiteX7" fmla="*/ 180242 w 232457"/>
                  <a:gd name="connsiteY7" fmla="*/ 10601 h 134840"/>
                  <a:gd name="connsiteX8" fmla="*/ 123388 w 232457"/>
                  <a:gd name="connsiteY8" fmla="*/ 10257 h 134840"/>
                  <a:gd name="connsiteX9" fmla="*/ 94709 w 232457"/>
                  <a:gd name="connsiteY9" fmla="*/ 23988 h 134840"/>
                  <a:gd name="connsiteX10" fmla="*/ 10339 w 232457"/>
                  <a:gd name="connsiteY10" fmla="*/ 108278 h 134840"/>
                  <a:gd name="connsiteX11" fmla="*/ 11345 w 232457"/>
                  <a:gd name="connsiteY11" fmla="*/ 111320 h 134840"/>
                  <a:gd name="connsiteX12" fmla="*/ 77248 w 232457"/>
                  <a:gd name="connsiteY12" fmla="*/ 117273 h 134840"/>
                  <a:gd name="connsiteX13" fmla="*/ 132356 w 232457"/>
                  <a:gd name="connsiteY13" fmla="*/ 62455 h 134840"/>
                  <a:gd name="connsiteX14" fmla="*/ 133467 w 232457"/>
                  <a:gd name="connsiteY14" fmla="*/ 61265 h 134840"/>
                  <a:gd name="connsiteX15" fmla="*/ 138282 w 232457"/>
                  <a:gd name="connsiteY15" fmla="*/ 59598 h 134840"/>
                  <a:gd name="connsiteX16" fmla="*/ 142092 w 232457"/>
                  <a:gd name="connsiteY16" fmla="*/ 62826 h 134840"/>
                  <a:gd name="connsiteX17" fmla="*/ 207519 w 232457"/>
                  <a:gd name="connsiteY17" fmla="*/ 95605 h 134840"/>
                  <a:gd name="connsiteX18" fmla="*/ 210297 w 232457"/>
                  <a:gd name="connsiteY18" fmla="*/ 94732 h 134840"/>
                  <a:gd name="connsiteX19" fmla="*/ 224769 w 232457"/>
                  <a:gd name="connsiteY19" fmla="*/ 88065 h 134840"/>
                  <a:gd name="connsiteX20" fmla="*/ 231647 w 232457"/>
                  <a:gd name="connsiteY20" fmla="*/ 89520 h 134840"/>
                  <a:gd name="connsiteX21" fmla="*/ 230192 w 232457"/>
                  <a:gd name="connsiteY21" fmla="*/ 96399 h 134840"/>
                  <a:gd name="connsiteX22" fmla="*/ 213472 w 232457"/>
                  <a:gd name="connsiteY22" fmla="*/ 104151 h 134840"/>
                  <a:gd name="connsiteX23" fmla="*/ 210323 w 232457"/>
                  <a:gd name="connsiteY23" fmla="*/ 105130 h 134840"/>
                  <a:gd name="connsiteX24" fmla="*/ 135584 w 232457"/>
                  <a:gd name="connsiteY24" fmla="*/ 73276 h 134840"/>
                  <a:gd name="connsiteX25" fmla="*/ 83994 w 232457"/>
                  <a:gd name="connsiteY25" fmla="*/ 124602 h 134840"/>
                  <a:gd name="connsiteX26" fmla="*/ 83412 w 232457"/>
                  <a:gd name="connsiteY26" fmla="*/ 125078 h 134840"/>
                  <a:gd name="connsiteX27" fmla="*/ 50712 w 232457"/>
                  <a:gd name="connsiteY27" fmla="*/ 134840 h 134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2457" h="134840">
                    <a:moveTo>
                      <a:pt x="50712" y="134840"/>
                    </a:moveTo>
                    <a:cubicBezTo>
                      <a:pt x="30737" y="134840"/>
                      <a:pt x="11212" y="126533"/>
                      <a:pt x="3752" y="117749"/>
                    </a:cubicBezTo>
                    <a:cubicBezTo>
                      <a:pt x="-2042" y="110923"/>
                      <a:pt x="-270" y="104706"/>
                      <a:pt x="3328" y="101188"/>
                    </a:cubicBezTo>
                    <a:lnTo>
                      <a:pt x="87698" y="16897"/>
                    </a:lnTo>
                    <a:cubicBezTo>
                      <a:pt x="87857" y="16739"/>
                      <a:pt x="102408" y="3193"/>
                      <a:pt x="121959" y="389"/>
                    </a:cubicBezTo>
                    <a:cubicBezTo>
                      <a:pt x="128467" y="-564"/>
                      <a:pt x="175163" y="521"/>
                      <a:pt x="180481" y="627"/>
                    </a:cubicBezTo>
                    <a:cubicBezTo>
                      <a:pt x="183232" y="680"/>
                      <a:pt x="185401" y="2981"/>
                      <a:pt x="185349" y="5733"/>
                    </a:cubicBezTo>
                    <a:cubicBezTo>
                      <a:pt x="185296" y="8484"/>
                      <a:pt x="182835" y="10627"/>
                      <a:pt x="180242" y="10601"/>
                    </a:cubicBezTo>
                    <a:cubicBezTo>
                      <a:pt x="160532" y="10125"/>
                      <a:pt x="127647" y="9622"/>
                      <a:pt x="123388" y="10257"/>
                    </a:cubicBezTo>
                    <a:cubicBezTo>
                      <a:pt x="107302" y="12558"/>
                      <a:pt x="94815" y="23855"/>
                      <a:pt x="94709" y="23988"/>
                    </a:cubicBezTo>
                    <a:lnTo>
                      <a:pt x="10339" y="108278"/>
                    </a:lnTo>
                    <a:cubicBezTo>
                      <a:pt x="10048" y="108569"/>
                      <a:pt x="9493" y="109124"/>
                      <a:pt x="11345" y="111320"/>
                    </a:cubicBezTo>
                    <a:cubicBezTo>
                      <a:pt x="19758" y="121242"/>
                      <a:pt x="55368" y="132962"/>
                      <a:pt x="77248" y="117273"/>
                    </a:cubicBezTo>
                    <a:lnTo>
                      <a:pt x="132356" y="62455"/>
                    </a:lnTo>
                    <a:cubicBezTo>
                      <a:pt x="132806" y="62032"/>
                      <a:pt x="133124" y="61635"/>
                      <a:pt x="133467" y="61265"/>
                    </a:cubicBezTo>
                    <a:cubicBezTo>
                      <a:pt x="134632" y="59942"/>
                      <a:pt x="136510" y="59228"/>
                      <a:pt x="138282" y="59598"/>
                    </a:cubicBezTo>
                    <a:cubicBezTo>
                      <a:pt x="140029" y="59942"/>
                      <a:pt x="141537" y="61132"/>
                      <a:pt x="142092" y="62826"/>
                    </a:cubicBezTo>
                    <a:cubicBezTo>
                      <a:pt x="147913" y="80446"/>
                      <a:pt x="168258" y="107167"/>
                      <a:pt x="207519" y="95605"/>
                    </a:cubicBezTo>
                    <a:cubicBezTo>
                      <a:pt x="208419" y="95341"/>
                      <a:pt x="209371" y="95050"/>
                      <a:pt x="210297" y="94732"/>
                    </a:cubicBezTo>
                    <a:cubicBezTo>
                      <a:pt x="216091" y="92801"/>
                      <a:pt x="220932" y="90578"/>
                      <a:pt x="224769" y="88065"/>
                    </a:cubicBezTo>
                    <a:cubicBezTo>
                      <a:pt x="227070" y="86557"/>
                      <a:pt x="230139" y="87219"/>
                      <a:pt x="231647" y="89520"/>
                    </a:cubicBezTo>
                    <a:cubicBezTo>
                      <a:pt x="233155" y="91822"/>
                      <a:pt x="232494" y="94917"/>
                      <a:pt x="230192" y="96399"/>
                    </a:cubicBezTo>
                    <a:cubicBezTo>
                      <a:pt x="225642" y="99362"/>
                      <a:pt x="220033" y="101955"/>
                      <a:pt x="213472" y="104151"/>
                    </a:cubicBezTo>
                    <a:cubicBezTo>
                      <a:pt x="212440" y="104495"/>
                      <a:pt x="211382" y="104839"/>
                      <a:pt x="210323" y="105130"/>
                    </a:cubicBezTo>
                    <a:cubicBezTo>
                      <a:pt x="168893" y="117326"/>
                      <a:pt x="145214" y="93462"/>
                      <a:pt x="135584" y="73276"/>
                    </a:cubicBezTo>
                    <a:lnTo>
                      <a:pt x="83994" y="124602"/>
                    </a:lnTo>
                    <a:cubicBezTo>
                      <a:pt x="83809" y="124787"/>
                      <a:pt x="83624" y="124946"/>
                      <a:pt x="83412" y="125078"/>
                    </a:cubicBezTo>
                    <a:cubicBezTo>
                      <a:pt x="73861" y="132089"/>
                      <a:pt x="62220" y="134840"/>
                      <a:pt x="50712" y="134840"/>
                    </a:cubicBezTo>
                    <a:close/>
                  </a:path>
                </a:pathLst>
              </a:custGeom>
              <a:solidFill>
                <a:schemeClr val="tx2"/>
              </a:solidFill>
              <a:ln w="2645" cap="flat">
                <a:noFill/>
                <a:prstDash val="solid"/>
                <a:miter/>
              </a:ln>
            </p:spPr>
            <p:txBody>
              <a:bodyPr rtlCol="0" anchor="ctr"/>
              <a:lstStyle/>
              <a:p>
                <a:endParaRPr lang="en-GB" dirty="0"/>
              </a:p>
            </p:txBody>
          </p:sp>
        </p:grpSp>
      </p:grpSp>
      <p:sp>
        <p:nvSpPr>
          <p:cNvPr id="670" name="TextBox 1424">
            <a:extLst>
              <a:ext uri="{FF2B5EF4-FFF2-40B4-BE49-F238E27FC236}">
                <a16:creationId xmlns:a16="http://schemas.microsoft.com/office/drawing/2014/main" id="{9C815D93-FEEF-46D7-8155-B24DC7C865E7}"/>
              </a:ext>
            </a:extLst>
          </p:cNvPr>
          <p:cNvSpPr txBox="1"/>
          <p:nvPr/>
        </p:nvSpPr>
        <p:spPr>
          <a:xfrm>
            <a:off x="7386301" y="2899619"/>
            <a:ext cx="452047" cy="107722"/>
          </a:xfrm>
          <a:prstGeom prst="rect">
            <a:avLst/>
          </a:prstGeom>
          <a:noFill/>
          <a:effectLst/>
        </p:spPr>
        <p:txBody>
          <a:bodyPr wrap="none" lIns="0" tIns="0" rIns="0" bIns="0" rtlCol="0" anchor="t" anchorCtr="0">
            <a:spAutoFit/>
          </a:bodyPr>
          <a:lstStyle/>
          <a:p>
            <a:pPr algn="ctr"/>
            <a:r>
              <a:rPr lang="en-GB" sz="700" dirty="0">
                <a:solidFill>
                  <a:schemeClr val="tx2"/>
                </a:solidFill>
              </a:rPr>
              <a:t>Negotiation</a:t>
            </a:r>
          </a:p>
        </p:txBody>
      </p:sp>
    </p:spTree>
    <p:extLst>
      <p:ext uri="{BB962C8B-B14F-4D97-AF65-F5344CB8AC3E}">
        <p14:creationId xmlns:p14="http://schemas.microsoft.com/office/powerpoint/2010/main" val="2439360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432AA46-BFD4-4E56-91D5-196E2FA95B85}"/>
              </a:ext>
            </a:extLst>
          </p:cNvPr>
          <p:cNvGraphicFramePr>
            <a:graphicFrameLocks noChangeAspect="1"/>
          </p:cNvGraphicFramePr>
          <p:nvPr>
            <p:custDataLst>
              <p:tags r:id="rId1"/>
            </p:custDataLst>
            <p:extLst>
              <p:ext uri="{D42A27DB-BD31-4B8C-83A1-F6EECF244321}">
                <p14:modId xmlns:p14="http://schemas.microsoft.com/office/powerpoint/2010/main" val="2223645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6" name="Objekt 5" hidden="1">
                        <a:extLst>
                          <a:ext uri="{FF2B5EF4-FFF2-40B4-BE49-F238E27FC236}">
                            <a16:creationId xmlns:a16="http://schemas.microsoft.com/office/drawing/2014/main" id="{A432AA46-BFD4-4E56-91D5-196E2FA95B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AC846334-A2C7-421B-9800-3F982C4970EF}"/>
              </a:ext>
            </a:extLst>
          </p:cNvPr>
          <p:cNvSpPr>
            <a:spLocks noGrp="1"/>
          </p:cNvSpPr>
          <p:nvPr>
            <p:ph type="sldNum" sz="quarter" idx="11"/>
          </p:nvPr>
        </p:nvSpPr>
        <p:spPr/>
        <p:txBody>
          <a:bodyPr/>
          <a:lstStyle/>
          <a:p>
            <a:fld id="{D56DB8AA-803C-49D2-90AA-1140CE72DCD7}" type="slidenum">
              <a:rPr lang="en-GB" smtClean="0"/>
              <a:pPr/>
              <a:t>23</a:t>
            </a:fld>
            <a:endParaRPr lang="en-GB" dirty="0"/>
          </a:p>
        </p:txBody>
      </p:sp>
      <p:sp>
        <p:nvSpPr>
          <p:cNvPr id="3" name="Title 2">
            <a:extLst>
              <a:ext uri="{FF2B5EF4-FFF2-40B4-BE49-F238E27FC236}">
                <a16:creationId xmlns:a16="http://schemas.microsoft.com/office/drawing/2014/main" id="{04D61F22-E8D3-84F8-9097-D67B1809285A}"/>
              </a:ext>
            </a:extLst>
          </p:cNvPr>
          <p:cNvSpPr>
            <a:spLocks noGrp="1"/>
          </p:cNvSpPr>
          <p:nvPr>
            <p:ph type="title"/>
          </p:nvPr>
        </p:nvSpPr>
        <p:spPr>
          <a:xfrm>
            <a:off x="252000" y="252000"/>
            <a:ext cx="6748875" cy="576000"/>
          </a:xfrm>
        </p:spPr>
        <p:txBody>
          <a:bodyPr/>
          <a:lstStyle/>
          <a:p>
            <a:r>
              <a:rPr lang="en-US" dirty="0"/>
              <a:t>Performance/Rating 1/2</a:t>
            </a:r>
            <a:br>
              <a:rPr lang="en-US" dirty="0"/>
            </a:br>
            <a:endParaRPr lang="en-US" dirty="0"/>
          </a:p>
        </p:txBody>
      </p:sp>
      <p:sp>
        <p:nvSpPr>
          <p:cNvPr id="18" name="TextBox 17">
            <a:extLst>
              <a:ext uri="{FF2B5EF4-FFF2-40B4-BE49-F238E27FC236}">
                <a16:creationId xmlns:a16="http://schemas.microsoft.com/office/drawing/2014/main" id="{0ABB2AD1-DB4C-4EFE-B2C0-AA4660CBCBA2}"/>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view</a:t>
            </a:r>
          </a:p>
        </p:txBody>
      </p:sp>
      <p:sp>
        <p:nvSpPr>
          <p:cNvPr id="19" name="TextBox 18">
            <a:extLst>
              <a:ext uri="{FF2B5EF4-FFF2-40B4-BE49-F238E27FC236}">
                <a16:creationId xmlns:a16="http://schemas.microsoft.com/office/drawing/2014/main" id="{1B1EAA97-CCAF-40E3-9589-3AB41694BF48}"/>
              </a:ext>
            </a:extLst>
          </p:cNvPr>
          <p:cNvSpPr txBox="1"/>
          <p:nvPr/>
        </p:nvSpPr>
        <p:spPr>
          <a:xfrm>
            <a:off x="3588420"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humbs</a:t>
            </a:r>
            <a:br>
              <a:rPr lang="en-GB" sz="700" dirty="0">
                <a:solidFill>
                  <a:schemeClr val="tx2"/>
                </a:solidFill>
              </a:rPr>
            </a:br>
            <a:r>
              <a:rPr lang="en-GB" sz="700" dirty="0">
                <a:solidFill>
                  <a:schemeClr val="tx2"/>
                </a:solidFill>
              </a:rPr>
              <a:t>down</a:t>
            </a:r>
          </a:p>
        </p:txBody>
      </p:sp>
      <p:sp>
        <p:nvSpPr>
          <p:cNvPr id="20" name="TextBox 19">
            <a:extLst>
              <a:ext uri="{FF2B5EF4-FFF2-40B4-BE49-F238E27FC236}">
                <a16:creationId xmlns:a16="http://schemas.microsoft.com/office/drawing/2014/main" id="{626C97E0-568A-4179-A095-75556A5B9866}"/>
              </a:ext>
            </a:extLst>
          </p:cNvPr>
          <p:cNvSpPr txBox="1"/>
          <p:nvPr/>
        </p:nvSpPr>
        <p:spPr>
          <a:xfrm>
            <a:off x="254298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ppraiser</a:t>
            </a:r>
          </a:p>
        </p:txBody>
      </p:sp>
      <p:sp>
        <p:nvSpPr>
          <p:cNvPr id="21" name="TextBox 20">
            <a:extLst>
              <a:ext uri="{FF2B5EF4-FFF2-40B4-BE49-F238E27FC236}">
                <a16:creationId xmlns:a16="http://schemas.microsoft.com/office/drawing/2014/main" id="{F5C2F8B6-A7C4-4D23-876E-026C4B31A851}"/>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Opinion</a:t>
            </a:r>
          </a:p>
        </p:txBody>
      </p:sp>
      <p:sp>
        <p:nvSpPr>
          <p:cNvPr id="22" name="TextBox 21">
            <a:extLst>
              <a:ext uri="{FF2B5EF4-FFF2-40B4-BE49-F238E27FC236}">
                <a16:creationId xmlns:a16="http://schemas.microsoft.com/office/drawing/2014/main" id="{341DA7B9-F67E-40B6-8C0C-17093AACAA09}"/>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Journalist</a:t>
            </a:r>
          </a:p>
        </p:txBody>
      </p:sp>
      <p:sp>
        <p:nvSpPr>
          <p:cNvPr id="23" name="TextBox 22">
            <a:extLst>
              <a:ext uri="{FF2B5EF4-FFF2-40B4-BE49-F238E27FC236}">
                <a16:creationId xmlns:a16="http://schemas.microsoft.com/office/drawing/2014/main" id="{54996155-3F5A-48A9-8074-221A2E0E68AD}"/>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urvey</a:t>
            </a:r>
          </a:p>
        </p:txBody>
      </p:sp>
      <p:sp>
        <p:nvSpPr>
          <p:cNvPr id="24" name="TextBox 23">
            <a:extLst>
              <a:ext uri="{FF2B5EF4-FFF2-40B4-BE49-F238E27FC236}">
                <a16:creationId xmlns:a16="http://schemas.microsoft.com/office/drawing/2014/main" id="{928CE7A3-6A12-4D70-B58B-5D40D87F7C60}"/>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mments</a:t>
            </a:r>
          </a:p>
        </p:txBody>
      </p:sp>
      <p:sp>
        <p:nvSpPr>
          <p:cNvPr id="25" name="TextBox 24">
            <a:extLst>
              <a:ext uri="{FF2B5EF4-FFF2-40B4-BE49-F238E27FC236}">
                <a16:creationId xmlns:a16="http://schemas.microsoft.com/office/drawing/2014/main" id="{297F7368-9C7D-402B-999E-65DE7CEC708F}"/>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view</a:t>
            </a:r>
          </a:p>
        </p:txBody>
      </p:sp>
      <p:sp>
        <p:nvSpPr>
          <p:cNvPr id="26" name="TextBox 25">
            <a:extLst>
              <a:ext uri="{FF2B5EF4-FFF2-40B4-BE49-F238E27FC236}">
                <a16:creationId xmlns:a16="http://schemas.microsoft.com/office/drawing/2014/main" id="{C72D54A4-ECDB-4D67-8015-8408F30D2D85}"/>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enchmarking</a:t>
            </a:r>
          </a:p>
        </p:txBody>
      </p:sp>
      <p:sp>
        <p:nvSpPr>
          <p:cNvPr id="27" name="TextBox 26">
            <a:extLst>
              <a:ext uri="{FF2B5EF4-FFF2-40B4-BE49-F238E27FC236}">
                <a16:creationId xmlns:a16="http://schemas.microsoft.com/office/drawing/2014/main" id="{2DB76B2C-84A5-458B-9248-EA3E2C4ACBE3}"/>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ant</a:t>
            </a:r>
          </a:p>
        </p:txBody>
      </p:sp>
      <p:sp>
        <p:nvSpPr>
          <p:cNvPr id="28" name="TextBox 27">
            <a:extLst>
              <a:ext uri="{FF2B5EF4-FFF2-40B4-BE49-F238E27FC236}">
                <a16:creationId xmlns:a16="http://schemas.microsoft.com/office/drawing/2014/main" id="{9D77E902-CE41-4DFF-BFB2-3098A5F76879}"/>
              </a:ext>
            </a:extLst>
          </p:cNvPr>
          <p:cNvSpPr txBox="1"/>
          <p:nvPr/>
        </p:nvSpPr>
        <p:spPr>
          <a:xfrm>
            <a:off x="1497553"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Recording</a:t>
            </a:r>
            <a:br>
              <a:rPr lang="en-GB" sz="700" dirty="0">
                <a:solidFill>
                  <a:schemeClr val="tx2"/>
                </a:solidFill>
              </a:rPr>
            </a:br>
            <a:r>
              <a:rPr lang="en-GB" sz="700" dirty="0">
                <a:solidFill>
                  <a:schemeClr val="tx2"/>
                </a:solidFill>
              </a:rPr>
              <a:t>quality</a:t>
            </a:r>
          </a:p>
        </p:txBody>
      </p:sp>
      <p:sp>
        <p:nvSpPr>
          <p:cNvPr id="29" name="TextBox 28">
            <a:extLst>
              <a:ext uri="{FF2B5EF4-FFF2-40B4-BE49-F238E27FC236}">
                <a16:creationId xmlns:a16="http://schemas.microsoft.com/office/drawing/2014/main" id="{E8433F4D-463B-4159-A1F7-07AE99FF9F11}"/>
              </a:ext>
            </a:extLst>
          </p:cNvPr>
          <p:cNvSpPr txBox="1"/>
          <p:nvPr/>
        </p:nvSpPr>
        <p:spPr>
          <a:xfrm>
            <a:off x="452119"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side</a:t>
            </a:r>
            <a:br>
              <a:rPr lang="en-GB" sz="700" dirty="0">
                <a:solidFill>
                  <a:schemeClr val="tx2"/>
                </a:solidFill>
              </a:rPr>
            </a:br>
            <a:r>
              <a:rPr lang="en-GB" sz="700" dirty="0">
                <a:solidFill>
                  <a:schemeClr val="tx2"/>
                </a:solidFill>
              </a:rPr>
              <a:t>sales</a:t>
            </a:r>
          </a:p>
        </p:txBody>
      </p:sp>
      <p:sp>
        <p:nvSpPr>
          <p:cNvPr id="30" name="TextBox 29">
            <a:extLst>
              <a:ext uri="{FF2B5EF4-FFF2-40B4-BE49-F238E27FC236}">
                <a16:creationId xmlns:a16="http://schemas.microsoft.com/office/drawing/2014/main" id="{3581B655-C17E-4DB4-B856-8F4D132434B0}"/>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TL</a:t>
            </a:r>
          </a:p>
        </p:txBody>
      </p:sp>
      <p:sp>
        <p:nvSpPr>
          <p:cNvPr id="31" name="TextBox 30">
            <a:extLst>
              <a:ext uri="{FF2B5EF4-FFF2-40B4-BE49-F238E27FC236}">
                <a16:creationId xmlns:a16="http://schemas.microsoft.com/office/drawing/2014/main" id="{93835CBD-569B-4E48-8E7D-F1E14B25764D}"/>
              </a:ext>
            </a:extLst>
          </p:cNvPr>
          <p:cNvSpPr txBox="1"/>
          <p:nvPr/>
        </p:nvSpPr>
        <p:spPr>
          <a:xfrm>
            <a:off x="254298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rand</a:t>
            </a:r>
            <a:br>
              <a:rPr lang="en-GB" sz="700" dirty="0">
                <a:solidFill>
                  <a:schemeClr val="tx2"/>
                </a:solidFill>
              </a:rPr>
            </a:br>
            <a:r>
              <a:rPr lang="en-GB" sz="700" dirty="0">
                <a:solidFill>
                  <a:schemeClr val="tx2"/>
                </a:solidFill>
              </a:rPr>
              <a:t>experience</a:t>
            </a:r>
          </a:p>
        </p:txBody>
      </p:sp>
      <p:sp>
        <p:nvSpPr>
          <p:cNvPr id="32" name="TextBox 31">
            <a:extLst>
              <a:ext uri="{FF2B5EF4-FFF2-40B4-BE49-F238E27FC236}">
                <a16:creationId xmlns:a16="http://schemas.microsoft.com/office/drawing/2014/main" id="{A979D350-E3EC-477A-A6AB-A23A08724CE2}"/>
              </a:ext>
            </a:extLst>
          </p:cNvPr>
          <p:cNvSpPr txBox="1"/>
          <p:nvPr/>
        </p:nvSpPr>
        <p:spPr>
          <a:xfrm>
            <a:off x="1497553"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rand</a:t>
            </a:r>
            <a:br>
              <a:rPr lang="en-GB" sz="700" dirty="0">
                <a:solidFill>
                  <a:schemeClr val="tx2"/>
                </a:solidFill>
              </a:rPr>
            </a:br>
            <a:r>
              <a:rPr lang="en-GB" sz="700" dirty="0">
                <a:solidFill>
                  <a:schemeClr val="tx2"/>
                </a:solidFill>
              </a:rPr>
              <a:t>tracking</a:t>
            </a:r>
          </a:p>
        </p:txBody>
      </p:sp>
      <p:sp>
        <p:nvSpPr>
          <p:cNvPr id="49" name="TextBox 48">
            <a:extLst>
              <a:ext uri="{FF2B5EF4-FFF2-40B4-BE49-F238E27FC236}">
                <a16:creationId xmlns:a16="http://schemas.microsoft.com/office/drawing/2014/main" id="{F4BB3A76-16D4-447D-BEB3-BB5A51B0F006}"/>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anager</a:t>
            </a:r>
          </a:p>
        </p:txBody>
      </p:sp>
      <p:grpSp>
        <p:nvGrpSpPr>
          <p:cNvPr id="4" name="Group 3">
            <a:extLst>
              <a:ext uri="{FF2B5EF4-FFF2-40B4-BE49-F238E27FC236}">
                <a16:creationId xmlns:a16="http://schemas.microsoft.com/office/drawing/2014/main" id="{4E662D3B-1761-A69D-D1F0-83BAE3C8716B}"/>
              </a:ext>
            </a:extLst>
          </p:cNvPr>
          <p:cNvGrpSpPr/>
          <p:nvPr/>
        </p:nvGrpSpPr>
        <p:grpSpPr>
          <a:xfrm>
            <a:off x="1560481" y="1593084"/>
            <a:ext cx="558006" cy="432000"/>
            <a:chOff x="1560481" y="1593084"/>
            <a:chExt cx="558006" cy="432000"/>
          </a:xfrm>
        </p:grpSpPr>
        <p:grpSp>
          <p:nvGrpSpPr>
            <p:cNvPr id="52" name="Gruppieren 508">
              <a:extLst>
                <a:ext uri="{FF2B5EF4-FFF2-40B4-BE49-F238E27FC236}">
                  <a16:creationId xmlns:a16="http://schemas.microsoft.com/office/drawing/2014/main" id="{5CF1D8C0-EC13-4A75-A415-DA15B863889A}"/>
                </a:ext>
              </a:extLst>
            </p:cNvPr>
            <p:cNvGrpSpPr>
              <a:grpSpLocks noChangeAspect="1"/>
            </p:cNvGrpSpPr>
            <p:nvPr/>
          </p:nvGrpSpPr>
          <p:grpSpPr>
            <a:xfrm>
              <a:off x="1560481" y="1593084"/>
              <a:ext cx="254120" cy="432000"/>
              <a:chOff x="3474576" y="1757162"/>
              <a:chExt cx="208650" cy="354702"/>
            </a:xfrm>
            <a:solidFill>
              <a:schemeClr val="tx2"/>
            </a:solidFill>
          </p:grpSpPr>
          <p:grpSp>
            <p:nvGrpSpPr>
              <p:cNvPr id="63" name="Graphic 25">
                <a:extLst>
                  <a:ext uri="{FF2B5EF4-FFF2-40B4-BE49-F238E27FC236}">
                    <a16:creationId xmlns:a16="http://schemas.microsoft.com/office/drawing/2014/main" id="{8CD90472-BCA8-469A-B598-C12D7DC5D32D}"/>
                  </a:ext>
                </a:extLst>
              </p:cNvPr>
              <p:cNvGrpSpPr/>
              <p:nvPr/>
            </p:nvGrpSpPr>
            <p:grpSpPr>
              <a:xfrm>
                <a:off x="3474576" y="1757162"/>
                <a:ext cx="208650" cy="208650"/>
                <a:chOff x="3474576" y="1757162"/>
                <a:chExt cx="208650" cy="208650"/>
              </a:xfrm>
              <a:grpFill/>
            </p:grpSpPr>
            <p:grpSp>
              <p:nvGrpSpPr>
                <p:cNvPr id="68" name="Graphic 25">
                  <a:extLst>
                    <a:ext uri="{FF2B5EF4-FFF2-40B4-BE49-F238E27FC236}">
                      <a16:creationId xmlns:a16="http://schemas.microsoft.com/office/drawing/2014/main" id="{75C8A55E-B2AE-453D-991F-A0B43AC3EA29}"/>
                    </a:ext>
                  </a:extLst>
                </p:cNvPr>
                <p:cNvGrpSpPr/>
                <p:nvPr/>
              </p:nvGrpSpPr>
              <p:grpSpPr>
                <a:xfrm>
                  <a:off x="3514099" y="1808323"/>
                  <a:ext cx="129611" cy="120238"/>
                  <a:chOff x="3514099" y="1808323"/>
                  <a:chExt cx="129611" cy="120238"/>
                </a:xfrm>
                <a:grpFill/>
              </p:grpSpPr>
              <p:sp>
                <p:nvSpPr>
                  <p:cNvPr id="70" name="Freihandform: Form 108">
                    <a:extLst>
                      <a:ext uri="{FF2B5EF4-FFF2-40B4-BE49-F238E27FC236}">
                        <a16:creationId xmlns:a16="http://schemas.microsoft.com/office/drawing/2014/main" id="{679BEED1-527B-4B67-B3DE-9BBEEE99C570}"/>
                      </a:ext>
                    </a:extLst>
                  </p:cNvPr>
                  <p:cNvSpPr/>
                  <p:nvPr/>
                </p:nvSpPr>
                <p:spPr>
                  <a:xfrm>
                    <a:off x="3514099" y="1808323"/>
                    <a:ext cx="46793" cy="26536"/>
                  </a:xfrm>
                  <a:custGeom>
                    <a:avLst/>
                    <a:gdLst>
                      <a:gd name="connsiteX0" fmla="*/ 6963 w 46793"/>
                      <a:gd name="connsiteY0" fmla="*/ 26536 h 26536"/>
                      <a:gd name="connsiteX1" fmla="*/ 5204 w 46793"/>
                      <a:gd name="connsiteY1" fmla="*/ 26312 h 26536"/>
                      <a:gd name="connsiteX2" fmla="*/ 225 w 46793"/>
                      <a:gd name="connsiteY2" fmla="*/ 17834 h 26536"/>
                      <a:gd name="connsiteX3" fmla="*/ 23400 w 46793"/>
                      <a:gd name="connsiteY3" fmla="*/ 0 h 26536"/>
                      <a:gd name="connsiteX4" fmla="*/ 46568 w 46793"/>
                      <a:gd name="connsiteY4" fmla="*/ 17805 h 26536"/>
                      <a:gd name="connsiteX5" fmla="*/ 41590 w 46793"/>
                      <a:gd name="connsiteY5" fmla="*/ 26287 h 26536"/>
                      <a:gd name="connsiteX6" fmla="*/ 33108 w 46793"/>
                      <a:gd name="connsiteY6" fmla="*/ 21308 h 26536"/>
                      <a:gd name="connsiteX7" fmla="*/ 23403 w 46793"/>
                      <a:gd name="connsiteY7" fmla="*/ 13908 h 26536"/>
                      <a:gd name="connsiteX8" fmla="*/ 13692 w 46793"/>
                      <a:gd name="connsiteY8" fmla="*/ 21327 h 26536"/>
                      <a:gd name="connsiteX9" fmla="*/ 6963 w 46793"/>
                      <a:gd name="connsiteY9" fmla="*/ 26536 h 2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93" h="26536">
                        <a:moveTo>
                          <a:pt x="6963" y="26536"/>
                        </a:moveTo>
                        <a:cubicBezTo>
                          <a:pt x="6380" y="26539"/>
                          <a:pt x="5793" y="26464"/>
                          <a:pt x="5204" y="26312"/>
                        </a:cubicBezTo>
                        <a:cubicBezTo>
                          <a:pt x="1489" y="25344"/>
                          <a:pt x="-740" y="21548"/>
                          <a:pt x="225" y="17834"/>
                        </a:cubicBezTo>
                        <a:cubicBezTo>
                          <a:pt x="2956" y="7334"/>
                          <a:pt x="12484" y="0"/>
                          <a:pt x="23400" y="0"/>
                        </a:cubicBezTo>
                        <a:cubicBezTo>
                          <a:pt x="34306" y="0"/>
                          <a:pt x="43838" y="7321"/>
                          <a:pt x="46568" y="17805"/>
                        </a:cubicBezTo>
                        <a:cubicBezTo>
                          <a:pt x="47533" y="21520"/>
                          <a:pt x="45304" y="25322"/>
                          <a:pt x="41590" y="26287"/>
                        </a:cubicBezTo>
                        <a:cubicBezTo>
                          <a:pt x="37923" y="27258"/>
                          <a:pt x="34070" y="25029"/>
                          <a:pt x="33108" y="21308"/>
                        </a:cubicBezTo>
                        <a:cubicBezTo>
                          <a:pt x="31973" y="16951"/>
                          <a:pt x="27981" y="13908"/>
                          <a:pt x="23403" y="13908"/>
                        </a:cubicBezTo>
                        <a:cubicBezTo>
                          <a:pt x="18818" y="13908"/>
                          <a:pt x="14824" y="16960"/>
                          <a:pt x="13692" y="21327"/>
                        </a:cubicBezTo>
                        <a:cubicBezTo>
                          <a:pt x="12872" y="24461"/>
                          <a:pt x="10053" y="26536"/>
                          <a:pt x="6963" y="26536"/>
                        </a:cubicBezTo>
                        <a:close/>
                      </a:path>
                    </a:pathLst>
                  </a:custGeom>
                  <a:grpFill/>
                  <a:ln w="314" cap="flat">
                    <a:noFill/>
                    <a:prstDash val="solid"/>
                    <a:miter/>
                  </a:ln>
                </p:spPr>
                <p:txBody>
                  <a:bodyPr rtlCol="0" anchor="ctr"/>
                  <a:lstStyle/>
                  <a:p>
                    <a:endParaRPr lang="en-GB" dirty="0"/>
                  </a:p>
                </p:txBody>
              </p:sp>
              <p:sp>
                <p:nvSpPr>
                  <p:cNvPr id="71" name="Freihandform: Form 109">
                    <a:extLst>
                      <a:ext uri="{FF2B5EF4-FFF2-40B4-BE49-F238E27FC236}">
                        <a16:creationId xmlns:a16="http://schemas.microsoft.com/office/drawing/2014/main" id="{3D9441CF-C882-44A3-9953-EF479390BA19}"/>
                      </a:ext>
                    </a:extLst>
                  </p:cNvPr>
                  <p:cNvSpPr/>
                  <p:nvPr/>
                </p:nvSpPr>
                <p:spPr>
                  <a:xfrm>
                    <a:off x="3596915" y="1808323"/>
                    <a:ext cx="46795" cy="26536"/>
                  </a:xfrm>
                  <a:custGeom>
                    <a:avLst/>
                    <a:gdLst>
                      <a:gd name="connsiteX0" fmla="*/ 6963 w 46795"/>
                      <a:gd name="connsiteY0" fmla="*/ 26536 h 26536"/>
                      <a:gd name="connsiteX1" fmla="*/ 5210 w 46795"/>
                      <a:gd name="connsiteY1" fmla="*/ 26315 h 26536"/>
                      <a:gd name="connsiteX2" fmla="*/ 224 w 46795"/>
                      <a:gd name="connsiteY2" fmla="*/ 17837 h 26536"/>
                      <a:gd name="connsiteX3" fmla="*/ 23399 w 46795"/>
                      <a:gd name="connsiteY3" fmla="*/ 0 h 26536"/>
                      <a:gd name="connsiteX4" fmla="*/ 46568 w 46795"/>
                      <a:gd name="connsiteY4" fmla="*/ 17799 h 26536"/>
                      <a:gd name="connsiteX5" fmla="*/ 41596 w 46795"/>
                      <a:gd name="connsiteY5" fmla="*/ 26287 h 26536"/>
                      <a:gd name="connsiteX6" fmla="*/ 33105 w 46795"/>
                      <a:gd name="connsiteY6" fmla="*/ 21318 h 26536"/>
                      <a:gd name="connsiteX7" fmla="*/ 23399 w 46795"/>
                      <a:gd name="connsiteY7" fmla="*/ 13911 h 26536"/>
                      <a:gd name="connsiteX8" fmla="*/ 13688 w 46795"/>
                      <a:gd name="connsiteY8" fmla="*/ 21327 h 26536"/>
                      <a:gd name="connsiteX9" fmla="*/ 6963 w 46795"/>
                      <a:gd name="connsiteY9" fmla="*/ 26536 h 2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95" h="26536">
                        <a:moveTo>
                          <a:pt x="6963" y="26536"/>
                        </a:moveTo>
                        <a:cubicBezTo>
                          <a:pt x="6385" y="26536"/>
                          <a:pt x="5793" y="26464"/>
                          <a:pt x="5210" y="26315"/>
                        </a:cubicBezTo>
                        <a:cubicBezTo>
                          <a:pt x="1495" y="25351"/>
                          <a:pt x="-740" y="21554"/>
                          <a:pt x="224" y="17837"/>
                        </a:cubicBezTo>
                        <a:cubicBezTo>
                          <a:pt x="2942" y="7337"/>
                          <a:pt x="12477" y="0"/>
                          <a:pt x="23399" y="0"/>
                        </a:cubicBezTo>
                        <a:cubicBezTo>
                          <a:pt x="34300" y="0"/>
                          <a:pt x="43822" y="7318"/>
                          <a:pt x="46568" y="17799"/>
                        </a:cubicBezTo>
                        <a:cubicBezTo>
                          <a:pt x="47539" y="21513"/>
                          <a:pt x="45310" y="25313"/>
                          <a:pt x="41596" y="26287"/>
                        </a:cubicBezTo>
                        <a:cubicBezTo>
                          <a:pt x="37894" y="27261"/>
                          <a:pt x="34085" y="25042"/>
                          <a:pt x="33105" y="21318"/>
                        </a:cubicBezTo>
                        <a:cubicBezTo>
                          <a:pt x="31963" y="16957"/>
                          <a:pt x="27978" y="13911"/>
                          <a:pt x="23399" y="13911"/>
                        </a:cubicBezTo>
                        <a:cubicBezTo>
                          <a:pt x="18815" y="13911"/>
                          <a:pt x="14820" y="16960"/>
                          <a:pt x="13688" y="21327"/>
                        </a:cubicBezTo>
                        <a:cubicBezTo>
                          <a:pt x="12878" y="24458"/>
                          <a:pt x="10052" y="26536"/>
                          <a:pt x="6963" y="26536"/>
                        </a:cubicBezTo>
                        <a:close/>
                      </a:path>
                    </a:pathLst>
                  </a:custGeom>
                  <a:grpFill/>
                  <a:ln w="314" cap="flat">
                    <a:noFill/>
                    <a:prstDash val="solid"/>
                    <a:miter/>
                  </a:ln>
                </p:spPr>
                <p:txBody>
                  <a:bodyPr rtlCol="0" anchor="ctr"/>
                  <a:lstStyle/>
                  <a:p>
                    <a:endParaRPr lang="en-GB" dirty="0"/>
                  </a:p>
                </p:txBody>
              </p:sp>
              <p:sp>
                <p:nvSpPr>
                  <p:cNvPr id="72" name="Freihandform: Form 110">
                    <a:extLst>
                      <a:ext uri="{FF2B5EF4-FFF2-40B4-BE49-F238E27FC236}">
                        <a16:creationId xmlns:a16="http://schemas.microsoft.com/office/drawing/2014/main" id="{8D99D108-D0A7-420D-A571-93A9E60F4852}"/>
                      </a:ext>
                    </a:extLst>
                  </p:cNvPr>
                  <p:cNvSpPr/>
                  <p:nvPr/>
                </p:nvSpPr>
                <p:spPr>
                  <a:xfrm>
                    <a:off x="3528790" y="1871854"/>
                    <a:ext cx="100223" cy="56707"/>
                  </a:xfrm>
                  <a:custGeom>
                    <a:avLst/>
                    <a:gdLst>
                      <a:gd name="connsiteX0" fmla="*/ 50111 w 100223"/>
                      <a:gd name="connsiteY0" fmla="*/ 56708 h 56707"/>
                      <a:gd name="connsiteX1" fmla="*/ 0 w 100223"/>
                      <a:gd name="connsiteY1" fmla="*/ 6956 h 56707"/>
                      <a:gd name="connsiteX2" fmla="*/ 6956 w 100223"/>
                      <a:gd name="connsiteY2" fmla="*/ 0 h 56707"/>
                      <a:gd name="connsiteX3" fmla="*/ 93267 w 100223"/>
                      <a:gd name="connsiteY3" fmla="*/ 0 h 56707"/>
                      <a:gd name="connsiteX4" fmla="*/ 100223 w 100223"/>
                      <a:gd name="connsiteY4" fmla="*/ 6956 h 56707"/>
                      <a:gd name="connsiteX5" fmla="*/ 50111 w 100223"/>
                      <a:gd name="connsiteY5" fmla="*/ 56708 h 56707"/>
                      <a:gd name="connsiteX6" fmla="*/ 14599 w 100223"/>
                      <a:gd name="connsiteY6" fmla="*/ 13911 h 56707"/>
                      <a:gd name="connsiteX7" fmla="*/ 50115 w 100223"/>
                      <a:gd name="connsiteY7" fmla="*/ 42796 h 56707"/>
                      <a:gd name="connsiteX8" fmla="*/ 85631 w 100223"/>
                      <a:gd name="connsiteY8" fmla="*/ 13911 h 56707"/>
                      <a:gd name="connsiteX9" fmla="*/ 14599 w 100223"/>
                      <a:gd name="connsiteY9" fmla="*/ 13911 h 5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223" h="56707">
                        <a:moveTo>
                          <a:pt x="50111" y="56708"/>
                        </a:moveTo>
                        <a:cubicBezTo>
                          <a:pt x="22481" y="56708"/>
                          <a:pt x="0" y="34390"/>
                          <a:pt x="0" y="6956"/>
                        </a:cubicBezTo>
                        <a:cubicBezTo>
                          <a:pt x="0" y="3115"/>
                          <a:pt x="3112" y="0"/>
                          <a:pt x="6956" y="0"/>
                        </a:cubicBezTo>
                        <a:lnTo>
                          <a:pt x="93267" y="0"/>
                        </a:lnTo>
                        <a:cubicBezTo>
                          <a:pt x="97111" y="0"/>
                          <a:pt x="100223" y="3115"/>
                          <a:pt x="100223" y="6956"/>
                        </a:cubicBezTo>
                        <a:cubicBezTo>
                          <a:pt x="100223" y="34387"/>
                          <a:pt x="77742" y="56708"/>
                          <a:pt x="50111" y="56708"/>
                        </a:cubicBezTo>
                        <a:close/>
                        <a:moveTo>
                          <a:pt x="14599" y="13911"/>
                        </a:moveTo>
                        <a:cubicBezTo>
                          <a:pt x="17878" y="30358"/>
                          <a:pt x="32555" y="42796"/>
                          <a:pt x="50115" y="42796"/>
                        </a:cubicBezTo>
                        <a:cubicBezTo>
                          <a:pt x="67674" y="42796"/>
                          <a:pt x="82348" y="30358"/>
                          <a:pt x="85631" y="13911"/>
                        </a:cubicBezTo>
                        <a:lnTo>
                          <a:pt x="14599" y="13911"/>
                        </a:lnTo>
                        <a:close/>
                      </a:path>
                    </a:pathLst>
                  </a:custGeom>
                  <a:grpFill/>
                  <a:ln w="314" cap="flat">
                    <a:noFill/>
                    <a:prstDash val="solid"/>
                    <a:miter/>
                  </a:ln>
                </p:spPr>
                <p:txBody>
                  <a:bodyPr rtlCol="0" anchor="ctr"/>
                  <a:lstStyle/>
                  <a:p>
                    <a:endParaRPr lang="en-GB" dirty="0"/>
                  </a:p>
                </p:txBody>
              </p:sp>
            </p:grpSp>
            <p:sp>
              <p:nvSpPr>
                <p:cNvPr id="69" name="Freihandform: Form 111">
                  <a:extLst>
                    <a:ext uri="{FF2B5EF4-FFF2-40B4-BE49-F238E27FC236}">
                      <a16:creationId xmlns:a16="http://schemas.microsoft.com/office/drawing/2014/main" id="{3455C684-CF92-441C-A787-39EF66D4ECFC}"/>
                    </a:ext>
                  </a:extLst>
                </p:cNvPr>
                <p:cNvSpPr/>
                <p:nvPr/>
              </p:nvSpPr>
              <p:spPr>
                <a:xfrm>
                  <a:off x="3474576" y="1757162"/>
                  <a:ext cx="208650" cy="208650"/>
                </a:xfrm>
                <a:custGeom>
                  <a:avLst/>
                  <a:gdLst>
                    <a:gd name="connsiteX0" fmla="*/ 104325 w 208650"/>
                    <a:gd name="connsiteY0" fmla="*/ 208651 h 208650"/>
                    <a:gd name="connsiteX1" fmla="*/ 0 w 208650"/>
                    <a:gd name="connsiteY1" fmla="*/ 104325 h 208650"/>
                    <a:gd name="connsiteX2" fmla="*/ 104325 w 208650"/>
                    <a:gd name="connsiteY2" fmla="*/ 0 h 208650"/>
                    <a:gd name="connsiteX3" fmla="*/ 208651 w 208650"/>
                    <a:gd name="connsiteY3" fmla="*/ 104325 h 208650"/>
                    <a:gd name="connsiteX4" fmla="*/ 104325 w 208650"/>
                    <a:gd name="connsiteY4" fmla="*/ 208651 h 208650"/>
                    <a:gd name="connsiteX5" fmla="*/ 104325 w 208650"/>
                    <a:gd name="connsiteY5" fmla="*/ 13911 h 208650"/>
                    <a:gd name="connsiteX6" fmla="*/ 13911 w 208650"/>
                    <a:gd name="connsiteY6" fmla="*/ 104325 h 208650"/>
                    <a:gd name="connsiteX7" fmla="*/ 104325 w 208650"/>
                    <a:gd name="connsiteY7" fmla="*/ 194739 h 208650"/>
                    <a:gd name="connsiteX8" fmla="*/ 194739 w 208650"/>
                    <a:gd name="connsiteY8" fmla="*/ 104325 h 208650"/>
                    <a:gd name="connsiteX9" fmla="*/ 104325 w 208650"/>
                    <a:gd name="connsiteY9" fmla="*/ 13911 h 20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650" h="208650">
                      <a:moveTo>
                        <a:pt x="104325" y="208651"/>
                      </a:moveTo>
                      <a:cubicBezTo>
                        <a:pt x="46798" y="208651"/>
                        <a:pt x="0" y="161850"/>
                        <a:pt x="0" y="104325"/>
                      </a:cubicBezTo>
                      <a:cubicBezTo>
                        <a:pt x="0" y="46801"/>
                        <a:pt x="46798" y="0"/>
                        <a:pt x="104325" y="0"/>
                      </a:cubicBezTo>
                      <a:cubicBezTo>
                        <a:pt x="161853" y="0"/>
                        <a:pt x="208651" y="46801"/>
                        <a:pt x="208651" y="104325"/>
                      </a:cubicBezTo>
                      <a:cubicBezTo>
                        <a:pt x="208651" y="161850"/>
                        <a:pt x="161853" y="208651"/>
                        <a:pt x="104325" y="208651"/>
                      </a:cubicBezTo>
                      <a:close/>
                      <a:moveTo>
                        <a:pt x="104325" y="13911"/>
                      </a:moveTo>
                      <a:cubicBezTo>
                        <a:pt x="54472" y="13911"/>
                        <a:pt x="13911" y="54469"/>
                        <a:pt x="13911" y="104325"/>
                      </a:cubicBezTo>
                      <a:cubicBezTo>
                        <a:pt x="13911" y="154181"/>
                        <a:pt x="54472" y="194739"/>
                        <a:pt x="104325" y="194739"/>
                      </a:cubicBezTo>
                      <a:cubicBezTo>
                        <a:pt x="154178" y="194739"/>
                        <a:pt x="194739" y="154181"/>
                        <a:pt x="194739" y="104325"/>
                      </a:cubicBezTo>
                      <a:cubicBezTo>
                        <a:pt x="194739" y="54469"/>
                        <a:pt x="154178" y="13911"/>
                        <a:pt x="104325" y="13911"/>
                      </a:cubicBezTo>
                      <a:close/>
                    </a:path>
                  </a:pathLst>
                </a:custGeom>
                <a:grpFill/>
                <a:ln w="314" cap="flat">
                  <a:noFill/>
                  <a:prstDash val="solid"/>
                  <a:miter/>
                </a:ln>
              </p:spPr>
              <p:txBody>
                <a:bodyPr rtlCol="0" anchor="ctr"/>
                <a:lstStyle/>
                <a:p>
                  <a:endParaRPr lang="en-GB" dirty="0"/>
                </a:p>
              </p:txBody>
            </p:sp>
          </p:grpSp>
          <p:grpSp>
            <p:nvGrpSpPr>
              <p:cNvPr id="64" name="Graphic 25">
                <a:extLst>
                  <a:ext uri="{FF2B5EF4-FFF2-40B4-BE49-F238E27FC236}">
                    <a16:creationId xmlns:a16="http://schemas.microsoft.com/office/drawing/2014/main" id="{DDAAC59E-2F5B-41D7-A5E2-27A2A6B941B1}"/>
                  </a:ext>
                </a:extLst>
              </p:cNvPr>
              <p:cNvGrpSpPr/>
              <p:nvPr/>
            </p:nvGrpSpPr>
            <p:grpSpPr>
              <a:xfrm>
                <a:off x="3523263" y="2000584"/>
                <a:ext cx="111280" cy="111280"/>
                <a:chOff x="3523263" y="2000584"/>
                <a:chExt cx="111280" cy="111280"/>
              </a:xfrm>
              <a:grpFill/>
            </p:grpSpPr>
            <p:sp>
              <p:nvSpPr>
                <p:cNvPr id="65" name="Freihandform: Form 120">
                  <a:extLst>
                    <a:ext uri="{FF2B5EF4-FFF2-40B4-BE49-F238E27FC236}">
                      <a16:creationId xmlns:a16="http://schemas.microsoft.com/office/drawing/2014/main" id="{70DBF890-386B-46F7-9ED6-A2E72BDC4A31}"/>
                    </a:ext>
                  </a:extLst>
                </p:cNvPr>
                <p:cNvSpPr/>
                <p:nvPr/>
              </p:nvSpPr>
              <p:spPr>
                <a:xfrm>
                  <a:off x="3523263" y="2000584"/>
                  <a:ext cx="111280" cy="111280"/>
                </a:xfrm>
                <a:custGeom>
                  <a:avLst/>
                  <a:gdLst>
                    <a:gd name="connsiteX0" fmla="*/ 104325 w 111280"/>
                    <a:gd name="connsiteY0" fmla="*/ 111281 h 111280"/>
                    <a:gd name="connsiteX1" fmla="*/ 6956 w 111280"/>
                    <a:gd name="connsiteY1" fmla="*/ 111281 h 111280"/>
                    <a:gd name="connsiteX2" fmla="*/ 0 w 111280"/>
                    <a:gd name="connsiteY2" fmla="*/ 104325 h 111280"/>
                    <a:gd name="connsiteX3" fmla="*/ 0 w 111280"/>
                    <a:gd name="connsiteY3" fmla="*/ 6956 h 111280"/>
                    <a:gd name="connsiteX4" fmla="*/ 6956 w 111280"/>
                    <a:gd name="connsiteY4" fmla="*/ 0 h 111280"/>
                    <a:gd name="connsiteX5" fmla="*/ 104325 w 111280"/>
                    <a:gd name="connsiteY5" fmla="*/ 0 h 111280"/>
                    <a:gd name="connsiteX6" fmla="*/ 111281 w 111280"/>
                    <a:gd name="connsiteY6" fmla="*/ 6956 h 111280"/>
                    <a:gd name="connsiteX7" fmla="*/ 111281 w 111280"/>
                    <a:gd name="connsiteY7" fmla="*/ 104325 h 111280"/>
                    <a:gd name="connsiteX8" fmla="*/ 104325 w 111280"/>
                    <a:gd name="connsiteY8" fmla="*/ 111281 h 111280"/>
                    <a:gd name="connsiteX9" fmla="*/ 13911 w 111280"/>
                    <a:gd name="connsiteY9" fmla="*/ 97373 h 111280"/>
                    <a:gd name="connsiteX10" fmla="*/ 97370 w 111280"/>
                    <a:gd name="connsiteY10" fmla="*/ 97373 h 111280"/>
                    <a:gd name="connsiteX11" fmla="*/ 97370 w 111280"/>
                    <a:gd name="connsiteY11" fmla="*/ 13914 h 111280"/>
                    <a:gd name="connsiteX12" fmla="*/ 13911 w 111280"/>
                    <a:gd name="connsiteY12" fmla="*/ 13914 h 111280"/>
                    <a:gd name="connsiteX13" fmla="*/ 13911 w 111280"/>
                    <a:gd name="connsiteY13" fmla="*/ 97373 h 1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280" h="111280">
                      <a:moveTo>
                        <a:pt x="104325" y="111281"/>
                      </a:moveTo>
                      <a:lnTo>
                        <a:pt x="6956" y="111281"/>
                      </a:lnTo>
                      <a:cubicBezTo>
                        <a:pt x="3112" y="111281"/>
                        <a:pt x="0" y="108166"/>
                        <a:pt x="0" y="104325"/>
                      </a:cubicBezTo>
                      <a:lnTo>
                        <a:pt x="0" y="6956"/>
                      </a:lnTo>
                      <a:cubicBezTo>
                        <a:pt x="0" y="3115"/>
                        <a:pt x="3112" y="0"/>
                        <a:pt x="6956" y="0"/>
                      </a:cubicBezTo>
                      <a:lnTo>
                        <a:pt x="104325" y="0"/>
                      </a:lnTo>
                      <a:cubicBezTo>
                        <a:pt x="108169" y="0"/>
                        <a:pt x="111281" y="3115"/>
                        <a:pt x="111281" y="6956"/>
                      </a:cubicBezTo>
                      <a:lnTo>
                        <a:pt x="111281" y="104325"/>
                      </a:lnTo>
                      <a:cubicBezTo>
                        <a:pt x="111281" y="108169"/>
                        <a:pt x="108169" y="111281"/>
                        <a:pt x="104325" y="111281"/>
                      </a:cubicBezTo>
                      <a:close/>
                      <a:moveTo>
                        <a:pt x="13911" y="97373"/>
                      </a:moveTo>
                      <a:lnTo>
                        <a:pt x="97370" y="97373"/>
                      </a:lnTo>
                      <a:lnTo>
                        <a:pt x="97370" y="13914"/>
                      </a:lnTo>
                      <a:lnTo>
                        <a:pt x="13911" y="13914"/>
                      </a:lnTo>
                      <a:lnTo>
                        <a:pt x="13911" y="97373"/>
                      </a:lnTo>
                      <a:close/>
                    </a:path>
                  </a:pathLst>
                </a:custGeom>
                <a:grpFill/>
                <a:ln w="314" cap="flat">
                  <a:noFill/>
                  <a:prstDash val="solid"/>
                  <a:miter/>
                </a:ln>
              </p:spPr>
              <p:txBody>
                <a:bodyPr rtlCol="0" anchor="ctr"/>
                <a:lstStyle/>
                <a:p>
                  <a:endParaRPr lang="en-GB" dirty="0"/>
                </a:p>
              </p:txBody>
            </p:sp>
            <p:sp>
              <p:nvSpPr>
                <p:cNvPr id="66" name="Freihandform: Form 121">
                  <a:extLst>
                    <a:ext uri="{FF2B5EF4-FFF2-40B4-BE49-F238E27FC236}">
                      <a16:creationId xmlns:a16="http://schemas.microsoft.com/office/drawing/2014/main" id="{0D22341F-D1BD-46E4-B9A5-B511C7E0E143}"/>
                    </a:ext>
                  </a:extLst>
                </p:cNvPr>
                <p:cNvSpPr/>
                <p:nvPr/>
              </p:nvSpPr>
              <p:spPr>
                <a:xfrm>
                  <a:off x="3551081" y="2028405"/>
                  <a:ext cx="55642" cy="55640"/>
                </a:xfrm>
                <a:custGeom>
                  <a:avLst/>
                  <a:gdLst>
                    <a:gd name="connsiteX0" fmla="*/ 48688 w 55642"/>
                    <a:gd name="connsiteY0" fmla="*/ 55640 h 55640"/>
                    <a:gd name="connsiteX1" fmla="*/ 43769 w 55642"/>
                    <a:gd name="connsiteY1" fmla="*/ 53604 h 55640"/>
                    <a:gd name="connsiteX2" fmla="*/ 2038 w 55642"/>
                    <a:gd name="connsiteY2" fmla="*/ 11873 h 55640"/>
                    <a:gd name="connsiteX3" fmla="*/ 2038 w 55642"/>
                    <a:gd name="connsiteY3" fmla="*/ 2038 h 55640"/>
                    <a:gd name="connsiteX4" fmla="*/ 11873 w 55642"/>
                    <a:gd name="connsiteY4" fmla="*/ 2038 h 55640"/>
                    <a:gd name="connsiteX5" fmla="*/ 53604 w 55642"/>
                    <a:gd name="connsiteY5" fmla="*/ 43769 h 55640"/>
                    <a:gd name="connsiteX6" fmla="*/ 53604 w 55642"/>
                    <a:gd name="connsiteY6" fmla="*/ 53604 h 55640"/>
                    <a:gd name="connsiteX7" fmla="*/ 48688 w 55642"/>
                    <a:gd name="connsiteY7" fmla="*/ 55640 h 5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42" h="55640">
                      <a:moveTo>
                        <a:pt x="48688" y="55640"/>
                      </a:moveTo>
                      <a:cubicBezTo>
                        <a:pt x="46910" y="55640"/>
                        <a:pt x="45128" y="54963"/>
                        <a:pt x="43769" y="53604"/>
                      </a:cubicBezTo>
                      <a:lnTo>
                        <a:pt x="2038" y="11873"/>
                      </a:lnTo>
                      <a:cubicBezTo>
                        <a:pt x="-679" y="9155"/>
                        <a:pt x="-679" y="4756"/>
                        <a:pt x="2038" y="2038"/>
                      </a:cubicBezTo>
                      <a:cubicBezTo>
                        <a:pt x="4756" y="-679"/>
                        <a:pt x="9155" y="-679"/>
                        <a:pt x="11873" y="2038"/>
                      </a:cubicBezTo>
                      <a:lnTo>
                        <a:pt x="53604" y="43769"/>
                      </a:lnTo>
                      <a:cubicBezTo>
                        <a:pt x="56322" y="46487"/>
                        <a:pt x="56322" y="50886"/>
                        <a:pt x="53604" y="53604"/>
                      </a:cubicBezTo>
                      <a:cubicBezTo>
                        <a:pt x="52244" y="54963"/>
                        <a:pt x="50466" y="55640"/>
                        <a:pt x="48688" y="55640"/>
                      </a:cubicBezTo>
                      <a:close/>
                    </a:path>
                  </a:pathLst>
                </a:custGeom>
                <a:grpFill/>
                <a:ln w="314" cap="flat">
                  <a:noFill/>
                  <a:prstDash val="solid"/>
                  <a:miter/>
                </a:ln>
              </p:spPr>
              <p:txBody>
                <a:bodyPr rtlCol="0" anchor="ctr"/>
                <a:lstStyle/>
                <a:p>
                  <a:endParaRPr lang="en-GB" dirty="0"/>
                </a:p>
              </p:txBody>
            </p:sp>
            <p:sp>
              <p:nvSpPr>
                <p:cNvPr id="67" name="Freihandform: Form 122">
                  <a:extLst>
                    <a:ext uri="{FF2B5EF4-FFF2-40B4-BE49-F238E27FC236}">
                      <a16:creationId xmlns:a16="http://schemas.microsoft.com/office/drawing/2014/main" id="{B2E007C3-5938-4416-A6A8-921B842CED6F}"/>
                    </a:ext>
                  </a:extLst>
                </p:cNvPr>
                <p:cNvSpPr/>
                <p:nvPr/>
              </p:nvSpPr>
              <p:spPr>
                <a:xfrm>
                  <a:off x="3551084" y="2028405"/>
                  <a:ext cx="55642" cy="55640"/>
                </a:xfrm>
                <a:custGeom>
                  <a:avLst/>
                  <a:gdLst>
                    <a:gd name="connsiteX0" fmla="*/ 6954 w 55642"/>
                    <a:gd name="connsiteY0" fmla="*/ 55640 h 55640"/>
                    <a:gd name="connsiteX1" fmla="*/ 2038 w 55642"/>
                    <a:gd name="connsiteY1" fmla="*/ 53604 h 55640"/>
                    <a:gd name="connsiteX2" fmla="*/ 2038 w 55642"/>
                    <a:gd name="connsiteY2" fmla="*/ 43769 h 55640"/>
                    <a:gd name="connsiteX3" fmla="*/ 43769 w 55642"/>
                    <a:gd name="connsiteY3" fmla="*/ 2038 h 55640"/>
                    <a:gd name="connsiteX4" fmla="*/ 53604 w 55642"/>
                    <a:gd name="connsiteY4" fmla="*/ 2038 h 55640"/>
                    <a:gd name="connsiteX5" fmla="*/ 53604 w 55642"/>
                    <a:gd name="connsiteY5" fmla="*/ 11873 h 55640"/>
                    <a:gd name="connsiteX6" fmla="*/ 11873 w 55642"/>
                    <a:gd name="connsiteY6" fmla="*/ 53604 h 55640"/>
                    <a:gd name="connsiteX7" fmla="*/ 6954 w 55642"/>
                    <a:gd name="connsiteY7" fmla="*/ 55640 h 5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42" h="55640">
                      <a:moveTo>
                        <a:pt x="6954" y="55640"/>
                      </a:moveTo>
                      <a:cubicBezTo>
                        <a:pt x="5176" y="55640"/>
                        <a:pt x="3394" y="54963"/>
                        <a:pt x="2038" y="53604"/>
                      </a:cubicBezTo>
                      <a:cubicBezTo>
                        <a:pt x="-679" y="50886"/>
                        <a:pt x="-679" y="46487"/>
                        <a:pt x="2038" y="43769"/>
                      </a:cubicBezTo>
                      <a:lnTo>
                        <a:pt x="43769" y="2038"/>
                      </a:lnTo>
                      <a:cubicBezTo>
                        <a:pt x="46487" y="-679"/>
                        <a:pt x="50886" y="-679"/>
                        <a:pt x="53604" y="2038"/>
                      </a:cubicBezTo>
                      <a:cubicBezTo>
                        <a:pt x="56322" y="4756"/>
                        <a:pt x="56322" y="9155"/>
                        <a:pt x="53604" y="11873"/>
                      </a:cubicBezTo>
                      <a:lnTo>
                        <a:pt x="11873" y="53604"/>
                      </a:lnTo>
                      <a:cubicBezTo>
                        <a:pt x="10514" y="54963"/>
                        <a:pt x="8732" y="55640"/>
                        <a:pt x="6954" y="55640"/>
                      </a:cubicBezTo>
                      <a:close/>
                    </a:path>
                  </a:pathLst>
                </a:custGeom>
                <a:grpFill/>
                <a:ln w="314" cap="flat">
                  <a:noFill/>
                  <a:prstDash val="solid"/>
                  <a:miter/>
                </a:ln>
              </p:spPr>
              <p:txBody>
                <a:bodyPr rtlCol="0" anchor="ctr"/>
                <a:lstStyle/>
                <a:p>
                  <a:endParaRPr lang="en-GB" dirty="0"/>
                </a:p>
              </p:txBody>
            </p:sp>
          </p:grpSp>
        </p:grpSp>
        <p:grpSp>
          <p:nvGrpSpPr>
            <p:cNvPr id="53" name="Gruppieren 509">
              <a:extLst>
                <a:ext uri="{FF2B5EF4-FFF2-40B4-BE49-F238E27FC236}">
                  <a16:creationId xmlns:a16="http://schemas.microsoft.com/office/drawing/2014/main" id="{345128BB-181D-45CA-BD15-1E67B98203D2}"/>
                </a:ext>
              </a:extLst>
            </p:cNvPr>
            <p:cNvGrpSpPr>
              <a:grpSpLocks noChangeAspect="1"/>
            </p:cNvGrpSpPr>
            <p:nvPr/>
          </p:nvGrpSpPr>
          <p:grpSpPr>
            <a:xfrm>
              <a:off x="1864375" y="1593084"/>
              <a:ext cx="254112" cy="432000"/>
              <a:chOff x="3724094" y="1757162"/>
              <a:chExt cx="208644" cy="354702"/>
            </a:xfrm>
            <a:solidFill>
              <a:schemeClr val="accent1"/>
            </a:solidFill>
          </p:grpSpPr>
          <p:grpSp>
            <p:nvGrpSpPr>
              <p:cNvPr id="54" name="Graphic 25">
                <a:extLst>
                  <a:ext uri="{FF2B5EF4-FFF2-40B4-BE49-F238E27FC236}">
                    <a16:creationId xmlns:a16="http://schemas.microsoft.com/office/drawing/2014/main" id="{AE96EFB4-1B6E-4946-9080-C6BE4A7CC402}"/>
                  </a:ext>
                </a:extLst>
              </p:cNvPr>
              <p:cNvGrpSpPr/>
              <p:nvPr/>
            </p:nvGrpSpPr>
            <p:grpSpPr>
              <a:xfrm>
                <a:off x="3724094" y="1757162"/>
                <a:ext cx="208644" cy="208650"/>
                <a:chOff x="3724094" y="1757162"/>
                <a:chExt cx="208644" cy="208650"/>
              </a:xfrm>
              <a:solidFill>
                <a:schemeClr val="accent1"/>
              </a:solidFill>
            </p:grpSpPr>
            <p:grpSp>
              <p:nvGrpSpPr>
                <p:cNvPr id="57" name="Graphic 25">
                  <a:extLst>
                    <a:ext uri="{FF2B5EF4-FFF2-40B4-BE49-F238E27FC236}">
                      <a16:creationId xmlns:a16="http://schemas.microsoft.com/office/drawing/2014/main" id="{ED8C7997-D294-4F27-9C1C-B86A4F50866D}"/>
                    </a:ext>
                  </a:extLst>
                </p:cNvPr>
                <p:cNvGrpSpPr/>
                <p:nvPr/>
              </p:nvGrpSpPr>
              <p:grpSpPr>
                <a:xfrm>
                  <a:off x="3724094" y="1757162"/>
                  <a:ext cx="208644" cy="208650"/>
                  <a:chOff x="3724094" y="1757162"/>
                  <a:chExt cx="208644" cy="208650"/>
                </a:xfrm>
                <a:solidFill>
                  <a:schemeClr val="accent1"/>
                </a:solidFill>
              </p:grpSpPr>
              <p:sp>
                <p:nvSpPr>
                  <p:cNvPr id="61" name="Freihandform: Form 114">
                    <a:extLst>
                      <a:ext uri="{FF2B5EF4-FFF2-40B4-BE49-F238E27FC236}">
                        <a16:creationId xmlns:a16="http://schemas.microsoft.com/office/drawing/2014/main" id="{7C473DC5-302A-4728-A079-DD4A154AB9A2}"/>
                      </a:ext>
                    </a:extLst>
                  </p:cNvPr>
                  <p:cNvSpPr/>
                  <p:nvPr/>
                </p:nvSpPr>
                <p:spPr>
                  <a:xfrm>
                    <a:off x="3724094" y="1757162"/>
                    <a:ext cx="208644" cy="208650"/>
                  </a:xfrm>
                  <a:custGeom>
                    <a:avLst/>
                    <a:gdLst>
                      <a:gd name="connsiteX0" fmla="*/ 104325 w 208644"/>
                      <a:gd name="connsiteY0" fmla="*/ 208651 h 208650"/>
                      <a:gd name="connsiteX1" fmla="*/ 0 w 208644"/>
                      <a:gd name="connsiteY1" fmla="*/ 104325 h 208650"/>
                      <a:gd name="connsiteX2" fmla="*/ 104325 w 208644"/>
                      <a:gd name="connsiteY2" fmla="*/ 0 h 208650"/>
                      <a:gd name="connsiteX3" fmla="*/ 208644 w 208644"/>
                      <a:gd name="connsiteY3" fmla="*/ 104325 h 208650"/>
                      <a:gd name="connsiteX4" fmla="*/ 104325 w 208644"/>
                      <a:gd name="connsiteY4" fmla="*/ 208651 h 208650"/>
                      <a:gd name="connsiteX5" fmla="*/ 104325 w 208644"/>
                      <a:gd name="connsiteY5" fmla="*/ 13911 h 208650"/>
                      <a:gd name="connsiteX6" fmla="*/ 13911 w 208644"/>
                      <a:gd name="connsiteY6" fmla="*/ 104325 h 208650"/>
                      <a:gd name="connsiteX7" fmla="*/ 104325 w 208644"/>
                      <a:gd name="connsiteY7" fmla="*/ 194739 h 208650"/>
                      <a:gd name="connsiteX8" fmla="*/ 194739 w 208644"/>
                      <a:gd name="connsiteY8" fmla="*/ 104325 h 208650"/>
                      <a:gd name="connsiteX9" fmla="*/ 104325 w 208644"/>
                      <a:gd name="connsiteY9" fmla="*/ 13911 h 208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644" h="208650">
                        <a:moveTo>
                          <a:pt x="104325" y="208651"/>
                        </a:moveTo>
                        <a:cubicBezTo>
                          <a:pt x="46798" y="208651"/>
                          <a:pt x="0" y="161850"/>
                          <a:pt x="0" y="104325"/>
                        </a:cubicBezTo>
                        <a:cubicBezTo>
                          <a:pt x="0" y="46801"/>
                          <a:pt x="46798" y="0"/>
                          <a:pt x="104325" y="0"/>
                        </a:cubicBezTo>
                        <a:cubicBezTo>
                          <a:pt x="161853" y="0"/>
                          <a:pt x="208644" y="46801"/>
                          <a:pt x="208644" y="104325"/>
                        </a:cubicBezTo>
                        <a:cubicBezTo>
                          <a:pt x="208644" y="161850"/>
                          <a:pt x="161853" y="208651"/>
                          <a:pt x="104325" y="208651"/>
                        </a:cubicBezTo>
                        <a:close/>
                        <a:moveTo>
                          <a:pt x="104325" y="13911"/>
                        </a:moveTo>
                        <a:cubicBezTo>
                          <a:pt x="54472" y="13911"/>
                          <a:pt x="13911" y="54469"/>
                          <a:pt x="13911" y="104325"/>
                        </a:cubicBezTo>
                        <a:cubicBezTo>
                          <a:pt x="13911" y="154181"/>
                          <a:pt x="54472" y="194739"/>
                          <a:pt x="104325" y="194739"/>
                        </a:cubicBezTo>
                        <a:cubicBezTo>
                          <a:pt x="154178" y="194739"/>
                          <a:pt x="194739" y="154181"/>
                          <a:pt x="194739" y="104325"/>
                        </a:cubicBezTo>
                        <a:cubicBezTo>
                          <a:pt x="194739" y="54469"/>
                          <a:pt x="154178" y="13911"/>
                          <a:pt x="104325" y="13911"/>
                        </a:cubicBezTo>
                        <a:close/>
                      </a:path>
                    </a:pathLst>
                  </a:custGeom>
                  <a:solidFill>
                    <a:schemeClr val="accent1"/>
                  </a:solidFill>
                  <a:ln w="314" cap="flat">
                    <a:noFill/>
                    <a:prstDash val="solid"/>
                    <a:miter/>
                  </a:ln>
                </p:spPr>
                <p:txBody>
                  <a:bodyPr rtlCol="0" anchor="ctr"/>
                  <a:lstStyle/>
                  <a:p>
                    <a:endParaRPr lang="en-GB" dirty="0"/>
                  </a:p>
                </p:txBody>
              </p:sp>
              <p:sp>
                <p:nvSpPr>
                  <p:cNvPr id="62" name="Freihandform: Form 115">
                    <a:extLst>
                      <a:ext uri="{FF2B5EF4-FFF2-40B4-BE49-F238E27FC236}">
                        <a16:creationId xmlns:a16="http://schemas.microsoft.com/office/drawing/2014/main" id="{40967BA0-994C-441A-8284-1A9C7FD04AEA}"/>
                      </a:ext>
                    </a:extLst>
                  </p:cNvPr>
                  <p:cNvSpPr/>
                  <p:nvPr/>
                </p:nvSpPr>
                <p:spPr>
                  <a:xfrm>
                    <a:off x="3781618" y="1886402"/>
                    <a:ext cx="94796" cy="29115"/>
                  </a:xfrm>
                  <a:custGeom>
                    <a:avLst/>
                    <a:gdLst>
                      <a:gd name="connsiteX0" fmla="*/ 87844 w 94796"/>
                      <a:gd name="connsiteY0" fmla="*/ 29115 h 29115"/>
                      <a:gd name="connsiteX1" fmla="*/ 83313 w 94796"/>
                      <a:gd name="connsiteY1" fmla="*/ 27438 h 29115"/>
                      <a:gd name="connsiteX2" fmla="*/ 46914 w 94796"/>
                      <a:gd name="connsiteY2" fmla="*/ 13911 h 29115"/>
                      <a:gd name="connsiteX3" fmla="*/ 11004 w 94796"/>
                      <a:gd name="connsiteY3" fmla="*/ 26694 h 29115"/>
                      <a:gd name="connsiteX4" fmla="*/ 1299 w 94796"/>
                      <a:gd name="connsiteY4" fmla="*/ 25083 h 29115"/>
                      <a:gd name="connsiteX5" fmla="*/ 2910 w 94796"/>
                      <a:gd name="connsiteY5" fmla="*/ 15377 h 29115"/>
                      <a:gd name="connsiteX6" fmla="*/ 46914 w 94796"/>
                      <a:gd name="connsiteY6" fmla="*/ 0 h 29115"/>
                      <a:gd name="connsiteX7" fmla="*/ 92372 w 94796"/>
                      <a:gd name="connsiteY7" fmla="*/ 16881 h 29115"/>
                      <a:gd name="connsiteX8" fmla="*/ 93119 w 94796"/>
                      <a:gd name="connsiteY8" fmla="*/ 26691 h 29115"/>
                      <a:gd name="connsiteX9" fmla="*/ 87844 w 94796"/>
                      <a:gd name="connsiteY9" fmla="*/ 29115 h 2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796" h="29115">
                        <a:moveTo>
                          <a:pt x="87844" y="29115"/>
                        </a:moveTo>
                        <a:cubicBezTo>
                          <a:pt x="86236" y="29115"/>
                          <a:pt x="84625" y="28567"/>
                          <a:pt x="83313" y="27438"/>
                        </a:cubicBezTo>
                        <a:cubicBezTo>
                          <a:pt x="77433" y="22384"/>
                          <a:pt x="64880" y="13911"/>
                          <a:pt x="46914" y="13911"/>
                        </a:cubicBezTo>
                        <a:cubicBezTo>
                          <a:pt x="31007" y="13911"/>
                          <a:pt x="19836" y="20375"/>
                          <a:pt x="11004" y="26694"/>
                        </a:cubicBezTo>
                        <a:cubicBezTo>
                          <a:pt x="7873" y="28926"/>
                          <a:pt x="3534" y="28207"/>
                          <a:pt x="1299" y="25083"/>
                        </a:cubicBezTo>
                        <a:cubicBezTo>
                          <a:pt x="-937" y="21958"/>
                          <a:pt x="-214" y="17616"/>
                          <a:pt x="2910" y="15377"/>
                        </a:cubicBezTo>
                        <a:cubicBezTo>
                          <a:pt x="12915" y="8220"/>
                          <a:pt x="26962" y="0"/>
                          <a:pt x="46914" y="0"/>
                        </a:cubicBezTo>
                        <a:cubicBezTo>
                          <a:pt x="69361" y="0"/>
                          <a:pt x="85032" y="10579"/>
                          <a:pt x="92372" y="16881"/>
                        </a:cubicBezTo>
                        <a:cubicBezTo>
                          <a:pt x="95285" y="19385"/>
                          <a:pt x="95620" y="23774"/>
                          <a:pt x="93119" y="26691"/>
                        </a:cubicBezTo>
                        <a:cubicBezTo>
                          <a:pt x="91741" y="28292"/>
                          <a:pt x="89799" y="29115"/>
                          <a:pt x="87844" y="29115"/>
                        </a:cubicBezTo>
                        <a:close/>
                      </a:path>
                    </a:pathLst>
                  </a:custGeom>
                  <a:solidFill>
                    <a:schemeClr val="accent1"/>
                  </a:solidFill>
                  <a:ln w="314" cap="flat">
                    <a:noFill/>
                    <a:prstDash val="solid"/>
                    <a:miter/>
                  </a:ln>
                </p:spPr>
                <p:txBody>
                  <a:bodyPr rtlCol="0" anchor="ctr"/>
                  <a:lstStyle/>
                  <a:p>
                    <a:endParaRPr lang="en-GB" dirty="0"/>
                  </a:p>
                </p:txBody>
              </p:sp>
            </p:grpSp>
            <p:grpSp>
              <p:nvGrpSpPr>
                <p:cNvPr id="58" name="Graphic 25">
                  <a:extLst>
                    <a:ext uri="{FF2B5EF4-FFF2-40B4-BE49-F238E27FC236}">
                      <a16:creationId xmlns:a16="http://schemas.microsoft.com/office/drawing/2014/main" id="{539D8C29-591C-4D0C-AA6D-50983FF382F7}"/>
                    </a:ext>
                  </a:extLst>
                </p:cNvPr>
                <p:cNvGrpSpPr/>
                <p:nvPr/>
              </p:nvGrpSpPr>
              <p:grpSpPr>
                <a:xfrm>
                  <a:off x="3775917" y="1829009"/>
                  <a:ext cx="106376" cy="16265"/>
                  <a:chOff x="3775917" y="1829009"/>
                  <a:chExt cx="106376" cy="16265"/>
                </a:xfrm>
                <a:solidFill>
                  <a:schemeClr val="accent1"/>
                </a:solidFill>
              </p:grpSpPr>
              <p:sp>
                <p:nvSpPr>
                  <p:cNvPr id="59" name="Freihandform: Form 117">
                    <a:extLst>
                      <a:ext uri="{FF2B5EF4-FFF2-40B4-BE49-F238E27FC236}">
                        <a16:creationId xmlns:a16="http://schemas.microsoft.com/office/drawing/2014/main" id="{68BE1AB2-7D4B-4AD1-9E0B-8C63CA1CDFE6}"/>
                      </a:ext>
                    </a:extLst>
                  </p:cNvPr>
                  <p:cNvSpPr/>
                  <p:nvPr/>
                </p:nvSpPr>
                <p:spPr>
                  <a:xfrm>
                    <a:off x="3775917" y="1829009"/>
                    <a:ext cx="25689" cy="16265"/>
                  </a:xfrm>
                  <a:custGeom>
                    <a:avLst/>
                    <a:gdLst>
                      <a:gd name="connsiteX0" fmla="*/ 18739 w 25689"/>
                      <a:gd name="connsiteY0" fmla="*/ 16265 h 16265"/>
                      <a:gd name="connsiteX1" fmla="*/ 17368 w 25689"/>
                      <a:gd name="connsiteY1" fmla="*/ 16130 h 16265"/>
                      <a:gd name="connsiteX2" fmla="*/ 5591 w 25689"/>
                      <a:gd name="connsiteY2" fmla="*/ 13777 h 16265"/>
                      <a:gd name="connsiteX3" fmla="*/ 136 w 25689"/>
                      <a:gd name="connsiteY3" fmla="*/ 5595 h 16265"/>
                      <a:gd name="connsiteX4" fmla="*/ 8322 w 25689"/>
                      <a:gd name="connsiteY4" fmla="*/ 137 h 16265"/>
                      <a:gd name="connsiteX5" fmla="*/ 20098 w 25689"/>
                      <a:gd name="connsiteY5" fmla="*/ 2489 h 16265"/>
                      <a:gd name="connsiteX6" fmla="*/ 25553 w 25689"/>
                      <a:gd name="connsiteY6" fmla="*/ 10672 h 16265"/>
                      <a:gd name="connsiteX7" fmla="*/ 18739 w 25689"/>
                      <a:gd name="connsiteY7" fmla="*/ 16265 h 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89" h="16265">
                        <a:moveTo>
                          <a:pt x="18739" y="16265"/>
                        </a:moveTo>
                        <a:cubicBezTo>
                          <a:pt x="18292" y="16265"/>
                          <a:pt x="17828" y="16221"/>
                          <a:pt x="17368" y="16130"/>
                        </a:cubicBezTo>
                        <a:lnTo>
                          <a:pt x="5591" y="13777"/>
                        </a:lnTo>
                        <a:cubicBezTo>
                          <a:pt x="1830" y="13027"/>
                          <a:pt x="-617" y="9363"/>
                          <a:pt x="136" y="5595"/>
                        </a:cubicBezTo>
                        <a:cubicBezTo>
                          <a:pt x="890" y="1830"/>
                          <a:pt x="4516" y="-620"/>
                          <a:pt x="8322" y="137"/>
                        </a:cubicBezTo>
                        <a:lnTo>
                          <a:pt x="20098" y="2489"/>
                        </a:lnTo>
                        <a:cubicBezTo>
                          <a:pt x="23860" y="3240"/>
                          <a:pt x="26307" y="6904"/>
                          <a:pt x="25553" y="10672"/>
                        </a:cubicBezTo>
                        <a:cubicBezTo>
                          <a:pt x="24891" y="13979"/>
                          <a:pt x="21987" y="16265"/>
                          <a:pt x="18739" y="16265"/>
                        </a:cubicBezTo>
                        <a:close/>
                      </a:path>
                    </a:pathLst>
                  </a:custGeom>
                  <a:solidFill>
                    <a:schemeClr val="accent1"/>
                  </a:solidFill>
                  <a:ln w="314" cap="flat">
                    <a:noFill/>
                    <a:prstDash val="solid"/>
                    <a:miter/>
                  </a:ln>
                </p:spPr>
                <p:txBody>
                  <a:bodyPr rtlCol="0" anchor="ctr"/>
                  <a:lstStyle/>
                  <a:p>
                    <a:endParaRPr lang="en-GB" dirty="0"/>
                  </a:p>
                </p:txBody>
              </p:sp>
              <p:sp>
                <p:nvSpPr>
                  <p:cNvPr id="60" name="Freihandform: Form 118">
                    <a:extLst>
                      <a:ext uri="{FF2B5EF4-FFF2-40B4-BE49-F238E27FC236}">
                        <a16:creationId xmlns:a16="http://schemas.microsoft.com/office/drawing/2014/main" id="{6218548D-A11E-4E11-B60A-D24E6057BD76}"/>
                      </a:ext>
                    </a:extLst>
                  </p:cNvPr>
                  <p:cNvSpPr/>
                  <p:nvPr/>
                </p:nvSpPr>
                <p:spPr>
                  <a:xfrm>
                    <a:off x="3856597" y="1829011"/>
                    <a:ext cx="25696" cy="16263"/>
                  </a:xfrm>
                  <a:custGeom>
                    <a:avLst/>
                    <a:gdLst>
                      <a:gd name="connsiteX0" fmla="*/ 6950 w 25696"/>
                      <a:gd name="connsiteY0" fmla="*/ 16263 h 16263"/>
                      <a:gd name="connsiteX1" fmla="*/ 137 w 25696"/>
                      <a:gd name="connsiteY1" fmla="*/ 10670 h 16263"/>
                      <a:gd name="connsiteX2" fmla="*/ 5591 w 25696"/>
                      <a:gd name="connsiteY2" fmla="*/ 2488 h 16263"/>
                      <a:gd name="connsiteX3" fmla="*/ 17374 w 25696"/>
                      <a:gd name="connsiteY3" fmla="*/ 136 h 16263"/>
                      <a:gd name="connsiteX4" fmla="*/ 25560 w 25696"/>
                      <a:gd name="connsiteY4" fmla="*/ 5594 h 16263"/>
                      <a:gd name="connsiteX5" fmla="*/ 20105 w 25696"/>
                      <a:gd name="connsiteY5" fmla="*/ 13776 h 16263"/>
                      <a:gd name="connsiteX6" fmla="*/ 8322 w 25696"/>
                      <a:gd name="connsiteY6" fmla="*/ 16128 h 16263"/>
                      <a:gd name="connsiteX7" fmla="*/ 6950 w 25696"/>
                      <a:gd name="connsiteY7" fmla="*/ 16263 h 16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96" h="16263">
                        <a:moveTo>
                          <a:pt x="6950" y="16263"/>
                        </a:moveTo>
                        <a:cubicBezTo>
                          <a:pt x="3702" y="16263"/>
                          <a:pt x="795" y="13978"/>
                          <a:pt x="137" y="10670"/>
                        </a:cubicBezTo>
                        <a:cubicBezTo>
                          <a:pt x="-617" y="6905"/>
                          <a:pt x="1826" y="3238"/>
                          <a:pt x="5591" y="2488"/>
                        </a:cubicBezTo>
                        <a:lnTo>
                          <a:pt x="17374" y="136"/>
                        </a:lnTo>
                        <a:cubicBezTo>
                          <a:pt x="21171" y="-615"/>
                          <a:pt x="24812" y="1826"/>
                          <a:pt x="25560" y="5594"/>
                        </a:cubicBezTo>
                        <a:cubicBezTo>
                          <a:pt x="26313" y="9358"/>
                          <a:pt x="23869" y="13025"/>
                          <a:pt x="20105" y="13776"/>
                        </a:cubicBezTo>
                        <a:lnTo>
                          <a:pt x="8322" y="16128"/>
                        </a:lnTo>
                        <a:cubicBezTo>
                          <a:pt x="7858" y="16219"/>
                          <a:pt x="7398" y="16263"/>
                          <a:pt x="6950" y="16263"/>
                        </a:cubicBezTo>
                        <a:close/>
                      </a:path>
                    </a:pathLst>
                  </a:custGeom>
                  <a:solidFill>
                    <a:schemeClr val="accent1"/>
                  </a:solidFill>
                  <a:ln w="314" cap="flat">
                    <a:noFill/>
                    <a:prstDash val="solid"/>
                    <a:miter/>
                  </a:ln>
                </p:spPr>
                <p:txBody>
                  <a:bodyPr rtlCol="0" anchor="ctr"/>
                  <a:lstStyle/>
                  <a:p>
                    <a:endParaRPr lang="en-GB" dirty="0"/>
                  </a:p>
                </p:txBody>
              </p:sp>
            </p:grpSp>
          </p:grpSp>
          <p:sp>
            <p:nvSpPr>
              <p:cNvPr id="55" name="Freihandform: Form 123">
                <a:extLst>
                  <a:ext uri="{FF2B5EF4-FFF2-40B4-BE49-F238E27FC236}">
                    <a16:creationId xmlns:a16="http://schemas.microsoft.com/office/drawing/2014/main" id="{E0F1F269-0E4C-4E6A-8E7C-88F49414CFCE}"/>
                  </a:ext>
                </a:extLst>
              </p:cNvPr>
              <p:cNvSpPr/>
              <p:nvPr/>
            </p:nvSpPr>
            <p:spPr>
              <a:xfrm>
                <a:off x="3773641" y="2000584"/>
                <a:ext cx="111280" cy="111280"/>
              </a:xfrm>
              <a:custGeom>
                <a:avLst/>
                <a:gdLst>
                  <a:gd name="connsiteX0" fmla="*/ 104325 w 111280"/>
                  <a:gd name="connsiteY0" fmla="*/ 111281 h 111280"/>
                  <a:gd name="connsiteX1" fmla="*/ 6956 w 111280"/>
                  <a:gd name="connsiteY1" fmla="*/ 111281 h 111280"/>
                  <a:gd name="connsiteX2" fmla="*/ 0 w 111280"/>
                  <a:gd name="connsiteY2" fmla="*/ 104325 h 111280"/>
                  <a:gd name="connsiteX3" fmla="*/ 0 w 111280"/>
                  <a:gd name="connsiteY3" fmla="*/ 6956 h 111280"/>
                  <a:gd name="connsiteX4" fmla="*/ 6956 w 111280"/>
                  <a:gd name="connsiteY4" fmla="*/ 0 h 111280"/>
                  <a:gd name="connsiteX5" fmla="*/ 104325 w 111280"/>
                  <a:gd name="connsiteY5" fmla="*/ 0 h 111280"/>
                  <a:gd name="connsiteX6" fmla="*/ 111281 w 111280"/>
                  <a:gd name="connsiteY6" fmla="*/ 6956 h 111280"/>
                  <a:gd name="connsiteX7" fmla="*/ 111281 w 111280"/>
                  <a:gd name="connsiteY7" fmla="*/ 104325 h 111280"/>
                  <a:gd name="connsiteX8" fmla="*/ 104325 w 111280"/>
                  <a:gd name="connsiteY8" fmla="*/ 111281 h 111280"/>
                  <a:gd name="connsiteX9" fmla="*/ 13911 w 111280"/>
                  <a:gd name="connsiteY9" fmla="*/ 97373 h 111280"/>
                  <a:gd name="connsiteX10" fmla="*/ 97370 w 111280"/>
                  <a:gd name="connsiteY10" fmla="*/ 97373 h 111280"/>
                  <a:gd name="connsiteX11" fmla="*/ 97370 w 111280"/>
                  <a:gd name="connsiteY11" fmla="*/ 13914 h 111280"/>
                  <a:gd name="connsiteX12" fmla="*/ 13911 w 111280"/>
                  <a:gd name="connsiteY12" fmla="*/ 13914 h 111280"/>
                  <a:gd name="connsiteX13" fmla="*/ 13911 w 111280"/>
                  <a:gd name="connsiteY13" fmla="*/ 97373 h 1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280" h="111280">
                    <a:moveTo>
                      <a:pt x="104325" y="111281"/>
                    </a:moveTo>
                    <a:lnTo>
                      <a:pt x="6956" y="111281"/>
                    </a:lnTo>
                    <a:cubicBezTo>
                      <a:pt x="3112" y="111281"/>
                      <a:pt x="0" y="108166"/>
                      <a:pt x="0" y="104325"/>
                    </a:cubicBezTo>
                    <a:lnTo>
                      <a:pt x="0" y="6956"/>
                    </a:lnTo>
                    <a:cubicBezTo>
                      <a:pt x="0" y="3115"/>
                      <a:pt x="3112" y="0"/>
                      <a:pt x="6956" y="0"/>
                    </a:cubicBezTo>
                    <a:lnTo>
                      <a:pt x="104325" y="0"/>
                    </a:lnTo>
                    <a:cubicBezTo>
                      <a:pt x="108169" y="0"/>
                      <a:pt x="111281" y="3115"/>
                      <a:pt x="111281" y="6956"/>
                    </a:cubicBezTo>
                    <a:lnTo>
                      <a:pt x="111281" y="104325"/>
                    </a:lnTo>
                    <a:cubicBezTo>
                      <a:pt x="111281" y="108169"/>
                      <a:pt x="108169" y="111281"/>
                      <a:pt x="104325" y="111281"/>
                    </a:cubicBezTo>
                    <a:close/>
                    <a:moveTo>
                      <a:pt x="13911" y="97373"/>
                    </a:moveTo>
                    <a:lnTo>
                      <a:pt x="97370" y="97373"/>
                    </a:lnTo>
                    <a:lnTo>
                      <a:pt x="97370" y="13914"/>
                    </a:lnTo>
                    <a:lnTo>
                      <a:pt x="13911" y="13914"/>
                    </a:lnTo>
                    <a:lnTo>
                      <a:pt x="13911" y="97373"/>
                    </a:lnTo>
                    <a:close/>
                  </a:path>
                </a:pathLst>
              </a:custGeom>
              <a:solidFill>
                <a:schemeClr val="accent1"/>
              </a:solidFill>
              <a:ln w="314" cap="flat">
                <a:noFill/>
                <a:prstDash val="solid"/>
                <a:miter/>
              </a:ln>
            </p:spPr>
            <p:txBody>
              <a:bodyPr rtlCol="0" anchor="ctr"/>
              <a:lstStyle/>
              <a:p>
                <a:endParaRPr lang="en-GB" dirty="0"/>
              </a:p>
            </p:txBody>
          </p:sp>
          <p:sp>
            <p:nvSpPr>
              <p:cNvPr id="56" name="Freihandform: Form 124">
                <a:extLst>
                  <a:ext uri="{FF2B5EF4-FFF2-40B4-BE49-F238E27FC236}">
                    <a16:creationId xmlns:a16="http://schemas.microsoft.com/office/drawing/2014/main" id="{4F1015BD-695A-47E7-A400-3844DA111133}"/>
                  </a:ext>
                </a:extLst>
              </p:cNvPr>
              <p:cNvSpPr/>
              <p:nvPr/>
            </p:nvSpPr>
            <p:spPr>
              <a:xfrm>
                <a:off x="3803630" y="2036665"/>
                <a:ext cx="56077" cy="48077"/>
              </a:xfrm>
              <a:custGeom>
                <a:avLst/>
                <a:gdLst>
                  <a:gd name="connsiteX0" fmla="*/ 23906 w 56077"/>
                  <a:gd name="connsiteY0" fmla="*/ 48077 h 48077"/>
                  <a:gd name="connsiteX1" fmla="*/ 19076 w 56077"/>
                  <a:gd name="connsiteY1" fmla="*/ 46129 h 48077"/>
                  <a:gd name="connsiteX2" fmla="*/ 2128 w 56077"/>
                  <a:gd name="connsiteY2" fmla="*/ 29783 h 48077"/>
                  <a:gd name="connsiteX3" fmla="*/ 1951 w 56077"/>
                  <a:gd name="connsiteY3" fmla="*/ 19949 h 48077"/>
                  <a:gd name="connsiteX4" fmla="*/ 11786 w 56077"/>
                  <a:gd name="connsiteY4" fmla="*/ 19772 h 48077"/>
                  <a:gd name="connsiteX5" fmla="*/ 23020 w 56077"/>
                  <a:gd name="connsiteY5" fmla="*/ 30609 h 48077"/>
                  <a:gd name="connsiteX6" fmla="*/ 43525 w 56077"/>
                  <a:gd name="connsiteY6" fmla="*/ 2828 h 48077"/>
                  <a:gd name="connsiteX7" fmla="*/ 53252 w 56077"/>
                  <a:gd name="connsiteY7" fmla="*/ 1361 h 48077"/>
                  <a:gd name="connsiteX8" fmla="*/ 54718 w 56077"/>
                  <a:gd name="connsiteY8" fmla="*/ 11089 h 48077"/>
                  <a:gd name="connsiteX9" fmla="*/ 29500 w 56077"/>
                  <a:gd name="connsiteY9" fmla="*/ 45255 h 48077"/>
                  <a:gd name="connsiteX10" fmla="*/ 24486 w 56077"/>
                  <a:gd name="connsiteY10" fmla="*/ 48058 h 48077"/>
                  <a:gd name="connsiteX11" fmla="*/ 23906 w 56077"/>
                  <a:gd name="connsiteY11" fmla="*/ 48077 h 48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077" h="48077">
                    <a:moveTo>
                      <a:pt x="23906" y="48077"/>
                    </a:moveTo>
                    <a:cubicBezTo>
                      <a:pt x="22112" y="48077"/>
                      <a:pt x="20381" y="47383"/>
                      <a:pt x="19076" y="46129"/>
                    </a:cubicBezTo>
                    <a:lnTo>
                      <a:pt x="2128" y="29783"/>
                    </a:lnTo>
                    <a:cubicBezTo>
                      <a:pt x="-637" y="27119"/>
                      <a:pt x="-719" y="22714"/>
                      <a:pt x="1951" y="19949"/>
                    </a:cubicBezTo>
                    <a:cubicBezTo>
                      <a:pt x="4619" y="17187"/>
                      <a:pt x="9020" y="17114"/>
                      <a:pt x="11786" y="19772"/>
                    </a:cubicBezTo>
                    <a:lnTo>
                      <a:pt x="23020" y="30609"/>
                    </a:lnTo>
                    <a:lnTo>
                      <a:pt x="43525" y="2828"/>
                    </a:lnTo>
                    <a:cubicBezTo>
                      <a:pt x="45807" y="-262"/>
                      <a:pt x="50159" y="-925"/>
                      <a:pt x="53252" y="1361"/>
                    </a:cubicBezTo>
                    <a:cubicBezTo>
                      <a:pt x="56342" y="3644"/>
                      <a:pt x="57000" y="7999"/>
                      <a:pt x="54718" y="11089"/>
                    </a:cubicBezTo>
                    <a:lnTo>
                      <a:pt x="29500" y="45255"/>
                    </a:lnTo>
                    <a:cubicBezTo>
                      <a:pt x="28311" y="46870"/>
                      <a:pt x="26485" y="47888"/>
                      <a:pt x="24486" y="48058"/>
                    </a:cubicBezTo>
                    <a:cubicBezTo>
                      <a:pt x="24294" y="48071"/>
                      <a:pt x="24095" y="48077"/>
                      <a:pt x="23906" y="48077"/>
                    </a:cubicBezTo>
                    <a:close/>
                  </a:path>
                </a:pathLst>
              </a:custGeom>
              <a:solidFill>
                <a:schemeClr val="accent1"/>
              </a:solidFill>
              <a:ln w="314" cap="flat">
                <a:noFill/>
                <a:prstDash val="solid"/>
                <a:miter/>
              </a:ln>
            </p:spPr>
            <p:txBody>
              <a:bodyPr rtlCol="0" anchor="ctr"/>
              <a:lstStyle/>
              <a:p>
                <a:endParaRPr lang="en-GB" dirty="0"/>
              </a:p>
            </p:txBody>
          </p:sp>
        </p:grpSp>
      </p:grpSp>
      <p:grpSp>
        <p:nvGrpSpPr>
          <p:cNvPr id="7" name="Group 6">
            <a:extLst>
              <a:ext uri="{FF2B5EF4-FFF2-40B4-BE49-F238E27FC236}">
                <a16:creationId xmlns:a16="http://schemas.microsoft.com/office/drawing/2014/main" id="{B70CC931-34B0-4D39-B272-DC984E4CC0F4}"/>
              </a:ext>
            </a:extLst>
          </p:cNvPr>
          <p:cNvGrpSpPr/>
          <p:nvPr/>
        </p:nvGrpSpPr>
        <p:grpSpPr>
          <a:xfrm>
            <a:off x="596565" y="1593084"/>
            <a:ext cx="394970" cy="432000"/>
            <a:chOff x="596565" y="1593084"/>
            <a:chExt cx="394970" cy="432000"/>
          </a:xfrm>
        </p:grpSpPr>
        <p:grpSp>
          <p:nvGrpSpPr>
            <p:cNvPr id="74" name="Graphic 25">
              <a:extLst>
                <a:ext uri="{FF2B5EF4-FFF2-40B4-BE49-F238E27FC236}">
                  <a16:creationId xmlns:a16="http://schemas.microsoft.com/office/drawing/2014/main" id="{DCA357D1-40F3-4307-9BFB-3E0021508AAF}"/>
                </a:ext>
              </a:extLst>
            </p:cNvPr>
            <p:cNvGrpSpPr/>
            <p:nvPr/>
          </p:nvGrpSpPr>
          <p:grpSpPr>
            <a:xfrm>
              <a:off x="596565" y="1593084"/>
              <a:ext cx="231160" cy="432000"/>
              <a:chOff x="1714974" y="1626758"/>
              <a:chExt cx="260509" cy="486848"/>
            </a:xfrm>
            <a:solidFill>
              <a:srgbClr val="20201D"/>
            </a:solidFill>
          </p:grpSpPr>
          <p:grpSp>
            <p:nvGrpSpPr>
              <p:cNvPr id="80" name="Graphic 25">
                <a:extLst>
                  <a:ext uri="{FF2B5EF4-FFF2-40B4-BE49-F238E27FC236}">
                    <a16:creationId xmlns:a16="http://schemas.microsoft.com/office/drawing/2014/main" id="{1DCD2912-A39F-44B2-A2BD-14F48BE55961}"/>
                  </a:ext>
                </a:extLst>
              </p:cNvPr>
              <p:cNvGrpSpPr/>
              <p:nvPr/>
            </p:nvGrpSpPr>
            <p:grpSpPr>
              <a:xfrm>
                <a:off x="1804177" y="1813374"/>
                <a:ext cx="171306" cy="139103"/>
                <a:chOff x="1804177" y="1813374"/>
                <a:chExt cx="171306" cy="139103"/>
              </a:xfrm>
              <a:solidFill>
                <a:srgbClr val="20201D"/>
              </a:solidFill>
            </p:grpSpPr>
            <p:grpSp>
              <p:nvGrpSpPr>
                <p:cNvPr id="89" name="Graphic 25">
                  <a:extLst>
                    <a:ext uri="{FF2B5EF4-FFF2-40B4-BE49-F238E27FC236}">
                      <a16:creationId xmlns:a16="http://schemas.microsoft.com/office/drawing/2014/main" id="{4CC1B542-E5EA-4F9E-A9CA-F277DFB060DB}"/>
                    </a:ext>
                  </a:extLst>
                </p:cNvPr>
                <p:cNvGrpSpPr/>
                <p:nvPr/>
              </p:nvGrpSpPr>
              <p:grpSpPr>
                <a:xfrm>
                  <a:off x="1804177" y="1813374"/>
                  <a:ext cx="171306" cy="139103"/>
                  <a:chOff x="1804177" y="1813374"/>
                  <a:chExt cx="171306" cy="139103"/>
                </a:xfrm>
                <a:solidFill>
                  <a:srgbClr val="20201D"/>
                </a:solidFill>
              </p:grpSpPr>
              <p:sp>
                <p:nvSpPr>
                  <p:cNvPr id="91" name="Freihandform: Form 156">
                    <a:extLst>
                      <a:ext uri="{FF2B5EF4-FFF2-40B4-BE49-F238E27FC236}">
                        <a16:creationId xmlns:a16="http://schemas.microsoft.com/office/drawing/2014/main" id="{DEDC4744-E625-4171-B968-10416C1921E0}"/>
                      </a:ext>
                    </a:extLst>
                  </p:cNvPr>
                  <p:cNvSpPr/>
                  <p:nvPr/>
                </p:nvSpPr>
                <p:spPr>
                  <a:xfrm>
                    <a:off x="1924025" y="1841200"/>
                    <a:ext cx="20046" cy="34778"/>
                  </a:xfrm>
                  <a:custGeom>
                    <a:avLst/>
                    <a:gdLst>
                      <a:gd name="connsiteX0" fmla="*/ 6962 w 20046"/>
                      <a:gd name="connsiteY0" fmla="*/ 34778 h 34778"/>
                      <a:gd name="connsiteX1" fmla="*/ 4994 w 20046"/>
                      <a:gd name="connsiteY1" fmla="*/ 34494 h 34778"/>
                      <a:gd name="connsiteX2" fmla="*/ 284 w 20046"/>
                      <a:gd name="connsiteY2" fmla="*/ 25858 h 34778"/>
                      <a:gd name="connsiteX3" fmla="*/ 6416 w 20046"/>
                      <a:gd name="connsiteY3" fmla="*/ 4994 h 34778"/>
                      <a:gd name="connsiteX4" fmla="*/ 15053 w 20046"/>
                      <a:gd name="connsiteY4" fmla="*/ 284 h 34778"/>
                      <a:gd name="connsiteX5" fmla="*/ 19763 w 20046"/>
                      <a:gd name="connsiteY5" fmla="*/ 8920 h 34778"/>
                      <a:gd name="connsiteX6" fmla="*/ 13631 w 20046"/>
                      <a:gd name="connsiteY6" fmla="*/ 29784 h 34778"/>
                      <a:gd name="connsiteX7" fmla="*/ 6962 w 20046"/>
                      <a:gd name="connsiteY7" fmla="*/ 34778 h 34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46" h="34778">
                        <a:moveTo>
                          <a:pt x="6962" y="34778"/>
                        </a:moveTo>
                        <a:cubicBezTo>
                          <a:pt x="6312" y="34778"/>
                          <a:pt x="5650" y="34687"/>
                          <a:pt x="4994" y="34494"/>
                        </a:cubicBezTo>
                        <a:cubicBezTo>
                          <a:pt x="1308" y="33410"/>
                          <a:pt x="-798" y="29547"/>
                          <a:pt x="284" y="25858"/>
                        </a:cubicBezTo>
                        <a:lnTo>
                          <a:pt x="6416" y="4994"/>
                        </a:lnTo>
                        <a:cubicBezTo>
                          <a:pt x="7501" y="1308"/>
                          <a:pt x="11373" y="-798"/>
                          <a:pt x="15053" y="284"/>
                        </a:cubicBezTo>
                        <a:cubicBezTo>
                          <a:pt x="18738" y="1368"/>
                          <a:pt x="20845" y="5231"/>
                          <a:pt x="19763" y="8920"/>
                        </a:cubicBezTo>
                        <a:lnTo>
                          <a:pt x="13631" y="29784"/>
                        </a:lnTo>
                        <a:cubicBezTo>
                          <a:pt x="12741" y="32811"/>
                          <a:pt x="9967" y="34778"/>
                          <a:pt x="6962" y="34778"/>
                        </a:cubicBezTo>
                        <a:close/>
                      </a:path>
                    </a:pathLst>
                  </a:custGeom>
                  <a:solidFill>
                    <a:schemeClr val="tx2"/>
                  </a:solidFill>
                  <a:ln w="314" cap="flat">
                    <a:noFill/>
                    <a:prstDash val="solid"/>
                    <a:miter/>
                  </a:ln>
                </p:spPr>
                <p:txBody>
                  <a:bodyPr rtlCol="0" anchor="ctr"/>
                  <a:lstStyle/>
                  <a:p>
                    <a:endParaRPr lang="en-GB" dirty="0"/>
                  </a:p>
                </p:txBody>
              </p:sp>
              <p:sp>
                <p:nvSpPr>
                  <p:cNvPr id="92" name="Freihandform: Form 157">
                    <a:extLst>
                      <a:ext uri="{FF2B5EF4-FFF2-40B4-BE49-F238E27FC236}">
                        <a16:creationId xmlns:a16="http://schemas.microsoft.com/office/drawing/2014/main" id="{D6E362A9-0373-4C14-9FCA-3877850117BE}"/>
                      </a:ext>
                    </a:extLst>
                  </p:cNvPr>
                  <p:cNvSpPr/>
                  <p:nvPr/>
                </p:nvSpPr>
                <p:spPr>
                  <a:xfrm>
                    <a:off x="1804177" y="1813378"/>
                    <a:ext cx="119457" cy="139100"/>
                  </a:xfrm>
                  <a:custGeom>
                    <a:avLst/>
                    <a:gdLst>
                      <a:gd name="connsiteX0" fmla="*/ 104326 w 119457"/>
                      <a:gd name="connsiteY0" fmla="*/ 139100 h 139100"/>
                      <a:gd name="connsiteX1" fmla="*/ 6956 w 119457"/>
                      <a:gd name="connsiteY1" fmla="*/ 139100 h 139100"/>
                      <a:gd name="connsiteX2" fmla="*/ 1324 w 119457"/>
                      <a:gd name="connsiteY2" fmla="*/ 136228 h 139100"/>
                      <a:gd name="connsiteX3" fmla="*/ 347 w 119457"/>
                      <a:gd name="connsiteY3" fmla="*/ 129982 h 139100"/>
                      <a:gd name="connsiteX4" fmla="*/ 36759 w 119457"/>
                      <a:gd name="connsiteY4" fmla="*/ 18701 h 139100"/>
                      <a:gd name="connsiteX5" fmla="*/ 61229 w 119457"/>
                      <a:gd name="connsiteY5" fmla="*/ 0 h 139100"/>
                      <a:gd name="connsiteX6" fmla="*/ 74545 w 119457"/>
                      <a:gd name="connsiteY6" fmla="*/ 0 h 139100"/>
                      <a:gd name="connsiteX7" fmla="*/ 81500 w 119457"/>
                      <a:gd name="connsiteY7" fmla="*/ 6956 h 139100"/>
                      <a:gd name="connsiteX8" fmla="*/ 74545 w 119457"/>
                      <a:gd name="connsiteY8" fmla="*/ 13911 h 139100"/>
                      <a:gd name="connsiteX9" fmla="*/ 61229 w 119457"/>
                      <a:gd name="connsiteY9" fmla="*/ 13911 h 139100"/>
                      <a:gd name="connsiteX10" fmla="*/ 49976 w 119457"/>
                      <a:gd name="connsiteY10" fmla="*/ 23030 h 139100"/>
                      <a:gd name="connsiteX11" fmla="*/ 16551 w 119457"/>
                      <a:gd name="connsiteY11" fmla="*/ 125192 h 139100"/>
                      <a:gd name="connsiteX12" fmla="*/ 99120 w 119457"/>
                      <a:gd name="connsiteY12" fmla="*/ 125192 h 139100"/>
                      <a:gd name="connsiteX13" fmla="*/ 105826 w 119457"/>
                      <a:gd name="connsiteY13" fmla="*/ 102367 h 139100"/>
                      <a:gd name="connsiteX14" fmla="*/ 114459 w 119457"/>
                      <a:gd name="connsiteY14" fmla="*/ 97653 h 139100"/>
                      <a:gd name="connsiteX15" fmla="*/ 119173 w 119457"/>
                      <a:gd name="connsiteY15" fmla="*/ 106286 h 139100"/>
                      <a:gd name="connsiteX16" fmla="*/ 111001 w 119457"/>
                      <a:gd name="connsiteY16" fmla="*/ 134106 h 139100"/>
                      <a:gd name="connsiteX17" fmla="*/ 104326 w 119457"/>
                      <a:gd name="connsiteY17" fmla="*/ 139100 h 13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9457" h="139100">
                        <a:moveTo>
                          <a:pt x="104326" y="139100"/>
                        </a:moveTo>
                        <a:lnTo>
                          <a:pt x="6956" y="139100"/>
                        </a:lnTo>
                        <a:cubicBezTo>
                          <a:pt x="4727" y="139100"/>
                          <a:pt x="2633" y="138031"/>
                          <a:pt x="1324" y="136228"/>
                        </a:cubicBezTo>
                        <a:cubicBezTo>
                          <a:pt x="16" y="134424"/>
                          <a:pt x="-350" y="132101"/>
                          <a:pt x="347" y="129982"/>
                        </a:cubicBezTo>
                        <a:lnTo>
                          <a:pt x="36759" y="18701"/>
                        </a:lnTo>
                        <a:cubicBezTo>
                          <a:pt x="40189" y="8214"/>
                          <a:pt x="50938" y="0"/>
                          <a:pt x="61229" y="0"/>
                        </a:cubicBezTo>
                        <a:lnTo>
                          <a:pt x="74545" y="0"/>
                        </a:lnTo>
                        <a:cubicBezTo>
                          <a:pt x="78385" y="0"/>
                          <a:pt x="81500" y="3115"/>
                          <a:pt x="81500" y="6956"/>
                        </a:cubicBezTo>
                        <a:cubicBezTo>
                          <a:pt x="81500" y="10796"/>
                          <a:pt x="78385" y="13911"/>
                          <a:pt x="74545" y="13911"/>
                        </a:cubicBezTo>
                        <a:lnTo>
                          <a:pt x="61229" y="13911"/>
                        </a:lnTo>
                        <a:cubicBezTo>
                          <a:pt x="56900" y="13911"/>
                          <a:pt x="51537" y="18259"/>
                          <a:pt x="49976" y="23030"/>
                        </a:cubicBezTo>
                        <a:lnTo>
                          <a:pt x="16551" y="125192"/>
                        </a:lnTo>
                        <a:lnTo>
                          <a:pt x="99120" y="125192"/>
                        </a:lnTo>
                        <a:lnTo>
                          <a:pt x="105826" y="102367"/>
                        </a:lnTo>
                        <a:cubicBezTo>
                          <a:pt x="106908" y="98681"/>
                          <a:pt x="110792" y="96562"/>
                          <a:pt x="114459" y="97653"/>
                        </a:cubicBezTo>
                        <a:cubicBezTo>
                          <a:pt x="118148" y="98738"/>
                          <a:pt x="120258" y="102601"/>
                          <a:pt x="119173" y="106286"/>
                        </a:cubicBezTo>
                        <a:lnTo>
                          <a:pt x="111001" y="134106"/>
                        </a:lnTo>
                        <a:cubicBezTo>
                          <a:pt x="110130" y="137067"/>
                          <a:pt x="107412" y="139100"/>
                          <a:pt x="104326" y="139100"/>
                        </a:cubicBezTo>
                        <a:close/>
                      </a:path>
                    </a:pathLst>
                  </a:custGeom>
                  <a:solidFill>
                    <a:schemeClr val="tx2"/>
                  </a:solidFill>
                  <a:ln w="314" cap="flat">
                    <a:noFill/>
                    <a:prstDash val="solid"/>
                    <a:miter/>
                  </a:ln>
                </p:spPr>
                <p:txBody>
                  <a:bodyPr rtlCol="0" anchor="ctr"/>
                  <a:lstStyle/>
                  <a:p>
                    <a:endParaRPr lang="en-GB" dirty="0"/>
                  </a:p>
                </p:txBody>
              </p:sp>
              <p:sp>
                <p:nvSpPr>
                  <p:cNvPr id="93" name="Freihandform: Form 158">
                    <a:extLst>
                      <a:ext uri="{FF2B5EF4-FFF2-40B4-BE49-F238E27FC236}">
                        <a16:creationId xmlns:a16="http://schemas.microsoft.com/office/drawing/2014/main" id="{ED00FB9D-4398-477D-9485-2881E363358E}"/>
                      </a:ext>
                    </a:extLst>
                  </p:cNvPr>
                  <p:cNvSpPr/>
                  <p:nvPr/>
                </p:nvSpPr>
                <p:spPr>
                  <a:xfrm>
                    <a:off x="1858451" y="1813374"/>
                    <a:ext cx="117032" cy="41733"/>
                  </a:xfrm>
                  <a:custGeom>
                    <a:avLst/>
                    <a:gdLst>
                      <a:gd name="connsiteX0" fmla="*/ 105558 w 117032"/>
                      <a:gd name="connsiteY0" fmla="*/ 41734 h 41733"/>
                      <a:gd name="connsiteX1" fmla="*/ 11433 w 117032"/>
                      <a:gd name="connsiteY1" fmla="*/ 41734 h 41733"/>
                      <a:gd name="connsiteX2" fmla="*/ 5821 w 117032"/>
                      <a:gd name="connsiteY2" fmla="*/ 38884 h 41733"/>
                      <a:gd name="connsiteX3" fmla="*/ 4805 w 117032"/>
                      <a:gd name="connsiteY3" fmla="*/ 32672 h 41733"/>
                      <a:gd name="connsiteX4" fmla="*/ 9223 w 117032"/>
                      <a:gd name="connsiteY4" fmla="*/ 18761 h 41733"/>
                      <a:gd name="connsiteX5" fmla="*/ 9144 w 117032"/>
                      <a:gd name="connsiteY5" fmla="*/ 14703 h 41733"/>
                      <a:gd name="connsiteX6" fmla="*/ 6956 w 117032"/>
                      <a:gd name="connsiteY6" fmla="*/ 13911 h 41733"/>
                      <a:gd name="connsiteX7" fmla="*/ 0 w 117032"/>
                      <a:gd name="connsiteY7" fmla="*/ 6956 h 41733"/>
                      <a:gd name="connsiteX8" fmla="*/ 6956 w 117032"/>
                      <a:gd name="connsiteY8" fmla="*/ 0 h 41733"/>
                      <a:gd name="connsiteX9" fmla="*/ 100151 w 117032"/>
                      <a:gd name="connsiteY9" fmla="*/ 0 h 41733"/>
                      <a:gd name="connsiteX10" fmla="*/ 113655 w 117032"/>
                      <a:gd name="connsiteY10" fmla="*/ 6445 h 41733"/>
                      <a:gd name="connsiteX11" fmla="*/ 116200 w 117032"/>
                      <a:gd name="connsiteY11" fmla="*/ 22765 h 41733"/>
                      <a:gd name="connsiteX12" fmla="*/ 112246 w 117032"/>
                      <a:gd name="connsiteY12" fmla="*/ 36676 h 41733"/>
                      <a:gd name="connsiteX13" fmla="*/ 105558 w 117032"/>
                      <a:gd name="connsiteY13" fmla="*/ 41734 h 41733"/>
                      <a:gd name="connsiteX14" fmla="*/ 20939 w 117032"/>
                      <a:gd name="connsiteY14" fmla="*/ 27826 h 41733"/>
                      <a:gd name="connsiteX15" fmla="*/ 100308 w 117032"/>
                      <a:gd name="connsiteY15" fmla="*/ 27826 h 41733"/>
                      <a:gd name="connsiteX16" fmla="*/ 102824 w 117032"/>
                      <a:gd name="connsiteY16" fmla="*/ 18969 h 41733"/>
                      <a:gd name="connsiteX17" fmla="*/ 102560 w 117032"/>
                      <a:gd name="connsiteY17" fmla="*/ 14835 h 41733"/>
                      <a:gd name="connsiteX18" fmla="*/ 100154 w 117032"/>
                      <a:gd name="connsiteY18" fmla="*/ 13914 h 41733"/>
                      <a:gd name="connsiteX19" fmla="*/ 23333 w 117032"/>
                      <a:gd name="connsiteY19" fmla="*/ 13914 h 41733"/>
                      <a:gd name="connsiteX20" fmla="*/ 22481 w 117032"/>
                      <a:gd name="connsiteY20" fmla="*/ 22976 h 41733"/>
                      <a:gd name="connsiteX21" fmla="*/ 20939 w 117032"/>
                      <a:gd name="connsiteY21" fmla="*/ 27826 h 4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7032" h="41733">
                        <a:moveTo>
                          <a:pt x="105558" y="41734"/>
                        </a:moveTo>
                        <a:lnTo>
                          <a:pt x="11433" y="41734"/>
                        </a:lnTo>
                        <a:cubicBezTo>
                          <a:pt x="9216" y="41734"/>
                          <a:pt x="7129" y="40674"/>
                          <a:pt x="5821" y="38884"/>
                        </a:cubicBezTo>
                        <a:cubicBezTo>
                          <a:pt x="4509" y="37093"/>
                          <a:pt x="4134" y="34788"/>
                          <a:pt x="4805" y="32672"/>
                        </a:cubicBezTo>
                        <a:lnTo>
                          <a:pt x="9223" y="18761"/>
                        </a:lnTo>
                        <a:cubicBezTo>
                          <a:pt x="9869" y="16730"/>
                          <a:pt x="9607" y="15333"/>
                          <a:pt x="9144" y="14703"/>
                        </a:cubicBezTo>
                        <a:cubicBezTo>
                          <a:pt x="8665" y="14047"/>
                          <a:pt x="7690" y="13911"/>
                          <a:pt x="6956" y="13911"/>
                        </a:cubicBezTo>
                        <a:cubicBezTo>
                          <a:pt x="3115" y="13911"/>
                          <a:pt x="0" y="10796"/>
                          <a:pt x="0" y="6956"/>
                        </a:cubicBezTo>
                        <a:cubicBezTo>
                          <a:pt x="0" y="3115"/>
                          <a:pt x="3115" y="0"/>
                          <a:pt x="6956" y="0"/>
                        </a:cubicBezTo>
                        <a:lnTo>
                          <a:pt x="100151" y="0"/>
                        </a:lnTo>
                        <a:cubicBezTo>
                          <a:pt x="105640" y="0"/>
                          <a:pt x="110562" y="2349"/>
                          <a:pt x="113655" y="6445"/>
                        </a:cubicBezTo>
                        <a:cubicBezTo>
                          <a:pt x="116972" y="10840"/>
                          <a:pt x="117899" y="16790"/>
                          <a:pt x="116200" y="22765"/>
                        </a:cubicBezTo>
                        <a:lnTo>
                          <a:pt x="112246" y="36676"/>
                        </a:lnTo>
                        <a:cubicBezTo>
                          <a:pt x="111401" y="39672"/>
                          <a:pt x="108667" y="41734"/>
                          <a:pt x="105558" y="41734"/>
                        </a:cubicBezTo>
                        <a:close/>
                        <a:moveTo>
                          <a:pt x="20939" y="27826"/>
                        </a:moveTo>
                        <a:lnTo>
                          <a:pt x="100308" y="27826"/>
                        </a:lnTo>
                        <a:lnTo>
                          <a:pt x="102824" y="18969"/>
                        </a:lnTo>
                        <a:cubicBezTo>
                          <a:pt x="103313" y="17247"/>
                          <a:pt x="103215" y="15702"/>
                          <a:pt x="102560" y="14835"/>
                        </a:cubicBezTo>
                        <a:cubicBezTo>
                          <a:pt x="102102" y="14223"/>
                          <a:pt x="101289" y="13914"/>
                          <a:pt x="100154" y="13914"/>
                        </a:cubicBezTo>
                        <a:lnTo>
                          <a:pt x="23333" y="13914"/>
                        </a:lnTo>
                        <a:cubicBezTo>
                          <a:pt x="23736" y="16790"/>
                          <a:pt x="23462" y="19880"/>
                          <a:pt x="22481" y="22976"/>
                        </a:cubicBezTo>
                        <a:lnTo>
                          <a:pt x="20939" y="27826"/>
                        </a:lnTo>
                        <a:close/>
                      </a:path>
                    </a:pathLst>
                  </a:custGeom>
                  <a:solidFill>
                    <a:schemeClr val="tx2"/>
                  </a:solidFill>
                  <a:ln w="314" cap="flat">
                    <a:noFill/>
                    <a:prstDash val="solid"/>
                    <a:miter/>
                  </a:ln>
                </p:spPr>
                <p:txBody>
                  <a:bodyPr rtlCol="0" anchor="ctr"/>
                  <a:lstStyle/>
                  <a:p>
                    <a:endParaRPr lang="en-GB" dirty="0"/>
                  </a:p>
                </p:txBody>
              </p:sp>
            </p:grpSp>
            <p:sp>
              <p:nvSpPr>
                <p:cNvPr id="90" name="Freihandform: Form 159">
                  <a:extLst>
                    <a:ext uri="{FF2B5EF4-FFF2-40B4-BE49-F238E27FC236}">
                      <a16:creationId xmlns:a16="http://schemas.microsoft.com/office/drawing/2014/main" id="{1B1CBF69-8F12-4360-A68A-67AAA90C1E7B}"/>
                    </a:ext>
                  </a:extLst>
                </p:cNvPr>
                <p:cNvSpPr/>
                <p:nvPr/>
              </p:nvSpPr>
              <p:spPr>
                <a:xfrm>
                  <a:off x="1897983" y="1869020"/>
                  <a:ext cx="49504" cy="55638"/>
                </a:xfrm>
                <a:custGeom>
                  <a:avLst/>
                  <a:gdLst>
                    <a:gd name="connsiteX0" fmla="*/ 24529 w 49504"/>
                    <a:gd name="connsiteY0" fmla="*/ 55639 h 55638"/>
                    <a:gd name="connsiteX1" fmla="*/ 12859 w 49504"/>
                    <a:gd name="connsiteY1" fmla="*/ 55639 h 55638"/>
                    <a:gd name="connsiteX2" fmla="*/ 2473 w 49504"/>
                    <a:gd name="connsiteY2" fmla="*/ 50641 h 55638"/>
                    <a:gd name="connsiteX3" fmla="*/ 641 w 49504"/>
                    <a:gd name="connsiteY3" fmla="*/ 38682 h 55638"/>
                    <a:gd name="connsiteX4" fmla="*/ 8316 w 49504"/>
                    <a:gd name="connsiteY4" fmla="*/ 12987 h 55638"/>
                    <a:gd name="connsiteX5" fmla="*/ 25204 w 49504"/>
                    <a:gd name="connsiteY5" fmla="*/ 0 h 55638"/>
                    <a:gd name="connsiteX6" fmla="*/ 36703 w 49504"/>
                    <a:gd name="connsiteY6" fmla="*/ 0 h 55638"/>
                    <a:gd name="connsiteX7" fmla="*/ 46988 w 49504"/>
                    <a:gd name="connsiteY7" fmla="*/ 4944 h 55638"/>
                    <a:gd name="connsiteX8" fmla="*/ 48893 w 49504"/>
                    <a:gd name="connsiteY8" fmla="*/ 16907 h 55638"/>
                    <a:gd name="connsiteX9" fmla="*/ 41467 w 49504"/>
                    <a:gd name="connsiteY9" fmla="*/ 42598 h 55638"/>
                    <a:gd name="connsiteX10" fmla="*/ 24529 w 49504"/>
                    <a:gd name="connsiteY10" fmla="*/ 55639 h 55638"/>
                    <a:gd name="connsiteX11" fmla="*/ 14253 w 49504"/>
                    <a:gd name="connsiteY11" fmla="*/ 41731 h 55638"/>
                    <a:gd name="connsiteX12" fmla="*/ 24529 w 49504"/>
                    <a:gd name="connsiteY12" fmla="*/ 41731 h 55638"/>
                    <a:gd name="connsiteX13" fmla="*/ 28111 w 49504"/>
                    <a:gd name="connsiteY13" fmla="*/ 38735 h 55638"/>
                    <a:gd name="connsiteX14" fmla="*/ 35287 w 49504"/>
                    <a:gd name="connsiteY14" fmla="*/ 13911 h 55638"/>
                    <a:gd name="connsiteX15" fmla="*/ 25207 w 49504"/>
                    <a:gd name="connsiteY15" fmla="*/ 13911 h 55638"/>
                    <a:gd name="connsiteX16" fmla="*/ 21644 w 49504"/>
                    <a:gd name="connsiteY16" fmla="*/ 16970 h 55638"/>
                    <a:gd name="connsiteX17" fmla="*/ 14253 w 49504"/>
                    <a:gd name="connsiteY17" fmla="*/ 41731 h 55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504" h="55638">
                      <a:moveTo>
                        <a:pt x="24529" y="55639"/>
                      </a:moveTo>
                      <a:lnTo>
                        <a:pt x="12859" y="55639"/>
                      </a:lnTo>
                      <a:cubicBezTo>
                        <a:pt x="8628" y="55639"/>
                        <a:pt x="4841" y="53816"/>
                        <a:pt x="2473" y="50641"/>
                      </a:cubicBezTo>
                      <a:cubicBezTo>
                        <a:pt x="23" y="47353"/>
                        <a:pt x="-645" y="42992"/>
                        <a:pt x="641" y="38682"/>
                      </a:cubicBezTo>
                      <a:lnTo>
                        <a:pt x="8316" y="12987"/>
                      </a:lnTo>
                      <a:cubicBezTo>
                        <a:pt x="10529" y="5584"/>
                        <a:pt x="17791" y="0"/>
                        <a:pt x="25204" y="0"/>
                      </a:cubicBezTo>
                      <a:lnTo>
                        <a:pt x="36703" y="0"/>
                      </a:lnTo>
                      <a:cubicBezTo>
                        <a:pt x="40877" y="0"/>
                        <a:pt x="44630" y="1804"/>
                        <a:pt x="46988" y="4944"/>
                      </a:cubicBezTo>
                      <a:cubicBezTo>
                        <a:pt x="49451" y="8217"/>
                        <a:pt x="50147" y="12578"/>
                        <a:pt x="48893" y="16907"/>
                      </a:cubicBezTo>
                      <a:lnTo>
                        <a:pt x="41467" y="42598"/>
                      </a:lnTo>
                      <a:cubicBezTo>
                        <a:pt x="39323" y="50033"/>
                        <a:pt x="32036" y="55639"/>
                        <a:pt x="24529" y="55639"/>
                      </a:cubicBezTo>
                      <a:close/>
                      <a:moveTo>
                        <a:pt x="14253" y="41731"/>
                      </a:moveTo>
                      <a:lnTo>
                        <a:pt x="24529" y="41731"/>
                      </a:lnTo>
                      <a:cubicBezTo>
                        <a:pt x="25714" y="41731"/>
                        <a:pt x="27663" y="40277"/>
                        <a:pt x="28111" y="38735"/>
                      </a:cubicBezTo>
                      <a:lnTo>
                        <a:pt x="35287" y="13911"/>
                      </a:lnTo>
                      <a:lnTo>
                        <a:pt x="25207" y="13911"/>
                      </a:lnTo>
                      <a:cubicBezTo>
                        <a:pt x="24160" y="13911"/>
                        <a:pt x="22151" y="15283"/>
                        <a:pt x="21644" y="16970"/>
                      </a:cubicBezTo>
                      <a:lnTo>
                        <a:pt x="14253" y="41731"/>
                      </a:lnTo>
                      <a:close/>
                    </a:path>
                  </a:pathLst>
                </a:custGeom>
                <a:solidFill>
                  <a:schemeClr val="tx2"/>
                </a:solidFill>
                <a:ln w="314" cap="flat">
                  <a:noFill/>
                  <a:prstDash val="solid"/>
                  <a:miter/>
                </a:ln>
              </p:spPr>
              <p:txBody>
                <a:bodyPr rtlCol="0" anchor="ctr"/>
                <a:lstStyle/>
                <a:p>
                  <a:endParaRPr lang="en-GB" dirty="0"/>
                </a:p>
              </p:txBody>
            </p:sp>
          </p:grpSp>
          <p:sp>
            <p:nvSpPr>
              <p:cNvPr id="81" name="Freihandform: Form 160">
                <a:extLst>
                  <a:ext uri="{FF2B5EF4-FFF2-40B4-BE49-F238E27FC236}">
                    <a16:creationId xmlns:a16="http://schemas.microsoft.com/office/drawing/2014/main" id="{4E7CA74A-F77A-47F2-9E29-A3EB782F15F4}"/>
                  </a:ext>
                </a:extLst>
              </p:cNvPr>
              <p:cNvSpPr/>
              <p:nvPr/>
            </p:nvSpPr>
            <p:spPr>
              <a:xfrm>
                <a:off x="1756866" y="1918866"/>
                <a:ext cx="13911" cy="194739"/>
              </a:xfrm>
              <a:custGeom>
                <a:avLst/>
                <a:gdLst>
                  <a:gd name="connsiteX0" fmla="*/ 6956 w 13911"/>
                  <a:gd name="connsiteY0" fmla="*/ 194739 h 194739"/>
                  <a:gd name="connsiteX1" fmla="*/ 0 w 13911"/>
                  <a:gd name="connsiteY1" fmla="*/ 187784 h 194739"/>
                  <a:gd name="connsiteX2" fmla="*/ 0 w 13911"/>
                  <a:gd name="connsiteY2" fmla="*/ 6956 h 194739"/>
                  <a:gd name="connsiteX3" fmla="*/ 6956 w 13911"/>
                  <a:gd name="connsiteY3" fmla="*/ 0 h 194739"/>
                  <a:gd name="connsiteX4" fmla="*/ 13911 w 13911"/>
                  <a:gd name="connsiteY4" fmla="*/ 6956 h 194739"/>
                  <a:gd name="connsiteX5" fmla="*/ 13911 w 13911"/>
                  <a:gd name="connsiteY5" fmla="*/ 187784 h 194739"/>
                  <a:gd name="connsiteX6" fmla="*/ 6956 w 13911"/>
                  <a:gd name="connsiteY6" fmla="*/ 194739 h 194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11" h="194739">
                    <a:moveTo>
                      <a:pt x="6956" y="194739"/>
                    </a:moveTo>
                    <a:cubicBezTo>
                      <a:pt x="3115" y="194739"/>
                      <a:pt x="0" y="191624"/>
                      <a:pt x="0" y="187784"/>
                    </a:cubicBezTo>
                    <a:lnTo>
                      <a:pt x="0" y="6956"/>
                    </a:lnTo>
                    <a:cubicBezTo>
                      <a:pt x="0" y="3115"/>
                      <a:pt x="3115" y="0"/>
                      <a:pt x="6956" y="0"/>
                    </a:cubicBezTo>
                    <a:cubicBezTo>
                      <a:pt x="10796" y="0"/>
                      <a:pt x="13911" y="3115"/>
                      <a:pt x="13911" y="6956"/>
                    </a:cubicBezTo>
                    <a:lnTo>
                      <a:pt x="13911" y="187784"/>
                    </a:lnTo>
                    <a:cubicBezTo>
                      <a:pt x="13911" y="191624"/>
                      <a:pt x="10796" y="194739"/>
                      <a:pt x="6956" y="194739"/>
                    </a:cubicBezTo>
                    <a:close/>
                  </a:path>
                </a:pathLst>
              </a:custGeom>
              <a:solidFill>
                <a:schemeClr val="tx2"/>
              </a:solidFill>
              <a:ln w="314" cap="flat">
                <a:noFill/>
                <a:prstDash val="solid"/>
                <a:miter/>
              </a:ln>
            </p:spPr>
            <p:txBody>
              <a:bodyPr rtlCol="0" anchor="ctr"/>
              <a:lstStyle/>
              <a:p>
                <a:endParaRPr lang="en-GB" dirty="0"/>
              </a:p>
            </p:txBody>
          </p:sp>
          <p:sp>
            <p:nvSpPr>
              <p:cNvPr id="82" name="Freihandform: Form 161">
                <a:extLst>
                  <a:ext uri="{FF2B5EF4-FFF2-40B4-BE49-F238E27FC236}">
                    <a16:creationId xmlns:a16="http://schemas.microsoft.com/office/drawing/2014/main" id="{309ACB19-BE31-4EF8-B3DF-1857F3F74446}"/>
                  </a:ext>
                </a:extLst>
              </p:cNvPr>
              <p:cNvSpPr/>
              <p:nvPr/>
            </p:nvSpPr>
            <p:spPr>
              <a:xfrm>
                <a:off x="1882055" y="1946686"/>
                <a:ext cx="13911" cy="166919"/>
              </a:xfrm>
              <a:custGeom>
                <a:avLst/>
                <a:gdLst>
                  <a:gd name="connsiteX0" fmla="*/ 6956 w 13911"/>
                  <a:gd name="connsiteY0" fmla="*/ 166920 h 166919"/>
                  <a:gd name="connsiteX1" fmla="*/ 0 w 13911"/>
                  <a:gd name="connsiteY1" fmla="*/ 159964 h 166919"/>
                  <a:gd name="connsiteX2" fmla="*/ 0 w 13911"/>
                  <a:gd name="connsiteY2" fmla="*/ 6956 h 166919"/>
                  <a:gd name="connsiteX3" fmla="*/ 6956 w 13911"/>
                  <a:gd name="connsiteY3" fmla="*/ 0 h 166919"/>
                  <a:gd name="connsiteX4" fmla="*/ 13911 w 13911"/>
                  <a:gd name="connsiteY4" fmla="*/ 6956 h 166919"/>
                  <a:gd name="connsiteX5" fmla="*/ 13911 w 13911"/>
                  <a:gd name="connsiteY5" fmla="*/ 159964 h 166919"/>
                  <a:gd name="connsiteX6" fmla="*/ 6956 w 13911"/>
                  <a:gd name="connsiteY6" fmla="*/ 166920 h 16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11" h="166919">
                    <a:moveTo>
                      <a:pt x="6956" y="166920"/>
                    </a:moveTo>
                    <a:cubicBezTo>
                      <a:pt x="3115" y="166920"/>
                      <a:pt x="0" y="163805"/>
                      <a:pt x="0" y="159964"/>
                    </a:cubicBezTo>
                    <a:lnTo>
                      <a:pt x="0" y="6956"/>
                    </a:lnTo>
                    <a:cubicBezTo>
                      <a:pt x="0" y="3115"/>
                      <a:pt x="3115" y="0"/>
                      <a:pt x="6956" y="0"/>
                    </a:cubicBezTo>
                    <a:cubicBezTo>
                      <a:pt x="10796" y="0"/>
                      <a:pt x="13911" y="3115"/>
                      <a:pt x="13911" y="6956"/>
                    </a:cubicBezTo>
                    <a:lnTo>
                      <a:pt x="13911" y="159964"/>
                    </a:lnTo>
                    <a:cubicBezTo>
                      <a:pt x="13911" y="163805"/>
                      <a:pt x="10796" y="166920"/>
                      <a:pt x="6956" y="166920"/>
                    </a:cubicBezTo>
                    <a:close/>
                  </a:path>
                </a:pathLst>
              </a:custGeom>
              <a:solidFill>
                <a:schemeClr val="tx2"/>
              </a:solidFill>
              <a:ln w="314" cap="flat">
                <a:noFill/>
                <a:prstDash val="solid"/>
                <a:miter/>
              </a:ln>
            </p:spPr>
            <p:txBody>
              <a:bodyPr rtlCol="0" anchor="ctr"/>
              <a:lstStyle/>
              <a:p>
                <a:endParaRPr lang="en-GB" dirty="0"/>
              </a:p>
            </p:txBody>
          </p:sp>
          <p:sp>
            <p:nvSpPr>
              <p:cNvPr id="83" name="Freihandform: Form 162">
                <a:extLst>
                  <a:ext uri="{FF2B5EF4-FFF2-40B4-BE49-F238E27FC236}">
                    <a16:creationId xmlns:a16="http://schemas.microsoft.com/office/drawing/2014/main" id="{8B76A471-DA1E-4223-8D59-8648DD0BFB66}"/>
                  </a:ext>
                </a:extLst>
              </p:cNvPr>
              <p:cNvSpPr/>
              <p:nvPr/>
            </p:nvSpPr>
            <p:spPr>
              <a:xfrm>
                <a:off x="1819460" y="1988413"/>
                <a:ext cx="13911" cy="125192"/>
              </a:xfrm>
              <a:custGeom>
                <a:avLst/>
                <a:gdLst>
                  <a:gd name="connsiteX0" fmla="*/ 6956 w 13911"/>
                  <a:gd name="connsiteY0" fmla="*/ 125192 h 125192"/>
                  <a:gd name="connsiteX1" fmla="*/ 0 w 13911"/>
                  <a:gd name="connsiteY1" fmla="*/ 118237 h 125192"/>
                  <a:gd name="connsiteX2" fmla="*/ 0 w 13911"/>
                  <a:gd name="connsiteY2" fmla="*/ 6956 h 125192"/>
                  <a:gd name="connsiteX3" fmla="*/ 6956 w 13911"/>
                  <a:gd name="connsiteY3" fmla="*/ 0 h 125192"/>
                  <a:gd name="connsiteX4" fmla="*/ 13911 w 13911"/>
                  <a:gd name="connsiteY4" fmla="*/ 6956 h 125192"/>
                  <a:gd name="connsiteX5" fmla="*/ 13911 w 13911"/>
                  <a:gd name="connsiteY5" fmla="*/ 118237 h 125192"/>
                  <a:gd name="connsiteX6" fmla="*/ 6956 w 13911"/>
                  <a:gd name="connsiteY6" fmla="*/ 125192 h 1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11" h="125192">
                    <a:moveTo>
                      <a:pt x="6956" y="125192"/>
                    </a:moveTo>
                    <a:cubicBezTo>
                      <a:pt x="3115" y="125192"/>
                      <a:pt x="0" y="122077"/>
                      <a:pt x="0" y="118237"/>
                    </a:cubicBezTo>
                    <a:lnTo>
                      <a:pt x="0" y="6956"/>
                    </a:lnTo>
                    <a:cubicBezTo>
                      <a:pt x="0" y="3115"/>
                      <a:pt x="3115" y="0"/>
                      <a:pt x="6956" y="0"/>
                    </a:cubicBezTo>
                    <a:cubicBezTo>
                      <a:pt x="10796" y="0"/>
                      <a:pt x="13911" y="3115"/>
                      <a:pt x="13911" y="6956"/>
                    </a:cubicBezTo>
                    <a:lnTo>
                      <a:pt x="13911" y="118237"/>
                    </a:lnTo>
                    <a:cubicBezTo>
                      <a:pt x="13911" y="122077"/>
                      <a:pt x="10796" y="125192"/>
                      <a:pt x="6956" y="125192"/>
                    </a:cubicBezTo>
                    <a:close/>
                  </a:path>
                </a:pathLst>
              </a:custGeom>
              <a:solidFill>
                <a:schemeClr val="tx2"/>
              </a:solidFill>
              <a:ln w="314" cap="flat">
                <a:noFill/>
                <a:prstDash val="solid"/>
                <a:miter/>
              </a:ln>
            </p:spPr>
            <p:txBody>
              <a:bodyPr rtlCol="0" anchor="ctr"/>
              <a:lstStyle/>
              <a:p>
                <a:endParaRPr lang="en-GB" dirty="0"/>
              </a:p>
            </p:txBody>
          </p:sp>
          <p:sp>
            <p:nvSpPr>
              <p:cNvPr id="84" name="Freihandform: Form 163">
                <a:extLst>
                  <a:ext uri="{FF2B5EF4-FFF2-40B4-BE49-F238E27FC236}">
                    <a16:creationId xmlns:a16="http://schemas.microsoft.com/office/drawing/2014/main" id="{17436C94-BE23-411A-A645-BB0C8715A02B}"/>
                  </a:ext>
                </a:extLst>
              </p:cNvPr>
              <p:cNvSpPr/>
              <p:nvPr/>
            </p:nvSpPr>
            <p:spPr>
              <a:xfrm>
                <a:off x="1784688" y="1751947"/>
                <a:ext cx="143416" cy="74573"/>
              </a:xfrm>
              <a:custGeom>
                <a:avLst/>
                <a:gdLst>
                  <a:gd name="connsiteX0" fmla="*/ 136452 w 143416"/>
                  <a:gd name="connsiteY0" fmla="*/ 74573 h 74573"/>
                  <a:gd name="connsiteX1" fmla="*/ 129695 w 143416"/>
                  <a:gd name="connsiteY1" fmla="*/ 69235 h 74573"/>
                  <a:gd name="connsiteX2" fmla="*/ 62595 w 143416"/>
                  <a:gd name="connsiteY2" fmla="*/ 13911 h 74573"/>
                  <a:gd name="connsiteX3" fmla="*/ 6956 w 143416"/>
                  <a:gd name="connsiteY3" fmla="*/ 13911 h 74573"/>
                  <a:gd name="connsiteX4" fmla="*/ 0 w 143416"/>
                  <a:gd name="connsiteY4" fmla="*/ 6956 h 74573"/>
                  <a:gd name="connsiteX5" fmla="*/ 6956 w 143416"/>
                  <a:gd name="connsiteY5" fmla="*/ 0 h 74573"/>
                  <a:gd name="connsiteX6" fmla="*/ 62595 w 143416"/>
                  <a:gd name="connsiteY6" fmla="*/ 0 h 74573"/>
                  <a:gd name="connsiteX7" fmla="*/ 143225 w 143416"/>
                  <a:gd name="connsiteY7" fmla="*/ 66000 h 74573"/>
                  <a:gd name="connsiteX8" fmla="*/ 138076 w 143416"/>
                  <a:gd name="connsiteY8" fmla="*/ 74381 h 74573"/>
                  <a:gd name="connsiteX9" fmla="*/ 136452 w 143416"/>
                  <a:gd name="connsiteY9" fmla="*/ 74573 h 74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416" h="74573">
                    <a:moveTo>
                      <a:pt x="136452" y="74573"/>
                    </a:moveTo>
                    <a:cubicBezTo>
                      <a:pt x="133308" y="74573"/>
                      <a:pt x="130458" y="72426"/>
                      <a:pt x="129695" y="69235"/>
                    </a:cubicBezTo>
                    <a:cubicBezTo>
                      <a:pt x="121667" y="35630"/>
                      <a:pt x="95326" y="13911"/>
                      <a:pt x="62595" y="13911"/>
                    </a:cubicBezTo>
                    <a:lnTo>
                      <a:pt x="6956" y="13911"/>
                    </a:lnTo>
                    <a:cubicBezTo>
                      <a:pt x="3115" y="13911"/>
                      <a:pt x="0" y="10796"/>
                      <a:pt x="0" y="6956"/>
                    </a:cubicBezTo>
                    <a:cubicBezTo>
                      <a:pt x="0" y="3115"/>
                      <a:pt x="3115" y="0"/>
                      <a:pt x="6956" y="0"/>
                    </a:cubicBezTo>
                    <a:lnTo>
                      <a:pt x="62595" y="0"/>
                    </a:lnTo>
                    <a:cubicBezTo>
                      <a:pt x="101998" y="0"/>
                      <a:pt x="133649" y="25909"/>
                      <a:pt x="143225" y="66000"/>
                    </a:cubicBezTo>
                    <a:cubicBezTo>
                      <a:pt x="144117" y="69736"/>
                      <a:pt x="141812" y="73488"/>
                      <a:pt x="138076" y="74381"/>
                    </a:cubicBezTo>
                    <a:cubicBezTo>
                      <a:pt x="137530" y="74510"/>
                      <a:pt x="136988" y="74573"/>
                      <a:pt x="136452" y="74573"/>
                    </a:cubicBezTo>
                    <a:close/>
                  </a:path>
                </a:pathLst>
              </a:custGeom>
              <a:solidFill>
                <a:schemeClr val="tx2"/>
              </a:solidFill>
              <a:ln w="314" cap="flat">
                <a:noFill/>
                <a:prstDash val="solid"/>
                <a:miter/>
              </a:ln>
            </p:spPr>
            <p:txBody>
              <a:bodyPr rtlCol="0" anchor="ctr"/>
              <a:lstStyle/>
              <a:p>
                <a:endParaRPr lang="en-GB" dirty="0"/>
              </a:p>
            </p:txBody>
          </p:sp>
          <p:sp>
            <p:nvSpPr>
              <p:cNvPr id="85" name="Freihandform: Form 164">
                <a:extLst>
                  <a:ext uri="{FF2B5EF4-FFF2-40B4-BE49-F238E27FC236}">
                    <a16:creationId xmlns:a16="http://schemas.microsoft.com/office/drawing/2014/main" id="{F0541F5B-B0A4-4E23-A891-C38E7C7AE30F}"/>
                  </a:ext>
                </a:extLst>
              </p:cNvPr>
              <p:cNvSpPr/>
              <p:nvPr/>
            </p:nvSpPr>
            <p:spPr>
              <a:xfrm>
                <a:off x="1770777" y="1626758"/>
                <a:ext cx="97366" cy="111280"/>
              </a:xfrm>
              <a:custGeom>
                <a:avLst/>
                <a:gdLst>
                  <a:gd name="connsiteX0" fmla="*/ 48683 w 97366"/>
                  <a:gd name="connsiteY0" fmla="*/ 111281 h 111280"/>
                  <a:gd name="connsiteX1" fmla="*/ 0 w 97366"/>
                  <a:gd name="connsiteY1" fmla="*/ 55642 h 111280"/>
                  <a:gd name="connsiteX2" fmla="*/ 48683 w 97366"/>
                  <a:gd name="connsiteY2" fmla="*/ 0 h 111280"/>
                  <a:gd name="connsiteX3" fmla="*/ 97366 w 97366"/>
                  <a:gd name="connsiteY3" fmla="*/ 55639 h 111280"/>
                  <a:gd name="connsiteX4" fmla="*/ 48683 w 97366"/>
                  <a:gd name="connsiteY4" fmla="*/ 111281 h 111280"/>
                  <a:gd name="connsiteX5" fmla="*/ 48683 w 97366"/>
                  <a:gd name="connsiteY5" fmla="*/ 13911 h 111280"/>
                  <a:gd name="connsiteX6" fmla="*/ 13908 w 97366"/>
                  <a:gd name="connsiteY6" fmla="*/ 55642 h 111280"/>
                  <a:gd name="connsiteX7" fmla="*/ 48683 w 97366"/>
                  <a:gd name="connsiteY7" fmla="*/ 97373 h 111280"/>
                  <a:gd name="connsiteX8" fmla="*/ 83458 w 97366"/>
                  <a:gd name="connsiteY8" fmla="*/ 55642 h 111280"/>
                  <a:gd name="connsiteX9" fmla="*/ 48683 w 97366"/>
                  <a:gd name="connsiteY9" fmla="*/ 13911 h 11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366" h="111280">
                    <a:moveTo>
                      <a:pt x="48683" y="111281"/>
                    </a:moveTo>
                    <a:cubicBezTo>
                      <a:pt x="19562" y="111281"/>
                      <a:pt x="0" y="88923"/>
                      <a:pt x="0" y="55642"/>
                    </a:cubicBezTo>
                    <a:cubicBezTo>
                      <a:pt x="0" y="22358"/>
                      <a:pt x="19562" y="0"/>
                      <a:pt x="48683" y="0"/>
                    </a:cubicBezTo>
                    <a:cubicBezTo>
                      <a:pt x="77805" y="0"/>
                      <a:pt x="97366" y="22358"/>
                      <a:pt x="97366" y="55639"/>
                    </a:cubicBezTo>
                    <a:cubicBezTo>
                      <a:pt x="97370" y="88919"/>
                      <a:pt x="77805" y="111281"/>
                      <a:pt x="48683" y="111281"/>
                    </a:cubicBezTo>
                    <a:close/>
                    <a:moveTo>
                      <a:pt x="48683" y="13911"/>
                    </a:moveTo>
                    <a:cubicBezTo>
                      <a:pt x="23017" y="13911"/>
                      <a:pt x="13908" y="36389"/>
                      <a:pt x="13908" y="55642"/>
                    </a:cubicBezTo>
                    <a:cubicBezTo>
                      <a:pt x="13908" y="74895"/>
                      <a:pt x="23017" y="97373"/>
                      <a:pt x="48683" y="97373"/>
                    </a:cubicBezTo>
                    <a:cubicBezTo>
                      <a:pt x="74349" y="97373"/>
                      <a:pt x="83458" y="74895"/>
                      <a:pt x="83458" y="55642"/>
                    </a:cubicBezTo>
                    <a:cubicBezTo>
                      <a:pt x="83458" y="36386"/>
                      <a:pt x="74349" y="13911"/>
                      <a:pt x="48683" y="13911"/>
                    </a:cubicBezTo>
                    <a:close/>
                  </a:path>
                </a:pathLst>
              </a:custGeom>
              <a:solidFill>
                <a:schemeClr val="tx2"/>
              </a:solidFill>
              <a:ln w="314" cap="flat">
                <a:noFill/>
                <a:prstDash val="solid"/>
                <a:miter/>
              </a:ln>
            </p:spPr>
            <p:txBody>
              <a:bodyPr rtlCol="0" anchor="ctr"/>
              <a:lstStyle/>
              <a:p>
                <a:endParaRPr lang="en-GB" dirty="0"/>
              </a:p>
            </p:txBody>
          </p:sp>
          <p:sp>
            <p:nvSpPr>
              <p:cNvPr id="86" name="Freihandform: Form 165">
                <a:extLst>
                  <a:ext uri="{FF2B5EF4-FFF2-40B4-BE49-F238E27FC236}">
                    <a16:creationId xmlns:a16="http://schemas.microsoft.com/office/drawing/2014/main" id="{5ACD7591-92E8-420B-B021-61B96DFB6BD9}"/>
                  </a:ext>
                </a:extLst>
              </p:cNvPr>
              <p:cNvSpPr/>
              <p:nvPr/>
            </p:nvSpPr>
            <p:spPr>
              <a:xfrm>
                <a:off x="1714974" y="1751947"/>
                <a:ext cx="107806" cy="180831"/>
              </a:xfrm>
              <a:custGeom>
                <a:avLst/>
                <a:gdLst>
                  <a:gd name="connsiteX0" fmla="*/ 27819 w 107806"/>
                  <a:gd name="connsiteY0" fmla="*/ 180828 h 180831"/>
                  <a:gd name="connsiteX1" fmla="*/ 0 w 107806"/>
                  <a:gd name="connsiteY1" fmla="*/ 153009 h 180831"/>
                  <a:gd name="connsiteX2" fmla="*/ 0 w 107806"/>
                  <a:gd name="connsiteY2" fmla="*/ 76506 h 180831"/>
                  <a:gd name="connsiteX3" fmla="*/ 76506 w 107806"/>
                  <a:gd name="connsiteY3" fmla="*/ 0 h 180831"/>
                  <a:gd name="connsiteX4" fmla="*/ 99870 w 107806"/>
                  <a:gd name="connsiteY4" fmla="*/ 0 h 180831"/>
                  <a:gd name="connsiteX5" fmla="*/ 106826 w 107806"/>
                  <a:gd name="connsiteY5" fmla="*/ 6956 h 180831"/>
                  <a:gd name="connsiteX6" fmla="*/ 99870 w 107806"/>
                  <a:gd name="connsiteY6" fmla="*/ 13911 h 180831"/>
                  <a:gd name="connsiteX7" fmla="*/ 76506 w 107806"/>
                  <a:gd name="connsiteY7" fmla="*/ 13911 h 180831"/>
                  <a:gd name="connsiteX8" fmla="*/ 13911 w 107806"/>
                  <a:gd name="connsiteY8" fmla="*/ 76506 h 180831"/>
                  <a:gd name="connsiteX9" fmla="*/ 13911 w 107806"/>
                  <a:gd name="connsiteY9" fmla="*/ 153012 h 180831"/>
                  <a:gd name="connsiteX10" fmla="*/ 27823 w 107806"/>
                  <a:gd name="connsiteY10" fmla="*/ 166923 h 180831"/>
                  <a:gd name="connsiteX11" fmla="*/ 100851 w 107806"/>
                  <a:gd name="connsiteY11" fmla="*/ 166920 h 180831"/>
                  <a:gd name="connsiteX12" fmla="*/ 107806 w 107806"/>
                  <a:gd name="connsiteY12" fmla="*/ 173875 h 180831"/>
                  <a:gd name="connsiteX13" fmla="*/ 100851 w 107806"/>
                  <a:gd name="connsiteY13" fmla="*/ 180831 h 180831"/>
                  <a:gd name="connsiteX14" fmla="*/ 27819 w 107806"/>
                  <a:gd name="connsiteY14" fmla="*/ 180828 h 18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806" h="180831">
                    <a:moveTo>
                      <a:pt x="27819" y="180828"/>
                    </a:moveTo>
                    <a:cubicBezTo>
                      <a:pt x="12480" y="180828"/>
                      <a:pt x="0" y="168348"/>
                      <a:pt x="0" y="153009"/>
                    </a:cubicBezTo>
                    <a:lnTo>
                      <a:pt x="0" y="76506"/>
                    </a:lnTo>
                    <a:cubicBezTo>
                      <a:pt x="0" y="34321"/>
                      <a:pt x="34321" y="0"/>
                      <a:pt x="76506" y="0"/>
                    </a:cubicBezTo>
                    <a:lnTo>
                      <a:pt x="99870" y="0"/>
                    </a:lnTo>
                    <a:cubicBezTo>
                      <a:pt x="103710" y="0"/>
                      <a:pt x="106826" y="3115"/>
                      <a:pt x="106826" y="6956"/>
                    </a:cubicBezTo>
                    <a:cubicBezTo>
                      <a:pt x="106826" y="10796"/>
                      <a:pt x="103710" y="13911"/>
                      <a:pt x="99870" y="13911"/>
                    </a:cubicBezTo>
                    <a:lnTo>
                      <a:pt x="76506" y="13911"/>
                    </a:lnTo>
                    <a:cubicBezTo>
                      <a:pt x="41992" y="13911"/>
                      <a:pt x="13911" y="41992"/>
                      <a:pt x="13911" y="76506"/>
                    </a:cubicBezTo>
                    <a:lnTo>
                      <a:pt x="13911" y="153012"/>
                    </a:lnTo>
                    <a:cubicBezTo>
                      <a:pt x="13911" y="160683"/>
                      <a:pt x="20151" y="166923"/>
                      <a:pt x="27823" y="166923"/>
                    </a:cubicBezTo>
                    <a:lnTo>
                      <a:pt x="100851" y="166920"/>
                    </a:lnTo>
                    <a:cubicBezTo>
                      <a:pt x="104691" y="166920"/>
                      <a:pt x="107806" y="170035"/>
                      <a:pt x="107806" y="173875"/>
                    </a:cubicBezTo>
                    <a:cubicBezTo>
                      <a:pt x="107806" y="177716"/>
                      <a:pt x="104691" y="180831"/>
                      <a:pt x="100851" y="180831"/>
                    </a:cubicBezTo>
                    <a:lnTo>
                      <a:pt x="27819" y="180828"/>
                    </a:lnTo>
                    <a:close/>
                  </a:path>
                </a:pathLst>
              </a:custGeom>
              <a:solidFill>
                <a:schemeClr val="tx2"/>
              </a:solidFill>
              <a:ln w="314" cap="flat">
                <a:noFill/>
                <a:prstDash val="solid"/>
                <a:miter/>
              </a:ln>
            </p:spPr>
            <p:txBody>
              <a:bodyPr rtlCol="0" anchor="ctr"/>
              <a:lstStyle/>
              <a:p>
                <a:endParaRPr lang="en-GB" dirty="0"/>
              </a:p>
            </p:txBody>
          </p:sp>
          <p:sp>
            <p:nvSpPr>
              <p:cNvPr id="87" name="Freihandform: Form 166">
                <a:extLst>
                  <a:ext uri="{FF2B5EF4-FFF2-40B4-BE49-F238E27FC236}">
                    <a16:creationId xmlns:a16="http://schemas.microsoft.com/office/drawing/2014/main" id="{670A14B2-572C-4291-A8CA-3FA2D0093E9C}"/>
                  </a:ext>
                </a:extLst>
              </p:cNvPr>
              <p:cNvSpPr/>
              <p:nvPr/>
            </p:nvSpPr>
            <p:spPr>
              <a:xfrm>
                <a:off x="1756702" y="1828449"/>
                <a:ext cx="79983" cy="62594"/>
              </a:xfrm>
              <a:custGeom>
                <a:avLst/>
                <a:gdLst>
                  <a:gd name="connsiteX0" fmla="*/ 73028 w 79983"/>
                  <a:gd name="connsiteY0" fmla="*/ 62595 h 62594"/>
                  <a:gd name="connsiteX1" fmla="*/ 6956 w 79983"/>
                  <a:gd name="connsiteY1" fmla="*/ 62595 h 62594"/>
                  <a:gd name="connsiteX2" fmla="*/ 0 w 79983"/>
                  <a:gd name="connsiteY2" fmla="*/ 55639 h 62594"/>
                  <a:gd name="connsiteX3" fmla="*/ 0 w 79983"/>
                  <a:gd name="connsiteY3" fmla="*/ 6956 h 62594"/>
                  <a:gd name="connsiteX4" fmla="*/ 6956 w 79983"/>
                  <a:gd name="connsiteY4" fmla="*/ 0 h 62594"/>
                  <a:gd name="connsiteX5" fmla="*/ 13911 w 79983"/>
                  <a:gd name="connsiteY5" fmla="*/ 6956 h 62594"/>
                  <a:gd name="connsiteX6" fmla="*/ 13911 w 79983"/>
                  <a:gd name="connsiteY6" fmla="*/ 48686 h 62594"/>
                  <a:gd name="connsiteX7" fmla="*/ 73028 w 79983"/>
                  <a:gd name="connsiteY7" fmla="*/ 48686 h 62594"/>
                  <a:gd name="connsiteX8" fmla="*/ 79984 w 79983"/>
                  <a:gd name="connsiteY8" fmla="*/ 55642 h 62594"/>
                  <a:gd name="connsiteX9" fmla="*/ 73028 w 79983"/>
                  <a:gd name="connsiteY9" fmla="*/ 62595 h 62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983" h="62594">
                    <a:moveTo>
                      <a:pt x="73028" y="62595"/>
                    </a:moveTo>
                    <a:lnTo>
                      <a:pt x="6956" y="62595"/>
                    </a:lnTo>
                    <a:cubicBezTo>
                      <a:pt x="3115" y="62595"/>
                      <a:pt x="0" y="59479"/>
                      <a:pt x="0" y="55639"/>
                    </a:cubicBezTo>
                    <a:lnTo>
                      <a:pt x="0" y="6956"/>
                    </a:lnTo>
                    <a:cubicBezTo>
                      <a:pt x="0" y="3115"/>
                      <a:pt x="3115" y="0"/>
                      <a:pt x="6956" y="0"/>
                    </a:cubicBezTo>
                    <a:cubicBezTo>
                      <a:pt x="10796" y="0"/>
                      <a:pt x="13911" y="3115"/>
                      <a:pt x="13911" y="6956"/>
                    </a:cubicBezTo>
                    <a:lnTo>
                      <a:pt x="13911" y="48686"/>
                    </a:lnTo>
                    <a:lnTo>
                      <a:pt x="73028" y="48686"/>
                    </a:lnTo>
                    <a:cubicBezTo>
                      <a:pt x="76868" y="48686"/>
                      <a:pt x="79984" y="51802"/>
                      <a:pt x="79984" y="55642"/>
                    </a:cubicBezTo>
                    <a:cubicBezTo>
                      <a:pt x="79984" y="59479"/>
                      <a:pt x="76868" y="62595"/>
                      <a:pt x="73028" y="62595"/>
                    </a:cubicBezTo>
                    <a:close/>
                  </a:path>
                </a:pathLst>
              </a:custGeom>
              <a:solidFill>
                <a:schemeClr val="tx2"/>
              </a:solidFill>
              <a:ln w="314" cap="flat">
                <a:noFill/>
                <a:prstDash val="solid"/>
                <a:miter/>
              </a:ln>
            </p:spPr>
            <p:txBody>
              <a:bodyPr rtlCol="0" anchor="ctr"/>
              <a:lstStyle/>
              <a:p>
                <a:endParaRPr lang="en-GB" dirty="0"/>
              </a:p>
            </p:txBody>
          </p:sp>
          <p:sp>
            <p:nvSpPr>
              <p:cNvPr id="88" name="Freihandform: Form 167">
                <a:extLst>
                  <a:ext uri="{FF2B5EF4-FFF2-40B4-BE49-F238E27FC236}">
                    <a16:creationId xmlns:a16="http://schemas.microsoft.com/office/drawing/2014/main" id="{443406A3-59F1-4EAF-B23D-7F50E8682D5C}"/>
                  </a:ext>
                </a:extLst>
              </p:cNvPr>
              <p:cNvSpPr/>
              <p:nvPr/>
            </p:nvSpPr>
            <p:spPr>
              <a:xfrm>
                <a:off x="1814677" y="1850184"/>
                <a:ext cx="23333" cy="35937"/>
              </a:xfrm>
              <a:custGeom>
                <a:avLst/>
                <a:gdLst>
                  <a:gd name="connsiteX0" fmla="*/ 16381 w 23333"/>
                  <a:gd name="connsiteY0" fmla="*/ 35937 h 35937"/>
                  <a:gd name="connsiteX1" fmla="*/ 9983 w 23333"/>
                  <a:gd name="connsiteY1" fmla="*/ 31712 h 35937"/>
                  <a:gd name="connsiteX2" fmla="*/ 562 w 23333"/>
                  <a:gd name="connsiteY2" fmla="*/ 9688 h 35937"/>
                  <a:gd name="connsiteX3" fmla="*/ 4223 w 23333"/>
                  <a:gd name="connsiteY3" fmla="*/ 560 h 35937"/>
                  <a:gd name="connsiteX4" fmla="*/ 13351 w 23333"/>
                  <a:gd name="connsiteY4" fmla="*/ 4221 h 35937"/>
                  <a:gd name="connsiteX5" fmla="*/ 22772 w 23333"/>
                  <a:gd name="connsiteY5" fmla="*/ 26245 h 35937"/>
                  <a:gd name="connsiteX6" fmla="*/ 19111 w 23333"/>
                  <a:gd name="connsiteY6" fmla="*/ 35373 h 35937"/>
                  <a:gd name="connsiteX7" fmla="*/ 16381 w 23333"/>
                  <a:gd name="connsiteY7" fmla="*/ 35937 h 3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33" h="35937">
                    <a:moveTo>
                      <a:pt x="16381" y="35937"/>
                    </a:moveTo>
                    <a:cubicBezTo>
                      <a:pt x="13682" y="35937"/>
                      <a:pt x="11112" y="34355"/>
                      <a:pt x="9983" y="31712"/>
                    </a:cubicBezTo>
                    <a:lnTo>
                      <a:pt x="562" y="9688"/>
                    </a:lnTo>
                    <a:cubicBezTo>
                      <a:pt x="-948" y="6160"/>
                      <a:pt x="691" y="2070"/>
                      <a:pt x="4223" y="560"/>
                    </a:cubicBezTo>
                    <a:cubicBezTo>
                      <a:pt x="7738" y="-944"/>
                      <a:pt x="11837" y="683"/>
                      <a:pt x="13351" y="4221"/>
                    </a:cubicBezTo>
                    <a:lnTo>
                      <a:pt x="22772" y="26245"/>
                    </a:lnTo>
                    <a:cubicBezTo>
                      <a:pt x="24282" y="29773"/>
                      <a:pt x="22643" y="33863"/>
                      <a:pt x="19111" y="35373"/>
                    </a:cubicBezTo>
                    <a:cubicBezTo>
                      <a:pt x="18222" y="35755"/>
                      <a:pt x="17295" y="35937"/>
                      <a:pt x="16381" y="35937"/>
                    </a:cubicBezTo>
                    <a:close/>
                  </a:path>
                </a:pathLst>
              </a:custGeom>
              <a:solidFill>
                <a:schemeClr val="tx2"/>
              </a:solidFill>
              <a:ln w="314" cap="flat">
                <a:noFill/>
                <a:prstDash val="solid"/>
                <a:miter/>
              </a:ln>
            </p:spPr>
            <p:txBody>
              <a:bodyPr rtlCol="0" anchor="ctr"/>
              <a:lstStyle/>
              <a:p>
                <a:endParaRPr lang="en-GB" dirty="0"/>
              </a:p>
            </p:txBody>
          </p:sp>
        </p:grpSp>
        <p:grpSp>
          <p:nvGrpSpPr>
            <p:cNvPr id="75" name="Graphic 25">
              <a:extLst>
                <a:ext uri="{FF2B5EF4-FFF2-40B4-BE49-F238E27FC236}">
                  <a16:creationId xmlns:a16="http://schemas.microsoft.com/office/drawing/2014/main" id="{0C187BB0-ABB0-473C-BE0D-BA170D82DDB3}"/>
                </a:ext>
              </a:extLst>
            </p:cNvPr>
            <p:cNvGrpSpPr/>
            <p:nvPr/>
          </p:nvGrpSpPr>
          <p:grpSpPr>
            <a:xfrm>
              <a:off x="831080" y="1628569"/>
              <a:ext cx="160455" cy="148114"/>
              <a:chOff x="1979264" y="1666748"/>
              <a:chExt cx="180827" cy="166919"/>
            </a:xfrm>
            <a:solidFill>
              <a:schemeClr val="accent1"/>
            </a:solidFill>
          </p:grpSpPr>
          <p:grpSp>
            <p:nvGrpSpPr>
              <p:cNvPr id="76" name="Graphic 25">
                <a:extLst>
                  <a:ext uri="{FF2B5EF4-FFF2-40B4-BE49-F238E27FC236}">
                    <a16:creationId xmlns:a16="http://schemas.microsoft.com/office/drawing/2014/main" id="{B6482D56-C561-4327-8964-5247CDF83A6C}"/>
                  </a:ext>
                </a:extLst>
              </p:cNvPr>
              <p:cNvGrpSpPr/>
              <p:nvPr/>
            </p:nvGrpSpPr>
            <p:grpSpPr>
              <a:xfrm>
                <a:off x="2041853" y="1701521"/>
                <a:ext cx="55642" cy="55640"/>
                <a:chOff x="2041853" y="1701521"/>
                <a:chExt cx="55642" cy="55640"/>
              </a:xfrm>
              <a:solidFill>
                <a:schemeClr val="accent1"/>
              </a:solidFill>
            </p:grpSpPr>
            <p:sp>
              <p:nvSpPr>
                <p:cNvPr id="78" name="Freihandform: Form 170">
                  <a:extLst>
                    <a:ext uri="{FF2B5EF4-FFF2-40B4-BE49-F238E27FC236}">
                      <a16:creationId xmlns:a16="http://schemas.microsoft.com/office/drawing/2014/main" id="{86419571-C98D-46E1-B842-EA6C94A806C9}"/>
                    </a:ext>
                  </a:extLst>
                </p:cNvPr>
                <p:cNvSpPr/>
                <p:nvPr/>
              </p:nvSpPr>
              <p:spPr>
                <a:xfrm>
                  <a:off x="2041853" y="1701521"/>
                  <a:ext cx="55642" cy="55640"/>
                </a:xfrm>
                <a:custGeom>
                  <a:avLst/>
                  <a:gdLst>
                    <a:gd name="connsiteX0" fmla="*/ 48688 w 55642"/>
                    <a:gd name="connsiteY0" fmla="*/ 55640 h 55640"/>
                    <a:gd name="connsiteX1" fmla="*/ 43769 w 55642"/>
                    <a:gd name="connsiteY1" fmla="*/ 53604 h 55640"/>
                    <a:gd name="connsiteX2" fmla="*/ 2038 w 55642"/>
                    <a:gd name="connsiteY2" fmla="*/ 11873 h 55640"/>
                    <a:gd name="connsiteX3" fmla="*/ 2038 w 55642"/>
                    <a:gd name="connsiteY3" fmla="*/ 2038 h 55640"/>
                    <a:gd name="connsiteX4" fmla="*/ 11873 w 55642"/>
                    <a:gd name="connsiteY4" fmla="*/ 2038 h 55640"/>
                    <a:gd name="connsiteX5" fmla="*/ 53604 w 55642"/>
                    <a:gd name="connsiteY5" fmla="*/ 43769 h 55640"/>
                    <a:gd name="connsiteX6" fmla="*/ 53604 w 55642"/>
                    <a:gd name="connsiteY6" fmla="*/ 53604 h 55640"/>
                    <a:gd name="connsiteX7" fmla="*/ 48688 w 55642"/>
                    <a:gd name="connsiteY7" fmla="*/ 55640 h 5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42" h="55640">
                      <a:moveTo>
                        <a:pt x="48688" y="55640"/>
                      </a:moveTo>
                      <a:cubicBezTo>
                        <a:pt x="46910" y="55640"/>
                        <a:pt x="45128" y="54963"/>
                        <a:pt x="43769" y="53604"/>
                      </a:cubicBezTo>
                      <a:lnTo>
                        <a:pt x="2038" y="11873"/>
                      </a:lnTo>
                      <a:cubicBezTo>
                        <a:pt x="-679" y="9155"/>
                        <a:pt x="-679" y="4756"/>
                        <a:pt x="2038" y="2038"/>
                      </a:cubicBezTo>
                      <a:cubicBezTo>
                        <a:pt x="4756" y="-679"/>
                        <a:pt x="9155" y="-679"/>
                        <a:pt x="11873" y="2038"/>
                      </a:cubicBezTo>
                      <a:lnTo>
                        <a:pt x="53604" y="43769"/>
                      </a:lnTo>
                      <a:cubicBezTo>
                        <a:pt x="56322" y="46487"/>
                        <a:pt x="56322" y="50886"/>
                        <a:pt x="53604" y="53604"/>
                      </a:cubicBezTo>
                      <a:cubicBezTo>
                        <a:pt x="52248" y="54963"/>
                        <a:pt x="50466" y="55640"/>
                        <a:pt x="48688" y="55640"/>
                      </a:cubicBezTo>
                      <a:close/>
                    </a:path>
                  </a:pathLst>
                </a:custGeom>
                <a:solidFill>
                  <a:schemeClr val="accent1"/>
                </a:solidFill>
                <a:ln w="314" cap="flat">
                  <a:noFill/>
                  <a:prstDash val="solid"/>
                  <a:miter/>
                </a:ln>
              </p:spPr>
              <p:txBody>
                <a:bodyPr rtlCol="0" anchor="ctr"/>
                <a:lstStyle/>
                <a:p>
                  <a:endParaRPr lang="en-GB" dirty="0"/>
                </a:p>
              </p:txBody>
            </p:sp>
            <p:sp>
              <p:nvSpPr>
                <p:cNvPr id="79" name="Freihandform: Form 171">
                  <a:extLst>
                    <a:ext uri="{FF2B5EF4-FFF2-40B4-BE49-F238E27FC236}">
                      <a16:creationId xmlns:a16="http://schemas.microsoft.com/office/drawing/2014/main" id="{0AA75BB7-B106-4188-ADED-A2D13AB227EE}"/>
                    </a:ext>
                  </a:extLst>
                </p:cNvPr>
                <p:cNvSpPr/>
                <p:nvPr/>
              </p:nvSpPr>
              <p:spPr>
                <a:xfrm>
                  <a:off x="2041853" y="1701521"/>
                  <a:ext cx="55642" cy="55640"/>
                </a:xfrm>
                <a:custGeom>
                  <a:avLst/>
                  <a:gdLst>
                    <a:gd name="connsiteX0" fmla="*/ 6957 w 55642"/>
                    <a:gd name="connsiteY0" fmla="*/ 55640 h 55640"/>
                    <a:gd name="connsiteX1" fmla="*/ 2038 w 55642"/>
                    <a:gd name="connsiteY1" fmla="*/ 53604 h 55640"/>
                    <a:gd name="connsiteX2" fmla="*/ 2038 w 55642"/>
                    <a:gd name="connsiteY2" fmla="*/ 43769 h 55640"/>
                    <a:gd name="connsiteX3" fmla="*/ 43769 w 55642"/>
                    <a:gd name="connsiteY3" fmla="*/ 2038 h 55640"/>
                    <a:gd name="connsiteX4" fmla="*/ 53604 w 55642"/>
                    <a:gd name="connsiteY4" fmla="*/ 2038 h 55640"/>
                    <a:gd name="connsiteX5" fmla="*/ 53604 w 55642"/>
                    <a:gd name="connsiteY5" fmla="*/ 11873 h 55640"/>
                    <a:gd name="connsiteX6" fmla="*/ 11873 w 55642"/>
                    <a:gd name="connsiteY6" fmla="*/ 53604 h 55640"/>
                    <a:gd name="connsiteX7" fmla="*/ 6957 w 55642"/>
                    <a:gd name="connsiteY7" fmla="*/ 55640 h 5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642" h="55640">
                      <a:moveTo>
                        <a:pt x="6957" y="55640"/>
                      </a:moveTo>
                      <a:cubicBezTo>
                        <a:pt x="5179" y="55640"/>
                        <a:pt x="3397" y="54963"/>
                        <a:pt x="2038" y="53604"/>
                      </a:cubicBezTo>
                      <a:cubicBezTo>
                        <a:pt x="-679" y="50886"/>
                        <a:pt x="-679" y="46487"/>
                        <a:pt x="2038" y="43769"/>
                      </a:cubicBezTo>
                      <a:lnTo>
                        <a:pt x="43769" y="2038"/>
                      </a:lnTo>
                      <a:cubicBezTo>
                        <a:pt x="46487" y="-679"/>
                        <a:pt x="50889" y="-679"/>
                        <a:pt x="53604" y="2038"/>
                      </a:cubicBezTo>
                      <a:cubicBezTo>
                        <a:pt x="56322" y="4756"/>
                        <a:pt x="56322" y="9155"/>
                        <a:pt x="53604" y="11873"/>
                      </a:cubicBezTo>
                      <a:lnTo>
                        <a:pt x="11873" y="53604"/>
                      </a:lnTo>
                      <a:cubicBezTo>
                        <a:pt x="10517" y="54963"/>
                        <a:pt x="8739" y="55640"/>
                        <a:pt x="6957" y="55640"/>
                      </a:cubicBezTo>
                      <a:close/>
                    </a:path>
                  </a:pathLst>
                </a:custGeom>
                <a:solidFill>
                  <a:schemeClr val="accent1"/>
                </a:solidFill>
                <a:ln w="314" cap="flat">
                  <a:noFill/>
                  <a:prstDash val="solid"/>
                  <a:miter/>
                </a:ln>
              </p:spPr>
              <p:txBody>
                <a:bodyPr rtlCol="0" anchor="ctr"/>
                <a:lstStyle/>
                <a:p>
                  <a:endParaRPr lang="en-GB" dirty="0"/>
                </a:p>
              </p:txBody>
            </p:sp>
          </p:grpSp>
          <p:sp>
            <p:nvSpPr>
              <p:cNvPr id="77" name="Freihandform: Form 172">
                <a:extLst>
                  <a:ext uri="{FF2B5EF4-FFF2-40B4-BE49-F238E27FC236}">
                    <a16:creationId xmlns:a16="http://schemas.microsoft.com/office/drawing/2014/main" id="{FC65F31E-D1E4-4979-9309-D336EF3D3EFB}"/>
                  </a:ext>
                </a:extLst>
              </p:cNvPr>
              <p:cNvSpPr/>
              <p:nvPr/>
            </p:nvSpPr>
            <p:spPr>
              <a:xfrm>
                <a:off x="1979264" y="1666748"/>
                <a:ext cx="180827" cy="166919"/>
              </a:xfrm>
              <a:custGeom>
                <a:avLst/>
                <a:gdLst>
                  <a:gd name="connsiteX0" fmla="*/ 55639 w 180827"/>
                  <a:gd name="connsiteY0" fmla="*/ 166920 h 166919"/>
                  <a:gd name="connsiteX1" fmla="*/ 52732 w 180827"/>
                  <a:gd name="connsiteY1" fmla="*/ 166286 h 166919"/>
                  <a:gd name="connsiteX2" fmla="*/ 48683 w 180827"/>
                  <a:gd name="connsiteY2" fmla="*/ 159967 h 166919"/>
                  <a:gd name="connsiteX3" fmla="*/ 48683 w 180827"/>
                  <a:gd name="connsiteY3" fmla="*/ 125189 h 166919"/>
                  <a:gd name="connsiteX4" fmla="*/ 20864 w 180827"/>
                  <a:gd name="connsiteY4" fmla="*/ 125189 h 166919"/>
                  <a:gd name="connsiteX5" fmla="*/ 0 w 180827"/>
                  <a:gd name="connsiteY5" fmla="*/ 104325 h 166919"/>
                  <a:gd name="connsiteX6" fmla="*/ 0 w 180827"/>
                  <a:gd name="connsiteY6" fmla="*/ 20864 h 166919"/>
                  <a:gd name="connsiteX7" fmla="*/ 20864 w 180827"/>
                  <a:gd name="connsiteY7" fmla="*/ 0 h 166919"/>
                  <a:gd name="connsiteX8" fmla="*/ 159964 w 180827"/>
                  <a:gd name="connsiteY8" fmla="*/ 0 h 166919"/>
                  <a:gd name="connsiteX9" fmla="*/ 180828 w 180827"/>
                  <a:gd name="connsiteY9" fmla="*/ 20864 h 166919"/>
                  <a:gd name="connsiteX10" fmla="*/ 180828 w 180827"/>
                  <a:gd name="connsiteY10" fmla="*/ 104325 h 166919"/>
                  <a:gd name="connsiteX11" fmla="*/ 159964 w 180827"/>
                  <a:gd name="connsiteY11" fmla="*/ 125189 h 166919"/>
                  <a:gd name="connsiteX12" fmla="*/ 106898 w 180827"/>
                  <a:gd name="connsiteY12" fmla="*/ 125189 h 166919"/>
                  <a:gd name="connsiteX13" fmla="*/ 60167 w 180827"/>
                  <a:gd name="connsiteY13" fmla="*/ 165246 h 166919"/>
                  <a:gd name="connsiteX14" fmla="*/ 55639 w 180827"/>
                  <a:gd name="connsiteY14" fmla="*/ 166920 h 166919"/>
                  <a:gd name="connsiteX15" fmla="*/ 20864 w 180827"/>
                  <a:gd name="connsiteY15" fmla="*/ 13908 h 166919"/>
                  <a:gd name="connsiteX16" fmla="*/ 13908 w 180827"/>
                  <a:gd name="connsiteY16" fmla="*/ 20864 h 166919"/>
                  <a:gd name="connsiteX17" fmla="*/ 13908 w 180827"/>
                  <a:gd name="connsiteY17" fmla="*/ 104325 h 166919"/>
                  <a:gd name="connsiteX18" fmla="*/ 20864 w 180827"/>
                  <a:gd name="connsiteY18" fmla="*/ 111281 h 166919"/>
                  <a:gd name="connsiteX19" fmla="*/ 55639 w 180827"/>
                  <a:gd name="connsiteY19" fmla="*/ 111281 h 166919"/>
                  <a:gd name="connsiteX20" fmla="*/ 62595 w 180827"/>
                  <a:gd name="connsiteY20" fmla="*/ 118237 h 166919"/>
                  <a:gd name="connsiteX21" fmla="*/ 62595 w 180827"/>
                  <a:gd name="connsiteY21" fmla="*/ 144845 h 166919"/>
                  <a:gd name="connsiteX22" fmla="*/ 99797 w 180827"/>
                  <a:gd name="connsiteY22" fmla="*/ 112958 h 166919"/>
                  <a:gd name="connsiteX23" fmla="*/ 104325 w 180827"/>
                  <a:gd name="connsiteY23" fmla="*/ 111284 h 166919"/>
                  <a:gd name="connsiteX24" fmla="*/ 159964 w 180827"/>
                  <a:gd name="connsiteY24" fmla="*/ 111284 h 166919"/>
                  <a:gd name="connsiteX25" fmla="*/ 166920 w 180827"/>
                  <a:gd name="connsiteY25" fmla="*/ 104328 h 166919"/>
                  <a:gd name="connsiteX26" fmla="*/ 166920 w 180827"/>
                  <a:gd name="connsiteY26" fmla="*/ 20864 h 166919"/>
                  <a:gd name="connsiteX27" fmla="*/ 159964 w 180827"/>
                  <a:gd name="connsiteY27" fmla="*/ 13908 h 166919"/>
                  <a:gd name="connsiteX28" fmla="*/ 20864 w 180827"/>
                  <a:gd name="connsiteY28" fmla="*/ 13908 h 16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80827" h="166919">
                    <a:moveTo>
                      <a:pt x="55639" y="166920"/>
                    </a:moveTo>
                    <a:cubicBezTo>
                      <a:pt x="54655" y="166920"/>
                      <a:pt x="53662" y="166712"/>
                      <a:pt x="52732" y="166286"/>
                    </a:cubicBezTo>
                    <a:cubicBezTo>
                      <a:pt x="50266" y="165148"/>
                      <a:pt x="48683" y="162682"/>
                      <a:pt x="48683" y="159967"/>
                    </a:cubicBezTo>
                    <a:lnTo>
                      <a:pt x="48683" y="125189"/>
                    </a:lnTo>
                    <a:lnTo>
                      <a:pt x="20864" y="125189"/>
                    </a:lnTo>
                    <a:cubicBezTo>
                      <a:pt x="9358" y="125189"/>
                      <a:pt x="0" y="115831"/>
                      <a:pt x="0" y="104325"/>
                    </a:cubicBezTo>
                    <a:lnTo>
                      <a:pt x="0" y="20864"/>
                    </a:lnTo>
                    <a:cubicBezTo>
                      <a:pt x="0" y="9358"/>
                      <a:pt x="9358" y="0"/>
                      <a:pt x="20864" y="0"/>
                    </a:cubicBezTo>
                    <a:lnTo>
                      <a:pt x="159964" y="0"/>
                    </a:lnTo>
                    <a:cubicBezTo>
                      <a:pt x="171470" y="0"/>
                      <a:pt x="180828" y="9358"/>
                      <a:pt x="180828" y="20864"/>
                    </a:cubicBezTo>
                    <a:lnTo>
                      <a:pt x="180828" y="104325"/>
                    </a:lnTo>
                    <a:cubicBezTo>
                      <a:pt x="180828" y="115831"/>
                      <a:pt x="171470" y="125189"/>
                      <a:pt x="159964" y="125189"/>
                    </a:cubicBezTo>
                    <a:lnTo>
                      <a:pt x="106898" y="125189"/>
                    </a:lnTo>
                    <a:lnTo>
                      <a:pt x="60167" y="165246"/>
                    </a:lnTo>
                    <a:cubicBezTo>
                      <a:pt x="58877" y="166346"/>
                      <a:pt x="57269" y="166920"/>
                      <a:pt x="55639" y="166920"/>
                    </a:cubicBezTo>
                    <a:close/>
                    <a:moveTo>
                      <a:pt x="20864" y="13908"/>
                    </a:moveTo>
                    <a:cubicBezTo>
                      <a:pt x="17030" y="13908"/>
                      <a:pt x="13908" y="17030"/>
                      <a:pt x="13908" y="20864"/>
                    </a:cubicBezTo>
                    <a:lnTo>
                      <a:pt x="13908" y="104325"/>
                    </a:lnTo>
                    <a:cubicBezTo>
                      <a:pt x="13908" y="108159"/>
                      <a:pt x="17030" y="111281"/>
                      <a:pt x="20864" y="111281"/>
                    </a:cubicBezTo>
                    <a:lnTo>
                      <a:pt x="55639" y="111281"/>
                    </a:lnTo>
                    <a:cubicBezTo>
                      <a:pt x="59479" y="111281"/>
                      <a:pt x="62595" y="114396"/>
                      <a:pt x="62595" y="118237"/>
                    </a:cubicBezTo>
                    <a:lnTo>
                      <a:pt x="62595" y="144845"/>
                    </a:lnTo>
                    <a:lnTo>
                      <a:pt x="99797" y="112958"/>
                    </a:lnTo>
                    <a:cubicBezTo>
                      <a:pt x="101059" y="111877"/>
                      <a:pt x="102664" y="111284"/>
                      <a:pt x="104325" y="111284"/>
                    </a:cubicBezTo>
                    <a:lnTo>
                      <a:pt x="159964" y="111284"/>
                    </a:lnTo>
                    <a:cubicBezTo>
                      <a:pt x="163798" y="111284"/>
                      <a:pt x="166920" y="108163"/>
                      <a:pt x="166920" y="104328"/>
                    </a:cubicBezTo>
                    <a:lnTo>
                      <a:pt x="166920" y="20864"/>
                    </a:lnTo>
                    <a:cubicBezTo>
                      <a:pt x="166920" y="17030"/>
                      <a:pt x="163798" y="13908"/>
                      <a:pt x="159964" y="13908"/>
                    </a:cubicBezTo>
                    <a:lnTo>
                      <a:pt x="20864" y="13908"/>
                    </a:lnTo>
                    <a:close/>
                  </a:path>
                </a:pathLst>
              </a:custGeom>
              <a:solidFill>
                <a:schemeClr val="accent1"/>
              </a:solidFill>
              <a:ln w="314" cap="flat">
                <a:noFill/>
                <a:prstDash val="solid"/>
                <a:miter/>
              </a:ln>
            </p:spPr>
            <p:txBody>
              <a:bodyPr rtlCol="0" anchor="ctr"/>
              <a:lstStyle/>
              <a:p>
                <a:endParaRPr lang="en-GB" dirty="0"/>
              </a:p>
            </p:txBody>
          </p:sp>
        </p:grpSp>
      </p:grpSp>
      <p:grpSp>
        <p:nvGrpSpPr>
          <p:cNvPr id="94" name="Gruppieren 516">
            <a:extLst>
              <a:ext uri="{FF2B5EF4-FFF2-40B4-BE49-F238E27FC236}">
                <a16:creationId xmlns:a16="http://schemas.microsoft.com/office/drawing/2014/main" id="{80070998-5FFC-40A6-95A7-FE17911DC084}"/>
              </a:ext>
            </a:extLst>
          </p:cNvPr>
          <p:cNvGrpSpPr>
            <a:grpSpLocks noChangeAspect="1"/>
          </p:cNvGrpSpPr>
          <p:nvPr/>
        </p:nvGrpSpPr>
        <p:grpSpPr>
          <a:xfrm>
            <a:off x="3756076" y="1593084"/>
            <a:ext cx="402553" cy="432000"/>
            <a:chOff x="3525558" y="2577846"/>
            <a:chExt cx="359366" cy="385654"/>
          </a:xfrm>
          <a:solidFill>
            <a:schemeClr val="tx2"/>
          </a:solidFill>
        </p:grpSpPr>
        <p:grpSp>
          <p:nvGrpSpPr>
            <p:cNvPr id="95" name="Graphic 25">
              <a:extLst>
                <a:ext uri="{FF2B5EF4-FFF2-40B4-BE49-F238E27FC236}">
                  <a16:creationId xmlns:a16="http://schemas.microsoft.com/office/drawing/2014/main" id="{8BB0C597-FDB0-4C74-9BC0-43BB2CE3616A}"/>
                </a:ext>
              </a:extLst>
            </p:cNvPr>
            <p:cNvGrpSpPr/>
            <p:nvPr/>
          </p:nvGrpSpPr>
          <p:grpSpPr>
            <a:xfrm>
              <a:off x="3587513" y="2588126"/>
              <a:ext cx="297411" cy="375374"/>
              <a:chOff x="3587513" y="2588126"/>
              <a:chExt cx="297411" cy="375374"/>
            </a:xfrm>
            <a:grpFill/>
          </p:grpSpPr>
          <p:sp>
            <p:nvSpPr>
              <p:cNvPr id="97" name="Freihandform: Form 35">
                <a:extLst>
                  <a:ext uri="{FF2B5EF4-FFF2-40B4-BE49-F238E27FC236}">
                    <a16:creationId xmlns:a16="http://schemas.microsoft.com/office/drawing/2014/main" id="{AF73C262-028F-4790-BD67-A776CBF2FE24}"/>
                  </a:ext>
                </a:extLst>
              </p:cNvPr>
              <p:cNvSpPr/>
              <p:nvPr/>
            </p:nvSpPr>
            <p:spPr>
              <a:xfrm>
                <a:off x="3593365" y="2750811"/>
                <a:ext cx="291559" cy="212689"/>
              </a:xfrm>
              <a:custGeom>
                <a:avLst/>
                <a:gdLst>
                  <a:gd name="connsiteX0" fmla="*/ 87879 w 291559"/>
                  <a:gd name="connsiteY0" fmla="*/ 212690 h 212689"/>
                  <a:gd name="connsiteX1" fmla="*/ 78145 w 291559"/>
                  <a:gd name="connsiteY1" fmla="*/ 209672 h 212689"/>
                  <a:gd name="connsiteX2" fmla="*/ 70483 w 291559"/>
                  <a:gd name="connsiteY2" fmla="*/ 196940 h 212689"/>
                  <a:gd name="connsiteX3" fmla="*/ 61245 w 291559"/>
                  <a:gd name="connsiteY3" fmla="*/ 113996 h 212689"/>
                  <a:gd name="connsiteX4" fmla="*/ 45149 w 291559"/>
                  <a:gd name="connsiteY4" fmla="*/ 76865 h 212689"/>
                  <a:gd name="connsiteX5" fmla="*/ 17282 w 291559"/>
                  <a:gd name="connsiteY5" fmla="*/ 57398 h 212689"/>
                  <a:gd name="connsiteX6" fmla="*/ 6552 w 291559"/>
                  <a:gd name="connsiteY6" fmla="*/ 56774 h 212689"/>
                  <a:gd name="connsiteX7" fmla="*/ 12 w 291559"/>
                  <a:gd name="connsiteY7" fmla="*/ 49424 h 212689"/>
                  <a:gd name="connsiteX8" fmla="*/ 7356 w 291559"/>
                  <a:gd name="connsiteY8" fmla="*/ 42885 h 212689"/>
                  <a:gd name="connsiteX9" fmla="*/ 18095 w 291559"/>
                  <a:gd name="connsiteY9" fmla="*/ 43509 h 212689"/>
                  <a:gd name="connsiteX10" fmla="*/ 57909 w 291559"/>
                  <a:gd name="connsiteY10" fmla="*/ 71329 h 212689"/>
                  <a:gd name="connsiteX11" fmla="*/ 74964 w 291559"/>
                  <a:gd name="connsiteY11" fmla="*/ 111413 h 212689"/>
                  <a:gd name="connsiteX12" fmla="*/ 84316 w 291559"/>
                  <a:gd name="connsiteY12" fmla="*/ 195401 h 212689"/>
                  <a:gd name="connsiteX13" fmla="*/ 85981 w 291559"/>
                  <a:gd name="connsiteY13" fmla="*/ 198176 h 212689"/>
                  <a:gd name="connsiteX14" fmla="*/ 88699 w 291559"/>
                  <a:gd name="connsiteY14" fmla="*/ 198668 h 212689"/>
                  <a:gd name="connsiteX15" fmla="*/ 125611 w 291559"/>
                  <a:gd name="connsiteY15" fmla="*/ 136206 h 212689"/>
                  <a:gd name="connsiteX16" fmla="*/ 125946 w 291559"/>
                  <a:gd name="connsiteY16" fmla="*/ 65395 h 212689"/>
                  <a:gd name="connsiteX17" fmla="*/ 125586 w 291559"/>
                  <a:gd name="connsiteY17" fmla="*/ 58313 h 212689"/>
                  <a:gd name="connsiteX18" fmla="*/ 146321 w 291559"/>
                  <a:gd name="connsiteY18" fmla="*/ 57657 h 212689"/>
                  <a:gd name="connsiteX19" fmla="*/ 257226 w 291559"/>
                  <a:gd name="connsiteY19" fmla="*/ 55573 h 212689"/>
                  <a:gd name="connsiteX20" fmla="*/ 277623 w 291559"/>
                  <a:gd name="connsiteY20" fmla="*/ 35311 h 212689"/>
                  <a:gd name="connsiteX21" fmla="*/ 273269 w 291559"/>
                  <a:gd name="connsiteY21" fmla="*/ 21406 h 212689"/>
                  <a:gd name="connsiteX22" fmla="*/ 248294 w 291559"/>
                  <a:gd name="connsiteY22" fmla="*/ 13911 h 212689"/>
                  <a:gd name="connsiteX23" fmla="*/ 241338 w 291559"/>
                  <a:gd name="connsiteY23" fmla="*/ 6956 h 212689"/>
                  <a:gd name="connsiteX24" fmla="*/ 248294 w 291559"/>
                  <a:gd name="connsiteY24" fmla="*/ 0 h 212689"/>
                  <a:gd name="connsiteX25" fmla="*/ 283293 w 291559"/>
                  <a:gd name="connsiteY25" fmla="*/ 11764 h 212689"/>
                  <a:gd name="connsiteX26" fmla="*/ 291525 w 291559"/>
                  <a:gd name="connsiteY26" fmla="*/ 35582 h 212689"/>
                  <a:gd name="connsiteX27" fmla="*/ 257356 w 291559"/>
                  <a:gd name="connsiteY27" fmla="*/ 69481 h 212689"/>
                  <a:gd name="connsiteX28" fmla="*/ 140153 w 291559"/>
                  <a:gd name="connsiteY28" fmla="*/ 71767 h 212689"/>
                  <a:gd name="connsiteX29" fmla="*/ 139507 w 291559"/>
                  <a:gd name="connsiteY29" fmla="*/ 136754 h 212689"/>
                  <a:gd name="connsiteX30" fmla="*/ 92337 w 291559"/>
                  <a:gd name="connsiteY30" fmla="*/ 212094 h 212689"/>
                  <a:gd name="connsiteX31" fmla="*/ 87879 w 291559"/>
                  <a:gd name="connsiteY31" fmla="*/ 212690 h 212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91559" h="212689">
                    <a:moveTo>
                      <a:pt x="87879" y="212690"/>
                    </a:moveTo>
                    <a:cubicBezTo>
                      <a:pt x="84454" y="212690"/>
                      <a:pt x="81059" y="211659"/>
                      <a:pt x="78145" y="209672"/>
                    </a:cubicBezTo>
                    <a:cubicBezTo>
                      <a:pt x="73848" y="206746"/>
                      <a:pt x="71054" y="202105"/>
                      <a:pt x="70483" y="196940"/>
                    </a:cubicBezTo>
                    <a:lnTo>
                      <a:pt x="61245" y="113996"/>
                    </a:lnTo>
                    <a:lnTo>
                      <a:pt x="45149" y="76865"/>
                    </a:lnTo>
                    <a:cubicBezTo>
                      <a:pt x="40245" y="65574"/>
                      <a:pt x="29566" y="58117"/>
                      <a:pt x="17282" y="57398"/>
                    </a:cubicBezTo>
                    <a:lnTo>
                      <a:pt x="6552" y="56774"/>
                    </a:lnTo>
                    <a:cubicBezTo>
                      <a:pt x="2715" y="56550"/>
                      <a:pt x="-215" y="53258"/>
                      <a:pt x="12" y="49424"/>
                    </a:cubicBezTo>
                    <a:cubicBezTo>
                      <a:pt x="230" y="45587"/>
                      <a:pt x="3578" y="42696"/>
                      <a:pt x="7356" y="42885"/>
                    </a:cubicBezTo>
                    <a:lnTo>
                      <a:pt x="18095" y="43509"/>
                    </a:lnTo>
                    <a:cubicBezTo>
                      <a:pt x="35661" y="44534"/>
                      <a:pt x="50912" y="55194"/>
                      <a:pt x="57909" y="71329"/>
                    </a:cubicBezTo>
                    <a:lnTo>
                      <a:pt x="74964" y="111413"/>
                    </a:lnTo>
                    <a:lnTo>
                      <a:pt x="84316" y="195401"/>
                    </a:lnTo>
                    <a:cubicBezTo>
                      <a:pt x="84439" y="196530"/>
                      <a:pt x="85041" y="197536"/>
                      <a:pt x="85981" y="198176"/>
                    </a:cubicBezTo>
                    <a:cubicBezTo>
                      <a:pt x="86570" y="198577"/>
                      <a:pt x="87529" y="198999"/>
                      <a:pt x="88699" y="198668"/>
                    </a:cubicBezTo>
                    <a:cubicBezTo>
                      <a:pt x="102276" y="194995"/>
                      <a:pt x="124993" y="188840"/>
                      <a:pt x="125611" y="136206"/>
                    </a:cubicBezTo>
                    <a:cubicBezTo>
                      <a:pt x="125652" y="135490"/>
                      <a:pt x="127831" y="102455"/>
                      <a:pt x="125946" y="65395"/>
                    </a:cubicBezTo>
                    <a:lnTo>
                      <a:pt x="125586" y="58313"/>
                    </a:lnTo>
                    <a:lnTo>
                      <a:pt x="146321" y="57657"/>
                    </a:lnTo>
                    <a:lnTo>
                      <a:pt x="257226" y="55573"/>
                    </a:lnTo>
                    <a:cubicBezTo>
                      <a:pt x="268527" y="55573"/>
                      <a:pt x="277623" y="46486"/>
                      <a:pt x="277623" y="35311"/>
                    </a:cubicBezTo>
                    <a:cubicBezTo>
                      <a:pt x="277860" y="29153"/>
                      <a:pt x="276435" y="24692"/>
                      <a:pt x="273269" y="21406"/>
                    </a:cubicBezTo>
                    <a:cubicBezTo>
                      <a:pt x="267001" y="14886"/>
                      <a:pt x="254931" y="13911"/>
                      <a:pt x="248294" y="13911"/>
                    </a:cubicBezTo>
                    <a:cubicBezTo>
                      <a:pt x="244450" y="13911"/>
                      <a:pt x="241338" y="10796"/>
                      <a:pt x="241338" y="6956"/>
                    </a:cubicBezTo>
                    <a:cubicBezTo>
                      <a:pt x="241338" y="3115"/>
                      <a:pt x="244450" y="0"/>
                      <a:pt x="248294" y="0"/>
                    </a:cubicBezTo>
                    <a:cubicBezTo>
                      <a:pt x="259099" y="0"/>
                      <a:pt x="273941" y="2040"/>
                      <a:pt x="283293" y="11764"/>
                    </a:cubicBezTo>
                    <a:cubicBezTo>
                      <a:pt x="289135" y="17837"/>
                      <a:pt x="291904" y="25852"/>
                      <a:pt x="291525" y="35582"/>
                    </a:cubicBezTo>
                    <a:cubicBezTo>
                      <a:pt x="291531" y="54151"/>
                      <a:pt x="276202" y="69481"/>
                      <a:pt x="257356" y="69481"/>
                    </a:cubicBezTo>
                    <a:lnTo>
                      <a:pt x="140153" y="71767"/>
                    </a:lnTo>
                    <a:cubicBezTo>
                      <a:pt x="141490" y="106718"/>
                      <a:pt x="139529" y="136439"/>
                      <a:pt x="139507" y="136754"/>
                    </a:cubicBezTo>
                    <a:cubicBezTo>
                      <a:pt x="138867" y="192015"/>
                      <a:pt x="115301" y="205873"/>
                      <a:pt x="92337" y="212094"/>
                    </a:cubicBezTo>
                    <a:cubicBezTo>
                      <a:pt x="90868" y="212494"/>
                      <a:pt x="89373" y="212690"/>
                      <a:pt x="87879" y="212690"/>
                    </a:cubicBezTo>
                    <a:close/>
                  </a:path>
                </a:pathLst>
              </a:custGeom>
              <a:grpFill/>
              <a:ln w="314" cap="flat">
                <a:noFill/>
                <a:prstDash val="solid"/>
                <a:miter/>
              </a:ln>
            </p:spPr>
            <p:txBody>
              <a:bodyPr rtlCol="0" anchor="ctr"/>
              <a:lstStyle/>
              <a:p>
                <a:endParaRPr lang="en-GB" dirty="0"/>
              </a:p>
            </p:txBody>
          </p:sp>
          <p:sp>
            <p:nvSpPr>
              <p:cNvPr id="98" name="Freihandform: Form 36">
                <a:extLst>
                  <a:ext uri="{FF2B5EF4-FFF2-40B4-BE49-F238E27FC236}">
                    <a16:creationId xmlns:a16="http://schemas.microsoft.com/office/drawing/2014/main" id="{874C0D1F-925E-4728-8543-B35805E35929}"/>
                  </a:ext>
                </a:extLst>
              </p:cNvPr>
              <p:cNvSpPr/>
              <p:nvPr/>
            </p:nvSpPr>
            <p:spPr>
              <a:xfrm>
                <a:off x="3832875" y="2696833"/>
                <a:ext cx="46592" cy="67888"/>
              </a:xfrm>
              <a:custGeom>
                <a:avLst/>
                <a:gdLst>
                  <a:gd name="connsiteX0" fmla="*/ 8781 w 46592"/>
                  <a:gd name="connsiteY0" fmla="*/ 67889 h 67888"/>
                  <a:gd name="connsiteX1" fmla="*/ 1826 w 46592"/>
                  <a:gd name="connsiteY1" fmla="*/ 60933 h 67888"/>
                  <a:gd name="connsiteX2" fmla="*/ 8781 w 46592"/>
                  <a:gd name="connsiteY2" fmla="*/ 53977 h 67888"/>
                  <a:gd name="connsiteX3" fmla="*/ 32662 w 46592"/>
                  <a:gd name="connsiteY3" fmla="*/ 34173 h 67888"/>
                  <a:gd name="connsiteX4" fmla="*/ 28378 w 46592"/>
                  <a:gd name="connsiteY4" fmla="*/ 21053 h 67888"/>
                  <a:gd name="connsiteX5" fmla="*/ 6956 w 46592"/>
                  <a:gd name="connsiteY5" fmla="*/ 13911 h 67888"/>
                  <a:gd name="connsiteX6" fmla="*/ 0 w 46592"/>
                  <a:gd name="connsiteY6" fmla="*/ 6956 h 67888"/>
                  <a:gd name="connsiteX7" fmla="*/ 6956 w 46592"/>
                  <a:gd name="connsiteY7" fmla="*/ 0 h 67888"/>
                  <a:gd name="connsiteX8" fmla="*/ 38395 w 46592"/>
                  <a:gd name="connsiteY8" fmla="*/ 11405 h 67888"/>
                  <a:gd name="connsiteX9" fmla="*/ 46564 w 46592"/>
                  <a:gd name="connsiteY9" fmla="*/ 34438 h 67888"/>
                  <a:gd name="connsiteX10" fmla="*/ 8781 w 46592"/>
                  <a:gd name="connsiteY10" fmla="*/ 67889 h 6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92" h="67888">
                    <a:moveTo>
                      <a:pt x="8781" y="67889"/>
                    </a:moveTo>
                    <a:cubicBezTo>
                      <a:pt x="4938" y="67889"/>
                      <a:pt x="1826" y="64773"/>
                      <a:pt x="1826" y="60933"/>
                    </a:cubicBezTo>
                    <a:cubicBezTo>
                      <a:pt x="1826" y="57092"/>
                      <a:pt x="4938" y="53977"/>
                      <a:pt x="8781" y="53977"/>
                    </a:cubicBezTo>
                    <a:cubicBezTo>
                      <a:pt x="19826" y="53977"/>
                      <a:pt x="32662" y="45325"/>
                      <a:pt x="32662" y="34173"/>
                    </a:cubicBezTo>
                    <a:cubicBezTo>
                      <a:pt x="32874" y="28472"/>
                      <a:pt x="31467" y="24266"/>
                      <a:pt x="28378" y="21053"/>
                    </a:cubicBezTo>
                    <a:cubicBezTo>
                      <a:pt x="24070" y="16582"/>
                      <a:pt x="16065" y="13911"/>
                      <a:pt x="6956" y="13911"/>
                    </a:cubicBezTo>
                    <a:cubicBezTo>
                      <a:pt x="3112" y="13911"/>
                      <a:pt x="0" y="10796"/>
                      <a:pt x="0" y="6956"/>
                    </a:cubicBezTo>
                    <a:cubicBezTo>
                      <a:pt x="0" y="3115"/>
                      <a:pt x="3112" y="0"/>
                      <a:pt x="6956" y="0"/>
                    </a:cubicBezTo>
                    <a:cubicBezTo>
                      <a:pt x="19962" y="0"/>
                      <a:pt x="31420" y="4156"/>
                      <a:pt x="38395" y="11405"/>
                    </a:cubicBezTo>
                    <a:cubicBezTo>
                      <a:pt x="44086" y="17317"/>
                      <a:pt x="46911" y="25281"/>
                      <a:pt x="46564" y="34438"/>
                    </a:cubicBezTo>
                    <a:cubicBezTo>
                      <a:pt x="46574" y="54043"/>
                      <a:pt x="26659" y="67889"/>
                      <a:pt x="8781" y="67889"/>
                    </a:cubicBezTo>
                    <a:close/>
                  </a:path>
                </a:pathLst>
              </a:custGeom>
              <a:grpFill/>
              <a:ln w="314" cap="flat">
                <a:noFill/>
                <a:prstDash val="solid"/>
                <a:miter/>
              </a:ln>
            </p:spPr>
            <p:txBody>
              <a:bodyPr rtlCol="0" anchor="ctr"/>
              <a:lstStyle/>
              <a:p>
                <a:endParaRPr lang="en-GB" dirty="0"/>
              </a:p>
            </p:txBody>
          </p:sp>
          <p:sp>
            <p:nvSpPr>
              <p:cNvPr id="99" name="Freihandform: Form 37">
                <a:extLst>
                  <a:ext uri="{FF2B5EF4-FFF2-40B4-BE49-F238E27FC236}">
                    <a16:creationId xmlns:a16="http://schemas.microsoft.com/office/drawing/2014/main" id="{4A72115D-C7DF-4DB6-80F8-5E34685271DC}"/>
                  </a:ext>
                </a:extLst>
              </p:cNvPr>
              <p:cNvSpPr/>
              <p:nvPr/>
            </p:nvSpPr>
            <p:spPr>
              <a:xfrm>
                <a:off x="3587513" y="2588126"/>
                <a:ext cx="286490" cy="122622"/>
              </a:xfrm>
              <a:custGeom>
                <a:avLst/>
                <a:gdLst>
                  <a:gd name="connsiteX0" fmla="*/ 252317 w 286490"/>
                  <a:gd name="connsiteY0" fmla="*/ 122622 h 122622"/>
                  <a:gd name="connsiteX1" fmla="*/ 245362 w 286490"/>
                  <a:gd name="connsiteY1" fmla="*/ 115667 h 122622"/>
                  <a:gd name="connsiteX2" fmla="*/ 252317 w 286490"/>
                  <a:gd name="connsiteY2" fmla="*/ 108711 h 122622"/>
                  <a:gd name="connsiteX3" fmla="*/ 272585 w 286490"/>
                  <a:gd name="connsiteY3" fmla="*/ 88446 h 122622"/>
                  <a:gd name="connsiteX4" fmla="*/ 253206 w 286490"/>
                  <a:gd name="connsiteY4" fmla="*/ 67321 h 122622"/>
                  <a:gd name="connsiteX5" fmla="*/ 246875 w 286490"/>
                  <a:gd name="connsiteY5" fmla="*/ 67504 h 122622"/>
                  <a:gd name="connsiteX6" fmla="*/ 246645 w 286490"/>
                  <a:gd name="connsiteY6" fmla="*/ 53599 h 122622"/>
                  <a:gd name="connsiteX7" fmla="*/ 252106 w 286490"/>
                  <a:gd name="connsiteY7" fmla="*/ 53416 h 122622"/>
                  <a:gd name="connsiteX8" fmla="*/ 267285 w 286490"/>
                  <a:gd name="connsiteY8" fmla="*/ 36528 h 122622"/>
                  <a:gd name="connsiteX9" fmla="*/ 245157 w 286490"/>
                  <a:gd name="connsiteY9" fmla="*/ 16043 h 122622"/>
                  <a:gd name="connsiteX10" fmla="*/ 111029 w 286490"/>
                  <a:gd name="connsiteY10" fmla="*/ 13958 h 122622"/>
                  <a:gd name="connsiteX11" fmla="*/ 9068 w 286490"/>
                  <a:gd name="connsiteY11" fmla="*/ 34283 h 122622"/>
                  <a:gd name="connsiteX12" fmla="*/ 328 w 286490"/>
                  <a:gd name="connsiteY12" fmla="*/ 29771 h 122622"/>
                  <a:gd name="connsiteX13" fmla="*/ 4846 w 286490"/>
                  <a:gd name="connsiteY13" fmla="*/ 21034 h 122622"/>
                  <a:gd name="connsiteX14" fmla="*/ 110880 w 286490"/>
                  <a:gd name="connsiteY14" fmla="*/ 50 h 122622"/>
                  <a:gd name="connsiteX15" fmla="*/ 245340 w 286490"/>
                  <a:gd name="connsiteY15" fmla="*/ 2138 h 122622"/>
                  <a:gd name="connsiteX16" fmla="*/ 245346 w 286490"/>
                  <a:gd name="connsiteY16" fmla="*/ 2138 h 122622"/>
                  <a:gd name="connsiteX17" fmla="*/ 281193 w 286490"/>
                  <a:gd name="connsiteY17" fmla="*/ 36619 h 122622"/>
                  <a:gd name="connsiteX18" fmla="*/ 272342 w 286490"/>
                  <a:gd name="connsiteY18" fmla="*/ 60201 h 122622"/>
                  <a:gd name="connsiteX19" fmla="*/ 286490 w 286490"/>
                  <a:gd name="connsiteY19" fmla="*/ 88449 h 122622"/>
                  <a:gd name="connsiteX20" fmla="*/ 252317 w 286490"/>
                  <a:gd name="connsiteY20" fmla="*/ 122622 h 122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6490" h="122622">
                    <a:moveTo>
                      <a:pt x="252317" y="122622"/>
                    </a:moveTo>
                    <a:cubicBezTo>
                      <a:pt x="248474" y="122622"/>
                      <a:pt x="245362" y="119507"/>
                      <a:pt x="245362" y="115667"/>
                    </a:cubicBezTo>
                    <a:cubicBezTo>
                      <a:pt x="245362" y="111826"/>
                      <a:pt x="248474" y="108711"/>
                      <a:pt x="252317" y="108711"/>
                    </a:cubicBezTo>
                    <a:cubicBezTo>
                      <a:pt x="263488" y="108711"/>
                      <a:pt x="272585" y="99621"/>
                      <a:pt x="272585" y="88446"/>
                    </a:cubicBezTo>
                    <a:cubicBezTo>
                      <a:pt x="272585" y="77193"/>
                      <a:pt x="263769" y="67652"/>
                      <a:pt x="253206" y="67321"/>
                    </a:cubicBezTo>
                    <a:cubicBezTo>
                      <a:pt x="250747" y="67504"/>
                      <a:pt x="248562" y="67504"/>
                      <a:pt x="246875" y="67504"/>
                    </a:cubicBezTo>
                    <a:lnTo>
                      <a:pt x="246645" y="53599"/>
                    </a:lnTo>
                    <a:lnTo>
                      <a:pt x="252106" y="53416"/>
                    </a:lnTo>
                    <a:cubicBezTo>
                      <a:pt x="263583" y="52527"/>
                      <a:pt x="267137" y="48160"/>
                      <a:pt x="267285" y="36528"/>
                    </a:cubicBezTo>
                    <a:cubicBezTo>
                      <a:pt x="267285" y="24890"/>
                      <a:pt x="257769" y="16043"/>
                      <a:pt x="245157" y="16043"/>
                    </a:cubicBezTo>
                    <a:cubicBezTo>
                      <a:pt x="244037" y="16014"/>
                      <a:pt x="150953" y="13504"/>
                      <a:pt x="111029" y="13958"/>
                    </a:cubicBezTo>
                    <a:cubicBezTo>
                      <a:pt x="71981" y="14371"/>
                      <a:pt x="9692" y="34088"/>
                      <a:pt x="9068" y="34283"/>
                    </a:cubicBezTo>
                    <a:cubicBezTo>
                      <a:pt x="5414" y="35446"/>
                      <a:pt x="1494" y="33432"/>
                      <a:pt x="328" y="29771"/>
                    </a:cubicBezTo>
                    <a:cubicBezTo>
                      <a:pt x="-832" y="26110"/>
                      <a:pt x="1183" y="22197"/>
                      <a:pt x="4846" y="21034"/>
                    </a:cubicBezTo>
                    <a:cubicBezTo>
                      <a:pt x="7476" y="20195"/>
                      <a:pt x="69736" y="489"/>
                      <a:pt x="110880" y="50"/>
                    </a:cubicBezTo>
                    <a:cubicBezTo>
                      <a:pt x="151117" y="-382"/>
                      <a:pt x="244403" y="2115"/>
                      <a:pt x="245340" y="2138"/>
                    </a:cubicBezTo>
                    <a:cubicBezTo>
                      <a:pt x="245346" y="2138"/>
                      <a:pt x="245346" y="2138"/>
                      <a:pt x="245346" y="2138"/>
                    </a:cubicBezTo>
                    <a:cubicBezTo>
                      <a:pt x="265368" y="2138"/>
                      <a:pt x="281193" y="17285"/>
                      <a:pt x="281193" y="36619"/>
                    </a:cubicBezTo>
                    <a:cubicBezTo>
                      <a:pt x="281035" y="48406"/>
                      <a:pt x="277356" y="55695"/>
                      <a:pt x="272342" y="60201"/>
                    </a:cubicBezTo>
                    <a:cubicBezTo>
                      <a:pt x="280872" y="66643"/>
                      <a:pt x="286490" y="77010"/>
                      <a:pt x="286490" y="88449"/>
                    </a:cubicBezTo>
                    <a:cubicBezTo>
                      <a:pt x="286493" y="107292"/>
                      <a:pt x="271163" y="122622"/>
                      <a:pt x="252317" y="122622"/>
                    </a:cubicBezTo>
                    <a:close/>
                  </a:path>
                </a:pathLst>
              </a:custGeom>
              <a:grpFill/>
              <a:ln w="314" cap="flat">
                <a:noFill/>
                <a:prstDash val="solid"/>
                <a:miter/>
              </a:ln>
            </p:spPr>
            <p:txBody>
              <a:bodyPr rtlCol="0" anchor="ctr"/>
              <a:lstStyle/>
              <a:p>
                <a:endParaRPr lang="en-GB" dirty="0"/>
              </a:p>
            </p:txBody>
          </p:sp>
        </p:grpSp>
        <p:sp>
          <p:nvSpPr>
            <p:cNvPr id="96" name="Freihandform: Form 38">
              <a:extLst>
                <a:ext uri="{FF2B5EF4-FFF2-40B4-BE49-F238E27FC236}">
                  <a16:creationId xmlns:a16="http://schemas.microsoft.com/office/drawing/2014/main" id="{85C1BA8B-0A90-4526-BB17-1744C06D34C7}"/>
                </a:ext>
              </a:extLst>
            </p:cNvPr>
            <p:cNvSpPr/>
            <p:nvPr/>
          </p:nvSpPr>
          <p:spPr>
            <a:xfrm>
              <a:off x="3525558" y="2577846"/>
              <a:ext cx="75865" cy="250737"/>
            </a:xfrm>
            <a:custGeom>
              <a:avLst/>
              <a:gdLst>
                <a:gd name="connsiteX0" fmla="*/ 75866 w 75865"/>
                <a:gd name="connsiteY0" fmla="*/ 250738 h 250737"/>
                <a:gd name="connsiteX1" fmla="*/ 6956 w 75865"/>
                <a:gd name="connsiteY1" fmla="*/ 250738 h 250737"/>
                <a:gd name="connsiteX2" fmla="*/ 0 w 75865"/>
                <a:gd name="connsiteY2" fmla="*/ 243782 h 250737"/>
                <a:gd name="connsiteX3" fmla="*/ 6956 w 75865"/>
                <a:gd name="connsiteY3" fmla="*/ 236826 h 250737"/>
                <a:gd name="connsiteX4" fmla="*/ 61958 w 75865"/>
                <a:gd name="connsiteY4" fmla="*/ 236826 h 250737"/>
                <a:gd name="connsiteX5" fmla="*/ 61958 w 75865"/>
                <a:gd name="connsiteY5" fmla="*/ 13911 h 250737"/>
                <a:gd name="connsiteX6" fmla="*/ 6956 w 75865"/>
                <a:gd name="connsiteY6" fmla="*/ 13911 h 250737"/>
                <a:gd name="connsiteX7" fmla="*/ 0 w 75865"/>
                <a:gd name="connsiteY7" fmla="*/ 6956 h 250737"/>
                <a:gd name="connsiteX8" fmla="*/ 6956 w 75865"/>
                <a:gd name="connsiteY8" fmla="*/ 0 h 250737"/>
                <a:gd name="connsiteX9" fmla="*/ 75866 w 75865"/>
                <a:gd name="connsiteY9" fmla="*/ 0 h 250737"/>
                <a:gd name="connsiteX10" fmla="*/ 75866 w 75865"/>
                <a:gd name="connsiteY10" fmla="*/ 250738 h 25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5865" h="250737">
                  <a:moveTo>
                    <a:pt x="75866" y="250738"/>
                  </a:moveTo>
                  <a:lnTo>
                    <a:pt x="6956" y="250738"/>
                  </a:lnTo>
                  <a:cubicBezTo>
                    <a:pt x="3112" y="250738"/>
                    <a:pt x="0" y="247622"/>
                    <a:pt x="0" y="243782"/>
                  </a:cubicBezTo>
                  <a:cubicBezTo>
                    <a:pt x="0" y="239942"/>
                    <a:pt x="3112" y="236826"/>
                    <a:pt x="6956" y="236826"/>
                  </a:cubicBezTo>
                  <a:lnTo>
                    <a:pt x="61958" y="236826"/>
                  </a:lnTo>
                  <a:lnTo>
                    <a:pt x="61958" y="13911"/>
                  </a:lnTo>
                  <a:lnTo>
                    <a:pt x="6956" y="13911"/>
                  </a:lnTo>
                  <a:cubicBezTo>
                    <a:pt x="3112" y="13911"/>
                    <a:pt x="0" y="10796"/>
                    <a:pt x="0" y="6956"/>
                  </a:cubicBezTo>
                  <a:cubicBezTo>
                    <a:pt x="0" y="3115"/>
                    <a:pt x="3112" y="0"/>
                    <a:pt x="6956" y="0"/>
                  </a:cubicBezTo>
                  <a:lnTo>
                    <a:pt x="75866" y="0"/>
                  </a:lnTo>
                  <a:lnTo>
                    <a:pt x="75866" y="250738"/>
                  </a:lnTo>
                  <a:close/>
                </a:path>
              </a:pathLst>
            </a:custGeom>
            <a:grpFill/>
            <a:ln w="314" cap="flat">
              <a:noFill/>
              <a:prstDash val="solid"/>
              <a:miter/>
            </a:ln>
          </p:spPr>
          <p:txBody>
            <a:bodyPr rtlCol="0" anchor="ctr"/>
            <a:lstStyle/>
            <a:p>
              <a:endParaRPr lang="en-GB" dirty="0"/>
            </a:p>
          </p:txBody>
        </p:sp>
      </p:grpSp>
      <p:grpSp>
        <p:nvGrpSpPr>
          <p:cNvPr id="5" name="Group 4">
            <a:extLst>
              <a:ext uri="{FF2B5EF4-FFF2-40B4-BE49-F238E27FC236}">
                <a16:creationId xmlns:a16="http://schemas.microsoft.com/office/drawing/2014/main" id="{AE4A4E2F-1705-194B-EAAF-385234FBD87A}"/>
              </a:ext>
            </a:extLst>
          </p:cNvPr>
          <p:cNvGrpSpPr/>
          <p:nvPr/>
        </p:nvGrpSpPr>
        <p:grpSpPr>
          <a:xfrm>
            <a:off x="2645096" y="1585984"/>
            <a:ext cx="479645" cy="446201"/>
            <a:chOff x="2645096" y="1585984"/>
            <a:chExt cx="479645" cy="446201"/>
          </a:xfrm>
        </p:grpSpPr>
        <p:grpSp>
          <p:nvGrpSpPr>
            <p:cNvPr id="101" name="Gruppieren 515">
              <a:extLst>
                <a:ext uri="{FF2B5EF4-FFF2-40B4-BE49-F238E27FC236}">
                  <a16:creationId xmlns:a16="http://schemas.microsoft.com/office/drawing/2014/main" id="{7DAA46B8-5442-4DDD-A091-B0EC9A62F4F9}"/>
                </a:ext>
              </a:extLst>
            </p:cNvPr>
            <p:cNvGrpSpPr>
              <a:grpSpLocks noChangeAspect="1"/>
            </p:cNvGrpSpPr>
            <p:nvPr/>
          </p:nvGrpSpPr>
          <p:grpSpPr>
            <a:xfrm>
              <a:off x="2804916" y="1600185"/>
              <a:ext cx="319825" cy="432000"/>
              <a:chOff x="2725333" y="2537106"/>
              <a:chExt cx="332456" cy="449061"/>
            </a:xfrm>
            <a:solidFill>
              <a:schemeClr val="tx2"/>
            </a:solidFill>
          </p:grpSpPr>
          <p:sp>
            <p:nvSpPr>
              <p:cNvPr id="115" name="Freihandform: Form 67">
                <a:extLst>
                  <a:ext uri="{FF2B5EF4-FFF2-40B4-BE49-F238E27FC236}">
                    <a16:creationId xmlns:a16="http://schemas.microsoft.com/office/drawing/2014/main" id="{5EC95AE6-2D8A-4B8C-9C12-C509C12F98BA}"/>
                  </a:ext>
                </a:extLst>
              </p:cNvPr>
              <p:cNvSpPr/>
              <p:nvPr/>
            </p:nvSpPr>
            <p:spPr>
              <a:xfrm>
                <a:off x="2732582" y="2717773"/>
                <a:ext cx="123601" cy="145715"/>
              </a:xfrm>
              <a:custGeom>
                <a:avLst/>
                <a:gdLst>
                  <a:gd name="connsiteX0" fmla="*/ 106180 w 123601"/>
                  <a:gd name="connsiteY0" fmla="*/ 145716 h 145715"/>
                  <a:gd name="connsiteX1" fmla="*/ 31002 w 123601"/>
                  <a:gd name="connsiteY1" fmla="*/ 145716 h 145715"/>
                  <a:gd name="connsiteX2" fmla="*/ 13729 w 123601"/>
                  <a:gd name="connsiteY2" fmla="*/ 130502 h 145715"/>
                  <a:gd name="connsiteX3" fmla="*/ 10258 w 123601"/>
                  <a:gd name="connsiteY3" fmla="*/ 103278 h 145715"/>
                  <a:gd name="connsiteX4" fmla="*/ 16277 w 123601"/>
                  <a:gd name="connsiteY4" fmla="*/ 95497 h 145715"/>
                  <a:gd name="connsiteX5" fmla="*/ 24062 w 123601"/>
                  <a:gd name="connsiteY5" fmla="*/ 101519 h 145715"/>
                  <a:gd name="connsiteX6" fmla="*/ 27534 w 123601"/>
                  <a:gd name="connsiteY6" fmla="*/ 128743 h 145715"/>
                  <a:gd name="connsiteX7" fmla="*/ 31005 w 123601"/>
                  <a:gd name="connsiteY7" fmla="*/ 131804 h 145715"/>
                  <a:gd name="connsiteX8" fmla="*/ 106187 w 123601"/>
                  <a:gd name="connsiteY8" fmla="*/ 131804 h 145715"/>
                  <a:gd name="connsiteX9" fmla="*/ 108816 w 123601"/>
                  <a:gd name="connsiteY9" fmla="*/ 130615 h 145715"/>
                  <a:gd name="connsiteX10" fmla="*/ 109658 w 123601"/>
                  <a:gd name="connsiteY10" fmla="*/ 127853 h 145715"/>
                  <a:gd name="connsiteX11" fmla="*/ 96068 w 123601"/>
                  <a:gd name="connsiteY11" fmla="*/ 16941 h 145715"/>
                  <a:gd name="connsiteX12" fmla="*/ 92591 w 123601"/>
                  <a:gd name="connsiteY12" fmla="*/ 13911 h 145715"/>
                  <a:gd name="connsiteX13" fmla="*/ 17418 w 123601"/>
                  <a:gd name="connsiteY13" fmla="*/ 13911 h 145715"/>
                  <a:gd name="connsiteX14" fmla="*/ 14789 w 123601"/>
                  <a:gd name="connsiteY14" fmla="*/ 15100 h 145715"/>
                  <a:gd name="connsiteX15" fmla="*/ 13941 w 123601"/>
                  <a:gd name="connsiteY15" fmla="*/ 17868 h 145715"/>
                  <a:gd name="connsiteX16" fmla="*/ 18995 w 123601"/>
                  <a:gd name="connsiteY16" fmla="*/ 59959 h 145715"/>
                  <a:gd name="connsiteX17" fmla="*/ 12916 w 123601"/>
                  <a:gd name="connsiteY17" fmla="*/ 67690 h 145715"/>
                  <a:gd name="connsiteX18" fmla="*/ 5181 w 123601"/>
                  <a:gd name="connsiteY18" fmla="*/ 61614 h 145715"/>
                  <a:gd name="connsiteX19" fmla="*/ 137 w 123601"/>
                  <a:gd name="connsiteY19" fmla="*/ 19571 h 145715"/>
                  <a:gd name="connsiteX20" fmla="*/ 4355 w 123601"/>
                  <a:gd name="connsiteY20" fmla="*/ 5903 h 145715"/>
                  <a:gd name="connsiteX21" fmla="*/ 17422 w 123601"/>
                  <a:gd name="connsiteY21" fmla="*/ 0 h 145715"/>
                  <a:gd name="connsiteX22" fmla="*/ 92594 w 123601"/>
                  <a:gd name="connsiteY22" fmla="*/ 0 h 145715"/>
                  <a:gd name="connsiteX23" fmla="*/ 109873 w 123601"/>
                  <a:gd name="connsiteY23" fmla="*/ 15204 h 145715"/>
                  <a:gd name="connsiteX24" fmla="*/ 123462 w 123601"/>
                  <a:gd name="connsiteY24" fmla="*/ 126122 h 145715"/>
                  <a:gd name="connsiteX25" fmla="*/ 119259 w 123601"/>
                  <a:gd name="connsiteY25" fmla="*/ 139800 h 145715"/>
                  <a:gd name="connsiteX26" fmla="*/ 106180 w 123601"/>
                  <a:gd name="connsiteY26" fmla="*/ 145716 h 14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3601" h="145715">
                    <a:moveTo>
                      <a:pt x="106180" y="145716"/>
                    </a:moveTo>
                    <a:lnTo>
                      <a:pt x="31002" y="145716"/>
                    </a:lnTo>
                    <a:cubicBezTo>
                      <a:pt x="22262" y="145716"/>
                      <a:pt x="14836" y="139176"/>
                      <a:pt x="13729" y="130502"/>
                    </a:cubicBezTo>
                    <a:lnTo>
                      <a:pt x="10258" y="103278"/>
                    </a:lnTo>
                    <a:cubicBezTo>
                      <a:pt x="9776" y="99470"/>
                      <a:pt x="12465" y="95982"/>
                      <a:pt x="16277" y="95497"/>
                    </a:cubicBezTo>
                    <a:cubicBezTo>
                      <a:pt x="20108" y="95043"/>
                      <a:pt x="23570" y="97710"/>
                      <a:pt x="24062" y="101519"/>
                    </a:cubicBezTo>
                    <a:lnTo>
                      <a:pt x="27534" y="128743"/>
                    </a:lnTo>
                    <a:cubicBezTo>
                      <a:pt x="27757" y="130489"/>
                      <a:pt x="29246" y="131804"/>
                      <a:pt x="31005" y="131804"/>
                    </a:cubicBezTo>
                    <a:lnTo>
                      <a:pt x="106187" y="131804"/>
                    </a:lnTo>
                    <a:cubicBezTo>
                      <a:pt x="107564" y="131804"/>
                      <a:pt x="108422" y="131060"/>
                      <a:pt x="108816" y="130615"/>
                    </a:cubicBezTo>
                    <a:cubicBezTo>
                      <a:pt x="109204" y="130171"/>
                      <a:pt x="109835" y="129222"/>
                      <a:pt x="109658" y="127853"/>
                    </a:cubicBezTo>
                    <a:lnTo>
                      <a:pt x="96068" y="16941"/>
                    </a:lnTo>
                    <a:cubicBezTo>
                      <a:pt x="95844" y="15232"/>
                      <a:pt x="94350" y="13911"/>
                      <a:pt x="92591" y="13911"/>
                    </a:cubicBezTo>
                    <a:lnTo>
                      <a:pt x="17418" y="13911"/>
                    </a:lnTo>
                    <a:cubicBezTo>
                      <a:pt x="16041" y="13911"/>
                      <a:pt x="15177" y="14655"/>
                      <a:pt x="14789" y="15100"/>
                    </a:cubicBezTo>
                    <a:cubicBezTo>
                      <a:pt x="14395" y="15545"/>
                      <a:pt x="13764" y="16497"/>
                      <a:pt x="13941" y="17868"/>
                    </a:cubicBezTo>
                    <a:lnTo>
                      <a:pt x="18995" y="59959"/>
                    </a:lnTo>
                    <a:cubicBezTo>
                      <a:pt x="19449" y="63771"/>
                      <a:pt x="16734" y="67236"/>
                      <a:pt x="12916" y="67690"/>
                    </a:cubicBezTo>
                    <a:cubicBezTo>
                      <a:pt x="9107" y="68188"/>
                      <a:pt x="5642" y="65423"/>
                      <a:pt x="5181" y="61614"/>
                    </a:cubicBezTo>
                    <a:lnTo>
                      <a:pt x="137" y="19571"/>
                    </a:lnTo>
                    <a:cubicBezTo>
                      <a:pt x="-488" y="14659"/>
                      <a:pt x="1048" y="9658"/>
                      <a:pt x="4355" y="5903"/>
                    </a:cubicBezTo>
                    <a:cubicBezTo>
                      <a:pt x="7663" y="2154"/>
                      <a:pt x="12424" y="0"/>
                      <a:pt x="17422" y="0"/>
                    </a:cubicBezTo>
                    <a:lnTo>
                      <a:pt x="92594" y="0"/>
                    </a:lnTo>
                    <a:cubicBezTo>
                      <a:pt x="101328" y="0"/>
                      <a:pt x="108753" y="6536"/>
                      <a:pt x="109873" y="15204"/>
                    </a:cubicBezTo>
                    <a:lnTo>
                      <a:pt x="123462" y="126122"/>
                    </a:lnTo>
                    <a:cubicBezTo>
                      <a:pt x="124093" y="131047"/>
                      <a:pt x="122567" y="136045"/>
                      <a:pt x="119259" y="139800"/>
                    </a:cubicBezTo>
                    <a:cubicBezTo>
                      <a:pt x="115948" y="143562"/>
                      <a:pt x="111181" y="145716"/>
                      <a:pt x="106180" y="145716"/>
                    </a:cubicBezTo>
                    <a:close/>
                  </a:path>
                </a:pathLst>
              </a:custGeom>
              <a:grpFill/>
              <a:ln w="314" cap="flat">
                <a:noFill/>
                <a:prstDash val="solid"/>
                <a:miter/>
              </a:ln>
            </p:spPr>
            <p:txBody>
              <a:bodyPr rtlCol="0" anchor="ctr"/>
              <a:lstStyle/>
              <a:p>
                <a:endParaRPr lang="en-GB" dirty="0"/>
              </a:p>
            </p:txBody>
          </p:sp>
          <p:sp>
            <p:nvSpPr>
              <p:cNvPr id="116" name="Freihandform: Form 68">
                <a:extLst>
                  <a:ext uri="{FF2B5EF4-FFF2-40B4-BE49-F238E27FC236}">
                    <a16:creationId xmlns:a16="http://schemas.microsoft.com/office/drawing/2014/main" id="{BBABC71A-F791-40C5-8487-AFBF6DD599F5}"/>
                  </a:ext>
                </a:extLst>
              </p:cNvPr>
              <p:cNvSpPr/>
              <p:nvPr/>
            </p:nvSpPr>
            <p:spPr>
              <a:xfrm>
                <a:off x="2725333" y="2773161"/>
                <a:ext cx="53680" cy="53060"/>
              </a:xfrm>
              <a:custGeom>
                <a:avLst/>
                <a:gdLst>
                  <a:gd name="connsiteX0" fmla="*/ 39866 w 53680"/>
                  <a:gd name="connsiteY0" fmla="*/ 53061 h 53060"/>
                  <a:gd name="connsiteX1" fmla="*/ 37930 w 53680"/>
                  <a:gd name="connsiteY1" fmla="*/ 52928 h 53060"/>
                  <a:gd name="connsiteX2" fmla="*/ 14253 w 53680"/>
                  <a:gd name="connsiteY2" fmla="*/ 49649 h 53060"/>
                  <a:gd name="connsiteX3" fmla="*/ 2373 w 53680"/>
                  <a:gd name="connsiteY3" fmla="*/ 37349 h 53060"/>
                  <a:gd name="connsiteX4" fmla="*/ 77 w 53680"/>
                  <a:gd name="connsiteY4" fmla="*/ 15303 h 53060"/>
                  <a:gd name="connsiteX5" fmla="*/ 4227 w 53680"/>
                  <a:gd name="connsiteY5" fmla="*/ 3898 h 53060"/>
                  <a:gd name="connsiteX6" fmla="*/ 15761 w 53680"/>
                  <a:gd name="connsiteY6" fmla="*/ 137 h 53060"/>
                  <a:gd name="connsiteX7" fmla="*/ 39437 w 53680"/>
                  <a:gd name="connsiteY7" fmla="*/ 3416 h 53060"/>
                  <a:gd name="connsiteX8" fmla="*/ 51308 w 53680"/>
                  <a:gd name="connsiteY8" fmla="*/ 15713 h 53060"/>
                  <a:gd name="connsiteX9" fmla="*/ 53604 w 53680"/>
                  <a:gd name="connsiteY9" fmla="*/ 37762 h 53060"/>
                  <a:gd name="connsiteX10" fmla="*/ 49454 w 53680"/>
                  <a:gd name="connsiteY10" fmla="*/ 49170 h 53060"/>
                  <a:gd name="connsiteX11" fmla="*/ 39866 w 53680"/>
                  <a:gd name="connsiteY11" fmla="*/ 53061 h 53060"/>
                  <a:gd name="connsiteX12" fmla="*/ 13840 w 53680"/>
                  <a:gd name="connsiteY12" fmla="*/ 13913 h 53060"/>
                  <a:gd name="connsiteX13" fmla="*/ 16211 w 53680"/>
                  <a:gd name="connsiteY13" fmla="*/ 35911 h 53060"/>
                  <a:gd name="connsiteX14" fmla="*/ 39847 w 53680"/>
                  <a:gd name="connsiteY14" fmla="*/ 39146 h 53060"/>
                  <a:gd name="connsiteX15" fmla="*/ 37476 w 53680"/>
                  <a:gd name="connsiteY15" fmla="*/ 17148 h 53060"/>
                  <a:gd name="connsiteX16" fmla="*/ 13847 w 53680"/>
                  <a:gd name="connsiteY16" fmla="*/ 13916 h 53060"/>
                  <a:gd name="connsiteX17" fmla="*/ 13847 w 53680"/>
                  <a:gd name="connsiteY17" fmla="*/ 13916 h 53060"/>
                  <a:gd name="connsiteX18" fmla="*/ 13840 w 53680"/>
                  <a:gd name="connsiteY18" fmla="*/ 13913 h 53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3680" h="53060">
                    <a:moveTo>
                      <a:pt x="39866" y="53061"/>
                    </a:moveTo>
                    <a:cubicBezTo>
                      <a:pt x="39219" y="53061"/>
                      <a:pt x="38582" y="53017"/>
                      <a:pt x="37930" y="52928"/>
                    </a:cubicBezTo>
                    <a:lnTo>
                      <a:pt x="14253" y="49649"/>
                    </a:lnTo>
                    <a:cubicBezTo>
                      <a:pt x="7916" y="48763"/>
                      <a:pt x="3032" y="43706"/>
                      <a:pt x="2373" y="37349"/>
                    </a:cubicBezTo>
                    <a:lnTo>
                      <a:pt x="77" y="15303"/>
                    </a:lnTo>
                    <a:cubicBezTo>
                      <a:pt x="-371" y="11031"/>
                      <a:pt x="1143" y="6878"/>
                      <a:pt x="4227" y="3898"/>
                    </a:cubicBezTo>
                    <a:cubicBezTo>
                      <a:pt x="7310" y="909"/>
                      <a:pt x="11501" y="-459"/>
                      <a:pt x="15761" y="137"/>
                    </a:cubicBezTo>
                    <a:lnTo>
                      <a:pt x="39437" y="3416"/>
                    </a:lnTo>
                    <a:cubicBezTo>
                      <a:pt x="45768" y="4296"/>
                      <a:pt x="50649" y="9350"/>
                      <a:pt x="51308" y="15713"/>
                    </a:cubicBezTo>
                    <a:lnTo>
                      <a:pt x="53604" y="37762"/>
                    </a:lnTo>
                    <a:cubicBezTo>
                      <a:pt x="54051" y="42035"/>
                      <a:pt x="52538" y="46190"/>
                      <a:pt x="49454" y="49170"/>
                    </a:cubicBezTo>
                    <a:cubicBezTo>
                      <a:pt x="46843" y="51693"/>
                      <a:pt x="43426" y="53061"/>
                      <a:pt x="39866" y="53061"/>
                    </a:cubicBezTo>
                    <a:close/>
                    <a:moveTo>
                      <a:pt x="13840" y="13913"/>
                    </a:moveTo>
                    <a:lnTo>
                      <a:pt x="16211" y="35911"/>
                    </a:lnTo>
                    <a:lnTo>
                      <a:pt x="39847" y="39146"/>
                    </a:lnTo>
                    <a:lnTo>
                      <a:pt x="37476" y="17148"/>
                    </a:lnTo>
                    <a:lnTo>
                      <a:pt x="13847" y="13916"/>
                    </a:lnTo>
                    <a:lnTo>
                      <a:pt x="13847" y="13916"/>
                    </a:lnTo>
                    <a:lnTo>
                      <a:pt x="13840" y="13913"/>
                    </a:lnTo>
                    <a:close/>
                  </a:path>
                </a:pathLst>
              </a:custGeom>
              <a:grpFill/>
              <a:ln w="314" cap="flat">
                <a:noFill/>
                <a:prstDash val="solid"/>
                <a:miter/>
              </a:ln>
            </p:spPr>
            <p:txBody>
              <a:bodyPr rtlCol="0" anchor="ctr"/>
              <a:lstStyle/>
              <a:p>
                <a:endParaRPr lang="en-GB" dirty="0"/>
              </a:p>
            </p:txBody>
          </p:sp>
          <p:sp>
            <p:nvSpPr>
              <p:cNvPr id="117" name="Freihandform: Form 69">
                <a:extLst>
                  <a:ext uri="{FF2B5EF4-FFF2-40B4-BE49-F238E27FC236}">
                    <a16:creationId xmlns:a16="http://schemas.microsoft.com/office/drawing/2014/main" id="{A92715E3-8D08-44FD-8FFA-A60E75DDF21D}"/>
                  </a:ext>
                </a:extLst>
              </p:cNvPr>
              <p:cNvSpPr/>
              <p:nvPr/>
            </p:nvSpPr>
            <p:spPr>
              <a:xfrm>
                <a:off x="2850974" y="2537106"/>
                <a:ext cx="110205" cy="129464"/>
              </a:xfrm>
              <a:custGeom>
                <a:avLst/>
                <a:gdLst>
                  <a:gd name="connsiteX0" fmla="*/ 55103 w 110205"/>
                  <a:gd name="connsiteY0" fmla="*/ 129465 h 129464"/>
                  <a:gd name="connsiteX1" fmla="*/ 0 w 110205"/>
                  <a:gd name="connsiteY1" fmla="*/ 64735 h 129464"/>
                  <a:gd name="connsiteX2" fmla="*/ 55103 w 110205"/>
                  <a:gd name="connsiteY2" fmla="*/ 0 h 129464"/>
                  <a:gd name="connsiteX3" fmla="*/ 110206 w 110205"/>
                  <a:gd name="connsiteY3" fmla="*/ 64735 h 129464"/>
                  <a:gd name="connsiteX4" fmla="*/ 55103 w 110205"/>
                  <a:gd name="connsiteY4" fmla="*/ 129465 h 129464"/>
                  <a:gd name="connsiteX5" fmla="*/ 55103 w 110205"/>
                  <a:gd name="connsiteY5" fmla="*/ 13911 h 129464"/>
                  <a:gd name="connsiteX6" fmla="*/ 13908 w 110205"/>
                  <a:gd name="connsiteY6" fmla="*/ 64735 h 129464"/>
                  <a:gd name="connsiteX7" fmla="*/ 55103 w 110205"/>
                  <a:gd name="connsiteY7" fmla="*/ 115556 h 129464"/>
                  <a:gd name="connsiteX8" fmla="*/ 96297 w 110205"/>
                  <a:gd name="connsiteY8" fmla="*/ 64735 h 129464"/>
                  <a:gd name="connsiteX9" fmla="*/ 55103 w 110205"/>
                  <a:gd name="connsiteY9" fmla="*/ 13911 h 129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205" h="129464">
                    <a:moveTo>
                      <a:pt x="55103" y="129465"/>
                    </a:moveTo>
                    <a:cubicBezTo>
                      <a:pt x="21633" y="129465"/>
                      <a:pt x="0" y="104057"/>
                      <a:pt x="0" y="64735"/>
                    </a:cubicBezTo>
                    <a:cubicBezTo>
                      <a:pt x="0" y="25411"/>
                      <a:pt x="21633" y="0"/>
                      <a:pt x="55103" y="0"/>
                    </a:cubicBezTo>
                    <a:cubicBezTo>
                      <a:pt x="88572" y="0"/>
                      <a:pt x="110206" y="25407"/>
                      <a:pt x="110206" y="64735"/>
                    </a:cubicBezTo>
                    <a:cubicBezTo>
                      <a:pt x="110209" y="104057"/>
                      <a:pt x="88576" y="129465"/>
                      <a:pt x="55103" y="129465"/>
                    </a:cubicBezTo>
                    <a:close/>
                    <a:moveTo>
                      <a:pt x="55103" y="13911"/>
                    </a:moveTo>
                    <a:cubicBezTo>
                      <a:pt x="24729" y="13911"/>
                      <a:pt x="13908" y="40167"/>
                      <a:pt x="13908" y="64735"/>
                    </a:cubicBezTo>
                    <a:cubicBezTo>
                      <a:pt x="13908" y="89304"/>
                      <a:pt x="24726" y="115556"/>
                      <a:pt x="55103" y="115556"/>
                    </a:cubicBezTo>
                    <a:cubicBezTo>
                      <a:pt x="85476" y="115556"/>
                      <a:pt x="96297" y="89304"/>
                      <a:pt x="96297" y="64735"/>
                    </a:cubicBezTo>
                    <a:cubicBezTo>
                      <a:pt x="96297" y="40167"/>
                      <a:pt x="85476" y="13911"/>
                      <a:pt x="55103" y="13911"/>
                    </a:cubicBezTo>
                    <a:close/>
                  </a:path>
                </a:pathLst>
              </a:custGeom>
              <a:grpFill/>
              <a:ln w="314" cap="flat">
                <a:noFill/>
                <a:prstDash val="solid"/>
                <a:miter/>
              </a:ln>
            </p:spPr>
            <p:txBody>
              <a:bodyPr rtlCol="0" anchor="ctr"/>
              <a:lstStyle/>
              <a:p>
                <a:endParaRPr lang="en-GB" dirty="0"/>
              </a:p>
            </p:txBody>
          </p:sp>
          <p:grpSp>
            <p:nvGrpSpPr>
              <p:cNvPr id="118" name="Graphic 25">
                <a:extLst>
                  <a:ext uri="{FF2B5EF4-FFF2-40B4-BE49-F238E27FC236}">
                    <a16:creationId xmlns:a16="http://schemas.microsoft.com/office/drawing/2014/main" id="{B634F9B3-B1BB-41CE-A418-1D7CFEF93C90}"/>
                  </a:ext>
                </a:extLst>
              </p:cNvPr>
              <p:cNvGrpSpPr/>
              <p:nvPr/>
            </p:nvGrpSpPr>
            <p:grpSpPr>
              <a:xfrm>
                <a:off x="2799657" y="2688607"/>
                <a:ext cx="248946" cy="174881"/>
                <a:chOff x="2799657" y="2688607"/>
                <a:chExt cx="248946" cy="174881"/>
              </a:xfrm>
              <a:grpFill/>
            </p:grpSpPr>
            <p:sp>
              <p:nvSpPr>
                <p:cNvPr id="121" name="Freihandform: Form 71">
                  <a:extLst>
                    <a:ext uri="{FF2B5EF4-FFF2-40B4-BE49-F238E27FC236}">
                      <a16:creationId xmlns:a16="http://schemas.microsoft.com/office/drawing/2014/main" id="{6FE2F449-B076-47BF-BE83-BAD6F11E68B0}"/>
                    </a:ext>
                  </a:extLst>
                </p:cNvPr>
                <p:cNvSpPr/>
                <p:nvPr/>
              </p:nvSpPr>
              <p:spPr>
                <a:xfrm>
                  <a:off x="2891522" y="2688607"/>
                  <a:ext cx="30007" cy="13911"/>
                </a:xfrm>
                <a:custGeom>
                  <a:avLst/>
                  <a:gdLst>
                    <a:gd name="connsiteX0" fmla="*/ 23052 w 30007"/>
                    <a:gd name="connsiteY0" fmla="*/ 13911 h 13911"/>
                    <a:gd name="connsiteX1" fmla="*/ 6956 w 30007"/>
                    <a:gd name="connsiteY1" fmla="*/ 13911 h 13911"/>
                    <a:gd name="connsiteX2" fmla="*/ 0 w 30007"/>
                    <a:gd name="connsiteY2" fmla="*/ 6956 h 13911"/>
                    <a:gd name="connsiteX3" fmla="*/ 6956 w 30007"/>
                    <a:gd name="connsiteY3" fmla="*/ 0 h 13911"/>
                    <a:gd name="connsiteX4" fmla="*/ 23052 w 30007"/>
                    <a:gd name="connsiteY4" fmla="*/ 0 h 13911"/>
                    <a:gd name="connsiteX5" fmla="*/ 30008 w 30007"/>
                    <a:gd name="connsiteY5" fmla="*/ 6956 h 13911"/>
                    <a:gd name="connsiteX6" fmla="*/ 23052 w 30007"/>
                    <a:gd name="connsiteY6" fmla="*/ 13911 h 1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07" h="13911">
                      <a:moveTo>
                        <a:pt x="23052" y="13911"/>
                      </a:moveTo>
                      <a:lnTo>
                        <a:pt x="6956" y="13911"/>
                      </a:lnTo>
                      <a:cubicBezTo>
                        <a:pt x="3112" y="13911"/>
                        <a:pt x="0" y="10796"/>
                        <a:pt x="0" y="6956"/>
                      </a:cubicBezTo>
                      <a:cubicBezTo>
                        <a:pt x="0" y="3115"/>
                        <a:pt x="3112" y="0"/>
                        <a:pt x="6956" y="0"/>
                      </a:cubicBezTo>
                      <a:lnTo>
                        <a:pt x="23052" y="0"/>
                      </a:lnTo>
                      <a:cubicBezTo>
                        <a:pt x="26896" y="0"/>
                        <a:pt x="30008" y="3115"/>
                        <a:pt x="30008" y="6956"/>
                      </a:cubicBezTo>
                      <a:cubicBezTo>
                        <a:pt x="30008" y="10796"/>
                        <a:pt x="26896" y="13911"/>
                        <a:pt x="23052" y="13911"/>
                      </a:cubicBezTo>
                      <a:close/>
                    </a:path>
                  </a:pathLst>
                </a:custGeom>
                <a:grpFill/>
                <a:ln w="314" cap="flat">
                  <a:noFill/>
                  <a:prstDash val="solid"/>
                  <a:miter/>
                </a:ln>
              </p:spPr>
              <p:txBody>
                <a:bodyPr rtlCol="0" anchor="ctr"/>
                <a:lstStyle/>
                <a:p>
                  <a:endParaRPr lang="en-GB" dirty="0"/>
                </a:p>
              </p:txBody>
            </p:sp>
            <p:sp>
              <p:nvSpPr>
                <p:cNvPr id="122" name="Freihandform: Form 72">
                  <a:extLst>
                    <a:ext uri="{FF2B5EF4-FFF2-40B4-BE49-F238E27FC236}">
                      <a16:creationId xmlns:a16="http://schemas.microsoft.com/office/drawing/2014/main" id="{5C4D6C98-FF31-4972-BC55-FBB0975F34DF}"/>
                    </a:ext>
                  </a:extLst>
                </p:cNvPr>
                <p:cNvSpPr/>
                <p:nvPr/>
              </p:nvSpPr>
              <p:spPr>
                <a:xfrm>
                  <a:off x="2899572" y="2688607"/>
                  <a:ext cx="13911" cy="78299"/>
                </a:xfrm>
                <a:custGeom>
                  <a:avLst/>
                  <a:gdLst>
                    <a:gd name="connsiteX0" fmla="*/ 6956 w 13911"/>
                    <a:gd name="connsiteY0" fmla="*/ 78300 h 78299"/>
                    <a:gd name="connsiteX1" fmla="*/ 0 w 13911"/>
                    <a:gd name="connsiteY1" fmla="*/ 71344 h 78299"/>
                    <a:gd name="connsiteX2" fmla="*/ 0 w 13911"/>
                    <a:gd name="connsiteY2" fmla="*/ 6956 h 78299"/>
                    <a:gd name="connsiteX3" fmla="*/ 6956 w 13911"/>
                    <a:gd name="connsiteY3" fmla="*/ 0 h 78299"/>
                    <a:gd name="connsiteX4" fmla="*/ 13911 w 13911"/>
                    <a:gd name="connsiteY4" fmla="*/ 6956 h 78299"/>
                    <a:gd name="connsiteX5" fmla="*/ 13911 w 13911"/>
                    <a:gd name="connsiteY5" fmla="*/ 71344 h 78299"/>
                    <a:gd name="connsiteX6" fmla="*/ 6956 w 13911"/>
                    <a:gd name="connsiteY6" fmla="*/ 78300 h 7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11" h="78299">
                      <a:moveTo>
                        <a:pt x="6956" y="78300"/>
                      </a:moveTo>
                      <a:cubicBezTo>
                        <a:pt x="3112" y="78300"/>
                        <a:pt x="0" y="75185"/>
                        <a:pt x="0" y="71344"/>
                      </a:cubicBezTo>
                      <a:lnTo>
                        <a:pt x="0" y="6956"/>
                      </a:lnTo>
                      <a:cubicBezTo>
                        <a:pt x="0" y="3115"/>
                        <a:pt x="3112" y="0"/>
                        <a:pt x="6956" y="0"/>
                      </a:cubicBezTo>
                      <a:cubicBezTo>
                        <a:pt x="10799" y="0"/>
                        <a:pt x="13911" y="3115"/>
                        <a:pt x="13911" y="6956"/>
                      </a:cubicBezTo>
                      <a:lnTo>
                        <a:pt x="13911" y="71344"/>
                      </a:lnTo>
                      <a:cubicBezTo>
                        <a:pt x="13908" y="75185"/>
                        <a:pt x="10799" y="78300"/>
                        <a:pt x="6956" y="78300"/>
                      </a:cubicBezTo>
                      <a:close/>
                    </a:path>
                  </a:pathLst>
                </a:custGeom>
                <a:grpFill/>
                <a:ln w="314" cap="flat">
                  <a:noFill/>
                  <a:prstDash val="solid"/>
                  <a:miter/>
                </a:ln>
              </p:spPr>
              <p:txBody>
                <a:bodyPr rtlCol="0" anchor="ctr"/>
                <a:lstStyle/>
                <a:p>
                  <a:endParaRPr lang="en-GB" dirty="0"/>
                </a:p>
              </p:txBody>
            </p:sp>
            <p:sp>
              <p:nvSpPr>
                <p:cNvPr id="123" name="Freihandform: Form 73">
                  <a:extLst>
                    <a:ext uri="{FF2B5EF4-FFF2-40B4-BE49-F238E27FC236}">
                      <a16:creationId xmlns:a16="http://schemas.microsoft.com/office/drawing/2014/main" id="{09562FEA-A94F-47FC-B215-A23268C3A8F3}"/>
                    </a:ext>
                  </a:extLst>
                </p:cNvPr>
                <p:cNvSpPr/>
                <p:nvPr/>
              </p:nvSpPr>
              <p:spPr>
                <a:xfrm>
                  <a:off x="2799657" y="2688610"/>
                  <a:ext cx="248946" cy="174878"/>
                </a:xfrm>
                <a:custGeom>
                  <a:avLst/>
                  <a:gdLst>
                    <a:gd name="connsiteX0" fmla="*/ 219548 w 248946"/>
                    <a:gd name="connsiteY0" fmla="*/ 174878 h 174878"/>
                    <a:gd name="connsiteX1" fmla="*/ 114917 w 248946"/>
                    <a:gd name="connsiteY1" fmla="*/ 174878 h 174878"/>
                    <a:gd name="connsiteX2" fmla="*/ 99915 w 248946"/>
                    <a:gd name="connsiteY2" fmla="*/ 159876 h 174878"/>
                    <a:gd name="connsiteX3" fmla="*/ 99915 w 248946"/>
                    <a:gd name="connsiteY3" fmla="*/ 130095 h 174878"/>
                    <a:gd name="connsiteX4" fmla="*/ 114675 w 248946"/>
                    <a:gd name="connsiteY4" fmla="*/ 115093 h 174878"/>
                    <a:gd name="connsiteX5" fmla="*/ 177745 w 248946"/>
                    <a:gd name="connsiteY5" fmla="*/ 114954 h 174878"/>
                    <a:gd name="connsiteX6" fmla="*/ 168352 w 248946"/>
                    <a:gd name="connsiteY6" fmla="*/ 92877 h 174878"/>
                    <a:gd name="connsiteX7" fmla="*/ 172026 w 248946"/>
                    <a:gd name="connsiteY7" fmla="*/ 83752 h 174878"/>
                    <a:gd name="connsiteX8" fmla="*/ 181147 w 248946"/>
                    <a:gd name="connsiteY8" fmla="*/ 87428 h 174878"/>
                    <a:gd name="connsiteX9" fmla="*/ 194759 w 248946"/>
                    <a:gd name="connsiteY9" fmla="*/ 119422 h 174878"/>
                    <a:gd name="connsiteX10" fmla="*/ 194106 w 248946"/>
                    <a:gd name="connsiteY10" fmla="*/ 126066 h 174878"/>
                    <a:gd name="connsiteX11" fmla="*/ 188163 w 248946"/>
                    <a:gd name="connsiteY11" fmla="*/ 129099 h 174878"/>
                    <a:gd name="connsiteX12" fmla="*/ 114905 w 248946"/>
                    <a:gd name="connsiteY12" fmla="*/ 129004 h 174878"/>
                    <a:gd name="connsiteX13" fmla="*/ 113826 w 248946"/>
                    <a:gd name="connsiteY13" fmla="*/ 130098 h 174878"/>
                    <a:gd name="connsiteX14" fmla="*/ 113826 w 248946"/>
                    <a:gd name="connsiteY14" fmla="*/ 159879 h 174878"/>
                    <a:gd name="connsiteX15" fmla="*/ 114920 w 248946"/>
                    <a:gd name="connsiteY15" fmla="*/ 160973 h 174878"/>
                    <a:gd name="connsiteX16" fmla="*/ 219552 w 248946"/>
                    <a:gd name="connsiteY16" fmla="*/ 160973 h 174878"/>
                    <a:gd name="connsiteX17" fmla="*/ 231874 w 248946"/>
                    <a:gd name="connsiteY17" fmla="*/ 155774 h 174878"/>
                    <a:gd name="connsiteX18" fmla="*/ 233040 w 248946"/>
                    <a:gd name="connsiteY18" fmla="*/ 132290 h 174878"/>
                    <a:gd name="connsiteX19" fmla="*/ 208163 w 248946"/>
                    <a:gd name="connsiteY19" fmla="*/ 55245 h 174878"/>
                    <a:gd name="connsiteX20" fmla="*/ 160917 w 248946"/>
                    <a:gd name="connsiteY20" fmla="*/ 13911 h 174878"/>
                    <a:gd name="connsiteX21" fmla="*/ 159063 w 248946"/>
                    <a:gd name="connsiteY21" fmla="*/ 13911 h 174878"/>
                    <a:gd name="connsiteX22" fmla="*/ 119893 w 248946"/>
                    <a:gd name="connsiteY22" fmla="*/ 77912 h 174878"/>
                    <a:gd name="connsiteX23" fmla="*/ 106874 w 248946"/>
                    <a:gd name="connsiteY23" fmla="*/ 85467 h 174878"/>
                    <a:gd name="connsiteX24" fmla="*/ 106867 w 248946"/>
                    <a:gd name="connsiteY24" fmla="*/ 85467 h 174878"/>
                    <a:gd name="connsiteX25" fmla="*/ 93662 w 248946"/>
                    <a:gd name="connsiteY25" fmla="*/ 77575 h 174878"/>
                    <a:gd name="connsiteX26" fmla="*/ 54684 w 248946"/>
                    <a:gd name="connsiteY26" fmla="*/ 13911 h 174878"/>
                    <a:gd name="connsiteX27" fmla="*/ 52837 w 248946"/>
                    <a:gd name="connsiteY27" fmla="*/ 13911 h 174878"/>
                    <a:gd name="connsiteX28" fmla="*/ 12995 w 248946"/>
                    <a:gd name="connsiteY28" fmla="*/ 38792 h 174878"/>
                    <a:gd name="connsiteX29" fmla="*/ 3507 w 248946"/>
                    <a:gd name="connsiteY29" fmla="*/ 41381 h 174878"/>
                    <a:gd name="connsiteX30" fmla="*/ 918 w 248946"/>
                    <a:gd name="connsiteY30" fmla="*/ 31893 h 174878"/>
                    <a:gd name="connsiteX31" fmla="*/ 52837 w 248946"/>
                    <a:gd name="connsiteY31" fmla="*/ 0 h 174878"/>
                    <a:gd name="connsiteX32" fmla="*/ 58582 w 248946"/>
                    <a:gd name="connsiteY32" fmla="*/ 0 h 174878"/>
                    <a:gd name="connsiteX33" fmla="*/ 64512 w 248946"/>
                    <a:gd name="connsiteY33" fmla="*/ 3323 h 174878"/>
                    <a:gd name="connsiteX34" fmla="*/ 105720 w 248946"/>
                    <a:gd name="connsiteY34" fmla="*/ 70647 h 174878"/>
                    <a:gd name="connsiteX35" fmla="*/ 106874 w 248946"/>
                    <a:gd name="connsiteY35" fmla="*/ 71556 h 174878"/>
                    <a:gd name="connsiteX36" fmla="*/ 106874 w 248946"/>
                    <a:gd name="connsiteY36" fmla="*/ 71556 h 174878"/>
                    <a:gd name="connsiteX37" fmla="*/ 107845 w 248946"/>
                    <a:gd name="connsiteY37" fmla="*/ 70979 h 174878"/>
                    <a:gd name="connsiteX38" fmla="*/ 149235 w 248946"/>
                    <a:gd name="connsiteY38" fmla="*/ 3323 h 174878"/>
                    <a:gd name="connsiteX39" fmla="*/ 155166 w 248946"/>
                    <a:gd name="connsiteY39" fmla="*/ 0 h 174878"/>
                    <a:gd name="connsiteX40" fmla="*/ 160920 w 248946"/>
                    <a:gd name="connsiteY40" fmla="*/ 0 h 174878"/>
                    <a:gd name="connsiteX41" fmla="*/ 221336 w 248946"/>
                    <a:gd name="connsiteY41" fmla="*/ 50780 h 174878"/>
                    <a:gd name="connsiteX42" fmla="*/ 246296 w 248946"/>
                    <a:gd name="connsiteY42" fmla="*/ 128058 h 174878"/>
                    <a:gd name="connsiteX43" fmla="*/ 243095 w 248946"/>
                    <a:gd name="connsiteY43" fmla="*/ 163994 h 174878"/>
                    <a:gd name="connsiteX44" fmla="*/ 219548 w 248946"/>
                    <a:gd name="connsiteY44" fmla="*/ 174878 h 17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48946" h="174878">
                      <a:moveTo>
                        <a:pt x="219548" y="174878"/>
                      </a:moveTo>
                      <a:lnTo>
                        <a:pt x="114917" y="174878"/>
                      </a:lnTo>
                      <a:cubicBezTo>
                        <a:pt x="106644" y="174878"/>
                        <a:pt x="99915" y="168146"/>
                        <a:pt x="99915" y="159876"/>
                      </a:cubicBezTo>
                      <a:lnTo>
                        <a:pt x="99915" y="130095"/>
                      </a:lnTo>
                      <a:cubicBezTo>
                        <a:pt x="99915" y="121954"/>
                        <a:pt x="106536" y="115225"/>
                        <a:pt x="114675" y="115093"/>
                      </a:cubicBezTo>
                      <a:cubicBezTo>
                        <a:pt x="129081" y="114860"/>
                        <a:pt x="154687" y="114563"/>
                        <a:pt x="177745" y="114954"/>
                      </a:cubicBezTo>
                      <a:lnTo>
                        <a:pt x="168352" y="92877"/>
                      </a:lnTo>
                      <a:cubicBezTo>
                        <a:pt x="166845" y="89342"/>
                        <a:pt x="168494" y="85256"/>
                        <a:pt x="172026" y="83752"/>
                      </a:cubicBezTo>
                      <a:cubicBezTo>
                        <a:pt x="175557" y="82260"/>
                        <a:pt x="179646" y="83893"/>
                        <a:pt x="181147" y="87428"/>
                      </a:cubicBezTo>
                      <a:lnTo>
                        <a:pt x="194759" y="119422"/>
                      </a:lnTo>
                      <a:cubicBezTo>
                        <a:pt x="195689" y="121601"/>
                        <a:pt x="195446" y="124104"/>
                        <a:pt x="194106" y="126066"/>
                      </a:cubicBezTo>
                      <a:cubicBezTo>
                        <a:pt x="192776" y="128024"/>
                        <a:pt x="190499" y="129228"/>
                        <a:pt x="188163" y="129099"/>
                      </a:cubicBezTo>
                      <a:cubicBezTo>
                        <a:pt x="162137" y="128364"/>
                        <a:pt x="128264" y="128793"/>
                        <a:pt x="114905" y="129004"/>
                      </a:cubicBezTo>
                      <a:cubicBezTo>
                        <a:pt x="114299" y="129014"/>
                        <a:pt x="113826" y="129493"/>
                        <a:pt x="113826" y="130098"/>
                      </a:cubicBezTo>
                      <a:lnTo>
                        <a:pt x="113826" y="159879"/>
                      </a:lnTo>
                      <a:cubicBezTo>
                        <a:pt x="113826" y="160484"/>
                        <a:pt x="114315" y="160973"/>
                        <a:pt x="114920" y="160973"/>
                      </a:cubicBezTo>
                      <a:lnTo>
                        <a:pt x="219552" y="160973"/>
                      </a:lnTo>
                      <a:cubicBezTo>
                        <a:pt x="225196" y="160973"/>
                        <a:pt x="229345" y="159223"/>
                        <a:pt x="231874" y="155774"/>
                      </a:cubicBezTo>
                      <a:cubicBezTo>
                        <a:pt x="235629" y="150653"/>
                        <a:pt x="236070" y="141872"/>
                        <a:pt x="233040" y="132290"/>
                      </a:cubicBezTo>
                      <a:lnTo>
                        <a:pt x="208163" y="55245"/>
                      </a:lnTo>
                      <a:cubicBezTo>
                        <a:pt x="198164" y="27107"/>
                        <a:pt x="183127" y="13911"/>
                        <a:pt x="160917" y="13911"/>
                      </a:cubicBezTo>
                      <a:lnTo>
                        <a:pt x="159063" y="13911"/>
                      </a:lnTo>
                      <a:lnTo>
                        <a:pt x="119893" y="77912"/>
                      </a:lnTo>
                      <a:cubicBezTo>
                        <a:pt x="117462" y="82449"/>
                        <a:pt x="112401" y="85467"/>
                        <a:pt x="106874" y="85467"/>
                      </a:cubicBezTo>
                      <a:lnTo>
                        <a:pt x="106867" y="85467"/>
                      </a:lnTo>
                      <a:cubicBezTo>
                        <a:pt x="101340" y="85467"/>
                        <a:pt x="96286" y="82440"/>
                        <a:pt x="93662" y="77575"/>
                      </a:cubicBezTo>
                      <a:lnTo>
                        <a:pt x="54684" y="13911"/>
                      </a:lnTo>
                      <a:lnTo>
                        <a:pt x="52837" y="13911"/>
                      </a:lnTo>
                      <a:cubicBezTo>
                        <a:pt x="35353" y="13911"/>
                        <a:pt x="22693" y="21816"/>
                        <a:pt x="12995" y="38792"/>
                      </a:cubicBezTo>
                      <a:cubicBezTo>
                        <a:pt x="11087" y="42128"/>
                        <a:pt x="6840" y="43279"/>
                        <a:pt x="3507" y="41381"/>
                      </a:cubicBezTo>
                      <a:cubicBezTo>
                        <a:pt x="171" y="39476"/>
                        <a:pt x="-989" y="35226"/>
                        <a:pt x="918" y="31893"/>
                      </a:cubicBezTo>
                      <a:cubicBezTo>
                        <a:pt x="13007" y="10733"/>
                        <a:pt x="30478" y="0"/>
                        <a:pt x="52837" y="0"/>
                      </a:cubicBezTo>
                      <a:lnTo>
                        <a:pt x="58582" y="0"/>
                      </a:lnTo>
                      <a:cubicBezTo>
                        <a:pt x="61000" y="0"/>
                        <a:pt x="63248" y="1261"/>
                        <a:pt x="64512" y="3323"/>
                      </a:cubicBezTo>
                      <a:lnTo>
                        <a:pt x="105720" y="70647"/>
                      </a:lnTo>
                      <a:cubicBezTo>
                        <a:pt x="105991" y="71127"/>
                        <a:pt x="106221" y="71556"/>
                        <a:pt x="106874" y="71556"/>
                      </a:cubicBezTo>
                      <a:lnTo>
                        <a:pt x="106874" y="71556"/>
                      </a:lnTo>
                      <a:cubicBezTo>
                        <a:pt x="107533" y="71556"/>
                        <a:pt x="107763" y="71120"/>
                        <a:pt x="107845" y="70979"/>
                      </a:cubicBezTo>
                      <a:lnTo>
                        <a:pt x="149235" y="3323"/>
                      </a:lnTo>
                      <a:cubicBezTo>
                        <a:pt x="150500" y="1258"/>
                        <a:pt x="152741" y="0"/>
                        <a:pt x="155166" y="0"/>
                      </a:cubicBezTo>
                      <a:lnTo>
                        <a:pt x="160920" y="0"/>
                      </a:lnTo>
                      <a:cubicBezTo>
                        <a:pt x="189039" y="0"/>
                        <a:pt x="209367" y="17086"/>
                        <a:pt x="221336" y="50780"/>
                      </a:cubicBezTo>
                      <a:lnTo>
                        <a:pt x="246296" y="128058"/>
                      </a:lnTo>
                      <a:cubicBezTo>
                        <a:pt x="250732" y="142096"/>
                        <a:pt x="249556" y="155181"/>
                        <a:pt x="243095" y="163994"/>
                      </a:cubicBezTo>
                      <a:cubicBezTo>
                        <a:pt x="239447" y="168957"/>
                        <a:pt x="232413" y="174878"/>
                        <a:pt x="219548" y="174878"/>
                      </a:cubicBezTo>
                      <a:close/>
                    </a:path>
                  </a:pathLst>
                </a:custGeom>
                <a:grpFill/>
                <a:ln w="314" cap="flat">
                  <a:noFill/>
                  <a:prstDash val="solid"/>
                  <a:miter/>
                </a:ln>
              </p:spPr>
              <p:txBody>
                <a:bodyPr rtlCol="0" anchor="ctr"/>
                <a:lstStyle/>
                <a:p>
                  <a:endParaRPr lang="en-GB" dirty="0"/>
                </a:p>
              </p:txBody>
            </p:sp>
          </p:grpSp>
          <p:sp>
            <p:nvSpPr>
              <p:cNvPr id="119" name="Freihandform: Form 74">
                <a:extLst>
                  <a:ext uri="{FF2B5EF4-FFF2-40B4-BE49-F238E27FC236}">
                    <a16:creationId xmlns:a16="http://schemas.microsoft.com/office/drawing/2014/main" id="{B220C9A7-0944-4EFD-9691-E903A48365D3}"/>
                  </a:ext>
                </a:extLst>
              </p:cNvPr>
              <p:cNvSpPr/>
              <p:nvPr/>
            </p:nvSpPr>
            <p:spPr>
              <a:xfrm>
                <a:off x="2729988" y="2850655"/>
                <a:ext cx="327801" cy="13911"/>
              </a:xfrm>
              <a:custGeom>
                <a:avLst/>
                <a:gdLst>
                  <a:gd name="connsiteX0" fmla="*/ 320846 w 327801"/>
                  <a:gd name="connsiteY0" fmla="*/ 13911 h 13911"/>
                  <a:gd name="connsiteX1" fmla="*/ 6956 w 327801"/>
                  <a:gd name="connsiteY1" fmla="*/ 13911 h 13911"/>
                  <a:gd name="connsiteX2" fmla="*/ 0 w 327801"/>
                  <a:gd name="connsiteY2" fmla="*/ 6956 h 13911"/>
                  <a:gd name="connsiteX3" fmla="*/ 6956 w 327801"/>
                  <a:gd name="connsiteY3" fmla="*/ 0 h 13911"/>
                  <a:gd name="connsiteX4" fmla="*/ 320846 w 327801"/>
                  <a:gd name="connsiteY4" fmla="*/ 0 h 13911"/>
                  <a:gd name="connsiteX5" fmla="*/ 327801 w 327801"/>
                  <a:gd name="connsiteY5" fmla="*/ 6956 h 13911"/>
                  <a:gd name="connsiteX6" fmla="*/ 320846 w 327801"/>
                  <a:gd name="connsiteY6" fmla="*/ 13911 h 1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801" h="13911">
                    <a:moveTo>
                      <a:pt x="320846" y="13911"/>
                    </a:moveTo>
                    <a:lnTo>
                      <a:pt x="6956" y="13911"/>
                    </a:lnTo>
                    <a:cubicBezTo>
                      <a:pt x="3112" y="13911"/>
                      <a:pt x="0" y="10796"/>
                      <a:pt x="0" y="6956"/>
                    </a:cubicBezTo>
                    <a:cubicBezTo>
                      <a:pt x="0" y="3115"/>
                      <a:pt x="3112" y="0"/>
                      <a:pt x="6956" y="0"/>
                    </a:cubicBezTo>
                    <a:lnTo>
                      <a:pt x="320846" y="0"/>
                    </a:lnTo>
                    <a:cubicBezTo>
                      <a:pt x="324689" y="0"/>
                      <a:pt x="327801" y="3115"/>
                      <a:pt x="327801" y="6956"/>
                    </a:cubicBezTo>
                    <a:cubicBezTo>
                      <a:pt x="327801" y="10799"/>
                      <a:pt x="324693" y="13911"/>
                      <a:pt x="320846" y="13911"/>
                    </a:cubicBezTo>
                    <a:close/>
                  </a:path>
                </a:pathLst>
              </a:custGeom>
              <a:grpFill/>
              <a:ln w="314" cap="flat">
                <a:noFill/>
                <a:prstDash val="solid"/>
                <a:miter/>
              </a:ln>
            </p:spPr>
            <p:txBody>
              <a:bodyPr rtlCol="0" anchor="ctr"/>
              <a:lstStyle/>
              <a:p>
                <a:endParaRPr lang="en-GB" dirty="0"/>
              </a:p>
            </p:txBody>
          </p:sp>
          <p:sp>
            <p:nvSpPr>
              <p:cNvPr id="120" name="Freihandform: Form 76">
                <a:extLst>
                  <a:ext uri="{FF2B5EF4-FFF2-40B4-BE49-F238E27FC236}">
                    <a16:creationId xmlns:a16="http://schemas.microsoft.com/office/drawing/2014/main" id="{C691FE19-C24C-4E99-8DDE-2F9C3A17BDC0}"/>
                  </a:ext>
                </a:extLst>
              </p:cNvPr>
              <p:cNvSpPr/>
              <p:nvPr/>
            </p:nvSpPr>
            <p:spPr>
              <a:xfrm>
                <a:off x="2795987" y="2851535"/>
                <a:ext cx="176889" cy="134632"/>
              </a:xfrm>
              <a:custGeom>
                <a:avLst/>
                <a:gdLst>
                  <a:gd name="connsiteX0" fmla="*/ 169935 w 176889"/>
                  <a:gd name="connsiteY0" fmla="*/ 134632 h 134632"/>
                  <a:gd name="connsiteX1" fmla="*/ 6956 w 176889"/>
                  <a:gd name="connsiteY1" fmla="*/ 134632 h 134632"/>
                  <a:gd name="connsiteX2" fmla="*/ 1407 w 176889"/>
                  <a:gd name="connsiteY2" fmla="*/ 131867 h 134632"/>
                  <a:gd name="connsiteX3" fmla="*/ 265 w 176889"/>
                  <a:gd name="connsiteY3" fmla="*/ 125769 h 134632"/>
                  <a:gd name="connsiteX4" fmla="*/ 34694 w 176889"/>
                  <a:gd name="connsiteY4" fmla="*/ 5045 h 134632"/>
                  <a:gd name="connsiteX5" fmla="*/ 41384 w 176889"/>
                  <a:gd name="connsiteY5" fmla="*/ 0 h 134632"/>
                  <a:gd name="connsiteX6" fmla="*/ 137966 w 176889"/>
                  <a:gd name="connsiteY6" fmla="*/ 0 h 134632"/>
                  <a:gd name="connsiteX7" fmla="*/ 144691 w 176889"/>
                  <a:gd name="connsiteY7" fmla="*/ 5174 h 134632"/>
                  <a:gd name="connsiteX8" fmla="*/ 176660 w 176889"/>
                  <a:gd name="connsiteY8" fmla="*/ 125899 h 134632"/>
                  <a:gd name="connsiteX9" fmla="*/ 175443 w 176889"/>
                  <a:gd name="connsiteY9" fmla="*/ 131921 h 134632"/>
                  <a:gd name="connsiteX10" fmla="*/ 169935 w 176889"/>
                  <a:gd name="connsiteY10" fmla="*/ 134632 h 134632"/>
                  <a:gd name="connsiteX11" fmla="*/ 16173 w 176889"/>
                  <a:gd name="connsiteY11" fmla="*/ 120721 h 134632"/>
                  <a:gd name="connsiteX12" fmla="*/ 160901 w 176889"/>
                  <a:gd name="connsiteY12" fmla="*/ 120721 h 134632"/>
                  <a:gd name="connsiteX13" fmla="*/ 132612 w 176889"/>
                  <a:gd name="connsiteY13" fmla="*/ 13908 h 134632"/>
                  <a:gd name="connsiteX14" fmla="*/ 46631 w 176889"/>
                  <a:gd name="connsiteY14" fmla="*/ 13908 h 134632"/>
                  <a:gd name="connsiteX15" fmla="*/ 16173 w 176889"/>
                  <a:gd name="connsiteY15" fmla="*/ 120721 h 134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6889" h="134632">
                    <a:moveTo>
                      <a:pt x="169935" y="134632"/>
                    </a:moveTo>
                    <a:lnTo>
                      <a:pt x="6956" y="134632"/>
                    </a:lnTo>
                    <a:cubicBezTo>
                      <a:pt x="4777" y="134632"/>
                      <a:pt x="2718" y="133611"/>
                      <a:pt x="1407" y="131867"/>
                    </a:cubicBezTo>
                    <a:cubicBezTo>
                      <a:pt x="89" y="130124"/>
                      <a:pt x="-330" y="127866"/>
                      <a:pt x="265" y="125769"/>
                    </a:cubicBezTo>
                    <a:lnTo>
                      <a:pt x="34694" y="5045"/>
                    </a:lnTo>
                    <a:cubicBezTo>
                      <a:pt x="35548" y="2059"/>
                      <a:pt x="38279" y="0"/>
                      <a:pt x="41384" y="0"/>
                    </a:cubicBezTo>
                    <a:lnTo>
                      <a:pt x="137966" y="0"/>
                    </a:lnTo>
                    <a:cubicBezTo>
                      <a:pt x="141125" y="0"/>
                      <a:pt x="143881" y="2125"/>
                      <a:pt x="144691" y="5174"/>
                    </a:cubicBezTo>
                    <a:lnTo>
                      <a:pt x="176660" y="125899"/>
                    </a:lnTo>
                    <a:cubicBezTo>
                      <a:pt x="177209" y="127983"/>
                      <a:pt x="176761" y="130209"/>
                      <a:pt x="175443" y="131921"/>
                    </a:cubicBezTo>
                    <a:cubicBezTo>
                      <a:pt x="174131" y="133630"/>
                      <a:pt x="172094" y="134632"/>
                      <a:pt x="169935" y="134632"/>
                    </a:cubicBezTo>
                    <a:close/>
                    <a:moveTo>
                      <a:pt x="16173" y="120721"/>
                    </a:moveTo>
                    <a:lnTo>
                      <a:pt x="160901" y="120721"/>
                    </a:lnTo>
                    <a:lnTo>
                      <a:pt x="132612" y="13908"/>
                    </a:lnTo>
                    <a:lnTo>
                      <a:pt x="46631" y="13908"/>
                    </a:lnTo>
                    <a:lnTo>
                      <a:pt x="16173" y="120721"/>
                    </a:lnTo>
                    <a:close/>
                  </a:path>
                </a:pathLst>
              </a:custGeom>
              <a:grpFill/>
              <a:ln w="314" cap="flat">
                <a:noFill/>
                <a:prstDash val="solid"/>
                <a:miter/>
              </a:ln>
            </p:spPr>
            <p:txBody>
              <a:bodyPr rtlCol="0" anchor="ctr"/>
              <a:lstStyle/>
              <a:p>
                <a:endParaRPr lang="en-GB" dirty="0"/>
              </a:p>
            </p:txBody>
          </p:sp>
        </p:grpSp>
        <p:grpSp>
          <p:nvGrpSpPr>
            <p:cNvPr id="102" name="Gruppieren 514">
              <a:extLst>
                <a:ext uri="{FF2B5EF4-FFF2-40B4-BE49-F238E27FC236}">
                  <a16:creationId xmlns:a16="http://schemas.microsoft.com/office/drawing/2014/main" id="{23BDA6FC-1D13-42BF-AA88-F5CDD97A16D9}"/>
                </a:ext>
              </a:extLst>
            </p:cNvPr>
            <p:cNvGrpSpPr>
              <a:grpSpLocks noChangeAspect="1"/>
            </p:cNvGrpSpPr>
            <p:nvPr/>
          </p:nvGrpSpPr>
          <p:grpSpPr>
            <a:xfrm>
              <a:off x="2645096" y="1585984"/>
              <a:ext cx="357140" cy="432000"/>
              <a:chOff x="2599202" y="2556220"/>
              <a:chExt cx="328828" cy="397754"/>
            </a:xfrm>
          </p:grpSpPr>
          <p:sp>
            <p:nvSpPr>
              <p:cNvPr id="103" name="Freihandform: Form 77">
                <a:extLst>
                  <a:ext uri="{FF2B5EF4-FFF2-40B4-BE49-F238E27FC236}">
                    <a16:creationId xmlns:a16="http://schemas.microsoft.com/office/drawing/2014/main" id="{21B15819-E098-4A0F-947C-58CDB79B52F7}"/>
                  </a:ext>
                </a:extLst>
              </p:cNvPr>
              <p:cNvSpPr/>
              <p:nvPr/>
            </p:nvSpPr>
            <p:spPr>
              <a:xfrm>
                <a:off x="2847429" y="2883721"/>
                <a:ext cx="16289" cy="30014"/>
              </a:xfrm>
              <a:custGeom>
                <a:avLst/>
                <a:gdLst>
                  <a:gd name="connsiteX0" fmla="*/ 6962 w 16289"/>
                  <a:gd name="connsiteY0" fmla="*/ 30014 h 30014"/>
                  <a:gd name="connsiteX1" fmla="*/ 5938 w 16289"/>
                  <a:gd name="connsiteY1" fmla="*/ 29938 h 30014"/>
                  <a:gd name="connsiteX2" fmla="*/ 76 w 16289"/>
                  <a:gd name="connsiteY2" fmla="*/ 22043 h 30014"/>
                  <a:gd name="connsiteX3" fmla="*/ 2454 w 16289"/>
                  <a:gd name="connsiteY3" fmla="*/ 5947 h 30014"/>
                  <a:gd name="connsiteX4" fmla="*/ 10352 w 16289"/>
                  <a:gd name="connsiteY4" fmla="*/ 82 h 30014"/>
                  <a:gd name="connsiteX5" fmla="*/ 16214 w 16289"/>
                  <a:gd name="connsiteY5" fmla="*/ 7977 h 30014"/>
                  <a:gd name="connsiteX6" fmla="*/ 13836 w 16289"/>
                  <a:gd name="connsiteY6" fmla="*/ 24074 h 30014"/>
                  <a:gd name="connsiteX7" fmla="*/ 6962 w 16289"/>
                  <a:gd name="connsiteY7" fmla="*/ 30014 h 3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89" h="30014">
                    <a:moveTo>
                      <a:pt x="6962" y="30014"/>
                    </a:moveTo>
                    <a:cubicBezTo>
                      <a:pt x="6622" y="30014"/>
                      <a:pt x="6285" y="29989"/>
                      <a:pt x="5938" y="29938"/>
                    </a:cubicBezTo>
                    <a:cubicBezTo>
                      <a:pt x="2141" y="29377"/>
                      <a:pt x="-488" y="25843"/>
                      <a:pt x="76" y="22043"/>
                    </a:cubicBezTo>
                    <a:lnTo>
                      <a:pt x="2454" y="5947"/>
                    </a:lnTo>
                    <a:cubicBezTo>
                      <a:pt x="3012" y="2144"/>
                      <a:pt x="6508" y="-508"/>
                      <a:pt x="10352" y="82"/>
                    </a:cubicBezTo>
                    <a:cubicBezTo>
                      <a:pt x="14148" y="643"/>
                      <a:pt x="16778" y="4178"/>
                      <a:pt x="16214" y="7977"/>
                    </a:cubicBezTo>
                    <a:lnTo>
                      <a:pt x="13836" y="24074"/>
                    </a:lnTo>
                    <a:cubicBezTo>
                      <a:pt x="13325" y="27529"/>
                      <a:pt x="10358" y="30014"/>
                      <a:pt x="6962" y="30014"/>
                    </a:cubicBezTo>
                    <a:close/>
                  </a:path>
                </a:pathLst>
              </a:custGeom>
              <a:solidFill>
                <a:schemeClr val="accent1"/>
              </a:solidFill>
              <a:ln w="314" cap="flat">
                <a:noFill/>
                <a:prstDash val="solid"/>
                <a:miter/>
              </a:ln>
            </p:spPr>
            <p:txBody>
              <a:bodyPr rtlCol="0" anchor="ctr"/>
              <a:lstStyle/>
              <a:p>
                <a:endParaRPr lang="en-GB" dirty="0"/>
              </a:p>
            </p:txBody>
          </p:sp>
          <p:sp>
            <p:nvSpPr>
              <p:cNvPr id="104" name="Freihandform: Form 78">
                <a:extLst>
                  <a:ext uri="{FF2B5EF4-FFF2-40B4-BE49-F238E27FC236}">
                    <a16:creationId xmlns:a16="http://schemas.microsoft.com/office/drawing/2014/main" id="{C82AC719-5C28-49AB-B6BB-94A22019DC86}"/>
                  </a:ext>
                </a:extLst>
              </p:cNvPr>
              <p:cNvSpPr/>
              <p:nvPr/>
            </p:nvSpPr>
            <p:spPr>
              <a:xfrm>
                <a:off x="2878046" y="2883731"/>
                <a:ext cx="14246" cy="46100"/>
              </a:xfrm>
              <a:custGeom>
                <a:avLst/>
                <a:gdLst>
                  <a:gd name="connsiteX0" fmla="*/ 6956 w 14246"/>
                  <a:gd name="connsiteY0" fmla="*/ 46101 h 46100"/>
                  <a:gd name="connsiteX1" fmla="*/ 6880 w 14246"/>
                  <a:gd name="connsiteY1" fmla="*/ 46101 h 46100"/>
                  <a:gd name="connsiteX2" fmla="*/ 0 w 14246"/>
                  <a:gd name="connsiteY2" fmla="*/ 39076 h 46100"/>
                  <a:gd name="connsiteX3" fmla="*/ 335 w 14246"/>
                  <a:gd name="connsiteY3" fmla="*/ 6883 h 46100"/>
                  <a:gd name="connsiteX4" fmla="*/ 7290 w 14246"/>
                  <a:gd name="connsiteY4" fmla="*/ 0 h 46100"/>
                  <a:gd name="connsiteX5" fmla="*/ 7366 w 14246"/>
                  <a:gd name="connsiteY5" fmla="*/ 0 h 46100"/>
                  <a:gd name="connsiteX6" fmla="*/ 14246 w 14246"/>
                  <a:gd name="connsiteY6" fmla="*/ 7025 h 46100"/>
                  <a:gd name="connsiteX7" fmla="*/ 13912 w 14246"/>
                  <a:gd name="connsiteY7" fmla="*/ 39218 h 46100"/>
                  <a:gd name="connsiteX8" fmla="*/ 6956 w 14246"/>
                  <a:gd name="connsiteY8" fmla="*/ 46101 h 4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46" h="46100">
                    <a:moveTo>
                      <a:pt x="6956" y="46101"/>
                    </a:moveTo>
                    <a:cubicBezTo>
                      <a:pt x="6937" y="46101"/>
                      <a:pt x="6909" y="46101"/>
                      <a:pt x="6880" y="46101"/>
                    </a:cubicBezTo>
                    <a:cubicBezTo>
                      <a:pt x="3043" y="46060"/>
                      <a:pt x="-41" y="42916"/>
                      <a:pt x="0" y="39076"/>
                    </a:cubicBezTo>
                    <a:lnTo>
                      <a:pt x="335" y="6883"/>
                    </a:lnTo>
                    <a:cubicBezTo>
                      <a:pt x="376" y="3065"/>
                      <a:pt x="3478" y="0"/>
                      <a:pt x="7290" y="0"/>
                    </a:cubicBezTo>
                    <a:cubicBezTo>
                      <a:pt x="7309" y="0"/>
                      <a:pt x="7338" y="0"/>
                      <a:pt x="7366" y="0"/>
                    </a:cubicBezTo>
                    <a:cubicBezTo>
                      <a:pt x="11203" y="41"/>
                      <a:pt x="14287" y="3185"/>
                      <a:pt x="14246" y="7025"/>
                    </a:cubicBezTo>
                    <a:lnTo>
                      <a:pt x="13912" y="39218"/>
                    </a:lnTo>
                    <a:cubicBezTo>
                      <a:pt x="13871" y="43033"/>
                      <a:pt x="10768" y="46101"/>
                      <a:pt x="6956" y="46101"/>
                    </a:cubicBezTo>
                    <a:close/>
                  </a:path>
                </a:pathLst>
              </a:custGeom>
              <a:solidFill>
                <a:schemeClr val="accent1"/>
              </a:solidFill>
              <a:ln w="314" cap="flat">
                <a:noFill/>
                <a:prstDash val="solid"/>
                <a:miter/>
              </a:ln>
            </p:spPr>
            <p:txBody>
              <a:bodyPr rtlCol="0" anchor="ctr"/>
              <a:lstStyle/>
              <a:p>
                <a:endParaRPr lang="en-GB" dirty="0"/>
              </a:p>
            </p:txBody>
          </p:sp>
          <p:sp>
            <p:nvSpPr>
              <p:cNvPr id="105" name="Freihandform: Form 79">
                <a:extLst>
                  <a:ext uri="{FF2B5EF4-FFF2-40B4-BE49-F238E27FC236}">
                    <a16:creationId xmlns:a16="http://schemas.microsoft.com/office/drawing/2014/main" id="{00D7E572-AC30-41FB-A4C0-AADB9D910F1F}"/>
                  </a:ext>
                </a:extLst>
              </p:cNvPr>
              <p:cNvSpPr/>
              <p:nvPr/>
            </p:nvSpPr>
            <p:spPr>
              <a:xfrm>
                <a:off x="2906945" y="2883728"/>
                <a:ext cx="21085" cy="70246"/>
              </a:xfrm>
              <a:custGeom>
                <a:avLst/>
                <a:gdLst>
                  <a:gd name="connsiteX0" fmla="*/ 14122 w 21085"/>
                  <a:gd name="connsiteY0" fmla="*/ 70247 h 70246"/>
                  <a:gd name="connsiteX1" fmla="*/ 7229 w 21085"/>
                  <a:gd name="connsiteY1" fmla="*/ 64171 h 70246"/>
                  <a:gd name="connsiteX2" fmla="*/ 56 w 21085"/>
                  <a:gd name="connsiteY2" fmla="*/ 7835 h 70246"/>
                  <a:gd name="connsiteX3" fmla="*/ 6081 w 21085"/>
                  <a:gd name="connsiteY3" fmla="*/ 53 h 70246"/>
                  <a:gd name="connsiteX4" fmla="*/ 13857 w 21085"/>
                  <a:gd name="connsiteY4" fmla="*/ 6076 h 70246"/>
                  <a:gd name="connsiteX5" fmla="*/ 21030 w 21085"/>
                  <a:gd name="connsiteY5" fmla="*/ 62412 h 70246"/>
                  <a:gd name="connsiteX6" fmla="*/ 15004 w 21085"/>
                  <a:gd name="connsiteY6" fmla="*/ 70190 h 70246"/>
                  <a:gd name="connsiteX7" fmla="*/ 14122 w 21085"/>
                  <a:gd name="connsiteY7" fmla="*/ 70247 h 7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85" h="70246">
                    <a:moveTo>
                      <a:pt x="14122" y="70247"/>
                    </a:moveTo>
                    <a:cubicBezTo>
                      <a:pt x="10672" y="70247"/>
                      <a:pt x="7677" y="67683"/>
                      <a:pt x="7229" y="64171"/>
                    </a:cubicBezTo>
                    <a:lnTo>
                      <a:pt x="56" y="7835"/>
                    </a:lnTo>
                    <a:cubicBezTo>
                      <a:pt x="-427" y="4026"/>
                      <a:pt x="2269" y="539"/>
                      <a:pt x="6081" y="53"/>
                    </a:cubicBezTo>
                    <a:cubicBezTo>
                      <a:pt x="9931" y="-416"/>
                      <a:pt x="13374" y="2267"/>
                      <a:pt x="13857" y="6076"/>
                    </a:cubicBezTo>
                    <a:lnTo>
                      <a:pt x="21030" y="62412"/>
                    </a:lnTo>
                    <a:cubicBezTo>
                      <a:pt x="21512" y="66220"/>
                      <a:pt x="18817" y="69705"/>
                      <a:pt x="15004" y="70190"/>
                    </a:cubicBezTo>
                    <a:cubicBezTo>
                      <a:pt x="14708" y="70228"/>
                      <a:pt x="14415" y="70247"/>
                      <a:pt x="14122" y="70247"/>
                    </a:cubicBezTo>
                    <a:close/>
                  </a:path>
                </a:pathLst>
              </a:custGeom>
              <a:solidFill>
                <a:schemeClr val="accent1"/>
              </a:solidFill>
              <a:ln w="314" cap="flat">
                <a:noFill/>
                <a:prstDash val="solid"/>
                <a:miter/>
              </a:ln>
            </p:spPr>
            <p:txBody>
              <a:bodyPr rtlCol="0" anchor="ctr"/>
              <a:lstStyle/>
              <a:p>
                <a:endParaRPr lang="en-GB" dirty="0"/>
              </a:p>
            </p:txBody>
          </p:sp>
          <p:grpSp>
            <p:nvGrpSpPr>
              <p:cNvPr id="106" name="Graphic 25">
                <a:extLst>
                  <a:ext uri="{FF2B5EF4-FFF2-40B4-BE49-F238E27FC236}">
                    <a16:creationId xmlns:a16="http://schemas.microsoft.com/office/drawing/2014/main" id="{67CF170F-0B55-43E7-8C81-D0EDE80D5C98}"/>
                  </a:ext>
                </a:extLst>
              </p:cNvPr>
              <p:cNvGrpSpPr/>
              <p:nvPr/>
            </p:nvGrpSpPr>
            <p:grpSpPr>
              <a:xfrm>
                <a:off x="2599202" y="2556220"/>
                <a:ext cx="217806" cy="94393"/>
                <a:chOff x="2599202" y="2556220"/>
                <a:chExt cx="217806" cy="94393"/>
              </a:xfrm>
              <a:solidFill>
                <a:schemeClr val="accent1"/>
              </a:solidFill>
            </p:grpSpPr>
            <p:grpSp>
              <p:nvGrpSpPr>
                <p:cNvPr id="107" name="Graphic 25">
                  <a:extLst>
                    <a:ext uri="{FF2B5EF4-FFF2-40B4-BE49-F238E27FC236}">
                      <a16:creationId xmlns:a16="http://schemas.microsoft.com/office/drawing/2014/main" id="{E717DE72-5713-4236-AACB-B0BB36A2D7C1}"/>
                    </a:ext>
                  </a:extLst>
                </p:cNvPr>
                <p:cNvGrpSpPr/>
                <p:nvPr/>
              </p:nvGrpSpPr>
              <p:grpSpPr>
                <a:xfrm>
                  <a:off x="2599202" y="2556220"/>
                  <a:ext cx="94396" cy="94393"/>
                  <a:chOff x="2599202" y="2556220"/>
                  <a:chExt cx="94396" cy="94393"/>
                </a:xfrm>
                <a:solidFill>
                  <a:schemeClr val="accent1"/>
                </a:solidFill>
              </p:grpSpPr>
              <p:sp>
                <p:nvSpPr>
                  <p:cNvPr id="112" name="Freihandform: Form 82">
                    <a:extLst>
                      <a:ext uri="{FF2B5EF4-FFF2-40B4-BE49-F238E27FC236}">
                        <a16:creationId xmlns:a16="http://schemas.microsoft.com/office/drawing/2014/main" id="{D3B4F52C-474F-48FA-ACDC-E019E4BBB6DB}"/>
                      </a:ext>
                    </a:extLst>
                  </p:cNvPr>
                  <p:cNvSpPr/>
                  <p:nvPr/>
                </p:nvSpPr>
                <p:spPr>
                  <a:xfrm>
                    <a:off x="2599202" y="2556220"/>
                    <a:ext cx="94396" cy="94393"/>
                  </a:xfrm>
                  <a:custGeom>
                    <a:avLst/>
                    <a:gdLst>
                      <a:gd name="connsiteX0" fmla="*/ 87441 w 94396"/>
                      <a:gd name="connsiteY0" fmla="*/ 94393 h 94393"/>
                      <a:gd name="connsiteX1" fmla="*/ 6956 w 94396"/>
                      <a:gd name="connsiteY1" fmla="*/ 94393 h 94393"/>
                      <a:gd name="connsiteX2" fmla="*/ 0 w 94396"/>
                      <a:gd name="connsiteY2" fmla="*/ 87438 h 94393"/>
                      <a:gd name="connsiteX3" fmla="*/ 0 w 94396"/>
                      <a:gd name="connsiteY3" fmla="*/ 6956 h 94393"/>
                      <a:gd name="connsiteX4" fmla="*/ 6956 w 94396"/>
                      <a:gd name="connsiteY4" fmla="*/ 0 h 94393"/>
                      <a:gd name="connsiteX5" fmla="*/ 47198 w 94396"/>
                      <a:gd name="connsiteY5" fmla="*/ 0 h 94393"/>
                      <a:gd name="connsiteX6" fmla="*/ 54154 w 94396"/>
                      <a:gd name="connsiteY6" fmla="*/ 6956 h 94393"/>
                      <a:gd name="connsiteX7" fmla="*/ 47198 w 94396"/>
                      <a:gd name="connsiteY7" fmla="*/ 13911 h 94393"/>
                      <a:gd name="connsiteX8" fmla="*/ 13911 w 94396"/>
                      <a:gd name="connsiteY8" fmla="*/ 13911 h 94393"/>
                      <a:gd name="connsiteX9" fmla="*/ 13911 w 94396"/>
                      <a:gd name="connsiteY9" fmla="*/ 80482 h 94393"/>
                      <a:gd name="connsiteX10" fmla="*/ 80485 w 94396"/>
                      <a:gd name="connsiteY10" fmla="*/ 80482 h 94393"/>
                      <a:gd name="connsiteX11" fmla="*/ 80485 w 94396"/>
                      <a:gd name="connsiteY11" fmla="*/ 47198 h 94393"/>
                      <a:gd name="connsiteX12" fmla="*/ 87441 w 94396"/>
                      <a:gd name="connsiteY12" fmla="*/ 40242 h 94393"/>
                      <a:gd name="connsiteX13" fmla="*/ 94396 w 94396"/>
                      <a:gd name="connsiteY13" fmla="*/ 47198 h 94393"/>
                      <a:gd name="connsiteX14" fmla="*/ 94396 w 94396"/>
                      <a:gd name="connsiteY14" fmla="*/ 87438 h 94393"/>
                      <a:gd name="connsiteX15" fmla="*/ 87441 w 94396"/>
                      <a:gd name="connsiteY15" fmla="*/ 94393 h 9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396" h="94393">
                        <a:moveTo>
                          <a:pt x="87441" y="94393"/>
                        </a:moveTo>
                        <a:lnTo>
                          <a:pt x="6956" y="94393"/>
                        </a:lnTo>
                        <a:cubicBezTo>
                          <a:pt x="3112" y="94393"/>
                          <a:pt x="0" y="91278"/>
                          <a:pt x="0" y="87438"/>
                        </a:cubicBezTo>
                        <a:lnTo>
                          <a:pt x="0" y="6956"/>
                        </a:lnTo>
                        <a:cubicBezTo>
                          <a:pt x="0" y="3115"/>
                          <a:pt x="3112" y="0"/>
                          <a:pt x="6956" y="0"/>
                        </a:cubicBezTo>
                        <a:lnTo>
                          <a:pt x="47198" y="0"/>
                        </a:lnTo>
                        <a:cubicBezTo>
                          <a:pt x="51042" y="0"/>
                          <a:pt x="54154" y="3115"/>
                          <a:pt x="54154" y="6956"/>
                        </a:cubicBezTo>
                        <a:cubicBezTo>
                          <a:pt x="54154" y="10796"/>
                          <a:pt x="51042" y="13911"/>
                          <a:pt x="47198" y="13911"/>
                        </a:cubicBezTo>
                        <a:lnTo>
                          <a:pt x="13911" y="13911"/>
                        </a:lnTo>
                        <a:lnTo>
                          <a:pt x="13911" y="80482"/>
                        </a:lnTo>
                        <a:lnTo>
                          <a:pt x="80485" y="80482"/>
                        </a:lnTo>
                        <a:lnTo>
                          <a:pt x="80485" y="47198"/>
                        </a:lnTo>
                        <a:cubicBezTo>
                          <a:pt x="80485" y="43358"/>
                          <a:pt x="83597" y="40242"/>
                          <a:pt x="87441" y="40242"/>
                        </a:cubicBezTo>
                        <a:cubicBezTo>
                          <a:pt x="91284" y="40242"/>
                          <a:pt x="94396" y="43358"/>
                          <a:pt x="94396" y="47198"/>
                        </a:cubicBezTo>
                        <a:lnTo>
                          <a:pt x="94396" y="87438"/>
                        </a:lnTo>
                        <a:cubicBezTo>
                          <a:pt x="94396" y="91281"/>
                          <a:pt x="91284" y="94393"/>
                          <a:pt x="87441" y="94393"/>
                        </a:cubicBezTo>
                        <a:close/>
                      </a:path>
                    </a:pathLst>
                  </a:custGeom>
                  <a:solidFill>
                    <a:schemeClr val="accent1"/>
                  </a:solidFill>
                  <a:ln w="314" cap="flat">
                    <a:noFill/>
                    <a:prstDash val="solid"/>
                    <a:miter/>
                  </a:ln>
                </p:spPr>
                <p:txBody>
                  <a:bodyPr rtlCol="0" anchor="ctr"/>
                  <a:lstStyle/>
                  <a:p>
                    <a:endParaRPr lang="en-GB" dirty="0"/>
                  </a:p>
                </p:txBody>
              </p:sp>
              <p:sp>
                <p:nvSpPr>
                  <p:cNvPr id="113" name="Freihandform: Form 83">
                    <a:extLst>
                      <a:ext uri="{FF2B5EF4-FFF2-40B4-BE49-F238E27FC236}">
                        <a16:creationId xmlns:a16="http://schemas.microsoft.com/office/drawing/2014/main" id="{705619EB-33DC-48F2-8871-5AA028D6841F}"/>
                      </a:ext>
                    </a:extLst>
                  </p:cNvPr>
                  <p:cNvSpPr/>
                  <p:nvPr/>
                </p:nvSpPr>
                <p:spPr>
                  <a:xfrm>
                    <a:off x="2623347" y="2580370"/>
                    <a:ext cx="46103" cy="46099"/>
                  </a:xfrm>
                  <a:custGeom>
                    <a:avLst/>
                    <a:gdLst>
                      <a:gd name="connsiteX0" fmla="*/ 39150 w 46103"/>
                      <a:gd name="connsiteY0" fmla="*/ 46099 h 46099"/>
                      <a:gd name="connsiteX1" fmla="*/ 34231 w 46103"/>
                      <a:gd name="connsiteY1" fmla="*/ 44062 h 46099"/>
                      <a:gd name="connsiteX2" fmla="*/ 2038 w 46103"/>
                      <a:gd name="connsiteY2" fmla="*/ 11873 h 46099"/>
                      <a:gd name="connsiteX3" fmla="*/ 2038 w 46103"/>
                      <a:gd name="connsiteY3" fmla="*/ 2038 h 46099"/>
                      <a:gd name="connsiteX4" fmla="*/ 11873 w 46103"/>
                      <a:gd name="connsiteY4" fmla="*/ 2038 h 46099"/>
                      <a:gd name="connsiteX5" fmla="*/ 44066 w 46103"/>
                      <a:gd name="connsiteY5" fmla="*/ 34228 h 46099"/>
                      <a:gd name="connsiteX6" fmla="*/ 44066 w 46103"/>
                      <a:gd name="connsiteY6" fmla="*/ 44062 h 46099"/>
                      <a:gd name="connsiteX7" fmla="*/ 39150 w 46103"/>
                      <a:gd name="connsiteY7" fmla="*/ 46099 h 4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3" h="46099">
                        <a:moveTo>
                          <a:pt x="39150" y="46099"/>
                        </a:moveTo>
                        <a:cubicBezTo>
                          <a:pt x="37372" y="46099"/>
                          <a:pt x="35590" y="45421"/>
                          <a:pt x="34231" y="44062"/>
                        </a:cubicBezTo>
                        <a:lnTo>
                          <a:pt x="2038" y="11873"/>
                        </a:lnTo>
                        <a:cubicBezTo>
                          <a:pt x="-679" y="9155"/>
                          <a:pt x="-679" y="4756"/>
                          <a:pt x="2038" y="2038"/>
                        </a:cubicBezTo>
                        <a:cubicBezTo>
                          <a:pt x="4756" y="-679"/>
                          <a:pt x="9155" y="-679"/>
                          <a:pt x="11873" y="2038"/>
                        </a:cubicBezTo>
                        <a:lnTo>
                          <a:pt x="44066" y="34228"/>
                        </a:lnTo>
                        <a:cubicBezTo>
                          <a:pt x="46783" y="36946"/>
                          <a:pt x="46783" y="41344"/>
                          <a:pt x="44066" y="44062"/>
                        </a:cubicBezTo>
                        <a:cubicBezTo>
                          <a:pt x="42710" y="45418"/>
                          <a:pt x="40931" y="46099"/>
                          <a:pt x="39150" y="46099"/>
                        </a:cubicBezTo>
                        <a:close/>
                      </a:path>
                    </a:pathLst>
                  </a:custGeom>
                  <a:solidFill>
                    <a:schemeClr val="accent1"/>
                  </a:solidFill>
                  <a:ln w="314" cap="flat">
                    <a:noFill/>
                    <a:prstDash val="solid"/>
                    <a:miter/>
                  </a:ln>
                </p:spPr>
                <p:txBody>
                  <a:bodyPr rtlCol="0" anchor="ctr"/>
                  <a:lstStyle/>
                  <a:p>
                    <a:endParaRPr lang="en-GB" dirty="0"/>
                  </a:p>
                </p:txBody>
              </p:sp>
              <p:sp>
                <p:nvSpPr>
                  <p:cNvPr id="114" name="Freihandform: Form 84">
                    <a:extLst>
                      <a:ext uri="{FF2B5EF4-FFF2-40B4-BE49-F238E27FC236}">
                        <a16:creationId xmlns:a16="http://schemas.microsoft.com/office/drawing/2014/main" id="{9559E8E5-D8B1-4370-9C60-EF33028D9A47}"/>
                      </a:ext>
                    </a:extLst>
                  </p:cNvPr>
                  <p:cNvSpPr/>
                  <p:nvPr/>
                </p:nvSpPr>
                <p:spPr>
                  <a:xfrm>
                    <a:off x="2623348" y="2560246"/>
                    <a:ext cx="65556" cy="66223"/>
                  </a:xfrm>
                  <a:custGeom>
                    <a:avLst/>
                    <a:gdLst>
                      <a:gd name="connsiteX0" fmla="*/ 6956 w 65556"/>
                      <a:gd name="connsiteY0" fmla="*/ 66224 h 66223"/>
                      <a:gd name="connsiteX1" fmla="*/ 2072 w 65556"/>
                      <a:gd name="connsiteY1" fmla="*/ 64215 h 66223"/>
                      <a:gd name="connsiteX2" fmla="*/ 2003 w 65556"/>
                      <a:gd name="connsiteY2" fmla="*/ 54381 h 66223"/>
                      <a:gd name="connsiteX3" fmla="*/ 53650 w 65556"/>
                      <a:gd name="connsiteY3" fmla="*/ 2069 h 66223"/>
                      <a:gd name="connsiteX4" fmla="*/ 63484 w 65556"/>
                      <a:gd name="connsiteY4" fmla="*/ 2009 h 66223"/>
                      <a:gd name="connsiteX5" fmla="*/ 63554 w 65556"/>
                      <a:gd name="connsiteY5" fmla="*/ 11843 h 66223"/>
                      <a:gd name="connsiteX6" fmla="*/ 11907 w 65556"/>
                      <a:gd name="connsiteY6" fmla="*/ 64155 h 66223"/>
                      <a:gd name="connsiteX7" fmla="*/ 6956 w 65556"/>
                      <a:gd name="connsiteY7" fmla="*/ 66224 h 6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56" h="66223">
                        <a:moveTo>
                          <a:pt x="6956" y="66224"/>
                        </a:moveTo>
                        <a:cubicBezTo>
                          <a:pt x="5191" y="66224"/>
                          <a:pt x="3425" y="65555"/>
                          <a:pt x="2072" y="64215"/>
                        </a:cubicBezTo>
                        <a:cubicBezTo>
                          <a:pt x="-665" y="61519"/>
                          <a:pt x="-693" y="57115"/>
                          <a:pt x="2003" y="54381"/>
                        </a:cubicBezTo>
                        <a:lnTo>
                          <a:pt x="53650" y="2069"/>
                        </a:lnTo>
                        <a:cubicBezTo>
                          <a:pt x="56358" y="-668"/>
                          <a:pt x="60754" y="-690"/>
                          <a:pt x="63484" y="2009"/>
                        </a:cubicBezTo>
                        <a:cubicBezTo>
                          <a:pt x="66221" y="4705"/>
                          <a:pt x="66250" y="9109"/>
                          <a:pt x="63554" y="11843"/>
                        </a:cubicBezTo>
                        <a:lnTo>
                          <a:pt x="11907" y="64155"/>
                        </a:lnTo>
                        <a:cubicBezTo>
                          <a:pt x="10541" y="65533"/>
                          <a:pt x="8750" y="66224"/>
                          <a:pt x="6956" y="66224"/>
                        </a:cubicBezTo>
                        <a:close/>
                      </a:path>
                    </a:pathLst>
                  </a:custGeom>
                  <a:solidFill>
                    <a:schemeClr val="accent1"/>
                  </a:solidFill>
                  <a:ln w="314" cap="flat">
                    <a:noFill/>
                    <a:prstDash val="solid"/>
                    <a:miter/>
                  </a:ln>
                </p:spPr>
                <p:txBody>
                  <a:bodyPr rtlCol="0" anchor="ctr"/>
                  <a:lstStyle/>
                  <a:p>
                    <a:endParaRPr lang="en-GB" dirty="0"/>
                  </a:p>
                </p:txBody>
              </p:sp>
            </p:grpSp>
            <p:grpSp>
              <p:nvGrpSpPr>
                <p:cNvPr id="108" name="Graphic 25">
                  <a:extLst>
                    <a:ext uri="{FF2B5EF4-FFF2-40B4-BE49-F238E27FC236}">
                      <a16:creationId xmlns:a16="http://schemas.microsoft.com/office/drawing/2014/main" id="{2D9598ED-AD31-4473-92AA-3585AEAF5F33}"/>
                    </a:ext>
                  </a:extLst>
                </p:cNvPr>
                <p:cNvGrpSpPr/>
                <p:nvPr/>
              </p:nvGrpSpPr>
              <p:grpSpPr>
                <a:xfrm>
                  <a:off x="2722613" y="2556220"/>
                  <a:ext cx="94396" cy="94393"/>
                  <a:chOff x="2722613" y="2556220"/>
                  <a:chExt cx="94396" cy="94393"/>
                </a:xfrm>
                <a:solidFill>
                  <a:schemeClr val="accent1"/>
                </a:solidFill>
              </p:grpSpPr>
              <p:sp>
                <p:nvSpPr>
                  <p:cNvPr id="109" name="Freihandform: Form 86">
                    <a:extLst>
                      <a:ext uri="{FF2B5EF4-FFF2-40B4-BE49-F238E27FC236}">
                        <a16:creationId xmlns:a16="http://schemas.microsoft.com/office/drawing/2014/main" id="{9AC66FB7-36B5-4C7E-A12E-8F4944737FE0}"/>
                      </a:ext>
                    </a:extLst>
                  </p:cNvPr>
                  <p:cNvSpPr/>
                  <p:nvPr/>
                </p:nvSpPr>
                <p:spPr>
                  <a:xfrm>
                    <a:off x="2722613" y="2556220"/>
                    <a:ext cx="94396" cy="94393"/>
                  </a:xfrm>
                  <a:custGeom>
                    <a:avLst/>
                    <a:gdLst>
                      <a:gd name="connsiteX0" fmla="*/ 87441 w 94396"/>
                      <a:gd name="connsiteY0" fmla="*/ 94393 h 94393"/>
                      <a:gd name="connsiteX1" fmla="*/ 6956 w 94396"/>
                      <a:gd name="connsiteY1" fmla="*/ 94393 h 94393"/>
                      <a:gd name="connsiteX2" fmla="*/ 0 w 94396"/>
                      <a:gd name="connsiteY2" fmla="*/ 87438 h 94393"/>
                      <a:gd name="connsiteX3" fmla="*/ 0 w 94396"/>
                      <a:gd name="connsiteY3" fmla="*/ 6956 h 94393"/>
                      <a:gd name="connsiteX4" fmla="*/ 6956 w 94396"/>
                      <a:gd name="connsiteY4" fmla="*/ 0 h 94393"/>
                      <a:gd name="connsiteX5" fmla="*/ 47198 w 94396"/>
                      <a:gd name="connsiteY5" fmla="*/ 0 h 94393"/>
                      <a:gd name="connsiteX6" fmla="*/ 54154 w 94396"/>
                      <a:gd name="connsiteY6" fmla="*/ 6956 h 94393"/>
                      <a:gd name="connsiteX7" fmla="*/ 47198 w 94396"/>
                      <a:gd name="connsiteY7" fmla="*/ 13911 h 94393"/>
                      <a:gd name="connsiteX8" fmla="*/ 13911 w 94396"/>
                      <a:gd name="connsiteY8" fmla="*/ 13911 h 94393"/>
                      <a:gd name="connsiteX9" fmla="*/ 13911 w 94396"/>
                      <a:gd name="connsiteY9" fmla="*/ 80482 h 94393"/>
                      <a:gd name="connsiteX10" fmla="*/ 80485 w 94396"/>
                      <a:gd name="connsiteY10" fmla="*/ 80482 h 94393"/>
                      <a:gd name="connsiteX11" fmla="*/ 80485 w 94396"/>
                      <a:gd name="connsiteY11" fmla="*/ 47198 h 94393"/>
                      <a:gd name="connsiteX12" fmla="*/ 87441 w 94396"/>
                      <a:gd name="connsiteY12" fmla="*/ 40242 h 94393"/>
                      <a:gd name="connsiteX13" fmla="*/ 94396 w 94396"/>
                      <a:gd name="connsiteY13" fmla="*/ 47198 h 94393"/>
                      <a:gd name="connsiteX14" fmla="*/ 94396 w 94396"/>
                      <a:gd name="connsiteY14" fmla="*/ 87438 h 94393"/>
                      <a:gd name="connsiteX15" fmla="*/ 87441 w 94396"/>
                      <a:gd name="connsiteY15" fmla="*/ 94393 h 94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4396" h="94393">
                        <a:moveTo>
                          <a:pt x="87441" y="94393"/>
                        </a:moveTo>
                        <a:lnTo>
                          <a:pt x="6956" y="94393"/>
                        </a:lnTo>
                        <a:cubicBezTo>
                          <a:pt x="3112" y="94393"/>
                          <a:pt x="0" y="91278"/>
                          <a:pt x="0" y="87438"/>
                        </a:cubicBezTo>
                        <a:lnTo>
                          <a:pt x="0" y="6956"/>
                        </a:lnTo>
                        <a:cubicBezTo>
                          <a:pt x="0" y="3115"/>
                          <a:pt x="3112" y="0"/>
                          <a:pt x="6956" y="0"/>
                        </a:cubicBezTo>
                        <a:lnTo>
                          <a:pt x="47198" y="0"/>
                        </a:lnTo>
                        <a:cubicBezTo>
                          <a:pt x="51042" y="0"/>
                          <a:pt x="54154" y="3115"/>
                          <a:pt x="54154" y="6956"/>
                        </a:cubicBezTo>
                        <a:cubicBezTo>
                          <a:pt x="54154" y="10796"/>
                          <a:pt x="51042" y="13911"/>
                          <a:pt x="47198" y="13911"/>
                        </a:cubicBezTo>
                        <a:lnTo>
                          <a:pt x="13911" y="13911"/>
                        </a:lnTo>
                        <a:lnTo>
                          <a:pt x="13911" y="80482"/>
                        </a:lnTo>
                        <a:lnTo>
                          <a:pt x="80485" y="80482"/>
                        </a:lnTo>
                        <a:lnTo>
                          <a:pt x="80485" y="47198"/>
                        </a:lnTo>
                        <a:cubicBezTo>
                          <a:pt x="80485" y="43358"/>
                          <a:pt x="83597" y="40242"/>
                          <a:pt x="87441" y="40242"/>
                        </a:cubicBezTo>
                        <a:cubicBezTo>
                          <a:pt x="91284" y="40242"/>
                          <a:pt x="94396" y="43358"/>
                          <a:pt x="94396" y="47198"/>
                        </a:cubicBezTo>
                        <a:lnTo>
                          <a:pt x="94396" y="87438"/>
                        </a:lnTo>
                        <a:cubicBezTo>
                          <a:pt x="94396" y="91281"/>
                          <a:pt x="91284" y="94393"/>
                          <a:pt x="87441" y="94393"/>
                        </a:cubicBezTo>
                        <a:close/>
                      </a:path>
                    </a:pathLst>
                  </a:custGeom>
                  <a:solidFill>
                    <a:schemeClr val="accent1"/>
                  </a:solidFill>
                  <a:ln w="314" cap="flat">
                    <a:noFill/>
                    <a:prstDash val="solid"/>
                    <a:miter/>
                  </a:ln>
                </p:spPr>
                <p:txBody>
                  <a:bodyPr rtlCol="0" anchor="ctr"/>
                  <a:lstStyle/>
                  <a:p>
                    <a:endParaRPr lang="en-GB" dirty="0"/>
                  </a:p>
                </p:txBody>
              </p:sp>
              <p:sp>
                <p:nvSpPr>
                  <p:cNvPr id="110" name="Freihandform: Form 87">
                    <a:extLst>
                      <a:ext uri="{FF2B5EF4-FFF2-40B4-BE49-F238E27FC236}">
                        <a16:creationId xmlns:a16="http://schemas.microsoft.com/office/drawing/2014/main" id="{810F5041-3DF4-4B6E-80CF-18B517806257}"/>
                      </a:ext>
                    </a:extLst>
                  </p:cNvPr>
                  <p:cNvSpPr/>
                  <p:nvPr/>
                </p:nvSpPr>
                <p:spPr>
                  <a:xfrm>
                    <a:off x="2746758" y="2580370"/>
                    <a:ext cx="46103" cy="46099"/>
                  </a:xfrm>
                  <a:custGeom>
                    <a:avLst/>
                    <a:gdLst>
                      <a:gd name="connsiteX0" fmla="*/ 39150 w 46103"/>
                      <a:gd name="connsiteY0" fmla="*/ 46099 h 46099"/>
                      <a:gd name="connsiteX1" fmla="*/ 34231 w 46103"/>
                      <a:gd name="connsiteY1" fmla="*/ 44062 h 46099"/>
                      <a:gd name="connsiteX2" fmla="*/ 2038 w 46103"/>
                      <a:gd name="connsiteY2" fmla="*/ 11873 h 46099"/>
                      <a:gd name="connsiteX3" fmla="*/ 2038 w 46103"/>
                      <a:gd name="connsiteY3" fmla="*/ 2038 h 46099"/>
                      <a:gd name="connsiteX4" fmla="*/ 11873 w 46103"/>
                      <a:gd name="connsiteY4" fmla="*/ 2038 h 46099"/>
                      <a:gd name="connsiteX5" fmla="*/ 44066 w 46103"/>
                      <a:gd name="connsiteY5" fmla="*/ 34228 h 46099"/>
                      <a:gd name="connsiteX6" fmla="*/ 44066 w 46103"/>
                      <a:gd name="connsiteY6" fmla="*/ 44062 h 46099"/>
                      <a:gd name="connsiteX7" fmla="*/ 39150 w 46103"/>
                      <a:gd name="connsiteY7" fmla="*/ 46099 h 46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03" h="46099">
                        <a:moveTo>
                          <a:pt x="39150" y="46099"/>
                        </a:moveTo>
                        <a:cubicBezTo>
                          <a:pt x="37372" y="46099"/>
                          <a:pt x="35590" y="45421"/>
                          <a:pt x="34231" y="44062"/>
                        </a:cubicBezTo>
                        <a:lnTo>
                          <a:pt x="2038" y="11873"/>
                        </a:lnTo>
                        <a:cubicBezTo>
                          <a:pt x="-679" y="9155"/>
                          <a:pt x="-679" y="4756"/>
                          <a:pt x="2038" y="2038"/>
                        </a:cubicBezTo>
                        <a:cubicBezTo>
                          <a:pt x="4756" y="-679"/>
                          <a:pt x="9155" y="-679"/>
                          <a:pt x="11873" y="2038"/>
                        </a:cubicBezTo>
                        <a:lnTo>
                          <a:pt x="44066" y="34228"/>
                        </a:lnTo>
                        <a:cubicBezTo>
                          <a:pt x="46783" y="36946"/>
                          <a:pt x="46783" y="41344"/>
                          <a:pt x="44066" y="44062"/>
                        </a:cubicBezTo>
                        <a:cubicBezTo>
                          <a:pt x="42710" y="45418"/>
                          <a:pt x="40931" y="46099"/>
                          <a:pt x="39150" y="46099"/>
                        </a:cubicBezTo>
                        <a:close/>
                      </a:path>
                    </a:pathLst>
                  </a:custGeom>
                  <a:solidFill>
                    <a:schemeClr val="accent1"/>
                  </a:solidFill>
                  <a:ln w="314" cap="flat">
                    <a:noFill/>
                    <a:prstDash val="solid"/>
                    <a:miter/>
                  </a:ln>
                </p:spPr>
                <p:txBody>
                  <a:bodyPr rtlCol="0" anchor="ctr"/>
                  <a:lstStyle/>
                  <a:p>
                    <a:endParaRPr lang="en-GB" dirty="0"/>
                  </a:p>
                </p:txBody>
              </p:sp>
              <p:sp>
                <p:nvSpPr>
                  <p:cNvPr id="111" name="Freihandform: Form 88">
                    <a:extLst>
                      <a:ext uri="{FF2B5EF4-FFF2-40B4-BE49-F238E27FC236}">
                        <a16:creationId xmlns:a16="http://schemas.microsoft.com/office/drawing/2014/main" id="{6D3C78E8-D4C1-4F0C-A874-23527EA52E0F}"/>
                      </a:ext>
                    </a:extLst>
                  </p:cNvPr>
                  <p:cNvSpPr/>
                  <p:nvPr/>
                </p:nvSpPr>
                <p:spPr>
                  <a:xfrm>
                    <a:off x="2746759" y="2560246"/>
                    <a:ext cx="65556" cy="66223"/>
                  </a:xfrm>
                  <a:custGeom>
                    <a:avLst/>
                    <a:gdLst>
                      <a:gd name="connsiteX0" fmla="*/ 6956 w 65556"/>
                      <a:gd name="connsiteY0" fmla="*/ 66224 h 66223"/>
                      <a:gd name="connsiteX1" fmla="*/ 2072 w 65556"/>
                      <a:gd name="connsiteY1" fmla="*/ 64215 h 66223"/>
                      <a:gd name="connsiteX2" fmla="*/ 2003 w 65556"/>
                      <a:gd name="connsiteY2" fmla="*/ 54381 h 66223"/>
                      <a:gd name="connsiteX3" fmla="*/ 53650 w 65556"/>
                      <a:gd name="connsiteY3" fmla="*/ 2069 h 66223"/>
                      <a:gd name="connsiteX4" fmla="*/ 63484 w 65556"/>
                      <a:gd name="connsiteY4" fmla="*/ 2009 h 66223"/>
                      <a:gd name="connsiteX5" fmla="*/ 63554 w 65556"/>
                      <a:gd name="connsiteY5" fmla="*/ 11843 h 66223"/>
                      <a:gd name="connsiteX6" fmla="*/ 11907 w 65556"/>
                      <a:gd name="connsiteY6" fmla="*/ 64155 h 66223"/>
                      <a:gd name="connsiteX7" fmla="*/ 6956 w 65556"/>
                      <a:gd name="connsiteY7" fmla="*/ 66224 h 66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56" h="66223">
                        <a:moveTo>
                          <a:pt x="6956" y="66224"/>
                        </a:moveTo>
                        <a:cubicBezTo>
                          <a:pt x="5191" y="66224"/>
                          <a:pt x="3425" y="65555"/>
                          <a:pt x="2072" y="64215"/>
                        </a:cubicBezTo>
                        <a:cubicBezTo>
                          <a:pt x="-665" y="61519"/>
                          <a:pt x="-693" y="57115"/>
                          <a:pt x="2003" y="54381"/>
                        </a:cubicBezTo>
                        <a:lnTo>
                          <a:pt x="53650" y="2069"/>
                        </a:lnTo>
                        <a:cubicBezTo>
                          <a:pt x="56358" y="-668"/>
                          <a:pt x="60760" y="-690"/>
                          <a:pt x="63484" y="2009"/>
                        </a:cubicBezTo>
                        <a:cubicBezTo>
                          <a:pt x="66221" y="4705"/>
                          <a:pt x="66250" y="9109"/>
                          <a:pt x="63554" y="11843"/>
                        </a:cubicBezTo>
                        <a:lnTo>
                          <a:pt x="11907" y="64155"/>
                        </a:lnTo>
                        <a:cubicBezTo>
                          <a:pt x="10541" y="65533"/>
                          <a:pt x="8750" y="66224"/>
                          <a:pt x="6956" y="66224"/>
                        </a:cubicBezTo>
                        <a:close/>
                      </a:path>
                    </a:pathLst>
                  </a:custGeom>
                  <a:solidFill>
                    <a:schemeClr val="accent1"/>
                  </a:solidFill>
                  <a:ln w="314" cap="flat">
                    <a:noFill/>
                    <a:prstDash val="solid"/>
                    <a:miter/>
                  </a:ln>
                </p:spPr>
                <p:txBody>
                  <a:bodyPr rtlCol="0" anchor="ctr"/>
                  <a:lstStyle/>
                  <a:p>
                    <a:endParaRPr lang="en-GB" dirty="0"/>
                  </a:p>
                </p:txBody>
              </p:sp>
            </p:grpSp>
          </p:grpSp>
        </p:grpSp>
      </p:grpSp>
      <p:grpSp>
        <p:nvGrpSpPr>
          <p:cNvPr id="486" name="Group 485">
            <a:extLst>
              <a:ext uri="{FF2B5EF4-FFF2-40B4-BE49-F238E27FC236}">
                <a16:creationId xmlns:a16="http://schemas.microsoft.com/office/drawing/2014/main" id="{08FAF1EB-6AEA-5644-EB51-862A80900A43}"/>
              </a:ext>
            </a:extLst>
          </p:cNvPr>
          <p:cNvGrpSpPr/>
          <p:nvPr/>
        </p:nvGrpSpPr>
        <p:grpSpPr>
          <a:xfrm>
            <a:off x="474552" y="2406516"/>
            <a:ext cx="638996" cy="432000"/>
            <a:chOff x="474552" y="2406516"/>
            <a:chExt cx="638996" cy="432000"/>
          </a:xfrm>
        </p:grpSpPr>
        <p:grpSp>
          <p:nvGrpSpPr>
            <p:cNvPr id="125" name="Gruppieren 521">
              <a:extLst>
                <a:ext uri="{FF2B5EF4-FFF2-40B4-BE49-F238E27FC236}">
                  <a16:creationId xmlns:a16="http://schemas.microsoft.com/office/drawing/2014/main" id="{FD662669-C169-479D-BDE6-BA0AAA4AF593}"/>
                </a:ext>
              </a:extLst>
            </p:cNvPr>
            <p:cNvGrpSpPr/>
            <p:nvPr/>
          </p:nvGrpSpPr>
          <p:grpSpPr>
            <a:xfrm>
              <a:off x="474552" y="2536640"/>
              <a:ext cx="638996" cy="301876"/>
              <a:chOff x="1658055" y="3606587"/>
              <a:chExt cx="573459" cy="270915"/>
            </a:xfrm>
          </p:grpSpPr>
          <p:sp>
            <p:nvSpPr>
              <p:cNvPr id="147" name="Freihandform: Form 126">
                <a:extLst>
                  <a:ext uri="{FF2B5EF4-FFF2-40B4-BE49-F238E27FC236}">
                    <a16:creationId xmlns:a16="http://schemas.microsoft.com/office/drawing/2014/main" id="{19D46DC2-B8D3-4091-AEBE-9A1586B8E88B}"/>
                  </a:ext>
                </a:extLst>
              </p:cNvPr>
              <p:cNvSpPr/>
              <p:nvPr/>
            </p:nvSpPr>
            <p:spPr>
              <a:xfrm>
                <a:off x="1817518" y="3811845"/>
                <a:ext cx="250378" cy="65657"/>
              </a:xfrm>
              <a:custGeom>
                <a:avLst/>
                <a:gdLst>
                  <a:gd name="connsiteX0" fmla="*/ 125189 w 250378"/>
                  <a:gd name="connsiteY0" fmla="*/ 65657 h 65657"/>
                  <a:gd name="connsiteX1" fmla="*/ 0 w 250378"/>
                  <a:gd name="connsiteY1" fmla="*/ 30882 h 65657"/>
                  <a:gd name="connsiteX2" fmla="*/ 63793 w 250378"/>
                  <a:gd name="connsiteY2" fmla="*/ 74 h 65657"/>
                  <a:gd name="connsiteX3" fmla="*/ 71647 w 250378"/>
                  <a:gd name="connsiteY3" fmla="*/ 5995 h 65657"/>
                  <a:gd name="connsiteX4" fmla="*/ 65729 w 250378"/>
                  <a:gd name="connsiteY4" fmla="*/ 13846 h 65657"/>
                  <a:gd name="connsiteX5" fmla="*/ 13905 w 250378"/>
                  <a:gd name="connsiteY5" fmla="*/ 30914 h 65657"/>
                  <a:gd name="connsiteX6" fmla="*/ 125189 w 250378"/>
                  <a:gd name="connsiteY6" fmla="*/ 51746 h 65657"/>
                  <a:gd name="connsiteX7" fmla="*/ 236473 w 250378"/>
                  <a:gd name="connsiteY7" fmla="*/ 30848 h 65657"/>
                  <a:gd name="connsiteX8" fmla="*/ 185955 w 250378"/>
                  <a:gd name="connsiteY8" fmla="*/ 14032 h 65657"/>
                  <a:gd name="connsiteX9" fmla="*/ 180065 w 250378"/>
                  <a:gd name="connsiteY9" fmla="*/ 6159 h 65657"/>
                  <a:gd name="connsiteX10" fmla="*/ 187944 w 250378"/>
                  <a:gd name="connsiteY10" fmla="*/ 269 h 65657"/>
                  <a:gd name="connsiteX11" fmla="*/ 250378 w 250378"/>
                  <a:gd name="connsiteY11" fmla="*/ 30879 h 65657"/>
                  <a:gd name="connsiteX12" fmla="*/ 125189 w 250378"/>
                  <a:gd name="connsiteY12" fmla="*/ 65657 h 65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378" h="65657">
                    <a:moveTo>
                      <a:pt x="125189" y="65657"/>
                    </a:moveTo>
                    <a:cubicBezTo>
                      <a:pt x="78691" y="65657"/>
                      <a:pt x="0" y="58336"/>
                      <a:pt x="0" y="30882"/>
                    </a:cubicBezTo>
                    <a:cubicBezTo>
                      <a:pt x="0" y="12815"/>
                      <a:pt x="34693" y="4157"/>
                      <a:pt x="63793" y="74"/>
                    </a:cubicBezTo>
                    <a:cubicBezTo>
                      <a:pt x="67586" y="-484"/>
                      <a:pt x="71114" y="2186"/>
                      <a:pt x="71647" y="5995"/>
                    </a:cubicBezTo>
                    <a:cubicBezTo>
                      <a:pt x="72180" y="9798"/>
                      <a:pt x="69531" y="13317"/>
                      <a:pt x="65729" y="13846"/>
                    </a:cubicBezTo>
                    <a:cubicBezTo>
                      <a:pt x="24647" y="19613"/>
                      <a:pt x="14274" y="28918"/>
                      <a:pt x="13905" y="30914"/>
                    </a:cubicBezTo>
                    <a:cubicBezTo>
                      <a:pt x="15223" y="37936"/>
                      <a:pt x="55696" y="51746"/>
                      <a:pt x="125189" y="51746"/>
                    </a:cubicBezTo>
                    <a:cubicBezTo>
                      <a:pt x="194682" y="51746"/>
                      <a:pt x="235155" y="37939"/>
                      <a:pt x="236473" y="30848"/>
                    </a:cubicBezTo>
                    <a:cubicBezTo>
                      <a:pt x="236111" y="28965"/>
                      <a:pt x="225980" y="19818"/>
                      <a:pt x="185955" y="14032"/>
                    </a:cubicBezTo>
                    <a:cubicBezTo>
                      <a:pt x="182155" y="13490"/>
                      <a:pt x="179516" y="9959"/>
                      <a:pt x="180065" y="6159"/>
                    </a:cubicBezTo>
                    <a:cubicBezTo>
                      <a:pt x="180620" y="2350"/>
                      <a:pt x="184183" y="-349"/>
                      <a:pt x="187944" y="269"/>
                    </a:cubicBezTo>
                    <a:cubicBezTo>
                      <a:pt x="229372" y="6254"/>
                      <a:pt x="250378" y="16555"/>
                      <a:pt x="250378" y="30879"/>
                    </a:cubicBezTo>
                    <a:cubicBezTo>
                      <a:pt x="250378" y="58336"/>
                      <a:pt x="171687" y="65657"/>
                      <a:pt x="125189" y="65657"/>
                    </a:cubicBezTo>
                    <a:close/>
                  </a:path>
                </a:pathLst>
              </a:custGeom>
              <a:solidFill>
                <a:schemeClr val="accent1"/>
              </a:solidFill>
              <a:ln w="314" cap="flat">
                <a:noFill/>
                <a:prstDash val="solid"/>
                <a:miter/>
              </a:ln>
            </p:spPr>
            <p:txBody>
              <a:bodyPr rtlCol="0" anchor="ctr"/>
              <a:lstStyle/>
              <a:p>
                <a:endParaRPr lang="en-GB" dirty="0"/>
              </a:p>
            </p:txBody>
          </p:sp>
          <p:sp>
            <p:nvSpPr>
              <p:cNvPr id="148" name="Freihandform: Form 128">
                <a:extLst>
                  <a:ext uri="{FF2B5EF4-FFF2-40B4-BE49-F238E27FC236}">
                    <a16:creationId xmlns:a16="http://schemas.microsoft.com/office/drawing/2014/main" id="{4CF69BAF-B8CD-4B39-A271-70E9FC273AF1}"/>
                  </a:ext>
                </a:extLst>
              </p:cNvPr>
              <p:cNvSpPr/>
              <p:nvPr/>
            </p:nvSpPr>
            <p:spPr>
              <a:xfrm>
                <a:off x="1658055" y="3606587"/>
                <a:ext cx="208647" cy="75810"/>
              </a:xfrm>
              <a:custGeom>
                <a:avLst/>
                <a:gdLst>
                  <a:gd name="connsiteX0" fmla="*/ 104325 w 208647"/>
                  <a:gd name="connsiteY0" fmla="*/ 75811 h 75810"/>
                  <a:gd name="connsiteX1" fmla="*/ 0 w 208647"/>
                  <a:gd name="connsiteY1" fmla="*/ 33172 h 75810"/>
                  <a:gd name="connsiteX2" fmla="*/ 35822 w 208647"/>
                  <a:gd name="connsiteY2" fmla="*/ 440 h 75810"/>
                  <a:gd name="connsiteX3" fmla="*/ 44650 w 208647"/>
                  <a:gd name="connsiteY3" fmla="*/ 4779 h 75810"/>
                  <a:gd name="connsiteX4" fmla="*/ 40312 w 208647"/>
                  <a:gd name="connsiteY4" fmla="*/ 13601 h 75810"/>
                  <a:gd name="connsiteX5" fmla="*/ 13911 w 208647"/>
                  <a:gd name="connsiteY5" fmla="*/ 33169 h 75810"/>
                  <a:gd name="connsiteX6" fmla="*/ 104325 w 208647"/>
                  <a:gd name="connsiteY6" fmla="*/ 61899 h 75810"/>
                  <a:gd name="connsiteX7" fmla="*/ 194739 w 208647"/>
                  <a:gd name="connsiteY7" fmla="*/ 33169 h 75810"/>
                  <a:gd name="connsiteX8" fmla="*/ 168172 w 208647"/>
                  <a:gd name="connsiteY8" fmla="*/ 13547 h 75810"/>
                  <a:gd name="connsiteX9" fmla="*/ 163814 w 208647"/>
                  <a:gd name="connsiteY9" fmla="*/ 4725 h 75810"/>
                  <a:gd name="connsiteX10" fmla="*/ 172633 w 208647"/>
                  <a:gd name="connsiteY10" fmla="*/ 371 h 75810"/>
                  <a:gd name="connsiteX11" fmla="*/ 208647 w 208647"/>
                  <a:gd name="connsiteY11" fmla="*/ 33169 h 75810"/>
                  <a:gd name="connsiteX12" fmla="*/ 104325 w 208647"/>
                  <a:gd name="connsiteY12" fmla="*/ 75811 h 7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647" h="75810">
                    <a:moveTo>
                      <a:pt x="104325" y="75811"/>
                    </a:moveTo>
                    <a:cubicBezTo>
                      <a:pt x="53753" y="75811"/>
                      <a:pt x="0" y="60868"/>
                      <a:pt x="0" y="33172"/>
                    </a:cubicBezTo>
                    <a:cubicBezTo>
                      <a:pt x="0" y="19935"/>
                      <a:pt x="12723" y="8313"/>
                      <a:pt x="35822" y="440"/>
                    </a:cubicBezTo>
                    <a:cubicBezTo>
                      <a:pt x="39454" y="-824"/>
                      <a:pt x="43408" y="1146"/>
                      <a:pt x="44650" y="4779"/>
                    </a:cubicBezTo>
                    <a:cubicBezTo>
                      <a:pt x="45886" y="8411"/>
                      <a:pt x="43944" y="12365"/>
                      <a:pt x="40312" y="13601"/>
                    </a:cubicBezTo>
                    <a:cubicBezTo>
                      <a:pt x="20845" y="20238"/>
                      <a:pt x="13911" y="28061"/>
                      <a:pt x="13911" y="33169"/>
                    </a:cubicBezTo>
                    <a:cubicBezTo>
                      <a:pt x="13911" y="45163"/>
                      <a:pt x="48308" y="61899"/>
                      <a:pt x="104325" y="61899"/>
                    </a:cubicBezTo>
                    <a:cubicBezTo>
                      <a:pt x="160343" y="61899"/>
                      <a:pt x="194739" y="45163"/>
                      <a:pt x="194739" y="33169"/>
                    </a:cubicBezTo>
                    <a:cubicBezTo>
                      <a:pt x="194739" y="26718"/>
                      <a:pt x="184309" y="19015"/>
                      <a:pt x="168172" y="13547"/>
                    </a:cubicBezTo>
                    <a:cubicBezTo>
                      <a:pt x="164530" y="12311"/>
                      <a:pt x="162581" y="8364"/>
                      <a:pt x="163814" y="4725"/>
                    </a:cubicBezTo>
                    <a:cubicBezTo>
                      <a:pt x="165053" y="1093"/>
                      <a:pt x="169007" y="-865"/>
                      <a:pt x="172633" y="371"/>
                    </a:cubicBezTo>
                    <a:cubicBezTo>
                      <a:pt x="195859" y="8244"/>
                      <a:pt x="208647" y="19891"/>
                      <a:pt x="208647" y="33169"/>
                    </a:cubicBezTo>
                    <a:cubicBezTo>
                      <a:pt x="208651" y="60868"/>
                      <a:pt x="154900" y="75811"/>
                      <a:pt x="104325" y="75811"/>
                    </a:cubicBezTo>
                    <a:close/>
                  </a:path>
                </a:pathLst>
              </a:custGeom>
              <a:solidFill>
                <a:schemeClr val="accent1"/>
              </a:solidFill>
              <a:ln w="314" cap="flat">
                <a:noFill/>
                <a:prstDash val="solid"/>
                <a:miter/>
              </a:ln>
            </p:spPr>
            <p:txBody>
              <a:bodyPr rtlCol="0" anchor="ctr"/>
              <a:lstStyle/>
              <a:p>
                <a:endParaRPr lang="en-GB" dirty="0"/>
              </a:p>
            </p:txBody>
          </p:sp>
          <p:sp>
            <p:nvSpPr>
              <p:cNvPr id="149" name="Freihandform: Form 136">
                <a:extLst>
                  <a:ext uri="{FF2B5EF4-FFF2-40B4-BE49-F238E27FC236}">
                    <a16:creationId xmlns:a16="http://schemas.microsoft.com/office/drawing/2014/main" id="{86483803-A46F-484F-8DEF-C9EBFD47EDAF}"/>
                  </a:ext>
                </a:extLst>
              </p:cNvPr>
              <p:cNvSpPr/>
              <p:nvPr/>
            </p:nvSpPr>
            <p:spPr>
              <a:xfrm>
                <a:off x="2022867" y="3606587"/>
                <a:ext cx="208647" cy="75810"/>
              </a:xfrm>
              <a:custGeom>
                <a:avLst/>
                <a:gdLst>
                  <a:gd name="connsiteX0" fmla="*/ 104325 w 208647"/>
                  <a:gd name="connsiteY0" fmla="*/ 75811 h 75810"/>
                  <a:gd name="connsiteX1" fmla="*/ 0 w 208647"/>
                  <a:gd name="connsiteY1" fmla="*/ 33172 h 75810"/>
                  <a:gd name="connsiteX2" fmla="*/ 35819 w 208647"/>
                  <a:gd name="connsiteY2" fmla="*/ 440 h 75810"/>
                  <a:gd name="connsiteX3" fmla="*/ 44647 w 208647"/>
                  <a:gd name="connsiteY3" fmla="*/ 4779 h 75810"/>
                  <a:gd name="connsiteX4" fmla="*/ 40309 w 208647"/>
                  <a:gd name="connsiteY4" fmla="*/ 13601 h 75810"/>
                  <a:gd name="connsiteX5" fmla="*/ 13911 w 208647"/>
                  <a:gd name="connsiteY5" fmla="*/ 33169 h 75810"/>
                  <a:gd name="connsiteX6" fmla="*/ 104325 w 208647"/>
                  <a:gd name="connsiteY6" fmla="*/ 61899 h 75810"/>
                  <a:gd name="connsiteX7" fmla="*/ 194739 w 208647"/>
                  <a:gd name="connsiteY7" fmla="*/ 33169 h 75810"/>
                  <a:gd name="connsiteX8" fmla="*/ 168168 w 208647"/>
                  <a:gd name="connsiteY8" fmla="*/ 13547 h 75810"/>
                  <a:gd name="connsiteX9" fmla="*/ 163811 w 208647"/>
                  <a:gd name="connsiteY9" fmla="*/ 4725 h 75810"/>
                  <a:gd name="connsiteX10" fmla="*/ 172630 w 208647"/>
                  <a:gd name="connsiteY10" fmla="*/ 371 h 75810"/>
                  <a:gd name="connsiteX11" fmla="*/ 208647 w 208647"/>
                  <a:gd name="connsiteY11" fmla="*/ 33169 h 75810"/>
                  <a:gd name="connsiteX12" fmla="*/ 104325 w 208647"/>
                  <a:gd name="connsiteY12" fmla="*/ 75811 h 75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647" h="75810">
                    <a:moveTo>
                      <a:pt x="104325" y="75811"/>
                    </a:moveTo>
                    <a:cubicBezTo>
                      <a:pt x="53753" y="75811"/>
                      <a:pt x="0" y="60868"/>
                      <a:pt x="0" y="33172"/>
                    </a:cubicBezTo>
                    <a:cubicBezTo>
                      <a:pt x="0" y="19935"/>
                      <a:pt x="12723" y="8307"/>
                      <a:pt x="35819" y="440"/>
                    </a:cubicBezTo>
                    <a:cubicBezTo>
                      <a:pt x="39457" y="-824"/>
                      <a:pt x="43405" y="1146"/>
                      <a:pt x="44647" y="4779"/>
                    </a:cubicBezTo>
                    <a:cubicBezTo>
                      <a:pt x="45883" y="8411"/>
                      <a:pt x="43941" y="12365"/>
                      <a:pt x="40309" y="13601"/>
                    </a:cubicBezTo>
                    <a:cubicBezTo>
                      <a:pt x="20845" y="20238"/>
                      <a:pt x="13911" y="28061"/>
                      <a:pt x="13911" y="33169"/>
                    </a:cubicBezTo>
                    <a:cubicBezTo>
                      <a:pt x="13911" y="45163"/>
                      <a:pt x="48308" y="61899"/>
                      <a:pt x="104325" y="61899"/>
                    </a:cubicBezTo>
                    <a:cubicBezTo>
                      <a:pt x="160343" y="61899"/>
                      <a:pt x="194739" y="45163"/>
                      <a:pt x="194739" y="33169"/>
                    </a:cubicBezTo>
                    <a:cubicBezTo>
                      <a:pt x="194739" y="26718"/>
                      <a:pt x="184309" y="19015"/>
                      <a:pt x="168168" y="13547"/>
                    </a:cubicBezTo>
                    <a:cubicBezTo>
                      <a:pt x="164530" y="12311"/>
                      <a:pt x="162578" y="8364"/>
                      <a:pt x="163811" y="4725"/>
                    </a:cubicBezTo>
                    <a:cubicBezTo>
                      <a:pt x="165044" y="1093"/>
                      <a:pt x="168994" y="-865"/>
                      <a:pt x="172630" y="371"/>
                    </a:cubicBezTo>
                    <a:cubicBezTo>
                      <a:pt x="195855" y="8244"/>
                      <a:pt x="208647" y="19891"/>
                      <a:pt x="208647" y="33169"/>
                    </a:cubicBezTo>
                    <a:cubicBezTo>
                      <a:pt x="208651" y="60868"/>
                      <a:pt x="154900" y="75811"/>
                      <a:pt x="104325" y="75811"/>
                    </a:cubicBezTo>
                    <a:close/>
                  </a:path>
                </a:pathLst>
              </a:custGeom>
              <a:solidFill>
                <a:schemeClr val="accent1"/>
              </a:solidFill>
              <a:ln w="314" cap="flat">
                <a:noFill/>
                <a:prstDash val="solid"/>
                <a:miter/>
              </a:ln>
            </p:spPr>
            <p:txBody>
              <a:bodyPr rtlCol="0" anchor="ctr"/>
              <a:lstStyle/>
              <a:p>
                <a:endParaRPr lang="en-GB" dirty="0"/>
              </a:p>
            </p:txBody>
          </p:sp>
        </p:grpSp>
        <p:grpSp>
          <p:nvGrpSpPr>
            <p:cNvPr id="126" name="Gruppieren 522">
              <a:extLst>
                <a:ext uri="{FF2B5EF4-FFF2-40B4-BE49-F238E27FC236}">
                  <a16:creationId xmlns:a16="http://schemas.microsoft.com/office/drawing/2014/main" id="{AE265CA7-4474-4BDD-803B-046B066BFCFB}"/>
                </a:ext>
              </a:extLst>
            </p:cNvPr>
            <p:cNvGrpSpPr/>
            <p:nvPr/>
          </p:nvGrpSpPr>
          <p:grpSpPr>
            <a:xfrm>
              <a:off x="501679" y="2406516"/>
              <a:ext cx="584749" cy="387401"/>
              <a:chOff x="1682400" y="3489809"/>
              <a:chExt cx="524776" cy="347668"/>
            </a:xfrm>
            <a:solidFill>
              <a:schemeClr val="tx2"/>
            </a:solidFill>
          </p:grpSpPr>
          <p:grpSp>
            <p:nvGrpSpPr>
              <p:cNvPr id="127" name="Graphic 25">
                <a:extLst>
                  <a:ext uri="{FF2B5EF4-FFF2-40B4-BE49-F238E27FC236}">
                    <a16:creationId xmlns:a16="http://schemas.microsoft.com/office/drawing/2014/main" id="{BFB0538F-EDDB-4123-9200-848AC384DD5A}"/>
                  </a:ext>
                </a:extLst>
              </p:cNvPr>
              <p:cNvGrpSpPr/>
              <p:nvPr/>
            </p:nvGrpSpPr>
            <p:grpSpPr>
              <a:xfrm>
                <a:off x="1682400" y="3489809"/>
                <a:ext cx="159964" cy="159967"/>
                <a:chOff x="1682400" y="3489809"/>
                <a:chExt cx="159964" cy="159967"/>
              </a:xfrm>
              <a:grpFill/>
            </p:grpSpPr>
            <p:grpSp>
              <p:nvGrpSpPr>
                <p:cNvPr id="142" name="Graphic 25">
                  <a:extLst>
                    <a:ext uri="{FF2B5EF4-FFF2-40B4-BE49-F238E27FC236}">
                      <a16:creationId xmlns:a16="http://schemas.microsoft.com/office/drawing/2014/main" id="{98FF0E5D-C4BA-4450-AB75-84ACFCC5698C}"/>
                    </a:ext>
                  </a:extLst>
                </p:cNvPr>
                <p:cNvGrpSpPr/>
                <p:nvPr/>
              </p:nvGrpSpPr>
              <p:grpSpPr>
                <a:xfrm>
                  <a:off x="1712040" y="3528178"/>
                  <a:ext cx="100681" cy="93655"/>
                  <a:chOff x="1712040" y="3528178"/>
                  <a:chExt cx="100681" cy="93655"/>
                </a:xfrm>
                <a:grpFill/>
              </p:grpSpPr>
              <p:sp>
                <p:nvSpPr>
                  <p:cNvPr id="144" name="Freihandform: Form 131">
                    <a:extLst>
                      <a:ext uri="{FF2B5EF4-FFF2-40B4-BE49-F238E27FC236}">
                        <a16:creationId xmlns:a16="http://schemas.microsoft.com/office/drawing/2014/main" id="{90F3C328-3AB2-4BC7-8EFB-A6F4F37046CF}"/>
                      </a:ext>
                    </a:extLst>
                  </p:cNvPr>
                  <p:cNvSpPr/>
                  <p:nvPr/>
                </p:nvSpPr>
                <p:spPr>
                  <a:xfrm>
                    <a:off x="1712040" y="3528178"/>
                    <a:ext cx="38575" cy="23376"/>
                  </a:xfrm>
                  <a:custGeom>
                    <a:avLst/>
                    <a:gdLst>
                      <a:gd name="connsiteX0" fmla="*/ 6961 w 38575"/>
                      <a:gd name="connsiteY0" fmla="*/ 23377 h 23376"/>
                      <a:gd name="connsiteX1" fmla="*/ 5208 w 38575"/>
                      <a:gd name="connsiteY1" fmla="*/ 23153 h 23376"/>
                      <a:gd name="connsiteX2" fmla="*/ 226 w 38575"/>
                      <a:gd name="connsiteY2" fmla="*/ 14671 h 23376"/>
                      <a:gd name="connsiteX3" fmla="*/ 19292 w 38575"/>
                      <a:gd name="connsiteY3" fmla="*/ 0 h 23376"/>
                      <a:gd name="connsiteX4" fmla="*/ 38350 w 38575"/>
                      <a:gd name="connsiteY4" fmla="*/ 14649 h 23376"/>
                      <a:gd name="connsiteX5" fmla="*/ 33374 w 38575"/>
                      <a:gd name="connsiteY5" fmla="*/ 23140 h 23376"/>
                      <a:gd name="connsiteX6" fmla="*/ 24886 w 38575"/>
                      <a:gd name="connsiteY6" fmla="*/ 18168 h 23376"/>
                      <a:gd name="connsiteX7" fmla="*/ 19289 w 38575"/>
                      <a:gd name="connsiteY7" fmla="*/ 13908 h 23376"/>
                      <a:gd name="connsiteX8" fmla="*/ 13686 w 38575"/>
                      <a:gd name="connsiteY8" fmla="*/ 18174 h 23376"/>
                      <a:gd name="connsiteX9" fmla="*/ 6961 w 38575"/>
                      <a:gd name="connsiteY9" fmla="*/ 23377 h 2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75" h="23376">
                        <a:moveTo>
                          <a:pt x="6961" y="23377"/>
                        </a:moveTo>
                        <a:cubicBezTo>
                          <a:pt x="6384" y="23377"/>
                          <a:pt x="5794" y="23307"/>
                          <a:pt x="5208" y="23153"/>
                        </a:cubicBezTo>
                        <a:cubicBezTo>
                          <a:pt x="1490" y="22188"/>
                          <a:pt x="-742" y="18392"/>
                          <a:pt x="226" y="14671"/>
                        </a:cubicBezTo>
                        <a:cubicBezTo>
                          <a:pt x="2471" y="6032"/>
                          <a:pt x="10313" y="0"/>
                          <a:pt x="19292" y="0"/>
                        </a:cubicBezTo>
                        <a:cubicBezTo>
                          <a:pt x="28260" y="0"/>
                          <a:pt x="36098" y="6025"/>
                          <a:pt x="38350" y="14649"/>
                        </a:cubicBezTo>
                        <a:cubicBezTo>
                          <a:pt x="39318" y="18370"/>
                          <a:pt x="37088" y="22169"/>
                          <a:pt x="33374" y="23140"/>
                        </a:cubicBezTo>
                        <a:cubicBezTo>
                          <a:pt x="29653" y="24077"/>
                          <a:pt x="25860" y="21876"/>
                          <a:pt x="24886" y="18168"/>
                        </a:cubicBezTo>
                        <a:cubicBezTo>
                          <a:pt x="24233" y="15661"/>
                          <a:pt x="21932" y="13908"/>
                          <a:pt x="19289" y="13908"/>
                        </a:cubicBezTo>
                        <a:cubicBezTo>
                          <a:pt x="16644" y="13908"/>
                          <a:pt x="14339" y="15661"/>
                          <a:pt x="13686" y="18174"/>
                        </a:cubicBezTo>
                        <a:cubicBezTo>
                          <a:pt x="12873" y="21305"/>
                          <a:pt x="10054" y="23377"/>
                          <a:pt x="6961" y="23377"/>
                        </a:cubicBezTo>
                        <a:close/>
                      </a:path>
                    </a:pathLst>
                  </a:custGeom>
                  <a:grpFill/>
                  <a:ln w="314" cap="flat">
                    <a:noFill/>
                    <a:prstDash val="solid"/>
                    <a:miter/>
                  </a:ln>
                </p:spPr>
                <p:txBody>
                  <a:bodyPr rtlCol="0" anchor="ctr"/>
                  <a:lstStyle/>
                  <a:p>
                    <a:endParaRPr lang="en-GB" dirty="0"/>
                  </a:p>
                </p:txBody>
              </p:sp>
              <p:sp>
                <p:nvSpPr>
                  <p:cNvPr id="145" name="Freihandform: Form 132">
                    <a:extLst>
                      <a:ext uri="{FF2B5EF4-FFF2-40B4-BE49-F238E27FC236}">
                        <a16:creationId xmlns:a16="http://schemas.microsoft.com/office/drawing/2014/main" id="{B6CE5660-FFA5-4F13-889E-2F4C5521150C}"/>
                      </a:ext>
                    </a:extLst>
                  </p:cNvPr>
                  <p:cNvSpPr/>
                  <p:nvPr/>
                </p:nvSpPr>
                <p:spPr>
                  <a:xfrm>
                    <a:off x="1774150" y="3528178"/>
                    <a:ext cx="38571" cy="23376"/>
                  </a:xfrm>
                  <a:custGeom>
                    <a:avLst/>
                    <a:gdLst>
                      <a:gd name="connsiteX0" fmla="*/ 6960 w 38571"/>
                      <a:gd name="connsiteY0" fmla="*/ 23377 h 23376"/>
                      <a:gd name="connsiteX1" fmla="*/ 5210 w 38571"/>
                      <a:gd name="connsiteY1" fmla="*/ 23153 h 23376"/>
                      <a:gd name="connsiteX2" fmla="*/ 225 w 38571"/>
                      <a:gd name="connsiteY2" fmla="*/ 14678 h 23376"/>
                      <a:gd name="connsiteX3" fmla="*/ 19285 w 38571"/>
                      <a:gd name="connsiteY3" fmla="*/ 0 h 23376"/>
                      <a:gd name="connsiteX4" fmla="*/ 38345 w 38571"/>
                      <a:gd name="connsiteY4" fmla="*/ 14649 h 23376"/>
                      <a:gd name="connsiteX5" fmla="*/ 33370 w 38571"/>
                      <a:gd name="connsiteY5" fmla="*/ 23140 h 23376"/>
                      <a:gd name="connsiteX6" fmla="*/ 24882 w 38571"/>
                      <a:gd name="connsiteY6" fmla="*/ 18168 h 23376"/>
                      <a:gd name="connsiteX7" fmla="*/ 19282 w 38571"/>
                      <a:gd name="connsiteY7" fmla="*/ 13908 h 23376"/>
                      <a:gd name="connsiteX8" fmla="*/ 13682 w 38571"/>
                      <a:gd name="connsiteY8" fmla="*/ 18168 h 23376"/>
                      <a:gd name="connsiteX9" fmla="*/ 6960 w 38571"/>
                      <a:gd name="connsiteY9" fmla="*/ 23377 h 23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71" h="23376">
                        <a:moveTo>
                          <a:pt x="6960" y="23377"/>
                        </a:moveTo>
                        <a:cubicBezTo>
                          <a:pt x="6383" y="23377"/>
                          <a:pt x="5796" y="23307"/>
                          <a:pt x="5210" y="23153"/>
                        </a:cubicBezTo>
                        <a:cubicBezTo>
                          <a:pt x="1492" y="22188"/>
                          <a:pt x="-740" y="18392"/>
                          <a:pt x="225" y="14678"/>
                        </a:cubicBezTo>
                        <a:cubicBezTo>
                          <a:pt x="2467" y="6038"/>
                          <a:pt x="10305" y="0"/>
                          <a:pt x="19285" y="0"/>
                        </a:cubicBezTo>
                        <a:cubicBezTo>
                          <a:pt x="28259" y="0"/>
                          <a:pt x="36094" y="6025"/>
                          <a:pt x="38345" y="14649"/>
                        </a:cubicBezTo>
                        <a:cubicBezTo>
                          <a:pt x="39313" y="18370"/>
                          <a:pt x="37084" y="22169"/>
                          <a:pt x="33370" y="23140"/>
                        </a:cubicBezTo>
                        <a:cubicBezTo>
                          <a:pt x="29649" y="24077"/>
                          <a:pt x="25856" y="21876"/>
                          <a:pt x="24882" y="18168"/>
                        </a:cubicBezTo>
                        <a:cubicBezTo>
                          <a:pt x="24229" y="15661"/>
                          <a:pt x="21927" y="13908"/>
                          <a:pt x="19282" y="13908"/>
                        </a:cubicBezTo>
                        <a:cubicBezTo>
                          <a:pt x="16636" y="13908"/>
                          <a:pt x="14335" y="15661"/>
                          <a:pt x="13682" y="18168"/>
                        </a:cubicBezTo>
                        <a:cubicBezTo>
                          <a:pt x="12875" y="21299"/>
                          <a:pt x="10053" y="23377"/>
                          <a:pt x="6960" y="23377"/>
                        </a:cubicBezTo>
                        <a:close/>
                      </a:path>
                    </a:pathLst>
                  </a:custGeom>
                  <a:grpFill/>
                  <a:ln w="314" cap="flat">
                    <a:noFill/>
                    <a:prstDash val="solid"/>
                    <a:miter/>
                  </a:ln>
                </p:spPr>
                <p:txBody>
                  <a:bodyPr rtlCol="0" anchor="ctr"/>
                  <a:lstStyle/>
                  <a:p>
                    <a:endParaRPr lang="en-GB" dirty="0"/>
                  </a:p>
                </p:txBody>
              </p:sp>
              <p:sp>
                <p:nvSpPr>
                  <p:cNvPr id="146" name="Freihandform: Form 133">
                    <a:extLst>
                      <a:ext uri="{FF2B5EF4-FFF2-40B4-BE49-F238E27FC236}">
                        <a16:creationId xmlns:a16="http://schemas.microsoft.com/office/drawing/2014/main" id="{A139087B-3904-4FA6-BC23-CCC10F634E40}"/>
                      </a:ext>
                    </a:extLst>
                  </p:cNvPr>
                  <p:cNvSpPr/>
                  <p:nvPr/>
                </p:nvSpPr>
                <p:spPr>
                  <a:xfrm>
                    <a:off x="1723062" y="3575831"/>
                    <a:ext cx="78640" cy="46003"/>
                  </a:xfrm>
                  <a:custGeom>
                    <a:avLst/>
                    <a:gdLst>
                      <a:gd name="connsiteX0" fmla="*/ 39322 w 78640"/>
                      <a:gd name="connsiteY0" fmla="*/ 46003 h 46003"/>
                      <a:gd name="connsiteX1" fmla="*/ 0 w 78640"/>
                      <a:gd name="connsiteY1" fmla="*/ 6956 h 46003"/>
                      <a:gd name="connsiteX2" fmla="*/ 6956 w 78640"/>
                      <a:gd name="connsiteY2" fmla="*/ 0 h 46003"/>
                      <a:gd name="connsiteX3" fmla="*/ 71685 w 78640"/>
                      <a:gd name="connsiteY3" fmla="*/ 0 h 46003"/>
                      <a:gd name="connsiteX4" fmla="*/ 78640 w 78640"/>
                      <a:gd name="connsiteY4" fmla="*/ 6956 h 46003"/>
                      <a:gd name="connsiteX5" fmla="*/ 39322 w 78640"/>
                      <a:gd name="connsiteY5" fmla="*/ 46003 h 46003"/>
                      <a:gd name="connsiteX6" fmla="*/ 14898 w 78640"/>
                      <a:gd name="connsiteY6" fmla="*/ 13911 h 46003"/>
                      <a:gd name="connsiteX7" fmla="*/ 39322 w 78640"/>
                      <a:gd name="connsiteY7" fmla="*/ 32095 h 46003"/>
                      <a:gd name="connsiteX8" fmla="*/ 63742 w 78640"/>
                      <a:gd name="connsiteY8" fmla="*/ 13911 h 46003"/>
                      <a:gd name="connsiteX9" fmla="*/ 14898 w 78640"/>
                      <a:gd name="connsiteY9" fmla="*/ 13911 h 4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40" h="46003">
                        <a:moveTo>
                          <a:pt x="39322" y="46003"/>
                        </a:moveTo>
                        <a:cubicBezTo>
                          <a:pt x="17638" y="46003"/>
                          <a:pt x="0" y="28488"/>
                          <a:pt x="0" y="6956"/>
                        </a:cubicBezTo>
                        <a:cubicBezTo>
                          <a:pt x="0" y="3112"/>
                          <a:pt x="3115" y="0"/>
                          <a:pt x="6956" y="0"/>
                        </a:cubicBezTo>
                        <a:lnTo>
                          <a:pt x="71685" y="0"/>
                        </a:lnTo>
                        <a:cubicBezTo>
                          <a:pt x="75525" y="0"/>
                          <a:pt x="78640" y="3112"/>
                          <a:pt x="78640" y="6956"/>
                        </a:cubicBezTo>
                        <a:cubicBezTo>
                          <a:pt x="78640" y="28485"/>
                          <a:pt x="61002" y="46003"/>
                          <a:pt x="39322" y="46003"/>
                        </a:cubicBezTo>
                        <a:close/>
                        <a:moveTo>
                          <a:pt x="14898" y="13911"/>
                        </a:moveTo>
                        <a:cubicBezTo>
                          <a:pt x="17957" y="24398"/>
                          <a:pt x="27750" y="32095"/>
                          <a:pt x="39322" y="32095"/>
                        </a:cubicBezTo>
                        <a:cubicBezTo>
                          <a:pt x="50897" y="32095"/>
                          <a:pt x="60687" y="24398"/>
                          <a:pt x="63742" y="13911"/>
                        </a:cubicBezTo>
                        <a:lnTo>
                          <a:pt x="14898" y="13911"/>
                        </a:lnTo>
                        <a:close/>
                      </a:path>
                    </a:pathLst>
                  </a:custGeom>
                  <a:grpFill/>
                  <a:ln w="314" cap="flat">
                    <a:noFill/>
                    <a:prstDash val="solid"/>
                    <a:miter/>
                  </a:ln>
                </p:spPr>
                <p:txBody>
                  <a:bodyPr rtlCol="0" anchor="ctr"/>
                  <a:lstStyle/>
                  <a:p>
                    <a:endParaRPr lang="en-GB" dirty="0"/>
                  </a:p>
                </p:txBody>
              </p:sp>
            </p:grpSp>
            <p:sp>
              <p:nvSpPr>
                <p:cNvPr id="143" name="Freihandform: Form 134">
                  <a:extLst>
                    <a:ext uri="{FF2B5EF4-FFF2-40B4-BE49-F238E27FC236}">
                      <a16:creationId xmlns:a16="http://schemas.microsoft.com/office/drawing/2014/main" id="{017EBCE9-3EF8-4650-9289-6AC0BF9DC703}"/>
                    </a:ext>
                  </a:extLst>
                </p:cNvPr>
                <p:cNvSpPr/>
                <p:nvPr/>
              </p:nvSpPr>
              <p:spPr>
                <a:xfrm>
                  <a:off x="1682400" y="3489809"/>
                  <a:ext cx="159964" cy="159967"/>
                </a:xfrm>
                <a:custGeom>
                  <a:avLst/>
                  <a:gdLst>
                    <a:gd name="connsiteX0" fmla="*/ 79980 w 159964"/>
                    <a:gd name="connsiteY0" fmla="*/ 159967 h 159967"/>
                    <a:gd name="connsiteX1" fmla="*/ 0 w 159964"/>
                    <a:gd name="connsiteY1" fmla="*/ 79984 h 159967"/>
                    <a:gd name="connsiteX2" fmla="*/ 79980 w 159964"/>
                    <a:gd name="connsiteY2" fmla="*/ 0 h 159967"/>
                    <a:gd name="connsiteX3" fmla="*/ 159964 w 159964"/>
                    <a:gd name="connsiteY3" fmla="*/ 79984 h 159967"/>
                    <a:gd name="connsiteX4" fmla="*/ 79980 w 159964"/>
                    <a:gd name="connsiteY4" fmla="*/ 159967 h 159967"/>
                    <a:gd name="connsiteX5" fmla="*/ 79980 w 159964"/>
                    <a:gd name="connsiteY5" fmla="*/ 13911 h 159967"/>
                    <a:gd name="connsiteX6" fmla="*/ 13908 w 159964"/>
                    <a:gd name="connsiteY6" fmla="*/ 79984 h 159967"/>
                    <a:gd name="connsiteX7" fmla="*/ 79980 w 159964"/>
                    <a:gd name="connsiteY7" fmla="*/ 146056 h 159967"/>
                    <a:gd name="connsiteX8" fmla="*/ 146053 w 159964"/>
                    <a:gd name="connsiteY8" fmla="*/ 79984 h 159967"/>
                    <a:gd name="connsiteX9" fmla="*/ 79980 w 159964"/>
                    <a:gd name="connsiteY9" fmla="*/ 13911 h 15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964" h="159967">
                      <a:moveTo>
                        <a:pt x="79980" y="159967"/>
                      </a:moveTo>
                      <a:cubicBezTo>
                        <a:pt x="35876" y="159967"/>
                        <a:pt x="0" y="124086"/>
                        <a:pt x="0" y="79984"/>
                      </a:cubicBezTo>
                      <a:cubicBezTo>
                        <a:pt x="0" y="35882"/>
                        <a:pt x="35879" y="0"/>
                        <a:pt x="79980" y="0"/>
                      </a:cubicBezTo>
                      <a:cubicBezTo>
                        <a:pt x="124085" y="0"/>
                        <a:pt x="159964" y="35882"/>
                        <a:pt x="159964" y="79984"/>
                      </a:cubicBezTo>
                      <a:cubicBezTo>
                        <a:pt x="159964" y="124086"/>
                        <a:pt x="124085" y="159967"/>
                        <a:pt x="79980" y="159967"/>
                      </a:cubicBezTo>
                      <a:close/>
                      <a:moveTo>
                        <a:pt x="79980" y="13911"/>
                      </a:moveTo>
                      <a:cubicBezTo>
                        <a:pt x="43547" y="13911"/>
                        <a:pt x="13908" y="43550"/>
                        <a:pt x="13908" y="79984"/>
                      </a:cubicBezTo>
                      <a:cubicBezTo>
                        <a:pt x="13908" y="116417"/>
                        <a:pt x="43547" y="146056"/>
                        <a:pt x="79980" y="146056"/>
                      </a:cubicBezTo>
                      <a:cubicBezTo>
                        <a:pt x="116414" y="146056"/>
                        <a:pt x="146053" y="116417"/>
                        <a:pt x="146053" y="79984"/>
                      </a:cubicBezTo>
                      <a:cubicBezTo>
                        <a:pt x="146053" y="43550"/>
                        <a:pt x="116414" y="13911"/>
                        <a:pt x="79980" y="13911"/>
                      </a:cubicBezTo>
                      <a:close/>
                    </a:path>
                  </a:pathLst>
                </a:custGeom>
                <a:grpFill/>
                <a:ln w="314" cap="flat">
                  <a:noFill/>
                  <a:prstDash val="solid"/>
                  <a:miter/>
                </a:ln>
              </p:spPr>
              <p:txBody>
                <a:bodyPr rtlCol="0" anchor="ctr"/>
                <a:lstStyle/>
                <a:p>
                  <a:endParaRPr lang="en-GB" dirty="0"/>
                </a:p>
              </p:txBody>
            </p:sp>
          </p:grpSp>
          <p:grpSp>
            <p:nvGrpSpPr>
              <p:cNvPr id="128" name="Graphic 25">
                <a:extLst>
                  <a:ext uri="{FF2B5EF4-FFF2-40B4-BE49-F238E27FC236}">
                    <a16:creationId xmlns:a16="http://schemas.microsoft.com/office/drawing/2014/main" id="{E11D90E1-BF16-4EDA-A853-AD2D66BF139D}"/>
                  </a:ext>
                </a:extLst>
              </p:cNvPr>
              <p:cNvGrpSpPr/>
              <p:nvPr/>
            </p:nvGrpSpPr>
            <p:grpSpPr>
              <a:xfrm>
                <a:off x="2047212" y="3489809"/>
                <a:ext cx="159964" cy="159967"/>
                <a:chOff x="2047212" y="3489809"/>
                <a:chExt cx="159964" cy="159967"/>
              </a:xfrm>
              <a:grpFill/>
            </p:grpSpPr>
            <p:grpSp>
              <p:nvGrpSpPr>
                <p:cNvPr id="136" name="Graphic 25">
                  <a:extLst>
                    <a:ext uri="{FF2B5EF4-FFF2-40B4-BE49-F238E27FC236}">
                      <a16:creationId xmlns:a16="http://schemas.microsoft.com/office/drawing/2014/main" id="{2E3A1B0D-46A4-40AE-B7CA-FBDB75A9A2CA}"/>
                    </a:ext>
                  </a:extLst>
                </p:cNvPr>
                <p:cNvGrpSpPr/>
                <p:nvPr/>
              </p:nvGrpSpPr>
              <p:grpSpPr>
                <a:xfrm>
                  <a:off x="2047212" y="3489809"/>
                  <a:ext cx="159964" cy="159967"/>
                  <a:chOff x="2047212" y="3489809"/>
                  <a:chExt cx="159964" cy="159967"/>
                </a:xfrm>
                <a:grpFill/>
              </p:grpSpPr>
              <p:sp>
                <p:nvSpPr>
                  <p:cNvPr id="140" name="Freihandform: Form 139">
                    <a:extLst>
                      <a:ext uri="{FF2B5EF4-FFF2-40B4-BE49-F238E27FC236}">
                        <a16:creationId xmlns:a16="http://schemas.microsoft.com/office/drawing/2014/main" id="{C7CC4C6E-2391-4108-81A6-F5494AFAC6A5}"/>
                      </a:ext>
                    </a:extLst>
                  </p:cNvPr>
                  <p:cNvSpPr/>
                  <p:nvPr/>
                </p:nvSpPr>
                <p:spPr>
                  <a:xfrm>
                    <a:off x="2047212" y="3489809"/>
                    <a:ext cx="159964" cy="159967"/>
                  </a:xfrm>
                  <a:custGeom>
                    <a:avLst/>
                    <a:gdLst>
                      <a:gd name="connsiteX0" fmla="*/ 79980 w 159964"/>
                      <a:gd name="connsiteY0" fmla="*/ 159967 h 159967"/>
                      <a:gd name="connsiteX1" fmla="*/ 0 w 159964"/>
                      <a:gd name="connsiteY1" fmla="*/ 79984 h 159967"/>
                      <a:gd name="connsiteX2" fmla="*/ 79980 w 159964"/>
                      <a:gd name="connsiteY2" fmla="*/ 0 h 159967"/>
                      <a:gd name="connsiteX3" fmla="*/ 159964 w 159964"/>
                      <a:gd name="connsiteY3" fmla="*/ 79984 h 159967"/>
                      <a:gd name="connsiteX4" fmla="*/ 79980 w 159964"/>
                      <a:gd name="connsiteY4" fmla="*/ 159967 h 159967"/>
                      <a:gd name="connsiteX5" fmla="*/ 79980 w 159964"/>
                      <a:gd name="connsiteY5" fmla="*/ 13911 h 159967"/>
                      <a:gd name="connsiteX6" fmla="*/ 13908 w 159964"/>
                      <a:gd name="connsiteY6" fmla="*/ 79984 h 159967"/>
                      <a:gd name="connsiteX7" fmla="*/ 79980 w 159964"/>
                      <a:gd name="connsiteY7" fmla="*/ 146056 h 159967"/>
                      <a:gd name="connsiteX8" fmla="*/ 146053 w 159964"/>
                      <a:gd name="connsiteY8" fmla="*/ 79984 h 159967"/>
                      <a:gd name="connsiteX9" fmla="*/ 79980 w 159964"/>
                      <a:gd name="connsiteY9" fmla="*/ 13911 h 15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964" h="159967">
                        <a:moveTo>
                          <a:pt x="79980" y="159967"/>
                        </a:moveTo>
                        <a:cubicBezTo>
                          <a:pt x="35876" y="159967"/>
                          <a:pt x="0" y="124086"/>
                          <a:pt x="0" y="79984"/>
                        </a:cubicBezTo>
                        <a:cubicBezTo>
                          <a:pt x="0" y="35882"/>
                          <a:pt x="35879" y="0"/>
                          <a:pt x="79980" y="0"/>
                        </a:cubicBezTo>
                        <a:cubicBezTo>
                          <a:pt x="124082" y="0"/>
                          <a:pt x="159964" y="35882"/>
                          <a:pt x="159964" y="79984"/>
                        </a:cubicBezTo>
                        <a:cubicBezTo>
                          <a:pt x="159964" y="124086"/>
                          <a:pt x="124085" y="159967"/>
                          <a:pt x="79980" y="159967"/>
                        </a:cubicBezTo>
                        <a:close/>
                        <a:moveTo>
                          <a:pt x="79980" y="13911"/>
                        </a:moveTo>
                        <a:cubicBezTo>
                          <a:pt x="43550" y="13911"/>
                          <a:pt x="13908" y="43550"/>
                          <a:pt x="13908" y="79984"/>
                        </a:cubicBezTo>
                        <a:cubicBezTo>
                          <a:pt x="13908" y="116417"/>
                          <a:pt x="43547" y="146056"/>
                          <a:pt x="79980" y="146056"/>
                        </a:cubicBezTo>
                        <a:cubicBezTo>
                          <a:pt x="116414" y="146056"/>
                          <a:pt x="146053" y="116417"/>
                          <a:pt x="146053" y="79984"/>
                        </a:cubicBezTo>
                        <a:cubicBezTo>
                          <a:pt x="146053" y="43550"/>
                          <a:pt x="116414" y="13911"/>
                          <a:pt x="79980" y="13911"/>
                        </a:cubicBezTo>
                        <a:close/>
                      </a:path>
                    </a:pathLst>
                  </a:custGeom>
                  <a:grpFill/>
                  <a:ln w="314" cap="flat">
                    <a:noFill/>
                    <a:prstDash val="solid"/>
                    <a:miter/>
                  </a:ln>
                </p:spPr>
                <p:txBody>
                  <a:bodyPr rtlCol="0" anchor="ctr"/>
                  <a:lstStyle/>
                  <a:p>
                    <a:endParaRPr lang="en-GB" dirty="0"/>
                  </a:p>
                </p:txBody>
              </p:sp>
              <p:sp>
                <p:nvSpPr>
                  <p:cNvPr id="141" name="Freihandform: Form 140">
                    <a:extLst>
                      <a:ext uri="{FF2B5EF4-FFF2-40B4-BE49-F238E27FC236}">
                        <a16:creationId xmlns:a16="http://schemas.microsoft.com/office/drawing/2014/main" id="{FA80772B-7A7C-4010-A35E-B36584D20A20}"/>
                      </a:ext>
                    </a:extLst>
                  </p:cNvPr>
                  <p:cNvSpPr/>
                  <p:nvPr/>
                </p:nvSpPr>
                <p:spPr>
                  <a:xfrm>
                    <a:off x="2090359" y="3586740"/>
                    <a:ext cx="74573" cy="25312"/>
                  </a:xfrm>
                  <a:custGeom>
                    <a:avLst/>
                    <a:gdLst>
                      <a:gd name="connsiteX0" fmla="*/ 67617 w 74573"/>
                      <a:gd name="connsiteY0" fmla="*/ 25313 h 25312"/>
                      <a:gd name="connsiteX1" fmla="*/ 63089 w 74573"/>
                      <a:gd name="connsiteY1" fmla="*/ 23635 h 25312"/>
                      <a:gd name="connsiteX2" fmla="*/ 36922 w 74573"/>
                      <a:gd name="connsiteY2" fmla="*/ 13908 h 25312"/>
                      <a:gd name="connsiteX3" fmla="*/ 11004 w 74573"/>
                      <a:gd name="connsiteY3" fmla="*/ 23172 h 25312"/>
                      <a:gd name="connsiteX4" fmla="*/ 1302 w 74573"/>
                      <a:gd name="connsiteY4" fmla="*/ 21564 h 25312"/>
                      <a:gd name="connsiteX5" fmla="*/ 2906 w 74573"/>
                      <a:gd name="connsiteY5" fmla="*/ 11859 h 25312"/>
                      <a:gd name="connsiteX6" fmla="*/ 36922 w 74573"/>
                      <a:gd name="connsiteY6" fmla="*/ 0 h 25312"/>
                      <a:gd name="connsiteX7" fmla="*/ 72148 w 74573"/>
                      <a:gd name="connsiteY7" fmla="*/ 13082 h 25312"/>
                      <a:gd name="connsiteX8" fmla="*/ 72895 w 74573"/>
                      <a:gd name="connsiteY8" fmla="*/ 22888 h 25312"/>
                      <a:gd name="connsiteX9" fmla="*/ 67617 w 74573"/>
                      <a:gd name="connsiteY9" fmla="*/ 25313 h 25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573" h="25312">
                        <a:moveTo>
                          <a:pt x="67617" y="25313"/>
                        </a:moveTo>
                        <a:cubicBezTo>
                          <a:pt x="66015" y="25313"/>
                          <a:pt x="64404" y="24764"/>
                          <a:pt x="63089" y="23635"/>
                        </a:cubicBezTo>
                        <a:cubicBezTo>
                          <a:pt x="58858" y="20003"/>
                          <a:pt x="49830" y="13908"/>
                          <a:pt x="36922" y="13908"/>
                        </a:cubicBezTo>
                        <a:cubicBezTo>
                          <a:pt x="25479" y="13908"/>
                          <a:pt x="17398" y="18587"/>
                          <a:pt x="11004" y="23172"/>
                        </a:cubicBezTo>
                        <a:cubicBezTo>
                          <a:pt x="7882" y="25401"/>
                          <a:pt x="3537" y="24679"/>
                          <a:pt x="1302" y="21564"/>
                        </a:cubicBezTo>
                        <a:cubicBezTo>
                          <a:pt x="-937" y="18439"/>
                          <a:pt x="-215" y="14101"/>
                          <a:pt x="2906" y="11859"/>
                        </a:cubicBezTo>
                        <a:cubicBezTo>
                          <a:pt x="10616" y="6338"/>
                          <a:pt x="21453" y="0"/>
                          <a:pt x="36922" y="0"/>
                        </a:cubicBezTo>
                        <a:cubicBezTo>
                          <a:pt x="54314" y="0"/>
                          <a:pt x="66456" y="8198"/>
                          <a:pt x="72148" y="13082"/>
                        </a:cubicBezTo>
                        <a:cubicBezTo>
                          <a:pt x="75061" y="15582"/>
                          <a:pt x="75399" y="19975"/>
                          <a:pt x="72895" y="22888"/>
                        </a:cubicBezTo>
                        <a:cubicBezTo>
                          <a:pt x="71520" y="24490"/>
                          <a:pt x="69575" y="25313"/>
                          <a:pt x="67617" y="25313"/>
                        </a:cubicBezTo>
                        <a:close/>
                      </a:path>
                    </a:pathLst>
                  </a:custGeom>
                  <a:grpFill/>
                  <a:ln w="314" cap="flat">
                    <a:noFill/>
                    <a:prstDash val="solid"/>
                    <a:miter/>
                  </a:ln>
                </p:spPr>
                <p:txBody>
                  <a:bodyPr rtlCol="0" anchor="ctr"/>
                  <a:lstStyle/>
                  <a:p>
                    <a:endParaRPr lang="en-GB" dirty="0"/>
                  </a:p>
                </p:txBody>
              </p:sp>
            </p:grpSp>
            <p:grpSp>
              <p:nvGrpSpPr>
                <p:cNvPr id="137" name="Graphic 25">
                  <a:extLst>
                    <a:ext uri="{FF2B5EF4-FFF2-40B4-BE49-F238E27FC236}">
                      <a16:creationId xmlns:a16="http://schemas.microsoft.com/office/drawing/2014/main" id="{2403CC0E-3933-4D8E-ACC4-02859FE4E250}"/>
                    </a:ext>
                  </a:extLst>
                </p:cNvPr>
                <p:cNvGrpSpPr/>
                <p:nvPr/>
              </p:nvGrpSpPr>
              <p:grpSpPr>
                <a:xfrm>
                  <a:off x="2086082" y="3543685"/>
                  <a:ext cx="83255" cy="15689"/>
                  <a:chOff x="2086082" y="3543685"/>
                  <a:chExt cx="83255" cy="15689"/>
                </a:xfrm>
                <a:grpFill/>
              </p:grpSpPr>
              <p:sp>
                <p:nvSpPr>
                  <p:cNvPr id="138" name="Freihandform: Form 142">
                    <a:extLst>
                      <a:ext uri="{FF2B5EF4-FFF2-40B4-BE49-F238E27FC236}">
                        <a16:creationId xmlns:a16="http://schemas.microsoft.com/office/drawing/2014/main" id="{F1A11D76-A02F-448E-9BFF-3D8ECAA086EE}"/>
                      </a:ext>
                    </a:extLst>
                  </p:cNvPr>
                  <p:cNvSpPr/>
                  <p:nvPr/>
                </p:nvSpPr>
                <p:spPr>
                  <a:xfrm>
                    <a:off x="2086082" y="3543685"/>
                    <a:ext cx="22744" cy="15689"/>
                  </a:xfrm>
                  <a:custGeom>
                    <a:avLst/>
                    <a:gdLst>
                      <a:gd name="connsiteX0" fmla="*/ 15794 w 22744"/>
                      <a:gd name="connsiteY0" fmla="*/ 15690 h 15689"/>
                      <a:gd name="connsiteX1" fmla="*/ 14423 w 22744"/>
                      <a:gd name="connsiteY1" fmla="*/ 15554 h 15689"/>
                      <a:gd name="connsiteX2" fmla="*/ 5591 w 22744"/>
                      <a:gd name="connsiteY2" fmla="*/ 13789 h 15689"/>
                      <a:gd name="connsiteX3" fmla="*/ 136 w 22744"/>
                      <a:gd name="connsiteY3" fmla="*/ 5603 h 15689"/>
                      <a:gd name="connsiteX4" fmla="*/ 8319 w 22744"/>
                      <a:gd name="connsiteY4" fmla="*/ 148 h 15689"/>
                      <a:gd name="connsiteX5" fmla="*/ 17150 w 22744"/>
                      <a:gd name="connsiteY5" fmla="*/ 1914 h 15689"/>
                      <a:gd name="connsiteX6" fmla="*/ 22608 w 22744"/>
                      <a:gd name="connsiteY6" fmla="*/ 10100 h 15689"/>
                      <a:gd name="connsiteX7" fmla="*/ 15794 w 22744"/>
                      <a:gd name="connsiteY7" fmla="*/ 15690 h 1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44" h="15689">
                        <a:moveTo>
                          <a:pt x="15794" y="15690"/>
                        </a:moveTo>
                        <a:cubicBezTo>
                          <a:pt x="15344" y="15690"/>
                          <a:pt x="14883" y="15649"/>
                          <a:pt x="14423" y="15554"/>
                        </a:cubicBezTo>
                        <a:lnTo>
                          <a:pt x="5591" y="13789"/>
                        </a:lnTo>
                        <a:cubicBezTo>
                          <a:pt x="1826" y="13035"/>
                          <a:pt x="-617" y="9374"/>
                          <a:pt x="136" y="5603"/>
                        </a:cubicBezTo>
                        <a:cubicBezTo>
                          <a:pt x="887" y="1832"/>
                          <a:pt x="4563" y="-646"/>
                          <a:pt x="8319" y="148"/>
                        </a:cubicBezTo>
                        <a:lnTo>
                          <a:pt x="17150" y="1914"/>
                        </a:lnTo>
                        <a:cubicBezTo>
                          <a:pt x="20921" y="2668"/>
                          <a:pt x="23362" y="6328"/>
                          <a:pt x="22608" y="10100"/>
                        </a:cubicBezTo>
                        <a:cubicBezTo>
                          <a:pt x="21949" y="13407"/>
                          <a:pt x="19042" y="15690"/>
                          <a:pt x="15794" y="15690"/>
                        </a:cubicBezTo>
                        <a:close/>
                      </a:path>
                    </a:pathLst>
                  </a:custGeom>
                  <a:grpFill/>
                  <a:ln w="314" cap="flat">
                    <a:noFill/>
                    <a:prstDash val="solid"/>
                    <a:miter/>
                  </a:ln>
                </p:spPr>
                <p:txBody>
                  <a:bodyPr rtlCol="0" anchor="ctr"/>
                  <a:lstStyle/>
                  <a:p>
                    <a:endParaRPr lang="en-GB" dirty="0"/>
                  </a:p>
                </p:txBody>
              </p:sp>
              <p:sp>
                <p:nvSpPr>
                  <p:cNvPr id="139" name="Freihandform: Form 143">
                    <a:extLst>
                      <a:ext uri="{FF2B5EF4-FFF2-40B4-BE49-F238E27FC236}">
                        <a16:creationId xmlns:a16="http://schemas.microsoft.com/office/drawing/2014/main" id="{43B2CCD2-494A-4C39-A8A1-65D51BBC1548}"/>
                      </a:ext>
                    </a:extLst>
                  </p:cNvPr>
                  <p:cNvSpPr/>
                  <p:nvPr/>
                </p:nvSpPr>
                <p:spPr>
                  <a:xfrm>
                    <a:off x="2146592" y="3543687"/>
                    <a:ext cx="22744" cy="15688"/>
                  </a:xfrm>
                  <a:custGeom>
                    <a:avLst/>
                    <a:gdLst>
                      <a:gd name="connsiteX0" fmla="*/ 6950 w 22744"/>
                      <a:gd name="connsiteY0" fmla="*/ 15688 h 15688"/>
                      <a:gd name="connsiteX1" fmla="*/ 137 w 22744"/>
                      <a:gd name="connsiteY1" fmla="*/ 10098 h 15688"/>
                      <a:gd name="connsiteX2" fmla="*/ 5595 w 22744"/>
                      <a:gd name="connsiteY2" fmla="*/ 1912 h 15688"/>
                      <a:gd name="connsiteX3" fmla="*/ 14426 w 22744"/>
                      <a:gd name="connsiteY3" fmla="*/ 147 h 15688"/>
                      <a:gd name="connsiteX4" fmla="*/ 22608 w 22744"/>
                      <a:gd name="connsiteY4" fmla="*/ 5601 h 15688"/>
                      <a:gd name="connsiteX5" fmla="*/ 17154 w 22744"/>
                      <a:gd name="connsiteY5" fmla="*/ 13787 h 15688"/>
                      <a:gd name="connsiteX6" fmla="*/ 8322 w 22744"/>
                      <a:gd name="connsiteY6" fmla="*/ 15553 h 15688"/>
                      <a:gd name="connsiteX7" fmla="*/ 6950 w 22744"/>
                      <a:gd name="connsiteY7" fmla="*/ 15688 h 1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44" h="15688">
                        <a:moveTo>
                          <a:pt x="6950" y="15688"/>
                        </a:moveTo>
                        <a:cubicBezTo>
                          <a:pt x="3700" y="15688"/>
                          <a:pt x="796" y="13405"/>
                          <a:pt x="137" y="10098"/>
                        </a:cubicBezTo>
                        <a:cubicBezTo>
                          <a:pt x="-617" y="6327"/>
                          <a:pt x="1823" y="2666"/>
                          <a:pt x="5595" y="1912"/>
                        </a:cubicBezTo>
                        <a:lnTo>
                          <a:pt x="14426" y="147"/>
                        </a:lnTo>
                        <a:cubicBezTo>
                          <a:pt x="18185" y="-642"/>
                          <a:pt x="21858" y="1830"/>
                          <a:pt x="22608" y="5601"/>
                        </a:cubicBezTo>
                        <a:cubicBezTo>
                          <a:pt x="23362" y="9373"/>
                          <a:pt x="20921" y="13033"/>
                          <a:pt x="17154" y="13787"/>
                        </a:cubicBezTo>
                        <a:lnTo>
                          <a:pt x="8322" y="15553"/>
                        </a:lnTo>
                        <a:cubicBezTo>
                          <a:pt x="7862" y="15647"/>
                          <a:pt x="7401" y="15688"/>
                          <a:pt x="6950" y="15688"/>
                        </a:cubicBezTo>
                        <a:close/>
                      </a:path>
                    </a:pathLst>
                  </a:custGeom>
                  <a:grpFill/>
                  <a:ln w="314" cap="flat">
                    <a:noFill/>
                    <a:prstDash val="solid"/>
                    <a:miter/>
                  </a:ln>
                </p:spPr>
                <p:txBody>
                  <a:bodyPr rtlCol="0" anchor="ctr"/>
                  <a:lstStyle/>
                  <a:p>
                    <a:endParaRPr lang="en-GB" dirty="0"/>
                  </a:p>
                </p:txBody>
              </p:sp>
            </p:grpSp>
          </p:grpSp>
          <p:sp>
            <p:nvSpPr>
              <p:cNvPr id="129" name="Freihandform: Form 145">
                <a:extLst>
                  <a:ext uri="{FF2B5EF4-FFF2-40B4-BE49-F238E27FC236}">
                    <a16:creationId xmlns:a16="http://schemas.microsoft.com/office/drawing/2014/main" id="{B36EFB01-1732-4811-8BC1-8488F08F4BC6}"/>
                  </a:ext>
                </a:extLst>
              </p:cNvPr>
              <p:cNvSpPr/>
              <p:nvPr/>
            </p:nvSpPr>
            <p:spPr>
              <a:xfrm>
                <a:off x="1929745" y="3666298"/>
                <a:ext cx="26006" cy="13911"/>
              </a:xfrm>
              <a:custGeom>
                <a:avLst/>
                <a:gdLst>
                  <a:gd name="connsiteX0" fmla="*/ 19051 w 26006"/>
                  <a:gd name="connsiteY0" fmla="*/ 13911 h 13911"/>
                  <a:gd name="connsiteX1" fmla="*/ 6956 w 26006"/>
                  <a:gd name="connsiteY1" fmla="*/ 13911 h 13911"/>
                  <a:gd name="connsiteX2" fmla="*/ 0 w 26006"/>
                  <a:gd name="connsiteY2" fmla="*/ 6956 h 13911"/>
                  <a:gd name="connsiteX3" fmla="*/ 6956 w 26006"/>
                  <a:gd name="connsiteY3" fmla="*/ 0 h 13911"/>
                  <a:gd name="connsiteX4" fmla="*/ 19051 w 26006"/>
                  <a:gd name="connsiteY4" fmla="*/ 0 h 13911"/>
                  <a:gd name="connsiteX5" fmla="*/ 26006 w 26006"/>
                  <a:gd name="connsiteY5" fmla="*/ 6956 h 13911"/>
                  <a:gd name="connsiteX6" fmla="*/ 19051 w 26006"/>
                  <a:gd name="connsiteY6" fmla="*/ 13911 h 1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06" h="13911">
                    <a:moveTo>
                      <a:pt x="19051" y="13911"/>
                    </a:moveTo>
                    <a:lnTo>
                      <a:pt x="6956" y="13911"/>
                    </a:lnTo>
                    <a:cubicBezTo>
                      <a:pt x="3115" y="13911"/>
                      <a:pt x="0" y="10799"/>
                      <a:pt x="0" y="6956"/>
                    </a:cubicBezTo>
                    <a:cubicBezTo>
                      <a:pt x="0" y="3112"/>
                      <a:pt x="3115" y="0"/>
                      <a:pt x="6956" y="0"/>
                    </a:cubicBezTo>
                    <a:lnTo>
                      <a:pt x="19051" y="0"/>
                    </a:lnTo>
                    <a:cubicBezTo>
                      <a:pt x="22891" y="0"/>
                      <a:pt x="26006" y="3112"/>
                      <a:pt x="26006" y="6956"/>
                    </a:cubicBezTo>
                    <a:cubicBezTo>
                      <a:pt x="26006" y="10802"/>
                      <a:pt x="22891" y="13911"/>
                      <a:pt x="19051" y="13911"/>
                    </a:cubicBezTo>
                    <a:close/>
                  </a:path>
                </a:pathLst>
              </a:custGeom>
              <a:grpFill/>
              <a:ln w="314" cap="flat">
                <a:noFill/>
                <a:prstDash val="solid"/>
                <a:miter/>
              </a:ln>
            </p:spPr>
            <p:txBody>
              <a:bodyPr rtlCol="0" anchor="ctr"/>
              <a:lstStyle/>
              <a:p>
                <a:endParaRPr lang="en-GB" dirty="0"/>
              </a:p>
            </p:txBody>
          </p:sp>
          <p:sp>
            <p:nvSpPr>
              <p:cNvPr id="130" name="Freihandform: Form 146">
                <a:extLst>
                  <a:ext uri="{FF2B5EF4-FFF2-40B4-BE49-F238E27FC236}">
                    <a16:creationId xmlns:a16="http://schemas.microsoft.com/office/drawing/2014/main" id="{2EB03197-3724-43D0-BC77-9DC912FA94EC}"/>
                  </a:ext>
                </a:extLst>
              </p:cNvPr>
              <p:cNvSpPr/>
              <p:nvPr/>
            </p:nvSpPr>
            <p:spPr>
              <a:xfrm>
                <a:off x="1899501" y="3557426"/>
                <a:ext cx="86494" cy="98589"/>
              </a:xfrm>
              <a:custGeom>
                <a:avLst/>
                <a:gdLst>
                  <a:gd name="connsiteX0" fmla="*/ 43247 w 86494"/>
                  <a:gd name="connsiteY0" fmla="*/ 98590 h 98589"/>
                  <a:gd name="connsiteX1" fmla="*/ 0 w 86494"/>
                  <a:gd name="connsiteY1" fmla="*/ 49295 h 98589"/>
                  <a:gd name="connsiteX2" fmla="*/ 43247 w 86494"/>
                  <a:gd name="connsiteY2" fmla="*/ 0 h 98589"/>
                  <a:gd name="connsiteX3" fmla="*/ 86495 w 86494"/>
                  <a:gd name="connsiteY3" fmla="*/ 49295 h 98589"/>
                  <a:gd name="connsiteX4" fmla="*/ 43247 w 86494"/>
                  <a:gd name="connsiteY4" fmla="*/ 98590 h 98589"/>
                  <a:gd name="connsiteX5" fmla="*/ 43247 w 86494"/>
                  <a:gd name="connsiteY5" fmla="*/ 13908 h 98589"/>
                  <a:gd name="connsiteX6" fmla="*/ 13908 w 86494"/>
                  <a:gd name="connsiteY6" fmla="*/ 49295 h 98589"/>
                  <a:gd name="connsiteX7" fmla="*/ 43247 w 86494"/>
                  <a:gd name="connsiteY7" fmla="*/ 84682 h 98589"/>
                  <a:gd name="connsiteX8" fmla="*/ 72587 w 86494"/>
                  <a:gd name="connsiteY8" fmla="*/ 49295 h 98589"/>
                  <a:gd name="connsiteX9" fmla="*/ 43247 w 86494"/>
                  <a:gd name="connsiteY9" fmla="*/ 13908 h 98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94" h="98589">
                    <a:moveTo>
                      <a:pt x="43247" y="98590"/>
                    </a:moveTo>
                    <a:cubicBezTo>
                      <a:pt x="17783" y="98590"/>
                      <a:pt x="0" y="78316"/>
                      <a:pt x="0" y="49295"/>
                    </a:cubicBezTo>
                    <a:cubicBezTo>
                      <a:pt x="0" y="20274"/>
                      <a:pt x="17783" y="0"/>
                      <a:pt x="43247" y="0"/>
                    </a:cubicBezTo>
                    <a:cubicBezTo>
                      <a:pt x="68711" y="0"/>
                      <a:pt x="86495" y="20274"/>
                      <a:pt x="86495" y="49295"/>
                    </a:cubicBezTo>
                    <a:cubicBezTo>
                      <a:pt x="86495" y="78316"/>
                      <a:pt x="68711" y="98590"/>
                      <a:pt x="43247" y="98590"/>
                    </a:cubicBezTo>
                    <a:close/>
                    <a:moveTo>
                      <a:pt x="43247" y="13908"/>
                    </a:moveTo>
                    <a:cubicBezTo>
                      <a:pt x="21595" y="13908"/>
                      <a:pt x="13908" y="32975"/>
                      <a:pt x="13908" y="49295"/>
                    </a:cubicBezTo>
                    <a:cubicBezTo>
                      <a:pt x="13908" y="65615"/>
                      <a:pt x="21592" y="84682"/>
                      <a:pt x="43247" y="84682"/>
                    </a:cubicBezTo>
                    <a:cubicBezTo>
                      <a:pt x="64899" y="84682"/>
                      <a:pt x="72587" y="65618"/>
                      <a:pt x="72587" y="49295"/>
                    </a:cubicBezTo>
                    <a:cubicBezTo>
                      <a:pt x="72587" y="32971"/>
                      <a:pt x="64899" y="13908"/>
                      <a:pt x="43247" y="13908"/>
                    </a:cubicBezTo>
                    <a:close/>
                  </a:path>
                </a:pathLst>
              </a:custGeom>
              <a:grpFill/>
              <a:ln w="314" cap="flat">
                <a:noFill/>
                <a:prstDash val="solid"/>
                <a:miter/>
              </a:ln>
            </p:spPr>
            <p:txBody>
              <a:bodyPr rtlCol="0" anchor="ctr"/>
              <a:lstStyle/>
              <a:p>
                <a:endParaRPr lang="en-GB" dirty="0"/>
              </a:p>
            </p:txBody>
          </p:sp>
          <p:sp>
            <p:nvSpPr>
              <p:cNvPr id="131" name="Freihandform: Form 147">
                <a:extLst>
                  <a:ext uri="{FF2B5EF4-FFF2-40B4-BE49-F238E27FC236}">
                    <a16:creationId xmlns:a16="http://schemas.microsoft.com/office/drawing/2014/main" id="{7B3458BA-48A4-4B0D-B22B-D853BA0EED63}"/>
                  </a:ext>
                </a:extLst>
              </p:cNvPr>
              <p:cNvSpPr/>
              <p:nvPr/>
            </p:nvSpPr>
            <p:spPr>
              <a:xfrm>
                <a:off x="1935792" y="3666301"/>
                <a:ext cx="13911" cy="80443"/>
              </a:xfrm>
              <a:custGeom>
                <a:avLst/>
                <a:gdLst>
                  <a:gd name="connsiteX0" fmla="*/ 6956 w 13911"/>
                  <a:gd name="connsiteY0" fmla="*/ 80444 h 80443"/>
                  <a:gd name="connsiteX1" fmla="*/ 0 w 13911"/>
                  <a:gd name="connsiteY1" fmla="*/ 73488 h 80443"/>
                  <a:gd name="connsiteX2" fmla="*/ 0 w 13911"/>
                  <a:gd name="connsiteY2" fmla="*/ 6956 h 80443"/>
                  <a:gd name="connsiteX3" fmla="*/ 6956 w 13911"/>
                  <a:gd name="connsiteY3" fmla="*/ 0 h 80443"/>
                  <a:gd name="connsiteX4" fmla="*/ 13911 w 13911"/>
                  <a:gd name="connsiteY4" fmla="*/ 6956 h 80443"/>
                  <a:gd name="connsiteX5" fmla="*/ 13911 w 13911"/>
                  <a:gd name="connsiteY5" fmla="*/ 73488 h 80443"/>
                  <a:gd name="connsiteX6" fmla="*/ 6956 w 13911"/>
                  <a:gd name="connsiteY6" fmla="*/ 80444 h 80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11" h="80443">
                    <a:moveTo>
                      <a:pt x="6956" y="80444"/>
                    </a:moveTo>
                    <a:cubicBezTo>
                      <a:pt x="3115" y="80444"/>
                      <a:pt x="0" y="77332"/>
                      <a:pt x="0" y="73488"/>
                    </a:cubicBezTo>
                    <a:lnTo>
                      <a:pt x="0" y="6956"/>
                    </a:lnTo>
                    <a:cubicBezTo>
                      <a:pt x="0" y="3112"/>
                      <a:pt x="3115" y="0"/>
                      <a:pt x="6956" y="0"/>
                    </a:cubicBezTo>
                    <a:cubicBezTo>
                      <a:pt x="10796" y="0"/>
                      <a:pt x="13911" y="3112"/>
                      <a:pt x="13911" y="6956"/>
                    </a:cubicBezTo>
                    <a:lnTo>
                      <a:pt x="13911" y="73488"/>
                    </a:lnTo>
                    <a:cubicBezTo>
                      <a:pt x="13911" y="77332"/>
                      <a:pt x="10796" y="80444"/>
                      <a:pt x="6956" y="80444"/>
                    </a:cubicBezTo>
                    <a:close/>
                  </a:path>
                </a:pathLst>
              </a:custGeom>
              <a:grpFill/>
              <a:ln w="314" cap="flat">
                <a:noFill/>
                <a:prstDash val="solid"/>
                <a:miter/>
              </a:ln>
            </p:spPr>
            <p:txBody>
              <a:bodyPr rtlCol="0" anchor="ctr"/>
              <a:lstStyle/>
              <a:p>
                <a:endParaRPr lang="en-GB" dirty="0"/>
              </a:p>
            </p:txBody>
          </p:sp>
          <p:sp>
            <p:nvSpPr>
              <p:cNvPr id="132" name="Freihandform: Form 148">
                <a:extLst>
                  <a:ext uri="{FF2B5EF4-FFF2-40B4-BE49-F238E27FC236}">
                    <a16:creationId xmlns:a16="http://schemas.microsoft.com/office/drawing/2014/main" id="{10C9CB14-3C25-4CF2-A170-C4890073659D}"/>
                  </a:ext>
                </a:extLst>
              </p:cNvPr>
              <p:cNvSpPr/>
              <p:nvPr/>
            </p:nvSpPr>
            <p:spPr>
              <a:xfrm>
                <a:off x="1871603" y="3722521"/>
                <a:ext cx="130686" cy="44258"/>
              </a:xfrm>
              <a:custGeom>
                <a:avLst/>
                <a:gdLst>
                  <a:gd name="connsiteX0" fmla="*/ 6949 w 130686"/>
                  <a:gd name="connsiteY0" fmla="*/ 44259 h 44258"/>
                  <a:gd name="connsiteX1" fmla="*/ 2888 w 130686"/>
                  <a:gd name="connsiteY1" fmla="*/ 42947 h 44258"/>
                  <a:gd name="connsiteX2" fmla="*/ 1315 w 130686"/>
                  <a:gd name="connsiteY2" fmla="*/ 33235 h 44258"/>
                  <a:gd name="connsiteX3" fmla="*/ 8633 w 130686"/>
                  <a:gd name="connsiteY3" fmla="*/ 23089 h 44258"/>
                  <a:gd name="connsiteX4" fmla="*/ 26006 w 130686"/>
                  <a:gd name="connsiteY4" fmla="*/ 16603 h 44258"/>
                  <a:gd name="connsiteX5" fmla="*/ 49588 w 130686"/>
                  <a:gd name="connsiteY5" fmla="*/ 21024 h 44258"/>
                  <a:gd name="connsiteX6" fmla="*/ 115689 w 130686"/>
                  <a:gd name="connsiteY6" fmla="*/ 24237 h 44258"/>
                  <a:gd name="connsiteX7" fmla="*/ 114049 w 130686"/>
                  <a:gd name="connsiteY7" fmla="*/ 7636 h 44258"/>
                  <a:gd name="connsiteX8" fmla="*/ 120289 w 130686"/>
                  <a:gd name="connsiteY8" fmla="*/ 27 h 44258"/>
                  <a:gd name="connsiteX9" fmla="*/ 127891 w 130686"/>
                  <a:gd name="connsiteY9" fmla="*/ 6261 h 44258"/>
                  <a:gd name="connsiteX10" fmla="*/ 130653 w 130686"/>
                  <a:gd name="connsiteY10" fmla="*/ 34204 h 44258"/>
                  <a:gd name="connsiteX11" fmla="*/ 127592 w 130686"/>
                  <a:gd name="connsiteY11" fmla="*/ 40677 h 44258"/>
                  <a:gd name="connsiteX12" fmla="*/ 120437 w 130686"/>
                  <a:gd name="connsiteY12" fmla="*/ 41017 h 44258"/>
                  <a:gd name="connsiteX13" fmla="*/ 50216 w 130686"/>
                  <a:gd name="connsiteY13" fmla="*/ 34951 h 44258"/>
                  <a:gd name="connsiteX14" fmla="*/ 48071 w 130686"/>
                  <a:gd name="connsiteY14" fmla="*/ 34884 h 44258"/>
                  <a:gd name="connsiteX15" fmla="*/ 22806 w 130686"/>
                  <a:gd name="connsiteY15" fmla="*/ 30152 h 44258"/>
                  <a:gd name="connsiteX16" fmla="*/ 21308 w 130686"/>
                  <a:gd name="connsiteY16" fmla="*/ 29698 h 44258"/>
                  <a:gd name="connsiteX17" fmla="*/ 19918 w 130686"/>
                  <a:gd name="connsiteY17" fmla="*/ 31227 h 44258"/>
                  <a:gd name="connsiteX18" fmla="*/ 12600 w 130686"/>
                  <a:gd name="connsiteY18" fmla="*/ 41374 h 44258"/>
                  <a:gd name="connsiteX19" fmla="*/ 6949 w 130686"/>
                  <a:gd name="connsiteY19" fmla="*/ 44259 h 4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0686" h="44258">
                    <a:moveTo>
                      <a:pt x="6949" y="44259"/>
                    </a:moveTo>
                    <a:cubicBezTo>
                      <a:pt x="5540" y="44259"/>
                      <a:pt x="4118" y="43830"/>
                      <a:pt x="2888" y="42947"/>
                    </a:cubicBezTo>
                    <a:cubicBezTo>
                      <a:pt x="-227" y="40699"/>
                      <a:pt x="-933" y="36351"/>
                      <a:pt x="1315" y="33235"/>
                    </a:cubicBezTo>
                    <a:lnTo>
                      <a:pt x="8633" y="23089"/>
                    </a:lnTo>
                    <a:cubicBezTo>
                      <a:pt x="12335" y="17968"/>
                      <a:pt x="19073" y="14115"/>
                      <a:pt x="26006" y="16603"/>
                    </a:cubicBezTo>
                    <a:lnTo>
                      <a:pt x="49588" y="21024"/>
                    </a:lnTo>
                    <a:cubicBezTo>
                      <a:pt x="56339" y="20257"/>
                      <a:pt x="90776" y="16909"/>
                      <a:pt x="115689" y="24237"/>
                    </a:cubicBezTo>
                    <a:lnTo>
                      <a:pt x="114049" y="7636"/>
                    </a:lnTo>
                    <a:cubicBezTo>
                      <a:pt x="113671" y="3811"/>
                      <a:pt x="116464" y="409"/>
                      <a:pt x="120289" y="27"/>
                    </a:cubicBezTo>
                    <a:cubicBezTo>
                      <a:pt x="124136" y="-307"/>
                      <a:pt x="127516" y="2446"/>
                      <a:pt x="127891" y="6261"/>
                    </a:cubicBezTo>
                    <a:lnTo>
                      <a:pt x="130653" y="34204"/>
                    </a:lnTo>
                    <a:cubicBezTo>
                      <a:pt x="130905" y="36764"/>
                      <a:pt x="129726" y="39248"/>
                      <a:pt x="127592" y="40677"/>
                    </a:cubicBezTo>
                    <a:cubicBezTo>
                      <a:pt x="125444" y="42102"/>
                      <a:pt x="122695" y="42219"/>
                      <a:pt x="120437" y="41017"/>
                    </a:cubicBezTo>
                    <a:cubicBezTo>
                      <a:pt x="102074" y="31129"/>
                      <a:pt x="63528" y="33295"/>
                      <a:pt x="50216" y="34951"/>
                    </a:cubicBezTo>
                    <a:cubicBezTo>
                      <a:pt x="49509" y="35039"/>
                      <a:pt x="48775" y="35020"/>
                      <a:pt x="48071" y="34884"/>
                    </a:cubicBezTo>
                    <a:lnTo>
                      <a:pt x="22806" y="30152"/>
                    </a:lnTo>
                    <a:cubicBezTo>
                      <a:pt x="22289" y="30057"/>
                      <a:pt x="21788" y="29906"/>
                      <a:pt x="21308" y="29698"/>
                    </a:cubicBezTo>
                    <a:cubicBezTo>
                      <a:pt x="21321" y="29799"/>
                      <a:pt x="20504" y="30410"/>
                      <a:pt x="19918" y="31227"/>
                    </a:cubicBezTo>
                    <a:lnTo>
                      <a:pt x="12600" y="41374"/>
                    </a:lnTo>
                    <a:cubicBezTo>
                      <a:pt x="11237" y="43253"/>
                      <a:pt x="9109" y="44259"/>
                      <a:pt x="6949" y="44259"/>
                    </a:cubicBezTo>
                    <a:close/>
                  </a:path>
                </a:pathLst>
              </a:custGeom>
              <a:grpFill/>
              <a:ln w="314" cap="flat">
                <a:noFill/>
                <a:prstDash val="solid"/>
                <a:miter/>
              </a:ln>
            </p:spPr>
            <p:txBody>
              <a:bodyPr rtlCol="0" anchor="ctr"/>
              <a:lstStyle/>
              <a:p>
                <a:endParaRPr lang="en-GB" dirty="0"/>
              </a:p>
            </p:txBody>
          </p:sp>
          <p:sp>
            <p:nvSpPr>
              <p:cNvPr id="133" name="Freihandform: Form 149">
                <a:extLst>
                  <a:ext uri="{FF2B5EF4-FFF2-40B4-BE49-F238E27FC236}">
                    <a16:creationId xmlns:a16="http://schemas.microsoft.com/office/drawing/2014/main" id="{63AAD542-4EF2-400C-8F67-0ED9E70AA828}"/>
                  </a:ext>
                </a:extLst>
              </p:cNvPr>
              <p:cNvSpPr/>
              <p:nvPr/>
            </p:nvSpPr>
            <p:spPr>
              <a:xfrm>
                <a:off x="1996278" y="3793322"/>
                <a:ext cx="13911" cy="44155"/>
              </a:xfrm>
              <a:custGeom>
                <a:avLst/>
                <a:gdLst>
                  <a:gd name="connsiteX0" fmla="*/ 6956 w 13911"/>
                  <a:gd name="connsiteY0" fmla="*/ 44155 h 44155"/>
                  <a:gd name="connsiteX1" fmla="*/ 0 w 13911"/>
                  <a:gd name="connsiteY1" fmla="*/ 37200 h 44155"/>
                  <a:gd name="connsiteX2" fmla="*/ 0 w 13911"/>
                  <a:gd name="connsiteY2" fmla="*/ 6956 h 44155"/>
                  <a:gd name="connsiteX3" fmla="*/ 6956 w 13911"/>
                  <a:gd name="connsiteY3" fmla="*/ 0 h 44155"/>
                  <a:gd name="connsiteX4" fmla="*/ 13911 w 13911"/>
                  <a:gd name="connsiteY4" fmla="*/ 6956 h 44155"/>
                  <a:gd name="connsiteX5" fmla="*/ 13911 w 13911"/>
                  <a:gd name="connsiteY5" fmla="*/ 37200 h 44155"/>
                  <a:gd name="connsiteX6" fmla="*/ 6956 w 13911"/>
                  <a:gd name="connsiteY6" fmla="*/ 44155 h 4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11" h="44155">
                    <a:moveTo>
                      <a:pt x="6956" y="44155"/>
                    </a:moveTo>
                    <a:cubicBezTo>
                      <a:pt x="3115" y="44155"/>
                      <a:pt x="0" y="41043"/>
                      <a:pt x="0" y="37200"/>
                    </a:cubicBezTo>
                    <a:lnTo>
                      <a:pt x="0" y="6956"/>
                    </a:lnTo>
                    <a:cubicBezTo>
                      <a:pt x="0" y="3112"/>
                      <a:pt x="3115" y="0"/>
                      <a:pt x="6956" y="0"/>
                    </a:cubicBezTo>
                    <a:cubicBezTo>
                      <a:pt x="10796" y="0"/>
                      <a:pt x="13911" y="3112"/>
                      <a:pt x="13911" y="6956"/>
                    </a:cubicBezTo>
                    <a:lnTo>
                      <a:pt x="13911" y="37200"/>
                    </a:lnTo>
                    <a:cubicBezTo>
                      <a:pt x="13911" y="41043"/>
                      <a:pt x="10796" y="44155"/>
                      <a:pt x="6956" y="44155"/>
                    </a:cubicBezTo>
                    <a:close/>
                  </a:path>
                </a:pathLst>
              </a:custGeom>
              <a:grpFill/>
              <a:ln w="314" cap="flat">
                <a:noFill/>
                <a:prstDash val="solid"/>
                <a:miter/>
              </a:ln>
            </p:spPr>
            <p:txBody>
              <a:bodyPr rtlCol="0" anchor="ctr"/>
              <a:lstStyle/>
              <a:p>
                <a:endParaRPr lang="en-GB" dirty="0"/>
              </a:p>
            </p:txBody>
          </p:sp>
          <p:sp>
            <p:nvSpPr>
              <p:cNvPr id="134" name="Freihandform: Form 150">
                <a:extLst>
                  <a:ext uri="{FF2B5EF4-FFF2-40B4-BE49-F238E27FC236}">
                    <a16:creationId xmlns:a16="http://schemas.microsoft.com/office/drawing/2014/main" id="{3BF6F373-2D9D-4548-9025-8A55D62A1F89}"/>
                  </a:ext>
                </a:extLst>
              </p:cNvPr>
              <p:cNvSpPr/>
              <p:nvPr/>
            </p:nvSpPr>
            <p:spPr>
              <a:xfrm>
                <a:off x="1875307" y="3793322"/>
                <a:ext cx="13911" cy="44155"/>
              </a:xfrm>
              <a:custGeom>
                <a:avLst/>
                <a:gdLst>
                  <a:gd name="connsiteX0" fmla="*/ 6956 w 13911"/>
                  <a:gd name="connsiteY0" fmla="*/ 44155 h 44155"/>
                  <a:gd name="connsiteX1" fmla="*/ 0 w 13911"/>
                  <a:gd name="connsiteY1" fmla="*/ 37200 h 44155"/>
                  <a:gd name="connsiteX2" fmla="*/ 0 w 13911"/>
                  <a:gd name="connsiteY2" fmla="*/ 6956 h 44155"/>
                  <a:gd name="connsiteX3" fmla="*/ 6956 w 13911"/>
                  <a:gd name="connsiteY3" fmla="*/ 0 h 44155"/>
                  <a:gd name="connsiteX4" fmla="*/ 13911 w 13911"/>
                  <a:gd name="connsiteY4" fmla="*/ 6956 h 44155"/>
                  <a:gd name="connsiteX5" fmla="*/ 13911 w 13911"/>
                  <a:gd name="connsiteY5" fmla="*/ 37200 h 44155"/>
                  <a:gd name="connsiteX6" fmla="*/ 6956 w 13911"/>
                  <a:gd name="connsiteY6" fmla="*/ 44155 h 4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11" h="44155">
                    <a:moveTo>
                      <a:pt x="6956" y="44155"/>
                    </a:moveTo>
                    <a:cubicBezTo>
                      <a:pt x="3115" y="44155"/>
                      <a:pt x="0" y="41043"/>
                      <a:pt x="0" y="37200"/>
                    </a:cubicBezTo>
                    <a:lnTo>
                      <a:pt x="0" y="6956"/>
                    </a:lnTo>
                    <a:cubicBezTo>
                      <a:pt x="0" y="3112"/>
                      <a:pt x="3115" y="0"/>
                      <a:pt x="6956" y="0"/>
                    </a:cubicBezTo>
                    <a:cubicBezTo>
                      <a:pt x="10796" y="0"/>
                      <a:pt x="13911" y="3112"/>
                      <a:pt x="13911" y="6956"/>
                    </a:cubicBezTo>
                    <a:lnTo>
                      <a:pt x="13911" y="37200"/>
                    </a:lnTo>
                    <a:cubicBezTo>
                      <a:pt x="13911" y="41043"/>
                      <a:pt x="10796" y="44155"/>
                      <a:pt x="6956" y="44155"/>
                    </a:cubicBezTo>
                    <a:close/>
                  </a:path>
                </a:pathLst>
              </a:custGeom>
              <a:grpFill/>
              <a:ln w="314" cap="flat">
                <a:noFill/>
                <a:prstDash val="solid"/>
                <a:miter/>
              </a:ln>
            </p:spPr>
            <p:txBody>
              <a:bodyPr rtlCol="0" anchor="ctr"/>
              <a:lstStyle/>
              <a:p>
                <a:endParaRPr lang="en-GB" dirty="0"/>
              </a:p>
            </p:txBody>
          </p:sp>
          <p:sp>
            <p:nvSpPr>
              <p:cNvPr id="135" name="Freihandform: Form 151">
                <a:extLst>
                  <a:ext uri="{FF2B5EF4-FFF2-40B4-BE49-F238E27FC236}">
                    <a16:creationId xmlns:a16="http://schemas.microsoft.com/office/drawing/2014/main" id="{2CE6A074-8A78-48BB-BCC0-B245EF058856}"/>
                  </a:ext>
                </a:extLst>
              </p:cNvPr>
              <p:cNvSpPr/>
              <p:nvPr/>
            </p:nvSpPr>
            <p:spPr>
              <a:xfrm>
                <a:off x="1832972" y="3666301"/>
                <a:ext cx="207498" cy="135370"/>
              </a:xfrm>
              <a:custGeom>
                <a:avLst/>
                <a:gdLst>
                  <a:gd name="connsiteX0" fmla="*/ 181527 w 207498"/>
                  <a:gd name="connsiteY0" fmla="*/ 135370 h 135370"/>
                  <a:gd name="connsiteX1" fmla="*/ 136577 w 207498"/>
                  <a:gd name="connsiteY1" fmla="*/ 135370 h 135370"/>
                  <a:gd name="connsiteX2" fmla="*/ 120266 w 207498"/>
                  <a:gd name="connsiteY2" fmla="*/ 132416 h 135370"/>
                  <a:gd name="connsiteX3" fmla="*/ 119592 w 207498"/>
                  <a:gd name="connsiteY3" fmla="*/ 132504 h 135370"/>
                  <a:gd name="connsiteX4" fmla="*/ 84804 w 207498"/>
                  <a:gd name="connsiteY4" fmla="*/ 135351 h 135370"/>
                  <a:gd name="connsiteX5" fmla="*/ 25861 w 207498"/>
                  <a:gd name="connsiteY5" fmla="*/ 135370 h 135370"/>
                  <a:gd name="connsiteX6" fmla="*/ 4845 w 207498"/>
                  <a:gd name="connsiteY6" fmla="*/ 126359 h 135370"/>
                  <a:gd name="connsiteX7" fmla="*/ 217 w 207498"/>
                  <a:gd name="connsiteY7" fmla="*/ 110581 h 135370"/>
                  <a:gd name="connsiteX8" fmla="*/ 12785 w 207498"/>
                  <a:gd name="connsiteY8" fmla="*/ 40413 h 135370"/>
                  <a:gd name="connsiteX9" fmla="*/ 66072 w 207498"/>
                  <a:gd name="connsiteY9" fmla="*/ 0 h 135370"/>
                  <a:gd name="connsiteX10" fmla="*/ 73484 w 207498"/>
                  <a:gd name="connsiteY10" fmla="*/ 0 h 135370"/>
                  <a:gd name="connsiteX11" fmla="*/ 79825 w 207498"/>
                  <a:gd name="connsiteY11" fmla="*/ 4096 h 135370"/>
                  <a:gd name="connsiteX12" fmla="*/ 109789 w 207498"/>
                  <a:gd name="connsiteY12" fmla="*/ 70603 h 135370"/>
                  <a:gd name="connsiteX13" fmla="*/ 139730 w 207498"/>
                  <a:gd name="connsiteY13" fmla="*/ 4096 h 135370"/>
                  <a:gd name="connsiteX14" fmla="*/ 146071 w 207498"/>
                  <a:gd name="connsiteY14" fmla="*/ 0 h 135370"/>
                  <a:gd name="connsiteX15" fmla="*/ 150391 w 207498"/>
                  <a:gd name="connsiteY15" fmla="*/ 0 h 135370"/>
                  <a:gd name="connsiteX16" fmla="*/ 197690 w 207498"/>
                  <a:gd name="connsiteY16" fmla="*/ 40255 h 135370"/>
                  <a:gd name="connsiteX17" fmla="*/ 207190 w 207498"/>
                  <a:gd name="connsiteY17" fmla="*/ 110660 h 135370"/>
                  <a:gd name="connsiteX18" fmla="*/ 203037 w 207498"/>
                  <a:gd name="connsiteY18" fmla="*/ 125630 h 135370"/>
                  <a:gd name="connsiteX19" fmla="*/ 181527 w 207498"/>
                  <a:gd name="connsiteY19" fmla="*/ 135370 h 135370"/>
                  <a:gd name="connsiteX20" fmla="*/ 119043 w 207498"/>
                  <a:gd name="connsiteY20" fmla="*/ 117234 h 135370"/>
                  <a:gd name="connsiteX21" fmla="*/ 136577 w 207498"/>
                  <a:gd name="connsiteY21" fmla="*/ 121459 h 135370"/>
                  <a:gd name="connsiteX22" fmla="*/ 181527 w 207498"/>
                  <a:gd name="connsiteY22" fmla="*/ 121459 h 135370"/>
                  <a:gd name="connsiteX23" fmla="*/ 192285 w 207498"/>
                  <a:gd name="connsiteY23" fmla="*/ 116805 h 135370"/>
                  <a:gd name="connsiteX24" fmla="*/ 193471 w 207498"/>
                  <a:gd name="connsiteY24" fmla="*/ 112939 h 135370"/>
                  <a:gd name="connsiteX25" fmla="*/ 183980 w 207498"/>
                  <a:gd name="connsiteY25" fmla="*/ 42570 h 135370"/>
                  <a:gd name="connsiteX26" fmla="*/ 150567 w 207498"/>
                  <a:gd name="connsiteY26" fmla="*/ 13908 h 135370"/>
                  <a:gd name="connsiteX27" fmla="*/ 121442 w 207498"/>
                  <a:gd name="connsiteY27" fmla="*/ 78555 h 135370"/>
                  <a:gd name="connsiteX28" fmla="*/ 109776 w 207498"/>
                  <a:gd name="connsiteY28" fmla="*/ 85829 h 135370"/>
                  <a:gd name="connsiteX29" fmla="*/ 98327 w 207498"/>
                  <a:gd name="connsiteY29" fmla="*/ 78990 h 135370"/>
                  <a:gd name="connsiteX30" fmla="*/ 68988 w 207498"/>
                  <a:gd name="connsiteY30" fmla="*/ 13911 h 135370"/>
                  <a:gd name="connsiteX31" fmla="*/ 66068 w 207498"/>
                  <a:gd name="connsiteY31" fmla="*/ 13911 h 135370"/>
                  <a:gd name="connsiteX32" fmla="*/ 26444 w 207498"/>
                  <a:gd name="connsiteY32" fmla="*/ 43030 h 135370"/>
                  <a:gd name="connsiteX33" fmla="*/ 13939 w 207498"/>
                  <a:gd name="connsiteY33" fmla="*/ 112823 h 135370"/>
                  <a:gd name="connsiteX34" fmla="*/ 15367 w 207498"/>
                  <a:gd name="connsiteY34" fmla="*/ 117265 h 135370"/>
                  <a:gd name="connsiteX35" fmla="*/ 25854 w 207498"/>
                  <a:gd name="connsiteY35" fmla="*/ 121462 h 135370"/>
                  <a:gd name="connsiteX36" fmla="*/ 84230 w 207498"/>
                  <a:gd name="connsiteY36" fmla="*/ 121462 h 135370"/>
                  <a:gd name="connsiteX37" fmla="*/ 98561 w 207498"/>
                  <a:gd name="connsiteY37" fmla="*/ 120280 h 135370"/>
                  <a:gd name="connsiteX38" fmla="*/ 45119 w 207498"/>
                  <a:gd name="connsiteY38" fmla="*/ 102194 h 135370"/>
                  <a:gd name="connsiteX39" fmla="*/ 39239 w 207498"/>
                  <a:gd name="connsiteY39" fmla="*/ 99898 h 135370"/>
                  <a:gd name="connsiteX40" fmla="*/ 37640 w 207498"/>
                  <a:gd name="connsiteY40" fmla="*/ 93785 h 135370"/>
                  <a:gd name="connsiteX41" fmla="*/ 44312 w 207498"/>
                  <a:gd name="connsiteY41" fmla="*/ 63329 h 135370"/>
                  <a:gd name="connsiteX42" fmla="*/ 52595 w 207498"/>
                  <a:gd name="connsiteY42" fmla="*/ 58026 h 135370"/>
                  <a:gd name="connsiteX43" fmla="*/ 57902 w 207498"/>
                  <a:gd name="connsiteY43" fmla="*/ 66306 h 135370"/>
                  <a:gd name="connsiteX44" fmla="*/ 53084 w 207498"/>
                  <a:gd name="connsiteY44" fmla="*/ 88298 h 135370"/>
                  <a:gd name="connsiteX45" fmla="*/ 119043 w 207498"/>
                  <a:gd name="connsiteY45" fmla="*/ 117234 h 135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07498" h="135370">
                    <a:moveTo>
                      <a:pt x="181527" y="135370"/>
                    </a:moveTo>
                    <a:lnTo>
                      <a:pt x="136577" y="135370"/>
                    </a:lnTo>
                    <a:cubicBezTo>
                      <a:pt x="132213" y="135370"/>
                      <a:pt x="125768" y="134059"/>
                      <a:pt x="120266" y="132416"/>
                    </a:cubicBezTo>
                    <a:cubicBezTo>
                      <a:pt x="120046" y="132451"/>
                      <a:pt x="119822" y="132485"/>
                      <a:pt x="119592" y="132504"/>
                    </a:cubicBezTo>
                    <a:lnTo>
                      <a:pt x="84804" y="135351"/>
                    </a:lnTo>
                    <a:lnTo>
                      <a:pt x="25861" y="135370"/>
                    </a:lnTo>
                    <a:cubicBezTo>
                      <a:pt x="17700" y="135370"/>
                      <a:pt x="9648" y="131915"/>
                      <a:pt x="4845" y="126359"/>
                    </a:cubicBezTo>
                    <a:cubicBezTo>
                      <a:pt x="1014" y="121923"/>
                      <a:pt x="-628" y="116320"/>
                      <a:pt x="217" y="110581"/>
                    </a:cubicBezTo>
                    <a:lnTo>
                      <a:pt x="12785" y="40413"/>
                    </a:lnTo>
                    <a:cubicBezTo>
                      <a:pt x="17262" y="18433"/>
                      <a:pt x="41648" y="0"/>
                      <a:pt x="66072" y="0"/>
                    </a:cubicBezTo>
                    <a:lnTo>
                      <a:pt x="73484" y="0"/>
                    </a:lnTo>
                    <a:cubicBezTo>
                      <a:pt x="76221" y="0"/>
                      <a:pt x="78700" y="1602"/>
                      <a:pt x="79825" y="4096"/>
                    </a:cubicBezTo>
                    <a:lnTo>
                      <a:pt x="109789" y="70603"/>
                    </a:lnTo>
                    <a:lnTo>
                      <a:pt x="139730" y="4096"/>
                    </a:lnTo>
                    <a:cubicBezTo>
                      <a:pt x="140853" y="1602"/>
                      <a:pt x="143334" y="0"/>
                      <a:pt x="146071" y="0"/>
                    </a:cubicBezTo>
                    <a:lnTo>
                      <a:pt x="150391" y="0"/>
                    </a:lnTo>
                    <a:cubicBezTo>
                      <a:pt x="173045" y="0"/>
                      <a:pt x="192938" y="16932"/>
                      <a:pt x="197690" y="40255"/>
                    </a:cubicBezTo>
                    <a:lnTo>
                      <a:pt x="207190" y="110660"/>
                    </a:lnTo>
                    <a:cubicBezTo>
                      <a:pt x="208193" y="115651"/>
                      <a:pt x="206742" y="121118"/>
                      <a:pt x="203037" y="125630"/>
                    </a:cubicBezTo>
                    <a:cubicBezTo>
                      <a:pt x="198178" y="131546"/>
                      <a:pt x="189735" y="135370"/>
                      <a:pt x="181527" y="135370"/>
                    </a:cubicBezTo>
                    <a:close/>
                    <a:moveTo>
                      <a:pt x="119043" y="117234"/>
                    </a:moveTo>
                    <a:cubicBezTo>
                      <a:pt x="123325" y="119189"/>
                      <a:pt x="132652" y="121459"/>
                      <a:pt x="136577" y="121459"/>
                    </a:cubicBezTo>
                    <a:lnTo>
                      <a:pt x="181527" y="121459"/>
                    </a:lnTo>
                    <a:cubicBezTo>
                      <a:pt x="185544" y="121459"/>
                      <a:pt x="190072" y="119504"/>
                      <a:pt x="192285" y="116805"/>
                    </a:cubicBezTo>
                    <a:cubicBezTo>
                      <a:pt x="193695" y="115087"/>
                      <a:pt x="193638" y="113775"/>
                      <a:pt x="193471" y="112939"/>
                    </a:cubicBezTo>
                    <a:lnTo>
                      <a:pt x="183980" y="42570"/>
                    </a:lnTo>
                    <a:cubicBezTo>
                      <a:pt x="180635" y="26215"/>
                      <a:pt x="166566" y="13996"/>
                      <a:pt x="150567" y="13908"/>
                    </a:cubicBezTo>
                    <a:lnTo>
                      <a:pt x="121442" y="78555"/>
                    </a:lnTo>
                    <a:cubicBezTo>
                      <a:pt x="118958" y="83209"/>
                      <a:pt x="114569" y="85829"/>
                      <a:pt x="109776" y="85829"/>
                    </a:cubicBezTo>
                    <a:cubicBezTo>
                      <a:pt x="104983" y="85829"/>
                      <a:pt x="100598" y="83209"/>
                      <a:pt x="98327" y="78990"/>
                    </a:cubicBezTo>
                    <a:lnTo>
                      <a:pt x="68988" y="13911"/>
                    </a:lnTo>
                    <a:lnTo>
                      <a:pt x="66068" y="13911"/>
                    </a:lnTo>
                    <a:cubicBezTo>
                      <a:pt x="48121" y="13911"/>
                      <a:pt x="29603" y="27517"/>
                      <a:pt x="26444" y="43030"/>
                    </a:cubicBezTo>
                    <a:lnTo>
                      <a:pt x="13939" y="112823"/>
                    </a:lnTo>
                    <a:cubicBezTo>
                      <a:pt x="13712" y="114377"/>
                      <a:pt x="14156" y="115859"/>
                      <a:pt x="15367" y="117265"/>
                    </a:cubicBezTo>
                    <a:cubicBezTo>
                      <a:pt x="17533" y="119778"/>
                      <a:pt x="21749" y="121462"/>
                      <a:pt x="25854" y="121462"/>
                    </a:cubicBezTo>
                    <a:lnTo>
                      <a:pt x="84230" y="121462"/>
                    </a:lnTo>
                    <a:lnTo>
                      <a:pt x="98561" y="120280"/>
                    </a:lnTo>
                    <a:cubicBezTo>
                      <a:pt x="84864" y="111864"/>
                      <a:pt x="62616" y="100400"/>
                      <a:pt x="45119" y="102194"/>
                    </a:cubicBezTo>
                    <a:cubicBezTo>
                      <a:pt x="42875" y="102358"/>
                      <a:pt x="40715" y="101557"/>
                      <a:pt x="39239" y="99898"/>
                    </a:cubicBezTo>
                    <a:cubicBezTo>
                      <a:pt x="37757" y="98234"/>
                      <a:pt x="37164" y="95960"/>
                      <a:pt x="37640" y="93785"/>
                    </a:cubicBezTo>
                    <a:lnTo>
                      <a:pt x="44312" y="63329"/>
                    </a:lnTo>
                    <a:cubicBezTo>
                      <a:pt x="45135" y="59574"/>
                      <a:pt x="48868" y="57196"/>
                      <a:pt x="52595" y="58026"/>
                    </a:cubicBezTo>
                    <a:cubicBezTo>
                      <a:pt x="56348" y="58849"/>
                      <a:pt x="58725" y="62557"/>
                      <a:pt x="57902" y="66306"/>
                    </a:cubicBezTo>
                    <a:lnTo>
                      <a:pt x="53084" y="88298"/>
                    </a:lnTo>
                    <a:cubicBezTo>
                      <a:pt x="82035" y="90550"/>
                      <a:pt x="114130" y="113595"/>
                      <a:pt x="119043" y="117234"/>
                    </a:cubicBezTo>
                    <a:close/>
                  </a:path>
                </a:pathLst>
              </a:custGeom>
              <a:grpFill/>
              <a:ln w="314" cap="flat">
                <a:noFill/>
                <a:prstDash val="solid"/>
                <a:miter/>
              </a:ln>
            </p:spPr>
            <p:txBody>
              <a:bodyPr rtlCol="0" anchor="ctr"/>
              <a:lstStyle/>
              <a:p>
                <a:endParaRPr lang="en-GB" dirty="0"/>
              </a:p>
            </p:txBody>
          </p:sp>
        </p:grpSp>
      </p:grpSp>
      <p:grpSp>
        <p:nvGrpSpPr>
          <p:cNvPr id="459" name="Group 458">
            <a:extLst>
              <a:ext uri="{FF2B5EF4-FFF2-40B4-BE49-F238E27FC236}">
                <a16:creationId xmlns:a16="http://schemas.microsoft.com/office/drawing/2014/main" id="{07772DFD-DD73-34DB-C36E-DFEABECB13B0}"/>
              </a:ext>
            </a:extLst>
          </p:cNvPr>
          <p:cNvGrpSpPr/>
          <p:nvPr/>
        </p:nvGrpSpPr>
        <p:grpSpPr>
          <a:xfrm>
            <a:off x="1611715" y="2406516"/>
            <a:ext cx="455539" cy="432000"/>
            <a:chOff x="1611715" y="2406516"/>
            <a:chExt cx="455539" cy="432000"/>
          </a:xfrm>
        </p:grpSpPr>
        <p:grpSp>
          <p:nvGrpSpPr>
            <p:cNvPr id="151" name="Gruppieren 525">
              <a:extLst>
                <a:ext uri="{FF2B5EF4-FFF2-40B4-BE49-F238E27FC236}">
                  <a16:creationId xmlns:a16="http://schemas.microsoft.com/office/drawing/2014/main" id="{8C60A970-EBB2-4EDB-AA09-874484921C0C}"/>
                </a:ext>
              </a:extLst>
            </p:cNvPr>
            <p:cNvGrpSpPr/>
            <p:nvPr/>
          </p:nvGrpSpPr>
          <p:grpSpPr>
            <a:xfrm>
              <a:off x="1763543" y="2572166"/>
              <a:ext cx="303711" cy="266350"/>
              <a:chOff x="2751236" y="3586311"/>
              <a:chExt cx="306020" cy="268375"/>
            </a:xfrm>
            <a:solidFill>
              <a:schemeClr val="accent1"/>
            </a:solidFill>
          </p:grpSpPr>
          <p:grpSp>
            <p:nvGrpSpPr>
              <p:cNvPr id="159" name="Graphic 25">
                <a:extLst>
                  <a:ext uri="{FF2B5EF4-FFF2-40B4-BE49-F238E27FC236}">
                    <a16:creationId xmlns:a16="http://schemas.microsoft.com/office/drawing/2014/main" id="{20BB1ABF-7AA9-40FF-B8D1-ECFD62934CCE}"/>
                  </a:ext>
                </a:extLst>
              </p:cNvPr>
              <p:cNvGrpSpPr/>
              <p:nvPr/>
            </p:nvGrpSpPr>
            <p:grpSpPr>
              <a:xfrm>
                <a:off x="2830215" y="3646179"/>
                <a:ext cx="148057" cy="107058"/>
                <a:chOff x="2830215" y="3646179"/>
                <a:chExt cx="148057" cy="107058"/>
              </a:xfrm>
              <a:solidFill>
                <a:schemeClr val="accent1"/>
              </a:solidFill>
            </p:grpSpPr>
            <p:grpSp>
              <p:nvGrpSpPr>
                <p:cNvPr id="161" name="Graphic 25">
                  <a:extLst>
                    <a:ext uri="{FF2B5EF4-FFF2-40B4-BE49-F238E27FC236}">
                      <a16:creationId xmlns:a16="http://schemas.microsoft.com/office/drawing/2014/main" id="{DBB675AE-3FA2-4B1D-8105-5A6BE50179B0}"/>
                    </a:ext>
                  </a:extLst>
                </p:cNvPr>
                <p:cNvGrpSpPr/>
                <p:nvPr/>
              </p:nvGrpSpPr>
              <p:grpSpPr>
                <a:xfrm>
                  <a:off x="2830215" y="3646179"/>
                  <a:ext cx="148057" cy="21829"/>
                  <a:chOff x="2830215" y="3646179"/>
                  <a:chExt cx="148057" cy="21829"/>
                </a:xfrm>
                <a:solidFill>
                  <a:schemeClr val="accent1"/>
                </a:solidFill>
              </p:grpSpPr>
              <p:sp>
                <p:nvSpPr>
                  <p:cNvPr id="163" name="Freihandform: Form 244">
                    <a:extLst>
                      <a:ext uri="{FF2B5EF4-FFF2-40B4-BE49-F238E27FC236}">
                        <a16:creationId xmlns:a16="http://schemas.microsoft.com/office/drawing/2014/main" id="{B38364B6-9B84-4AD9-81C8-1DAF09001E71}"/>
                      </a:ext>
                    </a:extLst>
                  </p:cNvPr>
                  <p:cNvSpPr/>
                  <p:nvPr/>
                </p:nvSpPr>
                <p:spPr>
                  <a:xfrm>
                    <a:off x="2942508" y="3646179"/>
                    <a:ext cx="35764" cy="21829"/>
                  </a:xfrm>
                  <a:custGeom>
                    <a:avLst/>
                    <a:gdLst>
                      <a:gd name="connsiteX0" fmla="*/ 20624 w 35764"/>
                      <a:gd name="connsiteY0" fmla="*/ 21441 h 21829"/>
                      <a:gd name="connsiteX1" fmla="*/ 35667 w 35764"/>
                      <a:gd name="connsiteY1" fmla="*/ 6309 h 21829"/>
                      <a:gd name="connsiteX2" fmla="*/ 29039 w 35764"/>
                      <a:gd name="connsiteY2" fmla="*/ 113 h 21829"/>
                      <a:gd name="connsiteX3" fmla="*/ 4549 w 35764"/>
                      <a:gd name="connsiteY3" fmla="*/ 5086 h 21829"/>
                      <a:gd name="connsiteX4" fmla="*/ 864 w 35764"/>
                      <a:gd name="connsiteY4" fmla="*/ 13375 h 21829"/>
                      <a:gd name="connsiteX5" fmla="*/ 20624 w 35764"/>
                      <a:gd name="connsiteY5" fmla="*/ 21441 h 2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64" h="21829">
                        <a:moveTo>
                          <a:pt x="20624" y="21441"/>
                        </a:moveTo>
                        <a:cubicBezTo>
                          <a:pt x="28462" y="19848"/>
                          <a:pt x="34213" y="13697"/>
                          <a:pt x="35667" y="6309"/>
                        </a:cubicBezTo>
                        <a:cubicBezTo>
                          <a:pt x="36408" y="2554"/>
                          <a:pt x="32791" y="-650"/>
                          <a:pt x="29039" y="113"/>
                        </a:cubicBezTo>
                        <a:lnTo>
                          <a:pt x="4549" y="5086"/>
                        </a:lnTo>
                        <a:cubicBezTo>
                          <a:pt x="800" y="5849"/>
                          <a:pt x="-1281" y="10206"/>
                          <a:pt x="864" y="13375"/>
                        </a:cubicBezTo>
                        <a:cubicBezTo>
                          <a:pt x="5089" y="19609"/>
                          <a:pt x="12782" y="23033"/>
                          <a:pt x="20624" y="21441"/>
                        </a:cubicBezTo>
                        <a:close/>
                      </a:path>
                    </a:pathLst>
                  </a:custGeom>
                  <a:solidFill>
                    <a:schemeClr val="accent1"/>
                  </a:solidFill>
                  <a:ln w="314" cap="flat">
                    <a:noFill/>
                    <a:prstDash val="solid"/>
                    <a:miter/>
                  </a:ln>
                </p:spPr>
                <p:txBody>
                  <a:bodyPr rtlCol="0" anchor="ctr"/>
                  <a:lstStyle/>
                  <a:p>
                    <a:endParaRPr lang="en-GB" dirty="0"/>
                  </a:p>
                </p:txBody>
              </p:sp>
              <p:sp>
                <p:nvSpPr>
                  <p:cNvPr id="164" name="Freihandform: Form 245">
                    <a:extLst>
                      <a:ext uri="{FF2B5EF4-FFF2-40B4-BE49-F238E27FC236}">
                        <a16:creationId xmlns:a16="http://schemas.microsoft.com/office/drawing/2014/main" id="{A834B90D-C083-4105-951C-8266AA79A864}"/>
                      </a:ext>
                    </a:extLst>
                  </p:cNvPr>
                  <p:cNvSpPr/>
                  <p:nvPr/>
                </p:nvSpPr>
                <p:spPr>
                  <a:xfrm>
                    <a:off x="2830215" y="3646179"/>
                    <a:ext cx="35761" cy="21829"/>
                  </a:xfrm>
                  <a:custGeom>
                    <a:avLst/>
                    <a:gdLst>
                      <a:gd name="connsiteX0" fmla="*/ 15141 w 35761"/>
                      <a:gd name="connsiteY0" fmla="*/ 21441 h 21829"/>
                      <a:gd name="connsiteX1" fmla="*/ 97 w 35761"/>
                      <a:gd name="connsiteY1" fmla="*/ 6309 h 21829"/>
                      <a:gd name="connsiteX2" fmla="*/ 6722 w 35761"/>
                      <a:gd name="connsiteY2" fmla="*/ 113 h 21829"/>
                      <a:gd name="connsiteX3" fmla="*/ 31212 w 35761"/>
                      <a:gd name="connsiteY3" fmla="*/ 5086 h 21829"/>
                      <a:gd name="connsiteX4" fmla="*/ 34898 w 35761"/>
                      <a:gd name="connsiteY4" fmla="*/ 13375 h 21829"/>
                      <a:gd name="connsiteX5" fmla="*/ 15141 w 35761"/>
                      <a:gd name="connsiteY5" fmla="*/ 21441 h 2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61" h="21829">
                        <a:moveTo>
                          <a:pt x="15141" y="21441"/>
                        </a:moveTo>
                        <a:cubicBezTo>
                          <a:pt x="7302" y="19848"/>
                          <a:pt x="1551" y="13697"/>
                          <a:pt x="97" y="6309"/>
                        </a:cubicBezTo>
                        <a:cubicBezTo>
                          <a:pt x="-644" y="2554"/>
                          <a:pt x="2973" y="-650"/>
                          <a:pt x="6722" y="113"/>
                        </a:cubicBezTo>
                        <a:lnTo>
                          <a:pt x="31212" y="5086"/>
                        </a:lnTo>
                        <a:cubicBezTo>
                          <a:pt x="34961" y="5849"/>
                          <a:pt x="37042" y="10206"/>
                          <a:pt x="34898" y="13375"/>
                        </a:cubicBezTo>
                        <a:cubicBezTo>
                          <a:pt x="30673" y="19609"/>
                          <a:pt x="22979" y="23033"/>
                          <a:pt x="15141" y="21441"/>
                        </a:cubicBezTo>
                        <a:close/>
                      </a:path>
                    </a:pathLst>
                  </a:custGeom>
                  <a:solidFill>
                    <a:schemeClr val="accent1"/>
                  </a:solidFill>
                  <a:ln w="314" cap="flat">
                    <a:noFill/>
                    <a:prstDash val="solid"/>
                    <a:miter/>
                  </a:ln>
                </p:spPr>
                <p:txBody>
                  <a:bodyPr rtlCol="0" anchor="ctr"/>
                  <a:lstStyle/>
                  <a:p>
                    <a:endParaRPr lang="en-GB" dirty="0"/>
                  </a:p>
                </p:txBody>
              </p:sp>
            </p:grpSp>
            <p:sp>
              <p:nvSpPr>
                <p:cNvPr id="162" name="Freihandform: Form 246">
                  <a:extLst>
                    <a:ext uri="{FF2B5EF4-FFF2-40B4-BE49-F238E27FC236}">
                      <a16:creationId xmlns:a16="http://schemas.microsoft.com/office/drawing/2014/main" id="{B5A6EC0C-1BED-4FBE-870C-C443D7918CD7}"/>
                    </a:ext>
                  </a:extLst>
                </p:cNvPr>
                <p:cNvSpPr/>
                <p:nvPr/>
              </p:nvSpPr>
              <p:spPr>
                <a:xfrm>
                  <a:off x="2850302" y="3718425"/>
                  <a:ext cx="107356" cy="34812"/>
                </a:xfrm>
                <a:custGeom>
                  <a:avLst/>
                  <a:gdLst>
                    <a:gd name="connsiteX0" fmla="*/ 100407 w 107356"/>
                    <a:gd name="connsiteY0" fmla="*/ 34813 h 34812"/>
                    <a:gd name="connsiteX1" fmla="*/ 94927 w 107356"/>
                    <a:gd name="connsiteY1" fmla="*/ 32142 h 34812"/>
                    <a:gd name="connsiteX2" fmla="*/ 53666 w 107356"/>
                    <a:gd name="connsiteY2" fmla="*/ 13911 h 34812"/>
                    <a:gd name="connsiteX3" fmla="*/ 12433 w 107356"/>
                    <a:gd name="connsiteY3" fmla="*/ 32114 h 34812"/>
                    <a:gd name="connsiteX4" fmla="*/ 2665 w 107356"/>
                    <a:gd name="connsiteY4" fmla="*/ 33296 h 34812"/>
                    <a:gd name="connsiteX5" fmla="*/ 1483 w 107356"/>
                    <a:gd name="connsiteY5" fmla="*/ 23528 h 34812"/>
                    <a:gd name="connsiteX6" fmla="*/ 53666 w 107356"/>
                    <a:gd name="connsiteY6" fmla="*/ 0 h 34812"/>
                    <a:gd name="connsiteX7" fmla="*/ 105874 w 107356"/>
                    <a:gd name="connsiteY7" fmla="*/ 23569 h 34812"/>
                    <a:gd name="connsiteX8" fmla="*/ 104685 w 107356"/>
                    <a:gd name="connsiteY8" fmla="*/ 33328 h 34812"/>
                    <a:gd name="connsiteX9" fmla="*/ 100407 w 107356"/>
                    <a:gd name="connsiteY9" fmla="*/ 34813 h 3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356" h="34812">
                      <a:moveTo>
                        <a:pt x="100407" y="34813"/>
                      </a:moveTo>
                      <a:cubicBezTo>
                        <a:pt x="98341" y="34813"/>
                        <a:pt x="96298" y="33895"/>
                        <a:pt x="94927" y="32142"/>
                      </a:cubicBezTo>
                      <a:cubicBezTo>
                        <a:pt x="85982" y="20731"/>
                        <a:pt x="70557" y="13911"/>
                        <a:pt x="53666" y="13911"/>
                      </a:cubicBezTo>
                      <a:cubicBezTo>
                        <a:pt x="36787" y="13911"/>
                        <a:pt x="21369" y="20716"/>
                        <a:pt x="12433" y="32114"/>
                      </a:cubicBezTo>
                      <a:cubicBezTo>
                        <a:pt x="10068" y="35138"/>
                        <a:pt x="5689" y="35667"/>
                        <a:pt x="2665" y="33296"/>
                      </a:cubicBezTo>
                      <a:cubicBezTo>
                        <a:pt x="-359" y="30925"/>
                        <a:pt x="-888" y="26552"/>
                        <a:pt x="1483" y="23528"/>
                      </a:cubicBezTo>
                      <a:cubicBezTo>
                        <a:pt x="13042" y="8797"/>
                        <a:pt x="32550" y="0"/>
                        <a:pt x="53666" y="0"/>
                      </a:cubicBezTo>
                      <a:cubicBezTo>
                        <a:pt x="74804" y="0"/>
                        <a:pt x="94321" y="8810"/>
                        <a:pt x="105874" y="23569"/>
                      </a:cubicBezTo>
                      <a:cubicBezTo>
                        <a:pt x="108245" y="26593"/>
                        <a:pt x="107715" y="30960"/>
                        <a:pt x="104685" y="33328"/>
                      </a:cubicBezTo>
                      <a:cubicBezTo>
                        <a:pt x="103415" y="34330"/>
                        <a:pt x="101908" y="34813"/>
                        <a:pt x="100407" y="34813"/>
                      </a:cubicBezTo>
                      <a:close/>
                    </a:path>
                  </a:pathLst>
                </a:custGeom>
                <a:solidFill>
                  <a:schemeClr val="accent1"/>
                </a:solidFill>
                <a:ln w="314" cap="flat">
                  <a:noFill/>
                  <a:prstDash val="solid"/>
                  <a:miter/>
                </a:ln>
              </p:spPr>
              <p:txBody>
                <a:bodyPr rtlCol="0" anchor="ctr"/>
                <a:lstStyle/>
                <a:p>
                  <a:endParaRPr lang="en-GB" dirty="0"/>
                </a:p>
              </p:txBody>
            </p:sp>
          </p:grpSp>
          <p:sp>
            <p:nvSpPr>
              <p:cNvPr id="160" name="Freihandform: Form 247">
                <a:extLst>
                  <a:ext uri="{FF2B5EF4-FFF2-40B4-BE49-F238E27FC236}">
                    <a16:creationId xmlns:a16="http://schemas.microsoft.com/office/drawing/2014/main" id="{F2E40CFC-7F46-4F75-B5D7-84D1080EA1D7}"/>
                  </a:ext>
                </a:extLst>
              </p:cNvPr>
              <p:cNvSpPr/>
              <p:nvPr/>
            </p:nvSpPr>
            <p:spPr>
              <a:xfrm>
                <a:off x="2751236" y="3586311"/>
                <a:ext cx="306020" cy="268375"/>
              </a:xfrm>
              <a:custGeom>
                <a:avLst/>
                <a:gdLst>
                  <a:gd name="connsiteX0" fmla="*/ 257346 w 306020"/>
                  <a:gd name="connsiteY0" fmla="*/ 268376 h 268375"/>
                  <a:gd name="connsiteX1" fmla="*/ 247525 w 306020"/>
                  <a:gd name="connsiteY1" fmla="*/ 264293 h 268375"/>
                  <a:gd name="connsiteX2" fmla="*/ 191886 w 306020"/>
                  <a:gd name="connsiteY2" fmla="*/ 208654 h 268375"/>
                  <a:gd name="connsiteX3" fmla="*/ 20864 w 306020"/>
                  <a:gd name="connsiteY3" fmla="*/ 208654 h 268375"/>
                  <a:gd name="connsiteX4" fmla="*/ 0 w 306020"/>
                  <a:gd name="connsiteY4" fmla="*/ 187790 h 268375"/>
                  <a:gd name="connsiteX5" fmla="*/ 0 w 306020"/>
                  <a:gd name="connsiteY5" fmla="*/ 62601 h 268375"/>
                  <a:gd name="connsiteX6" fmla="*/ 6956 w 306020"/>
                  <a:gd name="connsiteY6" fmla="*/ 55645 h 268375"/>
                  <a:gd name="connsiteX7" fmla="*/ 13911 w 306020"/>
                  <a:gd name="connsiteY7" fmla="*/ 62601 h 268375"/>
                  <a:gd name="connsiteX8" fmla="*/ 13911 w 306020"/>
                  <a:gd name="connsiteY8" fmla="*/ 187790 h 268375"/>
                  <a:gd name="connsiteX9" fmla="*/ 20867 w 306020"/>
                  <a:gd name="connsiteY9" fmla="*/ 194746 h 268375"/>
                  <a:gd name="connsiteX10" fmla="*/ 194768 w 306020"/>
                  <a:gd name="connsiteY10" fmla="*/ 194746 h 268375"/>
                  <a:gd name="connsiteX11" fmla="*/ 199686 w 306020"/>
                  <a:gd name="connsiteY11" fmla="*/ 196782 h 268375"/>
                  <a:gd name="connsiteX12" fmla="*/ 257362 w 306020"/>
                  <a:gd name="connsiteY12" fmla="*/ 254458 h 268375"/>
                  <a:gd name="connsiteX13" fmla="*/ 257362 w 306020"/>
                  <a:gd name="connsiteY13" fmla="*/ 201698 h 268375"/>
                  <a:gd name="connsiteX14" fmla="*/ 264318 w 306020"/>
                  <a:gd name="connsiteY14" fmla="*/ 194742 h 268375"/>
                  <a:gd name="connsiteX15" fmla="*/ 285156 w 306020"/>
                  <a:gd name="connsiteY15" fmla="*/ 194742 h 268375"/>
                  <a:gd name="connsiteX16" fmla="*/ 292112 w 306020"/>
                  <a:gd name="connsiteY16" fmla="*/ 187787 h 268375"/>
                  <a:gd name="connsiteX17" fmla="*/ 292112 w 306020"/>
                  <a:gd name="connsiteY17" fmla="*/ 20867 h 268375"/>
                  <a:gd name="connsiteX18" fmla="*/ 285156 w 306020"/>
                  <a:gd name="connsiteY18" fmla="*/ 13911 h 268375"/>
                  <a:gd name="connsiteX19" fmla="*/ 173904 w 306020"/>
                  <a:gd name="connsiteY19" fmla="*/ 13911 h 268375"/>
                  <a:gd name="connsiteX20" fmla="*/ 166948 w 306020"/>
                  <a:gd name="connsiteY20" fmla="*/ 6956 h 268375"/>
                  <a:gd name="connsiteX21" fmla="*/ 173904 w 306020"/>
                  <a:gd name="connsiteY21" fmla="*/ 0 h 268375"/>
                  <a:gd name="connsiteX22" fmla="*/ 285156 w 306020"/>
                  <a:gd name="connsiteY22" fmla="*/ 0 h 268375"/>
                  <a:gd name="connsiteX23" fmla="*/ 306020 w 306020"/>
                  <a:gd name="connsiteY23" fmla="*/ 20864 h 268375"/>
                  <a:gd name="connsiteX24" fmla="*/ 306020 w 306020"/>
                  <a:gd name="connsiteY24" fmla="*/ 187784 h 268375"/>
                  <a:gd name="connsiteX25" fmla="*/ 285156 w 306020"/>
                  <a:gd name="connsiteY25" fmla="*/ 208647 h 268375"/>
                  <a:gd name="connsiteX26" fmla="*/ 271273 w 306020"/>
                  <a:gd name="connsiteY26" fmla="*/ 208647 h 268375"/>
                  <a:gd name="connsiteX27" fmla="*/ 271273 w 306020"/>
                  <a:gd name="connsiteY27" fmla="*/ 254452 h 268375"/>
                  <a:gd name="connsiteX28" fmla="*/ 262688 w 306020"/>
                  <a:gd name="connsiteY28" fmla="*/ 267301 h 268375"/>
                  <a:gd name="connsiteX29" fmla="*/ 257346 w 306020"/>
                  <a:gd name="connsiteY29" fmla="*/ 268376 h 26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6020" h="268375">
                    <a:moveTo>
                      <a:pt x="257346" y="268376"/>
                    </a:moveTo>
                    <a:cubicBezTo>
                      <a:pt x="253733" y="268376"/>
                      <a:pt x="250195" y="266963"/>
                      <a:pt x="247525" y="264293"/>
                    </a:cubicBezTo>
                    <a:lnTo>
                      <a:pt x="191886" y="208654"/>
                    </a:lnTo>
                    <a:lnTo>
                      <a:pt x="20864" y="208654"/>
                    </a:lnTo>
                    <a:cubicBezTo>
                      <a:pt x="9358" y="208654"/>
                      <a:pt x="0" y="199295"/>
                      <a:pt x="0" y="187790"/>
                    </a:cubicBezTo>
                    <a:lnTo>
                      <a:pt x="0" y="62601"/>
                    </a:lnTo>
                    <a:cubicBezTo>
                      <a:pt x="0" y="58757"/>
                      <a:pt x="3112" y="55645"/>
                      <a:pt x="6956" y="55645"/>
                    </a:cubicBezTo>
                    <a:cubicBezTo>
                      <a:pt x="10799" y="55645"/>
                      <a:pt x="13911" y="58757"/>
                      <a:pt x="13911" y="62601"/>
                    </a:cubicBezTo>
                    <a:lnTo>
                      <a:pt x="13911" y="187790"/>
                    </a:lnTo>
                    <a:cubicBezTo>
                      <a:pt x="13911" y="191627"/>
                      <a:pt x="17030" y="194746"/>
                      <a:pt x="20867" y="194746"/>
                    </a:cubicBezTo>
                    <a:lnTo>
                      <a:pt x="194768" y="194746"/>
                    </a:lnTo>
                    <a:cubicBezTo>
                      <a:pt x="196615" y="194746"/>
                      <a:pt x="198381" y="195480"/>
                      <a:pt x="199686" y="196782"/>
                    </a:cubicBezTo>
                    <a:lnTo>
                      <a:pt x="257362" y="254458"/>
                    </a:lnTo>
                    <a:lnTo>
                      <a:pt x="257362" y="201698"/>
                    </a:lnTo>
                    <a:cubicBezTo>
                      <a:pt x="257362" y="197854"/>
                      <a:pt x="260474" y="194742"/>
                      <a:pt x="264318" y="194742"/>
                    </a:cubicBezTo>
                    <a:lnTo>
                      <a:pt x="285156" y="194742"/>
                    </a:lnTo>
                    <a:cubicBezTo>
                      <a:pt x="288994" y="194742"/>
                      <a:pt x="292112" y="191624"/>
                      <a:pt x="292112" y="187787"/>
                    </a:cubicBezTo>
                    <a:lnTo>
                      <a:pt x="292112" y="20867"/>
                    </a:lnTo>
                    <a:cubicBezTo>
                      <a:pt x="292112" y="17030"/>
                      <a:pt x="288994" y="13911"/>
                      <a:pt x="285156" y="13911"/>
                    </a:cubicBezTo>
                    <a:lnTo>
                      <a:pt x="173904" y="13911"/>
                    </a:lnTo>
                    <a:cubicBezTo>
                      <a:pt x="170060" y="13911"/>
                      <a:pt x="166948" y="10799"/>
                      <a:pt x="166948" y="6956"/>
                    </a:cubicBezTo>
                    <a:cubicBezTo>
                      <a:pt x="166948" y="3112"/>
                      <a:pt x="170060" y="0"/>
                      <a:pt x="173904" y="0"/>
                    </a:cubicBezTo>
                    <a:lnTo>
                      <a:pt x="285156" y="0"/>
                    </a:lnTo>
                    <a:cubicBezTo>
                      <a:pt x="296662" y="0"/>
                      <a:pt x="306020" y="9358"/>
                      <a:pt x="306020" y="20864"/>
                    </a:cubicBezTo>
                    <a:lnTo>
                      <a:pt x="306020" y="187784"/>
                    </a:lnTo>
                    <a:cubicBezTo>
                      <a:pt x="306020" y="199289"/>
                      <a:pt x="296662" y="208647"/>
                      <a:pt x="285156" y="208647"/>
                    </a:cubicBezTo>
                    <a:lnTo>
                      <a:pt x="271273" y="208647"/>
                    </a:lnTo>
                    <a:lnTo>
                      <a:pt x="271273" y="254452"/>
                    </a:lnTo>
                    <a:cubicBezTo>
                      <a:pt x="271273" y="260096"/>
                      <a:pt x="267906" y="265144"/>
                      <a:pt x="262688" y="267301"/>
                    </a:cubicBezTo>
                    <a:cubicBezTo>
                      <a:pt x="260954" y="268032"/>
                      <a:pt x="259140" y="268376"/>
                      <a:pt x="257346" y="268376"/>
                    </a:cubicBezTo>
                    <a:close/>
                  </a:path>
                </a:pathLst>
              </a:custGeom>
              <a:solidFill>
                <a:schemeClr val="accent1"/>
              </a:solidFill>
              <a:ln w="314" cap="flat">
                <a:noFill/>
                <a:prstDash val="solid"/>
                <a:miter/>
              </a:ln>
            </p:spPr>
            <p:txBody>
              <a:bodyPr rtlCol="0" anchor="ctr"/>
              <a:lstStyle/>
              <a:p>
                <a:endParaRPr lang="en-GB" dirty="0"/>
              </a:p>
            </p:txBody>
          </p:sp>
        </p:grpSp>
        <p:grpSp>
          <p:nvGrpSpPr>
            <p:cNvPr id="152" name="Gruppieren 524">
              <a:extLst>
                <a:ext uri="{FF2B5EF4-FFF2-40B4-BE49-F238E27FC236}">
                  <a16:creationId xmlns:a16="http://schemas.microsoft.com/office/drawing/2014/main" id="{E98CE661-FD48-4A32-9709-25F0616E46D1}"/>
                </a:ext>
              </a:extLst>
            </p:cNvPr>
            <p:cNvGrpSpPr/>
            <p:nvPr/>
          </p:nvGrpSpPr>
          <p:grpSpPr>
            <a:xfrm>
              <a:off x="1611715" y="2406516"/>
              <a:ext cx="303707" cy="266344"/>
              <a:chOff x="2598253" y="3419401"/>
              <a:chExt cx="306016" cy="268369"/>
            </a:xfrm>
            <a:solidFill>
              <a:schemeClr val="tx2"/>
            </a:solidFill>
          </p:grpSpPr>
          <p:grpSp>
            <p:nvGrpSpPr>
              <p:cNvPr id="153" name="Graphic 25">
                <a:extLst>
                  <a:ext uri="{FF2B5EF4-FFF2-40B4-BE49-F238E27FC236}">
                    <a16:creationId xmlns:a16="http://schemas.microsoft.com/office/drawing/2014/main" id="{1D96E27B-F7F5-4488-A5A2-4D89D7C6C678}"/>
                  </a:ext>
                </a:extLst>
              </p:cNvPr>
              <p:cNvGrpSpPr/>
              <p:nvPr/>
            </p:nvGrpSpPr>
            <p:grpSpPr>
              <a:xfrm>
                <a:off x="2671362" y="3465054"/>
                <a:ext cx="157427" cy="127194"/>
                <a:chOff x="2671362" y="3465054"/>
                <a:chExt cx="157427" cy="127194"/>
              </a:xfrm>
              <a:grpFill/>
            </p:grpSpPr>
            <p:grpSp>
              <p:nvGrpSpPr>
                <p:cNvPr id="155" name="Graphic 25">
                  <a:extLst>
                    <a:ext uri="{FF2B5EF4-FFF2-40B4-BE49-F238E27FC236}">
                      <a16:creationId xmlns:a16="http://schemas.microsoft.com/office/drawing/2014/main" id="{FCEACB0F-D7F9-48BD-9E0C-F92F76358398}"/>
                    </a:ext>
                  </a:extLst>
                </p:cNvPr>
                <p:cNvGrpSpPr/>
                <p:nvPr/>
              </p:nvGrpSpPr>
              <p:grpSpPr>
                <a:xfrm>
                  <a:off x="2671362" y="3465054"/>
                  <a:ext cx="157427" cy="26536"/>
                  <a:chOff x="2671362" y="3465054"/>
                  <a:chExt cx="157427" cy="26536"/>
                </a:xfrm>
                <a:grpFill/>
              </p:grpSpPr>
              <p:sp>
                <p:nvSpPr>
                  <p:cNvPr id="157" name="Freihandform: Form 239">
                    <a:extLst>
                      <a:ext uri="{FF2B5EF4-FFF2-40B4-BE49-F238E27FC236}">
                        <a16:creationId xmlns:a16="http://schemas.microsoft.com/office/drawing/2014/main" id="{C2C647A7-CB0F-4874-9645-F208F33E69C8}"/>
                      </a:ext>
                    </a:extLst>
                  </p:cNvPr>
                  <p:cNvSpPr/>
                  <p:nvPr/>
                </p:nvSpPr>
                <p:spPr>
                  <a:xfrm>
                    <a:off x="2671362" y="3465057"/>
                    <a:ext cx="46795" cy="26532"/>
                  </a:xfrm>
                  <a:custGeom>
                    <a:avLst/>
                    <a:gdLst>
                      <a:gd name="connsiteX0" fmla="*/ 6963 w 46795"/>
                      <a:gd name="connsiteY0" fmla="*/ 26533 h 26532"/>
                      <a:gd name="connsiteX1" fmla="*/ 5204 w 46795"/>
                      <a:gd name="connsiteY1" fmla="*/ 26309 h 26532"/>
                      <a:gd name="connsiteX2" fmla="*/ 225 w 46795"/>
                      <a:gd name="connsiteY2" fmla="*/ 17827 h 26532"/>
                      <a:gd name="connsiteX3" fmla="*/ 23400 w 46795"/>
                      <a:gd name="connsiteY3" fmla="*/ 0 h 26532"/>
                      <a:gd name="connsiteX4" fmla="*/ 46569 w 46795"/>
                      <a:gd name="connsiteY4" fmla="*/ 17802 h 26532"/>
                      <a:gd name="connsiteX5" fmla="*/ 41590 w 46795"/>
                      <a:gd name="connsiteY5" fmla="*/ 26284 h 26532"/>
                      <a:gd name="connsiteX6" fmla="*/ 33108 w 46795"/>
                      <a:gd name="connsiteY6" fmla="*/ 21305 h 26532"/>
                      <a:gd name="connsiteX7" fmla="*/ 23403 w 46795"/>
                      <a:gd name="connsiteY7" fmla="*/ 13908 h 26532"/>
                      <a:gd name="connsiteX8" fmla="*/ 13692 w 46795"/>
                      <a:gd name="connsiteY8" fmla="*/ 21330 h 26532"/>
                      <a:gd name="connsiteX9" fmla="*/ 6963 w 46795"/>
                      <a:gd name="connsiteY9" fmla="*/ 26533 h 26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95" h="26532">
                        <a:moveTo>
                          <a:pt x="6963" y="26533"/>
                        </a:moveTo>
                        <a:cubicBezTo>
                          <a:pt x="6380" y="26533"/>
                          <a:pt x="5793" y="26464"/>
                          <a:pt x="5204" y="26309"/>
                        </a:cubicBezTo>
                        <a:cubicBezTo>
                          <a:pt x="1489" y="25344"/>
                          <a:pt x="-740" y="21548"/>
                          <a:pt x="225" y="17827"/>
                        </a:cubicBezTo>
                        <a:cubicBezTo>
                          <a:pt x="2955" y="7334"/>
                          <a:pt x="12484" y="0"/>
                          <a:pt x="23400" y="0"/>
                        </a:cubicBezTo>
                        <a:cubicBezTo>
                          <a:pt x="34306" y="0"/>
                          <a:pt x="43838" y="7321"/>
                          <a:pt x="46569" y="17802"/>
                        </a:cubicBezTo>
                        <a:cubicBezTo>
                          <a:pt x="47540" y="21517"/>
                          <a:pt x="45304" y="25313"/>
                          <a:pt x="41590" y="26284"/>
                        </a:cubicBezTo>
                        <a:cubicBezTo>
                          <a:pt x="37907" y="27236"/>
                          <a:pt x="34079" y="25029"/>
                          <a:pt x="33108" y="21305"/>
                        </a:cubicBezTo>
                        <a:cubicBezTo>
                          <a:pt x="31973" y="16951"/>
                          <a:pt x="27981" y="13908"/>
                          <a:pt x="23403" y="13908"/>
                        </a:cubicBezTo>
                        <a:cubicBezTo>
                          <a:pt x="18819" y="13908"/>
                          <a:pt x="14823" y="16957"/>
                          <a:pt x="13692" y="21330"/>
                        </a:cubicBezTo>
                        <a:cubicBezTo>
                          <a:pt x="12872" y="24461"/>
                          <a:pt x="10053" y="26533"/>
                          <a:pt x="6963" y="26533"/>
                        </a:cubicBezTo>
                        <a:close/>
                      </a:path>
                    </a:pathLst>
                  </a:custGeom>
                  <a:grpFill/>
                  <a:ln w="314" cap="flat">
                    <a:noFill/>
                    <a:prstDash val="solid"/>
                    <a:miter/>
                  </a:ln>
                </p:spPr>
                <p:txBody>
                  <a:bodyPr rtlCol="0" anchor="ctr"/>
                  <a:lstStyle/>
                  <a:p>
                    <a:endParaRPr lang="en-GB" dirty="0"/>
                  </a:p>
                </p:txBody>
              </p:sp>
              <p:sp>
                <p:nvSpPr>
                  <p:cNvPr id="158" name="Freihandform: Form 240">
                    <a:extLst>
                      <a:ext uri="{FF2B5EF4-FFF2-40B4-BE49-F238E27FC236}">
                        <a16:creationId xmlns:a16="http://schemas.microsoft.com/office/drawing/2014/main" id="{2B34001F-64AB-463C-BD08-B2C388817494}"/>
                      </a:ext>
                    </a:extLst>
                  </p:cNvPr>
                  <p:cNvSpPr/>
                  <p:nvPr/>
                </p:nvSpPr>
                <p:spPr>
                  <a:xfrm>
                    <a:off x="2781994" y="3465054"/>
                    <a:ext cx="46795" cy="26536"/>
                  </a:xfrm>
                  <a:custGeom>
                    <a:avLst/>
                    <a:gdLst>
                      <a:gd name="connsiteX0" fmla="*/ 6963 w 46795"/>
                      <a:gd name="connsiteY0" fmla="*/ 26536 h 26536"/>
                      <a:gd name="connsiteX1" fmla="*/ 5209 w 46795"/>
                      <a:gd name="connsiteY1" fmla="*/ 26312 h 26536"/>
                      <a:gd name="connsiteX2" fmla="*/ 224 w 46795"/>
                      <a:gd name="connsiteY2" fmla="*/ 17837 h 26536"/>
                      <a:gd name="connsiteX3" fmla="*/ 23399 w 46795"/>
                      <a:gd name="connsiteY3" fmla="*/ 0 h 26536"/>
                      <a:gd name="connsiteX4" fmla="*/ 46568 w 46795"/>
                      <a:gd name="connsiteY4" fmla="*/ 17796 h 26536"/>
                      <a:gd name="connsiteX5" fmla="*/ 41596 w 46795"/>
                      <a:gd name="connsiteY5" fmla="*/ 26287 h 26536"/>
                      <a:gd name="connsiteX6" fmla="*/ 33104 w 46795"/>
                      <a:gd name="connsiteY6" fmla="*/ 21315 h 26536"/>
                      <a:gd name="connsiteX7" fmla="*/ 23399 w 46795"/>
                      <a:gd name="connsiteY7" fmla="*/ 13911 h 26536"/>
                      <a:gd name="connsiteX8" fmla="*/ 13688 w 46795"/>
                      <a:gd name="connsiteY8" fmla="*/ 21327 h 26536"/>
                      <a:gd name="connsiteX9" fmla="*/ 6963 w 46795"/>
                      <a:gd name="connsiteY9" fmla="*/ 26536 h 2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795" h="26536">
                        <a:moveTo>
                          <a:pt x="6963" y="26536"/>
                        </a:moveTo>
                        <a:cubicBezTo>
                          <a:pt x="6386" y="26536"/>
                          <a:pt x="5793" y="26467"/>
                          <a:pt x="5209" y="26312"/>
                        </a:cubicBezTo>
                        <a:cubicBezTo>
                          <a:pt x="1495" y="25347"/>
                          <a:pt x="-740" y="21557"/>
                          <a:pt x="224" y="17837"/>
                        </a:cubicBezTo>
                        <a:cubicBezTo>
                          <a:pt x="2942" y="7337"/>
                          <a:pt x="12477" y="0"/>
                          <a:pt x="23399" y="0"/>
                        </a:cubicBezTo>
                        <a:cubicBezTo>
                          <a:pt x="34300" y="0"/>
                          <a:pt x="43822" y="7315"/>
                          <a:pt x="46568" y="17796"/>
                        </a:cubicBezTo>
                        <a:cubicBezTo>
                          <a:pt x="47539" y="21510"/>
                          <a:pt x="45310" y="25316"/>
                          <a:pt x="41596" y="26287"/>
                        </a:cubicBezTo>
                        <a:cubicBezTo>
                          <a:pt x="37888" y="27223"/>
                          <a:pt x="34085" y="25032"/>
                          <a:pt x="33104" y="21315"/>
                        </a:cubicBezTo>
                        <a:cubicBezTo>
                          <a:pt x="31963" y="16954"/>
                          <a:pt x="27978" y="13911"/>
                          <a:pt x="23399" y="13911"/>
                        </a:cubicBezTo>
                        <a:cubicBezTo>
                          <a:pt x="18815" y="13911"/>
                          <a:pt x="14820" y="16960"/>
                          <a:pt x="13688" y="21327"/>
                        </a:cubicBezTo>
                        <a:cubicBezTo>
                          <a:pt x="12881" y="24458"/>
                          <a:pt x="10053" y="26536"/>
                          <a:pt x="6963" y="26536"/>
                        </a:cubicBezTo>
                        <a:close/>
                      </a:path>
                    </a:pathLst>
                  </a:custGeom>
                  <a:grpFill/>
                  <a:ln w="314" cap="flat">
                    <a:noFill/>
                    <a:prstDash val="solid"/>
                    <a:miter/>
                  </a:ln>
                </p:spPr>
                <p:txBody>
                  <a:bodyPr rtlCol="0" anchor="ctr"/>
                  <a:lstStyle/>
                  <a:p>
                    <a:endParaRPr lang="en-GB" dirty="0"/>
                  </a:p>
                </p:txBody>
              </p:sp>
            </p:grpSp>
            <p:sp>
              <p:nvSpPr>
                <p:cNvPr id="156" name="Freihandform: Form 241">
                  <a:extLst>
                    <a:ext uri="{FF2B5EF4-FFF2-40B4-BE49-F238E27FC236}">
                      <a16:creationId xmlns:a16="http://schemas.microsoft.com/office/drawing/2014/main" id="{B370B894-DCD6-4F14-8ADC-50A8BB1EB2FF}"/>
                    </a:ext>
                  </a:extLst>
                </p:cNvPr>
                <p:cNvSpPr/>
                <p:nvPr/>
              </p:nvSpPr>
              <p:spPr>
                <a:xfrm>
                  <a:off x="2692750" y="3535541"/>
                  <a:ext cx="110656" cy="56707"/>
                </a:xfrm>
                <a:custGeom>
                  <a:avLst/>
                  <a:gdLst>
                    <a:gd name="connsiteX0" fmla="*/ 55327 w 110656"/>
                    <a:gd name="connsiteY0" fmla="*/ 56708 h 56707"/>
                    <a:gd name="connsiteX1" fmla="*/ 0 w 110656"/>
                    <a:gd name="connsiteY1" fmla="*/ 6956 h 56707"/>
                    <a:gd name="connsiteX2" fmla="*/ 6956 w 110656"/>
                    <a:gd name="connsiteY2" fmla="*/ 0 h 56707"/>
                    <a:gd name="connsiteX3" fmla="*/ 103701 w 110656"/>
                    <a:gd name="connsiteY3" fmla="*/ 0 h 56707"/>
                    <a:gd name="connsiteX4" fmla="*/ 110657 w 110656"/>
                    <a:gd name="connsiteY4" fmla="*/ 6956 h 56707"/>
                    <a:gd name="connsiteX5" fmla="*/ 55327 w 110656"/>
                    <a:gd name="connsiteY5" fmla="*/ 56708 h 56707"/>
                    <a:gd name="connsiteX6" fmla="*/ 14690 w 110656"/>
                    <a:gd name="connsiteY6" fmla="*/ 13911 h 56707"/>
                    <a:gd name="connsiteX7" fmla="*/ 55327 w 110656"/>
                    <a:gd name="connsiteY7" fmla="*/ 42796 h 56707"/>
                    <a:gd name="connsiteX8" fmla="*/ 95963 w 110656"/>
                    <a:gd name="connsiteY8" fmla="*/ 13911 h 56707"/>
                    <a:gd name="connsiteX9" fmla="*/ 14690 w 110656"/>
                    <a:gd name="connsiteY9" fmla="*/ 13911 h 5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656" h="56707">
                      <a:moveTo>
                        <a:pt x="55327" y="56708"/>
                      </a:moveTo>
                      <a:cubicBezTo>
                        <a:pt x="24818" y="56708"/>
                        <a:pt x="0" y="34390"/>
                        <a:pt x="0" y="6956"/>
                      </a:cubicBezTo>
                      <a:cubicBezTo>
                        <a:pt x="0" y="3112"/>
                        <a:pt x="3112" y="0"/>
                        <a:pt x="6956" y="0"/>
                      </a:cubicBezTo>
                      <a:lnTo>
                        <a:pt x="103701" y="0"/>
                      </a:lnTo>
                      <a:cubicBezTo>
                        <a:pt x="107545" y="0"/>
                        <a:pt x="110657" y="3112"/>
                        <a:pt x="110657" y="6956"/>
                      </a:cubicBezTo>
                      <a:cubicBezTo>
                        <a:pt x="110653" y="34387"/>
                        <a:pt x="85836" y="56708"/>
                        <a:pt x="55327" y="56708"/>
                      </a:cubicBezTo>
                      <a:close/>
                      <a:moveTo>
                        <a:pt x="14690" y="13911"/>
                      </a:moveTo>
                      <a:cubicBezTo>
                        <a:pt x="18445" y="30355"/>
                        <a:pt x="35235" y="42796"/>
                        <a:pt x="55327" y="42796"/>
                      </a:cubicBezTo>
                      <a:cubicBezTo>
                        <a:pt x="75418" y="42796"/>
                        <a:pt x="92208" y="30355"/>
                        <a:pt x="95963" y="13911"/>
                      </a:cubicBezTo>
                      <a:lnTo>
                        <a:pt x="14690" y="13911"/>
                      </a:lnTo>
                      <a:close/>
                    </a:path>
                  </a:pathLst>
                </a:custGeom>
                <a:grpFill/>
                <a:ln w="314" cap="flat">
                  <a:noFill/>
                  <a:prstDash val="solid"/>
                  <a:miter/>
                </a:ln>
              </p:spPr>
              <p:txBody>
                <a:bodyPr rtlCol="0" anchor="ctr"/>
                <a:lstStyle/>
                <a:p>
                  <a:endParaRPr lang="en-GB" dirty="0"/>
                </a:p>
              </p:txBody>
            </p:sp>
          </p:grpSp>
          <p:sp>
            <p:nvSpPr>
              <p:cNvPr id="154" name="Freihandform: Form 248">
                <a:extLst>
                  <a:ext uri="{FF2B5EF4-FFF2-40B4-BE49-F238E27FC236}">
                    <a16:creationId xmlns:a16="http://schemas.microsoft.com/office/drawing/2014/main" id="{EA1FAFD2-9E50-47E1-9F6C-134B75915778}"/>
                  </a:ext>
                </a:extLst>
              </p:cNvPr>
              <p:cNvSpPr/>
              <p:nvPr/>
            </p:nvSpPr>
            <p:spPr>
              <a:xfrm>
                <a:off x="2598253" y="3419401"/>
                <a:ext cx="306016" cy="268369"/>
              </a:xfrm>
              <a:custGeom>
                <a:avLst/>
                <a:gdLst>
                  <a:gd name="connsiteX0" fmla="*/ 48699 w 306016"/>
                  <a:gd name="connsiteY0" fmla="*/ 268369 h 268369"/>
                  <a:gd name="connsiteX1" fmla="*/ 43361 w 306016"/>
                  <a:gd name="connsiteY1" fmla="*/ 267304 h 268369"/>
                  <a:gd name="connsiteX2" fmla="*/ 34775 w 306016"/>
                  <a:gd name="connsiteY2" fmla="*/ 254452 h 268369"/>
                  <a:gd name="connsiteX3" fmla="*/ 34775 w 306016"/>
                  <a:gd name="connsiteY3" fmla="*/ 208647 h 268369"/>
                  <a:gd name="connsiteX4" fmla="*/ 20864 w 306016"/>
                  <a:gd name="connsiteY4" fmla="*/ 208647 h 268369"/>
                  <a:gd name="connsiteX5" fmla="*/ 0 w 306016"/>
                  <a:gd name="connsiteY5" fmla="*/ 187784 h 268369"/>
                  <a:gd name="connsiteX6" fmla="*/ 0 w 306016"/>
                  <a:gd name="connsiteY6" fmla="*/ 20864 h 268369"/>
                  <a:gd name="connsiteX7" fmla="*/ 20864 w 306016"/>
                  <a:gd name="connsiteY7" fmla="*/ 0 h 268369"/>
                  <a:gd name="connsiteX8" fmla="*/ 285153 w 306016"/>
                  <a:gd name="connsiteY8" fmla="*/ 0 h 268369"/>
                  <a:gd name="connsiteX9" fmla="*/ 306017 w 306016"/>
                  <a:gd name="connsiteY9" fmla="*/ 20864 h 268369"/>
                  <a:gd name="connsiteX10" fmla="*/ 306017 w 306016"/>
                  <a:gd name="connsiteY10" fmla="*/ 187784 h 268369"/>
                  <a:gd name="connsiteX11" fmla="*/ 285153 w 306016"/>
                  <a:gd name="connsiteY11" fmla="*/ 208647 h 268369"/>
                  <a:gd name="connsiteX12" fmla="*/ 114160 w 306016"/>
                  <a:gd name="connsiteY12" fmla="*/ 208647 h 268369"/>
                  <a:gd name="connsiteX13" fmla="*/ 58521 w 306016"/>
                  <a:gd name="connsiteY13" fmla="*/ 264286 h 268369"/>
                  <a:gd name="connsiteX14" fmla="*/ 48699 w 306016"/>
                  <a:gd name="connsiteY14" fmla="*/ 268369 h 268369"/>
                  <a:gd name="connsiteX15" fmla="*/ 20864 w 306016"/>
                  <a:gd name="connsiteY15" fmla="*/ 13908 h 268369"/>
                  <a:gd name="connsiteX16" fmla="*/ 13908 w 306016"/>
                  <a:gd name="connsiteY16" fmla="*/ 20864 h 268369"/>
                  <a:gd name="connsiteX17" fmla="*/ 13908 w 306016"/>
                  <a:gd name="connsiteY17" fmla="*/ 187784 h 268369"/>
                  <a:gd name="connsiteX18" fmla="*/ 20864 w 306016"/>
                  <a:gd name="connsiteY18" fmla="*/ 194739 h 268369"/>
                  <a:gd name="connsiteX19" fmla="*/ 48683 w 306016"/>
                  <a:gd name="connsiteY19" fmla="*/ 194739 h 268369"/>
                  <a:gd name="connsiteX20" fmla="*/ 48683 w 306016"/>
                  <a:gd name="connsiteY20" fmla="*/ 254455 h 268369"/>
                  <a:gd name="connsiteX21" fmla="*/ 108399 w 306016"/>
                  <a:gd name="connsiteY21" fmla="*/ 194739 h 268369"/>
                  <a:gd name="connsiteX22" fmla="*/ 285153 w 306016"/>
                  <a:gd name="connsiteY22" fmla="*/ 194739 h 268369"/>
                  <a:gd name="connsiteX23" fmla="*/ 292109 w 306016"/>
                  <a:gd name="connsiteY23" fmla="*/ 187784 h 268369"/>
                  <a:gd name="connsiteX24" fmla="*/ 292109 w 306016"/>
                  <a:gd name="connsiteY24" fmla="*/ 20864 h 268369"/>
                  <a:gd name="connsiteX25" fmla="*/ 285153 w 306016"/>
                  <a:gd name="connsiteY25" fmla="*/ 13908 h 268369"/>
                  <a:gd name="connsiteX26" fmla="*/ 20864 w 306016"/>
                  <a:gd name="connsiteY26" fmla="*/ 13908 h 268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06016" h="268369">
                    <a:moveTo>
                      <a:pt x="48699" y="268369"/>
                    </a:moveTo>
                    <a:cubicBezTo>
                      <a:pt x="46905" y="268369"/>
                      <a:pt x="45092" y="268023"/>
                      <a:pt x="43361" y="267304"/>
                    </a:cubicBezTo>
                    <a:cubicBezTo>
                      <a:pt x="38146" y="265144"/>
                      <a:pt x="34775" y="260099"/>
                      <a:pt x="34775" y="254452"/>
                    </a:cubicBezTo>
                    <a:lnTo>
                      <a:pt x="34775" y="208647"/>
                    </a:lnTo>
                    <a:lnTo>
                      <a:pt x="20864" y="208647"/>
                    </a:lnTo>
                    <a:cubicBezTo>
                      <a:pt x="9358" y="208647"/>
                      <a:pt x="0" y="199289"/>
                      <a:pt x="0" y="187784"/>
                    </a:cubicBezTo>
                    <a:lnTo>
                      <a:pt x="0" y="20864"/>
                    </a:lnTo>
                    <a:cubicBezTo>
                      <a:pt x="0" y="9358"/>
                      <a:pt x="9358" y="0"/>
                      <a:pt x="20864" y="0"/>
                    </a:cubicBezTo>
                    <a:lnTo>
                      <a:pt x="285153" y="0"/>
                    </a:lnTo>
                    <a:cubicBezTo>
                      <a:pt x="296659" y="0"/>
                      <a:pt x="306017" y="9358"/>
                      <a:pt x="306017" y="20864"/>
                    </a:cubicBezTo>
                    <a:lnTo>
                      <a:pt x="306017" y="187784"/>
                    </a:lnTo>
                    <a:cubicBezTo>
                      <a:pt x="306017" y="199289"/>
                      <a:pt x="296659" y="208647"/>
                      <a:pt x="285153" y="208647"/>
                    </a:cubicBezTo>
                    <a:lnTo>
                      <a:pt x="114160" y="208647"/>
                    </a:lnTo>
                    <a:lnTo>
                      <a:pt x="58521" y="264286"/>
                    </a:lnTo>
                    <a:cubicBezTo>
                      <a:pt x="55850" y="266957"/>
                      <a:pt x="52312" y="268369"/>
                      <a:pt x="48699" y="268369"/>
                    </a:cubicBezTo>
                    <a:close/>
                    <a:moveTo>
                      <a:pt x="20864" y="13908"/>
                    </a:moveTo>
                    <a:cubicBezTo>
                      <a:pt x="17027" y="13908"/>
                      <a:pt x="13908" y="17027"/>
                      <a:pt x="13908" y="20864"/>
                    </a:cubicBezTo>
                    <a:lnTo>
                      <a:pt x="13908" y="187784"/>
                    </a:lnTo>
                    <a:cubicBezTo>
                      <a:pt x="13908" y="191621"/>
                      <a:pt x="17027" y="194739"/>
                      <a:pt x="20864" y="194739"/>
                    </a:cubicBezTo>
                    <a:lnTo>
                      <a:pt x="48683" y="194739"/>
                    </a:lnTo>
                    <a:lnTo>
                      <a:pt x="48683" y="254455"/>
                    </a:lnTo>
                    <a:lnTo>
                      <a:pt x="108399" y="194739"/>
                    </a:lnTo>
                    <a:lnTo>
                      <a:pt x="285153" y="194739"/>
                    </a:lnTo>
                    <a:cubicBezTo>
                      <a:pt x="288990" y="194739"/>
                      <a:pt x="292109" y="191621"/>
                      <a:pt x="292109" y="187784"/>
                    </a:cubicBezTo>
                    <a:lnTo>
                      <a:pt x="292109" y="20864"/>
                    </a:lnTo>
                    <a:cubicBezTo>
                      <a:pt x="292109" y="17027"/>
                      <a:pt x="288990" y="13908"/>
                      <a:pt x="285153" y="13908"/>
                    </a:cubicBezTo>
                    <a:lnTo>
                      <a:pt x="20864" y="13908"/>
                    </a:lnTo>
                    <a:close/>
                  </a:path>
                </a:pathLst>
              </a:custGeom>
              <a:grpFill/>
              <a:ln w="314" cap="flat">
                <a:noFill/>
                <a:prstDash val="solid"/>
                <a:miter/>
              </a:ln>
            </p:spPr>
            <p:txBody>
              <a:bodyPr rtlCol="0" anchor="ctr"/>
              <a:lstStyle/>
              <a:p>
                <a:endParaRPr lang="en-GB" dirty="0"/>
              </a:p>
            </p:txBody>
          </p:sp>
        </p:grpSp>
      </p:grpSp>
      <p:grpSp>
        <p:nvGrpSpPr>
          <p:cNvPr id="51" name="Group 50">
            <a:extLst>
              <a:ext uri="{FF2B5EF4-FFF2-40B4-BE49-F238E27FC236}">
                <a16:creationId xmlns:a16="http://schemas.microsoft.com/office/drawing/2014/main" id="{AE8C47D3-F09F-967D-6AE8-92422F1FCD14}"/>
              </a:ext>
            </a:extLst>
          </p:cNvPr>
          <p:cNvGrpSpPr/>
          <p:nvPr/>
        </p:nvGrpSpPr>
        <p:grpSpPr>
          <a:xfrm>
            <a:off x="2674648" y="2406516"/>
            <a:ext cx="420540" cy="432000"/>
            <a:chOff x="2674648" y="2406516"/>
            <a:chExt cx="420540" cy="432000"/>
          </a:xfrm>
        </p:grpSpPr>
        <p:grpSp>
          <p:nvGrpSpPr>
            <p:cNvPr id="166" name="Gruppieren 535">
              <a:extLst>
                <a:ext uri="{FF2B5EF4-FFF2-40B4-BE49-F238E27FC236}">
                  <a16:creationId xmlns:a16="http://schemas.microsoft.com/office/drawing/2014/main" id="{3F63D899-2389-4568-BF78-CEC02990F80A}"/>
                </a:ext>
              </a:extLst>
            </p:cNvPr>
            <p:cNvGrpSpPr/>
            <p:nvPr/>
          </p:nvGrpSpPr>
          <p:grpSpPr>
            <a:xfrm>
              <a:off x="2674648" y="2406516"/>
              <a:ext cx="340367" cy="432000"/>
              <a:chOff x="3488488" y="4288769"/>
              <a:chExt cx="361662" cy="459028"/>
            </a:xfrm>
            <a:solidFill>
              <a:schemeClr val="tx2"/>
            </a:solidFill>
          </p:grpSpPr>
          <p:sp>
            <p:nvSpPr>
              <p:cNvPr id="183" name="Freihandform: Form 252">
                <a:extLst>
                  <a:ext uri="{FF2B5EF4-FFF2-40B4-BE49-F238E27FC236}">
                    <a16:creationId xmlns:a16="http://schemas.microsoft.com/office/drawing/2014/main" id="{AC5EBFD7-9DA7-418B-AE3B-5174D6BE138B}"/>
                  </a:ext>
                </a:extLst>
              </p:cNvPr>
              <p:cNvSpPr/>
              <p:nvPr/>
            </p:nvSpPr>
            <p:spPr>
              <a:xfrm>
                <a:off x="3523263" y="4372227"/>
                <a:ext cx="292112" cy="340795"/>
              </a:xfrm>
              <a:custGeom>
                <a:avLst/>
                <a:gdLst>
                  <a:gd name="connsiteX0" fmla="*/ 285153 w 292112"/>
                  <a:gd name="connsiteY0" fmla="*/ 340795 h 340795"/>
                  <a:gd name="connsiteX1" fmla="*/ 6956 w 292112"/>
                  <a:gd name="connsiteY1" fmla="*/ 340795 h 340795"/>
                  <a:gd name="connsiteX2" fmla="*/ 0 w 292112"/>
                  <a:gd name="connsiteY2" fmla="*/ 333839 h 340795"/>
                  <a:gd name="connsiteX3" fmla="*/ 0 w 292112"/>
                  <a:gd name="connsiteY3" fmla="*/ 6956 h 340795"/>
                  <a:gd name="connsiteX4" fmla="*/ 6956 w 292112"/>
                  <a:gd name="connsiteY4" fmla="*/ 0 h 340795"/>
                  <a:gd name="connsiteX5" fmla="*/ 34775 w 292112"/>
                  <a:gd name="connsiteY5" fmla="*/ 0 h 340795"/>
                  <a:gd name="connsiteX6" fmla="*/ 41731 w 292112"/>
                  <a:gd name="connsiteY6" fmla="*/ 6956 h 340795"/>
                  <a:gd name="connsiteX7" fmla="*/ 34775 w 292112"/>
                  <a:gd name="connsiteY7" fmla="*/ 13911 h 340795"/>
                  <a:gd name="connsiteX8" fmla="*/ 13911 w 292112"/>
                  <a:gd name="connsiteY8" fmla="*/ 13911 h 340795"/>
                  <a:gd name="connsiteX9" fmla="*/ 13911 w 292112"/>
                  <a:gd name="connsiteY9" fmla="*/ 326884 h 340795"/>
                  <a:gd name="connsiteX10" fmla="*/ 278201 w 292112"/>
                  <a:gd name="connsiteY10" fmla="*/ 326884 h 340795"/>
                  <a:gd name="connsiteX11" fmla="*/ 278201 w 292112"/>
                  <a:gd name="connsiteY11" fmla="*/ 257334 h 340795"/>
                  <a:gd name="connsiteX12" fmla="*/ 285156 w 292112"/>
                  <a:gd name="connsiteY12" fmla="*/ 250378 h 340795"/>
                  <a:gd name="connsiteX13" fmla="*/ 292112 w 292112"/>
                  <a:gd name="connsiteY13" fmla="*/ 257334 h 340795"/>
                  <a:gd name="connsiteX14" fmla="*/ 292112 w 292112"/>
                  <a:gd name="connsiteY14" fmla="*/ 333839 h 340795"/>
                  <a:gd name="connsiteX15" fmla="*/ 285153 w 292112"/>
                  <a:gd name="connsiteY15" fmla="*/ 340795 h 34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2112" h="340795">
                    <a:moveTo>
                      <a:pt x="285153" y="340795"/>
                    </a:moveTo>
                    <a:lnTo>
                      <a:pt x="6956" y="340795"/>
                    </a:lnTo>
                    <a:cubicBezTo>
                      <a:pt x="3112" y="340795"/>
                      <a:pt x="0" y="337683"/>
                      <a:pt x="0" y="333839"/>
                    </a:cubicBezTo>
                    <a:lnTo>
                      <a:pt x="0" y="6956"/>
                    </a:lnTo>
                    <a:cubicBezTo>
                      <a:pt x="0" y="3112"/>
                      <a:pt x="3112" y="0"/>
                      <a:pt x="6956" y="0"/>
                    </a:cubicBezTo>
                    <a:lnTo>
                      <a:pt x="34775" y="0"/>
                    </a:lnTo>
                    <a:cubicBezTo>
                      <a:pt x="38619" y="0"/>
                      <a:pt x="41731" y="3112"/>
                      <a:pt x="41731" y="6956"/>
                    </a:cubicBezTo>
                    <a:cubicBezTo>
                      <a:pt x="41731" y="10799"/>
                      <a:pt x="38619" y="13911"/>
                      <a:pt x="34775" y="13911"/>
                    </a:cubicBezTo>
                    <a:lnTo>
                      <a:pt x="13911" y="13911"/>
                    </a:lnTo>
                    <a:lnTo>
                      <a:pt x="13911" y="326884"/>
                    </a:lnTo>
                    <a:lnTo>
                      <a:pt x="278201" y="326884"/>
                    </a:lnTo>
                    <a:lnTo>
                      <a:pt x="278201" y="257334"/>
                    </a:lnTo>
                    <a:cubicBezTo>
                      <a:pt x="278201" y="253490"/>
                      <a:pt x="281313" y="250378"/>
                      <a:pt x="285156" y="250378"/>
                    </a:cubicBezTo>
                    <a:cubicBezTo>
                      <a:pt x="289000" y="250378"/>
                      <a:pt x="292112" y="253490"/>
                      <a:pt x="292112" y="257334"/>
                    </a:cubicBezTo>
                    <a:lnTo>
                      <a:pt x="292112" y="333839"/>
                    </a:lnTo>
                    <a:cubicBezTo>
                      <a:pt x="292109" y="337683"/>
                      <a:pt x="288997" y="340795"/>
                      <a:pt x="285153" y="340795"/>
                    </a:cubicBezTo>
                    <a:close/>
                  </a:path>
                </a:pathLst>
              </a:custGeom>
              <a:grpFill/>
              <a:ln w="314" cap="flat">
                <a:noFill/>
                <a:prstDash val="solid"/>
                <a:miter/>
              </a:ln>
            </p:spPr>
            <p:txBody>
              <a:bodyPr rtlCol="0" anchor="ctr"/>
              <a:lstStyle/>
              <a:p>
                <a:endParaRPr lang="en-GB" dirty="0"/>
              </a:p>
            </p:txBody>
          </p:sp>
          <p:sp>
            <p:nvSpPr>
              <p:cNvPr id="184" name="Freihandform: Form 253">
                <a:extLst>
                  <a:ext uri="{FF2B5EF4-FFF2-40B4-BE49-F238E27FC236}">
                    <a16:creationId xmlns:a16="http://schemas.microsoft.com/office/drawing/2014/main" id="{C21D4197-D087-4E83-88F1-95AF6C5914EF}"/>
                  </a:ext>
                </a:extLst>
              </p:cNvPr>
              <p:cNvSpPr/>
              <p:nvPr/>
            </p:nvSpPr>
            <p:spPr>
              <a:xfrm>
                <a:off x="3773641" y="4372227"/>
                <a:ext cx="41730" cy="166919"/>
              </a:xfrm>
              <a:custGeom>
                <a:avLst/>
                <a:gdLst>
                  <a:gd name="connsiteX0" fmla="*/ 34775 w 41730"/>
                  <a:gd name="connsiteY0" fmla="*/ 166920 h 166919"/>
                  <a:gd name="connsiteX1" fmla="*/ 27820 w 41730"/>
                  <a:gd name="connsiteY1" fmla="*/ 159964 h 166919"/>
                  <a:gd name="connsiteX2" fmla="*/ 27820 w 41730"/>
                  <a:gd name="connsiteY2" fmla="*/ 13911 h 166919"/>
                  <a:gd name="connsiteX3" fmla="*/ 6956 w 41730"/>
                  <a:gd name="connsiteY3" fmla="*/ 13911 h 166919"/>
                  <a:gd name="connsiteX4" fmla="*/ 0 w 41730"/>
                  <a:gd name="connsiteY4" fmla="*/ 6956 h 166919"/>
                  <a:gd name="connsiteX5" fmla="*/ 6956 w 41730"/>
                  <a:gd name="connsiteY5" fmla="*/ 0 h 166919"/>
                  <a:gd name="connsiteX6" fmla="*/ 34775 w 41730"/>
                  <a:gd name="connsiteY6" fmla="*/ 0 h 166919"/>
                  <a:gd name="connsiteX7" fmla="*/ 41731 w 41730"/>
                  <a:gd name="connsiteY7" fmla="*/ 6956 h 166919"/>
                  <a:gd name="connsiteX8" fmla="*/ 41731 w 41730"/>
                  <a:gd name="connsiteY8" fmla="*/ 159964 h 166919"/>
                  <a:gd name="connsiteX9" fmla="*/ 34775 w 41730"/>
                  <a:gd name="connsiteY9" fmla="*/ 166920 h 16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30" h="166919">
                    <a:moveTo>
                      <a:pt x="34775" y="166920"/>
                    </a:moveTo>
                    <a:cubicBezTo>
                      <a:pt x="30931" y="166920"/>
                      <a:pt x="27820" y="163808"/>
                      <a:pt x="27820" y="159964"/>
                    </a:cubicBezTo>
                    <a:lnTo>
                      <a:pt x="27820" y="13911"/>
                    </a:lnTo>
                    <a:lnTo>
                      <a:pt x="6956" y="13911"/>
                    </a:lnTo>
                    <a:cubicBezTo>
                      <a:pt x="3112" y="13911"/>
                      <a:pt x="0" y="10799"/>
                      <a:pt x="0" y="6956"/>
                    </a:cubicBezTo>
                    <a:cubicBezTo>
                      <a:pt x="0" y="3112"/>
                      <a:pt x="3112" y="0"/>
                      <a:pt x="6956" y="0"/>
                    </a:cubicBezTo>
                    <a:lnTo>
                      <a:pt x="34775" y="0"/>
                    </a:lnTo>
                    <a:cubicBezTo>
                      <a:pt x="38619" y="0"/>
                      <a:pt x="41731" y="3112"/>
                      <a:pt x="41731" y="6956"/>
                    </a:cubicBezTo>
                    <a:lnTo>
                      <a:pt x="41731" y="159964"/>
                    </a:lnTo>
                    <a:cubicBezTo>
                      <a:pt x="41731" y="163811"/>
                      <a:pt x="38619" y="166920"/>
                      <a:pt x="34775" y="166920"/>
                    </a:cubicBezTo>
                    <a:close/>
                  </a:path>
                </a:pathLst>
              </a:custGeom>
              <a:grpFill/>
              <a:ln w="314" cap="flat">
                <a:noFill/>
                <a:prstDash val="solid"/>
                <a:miter/>
              </a:ln>
            </p:spPr>
            <p:txBody>
              <a:bodyPr rtlCol="0" anchor="ctr"/>
              <a:lstStyle/>
              <a:p>
                <a:endParaRPr lang="en-GB" dirty="0"/>
              </a:p>
            </p:txBody>
          </p:sp>
          <p:sp>
            <p:nvSpPr>
              <p:cNvPr id="185" name="Freihandform: Form 254">
                <a:extLst>
                  <a:ext uri="{FF2B5EF4-FFF2-40B4-BE49-F238E27FC236}">
                    <a16:creationId xmlns:a16="http://schemas.microsoft.com/office/drawing/2014/main" id="{0521DEF9-8F45-4623-AAF6-3FB4A6DD3B94}"/>
                  </a:ext>
                </a:extLst>
              </p:cNvPr>
              <p:cNvSpPr/>
              <p:nvPr/>
            </p:nvSpPr>
            <p:spPr>
              <a:xfrm>
                <a:off x="3488488" y="4337452"/>
                <a:ext cx="361662" cy="410345"/>
              </a:xfrm>
              <a:custGeom>
                <a:avLst/>
                <a:gdLst>
                  <a:gd name="connsiteX0" fmla="*/ 354703 w 361662"/>
                  <a:gd name="connsiteY0" fmla="*/ 410345 h 410345"/>
                  <a:gd name="connsiteX1" fmla="*/ 6956 w 361662"/>
                  <a:gd name="connsiteY1" fmla="*/ 410345 h 410345"/>
                  <a:gd name="connsiteX2" fmla="*/ 0 w 361662"/>
                  <a:gd name="connsiteY2" fmla="*/ 403390 h 410345"/>
                  <a:gd name="connsiteX3" fmla="*/ 0 w 361662"/>
                  <a:gd name="connsiteY3" fmla="*/ 6956 h 410345"/>
                  <a:gd name="connsiteX4" fmla="*/ 6956 w 361662"/>
                  <a:gd name="connsiteY4" fmla="*/ 0 h 410345"/>
                  <a:gd name="connsiteX5" fmla="*/ 104325 w 361662"/>
                  <a:gd name="connsiteY5" fmla="*/ 0 h 410345"/>
                  <a:gd name="connsiteX6" fmla="*/ 111281 w 361662"/>
                  <a:gd name="connsiteY6" fmla="*/ 6956 h 410345"/>
                  <a:gd name="connsiteX7" fmla="*/ 104325 w 361662"/>
                  <a:gd name="connsiteY7" fmla="*/ 13911 h 410345"/>
                  <a:gd name="connsiteX8" fmla="*/ 13911 w 361662"/>
                  <a:gd name="connsiteY8" fmla="*/ 13911 h 410345"/>
                  <a:gd name="connsiteX9" fmla="*/ 13911 w 361662"/>
                  <a:gd name="connsiteY9" fmla="*/ 396434 h 410345"/>
                  <a:gd name="connsiteX10" fmla="*/ 347751 w 361662"/>
                  <a:gd name="connsiteY10" fmla="*/ 396434 h 410345"/>
                  <a:gd name="connsiteX11" fmla="*/ 347751 w 361662"/>
                  <a:gd name="connsiteY11" fmla="*/ 257334 h 410345"/>
                  <a:gd name="connsiteX12" fmla="*/ 354707 w 361662"/>
                  <a:gd name="connsiteY12" fmla="*/ 250378 h 410345"/>
                  <a:gd name="connsiteX13" fmla="*/ 361662 w 361662"/>
                  <a:gd name="connsiteY13" fmla="*/ 257334 h 410345"/>
                  <a:gd name="connsiteX14" fmla="*/ 361662 w 361662"/>
                  <a:gd name="connsiteY14" fmla="*/ 403387 h 410345"/>
                  <a:gd name="connsiteX15" fmla="*/ 354703 w 361662"/>
                  <a:gd name="connsiteY15" fmla="*/ 410345 h 41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61662" h="410345">
                    <a:moveTo>
                      <a:pt x="354703" y="410345"/>
                    </a:moveTo>
                    <a:lnTo>
                      <a:pt x="6956" y="410345"/>
                    </a:lnTo>
                    <a:cubicBezTo>
                      <a:pt x="3112" y="410345"/>
                      <a:pt x="0" y="407233"/>
                      <a:pt x="0" y="403390"/>
                    </a:cubicBezTo>
                    <a:lnTo>
                      <a:pt x="0" y="6956"/>
                    </a:lnTo>
                    <a:cubicBezTo>
                      <a:pt x="0" y="3112"/>
                      <a:pt x="3112" y="0"/>
                      <a:pt x="6956" y="0"/>
                    </a:cubicBezTo>
                    <a:lnTo>
                      <a:pt x="104325" y="0"/>
                    </a:lnTo>
                    <a:cubicBezTo>
                      <a:pt x="108169" y="0"/>
                      <a:pt x="111281" y="3112"/>
                      <a:pt x="111281" y="6956"/>
                    </a:cubicBezTo>
                    <a:cubicBezTo>
                      <a:pt x="111281" y="10799"/>
                      <a:pt x="108169" y="13911"/>
                      <a:pt x="104325" y="13911"/>
                    </a:cubicBezTo>
                    <a:lnTo>
                      <a:pt x="13911" y="13911"/>
                    </a:lnTo>
                    <a:lnTo>
                      <a:pt x="13911" y="396434"/>
                    </a:lnTo>
                    <a:lnTo>
                      <a:pt x="347751" y="396434"/>
                    </a:lnTo>
                    <a:lnTo>
                      <a:pt x="347751" y="257334"/>
                    </a:lnTo>
                    <a:cubicBezTo>
                      <a:pt x="347751" y="253490"/>
                      <a:pt x="350863" y="250378"/>
                      <a:pt x="354707" y="250378"/>
                    </a:cubicBezTo>
                    <a:cubicBezTo>
                      <a:pt x="358550" y="250378"/>
                      <a:pt x="361662" y="253490"/>
                      <a:pt x="361662" y="257334"/>
                    </a:cubicBezTo>
                    <a:lnTo>
                      <a:pt x="361662" y="403387"/>
                    </a:lnTo>
                    <a:cubicBezTo>
                      <a:pt x="361659" y="407233"/>
                      <a:pt x="358547" y="410345"/>
                      <a:pt x="354703" y="410345"/>
                    </a:cubicBezTo>
                    <a:close/>
                  </a:path>
                </a:pathLst>
              </a:custGeom>
              <a:grpFill/>
              <a:ln w="314" cap="flat">
                <a:noFill/>
                <a:prstDash val="solid"/>
                <a:miter/>
              </a:ln>
            </p:spPr>
            <p:txBody>
              <a:bodyPr rtlCol="0" anchor="ctr"/>
              <a:lstStyle/>
              <a:p>
                <a:endParaRPr lang="en-GB" dirty="0"/>
              </a:p>
            </p:txBody>
          </p:sp>
          <p:sp>
            <p:nvSpPr>
              <p:cNvPr id="186" name="Freihandform: Form 255">
                <a:extLst>
                  <a:ext uri="{FF2B5EF4-FFF2-40B4-BE49-F238E27FC236}">
                    <a16:creationId xmlns:a16="http://schemas.microsoft.com/office/drawing/2014/main" id="{9DCCDE6F-EB51-4AD3-A2CA-DBE4C4DA46E0}"/>
                  </a:ext>
                </a:extLst>
              </p:cNvPr>
              <p:cNvSpPr/>
              <p:nvPr/>
            </p:nvSpPr>
            <p:spPr>
              <a:xfrm>
                <a:off x="3738866" y="4337452"/>
                <a:ext cx="111280" cy="166919"/>
              </a:xfrm>
              <a:custGeom>
                <a:avLst/>
                <a:gdLst>
                  <a:gd name="connsiteX0" fmla="*/ 104325 w 111280"/>
                  <a:gd name="connsiteY0" fmla="*/ 166920 h 166919"/>
                  <a:gd name="connsiteX1" fmla="*/ 97370 w 111280"/>
                  <a:gd name="connsiteY1" fmla="*/ 159964 h 166919"/>
                  <a:gd name="connsiteX2" fmla="*/ 97370 w 111280"/>
                  <a:gd name="connsiteY2" fmla="*/ 13911 h 166919"/>
                  <a:gd name="connsiteX3" fmla="*/ 6956 w 111280"/>
                  <a:gd name="connsiteY3" fmla="*/ 13911 h 166919"/>
                  <a:gd name="connsiteX4" fmla="*/ 0 w 111280"/>
                  <a:gd name="connsiteY4" fmla="*/ 6956 h 166919"/>
                  <a:gd name="connsiteX5" fmla="*/ 6956 w 111280"/>
                  <a:gd name="connsiteY5" fmla="*/ 0 h 166919"/>
                  <a:gd name="connsiteX6" fmla="*/ 104325 w 111280"/>
                  <a:gd name="connsiteY6" fmla="*/ 0 h 166919"/>
                  <a:gd name="connsiteX7" fmla="*/ 111281 w 111280"/>
                  <a:gd name="connsiteY7" fmla="*/ 6956 h 166919"/>
                  <a:gd name="connsiteX8" fmla="*/ 111281 w 111280"/>
                  <a:gd name="connsiteY8" fmla="*/ 159964 h 166919"/>
                  <a:gd name="connsiteX9" fmla="*/ 104325 w 111280"/>
                  <a:gd name="connsiteY9" fmla="*/ 166920 h 16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280" h="166919">
                    <a:moveTo>
                      <a:pt x="104325" y="166920"/>
                    </a:moveTo>
                    <a:cubicBezTo>
                      <a:pt x="100482" y="166920"/>
                      <a:pt x="97370" y="163808"/>
                      <a:pt x="97370" y="159964"/>
                    </a:cubicBezTo>
                    <a:lnTo>
                      <a:pt x="97370" y="13911"/>
                    </a:lnTo>
                    <a:lnTo>
                      <a:pt x="6956" y="13911"/>
                    </a:lnTo>
                    <a:cubicBezTo>
                      <a:pt x="3112" y="13911"/>
                      <a:pt x="0" y="10799"/>
                      <a:pt x="0" y="6956"/>
                    </a:cubicBezTo>
                    <a:cubicBezTo>
                      <a:pt x="0" y="3112"/>
                      <a:pt x="3112" y="0"/>
                      <a:pt x="6956" y="0"/>
                    </a:cubicBezTo>
                    <a:lnTo>
                      <a:pt x="104325" y="0"/>
                    </a:lnTo>
                    <a:cubicBezTo>
                      <a:pt x="108169" y="0"/>
                      <a:pt x="111281" y="3112"/>
                      <a:pt x="111281" y="6956"/>
                    </a:cubicBezTo>
                    <a:lnTo>
                      <a:pt x="111281" y="159964"/>
                    </a:lnTo>
                    <a:cubicBezTo>
                      <a:pt x="111281" y="163811"/>
                      <a:pt x="108169" y="166920"/>
                      <a:pt x="104325" y="166920"/>
                    </a:cubicBezTo>
                    <a:close/>
                  </a:path>
                </a:pathLst>
              </a:custGeom>
              <a:grpFill/>
              <a:ln w="314" cap="flat">
                <a:noFill/>
                <a:prstDash val="solid"/>
                <a:miter/>
              </a:ln>
            </p:spPr>
            <p:txBody>
              <a:bodyPr rtlCol="0" anchor="ctr"/>
              <a:lstStyle/>
              <a:p>
                <a:endParaRPr lang="en-GB" dirty="0"/>
              </a:p>
            </p:txBody>
          </p:sp>
          <p:sp>
            <p:nvSpPr>
              <p:cNvPr id="187" name="Freihandform: Form 259">
                <a:extLst>
                  <a:ext uri="{FF2B5EF4-FFF2-40B4-BE49-F238E27FC236}">
                    <a16:creationId xmlns:a16="http://schemas.microsoft.com/office/drawing/2014/main" id="{FF509EB8-2772-4D5A-B9FC-2E876ED0A0BA}"/>
                  </a:ext>
                </a:extLst>
              </p:cNvPr>
              <p:cNvSpPr/>
              <p:nvPr/>
            </p:nvSpPr>
            <p:spPr>
              <a:xfrm>
                <a:off x="3585858" y="4288769"/>
                <a:ext cx="166922" cy="97369"/>
              </a:xfrm>
              <a:custGeom>
                <a:avLst/>
                <a:gdLst>
                  <a:gd name="connsiteX0" fmla="*/ 159964 w 166922"/>
                  <a:gd name="connsiteY0" fmla="*/ 97370 h 97369"/>
                  <a:gd name="connsiteX1" fmla="*/ 6956 w 166922"/>
                  <a:gd name="connsiteY1" fmla="*/ 97370 h 97369"/>
                  <a:gd name="connsiteX2" fmla="*/ 0 w 166922"/>
                  <a:gd name="connsiteY2" fmla="*/ 90414 h 97369"/>
                  <a:gd name="connsiteX3" fmla="*/ 0 w 166922"/>
                  <a:gd name="connsiteY3" fmla="*/ 27820 h 97369"/>
                  <a:gd name="connsiteX4" fmla="*/ 6956 w 166922"/>
                  <a:gd name="connsiteY4" fmla="*/ 20864 h 97369"/>
                  <a:gd name="connsiteX5" fmla="*/ 51688 w 166922"/>
                  <a:gd name="connsiteY5" fmla="*/ 20864 h 97369"/>
                  <a:gd name="connsiteX6" fmla="*/ 83461 w 166922"/>
                  <a:gd name="connsiteY6" fmla="*/ 0 h 97369"/>
                  <a:gd name="connsiteX7" fmla="*/ 115235 w 166922"/>
                  <a:gd name="connsiteY7" fmla="*/ 20864 h 97369"/>
                  <a:gd name="connsiteX8" fmla="*/ 159967 w 166922"/>
                  <a:gd name="connsiteY8" fmla="*/ 20864 h 97369"/>
                  <a:gd name="connsiteX9" fmla="*/ 166923 w 166922"/>
                  <a:gd name="connsiteY9" fmla="*/ 27820 h 97369"/>
                  <a:gd name="connsiteX10" fmla="*/ 166923 w 166922"/>
                  <a:gd name="connsiteY10" fmla="*/ 90414 h 97369"/>
                  <a:gd name="connsiteX11" fmla="*/ 159964 w 166922"/>
                  <a:gd name="connsiteY11" fmla="*/ 97370 h 97369"/>
                  <a:gd name="connsiteX12" fmla="*/ 13911 w 166922"/>
                  <a:gd name="connsiteY12" fmla="*/ 83458 h 97369"/>
                  <a:gd name="connsiteX13" fmla="*/ 153011 w 166922"/>
                  <a:gd name="connsiteY13" fmla="*/ 83458 h 97369"/>
                  <a:gd name="connsiteX14" fmla="*/ 153011 w 166922"/>
                  <a:gd name="connsiteY14" fmla="*/ 34775 h 97369"/>
                  <a:gd name="connsiteX15" fmla="*/ 110297 w 166922"/>
                  <a:gd name="connsiteY15" fmla="*/ 34775 h 97369"/>
                  <a:gd name="connsiteX16" fmla="*/ 103565 w 166922"/>
                  <a:gd name="connsiteY16" fmla="*/ 29566 h 97369"/>
                  <a:gd name="connsiteX17" fmla="*/ 83461 w 166922"/>
                  <a:gd name="connsiteY17" fmla="*/ 13911 h 97369"/>
                  <a:gd name="connsiteX18" fmla="*/ 63357 w 166922"/>
                  <a:gd name="connsiteY18" fmla="*/ 29566 h 97369"/>
                  <a:gd name="connsiteX19" fmla="*/ 56626 w 166922"/>
                  <a:gd name="connsiteY19" fmla="*/ 34775 h 97369"/>
                  <a:gd name="connsiteX20" fmla="*/ 13911 w 166922"/>
                  <a:gd name="connsiteY20" fmla="*/ 34775 h 97369"/>
                  <a:gd name="connsiteX21" fmla="*/ 13911 w 166922"/>
                  <a:gd name="connsiteY21" fmla="*/ 83458 h 9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6922" h="97369">
                    <a:moveTo>
                      <a:pt x="159964" y="97370"/>
                    </a:moveTo>
                    <a:lnTo>
                      <a:pt x="6956" y="97370"/>
                    </a:lnTo>
                    <a:cubicBezTo>
                      <a:pt x="3112" y="97370"/>
                      <a:pt x="0" y="94258"/>
                      <a:pt x="0" y="90414"/>
                    </a:cubicBezTo>
                    <a:lnTo>
                      <a:pt x="0" y="27820"/>
                    </a:lnTo>
                    <a:cubicBezTo>
                      <a:pt x="0" y="23976"/>
                      <a:pt x="3112" y="20864"/>
                      <a:pt x="6956" y="20864"/>
                    </a:cubicBezTo>
                    <a:lnTo>
                      <a:pt x="51688" y="20864"/>
                    </a:lnTo>
                    <a:cubicBezTo>
                      <a:pt x="57143" y="8346"/>
                      <a:pt x="69531" y="0"/>
                      <a:pt x="83461" y="0"/>
                    </a:cubicBezTo>
                    <a:cubicBezTo>
                      <a:pt x="97392" y="0"/>
                      <a:pt x="109780" y="8346"/>
                      <a:pt x="115235" y="20864"/>
                    </a:cubicBezTo>
                    <a:lnTo>
                      <a:pt x="159967" y="20864"/>
                    </a:lnTo>
                    <a:cubicBezTo>
                      <a:pt x="163811" y="20864"/>
                      <a:pt x="166923" y="23976"/>
                      <a:pt x="166923" y="27820"/>
                    </a:cubicBezTo>
                    <a:lnTo>
                      <a:pt x="166923" y="90414"/>
                    </a:lnTo>
                    <a:cubicBezTo>
                      <a:pt x="166920" y="94258"/>
                      <a:pt x="163808" y="97370"/>
                      <a:pt x="159964" y="97370"/>
                    </a:cubicBezTo>
                    <a:close/>
                    <a:moveTo>
                      <a:pt x="13911" y="83458"/>
                    </a:moveTo>
                    <a:lnTo>
                      <a:pt x="153011" y="83458"/>
                    </a:lnTo>
                    <a:lnTo>
                      <a:pt x="153011" y="34775"/>
                    </a:lnTo>
                    <a:lnTo>
                      <a:pt x="110297" y="34775"/>
                    </a:lnTo>
                    <a:cubicBezTo>
                      <a:pt x="107125" y="34775"/>
                      <a:pt x="104360" y="32634"/>
                      <a:pt x="103565" y="29566"/>
                    </a:cubicBezTo>
                    <a:cubicBezTo>
                      <a:pt x="101175" y="20350"/>
                      <a:pt x="92908" y="13911"/>
                      <a:pt x="83461" y="13911"/>
                    </a:cubicBezTo>
                    <a:cubicBezTo>
                      <a:pt x="74015" y="13911"/>
                      <a:pt x="65747" y="20350"/>
                      <a:pt x="63357" y="29566"/>
                    </a:cubicBezTo>
                    <a:cubicBezTo>
                      <a:pt x="62563" y="32637"/>
                      <a:pt x="59798" y="34775"/>
                      <a:pt x="56626" y="34775"/>
                    </a:cubicBezTo>
                    <a:lnTo>
                      <a:pt x="13911" y="34775"/>
                    </a:lnTo>
                    <a:lnTo>
                      <a:pt x="13911" y="83458"/>
                    </a:lnTo>
                    <a:close/>
                  </a:path>
                </a:pathLst>
              </a:custGeom>
              <a:grpFill/>
              <a:ln w="314" cap="flat">
                <a:noFill/>
                <a:prstDash val="solid"/>
                <a:miter/>
              </a:ln>
            </p:spPr>
            <p:txBody>
              <a:bodyPr rtlCol="0" anchor="ctr"/>
              <a:lstStyle/>
              <a:p>
                <a:endParaRPr lang="en-GB" dirty="0"/>
              </a:p>
            </p:txBody>
          </p:sp>
        </p:grpSp>
        <p:grpSp>
          <p:nvGrpSpPr>
            <p:cNvPr id="167" name="Gruppieren 534">
              <a:extLst>
                <a:ext uri="{FF2B5EF4-FFF2-40B4-BE49-F238E27FC236}">
                  <a16:creationId xmlns:a16="http://schemas.microsoft.com/office/drawing/2014/main" id="{A96D3E42-4A37-4666-92D7-BA01709194B0}"/>
                </a:ext>
              </a:extLst>
            </p:cNvPr>
            <p:cNvGrpSpPr/>
            <p:nvPr/>
          </p:nvGrpSpPr>
          <p:grpSpPr>
            <a:xfrm>
              <a:off x="2746647" y="2548349"/>
              <a:ext cx="348541" cy="191985"/>
              <a:chOff x="3564992" y="4439476"/>
              <a:chExt cx="370347" cy="203996"/>
            </a:xfrm>
          </p:grpSpPr>
          <p:sp>
            <p:nvSpPr>
              <p:cNvPr id="168" name="Freihandform: Form 256">
                <a:extLst>
                  <a:ext uri="{FF2B5EF4-FFF2-40B4-BE49-F238E27FC236}">
                    <a16:creationId xmlns:a16="http://schemas.microsoft.com/office/drawing/2014/main" id="{D79C8F0C-154E-4695-915B-24D23A23D19D}"/>
                  </a:ext>
                </a:extLst>
              </p:cNvPr>
              <p:cNvSpPr/>
              <p:nvPr/>
            </p:nvSpPr>
            <p:spPr>
              <a:xfrm>
                <a:off x="3627588" y="4462641"/>
                <a:ext cx="139100" cy="13911"/>
              </a:xfrm>
              <a:custGeom>
                <a:avLst/>
                <a:gdLst>
                  <a:gd name="connsiteX0" fmla="*/ 132145 w 139100"/>
                  <a:gd name="connsiteY0" fmla="*/ 13911 h 13911"/>
                  <a:gd name="connsiteX1" fmla="*/ 6956 w 139100"/>
                  <a:gd name="connsiteY1" fmla="*/ 13911 h 13911"/>
                  <a:gd name="connsiteX2" fmla="*/ 0 w 139100"/>
                  <a:gd name="connsiteY2" fmla="*/ 6956 h 13911"/>
                  <a:gd name="connsiteX3" fmla="*/ 6956 w 139100"/>
                  <a:gd name="connsiteY3" fmla="*/ 0 h 13911"/>
                  <a:gd name="connsiteX4" fmla="*/ 132145 w 139100"/>
                  <a:gd name="connsiteY4" fmla="*/ 0 h 13911"/>
                  <a:gd name="connsiteX5" fmla="*/ 139100 w 139100"/>
                  <a:gd name="connsiteY5" fmla="*/ 6956 h 13911"/>
                  <a:gd name="connsiteX6" fmla="*/ 132145 w 139100"/>
                  <a:gd name="connsiteY6" fmla="*/ 13911 h 1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100" h="13911">
                    <a:moveTo>
                      <a:pt x="132145" y="13911"/>
                    </a:moveTo>
                    <a:lnTo>
                      <a:pt x="6956" y="13911"/>
                    </a:lnTo>
                    <a:cubicBezTo>
                      <a:pt x="3112" y="13911"/>
                      <a:pt x="0" y="10799"/>
                      <a:pt x="0" y="6956"/>
                    </a:cubicBezTo>
                    <a:cubicBezTo>
                      <a:pt x="0" y="3112"/>
                      <a:pt x="3112" y="0"/>
                      <a:pt x="6956" y="0"/>
                    </a:cubicBezTo>
                    <a:lnTo>
                      <a:pt x="132145" y="0"/>
                    </a:lnTo>
                    <a:cubicBezTo>
                      <a:pt x="135988" y="0"/>
                      <a:pt x="139100" y="3112"/>
                      <a:pt x="139100" y="6956"/>
                    </a:cubicBezTo>
                    <a:cubicBezTo>
                      <a:pt x="139100" y="10799"/>
                      <a:pt x="135988" y="13911"/>
                      <a:pt x="132145" y="13911"/>
                    </a:cubicBezTo>
                    <a:close/>
                  </a:path>
                </a:pathLst>
              </a:custGeom>
              <a:solidFill>
                <a:schemeClr val="accent1"/>
              </a:solidFill>
              <a:ln w="314" cap="flat">
                <a:noFill/>
                <a:prstDash val="solid"/>
                <a:miter/>
              </a:ln>
            </p:spPr>
            <p:txBody>
              <a:bodyPr rtlCol="0" anchor="ctr"/>
              <a:lstStyle/>
              <a:p>
                <a:endParaRPr lang="en-GB" dirty="0"/>
              </a:p>
            </p:txBody>
          </p:sp>
          <p:sp>
            <p:nvSpPr>
              <p:cNvPr id="169" name="Freihandform: Form 257">
                <a:extLst>
                  <a:ext uri="{FF2B5EF4-FFF2-40B4-BE49-F238E27FC236}">
                    <a16:creationId xmlns:a16="http://schemas.microsoft.com/office/drawing/2014/main" id="{7D0278AE-0593-49E8-954A-E9C1EC6451F1}"/>
                  </a:ext>
                </a:extLst>
              </p:cNvPr>
              <p:cNvSpPr/>
              <p:nvPr/>
            </p:nvSpPr>
            <p:spPr>
              <a:xfrm>
                <a:off x="3627588" y="4539147"/>
                <a:ext cx="125189" cy="13911"/>
              </a:xfrm>
              <a:custGeom>
                <a:avLst/>
                <a:gdLst>
                  <a:gd name="connsiteX0" fmla="*/ 118234 w 125189"/>
                  <a:gd name="connsiteY0" fmla="*/ 13911 h 13911"/>
                  <a:gd name="connsiteX1" fmla="*/ 6956 w 125189"/>
                  <a:gd name="connsiteY1" fmla="*/ 13911 h 13911"/>
                  <a:gd name="connsiteX2" fmla="*/ 0 w 125189"/>
                  <a:gd name="connsiteY2" fmla="*/ 6956 h 13911"/>
                  <a:gd name="connsiteX3" fmla="*/ 6956 w 125189"/>
                  <a:gd name="connsiteY3" fmla="*/ 0 h 13911"/>
                  <a:gd name="connsiteX4" fmla="*/ 118234 w 125189"/>
                  <a:gd name="connsiteY4" fmla="*/ 0 h 13911"/>
                  <a:gd name="connsiteX5" fmla="*/ 125189 w 125189"/>
                  <a:gd name="connsiteY5" fmla="*/ 6956 h 13911"/>
                  <a:gd name="connsiteX6" fmla="*/ 118234 w 125189"/>
                  <a:gd name="connsiteY6" fmla="*/ 13911 h 1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189" h="13911">
                    <a:moveTo>
                      <a:pt x="118234" y="13911"/>
                    </a:moveTo>
                    <a:lnTo>
                      <a:pt x="6956" y="13911"/>
                    </a:lnTo>
                    <a:cubicBezTo>
                      <a:pt x="3112" y="13911"/>
                      <a:pt x="0" y="10799"/>
                      <a:pt x="0" y="6956"/>
                    </a:cubicBezTo>
                    <a:cubicBezTo>
                      <a:pt x="0" y="3112"/>
                      <a:pt x="3112" y="0"/>
                      <a:pt x="6956" y="0"/>
                    </a:cubicBezTo>
                    <a:lnTo>
                      <a:pt x="118234" y="0"/>
                    </a:lnTo>
                    <a:cubicBezTo>
                      <a:pt x="122077" y="0"/>
                      <a:pt x="125189" y="3112"/>
                      <a:pt x="125189" y="6956"/>
                    </a:cubicBezTo>
                    <a:cubicBezTo>
                      <a:pt x="125189" y="10799"/>
                      <a:pt x="122077" y="13911"/>
                      <a:pt x="118234" y="13911"/>
                    </a:cubicBezTo>
                    <a:close/>
                  </a:path>
                </a:pathLst>
              </a:custGeom>
              <a:solidFill>
                <a:schemeClr val="accent1"/>
              </a:solidFill>
              <a:ln w="314" cap="flat">
                <a:noFill/>
                <a:prstDash val="solid"/>
                <a:miter/>
              </a:ln>
            </p:spPr>
            <p:txBody>
              <a:bodyPr rtlCol="0" anchor="ctr"/>
              <a:lstStyle/>
              <a:p>
                <a:endParaRPr lang="en-GB" dirty="0"/>
              </a:p>
            </p:txBody>
          </p:sp>
          <p:sp>
            <p:nvSpPr>
              <p:cNvPr id="170" name="Freihandform: Form 258">
                <a:extLst>
                  <a:ext uri="{FF2B5EF4-FFF2-40B4-BE49-F238E27FC236}">
                    <a16:creationId xmlns:a16="http://schemas.microsoft.com/office/drawing/2014/main" id="{4E4FCBCD-906D-46D5-AE37-4CA3FDD04BF0}"/>
                  </a:ext>
                </a:extLst>
              </p:cNvPr>
              <p:cNvSpPr/>
              <p:nvPr/>
            </p:nvSpPr>
            <p:spPr>
              <a:xfrm>
                <a:off x="3627588" y="4615650"/>
                <a:ext cx="104325" cy="13911"/>
              </a:xfrm>
              <a:custGeom>
                <a:avLst/>
                <a:gdLst>
                  <a:gd name="connsiteX0" fmla="*/ 97369 w 104325"/>
                  <a:gd name="connsiteY0" fmla="*/ 13911 h 13911"/>
                  <a:gd name="connsiteX1" fmla="*/ 6956 w 104325"/>
                  <a:gd name="connsiteY1" fmla="*/ 13911 h 13911"/>
                  <a:gd name="connsiteX2" fmla="*/ 0 w 104325"/>
                  <a:gd name="connsiteY2" fmla="*/ 6956 h 13911"/>
                  <a:gd name="connsiteX3" fmla="*/ 6956 w 104325"/>
                  <a:gd name="connsiteY3" fmla="*/ 0 h 13911"/>
                  <a:gd name="connsiteX4" fmla="*/ 97369 w 104325"/>
                  <a:gd name="connsiteY4" fmla="*/ 0 h 13911"/>
                  <a:gd name="connsiteX5" fmla="*/ 104325 w 104325"/>
                  <a:gd name="connsiteY5" fmla="*/ 6956 h 13911"/>
                  <a:gd name="connsiteX6" fmla="*/ 97369 w 104325"/>
                  <a:gd name="connsiteY6" fmla="*/ 13911 h 1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325" h="13911">
                    <a:moveTo>
                      <a:pt x="97369" y="13911"/>
                    </a:moveTo>
                    <a:lnTo>
                      <a:pt x="6956" y="13911"/>
                    </a:lnTo>
                    <a:cubicBezTo>
                      <a:pt x="3112" y="13911"/>
                      <a:pt x="0" y="10799"/>
                      <a:pt x="0" y="6956"/>
                    </a:cubicBezTo>
                    <a:cubicBezTo>
                      <a:pt x="0" y="3112"/>
                      <a:pt x="3112" y="0"/>
                      <a:pt x="6956" y="0"/>
                    </a:cubicBezTo>
                    <a:lnTo>
                      <a:pt x="97369" y="0"/>
                    </a:lnTo>
                    <a:cubicBezTo>
                      <a:pt x="101213" y="0"/>
                      <a:pt x="104325" y="3112"/>
                      <a:pt x="104325" y="6956"/>
                    </a:cubicBezTo>
                    <a:cubicBezTo>
                      <a:pt x="104325" y="10802"/>
                      <a:pt x="101213" y="13911"/>
                      <a:pt x="97369" y="13911"/>
                    </a:cubicBezTo>
                    <a:close/>
                  </a:path>
                </a:pathLst>
              </a:custGeom>
              <a:solidFill>
                <a:schemeClr val="accent1"/>
              </a:solidFill>
              <a:ln w="314" cap="flat">
                <a:noFill/>
                <a:prstDash val="solid"/>
                <a:miter/>
              </a:ln>
            </p:spPr>
            <p:txBody>
              <a:bodyPr rtlCol="0" anchor="ctr"/>
              <a:lstStyle/>
              <a:p>
                <a:endParaRPr lang="en-GB" dirty="0"/>
              </a:p>
            </p:txBody>
          </p:sp>
          <p:grpSp>
            <p:nvGrpSpPr>
              <p:cNvPr id="171" name="Graphic 25">
                <a:extLst>
                  <a:ext uri="{FF2B5EF4-FFF2-40B4-BE49-F238E27FC236}">
                    <a16:creationId xmlns:a16="http://schemas.microsoft.com/office/drawing/2014/main" id="{4B4FE786-1550-464C-9F59-22F7E13567BE}"/>
                  </a:ext>
                </a:extLst>
              </p:cNvPr>
              <p:cNvGrpSpPr/>
              <p:nvPr/>
            </p:nvGrpSpPr>
            <p:grpSpPr>
              <a:xfrm>
                <a:off x="3754499" y="4439476"/>
                <a:ext cx="180840" cy="181392"/>
                <a:chOff x="3754499" y="4439476"/>
                <a:chExt cx="180840" cy="181392"/>
              </a:xfrm>
              <a:solidFill>
                <a:schemeClr val="accent1"/>
              </a:solidFill>
            </p:grpSpPr>
            <p:sp>
              <p:nvSpPr>
                <p:cNvPr id="181" name="Freihandform: Form 261">
                  <a:extLst>
                    <a:ext uri="{FF2B5EF4-FFF2-40B4-BE49-F238E27FC236}">
                      <a16:creationId xmlns:a16="http://schemas.microsoft.com/office/drawing/2014/main" id="{F3284C74-8FD2-46A9-84FD-53ACB71B6CBC}"/>
                    </a:ext>
                  </a:extLst>
                </p:cNvPr>
                <p:cNvSpPr/>
                <p:nvPr/>
              </p:nvSpPr>
              <p:spPr>
                <a:xfrm>
                  <a:off x="3764256" y="4439476"/>
                  <a:ext cx="171083" cy="171476"/>
                </a:xfrm>
                <a:custGeom>
                  <a:avLst/>
                  <a:gdLst>
                    <a:gd name="connsiteX0" fmla="*/ 36520 w 171083"/>
                    <a:gd name="connsiteY0" fmla="*/ 171476 h 171476"/>
                    <a:gd name="connsiteX1" fmla="*/ 31611 w 171083"/>
                    <a:gd name="connsiteY1" fmla="*/ 169446 h 171476"/>
                    <a:gd name="connsiteX2" fmla="*/ 2045 w 171083"/>
                    <a:gd name="connsiteY2" fmla="*/ 139996 h 171476"/>
                    <a:gd name="connsiteX3" fmla="*/ 2032 w 171083"/>
                    <a:gd name="connsiteY3" fmla="*/ 130162 h 171476"/>
                    <a:gd name="connsiteX4" fmla="*/ 129640 w 171083"/>
                    <a:gd name="connsiteY4" fmla="*/ 2043 h 171476"/>
                    <a:gd name="connsiteX5" fmla="*/ 134555 w 171083"/>
                    <a:gd name="connsiteY5" fmla="*/ 0 h 171476"/>
                    <a:gd name="connsiteX6" fmla="*/ 134568 w 171083"/>
                    <a:gd name="connsiteY6" fmla="*/ 0 h 171476"/>
                    <a:gd name="connsiteX7" fmla="*/ 139477 w 171083"/>
                    <a:gd name="connsiteY7" fmla="*/ 2031 h 171476"/>
                    <a:gd name="connsiteX8" fmla="*/ 169050 w 171083"/>
                    <a:gd name="connsiteY8" fmla="*/ 31480 h 171476"/>
                    <a:gd name="connsiteX9" fmla="*/ 169050 w 171083"/>
                    <a:gd name="connsiteY9" fmla="*/ 41315 h 171476"/>
                    <a:gd name="connsiteX10" fmla="*/ 41449 w 171083"/>
                    <a:gd name="connsiteY10" fmla="*/ 169433 h 171476"/>
                    <a:gd name="connsiteX11" fmla="*/ 36530 w 171083"/>
                    <a:gd name="connsiteY11" fmla="*/ 171476 h 171476"/>
                    <a:gd name="connsiteX12" fmla="*/ 36520 w 171083"/>
                    <a:gd name="connsiteY12" fmla="*/ 171476 h 171476"/>
                    <a:gd name="connsiteX13" fmla="*/ 16789 w 171083"/>
                    <a:gd name="connsiteY13" fmla="*/ 135052 h 171476"/>
                    <a:gd name="connsiteX14" fmla="*/ 36498 w 171083"/>
                    <a:gd name="connsiteY14" fmla="*/ 154686 h 171476"/>
                    <a:gd name="connsiteX15" fmla="*/ 154296 w 171083"/>
                    <a:gd name="connsiteY15" fmla="*/ 36424 h 171476"/>
                    <a:gd name="connsiteX16" fmla="*/ 134587 w 171083"/>
                    <a:gd name="connsiteY16" fmla="*/ 16787 h 171476"/>
                    <a:gd name="connsiteX17" fmla="*/ 16789 w 171083"/>
                    <a:gd name="connsiteY17" fmla="*/ 135052 h 171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083" h="171476">
                      <a:moveTo>
                        <a:pt x="36520" y="171476"/>
                      </a:moveTo>
                      <a:cubicBezTo>
                        <a:pt x="34679" y="171476"/>
                        <a:pt x="32913" y="170748"/>
                        <a:pt x="31611" y="169446"/>
                      </a:cubicBezTo>
                      <a:lnTo>
                        <a:pt x="2045" y="139996"/>
                      </a:lnTo>
                      <a:cubicBezTo>
                        <a:pt x="-673" y="137287"/>
                        <a:pt x="-686" y="132886"/>
                        <a:pt x="2032" y="130162"/>
                      </a:cubicBezTo>
                      <a:lnTo>
                        <a:pt x="129640" y="2043"/>
                      </a:lnTo>
                      <a:cubicBezTo>
                        <a:pt x="130945" y="738"/>
                        <a:pt x="132711" y="6"/>
                        <a:pt x="134555" y="0"/>
                      </a:cubicBezTo>
                      <a:cubicBezTo>
                        <a:pt x="134562" y="0"/>
                        <a:pt x="134562" y="0"/>
                        <a:pt x="134568" y="0"/>
                      </a:cubicBezTo>
                      <a:cubicBezTo>
                        <a:pt x="136409" y="0"/>
                        <a:pt x="138175" y="725"/>
                        <a:pt x="139477" y="2031"/>
                      </a:cubicBezTo>
                      <a:lnTo>
                        <a:pt x="169050" y="31480"/>
                      </a:lnTo>
                      <a:cubicBezTo>
                        <a:pt x="171761" y="34189"/>
                        <a:pt x="171761" y="38590"/>
                        <a:pt x="169050" y="41315"/>
                      </a:cubicBezTo>
                      <a:lnTo>
                        <a:pt x="41449" y="169433"/>
                      </a:lnTo>
                      <a:cubicBezTo>
                        <a:pt x="40143" y="170738"/>
                        <a:pt x="38378" y="171470"/>
                        <a:pt x="36530" y="171476"/>
                      </a:cubicBezTo>
                      <a:cubicBezTo>
                        <a:pt x="36527" y="171476"/>
                        <a:pt x="36527" y="171476"/>
                        <a:pt x="36520" y="171476"/>
                      </a:cubicBezTo>
                      <a:close/>
                      <a:moveTo>
                        <a:pt x="16789" y="135052"/>
                      </a:moveTo>
                      <a:lnTo>
                        <a:pt x="36498" y="154686"/>
                      </a:lnTo>
                      <a:lnTo>
                        <a:pt x="154296" y="36424"/>
                      </a:lnTo>
                      <a:lnTo>
                        <a:pt x="134587" y="16787"/>
                      </a:lnTo>
                      <a:lnTo>
                        <a:pt x="16789" y="135052"/>
                      </a:lnTo>
                      <a:close/>
                    </a:path>
                  </a:pathLst>
                </a:custGeom>
                <a:solidFill>
                  <a:schemeClr val="accent1"/>
                </a:solidFill>
                <a:ln w="314" cap="flat">
                  <a:noFill/>
                  <a:prstDash val="solid"/>
                  <a:miter/>
                </a:ln>
              </p:spPr>
              <p:txBody>
                <a:bodyPr rtlCol="0" anchor="ctr"/>
                <a:lstStyle/>
                <a:p>
                  <a:endParaRPr lang="en-GB" dirty="0"/>
                </a:p>
              </p:txBody>
            </p:sp>
            <p:sp>
              <p:nvSpPr>
                <p:cNvPr id="182" name="Freihandform: Form 262">
                  <a:extLst>
                    <a:ext uri="{FF2B5EF4-FFF2-40B4-BE49-F238E27FC236}">
                      <a16:creationId xmlns:a16="http://schemas.microsoft.com/office/drawing/2014/main" id="{F6CD276E-B9B7-478F-B316-16D244AF116F}"/>
                    </a:ext>
                  </a:extLst>
                </p:cNvPr>
                <p:cNvSpPr/>
                <p:nvPr/>
              </p:nvSpPr>
              <p:spPr>
                <a:xfrm>
                  <a:off x="3754499" y="4567589"/>
                  <a:ext cx="53233" cy="53278"/>
                </a:xfrm>
                <a:custGeom>
                  <a:avLst/>
                  <a:gdLst>
                    <a:gd name="connsiteX0" fmla="*/ 6953 w 53233"/>
                    <a:gd name="connsiteY0" fmla="*/ 53279 h 53278"/>
                    <a:gd name="connsiteX1" fmla="*/ 2044 w 53233"/>
                    <a:gd name="connsiteY1" fmla="*/ 51255 h 53278"/>
                    <a:gd name="connsiteX2" fmla="*/ 202 w 53233"/>
                    <a:gd name="connsiteY2" fmla="*/ 44652 h 53278"/>
                    <a:gd name="connsiteX3" fmla="*/ 9961 w 53233"/>
                    <a:gd name="connsiteY3" fmla="*/ 5286 h 53278"/>
                    <a:gd name="connsiteX4" fmla="*/ 14845 w 53233"/>
                    <a:gd name="connsiteY4" fmla="*/ 260 h 53278"/>
                    <a:gd name="connsiteX5" fmla="*/ 21624 w 53233"/>
                    <a:gd name="connsiteY5" fmla="*/ 2032 h 53278"/>
                    <a:gd name="connsiteX6" fmla="*/ 51190 w 53233"/>
                    <a:gd name="connsiteY6" fmla="*/ 31482 h 53278"/>
                    <a:gd name="connsiteX7" fmla="*/ 52984 w 53233"/>
                    <a:gd name="connsiteY7" fmla="*/ 38248 h 53278"/>
                    <a:gd name="connsiteX8" fmla="*/ 47977 w 53233"/>
                    <a:gd name="connsiteY8" fmla="*/ 43151 h 53278"/>
                    <a:gd name="connsiteX9" fmla="*/ 8652 w 53233"/>
                    <a:gd name="connsiteY9" fmla="*/ 53068 h 53278"/>
                    <a:gd name="connsiteX10" fmla="*/ 6953 w 53233"/>
                    <a:gd name="connsiteY10" fmla="*/ 53279 h 53278"/>
                    <a:gd name="connsiteX11" fmla="*/ 20508 w 53233"/>
                    <a:gd name="connsiteY11" fmla="*/ 20557 h 53278"/>
                    <a:gd name="connsiteX12" fmla="*/ 16494 w 53233"/>
                    <a:gd name="connsiteY12" fmla="*/ 36747 h 53278"/>
                    <a:gd name="connsiteX13" fmla="*/ 32666 w 53233"/>
                    <a:gd name="connsiteY13" fmla="*/ 32664 h 53278"/>
                    <a:gd name="connsiteX14" fmla="*/ 20508 w 53233"/>
                    <a:gd name="connsiteY14" fmla="*/ 20557 h 53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233" h="53278">
                      <a:moveTo>
                        <a:pt x="6953" y="53279"/>
                      </a:moveTo>
                      <a:cubicBezTo>
                        <a:pt x="5134" y="53279"/>
                        <a:pt x="3368" y="52566"/>
                        <a:pt x="2044" y="51255"/>
                      </a:cubicBezTo>
                      <a:cubicBezTo>
                        <a:pt x="319" y="49530"/>
                        <a:pt x="-381" y="47023"/>
                        <a:pt x="202" y="44652"/>
                      </a:cubicBezTo>
                      <a:lnTo>
                        <a:pt x="9961" y="5286"/>
                      </a:lnTo>
                      <a:cubicBezTo>
                        <a:pt x="10566" y="2855"/>
                        <a:pt x="12427" y="932"/>
                        <a:pt x="14845" y="260"/>
                      </a:cubicBezTo>
                      <a:cubicBezTo>
                        <a:pt x="17257" y="-424"/>
                        <a:pt x="19842" y="266"/>
                        <a:pt x="21624" y="2032"/>
                      </a:cubicBezTo>
                      <a:lnTo>
                        <a:pt x="51190" y="31482"/>
                      </a:lnTo>
                      <a:cubicBezTo>
                        <a:pt x="52962" y="33248"/>
                        <a:pt x="53650" y="35836"/>
                        <a:pt x="52984" y="38248"/>
                      </a:cubicBezTo>
                      <a:cubicBezTo>
                        <a:pt x="52325" y="40667"/>
                        <a:pt x="50411" y="42540"/>
                        <a:pt x="47977" y="43151"/>
                      </a:cubicBezTo>
                      <a:lnTo>
                        <a:pt x="8652" y="53068"/>
                      </a:lnTo>
                      <a:cubicBezTo>
                        <a:pt x="8085" y="53213"/>
                        <a:pt x="7514" y="53279"/>
                        <a:pt x="6953" y="53279"/>
                      </a:cubicBezTo>
                      <a:close/>
                      <a:moveTo>
                        <a:pt x="20508" y="20557"/>
                      </a:moveTo>
                      <a:lnTo>
                        <a:pt x="16494" y="36747"/>
                      </a:lnTo>
                      <a:lnTo>
                        <a:pt x="32666" y="32664"/>
                      </a:lnTo>
                      <a:lnTo>
                        <a:pt x="20508" y="20557"/>
                      </a:lnTo>
                      <a:close/>
                    </a:path>
                  </a:pathLst>
                </a:custGeom>
                <a:solidFill>
                  <a:schemeClr val="accent1"/>
                </a:solidFill>
                <a:ln w="314" cap="flat">
                  <a:noFill/>
                  <a:prstDash val="solid"/>
                  <a:miter/>
                </a:ln>
              </p:spPr>
              <p:txBody>
                <a:bodyPr rtlCol="0" anchor="ctr"/>
                <a:lstStyle/>
                <a:p>
                  <a:endParaRPr lang="en-GB" dirty="0"/>
                </a:p>
              </p:txBody>
            </p:sp>
          </p:grpSp>
          <p:grpSp>
            <p:nvGrpSpPr>
              <p:cNvPr id="172" name="Graphic 25">
                <a:extLst>
                  <a:ext uri="{FF2B5EF4-FFF2-40B4-BE49-F238E27FC236}">
                    <a16:creationId xmlns:a16="http://schemas.microsoft.com/office/drawing/2014/main" id="{EDA8271C-2BC2-4027-B8F1-CC06A2EFACFB}"/>
                  </a:ext>
                </a:extLst>
              </p:cNvPr>
              <p:cNvGrpSpPr/>
              <p:nvPr/>
            </p:nvGrpSpPr>
            <p:grpSpPr>
              <a:xfrm>
                <a:off x="3564992" y="4525237"/>
                <a:ext cx="41730" cy="41729"/>
                <a:chOff x="3564992" y="4525237"/>
                <a:chExt cx="41730" cy="41729"/>
              </a:xfrm>
              <a:solidFill>
                <a:schemeClr val="accent1"/>
              </a:solidFill>
            </p:grpSpPr>
            <p:sp>
              <p:nvSpPr>
                <p:cNvPr id="179" name="Freihandform: Form 264">
                  <a:extLst>
                    <a:ext uri="{FF2B5EF4-FFF2-40B4-BE49-F238E27FC236}">
                      <a16:creationId xmlns:a16="http://schemas.microsoft.com/office/drawing/2014/main" id="{584A1DEA-FA50-4194-8697-9C1F510AF66F}"/>
                    </a:ext>
                  </a:extLst>
                </p:cNvPr>
                <p:cNvSpPr/>
                <p:nvPr/>
              </p:nvSpPr>
              <p:spPr>
                <a:xfrm>
                  <a:off x="3564992" y="4525239"/>
                  <a:ext cx="41730" cy="41728"/>
                </a:xfrm>
                <a:custGeom>
                  <a:avLst/>
                  <a:gdLst>
                    <a:gd name="connsiteX0" fmla="*/ 34777 w 41730"/>
                    <a:gd name="connsiteY0" fmla="*/ 41728 h 41728"/>
                    <a:gd name="connsiteX1" fmla="*/ 29858 w 41730"/>
                    <a:gd name="connsiteY1" fmla="*/ 39691 h 41728"/>
                    <a:gd name="connsiteX2" fmla="*/ 2038 w 41730"/>
                    <a:gd name="connsiteY2" fmla="*/ 11872 h 41728"/>
                    <a:gd name="connsiteX3" fmla="*/ 2038 w 41730"/>
                    <a:gd name="connsiteY3" fmla="*/ 2037 h 41728"/>
                    <a:gd name="connsiteX4" fmla="*/ 11873 w 41730"/>
                    <a:gd name="connsiteY4" fmla="*/ 2037 h 41728"/>
                    <a:gd name="connsiteX5" fmla="*/ 39692 w 41730"/>
                    <a:gd name="connsiteY5" fmla="*/ 29857 h 41728"/>
                    <a:gd name="connsiteX6" fmla="*/ 39692 w 41730"/>
                    <a:gd name="connsiteY6" fmla="*/ 39691 h 41728"/>
                    <a:gd name="connsiteX7" fmla="*/ 34777 w 41730"/>
                    <a:gd name="connsiteY7" fmla="*/ 41728 h 4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30" h="41728">
                      <a:moveTo>
                        <a:pt x="34777" y="41728"/>
                      </a:moveTo>
                      <a:cubicBezTo>
                        <a:pt x="32998" y="41728"/>
                        <a:pt x="31217" y="41050"/>
                        <a:pt x="29858" y="39691"/>
                      </a:cubicBezTo>
                      <a:lnTo>
                        <a:pt x="2038" y="11872"/>
                      </a:lnTo>
                      <a:cubicBezTo>
                        <a:pt x="-679" y="9154"/>
                        <a:pt x="-679" y="4752"/>
                        <a:pt x="2038" y="2037"/>
                      </a:cubicBezTo>
                      <a:cubicBezTo>
                        <a:pt x="4756" y="-677"/>
                        <a:pt x="9158" y="-681"/>
                        <a:pt x="11873" y="2037"/>
                      </a:cubicBezTo>
                      <a:lnTo>
                        <a:pt x="39692" y="29857"/>
                      </a:lnTo>
                      <a:cubicBezTo>
                        <a:pt x="42410" y="32575"/>
                        <a:pt x="42410" y="36973"/>
                        <a:pt x="39692" y="39691"/>
                      </a:cubicBezTo>
                      <a:cubicBezTo>
                        <a:pt x="38333" y="41050"/>
                        <a:pt x="36555" y="41728"/>
                        <a:pt x="34777" y="41728"/>
                      </a:cubicBezTo>
                      <a:close/>
                    </a:path>
                  </a:pathLst>
                </a:custGeom>
                <a:solidFill>
                  <a:schemeClr val="accent1"/>
                </a:solidFill>
                <a:ln w="314" cap="flat">
                  <a:noFill/>
                  <a:prstDash val="solid"/>
                  <a:miter/>
                </a:ln>
              </p:spPr>
              <p:txBody>
                <a:bodyPr rtlCol="0" anchor="ctr"/>
                <a:lstStyle/>
                <a:p>
                  <a:endParaRPr lang="en-GB" dirty="0"/>
                </a:p>
              </p:txBody>
            </p:sp>
            <p:sp>
              <p:nvSpPr>
                <p:cNvPr id="180" name="Freihandform: Form 265">
                  <a:extLst>
                    <a:ext uri="{FF2B5EF4-FFF2-40B4-BE49-F238E27FC236}">
                      <a16:creationId xmlns:a16="http://schemas.microsoft.com/office/drawing/2014/main" id="{69BE5334-B4C2-499F-A419-29F1E54DA7AC}"/>
                    </a:ext>
                  </a:extLst>
                </p:cNvPr>
                <p:cNvSpPr/>
                <p:nvPr/>
              </p:nvSpPr>
              <p:spPr>
                <a:xfrm>
                  <a:off x="3564992" y="4525237"/>
                  <a:ext cx="41730" cy="41729"/>
                </a:xfrm>
                <a:custGeom>
                  <a:avLst/>
                  <a:gdLst>
                    <a:gd name="connsiteX0" fmla="*/ 6957 w 41730"/>
                    <a:gd name="connsiteY0" fmla="*/ 41729 h 41729"/>
                    <a:gd name="connsiteX1" fmla="*/ 2038 w 41730"/>
                    <a:gd name="connsiteY1" fmla="*/ 39692 h 41729"/>
                    <a:gd name="connsiteX2" fmla="*/ 2038 w 41730"/>
                    <a:gd name="connsiteY2" fmla="*/ 29858 h 41729"/>
                    <a:gd name="connsiteX3" fmla="*/ 29858 w 41730"/>
                    <a:gd name="connsiteY3" fmla="*/ 2038 h 41729"/>
                    <a:gd name="connsiteX4" fmla="*/ 39692 w 41730"/>
                    <a:gd name="connsiteY4" fmla="*/ 2038 h 41729"/>
                    <a:gd name="connsiteX5" fmla="*/ 39692 w 41730"/>
                    <a:gd name="connsiteY5" fmla="*/ 11873 h 41729"/>
                    <a:gd name="connsiteX6" fmla="*/ 11873 w 41730"/>
                    <a:gd name="connsiteY6" fmla="*/ 39692 h 41729"/>
                    <a:gd name="connsiteX7" fmla="*/ 6957 w 41730"/>
                    <a:gd name="connsiteY7" fmla="*/ 41729 h 4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30" h="41729">
                      <a:moveTo>
                        <a:pt x="6957" y="41729"/>
                      </a:moveTo>
                      <a:cubicBezTo>
                        <a:pt x="5179" y="41729"/>
                        <a:pt x="3397" y="41051"/>
                        <a:pt x="2038" y="39692"/>
                      </a:cubicBezTo>
                      <a:cubicBezTo>
                        <a:pt x="-679" y="36974"/>
                        <a:pt x="-679" y="32573"/>
                        <a:pt x="2038" y="29858"/>
                      </a:cubicBezTo>
                      <a:lnTo>
                        <a:pt x="29858" y="2038"/>
                      </a:lnTo>
                      <a:cubicBezTo>
                        <a:pt x="32576" y="-679"/>
                        <a:pt x="36974" y="-679"/>
                        <a:pt x="39692" y="2038"/>
                      </a:cubicBezTo>
                      <a:cubicBezTo>
                        <a:pt x="42410" y="4756"/>
                        <a:pt x="42410" y="9158"/>
                        <a:pt x="39692" y="11873"/>
                      </a:cubicBezTo>
                      <a:lnTo>
                        <a:pt x="11873" y="39692"/>
                      </a:lnTo>
                      <a:cubicBezTo>
                        <a:pt x="10514" y="41051"/>
                        <a:pt x="8735" y="41729"/>
                        <a:pt x="6957" y="41729"/>
                      </a:cubicBezTo>
                      <a:close/>
                    </a:path>
                  </a:pathLst>
                </a:custGeom>
                <a:solidFill>
                  <a:schemeClr val="accent1"/>
                </a:solidFill>
                <a:ln w="314" cap="flat">
                  <a:noFill/>
                  <a:prstDash val="solid"/>
                  <a:miter/>
                </a:ln>
              </p:spPr>
              <p:txBody>
                <a:bodyPr rtlCol="0" anchor="ctr"/>
                <a:lstStyle/>
                <a:p>
                  <a:endParaRPr lang="en-GB" dirty="0"/>
                </a:p>
              </p:txBody>
            </p:sp>
          </p:grpSp>
          <p:grpSp>
            <p:nvGrpSpPr>
              <p:cNvPr id="173" name="Graphic 25">
                <a:extLst>
                  <a:ext uri="{FF2B5EF4-FFF2-40B4-BE49-F238E27FC236}">
                    <a16:creationId xmlns:a16="http://schemas.microsoft.com/office/drawing/2014/main" id="{BED30DD5-9E65-446E-98D7-63B0A7859771}"/>
                  </a:ext>
                </a:extLst>
              </p:cNvPr>
              <p:cNvGrpSpPr/>
              <p:nvPr/>
            </p:nvGrpSpPr>
            <p:grpSpPr>
              <a:xfrm>
                <a:off x="3564992" y="4601743"/>
                <a:ext cx="41730" cy="41729"/>
                <a:chOff x="3564992" y="4601743"/>
                <a:chExt cx="41730" cy="41729"/>
              </a:xfrm>
              <a:solidFill>
                <a:schemeClr val="accent1"/>
              </a:solidFill>
            </p:grpSpPr>
            <p:sp>
              <p:nvSpPr>
                <p:cNvPr id="177" name="Freihandform: Form 267">
                  <a:extLst>
                    <a:ext uri="{FF2B5EF4-FFF2-40B4-BE49-F238E27FC236}">
                      <a16:creationId xmlns:a16="http://schemas.microsoft.com/office/drawing/2014/main" id="{64C0A75F-1130-4A3C-8202-05359356F99C}"/>
                    </a:ext>
                  </a:extLst>
                </p:cNvPr>
                <p:cNvSpPr/>
                <p:nvPr/>
              </p:nvSpPr>
              <p:spPr>
                <a:xfrm>
                  <a:off x="3564992" y="4601744"/>
                  <a:ext cx="41730" cy="41728"/>
                </a:xfrm>
                <a:custGeom>
                  <a:avLst/>
                  <a:gdLst>
                    <a:gd name="connsiteX0" fmla="*/ 34777 w 41730"/>
                    <a:gd name="connsiteY0" fmla="*/ 41728 h 41728"/>
                    <a:gd name="connsiteX1" fmla="*/ 29858 w 41730"/>
                    <a:gd name="connsiteY1" fmla="*/ 39691 h 41728"/>
                    <a:gd name="connsiteX2" fmla="*/ 2038 w 41730"/>
                    <a:gd name="connsiteY2" fmla="*/ 11872 h 41728"/>
                    <a:gd name="connsiteX3" fmla="*/ 2038 w 41730"/>
                    <a:gd name="connsiteY3" fmla="*/ 2037 h 41728"/>
                    <a:gd name="connsiteX4" fmla="*/ 11873 w 41730"/>
                    <a:gd name="connsiteY4" fmla="*/ 2037 h 41728"/>
                    <a:gd name="connsiteX5" fmla="*/ 39692 w 41730"/>
                    <a:gd name="connsiteY5" fmla="*/ 29857 h 41728"/>
                    <a:gd name="connsiteX6" fmla="*/ 39692 w 41730"/>
                    <a:gd name="connsiteY6" fmla="*/ 39691 h 41728"/>
                    <a:gd name="connsiteX7" fmla="*/ 34777 w 41730"/>
                    <a:gd name="connsiteY7" fmla="*/ 41728 h 4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30" h="41728">
                      <a:moveTo>
                        <a:pt x="34777" y="41728"/>
                      </a:moveTo>
                      <a:cubicBezTo>
                        <a:pt x="32998" y="41728"/>
                        <a:pt x="31217" y="41050"/>
                        <a:pt x="29858" y="39691"/>
                      </a:cubicBezTo>
                      <a:lnTo>
                        <a:pt x="2038" y="11872"/>
                      </a:lnTo>
                      <a:cubicBezTo>
                        <a:pt x="-679" y="9154"/>
                        <a:pt x="-679" y="4752"/>
                        <a:pt x="2038" y="2037"/>
                      </a:cubicBezTo>
                      <a:cubicBezTo>
                        <a:pt x="4756" y="-678"/>
                        <a:pt x="9158" y="-681"/>
                        <a:pt x="11873" y="2037"/>
                      </a:cubicBezTo>
                      <a:lnTo>
                        <a:pt x="39692" y="29857"/>
                      </a:lnTo>
                      <a:cubicBezTo>
                        <a:pt x="42410" y="32575"/>
                        <a:pt x="42410" y="36976"/>
                        <a:pt x="39692" y="39691"/>
                      </a:cubicBezTo>
                      <a:cubicBezTo>
                        <a:pt x="38333" y="41047"/>
                        <a:pt x="36555" y="41728"/>
                        <a:pt x="34777" y="41728"/>
                      </a:cubicBezTo>
                      <a:close/>
                    </a:path>
                  </a:pathLst>
                </a:custGeom>
                <a:solidFill>
                  <a:schemeClr val="accent1"/>
                </a:solidFill>
                <a:ln w="314" cap="flat">
                  <a:noFill/>
                  <a:prstDash val="solid"/>
                  <a:miter/>
                </a:ln>
              </p:spPr>
              <p:txBody>
                <a:bodyPr rtlCol="0" anchor="ctr"/>
                <a:lstStyle/>
                <a:p>
                  <a:endParaRPr lang="en-GB" dirty="0"/>
                </a:p>
              </p:txBody>
            </p:sp>
            <p:sp>
              <p:nvSpPr>
                <p:cNvPr id="178" name="Freihandform: Form 268">
                  <a:extLst>
                    <a:ext uri="{FF2B5EF4-FFF2-40B4-BE49-F238E27FC236}">
                      <a16:creationId xmlns:a16="http://schemas.microsoft.com/office/drawing/2014/main" id="{0C274FAB-0E0C-4C47-AAA0-FBD0B8352AB7}"/>
                    </a:ext>
                  </a:extLst>
                </p:cNvPr>
                <p:cNvSpPr/>
                <p:nvPr/>
              </p:nvSpPr>
              <p:spPr>
                <a:xfrm>
                  <a:off x="3564992" y="4601743"/>
                  <a:ext cx="41730" cy="41729"/>
                </a:xfrm>
                <a:custGeom>
                  <a:avLst/>
                  <a:gdLst>
                    <a:gd name="connsiteX0" fmla="*/ 6957 w 41730"/>
                    <a:gd name="connsiteY0" fmla="*/ 41729 h 41729"/>
                    <a:gd name="connsiteX1" fmla="*/ 2038 w 41730"/>
                    <a:gd name="connsiteY1" fmla="*/ 39692 h 41729"/>
                    <a:gd name="connsiteX2" fmla="*/ 2038 w 41730"/>
                    <a:gd name="connsiteY2" fmla="*/ 29858 h 41729"/>
                    <a:gd name="connsiteX3" fmla="*/ 29858 w 41730"/>
                    <a:gd name="connsiteY3" fmla="*/ 2038 h 41729"/>
                    <a:gd name="connsiteX4" fmla="*/ 39692 w 41730"/>
                    <a:gd name="connsiteY4" fmla="*/ 2038 h 41729"/>
                    <a:gd name="connsiteX5" fmla="*/ 39692 w 41730"/>
                    <a:gd name="connsiteY5" fmla="*/ 11873 h 41729"/>
                    <a:gd name="connsiteX6" fmla="*/ 11873 w 41730"/>
                    <a:gd name="connsiteY6" fmla="*/ 39692 h 41729"/>
                    <a:gd name="connsiteX7" fmla="*/ 6957 w 41730"/>
                    <a:gd name="connsiteY7" fmla="*/ 41729 h 4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30" h="41729">
                      <a:moveTo>
                        <a:pt x="6957" y="41729"/>
                      </a:moveTo>
                      <a:cubicBezTo>
                        <a:pt x="5179" y="41729"/>
                        <a:pt x="3397" y="41051"/>
                        <a:pt x="2038" y="39692"/>
                      </a:cubicBezTo>
                      <a:cubicBezTo>
                        <a:pt x="-679" y="36974"/>
                        <a:pt x="-679" y="32573"/>
                        <a:pt x="2038" y="29858"/>
                      </a:cubicBezTo>
                      <a:lnTo>
                        <a:pt x="29858" y="2038"/>
                      </a:lnTo>
                      <a:cubicBezTo>
                        <a:pt x="32576" y="-679"/>
                        <a:pt x="36974" y="-679"/>
                        <a:pt x="39692" y="2038"/>
                      </a:cubicBezTo>
                      <a:cubicBezTo>
                        <a:pt x="42410" y="4756"/>
                        <a:pt x="42410" y="9158"/>
                        <a:pt x="39692" y="11873"/>
                      </a:cubicBezTo>
                      <a:lnTo>
                        <a:pt x="11873" y="39692"/>
                      </a:lnTo>
                      <a:cubicBezTo>
                        <a:pt x="10514" y="41048"/>
                        <a:pt x="8735" y="41729"/>
                        <a:pt x="6957" y="41729"/>
                      </a:cubicBezTo>
                      <a:close/>
                    </a:path>
                  </a:pathLst>
                </a:custGeom>
                <a:solidFill>
                  <a:schemeClr val="accent1"/>
                </a:solidFill>
                <a:ln w="314" cap="flat">
                  <a:noFill/>
                  <a:prstDash val="solid"/>
                  <a:miter/>
                </a:ln>
              </p:spPr>
              <p:txBody>
                <a:bodyPr rtlCol="0" anchor="ctr"/>
                <a:lstStyle/>
                <a:p>
                  <a:endParaRPr lang="en-GB" dirty="0"/>
                </a:p>
              </p:txBody>
            </p:sp>
          </p:grpSp>
          <p:grpSp>
            <p:nvGrpSpPr>
              <p:cNvPr id="174" name="Graphic 25">
                <a:extLst>
                  <a:ext uri="{FF2B5EF4-FFF2-40B4-BE49-F238E27FC236}">
                    <a16:creationId xmlns:a16="http://schemas.microsoft.com/office/drawing/2014/main" id="{393FABDC-7D30-453D-B995-B1952118C2B7}"/>
                  </a:ext>
                </a:extLst>
              </p:cNvPr>
              <p:cNvGrpSpPr/>
              <p:nvPr/>
            </p:nvGrpSpPr>
            <p:grpSpPr>
              <a:xfrm>
                <a:off x="3564992" y="4448735"/>
                <a:ext cx="41730" cy="41729"/>
                <a:chOff x="3564992" y="4448735"/>
                <a:chExt cx="41730" cy="41729"/>
              </a:xfrm>
              <a:solidFill>
                <a:schemeClr val="accent1"/>
              </a:solidFill>
            </p:grpSpPr>
            <p:sp>
              <p:nvSpPr>
                <p:cNvPr id="175" name="Freihandform: Form 270">
                  <a:extLst>
                    <a:ext uri="{FF2B5EF4-FFF2-40B4-BE49-F238E27FC236}">
                      <a16:creationId xmlns:a16="http://schemas.microsoft.com/office/drawing/2014/main" id="{00B58B39-BD44-4977-9ABF-5CEDE1E63571}"/>
                    </a:ext>
                  </a:extLst>
                </p:cNvPr>
                <p:cNvSpPr/>
                <p:nvPr/>
              </p:nvSpPr>
              <p:spPr>
                <a:xfrm>
                  <a:off x="3564992" y="4448736"/>
                  <a:ext cx="41730" cy="41727"/>
                </a:xfrm>
                <a:custGeom>
                  <a:avLst/>
                  <a:gdLst>
                    <a:gd name="connsiteX0" fmla="*/ 34777 w 41730"/>
                    <a:gd name="connsiteY0" fmla="*/ 41728 h 41727"/>
                    <a:gd name="connsiteX1" fmla="*/ 29858 w 41730"/>
                    <a:gd name="connsiteY1" fmla="*/ 39691 h 41727"/>
                    <a:gd name="connsiteX2" fmla="*/ 2038 w 41730"/>
                    <a:gd name="connsiteY2" fmla="*/ 11872 h 41727"/>
                    <a:gd name="connsiteX3" fmla="*/ 2038 w 41730"/>
                    <a:gd name="connsiteY3" fmla="*/ 2037 h 41727"/>
                    <a:gd name="connsiteX4" fmla="*/ 11873 w 41730"/>
                    <a:gd name="connsiteY4" fmla="*/ 2037 h 41727"/>
                    <a:gd name="connsiteX5" fmla="*/ 39692 w 41730"/>
                    <a:gd name="connsiteY5" fmla="*/ 29857 h 41727"/>
                    <a:gd name="connsiteX6" fmla="*/ 39692 w 41730"/>
                    <a:gd name="connsiteY6" fmla="*/ 39691 h 41727"/>
                    <a:gd name="connsiteX7" fmla="*/ 34777 w 41730"/>
                    <a:gd name="connsiteY7" fmla="*/ 41728 h 41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30" h="41727">
                      <a:moveTo>
                        <a:pt x="34777" y="41728"/>
                      </a:moveTo>
                      <a:cubicBezTo>
                        <a:pt x="32998" y="41728"/>
                        <a:pt x="31217" y="41050"/>
                        <a:pt x="29858" y="39691"/>
                      </a:cubicBezTo>
                      <a:lnTo>
                        <a:pt x="2038" y="11872"/>
                      </a:lnTo>
                      <a:cubicBezTo>
                        <a:pt x="-679" y="9154"/>
                        <a:pt x="-679" y="4752"/>
                        <a:pt x="2038" y="2037"/>
                      </a:cubicBezTo>
                      <a:cubicBezTo>
                        <a:pt x="4756" y="-677"/>
                        <a:pt x="9158" y="-681"/>
                        <a:pt x="11873" y="2037"/>
                      </a:cubicBezTo>
                      <a:lnTo>
                        <a:pt x="39692" y="29857"/>
                      </a:lnTo>
                      <a:cubicBezTo>
                        <a:pt x="42410" y="32575"/>
                        <a:pt x="42410" y="36973"/>
                        <a:pt x="39692" y="39691"/>
                      </a:cubicBezTo>
                      <a:cubicBezTo>
                        <a:pt x="38333" y="41047"/>
                        <a:pt x="36555" y="41728"/>
                        <a:pt x="34777" y="41728"/>
                      </a:cubicBezTo>
                      <a:close/>
                    </a:path>
                  </a:pathLst>
                </a:custGeom>
                <a:solidFill>
                  <a:schemeClr val="accent1"/>
                </a:solidFill>
                <a:ln w="314" cap="flat">
                  <a:noFill/>
                  <a:prstDash val="solid"/>
                  <a:miter/>
                </a:ln>
              </p:spPr>
              <p:txBody>
                <a:bodyPr rtlCol="0" anchor="ctr"/>
                <a:lstStyle/>
                <a:p>
                  <a:endParaRPr lang="en-GB" dirty="0"/>
                </a:p>
              </p:txBody>
            </p:sp>
            <p:sp>
              <p:nvSpPr>
                <p:cNvPr id="176" name="Freihandform: Form 271">
                  <a:extLst>
                    <a:ext uri="{FF2B5EF4-FFF2-40B4-BE49-F238E27FC236}">
                      <a16:creationId xmlns:a16="http://schemas.microsoft.com/office/drawing/2014/main" id="{17870F3B-4D6B-44BA-97BA-E4DB7E3FF5D6}"/>
                    </a:ext>
                  </a:extLst>
                </p:cNvPr>
                <p:cNvSpPr/>
                <p:nvPr/>
              </p:nvSpPr>
              <p:spPr>
                <a:xfrm>
                  <a:off x="3564992" y="4448735"/>
                  <a:ext cx="41730" cy="41729"/>
                </a:xfrm>
                <a:custGeom>
                  <a:avLst/>
                  <a:gdLst>
                    <a:gd name="connsiteX0" fmla="*/ 6957 w 41730"/>
                    <a:gd name="connsiteY0" fmla="*/ 41729 h 41729"/>
                    <a:gd name="connsiteX1" fmla="*/ 2038 w 41730"/>
                    <a:gd name="connsiteY1" fmla="*/ 39692 h 41729"/>
                    <a:gd name="connsiteX2" fmla="*/ 2038 w 41730"/>
                    <a:gd name="connsiteY2" fmla="*/ 29858 h 41729"/>
                    <a:gd name="connsiteX3" fmla="*/ 29858 w 41730"/>
                    <a:gd name="connsiteY3" fmla="*/ 2038 h 41729"/>
                    <a:gd name="connsiteX4" fmla="*/ 39692 w 41730"/>
                    <a:gd name="connsiteY4" fmla="*/ 2038 h 41729"/>
                    <a:gd name="connsiteX5" fmla="*/ 39692 w 41730"/>
                    <a:gd name="connsiteY5" fmla="*/ 11873 h 41729"/>
                    <a:gd name="connsiteX6" fmla="*/ 11873 w 41730"/>
                    <a:gd name="connsiteY6" fmla="*/ 39692 h 41729"/>
                    <a:gd name="connsiteX7" fmla="*/ 6957 w 41730"/>
                    <a:gd name="connsiteY7" fmla="*/ 41729 h 41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30" h="41729">
                      <a:moveTo>
                        <a:pt x="6957" y="41729"/>
                      </a:moveTo>
                      <a:cubicBezTo>
                        <a:pt x="5179" y="41729"/>
                        <a:pt x="3397" y="41051"/>
                        <a:pt x="2038" y="39692"/>
                      </a:cubicBezTo>
                      <a:cubicBezTo>
                        <a:pt x="-679" y="36975"/>
                        <a:pt x="-679" y="32576"/>
                        <a:pt x="2038" y="29858"/>
                      </a:cubicBezTo>
                      <a:lnTo>
                        <a:pt x="29858" y="2038"/>
                      </a:lnTo>
                      <a:cubicBezTo>
                        <a:pt x="32576" y="-679"/>
                        <a:pt x="36974" y="-679"/>
                        <a:pt x="39692" y="2038"/>
                      </a:cubicBezTo>
                      <a:cubicBezTo>
                        <a:pt x="42410" y="4756"/>
                        <a:pt x="42410" y="9155"/>
                        <a:pt x="39692" y="11873"/>
                      </a:cubicBezTo>
                      <a:lnTo>
                        <a:pt x="11873" y="39692"/>
                      </a:lnTo>
                      <a:cubicBezTo>
                        <a:pt x="10514" y="41048"/>
                        <a:pt x="8735" y="41729"/>
                        <a:pt x="6957" y="41729"/>
                      </a:cubicBezTo>
                      <a:close/>
                    </a:path>
                  </a:pathLst>
                </a:custGeom>
                <a:solidFill>
                  <a:schemeClr val="accent1"/>
                </a:solidFill>
                <a:ln w="314" cap="flat">
                  <a:noFill/>
                  <a:prstDash val="solid"/>
                  <a:miter/>
                </a:ln>
              </p:spPr>
              <p:txBody>
                <a:bodyPr rtlCol="0" anchor="ctr"/>
                <a:lstStyle/>
                <a:p>
                  <a:endParaRPr lang="en-GB" dirty="0"/>
                </a:p>
              </p:txBody>
            </p:sp>
          </p:grpSp>
        </p:grpSp>
      </p:grpSp>
      <p:grpSp>
        <p:nvGrpSpPr>
          <p:cNvPr id="9" name="Group 8">
            <a:extLst>
              <a:ext uri="{FF2B5EF4-FFF2-40B4-BE49-F238E27FC236}">
                <a16:creationId xmlns:a16="http://schemas.microsoft.com/office/drawing/2014/main" id="{AA30EBBC-E098-7CA8-5AF1-AD0823455870}"/>
              </a:ext>
            </a:extLst>
          </p:cNvPr>
          <p:cNvGrpSpPr/>
          <p:nvPr/>
        </p:nvGrpSpPr>
        <p:grpSpPr>
          <a:xfrm>
            <a:off x="3792043" y="2406516"/>
            <a:ext cx="330618" cy="432000"/>
            <a:chOff x="3792043" y="2406516"/>
            <a:chExt cx="330618" cy="432000"/>
          </a:xfrm>
        </p:grpSpPr>
        <p:sp>
          <p:nvSpPr>
            <p:cNvPr id="189" name="Freihandform: Form 293">
              <a:extLst>
                <a:ext uri="{FF2B5EF4-FFF2-40B4-BE49-F238E27FC236}">
                  <a16:creationId xmlns:a16="http://schemas.microsoft.com/office/drawing/2014/main" id="{201A910A-AE53-4133-86DA-39673A6DCA9B}"/>
                </a:ext>
              </a:extLst>
            </p:cNvPr>
            <p:cNvSpPr/>
            <p:nvPr/>
          </p:nvSpPr>
          <p:spPr>
            <a:xfrm>
              <a:off x="3872815" y="2704982"/>
              <a:ext cx="167191" cy="133534"/>
            </a:xfrm>
            <a:custGeom>
              <a:avLst/>
              <a:gdLst>
                <a:gd name="connsiteX0" fmla="*/ 142257 w 148952"/>
                <a:gd name="connsiteY0" fmla="*/ 118967 h 118966"/>
                <a:gd name="connsiteX1" fmla="*/ 6696 w 148952"/>
                <a:gd name="connsiteY1" fmla="*/ 118967 h 118966"/>
                <a:gd name="connsiteX2" fmla="*/ 1350 w 148952"/>
                <a:gd name="connsiteY2" fmla="*/ 116185 h 118966"/>
                <a:gd name="connsiteX3" fmla="*/ 259 w 148952"/>
                <a:gd name="connsiteY3" fmla="*/ 110046 h 118966"/>
                <a:gd name="connsiteX4" fmla="*/ 28901 w 148952"/>
                <a:gd name="connsiteY4" fmla="*/ 5077 h 118966"/>
                <a:gd name="connsiteX5" fmla="*/ 35337 w 148952"/>
                <a:gd name="connsiteY5" fmla="*/ 0 h 118966"/>
                <a:gd name="connsiteX6" fmla="*/ 115668 w 148952"/>
                <a:gd name="connsiteY6" fmla="*/ 0 h 118966"/>
                <a:gd name="connsiteX7" fmla="*/ 122141 w 148952"/>
                <a:gd name="connsiteY7" fmla="*/ 5206 h 118966"/>
                <a:gd name="connsiteX8" fmla="*/ 148730 w 148952"/>
                <a:gd name="connsiteY8" fmla="*/ 110176 h 118966"/>
                <a:gd name="connsiteX9" fmla="*/ 147562 w 148952"/>
                <a:gd name="connsiteY9" fmla="*/ 116234 h 118966"/>
                <a:gd name="connsiteX10" fmla="*/ 142257 w 148952"/>
                <a:gd name="connsiteY10" fmla="*/ 118967 h 118966"/>
                <a:gd name="connsiteX11" fmla="*/ 15570 w 148952"/>
                <a:gd name="connsiteY11" fmla="*/ 104969 h 118966"/>
                <a:gd name="connsiteX12" fmla="*/ 133558 w 148952"/>
                <a:gd name="connsiteY12" fmla="*/ 104969 h 118966"/>
                <a:gd name="connsiteX13" fmla="*/ 110518 w 148952"/>
                <a:gd name="connsiteY13" fmla="*/ 13997 h 118966"/>
                <a:gd name="connsiteX14" fmla="*/ 40391 w 148952"/>
                <a:gd name="connsiteY14" fmla="*/ 13997 h 118966"/>
                <a:gd name="connsiteX15" fmla="*/ 15570 w 148952"/>
                <a:gd name="connsiteY15" fmla="*/ 104969 h 118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952" h="118966">
                  <a:moveTo>
                    <a:pt x="142257" y="118967"/>
                  </a:moveTo>
                  <a:lnTo>
                    <a:pt x="6696" y="118967"/>
                  </a:lnTo>
                  <a:cubicBezTo>
                    <a:pt x="4597" y="118967"/>
                    <a:pt x="2617" y="117936"/>
                    <a:pt x="1350" y="116185"/>
                  </a:cubicBezTo>
                  <a:cubicBezTo>
                    <a:pt x="87" y="114430"/>
                    <a:pt x="-321" y="112159"/>
                    <a:pt x="259" y="110046"/>
                  </a:cubicBezTo>
                  <a:lnTo>
                    <a:pt x="28901" y="5077"/>
                  </a:lnTo>
                  <a:cubicBezTo>
                    <a:pt x="29716" y="2073"/>
                    <a:pt x="32346" y="0"/>
                    <a:pt x="35337" y="0"/>
                  </a:cubicBezTo>
                  <a:lnTo>
                    <a:pt x="115668" y="0"/>
                  </a:lnTo>
                  <a:cubicBezTo>
                    <a:pt x="118705" y="0"/>
                    <a:pt x="121362" y="2139"/>
                    <a:pt x="122141" y="5206"/>
                  </a:cubicBezTo>
                  <a:lnTo>
                    <a:pt x="148730" y="110176"/>
                  </a:lnTo>
                  <a:cubicBezTo>
                    <a:pt x="149260" y="112275"/>
                    <a:pt x="148832" y="114513"/>
                    <a:pt x="147562" y="116234"/>
                  </a:cubicBezTo>
                  <a:cubicBezTo>
                    <a:pt x="146292" y="117959"/>
                    <a:pt x="144336" y="118967"/>
                    <a:pt x="142257" y="118967"/>
                  </a:cubicBezTo>
                  <a:close/>
                  <a:moveTo>
                    <a:pt x="15570" y="104969"/>
                  </a:moveTo>
                  <a:lnTo>
                    <a:pt x="133558" y="104969"/>
                  </a:lnTo>
                  <a:lnTo>
                    <a:pt x="110518" y="13997"/>
                  </a:lnTo>
                  <a:lnTo>
                    <a:pt x="40391" y="13997"/>
                  </a:lnTo>
                  <a:lnTo>
                    <a:pt x="15570" y="104969"/>
                  </a:lnTo>
                  <a:close/>
                </a:path>
              </a:pathLst>
            </a:custGeom>
            <a:solidFill>
              <a:schemeClr val="accent1"/>
            </a:solidFill>
            <a:ln w="331" cap="flat">
              <a:noFill/>
              <a:prstDash val="solid"/>
              <a:miter/>
            </a:ln>
          </p:spPr>
          <p:txBody>
            <a:bodyPr rtlCol="0" anchor="ctr"/>
            <a:lstStyle/>
            <a:p>
              <a:endParaRPr lang="en-GB" dirty="0"/>
            </a:p>
          </p:txBody>
        </p:sp>
        <p:grpSp>
          <p:nvGrpSpPr>
            <p:cNvPr id="190" name="Gruppieren 538">
              <a:extLst>
                <a:ext uri="{FF2B5EF4-FFF2-40B4-BE49-F238E27FC236}">
                  <a16:creationId xmlns:a16="http://schemas.microsoft.com/office/drawing/2014/main" id="{618EB332-1DBD-4516-BB9A-83F078296EEA}"/>
                </a:ext>
              </a:extLst>
            </p:cNvPr>
            <p:cNvGrpSpPr/>
            <p:nvPr/>
          </p:nvGrpSpPr>
          <p:grpSpPr>
            <a:xfrm>
              <a:off x="3792043" y="2406516"/>
              <a:ext cx="330618" cy="314197"/>
              <a:chOff x="6214658" y="1703734"/>
              <a:chExt cx="294550" cy="279920"/>
            </a:xfrm>
            <a:solidFill>
              <a:schemeClr val="tx2"/>
            </a:solidFill>
          </p:grpSpPr>
          <p:grpSp>
            <p:nvGrpSpPr>
              <p:cNvPr id="191" name="Graphic 7">
                <a:extLst>
                  <a:ext uri="{FF2B5EF4-FFF2-40B4-BE49-F238E27FC236}">
                    <a16:creationId xmlns:a16="http://schemas.microsoft.com/office/drawing/2014/main" id="{93A13D29-F8C2-4405-9E90-8D5F773A2229}"/>
                  </a:ext>
                </a:extLst>
              </p:cNvPr>
              <p:cNvGrpSpPr/>
              <p:nvPr/>
            </p:nvGrpSpPr>
            <p:grpSpPr>
              <a:xfrm>
                <a:off x="6243657" y="1703734"/>
                <a:ext cx="238142" cy="279919"/>
                <a:chOff x="6243657" y="1703734"/>
                <a:chExt cx="238142" cy="279919"/>
              </a:xfrm>
              <a:grpFill/>
            </p:grpSpPr>
            <p:grpSp>
              <p:nvGrpSpPr>
                <p:cNvPr id="193" name="Graphic 7">
                  <a:extLst>
                    <a:ext uri="{FF2B5EF4-FFF2-40B4-BE49-F238E27FC236}">
                      <a16:creationId xmlns:a16="http://schemas.microsoft.com/office/drawing/2014/main" id="{5C77EC91-3423-420F-9377-ADC2BC6F3248}"/>
                    </a:ext>
                  </a:extLst>
                </p:cNvPr>
                <p:cNvGrpSpPr/>
                <p:nvPr/>
              </p:nvGrpSpPr>
              <p:grpSpPr>
                <a:xfrm>
                  <a:off x="6290803" y="1900552"/>
                  <a:ext cx="145458" cy="83002"/>
                  <a:chOff x="6290803" y="1900552"/>
                  <a:chExt cx="145458" cy="83002"/>
                </a:xfrm>
                <a:grpFill/>
              </p:grpSpPr>
              <p:sp>
                <p:nvSpPr>
                  <p:cNvPr id="198" name="Freihandform: Form 296">
                    <a:extLst>
                      <a:ext uri="{FF2B5EF4-FFF2-40B4-BE49-F238E27FC236}">
                        <a16:creationId xmlns:a16="http://schemas.microsoft.com/office/drawing/2014/main" id="{9E56E706-DB06-4369-A773-DD7CC8658628}"/>
                      </a:ext>
                    </a:extLst>
                  </p:cNvPr>
                  <p:cNvSpPr/>
                  <p:nvPr/>
                </p:nvSpPr>
                <p:spPr>
                  <a:xfrm>
                    <a:off x="6355932" y="1900552"/>
                    <a:ext cx="80328" cy="83002"/>
                  </a:xfrm>
                  <a:custGeom>
                    <a:avLst/>
                    <a:gdLst>
                      <a:gd name="connsiteX0" fmla="*/ 6695 w 80328"/>
                      <a:gd name="connsiteY0" fmla="*/ 83002 h 83002"/>
                      <a:gd name="connsiteX1" fmla="*/ 0 w 80328"/>
                      <a:gd name="connsiteY1" fmla="*/ 76005 h 83002"/>
                      <a:gd name="connsiteX2" fmla="*/ 0 w 80328"/>
                      <a:gd name="connsiteY2" fmla="*/ 51966 h 83002"/>
                      <a:gd name="connsiteX3" fmla="*/ 18192 w 80328"/>
                      <a:gd name="connsiteY3" fmla="*/ 32951 h 83002"/>
                      <a:gd name="connsiteX4" fmla="*/ 64443 w 80328"/>
                      <a:gd name="connsiteY4" fmla="*/ 32951 h 83002"/>
                      <a:gd name="connsiteX5" fmla="*/ 57088 w 80328"/>
                      <a:gd name="connsiteY5" fmla="*/ 9148 h 83002"/>
                      <a:gd name="connsiteX6" fmla="*/ 61402 w 80328"/>
                      <a:gd name="connsiteY6" fmla="*/ 340 h 83002"/>
                      <a:gd name="connsiteX7" fmla="*/ 69828 w 80328"/>
                      <a:gd name="connsiteY7" fmla="*/ 4850 h 83002"/>
                      <a:gd name="connsiteX8" fmla="*/ 80005 w 80328"/>
                      <a:gd name="connsiteY8" fmla="*/ 37800 h 83002"/>
                      <a:gd name="connsiteX9" fmla="*/ 79047 w 80328"/>
                      <a:gd name="connsiteY9" fmla="*/ 44067 h 83002"/>
                      <a:gd name="connsiteX10" fmla="*/ 73635 w 80328"/>
                      <a:gd name="connsiteY10" fmla="*/ 46949 h 83002"/>
                      <a:gd name="connsiteX11" fmla="*/ 18192 w 80328"/>
                      <a:gd name="connsiteY11" fmla="*/ 46949 h 83002"/>
                      <a:gd name="connsiteX12" fmla="*/ 13387 w 80328"/>
                      <a:gd name="connsiteY12" fmla="*/ 51970 h 83002"/>
                      <a:gd name="connsiteX13" fmla="*/ 13387 w 80328"/>
                      <a:gd name="connsiteY13" fmla="*/ 76008 h 83002"/>
                      <a:gd name="connsiteX14" fmla="*/ 6695 w 80328"/>
                      <a:gd name="connsiteY14" fmla="*/ 83002 h 8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328" h="83002">
                        <a:moveTo>
                          <a:pt x="6695" y="83002"/>
                        </a:moveTo>
                        <a:cubicBezTo>
                          <a:pt x="2998" y="83002"/>
                          <a:pt x="0" y="79868"/>
                          <a:pt x="0" y="76005"/>
                        </a:cubicBezTo>
                        <a:lnTo>
                          <a:pt x="0" y="51966"/>
                        </a:lnTo>
                        <a:cubicBezTo>
                          <a:pt x="0" y="41481"/>
                          <a:pt x="8161" y="32951"/>
                          <a:pt x="18192" y="32951"/>
                        </a:cubicBezTo>
                        <a:lnTo>
                          <a:pt x="64443" y="32951"/>
                        </a:lnTo>
                        <a:lnTo>
                          <a:pt x="57088" y="9148"/>
                        </a:lnTo>
                        <a:cubicBezTo>
                          <a:pt x="55953" y="5471"/>
                          <a:pt x="57883" y="1528"/>
                          <a:pt x="61402" y="340"/>
                        </a:cubicBezTo>
                        <a:cubicBezTo>
                          <a:pt x="64920" y="-847"/>
                          <a:pt x="68694" y="1170"/>
                          <a:pt x="69828" y="4850"/>
                        </a:cubicBezTo>
                        <a:lnTo>
                          <a:pt x="80005" y="37800"/>
                        </a:lnTo>
                        <a:cubicBezTo>
                          <a:pt x="80662" y="39929"/>
                          <a:pt x="80307" y="42260"/>
                          <a:pt x="79047" y="44067"/>
                        </a:cubicBezTo>
                        <a:cubicBezTo>
                          <a:pt x="77787" y="45878"/>
                          <a:pt x="75774" y="46949"/>
                          <a:pt x="73635" y="46949"/>
                        </a:cubicBezTo>
                        <a:lnTo>
                          <a:pt x="18192" y="46949"/>
                        </a:lnTo>
                        <a:cubicBezTo>
                          <a:pt x="15543" y="46949"/>
                          <a:pt x="13387" y="49201"/>
                          <a:pt x="13387" y="51970"/>
                        </a:cubicBezTo>
                        <a:lnTo>
                          <a:pt x="13387" y="76008"/>
                        </a:lnTo>
                        <a:cubicBezTo>
                          <a:pt x="13391" y="79868"/>
                          <a:pt x="10393" y="83002"/>
                          <a:pt x="6695" y="83002"/>
                        </a:cubicBezTo>
                        <a:close/>
                      </a:path>
                    </a:pathLst>
                  </a:custGeom>
                  <a:grpFill/>
                  <a:ln w="331" cap="flat">
                    <a:noFill/>
                    <a:prstDash val="solid"/>
                    <a:miter/>
                  </a:ln>
                </p:spPr>
                <p:txBody>
                  <a:bodyPr rtlCol="0" anchor="ctr"/>
                  <a:lstStyle/>
                  <a:p>
                    <a:endParaRPr lang="en-GB" dirty="0"/>
                  </a:p>
                </p:txBody>
              </p:sp>
              <p:sp>
                <p:nvSpPr>
                  <p:cNvPr id="199" name="Freihandform: Form 297">
                    <a:extLst>
                      <a:ext uri="{FF2B5EF4-FFF2-40B4-BE49-F238E27FC236}">
                        <a16:creationId xmlns:a16="http://schemas.microsoft.com/office/drawing/2014/main" id="{39D1BF39-B04B-4A68-BB6B-69247BCF5B82}"/>
                      </a:ext>
                    </a:extLst>
                  </p:cNvPr>
                  <p:cNvSpPr/>
                  <p:nvPr/>
                </p:nvSpPr>
                <p:spPr>
                  <a:xfrm>
                    <a:off x="6290803" y="1900835"/>
                    <a:ext cx="78516" cy="82719"/>
                  </a:xfrm>
                  <a:custGeom>
                    <a:avLst/>
                    <a:gdLst>
                      <a:gd name="connsiteX0" fmla="*/ 71825 w 78516"/>
                      <a:gd name="connsiteY0" fmla="*/ 82719 h 82719"/>
                      <a:gd name="connsiteX1" fmla="*/ 65130 w 78516"/>
                      <a:gd name="connsiteY1" fmla="*/ 75722 h 82719"/>
                      <a:gd name="connsiteX2" fmla="*/ 65130 w 78516"/>
                      <a:gd name="connsiteY2" fmla="*/ 51683 h 82719"/>
                      <a:gd name="connsiteX3" fmla="*/ 60328 w 78516"/>
                      <a:gd name="connsiteY3" fmla="*/ 46663 h 82719"/>
                      <a:gd name="connsiteX4" fmla="*/ 6696 w 78516"/>
                      <a:gd name="connsiteY4" fmla="*/ 46663 h 82719"/>
                      <a:gd name="connsiteX5" fmla="*/ 1350 w 78516"/>
                      <a:gd name="connsiteY5" fmla="*/ 43877 h 82719"/>
                      <a:gd name="connsiteX6" fmla="*/ 259 w 78516"/>
                      <a:gd name="connsiteY6" fmla="*/ 37739 h 82719"/>
                      <a:gd name="connsiteX7" fmla="*/ 9186 w 78516"/>
                      <a:gd name="connsiteY7" fmla="*/ 5078 h 82719"/>
                      <a:gd name="connsiteX8" fmla="*/ 17463 w 78516"/>
                      <a:gd name="connsiteY8" fmla="*/ 273 h 82719"/>
                      <a:gd name="connsiteX9" fmla="*/ 22059 w 78516"/>
                      <a:gd name="connsiteY9" fmla="*/ 8925 h 82719"/>
                      <a:gd name="connsiteX10" fmla="*/ 15570 w 78516"/>
                      <a:gd name="connsiteY10" fmla="*/ 32665 h 82719"/>
                      <a:gd name="connsiteX11" fmla="*/ 60328 w 78516"/>
                      <a:gd name="connsiteY11" fmla="*/ 32665 h 82719"/>
                      <a:gd name="connsiteX12" fmla="*/ 78517 w 78516"/>
                      <a:gd name="connsiteY12" fmla="*/ 51680 h 82719"/>
                      <a:gd name="connsiteX13" fmla="*/ 78517 w 78516"/>
                      <a:gd name="connsiteY13" fmla="*/ 75719 h 82719"/>
                      <a:gd name="connsiteX14" fmla="*/ 71825 w 78516"/>
                      <a:gd name="connsiteY14" fmla="*/ 82719 h 8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516" h="82719">
                        <a:moveTo>
                          <a:pt x="71825" y="82719"/>
                        </a:moveTo>
                        <a:cubicBezTo>
                          <a:pt x="68127" y="82719"/>
                          <a:pt x="65130" y="79585"/>
                          <a:pt x="65130" y="75722"/>
                        </a:cubicBezTo>
                        <a:lnTo>
                          <a:pt x="65130" y="51683"/>
                        </a:lnTo>
                        <a:cubicBezTo>
                          <a:pt x="65130" y="48914"/>
                          <a:pt x="62974" y="46663"/>
                          <a:pt x="60328" y="46663"/>
                        </a:cubicBezTo>
                        <a:lnTo>
                          <a:pt x="6696" y="46663"/>
                        </a:lnTo>
                        <a:cubicBezTo>
                          <a:pt x="4593" y="46663"/>
                          <a:pt x="2617" y="45631"/>
                          <a:pt x="1350" y="43877"/>
                        </a:cubicBezTo>
                        <a:cubicBezTo>
                          <a:pt x="87" y="42123"/>
                          <a:pt x="-321" y="39851"/>
                          <a:pt x="259" y="37739"/>
                        </a:cubicBezTo>
                        <a:lnTo>
                          <a:pt x="9186" y="5078"/>
                        </a:lnTo>
                        <a:cubicBezTo>
                          <a:pt x="10204" y="1364"/>
                          <a:pt x="13912" y="-795"/>
                          <a:pt x="17463" y="273"/>
                        </a:cubicBezTo>
                        <a:cubicBezTo>
                          <a:pt x="21015" y="1334"/>
                          <a:pt x="23074" y="5208"/>
                          <a:pt x="22059" y="8925"/>
                        </a:cubicBezTo>
                        <a:lnTo>
                          <a:pt x="15570" y="32665"/>
                        </a:lnTo>
                        <a:lnTo>
                          <a:pt x="60328" y="32665"/>
                        </a:lnTo>
                        <a:cubicBezTo>
                          <a:pt x="70359" y="32665"/>
                          <a:pt x="78517" y="41194"/>
                          <a:pt x="78517" y="51680"/>
                        </a:cubicBezTo>
                        <a:lnTo>
                          <a:pt x="78517" y="75719"/>
                        </a:lnTo>
                        <a:cubicBezTo>
                          <a:pt x="78520" y="79585"/>
                          <a:pt x="75522" y="82719"/>
                          <a:pt x="71825" y="82719"/>
                        </a:cubicBezTo>
                        <a:close/>
                      </a:path>
                    </a:pathLst>
                  </a:custGeom>
                  <a:grpFill/>
                  <a:ln w="331" cap="flat">
                    <a:noFill/>
                    <a:prstDash val="solid"/>
                    <a:miter/>
                  </a:ln>
                </p:spPr>
                <p:txBody>
                  <a:bodyPr rtlCol="0" anchor="ctr"/>
                  <a:lstStyle/>
                  <a:p>
                    <a:endParaRPr lang="en-GB" dirty="0"/>
                  </a:p>
                </p:txBody>
              </p:sp>
            </p:grpSp>
            <p:sp>
              <p:nvSpPr>
                <p:cNvPr id="194" name="Freihandform: Form 298">
                  <a:extLst>
                    <a:ext uri="{FF2B5EF4-FFF2-40B4-BE49-F238E27FC236}">
                      <a16:creationId xmlns:a16="http://schemas.microsoft.com/office/drawing/2014/main" id="{20123624-323E-45FD-8B24-F3B621765960}"/>
                    </a:ext>
                  </a:extLst>
                </p:cNvPr>
                <p:cNvSpPr/>
                <p:nvPr/>
              </p:nvSpPr>
              <p:spPr>
                <a:xfrm>
                  <a:off x="6349343" y="1829698"/>
                  <a:ext cx="26777" cy="13994"/>
                </a:xfrm>
                <a:custGeom>
                  <a:avLst/>
                  <a:gdLst>
                    <a:gd name="connsiteX0" fmla="*/ 20083 w 26777"/>
                    <a:gd name="connsiteY0" fmla="*/ 13994 h 13994"/>
                    <a:gd name="connsiteX1" fmla="*/ 6695 w 26777"/>
                    <a:gd name="connsiteY1" fmla="*/ 13994 h 13994"/>
                    <a:gd name="connsiteX2" fmla="*/ 0 w 26777"/>
                    <a:gd name="connsiteY2" fmla="*/ 6997 h 13994"/>
                    <a:gd name="connsiteX3" fmla="*/ 6695 w 26777"/>
                    <a:gd name="connsiteY3" fmla="*/ 0 h 13994"/>
                    <a:gd name="connsiteX4" fmla="*/ 20083 w 26777"/>
                    <a:gd name="connsiteY4" fmla="*/ 0 h 13994"/>
                    <a:gd name="connsiteX5" fmla="*/ 26778 w 26777"/>
                    <a:gd name="connsiteY5" fmla="*/ 6997 h 13994"/>
                    <a:gd name="connsiteX6" fmla="*/ 20083 w 26777"/>
                    <a:gd name="connsiteY6" fmla="*/ 13994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77" h="13994">
                      <a:moveTo>
                        <a:pt x="20083" y="13994"/>
                      </a:moveTo>
                      <a:lnTo>
                        <a:pt x="6695" y="13994"/>
                      </a:lnTo>
                      <a:cubicBezTo>
                        <a:pt x="2998" y="13994"/>
                        <a:pt x="0" y="10860"/>
                        <a:pt x="0" y="6997"/>
                      </a:cubicBezTo>
                      <a:cubicBezTo>
                        <a:pt x="0" y="3134"/>
                        <a:pt x="2998" y="0"/>
                        <a:pt x="6695" y="0"/>
                      </a:cubicBezTo>
                      <a:lnTo>
                        <a:pt x="20083" y="0"/>
                      </a:lnTo>
                      <a:cubicBezTo>
                        <a:pt x="23780" y="0"/>
                        <a:pt x="26778" y="3134"/>
                        <a:pt x="26778" y="6997"/>
                      </a:cubicBezTo>
                      <a:cubicBezTo>
                        <a:pt x="26778" y="10860"/>
                        <a:pt x="23780" y="13994"/>
                        <a:pt x="20083" y="13994"/>
                      </a:cubicBezTo>
                      <a:close/>
                    </a:path>
                  </a:pathLst>
                </a:custGeom>
                <a:grpFill/>
                <a:ln w="331" cap="flat">
                  <a:noFill/>
                  <a:prstDash val="solid"/>
                  <a:miter/>
                </a:ln>
              </p:spPr>
              <p:txBody>
                <a:bodyPr rtlCol="0" anchor="ctr"/>
                <a:lstStyle/>
                <a:p>
                  <a:endParaRPr lang="en-GB" dirty="0"/>
                </a:p>
              </p:txBody>
            </p:sp>
            <p:sp>
              <p:nvSpPr>
                <p:cNvPr id="195" name="Freihandform: Form 299">
                  <a:extLst>
                    <a:ext uri="{FF2B5EF4-FFF2-40B4-BE49-F238E27FC236}">
                      <a16:creationId xmlns:a16="http://schemas.microsoft.com/office/drawing/2014/main" id="{D9C2C6CE-1F81-4C92-9D7D-4641617CD463}"/>
                    </a:ext>
                  </a:extLst>
                </p:cNvPr>
                <p:cNvSpPr/>
                <p:nvPr/>
              </p:nvSpPr>
              <p:spPr>
                <a:xfrm>
                  <a:off x="6315870" y="1703734"/>
                  <a:ext cx="93720" cy="111966"/>
                </a:xfrm>
                <a:custGeom>
                  <a:avLst/>
                  <a:gdLst>
                    <a:gd name="connsiteX0" fmla="*/ 46860 w 93720"/>
                    <a:gd name="connsiteY0" fmla="*/ 111966 h 111966"/>
                    <a:gd name="connsiteX1" fmla="*/ 0 w 93720"/>
                    <a:gd name="connsiteY1" fmla="*/ 55983 h 111966"/>
                    <a:gd name="connsiteX2" fmla="*/ 46860 w 93720"/>
                    <a:gd name="connsiteY2" fmla="*/ 0 h 111966"/>
                    <a:gd name="connsiteX3" fmla="*/ 93721 w 93720"/>
                    <a:gd name="connsiteY3" fmla="*/ 55983 h 111966"/>
                    <a:gd name="connsiteX4" fmla="*/ 46860 w 93720"/>
                    <a:gd name="connsiteY4" fmla="*/ 111966 h 111966"/>
                    <a:gd name="connsiteX5" fmla="*/ 46860 w 93720"/>
                    <a:gd name="connsiteY5" fmla="*/ 13994 h 111966"/>
                    <a:gd name="connsiteX6" fmla="*/ 13391 w 93720"/>
                    <a:gd name="connsiteY6" fmla="*/ 55983 h 111966"/>
                    <a:gd name="connsiteX7" fmla="*/ 46860 w 93720"/>
                    <a:gd name="connsiteY7" fmla="*/ 97972 h 111966"/>
                    <a:gd name="connsiteX8" fmla="*/ 80330 w 93720"/>
                    <a:gd name="connsiteY8" fmla="*/ 55983 h 111966"/>
                    <a:gd name="connsiteX9" fmla="*/ 46860 w 93720"/>
                    <a:gd name="connsiteY9" fmla="*/ 13994 h 111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720" h="111966">
                      <a:moveTo>
                        <a:pt x="46860" y="111966"/>
                      </a:moveTo>
                      <a:cubicBezTo>
                        <a:pt x="18832" y="111966"/>
                        <a:pt x="0" y="89470"/>
                        <a:pt x="0" y="55983"/>
                      </a:cubicBezTo>
                      <a:cubicBezTo>
                        <a:pt x="0" y="22497"/>
                        <a:pt x="18832" y="0"/>
                        <a:pt x="46860" y="0"/>
                      </a:cubicBezTo>
                      <a:cubicBezTo>
                        <a:pt x="74889" y="0"/>
                        <a:pt x="93721" y="22497"/>
                        <a:pt x="93721" y="55983"/>
                      </a:cubicBezTo>
                      <a:cubicBezTo>
                        <a:pt x="93721" y="89470"/>
                        <a:pt x="74892" y="111966"/>
                        <a:pt x="46860" y="111966"/>
                      </a:cubicBezTo>
                      <a:close/>
                      <a:moveTo>
                        <a:pt x="46860" y="13994"/>
                      </a:moveTo>
                      <a:cubicBezTo>
                        <a:pt x="22155" y="13994"/>
                        <a:pt x="13391" y="36610"/>
                        <a:pt x="13391" y="55983"/>
                      </a:cubicBezTo>
                      <a:cubicBezTo>
                        <a:pt x="13391" y="75356"/>
                        <a:pt x="22158" y="97972"/>
                        <a:pt x="46860" y="97972"/>
                      </a:cubicBezTo>
                      <a:cubicBezTo>
                        <a:pt x="71566" y="97972"/>
                        <a:pt x="80330" y="75356"/>
                        <a:pt x="80330" y="55983"/>
                      </a:cubicBezTo>
                      <a:cubicBezTo>
                        <a:pt x="80330" y="36610"/>
                        <a:pt x="71566" y="13994"/>
                        <a:pt x="46860" y="13994"/>
                      </a:cubicBezTo>
                      <a:close/>
                    </a:path>
                  </a:pathLst>
                </a:custGeom>
                <a:grpFill/>
                <a:ln w="331" cap="flat">
                  <a:noFill/>
                  <a:prstDash val="solid"/>
                  <a:miter/>
                </a:ln>
              </p:spPr>
              <p:txBody>
                <a:bodyPr rtlCol="0" anchor="ctr"/>
                <a:lstStyle/>
                <a:p>
                  <a:endParaRPr lang="en-GB" dirty="0"/>
                </a:p>
              </p:txBody>
            </p:sp>
            <p:sp>
              <p:nvSpPr>
                <p:cNvPr id="196" name="Freihandform: Form 300">
                  <a:extLst>
                    <a:ext uri="{FF2B5EF4-FFF2-40B4-BE49-F238E27FC236}">
                      <a16:creationId xmlns:a16="http://schemas.microsoft.com/office/drawing/2014/main" id="{AC073477-F02C-4A6F-B37B-0A7EAB1FF924}"/>
                    </a:ext>
                  </a:extLst>
                </p:cNvPr>
                <p:cNvSpPr/>
                <p:nvPr/>
              </p:nvSpPr>
              <p:spPr>
                <a:xfrm>
                  <a:off x="6356035" y="1829698"/>
                  <a:ext cx="13390" cy="69977"/>
                </a:xfrm>
                <a:custGeom>
                  <a:avLst/>
                  <a:gdLst>
                    <a:gd name="connsiteX0" fmla="*/ 6695 w 13390"/>
                    <a:gd name="connsiteY0" fmla="*/ 69977 h 69977"/>
                    <a:gd name="connsiteX1" fmla="*/ 0 w 13390"/>
                    <a:gd name="connsiteY1" fmla="*/ 62980 h 69977"/>
                    <a:gd name="connsiteX2" fmla="*/ 0 w 13390"/>
                    <a:gd name="connsiteY2" fmla="*/ 6997 h 69977"/>
                    <a:gd name="connsiteX3" fmla="*/ 6695 w 13390"/>
                    <a:gd name="connsiteY3" fmla="*/ 0 h 69977"/>
                    <a:gd name="connsiteX4" fmla="*/ 13391 w 13390"/>
                    <a:gd name="connsiteY4" fmla="*/ 6997 h 69977"/>
                    <a:gd name="connsiteX5" fmla="*/ 13391 w 13390"/>
                    <a:gd name="connsiteY5" fmla="*/ 62980 h 69977"/>
                    <a:gd name="connsiteX6" fmla="*/ 6695 w 13390"/>
                    <a:gd name="connsiteY6" fmla="*/ 69977 h 69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0" h="69977">
                      <a:moveTo>
                        <a:pt x="6695" y="69977"/>
                      </a:moveTo>
                      <a:cubicBezTo>
                        <a:pt x="2998" y="69977"/>
                        <a:pt x="0" y="66844"/>
                        <a:pt x="0" y="62980"/>
                      </a:cubicBezTo>
                      <a:lnTo>
                        <a:pt x="0" y="6997"/>
                      </a:lnTo>
                      <a:cubicBezTo>
                        <a:pt x="0" y="3134"/>
                        <a:pt x="2998" y="0"/>
                        <a:pt x="6695" y="0"/>
                      </a:cubicBezTo>
                      <a:cubicBezTo>
                        <a:pt x="10393" y="0"/>
                        <a:pt x="13391" y="3134"/>
                        <a:pt x="13391" y="6997"/>
                      </a:cubicBezTo>
                      <a:lnTo>
                        <a:pt x="13391" y="62980"/>
                      </a:lnTo>
                      <a:cubicBezTo>
                        <a:pt x="13391" y="66847"/>
                        <a:pt x="10393" y="69977"/>
                        <a:pt x="6695" y="69977"/>
                      </a:cubicBezTo>
                      <a:close/>
                    </a:path>
                  </a:pathLst>
                </a:custGeom>
                <a:grpFill/>
                <a:ln w="331" cap="flat">
                  <a:noFill/>
                  <a:prstDash val="solid"/>
                  <a:miter/>
                </a:ln>
              </p:spPr>
              <p:txBody>
                <a:bodyPr rtlCol="0" anchor="ctr"/>
                <a:lstStyle/>
                <a:p>
                  <a:endParaRPr lang="en-GB" dirty="0"/>
                </a:p>
              </p:txBody>
            </p:sp>
            <p:sp>
              <p:nvSpPr>
                <p:cNvPr id="197" name="Freihandform: Form 301">
                  <a:extLst>
                    <a:ext uri="{FF2B5EF4-FFF2-40B4-BE49-F238E27FC236}">
                      <a16:creationId xmlns:a16="http://schemas.microsoft.com/office/drawing/2014/main" id="{3A3BE3C5-FEEB-45A2-B8A7-A8D5BBC58836}"/>
                    </a:ext>
                  </a:extLst>
                </p:cNvPr>
                <p:cNvSpPr/>
                <p:nvPr/>
              </p:nvSpPr>
              <p:spPr>
                <a:xfrm>
                  <a:off x="6243657" y="1829698"/>
                  <a:ext cx="238142" cy="153955"/>
                </a:xfrm>
                <a:custGeom>
                  <a:avLst/>
                  <a:gdLst>
                    <a:gd name="connsiteX0" fmla="*/ 212794 w 238142"/>
                    <a:gd name="connsiteY0" fmla="*/ 153956 h 153955"/>
                    <a:gd name="connsiteX1" fmla="*/ 25355 w 238142"/>
                    <a:gd name="connsiteY1" fmla="*/ 153956 h 153955"/>
                    <a:gd name="connsiteX2" fmla="*/ 5040 w 238142"/>
                    <a:gd name="connsiteY2" fmla="*/ 144100 h 153955"/>
                    <a:gd name="connsiteX3" fmla="*/ 2235 w 238142"/>
                    <a:gd name="connsiteY3" fmla="*/ 112046 h 153955"/>
                    <a:gd name="connsiteX4" fmla="*/ 22951 w 238142"/>
                    <a:gd name="connsiteY4" fmla="*/ 44977 h 153955"/>
                    <a:gd name="connsiteX5" fmla="*/ 74126 w 238142"/>
                    <a:gd name="connsiteY5" fmla="*/ 0 h 153955"/>
                    <a:gd name="connsiteX6" fmla="*/ 78908 w 238142"/>
                    <a:gd name="connsiteY6" fmla="*/ 0 h 153955"/>
                    <a:gd name="connsiteX7" fmla="*/ 84618 w 238142"/>
                    <a:gd name="connsiteY7" fmla="*/ 3346 h 153955"/>
                    <a:gd name="connsiteX8" fmla="*/ 118887 w 238142"/>
                    <a:gd name="connsiteY8" fmla="*/ 61883 h 153955"/>
                    <a:gd name="connsiteX9" fmla="*/ 153528 w 238142"/>
                    <a:gd name="connsiteY9" fmla="*/ 3346 h 153955"/>
                    <a:gd name="connsiteX10" fmla="*/ 159238 w 238142"/>
                    <a:gd name="connsiteY10" fmla="*/ 0 h 153955"/>
                    <a:gd name="connsiteX11" fmla="*/ 164020 w 238142"/>
                    <a:gd name="connsiteY11" fmla="*/ 0 h 153955"/>
                    <a:gd name="connsiteX12" fmla="*/ 215128 w 238142"/>
                    <a:gd name="connsiteY12" fmla="*/ 44788 h 153955"/>
                    <a:gd name="connsiteX13" fmla="*/ 235897 w 238142"/>
                    <a:gd name="connsiteY13" fmla="*/ 112006 h 153955"/>
                    <a:gd name="connsiteX14" fmla="*/ 233105 w 238142"/>
                    <a:gd name="connsiteY14" fmla="*/ 144103 h 153955"/>
                    <a:gd name="connsiteX15" fmla="*/ 212794 w 238142"/>
                    <a:gd name="connsiteY15" fmla="*/ 153956 h 153955"/>
                    <a:gd name="connsiteX16" fmla="*/ 74126 w 238142"/>
                    <a:gd name="connsiteY16" fmla="*/ 13994 h 153955"/>
                    <a:gd name="connsiteX17" fmla="*/ 35632 w 238142"/>
                    <a:gd name="connsiteY17" fmla="*/ 49470 h 153955"/>
                    <a:gd name="connsiteX18" fmla="*/ 14989 w 238142"/>
                    <a:gd name="connsiteY18" fmla="*/ 116304 h 153955"/>
                    <a:gd name="connsiteX19" fmla="*/ 15838 w 238142"/>
                    <a:gd name="connsiteY19" fmla="*/ 135829 h 153955"/>
                    <a:gd name="connsiteX20" fmla="*/ 25352 w 238142"/>
                    <a:gd name="connsiteY20" fmla="*/ 139961 h 153955"/>
                    <a:gd name="connsiteX21" fmla="*/ 212790 w 238142"/>
                    <a:gd name="connsiteY21" fmla="*/ 139961 h 153955"/>
                    <a:gd name="connsiteX22" fmla="*/ 222304 w 238142"/>
                    <a:gd name="connsiteY22" fmla="*/ 135829 h 153955"/>
                    <a:gd name="connsiteX23" fmla="*/ 223140 w 238142"/>
                    <a:gd name="connsiteY23" fmla="*/ 116264 h 153955"/>
                    <a:gd name="connsiteX24" fmla="*/ 202447 w 238142"/>
                    <a:gd name="connsiteY24" fmla="*/ 49278 h 153955"/>
                    <a:gd name="connsiteX25" fmla="*/ 164016 w 238142"/>
                    <a:gd name="connsiteY25" fmla="*/ 13997 h 153955"/>
                    <a:gd name="connsiteX26" fmla="*/ 162989 w 238142"/>
                    <a:gd name="connsiteY26" fmla="*/ 13997 h 153955"/>
                    <a:gd name="connsiteX27" fmla="*/ 130673 w 238142"/>
                    <a:gd name="connsiteY27" fmla="*/ 69188 h 153955"/>
                    <a:gd name="connsiteX28" fmla="*/ 119073 w 238142"/>
                    <a:gd name="connsiteY28" fmla="*/ 76212 h 153955"/>
                    <a:gd name="connsiteX29" fmla="*/ 119069 w 238142"/>
                    <a:gd name="connsiteY29" fmla="*/ 76212 h 153955"/>
                    <a:gd name="connsiteX30" fmla="*/ 107281 w 238142"/>
                    <a:gd name="connsiteY30" fmla="*/ 68857 h 153955"/>
                    <a:gd name="connsiteX31" fmla="*/ 75154 w 238142"/>
                    <a:gd name="connsiteY31" fmla="*/ 13997 h 153955"/>
                    <a:gd name="connsiteX32" fmla="*/ 74126 w 238142"/>
                    <a:gd name="connsiteY32" fmla="*/ 13997 h 153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8142" h="153955">
                      <a:moveTo>
                        <a:pt x="212794" y="153956"/>
                      </a:moveTo>
                      <a:lnTo>
                        <a:pt x="25355" y="153956"/>
                      </a:lnTo>
                      <a:cubicBezTo>
                        <a:pt x="14276" y="153956"/>
                        <a:pt x="8194" y="148597"/>
                        <a:pt x="5040" y="144100"/>
                      </a:cubicBezTo>
                      <a:cubicBezTo>
                        <a:pt x="-508" y="136191"/>
                        <a:pt x="-1526" y="124505"/>
                        <a:pt x="2235" y="112046"/>
                      </a:cubicBezTo>
                      <a:lnTo>
                        <a:pt x="22951" y="44977"/>
                      </a:lnTo>
                      <a:cubicBezTo>
                        <a:pt x="33115" y="15069"/>
                        <a:pt x="50309" y="0"/>
                        <a:pt x="74126" y="0"/>
                      </a:cubicBezTo>
                      <a:lnTo>
                        <a:pt x="78908" y="0"/>
                      </a:lnTo>
                      <a:cubicBezTo>
                        <a:pt x="81239" y="0"/>
                        <a:pt x="83401" y="1267"/>
                        <a:pt x="84618" y="3346"/>
                      </a:cubicBezTo>
                      <a:lnTo>
                        <a:pt x="118887" y="61883"/>
                      </a:lnTo>
                      <a:lnTo>
                        <a:pt x="153528" y="3346"/>
                      </a:lnTo>
                      <a:cubicBezTo>
                        <a:pt x="154745" y="1270"/>
                        <a:pt x="156907" y="0"/>
                        <a:pt x="159238" y="0"/>
                      </a:cubicBezTo>
                      <a:lnTo>
                        <a:pt x="164020" y="0"/>
                      </a:lnTo>
                      <a:cubicBezTo>
                        <a:pt x="187840" y="0"/>
                        <a:pt x="205034" y="15069"/>
                        <a:pt x="215128" y="44788"/>
                      </a:cubicBezTo>
                      <a:lnTo>
                        <a:pt x="235897" y="112006"/>
                      </a:lnTo>
                      <a:cubicBezTo>
                        <a:pt x="239671" y="124505"/>
                        <a:pt x="238653" y="136191"/>
                        <a:pt x="233105" y="144103"/>
                      </a:cubicBezTo>
                      <a:cubicBezTo>
                        <a:pt x="229955" y="148597"/>
                        <a:pt x="223873" y="153956"/>
                        <a:pt x="212794" y="153956"/>
                      </a:cubicBezTo>
                      <a:close/>
                      <a:moveTo>
                        <a:pt x="74126" y="13994"/>
                      </a:moveTo>
                      <a:cubicBezTo>
                        <a:pt x="56086" y="13994"/>
                        <a:pt x="43856" y="25266"/>
                        <a:pt x="35632" y="49470"/>
                      </a:cubicBezTo>
                      <a:lnTo>
                        <a:pt x="14989" y="116304"/>
                      </a:lnTo>
                      <a:cubicBezTo>
                        <a:pt x="12608" y="124180"/>
                        <a:pt x="12929" y="131678"/>
                        <a:pt x="15838" y="135829"/>
                      </a:cubicBezTo>
                      <a:cubicBezTo>
                        <a:pt x="17784" y="138608"/>
                        <a:pt x="20901" y="139961"/>
                        <a:pt x="25352" y="139961"/>
                      </a:cubicBezTo>
                      <a:lnTo>
                        <a:pt x="212790" y="139961"/>
                      </a:lnTo>
                      <a:cubicBezTo>
                        <a:pt x="217244" y="139961"/>
                        <a:pt x="220358" y="138608"/>
                        <a:pt x="222304" y="135829"/>
                      </a:cubicBezTo>
                      <a:cubicBezTo>
                        <a:pt x="225213" y="131678"/>
                        <a:pt x="225534" y="124180"/>
                        <a:pt x="223140" y="116264"/>
                      </a:cubicBezTo>
                      <a:lnTo>
                        <a:pt x="202447" y="49278"/>
                      </a:lnTo>
                      <a:cubicBezTo>
                        <a:pt x="194290" y="25269"/>
                        <a:pt x="182056" y="13997"/>
                        <a:pt x="164016" y="13997"/>
                      </a:cubicBezTo>
                      <a:lnTo>
                        <a:pt x="162989" y="13997"/>
                      </a:lnTo>
                      <a:lnTo>
                        <a:pt x="130673" y="69188"/>
                      </a:lnTo>
                      <a:cubicBezTo>
                        <a:pt x="128517" y="73390"/>
                        <a:pt x="124004" y="76212"/>
                        <a:pt x="119073" y="76212"/>
                      </a:cubicBezTo>
                      <a:lnTo>
                        <a:pt x="119069" y="76212"/>
                      </a:lnTo>
                      <a:cubicBezTo>
                        <a:pt x="114138" y="76212"/>
                        <a:pt x="109618" y="73393"/>
                        <a:pt x="107281" y="68857"/>
                      </a:cubicBezTo>
                      <a:lnTo>
                        <a:pt x="75154" y="13997"/>
                      </a:lnTo>
                      <a:lnTo>
                        <a:pt x="74126" y="13997"/>
                      </a:lnTo>
                      <a:close/>
                    </a:path>
                  </a:pathLst>
                </a:custGeom>
                <a:grpFill/>
                <a:ln w="331" cap="flat">
                  <a:noFill/>
                  <a:prstDash val="solid"/>
                  <a:miter/>
                </a:ln>
              </p:spPr>
              <p:txBody>
                <a:bodyPr rtlCol="0" anchor="ctr"/>
                <a:lstStyle/>
                <a:p>
                  <a:endParaRPr lang="en-GB" dirty="0"/>
                </a:p>
              </p:txBody>
            </p:sp>
          </p:grpSp>
          <p:sp>
            <p:nvSpPr>
              <p:cNvPr id="192" name="Freihandform: Form 302">
                <a:extLst>
                  <a:ext uri="{FF2B5EF4-FFF2-40B4-BE49-F238E27FC236}">
                    <a16:creationId xmlns:a16="http://schemas.microsoft.com/office/drawing/2014/main" id="{1B2F8F09-30F5-454C-A262-DC60383BF1B5}"/>
                  </a:ext>
                </a:extLst>
              </p:cNvPr>
              <p:cNvSpPr/>
              <p:nvPr/>
            </p:nvSpPr>
            <p:spPr>
              <a:xfrm>
                <a:off x="6214658" y="1969660"/>
                <a:ext cx="294550" cy="13994"/>
              </a:xfrm>
              <a:custGeom>
                <a:avLst/>
                <a:gdLst>
                  <a:gd name="connsiteX0" fmla="*/ 287855 w 294550"/>
                  <a:gd name="connsiteY0" fmla="*/ 13994 h 13994"/>
                  <a:gd name="connsiteX1" fmla="*/ 6695 w 294550"/>
                  <a:gd name="connsiteY1" fmla="*/ 13994 h 13994"/>
                  <a:gd name="connsiteX2" fmla="*/ 0 w 294550"/>
                  <a:gd name="connsiteY2" fmla="*/ 6997 h 13994"/>
                  <a:gd name="connsiteX3" fmla="*/ 6695 w 294550"/>
                  <a:gd name="connsiteY3" fmla="*/ 0 h 13994"/>
                  <a:gd name="connsiteX4" fmla="*/ 287855 w 294550"/>
                  <a:gd name="connsiteY4" fmla="*/ 0 h 13994"/>
                  <a:gd name="connsiteX5" fmla="*/ 294550 w 294550"/>
                  <a:gd name="connsiteY5" fmla="*/ 6997 h 13994"/>
                  <a:gd name="connsiteX6" fmla="*/ 287855 w 294550"/>
                  <a:gd name="connsiteY6" fmla="*/ 13994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550" h="13994">
                    <a:moveTo>
                      <a:pt x="287855" y="13994"/>
                    </a:moveTo>
                    <a:lnTo>
                      <a:pt x="6695" y="13994"/>
                    </a:lnTo>
                    <a:cubicBezTo>
                      <a:pt x="2998" y="13994"/>
                      <a:pt x="0" y="10860"/>
                      <a:pt x="0" y="6997"/>
                    </a:cubicBezTo>
                    <a:cubicBezTo>
                      <a:pt x="0" y="3134"/>
                      <a:pt x="2998" y="0"/>
                      <a:pt x="6695" y="0"/>
                    </a:cubicBezTo>
                    <a:lnTo>
                      <a:pt x="287855" y="0"/>
                    </a:lnTo>
                    <a:cubicBezTo>
                      <a:pt x="291553" y="0"/>
                      <a:pt x="294550" y="3134"/>
                      <a:pt x="294550" y="6997"/>
                    </a:cubicBezTo>
                    <a:cubicBezTo>
                      <a:pt x="294550" y="10860"/>
                      <a:pt x="291549" y="13994"/>
                      <a:pt x="287855" y="13994"/>
                    </a:cubicBezTo>
                    <a:close/>
                  </a:path>
                </a:pathLst>
              </a:custGeom>
              <a:grpFill/>
              <a:ln w="331" cap="flat">
                <a:noFill/>
                <a:prstDash val="solid"/>
                <a:miter/>
              </a:ln>
            </p:spPr>
            <p:txBody>
              <a:bodyPr rtlCol="0" anchor="ctr"/>
              <a:lstStyle/>
              <a:p>
                <a:endParaRPr lang="en-GB" dirty="0"/>
              </a:p>
            </p:txBody>
          </p:sp>
        </p:grpSp>
      </p:grpSp>
      <p:grpSp>
        <p:nvGrpSpPr>
          <p:cNvPr id="499" name="Group 498">
            <a:extLst>
              <a:ext uri="{FF2B5EF4-FFF2-40B4-BE49-F238E27FC236}">
                <a16:creationId xmlns:a16="http://schemas.microsoft.com/office/drawing/2014/main" id="{522A0282-4113-1EAE-0E6C-50E6C51988C7}"/>
              </a:ext>
            </a:extLst>
          </p:cNvPr>
          <p:cNvGrpSpPr/>
          <p:nvPr/>
        </p:nvGrpSpPr>
        <p:grpSpPr>
          <a:xfrm>
            <a:off x="592904" y="3197068"/>
            <a:ext cx="402293" cy="432000"/>
            <a:chOff x="592904" y="3197068"/>
            <a:chExt cx="402293" cy="432000"/>
          </a:xfrm>
        </p:grpSpPr>
        <p:grpSp>
          <p:nvGrpSpPr>
            <p:cNvPr id="201" name="Gruppieren 541">
              <a:extLst>
                <a:ext uri="{FF2B5EF4-FFF2-40B4-BE49-F238E27FC236}">
                  <a16:creationId xmlns:a16="http://schemas.microsoft.com/office/drawing/2014/main" id="{622851BE-8C6B-4DD0-8B7A-FED05A5FF1AC}"/>
                </a:ext>
              </a:extLst>
            </p:cNvPr>
            <p:cNvGrpSpPr/>
            <p:nvPr/>
          </p:nvGrpSpPr>
          <p:grpSpPr>
            <a:xfrm>
              <a:off x="592904" y="3197068"/>
              <a:ext cx="325596" cy="432000"/>
              <a:chOff x="7001477" y="1626757"/>
              <a:chExt cx="348106" cy="461866"/>
            </a:xfrm>
            <a:solidFill>
              <a:schemeClr val="tx2"/>
            </a:solidFill>
          </p:grpSpPr>
          <p:sp>
            <p:nvSpPr>
              <p:cNvPr id="208" name="Freihandform: Form 474">
                <a:extLst>
                  <a:ext uri="{FF2B5EF4-FFF2-40B4-BE49-F238E27FC236}">
                    <a16:creationId xmlns:a16="http://schemas.microsoft.com/office/drawing/2014/main" id="{150D7BDD-5E78-4145-A34D-854FB1F20503}"/>
                  </a:ext>
                </a:extLst>
              </p:cNvPr>
              <p:cNvSpPr/>
              <p:nvPr/>
            </p:nvSpPr>
            <p:spPr>
              <a:xfrm>
                <a:off x="7034947" y="1710731"/>
                <a:ext cx="281162" cy="342899"/>
              </a:xfrm>
              <a:custGeom>
                <a:avLst/>
                <a:gdLst>
                  <a:gd name="connsiteX0" fmla="*/ 274468 w 281162"/>
                  <a:gd name="connsiteY0" fmla="*/ 342900 h 342899"/>
                  <a:gd name="connsiteX1" fmla="*/ 6695 w 281162"/>
                  <a:gd name="connsiteY1" fmla="*/ 342900 h 342899"/>
                  <a:gd name="connsiteX2" fmla="*/ 0 w 281162"/>
                  <a:gd name="connsiteY2" fmla="*/ 335903 h 342899"/>
                  <a:gd name="connsiteX3" fmla="*/ 0 w 281162"/>
                  <a:gd name="connsiteY3" fmla="*/ 6997 h 342899"/>
                  <a:gd name="connsiteX4" fmla="*/ 6695 w 281162"/>
                  <a:gd name="connsiteY4" fmla="*/ 0 h 342899"/>
                  <a:gd name="connsiteX5" fmla="*/ 33473 w 281162"/>
                  <a:gd name="connsiteY5" fmla="*/ 0 h 342899"/>
                  <a:gd name="connsiteX6" fmla="*/ 40168 w 281162"/>
                  <a:gd name="connsiteY6" fmla="*/ 6997 h 342899"/>
                  <a:gd name="connsiteX7" fmla="*/ 33473 w 281162"/>
                  <a:gd name="connsiteY7" fmla="*/ 13994 h 342899"/>
                  <a:gd name="connsiteX8" fmla="*/ 13391 w 281162"/>
                  <a:gd name="connsiteY8" fmla="*/ 13994 h 342899"/>
                  <a:gd name="connsiteX9" fmla="*/ 13391 w 281162"/>
                  <a:gd name="connsiteY9" fmla="*/ 328902 h 342899"/>
                  <a:gd name="connsiteX10" fmla="*/ 267772 w 281162"/>
                  <a:gd name="connsiteY10" fmla="*/ 328902 h 342899"/>
                  <a:gd name="connsiteX11" fmla="*/ 267772 w 281162"/>
                  <a:gd name="connsiteY11" fmla="*/ 258922 h 342899"/>
                  <a:gd name="connsiteX12" fmla="*/ 274468 w 281162"/>
                  <a:gd name="connsiteY12" fmla="*/ 251925 h 342899"/>
                  <a:gd name="connsiteX13" fmla="*/ 281163 w 281162"/>
                  <a:gd name="connsiteY13" fmla="*/ 258922 h 342899"/>
                  <a:gd name="connsiteX14" fmla="*/ 281163 w 281162"/>
                  <a:gd name="connsiteY14" fmla="*/ 335899 h 342899"/>
                  <a:gd name="connsiteX15" fmla="*/ 274468 w 281162"/>
                  <a:gd name="connsiteY15" fmla="*/ 342900 h 342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1162" h="342899">
                    <a:moveTo>
                      <a:pt x="274468" y="342900"/>
                    </a:moveTo>
                    <a:lnTo>
                      <a:pt x="6695" y="342900"/>
                    </a:lnTo>
                    <a:cubicBezTo>
                      <a:pt x="2994" y="342900"/>
                      <a:pt x="0" y="339766"/>
                      <a:pt x="0" y="335903"/>
                    </a:cubicBezTo>
                    <a:lnTo>
                      <a:pt x="0" y="6997"/>
                    </a:lnTo>
                    <a:cubicBezTo>
                      <a:pt x="0" y="3134"/>
                      <a:pt x="2994" y="0"/>
                      <a:pt x="6695" y="0"/>
                    </a:cubicBezTo>
                    <a:lnTo>
                      <a:pt x="33473" y="0"/>
                    </a:lnTo>
                    <a:cubicBezTo>
                      <a:pt x="37174" y="0"/>
                      <a:pt x="40168" y="3134"/>
                      <a:pt x="40168" y="6997"/>
                    </a:cubicBezTo>
                    <a:cubicBezTo>
                      <a:pt x="40168" y="10860"/>
                      <a:pt x="37174" y="13994"/>
                      <a:pt x="33473" y="13994"/>
                    </a:cubicBezTo>
                    <a:lnTo>
                      <a:pt x="13391" y="13994"/>
                    </a:lnTo>
                    <a:lnTo>
                      <a:pt x="13391" y="328902"/>
                    </a:lnTo>
                    <a:lnTo>
                      <a:pt x="267772" y="328902"/>
                    </a:lnTo>
                    <a:lnTo>
                      <a:pt x="267772" y="258922"/>
                    </a:lnTo>
                    <a:cubicBezTo>
                      <a:pt x="267772" y="255058"/>
                      <a:pt x="270767" y="251925"/>
                      <a:pt x="274468" y="251925"/>
                    </a:cubicBezTo>
                    <a:cubicBezTo>
                      <a:pt x="278169" y="251925"/>
                      <a:pt x="281163" y="255058"/>
                      <a:pt x="281163" y="258922"/>
                    </a:cubicBezTo>
                    <a:lnTo>
                      <a:pt x="281163" y="335899"/>
                    </a:lnTo>
                    <a:cubicBezTo>
                      <a:pt x="281163" y="339766"/>
                      <a:pt x="278169" y="342900"/>
                      <a:pt x="274468" y="342900"/>
                    </a:cubicBezTo>
                    <a:close/>
                  </a:path>
                </a:pathLst>
              </a:custGeom>
              <a:grpFill/>
              <a:ln w="331" cap="flat">
                <a:noFill/>
                <a:prstDash val="solid"/>
                <a:miter/>
              </a:ln>
            </p:spPr>
            <p:txBody>
              <a:bodyPr rtlCol="0" anchor="ctr"/>
              <a:lstStyle/>
              <a:p>
                <a:endParaRPr lang="en-GB" dirty="0"/>
              </a:p>
            </p:txBody>
          </p:sp>
          <p:sp>
            <p:nvSpPr>
              <p:cNvPr id="209" name="Freihandform: Form 475">
                <a:extLst>
                  <a:ext uri="{FF2B5EF4-FFF2-40B4-BE49-F238E27FC236}">
                    <a16:creationId xmlns:a16="http://schemas.microsoft.com/office/drawing/2014/main" id="{9B6F0F3C-85C7-42B0-BBC8-E988F1FE1177}"/>
                  </a:ext>
                </a:extLst>
              </p:cNvPr>
              <p:cNvSpPr/>
              <p:nvPr/>
            </p:nvSpPr>
            <p:spPr>
              <a:xfrm>
                <a:off x="7275941" y="1710735"/>
                <a:ext cx="40168" cy="167949"/>
              </a:xfrm>
              <a:custGeom>
                <a:avLst/>
                <a:gdLst>
                  <a:gd name="connsiteX0" fmla="*/ 33473 w 40168"/>
                  <a:gd name="connsiteY0" fmla="*/ 167950 h 167949"/>
                  <a:gd name="connsiteX1" fmla="*/ 26778 w 40168"/>
                  <a:gd name="connsiteY1" fmla="*/ 160953 h 167949"/>
                  <a:gd name="connsiteX2" fmla="*/ 26778 w 40168"/>
                  <a:gd name="connsiteY2" fmla="*/ 13994 h 167949"/>
                  <a:gd name="connsiteX3" fmla="*/ 6695 w 40168"/>
                  <a:gd name="connsiteY3" fmla="*/ 13994 h 167949"/>
                  <a:gd name="connsiteX4" fmla="*/ 0 w 40168"/>
                  <a:gd name="connsiteY4" fmla="*/ 6997 h 167949"/>
                  <a:gd name="connsiteX5" fmla="*/ 6695 w 40168"/>
                  <a:gd name="connsiteY5" fmla="*/ 0 h 167949"/>
                  <a:gd name="connsiteX6" fmla="*/ 33473 w 40168"/>
                  <a:gd name="connsiteY6" fmla="*/ 0 h 167949"/>
                  <a:gd name="connsiteX7" fmla="*/ 40168 w 40168"/>
                  <a:gd name="connsiteY7" fmla="*/ 6997 h 167949"/>
                  <a:gd name="connsiteX8" fmla="*/ 40168 w 40168"/>
                  <a:gd name="connsiteY8" fmla="*/ 160953 h 167949"/>
                  <a:gd name="connsiteX9" fmla="*/ 33473 w 40168"/>
                  <a:gd name="connsiteY9" fmla="*/ 167950 h 16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68" h="167949">
                    <a:moveTo>
                      <a:pt x="33473" y="167950"/>
                    </a:moveTo>
                    <a:cubicBezTo>
                      <a:pt x="29772" y="167950"/>
                      <a:pt x="26778" y="164816"/>
                      <a:pt x="26778" y="160953"/>
                    </a:cubicBezTo>
                    <a:lnTo>
                      <a:pt x="26778" y="13994"/>
                    </a:lnTo>
                    <a:lnTo>
                      <a:pt x="6695" y="13994"/>
                    </a:lnTo>
                    <a:cubicBezTo>
                      <a:pt x="2994" y="13994"/>
                      <a:pt x="0" y="10860"/>
                      <a:pt x="0" y="6997"/>
                    </a:cubicBezTo>
                    <a:cubicBezTo>
                      <a:pt x="0" y="3134"/>
                      <a:pt x="2994" y="0"/>
                      <a:pt x="6695" y="0"/>
                    </a:cubicBezTo>
                    <a:lnTo>
                      <a:pt x="33473" y="0"/>
                    </a:lnTo>
                    <a:cubicBezTo>
                      <a:pt x="37174" y="0"/>
                      <a:pt x="40168" y="3134"/>
                      <a:pt x="40168" y="6997"/>
                    </a:cubicBezTo>
                    <a:lnTo>
                      <a:pt x="40168" y="160953"/>
                    </a:lnTo>
                    <a:cubicBezTo>
                      <a:pt x="40168" y="164816"/>
                      <a:pt x="37174" y="167950"/>
                      <a:pt x="33473" y="167950"/>
                    </a:cubicBezTo>
                    <a:close/>
                  </a:path>
                </a:pathLst>
              </a:custGeom>
              <a:grpFill/>
              <a:ln w="331" cap="flat">
                <a:noFill/>
                <a:prstDash val="solid"/>
                <a:miter/>
              </a:ln>
            </p:spPr>
            <p:txBody>
              <a:bodyPr rtlCol="0" anchor="ctr"/>
              <a:lstStyle/>
              <a:p>
                <a:endParaRPr lang="en-GB" dirty="0"/>
              </a:p>
            </p:txBody>
          </p:sp>
          <p:sp>
            <p:nvSpPr>
              <p:cNvPr id="210" name="Freihandform: Form 476">
                <a:extLst>
                  <a:ext uri="{FF2B5EF4-FFF2-40B4-BE49-F238E27FC236}">
                    <a16:creationId xmlns:a16="http://schemas.microsoft.com/office/drawing/2014/main" id="{F313FCA6-8314-4F27-B6A7-92F265210DA1}"/>
                  </a:ext>
                </a:extLst>
              </p:cNvPr>
              <p:cNvSpPr/>
              <p:nvPr/>
            </p:nvSpPr>
            <p:spPr>
              <a:xfrm>
                <a:off x="7001477" y="1675743"/>
                <a:ext cx="348106" cy="412880"/>
              </a:xfrm>
              <a:custGeom>
                <a:avLst/>
                <a:gdLst>
                  <a:gd name="connsiteX0" fmla="*/ 341408 w 348106"/>
                  <a:gd name="connsiteY0" fmla="*/ 412880 h 412880"/>
                  <a:gd name="connsiteX1" fmla="*/ 6695 w 348106"/>
                  <a:gd name="connsiteY1" fmla="*/ 412880 h 412880"/>
                  <a:gd name="connsiteX2" fmla="*/ 0 w 348106"/>
                  <a:gd name="connsiteY2" fmla="*/ 405883 h 412880"/>
                  <a:gd name="connsiteX3" fmla="*/ 0 w 348106"/>
                  <a:gd name="connsiteY3" fmla="*/ 6997 h 412880"/>
                  <a:gd name="connsiteX4" fmla="*/ 6695 w 348106"/>
                  <a:gd name="connsiteY4" fmla="*/ 0 h 412880"/>
                  <a:gd name="connsiteX5" fmla="*/ 100416 w 348106"/>
                  <a:gd name="connsiteY5" fmla="*/ 0 h 412880"/>
                  <a:gd name="connsiteX6" fmla="*/ 107112 w 348106"/>
                  <a:gd name="connsiteY6" fmla="*/ 6997 h 412880"/>
                  <a:gd name="connsiteX7" fmla="*/ 100416 w 348106"/>
                  <a:gd name="connsiteY7" fmla="*/ 13994 h 412880"/>
                  <a:gd name="connsiteX8" fmla="*/ 13391 w 348106"/>
                  <a:gd name="connsiteY8" fmla="*/ 13994 h 412880"/>
                  <a:gd name="connsiteX9" fmla="*/ 13391 w 348106"/>
                  <a:gd name="connsiteY9" fmla="*/ 398883 h 412880"/>
                  <a:gd name="connsiteX10" fmla="*/ 334715 w 348106"/>
                  <a:gd name="connsiteY10" fmla="*/ 398883 h 412880"/>
                  <a:gd name="connsiteX11" fmla="*/ 334715 w 348106"/>
                  <a:gd name="connsiteY11" fmla="*/ 258925 h 412880"/>
                  <a:gd name="connsiteX12" fmla="*/ 341411 w 348106"/>
                  <a:gd name="connsiteY12" fmla="*/ 251928 h 412880"/>
                  <a:gd name="connsiteX13" fmla="*/ 348106 w 348106"/>
                  <a:gd name="connsiteY13" fmla="*/ 258925 h 412880"/>
                  <a:gd name="connsiteX14" fmla="*/ 348106 w 348106"/>
                  <a:gd name="connsiteY14" fmla="*/ 405883 h 412880"/>
                  <a:gd name="connsiteX15" fmla="*/ 341408 w 348106"/>
                  <a:gd name="connsiteY15" fmla="*/ 412880 h 412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8106" h="412880">
                    <a:moveTo>
                      <a:pt x="341408" y="412880"/>
                    </a:moveTo>
                    <a:lnTo>
                      <a:pt x="6695" y="412880"/>
                    </a:lnTo>
                    <a:cubicBezTo>
                      <a:pt x="2995" y="412880"/>
                      <a:pt x="0" y="409747"/>
                      <a:pt x="0" y="405883"/>
                    </a:cubicBezTo>
                    <a:lnTo>
                      <a:pt x="0" y="6997"/>
                    </a:lnTo>
                    <a:cubicBezTo>
                      <a:pt x="0" y="3134"/>
                      <a:pt x="2995" y="0"/>
                      <a:pt x="6695" y="0"/>
                    </a:cubicBezTo>
                    <a:lnTo>
                      <a:pt x="100416" y="0"/>
                    </a:lnTo>
                    <a:cubicBezTo>
                      <a:pt x="104117" y="0"/>
                      <a:pt x="107112" y="3134"/>
                      <a:pt x="107112" y="6997"/>
                    </a:cubicBezTo>
                    <a:cubicBezTo>
                      <a:pt x="107112" y="10860"/>
                      <a:pt x="104117" y="13994"/>
                      <a:pt x="100416" y="13994"/>
                    </a:cubicBezTo>
                    <a:lnTo>
                      <a:pt x="13391" y="13994"/>
                    </a:lnTo>
                    <a:lnTo>
                      <a:pt x="13391" y="398883"/>
                    </a:lnTo>
                    <a:lnTo>
                      <a:pt x="334715" y="398883"/>
                    </a:lnTo>
                    <a:lnTo>
                      <a:pt x="334715" y="258925"/>
                    </a:lnTo>
                    <a:cubicBezTo>
                      <a:pt x="334715" y="255062"/>
                      <a:pt x="337710" y="251928"/>
                      <a:pt x="341411" y="251928"/>
                    </a:cubicBezTo>
                    <a:cubicBezTo>
                      <a:pt x="345112" y="251928"/>
                      <a:pt x="348106" y="255062"/>
                      <a:pt x="348106" y="258925"/>
                    </a:cubicBezTo>
                    <a:lnTo>
                      <a:pt x="348106" y="405883"/>
                    </a:lnTo>
                    <a:cubicBezTo>
                      <a:pt x="348103" y="409747"/>
                      <a:pt x="345108" y="412880"/>
                      <a:pt x="341408" y="412880"/>
                    </a:cubicBezTo>
                    <a:close/>
                  </a:path>
                </a:pathLst>
              </a:custGeom>
              <a:grpFill/>
              <a:ln w="331" cap="flat">
                <a:noFill/>
                <a:prstDash val="solid"/>
                <a:miter/>
              </a:ln>
            </p:spPr>
            <p:txBody>
              <a:bodyPr rtlCol="0" anchor="ctr"/>
              <a:lstStyle/>
              <a:p>
                <a:endParaRPr lang="en-GB" dirty="0"/>
              </a:p>
            </p:txBody>
          </p:sp>
          <p:sp>
            <p:nvSpPr>
              <p:cNvPr id="211" name="Freihandform: Form 477">
                <a:extLst>
                  <a:ext uri="{FF2B5EF4-FFF2-40B4-BE49-F238E27FC236}">
                    <a16:creationId xmlns:a16="http://schemas.microsoft.com/office/drawing/2014/main" id="{9BDECCE6-0121-4593-9E94-BABEDE3559B9}"/>
                  </a:ext>
                </a:extLst>
              </p:cNvPr>
              <p:cNvSpPr/>
              <p:nvPr/>
            </p:nvSpPr>
            <p:spPr>
              <a:xfrm>
                <a:off x="7242468" y="1675743"/>
                <a:ext cx="107111" cy="167949"/>
              </a:xfrm>
              <a:custGeom>
                <a:avLst/>
                <a:gdLst>
                  <a:gd name="connsiteX0" fmla="*/ 100416 w 107111"/>
                  <a:gd name="connsiteY0" fmla="*/ 167950 h 167949"/>
                  <a:gd name="connsiteX1" fmla="*/ 93721 w 107111"/>
                  <a:gd name="connsiteY1" fmla="*/ 160953 h 167949"/>
                  <a:gd name="connsiteX2" fmla="*/ 93721 w 107111"/>
                  <a:gd name="connsiteY2" fmla="*/ 13994 h 167949"/>
                  <a:gd name="connsiteX3" fmla="*/ 6695 w 107111"/>
                  <a:gd name="connsiteY3" fmla="*/ 13994 h 167949"/>
                  <a:gd name="connsiteX4" fmla="*/ 0 w 107111"/>
                  <a:gd name="connsiteY4" fmla="*/ 6997 h 167949"/>
                  <a:gd name="connsiteX5" fmla="*/ 6695 w 107111"/>
                  <a:gd name="connsiteY5" fmla="*/ 0 h 167949"/>
                  <a:gd name="connsiteX6" fmla="*/ 100416 w 107111"/>
                  <a:gd name="connsiteY6" fmla="*/ 0 h 167949"/>
                  <a:gd name="connsiteX7" fmla="*/ 107112 w 107111"/>
                  <a:gd name="connsiteY7" fmla="*/ 6997 h 167949"/>
                  <a:gd name="connsiteX8" fmla="*/ 107112 w 107111"/>
                  <a:gd name="connsiteY8" fmla="*/ 160953 h 167949"/>
                  <a:gd name="connsiteX9" fmla="*/ 100416 w 107111"/>
                  <a:gd name="connsiteY9" fmla="*/ 167950 h 167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111" h="167949">
                    <a:moveTo>
                      <a:pt x="100416" y="167950"/>
                    </a:moveTo>
                    <a:cubicBezTo>
                      <a:pt x="96715" y="167950"/>
                      <a:pt x="93721" y="164816"/>
                      <a:pt x="93721" y="160953"/>
                    </a:cubicBezTo>
                    <a:lnTo>
                      <a:pt x="93721" y="13994"/>
                    </a:lnTo>
                    <a:lnTo>
                      <a:pt x="6695" y="13994"/>
                    </a:lnTo>
                    <a:cubicBezTo>
                      <a:pt x="2994" y="13994"/>
                      <a:pt x="0" y="10860"/>
                      <a:pt x="0" y="6997"/>
                    </a:cubicBezTo>
                    <a:cubicBezTo>
                      <a:pt x="0" y="3134"/>
                      <a:pt x="2994" y="0"/>
                      <a:pt x="6695" y="0"/>
                    </a:cubicBezTo>
                    <a:lnTo>
                      <a:pt x="100416" y="0"/>
                    </a:lnTo>
                    <a:cubicBezTo>
                      <a:pt x="104117" y="0"/>
                      <a:pt x="107112" y="3134"/>
                      <a:pt x="107112" y="6997"/>
                    </a:cubicBezTo>
                    <a:lnTo>
                      <a:pt x="107112" y="160953"/>
                    </a:lnTo>
                    <a:cubicBezTo>
                      <a:pt x="107112" y="164816"/>
                      <a:pt x="104117" y="167950"/>
                      <a:pt x="100416" y="167950"/>
                    </a:cubicBezTo>
                    <a:close/>
                  </a:path>
                </a:pathLst>
              </a:custGeom>
              <a:grpFill/>
              <a:ln w="331" cap="flat">
                <a:noFill/>
                <a:prstDash val="solid"/>
                <a:miter/>
              </a:ln>
            </p:spPr>
            <p:txBody>
              <a:bodyPr rtlCol="0" anchor="ctr"/>
              <a:lstStyle/>
              <a:p>
                <a:endParaRPr lang="en-GB" dirty="0"/>
              </a:p>
            </p:txBody>
          </p:sp>
          <p:grpSp>
            <p:nvGrpSpPr>
              <p:cNvPr id="212" name="Graphic 7">
                <a:extLst>
                  <a:ext uri="{FF2B5EF4-FFF2-40B4-BE49-F238E27FC236}">
                    <a16:creationId xmlns:a16="http://schemas.microsoft.com/office/drawing/2014/main" id="{A87EE518-1BD7-4AC3-9462-4025DDDB5670}"/>
                  </a:ext>
                </a:extLst>
              </p:cNvPr>
              <p:cNvGrpSpPr/>
              <p:nvPr/>
            </p:nvGrpSpPr>
            <p:grpSpPr>
              <a:xfrm>
                <a:off x="7081807" y="1801707"/>
                <a:ext cx="187441" cy="13994"/>
                <a:chOff x="7081807" y="1801707"/>
                <a:chExt cx="187441" cy="13994"/>
              </a:xfrm>
              <a:grpFill/>
            </p:grpSpPr>
            <p:sp>
              <p:nvSpPr>
                <p:cNvPr id="217" name="Freihandform: Form 479">
                  <a:extLst>
                    <a:ext uri="{FF2B5EF4-FFF2-40B4-BE49-F238E27FC236}">
                      <a16:creationId xmlns:a16="http://schemas.microsoft.com/office/drawing/2014/main" id="{52ACA50B-459F-46D3-9958-FF4CB62FD22A}"/>
                    </a:ext>
                  </a:extLst>
                </p:cNvPr>
                <p:cNvSpPr/>
                <p:nvPr/>
              </p:nvSpPr>
              <p:spPr>
                <a:xfrm>
                  <a:off x="7081807" y="1801707"/>
                  <a:ext cx="26777" cy="13994"/>
                </a:xfrm>
                <a:custGeom>
                  <a:avLst/>
                  <a:gdLst>
                    <a:gd name="connsiteX0" fmla="*/ 20083 w 26777"/>
                    <a:gd name="connsiteY0" fmla="*/ 13994 h 13994"/>
                    <a:gd name="connsiteX1" fmla="*/ 6695 w 26777"/>
                    <a:gd name="connsiteY1" fmla="*/ 13994 h 13994"/>
                    <a:gd name="connsiteX2" fmla="*/ 0 w 26777"/>
                    <a:gd name="connsiteY2" fmla="*/ 6997 h 13994"/>
                    <a:gd name="connsiteX3" fmla="*/ 6695 w 26777"/>
                    <a:gd name="connsiteY3" fmla="*/ 0 h 13994"/>
                    <a:gd name="connsiteX4" fmla="*/ 20083 w 26777"/>
                    <a:gd name="connsiteY4" fmla="*/ 0 h 13994"/>
                    <a:gd name="connsiteX5" fmla="*/ 26778 w 26777"/>
                    <a:gd name="connsiteY5" fmla="*/ 6997 h 13994"/>
                    <a:gd name="connsiteX6" fmla="*/ 20083 w 26777"/>
                    <a:gd name="connsiteY6" fmla="*/ 13994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77" h="13994">
                      <a:moveTo>
                        <a:pt x="20083" y="13994"/>
                      </a:moveTo>
                      <a:lnTo>
                        <a:pt x="6695" y="13994"/>
                      </a:lnTo>
                      <a:cubicBezTo>
                        <a:pt x="2994" y="13994"/>
                        <a:pt x="0" y="10860"/>
                        <a:pt x="0" y="6997"/>
                      </a:cubicBezTo>
                      <a:cubicBezTo>
                        <a:pt x="0" y="3134"/>
                        <a:pt x="2994" y="0"/>
                        <a:pt x="6695" y="0"/>
                      </a:cubicBezTo>
                      <a:lnTo>
                        <a:pt x="20083" y="0"/>
                      </a:lnTo>
                      <a:cubicBezTo>
                        <a:pt x="23783" y="0"/>
                        <a:pt x="26778" y="3134"/>
                        <a:pt x="26778" y="6997"/>
                      </a:cubicBezTo>
                      <a:cubicBezTo>
                        <a:pt x="26778" y="10860"/>
                        <a:pt x="23783" y="13994"/>
                        <a:pt x="20083" y="13994"/>
                      </a:cubicBezTo>
                      <a:close/>
                    </a:path>
                  </a:pathLst>
                </a:custGeom>
                <a:grpFill/>
                <a:ln w="331" cap="flat">
                  <a:noFill/>
                  <a:prstDash val="solid"/>
                  <a:miter/>
                </a:ln>
              </p:spPr>
              <p:txBody>
                <a:bodyPr rtlCol="0" anchor="ctr"/>
                <a:lstStyle/>
                <a:p>
                  <a:endParaRPr lang="en-GB" dirty="0"/>
                </a:p>
              </p:txBody>
            </p:sp>
            <p:sp>
              <p:nvSpPr>
                <p:cNvPr id="218" name="Freihandform: Form 480">
                  <a:extLst>
                    <a:ext uri="{FF2B5EF4-FFF2-40B4-BE49-F238E27FC236}">
                      <a16:creationId xmlns:a16="http://schemas.microsoft.com/office/drawing/2014/main" id="{B8CC3887-7CC6-47CC-A7DC-CC2F8CA75F45}"/>
                    </a:ext>
                  </a:extLst>
                </p:cNvPr>
                <p:cNvSpPr/>
                <p:nvPr/>
              </p:nvSpPr>
              <p:spPr>
                <a:xfrm>
                  <a:off x="7135363" y="1801707"/>
                  <a:ext cx="133886" cy="13994"/>
                </a:xfrm>
                <a:custGeom>
                  <a:avLst/>
                  <a:gdLst>
                    <a:gd name="connsiteX0" fmla="*/ 127191 w 133886"/>
                    <a:gd name="connsiteY0" fmla="*/ 13994 h 13994"/>
                    <a:gd name="connsiteX1" fmla="*/ 6695 w 133886"/>
                    <a:gd name="connsiteY1" fmla="*/ 13994 h 13994"/>
                    <a:gd name="connsiteX2" fmla="*/ 0 w 133886"/>
                    <a:gd name="connsiteY2" fmla="*/ 6997 h 13994"/>
                    <a:gd name="connsiteX3" fmla="*/ 6695 w 133886"/>
                    <a:gd name="connsiteY3" fmla="*/ 0 h 13994"/>
                    <a:gd name="connsiteX4" fmla="*/ 127191 w 133886"/>
                    <a:gd name="connsiteY4" fmla="*/ 0 h 13994"/>
                    <a:gd name="connsiteX5" fmla="*/ 133886 w 133886"/>
                    <a:gd name="connsiteY5" fmla="*/ 6997 h 13994"/>
                    <a:gd name="connsiteX6" fmla="*/ 127191 w 133886"/>
                    <a:gd name="connsiteY6" fmla="*/ 13994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886" h="13994">
                      <a:moveTo>
                        <a:pt x="127191" y="13994"/>
                      </a:moveTo>
                      <a:lnTo>
                        <a:pt x="6695" y="13994"/>
                      </a:lnTo>
                      <a:cubicBezTo>
                        <a:pt x="2994" y="13994"/>
                        <a:pt x="0" y="10860"/>
                        <a:pt x="0" y="6997"/>
                      </a:cubicBezTo>
                      <a:cubicBezTo>
                        <a:pt x="0" y="3134"/>
                        <a:pt x="2994" y="0"/>
                        <a:pt x="6695" y="0"/>
                      </a:cubicBezTo>
                      <a:lnTo>
                        <a:pt x="127191" y="0"/>
                      </a:lnTo>
                      <a:cubicBezTo>
                        <a:pt x="130892" y="0"/>
                        <a:pt x="133886" y="3134"/>
                        <a:pt x="133886" y="6997"/>
                      </a:cubicBezTo>
                      <a:cubicBezTo>
                        <a:pt x="133886" y="10860"/>
                        <a:pt x="130892" y="13994"/>
                        <a:pt x="127191" y="13994"/>
                      </a:cubicBezTo>
                      <a:close/>
                    </a:path>
                  </a:pathLst>
                </a:custGeom>
                <a:grpFill/>
                <a:ln w="331" cap="flat">
                  <a:noFill/>
                  <a:prstDash val="solid"/>
                  <a:miter/>
                </a:ln>
              </p:spPr>
              <p:txBody>
                <a:bodyPr rtlCol="0" anchor="ctr"/>
                <a:lstStyle/>
                <a:p>
                  <a:endParaRPr lang="en-GB" dirty="0"/>
                </a:p>
              </p:txBody>
            </p:sp>
          </p:grpSp>
          <p:grpSp>
            <p:nvGrpSpPr>
              <p:cNvPr id="213" name="Graphic 7">
                <a:extLst>
                  <a:ext uri="{FF2B5EF4-FFF2-40B4-BE49-F238E27FC236}">
                    <a16:creationId xmlns:a16="http://schemas.microsoft.com/office/drawing/2014/main" id="{E4E27969-2AA2-43B1-88DD-1534A8AA089C}"/>
                  </a:ext>
                </a:extLst>
              </p:cNvPr>
              <p:cNvGrpSpPr/>
              <p:nvPr/>
            </p:nvGrpSpPr>
            <p:grpSpPr>
              <a:xfrm>
                <a:off x="7081807" y="1955662"/>
                <a:ext cx="153972" cy="13994"/>
                <a:chOff x="7081807" y="1955662"/>
                <a:chExt cx="153972" cy="13994"/>
              </a:xfrm>
              <a:grpFill/>
            </p:grpSpPr>
            <p:sp>
              <p:nvSpPr>
                <p:cNvPr id="215" name="Freihandform: Form 483">
                  <a:extLst>
                    <a:ext uri="{FF2B5EF4-FFF2-40B4-BE49-F238E27FC236}">
                      <a16:creationId xmlns:a16="http://schemas.microsoft.com/office/drawing/2014/main" id="{C1310701-2C9B-407F-849F-E22E80844635}"/>
                    </a:ext>
                  </a:extLst>
                </p:cNvPr>
                <p:cNvSpPr/>
                <p:nvPr/>
              </p:nvSpPr>
              <p:spPr>
                <a:xfrm>
                  <a:off x="7081807" y="1955662"/>
                  <a:ext cx="26777" cy="13994"/>
                </a:xfrm>
                <a:custGeom>
                  <a:avLst/>
                  <a:gdLst>
                    <a:gd name="connsiteX0" fmla="*/ 20083 w 26777"/>
                    <a:gd name="connsiteY0" fmla="*/ 13994 h 13994"/>
                    <a:gd name="connsiteX1" fmla="*/ 6695 w 26777"/>
                    <a:gd name="connsiteY1" fmla="*/ 13994 h 13994"/>
                    <a:gd name="connsiteX2" fmla="*/ 0 w 26777"/>
                    <a:gd name="connsiteY2" fmla="*/ 6997 h 13994"/>
                    <a:gd name="connsiteX3" fmla="*/ 6695 w 26777"/>
                    <a:gd name="connsiteY3" fmla="*/ 0 h 13994"/>
                    <a:gd name="connsiteX4" fmla="*/ 20083 w 26777"/>
                    <a:gd name="connsiteY4" fmla="*/ 0 h 13994"/>
                    <a:gd name="connsiteX5" fmla="*/ 26778 w 26777"/>
                    <a:gd name="connsiteY5" fmla="*/ 6997 h 13994"/>
                    <a:gd name="connsiteX6" fmla="*/ 20083 w 26777"/>
                    <a:gd name="connsiteY6" fmla="*/ 13994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77" h="13994">
                      <a:moveTo>
                        <a:pt x="20083" y="13994"/>
                      </a:moveTo>
                      <a:lnTo>
                        <a:pt x="6695" y="13994"/>
                      </a:lnTo>
                      <a:cubicBezTo>
                        <a:pt x="2994" y="13994"/>
                        <a:pt x="0" y="10860"/>
                        <a:pt x="0" y="6997"/>
                      </a:cubicBezTo>
                      <a:cubicBezTo>
                        <a:pt x="0" y="3134"/>
                        <a:pt x="2994" y="0"/>
                        <a:pt x="6695" y="0"/>
                      </a:cubicBezTo>
                      <a:lnTo>
                        <a:pt x="20083" y="0"/>
                      </a:lnTo>
                      <a:cubicBezTo>
                        <a:pt x="23783" y="0"/>
                        <a:pt x="26778" y="3134"/>
                        <a:pt x="26778" y="6997"/>
                      </a:cubicBezTo>
                      <a:cubicBezTo>
                        <a:pt x="26778" y="10860"/>
                        <a:pt x="23783" y="13994"/>
                        <a:pt x="20083" y="13994"/>
                      </a:cubicBezTo>
                      <a:close/>
                    </a:path>
                  </a:pathLst>
                </a:custGeom>
                <a:grpFill/>
                <a:ln w="331" cap="flat">
                  <a:noFill/>
                  <a:prstDash val="solid"/>
                  <a:miter/>
                </a:ln>
              </p:spPr>
              <p:txBody>
                <a:bodyPr rtlCol="0" anchor="ctr"/>
                <a:lstStyle/>
                <a:p>
                  <a:endParaRPr lang="en-GB" dirty="0"/>
                </a:p>
              </p:txBody>
            </p:sp>
            <p:sp>
              <p:nvSpPr>
                <p:cNvPr id="216" name="Freihandform: Form 484">
                  <a:extLst>
                    <a:ext uri="{FF2B5EF4-FFF2-40B4-BE49-F238E27FC236}">
                      <a16:creationId xmlns:a16="http://schemas.microsoft.com/office/drawing/2014/main" id="{4A0ED7D1-2E7C-4D52-B7F0-87BFCE977C6B}"/>
                    </a:ext>
                  </a:extLst>
                </p:cNvPr>
                <p:cNvSpPr/>
                <p:nvPr/>
              </p:nvSpPr>
              <p:spPr>
                <a:xfrm>
                  <a:off x="7135363" y="1955662"/>
                  <a:ext cx="100416" cy="13994"/>
                </a:xfrm>
                <a:custGeom>
                  <a:avLst/>
                  <a:gdLst>
                    <a:gd name="connsiteX0" fmla="*/ 93721 w 100416"/>
                    <a:gd name="connsiteY0" fmla="*/ 13994 h 13994"/>
                    <a:gd name="connsiteX1" fmla="*/ 6695 w 100416"/>
                    <a:gd name="connsiteY1" fmla="*/ 13994 h 13994"/>
                    <a:gd name="connsiteX2" fmla="*/ 0 w 100416"/>
                    <a:gd name="connsiteY2" fmla="*/ 6997 h 13994"/>
                    <a:gd name="connsiteX3" fmla="*/ 6695 w 100416"/>
                    <a:gd name="connsiteY3" fmla="*/ 0 h 13994"/>
                    <a:gd name="connsiteX4" fmla="*/ 93721 w 100416"/>
                    <a:gd name="connsiteY4" fmla="*/ 0 h 13994"/>
                    <a:gd name="connsiteX5" fmla="*/ 100416 w 100416"/>
                    <a:gd name="connsiteY5" fmla="*/ 6997 h 13994"/>
                    <a:gd name="connsiteX6" fmla="*/ 93721 w 100416"/>
                    <a:gd name="connsiteY6" fmla="*/ 13994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6" h="13994">
                      <a:moveTo>
                        <a:pt x="93721" y="13994"/>
                      </a:moveTo>
                      <a:lnTo>
                        <a:pt x="6695" y="13994"/>
                      </a:lnTo>
                      <a:cubicBezTo>
                        <a:pt x="2994" y="13994"/>
                        <a:pt x="0" y="10860"/>
                        <a:pt x="0" y="6997"/>
                      </a:cubicBezTo>
                      <a:cubicBezTo>
                        <a:pt x="0" y="3134"/>
                        <a:pt x="2994" y="0"/>
                        <a:pt x="6695" y="0"/>
                      </a:cubicBezTo>
                      <a:lnTo>
                        <a:pt x="93721" y="0"/>
                      </a:lnTo>
                      <a:cubicBezTo>
                        <a:pt x="97422" y="0"/>
                        <a:pt x="100416" y="3134"/>
                        <a:pt x="100416" y="6997"/>
                      </a:cubicBezTo>
                      <a:cubicBezTo>
                        <a:pt x="100413" y="10860"/>
                        <a:pt x="97419" y="13994"/>
                        <a:pt x="93721" y="13994"/>
                      </a:cubicBezTo>
                      <a:close/>
                    </a:path>
                  </a:pathLst>
                </a:custGeom>
                <a:grpFill/>
                <a:ln w="331" cap="flat">
                  <a:noFill/>
                  <a:prstDash val="solid"/>
                  <a:miter/>
                </a:ln>
              </p:spPr>
              <p:txBody>
                <a:bodyPr rtlCol="0" anchor="ctr"/>
                <a:lstStyle/>
                <a:p>
                  <a:endParaRPr lang="en-GB" dirty="0"/>
                </a:p>
              </p:txBody>
            </p:sp>
          </p:grpSp>
          <p:sp>
            <p:nvSpPr>
              <p:cNvPr id="214" name="Freihandform: Form 485">
                <a:extLst>
                  <a:ext uri="{FF2B5EF4-FFF2-40B4-BE49-F238E27FC236}">
                    <a16:creationId xmlns:a16="http://schemas.microsoft.com/office/drawing/2014/main" id="{6480C0FD-2497-4D91-851A-24FB77320448}"/>
                  </a:ext>
                </a:extLst>
              </p:cNvPr>
              <p:cNvSpPr/>
              <p:nvPr/>
            </p:nvSpPr>
            <p:spPr>
              <a:xfrm>
                <a:off x="7095198" y="1626757"/>
                <a:ext cx="160660" cy="97972"/>
              </a:xfrm>
              <a:custGeom>
                <a:avLst/>
                <a:gdLst>
                  <a:gd name="connsiteX0" fmla="*/ 153969 w 160660"/>
                  <a:gd name="connsiteY0" fmla="*/ 97972 h 97972"/>
                  <a:gd name="connsiteX1" fmla="*/ 6695 w 160660"/>
                  <a:gd name="connsiteY1" fmla="*/ 97972 h 97972"/>
                  <a:gd name="connsiteX2" fmla="*/ 0 w 160660"/>
                  <a:gd name="connsiteY2" fmla="*/ 90975 h 97972"/>
                  <a:gd name="connsiteX3" fmla="*/ 0 w 160660"/>
                  <a:gd name="connsiteY3" fmla="*/ 27992 h 97972"/>
                  <a:gd name="connsiteX4" fmla="*/ 6695 w 160660"/>
                  <a:gd name="connsiteY4" fmla="*/ 20995 h 97972"/>
                  <a:gd name="connsiteX5" fmla="*/ 49749 w 160660"/>
                  <a:gd name="connsiteY5" fmla="*/ 20995 h 97972"/>
                  <a:gd name="connsiteX6" fmla="*/ 80330 w 160660"/>
                  <a:gd name="connsiteY6" fmla="*/ 0 h 97972"/>
                  <a:gd name="connsiteX7" fmla="*/ 110912 w 160660"/>
                  <a:gd name="connsiteY7" fmla="*/ 20995 h 97972"/>
                  <a:gd name="connsiteX8" fmla="*/ 153965 w 160660"/>
                  <a:gd name="connsiteY8" fmla="*/ 20995 h 97972"/>
                  <a:gd name="connsiteX9" fmla="*/ 160661 w 160660"/>
                  <a:gd name="connsiteY9" fmla="*/ 27992 h 97972"/>
                  <a:gd name="connsiteX10" fmla="*/ 160661 w 160660"/>
                  <a:gd name="connsiteY10" fmla="*/ 90972 h 97972"/>
                  <a:gd name="connsiteX11" fmla="*/ 153969 w 160660"/>
                  <a:gd name="connsiteY11" fmla="*/ 97972 h 97972"/>
                  <a:gd name="connsiteX12" fmla="*/ 13387 w 160660"/>
                  <a:gd name="connsiteY12" fmla="*/ 83975 h 97972"/>
                  <a:gd name="connsiteX13" fmla="*/ 147273 w 160660"/>
                  <a:gd name="connsiteY13" fmla="*/ 83975 h 97972"/>
                  <a:gd name="connsiteX14" fmla="*/ 147273 w 160660"/>
                  <a:gd name="connsiteY14" fmla="*/ 34989 h 97972"/>
                  <a:gd name="connsiteX15" fmla="*/ 106160 w 160660"/>
                  <a:gd name="connsiteY15" fmla="*/ 34989 h 97972"/>
                  <a:gd name="connsiteX16" fmla="*/ 99680 w 160660"/>
                  <a:gd name="connsiteY16" fmla="*/ 29746 h 97972"/>
                  <a:gd name="connsiteX17" fmla="*/ 80330 w 160660"/>
                  <a:gd name="connsiteY17" fmla="*/ 13994 h 97972"/>
                  <a:gd name="connsiteX18" fmla="*/ 60981 w 160660"/>
                  <a:gd name="connsiteY18" fmla="*/ 29746 h 97972"/>
                  <a:gd name="connsiteX19" fmla="*/ 54501 w 160660"/>
                  <a:gd name="connsiteY19" fmla="*/ 34989 h 97972"/>
                  <a:gd name="connsiteX20" fmla="*/ 13387 w 160660"/>
                  <a:gd name="connsiteY20" fmla="*/ 34989 h 97972"/>
                  <a:gd name="connsiteX21" fmla="*/ 13387 w 160660"/>
                  <a:gd name="connsiteY21" fmla="*/ 83975 h 9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0660" h="97972">
                    <a:moveTo>
                      <a:pt x="153969" y="97972"/>
                    </a:moveTo>
                    <a:lnTo>
                      <a:pt x="6695" y="97972"/>
                    </a:lnTo>
                    <a:cubicBezTo>
                      <a:pt x="2995" y="97972"/>
                      <a:pt x="0" y="94839"/>
                      <a:pt x="0" y="90975"/>
                    </a:cubicBezTo>
                    <a:lnTo>
                      <a:pt x="0" y="27992"/>
                    </a:lnTo>
                    <a:cubicBezTo>
                      <a:pt x="0" y="24128"/>
                      <a:pt x="2995" y="20995"/>
                      <a:pt x="6695" y="20995"/>
                    </a:cubicBezTo>
                    <a:lnTo>
                      <a:pt x="49749" y="20995"/>
                    </a:lnTo>
                    <a:cubicBezTo>
                      <a:pt x="54998" y="8403"/>
                      <a:pt x="66923" y="0"/>
                      <a:pt x="80330" y="0"/>
                    </a:cubicBezTo>
                    <a:cubicBezTo>
                      <a:pt x="93738" y="0"/>
                      <a:pt x="105662" y="8403"/>
                      <a:pt x="110912" y="20995"/>
                    </a:cubicBezTo>
                    <a:lnTo>
                      <a:pt x="153965" y="20995"/>
                    </a:lnTo>
                    <a:cubicBezTo>
                      <a:pt x="157666" y="20995"/>
                      <a:pt x="160661" y="24128"/>
                      <a:pt x="160661" y="27992"/>
                    </a:cubicBezTo>
                    <a:lnTo>
                      <a:pt x="160661" y="90972"/>
                    </a:lnTo>
                    <a:cubicBezTo>
                      <a:pt x="160661" y="94839"/>
                      <a:pt x="157666" y="97972"/>
                      <a:pt x="153969" y="97972"/>
                    </a:cubicBezTo>
                    <a:close/>
                    <a:moveTo>
                      <a:pt x="13387" y="83975"/>
                    </a:moveTo>
                    <a:lnTo>
                      <a:pt x="147273" y="83975"/>
                    </a:lnTo>
                    <a:lnTo>
                      <a:pt x="147273" y="34989"/>
                    </a:lnTo>
                    <a:lnTo>
                      <a:pt x="106160" y="34989"/>
                    </a:lnTo>
                    <a:cubicBezTo>
                      <a:pt x="103106" y="34989"/>
                      <a:pt x="100446" y="32833"/>
                      <a:pt x="99680" y="29746"/>
                    </a:cubicBezTo>
                    <a:cubicBezTo>
                      <a:pt x="97379" y="20471"/>
                      <a:pt x="89423" y="13994"/>
                      <a:pt x="80330" y="13994"/>
                    </a:cubicBezTo>
                    <a:cubicBezTo>
                      <a:pt x="71237" y="13994"/>
                      <a:pt x="63282" y="20474"/>
                      <a:pt x="60981" y="29746"/>
                    </a:cubicBezTo>
                    <a:cubicBezTo>
                      <a:pt x="60215" y="32830"/>
                      <a:pt x="57555" y="34989"/>
                      <a:pt x="54501" y="34989"/>
                    </a:cubicBezTo>
                    <a:lnTo>
                      <a:pt x="13387" y="34989"/>
                    </a:lnTo>
                    <a:lnTo>
                      <a:pt x="13387" y="83975"/>
                    </a:lnTo>
                    <a:close/>
                  </a:path>
                </a:pathLst>
              </a:custGeom>
              <a:grpFill/>
              <a:ln w="331" cap="flat">
                <a:noFill/>
                <a:prstDash val="solid"/>
                <a:miter/>
              </a:ln>
            </p:spPr>
            <p:txBody>
              <a:bodyPr rtlCol="0" anchor="ctr"/>
              <a:lstStyle/>
              <a:p>
                <a:endParaRPr lang="en-GB" dirty="0"/>
              </a:p>
            </p:txBody>
          </p:sp>
        </p:grpSp>
        <p:grpSp>
          <p:nvGrpSpPr>
            <p:cNvPr id="202" name="Gruppieren 540">
              <a:extLst>
                <a:ext uri="{FF2B5EF4-FFF2-40B4-BE49-F238E27FC236}">
                  <a16:creationId xmlns:a16="http://schemas.microsoft.com/office/drawing/2014/main" id="{C4C082F8-E6A1-4782-BE6E-B2CC4309147D}"/>
                </a:ext>
              </a:extLst>
            </p:cNvPr>
            <p:cNvGrpSpPr/>
            <p:nvPr/>
          </p:nvGrpSpPr>
          <p:grpSpPr>
            <a:xfrm>
              <a:off x="660996" y="3338906"/>
              <a:ext cx="334201" cy="170705"/>
              <a:chOff x="7074276" y="1778401"/>
              <a:chExt cx="357306" cy="182507"/>
            </a:xfrm>
          </p:grpSpPr>
          <p:sp>
            <p:nvSpPr>
              <p:cNvPr id="203" name="Freihandform: Form 481">
                <a:extLst>
                  <a:ext uri="{FF2B5EF4-FFF2-40B4-BE49-F238E27FC236}">
                    <a16:creationId xmlns:a16="http://schemas.microsoft.com/office/drawing/2014/main" id="{7F47C419-8126-4494-B5A3-A4C7C68950CB}"/>
                  </a:ext>
                </a:extLst>
              </p:cNvPr>
              <p:cNvSpPr/>
              <p:nvPr/>
            </p:nvSpPr>
            <p:spPr>
              <a:xfrm>
                <a:off x="7135363" y="1878684"/>
                <a:ext cx="120498" cy="13994"/>
              </a:xfrm>
              <a:custGeom>
                <a:avLst/>
                <a:gdLst>
                  <a:gd name="connsiteX0" fmla="*/ 113803 w 120498"/>
                  <a:gd name="connsiteY0" fmla="*/ 13994 h 13994"/>
                  <a:gd name="connsiteX1" fmla="*/ 6695 w 120498"/>
                  <a:gd name="connsiteY1" fmla="*/ 13994 h 13994"/>
                  <a:gd name="connsiteX2" fmla="*/ 0 w 120498"/>
                  <a:gd name="connsiteY2" fmla="*/ 6997 h 13994"/>
                  <a:gd name="connsiteX3" fmla="*/ 6695 w 120498"/>
                  <a:gd name="connsiteY3" fmla="*/ 0 h 13994"/>
                  <a:gd name="connsiteX4" fmla="*/ 113803 w 120498"/>
                  <a:gd name="connsiteY4" fmla="*/ 0 h 13994"/>
                  <a:gd name="connsiteX5" fmla="*/ 120499 w 120498"/>
                  <a:gd name="connsiteY5" fmla="*/ 6997 h 13994"/>
                  <a:gd name="connsiteX6" fmla="*/ 113803 w 120498"/>
                  <a:gd name="connsiteY6" fmla="*/ 13994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498" h="13994">
                    <a:moveTo>
                      <a:pt x="113803" y="13994"/>
                    </a:moveTo>
                    <a:lnTo>
                      <a:pt x="6695" y="13994"/>
                    </a:lnTo>
                    <a:cubicBezTo>
                      <a:pt x="2994" y="13994"/>
                      <a:pt x="0" y="10860"/>
                      <a:pt x="0" y="6997"/>
                    </a:cubicBezTo>
                    <a:cubicBezTo>
                      <a:pt x="0" y="3134"/>
                      <a:pt x="2994" y="0"/>
                      <a:pt x="6695" y="0"/>
                    </a:cubicBezTo>
                    <a:lnTo>
                      <a:pt x="113803" y="0"/>
                    </a:lnTo>
                    <a:cubicBezTo>
                      <a:pt x="117504" y="0"/>
                      <a:pt x="120499" y="3134"/>
                      <a:pt x="120499" y="6997"/>
                    </a:cubicBezTo>
                    <a:cubicBezTo>
                      <a:pt x="120496" y="10860"/>
                      <a:pt x="117501" y="13994"/>
                      <a:pt x="113803" y="13994"/>
                    </a:cubicBezTo>
                    <a:close/>
                  </a:path>
                </a:pathLst>
              </a:custGeom>
              <a:solidFill>
                <a:schemeClr val="accent1"/>
              </a:solidFill>
              <a:ln w="331" cap="flat">
                <a:noFill/>
                <a:prstDash val="solid"/>
                <a:miter/>
              </a:ln>
            </p:spPr>
            <p:txBody>
              <a:bodyPr rtlCol="0" anchor="ctr"/>
              <a:lstStyle/>
              <a:p>
                <a:endParaRPr lang="en-GB" dirty="0"/>
              </a:p>
            </p:txBody>
          </p:sp>
          <p:grpSp>
            <p:nvGrpSpPr>
              <p:cNvPr id="204" name="Graphic 7">
                <a:extLst>
                  <a:ext uri="{FF2B5EF4-FFF2-40B4-BE49-F238E27FC236}">
                    <a16:creationId xmlns:a16="http://schemas.microsoft.com/office/drawing/2014/main" id="{6664B65A-A739-4F97-BE2B-96B5416E7B12}"/>
                  </a:ext>
                </a:extLst>
              </p:cNvPr>
              <p:cNvGrpSpPr/>
              <p:nvPr/>
            </p:nvGrpSpPr>
            <p:grpSpPr>
              <a:xfrm>
                <a:off x="7257516" y="1778401"/>
                <a:ext cx="174066" cy="182507"/>
                <a:chOff x="7257516" y="1778401"/>
                <a:chExt cx="174066" cy="182507"/>
              </a:xfrm>
              <a:solidFill>
                <a:schemeClr val="accent1"/>
              </a:solidFill>
            </p:grpSpPr>
            <p:sp>
              <p:nvSpPr>
                <p:cNvPr id="206" name="Freihandform: Form 487">
                  <a:extLst>
                    <a:ext uri="{FF2B5EF4-FFF2-40B4-BE49-F238E27FC236}">
                      <a16:creationId xmlns:a16="http://schemas.microsoft.com/office/drawing/2014/main" id="{7EECA875-9505-4506-A1CA-53AFDC5EE1E9}"/>
                    </a:ext>
                  </a:extLst>
                </p:cNvPr>
                <p:cNvSpPr/>
                <p:nvPr/>
              </p:nvSpPr>
              <p:spPr>
                <a:xfrm>
                  <a:off x="7266910" y="1778401"/>
                  <a:ext cx="164672" cy="172535"/>
                </a:xfrm>
                <a:custGeom>
                  <a:avLst/>
                  <a:gdLst>
                    <a:gd name="connsiteX0" fmla="*/ 35149 w 164672"/>
                    <a:gd name="connsiteY0" fmla="*/ 172536 h 172535"/>
                    <a:gd name="connsiteX1" fmla="*/ 30424 w 164672"/>
                    <a:gd name="connsiteY1" fmla="*/ 170496 h 172535"/>
                    <a:gd name="connsiteX2" fmla="*/ 1968 w 164672"/>
                    <a:gd name="connsiteY2" fmla="*/ 140863 h 172535"/>
                    <a:gd name="connsiteX3" fmla="*/ 1955 w 164672"/>
                    <a:gd name="connsiteY3" fmla="*/ 130968 h 172535"/>
                    <a:gd name="connsiteX4" fmla="*/ 124778 w 164672"/>
                    <a:gd name="connsiteY4" fmla="*/ 2059 h 172535"/>
                    <a:gd name="connsiteX5" fmla="*/ 129510 w 164672"/>
                    <a:gd name="connsiteY5" fmla="*/ 0 h 172535"/>
                    <a:gd name="connsiteX6" fmla="*/ 129523 w 164672"/>
                    <a:gd name="connsiteY6" fmla="*/ 0 h 172535"/>
                    <a:gd name="connsiteX7" fmla="*/ 134249 w 164672"/>
                    <a:gd name="connsiteY7" fmla="*/ 2039 h 172535"/>
                    <a:gd name="connsiteX8" fmla="*/ 162705 w 164672"/>
                    <a:gd name="connsiteY8" fmla="*/ 31673 h 172535"/>
                    <a:gd name="connsiteX9" fmla="*/ 162718 w 164672"/>
                    <a:gd name="connsiteY9" fmla="*/ 41568 h 172535"/>
                    <a:gd name="connsiteX10" fmla="*/ 39894 w 164672"/>
                    <a:gd name="connsiteY10" fmla="*/ 170477 h 172535"/>
                    <a:gd name="connsiteX11" fmla="*/ 35162 w 164672"/>
                    <a:gd name="connsiteY11" fmla="*/ 172536 h 172535"/>
                    <a:gd name="connsiteX12" fmla="*/ 35149 w 164672"/>
                    <a:gd name="connsiteY12" fmla="*/ 172536 h 172535"/>
                    <a:gd name="connsiteX13" fmla="*/ 16158 w 164672"/>
                    <a:gd name="connsiteY13" fmla="*/ 135883 h 172535"/>
                    <a:gd name="connsiteX14" fmla="*/ 35129 w 164672"/>
                    <a:gd name="connsiteY14" fmla="*/ 155640 h 172535"/>
                    <a:gd name="connsiteX15" fmla="*/ 148515 w 164672"/>
                    <a:gd name="connsiteY15" fmla="*/ 36647 h 172535"/>
                    <a:gd name="connsiteX16" fmla="*/ 129543 w 164672"/>
                    <a:gd name="connsiteY16" fmla="*/ 16889 h 172535"/>
                    <a:gd name="connsiteX17" fmla="*/ 16158 w 164672"/>
                    <a:gd name="connsiteY17" fmla="*/ 135883 h 172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4672" h="172535">
                      <a:moveTo>
                        <a:pt x="35149" y="172536"/>
                      </a:moveTo>
                      <a:cubicBezTo>
                        <a:pt x="33378" y="172536"/>
                        <a:pt x="31677" y="171800"/>
                        <a:pt x="30424" y="170496"/>
                      </a:cubicBezTo>
                      <a:lnTo>
                        <a:pt x="1968" y="140863"/>
                      </a:lnTo>
                      <a:cubicBezTo>
                        <a:pt x="-649" y="138137"/>
                        <a:pt x="-659" y="133704"/>
                        <a:pt x="1955" y="130968"/>
                      </a:cubicBezTo>
                      <a:lnTo>
                        <a:pt x="124778" y="2059"/>
                      </a:lnTo>
                      <a:cubicBezTo>
                        <a:pt x="126035" y="743"/>
                        <a:pt x="127733" y="3"/>
                        <a:pt x="129510" y="0"/>
                      </a:cubicBezTo>
                      <a:cubicBezTo>
                        <a:pt x="129517" y="0"/>
                        <a:pt x="129517" y="0"/>
                        <a:pt x="129523" y="0"/>
                      </a:cubicBezTo>
                      <a:cubicBezTo>
                        <a:pt x="131294" y="0"/>
                        <a:pt x="132995" y="736"/>
                        <a:pt x="134249" y="2039"/>
                      </a:cubicBezTo>
                      <a:lnTo>
                        <a:pt x="162705" y="31673"/>
                      </a:lnTo>
                      <a:cubicBezTo>
                        <a:pt x="165321" y="34398"/>
                        <a:pt x="165331" y="38832"/>
                        <a:pt x="162718" y="41568"/>
                      </a:cubicBezTo>
                      <a:lnTo>
                        <a:pt x="39894" y="170477"/>
                      </a:lnTo>
                      <a:cubicBezTo>
                        <a:pt x="38638" y="171793"/>
                        <a:pt x="36940" y="172533"/>
                        <a:pt x="35162" y="172536"/>
                      </a:cubicBezTo>
                      <a:cubicBezTo>
                        <a:pt x="35156" y="172536"/>
                        <a:pt x="35156" y="172536"/>
                        <a:pt x="35149" y="172536"/>
                      </a:cubicBezTo>
                      <a:close/>
                      <a:moveTo>
                        <a:pt x="16158" y="135883"/>
                      </a:moveTo>
                      <a:lnTo>
                        <a:pt x="35129" y="155640"/>
                      </a:lnTo>
                      <a:lnTo>
                        <a:pt x="148515" y="36647"/>
                      </a:lnTo>
                      <a:lnTo>
                        <a:pt x="129543" y="16889"/>
                      </a:lnTo>
                      <a:lnTo>
                        <a:pt x="16158" y="135883"/>
                      </a:lnTo>
                      <a:close/>
                    </a:path>
                  </a:pathLst>
                </a:custGeom>
                <a:solidFill>
                  <a:schemeClr val="accent1"/>
                </a:solidFill>
                <a:ln w="331" cap="flat">
                  <a:noFill/>
                  <a:prstDash val="solid"/>
                  <a:miter/>
                </a:ln>
              </p:spPr>
              <p:txBody>
                <a:bodyPr rtlCol="0" anchor="ctr"/>
                <a:lstStyle/>
                <a:p>
                  <a:endParaRPr lang="en-GB" dirty="0"/>
                </a:p>
              </p:txBody>
            </p:sp>
            <p:sp>
              <p:nvSpPr>
                <p:cNvPr id="207" name="Freihandform: Form 488">
                  <a:extLst>
                    <a:ext uri="{FF2B5EF4-FFF2-40B4-BE49-F238E27FC236}">
                      <a16:creationId xmlns:a16="http://schemas.microsoft.com/office/drawing/2014/main" id="{2F8A0305-3CB2-4F23-A4C4-DE3415F5DD76}"/>
                    </a:ext>
                  </a:extLst>
                </p:cNvPr>
                <p:cNvSpPr/>
                <p:nvPr/>
              </p:nvSpPr>
              <p:spPr>
                <a:xfrm>
                  <a:off x="7257516" y="1907315"/>
                  <a:ext cx="51235" cy="53593"/>
                </a:xfrm>
                <a:custGeom>
                  <a:avLst/>
                  <a:gdLst>
                    <a:gd name="connsiteX0" fmla="*/ 6693 w 51235"/>
                    <a:gd name="connsiteY0" fmla="*/ 53594 h 53593"/>
                    <a:gd name="connsiteX1" fmla="*/ 1967 w 51235"/>
                    <a:gd name="connsiteY1" fmla="*/ 51554 h 53593"/>
                    <a:gd name="connsiteX2" fmla="*/ 197 w 51235"/>
                    <a:gd name="connsiteY2" fmla="*/ 44912 h 53593"/>
                    <a:gd name="connsiteX3" fmla="*/ 9591 w 51235"/>
                    <a:gd name="connsiteY3" fmla="*/ 5307 h 53593"/>
                    <a:gd name="connsiteX4" fmla="*/ 14290 w 51235"/>
                    <a:gd name="connsiteY4" fmla="*/ 250 h 53593"/>
                    <a:gd name="connsiteX5" fmla="*/ 20813 w 51235"/>
                    <a:gd name="connsiteY5" fmla="*/ 2034 h 53593"/>
                    <a:gd name="connsiteX6" fmla="*/ 49269 w 51235"/>
                    <a:gd name="connsiteY6" fmla="*/ 31667 h 53593"/>
                    <a:gd name="connsiteX7" fmla="*/ 50993 w 51235"/>
                    <a:gd name="connsiteY7" fmla="*/ 38482 h 53593"/>
                    <a:gd name="connsiteX8" fmla="*/ 46175 w 51235"/>
                    <a:gd name="connsiteY8" fmla="*/ 43413 h 53593"/>
                    <a:gd name="connsiteX9" fmla="*/ 8325 w 51235"/>
                    <a:gd name="connsiteY9" fmla="*/ 53388 h 53593"/>
                    <a:gd name="connsiteX10" fmla="*/ 6693 w 51235"/>
                    <a:gd name="connsiteY10" fmla="*/ 53594 h 53593"/>
                    <a:gd name="connsiteX11" fmla="*/ 19742 w 51235"/>
                    <a:gd name="connsiteY11" fmla="*/ 20671 h 53593"/>
                    <a:gd name="connsiteX12" fmla="*/ 15879 w 51235"/>
                    <a:gd name="connsiteY12" fmla="*/ 36960 h 53593"/>
                    <a:gd name="connsiteX13" fmla="*/ 31445 w 51235"/>
                    <a:gd name="connsiteY13" fmla="*/ 32855 h 53593"/>
                    <a:gd name="connsiteX14" fmla="*/ 19742 w 51235"/>
                    <a:gd name="connsiteY14" fmla="*/ 20671 h 5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235" h="53593">
                      <a:moveTo>
                        <a:pt x="6693" y="53594"/>
                      </a:moveTo>
                      <a:cubicBezTo>
                        <a:pt x="4942" y="53594"/>
                        <a:pt x="3241" y="52877"/>
                        <a:pt x="1967" y="51554"/>
                      </a:cubicBezTo>
                      <a:cubicBezTo>
                        <a:pt x="299" y="49820"/>
                        <a:pt x="-367" y="47296"/>
                        <a:pt x="197" y="44912"/>
                      </a:cubicBezTo>
                      <a:lnTo>
                        <a:pt x="9591" y="5307"/>
                      </a:lnTo>
                      <a:cubicBezTo>
                        <a:pt x="10172" y="2860"/>
                        <a:pt x="11966" y="930"/>
                        <a:pt x="14290" y="250"/>
                      </a:cubicBezTo>
                      <a:cubicBezTo>
                        <a:pt x="16611" y="-410"/>
                        <a:pt x="19102" y="253"/>
                        <a:pt x="20813" y="2034"/>
                      </a:cubicBezTo>
                      <a:lnTo>
                        <a:pt x="49269" y="31667"/>
                      </a:lnTo>
                      <a:cubicBezTo>
                        <a:pt x="50977" y="33448"/>
                        <a:pt x="51637" y="36048"/>
                        <a:pt x="50993" y="38482"/>
                      </a:cubicBezTo>
                      <a:cubicBezTo>
                        <a:pt x="50360" y="40913"/>
                        <a:pt x="48516" y="42796"/>
                        <a:pt x="46175" y="43413"/>
                      </a:cubicBezTo>
                      <a:lnTo>
                        <a:pt x="8325" y="53388"/>
                      </a:lnTo>
                      <a:cubicBezTo>
                        <a:pt x="7784" y="53527"/>
                        <a:pt x="7233" y="53594"/>
                        <a:pt x="6693" y="53594"/>
                      </a:cubicBezTo>
                      <a:close/>
                      <a:moveTo>
                        <a:pt x="19742" y="20671"/>
                      </a:moveTo>
                      <a:lnTo>
                        <a:pt x="15879" y="36960"/>
                      </a:lnTo>
                      <a:lnTo>
                        <a:pt x="31445" y="32855"/>
                      </a:lnTo>
                      <a:lnTo>
                        <a:pt x="19742" y="20671"/>
                      </a:lnTo>
                      <a:close/>
                    </a:path>
                  </a:pathLst>
                </a:custGeom>
                <a:solidFill>
                  <a:schemeClr val="accent1"/>
                </a:solidFill>
                <a:ln w="331" cap="flat">
                  <a:noFill/>
                  <a:prstDash val="solid"/>
                  <a:miter/>
                </a:ln>
              </p:spPr>
              <p:txBody>
                <a:bodyPr rtlCol="0" anchor="ctr"/>
                <a:lstStyle/>
                <a:p>
                  <a:endParaRPr lang="en-GB" dirty="0"/>
                </a:p>
              </p:txBody>
            </p:sp>
          </p:grpSp>
          <p:sp>
            <p:nvSpPr>
              <p:cNvPr id="205" name="Freihandform: Form 489">
                <a:extLst>
                  <a:ext uri="{FF2B5EF4-FFF2-40B4-BE49-F238E27FC236}">
                    <a16:creationId xmlns:a16="http://schemas.microsoft.com/office/drawing/2014/main" id="{4A3961FC-C648-4127-8BC2-289652DC118F}"/>
                  </a:ext>
                </a:extLst>
              </p:cNvPr>
              <p:cNvSpPr/>
              <p:nvPr/>
            </p:nvSpPr>
            <p:spPr>
              <a:xfrm>
                <a:off x="7074276" y="1856225"/>
                <a:ext cx="53836" cy="48699"/>
              </a:xfrm>
              <a:custGeom>
                <a:avLst/>
                <a:gdLst>
                  <a:gd name="connsiteX0" fmla="*/ 24268 w 53836"/>
                  <a:gd name="connsiteY0" fmla="*/ 48700 h 48699"/>
                  <a:gd name="connsiteX1" fmla="*/ 19463 w 53836"/>
                  <a:gd name="connsiteY1" fmla="*/ 46571 h 48699"/>
                  <a:gd name="connsiteX2" fmla="*/ 1891 w 53836"/>
                  <a:gd name="connsiteY2" fmla="*/ 27616 h 48699"/>
                  <a:gd name="connsiteX3" fmla="*/ 2033 w 53836"/>
                  <a:gd name="connsiteY3" fmla="*/ 17720 h 48699"/>
                  <a:gd name="connsiteX4" fmla="*/ 11501 w 53836"/>
                  <a:gd name="connsiteY4" fmla="*/ 17876 h 48699"/>
                  <a:gd name="connsiteX5" fmla="*/ 23393 w 53836"/>
                  <a:gd name="connsiteY5" fmla="*/ 30696 h 48699"/>
                  <a:gd name="connsiteX6" fmla="*/ 41631 w 53836"/>
                  <a:gd name="connsiteY6" fmla="*/ 3030 h 48699"/>
                  <a:gd name="connsiteX7" fmla="*/ 50940 w 53836"/>
                  <a:gd name="connsiteY7" fmla="*/ 1239 h 48699"/>
                  <a:gd name="connsiteX8" fmla="*/ 52654 w 53836"/>
                  <a:gd name="connsiteY8" fmla="*/ 10972 h 48699"/>
                  <a:gd name="connsiteX9" fmla="*/ 29779 w 53836"/>
                  <a:gd name="connsiteY9" fmla="*/ 45672 h 48699"/>
                  <a:gd name="connsiteX10" fmla="*/ 24825 w 53836"/>
                  <a:gd name="connsiteY10" fmla="*/ 48676 h 48699"/>
                  <a:gd name="connsiteX11" fmla="*/ 24268 w 53836"/>
                  <a:gd name="connsiteY11" fmla="*/ 48700 h 4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836" h="48699">
                    <a:moveTo>
                      <a:pt x="24268" y="48700"/>
                    </a:moveTo>
                    <a:cubicBezTo>
                      <a:pt x="22464" y="48700"/>
                      <a:pt x="20723" y="47937"/>
                      <a:pt x="19463" y="46571"/>
                    </a:cubicBezTo>
                    <a:lnTo>
                      <a:pt x="1891" y="27616"/>
                    </a:lnTo>
                    <a:cubicBezTo>
                      <a:pt x="-686" y="24840"/>
                      <a:pt x="-620" y="20413"/>
                      <a:pt x="2033" y="17720"/>
                    </a:cubicBezTo>
                    <a:cubicBezTo>
                      <a:pt x="4686" y="15037"/>
                      <a:pt x="8924" y="15097"/>
                      <a:pt x="11501" y="17876"/>
                    </a:cubicBezTo>
                    <a:lnTo>
                      <a:pt x="23393" y="30696"/>
                    </a:lnTo>
                    <a:lnTo>
                      <a:pt x="41631" y="3030"/>
                    </a:lnTo>
                    <a:cubicBezTo>
                      <a:pt x="43724" y="-147"/>
                      <a:pt x="47902" y="-963"/>
                      <a:pt x="50940" y="1239"/>
                    </a:cubicBezTo>
                    <a:cubicBezTo>
                      <a:pt x="53987" y="3428"/>
                      <a:pt x="54750" y="7788"/>
                      <a:pt x="52654" y="10972"/>
                    </a:cubicBezTo>
                    <a:lnTo>
                      <a:pt x="29779" y="45672"/>
                    </a:lnTo>
                    <a:cubicBezTo>
                      <a:pt x="28642" y="47396"/>
                      <a:pt x="26825" y="48501"/>
                      <a:pt x="24825" y="48676"/>
                    </a:cubicBezTo>
                    <a:cubicBezTo>
                      <a:pt x="24639" y="48693"/>
                      <a:pt x="24450" y="48700"/>
                      <a:pt x="24268" y="48700"/>
                    </a:cubicBezTo>
                    <a:close/>
                  </a:path>
                </a:pathLst>
              </a:custGeom>
              <a:solidFill>
                <a:schemeClr val="accent1"/>
              </a:solidFill>
              <a:ln w="331" cap="flat">
                <a:noFill/>
                <a:prstDash val="solid"/>
                <a:miter/>
              </a:ln>
            </p:spPr>
            <p:txBody>
              <a:bodyPr rtlCol="0" anchor="ctr"/>
              <a:lstStyle/>
              <a:p>
                <a:endParaRPr lang="en-GB" dirty="0"/>
              </a:p>
            </p:txBody>
          </p:sp>
        </p:grpSp>
      </p:grpSp>
      <p:grpSp>
        <p:nvGrpSpPr>
          <p:cNvPr id="73" name="Group 72">
            <a:extLst>
              <a:ext uri="{FF2B5EF4-FFF2-40B4-BE49-F238E27FC236}">
                <a16:creationId xmlns:a16="http://schemas.microsoft.com/office/drawing/2014/main" id="{CACDCB0F-3098-9AA4-4F9F-FE665AD534C1}"/>
              </a:ext>
            </a:extLst>
          </p:cNvPr>
          <p:cNvGrpSpPr/>
          <p:nvPr/>
        </p:nvGrpSpPr>
        <p:grpSpPr>
          <a:xfrm>
            <a:off x="1587304" y="3197068"/>
            <a:ext cx="504360" cy="432000"/>
            <a:chOff x="1587304" y="3197068"/>
            <a:chExt cx="504360" cy="432000"/>
          </a:xfrm>
        </p:grpSpPr>
        <p:grpSp>
          <p:nvGrpSpPr>
            <p:cNvPr id="220" name="Graphic 7">
              <a:extLst>
                <a:ext uri="{FF2B5EF4-FFF2-40B4-BE49-F238E27FC236}">
                  <a16:creationId xmlns:a16="http://schemas.microsoft.com/office/drawing/2014/main" id="{FC037124-03DA-49AF-B249-A2D076A0EF70}"/>
                </a:ext>
              </a:extLst>
            </p:cNvPr>
            <p:cNvGrpSpPr/>
            <p:nvPr/>
          </p:nvGrpSpPr>
          <p:grpSpPr>
            <a:xfrm>
              <a:off x="1778295" y="3500109"/>
              <a:ext cx="122508" cy="128066"/>
              <a:chOff x="7993884" y="2813569"/>
              <a:chExt cx="120498" cy="125964"/>
            </a:xfrm>
            <a:solidFill>
              <a:schemeClr val="accent1"/>
            </a:solidFill>
          </p:grpSpPr>
          <p:sp>
            <p:nvSpPr>
              <p:cNvPr id="235" name="Freihandform: Form 372">
                <a:extLst>
                  <a:ext uri="{FF2B5EF4-FFF2-40B4-BE49-F238E27FC236}">
                    <a16:creationId xmlns:a16="http://schemas.microsoft.com/office/drawing/2014/main" id="{6D60E164-3BC1-4616-8C6A-5B2DBC9F0F2E}"/>
                  </a:ext>
                </a:extLst>
              </p:cNvPr>
              <p:cNvSpPr/>
              <p:nvPr/>
            </p:nvSpPr>
            <p:spPr>
              <a:xfrm>
                <a:off x="7993884" y="2813576"/>
                <a:ext cx="120498" cy="125957"/>
              </a:xfrm>
              <a:custGeom>
                <a:avLst/>
                <a:gdLst>
                  <a:gd name="connsiteX0" fmla="*/ 60248 w 120498"/>
                  <a:gd name="connsiteY0" fmla="*/ 125957 h 125957"/>
                  <a:gd name="connsiteX1" fmla="*/ 0 w 120498"/>
                  <a:gd name="connsiteY1" fmla="*/ 62977 h 125957"/>
                  <a:gd name="connsiteX2" fmla="*/ 60248 w 120498"/>
                  <a:gd name="connsiteY2" fmla="*/ 0 h 125957"/>
                  <a:gd name="connsiteX3" fmla="*/ 85789 w 120498"/>
                  <a:gd name="connsiteY3" fmla="*/ 5926 h 125957"/>
                  <a:gd name="connsiteX4" fmla="*/ 89005 w 120498"/>
                  <a:gd name="connsiteY4" fmla="*/ 15231 h 125957"/>
                  <a:gd name="connsiteX5" fmla="*/ 80102 w 120498"/>
                  <a:gd name="connsiteY5" fmla="*/ 18597 h 125957"/>
                  <a:gd name="connsiteX6" fmla="*/ 60248 w 120498"/>
                  <a:gd name="connsiteY6" fmla="*/ 13998 h 125957"/>
                  <a:gd name="connsiteX7" fmla="*/ 13387 w 120498"/>
                  <a:gd name="connsiteY7" fmla="*/ 62980 h 125957"/>
                  <a:gd name="connsiteX8" fmla="*/ 60248 w 120498"/>
                  <a:gd name="connsiteY8" fmla="*/ 111966 h 125957"/>
                  <a:gd name="connsiteX9" fmla="*/ 107108 w 120498"/>
                  <a:gd name="connsiteY9" fmla="*/ 62980 h 125957"/>
                  <a:gd name="connsiteX10" fmla="*/ 105775 w 120498"/>
                  <a:gd name="connsiteY10" fmla="*/ 51314 h 125957"/>
                  <a:gd name="connsiteX11" fmla="*/ 110696 w 120498"/>
                  <a:gd name="connsiteY11" fmla="*/ 42861 h 125957"/>
                  <a:gd name="connsiteX12" fmla="*/ 118785 w 120498"/>
                  <a:gd name="connsiteY12" fmla="*/ 48008 h 125957"/>
                  <a:gd name="connsiteX13" fmla="*/ 120499 w 120498"/>
                  <a:gd name="connsiteY13" fmla="*/ 62980 h 125957"/>
                  <a:gd name="connsiteX14" fmla="*/ 60248 w 120498"/>
                  <a:gd name="connsiteY14" fmla="*/ 125957 h 1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498" h="125957">
                    <a:moveTo>
                      <a:pt x="60248" y="125957"/>
                    </a:moveTo>
                    <a:cubicBezTo>
                      <a:pt x="27023" y="125957"/>
                      <a:pt x="0" y="97704"/>
                      <a:pt x="0" y="62977"/>
                    </a:cubicBezTo>
                    <a:cubicBezTo>
                      <a:pt x="0" y="28250"/>
                      <a:pt x="27027" y="0"/>
                      <a:pt x="60248" y="0"/>
                    </a:cubicBezTo>
                    <a:cubicBezTo>
                      <a:pt x="69171" y="0"/>
                      <a:pt x="77760" y="1993"/>
                      <a:pt x="85789" y="5926"/>
                    </a:cubicBezTo>
                    <a:cubicBezTo>
                      <a:pt x="89135" y="7567"/>
                      <a:pt x="90574" y="11733"/>
                      <a:pt x="89005" y="15231"/>
                    </a:cubicBezTo>
                    <a:cubicBezTo>
                      <a:pt x="87437" y="18726"/>
                      <a:pt x="83468" y="20242"/>
                      <a:pt x="80102" y="18597"/>
                    </a:cubicBezTo>
                    <a:cubicBezTo>
                      <a:pt x="73870" y="15546"/>
                      <a:pt x="67188" y="13998"/>
                      <a:pt x="60248" y="13998"/>
                    </a:cubicBezTo>
                    <a:cubicBezTo>
                      <a:pt x="34412" y="13998"/>
                      <a:pt x="13387" y="35974"/>
                      <a:pt x="13387" y="62980"/>
                    </a:cubicBezTo>
                    <a:cubicBezTo>
                      <a:pt x="13387" y="89990"/>
                      <a:pt x="34412" y="111966"/>
                      <a:pt x="60248" y="111966"/>
                    </a:cubicBezTo>
                    <a:cubicBezTo>
                      <a:pt x="86084" y="111966"/>
                      <a:pt x="107108" y="89990"/>
                      <a:pt x="107108" y="62980"/>
                    </a:cubicBezTo>
                    <a:cubicBezTo>
                      <a:pt x="107108" y="59044"/>
                      <a:pt x="106657" y="55118"/>
                      <a:pt x="105775" y="51314"/>
                    </a:cubicBezTo>
                    <a:cubicBezTo>
                      <a:pt x="104900" y="47560"/>
                      <a:pt x="107102" y="43773"/>
                      <a:pt x="110696" y="42861"/>
                    </a:cubicBezTo>
                    <a:cubicBezTo>
                      <a:pt x="114264" y="41926"/>
                      <a:pt x="117909" y="44254"/>
                      <a:pt x="118785" y="48008"/>
                    </a:cubicBezTo>
                    <a:cubicBezTo>
                      <a:pt x="119922" y="52893"/>
                      <a:pt x="120499" y="57930"/>
                      <a:pt x="120499" y="62980"/>
                    </a:cubicBezTo>
                    <a:cubicBezTo>
                      <a:pt x="120499" y="97704"/>
                      <a:pt x="93472" y="125957"/>
                      <a:pt x="60248" y="125957"/>
                    </a:cubicBezTo>
                    <a:close/>
                  </a:path>
                </a:pathLst>
              </a:custGeom>
              <a:solidFill>
                <a:schemeClr val="accent1"/>
              </a:solidFill>
              <a:ln w="331" cap="flat">
                <a:noFill/>
                <a:prstDash val="solid"/>
                <a:miter/>
              </a:ln>
            </p:spPr>
            <p:txBody>
              <a:bodyPr rtlCol="0" anchor="ctr"/>
              <a:lstStyle/>
              <a:p>
                <a:endParaRPr lang="en-GB" dirty="0"/>
              </a:p>
            </p:txBody>
          </p:sp>
          <p:sp>
            <p:nvSpPr>
              <p:cNvPr id="236" name="Freihandform: Form 373">
                <a:extLst>
                  <a:ext uri="{FF2B5EF4-FFF2-40B4-BE49-F238E27FC236}">
                    <a16:creationId xmlns:a16="http://schemas.microsoft.com/office/drawing/2014/main" id="{E9B8E1A4-C49A-48E7-B6B1-735CEDDE16A4}"/>
                  </a:ext>
                </a:extLst>
              </p:cNvPr>
              <p:cNvSpPr/>
              <p:nvPr/>
            </p:nvSpPr>
            <p:spPr>
              <a:xfrm>
                <a:off x="8023174" y="2813569"/>
                <a:ext cx="91207" cy="92375"/>
              </a:xfrm>
              <a:custGeom>
                <a:avLst/>
                <a:gdLst>
                  <a:gd name="connsiteX0" fmla="*/ 30954 w 91207"/>
                  <a:gd name="connsiteY0" fmla="*/ 92375 h 92375"/>
                  <a:gd name="connsiteX1" fmla="*/ 26331 w 91207"/>
                  <a:gd name="connsiteY1" fmla="*/ 90439 h 92375"/>
                  <a:gd name="connsiteX2" fmla="*/ 2070 w 91207"/>
                  <a:gd name="connsiteY2" fmla="*/ 66214 h 92375"/>
                  <a:gd name="connsiteX3" fmla="*/ 1855 w 91207"/>
                  <a:gd name="connsiteY3" fmla="*/ 56319 h 92375"/>
                  <a:gd name="connsiteX4" fmla="*/ 11316 w 91207"/>
                  <a:gd name="connsiteY4" fmla="*/ 56093 h 92375"/>
                  <a:gd name="connsiteX5" fmla="*/ 29993 w 91207"/>
                  <a:gd name="connsiteY5" fmla="*/ 74743 h 92375"/>
                  <a:gd name="connsiteX6" fmla="*/ 79068 w 91207"/>
                  <a:gd name="connsiteY6" fmla="*/ 2932 h 92375"/>
                  <a:gd name="connsiteX7" fmla="*/ 88403 w 91207"/>
                  <a:gd name="connsiteY7" fmla="*/ 1307 h 92375"/>
                  <a:gd name="connsiteX8" fmla="*/ 89958 w 91207"/>
                  <a:gd name="connsiteY8" fmla="*/ 11067 h 92375"/>
                  <a:gd name="connsiteX9" fmla="*/ 36396 w 91207"/>
                  <a:gd name="connsiteY9" fmla="*/ 89444 h 92375"/>
                  <a:gd name="connsiteX10" fmla="*/ 31578 w 91207"/>
                  <a:gd name="connsiteY10" fmla="*/ 92345 h 92375"/>
                  <a:gd name="connsiteX11" fmla="*/ 30954 w 91207"/>
                  <a:gd name="connsiteY11" fmla="*/ 92375 h 9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207" h="92375">
                    <a:moveTo>
                      <a:pt x="30954" y="92375"/>
                    </a:moveTo>
                    <a:cubicBezTo>
                      <a:pt x="29240" y="92375"/>
                      <a:pt x="27582" y="91689"/>
                      <a:pt x="26331" y="90439"/>
                    </a:cubicBezTo>
                    <a:lnTo>
                      <a:pt x="2070" y="66214"/>
                    </a:lnTo>
                    <a:cubicBezTo>
                      <a:pt x="-602" y="63545"/>
                      <a:pt x="-702" y="59114"/>
                      <a:pt x="1855" y="56319"/>
                    </a:cubicBezTo>
                    <a:cubicBezTo>
                      <a:pt x="4412" y="53533"/>
                      <a:pt x="8646" y="53424"/>
                      <a:pt x="11316" y="56093"/>
                    </a:cubicBezTo>
                    <a:lnTo>
                      <a:pt x="29993" y="74743"/>
                    </a:lnTo>
                    <a:lnTo>
                      <a:pt x="79068" y="2932"/>
                    </a:lnTo>
                    <a:cubicBezTo>
                      <a:pt x="81221" y="-208"/>
                      <a:pt x="85402" y="-948"/>
                      <a:pt x="88403" y="1307"/>
                    </a:cubicBezTo>
                    <a:cubicBezTo>
                      <a:pt x="91411" y="3552"/>
                      <a:pt x="92111" y="7923"/>
                      <a:pt x="89958" y="11067"/>
                    </a:cubicBezTo>
                    <a:lnTo>
                      <a:pt x="36396" y="89444"/>
                    </a:lnTo>
                    <a:cubicBezTo>
                      <a:pt x="35272" y="91099"/>
                      <a:pt x="33514" y="92153"/>
                      <a:pt x="31578" y="92345"/>
                    </a:cubicBezTo>
                    <a:cubicBezTo>
                      <a:pt x="31372" y="92365"/>
                      <a:pt x="31163" y="92375"/>
                      <a:pt x="30954" y="92375"/>
                    </a:cubicBezTo>
                    <a:close/>
                  </a:path>
                </a:pathLst>
              </a:custGeom>
              <a:solidFill>
                <a:schemeClr val="accent1"/>
              </a:solidFill>
              <a:ln w="331" cap="flat">
                <a:noFill/>
                <a:prstDash val="solid"/>
                <a:miter/>
              </a:ln>
            </p:spPr>
            <p:txBody>
              <a:bodyPr rtlCol="0" anchor="ctr"/>
              <a:lstStyle/>
              <a:p>
                <a:endParaRPr lang="en-GB" dirty="0"/>
              </a:p>
            </p:txBody>
          </p:sp>
        </p:grpSp>
        <p:grpSp>
          <p:nvGrpSpPr>
            <p:cNvPr id="221" name="Gruppieren 551">
              <a:extLst>
                <a:ext uri="{FF2B5EF4-FFF2-40B4-BE49-F238E27FC236}">
                  <a16:creationId xmlns:a16="http://schemas.microsoft.com/office/drawing/2014/main" id="{5305A43C-FF87-452A-B2A6-9A7D7C4B4031}"/>
                </a:ext>
              </a:extLst>
            </p:cNvPr>
            <p:cNvGrpSpPr/>
            <p:nvPr/>
          </p:nvGrpSpPr>
          <p:grpSpPr>
            <a:xfrm>
              <a:off x="1587304" y="3197068"/>
              <a:ext cx="504360" cy="432000"/>
              <a:chOff x="7806027" y="2515501"/>
              <a:chExt cx="496084" cy="424911"/>
            </a:xfrm>
            <a:solidFill>
              <a:schemeClr val="tx2"/>
            </a:solidFill>
          </p:grpSpPr>
          <p:grpSp>
            <p:nvGrpSpPr>
              <p:cNvPr id="222" name="Graphic 7">
                <a:extLst>
                  <a:ext uri="{FF2B5EF4-FFF2-40B4-BE49-F238E27FC236}">
                    <a16:creationId xmlns:a16="http://schemas.microsoft.com/office/drawing/2014/main" id="{EDF9349B-F270-4B01-899B-F10265AA596C}"/>
                  </a:ext>
                </a:extLst>
              </p:cNvPr>
              <p:cNvGrpSpPr/>
              <p:nvPr/>
            </p:nvGrpSpPr>
            <p:grpSpPr>
              <a:xfrm>
                <a:off x="7946486" y="2515501"/>
                <a:ext cx="214216" cy="286913"/>
                <a:chOff x="7946486" y="2515501"/>
                <a:chExt cx="214216" cy="286913"/>
              </a:xfrm>
              <a:grpFill/>
            </p:grpSpPr>
            <p:sp>
              <p:nvSpPr>
                <p:cNvPr id="229" name="Freihandform: Form 364">
                  <a:extLst>
                    <a:ext uri="{FF2B5EF4-FFF2-40B4-BE49-F238E27FC236}">
                      <a16:creationId xmlns:a16="http://schemas.microsoft.com/office/drawing/2014/main" id="{F6D9CD46-6291-4524-AA12-F06CC545AE21}"/>
                    </a:ext>
                  </a:extLst>
                </p:cNvPr>
                <p:cNvSpPr/>
                <p:nvPr/>
              </p:nvSpPr>
              <p:spPr>
                <a:xfrm>
                  <a:off x="8046903" y="2746428"/>
                  <a:ext cx="13390" cy="55986"/>
                </a:xfrm>
                <a:custGeom>
                  <a:avLst/>
                  <a:gdLst>
                    <a:gd name="connsiteX0" fmla="*/ 6695 w 13390"/>
                    <a:gd name="connsiteY0" fmla="*/ 55987 h 55986"/>
                    <a:gd name="connsiteX1" fmla="*/ 0 w 13390"/>
                    <a:gd name="connsiteY1" fmla="*/ 48989 h 55986"/>
                    <a:gd name="connsiteX2" fmla="*/ 0 w 13390"/>
                    <a:gd name="connsiteY2" fmla="*/ 6997 h 55986"/>
                    <a:gd name="connsiteX3" fmla="*/ 6695 w 13390"/>
                    <a:gd name="connsiteY3" fmla="*/ 0 h 55986"/>
                    <a:gd name="connsiteX4" fmla="*/ 13391 w 13390"/>
                    <a:gd name="connsiteY4" fmla="*/ 6997 h 55986"/>
                    <a:gd name="connsiteX5" fmla="*/ 13391 w 13390"/>
                    <a:gd name="connsiteY5" fmla="*/ 48989 h 55986"/>
                    <a:gd name="connsiteX6" fmla="*/ 6695 w 13390"/>
                    <a:gd name="connsiteY6" fmla="*/ 55987 h 55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0" h="55986">
                      <a:moveTo>
                        <a:pt x="6695" y="55987"/>
                      </a:moveTo>
                      <a:cubicBezTo>
                        <a:pt x="2995" y="55987"/>
                        <a:pt x="0" y="52853"/>
                        <a:pt x="0" y="48989"/>
                      </a:cubicBezTo>
                      <a:lnTo>
                        <a:pt x="0" y="6997"/>
                      </a:lnTo>
                      <a:cubicBezTo>
                        <a:pt x="0" y="3134"/>
                        <a:pt x="2995" y="0"/>
                        <a:pt x="6695" y="0"/>
                      </a:cubicBezTo>
                      <a:cubicBezTo>
                        <a:pt x="10396" y="0"/>
                        <a:pt x="13391" y="3134"/>
                        <a:pt x="13391" y="6997"/>
                      </a:cubicBezTo>
                      <a:lnTo>
                        <a:pt x="13391" y="48989"/>
                      </a:lnTo>
                      <a:cubicBezTo>
                        <a:pt x="13391" y="52853"/>
                        <a:pt x="10396" y="55987"/>
                        <a:pt x="6695" y="55987"/>
                      </a:cubicBezTo>
                      <a:close/>
                    </a:path>
                  </a:pathLst>
                </a:custGeom>
                <a:grpFill/>
                <a:ln w="331" cap="flat">
                  <a:noFill/>
                  <a:prstDash val="solid"/>
                  <a:miter/>
                </a:ln>
              </p:spPr>
              <p:txBody>
                <a:bodyPr rtlCol="0" anchor="ctr"/>
                <a:lstStyle/>
                <a:p>
                  <a:endParaRPr lang="en-GB" dirty="0"/>
                </a:p>
              </p:txBody>
            </p:sp>
            <p:sp>
              <p:nvSpPr>
                <p:cNvPr id="230" name="Freihandform: Form 365">
                  <a:extLst>
                    <a:ext uri="{FF2B5EF4-FFF2-40B4-BE49-F238E27FC236}">
                      <a16:creationId xmlns:a16="http://schemas.microsoft.com/office/drawing/2014/main" id="{C9997DBB-7500-4AF4-8D55-307AFCB16CCC}"/>
                    </a:ext>
                  </a:extLst>
                </p:cNvPr>
                <p:cNvSpPr/>
                <p:nvPr/>
              </p:nvSpPr>
              <p:spPr>
                <a:xfrm>
                  <a:off x="7993350" y="2515501"/>
                  <a:ext cx="120495" cy="209935"/>
                </a:xfrm>
                <a:custGeom>
                  <a:avLst/>
                  <a:gdLst>
                    <a:gd name="connsiteX0" fmla="*/ 60248 w 120495"/>
                    <a:gd name="connsiteY0" fmla="*/ 209935 h 209935"/>
                    <a:gd name="connsiteX1" fmla="*/ 0 w 120495"/>
                    <a:gd name="connsiteY1" fmla="*/ 146955 h 209935"/>
                    <a:gd name="connsiteX2" fmla="*/ 0 w 120495"/>
                    <a:gd name="connsiteY2" fmla="*/ 62980 h 209935"/>
                    <a:gd name="connsiteX3" fmla="*/ 60248 w 120495"/>
                    <a:gd name="connsiteY3" fmla="*/ 0 h 209935"/>
                    <a:gd name="connsiteX4" fmla="*/ 120496 w 120495"/>
                    <a:gd name="connsiteY4" fmla="*/ 62980 h 209935"/>
                    <a:gd name="connsiteX5" fmla="*/ 120496 w 120495"/>
                    <a:gd name="connsiteY5" fmla="*/ 146955 h 209935"/>
                    <a:gd name="connsiteX6" fmla="*/ 60248 w 120495"/>
                    <a:gd name="connsiteY6" fmla="*/ 209935 h 209935"/>
                    <a:gd name="connsiteX7" fmla="*/ 60248 w 120495"/>
                    <a:gd name="connsiteY7" fmla="*/ 13994 h 209935"/>
                    <a:gd name="connsiteX8" fmla="*/ 13387 w 120495"/>
                    <a:gd name="connsiteY8" fmla="*/ 62980 h 209935"/>
                    <a:gd name="connsiteX9" fmla="*/ 13387 w 120495"/>
                    <a:gd name="connsiteY9" fmla="*/ 146955 h 209935"/>
                    <a:gd name="connsiteX10" fmla="*/ 60248 w 120495"/>
                    <a:gd name="connsiteY10" fmla="*/ 195941 h 209935"/>
                    <a:gd name="connsiteX11" fmla="*/ 107108 w 120495"/>
                    <a:gd name="connsiteY11" fmla="*/ 146955 h 209935"/>
                    <a:gd name="connsiteX12" fmla="*/ 107108 w 120495"/>
                    <a:gd name="connsiteY12" fmla="*/ 62980 h 209935"/>
                    <a:gd name="connsiteX13" fmla="*/ 60248 w 120495"/>
                    <a:gd name="connsiteY13" fmla="*/ 13994 h 209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495" h="209935">
                      <a:moveTo>
                        <a:pt x="60248" y="209935"/>
                      </a:moveTo>
                      <a:cubicBezTo>
                        <a:pt x="27023" y="209935"/>
                        <a:pt x="0" y="181682"/>
                        <a:pt x="0" y="146955"/>
                      </a:cubicBezTo>
                      <a:lnTo>
                        <a:pt x="0" y="62980"/>
                      </a:lnTo>
                      <a:cubicBezTo>
                        <a:pt x="0" y="28254"/>
                        <a:pt x="27027" y="0"/>
                        <a:pt x="60248" y="0"/>
                      </a:cubicBezTo>
                      <a:cubicBezTo>
                        <a:pt x="93469" y="0"/>
                        <a:pt x="120496" y="28254"/>
                        <a:pt x="120496" y="62980"/>
                      </a:cubicBezTo>
                      <a:lnTo>
                        <a:pt x="120496" y="146955"/>
                      </a:lnTo>
                      <a:cubicBezTo>
                        <a:pt x="120496" y="181682"/>
                        <a:pt x="93469" y="209935"/>
                        <a:pt x="60248" y="209935"/>
                      </a:cubicBezTo>
                      <a:close/>
                      <a:moveTo>
                        <a:pt x="60248" y="13994"/>
                      </a:moveTo>
                      <a:cubicBezTo>
                        <a:pt x="34412" y="13994"/>
                        <a:pt x="13387" y="35970"/>
                        <a:pt x="13387" y="62980"/>
                      </a:cubicBezTo>
                      <a:lnTo>
                        <a:pt x="13387" y="146955"/>
                      </a:lnTo>
                      <a:cubicBezTo>
                        <a:pt x="13387" y="173965"/>
                        <a:pt x="34412" y="195941"/>
                        <a:pt x="60248" y="195941"/>
                      </a:cubicBezTo>
                      <a:cubicBezTo>
                        <a:pt x="86084" y="195941"/>
                        <a:pt x="107108" y="173965"/>
                        <a:pt x="107108" y="146955"/>
                      </a:cubicBezTo>
                      <a:lnTo>
                        <a:pt x="107108" y="62980"/>
                      </a:lnTo>
                      <a:cubicBezTo>
                        <a:pt x="107108" y="35967"/>
                        <a:pt x="86084" y="13994"/>
                        <a:pt x="60248" y="13994"/>
                      </a:cubicBezTo>
                      <a:close/>
                    </a:path>
                  </a:pathLst>
                </a:custGeom>
                <a:grpFill/>
                <a:ln w="331" cap="flat">
                  <a:noFill/>
                  <a:prstDash val="solid"/>
                  <a:miter/>
                </a:ln>
              </p:spPr>
              <p:txBody>
                <a:bodyPr rtlCol="0" anchor="ctr"/>
                <a:lstStyle/>
                <a:p>
                  <a:endParaRPr lang="en-GB" dirty="0"/>
                </a:p>
              </p:txBody>
            </p:sp>
            <p:sp>
              <p:nvSpPr>
                <p:cNvPr id="231" name="Freihandform: Form 366">
                  <a:extLst>
                    <a:ext uri="{FF2B5EF4-FFF2-40B4-BE49-F238E27FC236}">
                      <a16:creationId xmlns:a16="http://schemas.microsoft.com/office/drawing/2014/main" id="{CBF6379B-430C-4BC9-A8D3-0D7859B1DB8D}"/>
                    </a:ext>
                  </a:extLst>
                </p:cNvPr>
                <p:cNvSpPr/>
                <p:nvPr/>
              </p:nvSpPr>
              <p:spPr>
                <a:xfrm>
                  <a:off x="7993340" y="2613470"/>
                  <a:ext cx="120505" cy="13994"/>
                </a:xfrm>
                <a:custGeom>
                  <a:avLst/>
                  <a:gdLst>
                    <a:gd name="connsiteX0" fmla="*/ 113810 w 120505"/>
                    <a:gd name="connsiteY0" fmla="*/ 13994 h 13994"/>
                    <a:gd name="connsiteX1" fmla="*/ 6695 w 120505"/>
                    <a:gd name="connsiteY1" fmla="*/ 13994 h 13994"/>
                    <a:gd name="connsiteX2" fmla="*/ 0 w 120505"/>
                    <a:gd name="connsiteY2" fmla="*/ 6997 h 13994"/>
                    <a:gd name="connsiteX3" fmla="*/ 6695 w 120505"/>
                    <a:gd name="connsiteY3" fmla="*/ 0 h 13994"/>
                    <a:gd name="connsiteX4" fmla="*/ 113810 w 120505"/>
                    <a:gd name="connsiteY4" fmla="*/ 0 h 13994"/>
                    <a:gd name="connsiteX5" fmla="*/ 120506 w 120505"/>
                    <a:gd name="connsiteY5" fmla="*/ 6997 h 13994"/>
                    <a:gd name="connsiteX6" fmla="*/ 113810 w 120505"/>
                    <a:gd name="connsiteY6" fmla="*/ 13994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505" h="13994">
                      <a:moveTo>
                        <a:pt x="113810" y="13994"/>
                      </a:moveTo>
                      <a:lnTo>
                        <a:pt x="6695" y="13994"/>
                      </a:lnTo>
                      <a:cubicBezTo>
                        <a:pt x="2995" y="13994"/>
                        <a:pt x="0" y="10860"/>
                        <a:pt x="0" y="6997"/>
                      </a:cubicBezTo>
                      <a:cubicBezTo>
                        <a:pt x="0" y="3134"/>
                        <a:pt x="2995" y="0"/>
                        <a:pt x="6695" y="0"/>
                      </a:cubicBezTo>
                      <a:lnTo>
                        <a:pt x="113810" y="0"/>
                      </a:lnTo>
                      <a:cubicBezTo>
                        <a:pt x="117511" y="0"/>
                        <a:pt x="120506" y="3134"/>
                        <a:pt x="120506" y="6997"/>
                      </a:cubicBezTo>
                      <a:cubicBezTo>
                        <a:pt x="120506" y="10860"/>
                        <a:pt x="117511" y="13994"/>
                        <a:pt x="113810" y="13994"/>
                      </a:cubicBezTo>
                      <a:close/>
                    </a:path>
                  </a:pathLst>
                </a:custGeom>
                <a:grpFill/>
                <a:ln w="331" cap="flat">
                  <a:noFill/>
                  <a:prstDash val="solid"/>
                  <a:miter/>
                </a:ln>
              </p:spPr>
              <p:txBody>
                <a:bodyPr rtlCol="0" anchor="ctr"/>
                <a:lstStyle/>
                <a:p>
                  <a:endParaRPr lang="en-GB" dirty="0"/>
                </a:p>
              </p:txBody>
            </p:sp>
            <p:sp>
              <p:nvSpPr>
                <p:cNvPr id="232" name="Freihandform: Form 367">
                  <a:extLst>
                    <a:ext uri="{FF2B5EF4-FFF2-40B4-BE49-F238E27FC236}">
                      <a16:creationId xmlns:a16="http://schemas.microsoft.com/office/drawing/2014/main" id="{7A58D337-67B3-4692-A4CC-FFCEB234356E}"/>
                    </a:ext>
                  </a:extLst>
                </p:cNvPr>
                <p:cNvSpPr/>
                <p:nvPr/>
              </p:nvSpPr>
              <p:spPr>
                <a:xfrm>
                  <a:off x="7946486" y="2613470"/>
                  <a:ext cx="214216" cy="146955"/>
                </a:xfrm>
                <a:custGeom>
                  <a:avLst/>
                  <a:gdLst>
                    <a:gd name="connsiteX0" fmla="*/ 107111 w 214216"/>
                    <a:gd name="connsiteY0" fmla="*/ 146955 h 146955"/>
                    <a:gd name="connsiteX1" fmla="*/ 13391 w 214216"/>
                    <a:gd name="connsiteY1" fmla="*/ 48983 h 146955"/>
                    <a:gd name="connsiteX2" fmla="*/ 13391 w 214216"/>
                    <a:gd name="connsiteY2" fmla="*/ 13994 h 146955"/>
                    <a:gd name="connsiteX3" fmla="*/ 6695 w 214216"/>
                    <a:gd name="connsiteY3" fmla="*/ 13994 h 146955"/>
                    <a:gd name="connsiteX4" fmla="*/ 0 w 214216"/>
                    <a:gd name="connsiteY4" fmla="*/ 6997 h 146955"/>
                    <a:gd name="connsiteX5" fmla="*/ 6695 w 214216"/>
                    <a:gd name="connsiteY5" fmla="*/ 0 h 146955"/>
                    <a:gd name="connsiteX6" fmla="*/ 20083 w 214216"/>
                    <a:gd name="connsiteY6" fmla="*/ 0 h 146955"/>
                    <a:gd name="connsiteX7" fmla="*/ 26778 w 214216"/>
                    <a:gd name="connsiteY7" fmla="*/ 6997 h 146955"/>
                    <a:gd name="connsiteX8" fmla="*/ 26778 w 214216"/>
                    <a:gd name="connsiteY8" fmla="*/ 48986 h 146955"/>
                    <a:gd name="connsiteX9" fmla="*/ 107108 w 214216"/>
                    <a:gd name="connsiteY9" fmla="*/ 132961 h 146955"/>
                    <a:gd name="connsiteX10" fmla="*/ 187439 w 214216"/>
                    <a:gd name="connsiteY10" fmla="*/ 48986 h 146955"/>
                    <a:gd name="connsiteX11" fmla="*/ 187439 w 214216"/>
                    <a:gd name="connsiteY11" fmla="*/ 6997 h 146955"/>
                    <a:gd name="connsiteX12" fmla="*/ 194134 w 214216"/>
                    <a:gd name="connsiteY12" fmla="*/ 0 h 146955"/>
                    <a:gd name="connsiteX13" fmla="*/ 207521 w 214216"/>
                    <a:gd name="connsiteY13" fmla="*/ 0 h 146955"/>
                    <a:gd name="connsiteX14" fmla="*/ 214217 w 214216"/>
                    <a:gd name="connsiteY14" fmla="*/ 6997 h 146955"/>
                    <a:gd name="connsiteX15" fmla="*/ 207521 w 214216"/>
                    <a:gd name="connsiteY15" fmla="*/ 13994 h 146955"/>
                    <a:gd name="connsiteX16" fmla="*/ 200826 w 214216"/>
                    <a:gd name="connsiteY16" fmla="*/ 13994 h 146955"/>
                    <a:gd name="connsiteX17" fmla="*/ 200826 w 214216"/>
                    <a:gd name="connsiteY17" fmla="*/ 48983 h 146955"/>
                    <a:gd name="connsiteX18" fmla="*/ 107111 w 214216"/>
                    <a:gd name="connsiteY18" fmla="*/ 146955 h 146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4216" h="146955">
                      <a:moveTo>
                        <a:pt x="107111" y="146955"/>
                      </a:moveTo>
                      <a:cubicBezTo>
                        <a:pt x="55433" y="146955"/>
                        <a:pt x="13391" y="103006"/>
                        <a:pt x="13391" y="48983"/>
                      </a:cubicBezTo>
                      <a:lnTo>
                        <a:pt x="13391" y="13994"/>
                      </a:lnTo>
                      <a:lnTo>
                        <a:pt x="6695" y="13994"/>
                      </a:lnTo>
                      <a:cubicBezTo>
                        <a:pt x="2994" y="13994"/>
                        <a:pt x="0" y="10860"/>
                        <a:pt x="0" y="6997"/>
                      </a:cubicBezTo>
                      <a:cubicBezTo>
                        <a:pt x="0" y="3134"/>
                        <a:pt x="2994" y="0"/>
                        <a:pt x="6695" y="0"/>
                      </a:cubicBezTo>
                      <a:lnTo>
                        <a:pt x="20083" y="0"/>
                      </a:lnTo>
                      <a:cubicBezTo>
                        <a:pt x="23783" y="0"/>
                        <a:pt x="26778" y="3134"/>
                        <a:pt x="26778" y="6997"/>
                      </a:cubicBezTo>
                      <a:lnTo>
                        <a:pt x="26778" y="48986"/>
                      </a:lnTo>
                      <a:cubicBezTo>
                        <a:pt x="26778" y="95290"/>
                        <a:pt x="62811" y="132961"/>
                        <a:pt x="107108" y="132961"/>
                      </a:cubicBezTo>
                      <a:cubicBezTo>
                        <a:pt x="151405" y="132961"/>
                        <a:pt x="187439" y="95290"/>
                        <a:pt x="187439" y="48986"/>
                      </a:cubicBezTo>
                      <a:lnTo>
                        <a:pt x="187439" y="6997"/>
                      </a:lnTo>
                      <a:cubicBezTo>
                        <a:pt x="187439" y="3134"/>
                        <a:pt x="190433" y="0"/>
                        <a:pt x="194134" y="0"/>
                      </a:cubicBezTo>
                      <a:lnTo>
                        <a:pt x="207521" y="0"/>
                      </a:lnTo>
                      <a:cubicBezTo>
                        <a:pt x="211222" y="0"/>
                        <a:pt x="214217" y="3134"/>
                        <a:pt x="214217" y="6997"/>
                      </a:cubicBezTo>
                      <a:cubicBezTo>
                        <a:pt x="214217" y="10860"/>
                        <a:pt x="211222" y="13994"/>
                        <a:pt x="207521" y="13994"/>
                      </a:cubicBezTo>
                      <a:lnTo>
                        <a:pt x="200826" y="13994"/>
                      </a:lnTo>
                      <a:lnTo>
                        <a:pt x="200826" y="48983"/>
                      </a:lnTo>
                      <a:cubicBezTo>
                        <a:pt x="200829" y="103006"/>
                        <a:pt x="158791" y="146955"/>
                        <a:pt x="107111" y="146955"/>
                      </a:cubicBezTo>
                      <a:close/>
                    </a:path>
                  </a:pathLst>
                </a:custGeom>
                <a:grpFill/>
                <a:ln w="331" cap="flat">
                  <a:noFill/>
                  <a:prstDash val="solid"/>
                  <a:miter/>
                </a:ln>
              </p:spPr>
              <p:txBody>
                <a:bodyPr rtlCol="0" anchor="ctr"/>
                <a:lstStyle/>
                <a:p>
                  <a:endParaRPr lang="en-GB" dirty="0"/>
                </a:p>
              </p:txBody>
            </p:sp>
            <p:sp>
              <p:nvSpPr>
                <p:cNvPr id="233" name="Freihandform: Form 368">
                  <a:extLst>
                    <a:ext uri="{FF2B5EF4-FFF2-40B4-BE49-F238E27FC236}">
                      <a16:creationId xmlns:a16="http://schemas.microsoft.com/office/drawing/2014/main" id="{41702D11-027C-4DF2-9D4D-08DBCA6D0CC7}"/>
                    </a:ext>
                  </a:extLst>
                </p:cNvPr>
                <p:cNvSpPr/>
                <p:nvPr/>
              </p:nvSpPr>
              <p:spPr>
                <a:xfrm>
                  <a:off x="7993347" y="2571484"/>
                  <a:ext cx="33473" cy="13994"/>
                </a:xfrm>
                <a:custGeom>
                  <a:avLst/>
                  <a:gdLst>
                    <a:gd name="connsiteX0" fmla="*/ 26778 w 33473"/>
                    <a:gd name="connsiteY0" fmla="*/ 13994 h 13994"/>
                    <a:gd name="connsiteX1" fmla="*/ 6695 w 33473"/>
                    <a:gd name="connsiteY1" fmla="*/ 13994 h 13994"/>
                    <a:gd name="connsiteX2" fmla="*/ 0 w 33473"/>
                    <a:gd name="connsiteY2" fmla="*/ 6997 h 13994"/>
                    <a:gd name="connsiteX3" fmla="*/ 6695 w 33473"/>
                    <a:gd name="connsiteY3" fmla="*/ 0 h 13994"/>
                    <a:gd name="connsiteX4" fmla="*/ 26778 w 33473"/>
                    <a:gd name="connsiteY4" fmla="*/ 0 h 13994"/>
                    <a:gd name="connsiteX5" fmla="*/ 33473 w 33473"/>
                    <a:gd name="connsiteY5" fmla="*/ 6997 h 13994"/>
                    <a:gd name="connsiteX6" fmla="*/ 26778 w 33473"/>
                    <a:gd name="connsiteY6" fmla="*/ 13994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73" h="13994">
                      <a:moveTo>
                        <a:pt x="26778" y="13994"/>
                      </a:moveTo>
                      <a:lnTo>
                        <a:pt x="6695" y="13994"/>
                      </a:lnTo>
                      <a:cubicBezTo>
                        <a:pt x="2995" y="13994"/>
                        <a:pt x="0" y="10860"/>
                        <a:pt x="0" y="6997"/>
                      </a:cubicBezTo>
                      <a:cubicBezTo>
                        <a:pt x="0" y="3134"/>
                        <a:pt x="2995" y="0"/>
                        <a:pt x="6695" y="0"/>
                      </a:cubicBezTo>
                      <a:lnTo>
                        <a:pt x="26778" y="0"/>
                      </a:lnTo>
                      <a:cubicBezTo>
                        <a:pt x="30479" y="0"/>
                        <a:pt x="33473" y="3134"/>
                        <a:pt x="33473" y="6997"/>
                      </a:cubicBezTo>
                      <a:cubicBezTo>
                        <a:pt x="33473" y="10860"/>
                        <a:pt x="30479" y="13994"/>
                        <a:pt x="26778" y="13994"/>
                      </a:cubicBezTo>
                      <a:close/>
                    </a:path>
                  </a:pathLst>
                </a:custGeom>
                <a:grpFill/>
                <a:ln w="331" cap="flat">
                  <a:noFill/>
                  <a:prstDash val="solid"/>
                  <a:miter/>
                </a:ln>
              </p:spPr>
              <p:txBody>
                <a:bodyPr rtlCol="0" anchor="ctr"/>
                <a:lstStyle/>
                <a:p>
                  <a:endParaRPr lang="en-GB" dirty="0"/>
                </a:p>
              </p:txBody>
            </p:sp>
            <p:sp>
              <p:nvSpPr>
                <p:cNvPr id="234" name="Freihandform: Form 369">
                  <a:extLst>
                    <a:ext uri="{FF2B5EF4-FFF2-40B4-BE49-F238E27FC236}">
                      <a16:creationId xmlns:a16="http://schemas.microsoft.com/office/drawing/2014/main" id="{E131D059-4340-4C95-B925-14E6D2CE197F}"/>
                    </a:ext>
                  </a:extLst>
                </p:cNvPr>
                <p:cNvSpPr/>
                <p:nvPr/>
              </p:nvSpPr>
              <p:spPr>
                <a:xfrm>
                  <a:off x="8080372" y="2571484"/>
                  <a:ext cx="33473" cy="13994"/>
                </a:xfrm>
                <a:custGeom>
                  <a:avLst/>
                  <a:gdLst>
                    <a:gd name="connsiteX0" fmla="*/ 26778 w 33473"/>
                    <a:gd name="connsiteY0" fmla="*/ 13994 h 13994"/>
                    <a:gd name="connsiteX1" fmla="*/ 6695 w 33473"/>
                    <a:gd name="connsiteY1" fmla="*/ 13994 h 13994"/>
                    <a:gd name="connsiteX2" fmla="*/ 0 w 33473"/>
                    <a:gd name="connsiteY2" fmla="*/ 6997 h 13994"/>
                    <a:gd name="connsiteX3" fmla="*/ 6695 w 33473"/>
                    <a:gd name="connsiteY3" fmla="*/ 0 h 13994"/>
                    <a:gd name="connsiteX4" fmla="*/ 26778 w 33473"/>
                    <a:gd name="connsiteY4" fmla="*/ 0 h 13994"/>
                    <a:gd name="connsiteX5" fmla="*/ 33473 w 33473"/>
                    <a:gd name="connsiteY5" fmla="*/ 6997 h 13994"/>
                    <a:gd name="connsiteX6" fmla="*/ 26778 w 33473"/>
                    <a:gd name="connsiteY6" fmla="*/ 13994 h 13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73" h="13994">
                      <a:moveTo>
                        <a:pt x="26778" y="13994"/>
                      </a:moveTo>
                      <a:lnTo>
                        <a:pt x="6695" y="13994"/>
                      </a:lnTo>
                      <a:cubicBezTo>
                        <a:pt x="2995" y="13994"/>
                        <a:pt x="0" y="10860"/>
                        <a:pt x="0" y="6997"/>
                      </a:cubicBezTo>
                      <a:cubicBezTo>
                        <a:pt x="0" y="3134"/>
                        <a:pt x="2995" y="0"/>
                        <a:pt x="6695" y="0"/>
                      </a:cubicBezTo>
                      <a:lnTo>
                        <a:pt x="26778" y="0"/>
                      </a:lnTo>
                      <a:cubicBezTo>
                        <a:pt x="30479" y="0"/>
                        <a:pt x="33473" y="3134"/>
                        <a:pt x="33473" y="6997"/>
                      </a:cubicBezTo>
                      <a:cubicBezTo>
                        <a:pt x="33473" y="10860"/>
                        <a:pt x="30479" y="13994"/>
                        <a:pt x="26778" y="13994"/>
                      </a:cubicBezTo>
                      <a:close/>
                    </a:path>
                  </a:pathLst>
                </a:custGeom>
                <a:grpFill/>
                <a:ln w="331" cap="flat">
                  <a:noFill/>
                  <a:prstDash val="solid"/>
                  <a:miter/>
                </a:ln>
              </p:spPr>
              <p:txBody>
                <a:bodyPr rtlCol="0" anchor="ctr"/>
                <a:lstStyle/>
                <a:p>
                  <a:endParaRPr lang="en-GB" dirty="0"/>
                </a:p>
              </p:txBody>
            </p:sp>
          </p:grpSp>
          <p:grpSp>
            <p:nvGrpSpPr>
              <p:cNvPr id="223" name="Graphic 7">
                <a:extLst>
                  <a:ext uri="{FF2B5EF4-FFF2-40B4-BE49-F238E27FC236}">
                    <a16:creationId xmlns:a16="http://schemas.microsoft.com/office/drawing/2014/main" id="{C9A1A5AD-C8AA-49AC-827D-A5BDBD55CF81}"/>
                  </a:ext>
                </a:extLst>
              </p:cNvPr>
              <p:cNvGrpSpPr/>
              <p:nvPr/>
            </p:nvGrpSpPr>
            <p:grpSpPr>
              <a:xfrm>
                <a:off x="8118151" y="2829683"/>
                <a:ext cx="183960" cy="110729"/>
                <a:chOff x="8118151" y="2829683"/>
                <a:chExt cx="183960" cy="110729"/>
              </a:xfrm>
              <a:grpFill/>
            </p:grpSpPr>
            <p:sp>
              <p:nvSpPr>
                <p:cNvPr id="227" name="Freihandform: Form 375">
                  <a:extLst>
                    <a:ext uri="{FF2B5EF4-FFF2-40B4-BE49-F238E27FC236}">
                      <a16:creationId xmlns:a16="http://schemas.microsoft.com/office/drawing/2014/main" id="{E840FF53-7B9B-4578-A7C1-10CB876FA14E}"/>
                    </a:ext>
                  </a:extLst>
                </p:cNvPr>
                <p:cNvSpPr/>
                <p:nvPr/>
              </p:nvSpPr>
              <p:spPr>
                <a:xfrm>
                  <a:off x="8118151" y="2829683"/>
                  <a:ext cx="95472" cy="110729"/>
                </a:xfrm>
                <a:custGeom>
                  <a:avLst/>
                  <a:gdLst>
                    <a:gd name="connsiteX0" fmla="*/ 70195 w 95472"/>
                    <a:gd name="connsiteY0" fmla="*/ 110726 h 110729"/>
                    <a:gd name="connsiteX1" fmla="*/ 67078 w 95472"/>
                    <a:gd name="connsiteY1" fmla="*/ 109924 h 110729"/>
                    <a:gd name="connsiteX2" fmla="*/ 40131 w 95472"/>
                    <a:gd name="connsiteY2" fmla="*/ 95110 h 110729"/>
                    <a:gd name="connsiteX3" fmla="*/ 13184 w 95472"/>
                    <a:gd name="connsiteY3" fmla="*/ 109924 h 110729"/>
                    <a:gd name="connsiteX4" fmla="*/ 6130 w 95472"/>
                    <a:gd name="connsiteY4" fmla="*/ 109390 h 110729"/>
                    <a:gd name="connsiteX5" fmla="*/ 3471 w 95472"/>
                    <a:gd name="connsiteY5" fmla="*/ 102545 h 110729"/>
                    <a:gd name="connsiteX6" fmla="*/ 8601 w 95472"/>
                    <a:gd name="connsiteY6" fmla="*/ 71234 h 110729"/>
                    <a:gd name="connsiteX7" fmla="*/ 2091 w 95472"/>
                    <a:gd name="connsiteY7" fmla="*/ 64778 h 110729"/>
                    <a:gd name="connsiteX8" fmla="*/ 1836 w 95472"/>
                    <a:gd name="connsiteY8" fmla="*/ 54886 h 110729"/>
                    <a:gd name="connsiteX9" fmla="*/ 11297 w 95472"/>
                    <a:gd name="connsiteY9" fmla="*/ 54624 h 110729"/>
                    <a:gd name="connsiteX10" fmla="*/ 20409 w 95472"/>
                    <a:gd name="connsiteY10" fmla="*/ 63653 h 110729"/>
                    <a:gd name="connsiteX11" fmla="*/ 22403 w 95472"/>
                    <a:gd name="connsiteY11" fmla="*/ 69914 h 110729"/>
                    <a:gd name="connsiteX12" fmla="*/ 18957 w 95472"/>
                    <a:gd name="connsiteY12" fmla="*/ 90935 h 110729"/>
                    <a:gd name="connsiteX13" fmla="*/ 37014 w 95472"/>
                    <a:gd name="connsiteY13" fmla="*/ 81010 h 110729"/>
                    <a:gd name="connsiteX14" fmla="*/ 43251 w 95472"/>
                    <a:gd name="connsiteY14" fmla="*/ 81010 h 110729"/>
                    <a:gd name="connsiteX15" fmla="*/ 61308 w 95472"/>
                    <a:gd name="connsiteY15" fmla="*/ 90935 h 110729"/>
                    <a:gd name="connsiteX16" fmla="*/ 57862 w 95472"/>
                    <a:gd name="connsiteY16" fmla="*/ 69914 h 110729"/>
                    <a:gd name="connsiteX17" fmla="*/ 59786 w 95472"/>
                    <a:gd name="connsiteY17" fmla="*/ 63723 h 110729"/>
                    <a:gd name="connsiteX18" fmla="*/ 74397 w 95472"/>
                    <a:gd name="connsiteY18" fmla="*/ 48830 h 110729"/>
                    <a:gd name="connsiteX19" fmla="*/ 54201 w 95472"/>
                    <a:gd name="connsiteY19" fmla="*/ 45766 h 110729"/>
                    <a:gd name="connsiteX20" fmla="*/ 49161 w 95472"/>
                    <a:gd name="connsiteY20" fmla="*/ 41936 h 110729"/>
                    <a:gd name="connsiteX21" fmla="*/ 40134 w 95472"/>
                    <a:gd name="connsiteY21" fmla="*/ 22812 h 110729"/>
                    <a:gd name="connsiteX22" fmla="*/ 31101 w 95472"/>
                    <a:gd name="connsiteY22" fmla="*/ 41939 h 110729"/>
                    <a:gd name="connsiteX23" fmla="*/ 25994 w 95472"/>
                    <a:gd name="connsiteY23" fmla="*/ 45776 h 110729"/>
                    <a:gd name="connsiteX24" fmla="*/ 12474 w 95472"/>
                    <a:gd name="connsiteY24" fmla="*/ 47683 h 110729"/>
                    <a:gd name="connsiteX25" fmla="*/ 4943 w 95472"/>
                    <a:gd name="connsiteY25" fmla="*/ 41684 h 110729"/>
                    <a:gd name="connsiteX26" fmla="*/ 10684 w 95472"/>
                    <a:gd name="connsiteY26" fmla="*/ 33811 h 110729"/>
                    <a:gd name="connsiteX27" fmla="*/ 20671 w 95472"/>
                    <a:gd name="connsiteY27" fmla="*/ 32402 h 110729"/>
                    <a:gd name="connsiteX28" fmla="*/ 34132 w 95472"/>
                    <a:gd name="connsiteY28" fmla="*/ 3900 h 110729"/>
                    <a:gd name="connsiteX29" fmla="*/ 40134 w 95472"/>
                    <a:gd name="connsiteY29" fmla="*/ 0 h 110729"/>
                    <a:gd name="connsiteX30" fmla="*/ 40134 w 95472"/>
                    <a:gd name="connsiteY30" fmla="*/ 0 h 110729"/>
                    <a:gd name="connsiteX31" fmla="*/ 46136 w 95472"/>
                    <a:gd name="connsiteY31" fmla="*/ 3903 h 110729"/>
                    <a:gd name="connsiteX32" fmla="*/ 59610 w 95472"/>
                    <a:gd name="connsiteY32" fmla="*/ 32442 h 110729"/>
                    <a:gd name="connsiteX33" fmla="*/ 89740 w 95472"/>
                    <a:gd name="connsiteY33" fmla="*/ 37018 h 110729"/>
                    <a:gd name="connsiteX34" fmla="*/ 95146 w 95472"/>
                    <a:gd name="connsiteY34" fmla="*/ 41780 h 110729"/>
                    <a:gd name="connsiteX35" fmla="*/ 93451 w 95472"/>
                    <a:gd name="connsiteY35" fmla="*/ 48953 h 110729"/>
                    <a:gd name="connsiteX36" fmla="*/ 71648 w 95472"/>
                    <a:gd name="connsiteY36" fmla="*/ 71175 h 110729"/>
                    <a:gd name="connsiteX37" fmla="*/ 76791 w 95472"/>
                    <a:gd name="connsiteY37" fmla="*/ 102545 h 110729"/>
                    <a:gd name="connsiteX38" fmla="*/ 74131 w 95472"/>
                    <a:gd name="connsiteY38" fmla="*/ 109390 h 110729"/>
                    <a:gd name="connsiteX39" fmla="*/ 70195 w 95472"/>
                    <a:gd name="connsiteY39" fmla="*/ 110726 h 110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472" h="110729">
                      <a:moveTo>
                        <a:pt x="70195" y="110726"/>
                      </a:moveTo>
                      <a:cubicBezTo>
                        <a:pt x="69131" y="110726"/>
                        <a:pt x="68056" y="110461"/>
                        <a:pt x="67078" y="109924"/>
                      </a:cubicBezTo>
                      <a:lnTo>
                        <a:pt x="40131" y="95110"/>
                      </a:lnTo>
                      <a:lnTo>
                        <a:pt x="13184" y="109924"/>
                      </a:lnTo>
                      <a:cubicBezTo>
                        <a:pt x="10935" y="111164"/>
                        <a:pt x="8203" y="110962"/>
                        <a:pt x="6130" y="109390"/>
                      </a:cubicBezTo>
                      <a:cubicBezTo>
                        <a:pt x="4071" y="107825"/>
                        <a:pt x="3036" y="105168"/>
                        <a:pt x="3471" y="102545"/>
                      </a:cubicBezTo>
                      <a:lnTo>
                        <a:pt x="8601" y="71234"/>
                      </a:lnTo>
                      <a:lnTo>
                        <a:pt x="2091" y="64778"/>
                      </a:lnTo>
                      <a:cubicBezTo>
                        <a:pt x="-595" y="62118"/>
                        <a:pt x="-708" y="57691"/>
                        <a:pt x="1836" y="54886"/>
                      </a:cubicBezTo>
                      <a:cubicBezTo>
                        <a:pt x="4379" y="52080"/>
                        <a:pt x="8614" y="51961"/>
                        <a:pt x="11297" y="54624"/>
                      </a:cubicBezTo>
                      <a:lnTo>
                        <a:pt x="20409" y="63653"/>
                      </a:lnTo>
                      <a:cubicBezTo>
                        <a:pt x="22038" y="65259"/>
                        <a:pt x="22784" y="67610"/>
                        <a:pt x="22403" y="69914"/>
                      </a:cubicBezTo>
                      <a:lnTo>
                        <a:pt x="18957" y="90935"/>
                      </a:lnTo>
                      <a:lnTo>
                        <a:pt x="37014" y="81010"/>
                      </a:lnTo>
                      <a:cubicBezTo>
                        <a:pt x="38973" y="79936"/>
                        <a:pt x="41288" y="79936"/>
                        <a:pt x="43251" y="81010"/>
                      </a:cubicBezTo>
                      <a:lnTo>
                        <a:pt x="61308" y="90935"/>
                      </a:lnTo>
                      <a:lnTo>
                        <a:pt x="57862" y="69914"/>
                      </a:lnTo>
                      <a:cubicBezTo>
                        <a:pt x="57491" y="67646"/>
                        <a:pt x="58207" y="65328"/>
                        <a:pt x="59786" y="63723"/>
                      </a:cubicBezTo>
                      <a:lnTo>
                        <a:pt x="74397" y="48830"/>
                      </a:lnTo>
                      <a:lnTo>
                        <a:pt x="54201" y="45766"/>
                      </a:lnTo>
                      <a:cubicBezTo>
                        <a:pt x="52019" y="45435"/>
                        <a:pt x="50136" y="44002"/>
                        <a:pt x="49161" y="41936"/>
                      </a:cubicBezTo>
                      <a:lnTo>
                        <a:pt x="40134" y="22812"/>
                      </a:lnTo>
                      <a:lnTo>
                        <a:pt x="31101" y="41939"/>
                      </a:lnTo>
                      <a:cubicBezTo>
                        <a:pt x="30113" y="44029"/>
                        <a:pt x="28206" y="45464"/>
                        <a:pt x="25994" y="45776"/>
                      </a:cubicBezTo>
                      <a:lnTo>
                        <a:pt x="12474" y="47683"/>
                      </a:lnTo>
                      <a:cubicBezTo>
                        <a:pt x="8727" y="48167"/>
                        <a:pt x="5441" y="45508"/>
                        <a:pt x="4943" y="41684"/>
                      </a:cubicBezTo>
                      <a:cubicBezTo>
                        <a:pt x="4452" y="37854"/>
                        <a:pt x="7022" y="34332"/>
                        <a:pt x="10684" y="33811"/>
                      </a:cubicBezTo>
                      <a:lnTo>
                        <a:pt x="20671" y="32402"/>
                      </a:lnTo>
                      <a:lnTo>
                        <a:pt x="34132" y="3900"/>
                      </a:lnTo>
                      <a:cubicBezTo>
                        <a:pt x="35256" y="1516"/>
                        <a:pt x="37584" y="0"/>
                        <a:pt x="40134" y="0"/>
                      </a:cubicBezTo>
                      <a:lnTo>
                        <a:pt x="40134" y="0"/>
                      </a:lnTo>
                      <a:cubicBezTo>
                        <a:pt x="42684" y="0"/>
                        <a:pt x="45012" y="1512"/>
                        <a:pt x="46136" y="3903"/>
                      </a:cubicBezTo>
                      <a:lnTo>
                        <a:pt x="59610" y="32442"/>
                      </a:lnTo>
                      <a:lnTo>
                        <a:pt x="89740" y="37018"/>
                      </a:lnTo>
                      <a:cubicBezTo>
                        <a:pt x="92264" y="37400"/>
                        <a:pt x="94356" y="39250"/>
                        <a:pt x="95146" y="41780"/>
                      </a:cubicBezTo>
                      <a:cubicBezTo>
                        <a:pt x="95932" y="44314"/>
                        <a:pt x="95275" y="47093"/>
                        <a:pt x="93451" y="48953"/>
                      </a:cubicBezTo>
                      <a:lnTo>
                        <a:pt x="71648" y="71175"/>
                      </a:lnTo>
                      <a:lnTo>
                        <a:pt x="76791" y="102545"/>
                      </a:lnTo>
                      <a:cubicBezTo>
                        <a:pt x="77222" y="105168"/>
                        <a:pt x="76191" y="107825"/>
                        <a:pt x="74131" y="109390"/>
                      </a:cubicBezTo>
                      <a:cubicBezTo>
                        <a:pt x="72961" y="110275"/>
                        <a:pt x="71581" y="110726"/>
                        <a:pt x="70195" y="110726"/>
                      </a:cubicBezTo>
                      <a:close/>
                    </a:path>
                  </a:pathLst>
                </a:custGeom>
                <a:grpFill/>
                <a:ln w="331" cap="flat">
                  <a:noFill/>
                  <a:prstDash val="solid"/>
                  <a:miter/>
                </a:ln>
              </p:spPr>
              <p:txBody>
                <a:bodyPr rtlCol="0" anchor="ctr"/>
                <a:lstStyle/>
                <a:p>
                  <a:endParaRPr lang="en-GB" dirty="0"/>
                </a:p>
              </p:txBody>
            </p:sp>
            <p:sp>
              <p:nvSpPr>
                <p:cNvPr id="228" name="Freihandform: Form 376">
                  <a:extLst>
                    <a:ext uri="{FF2B5EF4-FFF2-40B4-BE49-F238E27FC236}">
                      <a16:creationId xmlns:a16="http://schemas.microsoft.com/office/drawing/2014/main" id="{737A4A04-64D3-4FFC-917A-CB5572983026}"/>
                    </a:ext>
                  </a:extLst>
                </p:cNvPr>
                <p:cNvSpPr/>
                <p:nvPr/>
              </p:nvSpPr>
              <p:spPr>
                <a:xfrm>
                  <a:off x="8206711" y="2830004"/>
                  <a:ext cx="95400" cy="110408"/>
                </a:xfrm>
                <a:custGeom>
                  <a:avLst/>
                  <a:gdLst>
                    <a:gd name="connsiteX0" fmla="*/ 70116 w 95400"/>
                    <a:gd name="connsiteY0" fmla="*/ 110405 h 110408"/>
                    <a:gd name="connsiteX1" fmla="*/ 67000 w 95400"/>
                    <a:gd name="connsiteY1" fmla="*/ 109603 h 110408"/>
                    <a:gd name="connsiteX2" fmla="*/ 40052 w 95400"/>
                    <a:gd name="connsiteY2" fmla="*/ 94790 h 110408"/>
                    <a:gd name="connsiteX3" fmla="*/ 13105 w 95400"/>
                    <a:gd name="connsiteY3" fmla="*/ 109603 h 110408"/>
                    <a:gd name="connsiteX4" fmla="*/ 6052 w 95400"/>
                    <a:gd name="connsiteY4" fmla="*/ 109069 h 110408"/>
                    <a:gd name="connsiteX5" fmla="*/ 3392 w 95400"/>
                    <a:gd name="connsiteY5" fmla="*/ 102224 h 110408"/>
                    <a:gd name="connsiteX6" fmla="*/ 8513 w 95400"/>
                    <a:gd name="connsiteY6" fmla="*/ 71046 h 110408"/>
                    <a:gd name="connsiteX7" fmla="*/ 2228 w 95400"/>
                    <a:gd name="connsiteY7" fmla="*/ 65180 h 110408"/>
                    <a:gd name="connsiteX8" fmla="*/ 1704 w 95400"/>
                    <a:gd name="connsiteY8" fmla="*/ 55298 h 110408"/>
                    <a:gd name="connsiteX9" fmla="*/ 11159 w 95400"/>
                    <a:gd name="connsiteY9" fmla="*/ 54744 h 110408"/>
                    <a:gd name="connsiteX10" fmla="*/ 20199 w 95400"/>
                    <a:gd name="connsiteY10" fmla="*/ 63193 h 110408"/>
                    <a:gd name="connsiteX11" fmla="*/ 22331 w 95400"/>
                    <a:gd name="connsiteY11" fmla="*/ 69594 h 110408"/>
                    <a:gd name="connsiteX12" fmla="*/ 18879 w 95400"/>
                    <a:gd name="connsiteY12" fmla="*/ 90615 h 110408"/>
                    <a:gd name="connsiteX13" fmla="*/ 36935 w 95400"/>
                    <a:gd name="connsiteY13" fmla="*/ 80689 h 110408"/>
                    <a:gd name="connsiteX14" fmla="*/ 43173 w 95400"/>
                    <a:gd name="connsiteY14" fmla="*/ 80689 h 110408"/>
                    <a:gd name="connsiteX15" fmla="*/ 61229 w 95400"/>
                    <a:gd name="connsiteY15" fmla="*/ 90615 h 110408"/>
                    <a:gd name="connsiteX16" fmla="*/ 57784 w 95400"/>
                    <a:gd name="connsiteY16" fmla="*/ 69594 h 110408"/>
                    <a:gd name="connsiteX17" fmla="*/ 59707 w 95400"/>
                    <a:gd name="connsiteY17" fmla="*/ 63399 h 110408"/>
                    <a:gd name="connsiteX18" fmla="*/ 74318 w 95400"/>
                    <a:gd name="connsiteY18" fmla="*/ 48513 h 110408"/>
                    <a:gd name="connsiteX19" fmla="*/ 54129 w 95400"/>
                    <a:gd name="connsiteY19" fmla="*/ 45449 h 110408"/>
                    <a:gd name="connsiteX20" fmla="*/ 49089 w 95400"/>
                    <a:gd name="connsiteY20" fmla="*/ 41622 h 110408"/>
                    <a:gd name="connsiteX21" fmla="*/ 40056 w 95400"/>
                    <a:gd name="connsiteY21" fmla="*/ 22494 h 110408"/>
                    <a:gd name="connsiteX22" fmla="*/ 31029 w 95400"/>
                    <a:gd name="connsiteY22" fmla="*/ 41618 h 110408"/>
                    <a:gd name="connsiteX23" fmla="*/ 25975 w 95400"/>
                    <a:gd name="connsiteY23" fmla="*/ 45449 h 110408"/>
                    <a:gd name="connsiteX24" fmla="*/ 15175 w 95400"/>
                    <a:gd name="connsiteY24" fmla="*/ 47064 h 110408"/>
                    <a:gd name="connsiteX25" fmla="*/ 7597 w 95400"/>
                    <a:gd name="connsiteY25" fmla="*/ 41128 h 110408"/>
                    <a:gd name="connsiteX26" fmla="*/ 13278 w 95400"/>
                    <a:gd name="connsiteY26" fmla="*/ 33212 h 110408"/>
                    <a:gd name="connsiteX27" fmla="*/ 20587 w 95400"/>
                    <a:gd name="connsiteY27" fmla="*/ 32118 h 110408"/>
                    <a:gd name="connsiteX28" fmla="*/ 34053 w 95400"/>
                    <a:gd name="connsiteY28" fmla="*/ 3586 h 110408"/>
                    <a:gd name="connsiteX29" fmla="*/ 46058 w 95400"/>
                    <a:gd name="connsiteY29" fmla="*/ 3582 h 110408"/>
                    <a:gd name="connsiteX30" fmla="*/ 59538 w 95400"/>
                    <a:gd name="connsiteY30" fmla="*/ 32124 h 110408"/>
                    <a:gd name="connsiteX31" fmla="*/ 89668 w 95400"/>
                    <a:gd name="connsiteY31" fmla="*/ 36701 h 110408"/>
                    <a:gd name="connsiteX32" fmla="*/ 95074 w 95400"/>
                    <a:gd name="connsiteY32" fmla="*/ 41463 h 110408"/>
                    <a:gd name="connsiteX33" fmla="*/ 93379 w 95400"/>
                    <a:gd name="connsiteY33" fmla="*/ 48639 h 110408"/>
                    <a:gd name="connsiteX34" fmla="*/ 71569 w 95400"/>
                    <a:gd name="connsiteY34" fmla="*/ 70857 h 110408"/>
                    <a:gd name="connsiteX35" fmla="*/ 76713 w 95400"/>
                    <a:gd name="connsiteY35" fmla="*/ 102228 h 110408"/>
                    <a:gd name="connsiteX36" fmla="*/ 74053 w 95400"/>
                    <a:gd name="connsiteY36" fmla="*/ 109072 h 110408"/>
                    <a:gd name="connsiteX37" fmla="*/ 70116 w 95400"/>
                    <a:gd name="connsiteY37" fmla="*/ 110405 h 110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5400" h="110408">
                      <a:moveTo>
                        <a:pt x="70116" y="110405"/>
                      </a:moveTo>
                      <a:cubicBezTo>
                        <a:pt x="69052" y="110405"/>
                        <a:pt x="67978" y="110140"/>
                        <a:pt x="67000" y="109603"/>
                      </a:cubicBezTo>
                      <a:lnTo>
                        <a:pt x="40052" y="94790"/>
                      </a:lnTo>
                      <a:lnTo>
                        <a:pt x="13105" y="109603"/>
                      </a:lnTo>
                      <a:cubicBezTo>
                        <a:pt x="10850" y="110843"/>
                        <a:pt x="8111" y="110641"/>
                        <a:pt x="6052" y="109069"/>
                      </a:cubicBezTo>
                      <a:cubicBezTo>
                        <a:pt x="3993" y="107504"/>
                        <a:pt x="2958" y="104848"/>
                        <a:pt x="3392" y="102224"/>
                      </a:cubicBezTo>
                      <a:lnTo>
                        <a:pt x="8513" y="71046"/>
                      </a:lnTo>
                      <a:lnTo>
                        <a:pt x="2228" y="65180"/>
                      </a:lnTo>
                      <a:cubicBezTo>
                        <a:pt x="-524" y="62603"/>
                        <a:pt x="-759" y="58179"/>
                        <a:pt x="1704" y="55298"/>
                      </a:cubicBezTo>
                      <a:cubicBezTo>
                        <a:pt x="4168" y="52419"/>
                        <a:pt x="8400" y="52170"/>
                        <a:pt x="11159" y="54744"/>
                      </a:cubicBezTo>
                      <a:lnTo>
                        <a:pt x="20199" y="63193"/>
                      </a:lnTo>
                      <a:cubicBezTo>
                        <a:pt x="21913" y="64798"/>
                        <a:pt x="22722" y="67219"/>
                        <a:pt x="22331" y="69594"/>
                      </a:cubicBezTo>
                      <a:lnTo>
                        <a:pt x="18879" y="90615"/>
                      </a:lnTo>
                      <a:lnTo>
                        <a:pt x="36935" y="80689"/>
                      </a:lnTo>
                      <a:cubicBezTo>
                        <a:pt x="38895" y="79615"/>
                        <a:pt x="41210" y="79615"/>
                        <a:pt x="43173" y="80689"/>
                      </a:cubicBezTo>
                      <a:lnTo>
                        <a:pt x="61229" y="90615"/>
                      </a:lnTo>
                      <a:lnTo>
                        <a:pt x="57784" y="69594"/>
                      </a:lnTo>
                      <a:cubicBezTo>
                        <a:pt x="57412" y="67325"/>
                        <a:pt x="58129" y="65007"/>
                        <a:pt x="59707" y="63399"/>
                      </a:cubicBezTo>
                      <a:lnTo>
                        <a:pt x="74318" y="48513"/>
                      </a:lnTo>
                      <a:lnTo>
                        <a:pt x="54129" y="45449"/>
                      </a:lnTo>
                      <a:cubicBezTo>
                        <a:pt x="51947" y="45117"/>
                        <a:pt x="50064" y="43684"/>
                        <a:pt x="49089" y="41622"/>
                      </a:cubicBezTo>
                      <a:lnTo>
                        <a:pt x="40056" y="22494"/>
                      </a:lnTo>
                      <a:lnTo>
                        <a:pt x="31029" y="41618"/>
                      </a:lnTo>
                      <a:cubicBezTo>
                        <a:pt x="30054" y="43688"/>
                        <a:pt x="28167" y="45124"/>
                        <a:pt x="25975" y="45449"/>
                      </a:cubicBezTo>
                      <a:lnTo>
                        <a:pt x="15175" y="47064"/>
                      </a:lnTo>
                      <a:cubicBezTo>
                        <a:pt x="11487" y="47617"/>
                        <a:pt x="8121" y="44955"/>
                        <a:pt x="7597" y="41128"/>
                      </a:cubicBezTo>
                      <a:cubicBezTo>
                        <a:pt x="7073" y="37304"/>
                        <a:pt x="9617" y="33756"/>
                        <a:pt x="13278" y="33212"/>
                      </a:cubicBezTo>
                      <a:lnTo>
                        <a:pt x="20587" y="32118"/>
                      </a:lnTo>
                      <a:lnTo>
                        <a:pt x="34053" y="3586"/>
                      </a:lnTo>
                      <a:cubicBezTo>
                        <a:pt x="36302" y="-1193"/>
                        <a:pt x="43806" y="-1196"/>
                        <a:pt x="46058" y="3582"/>
                      </a:cubicBezTo>
                      <a:lnTo>
                        <a:pt x="59538" y="32124"/>
                      </a:lnTo>
                      <a:lnTo>
                        <a:pt x="89668" y="36701"/>
                      </a:lnTo>
                      <a:cubicBezTo>
                        <a:pt x="92192" y="37082"/>
                        <a:pt x="94285" y="38932"/>
                        <a:pt x="95074" y="41463"/>
                      </a:cubicBezTo>
                      <a:cubicBezTo>
                        <a:pt x="95860" y="43999"/>
                        <a:pt x="95203" y="46775"/>
                        <a:pt x="93379" y="48639"/>
                      </a:cubicBezTo>
                      <a:lnTo>
                        <a:pt x="71569" y="70857"/>
                      </a:lnTo>
                      <a:lnTo>
                        <a:pt x="76713" y="102228"/>
                      </a:lnTo>
                      <a:cubicBezTo>
                        <a:pt x="77144" y="104851"/>
                        <a:pt x="76112" y="107507"/>
                        <a:pt x="74053" y="109072"/>
                      </a:cubicBezTo>
                      <a:cubicBezTo>
                        <a:pt x="72882" y="109954"/>
                        <a:pt x="71503" y="110405"/>
                        <a:pt x="70116" y="110405"/>
                      </a:cubicBezTo>
                      <a:close/>
                    </a:path>
                  </a:pathLst>
                </a:custGeom>
                <a:grpFill/>
                <a:ln w="331" cap="flat">
                  <a:noFill/>
                  <a:prstDash val="solid"/>
                  <a:miter/>
                </a:ln>
              </p:spPr>
              <p:txBody>
                <a:bodyPr rtlCol="0" anchor="ctr"/>
                <a:lstStyle/>
                <a:p>
                  <a:endParaRPr lang="en-GB" dirty="0"/>
                </a:p>
              </p:txBody>
            </p:sp>
          </p:grpSp>
          <p:grpSp>
            <p:nvGrpSpPr>
              <p:cNvPr id="224" name="Graphic 7">
                <a:extLst>
                  <a:ext uri="{FF2B5EF4-FFF2-40B4-BE49-F238E27FC236}">
                    <a16:creationId xmlns:a16="http://schemas.microsoft.com/office/drawing/2014/main" id="{95684150-0B4A-400A-8CA8-6312785F9BC6}"/>
                  </a:ext>
                </a:extLst>
              </p:cNvPr>
              <p:cNvGrpSpPr/>
              <p:nvPr/>
            </p:nvGrpSpPr>
            <p:grpSpPr>
              <a:xfrm>
                <a:off x="7806027" y="2829683"/>
                <a:ext cx="183959" cy="110729"/>
                <a:chOff x="7806027" y="2829683"/>
                <a:chExt cx="183959" cy="110729"/>
              </a:xfrm>
              <a:grpFill/>
            </p:grpSpPr>
            <p:sp>
              <p:nvSpPr>
                <p:cNvPr id="225" name="Freihandform: Form 378">
                  <a:extLst>
                    <a:ext uri="{FF2B5EF4-FFF2-40B4-BE49-F238E27FC236}">
                      <a16:creationId xmlns:a16="http://schemas.microsoft.com/office/drawing/2014/main" id="{A8BA09C7-75AD-4A58-A14C-8ED005F0C13E}"/>
                    </a:ext>
                  </a:extLst>
                </p:cNvPr>
                <p:cNvSpPr/>
                <p:nvPr/>
              </p:nvSpPr>
              <p:spPr>
                <a:xfrm>
                  <a:off x="7894508" y="2829683"/>
                  <a:ext cx="95477" cy="110726"/>
                </a:xfrm>
                <a:custGeom>
                  <a:avLst/>
                  <a:gdLst>
                    <a:gd name="connsiteX0" fmla="*/ 25283 w 95477"/>
                    <a:gd name="connsiteY0" fmla="*/ 110726 h 110726"/>
                    <a:gd name="connsiteX1" fmla="*/ 21347 w 95477"/>
                    <a:gd name="connsiteY1" fmla="*/ 109390 h 110726"/>
                    <a:gd name="connsiteX2" fmla="*/ 18687 w 95477"/>
                    <a:gd name="connsiteY2" fmla="*/ 102545 h 110726"/>
                    <a:gd name="connsiteX3" fmla="*/ 23830 w 95477"/>
                    <a:gd name="connsiteY3" fmla="*/ 71175 h 110726"/>
                    <a:gd name="connsiteX4" fmla="*/ 2020 w 95477"/>
                    <a:gd name="connsiteY4" fmla="*/ 48956 h 110726"/>
                    <a:gd name="connsiteX5" fmla="*/ 325 w 95477"/>
                    <a:gd name="connsiteY5" fmla="*/ 41780 h 110726"/>
                    <a:gd name="connsiteX6" fmla="*/ 5731 w 95477"/>
                    <a:gd name="connsiteY6" fmla="*/ 37018 h 110726"/>
                    <a:gd name="connsiteX7" fmla="*/ 35861 w 95477"/>
                    <a:gd name="connsiteY7" fmla="*/ 32442 h 110726"/>
                    <a:gd name="connsiteX8" fmla="*/ 49341 w 95477"/>
                    <a:gd name="connsiteY8" fmla="*/ 3900 h 110726"/>
                    <a:gd name="connsiteX9" fmla="*/ 55344 w 95477"/>
                    <a:gd name="connsiteY9" fmla="*/ 0 h 110726"/>
                    <a:gd name="connsiteX10" fmla="*/ 55344 w 95477"/>
                    <a:gd name="connsiteY10" fmla="*/ 0 h 110726"/>
                    <a:gd name="connsiteX11" fmla="*/ 61346 w 95477"/>
                    <a:gd name="connsiteY11" fmla="*/ 3903 h 110726"/>
                    <a:gd name="connsiteX12" fmla="*/ 74800 w 95477"/>
                    <a:gd name="connsiteY12" fmla="*/ 32402 h 110726"/>
                    <a:gd name="connsiteX13" fmla="*/ 84794 w 95477"/>
                    <a:gd name="connsiteY13" fmla="*/ 33811 h 110726"/>
                    <a:gd name="connsiteX14" fmla="*/ 90535 w 95477"/>
                    <a:gd name="connsiteY14" fmla="*/ 41684 h 110726"/>
                    <a:gd name="connsiteX15" fmla="*/ 83004 w 95477"/>
                    <a:gd name="connsiteY15" fmla="*/ 47683 h 110726"/>
                    <a:gd name="connsiteX16" fmla="*/ 69477 w 95477"/>
                    <a:gd name="connsiteY16" fmla="*/ 45776 h 110726"/>
                    <a:gd name="connsiteX17" fmla="*/ 64370 w 95477"/>
                    <a:gd name="connsiteY17" fmla="*/ 41936 h 110726"/>
                    <a:gd name="connsiteX18" fmla="*/ 55344 w 95477"/>
                    <a:gd name="connsiteY18" fmla="*/ 22812 h 110726"/>
                    <a:gd name="connsiteX19" fmla="*/ 46311 w 95477"/>
                    <a:gd name="connsiteY19" fmla="*/ 41939 h 110726"/>
                    <a:gd name="connsiteX20" fmla="*/ 41270 w 95477"/>
                    <a:gd name="connsiteY20" fmla="*/ 45766 h 110726"/>
                    <a:gd name="connsiteX21" fmla="*/ 21081 w 95477"/>
                    <a:gd name="connsiteY21" fmla="*/ 48830 h 110726"/>
                    <a:gd name="connsiteX22" fmla="*/ 35692 w 95477"/>
                    <a:gd name="connsiteY22" fmla="*/ 63717 h 110726"/>
                    <a:gd name="connsiteX23" fmla="*/ 37616 w 95477"/>
                    <a:gd name="connsiteY23" fmla="*/ 69911 h 110726"/>
                    <a:gd name="connsiteX24" fmla="*/ 34170 w 95477"/>
                    <a:gd name="connsiteY24" fmla="*/ 90932 h 110726"/>
                    <a:gd name="connsiteX25" fmla="*/ 52227 w 95477"/>
                    <a:gd name="connsiteY25" fmla="*/ 81007 h 110726"/>
                    <a:gd name="connsiteX26" fmla="*/ 58464 w 95477"/>
                    <a:gd name="connsiteY26" fmla="*/ 81007 h 110726"/>
                    <a:gd name="connsiteX27" fmla="*/ 76521 w 95477"/>
                    <a:gd name="connsiteY27" fmla="*/ 90932 h 110726"/>
                    <a:gd name="connsiteX28" fmla="*/ 73069 w 95477"/>
                    <a:gd name="connsiteY28" fmla="*/ 69911 h 110726"/>
                    <a:gd name="connsiteX29" fmla="*/ 75062 w 95477"/>
                    <a:gd name="connsiteY29" fmla="*/ 63647 h 110726"/>
                    <a:gd name="connsiteX30" fmla="*/ 84181 w 95477"/>
                    <a:gd name="connsiteY30" fmla="*/ 54617 h 110726"/>
                    <a:gd name="connsiteX31" fmla="*/ 93642 w 95477"/>
                    <a:gd name="connsiteY31" fmla="*/ 54886 h 110726"/>
                    <a:gd name="connsiteX32" fmla="*/ 93386 w 95477"/>
                    <a:gd name="connsiteY32" fmla="*/ 64778 h 110726"/>
                    <a:gd name="connsiteX33" fmla="*/ 86870 w 95477"/>
                    <a:gd name="connsiteY33" fmla="*/ 71231 h 110726"/>
                    <a:gd name="connsiteX34" fmla="*/ 92007 w 95477"/>
                    <a:gd name="connsiteY34" fmla="*/ 102542 h 110726"/>
                    <a:gd name="connsiteX35" fmla="*/ 89348 w 95477"/>
                    <a:gd name="connsiteY35" fmla="*/ 109387 h 110726"/>
                    <a:gd name="connsiteX36" fmla="*/ 82294 w 95477"/>
                    <a:gd name="connsiteY36" fmla="*/ 109920 h 110726"/>
                    <a:gd name="connsiteX37" fmla="*/ 55347 w 95477"/>
                    <a:gd name="connsiteY37" fmla="*/ 95107 h 110726"/>
                    <a:gd name="connsiteX38" fmla="*/ 28400 w 95477"/>
                    <a:gd name="connsiteY38" fmla="*/ 109920 h 110726"/>
                    <a:gd name="connsiteX39" fmla="*/ 25283 w 95477"/>
                    <a:gd name="connsiteY39" fmla="*/ 110726 h 11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5477" h="110726">
                      <a:moveTo>
                        <a:pt x="25283" y="110726"/>
                      </a:moveTo>
                      <a:cubicBezTo>
                        <a:pt x="23897" y="110726"/>
                        <a:pt x="22517" y="110275"/>
                        <a:pt x="21347" y="109390"/>
                      </a:cubicBezTo>
                      <a:cubicBezTo>
                        <a:pt x="19287" y="107825"/>
                        <a:pt x="18256" y="105168"/>
                        <a:pt x="18687" y="102545"/>
                      </a:cubicBezTo>
                      <a:lnTo>
                        <a:pt x="23830" y="71175"/>
                      </a:lnTo>
                      <a:lnTo>
                        <a:pt x="2020" y="48956"/>
                      </a:lnTo>
                      <a:cubicBezTo>
                        <a:pt x="196" y="47093"/>
                        <a:pt x="-457" y="44317"/>
                        <a:pt x="325" y="41780"/>
                      </a:cubicBezTo>
                      <a:cubicBezTo>
                        <a:pt x="1118" y="39247"/>
                        <a:pt x="3207" y="37400"/>
                        <a:pt x="5731" y="37018"/>
                      </a:cubicBezTo>
                      <a:lnTo>
                        <a:pt x="35861" y="32442"/>
                      </a:lnTo>
                      <a:lnTo>
                        <a:pt x="49341" y="3900"/>
                      </a:lnTo>
                      <a:cubicBezTo>
                        <a:pt x="50466" y="1516"/>
                        <a:pt x="52794" y="0"/>
                        <a:pt x="55344" y="0"/>
                      </a:cubicBezTo>
                      <a:lnTo>
                        <a:pt x="55344" y="0"/>
                      </a:lnTo>
                      <a:cubicBezTo>
                        <a:pt x="57894" y="0"/>
                        <a:pt x="60222" y="1512"/>
                        <a:pt x="61346" y="3903"/>
                      </a:cubicBezTo>
                      <a:lnTo>
                        <a:pt x="74800" y="32402"/>
                      </a:lnTo>
                      <a:lnTo>
                        <a:pt x="84794" y="33811"/>
                      </a:lnTo>
                      <a:cubicBezTo>
                        <a:pt x="88455" y="34332"/>
                        <a:pt x="91025" y="37854"/>
                        <a:pt x="90535" y="41684"/>
                      </a:cubicBezTo>
                      <a:cubicBezTo>
                        <a:pt x="90044" y="45508"/>
                        <a:pt x="86744" y="48177"/>
                        <a:pt x="83004" y="47683"/>
                      </a:cubicBezTo>
                      <a:lnTo>
                        <a:pt x="69477" y="45776"/>
                      </a:lnTo>
                      <a:cubicBezTo>
                        <a:pt x="67269" y="45464"/>
                        <a:pt x="65359" y="44022"/>
                        <a:pt x="64370" y="41936"/>
                      </a:cubicBezTo>
                      <a:lnTo>
                        <a:pt x="55344" y="22812"/>
                      </a:lnTo>
                      <a:lnTo>
                        <a:pt x="46311" y="41939"/>
                      </a:lnTo>
                      <a:cubicBezTo>
                        <a:pt x="45336" y="44002"/>
                        <a:pt x="43452" y="45435"/>
                        <a:pt x="41270" y="45766"/>
                      </a:cubicBezTo>
                      <a:lnTo>
                        <a:pt x="21081" y="48830"/>
                      </a:lnTo>
                      <a:lnTo>
                        <a:pt x="35692" y="63717"/>
                      </a:lnTo>
                      <a:cubicBezTo>
                        <a:pt x="37267" y="65325"/>
                        <a:pt x="37987" y="67643"/>
                        <a:pt x="37616" y="69911"/>
                      </a:cubicBezTo>
                      <a:lnTo>
                        <a:pt x="34170" y="90932"/>
                      </a:lnTo>
                      <a:lnTo>
                        <a:pt x="52227" y="81007"/>
                      </a:lnTo>
                      <a:cubicBezTo>
                        <a:pt x="54186" y="79932"/>
                        <a:pt x="56501" y="79932"/>
                        <a:pt x="58464" y="81007"/>
                      </a:cubicBezTo>
                      <a:lnTo>
                        <a:pt x="76521" y="90932"/>
                      </a:lnTo>
                      <a:lnTo>
                        <a:pt x="73069" y="69911"/>
                      </a:lnTo>
                      <a:cubicBezTo>
                        <a:pt x="72691" y="67610"/>
                        <a:pt x="73433" y="65259"/>
                        <a:pt x="75062" y="63647"/>
                      </a:cubicBezTo>
                      <a:lnTo>
                        <a:pt x="84181" y="54617"/>
                      </a:lnTo>
                      <a:cubicBezTo>
                        <a:pt x="86860" y="51967"/>
                        <a:pt x="91105" y="52077"/>
                        <a:pt x="93642" y="54886"/>
                      </a:cubicBezTo>
                      <a:cubicBezTo>
                        <a:pt x="96185" y="57691"/>
                        <a:pt x="96073" y="62118"/>
                        <a:pt x="93386" y="64778"/>
                      </a:cubicBezTo>
                      <a:lnTo>
                        <a:pt x="86870" y="71231"/>
                      </a:lnTo>
                      <a:lnTo>
                        <a:pt x="92007" y="102542"/>
                      </a:lnTo>
                      <a:cubicBezTo>
                        <a:pt x="92438" y="105165"/>
                        <a:pt x="91407" y="107821"/>
                        <a:pt x="89348" y="109387"/>
                      </a:cubicBezTo>
                      <a:cubicBezTo>
                        <a:pt x="87288" y="110958"/>
                        <a:pt x="84549" y="111161"/>
                        <a:pt x="82294" y="109920"/>
                      </a:cubicBezTo>
                      <a:lnTo>
                        <a:pt x="55347" y="95107"/>
                      </a:lnTo>
                      <a:lnTo>
                        <a:pt x="28400" y="109920"/>
                      </a:lnTo>
                      <a:cubicBezTo>
                        <a:pt x="27418" y="110458"/>
                        <a:pt x="26347" y="110726"/>
                        <a:pt x="25283" y="110726"/>
                      </a:cubicBezTo>
                      <a:close/>
                    </a:path>
                  </a:pathLst>
                </a:custGeom>
                <a:grpFill/>
                <a:ln w="331" cap="flat">
                  <a:noFill/>
                  <a:prstDash val="solid"/>
                  <a:miter/>
                </a:ln>
              </p:spPr>
              <p:txBody>
                <a:bodyPr rtlCol="0" anchor="ctr"/>
                <a:lstStyle/>
                <a:p>
                  <a:endParaRPr lang="en-GB" dirty="0"/>
                </a:p>
              </p:txBody>
            </p:sp>
            <p:sp>
              <p:nvSpPr>
                <p:cNvPr id="226" name="Freihandform: Form 379">
                  <a:extLst>
                    <a:ext uri="{FF2B5EF4-FFF2-40B4-BE49-F238E27FC236}">
                      <a16:creationId xmlns:a16="http://schemas.microsoft.com/office/drawing/2014/main" id="{850BA64E-93BE-49C0-A7E1-1FFF69D61CED}"/>
                    </a:ext>
                  </a:extLst>
                </p:cNvPr>
                <p:cNvSpPr/>
                <p:nvPr/>
              </p:nvSpPr>
              <p:spPr>
                <a:xfrm>
                  <a:off x="7806027" y="2830000"/>
                  <a:ext cx="95396" cy="110411"/>
                </a:xfrm>
                <a:custGeom>
                  <a:avLst/>
                  <a:gdLst>
                    <a:gd name="connsiteX0" fmla="*/ 85405 w 95396"/>
                    <a:gd name="connsiteY0" fmla="*/ 110409 h 110411"/>
                    <a:gd name="connsiteX1" fmla="*/ 82287 w 95396"/>
                    <a:gd name="connsiteY1" fmla="*/ 109606 h 110411"/>
                    <a:gd name="connsiteX2" fmla="*/ 55340 w 95396"/>
                    <a:gd name="connsiteY2" fmla="*/ 94793 h 110411"/>
                    <a:gd name="connsiteX3" fmla="*/ 28393 w 95396"/>
                    <a:gd name="connsiteY3" fmla="*/ 109606 h 110411"/>
                    <a:gd name="connsiteX4" fmla="*/ 21340 w 95396"/>
                    <a:gd name="connsiteY4" fmla="*/ 109072 h 110411"/>
                    <a:gd name="connsiteX5" fmla="*/ 18680 w 95396"/>
                    <a:gd name="connsiteY5" fmla="*/ 102228 h 110411"/>
                    <a:gd name="connsiteX6" fmla="*/ 23830 w 95396"/>
                    <a:gd name="connsiteY6" fmla="*/ 70857 h 110411"/>
                    <a:gd name="connsiteX7" fmla="*/ 2020 w 95396"/>
                    <a:gd name="connsiteY7" fmla="*/ 48639 h 110411"/>
                    <a:gd name="connsiteX8" fmla="*/ 325 w 95396"/>
                    <a:gd name="connsiteY8" fmla="*/ 41463 h 110411"/>
                    <a:gd name="connsiteX9" fmla="*/ 5731 w 95396"/>
                    <a:gd name="connsiteY9" fmla="*/ 36701 h 110411"/>
                    <a:gd name="connsiteX10" fmla="*/ 35861 w 95396"/>
                    <a:gd name="connsiteY10" fmla="*/ 32124 h 110411"/>
                    <a:gd name="connsiteX11" fmla="*/ 49335 w 95396"/>
                    <a:gd name="connsiteY11" fmla="*/ 3586 h 110411"/>
                    <a:gd name="connsiteX12" fmla="*/ 61336 w 95396"/>
                    <a:gd name="connsiteY12" fmla="*/ 3582 h 110411"/>
                    <a:gd name="connsiteX13" fmla="*/ 74809 w 95396"/>
                    <a:gd name="connsiteY13" fmla="*/ 32118 h 110411"/>
                    <a:gd name="connsiteX14" fmla="*/ 82118 w 95396"/>
                    <a:gd name="connsiteY14" fmla="*/ 33212 h 110411"/>
                    <a:gd name="connsiteX15" fmla="*/ 87799 w 95396"/>
                    <a:gd name="connsiteY15" fmla="*/ 41128 h 110411"/>
                    <a:gd name="connsiteX16" fmla="*/ 80222 w 95396"/>
                    <a:gd name="connsiteY16" fmla="*/ 47064 h 110411"/>
                    <a:gd name="connsiteX17" fmla="*/ 69421 w 95396"/>
                    <a:gd name="connsiteY17" fmla="*/ 45449 h 110411"/>
                    <a:gd name="connsiteX18" fmla="*/ 64367 w 95396"/>
                    <a:gd name="connsiteY18" fmla="*/ 41622 h 110411"/>
                    <a:gd name="connsiteX19" fmla="*/ 55334 w 95396"/>
                    <a:gd name="connsiteY19" fmla="*/ 22494 h 110411"/>
                    <a:gd name="connsiteX20" fmla="*/ 46307 w 95396"/>
                    <a:gd name="connsiteY20" fmla="*/ 41618 h 110411"/>
                    <a:gd name="connsiteX21" fmla="*/ 41267 w 95396"/>
                    <a:gd name="connsiteY21" fmla="*/ 45449 h 110411"/>
                    <a:gd name="connsiteX22" fmla="*/ 21078 w 95396"/>
                    <a:gd name="connsiteY22" fmla="*/ 48513 h 110411"/>
                    <a:gd name="connsiteX23" fmla="*/ 35689 w 95396"/>
                    <a:gd name="connsiteY23" fmla="*/ 63399 h 110411"/>
                    <a:gd name="connsiteX24" fmla="*/ 37612 w 95396"/>
                    <a:gd name="connsiteY24" fmla="*/ 69594 h 110411"/>
                    <a:gd name="connsiteX25" fmla="*/ 34160 w 95396"/>
                    <a:gd name="connsiteY25" fmla="*/ 90615 h 110411"/>
                    <a:gd name="connsiteX26" fmla="*/ 52217 w 95396"/>
                    <a:gd name="connsiteY26" fmla="*/ 80689 h 110411"/>
                    <a:gd name="connsiteX27" fmla="*/ 58454 w 95396"/>
                    <a:gd name="connsiteY27" fmla="*/ 80689 h 110411"/>
                    <a:gd name="connsiteX28" fmla="*/ 76511 w 95396"/>
                    <a:gd name="connsiteY28" fmla="*/ 90615 h 110411"/>
                    <a:gd name="connsiteX29" fmla="*/ 73065 w 95396"/>
                    <a:gd name="connsiteY29" fmla="*/ 69594 h 110411"/>
                    <a:gd name="connsiteX30" fmla="*/ 75197 w 95396"/>
                    <a:gd name="connsiteY30" fmla="*/ 63193 h 110411"/>
                    <a:gd name="connsiteX31" fmla="*/ 84237 w 95396"/>
                    <a:gd name="connsiteY31" fmla="*/ 54744 h 110411"/>
                    <a:gd name="connsiteX32" fmla="*/ 93692 w 95396"/>
                    <a:gd name="connsiteY32" fmla="*/ 55298 h 110411"/>
                    <a:gd name="connsiteX33" fmla="*/ 93168 w 95396"/>
                    <a:gd name="connsiteY33" fmla="*/ 65180 h 110411"/>
                    <a:gd name="connsiteX34" fmla="*/ 86884 w 95396"/>
                    <a:gd name="connsiteY34" fmla="*/ 71046 h 110411"/>
                    <a:gd name="connsiteX35" fmla="*/ 91997 w 95396"/>
                    <a:gd name="connsiteY35" fmla="*/ 102224 h 110411"/>
                    <a:gd name="connsiteX36" fmla="*/ 89338 w 95396"/>
                    <a:gd name="connsiteY36" fmla="*/ 109069 h 110411"/>
                    <a:gd name="connsiteX37" fmla="*/ 85405 w 95396"/>
                    <a:gd name="connsiteY37" fmla="*/ 110409 h 110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5396" h="110411">
                      <a:moveTo>
                        <a:pt x="85405" y="110409"/>
                      </a:moveTo>
                      <a:cubicBezTo>
                        <a:pt x="84340" y="110409"/>
                        <a:pt x="83266" y="110143"/>
                        <a:pt x="82287" y="109606"/>
                      </a:cubicBezTo>
                      <a:lnTo>
                        <a:pt x="55340" y="94793"/>
                      </a:lnTo>
                      <a:lnTo>
                        <a:pt x="28393" y="109606"/>
                      </a:lnTo>
                      <a:cubicBezTo>
                        <a:pt x="26138" y="110846"/>
                        <a:pt x="23399" y="110644"/>
                        <a:pt x="21340" y="109072"/>
                      </a:cubicBezTo>
                      <a:cubicBezTo>
                        <a:pt x="19281" y="107507"/>
                        <a:pt x="18249" y="104851"/>
                        <a:pt x="18680" y="102228"/>
                      </a:cubicBezTo>
                      <a:lnTo>
                        <a:pt x="23830" y="70857"/>
                      </a:lnTo>
                      <a:lnTo>
                        <a:pt x="2020" y="48639"/>
                      </a:lnTo>
                      <a:cubicBezTo>
                        <a:pt x="196" y="46775"/>
                        <a:pt x="-457" y="44000"/>
                        <a:pt x="325" y="41463"/>
                      </a:cubicBezTo>
                      <a:cubicBezTo>
                        <a:pt x="1118" y="38929"/>
                        <a:pt x="3207" y="37082"/>
                        <a:pt x="5731" y="36701"/>
                      </a:cubicBezTo>
                      <a:lnTo>
                        <a:pt x="35861" y="32124"/>
                      </a:lnTo>
                      <a:lnTo>
                        <a:pt x="49335" y="3586"/>
                      </a:lnTo>
                      <a:cubicBezTo>
                        <a:pt x="51583" y="-1193"/>
                        <a:pt x="59088" y="-1196"/>
                        <a:pt x="61336" y="3582"/>
                      </a:cubicBezTo>
                      <a:lnTo>
                        <a:pt x="74809" y="32118"/>
                      </a:lnTo>
                      <a:lnTo>
                        <a:pt x="82118" y="33212"/>
                      </a:lnTo>
                      <a:cubicBezTo>
                        <a:pt x="85779" y="33759"/>
                        <a:pt x="88323" y="37304"/>
                        <a:pt x="87799" y="41128"/>
                      </a:cubicBezTo>
                      <a:cubicBezTo>
                        <a:pt x="87275" y="44955"/>
                        <a:pt x="83909" y="47644"/>
                        <a:pt x="80222" y="47064"/>
                      </a:cubicBezTo>
                      <a:lnTo>
                        <a:pt x="69421" y="45449"/>
                      </a:lnTo>
                      <a:cubicBezTo>
                        <a:pt x="67239" y="45124"/>
                        <a:pt x="65342" y="43688"/>
                        <a:pt x="64367" y="41622"/>
                      </a:cubicBezTo>
                      <a:lnTo>
                        <a:pt x="55334" y="22494"/>
                      </a:lnTo>
                      <a:lnTo>
                        <a:pt x="46307" y="41618"/>
                      </a:lnTo>
                      <a:cubicBezTo>
                        <a:pt x="45332" y="43684"/>
                        <a:pt x="43452" y="45117"/>
                        <a:pt x="41267" y="45449"/>
                      </a:cubicBezTo>
                      <a:lnTo>
                        <a:pt x="21078" y="48513"/>
                      </a:lnTo>
                      <a:lnTo>
                        <a:pt x="35689" y="63399"/>
                      </a:lnTo>
                      <a:cubicBezTo>
                        <a:pt x="37264" y="65007"/>
                        <a:pt x="37984" y="67325"/>
                        <a:pt x="37612" y="69594"/>
                      </a:cubicBezTo>
                      <a:lnTo>
                        <a:pt x="34160" y="90615"/>
                      </a:lnTo>
                      <a:lnTo>
                        <a:pt x="52217" y="80689"/>
                      </a:lnTo>
                      <a:cubicBezTo>
                        <a:pt x="54176" y="79615"/>
                        <a:pt x="56491" y="79615"/>
                        <a:pt x="58454" y="80689"/>
                      </a:cubicBezTo>
                      <a:lnTo>
                        <a:pt x="76511" y="90615"/>
                      </a:lnTo>
                      <a:lnTo>
                        <a:pt x="73065" y="69594"/>
                      </a:lnTo>
                      <a:cubicBezTo>
                        <a:pt x="72674" y="67219"/>
                        <a:pt x="73483" y="64798"/>
                        <a:pt x="75197" y="63193"/>
                      </a:cubicBezTo>
                      <a:lnTo>
                        <a:pt x="84237" y="54744"/>
                      </a:lnTo>
                      <a:cubicBezTo>
                        <a:pt x="87003" y="52170"/>
                        <a:pt x="91224" y="52406"/>
                        <a:pt x="93692" y="55298"/>
                      </a:cubicBezTo>
                      <a:cubicBezTo>
                        <a:pt x="96156" y="58179"/>
                        <a:pt x="95920" y="62603"/>
                        <a:pt x="93168" y="65180"/>
                      </a:cubicBezTo>
                      <a:lnTo>
                        <a:pt x="86884" y="71046"/>
                      </a:lnTo>
                      <a:lnTo>
                        <a:pt x="91997" y="102224"/>
                      </a:lnTo>
                      <a:cubicBezTo>
                        <a:pt x="92428" y="104848"/>
                        <a:pt x="91397" y="107504"/>
                        <a:pt x="89338" y="109069"/>
                      </a:cubicBezTo>
                      <a:cubicBezTo>
                        <a:pt x="88170" y="109958"/>
                        <a:pt x="86791" y="110409"/>
                        <a:pt x="85405" y="110409"/>
                      </a:cubicBezTo>
                      <a:close/>
                    </a:path>
                  </a:pathLst>
                </a:custGeom>
                <a:grpFill/>
                <a:ln w="331" cap="flat">
                  <a:noFill/>
                  <a:prstDash val="solid"/>
                  <a:miter/>
                </a:ln>
              </p:spPr>
              <p:txBody>
                <a:bodyPr rtlCol="0" anchor="ctr"/>
                <a:lstStyle/>
                <a:p>
                  <a:endParaRPr lang="en-GB" dirty="0"/>
                </a:p>
              </p:txBody>
            </p:sp>
          </p:grpSp>
        </p:grpSp>
      </p:grpSp>
      <p:grpSp>
        <p:nvGrpSpPr>
          <p:cNvPr id="100" name="Group 99">
            <a:extLst>
              <a:ext uri="{FF2B5EF4-FFF2-40B4-BE49-F238E27FC236}">
                <a16:creationId xmlns:a16="http://schemas.microsoft.com/office/drawing/2014/main" id="{6A8E7591-5090-549B-C1C2-9858949F149B}"/>
              </a:ext>
            </a:extLst>
          </p:cNvPr>
          <p:cNvGrpSpPr/>
          <p:nvPr/>
        </p:nvGrpSpPr>
        <p:grpSpPr>
          <a:xfrm>
            <a:off x="2592946" y="3197068"/>
            <a:ext cx="583944" cy="432000"/>
            <a:chOff x="2592946" y="3197068"/>
            <a:chExt cx="583944" cy="432000"/>
          </a:xfrm>
        </p:grpSpPr>
        <p:grpSp>
          <p:nvGrpSpPr>
            <p:cNvPr id="238" name="Grafik 342">
              <a:extLst>
                <a:ext uri="{FF2B5EF4-FFF2-40B4-BE49-F238E27FC236}">
                  <a16:creationId xmlns:a16="http://schemas.microsoft.com/office/drawing/2014/main" id="{B6510279-534E-4A41-BF7E-D490115DAD02}"/>
                </a:ext>
              </a:extLst>
            </p:cNvPr>
            <p:cNvGrpSpPr/>
            <p:nvPr/>
          </p:nvGrpSpPr>
          <p:grpSpPr>
            <a:xfrm>
              <a:off x="2613354" y="3197068"/>
              <a:ext cx="531334" cy="231408"/>
              <a:chOff x="919525" y="1701086"/>
              <a:chExt cx="437964" cy="190743"/>
            </a:xfrm>
            <a:solidFill>
              <a:schemeClr val="tx2"/>
            </a:solidFill>
          </p:grpSpPr>
          <p:sp>
            <p:nvSpPr>
              <p:cNvPr id="249" name="Freihandform: Form 128">
                <a:extLst>
                  <a:ext uri="{FF2B5EF4-FFF2-40B4-BE49-F238E27FC236}">
                    <a16:creationId xmlns:a16="http://schemas.microsoft.com/office/drawing/2014/main" id="{9DC0D8E4-48AE-40EF-AA3E-DBD23FD46370}"/>
                  </a:ext>
                </a:extLst>
              </p:cNvPr>
              <p:cNvSpPr/>
              <p:nvPr/>
            </p:nvSpPr>
            <p:spPr>
              <a:xfrm>
                <a:off x="1144381" y="1824038"/>
                <a:ext cx="179934" cy="67790"/>
              </a:xfrm>
              <a:custGeom>
                <a:avLst/>
                <a:gdLst>
                  <a:gd name="connsiteX0" fmla="*/ 25840 w 179934"/>
                  <a:gd name="connsiteY0" fmla="*/ 67791 h 67790"/>
                  <a:gd name="connsiteX1" fmla="*/ 7624 w 179934"/>
                  <a:gd name="connsiteY1" fmla="*/ 60203 h 67790"/>
                  <a:gd name="connsiteX2" fmla="*/ 0 w 179934"/>
                  <a:gd name="connsiteY2" fmla="*/ 41770 h 67790"/>
                  <a:gd name="connsiteX3" fmla="*/ 7663 w 179934"/>
                  <a:gd name="connsiteY3" fmla="*/ 23355 h 67790"/>
                  <a:gd name="connsiteX4" fmla="*/ 16480 w 179934"/>
                  <a:gd name="connsiteY4" fmla="*/ 14835 h 67790"/>
                  <a:gd name="connsiteX5" fmla="*/ 25861 w 179934"/>
                  <a:gd name="connsiteY5" fmla="*/ 14995 h 67790"/>
                  <a:gd name="connsiteX6" fmla="*/ 25701 w 179934"/>
                  <a:gd name="connsiteY6" fmla="*/ 24376 h 67790"/>
                  <a:gd name="connsiteX7" fmla="*/ 16957 w 179934"/>
                  <a:gd name="connsiteY7" fmla="*/ 32830 h 67790"/>
                  <a:gd name="connsiteX8" fmla="*/ 13271 w 179934"/>
                  <a:gd name="connsiteY8" fmla="*/ 41788 h 67790"/>
                  <a:gd name="connsiteX9" fmla="*/ 17008 w 179934"/>
                  <a:gd name="connsiteY9" fmla="*/ 50822 h 67790"/>
                  <a:gd name="connsiteX10" fmla="*/ 26159 w 179934"/>
                  <a:gd name="connsiteY10" fmla="*/ 54519 h 67790"/>
                  <a:gd name="connsiteX11" fmla="*/ 34261 w 179934"/>
                  <a:gd name="connsiteY11" fmla="*/ 50816 h 67790"/>
                  <a:gd name="connsiteX12" fmla="*/ 88402 w 179934"/>
                  <a:gd name="connsiteY12" fmla="*/ 0 h 67790"/>
                  <a:gd name="connsiteX13" fmla="*/ 173298 w 179934"/>
                  <a:gd name="connsiteY13" fmla="*/ 6 h 67790"/>
                  <a:gd name="connsiteX14" fmla="*/ 179935 w 179934"/>
                  <a:gd name="connsiteY14" fmla="*/ 6643 h 67790"/>
                  <a:gd name="connsiteX15" fmla="*/ 173298 w 179934"/>
                  <a:gd name="connsiteY15" fmla="*/ 13280 h 67790"/>
                  <a:gd name="connsiteX16" fmla="*/ 173298 w 179934"/>
                  <a:gd name="connsiteY16" fmla="*/ 13280 h 67790"/>
                  <a:gd name="connsiteX17" fmla="*/ 93651 w 179934"/>
                  <a:gd name="connsiteY17" fmla="*/ 13274 h 67790"/>
                  <a:gd name="connsiteX18" fmla="*/ 43741 w 179934"/>
                  <a:gd name="connsiteY18" fmla="*/ 60088 h 67790"/>
                  <a:gd name="connsiteX19" fmla="*/ 26522 w 179934"/>
                  <a:gd name="connsiteY19" fmla="*/ 67791 h 67790"/>
                  <a:gd name="connsiteX20" fmla="*/ 25840 w 179934"/>
                  <a:gd name="connsiteY20" fmla="*/ 67791 h 67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9934" h="67790">
                    <a:moveTo>
                      <a:pt x="25840" y="67791"/>
                    </a:moveTo>
                    <a:cubicBezTo>
                      <a:pt x="19076" y="67794"/>
                      <a:pt x="12469" y="65050"/>
                      <a:pt x="7624" y="60203"/>
                    </a:cubicBezTo>
                    <a:cubicBezTo>
                      <a:pt x="2698" y="55280"/>
                      <a:pt x="-6" y="48733"/>
                      <a:pt x="0" y="41770"/>
                    </a:cubicBezTo>
                    <a:cubicBezTo>
                      <a:pt x="6" y="34810"/>
                      <a:pt x="2729" y="28269"/>
                      <a:pt x="7663" y="23355"/>
                    </a:cubicBezTo>
                    <a:lnTo>
                      <a:pt x="16480" y="14835"/>
                    </a:lnTo>
                    <a:cubicBezTo>
                      <a:pt x="19106" y="12278"/>
                      <a:pt x="23313" y="12354"/>
                      <a:pt x="25861" y="14995"/>
                    </a:cubicBezTo>
                    <a:cubicBezTo>
                      <a:pt x="28411" y="17630"/>
                      <a:pt x="28339" y="21828"/>
                      <a:pt x="25701" y="24376"/>
                    </a:cubicBezTo>
                    <a:lnTo>
                      <a:pt x="16957" y="32830"/>
                    </a:lnTo>
                    <a:cubicBezTo>
                      <a:pt x="14612" y="35169"/>
                      <a:pt x="13274" y="38377"/>
                      <a:pt x="13271" y="41788"/>
                    </a:cubicBezTo>
                    <a:cubicBezTo>
                      <a:pt x="13268" y="45199"/>
                      <a:pt x="14593" y="48407"/>
                      <a:pt x="17008" y="50822"/>
                    </a:cubicBezTo>
                    <a:cubicBezTo>
                      <a:pt x="19450" y="53261"/>
                      <a:pt x="22879" y="54625"/>
                      <a:pt x="26159" y="54519"/>
                    </a:cubicBezTo>
                    <a:cubicBezTo>
                      <a:pt x="29320" y="54435"/>
                      <a:pt x="32196" y="53119"/>
                      <a:pt x="34261" y="50816"/>
                    </a:cubicBezTo>
                    <a:lnTo>
                      <a:pt x="88402" y="0"/>
                    </a:lnTo>
                    <a:lnTo>
                      <a:pt x="173298" y="6"/>
                    </a:lnTo>
                    <a:cubicBezTo>
                      <a:pt x="176962" y="6"/>
                      <a:pt x="179935" y="2976"/>
                      <a:pt x="179935" y="6643"/>
                    </a:cubicBezTo>
                    <a:cubicBezTo>
                      <a:pt x="179935" y="10307"/>
                      <a:pt x="176965" y="13280"/>
                      <a:pt x="173298" y="13280"/>
                    </a:cubicBezTo>
                    <a:lnTo>
                      <a:pt x="173298" y="13280"/>
                    </a:lnTo>
                    <a:lnTo>
                      <a:pt x="93651" y="13274"/>
                    </a:lnTo>
                    <a:lnTo>
                      <a:pt x="43741" y="60088"/>
                    </a:lnTo>
                    <a:cubicBezTo>
                      <a:pt x="39621" y="64721"/>
                      <a:pt x="33358" y="67600"/>
                      <a:pt x="26522" y="67791"/>
                    </a:cubicBezTo>
                    <a:cubicBezTo>
                      <a:pt x="26292" y="67791"/>
                      <a:pt x="26066" y="67791"/>
                      <a:pt x="25840" y="67791"/>
                    </a:cubicBezTo>
                    <a:close/>
                  </a:path>
                </a:pathLst>
              </a:custGeom>
              <a:grpFill/>
              <a:ln w="301" cap="flat">
                <a:noFill/>
                <a:prstDash val="solid"/>
                <a:miter/>
              </a:ln>
            </p:spPr>
            <p:txBody>
              <a:bodyPr rtlCol="0" anchor="ctr"/>
              <a:lstStyle/>
              <a:p>
                <a:endParaRPr lang="en-GB" dirty="0"/>
              </a:p>
            </p:txBody>
          </p:sp>
          <p:sp>
            <p:nvSpPr>
              <p:cNvPr id="250" name="Freihandform: Form 129">
                <a:extLst>
                  <a:ext uri="{FF2B5EF4-FFF2-40B4-BE49-F238E27FC236}">
                    <a16:creationId xmlns:a16="http://schemas.microsoft.com/office/drawing/2014/main" id="{696E6335-BE14-42A7-92EC-3F7B522F89AF}"/>
                  </a:ext>
                </a:extLst>
              </p:cNvPr>
              <p:cNvSpPr/>
              <p:nvPr/>
            </p:nvSpPr>
            <p:spPr>
              <a:xfrm>
                <a:off x="919525" y="1701086"/>
                <a:ext cx="437964" cy="13301"/>
              </a:xfrm>
              <a:custGeom>
                <a:avLst/>
                <a:gdLst>
                  <a:gd name="connsiteX0" fmla="*/ 6637 w 437964"/>
                  <a:gd name="connsiteY0" fmla="*/ 13302 h 13301"/>
                  <a:gd name="connsiteX1" fmla="*/ 0 w 437964"/>
                  <a:gd name="connsiteY1" fmla="*/ 6664 h 13301"/>
                  <a:gd name="connsiteX2" fmla="*/ 6637 w 437964"/>
                  <a:gd name="connsiteY2" fmla="*/ 27 h 13301"/>
                  <a:gd name="connsiteX3" fmla="*/ 431327 w 437964"/>
                  <a:gd name="connsiteY3" fmla="*/ 0 h 13301"/>
                  <a:gd name="connsiteX4" fmla="*/ 437964 w 437964"/>
                  <a:gd name="connsiteY4" fmla="*/ 6637 h 13301"/>
                  <a:gd name="connsiteX5" fmla="*/ 431327 w 437964"/>
                  <a:gd name="connsiteY5" fmla="*/ 13274 h 13301"/>
                  <a:gd name="connsiteX6" fmla="*/ 6637 w 437964"/>
                  <a:gd name="connsiteY6" fmla="*/ 13302 h 1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7964" h="13301">
                    <a:moveTo>
                      <a:pt x="6637" y="13302"/>
                    </a:moveTo>
                    <a:cubicBezTo>
                      <a:pt x="2973" y="13302"/>
                      <a:pt x="0" y="10332"/>
                      <a:pt x="0" y="6664"/>
                    </a:cubicBezTo>
                    <a:cubicBezTo>
                      <a:pt x="0" y="3000"/>
                      <a:pt x="2970" y="27"/>
                      <a:pt x="6637" y="27"/>
                    </a:cubicBezTo>
                    <a:lnTo>
                      <a:pt x="431327" y="0"/>
                    </a:lnTo>
                    <a:cubicBezTo>
                      <a:pt x="434991" y="0"/>
                      <a:pt x="437964" y="2970"/>
                      <a:pt x="437964" y="6637"/>
                    </a:cubicBezTo>
                    <a:cubicBezTo>
                      <a:pt x="437964" y="10301"/>
                      <a:pt x="434995" y="13274"/>
                      <a:pt x="431327" y="13274"/>
                    </a:cubicBezTo>
                    <a:lnTo>
                      <a:pt x="6637" y="13302"/>
                    </a:lnTo>
                    <a:close/>
                  </a:path>
                </a:pathLst>
              </a:custGeom>
              <a:grpFill/>
              <a:ln w="301" cap="flat">
                <a:noFill/>
                <a:prstDash val="solid"/>
                <a:miter/>
              </a:ln>
            </p:spPr>
            <p:txBody>
              <a:bodyPr rtlCol="0" anchor="ctr"/>
              <a:lstStyle/>
              <a:p>
                <a:endParaRPr lang="en-GB" dirty="0"/>
              </a:p>
            </p:txBody>
          </p:sp>
          <p:sp>
            <p:nvSpPr>
              <p:cNvPr id="251" name="Freihandform: Form 130">
                <a:extLst>
                  <a:ext uri="{FF2B5EF4-FFF2-40B4-BE49-F238E27FC236}">
                    <a16:creationId xmlns:a16="http://schemas.microsoft.com/office/drawing/2014/main" id="{166328BB-28A7-4B9C-B316-4A8AA8ED1F21}"/>
                  </a:ext>
                </a:extLst>
              </p:cNvPr>
              <p:cNvSpPr/>
              <p:nvPr/>
            </p:nvSpPr>
            <p:spPr>
              <a:xfrm>
                <a:off x="1016629" y="1740751"/>
                <a:ext cx="100627" cy="115808"/>
              </a:xfrm>
              <a:custGeom>
                <a:avLst/>
                <a:gdLst>
                  <a:gd name="connsiteX0" fmla="*/ 26024 w 100627"/>
                  <a:gd name="connsiteY0" fmla="*/ 115809 h 115808"/>
                  <a:gd name="connsiteX1" fmla="*/ 7621 w 100627"/>
                  <a:gd name="connsiteY1" fmla="*/ 108197 h 115808"/>
                  <a:gd name="connsiteX2" fmla="*/ 0 w 100627"/>
                  <a:gd name="connsiteY2" fmla="*/ 89764 h 115808"/>
                  <a:gd name="connsiteX3" fmla="*/ 7660 w 100627"/>
                  <a:gd name="connsiteY3" fmla="*/ 71350 h 115808"/>
                  <a:gd name="connsiteX4" fmla="*/ 77371 w 100627"/>
                  <a:gd name="connsiteY4" fmla="*/ 1932 h 115808"/>
                  <a:gd name="connsiteX5" fmla="*/ 86754 w 100627"/>
                  <a:gd name="connsiteY5" fmla="*/ 1950 h 115808"/>
                  <a:gd name="connsiteX6" fmla="*/ 86736 w 100627"/>
                  <a:gd name="connsiteY6" fmla="*/ 11334 h 115808"/>
                  <a:gd name="connsiteX7" fmla="*/ 17023 w 100627"/>
                  <a:gd name="connsiteY7" fmla="*/ 80754 h 115808"/>
                  <a:gd name="connsiteX8" fmla="*/ 13271 w 100627"/>
                  <a:gd name="connsiteY8" fmla="*/ 89782 h 115808"/>
                  <a:gd name="connsiteX9" fmla="*/ 17005 w 100627"/>
                  <a:gd name="connsiteY9" fmla="*/ 98816 h 115808"/>
                  <a:gd name="connsiteX10" fmla="*/ 35045 w 100627"/>
                  <a:gd name="connsiteY10" fmla="*/ 98816 h 115808"/>
                  <a:gd name="connsiteX11" fmla="*/ 89299 w 100627"/>
                  <a:gd name="connsiteY11" fmla="*/ 44562 h 115808"/>
                  <a:gd name="connsiteX12" fmla="*/ 98683 w 100627"/>
                  <a:gd name="connsiteY12" fmla="*/ 44562 h 115808"/>
                  <a:gd name="connsiteX13" fmla="*/ 98683 w 100627"/>
                  <a:gd name="connsiteY13" fmla="*/ 53946 h 115808"/>
                  <a:gd name="connsiteX14" fmla="*/ 44426 w 100627"/>
                  <a:gd name="connsiteY14" fmla="*/ 108200 h 115808"/>
                  <a:gd name="connsiteX15" fmla="*/ 26024 w 100627"/>
                  <a:gd name="connsiteY15" fmla="*/ 115809 h 115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627" h="115808">
                    <a:moveTo>
                      <a:pt x="26024" y="115809"/>
                    </a:moveTo>
                    <a:cubicBezTo>
                      <a:pt x="19359" y="115809"/>
                      <a:pt x="12695" y="113270"/>
                      <a:pt x="7621" y="108197"/>
                    </a:cubicBezTo>
                    <a:cubicBezTo>
                      <a:pt x="2698" y="103271"/>
                      <a:pt x="-9" y="96727"/>
                      <a:pt x="0" y="89764"/>
                    </a:cubicBezTo>
                    <a:cubicBezTo>
                      <a:pt x="6" y="82804"/>
                      <a:pt x="2726" y="76263"/>
                      <a:pt x="7660" y="71350"/>
                    </a:cubicBezTo>
                    <a:lnTo>
                      <a:pt x="77371" y="1932"/>
                    </a:lnTo>
                    <a:cubicBezTo>
                      <a:pt x="79972" y="-652"/>
                      <a:pt x="84171" y="-643"/>
                      <a:pt x="86754" y="1950"/>
                    </a:cubicBezTo>
                    <a:cubicBezTo>
                      <a:pt x="89341" y="4546"/>
                      <a:pt x="89335" y="8747"/>
                      <a:pt x="86736" y="11334"/>
                    </a:cubicBezTo>
                    <a:lnTo>
                      <a:pt x="17023" y="80754"/>
                    </a:lnTo>
                    <a:cubicBezTo>
                      <a:pt x="14605" y="83163"/>
                      <a:pt x="13274" y="86368"/>
                      <a:pt x="13271" y="89782"/>
                    </a:cubicBezTo>
                    <a:cubicBezTo>
                      <a:pt x="13265" y="93193"/>
                      <a:pt x="14593" y="96401"/>
                      <a:pt x="17005" y="98816"/>
                    </a:cubicBezTo>
                    <a:cubicBezTo>
                      <a:pt x="21982" y="103787"/>
                      <a:pt x="30068" y="103787"/>
                      <a:pt x="35045" y="98816"/>
                    </a:cubicBezTo>
                    <a:lnTo>
                      <a:pt x="89299" y="44562"/>
                    </a:lnTo>
                    <a:cubicBezTo>
                      <a:pt x="91892" y="41970"/>
                      <a:pt x="96090" y="41970"/>
                      <a:pt x="98683" y="44562"/>
                    </a:cubicBezTo>
                    <a:cubicBezTo>
                      <a:pt x="101275" y="47155"/>
                      <a:pt x="101275" y="51353"/>
                      <a:pt x="98683" y="53946"/>
                    </a:cubicBezTo>
                    <a:lnTo>
                      <a:pt x="44426" y="108200"/>
                    </a:lnTo>
                    <a:cubicBezTo>
                      <a:pt x="39352" y="113273"/>
                      <a:pt x="32688" y="115809"/>
                      <a:pt x="26024" y="115809"/>
                    </a:cubicBezTo>
                    <a:close/>
                  </a:path>
                </a:pathLst>
              </a:custGeom>
              <a:grpFill/>
              <a:ln w="301" cap="flat">
                <a:noFill/>
                <a:prstDash val="solid"/>
                <a:miter/>
              </a:ln>
            </p:spPr>
            <p:txBody>
              <a:bodyPr rtlCol="0" anchor="ctr"/>
              <a:lstStyle/>
              <a:p>
                <a:endParaRPr lang="en-GB" dirty="0"/>
              </a:p>
            </p:txBody>
          </p:sp>
          <p:sp>
            <p:nvSpPr>
              <p:cNvPr id="252" name="Freihandform: Form 131">
                <a:extLst>
                  <a:ext uri="{FF2B5EF4-FFF2-40B4-BE49-F238E27FC236}">
                    <a16:creationId xmlns:a16="http://schemas.microsoft.com/office/drawing/2014/main" id="{DA07EC88-F410-425F-9789-3FA5003E8076}"/>
                  </a:ext>
                </a:extLst>
              </p:cNvPr>
              <p:cNvSpPr/>
              <p:nvPr/>
            </p:nvSpPr>
            <p:spPr>
              <a:xfrm>
                <a:off x="1065652" y="1781743"/>
                <a:ext cx="79541" cy="81478"/>
              </a:xfrm>
              <a:custGeom>
                <a:avLst/>
                <a:gdLst>
                  <a:gd name="connsiteX0" fmla="*/ 25969 w 79541"/>
                  <a:gd name="connsiteY0" fmla="*/ 81478 h 81478"/>
                  <a:gd name="connsiteX1" fmla="*/ 7624 w 79541"/>
                  <a:gd name="connsiteY1" fmla="*/ 72837 h 81478"/>
                  <a:gd name="connsiteX2" fmla="*/ 0 w 79541"/>
                  <a:gd name="connsiteY2" fmla="*/ 54407 h 81478"/>
                  <a:gd name="connsiteX3" fmla="*/ 7663 w 79541"/>
                  <a:gd name="connsiteY3" fmla="*/ 35990 h 81478"/>
                  <a:gd name="connsiteX4" fmla="*/ 41909 w 79541"/>
                  <a:gd name="connsiteY4" fmla="*/ 1934 h 81478"/>
                  <a:gd name="connsiteX5" fmla="*/ 51293 w 79541"/>
                  <a:gd name="connsiteY5" fmla="*/ 1962 h 81478"/>
                  <a:gd name="connsiteX6" fmla="*/ 51265 w 79541"/>
                  <a:gd name="connsiteY6" fmla="*/ 11345 h 81478"/>
                  <a:gd name="connsiteX7" fmla="*/ 17023 w 79541"/>
                  <a:gd name="connsiteY7" fmla="*/ 45401 h 81478"/>
                  <a:gd name="connsiteX8" fmla="*/ 13271 w 79541"/>
                  <a:gd name="connsiteY8" fmla="*/ 54422 h 81478"/>
                  <a:gd name="connsiteX9" fmla="*/ 17008 w 79541"/>
                  <a:gd name="connsiteY9" fmla="*/ 63456 h 81478"/>
                  <a:gd name="connsiteX10" fmla="*/ 26162 w 79541"/>
                  <a:gd name="connsiteY10" fmla="*/ 68207 h 81478"/>
                  <a:gd name="connsiteX11" fmla="*/ 34264 w 79541"/>
                  <a:gd name="connsiteY11" fmla="*/ 63450 h 81478"/>
                  <a:gd name="connsiteX12" fmla="*/ 68213 w 79541"/>
                  <a:gd name="connsiteY12" fmla="*/ 29488 h 81478"/>
                  <a:gd name="connsiteX13" fmla="*/ 77597 w 79541"/>
                  <a:gd name="connsiteY13" fmla="*/ 29488 h 81478"/>
                  <a:gd name="connsiteX14" fmla="*/ 77597 w 79541"/>
                  <a:gd name="connsiteY14" fmla="*/ 38872 h 81478"/>
                  <a:gd name="connsiteX15" fmla="*/ 43895 w 79541"/>
                  <a:gd name="connsiteY15" fmla="*/ 72571 h 81478"/>
                  <a:gd name="connsiteX16" fmla="*/ 26522 w 79541"/>
                  <a:gd name="connsiteY16" fmla="*/ 81475 h 81478"/>
                  <a:gd name="connsiteX17" fmla="*/ 25969 w 79541"/>
                  <a:gd name="connsiteY17" fmla="*/ 81478 h 81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541" h="81478">
                    <a:moveTo>
                      <a:pt x="25969" y="81478"/>
                    </a:moveTo>
                    <a:cubicBezTo>
                      <a:pt x="19616" y="81478"/>
                      <a:pt x="13283" y="78496"/>
                      <a:pt x="7624" y="72837"/>
                    </a:cubicBezTo>
                    <a:cubicBezTo>
                      <a:pt x="2698" y="67914"/>
                      <a:pt x="-6" y="61370"/>
                      <a:pt x="0" y="54407"/>
                    </a:cubicBezTo>
                    <a:cubicBezTo>
                      <a:pt x="6" y="47444"/>
                      <a:pt x="2729" y="40903"/>
                      <a:pt x="7663" y="35990"/>
                    </a:cubicBezTo>
                    <a:lnTo>
                      <a:pt x="41909" y="1934"/>
                    </a:lnTo>
                    <a:cubicBezTo>
                      <a:pt x="44502" y="-652"/>
                      <a:pt x="48706" y="-646"/>
                      <a:pt x="51293" y="1962"/>
                    </a:cubicBezTo>
                    <a:cubicBezTo>
                      <a:pt x="53879" y="4560"/>
                      <a:pt x="53864" y="8762"/>
                      <a:pt x="51265" y="11345"/>
                    </a:cubicBezTo>
                    <a:lnTo>
                      <a:pt x="17023" y="45401"/>
                    </a:lnTo>
                    <a:cubicBezTo>
                      <a:pt x="14608" y="47806"/>
                      <a:pt x="13274" y="51009"/>
                      <a:pt x="13271" y="54422"/>
                    </a:cubicBezTo>
                    <a:cubicBezTo>
                      <a:pt x="13268" y="57833"/>
                      <a:pt x="14593" y="61041"/>
                      <a:pt x="17008" y="63456"/>
                    </a:cubicBezTo>
                    <a:cubicBezTo>
                      <a:pt x="19226" y="65674"/>
                      <a:pt x="22734" y="68481"/>
                      <a:pt x="26162" y="68207"/>
                    </a:cubicBezTo>
                    <a:cubicBezTo>
                      <a:pt x="28770" y="68134"/>
                      <a:pt x="31496" y="66535"/>
                      <a:pt x="34264" y="63450"/>
                    </a:cubicBezTo>
                    <a:lnTo>
                      <a:pt x="68213" y="29488"/>
                    </a:lnTo>
                    <a:cubicBezTo>
                      <a:pt x="70806" y="26896"/>
                      <a:pt x="75004" y="26896"/>
                      <a:pt x="77597" y="29488"/>
                    </a:cubicBezTo>
                    <a:cubicBezTo>
                      <a:pt x="80190" y="32081"/>
                      <a:pt x="80190" y="36279"/>
                      <a:pt x="77597" y="38872"/>
                    </a:cubicBezTo>
                    <a:lnTo>
                      <a:pt x="43895" y="72571"/>
                    </a:lnTo>
                    <a:cubicBezTo>
                      <a:pt x="38842" y="78215"/>
                      <a:pt x="32917" y="81300"/>
                      <a:pt x="26522" y="81475"/>
                    </a:cubicBezTo>
                    <a:cubicBezTo>
                      <a:pt x="26338" y="81475"/>
                      <a:pt x="26153" y="81478"/>
                      <a:pt x="25969" y="81478"/>
                    </a:cubicBezTo>
                    <a:close/>
                  </a:path>
                </a:pathLst>
              </a:custGeom>
              <a:grpFill/>
              <a:ln w="301" cap="flat">
                <a:noFill/>
                <a:prstDash val="solid"/>
                <a:miter/>
              </a:ln>
            </p:spPr>
            <p:txBody>
              <a:bodyPr rtlCol="0" anchor="ctr"/>
              <a:lstStyle/>
              <a:p>
                <a:endParaRPr lang="en-GB" dirty="0"/>
              </a:p>
            </p:txBody>
          </p:sp>
          <p:sp>
            <p:nvSpPr>
              <p:cNvPr id="253" name="Freihandform: Form 132">
                <a:extLst>
                  <a:ext uri="{FF2B5EF4-FFF2-40B4-BE49-F238E27FC236}">
                    <a16:creationId xmlns:a16="http://schemas.microsoft.com/office/drawing/2014/main" id="{6FB29247-7B8D-4545-9313-36C37CB09F85}"/>
                  </a:ext>
                </a:extLst>
              </p:cNvPr>
              <p:cNvSpPr/>
              <p:nvPr/>
            </p:nvSpPr>
            <p:spPr>
              <a:xfrm>
                <a:off x="1103399" y="1809378"/>
                <a:ext cx="68355" cy="68971"/>
              </a:xfrm>
              <a:custGeom>
                <a:avLst/>
                <a:gdLst>
                  <a:gd name="connsiteX0" fmla="*/ 25840 w 68355"/>
                  <a:gd name="connsiteY0" fmla="*/ 68971 h 68971"/>
                  <a:gd name="connsiteX1" fmla="*/ 7624 w 68355"/>
                  <a:gd name="connsiteY1" fmla="*/ 61383 h 68971"/>
                  <a:gd name="connsiteX2" fmla="*/ 0 w 68355"/>
                  <a:gd name="connsiteY2" fmla="*/ 42951 h 68971"/>
                  <a:gd name="connsiteX3" fmla="*/ 7663 w 68355"/>
                  <a:gd name="connsiteY3" fmla="*/ 24536 h 68971"/>
                  <a:gd name="connsiteX4" fmla="*/ 30581 w 68355"/>
                  <a:gd name="connsiteY4" fmla="*/ 1911 h 68971"/>
                  <a:gd name="connsiteX5" fmla="*/ 39968 w 68355"/>
                  <a:gd name="connsiteY5" fmla="*/ 1971 h 68971"/>
                  <a:gd name="connsiteX6" fmla="*/ 39908 w 68355"/>
                  <a:gd name="connsiteY6" fmla="*/ 11358 h 68971"/>
                  <a:gd name="connsiteX7" fmla="*/ 17011 w 68355"/>
                  <a:gd name="connsiteY7" fmla="*/ 33962 h 68971"/>
                  <a:gd name="connsiteX8" fmla="*/ 13274 w 68355"/>
                  <a:gd name="connsiteY8" fmla="*/ 42966 h 68971"/>
                  <a:gd name="connsiteX9" fmla="*/ 17011 w 68355"/>
                  <a:gd name="connsiteY9" fmla="*/ 51999 h 68971"/>
                  <a:gd name="connsiteX10" fmla="*/ 26162 w 68355"/>
                  <a:gd name="connsiteY10" fmla="*/ 55697 h 68971"/>
                  <a:gd name="connsiteX11" fmla="*/ 34267 w 68355"/>
                  <a:gd name="connsiteY11" fmla="*/ 51990 h 68971"/>
                  <a:gd name="connsiteX12" fmla="*/ 57027 w 68355"/>
                  <a:gd name="connsiteY12" fmla="*/ 29217 h 68971"/>
                  <a:gd name="connsiteX13" fmla="*/ 66411 w 68355"/>
                  <a:gd name="connsiteY13" fmla="*/ 29217 h 68971"/>
                  <a:gd name="connsiteX14" fmla="*/ 66411 w 68355"/>
                  <a:gd name="connsiteY14" fmla="*/ 38601 h 68971"/>
                  <a:gd name="connsiteX15" fmla="*/ 43895 w 68355"/>
                  <a:gd name="connsiteY15" fmla="*/ 61115 h 68971"/>
                  <a:gd name="connsiteX16" fmla="*/ 26519 w 68355"/>
                  <a:gd name="connsiteY16" fmla="*/ 68965 h 68971"/>
                  <a:gd name="connsiteX17" fmla="*/ 25840 w 68355"/>
                  <a:gd name="connsiteY17" fmla="*/ 68971 h 6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355" h="68971">
                    <a:moveTo>
                      <a:pt x="25840" y="68971"/>
                    </a:moveTo>
                    <a:cubicBezTo>
                      <a:pt x="19076" y="68974"/>
                      <a:pt x="12469" y="66231"/>
                      <a:pt x="7624" y="61383"/>
                    </a:cubicBezTo>
                    <a:cubicBezTo>
                      <a:pt x="2698" y="56460"/>
                      <a:pt x="-6" y="49914"/>
                      <a:pt x="0" y="42951"/>
                    </a:cubicBezTo>
                    <a:cubicBezTo>
                      <a:pt x="6" y="35990"/>
                      <a:pt x="2729" y="29450"/>
                      <a:pt x="7663" y="24536"/>
                    </a:cubicBezTo>
                    <a:lnTo>
                      <a:pt x="30581" y="1911"/>
                    </a:lnTo>
                    <a:cubicBezTo>
                      <a:pt x="33189" y="-657"/>
                      <a:pt x="37393" y="-636"/>
                      <a:pt x="39968" y="1971"/>
                    </a:cubicBezTo>
                    <a:cubicBezTo>
                      <a:pt x="42540" y="4579"/>
                      <a:pt x="42515" y="8784"/>
                      <a:pt x="39908" y="11358"/>
                    </a:cubicBezTo>
                    <a:lnTo>
                      <a:pt x="17011" y="33962"/>
                    </a:lnTo>
                    <a:cubicBezTo>
                      <a:pt x="14614" y="36347"/>
                      <a:pt x="13277" y="39555"/>
                      <a:pt x="13274" y="42966"/>
                    </a:cubicBezTo>
                    <a:cubicBezTo>
                      <a:pt x="13271" y="46376"/>
                      <a:pt x="14596" y="49585"/>
                      <a:pt x="17011" y="51999"/>
                    </a:cubicBezTo>
                    <a:cubicBezTo>
                      <a:pt x="19453" y="54438"/>
                      <a:pt x="22661" y="55766"/>
                      <a:pt x="26162" y="55697"/>
                    </a:cubicBezTo>
                    <a:cubicBezTo>
                      <a:pt x="29320" y="55612"/>
                      <a:pt x="32199" y="54296"/>
                      <a:pt x="34267" y="51990"/>
                    </a:cubicBezTo>
                    <a:lnTo>
                      <a:pt x="57027" y="29217"/>
                    </a:lnTo>
                    <a:cubicBezTo>
                      <a:pt x="59620" y="26625"/>
                      <a:pt x="63819" y="26625"/>
                      <a:pt x="66411" y="29217"/>
                    </a:cubicBezTo>
                    <a:cubicBezTo>
                      <a:pt x="69004" y="31810"/>
                      <a:pt x="69004" y="36012"/>
                      <a:pt x="66411" y="38601"/>
                    </a:cubicBezTo>
                    <a:lnTo>
                      <a:pt x="43895" y="61115"/>
                    </a:lnTo>
                    <a:cubicBezTo>
                      <a:pt x="39618" y="65902"/>
                      <a:pt x="33358" y="68778"/>
                      <a:pt x="26519" y="68965"/>
                    </a:cubicBezTo>
                    <a:cubicBezTo>
                      <a:pt x="26289" y="68971"/>
                      <a:pt x="26063" y="68971"/>
                      <a:pt x="25840" y="68971"/>
                    </a:cubicBezTo>
                    <a:close/>
                  </a:path>
                </a:pathLst>
              </a:custGeom>
              <a:grpFill/>
              <a:ln w="301" cap="flat">
                <a:noFill/>
                <a:prstDash val="solid"/>
                <a:miter/>
              </a:ln>
            </p:spPr>
            <p:txBody>
              <a:bodyPr rtlCol="0" anchor="ctr"/>
              <a:lstStyle/>
              <a:p>
                <a:endParaRPr lang="en-GB" dirty="0"/>
              </a:p>
            </p:txBody>
          </p:sp>
          <p:sp>
            <p:nvSpPr>
              <p:cNvPr id="254" name="Freihandform: Form 133">
                <a:extLst>
                  <a:ext uri="{FF2B5EF4-FFF2-40B4-BE49-F238E27FC236}">
                    <a16:creationId xmlns:a16="http://schemas.microsoft.com/office/drawing/2014/main" id="{10CC4A68-AF0E-48D6-A328-E48D4949B384}"/>
                  </a:ext>
                </a:extLst>
              </p:cNvPr>
              <p:cNvSpPr/>
              <p:nvPr/>
            </p:nvSpPr>
            <p:spPr>
              <a:xfrm>
                <a:off x="1092880" y="1701088"/>
                <a:ext cx="108519" cy="94035"/>
              </a:xfrm>
              <a:custGeom>
                <a:avLst/>
                <a:gdLst>
                  <a:gd name="connsiteX0" fmla="*/ 82471 w 108519"/>
                  <a:gd name="connsiteY0" fmla="*/ 94035 h 94035"/>
                  <a:gd name="connsiteX1" fmla="*/ 64051 w 108519"/>
                  <a:gd name="connsiteY1" fmla="*/ 86417 h 94035"/>
                  <a:gd name="connsiteX2" fmla="*/ 29730 w 108519"/>
                  <a:gd name="connsiteY2" fmla="*/ 52096 h 94035"/>
                  <a:gd name="connsiteX3" fmla="*/ 6637 w 108519"/>
                  <a:gd name="connsiteY3" fmla="*/ 52096 h 94035"/>
                  <a:gd name="connsiteX4" fmla="*/ 0 w 108519"/>
                  <a:gd name="connsiteY4" fmla="*/ 45459 h 94035"/>
                  <a:gd name="connsiteX5" fmla="*/ 6637 w 108519"/>
                  <a:gd name="connsiteY5" fmla="*/ 38822 h 94035"/>
                  <a:gd name="connsiteX6" fmla="*/ 35226 w 108519"/>
                  <a:gd name="connsiteY6" fmla="*/ 38822 h 94035"/>
                  <a:gd name="connsiteX7" fmla="*/ 73435 w 108519"/>
                  <a:gd name="connsiteY7" fmla="*/ 77030 h 94035"/>
                  <a:gd name="connsiteX8" fmla="*/ 91505 w 108519"/>
                  <a:gd name="connsiteY8" fmla="*/ 77030 h 94035"/>
                  <a:gd name="connsiteX9" fmla="*/ 95248 w 108519"/>
                  <a:gd name="connsiteY9" fmla="*/ 67997 h 94035"/>
                  <a:gd name="connsiteX10" fmla="*/ 91505 w 108519"/>
                  <a:gd name="connsiteY10" fmla="*/ 58963 h 94035"/>
                  <a:gd name="connsiteX11" fmla="*/ 43868 w 108519"/>
                  <a:gd name="connsiteY11" fmla="*/ 11328 h 94035"/>
                  <a:gd name="connsiteX12" fmla="*/ 43868 w 108519"/>
                  <a:gd name="connsiteY12" fmla="*/ 1945 h 94035"/>
                  <a:gd name="connsiteX13" fmla="*/ 53252 w 108519"/>
                  <a:gd name="connsiteY13" fmla="*/ 1945 h 94035"/>
                  <a:gd name="connsiteX14" fmla="*/ 100889 w 108519"/>
                  <a:gd name="connsiteY14" fmla="*/ 49582 h 94035"/>
                  <a:gd name="connsiteX15" fmla="*/ 108519 w 108519"/>
                  <a:gd name="connsiteY15" fmla="*/ 68000 h 94035"/>
                  <a:gd name="connsiteX16" fmla="*/ 100889 w 108519"/>
                  <a:gd name="connsiteY16" fmla="*/ 86417 h 94035"/>
                  <a:gd name="connsiteX17" fmla="*/ 82471 w 108519"/>
                  <a:gd name="connsiteY17" fmla="*/ 94035 h 94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519" h="94035">
                    <a:moveTo>
                      <a:pt x="82471" y="94035"/>
                    </a:moveTo>
                    <a:cubicBezTo>
                      <a:pt x="75801" y="94035"/>
                      <a:pt x="69128" y="91497"/>
                      <a:pt x="64051" y="86417"/>
                    </a:cubicBezTo>
                    <a:lnTo>
                      <a:pt x="29730" y="52096"/>
                    </a:lnTo>
                    <a:lnTo>
                      <a:pt x="6637" y="52096"/>
                    </a:lnTo>
                    <a:cubicBezTo>
                      <a:pt x="2973" y="52096"/>
                      <a:pt x="0" y="49126"/>
                      <a:pt x="0" y="45459"/>
                    </a:cubicBezTo>
                    <a:cubicBezTo>
                      <a:pt x="0" y="41795"/>
                      <a:pt x="2970" y="38822"/>
                      <a:pt x="6637" y="38822"/>
                    </a:cubicBezTo>
                    <a:lnTo>
                      <a:pt x="35226" y="38822"/>
                    </a:lnTo>
                    <a:lnTo>
                      <a:pt x="73435" y="77030"/>
                    </a:lnTo>
                    <a:cubicBezTo>
                      <a:pt x="78415" y="82013"/>
                      <a:pt x="86519" y="82013"/>
                      <a:pt x="91505" y="77030"/>
                    </a:cubicBezTo>
                    <a:cubicBezTo>
                      <a:pt x="93920" y="74616"/>
                      <a:pt x="95248" y="71407"/>
                      <a:pt x="95248" y="67997"/>
                    </a:cubicBezTo>
                    <a:cubicBezTo>
                      <a:pt x="95248" y="64586"/>
                      <a:pt x="93920" y="61377"/>
                      <a:pt x="91505" y="58963"/>
                    </a:cubicBezTo>
                    <a:lnTo>
                      <a:pt x="43868" y="11328"/>
                    </a:lnTo>
                    <a:cubicBezTo>
                      <a:pt x="41275" y="8736"/>
                      <a:pt x="41275" y="4537"/>
                      <a:pt x="43868" y="1945"/>
                    </a:cubicBezTo>
                    <a:cubicBezTo>
                      <a:pt x="46460" y="-648"/>
                      <a:pt x="50659" y="-648"/>
                      <a:pt x="53252" y="1945"/>
                    </a:cubicBezTo>
                    <a:lnTo>
                      <a:pt x="100889" y="49582"/>
                    </a:lnTo>
                    <a:cubicBezTo>
                      <a:pt x="105812" y="54502"/>
                      <a:pt x="108519" y="61039"/>
                      <a:pt x="108519" y="68000"/>
                    </a:cubicBezTo>
                    <a:cubicBezTo>
                      <a:pt x="108519" y="74960"/>
                      <a:pt x="105812" y="81497"/>
                      <a:pt x="100889" y="86417"/>
                    </a:cubicBezTo>
                    <a:cubicBezTo>
                      <a:pt x="95812" y="91494"/>
                      <a:pt x="89139" y="94035"/>
                      <a:pt x="82471" y="94035"/>
                    </a:cubicBezTo>
                    <a:close/>
                  </a:path>
                </a:pathLst>
              </a:custGeom>
              <a:grpFill/>
              <a:ln w="301" cap="flat">
                <a:noFill/>
                <a:prstDash val="solid"/>
                <a:miter/>
              </a:ln>
            </p:spPr>
            <p:txBody>
              <a:bodyPr rtlCol="0" anchor="ctr"/>
              <a:lstStyle/>
              <a:p>
                <a:endParaRPr lang="en-GB" dirty="0"/>
              </a:p>
            </p:txBody>
          </p:sp>
          <p:sp>
            <p:nvSpPr>
              <p:cNvPr id="255" name="Freihandform: Form 134">
                <a:extLst>
                  <a:ext uri="{FF2B5EF4-FFF2-40B4-BE49-F238E27FC236}">
                    <a16:creationId xmlns:a16="http://schemas.microsoft.com/office/drawing/2014/main" id="{B064DB79-6E1D-4A7A-A763-D8F2E0D1BC06}"/>
                  </a:ext>
                </a:extLst>
              </p:cNvPr>
              <p:cNvSpPr/>
              <p:nvPr/>
            </p:nvSpPr>
            <p:spPr>
              <a:xfrm>
                <a:off x="952705" y="1824035"/>
                <a:ext cx="77418" cy="13274"/>
              </a:xfrm>
              <a:custGeom>
                <a:avLst/>
                <a:gdLst>
                  <a:gd name="connsiteX0" fmla="*/ 70782 w 77418"/>
                  <a:gd name="connsiteY0" fmla="*/ 13274 h 13274"/>
                  <a:gd name="connsiteX1" fmla="*/ 6637 w 77418"/>
                  <a:gd name="connsiteY1" fmla="*/ 13274 h 13274"/>
                  <a:gd name="connsiteX2" fmla="*/ 0 w 77418"/>
                  <a:gd name="connsiteY2" fmla="*/ 6637 h 13274"/>
                  <a:gd name="connsiteX3" fmla="*/ 6637 w 77418"/>
                  <a:gd name="connsiteY3" fmla="*/ 0 h 13274"/>
                  <a:gd name="connsiteX4" fmla="*/ 70782 w 77418"/>
                  <a:gd name="connsiteY4" fmla="*/ 0 h 13274"/>
                  <a:gd name="connsiteX5" fmla="*/ 77419 w 77418"/>
                  <a:gd name="connsiteY5" fmla="*/ 6637 h 13274"/>
                  <a:gd name="connsiteX6" fmla="*/ 70782 w 77418"/>
                  <a:gd name="connsiteY6" fmla="*/ 13274 h 1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18" h="13274">
                    <a:moveTo>
                      <a:pt x="70782" y="13274"/>
                    </a:moveTo>
                    <a:lnTo>
                      <a:pt x="6637" y="13274"/>
                    </a:lnTo>
                    <a:cubicBezTo>
                      <a:pt x="2973" y="13274"/>
                      <a:pt x="0" y="10304"/>
                      <a:pt x="0" y="6637"/>
                    </a:cubicBezTo>
                    <a:cubicBezTo>
                      <a:pt x="0" y="2973"/>
                      <a:pt x="2970" y="0"/>
                      <a:pt x="6637" y="0"/>
                    </a:cubicBezTo>
                    <a:lnTo>
                      <a:pt x="70782" y="0"/>
                    </a:lnTo>
                    <a:cubicBezTo>
                      <a:pt x="74446" y="0"/>
                      <a:pt x="77419" y="2970"/>
                      <a:pt x="77419" y="6637"/>
                    </a:cubicBezTo>
                    <a:cubicBezTo>
                      <a:pt x="77419" y="10301"/>
                      <a:pt x="74446" y="13274"/>
                      <a:pt x="70782" y="13274"/>
                    </a:cubicBezTo>
                    <a:close/>
                  </a:path>
                </a:pathLst>
              </a:custGeom>
              <a:grpFill/>
              <a:ln w="301" cap="flat">
                <a:noFill/>
                <a:prstDash val="solid"/>
                <a:miter/>
              </a:ln>
            </p:spPr>
            <p:txBody>
              <a:bodyPr rtlCol="0" anchor="ctr"/>
              <a:lstStyle/>
              <a:p>
                <a:endParaRPr lang="en-GB" dirty="0"/>
              </a:p>
            </p:txBody>
          </p:sp>
        </p:grpSp>
        <p:grpSp>
          <p:nvGrpSpPr>
            <p:cNvPr id="239" name="Gruppieren 5">
              <a:extLst>
                <a:ext uri="{FF2B5EF4-FFF2-40B4-BE49-F238E27FC236}">
                  <a16:creationId xmlns:a16="http://schemas.microsoft.com/office/drawing/2014/main" id="{8783D8B8-10E6-4DB1-9B17-55CA17E7A0B9}"/>
                </a:ext>
              </a:extLst>
            </p:cNvPr>
            <p:cNvGrpSpPr/>
            <p:nvPr/>
          </p:nvGrpSpPr>
          <p:grpSpPr>
            <a:xfrm>
              <a:off x="2592946" y="3478829"/>
              <a:ext cx="583944" cy="150239"/>
              <a:chOff x="902703" y="1933334"/>
              <a:chExt cx="481329" cy="123838"/>
            </a:xfrm>
          </p:grpSpPr>
          <p:grpSp>
            <p:nvGrpSpPr>
              <p:cNvPr id="240" name="Grafik 342">
                <a:extLst>
                  <a:ext uri="{FF2B5EF4-FFF2-40B4-BE49-F238E27FC236}">
                    <a16:creationId xmlns:a16="http://schemas.microsoft.com/office/drawing/2014/main" id="{8DF9B425-8ABF-42EC-8B89-228DC6F97912}"/>
                  </a:ext>
                </a:extLst>
              </p:cNvPr>
              <p:cNvGrpSpPr/>
              <p:nvPr/>
            </p:nvGrpSpPr>
            <p:grpSpPr>
              <a:xfrm>
                <a:off x="1078504" y="1933334"/>
                <a:ext cx="119448" cy="119453"/>
                <a:chOff x="1078504" y="1933334"/>
                <a:chExt cx="119448" cy="119453"/>
              </a:xfrm>
              <a:solidFill>
                <a:schemeClr val="accent1"/>
              </a:solidFill>
            </p:grpSpPr>
            <p:sp>
              <p:nvSpPr>
                <p:cNvPr id="247" name="Freihandform: Form 136">
                  <a:extLst>
                    <a:ext uri="{FF2B5EF4-FFF2-40B4-BE49-F238E27FC236}">
                      <a16:creationId xmlns:a16="http://schemas.microsoft.com/office/drawing/2014/main" id="{4F4BCCF9-43E1-4293-99CF-0711A04DEE78}"/>
                    </a:ext>
                  </a:extLst>
                </p:cNvPr>
                <p:cNvSpPr/>
                <p:nvPr/>
              </p:nvSpPr>
              <p:spPr>
                <a:xfrm>
                  <a:off x="1078504" y="1933345"/>
                  <a:ext cx="119448" cy="119442"/>
                </a:xfrm>
                <a:custGeom>
                  <a:avLst/>
                  <a:gdLst>
                    <a:gd name="connsiteX0" fmla="*/ 59723 w 119448"/>
                    <a:gd name="connsiteY0" fmla="*/ 119442 h 119442"/>
                    <a:gd name="connsiteX1" fmla="*/ 0 w 119448"/>
                    <a:gd name="connsiteY1" fmla="*/ 59720 h 119442"/>
                    <a:gd name="connsiteX2" fmla="*/ 59723 w 119448"/>
                    <a:gd name="connsiteY2" fmla="*/ 0 h 119442"/>
                    <a:gd name="connsiteX3" fmla="*/ 82761 w 119448"/>
                    <a:gd name="connsiteY3" fmla="*/ 4603 h 119442"/>
                    <a:gd name="connsiteX4" fmla="*/ 86326 w 119448"/>
                    <a:gd name="connsiteY4" fmla="*/ 13286 h 119442"/>
                    <a:gd name="connsiteX5" fmla="*/ 77642 w 119448"/>
                    <a:gd name="connsiteY5" fmla="*/ 16851 h 119442"/>
                    <a:gd name="connsiteX6" fmla="*/ 59726 w 119448"/>
                    <a:gd name="connsiteY6" fmla="*/ 13271 h 119442"/>
                    <a:gd name="connsiteX7" fmla="*/ 13274 w 119448"/>
                    <a:gd name="connsiteY7" fmla="*/ 59720 h 119442"/>
                    <a:gd name="connsiteX8" fmla="*/ 59726 w 119448"/>
                    <a:gd name="connsiteY8" fmla="*/ 106171 h 119442"/>
                    <a:gd name="connsiteX9" fmla="*/ 106177 w 119448"/>
                    <a:gd name="connsiteY9" fmla="*/ 59720 h 119442"/>
                    <a:gd name="connsiteX10" fmla="*/ 105398 w 119448"/>
                    <a:gd name="connsiteY10" fmla="*/ 51208 h 119442"/>
                    <a:gd name="connsiteX11" fmla="*/ 110717 w 119448"/>
                    <a:gd name="connsiteY11" fmla="*/ 43475 h 119442"/>
                    <a:gd name="connsiteX12" fmla="*/ 118449 w 119448"/>
                    <a:gd name="connsiteY12" fmla="*/ 48794 h 119442"/>
                    <a:gd name="connsiteX13" fmla="*/ 119448 w 119448"/>
                    <a:gd name="connsiteY13" fmla="*/ 59723 h 119442"/>
                    <a:gd name="connsiteX14" fmla="*/ 59723 w 119448"/>
                    <a:gd name="connsiteY14" fmla="*/ 119442 h 119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448" h="119442">
                      <a:moveTo>
                        <a:pt x="59723" y="119442"/>
                      </a:moveTo>
                      <a:cubicBezTo>
                        <a:pt x="26793" y="119442"/>
                        <a:pt x="0" y="92649"/>
                        <a:pt x="0" y="59720"/>
                      </a:cubicBezTo>
                      <a:cubicBezTo>
                        <a:pt x="0" y="26790"/>
                        <a:pt x="26793" y="0"/>
                        <a:pt x="59723" y="0"/>
                      </a:cubicBezTo>
                      <a:cubicBezTo>
                        <a:pt x="67697" y="0"/>
                        <a:pt x="75448" y="1548"/>
                        <a:pt x="82761" y="4603"/>
                      </a:cubicBezTo>
                      <a:cubicBezTo>
                        <a:pt x="86142" y="6018"/>
                        <a:pt x="87738" y="9903"/>
                        <a:pt x="86326" y="13286"/>
                      </a:cubicBezTo>
                      <a:cubicBezTo>
                        <a:pt x="84913" y="16670"/>
                        <a:pt x="81026" y="18261"/>
                        <a:pt x="77642" y="16851"/>
                      </a:cubicBezTo>
                      <a:cubicBezTo>
                        <a:pt x="71962" y="14476"/>
                        <a:pt x="65931" y="13271"/>
                        <a:pt x="59726" y="13271"/>
                      </a:cubicBezTo>
                      <a:cubicBezTo>
                        <a:pt x="34113" y="13271"/>
                        <a:pt x="13274" y="34110"/>
                        <a:pt x="13274" y="59720"/>
                      </a:cubicBezTo>
                      <a:cubicBezTo>
                        <a:pt x="13274" y="85333"/>
                        <a:pt x="34113" y="106171"/>
                        <a:pt x="59726" y="106171"/>
                      </a:cubicBezTo>
                      <a:cubicBezTo>
                        <a:pt x="85339" y="106171"/>
                        <a:pt x="106177" y="85333"/>
                        <a:pt x="106177" y="59720"/>
                      </a:cubicBezTo>
                      <a:cubicBezTo>
                        <a:pt x="106177" y="56858"/>
                        <a:pt x="105914" y="53994"/>
                        <a:pt x="105398" y="51208"/>
                      </a:cubicBezTo>
                      <a:cubicBezTo>
                        <a:pt x="104731" y="47601"/>
                        <a:pt x="107113" y="44142"/>
                        <a:pt x="110717" y="43475"/>
                      </a:cubicBezTo>
                      <a:cubicBezTo>
                        <a:pt x="114338" y="42814"/>
                        <a:pt x="117779" y="45190"/>
                        <a:pt x="118449" y="48794"/>
                      </a:cubicBezTo>
                      <a:cubicBezTo>
                        <a:pt x="119110" y="52376"/>
                        <a:pt x="119448" y="56052"/>
                        <a:pt x="119448" y="59723"/>
                      </a:cubicBezTo>
                      <a:cubicBezTo>
                        <a:pt x="119445" y="92649"/>
                        <a:pt x="92652" y="119442"/>
                        <a:pt x="59723" y="119442"/>
                      </a:cubicBezTo>
                      <a:close/>
                    </a:path>
                  </a:pathLst>
                </a:custGeom>
                <a:solidFill>
                  <a:schemeClr val="accent1"/>
                </a:solidFill>
                <a:ln w="301" cap="flat">
                  <a:noFill/>
                  <a:prstDash val="solid"/>
                  <a:miter/>
                </a:ln>
              </p:spPr>
              <p:txBody>
                <a:bodyPr rtlCol="0" anchor="ctr"/>
                <a:lstStyle/>
                <a:p>
                  <a:endParaRPr lang="en-GB" dirty="0"/>
                </a:p>
              </p:txBody>
            </p:sp>
            <p:sp>
              <p:nvSpPr>
                <p:cNvPr id="248" name="Freihandform: Form 137">
                  <a:extLst>
                    <a:ext uri="{FF2B5EF4-FFF2-40B4-BE49-F238E27FC236}">
                      <a16:creationId xmlns:a16="http://schemas.microsoft.com/office/drawing/2014/main" id="{DC298AF9-11FD-4459-81B2-0E1674AB0D74}"/>
                    </a:ext>
                  </a:extLst>
                </p:cNvPr>
                <p:cNvSpPr/>
                <p:nvPr/>
              </p:nvSpPr>
              <p:spPr>
                <a:xfrm>
                  <a:off x="1107536" y="1933334"/>
                  <a:ext cx="90410" cy="87601"/>
                </a:xfrm>
                <a:custGeom>
                  <a:avLst/>
                  <a:gdLst>
                    <a:gd name="connsiteX0" fmla="*/ 30684 w 90410"/>
                    <a:gd name="connsiteY0" fmla="*/ 87602 h 87601"/>
                    <a:gd name="connsiteX1" fmla="*/ 26100 w 90410"/>
                    <a:gd name="connsiteY1" fmla="*/ 85764 h 87601"/>
                    <a:gd name="connsiteX2" fmla="*/ 2050 w 90410"/>
                    <a:gd name="connsiteY2" fmla="*/ 62794 h 87601"/>
                    <a:gd name="connsiteX3" fmla="*/ 1836 w 90410"/>
                    <a:gd name="connsiteY3" fmla="*/ 53411 h 87601"/>
                    <a:gd name="connsiteX4" fmla="*/ 11220 w 90410"/>
                    <a:gd name="connsiteY4" fmla="*/ 53196 h 87601"/>
                    <a:gd name="connsiteX5" fmla="*/ 29734 w 90410"/>
                    <a:gd name="connsiteY5" fmla="*/ 70880 h 87601"/>
                    <a:gd name="connsiteX6" fmla="*/ 78376 w 90410"/>
                    <a:gd name="connsiteY6" fmla="*/ 2785 h 87601"/>
                    <a:gd name="connsiteX7" fmla="*/ 87630 w 90410"/>
                    <a:gd name="connsiteY7" fmla="*/ 1243 h 87601"/>
                    <a:gd name="connsiteX8" fmla="*/ 89173 w 90410"/>
                    <a:gd name="connsiteY8" fmla="*/ 10497 h 87601"/>
                    <a:gd name="connsiteX9" fmla="*/ 36081 w 90410"/>
                    <a:gd name="connsiteY9" fmla="*/ 84819 h 87601"/>
                    <a:gd name="connsiteX10" fmla="*/ 31306 w 90410"/>
                    <a:gd name="connsiteY10" fmla="*/ 87568 h 87601"/>
                    <a:gd name="connsiteX11" fmla="*/ 30684 w 90410"/>
                    <a:gd name="connsiteY11" fmla="*/ 87602 h 87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410" h="87601">
                      <a:moveTo>
                        <a:pt x="30684" y="87602"/>
                      </a:moveTo>
                      <a:cubicBezTo>
                        <a:pt x="28982" y="87602"/>
                        <a:pt x="27340" y="86950"/>
                        <a:pt x="26100" y="85764"/>
                      </a:cubicBezTo>
                      <a:lnTo>
                        <a:pt x="2050" y="62794"/>
                      </a:lnTo>
                      <a:cubicBezTo>
                        <a:pt x="-597" y="60265"/>
                        <a:pt x="-694" y="56061"/>
                        <a:pt x="1836" y="53411"/>
                      </a:cubicBezTo>
                      <a:cubicBezTo>
                        <a:pt x="4362" y="50754"/>
                        <a:pt x="8567" y="50664"/>
                        <a:pt x="11220" y="53196"/>
                      </a:cubicBezTo>
                      <a:lnTo>
                        <a:pt x="29734" y="70880"/>
                      </a:lnTo>
                      <a:lnTo>
                        <a:pt x="78376" y="2785"/>
                      </a:lnTo>
                      <a:cubicBezTo>
                        <a:pt x="80501" y="-203"/>
                        <a:pt x="84648" y="-897"/>
                        <a:pt x="87630" y="1243"/>
                      </a:cubicBezTo>
                      <a:cubicBezTo>
                        <a:pt x="90615" y="3371"/>
                        <a:pt x="91304" y="7515"/>
                        <a:pt x="89173" y="10497"/>
                      </a:cubicBezTo>
                      <a:lnTo>
                        <a:pt x="36081" y="84819"/>
                      </a:lnTo>
                      <a:cubicBezTo>
                        <a:pt x="34964" y="86388"/>
                        <a:pt x="33220" y="87387"/>
                        <a:pt x="31306" y="87568"/>
                      </a:cubicBezTo>
                      <a:cubicBezTo>
                        <a:pt x="31098" y="87593"/>
                        <a:pt x="30893" y="87602"/>
                        <a:pt x="30684" y="87602"/>
                      </a:cubicBezTo>
                      <a:close/>
                    </a:path>
                  </a:pathLst>
                </a:custGeom>
                <a:solidFill>
                  <a:schemeClr val="accent1"/>
                </a:solidFill>
                <a:ln w="301" cap="flat">
                  <a:noFill/>
                  <a:prstDash val="solid"/>
                  <a:miter/>
                </a:ln>
              </p:spPr>
              <p:txBody>
                <a:bodyPr rtlCol="0" anchor="ctr"/>
                <a:lstStyle/>
                <a:p>
                  <a:endParaRPr lang="en-GB" dirty="0"/>
                </a:p>
              </p:txBody>
            </p:sp>
          </p:grpSp>
          <p:grpSp>
            <p:nvGrpSpPr>
              <p:cNvPr id="241" name="Grafik 342">
                <a:extLst>
                  <a:ext uri="{FF2B5EF4-FFF2-40B4-BE49-F238E27FC236}">
                    <a16:creationId xmlns:a16="http://schemas.microsoft.com/office/drawing/2014/main" id="{19064352-7421-4E38-A6D9-E26DEE4FBC8B}"/>
                  </a:ext>
                </a:extLst>
              </p:cNvPr>
              <p:cNvGrpSpPr/>
              <p:nvPr/>
            </p:nvGrpSpPr>
            <p:grpSpPr>
              <a:xfrm>
                <a:off x="1203751" y="1948932"/>
                <a:ext cx="180281" cy="104687"/>
                <a:chOff x="1203751" y="1948932"/>
                <a:chExt cx="180281" cy="104687"/>
              </a:xfrm>
              <a:solidFill>
                <a:schemeClr val="accent1"/>
              </a:solidFill>
            </p:grpSpPr>
            <p:sp>
              <p:nvSpPr>
                <p:cNvPr id="245" name="Freihandform: Form 139">
                  <a:extLst>
                    <a:ext uri="{FF2B5EF4-FFF2-40B4-BE49-F238E27FC236}">
                      <a16:creationId xmlns:a16="http://schemas.microsoft.com/office/drawing/2014/main" id="{78C90BBF-D8A6-431E-AAEB-0BAAC680ACCE}"/>
                    </a:ext>
                  </a:extLst>
                </p:cNvPr>
                <p:cNvSpPr/>
                <p:nvPr/>
              </p:nvSpPr>
              <p:spPr>
                <a:xfrm>
                  <a:off x="1203751" y="1948932"/>
                  <a:ext cx="92570" cy="104687"/>
                </a:xfrm>
                <a:custGeom>
                  <a:avLst/>
                  <a:gdLst>
                    <a:gd name="connsiteX0" fmla="*/ 67516 w 92570"/>
                    <a:gd name="connsiteY0" fmla="*/ 104685 h 104687"/>
                    <a:gd name="connsiteX1" fmla="*/ 64428 w 92570"/>
                    <a:gd name="connsiteY1" fmla="*/ 103925 h 104687"/>
                    <a:gd name="connsiteX2" fmla="*/ 37713 w 92570"/>
                    <a:gd name="connsiteY2" fmla="*/ 89878 h 104687"/>
                    <a:gd name="connsiteX3" fmla="*/ 10999 w 92570"/>
                    <a:gd name="connsiteY3" fmla="*/ 103925 h 104687"/>
                    <a:gd name="connsiteX4" fmla="*/ 4008 w 92570"/>
                    <a:gd name="connsiteY4" fmla="*/ 103421 h 104687"/>
                    <a:gd name="connsiteX5" fmla="*/ 1367 w 92570"/>
                    <a:gd name="connsiteY5" fmla="*/ 96931 h 104687"/>
                    <a:gd name="connsiteX6" fmla="*/ 6462 w 92570"/>
                    <a:gd name="connsiteY6" fmla="*/ 67240 h 104687"/>
                    <a:gd name="connsiteX7" fmla="*/ 0 w 92570"/>
                    <a:gd name="connsiteY7" fmla="*/ 61119 h 104687"/>
                    <a:gd name="connsiteX8" fmla="*/ 9130 w 92570"/>
                    <a:gd name="connsiteY8" fmla="*/ 51482 h 104687"/>
                    <a:gd name="connsiteX9" fmla="*/ 18167 w 92570"/>
                    <a:gd name="connsiteY9" fmla="*/ 60045 h 104687"/>
                    <a:gd name="connsiteX10" fmla="*/ 20144 w 92570"/>
                    <a:gd name="connsiteY10" fmla="*/ 65985 h 104687"/>
                    <a:gd name="connsiteX11" fmla="*/ 16721 w 92570"/>
                    <a:gd name="connsiteY11" fmla="*/ 85918 h 104687"/>
                    <a:gd name="connsiteX12" fmla="*/ 34623 w 92570"/>
                    <a:gd name="connsiteY12" fmla="*/ 76504 h 104687"/>
                    <a:gd name="connsiteX13" fmla="*/ 40798 w 92570"/>
                    <a:gd name="connsiteY13" fmla="*/ 76504 h 104687"/>
                    <a:gd name="connsiteX14" fmla="*/ 58700 w 92570"/>
                    <a:gd name="connsiteY14" fmla="*/ 85918 h 104687"/>
                    <a:gd name="connsiteX15" fmla="*/ 55277 w 92570"/>
                    <a:gd name="connsiteY15" fmla="*/ 65985 h 104687"/>
                    <a:gd name="connsiteX16" fmla="*/ 57184 w 92570"/>
                    <a:gd name="connsiteY16" fmla="*/ 60114 h 104687"/>
                    <a:gd name="connsiteX17" fmla="*/ 71669 w 92570"/>
                    <a:gd name="connsiteY17" fmla="*/ 45995 h 104687"/>
                    <a:gd name="connsiteX18" fmla="*/ 51658 w 92570"/>
                    <a:gd name="connsiteY18" fmla="*/ 43088 h 104687"/>
                    <a:gd name="connsiteX19" fmla="*/ 46663 w 92570"/>
                    <a:gd name="connsiteY19" fmla="*/ 39457 h 104687"/>
                    <a:gd name="connsiteX20" fmla="*/ 37710 w 92570"/>
                    <a:gd name="connsiteY20" fmla="*/ 21323 h 104687"/>
                    <a:gd name="connsiteX21" fmla="*/ 28758 w 92570"/>
                    <a:gd name="connsiteY21" fmla="*/ 39457 h 104687"/>
                    <a:gd name="connsiteX22" fmla="*/ 23697 w 92570"/>
                    <a:gd name="connsiteY22" fmla="*/ 43100 h 104687"/>
                    <a:gd name="connsiteX23" fmla="*/ 10289 w 92570"/>
                    <a:gd name="connsiteY23" fmla="*/ 44908 h 104687"/>
                    <a:gd name="connsiteX24" fmla="*/ 8515 w 92570"/>
                    <a:gd name="connsiteY24" fmla="*/ 31755 h 104687"/>
                    <a:gd name="connsiteX25" fmla="*/ 18424 w 92570"/>
                    <a:gd name="connsiteY25" fmla="*/ 30420 h 104687"/>
                    <a:gd name="connsiteX26" fmla="*/ 31764 w 92570"/>
                    <a:gd name="connsiteY26" fmla="*/ 3398 h 104687"/>
                    <a:gd name="connsiteX27" fmla="*/ 43662 w 92570"/>
                    <a:gd name="connsiteY27" fmla="*/ 3398 h 104687"/>
                    <a:gd name="connsiteX28" fmla="*/ 57021 w 92570"/>
                    <a:gd name="connsiteY28" fmla="*/ 30460 h 104687"/>
                    <a:gd name="connsiteX29" fmla="*/ 86884 w 92570"/>
                    <a:gd name="connsiteY29" fmla="*/ 34797 h 104687"/>
                    <a:gd name="connsiteX30" fmla="*/ 92245 w 92570"/>
                    <a:gd name="connsiteY30" fmla="*/ 39312 h 104687"/>
                    <a:gd name="connsiteX31" fmla="*/ 90566 w 92570"/>
                    <a:gd name="connsiteY31" fmla="*/ 46112 h 104687"/>
                    <a:gd name="connsiteX32" fmla="*/ 68956 w 92570"/>
                    <a:gd name="connsiteY32" fmla="*/ 67183 h 104687"/>
                    <a:gd name="connsiteX33" fmla="*/ 74060 w 92570"/>
                    <a:gd name="connsiteY33" fmla="*/ 96931 h 104687"/>
                    <a:gd name="connsiteX34" fmla="*/ 71419 w 92570"/>
                    <a:gd name="connsiteY34" fmla="*/ 103421 h 104687"/>
                    <a:gd name="connsiteX35" fmla="*/ 67516 w 92570"/>
                    <a:gd name="connsiteY35" fmla="*/ 104685 h 10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2570" h="104687">
                      <a:moveTo>
                        <a:pt x="67516" y="104685"/>
                      </a:moveTo>
                      <a:cubicBezTo>
                        <a:pt x="66459" y="104685"/>
                        <a:pt x="65400" y="104432"/>
                        <a:pt x="64428" y="103925"/>
                      </a:cubicBezTo>
                      <a:lnTo>
                        <a:pt x="37713" y="89878"/>
                      </a:lnTo>
                      <a:lnTo>
                        <a:pt x="10999" y="103925"/>
                      </a:lnTo>
                      <a:cubicBezTo>
                        <a:pt x="8765" y="105099"/>
                        <a:pt x="6058" y="104909"/>
                        <a:pt x="4008" y="103421"/>
                      </a:cubicBezTo>
                      <a:cubicBezTo>
                        <a:pt x="1968" y="101936"/>
                        <a:pt x="942" y="99418"/>
                        <a:pt x="1367" y="96931"/>
                      </a:cubicBezTo>
                      <a:lnTo>
                        <a:pt x="6462" y="67240"/>
                      </a:lnTo>
                      <a:lnTo>
                        <a:pt x="0" y="61119"/>
                      </a:lnTo>
                      <a:lnTo>
                        <a:pt x="9130" y="51482"/>
                      </a:lnTo>
                      <a:lnTo>
                        <a:pt x="18167" y="60045"/>
                      </a:lnTo>
                      <a:cubicBezTo>
                        <a:pt x="19773" y="61572"/>
                        <a:pt x="20515" y="63800"/>
                        <a:pt x="20144" y="65985"/>
                      </a:cubicBezTo>
                      <a:lnTo>
                        <a:pt x="16721" y="85918"/>
                      </a:lnTo>
                      <a:lnTo>
                        <a:pt x="34623" y="76504"/>
                      </a:lnTo>
                      <a:cubicBezTo>
                        <a:pt x="36554" y="75486"/>
                        <a:pt x="38866" y="75486"/>
                        <a:pt x="40798" y="76504"/>
                      </a:cubicBezTo>
                      <a:lnTo>
                        <a:pt x="58700" y="85918"/>
                      </a:lnTo>
                      <a:lnTo>
                        <a:pt x="55277" y="65985"/>
                      </a:lnTo>
                      <a:cubicBezTo>
                        <a:pt x="54912" y="63833"/>
                        <a:pt x="55624" y="61636"/>
                        <a:pt x="57184" y="60114"/>
                      </a:cubicBezTo>
                      <a:lnTo>
                        <a:pt x="71669" y="45995"/>
                      </a:lnTo>
                      <a:lnTo>
                        <a:pt x="51658" y="43088"/>
                      </a:lnTo>
                      <a:cubicBezTo>
                        <a:pt x="49494" y="42774"/>
                        <a:pt x="47628" y="41416"/>
                        <a:pt x="46663" y="39457"/>
                      </a:cubicBezTo>
                      <a:lnTo>
                        <a:pt x="37710" y="21323"/>
                      </a:lnTo>
                      <a:lnTo>
                        <a:pt x="28758" y="39457"/>
                      </a:lnTo>
                      <a:cubicBezTo>
                        <a:pt x="27783" y="41440"/>
                        <a:pt x="25885" y="42804"/>
                        <a:pt x="23697" y="43100"/>
                      </a:cubicBezTo>
                      <a:lnTo>
                        <a:pt x="10289" y="44908"/>
                      </a:lnTo>
                      <a:lnTo>
                        <a:pt x="8515" y="31755"/>
                      </a:lnTo>
                      <a:lnTo>
                        <a:pt x="18424" y="30420"/>
                      </a:lnTo>
                      <a:lnTo>
                        <a:pt x="31764" y="3398"/>
                      </a:lnTo>
                      <a:cubicBezTo>
                        <a:pt x="34001" y="-1133"/>
                        <a:pt x="41426" y="-1133"/>
                        <a:pt x="43662" y="3398"/>
                      </a:cubicBezTo>
                      <a:lnTo>
                        <a:pt x="57021" y="30460"/>
                      </a:lnTo>
                      <a:lnTo>
                        <a:pt x="86884" y="34797"/>
                      </a:lnTo>
                      <a:cubicBezTo>
                        <a:pt x="89386" y="35159"/>
                        <a:pt x="91463" y="36913"/>
                        <a:pt x="92245" y="39312"/>
                      </a:cubicBezTo>
                      <a:cubicBezTo>
                        <a:pt x="93026" y="41712"/>
                        <a:pt x="92374" y="44350"/>
                        <a:pt x="90566" y="46112"/>
                      </a:cubicBezTo>
                      <a:lnTo>
                        <a:pt x="68956" y="67183"/>
                      </a:lnTo>
                      <a:lnTo>
                        <a:pt x="74060" y="96931"/>
                      </a:lnTo>
                      <a:cubicBezTo>
                        <a:pt x="74485" y="99418"/>
                        <a:pt x="73459" y="101939"/>
                        <a:pt x="71419" y="103421"/>
                      </a:cubicBezTo>
                      <a:cubicBezTo>
                        <a:pt x="70260" y="104257"/>
                        <a:pt x="68889" y="104685"/>
                        <a:pt x="67516" y="104685"/>
                      </a:cubicBezTo>
                      <a:close/>
                    </a:path>
                  </a:pathLst>
                </a:custGeom>
                <a:solidFill>
                  <a:schemeClr val="accent1"/>
                </a:solidFill>
                <a:ln w="301" cap="flat">
                  <a:noFill/>
                  <a:prstDash val="solid"/>
                  <a:miter/>
                </a:ln>
              </p:spPr>
              <p:txBody>
                <a:bodyPr rtlCol="0" anchor="ctr"/>
                <a:lstStyle/>
                <a:p>
                  <a:endParaRPr lang="en-GB" dirty="0"/>
                </a:p>
              </p:txBody>
            </p:sp>
            <p:sp>
              <p:nvSpPr>
                <p:cNvPr id="246" name="Freihandform: Form 140">
                  <a:extLst>
                    <a:ext uri="{FF2B5EF4-FFF2-40B4-BE49-F238E27FC236}">
                      <a16:creationId xmlns:a16="http://schemas.microsoft.com/office/drawing/2014/main" id="{5F6CBFAD-30BC-4ACE-A971-ECDA8FDCD0EC}"/>
                    </a:ext>
                  </a:extLst>
                </p:cNvPr>
                <p:cNvSpPr/>
                <p:nvPr/>
              </p:nvSpPr>
              <p:spPr>
                <a:xfrm>
                  <a:off x="1291679" y="1948932"/>
                  <a:ext cx="92352" cy="104687"/>
                </a:xfrm>
                <a:custGeom>
                  <a:avLst/>
                  <a:gdLst>
                    <a:gd name="connsiteX0" fmla="*/ 67299 w 92352"/>
                    <a:gd name="connsiteY0" fmla="*/ 104685 h 104687"/>
                    <a:gd name="connsiteX1" fmla="*/ 64211 w 92352"/>
                    <a:gd name="connsiteY1" fmla="*/ 103925 h 104687"/>
                    <a:gd name="connsiteX2" fmla="*/ 37496 w 92352"/>
                    <a:gd name="connsiteY2" fmla="*/ 89878 h 104687"/>
                    <a:gd name="connsiteX3" fmla="*/ 10781 w 92352"/>
                    <a:gd name="connsiteY3" fmla="*/ 103925 h 104687"/>
                    <a:gd name="connsiteX4" fmla="*/ 3791 w 92352"/>
                    <a:gd name="connsiteY4" fmla="*/ 103421 h 104687"/>
                    <a:gd name="connsiteX5" fmla="*/ 1150 w 92352"/>
                    <a:gd name="connsiteY5" fmla="*/ 96931 h 104687"/>
                    <a:gd name="connsiteX6" fmla="*/ 6224 w 92352"/>
                    <a:gd name="connsiteY6" fmla="*/ 67364 h 104687"/>
                    <a:gd name="connsiteX7" fmla="*/ 0 w 92352"/>
                    <a:gd name="connsiteY7" fmla="*/ 61802 h 104687"/>
                    <a:gd name="connsiteX8" fmla="*/ 8847 w 92352"/>
                    <a:gd name="connsiteY8" fmla="*/ 51908 h 104687"/>
                    <a:gd name="connsiteX9" fmla="*/ 17808 w 92352"/>
                    <a:gd name="connsiteY9" fmla="*/ 59921 h 104687"/>
                    <a:gd name="connsiteX10" fmla="*/ 19927 w 92352"/>
                    <a:gd name="connsiteY10" fmla="*/ 65991 h 104687"/>
                    <a:gd name="connsiteX11" fmla="*/ 16504 w 92352"/>
                    <a:gd name="connsiteY11" fmla="*/ 85924 h 104687"/>
                    <a:gd name="connsiteX12" fmla="*/ 34405 w 92352"/>
                    <a:gd name="connsiteY12" fmla="*/ 76510 h 104687"/>
                    <a:gd name="connsiteX13" fmla="*/ 40581 w 92352"/>
                    <a:gd name="connsiteY13" fmla="*/ 76510 h 104687"/>
                    <a:gd name="connsiteX14" fmla="*/ 58482 w 92352"/>
                    <a:gd name="connsiteY14" fmla="*/ 85924 h 104687"/>
                    <a:gd name="connsiteX15" fmla="*/ 55062 w 92352"/>
                    <a:gd name="connsiteY15" fmla="*/ 65991 h 104687"/>
                    <a:gd name="connsiteX16" fmla="*/ 56970 w 92352"/>
                    <a:gd name="connsiteY16" fmla="*/ 60120 h 104687"/>
                    <a:gd name="connsiteX17" fmla="*/ 71455 w 92352"/>
                    <a:gd name="connsiteY17" fmla="*/ 46001 h 104687"/>
                    <a:gd name="connsiteX18" fmla="*/ 51441 w 92352"/>
                    <a:gd name="connsiteY18" fmla="*/ 43094 h 104687"/>
                    <a:gd name="connsiteX19" fmla="*/ 46445 w 92352"/>
                    <a:gd name="connsiteY19" fmla="*/ 39463 h 104687"/>
                    <a:gd name="connsiteX20" fmla="*/ 37493 w 92352"/>
                    <a:gd name="connsiteY20" fmla="*/ 21329 h 104687"/>
                    <a:gd name="connsiteX21" fmla="*/ 28541 w 92352"/>
                    <a:gd name="connsiteY21" fmla="*/ 39463 h 104687"/>
                    <a:gd name="connsiteX22" fmla="*/ 23531 w 92352"/>
                    <a:gd name="connsiteY22" fmla="*/ 43094 h 104687"/>
                    <a:gd name="connsiteX23" fmla="*/ 12825 w 92352"/>
                    <a:gd name="connsiteY23" fmla="*/ 44628 h 104687"/>
                    <a:gd name="connsiteX24" fmla="*/ 10944 w 92352"/>
                    <a:gd name="connsiteY24" fmla="*/ 31492 h 104687"/>
                    <a:gd name="connsiteX25" fmla="*/ 18185 w 92352"/>
                    <a:gd name="connsiteY25" fmla="*/ 30454 h 104687"/>
                    <a:gd name="connsiteX26" fmla="*/ 31541 w 92352"/>
                    <a:gd name="connsiteY26" fmla="*/ 3398 h 104687"/>
                    <a:gd name="connsiteX27" fmla="*/ 43439 w 92352"/>
                    <a:gd name="connsiteY27" fmla="*/ 3398 h 104687"/>
                    <a:gd name="connsiteX28" fmla="*/ 56798 w 92352"/>
                    <a:gd name="connsiteY28" fmla="*/ 30460 h 104687"/>
                    <a:gd name="connsiteX29" fmla="*/ 86667 w 92352"/>
                    <a:gd name="connsiteY29" fmla="*/ 34797 h 104687"/>
                    <a:gd name="connsiteX30" fmla="*/ 92027 w 92352"/>
                    <a:gd name="connsiteY30" fmla="*/ 39312 h 104687"/>
                    <a:gd name="connsiteX31" fmla="*/ 90349 w 92352"/>
                    <a:gd name="connsiteY31" fmla="*/ 46112 h 104687"/>
                    <a:gd name="connsiteX32" fmla="*/ 68735 w 92352"/>
                    <a:gd name="connsiteY32" fmla="*/ 67183 h 104687"/>
                    <a:gd name="connsiteX33" fmla="*/ 73839 w 92352"/>
                    <a:gd name="connsiteY33" fmla="*/ 96931 h 104687"/>
                    <a:gd name="connsiteX34" fmla="*/ 71198 w 92352"/>
                    <a:gd name="connsiteY34" fmla="*/ 103421 h 104687"/>
                    <a:gd name="connsiteX35" fmla="*/ 67299 w 92352"/>
                    <a:gd name="connsiteY35" fmla="*/ 104685 h 10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2352" h="104687">
                      <a:moveTo>
                        <a:pt x="67299" y="104685"/>
                      </a:moveTo>
                      <a:cubicBezTo>
                        <a:pt x="66242" y="104685"/>
                        <a:pt x="65183" y="104432"/>
                        <a:pt x="64211" y="103925"/>
                      </a:cubicBezTo>
                      <a:lnTo>
                        <a:pt x="37496" y="89878"/>
                      </a:lnTo>
                      <a:lnTo>
                        <a:pt x="10781" y="103925"/>
                      </a:lnTo>
                      <a:cubicBezTo>
                        <a:pt x="8545" y="105099"/>
                        <a:pt x="5837" y="104909"/>
                        <a:pt x="3791" y="103421"/>
                      </a:cubicBezTo>
                      <a:cubicBezTo>
                        <a:pt x="1751" y="101936"/>
                        <a:pt x="724" y="99418"/>
                        <a:pt x="1150" y="96931"/>
                      </a:cubicBezTo>
                      <a:lnTo>
                        <a:pt x="6224" y="67364"/>
                      </a:lnTo>
                      <a:lnTo>
                        <a:pt x="0" y="61802"/>
                      </a:lnTo>
                      <a:lnTo>
                        <a:pt x="8847" y="51908"/>
                      </a:lnTo>
                      <a:lnTo>
                        <a:pt x="17808" y="59921"/>
                      </a:lnTo>
                      <a:cubicBezTo>
                        <a:pt x="19513" y="61445"/>
                        <a:pt x="20313" y="63739"/>
                        <a:pt x="19927" y="65991"/>
                      </a:cubicBezTo>
                      <a:lnTo>
                        <a:pt x="16504" y="85924"/>
                      </a:lnTo>
                      <a:lnTo>
                        <a:pt x="34405" y="76510"/>
                      </a:lnTo>
                      <a:cubicBezTo>
                        <a:pt x="36337" y="75492"/>
                        <a:pt x="38649" y="75492"/>
                        <a:pt x="40581" y="76510"/>
                      </a:cubicBezTo>
                      <a:lnTo>
                        <a:pt x="58482" y="85924"/>
                      </a:lnTo>
                      <a:lnTo>
                        <a:pt x="55062" y="65991"/>
                      </a:lnTo>
                      <a:cubicBezTo>
                        <a:pt x="54697" y="63839"/>
                        <a:pt x="55410" y="61642"/>
                        <a:pt x="56970" y="60120"/>
                      </a:cubicBezTo>
                      <a:lnTo>
                        <a:pt x="71455" y="46001"/>
                      </a:lnTo>
                      <a:lnTo>
                        <a:pt x="51441" y="43094"/>
                      </a:lnTo>
                      <a:cubicBezTo>
                        <a:pt x="49276" y="42780"/>
                        <a:pt x="47411" y="41422"/>
                        <a:pt x="46445" y="39463"/>
                      </a:cubicBezTo>
                      <a:lnTo>
                        <a:pt x="37493" y="21329"/>
                      </a:lnTo>
                      <a:lnTo>
                        <a:pt x="28541" y="39463"/>
                      </a:lnTo>
                      <a:cubicBezTo>
                        <a:pt x="27572" y="41428"/>
                        <a:pt x="25701" y="42786"/>
                        <a:pt x="23531" y="43094"/>
                      </a:cubicBezTo>
                      <a:lnTo>
                        <a:pt x="12825" y="44628"/>
                      </a:lnTo>
                      <a:lnTo>
                        <a:pt x="10944" y="31492"/>
                      </a:lnTo>
                      <a:lnTo>
                        <a:pt x="18185" y="30454"/>
                      </a:lnTo>
                      <a:lnTo>
                        <a:pt x="31541" y="3398"/>
                      </a:lnTo>
                      <a:cubicBezTo>
                        <a:pt x="33778" y="-1133"/>
                        <a:pt x="41203" y="-1133"/>
                        <a:pt x="43439" y="3398"/>
                      </a:cubicBezTo>
                      <a:lnTo>
                        <a:pt x="56798" y="30460"/>
                      </a:lnTo>
                      <a:lnTo>
                        <a:pt x="86667" y="34797"/>
                      </a:lnTo>
                      <a:cubicBezTo>
                        <a:pt x="89169" y="35159"/>
                        <a:pt x="91246" y="36913"/>
                        <a:pt x="92027" y="39312"/>
                      </a:cubicBezTo>
                      <a:cubicBezTo>
                        <a:pt x="92809" y="41712"/>
                        <a:pt x="92157" y="44350"/>
                        <a:pt x="90349" y="46112"/>
                      </a:cubicBezTo>
                      <a:lnTo>
                        <a:pt x="68735" y="67183"/>
                      </a:lnTo>
                      <a:lnTo>
                        <a:pt x="73839" y="96931"/>
                      </a:lnTo>
                      <a:cubicBezTo>
                        <a:pt x="74265" y="99418"/>
                        <a:pt x="73239" y="101939"/>
                        <a:pt x="71198" y="103421"/>
                      </a:cubicBezTo>
                      <a:cubicBezTo>
                        <a:pt x="70042" y="104257"/>
                        <a:pt x="68672" y="104685"/>
                        <a:pt x="67299" y="104685"/>
                      </a:cubicBezTo>
                      <a:close/>
                    </a:path>
                  </a:pathLst>
                </a:custGeom>
                <a:solidFill>
                  <a:schemeClr val="accent1"/>
                </a:solidFill>
                <a:ln w="301" cap="flat">
                  <a:noFill/>
                  <a:prstDash val="solid"/>
                  <a:miter/>
                </a:ln>
              </p:spPr>
              <p:txBody>
                <a:bodyPr rtlCol="0" anchor="ctr"/>
                <a:lstStyle/>
                <a:p>
                  <a:endParaRPr lang="en-GB" dirty="0"/>
                </a:p>
              </p:txBody>
            </p:sp>
          </p:grpSp>
          <p:grpSp>
            <p:nvGrpSpPr>
              <p:cNvPr id="242" name="Grafik 342">
                <a:extLst>
                  <a:ext uri="{FF2B5EF4-FFF2-40B4-BE49-F238E27FC236}">
                    <a16:creationId xmlns:a16="http://schemas.microsoft.com/office/drawing/2014/main" id="{8FB41326-9523-4B55-8D5C-D5F270941999}"/>
                  </a:ext>
                </a:extLst>
              </p:cNvPr>
              <p:cNvGrpSpPr/>
              <p:nvPr/>
            </p:nvGrpSpPr>
            <p:grpSpPr>
              <a:xfrm>
                <a:off x="902703" y="1952485"/>
                <a:ext cx="180287" cy="104687"/>
                <a:chOff x="892286" y="1948932"/>
                <a:chExt cx="180287" cy="104687"/>
              </a:xfrm>
              <a:solidFill>
                <a:schemeClr val="accent1"/>
              </a:solidFill>
            </p:grpSpPr>
            <p:sp>
              <p:nvSpPr>
                <p:cNvPr id="243" name="Freihandform: Form 142">
                  <a:extLst>
                    <a:ext uri="{FF2B5EF4-FFF2-40B4-BE49-F238E27FC236}">
                      <a16:creationId xmlns:a16="http://schemas.microsoft.com/office/drawing/2014/main" id="{6CC936F8-C4CA-4C28-B39B-177B06D16D59}"/>
                    </a:ext>
                  </a:extLst>
                </p:cNvPr>
                <p:cNvSpPr/>
                <p:nvPr/>
              </p:nvSpPr>
              <p:spPr>
                <a:xfrm>
                  <a:off x="979997" y="1948932"/>
                  <a:ext cx="92576" cy="104687"/>
                </a:xfrm>
                <a:custGeom>
                  <a:avLst/>
                  <a:gdLst>
                    <a:gd name="connsiteX0" fmla="*/ 84662 w 92576"/>
                    <a:gd name="connsiteY0" fmla="*/ 104685 h 104687"/>
                    <a:gd name="connsiteX1" fmla="*/ 81575 w 92576"/>
                    <a:gd name="connsiteY1" fmla="*/ 103925 h 104687"/>
                    <a:gd name="connsiteX2" fmla="*/ 54860 w 92576"/>
                    <a:gd name="connsiteY2" fmla="*/ 89878 h 104687"/>
                    <a:gd name="connsiteX3" fmla="*/ 28145 w 92576"/>
                    <a:gd name="connsiteY3" fmla="*/ 103925 h 104687"/>
                    <a:gd name="connsiteX4" fmla="*/ 21155 w 92576"/>
                    <a:gd name="connsiteY4" fmla="*/ 103421 h 104687"/>
                    <a:gd name="connsiteX5" fmla="*/ 18514 w 92576"/>
                    <a:gd name="connsiteY5" fmla="*/ 96931 h 104687"/>
                    <a:gd name="connsiteX6" fmla="*/ 23618 w 92576"/>
                    <a:gd name="connsiteY6" fmla="*/ 67183 h 104687"/>
                    <a:gd name="connsiteX7" fmla="*/ 2004 w 92576"/>
                    <a:gd name="connsiteY7" fmla="*/ 46116 h 104687"/>
                    <a:gd name="connsiteX8" fmla="*/ 326 w 92576"/>
                    <a:gd name="connsiteY8" fmla="*/ 39312 h 104687"/>
                    <a:gd name="connsiteX9" fmla="*/ 5686 w 92576"/>
                    <a:gd name="connsiteY9" fmla="*/ 34797 h 104687"/>
                    <a:gd name="connsiteX10" fmla="*/ 35555 w 92576"/>
                    <a:gd name="connsiteY10" fmla="*/ 30460 h 104687"/>
                    <a:gd name="connsiteX11" fmla="*/ 48914 w 92576"/>
                    <a:gd name="connsiteY11" fmla="*/ 3398 h 104687"/>
                    <a:gd name="connsiteX12" fmla="*/ 60812 w 92576"/>
                    <a:gd name="connsiteY12" fmla="*/ 3398 h 104687"/>
                    <a:gd name="connsiteX13" fmla="*/ 74153 w 92576"/>
                    <a:gd name="connsiteY13" fmla="*/ 30420 h 104687"/>
                    <a:gd name="connsiteX14" fmla="*/ 84062 w 92576"/>
                    <a:gd name="connsiteY14" fmla="*/ 31755 h 104687"/>
                    <a:gd name="connsiteX15" fmla="*/ 82287 w 92576"/>
                    <a:gd name="connsiteY15" fmla="*/ 44908 h 104687"/>
                    <a:gd name="connsiteX16" fmla="*/ 68880 w 92576"/>
                    <a:gd name="connsiteY16" fmla="*/ 43100 h 104687"/>
                    <a:gd name="connsiteX17" fmla="*/ 63818 w 92576"/>
                    <a:gd name="connsiteY17" fmla="*/ 39457 h 104687"/>
                    <a:gd name="connsiteX18" fmla="*/ 54866 w 92576"/>
                    <a:gd name="connsiteY18" fmla="*/ 21323 h 104687"/>
                    <a:gd name="connsiteX19" fmla="*/ 45914 w 92576"/>
                    <a:gd name="connsiteY19" fmla="*/ 39457 h 104687"/>
                    <a:gd name="connsiteX20" fmla="*/ 40918 w 92576"/>
                    <a:gd name="connsiteY20" fmla="*/ 43088 h 104687"/>
                    <a:gd name="connsiteX21" fmla="*/ 20904 w 92576"/>
                    <a:gd name="connsiteY21" fmla="*/ 45995 h 104687"/>
                    <a:gd name="connsiteX22" fmla="*/ 35392 w 92576"/>
                    <a:gd name="connsiteY22" fmla="*/ 60111 h 104687"/>
                    <a:gd name="connsiteX23" fmla="*/ 37299 w 92576"/>
                    <a:gd name="connsiteY23" fmla="*/ 65985 h 104687"/>
                    <a:gd name="connsiteX24" fmla="*/ 33877 w 92576"/>
                    <a:gd name="connsiteY24" fmla="*/ 85918 h 104687"/>
                    <a:gd name="connsiteX25" fmla="*/ 51778 w 92576"/>
                    <a:gd name="connsiteY25" fmla="*/ 76504 h 104687"/>
                    <a:gd name="connsiteX26" fmla="*/ 57954 w 92576"/>
                    <a:gd name="connsiteY26" fmla="*/ 76504 h 104687"/>
                    <a:gd name="connsiteX27" fmla="*/ 75855 w 92576"/>
                    <a:gd name="connsiteY27" fmla="*/ 85918 h 104687"/>
                    <a:gd name="connsiteX28" fmla="*/ 72432 w 92576"/>
                    <a:gd name="connsiteY28" fmla="*/ 65985 h 104687"/>
                    <a:gd name="connsiteX29" fmla="*/ 74409 w 92576"/>
                    <a:gd name="connsiteY29" fmla="*/ 60045 h 104687"/>
                    <a:gd name="connsiteX30" fmla="*/ 83446 w 92576"/>
                    <a:gd name="connsiteY30" fmla="*/ 51482 h 104687"/>
                    <a:gd name="connsiteX31" fmla="*/ 92576 w 92576"/>
                    <a:gd name="connsiteY31" fmla="*/ 61119 h 104687"/>
                    <a:gd name="connsiteX32" fmla="*/ 86114 w 92576"/>
                    <a:gd name="connsiteY32" fmla="*/ 67240 h 104687"/>
                    <a:gd name="connsiteX33" fmla="*/ 91209 w 92576"/>
                    <a:gd name="connsiteY33" fmla="*/ 96931 h 104687"/>
                    <a:gd name="connsiteX34" fmla="*/ 88568 w 92576"/>
                    <a:gd name="connsiteY34" fmla="*/ 103421 h 104687"/>
                    <a:gd name="connsiteX35" fmla="*/ 84662 w 92576"/>
                    <a:gd name="connsiteY35" fmla="*/ 104685 h 10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2576" h="104687">
                      <a:moveTo>
                        <a:pt x="84662" y="104685"/>
                      </a:moveTo>
                      <a:cubicBezTo>
                        <a:pt x="83606" y="104685"/>
                        <a:pt x="82547" y="104432"/>
                        <a:pt x="81575" y="103925"/>
                      </a:cubicBezTo>
                      <a:lnTo>
                        <a:pt x="54860" y="89878"/>
                      </a:lnTo>
                      <a:lnTo>
                        <a:pt x="28145" y="103925"/>
                      </a:lnTo>
                      <a:cubicBezTo>
                        <a:pt x="25908" y="105099"/>
                        <a:pt x="23201" y="104909"/>
                        <a:pt x="21155" y="103421"/>
                      </a:cubicBezTo>
                      <a:cubicBezTo>
                        <a:pt x="19114" y="101936"/>
                        <a:pt x="18088" y="99418"/>
                        <a:pt x="18514" y="96931"/>
                      </a:cubicBezTo>
                      <a:lnTo>
                        <a:pt x="23618" y="67183"/>
                      </a:lnTo>
                      <a:lnTo>
                        <a:pt x="2004" y="46116"/>
                      </a:lnTo>
                      <a:cubicBezTo>
                        <a:pt x="196" y="44350"/>
                        <a:pt x="-456" y="41715"/>
                        <a:pt x="326" y="39312"/>
                      </a:cubicBezTo>
                      <a:cubicBezTo>
                        <a:pt x="1107" y="36913"/>
                        <a:pt x="3184" y="35159"/>
                        <a:pt x="5686" y="34797"/>
                      </a:cubicBezTo>
                      <a:lnTo>
                        <a:pt x="35555" y="30460"/>
                      </a:lnTo>
                      <a:lnTo>
                        <a:pt x="48914" y="3398"/>
                      </a:lnTo>
                      <a:cubicBezTo>
                        <a:pt x="51150" y="-1133"/>
                        <a:pt x="58575" y="-1133"/>
                        <a:pt x="60812" y="3398"/>
                      </a:cubicBezTo>
                      <a:lnTo>
                        <a:pt x="74153" y="30420"/>
                      </a:lnTo>
                      <a:lnTo>
                        <a:pt x="84062" y="31755"/>
                      </a:lnTo>
                      <a:lnTo>
                        <a:pt x="82287" y="44908"/>
                      </a:lnTo>
                      <a:lnTo>
                        <a:pt x="68880" y="43100"/>
                      </a:lnTo>
                      <a:cubicBezTo>
                        <a:pt x="66691" y="42804"/>
                        <a:pt x="64793" y="41440"/>
                        <a:pt x="63818" y="39457"/>
                      </a:cubicBezTo>
                      <a:lnTo>
                        <a:pt x="54866" y="21323"/>
                      </a:lnTo>
                      <a:lnTo>
                        <a:pt x="45914" y="39457"/>
                      </a:lnTo>
                      <a:cubicBezTo>
                        <a:pt x="44948" y="41416"/>
                        <a:pt x="43082" y="42774"/>
                        <a:pt x="40918" y="43088"/>
                      </a:cubicBezTo>
                      <a:lnTo>
                        <a:pt x="20904" y="45995"/>
                      </a:lnTo>
                      <a:lnTo>
                        <a:pt x="35392" y="60111"/>
                      </a:lnTo>
                      <a:cubicBezTo>
                        <a:pt x="36952" y="61639"/>
                        <a:pt x="37668" y="63833"/>
                        <a:pt x="37299" y="65985"/>
                      </a:cubicBezTo>
                      <a:lnTo>
                        <a:pt x="33877" y="85918"/>
                      </a:lnTo>
                      <a:lnTo>
                        <a:pt x="51778" y="76504"/>
                      </a:lnTo>
                      <a:cubicBezTo>
                        <a:pt x="53710" y="75486"/>
                        <a:pt x="56022" y="75486"/>
                        <a:pt x="57954" y="76504"/>
                      </a:cubicBezTo>
                      <a:lnTo>
                        <a:pt x="75855" y="85918"/>
                      </a:lnTo>
                      <a:lnTo>
                        <a:pt x="72432" y="65985"/>
                      </a:lnTo>
                      <a:cubicBezTo>
                        <a:pt x="72061" y="63800"/>
                        <a:pt x="72800" y="61572"/>
                        <a:pt x="74409" y="60045"/>
                      </a:cubicBezTo>
                      <a:lnTo>
                        <a:pt x="83446" y="51482"/>
                      </a:lnTo>
                      <a:lnTo>
                        <a:pt x="92576" y="61119"/>
                      </a:lnTo>
                      <a:lnTo>
                        <a:pt x="86114" y="67240"/>
                      </a:lnTo>
                      <a:lnTo>
                        <a:pt x="91209" y="96931"/>
                      </a:lnTo>
                      <a:cubicBezTo>
                        <a:pt x="91635" y="99418"/>
                        <a:pt x="90608" y="101939"/>
                        <a:pt x="88568" y="103421"/>
                      </a:cubicBezTo>
                      <a:cubicBezTo>
                        <a:pt x="87406" y="104257"/>
                        <a:pt x="86036" y="104685"/>
                        <a:pt x="84662" y="104685"/>
                      </a:cubicBezTo>
                      <a:close/>
                    </a:path>
                  </a:pathLst>
                </a:custGeom>
                <a:solidFill>
                  <a:schemeClr val="accent1"/>
                </a:solidFill>
                <a:ln w="301" cap="flat">
                  <a:noFill/>
                  <a:prstDash val="solid"/>
                  <a:miter/>
                </a:ln>
              </p:spPr>
              <p:txBody>
                <a:bodyPr rtlCol="0" anchor="ctr"/>
                <a:lstStyle/>
                <a:p>
                  <a:endParaRPr lang="en-GB" dirty="0"/>
                </a:p>
              </p:txBody>
            </p:sp>
            <p:sp>
              <p:nvSpPr>
                <p:cNvPr id="244" name="Freihandform: Form 143">
                  <a:extLst>
                    <a:ext uri="{FF2B5EF4-FFF2-40B4-BE49-F238E27FC236}">
                      <a16:creationId xmlns:a16="http://schemas.microsoft.com/office/drawing/2014/main" id="{BE4C82CB-AA3E-4C4F-8505-6065DBB6CEBB}"/>
                    </a:ext>
                  </a:extLst>
                </p:cNvPr>
                <p:cNvSpPr/>
                <p:nvPr/>
              </p:nvSpPr>
              <p:spPr>
                <a:xfrm>
                  <a:off x="892286" y="1948932"/>
                  <a:ext cx="92349" cy="104687"/>
                </a:xfrm>
                <a:custGeom>
                  <a:avLst/>
                  <a:gdLst>
                    <a:gd name="connsiteX0" fmla="*/ 84659 w 92349"/>
                    <a:gd name="connsiteY0" fmla="*/ 104685 h 104687"/>
                    <a:gd name="connsiteX1" fmla="*/ 81572 w 92349"/>
                    <a:gd name="connsiteY1" fmla="*/ 103925 h 104687"/>
                    <a:gd name="connsiteX2" fmla="*/ 54857 w 92349"/>
                    <a:gd name="connsiteY2" fmla="*/ 89878 h 104687"/>
                    <a:gd name="connsiteX3" fmla="*/ 28142 w 92349"/>
                    <a:gd name="connsiteY3" fmla="*/ 103925 h 104687"/>
                    <a:gd name="connsiteX4" fmla="*/ 21152 w 92349"/>
                    <a:gd name="connsiteY4" fmla="*/ 103421 h 104687"/>
                    <a:gd name="connsiteX5" fmla="*/ 18511 w 92349"/>
                    <a:gd name="connsiteY5" fmla="*/ 96931 h 104687"/>
                    <a:gd name="connsiteX6" fmla="*/ 23615 w 92349"/>
                    <a:gd name="connsiteY6" fmla="*/ 67183 h 104687"/>
                    <a:gd name="connsiteX7" fmla="*/ 2004 w 92349"/>
                    <a:gd name="connsiteY7" fmla="*/ 46112 h 104687"/>
                    <a:gd name="connsiteX8" fmla="*/ 326 w 92349"/>
                    <a:gd name="connsiteY8" fmla="*/ 39312 h 104687"/>
                    <a:gd name="connsiteX9" fmla="*/ 5686 w 92349"/>
                    <a:gd name="connsiteY9" fmla="*/ 34797 h 104687"/>
                    <a:gd name="connsiteX10" fmla="*/ 35549 w 92349"/>
                    <a:gd name="connsiteY10" fmla="*/ 30460 h 104687"/>
                    <a:gd name="connsiteX11" fmla="*/ 48908 w 92349"/>
                    <a:gd name="connsiteY11" fmla="*/ 3398 h 104687"/>
                    <a:gd name="connsiteX12" fmla="*/ 60806 w 92349"/>
                    <a:gd name="connsiteY12" fmla="*/ 3398 h 104687"/>
                    <a:gd name="connsiteX13" fmla="*/ 74162 w 92349"/>
                    <a:gd name="connsiteY13" fmla="*/ 30454 h 104687"/>
                    <a:gd name="connsiteX14" fmla="*/ 81406 w 92349"/>
                    <a:gd name="connsiteY14" fmla="*/ 31492 h 104687"/>
                    <a:gd name="connsiteX15" fmla="*/ 79525 w 92349"/>
                    <a:gd name="connsiteY15" fmla="*/ 44628 h 104687"/>
                    <a:gd name="connsiteX16" fmla="*/ 68816 w 92349"/>
                    <a:gd name="connsiteY16" fmla="*/ 43094 h 104687"/>
                    <a:gd name="connsiteX17" fmla="*/ 63803 w 92349"/>
                    <a:gd name="connsiteY17" fmla="*/ 39463 h 104687"/>
                    <a:gd name="connsiteX18" fmla="*/ 54854 w 92349"/>
                    <a:gd name="connsiteY18" fmla="*/ 21329 h 104687"/>
                    <a:gd name="connsiteX19" fmla="*/ 45902 w 92349"/>
                    <a:gd name="connsiteY19" fmla="*/ 39463 h 104687"/>
                    <a:gd name="connsiteX20" fmla="*/ 40906 w 92349"/>
                    <a:gd name="connsiteY20" fmla="*/ 43094 h 104687"/>
                    <a:gd name="connsiteX21" fmla="*/ 20895 w 92349"/>
                    <a:gd name="connsiteY21" fmla="*/ 46001 h 104687"/>
                    <a:gd name="connsiteX22" fmla="*/ 35380 w 92349"/>
                    <a:gd name="connsiteY22" fmla="*/ 60120 h 104687"/>
                    <a:gd name="connsiteX23" fmla="*/ 37287 w 92349"/>
                    <a:gd name="connsiteY23" fmla="*/ 65991 h 104687"/>
                    <a:gd name="connsiteX24" fmla="*/ 33865 w 92349"/>
                    <a:gd name="connsiteY24" fmla="*/ 85924 h 104687"/>
                    <a:gd name="connsiteX25" fmla="*/ 51766 w 92349"/>
                    <a:gd name="connsiteY25" fmla="*/ 76510 h 104687"/>
                    <a:gd name="connsiteX26" fmla="*/ 57941 w 92349"/>
                    <a:gd name="connsiteY26" fmla="*/ 76510 h 104687"/>
                    <a:gd name="connsiteX27" fmla="*/ 75843 w 92349"/>
                    <a:gd name="connsiteY27" fmla="*/ 85924 h 104687"/>
                    <a:gd name="connsiteX28" fmla="*/ 72423 w 92349"/>
                    <a:gd name="connsiteY28" fmla="*/ 65991 h 104687"/>
                    <a:gd name="connsiteX29" fmla="*/ 74542 w 92349"/>
                    <a:gd name="connsiteY29" fmla="*/ 59921 h 104687"/>
                    <a:gd name="connsiteX30" fmla="*/ 83503 w 92349"/>
                    <a:gd name="connsiteY30" fmla="*/ 51908 h 104687"/>
                    <a:gd name="connsiteX31" fmla="*/ 92350 w 92349"/>
                    <a:gd name="connsiteY31" fmla="*/ 61802 h 104687"/>
                    <a:gd name="connsiteX32" fmla="*/ 86126 w 92349"/>
                    <a:gd name="connsiteY32" fmla="*/ 67364 h 104687"/>
                    <a:gd name="connsiteX33" fmla="*/ 91197 w 92349"/>
                    <a:gd name="connsiteY33" fmla="*/ 96931 h 104687"/>
                    <a:gd name="connsiteX34" fmla="*/ 88556 w 92349"/>
                    <a:gd name="connsiteY34" fmla="*/ 103421 h 104687"/>
                    <a:gd name="connsiteX35" fmla="*/ 84659 w 92349"/>
                    <a:gd name="connsiteY35" fmla="*/ 104685 h 10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92349" h="104687">
                      <a:moveTo>
                        <a:pt x="84659" y="104685"/>
                      </a:moveTo>
                      <a:cubicBezTo>
                        <a:pt x="83603" y="104685"/>
                        <a:pt x="82543" y="104432"/>
                        <a:pt x="81572" y="103925"/>
                      </a:cubicBezTo>
                      <a:lnTo>
                        <a:pt x="54857" y="89878"/>
                      </a:lnTo>
                      <a:lnTo>
                        <a:pt x="28142" y="103925"/>
                      </a:lnTo>
                      <a:cubicBezTo>
                        <a:pt x="25912" y="105099"/>
                        <a:pt x="23201" y="104909"/>
                        <a:pt x="21152" y="103421"/>
                      </a:cubicBezTo>
                      <a:cubicBezTo>
                        <a:pt x="19111" y="101936"/>
                        <a:pt x="18085" y="99418"/>
                        <a:pt x="18511" y="96931"/>
                      </a:cubicBezTo>
                      <a:lnTo>
                        <a:pt x="23615" y="67183"/>
                      </a:lnTo>
                      <a:lnTo>
                        <a:pt x="2004" y="46112"/>
                      </a:lnTo>
                      <a:cubicBezTo>
                        <a:pt x="196" y="44350"/>
                        <a:pt x="-456" y="41712"/>
                        <a:pt x="326" y="39312"/>
                      </a:cubicBezTo>
                      <a:cubicBezTo>
                        <a:pt x="1107" y="36913"/>
                        <a:pt x="3184" y="35159"/>
                        <a:pt x="5686" y="34797"/>
                      </a:cubicBezTo>
                      <a:lnTo>
                        <a:pt x="35549" y="30460"/>
                      </a:lnTo>
                      <a:lnTo>
                        <a:pt x="48908" y="3398"/>
                      </a:lnTo>
                      <a:cubicBezTo>
                        <a:pt x="51144" y="-1133"/>
                        <a:pt x="58569" y="-1133"/>
                        <a:pt x="60806" y="3398"/>
                      </a:cubicBezTo>
                      <a:lnTo>
                        <a:pt x="74162" y="30454"/>
                      </a:lnTo>
                      <a:lnTo>
                        <a:pt x="81406" y="31492"/>
                      </a:lnTo>
                      <a:lnTo>
                        <a:pt x="79525" y="44628"/>
                      </a:lnTo>
                      <a:lnTo>
                        <a:pt x="68816" y="43094"/>
                      </a:lnTo>
                      <a:cubicBezTo>
                        <a:pt x="66649" y="42786"/>
                        <a:pt x="64775" y="41425"/>
                        <a:pt x="63803" y="39463"/>
                      </a:cubicBezTo>
                      <a:lnTo>
                        <a:pt x="54854" y="21329"/>
                      </a:lnTo>
                      <a:lnTo>
                        <a:pt x="45902" y="39463"/>
                      </a:lnTo>
                      <a:cubicBezTo>
                        <a:pt x="44936" y="41422"/>
                        <a:pt x="43070" y="42780"/>
                        <a:pt x="40906" y="43094"/>
                      </a:cubicBezTo>
                      <a:lnTo>
                        <a:pt x="20895" y="46001"/>
                      </a:lnTo>
                      <a:lnTo>
                        <a:pt x="35380" y="60120"/>
                      </a:lnTo>
                      <a:cubicBezTo>
                        <a:pt x="36940" y="61645"/>
                        <a:pt x="37656" y="63839"/>
                        <a:pt x="37287" y="65991"/>
                      </a:cubicBezTo>
                      <a:lnTo>
                        <a:pt x="33865" y="85924"/>
                      </a:lnTo>
                      <a:lnTo>
                        <a:pt x="51766" y="76510"/>
                      </a:lnTo>
                      <a:cubicBezTo>
                        <a:pt x="53698" y="75492"/>
                        <a:pt x="56010" y="75492"/>
                        <a:pt x="57941" y="76510"/>
                      </a:cubicBezTo>
                      <a:lnTo>
                        <a:pt x="75843" y="85924"/>
                      </a:lnTo>
                      <a:lnTo>
                        <a:pt x="72423" y="65991"/>
                      </a:lnTo>
                      <a:cubicBezTo>
                        <a:pt x="72037" y="63739"/>
                        <a:pt x="72837" y="61445"/>
                        <a:pt x="74542" y="59921"/>
                      </a:cubicBezTo>
                      <a:lnTo>
                        <a:pt x="83503" y="51908"/>
                      </a:lnTo>
                      <a:lnTo>
                        <a:pt x="92350" y="61802"/>
                      </a:lnTo>
                      <a:lnTo>
                        <a:pt x="86126" y="67364"/>
                      </a:lnTo>
                      <a:lnTo>
                        <a:pt x="91197" y="96931"/>
                      </a:lnTo>
                      <a:cubicBezTo>
                        <a:pt x="91622" y="99418"/>
                        <a:pt x="90596" y="101939"/>
                        <a:pt x="88556" y="103421"/>
                      </a:cubicBezTo>
                      <a:cubicBezTo>
                        <a:pt x="87406" y="104257"/>
                        <a:pt x="86033" y="104685"/>
                        <a:pt x="84659" y="104685"/>
                      </a:cubicBezTo>
                      <a:close/>
                    </a:path>
                  </a:pathLst>
                </a:custGeom>
                <a:solidFill>
                  <a:schemeClr val="accent1"/>
                </a:solidFill>
                <a:ln w="301" cap="flat">
                  <a:noFill/>
                  <a:prstDash val="solid"/>
                  <a:miter/>
                </a:ln>
              </p:spPr>
              <p:txBody>
                <a:bodyPr rtlCol="0" anchor="ctr"/>
                <a:lstStyle/>
                <a:p>
                  <a:endParaRPr lang="en-GB" dirty="0"/>
                </a:p>
              </p:txBody>
            </p:sp>
          </p:grpSp>
        </p:grpSp>
      </p:grpSp>
      <p:grpSp>
        <p:nvGrpSpPr>
          <p:cNvPr id="124" name="Group 123">
            <a:extLst>
              <a:ext uri="{FF2B5EF4-FFF2-40B4-BE49-F238E27FC236}">
                <a16:creationId xmlns:a16="http://schemas.microsoft.com/office/drawing/2014/main" id="{570D6D9C-9B0E-1E06-E263-BDE20AECA137}"/>
              </a:ext>
            </a:extLst>
          </p:cNvPr>
          <p:cNvGrpSpPr/>
          <p:nvPr/>
        </p:nvGrpSpPr>
        <p:grpSpPr>
          <a:xfrm>
            <a:off x="3694042" y="3197068"/>
            <a:ext cx="526621" cy="432000"/>
            <a:chOff x="3694042" y="3197068"/>
            <a:chExt cx="526621" cy="432000"/>
          </a:xfrm>
        </p:grpSpPr>
        <p:grpSp>
          <p:nvGrpSpPr>
            <p:cNvPr id="257" name="Gruppieren 12">
              <a:extLst>
                <a:ext uri="{FF2B5EF4-FFF2-40B4-BE49-F238E27FC236}">
                  <a16:creationId xmlns:a16="http://schemas.microsoft.com/office/drawing/2014/main" id="{523127F2-D252-4CE9-ADDA-8CF8FD450F3B}"/>
                </a:ext>
              </a:extLst>
            </p:cNvPr>
            <p:cNvGrpSpPr/>
            <p:nvPr/>
          </p:nvGrpSpPr>
          <p:grpSpPr>
            <a:xfrm>
              <a:off x="3694042" y="3197068"/>
              <a:ext cx="526621" cy="360070"/>
              <a:chOff x="1734530" y="1643141"/>
              <a:chExt cx="491056" cy="335753"/>
            </a:xfrm>
            <a:solidFill>
              <a:schemeClr val="tx2"/>
            </a:solidFill>
          </p:grpSpPr>
          <p:grpSp>
            <p:nvGrpSpPr>
              <p:cNvPr id="262" name="Grafik 342">
                <a:extLst>
                  <a:ext uri="{FF2B5EF4-FFF2-40B4-BE49-F238E27FC236}">
                    <a16:creationId xmlns:a16="http://schemas.microsoft.com/office/drawing/2014/main" id="{989EA539-5D9F-408A-8A6D-29FF55CA15B5}"/>
                  </a:ext>
                </a:extLst>
              </p:cNvPr>
              <p:cNvGrpSpPr/>
              <p:nvPr/>
            </p:nvGrpSpPr>
            <p:grpSpPr>
              <a:xfrm>
                <a:off x="1734530" y="1643141"/>
                <a:ext cx="491056" cy="335753"/>
                <a:chOff x="1734530" y="1643141"/>
                <a:chExt cx="491056" cy="335753"/>
              </a:xfrm>
              <a:grpFill/>
            </p:grpSpPr>
            <p:sp>
              <p:nvSpPr>
                <p:cNvPr id="268" name="Freihandform: Form 147">
                  <a:extLst>
                    <a:ext uri="{FF2B5EF4-FFF2-40B4-BE49-F238E27FC236}">
                      <a16:creationId xmlns:a16="http://schemas.microsoft.com/office/drawing/2014/main" id="{6E0AEDAB-41F9-4FD4-BCFC-5EE09F1B936D}"/>
                    </a:ext>
                  </a:extLst>
                </p:cNvPr>
                <p:cNvSpPr/>
                <p:nvPr/>
              </p:nvSpPr>
              <p:spPr>
                <a:xfrm>
                  <a:off x="1734536" y="1643141"/>
                  <a:ext cx="491049" cy="335753"/>
                </a:xfrm>
                <a:custGeom>
                  <a:avLst/>
                  <a:gdLst>
                    <a:gd name="connsiteX0" fmla="*/ 411413 w 491049"/>
                    <a:gd name="connsiteY0" fmla="*/ 335753 h 335753"/>
                    <a:gd name="connsiteX1" fmla="*/ 407042 w 491049"/>
                    <a:gd name="connsiteY1" fmla="*/ 334111 h 335753"/>
                    <a:gd name="connsiteX2" fmla="*/ 404778 w 491049"/>
                    <a:gd name="connsiteY2" fmla="*/ 329119 h 335753"/>
                    <a:gd name="connsiteX3" fmla="*/ 404778 w 491049"/>
                    <a:gd name="connsiteY3" fmla="*/ 63689 h 335753"/>
                    <a:gd name="connsiteX4" fmla="*/ 410534 w 491049"/>
                    <a:gd name="connsiteY4" fmla="*/ 57112 h 335753"/>
                    <a:gd name="connsiteX5" fmla="*/ 477413 w 491049"/>
                    <a:gd name="connsiteY5" fmla="*/ 39739 h 335753"/>
                    <a:gd name="connsiteX6" fmla="*/ 245522 w 491049"/>
                    <a:gd name="connsiteY6" fmla="*/ 13274 h 335753"/>
                    <a:gd name="connsiteX7" fmla="*/ 13628 w 491049"/>
                    <a:gd name="connsiteY7" fmla="*/ 39739 h 335753"/>
                    <a:gd name="connsiteX8" fmla="*/ 80510 w 491049"/>
                    <a:gd name="connsiteY8" fmla="*/ 57112 h 335753"/>
                    <a:gd name="connsiteX9" fmla="*/ 86265 w 491049"/>
                    <a:gd name="connsiteY9" fmla="*/ 63689 h 335753"/>
                    <a:gd name="connsiteX10" fmla="*/ 86265 w 491049"/>
                    <a:gd name="connsiteY10" fmla="*/ 329119 h 335753"/>
                    <a:gd name="connsiteX11" fmla="*/ 84002 w 491049"/>
                    <a:gd name="connsiteY11" fmla="*/ 334111 h 335753"/>
                    <a:gd name="connsiteX12" fmla="*/ 78750 w 491049"/>
                    <a:gd name="connsiteY12" fmla="*/ 335696 h 335753"/>
                    <a:gd name="connsiteX13" fmla="*/ 0 w 491049"/>
                    <a:gd name="connsiteY13" fmla="*/ 305245 h 335753"/>
                    <a:gd name="connsiteX14" fmla="*/ 24511 w 491049"/>
                    <a:gd name="connsiteY14" fmla="*/ 285647 h 335753"/>
                    <a:gd name="connsiteX15" fmla="*/ 32845 w 491049"/>
                    <a:gd name="connsiteY15" fmla="*/ 289963 h 335753"/>
                    <a:gd name="connsiteX16" fmla="*/ 28529 w 491049"/>
                    <a:gd name="connsiteY16" fmla="*/ 298297 h 335753"/>
                    <a:gd name="connsiteX17" fmla="*/ 13709 w 491049"/>
                    <a:gd name="connsiteY17" fmla="*/ 305236 h 335753"/>
                    <a:gd name="connsiteX18" fmla="*/ 72997 w 491049"/>
                    <a:gd name="connsiteY18" fmla="*/ 321486 h 335753"/>
                    <a:gd name="connsiteX19" fmla="*/ 72997 w 491049"/>
                    <a:gd name="connsiteY19" fmla="*/ 69469 h 335753"/>
                    <a:gd name="connsiteX20" fmla="*/ 0 w 491049"/>
                    <a:gd name="connsiteY20" fmla="*/ 39814 h 335753"/>
                    <a:gd name="connsiteX21" fmla="*/ 245525 w 491049"/>
                    <a:gd name="connsiteY21" fmla="*/ 0 h 335753"/>
                    <a:gd name="connsiteX22" fmla="*/ 491050 w 491049"/>
                    <a:gd name="connsiteY22" fmla="*/ 39814 h 335753"/>
                    <a:gd name="connsiteX23" fmla="*/ 418056 w 491049"/>
                    <a:gd name="connsiteY23" fmla="*/ 69469 h 335753"/>
                    <a:gd name="connsiteX24" fmla="*/ 418056 w 491049"/>
                    <a:gd name="connsiteY24" fmla="*/ 321489 h 335753"/>
                    <a:gd name="connsiteX25" fmla="*/ 477341 w 491049"/>
                    <a:gd name="connsiteY25" fmla="*/ 305239 h 335753"/>
                    <a:gd name="connsiteX26" fmla="*/ 462500 w 491049"/>
                    <a:gd name="connsiteY26" fmla="*/ 298288 h 335753"/>
                    <a:gd name="connsiteX27" fmla="*/ 458184 w 491049"/>
                    <a:gd name="connsiteY27" fmla="*/ 289954 h 335753"/>
                    <a:gd name="connsiteX28" fmla="*/ 466517 w 491049"/>
                    <a:gd name="connsiteY28" fmla="*/ 285638 h 335753"/>
                    <a:gd name="connsiteX29" fmla="*/ 491047 w 491049"/>
                    <a:gd name="connsiteY29" fmla="*/ 305245 h 335753"/>
                    <a:gd name="connsiteX30" fmla="*/ 412300 w 491049"/>
                    <a:gd name="connsiteY30" fmla="*/ 335696 h 335753"/>
                    <a:gd name="connsiteX31" fmla="*/ 411413 w 491049"/>
                    <a:gd name="connsiteY31" fmla="*/ 335753 h 335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91049" h="335753">
                      <a:moveTo>
                        <a:pt x="411413" y="335753"/>
                      </a:moveTo>
                      <a:cubicBezTo>
                        <a:pt x="409816" y="335753"/>
                        <a:pt x="408259" y="335177"/>
                        <a:pt x="407042" y="334111"/>
                      </a:cubicBezTo>
                      <a:cubicBezTo>
                        <a:pt x="405602" y="332850"/>
                        <a:pt x="404778" y="331033"/>
                        <a:pt x="404778" y="329119"/>
                      </a:cubicBezTo>
                      <a:lnTo>
                        <a:pt x="404778" y="63689"/>
                      </a:lnTo>
                      <a:cubicBezTo>
                        <a:pt x="404778" y="60366"/>
                        <a:pt x="407238" y="57553"/>
                        <a:pt x="410534" y="57112"/>
                      </a:cubicBezTo>
                      <a:cubicBezTo>
                        <a:pt x="463608" y="49998"/>
                        <a:pt x="475189" y="41906"/>
                        <a:pt x="477413" y="39739"/>
                      </a:cubicBezTo>
                      <a:cubicBezTo>
                        <a:pt x="468371" y="28668"/>
                        <a:pt x="382965" y="13274"/>
                        <a:pt x="245522" y="13274"/>
                      </a:cubicBezTo>
                      <a:cubicBezTo>
                        <a:pt x="108079" y="13274"/>
                        <a:pt x="22673" y="28668"/>
                        <a:pt x="13628" y="39739"/>
                      </a:cubicBezTo>
                      <a:cubicBezTo>
                        <a:pt x="15852" y="41906"/>
                        <a:pt x="27436" y="49998"/>
                        <a:pt x="80510" y="57112"/>
                      </a:cubicBezTo>
                      <a:cubicBezTo>
                        <a:pt x="83806" y="57553"/>
                        <a:pt x="86265" y="60366"/>
                        <a:pt x="86265" y="63689"/>
                      </a:cubicBezTo>
                      <a:lnTo>
                        <a:pt x="86265" y="329119"/>
                      </a:lnTo>
                      <a:cubicBezTo>
                        <a:pt x="86265" y="331033"/>
                        <a:pt x="85438" y="332853"/>
                        <a:pt x="84002" y="334111"/>
                      </a:cubicBezTo>
                      <a:cubicBezTo>
                        <a:pt x="82556" y="335373"/>
                        <a:pt x="80648" y="335932"/>
                        <a:pt x="78750" y="335696"/>
                      </a:cubicBezTo>
                      <a:cubicBezTo>
                        <a:pt x="0" y="325141"/>
                        <a:pt x="0" y="311197"/>
                        <a:pt x="0" y="305245"/>
                      </a:cubicBezTo>
                      <a:cubicBezTo>
                        <a:pt x="0" y="294660"/>
                        <a:pt x="13987" y="288991"/>
                        <a:pt x="24511" y="285647"/>
                      </a:cubicBezTo>
                      <a:cubicBezTo>
                        <a:pt x="27982" y="284542"/>
                        <a:pt x="31734" y="286468"/>
                        <a:pt x="32845" y="289963"/>
                      </a:cubicBezTo>
                      <a:cubicBezTo>
                        <a:pt x="33953" y="293455"/>
                        <a:pt x="32021" y="297186"/>
                        <a:pt x="28529" y="298297"/>
                      </a:cubicBezTo>
                      <a:cubicBezTo>
                        <a:pt x="18526" y="301475"/>
                        <a:pt x="14916" y="304083"/>
                        <a:pt x="13709" y="305236"/>
                      </a:cubicBezTo>
                      <a:cubicBezTo>
                        <a:pt x="15997" y="307397"/>
                        <a:pt x="26860" y="314722"/>
                        <a:pt x="72997" y="321486"/>
                      </a:cubicBezTo>
                      <a:lnTo>
                        <a:pt x="72997" y="69469"/>
                      </a:lnTo>
                      <a:cubicBezTo>
                        <a:pt x="-3" y="59016"/>
                        <a:pt x="0" y="45618"/>
                        <a:pt x="0" y="39814"/>
                      </a:cubicBezTo>
                      <a:cubicBezTo>
                        <a:pt x="0" y="453"/>
                        <a:pt x="235498" y="0"/>
                        <a:pt x="245525" y="0"/>
                      </a:cubicBezTo>
                      <a:cubicBezTo>
                        <a:pt x="255549" y="0"/>
                        <a:pt x="491050" y="453"/>
                        <a:pt x="491050" y="39814"/>
                      </a:cubicBezTo>
                      <a:cubicBezTo>
                        <a:pt x="491050" y="45618"/>
                        <a:pt x="491053" y="59016"/>
                        <a:pt x="418056" y="69469"/>
                      </a:cubicBezTo>
                      <a:lnTo>
                        <a:pt x="418056" y="321489"/>
                      </a:lnTo>
                      <a:cubicBezTo>
                        <a:pt x="464193" y="314728"/>
                        <a:pt x="475053" y="307400"/>
                        <a:pt x="477341" y="305239"/>
                      </a:cubicBezTo>
                      <a:cubicBezTo>
                        <a:pt x="476134" y="304083"/>
                        <a:pt x="472521" y="301472"/>
                        <a:pt x="462500" y="298288"/>
                      </a:cubicBezTo>
                      <a:cubicBezTo>
                        <a:pt x="459008" y="297177"/>
                        <a:pt x="457076" y="293446"/>
                        <a:pt x="458184" y="289954"/>
                      </a:cubicBezTo>
                      <a:cubicBezTo>
                        <a:pt x="459292" y="286459"/>
                        <a:pt x="463040" y="284548"/>
                        <a:pt x="466517" y="285638"/>
                      </a:cubicBezTo>
                      <a:cubicBezTo>
                        <a:pt x="477048" y="288982"/>
                        <a:pt x="491047" y="294657"/>
                        <a:pt x="491047" y="305245"/>
                      </a:cubicBezTo>
                      <a:cubicBezTo>
                        <a:pt x="491047" y="311197"/>
                        <a:pt x="491047" y="325138"/>
                        <a:pt x="412300" y="335696"/>
                      </a:cubicBezTo>
                      <a:cubicBezTo>
                        <a:pt x="412001" y="335735"/>
                        <a:pt x="411705" y="335753"/>
                        <a:pt x="411413" y="335753"/>
                      </a:cubicBezTo>
                      <a:close/>
                    </a:path>
                  </a:pathLst>
                </a:custGeom>
                <a:grpFill/>
                <a:ln w="301" cap="flat">
                  <a:noFill/>
                  <a:prstDash val="solid"/>
                  <a:miter/>
                </a:ln>
              </p:spPr>
              <p:txBody>
                <a:bodyPr rtlCol="0" anchor="ctr"/>
                <a:lstStyle/>
                <a:p>
                  <a:endParaRPr lang="en-GB" dirty="0"/>
                </a:p>
              </p:txBody>
            </p:sp>
            <p:sp>
              <p:nvSpPr>
                <p:cNvPr id="269" name="Freihandform: Form 148">
                  <a:extLst>
                    <a:ext uri="{FF2B5EF4-FFF2-40B4-BE49-F238E27FC236}">
                      <a16:creationId xmlns:a16="http://schemas.microsoft.com/office/drawing/2014/main" id="{04F3671A-498D-40DA-9373-D2960647ED0E}"/>
                    </a:ext>
                  </a:extLst>
                </p:cNvPr>
                <p:cNvSpPr/>
                <p:nvPr/>
              </p:nvSpPr>
              <p:spPr>
                <a:xfrm>
                  <a:off x="2024391" y="1909331"/>
                  <a:ext cx="148104" cy="24835"/>
                </a:xfrm>
                <a:custGeom>
                  <a:avLst/>
                  <a:gdLst>
                    <a:gd name="connsiteX0" fmla="*/ 141476 w 148104"/>
                    <a:gd name="connsiteY0" fmla="*/ 24835 h 24835"/>
                    <a:gd name="connsiteX1" fmla="*/ 140347 w 148104"/>
                    <a:gd name="connsiteY1" fmla="*/ 24739 h 24835"/>
                    <a:gd name="connsiteX2" fmla="*/ 6435 w 148104"/>
                    <a:gd name="connsiteY2" fmla="*/ 13269 h 24835"/>
                    <a:gd name="connsiteX3" fmla="*/ 3 w 148104"/>
                    <a:gd name="connsiteY3" fmla="*/ 6436 h 24835"/>
                    <a:gd name="connsiteX4" fmla="*/ 6836 w 148104"/>
                    <a:gd name="connsiteY4" fmla="*/ 4 h 24835"/>
                    <a:gd name="connsiteX5" fmla="*/ 142590 w 148104"/>
                    <a:gd name="connsiteY5" fmla="*/ 11661 h 24835"/>
                    <a:gd name="connsiteX6" fmla="*/ 148007 w 148104"/>
                    <a:gd name="connsiteY6" fmla="*/ 19321 h 24835"/>
                    <a:gd name="connsiteX7" fmla="*/ 141476 w 148104"/>
                    <a:gd name="connsiteY7" fmla="*/ 24835 h 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104" h="24835">
                      <a:moveTo>
                        <a:pt x="141476" y="24835"/>
                      </a:moveTo>
                      <a:cubicBezTo>
                        <a:pt x="141105" y="24835"/>
                        <a:pt x="140727" y="24805"/>
                        <a:pt x="140347" y="24739"/>
                      </a:cubicBezTo>
                      <a:cubicBezTo>
                        <a:pt x="106467" y="18926"/>
                        <a:pt x="58911" y="14854"/>
                        <a:pt x="6435" y="13269"/>
                      </a:cubicBezTo>
                      <a:cubicBezTo>
                        <a:pt x="2774" y="13161"/>
                        <a:pt x="-106" y="10100"/>
                        <a:pt x="3" y="6436"/>
                      </a:cubicBezTo>
                      <a:cubicBezTo>
                        <a:pt x="112" y="2775"/>
                        <a:pt x="3115" y="-123"/>
                        <a:pt x="6836" y="4"/>
                      </a:cubicBezTo>
                      <a:cubicBezTo>
                        <a:pt x="59910" y="1604"/>
                        <a:pt x="108121" y="5745"/>
                        <a:pt x="142590" y="11661"/>
                      </a:cubicBezTo>
                      <a:cubicBezTo>
                        <a:pt x="146202" y="12279"/>
                        <a:pt x="148629" y="15711"/>
                        <a:pt x="148007" y="19321"/>
                      </a:cubicBezTo>
                      <a:cubicBezTo>
                        <a:pt x="147455" y="22554"/>
                        <a:pt x="144648" y="24835"/>
                        <a:pt x="141476" y="24835"/>
                      </a:cubicBezTo>
                      <a:close/>
                    </a:path>
                  </a:pathLst>
                </a:custGeom>
                <a:grpFill/>
                <a:ln w="301" cap="flat">
                  <a:noFill/>
                  <a:prstDash val="solid"/>
                  <a:miter/>
                </a:ln>
              </p:spPr>
              <p:txBody>
                <a:bodyPr rtlCol="0" anchor="ctr"/>
                <a:lstStyle/>
                <a:p>
                  <a:endParaRPr lang="en-GB" dirty="0"/>
                </a:p>
              </p:txBody>
            </p:sp>
            <p:sp>
              <p:nvSpPr>
                <p:cNvPr id="270" name="Freihandform: Form 149">
                  <a:extLst>
                    <a:ext uri="{FF2B5EF4-FFF2-40B4-BE49-F238E27FC236}">
                      <a16:creationId xmlns:a16="http://schemas.microsoft.com/office/drawing/2014/main" id="{EA48C3D7-3ABF-4197-ABBB-EF90AE982554}"/>
                    </a:ext>
                  </a:extLst>
                </p:cNvPr>
                <p:cNvSpPr/>
                <p:nvPr/>
              </p:nvSpPr>
              <p:spPr>
                <a:xfrm>
                  <a:off x="1787613" y="1909548"/>
                  <a:ext cx="141090" cy="24618"/>
                </a:xfrm>
                <a:custGeom>
                  <a:avLst/>
                  <a:gdLst>
                    <a:gd name="connsiteX0" fmla="*/ 6631 w 141090"/>
                    <a:gd name="connsiteY0" fmla="*/ 24618 h 24618"/>
                    <a:gd name="connsiteX1" fmla="*/ 96 w 141090"/>
                    <a:gd name="connsiteY1" fmla="*/ 19104 h 24618"/>
                    <a:gd name="connsiteX2" fmla="*/ 5517 w 141090"/>
                    <a:gd name="connsiteY2" fmla="*/ 11441 h 24618"/>
                    <a:gd name="connsiteX3" fmla="*/ 134223 w 141090"/>
                    <a:gd name="connsiteY3" fmla="*/ 13 h 24618"/>
                    <a:gd name="connsiteX4" fmla="*/ 141086 w 141090"/>
                    <a:gd name="connsiteY4" fmla="*/ 6415 h 24618"/>
                    <a:gd name="connsiteX5" fmla="*/ 134684 w 141090"/>
                    <a:gd name="connsiteY5" fmla="*/ 13279 h 24618"/>
                    <a:gd name="connsiteX6" fmla="*/ 7763 w 141090"/>
                    <a:gd name="connsiteY6" fmla="*/ 24525 h 24618"/>
                    <a:gd name="connsiteX7" fmla="*/ 6631 w 141090"/>
                    <a:gd name="connsiteY7" fmla="*/ 24618 h 24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1090" h="24618">
                      <a:moveTo>
                        <a:pt x="6631" y="24618"/>
                      </a:moveTo>
                      <a:cubicBezTo>
                        <a:pt x="3459" y="24618"/>
                        <a:pt x="652" y="22337"/>
                        <a:pt x="96" y="19104"/>
                      </a:cubicBezTo>
                      <a:cubicBezTo>
                        <a:pt x="-522" y="15494"/>
                        <a:pt x="1904" y="12062"/>
                        <a:pt x="5517" y="11441"/>
                      </a:cubicBezTo>
                      <a:cubicBezTo>
                        <a:pt x="38350" y="5808"/>
                        <a:pt x="84059" y="1749"/>
                        <a:pt x="134223" y="13"/>
                      </a:cubicBezTo>
                      <a:cubicBezTo>
                        <a:pt x="137823" y="-225"/>
                        <a:pt x="140953" y="2751"/>
                        <a:pt x="141086" y="6415"/>
                      </a:cubicBezTo>
                      <a:cubicBezTo>
                        <a:pt x="141213" y="10079"/>
                        <a:pt x="138346" y="13152"/>
                        <a:pt x="134684" y="13279"/>
                      </a:cubicBezTo>
                      <a:cubicBezTo>
                        <a:pt x="85097" y="14996"/>
                        <a:pt x="40025" y="18989"/>
                        <a:pt x="7763" y="24525"/>
                      </a:cubicBezTo>
                      <a:cubicBezTo>
                        <a:pt x="7379" y="24588"/>
                        <a:pt x="7002" y="24618"/>
                        <a:pt x="6631" y="24618"/>
                      </a:cubicBezTo>
                      <a:close/>
                    </a:path>
                  </a:pathLst>
                </a:custGeom>
                <a:grpFill/>
                <a:ln w="301" cap="flat">
                  <a:noFill/>
                  <a:prstDash val="solid"/>
                  <a:miter/>
                </a:ln>
              </p:spPr>
              <p:txBody>
                <a:bodyPr rtlCol="0" anchor="ctr"/>
                <a:lstStyle/>
                <a:p>
                  <a:endParaRPr lang="en-GB" dirty="0"/>
                </a:p>
              </p:txBody>
            </p:sp>
            <p:sp>
              <p:nvSpPr>
                <p:cNvPr id="271" name="Freihandform: Form 150">
                  <a:extLst>
                    <a:ext uri="{FF2B5EF4-FFF2-40B4-BE49-F238E27FC236}">
                      <a16:creationId xmlns:a16="http://schemas.microsoft.com/office/drawing/2014/main" id="{B92C62A6-14FB-4156-882E-A8AABA417D6F}"/>
                    </a:ext>
                  </a:extLst>
                </p:cNvPr>
                <p:cNvSpPr/>
                <p:nvPr/>
              </p:nvSpPr>
              <p:spPr>
                <a:xfrm>
                  <a:off x="2212306" y="1676318"/>
                  <a:ext cx="13274" cy="278704"/>
                </a:xfrm>
                <a:custGeom>
                  <a:avLst/>
                  <a:gdLst>
                    <a:gd name="connsiteX0" fmla="*/ 6637 w 13274"/>
                    <a:gd name="connsiteY0" fmla="*/ 278705 h 278704"/>
                    <a:gd name="connsiteX1" fmla="*/ 0 w 13274"/>
                    <a:gd name="connsiteY1" fmla="*/ 272068 h 278704"/>
                    <a:gd name="connsiteX2" fmla="*/ 0 w 13274"/>
                    <a:gd name="connsiteY2" fmla="*/ 6637 h 278704"/>
                    <a:gd name="connsiteX3" fmla="*/ 6637 w 13274"/>
                    <a:gd name="connsiteY3" fmla="*/ 0 h 278704"/>
                    <a:gd name="connsiteX4" fmla="*/ 13274 w 13274"/>
                    <a:gd name="connsiteY4" fmla="*/ 6637 h 278704"/>
                    <a:gd name="connsiteX5" fmla="*/ 13274 w 13274"/>
                    <a:gd name="connsiteY5" fmla="*/ 272068 h 278704"/>
                    <a:gd name="connsiteX6" fmla="*/ 6637 w 13274"/>
                    <a:gd name="connsiteY6" fmla="*/ 278705 h 27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74" h="278704">
                      <a:moveTo>
                        <a:pt x="6637" y="278705"/>
                      </a:moveTo>
                      <a:cubicBezTo>
                        <a:pt x="2973" y="278705"/>
                        <a:pt x="0" y="275735"/>
                        <a:pt x="0" y="272068"/>
                      </a:cubicBezTo>
                      <a:lnTo>
                        <a:pt x="0" y="6637"/>
                      </a:lnTo>
                      <a:cubicBezTo>
                        <a:pt x="0" y="2973"/>
                        <a:pt x="2970" y="0"/>
                        <a:pt x="6637" y="0"/>
                      </a:cubicBezTo>
                      <a:cubicBezTo>
                        <a:pt x="10301" y="0"/>
                        <a:pt x="13274" y="2970"/>
                        <a:pt x="13274" y="6637"/>
                      </a:cubicBezTo>
                      <a:lnTo>
                        <a:pt x="13274" y="272068"/>
                      </a:lnTo>
                      <a:cubicBezTo>
                        <a:pt x="13274" y="275735"/>
                        <a:pt x="10301" y="278705"/>
                        <a:pt x="6637" y="278705"/>
                      </a:cubicBezTo>
                      <a:close/>
                    </a:path>
                  </a:pathLst>
                </a:custGeom>
                <a:grpFill/>
                <a:ln w="301" cap="flat">
                  <a:noFill/>
                  <a:prstDash val="solid"/>
                  <a:miter/>
                </a:ln>
              </p:spPr>
              <p:txBody>
                <a:bodyPr rtlCol="0" anchor="ctr"/>
                <a:lstStyle/>
                <a:p>
                  <a:endParaRPr lang="en-GB" dirty="0"/>
                </a:p>
              </p:txBody>
            </p:sp>
            <p:sp>
              <p:nvSpPr>
                <p:cNvPr id="272" name="Freihandform: Form 151">
                  <a:extLst>
                    <a:ext uri="{FF2B5EF4-FFF2-40B4-BE49-F238E27FC236}">
                      <a16:creationId xmlns:a16="http://schemas.microsoft.com/office/drawing/2014/main" id="{023D2906-4B84-4AA9-9C0D-821042B90D53}"/>
                    </a:ext>
                  </a:extLst>
                </p:cNvPr>
                <p:cNvSpPr/>
                <p:nvPr/>
              </p:nvSpPr>
              <p:spPr>
                <a:xfrm>
                  <a:off x="1734530" y="1679632"/>
                  <a:ext cx="13274" cy="278704"/>
                </a:xfrm>
                <a:custGeom>
                  <a:avLst/>
                  <a:gdLst>
                    <a:gd name="connsiteX0" fmla="*/ 6637 w 13274"/>
                    <a:gd name="connsiteY0" fmla="*/ 278705 h 278704"/>
                    <a:gd name="connsiteX1" fmla="*/ 0 w 13274"/>
                    <a:gd name="connsiteY1" fmla="*/ 272068 h 278704"/>
                    <a:gd name="connsiteX2" fmla="*/ 0 w 13274"/>
                    <a:gd name="connsiteY2" fmla="*/ 6637 h 278704"/>
                    <a:gd name="connsiteX3" fmla="*/ 6637 w 13274"/>
                    <a:gd name="connsiteY3" fmla="*/ 0 h 278704"/>
                    <a:gd name="connsiteX4" fmla="*/ 13274 w 13274"/>
                    <a:gd name="connsiteY4" fmla="*/ 6637 h 278704"/>
                    <a:gd name="connsiteX5" fmla="*/ 13274 w 13274"/>
                    <a:gd name="connsiteY5" fmla="*/ 272068 h 278704"/>
                    <a:gd name="connsiteX6" fmla="*/ 6637 w 13274"/>
                    <a:gd name="connsiteY6" fmla="*/ 278705 h 27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74" h="278704">
                      <a:moveTo>
                        <a:pt x="6637" y="278705"/>
                      </a:moveTo>
                      <a:cubicBezTo>
                        <a:pt x="2973" y="278705"/>
                        <a:pt x="0" y="275735"/>
                        <a:pt x="0" y="272068"/>
                      </a:cubicBezTo>
                      <a:lnTo>
                        <a:pt x="0" y="6637"/>
                      </a:lnTo>
                      <a:cubicBezTo>
                        <a:pt x="0" y="2973"/>
                        <a:pt x="2970" y="0"/>
                        <a:pt x="6637" y="0"/>
                      </a:cubicBezTo>
                      <a:cubicBezTo>
                        <a:pt x="10304" y="0"/>
                        <a:pt x="13274" y="2970"/>
                        <a:pt x="13274" y="6637"/>
                      </a:cubicBezTo>
                      <a:lnTo>
                        <a:pt x="13274" y="272068"/>
                      </a:lnTo>
                      <a:cubicBezTo>
                        <a:pt x="13271" y="275735"/>
                        <a:pt x="10301" y="278705"/>
                        <a:pt x="6637" y="278705"/>
                      </a:cubicBezTo>
                      <a:close/>
                    </a:path>
                  </a:pathLst>
                </a:custGeom>
                <a:grpFill/>
                <a:ln w="301" cap="flat">
                  <a:noFill/>
                  <a:prstDash val="solid"/>
                  <a:miter/>
                </a:ln>
              </p:spPr>
              <p:txBody>
                <a:bodyPr rtlCol="0" anchor="ctr"/>
                <a:lstStyle/>
                <a:p>
                  <a:endParaRPr lang="en-GB" dirty="0"/>
                </a:p>
              </p:txBody>
            </p:sp>
          </p:grpSp>
          <p:grpSp>
            <p:nvGrpSpPr>
              <p:cNvPr id="263" name="Grafik 342">
                <a:extLst>
                  <a:ext uri="{FF2B5EF4-FFF2-40B4-BE49-F238E27FC236}">
                    <a16:creationId xmlns:a16="http://schemas.microsoft.com/office/drawing/2014/main" id="{7E668C18-E5E6-4B1C-BE70-F5FADE9DB4B7}"/>
                  </a:ext>
                </a:extLst>
              </p:cNvPr>
              <p:cNvGrpSpPr/>
              <p:nvPr/>
            </p:nvGrpSpPr>
            <p:grpSpPr>
              <a:xfrm>
                <a:off x="1838860" y="1711206"/>
                <a:ext cx="274486" cy="152033"/>
                <a:chOff x="1838860" y="1711206"/>
                <a:chExt cx="274486" cy="152033"/>
              </a:xfrm>
              <a:grpFill/>
            </p:grpSpPr>
            <p:sp>
              <p:nvSpPr>
                <p:cNvPr id="264" name="Freihandform: Form 155">
                  <a:extLst>
                    <a:ext uri="{FF2B5EF4-FFF2-40B4-BE49-F238E27FC236}">
                      <a16:creationId xmlns:a16="http://schemas.microsoft.com/office/drawing/2014/main" id="{9FA56A6F-EDCD-4CE1-9731-BDD3E5D599F3}"/>
                    </a:ext>
                  </a:extLst>
                </p:cNvPr>
                <p:cNvSpPr/>
                <p:nvPr/>
              </p:nvSpPr>
              <p:spPr>
                <a:xfrm>
                  <a:off x="1838860" y="1796088"/>
                  <a:ext cx="51981" cy="43250"/>
                </a:xfrm>
                <a:custGeom>
                  <a:avLst/>
                  <a:gdLst>
                    <a:gd name="connsiteX0" fmla="*/ 6631 w 51981"/>
                    <a:gd name="connsiteY0" fmla="*/ 43250 h 43250"/>
                    <a:gd name="connsiteX1" fmla="*/ 2164 w 51981"/>
                    <a:gd name="connsiteY1" fmla="*/ 41518 h 43250"/>
                    <a:gd name="connsiteX2" fmla="*/ 1732 w 51981"/>
                    <a:gd name="connsiteY2" fmla="*/ 32143 h 43250"/>
                    <a:gd name="connsiteX3" fmla="*/ 29081 w 51981"/>
                    <a:gd name="connsiteY3" fmla="*/ 2168 h 43250"/>
                    <a:gd name="connsiteX4" fmla="*/ 38024 w 51981"/>
                    <a:gd name="connsiteY4" fmla="*/ 1375 h 43250"/>
                    <a:gd name="connsiteX5" fmla="*/ 43738 w 51981"/>
                    <a:gd name="connsiteY5" fmla="*/ 5757 h 43250"/>
                    <a:gd name="connsiteX6" fmla="*/ 49672 w 51981"/>
                    <a:gd name="connsiteY6" fmla="*/ 10843 h 43250"/>
                    <a:gd name="connsiteX7" fmla="*/ 50378 w 51981"/>
                    <a:gd name="connsiteY7" fmla="*/ 20200 h 43250"/>
                    <a:gd name="connsiteX8" fmla="*/ 41021 w 51981"/>
                    <a:gd name="connsiteY8" fmla="*/ 20906 h 43250"/>
                    <a:gd name="connsiteX9" fmla="*/ 34789 w 51981"/>
                    <a:gd name="connsiteY9" fmla="*/ 15606 h 43250"/>
                    <a:gd name="connsiteX10" fmla="*/ 11542 w 51981"/>
                    <a:gd name="connsiteY10" fmla="*/ 41083 h 43250"/>
                    <a:gd name="connsiteX11" fmla="*/ 6631 w 51981"/>
                    <a:gd name="connsiteY11" fmla="*/ 43250 h 43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981" h="43250">
                      <a:moveTo>
                        <a:pt x="6631" y="43250"/>
                      </a:moveTo>
                      <a:cubicBezTo>
                        <a:pt x="5037" y="43250"/>
                        <a:pt x="3432" y="42677"/>
                        <a:pt x="2164" y="41518"/>
                      </a:cubicBezTo>
                      <a:cubicBezTo>
                        <a:pt x="-543" y="39046"/>
                        <a:pt x="-737" y="34850"/>
                        <a:pt x="1732" y="32143"/>
                      </a:cubicBezTo>
                      <a:lnTo>
                        <a:pt x="29081" y="2168"/>
                      </a:lnTo>
                      <a:cubicBezTo>
                        <a:pt x="31399" y="-382"/>
                        <a:pt x="35281" y="-729"/>
                        <a:pt x="38024" y="1375"/>
                      </a:cubicBezTo>
                      <a:lnTo>
                        <a:pt x="43738" y="5757"/>
                      </a:lnTo>
                      <a:lnTo>
                        <a:pt x="49672" y="10843"/>
                      </a:lnTo>
                      <a:cubicBezTo>
                        <a:pt x="52452" y="13230"/>
                        <a:pt x="52765" y="17420"/>
                        <a:pt x="50378" y="20200"/>
                      </a:cubicBezTo>
                      <a:cubicBezTo>
                        <a:pt x="47994" y="22979"/>
                        <a:pt x="43798" y="23290"/>
                        <a:pt x="41021" y="20906"/>
                      </a:cubicBezTo>
                      <a:lnTo>
                        <a:pt x="34789" y="15606"/>
                      </a:lnTo>
                      <a:lnTo>
                        <a:pt x="11542" y="41083"/>
                      </a:lnTo>
                      <a:cubicBezTo>
                        <a:pt x="10229" y="42520"/>
                        <a:pt x="8433" y="43250"/>
                        <a:pt x="6631" y="43250"/>
                      </a:cubicBezTo>
                      <a:close/>
                    </a:path>
                  </a:pathLst>
                </a:custGeom>
                <a:grpFill/>
                <a:ln w="301" cap="flat">
                  <a:noFill/>
                  <a:prstDash val="solid"/>
                  <a:miter/>
                </a:ln>
              </p:spPr>
              <p:txBody>
                <a:bodyPr rtlCol="0" anchor="ctr"/>
                <a:lstStyle/>
                <a:p>
                  <a:endParaRPr lang="en-GB" dirty="0"/>
                </a:p>
              </p:txBody>
            </p:sp>
            <p:sp>
              <p:nvSpPr>
                <p:cNvPr id="265" name="Freihandform: Form 156">
                  <a:extLst>
                    <a:ext uri="{FF2B5EF4-FFF2-40B4-BE49-F238E27FC236}">
                      <a16:creationId xmlns:a16="http://schemas.microsoft.com/office/drawing/2014/main" id="{138A1C85-FBBB-451C-9633-9615385177B3}"/>
                    </a:ext>
                  </a:extLst>
                </p:cNvPr>
                <p:cNvSpPr/>
                <p:nvPr/>
              </p:nvSpPr>
              <p:spPr>
                <a:xfrm>
                  <a:off x="1896647" y="1801045"/>
                  <a:ext cx="146396" cy="62195"/>
                </a:xfrm>
                <a:custGeom>
                  <a:avLst/>
                  <a:gdLst>
                    <a:gd name="connsiteX0" fmla="*/ 46367 w 146396"/>
                    <a:gd name="connsiteY0" fmla="*/ 62195 h 62195"/>
                    <a:gd name="connsiteX1" fmla="*/ 42371 w 146396"/>
                    <a:gd name="connsiteY1" fmla="*/ 60858 h 62195"/>
                    <a:gd name="connsiteX2" fmla="*/ 2638 w 146396"/>
                    <a:gd name="connsiteY2" fmla="*/ 30871 h 62195"/>
                    <a:gd name="connsiteX3" fmla="*/ 1341 w 146396"/>
                    <a:gd name="connsiteY3" fmla="*/ 21575 h 62195"/>
                    <a:gd name="connsiteX4" fmla="*/ 10637 w 146396"/>
                    <a:gd name="connsiteY4" fmla="*/ 20277 h 62195"/>
                    <a:gd name="connsiteX5" fmla="*/ 45154 w 146396"/>
                    <a:gd name="connsiteY5" fmla="*/ 46328 h 62195"/>
                    <a:gd name="connsiteX6" fmla="*/ 79233 w 146396"/>
                    <a:gd name="connsiteY6" fmla="*/ 2560 h 62195"/>
                    <a:gd name="connsiteX7" fmla="*/ 83725 w 146396"/>
                    <a:gd name="connsiteY7" fmla="*/ 43 h 62195"/>
                    <a:gd name="connsiteX8" fmla="*/ 88662 w 146396"/>
                    <a:gd name="connsiteY8" fmla="*/ 1494 h 62195"/>
                    <a:gd name="connsiteX9" fmla="*/ 121215 w 146396"/>
                    <a:gd name="connsiteY9" fmla="*/ 28031 h 62195"/>
                    <a:gd name="connsiteX10" fmla="*/ 134278 w 146396"/>
                    <a:gd name="connsiteY10" fmla="*/ 8883 h 62195"/>
                    <a:gd name="connsiteX11" fmla="*/ 143499 w 146396"/>
                    <a:gd name="connsiteY11" fmla="*/ 7139 h 62195"/>
                    <a:gd name="connsiteX12" fmla="*/ 145243 w 146396"/>
                    <a:gd name="connsiteY12" fmla="*/ 16359 h 62195"/>
                    <a:gd name="connsiteX13" fmla="*/ 128105 w 146396"/>
                    <a:gd name="connsiteY13" fmla="*/ 41481 h 62195"/>
                    <a:gd name="connsiteX14" fmla="*/ 123575 w 146396"/>
                    <a:gd name="connsiteY14" fmla="*/ 44309 h 62195"/>
                    <a:gd name="connsiteX15" fmla="*/ 118429 w 146396"/>
                    <a:gd name="connsiteY15" fmla="*/ 42884 h 62195"/>
                    <a:gd name="connsiteX16" fmla="*/ 85532 w 146396"/>
                    <a:gd name="connsiteY16" fmla="*/ 16070 h 62195"/>
                    <a:gd name="connsiteX17" fmla="*/ 51604 w 146396"/>
                    <a:gd name="connsiteY17" fmla="*/ 59639 h 62195"/>
                    <a:gd name="connsiteX18" fmla="*/ 46367 w 146396"/>
                    <a:gd name="connsiteY18" fmla="*/ 62195 h 6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6396" h="62195">
                      <a:moveTo>
                        <a:pt x="46367" y="62195"/>
                      </a:moveTo>
                      <a:cubicBezTo>
                        <a:pt x="44973" y="62195"/>
                        <a:pt x="43569" y="61757"/>
                        <a:pt x="42371" y="60858"/>
                      </a:cubicBezTo>
                      <a:lnTo>
                        <a:pt x="2638" y="30871"/>
                      </a:lnTo>
                      <a:cubicBezTo>
                        <a:pt x="-286" y="28662"/>
                        <a:pt x="-869" y="24500"/>
                        <a:pt x="1341" y="21575"/>
                      </a:cubicBezTo>
                      <a:cubicBezTo>
                        <a:pt x="3541" y="18653"/>
                        <a:pt x="7697" y="18068"/>
                        <a:pt x="10637" y="20277"/>
                      </a:cubicBezTo>
                      <a:lnTo>
                        <a:pt x="45154" y="46328"/>
                      </a:lnTo>
                      <a:lnTo>
                        <a:pt x="79233" y="2560"/>
                      </a:lnTo>
                      <a:cubicBezTo>
                        <a:pt x="80332" y="1150"/>
                        <a:pt x="81950" y="242"/>
                        <a:pt x="83725" y="43"/>
                      </a:cubicBezTo>
                      <a:cubicBezTo>
                        <a:pt x="85514" y="-160"/>
                        <a:pt x="87280" y="363"/>
                        <a:pt x="88662" y="1494"/>
                      </a:cubicBezTo>
                      <a:lnTo>
                        <a:pt x="121215" y="28031"/>
                      </a:lnTo>
                      <a:lnTo>
                        <a:pt x="134278" y="8883"/>
                      </a:lnTo>
                      <a:cubicBezTo>
                        <a:pt x="136345" y="5856"/>
                        <a:pt x="140471" y="5068"/>
                        <a:pt x="143499" y="7139"/>
                      </a:cubicBezTo>
                      <a:cubicBezTo>
                        <a:pt x="146529" y="9206"/>
                        <a:pt x="147305" y="13335"/>
                        <a:pt x="145243" y="16359"/>
                      </a:cubicBezTo>
                      <a:lnTo>
                        <a:pt x="128105" y="41481"/>
                      </a:lnTo>
                      <a:cubicBezTo>
                        <a:pt x="127058" y="43017"/>
                        <a:pt x="125416" y="44040"/>
                        <a:pt x="123575" y="44309"/>
                      </a:cubicBezTo>
                      <a:cubicBezTo>
                        <a:pt x="121737" y="44580"/>
                        <a:pt x="119874" y="44055"/>
                        <a:pt x="118429" y="42884"/>
                      </a:cubicBezTo>
                      <a:lnTo>
                        <a:pt x="85532" y="16070"/>
                      </a:lnTo>
                      <a:lnTo>
                        <a:pt x="51604" y="59639"/>
                      </a:lnTo>
                      <a:cubicBezTo>
                        <a:pt x="50300" y="61314"/>
                        <a:pt x="48341" y="62195"/>
                        <a:pt x="46367" y="62195"/>
                      </a:cubicBezTo>
                      <a:close/>
                    </a:path>
                  </a:pathLst>
                </a:custGeom>
                <a:grpFill/>
                <a:ln w="301" cap="flat">
                  <a:noFill/>
                  <a:prstDash val="solid"/>
                  <a:miter/>
                </a:ln>
              </p:spPr>
              <p:txBody>
                <a:bodyPr rtlCol="0" anchor="ctr"/>
                <a:lstStyle/>
                <a:p>
                  <a:endParaRPr lang="en-GB" dirty="0"/>
                </a:p>
              </p:txBody>
            </p:sp>
            <p:sp>
              <p:nvSpPr>
                <p:cNvPr id="266" name="Freihandform: Form 157">
                  <a:extLst>
                    <a:ext uri="{FF2B5EF4-FFF2-40B4-BE49-F238E27FC236}">
                      <a16:creationId xmlns:a16="http://schemas.microsoft.com/office/drawing/2014/main" id="{A007499E-0887-499C-AC5F-71078FCFE142}"/>
                    </a:ext>
                  </a:extLst>
                </p:cNvPr>
                <p:cNvSpPr/>
                <p:nvPr/>
              </p:nvSpPr>
              <p:spPr>
                <a:xfrm>
                  <a:off x="2045842" y="1716020"/>
                  <a:ext cx="59277" cy="80717"/>
                </a:xfrm>
                <a:custGeom>
                  <a:avLst/>
                  <a:gdLst>
                    <a:gd name="connsiteX0" fmla="*/ 6630 w 59277"/>
                    <a:gd name="connsiteY0" fmla="*/ 80718 h 80717"/>
                    <a:gd name="connsiteX1" fmla="*/ 2897 w 59277"/>
                    <a:gd name="connsiteY1" fmla="*/ 79565 h 80717"/>
                    <a:gd name="connsiteX2" fmla="*/ 1152 w 59277"/>
                    <a:gd name="connsiteY2" fmla="*/ 70344 h 80717"/>
                    <a:gd name="connsiteX3" fmla="*/ 47160 w 59277"/>
                    <a:gd name="connsiteY3" fmla="*/ 2897 h 80717"/>
                    <a:gd name="connsiteX4" fmla="*/ 56381 w 59277"/>
                    <a:gd name="connsiteY4" fmla="*/ 1153 h 80717"/>
                    <a:gd name="connsiteX5" fmla="*/ 58125 w 59277"/>
                    <a:gd name="connsiteY5" fmla="*/ 10374 h 80717"/>
                    <a:gd name="connsiteX6" fmla="*/ 12118 w 59277"/>
                    <a:gd name="connsiteY6" fmla="*/ 77820 h 80717"/>
                    <a:gd name="connsiteX7" fmla="*/ 6630 w 59277"/>
                    <a:gd name="connsiteY7" fmla="*/ 80718 h 8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277" h="80717">
                      <a:moveTo>
                        <a:pt x="6630" y="80718"/>
                      </a:moveTo>
                      <a:cubicBezTo>
                        <a:pt x="5345" y="80718"/>
                        <a:pt x="4041" y="80346"/>
                        <a:pt x="2897" y="79565"/>
                      </a:cubicBezTo>
                      <a:cubicBezTo>
                        <a:pt x="-131" y="77500"/>
                        <a:pt x="-909" y="73368"/>
                        <a:pt x="1152" y="70344"/>
                      </a:cubicBezTo>
                      <a:lnTo>
                        <a:pt x="47160" y="2897"/>
                      </a:lnTo>
                      <a:cubicBezTo>
                        <a:pt x="49227" y="-127"/>
                        <a:pt x="53353" y="-912"/>
                        <a:pt x="56381" y="1153"/>
                      </a:cubicBezTo>
                      <a:cubicBezTo>
                        <a:pt x="59408" y="3217"/>
                        <a:pt x="60187" y="7349"/>
                        <a:pt x="58125" y="10374"/>
                      </a:cubicBezTo>
                      <a:lnTo>
                        <a:pt x="12118" y="77820"/>
                      </a:lnTo>
                      <a:cubicBezTo>
                        <a:pt x="10832" y="79703"/>
                        <a:pt x="8749" y="80718"/>
                        <a:pt x="6630" y="80718"/>
                      </a:cubicBezTo>
                      <a:close/>
                    </a:path>
                  </a:pathLst>
                </a:custGeom>
                <a:grpFill/>
                <a:ln w="301" cap="flat">
                  <a:noFill/>
                  <a:prstDash val="solid"/>
                  <a:miter/>
                </a:ln>
              </p:spPr>
              <p:txBody>
                <a:bodyPr rtlCol="0" anchor="ctr"/>
                <a:lstStyle/>
                <a:p>
                  <a:endParaRPr lang="en-GB" dirty="0"/>
                </a:p>
              </p:txBody>
            </p:sp>
            <p:sp>
              <p:nvSpPr>
                <p:cNvPr id="267" name="Freihandform: Form 158">
                  <a:extLst>
                    <a:ext uri="{FF2B5EF4-FFF2-40B4-BE49-F238E27FC236}">
                      <a16:creationId xmlns:a16="http://schemas.microsoft.com/office/drawing/2014/main" id="{5552E111-723F-40AB-AC5C-C3B6D8B45A91}"/>
                    </a:ext>
                  </a:extLst>
                </p:cNvPr>
                <p:cNvSpPr/>
                <p:nvPr/>
              </p:nvSpPr>
              <p:spPr>
                <a:xfrm>
                  <a:off x="2071345" y="1711206"/>
                  <a:ext cx="42002" cy="36560"/>
                </a:xfrm>
                <a:custGeom>
                  <a:avLst/>
                  <a:gdLst>
                    <a:gd name="connsiteX0" fmla="*/ 35360 w 42002"/>
                    <a:gd name="connsiteY0" fmla="*/ 36561 h 36560"/>
                    <a:gd name="connsiteX1" fmla="*/ 28907 w 42002"/>
                    <a:gd name="connsiteY1" fmla="*/ 31435 h 36560"/>
                    <a:gd name="connsiteX2" fmla="*/ 24975 w 42002"/>
                    <a:gd name="connsiteY2" fmla="*/ 14609 h 36560"/>
                    <a:gd name="connsiteX3" fmla="*/ 8148 w 42002"/>
                    <a:gd name="connsiteY3" fmla="*/ 18538 h 36560"/>
                    <a:gd name="connsiteX4" fmla="*/ 176 w 42002"/>
                    <a:gd name="connsiteY4" fmla="*/ 13588 h 36560"/>
                    <a:gd name="connsiteX5" fmla="*/ 5126 w 42002"/>
                    <a:gd name="connsiteY5" fmla="*/ 5617 h 36560"/>
                    <a:gd name="connsiteX6" fmla="*/ 28412 w 42002"/>
                    <a:gd name="connsiteY6" fmla="*/ 178 h 36560"/>
                    <a:gd name="connsiteX7" fmla="*/ 36384 w 42002"/>
                    <a:gd name="connsiteY7" fmla="*/ 5128 h 36560"/>
                    <a:gd name="connsiteX8" fmla="*/ 41826 w 42002"/>
                    <a:gd name="connsiteY8" fmla="*/ 28414 h 36560"/>
                    <a:gd name="connsiteX9" fmla="*/ 36875 w 42002"/>
                    <a:gd name="connsiteY9" fmla="*/ 36385 h 36560"/>
                    <a:gd name="connsiteX10" fmla="*/ 35360 w 42002"/>
                    <a:gd name="connsiteY10" fmla="*/ 36561 h 36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002" h="36560">
                      <a:moveTo>
                        <a:pt x="35360" y="36561"/>
                      </a:moveTo>
                      <a:cubicBezTo>
                        <a:pt x="32348" y="36561"/>
                        <a:pt x="29623" y="34496"/>
                        <a:pt x="28907" y="31435"/>
                      </a:cubicBezTo>
                      <a:lnTo>
                        <a:pt x="24975" y="14609"/>
                      </a:lnTo>
                      <a:lnTo>
                        <a:pt x="8148" y="18538"/>
                      </a:lnTo>
                      <a:cubicBezTo>
                        <a:pt x="4559" y="19380"/>
                        <a:pt x="1006" y="17156"/>
                        <a:pt x="176" y="13588"/>
                      </a:cubicBezTo>
                      <a:cubicBezTo>
                        <a:pt x="-660" y="10018"/>
                        <a:pt x="1559" y="6450"/>
                        <a:pt x="5126" y="5617"/>
                      </a:cubicBezTo>
                      <a:lnTo>
                        <a:pt x="28412" y="178"/>
                      </a:lnTo>
                      <a:cubicBezTo>
                        <a:pt x="31992" y="-664"/>
                        <a:pt x="35551" y="1561"/>
                        <a:pt x="36384" y="5128"/>
                      </a:cubicBezTo>
                      <a:lnTo>
                        <a:pt x="41826" y="28414"/>
                      </a:lnTo>
                      <a:cubicBezTo>
                        <a:pt x="42662" y="31982"/>
                        <a:pt x="40446" y="35552"/>
                        <a:pt x="36875" y="36385"/>
                      </a:cubicBezTo>
                      <a:cubicBezTo>
                        <a:pt x="36369" y="36506"/>
                        <a:pt x="35861" y="36561"/>
                        <a:pt x="35360" y="36561"/>
                      </a:cubicBezTo>
                      <a:close/>
                    </a:path>
                  </a:pathLst>
                </a:custGeom>
                <a:grpFill/>
                <a:ln w="301" cap="flat">
                  <a:noFill/>
                  <a:prstDash val="solid"/>
                  <a:miter/>
                </a:ln>
              </p:spPr>
              <p:txBody>
                <a:bodyPr rtlCol="0" anchor="ctr"/>
                <a:lstStyle/>
                <a:p>
                  <a:endParaRPr lang="en-GB" dirty="0"/>
                </a:p>
              </p:txBody>
            </p:sp>
          </p:grpSp>
        </p:grpSp>
        <p:grpSp>
          <p:nvGrpSpPr>
            <p:cNvPr id="258" name="Grafik 342">
              <a:extLst>
                <a:ext uri="{FF2B5EF4-FFF2-40B4-BE49-F238E27FC236}">
                  <a16:creationId xmlns:a16="http://schemas.microsoft.com/office/drawing/2014/main" id="{7A72AB29-562C-421D-A15E-438166DA53A4}"/>
                </a:ext>
              </a:extLst>
            </p:cNvPr>
            <p:cNvGrpSpPr/>
            <p:nvPr/>
          </p:nvGrpSpPr>
          <p:grpSpPr>
            <a:xfrm>
              <a:off x="3866359" y="3301715"/>
              <a:ext cx="185022" cy="327353"/>
              <a:chOff x="1895210" y="1740721"/>
              <a:chExt cx="172527" cy="305245"/>
            </a:xfrm>
            <a:solidFill>
              <a:schemeClr val="accent1"/>
            </a:solidFill>
          </p:grpSpPr>
          <p:sp>
            <p:nvSpPr>
              <p:cNvPr id="259" name="Freihandform: Form 160">
                <a:extLst>
                  <a:ext uri="{FF2B5EF4-FFF2-40B4-BE49-F238E27FC236}">
                    <a16:creationId xmlns:a16="http://schemas.microsoft.com/office/drawing/2014/main" id="{3AD1DB17-1948-425D-823C-8B7199C6F01F}"/>
                  </a:ext>
                </a:extLst>
              </p:cNvPr>
              <p:cNvSpPr/>
              <p:nvPr/>
            </p:nvSpPr>
            <p:spPr>
              <a:xfrm>
                <a:off x="1895210" y="1740721"/>
                <a:ext cx="172527" cy="172531"/>
              </a:xfrm>
              <a:custGeom>
                <a:avLst/>
                <a:gdLst>
                  <a:gd name="connsiteX0" fmla="*/ 86267 w 172527"/>
                  <a:gd name="connsiteY0" fmla="*/ 172531 h 172531"/>
                  <a:gd name="connsiteX1" fmla="*/ 85838 w 172527"/>
                  <a:gd name="connsiteY1" fmla="*/ 172531 h 172531"/>
                  <a:gd name="connsiteX2" fmla="*/ 1 w 172527"/>
                  <a:gd name="connsiteY2" fmla="*/ 85840 h 172531"/>
                  <a:gd name="connsiteX3" fmla="*/ 25569 w 172527"/>
                  <a:gd name="connsiteY3" fmla="*/ 24965 h 172531"/>
                  <a:gd name="connsiteX4" fmla="*/ 86686 w 172527"/>
                  <a:gd name="connsiteY4" fmla="*/ 0 h 172531"/>
                  <a:gd name="connsiteX5" fmla="*/ 147562 w 172527"/>
                  <a:gd name="connsiteY5" fmla="*/ 25568 h 172531"/>
                  <a:gd name="connsiteX6" fmla="*/ 172526 w 172527"/>
                  <a:gd name="connsiteY6" fmla="*/ 86691 h 172531"/>
                  <a:gd name="connsiteX7" fmla="*/ 86267 w 172527"/>
                  <a:gd name="connsiteY7" fmla="*/ 172531 h 172531"/>
                  <a:gd name="connsiteX8" fmla="*/ 86254 w 172527"/>
                  <a:gd name="connsiteY8" fmla="*/ 13275 h 172531"/>
                  <a:gd name="connsiteX9" fmla="*/ 34907 w 172527"/>
                  <a:gd name="connsiteY9" fmla="*/ 34400 h 172531"/>
                  <a:gd name="connsiteX10" fmla="*/ 13272 w 172527"/>
                  <a:gd name="connsiteY10" fmla="*/ 85907 h 172531"/>
                  <a:gd name="connsiteX11" fmla="*/ 85904 w 172527"/>
                  <a:gd name="connsiteY11" fmla="*/ 159260 h 172531"/>
                  <a:gd name="connsiteX12" fmla="*/ 86264 w 172527"/>
                  <a:gd name="connsiteY12" fmla="*/ 159260 h 172531"/>
                  <a:gd name="connsiteX13" fmla="*/ 159258 w 172527"/>
                  <a:gd name="connsiteY13" fmla="*/ 86625 h 172531"/>
                  <a:gd name="connsiteX14" fmla="*/ 86623 w 172527"/>
                  <a:gd name="connsiteY14" fmla="*/ 13272 h 172531"/>
                  <a:gd name="connsiteX15" fmla="*/ 86254 w 172527"/>
                  <a:gd name="connsiteY15" fmla="*/ 13275 h 17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2527" h="172531">
                    <a:moveTo>
                      <a:pt x="86267" y="172531"/>
                    </a:moveTo>
                    <a:cubicBezTo>
                      <a:pt x="86125" y="172531"/>
                      <a:pt x="85983" y="172531"/>
                      <a:pt x="85838" y="172531"/>
                    </a:cubicBezTo>
                    <a:cubicBezTo>
                      <a:pt x="38273" y="172299"/>
                      <a:pt x="-234" y="133405"/>
                      <a:pt x="1" y="85840"/>
                    </a:cubicBezTo>
                    <a:cubicBezTo>
                      <a:pt x="116" y="62796"/>
                      <a:pt x="9195" y="41179"/>
                      <a:pt x="25569" y="24965"/>
                    </a:cubicBezTo>
                    <a:cubicBezTo>
                      <a:pt x="41940" y="8750"/>
                      <a:pt x="63599" y="-72"/>
                      <a:pt x="86686" y="0"/>
                    </a:cubicBezTo>
                    <a:cubicBezTo>
                      <a:pt x="109731" y="115"/>
                      <a:pt x="131348" y="9194"/>
                      <a:pt x="147562" y="25568"/>
                    </a:cubicBezTo>
                    <a:cubicBezTo>
                      <a:pt x="163776" y="41939"/>
                      <a:pt x="172641" y="63650"/>
                      <a:pt x="172526" y="86691"/>
                    </a:cubicBezTo>
                    <a:cubicBezTo>
                      <a:pt x="172297" y="134115"/>
                      <a:pt x="133638" y="172531"/>
                      <a:pt x="86267" y="172531"/>
                    </a:cubicBezTo>
                    <a:close/>
                    <a:moveTo>
                      <a:pt x="86254" y="13275"/>
                    </a:moveTo>
                    <a:cubicBezTo>
                      <a:pt x="66895" y="13275"/>
                      <a:pt x="48677" y="20766"/>
                      <a:pt x="34907" y="34400"/>
                    </a:cubicBezTo>
                    <a:cubicBezTo>
                      <a:pt x="21054" y="48118"/>
                      <a:pt x="13369" y="66412"/>
                      <a:pt x="13272" y="85907"/>
                    </a:cubicBezTo>
                    <a:cubicBezTo>
                      <a:pt x="13076" y="126155"/>
                      <a:pt x="45656" y="159064"/>
                      <a:pt x="85904" y="159260"/>
                    </a:cubicBezTo>
                    <a:cubicBezTo>
                      <a:pt x="86022" y="159260"/>
                      <a:pt x="86149" y="159260"/>
                      <a:pt x="86264" y="159260"/>
                    </a:cubicBezTo>
                    <a:cubicBezTo>
                      <a:pt x="126352" y="159263"/>
                      <a:pt x="159058" y="126756"/>
                      <a:pt x="159258" y="86625"/>
                    </a:cubicBezTo>
                    <a:cubicBezTo>
                      <a:pt x="159454" y="46376"/>
                      <a:pt x="126871" y="13468"/>
                      <a:pt x="86623" y="13272"/>
                    </a:cubicBezTo>
                    <a:cubicBezTo>
                      <a:pt x="86502" y="13275"/>
                      <a:pt x="86375" y="13275"/>
                      <a:pt x="86254" y="13275"/>
                    </a:cubicBezTo>
                    <a:close/>
                  </a:path>
                </a:pathLst>
              </a:custGeom>
              <a:solidFill>
                <a:schemeClr val="accent1"/>
              </a:solidFill>
              <a:ln w="301" cap="flat">
                <a:noFill/>
                <a:prstDash val="solid"/>
                <a:miter/>
              </a:ln>
            </p:spPr>
            <p:txBody>
              <a:bodyPr rtlCol="0" anchor="ctr"/>
              <a:lstStyle/>
              <a:p>
                <a:endParaRPr lang="en-GB" dirty="0"/>
              </a:p>
            </p:txBody>
          </p:sp>
          <p:sp>
            <p:nvSpPr>
              <p:cNvPr id="260" name="Freihandform: Form 161">
                <a:extLst>
                  <a:ext uri="{FF2B5EF4-FFF2-40B4-BE49-F238E27FC236}">
                    <a16:creationId xmlns:a16="http://schemas.microsoft.com/office/drawing/2014/main" id="{8331A165-D2B3-4CFF-8C2E-8F7F1A69F957}"/>
                  </a:ext>
                </a:extLst>
              </p:cNvPr>
              <p:cNvSpPr/>
              <p:nvPr/>
            </p:nvSpPr>
            <p:spPr>
              <a:xfrm rot="-5383224">
                <a:off x="1954413" y="1926510"/>
                <a:ext cx="53083" cy="13271"/>
              </a:xfrm>
              <a:custGeom>
                <a:avLst/>
                <a:gdLst>
                  <a:gd name="connsiteX0" fmla="*/ 0 w 53083"/>
                  <a:gd name="connsiteY0" fmla="*/ 0 h 13271"/>
                  <a:gd name="connsiteX1" fmla="*/ 53083 w 53083"/>
                  <a:gd name="connsiteY1" fmla="*/ 0 h 13271"/>
                  <a:gd name="connsiteX2" fmla="*/ 53083 w 53083"/>
                  <a:gd name="connsiteY2" fmla="*/ 13271 h 13271"/>
                  <a:gd name="connsiteX3" fmla="*/ 0 w 53083"/>
                  <a:gd name="connsiteY3" fmla="*/ 13271 h 13271"/>
                </a:gdLst>
                <a:ahLst/>
                <a:cxnLst>
                  <a:cxn ang="0">
                    <a:pos x="connsiteX0" y="connsiteY0"/>
                  </a:cxn>
                  <a:cxn ang="0">
                    <a:pos x="connsiteX1" y="connsiteY1"/>
                  </a:cxn>
                  <a:cxn ang="0">
                    <a:pos x="connsiteX2" y="connsiteY2"/>
                  </a:cxn>
                  <a:cxn ang="0">
                    <a:pos x="connsiteX3" y="connsiteY3"/>
                  </a:cxn>
                </a:cxnLst>
                <a:rect l="l" t="t" r="r" b="b"/>
                <a:pathLst>
                  <a:path w="53083" h="13271">
                    <a:moveTo>
                      <a:pt x="0" y="0"/>
                    </a:moveTo>
                    <a:lnTo>
                      <a:pt x="53083" y="0"/>
                    </a:lnTo>
                    <a:lnTo>
                      <a:pt x="53083" y="13271"/>
                    </a:lnTo>
                    <a:lnTo>
                      <a:pt x="0" y="13271"/>
                    </a:lnTo>
                    <a:close/>
                  </a:path>
                </a:pathLst>
              </a:custGeom>
              <a:solidFill>
                <a:schemeClr val="accent1"/>
              </a:solidFill>
              <a:ln w="301" cap="flat">
                <a:noFill/>
                <a:prstDash val="solid"/>
                <a:miter/>
              </a:ln>
            </p:spPr>
            <p:txBody>
              <a:bodyPr rtlCol="0" anchor="ctr"/>
              <a:lstStyle/>
              <a:p>
                <a:endParaRPr lang="en-GB" dirty="0"/>
              </a:p>
            </p:txBody>
          </p:sp>
          <p:sp>
            <p:nvSpPr>
              <p:cNvPr id="261" name="Freihandform: Form 162">
                <a:extLst>
                  <a:ext uri="{FF2B5EF4-FFF2-40B4-BE49-F238E27FC236}">
                    <a16:creationId xmlns:a16="http://schemas.microsoft.com/office/drawing/2014/main" id="{9879DC7B-4223-48CA-9024-EA2F4877C52B}"/>
                  </a:ext>
                </a:extLst>
              </p:cNvPr>
              <p:cNvSpPr/>
              <p:nvPr/>
            </p:nvSpPr>
            <p:spPr>
              <a:xfrm>
                <a:off x="1953986" y="1946333"/>
                <a:ext cx="53414" cy="99633"/>
              </a:xfrm>
              <a:custGeom>
                <a:avLst/>
                <a:gdLst>
                  <a:gd name="connsiteX0" fmla="*/ 26549 w 53414"/>
                  <a:gd name="connsiteY0" fmla="*/ 99633 h 99633"/>
                  <a:gd name="connsiteX1" fmla="*/ 26413 w 53414"/>
                  <a:gd name="connsiteY1" fmla="*/ 99633 h 99633"/>
                  <a:gd name="connsiteX2" fmla="*/ 7682 w 53414"/>
                  <a:gd name="connsiteY2" fmla="*/ 91768 h 99633"/>
                  <a:gd name="connsiteX3" fmla="*/ 0 w 53414"/>
                  <a:gd name="connsiteY3" fmla="*/ 72961 h 99633"/>
                  <a:gd name="connsiteX4" fmla="*/ 326 w 53414"/>
                  <a:gd name="connsiteY4" fmla="*/ 6604 h 99633"/>
                  <a:gd name="connsiteX5" fmla="*/ 2294 w 53414"/>
                  <a:gd name="connsiteY5" fmla="*/ 1923 h 99633"/>
                  <a:gd name="connsiteX6" fmla="*/ 6997 w 53414"/>
                  <a:gd name="connsiteY6" fmla="*/ 0 h 99633"/>
                  <a:gd name="connsiteX7" fmla="*/ 46811 w 53414"/>
                  <a:gd name="connsiteY7" fmla="*/ 196 h 99633"/>
                  <a:gd name="connsiteX8" fmla="*/ 53415 w 53414"/>
                  <a:gd name="connsiteY8" fmla="*/ 6864 h 99633"/>
                  <a:gd name="connsiteX9" fmla="*/ 53089 w 53414"/>
                  <a:gd name="connsiteY9" fmla="*/ 73217 h 99633"/>
                  <a:gd name="connsiteX10" fmla="*/ 45223 w 53414"/>
                  <a:gd name="connsiteY10" fmla="*/ 91949 h 99633"/>
                  <a:gd name="connsiteX11" fmla="*/ 26549 w 53414"/>
                  <a:gd name="connsiteY11" fmla="*/ 99633 h 99633"/>
                  <a:gd name="connsiteX12" fmla="*/ 13564 w 53414"/>
                  <a:gd name="connsiteY12" fmla="*/ 13305 h 99633"/>
                  <a:gd name="connsiteX13" fmla="*/ 13269 w 53414"/>
                  <a:gd name="connsiteY13" fmla="*/ 73027 h 99633"/>
                  <a:gd name="connsiteX14" fmla="*/ 17108 w 53414"/>
                  <a:gd name="connsiteY14" fmla="*/ 82429 h 99633"/>
                  <a:gd name="connsiteX15" fmla="*/ 26474 w 53414"/>
                  <a:gd name="connsiteY15" fmla="*/ 86362 h 99633"/>
                  <a:gd name="connsiteX16" fmla="*/ 35876 w 53414"/>
                  <a:gd name="connsiteY16" fmla="*/ 82523 h 99633"/>
                  <a:gd name="connsiteX17" fmla="*/ 39808 w 53414"/>
                  <a:gd name="connsiteY17" fmla="*/ 73157 h 99633"/>
                  <a:gd name="connsiteX18" fmla="*/ 40104 w 53414"/>
                  <a:gd name="connsiteY18" fmla="*/ 13437 h 99633"/>
                  <a:gd name="connsiteX19" fmla="*/ 13564 w 53414"/>
                  <a:gd name="connsiteY19" fmla="*/ 13305 h 99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3414" h="99633">
                    <a:moveTo>
                      <a:pt x="26549" y="99633"/>
                    </a:moveTo>
                    <a:cubicBezTo>
                      <a:pt x="26504" y="99633"/>
                      <a:pt x="26459" y="99633"/>
                      <a:pt x="26413" y="99633"/>
                    </a:cubicBezTo>
                    <a:cubicBezTo>
                      <a:pt x="19320" y="99597"/>
                      <a:pt x="12668" y="96805"/>
                      <a:pt x="7682" y="91768"/>
                    </a:cubicBezTo>
                    <a:cubicBezTo>
                      <a:pt x="2693" y="86730"/>
                      <a:pt x="-36" y="80051"/>
                      <a:pt x="0" y="72961"/>
                    </a:cubicBezTo>
                    <a:lnTo>
                      <a:pt x="326" y="6604"/>
                    </a:lnTo>
                    <a:cubicBezTo>
                      <a:pt x="335" y="4844"/>
                      <a:pt x="1042" y="3160"/>
                      <a:pt x="2294" y="1923"/>
                    </a:cubicBezTo>
                    <a:cubicBezTo>
                      <a:pt x="3544" y="685"/>
                      <a:pt x="5316" y="160"/>
                      <a:pt x="6997" y="0"/>
                    </a:cubicBezTo>
                    <a:lnTo>
                      <a:pt x="46811" y="196"/>
                    </a:lnTo>
                    <a:cubicBezTo>
                      <a:pt x="50475" y="214"/>
                      <a:pt x="53433" y="3199"/>
                      <a:pt x="53415" y="6864"/>
                    </a:cubicBezTo>
                    <a:lnTo>
                      <a:pt x="53089" y="73217"/>
                    </a:lnTo>
                    <a:cubicBezTo>
                      <a:pt x="53053" y="80310"/>
                      <a:pt x="50261" y="86963"/>
                      <a:pt x="45223" y="91949"/>
                    </a:cubicBezTo>
                    <a:cubicBezTo>
                      <a:pt x="40213" y="96908"/>
                      <a:pt x="33585" y="99633"/>
                      <a:pt x="26549" y="99633"/>
                    </a:cubicBezTo>
                    <a:close/>
                    <a:moveTo>
                      <a:pt x="13564" y="13305"/>
                    </a:moveTo>
                    <a:lnTo>
                      <a:pt x="13269" y="73027"/>
                    </a:lnTo>
                    <a:cubicBezTo>
                      <a:pt x="13251" y="76571"/>
                      <a:pt x="14615" y="79912"/>
                      <a:pt x="17108" y="82429"/>
                    </a:cubicBezTo>
                    <a:cubicBezTo>
                      <a:pt x="19604" y="84946"/>
                      <a:pt x="22930" y="86347"/>
                      <a:pt x="26474" y="86362"/>
                    </a:cubicBezTo>
                    <a:cubicBezTo>
                      <a:pt x="30087" y="86552"/>
                      <a:pt x="33361" y="85016"/>
                      <a:pt x="35876" y="82523"/>
                    </a:cubicBezTo>
                    <a:cubicBezTo>
                      <a:pt x="38393" y="80027"/>
                      <a:pt x="39793" y="76701"/>
                      <a:pt x="39808" y="73157"/>
                    </a:cubicBezTo>
                    <a:lnTo>
                      <a:pt x="40104" y="13437"/>
                    </a:lnTo>
                    <a:lnTo>
                      <a:pt x="13564" y="13305"/>
                    </a:lnTo>
                    <a:close/>
                  </a:path>
                </a:pathLst>
              </a:custGeom>
              <a:solidFill>
                <a:schemeClr val="accent1"/>
              </a:solidFill>
              <a:ln w="301" cap="flat">
                <a:noFill/>
                <a:prstDash val="solid"/>
                <a:miter/>
              </a:ln>
            </p:spPr>
            <p:txBody>
              <a:bodyPr rtlCol="0" anchor="ctr"/>
              <a:lstStyle/>
              <a:p>
                <a:endParaRPr lang="en-GB" dirty="0"/>
              </a:p>
            </p:txBody>
          </p:sp>
        </p:grpSp>
      </p:grpSp>
      <p:grpSp>
        <p:nvGrpSpPr>
          <p:cNvPr id="523" name="Group 522">
            <a:extLst>
              <a:ext uri="{FF2B5EF4-FFF2-40B4-BE49-F238E27FC236}">
                <a16:creationId xmlns:a16="http://schemas.microsoft.com/office/drawing/2014/main" id="{A30A078E-5A7C-F4CF-CCAF-9B85E7BD02AC}"/>
              </a:ext>
            </a:extLst>
          </p:cNvPr>
          <p:cNvGrpSpPr/>
          <p:nvPr/>
        </p:nvGrpSpPr>
        <p:grpSpPr>
          <a:xfrm>
            <a:off x="581205" y="4040086"/>
            <a:ext cx="425690" cy="432000"/>
            <a:chOff x="581205" y="4040086"/>
            <a:chExt cx="425690" cy="432000"/>
          </a:xfrm>
        </p:grpSpPr>
        <p:grpSp>
          <p:nvGrpSpPr>
            <p:cNvPr id="274" name="Gruppieren 949">
              <a:extLst>
                <a:ext uri="{FF2B5EF4-FFF2-40B4-BE49-F238E27FC236}">
                  <a16:creationId xmlns:a16="http://schemas.microsoft.com/office/drawing/2014/main" id="{C703DDF3-DB35-4F05-A6B0-FE195164112A}"/>
                </a:ext>
              </a:extLst>
            </p:cNvPr>
            <p:cNvGrpSpPr/>
            <p:nvPr/>
          </p:nvGrpSpPr>
          <p:grpSpPr>
            <a:xfrm>
              <a:off x="697759" y="4142641"/>
              <a:ext cx="309136" cy="329445"/>
              <a:chOff x="3604545" y="1759151"/>
              <a:chExt cx="275034" cy="293102"/>
            </a:xfrm>
            <a:solidFill>
              <a:schemeClr val="tx2"/>
            </a:solidFill>
          </p:grpSpPr>
          <p:grpSp>
            <p:nvGrpSpPr>
              <p:cNvPr id="280" name="Grafik 342">
                <a:extLst>
                  <a:ext uri="{FF2B5EF4-FFF2-40B4-BE49-F238E27FC236}">
                    <a16:creationId xmlns:a16="http://schemas.microsoft.com/office/drawing/2014/main" id="{9C14ED36-9A88-4300-82EF-9F334A4D2880}"/>
                  </a:ext>
                </a:extLst>
              </p:cNvPr>
              <p:cNvGrpSpPr/>
              <p:nvPr/>
            </p:nvGrpSpPr>
            <p:grpSpPr>
              <a:xfrm>
                <a:off x="3604545" y="1960561"/>
                <a:ext cx="275034" cy="91692"/>
                <a:chOff x="3604545" y="1960561"/>
                <a:chExt cx="275034" cy="91692"/>
              </a:xfrm>
              <a:grpFill/>
            </p:grpSpPr>
            <p:sp>
              <p:nvSpPr>
                <p:cNvPr id="290" name="Freihandform: Form 477">
                  <a:extLst>
                    <a:ext uri="{FF2B5EF4-FFF2-40B4-BE49-F238E27FC236}">
                      <a16:creationId xmlns:a16="http://schemas.microsoft.com/office/drawing/2014/main" id="{785233F1-1B32-4604-A8F2-B566FA425285}"/>
                    </a:ext>
                  </a:extLst>
                </p:cNvPr>
                <p:cNvSpPr/>
                <p:nvPr/>
              </p:nvSpPr>
              <p:spPr>
                <a:xfrm>
                  <a:off x="3673234" y="1960561"/>
                  <a:ext cx="135179" cy="91233"/>
                </a:xfrm>
                <a:custGeom>
                  <a:avLst/>
                  <a:gdLst>
                    <a:gd name="connsiteX0" fmla="*/ 128709 w 135179"/>
                    <a:gd name="connsiteY0" fmla="*/ 91234 h 91233"/>
                    <a:gd name="connsiteX1" fmla="*/ 6472 w 135179"/>
                    <a:gd name="connsiteY1" fmla="*/ 91234 h 91233"/>
                    <a:gd name="connsiteX2" fmla="*/ 6472 w 135179"/>
                    <a:gd name="connsiteY2" fmla="*/ 69420 h 91233"/>
                    <a:gd name="connsiteX3" fmla="*/ 128 w 135179"/>
                    <a:gd name="connsiteY3" fmla="*/ 18581 h 91233"/>
                    <a:gd name="connsiteX4" fmla="*/ 4139 w 135179"/>
                    <a:gd name="connsiteY4" fmla="*/ 5587 h 91233"/>
                    <a:gd name="connsiteX5" fmla="*/ 16511 w 135179"/>
                    <a:gd name="connsiteY5" fmla="*/ 0 h 91233"/>
                    <a:gd name="connsiteX6" fmla="*/ 118665 w 135179"/>
                    <a:gd name="connsiteY6" fmla="*/ 0 h 91233"/>
                    <a:gd name="connsiteX7" fmla="*/ 131037 w 135179"/>
                    <a:gd name="connsiteY7" fmla="*/ 5575 h 91233"/>
                    <a:gd name="connsiteX8" fmla="*/ 135054 w 135179"/>
                    <a:gd name="connsiteY8" fmla="*/ 18571 h 91233"/>
                    <a:gd name="connsiteX9" fmla="*/ 128709 w 135179"/>
                    <a:gd name="connsiteY9" fmla="*/ 69417 h 91233"/>
                    <a:gd name="connsiteX10" fmla="*/ 128709 w 135179"/>
                    <a:gd name="connsiteY10" fmla="*/ 91234 h 91233"/>
                    <a:gd name="connsiteX11" fmla="*/ 19743 w 135179"/>
                    <a:gd name="connsiteY11" fmla="*/ 77962 h 91233"/>
                    <a:gd name="connsiteX12" fmla="*/ 115438 w 135179"/>
                    <a:gd name="connsiteY12" fmla="*/ 77962 h 91233"/>
                    <a:gd name="connsiteX13" fmla="*/ 115489 w 135179"/>
                    <a:gd name="connsiteY13" fmla="*/ 68186 h 91233"/>
                    <a:gd name="connsiteX14" fmla="*/ 121885 w 135179"/>
                    <a:gd name="connsiteY14" fmla="*/ 16933 h 91233"/>
                    <a:gd name="connsiteX15" fmla="*/ 121088 w 135179"/>
                    <a:gd name="connsiteY15" fmla="*/ 14367 h 91233"/>
                    <a:gd name="connsiteX16" fmla="*/ 118665 w 135179"/>
                    <a:gd name="connsiteY16" fmla="*/ 13271 h 91233"/>
                    <a:gd name="connsiteX17" fmla="*/ 16511 w 135179"/>
                    <a:gd name="connsiteY17" fmla="*/ 13271 h 91233"/>
                    <a:gd name="connsiteX18" fmla="*/ 14087 w 135179"/>
                    <a:gd name="connsiteY18" fmla="*/ 14367 h 91233"/>
                    <a:gd name="connsiteX19" fmla="*/ 13296 w 135179"/>
                    <a:gd name="connsiteY19" fmla="*/ 16933 h 91233"/>
                    <a:gd name="connsiteX20" fmla="*/ 19743 w 135179"/>
                    <a:gd name="connsiteY20" fmla="*/ 69007 h 91233"/>
                    <a:gd name="connsiteX21" fmla="*/ 19743 w 135179"/>
                    <a:gd name="connsiteY21" fmla="*/ 77962 h 9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5179" h="91233">
                      <a:moveTo>
                        <a:pt x="128709" y="91234"/>
                      </a:moveTo>
                      <a:lnTo>
                        <a:pt x="6472" y="91234"/>
                      </a:lnTo>
                      <a:lnTo>
                        <a:pt x="6472" y="69420"/>
                      </a:lnTo>
                      <a:lnTo>
                        <a:pt x="128" y="18581"/>
                      </a:lnTo>
                      <a:cubicBezTo>
                        <a:pt x="-461" y="13875"/>
                        <a:pt x="1003" y="9139"/>
                        <a:pt x="4139" y="5587"/>
                      </a:cubicBezTo>
                      <a:cubicBezTo>
                        <a:pt x="7269" y="2034"/>
                        <a:pt x="11778" y="0"/>
                        <a:pt x="16511" y="0"/>
                      </a:cubicBezTo>
                      <a:lnTo>
                        <a:pt x="118665" y="0"/>
                      </a:lnTo>
                      <a:cubicBezTo>
                        <a:pt x="123394" y="0"/>
                        <a:pt x="127901" y="2031"/>
                        <a:pt x="131037" y="5575"/>
                      </a:cubicBezTo>
                      <a:cubicBezTo>
                        <a:pt x="134172" y="9130"/>
                        <a:pt x="135636" y="13863"/>
                        <a:pt x="135054" y="18571"/>
                      </a:cubicBezTo>
                      <a:lnTo>
                        <a:pt x="128709" y="69417"/>
                      </a:lnTo>
                      <a:lnTo>
                        <a:pt x="128709" y="91234"/>
                      </a:lnTo>
                      <a:close/>
                      <a:moveTo>
                        <a:pt x="19743" y="77962"/>
                      </a:moveTo>
                      <a:lnTo>
                        <a:pt x="115438" y="77962"/>
                      </a:lnTo>
                      <a:lnTo>
                        <a:pt x="115489" y="68186"/>
                      </a:lnTo>
                      <a:lnTo>
                        <a:pt x="121885" y="16933"/>
                      </a:lnTo>
                      <a:cubicBezTo>
                        <a:pt x="122042" y="15662"/>
                        <a:pt x="121451" y="14778"/>
                        <a:pt x="121088" y="14367"/>
                      </a:cubicBezTo>
                      <a:cubicBezTo>
                        <a:pt x="120726" y="13960"/>
                        <a:pt x="119935" y="13271"/>
                        <a:pt x="118665" y="13271"/>
                      </a:cubicBezTo>
                      <a:lnTo>
                        <a:pt x="16511" y="13271"/>
                      </a:lnTo>
                      <a:cubicBezTo>
                        <a:pt x="15246" y="13271"/>
                        <a:pt x="14449" y="13960"/>
                        <a:pt x="14087" y="14367"/>
                      </a:cubicBezTo>
                      <a:cubicBezTo>
                        <a:pt x="13725" y="14778"/>
                        <a:pt x="13143" y="15659"/>
                        <a:pt x="13296" y="16933"/>
                      </a:cubicBezTo>
                      <a:lnTo>
                        <a:pt x="19743" y="69007"/>
                      </a:lnTo>
                      <a:lnTo>
                        <a:pt x="19743" y="77962"/>
                      </a:lnTo>
                      <a:close/>
                    </a:path>
                  </a:pathLst>
                </a:custGeom>
                <a:grpFill/>
                <a:ln w="301" cap="flat">
                  <a:noFill/>
                  <a:prstDash val="solid"/>
                  <a:miter/>
                </a:ln>
              </p:spPr>
              <p:txBody>
                <a:bodyPr rtlCol="0" anchor="ctr"/>
                <a:lstStyle/>
                <a:p>
                  <a:endParaRPr lang="en-GB" dirty="0"/>
                </a:p>
              </p:txBody>
            </p:sp>
            <p:sp>
              <p:nvSpPr>
                <p:cNvPr id="291" name="Freihandform: Form 478">
                  <a:extLst>
                    <a:ext uri="{FF2B5EF4-FFF2-40B4-BE49-F238E27FC236}">
                      <a16:creationId xmlns:a16="http://schemas.microsoft.com/office/drawing/2014/main" id="{DE747492-D317-4767-A66D-3507D18DC67F}"/>
                    </a:ext>
                  </a:extLst>
                </p:cNvPr>
                <p:cNvSpPr/>
                <p:nvPr/>
              </p:nvSpPr>
              <p:spPr>
                <a:xfrm>
                  <a:off x="3604545" y="2038979"/>
                  <a:ext cx="275034" cy="13274"/>
                </a:xfrm>
                <a:custGeom>
                  <a:avLst/>
                  <a:gdLst>
                    <a:gd name="connsiteX0" fmla="*/ 268394 w 275034"/>
                    <a:gd name="connsiteY0" fmla="*/ 13274 h 13274"/>
                    <a:gd name="connsiteX1" fmla="*/ 6637 w 275034"/>
                    <a:gd name="connsiteY1" fmla="*/ 13274 h 13274"/>
                    <a:gd name="connsiteX2" fmla="*/ 0 w 275034"/>
                    <a:gd name="connsiteY2" fmla="*/ 6637 h 13274"/>
                    <a:gd name="connsiteX3" fmla="*/ 6637 w 275034"/>
                    <a:gd name="connsiteY3" fmla="*/ 0 h 13274"/>
                    <a:gd name="connsiteX4" fmla="*/ 268394 w 275034"/>
                    <a:gd name="connsiteY4" fmla="*/ 0 h 13274"/>
                    <a:gd name="connsiteX5" fmla="*/ 275035 w 275034"/>
                    <a:gd name="connsiteY5" fmla="*/ 6637 h 13274"/>
                    <a:gd name="connsiteX6" fmla="*/ 268394 w 275034"/>
                    <a:gd name="connsiteY6" fmla="*/ 13274 h 1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034" h="13274">
                      <a:moveTo>
                        <a:pt x="268394" y="13274"/>
                      </a:moveTo>
                      <a:lnTo>
                        <a:pt x="6637" y="13274"/>
                      </a:lnTo>
                      <a:cubicBezTo>
                        <a:pt x="2970" y="13274"/>
                        <a:pt x="0" y="10304"/>
                        <a:pt x="0" y="6637"/>
                      </a:cubicBezTo>
                      <a:cubicBezTo>
                        <a:pt x="0" y="2973"/>
                        <a:pt x="2967" y="0"/>
                        <a:pt x="6637" y="0"/>
                      </a:cubicBezTo>
                      <a:lnTo>
                        <a:pt x="268394" y="0"/>
                      </a:lnTo>
                      <a:cubicBezTo>
                        <a:pt x="272077" y="0"/>
                        <a:pt x="275035" y="2970"/>
                        <a:pt x="275035" y="6637"/>
                      </a:cubicBezTo>
                      <a:cubicBezTo>
                        <a:pt x="275035" y="10301"/>
                        <a:pt x="272077" y="13274"/>
                        <a:pt x="268394" y="13274"/>
                      </a:cubicBezTo>
                      <a:close/>
                    </a:path>
                  </a:pathLst>
                </a:custGeom>
                <a:grpFill/>
                <a:ln w="301" cap="flat">
                  <a:noFill/>
                  <a:prstDash val="solid"/>
                  <a:miter/>
                </a:ln>
              </p:spPr>
              <p:txBody>
                <a:bodyPr rtlCol="0" anchor="ctr"/>
                <a:lstStyle/>
                <a:p>
                  <a:endParaRPr lang="en-GB" dirty="0"/>
                </a:p>
              </p:txBody>
            </p:sp>
          </p:grpSp>
          <p:sp>
            <p:nvSpPr>
              <p:cNvPr id="281" name="Freihandform: Form 481">
                <a:extLst>
                  <a:ext uri="{FF2B5EF4-FFF2-40B4-BE49-F238E27FC236}">
                    <a16:creationId xmlns:a16="http://schemas.microsoft.com/office/drawing/2014/main" id="{A723C362-9E18-4C56-BE28-6BD31C200A49}"/>
                  </a:ext>
                </a:extLst>
              </p:cNvPr>
              <p:cNvSpPr/>
              <p:nvPr/>
            </p:nvSpPr>
            <p:spPr>
              <a:xfrm>
                <a:off x="3727573" y="1904584"/>
                <a:ext cx="26545" cy="13274"/>
              </a:xfrm>
              <a:custGeom>
                <a:avLst/>
                <a:gdLst>
                  <a:gd name="connsiteX0" fmla="*/ 19909 w 26545"/>
                  <a:gd name="connsiteY0" fmla="*/ 13274 h 13274"/>
                  <a:gd name="connsiteX1" fmla="*/ 6637 w 26545"/>
                  <a:gd name="connsiteY1" fmla="*/ 13274 h 13274"/>
                  <a:gd name="connsiteX2" fmla="*/ 0 w 26545"/>
                  <a:gd name="connsiteY2" fmla="*/ 6637 h 13274"/>
                  <a:gd name="connsiteX3" fmla="*/ 6637 w 26545"/>
                  <a:gd name="connsiteY3" fmla="*/ 0 h 13274"/>
                  <a:gd name="connsiteX4" fmla="*/ 19909 w 26545"/>
                  <a:gd name="connsiteY4" fmla="*/ 0 h 13274"/>
                  <a:gd name="connsiteX5" fmla="*/ 26546 w 26545"/>
                  <a:gd name="connsiteY5" fmla="*/ 6637 h 13274"/>
                  <a:gd name="connsiteX6" fmla="*/ 19909 w 26545"/>
                  <a:gd name="connsiteY6" fmla="*/ 13274 h 1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45" h="13274">
                    <a:moveTo>
                      <a:pt x="19909" y="13274"/>
                    </a:moveTo>
                    <a:lnTo>
                      <a:pt x="6637" y="13274"/>
                    </a:lnTo>
                    <a:cubicBezTo>
                      <a:pt x="2970" y="13274"/>
                      <a:pt x="0" y="10304"/>
                      <a:pt x="0" y="6637"/>
                    </a:cubicBezTo>
                    <a:cubicBezTo>
                      <a:pt x="0" y="2973"/>
                      <a:pt x="2967" y="0"/>
                      <a:pt x="6637" y="0"/>
                    </a:cubicBezTo>
                    <a:lnTo>
                      <a:pt x="19909" y="0"/>
                    </a:lnTo>
                    <a:cubicBezTo>
                      <a:pt x="23576" y="0"/>
                      <a:pt x="26546" y="2970"/>
                      <a:pt x="26546" y="6637"/>
                    </a:cubicBezTo>
                    <a:cubicBezTo>
                      <a:pt x="26546" y="10301"/>
                      <a:pt x="23576" y="13274"/>
                      <a:pt x="19909" y="13274"/>
                    </a:cubicBezTo>
                    <a:close/>
                  </a:path>
                </a:pathLst>
              </a:custGeom>
              <a:grpFill/>
              <a:ln w="301" cap="flat">
                <a:noFill/>
                <a:prstDash val="solid"/>
                <a:miter/>
              </a:ln>
            </p:spPr>
            <p:txBody>
              <a:bodyPr rtlCol="0" anchor="ctr"/>
              <a:lstStyle/>
              <a:p>
                <a:endParaRPr lang="en-GB" dirty="0"/>
              </a:p>
            </p:txBody>
          </p:sp>
          <p:sp>
            <p:nvSpPr>
              <p:cNvPr id="282" name="Freihandform: Form 482">
                <a:extLst>
                  <a:ext uri="{FF2B5EF4-FFF2-40B4-BE49-F238E27FC236}">
                    <a16:creationId xmlns:a16="http://schemas.microsoft.com/office/drawing/2014/main" id="{119EE1D1-B81B-4ABE-BB83-CCFACC24E0FB}"/>
                  </a:ext>
                </a:extLst>
              </p:cNvPr>
              <p:cNvSpPr/>
              <p:nvPr/>
            </p:nvSpPr>
            <p:spPr>
              <a:xfrm>
                <a:off x="3694396" y="1785145"/>
                <a:ext cx="92902" cy="106171"/>
              </a:xfrm>
              <a:custGeom>
                <a:avLst/>
                <a:gdLst>
                  <a:gd name="connsiteX0" fmla="*/ 46451 w 92902"/>
                  <a:gd name="connsiteY0" fmla="*/ 106171 h 106171"/>
                  <a:gd name="connsiteX1" fmla="*/ 0 w 92902"/>
                  <a:gd name="connsiteY1" fmla="*/ 53086 h 106171"/>
                  <a:gd name="connsiteX2" fmla="*/ 46451 w 92902"/>
                  <a:gd name="connsiteY2" fmla="*/ 0 h 106171"/>
                  <a:gd name="connsiteX3" fmla="*/ 92903 w 92902"/>
                  <a:gd name="connsiteY3" fmla="*/ 53086 h 106171"/>
                  <a:gd name="connsiteX4" fmla="*/ 46451 w 92902"/>
                  <a:gd name="connsiteY4" fmla="*/ 106171 h 106171"/>
                  <a:gd name="connsiteX5" fmla="*/ 46451 w 92902"/>
                  <a:gd name="connsiteY5" fmla="*/ 13268 h 106171"/>
                  <a:gd name="connsiteX6" fmla="*/ 13272 w 92902"/>
                  <a:gd name="connsiteY6" fmla="*/ 53082 h 106171"/>
                  <a:gd name="connsiteX7" fmla="*/ 46451 w 92902"/>
                  <a:gd name="connsiteY7" fmla="*/ 92897 h 106171"/>
                  <a:gd name="connsiteX8" fmla="*/ 79631 w 92902"/>
                  <a:gd name="connsiteY8" fmla="*/ 53082 h 106171"/>
                  <a:gd name="connsiteX9" fmla="*/ 46451 w 92902"/>
                  <a:gd name="connsiteY9" fmla="*/ 13268 h 10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02" h="106171">
                    <a:moveTo>
                      <a:pt x="46451" y="106171"/>
                    </a:moveTo>
                    <a:cubicBezTo>
                      <a:pt x="18671" y="106171"/>
                      <a:pt x="0" y="84838"/>
                      <a:pt x="0" y="53086"/>
                    </a:cubicBezTo>
                    <a:cubicBezTo>
                      <a:pt x="0" y="21333"/>
                      <a:pt x="18671" y="0"/>
                      <a:pt x="46451" y="0"/>
                    </a:cubicBezTo>
                    <a:cubicBezTo>
                      <a:pt x="74232" y="0"/>
                      <a:pt x="92903" y="21333"/>
                      <a:pt x="92903" y="53086"/>
                    </a:cubicBezTo>
                    <a:cubicBezTo>
                      <a:pt x="92900" y="84838"/>
                      <a:pt x="74232" y="106171"/>
                      <a:pt x="46451" y="106171"/>
                    </a:cubicBezTo>
                    <a:close/>
                    <a:moveTo>
                      <a:pt x="46451" y="13268"/>
                    </a:moveTo>
                    <a:cubicBezTo>
                      <a:pt x="21961" y="13268"/>
                      <a:pt x="13272" y="34716"/>
                      <a:pt x="13272" y="53082"/>
                    </a:cubicBezTo>
                    <a:cubicBezTo>
                      <a:pt x="13272" y="71452"/>
                      <a:pt x="21961" y="92897"/>
                      <a:pt x="46451" y="92897"/>
                    </a:cubicBezTo>
                    <a:cubicBezTo>
                      <a:pt x="70942" y="92897"/>
                      <a:pt x="79631" y="71449"/>
                      <a:pt x="79631" y="53082"/>
                    </a:cubicBezTo>
                    <a:cubicBezTo>
                      <a:pt x="79628" y="34716"/>
                      <a:pt x="70939" y="13268"/>
                      <a:pt x="46451" y="13268"/>
                    </a:cubicBezTo>
                    <a:close/>
                  </a:path>
                </a:pathLst>
              </a:custGeom>
              <a:grpFill/>
              <a:ln w="301" cap="flat">
                <a:noFill/>
                <a:prstDash val="solid"/>
                <a:miter/>
              </a:ln>
            </p:spPr>
            <p:txBody>
              <a:bodyPr rtlCol="0" anchor="ctr"/>
              <a:lstStyle/>
              <a:p>
                <a:endParaRPr lang="en-GB" dirty="0"/>
              </a:p>
            </p:txBody>
          </p:sp>
          <p:sp>
            <p:nvSpPr>
              <p:cNvPr id="283" name="Freihandform: Form 483">
                <a:extLst>
                  <a:ext uri="{FF2B5EF4-FFF2-40B4-BE49-F238E27FC236}">
                    <a16:creationId xmlns:a16="http://schemas.microsoft.com/office/drawing/2014/main" id="{F4226ED4-EDFF-43C9-B154-8A07501538C6}"/>
                  </a:ext>
                </a:extLst>
              </p:cNvPr>
              <p:cNvSpPr/>
              <p:nvPr/>
            </p:nvSpPr>
            <p:spPr>
              <a:xfrm>
                <a:off x="3734210" y="1904584"/>
                <a:ext cx="13274" cy="66359"/>
              </a:xfrm>
              <a:custGeom>
                <a:avLst/>
                <a:gdLst>
                  <a:gd name="connsiteX0" fmla="*/ 6637 w 13274"/>
                  <a:gd name="connsiteY0" fmla="*/ 66360 h 66359"/>
                  <a:gd name="connsiteX1" fmla="*/ 0 w 13274"/>
                  <a:gd name="connsiteY1" fmla="*/ 59723 h 66359"/>
                  <a:gd name="connsiteX2" fmla="*/ 0 w 13274"/>
                  <a:gd name="connsiteY2" fmla="*/ 6637 h 66359"/>
                  <a:gd name="connsiteX3" fmla="*/ 6637 w 13274"/>
                  <a:gd name="connsiteY3" fmla="*/ 0 h 66359"/>
                  <a:gd name="connsiteX4" fmla="*/ 13275 w 13274"/>
                  <a:gd name="connsiteY4" fmla="*/ 6637 h 66359"/>
                  <a:gd name="connsiteX5" fmla="*/ 13275 w 13274"/>
                  <a:gd name="connsiteY5" fmla="*/ 59723 h 66359"/>
                  <a:gd name="connsiteX6" fmla="*/ 6637 w 13274"/>
                  <a:gd name="connsiteY6" fmla="*/ 66360 h 6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74" h="66359">
                    <a:moveTo>
                      <a:pt x="6637" y="66360"/>
                    </a:moveTo>
                    <a:cubicBezTo>
                      <a:pt x="2970" y="66360"/>
                      <a:pt x="0" y="63390"/>
                      <a:pt x="0" y="59723"/>
                    </a:cubicBezTo>
                    <a:lnTo>
                      <a:pt x="0" y="6637"/>
                    </a:lnTo>
                    <a:cubicBezTo>
                      <a:pt x="0" y="2973"/>
                      <a:pt x="2967" y="0"/>
                      <a:pt x="6637" y="0"/>
                    </a:cubicBezTo>
                    <a:cubicBezTo>
                      <a:pt x="10308" y="0"/>
                      <a:pt x="13275" y="2970"/>
                      <a:pt x="13275" y="6637"/>
                    </a:cubicBezTo>
                    <a:lnTo>
                      <a:pt x="13275" y="59723"/>
                    </a:lnTo>
                    <a:cubicBezTo>
                      <a:pt x="13271" y="63390"/>
                      <a:pt x="10304" y="66360"/>
                      <a:pt x="6637" y="66360"/>
                    </a:cubicBezTo>
                    <a:close/>
                  </a:path>
                </a:pathLst>
              </a:custGeom>
              <a:grpFill/>
              <a:ln w="301" cap="flat">
                <a:noFill/>
                <a:prstDash val="solid"/>
                <a:miter/>
              </a:ln>
            </p:spPr>
            <p:txBody>
              <a:bodyPr rtlCol="0" anchor="ctr"/>
              <a:lstStyle/>
              <a:p>
                <a:endParaRPr lang="en-GB" dirty="0"/>
              </a:p>
            </p:txBody>
          </p:sp>
          <p:sp>
            <p:nvSpPr>
              <p:cNvPr id="284" name="Freihandform: Form 484">
                <a:extLst>
                  <a:ext uri="{FF2B5EF4-FFF2-40B4-BE49-F238E27FC236}">
                    <a16:creationId xmlns:a16="http://schemas.microsoft.com/office/drawing/2014/main" id="{20C6DA32-1663-4743-A079-E65865C064A1}"/>
                  </a:ext>
                </a:extLst>
              </p:cNvPr>
              <p:cNvSpPr/>
              <p:nvPr/>
            </p:nvSpPr>
            <p:spPr>
              <a:xfrm>
                <a:off x="3622811" y="1904581"/>
                <a:ext cx="236061" cy="145991"/>
              </a:xfrm>
              <a:custGeom>
                <a:avLst/>
                <a:gdLst>
                  <a:gd name="connsiteX0" fmla="*/ 210951 w 236061"/>
                  <a:gd name="connsiteY0" fmla="*/ 145991 h 145991"/>
                  <a:gd name="connsiteX1" fmla="*/ 25134 w 236061"/>
                  <a:gd name="connsiteY1" fmla="*/ 145991 h 145991"/>
                  <a:gd name="connsiteX2" fmla="*/ 4999 w 236061"/>
                  <a:gd name="connsiteY2" fmla="*/ 136647 h 145991"/>
                  <a:gd name="connsiteX3" fmla="*/ 2219 w 236061"/>
                  <a:gd name="connsiteY3" fmla="*/ 106249 h 145991"/>
                  <a:gd name="connsiteX4" fmla="*/ 22756 w 236061"/>
                  <a:gd name="connsiteY4" fmla="*/ 42651 h 145991"/>
                  <a:gd name="connsiteX5" fmla="*/ 73478 w 236061"/>
                  <a:gd name="connsiteY5" fmla="*/ 0 h 145991"/>
                  <a:gd name="connsiteX6" fmla="*/ 78222 w 236061"/>
                  <a:gd name="connsiteY6" fmla="*/ 0 h 145991"/>
                  <a:gd name="connsiteX7" fmla="*/ 83879 w 236061"/>
                  <a:gd name="connsiteY7" fmla="*/ 3172 h 145991"/>
                  <a:gd name="connsiteX8" fmla="*/ 117849 w 236061"/>
                  <a:gd name="connsiteY8" fmla="*/ 58681 h 145991"/>
                  <a:gd name="connsiteX9" fmla="*/ 118037 w 236061"/>
                  <a:gd name="connsiteY9" fmla="*/ 58998 h 145991"/>
                  <a:gd name="connsiteX10" fmla="*/ 118218 w 236061"/>
                  <a:gd name="connsiteY10" fmla="*/ 58681 h 145991"/>
                  <a:gd name="connsiteX11" fmla="*/ 152194 w 236061"/>
                  <a:gd name="connsiteY11" fmla="*/ 3178 h 145991"/>
                  <a:gd name="connsiteX12" fmla="*/ 157851 w 236061"/>
                  <a:gd name="connsiteY12" fmla="*/ 6 h 145991"/>
                  <a:gd name="connsiteX13" fmla="*/ 162586 w 236061"/>
                  <a:gd name="connsiteY13" fmla="*/ 6 h 145991"/>
                  <a:gd name="connsiteX14" fmla="*/ 213245 w 236061"/>
                  <a:gd name="connsiteY14" fmla="*/ 42473 h 145991"/>
                  <a:gd name="connsiteX15" fmla="*/ 233830 w 236061"/>
                  <a:gd name="connsiteY15" fmla="*/ 106213 h 145991"/>
                  <a:gd name="connsiteX16" fmla="*/ 231083 w 236061"/>
                  <a:gd name="connsiteY16" fmla="*/ 136647 h 145991"/>
                  <a:gd name="connsiteX17" fmla="*/ 210951 w 236061"/>
                  <a:gd name="connsiteY17" fmla="*/ 145991 h 145991"/>
                  <a:gd name="connsiteX18" fmla="*/ 73478 w 236061"/>
                  <a:gd name="connsiteY18" fmla="*/ 13277 h 145991"/>
                  <a:gd name="connsiteX19" fmla="*/ 35321 w 236061"/>
                  <a:gd name="connsiteY19" fmla="*/ 46916 h 145991"/>
                  <a:gd name="connsiteX20" fmla="*/ 14857 w 236061"/>
                  <a:gd name="connsiteY20" fmla="*/ 110291 h 145991"/>
                  <a:gd name="connsiteX21" fmla="*/ 15705 w 236061"/>
                  <a:gd name="connsiteY21" fmla="*/ 128805 h 145991"/>
                  <a:gd name="connsiteX22" fmla="*/ 25134 w 236061"/>
                  <a:gd name="connsiteY22" fmla="*/ 132723 h 145991"/>
                  <a:gd name="connsiteX23" fmla="*/ 210951 w 236061"/>
                  <a:gd name="connsiteY23" fmla="*/ 132723 h 145991"/>
                  <a:gd name="connsiteX24" fmla="*/ 220368 w 236061"/>
                  <a:gd name="connsiteY24" fmla="*/ 128805 h 145991"/>
                  <a:gd name="connsiteX25" fmla="*/ 221213 w 236061"/>
                  <a:gd name="connsiteY25" fmla="*/ 110252 h 145991"/>
                  <a:gd name="connsiteX26" fmla="*/ 200689 w 236061"/>
                  <a:gd name="connsiteY26" fmla="*/ 46732 h 145991"/>
                  <a:gd name="connsiteX27" fmla="*/ 162589 w 236061"/>
                  <a:gd name="connsiteY27" fmla="*/ 13277 h 145991"/>
                  <a:gd name="connsiteX28" fmla="*/ 161572 w 236061"/>
                  <a:gd name="connsiteY28" fmla="*/ 13277 h 145991"/>
                  <a:gd name="connsiteX29" fmla="*/ 129533 w 236061"/>
                  <a:gd name="connsiteY29" fmla="*/ 65614 h 145991"/>
                  <a:gd name="connsiteX30" fmla="*/ 120409 w 236061"/>
                  <a:gd name="connsiteY30" fmla="*/ 67812 h 145991"/>
                  <a:gd name="connsiteX31" fmla="*/ 118037 w 236061"/>
                  <a:gd name="connsiteY31" fmla="*/ 65300 h 145991"/>
                  <a:gd name="connsiteX32" fmla="*/ 115652 w 236061"/>
                  <a:gd name="connsiteY32" fmla="*/ 67812 h 145991"/>
                  <a:gd name="connsiteX33" fmla="*/ 106534 w 236061"/>
                  <a:gd name="connsiteY33" fmla="*/ 65614 h 145991"/>
                  <a:gd name="connsiteX34" fmla="*/ 74501 w 236061"/>
                  <a:gd name="connsiteY34" fmla="*/ 13277 h 145991"/>
                  <a:gd name="connsiteX35" fmla="*/ 73478 w 236061"/>
                  <a:gd name="connsiteY35" fmla="*/ 13277 h 14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6061" h="145991">
                    <a:moveTo>
                      <a:pt x="210951" y="145991"/>
                    </a:moveTo>
                    <a:lnTo>
                      <a:pt x="25134" y="145991"/>
                    </a:lnTo>
                    <a:cubicBezTo>
                      <a:pt x="14150" y="145991"/>
                      <a:pt x="8123" y="140911"/>
                      <a:pt x="4999" y="136647"/>
                    </a:cubicBezTo>
                    <a:cubicBezTo>
                      <a:pt x="-503" y="129146"/>
                      <a:pt x="-1514" y="118063"/>
                      <a:pt x="2219" y="106249"/>
                    </a:cubicBezTo>
                    <a:lnTo>
                      <a:pt x="22756" y="42651"/>
                    </a:lnTo>
                    <a:cubicBezTo>
                      <a:pt x="32824" y="14292"/>
                      <a:pt x="49869" y="0"/>
                      <a:pt x="73478" y="0"/>
                    </a:cubicBezTo>
                    <a:lnTo>
                      <a:pt x="78222" y="0"/>
                    </a:lnTo>
                    <a:cubicBezTo>
                      <a:pt x="80537" y="0"/>
                      <a:pt x="82674" y="1201"/>
                      <a:pt x="83879" y="3172"/>
                    </a:cubicBezTo>
                    <a:lnTo>
                      <a:pt x="117849" y="58681"/>
                    </a:lnTo>
                    <a:cubicBezTo>
                      <a:pt x="117913" y="58784"/>
                      <a:pt x="117979" y="58893"/>
                      <a:pt x="118037" y="58998"/>
                    </a:cubicBezTo>
                    <a:cubicBezTo>
                      <a:pt x="118088" y="58893"/>
                      <a:pt x="118154" y="58784"/>
                      <a:pt x="118218" y="58681"/>
                    </a:cubicBezTo>
                    <a:lnTo>
                      <a:pt x="152194" y="3178"/>
                    </a:lnTo>
                    <a:cubicBezTo>
                      <a:pt x="153399" y="1207"/>
                      <a:pt x="155545" y="6"/>
                      <a:pt x="157851" y="6"/>
                    </a:cubicBezTo>
                    <a:lnTo>
                      <a:pt x="162586" y="6"/>
                    </a:lnTo>
                    <a:cubicBezTo>
                      <a:pt x="186201" y="6"/>
                      <a:pt x="203255" y="14295"/>
                      <a:pt x="213245" y="42473"/>
                    </a:cubicBezTo>
                    <a:lnTo>
                      <a:pt x="233830" y="106213"/>
                    </a:lnTo>
                    <a:cubicBezTo>
                      <a:pt x="237573" y="118066"/>
                      <a:pt x="236577" y="129146"/>
                      <a:pt x="231083" y="136647"/>
                    </a:cubicBezTo>
                    <a:cubicBezTo>
                      <a:pt x="227944" y="140911"/>
                      <a:pt x="221908" y="145991"/>
                      <a:pt x="210951" y="145991"/>
                    </a:cubicBezTo>
                    <a:close/>
                    <a:moveTo>
                      <a:pt x="73478" y="13277"/>
                    </a:moveTo>
                    <a:cubicBezTo>
                      <a:pt x="55597" y="13277"/>
                      <a:pt x="43473" y="23965"/>
                      <a:pt x="35321" y="46916"/>
                    </a:cubicBezTo>
                    <a:lnTo>
                      <a:pt x="14857" y="110291"/>
                    </a:lnTo>
                    <a:cubicBezTo>
                      <a:pt x="12505" y="117758"/>
                      <a:pt x="12822" y="124869"/>
                      <a:pt x="15705" y="128805"/>
                    </a:cubicBezTo>
                    <a:cubicBezTo>
                      <a:pt x="17636" y="131440"/>
                      <a:pt x="20721" y="132723"/>
                      <a:pt x="25134" y="132723"/>
                    </a:cubicBezTo>
                    <a:lnTo>
                      <a:pt x="210951" y="132723"/>
                    </a:lnTo>
                    <a:cubicBezTo>
                      <a:pt x="215358" y="132723"/>
                      <a:pt x="218437" y="131440"/>
                      <a:pt x="220368" y="128805"/>
                    </a:cubicBezTo>
                    <a:cubicBezTo>
                      <a:pt x="223236" y="124869"/>
                      <a:pt x="223568" y="117758"/>
                      <a:pt x="221213" y="110252"/>
                    </a:cubicBezTo>
                    <a:lnTo>
                      <a:pt x="200689" y="46732"/>
                    </a:lnTo>
                    <a:cubicBezTo>
                      <a:pt x="192600" y="23968"/>
                      <a:pt x="180476" y="13277"/>
                      <a:pt x="162589" y="13277"/>
                    </a:cubicBezTo>
                    <a:lnTo>
                      <a:pt x="161572" y="13277"/>
                    </a:lnTo>
                    <a:lnTo>
                      <a:pt x="129533" y="65614"/>
                    </a:lnTo>
                    <a:cubicBezTo>
                      <a:pt x="127623" y="68738"/>
                      <a:pt x="123545" y="69722"/>
                      <a:pt x="120409" y="67812"/>
                    </a:cubicBezTo>
                    <a:cubicBezTo>
                      <a:pt x="119371" y="67178"/>
                      <a:pt x="118568" y="66303"/>
                      <a:pt x="118037" y="65300"/>
                    </a:cubicBezTo>
                    <a:cubicBezTo>
                      <a:pt x="117493" y="66303"/>
                      <a:pt x="116696" y="67178"/>
                      <a:pt x="115652" y="67812"/>
                    </a:cubicBezTo>
                    <a:cubicBezTo>
                      <a:pt x="112534" y="69722"/>
                      <a:pt x="108447" y="68738"/>
                      <a:pt x="106534" y="65614"/>
                    </a:cubicBezTo>
                    <a:lnTo>
                      <a:pt x="74501" y="13277"/>
                    </a:lnTo>
                    <a:lnTo>
                      <a:pt x="73478" y="13277"/>
                    </a:lnTo>
                    <a:close/>
                  </a:path>
                </a:pathLst>
              </a:custGeom>
              <a:grpFill/>
              <a:ln w="301" cap="flat">
                <a:noFill/>
                <a:prstDash val="solid"/>
                <a:miter/>
              </a:ln>
            </p:spPr>
            <p:txBody>
              <a:bodyPr rtlCol="0" anchor="ctr"/>
              <a:lstStyle/>
              <a:p>
                <a:endParaRPr lang="en-GB" dirty="0"/>
              </a:p>
            </p:txBody>
          </p:sp>
          <p:grpSp>
            <p:nvGrpSpPr>
              <p:cNvPr id="285" name="Grafik 342">
                <a:extLst>
                  <a:ext uri="{FF2B5EF4-FFF2-40B4-BE49-F238E27FC236}">
                    <a16:creationId xmlns:a16="http://schemas.microsoft.com/office/drawing/2014/main" id="{ECAEB783-7717-41B2-BC03-C55B6159235A}"/>
                  </a:ext>
                </a:extLst>
              </p:cNvPr>
              <p:cNvGrpSpPr/>
              <p:nvPr/>
            </p:nvGrpSpPr>
            <p:grpSpPr>
              <a:xfrm>
                <a:off x="3671306" y="1759151"/>
                <a:ext cx="138110" cy="112811"/>
                <a:chOff x="3671306" y="1759151"/>
                <a:chExt cx="138110" cy="112811"/>
              </a:xfrm>
              <a:grpFill/>
            </p:grpSpPr>
            <p:sp>
              <p:nvSpPr>
                <p:cNvPr id="286" name="Freihandform: Form 486">
                  <a:extLst>
                    <a:ext uri="{FF2B5EF4-FFF2-40B4-BE49-F238E27FC236}">
                      <a16:creationId xmlns:a16="http://schemas.microsoft.com/office/drawing/2014/main" id="{DF954EF9-BD57-45EB-964A-D8E39251EADD}"/>
                    </a:ext>
                  </a:extLst>
                </p:cNvPr>
                <p:cNvSpPr/>
                <p:nvPr/>
              </p:nvSpPr>
              <p:spPr>
                <a:xfrm>
                  <a:off x="3671306" y="1798965"/>
                  <a:ext cx="46454" cy="53088"/>
                </a:xfrm>
                <a:custGeom>
                  <a:avLst/>
                  <a:gdLst>
                    <a:gd name="connsiteX0" fmla="*/ 29033 w 46454"/>
                    <a:gd name="connsiteY0" fmla="*/ 53089 h 53088"/>
                    <a:gd name="connsiteX1" fmla="*/ 21801 w 46454"/>
                    <a:gd name="connsiteY1" fmla="*/ 53089 h 53088"/>
                    <a:gd name="connsiteX2" fmla="*/ 0 w 46454"/>
                    <a:gd name="connsiteY2" fmla="*/ 31287 h 53088"/>
                    <a:gd name="connsiteX3" fmla="*/ 0 w 46454"/>
                    <a:gd name="connsiteY3" fmla="*/ 21801 h 53088"/>
                    <a:gd name="connsiteX4" fmla="*/ 21801 w 46454"/>
                    <a:gd name="connsiteY4" fmla="*/ 0 h 53088"/>
                    <a:gd name="connsiteX5" fmla="*/ 39817 w 46454"/>
                    <a:gd name="connsiteY5" fmla="*/ 0 h 53088"/>
                    <a:gd name="connsiteX6" fmla="*/ 46454 w 46454"/>
                    <a:gd name="connsiteY6" fmla="*/ 6637 h 53088"/>
                    <a:gd name="connsiteX7" fmla="*/ 39817 w 46454"/>
                    <a:gd name="connsiteY7" fmla="*/ 13274 h 53088"/>
                    <a:gd name="connsiteX8" fmla="*/ 21801 w 46454"/>
                    <a:gd name="connsiteY8" fmla="*/ 13274 h 53088"/>
                    <a:gd name="connsiteX9" fmla="*/ 13275 w 46454"/>
                    <a:gd name="connsiteY9" fmla="*/ 21801 h 53088"/>
                    <a:gd name="connsiteX10" fmla="*/ 13275 w 46454"/>
                    <a:gd name="connsiteY10" fmla="*/ 31287 h 53088"/>
                    <a:gd name="connsiteX11" fmla="*/ 21801 w 46454"/>
                    <a:gd name="connsiteY11" fmla="*/ 39814 h 53088"/>
                    <a:gd name="connsiteX12" fmla="*/ 29033 w 46454"/>
                    <a:gd name="connsiteY12" fmla="*/ 39814 h 53088"/>
                    <a:gd name="connsiteX13" fmla="*/ 35670 w 46454"/>
                    <a:gd name="connsiteY13" fmla="*/ 46451 h 53088"/>
                    <a:gd name="connsiteX14" fmla="*/ 29033 w 46454"/>
                    <a:gd name="connsiteY14" fmla="*/ 53089 h 5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454" h="53088">
                      <a:moveTo>
                        <a:pt x="29033" y="53089"/>
                      </a:moveTo>
                      <a:lnTo>
                        <a:pt x="21801" y="53089"/>
                      </a:lnTo>
                      <a:cubicBezTo>
                        <a:pt x="9779" y="53089"/>
                        <a:pt x="0" y="43309"/>
                        <a:pt x="0" y="31287"/>
                      </a:cubicBezTo>
                      <a:lnTo>
                        <a:pt x="0" y="21801"/>
                      </a:lnTo>
                      <a:cubicBezTo>
                        <a:pt x="0" y="9779"/>
                        <a:pt x="9779" y="0"/>
                        <a:pt x="21801" y="0"/>
                      </a:cubicBezTo>
                      <a:lnTo>
                        <a:pt x="39817" y="0"/>
                      </a:lnTo>
                      <a:cubicBezTo>
                        <a:pt x="43484" y="0"/>
                        <a:pt x="46454" y="2970"/>
                        <a:pt x="46454" y="6637"/>
                      </a:cubicBezTo>
                      <a:cubicBezTo>
                        <a:pt x="46454" y="10301"/>
                        <a:pt x="43487" y="13274"/>
                        <a:pt x="39817" y="13274"/>
                      </a:cubicBezTo>
                      <a:lnTo>
                        <a:pt x="21801" y="13274"/>
                      </a:lnTo>
                      <a:cubicBezTo>
                        <a:pt x="17096" y="13274"/>
                        <a:pt x="13275" y="17102"/>
                        <a:pt x="13275" y="21801"/>
                      </a:cubicBezTo>
                      <a:lnTo>
                        <a:pt x="13275" y="31287"/>
                      </a:lnTo>
                      <a:cubicBezTo>
                        <a:pt x="13275" y="35990"/>
                        <a:pt x="17099" y="39814"/>
                        <a:pt x="21801" y="39814"/>
                      </a:cubicBezTo>
                      <a:lnTo>
                        <a:pt x="29033" y="39814"/>
                      </a:lnTo>
                      <a:cubicBezTo>
                        <a:pt x="32700" y="39814"/>
                        <a:pt x="35670" y="42784"/>
                        <a:pt x="35670" y="46451"/>
                      </a:cubicBezTo>
                      <a:cubicBezTo>
                        <a:pt x="35667" y="50119"/>
                        <a:pt x="32700" y="53089"/>
                        <a:pt x="29033" y="53089"/>
                      </a:cubicBezTo>
                      <a:close/>
                    </a:path>
                  </a:pathLst>
                </a:custGeom>
                <a:grpFill/>
                <a:ln w="301" cap="flat">
                  <a:noFill/>
                  <a:prstDash val="solid"/>
                  <a:miter/>
                </a:ln>
              </p:spPr>
              <p:txBody>
                <a:bodyPr rtlCol="0" anchor="ctr"/>
                <a:lstStyle/>
                <a:p>
                  <a:endParaRPr lang="en-GB" dirty="0"/>
                </a:p>
              </p:txBody>
            </p:sp>
            <p:sp>
              <p:nvSpPr>
                <p:cNvPr id="287" name="Freihandform: Form 487">
                  <a:extLst>
                    <a:ext uri="{FF2B5EF4-FFF2-40B4-BE49-F238E27FC236}">
                      <a16:creationId xmlns:a16="http://schemas.microsoft.com/office/drawing/2014/main" id="{44EA9063-CFD2-41A8-AD57-87528C2AB72B}"/>
                    </a:ext>
                  </a:extLst>
                </p:cNvPr>
                <p:cNvSpPr/>
                <p:nvPr/>
              </p:nvSpPr>
              <p:spPr>
                <a:xfrm>
                  <a:off x="3765866" y="1798965"/>
                  <a:ext cx="43550" cy="53088"/>
                </a:xfrm>
                <a:custGeom>
                  <a:avLst/>
                  <a:gdLst>
                    <a:gd name="connsiteX0" fmla="*/ 21750 w 43550"/>
                    <a:gd name="connsiteY0" fmla="*/ 53089 h 53088"/>
                    <a:gd name="connsiteX1" fmla="*/ 17005 w 43550"/>
                    <a:gd name="connsiteY1" fmla="*/ 53089 h 53088"/>
                    <a:gd name="connsiteX2" fmla="*/ 10368 w 43550"/>
                    <a:gd name="connsiteY2" fmla="*/ 46451 h 53088"/>
                    <a:gd name="connsiteX3" fmla="*/ 17005 w 43550"/>
                    <a:gd name="connsiteY3" fmla="*/ 39814 h 53088"/>
                    <a:gd name="connsiteX4" fmla="*/ 21750 w 43550"/>
                    <a:gd name="connsiteY4" fmla="*/ 39814 h 53088"/>
                    <a:gd name="connsiteX5" fmla="*/ 30277 w 43550"/>
                    <a:gd name="connsiteY5" fmla="*/ 31287 h 53088"/>
                    <a:gd name="connsiteX6" fmla="*/ 30277 w 43550"/>
                    <a:gd name="connsiteY6" fmla="*/ 21801 h 53088"/>
                    <a:gd name="connsiteX7" fmla="*/ 21750 w 43550"/>
                    <a:gd name="connsiteY7" fmla="*/ 13274 h 53088"/>
                    <a:gd name="connsiteX8" fmla="*/ 6637 w 43550"/>
                    <a:gd name="connsiteY8" fmla="*/ 13274 h 53088"/>
                    <a:gd name="connsiteX9" fmla="*/ 0 w 43550"/>
                    <a:gd name="connsiteY9" fmla="*/ 6637 h 53088"/>
                    <a:gd name="connsiteX10" fmla="*/ 6637 w 43550"/>
                    <a:gd name="connsiteY10" fmla="*/ 0 h 53088"/>
                    <a:gd name="connsiteX11" fmla="*/ 21750 w 43550"/>
                    <a:gd name="connsiteY11" fmla="*/ 0 h 53088"/>
                    <a:gd name="connsiteX12" fmla="*/ 43551 w 43550"/>
                    <a:gd name="connsiteY12" fmla="*/ 21801 h 53088"/>
                    <a:gd name="connsiteX13" fmla="*/ 43551 w 43550"/>
                    <a:gd name="connsiteY13" fmla="*/ 31287 h 53088"/>
                    <a:gd name="connsiteX14" fmla="*/ 21750 w 43550"/>
                    <a:gd name="connsiteY14" fmla="*/ 53089 h 5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3550" h="53088">
                      <a:moveTo>
                        <a:pt x="21750" y="53089"/>
                      </a:moveTo>
                      <a:lnTo>
                        <a:pt x="17005" y="53089"/>
                      </a:lnTo>
                      <a:cubicBezTo>
                        <a:pt x="13338" y="53089"/>
                        <a:pt x="10368" y="50119"/>
                        <a:pt x="10368" y="46451"/>
                      </a:cubicBezTo>
                      <a:cubicBezTo>
                        <a:pt x="10368" y="42787"/>
                        <a:pt x="13335" y="39814"/>
                        <a:pt x="17005" y="39814"/>
                      </a:cubicBezTo>
                      <a:lnTo>
                        <a:pt x="21750" y="39814"/>
                      </a:lnTo>
                      <a:cubicBezTo>
                        <a:pt x="26455" y="39814"/>
                        <a:pt x="30277" y="35987"/>
                        <a:pt x="30277" y="31287"/>
                      </a:cubicBezTo>
                      <a:lnTo>
                        <a:pt x="30277" y="21801"/>
                      </a:lnTo>
                      <a:cubicBezTo>
                        <a:pt x="30277" y="17099"/>
                        <a:pt x="26452" y="13274"/>
                        <a:pt x="21750" y="13274"/>
                      </a:cubicBezTo>
                      <a:lnTo>
                        <a:pt x="6637" y="13274"/>
                      </a:lnTo>
                      <a:cubicBezTo>
                        <a:pt x="2970" y="13274"/>
                        <a:pt x="0" y="10304"/>
                        <a:pt x="0" y="6637"/>
                      </a:cubicBezTo>
                      <a:cubicBezTo>
                        <a:pt x="0" y="2973"/>
                        <a:pt x="2967" y="0"/>
                        <a:pt x="6637" y="0"/>
                      </a:cubicBezTo>
                      <a:lnTo>
                        <a:pt x="21750" y="0"/>
                      </a:lnTo>
                      <a:cubicBezTo>
                        <a:pt x="33772" y="0"/>
                        <a:pt x="43551" y="9779"/>
                        <a:pt x="43551" y="21801"/>
                      </a:cubicBezTo>
                      <a:lnTo>
                        <a:pt x="43551" y="31287"/>
                      </a:lnTo>
                      <a:cubicBezTo>
                        <a:pt x="43548" y="43309"/>
                        <a:pt x="33768" y="53089"/>
                        <a:pt x="21750" y="53089"/>
                      </a:cubicBezTo>
                      <a:close/>
                    </a:path>
                  </a:pathLst>
                </a:custGeom>
                <a:grpFill/>
                <a:ln w="301" cap="flat">
                  <a:noFill/>
                  <a:prstDash val="solid"/>
                  <a:miter/>
                </a:ln>
              </p:spPr>
              <p:txBody>
                <a:bodyPr rtlCol="0" anchor="ctr"/>
                <a:lstStyle/>
                <a:p>
                  <a:endParaRPr lang="en-GB" dirty="0"/>
                </a:p>
              </p:txBody>
            </p:sp>
            <p:sp>
              <p:nvSpPr>
                <p:cNvPr id="288" name="Freihandform: Form 488">
                  <a:extLst>
                    <a:ext uri="{FF2B5EF4-FFF2-40B4-BE49-F238E27FC236}">
                      <a16:creationId xmlns:a16="http://schemas.microsoft.com/office/drawing/2014/main" id="{A3CA140F-650F-4A9C-86B7-7CF3986EE287}"/>
                    </a:ext>
                  </a:extLst>
                </p:cNvPr>
                <p:cNvSpPr/>
                <p:nvPr/>
              </p:nvSpPr>
              <p:spPr>
                <a:xfrm>
                  <a:off x="3684571" y="1759151"/>
                  <a:ext cx="112811" cy="53088"/>
                </a:xfrm>
                <a:custGeom>
                  <a:avLst/>
                  <a:gdLst>
                    <a:gd name="connsiteX0" fmla="*/ 106180 w 112811"/>
                    <a:gd name="connsiteY0" fmla="*/ 53089 h 53088"/>
                    <a:gd name="connsiteX1" fmla="*/ 99543 w 112811"/>
                    <a:gd name="connsiteY1" fmla="*/ 46451 h 53088"/>
                    <a:gd name="connsiteX2" fmla="*/ 66363 w 112811"/>
                    <a:gd name="connsiteY2" fmla="*/ 13271 h 53088"/>
                    <a:gd name="connsiteX3" fmla="*/ 46454 w 112811"/>
                    <a:gd name="connsiteY3" fmla="*/ 13271 h 53088"/>
                    <a:gd name="connsiteX4" fmla="*/ 13275 w 112811"/>
                    <a:gd name="connsiteY4" fmla="*/ 46451 h 53088"/>
                    <a:gd name="connsiteX5" fmla="*/ 6637 w 112811"/>
                    <a:gd name="connsiteY5" fmla="*/ 53089 h 53088"/>
                    <a:gd name="connsiteX6" fmla="*/ 0 w 112811"/>
                    <a:gd name="connsiteY6" fmla="*/ 46451 h 53088"/>
                    <a:gd name="connsiteX7" fmla="*/ 46451 w 112811"/>
                    <a:gd name="connsiteY7" fmla="*/ 0 h 53088"/>
                    <a:gd name="connsiteX8" fmla="*/ 66360 w 112811"/>
                    <a:gd name="connsiteY8" fmla="*/ 0 h 53088"/>
                    <a:gd name="connsiteX9" fmla="*/ 112811 w 112811"/>
                    <a:gd name="connsiteY9" fmla="*/ 46451 h 53088"/>
                    <a:gd name="connsiteX10" fmla="*/ 106180 w 112811"/>
                    <a:gd name="connsiteY10" fmla="*/ 53089 h 53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811" h="53088">
                      <a:moveTo>
                        <a:pt x="106180" y="53089"/>
                      </a:moveTo>
                      <a:cubicBezTo>
                        <a:pt x="102513" y="53089"/>
                        <a:pt x="99543" y="50119"/>
                        <a:pt x="99543" y="46451"/>
                      </a:cubicBezTo>
                      <a:cubicBezTo>
                        <a:pt x="99543" y="28158"/>
                        <a:pt x="84657" y="13271"/>
                        <a:pt x="66363" y="13271"/>
                      </a:cubicBezTo>
                      <a:lnTo>
                        <a:pt x="46454" y="13271"/>
                      </a:lnTo>
                      <a:cubicBezTo>
                        <a:pt x="28160" y="13271"/>
                        <a:pt x="13275" y="28158"/>
                        <a:pt x="13275" y="46451"/>
                      </a:cubicBezTo>
                      <a:cubicBezTo>
                        <a:pt x="13275" y="50116"/>
                        <a:pt x="10308" y="53089"/>
                        <a:pt x="6637" y="53089"/>
                      </a:cubicBezTo>
                      <a:cubicBezTo>
                        <a:pt x="2970" y="53089"/>
                        <a:pt x="0" y="50119"/>
                        <a:pt x="0" y="46451"/>
                      </a:cubicBezTo>
                      <a:cubicBezTo>
                        <a:pt x="0" y="20838"/>
                        <a:pt x="20841" y="0"/>
                        <a:pt x="46451" y="0"/>
                      </a:cubicBezTo>
                      <a:lnTo>
                        <a:pt x="66360" y="0"/>
                      </a:lnTo>
                      <a:cubicBezTo>
                        <a:pt x="91970" y="0"/>
                        <a:pt x="112811" y="20838"/>
                        <a:pt x="112811" y="46451"/>
                      </a:cubicBezTo>
                      <a:cubicBezTo>
                        <a:pt x="112814" y="50116"/>
                        <a:pt x="109847" y="53089"/>
                        <a:pt x="106180" y="53089"/>
                      </a:cubicBezTo>
                      <a:close/>
                    </a:path>
                  </a:pathLst>
                </a:custGeom>
                <a:grpFill/>
                <a:ln w="301" cap="flat">
                  <a:noFill/>
                  <a:prstDash val="solid"/>
                  <a:miter/>
                </a:ln>
              </p:spPr>
              <p:txBody>
                <a:bodyPr rtlCol="0" anchor="ctr"/>
                <a:lstStyle/>
                <a:p>
                  <a:endParaRPr lang="en-GB" dirty="0"/>
                </a:p>
              </p:txBody>
            </p:sp>
            <p:sp>
              <p:nvSpPr>
                <p:cNvPr id="289" name="Freihandform: Form 489">
                  <a:extLst>
                    <a:ext uri="{FF2B5EF4-FFF2-40B4-BE49-F238E27FC236}">
                      <a16:creationId xmlns:a16="http://schemas.microsoft.com/office/drawing/2014/main" id="{C1A916F2-DBF1-4FFC-BF80-129BB0DC9143}"/>
                    </a:ext>
                  </a:extLst>
                </p:cNvPr>
                <p:cNvSpPr/>
                <p:nvPr/>
              </p:nvSpPr>
              <p:spPr>
                <a:xfrm>
                  <a:off x="3677940" y="1838780"/>
                  <a:ext cx="53091" cy="33182"/>
                </a:xfrm>
                <a:custGeom>
                  <a:avLst/>
                  <a:gdLst>
                    <a:gd name="connsiteX0" fmla="*/ 46451 w 53091"/>
                    <a:gd name="connsiteY0" fmla="*/ 33183 h 33182"/>
                    <a:gd name="connsiteX1" fmla="*/ 6637 w 53091"/>
                    <a:gd name="connsiteY1" fmla="*/ 33183 h 33182"/>
                    <a:gd name="connsiteX2" fmla="*/ 0 w 53091"/>
                    <a:gd name="connsiteY2" fmla="*/ 26546 h 33182"/>
                    <a:gd name="connsiteX3" fmla="*/ 0 w 53091"/>
                    <a:gd name="connsiteY3" fmla="*/ 6637 h 33182"/>
                    <a:gd name="connsiteX4" fmla="*/ 6637 w 53091"/>
                    <a:gd name="connsiteY4" fmla="*/ 0 h 33182"/>
                    <a:gd name="connsiteX5" fmla="*/ 13274 w 53091"/>
                    <a:gd name="connsiteY5" fmla="*/ 6637 h 33182"/>
                    <a:gd name="connsiteX6" fmla="*/ 13274 w 53091"/>
                    <a:gd name="connsiteY6" fmla="*/ 19909 h 33182"/>
                    <a:gd name="connsiteX7" fmla="*/ 46454 w 53091"/>
                    <a:gd name="connsiteY7" fmla="*/ 19909 h 33182"/>
                    <a:gd name="connsiteX8" fmla="*/ 53091 w 53091"/>
                    <a:gd name="connsiteY8" fmla="*/ 26546 h 33182"/>
                    <a:gd name="connsiteX9" fmla="*/ 46451 w 53091"/>
                    <a:gd name="connsiteY9" fmla="*/ 33183 h 3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091" h="33182">
                      <a:moveTo>
                        <a:pt x="46451" y="33183"/>
                      </a:moveTo>
                      <a:lnTo>
                        <a:pt x="6637" y="33183"/>
                      </a:lnTo>
                      <a:cubicBezTo>
                        <a:pt x="2970" y="33183"/>
                        <a:pt x="0" y="30213"/>
                        <a:pt x="0" y="26546"/>
                      </a:cubicBezTo>
                      <a:lnTo>
                        <a:pt x="0" y="6637"/>
                      </a:lnTo>
                      <a:cubicBezTo>
                        <a:pt x="0" y="2973"/>
                        <a:pt x="2967" y="0"/>
                        <a:pt x="6637" y="0"/>
                      </a:cubicBezTo>
                      <a:cubicBezTo>
                        <a:pt x="10304" y="0"/>
                        <a:pt x="13274" y="2970"/>
                        <a:pt x="13274" y="6637"/>
                      </a:cubicBezTo>
                      <a:lnTo>
                        <a:pt x="13274" y="19909"/>
                      </a:lnTo>
                      <a:lnTo>
                        <a:pt x="46454" y="19909"/>
                      </a:lnTo>
                      <a:cubicBezTo>
                        <a:pt x="50121" y="19909"/>
                        <a:pt x="53091" y="22879"/>
                        <a:pt x="53091" y="26546"/>
                      </a:cubicBezTo>
                      <a:cubicBezTo>
                        <a:pt x="53088" y="30210"/>
                        <a:pt x="50121" y="33183"/>
                        <a:pt x="46451" y="33183"/>
                      </a:cubicBezTo>
                      <a:close/>
                    </a:path>
                  </a:pathLst>
                </a:custGeom>
                <a:grpFill/>
                <a:ln w="301" cap="flat">
                  <a:noFill/>
                  <a:prstDash val="solid"/>
                  <a:miter/>
                </a:ln>
              </p:spPr>
              <p:txBody>
                <a:bodyPr rtlCol="0" anchor="ctr"/>
                <a:lstStyle/>
                <a:p>
                  <a:endParaRPr lang="en-GB" dirty="0"/>
                </a:p>
              </p:txBody>
            </p:sp>
          </p:grpSp>
        </p:grpSp>
        <p:grpSp>
          <p:nvGrpSpPr>
            <p:cNvPr id="275" name="Grafik 342">
              <a:extLst>
                <a:ext uri="{FF2B5EF4-FFF2-40B4-BE49-F238E27FC236}">
                  <a16:creationId xmlns:a16="http://schemas.microsoft.com/office/drawing/2014/main" id="{BC7532B2-46BF-46F0-9BE7-1DDBFB587D9A}"/>
                </a:ext>
              </a:extLst>
            </p:cNvPr>
            <p:cNvGrpSpPr/>
            <p:nvPr/>
          </p:nvGrpSpPr>
          <p:grpSpPr>
            <a:xfrm>
              <a:off x="581205" y="4040086"/>
              <a:ext cx="246134" cy="193926"/>
              <a:chOff x="3500849" y="1667909"/>
              <a:chExt cx="218982" cy="172533"/>
            </a:xfrm>
            <a:solidFill>
              <a:schemeClr val="accent1"/>
            </a:solidFill>
          </p:grpSpPr>
          <p:sp>
            <p:nvSpPr>
              <p:cNvPr id="276" name="Freihandform: Form 491">
                <a:extLst>
                  <a:ext uri="{FF2B5EF4-FFF2-40B4-BE49-F238E27FC236}">
                    <a16:creationId xmlns:a16="http://schemas.microsoft.com/office/drawing/2014/main" id="{5D5B2F66-284C-41ED-B1CD-8E177A354539}"/>
                  </a:ext>
                </a:extLst>
              </p:cNvPr>
              <p:cNvSpPr/>
              <p:nvPr/>
            </p:nvSpPr>
            <p:spPr>
              <a:xfrm>
                <a:off x="3500849" y="1667909"/>
                <a:ext cx="218982" cy="172533"/>
              </a:xfrm>
              <a:custGeom>
                <a:avLst/>
                <a:gdLst>
                  <a:gd name="connsiteX0" fmla="*/ 119445 w 218982"/>
                  <a:gd name="connsiteY0" fmla="*/ 172534 h 172533"/>
                  <a:gd name="connsiteX1" fmla="*/ 115467 w 218982"/>
                  <a:gd name="connsiteY1" fmla="*/ 171206 h 172533"/>
                  <a:gd name="connsiteX2" fmla="*/ 64151 w 218982"/>
                  <a:gd name="connsiteY2" fmla="*/ 132720 h 172533"/>
                  <a:gd name="connsiteX3" fmla="*/ 19909 w 218982"/>
                  <a:gd name="connsiteY3" fmla="*/ 132720 h 172533"/>
                  <a:gd name="connsiteX4" fmla="*/ 0 w 218982"/>
                  <a:gd name="connsiteY4" fmla="*/ 112811 h 172533"/>
                  <a:gd name="connsiteX5" fmla="*/ 0 w 218982"/>
                  <a:gd name="connsiteY5" fmla="*/ 19909 h 172533"/>
                  <a:gd name="connsiteX6" fmla="*/ 19909 w 218982"/>
                  <a:gd name="connsiteY6" fmla="*/ 0 h 172533"/>
                  <a:gd name="connsiteX7" fmla="*/ 199074 w 218982"/>
                  <a:gd name="connsiteY7" fmla="*/ 0 h 172533"/>
                  <a:gd name="connsiteX8" fmla="*/ 218982 w 218982"/>
                  <a:gd name="connsiteY8" fmla="*/ 19909 h 172533"/>
                  <a:gd name="connsiteX9" fmla="*/ 218982 w 218982"/>
                  <a:gd name="connsiteY9" fmla="*/ 73000 h 172533"/>
                  <a:gd name="connsiteX10" fmla="*/ 212345 w 218982"/>
                  <a:gd name="connsiteY10" fmla="*/ 79637 h 172533"/>
                  <a:gd name="connsiteX11" fmla="*/ 205708 w 218982"/>
                  <a:gd name="connsiteY11" fmla="*/ 73000 h 172533"/>
                  <a:gd name="connsiteX12" fmla="*/ 205708 w 218982"/>
                  <a:gd name="connsiteY12" fmla="*/ 19909 h 172533"/>
                  <a:gd name="connsiteX13" fmla="*/ 199071 w 218982"/>
                  <a:gd name="connsiteY13" fmla="*/ 13271 h 172533"/>
                  <a:gd name="connsiteX14" fmla="*/ 19906 w 218982"/>
                  <a:gd name="connsiteY14" fmla="*/ 13271 h 172533"/>
                  <a:gd name="connsiteX15" fmla="*/ 13268 w 218982"/>
                  <a:gd name="connsiteY15" fmla="*/ 19909 h 172533"/>
                  <a:gd name="connsiteX16" fmla="*/ 13268 w 218982"/>
                  <a:gd name="connsiteY16" fmla="*/ 112811 h 172533"/>
                  <a:gd name="connsiteX17" fmla="*/ 19906 w 218982"/>
                  <a:gd name="connsiteY17" fmla="*/ 119448 h 172533"/>
                  <a:gd name="connsiteX18" fmla="*/ 66357 w 218982"/>
                  <a:gd name="connsiteY18" fmla="*/ 119448 h 172533"/>
                  <a:gd name="connsiteX19" fmla="*/ 70335 w 218982"/>
                  <a:gd name="connsiteY19" fmla="*/ 120776 h 172533"/>
                  <a:gd name="connsiteX20" fmla="*/ 112805 w 218982"/>
                  <a:gd name="connsiteY20" fmla="*/ 152628 h 172533"/>
                  <a:gd name="connsiteX21" fmla="*/ 112805 w 218982"/>
                  <a:gd name="connsiteY21" fmla="*/ 126086 h 172533"/>
                  <a:gd name="connsiteX22" fmla="*/ 119443 w 218982"/>
                  <a:gd name="connsiteY22" fmla="*/ 119448 h 172533"/>
                  <a:gd name="connsiteX23" fmla="*/ 165894 w 218982"/>
                  <a:gd name="connsiteY23" fmla="*/ 119448 h 172533"/>
                  <a:gd name="connsiteX24" fmla="*/ 172531 w 218982"/>
                  <a:gd name="connsiteY24" fmla="*/ 126086 h 172533"/>
                  <a:gd name="connsiteX25" fmla="*/ 165894 w 218982"/>
                  <a:gd name="connsiteY25" fmla="*/ 132723 h 172533"/>
                  <a:gd name="connsiteX26" fmla="*/ 126080 w 218982"/>
                  <a:gd name="connsiteY26" fmla="*/ 132723 h 172533"/>
                  <a:gd name="connsiteX27" fmla="*/ 126080 w 218982"/>
                  <a:gd name="connsiteY27" fmla="*/ 165903 h 172533"/>
                  <a:gd name="connsiteX28" fmla="*/ 122412 w 218982"/>
                  <a:gd name="connsiteY28" fmla="*/ 171840 h 172533"/>
                  <a:gd name="connsiteX29" fmla="*/ 119445 w 218982"/>
                  <a:gd name="connsiteY29" fmla="*/ 172534 h 17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8982" h="172533">
                    <a:moveTo>
                      <a:pt x="119445" y="172534"/>
                    </a:moveTo>
                    <a:cubicBezTo>
                      <a:pt x="118039" y="172534"/>
                      <a:pt x="116632" y="172084"/>
                      <a:pt x="115467" y="171206"/>
                    </a:cubicBezTo>
                    <a:lnTo>
                      <a:pt x="64151" y="132720"/>
                    </a:lnTo>
                    <a:lnTo>
                      <a:pt x="19909" y="132720"/>
                    </a:lnTo>
                    <a:cubicBezTo>
                      <a:pt x="8931" y="132720"/>
                      <a:pt x="0" y="123789"/>
                      <a:pt x="0" y="112811"/>
                    </a:cubicBezTo>
                    <a:lnTo>
                      <a:pt x="0" y="19909"/>
                    </a:lnTo>
                    <a:cubicBezTo>
                      <a:pt x="0" y="8931"/>
                      <a:pt x="8931" y="0"/>
                      <a:pt x="19909" y="0"/>
                    </a:cubicBezTo>
                    <a:lnTo>
                      <a:pt x="199074" y="0"/>
                    </a:lnTo>
                    <a:cubicBezTo>
                      <a:pt x="210051" y="0"/>
                      <a:pt x="218982" y="8931"/>
                      <a:pt x="218982" y="19909"/>
                    </a:cubicBezTo>
                    <a:lnTo>
                      <a:pt x="218982" y="73000"/>
                    </a:lnTo>
                    <a:cubicBezTo>
                      <a:pt x="218982" y="76664"/>
                      <a:pt x="216015" y="79637"/>
                      <a:pt x="212345" y="79637"/>
                    </a:cubicBezTo>
                    <a:cubicBezTo>
                      <a:pt x="208678" y="79637"/>
                      <a:pt x="205708" y="76667"/>
                      <a:pt x="205708" y="73000"/>
                    </a:cubicBezTo>
                    <a:lnTo>
                      <a:pt x="205708" y="19909"/>
                    </a:lnTo>
                    <a:cubicBezTo>
                      <a:pt x="205708" y="16250"/>
                      <a:pt x="202732" y="13271"/>
                      <a:pt x="199071" y="13271"/>
                    </a:cubicBezTo>
                    <a:lnTo>
                      <a:pt x="19906" y="13271"/>
                    </a:lnTo>
                    <a:cubicBezTo>
                      <a:pt x="16244" y="13271"/>
                      <a:pt x="13268" y="16250"/>
                      <a:pt x="13268" y="19909"/>
                    </a:cubicBezTo>
                    <a:lnTo>
                      <a:pt x="13268" y="112811"/>
                    </a:lnTo>
                    <a:cubicBezTo>
                      <a:pt x="13268" y="116469"/>
                      <a:pt x="16242" y="119448"/>
                      <a:pt x="19906" y="119448"/>
                    </a:cubicBezTo>
                    <a:lnTo>
                      <a:pt x="66357" y="119448"/>
                    </a:lnTo>
                    <a:cubicBezTo>
                      <a:pt x="67797" y="119448"/>
                      <a:pt x="69188" y="119916"/>
                      <a:pt x="70335" y="120776"/>
                    </a:cubicBezTo>
                    <a:lnTo>
                      <a:pt x="112805" y="152628"/>
                    </a:lnTo>
                    <a:lnTo>
                      <a:pt x="112805" y="126086"/>
                    </a:lnTo>
                    <a:cubicBezTo>
                      <a:pt x="112805" y="122421"/>
                      <a:pt x="115772" y="119448"/>
                      <a:pt x="119443" y="119448"/>
                    </a:cubicBezTo>
                    <a:lnTo>
                      <a:pt x="165894" y="119448"/>
                    </a:lnTo>
                    <a:cubicBezTo>
                      <a:pt x="169561" y="119448"/>
                      <a:pt x="172531" y="122418"/>
                      <a:pt x="172531" y="126086"/>
                    </a:cubicBezTo>
                    <a:cubicBezTo>
                      <a:pt x="172531" y="129750"/>
                      <a:pt x="169564" y="132723"/>
                      <a:pt x="165894" y="132723"/>
                    </a:cubicBezTo>
                    <a:lnTo>
                      <a:pt x="126080" y="132723"/>
                    </a:lnTo>
                    <a:lnTo>
                      <a:pt x="126080" y="165903"/>
                    </a:lnTo>
                    <a:cubicBezTo>
                      <a:pt x="126080" y="168417"/>
                      <a:pt x="124661" y="170714"/>
                      <a:pt x="122412" y="171840"/>
                    </a:cubicBezTo>
                    <a:cubicBezTo>
                      <a:pt x="121474" y="172302"/>
                      <a:pt x="120456" y="172534"/>
                      <a:pt x="119445" y="172534"/>
                    </a:cubicBezTo>
                    <a:close/>
                  </a:path>
                </a:pathLst>
              </a:custGeom>
              <a:solidFill>
                <a:schemeClr val="accent1"/>
              </a:solidFill>
              <a:ln w="301" cap="flat">
                <a:noFill/>
                <a:prstDash val="solid"/>
                <a:miter/>
              </a:ln>
            </p:spPr>
            <p:txBody>
              <a:bodyPr rtlCol="0" anchor="ctr"/>
              <a:lstStyle/>
              <a:p>
                <a:endParaRPr lang="en-GB" dirty="0"/>
              </a:p>
            </p:txBody>
          </p:sp>
          <p:sp>
            <p:nvSpPr>
              <p:cNvPr id="277" name="Freihandform: Form 492">
                <a:extLst>
                  <a:ext uri="{FF2B5EF4-FFF2-40B4-BE49-F238E27FC236}">
                    <a16:creationId xmlns:a16="http://schemas.microsoft.com/office/drawing/2014/main" id="{352BF513-3849-4670-BC33-4DBEC4816966}"/>
                  </a:ext>
                </a:extLst>
              </p:cNvPr>
              <p:cNvSpPr/>
              <p:nvPr/>
            </p:nvSpPr>
            <p:spPr>
              <a:xfrm>
                <a:off x="3527391" y="1734266"/>
                <a:ext cx="39817" cy="39817"/>
              </a:xfrm>
              <a:custGeom>
                <a:avLst/>
                <a:gdLst>
                  <a:gd name="connsiteX0" fmla="*/ 33180 w 39817"/>
                  <a:gd name="connsiteY0" fmla="*/ 39817 h 39817"/>
                  <a:gd name="connsiteX1" fmla="*/ 6637 w 39817"/>
                  <a:gd name="connsiteY1" fmla="*/ 39817 h 39817"/>
                  <a:gd name="connsiteX2" fmla="*/ 0 w 39817"/>
                  <a:gd name="connsiteY2" fmla="*/ 33180 h 39817"/>
                  <a:gd name="connsiteX3" fmla="*/ 0 w 39817"/>
                  <a:gd name="connsiteY3" fmla="*/ 6637 h 39817"/>
                  <a:gd name="connsiteX4" fmla="*/ 6637 w 39817"/>
                  <a:gd name="connsiteY4" fmla="*/ 0 h 39817"/>
                  <a:gd name="connsiteX5" fmla="*/ 33180 w 39817"/>
                  <a:gd name="connsiteY5" fmla="*/ 0 h 39817"/>
                  <a:gd name="connsiteX6" fmla="*/ 39817 w 39817"/>
                  <a:gd name="connsiteY6" fmla="*/ 6637 h 39817"/>
                  <a:gd name="connsiteX7" fmla="*/ 39817 w 39817"/>
                  <a:gd name="connsiteY7" fmla="*/ 33180 h 39817"/>
                  <a:gd name="connsiteX8" fmla="*/ 33180 w 39817"/>
                  <a:gd name="connsiteY8" fmla="*/ 39817 h 39817"/>
                  <a:gd name="connsiteX9" fmla="*/ 13271 w 39817"/>
                  <a:gd name="connsiteY9" fmla="*/ 26546 h 39817"/>
                  <a:gd name="connsiteX10" fmla="*/ 26543 w 39817"/>
                  <a:gd name="connsiteY10" fmla="*/ 26546 h 39817"/>
                  <a:gd name="connsiteX11" fmla="*/ 26543 w 39817"/>
                  <a:gd name="connsiteY11" fmla="*/ 13274 h 39817"/>
                  <a:gd name="connsiteX12" fmla="*/ 13271 w 39817"/>
                  <a:gd name="connsiteY12" fmla="*/ 13274 h 39817"/>
                  <a:gd name="connsiteX13" fmla="*/ 13271 w 39817"/>
                  <a:gd name="connsiteY13" fmla="*/ 26546 h 39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817" h="39817">
                    <a:moveTo>
                      <a:pt x="33180" y="39817"/>
                    </a:moveTo>
                    <a:lnTo>
                      <a:pt x="6637" y="39817"/>
                    </a:lnTo>
                    <a:cubicBezTo>
                      <a:pt x="2970" y="39817"/>
                      <a:pt x="0" y="36847"/>
                      <a:pt x="0" y="33180"/>
                    </a:cubicBezTo>
                    <a:lnTo>
                      <a:pt x="0" y="6637"/>
                    </a:lnTo>
                    <a:cubicBezTo>
                      <a:pt x="0" y="2973"/>
                      <a:pt x="2967" y="0"/>
                      <a:pt x="6637" y="0"/>
                    </a:cubicBezTo>
                    <a:lnTo>
                      <a:pt x="33180" y="0"/>
                    </a:lnTo>
                    <a:cubicBezTo>
                      <a:pt x="36847" y="0"/>
                      <a:pt x="39817" y="2970"/>
                      <a:pt x="39817" y="6637"/>
                    </a:cubicBezTo>
                    <a:lnTo>
                      <a:pt x="39817" y="33180"/>
                    </a:lnTo>
                    <a:cubicBezTo>
                      <a:pt x="39817" y="36847"/>
                      <a:pt x="36847" y="39817"/>
                      <a:pt x="33180" y="39817"/>
                    </a:cubicBezTo>
                    <a:close/>
                    <a:moveTo>
                      <a:pt x="13271" y="26546"/>
                    </a:moveTo>
                    <a:lnTo>
                      <a:pt x="26543" y="26546"/>
                    </a:lnTo>
                    <a:lnTo>
                      <a:pt x="26543" y="13274"/>
                    </a:lnTo>
                    <a:lnTo>
                      <a:pt x="13271" y="13274"/>
                    </a:lnTo>
                    <a:lnTo>
                      <a:pt x="13271" y="26546"/>
                    </a:lnTo>
                    <a:close/>
                  </a:path>
                </a:pathLst>
              </a:custGeom>
              <a:solidFill>
                <a:schemeClr val="accent1"/>
              </a:solidFill>
              <a:ln w="301" cap="flat">
                <a:noFill/>
                <a:prstDash val="solid"/>
                <a:miter/>
              </a:ln>
            </p:spPr>
            <p:txBody>
              <a:bodyPr rtlCol="0" anchor="ctr"/>
              <a:lstStyle/>
              <a:p>
                <a:endParaRPr lang="en-GB" dirty="0"/>
              </a:p>
            </p:txBody>
          </p:sp>
          <p:sp>
            <p:nvSpPr>
              <p:cNvPr id="278" name="Freihandform: Form 493">
                <a:extLst>
                  <a:ext uri="{FF2B5EF4-FFF2-40B4-BE49-F238E27FC236}">
                    <a16:creationId xmlns:a16="http://schemas.microsoft.com/office/drawing/2014/main" id="{2A363654-6930-4A67-908F-AF43ABD11E19}"/>
                  </a:ext>
                </a:extLst>
              </p:cNvPr>
              <p:cNvSpPr/>
              <p:nvPr/>
            </p:nvSpPr>
            <p:spPr>
              <a:xfrm>
                <a:off x="3587114" y="1714357"/>
                <a:ext cx="39817" cy="59725"/>
              </a:xfrm>
              <a:custGeom>
                <a:avLst/>
                <a:gdLst>
                  <a:gd name="connsiteX0" fmla="*/ 33180 w 39817"/>
                  <a:gd name="connsiteY0" fmla="*/ 59726 h 59725"/>
                  <a:gd name="connsiteX1" fmla="*/ 6637 w 39817"/>
                  <a:gd name="connsiteY1" fmla="*/ 59726 h 59725"/>
                  <a:gd name="connsiteX2" fmla="*/ 0 w 39817"/>
                  <a:gd name="connsiteY2" fmla="*/ 53089 h 59725"/>
                  <a:gd name="connsiteX3" fmla="*/ 0 w 39817"/>
                  <a:gd name="connsiteY3" fmla="*/ 6637 h 59725"/>
                  <a:gd name="connsiteX4" fmla="*/ 6637 w 39817"/>
                  <a:gd name="connsiteY4" fmla="*/ 0 h 59725"/>
                  <a:gd name="connsiteX5" fmla="*/ 33180 w 39817"/>
                  <a:gd name="connsiteY5" fmla="*/ 0 h 59725"/>
                  <a:gd name="connsiteX6" fmla="*/ 39817 w 39817"/>
                  <a:gd name="connsiteY6" fmla="*/ 6637 h 59725"/>
                  <a:gd name="connsiteX7" fmla="*/ 39817 w 39817"/>
                  <a:gd name="connsiteY7" fmla="*/ 53089 h 59725"/>
                  <a:gd name="connsiteX8" fmla="*/ 33180 w 39817"/>
                  <a:gd name="connsiteY8" fmla="*/ 59726 h 59725"/>
                  <a:gd name="connsiteX9" fmla="*/ 13271 w 39817"/>
                  <a:gd name="connsiteY9" fmla="*/ 46454 h 59725"/>
                  <a:gd name="connsiteX10" fmla="*/ 26543 w 39817"/>
                  <a:gd name="connsiteY10" fmla="*/ 46454 h 59725"/>
                  <a:gd name="connsiteX11" fmla="*/ 26543 w 39817"/>
                  <a:gd name="connsiteY11" fmla="*/ 13277 h 59725"/>
                  <a:gd name="connsiteX12" fmla="*/ 13271 w 39817"/>
                  <a:gd name="connsiteY12" fmla="*/ 13277 h 59725"/>
                  <a:gd name="connsiteX13" fmla="*/ 13271 w 39817"/>
                  <a:gd name="connsiteY13" fmla="*/ 46454 h 5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817" h="59725">
                    <a:moveTo>
                      <a:pt x="33180" y="59726"/>
                    </a:moveTo>
                    <a:lnTo>
                      <a:pt x="6637" y="59726"/>
                    </a:lnTo>
                    <a:cubicBezTo>
                      <a:pt x="2970" y="59726"/>
                      <a:pt x="0" y="56756"/>
                      <a:pt x="0" y="53089"/>
                    </a:cubicBezTo>
                    <a:lnTo>
                      <a:pt x="0" y="6637"/>
                    </a:lnTo>
                    <a:cubicBezTo>
                      <a:pt x="0" y="2973"/>
                      <a:pt x="2967" y="0"/>
                      <a:pt x="6637" y="0"/>
                    </a:cubicBezTo>
                    <a:lnTo>
                      <a:pt x="33180" y="0"/>
                    </a:lnTo>
                    <a:cubicBezTo>
                      <a:pt x="36847" y="0"/>
                      <a:pt x="39817" y="2970"/>
                      <a:pt x="39817" y="6637"/>
                    </a:cubicBezTo>
                    <a:lnTo>
                      <a:pt x="39817" y="53089"/>
                    </a:lnTo>
                    <a:cubicBezTo>
                      <a:pt x="39814" y="56756"/>
                      <a:pt x="36847" y="59726"/>
                      <a:pt x="33180" y="59726"/>
                    </a:cubicBezTo>
                    <a:close/>
                    <a:moveTo>
                      <a:pt x="13271" y="46454"/>
                    </a:moveTo>
                    <a:lnTo>
                      <a:pt x="26543" y="46454"/>
                    </a:lnTo>
                    <a:lnTo>
                      <a:pt x="26543" y="13277"/>
                    </a:lnTo>
                    <a:lnTo>
                      <a:pt x="13271" y="13277"/>
                    </a:lnTo>
                    <a:lnTo>
                      <a:pt x="13271" y="46454"/>
                    </a:lnTo>
                    <a:close/>
                  </a:path>
                </a:pathLst>
              </a:custGeom>
              <a:solidFill>
                <a:schemeClr val="accent1"/>
              </a:solidFill>
              <a:ln w="301" cap="flat">
                <a:noFill/>
                <a:prstDash val="solid"/>
                <a:miter/>
              </a:ln>
            </p:spPr>
            <p:txBody>
              <a:bodyPr rtlCol="0" anchor="ctr"/>
              <a:lstStyle/>
              <a:p>
                <a:endParaRPr lang="en-GB" dirty="0"/>
              </a:p>
            </p:txBody>
          </p:sp>
          <p:sp>
            <p:nvSpPr>
              <p:cNvPr id="279" name="Freihandform: Form 494">
                <a:extLst>
                  <a:ext uri="{FF2B5EF4-FFF2-40B4-BE49-F238E27FC236}">
                    <a16:creationId xmlns:a16="http://schemas.microsoft.com/office/drawing/2014/main" id="{B699A8B9-4A4C-4DB4-80E7-083BDBA67ED4}"/>
                  </a:ext>
                </a:extLst>
              </p:cNvPr>
              <p:cNvSpPr/>
              <p:nvPr/>
            </p:nvSpPr>
            <p:spPr>
              <a:xfrm>
                <a:off x="3646837" y="1694451"/>
                <a:ext cx="39817" cy="79631"/>
              </a:xfrm>
              <a:custGeom>
                <a:avLst/>
                <a:gdLst>
                  <a:gd name="connsiteX0" fmla="*/ 33180 w 39817"/>
                  <a:gd name="connsiteY0" fmla="*/ 79631 h 79631"/>
                  <a:gd name="connsiteX1" fmla="*/ 6637 w 39817"/>
                  <a:gd name="connsiteY1" fmla="*/ 79631 h 79631"/>
                  <a:gd name="connsiteX2" fmla="*/ 0 w 39817"/>
                  <a:gd name="connsiteY2" fmla="*/ 72994 h 79631"/>
                  <a:gd name="connsiteX3" fmla="*/ 0 w 39817"/>
                  <a:gd name="connsiteY3" fmla="*/ 6637 h 79631"/>
                  <a:gd name="connsiteX4" fmla="*/ 6637 w 39817"/>
                  <a:gd name="connsiteY4" fmla="*/ 0 h 79631"/>
                  <a:gd name="connsiteX5" fmla="*/ 33180 w 39817"/>
                  <a:gd name="connsiteY5" fmla="*/ 0 h 79631"/>
                  <a:gd name="connsiteX6" fmla="*/ 39817 w 39817"/>
                  <a:gd name="connsiteY6" fmla="*/ 6637 h 79631"/>
                  <a:gd name="connsiteX7" fmla="*/ 39817 w 39817"/>
                  <a:gd name="connsiteY7" fmla="*/ 72994 h 79631"/>
                  <a:gd name="connsiteX8" fmla="*/ 33180 w 39817"/>
                  <a:gd name="connsiteY8" fmla="*/ 79631 h 79631"/>
                  <a:gd name="connsiteX9" fmla="*/ 13271 w 39817"/>
                  <a:gd name="connsiteY9" fmla="*/ 66360 h 79631"/>
                  <a:gd name="connsiteX10" fmla="*/ 26543 w 39817"/>
                  <a:gd name="connsiteY10" fmla="*/ 66360 h 79631"/>
                  <a:gd name="connsiteX11" fmla="*/ 26543 w 39817"/>
                  <a:gd name="connsiteY11" fmla="*/ 13274 h 79631"/>
                  <a:gd name="connsiteX12" fmla="*/ 13271 w 39817"/>
                  <a:gd name="connsiteY12" fmla="*/ 13274 h 79631"/>
                  <a:gd name="connsiteX13" fmla="*/ 13271 w 39817"/>
                  <a:gd name="connsiteY13" fmla="*/ 66360 h 79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817" h="79631">
                    <a:moveTo>
                      <a:pt x="33180" y="79631"/>
                    </a:moveTo>
                    <a:lnTo>
                      <a:pt x="6637" y="79631"/>
                    </a:lnTo>
                    <a:cubicBezTo>
                      <a:pt x="2970" y="79631"/>
                      <a:pt x="0" y="76661"/>
                      <a:pt x="0" y="72994"/>
                    </a:cubicBezTo>
                    <a:lnTo>
                      <a:pt x="0" y="6637"/>
                    </a:lnTo>
                    <a:cubicBezTo>
                      <a:pt x="0" y="2973"/>
                      <a:pt x="2967" y="0"/>
                      <a:pt x="6637" y="0"/>
                    </a:cubicBezTo>
                    <a:lnTo>
                      <a:pt x="33180" y="0"/>
                    </a:lnTo>
                    <a:cubicBezTo>
                      <a:pt x="36847" y="0"/>
                      <a:pt x="39817" y="2970"/>
                      <a:pt x="39817" y="6637"/>
                    </a:cubicBezTo>
                    <a:lnTo>
                      <a:pt x="39817" y="72994"/>
                    </a:lnTo>
                    <a:cubicBezTo>
                      <a:pt x="39814" y="76661"/>
                      <a:pt x="36847" y="79631"/>
                      <a:pt x="33180" y="79631"/>
                    </a:cubicBezTo>
                    <a:close/>
                    <a:moveTo>
                      <a:pt x="13271" y="66360"/>
                    </a:moveTo>
                    <a:lnTo>
                      <a:pt x="26543" y="66360"/>
                    </a:lnTo>
                    <a:lnTo>
                      <a:pt x="26543" y="13274"/>
                    </a:lnTo>
                    <a:lnTo>
                      <a:pt x="13271" y="13274"/>
                    </a:lnTo>
                    <a:lnTo>
                      <a:pt x="13271" y="66360"/>
                    </a:lnTo>
                    <a:close/>
                  </a:path>
                </a:pathLst>
              </a:custGeom>
              <a:solidFill>
                <a:schemeClr val="accent1"/>
              </a:solidFill>
              <a:ln w="301" cap="flat">
                <a:noFill/>
                <a:prstDash val="solid"/>
                <a:miter/>
              </a:ln>
            </p:spPr>
            <p:txBody>
              <a:bodyPr rtlCol="0" anchor="ctr"/>
              <a:lstStyle/>
              <a:p>
                <a:endParaRPr lang="en-GB" dirty="0"/>
              </a:p>
            </p:txBody>
          </p:sp>
        </p:grpSp>
      </p:grpSp>
      <p:grpSp>
        <p:nvGrpSpPr>
          <p:cNvPr id="550" name="Group 549">
            <a:extLst>
              <a:ext uri="{FF2B5EF4-FFF2-40B4-BE49-F238E27FC236}">
                <a16:creationId xmlns:a16="http://schemas.microsoft.com/office/drawing/2014/main" id="{8D812014-3ABC-A8D2-4123-DBA5BCAD51FC}"/>
              </a:ext>
            </a:extLst>
          </p:cNvPr>
          <p:cNvGrpSpPr/>
          <p:nvPr/>
        </p:nvGrpSpPr>
        <p:grpSpPr>
          <a:xfrm>
            <a:off x="1562304" y="4040086"/>
            <a:ext cx="554360" cy="432000"/>
            <a:chOff x="1562304" y="4040086"/>
            <a:chExt cx="554360" cy="432000"/>
          </a:xfrm>
        </p:grpSpPr>
        <p:grpSp>
          <p:nvGrpSpPr>
            <p:cNvPr id="293" name="Gruppieren 955">
              <a:extLst>
                <a:ext uri="{FF2B5EF4-FFF2-40B4-BE49-F238E27FC236}">
                  <a16:creationId xmlns:a16="http://schemas.microsoft.com/office/drawing/2014/main" id="{CF2EF473-1CFA-4DF2-BBE1-7AA76873898E}"/>
                </a:ext>
              </a:extLst>
            </p:cNvPr>
            <p:cNvGrpSpPr/>
            <p:nvPr/>
          </p:nvGrpSpPr>
          <p:grpSpPr>
            <a:xfrm>
              <a:off x="1562304" y="4040086"/>
              <a:ext cx="554360" cy="432000"/>
              <a:chOff x="866443" y="2470841"/>
              <a:chExt cx="544859" cy="424596"/>
            </a:xfrm>
            <a:solidFill>
              <a:schemeClr val="tx2"/>
            </a:solidFill>
          </p:grpSpPr>
          <p:sp>
            <p:nvSpPr>
              <p:cNvPr id="302" name="Freihandform: Form 314">
                <a:extLst>
                  <a:ext uri="{FF2B5EF4-FFF2-40B4-BE49-F238E27FC236}">
                    <a16:creationId xmlns:a16="http://schemas.microsoft.com/office/drawing/2014/main" id="{86D172C9-8954-47D2-91C1-E7CE3C458AAD}"/>
                  </a:ext>
                </a:extLst>
              </p:cNvPr>
              <p:cNvSpPr/>
              <p:nvPr/>
            </p:nvSpPr>
            <p:spPr>
              <a:xfrm>
                <a:off x="1123986" y="2747771"/>
                <a:ext cx="26545" cy="13274"/>
              </a:xfrm>
              <a:custGeom>
                <a:avLst/>
                <a:gdLst>
                  <a:gd name="connsiteX0" fmla="*/ 19909 w 26545"/>
                  <a:gd name="connsiteY0" fmla="*/ 13274 h 13274"/>
                  <a:gd name="connsiteX1" fmla="*/ 6637 w 26545"/>
                  <a:gd name="connsiteY1" fmla="*/ 13274 h 13274"/>
                  <a:gd name="connsiteX2" fmla="*/ 0 w 26545"/>
                  <a:gd name="connsiteY2" fmla="*/ 6637 h 13274"/>
                  <a:gd name="connsiteX3" fmla="*/ 6637 w 26545"/>
                  <a:gd name="connsiteY3" fmla="*/ 0 h 13274"/>
                  <a:gd name="connsiteX4" fmla="*/ 19909 w 26545"/>
                  <a:gd name="connsiteY4" fmla="*/ 0 h 13274"/>
                  <a:gd name="connsiteX5" fmla="*/ 26546 w 26545"/>
                  <a:gd name="connsiteY5" fmla="*/ 6637 h 13274"/>
                  <a:gd name="connsiteX6" fmla="*/ 19909 w 26545"/>
                  <a:gd name="connsiteY6" fmla="*/ 13274 h 1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45" h="13274">
                    <a:moveTo>
                      <a:pt x="19909" y="13274"/>
                    </a:moveTo>
                    <a:lnTo>
                      <a:pt x="6637" y="13274"/>
                    </a:lnTo>
                    <a:cubicBezTo>
                      <a:pt x="2973" y="13274"/>
                      <a:pt x="0" y="10304"/>
                      <a:pt x="0" y="6637"/>
                    </a:cubicBezTo>
                    <a:cubicBezTo>
                      <a:pt x="0" y="2970"/>
                      <a:pt x="2970" y="0"/>
                      <a:pt x="6637" y="0"/>
                    </a:cubicBezTo>
                    <a:lnTo>
                      <a:pt x="19909" y="0"/>
                    </a:lnTo>
                    <a:cubicBezTo>
                      <a:pt x="23573" y="0"/>
                      <a:pt x="26546" y="2970"/>
                      <a:pt x="26546" y="6637"/>
                    </a:cubicBezTo>
                    <a:cubicBezTo>
                      <a:pt x="26546" y="10304"/>
                      <a:pt x="23573" y="13274"/>
                      <a:pt x="19909" y="13274"/>
                    </a:cubicBezTo>
                    <a:close/>
                  </a:path>
                </a:pathLst>
              </a:custGeom>
              <a:grpFill/>
              <a:ln w="301" cap="flat">
                <a:noFill/>
                <a:prstDash val="solid"/>
                <a:miter/>
              </a:ln>
            </p:spPr>
            <p:txBody>
              <a:bodyPr rtlCol="0" anchor="ctr"/>
              <a:lstStyle/>
              <a:p>
                <a:endParaRPr lang="en-GB" dirty="0"/>
              </a:p>
            </p:txBody>
          </p:sp>
          <p:sp>
            <p:nvSpPr>
              <p:cNvPr id="303" name="Freihandform: Form 315">
                <a:extLst>
                  <a:ext uri="{FF2B5EF4-FFF2-40B4-BE49-F238E27FC236}">
                    <a16:creationId xmlns:a16="http://schemas.microsoft.com/office/drawing/2014/main" id="{E9FA84DD-C3C0-4ACE-A72C-0CEA47AFF49F}"/>
                  </a:ext>
                </a:extLst>
              </p:cNvPr>
              <p:cNvSpPr/>
              <p:nvPr/>
            </p:nvSpPr>
            <p:spPr>
              <a:xfrm>
                <a:off x="1090806" y="2628328"/>
                <a:ext cx="92902" cy="106171"/>
              </a:xfrm>
              <a:custGeom>
                <a:avLst/>
                <a:gdLst>
                  <a:gd name="connsiteX0" fmla="*/ 46451 w 92902"/>
                  <a:gd name="connsiteY0" fmla="*/ 106171 h 106171"/>
                  <a:gd name="connsiteX1" fmla="*/ 0 w 92902"/>
                  <a:gd name="connsiteY1" fmla="*/ 53085 h 106171"/>
                  <a:gd name="connsiteX2" fmla="*/ 46451 w 92902"/>
                  <a:gd name="connsiteY2" fmla="*/ 0 h 106171"/>
                  <a:gd name="connsiteX3" fmla="*/ 92903 w 92902"/>
                  <a:gd name="connsiteY3" fmla="*/ 53085 h 106171"/>
                  <a:gd name="connsiteX4" fmla="*/ 46451 w 92902"/>
                  <a:gd name="connsiteY4" fmla="*/ 106171 h 106171"/>
                  <a:gd name="connsiteX5" fmla="*/ 46451 w 92902"/>
                  <a:gd name="connsiteY5" fmla="*/ 13271 h 106171"/>
                  <a:gd name="connsiteX6" fmla="*/ 13271 w 92902"/>
                  <a:gd name="connsiteY6" fmla="*/ 53085 h 106171"/>
                  <a:gd name="connsiteX7" fmla="*/ 46451 w 92902"/>
                  <a:gd name="connsiteY7" fmla="*/ 92900 h 106171"/>
                  <a:gd name="connsiteX8" fmla="*/ 79631 w 92902"/>
                  <a:gd name="connsiteY8" fmla="*/ 53085 h 106171"/>
                  <a:gd name="connsiteX9" fmla="*/ 46451 w 92902"/>
                  <a:gd name="connsiteY9" fmla="*/ 13271 h 106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02" h="106171">
                    <a:moveTo>
                      <a:pt x="46451" y="106171"/>
                    </a:moveTo>
                    <a:cubicBezTo>
                      <a:pt x="18668" y="106171"/>
                      <a:pt x="0" y="84838"/>
                      <a:pt x="0" y="53085"/>
                    </a:cubicBezTo>
                    <a:cubicBezTo>
                      <a:pt x="0" y="21333"/>
                      <a:pt x="18665" y="0"/>
                      <a:pt x="46451" y="0"/>
                    </a:cubicBezTo>
                    <a:cubicBezTo>
                      <a:pt x="74235" y="0"/>
                      <a:pt x="92903" y="21333"/>
                      <a:pt x="92903" y="53085"/>
                    </a:cubicBezTo>
                    <a:cubicBezTo>
                      <a:pt x="92903" y="84841"/>
                      <a:pt x="74235" y="106171"/>
                      <a:pt x="46451" y="106171"/>
                    </a:cubicBezTo>
                    <a:close/>
                    <a:moveTo>
                      <a:pt x="46451" y="13271"/>
                    </a:moveTo>
                    <a:cubicBezTo>
                      <a:pt x="21961" y="13271"/>
                      <a:pt x="13271" y="34716"/>
                      <a:pt x="13271" y="53085"/>
                    </a:cubicBezTo>
                    <a:cubicBezTo>
                      <a:pt x="13271" y="71455"/>
                      <a:pt x="21961" y="92900"/>
                      <a:pt x="46451" y="92900"/>
                    </a:cubicBezTo>
                    <a:cubicBezTo>
                      <a:pt x="70942" y="92900"/>
                      <a:pt x="79631" y="71455"/>
                      <a:pt x="79631" y="53085"/>
                    </a:cubicBezTo>
                    <a:cubicBezTo>
                      <a:pt x="79631" y="34716"/>
                      <a:pt x="70942" y="13271"/>
                      <a:pt x="46451" y="13271"/>
                    </a:cubicBezTo>
                    <a:close/>
                  </a:path>
                </a:pathLst>
              </a:custGeom>
              <a:grpFill/>
              <a:ln w="301" cap="flat">
                <a:noFill/>
                <a:prstDash val="solid"/>
                <a:miter/>
              </a:ln>
            </p:spPr>
            <p:txBody>
              <a:bodyPr rtlCol="0" anchor="ctr"/>
              <a:lstStyle/>
              <a:p>
                <a:endParaRPr lang="en-GB" dirty="0"/>
              </a:p>
            </p:txBody>
          </p:sp>
          <p:sp>
            <p:nvSpPr>
              <p:cNvPr id="304" name="Freihandform: Form 316">
                <a:extLst>
                  <a:ext uri="{FF2B5EF4-FFF2-40B4-BE49-F238E27FC236}">
                    <a16:creationId xmlns:a16="http://schemas.microsoft.com/office/drawing/2014/main" id="{D1F07B00-5D72-4A28-9DA9-7D6501DCB6B6}"/>
                  </a:ext>
                </a:extLst>
              </p:cNvPr>
              <p:cNvSpPr/>
              <p:nvPr/>
            </p:nvSpPr>
            <p:spPr>
              <a:xfrm>
                <a:off x="1130621" y="2747771"/>
                <a:ext cx="13274" cy="66359"/>
              </a:xfrm>
              <a:custGeom>
                <a:avLst/>
                <a:gdLst>
                  <a:gd name="connsiteX0" fmla="*/ 6637 w 13274"/>
                  <a:gd name="connsiteY0" fmla="*/ 66360 h 66359"/>
                  <a:gd name="connsiteX1" fmla="*/ 0 w 13274"/>
                  <a:gd name="connsiteY1" fmla="*/ 59723 h 66359"/>
                  <a:gd name="connsiteX2" fmla="*/ 0 w 13274"/>
                  <a:gd name="connsiteY2" fmla="*/ 6637 h 66359"/>
                  <a:gd name="connsiteX3" fmla="*/ 6637 w 13274"/>
                  <a:gd name="connsiteY3" fmla="*/ 0 h 66359"/>
                  <a:gd name="connsiteX4" fmla="*/ 13274 w 13274"/>
                  <a:gd name="connsiteY4" fmla="*/ 6637 h 66359"/>
                  <a:gd name="connsiteX5" fmla="*/ 13274 w 13274"/>
                  <a:gd name="connsiteY5" fmla="*/ 59723 h 66359"/>
                  <a:gd name="connsiteX6" fmla="*/ 6637 w 13274"/>
                  <a:gd name="connsiteY6" fmla="*/ 66360 h 6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74" h="66359">
                    <a:moveTo>
                      <a:pt x="6637" y="66360"/>
                    </a:moveTo>
                    <a:cubicBezTo>
                      <a:pt x="2973" y="66360"/>
                      <a:pt x="0" y="63390"/>
                      <a:pt x="0" y="59723"/>
                    </a:cubicBezTo>
                    <a:lnTo>
                      <a:pt x="0" y="6637"/>
                    </a:lnTo>
                    <a:cubicBezTo>
                      <a:pt x="0" y="2973"/>
                      <a:pt x="2970" y="0"/>
                      <a:pt x="6637" y="0"/>
                    </a:cubicBezTo>
                    <a:cubicBezTo>
                      <a:pt x="10301" y="0"/>
                      <a:pt x="13274" y="2970"/>
                      <a:pt x="13274" y="6637"/>
                    </a:cubicBezTo>
                    <a:lnTo>
                      <a:pt x="13274" y="59723"/>
                    </a:lnTo>
                    <a:cubicBezTo>
                      <a:pt x="13274" y="63387"/>
                      <a:pt x="10301" y="66360"/>
                      <a:pt x="6637" y="66360"/>
                    </a:cubicBezTo>
                    <a:close/>
                  </a:path>
                </a:pathLst>
              </a:custGeom>
              <a:grpFill/>
              <a:ln w="301" cap="flat">
                <a:noFill/>
                <a:prstDash val="solid"/>
                <a:miter/>
              </a:ln>
            </p:spPr>
            <p:txBody>
              <a:bodyPr rtlCol="0" anchor="ctr"/>
              <a:lstStyle/>
              <a:p>
                <a:endParaRPr lang="en-GB" dirty="0"/>
              </a:p>
            </p:txBody>
          </p:sp>
          <p:sp>
            <p:nvSpPr>
              <p:cNvPr id="305" name="Freihandform: Form 317">
                <a:extLst>
                  <a:ext uri="{FF2B5EF4-FFF2-40B4-BE49-F238E27FC236}">
                    <a16:creationId xmlns:a16="http://schemas.microsoft.com/office/drawing/2014/main" id="{B171BCA2-F6F2-4764-B705-E43C4A4E328E}"/>
                  </a:ext>
                </a:extLst>
              </p:cNvPr>
              <p:cNvSpPr/>
              <p:nvPr/>
            </p:nvSpPr>
            <p:spPr>
              <a:xfrm>
                <a:off x="1019223" y="2747768"/>
                <a:ext cx="236069" cy="145991"/>
              </a:xfrm>
              <a:custGeom>
                <a:avLst/>
                <a:gdLst>
                  <a:gd name="connsiteX0" fmla="*/ 210934 w 236069"/>
                  <a:gd name="connsiteY0" fmla="*/ 145991 h 145991"/>
                  <a:gd name="connsiteX1" fmla="*/ 25135 w 236069"/>
                  <a:gd name="connsiteY1" fmla="*/ 145991 h 145991"/>
                  <a:gd name="connsiteX2" fmla="*/ 4997 w 236069"/>
                  <a:gd name="connsiteY2" fmla="*/ 136646 h 145991"/>
                  <a:gd name="connsiteX3" fmla="*/ 2217 w 236069"/>
                  <a:gd name="connsiteY3" fmla="*/ 106249 h 145991"/>
                  <a:gd name="connsiteX4" fmla="*/ 22756 w 236069"/>
                  <a:gd name="connsiteY4" fmla="*/ 42651 h 145991"/>
                  <a:gd name="connsiteX5" fmla="*/ 73482 w 236069"/>
                  <a:gd name="connsiteY5" fmla="*/ 0 h 145991"/>
                  <a:gd name="connsiteX6" fmla="*/ 78223 w 236069"/>
                  <a:gd name="connsiteY6" fmla="*/ 0 h 145991"/>
                  <a:gd name="connsiteX7" fmla="*/ 83883 w 236069"/>
                  <a:gd name="connsiteY7" fmla="*/ 3172 h 145991"/>
                  <a:gd name="connsiteX8" fmla="*/ 117856 w 236069"/>
                  <a:gd name="connsiteY8" fmla="*/ 58678 h 145991"/>
                  <a:gd name="connsiteX9" fmla="*/ 118037 w 236069"/>
                  <a:gd name="connsiteY9" fmla="*/ 58995 h 145991"/>
                  <a:gd name="connsiteX10" fmla="*/ 118219 w 236069"/>
                  <a:gd name="connsiteY10" fmla="*/ 58678 h 145991"/>
                  <a:gd name="connsiteX11" fmla="*/ 152192 w 236069"/>
                  <a:gd name="connsiteY11" fmla="*/ 3172 h 145991"/>
                  <a:gd name="connsiteX12" fmla="*/ 157852 w 236069"/>
                  <a:gd name="connsiteY12" fmla="*/ 0 h 145991"/>
                  <a:gd name="connsiteX13" fmla="*/ 162593 w 236069"/>
                  <a:gd name="connsiteY13" fmla="*/ 0 h 145991"/>
                  <a:gd name="connsiteX14" fmla="*/ 213258 w 236069"/>
                  <a:gd name="connsiteY14" fmla="*/ 42464 h 145991"/>
                  <a:gd name="connsiteX15" fmla="*/ 233843 w 236069"/>
                  <a:gd name="connsiteY15" fmla="*/ 106207 h 145991"/>
                  <a:gd name="connsiteX16" fmla="*/ 231075 w 236069"/>
                  <a:gd name="connsiteY16" fmla="*/ 136640 h 145991"/>
                  <a:gd name="connsiteX17" fmla="*/ 210934 w 236069"/>
                  <a:gd name="connsiteY17" fmla="*/ 145991 h 145991"/>
                  <a:gd name="connsiteX18" fmla="*/ 73479 w 236069"/>
                  <a:gd name="connsiteY18" fmla="*/ 13277 h 145991"/>
                  <a:gd name="connsiteX19" fmla="*/ 35321 w 236069"/>
                  <a:gd name="connsiteY19" fmla="*/ 46913 h 145991"/>
                  <a:gd name="connsiteX20" fmla="*/ 14858 w 236069"/>
                  <a:gd name="connsiteY20" fmla="*/ 110291 h 145991"/>
                  <a:gd name="connsiteX21" fmla="*/ 15700 w 236069"/>
                  <a:gd name="connsiteY21" fmla="*/ 128805 h 145991"/>
                  <a:gd name="connsiteX22" fmla="*/ 25132 w 236069"/>
                  <a:gd name="connsiteY22" fmla="*/ 132723 h 145991"/>
                  <a:gd name="connsiteX23" fmla="*/ 210934 w 236069"/>
                  <a:gd name="connsiteY23" fmla="*/ 132723 h 145991"/>
                  <a:gd name="connsiteX24" fmla="*/ 220366 w 236069"/>
                  <a:gd name="connsiteY24" fmla="*/ 128805 h 145991"/>
                  <a:gd name="connsiteX25" fmla="*/ 221196 w 236069"/>
                  <a:gd name="connsiteY25" fmla="*/ 110252 h 145991"/>
                  <a:gd name="connsiteX26" fmla="*/ 200687 w 236069"/>
                  <a:gd name="connsiteY26" fmla="*/ 46732 h 145991"/>
                  <a:gd name="connsiteX27" fmla="*/ 162590 w 236069"/>
                  <a:gd name="connsiteY27" fmla="*/ 13277 h 145991"/>
                  <a:gd name="connsiteX28" fmla="*/ 161570 w 236069"/>
                  <a:gd name="connsiteY28" fmla="*/ 13277 h 145991"/>
                  <a:gd name="connsiteX29" fmla="*/ 129537 w 236069"/>
                  <a:gd name="connsiteY29" fmla="*/ 65611 h 145991"/>
                  <a:gd name="connsiteX30" fmla="*/ 120413 w 236069"/>
                  <a:gd name="connsiteY30" fmla="*/ 67809 h 145991"/>
                  <a:gd name="connsiteX31" fmla="*/ 118034 w 236069"/>
                  <a:gd name="connsiteY31" fmla="*/ 65297 h 145991"/>
                  <a:gd name="connsiteX32" fmla="*/ 115656 w 236069"/>
                  <a:gd name="connsiteY32" fmla="*/ 67809 h 145991"/>
                  <a:gd name="connsiteX33" fmla="*/ 106532 w 236069"/>
                  <a:gd name="connsiteY33" fmla="*/ 65611 h 145991"/>
                  <a:gd name="connsiteX34" fmla="*/ 74499 w 236069"/>
                  <a:gd name="connsiteY34" fmla="*/ 13277 h 145991"/>
                  <a:gd name="connsiteX35" fmla="*/ 73479 w 236069"/>
                  <a:gd name="connsiteY35" fmla="*/ 13277 h 145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36069" h="145991">
                    <a:moveTo>
                      <a:pt x="210934" y="145991"/>
                    </a:moveTo>
                    <a:lnTo>
                      <a:pt x="25135" y="145991"/>
                    </a:lnTo>
                    <a:cubicBezTo>
                      <a:pt x="14154" y="145991"/>
                      <a:pt x="8124" y="140911"/>
                      <a:pt x="4997" y="136646"/>
                    </a:cubicBezTo>
                    <a:cubicBezTo>
                      <a:pt x="-502" y="129146"/>
                      <a:pt x="-1514" y="118063"/>
                      <a:pt x="2217" y="106249"/>
                    </a:cubicBezTo>
                    <a:lnTo>
                      <a:pt x="22756" y="42651"/>
                    </a:lnTo>
                    <a:cubicBezTo>
                      <a:pt x="32822" y="14292"/>
                      <a:pt x="49870" y="0"/>
                      <a:pt x="73482" y="0"/>
                    </a:cubicBezTo>
                    <a:lnTo>
                      <a:pt x="78223" y="0"/>
                    </a:lnTo>
                    <a:cubicBezTo>
                      <a:pt x="80532" y="0"/>
                      <a:pt x="82678" y="1201"/>
                      <a:pt x="83883" y="3172"/>
                    </a:cubicBezTo>
                    <a:lnTo>
                      <a:pt x="117856" y="58678"/>
                    </a:lnTo>
                    <a:cubicBezTo>
                      <a:pt x="117920" y="58781"/>
                      <a:pt x="117980" y="58890"/>
                      <a:pt x="118037" y="58995"/>
                    </a:cubicBezTo>
                    <a:cubicBezTo>
                      <a:pt x="118095" y="58890"/>
                      <a:pt x="118155" y="58781"/>
                      <a:pt x="118219" y="58678"/>
                    </a:cubicBezTo>
                    <a:lnTo>
                      <a:pt x="152192" y="3172"/>
                    </a:lnTo>
                    <a:cubicBezTo>
                      <a:pt x="153397" y="1201"/>
                      <a:pt x="155543" y="0"/>
                      <a:pt x="157852" y="0"/>
                    </a:cubicBezTo>
                    <a:lnTo>
                      <a:pt x="162593" y="0"/>
                    </a:lnTo>
                    <a:cubicBezTo>
                      <a:pt x="186202" y="0"/>
                      <a:pt x="203247" y="14288"/>
                      <a:pt x="213258" y="42464"/>
                    </a:cubicBezTo>
                    <a:lnTo>
                      <a:pt x="233843" y="106207"/>
                    </a:lnTo>
                    <a:cubicBezTo>
                      <a:pt x="237585" y="118060"/>
                      <a:pt x="236574" y="129140"/>
                      <a:pt x="231075" y="136640"/>
                    </a:cubicBezTo>
                    <a:cubicBezTo>
                      <a:pt x="227945" y="140911"/>
                      <a:pt x="221918" y="145991"/>
                      <a:pt x="210934" y="145991"/>
                    </a:cubicBezTo>
                    <a:close/>
                    <a:moveTo>
                      <a:pt x="73479" y="13277"/>
                    </a:moveTo>
                    <a:cubicBezTo>
                      <a:pt x="55595" y="13277"/>
                      <a:pt x="43471" y="23965"/>
                      <a:pt x="35321" y="46913"/>
                    </a:cubicBezTo>
                    <a:lnTo>
                      <a:pt x="14858" y="110291"/>
                    </a:lnTo>
                    <a:cubicBezTo>
                      <a:pt x="12497" y="117758"/>
                      <a:pt x="12817" y="124869"/>
                      <a:pt x="15700" y="128805"/>
                    </a:cubicBezTo>
                    <a:cubicBezTo>
                      <a:pt x="17631" y="131440"/>
                      <a:pt x="20719" y="132723"/>
                      <a:pt x="25132" y="132723"/>
                    </a:cubicBezTo>
                    <a:lnTo>
                      <a:pt x="210934" y="132723"/>
                    </a:lnTo>
                    <a:cubicBezTo>
                      <a:pt x="215347" y="132723"/>
                      <a:pt x="218434" y="131440"/>
                      <a:pt x="220366" y="128805"/>
                    </a:cubicBezTo>
                    <a:cubicBezTo>
                      <a:pt x="223249" y="124869"/>
                      <a:pt x="223569" y="117758"/>
                      <a:pt x="221196" y="110252"/>
                    </a:cubicBezTo>
                    <a:lnTo>
                      <a:pt x="200687" y="46732"/>
                    </a:lnTo>
                    <a:cubicBezTo>
                      <a:pt x="192595" y="23968"/>
                      <a:pt x="180471" y="13277"/>
                      <a:pt x="162590" y="13277"/>
                    </a:cubicBezTo>
                    <a:lnTo>
                      <a:pt x="161570" y="13277"/>
                    </a:lnTo>
                    <a:lnTo>
                      <a:pt x="129537" y="65611"/>
                    </a:lnTo>
                    <a:cubicBezTo>
                      <a:pt x="127627" y="68732"/>
                      <a:pt x="123543" y="69719"/>
                      <a:pt x="120413" y="67809"/>
                    </a:cubicBezTo>
                    <a:cubicBezTo>
                      <a:pt x="119372" y="67175"/>
                      <a:pt x="118572" y="66300"/>
                      <a:pt x="118034" y="65297"/>
                    </a:cubicBezTo>
                    <a:cubicBezTo>
                      <a:pt x="117497" y="66300"/>
                      <a:pt x="116697" y="67175"/>
                      <a:pt x="115656" y="67809"/>
                    </a:cubicBezTo>
                    <a:cubicBezTo>
                      <a:pt x="112523" y="69719"/>
                      <a:pt x="108439" y="68735"/>
                      <a:pt x="106532" y="65611"/>
                    </a:cubicBezTo>
                    <a:lnTo>
                      <a:pt x="74499" y="13277"/>
                    </a:lnTo>
                    <a:lnTo>
                      <a:pt x="73479" y="13277"/>
                    </a:lnTo>
                    <a:close/>
                  </a:path>
                </a:pathLst>
              </a:custGeom>
              <a:grpFill/>
              <a:ln w="301" cap="flat">
                <a:noFill/>
                <a:prstDash val="solid"/>
                <a:miter/>
              </a:ln>
            </p:spPr>
            <p:txBody>
              <a:bodyPr rtlCol="0" anchor="ctr"/>
              <a:lstStyle/>
              <a:p>
                <a:endParaRPr lang="en-GB" dirty="0"/>
              </a:p>
            </p:txBody>
          </p:sp>
          <p:grpSp>
            <p:nvGrpSpPr>
              <p:cNvPr id="306" name="Gruppieren 953">
                <a:extLst>
                  <a:ext uri="{FF2B5EF4-FFF2-40B4-BE49-F238E27FC236}">
                    <a16:creationId xmlns:a16="http://schemas.microsoft.com/office/drawing/2014/main" id="{64783EF5-1F5D-4049-BD8D-24DFCB617B41}"/>
                  </a:ext>
                </a:extLst>
              </p:cNvPr>
              <p:cNvGrpSpPr/>
              <p:nvPr/>
            </p:nvGrpSpPr>
            <p:grpSpPr>
              <a:xfrm>
                <a:off x="866443" y="2470841"/>
                <a:ext cx="544859" cy="424596"/>
                <a:chOff x="866443" y="2470841"/>
                <a:chExt cx="544859" cy="424596"/>
              </a:xfrm>
              <a:grpFill/>
            </p:grpSpPr>
            <p:grpSp>
              <p:nvGrpSpPr>
                <p:cNvPr id="307" name="Grafik 342">
                  <a:extLst>
                    <a:ext uri="{FF2B5EF4-FFF2-40B4-BE49-F238E27FC236}">
                      <a16:creationId xmlns:a16="http://schemas.microsoft.com/office/drawing/2014/main" id="{196D9AB9-E107-4B75-AFA5-04F22D5C5246}"/>
                    </a:ext>
                  </a:extLst>
                </p:cNvPr>
                <p:cNvGrpSpPr/>
                <p:nvPr/>
              </p:nvGrpSpPr>
              <p:grpSpPr>
                <a:xfrm>
                  <a:off x="1000958" y="2803745"/>
                  <a:ext cx="275043" cy="91692"/>
                  <a:chOff x="1000958" y="2803745"/>
                  <a:chExt cx="275043" cy="91692"/>
                </a:xfrm>
                <a:grpFill/>
              </p:grpSpPr>
              <p:sp>
                <p:nvSpPr>
                  <p:cNvPr id="313" name="Freihandform: Form 310">
                    <a:extLst>
                      <a:ext uri="{FF2B5EF4-FFF2-40B4-BE49-F238E27FC236}">
                        <a16:creationId xmlns:a16="http://schemas.microsoft.com/office/drawing/2014/main" id="{3E4E1522-F20F-4960-BBF1-2AD64E2D0CBA}"/>
                      </a:ext>
                    </a:extLst>
                  </p:cNvPr>
                  <p:cNvSpPr/>
                  <p:nvPr/>
                </p:nvSpPr>
                <p:spPr>
                  <a:xfrm>
                    <a:off x="1069647" y="2803745"/>
                    <a:ext cx="135178" cy="91236"/>
                  </a:xfrm>
                  <a:custGeom>
                    <a:avLst/>
                    <a:gdLst>
                      <a:gd name="connsiteX0" fmla="*/ 128710 w 135178"/>
                      <a:gd name="connsiteY0" fmla="*/ 91237 h 91236"/>
                      <a:gd name="connsiteX1" fmla="*/ 6472 w 135178"/>
                      <a:gd name="connsiteY1" fmla="*/ 91237 h 91236"/>
                      <a:gd name="connsiteX2" fmla="*/ 6472 w 135178"/>
                      <a:gd name="connsiteY2" fmla="*/ 69423 h 91236"/>
                      <a:gd name="connsiteX3" fmla="*/ 128 w 135178"/>
                      <a:gd name="connsiteY3" fmla="*/ 18584 h 91236"/>
                      <a:gd name="connsiteX4" fmla="*/ 4139 w 135178"/>
                      <a:gd name="connsiteY4" fmla="*/ 5587 h 91236"/>
                      <a:gd name="connsiteX5" fmla="*/ 16514 w 135178"/>
                      <a:gd name="connsiteY5" fmla="*/ 0 h 91236"/>
                      <a:gd name="connsiteX6" fmla="*/ 118668 w 135178"/>
                      <a:gd name="connsiteY6" fmla="*/ 0 h 91236"/>
                      <a:gd name="connsiteX7" fmla="*/ 131040 w 135178"/>
                      <a:gd name="connsiteY7" fmla="*/ 5584 h 91236"/>
                      <a:gd name="connsiteX8" fmla="*/ 135051 w 135178"/>
                      <a:gd name="connsiteY8" fmla="*/ 18584 h 91236"/>
                      <a:gd name="connsiteX9" fmla="*/ 128710 w 135178"/>
                      <a:gd name="connsiteY9" fmla="*/ 69423 h 91236"/>
                      <a:gd name="connsiteX10" fmla="*/ 128710 w 135178"/>
                      <a:gd name="connsiteY10" fmla="*/ 91237 h 91236"/>
                      <a:gd name="connsiteX11" fmla="*/ 19744 w 135178"/>
                      <a:gd name="connsiteY11" fmla="*/ 77965 h 91236"/>
                      <a:gd name="connsiteX12" fmla="*/ 115438 w 135178"/>
                      <a:gd name="connsiteY12" fmla="*/ 77965 h 91236"/>
                      <a:gd name="connsiteX13" fmla="*/ 115490 w 135178"/>
                      <a:gd name="connsiteY13" fmla="*/ 68192 h 91236"/>
                      <a:gd name="connsiteX14" fmla="*/ 121882 w 135178"/>
                      <a:gd name="connsiteY14" fmla="*/ 16939 h 91236"/>
                      <a:gd name="connsiteX15" fmla="*/ 121092 w 135178"/>
                      <a:gd name="connsiteY15" fmla="*/ 14367 h 91236"/>
                      <a:gd name="connsiteX16" fmla="*/ 118668 w 135178"/>
                      <a:gd name="connsiteY16" fmla="*/ 13271 h 91236"/>
                      <a:gd name="connsiteX17" fmla="*/ 16514 w 135178"/>
                      <a:gd name="connsiteY17" fmla="*/ 13271 h 91236"/>
                      <a:gd name="connsiteX18" fmla="*/ 14087 w 135178"/>
                      <a:gd name="connsiteY18" fmla="*/ 14367 h 91236"/>
                      <a:gd name="connsiteX19" fmla="*/ 13297 w 135178"/>
                      <a:gd name="connsiteY19" fmla="*/ 16936 h 91236"/>
                      <a:gd name="connsiteX20" fmla="*/ 19744 w 135178"/>
                      <a:gd name="connsiteY20" fmla="*/ 69013 h 91236"/>
                      <a:gd name="connsiteX21" fmla="*/ 19744 w 135178"/>
                      <a:gd name="connsiteY21" fmla="*/ 77965 h 9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5178" h="91236">
                        <a:moveTo>
                          <a:pt x="128710" y="91237"/>
                        </a:moveTo>
                        <a:lnTo>
                          <a:pt x="6472" y="91237"/>
                        </a:lnTo>
                        <a:lnTo>
                          <a:pt x="6472" y="69423"/>
                        </a:lnTo>
                        <a:lnTo>
                          <a:pt x="128" y="18584"/>
                        </a:lnTo>
                        <a:cubicBezTo>
                          <a:pt x="-461" y="13878"/>
                          <a:pt x="1000" y="9142"/>
                          <a:pt x="4139" y="5587"/>
                        </a:cubicBezTo>
                        <a:cubicBezTo>
                          <a:pt x="7269" y="2034"/>
                          <a:pt x="11781" y="0"/>
                          <a:pt x="16514" y="0"/>
                        </a:cubicBezTo>
                        <a:lnTo>
                          <a:pt x="118668" y="0"/>
                        </a:lnTo>
                        <a:cubicBezTo>
                          <a:pt x="123397" y="0"/>
                          <a:pt x="127910" y="2034"/>
                          <a:pt x="131040" y="5584"/>
                        </a:cubicBezTo>
                        <a:cubicBezTo>
                          <a:pt x="134179" y="9139"/>
                          <a:pt x="135640" y="13878"/>
                          <a:pt x="135051" y="18584"/>
                        </a:cubicBezTo>
                        <a:lnTo>
                          <a:pt x="128710" y="69423"/>
                        </a:lnTo>
                        <a:lnTo>
                          <a:pt x="128710" y="91237"/>
                        </a:lnTo>
                        <a:close/>
                        <a:moveTo>
                          <a:pt x="19744" y="77965"/>
                        </a:moveTo>
                        <a:lnTo>
                          <a:pt x="115438" y="77965"/>
                        </a:lnTo>
                        <a:lnTo>
                          <a:pt x="115490" y="68192"/>
                        </a:lnTo>
                        <a:lnTo>
                          <a:pt x="121882" y="16939"/>
                        </a:lnTo>
                        <a:cubicBezTo>
                          <a:pt x="122042" y="15662"/>
                          <a:pt x="121454" y="14777"/>
                          <a:pt x="121092" y="14367"/>
                        </a:cubicBezTo>
                        <a:cubicBezTo>
                          <a:pt x="120729" y="13960"/>
                          <a:pt x="119935" y="13271"/>
                          <a:pt x="118668" y="13271"/>
                        </a:cubicBezTo>
                        <a:lnTo>
                          <a:pt x="16514" y="13271"/>
                        </a:lnTo>
                        <a:cubicBezTo>
                          <a:pt x="15243" y="13271"/>
                          <a:pt x="14450" y="13960"/>
                          <a:pt x="14087" y="14367"/>
                        </a:cubicBezTo>
                        <a:cubicBezTo>
                          <a:pt x="13725" y="14777"/>
                          <a:pt x="13137" y="15662"/>
                          <a:pt x="13297" y="16936"/>
                        </a:cubicBezTo>
                        <a:lnTo>
                          <a:pt x="19744" y="69013"/>
                        </a:lnTo>
                        <a:lnTo>
                          <a:pt x="19744" y="77965"/>
                        </a:lnTo>
                        <a:close/>
                      </a:path>
                    </a:pathLst>
                  </a:custGeom>
                  <a:grpFill/>
                  <a:ln w="301" cap="flat">
                    <a:noFill/>
                    <a:prstDash val="solid"/>
                    <a:miter/>
                  </a:ln>
                </p:spPr>
                <p:txBody>
                  <a:bodyPr rtlCol="0" anchor="ctr"/>
                  <a:lstStyle/>
                  <a:p>
                    <a:endParaRPr lang="en-GB" dirty="0"/>
                  </a:p>
                </p:txBody>
              </p:sp>
              <p:sp>
                <p:nvSpPr>
                  <p:cNvPr id="314" name="Freihandform: Form 311">
                    <a:extLst>
                      <a:ext uri="{FF2B5EF4-FFF2-40B4-BE49-F238E27FC236}">
                        <a16:creationId xmlns:a16="http://schemas.microsoft.com/office/drawing/2014/main" id="{93E64AAB-FBD1-49D9-B996-CE199BF2ABFD}"/>
                      </a:ext>
                    </a:extLst>
                  </p:cNvPr>
                  <p:cNvSpPr/>
                  <p:nvPr/>
                </p:nvSpPr>
                <p:spPr>
                  <a:xfrm>
                    <a:off x="1000958" y="2882163"/>
                    <a:ext cx="275043" cy="13274"/>
                  </a:xfrm>
                  <a:custGeom>
                    <a:avLst/>
                    <a:gdLst>
                      <a:gd name="connsiteX0" fmla="*/ 268407 w 275043"/>
                      <a:gd name="connsiteY0" fmla="*/ 13274 h 13274"/>
                      <a:gd name="connsiteX1" fmla="*/ 6637 w 275043"/>
                      <a:gd name="connsiteY1" fmla="*/ 13274 h 13274"/>
                      <a:gd name="connsiteX2" fmla="*/ 0 w 275043"/>
                      <a:gd name="connsiteY2" fmla="*/ 6637 h 13274"/>
                      <a:gd name="connsiteX3" fmla="*/ 6637 w 275043"/>
                      <a:gd name="connsiteY3" fmla="*/ 0 h 13274"/>
                      <a:gd name="connsiteX4" fmla="*/ 268407 w 275043"/>
                      <a:gd name="connsiteY4" fmla="*/ 0 h 13274"/>
                      <a:gd name="connsiteX5" fmla="*/ 275044 w 275043"/>
                      <a:gd name="connsiteY5" fmla="*/ 6637 h 13274"/>
                      <a:gd name="connsiteX6" fmla="*/ 268407 w 275043"/>
                      <a:gd name="connsiteY6" fmla="*/ 13274 h 13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043" h="13274">
                        <a:moveTo>
                          <a:pt x="268407" y="13274"/>
                        </a:moveTo>
                        <a:lnTo>
                          <a:pt x="6637" y="13274"/>
                        </a:lnTo>
                        <a:cubicBezTo>
                          <a:pt x="2973" y="13274"/>
                          <a:pt x="0" y="10304"/>
                          <a:pt x="0" y="6637"/>
                        </a:cubicBezTo>
                        <a:cubicBezTo>
                          <a:pt x="0" y="2970"/>
                          <a:pt x="2970" y="0"/>
                          <a:pt x="6637" y="0"/>
                        </a:cubicBezTo>
                        <a:lnTo>
                          <a:pt x="268407" y="0"/>
                        </a:lnTo>
                        <a:cubicBezTo>
                          <a:pt x="272071" y="0"/>
                          <a:pt x="275044" y="2970"/>
                          <a:pt x="275044" y="6637"/>
                        </a:cubicBezTo>
                        <a:cubicBezTo>
                          <a:pt x="275044" y="10304"/>
                          <a:pt x="272071" y="13274"/>
                          <a:pt x="268407" y="13274"/>
                        </a:cubicBezTo>
                        <a:close/>
                      </a:path>
                    </a:pathLst>
                  </a:custGeom>
                  <a:grpFill/>
                  <a:ln w="301" cap="flat">
                    <a:noFill/>
                    <a:prstDash val="solid"/>
                    <a:miter/>
                  </a:ln>
                </p:spPr>
                <p:txBody>
                  <a:bodyPr rtlCol="0" anchor="ctr"/>
                  <a:lstStyle/>
                  <a:p>
                    <a:endParaRPr lang="en-GB" dirty="0"/>
                  </a:p>
                </p:txBody>
              </p:sp>
            </p:grpSp>
            <p:grpSp>
              <p:nvGrpSpPr>
                <p:cNvPr id="308" name="Grafik 342">
                  <a:extLst>
                    <a:ext uri="{FF2B5EF4-FFF2-40B4-BE49-F238E27FC236}">
                      <a16:creationId xmlns:a16="http://schemas.microsoft.com/office/drawing/2014/main" id="{950204B1-B76D-40F2-813C-E82D58D0BA92}"/>
                    </a:ext>
                  </a:extLst>
                </p:cNvPr>
                <p:cNvGrpSpPr/>
                <p:nvPr/>
              </p:nvGrpSpPr>
              <p:grpSpPr>
                <a:xfrm>
                  <a:off x="1008229" y="2470841"/>
                  <a:ext cx="262590" cy="170734"/>
                  <a:chOff x="1008229" y="2470841"/>
                  <a:chExt cx="262590" cy="170734"/>
                </a:xfrm>
                <a:grpFill/>
              </p:grpSpPr>
              <p:sp>
                <p:nvSpPr>
                  <p:cNvPr id="311" name="Freihandform: Form 320">
                    <a:extLst>
                      <a:ext uri="{FF2B5EF4-FFF2-40B4-BE49-F238E27FC236}">
                        <a16:creationId xmlns:a16="http://schemas.microsoft.com/office/drawing/2014/main" id="{F0625A34-8BFC-4E03-A29E-27D0C6A35842}"/>
                      </a:ext>
                    </a:extLst>
                  </p:cNvPr>
                  <p:cNvSpPr/>
                  <p:nvPr/>
                </p:nvSpPr>
                <p:spPr>
                  <a:xfrm>
                    <a:off x="1008229" y="2470841"/>
                    <a:ext cx="262590" cy="170734"/>
                  </a:xfrm>
                  <a:custGeom>
                    <a:avLst/>
                    <a:gdLst>
                      <a:gd name="connsiteX0" fmla="*/ 242836 w 262590"/>
                      <a:gd name="connsiteY0" fmla="*/ 170735 h 170734"/>
                      <a:gd name="connsiteX1" fmla="*/ 181607 w 262590"/>
                      <a:gd name="connsiteY1" fmla="*/ 170735 h 170734"/>
                      <a:gd name="connsiteX2" fmla="*/ 174970 w 262590"/>
                      <a:gd name="connsiteY2" fmla="*/ 164098 h 170734"/>
                      <a:gd name="connsiteX3" fmla="*/ 181607 w 262590"/>
                      <a:gd name="connsiteY3" fmla="*/ 157461 h 170734"/>
                      <a:gd name="connsiteX4" fmla="*/ 242836 w 262590"/>
                      <a:gd name="connsiteY4" fmla="*/ 157461 h 170734"/>
                      <a:gd name="connsiteX5" fmla="*/ 249322 w 262590"/>
                      <a:gd name="connsiteY5" fmla="*/ 150974 h 170734"/>
                      <a:gd name="connsiteX6" fmla="*/ 249322 w 262590"/>
                      <a:gd name="connsiteY6" fmla="*/ 19755 h 170734"/>
                      <a:gd name="connsiteX7" fmla="*/ 242836 w 262590"/>
                      <a:gd name="connsiteY7" fmla="*/ 13268 h 170734"/>
                      <a:gd name="connsiteX8" fmla="*/ 19758 w 262590"/>
                      <a:gd name="connsiteY8" fmla="*/ 13268 h 170734"/>
                      <a:gd name="connsiteX9" fmla="*/ 13271 w 262590"/>
                      <a:gd name="connsiteY9" fmla="*/ 19755 h 170734"/>
                      <a:gd name="connsiteX10" fmla="*/ 13271 w 262590"/>
                      <a:gd name="connsiteY10" fmla="*/ 150974 h 170734"/>
                      <a:gd name="connsiteX11" fmla="*/ 19758 w 262590"/>
                      <a:gd name="connsiteY11" fmla="*/ 157461 h 170734"/>
                      <a:gd name="connsiteX12" fmla="*/ 79574 w 262590"/>
                      <a:gd name="connsiteY12" fmla="*/ 157461 h 170734"/>
                      <a:gd name="connsiteX13" fmla="*/ 86211 w 262590"/>
                      <a:gd name="connsiteY13" fmla="*/ 164098 h 170734"/>
                      <a:gd name="connsiteX14" fmla="*/ 79574 w 262590"/>
                      <a:gd name="connsiteY14" fmla="*/ 170735 h 170734"/>
                      <a:gd name="connsiteX15" fmla="*/ 19758 w 262590"/>
                      <a:gd name="connsiteY15" fmla="*/ 170735 h 170734"/>
                      <a:gd name="connsiteX16" fmla="*/ 0 w 262590"/>
                      <a:gd name="connsiteY16" fmla="*/ 150977 h 170734"/>
                      <a:gd name="connsiteX17" fmla="*/ 0 w 262590"/>
                      <a:gd name="connsiteY17" fmla="*/ 19758 h 170734"/>
                      <a:gd name="connsiteX18" fmla="*/ 19758 w 262590"/>
                      <a:gd name="connsiteY18" fmla="*/ 0 h 170734"/>
                      <a:gd name="connsiteX19" fmla="*/ 242833 w 262590"/>
                      <a:gd name="connsiteY19" fmla="*/ 0 h 170734"/>
                      <a:gd name="connsiteX20" fmla="*/ 262590 w 262590"/>
                      <a:gd name="connsiteY20" fmla="*/ 19758 h 170734"/>
                      <a:gd name="connsiteX21" fmla="*/ 262590 w 262590"/>
                      <a:gd name="connsiteY21" fmla="*/ 150977 h 170734"/>
                      <a:gd name="connsiteX22" fmla="*/ 242836 w 262590"/>
                      <a:gd name="connsiteY22" fmla="*/ 170735 h 17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2590" h="170734">
                        <a:moveTo>
                          <a:pt x="242836" y="170735"/>
                        </a:moveTo>
                        <a:lnTo>
                          <a:pt x="181607" y="170735"/>
                        </a:lnTo>
                        <a:cubicBezTo>
                          <a:pt x="177943" y="170735"/>
                          <a:pt x="174970" y="167765"/>
                          <a:pt x="174970" y="164098"/>
                        </a:cubicBezTo>
                        <a:cubicBezTo>
                          <a:pt x="174970" y="160434"/>
                          <a:pt x="177940" y="157461"/>
                          <a:pt x="181607" y="157461"/>
                        </a:cubicBezTo>
                        <a:lnTo>
                          <a:pt x="242836" y="157461"/>
                        </a:lnTo>
                        <a:cubicBezTo>
                          <a:pt x="246412" y="157461"/>
                          <a:pt x="249322" y="154551"/>
                          <a:pt x="249322" y="150974"/>
                        </a:cubicBezTo>
                        <a:lnTo>
                          <a:pt x="249322" y="19755"/>
                        </a:lnTo>
                        <a:cubicBezTo>
                          <a:pt x="249322" y="16178"/>
                          <a:pt x="246412" y="13268"/>
                          <a:pt x="242836" y="13268"/>
                        </a:cubicBezTo>
                        <a:lnTo>
                          <a:pt x="19758" y="13268"/>
                        </a:lnTo>
                        <a:cubicBezTo>
                          <a:pt x="16181" y="13268"/>
                          <a:pt x="13271" y="16178"/>
                          <a:pt x="13271" y="19755"/>
                        </a:cubicBezTo>
                        <a:lnTo>
                          <a:pt x="13271" y="150974"/>
                        </a:lnTo>
                        <a:cubicBezTo>
                          <a:pt x="13271" y="154551"/>
                          <a:pt x="16181" y="157461"/>
                          <a:pt x="19758" y="157461"/>
                        </a:cubicBezTo>
                        <a:lnTo>
                          <a:pt x="79574" y="157461"/>
                        </a:lnTo>
                        <a:cubicBezTo>
                          <a:pt x="83238" y="157461"/>
                          <a:pt x="86211" y="160431"/>
                          <a:pt x="86211" y="164098"/>
                        </a:cubicBezTo>
                        <a:cubicBezTo>
                          <a:pt x="86211" y="167762"/>
                          <a:pt x="83241" y="170735"/>
                          <a:pt x="79574" y="170735"/>
                        </a:cubicBezTo>
                        <a:lnTo>
                          <a:pt x="19758" y="170735"/>
                        </a:lnTo>
                        <a:cubicBezTo>
                          <a:pt x="8865" y="170735"/>
                          <a:pt x="0" y="161870"/>
                          <a:pt x="0" y="150977"/>
                        </a:cubicBezTo>
                        <a:lnTo>
                          <a:pt x="0" y="19758"/>
                        </a:lnTo>
                        <a:cubicBezTo>
                          <a:pt x="0" y="8865"/>
                          <a:pt x="8865" y="0"/>
                          <a:pt x="19758" y="0"/>
                        </a:cubicBezTo>
                        <a:lnTo>
                          <a:pt x="242833" y="0"/>
                        </a:lnTo>
                        <a:cubicBezTo>
                          <a:pt x="253726" y="0"/>
                          <a:pt x="262590" y="8865"/>
                          <a:pt x="262590" y="19758"/>
                        </a:cubicBezTo>
                        <a:lnTo>
                          <a:pt x="262590" y="150977"/>
                        </a:lnTo>
                        <a:cubicBezTo>
                          <a:pt x="262593" y="161870"/>
                          <a:pt x="253729" y="170735"/>
                          <a:pt x="242836" y="170735"/>
                        </a:cubicBezTo>
                        <a:close/>
                      </a:path>
                    </a:pathLst>
                  </a:custGeom>
                  <a:grpFill/>
                  <a:ln w="301" cap="flat">
                    <a:noFill/>
                    <a:prstDash val="solid"/>
                    <a:miter/>
                  </a:ln>
                </p:spPr>
                <p:txBody>
                  <a:bodyPr rtlCol="0" anchor="ctr"/>
                  <a:lstStyle/>
                  <a:p>
                    <a:endParaRPr lang="en-GB" dirty="0"/>
                  </a:p>
                </p:txBody>
              </p:sp>
              <p:sp>
                <p:nvSpPr>
                  <p:cNvPr id="312" name="Freihandform: Form 321">
                    <a:extLst>
                      <a:ext uri="{FF2B5EF4-FFF2-40B4-BE49-F238E27FC236}">
                        <a16:creationId xmlns:a16="http://schemas.microsoft.com/office/drawing/2014/main" id="{D1B53A44-9F65-4CBA-BFCC-D34B12A16ACA}"/>
                      </a:ext>
                    </a:extLst>
                  </p:cNvPr>
                  <p:cNvSpPr/>
                  <p:nvPr/>
                </p:nvSpPr>
                <p:spPr>
                  <a:xfrm>
                    <a:off x="1078497" y="2495847"/>
                    <a:ext cx="115896" cy="111489"/>
                  </a:xfrm>
                  <a:custGeom>
                    <a:avLst/>
                    <a:gdLst>
                      <a:gd name="connsiteX0" fmla="*/ 30144 w 115896"/>
                      <a:gd name="connsiteY0" fmla="*/ 111489 h 111489"/>
                      <a:gd name="connsiteX1" fmla="*/ 22529 w 115896"/>
                      <a:gd name="connsiteY1" fmla="*/ 108996 h 111489"/>
                      <a:gd name="connsiteX2" fmla="*/ 17374 w 115896"/>
                      <a:gd name="connsiteY2" fmla="*/ 96310 h 111489"/>
                      <a:gd name="connsiteX3" fmla="*/ 21527 w 115896"/>
                      <a:gd name="connsiteY3" fmla="*/ 72086 h 111489"/>
                      <a:gd name="connsiteX4" fmla="*/ 3927 w 115896"/>
                      <a:gd name="connsiteY4" fmla="*/ 54930 h 111489"/>
                      <a:gd name="connsiteX5" fmla="*/ 646 w 115896"/>
                      <a:gd name="connsiteY5" fmla="*/ 41631 h 111489"/>
                      <a:gd name="connsiteX6" fmla="*/ 11111 w 115896"/>
                      <a:gd name="connsiteY6" fmla="*/ 32806 h 111489"/>
                      <a:gd name="connsiteX7" fmla="*/ 35438 w 115896"/>
                      <a:gd name="connsiteY7" fmla="*/ 29271 h 111489"/>
                      <a:gd name="connsiteX8" fmla="*/ 46319 w 115896"/>
                      <a:gd name="connsiteY8" fmla="*/ 7232 h 111489"/>
                      <a:gd name="connsiteX9" fmla="*/ 57948 w 115896"/>
                      <a:gd name="connsiteY9" fmla="*/ 0 h 111489"/>
                      <a:gd name="connsiteX10" fmla="*/ 57951 w 115896"/>
                      <a:gd name="connsiteY10" fmla="*/ 0 h 111489"/>
                      <a:gd name="connsiteX11" fmla="*/ 69578 w 115896"/>
                      <a:gd name="connsiteY11" fmla="*/ 7235 h 111489"/>
                      <a:gd name="connsiteX12" fmla="*/ 80456 w 115896"/>
                      <a:gd name="connsiteY12" fmla="*/ 29271 h 111489"/>
                      <a:gd name="connsiteX13" fmla="*/ 104783 w 115896"/>
                      <a:gd name="connsiteY13" fmla="*/ 32806 h 111489"/>
                      <a:gd name="connsiteX14" fmla="*/ 115250 w 115896"/>
                      <a:gd name="connsiteY14" fmla="*/ 41631 h 111489"/>
                      <a:gd name="connsiteX15" fmla="*/ 111973 w 115896"/>
                      <a:gd name="connsiteY15" fmla="*/ 54927 h 111489"/>
                      <a:gd name="connsiteX16" fmla="*/ 94370 w 115896"/>
                      <a:gd name="connsiteY16" fmla="*/ 72086 h 111489"/>
                      <a:gd name="connsiteX17" fmla="*/ 98523 w 115896"/>
                      <a:gd name="connsiteY17" fmla="*/ 96313 h 111489"/>
                      <a:gd name="connsiteX18" fmla="*/ 93362 w 115896"/>
                      <a:gd name="connsiteY18" fmla="*/ 108999 h 111489"/>
                      <a:gd name="connsiteX19" fmla="*/ 79707 w 115896"/>
                      <a:gd name="connsiteY19" fmla="*/ 109983 h 111489"/>
                      <a:gd name="connsiteX20" fmla="*/ 57948 w 115896"/>
                      <a:gd name="connsiteY20" fmla="*/ 98547 h 111489"/>
                      <a:gd name="connsiteX21" fmla="*/ 36190 w 115896"/>
                      <a:gd name="connsiteY21" fmla="*/ 109983 h 111489"/>
                      <a:gd name="connsiteX22" fmla="*/ 30144 w 115896"/>
                      <a:gd name="connsiteY22" fmla="*/ 111489 h 111489"/>
                      <a:gd name="connsiteX23" fmla="*/ 63623 w 115896"/>
                      <a:gd name="connsiteY23" fmla="*/ 10169 h 111489"/>
                      <a:gd name="connsiteX24" fmla="*/ 57668 w 115896"/>
                      <a:gd name="connsiteY24" fmla="*/ 13093 h 111489"/>
                      <a:gd name="connsiteX25" fmla="*/ 44251 w 115896"/>
                      <a:gd name="connsiteY25" fmla="*/ 41402 h 111489"/>
                      <a:gd name="connsiteX26" fmla="*/ 13024 w 115896"/>
                      <a:gd name="connsiteY26" fmla="*/ 45941 h 111489"/>
                      <a:gd name="connsiteX27" fmla="*/ 35791 w 115896"/>
                      <a:gd name="connsiteY27" fmla="*/ 67453 h 111489"/>
                      <a:gd name="connsiteX28" fmla="*/ 30455 w 115896"/>
                      <a:gd name="connsiteY28" fmla="*/ 98556 h 111489"/>
                      <a:gd name="connsiteX29" fmla="*/ 57948 w 115896"/>
                      <a:gd name="connsiteY29" fmla="*/ 83552 h 111489"/>
                      <a:gd name="connsiteX30" fmla="*/ 85883 w 115896"/>
                      <a:gd name="connsiteY30" fmla="*/ 98236 h 111489"/>
                      <a:gd name="connsiteX31" fmla="*/ 80106 w 115896"/>
                      <a:gd name="connsiteY31" fmla="*/ 67456 h 111489"/>
                      <a:gd name="connsiteX32" fmla="*/ 102709 w 115896"/>
                      <a:gd name="connsiteY32" fmla="*/ 45425 h 111489"/>
                      <a:gd name="connsiteX33" fmla="*/ 71642 w 115896"/>
                      <a:gd name="connsiteY33" fmla="*/ 41405 h 111489"/>
                      <a:gd name="connsiteX34" fmla="*/ 57674 w 115896"/>
                      <a:gd name="connsiteY34" fmla="*/ 13102 h 111489"/>
                      <a:gd name="connsiteX35" fmla="*/ 63623 w 115896"/>
                      <a:gd name="connsiteY35" fmla="*/ 10169 h 111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15896" h="111489">
                        <a:moveTo>
                          <a:pt x="30144" y="111489"/>
                        </a:moveTo>
                        <a:cubicBezTo>
                          <a:pt x="27464" y="111489"/>
                          <a:pt x="24805" y="110650"/>
                          <a:pt x="22529" y="108996"/>
                        </a:cubicBezTo>
                        <a:cubicBezTo>
                          <a:pt x="18509" y="106074"/>
                          <a:pt x="16532" y="101212"/>
                          <a:pt x="17374" y="96310"/>
                        </a:cubicBezTo>
                        <a:lnTo>
                          <a:pt x="21527" y="72086"/>
                        </a:lnTo>
                        <a:lnTo>
                          <a:pt x="3927" y="54930"/>
                        </a:lnTo>
                        <a:cubicBezTo>
                          <a:pt x="363" y="51456"/>
                          <a:pt x="-893" y="46364"/>
                          <a:pt x="646" y="41631"/>
                        </a:cubicBezTo>
                        <a:cubicBezTo>
                          <a:pt x="2183" y="36905"/>
                          <a:pt x="6194" y="33521"/>
                          <a:pt x="11111" y="32806"/>
                        </a:cubicBezTo>
                        <a:lnTo>
                          <a:pt x="35438" y="29271"/>
                        </a:lnTo>
                        <a:lnTo>
                          <a:pt x="46319" y="7232"/>
                        </a:lnTo>
                        <a:cubicBezTo>
                          <a:pt x="48519" y="2771"/>
                          <a:pt x="52974" y="0"/>
                          <a:pt x="57948" y="0"/>
                        </a:cubicBezTo>
                        <a:lnTo>
                          <a:pt x="57951" y="0"/>
                        </a:lnTo>
                        <a:cubicBezTo>
                          <a:pt x="62926" y="3"/>
                          <a:pt x="67381" y="2774"/>
                          <a:pt x="69578" y="7235"/>
                        </a:cubicBezTo>
                        <a:lnTo>
                          <a:pt x="80456" y="29271"/>
                        </a:lnTo>
                        <a:lnTo>
                          <a:pt x="104783" y="32806"/>
                        </a:lnTo>
                        <a:cubicBezTo>
                          <a:pt x="109703" y="33521"/>
                          <a:pt x="113717" y="36905"/>
                          <a:pt x="115250" y="41631"/>
                        </a:cubicBezTo>
                        <a:cubicBezTo>
                          <a:pt x="116790" y="46361"/>
                          <a:pt x="115531" y="51456"/>
                          <a:pt x="111973" y="54927"/>
                        </a:cubicBezTo>
                        <a:lnTo>
                          <a:pt x="94370" y="72086"/>
                        </a:lnTo>
                        <a:lnTo>
                          <a:pt x="98523" y="96313"/>
                        </a:lnTo>
                        <a:cubicBezTo>
                          <a:pt x="99362" y="101215"/>
                          <a:pt x="97385" y="106074"/>
                          <a:pt x="93362" y="108999"/>
                        </a:cubicBezTo>
                        <a:cubicBezTo>
                          <a:pt x="89342" y="111918"/>
                          <a:pt x="84111" y="112295"/>
                          <a:pt x="79707" y="109983"/>
                        </a:cubicBezTo>
                        <a:lnTo>
                          <a:pt x="57948" y="98547"/>
                        </a:lnTo>
                        <a:lnTo>
                          <a:pt x="36190" y="109983"/>
                        </a:lnTo>
                        <a:cubicBezTo>
                          <a:pt x="34276" y="110988"/>
                          <a:pt x="32206" y="111489"/>
                          <a:pt x="30144" y="111489"/>
                        </a:cubicBezTo>
                        <a:close/>
                        <a:moveTo>
                          <a:pt x="63623" y="10169"/>
                        </a:moveTo>
                        <a:lnTo>
                          <a:pt x="57668" y="13093"/>
                        </a:lnTo>
                        <a:lnTo>
                          <a:pt x="44251" y="41402"/>
                        </a:lnTo>
                        <a:lnTo>
                          <a:pt x="13024" y="45941"/>
                        </a:lnTo>
                        <a:lnTo>
                          <a:pt x="35791" y="67453"/>
                        </a:lnTo>
                        <a:lnTo>
                          <a:pt x="30455" y="98556"/>
                        </a:lnTo>
                        <a:lnTo>
                          <a:pt x="57948" y="83552"/>
                        </a:lnTo>
                        <a:lnTo>
                          <a:pt x="85883" y="98236"/>
                        </a:lnTo>
                        <a:lnTo>
                          <a:pt x="80106" y="67456"/>
                        </a:lnTo>
                        <a:lnTo>
                          <a:pt x="102709" y="45425"/>
                        </a:lnTo>
                        <a:lnTo>
                          <a:pt x="71642" y="41405"/>
                        </a:lnTo>
                        <a:lnTo>
                          <a:pt x="57674" y="13102"/>
                        </a:lnTo>
                        <a:lnTo>
                          <a:pt x="63623" y="10169"/>
                        </a:lnTo>
                        <a:close/>
                      </a:path>
                    </a:pathLst>
                  </a:custGeom>
                  <a:grpFill/>
                  <a:ln w="301" cap="flat">
                    <a:noFill/>
                    <a:prstDash val="solid"/>
                    <a:miter/>
                  </a:ln>
                </p:spPr>
                <p:txBody>
                  <a:bodyPr rtlCol="0" anchor="ctr"/>
                  <a:lstStyle/>
                  <a:p>
                    <a:endParaRPr lang="en-GB" dirty="0"/>
                  </a:p>
                </p:txBody>
              </p:sp>
            </p:grpSp>
            <p:sp>
              <p:nvSpPr>
                <p:cNvPr id="309" name="Freihandform: Form 323">
                  <a:extLst>
                    <a:ext uri="{FF2B5EF4-FFF2-40B4-BE49-F238E27FC236}">
                      <a16:creationId xmlns:a16="http://schemas.microsoft.com/office/drawing/2014/main" id="{5B1AFD9C-2C81-4A9D-9F59-3EA7ED681F98}"/>
                    </a:ext>
                  </a:extLst>
                </p:cNvPr>
                <p:cNvSpPr/>
                <p:nvPr/>
              </p:nvSpPr>
              <p:spPr>
                <a:xfrm>
                  <a:off x="1257953" y="2470852"/>
                  <a:ext cx="153349" cy="223187"/>
                </a:xfrm>
                <a:custGeom>
                  <a:avLst/>
                  <a:gdLst>
                    <a:gd name="connsiteX0" fmla="*/ 140416 w 153349"/>
                    <a:gd name="connsiteY0" fmla="*/ 223187 h 223187"/>
                    <a:gd name="connsiteX1" fmla="*/ 135651 w 153349"/>
                    <a:gd name="connsiteY1" fmla="*/ 222206 h 223187"/>
                    <a:gd name="connsiteX2" fmla="*/ 12580 w 153349"/>
                    <a:gd name="connsiteY2" fmla="*/ 170763 h 223187"/>
                    <a:gd name="connsiteX3" fmla="*/ 0 w 153349"/>
                    <a:gd name="connsiteY3" fmla="*/ 147963 h 223187"/>
                    <a:gd name="connsiteX4" fmla="*/ 0 w 153349"/>
                    <a:gd name="connsiteY4" fmla="*/ 16740 h 223187"/>
                    <a:gd name="connsiteX5" fmla="*/ 6565 w 153349"/>
                    <a:gd name="connsiteY5" fmla="*/ 1957 h 223187"/>
                    <a:gd name="connsiteX6" fmla="*/ 17642 w 153349"/>
                    <a:gd name="connsiteY6" fmla="*/ 936 h 223187"/>
                    <a:gd name="connsiteX7" fmla="*/ 140712 w 153349"/>
                    <a:gd name="connsiteY7" fmla="*/ 51016 h 223187"/>
                    <a:gd name="connsiteX8" fmla="*/ 153350 w 153349"/>
                    <a:gd name="connsiteY8" fmla="*/ 73876 h 223187"/>
                    <a:gd name="connsiteX9" fmla="*/ 153350 w 153349"/>
                    <a:gd name="connsiteY9" fmla="*/ 206391 h 223187"/>
                    <a:gd name="connsiteX10" fmla="*/ 146737 w 153349"/>
                    <a:gd name="connsiteY10" fmla="*/ 221277 h 223187"/>
                    <a:gd name="connsiteX11" fmla="*/ 140416 w 153349"/>
                    <a:gd name="connsiteY11" fmla="*/ 223187 h 223187"/>
                    <a:gd name="connsiteX12" fmla="*/ 140770 w 153349"/>
                    <a:gd name="connsiteY12" fmla="*/ 209964 h 223187"/>
                    <a:gd name="connsiteX13" fmla="*/ 138210 w 153349"/>
                    <a:gd name="connsiteY13" fmla="*/ 216085 h 223187"/>
                    <a:gd name="connsiteX14" fmla="*/ 140779 w 153349"/>
                    <a:gd name="connsiteY14" fmla="*/ 209967 h 223187"/>
                    <a:gd name="connsiteX15" fmla="*/ 140770 w 153349"/>
                    <a:gd name="connsiteY15" fmla="*/ 209964 h 223187"/>
                    <a:gd name="connsiteX16" fmla="*/ 13709 w 153349"/>
                    <a:gd name="connsiteY16" fmla="*/ 13658 h 223187"/>
                    <a:gd name="connsiteX17" fmla="*/ 13271 w 153349"/>
                    <a:gd name="connsiteY17" fmla="*/ 16737 h 223187"/>
                    <a:gd name="connsiteX18" fmla="*/ 13271 w 153349"/>
                    <a:gd name="connsiteY18" fmla="*/ 147960 h 223187"/>
                    <a:gd name="connsiteX19" fmla="*/ 17699 w 153349"/>
                    <a:gd name="connsiteY19" fmla="*/ 158512 h 223187"/>
                    <a:gd name="connsiteX20" fmla="*/ 139644 w 153349"/>
                    <a:gd name="connsiteY20" fmla="*/ 209487 h 223187"/>
                    <a:gd name="connsiteX21" fmla="*/ 140075 w 153349"/>
                    <a:gd name="connsiteY21" fmla="*/ 206385 h 223187"/>
                    <a:gd name="connsiteX22" fmla="*/ 140075 w 153349"/>
                    <a:gd name="connsiteY22" fmla="*/ 73870 h 223187"/>
                    <a:gd name="connsiteX23" fmla="*/ 135708 w 153349"/>
                    <a:gd name="connsiteY23" fmla="*/ 63303 h 223187"/>
                    <a:gd name="connsiteX24" fmla="*/ 13709 w 153349"/>
                    <a:gd name="connsiteY24" fmla="*/ 13658 h 22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49" h="223187">
                      <a:moveTo>
                        <a:pt x="140416" y="223187"/>
                      </a:moveTo>
                      <a:cubicBezTo>
                        <a:pt x="138832" y="223187"/>
                        <a:pt x="137217" y="222864"/>
                        <a:pt x="135651" y="222206"/>
                      </a:cubicBezTo>
                      <a:lnTo>
                        <a:pt x="12580" y="170763"/>
                      </a:lnTo>
                      <a:cubicBezTo>
                        <a:pt x="5406" y="167763"/>
                        <a:pt x="0" y="157962"/>
                        <a:pt x="0" y="147963"/>
                      </a:cubicBezTo>
                      <a:lnTo>
                        <a:pt x="0" y="16740"/>
                      </a:lnTo>
                      <a:cubicBezTo>
                        <a:pt x="0" y="10154"/>
                        <a:pt x="2394" y="4763"/>
                        <a:pt x="6565" y="1957"/>
                      </a:cubicBezTo>
                      <a:cubicBezTo>
                        <a:pt x="9821" y="-232"/>
                        <a:pt x="13866" y="-603"/>
                        <a:pt x="17642" y="936"/>
                      </a:cubicBezTo>
                      <a:lnTo>
                        <a:pt x="140712" y="51016"/>
                      </a:lnTo>
                      <a:cubicBezTo>
                        <a:pt x="147917" y="53949"/>
                        <a:pt x="153350" y="63774"/>
                        <a:pt x="153350" y="73876"/>
                      </a:cubicBezTo>
                      <a:lnTo>
                        <a:pt x="153350" y="206391"/>
                      </a:lnTo>
                      <a:cubicBezTo>
                        <a:pt x="153350" y="213052"/>
                        <a:pt x="150938" y="218476"/>
                        <a:pt x="146737" y="221277"/>
                      </a:cubicBezTo>
                      <a:cubicBezTo>
                        <a:pt x="144826" y="222541"/>
                        <a:pt x="142650" y="223187"/>
                        <a:pt x="140416" y="223187"/>
                      </a:cubicBezTo>
                      <a:close/>
                      <a:moveTo>
                        <a:pt x="140770" y="209964"/>
                      </a:moveTo>
                      <a:lnTo>
                        <a:pt x="138210" y="216085"/>
                      </a:lnTo>
                      <a:lnTo>
                        <a:pt x="140779" y="209967"/>
                      </a:lnTo>
                      <a:cubicBezTo>
                        <a:pt x="140779" y="209964"/>
                        <a:pt x="140773" y="209964"/>
                        <a:pt x="140770" y="209964"/>
                      </a:cubicBezTo>
                      <a:close/>
                      <a:moveTo>
                        <a:pt x="13709" y="13658"/>
                      </a:moveTo>
                      <a:cubicBezTo>
                        <a:pt x="13489" y="14295"/>
                        <a:pt x="13271" y="15306"/>
                        <a:pt x="13271" y="16737"/>
                      </a:cubicBezTo>
                      <a:lnTo>
                        <a:pt x="13271" y="147960"/>
                      </a:lnTo>
                      <a:cubicBezTo>
                        <a:pt x="13271" y="153275"/>
                        <a:pt x="16178" y="157878"/>
                        <a:pt x="17699" y="158512"/>
                      </a:cubicBezTo>
                      <a:lnTo>
                        <a:pt x="139644" y="209487"/>
                      </a:lnTo>
                      <a:cubicBezTo>
                        <a:pt x="139864" y="208835"/>
                        <a:pt x="140075" y="207815"/>
                        <a:pt x="140075" y="206385"/>
                      </a:cubicBezTo>
                      <a:lnTo>
                        <a:pt x="140075" y="73870"/>
                      </a:lnTo>
                      <a:cubicBezTo>
                        <a:pt x="140075" y="68504"/>
                        <a:pt x="137208" y="63913"/>
                        <a:pt x="135708" y="63303"/>
                      </a:cubicBezTo>
                      <a:lnTo>
                        <a:pt x="13709" y="13658"/>
                      </a:lnTo>
                      <a:close/>
                    </a:path>
                  </a:pathLst>
                </a:custGeom>
                <a:grpFill/>
                <a:ln w="301" cap="flat">
                  <a:noFill/>
                  <a:prstDash val="solid"/>
                  <a:miter/>
                </a:ln>
              </p:spPr>
              <p:txBody>
                <a:bodyPr rtlCol="0" anchor="ctr"/>
                <a:lstStyle/>
                <a:p>
                  <a:endParaRPr lang="en-GB" dirty="0"/>
                </a:p>
              </p:txBody>
            </p:sp>
            <p:sp>
              <p:nvSpPr>
                <p:cNvPr id="310" name="Freihandform: Form 328">
                  <a:extLst>
                    <a:ext uri="{FF2B5EF4-FFF2-40B4-BE49-F238E27FC236}">
                      <a16:creationId xmlns:a16="http://schemas.microsoft.com/office/drawing/2014/main" id="{902F6382-D07C-4D9D-A5A6-4781ECCE7863}"/>
                    </a:ext>
                  </a:extLst>
                </p:cNvPr>
                <p:cNvSpPr/>
                <p:nvPr/>
              </p:nvSpPr>
              <p:spPr>
                <a:xfrm>
                  <a:off x="866443" y="2470852"/>
                  <a:ext cx="155009" cy="223187"/>
                </a:xfrm>
                <a:custGeom>
                  <a:avLst/>
                  <a:gdLst>
                    <a:gd name="connsiteX0" fmla="*/ 13009 w 155009"/>
                    <a:gd name="connsiteY0" fmla="*/ 223187 h 223187"/>
                    <a:gd name="connsiteX1" fmla="*/ 6610 w 155009"/>
                    <a:gd name="connsiteY1" fmla="*/ 221240 h 223187"/>
                    <a:gd name="connsiteX2" fmla="*/ 0 w 155009"/>
                    <a:gd name="connsiteY2" fmla="*/ 206387 h 223187"/>
                    <a:gd name="connsiteX3" fmla="*/ 0 w 155009"/>
                    <a:gd name="connsiteY3" fmla="*/ 73873 h 223187"/>
                    <a:gd name="connsiteX4" fmla="*/ 12767 w 155009"/>
                    <a:gd name="connsiteY4" fmla="*/ 51003 h 223187"/>
                    <a:gd name="connsiteX5" fmla="*/ 137296 w 155009"/>
                    <a:gd name="connsiteY5" fmla="*/ 924 h 223187"/>
                    <a:gd name="connsiteX6" fmla="*/ 148445 w 155009"/>
                    <a:gd name="connsiteY6" fmla="*/ 1983 h 223187"/>
                    <a:gd name="connsiteX7" fmla="*/ 155010 w 155009"/>
                    <a:gd name="connsiteY7" fmla="*/ 16740 h 223187"/>
                    <a:gd name="connsiteX8" fmla="*/ 155010 w 155009"/>
                    <a:gd name="connsiteY8" fmla="*/ 147963 h 223187"/>
                    <a:gd name="connsiteX9" fmla="*/ 142306 w 155009"/>
                    <a:gd name="connsiteY9" fmla="*/ 170772 h 223187"/>
                    <a:gd name="connsiteX10" fmla="*/ 17778 w 155009"/>
                    <a:gd name="connsiteY10" fmla="*/ 222218 h 223187"/>
                    <a:gd name="connsiteX11" fmla="*/ 13009 w 155009"/>
                    <a:gd name="connsiteY11" fmla="*/ 223187 h 223187"/>
                    <a:gd name="connsiteX12" fmla="*/ 12707 w 155009"/>
                    <a:gd name="connsiteY12" fmla="*/ 209949 h 223187"/>
                    <a:gd name="connsiteX13" fmla="*/ 12692 w 155009"/>
                    <a:gd name="connsiteY13" fmla="*/ 209955 h 223187"/>
                    <a:gd name="connsiteX14" fmla="*/ 15242 w 155009"/>
                    <a:gd name="connsiteY14" fmla="*/ 216082 h 223187"/>
                    <a:gd name="connsiteX15" fmla="*/ 12707 w 155009"/>
                    <a:gd name="connsiteY15" fmla="*/ 209949 h 223187"/>
                    <a:gd name="connsiteX16" fmla="*/ 141274 w 155009"/>
                    <a:gd name="connsiteY16" fmla="*/ 13625 h 223187"/>
                    <a:gd name="connsiteX17" fmla="*/ 17714 w 155009"/>
                    <a:gd name="connsiteY17" fmla="*/ 63315 h 223187"/>
                    <a:gd name="connsiteX18" fmla="*/ 13268 w 155009"/>
                    <a:gd name="connsiteY18" fmla="*/ 73870 h 223187"/>
                    <a:gd name="connsiteX19" fmla="*/ 13268 w 155009"/>
                    <a:gd name="connsiteY19" fmla="*/ 206384 h 223187"/>
                    <a:gd name="connsiteX20" fmla="*/ 13721 w 155009"/>
                    <a:gd name="connsiteY20" fmla="*/ 209526 h 223187"/>
                    <a:gd name="connsiteX21" fmla="*/ 137232 w 155009"/>
                    <a:gd name="connsiteY21" fmla="*/ 158499 h 223187"/>
                    <a:gd name="connsiteX22" fmla="*/ 141732 w 155009"/>
                    <a:gd name="connsiteY22" fmla="*/ 147957 h 223187"/>
                    <a:gd name="connsiteX23" fmla="*/ 141732 w 155009"/>
                    <a:gd name="connsiteY23" fmla="*/ 16734 h 223187"/>
                    <a:gd name="connsiteX24" fmla="*/ 141274 w 155009"/>
                    <a:gd name="connsiteY24" fmla="*/ 13625 h 22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5009" h="223187">
                      <a:moveTo>
                        <a:pt x="13009" y="223187"/>
                      </a:moveTo>
                      <a:cubicBezTo>
                        <a:pt x="10745" y="223187"/>
                        <a:pt x="8542" y="222532"/>
                        <a:pt x="6610" y="221240"/>
                      </a:cubicBezTo>
                      <a:cubicBezTo>
                        <a:pt x="2412" y="218430"/>
                        <a:pt x="0" y="213016"/>
                        <a:pt x="0" y="206387"/>
                      </a:cubicBezTo>
                      <a:lnTo>
                        <a:pt x="0" y="73873"/>
                      </a:lnTo>
                      <a:cubicBezTo>
                        <a:pt x="0" y="63765"/>
                        <a:pt x="5490" y="53931"/>
                        <a:pt x="12767" y="51003"/>
                      </a:cubicBezTo>
                      <a:lnTo>
                        <a:pt x="137296" y="924"/>
                      </a:lnTo>
                      <a:cubicBezTo>
                        <a:pt x="141117" y="-609"/>
                        <a:pt x="145176" y="-220"/>
                        <a:pt x="148445" y="1983"/>
                      </a:cubicBezTo>
                      <a:cubicBezTo>
                        <a:pt x="152616" y="4803"/>
                        <a:pt x="155010" y="10181"/>
                        <a:pt x="155010" y="16740"/>
                      </a:cubicBezTo>
                      <a:lnTo>
                        <a:pt x="155010" y="147963"/>
                      </a:lnTo>
                      <a:cubicBezTo>
                        <a:pt x="155010" y="157971"/>
                        <a:pt x="149550" y="167781"/>
                        <a:pt x="142306" y="170772"/>
                      </a:cubicBezTo>
                      <a:lnTo>
                        <a:pt x="17778" y="222218"/>
                      </a:lnTo>
                      <a:cubicBezTo>
                        <a:pt x="16202" y="222864"/>
                        <a:pt x="14587" y="223187"/>
                        <a:pt x="13009" y="223187"/>
                      </a:cubicBezTo>
                      <a:close/>
                      <a:moveTo>
                        <a:pt x="12707" y="209949"/>
                      </a:moveTo>
                      <a:cubicBezTo>
                        <a:pt x="12701" y="209952"/>
                        <a:pt x="12695" y="209955"/>
                        <a:pt x="12692" y="209955"/>
                      </a:cubicBezTo>
                      <a:lnTo>
                        <a:pt x="15242" y="216082"/>
                      </a:lnTo>
                      <a:lnTo>
                        <a:pt x="12707" y="209949"/>
                      </a:lnTo>
                      <a:close/>
                      <a:moveTo>
                        <a:pt x="141274" y="13625"/>
                      </a:moveTo>
                      <a:lnTo>
                        <a:pt x="17714" y="63315"/>
                      </a:lnTo>
                      <a:cubicBezTo>
                        <a:pt x="16187" y="63931"/>
                        <a:pt x="13268" y="68519"/>
                        <a:pt x="13268" y="73870"/>
                      </a:cubicBezTo>
                      <a:lnTo>
                        <a:pt x="13268" y="206384"/>
                      </a:lnTo>
                      <a:cubicBezTo>
                        <a:pt x="13268" y="207854"/>
                        <a:pt x="13495" y="208887"/>
                        <a:pt x="13721" y="209526"/>
                      </a:cubicBezTo>
                      <a:lnTo>
                        <a:pt x="137232" y="158499"/>
                      </a:lnTo>
                      <a:cubicBezTo>
                        <a:pt x="138817" y="157844"/>
                        <a:pt x="141732" y="153344"/>
                        <a:pt x="141732" y="147957"/>
                      </a:cubicBezTo>
                      <a:lnTo>
                        <a:pt x="141732" y="16734"/>
                      </a:lnTo>
                      <a:cubicBezTo>
                        <a:pt x="141735" y="15273"/>
                        <a:pt x="141506" y="14253"/>
                        <a:pt x="141274" y="13625"/>
                      </a:cubicBezTo>
                      <a:close/>
                    </a:path>
                  </a:pathLst>
                </a:custGeom>
                <a:grpFill/>
                <a:ln w="301" cap="flat">
                  <a:noFill/>
                  <a:prstDash val="solid"/>
                  <a:miter/>
                </a:ln>
              </p:spPr>
              <p:txBody>
                <a:bodyPr rtlCol="0" anchor="ctr"/>
                <a:lstStyle/>
                <a:p>
                  <a:endParaRPr lang="en-GB" dirty="0"/>
                </a:p>
              </p:txBody>
            </p:sp>
          </p:grpSp>
        </p:grpSp>
        <p:grpSp>
          <p:nvGrpSpPr>
            <p:cNvPr id="294" name="Gruppieren 952">
              <a:extLst>
                <a:ext uri="{FF2B5EF4-FFF2-40B4-BE49-F238E27FC236}">
                  <a16:creationId xmlns:a16="http://schemas.microsoft.com/office/drawing/2014/main" id="{F8B97B18-E099-4742-BE25-73E60B67C7AF}"/>
                </a:ext>
              </a:extLst>
            </p:cNvPr>
            <p:cNvGrpSpPr/>
            <p:nvPr/>
          </p:nvGrpSpPr>
          <p:grpSpPr>
            <a:xfrm>
              <a:off x="1585581" y="4086613"/>
              <a:ext cx="510131" cy="146269"/>
              <a:chOff x="889321" y="2516571"/>
              <a:chExt cx="501388" cy="143762"/>
            </a:xfrm>
          </p:grpSpPr>
          <p:grpSp>
            <p:nvGrpSpPr>
              <p:cNvPr id="295" name="Grafik 342">
                <a:extLst>
                  <a:ext uri="{FF2B5EF4-FFF2-40B4-BE49-F238E27FC236}">
                    <a16:creationId xmlns:a16="http://schemas.microsoft.com/office/drawing/2014/main" id="{6C6B9A03-44F2-4129-97A5-E823DED6125B}"/>
                  </a:ext>
                </a:extLst>
              </p:cNvPr>
              <p:cNvGrpSpPr/>
              <p:nvPr/>
            </p:nvGrpSpPr>
            <p:grpSpPr>
              <a:xfrm>
                <a:off x="1278881" y="2555840"/>
                <a:ext cx="111828" cy="63756"/>
                <a:chOff x="1278881" y="2555840"/>
                <a:chExt cx="111828" cy="63756"/>
              </a:xfrm>
              <a:solidFill>
                <a:schemeClr val="accent1"/>
              </a:solidFill>
            </p:grpSpPr>
            <p:sp>
              <p:nvSpPr>
                <p:cNvPr id="300" name="Freihandform: Form 325">
                  <a:extLst>
                    <a:ext uri="{FF2B5EF4-FFF2-40B4-BE49-F238E27FC236}">
                      <a16:creationId xmlns:a16="http://schemas.microsoft.com/office/drawing/2014/main" id="{E26E53F3-E8C0-4409-84B4-9AA02BCE0697}"/>
                    </a:ext>
                  </a:extLst>
                </p:cNvPr>
                <p:cNvSpPr/>
                <p:nvPr/>
              </p:nvSpPr>
              <p:spPr>
                <a:xfrm>
                  <a:off x="1278881" y="2562198"/>
                  <a:ext cx="111828" cy="57398"/>
                </a:xfrm>
                <a:custGeom>
                  <a:avLst/>
                  <a:gdLst>
                    <a:gd name="connsiteX0" fmla="*/ 76160 w 111828"/>
                    <a:gd name="connsiteY0" fmla="*/ 57399 h 57398"/>
                    <a:gd name="connsiteX1" fmla="*/ 76091 w 111828"/>
                    <a:gd name="connsiteY1" fmla="*/ 57399 h 57398"/>
                    <a:gd name="connsiteX2" fmla="*/ 70540 w 111828"/>
                    <a:gd name="connsiteY2" fmla="*/ 54296 h 57398"/>
                    <a:gd name="connsiteX3" fmla="*/ 52213 w 111828"/>
                    <a:gd name="connsiteY3" fmla="*/ 25142 h 57398"/>
                    <a:gd name="connsiteX4" fmla="*/ 27068 w 111828"/>
                    <a:gd name="connsiteY4" fmla="*/ 53550 h 57398"/>
                    <a:gd name="connsiteX5" fmla="*/ 21548 w 111828"/>
                    <a:gd name="connsiteY5" fmla="*/ 55766 h 57398"/>
                    <a:gd name="connsiteX6" fmla="*/ 16471 w 111828"/>
                    <a:gd name="connsiteY6" fmla="*/ 52669 h 57398"/>
                    <a:gd name="connsiteX7" fmla="*/ 1008 w 111828"/>
                    <a:gd name="connsiteY7" fmla="*/ 27904 h 57398"/>
                    <a:gd name="connsiteX8" fmla="*/ 3121 w 111828"/>
                    <a:gd name="connsiteY8" fmla="*/ 18762 h 57398"/>
                    <a:gd name="connsiteX9" fmla="*/ 12263 w 111828"/>
                    <a:gd name="connsiteY9" fmla="*/ 20874 h 57398"/>
                    <a:gd name="connsiteX10" fmla="*/ 23021 w 111828"/>
                    <a:gd name="connsiteY10" fmla="*/ 38103 h 57398"/>
                    <a:gd name="connsiteX11" fmla="*/ 48148 w 111828"/>
                    <a:gd name="connsiteY11" fmla="*/ 9713 h 57398"/>
                    <a:gd name="connsiteX12" fmla="*/ 53659 w 111828"/>
                    <a:gd name="connsiteY12" fmla="*/ 7497 h 57398"/>
                    <a:gd name="connsiteX13" fmla="*/ 58736 w 111828"/>
                    <a:gd name="connsiteY13" fmla="*/ 10579 h 57398"/>
                    <a:gd name="connsiteX14" fmla="*/ 76284 w 111828"/>
                    <a:gd name="connsiteY14" fmla="*/ 38498 h 57398"/>
                    <a:gd name="connsiteX15" fmla="*/ 99646 w 111828"/>
                    <a:gd name="connsiteY15" fmla="*/ 2985 h 57398"/>
                    <a:gd name="connsiteX16" fmla="*/ 108839 w 111828"/>
                    <a:gd name="connsiteY16" fmla="*/ 1090 h 57398"/>
                    <a:gd name="connsiteX17" fmla="*/ 110735 w 111828"/>
                    <a:gd name="connsiteY17" fmla="*/ 10283 h 57398"/>
                    <a:gd name="connsiteX18" fmla="*/ 81702 w 111828"/>
                    <a:gd name="connsiteY18" fmla="*/ 54414 h 57398"/>
                    <a:gd name="connsiteX19" fmla="*/ 76160 w 111828"/>
                    <a:gd name="connsiteY19" fmla="*/ 57399 h 57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828" h="57398">
                      <a:moveTo>
                        <a:pt x="76160" y="57399"/>
                      </a:moveTo>
                      <a:cubicBezTo>
                        <a:pt x="76136" y="57399"/>
                        <a:pt x="76115" y="57399"/>
                        <a:pt x="76091" y="57399"/>
                      </a:cubicBezTo>
                      <a:cubicBezTo>
                        <a:pt x="73833" y="57374"/>
                        <a:pt x="71742" y="56206"/>
                        <a:pt x="70540" y="54296"/>
                      </a:cubicBezTo>
                      <a:lnTo>
                        <a:pt x="52213" y="25142"/>
                      </a:lnTo>
                      <a:lnTo>
                        <a:pt x="27068" y="53550"/>
                      </a:lnTo>
                      <a:cubicBezTo>
                        <a:pt x="25677" y="55114"/>
                        <a:pt x="23667" y="55941"/>
                        <a:pt x="21548" y="55766"/>
                      </a:cubicBezTo>
                      <a:cubicBezTo>
                        <a:pt x="19462" y="55591"/>
                        <a:pt x="17579" y="54444"/>
                        <a:pt x="16471" y="52669"/>
                      </a:cubicBezTo>
                      <a:lnTo>
                        <a:pt x="1008" y="27904"/>
                      </a:lnTo>
                      <a:cubicBezTo>
                        <a:pt x="-932" y="24792"/>
                        <a:pt x="12" y="20702"/>
                        <a:pt x="3121" y="18762"/>
                      </a:cubicBezTo>
                      <a:cubicBezTo>
                        <a:pt x="6239" y="16812"/>
                        <a:pt x="10332" y="17763"/>
                        <a:pt x="12263" y="20874"/>
                      </a:cubicBezTo>
                      <a:lnTo>
                        <a:pt x="23021" y="38103"/>
                      </a:lnTo>
                      <a:lnTo>
                        <a:pt x="48148" y="9713"/>
                      </a:lnTo>
                      <a:cubicBezTo>
                        <a:pt x="49533" y="8146"/>
                        <a:pt x="51574" y="7325"/>
                        <a:pt x="53659" y="7497"/>
                      </a:cubicBezTo>
                      <a:cubicBezTo>
                        <a:pt x="55742" y="7666"/>
                        <a:pt x="57625" y="8810"/>
                        <a:pt x="58736" y="10579"/>
                      </a:cubicBezTo>
                      <a:lnTo>
                        <a:pt x="76284" y="38498"/>
                      </a:lnTo>
                      <a:lnTo>
                        <a:pt x="99646" y="2985"/>
                      </a:lnTo>
                      <a:cubicBezTo>
                        <a:pt x="101659" y="-69"/>
                        <a:pt x="105776" y="-921"/>
                        <a:pt x="108839" y="1090"/>
                      </a:cubicBezTo>
                      <a:cubicBezTo>
                        <a:pt x="111900" y="3106"/>
                        <a:pt x="112751" y="7220"/>
                        <a:pt x="110735" y="10283"/>
                      </a:cubicBezTo>
                      <a:lnTo>
                        <a:pt x="81702" y="54414"/>
                      </a:lnTo>
                      <a:cubicBezTo>
                        <a:pt x="80477" y="56276"/>
                        <a:pt x="78394" y="57399"/>
                        <a:pt x="76160" y="57399"/>
                      </a:cubicBezTo>
                      <a:close/>
                    </a:path>
                  </a:pathLst>
                </a:custGeom>
                <a:solidFill>
                  <a:schemeClr val="accent1"/>
                </a:solidFill>
                <a:ln w="301" cap="flat">
                  <a:noFill/>
                  <a:prstDash val="solid"/>
                  <a:miter/>
                </a:ln>
              </p:spPr>
              <p:txBody>
                <a:bodyPr rtlCol="0" anchor="ctr"/>
                <a:lstStyle/>
                <a:p>
                  <a:endParaRPr lang="en-GB" dirty="0"/>
                </a:p>
              </p:txBody>
            </p:sp>
            <p:sp>
              <p:nvSpPr>
                <p:cNvPr id="301" name="Freihandform: Form 326">
                  <a:extLst>
                    <a:ext uri="{FF2B5EF4-FFF2-40B4-BE49-F238E27FC236}">
                      <a16:creationId xmlns:a16="http://schemas.microsoft.com/office/drawing/2014/main" id="{1B36BE5A-32A3-413A-95AA-9BD71AF72BB7}"/>
                    </a:ext>
                  </a:extLst>
                </p:cNvPr>
                <p:cNvSpPr/>
                <p:nvPr/>
              </p:nvSpPr>
              <p:spPr>
                <a:xfrm>
                  <a:off x="1361944" y="2555840"/>
                  <a:ext cx="28761" cy="43729"/>
                </a:xfrm>
                <a:custGeom>
                  <a:avLst/>
                  <a:gdLst>
                    <a:gd name="connsiteX0" fmla="*/ 22131 w 28761"/>
                    <a:gd name="connsiteY0" fmla="*/ 43730 h 43729"/>
                    <a:gd name="connsiteX1" fmla="*/ 15493 w 28761"/>
                    <a:gd name="connsiteY1" fmla="*/ 37093 h 43729"/>
                    <a:gd name="connsiteX2" fmla="*/ 15493 w 28761"/>
                    <a:gd name="connsiteY2" fmla="*/ 17441 h 43729"/>
                    <a:gd name="connsiteX3" fmla="*/ 4120 w 28761"/>
                    <a:gd name="connsiteY3" fmla="*/ 12774 h 43729"/>
                    <a:gd name="connsiteX4" fmla="*/ 499 w 28761"/>
                    <a:gd name="connsiteY4" fmla="*/ 4118 h 43729"/>
                    <a:gd name="connsiteX5" fmla="*/ 9155 w 28761"/>
                    <a:gd name="connsiteY5" fmla="*/ 496 h 43729"/>
                    <a:gd name="connsiteX6" fmla="*/ 24645 w 28761"/>
                    <a:gd name="connsiteY6" fmla="*/ 6849 h 43729"/>
                    <a:gd name="connsiteX7" fmla="*/ 28762 w 28761"/>
                    <a:gd name="connsiteY7" fmla="*/ 12989 h 43729"/>
                    <a:gd name="connsiteX8" fmla="*/ 28762 w 28761"/>
                    <a:gd name="connsiteY8" fmla="*/ 37093 h 43729"/>
                    <a:gd name="connsiteX9" fmla="*/ 22131 w 28761"/>
                    <a:gd name="connsiteY9" fmla="*/ 43730 h 4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61" h="43729">
                      <a:moveTo>
                        <a:pt x="22131" y="43730"/>
                      </a:moveTo>
                      <a:cubicBezTo>
                        <a:pt x="18466" y="43730"/>
                        <a:pt x="15493" y="40760"/>
                        <a:pt x="15493" y="37093"/>
                      </a:cubicBezTo>
                      <a:lnTo>
                        <a:pt x="15493" y="17441"/>
                      </a:lnTo>
                      <a:lnTo>
                        <a:pt x="4120" y="12774"/>
                      </a:lnTo>
                      <a:cubicBezTo>
                        <a:pt x="728" y="11383"/>
                        <a:pt x="-893" y="7504"/>
                        <a:pt x="499" y="4118"/>
                      </a:cubicBezTo>
                      <a:cubicBezTo>
                        <a:pt x="1890" y="725"/>
                        <a:pt x="5768" y="-889"/>
                        <a:pt x="9155" y="496"/>
                      </a:cubicBezTo>
                      <a:lnTo>
                        <a:pt x="24645" y="6849"/>
                      </a:lnTo>
                      <a:cubicBezTo>
                        <a:pt x="27138" y="7873"/>
                        <a:pt x="28762" y="10296"/>
                        <a:pt x="28762" y="12989"/>
                      </a:cubicBezTo>
                      <a:lnTo>
                        <a:pt x="28762" y="37093"/>
                      </a:lnTo>
                      <a:cubicBezTo>
                        <a:pt x="28768" y="40757"/>
                        <a:pt x="25795" y="43730"/>
                        <a:pt x="22131" y="43730"/>
                      </a:cubicBezTo>
                      <a:close/>
                    </a:path>
                  </a:pathLst>
                </a:custGeom>
                <a:solidFill>
                  <a:schemeClr val="accent1"/>
                </a:solidFill>
                <a:ln w="301" cap="flat">
                  <a:noFill/>
                  <a:prstDash val="solid"/>
                  <a:miter/>
                </a:ln>
              </p:spPr>
              <p:txBody>
                <a:bodyPr rtlCol="0" anchor="ctr"/>
                <a:lstStyle/>
                <a:p>
                  <a:endParaRPr lang="en-GB" dirty="0"/>
                </a:p>
              </p:txBody>
            </p:sp>
          </p:grpSp>
          <p:grpSp>
            <p:nvGrpSpPr>
              <p:cNvPr id="296" name="Grafik 342">
                <a:extLst>
                  <a:ext uri="{FF2B5EF4-FFF2-40B4-BE49-F238E27FC236}">
                    <a16:creationId xmlns:a16="http://schemas.microsoft.com/office/drawing/2014/main" id="{6CD9B183-644D-40CE-A068-022E772A7F39}"/>
                  </a:ext>
                </a:extLst>
              </p:cNvPr>
              <p:cNvGrpSpPr/>
              <p:nvPr/>
            </p:nvGrpSpPr>
            <p:grpSpPr>
              <a:xfrm>
                <a:off x="889321" y="2516571"/>
                <a:ext cx="111957" cy="143762"/>
                <a:chOff x="889321" y="2516571"/>
                <a:chExt cx="111957" cy="143762"/>
              </a:xfrm>
              <a:solidFill>
                <a:schemeClr val="accent1"/>
              </a:solidFill>
            </p:grpSpPr>
            <p:sp>
              <p:nvSpPr>
                <p:cNvPr id="297" name="Freihandform: Form 330">
                  <a:extLst>
                    <a:ext uri="{FF2B5EF4-FFF2-40B4-BE49-F238E27FC236}">
                      <a16:creationId xmlns:a16="http://schemas.microsoft.com/office/drawing/2014/main" id="{C127D55F-73BB-4DD0-AD59-CF2304E65F54}"/>
                    </a:ext>
                  </a:extLst>
                </p:cNvPr>
                <p:cNvSpPr/>
                <p:nvPr/>
              </p:nvSpPr>
              <p:spPr>
                <a:xfrm>
                  <a:off x="889321" y="2611126"/>
                  <a:ext cx="33521" cy="49208"/>
                </a:xfrm>
                <a:custGeom>
                  <a:avLst/>
                  <a:gdLst>
                    <a:gd name="connsiteX0" fmla="*/ 6634 w 33521"/>
                    <a:gd name="connsiteY0" fmla="*/ 49208 h 49208"/>
                    <a:gd name="connsiteX1" fmla="*/ 3054 w 33521"/>
                    <a:gd name="connsiteY1" fmla="*/ 48158 h 49208"/>
                    <a:gd name="connsiteX2" fmla="*/ 0 w 33521"/>
                    <a:gd name="connsiteY2" fmla="*/ 42571 h 49208"/>
                    <a:gd name="connsiteX3" fmla="*/ 0 w 33521"/>
                    <a:gd name="connsiteY3" fmla="*/ 15986 h 49208"/>
                    <a:gd name="connsiteX4" fmla="*/ 3854 w 33521"/>
                    <a:gd name="connsiteY4" fmla="*/ 9962 h 49208"/>
                    <a:gd name="connsiteX5" fmla="*/ 24107 w 33521"/>
                    <a:gd name="connsiteY5" fmla="*/ 611 h 49208"/>
                    <a:gd name="connsiteX6" fmla="*/ 30463 w 33521"/>
                    <a:gd name="connsiteY6" fmla="*/ 1046 h 49208"/>
                    <a:gd name="connsiteX7" fmla="*/ 33521 w 33521"/>
                    <a:gd name="connsiteY7" fmla="*/ 6636 h 49208"/>
                    <a:gd name="connsiteX8" fmla="*/ 33521 w 33521"/>
                    <a:gd name="connsiteY8" fmla="*/ 33260 h 49208"/>
                    <a:gd name="connsiteX9" fmla="*/ 29658 w 33521"/>
                    <a:gd name="connsiteY9" fmla="*/ 39290 h 49208"/>
                    <a:gd name="connsiteX10" fmla="*/ 9405 w 33521"/>
                    <a:gd name="connsiteY10" fmla="*/ 48602 h 49208"/>
                    <a:gd name="connsiteX11" fmla="*/ 6634 w 33521"/>
                    <a:gd name="connsiteY11" fmla="*/ 49208 h 49208"/>
                    <a:gd name="connsiteX12" fmla="*/ 13271 w 33521"/>
                    <a:gd name="connsiteY12" fmla="*/ 20233 h 49208"/>
                    <a:gd name="connsiteX13" fmla="*/ 13271 w 33521"/>
                    <a:gd name="connsiteY13" fmla="*/ 32219 h 49208"/>
                    <a:gd name="connsiteX14" fmla="*/ 20253 w 33521"/>
                    <a:gd name="connsiteY14" fmla="*/ 29010 h 49208"/>
                    <a:gd name="connsiteX15" fmla="*/ 20253 w 33521"/>
                    <a:gd name="connsiteY15" fmla="*/ 17009 h 49208"/>
                    <a:gd name="connsiteX16" fmla="*/ 13271 w 33521"/>
                    <a:gd name="connsiteY16" fmla="*/ 20233 h 4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521" h="49208">
                      <a:moveTo>
                        <a:pt x="6634" y="49208"/>
                      </a:moveTo>
                      <a:cubicBezTo>
                        <a:pt x="5385" y="49208"/>
                        <a:pt x="4138" y="48855"/>
                        <a:pt x="3054" y="48158"/>
                      </a:cubicBezTo>
                      <a:cubicBezTo>
                        <a:pt x="1150" y="46939"/>
                        <a:pt x="0" y="44835"/>
                        <a:pt x="0" y="42571"/>
                      </a:cubicBezTo>
                      <a:lnTo>
                        <a:pt x="0" y="15986"/>
                      </a:lnTo>
                      <a:cubicBezTo>
                        <a:pt x="0" y="13397"/>
                        <a:pt x="1503" y="11045"/>
                        <a:pt x="3854" y="9962"/>
                      </a:cubicBezTo>
                      <a:lnTo>
                        <a:pt x="24107" y="611"/>
                      </a:lnTo>
                      <a:cubicBezTo>
                        <a:pt x="26165" y="-340"/>
                        <a:pt x="28556" y="-171"/>
                        <a:pt x="30463" y="1046"/>
                      </a:cubicBezTo>
                      <a:cubicBezTo>
                        <a:pt x="32368" y="2265"/>
                        <a:pt x="33521" y="4372"/>
                        <a:pt x="33521" y="6636"/>
                      </a:cubicBezTo>
                      <a:lnTo>
                        <a:pt x="33521" y="33260"/>
                      </a:lnTo>
                      <a:cubicBezTo>
                        <a:pt x="33521" y="35853"/>
                        <a:pt x="32012" y="38207"/>
                        <a:pt x="29658" y="39290"/>
                      </a:cubicBezTo>
                      <a:lnTo>
                        <a:pt x="9405" y="48602"/>
                      </a:lnTo>
                      <a:cubicBezTo>
                        <a:pt x="8524" y="49006"/>
                        <a:pt x="7576" y="49208"/>
                        <a:pt x="6634" y="49208"/>
                      </a:cubicBezTo>
                      <a:close/>
                      <a:moveTo>
                        <a:pt x="13271" y="20233"/>
                      </a:moveTo>
                      <a:lnTo>
                        <a:pt x="13271" y="32219"/>
                      </a:lnTo>
                      <a:lnTo>
                        <a:pt x="20253" y="29010"/>
                      </a:lnTo>
                      <a:lnTo>
                        <a:pt x="20253" y="17009"/>
                      </a:lnTo>
                      <a:lnTo>
                        <a:pt x="13271" y="20233"/>
                      </a:lnTo>
                      <a:close/>
                    </a:path>
                  </a:pathLst>
                </a:custGeom>
                <a:solidFill>
                  <a:schemeClr val="accent1"/>
                </a:solidFill>
                <a:ln w="301" cap="flat">
                  <a:noFill/>
                  <a:prstDash val="solid"/>
                  <a:miter/>
                </a:ln>
              </p:spPr>
              <p:txBody>
                <a:bodyPr rtlCol="0" anchor="ctr"/>
                <a:lstStyle/>
                <a:p>
                  <a:endParaRPr lang="en-GB" dirty="0"/>
                </a:p>
              </p:txBody>
            </p:sp>
            <p:sp>
              <p:nvSpPr>
                <p:cNvPr id="298" name="Freihandform: Form 331">
                  <a:extLst>
                    <a:ext uri="{FF2B5EF4-FFF2-40B4-BE49-F238E27FC236}">
                      <a16:creationId xmlns:a16="http://schemas.microsoft.com/office/drawing/2014/main" id="{47614E22-46DD-4BE1-9CB0-505F33AB88D1}"/>
                    </a:ext>
                  </a:extLst>
                </p:cNvPr>
                <p:cNvSpPr/>
                <p:nvPr/>
              </p:nvSpPr>
              <p:spPr>
                <a:xfrm>
                  <a:off x="928535" y="2567271"/>
                  <a:ext cx="33530" cy="75695"/>
                </a:xfrm>
                <a:custGeom>
                  <a:avLst/>
                  <a:gdLst>
                    <a:gd name="connsiteX0" fmla="*/ 6637 w 33530"/>
                    <a:gd name="connsiteY0" fmla="*/ 75696 h 75695"/>
                    <a:gd name="connsiteX1" fmla="*/ 3024 w 33530"/>
                    <a:gd name="connsiteY1" fmla="*/ 74627 h 75695"/>
                    <a:gd name="connsiteX2" fmla="*/ 0 w 33530"/>
                    <a:gd name="connsiteY2" fmla="*/ 69062 h 75695"/>
                    <a:gd name="connsiteX3" fmla="*/ 0 w 33530"/>
                    <a:gd name="connsiteY3" fmla="*/ 15750 h 75695"/>
                    <a:gd name="connsiteX4" fmla="*/ 3915 w 33530"/>
                    <a:gd name="connsiteY4" fmla="*/ 9698 h 75695"/>
                    <a:gd name="connsiteX5" fmla="*/ 24173 w 33530"/>
                    <a:gd name="connsiteY5" fmla="*/ 583 h 75695"/>
                    <a:gd name="connsiteX6" fmla="*/ 30497 w 33530"/>
                    <a:gd name="connsiteY6" fmla="*/ 1063 h 75695"/>
                    <a:gd name="connsiteX7" fmla="*/ 33530 w 33530"/>
                    <a:gd name="connsiteY7" fmla="*/ 6635 h 75695"/>
                    <a:gd name="connsiteX8" fmla="*/ 33530 w 33530"/>
                    <a:gd name="connsiteY8" fmla="*/ 60025 h 75695"/>
                    <a:gd name="connsiteX9" fmla="*/ 29597 w 33530"/>
                    <a:gd name="connsiteY9" fmla="*/ 66083 h 75695"/>
                    <a:gd name="connsiteX10" fmla="*/ 9339 w 33530"/>
                    <a:gd name="connsiteY10" fmla="*/ 75119 h 75695"/>
                    <a:gd name="connsiteX11" fmla="*/ 6637 w 33530"/>
                    <a:gd name="connsiteY11" fmla="*/ 75696 h 75695"/>
                    <a:gd name="connsiteX12" fmla="*/ 13271 w 33530"/>
                    <a:gd name="connsiteY12" fmla="*/ 20036 h 75695"/>
                    <a:gd name="connsiteX13" fmla="*/ 13271 w 33530"/>
                    <a:gd name="connsiteY13" fmla="*/ 58833 h 75695"/>
                    <a:gd name="connsiteX14" fmla="*/ 20256 w 33530"/>
                    <a:gd name="connsiteY14" fmla="*/ 55715 h 75695"/>
                    <a:gd name="connsiteX15" fmla="*/ 20256 w 33530"/>
                    <a:gd name="connsiteY15" fmla="*/ 16891 h 75695"/>
                    <a:gd name="connsiteX16" fmla="*/ 13271 w 33530"/>
                    <a:gd name="connsiteY16" fmla="*/ 20036 h 75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530" h="75695">
                      <a:moveTo>
                        <a:pt x="6637" y="75696"/>
                      </a:moveTo>
                      <a:cubicBezTo>
                        <a:pt x="5373" y="75696"/>
                        <a:pt x="4117" y="75337"/>
                        <a:pt x="3024" y="74627"/>
                      </a:cubicBezTo>
                      <a:cubicBezTo>
                        <a:pt x="1138" y="73402"/>
                        <a:pt x="0" y="71310"/>
                        <a:pt x="0" y="69062"/>
                      </a:cubicBezTo>
                      <a:lnTo>
                        <a:pt x="0" y="15750"/>
                      </a:lnTo>
                      <a:cubicBezTo>
                        <a:pt x="0" y="13139"/>
                        <a:pt x="1533" y="10770"/>
                        <a:pt x="3915" y="9698"/>
                      </a:cubicBezTo>
                      <a:lnTo>
                        <a:pt x="24173" y="583"/>
                      </a:lnTo>
                      <a:cubicBezTo>
                        <a:pt x="26220" y="-341"/>
                        <a:pt x="28601" y="-157"/>
                        <a:pt x="30497" y="1063"/>
                      </a:cubicBezTo>
                      <a:cubicBezTo>
                        <a:pt x="32389" y="2288"/>
                        <a:pt x="33530" y="4383"/>
                        <a:pt x="33530" y="6635"/>
                      </a:cubicBezTo>
                      <a:lnTo>
                        <a:pt x="33530" y="60025"/>
                      </a:lnTo>
                      <a:cubicBezTo>
                        <a:pt x="33530" y="62642"/>
                        <a:pt x="31991" y="65017"/>
                        <a:pt x="29597" y="66083"/>
                      </a:cubicBezTo>
                      <a:lnTo>
                        <a:pt x="9339" y="75119"/>
                      </a:lnTo>
                      <a:cubicBezTo>
                        <a:pt x="8475" y="75506"/>
                        <a:pt x="7552" y="75696"/>
                        <a:pt x="6637" y="75696"/>
                      </a:cubicBezTo>
                      <a:close/>
                      <a:moveTo>
                        <a:pt x="13271" y="20036"/>
                      </a:moveTo>
                      <a:lnTo>
                        <a:pt x="13271" y="58833"/>
                      </a:lnTo>
                      <a:lnTo>
                        <a:pt x="20256" y="55715"/>
                      </a:lnTo>
                      <a:lnTo>
                        <a:pt x="20256" y="16891"/>
                      </a:lnTo>
                      <a:lnTo>
                        <a:pt x="13271" y="20036"/>
                      </a:lnTo>
                      <a:close/>
                    </a:path>
                  </a:pathLst>
                </a:custGeom>
                <a:solidFill>
                  <a:schemeClr val="accent1"/>
                </a:solidFill>
                <a:ln w="301" cap="flat">
                  <a:noFill/>
                  <a:prstDash val="solid"/>
                  <a:miter/>
                </a:ln>
              </p:spPr>
              <p:txBody>
                <a:bodyPr rtlCol="0" anchor="ctr"/>
                <a:lstStyle/>
                <a:p>
                  <a:endParaRPr lang="en-GB" dirty="0"/>
                </a:p>
              </p:txBody>
            </p:sp>
            <p:sp>
              <p:nvSpPr>
                <p:cNvPr id="299" name="Freihandform: Form 332">
                  <a:extLst>
                    <a:ext uri="{FF2B5EF4-FFF2-40B4-BE49-F238E27FC236}">
                      <a16:creationId xmlns:a16="http://schemas.microsoft.com/office/drawing/2014/main" id="{8118F1C9-6A96-418D-B90C-ADC77A817FAE}"/>
                    </a:ext>
                  </a:extLst>
                </p:cNvPr>
                <p:cNvSpPr/>
                <p:nvPr/>
              </p:nvSpPr>
              <p:spPr>
                <a:xfrm>
                  <a:off x="967748" y="2516571"/>
                  <a:ext cx="33530" cy="109303"/>
                </a:xfrm>
                <a:custGeom>
                  <a:avLst/>
                  <a:gdLst>
                    <a:gd name="connsiteX0" fmla="*/ 6637 w 33530"/>
                    <a:gd name="connsiteY0" fmla="*/ 109303 h 109303"/>
                    <a:gd name="connsiteX1" fmla="*/ 3024 w 33530"/>
                    <a:gd name="connsiteY1" fmla="*/ 108235 h 109303"/>
                    <a:gd name="connsiteX2" fmla="*/ 0 w 33530"/>
                    <a:gd name="connsiteY2" fmla="*/ 102669 h 109303"/>
                    <a:gd name="connsiteX3" fmla="*/ 0 w 33530"/>
                    <a:gd name="connsiteY3" fmla="*/ 15800 h 109303"/>
                    <a:gd name="connsiteX4" fmla="*/ 3900 w 33530"/>
                    <a:gd name="connsiteY4" fmla="*/ 9754 h 109303"/>
                    <a:gd name="connsiteX5" fmla="*/ 24158 w 33530"/>
                    <a:gd name="connsiteY5" fmla="*/ 588 h 109303"/>
                    <a:gd name="connsiteX6" fmla="*/ 30491 w 33530"/>
                    <a:gd name="connsiteY6" fmla="*/ 1059 h 109303"/>
                    <a:gd name="connsiteX7" fmla="*/ 33530 w 33530"/>
                    <a:gd name="connsiteY7" fmla="*/ 6633 h 109303"/>
                    <a:gd name="connsiteX8" fmla="*/ 33530 w 33530"/>
                    <a:gd name="connsiteY8" fmla="*/ 93635 h 109303"/>
                    <a:gd name="connsiteX9" fmla="*/ 29597 w 33530"/>
                    <a:gd name="connsiteY9" fmla="*/ 99693 h 109303"/>
                    <a:gd name="connsiteX10" fmla="*/ 9339 w 33530"/>
                    <a:gd name="connsiteY10" fmla="*/ 108727 h 109303"/>
                    <a:gd name="connsiteX11" fmla="*/ 6637 w 33530"/>
                    <a:gd name="connsiteY11" fmla="*/ 109303 h 109303"/>
                    <a:gd name="connsiteX12" fmla="*/ 13274 w 33530"/>
                    <a:gd name="connsiteY12" fmla="*/ 20080 h 109303"/>
                    <a:gd name="connsiteX13" fmla="*/ 13274 w 33530"/>
                    <a:gd name="connsiteY13" fmla="*/ 92443 h 109303"/>
                    <a:gd name="connsiteX14" fmla="*/ 20259 w 33530"/>
                    <a:gd name="connsiteY14" fmla="*/ 89328 h 109303"/>
                    <a:gd name="connsiteX15" fmla="*/ 20259 w 33530"/>
                    <a:gd name="connsiteY15" fmla="*/ 16920 h 109303"/>
                    <a:gd name="connsiteX16" fmla="*/ 13274 w 33530"/>
                    <a:gd name="connsiteY16" fmla="*/ 20080 h 10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530" h="109303">
                      <a:moveTo>
                        <a:pt x="6637" y="109303"/>
                      </a:moveTo>
                      <a:cubicBezTo>
                        <a:pt x="5373" y="109303"/>
                        <a:pt x="4117" y="108944"/>
                        <a:pt x="3024" y="108235"/>
                      </a:cubicBezTo>
                      <a:cubicBezTo>
                        <a:pt x="1138" y="107009"/>
                        <a:pt x="0" y="104918"/>
                        <a:pt x="0" y="102669"/>
                      </a:cubicBezTo>
                      <a:lnTo>
                        <a:pt x="0" y="15800"/>
                      </a:lnTo>
                      <a:cubicBezTo>
                        <a:pt x="0" y="13195"/>
                        <a:pt x="1527" y="10829"/>
                        <a:pt x="3900" y="9754"/>
                      </a:cubicBezTo>
                      <a:lnTo>
                        <a:pt x="24158" y="588"/>
                      </a:lnTo>
                      <a:cubicBezTo>
                        <a:pt x="26217" y="-339"/>
                        <a:pt x="28598" y="-161"/>
                        <a:pt x="30491" y="1059"/>
                      </a:cubicBezTo>
                      <a:cubicBezTo>
                        <a:pt x="32386" y="2281"/>
                        <a:pt x="33530" y="4379"/>
                        <a:pt x="33530" y="6633"/>
                      </a:cubicBezTo>
                      <a:lnTo>
                        <a:pt x="33530" y="93635"/>
                      </a:lnTo>
                      <a:cubicBezTo>
                        <a:pt x="33530" y="96252"/>
                        <a:pt x="31988" y="98627"/>
                        <a:pt x="29597" y="99693"/>
                      </a:cubicBezTo>
                      <a:lnTo>
                        <a:pt x="9339" y="108727"/>
                      </a:lnTo>
                      <a:cubicBezTo>
                        <a:pt x="8478" y="109113"/>
                        <a:pt x="7555" y="109303"/>
                        <a:pt x="6637" y="109303"/>
                      </a:cubicBezTo>
                      <a:close/>
                      <a:moveTo>
                        <a:pt x="13274" y="20080"/>
                      </a:moveTo>
                      <a:lnTo>
                        <a:pt x="13274" y="92443"/>
                      </a:lnTo>
                      <a:lnTo>
                        <a:pt x="20259" y="89328"/>
                      </a:lnTo>
                      <a:lnTo>
                        <a:pt x="20259" y="16920"/>
                      </a:lnTo>
                      <a:lnTo>
                        <a:pt x="13274" y="20080"/>
                      </a:lnTo>
                      <a:close/>
                    </a:path>
                  </a:pathLst>
                </a:custGeom>
                <a:solidFill>
                  <a:schemeClr val="accent1"/>
                </a:solidFill>
                <a:ln w="301" cap="flat">
                  <a:noFill/>
                  <a:prstDash val="solid"/>
                  <a:miter/>
                </a:ln>
              </p:spPr>
              <p:txBody>
                <a:bodyPr rtlCol="0" anchor="ctr"/>
                <a:lstStyle/>
                <a:p>
                  <a:endParaRPr lang="en-GB" dirty="0"/>
                </a:p>
              </p:txBody>
            </p:sp>
          </p:grpSp>
        </p:grpSp>
      </p:grpSp>
      <p:grpSp>
        <p:nvGrpSpPr>
          <p:cNvPr id="563" name="Group 562">
            <a:extLst>
              <a:ext uri="{FF2B5EF4-FFF2-40B4-BE49-F238E27FC236}">
                <a16:creationId xmlns:a16="http://schemas.microsoft.com/office/drawing/2014/main" id="{54CD4A33-869E-175C-F1EC-846A58E2CB17}"/>
              </a:ext>
            </a:extLst>
          </p:cNvPr>
          <p:cNvGrpSpPr/>
          <p:nvPr/>
        </p:nvGrpSpPr>
        <p:grpSpPr>
          <a:xfrm>
            <a:off x="2599562" y="4040086"/>
            <a:ext cx="570713" cy="432000"/>
            <a:chOff x="2599562" y="4040086"/>
            <a:chExt cx="570713" cy="432000"/>
          </a:xfrm>
        </p:grpSpPr>
        <p:grpSp>
          <p:nvGrpSpPr>
            <p:cNvPr id="316" name="Grafik 342">
              <a:extLst>
                <a:ext uri="{FF2B5EF4-FFF2-40B4-BE49-F238E27FC236}">
                  <a16:creationId xmlns:a16="http://schemas.microsoft.com/office/drawing/2014/main" id="{BA86592D-7672-4C0D-96DB-D25492967CFA}"/>
                </a:ext>
              </a:extLst>
            </p:cNvPr>
            <p:cNvGrpSpPr/>
            <p:nvPr/>
          </p:nvGrpSpPr>
          <p:grpSpPr>
            <a:xfrm>
              <a:off x="2759986" y="4040086"/>
              <a:ext cx="249039" cy="266933"/>
              <a:chOff x="3542770" y="3327461"/>
              <a:chExt cx="236706" cy="253714"/>
            </a:xfrm>
            <a:solidFill>
              <a:schemeClr val="tx2"/>
            </a:solidFill>
          </p:grpSpPr>
          <p:grpSp>
            <p:nvGrpSpPr>
              <p:cNvPr id="323" name="Grafik 342">
                <a:extLst>
                  <a:ext uri="{FF2B5EF4-FFF2-40B4-BE49-F238E27FC236}">
                    <a16:creationId xmlns:a16="http://schemas.microsoft.com/office/drawing/2014/main" id="{6C3A4CC4-DC52-46B7-85DE-1A335E1AADC0}"/>
                  </a:ext>
                </a:extLst>
              </p:cNvPr>
              <p:cNvGrpSpPr/>
              <p:nvPr/>
            </p:nvGrpSpPr>
            <p:grpSpPr>
              <a:xfrm>
                <a:off x="3582835" y="3327461"/>
                <a:ext cx="196640" cy="247068"/>
                <a:chOff x="3582835" y="3327461"/>
                <a:chExt cx="196640" cy="247068"/>
              </a:xfrm>
              <a:grpFill/>
            </p:grpSpPr>
            <p:sp>
              <p:nvSpPr>
                <p:cNvPr id="325" name="Freihandform: Form 298">
                  <a:extLst>
                    <a:ext uri="{FF2B5EF4-FFF2-40B4-BE49-F238E27FC236}">
                      <a16:creationId xmlns:a16="http://schemas.microsoft.com/office/drawing/2014/main" id="{BA1D81E7-FC60-42C9-8465-0DFCB8433E96}"/>
                    </a:ext>
                  </a:extLst>
                </p:cNvPr>
                <p:cNvSpPr/>
                <p:nvPr/>
              </p:nvSpPr>
              <p:spPr>
                <a:xfrm>
                  <a:off x="3586629" y="3327461"/>
                  <a:ext cx="192847" cy="141847"/>
                </a:xfrm>
                <a:custGeom>
                  <a:avLst/>
                  <a:gdLst>
                    <a:gd name="connsiteX0" fmla="*/ 162721 w 192847"/>
                    <a:gd name="connsiteY0" fmla="*/ 141848 h 141847"/>
                    <a:gd name="connsiteX1" fmla="*/ 156084 w 192847"/>
                    <a:gd name="connsiteY1" fmla="*/ 135211 h 141847"/>
                    <a:gd name="connsiteX2" fmla="*/ 162721 w 192847"/>
                    <a:gd name="connsiteY2" fmla="*/ 128574 h 141847"/>
                    <a:gd name="connsiteX3" fmla="*/ 177326 w 192847"/>
                    <a:gd name="connsiteY3" fmla="*/ 124381 h 141847"/>
                    <a:gd name="connsiteX4" fmla="*/ 179557 w 192847"/>
                    <a:gd name="connsiteY4" fmla="*/ 117131 h 141847"/>
                    <a:gd name="connsiteX5" fmla="*/ 168580 w 192847"/>
                    <a:gd name="connsiteY5" fmla="*/ 105900 h 141847"/>
                    <a:gd name="connsiteX6" fmla="*/ 87946 w 192847"/>
                    <a:gd name="connsiteY6" fmla="*/ 104279 h 141847"/>
                    <a:gd name="connsiteX7" fmla="*/ 81448 w 192847"/>
                    <a:gd name="connsiteY7" fmla="*/ 97630 h 141847"/>
                    <a:gd name="connsiteX8" fmla="*/ 81233 w 192847"/>
                    <a:gd name="connsiteY8" fmla="*/ 51647 h 141847"/>
                    <a:gd name="connsiteX9" fmla="*/ 58949 w 192847"/>
                    <a:gd name="connsiteY9" fmla="*/ 13278 h 141847"/>
                    <a:gd name="connsiteX10" fmla="*/ 52683 w 192847"/>
                    <a:gd name="connsiteY10" fmla="*/ 68283 h 141847"/>
                    <a:gd name="connsiteX11" fmla="*/ 13965 w 192847"/>
                    <a:gd name="connsiteY11" fmla="*/ 113703 h 141847"/>
                    <a:gd name="connsiteX12" fmla="*/ 7017 w 192847"/>
                    <a:gd name="connsiteY12" fmla="*/ 114104 h 141847"/>
                    <a:gd name="connsiteX13" fmla="*/ 12 w 192847"/>
                    <a:gd name="connsiteY13" fmla="*/ 107862 h 141847"/>
                    <a:gd name="connsiteX14" fmla="*/ 6253 w 192847"/>
                    <a:gd name="connsiteY14" fmla="*/ 100857 h 141847"/>
                    <a:gd name="connsiteX15" fmla="*/ 13192 w 192847"/>
                    <a:gd name="connsiteY15" fmla="*/ 100455 h 141847"/>
                    <a:gd name="connsiteX16" fmla="*/ 39605 w 192847"/>
                    <a:gd name="connsiteY16" fmla="*/ 66032 h 141847"/>
                    <a:gd name="connsiteX17" fmla="*/ 45582 w 192847"/>
                    <a:gd name="connsiteY17" fmla="*/ 12213 h 141847"/>
                    <a:gd name="connsiteX18" fmla="*/ 51479 w 192847"/>
                    <a:gd name="connsiteY18" fmla="*/ 2331 h 141847"/>
                    <a:gd name="connsiteX19" fmla="*/ 62417 w 192847"/>
                    <a:gd name="connsiteY19" fmla="*/ 472 h 141847"/>
                    <a:gd name="connsiteX20" fmla="*/ 94508 w 192847"/>
                    <a:gd name="connsiteY20" fmla="*/ 51484 h 141847"/>
                    <a:gd name="connsiteX21" fmla="*/ 94508 w 192847"/>
                    <a:gd name="connsiteY21" fmla="*/ 51484 h 141847"/>
                    <a:gd name="connsiteX22" fmla="*/ 94728 w 192847"/>
                    <a:gd name="connsiteY22" fmla="*/ 91138 h 141847"/>
                    <a:gd name="connsiteX23" fmla="*/ 168718 w 192847"/>
                    <a:gd name="connsiteY23" fmla="*/ 92629 h 141847"/>
                    <a:gd name="connsiteX24" fmla="*/ 192825 w 192847"/>
                    <a:gd name="connsiteY24" fmla="*/ 116872 h 141847"/>
                    <a:gd name="connsiteX25" fmla="*/ 186894 w 192847"/>
                    <a:gd name="connsiteY25" fmla="*/ 133584 h 141847"/>
                    <a:gd name="connsiteX26" fmla="*/ 162721 w 192847"/>
                    <a:gd name="connsiteY26" fmla="*/ 141848 h 14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92847" h="141847">
                      <a:moveTo>
                        <a:pt x="162721" y="141848"/>
                      </a:moveTo>
                      <a:cubicBezTo>
                        <a:pt x="159054" y="141848"/>
                        <a:pt x="156084" y="138881"/>
                        <a:pt x="156084" y="135211"/>
                      </a:cubicBezTo>
                      <a:cubicBezTo>
                        <a:pt x="156084" y="131544"/>
                        <a:pt x="159051" y="128574"/>
                        <a:pt x="162721" y="128574"/>
                      </a:cubicBezTo>
                      <a:cubicBezTo>
                        <a:pt x="169440" y="128574"/>
                        <a:pt x="174767" y="127043"/>
                        <a:pt x="177326" y="124381"/>
                      </a:cubicBezTo>
                      <a:cubicBezTo>
                        <a:pt x="178953" y="122697"/>
                        <a:pt x="179678" y="120325"/>
                        <a:pt x="179557" y="117131"/>
                      </a:cubicBezTo>
                      <a:cubicBezTo>
                        <a:pt x="179551" y="110820"/>
                        <a:pt x="174631" y="105900"/>
                        <a:pt x="168580" y="105900"/>
                      </a:cubicBezTo>
                      <a:lnTo>
                        <a:pt x="87946" y="104279"/>
                      </a:lnTo>
                      <a:cubicBezTo>
                        <a:pt x="84330" y="104207"/>
                        <a:pt x="81439" y="101246"/>
                        <a:pt x="81448" y="97630"/>
                      </a:cubicBezTo>
                      <a:cubicBezTo>
                        <a:pt x="81499" y="72720"/>
                        <a:pt x="81233" y="51665"/>
                        <a:pt x="81233" y="51647"/>
                      </a:cubicBezTo>
                      <a:cubicBezTo>
                        <a:pt x="80856" y="19206"/>
                        <a:pt x="67669" y="15642"/>
                        <a:pt x="58949" y="13278"/>
                      </a:cubicBezTo>
                      <a:cubicBezTo>
                        <a:pt x="58639" y="15171"/>
                        <a:pt x="54827" y="55821"/>
                        <a:pt x="52683" y="68283"/>
                      </a:cubicBezTo>
                      <a:cubicBezTo>
                        <a:pt x="48044" y="95288"/>
                        <a:pt x="27001" y="112939"/>
                        <a:pt x="13965" y="113703"/>
                      </a:cubicBezTo>
                      <a:lnTo>
                        <a:pt x="7017" y="114104"/>
                      </a:lnTo>
                      <a:cubicBezTo>
                        <a:pt x="3383" y="114324"/>
                        <a:pt x="220" y="111526"/>
                        <a:pt x="12" y="107862"/>
                      </a:cubicBezTo>
                      <a:cubicBezTo>
                        <a:pt x="-203" y="104207"/>
                        <a:pt x="2589" y="101065"/>
                        <a:pt x="6253" y="100857"/>
                      </a:cubicBezTo>
                      <a:lnTo>
                        <a:pt x="13192" y="100455"/>
                      </a:lnTo>
                      <a:cubicBezTo>
                        <a:pt x="19193" y="100099"/>
                        <a:pt x="35899" y="87597"/>
                        <a:pt x="39605" y="66032"/>
                      </a:cubicBezTo>
                      <a:cubicBezTo>
                        <a:pt x="41661" y="54070"/>
                        <a:pt x="45542" y="12626"/>
                        <a:pt x="45582" y="12213"/>
                      </a:cubicBezTo>
                      <a:cubicBezTo>
                        <a:pt x="46034" y="8129"/>
                        <a:pt x="48180" y="4574"/>
                        <a:pt x="51479" y="2331"/>
                      </a:cubicBezTo>
                      <a:cubicBezTo>
                        <a:pt x="54694" y="134"/>
                        <a:pt x="58672" y="-567"/>
                        <a:pt x="62417" y="472"/>
                      </a:cubicBezTo>
                      <a:cubicBezTo>
                        <a:pt x="71871" y="3025"/>
                        <a:pt x="94016" y="9019"/>
                        <a:pt x="94508" y="51484"/>
                      </a:cubicBezTo>
                      <a:lnTo>
                        <a:pt x="94508" y="51484"/>
                      </a:lnTo>
                      <a:cubicBezTo>
                        <a:pt x="94508" y="51484"/>
                        <a:pt x="94728" y="69065"/>
                        <a:pt x="94728" y="91138"/>
                      </a:cubicBezTo>
                      <a:lnTo>
                        <a:pt x="168718" y="92629"/>
                      </a:lnTo>
                      <a:cubicBezTo>
                        <a:pt x="181950" y="92629"/>
                        <a:pt x="192825" y="103504"/>
                        <a:pt x="192825" y="116872"/>
                      </a:cubicBezTo>
                      <a:cubicBezTo>
                        <a:pt x="193085" y="123415"/>
                        <a:pt x="191035" y="129280"/>
                        <a:pt x="186894" y="133584"/>
                      </a:cubicBezTo>
                      <a:cubicBezTo>
                        <a:pt x="180320" y="140414"/>
                        <a:pt x="170119" y="141848"/>
                        <a:pt x="162721" y="141848"/>
                      </a:cubicBezTo>
                      <a:close/>
                    </a:path>
                  </a:pathLst>
                </a:custGeom>
                <a:grpFill/>
                <a:ln w="301" cap="flat">
                  <a:noFill/>
                  <a:prstDash val="solid"/>
                  <a:miter/>
                </a:ln>
              </p:spPr>
              <p:txBody>
                <a:bodyPr rtlCol="0" anchor="ctr"/>
                <a:lstStyle/>
                <a:p>
                  <a:endParaRPr lang="en-GB" dirty="0"/>
                </a:p>
              </p:txBody>
            </p:sp>
            <p:sp>
              <p:nvSpPr>
                <p:cNvPr id="326" name="Freihandform: Form 299">
                  <a:extLst>
                    <a:ext uri="{FF2B5EF4-FFF2-40B4-BE49-F238E27FC236}">
                      <a16:creationId xmlns:a16="http://schemas.microsoft.com/office/drawing/2014/main" id="{4BACF600-AC09-4D3F-92E5-25D8AF2B6A76}"/>
                    </a:ext>
                  </a:extLst>
                </p:cNvPr>
                <p:cNvSpPr/>
                <p:nvPr/>
              </p:nvSpPr>
              <p:spPr>
                <a:xfrm>
                  <a:off x="3741526" y="3456031"/>
                  <a:ext cx="34419" cy="48186"/>
                </a:xfrm>
                <a:custGeom>
                  <a:avLst/>
                  <a:gdLst>
                    <a:gd name="connsiteX0" fmla="*/ 6637 w 34419"/>
                    <a:gd name="connsiteY0" fmla="*/ 48187 h 48186"/>
                    <a:gd name="connsiteX1" fmla="*/ 0 w 34419"/>
                    <a:gd name="connsiteY1" fmla="*/ 41550 h 48186"/>
                    <a:gd name="connsiteX2" fmla="*/ 6637 w 34419"/>
                    <a:gd name="connsiteY2" fmla="*/ 34912 h 48186"/>
                    <a:gd name="connsiteX3" fmla="*/ 18958 w 34419"/>
                    <a:gd name="connsiteY3" fmla="*/ 30947 h 48186"/>
                    <a:gd name="connsiteX4" fmla="*/ 21134 w 34419"/>
                    <a:gd name="connsiteY4" fmla="*/ 24195 h 48186"/>
                    <a:gd name="connsiteX5" fmla="*/ 7823 w 34419"/>
                    <a:gd name="connsiteY5" fmla="*/ 13274 h 48186"/>
                    <a:gd name="connsiteX6" fmla="*/ 1186 w 34419"/>
                    <a:gd name="connsiteY6" fmla="*/ 6637 h 48186"/>
                    <a:gd name="connsiteX7" fmla="*/ 7823 w 34419"/>
                    <a:gd name="connsiteY7" fmla="*/ 0 h 48186"/>
                    <a:gd name="connsiteX8" fmla="*/ 34399 w 34419"/>
                    <a:gd name="connsiteY8" fmla="*/ 23938 h 48186"/>
                    <a:gd name="connsiteX9" fmla="*/ 28514 w 34419"/>
                    <a:gd name="connsiteY9" fmla="*/ 40152 h 48186"/>
                    <a:gd name="connsiteX10" fmla="*/ 6637 w 34419"/>
                    <a:gd name="connsiteY10" fmla="*/ 48187 h 4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419" h="48186">
                      <a:moveTo>
                        <a:pt x="6637" y="48187"/>
                      </a:moveTo>
                      <a:cubicBezTo>
                        <a:pt x="2970" y="48187"/>
                        <a:pt x="0" y="45220"/>
                        <a:pt x="0" y="41550"/>
                      </a:cubicBezTo>
                      <a:cubicBezTo>
                        <a:pt x="0" y="37883"/>
                        <a:pt x="2967" y="34912"/>
                        <a:pt x="6637" y="34912"/>
                      </a:cubicBezTo>
                      <a:cubicBezTo>
                        <a:pt x="11958" y="34912"/>
                        <a:pt x="16564" y="33427"/>
                        <a:pt x="18958" y="30947"/>
                      </a:cubicBezTo>
                      <a:cubicBezTo>
                        <a:pt x="20533" y="29314"/>
                        <a:pt x="21246" y="27104"/>
                        <a:pt x="21134" y="24195"/>
                      </a:cubicBezTo>
                      <a:cubicBezTo>
                        <a:pt x="21128" y="18031"/>
                        <a:pt x="13851" y="13274"/>
                        <a:pt x="7823" y="13274"/>
                      </a:cubicBezTo>
                      <a:cubicBezTo>
                        <a:pt x="4156" y="13274"/>
                        <a:pt x="1186" y="10307"/>
                        <a:pt x="1186" y="6637"/>
                      </a:cubicBezTo>
                      <a:cubicBezTo>
                        <a:pt x="1186" y="2970"/>
                        <a:pt x="4153" y="0"/>
                        <a:pt x="7823" y="0"/>
                      </a:cubicBezTo>
                      <a:cubicBezTo>
                        <a:pt x="20395" y="0"/>
                        <a:pt x="34399" y="9831"/>
                        <a:pt x="34399" y="23938"/>
                      </a:cubicBezTo>
                      <a:cubicBezTo>
                        <a:pt x="34647" y="30204"/>
                        <a:pt x="32610" y="35893"/>
                        <a:pt x="28514" y="40152"/>
                      </a:cubicBezTo>
                      <a:cubicBezTo>
                        <a:pt x="23600" y="45256"/>
                        <a:pt x="15623" y="48187"/>
                        <a:pt x="6637" y="48187"/>
                      </a:cubicBezTo>
                      <a:close/>
                    </a:path>
                  </a:pathLst>
                </a:custGeom>
                <a:grpFill/>
                <a:ln w="301" cap="flat">
                  <a:noFill/>
                  <a:prstDash val="solid"/>
                  <a:miter/>
                </a:ln>
              </p:spPr>
              <p:txBody>
                <a:bodyPr rtlCol="0" anchor="ctr"/>
                <a:lstStyle/>
                <a:p>
                  <a:endParaRPr lang="en-GB" dirty="0"/>
                </a:p>
              </p:txBody>
            </p:sp>
            <p:sp>
              <p:nvSpPr>
                <p:cNvPr id="327" name="Freihandform: Form 300">
                  <a:extLst>
                    <a:ext uri="{FF2B5EF4-FFF2-40B4-BE49-F238E27FC236}">
                      <a16:creationId xmlns:a16="http://schemas.microsoft.com/office/drawing/2014/main" id="{FF940D8C-3D55-4BC0-867E-AB37E7277A3D}"/>
                    </a:ext>
                  </a:extLst>
                </p:cNvPr>
                <p:cNvSpPr/>
                <p:nvPr/>
              </p:nvSpPr>
              <p:spPr>
                <a:xfrm>
                  <a:off x="3582835" y="3490941"/>
                  <a:ext cx="189565" cy="83588"/>
                </a:xfrm>
                <a:custGeom>
                  <a:avLst/>
                  <a:gdLst>
                    <a:gd name="connsiteX0" fmla="*/ 80611 w 189565"/>
                    <a:gd name="connsiteY0" fmla="*/ 83588 h 83588"/>
                    <a:gd name="connsiteX1" fmla="*/ 73826 w 189565"/>
                    <a:gd name="connsiteY1" fmla="*/ 83555 h 83588"/>
                    <a:gd name="connsiteX2" fmla="*/ 4623 w 189565"/>
                    <a:gd name="connsiteY2" fmla="*/ 69888 h 83588"/>
                    <a:gd name="connsiteX3" fmla="*/ 313 w 189565"/>
                    <a:gd name="connsiteY3" fmla="*/ 61549 h 83588"/>
                    <a:gd name="connsiteX4" fmla="*/ 8652 w 189565"/>
                    <a:gd name="connsiteY4" fmla="*/ 57239 h 83588"/>
                    <a:gd name="connsiteX5" fmla="*/ 73968 w 189565"/>
                    <a:gd name="connsiteY5" fmla="*/ 70284 h 83588"/>
                    <a:gd name="connsiteX6" fmla="*/ 160511 w 189565"/>
                    <a:gd name="connsiteY6" fmla="*/ 68935 h 83588"/>
                    <a:gd name="connsiteX7" fmla="*/ 172868 w 189565"/>
                    <a:gd name="connsiteY7" fmla="*/ 57764 h 83588"/>
                    <a:gd name="connsiteX8" fmla="*/ 165359 w 189565"/>
                    <a:gd name="connsiteY8" fmla="*/ 49041 h 83588"/>
                    <a:gd name="connsiteX9" fmla="*/ 161586 w 189565"/>
                    <a:gd name="connsiteY9" fmla="*/ 48917 h 83588"/>
                    <a:gd name="connsiteX10" fmla="*/ 155172 w 189565"/>
                    <a:gd name="connsiteY10" fmla="*/ 42177 h 83588"/>
                    <a:gd name="connsiteX11" fmla="*/ 161806 w 189565"/>
                    <a:gd name="connsiteY11" fmla="*/ 35652 h 83588"/>
                    <a:gd name="connsiteX12" fmla="*/ 165965 w 189565"/>
                    <a:gd name="connsiteY12" fmla="*/ 35776 h 83588"/>
                    <a:gd name="connsiteX13" fmla="*/ 176294 w 189565"/>
                    <a:gd name="connsiteY13" fmla="*/ 24240 h 83588"/>
                    <a:gd name="connsiteX14" fmla="*/ 165322 w 189565"/>
                    <a:gd name="connsiteY14" fmla="*/ 13274 h 83588"/>
                    <a:gd name="connsiteX15" fmla="*/ 158685 w 189565"/>
                    <a:gd name="connsiteY15" fmla="*/ 6637 h 83588"/>
                    <a:gd name="connsiteX16" fmla="*/ 165322 w 189565"/>
                    <a:gd name="connsiteY16" fmla="*/ 0 h 83588"/>
                    <a:gd name="connsiteX17" fmla="*/ 189565 w 189565"/>
                    <a:gd name="connsiteY17" fmla="*/ 24237 h 83588"/>
                    <a:gd name="connsiteX18" fmla="*/ 181516 w 189565"/>
                    <a:gd name="connsiteY18" fmla="*/ 42745 h 83588"/>
                    <a:gd name="connsiteX19" fmla="*/ 186136 w 189565"/>
                    <a:gd name="connsiteY19" fmla="*/ 57676 h 83588"/>
                    <a:gd name="connsiteX20" fmla="*/ 160689 w 189565"/>
                    <a:gd name="connsiteY20" fmla="*/ 82203 h 83588"/>
                    <a:gd name="connsiteX21" fmla="*/ 80611 w 189565"/>
                    <a:gd name="connsiteY21" fmla="*/ 83588 h 83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9565" h="83588">
                      <a:moveTo>
                        <a:pt x="80611" y="83588"/>
                      </a:moveTo>
                      <a:cubicBezTo>
                        <a:pt x="78160" y="83588"/>
                        <a:pt x="75894" y="83576"/>
                        <a:pt x="73826" y="83555"/>
                      </a:cubicBezTo>
                      <a:cubicBezTo>
                        <a:pt x="46900" y="83271"/>
                        <a:pt x="6334" y="70432"/>
                        <a:pt x="4623" y="69888"/>
                      </a:cubicBezTo>
                      <a:cubicBezTo>
                        <a:pt x="1131" y="68774"/>
                        <a:pt x="-795" y="65041"/>
                        <a:pt x="313" y="61549"/>
                      </a:cubicBezTo>
                      <a:cubicBezTo>
                        <a:pt x="1427" y="58063"/>
                        <a:pt x="5178" y="56119"/>
                        <a:pt x="8652" y="57239"/>
                      </a:cubicBezTo>
                      <a:cubicBezTo>
                        <a:pt x="9054" y="57368"/>
                        <a:pt x="49043" y="70018"/>
                        <a:pt x="73968" y="70284"/>
                      </a:cubicBezTo>
                      <a:cubicBezTo>
                        <a:pt x="99771" y="70522"/>
                        <a:pt x="159917" y="68962"/>
                        <a:pt x="160511" y="68935"/>
                      </a:cubicBezTo>
                      <a:cubicBezTo>
                        <a:pt x="167634" y="68935"/>
                        <a:pt x="172868" y="64132"/>
                        <a:pt x="172868" y="57764"/>
                      </a:cubicBezTo>
                      <a:cubicBezTo>
                        <a:pt x="172783" y="51582"/>
                        <a:pt x="171353" y="49521"/>
                        <a:pt x="165359" y="49041"/>
                      </a:cubicBezTo>
                      <a:lnTo>
                        <a:pt x="161586" y="48917"/>
                      </a:lnTo>
                      <a:cubicBezTo>
                        <a:pt x="157970" y="48800"/>
                        <a:pt x="155112" y="45799"/>
                        <a:pt x="155172" y="42177"/>
                      </a:cubicBezTo>
                      <a:cubicBezTo>
                        <a:pt x="155229" y="38555"/>
                        <a:pt x="158184" y="35652"/>
                        <a:pt x="161806" y="35652"/>
                      </a:cubicBezTo>
                      <a:cubicBezTo>
                        <a:pt x="162863" y="35652"/>
                        <a:pt x="164308" y="35652"/>
                        <a:pt x="165965" y="35776"/>
                      </a:cubicBezTo>
                      <a:cubicBezTo>
                        <a:pt x="171492" y="35640"/>
                        <a:pt x="176294" y="30415"/>
                        <a:pt x="176294" y="24240"/>
                      </a:cubicBezTo>
                      <a:cubicBezTo>
                        <a:pt x="176294" y="18194"/>
                        <a:pt x="171374" y="13274"/>
                        <a:pt x="165322" y="13274"/>
                      </a:cubicBezTo>
                      <a:cubicBezTo>
                        <a:pt x="161655" y="13274"/>
                        <a:pt x="158685" y="10307"/>
                        <a:pt x="158685" y="6637"/>
                      </a:cubicBezTo>
                      <a:cubicBezTo>
                        <a:pt x="158685" y="2970"/>
                        <a:pt x="161652" y="0"/>
                        <a:pt x="165322" y="0"/>
                      </a:cubicBezTo>
                      <a:cubicBezTo>
                        <a:pt x="178690" y="0"/>
                        <a:pt x="189565" y="10875"/>
                        <a:pt x="189565" y="24237"/>
                      </a:cubicBezTo>
                      <a:cubicBezTo>
                        <a:pt x="189565" y="31586"/>
                        <a:pt x="186453" y="38202"/>
                        <a:pt x="181516" y="42745"/>
                      </a:cubicBezTo>
                      <a:cubicBezTo>
                        <a:pt x="184193" y="46005"/>
                        <a:pt x="186046" y="50749"/>
                        <a:pt x="186136" y="57676"/>
                      </a:cubicBezTo>
                      <a:cubicBezTo>
                        <a:pt x="186136" y="71467"/>
                        <a:pt x="174957" y="82203"/>
                        <a:pt x="160689" y="82203"/>
                      </a:cubicBezTo>
                      <a:cubicBezTo>
                        <a:pt x="160300" y="82221"/>
                        <a:pt x="109071" y="83588"/>
                        <a:pt x="80611" y="83588"/>
                      </a:cubicBezTo>
                      <a:close/>
                    </a:path>
                  </a:pathLst>
                </a:custGeom>
                <a:grpFill/>
                <a:ln w="301" cap="flat">
                  <a:noFill/>
                  <a:prstDash val="solid"/>
                  <a:miter/>
                </a:ln>
              </p:spPr>
              <p:txBody>
                <a:bodyPr rtlCol="0" anchor="ctr"/>
                <a:lstStyle/>
                <a:p>
                  <a:endParaRPr lang="en-GB" dirty="0"/>
                </a:p>
              </p:txBody>
            </p:sp>
          </p:grpSp>
          <p:sp>
            <p:nvSpPr>
              <p:cNvPr id="324" name="Freihandform: Form 301">
                <a:extLst>
                  <a:ext uri="{FF2B5EF4-FFF2-40B4-BE49-F238E27FC236}">
                    <a16:creationId xmlns:a16="http://schemas.microsoft.com/office/drawing/2014/main" id="{F878896B-70E3-4ECE-A4C0-6CC8F7A3F9E2}"/>
                  </a:ext>
                </a:extLst>
              </p:cNvPr>
              <p:cNvSpPr/>
              <p:nvPr/>
            </p:nvSpPr>
            <p:spPr>
              <a:xfrm>
                <a:off x="3542770" y="3414726"/>
                <a:ext cx="53341" cy="166449"/>
              </a:xfrm>
              <a:custGeom>
                <a:avLst/>
                <a:gdLst>
                  <a:gd name="connsiteX0" fmla="*/ 46705 w 53341"/>
                  <a:gd name="connsiteY0" fmla="*/ 166449 h 166449"/>
                  <a:gd name="connsiteX1" fmla="*/ 6637 w 53341"/>
                  <a:gd name="connsiteY1" fmla="*/ 166449 h 166449"/>
                  <a:gd name="connsiteX2" fmla="*/ 0 w 53341"/>
                  <a:gd name="connsiteY2" fmla="*/ 159812 h 166449"/>
                  <a:gd name="connsiteX3" fmla="*/ 6637 w 53341"/>
                  <a:gd name="connsiteY3" fmla="*/ 153178 h 166449"/>
                  <a:gd name="connsiteX4" fmla="*/ 40068 w 53341"/>
                  <a:gd name="connsiteY4" fmla="*/ 153178 h 166449"/>
                  <a:gd name="connsiteX5" fmla="*/ 40068 w 53341"/>
                  <a:gd name="connsiteY5" fmla="*/ 13274 h 166449"/>
                  <a:gd name="connsiteX6" fmla="*/ 6637 w 53341"/>
                  <a:gd name="connsiteY6" fmla="*/ 13274 h 166449"/>
                  <a:gd name="connsiteX7" fmla="*/ 0 w 53341"/>
                  <a:gd name="connsiteY7" fmla="*/ 6637 h 166449"/>
                  <a:gd name="connsiteX8" fmla="*/ 6637 w 53341"/>
                  <a:gd name="connsiteY8" fmla="*/ 0 h 166449"/>
                  <a:gd name="connsiteX9" fmla="*/ 46705 w 53341"/>
                  <a:gd name="connsiteY9" fmla="*/ 0 h 166449"/>
                  <a:gd name="connsiteX10" fmla="*/ 53342 w 53341"/>
                  <a:gd name="connsiteY10" fmla="*/ 6637 h 166449"/>
                  <a:gd name="connsiteX11" fmla="*/ 53342 w 53341"/>
                  <a:gd name="connsiteY11" fmla="*/ 159812 h 166449"/>
                  <a:gd name="connsiteX12" fmla="*/ 46705 w 53341"/>
                  <a:gd name="connsiteY12" fmla="*/ 166449 h 166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341" h="166449">
                    <a:moveTo>
                      <a:pt x="46705" y="166449"/>
                    </a:moveTo>
                    <a:lnTo>
                      <a:pt x="6637" y="166449"/>
                    </a:lnTo>
                    <a:cubicBezTo>
                      <a:pt x="2970" y="166449"/>
                      <a:pt x="0" y="163482"/>
                      <a:pt x="0" y="159812"/>
                    </a:cubicBezTo>
                    <a:cubicBezTo>
                      <a:pt x="0" y="156145"/>
                      <a:pt x="2967" y="153178"/>
                      <a:pt x="6637" y="153178"/>
                    </a:cubicBezTo>
                    <a:lnTo>
                      <a:pt x="40068" y="153178"/>
                    </a:lnTo>
                    <a:lnTo>
                      <a:pt x="40068" y="13274"/>
                    </a:lnTo>
                    <a:lnTo>
                      <a:pt x="6637" y="13274"/>
                    </a:lnTo>
                    <a:cubicBezTo>
                      <a:pt x="2970" y="13274"/>
                      <a:pt x="0" y="10308"/>
                      <a:pt x="0" y="6637"/>
                    </a:cubicBezTo>
                    <a:cubicBezTo>
                      <a:pt x="0" y="2970"/>
                      <a:pt x="2967" y="0"/>
                      <a:pt x="6637" y="0"/>
                    </a:cubicBezTo>
                    <a:lnTo>
                      <a:pt x="46705" y="0"/>
                    </a:lnTo>
                    <a:cubicBezTo>
                      <a:pt x="50372" y="0"/>
                      <a:pt x="53342" y="2967"/>
                      <a:pt x="53342" y="6637"/>
                    </a:cubicBezTo>
                    <a:lnTo>
                      <a:pt x="53342" y="159812"/>
                    </a:lnTo>
                    <a:cubicBezTo>
                      <a:pt x="53339" y="163482"/>
                      <a:pt x="50372" y="166449"/>
                      <a:pt x="46705" y="166449"/>
                    </a:cubicBezTo>
                    <a:close/>
                  </a:path>
                </a:pathLst>
              </a:custGeom>
              <a:grpFill/>
              <a:ln w="301" cap="flat">
                <a:noFill/>
                <a:prstDash val="solid"/>
                <a:miter/>
              </a:ln>
            </p:spPr>
            <p:txBody>
              <a:bodyPr rtlCol="0" anchor="ctr"/>
              <a:lstStyle/>
              <a:p>
                <a:endParaRPr lang="en-GB" dirty="0"/>
              </a:p>
            </p:txBody>
          </p:sp>
        </p:grpSp>
        <p:grpSp>
          <p:nvGrpSpPr>
            <p:cNvPr id="317" name="Grafik 342">
              <a:extLst>
                <a:ext uri="{FF2B5EF4-FFF2-40B4-BE49-F238E27FC236}">
                  <a16:creationId xmlns:a16="http://schemas.microsoft.com/office/drawing/2014/main" id="{A34C4385-6F2C-4738-AD94-37369626D963}"/>
                </a:ext>
              </a:extLst>
            </p:cNvPr>
            <p:cNvGrpSpPr/>
            <p:nvPr/>
          </p:nvGrpSpPr>
          <p:grpSpPr>
            <a:xfrm>
              <a:off x="2599562" y="4329647"/>
              <a:ext cx="570713" cy="142439"/>
              <a:chOff x="3390290" y="3602683"/>
              <a:chExt cx="542451" cy="135385"/>
            </a:xfrm>
            <a:solidFill>
              <a:schemeClr val="accent1"/>
            </a:solidFill>
          </p:grpSpPr>
          <p:sp>
            <p:nvSpPr>
              <p:cNvPr id="318" name="Freihandform: Form 303">
                <a:extLst>
                  <a:ext uri="{FF2B5EF4-FFF2-40B4-BE49-F238E27FC236}">
                    <a16:creationId xmlns:a16="http://schemas.microsoft.com/office/drawing/2014/main" id="{9FDE8E0B-DB8B-46EF-87C9-CE211214FCB5}"/>
                  </a:ext>
                </a:extLst>
              </p:cNvPr>
              <p:cNvSpPr/>
              <p:nvPr/>
            </p:nvSpPr>
            <p:spPr>
              <a:xfrm>
                <a:off x="3589884" y="3602683"/>
                <a:ext cx="141330" cy="135385"/>
              </a:xfrm>
              <a:custGeom>
                <a:avLst/>
                <a:gdLst>
                  <a:gd name="connsiteX0" fmla="*/ 33145 w 141330"/>
                  <a:gd name="connsiteY0" fmla="*/ 135385 h 135385"/>
                  <a:gd name="connsiteX1" fmla="*/ 27307 w 141330"/>
                  <a:gd name="connsiteY1" fmla="*/ 133474 h 135385"/>
                  <a:gd name="connsiteX2" fmla="*/ 23347 w 141330"/>
                  <a:gd name="connsiteY2" fmla="*/ 123734 h 135385"/>
                  <a:gd name="connsiteX3" fmla="*/ 29626 w 141330"/>
                  <a:gd name="connsiteY3" fmla="*/ 87120 h 135385"/>
                  <a:gd name="connsiteX4" fmla="*/ 3010 w 141330"/>
                  <a:gd name="connsiteY4" fmla="*/ 61187 h 135385"/>
                  <a:gd name="connsiteX5" fmla="*/ 496 w 141330"/>
                  <a:gd name="connsiteY5" fmla="*/ 50979 h 135385"/>
                  <a:gd name="connsiteX6" fmla="*/ 8531 w 141330"/>
                  <a:gd name="connsiteY6" fmla="*/ 44215 h 135385"/>
                  <a:gd name="connsiteX7" fmla="*/ 45299 w 141330"/>
                  <a:gd name="connsiteY7" fmla="*/ 38863 h 135385"/>
                  <a:gd name="connsiteX8" fmla="*/ 61740 w 141330"/>
                  <a:gd name="connsiteY8" fmla="*/ 5554 h 135385"/>
                  <a:gd name="connsiteX9" fmla="*/ 70662 w 141330"/>
                  <a:gd name="connsiteY9" fmla="*/ 0 h 135385"/>
                  <a:gd name="connsiteX10" fmla="*/ 70668 w 141330"/>
                  <a:gd name="connsiteY10" fmla="*/ 0 h 135385"/>
                  <a:gd name="connsiteX11" fmla="*/ 79590 w 141330"/>
                  <a:gd name="connsiteY11" fmla="*/ 5542 h 135385"/>
                  <a:gd name="connsiteX12" fmla="*/ 79590 w 141330"/>
                  <a:gd name="connsiteY12" fmla="*/ 5548 h 135385"/>
                  <a:gd name="connsiteX13" fmla="*/ 96031 w 141330"/>
                  <a:gd name="connsiteY13" fmla="*/ 38863 h 135385"/>
                  <a:gd name="connsiteX14" fmla="*/ 132799 w 141330"/>
                  <a:gd name="connsiteY14" fmla="*/ 44215 h 135385"/>
                  <a:gd name="connsiteX15" fmla="*/ 140834 w 141330"/>
                  <a:gd name="connsiteY15" fmla="*/ 50979 h 135385"/>
                  <a:gd name="connsiteX16" fmla="*/ 138326 w 141330"/>
                  <a:gd name="connsiteY16" fmla="*/ 61178 h 135385"/>
                  <a:gd name="connsiteX17" fmla="*/ 111711 w 141330"/>
                  <a:gd name="connsiteY17" fmla="*/ 87117 h 135385"/>
                  <a:gd name="connsiteX18" fmla="*/ 117989 w 141330"/>
                  <a:gd name="connsiteY18" fmla="*/ 123738 h 135385"/>
                  <a:gd name="connsiteX19" fmla="*/ 114017 w 141330"/>
                  <a:gd name="connsiteY19" fmla="*/ 133477 h 135385"/>
                  <a:gd name="connsiteX20" fmla="*/ 103537 w 141330"/>
                  <a:gd name="connsiteY20" fmla="*/ 134223 h 135385"/>
                  <a:gd name="connsiteX21" fmla="*/ 70662 w 141330"/>
                  <a:gd name="connsiteY21" fmla="*/ 116940 h 135385"/>
                  <a:gd name="connsiteX22" fmla="*/ 37769 w 141330"/>
                  <a:gd name="connsiteY22" fmla="*/ 134223 h 135385"/>
                  <a:gd name="connsiteX23" fmla="*/ 33145 w 141330"/>
                  <a:gd name="connsiteY23" fmla="*/ 135385 h 135385"/>
                  <a:gd name="connsiteX24" fmla="*/ 70671 w 141330"/>
                  <a:gd name="connsiteY24" fmla="*/ 102812 h 135385"/>
                  <a:gd name="connsiteX25" fmla="*/ 73756 w 141330"/>
                  <a:gd name="connsiteY25" fmla="*/ 103575 h 135385"/>
                  <a:gd name="connsiteX26" fmla="*/ 103779 w 141330"/>
                  <a:gd name="connsiteY26" fmla="*/ 119355 h 135385"/>
                  <a:gd name="connsiteX27" fmla="*/ 98050 w 141330"/>
                  <a:gd name="connsiteY27" fmla="*/ 85924 h 135385"/>
                  <a:gd name="connsiteX28" fmla="*/ 99954 w 141330"/>
                  <a:gd name="connsiteY28" fmla="*/ 80054 h 135385"/>
                  <a:gd name="connsiteX29" fmla="*/ 124242 w 141330"/>
                  <a:gd name="connsiteY29" fmla="*/ 56382 h 135385"/>
                  <a:gd name="connsiteX30" fmla="*/ 90673 w 141330"/>
                  <a:gd name="connsiteY30" fmla="*/ 51495 h 135385"/>
                  <a:gd name="connsiteX31" fmla="*/ 85678 w 141330"/>
                  <a:gd name="connsiteY31" fmla="*/ 47867 h 135385"/>
                  <a:gd name="connsiteX32" fmla="*/ 70671 w 141330"/>
                  <a:gd name="connsiteY32" fmla="*/ 17449 h 135385"/>
                  <a:gd name="connsiteX33" fmla="*/ 55655 w 141330"/>
                  <a:gd name="connsiteY33" fmla="*/ 47867 h 135385"/>
                  <a:gd name="connsiteX34" fmla="*/ 50660 w 141330"/>
                  <a:gd name="connsiteY34" fmla="*/ 51495 h 135385"/>
                  <a:gd name="connsiteX35" fmla="*/ 17094 w 141330"/>
                  <a:gd name="connsiteY35" fmla="*/ 56382 h 135385"/>
                  <a:gd name="connsiteX36" fmla="*/ 41388 w 141330"/>
                  <a:gd name="connsiteY36" fmla="*/ 80054 h 135385"/>
                  <a:gd name="connsiteX37" fmla="*/ 43292 w 141330"/>
                  <a:gd name="connsiteY37" fmla="*/ 85924 h 135385"/>
                  <a:gd name="connsiteX38" fmla="*/ 37564 w 141330"/>
                  <a:gd name="connsiteY38" fmla="*/ 119349 h 135385"/>
                  <a:gd name="connsiteX39" fmla="*/ 67586 w 141330"/>
                  <a:gd name="connsiteY39" fmla="*/ 103575 h 135385"/>
                  <a:gd name="connsiteX40" fmla="*/ 70671 w 141330"/>
                  <a:gd name="connsiteY40" fmla="*/ 102812 h 135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1330" h="135385">
                    <a:moveTo>
                      <a:pt x="33145" y="135385"/>
                    </a:moveTo>
                    <a:cubicBezTo>
                      <a:pt x="31089" y="135385"/>
                      <a:pt x="29049" y="134742"/>
                      <a:pt x="27307" y="133474"/>
                    </a:cubicBezTo>
                    <a:cubicBezTo>
                      <a:pt x="24217" y="131232"/>
                      <a:pt x="22699" y="127498"/>
                      <a:pt x="23347" y="123734"/>
                    </a:cubicBezTo>
                    <a:lnTo>
                      <a:pt x="29626" y="87120"/>
                    </a:lnTo>
                    <a:lnTo>
                      <a:pt x="3010" y="61187"/>
                    </a:lnTo>
                    <a:cubicBezTo>
                      <a:pt x="276" y="58515"/>
                      <a:pt x="-684" y="54610"/>
                      <a:pt x="496" y="50979"/>
                    </a:cubicBezTo>
                    <a:cubicBezTo>
                      <a:pt x="1676" y="47351"/>
                      <a:pt x="4755" y="44758"/>
                      <a:pt x="8531" y="44215"/>
                    </a:cubicBezTo>
                    <a:lnTo>
                      <a:pt x="45299" y="38863"/>
                    </a:lnTo>
                    <a:lnTo>
                      <a:pt x="61740" y="5554"/>
                    </a:lnTo>
                    <a:cubicBezTo>
                      <a:pt x="63424" y="2131"/>
                      <a:pt x="66847" y="0"/>
                      <a:pt x="70662" y="0"/>
                    </a:cubicBezTo>
                    <a:lnTo>
                      <a:pt x="70668" y="0"/>
                    </a:lnTo>
                    <a:cubicBezTo>
                      <a:pt x="74477" y="0"/>
                      <a:pt x="77900" y="2125"/>
                      <a:pt x="79590" y="5542"/>
                    </a:cubicBezTo>
                    <a:lnTo>
                      <a:pt x="79590" y="5548"/>
                    </a:lnTo>
                    <a:lnTo>
                      <a:pt x="96031" y="38863"/>
                    </a:lnTo>
                    <a:lnTo>
                      <a:pt x="132799" y="44215"/>
                    </a:lnTo>
                    <a:cubicBezTo>
                      <a:pt x="136578" y="44758"/>
                      <a:pt x="139657" y="47351"/>
                      <a:pt x="140834" y="50979"/>
                    </a:cubicBezTo>
                    <a:cubicBezTo>
                      <a:pt x="142014" y="54607"/>
                      <a:pt x="141054" y="58515"/>
                      <a:pt x="138326" y="61178"/>
                    </a:cubicBezTo>
                    <a:lnTo>
                      <a:pt x="111711" y="87117"/>
                    </a:lnTo>
                    <a:lnTo>
                      <a:pt x="117989" y="123738"/>
                    </a:lnTo>
                    <a:cubicBezTo>
                      <a:pt x="118632" y="127510"/>
                      <a:pt x="117107" y="131241"/>
                      <a:pt x="114017" y="133477"/>
                    </a:cubicBezTo>
                    <a:cubicBezTo>
                      <a:pt x="110920" y="135720"/>
                      <a:pt x="106902" y="135986"/>
                      <a:pt x="103537" y="134223"/>
                    </a:cubicBezTo>
                    <a:lnTo>
                      <a:pt x="70662" y="116940"/>
                    </a:lnTo>
                    <a:lnTo>
                      <a:pt x="37769" y="134223"/>
                    </a:lnTo>
                    <a:cubicBezTo>
                      <a:pt x="36314" y="135005"/>
                      <a:pt x="34726" y="135385"/>
                      <a:pt x="33145" y="135385"/>
                    </a:cubicBezTo>
                    <a:close/>
                    <a:moveTo>
                      <a:pt x="70671" y="102812"/>
                    </a:moveTo>
                    <a:cubicBezTo>
                      <a:pt x="71734" y="102812"/>
                      <a:pt x="72790" y="103065"/>
                      <a:pt x="73756" y="103575"/>
                    </a:cubicBezTo>
                    <a:lnTo>
                      <a:pt x="103779" y="119355"/>
                    </a:lnTo>
                    <a:lnTo>
                      <a:pt x="98050" y="85924"/>
                    </a:lnTo>
                    <a:cubicBezTo>
                      <a:pt x="97682" y="83772"/>
                      <a:pt x="98394" y="81575"/>
                      <a:pt x="99954" y="80054"/>
                    </a:cubicBezTo>
                    <a:lnTo>
                      <a:pt x="124242" y="56382"/>
                    </a:lnTo>
                    <a:lnTo>
                      <a:pt x="90673" y="51495"/>
                    </a:lnTo>
                    <a:cubicBezTo>
                      <a:pt x="88509" y="51184"/>
                      <a:pt x="86644" y="49823"/>
                      <a:pt x="85678" y="47867"/>
                    </a:cubicBezTo>
                    <a:lnTo>
                      <a:pt x="70671" y="17449"/>
                    </a:lnTo>
                    <a:lnTo>
                      <a:pt x="55655" y="47867"/>
                    </a:lnTo>
                    <a:cubicBezTo>
                      <a:pt x="54689" y="49823"/>
                      <a:pt x="52824" y="51184"/>
                      <a:pt x="50660" y="51495"/>
                    </a:cubicBezTo>
                    <a:lnTo>
                      <a:pt x="17094" y="56382"/>
                    </a:lnTo>
                    <a:lnTo>
                      <a:pt x="41388" y="80054"/>
                    </a:lnTo>
                    <a:cubicBezTo>
                      <a:pt x="42948" y="81578"/>
                      <a:pt x="43664" y="83772"/>
                      <a:pt x="43292" y="85924"/>
                    </a:cubicBezTo>
                    <a:lnTo>
                      <a:pt x="37564" y="119349"/>
                    </a:lnTo>
                    <a:lnTo>
                      <a:pt x="67586" y="103575"/>
                    </a:lnTo>
                    <a:cubicBezTo>
                      <a:pt x="68552" y="103062"/>
                      <a:pt x="69609" y="102812"/>
                      <a:pt x="70671" y="102812"/>
                    </a:cubicBezTo>
                    <a:close/>
                  </a:path>
                </a:pathLst>
              </a:custGeom>
              <a:solidFill>
                <a:schemeClr val="accent1"/>
              </a:solidFill>
              <a:ln w="301" cap="flat">
                <a:noFill/>
                <a:prstDash val="solid"/>
                <a:miter/>
              </a:ln>
            </p:spPr>
            <p:txBody>
              <a:bodyPr rtlCol="0" anchor="ctr"/>
              <a:lstStyle/>
              <a:p>
                <a:endParaRPr lang="en-GB" dirty="0"/>
              </a:p>
            </p:txBody>
          </p:sp>
          <p:sp>
            <p:nvSpPr>
              <p:cNvPr id="319" name="Freihandform: Form 304">
                <a:extLst>
                  <a:ext uri="{FF2B5EF4-FFF2-40B4-BE49-F238E27FC236}">
                    <a16:creationId xmlns:a16="http://schemas.microsoft.com/office/drawing/2014/main" id="{3A720D35-C3B3-4C76-99DD-BBCF499116AE}"/>
                  </a:ext>
                </a:extLst>
              </p:cNvPr>
              <p:cNvSpPr/>
              <p:nvPr/>
            </p:nvSpPr>
            <p:spPr>
              <a:xfrm>
                <a:off x="3495475" y="3628483"/>
                <a:ext cx="103506" cy="108120"/>
              </a:xfrm>
              <a:custGeom>
                <a:avLst/>
                <a:gdLst>
                  <a:gd name="connsiteX0" fmla="*/ 84999 w 103506"/>
                  <a:gd name="connsiteY0" fmla="*/ 108121 h 108120"/>
                  <a:gd name="connsiteX1" fmla="*/ 80366 w 103506"/>
                  <a:gd name="connsiteY1" fmla="*/ 106974 h 108120"/>
                  <a:gd name="connsiteX2" fmla="*/ 56331 w 103506"/>
                  <a:gd name="connsiteY2" fmla="*/ 94336 h 108120"/>
                  <a:gd name="connsiteX3" fmla="*/ 32309 w 103506"/>
                  <a:gd name="connsiteY3" fmla="*/ 106968 h 108120"/>
                  <a:gd name="connsiteX4" fmla="*/ 21829 w 103506"/>
                  <a:gd name="connsiteY4" fmla="*/ 106216 h 108120"/>
                  <a:gd name="connsiteX5" fmla="*/ 17857 w 103506"/>
                  <a:gd name="connsiteY5" fmla="*/ 96488 h 108120"/>
                  <a:gd name="connsiteX6" fmla="*/ 22451 w 103506"/>
                  <a:gd name="connsiteY6" fmla="*/ 69725 h 108120"/>
                  <a:gd name="connsiteX7" fmla="*/ 3010 w 103506"/>
                  <a:gd name="connsiteY7" fmla="*/ 50777 h 108120"/>
                  <a:gd name="connsiteX8" fmla="*/ 496 w 103506"/>
                  <a:gd name="connsiteY8" fmla="*/ 40569 h 108120"/>
                  <a:gd name="connsiteX9" fmla="*/ 8531 w 103506"/>
                  <a:gd name="connsiteY9" fmla="*/ 33802 h 108120"/>
                  <a:gd name="connsiteX10" fmla="*/ 35390 w 103506"/>
                  <a:gd name="connsiteY10" fmla="*/ 29887 h 108120"/>
                  <a:gd name="connsiteX11" fmla="*/ 47406 w 103506"/>
                  <a:gd name="connsiteY11" fmla="*/ 5554 h 108120"/>
                  <a:gd name="connsiteX12" fmla="*/ 56328 w 103506"/>
                  <a:gd name="connsiteY12" fmla="*/ 0 h 108120"/>
                  <a:gd name="connsiteX13" fmla="*/ 56340 w 103506"/>
                  <a:gd name="connsiteY13" fmla="*/ 0 h 108120"/>
                  <a:gd name="connsiteX14" fmla="*/ 65256 w 103506"/>
                  <a:gd name="connsiteY14" fmla="*/ 5566 h 108120"/>
                  <a:gd name="connsiteX15" fmla="*/ 77263 w 103506"/>
                  <a:gd name="connsiteY15" fmla="*/ 29887 h 108120"/>
                  <a:gd name="connsiteX16" fmla="*/ 83976 w 103506"/>
                  <a:gd name="connsiteY16" fmla="*/ 30865 h 108120"/>
                  <a:gd name="connsiteX17" fmla="*/ 89586 w 103506"/>
                  <a:gd name="connsiteY17" fmla="*/ 38380 h 108120"/>
                  <a:gd name="connsiteX18" fmla="*/ 82068 w 103506"/>
                  <a:gd name="connsiteY18" fmla="*/ 43991 h 108120"/>
                  <a:gd name="connsiteX19" fmla="*/ 71899 w 103506"/>
                  <a:gd name="connsiteY19" fmla="*/ 42512 h 108120"/>
                  <a:gd name="connsiteX20" fmla="*/ 66904 w 103506"/>
                  <a:gd name="connsiteY20" fmla="*/ 38885 h 108120"/>
                  <a:gd name="connsiteX21" fmla="*/ 56322 w 103506"/>
                  <a:gd name="connsiteY21" fmla="*/ 17455 h 108120"/>
                  <a:gd name="connsiteX22" fmla="*/ 45740 w 103506"/>
                  <a:gd name="connsiteY22" fmla="*/ 38885 h 108120"/>
                  <a:gd name="connsiteX23" fmla="*/ 40751 w 103506"/>
                  <a:gd name="connsiteY23" fmla="*/ 42512 h 108120"/>
                  <a:gd name="connsiteX24" fmla="*/ 17084 w 103506"/>
                  <a:gd name="connsiteY24" fmla="*/ 45959 h 108120"/>
                  <a:gd name="connsiteX25" fmla="*/ 34204 w 103506"/>
                  <a:gd name="connsiteY25" fmla="*/ 62647 h 108120"/>
                  <a:gd name="connsiteX26" fmla="*/ 36109 w 103506"/>
                  <a:gd name="connsiteY26" fmla="*/ 68518 h 108120"/>
                  <a:gd name="connsiteX27" fmla="*/ 32070 w 103506"/>
                  <a:gd name="connsiteY27" fmla="*/ 92088 h 108120"/>
                  <a:gd name="connsiteX28" fmla="*/ 53228 w 103506"/>
                  <a:gd name="connsiteY28" fmla="*/ 80962 h 108120"/>
                  <a:gd name="connsiteX29" fmla="*/ 59410 w 103506"/>
                  <a:gd name="connsiteY29" fmla="*/ 80962 h 108120"/>
                  <a:gd name="connsiteX30" fmla="*/ 80568 w 103506"/>
                  <a:gd name="connsiteY30" fmla="*/ 92088 h 108120"/>
                  <a:gd name="connsiteX31" fmla="*/ 76529 w 103506"/>
                  <a:gd name="connsiteY31" fmla="*/ 68518 h 108120"/>
                  <a:gd name="connsiteX32" fmla="*/ 78434 w 103506"/>
                  <a:gd name="connsiteY32" fmla="*/ 62647 h 108120"/>
                  <a:gd name="connsiteX33" fmla="*/ 92237 w 103506"/>
                  <a:gd name="connsiteY33" fmla="*/ 49201 h 108120"/>
                  <a:gd name="connsiteX34" fmla="*/ 101620 w 103506"/>
                  <a:gd name="connsiteY34" fmla="*/ 49319 h 108120"/>
                  <a:gd name="connsiteX35" fmla="*/ 101503 w 103506"/>
                  <a:gd name="connsiteY35" fmla="*/ 58703 h 108120"/>
                  <a:gd name="connsiteX36" fmla="*/ 90193 w 103506"/>
                  <a:gd name="connsiteY36" fmla="*/ 69719 h 108120"/>
                  <a:gd name="connsiteX37" fmla="*/ 94781 w 103506"/>
                  <a:gd name="connsiteY37" fmla="*/ 96470 h 108120"/>
                  <a:gd name="connsiteX38" fmla="*/ 90833 w 103506"/>
                  <a:gd name="connsiteY38" fmla="*/ 106198 h 108120"/>
                  <a:gd name="connsiteX39" fmla="*/ 84999 w 103506"/>
                  <a:gd name="connsiteY39" fmla="*/ 108121 h 108120"/>
                  <a:gd name="connsiteX40" fmla="*/ 53355 w 103506"/>
                  <a:gd name="connsiteY40" fmla="*/ 11430 h 108120"/>
                  <a:gd name="connsiteX41" fmla="*/ 53361 w 103506"/>
                  <a:gd name="connsiteY41" fmla="*/ 11442 h 108120"/>
                  <a:gd name="connsiteX42" fmla="*/ 53355 w 103506"/>
                  <a:gd name="connsiteY42" fmla="*/ 11430 h 10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3506" h="108120">
                    <a:moveTo>
                      <a:pt x="84999" y="108121"/>
                    </a:moveTo>
                    <a:cubicBezTo>
                      <a:pt x="83417" y="108121"/>
                      <a:pt x="81830" y="107744"/>
                      <a:pt x="80366" y="106974"/>
                    </a:cubicBezTo>
                    <a:lnTo>
                      <a:pt x="56331" y="94336"/>
                    </a:lnTo>
                    <a:lnTo>
                      <a:pt x="32309" y="106968"/>
                    </a:lnTo>
                    <a:cubicBezTo>
                      <a:pt x="28919" y="108737"/>
                      <a:pt x="24914" y="108453"/>
                      <a:pt x="21829" y="106216"/>
                    </a:cubicBezTo>
                    <a:cubicBezTo>
                      <a:pt x="18744" y="103974"/>
                      <a:pt x="17220" y="100249"/>
                      <a:pt x="17857" y="96488"/>
                    </a:cubicBezTo>
                    <a:lnTo>
                      <a:pt x="22451" y="69725"/>
                    </a:lnTo>
                    <a:lnTo>
                      <a:pt x="3010" y="50777"/>
                    </a:lnTo>
                    <a:cubicBezTo>
                      <a:pt x="276" y="48105"/>
                      <a:pt x="-684" y="44200"/>
                      <a:pt x="496" y="40569"/>
                    </a:cubicBezTo>
                    <a:cubicBezTo>
                      <a:pt x="1676" y="36941"/>
                      <a:pt x="4755" y="34348"/>
                      <a:pt x="8531" y="33802"/>
                    </a:cubicBezTo>
                    <a:lnTo>
                      <a:pt x="35390" y="29887"/>
                    </a:lnTo>
                    <a:lnTo>
                      <a:pt x="47406" y="5554"/>
                    </a:lnTo>
                    <a:cubicBezTo>
                      <a:pt x="49090" y="2125"/>
                      <a:pt x="52513" y="0"/>
                      <a:pt x="56328" y="0"/>
                    </a:cubicBezTo>
                    <a:cubicBezTo>
                      <a:pt x="56334" y="0"/>
                      <a:pt x="56334" y="0"/>
                      <a:pt x="56340" y="0"/>
                    </a:cubicBezTo>
                    <a:cubicBezTo>
                      <a:pt x="60158" y="6"/>
                      <a:pt x="63578" y="2137"/>
                      <a:pt x="65256" y="5566"/>
                    </a:cubicBezTo>
                    <a:lnTo>
                      <a:pt x="77263" y="29887"/>
                    </a:lnTo>
                    <a:lnTo>
                      <a:pt x="83976" y="30865"/>
                    </a:lnTo>
                    <a:cubicBezTo>
                      <a:pt x="87604" y="31390"/>
                      <a:pt x="90118" y="34759"/>
                      <a:pt x="89586" y="38380"/>
                    </a:cubicBezTo>
                    <a:cubicBezTo>
                      <a:pt x="89055" y="42002"/>
                      <a:pt x="85705" y="44544"/>
                      <a:pt x="82068" y="43991"/>
                    </a:cubicBezTo>
                    <a:lnTo>
                      <a:pt x="71899" y="42512"/>
                    </a:lnTo>
                    <a:cubicBezTo>
                      <a:pt x="69735" y="42202"/>
                      <a:pt x="67870" y="40840"/>
                      <a:pt x="66904" y="38885"/>
                    </a:cubicBezTo>
                    <a:lnTo>
                      <a:pt x="56322" y="17455"/>
                    </a:lnTo>
                    <a:lnTo>
                      <a:pt x="45740" y="38885"/>
                    </a:lnTo>
                    <a:cubicBezTo>
                      <a:pt x="44774" y="40840"/>
                      <a:pt x="42909" y="42202"/>
                      <a:pt x="40751" y="42512"/>
                    </a:cubicBezTo>
                    <a:lnTo>
                      <a:pt x="17084" y="45959"/>
                    </a:lnTo>
                    <a:lnTo>
                      <a:pt x="34204" y="62647"/>
                    </a:lnTo>
                    <a:cubicBezTo>
                      <a:pt x="35765" y="64172"/>
                      <a:pt x="36480" y="66366"/>
                      <a:pt x="36109" y="68518"/>
                    </a:cubicBezTo>
                    <a:lnTo>
                      <a:pt x="32070" y="92088"/>
                    </a:lnTo>
                    <a:lnTo>
                      <a:pt x="53228" y="80962"/>
                    </a:lnTo>
                    <a:cubicBezTo>
                      <a:pt x="55172" y="79939"/>
                      <a:pt x="57466" y="79939"/>
                      <a:pt x="59410" y="80962"/>
                    </a:cubicBezTo>
                    <a:lnTo>
                      <a:pt x="80568" y="92088"/>
                    </a:lnTo>
                    <a:lnTo>
                      <a:pt x="76529" y="68518"/>
                    </a:lnTo>
                    <a:cubicBezTo>
                      <a:pt x="76161" y="66366"/>
                      <a:pt x="76874" y="64169"/>
                      <a:pt x="78434" y="62647"/>
                    </a:cubicBezTo>
                    <a:lnTo>
                      <a:pt x="92237" y="49201"/>
                    </a:lnTo>
                    <a:cubicBezTo>
                      <a:pt x="94875" y="46648"/>
                      <a:pt x="99073" y="46693"/>
                      <a:pt x="101620" y="49319"/>
                    </a:cubicBezTo>
                    <a:cubicBezTo>
                      <a:pt x="104180" y="51951"/>
                      <a:pt x="104129" y="56149"/>
                      <a:pt x="101503" y="58703"/>
                    </a:cubicBezTo>
                    <a:lnTo>
                      <a:pt x="90193" y="69719"/>
                    </a:lnTo>
                    <a:lnTo>
                      <a:pt x="94781" y="96470"/>
                    </a:lnTo>
                    <a:cubicBezTo>
                      <a:pt x="95430" y="100222"/>
                      <a:pt x="93918" y="103956"/>
                      <a:pt x="90833" y="106198"/>
                    </a:cubicBezTo>
                    <a:cubicBezTo>
                      <a:pt x="89101" y="107475"/>
                      <a:pt x="87051" y="108121"/>
                      <a:pt x="84999" y="108121"/>
                    </a:cubicBezTo>
                    <a:close/>
                    <a:moveTo>
                      <a:pt x="53355" y="11430"/>
                    </a:moveTo>
                    <a:cubicBezTo>
                      <a:pt x="53355" y="11436"/>
                      <a:pt x="53355" y="11442"/>
                      <a:pt x="53361" y="11442"/>
                    </a:cubicBezTo>
                    <a:lnTo>
                      <a:pt x="53355" y="11430"/>
                    </a:lnTo>
                    <a:close/>
                  </a:path>
                </a:pathLst>
              </a:custGeom>
              <a:solidFill>
                <a:schemeClr val="accent1"/>
              </a:solidFill>
              <a:ln w="301" cap="flat">
                <a:noFill/>
                <a:prstDash val="solid"/>
                <a:miter/>
              </a:ln>
            </p:spPr>
            <p:txBody>
              <a:bodyPr rtlCol="0" anchor="ctr"/>
              <a:lstStyle/>
              <a:p>
                <a:endParaRPr lang="en-GB" dirty="0"/>
              </a:p>
            </p:txBody>
          </p:sp>
          <p:sp>
            <p:nvSpPr>
              <p:cNvPr id="320" name="Freihandform: Form 305">
                <a:extLst>
                  <a:ext uri="{FF2B5EF4-FFF2-40B4-BE49-F238E27FC236}">
                    <a16:creationId xmlns:a16="http://schemas.microsoft.com/office/drawing/2014/main" id="{BD9D4C00-4E70-41F3-B187-1AD4311E3536}"/>
                  </a:ext>
                </a:extLst>
              </p:cNvPr>
              <p:cNvSpPr/>
              <p:nvPr/>
            </p:nvSpPr>
            <p:spPr>
              <a:xfrm>
                <a:off x="3720565" y="3628487"/>
                <a:ext cx="105058" cy="108117"/>
              </a:xfrm>
              <a:custGeom>
                <a:avLst/>
                <a:gdLst>
                  <a:gd name="connsiteX0" fmla="*/ 77397 w 105058"/>
                  <a:gd name="connsiteY0" fmla="*/ 108118 h 108117"/>
                  <a:gd name="connsiteX1" fmla="*/ 72764 w 105058"/>
                  <a:gd name="connsiteY1" fmla="*/ 106971 h 108117"/>
                  <a:gd name="connsiteX2" fmla="*/ 48736 w 105058"/>
                  <a:gd name="connsiteY2" fmla="*/ 94333 h 108117"/>
                  <a:gd name="connsiteX3" fmla="*/ 24713 w 105058"/>
                  <a:gd name="connsiteY3" fmla="*/ 106965 h 108117"/>
                  <a:gd name="connsiteX4" fmla="*/ 14216 w 105058"/>
                  <a:gd name="connsiteY4" fmla="*/ 106201 h 108117"/>
                  <a:gd name="connsiteX5" fmla="*/ 10268 w 105058"/>
                  <a:gd name="connsiteY5" fmla="*/ 96467 h 108117"/>
                  <a:gd name="connsiteX6" fmla="*/ 14856 w 105058"/>
                  <a:gd name="connsiteY6" fmla="*/ 69722 h 108117"/>
                  <a:gd name="connsiteX7" fmla="*/ 2004 w 105058"/>
                  <a:gd name="connsiteY7" fmla="*/ 57196 h 108117"/>
                  <a:gd name="connsiteX8" fmla="*/ 1886 w 105058"/>
                  <a:gd name="connsiteY8" fmla="*/ 47813 h 108117"/>
                  <a:gd name="connsiteX9" fmla="*/ 11270 w 105058"/>
                  <a:gd name="connsiteY9" fmla="*/ 47695 h 108117"/>
                  <a:gd name="connsiteX10" fmla="*/ 26615 w 105058"/>
                  <a:gd name="connsiteY10" fmla="*/ 62650 h 108117"/>
                  <a:gd name="connsiteX11" fmla="*/ 28519 w 105058"/>
                  <a:gd name="connsiteY11" fmla="*/ 68521 h 108117"/>
                  <a:gd name="connsiteX12" fmla="*/ 24481 w 105058"/>
                  <a:gd name="connsiteY12" fmla="*/ 92091 h 108117"/>
                  <a:gd name="connsiteX13" fmla="*/ 45639 w 105058"/>
                  <a:gd name="connsiteY13" fmla="*/ 80965 h 108117"/>
                  <a:gd name="connsiteX14" fmla="*/ 51821 w 105058"/>
                  <a:gd name="connsiteY14" fmla="*/ 80965 h 108117"/>
                  <a:gd name="connsiteX15" fmla="*/ 72979 w 105058"/>
                  <a:gd name="connsiteY15" fmla="*/ 92091 h 108117"/>
                  <a:gd name="connsiteX16" fmla="*/ 68940 w 105058"/>
                  <a:gd name="connsiteY16" fmla="*/ 68521 h 108117"/>
                  <a:gd name="connsiteX17" fmla="*/ 70845 w 105058"/>
                  <a:gd name="connsiteY17" fmla="*/ 62650 h 108117"/>
                  <a:gd name="connsiteX18" fmla="*/ 87965 w 105058"/>
                  <a:gd name="connsiteY18" fmla="*/ 45962 h 108117"/>
                  <a:gd name="connsiteX19" fmla="*/ 64298 w 105058"/>
                  <a:gd name="connsiteY19" fmla="*/ 42515 h 108117"/>
                  <a:gd name="connsiteX20" fmla="*/ 59309 w 105058"/>
                  <a:gd name="connsiteY20" fmla="*/ 38887 h 108117"/>
                  <a:gd name="connsiteX21" fmla="*/ 48727 w 105058"/>
                  <a:gd name="connsiteY21" fmla="*/ 17458 h 108117"/>
                  <a:gd name="connsiteX22" fmla="*/ 38145 w 105058"/>
                  <a:gd name="connsiteY22" fmla="*/ 38887 h 108117"/>
                  <a:gd name="connsiteX23" fmla="*/ 33149 w 105058"/>
                  <a:gd name="connsiteY23" fmla="*/ 42515 h 108117"/>
                  <a:gd name="connsiteX24" fmla="*/ 20500 w 105058"/>
                  <a:gd name="connsiteY24" fmla="*/ 44357 h 108117"/>
                  <a:gd name="connsiteX25" fmla="*/ 12984 w 105058"/>
                  <a:gd name="connsiteY25" fmla="*/ 38746 h 108117"/>
                  <a:gd name="connsiteX26" fmla="*/ 18595 w 105058"/>
                  <a:gd name="connsiteY26" fmla="*/ 31227 h 108117"/>
                  <a:gd name="connsiteX27" fmla="*/ 27792 w 105058"/>
                  <a:gd name="connsiteY27" fmla="*/ 29887 h 108117"/>
                  <a:gd name="connsiteX28" fmla="*/ 39808 w 105058"/>
                  <a:gd name="connsiteY28" fmla="*/ 5554 h 108117"/>
                  <a:gd name="connsiteX29" fmla="*/ 48730 w 105058"/>
                  <a:gd name="connsiteY29" fmla="*/ 0 h 108117"/>
                  <a:gd name="connsiteX30" fmla="*/ 57652 w 105058"/>
                  <a:gd name="connsiteY30" fmla="*/ 5554 h 108117"/>
                  <a:gd name="connsiteX31" fmla="*/ 69668 w 105058"/>
                  <a:gd name="connsiteY31" fmla="*/ 29887 h 108117"/>
                  <a:gd name="connsiteX32" fmla="*/ 96536 w 105058"/>
                  <a:gd name="connsiteY32" fmla="*/ 33802 h 108117"/>
                  <a:gd name="connsiteX33" fmla="*/ 104565 w 105058"/>
                  <a:gd name="connsiteY33" fmla="*/ 40569 h 108117"/>
                  <a:gd name="connsiteX34" fmla="*/ 102060 w 105058"/>
                  <a:gd name="connsiteY34" fmla="*/ 50768 h 108117"/>
                  <a:gd name="connsiteX35" fmla="*/ 82607 w 105058"/>
                  <a:gd name="connsiteY35" fmla="*/ 69722 h 108117"/>
                  <a:gd name="connsiteX36" fmla="*/ 87195 w 105058"/>
                  <a:gd name="connsiteY36" fmla="*/ 96473 h 108117"/>
                  <a:gd name="connsiteX37" fmla="*/ 83229 w 105058"/>
                  <a:gd name="connsiteY37" fmla="*/ 106213 h 108117"/>
                  <a:gd name="connsiteX38" fmla="*/ 77397 w 105058"/>
                  <a:gd name="connsiteY38" fmla="*/ 108118 h 108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5058" h="108117">
                    <a:moveTo>
                      <a:pt x="77397" y="108118"/>
                    </a:moveTo>
                    <a:cubicBezTo>
                      <a:pt x="75816" y="108118"/>
                      <a:pt x="74228" y="107734"/>
                      <a:pt x="72764" y="106971"/>
                    </a:cubicBezTo>
                    <a:lnTo>
                      <a:pt x="48736" y="94333"/>
                    </a:lnTo>
                    <a:lnTo>
                      <a:pt x="24713" y="106965"/>
                    </a:lnTo>
                    <a:cubicBezTo>
                      <a:pt x="21306" y="108740"/>
                      <a:pt x="17306" y="108444"/>
                      <a:pt x="14216" y="106201"/>
                    </a:cubicBezTo>
                    <a:cubicBezTo>
                      <a:pt x="11131" y="103959"/>
                      <a:pt x="9622" y="100225"/>
                      <a:pt x="10268" y="96467"/>
                    </a:cubicBezTo>
                    <a:lnTo>
                      <a:pt x="14856" y="69722"/>
                    </a:lnTo>
                    <a:lnTo>
                      <a:pt x="2004" y="57196"/>
                    </a:lnTo>
                    <a:cubicBezTo>
                      <a:pt x="-622" y="54643"/>
                      <a:pt x="-673" y="50438"/>
                      <a:pt x="1886" y="47813"/>
                    </a:cubicBezTo>
                    <a:cubicBezTo>
                      <a:pt x="4440" y="45187"/>
                      <a:pt x="8650" y="45150"/>
                      <a:pt x="11270" y="47695"/>
                    </a:cubicBezTo>
                    <a:lnTo>
                      <a:pt x="26615" y="62650"/>
                    </a:lnTo>
                    <a:cubicBezTo>
                      <a:pt x="28175" y="64175"/>
                      <a:pt x="28891" y="66369"/>
                      <a:pt x="28519" y="68521"/>
                    </a:cubicBezTo>
                    <a:lnTo>
                      <a:pt x="24481" y="92091"/>
                    </a:lnTo>
                    <a:lnTo>
                      <a:pt x="45639" y="80965"/>
                    </a:lnTo>
                    <a:cubicBezTo>
                      <a:pt x="47583" y="79942"/>
                      <a:pt x="49877" y="79942"/>
                      <a:pt x="51821" y="80965"/>
                    </a:cubicBezTo>
                    <a:lnTo>
                      <a:pt x="72979" y="92091"/>
                    </a:lnTo>
                    <a:lnTo>
                      <a:pt x="68940" y="68521"/>
                    </a:lnTo>
                    <a:cubicBezTo>
                      <a:pt x="68572" y="66369"/>
                      <a:pt x="69284" y="64172"/>
                      <a:pt x="70845" y="62650"/>
                    </a:cubicBezTo>
                    <a:lnTo>
                      <a:pt x="87965" y="45962"/>
                    </a:lnTo>
                    <a:lnTo>
                      <a:pt x="64298" y="42515"/>
                    </a:lnTo>
                    <a:cubicBezTo>
                      <a:pt x="62140" y="42205"/>
                      <a:pt x="60275" y="40843"/>
                      <a:pt x="59309" y="38887"/>
                    </a:cubicBezTo>
                    <a:lnTo>
                      <a:pt x="48727" y="17458"/>
                    </a:lnTo>
                    <a:lnTo>
                      <a:pt x="38145" y="38887"/>
                    </a:lnTo>
                    <a:cubicBezTo>
                      <a:pt x="37179" y="40843"/>
                      <a:pt x="35314" y="42205"/>
                      <a:pt x="33149" y="42515"/>
                    </a:cubicBezTo>
                    <a:lnTo>
                      <a:pt x="20500" y="44357"/>
                    </a:lnTo>
                    <a:cubicBezTo>
                      <a:pt x="16857" y="44915"/>
                      <a:pt x="13506" y="42374"/>
                      <a:pt x="12984" y="38746"/>
                    </a:cubicBezTo>
                    <a:cubicBezTo>
                      <a:pt x="12453" y="35124"/>
                      <a:pt x="14967" y="31752"/>
                      <a:pt x="18595" y="31227"/>
                    </a:cubicBezTo>
                    <a:lnTo>
                      <a:pt x="27792" y="29887"/>
                    </a:lnTo>
                    <a:lnTo>
                      <a:pt x="39808" y="5554"/>
                    </a:lnTo>
                    <a:cubicBezTo>
                      <a:pt x="41492" y="2125"/>
                      <a:pt x="44915" y="0"/>
                      <a:pt x="48730" y="0"/>
                    </a:cubicBezTo>
                    <a:cubicBezTo>
                      <a:pt x="52548" y="0"/>
                      <a:pt x="55968" y="2125"/>
                      <a:pt x="57652" y="5554"/>
                    </a:cubicBezTo>
                    <a:lnTo>
                      <a:pt x="69668" y="29887"/>
                    </a:lnTo>
                    <a:lnTo>
                      <a:pt x="96536" y="33802"/>
                    </a:lnTo>
                    <a:cubicBezTo>
                      <a:pt x="100309" y="34345"/>
                      <a:pt x="103388" y="36938"/>
                      <a:pt x="104565" y="40569"/>
                    </a:cubicBezTo>
                    <a:cubicBezTo>
                      <a:pt x="105742" y="44197"/>
                      <a:pt x="104776" y="48105"/>
                      <a:pt x="102060" y="50768"/>
                    </a:cubicBezTo>
                    <a:lnTo>
                      <a:pt x="82607" y="69722"/>
                    </a:lnTo>
                    <a:lnTo>
                      <a:pt x="87195" y="96473"/>
                    </a:lnTo>
                    <a:cubicBezTo>
                      <a:pt x="87838" y="100246"/>
                      <a:pt x="86313" y="103971"/>
                      <a:pt x="83229" y="106213"/>
                    </a:cubicBezTo>
                    <a:cubicBezTo>
                      <a:pt x="81493" y="107478"/>
                      <a:pt x="79453" y="108118"/>
                      <a:pt x="77397" y="108118"/>
                    </a:cubicBezTo>
                    <a:close/>
                  </a:path>
                </a:pathLst>
              </a:custGeom>
              <a:solidFill>
                <a:schemeClr val="accent1"/>
              </a:solidFill>
              <a:ln w="301" cap="flat">
                <a:noFill/>
                <a:prstDash val="solid"/>
                <a:miter/>
              </a:ln>
            </p:spPr>
            <p:txBody>
              <a:bodyPr rtlCol="0" anchor="ctr"/>
              <a:lstStyle/>
              <a:p>
                <a:endParaRPr lang="en-GB" dirty="0"/>
              </a:p>
            </p:txBody>
          </p:sp>
          <p:sp>
            <p:nvSpPr>
              <p:cNvPr id="321" name="Freihandform: Form 306">
                <a:extLst>
                  <a:ext uri="{FF2B5EF4-FFF2-40B4-BE49-F238E27FC236}">
                    <a16:creationId xmlns:a16="http://schemas.microsoft.com/office/drawing/2014/main" id="{587B4E95-D955-4A8D-9CD4-ED8042A66109}"/>
                  </a:ext>
                </a:extLst>
              </p:cNvPr>
              <p:cNvSpPr/>
              <p:nvPr/>
            </p:nvSpPr>
            <p:spPr>
              <a:xfrm>
                <a:off x="3827679" y="3628487"/>
                <a:ext cx="105061" cy="108118"/>
              </a:xfrm>
              <a:custGeom>
                <a:avLst/>
                <a:gdLst>
                  <a:gd name="connsiteX0" fmla="*/ 20057 w 105061"/>
                  <a:gd name="connsiteY0" fmla="*/ 108118 h 108118"/>
                  <a:gd name="connsiteX1" fmla="*/ 14202 w 105061"/>
                  <a:gd name="connsiteY1" fmla="*/ 106207 h 108118"/>
                  <a:gd name="connsiteX2" fmla="*/ 10248 w 105061"/>
                  <a:gd name="connsiteY2" fmla="*/ 96467 h 108118"/>
                  <a:gd name="connsiteX3" fmla="*/ 14836 w 105061"/>
                  <a:gd name="connsiteY3" fmla="*/ 69722 h 108118"/>
                  <a:gd name="connsiteX4" fmla="*/ 2008 w 105061"/>
                  <a:gd name="connsiteY4" fmla="*/ 57196 h 108118"/>
                  <a:gd name="connsiteX5" fmla="*/ 1887 w 105061"/>
                  <a:gd name="connsiteY5" fmla="*/ 47813 h 108118"/>
                  <a:gd name="connsiteX6" fmla="*/ 11274 w 105061"/>
                  <a:gd name="connsiteY6" fmla="*/ 47695 h 108118"/>
                  <a:gd name="connsiteX7" fmla="*/ 26607 w 105061"/>
                  <a:gd name="connsiteY7" fmla="*/ 62650 h 108118"/>
                  <a:gd name="connsiteX8" fmla="*/ 28508 w 105061"/>
                  <a:gd name="connsiteY8" fmla="*/ 68521 h 108118"/>
                  <a:gd name="connsiteX9" fmla="*/ 24464 w 105061"/>
                  <a:gd name="connsiteY9" fmla="*/ 92091 h 108118"/>
                  <a:gd name="connsiteX10" fmla="*/ 45622 w 105061"/>
                  <a:gd name="connsiteY10" fmla="*/ 80965 h 108118"/>
                  <a:gd name="connsiteX11" fmla="*/ 51809 w 105061"/>
                  <a:gd name="connsiteY11" fmla="*/ 80965 h 108118"/>
                  <a:gd name="connsiteX12" fmla="*/ 72967 w 105061"/>
                  <a:gd name="connsiteY12" fmla="*/ 92091 h 108118"/>
                  <a:gd name="connsiteX13" fmla="*/ 68923 w 105061"/>
                  <a:gd name="connsiteY13" fmla="*/ 68521 h 108118"/>
                  <a:gd name="connsiteX14" fmla="*/ 70825 w 105061"/>
                  <a:gd name="connsiteY14" fmla="*/ 62650 h 108118"/>
                  <a:gd name="connsiteX15" fmla="*/ 87968 w 105061"/>
                  <a:gd name="connsiteY15" fmla="*/ 45962 h 108118"/>
                  <a:gd name="connsiteX16" fmla="*/ 64275 w 105061"/>
                  <a:gd name="connsiteY16" fmla="*/ 42515 h 108118"/>
                  <a:gd name="connsiteX17" fmla="*/ 59295 w 105061"/>
                  <a:gd name="connsiteY17" fmla="*/ 38887 h 108118"/>
                  <a:gd name="connsiteX18" fmla="*/ 48731 w 105061"/>
                  <a:gd name="connsiteY18" fmla="*/ 17458 h 108118"/>
                  <a:gd name="connsiteX19" fmla="*/ 38137 w 105061"/>
                  <a:gd name="connsiteY19" fmla="*/ 38887 h 108118"/>
                  <a:gd name="connsiteX20" fmla="*/ 33157 w 105061"/>
                  <a:gd name="connsiteY20" fmla="*/ 42515 h 108118"/>
                  <a:gd name="connsiteX21" fmla="*/ 20510 w 105061"/>
                  <a:gd name="connsiteY21" fmla="*/ 44357 h 108118"/>
                  <a:gd name="connsiteX22" fmla="*/ 12964 w 105061"/>
                  <a:gd name="connsiteY22" fmla="*/ 38752 h 108118"/>
                  <a:gd name="connsiteX23" fmla="*/ 18578 w 105061"/>
                  <a:gd name="connsiteY23" fmla="*/ 31227 h 108118"/>
                  <a:gd name="connsiteX24" fmla="*/ 27784 w 105061"/>
                  <a:gd name="connsiteY24" fmla="*/ 29887 h 108118"/>
                  <a:gd name="connsiteX25" fmla="*/ 39797 w 105061"/>
                  <a:gd name="connsiteY25" fmla="*/ 5554 h 108118"/>
                  <a:gd name="connsiteX26" fmla="*/ 48731 w 105061"/>
                  <a:gd name="connsiteY26" fmla="*/ 0 h 108118"/>
                  <a:gd name="connsiteX27" fmla="*/ 57635 w 105061"/>
                  <a:gd name="connsiteY27" fmla="*/ 5554 h 108118"/>
                  <a:gd name="connsiteX28" fmla="*/ 69647 w 105061"/>
                  <a:gd name="connsiteY28" fmla="*/ 29887 h 108118"/>
                  <a:gd name="connsiteX29" fmla="*/ 96510 w 105061"/>
                  <a:gd name="connsiteY29" fmla="*/ 33802 h 108118"/>
                  <a:gd name="connsiteX30" fmla="*/ 104569 w 105061"/>
                  <a:gd name="connsiteY30" fmla="*/ 40581 h 108118"/>
                  <a:gd name="connsiteX31" fmla="*/ 102034 w 105061"/>
                  <a:gd name="connsiteY31" fmla="*/ 50779 h 108118"/>
                  <a:gd name="connsiteX32" fmla="*/ 82596 w 105061"/>
                  <a:gd name="connsiteY32" fmla="*/ 69722 h 108118"/>
                  <a:gd name="connsiteX33" fmla="*/ 87184 w 105061"/>
                  <a:gd name="connsiteY33" fmla="*/ 96473 h 108118"/>
                  <a:gd name="connsiteX34" fmla="*/ 83230 w 105061"/>
                  <a:gd name="connsiteY34" fmla="*/ 106201 h 108118"/>
                  <a:gd name="connsiteX35" fmla="*/ 72756 w 105061"/>
                  <a:gd name="connsiteY35" fmla="*/ 106974 h 108118"/>
                  <a:gd name="connsiteX36" fmla="*/ 48731 w 105061"/>
                  <a:gd name="connsiteY36" fmla="*/ 94336 h 108118"/>
                  <a:gd name="connsiteX37" fmla="*/ 24705 w 105061"/>
                  <a:gd name="connsiteY37" fmla="*/ 106968 h 108118"/>
                  <a:gd name="connsiteX38" fmla="*/ 20057 w 105061"/>
                  <a:gd name="connsiteY38" fmla="*/ 108118 h 10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5061" h="108118">
                    <a:moveTo>
                      <a:pt x="20057" y="108118"/>
                    </a:moveTo>
                    <a:cubicBezTo>
                      <a:pt x="18005" y="108118"/>
                      <a:pt x="15952" y="107475"/>
                      <a:pt x="14202" y="106207"/>
                    </a:cubicBezTo>
                    <a:cubicBezTo>
                      <a:pt x="11123" y="103959"/>
                      <a:pt x="9614" y="100225"/>
                      <a:pt x="10248" y="96467"/>
                    </a:cubicBezTo>
                    <a:lnTo>
                      <a:pt x="14836" y="69722"/>
                    </a:lnTo>
                    <a:lnTo>
                      <a:pt x="2008" y="57196"/>
                    </a:lnTo>
                    <a:cubicBezTo>
                      <a:pt x="-618" y="54643"/>
                      <a:pt x="-679" y="50438"/>
                      <a:pt x="1887" y="47813"/>
                    </a:cubicBezTo>
                    <a:cubicBezTo>
                      <a:pt x="4422" y="45187"/>
                      <a:pt x="8648" y="45150"/>
                      <a:pt x="11274" y="47695"/>
                    </a:cubicBezTo>
                    <a:lnTo>
                      <a:pt x="26607" y="62650"/>
                    </a:lnTo>
                    <a:cubicBezTo>
                      <a:pt x="28176" y="64175"/>
                      <a:pt x="28871" y="66369"/>
                      <a:pt x="28508" y="68521"/>
                    </a:cubicBezTo>
                    <a:lnTo>
                      <a:pt x="24464" y="92091"/>
                    </a:lnTo>
                    <a:lnTo>
                      <a:pt x="45622" y="80965"/>
                    </a:lnTo>
                    <a:cubicBezTo>
                      <a:pt x="47584" y="79942"/>
                      <a:pt x="49878" y="79942"/>
                      <a:pt x="51809" y="80965"/>
                    </a:cubicBezTo>
                    <a:lnTo>
                      <a:pt x="72967" y="92091"/>
                    </a:lnTo>
                    <a:lnTo>
                      <a:pt x="68923" y="68521"/>
                    </a:lnTo>
                    <a:cubicBezTo>
                      <a:pt x="68561" y="66369"/>
                      <a:pt x="69285" y="64172"/>
                      <a:pt x="70825" y="62650"/>
                    </a:cubicBezTo>
                    <a:lnTo>
                      <a:pt x="87968" y="45962"/>
                    </a:lnTo>
                    <a:lnTo>
                      <a:pt x="64275" y="42515"/>
                    </a:lnTo>
                    <a:cubicBezTo>
                      <a:pt x="62132" y="42205"/>
                      <a:pt x="60261" y="40843"/>
                      <a:pt x="59295" y="38887"/>
                    </a:cubicBezTo>
                    <a:lnTo>
                      <a:pt x="48731" y="17458"/>
                    </a:lnTo>
                    <a:lnTo>
                      <a:pt x="38137" y="38887"/>
                    </a:lnTo>
                    <a:cubicBezTo>
                      <a:pt x="37171" y="40843"/>
                      <a:pt x="35299" y="42205"/>
                      <a:pt x="33157" y="42515"/>
                    </a:cubicBezTo>
                    <a:lnTo>
                      <a:pt x="20510" y="44357"/>
                    </a:lnTo>
                    <a:cubicBezTo>
                      <a:pt x="16767" y="44915"/>
                      <a:pt x="13507" y="42368"/>
                      <a:pt x="12964" y="38752"/>
                    </a:cubicBezTo>
                    <a:cubicBezTo>
                      <a:pt x="12451" y="35124"/>
                      <a:pt x="14956" y="31752"/>
                      <a:pt x="18578" y="31227"/>
                    </a:cubicBezTo>
                    <a:lnTo>
                      <a:pt x="27784" y="29887"/>
                    </a:lnTo>
                    <a:lnTo>
                      <a:pt x="39797" y="5554"/>
                    </a:lnTo>
                    <a:cubicBezTo>
                      <a:pt x="41487" y="2125"/>
                      <a:pt x="44897" y="0"/>
                      <a:pt x="48731" y="0"/>
                    </a:cubicBezTo>
                    <a:cubicBezTo>
                      <a:pt x="52534" y="0"/>
                      <a:pt x="55945" y="2125"/>
                      <a:pt x="57635" y="5554"/>
                    </a:cubicBezTo>
                    <a:lnTo>
                      <a:pt x="69647" y="29887"/>
                    </a:lnTo>
                    <a:lnTo>
                      <a:pt x="96510" y="33802"/>
                    </a:lnTo>
                    <a:cubicBezTo>
                      <a:pt x="100283" y="34345"/>
                      <a:pt x="103392" y="36944"/>
                      <a:pt x="104569" y="40581"/>
                    </a:cubicBezTo>
                    <a:cubicBezTo>
                      <a:pt x="105746" y="44209"/>
                      <a:pt x="104780" y="48117"/>
                      <a:pt x="102034" y="50779"/>
                    </a:cubicBezTo>
                    <a:lnTo>
                      <a:pt x="82596" y="69722"/>
                    </a:lnTo>
                    <a:lnTo>
                      <a:pt x="87184" y="96473"/>
                    </a:lnTo>
                    <a:cubicBezTo>
                      <a:pt x="87817" y="100225"/>
                      <a:pt x="86308" y="103959"/>
                      <a:pt x="83230" y="106201"/>
                    </a:cubicBezTo>
                    <a:cubicBezTo>
                      <a:pt x="80151" y="108444"/>
                      <a:pt x="76107" y="108743"/>
                      <a:pt x="72756" y="106974"/>
                    </a:cubicBezTo>
                    <a:lnTo>
                      <a:pt x="48731" y="94336"/>
                    </a:lnTo>
                    <a:lnTo>
                      <a:pt x="24705" y="106968"/>
                    </a:lnTo>
                    <a:cubicBezTo>
                      <a:pt x="23226" y="107738"/>
                      <a:pt x="21657" y="108118"/>
                      <a:pt x="20057" y="108118"/>
                    </a:cubicBezTo>
                    <a:close/>
                  </a:path>
                </a:pathLst>
              </a:custGeom>
              <a:solidFill>
                <a:schemeClr val="accent1"/>
              </a:solidFill>
              <a:ln w="301" cap="flat">
                <a:noFill/>
                <a:prstDash val="solid"/>
                <a:miter/>
              </a:ln>
            </p:spPr>
            <p:txBody>
              <a:bodyPr rtlCol="0" anchor="ctr"/>
              <a:lstStyle/>
              <a:p>
                <a:endParaRPr lang="en-GB" dirty="0"/>
              </a:p>
            </p:txBody>
          </p:sp>
          <p:sp>
            <p:nvSpPr>
              <p:cNvPr id="322" name="Freihandform: Form 307">
                <a:extLst>
                  <a:ext uri="{FF2B5EF4-FFF2-40B4-BE49-F238E27FC236}">
                    <a16:creationId xmlns:a16="http://schemas.microsoft.com/office/drawing/2014/main" id="{EA70C544-048F-429C-9662-4331E3BF15AA}"/>
                  </a:ext>
                </a:extLst>
              </p:cNvPr>
              <p:cNvSpPr/>
              <p:nvPr/>
            </p:nvSpPr>
            <p:spPr>
              <a:xfrm>
                <a:off x="3390290" y="3628487"/>
                <a:ext cx="105056" cy="108117"/>
              </a:xfrm>
              <a:custGeom>
                <a:avLst/>
                <a:gdLst>
                  <a:gd name="connsiteX0" fmla="*/ 84994 w 105056"/>
                  <a:gd name="connsiteY0" fmla="*/ 108118 h 108117"/>
                  <a:gd name="connsiteX1" fmla="*/ 80361 w 105056"/>
                  <a:gd name="connsiteY1" fmla="*/ 106971 h 108117"/>
                  <a:gd name="connsiteX2" fmla="*/ 56332 w 105056"/>
                  <a:gd name="connsiteY2" fmla="*/ 94333 h 108117"/>
                  <a:gd name="connsiteX3" fmla="*/ 32310 w 105056"/>
                  <a:gd name="connsiteY3" fmla="*/ 106965 h 108117"/>
                  <a:gd name="connsiteX4" fmla="*/ 21812 w 105056"/>
                  <a:gd name="connsiteY4" fmla="*/ 106201 h 108117"/>
                  <a:gd name="connsiteX5" fmla="*/ 17865 w 105056"/>
                  <a:gd name="connsiteY5" fmla="*/ 96467 h 108117"/>
                  <a:gd name="connsiteX6" fmla="*/ 22452 w 105056"/>
                  <a:gd name="connsiteY6" fmla="*/ 69722 h 108117"/>
                  <a:gd name="connsiteX7" fmla="*/ 3012 w 105056"/>
                  <a:gd name="connsiteY7" fmla="*/ 50774 h 108117"/>
                  <a:gd name="connsiteX8" fmla="*/ 491 w 105056"/>
                  <a:gd name="connsiteY8" fmla="*/ 40581 h 108117"/>
                  <a:gd name="connsiteX9" fmla="*/ 8532 w 105056"/>
                  <a:gd name="connsiteY9" fmla="*/ 33802 h 108117"/>
                  <a:gd name="connsiteX10" fmla="*/ 35391 w 105056"/>
                  <a:gd name="connsiteY10" fmla="*/ 29887 h 108117"/>
                  <a:gd name="connsiteX11" fmla="*/ 47407 w 105056"/>
                  <a:gd name="connsiteY11" fmla="*/ 5554 h 108117"/>
                  <a:gd name="connsiteX12" fmla="*/ 56329 w 105056"/>
                  <a:gd name="connsiteY12" fmla="*/ 0 h 108117"/>
                  <a:gd name="connsiteX13" fmla="*/ 65252 w 105056"/>
                  <a:gd name="connsiteY13" fmla="*/ 5554 h 108117"/>
                  <a:gd name="connsiteX14" fmla="*/ 77267 w 105056"/>
                  <a:gd name="connsiteY14" fmla="*/ 29887 h 108117"/>
                  <a:gd name="connsiteX15" fmla="*/ 86464 w 105056"/>
                  <a:gd name="connsiteY15" fmla="*/ 31227 h 108117"/>
                  <a:gd name="connsiteX16" fmla="*/ 92069 w 105056"/>
                  <a:gd name="connsiteY16" fmla="*/ 38752 h 108117"/>
                  <a:gd name="connsiteX17" fmla="*/ 84544 w 105056"/>
                  <a:gd name="connsiteY17" fmla="*/ 44357 h 108117"/>
                  <a:gd name="connsiteX18" fmla="*/ 71901 w 105056"/>
                  <a:gd name="connsiteY18" fmla="*/ 42515 h 108117"/>
                  <a:gd name="connsiteX19" fmla="*/ 66912 w 105056"/>
                  <a:gd name="connsiteY19" fmla="*/ 38887 h 108117"/>
                  <a:gd name="connsiteX20" fmla="*/ 56329 w 105056"/>
                  <a:gd name="connsiteY20" fmla="*/ 17458 h 108117"/>
                  <a:gd name="connsiteX21" fmla="*/ 45747 w 105056"/>
                  <a:gd name="connsiteY21" fmla="*/ 38887 h 108117"/>
                  <a:gd name="connsiteX22" fmla="*/ 40758 w 105056"/>
                  <a:gd name="connsiteY22" fmla="*/ 42515 h 108117"/>
                  <a:gd name="connsiteX23" fmla="*/ 17092 w 105056"/>
                  <a:gd name="connsiteY23" fmla="*/ 45962 h 108117"/>
                  <a:gd name="connsiteX24" fmla="*/ 34211 w 105056"/>
                  <a:gd name="connsiteY24" fmla="*/ 62650 h 108117"/>
                  <a:gd name="connsiteX25" fmla="*/ 36116 w 105056"/>
                  <a:gd name="connsiteY25" fmla="*/ 68521 h 108117"/>
                  <a:gd name="connsiteX26" fmla="*/ 32078 w 105056"/>
                  <a:gd name="connsiteY26" fmla="*/ 92091 h 108117"/>
                  <a:gd name="connsiteX27" fmla="*/ 53236 w 105056"/>
                  <a:gd name="connsiteY27" fmla="*/ 80965 h 108117"/>
                  <a:gd name="connsiteX28" fmla="*/ 59417 w 105056"/>
                  <a:gd name="connsiteY28" fmla="*/ 80965 h 108117"/>
                  <a:gd name="connsiteX29" fmla="*/ 80575 w 105056"/>
                  <a:gd name="connsiteY29" fmla="*/ 92091 h 108117"/>
                  <a:gd name="connsiteX30" fmla="*/ 76537 w 105056"/>
                  <a:gd name="connsiteY30" fmla="*/ 68521 h 108117"/>
                  <a:gd name="connsiteX31" fmla="*/ 78441 w 105056"/>
                  <a:gd name="connsiteY31" fmla="*/ 62650 h 108117"/>
                  <a:gd name="connsiteX32" fmla="*/ 93786 w 105056"/>
                  <a:gd name="connsiteY32" fmla="*/ 47695 h 108117"/>
                  <a:gd name="connsiteX33" fmla="*/ 103170 w 105056"/>
                  <a:gd name="connsiteY33" fmla="*/ 47813 h 108117"/>
                  <a:gd name="connsiteX34" fmla="*/ 103052 w 105056"/>
                  <a:gd name="connsiteY34" fmla="*/ 57196 h 108117"/>
                  <a:gd name="connsiteX35" fmla="*/ 90200 w 105056"/>
                  <a:gd name="connsiteY35" fmla="*/ 69722 h 108117"/>
                  <a:gd name="connsiteX36" fmla="*/ 94788 w 105056"/>
                  <a:gd name="connsiteY36" fmla="*/ 96473 h 108117"/>
                  <a:gd name="connsiteX37" fmla="*/ 90822 w 105056"/>
                  <a:gd name="connsiteY37" fmla="*/ 106213 h 108117"/>
                  <a:gd name="connsiteX38" fmla="*/ 84994 w 105056"/>
                  <a:gd name="connsiteY38" fmla="*/ 108118 h 108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5056" h="108117">
                    <a:moveTo>
                      <a:pt x="84994" y="108118"/>
                    </a:moveTo>
                    <a:cubicBezTo>
                      <a:pt x="83412" y="108118"/>
                      <a:pt x="81825" y="107734"/>
                      <a:pt x="80361" y="106971"/>
                    </a:cubicBezTo>
                    <a:lnTo>
                      <a:pt x="56332" y="94333"/>
                    </a:lnTo>
                    <a:lnTo>
                      <a:pt x="32310" y="106965"/>
                    </a:lnTo>
                    <a:cubicBezTo>
                      <a:pt x="28908" y="108740"/>
                      <a:pt x="24897" y="108444"/>
                      <a:pt x="21812" y="106201"/>
                    </a:cubicBezTo>
                    <a:cubicBezTo>
                      <a:pt x="18734" y="103959"/>
                      <a:pt x="17218" y="100225"/>
                      <a:pt x="17865" y="96467"/>
                    </a:cubicBezTo>
                    <a:lnTo>
                      <a:pt x="22452" y="69722"/>
                    </a:lnTo>
                    <a:lnTo>
                      <a:pt x="3012" y="50774"/>
                    </a:lnTo>
                    <a:cubicBezTo>
                      <a:pt x="283" y="48117"/>
                      <a:pt x="-683" y="44209"/>
                      <a:pt x="491" y="40581"/>
                    </a:cubicBezTo>
                    <a:cubicBezTo>
                      <a:pt x="1671" y="36947"/>
                      <a:pt x="4756" y="34348"/>
                      <a:pt x="8532" y="33802"/>
                    </a:cubicBezTo>
                    <a:lnTo>
                      <a:pt x="35391" y="29887"/>
                    </a:lnTo>
                    <a:lnTo>
                      <a:pt x="47407" y="5554"/>
                    </a:lnTo>
                    <a:cubicBezTo>
                      <a:pt x="49092" y="2125"/>
                      <a:pt x="52514" y="0"/>
                      <a:pt x="56329" y="0"/>
                    </a:cubicBezTo>
                    <a:cubicBezTo>
                      <a:pt x="60145" y="0"/>
                      <a:pt x="63567" y="2125"/>
                      <a:pt x="65252" y="5554"/>
                    </a:cubicBezTo>
                    <a:lnTo>
                      <a:pt x="77267" y="29887"/>
                    </a:lnTo>
                    <a:lnTo>
                      <a:pt x="86464" y="31227"/>
                    </a:lnTo>
                    <a:cubicBezTo>
                      <a:pt x="90086" y="31752"/>
                      <a:pt x="92600" y="35121"/>
                      <a:pt x="92069" y="38752"/>
                    </a:cubicBezTo>
                    <a:cubicBezTo>
                      <a:pt x="91544" y="42368"/>
                      <a:pt x="88239" y="44939"/>
                      <a:pt x="84544" y="44357"/>
                    </a:cubicBezTo>
                    <a:lnTo>
                      <a:pt x="71901" y="42515"/>
                    </a:lnTo>
                    <a:cubicBezTo>
                      <a:pt x="69743" y="42205"/>
                      <a:pt x="67877" y="40843"/>
                      <a:pt x="66912" y="38887"/>
                    </a:cubicBezTo>
                    <a:lnTo>
                      <a:pt x="56329" y="17458"/>
                    </a:lnTo>
                    <a:lnTo>
                      <a:pt x="45747" y="38887"/>
                    </a:lnTo>
                    <a:cubicBezTo>
                      <a:pt x="44781" y="40843"/>
                      <a:pt x="42916" y="42205"/>
                      <a:pt x="40758" y="42515"/>
                    </a:cubicBezTo>
                    <a:lnTo>
                      <a:pt x="17092" y="45962"/>
                    </a:lnTo>
                    <a:lnTo>
                      <a:pt x="34211" y="62650"/>
                    </a:lnTo>
                    <a:cubicBezTo>
                      <a:pt x="35772" y="64175"/>
                      <a:pt x="36487" y="66369"/>
                      <a:pt x="36116" y="68521"/>
                    </a:cubicBezTo>
                    <a:lnTo>
                      <a:pt x="32078" y="92091"/>
                    </a:lnTo>
                    <a:lnTo>
                      <a:pt x="53236" y="80965"/>
                    </a:lnTo>
                    <a:cubicBezTo>
                      <a:pt x="55179" y="79942"/>
                      <a:pt x="57473" y="79942"/>
                      <a:pt x="59417" y="80965"/>
                    </a:cubicBezTo>
                    <a:lnTo>
                      <a:pt x="80575" y="92091"/>
                    </a:lnTo>
                    <a:lnTo>
                      <a:pt x="76537" y="68521"/>
                    </a:lnTo>
                    <a:cubicBezTo>
                      <a:pt x="76169" y="66369"/>
                      <a:pt x="76881" y="64172"/>
                      <a:pt x="78441" y="62650"/>
                    </a:cubicBezTo>
                    <a:lnTo>
                      <a:pt x="93786" y="47695"/>
                    </a:lnTo>
                    <a:cubicBezTo>
                      <a:pt x="96412" y="45147"/>
                      <a:pt x="100623" y="45187"/>
                      <a:pt x="103170" y="47813"/>
                    </a:cubicBezTo>
                    <a:cubicBezTo>
                      <a:pt x="105729" y="50438"/>
                      <a:pt x="105678" y="54643"/>
                      <a:pt x="103052" y="57196"/>
                    </a:cubicBezTo>
                    <a:lnTo>
                      <a:pt x="90200" y="69722"/>
                    </a:lnTo>
                    <a:lnTo>
                      <a:pt x="94788" y="96473"/>
                    </a:lnTo>
                    <a:cubicBezTo>
                      <a:pt x="95431" y="100246"/>
                      <a:pt x="93907" y="103971"/>
                      <a:pt x="90822" y="106213"/>
                    </a:cubicBezTo>
                    <a:cubicBezTo>
                      <a:pt x="89090" y="107478"/>
                      <a:pt x="87049" y="108118"/>
                      <a:pt x="84994" y="108118"/>
                    </a:cubicBezTo>
                    <a:close/>
                  </a:path>
                </a:pathLst>
              </a:custGeom>
              <a:solidFill>
                <a:schemeClr val="accent1"/>
              </a:solidFill>
              <a:ln w="301" cap="flat">
                <a:noFill/>
                <a:prstDash val="solid"/>
                <a:miter/>
              </a:ln>
            </p:spPr>
            <p:txBody>
              <a:bodyPr rtlCol="0" anchor="ctr"/>
              <a:lstStyle/>
              <a:p>
                <a:endParaRPr lang="en-GB" dirty="0"/>
              </a:p>
            </p:txBody>
          </p:sp>
        </p:grpSp>
      </p:grpSp>
      <p:grpSp>
        <p:nvGrpSpPr>
          <p:cNvPr id="577" name="Group 576">
            <a:extLst>
              <a:ext uri="{FF2B5EF4-FFF2-40B4-BE49-F238E27FC236}">
                <a16:creationId xmlns:a16="http://schemas.microsoft.com/office/drawing/2014/main" id="{170CC8AD-BF5D-DB16-F543-6EBE72CFAD2D}"/>
              </a:ext>
            </a:extLst>
          </p:cNvPr>
          <p:cNvGrpSpPr/>
          <p:nvPr/>
        </p:nvGrpSpPr>
        <p:grpSpPr>
          <a:xfrm>
            <a:off x="3755159" y="4040086"/>
            <a:ext cx="404387" cy="432000"/>
            <a:chOff x="3755159" y="4040086"/>
            <a:chExt cx="404387" cy="432000"/>
          </a:xfrm>
        </p:grpSpPr>
        <p:grpSp>
          <p:nvGrpSpPr>
            <p:cNvPr id="329" name="Grafik 342">
              <a:extLst>
                <a:ext uri="{FF2B5EF4-FFF2-40B4-BE49-F238E27FC236}">
                  <a16:creationId xmlns:a16="http://schemas.microsoft.com/office/drawing/2014/main" id="{B14E7119-6A2E-4BE1-B869-F70D556D8813}"/>
                </a:ext>
              </a:extLst>
            </p:cNvPr>
            <p:cNvGrpSpPr/>
            <p:nvPr/>
          </p:nvGrpSpPr>
          <p:grpSpPr>
            <a:xfrm>
              <a:off x="3755159" y="4040086"/>
              <a:ext cx="372186" cy="378823"/>
              <a:chOff x="953728" y="4156336"/>
              <a:chExt cx="371607" cy="378234"/>
            </a:xfrm>
            <a:solidFill>
              <a:schemeClr val="tx2"/>
            </a:solidFill>
          </p:grpSpPr>
          <p:sp>
            <p:nvSpPr>
              <p:cNvPr id="336" name="Freihandform: Form 205">
                <a:extLst>
                  <a:ext uri="{FF2B5EF4-FFF2-40B4-BE49-F238E27FC236}">
                    <a16:creationId xmlns:a16="http://schemas.microsoft.com/office/drawing/2014/main" id="{FD5EBA84-23C4-4E1E-A9A8-A93C074E2BCA}"/>
                  </a:ext>
                </a:extLst>
              </p:cNvPr>
              <p:cNvSpPr/>
              <p:nvPr/>
            </p:nvSpPr>
            <p:spPr>
              <a:xfrm>
                <a:off x="953728" y="4255866"/>
                <a:ext cx="371607" cy="66360"/>
              </a:xfrm>
              <a:custGeom>
                <a:avLst/>
                <a:gdLst>
                  <a:gd name="connsiteX0" fmla="*/ 364970 w 371607"/>
                  <a:gd name="connsiteY0" fmla="*/ 66360 h 66360"/>
                  <a:gd name="connsiteX1" fmla="*/ 6637 w 371607"/>
                  <a:gd name="connsiteY1" fmla="*/ 66360 h 66360"/>
                  <a:gd name="connsiteX2" fmla="*/ 0 w 371607"/>
                  <a:gd name="connsiteY2" fmla="*/ 59723 h 66360"/>
                  <a:gd name="connsiteX3" fmla="*/ 0 w 371607"/>
                  <a:gd name="connsiteY3" fmla="*/ 6637 h 66360"/>
                  <a:gd name="connsiteX4" fmla="*/ 6637 w 371607"/>
                  <a:gd name="connsiteY4" fmla="*/ 0 h 66360"/>
                  <a:gd name="connsiteX5" fmla="*/ 364970 w 371607"/>
                  <a:gd name="connsiteY5" fmla="*/ 0 h 66360"/>
                  <a:gd name="connsiteX6" fmla="*/ 371608 w 371607"/>
                  <a:gd name="connsiteY6" fmla="*/ 6637 h 66360"/>
                  <a:gd name="connsiteX7" fmla="*/ 371608 w 371607"/>
                  <a:gd name="connsiteY7" fmla="*/ 59723 h 66360"/>
                  <a:gd name="connsiteX8" fmla="*/ 364970 w 371607"/>
                  <a:gd name="connsiteY8" fmla="*/ 66360 h 66360"/>
                  <a:gd name="connsiteX9" fmla="*/ 13274 w 371607"/>
                  <a:gd name="connsiteY9" fmla="*/ 53088 h 66360"/>
                  <a:gd name="connsiteX10" fmla="*/ 358336 w 371607"/>
                  <a:gd name="connsiteY10" fmla="*/ 53088 h 66360"/>
                  <a:gd name="connsiteX11" fmla="*/ 358336 w 371607"/>
                  <a:gd name="connsiteY11" fmla="*/ 13274 h 66360"/>
                  <a:gd name="connsiteX12" fmla="*/ 13274 w 371607"/>
                  <a:gd name="connsiteY12" fmla="*/ 13274 h 66360"/>
                  <a:gd name="connsiteX13" fmla="*/ 13274 w 371607"/>
                  <a:gd name="connsiteY13" fmla="*/ 53088 h 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607" h="66360">
                    <a:moveTo>
                      <a:pt x="364970" y="66360"/>
                    </a:moveTo>
                    <a:lnTo>
                      <a:pt x="6637" y="66360"/>
                    </a:lnTo>
                    <a:cubicBezTo>
                      <a:pt x="2973" y="66360"/>
                      <a:pt x="0" y="63393"/>
                      <a:pt x="0" y="59723"/>
                    </a:cubicBezTo>
                    <a:lnTo>
                      <a:pt x="0" y="6637"/>
                    </a:lnTo>
                    <a:cubicBezTo>
                      <a:pt x="0" y="2970"/>
                      <a:pt x="2970" y="0"/>
                      <a:pt x="6637" y="0"/>
                    </a:cubicBezTo>
                    <a:lnTo>
                      <a:pt x="364970" y="0"/>
                    </a:lnTo>
                    <a:cubicBezTo>
                      <a:pt x="368635" y="0"/>
                      <a:pt x="371608" y="2967"/>
                      <a:pt x="371608" y="6637"/>
                    </a:cubicBezTo>
                    <a:lnTo>
                      <a:pt x="371608" y="59723"/>
                    </a:lnTo>
                    <a:cubicBezTo>
                      <a:pt x="371608" y="63393"/>
                      <a:pt x="368635" y="66360"/>
                      <a:pt x="364970" y="66360"/>
                    </a:cubicBezTo>
                    <a:close/>
                    <a:moveTo>
                      <a:pt x="13274" y="53088"/>
                    </a:moveTo>
                    <a:lnTo>
                      <a:pt x="358336" y="53088"/>
                    </a:lnTo>
                    <a:lnTo>
                      <a:pt x="358336" y="13274"/>
                    </a:lnTo>
                    <a:lnTo>
                      <a:pt x="13274" y="13274"/>
                    </a:lnTo>
                    <a:lnTo>
                      <a:pt x="13274" y="53088"/>
                    </a:lnTo>
                    <a:close/>
                  </a:path>
                </a:pathLst>
              </a:custGeom>
              <a:grpFill/>
              <a:ln w="301" cap="flat">
                <a:noFill/>
                <a:prstDash val="solid"/>
                <a:miter/>
              </a:ln>
            </p:spPr>
            <p:txBody>
              <a:bodyPr rtlCol="0" anchor="ctr"/>
              <a:lstStyle/>
              <a:p>
                <a:endParaRPr lang="en-GB" dirty="0"/>
              </a:p>
            </p:txBody>
          </p:sp>
          <p:sp>
            <p:nvSpPr>
              <p:cNvPr id="337" name="Freihandform: Form 206">
                <a:extLst>
                  <a:ext uri="{FF2B5EF4-FFF2-40B4-BE49-F238E27FC236}">
                    <a16:creationId xmlns:a16="http://schemas.microsoft.com/office/drawing/2014/main" id="{F647D209-6E49-43A3-8987-F00AD55D1C63}"/>
                  </a:ext>
                </a:extLst>
              </p:cNvPr>
              <p:cNvSpPr/>
              <p:nvPr/>
            </p:nvSpPr>
            <p:spPr>
              <a:xfrm>
                <a:off x="986908" y="4308955"/>
                <a:ext cx="305247" cy="225616"/>
              </a:xfrm>
              <a:custGeom>
                <a:avLst/>
                <a:gdLst>
                  <a:gd name="connsiteX0" fmla="*/ 185802 w 305247"/>
                  <a:gd name="connsiteY0" fmla="*/ 225616 h 225616"/>
                  <a:gd name="connsiteX1" fmla="*/ 19909 w 305247"/>
                  <a:gd name="connsiteY1" fmla="*/ 225616 h 225616"/>
                  <a:gd name="connsiteX2" fmla="*/ 0 w 305247"/>
                  <a:gd name="connsiteY2" fmla="*/ 205708 h 225616"/>
                  <a:gd name="connsiteX3" fmla="*/ 0 w 305247"/>
                  <a:gd name="connsiteY3" fmla="*/ 6637 h 225616"/>
                  <a:gd name="connsiteX4" fmla="*/ 6637 w 305247"/>
                  <a:gd name="connsiteY4" fmla="*/ 0 h 225616"/>
                  <a:gd name="connsiteX5" fmla="*/ 298611 w 305247"/>
                  <a:gd name="connsiteY5" fmla="*/ 0 h 225616"/>
                  <a:gd name="connsiteX6" fmla="*/ 305248 w 305247"/>
                  <a:gd name="connsiteY6" fmla="*/ 6637 h 225616"/>
                  <a:gd name="connsiteX7" fmla="*/ 305248 w 305247"/>
                  <a:gd name="connsiteY7" fmla="*/ 86266 h 225616"/>
                  <a:gd name="connsiteX8" fmla="*/ 298611 w 305247"/>
                  <a:gd name="connsiteY8" fmla="*/ 92903 h 225616"/>
                  <a:gd name="connsiteX9" fmla="*/ 291973 w 305247"/>
                  <a:gd name="connsiteY9" fmla="*/ 86266 h 225616"/>
                  <a:gd name="connsiteX10" fmla="*/ 291973 w 305247"/>
                  <a:gd name="connsiteY10" fmla="*/ 13272 h 225616"/>
                  <a:gd name="connsiteX11" fmla="*/ 13271 w 305247"/>
                  <a:gd name="connsiteY11" fmla="*/ 13272 h 225616"/>
                  <a:gd name="connsiteX12" fmla="*/ 13271 w 305247"/>
                  <a:gd name="connsiteY12" fmla="*/ 205711 h 225616"/>
                  <a:gd name="connsiteX13" fmla="*/ 19909 w 305247"/>
                  <a:gd name="connsiteY13" fmla="*/ 212348 h 225616"/>
                  <a:gd name="connsiteX14" fmla="*/ 185802 w 305247"/>
                  <a:gd name="connsiteY14" fmla="*/ 212348 h 225616"/>
                  <a:gd name="connsiteX15" fmla="*/ 192439 w 305247"/>
                  <a:gd name="connsiteY15" fmla="*/ 218985 h 225616"/>
                  <a:gd name="connsiteX16" fmla="*/ 185802 w 305247"/>
                  <a:gd name="connsiteY16" fmla="*/ 225616 h 22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5247" h="225616">
                    <a:moveTo>
                      <a:pt x="185802" y="225616"/>
                    </a:moveTo>
                    <a:lnTo>
                      <a:pt x="19909" y="225616"/>
                    </a:lnTo>
                    <a:cubicBezTo>
                      <a:pt x="8931" y="225616"/>
                      <a:pt x="0" y="216685"/>
                      <a:pt x="0" y="205708"/>
                    </a:cubicBezTo>
                    <a:lnTo>
                      <a:pt x="0" y="6637"/>
                    </a:lnTo>
                    <a:cubicBezTo>
                      <a:pt x="0" y="2970"/>
                      <a:pt x="2970" y="0"/>
                      <a:pt x="6637" y="0"/>
                    </a:cubicBezTo>
                    <a:lnTo>
                      <a:pt x="298611" y="0"/>
                    </a:lnTo>
                    <a:cubicBezTo>
                      <a:pt x="302275" y="0"/>
                      <a:pt x="305248" y="2967"/>
                      <a:pt x="305248" y="6637"/>
                    </a:cubicBezTo>
                    <a:lnTo>
                      <a:pt x="305248" y="86266"/>
                    </a:lnTo>
                    <a:cubicBezTo>
                      <a:pt x="305248" y="89933"/>
                      <a:pt x="302278" y="92903"/>
                      <a:pt x="298611" y="92903"/>
                    </a:cubicBezTo>
                    <a:cubicBezTo>
                      <a:pt x="294946" y="92903"/>
                      <a:pt x="291973" y="89936"/>
                      <a:pt x="291973" y="86266"/>
                    </a:cubicBezTo>
                    <a:lnTo>
                      <a:pt x="291973" y="13272"/>
                    </a:lnTo>
                    <a:lnTo>
                      <a:pt x="13271" y="13272"/>
                    </a:lnTo>
                    <a:lnTo>
                      <a:pt x="13271" y="205711"/>
                    </a:lnTo>
                    <a:cubicBezTo>
                      <a:pt x="13271" y="209372"/>
                      <a:pt x="16250" y="212348"/>
                      <a:pt x="19909" y="212348"/>
                    </a:cubicBezTo>
                    <a:lnTo>
                      <a:pt x="185802" y="212348"/>
                    </a:lnTo>
                    <a:cubicBezTo>
                      <a:pt x="189466" y="212348"/>
                      <a:pt x="192439" y="215315"/>
                      <a:pt x="192439" y="218985"/>
                    </a:cubicBezTo>
                    <a:cubicBezTo>
                      <a:pt x="192439" y="222649"/>
                      <a:pt x="189466" y="225616"/>
                      <a:pt x="185802" y="225616"/>
                    </a:cubicBezTo>
                    <a:close/>
                  </a:path>
                </a:pathLst>
              </a:custGeom>
              <a:grpFill/>
              <a:ln w="301" cap="flat">
                <a:noFill/>
                <a:prstDash val="solid"/>
                <a:miter/>
              </a:ln>
            </p:spPr>
            <p:txBody>
              <a:bodyPr rtlCol="0" anchor="ctr"/>
              <a:lstStyle/>
              <a:p>
                <a:endParaRPr lang="en-GB" dirty="0"/>
              </a:p>
            </p:txBody>
          </p:sp>
          <p:sp>
            <p:nvSpPr>
              <p:cNvPr id="338" name="Freihandform: Form 207">
                <a:extLst>
                  <a:ext uri="{FF2B5EF4-FFF2-40B4-BE49-F238E27FC236}">
                    <a16:creationId xmlns:a16="http://schemas.microsoft.com/office/drawing/2014/main" id="{6D29EC85-081D-4225-B248-446AE5B7D5F5}"/>
                  </a:ext>
                </a:extLst>
              </p:cNvPr>
              <p:cNvSpPr/>
              <p:nvPr/>
            </p:nvSpPr>
            <p:spPr>
              <a:xfrm>
                <a:off x="1112988" y="4308955"/>
                <a:ext cx="53088" cy="225616"/>
              </a:xfrm>
              <a:custGeom>
                <a:avLst/>
                <a:gdLst>
                  <a:gd name="connsiteX0" fmla="*/ 46451 w 53088"/>
                  <a:gd name="connsiteY0" fmla="*/ 225616 h 225616"/>
                  <a:gd name="connsiteX1" fmla="*/ 6637 w 53088"/>
                  <a:gd name="connsiteY1" fmla="*/ 225616 h 225616"/>
                  <a:gd name="connsiteX2" fmla="*/ 0 w 53088"/>
                  <a:gd name="connsiteY2" fmla="*/ 218979 h 225616"/>
                  <a:gd name="connsiteX3" fmla="*/ 0 w 53088"/>
                  <a:gd name="connsiteY3" fmla="*/ 6637 h 225616"/>
                  <a:gd name="connsiteX4" fmla="*/ 6637 w 53088"/>
                  <a:gd name="connsiteY4" fmla="*/ 0 h 225616"/>
                  <a:gd name="connsiteX5" fmla="*/ 46451 w 53088"/>
                  <a:gd name="connsiteY5" fmla="*/ 0 h 225616"/>
                  <a:gd name="connsiteX6" fmla="*/ 53088 w 53088"/>
                  <a:gd name="connsiteY6" fmla="*/ 6637 h 225616"/>
                  <a:gd name="connsiteX7" fmla="*/ 53088 w 53088"/>
                  <a:gd name="connsiteY7" fmla="*/ 218982 h 225616"/>
                  <a:gd name="connsiteX8" fmla="*/ 46451 w 53088"/>
                  <a:gd name="connsiteY8" fmla="*/ 225616 h 225616"/>
                  <a:gd name="connsiteX9" fmla="*/ 13274 w 53088"/>
                  <a:gd name="connsiteY9" fmla="*/ 212345 h 225616"/>
                  <a:gd name="connsiteX10" fmla="*/ 39817 w 53088"/>
                  <a:gd name="connsiteY10" fmla="*/ 212345 h 225616"/>
                  <a:gd name="connsiteX11" fmla="*/ 39817 w 53088"/>
                  <a:gd name="connsiteY11" fmla="*/ 13272 h 225616"/>
                  <a:gd name="connsiteX12" fmla="*/ 13274 w 53088"/>
                  <a:gd name="connsiteY12" fmla="*/ 13272 h 225616"/>
                  <a:gd name="connsiteX13" fmla="*/ 13274 w 53088"/>
                  <a:gd name="connsiteY13" fmla="*/ 212345 h 22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088" h="225616">
                    <a:moveTo>
                      <a:pt x="46451" y="225616"/>
                    </a:moveTo>
                    <a:lnTo>
                      <a:pt x="6637" y="225616"/>
                    </a:lnTo>
                    <a:cubicBezTo>
                      <a:pt x="2973" y="225616"/>
                      <a:pt x="0" y="222649"/>
                      <a:pt x="0" y="218979"/>
                    </a:cubicBezTo>
                    <a:lnTo>
                      <a:pt x="0" y="6637"/>
                    </a:lnTo>
                    <a:cubicBezTo>
                      <a:pt x="0" y="2970"/>
                      <a:pt x="2970" y="0"/>
                      <a:pt x="6637" y="0"/>
                    </a:cubicBezTo>
                    <a:lnTo>
                      <a:pt x="46451" y="0"/>
                    </a:lnTo>
                    <a:cubicBezTo>
                      <a:pt x="50115" y="0"/>
                      <a:pt x="53088" y="2967"/>
                      <a:pt x="53088" y="6637"/>
                    </a:cubicBezTo>
                    <a:lnTo>
                      <a:pt x="53088" y="218982"/>
                    </a:lnTo>
                    <a:cubicBezTo>
                      <a:pt x="53088" y="222649"/>
                      <a:pt x="50115" y="225616"/>
                      <a:pt x="46451" y="225616"/>
                    </a:cubicBezTo>
                    <a:close/>
                    <a:moveTo>
                      <a:pt x="13274" y="212345"/>
                    </a:moveTo>
                    <a:lnTo>
                      <a:pt x="39817" y="212345"/>
                    </a:lnTo>
                    <a:lnTo>
                      <a:pt x="39817" y="13272"/>
                    </a:lnTo>
                    <a:lnTo>
                      <a:pt x="13274" y="13272"/>
                    </a:lnTo>
                    <a:lnTo>
                      <a:pt x="13274" y="212345"/>
                    </a:lnTo>
                    <a:close/>
                  </a:path>
                </a:pathLst>
              </a:custGeom>
              <a:grpFill/>
              <a:ln w="301" cap="flat">
                <a:noFill/>
                <a:prstDash val="solid"/>
                <a:miter/>
              </a:ln>
            </p:spPr>
            <p:txBody>
              <a:bodyPr rtlCol="0" anchor="ctr"/>
              <a:lstStyle/>
              <a:p>
                <a:endParaRPr lang="en-GB" dirty="0"/>
              </a:p>
            </p:txBody>
          </p:sp>
          <p:sp>
            <p:nvSpPr>
              <p:cNvPr id="339" name="Freihandform: Form 208">
                <a:extLst>
                  <a:ext uri="{FF2B5EF4-FFF2-40B4-BE49-F238E27FC236}">
                    <a16:creationId xmlns:a16="http://schemas.microsoft.com/office/drawing/2014/main" id="{85700466-F5E8-480E-AC2C-A764FC6A7AE3}"/>
                  </a:ext>
                </a:extLst>
              </p:cNvPr>
              <p:cNvSpPr/>
              <p:nvPr/>
            </p:nvSpPr>
            <p:spPr>
              <a:xfrm>
                <a:off x="1093082" y="4255866"/>
                <a:ext cx="92902" cy="66360"/>
              </a:xfrm>
              <a:custGeom>
                <a:avLst/>
                <a:gdLst>
                  <a:gd name="connsiteX0" fmla="*/ 86265 w 92902"/>
                  <a:gd name="connsiteY0" fmla="*/ 66360 h 66360"/>
                  <a:gd name="connsiteX1" fmla="*/ 6637 w 92902"/>
                  <a:gd name="connsiteY1" fmla="*/ 66360 h 66360"/>
                  <a:gd name="connsiteX2" fmla="*/ 0 w 92902"/>
                  <a:gd name="connsiteY2" fmla="*/ 59723 h 66360"/>
                  <a:gd name="connsiteX3" fmla="*/ 0 w 92902"/>
                  <a:gd name="connsiteY3" fmla="*/ 6637 h 66360"/>
                  <a:gd name="connsiteX4" fmla="*/ 6637 w 92902"/>
                  <a:gd name="connsiteY4" fmla="*/ 0 h 66360"/>
                  <a:gd name="connsiteX5" fmla="*/ 86265 w 92902"/>
                  <a:gd name="connsiteY5" fmla="*/ 0 h 66360"/>
                  <a:gd name="connsiteX6" fmla="*/ 92903 w 92902"/>
                  <a:gd name="connsiteY6" fmla="*/ 6637 h 66360"/>
                  <a:gd name="connsiteX7" fmla="*/ 92903 w 92902"/>
                  <a:gd name="connsiteY7" fmla="*/ 59723 h 66360"/>
                  <a:gd name="connsiteX8" fmla="*/ 86265 w 92902"/>
                  <a:gd name="connsiteY8" fmla="*/ 66360 h 66360"/>
                  <a:gd name="connsiteX9" fmla="*/ 13271 w 92902"/>
                  <a:gd name="connsiteY9" fmla="*/ 53088 h 66360"/>
                  <a:gd name="connsiteX10" fmla="*/ 79628 w 92902"/>
                  <a:gd name="connsiteY10" fmla="*/ 53088 h 66360"/>
                  <a:gd name="connsiteX11" fmla="*/ 79628 w 92902"/>
                  <a:gd name="connsiteY11" fmla="*/ 13274 h 66360"/>
                  <a:gd name="connsiteX12" fmla="*/ 13271 w 92902"/>
                  <a:gd name="connsiteY12" fmla="*/ 13274 h 66360"/>
                  <a:gd name="connsiteX13" fmla="*/ 13271 w 92902"/>
                  <a:gd name="connsiteY13" fmla="*/ 53088 h 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902" h="66360">
                    <a:moveTo>
                      <a:pt x="86265" y="66360"/>
                    </a:moveTo>
                    <a:lnTo>
                      <a:pt x="6637" y="66360"/>
                    </a:lnTo>
                    <a:cubicBezTo>
                      <a:pt x="2973" y="66360"/>
                      <a:pt x="0" y="63393"/>
                      <a:pt x="0" y="59723"/>
                    </a:cubicBezTo>
                    <a:lnTo>
                      <a:pt x="0" y="6637"/>
                    </a:lnTo>
                    <a:cubicBezTo>
                      <a:pt x="0" y="2970"/>
                      <a:pt x="2970" y="0"/>
                      <a:pt x="6637" y="0"/>
                    </a:cubicBezTo>
                    <a:lnTo>
                      <a:pt x="86265" y="0"/>
                    </a:lnTo>
                    <a:cubicBezTo>
                      <a:pt x="89930" y="0"/>
                      <a:pt x="92903" y="2967"/>
                      <a:pt x="92903" y="6637"/>
                    </a:cubicBezTo>
                    <a:lnTo>
                      <a:pt x="92903" y="59723"/>
                    </a:lnTo>
                    <a:cubicBezTo>
                      <a:pt x="92900" y="63393"/>
                      <a:pt x="89930" y="66360"/>
                      <a:pt x="86265" y="66360"/>
                    </a:cubicBezTo>
                    <a:close/>
                    <a:moveTo>
                      <a:pt x="13271" y="53088"/>
                    </a:moveTo>
                    <a:lnTo>
                      <a:pt x="79628" y="53088"/>
                    </a:lnTo>
                    <a:lnTo>
                      <a:pt x="79628" y="13274"/>
                    </a:lnTo>
                    <a:lnTo>
                      <a:pt x="13271" y="13274"/>
                    </a:lnTo>
                    <a:lnTo>
                      <a:pt x="13271" y="53088"/>
                    </a:lnTo>
                    <a:close/>
                  </a:path>
                </a:pathLst>
              </a:custGeom>
              <a:grpFill/>
              <a:ln w="301" cap="flat">
                <a:noFill/>
                <a:prstDash val="solid"/>
                <a:miter/>
              </a:ln>
            </p:spPr>
            <p:txBody>
              <a:bodyPr rtlCol="0" anchor="ctr"/>
              <a:lstStyle/>
              <a:p>
                <a:endParaRPr lang="en-GB" dirty="0"/>
              </a:p>
            </p:txBody>
          </p:sp>
          <p:sp>
            <p:nvSpPr>
              <p:cNvPr id="340" name="Freihandform: Form 209">
                <a:extLst>
                  <a:ext uri="{FF2B5EF4-FFF2-40B4-BE49-F238E27FC236}">
                    <a16:creationId xmlns:a16="http://schemas.microsoft.com/office/drawing/2014/main" id="{393EE101-C29A-4527-B734-8E076C1542DA}"/>
                  </a:ext>
                </a:extLst>
              </p:cNvPr>
              <p:cNvSpPr/>
              <p:nvPr/>
            </p:nvSpPr>
            <p:spPr>
              <a:xfrm>
                <a:off x="1093082" y="4202781"/>
                <a:ext cx="92902" cy="66359"/>
              </a:xfrm>
              <a:custGeom>
                <a:avLst/>
                <a:gdLst>
                  <a:gd name="connsiteX0" fmla="*/ 86265 w 92902"/>
                  <a:gd name="connsiteY0" fmla="*/ 66360 h 66359"/>
                  <a:gd name="connsiteX1" fmla="*/ 6637 w 92902"/>
                  <a:gd name="connsiteY1" fmla="*/ 66360 h 66359"/>
                  <a:gd name="connsiteX2" fmla="*/ 0 w 92902"/>
                  <a:gd name="connsiteY2" fmla="*/ 59723 h 66359"/>
                  <a:gd name="connsiteX3" fmla="*/ 0 w 92902"/>
                  <a:gd name="connsiteY3" fmla="*/ 46451 h 66359"/>
                  <a:gd name="connsiteX4" fmla="*/ 46451 w 92902"/>
                  <a:gd name="connsiteY4" fmla="*/ 0 h 66359"/>
                  <a:gd name="connsiteX5" fmla="*/ 92903 w 92902"/>
                  <a:gd name="connsiteY5" fmla="*/ 46451 h 66359"/>
                  <a:gd name="connsiteX6" fmla="*/ 92903 w 92902"/>
                  <a:gd name="connsiteY6" fmla="*/ 59723 h 66359"/>
                  <a:gd name="connsiteX7" fmla="*/ 86265 w 92902"/>
                  <a:gd name="connsiteY7" fmla="*/ 66360 h 66359"/>
                  <a:gd name="connsiteX8" fmla="*/ 13271 w 92902"/>
                  <a:gd name="connsiteY8" fmla="*/ 53088 h 66359"/>
                  <a:gd name="connsiteX9" fmla="*/ 79628 w 92902"/>
                  <a:gd name="connsiteY9" fmla="*/ 53088 h 66359"/>
                  <a:gd name="connsiteX10" fmla="*/ 79628 w 92902"/>
                  <a:gd name="connsiteY10" fmla="*/ 46451 h 66359"/>
                  <a:gd name="connsiteX11" fmla="*/ 46448 w 92902"/>
                  <a:gd name="connsiteY11" fmla="*/ 13271 h 66359"/>
                  <a:gd name="connsiteX12" fmla="*/ 13268 w 92902"/>
                  <a:gd name="connsiteY12" fmla="*/ 46451 h 66359"/>
                  <a:gd name="connsiteX13" fmla="*/ 13268 w 92902"/>
                  <a:gd name="connsiteY13" fmla="*/ 53088 h 6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2902" h="66359">
                    <a:moveTo>
                      <a:pt x="86265" y="66360"/>
                    </a:moveTo>
                    <a:lnTo>
                      <a:pt x="6637" y="66360"/>
                    </a:lnTo>
                    <a:cubicBezTo>
                      <a:pt x="2973" y="66360"/>
                      <a:pt x="0" y="63393"/>
                      <a:pt x="0" y="59723"/>
                    </a:cubicBezTo>
                    <a:lnTo>
                      <a:pt x="0" y="46451"/>
                    </a:lnTo>
                    <a:cubicBezTo>
                      <a:pt x="0" y="20841"/>
                      <a:pt x="20838" y="0"/>
                      <a:pt x="46451" y="0"/>
                    </a:cubicBezTo>
                    <a:cubicBezTo>
                      <a:pt x="72064" y="0"/>
                      <a:pt x="92903" y="20841"/>
                      <a:pt x="92903" y="46451"/>
                    </a:cubicBezTo>
                    <a:lnTo>
                      <a:pt x="92903" y="59723"/>
                    </a:lnTo>
                    <a:cubicBezTo>
                      <a:pt x="92900" y="63393"/>
                      <a:pt x="89930" y="66360"/>
                      <a:pt x="86265" y="66360"/>
                    </a:cubicBezTo>
                    <a:close/>
                    <a:moveTo>
                      <a:pt x="13271" y="53088"/>
                    </a:moveTo>
                    <a:lnTo>
                      <a:pt x="79628" y="53088"/>
                    </a:lnTo>
                    <a:lnTo>
                      <a:pt x="79628" y="46451"/>
                    </a:lnTo>
                    <a:cubicBezTo>
                      <a:pt x="79628" y="28158"/>
                      <a:pt x="64742" y="13271"/>
                      <a:pt x="46448" y="13271"/>
                    </a:cubicBezTo>
                    <a:cubicBezTo>
                      <a:pt x="28155" y="13271"/>
                      <a:pt x="13268" y="28158"/>
                      <a:pt x="13268" y="46451"/>
                    </a:cubicBezTo>
                    <a:lnTo>
                      <a:pt x="13268" y="53088"/>
                    </a:lnTo>
                    <a:close/>
                  </a:path>
                </a:pathLst>
              </a:custGeom>
              <a:grpFill/>
              <a:ln w="301" cap="flat">
                <a:noFill/>
                <a:prstDash val="solid"/>
                <a:miter/>
              </a:ln>
            </p:spPr>
            <p:txBody>
              <a:bodyPr rtlCol="0" anchor="ctr"/>
              <a:lstStyle/>
              <a:p>
                <a:endParaRPr lang="en-GB" dirty="0"/>
              </a:p>
            </p:txBody>
          </p:sp>
          <p:sp>
            <p:nvSpPr>
              <p:cNvPr id="341" name="Freihandform: Form 210">
                <a:extLst>
                  <a:ext uri="{FF2B5EF4-FFF2-40B4-BE49-F238E27FC236}">
                    <a16:creationId xmlns:a16="http://schemas.microsoft.com/office/drawing/2014/main" id="{56AC3178-D600-416C-826B-DEB11D7A2DBA}"/>
                  </a:ext>
                </a:extLst>
              </p:cNvPr>
              <p:cNvSpPr/>
              <p:nvPr/>
            </p:nvSpPr>
            <p:spPr>
              <a:xfrm>
                <a:off x="1150353" y="4156338"/>
                <a:ext cx="101161" cy="114046"/>
              </a:xfrm>
              <a:custGeom>
                <a:avLst/>
                <a:gdLst>
                  <a:gd name="connsiteX0" fmla="*/ 29001 w 101161"/>
                  <a:gd name="connsiteY0" fmla="*/ 114046 h 114046"/>
                  <a:gd name="connsiteX1" fmla="*/ 23166 w 101161"/>
                  <a:gd name="connsiteY1" fmla="*/ 110587 h 114046"/>
                  <a:gd name="connsiteX2" fmla="*/ 25822 w 101161"/>
                  <a:gd name="connsiteY2" fmla="*/ 101587 h 114046"/>
                  <a:gd name="connsiteX3" fmla="*/ 85735 w 101161"/>
                  <a:gd name="connsiteY3" fmla="*/ 68971 h 114046"/>
                  <a:gd name="connsiteX4" fmla="*/ 60128 w 101161"/>
                  <a:gd name="connsiteY4" fmla="*/ 17428 h 114046"/>
                  <a:gd name="connsiteX5" fmla="*/ 11090 w 101161"/>
                  <a:gd name="connsiteY5" fmla="*/ 61773 h 114046"/>
                  <a:gd name="connsiteX6" fmla="*/ 1715 w 101161"/>
                  <a:gd name="connsiteY6" fmla="*/ 61299 h 114046"/>
                  <a:gd name="connsiteX7" fmla="*/ 2186 w 101161"/>
                  <a:gd name="connsiteY7" fmla="*/ 51921 h 114046"/>
                  <a:gd name="connsiteX8" fmla="*/ 57722 w 101161"/>
                  <a:gd name="connsiteY8" fmla="*/ 1706 h 114046"/>
                  <a:gd name="connsiteX9" fmla="*/ 63409 w 101161"/>
                  <a:gd name="connsiteY9" fmla="*/ 112 h 114046"/>
                  <a:gd name="connsiteX10" fmla="*/ 68117 w 101161"/>
                  <a:gd name="connsiteY10" fmla="*/ 3677 h 114046"/>
                  <a:gd name="connsiteX11" fmla="*/ 100467 w 101161"/>
                  <a:gd name="connsiteY11" fmla="*/ 68790 h 114046"/>
                  <a:gd name="connsiteX12" fmla="*/ 97697 w 101161"/>
                  <a:gd name="connsiteY12" fmla="*/ 77570 h 114046"/>
                  <a:gd name="connsiteX13" fmla="*/ 32167 w 101161"/>
                  <a:gd name="connsiteY13" fmla="*/ 113237 h 114046"/>
                  <a:gd name="connsiteX14" fmla="*/ 29001 w 101161"/>
                  <a:gd name="connsiteY14" fmla="*/ 114046 h 114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161" h="114046">
                    <a:moveTo>
                      <a:pt x="29001" y="114046"/>
                    </a:moveTo>
                    <a:cubicBezTo>
                      <a:pt x="26649" y="114046"/>
                      <a:pt x="24370" y="112797"/>
                      <a:pt x="23166" y="110587"/>
                    </a:cubicBezTo>
                    <a:cubicBezTo>
                      <a:pt x="21413" y="107367"/>
                      <a:pt x="22602" y="103337"/>
                      <a:pt x="25822" y="101587"/>
                    </a:cubicBezTo>
                    <a:lnTo>
                      <a:pt x="85735" y="68971"/>
                    </a:lnTo>
                    <a:lnTo>
                      <a:pt x="60128" y="17428"/>
                    </a:lnTo>
                    <a:lnTo>
                      <a:pt x="11090" y="61773"/>
                    </a:lnTo>
                    <a:cubicBezTo>
                      <a:pt x="8365" y="64229"/>
                      <a:pt x="4169" y="64009"/>
                      <a:pt x="1715" y="61299"/>
                    </a:cubicBezTo>
                    <a:cubicBezTo>
                      <a:pt x="-745" y="58576"/>
                      <a:pt x="-533" y="54384"/>
                      <a:pt x="2186" y="51921"/>
                    </a:cubicBezTo>
                    <a:lnTo>
                      <a:pt x="57722" y="1706"/>
                    </a:lnTo>
                    <a:cubicBezTo>
                      <a:pt x="59268" y="320"/>
                      <a:pt x="61372" y="-265"/>
                      <a:pt x="63409" y="112"/>
                    </a:cubicBezTo>
                    <a:cubicBezTo>
                      <a:pt x="65449" y="502"/>
                      <a:pt x="67194" y="1817"/>
                      <a:pt x="68117" y="3677"/>
                    </a:cubicBezTo>
                    <a:lnTo>
                      <a:pt x="100467" y="68790"/>
                    </a:lnTo>
                    <a:cubicBezTo>
                      <a:pt x="102055" y="71992"/>
                      <a:pt x="100830" y="75868"/>
                      <a:pt x="97697" y="77570"/>
                    </a:cubicBezTo>
                    <a:lnTo>
                      <a:pt x="32167" y="113237"/>
                    </a:lnTo>
                    <a:cubicBezTo>
                      <a:pt x="31159" y="113787"/>
                      <a:pt x="30072" y="114046"/>
                      <a:pt x="29001" y="114046"/>
                    </a:cubicBezTo>
                    <a:close/>
                  </a:path>
                </a:pathLst>
              </a:custGeom>
              <a:grpFill/>
              <a:ln w="301" cap="flat">
                <a:noFill/>
                <a:prstDash val="solid"/>
                <a:miter/>
              </a:ln>
            </p:spPr>
            <p:txBody>
              <a:bodyPr rtlCol="0" anchor="ctr"/>
              <a:lstStyle/>
              <a:p>
                <a:endParaRPr lang="en-GB" dirty="0"/>
              </a:p>
            </p:txBody>
          </p:sp>
          <p:sp>
            <p:nvSpPr>
              <p:cNvPr id="342" name="Freihandform: Form 211">
                <a:extLst>
                  <a:ext uri="{FF2B5EF4-FFF2-40B4-BE49-F238E27FC236}">
                    <a16:creationId xmlns:a16="http://schemas.microsoft.com/office/drawing/2014/main" id="{A679A3BC-B48E-4B73-9DFD-73B15A61823A}"/>
                  </a:ext>
                </a:extLst>
              </p:cNvPr>
              <p:cNvSpPr/>
              <p:nvPr/>
            </p:nvSpPr>
            <p:spPr>
              <a:xfrm>
                <a:off x="1025515" y="4156336"/>
                <a:ext cx="101159" cy="114047"/>
              </a:xfrm>
              <a:custGeom>
                <a:avLst/>
                <a:gdLst>
                  <a:gd name="connsiteX0" fmla="*/ 72161 w 101159"/>
                  <a:gd name="connsiteY0" fmla="*/ 114048 h 114047"/>
                  <a:gd name="connsiteX1" fmla="*/ 68994 w 101159"/>
                  <a:gd name="connsiteY1" fmla="*/ 113239 h 114047"/>
                  <a:gd name="connsiteX2" fmla="*/ 3465 w 101159"/>
                  <a:gd name="connsiteY2" fmla="*/ 77572 h 114047"/>
                  <a:gd name="connsiteX3" fmla="*/ 769 w 101159"/>
                  <a:gd name="connsiteY3" fmla="*/ 68650 h 114047"/>
                  <a:gd name="connsiteX4" fmla="*/ 35154 w 101159"/>
                  <a:gd name="connsiteY4" fmla="*/ 3536 h 114047"/>
                  <a:gd name="connsiteX5" fmla="*/ 39925 w 101159"/>
                  <a:gd name="connsiteY5" fmla="*/ 90 h 114047"/>
                  <a:gd name="connsiteX6" fmla="*/ 45564 w 101159"/>
                  <a:gd name="connsiteY6" fmla="*/ 1795 h 114047"/>
                  <a:gd name="connsiteX7" fmla="*/ 99066 w 101159"/>
                  <a:gd name="connsiteY7" fmla="*/ 52010 h 114047"/>
                  <a:gd name="connsiteX8" fmla="*/ 99361 w 101159"/>
                  <a:gd name="connsiteY8" fmla="*/ 61394 h 114047"/>
                  <a:gd name="connsiteX9" fmla="*/ 89981 w 101159"/>
                  <a:gd name="connsiteY9" fmla="*/ 61692 h 114047"/>
                  <a:gd name="connsiteX10" fmla="*/ 42829 w 101159"/>
                  <a:gd name="connsiteY10" fmla="*/ 17426 h 114047"/>
                  <a:gd name="connsiteX11" fmla="*/ 15568 w 101159"/>
                  <a:gd name="connsiteY11" fmla="*/ 69048 h 114047"/>
                  <a:gd name="connsiteX12" fmla="*/ 75342 w 101159"/>
                  <a:gd name="connsiteY12" fmla="*/ 101585 h 114047"/>
                  <a:gd name="connsiteX13" fmla="*/ 77998 w 101159"/>
                  <a:gd name="connsiteY13" fmla="*/ 110586 h 114047"/>
                  <a:gd name="connsiteX14" fmla="*/ 72161 w 101159"/>
                  <a:gd name="connsiteY14" fmla="*/ 114048 h 114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1159" h="114047">
                    <a:moveTo>
                      <a:pt x="72161" y="114048"/>
                    </a:moveTo>
                    <a:cubicBezTo>
                      <a:pt x="71089" y="114048"/>
                      <a:pt x="70003" y="113788"/>
                      <a:pt x="68994" y="113239"/>
                    </a:cubicBezTo>
                    <a:lnTo>
                      <a:pt x="3465" y="77572"/>
                    </a:lnTo>
                    <a:cubicBezTo>
                      <a:pt x="274" y="75836"/>
                      <a:pt x="-927" y="71855"/>
                      <a:pt x="769" y="68650"/>
                    </a:cubicBezTo>
                    <a:lnTo>
                      <a:pt x="35154" y="3536"/>
                    </a:lnTo>
                    <a:cubicBezTo>
                      <a:pt x="36119" y="1701"/>
                      <a:pt x="37885" y="433"/>
                      <a:pt x="39925" y="90"/>
                    </a:cubicBezTo>
                    <a:cubicBezTo>
                      <a:pt x="41978" y="-249"/>
                      <a:pt x="44054" y="382"/>
                      <a:pt x="45564" y="1795"/>
                    </a:cubicBezTo>
                    <a:lnTo>
                      <a:pt x="99066" y="52010"/>
                    </a:lnTo>
                    <a:cubicBezTo>
                      <a:pt x="101737" y="54518"/>
                      <a:pt x="101870" y="58717"/>
                      <a:pt x="99361" y="61394"/>
                    </a:cubicBezTo>
                    <a:cubicBezTo>
                      <a:pt x="96856" y="64077"/>
                      <a:pt x="92661" y="64195"/>
                      <a:pt x="89981" y="61692"/>
                    </a:cubicBezTo>
                    <a:lnTo>
                      <a:pt x="42829" y="17426"/>
                    </a:lnTo>
                    <a:lnTo>
                      <a:pt x="15568" y="69048"/>
                    </a:lnTo>
                    <a:lnTo>
                      <a:pt x="75342" y="101585"/>
                    </a:lnTo>
                    <a:cubicBezTo>
                      <a:pt x="78562" y="103336"/>
                      <a:pt x="79752" y="107365"/>
                      <a:pt x="77998" y="110586"/>
                    </a:cubicBezTo>
                    <a:cubicBezTo>
                      <a:pt x="76791" y="112798"/>
                      <a:pt x="74512" y="114048"/>
                      <a:pt x="72161" y="114048"/>
                    </a:cubicBezTo>
                    <a:close/>
                  </a:path>
                </a:pathLst>
              </a:custGeom>
              <a:grpFill/>
              <a:ln w="301" cap="flat">
                <a:noFill/>
                <a:prstDash val="solid"/>
                <a:miter/>
              </a:ln>
            </p:spPr>
            <p:txBody>
              <a:bodyPr rtlCol="0" anchor="ctr"/>
              <a:lstStyle/>
              <a:p>
                <a:endParaRPr lang="en-GB" dirty="0"/>
              </a:p>
            </p:txBody>
          </p:sp>
        </p:grpSp>
        <p:grpSp>
          <p:nvGrpSpPr>
            <p:cNvPr id="330" name="Gruppieren 980">
              <a:extLst>
                <a:ext uri="{FF2B5EF4-FFF2-40B4-BE49-F238E27FC236}">
                  <a16:creationId xmlns:a16="http://schemas.microsoft.com/office/drawing/2014/main" id="{1179B4A4-B84E-4F53-9147-0A92915A3726}"/>
                </a:ext>
              </a:extLst>
            </p:cNvPr>
            <p:cNvGrpSpPr/>
            <p:nvPr/>
          </p:nvGrpSpPr>
          <p:grpSpPr>
            <a:xfrm>
              <a:off x="3978074" y="4298838"/>
              <a:ext cx="181472" cy="173248"/>
              <a:chOff x="1176296" y="4414685"/>
              <a:chExt cx="181190" cy="172979"/>
            </a:xfrm>
          </p:grpSpPr>
          <p:sp>
            <p:nvSpPr>
              <p:cNvPr id="331" name="Freihandform: Form 212">
                <a:extLst>
                  <a:ext uri="{FF2B5EF4-FFF2-40B4-BE49-F238E27FC236}">
                    <a16:creationId xmlns:a16="http://schemas.microsoft.com/office/drawing/2014/main" id="{7F8B2239-2479-4AF7-931D-5AAB3DA43FD9}"/>
                  </a:ext>
                </a:extLst>
              </p:cNvPr>
              <p:cNvSpPr/>
              <p:nvPr/>
            </p:nvSpPr>
            <p:spPr>
              <a:xfrm>
                <a:off x="1176296" y="4414685"/>
                <a:ext cx="181190" cy="172979"/>
              </a:xfrm>
              <a:custGeom>
                <a:avLst/>
                <a:gdLst>
                  <a:gd name="connsiteX0" fmla="*/ 64652 w 181190"/>
                  <a:gd name="connsiteY0" fmla="*/ 172972 h 172979"/>
                  <a:gd name="connsiteX1" fmla="*/ 62599 w 181190"/>
                  <a:gd name="connsiteY1" fmla="*/ 172649 h 172979"/>
                  <a:gd name="connsiteX2" fmla="*/ 58289 w 181190"/>
                  <a:gd name="connsiteY2" fmla="*/ 168230 h 172979"/>
                  <a:gd name="connsiteX3" fmla="*/ 50429 w 181190"/>
                  <a:gd name="connsiteY3" fmla="*/ 141772 h 172979"/>
                  <a:gd name="connsiteX4" fmla="*/ 22839 w 181190"/>
                  <a:gd name="connsiteY4" fmla="*/ 142472 h 172979"/>
                  <a:gd name="connsiteX5" fmla="*/ 17301 w 181190"/>
                  <a:gd name="connsiteY5" fmla="*/ 139738 h 172979"/>
                  <a:gd name="connsiteX6" fmla="*/ 16413 w 181190"/>
                  <a:gd name="connsiteY6" fmla="*/ 133626 h 172979"/>
                  <a:gd name="connsiteX7" fmla="*/ 25607 w 181190"/>
                  <a:gd name="connsiteY7" fmla="*/ 107608 h 172979"/>
                  <a:gd name="connsiteX8" fmla="*/ 2873 w 181190"/>
                  <a:gd name="connsiteY8" fmla="*/ 91952 h 172979"/>
                  <a:gd name="connsiteX9" fmla="*/ 0 w 181190"/>
                  <a:gd name="connsiteY9" fmla="*/ 86489 h 172979"/>
                  <a:gd name="connsiteX10" fmla="*/ 2873 w 181190"/>
                  <a:gd name="connsiteY10" fmla="*/ 81026 h 172979"/>
                  <a:gd name="connsiteX11" fmla="*/ 25607 w 181190"/>
                  <a:gd name="connsiteY11" fmla="*/ 65370 h 172979"/>
                  <a:gd name="connsiteX12" fmla="*/ 16413 w 181190"/>
                  <a:gd name="connsiteY12" fmla="*/ 39346 h 172979"/>
                  <a:gd name="connsiteX13" fmla="*/ 17301 w 181190"/>
                  <a:gd name="connsiteY13" fmla="*/ 33234 h 172979"/>
                  <a:gd name="connsiteX14" fmla="*/ 22839 w 181190"/>
                  <a:gd name="connsiteY14" fmla="*/ 30500 h 172979"/>
                  <a:gd name="connsiteX15" fmla="*/ 50432 w 181190"/>
                  <a:gd name="connsiteY15" fmla="*/ 31206 h 172979"/>
                  <a:gd name="connsiteX16" fmla="*/ 58289 w 181190"/>
                  <a:gd name="connsiteY16" fmla="*/ 4748 h 172979"/>
                  <a:gd name="connsiteX17" fmla="*/ 62599 w 181190"/>
                  <a:gd name="connsiteY17" fmla="*/ 329 h 172979"/>
                  <a:gd name="connsiteX18" fmla="*/ 68684 w 181190"/>
                  <a:gd name="connsiteY18" fmla="*/ 1374 h 172979"/>
                  <a:gd name="connsiteX19" fmla="*/ 90597 w 181190"/>
                  <a:gd name="connsiteY19" fmla="*/ 18158 h 172979"/>
                  <a:gd name="connsiteX20" fmla="*/ 112506 w 181190"/>
                  <a:gd name="connsiteY20" fmla="*/ 1374 h 172979"/>
                  <a:gd name="connsiteX21" fmla="*/ 118591 w 181190"/>
                  <a:gd name="connsiteY21" fmla="*/ 329 h 172979"/>
                  <a:gd name="connsiteX22" fmla="*/ 122901 w 181190"/>
                  <a:gd name="connsiteY22" fmla="*/ 4748 h 172979"/>
                  <a:gd name="connsiteX23" fmla="*/ 130758 w 181190"/>
                  <a:gd name="connsiteY23" fmla="*/ 31206 h 172979"/>
                  <a:gd name="connsiteX24" fmla="*/ 158351 w 181190"/>
                  <a:gd name="connsiteY24" fmla="*/ 30500 h 172979"/>
                  <a:gd name="connsiteX25" fmla="*/ 163890 w 181190"/>
                  <a:gd name="connsiteY25" fmla="*/ 33234 h 172979"/>
                  <a:gd name="connsiteX26" fmla="*/ 164777 w 181190"/>
                  <a:gd name="connsiteY26" fmla="*/ 39346 h 172979"/>
                  <a:gd name="connsiteX27" fmla="*/ 155583 w 181190"/>
                  <a:gd name="connsiteY27" fmla="*/ 65370 h 172979"/>
                  <a:gd name="connsiteX28" fmla="*/ 178317 w 181190"/>
                  <a:gd name="connsiteY28" fmla="*/ 81026 h 172979"/>
                  <a:gd name="connsiteX29" fmla="*/ 181190 w 181190"/>
                  <a:gd name="connsiteY29" fmla="*/ 86489 h 172979"/>
                  <a:gd name="connsiteX30" fmla="*/ 178317 w 181190"/>
                  <a:gd name="connsiteY30" fmla="*/ 91952 h 172979"/>
                  <a:gd name="connsiteX31" fmla="*/ 155583 w 181190"/>
                  <a:gd name="connsiteY31" fmla="*/ 107608 h 172979"/>
                  <a:gd name="connsiteX32" fmla="*/ 164777 w 181190"/>
                  <a:gd name="connsiteY32" fmla="*/ 133626 h 172979"/>
                  <a:gd name="connsiteX33" fmla="*/ 163890 w 181190"/>
                  <a:gd name="connsiteY33" fmla="*/ 139738 h 172979"/>
                  <a:gd name="connsiteX34" fmla="*/ 158351 w 181190"/>
                  <a:gd name="connsiteY34" fmla="*/ 142472 h 172979"/>
                  <a:gd name="connsiteX35" fmla="*/ 130761 w 181190"/>
                  <a:gd name="connsiteY35" fmla="*/ 141772 h 172979"/>
                  <a:gd name="connsiteX36" fmla="*/ 122901 w 181190"/>
                  <a:gd name="connsiteY36" fmla="*/ 168230 h 172979"/>
                  <a:gd name="connsiteX37" fmla="*/ 118591 w 181190"/>
                  <a:gd name="connsiteY37" fmla="*/ 172649 h 172979"/>
                  <a:gd name="connsiteX38" fmla="*/ 112503 w 181190"/>
                  <a:gd name="connsiteY38" fmla="*/ 171605 h 172979"/>
                  <a:gd name="connsiteX39" fmla="*/ 90597 w 181190"/>
                  <a:gd name="connsiteY39" fmla="*/ 154814 h 172979"/>
                  <a:gd name="connsiteX40" fmla="*/ 68687 w 181190"/>
                  <a:gd name="connsiteY40" fmla="*/ 171605 h 172979"/>
                  <a:gd name="connsiteX41" fmla="*/ 64652 w 181190"/>
                  <a:gd name="connsiteY41" fmla="*/ 172972 h 172979"/>
                  <a:gd name="connsiteX42" fmla="*/ 55349 w 181190"/>
                  <a:gd name="connsiteY42" fmla="*/ 128371 h 172979"/>
                  <a:gd name="connsiteX43" fmla="*/ 61706 w 181190"/>
                  <a:gd name="connsiteY43" fmla="*/ 133115 h 172979"/>
                  <a:gd name="connsiteX44" fmla="*/ 68267 w 181190"/>
                  <a:gd name="connsiteY44" fmla="*/ 155206 h 172979"/>
                  <a:gd name="connsiteX45" fmla="*/ 86561 w 181190"/>
                  <a:gd name="connsiteY45" fmla="*/ 141189 h 172979"/>
                  <a:gd name="connsiteX46" fmla="*/ 94635 w 181190"/>
                  <a:gd name="connsiteY46" fmla="*/ 141189 h 172979"/>
                  <a:gd name="connsiteX47" fmla="*/ 112926 w 181190"/>
                  <a:gd name="connsiteY47" fmla="*/ 155206 h 172979"/>
                  <a:gd name="connsiteX48" fmla="*/ 119488 w 181190"/>
                  <a:gd name="connsiteY48" fmla="*/ 133115 h 172979"/>
                  <a:gd name="connsiteX49" fmla="*/ 126016 w 181190"/>
                  <a:gd name="connsiteY49" fmla="*/ 128371 h 172979"/>
                  <a:gd name="connsiteX50" fmla="*/ 149055 w 181190"/>
                  <a:gd name="connsiteY50" fmla="*/ 128959 h 172979"/>
                  <a:gd name="connsiteX51" fmla="*/ 141379 w 181190"/>
                  <a:gd name="connsiteY51" fmla="*/ 107231 h 172979"/>
                  <a:gd name="connsiteX52" fmla="*/ 143875 w 181190"/>
                  <a:gd name="connsiteY52" fmla="*/ 99558 h 172979"/>
                  <a:gd name="connsiteX53" fmla="*/ 162857 w 181190"/>
                  <a:gd name="connsiteY53" fmla="*/ 86489 h 172979"/>
                  <a:gd name="connsiteX54" fmla="*/ 143875 w 181190"/>
                  <a:gd name="connsiteY54" fmla="*/ 73420 h 172979"/>
                  <a:gd name="connsiteX55" fmla="*/ 141379 w 181190"/>
                  <a:gd name="connsiteY55" fmla="*/ 65747 h 172979"/>
                  <a:gd name="connsiteX56" fmla="*/ 149055 w 181190"/>
                  <a:gd name="connsiteY56" fmla="*/ 44019 h 172979"/>
                  <a:gd name="connsiteX57" fmla="*/ 126016 w 181190"/>
                  <a:gd name="connsiteY57" fmla="*/ 44607 h 172979"/>
                  <a:gd name="connsiteX58" fmla="*/ 119488 w 181190"/>
                  <a:gd name="connsiteY58" fmla="*/ 39863 h 172979"/>
                  <a:gd name="connsiteX59" fmla="*/ 112926 w 181190"/>
                  <a:gd name="connsiteY59" fmla="*/ 17772 h 172979"/>
                  <a:gd name="connsiteX60" fmla="*/ 94632 w 181190"/>
                  <a:gd name="connsiteY60" fmla="*/ 31783 h 172979"/>
                  <a:gd name="connsiteX61" fmla="*/ 86564 w 181190"/>
                  <a:gd name="connsiteY61" fmla="*/ 31783 h 172979"/>
                  <a:gd name="connsiteX62" fmla="*/ 68267 w 181190"/>
                  <a:gd name="connsiteY62" fmla="*/ 17766 h 172979"/>
                  <a:gd name="connsiteX63" fmla="*/ 61706 w 181190"/>
                  <a:gd name="connsiteY63" fmla="*/ 39863 h 172979"/>
                  <a:gd name="connsiteX64" fmla="*/ 55177 w 181190"/>
                  <a:gd name="connsiteY64" fmla="*/ 44607 h 172979"/>
                  <a:gd name="connsiteX65" fmla="*/ 32139 w 181190"/>
                  <a:gd name="connsiteY65" fmla="*/ 44019 h 172979"/>
                  <a:gd name="connsiteX66" fmla="*/ 39814 w 181190"/>
                  <a:gd name="connsiteY66" fmla="*/ 65747 h 172979"/>
                  <a:gd name="connsiteX67" fmla="*/ 37318 w 181190"/>
                  <a:gd name="connsiteY67" fmla="*/ 73420 h 172979"/>
                  <a:gd name="connsiteX68" fmla="*/ 18336 w 181190"/>
                  <a:gd name="connsiteY68" fmla="*/ 86489 h 172979"/>
                  <a:gd name="connsiteX69" fmla="*/ 37318 w 181190"/>
                  <a:gd name="connsiteY69" fmla="*/ 99558 h 172979"/>
                  <a:gd name="connsiteX70" fmla="*/ 39814 w 181190"/>
                  <a:gd name="connsiteY70" fmla="*/ 107231 h 172979"/>
                  <a:gd name="connsiteX71" fmla="*/ 32139 w 181190"/>
                  <a:gd name="connsiteY71" fmla="*/ 128959 h 172979"/>
                  <a:gd name="connsiteX72" fmla="*/ 55177 w 181190"/>
                  <a:gd name="connsiteY72" fmla="*/ 128371 h 172979"/>
                  <a:gd name="connsiteX73" fmla="*/ 55349 w 181190"/>
                  <a:gd name="connsiteY73" fmla="*/ 128371 h 172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81190" h="172979">
                    <a:moveTo>
                      <a:pt x="64652" y="172972"/>
                    </a:moveTo>
                    <a:cubicBezTo>
                      <a:pt x="63963" y="172972"/>
                      <a:pt x="63272" y="172869"/>
                      <a:pt x="62599" y="172649"/>
                    </a:cubicBezTo>
                    <a:cubicBezTo>
                      <a:pt x="60523" y="171976"/>
                      <a:pt x="58911" y="170322"/>
                      <a:pt x="58289" y="168230"/>
                    </a:cubicBezTo>
                    <a:lnTo>
                      <a:pt x="50429" y="141772"/>
                    </a:lnTo>
                    <a:lnTo>
                      <a:pt x="22839" y="142472"/>
                    </a:lnTo>
                    <a:cubicBezTo>
                      <a:pt x="20742" y="142511"/>
                      <a:pt x="18590" y="141500"/>
                      <a:pt x="17301" y="139738"/>
                    </a:cubicBezTo>
                    <a:cubicBezTo>
                      <a:pt x="16018" y="137969"/>
                      <a:pt x="15683" y="135687"/>
                      <a:pt x="16413" y="133626"/>
                    </a:cubicBezTo>
                    <a:lnTo>
                      <a:pt x="25607" y="107608"/>
                    </a:lnTo>
                    <a:lnTo>
                      <a:pt x="2873" y="91952"/>
                    </a:lnTo>
                    <a:cubicBezTo>
                      <a:pt x="1074" y="90715"/>
                      <a:pt x="0" y="88674"/>
                      <a:pt x="0" y="86489"/>
                    </a:cubicBezTo>
                    <a:cubicBezTo>
                      <a:pt x="0" y="84304"/>
                      <a:pt x="1074" y="82264"/>
                      <a:pt x="2873" y="81026"/>
                    </a:cubicBezTo>
                    <a:lnTo>
                      <a:pt x="25607" y="65370"/>
                    </a:lnTo>
                    <a:lnTo>
                      <a:pt x="16413" y="39346"/>
                    </a:lnTo>
                    <a:cubicBezTo>
                      <a:pt x="15683" y="37285"/>
                      <a:pt x="16018" y="35006"/>
                      <a:pt x="17301" y="33234"/>
                    </a:cubicBezTo>
                    <a:cubicBezTo>
                      <a:pt x="18584" y="31472"/>
                      <a:pt x="20705" y="30539"/>
                      <a:pt x="22839" y="30500"/>
                    </a:cubicBezTo>
                    <a:lnTo>
                      <a:pt x="50432" y="31206"/>
                    </a:lnTo>
                    <a:lnTo>
                      <a:pt x="58289" y="4748"/>
                    </a:lnTo>
                    <a:cubicBezTo>
                      <a:pt x="58911" y="2656"/>
                      <a:pt x="60523" y="1002"/>
                      <a:pt x="62599" y="329"/>
                    </a:cubicBezTo>
                    <a:cubicBezTo>
                      <a:pt x="64676" y="-350"/>
                      <a:pt x="66951" y="45"/>
                      <a:pt x="68684" y="1374"/>
                    </a:cubicBezTo>
                    <a:lnTo>
                      <a:pt x="90597" y="18158"/>
                    </a:lnTo>
                    <a:lnTo>
                      <a:pt x="112506" y="1374"/>
                    </a:lnTo>
                    <a:cubicBezTo>
                      <a:pt x="114236" y="45"/>
                      <a:pt x="116509" y="-356"/>
                      <a:pt x="118591" y="329"/>
                    </a:cubicBezTo>
                    <a:cubicBezTo>
                      <a:pt x="120668" y="1002"/>
                      <a:pt x="122280" y="2656"/>
                      <a:pt x="122901" y="4748"/>
                    </a:cubicBezTo>
                    <a:lnTo>
                      <a:pt x="130758" y="31206"/>
                    </a:lnTo>
                    <a:lnTo>
                      <a:pt x="158351" y="30500"/>
                    </a:lnTo>
                    <a:cubicBezTo>
                      <a:pt x="160606" y="30563"/>
                      <a:pt x="162607" y="31472"/>
                      <a:pt x="163890" y="33234"/>
                    </a:cubicBezTo>
                    <a:cubicBezTo>
                      <a:pt x="165172" y="35003"/>
                      <a:pt x="165507" y="37285"/>
                      <a:pt x="164777" y="39346"/>
                    </a:cubicBezTo>
                    <a:lnTo>
                      <a:pt x="155583" y="65370"/>
                    </a:lnTo>
                    <a:lnTo>
                      <a:pt x="178317" y="81026"/>
                    </a:lnTo>
                    <a:cubicBezTo>
                      <a:pt x="180116" y="82264"/>
                      <a:pt x="181190" y="84304"/>
                      <a:pt x="181190" y="86489"/>
                    </a:cubicBezTo>
                    <a:cubicBezTo>
                      <a:pt x="181190" y="88674"/>
                      <a:pt x="180116" y="90715"/>
                      <a:pt x="178317" y="91952"/>
                    </a:cubicBezTo>
                    <a:lnTo>
                      <a:pt x="155583" y="107608"/>
                    </a:lnTo>
                    <a:lnTo>
                      <a:pt x="164777" y="133626"/>
                    </a:lnTo>
                    <a:cubicBezTo>
                      <a:pt x="165507" y="135687"/>
                      <a:pt x="165172" y="137969"/>
                      <a:pt x="163890" y="139738"/>
                    </a:cubicBezTo>
                    <a:cubicBezTo>
                      <a:pt x="162607" y="141500"/>
                      <a:pt x="160503" y="142406"/>
                      <a:pt x="158351" y="142472"/>
                    </a:cubicBezTo>
                    <a:lnTo>
                      <a:pt x="130761" y="141772"/>
                    </a:lnTo>
                    <a:lnTo>
                      <a:pt x="122901" y="168230"/>
                    </a:lnTo>
                    <a:cubicBezTo>
                      <a:pt x="122280" y="170322"/>
                      <a:pt x="120668" y="171976"/>
                      <a:pt x="118591" y="172649"/>
                    </a:cubicBezTo>
                    <a:cubicBezTo>
                      <a:pt x="116518" y="173337"/>
                      <a:pt x="114242" y="172932"/>
                      <a:pt x="112503" y="171605"/>
                    </a:cubicBezTo>
                    <a:lnTo>
                      <a:pt x="90597" y="154814"/>
                    </a:lnTo>
                    <a:lnTo>
                      <a:pt x="68687" y="171605"/>
                    </a:lnTo>
                    <a:cubicBezTo>
                      <a:pt x="67513" y="172507"/>
                      <a:pt x="66091" y="172972"/>
                      <a:pt x="64652" y="172972"/>
                    </a:cubicBezTo>
                    <a:close/>
                    <a:moveTo>
                      <a:pt x="55349" y="128371"/>
                    </a:moveTo>
                    <a:cubicBezTo>
                      <a:pt x="58277" y="128371"/>
                      <a:pt x="60870" y="130296"/>
                      <a:pt x="61706" y="133115"/>
                    </a:cubicBezTo>
                    <a:lnTo>
                      <a:pt x="68267" y="155206"/>
                    </a:lnTo>
                    <a:lnTo>
                      <a:pt x="86561" y="141189"/>
                    </a:lnTo>
                    <a:cubicBezTo>
                      <a:pt x="88946" y="139363"/>
                      <a:pt x="92251" y="139363"/>
                      <a:pt x="94635" y="141189"/>
                    </a:cubicBezTo>
                    <a:lnTo>
                      <a:pt x="112926" y="155206"/>
                    </a:lnTo>
                    <a:lnTo>
                      <a:pt x="119488" y="133115"/>
                    </a:lnTo>
                    <a:cubicBezTo>
                      <a:pt x="120339" y="130239"/>
                      <a:pt x="123028" y="128494"/>
                      <a:pt x="126016" y="128371"/>
                    </a:cubicBezTo>
                    <a:lnTo>
                      <a:pt x="149055" y="128959"/>
                    </a:lnTo>
                    <a:lnTo>
                      <a:pt x="141379" y="107231"/>
                    </a:lnTo>
                    <a:cubicBezTo>
                      <a:pt x="140380" y="104405"/>
                      <a:pt x="141403" y="101257"/>
                      <a:pt x="143875" y="99558"/>
                    </a:cubicBezTo>
                    <a:lnTo>
                      <a:pt x="162857" y="86489"/>
                    </a:lnTo>
                    <a:lnTo>
                      <a:pt x="143875" y="73420"/>
                    </a:lnTo>
                    <a:cubicBezTo>
                      <a:pt x="141403" y="71720"/>
                      <a:pt x="140383" y="68572"/>
                      <a:pt x="141379" y="65747"/>
                    </a:cubicBezTo>
                    <a:lnTo>
                      <a:pt x="149055" y="44019"/>
                    </a:lnTo>
                    <a:lnTo>
                      <a:pt x="126016" y="44607"/>
                    </a:lnTo>
                    <a:cubicBezTo>
                      <a:pt x="123022" y="44647"/>
                      <a:pt x="120336" y="42733"/>
                      <a:pt x="119488" y="39863"/>
                    </a:cubicBezTo>
                    <a:lnTo>
                      <a:pt x="112926" y="17772"/>
                    </a:lnTo>
                    <a:lnTo>
                      <a:pt x="94632" y="31783"/>
                    </a:lnTo>
                    <a:cubicBezTo>
                      <a:pt x="92254" y="33609"/>
                      <a:pt x="88943" y="33609"/>
                      <a:pt x="86564" y="31783"/>
                    </a:cubicBezTo>
                    <a:lnTo>
                      <a:pt x="68267" y="17766"/>
                    </a:lnTo>
                    <a:lnTo>
                      <a:pt x="61706" y="39863"/>
                    </a:lnTo>
                    <a:cubicBezTo>
                      <a:pt x="60855" y="42733"/>
                      <a:pt x="58174" y="44638"/>
                      <a:pt x="55177" y="44607"/>
                    </a:cubicBezTo>
                    <a:lnTo>
                      <a:pt x="32139" y="44019"/>
                    </a:lnTo>
                    <a:lnTo>
                      <a:pt x="39814" y="65747"/>
                    </a:lnTo>
                    <a:cubicBezTo>
                      <a:pt x="40813" y="68572"/>
                      <a:pt x="39793" y="71720"/>
                      <a:pt x="37318" y="73420"/>
                    </a:cubicBezTo>
                    <a:lnTo>
                      <a:pt x="18336" y="86489"/>
                    </a:lnTo>
                    <a:lnTo>
                      <a:pt x="37318" y="99558"/>
                    </a:lnTo>
                    <a:cubicBezTo>
                      <a:pt x="39790" y="101257"/>
                      <a:pt x="40810" y="104405"/>
                      <a:pt x="39814" y="107231"/>
                    </a:cubicBezTo>
                    <a:lnTo>
                      <a:pt x="32139" y="128959"/>
                    </a:lnTo>
                    <a:lnTo>
                      <a:pt x="55177" y="128371"/>
                    </a:lnTo>
                    <a:cubicBezTo>
                      <a:pt x="55238" y="128371"/>
                      <a:pt x="55292" y="128371"/>
                      <a:pt x="55349" y="128371"/>
                    </a:cubicBezTo>
                    <a:close/>
                  </a:path>
                </a:pathLst>
              </a:custGeom>
              <a:solidFill>
                <a:schemeClr val="accent1"/>
              </a:solidFill>
              <a:ln w="301" cap="flat">
                <a:noFill/>
                <a:prstDash val="solid"/>
                <a:miter/>
              </a:ln>
            </p:spPr>
            <p:txBody>
              <a:bodyPr rtlCol="0" anchor="ctr"/>
              <a:lstStyle/>
              <a:p>
                <a:endParaRPr lang="en-GB" dirty="0"/>
              </a:p>
            </p:txBody>
          </p:sp>
          <p:grpSp>
            <p:nvGrpSpPr>
              <p:cNvPr id="332" name="Grafik 342">
                <a:extLst>
                  <a:ext uri="{FF2B5EF4-FFF2-40B4-BE49-F238E27FC236}">
                    <a16:creationId xmlns:a16="http://schemas.microsoft.com/office/drawing/2014/main" id="{00E07BE0-AC86-48AB-875B-23F23770AA5A}"/>
                  </a:ext>
                </a:extLst>
              </p:cNvPr>
              <p:cNvGrpSpPr/>
              <p:nvPr/>
            </p:nvGrpSpPr>
            <p:grpSpPr>
              <a:xfrm>
                <a:off x="1232385" y="4467170"/>
                <a:ext cx="68994" cy="69136"/>
                <a:chOff x="1232385" y="4467170"/>
                <a:chExt cx="68994" cy="69136"/>
              </a:xfrm>
              <a:solidFill>
                <a:schemeClr val="accent1"/>
              </a:solidFill>
            </p:grpSpPr>
            <p:sp>
              <p:nvSpPr>
                <p:cNvPr id="333" name="Freihandform: Form 214">
                  <a:extLst>
                    <a:ext uri="{FF2B5EF4-FFF2-40B4-BE49-F238E27FC236}">
                      <a16:creationId xmlns:a16="http://schemas.microsoft.com/office/drawing/2014/main" id="{462B9F1B-FDD4-4EE3-A6C2-7D47511A68D1}"/>
                    </a:ext>
                  </a:extLst>
                </p:cNvPr>
                <p:cNvSpPr/>
                <p:nvPr/>
              </p:nvSpPr>
              <p:spPr>
                <a:xfrm>
                  <a:off x="1273370" y="4504720"/>
                  <a:ext cx="28009" cy="31586"/>
                </a:xfrm>
                <a:custGeom>
                  <a:avLst/>
                  <a:gdLst>
                    <a:gd name="connsiteX0" fmla="*/ 14077 w 28009"/>
                    <a:gd name="connsiteY0" fmla="*/ 0 h 31586"/>
                    <a:gd name="connsiteX1" fmla="*/ 0 w 28009"/>
                    <a:gd name="connsiteY1" fmla="*/ 15936 h 31586"/>
                    <a:gd name="connsiteX2" fmla="*/ 13932 w 28009"/>
                    <a:gd name="connsiteY2" fmla="*/ 31586 h 31586"/>
                    <a:gd name="connsiteX3" fmla="*/ 28010 w 28009"/>
                    <a:gd name="connsiteY3" fmla="*/ 15650 h 31586"/>
                    <a:gd name="connsiteX4" fmla="*/ 14077 w 28009"/>
                    <a:gd name="connsiteY4" fmla="*/ 0 h 31586"/>
                    <a:gd name="connsiteX5" fmla="*/ 18318 w 28009"/>
                    <a:gd name="connsiteY5" fmla="*/ 15934 h 31586"/>
                    <a:gd name="connsiteX6" fmla="*/ 14077 w 28009"/>
                    <a:gd name="connsiteY6" fmla="*/ 22537 h 31586"/>
                    <a:gd name="connsiteX7" fmla="*/ 9689 w 28009"/>
                    <a:gd name="connsiteY7" fmla="*/ 15647 h 31586"/>
                    <a:gd name="connsiteX8" fmla="*/ 13929 w 28009"/>
                    <a:gd name="connsiteY8" fmla="*/ 9040 h 31586"/>
                    <a:gd name="connsiteX9" fmla="*/ 18318 w 28009"/>
                    <a:gd name="connsiteY9" fmla="*/ 15934 h 3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09" h="31586">
                      <a:moveTo>
                        <a:pt x="14077" y="0"/>
                      </a:moveTo>
                      <a:cubicBezTo>
                        <a:pt x="6181" y="0"/>
                        <a:pt x="0" y="6936"/>
                        <a:pt x="0" y="15936"/>
                      </a:cubicBezTo>
                      <a:cubicBezTo>
                        <a:pt x="0" y="24711"/>
                        <a:pt x="6121" y="31586"/>
                        <a:pt x="13932" y="31586"/>
                      </a:cubicBezTo>
                      <a:cubicBezTo>
                        <a:pt x="21828" y="31586"/>
                        <a:pt x="28010" y="24587"/>
                        <a:pt x="28010" y="15650"/>
                      </a:cubicBezTo>
                      <a:cubicBezTo>
                        <a:pt x="28010" y="7956"/>
                        <a:pt x="22797" y="0"/>
                        <a:pt x="14077" y="0"/>
                      </a:cubicBezTo>
                      <a:close/>
                      <a:moveTo>
                        <a:pt x="18318" y="15934"/>
                      </a:moveTo>
                      <a:cubicBezTo>
                        <a:pt x="18318" y="19637"/>
                        <a:pt x="16453" y="22537"/>
                        <a:pt x="14077" y="22537"/>
                      </a:cubicBezTo>
                      <a:cubicBezTo>
                        <a:pt x="11617" y="22537"/>
                        <a:pt x="9689" y="19510"/>
                        <a:pt x="9689" y="15647"/>
                      </a:cubicBezTo>
                      <a:cubicBezTo>
                        <a:pt x="9689" y="12004"/>
                        <a:pt x="11590" y="9040"/>
                        <a:pt x="13929" y="9040"/>
                      </a:cubicBezTo>
                      <a:cubicBezTo>
                        <a:pt x="16308" y="9043"/>
                        <a:pt x="18318" y="12133"/>
                        <a:pt x="18318" y="15934"/>
                      </a:cubicBezTo>
                      <a:close/>
                    </a:path>
                  </a:pathLst>
                </a:custGeom>
                <a:solidFill>
                  <a:schemeClr val="accent1"/>
                </a:solidFill>
                <a:ln w="301" cap="flat">
                  <a:noFill/>
                  <a:prstDash val="solid"/>
                  <a:miter/>
                </a:ln>
              </p:spPr>
              <p:txBody>
                <a:bodyPr rtlCol="0" anchor="ctr"/>
                <a:lstStyle/>
                <a:p>
                  <a:endParaRPr lang="en-GB" dirty="0"/>
                </a:p>
              </p:txBody>
            </p:sp>
            <p:sp>
              <p:nvSpPr>
                <p:cNvPr id="334" name="Freihandform: Form 215">
                  <a:extLst>
                    <a:ext uri="{FF2B5EF4-FFF2-40B4-BE49-F238E27FC236}">
                      <a16:creationId xmlns:a16="http://schemas.microsoft.com/office/drawing/2014/main" id="{CA55E6E0-1734-4B90-BC58-9C3DB874D751}"/>
                    </a:ext>
                  </a:extLst>
                </p:cNvPr>
                <p:cNvSpPr/>
                <p:nvPr/>
              </p:nvSpPr>
              <p:spPr>
                <a:xfrm>
                  <a:off x="1232385" y="4467170"/>
                  <a:ext cx="28006" cy="31583"/>
                </a:xfrm>
                <a:custGeom>
                  <a:avLst/>
                  <a:gdLst>
                    <a:gd name="connsiteX0" fmla="*/ 28007 w 28006"/>
                    <a:gd name="connsiteY0" fmla="*/ 15647 h 31583"/>
                    <a:gd name="connsiteX1" fmla="*/ 14074 w 28006"/>
                    <a:gd name="connsiteY1" fmla="*/ 0 h 31583"/>
                    <a:gd name="connsiteX2" fmla="*/ 0 w 28006"/>
                    <a:gd name="connsiteY2" fmla="*/ 15936 h 31583"/>
                    <a:gd name="connsiteX3" fmla="*/ 13932 w 28006"/>
                    <a:gd name="connsiteY3" fmla="*/ 31583 h 31583"/>
                    <a:gd name="connsiteX4" fmla="*/ 28007 w 28006"/>
                    <a:gd name="connsiteY4" fmla="*/ 15647 h 31583"/>
                    <a:gd name="connsiteX5" fmla="*/ 9689 w 28006"/>
                    <a:gd name="connsiteY5" fmla="*/ 15647 h 31583"/>
                    <a:gd name="connsiteX6" fmla="*/ 13932 w 28006"/>
                    <a:gd name="connsiteY6" fmla="*/ 9043 h 31583"/>
                    <a:gd name="connsiteX7" fmla="*/ 18321 w 28006"/>
                    <a:gd name="connsiteY7" fmla="*/ 15936 h 31583"/>
                    <a:gd name="connsiteX8" fmla="*/ 14077 w 28006"/>
                    <a:gd name="connsiteY8" fmla="*/ 22540 h 31583"/>
                    <a:gd name="connsiteX9" fmla="*/ 9689 w 28006"/>
                    <a:gd name="connsiteY9" fmla="*/ 15647 h 31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06" h="31583">
                      <a:moveTo>
                        <a:pt x="28007" y="15647"/>
                      </a:moveTo>
                      <a:cubicBezTo>
                        <a:pt x="28007" y="7956"/>
                        <a:pt x="22794" y="0"/>
                        <a:pt x="14074" y="0"/>
                      </a:cubicBezTo>
                      <a:cubicBezTo>
                        <a:pt x="6181" y="0"/>
                        <a:pt x="0" y="6936"/>
                        <a:pt x="0" y="15936"/>
                      </a:cubicBezTo>
                      <a:cubicBezTo>
                        <a:pt x="0" y="24711"/>
                        <a:pt x="6121" y="31583"/>
                        <a:pt x="13932" y="31583"/>
                      </a:cubicBezTo>
                      <a:cubicBezTo>
                        <a:pt x="21825" y="31583"/>
                        <a:pt x="28007" y="24584"/>
                        <a:pt x="28007" y="15647"/>
                      </a:cubicBezTo>
                      <a:close/>
                      <a:moveTo>
                        <a:pt x="9689" y="15647"/>
                      </a:moveTo>
                      <a:cubicBezTo>
                        <a:pt x="9689" y="12004"/>
                        <a:pt x="11593" y="9043"/>
                        <a:pt x="13932" y="9043"/>
                      </a:cubicBezTo>
                      <a:cubicBezTo>
                        <a:pt x="16311" y="9043"/>
                        <a:pt x="18321" y="12134"/>
                        <a:pt x="18321" y="15936"/>
                      </a:cubicBezTo>
                      <a:cubicBezTo>
                        <a:pt x="18321" y="19640"/>
                        <a:pt x="16456" y="22540"/>
                        <a:pt x="14077" y="22540"/>
                      </a:cubicBezTo>
                      <a:cubicBezTo>
                        <a:pt x="11617" y="22540"/>
                        <a:pt x="9689" y="19513"/>
                        <a:pt x="9689" y="15647"/>
                      </a:cubicBezTo>
                      <a:close/>
                    </a:path>
                  </a:pathLst>
                </a:custGeom>
                <a:solidFill>
                  <a:schemeClr val="accent1"/>
                </a:solidFill>
                <a:ln w="301" cap="flat">
                  <a:noFill/>
                  <a:prstDash val="solid"/>
                  <a:miter/>
                </a:ln>
              </p:spPr>
              <p:txBody>
                <a:bodyPr rtlCol="0" anchor="ctr"/>
                <a:lstStyle/>
                <a:p>
                  <a:endParaRPr lang="en-GB" dirty="0"/>
                </a:p>
              </p:txBody>
            </p:sp>
            <p:sp>
              <p:nvSpPr>
                <p:cNvPr id="335" name="Freihandform: Form 216">
                  <a:extLst>
                    <a:ext uri="{FF2B5EF4-FFF2-40B4-BE49-F238E27FC236}">
                      <a16:creationId xmlns:a16="http://schemas.microsoft.com/office/drawing/2014/main" id="{66FE6C8F-9C5C-4F88-BFE3-F96B7C081385}"/>
                    </a:ext>
                  </a:extLst>
                </p:cNvPr>
                <p:cNvSpPr/>
                <p:nvPr/>
              </p:nvSpPr>
              <p:spPr>
                <a:xfrm>
                  <a:off x="1244862" y="4473424"/>
                  <a:ext cx="44036" cy="56626"/>
                </a:xfrm>
                <a:custGeom>
                  <a:avLst/>
                  <a:gdLst>
                    <a:gd name="connsiteX0" fmla="*/ 44037 w 44036"/>
                    <a:gd name="connsiteY0" fmla="*/ 4485 h 56626"/>
                    <a:gd name="connsiteX1" fmla="*/ 39479 w 44036"/>
                    <a:gd name="connsiteY1" fmla="*/ 0 h 56626"/>
                    <a:gd name="connsiteX2" fmla="*/ 35712 w 44036"/>
                    <a:gd name="connsiteY2" fmla="*/ 2004 h 56626"/>
                    <a:gd name="connsiteX3" fmla="*/ 872 w 44036"/>
                    <a:gd name="connsiteY3" fmla="*/ 49436 h 56626"/>
                    <a:gd name="connsiteX4" fmla="*/ 0 w 44036"/>
                    <a:gd name="connsiteY4" fmla="*/ 52141 h 56626"/>
                    <a:gd name="connsiteX5" fmla="*/ 4561 w 44036"/>
                    <a:gd name="connsiteY5" fmla="*/ 56626 h 56626"/>
                    <a:gd name="connsiteX6" fmla="*/ 8324 w 44036"/>
                    <a:gd name="connsiteY6" fmla="*/ 54622 h 56626"/>
                    <a:gd name="connsiteX7" fmla="*/ 43152 w 44036"/>
                    <a:gd name="connsiteY7" fmla="*/ 7211 h 56626"/>
                    <a:gd name="connsiteX8" fmla="*/ 44037 w 44036"/>
                    <a:gd name="connsiteY8" fmla="*/ 4485 h 56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036" h="56626">
                      <a:moveTo>
                        <a:pt x="44037" y="4485"/>
                      </a:moveTo>
                      <a:cubicBezTo>
                        <a:pt x="44037" y="2013"/>
                        <a:pt x="41990" y="0"/>
                        <a:pt x="39479" y="0"/>
                      </a:cubicBezTo>
                      <a:cubicBezTo>
                        <a:pt x="37976" y="0"/>
                        <a:pt x="36636" y="715"/>
                        <a:pt x="35712" y="2004"/>
                      </a:cubicBezTo>
                      <a:lnTo>
                        <a:pt x="872" y="49436"/>
                      </a:lnTo>
                      <a:cubicBezTo>
                        <a:pt x="296" y="50215"/>
                        <a:pt x="0" y="51124"/>
                        <a:pt x="0" y="52141"/>
                      </a:cubicBezTo>
                      <a:cubicBezTo>
                        <a:pt x="0" y="54613"/>
                        <a:pt x="2046" y="56626"/>
                        <a:pt x="4561" y="56626"/>
                      </a:cubicBezTo>
                      <a:cubicBezTo>
                        <a:pt x="6061" y="56626"/>
                        <a:pt x="7401" y="55911"/>
                        <a:pt x="8324" y="54622"/>
                      </a:cubicBezTo>
                      <a:lnTo>
                        <a:pt x="43152" y="7211"/>
                      </a:lnTo>
                      <a:cubicBezTo>
                        <a:pt x="43738" y="6429"/>
                        <a:pt x="44037" y="5511"/>
                        <a:pt x="44037" y="4485"/>
                      </a:cubicBezTo>
                      <a:close/>
                    </a:path>
                  </a:pathLst>
                </a:custGeom>
                <a:solidFill>
                  <a:schemeClr val="accent1"/>
                </a:solidFill>
                <a:ln w="301" cap="flat">
                  <a:noFill/>
                  <a:prstDash val="solid"/>
                  <a:miter/>
                </a:ln>
              </p:spPr>
              <p:txBody>
                <a:bodyPr rtlCol="0" anchor="ctr"/>
                <a:lstStyle/>
                <a:p>
                  <a:endParaRPr lang="en-GB" dirty="0"/>
                </a:p>
              </p:txBody>
            </p:sp>
          </p:grpSp>
        </p:grpSp>
      </p:grpSp>
      <p:sp>
        <p:nvSpPr>
          <p:cNvPr id="33" name="TextBox 32">
            <a:extLst>
              <a:ext uri="{FF2B5EF4-FFF2-40B4-BE49-F238E27FC236}">
                <a16:creationId xmlns:a16="http://schemas.microsoft.com/office/drawing/2014/main" id="{F392DAE4-6BF8-4434-BEB2-2F0CE6808D8A}"/>
              </a:ext>
            </a:extLst>
          </p:cNvPr>
          <p:cNvSpPr txBox="1"/>
          <p:nvPr/>
        </p:nvSpPr>
        <p:spPr>
          <a:xfrm>
            <a:off x="487133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estimonial</a:t>
            </a:r>
            <a:br>
              <a:rPr lang="en-GB" sz="700" dirty="0">
                <a:solidFill>
                  <a:schemeClr val="tx2"/>
                </a:solidFill>
              </a:rPr>
            </a:br>
            <a:r>
              <a:rPr lang="en-GB" sz="700" dirty="0">
                <a:solidFill>
                  <a:schemeClr val="tx2"/>
                </a:solidFill>
              </a:rPr>
              <a:t>advertising</a:t>
            </a:r>
          </a:p>
        </p:txBody>
      </p:sp>
      <p:sp>
        <p:nvSpPr>
          <p:cNvPr id="34" name="TextBox 33">
            <a:extLst>
              <a:ext uri="{FF2B5EF4-FFF2-40B4-BE49-F238E27FC236}">
                <a16:creationId xmlns:a16="http://schemas.microsoft.com/office/drawing/2014/main" id="{8DB8DF52-5AA1-4244-A72A-181D921650D0}"/>
              </a:ext>
            </a:extLst>
          </p:cNvPr>
          <p:cNvSpPr txBox="1"/>
          <p:nvPr/>
        </p:nvSpPr>
        <p:spPr>
          <a:xfrm>
            <a:off x="8007638"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iscussion</a:t>
            </a:r>
          </a:p>
        </p:txBody>
      </p:sp>
      <p:sp>
        <p:nvSpPr>
          <p:cNvPr id="35" name="TextBox 34">
            <a:extLst>
              <a:ext uri="{FF2B5EF4-FFF2-40B4-BE49-F238E27FC236}">
                <a16:creationId xmlns:a16="http://schemas.microsoft.com/office/drawing/2014/main" id="{52BA319C-98C0-4C38-A3C5-EC4B50C68ABE}"/>
              </a:ext>
            </a:extLst>
          </p:cNvPr>
          <p:cNvSpPr txBox="1"/>
          <p:nvPr/>
        </p:nvSpPr>
        <p:spPr>
          <a:xfrm>
            <a:off x="6962205"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ating</a:t>
            </a:r>
          </a:p>
        </p:txBody>
      </p:sp>
      <p:sp>
        <p:nvSpPr>
          <p:cNvPr id="36" name="TextBox 35">
            <a:extLst>
              <a:ext uri="{FF2B5EF4-FFF2-40B4-BE49-F238E27FC236}">
                <a16:creationId xmlns:a16="http://schemas.microsoft.com/office/drawing/2014/main" id="{CB8F0040-8CE5-4BF5-B046-81D413A70BBA}"/>
              </a:ext>
            </a:extLst>
          </p:cNvPr>
          <p:cNvSpPr txBox="1"/>
          <p:nvPr/>
        </p:nvSpPr>
        <p:spPr>
          <a:xfrm>
            <a:off x="5916771"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nsultant</a:t>
            </a:r>
          </a:p>
        </p:txBody>
      </p:sp>
      <p:sp>
        <p:nvSpPr>
          <p:cNvPr id="37" name="TextBox 36">
            <a:extLst>
              <a:ext uri="{FF2B5EF4-FFF2-40B4-BE49-F238E27FC236}">
                <a16:creationId xmlns:a16="http://schemas.microsoft.com/office/drawing/2014/main" id="{3946F9D1-5154-4A52-AD68-293CBC18CD19}"/>
              </a:ext>
            </a:extLst>
          </p:cNvPr>
          <p:cNvSpPr txBox="1"/>
          <p:nvPr/>
        </p:nvSpPr>
        <p:spPr>
          <a:xfrm>
            <a:off x="487133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uzz</a:t>
            </a:r>
            <a:br>
              <a:rPr lang="en-GB" sz="700" dirty="0">
                <a:solidFill>
                  <a:schemeClr val="tx2"/>
                </a:solidFill>
              </a:rPr>
            </a:br>
            <a:r>
              <a:rPr lang="en-GB" sz="700" dirty="0">
                <a:solidFill>
                  <a:schemeClr val="tx2"/>
                </a:solidFill>
              </a:rPr>
              <a:t>marketing</a:t>
            </a:r>
          </a:p>
        </p:txBody>
      </p:sp>
      <p:sp>
        <p:nvSpPr>
          <p:cNvPr id="38" name="TextBox 37">
            <a:extLst>
              <a:ext uri="{FF2B5EF4-FFF2-40B4-BE49-F238E27FC236}">
                <a16:creationId xmlns:a16="http://schemas.microsoft.com/office/drawing/2014/main" id="{BC99DC6A-BA9F-490D-B5A4-68786ADC2C5B}"/>
              </a:ext>
            </a:extLst>
          </p:cNvPr>
          <p:cNvSpPr txBox="1"/>
          <p:nvPr/>
        </p:nvSpPr>
        <p:spPr>
          <a:xfrm>
            <a:off x="8007638"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ertificate</a:t>
            </a:r>
          </a:p>
        </p:txBody>
      </p:sp>
      <p:sp>
        <p:nvSpPr>
          <p:cNvPr id="39" name="TextBox 38">
            <a:extLst>
              <a:ext uri="{FF2B5EF4-FFF2-40B4-BE49-F238E27FC236}">
                <a16:creationId xmlns:a16="http://schemas.microsoft.com/office/drawing/2014/main" id="{ED21CCEC-1461-4A0F-A41A-3C08BC6759B3}"/>
              </a:ext>
            </a:extLst>
          </p:cNvPr>
          <p:cNvSpPr txBox="1"/>
          <p:nvPr/>
        </p:nvSpPr>
        <p:spPr>
          <a:xfrm>
            <a:off x="6962205"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nalyst</a:t>
            </a:r>
          </a:p>
        </p:txBody>
      </p:sp>
      <p:sp>
        <p:nvSpPr>
          <p:cNvPr id="40" name="TextBox 39">
            <a:extLst>
              <a:ext uri="{FF2B5EF4-FFF2-40B4-BE49-F238E27FC236}">
                <a16:creationId xmlns:a16="http://schemas.microsoft.com/office/drawing/2014/main" id="{ADE3FF4A-AD64-42A9-B3A4-21BBFBD8F6BA}"/>
              </a:ext>
            </a:extLst>
          </p:cNvPr>
          <p:cNvSpPr txBox="1"/>
          <p:nvPr/>
        </p:nvSpPr>
        <p:spPr>
          <a:xfrm>
            <a:off x="5916771"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view</a:t>
            </a:r>
          </a:p>
        </p:txBody>
      </p:sp>
      <p:sp>
        <p:nvSpPr>
          <p:cNvPr id="41" name="TextBox 40">
            <a:extLst>
              <a:ext uri="{FF2B5EF4-FFF2-40B4-BE49-F238E27FC236}">
                <a16:creationId xmlns:a16="http://schemas.microsoft.com/office/drawing/2014/main" id="{0F861AA0-FAF2-4614-88CF-C2BF2F0833CA}"/>
              </a:ext>
            </a:extLst>
          </p:cNvPr>
          <p:cNvSpPr txBox="1"/>
          <p:nvPr/>
        </p:nvSpPr>
        <p:spPr>
          <a:xfrm>
            <a:off x="4813995" y="3723675"/>
            <a:ext cx="798548" cy="107722"/>
          </a:xfrm>
          <a:prstGeom prst="rect">
            <a:avLst/>
          </a:prstGeom>
          <a:noFill/>
          <a:effectLst/>
        </p:spPr>
        <p:txBody>
          <a:bodyPr wrap="square" lIns="0" tIns="0" rIns="0" bIns="0" rtlCol="0" anchor="t">
            <a:spAutoFit/>
          </a:bodyPr>
          <a:lstStyle/>
          <a:p>
            <a:pPr algn="ctr"/>
            <a:r>
              <a:rPr lang="en-GB" sz="700" dirty="0">
                <a:solidFill>
                  <a:schemeClr val="tx2"/>
                </a:solidFill>
              </a:rPr>
              <a:t>Value</a:t>
            </a:r>
          </a:p>
        </p:txBody>
      </p:sp>
      <p:sp>
        <p:nvSpPr>
          <p:cNvPr id="42" name="TextBox 41">
            <a:extLst>
              <a:ext uri="{FF2B5EF4-FFF2-40B4-BE49-F238E27FC236}">
                <a16:creationId xmlns:a16="http://schemas.microsoft.com/office/drawing/2014/main" id="{B66F7E72-2898-49EE-AECA-872EC95369D4}"/>
              </a:ext>
            </a:extLst>
          </p:cNvPr>
          <p:cNvSpPr txBox="1"/>
          <p:nvPr/>
        </p:nvSpPr>
        <p:spPr>
          <a:xfrm>
            <a:off x="8007638"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vestor</a:t>
            </a:r>
            <a:br>
              <a:rPr lang="en-GB" sz="700" dirty="0">
                <a:solidFill>
                  <a:schemeClr val="tx2"/>
                </a:solidFill>
              </a:rPr>
            </a:br>
            <a:r>
              <a:rPr lang="en-GB" sz="700" dirty="0">
                <a:solidFill>
                  <a:schemeClr val="tx2"/>
                </a:solidFill>
              </a:rPr>
              <a:t>Relations</a:t>
            </a:r>
          </a:p>
        </p:txBody>
      </p:sp>
      <p:sp>
        <p:nvSpPr>
          <p:cNvPr id="43" name="TextBox 42">
            <a:extLst>
              <a:ext uri="{FF2B5EF4-FFF2-40B4-BE49-F238E27FC236}">
                <a16:creationId xmlns:a16="http://schemas.microsoft.com/office/drawing/2014/main" id="{2FB8DEF5-759B-4CAB-9C94-D102B03ADDAC}"/>
              </a:ext>
            </a:extLst>
          </p:cNvPr>
          <p:cNvSpPr txBox="1"/>
          <p:nvPr/>
        </p:nvSpPr>
        <p:spPr>
          <a:xfrm>
            <a:off x="6962205"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mage</a:t>
            </a:r>
            <a:br>
              <a:rPr lang="en-GB" sz="700" dirty="0">
                <a:solidFill>
                  <a:schemeClr val="tx2"/>
                </a:solidFill>
              </a:rPr>
            </a:br>
            <a:r>
              <a:rPr lang="en-GB" sz="700" dirty="0">
                <a:solidFill>
                  <a:schemeClr val="tx2"/>
                </a:solidFill>
              </a:rPr>
              <a:t>advertising</a:t>
            </a:r>
          </a:p>
        </p:txBody>
      </p:sp>
      <p:sp>
        <p:nvSpPr>
          <p:cNvPr id="44" name="TextBox 43">
            <a:extLst>
              <a:ext uri="{FF2B5EF4-FFF2-40B4-BE49-F238E27FC236}">
                <a16:creationId xmlns:a16="http://schemas.microsoft.com/office/drawing/2014/main" id="{0CC189A8-B356-4C60-A47C-46B2082B9AC3}"/>
              </a:ext>
            </a:extLst>
          </p:cNvPr>
          <p:cNvSpPr txBox="1"/>
          <p:nvPr/>
        </p:nvSpPr>
        <p:spPr>
          <a:xfrm>
            <a:off x="5916771"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NPS</a:t>
            </a:r>
          </a:p>
        </p:txBody>
      </p:sp>
      <p:sp>
        <p:nvSpPr>
          <p:cNvPr id="45" name="TextBox 44">
            <a:extLst>
              <a:ext uri="{FF2B5EF4-FFF2-40B4-BE49-F238E27FC236}">
                <a16:creationId xmlns:a16="http://schemas.microsoft.com/office/drawing/2014/main" id="{8B0909B7-8AE9-43E8-AEB4-9AADCD7CCA3A}"/>
              </a:ext>
            </a:extLst>
          </p:cNvPr>
          <p:cNvSpPr txBox="1"/>
          <p:nvPr/>
        </p:nvSpPr>
        <p:spPr>
          <a:xfrm>
            <a:off x="487133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Key value</a:t>
            </a:r>
            <a:br>
              <a:rPr lang="en-GB" sz="700" dirty="0">
                <a:solidFill>
                  <a:schemeClr val="tx2"/>
                </a:solidFill>
              </a:rPr>
            </a:br>
            <a:r>
              <a:rPr lang="en-GB" sz="700" dirty="0">
                <a:solidFill>
                  <a:schemeClr val="tx2"/>
                </a:solidFill>
              </a:rPr>
              <a:t>indicator</a:t>
            </a:r>
          </a:p>
        </p:txBody>
      </p:sp>
      <p:sp>
        <p:nvSpPr>
          <p:cNvPr id="46" name="TextBox 45">
            <a:extLst>
              <a:ext uri="{FF2B5EF4-FFF2-40B4-BE49-F238E27FC236}">
                <a16:creationId xmlns:a16="http://schemas.microsoft.com/office/drawing/2014/main" id="{2DF1FDB8-3E47-4CEB-8E53-9204EF14F2E0}"/>
              </a:ext>
            </a:extLst>
          </p:cNvPr>
          <p:cNvSpPr txBox="1"/>
          <p:nvPr/>
        </p:nvSpPr>
        <p:spPr>
          <a:xfrm>
            <a:off x="8007638"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lickbait</a:t>
            </a:r>
          </a:p>
        </p:txBody>
      </p:sp>
      <p:sp>
        <p:nvSpPr>
          <p:cNvPr id="47" name="TextBox 46">
            <a:extLst>
              <a:ext uri="{FF2B5EF4-FFF2-40B4-BE49-F238E27FC236}">
                <a16:creationId xmlns:a16="http://schemas.microsoft.com/office/drawing/2014/main" id="{7318AF45-D3C7-4721-A884-7893EDFF83C5}"/>
              </a:ext>
            </a:extLst>
          </p:cNvPr>
          <p:cNvSpPr txBox="1"/>
          <p:nvPr/>
        </p:nvSpPr>
        <p:spPr>
          <a:xfrm>
            <a:off x="6962205"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ommunicative</a:t>
            </a:r>
            <a:br>
              <a:rPr lang="en-GB" sz="700" dirty="0">
                <a:solidFill>
                  <a:schemeClr val="tx2"/>
                </a:solidFill>
              </a:rPr>
            </a:br>
            <a:r>
              <a:rPr lang="en-GB" sz="700" dirty="0">
                <a:solidFill>
                  <a:schemeClr val="tx2"/>
                </a:solidFill>
              </a:rPr>
              <a:t>strategy</a:t>
            </a:r>
          </a:p>
        </p:txBody>
      </p:sp>
      <p:sp>
        <p:nvSpPr>
          <p:cNvPr id="48" name="TextBox 47">
            <a:extLst>
              <a:ext uri="{FF2B5EF4-FFF2-40B4-BE49-F238E27FC236}">
                <a16:creationId xmlns:a16="http://schemas.microsoft.com/office/drawing/2014/main" id="{C22FB04F-413C-422C-8A03-85ED1C232298}"/>
              </a:ext>
            </a:extLst>
          </p:cNvPr>
          <p:cNvSpPr txBox="1"/>
          <p:nvPr/>
        </p:nvSpPr>
        <p:spPr>
          <a:xfrm>
            <a:off x="5916771"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ifferentiation</a:t>
            </a:r>
          </a:p>
        </p:txBody>
      </p:sp>
      <p:grpSp>
        <p:nvGrpSpPr>
          <p:cNvPr id="611" name="Group 610">
            <a:extLst>
              <a:ext uri="{FF2B5EF4-FFF2-40B4-BE49-F238E27FC236}">
                <a16:creationId xmlns:a16="http://schemas.microsoft.com/office/drawing/2014/main" id="{0EBAB10C-7D5D-4562-8CB2-5CE496B2FE59}"/>
              </a:ext>
            </a:extLst>
          </p:cNvPr>
          <p:cNvGrpSpPr/>
          <p:nvPr/>
        </p:nvGrpSpPr>
        <p:grpSpPr>
          <a:xfrm>
            <a:off x="4952237" y="1593084"/>
            <a:ext cx="522063" cy="432000"/>
            <a:chOff x="4951825" y="1593084"/>
            <a:chExt cx="522063" cy="432000"/>
          </a:xfrm>
        </p:grpSpPr>
        <p:grpSp>
          <p:nvGrpSpPr>
            <p:cNvPr id="344" name="Gruppieren 991">
              <a:extLst>
                <a:ext uri="{FF2B5EF4-FFF2-40B4-BE49-F238E27FC236}">
                  <a16:creationId xmlns:a16="http://schemas.microsoft.com/office/drawing/2014/main" id="{AFDE91A4-23F3-430C-8D6D-2723233AEAEF}"/>
                </a:ext>
              </a:extLst>
            </p:cNvPr>
            <p:cNvGrpSpPr/>
            <p:nvPr/>
          </p:nvGrpSpPr>
          <p:grpSpPr>
            <a:xfrm>
              <a:off x="4997958" y="1593414"/>
              <a:ext cx="470519" cy="282125"/>
              <a:chOff x="6159549" y="1660489"/>
              <a:chExt cx="398981" cy="239230"/>
            </a:xfrm>
          </p:grpSpPr>
          <p:grpSp>
            <p:nvGrpSpPr>
              <p:cNvPr id="348" name="Grafik 307">
                <a:extLst>
                  <a:ext uri="{FF2B5EF4-FFF2-40B4-BE49-F238E27FC236}">
                    <a16:creationId xmlns:a16="http://schemas.microsoft.com/office/drawing/2014/main" id="{EC60ED06-AB52-449E-90E0-51C9D4FB46E1}"/>
                  </a:ext>
                </a:extLst>
              </p:cNvPr>
              <p:cNvGrpSpPr/>
              <p:nvPr/>
            </p:nvGrpSpPr>
            <p:grpSpPr>
              <a:xfrm>
                <a:off x="6159549" y="1772290"/>
                <a:ext cx="314139" cy="127429"/>
                <a:chOff x="6159549" y="1772290"/>
                <a:chExt cx="314139" cy="127429"/>
              </a:xfrm>
              <a:solidFill>
                <a:schemeClr val="accent1"/>
              </a:solidFill>
            </p:grpSpPr>
            <p:sp>
              <p:nvSpPr>
                <p:cNvPr id="350" name="Freihandform: Form 940">
                  <a:extLst>
                    <a:ext uri="{FF2B5EF4-FFF2-40B4-BE49-F238E27FC236}">
                      <a16:creationId xmlns:a16="http://schemas.microsoft.com/office/drawing/2014/main" id="{09D0B35A-9218-49E9-947C-8862B8A39BA0}"/>
                    </a:ext>
                  </a:extLst>
                </p:cNvPr>
                <p:cNvSpPr/>
                <p:nvPr/>
              </p:nvSpPr>
              <p:spPr>
                <a:xfrm>
                  <a:off x="6249798" y="1772290"/>
                  <a:ext cx="132537" cy="127429"/>
                </a:xfrm>
                <a:custGeom>
                  <a:avLst/>
                  <a:gdLst>
                    <a:gd name="connsiteX0" fmla="*/ 33981 w 132537"/>
                    <a:gd name="connsiteY0" fmla="*/ 127424 h 127429"/>
                    <a:gd name="connsiteX1" fmla="*/ 25738 w 132537"/>
                    <a:gd name="connsiteY1" fmla="*/ 124739 h 127429"/>
                    <a:gd name="connsiteX2" fmla="*/ 20154 w 132537"/>
                    <a:gd name="connsiteY2" fmla="*/ 110991 h 127429"/>
                    <a:gd name="connsiteX3" fmla="*/ 25073 w 132537"/>
                    <a:gd name="connsiteY3" fmla="*/ 82326 h 127429"/>
                    <a:gd name="connsiteX4" fmla="*/ 4252 w 132537"/>
                    <a:gd name="connsiteY4" fmla="*/ 62037 h 127429"/>
                    <a:gd name="connsiteX5" fmla="*/ 689 w 132537"/>
                    <a:gd name="connsiteY5" fmla="*/ 47651 h 127429"/>
                    <a:gd name="connsiteX6" fmla="*/ 12017 w 132537"/>
                    <a:gd name="connsiteY6" fmla="*/ 38078 h 127429"/>
                    <a:gd name="connsiteX7" fmla="*/ 40789 w 132537"/>
                    <a:gd name="connsiteY7" fmla="*/ 33904 h 127429"/>
                    <a:gd name="connsiteX8" fmla="*/ 53659 w 132537"/>
                    <a:gd name="connsiteY8" fmla="*/ 7818 h 127429"/>
                    <a:gd name="connsiteX9" fmla="*/ 66263 w 132537"/>
                    <a:gd name="connsiteY9" fmla="*/ 0 h 127429"/>
                    <a:gd name="connsiteX10" fmla="*/ 78867 w 132537"/>
                    <a:gd name="connsiteY10" fmla="*/ 7818 h 127429"/>
                    <a:gd name="connsiteX11" fmla="*/ 78867 w 132537"/>
                    <a:gd name="connsiteY11" fmla="*/ 7818 h 127429"/>
                    <a:gd name="connsiteX12" fmla="*/ 91737 w 132537"/>
                    <a:gd name="connsiteY12" fmla="*/ 33904 h 127429"/>
                    <a:gd name="connsiteX13" fmla="*/ 120509 w 132537"/>
                    <a:gd name="connsiteY13" fmla="*/ 38078 h 127429"/>
                    <a:gd name="connsiteX14" fmla="*/ 131836 w 132537"/>
                    <a:gd name="connsiteY14" fmla="*/ 47651 h 127429"/>
                    <a:gd name="connsiteX15" fmla="*/ 128273 w 132537"/>
                    <a:gd name="connsiteY15" fmla="*/ 62037 h 127429"/>
                    <a:gd name="connsiteX16" fmla="*/ 107452 w 132537"/>
                    <a:gd name="connsiteY16" fmla="*/ 82326 h 127429"/>
                    <a:gd name="connsiteX17" fmla="*/ 112372 w 132537"/>
                    <a:gd name="connsiteY17" fmla="*/ 110991 h 127429"/>
                    <a:gd name="connsiteX18" fmla="*/ 106788 w 132537"/>
                    <a:gd name="connsiteY18" fmla="*/ 124739 h 127429"/>
                    <a:gd name="connsiteX19" fmla="*/ 92003 w 132537"/>
                    <a:gd name="connsiteY19" fmla="*/ 125802 h 127429"/>
                    <a:gd name="connsiteX20" fmla="*/ 66263 w 132537"/>
                    <a:gd name="connsiteY20" fmla="*/ 112267 h 127429"/>
                    <a:gd name="connsiteX21" fmla="*/ 40523 w 132537"/>
                    <a:gd name="connsiteY21" fmla="*/ 125802 h 127429"/>
                    <a:gd name="connsiteX22" fmla="*/ 33981 w 132537"/>
                    <a:gd name="connsiteY22" fmla="*/ 127424 h 127429"/>
                    <a:gd name="connsiteX23" fmla="*/ 66263 w 132537"/>
                    <a:gd name="connsiteY23" fmla="*/ 13349 h 127429"/>
                    <a:gd name="connsiteX24" fmla="*/ 65678 w 132537"/>
                    <a:gd name="connsiteY24" fmla="*/ 13721 h 127429"/>
                    <a:gd name="connsiteX25" fmla="*/ 51265 w 132537"/>
                    <a:gd name="connsiteY25" fmla="*/ 42945 h 127429"/>
                    <a:gd name="connsiteX26" fmla="*/ 46213 w 132537"/>
                    <a:gd name="connsiteY26" fmla="*/ 46614 h 127429"/>
                    <a:gd name="connsiteX27" fmla="*/ 13958 w 132537"/>
                    <a:gd name="connsiteY27" fmla="*/ 51294 h 127429"/>
                    <a:gd name="connsiteX28" fmla="*/ 13426 w 132537"/>
                    <a:gd name="connsiteY28" fmla="*/ 51746 h 127429"/>
                    <a:gd name="connsiteX29" fmla="*/ 13586 w 132537"/>
                    <a:gd name="connsiteY29" fmla="*/ 52438 h 127429"/>
                    <a:gd name="connsiteX30" fmla="*/ 36933 w 132537"/>
                    <a:gd name="connsiteY30" fmla="*/ 75200 h 127429"/>
                    <a:gd name="connsiteX31" fmla="*/ 38847 w 132537"/>
                    <a:gd name="connsiteY31" fmla="*/ 81129 h 127429"/>
                    <a:gd name="connsiteX32" fmla="*/ 33343 w 132537"/>
                    <a:gd name="connsiteY32" fmla="*/ 113251 h 127429"/>
                    <a:gd name="connsiteX33" fmla="*/ 33609 w 132537"/>
                    <a:gd name="connsiteY33" fmla="*/ 113916 h 127429"/>
                    <a:gd name="connsiteX34" fmla="*/ 34300 w 132537"/>
                    <a:gd name="connsiteY34" fmla="*/ 113969 h 127429"/>
                    <a:gd name="connsiteX35" fmla="*/ 63152 w 132537"/>
                    <a:gd name="connsiteY35" fmla="*/ 98812 h 127429"/>
                    <a:gd name="connsiteX36" fmla="*/ 69374 w 132537"/>
                    <a:gd name="connsiteY36" fmla="*/ 98812 h 127429"/>
                    <a:gd name="connsiteX37" fmla="*/ 98225 w 132537"/>
                    <a:gd name="connsiteY37" fmla="*/ 113969 h 127429"/>
                    <a:gd name="connsiteX38" fmla="*/ 98917 w 132537"/>
                    <a:gd name="connsiteY38" fmla="*/ 113916 h 127429"/>
                    <a:gd name="connsiteX39" fmla="*/ 99183 w 132537"/>
                    <a:gd name="connsiteY39" fmla="*/ 113278 h 127429"/>
                    <a:gd name="connsiteX40" fmla="*/ 93678 w 132537"/>
                    <a:gd name="connsiteY40" fmla="*/ 81156 h 127429"/>
                    <a:gd name="connsiteX41" fmla="*/ 95593 w 132537"/>
                    <a:gd name="connsiteY41" fmla="*/ 75226 h 127429"/>
                    <a:gd name="connsiteX42" fmla="*/ 118940 w 132537"/>
                    <a:gd name="connsiteY42" fmla="*/ 52464 h 127429"/>
                    <a:gd name="connsiteX43" fmla="*/ 119099 w 132537"/>
                    <a:gd name="connsiteY43" fmla="*/ 51773 h 127429"/>
                    <a:gd name="connsiteX44" fmla="*/ 118567 w 132537"/>
                    <a:gd name="connsiteY44" fmla="*/ 51321 h 127429"/>
                    <a:gd name="connsiteX45" fmla="*/ 86312 w 132537"/>
                    <a:gd name="connsiteY45" fmla="*/ 46641 h 127429"/>
                    <a:gd name="connsiteX46" fmla="*/ 81260 w 132537"/>
                    <a:gd name="connsiteY46" fmla="*/ 42971 h 127429"/>
                    <a:gd name="connsiteX47" fmla="*/ 66848 w 132537"/>
                    <a:gd name="connsiteY47" fmla="*/ 13748 h 127429"/>
                    <a:gd name="connsiteX48" fmla="*/ 66263 w 132537"/>
                    <a:gd name="connsiteY48" fmla="*/ 13349 h 127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32537" h="127429">
                      <a:moveTo>
                        <a:pt x="33981" y="127424"/>
                      </a:moveTo>
                      <a:cubicBezTo>
                        <a:pt x="31083" y="127424"/>
                        <a:pt x="28211" y="126520"/>
                        <a:pt x="25738" y="124739"/>
                      </a:cubicBezTo>
                      <a:cubicBezTo>
                        <a:pt x="21377" y="121574"/>
                        <a:pt x="19250" y="116309"/>
                        <a:pt x="20154" y="110991"/>
                      </a:cubicBezTo>
                      <a:lnTo>
                        <a:pt x="25073" y="82326"/>
                      </a:lnTo>
                      <a:lnTo>
                        <a:pt x="4252" y="62037"/>
                      </a:lnTo>
                      <a:cubicBezTo>
                        <a:pt x="397" y="58288"/>
                        <a:pt x="-959" y="52757"/>
                        <a:pt x="689" y="47651"/>
                      </a:cubicBezTo>
                      <a:cubicBezTo>
                        <a:pt x="2364" y="42519"/>
                        <a:pt x="6699" y="38876"/>
                        <a:pt x="12017" y="38078"/>
                      </a:cubicBezTo>
                      <a:lnTo>
                        <a:pt x="40789" y="33904"/>
                      </a:lnTo>
                      <a:lnTo>
                        <a:pt x="53659" y="7818"/>
                      </a:lnTo>
                      <a:cubicBezTo>
                        <a:pt x="56052" y="2978"/>
                        <a:pt x="60865" y="0"/>
                        <a:pt x="66263" y="0"/>
                      </a:cubicBezTo>
                      <a:cubicBezTo>
                        <a:pt x="71661" y="0"/>
                        <a:pt x="76474" y="3005"/>
                        <a:pt x="78867" y="7818"/>
                      </a:cubicBezTo>
                      <a:lnTo>
                        <a:pt x="78867" y="7818"/>
                      </a:lnTo>
                      <a:lnTo>
                        <a:pt x="91737" y="33904"/>
                      </a:lnTo>
                      <a:lnTo>
                        <a:pt x="120509" y="38078"/>
                      </a:lnTo>
                      <a:cubicBezTo>
                        <a:pt x="125827" y="38850"/>
                        <a:pt x="130188" y="42519"/>
                        <a:pt x="131836" y="47651"/>
                      </a:cubicBezTo>
                      <a:cubicBezTo>
                        <a:pt x="133512" y="52757"/>
                        <a:pt x="132129" y="58288"/>
                        <a:pt x="128273" y="62037"/>
                      </a:cubicBezTo>
                      <a:lnTo>
                        <a:pt x="107452" y="82326"/>
                      </a:lnTo>
                      <a:lnTo>
                        <a:pt x="112372" y="110991"/>
                      </a:lnTo>
                      <a:cubicBezTo>
                        <a:pt x="113276" y="116309"/>
                        <a:pt x="111149" y="121574"/>
                        <a:pt x="106788" y="124739"/>
                      </a:cubicBezTo>
                      <a:cubicBezTo>
                        <a:pt x="102427" y="127903"/>
                        <a:pt x="96763" y="128302"/>
                        <a:pt x="92003" y="125802"/>
                      </a:cubicBezTo>
                      <a:lnTo>
                        <a:pt x="66263" y="112267"/>
                      </a:lnTo>
                      <a:lnTo>
                        <a:pt x="40523" y="125802"/>
                      </a:lnTo>
                      <a:cubicBezTo>
                        <a:pt x="38449" y="126866"/>
                        <a:pt x="36215" y="127424"/>
                        <a:pt x="33981" y="127424"/>
                      </a:cubicBezTo>
                      <a:close/>
                      <a:moveTo>
                        <a:pt x="66263" y="13349"/>
                      </a:moveTo>
                      <a:cubicBezTo>
                        <a:pt x="65837" y="13349"/>
                        <a:pt x="65731" y="13588"/>
                        <a:pt x="65678" y="13721"/>
                      </a:cubicBezTo>
                      <a:lnTo>
                        <a:pt x="51265" y="42945"/>
                      </a:lnTo>
                      <a:cubicBezTo>
                        <a:pt x="50282" y="44912"/>
                        <a:pt x="48420" y="46295"/>
                        <a:pt x="46213" y="46614"/>
                      </a:cubicBezTo>
                      <a:lnTo>
                        <a:pt x="13958" y="51294"/>
                      </a:lnTo>
                      <a:cubicBezTo>
                        <a:pt x="13825" y="51321"/>
                        <a:pt x="13559" y="51347"/>
                        <a:pt x="13426" y="51746"/>
                      </a:cubicBezTo>
                      <a:cubicBezTo>
                        <a:pt x="13293" y="52145"/>
                        <a:pt x="13480" y="52331"/>
                        <a:pt x="13586" y="52438"/>
                      </a:cubicBezTo>
                      <a:lnTo>
                        <a:pt x="36933" y="75200"/>
                      </a:lnTo>
                      <a:cubicBezTo>
                        <a:pt x="38502" y="76742"/>
                        <a:pt x="39220" y="78949"/>
                        <a:pt x="38847" y="81129"/>
                      </a:cubicBezTo>
                      <a:lnTo>
                        <a:pt x="33343" y="113251"/>
                      </a:lnTo>
                      <a:cubicBezTo>
                        <a:pt x="33317" y="113384"/>
                        <a:pt x="33263" y="113650"/>
                        <a:pt x="33609" y="113916"/>
                      </a:cubicBezTo>
                      <a:cubicBezTo>
                        <a:pt x="33955" y="114155"/>
                        <a:pt x="34167" y="114049"/>
                        <a:pt x="34300" y="113969"/>
                      </a:cubicBezTo>
                      <a:lnTo>
                        <a:pt x="63152" y="98812"/>
                      </a:lnTo>
                      <a:cubicBezTo>
                        <a:pt x="65093" y="97775"/>
                        <a:pt x="67433" y="97775"/>
                        <a:pt x="69374" y="98812"/>
                      </a:cubicBezTo>
                      <a:lnTo>
                        <a:pt x="98225" y="113969"/>
                      </a:lnTo>
                      <a:cubicBezTo>
                        <a:pt x="98358" y="114049"/>
                        <a:pt x="98598" y="114155"/>
                        <a:pt x="98917" y="113916"/>
                      </a:cubicBezTo>
                      <a:cubicBezTo>
                        <a:pt x="99262" y="113677"/>
                        <a:pt x="99209" y="113411"/>
                        <a:pt x="99183" y="113278"/>
                      </a:cubicBezTo>
                      <a:lnTo>
                        <a:pt x="93678" y="81156"/>
                      </a:lnTo>
                      <a:cubicBezTo>
                        <a:pt x="93306" y="78975"/>
                        <a:pt x="94024" y="76768"/>
                        <a:pt x="95593" y="75226"/>
                      </a:cubicBezTo>
                      <a:lnTo>
                        <a:pt x="118940" y="52464"/>
                      </a:lnTo>
                      <a:cubicBezTo>
                        <a:pt x="119046" y="52358"/>
                        <a:pt x="119232" y="52172"/>
                        <a:pt x="119099" y="51773"/>
                      </a:cubicBezTo>
                      <a:cubicBezTo>
                        <a:pt x="118966" y="51374"/>
                        <a:pt x="118700" y="51347"/>
                        <a:pt x="118567" y="51321"/>
                      </a:cubicBezTo>
                      <a:lnTo>
                        <a:pt x="86312" y="46641"/>
                      </a:lnTo>
                      <a:cubicBezTo>
                        <a:pt x="84132" y="46322"/>
                        <a:pt x="82244" y="44965"/>
                        <a:pt x="81260" y="42971"/>
                      </a:cubicBezTo>
                      <a:lnTo>
                        <a:pt x="66848" y="13748"/>
                      </a:lnTo>
                      <a:cubicBezTo>
                        <a:pt x="66795" y="13588"/>
                        <a:pt x="66688" y="13349"/>
                        <a:pt x="66263" y="13349"/>
                      </a:cubicBezTo>
                      <a:close/>
                    </a:path>
                  </a:pathLst>
                </a:custGeom>
                <a:solidFill>
                  <a:schemeClr val="accent1"/>
                </a:solidFill>
                <a:ln w="2655" cap="flat">
                  <a:noFill/>
                  <a:prstDash val="solid"/>
                  <a:miter/>
                </a:ln>
              </p:spPr>
              <p:txBody>
                <a:bodyPr rtlCol="0" anchor="ctr"/>
                <a:lstStyle/>
                <a:p>
                  <a:endParaRPr lang="en-GB" dirty="0"/>
                </a:p>
              </p:txBody>
            </p:sp>
            <p:sp>
              <p:nvSpPr>
                <p:cNvPr id="351" name="Freihandform: Form 941">
                  <a:extLst>
                    <a:ext uri="{FF2B5EF4-FFF2-40B4-BE49-F238E27FC236}">
                      <a16:creationId xmlns:a16="http://schemas.microsoft.com/office/drawing/2014/main" id="{60156CAC-675D-4A8E-B977-5496F99956D9}"/>
                    </a:ext>
                  </a:extLst>
                </p:cNvPr>
                <p:cNvSpPr/>
                <p:nvPr/>
              </p:nvSpPr>
              <p:spPr>
                <a:xfrm>
                  <a:off x="6377912" y="1784549"/>
                  <a:ext cx="95777" cy="106662"/>
                </a:xfrm>
                <a:custGeom>
                  <a:avLst/>
                  <a:gdLst>
                    <a:gd name="connsiteX0" fmla="*/ 66823 w 95777"/>
                    <a:gd name="connsiteY0" fmla="*/ 106657 h 106662"/>
                    <a:gd name="connsiteX1" fmla="*/ 60894 w 95777"/>
                    <a:gd name="connsiteY1" fmla="*/ 105194 h 106662"/>
                    <a:gd name="connsiteX2" fmla="*/ 40418 w 95777"/>
                    <a:gd name="connsiteY2" fmla="*/ 94425 h 106662"/>
                    <a:gd name="connsiteX3" fmla="*/ 19943 w 95777"/>
                    <a:gd name="connsiteY3" fmla="*/ 105194 h 106662"/>
                    <a:gd name="connsiteX4" fmla="*/ 6568 w 95777"/>
                    <a:gd name="connsiteY4" fmla="*/ 104237 h 106662"/>
                    <a:gd name="connsiteX5" fmla="*/ 1516 w 95777"/>
                    <a:gd name="connsiteY5" fmla="*/ 91819 h 106662"/>
                    <a:gd name="connsiteX6" fmla="*/ 5371 w 95777"/>
                    <a:gd name="connsiteY6" fmla="*/ 69376 h 106662"/>
                    <a:gd name="connsiteX7" fmla="*/ 0 w 95777"/>
                    <a:gd name="connsiteY7" fmla="*/ 64935 h 106662"/>
                    <a:gd name="connsiteX8" fmla="*/ 8509 w 95777"/>
                    <a:gd name="connsiteY8" fmla="*/ 54618 h 106662"/>
                    <a:gd name="connsiteX9" fmla="*/ 16885 w 95777"/>
                    <a:gd name="connsiteY9" fmla="*/ 61532 h 106662"/>
                    <a:gd name="connsiteX10" fmla="*/ 19225 w 95777"/>
                    <a:gd name="connsiteY10" fmla="*/ 67834 h 106662"/>
                    <a:gd name="connsiteX11" fmla="*/ 14944 w 95777"/>
                    <a:gd name="connsiteY11" fmla="*/ 92750 h 106662"/>
                    <a:gd name="connsiteX12" fmla="*/ 37334 w 95777"/>
                    <a:gd name="connsiteY12" fmla="*/ 80970 h 106662"/>
                    <a:gd name="connsiteX13" fmla="*/ 43556 w 95777"/>
                    <a:gd name="connsiteY13" fmla="*/ 80970 h 106662"/>
                    <a:gd name="connsiteX14" fmla="*/ 65946 w 95777"/>
                    <a:gd name="connsiteY14" fmla="*/ 92750 h 106662"/>
                    <a:gd name="connsiteX15" fmla="*/ 61665 w 95777"/>
                    <a:gd name="connsiteY15" fmla="*/ 67834 h 106662"/>
                    <a:gd name="connsiteX16" fmla="*/ 63579 w 95777"/>
                    <a:gd name="connsiteY16" fmla="*/ 61904 h 106662"/>
                    <a:gd name="connsiteX17" fmla="*/ 81688 w 95777"/>
                    <a:gd name="connsiteY17" fmla="*/ 44248 h 106662"/>
                    <a:gd name="connsiteX18" fmla="*/ 56666 w 95777"/>
                    <a:gd name="connsiteY18" fmla="*/ 40605 h 106662"/>
                    <a:gd name="connsiteX19" fmla="*/ 51613 w 95777"/>
                    <a:gd name="connsiteY19" fmla="*/ 36935 h 106662"/>
                    <a:gd name="connsiteX20" fmla="*/ 40418 w 95777"/>
                    <a:gd name="connsiteY20" fmla="*/ 14253 h 106662"/>
                    <a:gd name="connsiteX21" fmla="*/ 29224 w 95777"/>
                    <a:gd name="connsiteY21" fmla="*/ 36935 h 106662"/>
                    <a:gd name="connsiteX22" fmla="*/ 24091 w 95777"/>
                    <a:gd name="connsiteY22" fmla="*/ 40605 h 106662"/>
                    <a:gd name="connsiteX23" fmla="*/ 15183 w 95777"/>
                    <a:gd name="connsiteY23" fmla="*/ 41775 h 106662"/>
                    <a:gd name="connsiteX24" fmla="*/ 13428 w 95777"/>
                    <a:gd name="connsiteY24" fmla="*/ 28506 h 106662"/>
                    <a:gd name="connsiteX25" fmla="*/ 18773 w 95777"/>
                    <a:gd name="connsiteY25" fmla="*/ 27788 h 106662"/>
                    <a:gd name="connsiteX26" fmla="*/ 28984 w 95777"/>
                    <a:gd name="connsiteY26" fmla="*/ 7073 h 106662"/>
                    <a:gd name="connsiteX27" fmla="*/ 40365 w 95777"/>
                    <a:gd name="connsiteY27" fmla="*/ 0 h 106662"/>
                    <a:gd name="connsiteX28" fmla="*/ 51746 w 95777"/>
                    <a:gd name="connsiteY28" fmla="*/ 7073 h 106662"/>
                    <a:gd name="connsiteX29" fmla="*/ 61984 w 95777"/>
                    <a:gd name="connsiteY29" fmla="*/ 27814 h 106662"/>
                    <a:gd name="connsiteX30" fmla="*/ 84879 w 95777"/>
                    <a:gd name="connsiteY30" fmla="*/ 31138 h 106662"/>
                    <a:gd name="connsiteX31" fmla="*/ 95143 w 95777"/>
                    <a:gd name="connsiteY31" fmla="*/ 39780 h 106662"/>
                    <a:gd name="connsiteX32" fmla="*/ 91925 w 95777"/>
                    <a:gd name="connsiteY32" fmla="*/ 52810 h 106662"/>
                    <a:gd name="connsiteX33" fmla="*/ 75359 w 95777"/>
                    <a:gd name="connsiteY33" fmla="*/ 68951 h 106662"/>
                    <a:gd name="connsiteX34" fmla="*/ 79268 w 95777"/>
                    <a:gd name="connsiteY34" fmla="*/ 91766 h 106662"/>
                    <a:gd name="connsiteX35" fmla="*/ 74216 w 95777"/>
                    <a:gd name="connsiteY35" fmla="*/ 104184 h 106662"/>
                    <a:gd name="connsiteX36" fmla="*/ 66823 w 95777"/>
                    <a:gd name="connsiteY36" fmla="*/ 106657 h 106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5777" h="106662">
                      <a:moveTo>
                        <a:pt x="66823" y="106657"/>
                      </a:moveTo>
                      <a:cubicBezTo>
                        <a:pt x="64802" y="106657"/>
                        <a:pt x="62781" y="106178"/>
                        <a:pt x="60894" y="105194"/>
                      </a:cubicBezTo>
                      <a:lnTo>
                        <a:pt x="40418" y="94425"/>
                      </a:lnTo>
                      <a:lnTo>
                        <a:pt x="19943" y="105194"/>
                      </a:lnTo>
                      <a:cubicBezTo>
                        <a:pt x="15636" y="107455"/>
                        <a:pt x="10503" y="107082"/>
                        <a:pt x="6568" y="104237"/>
                      </a:cubicBezTo>
                      <a:cubicBezTo>
                        <a:pt x="2632" y="101365"/>
                        <a:pt x="691" y="96605"/>
                        <a:pt x="1516" y="91819"/>
                      </a:cubicBezTo>
                      <a:lnTo>
                        <a:pt x="5371" y="69376"/>
                      </a:lnTo>
                      <a:lnTo>
                        <a:pt x="0" y="64935"/>
                      </a:lnTo>
                      <a:lnTo>
                        <a:pt x="8509" y="54618"/>
                      </a:lnTo>
                      <a:lnTo>
                        <a:pt x="16885" y="61532"/>
                      </a:lnTo>
                      <a:cubicBezTo>
                        <a:pt x="18747" y="63047"/>
                        <a:pt x="19624" y="65467"/>
                        <a:pt x="19225" y="67834"/>
                      </a:cubicBezTo>
                      <a:lnTo>
                        <a:pt x="14944" y="92750"/>
                      </a:lnTo>
                      <a:lnTo>
                        <a:pt x="37334" y="80970"/>
                      </a:lnTo>
                      <a:cubicBezTo>
                        <a:pt x="39275" y="79933"/>
                        <a:pt x="41615" y="79933"/>
                        <a:pt x="43556" y="80970"/>
                      </a:cubicBezTo>
                      <a:lnTo>
                        <a:pt x="65946" y="92750"/>
                      </a:lnTo>
                      <a:lnTo>
                        <a:pt x="61665" y="67834"/>
                      </a:lnTo>
                      <a:cubicBezTo>
                        <a:pt x="61292" y="65653"/>
                        <a:pt x="62010" y="63446"/>
                        <a:pt x="63579" y="61904"/>
                      </a:cubicBezTo>
                      <a:lnTo>
                        <a:pt x="81688" y="44248"/>
                      </a:lnTo>
                      <a:lnTo>
                        <a:pt x="56666" y="40605"/>
                      </a:lnTo>
                      <a:cubicBezTo>
                        <a:pt x="54485" y="40285"/>
                        <a:pt x="52597" y="38929"/>
                        <a:pt x="51613" y="36935"/>
                      </a:cubicBezTo>
                      <a:lnTo>
                        <a:pt x="40418" y="14253"/>
                      </a:lnTo>
                      <a:lnTo>
                        <a:pt x="29224" y="36935"/>
                      </a:lnTo>
                      <a:cubicBezTo>
                        <a:pt x="28240" y="38929"/>
                        <a:pt x="26299" y="40312"/>
                        <a:pt x="24091" y="40605"/>
                      </a:cubicBezTo>
                      <a:lnTo>
                        <a:pt x="15183" y="41775"/>
                      </a:lnTo>
                      <a:lnTo>
                        <a:pt x="13428" y="28506"/>
                      </a:lnTo>
                      <a:lnTo>
                        <a:pt x="18773" y="27788"/>
                      </a:lnTo>
                      <a:lnTo>
                        <a:pt x="28984" y="7073"/>
                      </a:lnTo>
                      <a:cubicBezTo>
                        <a:pt x="31138" y="2712"/>
                        <a:pt x="35499" y="0"/>
                        <a:pt x="40365" y="0"/>
                      </a:cubicBezTo>
                      <a:cubicBezTo>
                        <a:pt x="45231" y="0"/>
                        <a:pt x="49592" y="2712"/>
                        <a:pt x="51746" y="7073"/>
                      </a:cubicBezTo>
                      <a:lnTo>
                        <a:pt x="61984" y="27814"/>
                      </a:lnTo>
                      <a:lnTo>
                        <a:pt x="84879" y="31138"/>
                      </a:lnTo>
                      <a:cubicBezTo>
                        <a:pt x="89692" y="31830"/>
                        <a:pt x="93627" y="35153"/>
                        <a:pt x="95143" y="39780"/>
                      </a:cubicBezTo>
                      <a:cubicBezTo>
                        <a:pt x="96659" y="44407"/>
                        <a:pt x="95409" y="49406"/>
                        <a:pt x="91925" y="52810"/>
                      </a:cubicBezTo>
                      <a:lnTo>
                        <a:pt x="75359" y="68951"/>
                      </a:lnTo>
                      <a:lnTo>
                        <a:pt x="79268" y="91766"/>
                      </a:lnTo>
                      <a:cubicBezTo>
                        <a:pt x="80092" y="96552"/>
                        <a:pt x="78151" y="101339"/>
                        <a:pt x="74216" y="104184"/>
                      </a:cubicBezTo>
                      <a:cubicBezTo>
                        <a:pt x="72062" y="105832"/>
                        <a:pt x="69456" y="106657"/>
                        <a:pt x="66823" y="106657"/>
                      </a:cubicBezTo>
                      <a:close/>
                    </a:path>
                  </a:pathLst>
                </a:custGeom>
                <a:solidFill>
                  <a:schemeClr val="accent1"/>
                </a:solidFill>
                <a:ln w="2655" cap="flat">
                  <a:noFill/>
                  <a:prstDash val="solid"/>
                  <a:miter/>
                </a:ln>
              </p:spPr>
              <p:txBody>
                <a:bodyPr rtlCol="0" anchor="ctr"/>
                <a:lstStyle/>
                <a:p>
                  <a:endParaRPr lang="en-GB" dirty="0"/>
                </a:p>
              </p:txBody>
            </p:sp>
            <p:sp>
              <p:nvSpPr>
                <p:cNvPr id="352" name="Freihandform: Form 942">
                  <a:extLst>
                    <a:ext uri="{FF2B5EF4-FFF2-40B4-BE49-F238E27FC236}">
                      <a16:creationId xmlns:a16="http://schemas.microsoft.com/office/drawing/2014/main" id="{FF71B5A5-A8AB-4E3E-823C-A8F60847DE60}"/>
                    </a:ext>
                  </a:extLst>
                </p:cNvPr>
                <p:cNvSpPr/>
                <p:nvPr/>
              </p:nvSpPr>
              <p:spPr>
                <a:xfrm>
                  <a:off x="6159549" y="1784602"/>
                  <a:ext cx="95936" cy="106609"/>
                </a:xfrm>
                <a:custGeom>
                  <a:avLst/>
                  <a:gdLst>
                    <a:gd name="connsiteX0" fmla="*/ 81817 w 95936"/>
                    <a:gd name="connsiteY0" fmla="*/ 106604 h 106609"/>
                    <a:gd name="connsiteX1" fmla="*/ 75887 w 95936"/>
                    <a:gd name="connsiteY1" fmla="*/ 105141 h 106609"/>
                    <a:gd name="connsiteX2" fmla="*/ 55412 w 95936"/>
                    <a:gd name="connsiteY2" fmla="*/ 94372 h 106609"/>
                    <a:gd name="connsiteX3" fmla="*/ 34937 w 95936"/>
                    <a:gd name="connsiteY3" fmla="*/ 105141 h 106609"/>
                    <a:gd name="connsiteX4" fmla="*/ 21562 w 95936"/>
                    <a:gd name="connsiteY4" fmla="*/ 104184 h 106609"/>
                    <a:gd name="connsiteX5" fmla="*/ 16509 w 95936"/>
                    <a:gd name="connsiteY5" fmla="*/ 91766 h 106609"/>
                    <a:gd name="connsiteX6" fmla="*/ 20418 w 95936"/>
                    <a:gd name="connsiteY6" fmla="*/ 68951 h 106609"/>
                    <a:gd name="connsiteX7" fmla="*/ 3852 w 95936"/>
                    <a:gd name="connsiteY7" fmla="*/ 52783 h 106609"/>
                    <a:gd name="connsiteX8" fmla="*/ 634 w 95936"/>
                    <a:gd name="connsiteY8" fmla="*/ 39780 h 106609"/>
                    <a:gd name="connsiteX9" fmla="*/ 10899 w 95936"/>
                    <a:gd name="connsiteY9" fmla="*/ 31138 h 106609"/>
                    <a:gd name="connsiteX10" fmla="*/ 33794 w 95936"/>
                    <a:gd name="connsiteY10" fmla="*/ 27814 h 106609"/>
                    <a:gd name="connsiteX11" fmla="*/ 44031 w 95936"/>
                    <a:gd name="connsiteY11" fmla="*/ 7073 h 106609"/>
                    <a:gd name="connsiteX12" fmla="*/ 55412 w 95936"/>
                    <a:gd name="connsiteY12" fmla="*/ 0 h 106609"/>
                    <a:gd name="connsiteX13" fmla="*/ 66793 w 95936"/>
                    <a:gd name="connsiteY13" fmla="*/ 7073 h 106609"/>
                    <a:gd name="connsiteX14" fmla="*/ 77110 w 95936"/>
                    <a:gd name="connsiteY14" fmla="*/ 28000 h 106609"/>
                    <a:gd name="connsiteX15" fmla="*/ 83333 w 95936"/>
                    <a:gd name="connsiteY15" fmla="*/ 29170 h 106609"/>
                    <a:gd name="connsiteX16" fmla="*/ 80833 w 95936"/>
                    <a:gd name="connsiteY16" fmla="*/ 42306 h 106609"/>
                    <a:gd name="connsiteX17" fmla="*/ 71340 w 95936"/>
                    <a:gd name="connsiteY17" fmla="*/ 40498 h 106609"/>
                    <a:gd name="connsiteX18" fmla="*/ 66580 w 95936"/>
                    <a:gd name="connsiteY18" fmla="*/ 36882 h 106609"/>
                    <a:gd name="connsiteX19" fmla="*/ 55385 w 95936"/>
                    <a:gd name="connsiteY19" fmla="*/ 14200 h 106609"/>
                    <a:gd name="connsiteX20" fmla="*/ 44191 w 95936"/>
                    <a:gd name="connsiteY20" fmla="*/ 36882 h 106609"/>
                    <a:gd name="connsiteX21" fmla="*/ 39138 w 95936"/>
                    <a:gd name="connsiteY21" fmla="*/ 40551 h 106609"/>
                    <a:gd name="connsiteX22" fmla="*/ 14116 w 95936"/>
                    <a:gd name="connsiteY22" fmla="*/ 44194 h 106609"/>
                    <a:gd name="connsiteX23" fmla="*/ 32225 w 95936"/>
                    <a:gd name="connsiteY23" fmla="*/ 61851 h 106609"/>
                    <a:gd name="connsiteX24" fmla="*/ 34139 w 95936"/>
                    <a:gd name="connsiteY24" fmla="*/ 67781 h 106609"/>
                    <a:gd name="connsiteX25" fmla="*/ 29858 w 95936"/>
                    <a:gd name="connsiteY25" fmla="*/ 92696 h 106609"/>
                    <a:gd name="connsiteX26" fmla="*/ 52248 w 95936"/>
                    <a:gd name="connsiteY26" fmla="*/ 80917 h 106609"/>
                    <a:gd name="connsiteX27" fmla="*/ 58470 w 95936"/>
                    <a:gd name="connsiteY27" fmla="*/ 80917 h 106609"/>
                    <a:gd name="connsiteX28" fmla="*/ 80860 w 95936"/>
                    <a:gd name="connsiteY28" fmla="*/ 92696 h 106609"/>
                    <a:gd name="connsiteX29" fmla="*/ 76579 w 95936"/>
                    <a:gd name="connsiteY29" fmla="*/ 67781 h 106609"/>
                    <a:gd name="connsiteX30" fmla="*/ 78147 w 95936"/>
                    <a:gd name="connsiteY30" fmla="*/ 62250 h 106609"/>
                    <a:gd name="connsiteX31" fmla="*/ 85859 w 95936"/>
                    <a:gd name="connsiteY31" fmla="*/ 53448 h 106609"/>
                    <a:gd name="connsiteX32" fmla="*/ 95937 w 95936"/>
                    <a:gd name="connsiteY32" fmla="*/ 62250 h 106609"/>
                    <a:gd name="connsiteX33" fmla="*/ 90326 w 95936"/>
                    <a:gd name="connsiteY33" fmla="*/ 68658 h 106609"/>
                    <a:gd name="connsiteX34" fmla="*/ 94288 w 95936"/>
                    <a:gd name="connsiteY34" fmla="*/ 91792 h 106609"/>
                    <a:gd name="connsiteX35" fmla="*/ 89236 w 95936"/>
                    <a:gd name="connsiteY35" fmla="*/ 104210 h 106609"/>
                    <a:gd name="connsiteX36" fmla="*/ 81817 w 95936"/>
                    <a:gd name="connsiteY36" fmla="*/ 106604 h 10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95936" h="106609">
                      <a:moveTo>
                        <a:pt x="81817" y="106604"/>
                      </a:moveTo>
                      <a:cubicBezTo>
                        <a:pt x="79796" y="106604"/>
                        <a:pt x="77775" y="106125"/>
                        <a:pt x="75887" y="105141"/>
                      </a:cubicBezTo>
                      <a:lnTo>
                        <a:pt x="55412" y="94372"/>
                      </a:lnTo>
                      <a:lnTo>
                        <a:pt x="34937" y="105141"/>
                      </a:lnTo>
                      <a:cubicBezTo>
                        <a:pt x="30629" y="107401"/>
                        <a:pt x="25497" y="107029"/>
                        <a:pt x="21562" y="104184"/>
                      </a:cubicBezTo>
                      <a:cubicBezTo>
                        <a:pt x="17626" y="101312"/>
                        <a:pt x="15685" y="96552"/>
                        <a:pt x="16509" y="91766"/>
                      </a:cubicBezTo>
                      <a:lnTo>
                        <a:pt x="20418" y="68951"/>
                      </a:lnTo>
                      <a:lnTo>
                        <a:pt x="3852" y="52783"/>
                      </a:lnTo>
                      <a:cubicBezTo>
                        <a:pt x="369" y="49380"/>
                        <a:pt x="-881" y="44407"/>
                        <a:pt x="634" y="39780"/>
                      </a:cubicBezTo>
                      <a:cubicBezTo>
                        <a:pt x="2150" y="35153"/>
                        <a:pt x="6059" y="31830"/>
                        <a:pt x="10899" y="31138"/>
                      </a:cubicBezTo>
                      <a:lnTo>
                        <a:pt x="33794" y="27814"/>
                      </a:lnTo>
                      <a:lnTo>
                        <a:pt x="44031" y="7073"/>
                      </a:lnTo>
                      <a:cubicBezTo>
                        <a:pt x="46185" y="2712"/>
                        <a:pt x="50546" y="0"/>
                        <a:pt x="55412" y="0"/>
                      </a:cubicBezTo>
                      <a:cubicBezTo>
                        <a:pt x="60278" y="0"/>
                        <a:pt x="64639" y="2712"/>
                        <a:pt x="66793" y="7073"/>
                      </a:cubicBezTo>
                      <a:lnTo>
                        <a:pt x="77110" y="28000"/>
                      </a:lnTo>
                      <a:lnTo>
                        <a:pt x="83333" y="29170"/>
                      </a:lnTo>
                      <a:lnTo>
                        <a:pt x="80833" y="42306"/>
                      </a:lnTo>
                      <a:lnTo>
                        <a:pt x="71340" y="40498"/>
                      </a:lnTo>
                      <a:cubicBezTo>
                        <a:pt x="69266" y="40099"/>
                        <a:pt x="67511" y="38770"/>
                        <a:pt x="66580" y="36882"/>
                      </a:cubicBezTo>
                      <a:lnTo>
                        <a:pt x="55385" y="14200"/>
                      </a:lnTo>
                      <a:lnTo>
                        <a:pt x="44191" y="36882"/>
                      </a:lnTo>
                      <a:cubicBezTo>
                        <a:pt x="43207" y="38850"/>
                        <a:pt x="41319" y="40232"/>
                        <a:pt x="39138" y="40551"/>
                      </a:cubicBezTo>
                      <a:lnTo>
                        <a:pt x="14116" y="44194"/>
                      </a:lnTo>
                      <a:lnTo>
                        <a:pt x="32225" y="61851"/>
                      </a:lnTo>
                      <a:cubicBezTo>
                        <a:pt x="33794" y="63393"/>
                        <a:pt x="34511" y="65600"/>
                        <a:pt x="34139" y="67781"/>
                      </a:cubicBezTo>
                      <a:lnTo>
                        <a:pt x="29858" y="92696"/>
                      </a:lnTo>
                      <a:lnTo>
                        <a:pt x="52248" y="80917"/>
                      </a:lnTo>
                      <a:cubicBezTo>
                        <a:pt x="54189" y="79880"/>
                        <a:pt x="56529" y="79880"/>
                        <a:pt x="58470" y="80917"/>
                      </a:cubicBezTo>
                      <a:lnTo>
                        <a:pt x="80860" y="92696"/>
                      </a:lnTo>
                      <a:lnTo>
                        <a:pt x="76579" y="67781"/>
                      </a:lnTo>
                      <a:cubicBezTo>
                        <a:pt x="76233" y="65786"/>
                        <a:pt x="76818" y="63765"/>
                        <a:pt x="78147" y="62250"/>
                      </a:cubicBezTo>
                      <a:lnTo>
                        <a:pt x="85859" y="53448"/>
                      </a:lnTo>
                      <a:lnTo>
                        <a:pt x="95937" y="62250"/>
                      </a:lnTo>
                      <a:lnTo>
                        <a:pt x="90326" y="68658"/>
                      </a:lnTo>
                      <a:lnTo>
                        <a:pt x="94288" y="91792"/>
                      </a:lnTo>
                      <a:cubicBezTo>
                        <a:pt x="95112" y="96579"/>
                        <a:pt x="93171" y="101365"/>
                        <a:pt x="89236" y="104210"/>
                      </a:cubicBezTo>
                      <a:cubicBezTo>
                        <a:pt x="87029" y="105779"/>
                        <a:pt x="84423" y="106604"/>
                        <a:pt x="81817" y="106604"/>
                      </a:cubicBezTo>
                      <a:close/>
                    </a:path>
                  </a:pathLst>
                </a:custGeom>
                <a:solidFill>
                  <a:schemeClr val="accent1"/>
                </a:solidFill>
                <a:ln w="2655" cap="flat">
                  <a:noFill/>
                  <a:prstDash val="solid"/>
                  <a:miter/>
                </a:ln>
              </p:spPr>
              <p:txBody>
                <a:bodyPr rtlCol="0" anchor="ctr"/>
                <a:lstStyle/>
                <a:p>
                  <a:endParaRPr lang="en-GB" dirty="0"/>
                </a:p>
              </p:txBody>
            </p:sp>
          </p:grpSp>
          <p:sp>
            <p:nvSpPr>
              <p:cNvPr id="349" name="Freihandform: Form 944">
                <a:extLst>
                  <a:ext uri="{FF2B5EF4-FFF2-40B4-BE49-F238E27FC236}">
                    <a16:creationId xmlns:a16="http://schemas.microsoft.com/office/drawing/2014/main" id="{62ADE6D4-DB8B-45DD-95EA-6C282C56782E}"/>
                  </a:ext>
                </a:extLst>
              </p:cNvPr>
              <p:cNvSpPr/>
              <p:nvPr/>
            </p:nvSpPr>
            <p:spPr>
              <a:xfrm>
                <a:off x="6474929" y="1660489"/>
                <a:ext cx="83601" cy="81328"/>
              </a:xfrm>
              <a:custGeom>
                <a:avLst/>
                <a:gdLst>
                  <a:gd name="connsiteX0" fmla="*/ 27987 w 83601"/>
                  <a:gd name="connsiteY0" fmla="*/ 81328 h 81328"/>
                  <a:gd name="connsiteX1" fmla="*/ 23281 w 83601"/>
                  <a:gd name="connsiteY1" fmla="*/ 79387 h 81328"/>
                  <a:gd name="connsiteX2" fmla="*/ 1981 w 83601"/>
                  <a:gd name="connsiteY2" fmla="*/ 58300 h 81328"/>
                  <a:gd name="connsiteX3" fmla="*/ 1928 w 83601"/>
                  <a:gd name="connsiteY3" fmla="*/ 48834 h 81328"/>
                  <a:gd name="connsiteX4" fmla="*/ 11394 w 83601"/>
                  <a:gd name="connsiteY4" fmla="*/ 48781 h 81328"/>
                  <a:gd name="connsiteX5" fmla="*/ 27110 w 83601"/>
                  <a:gd name="connsiteY5" fmla="*/ 64363 h 81328"/>
                  <a:gd name="connsiteX6" fmla="*/ 71490 w 83601"/>
                  <a:gd name="connsiteY6" fmla="*/ 2778 h 81328"/>
                  <a:gd name="connsiteX7" fmla="*/ 80824 w 83601"/>
                  <a:gd name="connsiteY7" fmla="*/ 1263 h 81328"/>
                  <a:gd name="connsiteX8" fmla="*/ 82339 w 83601"/>
                  <a:gd name="connsiteY8" fmla="*/ 10596 h 81328"/>
                  <a:gd name="connsiteX9" fmla="*/ 33385 w 83601"/>
                  <a:gd name="connsiteY9" fmla="*/ 78510 h 81328"/>
                  <a:gd name="connsiteX10" fmla="*/ 28519 w 83601"/>
                  <a:gd name="connsiteY10" fmla="*/ 81275 h 81328"/>
                  <a:gd name="connsiteX11" fmla="*/ 27987 w 83601"/>
                  <a:gd name="connsiteY11" fmla="*/ 81328 h 8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601" h="81328">
                    <a:moveTo>
                      <a:pt x="27987" y="81328"/>
                    </a:moveTo>
                    <a:cubicBezTo>
                      <a:pt x="26232" y="81328"/>
                      <a:pt x="24530" y="80637"/>
                      <a:pt x="23281" y="79387"/>
                    </a:cubicBezTo>
                    <a:lnTo>
                      <a:pt x="1981" y="58300"/>
                    </a:lnTo>
                    <a:cubicBezTo>
                      <a:pt x="-651" y="55694"/>
                      <a:pt x="-651" y="51466"/>
                      <a:pt x="1928" y="48834"/>
                    </a:cubicBezTo>
                    <a:cubicBezTo>
                      <a:pt x="4534" y="46201"/>
                      <a:pt x="8762" y="46201"/>
                      <a:pt x="11394" y="48781"/>
                    </a:cubicBezTo>
                    <a:lnTo>
                      <a:pt x="27110" y="64363"/>
                    </a:lnTo>
                    <a:lnTo>
                      <a:pt x="71490" y="2778"/>
                    </a:lnTo>
                    <a:cubicBezTo>
                      <a:pt x="73644" y="-227"/>
                      <a:pt x="77845" y="-891"/>
                      <a:pt x="80824" y="1263"/>
                    </a:cubicBezTo>
                    <a:cubicBezTo>
                      <a:pt x="83828" y="3416"/>
                      <a:pt x="84493" y="7618"/>
                      <a:pt x="82339" y="10596"/>
                    </a:cubicBezTo>
                    <a:lnTo>
                      <a:pt x="33385" y="78510"/>
                    </a:lnTo>
                    <a:cubicBezTo>
                      <a:pt x="32242" y="80105"/>
                      <a:pt x="30460" y="81115"/>
                      <a:pt x="28519" y="81275"/>
                    </a:cubicBezTo>
                    <a:cubicBezTo>
                      <a:pt x="28359" y="81328"/>
                      <a:pt x="28173" y="81328"/>
                      <a:pt x="27987" y="81328"/>
                    </a:cubicBezTo>
                    <a:close/>
                  </a:path>
                </a:pathLst>
              </a:custGeom>
              <a:solidFill>
                <a:schemeClr val="accent1"/>
              </a:solidFill>
              <a:ln w="2655" cap="flat">
                <a:noFill/>
                <a:prstDash val="solid"/>
                <a:miter/>
              </a:ln>
            </p:spPr>
            <p:txBody>
              <a:bodyPr rtlCol="0" anchor="ctr"/>
              <a:lstStyle/>
              <a:p>
                <a:endParaRPr lang="en-GB" dirty="0"/>
              </a:p>
            </p:txBody>
          </p:sp>
        </p:grpSp>
        <p:grpSp>
          <p:nvGrpSpPr>
            <p:cNvPr id="345" name="Gruppieren 992">
              <a:extLst>
                <a:ext uri="{FF2B5EF4-FFF2-40B4-BE49-F238E27FC236}">
                  <a16:creationId xmlns:a16="http://schemas.microsoft.com/office/drawing/2014/main" id="{B2203510-6CC6-4B4C-912D-A944D20DB11D}"/>
                </a:ext>
              </a:extLst>
            </p:cNvPr>
            <p:cNvGrpSpPr/>
            <p:nvPr/>
          </p:nvGrpSpPr>
          <p:grpSpPr>
            <a:xfrm>
              <a:off x="4951825" y="1593084"/>
              <a:ext cx="522063" cy="432000"/>
              <a:chOff x="6120430" y="1660209"/>
              <a:chExt cx="442688" cy="366318"/>
            </a:xfrm>
          </p:grpSpPr>
          <p:sp>
            <p:nvSpPr>
              <p:cNvPr id="346" name="Freihandform: Form 943">
                <a:extLst>
                  <a:ext uri="{FF2B5EF4-FFF2-40B4-BE49-F238E27FC236}">
                    <a16:creationId xmlns:a16="http://schemas.microsoft.com/office/drawing/2014/main" id="{463ECB72-001B-4CD3-A9F6-F0E3493BF1B0}"/>
                  </a:ext>
                </a:extLst>
              </p:cNvPr>
              <p:cNvSpPr/>
              <p:nvPr/>
            </p:nvSpPr>
            <p:spPr>
              <a:xfrm>
                <a:off x="6442714" y="1660209"/>
                <a:ext cx="120404" cy="120404"/>
              </a:xfrm>
              <a:custGeom>
                <a:avLst/>
                <a:gdLst>
                  <a:gd name="connsiteX0" fmla="*/ 60202 w 120404"/>
                  <a:gd name="connsiteY0" fmla="*/ 120404 h 120404"/>
                  <a:gd name="connsiteX1" fmla="*/ 0 w 120404"/>
                  <a:gd name="connsiteY1" fmla="*/ 60202 h 120404"/>
                  <a:gd name="connsiteX2" fmla="*/ 60202 w 120404"/>
                  <a:gd name="connsiteY2" fmla="*/ 0 h 120404"/>
                  <a:gd name="connsiteX3" fmla="*/ 73498 w 120404"/>
                  <a:gd name="connsiteY3" fmla="*/ 1489 h 120404"/>
                  <a:gd name="connsiteX4" fmla="*/ 78550 w 120404"/>
                  <a:gd name="connsiteY4" fmla="*/ 9493 h 120404"/>
                  <a:gd name="connsiteX5" fmla="*/ 70546 w 120404"/>
                  <a:gd name="connsiteY5" fmla="*/ 14545 h 120404"/>
                  <a:gd name="connsiteX6" fmla="*/ 60176 w 120404"/>
                  <a:gd name="connsiteY6" fmla="*/ 13402 h 120404"/>
                  <a:gd name="connsiteX7" fmla="*/ 13349 w 120404"/>
                  <a:gd name="connsiteY7" fmla="*/ 60229 h 120404"/>
                  <a:gd name="connsiteX8" fmla="*/ 60176 w 120404"/>
                  <a:gd name="connsiteY8" fmla="*/ 107056 h 120404"/>
                  <a:gd name="connsiteX9" fmla="*/ 107002 w 120404"/>
                  <a:gd name="connsiteY9" fmla="*/ 60229 h 120404"/>
                  <a:gd name="connsiteX10" fmla="*/ 105912 w 120404"/>
                  <a:gd name="connsiteY10" fmla="*/ 50151 h 120404"/>
                  <a:gd name="connsiteX11" fmla="*/ 111018 w 120404"/>
                  <a:gd name="connsiteY11" fmla="*/ 42173 h 120404"/>
                  <a:gd name="connsiteX12" fmla="*/ 118995 w 120404"/>
                  <a:gd name="connsiteY12" fmla="*/ 47279 h 120404"/>
                  <a:gd name="connsiteX13" fmla="*/ 120404 w 120404"/>
                  <a:gd name="connsiteY13" fmla="*/ 60229 h 120404"/>
                  <a:gd name="connsiteX14" fmla="*/ 60202 w 120404"/>
                  <a:gd name="connsiteY14" fmla="*/ 120404 h 120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0404" h="120404">
                    <a:moveTo>
                      <a:pt x="60202" y="120404"/>
                    </a:moveTo>
                    <a:cubicBezTo>
                      <a:pt x="27017" y="120404"/>
                      <a:pt x="0" y="93388"/>
                      <a:pt x="0" y="60202"/>
                    </a:cubicBezTo>
                    <a:cubicBezTo>
                      <a:pt x="0" y="27017"/>
                      <a:pt x="27017" y="0"/>
                      <a:pt x="60202" y="0"/>
                    </a:cubicBezTo>
                    <a:cubicBezTo>
                      <a:pt x="64696" y="0"/>
                      <a:pt x="69163" y="505"/>
                      <a:pt x="73498" y="1489"/>
                    </a:cubicBezTo>
                    <a:cubicBezTo>
                      <a:pt x="77087" y="2313"/>
                      <a:pt x="79374" y="5877"/>
                      <a:pt x="78550" y="9493"/>
                    </a:cubicBezTo>
                    <a:cubicBezTo>
                      <a:pt x="77726" y="13083"/>
                      <a:pt x="74189" y="15343"/>
                      <a:pt x="70546" y="14545"/>
                    </a:cubicBezTo>
                    <a:cubicBezTo>
                      <a:pt x="67169" y="13774"/>
                      <a:pt x="63686" y="13402"/>
                      <a:pt x="60176" y="13402"/>
                    </a:cubicBezTo>
                    <a:cubicBezTo>
                      <a:pt x="34356" y="13402"/>
                      <a:pt x="13349" y="34409"/>
                      <a:pt x="13349" y="60229"/>
                    </a:cubicBezTo>
                    <a:cubicBezTo>
                      <a:pt x="13349" y="86049"/>
                      <a:pt x="34356" y="107056"/>
                      <a:pt x="60176" y="107056"/>
                    </a:cubicBezTo>
                    <a:cubicBezTo>
                      <a:pt x="85995" y="107056"/>
                      <a:pt x="107002" y="86049"/>
                      <a:pt x="107002" y="60229"/>
                    </a:cubicBezTo>
                    <a:cubicBezTo>
                      <a:pt x="107002" y="56825"/>
                      <a:pt x="106630" y="53448"/>
                      <a:pt x="105912" y="50151"/>
                    </a:cubicBezTo>
                    <a:cubicBezTo>
                      <a:pt x="105114" y="46534"/>
                      <a:pt x="107401" y="42971"/>
                      <a:pt x="111018" y="42173"/>
                    </a:cubicBezTo>
                    <a:cubicBezTo>
                      <a:pt x="114634" y="41376"/>
                      <a:pt x="118197" y="43663"/>
                      <a:pt x="118995" y="47279"/>
                    </a:cubicBezTo>
                    <a:cubicBezTo>
                      <a:pt x="119926" y="51507"/>
                      <a:pt x="120404" y="55868"/>
                      <a:pt x="120404" y="60229"/>
                    </a:cubicBezTo>
                    <a:cubicBezTo>
                      <a:pt x="120404" y="93388"/>
                      <a:pt x="93414" y="120404"/>
                      <a:pt x="60202" y="120404"/>
                    </a:cubicBezTo>
                    <a:close/>
                  </a:path>
                </a:pathLst>
              </a:custGeom>
              <a:solidFill>
                <a:schemeClr val="tx2"/>
              </a:solidFill>
              <a:ln w="2655" cap="flat">
                <a:noFill/>
                <a:prstDash val="solid"/>
                <a:miter/>
              </a:ln>
            </p:spPr>
            <p:txBody>
              <a:bodyPr rtlCol="0" anchor="ctr"/>
              <a:lstStyle/>
              <a:p>
                <a:endParaRPr lang="en-GB" dirty="0"/>
              </a:p>
            </p:txBody>
          </p:sp>
          <p:sp>
            <p:nvSpPr>
              <p:cNvPr id="347" name="Freihandform: Form 945">
                <a:extLst>
                  <a:ext uri="{FF2B5EF4-FFF2-40B4-BE49-F238E27FC236}">
                    <a16:creationId xmlns:a16="http://schemas.microsoft.com/office/drawing/2014/main" id="{192446EF-4B88-4EAF-A41C-C469891E5086}"/>
                  </a:ext>
                </a:extLst>
              </p:cNvPr>
              <p:cNvSpPr/>
              <p:nvPr/>
            </p:nvSpPr>
            <p:spPr>
              <a:xfrm>
                <a:off x="6120430" y="1707036"/>
                <a:ext cx="387990" cy="319491"/>
              </a:xfrm>
              <a:custGeom>
                <a:avLst/>
                <a:gdLst>
                  <a:gd name="connsiteX0" fmla="*/ 193982 w 387990"/>
                  <a:gd name="connsiteY0" fmla="*/ 319492 h 319491"/>
                  <a:gd name="connsiteX1" fmla="*/ 182016 w 387990"/>
                  <a:gd name="connsiteY1" fmla="*/ 312099 h 319491"/>
                  <a:gd name="connsiteX2" fmla="*/ 149708 w 387990"/>
                  <a:gd name="connsiteY2" fmla="*/ 247483 h 319491"/>
                  <a:gd name="connsiteX3" fmla="*/ 40126 w 387990"/>
                  <a:gd name="connsiteY3" fmla="*/ 247483 h 319491"/>
                  <a:gd name="connsiteX4" fmla="*/ 0 w 387990"/>
                  <a:gd name="connsiteY4" fmla="*/ 207357 h 319491"/>
                  <a:gd name="connsiteX5" fmla="*/ 0 w 387990"/>
                  <a:gd name="connsiteY5" fmla="*/ 40126 h 319491"/>
                  <a:gd name="connsiteX6" fmla="*/ 40126 w 387990"/>
                  <a:gd name="connsiteY6" fmla="*/ 0 h 319491"/>
                  <a:gd name="connsiteX7" fmla="*/ 327761 w 387990"/>
                  <a:gd name="connsiteY7" fmla="*/ 0 h 319491"/>
                  <a:gd name="connsiteX8" fmla="*/ 334462 w 387990"/>
                  <a:gd name="connsiteY8" fmla="*/ 6701 h 319491"/>
                  <a:gd name="connsiteX9" fmla="*/ 327761 w 387990"/>
                  <a:gd name="connsiteY9" fmla="*/ 13402 h 319491"/>
                  <a:gd name="connsiteX10" fmla="*/ 40126 w 387990"/>
                  <a:gd name="connsiteY10" fmla="*/ 13402 h 319491"/>
                  <a:gd name="connsiteX11" fmla="*/ 13375 w 387990"/>
                  <a:gd name="connsiteY11" fmla="*/ 40153 h 319491"/>
                  <a:gd name="connsiteX12" fmla="*/ 13375 w 387990"/>
                  <a:gd name="connsiteY12" fmla="*/ 207384 h 319491"/>
                  <a:gd name="connsiteX13" fmla="*/ 40126 w 387990"/>
                  <a:gd name="connsiteY13" fmla="*/ 234134 h 319491"/>
                  <a:gd name="connsiteX14" fmla="*/ 153856 w 387990"/>
                  <a:gd name="connsiteY14" fmla="*/ 234134 h 319491"/>
                  <a:gd name="connsiteX15" fmla="*/ 159839 w 387990"/>
                  <a:gd name="connsiteY15" fmla="*/ 237831 h 319491"/>
                  <a:gd name="connsiteX16" fmla="*/ 193982 w 387990"/>
                  <a:gd name="connsiteY16" fmla="*/ 306143 h 319491"/>
                  <a:gd name="connsiteX17" fmla="*/ 228125 w 387990"/>
                  <a:gd name="connsiteY17" fmla="*/ 237831 h 319491"/>
                  <a:gd name="connsiteX18" fmla="*/ 234108 w 387990"/>
                  <a:gd name="connsiteY18" fmla="*/ 234134 h 319491"/>
                  <a:gd name="connsiteX19" fmla="*/ 347838 w 387990"/>
                  <a:gd name="connsiteY19" fmla="*/ 234134 h 319491"/>
                  <a:gd name="connsiteX20" fmla="*/ 374588 w 387990"/>
                  <a:gd name="connsiteY20" fmla="*/ 207384 h 319491"/>
                  <a:gd name="connsiteX21" fmla="*/ 374588 w 387990"/>
                  <a:gd name="connsiteY21" fmla="*/ 93654 h 319491"/>
                  <a:gd name="connsiteX22" fmla="*/ 381289 w 387990"/>
                  <a:gd name="connsiteY22" fmla="*/ 86953 h 319491"/>
                  <a:gd name="connsiteX23" fmla="*/ 387990 w 387990"/>
                  <a:gd name="connsiteY23" fmla="*/ 93654 h 319491"/>
                  <a:gd name="connsiteX24" fmla="*/ 387990 w 387990"/>
                  <a:gd name="connsiteY24" fmla="*/ 207357 h 319491"/>
                  <a:gd name="connsiteX25" fmla="*/ 347864 w 387990"/>
                  <a:gd name="connsiteY25" fmla="*/ 247483 h 319491"/>
                  <a:gd name="connsiteX26" fmla="*/ 238283 w 387990"/>
                  <a:gd name="connsiteY26" fmla="*/ 247483 h 319491"/>
                  <a:gd name="connsiteX27" fmla="*/ 205974 w 387990"/>
                  <a:gd name="connsiteY27" fmla="*/ 312099 h 319491"/>
                  <a:gd name="connsiteX28" fmla="*/ 193982 w 387990"/>
                  <a:gd name="connsiteY28" fmla="*/ 319492 h 31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87990" h="319491">
                    <a:moveTo>
                      <a:pt x="193982" y="319492"/>
                    </a:moveTo>
                    <a:cubicBezTo>
                      <a:pt x="188876" y="319492"/>
                      <a:pt x="184303" y="316646"/>
                      <a:pt x="182016" y="312099"/>
                    </a:cubicBezTo>
                    <a:lnTo>
                      <a:pt x="149708" y="247483"/>
                    </a:lnTo>
                    <a:lnTo>
                      <a:pt x="40126" y="247483"/>
                    </a:lnTo>
                    <a:cubicBezTo>
                      <a:pt x="18002" y="247483"/>
                      <a:pt x="0" y="229481"/>
                      <a:pt x="0" y="207357"/>
                    </a:cubicBezTo>
                    <a:lnTo>
                      <a:pt x="0" y="40126"/>
                    </a:lnTo>
                    <a:cubicBezTo>
                      <a:pt x="0" y="18002"/>
                      <a:pt x="18002" y="0"/>
                      <a:pt x="40126" y="0"/>
                    </a:cubicBezTo>
                    <a:lnTo>
                      <a:pt x="327761" y="0"/>
                    </a:lnTo>
                    <a:cubicBezTo>
                      <a:pt x="331458" y="0"/>
                      <a:pt x="334462" y="3005"/>
                      <a:pt x="334462" y="6701"/>
                    </a:cubicBezTo>
                    <a:cubicBezTo>
                      <a:pt x="334462" y="10397"/>
                      <a:pt x="331458" y="13402"/>
                      <a:pt x="327761" y="13402"/>
                    </a:cubicBezTo>
                    <a:lnTo>
                      <a:pt x="40126" y="13402"/>
                    </a:lnTo>
                    <a:cubicBezTo>
                      <a:pt x="25368" y="13402"/>
                      <a:pt x="13375" y="25394"/>
                      <a:pt x="13375" y="40153"/>
                    </a:cubicBezTo>
                    <a:lnTo>
                      <a:pt x="13375" y="207384"/>
                    </a:lnTo>
                    <a:cubicBezTo>
                      <a:pt x="13375" y="222142"/>
                      <a:pt x="25368" y="234134"/>
                      <a:pt x="40126" y="234134"/>
                    </a:cubicBezTo>
                    <a:lnTo>
                      <a:pt x="153856" y="234134"/>
                    </a:lnTo>
                    <a:cubicBezTo>
                      <a:pt x="156382" y="234134"/>
                      <a:pt x="158696" y="235570"/>
                      <a:pt x="159839" y="237831"/>
                    </a:cubicBezTo>
                    <a:lnTo>
                      <a:pt x="193982" y="306143"/>
                    </a:lnTo>
                    <a:lnTo>
                      <a:pt x="228125" y="237831"/>
                    </a:lnTo>
                    <a:cubicBezTo>
                      <a:pt x="229268" y="235570"/>
                      <a:pt x="231582" y="234134"/>
                      <a:pt x="234108" y="234134"/>
                    </a:cubicBezTo>
                    <a:lnTo>
                      <a:pt x="347838" y="234134"/>
                    </a:lnTo>
                    <a:cubicBezTo>
                      <a:pt x="362596" y="234134"/>
                      <a:pt x="374588" y="222142"/>
                      <a:pt x="374588" y="207384"/>
                    </a:cubicBezTo>
                    <a:lnTo>
                      <a:pt x="374588" y="93654"/>
                    </a:lnTo>
                    <a:cubicBezTo>
                      <a:pt x="374588" y="89958"/>
                      <a:pt x="377593" y="86953"/>
                      <a:pt x="381289" y="86953"/>
                    </a:cubicBezTo>
                    <a:cubicBezTo>
                      <a:pt x="384985" y="86953"/>
                      <a:pt x="387990" y="89958"/>
                      <a:pt x="387990" y="93654"/>
                    </a:cubicBezTo>
                    <a:lnTo>
                      <a:pt x="387990" y="207357"/>
                    </a:lnTo>
                    <a:cubicBezTo>
                      <a:pt x="387990" y="229481"/>
                      <a:pt x="369988" y="247483"/>
                      <a:pt x="347864" y="247483"/>
                    </a:cubicBezTo>
                    <a:lnTo>
                      <a:pt x="238283" y="247483"/>
                    </a:lnTo>
                    <a:lnTo>
                      <a:pt x="205974" y="312099"/>
                    </a:lnTo>
                    <a:cubicBezTo>
                      <a:pt x="203661" y="316673"/>
                      <a:pt x="199087" y="319492"/>
                      <a:pt x="193982" y="319492"/>
                    </a:cubicBezTo>
                    <a:close/>
                  </a:path>
                </a:pathLst>
              </a:custGeom>
              <a:solidFill>
                <a:schemeClr val="tx2"/>
              </a:solidFill>
              <a:ln w="2655" cap="flat">
                <a:noFill/>
                <a:prstDash val="solid"/>
                <a:miter/>
              </a:ln>
            </p:spPr>
            <p:txBody>
              <a:bodyPr rtlCol="0" anchor="ctr"/>
              <a:lstStyle/>
              <a:p>
                <a:endParaRPr lang="en-GB" dirty="0"/>
              </a:p>
            </p:txBody>
          </p:sp>
        </p:grpSp>
      </p:grpSp>
      <p:grpSp>
        <p:nvGrpSpPr>
          <p:cNvPr id="629" name="Group 628">
            <a:extLst>
              <a:ext uri="{FF2B5EF4-FFF2-40B4-BE49-F238E27FC236}">
                <a16:creationId xmlns:a16="http://schemas.microsoft.com/office/drawing/2014/main" id="{1BD3F581-CE2D-4D3F-6098-D03D1CC97C9F}"/>
              </a:ext>
            </a:extLst>
          </p:cNvPr>
          <p:cNvGrpSpPr/>
          <p:nvPr/>
        </p:nvGrpSpPr>
        <p:grpSpPr>
          <a:xfrm>
            <a:off x="6083557" y="1593084"/>
            <a:ext cx="345688" cy="432000"/>
            <a:chOff x="6083145" y="1593084"/>
            <a:chExt cx="345688" cy="432000"/>
          </a:xfrm>
        </p:grpSpPr>
        <p:sp>
          <p:nvSpPr>
            <p:cNvPr id="354" name="Freihandform: Form 763">
              <a:extLst>
                <a:ext uri="{FF2B5EF4-FFF2-40B4-BE49-F238E27FC236}">
                  <a16:creationId xmlns:a16="http://schemas.microsoft.com/office/drawing/2014/main" id="{327B746C-64C1-4291-A4BC-76099C8F6D62}"/>
                </a:ext>
              </a:extLst>
            </p:cNvPr>
            <p:cNvSpPr/>
            <p:nvPr/>
          </p:nvSpPr>
          <p:spPr>
            <a:xfrm>
              <a:off x="6167618" y="1891525"/>
              <a:ext cx="174791" cy="133559"/>
            </a:xfrm>
            <a:custGeom>
              <a:avLst/>
              <a:gdLst>
                <a:gd name="connsiteX0" fmla="*/ 142154 w 148839"/>
                <a:gd name="connsiteY0" fmla="*/ 113730 h 113729"/>
                <a:gd name="connsiteX1" fmla="*/ 6699 w 148839"/>
                <a:gd name="connsiteY1" fmla="*/ 113730 h 113729"/>
                <a:gd name="connsiteX2" fmla="*/ 1354 w 148839"/>
                <a:gd name="connsiteY2" fmla="*/ 111071 h 113729"/>
                <a:gd name="connsiteX3" fmla="*/ 264 w 148839"/>
                <a:gd name="connsiteY3" fmla="*/ 105194 h 113729"/>
                <a:gd name="connsiteX4" fmla="*/ 28876 w 148839"/>
                <a:gd name="connsiteY4" fmla="*/ 4866 h 113729"/>
                <a:gd name="connsiteX5" fmla="*/ 35311 w 148839"/>
                <a:gd name="connsiteY5" fmla="*/ 0 h 113729"/>
                <a:gd name="connsiteX6" fmla="*/ 115589 w 148839"/>
                <a:gd name="connsiteY6" fmla="*/ 0 h 113729"/>
                <a:gd name="connsiteX7" fmla="*/ 122051 w 148839"/>
                <a:gd name="connsiteY7" fmla="*/ 4973 h 113729"/>
                <a:gd name="connsiteX8" fmla="*/ 148615 w 148839"/>
                <a:gd name="connsiteY8" fmla="*/ 105301 h 113729"/>
                <a:gd name="connsiteX9" fmla="*/ 147445 w 148839"/>
                <a:gd name="connsiteY9" fmla="*/ 111098 h 113729"/>
                <a:gd name="connsiteX10" fmla="*/ 142154 w 148839"/>
                <a:gd name="connsiteY10" fmla="*/ 113730 h 113729"/>
                <a:gd name="connsiteX11" fmla="*/ 15554 w 148839"/>
                <a:gd name="connsiteY11" fmla="*/ 100355 h 113729"/>
                <a:gd name="connsiteX12" fmla="*/ 133458 w 148839"/>
                <a:gd name="connsiteY12" fmla="*/ 100355 h 113729"/>
                <a:gd name="connsiteX13" fmla="*/ 110430 w 148839"/>
                <a:gd name="connsiteY13" fmla="*/ 13402 h 113729"/>
                <a:gd name="connsiteX14" fmla="*/ 40363 w 148839"/>
                <a:gd name="connsiteY14" fmla="*/ 13402 h 113729"/>
                <a:gd name="connsiteX15" fmla="*/ 15554 w 148839"/>
                <a:gd name="connsiteY15" fmla="*/ 100355 h 113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8839" h="113729">
                  <a:moveTo>
                    <a:pt x="142154" y="113730"/>
                  </a:moveTo>
                  <a:lnTo>
                    <a:pt x="6699" y="113730"/>
                  </a:lnTo>
                  <a:cubicBezTo>
                    <a:pt x="4598" y="113730"/>
                    <a:pt x="2630" y="112746"/>
                    <a:pt x="1354" y="111071"/>
                  </a:cubicBezTo>
                  <a:cubicBezTo>
                    <a:pt x="78" y="109396"/>
                    <a:pt x="-321" y="107215"/>
                    <a:pt x="264" y="105194"/>
                  </a:cubicBezTo>
                  <a:lnTo>
                    <a:pt x="28876" y="4866"/>
                  </a:lnTo>
                  <a:cubicBezTo>
                    <a:pt x="29700" y="1994"/>
                    <a:pt x="32333" y="0"/>
                    <a:pt x="35311" y="0"/>
                  </a:cubicBezTo>
                  <a:lnTo>
                    <a:pt x="115589" y="0"/>
                  </a:lnTo>
                  <a:cubicBezTo>
                    <a:pt x="118620" y="0"/>
                    <a:pt x="121280" y="2048"/>
                    <a:pt x="122051" y="4973"/>
                  </a:cubicBezTo>
                  <a:lnTo>
                    <a:pt x="148615" y="105301"/>
                  </a:lnTo>
                  <a:cubicBezTo>
                    <a:pt x="149147" y="107295"/>
                    <a:pt x="148722" y="109449"/>
                    <a:pt x="147445" y="111098"/>
                  </a:cubicBezTo>
                  <a:cubicBezTo>
                    <a:pt x="146195" y="112773"/>
                    <a:pt x="144228" y="113730"/>
                    <a:pt x="142154" y="113730"/>
                  </a:cubicBezTo>
                  <a:close/>
                  <a:moveTo>
                    <a:pt x="15554" y="100355"/>
                  </a:moveTo>
                  <a:lnTo>
                    <a:pt x="133458" y="100355"/>
                  </a:lnTo>
                  <a:lnTo>
                    <a:pt x="110430" y="13402"/>
                  </a:lnTo>
                  <a:lnTo>
                    <a:pt x="40363" y="13402"/>
                  </a:lnTo>
                  <a:lnTo>
                    <a:pt x="15554" y="100355"/>
                  </a:lnTo>
                  <a:close/>
                </a:path>
              </a:pathLst>
            </a:custGeom>
            <a:solidFill>
              <a:schemeClr val="accent1"/>
            </a:solidFill>
            <a:ln w="2655" cap="flat">
              <a:noFill/>
              <a:prstDash val="solid"/>
              <a:miter/>
            </a:ln>
          </p:spPr>
          <p:txBody>
            <a:bodyPr rtlCol="0" anchor="ctr"/>
            <a:lstStyle/>
            <a:p>
              <a:endParaRPr lang="en-GB" dirty="0"/>
            </a:p>
          </p:txBody>
        </p:sp>
        <p:grpSp>
          <p:nvGrpSpPr>
            <p:cNvPr id="355" name="Grafik 307">
              <a:extLst>
                <a:ext uri="{FF2B5EF4-FFF2-40B4-BE49-F238E27FC236}">
                  <a16:creationId xmlns:a16="http://schemas.microsoft.com/office/drawing/2014/main" id="{BDDE8360-0579-4A0E-B7AF-41DFE2C72884}"/>
                </a:ext>
              </a:extLst>
            </p:cNvPr>
            <p:cNvGrpSpPr/>
            <p:nvPr/>
          </p:nvGrpSpPr>
          <p:grpSpPr>
            <a:xfrm>
              <a:off x="6117196" y="1593084"/>
              <a:ext cx="279491" cy="314179"/>
              <a:chOff x="7923262" y="1693687"/>
              <a:chExt cx="237994" cy="267532"/>
            </a:xfrm>
            <a:solidFill>
              <a:schemeClr val="tx2"/>
            </a:solidFill>
          </p:grpSpPr>
          <p:grpSp>
            <p:nvGrpSpPr>
              <p:cNvPr id="357" name="Grafik 307">
                <a:extLst>
                  <a:ext uri="{FF2B5EF4-FFF2-40B4-BE49-F238E27FC236}">
                    <a16:creationId xmlns:a16="http://schemas.microsoft.com/office/drawing/2014/main" id="{6AC07592-6C42-4883-8D53-4C24561A1555}"/>
                  </a:ext>
                </a:extLst>
              </p:cNvPr>
              <p:cNvGrpSpPr/>
              <p:nvPr/>
            </p:nvGrpSpPr>
            <p:grpSpPr>
              <a:xfrm>
                <a:off x="7970373" y="1881767"/>
                <a:ext cx="145382" cy="79373"/>
                <a:chOff x="7970373" y="1881767"/>
                <a:chExt cx="145382" cy="79373"/>
              </a:xfrm>
              <a:grpFill/>
            </p:grpSpPr>
            <p:sp>
              <p:nvSpPr>
                <p:cNvPr id="362" name="Freihandform: Form 766">
                  <a:extLst>
                    <a:ext uri="{FF2B5EF4-FFF2-40B4-BE49-F238E27FC236}">
                      <a16:creationId xmlns:a16="http://schemas.microsoft.com/office/drawing/2014/main" id="{35B0F2D5-7BB6-4F82-A160-09C5C2A2EB3F}"/>
                    </a:ext>
                  </a:extLst>
                </p:cNvPr>
                <p:cNvSpPr/>
                <p:nvPr/>
              </p:nvSpPr>
              <p:spPr>
                <a:xfrm>
                  <a:off x="8035466" y="1881767"/>
                  <a:ext cx="80290" cy="79373"/>
                </a:xfrm>
                <a:custGeom>
                  <a:avLst/>
                  <a:gdLst>
                    <a:gd name="connsiteX0" fmla="*/ 6701 w 80290"/>
                    <a:gd name="connsiteY0" fmla="*/ 79373 h 79373"/>
                    <a:gd name="connsiteX1" fmla="*/ 0 w 80290"/>
                    <a:gd name="connsiteY1" fmla="*/ 72673 h 79373"/>
                    <a:gd name="connsiteX2" fmla="*/ 0 w 80290"/>
                    <a:gd name="connsiteY2" fmla="*/ 49698 h 79373"/>
                    <a:gd name="connsiteX3" fmla="*/ 18162 w 80290"/>
                    <a:gd name="connsiteY3" fmla="*/ 31510 h 79373"/>
                    <a:gd name="connsiteX4" fmla="*/ 64377 w 80290"/>
                    <a:gd name="connsiteY4" fmla="*/ 31510 h 79373"/>
                    <a:gd name="connsiteX5" fmla="*/ 57038 w 80290"/>
                    <a:gd name="connsiteY5" fmla="*/ 8748 h 79373"/>
                    <a:gd name="connsiteX6" fmla="*/ 61345 w 80290"/>
                    <a:gd name="connsiteY6" fmla="*/ 318 h 79373"/>
                    <a:gd name="connsiteX7" fmla="*/ 69775 w 80290"/>
                    <a:gd name="connsiteY7" fmla="*/ 4626 h 79373"/>
                    <a:gd name="connsiteX8" fmla="*/ 79959 w 80290"/>
                    <a:gd name="connsiteY8" fmla="*/ 36110 h 79373"/>
                    <a:gd name="connsiteX9" fmla="*/ 79002 w 80290"/>
                    <a:gd name="connsiteY9" fmla="*/ 42093 h 79373"/>
                    <a:gd name="connsiteX10" fmla="*/ 73604 w 80290"/>
                    <a:gd name="connsiteY10" fmla="*/ 44858 h 79373"/>
                    <a:gd name="connsiteX11" fmla="*/ 18188 w 80290"/>
                    <a:gd name="connsiteY11" fmla="*/ 44858 h 79373"/>
                    <a:gd name="connsiteX12" fmla="*/ 13402 w 80290"/>
                    <a:gd name="connsiteY12" fmla="*/ 49645 h 79373"/>
                    <a:gd name="connsiteX13" fmla="*/ 13402 w 80290"/>
                    <a:gd name="connsiteY13" fmla="*/ 72619 h 79373"/>
                    <a:gd name="connsiteX14" fmla="*/ 6701 w 80290"/>
                    <a:gd name="connsiteY14" fmla="*/ 79373 h 79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290" h="79373">
                      <a:moveTo>
                        <a:pt x="6701" y="79373"/>
                      </a:moveTo>
                      <a:cubicBezTo>
                        <a:pt x="3005" y="79373"/>
                        <a:pt x="0" y="76369"/>
                        <a:pt x="0" y="72673"/>
                      </a:cubicBezTo>
                      <a:lnTo>
                        <a:pt x="0" y="49698"/>
                      </a:lnTo>
                      <a:cubicBezTo>
                        <a:pt x="0" y="39673"/>
                        <a:pt x="8163" y="31510"/>
                        <a:pt x="18162" y="31510"/>
                      </a:cubicBezTo>
                      <a:lnTo>
                        <a:pt x="64377" y="31510"/>
                      </a:lnTo>
                      <a:lnTo>
                        <a:pt x="57038" y="8748"/>
                      </a:lnTo>
                      <a:cubicBezTo>
                        <a:pt x="55894" y="5238"/>
                        <a:pt x="57836" y="1462"/>
                        <a:pt x="61345" y="318"/>
                      </a:cubicBezTo>
                      <a:cubicBezTo>
                        <a:pt x="64882" y="-799"/>
                        <a:pt x="68631" y="1116"/>
                        <a:pt x="69775" y="4626"/>
                      </a:cubicBezTo>
                      <a:lnTo>
                        <a:pt x="79959" y="36110"/>
                      </a:lnTo>
                      <a:cubicBezTo>
                        <a:pt x="80624" y="38157"/>
                        <a:pt x="80278" y="40364"/>
                        <a:pt x="79002" y="42093"/>
                      </a:cubicBezTo>
                      <a:cubicBezTo>
                        <a:pt x="77752" y="43821"/>
                        <a:pt x="75731" y="44858"/>
                        <a:pt x="73604" y="44858"/>
                      </a:cubicBezTo>
                      <a:lnTo>
                        <a:pt x="18188" y="44858"/>
                      </a:lnTo>
                      <a:cubicBezTo>
                        <a:pt x="15556" y="44858"/>
                        <a:pt x="13402" y="47012"/>
                        <a:pt x="13402" y="49645"/>
                      </a:cubicBezTo>
                      <a:lnTo>
                        <a:pt x="13402" y="72619"/>
                      </a:lnTo>
                      <a:cubicBezTo>
                        <a:pt x="13375" y="76369"/>
                        <a:pt x="10397" y="79373"/>
                        <a:pt x="6701" y="79373"/>
                      </a:cubicBezTo>
                      <a:close/>
                    </a:path>
                  </a:pathLst>
                </a:custGeom>
                <a:grpFill/>
                <a:ln w="2655" cap="flat">
                  <a:noFill/>
                  <a:prstDash val="solid"/>
                  <a:miter/>
                </a:ln>
              </p:spPr>
              <p:txBody>
                <a:bodyPr rtlCol="0" anchor="ctr"/>
                <a:lstStyle/>
                <a:p>
                  <a:endParaRPr lang="en-GB" dirty="0"/>
                </a:p>
              </p:txBody>
            </p:sp>
            <p:sp>
              <p:nvSpPr>
                <p:cNvPr id="363" name="Freihandform: Form 767">
                  <a:extLst>
                    <a:ext uri="{FF2B5EF4-FFF2-40B4-BE49-F238E27FC236}">
                      <a16:creationId xmlns:a16="http://schemas.microsoft.com/office/drawing/2014/main" id="{6D75E66E-D270-4488-AF51-882C24CC2D76}"/>
                    </a:ext>
                  </a:extLst>
                </p:cNvPr>
                <p:cNvSpPr/>
                <p:nvPr/>
              </p:nvSpPr>
              <p:spPr>
                <a:xfrm>
                  <a:off x="7970373" y="1882093"/>
                  <a:ext cx="78468" cy="79047"/>
                </a:xfrm>
                <a:custGeom>
                  <a:avLst/>
                  <a:gdLst>
                    <a:gd name="connsiteX0" fmla="*/ 71794 w 78468"/>
                    <a:gd name="connsiteY0" fmla="*/ 79047 h 79047"/>
                    <a:gd name="connsiteX1" fmla="*/ 65093 w 78468"/>
                    <a:gd name="connsiteY1" fmla="*/ 72346 h 79047"/>
                    <a:gd name="connsiteX2" fmla="*/ 65093 w 78468"/>
                    <a:gd name="connsiteY2" fmla="*/ 49372 h 79047"/>
                    <a:gd name="connsiteX3" fmla="*/ 60280 w 78468"/>
                    <a:gd name="connsiteY3" fmla="*/ 44585 h 79047"/>
                    <a:gd name="connsiteX4" fmla="*/ 6699 w 78468"/>
                    <a:gd name="connsiteY4" fmla="*/ 44585 h 79047"/>
                    <a:gd name="connsiteX5" fmla="*/ 1354 w 78468"/>
                    <a:gd name="connsiteY5" fmla="*/ 41926 h 79047"/>
                    <a:gd name="connsiteX6" fmla="*/ 264 w 78468"/>
                    <a:gd name="connsiteY6" fmla="*/ 36076 h 79047"/>
                    <a:gd name="connsiteX7" fmla="*/ 9172 w 78468"/>
                    <a:gd name="connsiteY7" fmla="*/ 4858 h 79047"/>
                    <a:gd name="connsiteX8" fmla="*/ 17441 w 78468"/>
                    <a:gd name="connsiteY8" fmla="*/ 258 h 79047"/>
                    <a:gd name="connsiteX9" fmla="*/ 22042 w 78468"/>
                    <a:gd name="connsiteY9" fmla="*/ 8528 h 79047"/>
                    <a:gd name="connsiteX10" fmla="*/ 15554 w 78468"/>
                    <a:gd name="connsiteY10" fmla="*/ 31210 h 79047"/>
                    <a:gd name="connsiteX11" fmla="*/ 60280 w 78468"/>
                    <a:gd name="connsiteY11" fmla="*/ 31210 h 79047"/>
                    <a:gd name="connsiteX12" fmla="*/ 78468 w 78468"/>
                    <a:gd name="connsiteY12" fmla="*/ 49398 h 79047"/>
                    <a:gd name="connsiteX13" fmla="*/ 78468 w 78468"/>
                    <a:gd name="connsiteY13" fmla="*/ 72373 h 79047"/>
                    <a:gd name="connsiteX14" fmla="*/ 71794 w 78468"/>
                    <a:gd name="connsiteY14" fmla="*/ 79047 h 79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468" h="79047">
                      <a:moveTo>
                        <a:pt x="71794" y="79047"/>
                      </a:moveTo>
                      <a:cubicBezTo>
                        <a:pt x="68098" y="79047"/>
                        <a:pt x="65093" y="76042"/>
                        <a:pt x="65093" y="72346"/>
                      </a:cubicBezTo>
                      <a:lnTo>
                        <a:pt x="65093" y="49372"/>
                      </a:lnTo>
                      <a:cubicBezTo>
                        <a:pt x="65093" y="46739"/>
                        <a:pt x="62939" y="44585"/>
                        <a:pt x="60280" y="44585"/>
                      </a:cubicBezTo>
                      <a:lnTo>
                        <a:pt x="6699" y="44585"/>
                      </a:lnTo>
                      <a:cubicBezTo>
                        <a:pt x="4598" y="44585"/>
                        <a:pt x="2630" y="43601"/>
                        <a:pt x="1354" y="41926"/>
                      </a:cubicBezTo>
                      <a:cubicBezTo>
                        <a:pt x="78" y="40251"/>
                        <a:pt x="-321" y="38070"/>
                        <a:pt x="264" y="36076"/>
                      </a:cubicBezTo>
                      <a:lnTo>
                        <a:pt x="9172" y="4858"/>
                      </a:lnTo>
                      <a:cubicBezTo>
                        <a:pt x="10182" y="1295"/>
                        <a:pt x="13905" y="-753"/>
                        <a:pt x="17441" y="258"/>
                      </a:cubicBezTo>
                      <a:cubicBezTo>
                        <a:pt x="21005" y="1268"/>
                        <a:pt x="23052" y="4964"/>
                        <a:pt x="22042" y="8528"/>
                      </a:cubicBezTo>
                      <a:lnTo>
                        <a:pt x="15554" y="31210"/>
                      </a:lnTo>
                      <a:lnTo>
                        <a:pt x="60280" y="31210"/>
                      </a:lnTo>
                      <a:cubicBezTo>
                        <a:pt x="70304" y="31210"/>
                        <a:pt x="78468" y="39373"/>
                        <a:pt x="78468" y="49398"/>
                      </a:cubicBezTo>
                      <a:lnTo>
                        <a:pt x="78468" y="72373"/>
                      </a:lnTo>
                      <a:cubicBezTo>
                        <a:pt x="78468" y="76042"/>
                        <a:pt x="75490" y="79047"/>
                        <a:pt x="71794" y="79047"/>
                      </a:cubicBezTo>
                      <a:close/>
                    </a:path>
                  </a:pathLst>
                </a:custGeom>
                <a:grpFill/>
                <a:ln w="2655" cap="flat">
                  <a:noFill/>
                  <a:prstDash val="solid"/>
                  <a:miter/>
                </a:ln>
              </p:spPr>
              <p:txBody>
                <a:bodyPr rtlCol="0" anchor="ctr"/>
                <a:lstStyle/>
                <a:p>
                  <a:endParaRPr lang="en-GB" dirty="0"/>
                </a:p>
              </p:txBody>
            </p:sp>
          </p:grpSp>
          <p:sp>
            <p:nvSpPr>
              <p:cNvPr id="358" name="Freihandform: Form 768">
                <a:extLst>
                  <a:ext uri="{FF2B5EF4-FFF2-40B4-BE49-F238E27FC236}">
                    <a16:creationId xmlns:a16="http://schemas.microsoft.com/office/drawing/2014/main" id="{8B938C0A-01F2-4AA3-9E7C-0D8762A7678D}"/>
                  </a:ext>
                </a:extLst>
              </p:cNvPr>
              <p:cNvSpPr/>
              <p:nvPr/>
            </p:nvSpPr>
            <p:spPr>
              <a:xfrm>
                <a:off x="8028871" y="1814038"/>
                <a:ext cx="26777" cy="13401"/>
              </a:xfrm>
              <a:custGeom>
                <a:avLst/>
                <a:gdLst>
                  <a:gd name="connsiteX0" fmla="*/ 20076 w 26777"/>
                  <a:gd name="connsiteY0" fmla="*/ 13402 h 13401"/>
                  <a:gd name="connsiteX1" fmla="*/ 6701 w 26777"/>
                  <a:gd name="connsiteY1" fmla="*/ 13402 h 13401"/>
                  <a:gd name="connsiteX2" fmla="*/ 0 w 26777"/>
                  <a:gd name="connsiteY2" fmla="*/ 6701 h 13401"/>
                  <a:gd name="connsiteX3" fmla="*/ 6701 w 26777"/>
                  <a:gd name="connsiteY3" fmla="*/ 0 h 13401"/>
                  <a:gd name="connsiteX4" fmla="*/ 20076 w 26777"/>
                  <a:gd name="connsiteY4" fmla="*/ 0 h 13401"/>
                  <a:gd name="connsiteX5" fmla="*/ 26777 w 26777"/>
                  <a:gd name="connsiteY5" fmla="*/ 6701 h 13401"/>
                  <a:gd name="connsiteX6" fmla="*/ 20076 w 26777"/>
                  <a:gd name="connsiteY6" fmla="*/ 13402 h 1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777" h="13401">
                    <a:moveTo>
                      <a:pt x="20076" y="13402"/>
                    </a:moveTo>
                    <a:lnTo>
                      <a:pt x="6701" y="13402"/>
                    </a:lnTo>
                    <a:cubicBezTo>
                      <a:pt x="3005" y="13402"/>
                      <a:pt x="0" y="10397"/>
                      <a:pt x="0" y="6701"/>
                    </a:cubicBezTo>
                    <a:cubicBezTo>
                      <a:pt x="0" y="3005"/>
                      <a:pt x="3005" y="0"/>
                      <a:pt x="6701" y="0"/>
                    </a:cubicBezTo>
                    <a:lnTo>
                      <a:pt x="20076" y="0"/>
                    </a:lnTo>
                    <a:cubicBezTo>
                      <a:pt x="23772" y="0"/>
                      <a:pt x="26777" y="3005"/>
                      <a:pt x="26777" y="6701"/>
                    </a:cubicBezTo>
                    <a:cubicBezTo>
                      <a:pt x="26777" y="10397"/>
                      <a:pt x="23772" y="13402"/>
                      <a:pt x="20076" y="13402"/>
                    </a:cubicBezTo>
                    <a:close/>
                  </a:path>
                </a:pathLst>
              </a:custGeom>
              <a:grpFill/>
              <a:ln w="2655" cap="flat">
                <a:noFill/>
                <a:prstDash val="solid"/>
                <a:miter/>
              </a:ln>
            </p:spPr>
            <p:txBody>
              <a:bodyPr rtlCol="0" anchor="ctr"/>
              <a:lstStyle/>
              <a:p>
                <a:endParaRPr lang="en-GB" dirty="0"/>
              </a:p>
            </p:txBody>
          </p:sp>
          <p:sp>
            <p:nvSpPr>
              <p:cNvPr id="359" name="Freihandform: Form 769">
                <a:extLst>
                  <a:ext uri="{FF2B5EF4-FFF2-40B4-BE49-F238E27FC236}">
                    <a16:creationId xmlns:a16="http://schemas.microsoft.com/office/drawing/2014/main" id="{82317E4C-2C39-4818-8A43-9B736C4DA44D}"/>
                  </a:ext>
                </a:extLst>
              </p:cNvPr>
              <p:cNvSpPr/>
              <p:nvPr/>
            </p:nvSpPr>
            <p:spPr>
              <a:xfrm>
                <a:off x="7995446" y="1693687"/>
                <a:ext cx="93653" cy="107002"/>
              </a:xfrm>
              <a:custGeom>
                <a:avLst/>
                <a:gdLst>
                  <a:gd name="connsiteX0" fmla="*/ 46827 w 93653"/>
                  <a:gd name="connsiteY0" fmla="*/ 107002 h 107002"/>
                  <a:gd name="connsiteX1" fmla="*/ 0 w 93653"/>
                  <a:gd name="connsiteY1" fmla="*/ 53501 h 107002"/>
                  <a:gd name="connsiteX2" fmla="*/ 46827 w 93653"/>
                  <a:gd name="connsiteY2" fmla="*/ 0 h 107002"/>
                  <a:gd name="connsiteX3" fmla="*/ 93654 w 93653"/>
                  <a:gd name="connsiteY3" fmla="*/ 53501 h 107002"/>
                  <a:gd name="connsiteX4" fmla="*/ 46827 w 93653"/>
                  <a:gd name="connsiteY4" fmla="*/ 107002 h 107002"/>
                  <a:gd name="connsiteX5" fmla="*/ 46827 w 93653"/>
                  <a:gd name="connsiteY5" fmla="*/ 13349 h 107002"/>
                  <a:gd name="connsiteX6" fmla="*/ 13375 w 93653"/>
                  <a:gd name="connsiteY6" fmla="*/ 53475 h 107002"/>
                  <a:gd name="connsiteX7" fmla="*/ 46827 w 93653"/>
                  <a:gd name="connsiteY7" fmla="*/ 93601 h 107002"/>
                  <a:gd name="connsiteX8" fmla="*/ 80279 w 93653"/>
                  <a:gd name="connsiteY8" fmla="*/ 53475 h 107002"/>
                  <a:gd name="connsiteX9" fmla="*/ 46827 w 93653"/>
                  <a:gd name="connsiteY9" fmla="*/ 13349 h 107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653" h="107002">
                    <a:moveTo>
                      <a:pt x="46827" y="107002"/>
                    </a:moveTo>
                    <a:cubicBezTo>
                      <a:pt x="18827" y="107002"/>
                      <a:pt x="0" y="85490"/>
                      <a:pt x="0" y="53501"/>
                    </a:cubicBezTo>
                    <a:cubicBezTo>
                      <a:pt x="0" y="21512"/>
                      <a:pt x="18827" y="0"/>
                      <a:pt x="46827" y="0"/>
                    </a:cubicBezTo>
                    <a:cubicBezTo>
                      <a:pt x="74827" y="0"/>
                      <a:pt x="93654" y="21512"/>
                      <a:pt x="93654" y="53501"/>
                    </a:cubicBezTo>
                    <a:cubicBezTo>
                      <a:pt x="93654" y="85490"/>
                      <a:pt x="74827" y="107002"/>
                      <a:pt x="46827" y="107002"/>
                    </a:cubicBezTo>
                    <a:close/>
                    <a:moveTo>
                      <a:pt x="46827" y="13349"/>
                    </a:moveTo>
                    <a:cubicBezTo>
                      <a:pt x="22151" y="13349"/>
                      <a:pt x="13375" y="34967"/>
                      <a:pt x="13375" y="53475"/>
                    </a:cubicBezTo>
                    <a:cubicBezTo>
                      <a:pt x="13375" y="71982"/>
                      <a:pt x="22124" y="93601"/>
                      <a:pt x="46827" y="93601"/>
                    </a:cubicBezTo>
                    <a:cubicBezTo>
                      <a:pt x="71503" y="93601"/>
                      <a:pt x="80279" y="71982"/>
                      <a:pt x="80279" y="53475"/>
                    </a:cubicBezTo>
                    <a:cubicBezTo>
                      <a:pt x="80279" y="34967"/>
                      <a:pt x="71503" y="13349"/>
                      <a:pt x="46827" y="13349"/>
                    </a:cubicBezTo>
                    <a:close/>
                  </a:path>
                </a:pathLst>
              </a:custGeom>
              <a:grpFill/>
              <a:ln w="2655" cap="flat">
                <a:noFill/>
                <a:prstDash val="solid"/>
                <a:miter/>
              </a:ln>
            </p:spPr>
            <p:txBody>
              <a:bodyPr rtlCol="0" anchor="ctr"/>
              <a:lstStyle/>
              <a:p>
                <a:endParaRPr lang="en-GB" dirty="0"/>
              </a:p>
            </p:txBody>
          </p:sp>
          <p:sp>
            <p:nvSpPr>
              <p:cNvPr id="360" name="Freihandform: Form 770">
                <a:extLst>
                  <a:ext uri="{FF2B5EF4-FFF2-40B4-BE49-F238E27FC236}">
                    <a16:creationId xmlns:a16="http://schemas.microsoft.com/office/drawing/2014/main" id="{F35508C0-AF8D-4CE6-BA59-D1DAB343B1C4}"/>
                  </a:ext>
                </a:extLst>
              </p:cNvPr>
              <p:cNvSpPr/>
              <p:nvPr/>
            </p:nvSpPr>
            <p:spPr>
              <a:xfrm>
                <a:off x="8035572" y="1814038"/>
                <a:ext cx="13401" cy="66903"/>
              </a:xfrm>
              <a:custGeom>
                <a:avLst/>
                <a:gdLst>
                  <a:gd name="connsiteX0" fmla="*/ 6701 w 13401"/>
                  <a:gd name="connsiteY0" fmla="*/ 66903 h 66903"/>
                  <a:gd name="connsiteX1" fmla="*/ 0 w 13401"/>
                  <a:gd name="connsiteY1" fmla="*/ 60202 h 66903"/>
                  <a:gd name="connsiteX2" fmla="*/ 0 w 13401"/>
                  <a:gd name="connsiteY2" fmla="*/ 6701 h 66903"/>
                  <a:gd name="connsiteX3" fmla="*/ 6701 w 13401"/>
                  <a:gd name="connsiteY3" fmla="*/ 0 h 66903"/>
                  <a:gd name="connsiteX4" fmla="*/ 13402 w 13401"/>
                  <a:gd name="connsiteY4" fmla="*/ 6701 h 66903"/>
                  <a:gd name="connsiteX5" fmla="*/ 13402 w 13401"/>
                  <a:gd name="connsiteY5" fmla="*/ 60202 h 66903"/>
                  <a:gd name="connsiteX6" fmla="*/ 6701 w 13401"/>
                  <a:gd name="connsiteY6" fmla="*/ 66903 h 66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01" h="66903">
                    <a:moveTo>
                      <a:pt x="6701" y="66903"/>
                    </a:moveTo>
                    <a:cubicBezTo>
                      <a:pt x="3005" y="66903"/>
                      <a:pt x="0" y="63898"/>
                      <a:pt x="0" y="60202"/>
                    </a:cubicBezTo>
                    <a:lnTo>
                      <a:pt x="0" y="6701"/>
                    </a:lnTo>
                    <a:cubicBezTo>
                      <a:pt x="0" y="3005"/>
                      <a:pt x="3005" y="0"/>
                      <a:pt x="6701" y="0"/>
                    </a:cubicBezTo>
                    <a:cubicBezTo>
                      <a:pt x="10397" y="0"/>
                      <a:pt x="13402" y="3005"/>
                      <a:pt x="13402" y="6701"/>
                    </a:cubicBezTo>
                    <a:lnTo>
                      <a:pt x="13402" y="60202"/>
                    </a:lnTo>
                    <a:cubicBezTo>
                      <a:pt x="13375" y="63925"/>
                      <a:pt x="10397" y="66903"/>
                      <a:pt x="6701" y="66903"/>
                    </a:cubicBezTo>
                    <a:close/>
                  </a:path>
                </a:pathLst>
              </a:custGeom>
              <a:grpFill/>
              <a:ln w="2655" cap="flat">
                <a:noFill/>
                <a:prstDash val="solid"/>
                <a:miter/>
              </a:ln>
            </p:spPr>
            <p:txBody>
              <a:bodyPr rtlCol="0" anchor="ctr"/>
              <a:lstStyle/>
              <a:p>
                <a:endParaRPr lang="en-GB" dirty="0"/>
              </a:p>
            </p:txBody>
          </p:sp>
          <p:sp>
            <p:nvSpPr>
              <p:cNvPr id="361" name="Freihandform: Form 771">
                <a:extLst>
                  <a:ext uri="{FF2B5EF4-FFF2-40B4-BE49-F238E27FC236}">
                    <a16:creationId xmlns:a16="http://schemas.microsoft.com/office/drawing/2014/main" id="{CA5EDE26-697E-4E08-92AE-30BF666B4CCC}"/>
                  </a:ext>
                </a:extLst>
              </p:cNvPr>
              <p:cNvSpPr/>
              <p:nvPr/>
            </p:nvSpPr>
            <p:spPr>
              <a:xfrm>
                <a:off x="7923262" y="1814065"/>
                <a:ext cx="237994" cy="147154"/>
              </a:xfrm>
              <a:custGeom>
                <a:avLst/>
                <a:gdLst>
                  <a:gd name="connsiteX0" fmla="*/ 212638 w 237994"/>
                  <a:gd name="connsiteY0" fmla="*/ 147155 h 147154"/>
                  <a:gd name="connsiteX1" fmla="*/ 25330 w 237994"/>
                  <a:gd name="connsiteY1" fmla="*/ 147155 h 147154"/>
                  <a:gd name="connsiteX2" fmla="*/ 5041 w 237994"/>
                  <a:gd name="connsiteY2" fmla="*/ 137742 h 147154"/>
                  <a:gd name="connsiteX3" fmla="*/ 2249 w 237994"/>
                  <a:gd name="connsiteY3" fmla="*/ 107109 h 147154"/>
                  <a:gd name="connsiteX4" fmla="*/ 22963 w 237994"/>
                  <a:gd name="connsiteY4" fmla="*/ 42998 h 147154"/>
                  <a:gd name="connsiteX5" fmla="*/ 74098 w 237994"/>
                  <a:gd name="connsiteY5" fmla="*/ 0 h 147154"/>
                  <a:gd name="connsiteX6" fmla="*/ 78884 w 237994"/>
                  <a:gd name="connsiteY6" fmla="*/ 0 h 147154"/>
                  <a:gd name="connsiteX7" fmla="*/ 84575 w 237994"/>
                  <a:gd name="connsiteY7" fmla="*/ 3191 h 147154"/>
                  <a:gd name="connsiteX8" fmla="*/ 118824 w 237994"/>
                  <a:gd name="connsiteY8" fmla="*/ 59139 h 147154"/>
                  <a:gd name="connsiteX9" fmla="*/ 153446 w 237994"/>
                  <a:gd name="connsiteY9" fmla="*/ 3191 h 147154"/>
                  <a:gd name="connsiteX10" fmla="*/ 159136 w 237994"/>
                  <a:gd name="connsiteY10" fmla="*/ 0 h 147154"/>
                  <a:gd name="connsiteX11" fmla="*/ 163923 w 237994"/>
                  <a:gd name="connsiteY11" fmla="*/ 0 h 147154"/>
                  <a:gd name="connsiteX12" fmla="*/ 215004 w 237994"/>
                  <a:gd name="connsiteY12" fmla="*/ 42812 h 147154"/>
                  <a:gd name="connsiteX13" fmla="*/ 235745 w 237994"/>
                  <a:gd name="connsiteY13" fmla="*/ 107082 h 147154"/>
                  <a:gd name="connsiteX14" fmla="*/ 232953 w 237994"/>
                  <a:gd name="connsiteY14" fmla="*/ 137768 h 147154"/>
                  <a:gd name="connsiteX15" fmla="*/ 212638 w 237994"/>
                  <a:gd name="connsiteY15" fmla="*/ 147155 h 147154"/>
                  <a:gd name="connsiteX16" fmla="*/ 74098 w 237994"/>
                  <a:gd name="connsiteY16" fmla="*/ 13375 h 147154"/>
                  <a:gd name="connsiteX17" fmla="*/ 35647 w 237994"/>
                  <a:gd name="connsiteY17" fmla="*/ 47279 h 147154"/>
                  <a:gd name="connsiteX18" fmla="*/ 15013 w 237994"/>
                  <a:gd name="connsiteY18" fmla="*/ 111177 h 147154"/>
                  <a:gd name="connsiteX19" fmla="*/ 15864 w 237994"/>
                  <a:gd name="connsiteY19" fmla="*/ 129844 h 147154"/>
                  <a:gd name="connsiteX20" fmla="*/ 25357 w 237994"/>
                  <a:gd name="connsiteY20" fmla="*/ 133780 h 147154"/>
                  <a:gd name="connsiteX21" fmla="*/ 212664 w 237994"/>
                  <a:gd name="connsiteY21" fmla="*/ 133780 h 147154"/>
                  <a:gd name="connsiteX22" fmla="*/ 222157 w 237994"/>
                  <a:gd name="connsiteY22" fmla="*/ 129844 h 147154"/>
                  <a:gd name="connsiteX23" fmla="*/ 223008 w 237994"/>
                  <a:gd name="connsiteY23" fmla="*/ 111151 h 147154"/>
                  <a:gd name="connsiteX24" fmla="*/ 202320 w 237994"/>
                  <a:gd name="connsiteY24" fmla="*/ 47119 h 147154"/>
                  <a:gd name="connsiteX25" fmla="*/ 163923 w 237994"/>
                  <a:gd name="connsiteY25" fmla="*/ 13402 h 147154"/>
                  <a:gd name="connsiteX26" fmla="*/ 162886 w 237994"/>
                  <a:gd name="connsiteY26" fmla="*/ 13402 h 147154"/>
                  <a:gd name="connsiteX27" fmla="*/ 130604 w 237994"/>
                  <a:gd name="connsiteY27" fmla="*/ 66159 h 147154"/>
                  <a:gd name="connsiteX28" fmla="*/ 119010 w 237994"/>
                  <a:gd name="connsiteY28" fmla="*/ 72886 h 147154"/>
                  <a:gd name="connsiteX29" fmla="*/ 119010 w 237994"/>
                  <a:gd name="connsiteY29" fmla="*/ 72886 h 147154"/>
                  <a:gd name="connsiteX30" fmla="*/ 107231 w 237994"/>
                  <a:gd name="connsiteY30" fmla="*/ 65839 h 147154"/>
                  <a:gd name="connsiteX31" fmla="*/ 75135 w 237994"/>
                  <a:gd name="connsiteY31" fmla="*/ 13402 h 147154"/>
                  <a:gd name="connsiteX32" fmla="*/ 74098 w 237994"/>
                  <a:gd name="connsiteY32" fmla="*/ 13402 h 14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37994" h="147154">
                    <a:moveTo>
                      <a:pt x="212638" y="147155"/>
                    </a:moveTo>
                    <a:lnTo>
                      <a:pt x="25330" y="147155"/>
                    </a:lnTo>
                    <a:cubicBezTo>
                      <a:pt x="14268" y="147155"/>
                      <a:pt x="8179" y="142023"/>
                      <a:pt x="5041" y="137742"/>
                    </a:cubicBezTo>
                    <a:cubicBezTo>
                      <a:pt x="-516" y="130190"/>
                      <a:pt x="-1527" y="119022"/>
                      <a:pt x="2249" y="107109"/>
                    </a:cubicBezTo>
                    <a:lnTo>
                      <a:pt x="22963" y="42998"/>
                    </a:lnTo>
                    <a:cubicBezTo>
                      <a:pt x="33121" y="14412"/>
                      <a:pt x="50299" y="0"/>
                      <a:pt x="74098" y="0"/>
                    </a:cubicBezTo>
                    <a:lnTo>
                      <a:pt x="78884" y="0"/>
                    </a:lnTo>
                    <a:cubicBezTo>
                      <a:pt x="81198" y="0"/>
                      <a:pt x="83378" y="1223"/>
                      <a:pt x="84575" y="3191"/>
                    </a:cubicBezTo>
                    <a:lnTo>
                      <a:pt x="118824" y="59139"/>
                    </a:lnTo>
                    <a:lnTo>
                      <a:pt x="153446" y="3191"/>
                    </a:lnTo>
                    <a:cubicBezTo>
                      <a:pt x="154669" y="1197"/>
                      <a:pt x="156823" y="0"/>
                      <a:pt x="159136" y="0"/>
                    </a:cubicBezTo>
                    <a:lnTo>
                      <a:pt x="163923" y="0"/>
                    </a:lnTo>
                    <a:cubicBezTo>
                      <a:pt x="187722" y="0"/>
                      <a:pt x="204900" y="14412"/>
                      <a:pt x="215004" y="42812"/>
                    </a:cubicBezTo>
                    <a:lnTo>
                      <a:pt x="235745" y="107082"/>
                    </a:lnTo>
                    <a:cubicBezTo>
                      <a:pt x="239521" y="119022"/>
                      <a:pt x="238511" y="130190"/>
                      <a:pt x="232953" y="137768"/>
                    </a:cubicBezTo>
                    <a:cubicBezTo>
                      <a:pt x="229789" y="142023"/>
                      <a:pt x="223726" y="147155"/>
                      <a:pt x="212638" y="147155"/>
                    </a:cubicBezTo>
                    <a:close/>
                    <a:moveTo>
                      <a:pt x="74098" y="13375"/>
                    </a:moveTo>
                    <a:cubicBezTo>
                      <a:pt x="56069" y="13375"/>
                      <a:pt x="43838" y="24145"/>
                      <a:pt x="35647" y="47279"/>
                    </a:cubicBezTo>
                    <a:lnTo>
                      <a:pt x="15013" y="111177"/>
                    </a:lnTo>
                    <a:cubicBezTo>
                      <a:pt x="12646" y="118703"/>
                      <a:pt x="12965" y="125882"/>
                      <a:pt x="15864" y="129844"/>
                    </a:cubicBezTo>
                    <a:cubicBezTo>
                      <a:pt x="17805" y="132503"/>
                      <a:pt x="20916" y="133780"/>
                      <a:pt x="25357" y="133780"/>
                    </a:cubicBezTo>
                    <a:lnTo>
                      <a:pt x="212664" y="133780"/>
                    </a:lnTo>
                    <a:cubicBezTo>
                      <a:pt x="217105" y="133780"/>
                      <a:pt x="220216" y="132477"/>
                      <a:pt x="222157" y="129844"/>
                    </a:cubicBezTo>
                    <a:cubicBezTo>
                      <a:pt x="225055" y="125882"/>
                      <a:pt x="225375" y="118703"/>
                      <a:pt x="223008" y="111151"/>
                    </a:cubicBezTo>
                    <a:lnTo>
                      <a:pt x="202320" y="47119"/>
                    </a:lnTo>
                    <a:cubicBezTo>
                      <a:pt x="194157" y="24171"/>
                      <a:pt x="181951" y="13402"/>
                      <a:pt x="163923" y="13402"/>
                    </a:cubicBezTo>
                    <a:lnTo>
                      <a:pt x="162886" y="13402"/>
                    </a:lnTo>
                    <a:lnTo>
                      <a:pt x="130604" y="66159"/>
                    </a:lnTo>
                    <a:cubicBezTo>
                      <a:pt x="128450" y="70174"/>
                      <a:pt x="123930" y="72886"/>
                      <a:pt x="119010" y="72886"/>
                    </a:cubicBezTo>
                    <a:lnTo>
                      <a:pt x="119010" y="72886"/>
                    </a:lnTo>
                    <a:cubicBezTo>
                      <a:pt x="114091" y="72886"/>
                      <a:pt x="109571" y="70174"/>
                      <a:pt x="107231" y="65839"/>
                    </a:cubicBezTo>
                    <a:lnTo>
                      <a:pt x="75135" y="13402"/>
                    </a:lnTo>
                    <a:lnTo>
                      <a:pt x="74098" y="13402"/>
                    </a:lnTo>
                    <a:close/>
                  </a:path>
                </a:pathLst>
              </a:custGeom>
              <a:grpFill/>
              <a:ln w="2655" cap="flat">
                <a:noFill/>
                <a:prstDash val="solid"/>
                <a:miter/>
              </a:ln>
            </p:spPr>
            <p:txBody>
              <a:bodyPr rtlCol="0" anchor="ctr"/>
              <a:lstStyle/>
              <a:p>
                <a:endParaRPr lang="en-GB" dirty="0"/>
              </a:p>
            </p:txBody>
          </p:sp>
        </p:grpSp>
        <p:sp>
          <p:nvSpPr>
            <p:cNvPr id="356" name="Freihandform: Form 772">
              <a:extLst>
                <a:ext uri="{FF2B5EF4-FFF2-40B4-BE49-F238E27FC236}">
                  <a16:creationId xmlns:a16="http://schemas.microsoft.com/office/drawing/2014/main" id="{88158996-FC32-45E5-919E-E2294840209B}"/>
                </a:ext>
              </a:extLst>
            </p:cNvPr>
            <p:cNvSpPr/>
            <p:nvPr/>
          </p:nvSpPr>
          <p:spPr>
            <a:xfrm>
              <a:off x="6083145" y="1891525"/>
              <a:ext cx="345688" cy="15738"/>
            </a:xfrm>
            <a:custGeom>
              <a:avLst/>
              <a:gdLst>
                <a:gd name="connsiteX0" fmla="*/ 287662 w 294363"/>
                <a:gd name="connsiteY0" fmla="*/ 13402 h 13401"/>
                <a:gd name="connsiteX1" fmla="*/ 6701 w 294363"/>
                <a:gd name="connsiteY1" fmla="*/ 13402 h 13401"/>
                <a:gd name="connsiteX2" fmla="*/ 0 w 294363"/>
                <a:gd name="connsiteY2" fmla="*/ 6701 h 13401"/>
                <a:gd name="connsiteX3" fmla="*/ 6701 w 294363"/>
                <a:gd name="connsiteY3" fmla="*/ 0 h 13401"/>
                <a:gd name="connsiteX4" fmla="*/ 287662 w 294363"/>
                <a:gd name="connsiteY4" fmla="*/ 0 h 13401"/>
                <a:gd name="connsiteX5" fmla="*/ 294363 w 294363"/>
                <a:gd name="connsiteY5" fmla="*/ 6701 h 13401"/>
                <a:gd name="connsiteX6" fmla="*/ 287662 w 294363"/>
                <a:gd name="connsiteY6" fmla="*/ 13402 h 1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363" h="13401">
                  <a:moveTo>
                    <a:pt x="287662" y="13402"/>
                  </a:moveTo>
                  <a:lnTo>
                    <a:pt x="6701" y="13402"/>
                  </a:lnTo>
                  <a:cubicBezTo>
                    <a:pt x="3005" y="13402"/>
                    <a:pt x="0" y="10397"/>
                    <a:pt x="0" y="6701"/>
                  </a:cubicBezTo>
                  <a:cubicBezTo>
                    <a:pt x="0" y="3005"/>
                    <a:pt x="3005" y="0"/>
                    <a:pt x="6701" y="0"/>
                  </a:cubicBezTo>
                  <a:lnTo>
                    <a:pt x="287662" y="0"/>
                  </a:lnTo>
                  <a:cubicBezTo>
                    <a:pt x="291358" y="0"/>
                    <a:pt x="294363" y="3005"/>
                    <a:pt x="294363" y="6701"/>
                  </a:cubicBezTo>
                  <a:cubicBezTo>
                    <a:pt x="294363" y="10397"/>
                    <a:pt x="291358" y="13402"/>
                    <a:pt x="287662" y="13402"/>
                  </a:cubicBezTo>
                  <a:close/>
                </a:path>
              </a:pathLst>
            </a:custGeom>
            <a:solidFill>
              <a:schemeClr val="tx2"/>
            </a:solidFill>
            <a:ln w="2655" cap="flat">
              <a:noFill/>
              <a:prstDash val="solid"/>
              <a:miter/>
            </a:ln>
          </p:spPr>
          <p:txBody>
            <a:bodyPr rtlCol="0" anchor="ctr"/>
            <a:lstStyle/>
            <a:p>
              <a:endParaRPr lang="en-GB" dirty="0"/>
            </a:p>
          </p:txBody>
        </p:sp>
      </p:grpSp>
      <p:grpSp>
        <p:nvGrpSpPr>
          <p:cNvPr id="631" name="Group 630">
            <a:extLst>
              <a:ext uri="{FF2B5EF4-FFF2-40B4-BE49-F238E27FC236}">
                <a16:creationId xmlns:a16="http://schemas.microsoft.com/office/drawing/2014/main" id="{110E8859-616C-DF7E-6ED7-9B18AE01FFE6}"/>
              </a:ext>
            </a:extLst>
          </p:cNvPr>
          <p:cNvGrpSpPr/>
          <p:nvPr/>
        </p:nvGrpSpPr>
        <p:grpSpPr>
          <a:xfrm>
            <a:off x="8081150" y="1593084"/>
            <a:ext cx="523036" cy="432000"/>
            <a:chOff x="8080738" y="1593084"/>
            <a:chExt cx="523036" cy="432000"/>
          </a:xfrm>
        </p:grpSpPr>
        <p:grpSp>
          <p:nvGrpSpPr>
            <p:cNvPr id="365" name="Gruppieren 999">
              <a:extLst>
                <a:ext uri="{FF2B5EF4-FFF2-40B4-BE49-F238E27FC236}">
                  <a16:creationId xmlns:a16="http://schemas.microsoft.com/office/drawing/2014/main" id="{5FB706ED-FE40-4A2C-BBAF-CC1F3984746E}"/>
                </a:ext>
              </a:extLst>
            </p:cNvPr>
            <p:cNvGrpSpPr/>
            <p:nvPr/>
          </p:nvGrpSpPr>
          <p:grpSpPr>
            <a:xfrm>
              <a:off x="8080738" y="1593084"/>
              <a:ext cx="343013" cy="235433"/>
              <a:chOff x="7783695" y="2469615"/>
              <a:chExt cx="331357" cy="227433"/>
            </a:xfrm>
            <a:solidFill>
              <a:schemeClr val="accent1"/>
            </a:solidFill>
          </p:grpSpPr>
          <p:sp>
            <p:nvSpPr>
              <p:cNvPr id="375" name="Freihandform: Form 792">
                <a:extLst>
                  <a:ext uri="{FF2B5EF4-FFF2-40B4-BE49-F238E27FC236}">
                    <a16:creationId xmlns:a16="http://schemas.microsoft.com/office/drawing/2014/main" id="{DAC74FE8-2FEB-4A5F-9AAF-0C4035E1CC51}"/>
                  </a:ext>
                </a:extLst>
              </p:cNvPr>
              <p:cNvSpPr/>
              <p:nvPr/>
            </p:nvSpPr>
            <p:spPr>
              <a:xfrm>
                <a:off x="7793965" y="2683647"/>
                <a:ext cx="113730" cy="13401"/>
              </a:xfrm>
              <a:custGeom>
                <a:avLst/>
                <a:gdLst>
                  <a:gd name="connsiteX0" fmla="*/ 107029 w 113730"/>
                  <a:gd name="connsiteY0" fmla="*/ 13402 h 13401"/>
                  <a:gd name="connsiteX1" fmla="*/ 6701 w 113730"/>
                  <a:gd name="connsiteY1" fmla="*/ 13402 h 13401"/>
                  <a:gd name="connsiteX2" fmla="*/ 0 w 113730"/>
                  <a:gd name="connsiteY2" fmla="*/ 6701 h 13401"/>
                  <a:gd name="connsiteX3" fmla="*/ 6701 w 113730"/>
                  <a:gd name="connsiteY3" fmla="*/ 0 h 13401"/>
                  <a:gd name="connsiteX4" fmla="*/ 107029 w 113730"/>
                  <a:gd name="connsiteY4" fmla="*/ 0 h 13401"/>
                  <a:gd name="connsiteX5" fmla="*/ 113730 w 113730"/>
                  <a:gd name="connsiteY5" fmla="*/ 6701 h 13401"/>
                  <a:gd name="connsiteX6" fmla="*/ 107029 w 113730"/>
                  <a:gd name="connsiteY6" fmla="*/ 13402 h 1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3730" h="13401">
                    <a:moveTo>
                      <a:pt x="107029" y="13402"/>
                    </a:moveTo>
                    <a:lnTo>
                      <a:pt x="6701" y="13402"/>
                    </a:lnTo>
                    <a:cubicBezTo>
                      <a:pt x="3005" y="13402"/>
                      <a:pt x="0" y="10397"/>
                      <a:pt x="0" y="6701"/>
                    </a:cubicBezTo>
                    <a:cubicBezTo>
                      <a:pt x="0" y="3005"/>
                      <a:pt x="3005" y="0"/>
                      <a:pt x="6701" y="0"/>
                    </a:cubicBezTo>
                    <a:lnTo>
                      <a:pt x="107029" y="0"/>
                    </a:lnTo>
                    <a:cubicBezTo>
                      <a:pt x="110725" y="0"/>
                      <a:pt x="113730" y="3005"/>
                      <a:pt x="113730" y="6701"/>
                    </a:cubicBezTo>
                    <a:cubicBezTo>
                      <a:pt x="113703" y="10397"/>
                      <a:pt x="110725" y="13402"/>
                      <a:pt x="107029" y="13402"/>
                    </a:cubicBezTo>
                    <a:close/>
                  </a:path>
                </a:pathLst>
              </a:custGeom>
              <a:solidFill>
                <a:schemeClr val="accent1"/>
              </a:solidFill>
              <a:ln w="2655" cap="flat">
                <a:noFill/>
                <a:prstDash val="solid"/>
                <a:miter/>
              </a:ln>
            </p:spPr>
            <p:txBody>
              <a:bodyPr rtlCol="0" anchor="ctr"/>
              <a:lstStyle/>
              <a:p>
                <a:endParaRPr lang="en-GB" dirty="0"/>
              </a:p>
            </p:txBody>
          </p:sp>
          <p:sp>
            <p:nvSpPr>
              <p:cNvPr id="376" name="Freihandform: Form 793">
                <a:extLst>
                  <a:ext uri="{FF2B5EF4-FFF2-40B4-BE49-F238E27FC236}">
                    <a16:creationId xmlns:a16="http://schemas.microsoft.com/office/drawing/2014/main" id="{720A5862-5686-4B70-9CFE-34DCD6392491}"/>
                  </a:ext>
                </a:extLst>
              </p:cNvPr>
              <p:cNvSpPr/>
              <p:nvPr/>
            </p:nvSpPr>
            <p:spPr>
              <a:xfrm>
                <a:off x="8014698" y="2683647"/>
                <a:ext cx="100354" cy="13401"/>
              </a:xfrm>
              <a:custGeom>
                <a:avLst/>
                <a:gdLst>
                  <a:gd name="connsiteX0" fmla="*/ 93654 w 100354"/>
                  <a:gd name="connsiteY0" fmla="*/ 13402 h 13401"/>
                  <a:gd name="connsiteX1" fmla="*/ 6701 w 100354"/>
                  <a:gd name="connsiteY1" fmla="*/ 13402 h 13401"/>
                  <a:gd name="connsiteX2" fmla="*/ 0 w 100354"/>
                  <a:gd name="connsiteY2" fmla="*/ 6701 h 13401"/>
                  <a:gd name="connsiteX3" fmla="*/ 6701 w 100354"/>
                  <a:gd name="connsiteY3" fmla="*/ 0 h 13401"/>
                  <a:gd name="connsiteX4" fmla="*/ 93654 w 100354"/>
                  <a:gd name="connsiteY4" fmla="*/ 0 h 13401"/>
                  <a:gd name="connsiteX5" fmla="*/ 100355 w 100354"/>
                  <a:gd name="connsiteY5" fmla="*/ 6701 h 13401"/>
                  <a:gd name="connsiteX6" fmla="*/ 93654 w 100354"/>
                  <a:gd name="connsiteY6" fmla="*/ 13402 h 1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54" h="13401">
                    <a:moveTo>
                      <a:pt x="93654" y="13402"/>
                    </a:moveTo>
                    <a:lnTo>
                      <a:pt x="6701" y="13402"/>
                    </a:lnTo>
                    <a:cubicBezTo>
                      <a:pt x="3005" y="13402"/>
                      <a:pt x="0" y="10397"/>
                      <a:pt x="0" y="6701"/>
                    </a:cubicBezTo>
                    <a:cubicBezTo>
                      <a:pt x="0" y="3005"/>
                      <a:pt x="3005" y="0"/>
                      <a:pt x="6701" y="0"/>
                    </a:cubicBezTo>
                    <a:lnTo>
                      <a:pt x="93654" y="0"/>
                    </a:lnTo>
                    <a:cubicBezTo>
                      <a:pt x="97350" y="0"/>
                      <a:pt x="100355" y="3005"/>
                      <a:pt x="100355" y="6701"/>
                    </a:cubicBezTo>
                    <a:cubicBezTo>
                      <a:pt x="100355" y="10397"/>
                      <a:pt x="97350" y="13402"/>
                      <a:pt x="93654" y="13402"/>
                    </a:cubicBezTo>
                    <a:close/>
                  </a:path>
                </a:pathLst>
              </a:custGeom>
              <a:solidFill>
                <a:schemeClr val="accent1"/>
              </a:solidFill>
              <a:ln w="2655" cap="flat">
                <a:noFill/>
                <a:prstDash val="solid"/>
                <a:miter/>
              </a:ln>
            </p:spPr>
            <p:txBody>
              <a:bodyPr rtlCol="0" anchor="ctr"/>
              <a:lstStyle/>
              <a:p>
                <a:endParaRPr lang="en-GB" dirty="0"/>
              </a:p>
            </p:txBody>
          </p:sp>
          <p:sp>
            <p:nvSpPr>
              <p:cNvPr id="377" name="Freihandform: Form 794">
                <a:extLst>
                  <a:ext uri="{FF2B5EF4-FFF2-40B4-BE49-F238E27FC236}">
                    <a16:creationId xmlns:a16="http://schemas.microsoft.com/office/drawing/2014/main" id="{0FAA47C9-77E3-4672-BCCC-8D637D3255A8}"/>
                  </a:ext>
                </a:extLst>
              </p:cNvPr>
              <p:cNvSpPr/>
              <p:nvPr/>
            </p:nvSpPr>
            <p:spPr>
              <a:xfrm>
                <a:off x="7974572" y="2469615"/>
                <a:ext cx="80251" cy="93653"/>
              </a:xfrm>
              <a:custGeom>
                <a:avLst/>
                <a:gdLst>
                  <a:gd name="connsiteX0" fmla="*/ 40126 w 80251"/>
                  <a:gd name="connsiteY0" fmla="*/ 93654 h 93653"/>
                  <a:gd name="connsiteX1" fmla="*/ 0 w 80251"/>
                  <a:gd name="connsiteY1" fmla="*/ 46827 h 93653"/>
                  <a:gd name="connsiteX2" fmla="*/ 40126 w 80251"/>
                  <a:gd name="connsiteY2" fmla="*/ 0 h 93653"/>
                  <a:gd name="connsiteX3" fmla="*/ 80252 w 80251"/>
                  <a:gd name="connsiteY3" fmla="*/ 46827 h 93653"/>
                  <a:gd name="connsiteX4" fmla="*/ 40126 w 80251"/>
                  <a:gd name="connsiteY4" fmla="*/ 93654 h 93653"/>
                  <a:gd name="connsiteX5" fmla="*/ 40126 w 80251"/>
                  <a:gd name="connsiteY5" fmla="*/ 13375 h 93653"/>
                  <a:gd name="connsiteX6" fmla="*/ 13375 w 80251"/>
                  <a:gd name="connsiteY6" fmla="*/ 46827 h 93653"/>
                  <a:gd name="connsiteX7" fmla="*/ 40126 w 80251"/>
                  <a:gd name="connsiteY7" fmla="*/ 80278 h 93653"/>
                  <a:gd name="connsiteX8" fmla="*/ 66877 w 80251"/>
                  <a:gd name="connsiteY8" fmla="*/ 46827 h 93653"/>
                  <a:gd name="connsiteX9" fmla="*/ 40126 w 80251"/>
                  <a:gd name="connsiteY9" fmla="*/ 13375 h 9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51" h="93653">
                    <a:moveTo>
                      <a:pt x="40126" y="93654"/>
                    </a:moveTo>
                    <a:cubicBezTo>
                      <a:pt x="16114" y="93654"/>
                      <a:pt x="0" y="74827"/>
                      <a:pt x="0" y="46827"/>
                    </a:cubicBezTo>
                    <a:cubicBezTo>
                      <a:pt x="0" y="18826"/>
                      <a:pt x="16141" y="0"/>
                      <a:pt x="40126" y="0"/>
                    </a:cubicBezTo>
                    <a:cubicBezTo>
                      <a:pt x="64138" y="0"/>
                      <a:pt x="80252" y="18826"/>
                      <a:pt x="80252" y="46827"/>
                    </a:cubicBezTo>
                    <a:cubicBezTo>
                      <a:pt x="80252" y="74827"/>
                      <a:pt x="64138" y="93654"/>
                      <a:pt x="40126" y="93654"/>
                    </a:cubicBezTo>
                    <a:close/>
                    <a:moveTo>
                      <a:pt x="40126" y="13375"/>
                    </a:moveTo>
                    <a:cubicBezTo>
                      <a:pt x="20395" y="13375"/>
                      <a:pt x="13375" y="30659"/>
                      <a:pt x="13375" y="46827"/>
                    </a:cubicBezTo>
                    <a:cubicBezTo>
                      <a:pt x="13375" y="62994"/>
                      <a:pt x="20395" y="80278"/>
                      <a:pt x="40126" y="80278"/>
                    </a:cubicBezTo>
                    <a:cubicBezTo>
                      <a:pt x="59857" y="80278"/>
                      <a:pt x="66877" y="62994"/>
                      <a:pt x="66877" y="46827"/>
                    </a:cubicBezTo>
                    <a:cubicBezTo>
                      <a:pt x="66903" y="30659"/>
                      <a:pt x="59857" y="13375"/>
                      <a:pt x="40126" y="13375"/>
                    </a:cubicBezTo>
                    <a:close/>
                  </a:path>
                </a:pathLst>
              </a:custGeom>
              <a:solidFill>
                <a:schemeClr val="accent1"/>
              </a:solidFill>
              <a:ln w="2655" cap="flat">
                <a:noFill/>
                <a:prstDash val="solid"/>
                <a:miter/>
              </a:ln>
            </p:spPr>
            <p:txBody>
              <a:bodyPr rtlCol="0" anchor="ctr"/>
              <a:lstStyle/>
              <a:p>
                <a:endParaRPr lang="en-GB" dirty="0"/>
              </a:p>
            </p:txBody>
          </p:sp>
          <p:sp>
            <p:nvSpPr>
              <p:cNvPr id="378" name="Freihandform: Form 795">
                <a:extLst>
                  <a:ext uri="{FF2B5EF4-FFF2-40B4-BE49-F238E27FC236}">
                    <a16:creationId xmlns:a16="http://schemas.microsoft.com/office/drawing/2014/main" id="{EBF70653-A2D2-4BBB-A81F-E4BBF2E6FEC9}"/>
                  </a:ext>
                </a:extLst>
              </p:cNvPr>
              <p:cNvSpPr/>
              <p:nvPr/>
            </p:nvSpPr>
            <p:spPr>
              <a:xfrm>
                <a:off x="7783695" y="2563268"/>
                <a:ext cx="168890" cy="107029"/>
              </a:xfrm>
              <a:custGeom>
                <a:avLst/>
                <a:gdLst>
                  <a:gd name="connsiteX0" fmla="*/ 84406 w 168890"/>
                  <a:gd name="connsiteY0" fmla="*/ 107029 h 107029"/>
                  <a:gd name="connsiteX1" fmla="*/ 43722 w 168890"/>
                  <a:gd name="connsiteY1" fmla="*/ 107029 h 107029"/>
                  <a:gd name="connsiteX2" fmla="*/ 37579 w 168890"/>
                  <a:gd name="connsiteY2" fmla="*/ 102987 h 107029"/>
                  <a:gd name="connsiteX3" fmla="*/ 1043 w 168890"/>
                  <a:gd name="connsiteY3" fmla="*/ 17736 h 107029"/>
                  <a:gd name="connsiteX4" fmla="*/ 2107 w 168890"/>
                  <a:gd name="connsiteY4" fmla="*/ 5717 h 107029"/>
                  <a:gd name="connsiteX5" fmla="*/ 12716 w 168890"/>
                  <a:gd name="connsiteY5" fmla="*/ 0 h 107029"/>
                  <a:gd name="connsiteX6" fmla="*/ 137349 w 168890"/>
                  <a:gd name="connsiteY6" fmla="*/ 0 h 107029"/>
                  <a:gd name="connsiteX7" fmla="*/ 152772 w 168890"/>
                  <a:gd name="connsiteY7" fmla="*/ 10477 h 107029"/>
                  <a:gd name="connsiteX8" fmla="*/ 168460 w 168890"/>
                  <a:gd name="connsiteY8" fmla="*/ 52278 h 107029"/>
                  <a:gd name="connsiteX9" fmla="*/ 164552 w 168890"/>
                  <a:gd name="connsiteY9" fmla="*/ 60894 h 107029"/>
                  <a:gd name="connsiteX10" fmla="*/ 155936 w 168890"/>
                  <a:gd name="connsiteY10" fmla="*/ 56985 h 107029"/>
                  <a:gd name="connsiteX11" fmla="*/ 140301 w 168890"/>
                  <a:gd name="connsiteY11" fmla="*/ 15290 h 107029"/>
                  <a:gd name="connsiteX12" fmla="*/ 137375 w 168890"/>
                  <a:gd name="connsiteY12" fmla="*/ 13375 h 107029"/>
                  <a:gd name="connsiteX13" fmla="*/ 13754 w 168890"/>
                  <a:gd name="connsiteY13" fmla="*/ 13375 h 107029"/>
                  <a:gd name="connsiteX14" fmla="*/ 48162 w 168890"/>
                  <a:gd name="connsiteY14" fmla="*/ 93654 h 107029"/>
                  <a:gd name="connsiteX15" fmla="*/ 84433 w 168890"/>
                  <a:gd name="connsiteY15" fmla="*/ 93654 h 107029"/>
                  <a:gd name="connsiteX16" fmla="*/ 91134 w 168890"/>
                  <a:gd name="connsiteY16" fmla="*/ 100355 h 107029"/>
                  <a:gd name="connsiteX17" fmla="*/ 84406 w 168890"/>
                  <a:gd name="connsiteY17" fmla="*/ 107029 h 107029"/>
                  <a:gd name="connsiteX18" fmla="*/ 12716 w 168890"/>
                  <a:gd name="connsiteY18" fmla="*/ 13375 h 107029"/>
                  <a:gd name="connsiteX19" fmla="*/ 12716 w 168890"/>
                  <a:gd name="connsiteY19" fmla="*/ 13375 h 107029"/>
                  <a:gd name="connsiteX20" fmla="*/ 12716 w 168890"/>
                  <a:gd name="connsiteY20" fmla="*/ 13375 h 107029"/>
                  <a:gd name="connsiteX21" fmla="*/ 12716 w 168890"/>
                  <a:gd name="connsiteY21" fmla="*/ 13375 h 10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8890" h="107029">
                    <a:moveTo>
                      <a:pt x="84406" y="107029"/>
                    </a:moveTo>
                    <a:lnTo>
                      <a:pt x="43722" y="107029"/>
                    </a:lnTo>
                    <a:cubicBezTo>
                      <a:pt x="41036" y="107029"/>
                      <a:pt x="38616" y="105434"/>
                      <a:pt x="37579" y="102987"/>
                    </a:cubicBezTo>
                    <a:lnTo>
                      <a:pt x="1043" y="17736"/>
                    </a:lnTo>
                    <a:cubicBezTo>
                      <a:pt x="-659" y="13801"/>
                      <a:pt x="-260" y="9307"/>
                      <a:pt x="2107" y="5717"/>
                    </a:cubicBezTo>
                    <a:cubicBezTo>
                      <a:pt x="4473" y="2127"/>
                      <a:pt x="8435" y="0"/>
                      <a:pt x="12716" y="0"/>
                    </a:cubicBezTo>
                    <a:lnTo>
                      <a:pt x="137349" y="0"/>
                    </a:lnTo>
                    <a:cubicBezTo>
                      <a:pt x="144209" y="0"/>
                      <a:pt x="150246" y="4122"/>
                      <a:pt x="152772" y="10477"/>
                    </a:cubicBezTo>
                    <a:lnTo>
                      <a:pt x="168460" y="52278"/>
                    </a:lnTo>
                    <a:cubicBezTo>
                      <a:pt x="169763" y="55735"/>
                      <a:pt x="168008" y="59591"/>
                      <a:pt x="164552" y="60894"/>
                    </a:cubicBezTo>
                    <a:cubicBezTo>
                      <a:pt x="161095" y="62196"/>
                      <a:pt x="157239" y="60442"/>
                      <a:pt x="155936" y="56985"/>
                    </a:cubicBezTo>
                    <a:lnTo>
                      <a:pt x="140301" y="15290"/>
                    </a:lnTo>
                    <a:cubicBezTo>
                      <a:pt x="139875" y="14173"/>
                      <a:pt x="138705" y="13375"/>
                      <a:pt x="137375" y="13375"/>
                    </a:cubicBezTo>
                    <a:lnTo>
                      <a:pt x="13754" y="13375"/>
                    </a:lnTo>
                    <a:lnTo>
                      <a:pt x="48162" y="93654"/>
                    </a:lnTo>
                    <a:lnTo>
                      <a:pt x="84433" y="93654"/>
                    </a:lnTo>
                    <a:cubicBezTo>
                      <a:pt x="88129" y="93654"/>
                      <a:pt x="91134" y="96659"/>
                      <a:pt x="91134" y="100355"/>
                    </a:cubicBezTo>
                    <a:cubicBezTo>
                      <a:pt x="91080" y="104024"/>
                      <a:pt x="88102" y="107029"/>
                      <a:pt x="84406" y="107029"/>
                    </a:cubicBezTo>
                    <a:close/>
                    <a:moveTo>
                      <a:pt x="12716" y="13375"/>
                    </a:moveTo>
                    <a:lnTo>
                      <a:pt x="12716" y="13375"/>
                    </a:lnTo>
                    <a:lnTo>
                      <a:pt x="12716" y="13375"/>
                    </a:lnTo>
                    <a:lnTo>
                      <a:pt x="12716" y="13375"/>
                    </a:lnTo>
                    <a:close/>
                  </a:path>
                </a:pathLst>
              </a:custGeom>
              <a:solidFill>
                <a:schemeClr val="accent1"/>
              </a:solidFill>
              <a:ln w="2655" cap="flat">
                <a:noFill/>
                <a:prstDash val="solid"/>
                <a:miter/>
              </a:ln>
            </p:spPr>
            <p:txBody>
              <a:bodyPr rtlCol="0" anchor="ctr"/>
              <a:lstStyle/>
              <a:p>
                <a:endParaRPr lang="en-GB" dirty="0"/>
              </a:p>
            </p:txBody>
          </p:sp>
          <p:sp>
            <p:nvSpPr>
              <p:cNvPr id="379" name="Freihandform: Form 796">
                <a:extLst>
                  <a:ext uri="{FF2B5EF4-FFF2-40B4-BE49-F238E27FC236}">
                    <a16:creationId xmlns:a16="http://schemas.microsoft.com/office/drawing/2014/main" id="{1F1C92DE-DAAE-4212-B565-8175B868DF1C}"/>
                  </a:ext>
                </a:extLst>
              </p:cNvPr>
              <p:cNvSpPr/>
              <p:nvPr/>
            </p:nvSpPr>
            <p:spPr>
              <a:xfrm>
                <a:off x="7935549" y="2576617"/>
                <a:ext cx="165569" cy="120430"/>
              </a:xfrm>
              <a:custGeom>
                <a:avLst/>
                <a:gdLst>
                  <a:gd name="connsiteX0" fmla="*/ 158895 w 165569"/>
                  <a:gd name="connsiteY0" fmla="*/ 120431 h 120430"/>
                  <a:gd name="connsiteX1" fmla="*/ 152194 w 165569"/>
                  <a:gd name="connsiteY1" fmla="*/ 113730 h 120430"/>
                  <a:gd name="connsiteX2" fmla="*/ 152194 w 165569"/>
                  <a:gd name="connsiteY2" fmla="*/ 67116 h 120430"/>
                  <a:gd name="connsiteX3" fmla="*/ 98454 w 165569"/>
                  <a:gd name="connsiteY3" fmla="*/ 13375 h 120430"/>
                  <a:gd name="connsiteX4" fmla="*/ 65986 w 165569"/>
                  <a:gd name="connsiteY4" fmla="*/ 13375 h 120430"/>
                  <a:gd name="connsiteX5" fmla="*/ 13256 w 165569"/>
                  <a:gd name="connsiteY5" fmla="*/ 56692 h 120430"/>
                  <a:gd name="connsiteX6" fmla="*/ 5412 w 165569"/>
                  <a:gd name="connsiteY6" fmla="*/ 61957 h 120430"/>
                  <a:gd name="connsiteX7" fmla="*/ 120 w 165569"/>
                  <a:gd name="connsiteY7" fmla="*/ 54113 h 120430"/>
                  <a:gd name="connsiteX8" fmla="*/ 65986 w 165569"/>
                  <a:gd name="connsiteY8" fmla="*/ 0 h 120430"/>
                  <a:gd name="connsiteX9" fmla="*/ 98454 w 165569"/>
                  <a:gd name="connsiteY9" fmla="*/ 0 h 120430"/>
                  <a:gd name="connsiteX10" fmla="*/ 165570 w 165569"/>
                  <a:gd name="connsiteY10" fmla="*/ 67116 h 120430"/>
                  <a:gd name="connsiteX11" fmla="*/ 165570 w 165569"/>
                  <a:gd name="connsiteY11" fmla="*/ 113730 h 120430"/>
                  <a:gd name="connsiteX12" fmla="*/ 158895 w 165569"/>
                  <a:gd name="connsiteY12" fmla="*/ 120431 h 120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5569" h="120430">
                    <a:moveTo>
                      <a:pt x="158895" y="120431"/>
                    </a:moveTo>
                    <a:cubicBezTo>
                      <a:pt x="155199" y="120431"/>
                      <a:pt x="152194" y="117426"/>
                      <a:pt x="152194" y="113730"/>
                    </a:cubicBezTo>
                    <a:lnTo>
                      <a:pt x="152194" y="67116"/>
                    </a:lnTo>
                    <a:cubicBezTo>
                      <a:pt x="152194" y="37493"/>
                      <a:pt x="128103" y="13375"/>
                      <a:pt x="98454" y="13375"/>
                    </a:cubicBezTo>
                    <a:lnTo>
                      <a:pt x="65986" y="13375"/>
                    </a:lnTo>
                    <a:cubicBezTo>
                      <a:pt x="40352" y="13375"/>
                      <a:pt x="18175" y="31590"/>
                      <a:pt x="13256" y="56692"/>
                    </a:cubicBezTo>
                    <a:cubicBezTo>
                      <a:pt x="12538" y="60309"/>
                      <a:pt x="9001" y="62649"/>
                      <a:pt x="5412" y="61957"/>
                    </a:cubicBezTo>
                    <a:cubicBezTo>
                      <a:pt x="1795" y="61239"/>
                      <a:pt x="-571" y="57729"/>
                      <a:pt x="120" y="54113"/>
                    </a:cubicBezTo>
                    <a:cubicBezTo>
                      <a:pt x="6289" y="22762"/>
                      <a:pt x="33970" y="0"/>
                      <a:pt x="65986" y="0"/>
                    </a:cubicBezTo>
                    <a:lnTo>
                      <a:pt x="98454" y="0"/>
                    </a:lnTo>
                    <a:cubicBezTo>
                      <a:pt x="135469" y="0"/>
                      <a:pt x="165570" y="30101"/>
                      <a:pt x="165570" y="67116"/>
                    </a:cubicBezTo>
                    <a:lnTo>
                      <a:pt x="165570" y="113730"/>
                    </a:lnTo>
                    <a:cubicBezTo>
                      <a:pt x="165570" y="117426"/>
                      <a:pt x="162591" y="120431"/>
                      <a:pt x="158895" y="120431"/>
                    </a:cubicBezTo>
                    <a:close/>
                  </a:path>
                </a:pathLst>
              </a:custGeom>
              <a:solidFill>
                <a:schemeClr val="accent1"/>
              </a:solidFill>
              <a:ln w="2655" cap="flat">
                <a:noFill/>
                <a:prstDash val="solid"/>
                <a:miter/>
              </a:ln>
            </p:spPr>
            <p:txBody>
              <a:bodyPr rtlCol="0" anchor="ctr"/>
              <a:lstStyle/>
              <a:p>
                <a:endParaRPr lang="en-GB" dirty="0"/>
              </a:p>
            </p:txBody>
          </p:sp>
          <p:sp>
            <p:nvSpPr>
              <p:cNvPr id="380" name="Freihandform: Form 797">
                <a:extLst>
                  <a:ext uri="{FF2B5EF4-FFF2-40B4-BE49-F238E27FC236}">
                    <a16:creationId xmlns:a16="http://schemas.microsoft.com/office/drawing/2014/main" id="{0B3389C2-9877-4052-91A8-6A9FEB313F52}"/>
                  </a:ext>
                </a:extLst>
              </p:cNvPr>
              <p:cNvSpPr/>
              <p:nvPr/>
            </p:nvSpPr>
            <p:spPr>
              <a:xfrm>
                <a:off x="7880918" y="2656895"/>
                <a:ext cx="31244" cy="40152"/>
              </a:xfrm>
              <a:custGeom>
                <a:avLst/>
                <a:gdLst>
                  <a:gd name="connsiteX0" fmla="*/ 20076 w 31244"/>
                  <a:gd name="connsiteY0" fmla="*/ 40153 h 40152"/>
                  <a:gd name="connsiteX1" fmla="*/ 6701 w 31244"/>
                  <a:gd name="connsiteY1" fmla="*/ 40153 h 40152"/>
                  <a:gd name="connsiteX2" fmla="*/ 0 w 31244"/>
                  <a:gd name="connsiteY2" fmla="*/ 33452 h 40152"/>
                  <a:gd name="connsiteX3" fmla="*/ 0 w 31244"/>
                  <a:gd name="connsiteY3" fmla="*/ 22629 h 40152"/>
                  <a:gd name="connsiteX4" fmla="*/ 22629 w 31244"/>
                  <a:gd name="connsiteY4" fmla="*/ 0 h 40152"/>
                  <a:gd name="connsiteX5" fmla="*/ 24544 w 31244"/>
                  <a:gd name="connsiteY5" fmla="*/ 0 h 40152"/>
                  <a:gd name="connsiteX6" fmla="*/ 31245 w 31244"/>
                  <a:gd name="connsiteY6" fmla="*/ 6701 h 40152"/>
                  <a:gd name="connsiteX7" fmla="*/ 24544 w 31244"/>
                  <a:gd name="connsiteY7" fmla="*/ 13402 h 40152"/>
                  <a:gd name="connsiteX8" fmla="*/ 22629 w 31244"/>
                  <a:gd name="connsiteY8" fmla="*/ 13402 h 40152"/>
                  <a:gd name="connsiteX9" fmla="*/ 13375 w 31244"/>
                  <a:gd name="connsiteY9" fmla="*/ 22656 h 40152"/>
                  <a:gd name="connsiteX10" fmla="*/ 13375 w 31244"/>
                  <a:gd name="connsiteY10" fmla="*/ 26777 h 40152"/>
                  <a:gd name="connsiteX11" fmla="*/ 20076 w 31244"/>
                  <a:gd name="connsiteY11" fmla="*/ 26777 h 40152"/>
                  <a:gd name="connsiteX12" fmla="*/ 26777 w 31244"/>
                  <a:gd name="connsiteY12" fmla="*/ 33478 h 40152"/>
                  <a:gd name="connsiteX13" fmla="*/ 20076 w 31244"/>
                  <a:gd name="connsiteY13" fmla="*/ 40153 h 4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44" h="40152">
                    <a:moveTo>
                      <a:pt x="20076" y="40153"/>
                    </a:moveTo>
                    <a:lnTo>
                      <a:pt x="6701" y="40153"/>
                    </a:lnTo>
                    <a:cubicBezTo>
                      <a:pt x="3005" y="40153"/>
                      <a:pt x="0" y="37148"/>
                      <a:pt x="0" y="33452"/>
                    </a:cubicBezTo>
                    <a:lnTo>
                      <a:pt x="0" y="22629"/>
                    </a:lnTo>
                    <a:cubicBezTo>
                      <a:pt x="0" y="10158"/>
                      <a:pt x="10158" y="0"/>
                      <a:pt x="22629" y="0"/>
                    </a:cubicBezTo>
                    <a:lnTo>
                      <a:pt x="24544" y="0"/>
                    </a:lnTo>
                    <a:cubicBezTo>
                      <a:pt x="28240" y="0"/>
                      <a:pt x="31245" y="3005"/>
                      <a:pt x="31245" y="6701"/>
                    </a:cubicBezTo>
                    <a:cubicBezTo>
                      <a:pt x="31245" y="10397"/>
                      <a:pt x="28240" y="13402"/>
                      <a:pt x="24544" y="13402"/>
                    </a:cubicBezTo>
                    <a:lnTo>
                      <a:pt x="22629" y="13402"/>
                    </a:lnTo>
                    <a:cubicBezTo>
                      <a:pt x="17523" y="13402"/>
                      <a:pt x="13375" y="17550"/>
                      <a:pt x="13375" y="22656"/>
                    </a:cubicBezTo>
                    <a:lnTo>
                      <a:pt x="13375" y="26777"/>
                    </a:lnTo>
                    <a:lnTo>
                      <a:pt x="20076" y="26777"/>
                    </a:lnTo>
                    <a:cubicBezTo>
                      <a:pt x="23772" y="26777"/>
                      <a:pt x="26777" y="29782"/>
                      <a:pt x="26777" y="33478"/>
                    </a:cubicBezTo>
                    <a:cubicBezTo>
                      <a:pt x="26751" y="37148"/>
                      <a:pt x="23772" y="40153"/>
                      <a:pt x="20076" y="40153"/>
                    </a:cubicBezTo>
                    <a:close/>
                  </a:path>
                </a:pathLst>
              </a:custGeom>
              <a:solidFill>
                <a:schemeClr val="accent1"/>
              </a:solidFill>
              <a:ln w="2655" cap="flat">
                <a:noFill/>
                <a:prstDash val="solid"/>
                <a:miter/>
              </a:ln>
            </p:spPr>
            <p:txBody>
              <a:bodyPr rtlCol="0" anchor="ctr"/>
              <a:lstStyle/>
              <a:p>
                <a:endParaRPr lang="en-GB" dirty="0"/>
              </a:p>
            </p:txBody>
          </p:sp>
        </p:grpSp>
        <p:grpSp>
          <p:nvGrpSpPr>
            <p:cNvPr id="366" name="Gruppieren 1000">
              <a:extLst>
                <a:ext uri="{FF2B5EF4-FFF2-40B4-BE49-F238E27FC236}">
                  <a16:creationId xmlns:a16="http://schemas.microsoft.com/office/drawing/2014/main" id="{8F6C4985-1837-4E2B-B9F3-DF60DA28C53D}"/>
                </a:ext>
              </a:extLst>
            </p:cNvPr>
            <p:cNvGrpSpPr/>
            <p:nvPr/>
          </p:nvGrpSpPr>
          <p:grpSpPr>
            <a:xfrm>
              <a:off x="8146118" y="1717723"/>
              <a:ext cx="457656" cy="307361"/>
              <a:chOff x="7846853" y="2590019"/>
              <a:chExt cx="442104" cy="296916"/>
            </a:xfrm>
            <a:solidFill>
              <a:schemeClr val="tx2"/>
            </a:solidFill>
          </p:grpSpPr>
          <p:sp>
            <p:nvSpPr>
              <p:cNvPr id="367" name="Freihandform: Form 798">
                <a:extLst>
                  <a:ext uri="{FF2B5EF4-FFF2-40B4-BE49-F238E27FC236}">
                    <a16:creationId xmlns:a16="http://schemas.microsoft.com/office/drawing/2014/main" id="{EE2E7BC6-5B4F-4B9F-B110-D65CE93DFBFA}"/>
                  </a:ext>
                </a:extLst>
              </p:cNvPr>
              <p:cNvSpPr/>
              <p:nvPr/>
            </p:nvSpPr>
            <p:spPr>
              <a:xfrm>
                <a:off x="7901320" y="2806677"/>
                <a:ext cx="32827" cy="44201"/>
              </a:xfrm>
              <a:custGeom>
                <a:avLst/>
                <a:gdLst>
                  <a:gd name="connsiteX0" fmla="*/ 6695 w 32827"/>
                  <a:gd name="connsiteY0" fmla="*/ 44201 h 44201"/>
                  <a:gd name="connsiteX1" fmla="*/ 3131 w 32827"/>
                  <a:gd name="connsiteY1" fmla="*/ 43164 h 44201"/>
                  <a:gd name="connsiteX2" fmla="*/ 1031 w 32827"/>
                  <a:gd name="connsiteY2" fmla="*/ 33937 h 44201"/>
                  <a:gd name="connsiteX3" fmla="*/ 20469 w 32827"/>
                  <a:gd name="connsiteY3" fmla="*/ 3118 h 44201"/>
                  <a:gd name="connsiteX4" fmla="*/ 29696 w 32827"/>
                  <a:gd name="connsiteY4" fmla="*/ 1044 h 44201"/>
                  <a:gd name="connsiteX5" fmla="*/ 31797 w 32827"/>
                  <a:gd name="connsiteY5" fmla="*/ 10271 h 44201"/>
                  <a:gd name="connsiteX6" fmla="*/ 12359 w 32827"/>
                  <a:gd name="connsiteY6" fmla="*/ 41090 h 44201"/>
                  <a:gd name="connsiteX7" fmla="*/ 6695 w 32827"/>
                  <a:gd name="connsiteY7" fmla="*/ 44201 h 4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27" h="44201">
                    <a:moveTo>
                      <a:pt x="6695" y="44201"/>
                    </a:moveTo>
                    <a:cubicBezTo>
                      <a:pt x="5471" y="44201"/>
                      <a:pt x="4248" y="43855"/>
                      <a:pt x="3131" y="43164"/>
                    </a:cubicBezTo>
                    <a:cubicBezTo>
                      <a:pt x="-6" y="41196"/>
                      <a:pt x="-937" y="37075"/>
                      <a:pt x="1031" y="33937"/>
                    </a:cubicBezTo>
                    <a:lnTo>
                      <a:pt x="20469" y="3118"/>
                    </a:lnTo>
                    <a:cubicBezTo>
                      <a:pt x="22437" y="7"/>
                      <a:pt x="26585" y="-951"/>
                      <a:pt x="29696" y="1044"/>
                    </a:cubicBezTo>
                    <a:cubicBezTo>
                      <a:pt x="32834" y="3011"/>
                      <a:pt x="33764" y="7133"/>
                      <a:pt x="31797" y="10271"/>
                    </a:cubicBezTo>
                    <a:lnTo>
                      <a:pt x="12359" y="41090"/>
                    </a:lnTo>
                    <a:cubicBezTo>
                      <a:pt x="11082" y="43111"/>
                      <a:pt x="8902" y="44201"/>
                      <a:pt x="6695" y="44201"/>
                    </a:cubicBezTo>
                    <a:close/>
                  </a:path>
                </a:pathLst>
              </a:custGeom>
              <a:grpFill/>
              <a:ln w="2655" cap="flat">
                <a:noFill/>
                <a:prstDash val="solid"/>
                <a:miter/>
              </a:ln>
            </p:spPr>
            <p:txBody>
              <a:bodyPr rtlCol="0" anchor="ctr"/>
              <a:lstStyle/>
              <a:p>
                <a:endParaRPr lang="en-GB" dirty="0"/>
              </a:p>
            </p:txBody>
          </p:sp>
          <p:sp>
            <p:nvSpPr>
              <p:cNvPr id="368" name="Freihandform: Form 799">
                <a:extLst>
                  <a:ext uri="{FF2B5EF4-FFF2-40B4-BE49-F238E27FC236}">
                    <a16:creationId xmlns:a16="http://schemas.microsoft.com/office/drawing/2014/main" id="{1D1FFD06-6570-4F37-B011-A6AC5B3DB990}"/>
                  </a:ext>
                </a:extLst>
              </p:cNvPr>
              <p:cNvSpPr/>
              <p:nvPr/>
            </p:nvSpPr>
            <p:spPr>
              <a:xfrm>
                <a:off x="7890460" y="2837733"/>
                <a:ext cx="83647" cy="48830"/>
              </a:xfrm>
              <a:custGeom>
                <a:avLst/>
                <a:gdLst>
                  <a:gd name="connsiteX0" fmla="*/ 71055 w 83647"/>
                  <a:gd name="connsiteY0" fmla="*/ 48831 h 48830"/>
                  <a:gd name="connsiteX1" fmla="*/ 65631 w 83647"/>
                  <a:gd name="connsiteY1" fmla="*/ 46065 h 48830"/>
                  <a:gd name="connsiteX2" fmla="*/ 67120 w 83647"/>
                  <a:gd name="connsiteY2" fmla="*/ 36732 h 48830"/>
                  <a:gd name="connsiteX3" fmla="*/ 70178 w 83647"/>
                  <a:gd name="connsiteY3" fmla="*/ 30270 h 48830"/>
                  <a:gd name="connsiteX4" fmla="*/ 64062 w 83647"/>
                  <a:gd name="connsiteY4" fmla="*/ 20910 h 48830"/>
                  <a:gd name="connsiteX5" fmla="*/ 5827 w 83647"/>
                  <a:gd name="connsiteY5" fmla="*/ 13332 h 48830"/>
                  <a:gd name="connsiteX6" fmla="*/ 57 w 83647"/>
                  <a:gd name="connsiteY6" fmla="*/ 5833 h 48830"/>
                  <a:gd name="connsiteX7" fmla="*/ 7556 w 83647"/>
                  <a:gd name="connsiteY7" fmla="*/ 63 h 48830"/>
                  <a:gd name="connsiteX8" fmla="*/ 65817 w 83647"/>
                  <a:gd name="connsiteY8" fmla="*/ 7641 h 48830"/>
                  <a:gd name="connsiteX9" fmla="*/ 83473 w 83647"/>
                  <a:gd name="connsiteY9" fmla="*/ 31759 h 48830"/>
                  <a:gd name="connsiteX10" fmla="*/ 74964 w 83647"/>
                  <a:gd name="connsiteY10" fmla="*/ 47554 h 48830"/>
                  <a:gd name="connsiteX11" fmla="*/ 71055 w 83647"/>
                  <a:gd name="connsiteY11" fmla="*/ 48831 h 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647" h="48830">
                    <a:moveTo>
                      <a:pt x="71055" y="48831"/>
                    </a:moveTo>
                    <a:cubicBezTo>
                      <a:pt x="68981" y="48831"/>
                      <a:pt x="66934" y="47873"/>
                      <a:pt x="65631" y="46065"/>
                    </a:cubicBezTo>
                    <a:cubicBezTo>
                      <a:pt x="63477" y="43060"/>
                      <a:pt x="64142" y="38886"/>
                      <a:pt x="67120" y="36732"/>
                    </a:cubicBezTo>
                    <a:cubicBezTo>
                      <a:pt x="68662" y="35615"/>
                      <a:pt x="69859" y="33089"/>
                      <a:pt x="70178" y="30270"/>
                    </a:cubicBezTo>
                    <a:cubicBezTo>
                      <a:pt x="70390" y="28302"/>
                      <a:pt x="70603" y="21814"/>
                      <a:pt x="64062" y="20910"/>
                    </a:cubicBezTo>
                    <a:lnTo>
                      <a:pt x="5827" y="13332"/>
                    </a:lnTo>
                    <a:cubicBezTo>
                      <a:pt x="2158" y="12853"/>
                      <a:pt x="-421" y="9503"/>
                      <a:pt x="57" y="5833"/>
                    </a:cubicBezTo>
                    <a:cubicBezTo>
                      <a:pt x="536" y="2163"/>
                      <a:pt x="3860" y="-443"/>
                      <a:pt x="7556" y="63"/>
                    </a:cubicBezTo>
                    <a:lnTo>
                      <a:pt x="65817" y="7641"/>
                    </a:lnTo>
                    <a:cubicBezTo>
                      <a:pt x="77650" y="9263"/>
                      <a:pt x="84883" y="19182"/>
                      <a:pt x="83473" y="31759"/>
                    </a:cubicBezTo>
                    <a:cubicBezTo>
                      <a:pt x="82729" y="38327"/>
                      <a:pt x="79538" y="44230"/>
                      <a:pt x="74964" y="47554"/>
                    </a:cubicBezTo>
                    <a:cubicBezTo>
                      <a:pt x="73794" y="48405"/>
                      <a:pt x="72411" y="48831"/>
                      <a:pt x="71055" y="48831"/>
                    </a:cubicBezTo>
                    <a:close/>
                  </a:path>
                </a:pathLst>
              </a:custGeom>
              <a:grpFill/>
              <a:ln w="2655" cap="flat">
                <a:noFill/>
                <a:prstDash val="solid"/>
                <a:miter/>
              </a:ln>
            </p:spPr>
            <p:txBody>
              <a:bodyPr rtlCol="0" anchor="ctr"/>
              <a:lstStyle/>
              <a:p>
                <a:endParaRPr lang="en-GB" dirty="0"/>
              </a:p>
            </p:txBody>
          </p:sp>
          <p:grpSp>
            <p:nvGrpSpPr>
              <p:cNvPr id="369" name="Grafik 307">
                <a:extLst>
                  <a:ext uri="{FF2B5EF4-FFF2-40B4-BE49-F238E27FC236}">
                    <a16:creationId xmlns:a16="http://schemas.microsoft.com/office/drawing/2014/main" id="{B6DE7C7D-3CCF-46E7-85AD-25EB152578C4}"/>
                  </a:ext>
                </a:extLst>
              </p:cNvPr>
              <p:cNvGrpSpPr/>
              <p:nvPr/>
            </p:nvGrpSpPr>
            <p:grpSpPr>
              <a:xfrm>
                <a:off x="7846853" y="2642749"/>
                <a:ext cx="441392" cy="244186"/>
                <a:chOff x="7846853" y="2642749"/>
                <a:chExt cx="441392" cy="244185"/>
              </a:xfrm>
              <a:grpFill/>
            </p:grpSpPr>
            <p:sp>
              <p:nvSpPr>
                <p:cNvPr id="371" name="Freihandform: Form 801">
                  <a:extLst>
                    <a:ext uri="{FF2B5EF4-FFF2-40B4-BE49-F238E27FC236}">
                      <a16:creationId xmlns:a16="http://schemas.microsoft.com/office/drawing/2014/main" id="{FB29711A-47C3-4EF3-AE16-B9B1169482F3}"/>
                    </a:ext>
                  </a:extLst>
                </p:cNvPr>
                <p:cNvSpPr/>
                <p:nvPr/>
              </p:nvSpPr>
              <p:spPr>
                <a:xfrm>
                  <a:off x="8014277" y="2771481"/>
                  <a:ext cx="62799" cy="90617"/>
                </a:xfrm>
                <a:custGeom>
                  <a:avLst/>
                  <a:gdLst>
                    <a:gd name="connsiteX0" fmla="*/ 56103 w 62799"/>
                    <a:gd name="connsiteY0" fmla="*/ 90618 h 90617"/>
                    <a:gd name="connsiteX1" fmla="*/ 50466 w 62799"/>
                    <a:gd name="connsiteY1" fmla="*/ 87533 h 90617"/>
                    <a:gd name="connsiteX2" fmla="*/ 1059 w 62799"/>
                    <a:gd name="connsiteY2" fmla="*/ 10286 h 90617"/>
                    <a:gd name="connsiteX3" fmla="*/ 3080 w 62799"/>
                    <a:gd name="connsiteY3" fmla="*/ 1059 h 90617"/>
                    <a:gd name="connsiteX4" fmla="*/ 12334 w 62799"/>
                    <a:gd name="connsiteY4" fmla="*/ 3080 h 90617"/>
                    <a:gd name="connsiteX5" fmla="*/ 61740 w 62799"/>
                    <a:gd name="connsiteY5" fmla="*/ 80327 h 90617"/>
                    <a:gd name="connsiteX6" fmla="*/ 59719 w 62799"/>
                    <a:gd name="connsiteY6" fmla="*/ 89554 h 90617"/>
                    <a:gd name="connsiteX7" fmla="*/ 56103 w 62799"/>
                    <a:gd name="connsiteY7" fmla="*/ 90618 h 90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799" h="90617">
                      <a:moveTo>
                        <a:pt x="56103" y="90618"/>
                      </a:moveTo>
                      <a:cubicBezTo>
                        <a:pt x="53896" y="90618"/>
                        <a:pt x="51742" y="89528"/>
                        <a:pt x="50466" y="87533"/>
                      </a:cubicBezTo>
                      <a:lnTo>
                        <a:pt x="1059" y="10286"/>
                      </a:lnTo>
                      <a:cubicBezTo>
                        <a:pt x="-935" y="7175"/>
                        <a:pt x="-31" y="3027"/>
                        <a:pt x="3080" y="1059"/>
                      </a:cubicBezTo>
                      <a:cubicBezTo>
                        <a:pt x="6191" y="-935"/>
                        <a:pt x="10313" y="-31"/>
                        <a:pt x="12334" y="3080"/>
                      </a:cubicBezTo>
                      <a:lnTo>
                        <a:pt x="61740" y="80327"/>
                      </a:lnTo>
                      <a:cubicBezTo>
                        <a:pt x="63734" y="83438"/>
                        <a:pt x="62830" y="87587"/>
                        <a:pt x="59719" y="89554"/>
                      </a:cubicBezTo>
                      <a:cubicBezTo>
                        <a:pt x="58602" y="90272"/>
                        <a:pt x="57353" y="90618"/>
                        <a:pt x="56103" y="90618"/>
                      </a:cubicBezTo>
                      <a:close/>
                    </a:path>
                  </a:pathLst>
                </a:custGeom>
                <a:grpFill/>
                <a:ln w="2655" cap="flat">
                  <a:noFill/>
                  <a:prstDash val="solid"/>
                  <a:miter/>
                </a:ln>
              </p:spPr>
              <p:txBody>
                <a:bodyPr rtlCol="0" anchor="ctr"/>
                <a:lstStyle/>
                <a:p>
                  <a:endParaRPr lang="en-GB" dirty="0"/>
                </a:p>
              </p:txBody>
            </p:sp>
            <p:sp>
              <p:nvSpPr>
                <p:cNvPr id="372" name="Freihandform: Form 802">
                  <a:extLst>
                    <a:ext uri="{FF2B5EF4-FFF2-40B4-BE49-F238E27FC236}">
                      <a16:creationId xmlns:a16="http://schemas.microsoft.com/office/drawing/2014/main" id="{F3C867B2-69D7-48F0-90C1-3264962549E5}"/>
                    </a:ext>
                  </a:extLst>
                </p:cNvPr>
                <p:cNvSpPr/>
                <p:nvPr/>
              </p:nvSpPr>
              <p:spPr>
                <a:xfrm>
                  <a:off x="7846853" y="2751746"/>
                  <a:ext cx="424235" cy="135188"/>
                </a:xfrm>
                <a:custGeom>
                  <a:avLst/>
                  <a:gdLst>
                    <a:gd name="connsiteX0" fmla="*/ 417561 w 424235"/>
                    <a:gd name="connsiteY0" fmla="*/ 135189 h 135188"/>
                    <a:gd name="connsiteX1" fmla="*/ 417561 w 424235"/>
                    <a:gd name="connsiteY1" fmla="*/ 135189 h 135188"/>
                    <a:gd name="connsiteX2" fmla="*/ 23801 w 424235"/>
                    <a:gd name="connsiteY2" fmla="*/ 134551 h 135188"/>
                    <a:gd name="connsiteX3" fmla="*/ 22418 w 424235"/>
                    <a:gd name="connsiteY3" fmla="*/ 134391 h 135188"/>
                    <a:gd name="connsiteX4" fmla="*/ 2395 w 424235"/>
                    <a:gd name="connsiteY4" fmla="*/ 117506 h 135188"/>
                    <a:gd name="connsiteX5" fmla="*/ 3352 w 424235"/>
                    <a:gd name="connsiteY5" fmla="*/ 93521 h 135188"/>
                    <a:gd name="connsiteX6" fmla="*/ 45100 w 424235"/>
                    <a:gd name="connsiteY6" fmla="*/ 23187 h 135188"/>
                    <a:gd name="connsiteX7" fmla="*/ 97059 w 424235"/>
                    <a:gd name="connsiteY7" fmla="*/ 0 h 135188"/>
                    <a:gd name="connsiteX8" fmla="*/ 139472 w 424235"/>
                    <a:gd name="connsiteY8" fmla="*/ 0 h 135188"/>
                    <a:gd name="connsiteX9" fmla="*/ 188559 w 424235"/>
                    <a:gd name="connsiteY9" fmla="*/ 55150 h 135188"/>
                    <a:gd name="connsiteX10" fmla="*/ 188586 w 424235"/>
                    <a:gd name="connsiteY10" fmla="*/ 121415 h 135188"/>
                    <a:gd name="connsiteX11" fmla="*/ 417561 w 424235"/>
                    <a:gd name="connsiteY11" fmla="*/ 121787 h 135188"/>
                    <a:gd name="connsiteX12" fmla="*/ 424236 w 424235"/>
                    <a:gd name="connsiteY12" fmla="*/ 128488 h 135188"/>
                    <a:gd name="connsiteX13" fmla="*/ 417561 w 424235"/>
                    <a:gd name="connsiteY13" fmla="*/ 135189 h 135188"/>
                    <a:gd name="connsiteX14" fmla="*/ 24572 w 424235"/>
                    <a:gd name="connsiteY14" fmla="*/ 121202 h 135188"/>
                    <a:gd name="connsiteX15" fmla="*/ 175210 w 424235"/>
                    <a:gd name="connsiteY15" fmla="*/ 121441 h 135188"/>
                    <a:gd name="connsiteX16" fmla="*/ 175184 w 424235"/>
                    <a:gd name="connsiteY16" fmla="*/ 55203 h 135188"/>
                    <a:gd name="connsiteX17" fmla="*/ 139472 w 424235"/>
                    <a:gd name="connsiteY17" fmla="*/ 13428 h 135188"/>
                    <a:gd name="connsiteX18" fmla="*/ 97059 w 424235"/>
                    <a:gd name="connsiteY18" fmla="*/ 13428 h 135188"/>
                    <a:gd name="connsiteX19" fmla="*/ 56455 w 424235"/>
                    <a:gd name="connsiteY19" fmla="*/ 30287 h 135188"/>
                    <a:gd name="connsiteX20" fmla="*/ 14733 w 424235"/>
                    <a:gd name="connsiteY20" fmla="*/ 100567 h 135188"/>
                    <a:gd name="connsiteX21" fmla="*/ 14707 w 424235"/>
                    <a:gd name="connsiteY21" fmla="*/ 112374 h 135188"/>
                    <a:gd name="connsiteX22" fmla="*/ 24572 w 424235"/>
                    <a:gd name="connsiteY22" fmla="*/ 121202 h 13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24235" h="135188">
                      <a:moveTo>
                        <a:pt x="417561" y="135189"/>
                      </a:moveTo>
                      <a:cubicBezTo>
                        <a:pt x="417561" y="135189"/>
                        <a:pt x="417561" y="135189"/>
                        <a:pt x="417561" y="135189"/>
                      </a:cubicBezTo>
                      <a:lnTo>
                        <a:pt x="23801" y="134551"/>
                      </a:lnTo>
                      <a:cubicBezTo>
                        <a:pt x="23349" y="134551"/>
                        <a:pt x="22870" y="134498"/>
                        <a:pt x="22418" y="134391"/>
                      </a:cubicBezTo>
                      <a:cubicBezTo>
                        <a:pt x="13404" y="132477"/>
                        <a:pt x="6091" y="126334"/>
                        <a:pt x="2395" y="117506"/>
                      </a:cubicBezTo>
                      <a:cubicBezTo>
                        <a:pt x="-1115" y="109210"/>
                        <a:pt x="-743" y="100009"/>
                        <a:pt x="3352" y="93521"/>
                      </a:cubicBezTo>
                      <a:lnTo>
                        <a:pt x="45100" y="23187"/>
                      </a:lnTo>
                      <a:cubicBezTo>
                        <a:pt x="59353" y="1117"/>
                        <a:pt x="74138" y="0"/>
                        <a:pt x="97059" y="0"/>
                      </a:cubicBezTo>
                      <a:lnTo>
                        <a:pt x="139472" y="0"/>
                      </a:lnTo>
                      <a:cubicBezTo>
                        <a:pt x="159841" y="0"/>
                        <a:pt x="188559" y="17125"/>
                        <a:pt x="188559" y="55150"/>
                      </a:cubicBezTo>
                      <a:lnTo>
                        <a:pt x="188586" y="121415"/>
                      </a:lnTo>
                      <a:lnTo>
                        <a:pt x="417561" y="121787"/>
                      </a:lnTo>
                      <a:cubicBezTo>
                        <a:pt x="421258" y="121787"/>
                        <a:pt x="424236" y="124792"/>
                        <a:pt x="424236" y="128488"/>
                      </a:cubicBezTo>
                      <a:cubicBezTo>
                        <a:pt x="424236" y="132211"/>
                        <a:pt x="421258" y="135189"/>
                        <a:pt x="417561" y="135189"/>
                      </a:cubicBezTo>
                      <a:close/>
                      <a:moveTo>
                        <a:pt x="24572" y="121202"/>
                      </a:moveTo>
                      <a:lnTo>
                        <a:pt x="175210" y="121441"/>
                      </a:lnTo>
                      <a:lnTo>
                        <a:pt x="175184" y="55203"/>
                      </a:lnTo>
                      <a:cubicBezTo>
                        <a:pt x="175184" y="23639"/>
                        <a:pt x="151119" y="13428"/>
                        <a:pt x="139472" y="13428"/>
                      </a:cubicBezTo>
                      <a:lnTo>
                        <a:pt x="97059" y="13428"/>
                      </a:lnTo>
                      <a:cubicBezTo>
                        <a:pt x="75042" y="13428"/>
                        <a:pt x="66453" y="14811"/>
                        <a:pt x="56455" y="30287"/>
                      </a:cubicBezTo>
                      <a:lnTo>
                        <a:pt x="14733" y="100567"/>
                      </a:lnTo>
                      <a:cubicBezTo>
                        <a:pt x="12899" y="103492"/>
                        <a:pt x="12925" y="108172"/>
                        <a:pt x="14707" y="112374"/>
                      </a:cubicBezTo>
                      <a:cubicBezTo>
                        <a:pt x="15850" y="115033"/>
                        <a:pt x="18616" y="119660"/>
                        <a:pt x="24572" y="121202"/>
                      </a:cubicBezTo>
                      <a:close/>
                    </a:path>
                  </a:pathLst>
                </a:custGeom>
                <a:grpFill/>
                <a:ln w="2655" cap="flat">
                  <a:noFill/>
                  <a:prstDash val="solid"/>
                  <a:miter/>
                </a:ln>
              </p:spPr>
              <p:txBody>
                <a:bodyPr rtlCol="0" anchor="ctr"/>
                <a:lstStyle/>
                <a:p>
                  <a:endParaRPr lang="en-GB" dirty="0"/>
                </a:p>
              </p:txBody>
            </p:sp>
            <p:sp>
              <p:nvSpPr>
                <p:cNvPr id="373" name="Freihandform: Form 803">
                  <a:extLst>
                    <a:ext uri="{FF2B5EF4-FFF2-40B4-BE49-F238E27FC236}">
                      <a16:creationId xmlns:a16="http://schemas.microsoft.com/office/drawing/2014/main" id="{3B1C9B14-9277-44EE-93AA-0C65820D5E5E}"/>
                    </a:ext>
                  </a:extLst>
                </p:cNvPr>
                <p:cNvSpPr/>
                <p:nvPr/>
              </p:nvSpPr>
              <p:spPr>
                <a:xfrm>
                  <a:off x="7919076" y="2642749"/>
                  <a:ext cx="86048" cy="98174"/>
                </a:xfrm>
                <a:custGeom>
                  <a:avLst/>
                  <a:gdLst>
                    <a:gd name="connsiteX0" fmla="*/ 43024 w 86048"/>
                    <a:gd name="connsiteY0" fmla="*/ 98174 h 98174"/>
                    <a:gd name="connsiteX1" fmla="*/ 0 w 86048"/>
                    <a:gd name="connsiteY1" fmla="*/ 49087 h 98174"/>
                    <a:gd name="connsiteX2" fmla="*/ 43024 w 86048"/>
                    <a:gd name="connsiteY2" fmla="*/ 0 h 98174"/>
                    <a:gd name="connsiteX3" fmla="*/ 86049 w 86048"/>
                    <a:gd name="connsiteY3" fmla="*/ 49087 h 98174"/>
                    <a:gd name="connsiteX4" fmla="*/ 43024 w 86048"/>
                    <a:gd name="connsiteY4" fmla="*/ 98174 h 98174"/>
                    <a:gd name="connsiteX5" fmla="*/ 43024 w 86048"/>
                    <a:gd name="connsiteY5" fmla="*/ 13375 h 98174"/>
                    <a:gd name="connsiteX6" fmla="*/ 13375 w 86048"/>
                    <a:gd name="connsiteY6" fmla="*/ 49087 h 98174"/>
                    <a:gd name="connsiteX7" fmla="*/ 43024 w 86048"/>
                    <a:gd name="connsiteY7" fmla="*/ 84799 h 98174"/>
                    <a:gd name="connsiteX8" fmla="*/ 72673 w 86048"/>
                    <a:gd name="connsiteY8" fmla="*/ 49087 h 98174"/>
                    <a:gd name="connsiteX9" fmla="*/ 43024 w 86048"/>
                    <a:gd name="connsiteY9" fmla="*/ 13375 h 98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048" h="98174">
                      <a:moveTo>
                        <a:pt x="43024" y="98174"/>
                      </a:moveTo>
                      <a:cubicBezTo>
                        <a:pt x="17683" y="98174"/>
                        <a:pt x="0" y="77992"/>
                        <a:pt x="0" y="49087"/>
                      </a:cubicBezTo>
                      <a:cubicBezTo>
                        <a:pt x="0" y="20183"/>
                        <a:pt x="17710" y="0"/>
                        <a:pt x="43024" y="0"/>
                      </a:cubicBezTo>
                      <a:cubicBezTo>
                        <a:pt x="68366" y="0"/>
                        <a:pt x="86049" y="20183"/>
                        <a:pt x="86049" y="49087"/>
                      </a:cubicBezTo>
                      <a:cubicBezTo>
                        <a:pt x="86049" y="77992"/>
                        <a:pt x="68366" y="98174"/>
                        <a:pt x="43024" y="98174"/>
                      </a:cubicBezTo>
                      <a:close/>
                      <a:moveTo>
                        <a:pt x="43024" y="13375"/>
                      </a:moveTo>
                      <a:cubicBezTo>
                        <a:pt x="21140" y="13375"/>
                        <a:pt x="13375" y="32627"/>
                        <a:pt x="13375" y="49087"/>
                      </a:cubicBezTo>
                      <a:cubicBezTo>
                        <a:pt x="13375" y="65547"/>
                        <a:pt x="21140" y="84799"/>
                        <a:pt x="43024" y="84799"/>
                      </a:cubicBezTo>
                      <a:cubicBezTo>
                        <a:pt x="64909" y="84799"/>
                        <a:pt x="72673" y="65574"/>
                        <a:pt x="72673" y="49087"/>
                      </a:cubicBezTo>
                      <a:cubicBezTo>
                        <a:pt x="72673" y="32601"/>
                        <a:pt x="64909" y="13375"/>
                        <a:pt x="43024" y="13375"/>
                      </a:cubicBezTo>
                      <a:close/>
                    </a:path>
                  </a:pathLst>
                </a:custGeom>
                <a:grpFill/>
                <a:ln w="2655" cap="flat">
                  <a:noFill/>
                  <a:prstDash val="solid"/>
                  <a:miter/>
                </a:ln>
              </p:spPr>
              <p:txBody>
                <a:bodyPr rtlCol="0" anchor="ctr"/>
                <a:lstStyle/>
                <a:p>
                  <a:endParaRPr lang="en-GB" dirty="0"/>
                </a:p>
              </p:txBody>
            </p:sp>
            <p:sp>
              <p:nvSpPr>
                <p:cNvPr id="374" name="Freihandform: Form 804">
                  <a:extLst>
                    <a:ext uri="{FF2B5EF4-FFF2-40B4-BE49-F238E27FC236}">
                      <a16:creationId xmlns:a16="http://schemas.microsoft.com/office/drawing/2014/main" id="{E8130F03-AC3A-4FC3-891E-1CC7AC7D0B87}"/>
                    </a:ext>
                  </a:extLst>
                </p:cNvPr>
                <p:cNvSpPr/>
                <p:nvPr/>
              </p:nvSpPr>
              <p:spPr>
                <a:xfrm>
                  <a:off x="8022409" y="2757835"/>
                  <a:ext cx="265836" cy="128488"/>
                </a:xfrm>
                <a:custGeom>
                  <a:avLst/>
                  <a:gdLst>
                    <a:gd name="connsiteX0" fmla="*/ 230093 w 265836"/>
                    <a:gd name="connsiteY0" fmla="*/ 128488 h 128488"/>
                    <a:gd name="connsiteX1" fmla="*/ 6701 w 265836"/>
                    <a:gd name="connsiteY1" fmla="*/ 128488 h 128488"/>
                    <a:gd name="connsiteX2" fmla="*/ 0 w 265836"/>
                    <a:gd name="connsiteY2" fmla="*/ 121787 h 128488"/>
                    <a:gd name="connsiteX3" fmla="*/ 0 w 265836"/>
                    <a:gd name="connsiteY3" fmla="*/ 97563 h 128488"/>
                    <a:gd name="connsiteX4" fmla="*/ 6674 w 265836"/>
                    <a:gd name="connsiteY4" fmla="*/ 90862 h 128488"/>
                    <a:gd name="connsiteX5" fmla="*/ 67408 w 265836"/>
                    <a:gd name="connsiteY5" fmla="*/ 90835 h 128488"/>
                    <a:gd name="connsiteX6" fmla="*/ 93813 w 265836"/>
                    <a:gd name="connsiteY6" fmla="*/ 4733 h 128488"/>
                    <a:gd name="connsiteX7" fmla="*/ 100195 w 265836"/>
                    <a:gd name="connsiteY7" fmla="*/ 0 h 128488"/>
                    <a:gd name="connsiteX8" fmla="*/ 259157 w 265836"/>
                    <a:gd name="connsiteY8" fmla="*/ 0 h 128488"/>
                    <a:gd name="connsiteX9" fmla="*/ 264554 w 265836"/>
                    <a:gd name="connsiteY9" fmla="*/ 2739 h 128488"/>
                    <a:gd name="connsiteX10" fmla="*/ 265512 w 265836"/>
                    <a:gd name="connsiteY10" fmla="*/ 8722 h 128488"/>
                    <a:gd name="connsiteX11" fmla="*/ 236740 w 265836"/>
                    <a:gd name="connsiteY11" fmla="*/ 98547 h 128488"/>
                    <a:gd name="connsiteX12" fmla="*/ 236740 w 265836"/>
                    <a:gd name="connsiteY12" fmla="*/ 121761 h 128488"/>
                    <a:gd name="connsiteX13" fmla="*/ 230093 w 265836"/>
                    <a:gd name="connsiteY13" fmla="*/ 128488 h 128488"/>
                    <a:gd name="connsiteX14" fmla="*/ 13402 w 265836"/>
                    <a:gd name="connsiteY14" fmla="*/ 115113 h 128488"/>
                    <a:gd name="connsiteX15" fmla="*/ 223418 w 265836"/>
                    <a:gd name="connsiteY15" fmla="*/ 115113 h 128488"/>
                    <a:gd name="connsiteX16" fmla="*/ 223418 w 265836"/>
                    <a:gd name="connsiteY16" fmla="*/ 97563 h 128488"/>
                    <a:gd name="connsiteX17" fmla="*/ 223737 w 265836"/>
                    <a:gd name="connsiteY17" fmla="*/ 95489 h 128488"/>
                    <a:gd name="connsiteX18" fmla="*/ 250036 w 265836"/>
                    <a:gd name="connsiteY18" fmla="*/ 13375 h 128488"/>
                    <a:gd name="connsiteX19" fmla="*/ 105194 w 265836"/>
                    <a:gd name="connsiteY19" fmla="*/ 13375 h 128488"/>
                    <a:gd name="connsiteX20" fmla="*/ 78789 w 265836"/>
                    <a:gd name="connsiteY20" fmla="*/ 99477 h 128488"/>
                    <a:gd name="connsiteX21" fmla="*/ 72407 w 265836"/>
                    <a:gd name="connsiteY21" fmla="*/ 104210 h 128488"/>
                    <a:gd name="connsiteX22" fmla="*/ 13402 w 265836"/>
                    <a:gd name="connsiteY22" fmla="*/ 104237 h 128488"/>
                    <a:gd name="connsiteX23" fmla="*/ 13402 w 265836"/>
                    <a:gd name="connsiteY23" fmla="*/ 115113 h 128488"/>
                    <a:gd name="connsiteX24" fmla="*/ 72381 w 265836"/>
                    <a:gd name="connsiteY24" fmla="*/ 97536 h 128488"/>
                    <a:gd name="connsiteX25" fmla="*/ 72434 w 265836"/>
                    <a:gd name="connsiteY25" fmla="*/ 97536 h 128488"/>
                    <a:gd name="connsiteX26" fmla="*/ 72381 w 265836"/>
                    <a:gd name="connsiteY26" fmla="*/ 97536 h 128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5836" h="128488">
                      <a:moveTo>
                        <a:pt x="230093" y="128488"/>
                      </a:moveTo>
                      <a:lnTo>
                        <a:pt x="6701" y="128488"/>
                      </a:lnTo>
                      <a:cubicBezTo>
                        <a:pt x="3005" y="128488"/>
                        <a:pt x="0" y="125483"/>
                        <a:pt x="0" y="121787"/>
                      </a:cubicBezTo>
                      <a:lnTo>
                        <a:pt x="0" y="97563"/>
                      </a:lnTo>
                      <a:cubicBezTo>
                        <a:pt x="0" y="93867"/>
                        <a:pt x="3005" y="90888"/>
                        <a:pt x="6674" y="90862"/>
                      </a:cubicBezTo>
                      <a:lnTo>
                        <a:pt x="67408" y="90835"/>
                      </a:lnTo>
                      <a:lnTo>
                        <a:pt x="93813" y="4733"/>
                      </a:lnTo>
                      <a:cubicBezTo>
                        <a:pt x="94664" y="1915"/>
                        <a:pt x="97270" y="0"/>
                        <a:pt x="100195" y="0"/>
                      </a:cubicBezTo>
                      <a:lnTo>
                        <a:pt x="259157" y="0"/>
                      </a:lnTo>
                      <a:cubicBezTo>
                        <a:pt x="261284" y="0"/>
                        <a:pt x="263305" y="1010"/>
                        <a:pt x="264554" y="2739"/>
                      </a:cubicBezTo>
                      <a:cubicBezTo>
                        <a:pt x="265805" y="4467"/>
                        <a:pt x="266176" y="6674"/>
                        <a:pt x="265512" y="8722"/>
                      </a:cubicBezTo>
                      <a:lnTo>
                        <a:pt x="236740" y="98547"/>
                      </a:lnTo>
                      <a:lnTo>
                        <a:pt x="236740" y="121761"/>
                      </a:lnTo>
                      <a:cubicBezTo>
                        <a:pt x="236794" y="125483"/>
                        <a:pt x="233789" y="128488"/>
                        <a:pt x="230093" y="128488"/>
                      </a:cubicBezTo>
                      <a:close/>
                      <a:moveTo>
                        <a:pt x="13402" y="115113"/>
                      </a:moveTo>
                      <a:lnTo>
                        <a:pt x="223418" y="115113"/>
                      </a:lnTo>
                      <a:lnTo>
                        <a:pt x="223418" y="97563"/>
                      </a:lnTo>
                      <a:cubicBezTo>
                        <a:pt x="223418" y="96871"/>
                        <a:pt x="223525" y="96153"/>
                        <a:pt x="223737" y="95489"/>
                      </a:cubicBezTo>
                      <a:lnTo>
                        <a:pt x="250036" y="13375"/>
                      </a:lnTo>
                      <a:lnTo>
                        <a:pt x="105194" y="13375"/>
                      </a:lnTo>
                      <a:lnTo>
                        <a:pt x="78789" y="99477"/>
                      </a:lnTo>
                      <a:cubicBezTo>
                        <a:pt x="77939" y="102296"/>
                        <a:pt x="75333" y="104210"/>
                        <a:pt x="72407" y="104210"/>
                      </a:cubicBezTo>
                      <a:lnTo>
                        <a:pt x="13402" y="104237"/>
                      </a:lnTo>
                      <a:lnTo>
                        <a:pt x="13402" y="115113"/>
                      </a:lnTo>
                      <a:close/>
                      <a:moveTo>
                        <a:pt x="72381" y="97536"/>
                      </a:moveTo>
                      <a:lnTo>
                        <a:pt x="72434" y="97536"/>
                      </a:lnTo>
                      <a:lnTo>
                        <a:pt x="72381" y="97536"/>
                      </a:lnTo>
                      <a:close/>
                    </a:path>
                  </a:pathLst>
                </a:custGeom>
                <a:grpFill/>
                <a:ln w="2655" cap="flat">
                  <a:noFill/>
                  <a:prstDash val="solid"/>
                  <a:miter/>
                </a:ln>
              </p:spPr>
              <p:txBody>
                <a:bodyPr rtlCol="0" anchor="ctr"/>
                <a:lstStyle/>
                <a:p>
                  <a:endParaRPr lang="en-GB" dirty="0"/>
                </a:p>
              </p:txBody>
            </p:sp>
          </p:grpSp>
          <p:sp>
            <p:nvSpPr>
              <p:cNvPr id="370" name="Freihandform: Form 805">
                <a:extLst>
                  <a:ext uri="{FF2B5EF4-FFF2-40B4-BE49-F238E27FC236}">
                    <a16:creationId xmlns:a16="http://schemas.microsoft.com/office/drawing/2014/main" id="{1DD9C06A-D1AB-43D7-A59A-F06F703BECD7}"/>
                  </a:ext>
                </a:extLst>
              </p:cNvPr>
              <p:cNvSpPr/>
              <p:nvPr/>
            </p:nvSpPr>
            <p:spPr>
              <a:xfrm>
                <a:off x="8128401" y="2590019"/>
                <a:ext cx="160556" cy="137715"/>
              </a:xfrm>
              <a:custGeom>
                <a:avLst/>
                <a:gdLst>
                  <a:gd name="connsiteX0" fmla="*/ 46853 w 160556"/>
                  <a:gd name="connsiteY0" fmla="*/ 137715 h 137715"/>
                  <a:gd name="connsiteX1" fmla="*/ 41722 w 160556"/>
                  <a:gd name="connsiteY1" fmla="*/ 136678 h 137715"/>
                  <a:gd name="connsiteX2" fmla="*/ 33452 w 160556"/>
                  <a:gd name="connsiteY2" fmla="*/ 124313 h 137715"/>
                  <a:gd name="connsiteX3" fmla="*/ 33452 w 160556"/>
                  <a:gd name="connsiteY3" fmla="*/ 107002 h 137715"/>
                  <a:gd name="connsiteX4" fmla="*/ 20076 w 160556"/>
                  <a:gd name="connsiteY4" fmla="*/ 107002 h 137715"/>
                  <a:gd name="connsiteX5" fmla="*/ 0 w 160556"/>
                  <a:gd name="connsiteY5" fmla="*/ 86926 h 137715"/>
                  <a:gd name="connsiteX6" fmla="*/ 0 w 160556"/>
                  <a:gd name="connsiteY6" fmla="*/ 20076 h 137715"/>
                  <a:gd name="connsiteX7" fmla="*/ 20076 w 160556"/>
                  <a:gd name="connsiteY7" fmla="*/ 0 h 137715"/>
                  <a:gd name="connsiteX8" fmla="*/ 140481 w 160556"/>
                  <a:gd name="connsiteY8" fmla="*/ 0 h 137715"/>
                  <a:gd name="connsiteX9" fmla="*/ 160557 w 160556"/>
                  <a:gd name="connsiteY9" fmla="*/ 20076 h 137715"/>
                  <a:gd name="connsiteX10" fmla="*/ 160557 w 160556"/>
                  <a:gd name="connsiteY10" fmla="*/ 86979 h 137715"/>
                  <a:gd name="connsiteX11" fmla="*/ 140481 w 160556"/>
                  <a:gd name="connsiteY11" fmla="*/ 107056 h 137715"/>
                  <a:gd name="connsiteX12" fmla="*/ 83044 w 160556"/>
                  <a:gd name="connsiteY12" fmla="*/ 107056 h 137715"/>
                  <a:gd name="connsiteX13" fmla="*/ 56293 w 160556"/>
                  <a:gd name="connsiteY13" fmla="*/ 133806 h 137715"/>
                  <a:gd name="connsiteX14" fmla="*/ 46853 w 160556"/>
                  <a:gd name="connsiteY14" fmla="*/ 137715 h 137715"/>
                  <a:gd name="connsiteX15" fmla="*/ 20103 w 160556"/>
                  <a:gd name="connsiteY15" fmla="*/ 13375 h 137715"/>
                  <a:gd name="connsiteX16" fmla="*/ 13402 w 160556"/>
                  <a:gd name="connsiteY16" fmla="*/ 20076 h 137715"/>
                  <a:gd name="connsiteX17" fmla="*/ 13402 w 160556"/>
                  <a:gd name="connsiteY17" fmla="*/ 86979 h 137715"/>
                  <a:gd name="connsiteX18" fmla="*/ 20103 w 160556"/>
                  <a:gd name="connsiteY18" fmla="*/ 93680 h 137715"/>
                  <a:gd name="connsiteX19" fmla="*/ 40179 w 160556"/>
                  <a:gd name="connsiteY19" fmla="*/ 93680 h 137715"/>
                  <a:gd name="connsiteX20" fmla="*/ 46880 w 160556"/>
                  <a:gd name="connsiteY20" fmla="*/ 100381 h 137715"/>
                  <a:gd name="connsiteX21" fmla="*/ 46880 w 160556"/>
                  <a:gd name="connsiteY21" fmla="*/ 124313 h 137715"/>
                  <a:gd name="connsiteX22" fmla="*/ 75599 w 160556"/>
                  <a:gd name="connsiteY22" fmla="*/ 95595 h 137715"/>
                  <a:gd name="connsiteX23" fmla="*/ 80332 w 160556"/>
                  <a:gd name="connsiteY23" fmla="*/ 93627 h 137715"/>
                  <a:gd name="connsiteX24" fmla="*/ 140534 w 160556"/>
                  <a:gd name="connsiteY24" fmla="*/ 93627 h 137715"/>
                  <a:gd name="connsiteX25" fmla="*/ 147235 w 160556"/>
                  <a:gd name="connsiteY25" fmla="*/ 86926 h 137715"/>
                  <a:gd name="connsiteX26" fmla="*/ 147235 w 160556"/>
                  <a:gd name="connsiteY26" fmla="*/ 20076 h 137715"/>
                  <a:gd name="connsiteX27" fmla="*/ 140534 w 160556"/>
                  <a:gd name="connsiteY27" fmla="*/ 13375 h 137715"/>
                  <a:gd name="connsiteX28" fmla="*/ 20103 w 160556"/>
                  <a:gd name="connsiteY28" fmla="*/ 13375 h 137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60556" h="137715">
                    <a:moveTo>
                      <a:pt x="46853" y="137715"/>
                    </a:moveTo>
                    <a:cubicBezTo>
                      <a:pt x="45125" y="137715"/>
                      <a:pt x="43397" y="137369"/>
                      <a:pt x="41722" y="136678"/>
                    </a:cubicBezTo>
                    <a:cubicBezTo>
                      <a:pt x="36696" y="134604"/>
                      <a:pt x="33452" y="129738"/>
                      <a:pt x="33452" y="124313"/>
                    </a:cubicBezTo>
                    <a:lnTo>
                      <a:pt x="33452" y="107002"/>
                    </a:lnTo>
                    <a:lnTo>
                      <a:pt x="20076" y="107002"/>
                    </a:lnTo>
                    <a:cubicBezTo>
                      <a:pt x="9014" y="107002"/>
                      <a:pt x="0" y="97988"/>
                      <a:pt x="0" y="86926"/>
                    </a:cubicBezTo>
                    <a:lnTo>
                      <a:pt x="0" y="20076"/>
                    </a:lnTo>
                    <a:cubicBezTo>
                      <a:pt x="0" y="9014"/>
                      <a:pt x="9014" y="0"/>
                      <a:pt x="20076" y="0"/>
                    </a:cubicBezTo>
                    <a:lnTo>
                      <a:pt x="140481" y="0"/>
                    </a:lnTo>
                    <a:cubicBezTo>
                      <a:pt x="151542" y="0"/>
                      <a:pt x="160557" y="9014"/>
                      <a:pt x="160557" y="20076"/>
                    </a:cubicBezTo>
                    <a:lnTo>
                      <a:pt x="160557" y="86979"/>
                    </a:lnTo>
                    <a:cubicBezTo>
                      <a:pt x="160557" y="98041"/>
                      <a:pt x="151542" y="107056"/>
                      <a:pt x="140481" y="107056"/>
                    </a:cubicBezTo>
                    <a:lnTo>
                      <a:pt x="83044" y="107056"/>
                    </a:lnTo>
                    <a:lnTo>
                      <a:pt x="56293" y="133806"/>
                    </a:lnTo>
                    <a:cubicBezTo>
                      <a:pt x="53741" y="136359"/>
                      <a:pt x="50337" y="137715"/>
                      <a:pt x="46853" y="137715"/>
                    </a:cubicBezTo>
                    <a:close/>
                    <a:moveTo>
                      <a:pt x="20103" y="13375"/>
                    </a:moveTo>
                    <a:cubicBezTo>
                      <a:pt x="16407" y="13375"/>
                      <a:pt x="13402" y="16380"/>
                      <a:pt x="13402" y="20076"/>
                    </a:cubicBezTo>
                    <a:lnTo>
                      <a:pt x="13402" y="86979"/>
                    </a:lnTo>
                    <a:cubicBezTo>
                      <a:pt x="13402" y="90676"/>
                      <a:pt x="16407" y="93680"/>
                      <a:pt x="20103" y="93680"/>
                    </a:cubicBezTo>
                    <a:lnTo>
                      <a:pt x="40179" y="93680"/>
                    </a:lnTo>
                    <a:cubicBezTo>
                      <a:pt x="43875" y="93680"/>
                      <a:pt x="46880" y="96685"/>
                      <a:pt x="46880" y="100381"/>
                    </a:cubicBezTo>
                    <a:lnTo>
                      <a:pt x="46880" y="124313"/>
                    </a:lnTo>
                    <a:lnTo>
                      <a:pt x="75599" y="95595"/>
                    </a:lnTo>
                    <a:cubicBezTo>
                      <a:pt x="76848" y="94345"/>
                      <a:pt x="78550" y="93627"/>
                      <a:pt x="80332" y="93627"/>
                    </a:cubicBezTo>
                    <a:lnTo>
                      <a:pt x="140534" y="93627"/>
                    </a:lnTo>
                    <a:cubicBezTo>
                      <a:pt x="144230" y="93627"/>
                      <a:pt x="147235" y="90622"/>
                      <a:pt x="147235" y="86926"/>
                    </a:cubicBezTo>
                    <a:lnTo>
                      <a:pt x="147235" y="20076"/>
                    </a:lnTo>
                    <a:cubicBezTo>
                      <a:pt x="147235" y="16380"/>
                      <a:pt x="144230" y="13375"/>
                      <a:pt x="140534" y="13375"/>
                    </a:cubicBezTo>
                    <a:lnTo>
                      <a:pt x="20103" y="13375"/>
                    </a:lnTo>
                    <a:close/>
                  </a:path>
                </a:pathLst>
              </a:custGeom>
              <a:grpFill/>
              <a:ln w="2655" cap="flat">
                <a:noFill/>
                <a:prstDash val="solid"/>
                <a:miter/>
              </a:ln>
            </p:spPr>
            <p:txBody>
              <a:bodyPr rtlCol="0" anchor="ctr"/>
              <a:lstStyle/>
              <a:p>
                <a:endParaRPr lang="en-GB" dirty="0"/>
              </a:p>
            </p:txBody>
          </p:sp>
        </p:grpSp>
      </p:grpSp>
      <p:grpSp>
        <p:nvGrpSpPr>
          <p:cNvPr id="630" name="Group 629">
            <a:extLst>
              <a:ext uri="{FF2B5EF4-FFF2-40B4-BE49-F238E27FC236}">
                <a16:creationId xmlns:a16="http://schemas.microsoft.com/office/drawing/2014/main" id="{54961089-0CD8-5D36-1DA4-59D29FFF699F}"/>
              </a:ext>
            </a:extLst>
          </p:cNvPr>
          <p:cNvGrpSpPr/>
          <p:nvPr/>
        </p:nvGrpSpPr>
        <p:grpSpPr>
          <a:xfrm>
            <a:off x="6966366" y="1593084"/>
            <a:ext cx="666337" cy="432000"/>
            <a:chOff x="6965954" y="1593084"/>
            <a:chExt cx="666337" cy="432000"/>
          </a:xfrm>
        </p:grpSpPr>
        <p:sp>
          <p:nvSpPr>
            <p:cNvPr id="382" name="Freihandform: Form 783">
              <a:extLst>
                <a:ext uri="{FF2B5EF4-FFF2-40B4-BE49-F238E27FC236}">
                  <a16:creationId xmlns:a16="http://schemas.microsoft.com/office/drawing/2014/main" id="{ECE27B19-625D-4527-AEDC-97ED6074CF14}"/>
                </a:ext>
              </a:extLst>
            </p:cNvPr>
            <p:cNvSpPr/>
            <p:nvPr/>
          </p:nvSpPr>
          <p:spPr>
            <a:xfrm>
              <a:off x="7243167" y="1593084"/>
              <a:ext cx="154736" cy="144119"/>
            </a:xfrm>
            <a:custGeom>
              <a:avLst/>
              <a:gdLst>
                <a:gd name="connsiteX0" fmla="*/ 41363 w 114917"/>
                <a:gd name="connsiteY0" fmla="*/ 107033 h 107032"/>
                <a:gd name="connsiteX1" fmla="*/ 36683 w 114917"/>
                <a:gd name="connsiteY1" fmla="*/ 105118 h 107032"/>
                <a:gd name="connsiteX2" fmla="*/ 2008 w 114917"/>
                <a:gd name="connsiteY2" fmla="*/ 71268 h 107032"/>
                <a:gd name="connsiteX3" fmla="*/ 1902 w 114917"/>
                <a:gd name="connsiteY3" fmla="*/ 61801 h 107032"/>
                <a:gd name="connsiteX4" fmla="*/ 11368 w 114917"/>
                <a:gd name="connsiteY4" fmla="*/ 61695 h 107032"/>
                <a:gd name="connsiteX5" fmla="*/ 40432 w 114917"/>
                <a:gd name="connsiteY5" fmla="*/ 90094 h 107032"/>
                <a:gd name="connsiteX6" fmla="*/ 102788 w 114917"/>
                <a:gd name="connsiteY6" fmla="*/ 2796 h 107032"/>
                <a:gd name="connsiteX7" fmla="*/ 112122 w 114917"/>
                <a:gd name="connsiteY7" fmla="*/ 1253 h 107032"/>
                <a:gd name="connsiteX8" fmla="*/ 113664 w 114917"/>
                <a:gd name="connsiteY8" fmla="*/ 10587 h 107032"/>
                <a:gd name="connsiteX9" fmla="*/ 46761 w 114917"/>
                <a:gd name="connsiteY9" fmla="*/ 104241 h 107032"/>
                <a:gd name="connsiteX10" fmla="*/ 41895 w 114917"/>
                <a:gd name="connsiteY10" fmla="*/ 107006 h 107032"/>
                <a:gd name="connsiteX11" fmla="*/ 41363 w 114917"/>
                <a:gd name="connsiteY11" fmla="*/ 107033 h 10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4917" h="107032">
                  <a:moveTo>
                    <a:pt x="41363" y="107033"/>
                  </a:moveTo>
                  <a:cubicBezTo>
                    <a:pt x="39634" y="107033"/>
                    <a:pt x="37959" y="106341"/>
                    <a:pt x="36683" y="105118"/>
                  </a:cubicBezTo>
                  <a:lnTo>
                    <a:pt x="2008" y="71268"/>
                  </a:lnTo>
                  <a:cubicBezTo>
                    <a:pt x="-624" y="68688"/>
                    <a:pt x="-678" y="64460"/>
                    <a:pt x="1902" y="61801"/>
                  </a:cubicBezTo>
                  <a:cubicBezTo>
                    <a:pt x="4508" y="59169"/>
                    <a:pt x="8709" y="59115"/>
                    <a:pt x="11368" y="61695"/>
                  </a:cubicBezTo>
                  <a:lnTo>
                    <a:pt x="40432" y="90094"/>
                  </a:lnTo>
                  <a:lnTo>
                    <a:pt x="102788" y="2796"/>
                  </a:lnTo>
                  <a:cubicBezTo>
                    <a:pt x="104942" y="-209"/>
                    <a:pt x="109117" y="-900"/>
                    <a:pt x="112122" y="1253"/>
                  </a:cubicBezTo>
                  <a:cubicBezTo>
                    <a:pt x="115126" y="3407"/>
                    <a:pt x="115818" y="7582"/>
                    <a:pt x="113664" y="10587"/>
                  </a:cubicBezTo>
                  <a:lnTo>
                    <a:pt x="46761" y="104241"/>
                  </a:lnTo>
                  <a:cubicBezTo>
                    <a:pt x="45617" y="105836"/>
                    <a:pt x="43862" y="106846"/>
                    <a:pt x="41895" y="107006"/>
                  </a:cubicBezTo>
                  <a:cubicBezTo>
                    <a:pt x="41735" y="107006"/>
                    <a:pt x="41549" y="107033"/>
                    <a:pt x="41363" y="107033"/>
                  </a:cubicBezTo>
                  <a:close/>
                </a:path>
              </a:pathLst>
            </a:custGeom>
            <a:solidFill>
              <a:schemeClr val="accent1"/>
            </a:solidFill>
            <a:ln w="2655" cap="flat">
              <a:noFill/>
              <a:prstDash val="solid"/>
              <a:miter/>
            </a:ln>
          </p:spPr>
          <p:txBody>
            <a:bodyPr rtlCol="0" anchor="ctr"/>
            <a:lstStyle/>
            <a:p>
              <a:endParaRPr lang="en-GB" dirty="0"/>
            </a:p>
          </p:txBody>
        </p:sp>
        <p:grpSp>
          <p:nvGrpSpPr>
            <p:cNvPr id="383" name="Gruppieren 997">
              <a:extLst>
                <a:ext uri="{FF2B5EF4-FFF2-40B4-BE49-F238E27FC236}">
                  <a16:creationId xmlns:a16="http://schemas.microsoft.com/office/drawing/2014/main" id="{70C33F65-191D-4C7E-922C-F4F4297AFC42}"/>
                </a:ext>
              </a:extLst>
            </p:cNvPr>
            <p:cNvGrpSpPr/>
            <p:nvPr/>
          </p:nvGrpSpPr>
          <p:grpSpPr>
            <a:xfrm>
              <a:off x="6965954" y="1593089"/>
              <a:ext cx="666337" cy="431995"/>
              <a:chOff x="6951619" y="2556222"/>
              <a:chExt cx="494865" cy="320827"/>
            </a:xfrm>
            <a:solidFill>
              <a:schemeClr val="tx2"/>
            </a:solidFill>
          </p:grpSpPr>
          <p:sp>
            <p:nvSpPr>
              <p:cNvPr id="384" name="Freihandform: Form 782">
                <a:extLst>
                  <a:ext uri="{FF2B5EF4-FFF2-40B4-BE49-F238E27FC236}">
                    <a16:creationId xmlns:a16="http://schemas.microsoft.com/office/drawing/2014/main" id="{178461AB-DF9E-4D7B-AFED-99803777105E}"/>
                  </a:ext>
                </a:extLst>
              </p:cNvPr>
              <p:cNvSpPr/>
              <p:nvPr/>
            </p:nvSpPr>
            <p:spPr>
              <a:xfrm>
                <a:off x="7125280" y="2556222"/>
                <a:ext cx="147181" cy="147154"/>
              </a:xfrm>
              <a:custGeom>
                <a:avLst/>
                <a:gdLst>
                  <a:gd name="connsiteX0" fmla="*/ 73578 w 147181"/>
                  <a:gd name="connsiteY0" fmla="*/ 147155 h 147154"/>
                  <a:gd name="connsiteX1" fmla="*/ 0 w 147181"/>
                  <a:gd name="connsiteY1" fmla="*/ 73577 h 147154"/>
                  <a:gd name="connsiteX2" fmla="*/ 73578 w 147181"/>
                  <a:gd name="connsiteY2" fmla="*/ 0 h 147154"/>
                  <a:gd name="connsiteX3" fmla="*/ 103599 w 147181"/>
                  <a:gd name="connsiteY3" fmla="*/ 6382 h 147154"/>
                  <a:gd name="connsiteX4" fmla="*/ 106976 w 147181"/>
                  <a:gd name="connsiteY4" fmla="*/ 15210 h 147154"/>
                  <a:gd name="connsiteX5" fmla="*/ 98148 w 147181"/>
                  <a:gd name="connsiteY5" fmla="*/ 18587 h 147154"/>
                  <a:gd name="connsiteX6" fmla="*/ 73604 w 147181"/>
                  <a:gd name="connsiteY6" fmla="*/ 13375 h 147154"/>
                  <a:gd name="connsiteX7" fmla="*/ 13402 w 147181"/>
                  <a:gd name="connsiteY7" fmla="*/ 73577 h 147154"/>
                  <a:gd name="connsiteX8" fmla="*/ 73604 w 147181"/>
                  <a:gd name="connsiteY8" fmla="*/ 133780 h 147154"/>
                  <a:gd name="connsiteX9" fmla="*/ 133806 w 147181"/>
                  <a:gd name="connsiteY9" fmla="*/ 73577 h 147154"/>
                  <a:gd name="connsiteX10" fmla="*/ 132424 w 147181"/>
                  <a:gd name="connsiteY10" fmla="*/ 60628 h 147154"/>
                  <a:gd name="connsiteX11" fmla="*/ 137529 w 147181"/>
                  <a:gd name="connsiteY11" fmla="*/ 52677 h 147154"/>
                  <a:gd name="connsiteX12" fmla="*/ 145480 w 147181"/>
                  <a:gd name="connsiteY12" fmla="*/ 57782 h 147154"/>
                  <a:gd name="connsiteX13" fmla="*/ 147182 w 147181"/>
                  <a:gd name="connsiteY13" fmla="*/ 73604 h 147154"/>
                  <a:gd name="connsiteX14" fmla="*/ 73578 w 147181"/>
                  <a:gd name="connsiteY14" fmla="*/ 147155 h 14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181" h="147154">
                    <a:moveTo>
                      <a:pt x="73578" y="147155"/>
                    </a:moveTo>
                    <a:cubicBezTo>
                      <a:pt x="33000" y="147155"/>
                      <a:pt x="0" y="114155"/>
                      <a:pt x="0" y="73577"/>
                    </a:cubicBezTo>
                    <a:cubicBezTo>
                      <a:pt x="0" y="33000"/>
                      <a:pt x="33000" y="0"/>
                      <a:pt x="73578" y="0"/>
                    </a:cubicBezTo>
                    <a:cubicBezTo>
                      <a:pt x="84028" y="0"/>
                      <a:pt x="94132" y="2154"/>
                      <a:pt x="103599" y="6382"/>
                    </a:cubicBezTo>
                    <a:cubicBezTo>
                      <a:pt x="106976" y="7898"/>
                      <a:pt x="108492" y="11833"/>
                      <a:pt x="106976" y="15210"/>
                    </a:cubicBezTo>
                    <a:cubicBezTo>
                      <a:pt x="105460" y="18587"/>
                      <a:pt x="101525" y="20103"/>
                      <a:pt x="98148" y="18587"/>
                    </a:cubicBezTo>
                    <a:cubicBezTo>
                      <a:pt x="90410" y="15130"/>
                      <a:pt x="82140" y="13375"/>
                      <a:pt x="73604" y="13375"/>
                    </a:cubicBezTo>
                    <a:cubicBezTo>
                      <a:pt x="40418" y="13375"/>
                      <a:pt x="13402" y="40392"/>
                      <a:pt x="13402" y="73577"/>
                    </a:cubicBezTo>
                    <a:cubicBezTo>
                      <a:pt x="13402" y="106763"/>
                      <a:pt x="40418" y="133780"/>
                      <a:pt x="73604" y="133780"/>
                    </a:cubicBezTo>
                    <a:cubicBezTo>
                      <a:pt x="106790" y="133780"/>
                      <a:pt x="133806" y="106763"/>
                      <a:pt x="133806" y="73577"/>
                    </a:cubicBezTo>
                    <a:cubicBezTo>
                      <a:pt x="133806" y="69217"/>
                      <a:pt x="133328" y="64856"/>
                      <a:pt x="132424" y="60628"/>
                    </a:cubicBezTo>
                    <a:cubicBezTo>
                      <a:pt x="131626" y="57011"/>
                      <a:pt x="133913" y="53448"/>
                      <a:pt x="137529" y="52677"/>
                    </a:cubicBezTo>
                    <a:cubicBezTo>
                      <a:pt x="141172" y="51906"/>
                      <a:pt x="144709" y="54166"/>
                      <a:pt x="145480" y="57782"/>
                    </a:cubicBezTo>
                    <a:cubicBezTo>
                      <a:pt x="146597" y="62941"/>
                      <a:pt x="147182" y="68259"/>
                      <a:pt x="147182" y="73604"/>
                    </a:cubicBezTo>
                    <a:cubicBezTo>
                      <a:pt x="147155" y="114155"/>
                      <a:pt x="114156" y="147155"/>
                      <a:pt x="73578" y="147155"/>
                    </a:cubicBezTo>
                    <a:close/>
                  </a:path>
                </a:pathLst>
              </a:custGeom>
              <a:grpFill/>
              <a:ln w="2655" cap="flat">
                <a:noFill/>
                <a:prstDash val="solid"/>
                <a:miter/>
              </a:ln>
            </p:spPr>
            <p:txBody>
              <a:bodyPr rtlCol="0" anchor="ctr"/>
              <a:lstStyle/>
              <a:p>
                <a:endParaRPr lang="en-GB" dirty="0"/>
              </a:p>
            </p:txBody>
          </p:sp>
          <p:sp>
            <p:nvSpPr>
              <p:cNvPr id="385" name="Freihandform: Form 784">
                <a:extLst>
                  <a:ext uri="{FF2B5EF4-FFF2-40B4-BE49-F238E27FC236}">
                    <a16:creationId xmlns:a16="http://schemas.microsoft.com/office/drawing/2014/main" id="{8C256A8D-E1E1-4CEC-887B-5930EB185F69}"/>
                  </a:ext>
                </a:extLst>
              </p:cNvPr>
              <p:cNvSpPr/>
              <p:nvPr/>
            </p:nvSpPr>
            <p:spPr>
              <a:xfrm>
                <a:off x="7119578" y="2724410"/>
                <a:ext cx="158877" cy="152639"/>
              </a:xfrm>
              <a:custGeom>
                <a:avLst/>
                <a:gdLst>
                  <a:gd name="connsiteX0" fmla="*/ 40004 w 158877"/>
                  <a:gd name="connsiteY0" fmla="*/ 152606 h 152639"/>
                  <a:gd name="connsiteX1" fmla="*/ 30803 w 158877"/>
                  <a:gd name="connsiteY1" fmla="*/ 149601 h 152639"/>
                  <a:gd name="connsiteX2" fmla="*/ 24581 w 158877"/>
                  <a:gd name="connsiteY2" fmla="*/ 134285 h 152639"/>
                  <a:gd name="connsiteX3" fmla="*/ 30724 w 158877"/>
                  <a:gd name="connsiteY3" fmla="*/ 98520 h 152639"/>
                  <a:gd name="connsiteX4" fmla="*/ 4744 w 158877"/>
                  <a:gd name="connsiteY4" fmla="*/ 73205 h 152639"/>
                  <a:gd name="connsiteX5" fmla="*/ 782 w 158877"/>
                  <a:gd name="connsiteY5" fmla="*/ 57144 h 152639"/>
                  <a:gd name="connsiteX6" fmla="*/ 13440 w 158877"/>
                  <a:gd name="connsiteY6" fmla="*/ 46481 h 152639"/>
                  <a:gd name="connsiteX7" fmla="*/ 49337 w 158877"/>
                  <a:gd name="connsiteY7" fmla="*/ 41269 h 152639"/>
                  <a:gd name="connsiteX8" fmla="*/ 65398 w 158877"/>
                  <a:gd name="connsiteY8" fmla="*/ 8722 h 152639"/>
                  <a:gd name="connsiteX9" fmla="*/ 79439 w 158877"/>
                  <a:gd name="connsiteY9" fmla="*/ 0 h 152639"/>
                  <a:gd name="connsiteX10" fmla="*/ 93479 w 158877"/>
                  <a:gd name="connsiteY10" fmla="*/ 8748 h 152639"/>
                  <a:gd name="connsiteX11" fmla="*/ 109540 w 158877"/>
                  <a:gd name="connsiteY11" fmla="*/ 41296 h 152639"/>
                  <a:gd name="connsiteX12" fmla="*/ 145438 w 158877"/>
                  <a:gd name="connsiteY12" fmla="*/ 46508 h 152639"/>
                  <a:gd name="connsiteX13" fmla="*/ 158095 w 158877"/>
                  <a:gd name="connsiteY13" fmla="*/ 57171 h 152639"/>
                  <a:gd name="connsiteX14" fmla="*/ 154133 w 158877"/>
                  <a:gd name="connsiteY14" fmla="*/ 73232 h 152639"/>
                  <a:gd name="connsiteX15" fmla="*/ 128153 w 158877"/>
                  <a:gd name="connsiteY15" fmla="*/ 98546 h 152639"/>
                  <a:gd name="connsiteX16" fmla="*/ 134296 w 158877"/>
                  <a:gd name="connsiteY16" fmla="*/ 134311 h 152639"/>
                  <a:gd name="connsiteX17" fmla="*/ 128074 w 158877"/>
                  <a:gd name="connsiteY17" fmla="*/ 149628 h 152639"/>
                  <a:gd name="connsiteX18" fmla="*/ 111561 w 158877"/>
                  <a:gd name="connsiteY18" fmla="*/ 150825 h 152639"/>
                  <a:gd name="connsiteX19" fmla="*/ 79439 w 158877"/>
                  <a:gd name="connsiteY19" fmla="*/ 133939 h 152639"/>
                  <a:gd name="connsiteX20" fmla="*/ 47317 w 158877"/>
                  <a:gd name="connsiteY20" fmla="*/ 150825 h 152639"/>
                  <a:gd name="connsiteX21" fmla="*/ 40004 w 158877"/>
                  <a:gd name="connsiteY21" fmla="*/ 152606 h 152639"/>
                  <a:gd name="connsiteX22" fmla="*/ 79412 w 158877"/>
                  <a:gd name="connsiteY22" fmla="*/ 118782 h 152639"/>
                  <a:gd name="connsiteX23" fmla="*/ 117756 w 158877"/>
                  <a:gd name="connsiteY23" fmla="*/ 138938 h 152639"/>
                  <a:gd name="connsiteX24" fmla="*/ 120176 w 158877"/>
                  <a:gd name="connsiteY24" fmla="*/ 138779 h 152639"/>
                  <a:gd name="connsiteX25" fmla="*/ 121080 w 158877"/>
                  <a:gd name="connsiteY25" fmla="*/ 136545 h 152639"/>
                  <a:gd name="connsiteX26" fmla="*/ 113768 w 158877"/>
                  <a:gd name="connsiteY26" fmla="*/ 93840 h 152639"/>
                  <a:gd name="connsiteX27" fmla="*/ 144773 w 158877"/>
                  <a:gd name="connsiteY27" fmla="*/ 63606 h 152639"/>
                  <a:gd name="connsiteX28" fmla="*/ 145358 w 158877"/>
                  <a:gd name="connsiteY28" fmla="*/ 61266 h 152639"/>
                  <a:gd name="connsiteX29" fmla="*/ 143496 w 158877"/>
                  <a:gd name="connsiteY29" fmla="*/ 59697 h 152639"/>
                  <a:gd name="connsiteX30" fmla="*/ 100632 w 158877"/>
                  <a:gd name="connsiteY30" fmla="*/ 53475 h 152639"/>
                  <a:gd name="connsiteX31" fmla="*/ 81460 w 158877"/>
                  <a:gd name="connsiteY31" fmla="*/ 14625 h 152639"/>
                  <a:gd name="connsiteX32" fmla="*/ 79412 w 158877"/>
                  <a:gd name="connsiteY32" fmla="*/ 13349 h 152639"/>
                  <a:gd name="connsiteX33" fmla="*/ 77364 w 158877"/>
                  <a:gd name="connsiteY33" fmla="*/ 14625 h 152639"/>
                  <a:gd name="connsiteX34" fmla="*/ 58192 w 158877"/>
                  <a:gd name="connsiteY34" fmla="*/ 53475 h 152639"/>
                  <a:gd name="connsiteX35" fmla="*/ 15328 w 158877"/>
                  <a:gd name="connsiteY35" fmla="*/ 59697 h 152639"/>
                  <a:gd name="connsiteX36" fmla="*/ 13466 w 158877"/>
                  <a:gd name="connsiteY36" fmla="*/ 61266 h 152639"/>
                  <a:gd name="connsiteX37" fmla="*/ 14051 w 158877"/>
                  <a:gd name="connsiteY37" fmla="*/ 63606 h 152639"/>
                  <a:gd name="connsiteX38" fmla="*/ 45056 w 158877"/>
                  <a:gd name="connsiteY38" fmla="*/ 93840 h 152639"/>
                  <a:gd name="connsiteX39" fmla="*/ 37744 w 158877"/>
                  <a:gd name="connsiteY39" fmla="*/ 136545 h 152639"/>
                  <a:gd name="connsiteX40" fmla="*/ 38648 w 158877"/>
                  <a:gd name="connsiteY40" fmla="*/ 138779 h 152639"/>
                  <a:gd name="connsiteX41" fmla="*/ 41041 w 158877"/>
                  <a:gd name="connsiteY41" fmla="*/ 138965 h 152639"/>
                  <a:gd name="connsiteX42" fmla="*/ 79412 w 158877"/>
                  <a:gd name="connsiteY42" fmla="*/ 118782 h 152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8877" h="152639">
                    <a:moveTo>
                      <a:pt x="40004" y="152606"/>
                    </a:moveTo>
                    <a:cubicBezTo>
                      <a:pt x="36760" y="152606"/>
                      <a:pt x="33569" y="151596"/>
                      <a:pt x="30803" y="149601"/>
                    </a:cubicBezTo>
                    <a:cubicBezTo>
                      <a:pt x="25937" y="146065"/>
                      <a:pt x="23571" y="140188"/>
                      <a:pt x="24581" y="134285"/>
                    </a:cubicBezTo>
                    <a:lnTo>
                      <a:pt x="30724" y="98520"/>
                    </a:lnTo>
                    <a:lnTo>
                      <a:pt x="4744" y="73205"/>
                    </a:lnTo>
                    <a:cubicBezTo>
                      <a:pt x="436" y="69004"/>
                      <a:pt x="-1079" y="62861"/>
                      <a:pt x="782" y="57144"/>
                    </a:cubicBezTo>
                    <a:cubicBezTo>
                      <a:pt x="2644" y="51427"/>
                      <a:pt x="7483" y="47332"/>
                      <a:pt x="13440" y="46481"/>
                    </a:cubicBezTo>
                    <a:lnTo>
                      <a:pt x="49337" y="41269"/>
                    </a:lnTo>
                    <a:lnTo>
                      <a:pt x="65398" y="8722"/>
                    </a:lnTo>
                    <a:cubicBezTo>
                      <a:pt x="68058" y="3324"/>
                      <a:pt x="73429" y="0"/>
                      <a:pt x="79439" y="0"/>
                    </a:cubicBezTo>
                    <a:cubicBezTo>
                      <a:pt x="85448" y="0"/>
                      <a:pt x="90846" y="3350"/>
                      <a:pt x="93479" y="8748"/>
                    </a:cubicBezTo>
                    <a:lnTo>
                      <a:pt x="109540" y="41296"/>
                    </a:lnTo>
                    <a:lnTo>
                      <a:pt x="145438" y="46508"/>
                    </a:lnTo>
                    <a:cubicBezTo>
                      <a:pt x="151394" y="47385"/>
                      <a:pt x="156234" y="51454"/>
                      <a:pt x="158095" y="57171"/>
                    </a:cubicBezTo>
                    <a:cubicBezTo>
                      <a:pt x="159956" y="62888"/>
                      <a:pt x="158441" y="69030"/>
                      <a:pt x="154133" y="73232"/>
                    </a:cubicBezTo>
                    <a:lnTo>
                      <a:pt x="128153" y="98546"/>
                    </a:lnTo>
                    <a:lnTo>
                      <a:pt x="134296" y="134311"/>
                    </a:lnTo>
                    <a:cubicBezTo>
                      <a:pt x="135306" y="140241"/>
                      <a:pt x="132913" y="146118"/>
                      <a:pt x="128074" y="149628"/>
                    </a:cubicBezTo>
                    <a:cubicBezTo>
                      <a:pt x="123207" y="153165"/>
                      <a:pt x="116905" y="153617"/>
                      <a:pt x="111561" y="150825"/>
                    </a:cubicBezTo>
                    <a:lnTo>
                      <a:pt x="79439" y="133939"/>
                    </a:lnTo>
                    <a:lnTo>
                      <a:pt x="47317" y="150825"/>
                    </a:lnTo>
                    <a:cubicBezTo>
                      <a:pt x="45003" y="151995"/>
                      <a:pt x="42504" y="152606"/>
                      <a:pt x="40004" y="152606"/>
                    </a:cubicBezTo>
                    <a:close/>
                    <a:moveTo>
                      <a:pt x="79412" y="118782"/>
                    </a:moveTo>
                    <a:lnTo>
                      <a:pt x="117756" y="138938"/>
                    </a:lnTo>
                    <a:cubicBezTo>
                      <a:pt x="118847" y="139523"/>
                      <a:pt x="119724" y="139071"/>
                      <a:pt x="120176" y="138779"/>
                    </a:cubicBezTo>
                    <a:cubicBezTo>
                      <a:pt x="120602" y="138460"/>
                      <a:pt x="121293" y="137768"/>
                      <a:pt x="121080" y="136545"/>
                    </a:cubicBezTo>
                    <a:lnTo>
                      <a:pt x="113768" y="93840"/>
                    </a:lnTo>
                    <a:lnTo>
                      <a:pt x="144773" y="63606"/>
                    </a:lnTo>
                    <a:cubicBezTo>
                      <a:pt x="145650" y="62755"/>
                      <a:pt x="145517" y="61771"/>
                      <a:pt x="145358" y="61266"/>
                    </a:cubicBezTo>
                    <a:cubicBezTo>
                      <a:pt x="145198" y="60761"/>
                      <a:pt x="144720" y="59883"/>
                      <a:pt x="143496" y="59697"/>
                    </a:cubicBezTo>
                    <a:lnTo>
                      <a:pt x="100632" y="53475"/>
                    </a:lnTo>
                    <a:lnTo>
                      <a:pt x="81460" y="14625"/>
                    </a:lnTo>
                    <a:cubicBezTo>
                      <a:pt x="80901" y="13508"/>
                      <a:pt x="79944" y="13349"/>
                      <a:pt x="79412" y="13349"/>
                    </a:cubicBezTo>
                    <a:cubicBezTo>
                      <a:pt x="78880" y="13349"/>
                      <a:pt x="77896" y="13508"/>
                      <a:pt x="77364" y="14625"/>
                    </a:cubicBezTo>
                    <a:lnTo>
                      <a:pt x="58192" y="53475"/>
                    </a:lnTo>
                    <a:lnTo>
                      <a:pt x="15328" y="59697"/>
                    </a:lnTo>
                    <a:cubicBezTo>
                      <a:pt x="14104" y="59883"/>
                      <a:pt x="13652" y="60761"/>
                      <a:pt x="13466" y="61266"/>
                    </a:cubicBezTo>
                    <a:cubicBezTo>
                      <a:pt x="13307" y="61771"/>
                      <a:pt x="13147" y="62755"/>
                      <a:pt x="14051" y="63606"/>
                    </a:cubicBezTo>
                    <a:lnTo>
                      <a:pt x="45056" y="93840"/>
                    </a:lnTo>
                    <a:lnTo>
                      <a:pt x="37744" y="136545"/>
                    </a:lnTo>
                    <a:cubicBezTo>
                      <a:pt x="37531" y="137768"/>
                      <a:pt x="38222" y="138460"/>
                      <a:pt x="38648" y="138779"/>
                    </a:cubicBezTo>
                    <a:cubicBezTo>
                      <a:pt x="39073" y="139098"/>
                      <a:pt x="39977" y="139523"/>
                      <a:pt x="41041" y="138965"/>
                    </a:cubicBezTo>
                    <a:lnTo>
                      <a:pt x="79412" y="118782"/>
                    </a:lnTo>
                    <a:close/>
                  </a:path>
                </a:pathLst>
              </a:custGeom>
              <a:grpFill/>
              <a:ln w="2655" cap="flat">
                <a:noFill/>
                <a:prstDash val="solid"/>
                <a:miter/>
              </a:ln>
            </p:spPr>
            <p:txBody>
              <a:bodyPr rtlCol="0" anchor="ctr"/>
              <a:lstStyle/>
              <a:p>
                <a:endParaRPr lang="en-GB" dirty="0"/>
              </a:p>
            </p:txBody>
          </p:sp>
          <p:grpSp>
            <p:nvGrpSpPr>
              <p:cNvPr id="386" name="Grafik 307">
                <a:extLst>
                  <a:ext uri="{FF2B5EF4-FFF2-40B4-BE49-F238E27FC236}">
                    <a16:creationId xmlns:a16="http://schemas.microsoft.com/office/drawing/2014/main" id="{BF09C7CE-0B61-41AA-A46F-4743AC8376D4}"/>
                  </a:ext>
                </a:extLst>
              </p:cNvPr>
              <p:cNvGrpSpPr/>
              <p:nvPr/>
            </p:nvGrpSpPr>
            <p:grpSpPr>
              <a:xfrm>
                <a:off x="7240082" y="2682981"/>
                <a:ext cx="206402" cy="149282"/>
                <a:chOff x="7240083" y="2682981"/>
                <a:chExt cx="206402" cy="149282"/>
              </a:xfrm>
              <a:grpFill/>
            </p:grpSpPr>
            <p:sp>
              <p:nvSpPr>
                <p:cNvPr id="390" name="Freihandform: Form 786">
                  <a:extLst>
                    <a:ext uri="{FF2B5EF4-FFF2-40B4-BE49-F238E27FC236}">
                      <a16:creationId xmlns:a16="http://schemas.microsoft.com/office/drawing/2014/main" id="{11EB181D-5B3D-43F5-9C44-765E03EB46FD}"/>
                    </a:ext>
                  </a:extLst>
                </p:cNvPr>
                <p:cNvSpPr/>
                <p:nvPr/>
              </p:nvSpPr>
              <p:spPr>
                <a:xfrm>
                  <a:off x="7240083" y="2702393"/>
                  <a:ext cx="128651" cy="129870"/>
                </a:xfrm>
                <a:custGeom>
                  <a:avLst/>
                  <a:gdLst>
                    <a:gd name="connsiteX0" fmla="*/ 94097 w 128651"/>
                    <a:gd name="connsiteY0" fmla="*/ 129871 h 129870"/>
                    <a:gd name="connsiteX1" fmla="*/ 87476 w 128651"/>
                    <a:gd name="connsiteY1" fmla="*/ 128222 h 129870"/>
                    <a:gd name="connsiteX2" fmla="*/ 61124 w 128651"/>
                    <a:gd name="connsiteY2" fmla="*/ 114368 h 129870"/>
                    <a:gd name="connsiteX3" fmla="*/ 34772 w 128651"/>
                    <a:gd name="connsiteY3" fmla="*/ 128222 h 129870"/>
                    <a:gd name="connsiteX4" fmla="*/ 25731 w 128651"/>
                    <a:gd name="connsiteY4" fmla="*/ 125403 h 129870"/>
                    <a:gd name="connsiteX5" fmla="*/ 28523 w 128651"/>
                    <a:gd name="connsiteY5" fmla="*/ 116362 h 129870"/>
                    <a:gd name="connsiteX6" fmla="*/ 61097 w 128651"/>
                    <a:gd name="connsiteY6" fmla="*/ 99238 h 129870"/>
                    <a:gd name="connsiteX7" fmla="*/ 93671 w 128651"/>
                    <a:gd name="connsiteY7" fmla="*/ 116362 h 129870"/>
                    <a:gd name="connsiteX8" fmla="*/ 94549 w 128651"/>
                    <a:gd name="connsiteY8" fmla="*/ 116309 h 129870"/>
                    <a:gd name="connsiteX9" fmla="*/ 94868 w 128651"/>
                    <a:gd name="connsiteY9" fmla="*/ 115512 h 129870"/>
                    <a:gd name="connsiteX10" fmla="*/ 88646 w 128651"/>
                    <a:gd name="connsiteY10" fmla="*/ 79241 h 129870"/>
                    <a:gd name="connsiteX11" fmla="*/ 114997 w 128651"/>
                    <a:gd name="connsiteY11" fmla="*/ 53554 h 129870"/>
                    <a:gd name="connsiteX12" fmla="*/ 115210 w 128651"/>
                    <a:gd name="connsiteY12" fmla="*/ 52703 h 129870"/>
                    <a:gd name="connsiteX13" fmla="*/ 114545 w 128651"/>
                    <a:gd name="connsiteY13" fmla="*/ 52145 h 129870"/>
                    <a:gd name="connsiteX14" fmla="*/ 78116 w 128651"/>
                    <a:gd name="connsiteY14" fmla="*/ 46853 h 129870"/>
                    <a:gd name="connsiteX15" fmla="*/ 61842 w 128651"/>
                    <a:gd name="connsiteY15" fmla="*/ 13854 h 129870"/>
                    <a:gd name="connsiteX16" fmla="*/ 60379 w 128651"/>
                    <a:gd name="connsiteY16" fmla="*/ 13854 h 129870"/>
                    <a:gd name="connsiteX17" fmla="*/ 44079 w 128651"/>
                    <a:gd name="connsiteY17" fmla="*/ 46853 h 129870"/>
                    <a:gd name="connsiteX18" fmla="*/ 7649 w 128651"/>
                    <a:gd name="connsiteY18" fmla="*/ 52145 h 129870"/>
                    <a:gd name="connsiteX19" fmla="*/ 71 w 128651"/>
                    <a:gd name="connsiteY19" fmla="*/ 46481 h 129870"/>
                    <a:gd name="connsiteX20" fmla="*/ 5735 w 128651"/>
                    <a:gd name="connsiteY20" fmla="*/ 38903 h 129870"/>
                    <a:gd name="connsiteX21" fmla="*/ 35198 w 128651"/>
                    <a:gd name="connsiteY21" fmla="*/ 34622 h 129870"/>
                    <a:gd name="connsiteX22" fmla="*/ 48387 w 128651"/>
                    <a:gd name="connsiteY22" fmla="*/ 7924 h 129870"/>
                    <a:gd name="connsiteX23" fmla="*/ 61097 w 128651"/>
                    <a:gd name="connsiteY23" fmla="*/ 0 h 129870"/>
                    <a:gd name="connsiteX24" fmla="*/ 61097 w 128651"/>
                    <a:gd name="connsiteY24" fmla="*/ 0 h 129870"/>
                    <a:gd name="connsiteX25" fmla="*/ 73834 w 128651"/>
                    <a:gd name="connsiteY25" fmla="*/ 7924 h 129870"/>
                    <a:gd name="connsiteX26" fmla="*/ 87024 w 128651"/>
                    <a:gd name="connsiteY26" fmla="*/ 34622 h 129870"/>
                    <a:gd name="connsiteX27" fmla="*/ 116486 w 128651"/>
                    <a:gd name="connsiteY27" fmla="*/ 38903 h 129870"/>
                    <a:gd name="connsiteX28" fmla="*/ 127947 w 128651"/>
                    <a:gd name="connsiteY28" fmla="*/ 48555 h 129870"/>
                    <a:gd name="connsiteX29" fmla="*/ 124357 w 128651"/>
                    <a:gd name="connsiteY29" fmla="*/ 63101 h 129870"/>
                    <a:gd name="connsiteX30" fmla="*/ 103031 w 128651"/>
                    <a:gd name="connsiteY30" fmla="*/ 83868 h 129870"/>
                    <a:gd name="connsiteX31" fmla="*/ 108057 w 128651"/>
                    <a:gd name="connsiteY31" fmla="*/ 113198 h 129870"/>
                    <a:gd name="connsiteX32" fmla="*/ 102393 w 128651"/>
                    <a:gd name="connsiteY32" fmla="*/ 127079 h 129870"/>
                    <a:gd name="connsiteX33" fmla="*/ 94097 w 128651"/>
                    <a:gd name="connsiteY33" fmla="*/ 129871 h 129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28651" h="129870">
                      <a:moveTo>
                        <a:pt x="94097" y="129871"/>
                      </a:moveTo>
                      <a:cubicBezTo>
                        <a:pt x="91836" y="129871"/>
                        <a:pt x="89576" y="129312"/>
                        <a:pt x="87476" y="128222"/>
                      </a:cubicBezTo>
                      <a:lnTo>
                        <a:pt x="61124" y="114368"/>
                      </a:lnTo>
                      <a:lnTo>
                        <a:pt x="34772" y="128222"/>
                      </a:lnTo>
                      <a:cubicBezTo>
                        <a:pt x="31475" y="129951"/>
                        <a:pt x="27459" y="128674"/>
                        <a:pt x="25731" y="125403"/>
                      </a:cubicBezTo>
                      <a:cubicBezTo>
                        <a:pt x="24003" y="122133"/>
                        <a:pt x="25279" y="118091"/>
                        <a:pt x="28523" y="116362"/>
                      </a:cubicBezTo>
                      <a:lnTo>
                        <a:pt x="61097" y="99238"/>
                      </a:lnTo>
                      <a:lnTo>
                        <a:pt x="93671" y="116362"/>
                      </a:lnTo>
                      <a:cubicBezTo>
                        <a:pt x="93804" y="116442"/>
                        <a:pt x="94123" y="116602"/>
                        <a:pt x="94549" y="116309"/>
                      </a:cubicBezTo>
                      <a:cubicBezTo>
                        <a:pt x="94948" y="116017"/>
                        <a:pt x="94895" y="115671"/>
                        <a:pt x="94868" y="115512"/>
                      </a:cubicBezTo>
                      <a:lnTo>
                        <a:pt x="88646" y="79241"/>
                      </a:lnTo>
                      <a:lnTo>
                        <a:pt x="114997" y="53554"/>
                      </a:lnTo>
                      <a:cubicBezTo>
                        <a:pt x="115104" y="53448"/>
                        <a:pt x="115370" y="53209"/>
                        <a:pt x="115210" y="52703"/>
                      </a:cubicBezTo>
                      <a:cubicBezTo>
                        <a:pt x="115050" y="52225"/>
                        <a:pt x="114705" y="52172"/>
                        <a:pt x="114545" y="52145"/>
                      </a:cubicBezTo>
                      <a:lnTo>
                        <a:pt x="78116" y="46853"/>
                      </a:lnTo>
                      <a:lnTo>
                        <a:pt x="61842" y="13854"/>
                      </a:lnTo>
                      <a:cubicBezTo>
                        <a:pt x="61709" y="13588"/>
                        <a:pt x="60512" y="13588"/>
                        <a:pt x="60379" y="13854"/>
                      </a:cubicBezTo>
                      <a:lnTo>
                        <a:pt x="44079" y="46853"/>
                      </a:lnTo>
                      <a:lnTo>
                        <a:pt x="7649" y="52145"/>
                      </a:lnTo>
                      <a:cubicBezTo>
                        <a:pt x="3953" y="52650"/>
                        <a:pt x="603" y="50151"/>
                        <a:pt x="71" y="46481"/>
                      </a:cubicBezTo>
                      <a:cubicBezTo>
                        <a:pt x="-461" y="42812"/>
                        <a:pt x="2065" y="39435"/>
                        <a:pt x="5735" y="38903"/>
                      </a:cubicBezTo>
                      <a:lnTo>
                        <a:pt x="35198" y="34622"/>
                      </a:lnTo>
                      <a:lnTo>
                        <a:pt x="48387" y="7924"/>
                      </a:lnTo>
                      <a:cubicBezTo>
                        <a:pt x="50780" y="3058"/>
                        <a:pt x="55673" y="0"/>
                        <a:pt x="61097" y="0"/>
                      </a:cubicBezTo>
                      <a:lnTo>
                        <a:pt x="61097" y="0"/>
                      </a:lnTo>
                      <a:cubicBezTo>
                        <a:pt x="66548" y="0"/>
                        <a:pt x="71415" y="3031"/>
                        <a:pt x="73834" y="7924"/>
                      </a:cubicBezTo>
                      <a:lnTo>
                        <a:pt x="87024" y="34622"/>
                      </a:lnTo>
                      <a:lnTo>
                        <a:pt x="116486" y="38903"/>
                      </a:lnTo>
                      <a:cubicBezTo>
                        <a:pt x="121884" y="39674"/>
                        <a:pt x="126272" y="43397"/>
                        <a:pt x="127947" y="48555"/>
                      </a:cubicBezTo>
                      <a:cubicBezTo>
                        <a:pt x="129622" y="53741"/>
                        <a:pt x="128266" y="59298"/>
                        <a:pt x="124357" y="63101"/>
                      </a:cubicBezTo>
                      <a:lnTo>
                        <a:pt x="103031" y="83868"/>
                      </a:lnTo>
                      <a:lnTo>
                        <a:pt x="108057" y="113198"/>
                      </a:lnTo>
                      <a:cubicBezTo>
                        <a:pt x="108988" y="118570"/>
                        <a:pt x="106807" y="123888"/>
                        <a:pt x="102393" y="127079"/>
                      </a:cubicBezTo>
                      <a:cubicBezTo>
                        <a:pt x="99947" y="128967"/>
                        <a:pt x="97048" y="129871"/>
                        <a:pt x="94097" y="129871"/>
                      </a:cubicBezTo>
                      <a:close/>
                    </a:path>
                  </a:pathLst>
                </a:custGeom>
                <a:grpFill/>
                <a:ln w="2655" cap="flat">
                  <a:noFill/>
                  <a:prstDash val="solid"/>
                  <a:miter/>
                </a:ln>
              </p:spPr>
              <p:txBody>
                <a:bodyPr rtlCol="0" anchor="ctr"/>
                <a:lstStyle/>
                <a:p>
                  <a:endParaRPr lang="en-GB" dirty="0"/>
                </a:p>
              </p:txBody>
            </p:sp>
            <p:sp>
              <p:nvSpPr>
                <p:cNvPr id="391" name="Freihandform: Form 787">
                  <a:extLst>
                    <a:ext uri="{FF2B5EF4-FFF2-40B4-BE49-F238E27FC236}">
                      <a16:creationId xmlns:a16="http://schemas.microsoft.com/office/drawing/2014/main" id="{D9EEA703-E309-462B-A12A-3C3AC2A902A3}"/>
                    </a:ext>
                  </a:extLst>
                </p:cNvPr>
                <p:cNvSpPr/>
                <p:nvPr/>
              </p:nvSpPr>
              <p:spPr>
                <a:xfrm>
                  <a:off x="7337539" y="2682981"/>
                  <a:ext cx="108945" cy="109980"/>
                </a:xfrm>
                <a:custGeom>
                  <a:avLst/>
                  <a:gdLst>
                    <a:gd name="connsiteX0" fmla="*/ 79152 w 108945"/>
                    <a:gd name="connsiteY0" fmla="*/ 109981 h 109980"/>
                    <a:gd name="connsiteX1" fmla="*/ 73116 w 108945"/>
                    <a:gd name="connsiteY1" fmla="*/ 108492 h 109980"/>
                    <a:gd name="connsiteX2" fmla="*/ 51817 w 108945"/>
                    <a:gd name="connsiteY2" fmla="*/ 97297 h 109980"/>
                    <a:gd name="connsiteX3" fmla="*/ 30517 w 108945"/>
                    <a:gd name="connsiteY3" fmla="*/ 108492 h 109980"/>
                    <a:gd name="connsiteX4" fmla="*/ 21476 w 108945"/>
                    <a:gd name="connsiteY4" fmla="*/ 105673 h 109980"/>
                    <a:gd name="connsiteX5" fmla="*/ 24268 w 108945"/>
                    <a:gd name="connsiteY5" fmla="*/ 96632 h 109980"/>
                    <a:gd name="connsiteX6" fmla="*/ 51817 w 108945"/>
                    <a:gd name="connsiteY6" fmla="*/ 82140 h 109980"/>
                    <a:gd name="connsiteX7" fmla="*/ 78514 w 108945"/>
                    <a:gd name="connsiteY7" fmla="*/ 96180 h 109980"/>
                    <a:gd name="connsiteX8" fmla="*/ 73409 w 108945"/>
                    <a:gd name="connsiteY8" fmla="*/ 66425 h 109980"/>
                    <a:gd name="connsiteX9" fmla="*/ 95001 w 108945"/>
                    <a:gd name="connsiteY9" fmla="*/ 45364 h 109980"/>
                    <a:gd name="connsiteX10" fmla="*/ 65139 w 108945"/>
                    <a:gd name="connsiteY10" fmla="*/ 41030 h 109980"/>
                    <a:gd name="connsiteX11" fmla="*/ 51790 w 108945"/>
                    <a:gd name="connsiteY11" fmla="*/ 13987 h 109980"/>
                    <a:gd name="connsiteX12" fmla="*/ 38442 w 108945"/>
                    <a:gd name="connsiteY12" fmla="*/ 41030 h 109980"/>
                    <a:gd name="connsiteX13" fmla="*/ 7649 w 108945"/>
                    <a:gd name="connsiteY13" fmla="*/ 45497 h 109980"/>
                    <a:gd name="connsiteX14" fmla="*/ 71 w 108945"/>
                    <a:gd name="connsiteY14" fmla="*/ 39833 h 109980"/>
                    <a:gd name="connsiteX15" fmla="*/ 5735 w 108945"/>
                    <a:gd name="connsiteY15" fmla="*/ 32255 h 109980"/>
                    <a:gd name="connsiteX16" fmla="*/ 29560 w 108945"/>
                    <a:gd name="connsiteY16" fmla="*/ 28798 h 109980"/>
                    <a:gd name="connsiteX17" fmla="*/ 40223 w 108945"/>
                    <a:gd name="connsiteY17" fmla="*/ 7206 h 109980"/>
                    <a:gd name="connsiteX18" fmla="*/ 51817 w 108945"/>
                    <a:gd name="connsiteY18" fmla="*/ 0 h 109980"/>
                    <a:gd name="connsiteX19" fmla="*/ 51817 w 108945"/>
                    <a:gd name="connsiteY19" fmla="*/ 0 h 109980"/>
                    <a:gd name="connsiteX20" fmla="*/ 63384 w 108945"/>
                    <a:gd name="connsiteY20" fmla="*/ 7206 h 109980"/>
                    <a:gd name="connsiteX21" fmla="*/ 74047 w 108945"/>
                    <a:gd name="connsiteY21" fmla="*/ 28798 h 109980"/>
                    <a:gd name="connsiteX22" fmla="*/ 97873 w 108945"/>
                    <a:gd name="connsiteY22" fmla="*/ 32255 h 109980"/>
                    <a:gd name="connsiteX23" fmla="*/ 108296 w 108945"/>
                    <a:gd name="connsiteY23" fmla="*/ 41030 h 109980"/>
                    <a:gd name="connsiteX24" fmla="*/ 105026 w 108945"/>
                    <a:gd name="connsiteY24" fmla="*/ 54272 h 109980"/>
                    <a:gd name="connsiteX25" fmla="*/ 87768 w 108945"/>
                    <a:gd name="connsiteY25" fmla="*/ 71078 h 109980"/>
                    <a:gd name="connsiteX26" fmla="*/ 91836 w 108945"/>
                    <a:gd name="connsiteY26" fmla="*/ 94824 h 109980"/>
                    <a:gd name="connsiteX27" fmla="*/ 86704 w 108945"/>
                    <a:gd name="connsiteY27" fmla="*/ 107455 h 109980"/>
                    <a:gd name="connsiteX28" fmla="*/ 79152 w 108945"/>
                    <a:gd name="connsiteY28" fmla="*/ 109981 h 10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8945" h="109980">
                      <a:moveTo>
                        <a:pt x="79152" y="109981"/>
                      </a:moveTo>
                      <a:cubicBezTo>
                        <a:pt x="77105" y="109981"/>
                        <a:pt x="75031" y="109475"/>
                        <a:pt x="73116" y="108492"/>
                      </a:cubicBezTo>
                      <a:lnTo>
                        <a:pt x="51817" y="97297"/>
                      </a:lnTo>
                      <a:lnTo>
                        <a:pt x="30517" y="108492"/>
                      </a:lnTo>
                      <a:cubicBezTo>
                        <a:pt x="27247" y="110220"/>
                        <a:pt x="23205" y="108944"/>
                        <a:pt x="21476" y="105673"/>
                      </a:cubicBezTo>
                      <a:cubicBezTo>
                        <a:pt x="19748" y="102402"/>
                        <a:pt x="21024" y="98360"/>
                        <a:pt x="24268" y="96632"/>
                      </a:cubicBezTo>
                      <a:lnTo>
                        <a:pt x="51817" y="82140"/>
                      </a:lnTo>
                      <a:lnTo>
                        <a:pt x="78514" y="96180"/>
                      </a:lnTo>
                      <a:lnTo>
                        <a:pt x="73409" y="66425"/>
                      </a:lnTo>
                      <a:lnTo>
                        <a:pt x="95001" y="45364"/>
                      </a:lnTo>
                      <a:lnTo>
                        <a:pt x="65139" y="41030"/>
                      </a:lnTo>
                      <a:lnTo>
                        <a:pt x="51790" y="13987"/>
                      </a:lnTo>
                      <a:lnTo>
                        <a:pt x="38442" y="41030"/>
                      </a:lnTo>
                      <a:lnTo>
                        <a:pt x="7649" y="45497"/>
                      </a:lnTo>
                      <a:cubicBezTo>
                        <a:pt x="3979" y="46003"/>
                        <a:pt x="603" y="43503"/>
                        <a:pt x="71" y="39833"/>
                      </a:cubicBezTo>
                      <a:cubicBezTo>
                        <a:pt x="-461" y="36190"/>
                        <a:pt x="2065" y="32787"/>
                        <a:pt x="5735" y="32255"/>
                      </a:cubicBezTo>
                      <a:lnTo>
                        <a:pt x="29560" y="28798"/>
                      </a:lnTo>
                      <a:lnTo>
                        <a:pt x="40223" y="7206"/>
                      </a:lnTo>
                      <a:cubicBezTo>
                        <a:pt x="42430" y="2765"/>
                        <a:pt x="46844" y="0"/>
                        <a:pt x="51817" y="0"/>
                      </a:cubicBezTo>
                      <a:lnTo>
                        <a:pt x="51817" y="0"/>
                      </a:lnTo>
                      <a:cubicBezTo>
                        <a:pt x="56763" y="0"/>
                        <a:pt x="61204" y="2765"/>
                        <a:pt x="63384" y="7206"/>
                      </a:cubicBezTo>
                      <a:lnTo>
                        <a:pt x="74047" y="28798"/>
                      </a:lnTo>
                      <a:lnTo>
                        <a:pt x="97873" y="32255"/>
                      </a:lnTo>
                      <a:cubicBezTo>
                        <a:pt x="102765" y="32973"/>
                        <a:pt x="106781" y="36323"/>
                        <a:pt x="108296" y="41030"/>
                      </a:cubicBezTo>
                      <a:cubicBezTo>
                        <a:pt x="109839" y="45737"/>
                        <a:pt x="108589" y="50816"/>
                        <a:pt x="105026" y="54272"/>
                      </a:cubicBezTo>
                      <a:lnTo>
                        <a:pt x="87768" y="71078"/>
                      </a:lnTo>
                      <a:lnTo>
                        <a:pt x="91836" y="94824"/>
                      </a:lnTo>
                      <a:cubicBezTo>
                        <a:pt x="92661" y="99717"/>
                        <a:pt x="90693" y="104556"/>
                        <a:pt x="86704" y="107455"/>
                      </a:cubicBezTo>
                      <a:cubicBezTo>
                        <a:pt x="84471" y="109156"/>
                        <a:pt x="81838" y="109981"/>
                        <a:pt x="79152" y="109981"/>
                      </a:cubicBezTo>
                      <a:close/>
                    </a:path>
                  </a:pathLst>
                </a:custGeom>
                <a:grpFill/>
                <a:ln w="2655" cap="flat">
                  <a:noFill/>
                  <a:prstDash val="solid"/>
                  <a:miter/>
                </a:ln>
              </p:spPr>
              <p:txBody>
                <a:bodyPr rtlCol="0" anchor="ctr"/>
                <a:lstStyle/>
                <a:p>
                  <a:endParaRPr lang="en-GB" dirty="0"/>
                </a:p>
              </p:txBody>
            </p:sp>
          </p:grpSp>
          <p:grpSp>
            <p:nvGrpSpPr>
              <p:cNvPr id="387" name="Grafik 307">
                <a:extLst>
                  <a:ext uri="{FF2B5EF4-FFF2-40B4-BE49-F238E27FC236}">
                    <a16:creationId xmlns:a16="http://schemas.microsoft.com/office/drawing/2014/main" id="{223BCD3E-4EFE-4ADA-A4A9-DE0B3866FFCF}"/>
                  </a:ext>
                </a:extLst>
              </p:cNvPr>
              <p:cNvGrpSpPr/>
              <p:nvPr/>
            </p:nvGrpSpPr>
            <p:grpSpPr>
              <a:xfrm>
                <a:off x="6951619" y="2682875"/>
                <a:ext cx="206412" cy="149229"/>
                <a:chOff x="6951619" y="2682875"/>
                <a:chExt cx="206412" cy="149229"/>
              </a:xfrm>
              <a:grpFill/>
            </p:grpSpPr>
            <p:sp>
              <p:nvSpPr>
                <p:cNvPr id="388" name="Freihandform: Form 789">
                  <a:extLst>
                    <a:ext uri="{FF2B5EF4-FFF2-40B4-BE49-F238E27FC236}">
                      <a16:creationId xmlns:a16="http://schemas.microsoft.com/office/drawing/2014/main" id="{F1515F0D-9E4B-4230-94D5-AAD916980889}"/>
                    </a:ext>
                  </a:extLst>
                </p:cNvPr>
                <p:cNvSpPr/>
                <p:nvPr/>
              </p:nvSpPr>
              <p:spPr>
                <a:xfrm>
                  <a:off x="7029379" y="2702260"/>
                  <a:ext cx="128651" cy="129844"/>
                </a:xfrm>
                <a:custGeom>
                  <a:avLst/>
                  <a:gdLst>
                    <a:gd name="connsiteX0" fmla="*/ 34555 w 128651"/>
                    <a:gd name="connsiteY0" fmla="*/ 129844 h 129844"/>
                    <a:gd name="connsiteX1" fmla="*/ 26232 w 128651"/>
                    <a:gd name="connsiteY1" fmla="*/ 127105 h 129844"/>
                    <a:gd name="connsiteX2" fmla="*/ 20595 w 128651"/>
                    <a:gd name="connsiteY2" fmla="*/ 113225 h 129844"/>
                    <a:gd name="connsiteX3" fmla="*/ 25621 w 128651"/>
                    <a:gd name="connsiteY3" fmla="*/ 83895 h 129844"/>
                    <a:gd name="connsiteX4" fmla="*/ 4295 w 128651"/>
                    <a:gd name="connsiteY4" fmla="*/ 63127 h 129844"/>
                    <a:gd name="connsiteX5" fmla="*/ 705 w 128651"/>
                    <a:gd name="connsiteY5" fmla="*/ 48582 h 129844"/>
                    <a:gd name="connsiteX6" fmla="*/ 12166 w 128651"/>
                    <a:gd name="connsiteY6" fmla="*/ 38903 h 129844"/>
                    <a:gd name="connsiteX7" fmla="*/ 41628 w 128651"/>
                    <a:gd name="connsiteY7" fmla="*/ 34622 h 129844"/>
                    <a:gd name="connsiteX8" fmla="*/ 54818 w 128651"/>
                    <a:gd name="connsiteY8" fmla="*/ 7924 h 129844"/>
                    <a:gd name="connsiteX9" fmla="*/ 67555 w 128651"/>
                    <a:gd name="connsiteY9" fmla="*/ 0 h 129844"/>
                    <a:gd name="connsiteX10" fmla="*/ 80292 w 128651"/>
                    <a:gd name="connsiteY10" fmla="*/ 7924 h 129844"/>
                    <a:gd name="connsiteX11" fmla="*/ 93454 w 128651"/>
                    <a:gd name="connsiteY11" fmla="*/ 34622 h 129844"/>
                    <a:gd name="connsiteX12" fmla="*/ 122917 w 128651"/>
                    <a:gd name="connsiteY12" fmla="*/ 38903 h 129844"/>
                    <a:gd name="connsiteX13" fmla="*/ 128581 w 128651"/>
                    <a:gd name="connsiteY13" fmla="*/ 46481 h 129844"/>
                    <a:gd name="connsiteX14" fmla="*/ 121003 w 128651"/>
                    <a:gd name="connsiteY14" fmla="*/ 52145 h 129844"/>
                    <a:gd name="connsiteX15" fmla="*/ 84573 w 128651"/>
                    <a:gd name="connsiteY15" fmla="*/ 46853 h 129844"/>
                    <a:gd name="connsiteX16" fmla="*/ 68299 w 128651"/>
                    <a:gd name="connsiteY16" fmla="*/ 13854 h 129844"/>
                    <a:gd name="connsiteX17" fmla="*/ 66837 w 128651"/>
                    <a:gd name="connsiteY17" fmla="*/ 13854 h 129844"/>
                    <a:gd name="connsiteX18" fmla="*/ 50536 w 128651"/>
                    <a:gd name="connsiteY18" fmla="*/ 46853 h 129844"/>
                    <a:gd name="connsiteX19" fmla="*/ 14107 w 128651"/>
                    <a:gd name="connsiteY19" fmla="*/ 52145 h 129844"/>
                    <a:gd name="connsiteX20" fmla="*/ 13442 w 128651"/>
                    <a:gd name="connsiteY20" fmla="*/ 52704 h 129844"/>
                    <a:gd name="connsiteX21" fmla="*/ 13655 w 128651"/>
                    <a:gd name="connsiteY21" fmla="*/ 53528 h 129844"/>
                    <a:gd name="connsiteX22" fmla="*/ 40006 w 128651"/>
                    <a:gd name="connsiteY22" fmla="*/ 79215 h 129844"/>
                    <a:gd name="connsiteX23" fmla="*/ 33784 w 128651"/>
                    <a:gd name="connsiteY23" fmla="*/ 115485 h 129844"/>
                    <a:gd name="connsiteX24" fmla="*/ 34103 w 128651"/>
                    <a:gd name="connsiteY24" fmla="*/ 116283 h 129844"/>
                    <a:gd name="connsiteX25" fmla="*/ 34981 w 128651"/>
                    <a:gd name="connsiteY25" fmla="*/ 116336 h 129844"/>
                    <a:gd name="connsiteX26" fmla="*/ 67555 w 128651"/>
                    <a:gd name="connsiteY26" fmla="*/ 99211 h 129844"/>
                    <a:gd name="connsiteX27" fmla="*/ 100129 w 128651"/>
                    <a:gd name="connsiteY27" fmla="*/ 116336 h 129844"/>
                    <a:gd name="connsiteX28" fmla="*/ 102921 w 128651"/>
                    <a:gd name="connsiteY28" fmla="*/ 125377 h 129844"/>
                    <a:gd name="connsiteX29" fmla="*/ 93880 w 128651"/>
                    <a:gd name="connsiteY29" fmla="*/ 128196 h 129844"/>
                    <a:gd name="connsiteX30" fmla="*/ 67528 w 128651"/>
                    <a:gd name="connsiteY30" fmla="*/ 114342 h 129844"/>
                    <a:gd name="connsiteX31" fmla="*/ 41176 w 128651"/>
                    <a:gd name="connsiteY31" fmla="*/ 128196 h 129844"/>
                    <a:gd name="connsiteX32" fmla="*/ 34555 w 128651"/>
                    <a:gd name="connsiteY32" fmla="*/ 129844 h 129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8651" h="129844">
                      <a:moveTo>
                        <a:pt x="34555" y="129844"/>
                      </a:moveTo>
                      <a:cubicBezTo>
                        <a:pt x="31630" y="129844"/>
                        <a:pt x="28705" y="128914"/>
                        <a:pt x="26232" y="127105"/>
                      </a:cubicBezTo>
                      <a:cubicBezTo>
                        <a:pt x="21818" y="123914"/>
                        <a:pt x="19664" y="118596"/>
                        <a:pt x="20595" y="113225"/>
                      </a:cubicBezTo>
                      <a:lnTo>
                        <a:pt x="25621" y="83895"/>
                      </a:lnTo>
                      <a:lnTo>
                        <a:pt x="4295" y="63127"/>
                      </a:lnTo>
                      <a:cubicBezTo>
                        <a:pt x="386" y="59325"/>
                        <a:pt x="-970" y="53767"/>
                        <a:pt x="705" y="48582"/>
                      </a:cubicBezTo>
                      <a:cubicBezTo>
                        <a:pt x="2380" y="43397"/>
                        <a:pt x="6768" y="39701"/>
                        <a:pt x="12166" y="38903"/>
                      </a:cubicBezTo>
                      <a:lnTo>
                        <a:pt x="41628" y="34622"/>
                      </a:lnTo>
                      <a:lnTo>
                        <a:pt x="54818" y="7924"/>
                      </a:lnTo>
                      <a:cubicBezTo>
                        <a:pt x="57211" y="3031"/>
                        <a:pt x="62104" y="0"/>
                        <a:pt x="67555" y="0"/>
                      </a:cubicBezTo>
                      <a:cubicBezTo>
                        <a:pt x="73006" y="0"/>
                        <a:pt x="77872" y="3031"/>
                        <a:pt x="80292" y="7924"/>
                      </a:cubicBezTo>
                      <a:lnTo>
                        <a:pt x="93454" y="34622"/>
                      </a:lnTo>
                      <a:lnTo>
                        <a:pt x="122917" y="38903"/>
                      </a:lnTo>
                      <a:cubicBezTo>
                        <a:pt x="126587" y="39435"/>
                        <a:pt x="129113" y="42838"/>
                        <a:pt x="128581" y="46481"/>
                      </a:cubicBezTo>
                      <a:cubicBezTo>
                        <a:pt x="128049" y="50124"/>
                        <a:pt x="124646" y="52650"/>
                        <a:pt x="121003" y="52145"/>
                      </a:cubicBezTo>
                      <a:lnTo>
                        <a:pt x="84573" y="46853"/>
                      </a:lnTo>
                      <a:lnTo>
                        <a:pt x="68299" y="13854"/>
                      </a:lnTo>
                      <a:cubicBezTo>
                        <a:pt x="68166" y="13588"/>
                        <a:pt x="66970" y="13588"/>
                        <a:pt x="66837" y="13854"/>
                      </a:cubicBezTo>
                      <a:lnTo>
                        <a:pt x="50536" y="46853"/>
                      </a:lnTo>
                      <a:lnTo>
                        <a:pt x="14107" y="52145"/>
                      </a:lnTo>
                      <a:cubicBezTo>
                        <a:pt x="13947" y="52172"/>
                        <a:pt x="13602" y="52225"/>
                        <a:pt x="13442" y="52704"/>
                      </a:cubicBezTo>
                      <a:cubicBezTo>
                        <a:pt x="13282" y="53182"/>
                        <a:pt x="13548" y="53421"/>
                        <a:pt x="13655" y="53528"/>
                      </a:cubicBezTo>
                      <a:lnTo>
                        <a:pt x="40006" y="79215"/>
                      </a:lnTo>
                      <a:lnTo>
                        <a:pt x="33784" y="115485"/>
                      </a:lnTo>
                      <a:cubicBezTo>
                        <a:pt x="33757" y="115645"/>
                        <a:pt x="33704" y="115990"/>
                        <a:pt x="34103" y="116283"/>
                      </a:cubicBezTo>
                      <a:cubicBezTo>
                        <a:pt x="34529" y="116575"/>
                        <a:pt x="34821" y="116416"/>
                        <a:pt x="34981" y="116336"/>
                      </a:cubicBezTo>
                      <a:lnTo>
                        <a:pt x="67555" y="99211"/>
                      </a:lnTo>
                      <a:lnTo>
                        <a:pt x="100129" y="116336"/>
                      </a:lnTo>
                      <a:cubicBezTo>
                        <a:pt x="103399" y="118064"/>
                        <a:pt x="104649" y="122106"/>
                        <a:pt x="102921" y="125377"/>
                      </a:cubicBezTo>
                      <a:cubicBezTo>
                        <a:pt x="101193" y="128648"/>
                        <a:pt x="97151" y="129897"/>
                        <a:pt x="93880" y="128196"/>
                      </a:cubicBezTo>
                      <a:lnTo>
                        <a:pt x="67528" y="114342"/>
                      </a:lnTo>
                      <a:lnTo>
                        <a:pt x="41176" y="128196"/>
                      </a:lnTo>
                      <a:cubicBezTo>
                        <a:pt x="39076" y="129312"/>
                        <a:pt x="36815" y="129844"/>
                        <a:pt x="34555" y="129844"/>
                      </a:cubicBezTo>
                      <a:close/>
                    </a:path>
                  </a:pathLst>
                </a:custGeom>
                <a:grpFill/>
                <a:ln w="2655" cap="flat">
                  <a:noFill/>
                  <a:prstDash val="solid"/>
                  <a:miter/>
                </a:ln>
              </p:spPr>
              <p:txBody>
                <a:bodyPr rtlCol="0" anchor="ctr"/>
                <a:lstStyle/>
                <a:p>
                  <a:endParaRPr lang="en-GB" dirty="0"/>
                </a:p>
              </p:txBody>
            </p:sp>
            <p:sp>
              <p:nvSpPr>
                <p:cNvPr id="389" name="Freihandform: Form 790">
                  <a:extLst>
                    <a:ext uri="{FF2B5EF4-FFF2-40B4-BE49-F238E27FC236}">
                      <a16:creationId xmlns:a16="http://schemas.microsoft.com/office/drawing/2014/main" id="{0AEC3AFE-C9C2-4038-8AD4-AC0AC560F833}"/>
                    </a:ext>
                  </a:extLst>
                </p:cNvPr>
                <p:cNvSpPr/>
                <p:nvPr/>
              </p:nvSpPr>
              <p:spPr>
                <a:xfrm>
                  <a:off x="6951619" y="2682875"/>
                  <a:ext cx="108956" cy="109954"/>
                </a:xfrm>
                <a:custGeom>
                  <a:avLst/>
                  <a:gdLst>
                    <a:gd name="connsiteX0" fmla="*/ 29804 w 108956"/>
                    <a:gd name="connsiteY0" fmla="*/ 109954 h 109954"/>
                    <a:gd name="connsiteX1" fmla="*/ 22225 w 108956"/>
                    <a:gd name="connsiteY1" fmla="*/ 107481 h 109954"/>
                    <a:gd name="connsiteX2" fmla="*/ 17093 w 108956"/>
                    <a:gd name="connsiteY2" fmla="*/ 94850 h 109954"/>
                    <a:gd name="connsiteX3" fmla="*/ 21162 w 108956"/>
                    <a:gd name="connsiteY3" fmla="*/ 71104 h 109954"/>
                    <a:gd name="connsiteX4" fmla="*/ 3904 w 108956"/>
                    <a:gd name="connsiteY4" fmla="*/ 54299 h 109954"/>
                    <a:gd name="connsiteX5" fmla="*/ 633 w 108956"/>
                    <a:gd name="connsiteY5" fmla="*/ 41057 h 109954"/>
                    <a:gd name="connsiteX6" fmla="*/ 11057 w 108956"/>
                    <a:gd name="connsiteY6" fmla="*/ 32255 h 109954"/>
                    <a:gd name="connsiteX7" fmla="*/ 34883 w 108956"/>
                    <a:gd name="connsiteY7" fmla="*/ 28798 h 109954"/>
                    <a:gd name="connsiteX8" fmla="*/ 45545 w 108956"/>
                    <a:gd name="connsiteY8" fmla="*/ 7206 h 109954"/>
                    <a:gd name="connsiteX9" fmla="*/ 57139 w 108956"/>
                    <a:gd name="connsiteY9" fmla="*/ 0 h 109954"/>
                    <a:gd name="connsiteX10" fmla="*/ 68733 w 108956"/>
                    <a:gd name="connsiteY10" fmla="*/ 7206 h 109954"/>
                    <a:gd name="connsiteX11" fmla="*/ 79396 w 108956"/>
                    <a:gd name="connsiteY11" fmla="*/ 28798 h 109954"/>
                    <a:gd name="connsiteX12" fmla="*/ 103221 w 108956"/>
                    <a:gd name="connsiteY12" fmla="*/ 32255 h 109954"/>
                    <a:gd name="connsiteX13" fmla="*/ 108885 w 108956"/>
                    <a:gd name="connsiteY13" fmla="*/ 39833 h 109954"/>
                    <a:gd name="connsiteX14" fmla="*/ 101307 w 108956"/>
                    <a:gd name="connsiteY14" fmla="*/ 45497 h 109954"/>
                    <a:gd name="connsiteX15" fmla="*/ 70515 w 108956"/>
                    <a:gd name="connsiteY15" fmla="*/ 41030 h 109954"/>
                    <a:gd name="connsiteX16" fmla="*/ 57166 w 108956"/>
                    <a:gd name="connsiteY16" fmla="*/ 13960 h 109954"/>
                    <a:gd name="connsiteX17" fmla="*/ 43817 w 108956"/>
                    <a:gd name="connsiteY17" fmla="*/ 41030 h 109954"/>
                    <a:gd name="connsiteX18" fmla="*/ 13955 w 108956"/>
                    <a:gd name="connsiteY18" fmla="*/ 45364 h 109954"/>
                    <a:gd name="connsiteX19" fmla="*/ 35547 w 108956"/>
                    <a:gd name="connsiteY19" fmla="*/ 66424 h 109954"/>
                    <a:gd name="connsiteX20" fmla="*/ 30442 w 108956"/>
                    <a:gd name="connsiteY20" fmla="*/ 96153 h 109954"/>
                    <a:gd name="connsiteX21" fmla="*/ 57139 w 108956"/>
                    <a:gd name="connsiteY21" fmla="*/ 82113 h 109954"/>
                    <a:gd name="connsiteX22" fmla="*/ 84661 w 108956"/>
                    <a:gd name="connsiteY22" fmla="*/ 96605 h 109954"/>
                    <a:gd name="connsiteX23" fmla="*/ 87480 w 108956"/>
                    <a:gd name="connsiteY23" fmla="*/ 105646 h 109954"/>
                    <a:gd name="connsiteX24" fmla="*/ 78439 w 108956"/>
                    <a:gd name="connsiteY24" fmla="*/ 108465 h 109954"/>
                    <a:gd name="connsiteX25" fmla="*/ 57113 w 108956"/>
                    <a:gd name="connsiteY25" fmla="*/ 97270 h 109954"/>
                    <a:gd name="connsiteX26" fmla="*/ 35787 w 108956"/>
                    <a:gd name="connsiteY26" fmla="*/ 108465 h 109954"/>
                    <a:gd name="connsiteX27" fmla="*/ 29804 w 108956"/>
                    <a:gd name="connsiteY27" fmla="*/ 109954 h 10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8956" h="109954">
                      <a:moveTo>
                        <a:pt x="29804" y="109954"/>
                      </a:moveTo>
                      <a:cubicBezTo>
                        <a:pt x="27144" y="109954"/>
                        <a:pt x="24485" y="109130"/>
                        <a:pt x="22225" y="107481"/>
                      </a:cubicBezTo>
                      <a:cubicBezTo>
                        <a:pt x="18210" y="104583"/>
                        <a:pt x="16242" y="99743"/>
                        <a:pt x="17093" y="94850"/>
                      </a:cubicBezTo>
                      <a:lnTo>
                        <a:pt x="21162" y="71104"/>
                      </a:lnTo>
                      <a:lnTo>
                        <a:pt x="3904" y="54299"/>
                      </a:lnTo>
                      <a:cubicBezTo>
                        <a:pt x="367" y="50842"/>
                        <a:pt x="-882" y="45763"/>
                        <a:pt x="633" y="41057"/>
                      </a:cubicBezTo>
                      <a:cubicBezTo>
                        <a:pt x="2175" y="36350"/>
                        <a:pt x="6164" y="32973"/>
                        <a:pt x="11057" y="32255"/>
                      </a:cubicBezTo>
                      <a:lnTo>
                        <a:pt x="34883" y="28798"/>
                      </a:lnTo>
                      <a:lnTo>
                        <a:pt x="45545" y="7206"/>
                      </a:lnTo>
                      <a:cubicBezTo>
                        <a:pt x="47753" y="2765"/>
                        <a:pt x="52167" y="0"/>
                        <a:pt x="57139" y="0"/>
                      </a:cubicBezTo>
                      <a:cubicBezTo>
                        <a:pt x="62085" y="0"/>
                        <a:pt x="66526" y="2765"/>
                        <a:pt x="68733" y="7206"/>
                      </a:cubicBezTo>
                      <a:lnTo>
                        <a:pt x="79396" y="28798"/>
                      </a:lnTo>
                      <a:lnTo>
                        <a:pt x="103221" y="32255"/>
                      </a:lnTo>
                      <a:cubicBezTo>
                        <a:pt x="106891" y="32787"/>
                        <a:pt x="109417" y="36190"/>
                        <a:pt x="108885" y="39833"/>
                      </a:cubicBezTo>
                      <a:cubicBezTo>
                        <a:pt x="108354" y="43476"/>
                        <a:pt x="104950" y="46003"/>
                        <a:pt x="101307" y="45497"/>
                      </a:cubicBezTo>
                      <a:lnTo>
                        <a:pt x="70515" y="41030"/>
                      </a:lnTo>
                      <a:lnTo>
                        <a:pt x="57166" y="13960"/>
                      </a:lnTo>
                      <a:lnTo>
                        <a:pt x="43817" y="41030"/>
                      </a:lnTo>
                      <a:lnTo>
                        <a:pt x="13955" y="45364"/>
                      </a:lnTo>
                      <a:lnTo>
                        <a:pt x="35547" y="66424"/>
                      </a:lnTo>
                      <a:lnTo>
                        <a:pt x="30442" y="96153"/>
                      </a:lnTo>
                      <a:lnTo>
                        <a:pt x="57139" y="82113"/>
                      </a:lnTo>
                      <a:lnTo>
                        <a:pt x="84661" y="96605"/>
                      </a:lnTo>
                      <a:cubicBezTo>
                        <a:pt x="87932" y="98334"/>
                        <a:pt x="89208" y="102376"/>
                        <a:pt x="87480" y="105646"/>
                      </a:cubicBezTo>
                      <a:cubicBezTo>
                        <a:pt x="85778" y="108917"/>
                        <a:pt x="81736" y="110193"/>
                        <a:pt x="78439" y="108465"/>
                      </a:cubicBezTo>
                      <a:lnTo>
                        <a:pt x="57113" y="97270"/>
                      </a:lnTo>
                      <a:lnTo>
                        <a:pt x="35787" y="108465"/>
                      </a:lnTo>
                      <a:cubicBezTo>
                        <a:pt x="33925" y="109449"/>
                        <a:pt x="31851" y="109954"/>
                        <a:pt x="29804" y="109954"/>
                      </a:cubicBezTo>
                      <a:close/>
                    </a:path>
                  </a:pathLst>
                </a:custGeom>
                <a:grpFill/>
                <a:ln w="2655" cap="flat">
                  <a:noFill/>
                  <a:prstDash val="solid"/>
                  <a:miter/>
                </a:ln>
              </p:spPr>
              <p:txBody>
                <a:bodyPr rtlCol="0" anchor="ctr"/>
                <a:lstStyle/>
                <a:p>
                  <a:endParaRPr lang="en-GB" dirty="0"/>
                </a:p>
              </p:txBody>
            </p:sp>
          </p:grpSp>
        </p:grpSp>
      </p:grpSp>
      <p:grpSp>
        <p:nvGrpSpPr>
          <p:cNvPr id="628" name="Group 627">
            <a:extLst>
              <a:ext uri="{FF2B5EF4-FFF2-40B4-BE49-F238E27FC236}">
                <a16:creationId xmlns:a16="http://schemas.microsoft.com/office/drawing/2014/main" id="{98808A16-C511-7A45-731F-F0FAC2631AAB}"/>
              </a:ext>
            </a:extLst>
          </p:cNvPr>
          <p:cNvGrpSpPr/>
          <p:nvPr/>
        </p:nvGrpSpPr>
        <p:grpSpPr>
          <a:xfrm>
            <a:off x="4983578" y="2406516"/>
            <a:ext cx="459381" cy="432000"/>
            <a:chOff x="4983166" y="2406516"/>
            <a:chExt cx="459381" cy="432000"/>
          </a:xfrm>
        </p:grpSpPr>
        <p:grpSp>
          <p:nvGrpSpPr>
            <p:cNvPr id="393" name="Grafik 307">
              <a:extLst>
                <a:ext uri="{FF2B5EF4-FFF2-40B4-BE49-F238E27FC236}">
                  <a16:creationId xmlns:a16="http://schemas.microsoft.com/office/drawing/2014/main" id="{5ADC522C-BDB9-401D-9C2E-6F4E7B2B2A23}"/>
                </a:ext>
              </a:extLst>
            </p:cNvPr>
            <p:cNvGrpSpPr/>
            <p:nvPr/>
          </p:nvGrpSpPr>
          <p:grpSpPr>
            <a:xfrm>
              <a:off x="5211364" y="2406516"/>
              <a:ext cx="231183" cy="353559"/>
              <a:chOff x="8041477" y="3365967"/>
              <a:chExt cx="189733" cy="290167"/>
            </a:xfrm>
            <a:solidFill>
              <a:schemeClr val="tx2"/>
            </a:solidFill>
          </p:grpSpPr>
          <p:sp>
            <p:nvSpPr>
              <p:cNvPr id="398" name="Freihandform: Form 836">
                <a:extLst>
                  <a:ext uri="{FF2B5EF4-FFF2-40B4-BE49-F238E27FC236}">
                    <a16:creationId xmlns:a16="http://schemas.microsoft.com/office/drawing/2014/main" id="{F16BB64B-ECA8-4E44-B54F-6597FC6F784A}"/>
                  </a:ext>
                </a:extLst>
              </p:cNvPr>
              <p:cNvSpPr/>
              <p:nvPr/>
            </p:nvSpPr>
            <p:spPr>
              <a:xfrm>
                <a:off x="8117454" y="3592456"/>
                <a:ext cx="113756" cy="63678"/>
              </a:xfrm>
              <a:custGeom>
                <a:avLst/>
                <a:gdLst>
                  <a:gd name="connsiteX0" fmla="*/ 57748 w 113756"/>
                  <a:gd name="connsiteY0" fmla="*/ 63679 h 63678"/>
                  <a:gd name="connsiteX1" fmla="*/ 53360 w 113756"/>
                  <a:gd name="connsiteY1" fmla="*/ 63546 h 63678"/>
                  <a:gd name="connsiteX2" fmla="*/ 24854 w 113756"/>
                  <a:gd name="connsiteY2" fmla="*/ 48974 h 63678"/>
                  <a:gd name="connsiteX3" fmla="*/ 24243 w 113756"/>
                  <a:gd name="connsiteY3" fmla="*/ 48203 h 63678"/>
                  <a:gd name="connsiteX4" fmla="*/ 1215 w 113756"/>
                  <a:gd name="connsiteY4" fmla="*/ 15496 h 63678"/>
                  <a:gd name="connsiteX5" fmla="*/ 2837 w 113756"/>
                  <a:gd name="connsiteY5" fmla="*/ 6189 h 63678"/>
                  <a:gd name="connsiteX6" fmla="*/ 12144 w 113756"/>
                  <a:gd name="connsiteY6" fmla="*/ 7811 h 63678"/>
                  <a:gd name="connsiteX7" fmla="*/ 34852 w 113756"/>
                  <a:gd name="connsiteY7" fmla="*/ 40066 h 63678"/>
                  <a:gd name="connsiteX8" fmla="*/ 54690 w 113756"/>
                  <a:gd name="connsiteY8" fmla="*/ 50224 h 63678"/>
                  <a:gd name="connsiteX9" fmla="*/ 89497 w 113756"/>
                  <a:gd name="connsiteY9" fmla="*/ 38710 h 63678"/>
                  <a:gd name="connsiteX10" fmla="*/ 100320 w 113756"/>
                  <a:gd name="connsiteY10" fmla="*/ 6960 h 63678"/>
                  <a:gd name="connsiteX11" fmla="*/ 106755 w 113756"/>
                  <a:gd name="connsiteY11" fmla="*/ 20 h 63678"/>
                  <a:gd name="connsiteX12" fmla="*/ 113695 w 113756"/>
                  <a:gd name="connsiteY12" fmla="*/ 6428 h 63678"/>
                  <a:gd name="connsiteX13" fmla="*/ 98857 w 113756"/>
                  <a:gd name="connsiteY13" fmla="*/ 48283 h 63678"/>
                  <a:gd name="connsiteX14" fmla="*/ 57748 w 113756"/>
                  <a:gd name="connsiteY14" fmla="*/ 63679 h 6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756" h="63678">
                    <a:moveTo>
                      <a:pt x="57748" y="63679"/>
                    </a:moveTo>
                    <a:cubicBezTo>
                      <a:pt x="56285" y="63679"/>
                      <a:pt x="54822" y="63625"/>
                      <a:pt x="53360" y="63546"/>
                    </a:cubicBezTo>
                    <a:cubicBezTo>
                      <a:pt x="44824" y="62402"/>
                      <a:pt x="35198" y="59796"/>
                      <a:pt x="24854" y="48974"/>
                    </a:cubicBezTo>
                    <a:lnTo>
                      <a:pt x="24243" y="48203"/>
                    </a:lnTo>
                    <a:cubicBezTo>
                      <a:pt x="24243" y="48203"/>
                      <a:pt x="14324" y="34189"/>
                      <a:pt x="1215" y="15496"/>
                    </a:cubicBezTo>
                    <a:cubicBezTo>
                      <a:pt x="-912" y="12464"/>
                      <a:pt x="-168" y="8316"/>
                      <a:pt x="2837" y="6189"/>
                    </a:cubicBezTo>
                    <a:cubicBezTo>
                      <a:pt x="5868" y="4062"/>
                      <a:pt x="10016" y="4806"/>
                      <a:pt x="12144" y="7811"/>
                    </a:cubicBezTo>
                    <a:cubicBezTo>
                      <a:pt x="23950" y="24616"/>
                      <a:pt x="33124" y="37620"/>
                      <a:pt x="34852" y="40066"/>
                    </a:cubicBezTo>
                    <a:cubicBezTo>
                      <a:pt x="41766" y="47166"/>
                      <a:pt x="47802" y="49266"/>
                      <a:pt x="54690" y="50224"/>
                    </a:cubicBezTo>
                    <a:cubicBezTo>
                      <a:pt x="68038" y="51075"/>
                      <a:pt x="81227" y="46793"/>
                      <a:pt x="89497" y="38710"/>
                    </a:cubicBezTo>
                    <a:cubicBezTo>
                      <a:pt x="97209" y="31185"/>
                      <a:pt x="100852" y="20521"/>
                      <a:pt x="100320" y="6960"/>
                    </a:cubicBezTo>
                    <a:cubicBezTo>
                      <a:pt x="100187" y="3264"/>
                      <a:pt x="103059" y="153"/>
                      <a:pt x="106755" y="20"/>
                    </a:cubicBezTo>
                    <a:cubicBezTo>
                      <a:pt x="110451" y="-273"/>
                      <a:pt x="113562" y="2732"/>
                      <a:pt x="113695" y="6428"/>
                    </a:cubicBezTo>
                    <a:cubicBezTo>
                      <a:pt x="114386" y="23686"/>
                      <a:pt x="109228" y="38151"/>
                      <a:pt x="98857" y="48283"/>
                    </a:cubicBezTo>
                    <a:cubicBezTo>
                      <a:pt x="88832" y="58068"/>
                      <a:pt x="73702" y="63679"/>
                      <a:pt x="57748" y="63679"/>
                    </a:cubicBezTo>
                    <a:close/>
                  </a:path>
                </a:pathLst>
              </a:custGeom>
              <a:grpFill/>
              <a:ln w="2655" cap="flat">
                <a:noFill/>
                <a:prstDash val="solid"/>
                <a:miter/>
              </a:ln>
            </p:spPr>
            <p:txBody>
              <a:bodyPr rtlCol="0" anchor="ctr"/>
              <a:lstStyle/>
              <a:p>
                <a:endParaRPr lang="en-GB" dirty="0"/>
              </a:p>
            </p:txBody>
          </p:sp>
          <p:sp>
            <p:nvSpPr>
              <p:cNvPr id="399" name="Freihandform: Form 837">
                <a:extLst>
                  <a:ext uri="{FF2B5EF4-FFF2-40B4-BE49-F238E27FC236}">
                    <a16:creationId xmlns:a16="http://schemas.microsoft.com/office/drawing/2014/main" id="{AC0DC61B-7BFC-4CE5-AF73-63F55D83EB34}"/>
                  </a:ext>
                </a:extLst>
              </p:cNvPr>
              <p:cNvSpPr/>
              <p:nvPr/>
            </p:nvSpPr>
            <p:spPr>
              <a:xfrm>
                <a:off x="8041477" y="3365967"/>
                <a:ext cx="175782" cy="152717"/>
              </a:xfrm>
              <a:custGeom>
                <a:avLst/>
                <a:gdLst>
                  <a:gd name="connsiteX0" fmla="*/ 19463 w 175782"/>
                  <a:gd name="connsiteY0" fmla="*/ 152718 h 152717"/>
                  <a:gd name="connsiteX1" fmla="*/ 13507 w 175782"/>
                  <a:gd name="connsiteY1" fmla="*/ 149102 h 152717"/>
                  <a:gd name="connsiteX2" fmla="*/ 59244 w 175782"/>
                  <a:gd name="connsiteY2" fmla="*/ 12743 h 152717"/>
                  <a:gd name="connsiteX3" fmla="*/ 60280 w 175782"/>
                  <a:gd name="connsiteY3" fmla="*/ 12078 h 152717"/>
                  <a:gd name="connsiteX4" fmla="*/ 127290 w 175782"/>
                  <a:gd name="connsiteY4" fmla="*/ 4499 h 152717"/>
                  <a:gd name="connsiteX5" fmla="*/ 175420 w 175782"/>
                  <a:gd name="connsiteY5" fmla="*/ 58266 h 152717"/>
                  <a:gd name="connsiteX6" fmla="*/ 171272 w 175782"/>
                  <a:gd name="connsiteY6" fmla="*/ 66749 h 152717"/>
                  <a:gd name="connsiteX7" fmla="*/ 162762 w 175782"/>
                  <a:gd name="connsiteY7" fmla="*/ 62601 h 152717"/>
                  <a:gd name="connsiteX8" fmla="*/ 122291 w 175782"/>
                  <a:gd name="connsiteY8" fmla="*/ 16917 h 152717"/>
                  <a:gd name="connsiteX9" fmla="*/ 66875 w 175782"/>
                  <a:gd name="connsiteY9" fmla="*/ 23751 h 152717"/>
                  <a:gd name="connsiteX10" fmla="*/ 25393 w 175782"/>
                  <a:gd name="connsiteY10" fmla="*/ 142986 h 152717"/>
                  <a:gd name="connsiteX11" fmla="*/ 22521 w 175782"/>
                  <a:gd name="connsiteY11" fmla="*/ 152000 h 152717"/>
                  <a:gd name="connsiteX12" fmla="*/ 19463 w 175782"/>
                  <a:gd name="connsiteY12" fmla="*/ 152718 h 15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5782" h="152717">
                    <a:moveTo>
                      <a:pt x="19463" y="152718"/>
                    </a:moveTo>
                    <a:cubicBezTo>
                      <a:pt x="17044" y="152718"/>
                      <a:pt x="14704" y="151388"/>
                      <a:pt x="13507" y="149102"/>
                    </a:cubicBezTo>
                    <a:cubicBezTo>
                      <a:pt x="-26805" y="70924"/>
                      <a:pt x="33503" y="30160"/>
                      <a:pt x="59244" y="12743"/>
                    </a:cubicBezTo>
                    <a:lnTo>
                      <a:pt x="60280" y="12078"/>
                    </a:lnTo>
                    <a:cubicBezTo>
                      <a:pt x="84718" y="-872"/>
                      <a:pt x="107267" y="-3425"/>
                      <a:pt x="127290" y="4499"/>
                    </a:cubicBezTo>
                    <a:cubicBezTo>
                      <a:pt x="161273" y="17954"/>
                      <a:pt x="174861" y="56618"/>
                      <a:pt x="175420" y="58266"/>
                    </a:cubicBezTo>
                    <a:cubicBezTo>
                      <a:pt x="176616" y="61750"/>
                      <a:pt x="174755" y="65553"/>
                      <a:pt x="171272" y="66749"/>
                    </a:cubicBezTo>
                    <a:cubicBezTo>
                      <a:pt x="167788" y="67946"/>
                      <a:pt x="163986" y="66111"/>
                      <a:pt x="162762" y="62601"/>
                    </a:cubicBezTo>
                    <a:cubicBezTo>
                      <a:pt x="162656" y="62255"/>
                      <a:pt x="150504" y="28032"/>
                      <a:pt x="122291" y="16917"/>
                    </a:cubicBezTo>
                    <a:cubicBezTo>
                      <a:pt x="106177" y="10589"/>
                      <a:pt x="87536" y="12876"/>
                      <a:pt x="66875" y="23751"/>
                    </a:cubicBezTo>
                    <a:cubicBezTo>
                      <a:pt x="39752" y="42099"/>
                      <a:pt x="-9335" y="75630"/>
                      <a:pt x="25393" y="142986"/>
                    </a:cubicBezTo>
                    <a:cubicBezTo>
                      <a:pt x="27095" y="146256"/>
                      <a:pt x="25792" y="150298"/>
                      <a:pt x="22521" y="152000"/>
                    </a:cubicBezTo>
                    <a:cubicBezTo>
                      <a:pt x="21537" y="152479"/>
                      <a:pt x="20500" y="152718"/>
                      <a:pt x="19463" y="152718"/>
                    </a:cubicBezTo>
                    <a:close/>
                  </a:path>
                </a:pathLst>
              </a:custGeom>
              <a:grpFill/>
              <a:ln w="2655" cap="flat">
                <a:noFill/>
                <a:prstDash val="solid"/>
                <a:miter/>
              </a:ln>
            </p:spPr>
            <p:txBody>
              <a:bodyPr rtlCol="0" anchor="ctr"/>
              <a:lstStyle/>
              <a:p>
                <a:endParaRPr lang="en-GB" dirty="0"/>
              </a:p>
            </p:txBody>
          </p:sp>
          <p:sp>
            <p:nvSpPr>
              <p:cNvPr id="400" name="Freihandform: Form 838">
                <a:extLst>
                  <a:ext uri="{FF2B5EF4-FFF2-40B4-BE49-F238E27FC236}">
                    <a16:creationId xmlns:a16="http://schemas.microsoft.com/office/drawing/2014/main" id="{BB42FEAD-1629-4918-BBD2-349947C1B2B3}"/>
                  </a:ext>
                </a:extLst>
              </p:cNvPr>
              <p:cNvSpPr/>
              <p:nvPr/>
            </p:nvSpPr>
            <p:spPr>
              <a:xfrm>
                <a:off x="8078597" y="3406750"/>
                <a:ext cx="116567" cy="117332"/>
              </a:xfrm>
              <a:custGeom>
                <a:avLst/>
                <a:gdLst>
                  <a:gd name="connsiteX0" fmla="*/ 108837 w 116567"/>
                  <a:gd name="connsiteY0" fmla="*/ 117333 h 117332"/>
                  <a:gd name="connsiteX1" fmla="*/ 80544 w 116567"/>
                  <a:gd name="connsiteY1" fmla="*/ 89811 h 117332"/>
                  <a:gd name="connsiteX2" fmla="*/ 96738 w 116567"/>
                  <a:gd name="connsiteY2" fmla="*/ 66012 h 117332"/>
                  <a:gd name="connsiteX3" fmla="*/ 103066 w 116567"/>
                  <a:gd name="connsiteY3" fmla="*/ 60667 h 117332"/>
                  <a:gd name="connsiteX4" fmla="*/ 89532 w 116567"/>
                  <a:gd name="connsiteY4" fmla="*/ 23520 h 117332"/>
                  <a:gd name="connsiteX5" fmla="*/ 59749 w 116567"/>
                  <a:gd name="connsiteY5" fmla="*/ 13734 h 117332"/>
                  <a:gd name="connsiteX6" fmla="*/ 14226 w 116567"/>
                  <a:gd name="connsiteY6" fmla="*/ 74069 h 117332"/>
                  <a:gd name="connsiteX7" fmla="*/ 9652 w 116567"/>
                  <a:gd name="connsiteY7" fmla="*/ 82339 h 117332"/>
                  <a:gd name="connsiteX8" fmla="*/ 1382 w 116567"/>
                  <a:gd name="connsiteY8" fmla="*/ 77819 h 117332"/>
                  <a:gd name="connsiteX9" fmla="*/ 55734 w 116567"/>
                  <a:gd name="connsiteY9" fmla="*/ 944 h 117332"/>
                  <a:gd name="connsiteX10" fmla="*/ 56452 w 116567"/>
                  <a:gd name="connsiteY10" fmla="*/ 731 h 117332"/>
                  <a:gd name="connsiteX11" fmla="*/ 98306 w 116567"/>
                  <a:gd name="connsiteY11" fmla="*/ 13388 h 117332"/>
                  <a:gd name="connsiteX12" fmla="*/ 116282 w 116567"/>
                  <a:gd name="connsiteY12" fmla="*/ 63353 h 117332"/>
                  <a:gd name="connsiteX13" fmla="*/ 116176 w 116567"/>
                  <a:gd name="connsiteY13" fmla="*/ 64629 h 117332"/>
                  <a:gd name="connsiteX14" fmla="*/ 115591 w 116567"/>
                  <a:gd name="connsiteY14" fmla="*/ 65773 h 117332"/>
                  <a:gd name="connsiteX15" fmla="*/ 104848 w 116567"/>
                  <a:gd name="connsiteY15" fmla="*/ 76622 h 117332"/>
                  <a:gd name="connsiteX16" fmla="*/ 93946 w 116567"/>
                  <a:gd name="connsiteY16" fmla="*/ 89785 h 117332"/>
                  <a:gd name="connsiteX17" fmla="*/ 108863 w 116567"/>
                  <a:gd name="connsiteY17" fmla="*/ 103931 h 117332"/>
                  <a:gd name="connsiteX18" fmla="*/ 115564 w 116567"/>
                  <a:gd name="connsiteY18" fmla="*/ 110632 h 117332"/>
                  <a:gd name="connsiteX19" fmla="*/ 108837 w 116567"/>
                  <a:gd name="connsiteY19" fmla="*/ 117333 h 11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6567" h="117332">
                    <a:moveTo>
                      <a:pt x="108837" y="117333"/>
                    </a:moveTo>
                    <a:cubicBezTo>
                      <a:pt x="92191" y="117333"/>
                      <a:pt x="80544" y="106032"/>
                      <a:pt x="80544" y="89811"/>
                    </a:cubicBezTo>
                    <a:cubicBezTo>
                      <a:pt x="80544" y="78324"/>
                      <a:pt x="89904" y="71197"/>
                      <a:pt x="96738" y="66012"/>
                    </a:cubicBezTo>
                    <a:cubicBezTo>
                      <a:pt x="99025" y="64284"/>
                      <a:pt x="101763" y="62183"/>
                      <a:pt x="103066" y="60667"/>
                    </a:cubicBezTo>
                    <a:cubicBezTo>
                      <a:pt x="104024" y="44660"/>
                      <a:pt x="99477" y="32162"/>
                      <a:pt x="89532" y="23520"/>
                    </a:cubicBezTo>
                    <a:cubicBezTo>
                      <a:pt x="79294" y="14638"/>
                      <a:pt x="66105" y="12484"/>
                      <a:pt x="59749" y="13734"/>
                    </a:cubicBezTo>
                    <a:cubicBezTo>
                      <a:pt x="3483" y="33465"/>
                      <a:pt x="13774" y="72421"/>
                      <a:pt x="14226" y="74069"/>
                    </a:cubicBezTo>
                    <a:cubicBezTo>
                      <a:pt x="15236" y="77606"/>
                      <a:pt x="13188" y="81302"/>
                      <a:pt x="9652" y="82339"/>
                    </a:cubicBezTo>
                    <a:cubicBezTo>
                      <a:pt x="6142" y="83323"/>
                      <a:pt x="2419" y="81355"/>
                      <a:pt x="1382" y="77819"/>
                    </a:cubicBezTo>
                    <a:cubicBezTo>
                      <a:pt x="1222" y="77287"/>
                      <a:pt x="-13323" y="24956"/>
                      <a:pt x="55734" y="944"/>
                    </a:cubicBezTo>
                    <a:lnTo>
                      <a:pt x="56452" y="731"/>
                    </a:lnTo>
                    <a:cubicBezTo>
                      <a:pt x="67168" y="-1715"/>
                      <a:pt x="85038" y="1848"/>
                      <a:pt x="98306" y="13388"/>
                    </a:cubicBezTo>
                    <a:cubicBezTo>
                      <a:pt x="107720" y="21552"/>
                      <a:pt x="118463" y="36842"/>
                      <a:pt x="116282" y="63353"/>
                    </a:cubicBezTo>
                    <a:lnTo>
                      <a:pt x="116176" y="64629"/>
                    </a:lnTo>
                    <a:lnTo>
                      <a:pt x="115591" y="65773"/>
                    </a:lnTo>
                    <a:cubicBezTo>
                      <a:pt x="113437" y="70054"/>
                      <a:pt x="109262" y="73245"/>
                      <a:pt x="104848" y="76622"/>
                    </a:cubicBezTo>
                    <a:cubicBezTo>
                      <a:pt x="99477" y="80717"/>
                      <a:pt x="93946" y="84918"/>
                      <a:pt x="93946" y="89785"/>
                    </a:cubicBezTo>
                    <a:cubicBezTo>
                      <a:pt x="93946" y="98639"/>
                      <a:pt x="99530" y="103931"/>
                      <a:pt x="108863" y="103931"/>
                    </a:cubicBezTo>
                    <a:cubicBezTo>
                      <a:pt x="112560" y="103931"/>
                      <a:pt x="115564" y="106936"/>
                      <a:pt x="115564" y="110632"/>
                    </a:cubicBezTo>
                    <a:cubicBezTo>
                      <a:pt x="115564" y="114328"/>
                      <a:pt x="112560" y="117333"/>
                      <a:pt x="108837" y="117333"/>
                    </a:cubicBezTo>
                    <a:close/>
                  </a:path>
                </a:pathLst>
              </a:custGeom>
              <a:grpFill/>
              <a:ln w="2655" cap="flat">
                <a:noFill/>
                <a:prstDash val="solid"/>
                <a:miter/>
              </a:ln>
            </p:spPr>
            <p:txBody>
              <a:bodyPr rtlCol="0" anchor="ctr"/>
              <a:lstStyle/>
              <a:p>
                <a:endParaRPr lang="en-GB" dirty="0"/>
              </a:p>
            </p:txBody>
          </p:sp>
          <p:sp>
            <p:nvSpPr>
              <p:cNvPr id="401" name="Freihandform: Form 839">
                <a:extLst>
                  <a:ext uri="{FF2B5EF4-FFF2-40B4-BE49-F238E27FC236}">
                    <a16:creationId xmlns:a16="http://schemas.microsoft.com/office/drawing/2014/main" id="{29A33AE2-27AE-4801-B2D1-85CCE5039D35}"/>
                  </a:ext>
                </a:extLst>
              </p:cNvPr>
              <p:cNvSpPr/>
              <p:nvPr/>
            </p:nvSpPr>
            <p:spPr>
              <a:xfrm>
                <a:off x="8123685" y="3534619"/>
                <a:ext cx="62751" cy="48549"/>
              </a:xfrm>
              <a:custGeom>
                <a:avLst/>
                <a:gdLst>
                  <a:gd name="connsiteX0" fmla="*/ 41492 w 62751"/>
                  <a:gd name="connsiteY0" fmla="*/ 48550 h 48549"/>
                  <a:gd name="connsiteX1" fmla="*/ 754 w 62751"/>
                  <a:gd name="connsiteY1" fmla="*/ 9780 h 48549"/>
                  <a:gd name="connsiteX2" fmla="*/ 3599 w 62751"/>
                  <a:gd name="connsiteY2" fmla="*/ 766 h 48549"/>
                  <a:gd name="connsiteX3" fmla="*/ 12614 w 62751"/>
                  <a:gd name="connsiteY3" fmla="*/ 3611 h 48549"/>
                  <a:gd name="connsiteX4" fmla="*/ 41465 w 62751"/>
                  <a:gd name="connsiteY4" fmla="*/ 35175 h 48549"/>
                  <a:gd name="connsiteX5" fmla="*/ 41598 w 62751"/>
                  <a:gd name="connsiteY5" fmla="*/ 35175 h 48549"/>
                  <a:gd name="connsiteX6" fmla="*/ 49974 w 62751"/>
                  <a:gd name="connsiteY6" fmla="*/ 26267 h 48549"/>
                  <a:gd name="connsiteX7" fmla="*/ 58855 w 62751"/>
                  <a:gd name="connsiteY7" fmla="*/ 22996 h 48549"/>
                  <a:gd name="connsiteX8" fmla="*/ 62126 w 62751"/>
                  <a:gd name="connsiteY8" fmla="*/ 31877 h 48549"/>
                  <a:gd name="connsiteX9" fmla="*/ 41917 w 62751"/>
                  <a:gd name="connsiteY9" fmla="*/ 48550 h 48549"/>
                  <a:gd name="connsiteX10" fmla="*/ 41492 w 62751"/>
                  <a:gd name="connsiteY10" fmla="*/ 48550 h 4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51" h="48549">
                    <a:moveTo>
                      <a:pt x="41492" y="48550"/>
                    </a:moveTo>
                    <a:cubicBezTo>
                      <a:pt x="21868" y="48550"/>
                      <a:pt x="4131" y="16295"/>
                      <a:pt x="754" y="9780"/>
                    </a:cubicBezTo>
                    <a:cubicBezTo>
                      <a:pt x="-948" y="6509"/>
                      <a:pt x="329" y="2468"/>
                      <a:pt x="3599" y="766"/>
                    </a:cubicBezTo>
                    <a:cubicBezTo>
                      <a:pt x="6870" y="-963"/>
                      <a:pt x="10912" y="340"/>
                      <a:pt x="12614" y="3611"/>
                    </a:cubicBezTo>
                    <a:cubicBezTo>
                      <a:pt x="19262" y="16401"/>
                      <a:pt x="32982" y="35175"/>
                      <a:pt x="41465" y="35175"/>
                    </a:cubicBezTo>
                    <a:cubicBezTo>
                      <a:pt x="41518" y="35175"/>
                      <a:pt x="41545" y="35175"/>
                      <a:pt x="41598" y="35175"/>
                    </a:cubicBezTo>
                    <a:cubicBezTo>
                      <a:pt x="45161" y="35095"/>
                      <a:pt x="48113" y="30282"/>
                      <a:pt x="49974" y="26267"/>
                    </a:cubicBezTo>
                    <a:cubicBezTo>
                      <a:pt x="51517" y="22916"/>
                      <a:pt x="55479" y="21427"/>
                      <a:pt x="58855" y="22996"/>
                    </a:cubicBezTo>
                    <a:cubicBezTo>
                      <a:pt x="62206" y="24538"/>
                      <a:pt x="63695" y="28500"/>
                      <a:pt x="62126" y="31877"/>
                    </a:cubicBezTo>
                    <a:cubicBezTo>
                      <a:pt x="57127" y="42753"/>
                      <a:pt x="50320" y="48364"/>
                      <a:pt x="41917" y="48550"/>
                    </a:cubicBezTo>
                    <a:cubicBezTo>
                      <a:pt x="41758" y="48550"/>
                      <a:pt x="41625" y="48550"/>
                      <a:pt x="41492" y="48550"/>
                    </a:cubicBezTo>
                    <a:close/>
                  </a:path>
                </a:pathLst>
              </a:custGeom>
              <a:grpFill/>
              <a:ln w="2655" cap="flat">
                <a:noFill/>
                <a:prstDash val="solid"/>
                <a:miter/>
              </a:ln>
            </p:spPr>
            <p:txBody>
              <a:bodyPr rtlCol="0" anchor="ctr"/>
              <a:lstStyle/>
              <a:p>
                <a:endParaRPr lang="en-GB" dirty="0"/>
              </a:p>
            </p:txBody>
          </p:sp>
        </p:grpSp>
        <p:grpSp>
          <p:nvGrpSpPr>
            <p:cNvPr id="394" name="Grafik 307">
              <a:extLst>
                <a:ext uri="{FF2B5EF4-FFF2-40B4-BE49-F238E27FC236}">
                  <a16:creationId xmlns:a16="http://schemas.microsoft.com/office/drawing/2014/main" id="{87632C21-440C-4D63-9EAC-D61C7A686860}"/>
                </a:ext>
              </a:extLst>
            </p:cNvPr>
            <p:cNvGrpSpPr/>
            <p:nvPr/>
          </p:nvGrpSpPr>
          <p:grpSpPr>
            <a:xfrm>
              <a:off x="4983166" y="2577726"/>
              <a:ext cx="309714" cy="260790"/>
              <a:chOff x="7854194" y="3506480"/>
              <a:chExt cx="254184" cy="214031"/>
            </a:xfrm>
            <a:solidFill>
              <a:schemeClr val="accent1"/>
            </a:solidFill>
          </p:grpSpPr>
          <p:sp>
            <p:nvSpPr>
              <p:cNvPr id="395" name="Freihandform: Form 841">
                <a:extLst>
                  <a:ext uri="{FF2B5EF4-FFF2-40B4-BE49-F238E27FC236}">
                    <a16:creationId xmlns:a16="http://schemas.microsoft.com/office/drawing/2014/main" id="{6DF7580C-E4ED-4135-A211-05BCDF023517}"/>
                  </a:ext>
                </a:extLst>
              </p:cNvPr>
              <p:cNvSpPr/>
              <p:nvPr/>
            </p:nvSpPr>
            <p:spPr>
              <a:xfrm>
                <a:off x="7854194" y="3506480"/>
                <a:ext cx="254184" cy="214031"/>
              </a:xfrm>
              <a:custGeom>
                <a:avLst/>
                <a:gdLst>
                  <a:gd name="connsiteX0" fmla="*/ 60175 w 254184"/>
                  <a:gd name="connsiteY0" fmla="*/ 214031 h 214031"/>
                  <a:gd name="connsiteX1" fmla="*/ 57623 w 254184"/>
                  <a:gd name="connsiteY1" fmla="*/ 213526 h 214031"/>
                  <a:gd name="connsiteX2" fmla="*/ 53501 w 254184"/>
                  <a:gd name="connsiteY2" fmla="*/ 207357 h 214031"/>
                  <a:gd name="connsiteX3" fmla="*/ 53501 w 254184"/>
                  <a:gd name="connsiteY3" fmla="*/ 160530 h 214031"/>
                  <a:gd name="connsiteX4" fmla="*/ 40126 w 254184"/>
                  <a:gd name="connsiteY4" fmla="*/ 160530 h 214031"/>
                  <a:gd name="connsiteX5" fmla="*/ 0 w 254184"/>
                  <a:gd name="connsiteY5" fmla="*/ 120404 h 214031"/>
                  <a:gd name="connsiteX6" fmla="*/ 0 w 254184"/>
                  <a:gd name="connsiteY6" fmla="*/ 40126 h 214031"/>
                  <a:gd name="connsiteX7" fmla="*/ 40126 w 254184"/>
                  <a:gd name="connsiteY7" fmla="*/ 0 h 214031"/>
                  <a:gd name="connsiteX8" fmla="*/ 214058 w 254184"/>
                  <a:gd name="connsiteY8" fmla="*/ 0 h 214031"/>
                  <a:gd name="connsiteX9" fmla="*/ 254184 w 254184"/>
                  <a:gd name="connsiteY9" fmla="*/ 40126 h 214031"/>
                  <a:gd name="connsiteX10" fmla="*/ 254184 w 254184"/>
                  <a:gd name="connsiteY10" fmla="*/ 120404 h 214031"/>
                  <a:gd name="connsiteX11" fmla="*/ 214058 w 254184"/>
                  <a:gd name="connsiteY11" fmla="*/ 160530 h 214031"/>
                  <a:gd name="connsiteX12" fmla="*/ 116495 w 254184"/>
                  <a:gd name="connsiteY12" fmla="*/ 160530 h 214031"/>
                  <a:gd name="connsiteX13" fmla="*/ 64909 w 254184"/>
                  <a:gd name="connsiteY13" fmla="*/ 212064 h 214031"/>
                  <a:gd name="connsiteX14" fmla="*/ 60175 w 254184"/>
                  <a:gd name="connsiteY14" fmla="*/ 214031 h 214031"/>
                  <a:gd name="connsiteX15" fmla="*/ 40099 w 254184"/>
                  <a:gd name="connsiteY15" fmla="*/ 13349 h 214031"/>
                  <a:gd name="connsiteX16" fmla="*/ 13349 w 254184"/>
                  <a:gd name="connsiteY16" fmla="*/ 40099 h 214031"/>
                  <a:gd name="connsiteX17" fmla="*/ 13349 w 254184"/>
                  <a:gd name="connsiteY17" fmla="*/ 120378 h 214031"/>
                  <a:gd name="connsiteX18" fmla="*/ 40099 w 254184"/>
                  <a:gd name="connsiteY18" fmla="*/ 147128 h 214031"/>
                  <a:gd name="connsiteX19" fmla="*/ 60175 w 254184"/>
                  <a:gd name="connsiteY19" fmla="*/ 147128 h 214031"/>
                  <a:gd name="connsiteX20" fmla="*/ 66876 w 254184"/>
                  <a:gd name="connsiteY20" fmla="*/ 153829 h 214031"/>
                  <a:gd name="connsiteX21" fmla="*/ 66876 w 254184"/>
                  <a:gd name="connsiteY21" fmla="*/ 191190 h 214031"/>
                  <a:gd name="connsiteX22" fmla="*/ 108970 w 254184"/>
                  <a:gd name="connsiteY22" fmla="*/ 149096 h 214031"/>
                  <a:gd name="connsiteX23" fmla="*/ 113703 w 254184"/>
                  <a:gd name="connsiteY23" fmla="*/ 147128 h 214031"/>
                  <a:gd name="connsiteX24" fmla="*/ 214031 w 254184"/>
                  <a:gd name="connsiteY24" fmla="*/ 147128 h 214031"/>
                  <a:gd name="connsiteX25" fmla="*/ 240782 w 254184"/>
                  <a:gd name="connsiteY25" fmla="*/ 120378 h 214031"/>
                  <a:gd name="connsiteX26" fmla="*/ 240782 w 254184"/>
                  <a:gd name="connsiteY26" fmla="*/ 40099 h 214031"/>
                  <a:gd name="connsiteX27" fmla="*/ 214031 w 254184"/>
                  <a:gd name="connsiteY27" fmla="*/ 13349 h 214031"/>
                  <a:gd name="connsiteX28" fmla="*/ 40099 w 254184"/>
                  <a:gd name="connsiteY28" fmla="*/ 13349 h 214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4184" h="214031">
                    <a:moveTo>
                      <a:pt x="60175" y="214031"/>
                    </a:moveTo>
                    <a:cubicBezTo>
                      <a:pt x="59325" y="214031"/>
                      <a:pt x="58447" y="213872"/>
                      <a:pt x="57623" y="213526"/>
                    </a:cubicBezTo>
                    <a:cubicBezTo>
                      <a:pt x="55123" y="212489"/>
                      <a:pt x="53501" y="210043"/>
                      <a:pt x="53501" y="207357"/>
                    </a:cubicBezTo>
                    <a:lnTo>
                      <a:pt x="53501" y="160530"/>
                    </a:lnTo>
                    <a:lnTo>
                      <a:pt x="40126" y="160530"/>
                    </a:lnTo>
                    <a:cubicBezTo>
                      <a:pt x="18002" y="160530"/>
                      <a:pt x="0" y="142528"/>
                      <a:pt x="0" y="120404"/>
                    </a:cubicBezTo>
                    <a:lnTo>
                      <a:pt x="0" y="40126"/>
                    </a:lnTo>
                    <a:cubicBezTo>
                      <a:pt x="0" y="18002"/>
                      <a:pt x="18002" y="0"/>
                      <a:pt x="40126" y="0"/>
                    </a:cubicBezTo>
                    <a:lnTo>
                      <a:pt x="214058" y="0"/>
                    </a:lnTo>
                    <a:cubicBezTo>
                      <a:pt x="236182" y="0"/>
                      <a:pt x="254184" y="18002"/>
                      <a:pt x="254184" y="40126"/>
                    </a:cubicBezTo>
                    <a:lnTo>
                      <a:pt x="254184" y="120404"/>
                    </a:lnTo>
                    <a:cubicBezTo>
                      <a:pt x="254184" y="142528"/>
                      <a:pt x="236182" y="160530"/>
                      <a:pt x="214058" y="160530"/>
                    </a:cubicBezTo>
                    <a:lnTo>
                      <a:pt x="116495" y="160530"/>
                    </a:lnTo>
                    <a:lnTo>
                      <a:pt x="64909" y="212064"/>
                    </a:lnTo>
                    <a:cubicBezTo>
                      <a:pt x="63632" y="213340"/>
                      <a:pt x="61904" y="214031"/>
                      <a:pt x="60175" y="214031"/>
                    </a:cubicBezTo>
                    <a:close/>
                    <a:moveTo>
                      <a:pt x="40099" y="13349"/>
                    </a:moveTo>
                    <a:cubicBezTo>
                      <a:pt x="25341" y="13349"/>
                      <a:pt x="13349" y="25341"/>
                      <a:pt x="13349" y="40099"/>
                    </a:cubicBezTo>
                    <a:lnTo>
                      <a:pt x="13349" y="120378"/>
                    </a:lnTo>
                    <a:cubicBezTo>
                      <a:pt x="13349" y="135136"/>
                      <a:pt x="25341" y="147128"/>
                      <a:pt x="40099" y="147128"/>
                    </a:cubicBezTo>
                    <a:lnTo>
                      <a:pt x="60175" y="147128"/>
                    </a:lnTo>
                    <a:cubicBezTo>
                      <a:pt x="63872" y="147128"/>
                      <a:pt x="66876" y="150133"/>
                      <a:pt x="66876" y="153829"/>
                    </a:cubicBezTo>
                    <a:lnTo>
                      <a:pt x="66876" y="191190"/>
                    </a:lnTo>
                    <a:lnTo>
                      <a:pt x="108970" y="149096"/>
                    </a:lnTo>
                    <a:cubicBezTo>
                      <a:pt x="110220" y="147846"/>
                      <a:pt x="111922" y="147128"/>
                      <a:pt x="113703" y="147128"/>
                    </a:cubicBezTo>
                    <a:lnTo>
                      <a:pt x="214031" y="147128"/>
                    </a:lnTo>
                    <a:cubicBezTo>
                      <a:pt x="228789" y="147128"/>
                      <a:pt x="240782" y="135136"/>
                      <a:pt x="240782" y="120378"/>
                    </a:cubicBezTo>
                    <a:lnTo>
                      <a:pt x="240782" y="40099"/>
                    </a:lnTo>
                    <a:cubicBezTo>
                      <a:pt x="240782" y="25341"/>
                      <a:pt x="228789" y="13349"/>
                      <a:pt x="214031" y="13349"/>
                    </a:cubicBezTo>
                    <a:lnTo>
                      <a:pt x="40099" y="13349"/>
                    </a:lnTo>
                    <a:close/>
                  </a:path>
                </a:pathLst>
              </a:custGeom>
              <a:solidFill>
                <a:schemeClr val="accent1"/>
              </a:solidFill>
              <a:ln w="2655" cap="flat">
                <a:noFill/>
                <a:prstDash val="solid"/>
                <a:miter/>
              </a:ln>
            </p:spPr>
            <p:txBody>
              <a:bodyPr rtlCol="0" anchor="ctr"/>
              <a:lstStyle/>
              <a:p>
                <a:endParaRPr lang="en-GB" dirty="0"/>
              </a:p>
            </p:txBody>
          </p:sp>
          <p:sp>
            <p:nvSpPr>
              <p:cNvPr id="396" name="Freihandform: Form 842">
                <a:extLst>
                  <a:ext uri="{FF2B5EF4-FFF2-40B4-BE49-F238E27FC236}">
                    <a16:creationId xmlns:a16="http://schemas.microsoft.com/office/drawing/2014/main" id="{92589C1E-0A0A-4CB8-8DE4-BED6C88D32CD}"/>
                  </a:ext>
                </a:extLst>
              </p:cNvPr>
              <p:cNvSpPr/>
              <p:nvPr/>
            </p:nvSpPr>
            <p:spPr>
              <a:xfrm>
                <a:off x="7894294" y="3559928"/>
                <a:ext cx="173932" cy="13401"/>
              </a:xfrm>
              <a:custGeom>
                <a:avLst/>
                <a:gdLst>
                  <a:gd name="connsiteX0" fmla="*/ 167231 w 173932"/>
                  <a:gd name="connsiteY0" fmla="*/ 13402 h 13401"/>
                  <a:gd name="connsiteX1" fmla="*/ 6701 w 173932"/>
                  <a:gd name="connsiteY1" fmla="*/ 13402 h 13401"/>
                  <a:gd name="connsiteX2" fmla="*/ 0 w 173932"/>
                  <a:gd name="connsiteY2" fmla="*/ 6701 h 13401"/>
                  <a:gd name="connsiteX3" fmla="*/ 6701 w 173932"/>
                  <a:gd name="connsiteY3" fmla="*/ 0 h 13401"/>
                  <a:gd name="connsiteX4" fmla="*/ 167231 w 173932"/>
                  <a:gd name="connsiteY4" fmla="*/ 0 h 13401"/>
                  <a:gd name="connsiteX5" fmla="*/ 173932 w 173932"/>
                  <a:gd name="connsiteY5" fmla="*/ 6701 h 13401"/>
                  <a:gd name="connsiteX6" fmla="*/ 167231 w 173932"/>
                  <a:gd name="connsiteY6" fmla="*/ 13402 h 13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932" h="13401">
                    <a:moveTo>
                      <a:pt x="167231" y="13402"/>
                    </a:moveTo>
                    <a:lnTo>
                      <a:pt x="6701" y="13402"/>
                    </a:lnTo>
                    <a:cubicBezTo>
                      <a:pt x="3005" y="13402"/>
                      <a:pt x="0" y="10397"/>
                      <a:pt x="0" y="6701"/>
                    </a:cubicBezTo>
                    <a:cubicBezTo>
                      <a:pt x="0" y="3005"/>
                      <a:pt x="3005" y="0"/>
                      <a:pt x="6701" y="0"/>
                    </a:cubicBezTo>
                    <a:lnTo>
                      <a:pt x="167231" y="0"/>
                    </a:lnTo>
                    <a:cubicBezTo>
                      <a:pt x="170927" y="0"/>
                      <a:pt x="173932" y="3005"/>
                      <a:pt x="173932" y="6701"/>
                    </a:cubicBezTo>
                    <a:cubicBezTo>
                      <a:pt x="173932" y="10397"/>
                      <a:pt x="170927" y="13402"/>
                      <a:pt x="167231" y="13402"/>
                    </a:cubicBezTo>
                    <a:close/>
                  </a:path>
                </a:pathLst>
              </a:custGeom>
              <a:solidFill>
                <a:schemeClr val="accent1"/>
              </a:solidFill>
              <a:ln w="2655" cap="flat">
                <a:noFill/>
                <a:prstDash val="solid"/>
                <a:miter/>
              </a:ln>
            </p:spPr>
            <p:txBody>
              <a:bodyPr rtlCol="0" anchor="ctr"/>
              <a:lstStyle/>
              <a:p>
                <a:endParaRPr lang="en-GB" dirty="0"/>
              </a:p>
            </p:txBody>
          </p:sp>
          <p:sp>
            <p:nvSpPr>
              <p:cNvPr id="397" name="Freihandform: Form 843">
                <a:extLst>
                  <a:ext uri="{FF2B5EF4-FFF2-40B4-BE49-F238E27FC236}">
                    <a16:creationId xmlns:a16="http://schemas.microsoft.com/office/drawing/2014/main" id="{3247DB05-0492-4358-B35B-913B60441485}"/>
                  </a:ext>
                </a:extLst>
              </p:cNvPr>
              <p:cNvSpPr/>
              <p:nvPr/>
            </p:nvSpPr>
            <p:spPr>
              <a:xfrm>
                <a:off x="7894294" y="3600081"/>
                <a:ext cx="173932" cy="13402"/>
              </a:xfrm>
              <a:custGeom>
                <a:avLst/>
                <a:gdLst>
                  <a:gd name="connsiteX0" fmla="*/ 167231 w 173932"/>
                  <a:gd name="connsiteY0" fmla="*/ 13402 h 13402"/>
                  <a:gd name="connsiteX1" fmla="*/ 6701 w 173932"/>
                  <a:gd name="connsiteY1" fmla="*/ 13402 h 13402"/>
                  <a:gd name="connsiteX2" fmla="*/ 0 w 173932"/>
                  <a:gd name="connsiteY2" fmla="*/ 6701 h 13402"/>
                  <a:gd name="connsiteX3" fmla="*/ 6701 w 173932"/>
                  <a:gd name="connsiteY3" fmla="*/ 0 h 13402"/>
                  <a:gd name="connsiteX4" fmla="*/ 167231 w 173932"/>
                  <a:gd name="connsiteY4" fmla="*/ 0 h 13402"/>
                  <a:gd name="connsiteX5" fmla="*/ 173932 w 173932"/>
                  <a:gd name="connsiteY5" fmla="*/ 6701 h 13402"/>
                  <a:gd name="connsiteX6" fmla="*/ 167231 w 173932"/>
                  <a:gd name="connsiteY6" fmla="*/ 13402 h 13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3932" h="13402">
                    <a:moveTo>
                      <a:pt x="167231" y="13402"/>
                    </a:moveTo>
                    <a:lnTo>
                      <a:pt x="6701" y="13402"/>
                    </a:lnTo>
                    <a:cubicBezTo>
                      <a:pt x="3005" y="13402"/>
                      <a:pt x="0" y="10397"/>
                      <a:pt x="0" y="6701"/>
                    </a:cubicBezTo>
                    <a:cubicBezTo>
                      <a:pt x="0" y="3005"/>
                      <a:pt x="3005" y="0"/>
                      <a:pt x="6701" y="0"/>
                    </a:cubicBezTo>
                    <a:lnTo>
                      <a:pt x="167231" y="0"/>
                    </a:lnTo>
                    <a:cubicBezTo>
                      <a:pt x="170927" y="0"/>
                      <a:pt x="173932" y="3005"/>
                      <a:pt x="173932" y="6701"/>
                    </a:cubicBezTo>
                    <a:cubicBezTo>
                      <a:pt x="173932" y="10397"/>
                      <a:pt x="170927" y="13402"/>
                      <a:pt x="167231" y="13402"/>
                    </a:cubicBezTo>
                    <a:close/>
                  </a:path>
                </a:pathLst>
              </a:custGeom>
              <a:solidFill>
                <a:schemeClr val="accent1"/>
              </a:solidFill>
              <a:ln w="2655" cap="flat">
                <a:noFill/>
                <a:prstDash val="solid"/>
                <a:miter/>
              </a:ln>
            </p:spPr>
            <p:txBody>
              <a:bodyPr rtlCol="0" anchor="ctr"/>
              <a:lstStyle/>
              <a:p>
                <a:endParaRPr lang="en-GB" dirty="0"/>
              </a:p>
            </p:txBody>
          </p:sp>
        </p:grpSp>
      </p:grpSp>
      <p:grpSp>
        <p:nvGrpSpPr>
          <p:cNvPr id="634" name="Group 633">
            <a:extLst>
              <a:ext uri="{FF2B5EF4-FFF2-40B4-BE49-F238E27FC236}">
                <a16:creationId xmlns:a16="http://schemas.microsoft.com/office/drawing/2014/main" id="{C1A2E477-1224-DEE1-03B9-CE7CCD410D4D}"/>
              </a:ext>
            </a:extLst>
          </p:cNvPr>
          <p:cNvGrpSpPr/>
          <p:nvPr/>
        </p:nvGrpSpPr>
        <p:grpSpPr>
          <a:xfrm>
            <a:off x="5999570" y="2406516"/>
            <a:ext cx="513662" cy="432000"/>
            <a:chOff x="5999158" y="2406516"/>
            <a:chExt cx="513662" cy="432000"/>
          </a:xfrm>
        </p:grpSpPr>
        <p:sp>
          <p:nvSpPr>
            <p:cNvPr id="403" name="Freihandform: Form 897">
              <a:extLst>
                <a:ext uri="{FF2B5EF4-FFF2-40B4-BE49-F238E27FC236}">
                  <a16:creationId xmlns:a16="http://schemas.microsoft.com/office/drawing/2014/main" id="{69DECEDD-BB6B-47C9-B4E3-B3710F460910}"/>
                </a:ext>
              </a:extLst>
            </p:cNvPr>
            <p:cNvSpPr/>
            <p:nvPr/>
          </p:nvSpPr>
          <p:spPr>
            <a:xfrm>
              <a:off x="6056876" y="2419888"/>
              <a:ext cx="135748" cy="128641"/>
            </a:xfrm>
            <a:custGeom>
              <a:avLst/>
              <a:gdLst>
                <a:gd name="connsiteX0" fmla="*/ 44032 w 130465"/>
                <a:gd name="connsiteY0" fmla="*/ 123635 h 123634"/>
                <a:gd name="connsiteX1" fmla="*/ 39272 w 130465"/>
                <a:gd name="connsiteY1" fmla="*/ 121640 h 123634"/>
                <a:gd name="connsiteX2" fmla="*/ 1938 w 130465"/>
                <a:gd name="connsiteY2" fmla="*/ 83881 h 123634"/>
                <a:gd name="connsiteX3" fmla="*/ 1991 w 130465"/>
                <a:gd name="connsiteY3" fmla="*/ 74415 h 123634"/>
                <a:gd name="connsiteX4" fmla="*/ 11458 w 130465"/>
                <a:gd name="connsiteY4" fmla="*/ 74468 h 123634"/>
                <a:gd name="connsiteX5" fmla="*/ 43260 w 130465"/>
                <a:gd name="connsiteY5" fmla="*/ 106616 h 123634"/>
                <a:gd name="connsiteX6" fmla="*/ 118354 w 130465"/>
                <a:gd name="connsiteY6" fmla="*/ 2778 h 123634"/>
                <a:gd name="connsiteX7" fmla="*/ 127687 w 130465"/>
                <a:gd name="connsiteY7" fmla="*/ 1263 h 123634"/>
                <a:gd name="connsiteX8" fmla="*/ 129203 w 130465"/>
                <a:gd name="connsiteY8" fmla="*/ 10596 h 123634"/>
                <a:gd name="connsiteX9" fmla="*/ 49483 w 130465"/>
                <a:gd name="connsiteY9" fmla="*/ 120843 h 123634"/>
                <a:gd name="connsiteX10" fmla="*/ 44563 w 130465"/>
                <a:gd name="connsiteY10" fmla="*/ 123582 h 123634"/>
                <a:gd name="connsiteX11" fmla="*/ 44032 w 130465"/>
                <a:gd name="connsiteY11" fmla="*/ 123635 h 123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0465" h="123634">
                  <a:moveTo>
                    <a:pt x="44032" y="123635"/>
                  </a:moveTo>
                  <a:cubicBezTo>
                    <a:pt x="42250" y="123635"/>
                    <a:pt x="40548" y="122917"/>
                    <a:pt x="39272" y="121640"/>
                  </a:cubicBezTo>
                  <a:lnTo>
                    <a:pt x="1938" y="83881"/>
                  </a:lnTo>
                  <a:cubicBezTo>
                    <a:pt x="-668" y="81248"/>
                    <a:pt x="-641" y="77021"/>
                    <a:pt x="1991" y="74415"/>
                  </a:cubicBezTo>
                  <a:cubicBezTo>
                    <a:pt x="4624" y="71809"/>
                    <a:pt x="8852" y="71835"/>
                    <a:pt x="11458" y="74468"/>
                  </a:cubicBezTo>
                  <a:lnTo>
                    <a:pt x="43260" y="106616"/>
                  </a:lnTo>
                  <a:lnTo>
                    <a:pt x="118354" y="2778"/>
                  </a:lnTo>
                  <a:cubicBezTo>
                    <a:pt x="120534" y="-227"/>
                    <a:pt x="124709" y="-891"/>
                    <a:pt x="127687" y="1263"/>
                  </a:cubicBezTo>
                  <a:cubicBezTo>
                    <a:pt x="130692" y="3443"/>
                    <a:pt x="131357" y="7618"/>
                    <a:pt x="129203" y="10596"/>
                  </a:cubicBezTo>
                  <a:lnTo>
                    <a:pt x="49483" y="120843"/>
                  </a:lnTo>
                  <a:cubicBezTo>
                    <a:pt x="48339" y="122438"/>
                    <a:pt x="46531" y="123448"/>
                    <a:pt x="44563" y="123582"/>
                  </a:cubicBezTo>
                  <a:cubicBezTo>
                    <a:pt x="44377" y="123608"/>
                    <a:pt x="44218" y="123635"/>
                    <a:pt x="44032" y="123635"/>
                  </a:cubicBezTo>
                  <a:close/>
                </a:path>
              </a:pathLst>
            </a:custGeom>
            <a:solidFill>
              <a:schemeClr val="accent1"/>
            </a:solidFill>
            <a:ln w="2655" cap="flat">
              <a:noFill/>
              <a:prstDash val="solid"/>
              <a:miter/>
            </a:ln>
          </p:spPr>
          <p:txBody>
            <a:bodyPr rtlCol="0" anchor="ctr"/>
            <a:lstStyle/>
            <a:p>
              <a:endParaRPr lang="en-GB" dirty="0"/>
            </a:p>
          </p:txBody>
        </p:sp>
        <p:grpSp>
          <p:nvGrpSpPr>
            <p:cNvPr id="404" name="Gruppieren 1012">
              <a:extLst>
                <a:ext uri="{FF2B5EF4-FFF2-40B4-BE49-F238E27FC236}">
                  <a16:creationId xmlns:a16="http://schemas.microsoft.com/office/drawing/2014/main" id="{673C523A-E737-4948-94E7-BEA9667F5BCD}"/>
                </a:ext>
              </a:extLst>
            </p:cNvPr>
            <p:cNvGrpSpPr/>
            <p:nvPr/>
          </p:nvGrpSpPr>
          <p:grpSpPr>
            <a:xfrm>
              <a:off x="5999158" y="2406516"/>
              <a:ext cx="513662" cy="432000"/>
              <a:chOff x="6100620" y="4209341"/>
              <a:chExt cx="493671" cy="415187"/>
            </a:xfrm>
            <a:solidFill>
              <a:schemeClr val="tx2"/>
            </a:solidFill>
          </p:grpSpPr>
          <p:sp>
            <p:nvSpPr>
              <p:cNvPr id="405" name="Freihandform: Form 894">
                <a:extLst>
                  <a:ext uri="{FF2B5EF4-FFF2-40B4-BE49-F238E27FC236}">
                    <a16:creationId xmlns:a16="http://schemas.microsoft.com/office/drawing/2014/main" id="{16C8F48C-6BE7-4E11-A595-E5DDC5A84028}"/>
                  </a:ext>
                </a:extLst>
              </p:cNvPr>
              <p:cNvSpPr/>
              <p:nvPr/>
            </p:nvSpPr>
            <p:spPr>
              <a:xfrm>
                <a:off x="6313855" y="4214015"/>
                <a:ext cx="135493" cy="130189"/>
              </a:xfrm>
              <a:custGeom>
                <a:avLst/>
                <a:gdLst>
                  <a:gd name="connsiteX0" fmla="*/ 34673 w 135493"/>
                  <a:gd name="connsiteY0" fmla="*/ 130190 h 130189"/>
                  <a:gd name="connsiteX1" fmla="*/ 26324 w 135493"/>
                  <a:gd name="connsiteY1" fmla="*/ 127451 h 130189"/>
                  <a:gd name="connsiteX2" fmla="*/ 20660 w 135493"/>
                  <a:gd name="connsiteY2" fmla="*/ 113544 h 130189"/>
                  <a:gd name="connsiteX3" fmla="*/ 25712 w 135493"/>
                  <a:gd name="connsiteY3" fmla="*/ 84108 h 130189"/>
                  <a:gd name="connsiteX4" fmla="*/ 4306 w 135493"/>
                  <a:gd name="connsiteY4" fmla="*/ 63260 h 130189"/>
                  <a:gd name="connsiteX5" fmla="*/ 716 w 135493"/>
                  <a:gd name="connsiteY5" fmla="*/ 48688 h 130189"/>
                  <a:gd name="connsiteX6" fmla="*/ 12204 w 135493"/>
                  <a:gd name="connsiteY6" fmla="*/ 39009 h 130189"/>
                  <a:gd name="connsiteX7" fmla="*/ 41773 w 135493"/>
                  <a:gd name="connsiteY7" fmla="*/ 34701 h 130189"/>
                  <a:gd name="connsiteX8" fmla="*/ 54989 w 135493"/>
                  <a:gd name="connsiteY8" fmla="*/ 7924 h 130189"/>
                  <a:gd name="connsiteX9" fmla="*/ 67752 w 135493"/>
                  <a:gd name="connsiteY9" fmla="*/ 0 h 130189"/>
                  <a:gd name="connsiteX10" fmla="*/ 80516 w 135493"/>
                  <a:gd name="connsiteY10" fmla="*/ 7924 h 130189"/>
                  <a:gd name="connsiteX11" fmla="*/ 93732 w 135493"/>
                  <a:gd name="connsiteY11" fmla="*/ 34701 h 130189"/>
                  <a:gd name="connsiteX12" fmla="*/ 123301 w 135493"/>
                  <a:gd name="connsiteY12" fmla="*/ 39009 h 130189"/>
                  <a:gd name="connsiteX13" fmla="*/ 134789 w 135493"/>
                  <a:gd name="connsiteY13" fmla="*/ 48688 h 130189"/>
                  <a:gd name="connsiteX14" fmla="*/ 131199 w 135493"/>
                  <a:gd name="connsiteY14" fmla="*/ 63260 h 130189"/>
                  <a:gd name="connsiteX15" fmla="*/ 109793 w 135493"/>
                  <a:gd name="connsiteY15" fmla="*/ 84108 h 130189"/>
                  <a:gd name="connsiteX16" fmla="*/ 114845 w 135493"/>
                  <a:gd name="connsiteY16" fmla="*/ 113544 h 130189"/>
                  <a:gd name="connsiteX17" fmla="*/ 109181 w 135493"/>
                  <a:gd name="connsiteY17" fmla="*/ 127451 h 130189"/>
                  <a:gd name="connsiteX18" fmla="*/ 94211 w 135493"/>
                  <a:gd name="connsiteY18" fmla="*/ 128541 h 130189"/>
                  <a:gd name="connsiteX19" fmla="*/ 67752 w 135493"/>
                  <a:gd name="connsiteY19" fmla="*/ 114634 h 130189"/>
                  <a:gd name="connsiteX20" fmla="*/ 41294 w 135493"/>
                  <a:gd name="connsiteY20" fmla="*/ 128541 h 130189"/>
                  <a:gd name="connsiteX21" fmla="*/ 34673 w 135493"/>
                  <a:gd name="connsiteY21" fmla="*/ 130190 h 130189"/>
                  <a:gd name="connsiteX22" fmla="*/ 67752 w 135493"/>
                  <a:gd name="connsiteY22" fmla="*/ 99504 h 130189"/>
                  <a:gd name="connsiteX23" fmla="*/ 100433 w 135493"/>
                  <a:gd name="connsiteY23" fmla="*/ 116682 h 130189"/>
                  <a:gd name="connsiteX24" fmla="*/ 101337 w 135493"/>
                  <a:gd name="connsiteY24" fmla="*/ 116629 h 130189"/>
                  <a:gd name="connsiteX25" fmla="*/ 101683 w 135493"/>
                  <a:gd name="connsiteY25" fmla="*/ 115804 h 130189"/>
                  <a:gd name="connsiteX26" fmla="*/ 95434 w 135493"/>
                  <a:gd name="connsiteY26" fmla="*/ 79428 h 130189"/>
                  <a:gd name="connsiteX27" fmla="*/ 121865 w 135493"/>
                  <a:gd name="connsiteY27" fmla="*/ 53661 h 130189"/>
                  <a:gd name="connsiteX28" fmla="*/ 122078 w 135493"/>
                  <a:gd name="connsiteY28" fmla="*/ 52783 h 130189"/>
                  <a:gd name="connsiteX29" fmla="*/ 121387 w 135493"/>
                  <a:gd name="connsiteY29" fmla="*/ 52198 h 130189"/>
                  <a:gd name="connsiteX30" fmla="*/ 84851 w 135493"/>
                  <a:gd name="connsiteY30" fmla="*/ 46907 h 130189"/>
                  <a:gd name="connsiteX31" fmla="*/ 68497 w 135493"/>
                  <a:gd name="connsiteY31" fmla="*/ 13801 h 130189"/>
                  <a:gd name="connsiteX32" fmla="*/ 66981 w 135493"/>
                  <a:gd name="connsiteY32" fmla="*/ 13801 h 130189"/>
                  <a:gd name="connsiteX33" fmla="*/ 50654 w 135493"/>
                  <a:gd name="connsiteY33" fmla="*/ 46907 h 130189"/>
                  <a:gd name="connsiteX34" fmla="*/ 14118 w 135493"/>
                  <a:gd name="connsiteY34" fmla="*/ 52198 h 130189"/>
                  <a:gd name="connsiteX35" fmla="*/ 13427 w 135493"/>
                  <a:gd name="connsiteY35" fmla="*/ 52783 h 130189"/>
                  <a:gd name="connsiteX36" fmla="*/ 13640 w 135493"/>
                  <a:gd name="connsiteY36" fmla="*/ 53661 h 130189"/>
                  <a:gd name="connsiteX37" fmla="*/ 40071 w 135493"/>
                  <a:gd name="connsiteY37" fmla="*/ 79428 h 130189"/>
                  <a:gd name="connsiteX38" fmla="*/ 33822 w 135493"/>
                  <a:gd name="connsiteY38" fmla="*/ 115804 h 130189"/>
                  <a:gd name="connsiteX39" fmla="*/ 34168 w 135493"/>
                  <a:gd name="connsiteY39" fmla="*/ 116629 h 130189"/>
                  <a:gd name="connsiteX40" fmla="*/ 35045 w 135493"/>
                  <a:gd name="connsiteY40" fmla="*/ 116682 h 130189"/>
                  <a:gd name="connsiteX41" fmla="*/ 67752 w 135493"/>
                  <a:gd name="connsiteY41" fmla="*/ 99504 h 13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35493" h="130189">
                    <a:moveTo>
                      <a:pt x="34673" y="130190"/>
                    </a:moveTo>
                    <a:cubicBezTo>
                      <a:pt x="31748" y="130190"/>
                      <a:pt x="28823" y="129259"/>
                      <a:pt x="26324" y="127451"/>
                    </a:cubicBezTo>
                    <a:cubicBezTo>
                      <a:pt x="21909" y="124260"/>
                      <a:pt x="19729" y="118915"/>
                      <a:pt x="20660" y="113544"/>
                    </a:cubicBezTo>
                    <a:lnTo>
                      <a:pt x="25712" y="84108"/>
                    </a:lnTo>
                    <a:lnTo>
                      <a:pt x="4306" y="63260"/>
                    </a:lnTo>
                    <a:cubicBezTo>
                      <a:pt x="397" y="59458"/>
                      <a:pt x="-985" y="53847"/>
                      <a:pt x="716" y="48688"/>
                    </a:cubicBezTo>
                    <a:cubicBezTo>
                      <a:pt x="2392" y="43503"/>
                      <a:pt x="6806" y="39780"/>
                      <a:pt x="12204" y="39009"/>
                    </a:cubicBezTo>
                    <a:lnTo>
                      <a:pt x="41773" y="34701"/>
                    </a:lnTo>
                    <a:lnTo>
                      <a:pt x="54989" y="7924"/>
                    </a:lnTo>
                    <a:cubicBezTo>
                      <a:pt x="57409" y="3031"/>
                      <a:pt x="62275" y="0"/>
                      <a:pt x="67752" y="0"/>
                    </a:cubicBezTo>
                    <a:cubicBezTo>
                      <a:pt x="73204" y="0"/>
                      <a:pt x="78096" y="3031"/>
                      <a:pt x="80516" y="7924"/>
                    </a:cubicBezTo>
                    <a:lnTo>
                      <a:pt x="93732" y="34701"/>
                    </a:lnTo>
                    <a:lnTo>
                      <a:pt x="123301" y="39009"/>
                    </a:lnTo>
                    <a:cubicBezTo>
                      <a:pt x="128699" y="39780"/>
                      <a:pt x="133087" y="43503"/>
                      <a:pt x="134789" y="48688"/>
                    </a:cubicBezTo>
                    <a:cubicBezTo>
                      <a:pt x="136464" y="53874"/>
                      <a:pt x="135108" y="59458"/>
                      <a:pt x="131199" y="63260"/>
                    </a:cubicBezTo>
                    <a:lnTo>
                      <a:pt x="109793" y="84108"/>
                    </a:lnTo>
                    <a:lnTo>
                      <a:pt x="114845" y="113544"/>
                    </a:lnTo>
                    <a:cubicBezTo>
                      <a:pt x="115776" y="118915"/>
                      <a:pt x="113595" y="124260"/>
                      <a:pt x="109181" y="127451"/>
                    </a:cubicBezTo>
                    <a:cubicBezTo>
                      <a:pt x="104767" y="130669"/>
                      <a:pt x="99024" y="131067"/>
                      <a:pt x="94211" y="128541"/>
                    </a:cubicBezTo>
                    <a:lnTo>
                      <a:pt x="67752" y="114634"/>
                    </a:lnTo>
                    <a:lnTo>
                      <a:pt x="41294" y="128541"/>
                    </a:lnTo>
                    <a:cubicBezTo>
                      <a:pt x="39220" y="129631"/>
                      <a:pt x="36933" y="130190"/>
                      <a:pt x="34673" y="130190"/>
                    </a:cubicBezTo>
                    <a:close/>
                    <a:moveTo>
                      <a:pt x="67752" y="99504"/>
                    </a:moveTo>
                    <a:lnTo>
                      <a:pt x="100433" y="116682"/>
                    </a:lnTo>
                    <a:cubicBezTo>
                      <a:pt x="100566" y="116735"/>
                      <a:pt x="100911" y="116921"/>
                      <a:pt x="101337" y="116629"/>
                    </a:cubicBezTo>
                    <a:cubicBezTo>
                      <a:pt x="101762" y="116309"/>
                      <a:pt x="101709" y="115964"/>
                      <a:pt x="101683" y="115804"/>
                    </a:cubicBezTo>
                    <a:lnTo>
                      <a:pt x="95434" y="79428"/>
                    </a:lnTo>
                    <a:lnTo>
                      <a:pt x="121865" y="53661"/>
                    </a:lnTo>
                    <a:cubicBezTo>
                      <a:pt x="121972" y="53554"/>
                      <a:pt x="122238" y="53289"/>
                      <a:pt x="122078" y="52783"/>
                    </a:cubicBezTo>
                    <a:cubicBezTo>
                      <a:pt x="121918" y="52278"/>
                      <a:pt x="121546" y="52225"/>
                      <a:pt x="121387" y="52198"/>
                    </a:cubicBezTo>
                    <a:lnTo>
                      <a:pt x="84851" y="46907"/>
                    </a:lnTo>
                    <a:lnTo>
                      <a:pt x="68497" y="13801"/>
                    </a:lnTo>
                    <a:cubicBezTo>
                      <a:pt x="68364" y="13508"/>
                      <a:pt x="67114" y="13508"/>
                      <a:pt x="66981" y="13801"/>
                    </a:cubicBezTo>
                    <a:lnTo>
                      <a:pt x="50654" y="46907"/>
                    </a:lnTo>
                    <a:lnTo>
                      <a:pt x="14118" y="52198"/>
                    </a:lnTo>
                    <a:cubicBezTo>
                      <a:pt x="13959" y="52225"/>
                      <a:pt x="13613" y="52278"/>
                      <a:pt x="13427" y="52783"/>
                    </a:cubicBezTo>
                    <a:cubicBezTo>
                      <a:pt x="13267" y="53289"/>
                      <a:pt x="13533" y="53528"/>
                      <a:pt x="13640" y="53661"/>
                    </a:cubicBezTo>
                    <a:lnTo>
                      <a:pt x="40071" y="79428"/>
                    </a:lnTo>
                    <a:lnTo>
                      <a:pt x="33822" y="115804"/>
                    </a:lnTo>
                    <a:cubicBezTo>
                      <a:pt x="33796" y="115964"/>
                      <a:pt x="33743" y="116336"/>
                      <a:pt x="34168" y="116629"/>
                    </a:cubicBezTo>
                    <a:cubicBezTo>
                      <a:pt x="34593" y="116948"/>
                      <a:pt x="34913" y="116761"/>
                      <a:pt x="35045" y="116682"/>
                    </a:cubicBezTo>
                    <a:lnTo>
                      <a:pt x="67752" y="99504"/>
                    </a:lnTo>
                    <a:close/>
                  </a:path>
                </a:pathLst>
              </a:custGeom>
              <a:grpFill/>
              <a:ln w="2655" cap="flat">
                <a:noFill/>
                <a:prstDash val="solid"/>
                <a:miter/>
              </a:ln>
            </p:spPr>
            <p:txBody>
              <a:bodyPr rtlCol="0" anchor="ctr"/>
              <a:lstStyle/>
              <a:p>
                <a:endParaRPr lang="en-GB" dirty="0"/>
              </a:p>
            </p:txBody>
          </p:sp>
          <p:sp>
            <p:nvSpPr>
              <p:cNvPr id="406" name="Freihandform: Form 895">
                <a:extLst>
                  <a:ext uri="{FF2B5EF4-FFF2-40B4-BE49-F238E27FC236}">
                    <a16:creationId xmlns:a16="http://schemas.microsoft.com/office/drawing/2014/main" id="{14AE4B1A-3419-45E8-8536-A76824209E8B}"/>
                  </a:ext>
                </a:extLst>
              </p:cNvPr>
              <p:cNvSpPr/>
              <p:nvPr/>
            </p:nvSpPr>
            <p:spPr>
              <a:xfrm>
                <a:off x="6458803" y="4214015"/>
                <a:ext cx="135488" cy="130189"/>
              </a:xfrm>
              <a:custGeom>
                <a:avLst/>
                <a:gdLst>
                  <a:gd name="connsiteX0" fmla="*/ 34673 w 135488"/>
                  <a:gd name="connsiteY0" fmla="*/ 130190 h 130189"/>
                  <a:gd name="connsiteX1" fmla="*/ 26324 w 135488"/>
                  <a:gd name="connsiteY1" fmla="*/ 127451 h 130189"/>
                  <a:gd name="connsiteX2" fmla="*/ 20660 w 135488"/>
                  <a:gd name="connsiteY2" fmla="*/ 113544 h 130189"/>
                  <a:gd name="connsiteX3" fmla="*/ 25712 w 135488"/>
                  <a:gd name="connsiteY3" fmla="*/ 84108 h 130189"/>
                  <a:gd name="connsiteX4" fmla="*/ 4306 w 135488"/>
                  <a:gd name="connsiteY4" fmla="*/ 63260 h 130189"/>
                  <a:gd name="connsiteX5" fmla="*/ 716 w 135488"/>
                  <a:gd name="connsiteY5" fmla="*/ 48688 h 130189"/>
                  <a:gd name="connsiteX6" fmla="*/ 12204 w 135488"/>
                  <a:gd name="connsiteY6" fmla="*/ 39009 h 130189"/>
                  <a:gd name="connsiteX7" fmla="*/ 41773 w 135488"/>
                  <a:gd name="connsiteY7" fmla="*/ 34701 h 130189"/>
                  <a:gd name="connsiteX8" fmla="*/ 54989 w 135488"/>
                  <a:gd name="connsiteY8" fmla="*/ 7924 h 130189"/>
                  <a:gd name="connsiteX9" fmla="*/ 67752 w 135488"/>
                  <a:gd name="connsiteY9" fmla="*/ 0 h 130189"/>
                  <a:gd name="connsiteX10" fmla="*/ 67752 w 135488"/>
                  <a:gd name="connsiteY10" fmla="*/ 0 h 130189"/>
                  <a:gd name="connsiteX11" fmla="*/ 80516 w 135488"/>
                  <a:gd name="connsiteY11" fmla="*/ 7924 h 130189"/>
                  <a:gd name="connsiteX12" fmla="*/ 93732 w 135488"/>
                  <a:gd name="connsiteY12" fmla="*/ 34701 h 130189"/>
                  <a:gd name="connsiteX13" fmla="*/ 123301 w 135488"/>
                  <a:gd name="connsiteY13" fmla="*/ 39009 h 130189"/>
                  <a:gd name="connsiteX14" fmla="*/ 134789 w 135488"/>
                  <a:gd name="connsiteY14" fmla="*/ 48688 h 130189"/>
                  <a:gd name="connsiteX15" fmla="*/ 131199 w 135488"/>
                  <a:gd name="connsiteY15" fmla="*/ 63260 h 130189"/>
                  <a:gd name="connsiteX16" fmla="*/ 109793 w 135488"/>
                  <a:gd name="connsiteY16" fmla="*/ 84108 h 130189"/>
                  <a:gd name="connsiteX17" fmla="*/ 114845 w 135488"/>
                  <a:gd name="connsiteY17" fmla="*/ 113544 h 130189"/>
                  <a:gd name="connsiteX18" fmla="*/ 109181 w 135488"/>
                  <a:gd name="connsiteY18" fmla="*/ 127451 h 130189"/>
                  <a:gd name="connsiteX19" fmla="*/ 94211 w 135488"/>
                  <a:gd name="connsiteY19" fmla="*/ 128541 h 130189"/>
                  <a:gd name="connsiteX20" fmla="*/ 67752 w 135488"/>
                  <a:gd name="connsiteY20" fmla="*/ 114634 h 130189"/>
                  <a:gd name="connsiteX21" fmla="*/ 41294 w 135488"/>
                  <a:gd name="connsiteY21" fmla="*/ 128541 h 130189"/>
                  <a:gd name="connsiteX22" fmla="*/ 34673 w 135488"/>
                  <a:gd name="connsiteY22" fmla="*/ 130190 h 130189"/>
                  <a:gd name="connsiteX23" fmla="*/ 67752 w 135488"/>
                  <a:gd name="connsiteY23" fmla="*/ 13322 h 130189"/>
                  <a:gd name="connsiteX24" fmla="*/ 66981 w 135488"/>
                  <a:gd name="connsiteY24" fmla="*/ 13801 h 130189"/>
                  <a:gd name="connsiteX25" fmla="*/ 50654 w 135488"/>
                  <a:gd name="connsiteY25" fmla="*/ 46907 h 130189"/>
                  <a:gd name="connsiteX26" fmla="*/ 14118 w 135488"/>
                  <a:gd name="connsiteY26" fmla="*/ 52198 h 130189"/>
                  <a:gd name="connsiteX27" fmla="*/ 13427 w 135488"/>
                  <a:gd name="connsiteY27" fmla="*/ 52783 h 130189"/>
                  <a:gd name="connsiteX28" fmla="*/ 13640 w 135488"/>
                  <a:gd name="connsiteY28" fmla="*/ 53661 h 130189"/>
                  <a:gd name="connsiteX29" fmla="*/ 40071 w 135488"/>
                  <a:gd name="connsiteY29" fmla="*/ 79428 h 130189"/>
                  <a:gd name="connsiteX30" fmla="*/ 33849 w 135488"/>
                  <a:gd name="connsiteY30" fmla="*/ 115804 h 130189"/>
                  <a:gd name="connsiteX31" fmla="*/ 34195 w 135488"/>
                  <a:gd name="connsiteY31" fmla="*/ 116629 h 130189"/>
                  <a:gd name="connsiteX32" fmla="*/ 35099 w 135488"/>
                  <a:gd name="connsiteY32" fmla="*/ 116682 h 130189"/>
                  <a:gd name="connsiteX33" fmla="*/ 67779 w 135488"/>
                  <a:gd name="connsiteY33" fmla="*/ 99504 h 130189"/>
                  <a:gd name="connsiteX34" fmla="*/ 100459 w 135488"/>
                  <a:gd name="connsiteY34" fmla="*/ 116682 h 130189"/>
                  <a:gd name="connsiteX35" fmla="*/ 101337 w 135488"/>
                  <a:gd name="connsiteY35" fmla="*/ 116629 h 130189"/>
                  <a:gd name="connsiteX36" fmla="*/ 101683 w 135488"/>
                  <a:gd name="connsiteY36" fmla="*/ 115804 h 130189"/>
                  <a:gd name="connsiteX37" fmla="*/ 95434 w 135488"/>
                  <a:gd name="connsiteY37" fmla="*/ 79428 h 130189"/>
                  <a:gd name="connsiteX38" fmla="*/ 121865 w 135488"/>
                  <a:gd name="connsiteY38" fmla="*/ 53661 h 130189"/>
                  <a:gd name="connsiteX39" fmla="*/ 122078 w 135488"/>
                  <a:gd name="connsiteY39" fmla="*/ 52783 h 130189"/>
                  <a:gd name="connsiteX40" fmla="*/ 121387 w 135488"/>
                  <a:gd name="connsiteY40" fmla="*/ 52198 h 130189"/>
                  <a:gd name="connsiteX41" fmla="*/ 84850 w 135488"/>
                  <a:gd name="connsiteY41" fmla="*/ 46907 h 130189"/>
                  <a:gd name="connsiteX42" fmla="*/ 68524 w 135488"/>
                  <a:gd name="connsiteY42" fmla="*/ 13801 h 130189"/>
                  <a:gd name="connsiteX43" fmla="*/ 67752 w 135488"/>
                  <a:gd name="connsiteY43" fmla="*/ 13322 h 130189"/>
                  <a:gd name="connsiteX44" fmla="*/ 67752 w 135488"/>
                  <a:gd name="connsiteY44" fmla="*/ 13322 h 13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5488" h="130189">
                    <a:moveTo>
                      <a:pt x="34673" y="130190"/>
                    </a:moveTo>
                    <a:cubicBezTo>
                      <a:pt x="31748" y="130190"/>
                      <a:pt x="28823" y="129259"/>
                      <a:pt x="26324" y="127451"/>
                    </a:cubicBezTo>
                    <a:cubicBezTo>
                      <a:pt x="21909" y="124234"/>
                      <a:pt x="19756" y="118915"/>
                      <a:pt x="20660" y="113544"/>
                    </a:cubicBezTo>
                    <a:lnTo>
                      <a:pt x="25712" y="84108"/>
                    </a:lnTo>
                    <a:lnTo>
                      <a:pt x="4306" y="63260"/>
                    </a:lnTo>
                    <a:cubicBezTo>
                      <a:pt x="397" y="59458"/>
                      <a:pt x="-985" y="53847"/>
                      <a:pt x="716" y="48688"/>
                    </a:cubicBezTo>
                    <a:cubicBezTo>
                      <a:pt x="2392" y="43503"/>
                      <a:pt x="6806" y="39780"/>
                      <a:pt x="12204" y="39009"/>
                    </a:cubicBezTo>
                    <a:lnTo>
                      <a:pt x="41773" y="34701"/>
                    </a:lnTo>
                    <a:lnTo>
                      <a:pt x="54989" y="7924"/>
                    </a:lnTo>
                    <a:cubicBezTo>
                      <a:pt x="57409" y="3031"/>
                      <a:pt x="62301" y="0"/>
                      <a:pt x="67752" y="0"/>
                    </a:cubicBezTo>
                    <a:lnTo>
                      <a:pt x="67752" y="0"/>
                    </a:lnTo>
                    <a:cubicBezTo>
                      <a:pt x="73204" y="0"/>
                      <a:pt x="78096" y="3031"/>
                      <a:pt x="80516" y="7924"/>
                    </a:cubicBezTo>
                    <a:lnTo>
                      <a:pt x="93732" y="34701"/>
                    </a:lnTo>
                    <a:lnTo>
                      <a:pt x="123301" y="39009"/>
                    </a:lnTo>
                    <a:cubicBezTo>
                      <a:pt x="128699" y="39780"/>
                      <a:pt x="133087" y="43503"/>
                      <a:pt x="134789" y="48688"/>
                    </a:cubicBezTo>
                    <a:cubicBezTo>
                      <a:pt x="136464" y="53874"/>
                      <a:pt x="135081" y="59458"/>
                      <a:pt x="131199" y="63260"/>
                    </a:cubicBezTo>
                    <a:lnTo>
                      <a:pt x="109793" y="84108"/>
                    </a:lnTo>
                    <a:lnTo>
                      <a:pt x="114845" y="113544"/>
                    </a:lnTo>
                    <a:cubicBezTo>
                      <a:pt x="115776" y="118915"/>
                      <a:pt x="113595" y="124260"/>
                      <a:pt x="109181" y="127451"/>
                    </a:cubicBezTo>
                    <a:cubicBezTo>
                      <a:pt x="104767" y="130642"/>
                      <a:pt x="99024" y="131067"/>
                      <a:pt x="94211" y="128541"/>
                    </a:cubicBezTo>
                    <a:lnTo>
                      <a:pt x="67752" y="114634"/>
                    </a:lnTo>
                    <a:lnTo>
                      <a:pt x="41294" y="128541"/>
                    </a:lnTo>
                    <a:cubicBezTo>
                      <a:pt x="39194" y="129631"/>
                      <a:pt x="36933" y="130190"/>
                      <a:pt x="34673" y="130190"/>
                    </a:cubicBezTo>
                    <a:close/>
                    <a:moveTo>
                      <a:pt x="67752" y="13322"/>
                    </a:moveTo>
                    <a:cubicBezTo>
                      <a:pt x="67221" y="13322"/>
                      <a:pt x="67061" y="13641"/>
                      <a:pt x="66981" y="13801"/>
                    </a:cubicBezTo>
                    <a:lnTo>
                      <a:pt x="50654" y="46907"/>
                    </a:lnTo>
                    <a:lnTo>
                      <a:pt x="14118" y="52198"/>
                    </a:lnTo>
                    <a:cubicBezTo>
                      <a:pt x="13959" y="52225"/>
                      <a:pt x="13613" y="52278"/>
                      <a:pt x="13427" y="52783"/>
                    </a:cubicBezTo>
                    <a:cubicBezTo>
                      <a:pt x="13267" y="53289"/>
                      <a:pt x="13533" y="53528"/>
                      <a:pt x="13640" y="53661"/>
                    </a:cubicBezTo>
                    <a:lnTo>
                      <a:pt x="40071" y="79428"/>
                    </a:lnTo>
                    <a:lnTo>
                      <a:pt x="33849" y="115804"/>
                    </a:lnTo>
                    <a:cubicBezTo>
                      <a:pt x="33822" y="115964"/>
                      <a:pt x="33769" y="116336"/>
                      <a:pt x="34195" y="116629"/>
                    </a:cubicBezTo>
                    <a:cubicBezTo>
                      <a:pt x="34620" y="116948"/>
                      <a:pt x="34939" y="116761"/>
                      <a:pt x="35099" y="116682"/>
                    </a:cubicBezTo>
                    <a:lnTo>
                      <a:pt x="67779" y="99504"/>
                    </a:lnTo>
                    <a:lnTo>
                      <a:pt x="100459" y="116682"/>
                    </a:lnTo>
                    <a:cubicBezTo>
                      <a:pt x="100592" y="116735"/>
                      <a:pt x="100938" y="116921"/>
                      <a:pt x="101337" y="116629"/>
                    </a:cubicBezTo>
                    <a:cubicBezTo>
                      <a:pt x="101762" y="116309"/>
                      <a:pt x="101709" y="115964"/>
                      <a:pt x="101683" y="115804"/>
                    </a:cubicBezTo>
                    <a:lnTo>
                      <a:pt x="95434" y="79428"/>
                    </a:lnTo>
                    <a:lnTo>
                      <a:pt x="121865" y="53661"/>
                    </a:lnTo>
                    <a:cubicBezTo>
                      <a:pt x="121972" y="53554"/>
                      <a:pt x="122238" y="53289"/>
                      <a:pt x="122078" y="52783"/>
                    </a:cubicBezTo>
                    <a:cubicBezTo>
                      <a:pt x="121918" y="52278"/>
                      <a:pt x="121546" y="52225"/>
                      <a:pt x="121387" y="52198"/>
                    </a:cubicBezTo>
                    <a:lnTo>
                      <a:pt x="84850" y="46907"/>
                    </a:lnTo>
                    <a:lnTo>
                      <a:pt x="68524" y="13801"/>
                    </a:lnTo>
                    <a:cubicBezTo>
                      <a:pt x="68444" y="13668"/>
                      <a:pt x="68284" y="13322"/>
                      <a:pt x="67752" y="13322"/>
                    </a:cubicBezTo>
                    <a:lnTo>
                      <a:pt x="67752" y="13322"/>
                    </a:lnTo>
                    <a:close/>
                  </a:path>
                </a:pathLst>
              </a:custGeom>
              <a:grpFill/>
              <a:ln w="2655" cap="flat">
                <a:noFill/>
                <a:prstDash val="solid"/>
                <a:miter/>
              </a:ln>
            </p:spPr>
            <p:txBody>
              <a:bodyPr rtlCol="0" anchor="ctr"/>
              <a:lstStyle/>
              <a:p>
                <a:endParaRPr lang="en-GB" dirty="0"/>
              </a:p>
            </p:txBody>
          </p:sp>
          <p:sp>
            <p:nvSpPr>
              <p:cNvPr id="407" name="Freihandform: Form 898">
                <a:extLst>
                  <a:ext uri="{FF2B5EF4-FFF2-40B4-BE49-F238E27FC236}">
                    <a16:creationId xmlns:a16="http://schemas.microsoft.com/office/drawing/2014/main" id="{93489FB0-7042-41F5-8EA8-7D06E92C9519}"/>
                  </a:ext>
                </a:extLst>
              </p:cNvPr>
              <p:cNvSpPr/>
              <p:nvPr/>
            </p:nvSpPr>
            <p:spPr>
              <a:xfrm>
                <a:off x="6100620" y="4209341"/>
                <a:ext cx="200616" cy="200703"/>
              </a:xfrm>
              <a:custGeom>
                <a:avLst/>
                <a:gdLst>
                  <a:gd name="connsiteX0" fmla="*/ 100328 w 200616"/>
                  <a:gd name="connsiteY0" fmla="*/ 200704 h 200703"/>
                  <a:gd name="connsiteX1" fmla="*/ 29383 w 200616"/>
                  <a:gd name="connsiteY1" fmla="*/ 171321 h 200703"/>
                  <a:gd name="connsiteX2" fmla="*/ 0 w 200616"/>
                  <a:gd name="connsiteY2" fmla="*/ 100376 h 200703"/>
                  <a:gd name="connsiteX3" fmla="*/ 29383 w 200616"/>
                  <a:gd name="connsiteY3" fmla="*/ 29431 h 200703"/>
                  <a:gd name="connsiteX4" fmla="*/ 145267 w 200616"/>
                  <a:gd name="connsiteY4" fmla="*/ 10631 h 200703"/>
                  <a:gd name="connsiteX5" fmla="*/ 148245 w 200616"/>
                  <a:gd name="connsiteY5" fmla="*/ 19619 h 200703"/>
                  <a:gd name="connsiteX6" fmla="*/ 139257 w 200616"/>
                  <a:gd name="connsiteY6" fmla="*/ 22597 h 200703"/>
                  <a:gd name="connsiteX7" fmla="*/ 38823 w 200616"/>
                  <a:gd name="connsiteY7" fmla="*/ 38871 h 200703"/>
                  <a:gd name="connsiteX8" fmla="*/ 13349 w 200616"/>
                  <a:gd name="connsiteY8" fmla="*/ 100349 h 200703"/>
                  <a:gd name="connsiteX9" fmla="*/ 38823 w 200616"/>
                  <a:gd name="connsiteY9" fmla="*/ 161828 h 200703"/>
                  <a:gd name="connsiteX10" fmla="*/ 100301 w 200616"/>
                  <a:gd name="connsiteY10" fmla="*/ 187302 h 200703"/>
                  <a:gd name="connsiteX11" fmla="*/ 161780 w 200616"/>
                  <a:gd name="connsiteY11" fmla="*/ 161828 h 200703"/>
                  <a:gd name="connsiteX12" fmla="*/ 178586 w 200616"/>
                  <a:gd name="connsiteY12" fmla="*/ 62457 h 200703"/>
                  <a:gd name="connsiteX13" fmla="*/ 181697 w 200616"/>
                  <a:gd name="connsiteY13" fmla="*/ 53522 h 200703"/>
                  <a:gd name="connsiteX14" fmla="*/ 190631 w 200616"/>
                  <a:gd name="connsiteY14" fmla="*/ 56634 h 200703"/>
                  <a:gd name="connsiteX15" fmla="*/ 171220 w 200616"/>
                  <a:gd name="connsiteY15" fmla="*/ 171294 h 200703"/>
                  <a:gd name="connsiteX16" fmla="*/ 100328 w 200616"/>
                  <a:gd name="connsiteY16" fmla="*/ 200704 h 200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616" h="200703">
                    <a:moveTo>
                      <a:pt x="100328" y="200704"/>
                    </a:moveTo>
                    <a:cubicBezTo>
                      <a:pt x="73524" y="200704"/>
                      <a:pt x="48343" y="190254"/>
                      <a:pt x="29383" y="171321"/>
                    </a:cubicBezTo>
                    <a:cubicBezTo>
                      <a:pt x="10424" y="152361"/>
                      <a:pt x="0" y="127180"/>
                      <a:pt x="0" y="100376"/>
                    </a:cubicBezTo>
                    <a:cubicBezTo>
                      <a:pt x="0" y="73572"/>
                      <a:pt x="10450" y="48390"/>
                      <a:pt x="29383" y="29431"/>
                    </a:cubicBezTo>
                    <a:cubicBezTo>
                      <a:pt x="60016" y="-1175"/>
                      <a:pt x="106577" y="-8727"/>
                      <a:pt x="145267" y="10631"/>
                    </a:cubicBezTo>
                    <a:cubicBezTo>
                      <a:pt x="148564" y="12280"/>
                      <a:pt x="149920" y="16295"/>
                      <a:pt x="148245" y="19619"/>
                    </a:cubicBezTo>
                    <a:cubicBezTo>
                      <a:pt x="146597" y="22916"/>
                      <a:pt x="142581" y="24246"/>
                      <a:pt x="139257" y="22597"/>
                    </a:cubicBezTo>
                    <a:cubicBezTo>
                      <a:pt x="105726" y="5792"/>
                      <a:pt x="65361" y="12359"/>
                      <a:pt x="38823" y="38871"/>
                    </a:cubicBezTo>
                    <a:cubicBezTo>
                      <a:pt x="22390" y="55304"/>
                      <a:pt x="13349" y="77135"/>
                      <a:pt x="13349" y="100349"/>
                    </a:cubicBezTo>
                    <a:cubicBezTo>
                      <a:pt x="13349" y="123590"/>
                      <a:pt x="22390" y="145421"/>
                      <a:pt x="38823" y="161828"/>
                    </a:cubicBezTo>
                    <a:cubicBezTo>
                      <a:pt x="55256" y="178261"/>
                      <a:pt x="77087" y="187302"/>
                      <a:pt x="100301" y="187302"/>
                    </a:cubicBezTo>
                    <a:cubicBezTo>
                      <a:pt x="123515" y="187302"/>
                      <a:pt x="145373" y="178261"/>
                      <a:pt x="161780" y="161828"/>
                    </a:cubicBezTo>
                    <a:cubicBezTo>
                      <a:pt x="187946" y="135662"/>
                      <a:pt x="194700" y="95749"/>
                      <a:pt x="178586" y="62457"/>
                    </a:cubicBezTo>
                    <a:cubicBezTo>
                      <a:pt x="176990" y="59133"/>
                      <a:pt x="178373" y="55118"/>
                      <a:pt x="181697" y="53522"/>
                    </a:cubicBezTo>
                    <a:cubicBezTo>
                      <a:pt x="185021" y="51927"/>
                      <a:pt x="189036" y="53310"/>
                      <a:pt x="190631" y="56634"/>
                    </a:cubicBezTo>
                    <a:cubicBezTo>
                      <a:pt x="209192" y="95031"/>
                      <a:pt x="201401" y="141114"/>
                      <a:pt x="171220" y="171294"/>
                    </a:cubicBezTo>
                    <a:cubicBezTo>
                      <a:pt x="152340" y="190280"/>
                      <a:pt x="127132" y="200704"/>
                      <a:pt x="100328" y="200704"/>
                    </a:cubicBezTo>
                    <a:close/>
                  </a:path>
                </a:pathLst>
              </a:custGeom>
              <a:grpFill/>
              <a:ln w="2655" cap="flat">
                <a:noFill/>
                <a:prstDash val="solid"/>
                <a:miter/>
              </a:ln>
            </p:spPr>
            <p:txBody>
              <a:bodyPr rtlCol="0" anchor="ctr"/>
              <a:lstStyle/>
              <a:p>
                <a:endParaRPr lang="en-GB" dirty="0"/>
              </a:p>
            </p:txBody>
          </p:sp>
          <p:sp>
            <p:nvSpPr>
              <p:cNvPr id="408" name="Freihandform: Form 899">
                <a:extLst>
                  <a:ext uri="{FF2B5EF4-FFF2-40B4-BE49-F238E27FC236}">
                    <a16:creationId xmlns:a16="http://schemas.microsoft.com/office/drawing/2014/main" id="{EAE328AD-EE84-452F-9DAA-9C10C859E1D4}"/>
                  </a:ext>
                </a:extLst>
              </p:cNvPr>
              <p:cNvSpPr/>
              <p:nvPr/>
            </p:nvSpPr>
            <p:spPr>
              <a:xfrm>
                <a:off x="6249028" y="4358860"/>
                <a:ext cx="75276" cy="74824"/>
              </a:xfrm>
              <a:custGeom>
                <a:avLst/>
                <a:gdLst>
                  <a:gd name="connsiteX0" fmla="*/ 38288 w 75276"/>
                  <a:gd name="connsiteY0" fmla="*/ 74824 h 74824"/>
                  <a:gd name="connsiteX1" fmla="*/ 33581 w 75276"/>
                  <a:gd name="connsiteY1" fmla="*/ 72910 h 74824"/>
                  <a:gd name="connsiteX2" fmla="*/ 1991 w 75276"/>
                  <a:gd name="connsiteY2" fmla="*/ 41745 h 74824"/>
                  <a:gd name="connsiteX3" fmla="*/ 1938 w 75276"/>
                  <a:gd name="connsiteY3" fmla="*/ 32278 h 74824"/>
                  <a:gd name="connsiteX4" fmla="*/ 11404 w 75276"/>
                  <a:gd name="connsiteY4" fmla="*/ 32225 h 74824"/>
                  <a:gd name="connsiteX5" fmla="*/ 38261 w 75276"/>
                  <a:gd name="connsiteY5" fmla="*/ 58710 h 74824"/>
                  <a:gd name="connsiteX6" fmla="*/ 59082 w 75276"/>
                  <a:gd name="connsiteY6" fmla="*/ 37889 h 74824"/>
                  <a:gd name="connsiteX7" fmla="*/ 32278 w 75276"/>
                  <a:gd name="connsiteY7" fmla="*/ 11458 h 74824"/>
                  <a:gd name="connsiteX8" fmla="*/ 32225 w 75276"/>
                  <a:gd name="connsiteY8" fmla="*/ 1991 h 74824"/>
                  <a:gd name="connsiteX9" fmla="*/ 41692 w 75276"/>
                  <a:gd name="connsiteY9" fmla="*/ 1938 h 74824"/>
                  <a:gd name="connsiteX10" fmla="*/ 73282 w 75276"/>
                  <a:gd name="connsiteY10" fmla="*/ 33103 h 74824"/>
                  <a:gd name="connsiteX11" fmla="*/ 75276 w 75276"/>
                  <a:gd name="connsiteY11" fmla="*/ 37836 h 74824"/>
                  <a:gd name="connsiteX12" fmla="*/ 73308 w 75276"/>
                  <a:gd name="connsiteY12" fmla="*/ 42596 h 74824"/>
                  <a:gd name="connsiteX13" fmla="*/ 43021 w 75276"/>
                  <a:gd name="connsiteY13" fmla="*/ 72883 h 74824"/>
                  <a:gd name="connsiteX14" fmla="*/ 38288 w 75276"/>
                  <a:gd name="connsiteY14" fmla="*/ 74824 h 7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276" h="74824">
                    <a:moveTo>
                      <a:pt x="38288" y="74824"/>
                    </a:moveTo>
                    <a:cubicBezTo>
                      <a:pt x="36586" y="74824"/>
                      <a:pt x="34884" y="74186"/>
                      <a:pt x="33581" y="72910"/>
                    </a:cubicBezTo>
                    <a:lnTo>
                      <a:pt x="1991" y="41745"/>
                    </a:lnTo>
                    <a:cubicBezTo>
                      <a:pt x="-641" y="39139"/>
                      <a:pt x="-668" y="34911"/>
                      <a:pt x="1938" y="32278"/>
                    </a:cubicBezTo>
                    <a:cubicBezTo>
                      <a:pt x="4517" y="29646"/>
                      <a:pt x="8772" y="29619"/>
                      <a:pt x="11404" y="32225"/>
                    </a:cubicBezTo>
                    <a:lnTo>
                      <a:pt x="38261" y="58710"/>
                    </a:lnTo>
                    <a:lnTo>
                      <a:pt x="59082" y="37889"/>
                    </a:lnTo>
                    <a:lnTo>
                      <a:pt x="32278" y="11458"/>
                    </a:lnTo>
                    <a:cubicBezTo>
                      <a:pt x="29646" y="8852"/>
                      <a:pt x="29619" y="4624"/>
                      <a:pt x="32225" y="1991"/>
                    </a:cubicBezTo>
                    <a:cubicBezTo>
                      <a:pt x="34804" y="-641"/>
                      <a:pt x="39059" y="-668"/>
                      <a:pt x="41692" y="1938"/>
                    </a:cubicBezTo>
                    <a:lnTo>
                      <a:pt x="73282" y="33103"/>
                    </a:lnTo>
                    <a:cubicBezTo>
                      <a:pt x="74558" y="34353"/>
                      <a:pt x="75276" y="36054"/>
                      <a:pt x="75276" y="37836"/>
                    </a:cubicBezTo>
                    <a:cubicBezTo>
                      <a:pt x="75276" y="39618"/>
                      <a:pt x="74585" y="41319"/>
                      <a:pt x="73308" y="42596"/>
                    </a:cubicBezTo>
                    <a:lnTo>
                      <a:pt x="43021" y="72883"/>
                    </a:lnTo>
                    <a:cubicBezTo>
                      <a:pt x="41692" y="74159"/>
                      <a:pt x="39990" y="74824"/>
                      <a:pt x="38288" y="74824"/>
                    </a:cubicBezTo>
                    <a:close/>
                  </a:path>
                </a:pathLst>
              </a:custGeom>
              <a:grpFill/>
              <a:ln w="2655" cap="flat">
                <a:noFill/>
                <a:prstDash val="solid"/>
                <a:miter/>
              </a:ln>
            </p:spPr>
            <p:txBody>
              <a:bodyPr rtlCol="0" anchor="ctr"/>
              <a:lstStyle/>
              <a:p>
                <a:endParaRPr lang="en-GB" dirty="0"/>
              </a:p>
            </p:txBody>
          </p:sp>
          <p:grpSp>
            <p:nvGrpSpPr>
              <p:cNvPr id="409" name="Grafik 307">
                <a:extLst>
                  <a:ext uri="{FF2B5EF4-FFF2-40B4-BE49-F238E27FC236}">
                    <a16:creationId xmlns:a16="http://schemas.microsoft.com/office/drawing/2014/main" id="{ED4C293A-7F72-4FD9-B191-7450EA5398A4}"/>
                  </a:ext>
                </a:extLst>
              </p:cNvPr>
              <p:cNvGrpSpPr/>
              <p:nvPr/>
            </p:nvGrpSpPr>
            <p:grpSpPr>
              <a:xfrm>
                <a:off x="6180034" y="4363072"/>
                <a:ext cx="261416" cy="261456"/>
                <a:chOff x="6180034" y="4363072"/>
                <a:chExt cx="261416" cy="261456"/>
              </a:xfrm>
              <a:grpFill/>
            </p:grpSpPr>
            <p:sp>
              <p:nvSpPr>
                <p:cNvPr id="410" name="Freihandform: Form 901">
                  <a:extLst>
                    <a:ext uri="{FF2B5EF4-FFF2-40B4-BE49-F238E27FC236}">
                      <a16:creationId xmlns:a16="http://schemas.microsoft.com/office/drawing/2014/main" id="{07DF7243-6267-4C02-AEF1-F4662D4B5ECB}"/>
                    </a:ext>
                  </a:extLst>
                </p:cNvPr>
                <p:cNvSpPr/>
                <p:nvPr/>
              </p:nvSpPr>
              <p:spPr>
                <a:xfrm>
                  <a:off x="6180034" y="4489991"/>
                  <a:ext cx="134537" cy="134537"/>
                </a:xfrm>
                <a:custGeom>
                  <a:avLst/>
                  <a:gdLst>
                    <a:gd name="connsiteX0" fmla="*/ 97549 w 134537"/>
                    <a:gd name="connsiteY0" fmla="*/ 134537 h 134537"/>
                    <a:gd name="connsiteX1" fmla="*/ 92816 w 134537"/>
                    <a:gd name="connsiteY1" fmla="*/ 132570 h 134537"/>
                    <a:gd name="connsiteX2" fmla="*/ 92816 w 134537"/>
                    <a:gd name="connsiteY2" fmla="*/ 123103 h 134537"/>
                    <a:gd name="connsiteX3" fmla="*/ 118370 w 134537"/>
                    <a:gd name="connsiteY3" fmla="*/ 97549 h 134537"/>
                    <a:gd name="connsiteX4" fmla="*/ 36975 w 134537"/>
                    <a:gd name="connsiteY4" fmla="*/ 16154 h 134537"/>
                    <a:gd name="connsiteX5" fmla="*/ 11421 w 134537"/>
                    <a:gd name="connsiteY5" fmla="*/ 41708 h 134537"/>
                    <a:gd name="connsiteX6" fmla="*/ 1954 w 134537"/>
                    <a:gd name="connsiteY6" fmla="*/ 41708 h 134537"/>
                    <a:gd name="connsiteX7" fmla="*/ 1954 w 134537"/>
                    <a:gd name="connsiteY7" fmla="*/ 32242 h 134537"/>
                    <a:gd name="connsiteX8" fmla="*/ 32242 w 134537"/>
                    <a:gd name="connsiteY8" fmla="*/ 1954 h 134537"/>
                    <a:gd name="connsiteX9" fmla="*/ 41708 w 134537"/>
                    <a:gd name="connsiteY9" fmla="*/ 1954 h 134537"/>
                    <a:gd name="connsiteX10" fmla="*/ 132570 w 134537"/>
                    <a:gd name="connsiteY10" fmla="*/ 92816 h 134537"/>
                    <a:gd name="connsiteX11" fmla="*/ 134537 w 134537"/>
                    <a:gd name="connsiteY11" fmla="*/ 97549 h 134537"/>
                    <a:gd name="connsiteX12" fmla="*/ 132570 w 134537"/>
                    <a:gd name="connsiteY12" fmla="*/ 102282 h 134537"/>
                    <a:gd name="connsiteX13" fmla="*/ 102282 w 134537"/>
                    <a:gd name="connsiteY13" fmla="*/ 132570 h 134537"/>
                    <a:gd name="connsiteX14" fmla="*/ 97549 w 134537"/>
                    <a:gd name="connsiteY14" fmla="*/ 134537 h 134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4537" h="134537">
                      <a:moveTo>
                        <a:pt x="97549" y="134537"/>
                      </a:moveTo>
                      <a:cubicBezTo>
                        <a:pt x="95848" y="134537"/>
                        <a:pt x="94119" y="133873"/>
                        <a:pt x="92816" y="132570"/>
                      </a:cubicBezTo>
                      <a:cubicBezTo>
                        <a:pt x="90210" y="129964"/>
                        <a:pt x="90210" y="125736"/>
                        <a:pt x="92816" y="123103"/>
                      </a:cubicBezTo>
                      <a:lnTo>
                        <a:pt x="118370" y="97549"/>
                      </a:lnTo>
                      <a:lnTo>
                        <a:pt x="36975" y="16154"/>
                      </a:lnTo>
                      <a:lnTo>
                        <a:pt x="11421" y="41708"/>
                      </a:lnTo>
                      <a:cubicBezTo>
                        <a:pt x="8815" y="44314"/>
                        <a:pt x="4587" y="44314"/>
                        <a:pt x="1954" y="41708"/>
                      </a:cubicBezTo>
                      <a:cubicBezTo>
                        <a:pt x="-651" y="39102"/>
                        <a:pt x="-651" y="34874"/>
                        <a:pt x="1954" y="32242"/>
                      </a:cubicBezTo>
                      <a:lnTo>
                        <a:pt x="32242" y="1954"/>
                      </a:lnTo>
                      <a:cubicBezTo>
                        <a:pt x="34848" y="-651"/>
                        <a:pt x="39076" y="-651"/>
                        <a:pt x="41708" y="1954"/>
                      </a:cubicBezTo>
                      <a:lnTo>
                        <a:pt x="132570" y="92816"/>
                      </a:lnTo>
                      <a:cubicBezTo>
                        <a:pt x="133820" y="94066"/>
                        <a:pt x="134537" y="95768"/>
                        <a:pt x="134537" y="97549"/>
                      </a:cubicBezTo>
                      <a:cubicBezTo>
                        <a:pt x="134537" y="99331"/>
                        <a:pt x="133820" y="101033"/>
                        <a:pt x="132570" y="102282"/>
                      </a:cubicBezTo>
                      <a:lnTo>
                        <a:pt x="102282" y="132570"/>
                      </a:lnTo>
                      <a:cubicBezTo>
                        <a:pt x="100953" y="133899"/>
                        <a:pt x="99251" y="134537"/>
                        <a:pt x="97549" y="134537"/>
                      </a:cubicBezTo>
                      <a:close/>
                    </a:path>
                  </a:pathLst>
                </a:custGeom>
                <a:grpFill/>
                <a:ln w="2655" cap="flat">
                  <a:noFill/>
                  <a:prstDash val="solid"/>
                  <a:miter/>
                </a:ln>
              </p:spPr>
              <p:txBody>
                <a:bodyPr rtlCol="0" anchor="ctr"/>
                <a:lstStyle/>
                <a:p>
                  <a:endParaRPr lang="en-GB" dirty="0"/>
                </a:p>
              </p:txBody>
            </p:sp>
            <p:sp>
              <p:nvSpPr>
                <p:cNvPr id="411" name="Freihandform: Form 902">
                  <a:extLst>
                    <a:ext uri="{FF2B5EF4-FFF2-40B4-BE49-F238E27FC236}">
                      <a16:creationId xmlns:a16="http://schemas.microsoft.com/office/drawing/2014/main" id="{CA28E406-060D-471D-9521-E96BCE13F363}"/>
                    </a:ext>
                  </a:extLst>
                </p:cNvPr>
                <p:cNvSpPr/>
                <p:nvPr/>
              </p:nvSpPr>
              <p:spPr>
                <a:xfrm>
                  <a:off x="6214084" y="4406388"/>
                  <a:ext cx="227366" cy="184076"/>
                </a:xfrm>
                <a:custGeom>
                  <a:avLst/>
                  <a:gdLst>
                    <a:gd name="connsiteX0" fmla="*/ 89984 w 227366"/>
                    <a:gd name="connsiteY0" fmla="*/ 184077 h 184076"/>
                    <a:gd name="connsiteX1" fmla="*/ 85251 w 227366"/>
                    <a:gd name="connsiteY1" fmla="*/ 182109 h 184076"/>
                    <a:gd name="connsiteX2" fmla="*/ 1968 w 227366"/>
                    <a:gd name="connsiteY2" fmla="*/ 98826 h 184076"/>
                    <a:gd name="connsiteX3" fmla="*/ 0 w 227366"/>
                    <a:gd name="connsiteY3" fmla="*/ 94092 h 184076"/>
                    <a:gd name="connsiteX4" fmla="*/ 1968 w 227366"/>
                    <a:gd name="connsiteY4" fmla="*/ 89359 h 184076"/>
                    <a:gd name="connsiteX5" fmla="*/ 22416 w 227366"/>
                    <a:gd name="connsiteY5" fmla="*/ 68911 h 184076"/>
                    <a:gd name="connsiteX6" fmla="*/ 32973 w 227366"/>
                    <a:gd name="connsiteY6" fmla="*/ 20489 h 184076"/>
                    <a:gd name="connsiteX7" fmla="*/ 51507 w 227366"/>
                    <a:gd name="connsiteY7" fmla="*/ 1955 h 184076"/>
                    <a:gd name="connsiteX8" fmla="*/ 60973 w 227366"/>
                    <a:gd name="connsiteY8" fmla="*/ 1955 h 184076"/>
                    <a:gd name="connsiteX9" fmla="*/ 60973 w 227366"/>
                    <a:gd name="connsiteY9" fmla="*/ 11421 h 184076"/>
                    <a:gd name="connsiteX10" fmla="*/ 42439 w 227366"/>
                    <a:gd name="connsiteY10" fmla="*/ 29955 h 184076"/>
                    <a:gd name="connsiteX11" fmla="*/ 36403 w 227366"/>
                    <a:gd name="connsiteY11" fmla="*/ 67076 h 184076"/>
                    <a:gd name="connsiteX12" fmla="*/ 35260 w 227366"/>
                    <a:gd name="connsiteY12" fmla="*/ 75000 h 184076"/>
                    <a:gd name="connsiteX13" fmla="*/ 16167 w 227366"/>
                    <a:gd name="connsiteY13" fmla="*/ 94092 h 184076"/>
                    <a:gd name="connsiteX14" fmla="*/ 89984 w 227366"/>
                    <a:gd name="connsiteY14" fmla="*/ 167936 h 184076"/>
                    <a:gd name="connsiteX15" fmla="*/ 120245 w 227366"/>
                    <a:gd name="connsiteY15" fmla="*/ 137675 h 184076"/>
                    <a:gd name="connsiteX16" fmla="*/ 123063 w 227366"/>
                    <a:gd name="connsiteY16" fmla="*/ 136000 h 184076"/>
                    <a:gd name="connsiteX17" fmla="*/ 138965 w 227366"/>
                    <a:gd name="connsiteY17" fmla="*/ 126534 h 184076"/>
                    <a:gd name="connsiteX18" fmla="*/ 212064 w 227366"/>
                    <a:gd name="connsiteY18" fmla="*/ 53435 h 184076"/>
                    <a:gd name="connsiteX19" fmla="*/ 212064 w 227366"/>
                    <a:gd name="connsiteY19" fmla="*/ 43968 h 184076"/>
                    <a:gd name="connsiteX20" fmla="*/ 208288 w 227366"/>
                    <a:gd name="connsiteY20" fmla="*/ 40192 h 184076"/>
                    <a:gd name="connsiteX21" fmla="*/ 198821 w 227366"/>
                    <a:gd name="connsiteY21" fmla="*/ 40219 h 184076"/>
                    <a:gd name="connsiteX22" fmla="*/ 189355 w 227366"/>
                    <a:gd name="connsiteY22" fmla="*/ 49685 h 184076"/>
                    <a:gd name="connsiteX23" fmla="*/ 179889 w 227366"/>
                    <a:gd name="connsiteY23" fmla="*/ 49685 h 184076"/>
                    <a:gd name="connsiteX24" fmla="*/ 179889 w 227366"/>
                    <a:gd name="connsiteY24" fmla="*/ 40219 h 184076"/>
                    <a:gd name="connsiteX25" fmla="*/ 189355 w 227366"/>
                    <a:gd name="connsiteY25" fmla="*/ 30753 h 184076"/>
                    <a:gd name="connsiteX26" fmla="*/ 217728 w 227366"/>
                    <a:gd name="connsiteY26" fmla="*/ 30753 h 184076"/>
                    <a:gd name="connsiteX27" fmla="*/ 221504 w 227366"/>
                    <a:gd name="connsiteY27" fmla="*/ 34529 h 184076"/>
                    <a:gd name="connsiteX28" fmla="*/ 221504 w 227366"/>
                    <a:gd name="connsiteY28" fmla="*/ 62901 h 184076"/>
                    <a:gd name="connsiteX29" fmla="*/ 148405 w 227366"/>
                    <a:gd name="connsiteY29" fmla="*/ 136000 h 184076"/>
                    <a:gd name="connsiteX30" fmla="*/ 128515 w 227366"/>
                    <a:gd name="connsiteY30" fmla="*/ 148312 h 184076"/>
                    <a:gd name="connsiteX31" fmla="*/ 94664 w 227366"/>
                    <a:gd name="connsiteY31" fmla="*/ 182135 h 184076"/>
                    <a:gd name="connsiteX32" fmla="*/ 89984 w 227366"/>
                    <a:gd name="connsiteY32" fmla="*/ 184077 h 18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7366" h="184076">
                      <a:moveTo>
                        <a:pt x="89984" y="184077"/>
                      </a:moveTo>
                      <a:cubicBezTo>
                        <a:pt x="88282" y="184077"/>
                        <a:pt x="86554" y="183412"/>
                        <a:pt x="85251" y="182109"/>
                      </a:cubicBezTo>
                      <a:lnTo>
                        <a:pt x="1968" y="98826"/>
                      </a:lnTo>
                      <a:cubicBezTo>
                        <a:pt x="718" y="97576"/>
                        <a:pt x="0" y="95874"/>
                        <a:pt x="0" y="94092"/>
                      </a:cubicBezTo>
                      <a:cubicBezTo>
                        <a:pt x="0" y="92311"/>
                        <a:pt x="718" y="90609"/>
                        <a:pt x="1968" y="89359"/>
                      </a:cubicBezTo>
                      <a:lnTo>
                        <a:pt x="22416" y="68911"/>
                      </a:lnTo>
                      <a:cubicBezTo>
                        <a:pt x="14918" y="51600"/>
                        <a:pt x="18534" y="34954"/>
                        <a:pt x="32973" y="20489"/>
                      </a:cubicBezTo>
                      <a:lnTo>
                        <a:pt x="51507" y="1955"/>
                      </a:lnTo>
                      <a:cubicBezTo>
                        <a:pt x="54113" y="-652"/>
                        <a:pt x="58341" y="-652"/>
                        <a:pt x="60973" y="1955"/>
                      </a:cubicBezTo>
                      <a:cubicBezTo>
                        <a:pt x="63579" y="4561"/>
                        <a:pt x="63579" y="8788"/>
                        <a:pt x="60973" y="11421"/>
                      </a:cubicBezTo>
                      <a:lnTo>
                        <a:pt x="42439" y="29955"/>
                      </a:lnTo>
                      <a:cubicBezTo>
                        <a:pt x="30872" y="41522"/>
                        <a:pt x="28958" y="53328"/>
                        <a:pt x="36403" y="67076"/>
                      </a:cubicBezTo>
                      <a:cubicBezTo>
                        <a:pt x="37812" y="69682"/>
                        <a:pt x="37334" y="72899"/>
                        <a:pt x="35260" y="75000"/>
                      </a:cubicBezTo>
                      <a:lnTo>
                        <a:pt x="16167" y="94092"/>
                      </a:lnTo>
                      <a:lnTo>
                        <a:pt x="89984" y="167936"/>
                      </a:lnTo>
                      <a:lnTo>
                        <a:pt x="120245" y="137675"/>
                      </a:lnTo>
                      <a:cubicBezTo>
                        <a:pt x="121043" y="136904"/>
                        <a:pt x="122000" y="136319"/>
                        <a:pt x="123063" y="136000"/>
                      </a:cubicBezTo>
                      <a:cubicBezTo>
                        <a:pt x="129046" y="134219"/>
                        <a:pt x="134551" y="130948"/>
                        <a:pt x="138965" y="126534"/>
                      </a:cubicBezTo>
                      <a:lnTo>
                        <a:pt x="212064" y="53435"/>
                      </a:lnTo>
                      <a:cubicBezTo>
                        <a:pt x="214670" y="50829"/>
                        <a:pt x="214670" y="46574"/>
                        <a:pt x="212064" y="43968"/>
                      </a:cubicBezTo>
                      <a:lnTo>
                        <a:pt x="208288" y="40192"/>
                      </a:lnTo>
                      <a:cubicBezTo>
                        <a:pt x="205682" y="37586"/>
                        <a:pt x="201454" y="37586"/>
                        <a:pt x="198821" y="40219"/>
                      </a:cubicBezTo>
                      <a:lnTo>
                        <a:pt x="189355" y="49685"/>
                      </a:lnTo>
                      <a:cubicBezTo>
                        <a:pt x="186749" y="52291"/>
                        <a:pt x="182521" y="52291"/>
                        <a:pt x="179889" y="49685"/>
                      </a:cubicBezTo>
                      <a:cubicBezTo>
                        <a:pt x="177283" y="47080"/>
                        <a:pt x="177283" y="42851"/>
                        <a:pt x="179889" y="40219"/>
                      </a:cubicBezTo>
                      <a:lnTo>
                        <a:pt x="189355" y="30753"/>
                      </a:lnTo>
                      <a:cubicBezTo>
                        <a:pt x="197173" y="22935"/>
                        <a:pt x="209910" y="22908"/>
                        <a:pt x="217728" y="30753"/>
                      </a:cubicBezTo>
                      <a:lnTo>
                        <a:pt x="221504" y="34529"/>
                      </a:lnTo>
                      <a:cubicBezTo>
                        <a:pt x="229321" y="42346"/>
                        <a:pt x="229321" y="55084"/>
                        <a:pt x="221504" y="62901"/>
                      </a:cubicBezTo>
                      <a:lnTo>
                        <a:pt x="148405" y="136000"/>
                      </a:lnTo>
                      <a:cubicBezTo>
                        <a:pt x="142847" y="141584"/>
                        <a:pt x="135987" y="145812"/>
                        <a:pt x="128515" y="148312"/>
                      </a:cubicBezTo>
                      <a:lnTo>
                        <a:pt x="94664" y="182135"/>
                      </a:lnTo>
                      <a:cubicBezTo>
                        <a:pt x="93414" y="183439"/>
                        <a:pt x="91686" y="184077"/>
                        <a:pt x="89984" y="184077"/>
                      </a:cubicBezTo>
                      <a:close/>
                    </a:path>
                  </a:pathLst>
                </a:custGeom>
                <a:grpFill/>
                <a:ln w="2655" cap="flat">
                  <a:noFill/>
                  <a:prstDash val="solid"/>
                  <a:miter/>
                </a:ln>
              </p:spPr>
              <p:txBody>
                <a:bodyPr rtlCol="0" anchor="ctr"/>
                <a:lstStyle/>
                <a:p>
                  <a:endParaRPr lang="en-GB" dirty="0"/>
                </a:p>
              </p:txBody>
            </p:sp>
            <p:sp>
              <p:nvSpPr>
                <p:cNvPr id="412" name="Freihandform: Form 903">
                  <a:extLst>
                    <a:ext uri="{FF2B5EF4-FFF2-40B4-BE49-F238E27FC236}">
                      <a16:creationId xmlns:a16="http://schemas.microsoft.com/office/drawing/2014/main" id="{F40DA99E-C7C9-48C9-B748-111D9F149AB3}"/>
                    </a:ext>
                  </a:extLst>
                </p:cNvPr>
                <p:cNvSpPr/>
                <p:nvPr/>
              </p:nvSpPr>
              <p:spPr>
                <a:xfrm>
                  <a:off x="6369336" y="4408496"/>
                  <a:ext cx="49446" cy="49465"/>
                </a:xfrm>
                <a:custGeom>
                  <a:avLst/>
                  <a:gdLst>
                    <a:gd name="connsiteX0" fmla="*/ 29370 w 49446"/>
                    <a:gd name="connsiteY0" fmla="*/ 49466 h 49465"/>
                    <a:gd name="connsiteX1" fmla="*/ 24637 w 49446"/>
                    <a:gd name="connsiteY1" fmla="*/ 47498 h 49465"/>
                    <a:gd name="connsiteX2" fmla="*/ 24637 w 49446"/>
                    <a:gd name="connsiteY2" fmla="*/ 38032 h 49465"/>
                    <a:gd name="connsiteX3" fmla="*/ 34103 w 49446"/>
                    <a:gd name="connsiteY3" fmla="*/ 28565 h 49465"/>
                    <a:gd name="connsiteX4" fmla="*/ 36071 w 49446"/>
                    <a:gd name="connsiteY4" fmla="*/ 23832 h 49465"/>
                    <a:gd name="connsiteX5" fmla="*/ 34130 w 49446"/>
                    <a:gd name="connsiteY5" fmla="*/ 19099 h 49465"/>
                    <a:gd name="connsiteX6" fmla="*/ 30354 w 49446"/>
                    <a:gd name="connsiteY6" fmla="*/ 15323 h 49465"/>
                    <a:gd name="connsiteX7" fmla="*/ 20887 w 49446"/>
                    <a:gd name="connsiteY7" fmla="*/ 15350 h 49465"/>
                    <a:gd name="connsiteX8" fmla="*/ 11421 w 49446"/>
                    <a:gd name="connsiteY8" fmla="*/ 24816 h 49465"/>
                    <a:gd name="connsiteX9" fmla="*/ 1954 w 49446"/>
                    <a:gd name="connsiteY9" fmla="*/ 24816 h 49465"/>
                    <a:gd name="connsiteX10" fmla="*/ 1954 w 49446"/>
                    <a:gd name="connsiteY10" fmla="*/ 15350 h 49465"/>
                    <a:gd name="connsiteX11" fmla="*/ 11421 w 49446"/>
                    <a:gd name="connsiteY11" fmla="*/ 5883 h 49465"/>
                    <a:gd name="connsiteX12" fmla="*/ 39793 w 49446"/>
                    <a:gd name="connsiteY12" fmla="*/ 5883 h 49465"/>
                    <a:gd name="connsiteX13" fmla="*/ 43569 w 49446"/>
                    <a:gd name="connsiteY13" fmla="*/ 9659 h 49465"/>
                    <a:gd name="connsiteX14" fmla="*/ 49446 w 49446"/>
                    <a:gd name="connsiteY14" fmla="*/ 23859 h 49465"/>
                    <a:gd name="connsiteX15" fmla="*/ 43569 w 49446"/>
                    <a:gd name="connsiteY15" fmla="*/ 38032 h 49465"/>
                    <a:gd name="connsiteX16" fmla="*/ 34103 w 49446"/>
                    <a:gd name="connsiteY16" fmla="*/ 47498 h 49465"/>
                    <a:gd name="connsiteX17" fmla="*/ 29370 w 49446"/>
                    <a:gd name="connsiteY17" fmla="*/ 49466 h 49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446" h="49465">
                      <a:moveTo>
                        <a:pt x="29370" y="49466"/>
                      </a:moveTo>
                      <a:cubicBezTo>
                        <a:pt x="27668" y="49466"/>
                        <a:pt x="25940" y="48801"/>
                        <a:pt x="24637" y="47498"/>
                      </a:cubicBezTo>
                      <a:cubicBezTo>
                        <a:pt x="22031" y="44892"/>
                        <a:pt x="22031" y="40665"/>
                        <a:pt x="24637" y="38032"/>
                      </a:cubicBezTo>
                      <a:lnTo>
                        <a:pt x="34103" y="28565"/>
                      </a:lnTo>
                      <a:cubicBezTo>
                        <a:pt x="35379" y="27289"/>
                        <a:pt x="36071" y="25614"/>
                        <a:pt x="36071" y="23832"/>
                      </a:cubicBezTo>
                      <a:cubicBezTo>
                        <a:pt x="36071" y="22051"/>
                        <a:pt x="35379" y="20376"/>
                        <a:pt x="34130" y="19099"/>
                      </a:cubicBezTo>
                      <a:lnTo>
                        <a:pt x="30354" y="15323"/>
                      </a:lnTo>
                      <a:cubicBezTo>
                        <a:pt x="27748" y="12717"/>
                        <a:pt x="23520" y="12717"/>
                        <a:pt x="20887" y="15350"/>
                      </a:cubicBezTo>
                      <a:lnTo>
                        <a:pt x="11421" y="24816"/>
                      </a:lnTo>
                      <a:cubicBezTo>
                        <a:pt x="8815" y="27422"/>
                        <a:pt x="4560" y="27422"/>
                        <a:pt x="1954" y="24816"/>
                      </a:cubicBezTo>
                      <a:cubicBezTo>
                        <a:pt x="-651" y="22210"/>
                        <a:pt x="-651" y="17956"/>
                        <a:pt x="1954" y="15350"/>
                      </a:cubicBezTo>
                      <a:lnTo>
                        <a:pt x="11421" y="5883"/>
                      </a:lnTo>
                      <a:cubicBezTo>
                        <a:pt x="19239" y="-1961"/>
                        <a:pt x="31976" y="-1961"/>
                        <a:pt x="39793" y="5883"/>
                      </a:cubicBezTo>
                      <a:lnTo>
                        <a:pt x="43569" y="9659"/>
                      </a:lnTo>
                      <a:cubicBezTo>
                        <a:pt x="47345" y="13435"/>
                        <a:pt x="49446" y="18487"/>
                        <a:pt x="49446" y="23859"/>
                      </a:cubicBezTo>
                      <a:cubicBezTo>
                        <a:pt x="49446" y="29204"/>
                        <a:pt x="47345" y="34256"/>
                        <a:pt x="43569" y="38032"/>
                      </a:cubicBezTo>
                      <a:lnTo>
                        <a:pt x="34103" y="47498"/>
                      </a:lnTo>
                      <a:cubicBezTo>
                        <a:pt x="32800" y="48828"/>
                        <a:pt x="31098" y="49466"/>
                        <a:pt x="29370" y="49466"/>
                      </a:cubicBezTo>
                      <a:close/>
                    </a:path>
                  </a:pathLst>
                </a:custGeom>
                <a:grpFill/>
                <a:ln w="2655" cap="flat">
                  <a:noFill/>
                  <a:prstDash val="solid"/>
                  <a:miter/>
                </a:ln>
              </p:spPr>
              <p:txBody>
                <a:bodyPr rtlCol="0" anchor="ctr"/>
                <a:lstStyle/>
                <a:p>
                  <a:endParaRPr lang="en-GB" dirty="0"/>
                </a:p>
              </p:txBody>
            </p:sp>
            <p:sp>
              <p:nvSpPr>
                <p:cNvPr id="413" name="Freihandform: Form 904">
                  <a:extLst>
                    <a:ext uri="{FF2B5EF4-FFF2-40B4-BE49-F238E27FC236}">
                      <a16:creationId xmlns:a16="http://schemas.microsoft.com/office/drawing/2014/main" id="{16E6EF1C-29E5-41E3-9C9A-E3AFC33EC590}"/>
                    </a:ext>
                  </a:extLst>
                </p:cNvPr>
                <p:cNvSpPr/>
                <p:nvPr/>
              </p:nvSpPr>
              <p:spPr>
                <a:xfrm>
                  <a:off x="6346601" y="4385770"/>
                  <a:ext cx="49432" cy="49482"/>
                </a:xfrm>
                <a:custGeom>
                  <a:avLst/>
                  <a:gdLst>
                    <a:gd name="connsiteX0" fmla="*/ 29396 w 49432"/>
                    <a:gd name="connsiteY0" fmla="*/ 49483 h 49482"/>
                    <a:gd name="connsiteX1" fmla="*/ 24663 w 49432"/>
                    <a:gd name="connsiteY1" fmla="*/ 47515 h 49482"/>
                    <a:gd name="connsiteX2" fmla="*/ 24663 w 49432"/>
                    <a:gd name="connsiteY2" fmla="*/ 38049 h 49482"/>
                    <a:gd name="connsiteX3" fmla="*/ 34130 w 49432"/>
                    <a:gd name="connsiteY3" fmla="*/ 28582 h 49482"/>
                    <a:gd name="connsiteX4" fmla="*/ 34130 w 49432"/>
                    <a:gd name="connsiteY4" fmla="*/ 19116 h 49482"/>
                    <a:gd name="connsiteX5" fmla="*/ 30354 w 49432"/>
                    <a:gd name="connsiteY5" fmla="*/ 15340 h 49482"/>
                    <a:gd name="connsiteX6" fmla="*/ 20887 w 49432"/>
                    <a:gd name="connsiteY6" fmla="*/ 15340 h 49482"/>
                    <a:gd name="connsiteX7" fmla="*/ 11421 w 49432"/>
                    <a:gd name="connsiteY7" fmla="*/ 24806 h 49482"/>
                    <a:gd name="connsiteX8" fmla="*/ 1954 w 49432"/>
                    <a:gd name="connsiteY8" fmla="*/ 24806 h 49482"/>
                    <a:gd name="connsiteX9" fmla="*/ 1954 w 49432"/>
                    <a:gd name="connsiteY9" fmla="*/ 15340 h 49482"/>
                    <a:gd name="connsiteX10" fmla="*/ 11421 w 49432"/>
                    <a:gd name="connsiteY10" fmla="*/ 5873 h 49482"/>
                    <a:gd name="connsiteX11" fmla="*/ 39794 w 49432"/>
                    <a:gd name="connsiteY11" fmla="*/ 5873 h 49482"/>
                    <a:gd name="connsiteX12" fmla="*/ 43569 w 49432"/>
                    <a:gd name="connsiteY12" fmla="*/ 9649 h 49482"/>
                    <a:gd name="connsiteX13" fmla="*/ 43569 w 49432"/>
                    <a:gd name="connsiteY13" fmla="*/ 38022 h 49482"/>
                    <a:gd name="connsiteX14" fmla="*/ 34103 w 49432"/>
                    <a:gd name="connsiteY14" fmla="*/ 47489 h 49482"/>
                    <a:gd name="connsiteX15" fmla="*/ 29396 w 49432"/>
                    <a:gd name="connsiteY15" fmla="*/ 49483 h 49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9432" h="49482">
                      <a:moveTo>
                        <a:pt x="29396" y="49483"/>
                      </a:moveTo>
                      <a:cubicBezTo>
                        <a:pt x="27695" y="49483"/>
                        <a:pt x="25966" y="48818"/>
                        <a:pt x="24663" y="47515"/>
                      </a:cubicBezTo>
                      <a:cubicBezTo>
                        <a:pt x="22057" y="44909"/>
                        <a:pt x="22057" y="40681"/>
                        <a:pt x="24663" y="38049"/>
                      </a:cubicBezTo>
                      <a:lnTo>
                        <a:pt x="34130" y="28582"/>
                      </a:lnTo>
                      <a:cubicBezTo>
                        <a:pt x="36736" y="25976"/>
                        <a:pt x="36736" y="21722"/>
                        <a:pt x="34130" y="19116"/>
                      </a:cubicBezTo>
                      <a:lnTo>
                        <a:pt x="30354" y="15340"/>
                      </a:lnTo>
                      <a:cubicBezTo>
                        <a:pt x="27748" y="12734"/>
                        <a:pt x="23493" y="12734"/>
                        <a:pt x="20887" y="15340"/>
                      </a:cubicBezTo>
                      <a:lnTo>
                        <a:pt x="11421" y="24806"/>
                      </a:lnTo>
                      <a:cubicBezTo>
                        <a:pt x="8815" y="27412"/>
                        <a:pt x="4587" y="27412"/>
                        <a:pt x="1954" y="24806"/>
                      </a:cubicBezTo>
                      <a:cubicBezTo>
                        <a:pt x="-651" y="22200"/>
                        <a:pt x="-651" y="17972"/>
                        <a:pt x="1954" y="15340"/>
                      </a:cubicBezTo>
                      <a:lnTo>
                        <a:pt x="11421" y="5873"/>
                      </a:lnTo>
                      <a:cubicBezTo>
                        <a:pt x="19239" y="-1945"/>
                        <a:pt x="31976" y="-1971"/>
                        <a:pt x="39794" y="5873"/>
                      </a:cubicBezTo>
                      <a:lnTo>
                        <a:pt x="43569" y="9649"/>
                      </a:lnTo>
                      <a:cubicBezTo>
                        <a:pt x="51387" y="17494"/>
                        <a:pt x="51387" y="30204"/>
                        <a:pt x="43569" y="38022"/>
                      </a:cubicBezTo>
                      <a:lnTo>
                        <a:pt x="34103" y="47489"/>
                      </a:lnTo>
                      <a:cubicBezTo>
                        <a:pt x="32827" y="48844"/>
                        <a:pt x="31098" y="49483"/>
                        <a:pt x="29396" y="49483"/>
                      </a:cubicBezTo>
                      <a:close/>
                    </a:path>
                  </a:pathLst>
                </a:custGeom>
                <a:grpFill/>
                <a:ln w="2655" cap="flat">
                  <a:noFill/>
                  <a:prstDash val="solid"/>
                  <a:miter/>
                </a:ln>
              </p:spPr>
              <p:txBody>
                <a:bodyPr rtlCol="0" anchor="ctr"/>
                <a:lstStyle/>
                <a:p>
                  <a:endParaRPr lang="en-GB" dirty="0"/>
                </a:p>
              </p:txBody>
            </p:sp>
            <p:sp>
              <p:nvSpPr>
                <p:cNvPr id="414" name="Freihandform: Form 905">
                  <a:extLst>
                    <a:ext uri="{FF2B5EF4-FFF2-40B4-BE49-F238E27FC236}">
                      <a16:creationId xmlns:a16="http://schemas.microsoft.com/office/drawing/2014/main" id="{B9712D1B-D134-46C2-B19F-DF66B97D73A0}"/>
                    </a:ext>
                  </a:extLst>
                </p:cNvPr>
                <p:cNvSpPr/>
                <p:nvPr/>
              </p:nvSpPr>
              <p:spPr>
                <a:xfrm>
                  <a:off x="6269327" y="4363072"/>
                  <a:ext cx="104037" cy="81248"/>
                </a:xfrm>
                <a:custGeom>
                  <a:avLst/>
                  <a:gdLst>
                    <a:gd name="connsiteX0" fmla="*/ 6688 w 104037"/>
                    <a:gd name="connsiteY0" fmla="*/ 81249 h 81248"/>
                    <a:gd name="connsiteX1" fmla="*/ 1954 w 104037"/>
                    <a:gd name="connsiteY1" fmla="*/ 79281 h 81248"/>
                    <a:gd name="connsiteX2" fmla="*/ 1954 w 104037"/>
                    <a:gd name="connsiteY2" fmla="*/ 69815 h 81248"/>
                    <a:gd name="connsiteX3" fmla="*/ 66012 w 104037"/>
                    <a:gd name="connsiteY3" fmla="*/ 5863 h 81248"/>
                    <a:gd name="connsiteX4" fmla="*/ 94385 w 104037"/>
                    <a:gd name="connsiteY4" fmla="*/ 5863 h 81248"/>
                    <a:gd name="connsiteX5" fmla="*/ 98161 w 104037"/>
                    <a:gd name="connsiteY5" fmla="*/ 9639 h 81248"/>
                    <a:gd name="connsiteX6" fmla="*/ 104038 w 104037"/>
                    <a:gd name="connsiteY6" fmla="*/ 23839 h 81248"/>
                    <a:gd name="connsiteX7" fmla="*/ 98161 w 104037"/>
                    <a:gd name="connsiteY7" fmla="*/ 38038 h 81248"/>
                    <a:gd name="connsiteX8" fmla="*/ 88695 w 104037"/>
                    <a:gd name="connsiteY8" fmla="*/ 47505 h 81248"/>
                    <a:gd name="connsiteX9" fmla="*/ 79228 w 104037"/>
                    <a:gd name="connsiteY9" fmla="*/ 47505 h 81248"/>
                    <a:gd name="connsiteX10" fmla="*/ 79228 w 104037"/>
                    <a:gd name="connsiteY10" fmla="*/ 38038 h 81248"/>
                    <a:gd name="connsiteX11" fmla="*/ 88695 w 104037"/>
                    <a:gd name="connsiteY11" fmla="*/ 28572 h 81248"/>
                    <a:gd name="connsiteX12" fmla="*/ 90662 w 104037"/>
                    <a:gd name="connsiteY12" fmla="*/ 23839 h 81248"/>
                    <a:gd name="connsiteX13" fmla="*/ 88721 w 104037"/>
                    <a:gd name="connsiteY13" fmla="*/ 19106 h 81248"/>
                    <a:gd name="connsiteX14" fmla="*/ 84945 w 104037"/>
                    <a:gd name="connsiteY14" fmla="*/ 15330 h 81248"/>
                    <a:gd name="connsiteX15" fmla="*/ 75479 w 104037"/>
                    <a:gd name="connsiteY15" fmla="*/ 15356 h 81248"/>
                    <a:gd name="connsiteX16" fmla="*/ 11421 w 104037"/>
                    <a:gd name="connsiteY16" fmla="*/ 79308 h 81248"/>
                    <a:gd name="connsiteX17" fmla="*/ 6688 w 104037"/>
                    <a:gd name="connsiteY17" fmla="*/ 81249 h 81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4037" h="81248">
                      <a:moveTo>
                        <a:pt x="6688" y="81249"/>
                      </a:moveTo>
                      <a:cubicBezTo>
                        <a:pt x="4959" y="81249"/>
                        <a:pt x="3257" y="80584"/>
                        <a:pt x="1954" y="79281"/>
                      </a:cubicBezTo>
                      <a:cubicBezTo>
                        <a:pt x="-651" y="76675"/>
                        <a:pt x="-651" y="72447"/>
                        <a:pt x="1954" y="69815"/>
                      </a:cubicBezTo>
                      <a:lnTo>
                        <a:pt x="66012" y="5863"/>
                      </a:lnTo>
                      <a:cubicBezTo>
                        <a:pt x="73830" y="-1954"/>
                        <a:pt x="86567" y="-1954"/>
                        <a:pt x="94385" y="5863"/>
                      </a:cubicBezTo>
                      <a:lnTo>
                        <a:pt x="98161" y="9639"/>
                      </a:lnTo>
                      <a:cubicBezTo>
                        <a:pt x="101937" y="13415"/>
                        <a:pt x="104038" y="18467"/>
                        <a:pt x="104038" y="23839"/>
                      </a:cubicBezTo>
                      <a:cubicBezTo>
                        <a:pt x="104038" y="29210"/>
                        <a:pt x="101937" y="34236"/>
                        <a:pt x="98161" y="38038"/>
                      </a:cubicBezTo>
                      <a:lnTo>
                        <a:pt x="88695" y="47505"/>
                      </a:lnTo>
                      <a:cubicBezTo>
                        <a:pt x="86089" y="50111"/>
                        <a:pt x="81861" y="50111"/>
                        <a:pt x="79228" y="47505"/>
                      </a:cubicBezTo>
                      <a:cubicBezTo>
                        <a:pt x="76622" y="44899"/>
                        <a:pt x="76622" y="40671"/>
                        <a:pt x="79228" y="38038"/>
                      </a:cubicBezTo>
                      <a:lnTo>
                        <a:pt x="88695" y="28572"/>
                      </a:lnTo>
                      <a:cubicBezTo>
                        <a:pt x="89971" y="27296"/>
                        <a:pt x="90662" y="25621"/>
                        <a:pt x="90662" y="23839"/>
                      </a:cubicBezTo>
                      <a:cubicBezTo>
                        <a:pt x="90662" y="22057"/>
                        <a:pt x="89971" y="20382"/>
                        <a:pt x="88721" y="19106"/>
                      </a:cubicBezTo>
                      <a:lnTo>
                        <a:pt x="84945" y="15330"/>
                      </a:lnTo>
                      <a:cubicBezTo>
                        <a:pt x="82339" y="12724"/>
                        <a:pt x="78111" y="12724"/>
                        <a:pt x="75479" y="15356"/>
                      </a:cubicBezTo>
                      <a:lnTo>
                        <a:pt x="11421" y="79308"/>
                      </a:lnTo>
                      <a:cubicBezTo>
                        <a:pt x="10118" y="80611"/>
                        <a:pt x="8390" y="81249"/>
                        <a:pt x="6688" y="81249"/>
                      </a:cubicBezTo>
                      <a:close/>
                    </a:path>
                  </a:pathLst>
                </a:custGeom>
                <a:grpFill/>
                <a:ln w="2655" cap="flat">
                  <a:noFill/>
                  <a:prstDash val="solid"/>
                  <a:miter/>
                </a:ln>
              </p:spPr>
              <p:txBody>
                <a:bodyPr rtlCol="0" anchor="ctr"/>
                <a:lstStyle/>
                <a:p>
                  <a:endParaRPr lang="en-GB" dirty="0"/>
                </a:p>
              </p:txBody>
            </p:sp>
          </p:grpSp>
        </p:grpSp>
      </p:grpSp>
      <p:grpSp>
        <p:nvGrpSpPr>
          <p:cNvPr id="633" name="Group 632">
            <a:extLst>
              <a:ext uri="{FF2B5EF4-FFF2-40B4-BE49-F238E27FC236}">
                <a16:creationId xmlns:a16="http://schemas.microsoft.com/office/drawing/2014/main" id="{DD48CE5A-F813-B9D0-F2F2-00D82D7E7B8B}"/>
              </a:ext>
            </a:extLst>
          </p:cNvPr>
          <p:cNvGrpSpPr/>
          <p:nvPr/>
        </p:nvGrpSpPr>
        <p:grpSpPr>
          <a:xfrm>
            <a:off x="7123714" y="2406516"/>
            <a:ext cx="351640" cy="432000"/>
            <a:chOff x="7123302" y="2406516"/>
            <a:chExt cx="351640" cy="432000"/>
          </a:xfrm>
        </p:grpSpPr>
        <p:grpSp>
          <p:nvGrpSpPr>
            <p:cNvPr id="417" name="Gruppieren 9">
              <a:extLst>
                <a:ext uri="{FF2B5EF4-FFF2-40B4-BE49-F238E27FC236}">
                  <a16:creationId xmlns:a16="http://schemas.microsoft.com/office/drawing/2014/main" id="{341F04F4-416B-4709-A566-F5A6EC1EA8B5}"/>
                </a:ext>
              </a:extLst>
            </p:cNvPr>
            <p:cNvGrpSpPr/>
            <p:nvPr/>
          </p:nvGrpSpPr>
          <p:grpSpPr>
            <a:xfrm>
              <a:off x="7123302" y="2406516"/>
              <a:ext cx="351639" cy="432000"/>
              <a:chOff x="852709" y="1634031"/>
              <a:chExt cx="394309" cy="484421"/>
            </a:xfrm>
            <a:solidFill>
              <a:schemeClr val="tx2"/>
            </a:solidFill>
          </p:grpSpPr>
          <p:grpSp>
            <p:nvGrpSpPr>
              <p:cNvPr id="422" name="Graphic 7">
                <a:extLst>
                  <a:ext uri="{FF2B5EF4-FFF2-40B4-BE49-F238E27FC236}">
                    <a16:creationId xmlns:a16="http://schemas.microsoft.com/office/drawing/2014/main" id="{3535D647-4482-4C8D-BF7F-55DD62B98947}"/>
                  </a:ext>
                </a:extLst>
              </p:cNvPr>
              <p:cNvGrpSpPr/>
              <p:nvPr/>
            </p:nvGrpSpPr>
            <p:grpSpPr>
              <a:xfrm>
                <a:off x="852709" y="1634031"/>
                <a:ext cx="259221" cy="484421"/>
                <a:chOff x="852709" y="1634031"/>
                <a:chExt cx="259221" cy="484421"/>
              </a:xfrm>
              <a:grpFill/>
            </p:grpSpPr>
            <p:grpSp>
              <p:nvGrpSpPr>
                <p:cNvPr id="426" name="Graphic 7">
                  <a:extLst>
                    <a:ext uri="{FF2B5EF4-FFF2-40B4-BE49-F238E27FC236}">
                      <a16:creationId xmlns:a16="http://schemas.microsoft.com/office/drawing/2014/main" id="{37447121-911F-41E6-9314-C80005166CD7}"/>
                    </a:ext>
                  </a:extLst>
                </p:cNvPr>
                <p:cNvGrpSpPr/>
                <p:nvPr/>
              </p:nvGrpSpPr>
              <p:grpSpPr>
                <a:xfrm>
                  <a:off x="941470" y="1819722"/>
                  <a:ext cx="170460" cy="138410"/>
                  <a:chOff x="941470" y="1819722"/>
                  <a:chExt cx="170460" cy="138410"/>
                </a:xfrm>
                <a:grpFill/>
              </p:grpSpPr>
              <p:grpSp>
                <p:nvGrpSpPr>
                  <p:cNvPr id="435" name="Graphic 7">
                    <a:extLst>
                      <a:ext uri="{FF2B5EF4-FFF2-40B4-BE49-F238E27FC236}">
                        <a16:creationId xmlns:a16="http://schemas.microsoft.com/office/drawing/2014/main" id="{B9C03E44-CC45-4EB8-98BE-2A47E5214100}"/>
                      </a:ext>
                    </a:extLst>
                  </p:cNvPr>
                  <p:cNvGrpSpPr/>
                  <p:nvPr/>
                </p:nvGrpSpPr>
                <p:grpSpPr>
                  <a:xfrm>
                    <a:off x="941470" y="1819722"/>
                    <a:ext cx="170460" cy="138410"/>
                    <a:chOff x="941470" y="1819722"/>
                    <a:chExt cx="170460" cy="138410"/>
                  </a:xfrm>
                  <a:grpFill/>
                </p:grpSpPr>
                <p:sp>
                  <p:nvSpPr>
                    <p:cNvPr id="437" name="Freihandform: Form 124">
                      <a:extLst>
                        <a:ext uri="{FF2B5EF4-FFF2-40B4-BE49-F238E27FC236}">
                          <a16:creationId xmlns:a16="http://schemas.microsoft.com/office/drawing/2014/main" id="{B04041C3-61F9-41CB-847D-E06E922E66C1}"/>
                        </a:ext>
                      </a:extLst>
                    </p:cNvPr>
                    <p:cNvSpPr/>
                    <p:nvPr/>
                  </p:nvSpPr>
                  <p:spPr>
                    <a:xfrm>
                      <a:off x="1060722" y="1847404"/>
                      <a:ext cx="19951" cy="34608"/>
                    </a:xfrm>
                    <a:custGeom>
                      <a:avLst/>
                      <a:gdLst>
                        <a:gd name="connsiteX0" fmla="*/ 6927 w 19951"/>
                        <a:gd name="connsiteY0" fmla="*/ 34608 h 34608"/>
                        <a:gd name="connsiteX1" fmla="*/ 4969 w 19951"/>
                        <a:gd name="connsiteY1" fmla="*/ 34324 h 34608"/>
                        <a:gd name="connsiteX2" fmla="*/ 283 w 19951"/>
                        <a:gd name="connsiteY2" fmla="*/ 25730 h 34608"/>
                        <a:gd name="connsiteX3" fmla="*/ 6387 w 19951"/>
                        <a:gd name="connsiteY3" fmla="*/ 4969 h 34608"/>
                        <a:gd name="connsiteX4" fmla="*/ 14982 w 19951"/>
                        <a:gd name="connsiteY4" fmla="*/ 283 h 34608"/>
                        <a:gd name="connsiteX5" fmla="*/ 19668 w 19951"/>
                        <a:gd name="connsiteY5" fmla="*/ 8877 h 34608"/>
                        <a:gd name="connsiteX6" fmla="*/ 13564 w 19951"/>
                        <a:gd name="connsiteY6" fmla="*/ 29638 h 34608"/>
                        <a:gd name="connsiteX7" fmla="*/ 6927 w 19951"/>
                        <a:gd name="connsiteY7" fmla="*/ 34608 h 34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51" h="34608">
                          <a:moveTo>
                            <a:pt x="6927" y="34608"/>
                          </a:moveTo>
                          <a:cubicBezTo>
                            <a:pt x="6280" y="34608"/>
                            <a:pt x="5623" y="34518"/>
                            <a:pt x="4969" y="34324"/>
                          </a:cubicBezTo>
                          <a:cubicBezTo>
                            <a:pt x="1303" y="33245"/>
                            <a:pt x="-796" y="29400"/>
                            <a:pt x="283" y="25730"/>
                          </a:cubicBezTo>
                          <a:lnTo>
                            <a:pt x="6387" y="4969"/>
                          </a:lnTo>
                          <a:cubicBezTo>
                            <a:pt x="7466" y="1307"/>
                            <a:pt x="11316" y="-796"/>
                            <a:pt x="14982" y="283"/>
                          </a:cubicBezTo>
                          <a:cubicBezTo>
                            <a:pt x="18648" y="1362"/>
                            <a:pt x="20747" y="5208"/>
                            <a:pt x="19668" y="8877"/>
                          </a:cubicBezTo>
                          <a:lnTo>
                            <a:pt x="13564" y="29638"/>
                          </a:lnTo>
                          <a:cubicBezTo>
                            <a:pt x="12678" y="32654"/>
                            <a:pt x="9918" y="34608"/>
                            <a:pt x="6927" y="34608"/>
                          </a:cubicBezTo>
                          <a:close/>
                        </a:path>
                      </a:pathLst>
                    </a:custGeom>
                    <a:grpFill/>
                    <a:ln w="345" cap="flat">
                      <a:noFill/>
                      <a:prstDash val="solid"/>
                      <a:miter/>
                    </a:ln>
                  </p:spPr>
                  <p:txBody>
                    <a:bodyPr rtlCol="0" anchor="ctr"/>
                    <a:lstStyle/>
                    <a:p>
                      <a:endParaRPr lang="en-GB" dirty="0"/>
                    </a:p>
                  </p:txBody>
                </p:sp>
                <p:sp>
                  <p:nvSpPr>
                    <p:cNvPr id="438" name="Freihandform: Form 125">
                      <a:extLst>
                        <a:ext uri="{FF2B5EF4-FFF2-40B4-BE49-F238E27FC236}">
                          <a16:creationId xmlns:a16="http://schemas.microsoft.com/office/drawing/2014/main" id="{050BF21B-1821-4141-987B-714759AFFB6F}"/>
                        </a:ext>
                      </a:extLst>
                    </p:cNvPr>
                    <p:cNvSpPr/>
                    <p:nvPr/>
                  </p:nvSpPr>
                  <p:spPr>
                    <a:xfrm>
                      <a:off x="941470" y="1819722"/>
                      <a:ext cx="118870" cy="138410"/>
                    </a:xfrm>
                    <a:custGeom>
                      <a:avLst/>
                      <a:gdLst>
                        <a:gd name="connsiteX0" fmla="*/ 103806 w 118870"/>
                        <a:gd name="connsiteY0" fmla="*/ 138411 h 138410"/>
                        <a:gd name="connsiteX1" fmla="*/ 6920 w 118870"/>
                        <a:gd name="connsiteY1" fmla="*/ 138411 h 138410"/>
                        <a:gd name="connsiteX2" fmla="*/ 1318 w 118870"/>
                        <a:gd name="connsiteY2" fmla="*/ 135551 h 138410"/>
                        <a:gd name="connsiteX3" fmla="*/ 346 w 118870"/>
                        <a:gd name="connsiteY3" fmla="*/ 129336 h 138410"/>
                        <a:gd name="connsiteX4" fmla="*/ 36577 w 118870"/>
                        <a:gd name="connsiteY4" fmla="*/ 18610 h 138410"/>
                        <a:gd name="connsiteX5" fmla="*/ 60931 w 118870"/>
                        <a:gd name="connsiteY5" fmla="*/ 0 h 138410"/>
                        <a:gd name="connsiteX6" fmla="*/ 74177 w 118870"/>
                        <a:gd name="connsiteY6" fmla="*/ 0 h 138410"/>
                        <a:gd name="connsiteX7" fmla="*/ 81097 w 118870"/>
                        <a:gd name="connsiteY7" fmla="*/ 6920 h 138410"/>
                        <a:gd name="connsiteX8" fmla="*/ 74177 w 118870"/>
                        <a:gd name="connsiteY8" fmla="*/ 13841 h 138410"/>
                        <a:gd name="connsiteX9" fmla="*/ 60931 w 118870"/>
                        <a:gd name="connsiteY9" fmla="*/ 13841 h 138410"/>
                        <a:gd name="connsiteX10" fmla="*/ 49729 w 118870"/>
                        <a:gd name="connsiteY10" fmla="*/ 22912 h 138410"/>
                        <a:gd name="connsiteX11" fmla="*/ 16469 w 118870"/>
                        <a:gd name="connsiteY11" fmla="*/ 124567 h 138410"/>
                        <a:gd name="connsiteX12" fmla="*/ 98628 w 118870"/>
                        <a:gd name="connsiteY12" fmla="*/ 124567 h 138410"/>
                        <a:gd name="connsiteX13" fmla="*/ 105307 w 118870"/>
                        <a:gd name="connsiteY13" fmla="*/ 101851 h 138410"/>
                        <a:gd name="connsiteX14" fmla="*/ 113901 w 118870"/>
                        <a:gd name="connsiteY14" fmla="*/ 97165 h 138410"/>
                        <a:gd name="connsiteX15" fmla="*/ 118587 w 118870"/>
                        <a:gd name="connsiteY15" fmla="*/ 105759 h 138410"/>
                        <a:gd name="connsiteX16" fmla="*/ 110449 w 118870"/>
                        <a:gd name="connsiteY16" fmla="*/ 133441 h 138410"/>
                        <a:gd name="connsiteX17" fmla="*/ 103806 w 118870"/>
                        <a:gd name="connsiteY17" fmla="*/ 138411 h 138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8870" h="138410">
                          <a:moveTo>
                            <a:pt x="103806" y="138411"/>
                          </a:moveTo>
                          <a:lnTo>
                            <a:pt x="6920" y="138411"/>
                          </a:lnTo>
                          <a:cubicBezTo>
                            <a:pt x="4704" y="138411"/>
                            <a:pt x="2618" y="137346"/>
                            <a:pt x="1318" y="135551"/>
                          </a:cubicBezTo>
                          <a:cubicBezTo>
                            <a:pt x="17" y="133756"/>
                            <a:pt x="-349" y="131445"/>
                            <a:pt x="346" y="129336"/>
                          </a:cubicBezTo>
                          <a:lnTo>
                            <a:pt x="36577" y="18610"/>
                          </a:lnTo>
                          <a:cubicBezTo>
                            <a:pt x="39990" y="8176"/>
                            <a:pt x="50687" y="0"/>
                            <a:pt x="60931" y="0"/>
                          </a:cubicBezTo>
                          <a:lnTo>
                            <a:pt x="74177" y="0"/>
                          </a:lnTo>
                          <a:cubicBezTo>
                            <a:pt x="77999" y="0"/>
                            <a:pt x="81097" y="3099"/>
                            <a:pt x="81097" y="6920"/>
                          </a:cubicBezTo>
                          <a:cubicBezTo>
                            <a:pt x="81097" y="10742"/>
                            <a:pt x="77999" y="13841"/>
                            <a:pt x="74177" y="13841"/>
                          </a:cubicBezTo>
                          <a:lnTo>
                            <a:pt x="60931" y="13841"/>
                          </a:lnTo>
                          <a:cubicBezTo>
                            <a:pt x="56622" y="13841"/>
                            <a:pt x="51286" y="18167"/>
                            <a:pt x="49729" y="22912"/>
                          </a:cubicBezTo>
                          <a:lnTo>
                            <a:pt x="16469" y="124567"/>
                          </a:lnTo>
                          <a:lnTo>
                            <a:pt x="98628" y="124567"/>
                          </a:lnTo>
                          <a:lnTo>
                            <a:pt x="105307" y="101851"/>
                          </a:lnTo>
                          <a:cubicBezTo>
                            <a:pt x="106386" y="98189"/>
                            <a:pt x="110238" y="96076"/>
                            <a:pt x="113901" y="97165"/>
                          </a:cubicBezTo>
                          <a:cubicBezTo>
                            <a:pt x="117567" y="98244"/>
                            <a:pt x="119666" y="102090"/>
                            <a:pt x="118587" y="105759"/>
                          </a:cubicBezTo>
                          <a:lnTo>
                            <a:pt x="110449" y="133441"/>
                          </a:lnTo>
                          <a:cubicBezTo>
                            <a:pt x="109581" y="136388"/>
                            <a:pt x="106877" y="138411"/>
                            <a:pt x="103806" y="138411"/>
                          </a:cubicBezTo>
                          <a:close/>
                        </a:path>
                      </a:pathLst>
                    </a:custGeom>
                    <a:grpFill/>
                    <a:ln w="345" cap="flat">
                      <a:noFill/>
                      <a:prstDash val="solid"/>
                      <a:miter/>
                    </a:ln>
                  </p:spPr>
                  <p:txBody>
                    <a:bodyPr rtlCol="0" anchor="ctr"/>
                    <a:lstStyle/>
                    <a:p>
                      <a:endParaRPr lang="en-GB" dirty="0"/>
                    </a:p>
                  </p:txBody>
                </p:sp>
                <p:sp>
                  <p:nvSpPr>
                    <p:cNvPr id="439" name="Freihandform: Form 126">
                      <a:extLst>
                        <a:ext uri="{FF2B5EF4-FFF2-40B4-BE49-F238E27FC236}">
                          <a16:creationId xmlns:a16="http://schemas.microsoft.com/office/drawing/2014/main" id="{86AD8981-ED88-4530-AAD9-5203E8DAF746}"/>
                        </a:ext>
                      </a:extLst>
                    </p:cNvPr>
                    <p:cNvSpPr/>
                    <p:nvPr/>
                  </p:nvSpPr>
                  <p:spPr>
                    <a:xfrm>
                      <a:off x="995481" y="1819722"/>
                      <a:ext cx="116450" cy="41525"/>
                    </a:xfrm>
                    <a:custGeom>
                      <a:avLst/>
                      <a:gdLst>
                        <a:gd name="connsiteX0" fmla="*/ 105026 w 116450"/>
                        <a:gd name="connsiteY0" fmla="*/ 41526 h 41525"/>
                        <a:gd name="connsiteX1" fmla="*/ 11371 w 116450"/>
                        <a:gd name="connsiteY1" fmla="*/ 41526 h 41525"/>
                        <a:gd name="connsiteX2" fmla="*/ 5786 w 116450"/>
                        <a:gd name="connsiteY2" fmla="*/ 38690 h 41525"/>
                        <a:gd name="connsiteX3" fmla="*/ 4776 w 116450"/>
                        <a:gd name="connsiteY3" fmla="*/ 32509 h 41525"/>
                        <a:gd name="connsiteX4" fmla="*/ 9172 w 116450"/>
                        <a:gd name="connsiteY4" fmla="*/ 18669 h 41525"/>
                        <a:gd name="connsiteX5" fmla="*/ 9096 w 116450"/>
                        <a:gd name="connsiteY5" fmla="*/ 14629 h 41525"/>
                        <a:gd name="connsiteX6" fmla="*/ 6920 w 116450"/>
                        <a:gd name="connsiteY6" fmla="*/ 13841 h 41525"/>
                        <a:gd name="connsiteX7" fmla="*/ 0 w 116450"/>
                        <a:gd name="connsiteY7" fmla="*/ 6920 h 41525"/>
                        <a:gd name="connsiteX8" fmla="*/ 6920 w 116450"/>
                        <a:gd name="connsiteY8" fmla="*/ 0 h 41525"/>
                        <a:gd name="connsiteX9" fmla="*/ 99652 w 116450"/>
                        <a:gd name="connsiteY9" fmla="*/ 0 h 41525"/>
                        <a:gd name="connsiteX10" fmla="*/ 113088 w 116450"/>
                        <a:gd name="connsiteY10" fmla="*/ 6412 h 41525"/>
                        <a:gd name="connsiteX11" fmla="*/ 115623 w 116450"/>
                        <a:gd name="connsiteY11" fmla="*/ 22653 h 41525"/>
                        <a:gd name="connsiteX12" fmla="*/ 111687 w 116450"/>
                        <a:gd name="connsiteY12" fmla="*/ 36494 h 41525"/>
                        <a:gd name="connsiteX13" fmla="*/ 105026 w 116450"/>
                        <a:gd name="connsiteY13" fmla="*/ 41526 h 41525"/>
                        <a:gd name="connsiteX14" fmla="*/ 20830 w 116450"/>
                        <a:gd name="connsiteY14" fmla="*/ 27685 h 41525"/>
                        <a:gd name="connsiteX15" fmla="*/ 99801 w 116450"/>
                        <a:gd name="connsiteY15" fmla="*/ 27685 h 41525"/>
                        <a:gd name="connsiteX16" fmla="*/ 102308 w 116450"/>
                        <a:gd name="connsiteY16" fmla="*/ 18873 h 41525"/>
                        <a:gd name="connsiteX17" fmla="*/ 102045 w 116450"/>
                        <a:gd name="connsiteY17" fmla="*/ 14761 h 41525"/>
                        <a:gd name="connsiteX18" fmla="*/ 99652 w 116450"/>
                        <a:gd name="connsiteY18" fmla="*/ 13844 h 41525"/>
                        <a:gd name="connsiteX19" fmla="*/ 23210 w 116450"/>
                        <a:gd name="connsiteY19" fmla="*/ 13844 h 41525"/>
                        <a:gd name="connsiteX20" fmla="*/ 22362 w 116450"/>
                        <a:gd name="connsiteY20" fmla="*/ 22860 h 41525"/>
                        <a:gd name="connsiteX21" fmla="*/ 20830 w 116450"/>
                        <a:gd name="connsiteY21" fmla="*/ 27685 h 4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6450" h="41525">
                          <a:moveTo>
                            <a:pt x="105026" y="41526"/>
                          </a:moveTo>
                          <a:lnTo>
                            <a:pt x="11371" y="41526"/>
                          </a:lnTo>
                          <a:cubicBezTo>
                            <a:pt x="9165" y="41526"/>
                            <a:pt x="7090" y="40471"/>
                            <a:pt x="5786" y="38690"/>
                          </a:cubicBezTo>
                          <a:cubicBezTo>
                            <a:pt x="4482" y="36909"/>
                            <a:pt x="4105" y="34616"/>
                            <a:pt x="4776" y="32509"/>
                          </a:cubicBezTo>
                          <a:lnTo>
                            <a:pt x="9172" y="18669"/>
                          </a:lnTo>
                          <a:cubicBezTo>
                            <a:pt x="9815" y="16649"/>
                            <a:pt x="9552" y="15259"/>
                            <a:pt x="9096" y="14629"/>
                          </a:cubicBezTo>
                          <a:cubicBezTo>
                            <a:pt x="8618" y="13976"/>
                            <a:pt x="7650" y="13841"/>
                            <a:pt x="6920" y="13841"/>
                          </a:cubicBezTo>
                          <a:cubicBezTo>
                            <a:pt x="3099" y="13841"/>
                            <a:pt x="0" y="10742"/>
                            <a:pt x="0" y="6920"/>
                          </a:cubicBezTo>
                          <a:cubicBezTo>
                            <a:pt x="0" y="3099"/>
                            <a:pt x="3099" y="0"/>
                            <a:pt x="6920" y="0"/>
                          </a:cubicBezTo>
                          <a:lnTo>
                            <a:pt x="99652" y="0"/>
                          </a:lnTo>
                          <a:cubicBezTo>
                            <a:pt x="105113" y="0"/>
                            <a:pt x="110010" y="2338"/>
                            <a:pt x="113088" y="6412"/>
                          </a:cubicBezTo>
                          <a:cubicBezTo>
                            <a:pt x="116391" y="10780"/>
                            <a:pt x="117311" y="16701"/>
                            <a:pt x="115623" y="22653"/>
                          </a:cubicBezTo>
                          <a:lnTo>
                            <a:pt x="111687" y="36494"/>
                          </a:lnTo>
                          <a:cubicBezTo>
                            <a:pt x="110833" y="39475"/>
                            <a:pt x="108118" y="41526"/>
                            <a:pt x="105026" y="41526"/>
                          </a:cubicBezTo>
                          <a:close/>
                          <a:moveTo>
                            <a:pt x="20830" y="27685"/>
                          </a:moveTo>
                          <a:lnTo>
                            <a:pt x="99801" y="27685"/>
                          </a:lnTo>
                          <a:lnTo>
                            <a:pt x="102308" y="18873"/>
                          </a:lnTo>
                          <a:cubicBezTo>
                            <a:pt x="102796" y="17161"/>
                            <a:pt x="102695" y="15622"/>
                            <a:pt x="102045" y="14761"/>
                          </a:cubicBezTo>
                          <a:cubicBezTo>
                            <a:pt x="101585" y="14152"/>
                            <a:pt x="100783" y="13844"/>
                            <a:pt x="99652" y="13844"/>
                          </a:cubicBezTo>
                          <a:lnTo>
                            <a:pt x="23210" y="13844"/>
                          </a:lnTo>
                          <a:cubicBezTo>
                            <a:pt x="23611" y="16708"/>
                            <a:pt x="23338" y="19782"/>
                            <a:pt x="22362" y="22860"/>
                          </a:cubicBezTo>
                          <a:lnTo>
                            <a:pt x="20830" y="27685"/>
                          </a:lnTo>
                          <a:close/>
                        </a:path>
                      </a:pathLst>
                    </a:custGeom>
                    <a:grpFill/>
                    <a:ln w="345" cap="flat">
                      <a:noFill/>
                      <a:prstDash val="solid"/>
                      <a:miter/>
                    </a:ln>
                  </p:spPr>
                  <p:txBody>
                    <a:bodyPr rtlCol="0" anchor="ctr"/>
                    <a:lstStyle/>
                    <a:p>
                      <a:endParaRPr lang="en-GB" dirty="0"/>
                    </a:p>
                  </p:txBody>
                </p:sp>
              </p:grpSp>
              <p:sp>
                <p:nvSpPr>
                  <p:cNvPr id="436" name="Freihandform: Form 127">
                    <a:extLst>
                      <a:ext uri="{FF2B5EF4-FFF2-40B4-BE49-F238E27FC236}">
                        <a16:creationId xmlns:a16="http://schemas.microsoft.com/office/drawing/2014/main" id="{66C62A69-2FF5-468B-9FA7-8DA5E52503DC}"/>
                      </a:ext>
                    </a:extLst>
                  </p:cNvPr>
                  <p:cNvSpPr/>
                  <p:nvPr/>
                </p:nvSpPr>
                <p:spPr>
                  <a:xfrm>
                    <a:off x="1034813" y="1875092"/>
                    <a:ext cx="49256" cy="55359"/>
                  </a:xfrm>
                  <a:custGeom>
                    <a:avLst/>
                    <a:gdLst>
                      <a:gd name="connsiteX0" fmla="*/ 24400 w 49256"/>
                      <a:gd name="connsiteY0" fmla="*/ 55359 h 55359"/>
                      <a:gd name="connsiteX1" fmla="*/ 12794 w 49256"/>
                      <a:gd name="connsiteY1" fmla="*/ 55359 h 55359"/>
                      <a:gd name="connsiteX2" fmla="*/ 2456 w 49256"/>
                      <a:gd name="connsiteY2" fmla="*/ 50383 h 55359"/>
                      <a:gd name="connsiteX3" fmla="*/ 641 w 49256"/>
                      <a:gd name="connsiteY3" fmla="*/ 38479 h 55359"/>
                      <a:gd name="connsiteX4" fmla="*/ 8273 w 49256"/>
                      <a:gd name="connsiteY4" fmla="*/ 12921 h 55359"/>
                      <a:gd name="connsiteX5" fmla="*/ 25078 w 49256"/>
                      <a:gd name="connsiteY5" fmla="*/ 0 h 55359"/>
                      <a:gd name="connsiteX6" fmla="*/ 36519 w 49256"/>
                      <a:gd name="connsiteY6" fmla="*/ 0 h 55359"/>
                      <a:gd name="connsiteX7" fmla="*/ 46752 w 49256"/>
                      <a:gd name="connsiteY7" fmla="*/ 4918 h 55359"/>
                      <a:gd name="connsiteX8" fmla="*/ 48651 w 49256"/>
                      <a:gd name="connsiteY8" fmla="*/ 16822 h 55359"/>
                      <a:gd name="connsiteX9" fmla="*/ 41257 w 49256"/>
                      <a:gd name="connsiteY9" fmla="*/ 42383 h 55359"/>
                      <a:gd name="connsiteX10" fmla="*/ 24400 w 49256"/>
                      <a:gd name="connsiteY10" fmla="*/ 55359 h 55359"/>
                      <a:gd name="connsiteX11" fmla="*/ 14180 w 49256"/>
                      <a:gd name="connsiteY11" fmla="*/ 41519 h 55359"/>
                      <a:gd name="connsiteX12" fmla="*/ 24404 w 49256"/>
                      <a:gd name="connsiteY12" fmla="*/ 41519 h 55359"/>
                      <a:gd name="connsiteX13" fmla="*/ 27966 w 49256"/>
                      <a:gd name="connsiteY13" fmla="*/ 38538 h 55359"/>
                      <a:gd name="connsiteX14" fmla="*/ 35108 w 49256"/>
                      <a:gd name="connsiteY14" fmla="*/ 13837 h 55359"/>
                      <a:gd name="connsiteX15" fmla="*/ 25081 w 49256"/>
                      <a:gd name="connsiteY15" fmla="*/ 13837 h 55359"/>
                      <a:gd name="connsiteX16" fmla="*/ 21540 w 49256"/>
                      <a:gd name="connsiteY16" fmla="*/ 16874 h 55359"/>
                      <a:gd name="connsiteX17" fmla="*/ 14180 w 49256"/>
                      <a:gd name="connsiteY17" fmla="*/ 41519 h 55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9256" h="55359">
                        <a:moveTo>
                          <a:pt x="24400" y="55359"/>
                        </a:moveTo>
                        <a:lnTo>
                          <a:pt x="12794" y="55359"/>
                        </a:lnTo>
                        <a:cubicBezTo>
                          <a:pt x="8581" y="55359"/>
                          <a:pt x="4811" y="53544"/>
                          <a:pt x="2456" y="50383"/>
                        </a:cubicBezTo>
                        <a:cubicBezTo>
                          <a:pt x="22" y="47111"/>
                          <a:pt x="-642" y="42774"/>
                          <a:pt x="641" y="38479"/>
                        </a:cubicBezTo>
                        <a:lnTo>
                          <a:pt x="8273" y="12921"/>
                        </a:lnTo>
                        <a:cubicBezTo>
                          <a:pt x="10466" y="5554"/>
                          <a:pt x="17694" y="0"/>
                          <a:pt x="25078" y="0"/>
                        </a:cubicBezTo>
                        <a:lnTo>
                          <a:pt x="36519" y="0"/>
                        </a:lnTo>
                        <a:cubicBezTo>
                          <a:pt x="40672" y="0"/>
                          <a:pt x="44400" y="1791"/>
                          <a:pt x="46752" y="4918"/>
                        </a:cubicBezTo>
                        <a:cubicBezTo>
                          <a:pt x="49201" y="8176"/>
                          <a:pt x="49896" y="12516"/>
                          <a:pt x="48651" y="16822"/>
                        </a:cubicBezTo>
                        <a:lnTo>
                          <a:pt x="41257" y="42383"/>
                        </a:lnTo>
                        <a:cubicBezTo>
                          <a:pt x="39123" y="49778"/>
                          <a:pt x="31874" y="55359"/>
                          <a:pt x="24400" y="55359"/>
                        </a:cubicBezTo>
                        <a:close/>
                        <a:moveTo>
                          <a:pt x="14180" y="41519"/>
                        </a:moveTo>
                        <a:lnTo>
                          <a:pt x="24404" y="41519"/>
                        </a:lnTo>
                        <a:cubicBezTo>
                          <a:pt x="25583" y="41519"/>
                          <a:pt x="27523" y="40073"/>
                          <a:pt x="27966" y="38538"/>
                        </a:cubicBezTo>
                        <a:lnTo>
                          <a:pt x="35108" y="13837"/>
                        </a:lnTo>
                        <a:lnTo>
                          <a:pt x="25081" y="13837"/>
                        </a:lnTo>
                        <a:cubicBezTo>
                          <a:pt x="24040" y="13837"/>
                          <a:pt x="22042" y="15200"/>
                          <a:pt x="21540" y="16874"/>
                        </a:cubicBezTo>
                        <a:lnTo>
                          <a:pt x="14180" y="41519"/>
                        </a:lnTo>
                        <a:close/>
                      </a:path>
                    </a:pathLst>
                  </a:custGeom>
                  <a:grpFill/>
                  <a:ln w="345" cap="flat">
                    <a:noFill/>
                    <a:prstDash val="solid"/>
                    <a:miter/>
                  </a:ln>
                </p:spPr>
                <p:txBody>
                  <a:bodyPr rtlCol="0" anchor="ctr"/>
                  <a:lstStyle/>
                  <a:p>
                    <a:endParaRPr lang="en-GB" dirty="0"/>
                  </a:p>
                </p:txBody>
              </p:sp>
            </p:grpSp>
            <p:sp>
              <p:nvSpPr>
                <p:cNvPr id="427" name="Freihandform: Form 128">
                  <a:extLst>
                    <a:ext uri="{FF2B5EF4-FFF2-40B4-BE49-F238E27FC236}">
                      <a16:creationId xmlns:a16="http://schemas.microsoft.com/office/drawing/2014/main" id="{F93166A1-F064-467A-89C2-FB2837342DA1}"/>
                    </a:ext>
                  </a:extLst>
                </p:cNvPr>
                <p:cNvSpPr/>
                <p:nvPr/>
              </p:nvSpPr>
              <p:spPr>
                <a:xfrm>
                  <a:off x="894398" y="1924682"/>
                  <a:ext cx="13840" cy="193770"/>
                </a:xfrm>
                <a:custGeom>
                  <a:avLst/>
                  <a:gdLst>
                    <a:gd name="connsiteX0" fmla="*/ 6920 w 13840"/>
                    <a:gd name="connsiteY0" fmla="*/ 193770 h 193770"/>
                    <a:gd name="connsiteX1" fmla="*/ 0 w 13840"/>
                    <a:gd name="connsiteY1" fmla="*/ 186850 h 193770"/>
                    <a:gd name="connsiteX2" fmla="*/ 0 w 13840"/>
                    <a:gd name="connsiteY2" fmla="*/ 6920 h 193770"/>
                    <a:gd name="connsiteX3" fmla="*/ 6920 w 13840"/>
                    <a:gd name="connsiteY3" fmla="*/ 0 h 193770"/>
                    <a:gd name="connsiteX4" fmla="*/ 13841 w 13840"/>
                    <a:gd name="connsiteY4" fmla="*/ 6920 h 193770"/>
                    <a:gd name="connsiteX5" fmla="*/ 13841 w 13840"/>
                    <a:gd name="connsiteY5" fmla="*/ 186850 h 193770"/>
                    <a:gd name="connsiteX6" fmla="*/ 6920 w 13840"/>
                    <a:gd name="connsiteY6" fmla="*/ 193770 h 193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40" h="193770">
                      <a:moveTo>
                        <a:pt x="6920" y="193770"/>
                      </a:moveTo>
                      <a:cubicBezTo>
                        <a:pt x="3099" y="193770"/>
                        <a:pt x="0" y="190671"/>
                        <a:pt x="0" y="186850"/>
                      </a:cubicBezTo>
                      <a:lnTo>
                        <a:pt x="0" y="6920"/>
                      </a:lnTo>
                      <a:cubicBezTo>
                        <a:pt x="0" y="3099"/>
                        <a:pt x="3099" y="0"/>
                        <a:pt x="6920" y="0"/>
                      </a:cubicBezTo>
                      <a:cubicBezTo>
                        <a:pt x="10742" y="0"/>
                        <a:pt x="13841" y="3099"/>
                        <a:pt x="13841" y="6920"/>
                      </a:cubicBezTo>
                      <a:lnTo>
                        <a:pt x="13841" y="186850"/>
                      </a:lnTo>
                      <a:cubicBezTo>
                        <a:pt x="13841" y="190671"/>
                        <a:pt x="10742" y="193770"/>
                        <a:pt x="6920" y="193770"/>
                      </a:cubicBezTo>
                      <a:close/>
                    </a:path>
                  </a:pathLst>
                </a:custGeom>
                <a:grpFill/>
                <a:ln w="345" cap="flat">
                  <a:noFill/>
                  <a:prstDash val="solid"/>
                  <a:miter/>
                </a:ln>
              </p:spPr>
              <p:txBody>
                <a:bodyPr rtlCol="0" anchor="ctr"/>
                <a:lstStyle/>
                <a:p>
                  <a:endParaRPr lang="en-GB" dirty="0"/>
                </a:p>
              </p:txBody>
            </p:sp>
            <p:sp>
              <p:nvSpPr>
                <p:cNvPr id="428" name="Freihandform: Form 129">
                  <a:extLst>
                    <a:ext uri="{FF2B5EF4-FFF2-40B4-BE49-F238E27FC236}">
                      <a16:creationId xmlns:a16="http://schemas.microsoft.com/office/drawing/2014/main" id="{10321602-CAED-4A02-983F-E10F2A30106D}"/>
                    </a:ext>
                  </a:extLst>
                </p:cNvPr>
                <p:cNvSpPr/>
                <p:nvPr/>
              </p:nvSpPr>
              <p:spPr>
                <a:xfrm>
                  <a:off x="1018964" y="1952364"/>
                  <a:ext cx="13840" cy="166088"/>
                </a:xfrm>
                <a:custGeom>
                  <a:avLst/>
                  <a:gdLst>
                    <a:gd name="connsiteX0" fmla="*/ 6920 w 13840"/>
                    <a:gd name="connsiteY0" fmla="*/ 166089 h 166088"/>
                    <a:gd name="connsiteX1" fmla="*/ 0 w 13840"/>
                    <a:gd name="connsiteY1" fmla="*/ 159168 h 166088"/>
                    <a:gd name="connsiteX2" fmla="*/ 0 w 13840"/>
                    <a:gd name="connsiteY2" fmla="*/ 6920 h 166088"/>
                    <a:gd name="connsiteX3" fmla="*/ 6920 w 13840"/>
                    <a:gd name="connsiteY3" fmla="*/ 0 h 166088"/>
                    <a:gd name="connsiteX4" fmla="*/ 13841 w 13840"/>
                    <a:gd name="connsiteY4" fmla="*/ 6920 h 166088"/>
                    <a:gd name="connsiteX5" fmla="*/ 13841 w 13840"/>
                    <a:gd name="connsiteY5" fmla="*/ 159168 h 166088"/>
                    <a:gd name="connsiteX6" fmla="*/ 6920 w 13840"/>
                    <a:gd name="connsiteY6" fmla="*/ 166089 h 166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40" h="166088">
                      <a:moveTo>
                        <a:pt x="6920" y="166089"/>
                      </a:moveTo>
                      <a:cubicBezTo>
                        <a:pt x="3099" y="166089"/>
                        <a:pt x="0" y="162990"/>
                        <a:pt x="0" y="159168"/>
                      </a:cubicBezTo>
                      <a:lnTo>
                        <a:pt x="0" y="6920"/>
                      </a:lnTo>
                      <a:cubicBezTo>
                        <a:pt x="0" y="3099"/>
                        <a:pt x="3099" y="0"/>
                        <a:pt x="6920" y="0"/>
                      </a:cubicBezTo>
                      <a:cubicBezTo>
                        <a:pt x="10742" y="0"/>
                        <a:pt x="13841" y="3099"/>
                        <a:pt x="13841" y="6920"/>
                      </a:cubicBezTo>
                      <a:lnTo>
                        <a:pt x="13841" y="159168"/>
                      </a:lnTo>
                      <a:cubicBezTo>
                        <a:pt x="13841" y="162990"/>
                        <a:pt x="10742" y="166089"/>
                        <a:pt x="6920" y="166089"/>
                      </a:cubicBezTo>
                      <a:close/>
                    </a:path>
                  </a:pathLst>
                </a:custGeom>
                <a:grpFill/>
                <a:ln w="345" cap="flat">
                  <a:noFill/>
                  <a:prstDash val="solid"/>
                  <a:miter/>
                </a:ln>
              </p:spPr>
              <p:txBody>
                <a:bodyPr rtlCol="0" anchor="ctr"/>
                <a:lstStyle/>
                <a:p>
                  <a:endParaRPr lang="en-GB" dirty="0"/>
                </a:p>
              </p:txBody>
            </p:sp>
            <p:sp>
              <p:nvSpPr>
                <p:cNvPr id="429" name="Freihandform: Form 130">
                  <a:extLst>
                    <a:ext uri="{FF2B5EF4-FFF2-40B4-BE49-F238E27FC236}">
                      <a16:creationId xmlns:a16="http://schemas.microsoft.com/office/drawing/2014/main" id="{0238D3F0-6A20-4A2E-BABA-8A96E4D9F088}"/>
                    </a:ext>
                  </a:extLst>
                </p:cNvPr>
                <p:cNvSpPr/>
                <p:nvPr/>
              </p:nvSpPr>
              <p:spPr>
                <a:xfrm>
                  <a:off x="956681" y="1993886"/>
                  <a:ext cx="13840" cy="124566"/>
                </a:xfrm>
                <a:custGeom>
                  <a:avLst/>
                  <a:gdLst>
                    <a:gd name="connsiteX0" fmla="*/ 6920 w 13840"/>
                    <a:gd name="connsiteY0" fmla="*/ 124567 h 124566"/>
                    <a:gd name="connsiteX1" fmla="*/ 0 w 13840"/>
                    <a:gd name="connsiteY1" fmla="*/ 117646 h 124566"/>
                    <a:gd name="connsiteX2" fmla="*/ 0 w 13840"/>
                    <a:gd name="connsiteY2" fmla="*/ 6920 h 124566"/>
                    <a:gd name="connsiteX3" fmla="*/ 6920 w 13840"/>
                    <a:gd name="connsiteY3" fmla="*/ 0 h 124566"/>
                    <a:gd name="connsiteX4" fmla="*/ 13841 w 13840"/>
                    <a:gd name="connsiteY4" fmla="*/ 6920 h 124566"/>
                    <a:gd name="connsiteX5" fmla="*/ 13841 w 13840"/>
                    <a:gd name="connsiteY5" fmla="*/ 117646 h 124566"/>
                    <a:gd name="connsiteX6" fmla="*/ 6920 w 13840"/>
                    <a:gd name="connsiteY6" fmla="*/ 124567 h 124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40" h="124566">
                      <a:moveTo>
                        <a:pt x="6920" y="124567"/>
                      </a:moveTo>
                      <a:cubicBezTo>
                        <a:pt x="3099" y="124567"/>
                        <a:pt x="0" y="121468"/>
                        <a:pt x="0" y="117646"/>
                      </a:cubicBezTo>
                      <a:lnTo>
                        <a:pt x="0" y="6920"/>
                      </a:lnTo>
                      <a:cubicBezTo>
                        <a:pt x="0" y="3099"/>
                        <a:pt x="3099" y="0"/>
                        <a:pt x="6920" y="0"/>
                      </a:cubicBezTo>
                      <a:cubicBezTo>
                        <a:pt x="10742" y="0"/>
                        <a:pt x="13841" y="3099"/>
                        <a:pt x="13841" y="6920"/>
                      </a:cubicBezTo>
                      <a:lnTo>
                        <a:pt x="13841" y="117646"/>
                      </a:lnTo>
                      <a:cubicBezTo>
                        <a:pt x="13841" y="121468"/>
                        <a:pt x="10742" y="124567"/>
                        <a:pt x="6920" y="124567"/>
                      </a:cubicBezTo>
                      <a:close/>
                    </a:path>
                  </a:pathLst>
                </a:custGeom>
                <a:grpFill/>
                <a:ln w="345" cap="flat">
                  <a:noFill/>
                  <a:prstDash val="solid"/>
                  <a:miter/>
                </a:ln>
              </p:spPr>
              <p:txBody>
                <a:bodyPr rtlCol="0" anchor="ctr"/>
                <a:lstStyle/>
                <a:p>
                  <a:endParaRPr lang="en-GB" dirty="0"/>
                </a:p>
              </p:txBody>
            </p:sp>
            <p:sp>
              <p:nvSpPr>
                <p:cNvPr id="430" name="Freihandform: Form 131">
                  <a:extLst>
                    <a:ext uri="{FF2B5EF4-FFF2-40B4-BE49-F238E27FC236}">
                      <a16:creationId xmlns:a16="http://schemas.microsoft.com/office/drawing/2014/main" id="{CB5CC098-677A-4258-B972-53E37E2D5906}"/>
                    </a:ext>
                  </a:extLst>
                </p:cNvPr>
                <p:cNvSpPr/>
                <p:nvPr/>
              </p:nvSpPr>
              <p:spPr>
                <a:xfrm>
                  <a:off x="922079" y="1758597"/>
                  <a:ext cx="142703" cy="74204"/>
                </a:xfrm>
                <a:custGeom>
                  <a:avLst/>
                  <a:gdLst>
                    <a:gd name="connsiteX0" fmla="*/ 135772 w 142703"/>
                    <a:gd name="connsiteY0" fmla="*/ 74205 h 74204"/>
                    <a:gd name="connsiteX1" fmla="*/ 129049 w 142703"/>
                    <a:gd name="connsiteY1" fmla="*/ 68892 h 74204"/>
                    <a:gd name="connsiteX2" fmla="*/ 62283 w 142703"/>
                    <a:gd name="connsiteY2" fmla="*/ 13841 h 74204"/>
                    <a:gd name="connsiteX3" fmla="*/ 6920 w 142703"/>
                    <a:gd name="connsiteY3" fmla="*/ 13841 h 74204"/>
                    <a:gd name="connsiteX4" fmla="*/ 0 w 142703"/>
                    <a:gd name="connsiteY4" fmla="*/ 6920 h 74204"/>
                    <a:gd name="connsiteX5" fmla="*/ 6920 w 142703"/>
                    <a:gd name="connsiteY5" fmla="*/ 0 h 74204"/>
                    <a:gd name="connsiteX6" fmla="*/ 62283 w 142703"/>
                    <a:gd name="connsiteY6" fmla="*/ 0 h 74204"/>
                    <a:gd name="connsiteX7" fmla="*/ 142512 w 142703"/>
                    <a:gd name="connsiteY7" fmla="*/ 65676 h 74204"/>
                    <a:gd name="connsiteX8" fmla="*/ 137391 w 142703"/>
                    <a:gd name="connsiteY8" fmla="*/ 74014 h 74204"/>
                    <a:gd name="connsiteX9" fmla="*/ 135772 w 142703"/>
                    <a:gd name="connsiteY9" fmla="*/ 74205 h 74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703" h="74204">
                      <a:moveTo>
                        <a:pt x="135772" y="74205"/>
                      </a:moveTo>
                      <a:cubicBezTo>
                        <a:pt x="132642" y="74205"/>
                        <a:pt x="129810" y="72067"/>
                        <a:pt x="129049" y="68892"/>
                      </a:cubicBezTo>
                      <a:cubicBezTo>
                        <a:pt x="121060" y="35449"/>
                        <a:pt x="94852" y="13841"/>
                        <a:pt x="62283" y="13841"/>
                      </a:cubicBezTo>
                      <a:lnTo>
                        <a:pt x="6920" y="13841"/>
                      </a:lnTo>
                      <a:cubicBezTo>
                        <a:pt x="3099" y="13841"/>
                        <a:pt x="0" y="10742"/>
                        <a:pt x="0" y="6920"/>
                      </a:cubicBezTo>
                      <a:cubicBezTo>
                        <a:pt x="0" y="3099"/>
                        <a:pt x="3099" y="0"/>
                        <a:pt x="6920" y="0"/>
                      </a:cubicBezTo>
                      <a:lnTo>
                        <a:pt x="62283" y="0"/>
                      </a:lnTo>
                      <a:cubicBezTo>
                        <a:pt x="101492" y="0"/>
                        <a:pt x="132984" y="25779"/>
                        <a:pt x="142512" y="65676"/>
                      </a:cubicBezTo>
                      <a:cubicBezTo>
                        <a:pt x="143401" y="69394"/>
                        <a:pt x="141108" y="73126"/>
                        <a:pt x="137391" y="74014"/>
                      </a:cubicBezTo>
                      <a:cubicBezTo>
                        <a:pt x="136848" y="74142"/>
                        <a:pt x="136308" y="74205"/>
                        <a:pt x="135772" y="74205"/>
                      </a:cubicBezTo>
                      <a:close/>
                    </a:path>
                  </a:pathLst>
                </a:custGeom>
                <a:grpFill/>
                <a:ln w="345" cap="flat">
                  <a:noFill/>
                  <a:prstDash val="solid"/>
                  <a:miter/>
                </a:ln>
              </p:spPr>
              <p:txBody>
                <a:bodyPr rtlCol="0" anchor="ctr"/>
                <a:lstStyle/>
                <a:p>
                  <a:endParaRPr lang="en-GB" dirty="0"/>
                </a:p>
              </p:txBody>
            </p:sp>
            <p:sp>
              <p:nvSpPr>
                <p:cNvPr id="431" name="Freihandform: Form 132">
                  <a:extLst>
                    <a:ext uri="{FF2B5EF4-FFF2-40B4-BE49-F238E27FC236}">
                      <a16:creationId xmlns:a16="http://schemas.microsoft.com/office/drawing/2014/main" id="{ED6585B2-B02A-487A-AF91-CC73DA1D4731}"/>
                    </a:ext>
                  </a:extLst>
                </p:cNvPr>
                <p:cNvSpPr/>
                <p:nvPr/>
              </p:nvSpPr>
              <p:spPr>
                <a:xfrm>
                  <a:off x="908238" y="1634031"/>
                  <a:ext cx="96885" cy="110725"/>
                </a:xfrm>
                <a:custGeom>
                  <a:avLst/>
                  <a:gdLst>
                    <a:gd name="connsiteX0" fmla="*/ 48443 w 96885"/>
                    <a:gd name="connsiteY0" fmla="*/ 110726 h 110725"/>
                    <a:gd name="connsiteX1" fmla="*/ 0 w 96885"/>
                    <a:gd name="connsiteY1" fmla="*/ 55363 h 110725"/>
                    <a:gd name="connsiteX2" fmla="*/ 48443 w 96885"/>
                    <a:gd name="connsiteY2" fmla="*/ 0 h 110725"/>
                    <a:gd name="connsiteX3" fmla="*/ 96885 w 96885"/>
                    <a:gd name="connsiteY3" fmla="*/ 55363 h 110725"/>
                    <a:gd name="connsiteX4" fmla="*/ 48443 w 96885"/>
                    <a:gd name="connsiteY4" fmla="*/ 110726 h 110725"/>
                    <a:gd name="connsiteX5" fmla="*/ 48443 w 96885"/>
                    <a:gd name="connsiteY5" fmla="*/ 13841 h 110725"/>
                    <a:gd name="connsiteX6" fmla="*/ 13841 w 96885"/>
                    <a:gd name="connsiteY6" fmla="*/ 55363 h 110725"/>
                    <a:gd name="connsiteX7" fmla="*/ 48443 w 96885"/>
                    <a:gd name="connsiteY7" fmla="*/ 96885 h 110725"/>
                    <a:gd name="connsiteX8" fmla="*/ 83044 w 96885"/>
                    <a:gd name="connsiteY8" fmla="*/ 55363 h 110725"/>
                    <a:gd name="connsiteX9" fmla="*/ 48443 w 96885"/>
                    <a:gd name="connsiteY9" fmla="*/ 13841 h 110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885" h="110725">
                      <a:moveTo>
                        <a:pt x="48443" y="110726"/>
                      </a:moveTo>
                      <a:cubicBezTo>
                        <a:pt x="19468" y="110726"/>
                        <a:pt x="0" y="88478"/>
                        <a:pt x="0" y="55363"/>
                      </a:cubicBezTo>
                      <a:cubicBezTo>
                        <a:pt x="0" y="22248"/>
                        <a:pt x="19464" y="0"/>
                        <a:pt x="48443" y="0"/>
                      </a:cubicBezTo>
                      <a:cubicBezTo>
                        <a:pt x="77421" y="0"/>
                        <a:pt x="96885" y="22248"/>
                        <a:pt x="96885" y="55363"/>
                      </a:cubicBezTo>
                      <a:cubicBezTo>
                        <a:pt x="96885" y="88478"/>
                        <a:pt x="77417" y="110726"/>
                        <a:pt x="48443" y="110726"/>
                      </a:cubicBezTo>
                      <a:close/>
                      <a:moveTo>
                        <a:pt x="48443" y="13841"/>
                      </a:moveTo>
                      <a:cubicBezTo>
                        <a:pt x="22902" y="13841"/>
                        <a:pt x="13841" y="36207"/>
                        <a:pt x="13841" y="55363"/>
                      </a:cubicBezTo>
                      <a:cubicBezTo>
                        <a:pt x="13841" y="74519"/>
                        <a:pt x="22902" y="96885"/>
                        <a:pt x="48443" y="96885"/>
                      </a:cubicBezTo>
                      <a:cubicBezTo>
                        <a:pt x="73983" y="96885"/>
                        <a:pt x="83044" y="74519"/>
                        <a:pt x="83044" y="55363"/>
                      </a:cubicBezTo>
                      <a:cubicBezTo>
                        <a:pt x="83044" y="36207"/>
                        <a:pt x="73980" y="13841"/>
                        <a:pt x="48443" y="13841"/>
                      </a:cubicBezTo>
                      <a:close/>
                    </a:path>
                  </a:pathLst>
                </a:custGeom>
                <a:grpFill/>
                <a:ln w="345" cap="flat">
                  <a:noFill/>
                  <a:prstDash val="solid"/>
                  <a:miter/>
                </a:ln>
              </p:spPr>
              <p:txBody>
                <a:bodyPr rtlCol="0" anchor="ctr"/>
                <a:lstStyle/>
                <a:p>
                  <a:endParaRPr lang="en-GB" dirty="0"/>
                </a:p>
              </p:txBody>
            </p:sp>
            <p:sp>
              <p:nvSpPr>
                <p:cNvPr id="432" name="Freihandform: Form 133">
                  <a:extLst>
                    <a:ext uri="{FF2B5EF4-FFF2-40B4-BE49-F238E27FC236}">
                      <a16:creationId xmlns:a16="http://schemas.microsoft.com/office/drawing/2014/main" id="{2FE8598C-07F1-4223-974F-818AAFC1D676}"/>
                    </a:ext>
                  </a:extLst>
                </p:cNvPr>
                <p:cNvSpPr/>
                <p:nvPr/>
              </p:nvSpPr>
              <p:spPr>
                <a:xfrm>
                  <a:off x="852709" y="1758594"/>
                  <a:ext cx="100347" cy="179929"/>
                </a:xfrm>
                <a:custGeom>
                  <a:avLst/>
                  <a:gdLst>
                    <a:gd name="connsiteX0" fmla="*/ 100347 w 100347"/>
                    <a:gd name="connsiteY0" fmla="*/ 179929 h 179929"/>
                    <a:gd name="connsiteX1" fmla="*/ 27681 w 100347"/>
                    <a:gd name="connsiteY1" fmla="*/ 179929 h 179929"/>
                    <a:gd name="connsiteX2" fmla="*/ 0 w 100347"/>
                    <a:gd name="connsiteY2" fmla="*/ 152248 h 179929"/>
                    <a:gd name="connsiteX3" fmla="*/ 0 w 100347"/>
                    <a:gd name="connsiteY3" fmla="*/ 76124 h 179929"/>
                    <a:gd name="connsiteX4" fmla="*/ 76124 w 100347"/>
                    <a:gd name="connsiteY4" fmla="*/ 0 h 179929"/>
                    <a:gd name="connsiteX5" fmla="*/ 99372 w 100347"/>
                    <a:gd name="connsiteY5" fmla="*/ 0 h 179929"/>
                    <a:gd name="connsiteX6" fmla="*/ 99372 w 100347"/>
                    <a:gd name="connsiteY6" fmla="*/ 13841 h 179929"/>
                    <a:gd name="connsiteX7" fmla="*/ 76124 w 100347"/>
                    <a:gd name="connsiteY7" fmla="*/ 13841 h 179929"/>
                    <a:gd name="connsiteX8" fmla="*/ 13841 w 100347"/>
                    <a:gd name="connsiteY8" fmla="*/ 76124 h 179929"/>
                    <a:gd name="connsiteX9" fmla="*/ 13841 w 100347"/>
                    <a:gd name="connsiteY9" fmla="*/ 152248 h 179929"/>
                    <a:gd name="connsiteX10" fmla="*/ 27681 w 100347"/>
                    <a:gd name="connsiteY10" fmla="*/ 166089 h 179929"/>
                    <a:gd name="connsiteX11" fmla="*/ 100347 w 100347"/>
                    <a:gd name="connsiteY11" fmla="*/ 166089 h 179929"/>
                    <a:gd name="connsiteX12" fmla="*/ 100347 w 100347"/>
                    <a:gd name="connsiteY12" fmla="*/ 179929 h 179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347" h="179929">
                      <a:moveTo>
                        <a:pt x="100347" y="179929"/>
                      </a:moveTo>
                      <a:lnTo>
                        <a:pt x="27681" y="179929"/>
                      </a:lnTo>
                      <a:cubicBezTo>
                        <a:pt x="12419" y="179929"/>
                        <a:pt x="0" y="167510"/>
                        <a:pt x="0" y="152248"/>
                      </a:cubicBezTo>
                      <a:lnTo>
                        <a:pt x="0" y="76124"/>
                      </a:lnTo>
                      <a:cubicBezTo>
                        <a:pt x="0" y="34149"/>
                        <a:pt x="34149" y="0"/>
                        <a:pt x="76124" y="0"/>
                      </a:cubicBezTo>
                      <a:lnTo>
                        <a:pt x="99372" y="0"/>
                      </a:lnTo>
                      <a:lnTo>
                        <a:pt x="99372" y="13841"/>
                      </a:lnTo>
                      <a:lnTo>
                        <a:pt x="76124" y="13841"/>
                      </a:lnTo>
                      <a:cubicBezTo>
                        <a:pt x="41782" y="13841"/>
                        <a:pt x="13841" y="41782"/>
                        <a:pt x="13841" y="76124"/>
                      </a:cubicBezTo>
                      <a:lnTo>
                        <a:pt x="13841" y="152248"/>
                      </a:lnTo>
                      <a:cubicBezTo>
                        <a:pt x="13841" y="159881"/>
                        <a:pt x="20049" y="166089"/>
                        <a:pt x="27681" y="166089"/>
                      </a:cubicBezTo>
                      <a:lnTo>
                        <a:pt x="100347" y="166089"/>
                      </a:lnTo>
                      <a:lnTo>
                        <a:pt x="100347" y="179929"/>
                      </a:lnTo>
                      <a:close/>
                    </a:path>
                  </a:pathLst>
                </a:custGeom>
                <a:grpFill/>
                <a:ln w="345" cap="flat">
                  <a:noFill/>
                  <a:prstDash val="solid"/>
                  <a:miter/>
                </a:ln>
              </p:spPr>
              <p:txBody>
                <a:bodyPr rtlCol="0" anchor="ctr"/>
                <a:lstStyle/>
                <a:p>
                  <a:endParaRPr lang="en-GB" dirty="0"/>
                </a:p>
              </p:txBody>
            </p:sp>
            <p:sp>
              <p:nvSpPr>
                <p:cNvPr id="433" name="Freihandform: Form 134">
                  <a:extLst>
                    <a:ext uri="{FF2B5EF4-FFF2-40B4-BE49-F238E27FC236}">
                      <a16:creationId xmlns:a16="http://schemas.microsoft.com/office/drawing/2014/main" id="{094F2284-2896-43B1-B728-7FE8779FBC33}"/>
                    </a:ext>
                  </a:extLst>
                </p:cNvPr>
                <p:cNvSpPr/>
                <p:nvPr/>
              </p:nvSpPr>
              <p:spPr>
                <a:xfrm>
                  <a:off x="894232" y="1841638"/>
                  <a:ext cx="72662" cy="55362"/>
                </a:xfrm>
                <a:custGeom>
                  <a:avLst/>
                  <a:gdLst>
                    <a:gd name="connsiteX0" fmla="*/ 72662 w 72662"/>
                    <a:gd name="connsiteY0" fmla="*/ 55363 h 55362"/>
                    <a:gd name="connsiteX1" fmla="*/ 6920 w 72662"/>
                    <a:gd name="connsiteY1" fmla="*/ 55363 h 55362"/>
                    <a:gd name="connsiteX2" fmla="*/ 0 w 72662"/>
                    <a:gd name="connsiteY2" fmla="*/ 48443 h 55362"/>
                    <a:gd name="connsiteX3" fmla="*/ 0 w 72662"/>
                    <a:gd name="connsiteY3" fmla="*/ 0 h 55362"/>
                    <a:gd name="connsiteX4" fmla="*/ 13841 w 72662"/>
                    <a:gd name="connsiteY4" fmla="*/ 0 h 55362"/>
                    <a:gd name="connsiteX5" fmla="*/ 13841 w 72662"/>
                    <a:gd name="connsiteY5" fmla="*/ 41522 h 55362"/>
                    <a:gd name="connsiteX6" fmla="*/ 72662 w 72662"/>
                    <a:gd name="connsiteY6" fmla="*/ 41522 h 55362"/>
                    <a:gd name="connsiteX7" fmla="*/ 72662 w 72662"/>
                    <a:gd name="connsiteY7" fmla="*/ 55363 h 55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662" h="55362">
                      <a:moveTo>
                        <a:pt x="72662" y="55363"/>
                      </a:moveTo>
                      <a:lnTo>
                        <a:pt x="6920" y="55363"/>
                      </a:lnTo>
                      <a:cubicBezTo>
                        <a:pt x="3099" y="55363"/>
                        <a:pt x="0" y="52264"/>
                        <a:pt x="0" y="48443"/>
                      </a:cubicBezTo>
                      <a:lnTo>
                        <a:pt x="0" y="0"/>
                      </a:lnTo>
                      <a:lnTo>
                        <a:pt x="13841" y="0"/>
                      </a:lnTo>
                      <a:lnTo>
                        <a:pt x="13841" y="41522"/>
                      </a:lnTo>
                      <a:lnTo>
                        <a:pt x="72662" y="41522"/>
                      </a:lnTo>
                      <a:lnTo>
                        <a:pt x="72662" y="55363"/>
                      </a:lnTo>
                      <a:close/>
                    </a:path>
                  </a:pathLst>
                </a:custGeom>
                <a:grpFill/>
                <a:ln w="345" cap="flat">
                  <a:noFill/>
                  <a:prstDash val="solid"/>
                  <a:miter/>
                </a:ln>
              </p:spPr>
              <p:txBody>
                <a:bodyPr rtlCol="0" anchor="ctr"/>
                <a:lstStyle/>
                <a:p>
                  <a:endParaRPr lang="en-GB" dirty="0"/>
                </a:p>
              </p:txBody>
            </p:sp>
            <p:sp>
              <p:nvSpPr>
                <p:cNvPr id="434" name="Freihandform: Form 135">
                  <a:extLst>
                    <a:ext uri="{FF2B5EF4-FFF2-40B4-BE49-F238E27FC236}">
                      <a16:creationId xmlns:a16="http://schemas.microsoft.com/office/drawing/2014/main" id="{BA8DE5AE-A720-4091-9086-4DEE76213053}"/>
                    </a:ext>
                  </a:extLst>
                </p:cNvPr>
                <p:cNvSpPr/>
                <p:nvPr/>
              </p:nvSpPr>
              <p:spPr>
                <a:xfrm>
                  <a:off x="951919" y="1856348"/>
                  <a:ext cx="23212" cy="35759"/>
                </a:xfrm>
                <a:custGeom>
                  <a:avLst/>
                  <a:gdLst>
                    <a:gd name="connsiteX0" fmla="*/ 16296 w 23212"/>
                    <a:gd name="connsiteY0" fmla="*/ 35759 h 35759"/>
                    <a:gd name="connsiteX1" fmla="*/ 9929 w 23212"/>
                    <a:gd name="connsiteY1" fmla="*/ 31557 h 35759"/>
                    <a:gd name="connsiteX2" fmla="*/ 560 w 23212"/>
                    <a:gd name="connsiteY2" fmla="*/ 9641 h 35759"/>
                    <a:gd name="connsiteX3" fmla="*/ 4202 w 23212"/>
                    <a:gd name="connsiteY3" fmla="*/ 559 h 35759"/>
                    <a:gd name="connsiteX4" fmla="*/ 13283 w 23212"/>
                    <a:gd name="connsiteY4" fmla="*/ 4201 h 35759"/>
                    <a:gd name="connsiteX5" fmla="*/ 22652 w 23212"/>
                    <a:gd name="connsiteY5" fmla="*/ 26117 h 35759"/>
                    <a:gd name="connsiteX6" fmla="*/ 19011 w 23212"/>
                    <a:gd name="connsiteY6" fmla="*/ 35199 h 35759"/>
                    <a:gd name="connsiteX7" fmla="*/ 16296 w 23212"/>
                    <a:gd name="connsiteY7" fmla="*/ 35759 h 3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12" h="35759">
                      <a:moveTo>
                        <a:pt x="16296" y="35759"/>
                      </a:moveTo>
                      <a:cubicBezTo>
                        <a:pt x="13609" y="35759"/>
                        <a:pt x="11053" y="34186"/>
                        <a:pt x="9929" y="31557"/>
                      </a:cubicBezTo>
                      <a:lnTo>
                        <a:pt x="560" y="9641"/>
                      </a:lnTo>
                      <a:cubicBezTo>
                        <a:pt x="-945" y="6127"/>
                        <a:pt x="688" y="2060"/>
                        <a:pt x="4202" y="559"/>
                      </a:cubicBezTo>
                      <a:cubicBezTo>
                        <a:pt x="7705" y="-942"/>
                        <a:pt x="11783" y="680"/>
                        <a:pt x="13283" y="4201"/>
                      </a:cubicBezTo>
                      <a:lnTo>
                        <a:pt x="22652" y="26117"/>
                      </a:lnTo>
                      <a:cubicBezTo>
                        <a:pt x="24157" y="29631"/>
                        <a:pt x="22524" y="33698"/>
                        <a:pt x="19011" y="35199"/>
                      </a:cubicBezTo>
                      <a:cubicBezTo>
                        <a:pt x="18129" y="35576"/>
                        <a:pt x="17205" y="35759"/>
                        <a:pt x="16296" y="35759"/>
                      </a:cubicBezTo>
                      <a:close/>
                    </a:path>
                  </a:pathLst>
                </a:custGeom>
                <a:grpFill/>
                <a:ln w="345" cap="flat">
                  <a:noFill/>
                  <a:prstDash val="solid"/>
                  <a:miter/>
                </a:ln>
              </p:spPr>
              <p:txBody>
                <a:bodyPr rtlCol="0" anchor="ctr"/>
                <a:lstStyle/>
                <a:p>
                  <a:endParaRPr lang="en-GB" dirty="0"/>
                </a:p>
              </p:txBody>
            </p:sp>
          </p:grpSp>
          <p:sp>
            <p:nvSpPr>
              <p:cNvPr id="423" name="Freihandform: Form 138">
                <a:extLst>
                  <a:ext uri="{FF2B5EF4-FFF2-40B4-BE49-F238E27FC236}">
                    <a16:creationId xmlns:a16="http://schemas.microsoft.com/office/drawing/2014/main" id="{4C27D09D-6337-4F8D-BAD6-D423F22996DC}"/>
                  </a:ext>
                </a:extLst>
              </p:cNvPr>
              <p:cNvSpPr/>
              <p:nvPr/>
            </p:nvSpPr>
            <p:spPr>
              <a:xfrm>
                <a:off x="1143213" y="1706253"/>
                <a:ext cx="103805" cy="103801"/>
              </a:xfrm>
              <a:custGeom>
                <a:avLst/>
                <a:gdLst>
                  <a:gd name="connsiteX0" fmla="*/ 51901 w 103805"/>
                  <a:gd name="connsiteY0" fmla="*/ 103802 h 103801"/>
                  <a:gd name="connsiteX1" fmla="*/ 0 w 103805"/>
                  <a:gd name="connsiteY1" fmla="*/ 51901 h 103801"/>
                  <a:gd name="connsiteX2" fmla="*/ 51901 w 103805"/>
                  <a:gd name="connsiteY2" fmla="*/ 0 h 103801"/>
                  <a:gd name="connsiteX3" fmla="*/ 68412 w 103805"/>
                  <a:gd name="connsiteY3" fmla="*/ 2684 h 103801"/>
                  <a:gd name="connsiteX4" fmla="*/ 72773 w 103805"/>
                  <a:gd name="connsiteY4" fmla="*/ 11444 h 103801"/>
                  <a:gd name="connsiteX5" fmla="*/ 64013 w 103805"/>
                  <a:gd name="connsiteY5" fmla="*/ 15805 h 103801"/>
                  <a:gd name="connsiteX6" fmla="*/ 51901 w 103805"/>
                  <a:gd name="connsiteY6" fmla="*/ 13837 h 103801"/>
                  <a:gd name="connsiteX7" fmla="*/ 13841 w 103805"/>
                  <a:gd name="connsiteY7" fmla="*/ 51898 h 103801"/>
                  <a:gd name="connsiteX8" fmla="*/ 51901 w 103805"/>
                  <a:gd name="connsiteY8" fmla="*/ 89958 h 103801"/>
                  <a:gd name="connsiteX9" fmla="*/ 89965 w 103805"/>
                  <a:gd name="connsiteY9" fmla="*/ 51898 h 103801"/>
                  <a:gd name="connsiteX10" fmla="*/ 89740 w 103805"/>
                  <a:gd name="connsiteY10" fmla="*/ 47737 h 103801"/>
                  <a:gd name="connsiteX11" fmla="*/ 95868 w 103805"/>
                  <a:gd name="connsiteY11" fmla="*/ 40108 h 103801"/>
                  <a:gd name="connsiteX12" fmla="*/ 103498 w 103805"/>
                  <a:gd name="connsiteY12" fmla="*/ 46236 h 103801"/>
                  <a:gd name="connsiteX13" fmla="*/ 103805 w 103805"/>
                  <a:gd name="connsiteY13" fmla="*/ 51898 h 103801"/>
                  <a:gd name="connsiteX14" fmla="*/ 51901 w 103805"/>
                  <a:gd name="connsiteY14" fmla="*/ 103802 h 10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805" h="103801">
                    <a:moveTo>
                      <a:pt x="51901" y="103802"/>
                    </a:moveTo>
                    <a:cubicBezTo>
                      <a:pt x="23279" y="103802"/>
                      <a:pt x="0" y="80520"/>
                      <a:pt x="0" y="51901"/>
                    </a:cubicBezTo>
                    <a:cubicBezTo>
                      <a:pt x="0" y="23279"/>
                      <a:pt x="23282" y="0"/>
                      <a:pt x="51901" y="0"/>
                    </a:cubicBezTo>
                    <a:cubicBezTo>
                      <a:pt x="57542" y="0"/>
                      <a:pt x="63096" y="903"/>
                      <a:pt x="68412" y="2684"/>
                    </a:cubicBezTo>
                    <a:cubicBezTo>
                      <a:pt x="72033" y="3898"/>
                      <a:pt x="73987" y="7820"/>
                      <a:pt x="72773" y="11444"/>
                    </a:cubicBezTo>
                    <a:cubicBezTo>
                      <a:pt x="71562" y="15068"/>
                      <a:pt x="67637" y="17029"/>
                      <a:pt x="64013" y="15805"/>
                    </a:cubicBezTo>
                    <a:cubicBezTo>
                      <a:pt x="60118" y="14501"/>
                      <a:pt x="56044" y="13837"/>
                      <a:pt x="51901" y="13837"/>
                    </a:cubicBezTo>
                    <a:cubicBezTo>
                      <a:pt x="30915" y="13837"/>
                      <a:pt x="13841" y="30912"/>
                      <a:pt x="13841" y="51898"/>
                    </a:cubicBezTo>
                    <a:cubicBezTo>
                      <a:pt x="13841" y="72883"/>
                      <a:pt x="30915" y="89958"/>
                      <a:pt x="51901" y="89958"/>
                    </a:cubicBezTo>
                    <a:cubicBezTo>
                      <a:pt x="72890" y="89958"/>
                      <a:pt x="89965" y="72883"/>
                      <a:pt x="89965" y="51898"/>
                    </a:cubicBezTo>
                    <a:cubicBezTo>
                      <a:pt x="89965" y="50493"/>
                      <a:pt x="89889" y="49103"/>
                      <a:pt x="89740" y="47737"/>
                    </a:cubicBezTo>
                    <a:cubicBezTo>
                      <a:pt x="89325" y="43940"/>
                      <a:pt x="92071" y="40523"/>
                      <a:pt x="95868" y="40108"/>
                    </a:cubicBezTo>
                    <a:cubicBezTo>
                      <a:pt x="99590" y="39679"/>
                      <a:pt x="103086" y="42432"/>
                      <a:pt x="103498" y="46236"/>
                    </a:cubicBezTo>
                    <a:cubicBezTo>
                      <a:pt x="103702" y="48093"/>
                      <a:pt x="103805" y="49985"/>
                      <a:pt x="103805" y="51898"/>
                    </a:cubicBezTo>
                    <a:cubicBezTo>
                      <a:pt x="103809" y="80520"/>
                      <a:pt x="80523" y="103802"/>
                      <a:pt x="51901" y="103802"/>
                    </a:cubicBezTo>
                    <a:close/>
                  </a:path>
                </a:pathLst>
              </a:custGeom>
              <a:grpFill/>
              <a:ln w="345" cap="flat">
                <a:noFill/>
                <a:prstDash val="solid"/>
                <a:miter/>
              </a:ln>
            </p:spPr>
            <p:txBody>
              <a:bodyPr rtlCol="0" anchor="ctr"/>
              <a:lstStyle/>
              <a:p>
                <a:endParaRPr lang="en-GB" dirty="0"/>
              </a:p>
            </p:txBody>
          </p:sp>
          <p:sp>
            <p:nvSpPr>
              <p:cNvPr id="424" name="Freihandform: Form 141">
                <a:extLst>
                  <a:ext uri="{FF2B5EF4-FFF2-40B4-BE49-F238E27FC236}">
                    <a16:creationId xmlns:a16="http://schemas.microsoft.com/office/drawing/2014/main" id="{81A2FC78-3AC7-490D-8C43-FE94412D42FA}"/>
                  </a:ext>
                </a:extLst>
              </p:cNvPr>
              <p:cNvSpPr/>
              <p:nvPr/>
            </p:nvSpPr>
            <p:spPr>
              <a:xfrm>
                <a:off x="1143213" y="1836734"/>
                <a:ext cx="103805" cy="103801"/>
              </a:xfrm>
              <a:custGeom>
                <a:avLst/>
                <a:gdLst>
                  <a:gd name="connsiteX0" fmla="*/ 51901 w 103805"/>
                  <a:gd name="connsiteY0" fmla="*/ 103802 h 103801"/>
                  <a:gd name="connsiteX1" fmla="*/ 0 w 103805"/>
                  <a:gd name="connsiteY1" fmla="*/ 51901 h 103801"/>
                  <a:gd name="connsiteX2" fmla="*/ 51901 w 103805"/>
                  <a:gd name="connsiteY2" fmla="*/ 0 h 103801"/>
                  <a:gd name="connsiteX3" fmla="*/ 68412 w 103805"/>
                  <a:gd name="connsiteY3" fmla="*/ 2680 h 103801"/>
                  <a:gd name="connsiteX4" fmla="*/ 72773 w 103805"/>
                  <a:gd name="connsiteY4" fmla="*/ 11441 h 103801"/>
                  <a:gd name="connsiteX5" fmla="*/ 64013 w 103805"/>
                  <a:gd name="connsiteY5" fmla="*/ 15802 h 103801"/>
                  <a:gd name="connsiteX6" fmla="*/ 51901 w 103805"/>
                  <a:gd name="connsiteY6" fmla="*/ 13837 h 103801"/>
                  <a:gd name="connsiteX7" fmla="*/ 13841 w 103805"/>
                  <a:gd name="connsiteY7" fmla="*/ 51898 h 103801"/>
                  <a:gd name="connsiteX8" fmla="*/ 51901 w 103805"/>
                  <a:gd name="connsiteY8" fmla="*/ 89958 h 103801"/>
                  <a:gd name="connsiteX9" fmla="*/ 89965 w 103805"/>
                  <a:gd name="connsiteY9" fmla="*/ 51898 h 103801"/>
                  <a:gd name="connsiteX10" fmla="*/ 89740 w 103805"/>
                  <a:gd name="connsiteY10" fmla="*/ 47734 h 103801"/>
                  <a:gd name="connsiteX11" fmla="*/ 95868 w 103805"/>
                  <a:gd name="connsiteY11" fmla="*/ 40104 h 103801"/>
                  <a:gd name="connsiteX12" fmla="*/ 103498 w 103805"/>
                  <a:gd name="connsiteY12" fmla="*/ 46233 h 103801"/>
                  <a:gd name="connsiteX13" fmla="*/ 103805 w 103805"/>
                  <a:gd name="connsiteY13" fmla="*/ 51898 h 103801"/>
                  <a:gd name="connsiteX14" fmla="*/ 51901 w 103805"/>
                  <a:gd name="connsiteY14" fmla="*/ 103802 h 10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805" h="103801">
                    <a:moveTo>
                      <a:pt x="51901" y="103802"/>
                    </a:moveTo>
                    <a:cubicBezTo>
                      <a:pt x="23279" y="103802"/>
                      <a:pt x="0" y="80520"/>
                      <a:pt x="0" y="51901"/>
                    </a:cubicBezTo>
                    <a:cubicBezTo>
                      <a:pt x="0" y="23282"/>
                      <a:pt x="23282" y="0"/>
                      <a:pt x="51901" y="0"/>
                    </a:cubicBezTo>
                    <a:cubicBezTo>
                      <a:pt x="57549" y="0"/>
                      <a:pt x="63103" y="903"/>
                      <a:pt x="68412" y="2680"/>
                    </a:cubicBezTo>
                    <a:cubicBezTo>
                      <a:pt x="72033" y="3894"/>
                      <a:pt x="73987" y="7816"/>
                      <a:pt x="72773" y="11441"/>
                    </a:cubicBezTo>
                    <a:cubicBezTo>
                      <a:pt x="71562" y="15065"/>
                      <a:pt x="67637" y="17019"/>
                      <a:pt x="64013" y="15802"/>
                    </a:cubicBezTo>
                    <a:cubicBezTo>
                      <a:pt x="60125" y="14498"/>
                      <a:pt x="56051" y="13837"/>
                      <a:pt x="51901" y="13837"/>
                    </a:cubicBezTo>
                    <a:cubicBezTo>
                      <a:pt x="30915" y="13837"/>
                      <a:pt x="13841" y="30912"/>
                      <a:pt x="13841" y="51898"/>
                    </a:cubicBezTo>
                    <a:cubicBezTo>
                      <a:pt x="13841" y="72883"/>
                      <a:pt x="30915" y="89958"/>
                      <a:pt x="51901" y="89958"/>
                    </a:cubicBezTo>
                    <a:cubicBezTo>
                      <a:pt x="72890" y="89958"/>
                      <a:pt x="89965" y="72883"/>
                      <a:pt x="89965" y="51898"/>
                    </a:cubicBezTo>
                    <a:cubicBezTo>
                      <a:pt x="89965" y="50490"/>
                      <a:pt x="89889" y="49100"/>
                      <a:pt x="89740" y="47734"/>
                    </a:cubicBezTo>
                    <a:cubicBezTo>
                      <a:pt x="89325" y="43936"/>
                      <a:pt x="92071" y="40519"/>
                      <a:pt x="95868" y="40104"/>
                    </a:cubicBezTo>
                    <a:cubicBezTo>
                      <a:pt x="99590" y="39703"/>
                      <a:pt x="103086" y="42428"/>
                      <a:pt x="103498" y="46233"/>
                    </a:cubicBezTo>
                    <a:cubicBezTo>
                      <a:pt x="103702" y="48090"/>
                      <a:pt x="103805" y="49982"/>
                      <a:pt x="103805" y="51898"/>
                    </a:cubicBezTo>
                    <a:cubicBezTo>
                      <a:pt x="103809" y="80520"/>
                      <a:pt x="80523" y="103802"/>
                      <a:pt x="51901" y="103802"/>
                    </a:cubicBezTo>
                    <a:close/>
                  </a:path>
                </a:pathLst>
              </a:custGeom>
              <a:grpFill/>
              <a:ln w="345" cap="flat">
                <a:noFill/>
                <a:prstDash val="solid"/>
                <a:miter/>
              </a:ln>
            </p:spPr>
            <p:txBody>
              <a:bodyPr rtlCol="0" anchor="ctr"/>
              <a:lstStyle/>
              <a:p>
                <a:endParaRPr lang="en-GB" dirty="0"/>
              </a:p>
            </p:txBody>
          </p:sp>
          <p:sp>
            <p:nvSpPr>
              <p:cNvPr id="425" name="Freihandform: Form 144">
                <a:extLst>
                  <a:ext uri="{FF2B5EF4-FFF2-40B4-BE49-F238E27FC236}">
                    <a16:creationId xmlns:a16="http://schemas.microsoft.com/office/drawing/2014/main" id="{5A49FD53-252D-4C26-92DB-B6AE11E27BEC}"/>
                  </a:ext>
                </a:extLst>
              </p:cNvPr>
              <p:cNvSpPr/>
              <p:nvPr/>
            </p:nvSpPr>
            <p:spPr>
              <a:xfrm>
                <a:off x="1143213" y="1967211"/>
                <a:ext cx="103805" cy="103802"/>
              </a:xfrm>
              <a:custGeom>
                <a:avLst/>
                <a:gdLst>
                  <a:gd name="connsiteX0" fmla="*/ 51901 w 103805"/>
                  <a:gd name="connsiteY0" fmla="*/ 103802 h 103802"/>
                  <a:gd name="connsiteX1" fmla="*/ 0 w 103805"/>
                  <a:gd name="connsiteY1" fmla="*/ 51901 h 103802"/>
                  <a:gd name="connsiteX2" fmla="*/ 51901 w 103805"/>
                  <a:gd name="connsiteY2" fmla="*/ 0 h 103802"/>
                  <a:gd name="connsiteX3" fmla="*/ 68412 w 103805"/>
                  <a:gd name="connsiteY3" fmla="*/ 2684 h 103802"/>
                  <a:gd name="connsiteX4" fmla="*/ 72773 w 103805"/>
                  <a:gd name="connsiteY4" fmla="*/ 11444 h 103802"/>
                  <a:gd name="connsiteX5" fmla="*/ 64013 w 103805"/>
                  <a:gd name="connsiteY5" fmla="*/ 15805 h 103802"/>
                  <a:gd name="connsiteX6" fmla="*/ 51901 w 103805"/>
                  <a:gd name="connsiteY6" fmla="*/ 13837 h 103802"/>
                  <a:gd name="connsiteX7" fmla="*/ 13841 w 103805"/>
                  <a:gd name="connsiteY7" fmla="*/ 51898 h 103802"/>
                  <a:gd name="connsiteX8" fmla="*/ 51901 w 103805"/>
                  <a:gd name="connsiteY8" fmla="*/ 89958 h 103802"/>
                  <a:gd name="connsiteX9" fmla="*/ 89965 w 103805"/>
                  <a:gd name="connsiteY9" fmla="*/ 51898 h 103802"/>
                  <a:gd name="connsiteX10" fmla="*/ 89740 w 103805"/>
                  <a:gd name="connsiteY10" fmla="*/ 47730 h 103802"/>
                  <a:gd name="connsiteX11" fmla="*/ 95872 w 103805"/>
                  <a:gd name="connsiteY11" fmla="*/ 40104 h 103802"/>
                  <a:gd name="connsiteX12" fmla="*/ 103498 w 103805"/>
                  <a:gd name="connsiteY12" fmla="*/ 46236 h 103802"/>
                  <a:gd name="connsiteX13" fmla="*/ 103805 w 103805"/>
                  <a:gd name="connsiteY13" fmla="*/ 51898 h 103802"/>
                  <a:gd name="connsiteX14" fmla="*/ 51901 w 103805"/>
                  <a:gd name="connsiteY14" fmla="*/ 103802 h 10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805" h="103802">
                    <a:moveTo>
                      <a:pt x="51901" y="103802"/>
                    </a:moveTo>
                    <a:cubicBezTo>
                      <a:pt x="23279" y="103802"/>
                      <a:pt x="0" y="80520"/>
                      <a:pt x="0" y="51901"/>
                    </a:cubicBezTo>
                    <a:cubicBezTo>
                      <a:pt x="0" y="23279"/>
                      <a:pt x="23282" y="0"/>
                      <a:pt x="51901" y="0"/>
                    </a:cubicBezTo>
                    <a:cubicBezTo>
                      <a:pt x="57542" y="0"/>
                      <a:pt x="63096" y="903"/>
                      <a:pt x="68412" y="2684"/>
                    </a:cubicBezTo>
                    <a:cubicBezTo>
                      <a:pt x="72033" y="3898"/>
                      <a:pt x="73987" y="7820"/>
                      <a:pt x="72773" y="11444"/>
                    </a:cubicBezTo>
                    <a:cubicBezTo>
                      <a:pt x="71562" y="15065"/>
                      <a:pt x="67637" y="17016"/>
                      <a:pt x="64013" y="15805"/>
                    </a:cubicBezTo>
                    <a:cubicBezTo>
                      <a:pt x="60118" y="14501"/>
                      <a:pt x="56044" y="13837"/>
                      <a:pt x="51901" y="13837"/>
                    </a:cubicBezTo>
                    <a:cubicBezTo>
                      <a:pt x="30915" y="13837"/>
                      <a:pt x="13841" y="30912"/>
                      <a:pt x="13841" y="51898"/>
                    </a:cubicBezTo>
                    <a:cubicBezTo>
                      <a:pt x="13841" y="72883"/>
                      <a:pt x="30915" y="89958"/>
                      <a:pt x="51901" y="89958"/>
                    </a:cubicBezTo>
                    <a:cubicBezTo>
                      <a:pt x="72890" y="89958"/>
                      <a:pt x="89965" y="72883"/>
                      <a:pt x="89965" y="51898"/>
                    </a:cubicBezTo>
                    <a:cubicBezTo>
                      <a:pt x="89965" y="50493"/>
                      <a:pt x="89889" y="49103"/>
                      <a:pt x="89740" y="47730"/>
                    </a:cubicBezTo>
                    <a:cubicBezTo>
                      <a:pt x="89328" y="43933"/>
                      <a:pt x="92071" y="40516"/>
                      <a:pt x="95872" y="40104"/>
                    </a:cubicBezTo>
                    <a:cubicBezTo>
                      <a:pt x="99680" y="39703"/>
                      <a:pt x="103083" y="42435"/>
                      <a:pt x="103498" y="46236"/>
                    </a:cubicBezTo>
                    <a:cubicBezTo>
                      <a:pt x="103702" y="48093"/>
                      <a:pt x="103805" y="49985"/>
                      <a:pt x="103805" y="51898"/>
                    </a:cubicBezTo>
                    <a:cubicBezTo>
                      <a:pt x="103809" y="80520"/>
                      <a:pt x="80523" y="103802"/>
                      <a:pt x="51901" y="103802"/>
                    </a:cubicBezTo>
                    <a:close/>
                  </a:path>
                </a:pathLst>
              </a:custGeom>
              <a:grpFill/>
              <a:ln w="345" cap="flat">
                <a:noFill/>
                <a:prstDash val="solid"/>
                <a:miter/>
              </a:ln>
            </p:spPr>
            <p:txBody>
              <a:bodyPr rtlCol="0" anchor="ctr"/>
              <a:lstStyle/>
              <a:p>
                <a:endParaRPr lang="en-GB" dirty="0"/>
              </a:p>
            </p:txBody>
          </p:sp>
        </p:grpSp>
        <p:grpSp>
          <p:nvGrpSpPr>
            <p:cNvPr id="418" name="Gruppieren 7">
              <a:extLst>
                <a:ext uri="{FF2B5EF4-FFF2-40B4-BE49-F238E27FC236}">
                  <a16:creationId xmlns:a16="http://schemas.microsoft.com/office/drawing/2014/main" id="{19314A71-626E-485D-8787-D0E7854EEACC}"/>
                </a:ext>
              </a:extLst>
            </p:cNvPr>
            <p:cNvGrpSpPr/>
            <p:nvPr/>
          </p:nvGrpSpPr>
          <p:grpSpPr>
            <a:xfrm>
              <a:off x="7406026" y="2470912"/>
              <a:ext cx="68916" cy="301229"/>
              <a:chOff x="1169740" y="1706241"/>
              <a:chExt cx="77279" cy="337782"/>
            </a:xfrm>
          </p:grpSpPr>
          <p:sp>
            <p:nvSpPr>
              <p:cNvPr id="419" name="Freihandform: Form 139">
                <a:extLst>
                  <a:ext uri="{FF2B5EF4-FFF2-40B4-BE49-F238E27FC236}">
                    <a16:creationId xmlns:a16="http://schemas.microsoft.com/office/drawing/2014/main" id="{A5949CC7-68DC-4B85-8A46-CC98CC4EB831}"/>
                  </a:ext>
                </a:extLst>
              </p:cNvPr>
              <p:cNvSpPr/>
              <p:nvPr/>
            </p:nvSpPr>
            <p:spPr>
              <a:xfrm>
                <a:off x="1169740" y="1706241"/>
                <a:ext cx="77279" cy="76825"/>
              </a:xfrm>
              <a:custGeom>
                <a:avLst/>
                <a:gdLst>
                  <a:gd name="connsiteX0" fmla="*/ 25370 w 77279"/>
                  <a:gd name="connsiteY0" fmla="*/ 76825 h 76825"/>
                  <a:gd name="connsiteX1" fmla="*/ 20539 w 77279"/>
                  <a:gd name="connsiteY1" fmla="*/ 74857 h 76825"/>
                  <a:gd name="connsiteX2" fmla="*/ 2088 w 77279"/>
                  <a:gd name="connsiteY2" fmla="*/ 56863 h 76825"/>
                  <a:gd name="connsiteX3" fmla="*/ 1967 w 77279"/>
                  <a:gd name="connsiteY3" fmla="*/ 47076 h 76825"/>
                  <a:gd name="connsiteX4" fmla="*/ 11755 w 77279"/>
                  <a:gd name="connsiteY4" fmla="*/ 46955 h 76825"/>
                  <a:gd name="connsiteX5" fmla="*/ 24430 w 77279"/>
                  <a:gd name="connsiteY5" fmla="*/ 59315 h 76825"/>
                  <a:gd name="connsiteX6" fmla="*/ 64731 w 77279"/>
                  <a:gd name="connsiteY6" fmla="*/ 2904 h 76825"/>
                  <a:gd name="connsiteX7" fmla="*/ 74380 w 77279"/>
                  <a:gd name="connsiteY7" fmla="*/ 1296 h 76825"/>
                  <a:gd name="connsiteX8" fmla="*/ 75988 w 77279"/>
                  <a:gd name="connsiteY8" fmla="*/ 10945 h 76825"/>
                  <a:gd name="connsiteX9" fmla="*/ 31001 w 77279"/>
                  <a:gd name="connsiteY9" fmla="*/ 73920 h 76825"/>
                  <a:gd name="connsiteX10" fmla="*/ 25986 w 77279"/>
                  <a:gd name="connsiteY10" fmla="*/ 76791 h 76825"/>
                  <a:gd name="connsiteX11" fmla="*/ 25370 w 77279"/>
                  <a:gd name="connsiteY11" fmla="*/ 76825 h 76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279" h="76825">
                    <a:moveTo>
                      <a:pt x="25370" y="76825"/>
                    </a:moveTo>
                    <a:cubicBezTo>
                      <a:pt x="23572" y="76825"/>
                      <a:pt x="21836" y="76127"/>
                      <a:pt x="20539" y="74857"/>
                    </a:cubicBezTo>
                    <a:lnTo>
                      <a:pt x="2088" y="56863"/>
                    </a:lnTo>
                    <a:cubicBezTo>
                      <a:pt x="-647" y="54193"/>
                      <a:pt x="-703" y="49815"/>
                      <a:pt x="1967" y="47076"/>
                    </a:cubicBezTo>
                    <a:cubicBezTo>
                      <a:pt x="4634" y="44343"/>
                      <a:pt x="9019" y="44281"/>
                      <a:pt x="11755" y="46955"/>
                    </a:cubicBezTo>
                    <a:lnTo>
                      <a:pt x="24430" y="59315"/>
                    </a:lnTo>
                    <a:lnTo>
                      <a:pt x="64731" y="2904"/>
                    </a:lnTo>
                    <a:cubicBezTo>
                      <a:pt x="66948" y="-208"/>
                      <a:pt x="71274" y="-938"/>
                      <a:pt x="74380" y="1296"/>
                    </a:cubicBezTo>
                    <a:cubicBezTo>
                      <a:pt x="77493" y="3516"/>
                      <a:pt x="78212" y="7839"/>
                      <a:pt x="75988" y="10945"/>
                    </a:cubicBezTo>
                    <a:lnTo>
                      <a:pt x="31001" y="73920"/>
                    </a:lnTo>
                    <a:cubicBezTo>
                      <a:pt x="29828" y="75566"/>
                      <a:pt x="27995" y="76614"/>
                      <a:pt x="25986" y="76791"/>
                    </a:cubicBezTo>
                    <a:cubicBezTo>
                      <a:pt x="25779" y="76815"/>
                      <a:pt x="25574" y="76825"/>
                      <a:pt x="25370" y="76825"/>
                    </a:cubicBezTo>
                    <a:close/>
                  </a:path>
                </a:pathLst>
              </a:custGeom>
              <a:solidFill>
                <a:schemeClr val="accent1"/>
              </a:solidFill>
              <a:ln w="345" cap="flat">
                <a:noFill/>
                <a:prstDash val="solid"/>
                <a:miter/>
              </a:ln>
            </p:spPr>
            <p:txBody>
              <a:bodyPr rtlCol="0" anchor="ctr"/>
              <a:lstStyle/>
              <a:p>
                <a:endParaRPr lang="en-GB" dirty="0"/>
              </a:p>
            </p:txBody>
          </p:sp>
          <p:sp>
            <p:nvSpPr>
              <p:cNvPr id="420" name="Freihandform: Form 142">
                <a:extLst>
                  <a:ext uri="{FF2B5EF4-FFF2-40B4-BE49-F238E27FC236}">
                    <a16:creationId xmlns:a16="http://schemas.microsoft.com/office/drawing/2014/main" id="{53A9484C-0766-4CB4-9893-C20356E2DDC3}"/>
                  </a:ext>
                </a:extLst>
              </p:cNvPr>
              <p:cNvSpPr/>
              <p:nvPr/>
            </p:nvSpPr>
            <p:spPr>
              <a:xfrm>
                <a:off x="1169740" y="1836718"/>
                <a:ext cx="77279" cy="76824"/>
              </a:xfrm>
              <a:custGeom>
                <a:avLst/>
                <a:gdLst>
                  <a:gd name="connsiteX0" fmla="*/ 25370 w 77279"/>
                  <a:gd name="connsiteY0" fmla="*/ 76825 h 76824"/>
                  <a:gd name="connsiteX1" fmla="*/ 20539 w 77279"/>
                  <a:gd name="connsiteY1" fmla="*/ 74857 h 76824"/>
                  <a:gd name="connsiteX2" fmla="*/ 2088 w 77279"/>
                  <a:gd name="connsiteY2" fmla="*/ 56866 h 76824"/>
                  <a:gd name="connsiteX3" fmla="*/ 1967 w 77279"/>
                  <a:gd name="connsiteY3" fmla="*/ 47078 h 76824"/>
                  <a:gd name="connsiteX4" fmla="*/ 11755 w 77279"/>
                  <a:gd name="connsiteY4" fmla="*/ 46957 h 76824"/>
                  <a:gd name="connsiteX5" fmla="*/ 24430 w 77279"/>
                  <a:gd name="connsiteY5" fmla="*/ 59314 h 76824"/>
                  <a:gd name="connsiteX6" fmla="*/ 64731 w 77279"/>
                  <a:gd name="connsiteY6" fmla="*/ 2904 h 76824"/>
                  <a:gd name="connsiteX7" fmla="*/ 74380 w 77279"/>
                  <a:gd name="connsiteY7" fmla="*/ 1296 h 76824"/>
                  <a:gd name="connsiteX8" fmla="*/ 75988 w 77279"/>
                  <a:gd name="connsiteY8" fmla="*/ 10945 h 76824"/>
                  <a:gd name="connsiteX9" fmla="*/ 31001 w 77279"/>
                  <a:gd name="connsiteY9" fmla="*/ 73920 h 76824"/>
                  <a:gd name="connsiteX10" fmla="*/ 25986 w 77279"/>
                  <a:gd name="connsiteY10" fmla="*/ 76790 h 76824"/>
                  <a:gd name="connsiteX11" fmla="*/ 25370 w 77279"/>
                  <a:gd name="connsiteY11" fmla="*/ 76825 h 76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279" h="76824">
                    <a:moveTo>
                      <a:pt x="25370" y="76825"/>
                    </a:moveTo>
                    <a:cubicBezTo>
                      <a:pt x="23572" y="76825"/>
                      <a:pt x="21836" y="76126"/>
                      <a:pt x="20539" y="74857"/>
                    </a:cubicBezTo>
                    <a:lnTo>
                      <a:pt x="2088" y="56866"/>
                    </a:lnTo>
                    <a:cubicBezTo>
                      <a:pt x="-647" y="54199"/>
                      <a:pt x="-703" y="49818"/>
                      <a:pt x="1967" y="47078"/>
                    </a:cubicBezTo>
                    <a:cubicBezTo>
                      <a:pt x="4634" y="44346"/>
                      <a:pt x="9019" y="44284"/>
                      <a:pt x="11755" y="46957"/>
                    </a:cubicBezTo>
                    <a:lnTo>
                      <a:pt x="24430" y="59314"/>
                    </a:lnTo>
                    <a:lnTo>
                      <a:pt x="64731" y="2904"/>
                    </a:lnTo>
                    <a:cubicBezTo>
                      <a:pt x="66948" y="-212"/>
                      <a:pt x="71274" y="-935"/>
                      <a:pt x="74380" y="1296"/>
                    </a:cubicBezTo>
                    <a:cubicBezTo>
                      <a:pt x="77493" y="3516"/>
                      <a:pt x="78212" y="7839"/>
                      <a:pt x="75988" y="10945"/>
                    </a:cubicBezTo>
                    <a:lnTo>
                      <a:pt x="31001" y="73920"/>
                    </a:lnTo>
                    <a:cubicBezTo>
                      <a:pt x="29828" y="75566"/>
                      <a:pt x="27995" y="76614"/>
                      <a:pt x="25986" y="76790"/>
                    </a:cubicBezTo>
                    <a:cubicBezTo>
                      <a:pt x="25779" y="76814"/>
                      <a:pt x="25574" y="76825"/>
                      <a:pt x="25370" y="76825"/>
                    </a:cubicBezTo>
                    <a:close/>
                  </a:path>
                </a:pathLst>
              </a:custGeom>
              <a:solidFill>
                <a:schemeClr val="accent1"/>
              </a:solidFill>
              <a:ln w="345" cap="flat">
                <a:noFill/>
                <a:prstDash val="solid"/>
                <a:miter/>
              </a:ln>
            </p:spPr>
            <p:txBody>
              <a:bodyPr rtlCol="0" anchor="ctr"/>
              <a:lstStyle/>
              <a:p>
                <a:endParaRPr lang="en-GB" dirty="0"/>
              </a:p>
            </p:txBody>
          </p:sp>
          <p:sp>
            <p:nvSpPr>
              <p:cNvPr id="421" name="Freihandform: Form 145">
                <a:extLst>
                  <a:ext uri="{FF2B5EF4-FFF2-40B4-BE49-F238E27FC236}">
                    <a16:creationId xmlns:a16="http://schemas.microsoft.com/office/drawing/2014/main" id="{CD19B77F-931B-498B-B119-569326DDC73D}"/>
                  </a:ext>
                </a:extLst>
              </p:cNvPr>
              <p:cNvSpPr/>
              <p:nvPr/>
            </p:nvSpPr>
            <p:spPr>
              <a:xfrm>
                <a:off x="1169740" y="1967197"/>
                <a:ext cx="77279" cy="76826"/>
              </a:xfrm>
              <a:custGeom>
                <a:avLst/>
                <a:gdLst>
                  <a:gd name="connsiteX0" fmla="*/ 25370 w 77279"/>
                  <a:gd name="connsiteY0" fmla="*/ 76827 h 76826"/>
                  <a:gd name="connsiteX1" fmla="*/ 20539 w 77279"/>
                  <a:gd name="connsiteY1" fmla="*/ 74859 h 76826"/>
                  <a:gd name="connsiteX2" fmla="*/ 2088 w 77279"/>
                  <a:gd name="connsiteY2" fmla="*/ 56864 h 76826"/>
                  <a:gd name="connsiteX3" fmla="*/ 1967 w 77279"/>
                  <a:gd name="connsiteY3" fmla="*/ 47077 h 76826"/>
                  <a:gd name="connsiteX4" fmla="*/ 11755 w 77279"/>
                  <a:gd name="connsiteY4" fmla="*/ 46956 h 76826"/>
                  <a:gd name="connsiteX5" fmla="*/ 24430 w 77279"/>
                  <a:gd name="connsiteY5" fmla="*/ 59316 h 76826"/>
                  <a:gd name="connsiteX6" fmla="*/ 64731 w 77279"/>
                  <a:gd name="connsiteY6" fmla="*/ 2902 h 76826"/>
                  <a:gd name="connsiteX7" fmla="*/ 74380 w 77279"/>
                  <a:gd name="connsiteY7" fmla="*/ 1294 h 76826"/>
                  <a:gd name="connsiteX8" fmla="*/ 75988 w 77279"/>
                  <a:gd name="connsiteY8" fmla="*/ 10943 h 76826"/>
                  <a:gd name="connsiteX9" fmla="*/ 31001 w 77279"/>
                  <a:gd name="connsiteY9" fmla="*/ 73922 h 76826"/>
                  <a:gd name="connsiteX10" fmla="*/ 25986 w 77279"/>
                  <a:gd name="connsiteY10" fmla="*/ 76792 h 76826"/>
                  <a:gd name="connsiteX11" fmla="*/ 25370 w 77279"/>
                  <a:gd name="connsiteY11" fmla="*/ 76827 h 76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279" h="76826">
                    <a:moveTo>
                      <a:pt x="25370" y="76827"/>
                    </a:moveTo>
                    <a:cubicBezTo>
                      <a:pt x="23572" y="76827"/>
                      <a:pt x="21836" y="76128"/>
                      <a:pt x="20539" y="74859"/>
                    </a:cubicBezTo>
                    <a:lnTo>
                      <a:pt x="2088" y="56864"/>
                    </a:lnTo>
                    <a:cubicBezTo>
                      <a:pt x="-647" y="54194"/>
                      <a:pt x="-703" y="49816"/>
                      <a:pt x="1967" y="47077"/>
                    </a:cubicBezTo>
                    <a:cubicBezTo>
                      <a:pt x="4634" y="44345"/>
                      <a:pt x="9019" y="44286"/>
                      <a:pt x="11755" y="46956"/>
                    </a:cubicBezTo>
                    <a:lnTo>
                      <a:pt x="24430" y="59316"/>
                    </a:lnTo>
                    <a:lnTo>
                      <a:pt x="64731" y="2902"/>
                    </a:lnTo>
                    <a:cubicBezTo>
                      <a:pt x="66948" y="-214"/>
                      <a:pt x="71274" y="-933"/>
                      <a:pt x="74380" y="1294"/>
                    </a:cubicBezTo>
                    <a:cubicBezTo>
                      <a:pt x="77493" y="3514"/>
                      <a:pt x="78212" y="7837"/>
                      <a:pt x="75988" y="10943"/>
                    </a:cubicBezTo>
                    <a:lnTo>
                      <a:pt x="31001" y="73922"/>
                    </a:lnTo>
                    <a:cubicBezTo>
                      <a:pt x="29828" y="75568"/>
                      <a:pt x="27995" y="76616"/>
                      <a:pt x="25986" y="76792"/>
                    </a:cubicBezTo>
                    <a:cubicBezTo>
                      <a:pt x="25779" y="76816"/>
                      <a:pt x="25574" y="76827"/>
                      <a:pt x="25370" y="76827"/>
                    </a:cubicBezTo>
                    <a:close/>
                  </a:path>
                </a:pathLst>
              </a:custGeom>
              <a:solidFill>
                <a:schemeClr val="accent1"/>
              </a:solidFill>
              <a:ln w="345" cap="flat">
                <a:noFill/>
                <a:prstDash val="solid"/>
                <a:miter/>
              </a:ln>
            </p:spPr>
            <p:txBody>
              <a:bodyPr rtlCol="0" anchor="ctr"/>
              <a:lstStyle/>
              <a:p>
                <a:endParaRPr lang="en-GB" dirty="0"/>
              </a:p>
            </p:txBody>
          </p:sp>
        </p:grpSp>
      </p:grpSp>
      <p:grpSp>
        <p:nvGrpSpPr>
          <p:cNvPr id="632" name="Group 631">
            <a:extLst>
              <a:ext uri="{FF2B5EF4-FFF2-40B4-BE49-F238E27FC236}">
                <a16:creationId xmlns:a16="http://schemas.microsoft.com/office/drawing/2014/main" id="{1821B29C-22FA-BE09-984B-C76C59DCEBBA}"/>
              </a:ext>
            </a:extLst>
          </p:cNvPr>
          <p:cNvGrpSpPr/>
          <p:nvPr/>
        </p:nvGrpSpPr>
        <p:grpSpPr>
          <a:xfrm>
            <a:off x="8096291" y="2406516"/>
            <a:ext cx="492755" cy="432000"/>
            <a:chOff x="8095879" y="2406516"/>
            <a:chExt cx="492755" cy="432000"/>
          </a:xfrm>
        </p:grpSpPr>
        <p:grpSp>
          <p:nvGrpSpPr>
            <p:cNvPr id="615" name="Group 614">
              <a:extLst>
                <a:ext uri="{FF2B5EF4-FFF2-40B4-BE49-F238E27FC236}">
                  <a16:creationId xmlns:a16="http://schemas.microsoft.com/office/drawing/2014/main" id="{4FBCEB5B-7C11-427C-849E-F56AD40DA138}"/>
                </a:ext>
              </a:extLst>
            </p:cNvPr>
            <p:cNvGrpSpPr/>
            <p:nvPr/>
          </p:nvGrpSpPr>
          <p:grpSpPr>
            <a:xfrm>
              <a:off x="8095879" y="2518958"/>
              <a:ext cx="492755" cy="319558"/>
              <a:chOff x="8095879" y="2518958"/>
              <a:chExt cx="492755" cy="319558"/>
            </a:xfrm>
          </p:grpSpPr>
          <p:grpSp>
            <p:nvGrpSpPr>
              <p:cNvPr id="441" name="Graphic 7">
                <a:extLst>
                  <a:ext uri="{FF2B5EF4-FFF2-40B4-BE49-F238E27FC236}">
                    <a16:creationId xmlns:a16="http://schemas.microsoft.com/office/drawing/2014/main" id="{7A5AB93D-801B-4557-9E03-03635229C69C}"/>
                  </a:ext>
                </a:extLst>
              </p:cNvPr>
              <p:cNvGrpSpPr/>
              <p:nvPr/>
            </p:nvGrpSpPr>
            <p:grpSpPr>
              <a:xfrm>
                <a:off x="8095879" y="2518958"/>
                <a:ext cx="148740" cy="319558"/>
                <a:chOff x="2528672" y="4402750"/>
                <a:chExt cx="167067" cy="358932"/>
              </a:xfrm>
              <a:solidFill>
                <a:schemeClr val="accent1"/>
              </a:solidFill>
            </p:grpSpPr>
            <p:sp>
              <p:nvSpPr>
                <p:cNvPr id="455" name="Freihandform: Form 70">
                  <a:extLst>
                    <a:ext uri="{FF2B5EF4-FFF2-40B4-BE49-F238E27FC236}">
                      <a16:creationId xmlns:a16="http://schemas.microsoft.com/office/drawing/2014/main" id="{6C050738-CE82-474C-9978-958AB46F0538}"/>
                    </a:ext>
                  </a:extLst>
                </p:cNvPr>
                <p:cNvSpPr/>
                <p:nvPr/>
              </p:nvSpPr>
              <p:spPr>
                <a:xfrm>
                  <a:off x="2594829" y="4695827"/>
                  <a:ext cx="100910" cy="65855"/>
                </a:xfrm>
                <a:custGeom>
                  <a:avLst/>
                  <a:gdLst>
                    <a:gd name="connsiteX0" fmla="*/ 57839 w 100910"/>
                    <a:gd name="connsiteY0" fmla="*/ 65855 h 65855"/>
                    <a:gd name="connsiteX1" fmla="*/ 50974 w 100910"/>
                    <a:gd name="connsiteY1" fmla="*/ 65309 h 65855"/>
                    <a:gd name="connsiteX2" fmla="*/ 2749 w 100910"/>
                    <a:gd name="connsiteY2" fmla="*/ 25301 h 65855"/>
                    <a:gd name="connsiteX3" fmla="*/ 0 w 100910"/>
                    <a:gd name="connsiteY3" fmla="*/ 20024 h 65855"/>
                    <a:gd name="connsiteX4" fmla="*/ 4804 w 100910"/>
                    <a:gd name="connsiteY4" fmla="*/ 16517 h 65855"/>
                    <a:gd name="connsiteX5" fmla="*/ 65790 w 100910"/>
                    <a:gd name="connsiteY5" fmla="*/ 2095 h 65855"/>
                    <a:gd name="connsiteX6" fmla="*/ 99465 w 100910"/>
                    <a:gd name="connsiteY6" fmla="*/ 39516 h 65855"/>
                    <a:gd name="connsiteX7" fmla="*/ 100911 w 100910"/>
                    <a:gd name="connsiteY7" fmla="*/ 43673 h 65855"/>
                    <a:gd name="connsiteX8" fmla="*/ 97767 w 100910"/>
                    <a:gd name="connsiteY8" fmla="*/ 46748 h 65855"/>
                    <a:gd name="connsiteX9" fmla="*/ 57839 w 100910"/>
                    <a:gd name="connsiteY9" fmla="*/ 65855 h 65855"/>
                    <a:gd name="connsiteX10" fmla="*/ 18305 w 100910"/>
                    <a:gd name="connsiteY10" fmla="*/ 24313 h 65855"/>
                    <a:gd name="connsiteX11" fmla="*/ 53198 w 100910"/>
                    <a:gd name="connsiteY11" fmla="*/ 51641 h 65855"/>
                    <a:gd name="connsiteX12" fmla="*/ 84805 w 100910"/>
                    <a:gd name="connsiteY12" fmla="*/ 39889 h 65855"/>
                    <a:gd name="connsiteX13" fmla="*/ 61713 w 100910"/>
                    <a:gd name="connsiteY13" fmla="*/ 15324 h 65855"/>
                    <a:gd name="connsiteX14" fmla="*/ 18305 w 100910"/>
                    <a:gd name="connsiteY14" fmla="*/ 24313 h 65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910" h="65855">
                      <a:moveTo>
                        <a:pt x="57839" y="65855"/>
                      </a:moveTo>
                      <a:cubicBezTo>
                        <a:pt x="55556" y="65855"/>
                        <a:pt x="53264" y="65672"/>
                        <a:pt x="50974" y="65309"/>
                      </a:cubicBezTo>
                      <a:cubicBezTo>
                        <a:pt x="21435" y="60599"/>
                        <a:pt x="3496" y="26740"/>
                        <a:pt x="2749" y="25301"/>
                      </a:cubicBezTo>
                      <a:lnTo>
                        <a:pt x="0" y="20024"/>
                      </a:lnTo>
                      <a:lnTo>
                        <a:pt x="4804" y="16517"/>
                      </a:lnTo>
                      <a:cubicBezTo>
                        <a:pt x="6114" y="15559"/>
                        <a:pt x="37209" y="-6824"/>
                        <a:pt x="65790" y="2095"/>
                      </a:cubicBezTo>
                      <a:cubicBezTo>
                        <a:pt x="81139" y="6878"/>
                        <a:pt x="92465" y="19471"/>
                        <a:pt x="99465" y="39516"/>
                      </a:cubicBezTo>
                      <a:lnTo>
                        <a:pt x="100911" y="43673"/>
                      </a:lnTo>
                      <a:lnTo>
                        <a:pt x="97767" y="46748"/>
                      </a:lnTo>
                      <a:cubicBezTo>
                        <a:pt x="84784" y="59447"/>
                        <a:pt x="71382" y="65855"/>
                        <a:pt x="57839" y="65855"/>
                      </a:cubicBezTo>
                      <a:close/>
                      <a:moveTo>
                        <a:pt x="18305" y="24313"/>
                      </a:moveTo>
                      <a:cubicBezTo>
                        <a:pt x="23988" y="32924"/>
                        <a:pt x="36653" y="49033"/>
                        <a:pt x="53198" y="51641"/>
                      </a:cubicBezTo>
                      <a:cubicBezTo>
                        <a:pt x="63449" y="53270"/>
                        <a:pt x="74059" y="49317"/>
                        <a:pt x="84805" y="39889"/>
                      </a:cubicBezTo>
                      <a:cubicBezTo>
                        <a:pt x="79371" y="26685"/>
                        <a:pt x="71614" y="18426"/>
                        <a:pt x="61713" y="15324"/>
                      </a:cubicBezTo>
                      <a:cubicBezTo>
                        <a:pt x="45696" y="10302"/>
                        <a:pt x="27218" y="19121"/>
                        <a:pt x="18305" y="24313"/>
                      </a:cubicBezTo>
                      <a:close/>
                    </a:path>
                  </a:pathLst>
                </a:custGeom>
                <a:solidFill>
                  <a:schemeClr val="accent1"/>
                </a:solidFill>
                <a:ln w="345" cap="flat">
                  <a:noFill/>
                  <a:prstDash val="solid"/>
                  <a:miter/>
                </a:ln>
              </p:spPr>
              <p:txBody>
                <a:bodyPr rtlCol="0" anchor="ctr"/>
                <a:lstStyle/>
                <a:p>
                  <a:endParaRPr lang="en-GB" dirty="0"/>
                </a:p>
              </p:txBody>
            </p:sp>
            <p:sp>
              <p:nvSpPr>
                <p:cNvPr id="456" name="Freihandform: Form 71">
                  <a:extLst>
                    <a:ext uri="{FF2B5EF4-FFF2-40B4-BE49-F238E27FC236}">
                      <a16:creationId xmlns:a16="http://schemas.microsoft.com/office/drawing/2014/main" id="{4EEAC3AD-5C33-4BFC-996A-B7226136FC0D}"/>
                    </a:ext>
                  </a:extLst>
                </p:cNvPr>
                <p:cNvSpPr/>
                <p:nvPr/>
              </p:nvSpPr>
              <p:spPr>
                <a:xfrm>
                  <a:off x="2528672" y="4611080"/>
                  <a:ext cx="96075" cy="67239"/>
                </a:xfrm>
                <a:custGeom>
                  <a:avLst/>
                  <a:gdLst>
                    <a:gd name="connsiteX0" fmla="*/ 56760 w 96075"/>
                    <a:gd name="connsiteY0" fmla="*/ 67240 h 67239"/>
                    <a:gd name="connsiteX1" fmla="*/ 43393 w 96075"/>
                    <a:gd name="connsiteY1" fmla="*/ 65123 h 67239"/>
                    <a:gd name="connsiteX2" fmla="*/ 1906 w 96075"/>
                    <a:gd name="connsiteY2" fmla="*/ 18154 h 67239"/>
                    <a:gd name="connsiteX3" fmla="*/ 0 w 96075"/>
                    <a:gd name="connsiteY3" fmla="*/ 12517 h 67239"/>
                    <a:gd name="connsiteX4" fmla="*/ 5291 w 96075"/>
                    <a:gd name="connsiteY4" fmla="*/ 9791 h 67239"/>
                    <a:gd name="connsiteX5" fmla="*/ 67772 w 96075"/>
                    <a:gd name="connsiteY5" fmla="*/ 4946 h 67239"/>
                    <a:gd name="connsiteX6" fmla="*/ 95277 w 96075"/>
                    <a:gd name="connsiteY6" fmla="*/ 47111 h 67239"/>
                    <a:gd name="connsiteX7" fmla="*/ 96076 w 96075"/>
                    <a:gd name="connsiteY7" fmla="*/ 51445 h 67239"/>
                    <a:gd name="connsiteX8" fmla="*/ 92493 w 96075"/>
                    <a:gd name="connsiteY8" fmla="*/ 54001 h 67239"/>
                    <a:gd name="connsiteX9" fmla="*/ 56760 w 96075"/>
                    <a:gd name="connsiteY9" fmla="*/ 67240 h 67239"/>
                    <a:gd name="connsiteX10" fmla="*/ 17420 w 96075"/>
                    <a:gd name="connsiteY10" fmla="*/ 19569 h 67239"/>
                    <a:gd name="connsiteX11" fmla="*/ 47689 w 96075"/>
                    <a:gd name="connsiteY11" fmla="*/ 51967 h 67239"/>
                    <a:gd name="connsiteX12" fmla="*/ 80737 w 96075"/>
                    <a:gd name="connsiteY12" fmla="*/ 45237 h 67239"/>
                    <a:gd name="connsiteX13" fmla="*/ 61661 w 96075"/>
                    <a:gd name="connsiteY13" fmla="*/ 17372 h 67239"/>
                    <a:gd name="connsiteX14" fmla="*/ 17420 w 96075"/>
                    <a:gd name="connsiteY14" fmla="*/ 19569 h 6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075" h="67239">
                      <a:moveTo>
                        <a:pt x="56760" y="67240"/>
                      </a:moveTo>
                      <a:cubicBezTo>
                        <a:pt x="52212" y="67240"/>
                        <a:pt x="47751" y="66538"/>
                        <a:pt x="43393" y="65123"/>
                      </a:cubicBezTo>
                      <a:cubicBezTo>
                        <a:pt x="14927" y="55913"/>
                        <a:pt x="2417" y="19696"/>
                        <a:pt x="1906" y="18154"/>
                      </a:cubicBezTo>
                      <a:lnTo>
                        <a:pt x="0" y="12517"/>
                      </a:lnTo>
                      <a:lnTo>
                        <a:pt x="5291" y="9791"/>
                      </a:lnTo>
                      <a:cubicBezTo>
                        <a:pt x="6737" y="9048"/>
                        <a:pt x="40927" y="-8248"/>
                        <a:pt x="67772" y="4946"/>
                      </a:cubicBezTo>
                      <a:cubicBezTo>
                        <a:pt x="82193" y="12036"/>
                        <a:pt x="91452" y="26226"/>
                        <a:pt x="95277" y="47111"/>
                      </a:cubicBezTo>
                      <a:lnTo>
                        <a:pt x="96076" y="51445"/>
                      </a:lnTo>
                      <a:lnTo>
                        <a:pt x="92493" y="54001"/>
                      </a:lnTo>
                      <a:cubicBezTo>
                        <a:pt x="80129" y="62813"/>
                        <a:pt x="68166" y="67240"/>
                        <a:pt x="56760" y="67240"/>
                      </a:cubicBezTo>
                      <a:close/>
                      <a:moveTo>
                        <a:pt x="17420" y="19569"/>
                      </a:moveTo>
                      <a:cubicBezTo>
                        <a:pt x="21712" y="28948"/>
                        <a:pt x="31742" y="46838"/>
                        <a:pt x="47689" y="51967"/>
                      </a:cubicBezTo>
                      <a:cubicBezTo>
                        <a:pt x="57590" y="55156"/>
                        <a:pt x="68671" y="52887"/>
                        <a:pt x="80737" y="45237"/>
                      </a:cubicBezTo>
                      <a:cubicBezTo>
                        <a:pt x="77400" y="31320"/>
                        <a:pt x="70992" y="21962"/>
                        <a:pt x="61661" y="17372"/>
                      </a:cubicBezTo>
                      <a:cubicBezTo>
                        <a:pt x="46547" y="9944"/>
                        <a:pt x="27004" y="15802"/>
                        <a:pt x="17420" y="19569"/>
                      </a:cubicBezTo>
                      <a:close/>
                    </a:path>
                  </a:pathLst>
                </a:custGeom>
                <a:solidFill>
                  <a:schemeClr val="accent1"/>
                </a:solidFill>
                <a:ln w="345" cap="flat">
                  <a:noFill/>
                  <a:prstDash val="solid"/>
                  <a:miter/>
                </a:ln>
              </p:spPr>
              <p:txBody>
                <a:bodyPr rtlCol="0" anchor="ctr"/>
                <a:lstStyle/>
                <a:p>
                  <a:endParaRPr lang="en-GB" dirty="0"/>
                </a:p>
              </p:txBody>
            </p:sp>
            <p:sp>
              <p:nvSpPr>
                <p:cNvPr id="457" name="Freihandform: Form 72">
                  <a:extLst>
                    <a:ext uri="{FF2B5EF4-FFF2-40B4-BE49-F238E27FC236}">
                      <a16:creationId xmlns:a16="http://schemas.microsoft.com/office/drawing/2014/main" id="{4C859F1C-A717-4CD2-99A8-1EF71B8BB134}"/>
                    </a:ext>
                  </a:extLst>
                </p:cNvPr>
                <p:cNvSpPr/>
                <p:nvPr/>
              </p:nvSpPr>
              <p:spPr>
                <a:xfrm>
                  <a:off x="2534237" y="4513147"/>
                  <a:ext cx="80738" cy="73813"/>
                </a:xfrm>
                <a:custGeom>
                  <a:avLst/>
                  <a:gdLst>
                    <a:gd name="connsiteX0" fmla="*/ 52330 w 80738"/>
                    <a:gd name="connsiteY0" fmla="*/ 73814 h 73813"/>
                    <a:gd name="connsiteX1" fmla="*/ 25001 w 80738"/>
                    <a:gd name="connsiteY1" fmla="*/ 65358 h 73813"/>
                    <a:gd name="connsiteX2" fmla="*/ 69 w 80738"/>
                    <a:gd name="connsiteY2" fmla="*/ 7868 h 73813"/>
                    <a:gd name="connsiteX3" fmla="*/ 0 w 80738"/>
                    <a:gd name="connsiteY3" fmla="*/ 1920 h 73813"/>
                    <a:gd name="connsiteX4" fmla="*/ 5872 w 80738"/>
                    <a:gd name="connsiteY4" fmla="*/ 958 h 73813"/>
                    <a:gd name="connsiteX5" fmla="*/ 66790 w 80738"/>
                    <a:gd name="connsiteY5" fmla="*/ 15670 h 73813"/>
                    <a:gd name="connsiteX6" fmla="*/ 79914 w 80738"/>
                    <a:gd name="connsiteY6" fmla="*/ 64269 h 73813"/>
                    <a:gd name="connsiteX7" fmla="*/ 79333 w 80738"/>
                    <a:gd name="connsiteY7" fmla="*/ 68626 h 73813"/>
                    <a:gd name="connsiteX8" fmla="*/ 75138 w 80738"/>
                    <a:gd name="connsiteY8" fmla="*/ 69951 h 73813"/>
                    <a:gd name="connsiteX9" fmla="*/ 52330 w 80738"/>
                    <a:gd name="connsiteY9" fmla="*/ 73814 h 73813"/>
                    <a:gd name="connsiteX10" fmla="*/ 14397 w 80738"/>
                    <a:gd name="connsiteY10" fmla="*/ 14007 h 73813"/>
                    <a:gd name="connsiteX11" fmla="*/ 33160 w 80738"/>
                    <a:gd name="connsiteY11" fmla="*/ 54177 h 73813"/>
                    <a:gd name="connsiteX12" fmla="*/ 66672 w 80738"/>
                    <a:gd name="connsiteY12" fmla="*/ 57988 h 73813"/>
                    <a:gd name="connsiteX13" fmla="*/ 57144 w 80738"/>
                    <a:gd name="connsiteY13" fmla="*/ 25596 h 73813"/>
                    <a:gd name="connsiteX14" fmla="*/ 14397 w 80738"/>
                    <a:gd name="connsiteY14" fmla="*/ 14007 h 73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738" h="73813">
                      <a:moveTo>
                        <a:pt x="52330" y="73814"/>
                      </a:moveTo>
                      <a:cubicBezTo>
                        <a:pt x="41917" y="73814"/>
                        <a:pt x="32772" y="70988"/>
                        <a:pt x="25001" y="65358"/>
                      </a:cubicBezTo>
                      <a:cubicBezTo>
                        <a:pt x="778" y="47799"/>
                        <a:pt x="90" y="9490"/>
                        <a:pt x="69" y="7868"/>
                      </a:cubicBezTo>
                      <a:lnTo>
                        <a:pt x="0" y="1920"/>
                      </a:lnTo>
                      <a:lnTo>
                        <a:pt x="5872" y="958"/>
                      </a:lnTo>
                      <a:cubicBezTo>
                        <a:pt x="7481" y="695"/>
                        <a:pt x="45340" y="-5177"/>
                        <a:pt x="66790" y="15670"/>
                      </a:cubicBezTo>
                      <a:cubicBezTo>
                        <a:pt x="78313" y="26869"/>
                        <a:pt x="82733" y="43224"/>
                        <a:pt x="79914" y="64269"/>
                      </a:cubicBezTo>
                      <a:lnTo>
                        <a:pt x="79333" y="68626"/>
                      </a:lnTo>
                      <a:lnTo>
                        <a:pt x="75138" y="69951"/>
                      </a:lnTo>
                      <a:cubicBezTo>
                        <a:pt x="66976" y="72524"/>
                        <a:pt x="59364" y="73814"/>
                        <a:pt x="52330" y="73814"/>
                      </a:cubicBezTo>
                      <a:close/>
                      <a:moveTo>
                        <a:pt x="14397" y="14007"/>
                      </a:moveTo>
                      <a:cubicBezTo>
                        <a:pt x="15574" y="24251"/>
                        <a:pt x="19582" y="44365"/>
                        <a:pt x="33160" y="54177"/>
                      </a:cubicBezTo>
                      <a:cubicBezTo>
                        <a:pt x="41574" y="60260"/>
                        <a:pt x="52831" y="61529"/>
                        <a:pt x="66672" y="57988"/>
                      </a:cubicBezTo>
                      <a:cubicBezTo>
                        <a:pt x="67800" y="43729"/>
                        <a:pt x="64597" y="32842"/>
                        <a:pt x="57144" y="25596"/>
                      </a:cubicBezTo>
                      <a:cubicBezTo>
                        <a:pt x="45077" y="13872"/>
                        <a:pt x="24628" y="13412"/>
                        <a:pt x="14397" y="14007"/>
                      </a:cubicBezTo>
                      <a:close/>
                    </a:path>
                  </a:pathLst>
                </a:custGeom>
                <a:solidFill>
                  <a:schemeClr val="accent1"/>
                </a:solidFill>
                <a:ln w="345" cap="flat">
                  <a:noFill/>
                  <a:prstDash val="solid"/>
                  <a:miter/>
                </a:ln>
              </p:spPr>
              <p:txBody>
                <a:bodyPr rtlCol="0" anchor="ctr"/>
                <a:lstStyle/>
                <a:p>
                  <a:endParaRPr lang="en-GB" dirty="0"/>
                </a:p>
              </p:txBody>
            </p:sp>
            <p:sp>
              <p:nvSpPr>
                <p:cNvPr id="458" name="Freihandform: Form 73">
                  <a:extLst>
                    <a:ext uri="{FF2B5EF4-FFF2-40B4-BE49-F238E27FC236}">
                      <a16:creationId xmlns:a16="http://schemas.microsoft.com/office/drawing/2014/main" id="{FB15728B-38DA-4AB7-B7B3-773DBC3C05C0}"/>
                    </a:ext>
                  </a:extLst>
                </p:cNvPr>
                <p:cNvSpPr/>
                <p:nvPr/>
              </p:nvSpPr>
              <p:spPr>
                <a:xfrm>
                  <a:off x="2548595" y="4402750"/>
                  <a:ext cx="71999" cy="83801"/>
                </a:xfrm>
                <a:custGeom>
                  <a:avLst/>
                  <a:gdLst>
                    <a:gd name="connsiteX0" fmla="*/ 53846 w 71999"/>
                    <a:gd name="connsiteY0" fmla="*/ 83802 h 83801"/>
                    <a:gd name="connsiteX1" fmla="*/ 12981 w 71999"/>
                    <a:gd name="connsiteY1" fmla="*/ 67495 h 83801"/>
                    <a:gd name="connsiteX2" fmla="*/ 2001 w 71999"/>
                    <a:gd name="connsiteY2" fmla="*/ 5800 h 83801"/>
                    <a:gd name="connsiteX3" fmla="*/ 3311 w 71999"/>
                    <a:gd name="connsiteY3" fmla="*/ 0 h 83801"/>
                    <a:gd name="connsiteX4" fmla="*/ 9246 w 71999"/>
                    <a:gd name="connsiteY4" fmla="*/ 425 h 83801"/>
                    <a:gd name="connsiteX5" fmla="*/ 65114 w 71999"/>
                    <a:gd name="connsiteY5" fmla="*/ 28802 h 83801"/>
                    <a:gd name="connsiteX6" fmla="*/ 66663 w 71999"/>
                    <a:gd name="connsiteY6" fmla="*/ 79122 h 83801"/>
                    <a:gd name="connsiteX7" fmla="*/ 65090 w 71999"/>
                    <a:gd name="connsiteY7" fmla="*/ 83224 h 83801"/>
                    <a:gd name="connsiteX8" fmla="*/ 60704 w 71999"/>
                    <a:gd name="connsiteY8" fmla="*/ 83542 h 83801"/>
                    <a:gd name="connsiteX9" fmla="*/ 53846 w 71999"/>
                    <a:gd name="connsiteY9" fmla="*/ 83802 h 83801"/>
                    <a:gd name="connsiteX10" fmla="*/ 14513 w 71999"/>
                    <a:gd name="connsiteY10" fmla="*/ 15096 h 83801"/>
                    <a:gd name="connsiteX11" fmla="*/ 23502 w 71999"/>
                    <a:gd name="connsiteY11" fmla="*/ 58503 h 83801"/>
                    <a:gd name="connsiteX12" fmla="*/ 55226 w 71999"/>
                    <a:gd name="connsiteY12" fmla="*/ 69944 h 83801"/>
                    <a:gd name="connsiteX13" fmla="*/ 53463 w 71999"/>
                    <a:gd name="connsiteY13" fmla="*/ 36262 h 83801"/>
                    <a:gd name="connsiteX14" fmla="*/ 14513 w 71999"/>
                    <a:gd name="connsiteY14" fmla="*/ 15096 h 8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999" h="83801">
                      <a:moveTo>
                        <a:pt x="53846" y="83802"/>
                      </a:moveTo>
                      <a:cubicBezTo>
                        <a:pt x="36032" y="83802"/>
                        <a:pt x="22305" y="78334"/>
                        <a:pt x="12981" y="67495"/>
                      </a:cubicBezTo>
                      <a:cubicBezTo>
                        <a:pt x="-6531" y="44822"/>
                        <a:pt x="1641" y="7387"/>
                        <a:pt x="2001" y="5800"/>
                      </a:cubicBezTo>
                      <a:lnTo>
                        <a:pt x="3311" y="0"/>
                      </a:lnTo>
                      <a:lnTo>
                        <a:pt x="9246" y="425"/>
                      </a:lnTo>
                      <a:cubicBezTo>
                        <a:pt x="10868" y="540"/>
                        <a:pt x="49067" y="3562"/>
                        <a:pt x="65114" y="28802"/>
                      </a:cubicBezTo>
                      <a:cubicBezTo>
                        <a:pt x="73743" y="42366"/>
                        <a:pt x="74265" y="59295"/>
                        <a:pt x="66663" y="79122"/>
                      </a:cubicBezTo>
                      <a:lnTo>
                        <a:pt x="65090" y="83224"/>
                      </a:lnTo>
                      <a:lnTo>
                        <a:pt x="60704" y="83542"/>
                      </a:lnTo>
                      <a:cubicBezTo>
                        <a:pt x="58356" y="83719"/>
                        <a:pt x="56070" y="83802"/>
                        <a:pt x="53846" y="83802"/>
                      </a:cubicBezTo>
                      <a:close/>
                      <a:moveTo>
                        <a:pt x="14513" y="15096"/>
                      </a:moveTo>
                      <a:cubicBezTo>
                        <a:pt x="13296" y="25340"/>
                        <a:pt x="12559" y="45824"/>
                        <a:pt x="23502" y="58503"/>
                      </a:cubicBezTo>
                      <a:cubicBezTo>
                        <a:pt x="30280" y="66357"/>
                        <a:pt x="41112" y="70214"/>
                        <a:pt x="55226" y="69944"/>
                      </a:cubicBezTo>
                      <a:cubicBezTo>
                        <a:pt x="59605" y="56345"/>
                        <a:pt x="59017" y="45026"/>
                        <a:pt x="53463" y="36262"/>
                      </a:cubicBezTo>
                      <a:cubicBezTo>
                        <a:pt x="44495" y="22117"/>
                        <a:pt x="24678" y="16895"/>
                        <a:pt x="14513" y="15096"/>
                      </a:cubicBezTo>
                      <a:close/>
                    </a:path>
                  </a:pathLst>
                </a:custGeom>
                <a:solidFill>
                  <a:schemeClr val="accent1"/>
                </a:solidFill>
                <a:ln w="345" cap="flat">
                  <a:noFill/>
                  <a:prstDash val="solid"/>
                  <a:miter/>
                </a:ln>
              </p:spPr>
              <p:txBody>
                <a:bodyPr rtlCol="0" anchor="ctr"/>
                <a:lstStyle/>
                <a:p>
                  <a:endParaRPr lang="en-GB" dirty="0"/>
                </a:p>
              </p:txBody>
            </p:sp>
          </p:grpSp>
          <p:grpSp>
            <p:nvGrpSpPr>
              <p:cNvPr id="442" name="Graphic 7">
                <a:extLst>
                  <a:ext uri="{FF2B5EF4-FFF2-40B4-BE49-F238E27FC236}">
                    <a16:creationId xmlns:a16="http://schemas.microsoft.com/office/drawing/2014/main" id="{27CA283B-F6C4-4527-8FA2-438734B3F340}"/>
                  </a:ext>
                </a:extLst>
              </p:cNvPr>
              <p:cNvGrpSpPr/>
              <p:nvPr/>
            </p:nvGrpSpPr>
            <p:grpSpPr>
              <a:xfrm>
                <a:off x="8439885" y="2518960"/>
                <a:ext cx="148749" cy="319555"/>
                <a:chOff x="2915064" y="4402753"/>
                <a:chExt cx="167077" cy="358928"/>
              </a:xfrm>
              <a:solidFill>
                <a:schemeClr val="accent1"/>
              </a:solidFill>
            </p:grpSpPr>
            <p:sp>
              <p:nvSpPr>
                <p:cNvPr id="451" name="Freihandform: Form 75">
                  <a:extLst>
                    <a:ext uri="{FF2B5EF4-FFF2-40B4-BE49-F238E27FC236}">
                      <a16:creationId xmlns:a16="http://schemas.microsoft.com/office/drawing/2014/main" id="{987A8F1F-A358-43F0-B06D-01CE34A5B907}"/>
                    </a:ext>
                  </a:extLst>
                </p:cNvPr>
                <p:cNvSpPr/>
                <p:nvPr/>
              </p:nvSpPr>
              <p:spPr>
                <a:xfrm>
                  <a:off x="2915064" y="4695837"/>
                  <a:ext cx="100917" cy="65845"/>
                </a:xfrm>
                <a:custGeom>
                  <a:avLst/>
                  <a:gdLst>
                    <a:gd name="connsiteX0" fmla="*/ 43072 w 100917"/>
                    <a:gd name="connsiteY0" fmla="*/ 65845 h 65845"/>
                    <a:gd name="connsiteX1" fmla="*/ 3144 w 100917"/>
                    <a:gd name="connsiteY1" fmla="*/ 46734 h 65845"/>
                    <a:gd name="connsiteX2" fmla="*/ 0 w 100917"/>
                    <a:gd name="connsiteY2" fmla="*/ 43659 h 65845"/>
                    <a:gd name="connsiteX3" fmla="*/ 1446 w 100917"/>
                    <a:gd name="connsiteY3" fmla="*/ 39502 h 65845"/>
                    <a:gd name="connsiteX4" fmla="*/ 35128 w 100917"/>
                    <a:gd name="connsiteY4" fmla="*/ 2082 h 65845"/>
                    <a:gd name="connsiteX5" fmla="*/ 96114 w 100917"/>
                    <a:gd name="connsiteY5" fmla="*/ 16503 h 65845"/>
                    <a:gd name="connsiteX6" fmla="*/ 100918 w 100917"/>
                    <a:gd name="connsiteY6" fmla="*/ 20010 h 65845"/>
                    <a:gd name="connsiteX7" fmla="*/ 98168 w 100917"/>
                    <a:gd name="connsiteY7" fmla="*/ 25288 h 65845"/>
                    <a:gd name="connsiteX8" fmla="*/ 49944 w 100917"/>
                    <a:gd name="connsiteY8" fmla="*/ 65295 h 65845"/>
                    <a:gd name="connsiteX9" fmla="*/ 43072 w 100917"/>
                    <a:gd name="connsiteY9" fmla="*/ 65845 h 65845"/>
                    <a:gd name="connsiteX10" fmla="*/ 16106 w 100917"/>
                    <a:gd name="connsiteY10" fmla="*/ 39879 h 65845"/>
                    <a:gd name="connsiteX11" fmla="*/ 47761 w 100917"/>
                    <a:gd name="connsiteY11" fmla="*/ 51624 h 65845"/>
                    <a:gd name="connsiteX12" fmla="*/ 82626 w 100917"/>
                    <a:gd name="connsiteY12" fmla="*/ 24309 h 65845"/>
                    <a:gd name="connsiteX13" fmla="*/ 39205 w 100917"/>
                    <a:gd name="connsiteY13" fmla="*/ 15314 h 65845"/>
                    <a:gd name="connsiteX14" fmla="*/ 16106 w 100917"/>
                    <a:gd name="connsiteY14" fmla="*/ 39879 h 65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917" h="65845">
                      <a:moveTo>
                        <a:pt x="43072" y="65845"/>
                      </a:moveTo>
                      <a:cubicBezTo>
                        <a:pt x="29528" y="65845"/>
                        <a:pt x="16134" y="59440"/>
                        <a:pt x="3144" y="46734"/>
                      </a:cubicBezTo>
                      <a:lnTo>
                        <a:pt x="0" y="43659"/>
                      </a:lnTo>
                      <a:lnTo>
                        <a:pt x="1446" y="39502"/>
                      </a:lnTo>
                      <a:cubicBezTo>
                        <a:pt x="8446" y="19457"/>
                        <a:pt x="19779" y="6868"/>
                        <a:pt x="35128" y="2082"/>
                      </a:cubicBezTo>
                      <a:cubicBezTo>
                        <a:pt x="63681" y="-6800"/>
                        <a:pt x="94803" y="15552"/>
                        <a:pt x="96114" y="16503"/>
                      </a:cubicBezTo>
                      <a:lnTo>
                        <a:pt x="100918" y="20010"/>
                      </a:lnTo>
                      <a:lnTo>
                        <a:pt x="98168" y="25288"/>
                      </a:lnTo>
                      <a:cubicBezTo>
                        <a:pt x="97418" y="26727"/>
                        <a:pt x="79482" y="60578"/>
                        <a:pt x="49944" y="65295"/>
                      </a:cubicBezTo>
                      <a:cubicBezTo>
                        <a:pt x="47654" y="65662"/>
                        <a:pt x="45364" y="65845"/>
                        <a:pt x="43072" y="65845"/>
                      </a:cubicBezTo>
                      <a:close/>
                      <a:moveTo>
                        <a:pt x="16106" y="39879"/>
                      </a:moveTo>
                      <a:cubicBezTo>
                        <a:pt x="26858" y="49307"/>
                        <a:pt x="37490" y="53274"/>
                        <a:pt x="47761" y="51624"/>
                      </a:cubicBezTo>
                      <a:cubicBezTo>
                        <a:pt x="64365" y="48975"/>
                        <a:pt x="76971" y="32903"/>
                        <a:pt x="82626" y="24309"/>
                      </a:cubicBezTo>
                      <a:cubicBezTo>
                        <a:pt x="73714" y="19118"/>
                        <a:pt x="55207" y="10299"/>
                        <a:pt x="39205" y="15314"/>
                      </a:cubicBezTo>
                      <a:cubicBezTo>
                        <a:pt x="29300" y="18416"/>
                        <a:pt x="21539" y="26675"/>
                        <a:pt x="16106" y="39879"/>
                      </a:cubicBezTo>
                      <a:close/>
                    </a:path>
                  </a:pathLst>
                </a:custGeom>
                <a:solidFill>
                  <a:schemeClr val="accent1"/>
                </a:solidFill>
                <a:ln w="345" cap="flat">
                  <a:noFill/>
                  <a:prstDash val="solid"/>
                  <a:miter/>
                </a:ln>
              </p:spPr>
              <p:txBody>
                <a:bodyPr rtlCol="0" anchor="ctr"/>
                <a:lstStyle/>
                <a:p>
                  <a:endParaRPr lang="en-GB" dirty="0"/>
                </a:p>
              </p:txBody>
            </p:sp>
            <p:sp>
              <p:nvSpPr>
                <p:cNvPr id="452" name="Freihandform: Form 76">
                  <a:extLst>
                    <a:ext uri="{FF2B5EF4-FFF2-40B4-BE49-F238E27FC236}">
                      <a16:creationId xmlns:a16="http://schemas.microsoft.com/office/drawing/2014/main" id="{85822756-C04B-4287-AB0E-26E28C1FB5A5}"/>
                    </a:ext>
                  </a:extLst>
                </p:cNvPr>
                <p:cNvSpPr/>
                <p:nvPr/>
              </p:nvSpPr>
              <p:spPr>
                <a:xfrm>
                  <a:off x="2986066" y="4611083"/>
                  <a:ext cx="96075" cy="67236"/>
                </a:xfrm>
                <a:custGeom>
                  <a:avLst/>
                  <a:gdLst>
                    <a:gd name="connsiteX0" fmla="*/ 39312 w 96075"/>
                    <a:gd name="connsiteY0" fmla="*/ 67237 h 67236"/>
                    <a:gd name="connsiteX1" fmla="*/ 3583 w 96075"/>
                    <a:gd name="connsiteY1" fmla="*/ 53998 h 67236"/>
                    <a:gd name="connsiteX2" fmla="*/ 0 w 96075"/>
                    <a:gd name="connsiteY2" fmla="*/ 51442 h 67236"/>
                    <a:gd name="connsiteX3" fmla="*/ 799 w 96075"/>
                    <a:gd name="connsiteY3" fmla="*/ 47108 h 67236"/>
                    <a:gd name="connsiteX4" fmla="*/ 28304 w 96075"/>
                    <a:gd name="connsiteY4" fmla="*/ 4943 h 67236"/>
                    <a:gd name="connsiteX5" fmla="*/ 90784 w 96075"/>
                    <a:gd name="connsiteY5" fmla="*/ 9788 h 67236"/>
                    <a:gd name="connsiteX6" fmla="*/ 96076 w 96075"/>
                    <a:gd name="connsiteY6" fmla="*/ 12513 h 67236"/>
                    <a:gd name="connsiteX7" fmla="*/ 94170 w 96075"/>
                    <a:gd name="connsiteY7" fmla="*/ 18151 h 67236"/>
                    <a:gd name="connsiteX8" fmla="*/ 52683 w 96075"/>
                    <a:gd name="connsiteY8" fmla="*/ 65120 h 67236"/>
                    <a:gd name="connsiteX9" fmla="*/ 39312 w 96075"/>
                    <a:gd name="connsiteY9" fmla="*/ 67237 h 67236"/>
                    <a:gd name="connsiteX10" fmla="*/ 15335 w 96075"/>
                    <a:gd name="connsiteY10" fmla="*/ 45231 h 67236"/>
                    <a:gd name="connsiteX11" fmla="*/ 48384 w 96075"/>
                    <a:gd name="connsiteY11" fmla="*/ 51961 h 67236"/>
                    <a:gd name="connsiteX12" fmla="*/ 78645 w 96075"/>
                    <a:gd name="connsiteY12" fmla="*/ 19576 h 67236"/>
                    <a:gd name="connsiteX13" fmla="*/ 34373 w 96075"/>
                    <a:gd name="connsiteY13" fmla="*/ 17386 h 67236"/>
                    <a:gd name="connsiteX14" fmla="*/ 15335 w 96075"/>
                    <a:gd name="connsiteY14" fmla="*/ 45231 h 67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075" h="67236">
                      <a:moveTo>
                        <a:pt x="39312" y="67237"/>
                      </a:moveTo>
                      <a:cubicBezTo>
                        <a:pt x="27903" y="67237"/>
                        <a:pt x="15944" y="62810"/>
                        <a:pt x="3583" y="53998"/>
                      </a:cubicBezTo>
                      <a:lnTo>
                        <a:pt x="0" y="51442"/>
                      </a:lnTo>
                      <a:lnTo>
                        <a:pt x="799" y="47108"/>
                      </a:lnTo>
                      <a:cubicBezTo>
                        <a:pt x="4624" y="26226"/>
                        <a:pt x="13882" y="12033"/>
                        <a:pt x="28304" y="4943"/>
                      </a:cubicBezTo>
                      <a:cubicBezTo>
                        <a:pt x="55162" y="-8244"/>
                        <a:pt x="89342" y="9045"/>
                        <a:pt x="90784" y="9788"/>
                      </a:cubicBezTo>
                      <a:lnTo>
                        <a:pt x="96076" y="12513"/>
                      </a:lnTo>
                      <a:lnTo>
                        <a:pt x="94170" y="18151"/>
                      </a:lnTo>
                      <a:cubicBezTo>
                        <a:pt x="93658" y="19693"/>
                        <a:pt x="81146" y="55910"/>
                        <a:pt x="52683" y="65120"/>
                      </a:cubicBezTo>
                      <a:cubicBezTo>
                        <a:pt x="48321" y="66535"/>
                        <a:pt x="43864" y="67237"/>
                        <a:pt x="39312" y="67237"/>
                      </a:cubicBezTo>
                      <a:close/>
                      <a:moveTo>
                        <a:pt x="15335" y="45231"/>
                      </a:moveTo>
                      <a:cubicBezTo>
                        <a:pt x="27398" y="52867"/>
                        <a:pt x="38482" y="55153"/>
                        <a:pt x="48384" y="51961"/>
                      </a:cubicBezTo>
                      <a:cubicBezTo>
                        <a:pt x="64327" y="46832"/>
                        <a:pt x="74357" y="28955"/>
                        <a:pt x="78645" y="19576"/>
                      </a:cubicBezTo>
                      <a:cubicBezTo>
                        <a:pt x="69027" y="15820"/>
                        <a:pt x="49404" y="9958"/>
                        <a:pt x="34373" y="17386"/>
                      </a:cubicBezTo>
                      <a:cubicBezTo>
                        <a:pt x="25067" y="21976"/>
                        <a:pt x="18676" y="31338"/>
                        <a:pt x="15335" y="45231"/>
                      </a:cubicBezTo>
                      <a:close/>
                    </a:path>
                  </a:pathLst>
                </a:custGeom>
                <a:solidFill>
                  <a:schemeClr val="accent1"/>
                </a:solidFill>
                <a:ln w="345" cap="flat">
                  <a:noFill/>
                  <a:prstDash val="solid"/>
                  <a:miter/>
                </a:ln>
              </p:spPr>
              <p:txBody>
                <a:bodyPr rtlCol="0" anchor="ctr"/>
                <a:lstStyle/>
                <a:p>
                  <a:endParaRPr lang="en-GB" dirty="0"/>
                </a:p>
              </p:txBody>
            </p:sp>
            <p:sp>
              <p:nvSpPr>
                <p:cNvPr id="453" name="Freihandform: Form 77">
                  <a:extLst>
                    <a:ext uri="{FF2B5EF4-FFF2-40B4-BE49-F238E27FC236}">
                      <a16:creationId xmlns:a16="http://schemas.microsoft.com/office/drawing/2014/main" id="{05D18387-9391-492C-BB57-23C4D7D186B7}"/>
                    </a:ext>
                  </a:extLst>
                </p:cNvPr>
                <p:cNvSpPr/>
                <p:nvPr/>
              </p:nvSpPr>
              <p:spPr>
                <a:xfrm>
                  <a:off x="2995835" y="4513152"/>
                  <a:ext cx="80738" cy="73809"/>
                </a:xfrm>
                <a:custGeom>
                  <a:avLst/>
                  <a:gdLst>
                    <a:gd name="connsiteX0" fmla="*/ 28409 w 80738"/>
                    <a:gd name="connsiteY0" fmla="*/ 73809 h 73809"/>
                    <a:gd name="connsiteX1" fmla="*/ 5600 w 80738"/>
                    <a:gd name="connsiteY1" fmla="*/ 69949 h 73809"/>
                    <a:gd name="connsiteX2" fmla="*/ 1405 w 80738"/>
                    <a:gd name="connsiteY2" fmla="*/ 68625 h 73809"/>
                    <a:gd name="connsiteX3" fmla="*/ 824 w 80738"/>
                    <a:gd name="connsiteY3" fmla="*/ 64267 h 73809"/>
                    <a:gd name="connsiteX4" fmla="*/ 13949 w 80738"/>
                    <a:gd name="connsiteY4" fmla="*/ 15669 h 73809"/>
                    <a:gd name="connsiteX5" fmla="*/ 74866 w 80738"/>
                    <a:gd name="connsiteY5" fmla="*/ 957 h 73809"/>
                    <a:gd name="connsiteX6" fmla="*/ 80739 w 80738"/>
                    <a:gd name="connsiteY6" fmla="*/ 1918 h 73809"/>
                    <a:gd name="connsiteX7" fmla="*/ 80670 w 80738"/>
                    <a:gd name="connsiteY7" fmla="*/ 7867 h 73809"/>
                    <a:gd name="connsiteX8" fmla="*/ 55737 w 80738"/>
                    <a:gd name="connsiteY8" fmla="*/ 65356 h 73809"/>
                    <a:gd name="connsiteX9" fmla="*/ 28409 w 80738"/>
                    <a:gd name="connsiteY9" fmla="*/ 73809 h 73809"/>
                    <a:gd name="connsiteX10" fmla="*/ 14070 w 80738"/>
                    <a:gd name="connsiteY10" fmla="*/ 57983 h 73809"/>
                    <a:gd name="connsiteX11" fmla="*/ 47583 w 80738"/>
                    <a:gd name="connsiteY11" fmla="*/ 54172 h 73809"/>
                    <a:gd name="connsiteX12" fmla="*/ 66345 w 80738"/>
                    <a:gd name="connsiteY12" fmla="*/ 14023 h 73809"/>
                    <a:gd name="connsiteX13" fmla="*/ 23567 w 80738"/>
                    <a:gd name="connsiteY13" fmla="*/ 25619 h 73809"/>
                    <a:gd name="connsiteX14" fmla="*/ 14070 w 80738"/>
                    <a:gd name="connsiteY14" fmla="*/ 57983 h 73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738" h="73809">
                      <a:moveTo>
                        <a:pt x="28409" y="73809"/>
                      </a:moveTo>
                      <a:cubicBezTo>
                        <a:pt x="21374" y="73809"/>
                        <a:pt x="13762" y="72519"/>
                        <a:pt x="5600" y="69949"/>
                      </a:cubicBezTo>
                      <a:lnTo>
                        <a:pt x="1405" y="68625"/>
                      </a:lnTo>
                      <a:lnTo>
                        <a:pt x="824" y="64267"/>
                      </a:lnTo>
                      <a:cubicBezTo>
                        <a:pt x="-1994" y="43222"/>
                        <a:pt x="2425" y="26867"/>
                        <a:pt x="13949" y="15669"/>
                      </a:cubicBezTo>
                      <a:cubicBezTo>
                        <a:pt x="35398" y="-5185"/>
                        <a:pt x="73258" y="701"/>
                        <a:pt x="74866" y="957"/>
                      </a:cubicBezTo>
                      <a:lnTo>
                        <a:pt x="80739" y="1918"/>
                      </a:lnTo>
                      <a:lnTo>
                        <a:pt x="80670" y="7867"/>
                      </a:lnTo>
                      <a:cubicBezTo>
                        <a:pt x="80649" y="9489"/>
                        <a:pt x="79960" y="47801"/>
                        <a:pt x="55737" y="65356"/>
                      </a:cubicBezTo>
                      <a:cubicBezTo>
                        <a:pt x="47966" y="70987"/>
                        <a:pt x="38822" y="73809"/>
                        <a:pt x="28409" y="73809"/>
                      </a:cubicBezTo>
                      <a:close/>
                      <a:moveTo>
                        <a:pt x="14070" y="57983"/>
                      </a:moveTo>
                      <a:cubicBezTo>
                        <a:pt x="27890" y="61524"/>
                        <a:pt x="39165" y="60255"/>
                        <a:pt x="47583" y="54172"/>
                      </a:cubicBezTo>
                      <a:cubicBezTo>
                        <a:pt x="61153" y="44367"/>
                        <a:pt x="65169" y="24267"/>
                        <a:pt x="66345" y="14023"/>
                      </a:cubicBezTo>
                      <a:cubicBezTo>
                        <a:pt x="56059" y="13421"/>
                        <a:pt x="35561" y="13930"/>
                        <a:pt x="23567" y="25619"/>
                      </a:cubicBezTo>
                      <a:cubicBezTo>
                        <a:pt x="16131" y="32871"/>
                        <a:pt x="12946" y="43738"/>
                        <a:pt x="14070" y="57983"/>
                      </a:cubicBezTo>
                      <a:close/>
                    </a:path>
                  </a:pathLst>
                </a:custGeom>
                <a:solidFill>
                  <a:schemeClr val="accent1"/>
                </a:solidFill>
                <a:ln w="345" cap="flat">
                  <a:noFill/>
                  <a:prstDash val="solid"/>
                  <a:miter/>
                </a:ln>
              </p:spPr>
              <p:txBody>
                <a:bodyPr rtlCol="0" anchor="ctr"/>
                <a:lstStyle/>
                <a:p>
                  <a:endParaRPr lang="en-GB" dirty="0"/>
                </a:p>
              </p:txBody>
            </p:sp>
            <p:sp>
              <p:nvSpPr>
                <p:cNvPr id="454" name="Freihandform: Form 78">
                  <a:extLst>
                    <a:ext uri="{FF2B5EF4-FFF2-40B4-BE49-F238E27FC236}">
                      <a16:creationId xmlns:a16="http://schemas.microsoft.com/office/drawing/2014/main" id="{62985562-F807-4033-907C-46FCAEF35746}"/>
                    </a:ext>
                  </a:extLst>
                </p:cNvPr>
                <p:cNvSpPr/>
                <p:nvPr/>
              </p:nvSpPr>
              <p:spPr>
                <a:xfrm>
                  <a:off x="2990222" y="4402753"/>
                  <a:ext cx="72000" cy="83798"/>
                </a:xfrm>
                <a:custGeom>
                  <a:avLst/>
                  <a:gdLst>
                    <a:gd name="connsiteX0" fmla="*/ 18148 w 72000"/>
                    <a:gd name="connsiteY0" fmla="*/ 83798 h 83798"/>
                    <a:gd name="connsiteX1" fmla="*/ 11297 w 72000"/>
                    <a:gd name="connsiteY1" fmla="*/ 83542 h 83798"/>
                    <a:gd name="connsiteX2" fmla="*/ 6912 w 72000"/>
                    <a:gd name="connsiteY2" fmla="*/ 83224 h 83798"/>
                    <a:gd name="connsiteX3" fmla="*/ 5338 w 72000"/>
                    <a:gd name="connsiteY3" fmla="*/ 79123 h 83798"/>
                    <a:gd name="connsiteX4" fmla="*/ 6884 w 72000"/>
                    <a:gd name="connsiteY4" fmla="*/ 28802 h 83798"/>
                    <a:gd name="connsiteX5" fmla="*/ 62755 w 72000"/>
                    <a:gd name="connsiteY5" fmla="*/ 425 h 83798"/>
                    <a:gd name="connsiteX6" fmla="*/ 68690 w 72000"/>
                    <a:gd name="connsiteY6" fmla="*/ 0 h 83798"/>
                    <a:gd name="connsiteX7" fmla="*/ 70001 w 72000"/>
                    <a:gd name="connsiteY7" fmla="*/ 5800 h 83798"/>
                    <a:gd name="connsiteX8" fmla="*/ 59020 w 72000"/>
                    <a:gd name="connsiteY8" fmla="*/ 67495 h 83798"/>
                    <a:gd name="connsiteX9" fmla="*/ 18148 w 72000"/>
                    <a:gd name="connsiteY9" fmla="*/ 83798 h 83798"/>
                    <a:gd name="connsiteX10" fmla="*/ 16768 w 72000"/>
                    <a:gd name="connsiteY10" fmla="*/ 69944 h 83798"/>
                    <a:gd name="connsiteX11" fmla="*/ 48493 w 72000"/>
                    <a:gd name="connsiteY11" fmla="*/ 58503 h 83798"/>
                    <a:gd name="connsiteX12" fmla="*/ 57481 w 72000"/>
                    <a:gd name="connsiteY12" fmla="*/ 15096 h 83798"/>
                    <a:gd name="connsiteX13" fmla="*/ 18536 w 72000"/>
                    <a:gd name="connsiteY13" fmla="*/ 36262 h 83798"/>
                    <a:gd name="connsiteX14" fmla="*/ 16768 w 72000"/>
                    <a:gd name="connsiteY14" fmla="*/ 69944 h 8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2000" h="83798">
                      <a:moveTo>
                        <a:pt x="18148" y="83798"/>
                      </a:moveTo>
                      <a:cubicBezTo>
                        <a:pt x="15925" y="83798"/>
                        <a:pt x="13642" y="83719"/>
                        <a:pt x="11297" y="83542"/>
                      </a:cubicBezTo>
                      <a:lnTo>
                        <a:pt x="6912" y="83224"/>
                      </a:lnTo>
                      <a:lnTo>
                        <a:pt x="5338" y="79123"/>
                      </a:lnTo>
                      <a:cubicBezTo>
                        <a:pt x="-2264" y="59295"/>
                        <a:pt x="-1745" y="42366"/>
                        <a:pt x="6884" y="28802"/>
                      </a:cubicBezTo>
                      <a:cubicBezTo>
                        <a:pt x="22935" y="3559"/>
                        <a:pt x="61133" y="539"/>
                        <a:pt x="62755" y="425"/>
                      </a:cubicBezTo>
                      <a:lnTo>
                        <a:pt x="68690" y="0"/>
                      </a:lnTo>
                      <a:lnTo>
                        <a:pt x="70001" y="5800"/>
                      </a:lnTo>
                      <a:cubicBezTo>
                        <a:pt x="70361" y="7387"/>
                        <a:pt x="78529" y="44821"/>
                        <a:pt x="59020" y="67495"/>
                      </a:cubicBezTo>
                      <a:cubicBezTo>
                        <a:pt x="49689" y="78331"/>
                        <a:pt x="35963" y="83798"/>
                        <a:pt x="18148" y="83798"/>
                      </a:cubicBezTo>
                      <a:close/>
                      <a:moveTo>
                        <a:pt x="16768" y="69944"/>
                      </a:moveTo>
                      <a:cubicBezTo>
                        <a:pt x="30820" y="70213"/>
                        <a:pt x="41714" y="66354"/>
                        <a:pt x="48493" y="58503"/>
                      </a:cubicBezTo>
                      <a:cubicBezTo>
                        <a:pt x="59435" y="45824"/>
                        <a:pt x="58699" y="25340"/>
                        <a:pt x="57481" y="15096"/>
                      </a:cubicBezTo>
                      <a:cubicBezTo>
                        <a:pt x="47317" y="16894"/>
                        <a:pt x="27503" y="22117"/>
                        <a:pt x="18536" y="36262"/>
                      </a:cubicBezTo>
                      <a:cubicBezTo>
                        <a:pt x="12978" y="45026"/>
                        <a:pt x="12390" y="56345"/>
                        <a:pt x="16768" y="69944"/>
                      </a:cubicBezTo>
                      <a:close/>
                    </a:path>
                  </a:pathLst>
                </a:custGeom>
                <a:solidFill>
                  <a:schemeClr val="accent1"/>
                </a:solidFill>
                <a:ln w="345" cap="flat">
                  <a:noFill/>
                  <a:prstDash val="solid"/>
                  <a:miter/>
                </a:ln>
              </p:spPr>
              <p:txBody>
                <a:bodyPr rtlCol="0" anchor="ctr"/>
                <a:lstStyle/>
                <a:p>
                  <a:endParaRPr lang="en-GB" dirty="0"/>
                </a:p>
              </p:txBody>
            </p:sp>
          </p:grpSp>
        </p:grpSp>
        <p:grpSp>
          <p:nvGrpSpPr>
            <p:cNvPr id="443" name="Gruppieren 857">
              <a:extLst>
                <a:ext uri="{FF2B5EF4-FFF2-40B4-BE49-F238E27FC236}">
                  <a16:creationId xmlns:a16="http://schemas.microsoft.com/office/drawing/2014/main" id="{FA1861DB-E01A-4DEF-AA96-89E362A3CD4D}"/>
                </a:ext>
              </a:extLst>
            </p:cNvPr>
            <p:cNvGrpSpPr/>
            <p:nvPr/>
          </p:nvGrpSpPr>
          <p:grpSpPr>
            <a:xfrm>
              <a:off x="8200546" y="2406516"/>
              <a:ext cx="283415" cy="410698"/>
              <a:chOff x="2646235" y="4276454"/>
              <a:chExt cx="318336" cy="461301"/>
            </a:xfrm>
            <a:solidFill>
              <a:schemeClr val="tx2"/>
            </a:solidFill>
          </p:grpSpPr>
          <p:sp>
            <p:nvSpPr>
              <p:cNvPr id="444" name="Freihandform: Form 67">
                <a:extLst>
                  <a:ext uri="{FF2B5EF4-FFF2-40B4-BE49-F238E27FC236}">
                    <a16:creationId xmlns:a16="http://schemas.microsoft.com/office/drawing/2014/main" id="{5EF532B1-3444-45D7-92CF-90D47F39AAF6}"/>
                  </a:ext>
                </a:extLst>
              </p:cNvPr>
              <p:cNvSpPr/>
              <p:nvPr/>
            </p:nvSpPr>
            <p:spPr>
              <a:xfrm>
                <a:off x="2765777" y="4607639"/>
                <a:ext cx="77268" cy="77268"/>
              </a:xfrm>
              <a:custGeom>
                <a:avLst/>
                <a:gdLst>
                  <a:gd name="connsiteX0" fmla="*/ 38638 w 77268"/>
                  <a:gd name="connsiteY0" fmla="*/ 77269 h 77268"/>
                  <a:gd name="connsiteX1" fmla="*/ 0 w 77268"/>
                  <a:gd name="connsiteY1" fmla="*/ 38631 h 77268"/>
                  <a:gd name="connsiteX2" fmla="*/ 38638 w 77268"/>
                  <a:gd name="connsiteY2" fmla="*/ 0 h 77268"/>
                  <a:gd name="connsiteX3" fmla="*/ 77269 w 77268"/>
                  <a:gd name="connsiteY3" fmla="*/ 38631 h 77268"/>
                  <a:gd name="connsiteX4" fmla="*/ 38638 w 77268"/>
                  <a:gd name="connsiteY4" fmla="*/ 77269 h 77268"/>
                  <a:gd name="connsiteX5" fmla="*/ 38638 w 77268"/>
                  <a:gd name="connsiteY5" fmla="*/ 13844 h 77268"/>
                  <a:gd name="connsiteX6" fmla="*/ 13841 w 77268"/>
                  <a:gd name="connsiteY6" fmla="*/ 38634 h 77268"/>
                  <a:gd name="connsiteX7" fmla="*/ 38638 w 77268"/>
                  <a:gd name="connsiteY7" fmla="*/ 63432 h 77268"/>
                  <a:gd name="connsiteX8" fmla="*/ 63428 w 77268"/>
                  <a:gd name="connsiteY8" fmla="*/ 38634 h 77268"/>
                  <a:gd name="connsiteX9" fmla="*/ 38638 w 77268"/>
                  <a:gd name="connsiteY9" fmla="*/ 13844 h 7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268" h="77268">
                    <a:moveTo>
                      <a:pt x="38638" y="77269"/>
                    </a:moveTo>
                    <a:cubicBezTo>
                      <a:pt x="17337" y="77269"/>
                      <a:pt x="0" y="59935"/>
                      <a:pt x="0" y="38631"/>
                    </a:cubicBezTo>
                    <a:cubicBezTo>
                      <a:pt x="0" y="17327"/>
                      <a:pt x="17334" y="0"/>
                      <a:pt x="38638" y="0"/>
                    </a:cubicBezTo>
                    <a:cubicBezTo>
                      <a:pt x="59942" y="0"/>
                      <a:pt x="77269" y="17327"/>
                      <a:pt x="77269" y="38631"/>
                    </a:cubicBezTo>
                    <a:cubicBezTo>
                      <a:pt x="77269" y="59935"/>
                      <a:pt x="59942" y="77269"/>
                      <a:pt x="38638" y="77269"/>
                    </a:cubicBezTo>
                    <a:close/>
                    <a:moveTo>
                      <a:pt x="38638" y="13844"/>
                    </a:moveTo>
                    <a:cubicBezTo>
                      <a:pt x="24967" y="13844"/>
                      <a:pt x="13841" y="24960"/>
                      <a:pt x="13841" y="38634"/>
                    </a:cubicBezTo>
                    <a:cubicBezTo>
                      <a:pt x="13841" y="52309"/>
                      <a:pt x="24963" y="63432"/>
                      <a:pt x="38638" y="63432"/>
                    </a:cubicBezTo>
                    <a:cubicBezTo>
                      <a:pt x="52309" y="63432"/>
                      <a:pt x="63428" y="52306"/>
                      <a:pt x="63428" y="38634"/>
                    </a:cubicBezTo>
                    <a:cubicBezTo>
                      <a:pt x="63428" y="24963"/>
                      <a:pt x="52309" y="13844"/>
                      <a:pt x="38638" y="13844"/>
                    </a:cubicBezTo>
                    <a:close/>
                  </a:path>
                </a:pathLst>
              </a:custGeom>
              <a:grpFill/>
              <a:ln w="345" cap="flat">
                <a:noFill/>
                <a:prstDash val="solid"/>
                <a:miter/>
              </a:ln>
            </p:spPr>
            <p:txBody>
              <a:bodyPr rtlCol="0" anchor="ctr"/>
              <a:lstStyle/>
              <a:p>
                <a:endParaRPr lang="en-GB" dirty="0"/>
              </a:p>
            </p:txBody>
          </p:sp>
          <p:sp>
            <p:nvSpPr>
              <p:cNvPr id="445" name="Freihandform: Form 68">
                <a:extLst>
                  <a:ext uri="{FF2B5EF4-FFF2-40B4-BE49-F238E27FC236}">
                    <a16:creationId xmlns:a16="http://schemas.microsoft.com/office/drawing/2014/main" id="{60B39668-96F5-403D-AC1F-06915774DAF9}"/>
                  </a:ext>
                </a:extLst>
              </p:cNvPr>
              <p:cNvSpPr/>
              <p:nvPr/>
            </p:nvSpPr>
            <p:spPr>
              <a:xfrm>
                <a:off x="2765777" y="4643008"/>
                <a:ext cx="77268" cy="94747"/>
              </a:xfrm>
              <a:custGeom>
                <a:avLst/>
                <a:gdLst>
                  <a:gd name="connsiteX0" fmla="*/ 70348 w 77268"/>
                  <a:gd name="connsiteY0" fmla="*/ 94748 h 94747"/>
                  <a:gd name="connsiteX1" fmla="*/ 66510 w 77268"/>
                  <a:gd name="connsiteY1" fmla="*/ 93586 h 94747"/>
                  <a:gd name="connsiteX2" fmla="*/ 38638 w 77268"/>
                  <a:gd name="connsiteY2" fmla="*/ 75007 h 94747"/>
                  <a:gd name="connsiteX3" fmla="*/ 10759 w 77268"/>
                  <a:gd name="connsiteY3" fmla="*/ 93586 h 94747"/>
                  <a:gd name="connsiteX4" fmla="*/ 3656 w 77268"/>
                  <a:gd name="connsiteY4" fmla="*/ 93932 h 94747"/>
                  <a:gd name="connsiteX5" fmla="*/ 0 w 77268"/>
                  <a:gd name="connsiteY5" fmla="*/ 87827 h 94747"/>
                  <a:gd name="connsiteX6" fmla="*/ 0 w 77268"/>
                  <a:gd name="connsiteY6" fmla="*/ 6921 h 94747"/>
                  <a:gd name="connsiteX7" fmla="*/ 6920 w 77268"/>
                  <a:gd name="connsiteY7" fmla="*/ 0 h 94747"/>
                  <a:gd name="connsiteX8" fmla="*/ 13841 w 77268"/>
                  <a:gd name="connsiteY8" fmla="*/ 6921 h 94747"/>
                  <a:gd name="connsiteX9" fmla="*/ 13841 w 77268"/>
                  <a:gd name="connsiteY9" fmla="*/ 74900 h 94747"/>
                  <a:gd name="connsiteX10" fmla="*/ 34799 w 77268"/>
                  <a:gd name="connsiteY10" fmla="*/ 60931 h 94747"/>
                  <a:gd name="connsiteX11" fmla="*/ 42477 w 77268"/>
                  <a:gd name="connsiteY11" fmla="*/ 60931 h 94747"/>
                  <a:gd name="connsiteX12" fmla="*/ 63428 w 77268"/>
                  <a:gd name="connsiteY12" fmla="*/ 74900 h 94747"/>
                  <a:gd name="connsiteX13" fmla="*/ 63428 w 77268"/>
                  <a:gd name="connsiteY13" fmla="*/ 6921 h 94747"/>
                  <a:gd name="connsiteX14" fmla="*/ 70348 w 77268"/>
                  <a:gd name="connsiteY14" fmla="*/ 0 h 94747"/>
                  <a:gd name="connsiteX15" fmla="*/ 77269 w 77268"/>
                  <a:gd name="connsiteY15" fmla="*/ 6921 h 94747"/>
                  <a:gd name="connsiteX16" fmla="*/ 77269 w 77268"/>
                  <a:gd name="connsiteY16" fmla="*/ 87827 h 94747"/>
                  <a:gd name="connsiteX17" fmla="*/ 73613 w 77268"/>
                  <a:gd name="connsiteY17" fmla="*/ 93932 h 94747"/>
                  <a:gd name="connsiteX18" fmla="*/ 70348 w 77268"/>
                  <a:gd name="connsiteY18" fmla="*/ 94748 h 94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268" h="94747">
                    <a:moveTo>
                      <a:pt x="70348" y="94748"/>
                    </a:moveTo>
                    <a:cubicBezTo>
                      <a:pt x="69003" y="94748"/>
                      <a:pt x="67665" y="94357"/>
                      <a:pt x="66510" y="93586"/>
                    </a:cubicBezTo>
                    <a:lnTo>
                      <a:pt x="38638" y="75007"/>
                    </a:lnTo>
                    <a:lnTo>
                      <a:pt x="10759" y="93586"/>
                    </a:lnTo>
                    <a:cubicBezTo>
                      <a:pt x="8636" y="94997"/>
                      <a:pt x="5900" y="95132"/>
                      <a:pt x="3656" y="93932"/>
                    </a:cubicBezTo>
                    <a:cubicBezTo>
                      <a:pt x="1404" y="92728"/>
                      <a:pt x="0" y="90383"/>
                      <a:pt x="0" y="87827"/>
                    </a:cubicBezTo>
                    <a:lnTo>
                      <a:pt x="0" y="6921"/>
                    </a:lnTo>
                    <a:cubicBezTo>
                      <a:pt x="0" y="3095"/>
                      <a:pt x="3095" y="0"/>
                      <a:pt x="6920" y="0"/>
                    </a:cubicBezTo>
                    <a:cubicBezTo>
                      <a:pt x="10745" y="0"/>
                      <a:pt x="13841" y="3095"/>
                      <a:pt x="13841" y="6921"/>
                    </a:cubicBezTo>
                    <a:lnTo>
                      <a:pt x="13841" y="74900"/>
                    </a:lnTo>
                    <a:lnTo>
                      <a:pt x="34799" y="60931"/>
                    </a:lnTo>
                    <a:cubicBezTo>
                      <a:pt x="37123" y="59378"/>
                      <a:pt x="40153" y="59378"/>
                      <a:pt x="42477" y="60931"/>
                    </a:cubicBezTo>
                    <a:lnTo>
                      <a:pt x="63428" y="74900"/>
                    </a:lnTo>
                    <a:lnTo>
                      <a:pt x="63428" y="6921"/>
                    </a:lnTo>
                    <a:cubicBezTo>
                      <a:pt x="63428" y="3095"/>
                      <a:pt x="66523" y="0"/>
                      <a:pt x="70348" y="0"/>
                    </a:cubicBezTo>
                    <a:cubicBezTo>
                      <a:pt x="74173" y="0"/>
                      <a:pt x="77269" y="3095"/>
                      <a:pt x="77269" y="6921"/>
                    </a:cubicBezTo>
                    <a:lnTo>
                      <a:pt x="77269" y="87827"/>
                    </a:lnTo>
                    <a:cubicBezTo>
                      <a:pt x="77269" y="90383"/>
                      <a:pt x="75865" y="92728"/>
                      <a:pt x="73613" y="93932"/>
                    </a:cubicBezTo>
                    <a:cubicBezTo>
                      <a:pt x="72593" y="94478"/>
                      <a:pt x="71469" y="94748"/>
                      <a:pt x="70348" y="94748"/>
                    </a:cubicBezTo>
                    <a:close/>
                  </a:path>
                </a:pathLst>
              </a:custGeom>
              <a:grpFill/>
              <a:ln w="345" cap="flat">
                <a:noFill/>
                <a:prstDash val="solid"/>
                <a:miter/>
              </a:ln>
            </p:spPr>
            <p:txBody>
              <a:bodyPr rtlCol="0" anchor="ctr"/>
              <a:lstStyle/>
              <a:p>
                <a:endParaRPr lang="en-GB" dirty="0"/>
              </a:p>
            </p:txBody>
          </p:sp>
          <p:sp>
            <p:nvSpPr>
              <p:cNvPr id="446" name="Freihandform: Form 79">
                <a:extLst>
                  <a:ext uri="{FF2B5EF4-FFF2-40B4-BE49-F238E27FC236}">
                    <a16:creationId xmlns:a16="http://schemas.microsoft.com/office/drawing/2014/main" id="{F52DA71A-CD79-4D6C-8060-BC7CFD084240}"/>
                  </a:ext>
                </a:extLst>
              </p:cNvPr>
              <p:cNvSpPr/>
              <p:nvPr/>
            </p:nvSpPr>
            <p:spPr>
              <a:xfrm>
                <a:off x="2646235" y="4276454"/>
                <a:ext cx="318336" cy="374494"/>
              </a:xfrm>
              <a:custGeom>
                <a:avLst/>
                <a:gdLst>
                  <a:gd name="connsiteX0" fmla="*/ 311416 w 318336"/>
                  <a:gd name="connsiteY0" fmla="*/ 374495 h 374494"/>
                  <a:gd name="connsiteX1" fmla="*/ 193770 w 318336"/>
                  <a:gd name="connsiteY1" fmla="*/ 374495 h 374494"/>
                  <a:gd name="connsiteX2" fmla="*/ 186850 w 318336"/>
                  <a:gd name="connsiteY2" fmla="*/ 367575 h 374494"/>
                  <a:gd name="connsiteX3" fmla="*/ 193770 w 318336"/>
                  <a:gd name="connsiteY3" fmla="*/ 360654 h 374494"/>
                  <a:gd name="connsiteX4" fmla="*/ 304496 w 318336"/>
                  <a:gd name="connsiteY4" fmla="*/ 360654 h 374494"/>
                  <a:gd name="connsiteX5" fmla="*/ 304496 w 318336"/>
                  <a:gd name="connsiteY5" fmla="*/ 13841 h 374494"/>
                  <a:gd name="connsiteX6" fmla="*/ 13841 w 318336"/>
                  <a:gd name="connsiteY6" fmla="*/ 13841 h 374494"/>
                  <a:gd name="connsiteX7" fmla="*/ 13841 w 318336"/>
                  <a:gd name="connsiteY7" fmla="*/ 360654 h 374494"/>
                  <a:gd name="connsiteX8" fmla="*/ 124567 w 318336"/>
                  <a:gd name="connsiteY8" fmla="*/ 360654 h 374494"/>
                  <a:gd name="connsiteX9" fmla="*/ 131487 w 318336"/>
                  <a:gd name="connsiteY9" fmla="*/ 367575 h 374494"/>
                  <a:gd name="connsiteX10" fmla="*/ 124567 w 318336"/>
                  <a:gd name="connsiteY10" fmla="*/ 374495 h 374494"/>
                  <a:gd name="connsiteX11" fmla="*/ 6920 w 318336"/>
                  <a:gd name="connsiteY11" fmla="*/ 374495 h 374494"/>
                  <a:gd name="connsiteX12" fmla="*/ 0 w 318336"/>
                  <a:gd name="connsiteY12" fmla="*/ 367575 h 374494"/>
                  <a:gd name="connsiteX13" fmla="*/ 0 w 318336"/>
                  <a:gd name="connsiteY13" fmla="*/ 6920 h 374494"/>
                  <a:gd name="connsiteX14" fmla="*/ 6920 w 318336"/>
                  <a:gd name="connsiteY14" fmla="*/ 0 h 374494"/>
                  <a:gd name="connsiteX15" fmla="*/ 311416 w 318336"/>
                  <a:gd name="connsiteY15" fmla="*/ 0 h 374494"/>
                  <a:gd name="connsiteX16" fmla="*/ 318337 w 318336"/>
                  <a:gd name="connsiteY16" fmla="*/ 6920 h 374494"/>
                  <a:gd name="connsiteX17" fmla="*/ 318337 w 318336"/>
                  <a:gd name="connsiteY17" fmla="*/ 367575 h 374494"/>
                  <a:gd name="connsiteX18" fmla="*/ 311416 w 318336"/>
                  <a:gd name="connsiteY18" fmla="*/ 374495 h 374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8336" h="374494">
                    <a:moveTo>
                      <a:pt x="311416" y="374495"/>
                    </a:moveTo>
                    <a:lnTo>
                      <a:pt x="193770" y="374495"/>
                    </a:lnTo>
                    <a:cubicBezTo>
                      <a:pt x="189945" y="374495"/>
                      <a:pt x="186850" y="371400"/>
                      <a:pt x="186850" y="367575"/>
                    </a:cubicBezTo>
                    <a:cubicBezTo>
                      <a:pt x="186850" y="363750"/>
                      <a:pt x="189945" y="360654"/>
                      <a:pt x="193770" y="360654"/>
                    </a:cubicBezTo>
                    <a:lnTo>
                      <a:pt x="304496" y="360654"/>
                    </a:lnTo>
                    <a:lnTo>
                      <a:pt x="304496" y="13841"/>
                    </a:lnTo>
                    <a:lnTo>
                      <a:pt x="13841" y="13841"/>
                    </a:lnTo>
                    <a:lnTo>
                      <a:pt x="13841" y="360654"/>
                    </a:lnTo>
                    <a:lnTo>
                      <a:pt x="124567" y="360654"/>
                    </a:lnTo>
                    <a:cubicBezTo>
                      <a:pt x="128392" y="360654"/>
                      <a:pt x="131487" y="363750"/>
                      <a:pt x="131487" y="367575"/>
                    </a:cubicBezTo>
                    <a:cubicBezTo>
                      <a:pt x="131487" y="371400"/>
                      <a:pt x="128392" y="374495"/>
                      <a:pt x="124567" y="374495"/>
                    </a:cubicBezTo>
                    <a:lnTo>
                      <a:pt x="6920" y="374495"/>
                    </a:lnTo>
                    <a:cubicBezTo>
                      <a:pt x="3095" y="374495"/>
                      <a:pt x="0" y="371400"/>
                      <a:pt x="0" y="367575"/>
                    </a:cubicBezTo>
                    <a:lnTo>
                      <a:pt x="0" y="6920"/>
                    </a:lnTo>
                    <a:cubicBezTo>
                      <a:pt x="0" y="3095"/>
                      <a:pt x="3095" y="0"/>
                      <a:pt x="6920" y="0"/>
                    </a:cubicBezTo>
                    <a:lnTo>
                      <a:pt x="311416" y="0"/>
                    </a:lnTo>
                    <a:cubicBezTo>
                      <a:pt x="315242" y="0"/>
                      <a:pt x="318337" y="3095"/>
                      <a:pt x="318337" y="6920"/>
                    </a:cubicBezTo>
                    <a:lnTo>
                      <a:pt x="318337" y="367575"/>
                    </a:lnTo>
                    <a:cubicBezTo>
                      <a:pt x="318337" y="371400"/>
                      <a:pt x="315242" y="374495"/>
                      <a:pt x="311416" y="374495"/>
                    </a:cubicBezTo>
                    <a:close/>
                  </a:path>
                </a:pathLst>
              </a:custGeom>
              <a:grpFill/>
              <a:ln w="345" cap="flat">
                <a:noFill/>
                <a:prstDash val="solid"/>
                <a:miter/>
              </a:ln>
            </p:spPr>
            <p:txBody>
              <a:bodyPr rtlCol="0" anchor="ctr"/>
              <a:lstStyle/>
              <a:p>
                <a:endParaRPr lang="en-GB" dirty="0"/>
              </a:p>
            </p:txBody>
          </p:sp>
          <p:sp>
            <p:nvSpPr>
              <p:cNvPr id="447" name="Freihandform: Form 80">
                <a:extLst>
                  <a:ext uri="{FF2B5EF4-FFF2-40B4-BE49-F238E27FC236}">
                    <a16:creationId xmlns:a16="http://schemas.microsoft.com/office/drawing/2014/main" id="{4B978C7D-B555-4DCC-BF9A-B6EB19C33B7C}"/>
                  </a:ext>
                </a:extLst>
              </p:cNvPr>
              <p:cNvSpPr/>
              <p:nvPr/>
            </p:nvSpPr>
            <p:spPr>
              <a:xfrm>
                <a:off x="2715439" y="4497902"/>
                <a:ext cx="179929" cy="13840"/>
              </a:xfrm>
              <a:custGeom>
                <a:avLst/>
                <a:gdLst>
                  <a:gd name="connsiteX0" fmla="*/ 0 w 179929"/>
                  <a:gd name="connsiteY0" fmla="*/ 0 h 13840"/>
                  <a:gd name="connsiteX1" fmla="*/ 179929 w 179929"/>
                  <a:gd name="connsiteY1" fmla="*/ 0 h 13840"/>
                  <a:gd name="connsiteX2" fmla="*/ 179929 w 179929"/>
                  <a:gd name="connsiteY2" fmla="*/ 13841 h 13840"/>
                  <a:gd name="connsiteX3" fmla="*/ 0 w 179929"/>
                  <a:gd name="connsiteY3" fmla="*/ 13841 h 13840"/>
                </a:gdLst>
                <a:ahLst/>
                <a:cxnLst>
                  <a:cxn ang="0">
                    <a:pos x="connsiteX0" y="connsiteY0"/>
                  </a:cxn>
                  <a:cxn ang="0">
                    <a:pos x="connsiteX1" y="connsiteY1"/>
                  </a:cxn>
                  <a:cxn ang="0">
                    <a:pos x="connsiteX2" y="connsiteY2"/>
                  </a:cxn>
                  <a:cxn ang="0">
                    <a:pos x="connsiteX3" y="connsiteY3"/>
                  </a:cxn>
                </a:cxnLst>
                <a:rect l="l" t="t" r="r" b="b"/>
                <a:pathLst>
                  <a:path w="179929" h="13840">
                    <a:moveTo>
                      <a:pt x="0" y="0"/>
                    </a:moveTo>
                    <a:lnTo>
                      <a:pt x="179929" y="0"/>
                    </a:lnTo>
                    <a:lnTo>
                      <a:pt x="179929" y="13841"/>
                    </a:lnTo>
                    <a:lnTo>
                      <a:pt x="0" y="13841"/>
                    </a:lnTo>
                    <a:close/>
                  </a:path>
                </a:pathLst>
              </a:custGeom>
              <a:grpFill/>
              <a:ln w="345" cap="flat">
                <a:noFill/>
                <a:prstDash val="solid"/>
                <a:miter/>
              </a:ln>
            </p:spPr>
            <p:txBody>
              <a:bodyPr rtlCol="0" anchor="ctr"/>
              <a:lstStyle/>
              <a:p>
                <a:endParaRPr lang="en-GB" dirty="0"/>
              </a:p>
            </p:txBody>
          </p:sp>
          <p:sp>
            <p:nvSpPr>
              <p:cNvPr id="448" name="Freihandform: Form 81">
                <a:extLst>
                  <a:ext uri="{FF2B5EF4-FFF2-40B4-BE49-F238E27FC236}">
                    <a16:creationId xmlns:a16="http://schemas.microsoft.com/office/drawing/2014/main" id="{89F97D91-EFC3-4A48-B290-1449D9E7BFF5}"/>
                  </a:ext>
                </a:extLst>
              </p:cNvPr>
              <p:cNvSpPr/>
              <p:nvPr/>
            </p:nvSpPr>
            <p:spPr>
              <a:xfrm>
                <a:off x="2715439" y="4442539"/>
                <a:ext cx="179929" cy="13840"/>
              </a:xfrm>
              <a:custGeom>
                <a:avLst/>
                <a:gdLst>
                  <a:gd name="connsiteX0" fmla="*/ 0 w 179929"/>
                  <a:gd name="connsiteY0" fmla="*/ 0 h 13840"/>
                  <a:gd name="connsiteX1" fmla="*/ 179929 w 179929"/>
                  <a:gd name="connsiteY1" fmla="*/ 0 h 13840"/>
                  <a:gd name="connsiteX2" fmla="*/ 179929 w 179929"/>
                  <a:gd name="connsiteY2" fmla="*/ 13841 h 13840"/>
                  <a:gd name="connsiteX3" fmla="*/ 0 w 179929"/>
                  <a:gd name="connsiteY3" fmla="*/ 13841 h 13840"/>
                </a:gdLst>
                <a:ahLst/>
                <a:cxnLst>
                  <a:cxn ang="0">
                    <a:pos x="connsiteX0" y="connsiteY0"/>
                  </a:cxn>
                  <a:cxn ang="0">
                    <a:pos x="connsiteX1" y="connsiteY1"/>
                  </a:cxn>
                  <a:cxn ang="0">
                    <a:pos x="connsiteX2" y="connsiteY2"/>
                  </a:cxn>
                  <a:cxn ang="0">
                    <a:pos x="connsiteX3" y="connsiteY3"/>
                  </a:cxn>
                </a:cxnLst>
                <a:rect l="l" t="t" r="r" b="b"/>
                <a:pathLst>
                  <a:path w="179929" h="13840">
                    <a:moveTo>
                      <a:pt x="0" y="0"/>
                    </a:moveTo>
                    <a:lnTo>
                      <a:pt x="179929" y="0"/>
                    </a:lnTo>
                    <a:lnTo>
                      <a:pt x="179929" y="13841"/>
                    </a:lnTo>
                    <a:lnTo>
                      <a:pt x="0" y="13841"/>
                    </a:lnTo>
                    <a:close/>
                  </a:path>
                </a:pathLst>
              </a:custGeom>
              <a:grpFill/>
              <a:ln w="345" cap="flat">
                <a:noFill/>
                <a:prstDash val="solid"/>
                <a:miter/>
              </a:ln>
            </p:spPr>
            <p:txBody>
              <a:bodyPr rtlCol="0" anchor="ctr"/>
              <a:lstStyle/>
              <a:p>
                <a:endParaRPr lang="en-GB" dirty="0"/>
              </a:p>
            </p:txBody>
          </p:sp>
          <p:sp>
            <p:nvSpPr>
              <p:cNvPr id="449" name="Freihandform: Form 82">
                <a:extLst>
                  <a:ext uri="{FF2B5EF4-FFF2-40B4-BE49-F238E27FC236}">
                    <a16:creationId xmlns:a16="http://schemas.microsoft.com/office/drawing/2014/main" id="{BF161F68-7607-47B0-A0CF-1F9B1478D7FB}"/>
                  </a:ext>
                </a:extLst>
              </p:cNvPr>
              <p:cNvSpPr/>
              <p:nvPr/>
            </p:nvSpPr>
            <p:spPr>
              <a:xfrm>
                <a:off x="2714709" y="4387177"/>
                <a:ext cx="179929" cy="13840"/>
              </a:xfrm>
              <a:custGeom>
                <a:avLst/>
                <a:gdLst>
                  <a:gd name="connsiteX0" fmla="*/ 0 w 179929"/>
                  <a:gd name="connsiteY0" fmla="*/ 0 h 13840"/>
                  <a:gd name="connsiteX1" fmla="*/ 179929 w 179929"/>
                  <a:gd name="connsiteY1" fmla="*/ 0 h 13840"/>
                  <a:gd name="connsiteX2" fmla="*/ 179929 w 179929"/>
                  <a:gd name="connsiteY2" fmla="*/ 13841 h 13840"/>
                  <a:gd name="connsiteX3" fmla="*/ 0 w 179929"/>
                  <a:gd name="connsiteY3" fmla="*/ 13841 h 13840"/>
                </a:gdLst>
                <a:ahLst/>
                <a:cxnLst>
                  <a:cxn ang="0">
                    <a:pos x="connsiteX0" y="connsiteY0"/>
                  </a:cxn>
                  <a:cxn ang="0">
                    <a:pos x="connsiteX1" y="connsiteY1"/>
                  </a:cxn>
                  <a:cxn ang="0">
                    <a:pos x="connsiteX2" y="connsiteY2"/>
                  </a:cxn>
                  <a:cxn ang="0">
                    <a:pos x="connsiteX3" y="connsiteY3"/>
                  </a:cxn>
                </a:cxnLst>
                <a:rect l="l" t="t" r="r" b="b"/>
                <a:pathLst>
                  <a:path w="179929" h="13840">
                    <a:moveTo>
                      <a:pt x="0" y="0"/>
                    </a:moveTo>
                    <a:lnTo>
                      <a:pt x="179929" y="0"/>
                    </a:lnTo>
                    <a:lnTo>
                      <a:pt x="179929" y="13841"/>
                    </a:lnTo>
                    <a:lnTo>
                      <a:pt x="0" y="13841"/>
                    </a:lnTo>
                    <a:close/>
                  </a:path>
                </a:pathLst>
              </a:custGeom>
              <a:grpFill/>
              <a:ln w="345" cap="flat">
                <a:noFill/>
                <a:prstDash val="solid"/>
                <a:miter/>
              </a:ln>
            </p:spPr>
            <p:txBody>
              <a:bodyPr rtlCol="0" anchor="ctr"/>
              <a:lstStyle/>
              <a:p>
                <a:endParaRPr lang="en-GB" dirty="0"/>
              </a:p>
            </p:txBody>
          </p:sp>
          <p:sp>
            <p:nvSpPr>
              <p:cNvPr id="450" name="Freihandform: Form 83">
                <a:extLst>
                  <a:ext uri="{FF2B5EF4-FFF2-40B4-BE49-F238E27FC236}">
                    <a16:creationId xmlns:a16="http://schemas.microsoft.com/office/drawing/2014/main" id="{F9EFF1DF-6AD7-45AB-916F-FF0FB243A257}"/>
                  </a:ext>
                </a:extLst>
              </p:cNvPr>
              <p:cNvSpPr/>
              <p:nvPr/>
            </p:nvSpPr>
            <p:spPr>
              <a:xfrm>
                <a:off x="2825435" y="4553265"/>
                <a:ext cx="69933" cy="13840"/>
              </a:xfrm>
              <a:custGeom>
                <a:avLst/>
                <a:gdLst>
                  <a:gd name="connsiteX0" fmla="*/ 0 w 69933"/>
                  <a:gd name="connsiteY0" fmla="*/ 0 h 13840"/>
                  <a:gd name="connsiteX1" fmla="*/ 69933 w 69933"/>
                  <a:gd name="connsiteY1" fmla="*/ 0 h 13840"/>
                  <a:gd name="connsiteX2" fmla="*/ 69933 w 69933"/>
                  <a:gd name="connsiteY2" fmla="*/ 13841 h 13840"/>
                  <a:gd name="connsiteX3" fmla="*/ 0 w 69933"/>
                  <a:gd name="connsiteY3" fmla="*/ 13841 h 13840"/>
                </a:gdLst>
                <a:ahLst/>
                <a:cxnLst>
                  <a:cxn ang="0">
                    <a:pos x="connsiteX0" y="connsiteY0"/>
                  </a:cxn>
                  <a:cxn ang="0">
                    <a:pos x="connsiteX1" y="connsiteY1"/>
                  </a:cxn>
                  <a:cxn ang="0">
                    <a:pos x="connsiteX2" y="connsiteY2"/>
                  </a:cxn>
                  <a:cxn ang="0">
                    <a:pos x="connsiteX3" y="connsiteY3"/>
                  </a:cxn>
                </a:cxnLst>
                <a:rect l="l" t="t" r="r" b="b"/>
                <a:pathLst>
                  <a:path w="69933" h="13840">
                    <a:moveTo>
                      <a:pt x="0" y="0"/>
                    </a:moveTo>
                    <a:lnTo>
                      <a:pt x="69933" y="0"/>
                    </a:lnTo>
                    <a:lnTo>
                      <a:pt x="69933" y="13841"/>
                    </a:lnTo>
                    <a:lnTo>
                      <a:pt x="0" y="13841"/>
                    </a:lnTo>
                    <a:close/>
                  </a:path>
                </a:pathLst>
              </a:custGeom>
              <a:grpFill/>
              <a:ln w="345" cap="flat">
                <a:noFill/>
                <a:prstDash val="solid"/>
                <a:miter/>
              </a:ln>
            </p:spPr>
            <p:txBody>
              <a:bodyPr rtlCol="0" anchor="ctr"/>
              <a:lstStyle/>
              <a:p>
                <a:endParaRPr lang="en-GB" dirty="0"/>
              </a:p>
            </p:txBody>
          </p:sp>
        </p:grpSp>
      </p:grpSp>
      <p:grpSp>
        <p:nvGrpSpPr>
          <p:cNvPr id="596" name="Group 595">
            <a:extLst>
              <a:ext uri="{FF2B5EF4-FFF2-40B4-BE49-F238E27FC236}">
                <a16:creationId xmlns:a16="http://schemas.microsoft.com/office/drawing/2014/main" id="{FBD50605-E080-E516-D44A-F89A108AE7F6}"/>
              </a:ext>
            </a:extLst>
          </p:cNvPr>
          <p:cNvGrpSpPr/>
          <p:nvPr/>
        </p:nvGrpSpPr>
        <p:grpSpPr>
          <a:xfrm>
            <a:off x="4925268" y="3240893"/>
            <a:ext cx="576000" cy="344351"/>
            <a:chOff x="4924856" y="3240893"/>
            <a:chExt cx="576000" cy="344351"/>
          </a:xfrm>
        </p:grpSpPr>
        <p:grpSp>
          <p:nvGrpSpPr>
            <p:cNvPr id="460" name="Gruppieren 859">
              <a:extLst>
                <a:ext uri="{FF2B5EF4-FFF2-40B4-BE49-F238E27FC236}">
                  <a16:creationId xmlns:a16="http://schemas.microsoft.com/office/drawing/2014/main" id="{7EDA9DF8-C12E-4774-923F-55B9B27F46CC}"/>
                </a:ext>
              </a:extLst>
            </p:cNvPr>
            <p:cNvGrpSpPr/>
            <p:nvPr/>
          </p:nvGrpSpPr>
          <p:grpSpPr>
            <a:xfrm>
              <a:off x="4924856" y="3421940"/>
              <a:ext cx="576000" cy="163304"/>
              <a:chOff x="3420584" y="4504719"/>
              <a:chExt cx="512960" cy="145431"/>
            </a:xfrm>
            <a:solidFill>
              <a:schemeClr val="tx2"/>
            </a:solidFill>
          </p:grpSpPr>
          <p:grpSp>
            <p:nvGrpSpPr>
              <p:cNvPr id="472" name="Graphic 7">
                <a:extLst>
                  <a:ext uri="{FF2B5EF4-FFF2-40B4-BE49-F238E27FC236}">
                    <a16:creationId xmlns:a16="http://schemas.microsoft.com/office/drawing/2014/main" id="{C77E434F-64C8-4039-826C-781D5C4097E3}"/>
                  </a:ext>
                </a:extLst>
              </p:cNvPr>
              <p:cNvGrpSpPr/>
              <p:nvPr/>
            </p:nvGrpSpPr>
            <p:grpSpPr>
              <a:xfrm>
                <a:off x="3764626" y="4504719"/>
                <a:ext cx="168918" cy="145431"/>
                <a:chOff x="3764626" y="4504719"/>
                <a:chExt cx="168918" cy="145431"/>
              </a:xfrm>
              <a:grpFill/>
            </p:grpSpPr>
            <p:sp>
              <p:nvSpPr>
                <p:cNvPr id="480" name="Freihandform: Form 316">
                  <a:extLst>
                    <a:ext uri="{FF2B5EF4-FFF2-40B4-BE49-F238E27FC236}">
                      <a16:creationId xmlns:a16="http://schemas.microsoft.com/office/drawing/2014/main" id="{4D7381F0-254D-404D-8FF0-BB181B7AFD84}"/>
                    </a:ext>
                  </a:extLst>
                </p:cNvPr>
                <p:cNvSpPr/>
                <p:nvPr/>
              </p:nvSpPr>
              <p:spPr>
                <a:xfrm>
                  <a:off x="3764626" y="4504729"/>
                  <a:ext cx="168918" cy="145421"/>
                </a:xfrm>
                <a:custGeom>
                  <a:avLst/>
                  <a:gdLst>
                    <a:gd name="connsiteX0" fmla="*/ 75069 w 168918"/>
                    <a:gd name="connsiteY0" fmla="*/ 145421 h 145421"/>
                    <a:gd name="connsiteX1" fmla="*/ 75041 w 168918"/>
                    <a:gd name="connsiteY1" fmla="*/ 145421 h 145421"/>
                    <a:gd name="connsiteX2" fmla="*/ 70068 w 168918"/>
                    <a:gd name="connsiteY2" fmla="*/ 143287 h 145421"/>
                    <a:gd name="connsiteX3" fmla="*/ 0 w 168918"/>
                    <a:gd name="connsiteY3" fmla="*/ 70096 h 145421"/>
                    <a:gd name="connsiteX4" fmla="*/ 10002 w 168918"/>
                    <a:gd name="connsiteY4" fmla="*/ 60527 h 145421"/>
                    <a:gd name="connsiteX5" fmla="*/ 75111 w 168918"/>
                    <a:gd name="connsiteY5" fmla="*/ 128541 h 145421"/>
                    <a:gd name="connsiteX6" fmla="*/ 152410 w 168918"/>
                    <a:gd name="connsiteY6" fmla="*/ 49138 h 145421"/>
                    <a:gd name="connsiteX7" fmla="*/ 119078 w 168918"/>
                    <a:gd name="connsiteY7" fmla="*/ 13841 h 145421"/>
                    <a:gd name="connsiteX8" fmla="*/ 50414 w 168918"/>
                    <a:gd name="connsiteY8" fmla="*/ 13841 h 145421"/>
                    <a:gd name="connsiteX9" fmla="*/ 50414 w 168918"/>
                    <a:gd name="connsiteY9" fmla="*/ 0 h 145421"/>
                    <a:gd name="connsiteX10" fmla="*/ 122056 w 168918"/>
                    <a:gd name="connsiteY10" fmla="*/ 0 h 145421"/>
                    <a:gd name="connsiteX11" fmla="*/ 127084 w 168918"/>
                    <a:gd name="connsiteY11" fmla="*/ 2169 h 145421"/>
                    <a:gd name="connsiteX12" fmla="*/ 167026 w 168918"/>
                    <a:gd name="connsiteY12" fmla="*/ 44462 h 145421"/>
                    <a:gd name="connsiteX13" fmla="*/ 166957 w 168918"/>
                    <a:gd name="connsiteY13" fmla="*/ 54038 h 145421"/>
                    <a:gd name="connsiteX14" fmla="*/ 80025 w 168918"/>
                    <a:gd name="connsiteY14" fmla="*/ 143329 h 145421"/>
                    <a:gd name="connsiteX15" fmla="*/ 75069 w 168918"/>
                    <a:gd name="connsiteY15" fmla="*/ 145421 h 14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8918" h="145421">
                      <a:moveTo>
                        <a:pt x="75069" y="145421"/>
                      </a:moveTo>
                      <a:cubicBezTo>
                        <a:pt x="75062" y="145421"/>
                        <a:pt x="75048" y="145421"/>
                        <a:pt x="75041" y="145421"/>
                      </a:cubicBezTo>
                      <a:cubicBezTo>
                        <a:pt x="73164" y="145414"/>
                        <a:pt x="71365" y="144643"/>
                        <a:pt x="70068" y="143287"/>
                      </a:cubicBezTo>
                      <a:lnTo>
                        <a:pt x="0" y="70096"/>
                      </a:lnTo>
                      <a:lnTo>
                        <a:pt x="10002" y="60527"/>
                      </a:lnTo>
                      <a:lnTo>
                        <a:pt x="75111" y="128541"/>
                      </a:lnTo>
                      <a:lnTo>
                        <a:pt x="152410" y="49138"/>
                      </a:lnTo>
                      <a:lnTo>
                        <a:pt x="119078" y="13841"/>
                      </a:lnTo>
                      <a:lnTo>
                        <a:pt x="50414" y="13841"/>
                      </a:lnTo>
                      <a:lnTo>
                        <a:pt x="50414" y="0"/>
                      </a:lnTo>
                      <a:lnTo>
                        <a:pt x="122056" y="0"/>
                      </a:lnTo>
                      <a:cubicBezTo>
                        <a:pt x="123961" y="0"/>
                        <a:pt x="125780" y="785"/>
                        <a:pt x="127084" y="2169"/>
                      </a:cubicBezTo>
                      <a:lnTo>
                        <a:pt x="167026" y="44462"/>
                      </a:lnTo>
                      <a:cubicBezTo>
                        <a:pt x="169575" y="47160"/>
                        <a:pt x="169547" y="51382"/>
                        <a:pt x="166957" y="54038"/>
                      </a:cubicBezTo>
                      <a:lnTo>
                        <a:pt x="80025" y="143329"/>
                      </a:lnTo>
                      <a:cubicBezTo>
                        <a:pt x="78728" y="144664"/>
                        <a:pt x="76937" y="145421"/>
                        <a:pt x="75069" y="145421"/>
                      </a:cubicBezTo>
                      <a:close/>
                    </a:path>
                  </a:pathLst>
                </a:custGeom>
                <a:grpFill/>
                <a:ln w="345" cap="flat">
                  <a:noFill/>
                  <a:prstDash val="solid"/>
                  <a:miter/>
                </a:ln>
              </p:spPr>
              <p:txBody>
                <a:bodyPr rtlCol="0" anchor="ctr"/>
                <a:lstStyle/>
                <a:p>
                  <a:endParaRPr lang="en-GB" dirty="0"/>
                </a:p>
              </p:txBody>
            </p:sp>
            <p:sp>
              <p:nvSpPr>
                <p:cNvPr id="481" name="Freihandform: Form 317">
                  <a:extLst>
                    <a:ext uri="{FF2B5EF4-FFF2-40B4-BE49-F238E27FC236}">
                      <a16:creationId xmlns:a16="http://schemas.microsoft.com/office/drawing/2014/main" id="{722F6E2F-702B-4672-8422-FBBE726491EA}"/>
                    </a:ext>
                  </a:extLst>
                </p:cNvPr>
                <p:cNvSpPr/>
                <p:nvPr/>
              </p:nvSpPr>
              <p:spPr>
                <a:xfrm>
                  <a:off x="3782787" y="4547023"/>
                  <a:ext cx="141495" cy="13840"/>
                </a:xfrm>
                <a:custGeom>
                  <a:avLst/>
                  <a:gdLst>
                    <a:gd name="connsiteX0" fmla="*/ 0 w 141495"/>
                    <a:gd name="connsiteY0" fmla="*/ 0 h 13840"/>
                    <a:gd name="connsiteX1" fmla="*/ 141496 w 141495"/>
                    <a:gd name="connsiteY1" fmla="*/ 0 h 13840"/>
                    <a:gd name="connsiteX2" fmla="*/ 141496 w 141495"/>
                    <a:gd name="connsiteY2" fmla="*/ 13840 h 13840"/>
                    <a:gd name="connsiteX3" fmla="*/ 0 w 141495"/>
                    <a:gd name="connsiteY3" fmla="*/ 13840 h 13840"/>
                  </a:gdLst>
                  <a:ahLst/>
                  <a:cxnLst>
                    <a:cxn ang="0">
                      <a:pos x="connsiteX0" y="connsiteY0"/>
                    </a:cxn>
                    <a:cxn ang="0">
                      <a:pos x="connsiteX1" y="connsiteY1"/>
                    </a:cxn>
                    <a:cxn ang="0">
                      <a:pos x="connsiteX2" y="connsiteY2"/>
                    </a:cxn>
                    <a:cxn ang="0">
                      <a:pos x="connsiteX3" y="connsiteY3"/>
                    </a:cxn>
                  </a:cxnLst>
                  <a:rect l="l" t="t" r="r" b="b"/>
                  <a:pathLst>
                    <a:path w="141495" h="13840">
                      <a:moveTo>
                        <a:pt x="0" y="0"/>
                      </a:moveTo>
                      <a:lnTo>
                        <a:pt x="141496" y="0"/>
                      </a:lnTo>
                      <a:lnTo>
                        <a:pt x="141496" y="13840"/>
                      </a:lnTo>
                      <a:lnTo>
                        <a:pt x="0" y="13840"/>
                      </a:lnTo>
                      <a:close/>
                    </a:path>
                  </a:pathLst>
                </a:custGeom>
                <a:grpFill/>
                <a:ln w="345" cap="flat">
                  <a:noFill/>
                  <a:prstDash val="solid"/>
                  <a:miter/>
                </a:ln>
              </p:spPr>
              <p:txBody>
                <a:bodyPr rtlCol="0" anchor="ctr"/>
                <a:lstStyle/>
                <a:p>
                  <a:endParaRPr lang="en-GB" dirty="0"/>
                </a:p>
              </p:txBody>
            </p:sp>
            <p:sp>
              <p:nvSpPr>
                <p:cNvPr id="482" name="Freihandform: Form 318">
                  <a:extLst>
                    <a:ext uri="{FF2B5EF4-FFF2-40B4-BE49-F238E27FC236}">
                      <a16:creationId xmlns:a16="http://schemas.microsoft.com/office/drawing/2014/main" id="{CDFDF421-BC12-4E00-8BE8-E789842886F1}"/>
                    </a:ext>
                  </a:extLst>
                </p:cNvPr>
                <p:cNvSpPr/>
                <p:nvPr/>
              </p:nvSpPr>
              <p:spPr>
                <a:xfrm rot="-1182744">
                  <a:off x="3813393" y="4531052"/>
                  <a:ext cx="13840" cy="115419"/>
                </a:xfrm>
                <a:custGeom>
                  <a:avLst/>
                  <a:gdLst>
                    <a:gd name="connsiteX0" fmla="*/ 0 w 13840"/>
                    <a:gd name="connsiteY0" fmla="*/ 0 h 115419"/>
                    <a:gd name="connsiteX1" fmla="*/ 13841 w 13840"/>
                    <a:gd name="connsiteY1" fmla="*/ 0 h 115419"/>
                    <a:gd name="connsiteX2" fmla="*/ 13841 w 13840"/>
                    <a:gd name="connsiteY2" fmla="*/ 115419 h 115419"/>
                    <a:gd name="connsiteX3" fmla="*/ 0 w 13840"/>
                    <a:gd name="connsiteY3" fmla="*/ 115419 h 115419"/>
                  </a:gdLst>
                  <a:ahLst/>
                  <a:cxnLst>
                    <a:cxn ang="0">
                      <a:pos x="connsiteX0" y="connsiteY0"/>
                    </a:cxn>
                    <a:cxn ang="0">
                      <a:pos x="connsiteX1" y="connsiteY1"/>
                    </a:cxn>
                    <a:cxn ang="0">
                      <a:pos x="connsiteX2" y="connsiteY2"/>
                    </a:cxn>
                    <a:cxn ang="0">
                      <a:pos x="connsiteX3" y="connsiteY3"/>
                    </a:cxn>
                  </a:cxnLst>
                  <a:rect l="l" t="t" r="r" b="b"/>
                  <a:pathLst>
                    <a:path w="13840" h="115419">
                      <a:moveTo>
                        <a:pt x="0" y="0"/>
                      </a:moveTo>
                      <a:lnTo>
                        <a:pt x="13841" y="0"/>
                      </a:lnTo>
                      <a:lnTo>
                        <a:pt x="13841" y="115419"/>
                      </a:lnTo>
                      <a:lnTo>
                        <a:pt x="0" y="115419"/>
                      </a:lnTo>
                      <a:close/>
                    </a:path>
                  </a:pathLst>
                </a:custGeom>
                <a:grpFill/>
                <a:ln w="345" cap="flat">
                  <a:noFill/>
                  <a:prstDash val="solid"/>
                  <a:miter/>
                </a:ln>
              </p:spPr>
              <p:txBody>
                <a:bodyPr rtlCol="0" anchor="ctr"/>
                <a:lstStyle/>
                <a:p>
                  <a:endParaRPr lang="en-GB" dirty="0"/>
                </a:p>
              </p:txBody>
            </p:sp>
            <p:sp>
              <p:nvSpPr>
                <p:cNvPr id="483" name="Freihandform: Form 319">
                  <a:extLst>
                    <a:ext uri="{FF2B5EF4-FFF2-40B4-BE49-F238E27FC236}">
                      <a16:creationId xmlns:a16="http://schemas.microsoft.com/office/drawing/2014/main" id="{448C6D2D-7328-4478-9E67-BA5ADFDAF7CA}"/>
                    </a:ext>
                  </a:extLst>
                </p:cNvPr>
                <p:cNvSpPr/>
                <p:nvPr/>
              </p:nvSpPr>
              <p:spPr>
                <a:xfrm>
                  <a:off x="3832773" y="4504719"/>
                  <a:ext cx="60835" cy="145431"/>
                </a:xfrm>
                <a:custGeom>
                  <a:avLst/>
                  <a:gdLst>
                    <a:gd name="connsiteX0" fmla="*/ 6923 w 60835"/>
                    <a:gd name="connsiteY0" fmla="*/ 145432 h 145431"/>
                    <a:gd name="connsiteX1" fmla="*/ 4599 w 60835"/>
                    <a:gd name="connsiteY1" fmla="*/ 145027 h 145431"/>
                    <a:gd name="connsiteX2" fmla="*/ 407 w 60835"/>
                    <a:gd name="connsiteY2" fmla="*/ 136187 h 145431"/>
                    <a:gd name="connsiteX3" fmla="*/ 47397 w 60835"/>
                    <a:gd name="connsiteY3" fmla="*/ 4607 h 145431"/>
                    <a:gd name="connsiteX4" fmla="*/ 56237 w 60835"/>
                    <a:gd name="connsiteY4" fmla="*/ 415 h 145431"/>
                    <a:gd name="connsiteX5" fmla="*/ 60429 w 60835"/>
                    <a:gd name="connsiteY5" fmla="*/ 9255 h 145431"/>
                    <a:gd name="connsiteX6" fmla="*/ 13438 w 60835"/>
                    <a:gd name="connsiteY6" fmla="*/ 140835 h 145431"/>
                    <a:gd name="connsiteX7" fmla="*/ 6923 w 60835"/>
                    <a:gd name="connsiteY7" fmla="*/ 145432 h 14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35" h="145431">
                      <a:moveTo>
                        <a:pt x="6923" y="145432"/>
                      </a:moveTo>
                      <a:cubicBezTo>
                        <a:pt x="6152" y="145432"/>
                        <a:pt x="5363" y="145304"/>
                        <a:pt x="4599" y="145027"/>
                      </a:cubicBezTo>
                      <a:cubicBezTo>
                        <a:pt x="995" y="143744"/>
                        <a:pt x="-883" y="139784"/>
                        <a:pt x="407" y="136187"/>
                      </a:cubicBezTo>
                      <a:lnTo>
                        <a:pt x="47397" y="4607"/>
                      </a:lnTo>
                      <a:cubicBezTo>
                        <a:pt x="48673" y="1003"/>
                        <a:pt x="52640" y="-895"/>
                        <a:pt x="56237" y="415"/>
                      </a:cubicBezTo>
                      <a:cubicBezTo>
                        <a:pt x="59841" y="1698"/>
                        <a:pt x="61719" y="5658"/>
                        <a:pt x="60429" y="9255"/>
                      </a:cubicBezTo>
                      <a:lnTo>
                        <a:pt x="13438" y="140835"/>
                      </a:lnTo>
                      <a:cubicBezTo>
                        <a:pt x="12432" y="143668"/>
                        <a:pt x="9769" y="145432"/>
                        <a:pt x="6923" y="145432"/>
                      </a:cubicBezTo>
                      <a:close/>
                    </a:path>
                  </a:pathLst>
                </a:custGeom>
                <a:grpFill/>
                <a:ln w="345" cap="flat">
                  <a:noFill/>
                  <a:prstDash val="solid"/>
                  <a:miter/>
                </a:ln>
              </p:spPr>
              <p:txBody>
                <a:bodyPr rtlCol="0" anchor="ctr"/>
                <a:lstStyle/>
                <a:p>
                  <a:endParaRPr lang="en-GB" dirty="0"/>
                </a:p>
              </p:txBody>
            </p:sp>
            <p:sp>
              <p:nvSpPr>
                <p:cNvPr id="484" name="Freihandform: Form 320">
                  <a:extLst>
                    <a:ext uri="{FF2B5EF4-FFF2-40B4-BE49-F238E27FC236}">
                      <a16:creationId xmlns:a16="http://schemas.microsoft.com/office/drawing/2014/main" id="{8172B7E2-2FE9-4259-ACBE-DE2F17F674B2}"/>
                    </a:ext>
                  </a:extLst>
                </p:cNvPr>
                <p:cNvSpPr/>
                <p:nvPr/>
              </p:nvSpPr>
              <p:spPr>
                <a:xfrm>
                  <a:off x="3799879" y="4504727"/>
                  <a:ext cx="46737" cy="56136"/>
                </a:xfrm>
                <a:custGeom>
                  <a:avLst/>
                  <a:gdLst>
                    <a:gd name="connsiteX0" fmla="*/ 6912 w 46737"/>
                    <a:gd name="connsiteY0" fmla="*/ 56137 h 56136"/>
                    <a:gd name="connsiteX1" fmla="*/ 2669 w 46737"/>
                    <a:gd name="connsiteY1" fmla="*/ 54677 h 56136"/>
                    <a:gd name="connsiteX2" fmla="*/ 1458 w 46737"/>
                    <a:gd name="connsiteY2" fmla="*/ 44966 h 56136"/>
                    <a:gd name="connsiteX3" fmla="*/ 34358 w 46737"/>
                    <a:gd name="connsiteY3" fmla="*/ 2673 h 56136"/>
                    <a:gd name="connsiteX4" fmla="*/ 44070 w 46737"/>
                    <a:gd name="connsiteY4" fmla="*/ 1462 h 56136"/>
                    <a:gd name="connsiteX5" fmla="*/ 45280 w 46737"/>
                    <a:gd name="connsiteY5" fmla="*/ 11174 h 56136"/>
                    <a:gd name="connsiteX6" fmla="*/ 12380 w 46737"/>
                    <a:gd name="connsiteY6" fmla="*/ 53467 h 56136"/>
                    <a:gd name="connsiteX7" fmla="*/ 6912 w 46737"/>
                    <a:gd name="connsiteY7" fmla="*/ 56137 h 5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37" h="56136">
                      <a:moveTo>
                        <a:pt x="6912" y="56137"/>
                      </a:moveTo>
                      <a:cubicBezTo>
                        <a:pt x="5432" y="56137"/>
                        <a:pt x="3931" y="55663"/>
                        <a:pt x="2669" y="54677"/>
                      </a:cubicBezTo>
                      <a:cubicBezTo>
                        <a:pt x="-347" y="52332"/>
                        <a:pt x="-886" y="47985"/>
                        <a:pt x="1458" y="44966"/>
                      </a:cubicBezTo>
                      <a:lnTo>
                        <a:pt x="34358" y="2673"/>
                      </a:lnTo>
                      <a:cubicBezTo>
                        <a:pt x="36710" y="-336"/>
                        <a:pt x="41051" y="-897"/>
                        <a:pt x="44070" y="1462"/>
                      </a:cubicBezTo>
                      <a:cubicBezTo>
                        <a:pt x="47082" y="3807"/>
                        <a:pt x="47625" y="8154"/>
                        <a:pt x="45280" y="11174"/>
                      </a:cubicBezTo>
                      <a:lnTo>
                        <a:pt x="12380" y="53467"/>
                      </a:lnTo>
                      <a:cubicBezTo>
                        <a:pt x="11014" y="55217"/>
                        <a:pt x="8974" y="56137"/>
                        <a:pt x="6912" y="56137"/>
                      </a:cubicBezTo>
                      <a:close/>
                    </a:path>
                  </a:pathLst>
                </a:custGeom>
                <a:grpFill/>
                <a:ln w="345" cap="flat">
                  <a:noFill/>
                  <a:prstDash val="solid"/>
                  <a:miter/>
                </a:ln>
              </p:spPr>
              <p:txBody>
                <a:bodyPr rtlCol="0" anchor="ctr"/>
                <a:lstStyle/>
                <a:p>
                  <a:endParaRPr lang="en-GB" dirty="0"/>
                </a:p>
              </p:txBody>
            </p:sp>
            <p:sp>
              <p:nvSpPr>
                <p:cNvPr id="485" name="Freihandform: Form 321">
                  <a:extLst>
                    <a:ext uri="{FF2B5EF4-FFF2-40B4-BE49-F238E27FC236}">
                      <a16:creationId xmlns:a16="http://schemas.microsoft.com/office/drawing/2014/main" id="{1B7ACAED-7CDD-4692-BE38-F1A87E0FC05E}"/>
                    </a:ext>
                  </a:extLst>
                </p:cNvPr>
                <p:cNvSpPr/>
                <p:nvPr/>
              </p:nvSpPr>
              <p:spPr>
                <a:xfrm>
                  <a:off x="3832773" y="4504727"/>
                  <a:ext cx="46737" cy="56136"/>
                </a:xfrm>
                <a:custGeom>
                  <a:avLst/>
                  <a:gdLst>
                    <a:gd name="connsiteX0" fmla="*/ 39822 w 46737"/>
                    <a:gd name="connsiteY0" fmla="*/ 56137 h 56136"/>
                    <a:gd name="connsiteX1" fmla="*/ 34355 w 46737"/>
                    <a:gd name="connsiteY1" fmla="*/ 53467 h 56136"/>
                    <a:gd name="connsiteX2" fmla="*/ 1461 w 46737"/>
                    <a:gd name="connsiteY2" fmla="*/ 11174 h 56136"/>
                    <a:gd name="connsiteX3" fmla="*/ 2672 w 46737"/>
                    <a:gd name="connsiteY3" fmla="*/ 1462 h 56136"/>
                    <a:gd name="connsiteX4" fmla="*/ 12383 w 46737"/>
                    <a:gd name="connsiteY4" fmla="*/ 2673 h 56136"/>
                    <a:gd name="connsiteX5" fmla="*/ 45277 w 46737"/>
                    <a:gd name="connsiteY5" fmla="*/ 44966 h 56136"/>
                    <a:gd name="connsiteX6" fmla="*/ 44066 w 46737"/>
                    <a:gd name="connsiteY6" fmla="*/ 54677 h 56136"/>
                    <a:gd name="connsiteX7" fmla="*/ 39822 w 46737"/>
                    <a:gd name="connsiteY7" fmla="*/ 56137 h 5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37" h="56136">
                      <a:moveTo>
                        <a:pt x="39822" y="56137"/>
                      </a:moveTo>
                      <a:cubicBezTo>
                        <a:pt x="37754" y="56137"/>
                        <a:pt x="35721" y="55217"/>
                        <a:pt x="34355" y="53467"/>
                      </a:cubicBezTo>
                      <a:lnTo>
                        <a:pt x="1461" y="11174"/>
                      </a:lnTo>
                      <a:cubicBezTo>
                        <a:pt x="-890" y="8154"/>
                        <a:pt x="-344" y="3807"/>
                        <a:pt x="2672" y="1462"/>
                      </a:cubicBezTo>
                      <a:cubicBezTo>
                        <a:pt x="5698" y="-897"/>
                        <a:pt x="10038" y="-336"/>
                        <a:pt x="12383" y="2673"/>
                      </a:cubicBezTo>
                      <a:lnTo>
                        <a:pt x="45277" y="44966"/>
                      </a:lnTo>
                      <a:cubicBezTo>
                        <a:pt x="47628" y="47985"/>
                        <a:pt x="47082" y="52332"/>
                        <a:pt x="44066" y="54677"/>
                      </a:cubicBezTo>
                      <a:cubicBezTo>
                        <a:pt x="42804" y="55663"/>
                        <a:pt x="41303" y="56137"/>
                        <a:pt x="39822" y="56137"/>
                      </a:cubicBezTo>
                      <a:close/>
                    </a:path>
                  </a:pathLst>
                </a:custGeom>
                <a:grpFill/>
                <a:ln w="345" cap="flat">
                  <a:noFill/>
                  <a:prstDash val="solid"/>
                  <a:miter/>
                </a:ln>
              </p:spPr>
              <p:txBody>
                <a:bodyPr rtlCol="0" anchor="ctr"/>
                <a:lstStyle/>
                <a:p>
                  <a:endParaRPr lang="en-GB" dirty="0"/>
                </a:p>
              </p:txBody>
            </p:sp>
          </p:grpSp>
          <p:grpSp>
            <p:nvGrpSpPr>
              <p:cNvPr id="473" name="Graphic 7">
                <a:extLst>
                  <a:ext uri="{FF2B5EF4-FFF2-40B4-BE49-F238E27FC236}">
                    <a16:creationId xmlns:a16="http://schemas.microsoft.com/office/drawing/2014/main" id="{4F6A94FC-3E43-4AA3-8994-2F4392D9667C}"/>
                  </a:ext>
                </a:extLst>
              </p:cNvPr>
              <p:cNvGrpSpPr/>
              <p:nvPr/>
            </p:nvGrpSpPr>
            <p:grpSpPr>
              <a:xfrm>
                <a:off x="3420584" y="4504721"/>
                <a:ext cx="168916" cy="145428"/>
                <a:chOff x="3420584" y="4504721"/>
                <a:chExt cx="168916" cy="145428"/>
              </a:xfrm>
              <a:grpFill/>
            </p:grpSpPr>
            <p:sp>
              <p:nvSpPr>
                <p:cNvPr id="474" name="Freihandform: Form 323">
                  <a:extLst>
                    <a:ext uri="{FF2B5EF4-FFF2-40B4-BE49-F238E27FC236}">
                      <a16:creationId xmlns:a16="http://schemas.microsoft.com/office/drawing/2014/main" id="{13DE8A96-8D2D-496A-9B0B-FCE3EFC24E99}"/>
                    </a:ext>
                  </a:extLst>
                </p:cNvPr>
                <p:cNvSpPr/>
                <p:nvPr/>
              </p:nvSpPr>
              <p:spPr>
                <a:xfrm>
                  <a:off x="3420584" y="4504726"/>
                  <a:ext cx="168916" cy="145424"/>
                </a:xfrm>
                <a:custGeom>
                  <a:avLst/>
                  <a:gdLst>
                    <a:gd name="connsiteX0" fmla="*/ 93857 w 168916"/>
                    <a:gd name="connsiteY0" fmla="*/ 145425 h 145424"/>
                    <a:gd name="connsiteX1" fmla="*/ 88898 w 168916"/>
                    <a:gd name="connsiteY1" fmla="*/ 143329 h 145424"/>
                    <a:gd name="connsiteX2" fmla="*/ 1959 w 168916"/>
                    <a:gd name="connsiteY2" fmla="*/ 54038 h 145424"/>
                    <a:gd name="connsiteX3" fmla="*/ 1890 w 168916"/>
                    <a:gd name="connsiteY3" fmla="*/ 44462 h 145424"/>
                    <a:gd name="connsiteX4" fmla="*/ 41839 w 168916"/>
                    <a:gd name="connsiteY4" fmla="*/ 2169 h 145424"/>
                    <a:gd name="connsiteX5" fmla="*/ 46867 w 168916"/>
                    <a:gd name="connsiteY5" fmla="*/ 0 h 145424"/>
                    <a:gd name="connsiteX6" fmla="*/ 118502 w 168916"/>
                    <a:gd name="connsiteY6" fmla="*/ 0 h 145424"/>
                    <a:gd name="connsiteX7" fmla="*/ 118502 w 168916"/>
                    <a:gd name="connsiteY7" fmla="*/ 13841 h 145424"/>
                    <a:gd name="connsiteX8" fmla="*/ 49845 w 168916"/>
                    <a:gd name="connsiteY8" fmla="*/ 13841 h 145424"/>
                    <a:gd name="connsiteX9" fmla="*/ 16506 w 168916"/>
                    <a:gd name="connsiteY9" fmla="*/ 49138 h 145424"/>
                    <a:gd name="connsiteX10" fmla="*/ 93812 w 168916"/>
                    <a:gd name="connsiteY10" fmla="*/ 128540 h 145424"/>
                    <a:gd name="connsiteX11" fmla="*/ 158914 w 168916"/>
                    <a:gd name="connsiteY11" fmla="*/ 60526 h 145424"/>
                    <a:gd name="connsiteX12" fmla="*/ 168916 w 168916"/>
                    <a:gd name="connsiteY12" fmla="*/ 70096 h 145424"/>
                    <a:gd name="connsiteX13" fmla="*/ 98855 w 168916"/>
                    <a:gd name="connsiteY13" fmla="*/ 143287 h 145424"/>
                    <a:gd name="connsiteX14" fmla="*/ 93882 w 168916"/>
                    <a:gd name="connsiteY14" fmla="*/ 145421 h 145424"/>
                    <a:gd name="connsiteX15" fmla="*/ 93857 w 168916"/>
                    <a:gd name="connsiteY15" fmla="*/ 145425 h 145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8916" h="145424">
                      <a:moveTo>
                        <a:pt x="93857" y="145425"/>
                      </a:moveTo>
                      <a:cubicBezTo>
                        <a:pt x="91993" y="145425"/>
                        <a:pt x="90202" y="144667"/>
                        <a:pt x="88898" y="143329"/>
                      </a:cubicBezTo>
                      <a:lnTo>
                        <a:pt x="1959" y="54038"/>
                      </a:lnTo>
                      <a:cubicBezTo>
                        <a:pt x="-628" y="51382"/>
                        <a:pt x="-655" y="47160"/>
                        <a:pt x="1890" y="44462"/>
                      </a:cubicBezTo>
                      <a:lnTo>
                        <a:pt x="41839" y="2169"/>
                      </a:lnTo>
                      <a:cubicBezTo>
                        <a:pt x="43143" y="782"/>
                        <a:pt x="44962" y="0"/>
                        <a:pt x="46867" y="0"/>
                      </a:cubicBezTo>
                      <a:lnTo>
                        <a:pt x="118502" y="0"/>
                      </a:lnTo>
                      <a:lnTo>
                        <a:pt x="118502" y="13841"/>
                      </a:lnTo>
                      <a:lnTo>
                        <a:pt x="49845" y="13841"/>
                      </a:lnTo>
                      <a:lnTo>
                        <a:pt x="16506" y="49138"/>
                      </a:lnTo>
                      <a:lnTo>
                        <a:pt x="93812" y="128540"/>
                      </a:lnTo>
                      <a:lnTo>
                        <a:pt x="158914" y="60526"/>
                      </a:lnTo>
                      <a:lnTo>
                        <a:pt x="168916" y="70096"/>
                      </a:lnTo>
                      <a:lnTo>
                        <a:pt x="98855" y="143287"/>
                      </a:lnTo>
                      <a:cubicBezTo>
                        <a:pt x="97558" y="144646"/>
                        <a:pt x="95759" y="145417"/>
                        <a:pt x="93882" y="145421"/>
                      </a:cubicBezTo>
                      <a:cubicBezTo>
                        <a:pt x="93878" y="145425"/>
                        <a:pt x="93864" y="145425"/>
                        <a:pt x="93857" y="145425"/>
                      </a:cubicBezTo>
                      <a:close/>
                    </a:path>
                  </a:pathLst>
                </a:custGeom>
                <a:grpFill/>
                <a:ln w="345" cap="flat">
                  <a:noFill/>
                  <a:prstDash val="solid"/>
                  <a:miter/>
                </a:ln>
              </p:spPr>
              <p:txBody>
                <a:bodyPr rtlCol="0" anchor="ctr"/>
                <a:lstStyle/>
                <a:p>
                  <a:endParaRPr lang="en-GB" dirty="0"/>
                </a:p>
              </p:txBody>
            </p:sp>
            <p:sp>
              <p:nvSpPr>
                <p:cNvPr id="475" name="Freihandform: Form 324">
                  <a:extLst>
                    <a:ext uri="{FF2B5EF4-FFF2-40B4-BE49-F238E27FC236}">
                      <a16:creationId xmlns:a16="http://schemas.microsoft.com/office/drawing/2014/main" id="{7FD15443-8C88-4389-A912-77E01C48E4DD}"/>
                    </a:ext>
                  </a:extLst>
                </p:cNvPr>
                <p:cNvSpPr/>
                <p:nvPr/>
              </p:nvSpPr>
              <p:spPr>
                <a:xfrm>
                  <a:off x="3429855" y="4547023"/>
                  <a:ext cx="141488" cy="13840"/>
                </a:xfrm>
                <a:custGeom>
                  <a:avLst/>
                  <a:gdLst>
                    <a:gd name="connsiteX0" fmla="*/ 0 w 141488"/>
                    <a:gd name="connsiteY0" fmla="*/ 0 h 13840"/>
                    <a:gd name="connsiteX1" fmla="*/ 141489 w 141488"/>
                    <a:gd name="connsiteY1" fmla="*/ 0 h 13840"/>
                    <a:gd name="connsiteX2" fmla="*/ 141489 w 141488"/>
                    <a:gd name="connsiteY2" fmla="*/ 13840 h 13840"/>
                    <a:gd name="connsiteX3" fmla="*/ 0 w 141488"/>
                    <a:gd name="connsiteY3" fmla="*/ 13840 h 13840"/>
                  </a:gdLst>
                  <a:ahLst/>
                  <a:cxnLst>
                    <a:cxn ang="0">
                      <a:pos x="connsiteX0" y="connsiteY0"/>
                    </a:cxn>
                    <a:cxn ang="0">
                      <a:pos x="connsiteX1" y="connsiteY1"/>
                    </a:cxn>
                    <a:cxn ang="0">
                      <a:pos x="connsiteX2" y="connsiteY2"/>
                    </a:cxn>
                    <a:cxn ang="0">
                      <a:pos x="connsiteX3" y="connsiteY3"/>
                    </a:cxn>
                  </a:cxnLst>
                  <a:rect l="l" t="t" r="r" b="b"/>
                  <a:pathLst>
                    <a:path w="141488" h="13840">
                      <a:moveTo>
                        <a:pt x="0" y="0"/>
                      </a:moveTo>
                      <a:lnTo>
                        <a:pt x="141489" y="0"/>
                      </a:lnTo>
                      <a:lnTo>
                        <a:pt x="141489" y="13840"/>
                      </a:lnTo>
                      <a:lnTo>
                        <a:pt x="0" y="13840"/>
                      </a:lnTo>
                      <a:close/>
                    </a:path>
                  </a:pathLst>
                </a:custGeom>
                <a:grpFill/>
                <a:ln w="345" cap="flat">
                  <a:noFill/>
                  <a:prstDash val="solid"/>
                  <a:miter/>
                </a:ln>
              </p:spPr>
              <p:txBody>
                <a:bodyPr rtlCol="0" anchor="ctr"/>
                <a:lstStyle/>
                <a:p>
                  <a:endParaRPr lang="en-GB" dirty="0"/>
                </a:p>
              </p:txBody>
            </p:sp>
            <p:sp>
              <p:nvSpPr>
                <p:cNvPr id="476" name="Freihandform: Form 325">
                  <a:extLst>
                    <a:ext uri="{FF2B5EF4-FFF2-40B4-BE49-F238E27FC236}">
                      <a16:creationId xmlns:a16="http://schemas.microsoft.com/office/drawing/2014/main" id="{C7FA7626-E238-4B1F-B189-DCBA561AC7FF}"/>
                    </a:ext>
                  </a:extLst>
                </p:cNvPr>
                <p:cNvSpPr/>
                <p:nvPr/>
              </p:nvSpPr>
              <p:spPr>
                <a:xfrm rot="-4218342">
                  <a:off x="3476257" y="4582189"/>
                  <a:ext cx="115418" cy="13840"/>
                </a:xfrm>
                <a:custGeom>
                  <a:avLst/>
                  <a:gdLst>
                    <a:gd name="connsiteX0" fmla="*/ 0 w 115418"/>
                    <a:gd name="connsiteY0" fmla="*/ 1 h 13840"/>
                    <a:gd name="connsiteX1" fmla="*/ 115419 w 115418"/>
                    <a:gd name="connsiteY1" fmla="*/ 1 h 13840"/>
                    <a:gd name="connsiteX2" fmla="*/ 115419 w 115418"/>
                    <a:gd name="connsiteY2" fmla="*/ 13841 h 13840"/>
                    <a:gd name="connsiteX3" fmla="*/ 0 w 115418"/>
                    <a:gd name="connsiteY3" fmla="*/ 13841 h 13840"/>
                  </a:gdLst>
                  <a:ahLst/>
                  <a:cxnLst>
                    <a:cxn ang="0">
                      <a:pos x="connsiteX0" y="connsiteY0"/>
                    </a:cxn>
                    <a:cxn ang="0">
                      <a:pos x="connsiteX1" y="connsiteY1"/>
                    </a:cxn>
                    <a:cxn ang="0">
                      <a:pos x="connsiteX2" y="connsiteY2"/>
                    </a:cxn>
                    <a:cxn ang="0">
                      <a:pos x="connsiteX3" y="connsiteY3"/>
                    </a:cxn>
                  </a:cxnLst>
                  <a:rect l="l" t="t" r="r" b="b"/>
                  <a:pathLst>
                    <a:path w="115418" h="13840">
                      <a:moveTo>
                        <a:pt x="0" y="1"/>
                      </a:moveTo>
                      <a:lnTo>
                        <a:pt x="115419" y="1"/>
                      </a:lnTo>
                      <a:lnTo>
                        <a:pt x="115419" y="13841"/>
                      </a:lnTo>
                      <a:lnTo>
                        <a:pt x="0" y="13841"/>
                      </a:lnTo>
                      <a:close/>
                    </a:path>
                  </a:pathLst>
                </a:custGeom>
                <a:grpFill/>
                <a:ln w="345" cap="flat">
                  <a:noFill/>
                  <a:prstDash val="solid"/>
                  <a:miter/>
                </a:ln>
              </p:spPr>
              <p:txBody>
                <a:bodyPr rtlCol="0" anchor="ctr"/>
                <a:lstStyle/>
                <a:p>
                  <a:endParaRPr lang="en-GB" dirty="0"/>
                </a:p>
              </p:txBody>
            </p:sp>
            <p:sp>
              <p:nvSpPr>
                <p:cNvPr id="477" name="Freihandform: Form 326">
                  <a:extLst>
                    <a:ext uri="{FF2B5EF4-FFF2-40B4-BE49-F238E27FC236}">
                      <a16:creationId xmlns:a16="http://schemas.microsoft.com/office/drawing/2014/main" id="{CBE966A3-9FAB-4627-A050-6B0680C6ED3A}"/>
                    </a:ext>
                  </a:extLst>
                </p:cNvPr>
                <p:cNvSpPr/>
                <p:nvPr/>
              </p:nvSpPr>
              <p:spPr>
                <a:xfrm>
                  <a:off x="3460529" y="4504721"/>
                  <a:ext cx="60832" cy="145428"/>
                </a:xfrm>
                <a:custGeom>
                  <a:avLst/>
                  <a:gdLst>
                    <a:gd name="connsiteX0" fmla="*/ 53913 w 60832"/>
                    <a:gd name="connsiteY0" fmla="*/ 145429 h 145428"/>
                    <a:gd name="connsiteX1" fmla="*/ 47397 w 60832"/>
                    <a:gd name="connsiteY1" fmla="*/ 140833 h 145428"/>
                    <a:gd name="connsiteX2" fmla="*/ 407 w 60832"/>
                    <a:gd name="connsiteY2" fmla="*/ 9252 h 145428"/>
                    <a:gd name="connsiteX3" fmla="*/ 4599 w 60832"/>
                    <a:gd name="connsiteY3" fmla="*/ 413 h 145428"/>
                    <a:gd name="connsiteX4" fmla="*/ 13439 w 60832"/>
                    <a:gd name="connsiteY4" fmla="*/ 4604 h 145428"/>
                    <a:gd name="connsiteX5" fmla="*/ 60425 w 60832"/>
                    <a:gd name="connsiteY5" fmla="*/ 136184 h 145428"/>
                    <a:gd name="connsiteX6" fmla="*/ 56233 w 60832"/>
                    <a:gd name="connsiteY6" fmla="*/ 145024 h 145428"/>
                    <a:gd name="connsiteX7" fmla="*/ 53913 w 60832"/>
                    <a:gd name="connsiteY7" fmla="*/ 145429 h 145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32" h="145428">
                      <a:moveTo>
                        <a:pt x="53913" y="145429"/>
                      </a:moveTo>
                      <a:cubicBezTo>
                        <a:pt x="51066" y="145429"/>
                        <a:pt x="48404" y="143665"/>
                        <a:pt x="47397" y="140833"/>
                      </a:cubicBezTo>
                      <a:lnTo>
                        <a:pt x="407" y="9252"/>
                      </a:lnTo>
                      <a:cubicBezTo>
                        <a:pt x="-883" y="5655"/>
                        <a:pt x="995" y="1696"/>
                        <a:pt x="4599" y="413"/>
                      </a:cubicBezTo>
                      <a:cubicBezTo>
                        <a:pt x="8175" y="-891"/>
                        <a:pt x="12156" y="1000"/>
                        <a:pt x="13439" y="4604"/>
                      </a:cubicBezTo>
                      <a:lnTo>
                        <a:pt x="60425" y="136184"/>
                      </a:lnTo>
                      <a:cubicBezTo>
                        <a:pt x="61715" y="139781"/>
                        <a:pt x="59837" y="143741"/>
                        <a:pt x="56233" y="145024"/>
                      </a:cubicBezTo>
                      <a:cubicBezTo>
                        <a:pt x="55473" y="145301"/>
                        <a:pt x="54681" y="145429"/>
                        <a:pt x="53913" y="145429"/>
                      </a:cubicBezTo>
                      <a:close/>
                    </a:path>
                  </a:pathLst>
                </a:custGeom>
                <a:grpFill/>
                <a:ln w="345" cap="flat">
                  <a:noFill/>
                  <a:prstDash val="solid"/>
                  <a:miter/>
                </a:ln>
              </p:spPr>
              <p:txBody>
                <a:bodyPr rtlCol="0" anchor="ctr"/>
                <a:lstStyle/>
                <a:p>
                  <a:endParaRPr lang="en-GB" dirty="0"/>
                </a:p>
              </p:txBody>
            </p:sp>
            <p:sp>
              <p:nvSpPr>
                <p:cNvPr id="478" name="Freihandform: Form 327">
                  <a:extLst>
                    <a:ext uri="{FF2B5EF4-FFF2-40B4-BE49-F238E27FC236}">
                      <a16:creationId xmlns:a16="http://schemas.microsoft.com/office/drawing/2014/main" id="{099B7BAE-6728-4D13-AF57-7001C48F9DB6}"/>
                    </a:ext>
                  </a:extLst>
                </p:cNvPr>
                <p:cNvSpPr/>
                <p:nvPr/>
              </p:nvSpPr>
              <p:spPr>
                <a:xfrm>
                  <a:off x="3507516" y="4504727"/>
                  <a:ext cx="46737" cy="56136"/>
                </a:xfrm>
                <a:custGeom>
                  <a:avLst/>
                  <a:gdLst>
                    <a:gd name="connsiteX0" fmla="*/ 39822 w 46737"/>
                    <a:gd name="connsiteY0" fmla="*/ 56137 h 56136"/>
                    <a:gd name="connsiteX1" fmla="*/ 34355 w 46737"/>
                    <a:gd name="connsiteY1" fmla="*/ 53467 h 56136"/>
                    <a:gd name="connsiteX2" fmla="*/ 1461 w 46737"/>
                    <a:gd name="connsiteY2" fmla="*/ 11174 h 56136"/>
                    <a:gd name="connsiteX3" fmla="*/ 2672 w 46737"/>
                    <a:gd name="connsiteY3" fmla="*/ 1462 h 56136"/>
                    <a:gd name="connsiteX4" fmla="*/ 12383 w 46737"/>
                    <a:gd name="connsiteY4" fmla="*/ 2673 h 56136"/>
                    <a:gd name="connsiteX5" fmla="*/ 45276 w 46737"/>
                    <a:gd name="connsiteY5" fmla="*/ 44966 h 56136"/>
                    <a:gd name="connsiteX6" fmla="*/ 44066 w 46737"/>
                    <a:gd name="connsiteY6" fmla="*/ 54677 h 56136"/>
                    <a:gd name="connsiteX7" fmla="*/ 39822 w 46737"/>
                    <a:gd name="connsiteY7" fmla="*/ 56137 h 5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37" h="56136">
                      <a:moveTo>
                        <a:pt x="39822" y="56137"/>
                      </a:moveTo>
                      <a:cubicBezTo>
                        <a:pt x="37754" y="56137"/>
                        <a:pt x="35721" y="55217"/>
                        <a:pt x="34355" y="53467"/>
                      </a:cubicBezTo>
                      <a:lnTo>
                        <a:pt x="1461" y="11174"/>
                      </a:lnTo>
                      <a:cubicBezTo>
                        <a:pt x="-891" y="8154"/>
                        <a:pt x="-344" y="3807"/>
                        <a:pt x="2672" y="1462"/>
                      </a:cubicBezTo>
                      <a:cubicBezTo>
                        <a:pt x="5698" y="-897"/>
                        <a:pt x="10045" y="-336"/>
                        <a:pt x="12383" y="2673"/>
                      </a:cubicBezTo>
                      <a:lnTo>
                        <a:pt x="45276" y="44966"/>
                      </a:lnTo>
                      <a:cubicBezTo>
                        <a:pt x="47628" y="47985"/>
                        <a:pt x="47082" y="52332"/>
                        <a:pt x="44066" y="54677"/>
                      </a:cubicBezTo>
                      <a:cubicBezTo>
                        <a:pt x="42804" y="55663"/>
                        <a:pt x="41303" y="56137"/>
                        <a:pt x="39822" y="56137"/>
                      </a:cubicBezTo>
                      <a:close/>
                    </a:path>
                  </a:pathLst>
                </a:custGeom>
                <a:grpFill/>
                <a:ln w="345" cap="flat">
                  <a:noFill/>
                  <a:prstDash val="solid"/>
                  <a:miter/>
                </a:ln>
              </p:spPr>
              <p:txBody>
                <a:bodyPr rtlCol="0" anchor="ctr"/>
                <a:lstStyle/>
                <a:p>
                  <a:endParaRPr lang="en-GB" dirty="0"/>
                </a:p>
              </p:txBody>
            </p:sp>
            <p:sp>
              <p:nvSpPr>
                <p:cNvPr id="479" name="Freihandform: Form 328">
                  <a:extLst>
                    <a:ext uri="{FF2B5EF4-FFF2-40B4-BE49-F238E27FC236}">
                      <a16:creationId xmlns:a16="http://schemas.microsoft.com/office/drawing/2014/main" id="{357424AB-B3BD-4543-B577-AE787A7D1DA7}"/>
                    </a:ext>
                  </a:extLst>
                </p:cNvPr>
                <p:cNvSpPr/>
                <p:nvPr/>
              </p:nvSpPr>
              <p:spPr>
                <a:xfrm>
                  <a:off x="3474622" y="4504727"/>
                  <a:ext cx="46738" cy="56136"/>
                </a:xfrm>
                <a:custGeom>
                  <a:avLst/>
                  <a:gdLst>
                    <a:gd name="connsiteX0" fmla="*/ 6912 w 46738"/>
                    <a:gd name="connsiteY0" fmla="*/ 56137 h 56136"/>
                    <a:gd name="connsiteX1" fmla="*/ 2669 w 46738"/>
                    <a:gd name="connsiteY1" fmla="*/ 54677 h 56136"/>
                    <a:gd name="connsiteX2" fmla="*/ 1458 w 46738"/>
                    <a:gd name="connsiteY2" fmla="*/ 44966 h 56136"/>
                    <a:gd name="connsiteX3" fmla="*/ 34359 w 46738"/>
                    <a:gd name="connsiteY3" fmla="*/ 2673 h 56136"/>
                    <a:gd name="connsiteX4" fmla="*/ 44070 w 46738"/>
                    <a:gd name="connsiteY4" fmla="*/ 1462 h 56136"/>
                    <a:gd name="connsiteX5" fmla="*/ 45280 w 46738"/>
                    <a:gd name="connsiteY5" fmla="*/ 11174 h 56136"/>
                    <a:gd name="connsiteX6" fmla="*/ 12380 w 46738"/>
                    <a:gd name="connsiteY6" fmla="*/ 53467 h 56136"/>
                    <a:gd name="connsiteX7" fmla="*/ 6912 w 46738"/>
                    <a:gd name="connsiteY7" fmla="*/ 56137 h 5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38" h="56136">
                      <a:moveTo>
                        <a:pt x="6912" y="56137"/>
                      </a:moveTo>
                      <a:cubicBezTo>
                        <a:pt x="5432" y="56137"/>
                        <a:pt x="3931" y="55663"/>
                        <a:pt x="2669" y="54677"/>
                      </a:cubicBezTo>
                      <a:cubicBezTo>
                        <a:pt x="-347" y="52332"/>
                        <a:pt x="-886" y="47985"/>
                        <a:pt x="1458" y="44966"/>
                      </a:cubicBezTo>
                      <a:lnTo>
                        <a:pt x="34359" y="2673"/>
                      </a:lnTo>
                      <a:cubicBezTo>
                        <a:pt x="36703" y="-336"/>
                        <a:pt x="41051" y="-897"/>
                        <a:pt x="44070" y="1462"/>
                      </a:cubicBezTo>
                      <a:cubicBezTo>
                        <a:pt x="47086" y="3807"/>
                        <a:pt x="47625" y="8154"/>
                        <a:pt x="45280" y="11174"/>
                      </a:cubicBezTo>
                      <a:lnTo>
                        <a:pt x="12380" y="53467"/>
                      </a:lnTo>
                      <a:cubicBezTo>
                        <a:pt x="11014" y="55217"/>
                        <a:pt x="8974" y="56137"/>
                        <a:pt x="6912" y="56137"/>
                      </a:cubicBezTo>
                      <a:close/>
                    </a:path>
                  </a:pathLst>
                </a:custGeom>
                <a:grpFill/>
                <a:ln w="345" cap="flat">
                  <a:noFill/>
                  <a:prstDash val="solid"/>
                  <a:miter/>
                </a:ln>
              </p:spPr>
              <p:txBody>
                <a:bodyPr rtlCol="0" anchor="ctr"/>
                <a:lstStyle/>
                <a:p>
                  <a:endParaRPr lang="en-GB" dirty="0"/>
                </a:p>
              </p:txBody>
            </p:sp>
          </p:grpSp>
        </p:grpSp>
        <p:grpSp>
          <p:nvGrpSpPr>
            <p:cNvPr id="461" name="Gruppieren 860">
              <a:extLst>
                <a:ext uri="{FF2B5EF4-FFF2-40B4-BE49-F238E27FC236}">
                  <a16:creationId xmlns:a16="http://schemas.microsoft.com/office/drawing/2014/main" id="{AD758A3B-D01D-4BD2-A8BF-C003B191F957}"/>
                </a:ext>
              </a:extLst>
            </p:cNvPr>
            <p:cNvGrpSpPr/>
            <p:nvPr/>
          </p:nvGrpSpPr>
          <p:grpSpPr>
            <a:xfrm>
              <a:off x="5072499" y="3240893"/>
              <a:ext cx="279362" cy="329835"/>
              <a:chOff x="3552068" y="4343486"/>
              <a:chExt cx="248787" cy="293737"/>
            </a:xfrm>
            <a:solidFill>
              <a:schemeClr val="accent1"/>
            </a:solidFill>
          </p:grpSpPr>
          <p:grpSp>
            <p:nvGrpSpPr>
              <p:cNvPr id="462" name="Graphic 7">
                <a:extLst>
                  <a:ext uri="{FF2B5EF4-FFF2-40B4-BE49-F238E27FC236}">
                    <a16:creationId xmlns:a16="http://schemas.microsoft.com/office/drawing/2014/main" id="{1AF77613-D86B-44A5-BE35-2500EDD6FEE9}"/>
                  </a:ext>
                </a:extLst>
              </p:cNvPr>
              <p:cNvGrpSpPr/>
              <p:nvPr/>
            </p:nvGrpSpPr>
            <p:grpSpPr>
              <a:xfrm>
                <a:off x="3553991" y="4447281"/>
                <a:ext cx="246531" cy="189942"/>
                <a:chOff x="3553991" y="4447281"/>
                <a:chExt cx="246531" cy="189942"/>
              </a:xfrm>
              <a:solidFill>
                <a:schemeClr val="accent1"/>
              </a:solidFill>
            </p:grpSpPr>
            <p:sp>
              <p:nvSpPr>
                <p:cNvPr id="466" name="Freihandform: Form 309">
                  <a:extLst>
                    <a:ext uri="{FF2B5EF4-FFF2-40B4-BE49-F238E27FC236}">
                      <a16:creationId xmlns:a16="http://schemas.microsoft.com/office/drawing/2014/main" id="{7B53FB01-5B24-4AF0-8400-4725262DB96E}"/>
                    </a:ext>
                  </a:extLst>
                </p:cNvPr>
                <p:cNvSpPr/>
                <p:nvPr/>
              </p:nvSpPr>
              <p:spPr>
                <a:xfrm>
                  <a:off x="3553991" y="4447291"/>
                  <a:ext cx="246531" cy="189931"/>
                </a:xfrm>
                <a:custGeom>
                  <a:avLst/>
                  <a:gdLst>
                    <a:gd name="connsiteX0" fmla="*/ 123261 w 246531"/>
                    <a:gd name="connsiteY0" fmla="*/ 189931 h 189931"/>
                    <a:gd name="connsiteX1" fmla="*/ 118302 w 246531"/>
                    <a:gd name="connsiteY1" fmla="*/ 187835 h 189931"/>
                    <a:gd name="connsiteX2" fmla="*/ 1959 w 246531"/>
                    <a:gd name="connsiteY2" fmla="*/ 68346 h 189931"/>
                    <a:gd name="connsiteX3" fmla="*/ 1890 w 246531"/>
                    <a:gd name="connsiteY3" fmla="*/ 58770 h 189931"/>
                    <a:gd name="connsiteX4" fmla="*/ 55348 w 246531"/>
                    <a:gd name="connsiteY4" fmla="*/ 2168 h 189931"/>
                    <a:gd name="connsiteX5" fmla="*/ 60376 w 246531"/>
                    <a:gd name="connsiteY5" fmla="*/ 0 h 189931"/>
                    <a:gd name="connsiteX6" fmla="*/ 186153 w 246531"/>
                    <a:gd name="connsiteY6" fmla="*/ 0 h 189931"/>
                    <a:gd name="connsiteX7" fmla="*/ 191182 w 246531"/>
                    <a:gd name="connsiteY7" fmla="*/ 2168 h 189931"/>
                    <a:gd name="connsiteX8" fmla="*/ 244639 w 246531"/>
                    <a:gd name="connsiteY8" fmla="*/ 58770 h 189931"/>
                    <a:gd name="connsiteX9" fmla="*/ 244570 w 246531"/>
                    <a:gd name="connsiteY9" fmla="*/ 68346 h 189931"/>
                    <a:gd name="connsiteX10" fmla="*/ 128220 w 246531"/>
                    <a:gd name="connsiteY10" fmla="*/ 187835 h 189931"/>
                    <a:gd name="connsiteX11" fmla="*/ 123261 w 246531"/>
                    <a:gd name="connsiteY11" fmla="*/ 189931 h 189931"/>
                    <a:gd name="connsiteX12" fmla="*/ 16509 w 246531"/>
                    <a:gd name="connsiteY12" fmla="*/ 63445 h 189931"/>
                    <a:gd name="connsiteX13" fmla="*/ 123261 w 246531"/>
                    <a:gd name="connsiteY13" fmla="*/ 173089 h 189931"/>
                    <a:gd name="connsiteX14" fmla="*/ 230020 w 246531"/>
                    <a:gd name="connsiteY14" fmla="*/ 63445 h 189931"/>
                    <a:gd name="connsiteX15" fmla="*/ 183172 w 246531"/>
                    <a:gd name="connsiteY15" fmla="*/ 13841 h 189931"/>
                    <a:gd name="connsiteX16" fmla="*/ 63357 w 246531"/>
                    <a:gd name="connsiteY16" fmla="*/ 13841 h 189931"/>
                    <a:gd name="connsiteX17" fmla="*/ 16509 w 246531"/>
                    <a:gd name="connsiteY17" fmla="*/ 63445 h 18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6531" h="189931">
                      <a:moveTo>
                        <a:pt x="123261" y="189931"/>
                      </a:moveTo>
                      <a:cubicBezTo>
                        <a:pt x="121397" y="189931"/>
                        <a:pt x="119606" y="189174"/>
                        <a:pt x="118302" y="187835"/>
                      </a:cubicBezTo>
                      <a:lnTo>
                        <a:pt x="1959" y="68346"/>
                      </a:lnTo>
                      <a:cubicBezTo>
                        <a:pt x="-628" y="65690"/>
                        <a:pt x="-655" y="61467"/>
                        <a:pt x="1890" y="58770"/>
                      </a:cubicBezTo>
                      <a:lnTo>
                        <a:pt x="55348" y="2168"/>
                      </a:lnTo>
                      <a:cubicBezTo>
                        <a:pt x="56651" y="782"/>
                        <a:pt x="58470" y="0"/>
                        <a:pt x="60376" y="0"/>
                      </a:cubicBezTo>
                      <a:lnTo>
                        <a:pt x="186153" y="0"/>
                      </a:lnTo>
                      <a:cubicBezTo>
                        <a:pt x="188059" y="0"/>
                        <a:pt x="189878" y="785"/>
                        <a:pt x="191182" y="2168"/>
                      </a:cubicBezTo>
                      <a:lnTo>
                        <a:pt x="244639" y="58770"/>
                      </a:lnTo>
                      <a:cubicBezTo>
                        <a:pt x="247188" y="61467"/>
                        <a:pt x="247160" y="65690"/>
                        <a:pt x="244570" y="68346"/>
                      </a:cubicBezTo>
                      <a:lnTo>
                        <a:pt x="128220" y="187835"/>
                      </a:lnTo>
                      <a:cubicBezTo>
                        <a:pt x="126917" y="189174"/>
                        <a:pt x="125125" y="189931"/>
                        <a:pt x="123261" y="189931"/>
                      </a:cubicBezTo>
                      <a:close/>
                      <a:moveTo>
                        <a:pt x="16509" y="63445"/>
                      </a:moveTo>
                      <a:lnTo>
                        <a:pt x="123261" y="173089"/>
                      </a:lnTo>
                      <a:lnTo>
                        <a:pt x="230020" y="63445"/>
                      </a:lnTo>
                      <a:lnTo>
                        <a:pt x="183172" y="13841"/>
                      </a:lnTo>
                      <a:lnTo>
                        <a:pt x="63357" y="13841"/>
                      </a:lnTo>
                      <a:lnTo>
                        <a:pt x="16509" y="63445"/>
                      </a:lnTo>
                      <a:close/>
                    </a:path>
                  </a:pathLst>
                </a:custGeom>
                <a:solidFill>
                  <a:schemeClr val="accent1"/>
                </a:solidFill>
                <a:ln w="345" cap="flat">
                  <a:noFill/>
                  <a:prstDash val="solid"/>
                  <a:miter/>
                </a:ln>
              </p:spPr>
              <p:txBody>
                <a:bodyPr rtlCol="0" anchor="ctr"/>
                <a:lstStyle/>
                <a:p>
                  <a:endParaRPr lang="en-GB" dirty="0"/>
                </a:p>
              </p:txBody>
            </p:sp>
            <p:sp>
              <p:nvSpPr>
                <p:cNvPr id="467" name="Freihandform: Form 310">
                  <a:extLst>
                    <a:ext uri="{FF2B5EF4-FFF2-40B4-BE49-F238E27FC236}">
                      <a16:creationId xmlns:a16="http://schemas.microsoft.com/office/drawing/2014/main" id="{D1FB8684-C273-4610-AB97-16BA77061C59}"/>
                    </a:ext>
                  </a:extLst>
                </p:cNvPr>
                <p:cNvSpPr/>
                <p:nvPr/>
              </p:nvSpPr>
              <p:spPr>
                <a:xfrm>
                  <a:off x="3557126" y="4503892"/>
                  <a:ext cx="240251" cy="13840"/>
                </a:xfrm>
                <a:custGeom>
                  <a:avLst/>
                  <a:gdLst>
                    <a:gd name="connsiteX0" fmla="*/ 233331 w 240251"/>
                    <a:gd name="connsiteY0" fmla="*/ 13841 h 13840"/>
                    <a:gd name="connsiteX1" fmla="*/ 6920 w 240251"/>
                    <a:gd name="connsiteY1" fmla="*/ 13841 h 13840"/>
                    <a:gd name="connsiteX2" fmla="*/ 0 w 240251"/>
                    <a:gd name="connsiteY2" fmla="*/ 6921 h 13840"/>
                    <a:gd name="connsiteX3" fmla="*/ 6920 w 240251"/>
                    <a:gd name="connsiteY3" fmla="*/ 0 h 13840"/>
                    <a:gd name="connsiteX4" fmla="*/ 233331 w 240251"/>
                    <a:gd name="connsiteY4" fmla="*/ 0 h 13840"/>
                    <a:gd name="connsiteX5" fmla="*/ 240252 w 240251"/>
                    <a:gd name="connsiteY5" fmla="*/ 6921 h 13840"/>
                    <a:gd name="connsiteX6" fmla="*/ 233331 w 240251"/>
                    <a:gd name="connsiteY6" fmla="*/ 13841 h 13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251" h="13840">
                      <a:moveTo>
                        <a:pt x="233331" y="13841"/>
                      </a:moveTo>
                      <a:lnTo>
                        <a:pt x="6920" y="13841"/>
                      </a:lnTo>
                      <a:cubicBezTo>
                        <a:pt x="3095" y="13841"/>
                        <a:pt x="0" y="10746"/>
                        <a:pt x="0" y="6921"/>
                      </a:cubicBezTo>
                      <a:cubicBezTo>
                        <a:pt x="0" y="3095"/>
                        <a:pt x="3095" y="0"/>
                        <a:pt x="6920" y="0"/>
                      </a:cubicBezTo>
                      <a:lnTo>
                        <a:pt x="233331" y="0"/>
                      </a:lnTo>
                      <a:cubicBezTo>
                        <a:pt x="237157" y="0"/>
                        <a:pt x="240252" y="3095"/>
                        <a:pt x="240252" y="6921"/>
                      </a:cubicBezTo>
                      <a:cubicBezTo>
                        <a:pt x="240252" y="10746"/>
                        <a:pt x="237157" y="13841"/>
                        <a:pt x="233331" y="13841"/>
                      </a:cubicBezTo>
                      <a:close/>
                    </a:path>
                  </a:pathLst>
                </a:custGeom>
                <a:solidFill>
                  <a:schemeClr val="accent1"/>
                </a:solidFill>
                <a:ln w="345" cap="flat">
                  <a:noFill/>
                  <a:prstDash val="solid"/>
                  <a:miter/>
                </a:ln>
              </p:spPr>
              <p:txBody>
                <a:bodyPr rtlCol="0" anchor="ctr"/>
                <a:lstStyle/>
                <a:p>
                  <a:endParaRPr lang="en-GB" dirty="0"/>
                </a:p>
              </p:txBody>
            </p:sp>
            <p:sp>
              <p:nvSpPr>
                <p:cNvPr id="468" name="Freihandform: Form 311">
                  <a:extLst>
                    <a:ext uri="{FF2B5EF4-FFF2-40B4-BE49-F238E27FC236}">
                      <a16:creationId xmlns:a16="http://schemas.microsoft.com/office/drawing/2014/main" id="{27E283B7-4110-46DC-9250-443CF238A9F4}"/>
                    </a:ext>
                  </a:extLst>
                </p:cNvPr>
                <p:cNvSpPr/>
                <p:nvPr/>
              </p:nvSpPr>
              <p:spPr>
                <a:xfrm>
                  <a:off x="3607444" y="4447283"/>
                  <a:ext cx="76730" cy="189939"/>
                </a:xfrm>
                <a:custGeom>
                  <a:avLst/>
                  <a:gdLst>
                    <a:gd name="connsiteX0" fmla="*/ 69808 w 76730"/>
                    <a:gd name="connsiteY0" fmla="*/ 189939 h 189939"/>
                    <a:gd name="connsiteX1" fmla="*/ 63292 w 76730"/>
                    <a:gd name="connsiteY1" fmla="*/ 185343 h 189939"/>
                    <a:gd name="connsiteX2" fmla="*/ 407 w 76730"/>
                    <a:gd name="connsiteY2" fmla="*/ 9252 h 189939"/>
                    <a:gd name="connsiteX3" fmla="*/ 4599 w 76730"/>
                    <a:gd name="connsiteY3" fmla="*/ 413 h 189939"/>
                    <a:gd name="connsiteX4" fmla="*/ 13439 w 76730"/>
                    <a:gd name="connsiteY4" fmla="*/ 4604 h 189939"/>
                    <a:gd name="connsiteX5" fmla="*/ 76323 w 76730"/>
                    <a:gd name="connsiteY5" fmla="*/ 180695 h 189939"/>
                    <a:gd name="connsiteX6" fmla="*/ 72132 w 76730"/>
                    <a:gd name="connsiteY6" fmla="*/ 189535 h 189939"/>
                    <a:gd name="connsiteX7" fmla="*/ 69808 w 76730"/>
                    <a:gd name="connsiteY7" fmla="*/ 189939 h 189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30" h="189939">
                      <a:moveTo>
                        <a:pt x="69808" y="189939"/>
                      </a:moveTo>
                      <a:cubicBezTo>
                        <a:pt x="66962" y="189939"/>
                        <a:pt x="64299" y="188175"/>
                        <a:pt x="63292" y="185343"/>
                      </a:cubicBezTo>
                      <a:lnTo>
                        <a:pt x="407" y="9252"/>
                      </a:lnTo>
                      <a:cubicBezTo>
                        <a:pt x="-883" y="5656"/>
                        <a:pt x="995" y="1696"/>
                        <a:pt x="4599" y="413"/>
                      </a:cubicBezTo>
                      <a:cubicBezTo>
                        <a:pt x="8189" y="-891"/>
                        <a:pt x="12162" y="1001"/>
                        <a:pt x="13439" y="4604"/>
                      </a:cubicBezTo>
                      <a:lnTo>
                        <a:pt x="76323" y="180695"/>
                      </a:lnTo>
                      <a:cubicBezTo>
                        <a:pt x="77614" y="184292"/>
                        <a:pt x="75736" y="188252"/>
                        <a:pt x="72132" y="189535"/>
                      </a:cubicBezTo>
                      <a:cubicBezTo>
                        <a:pt x="71368" y="189811"/>
                        <a:pt x="70579" y="189939"/>
                        <a:pt x="69808" y="189939"/>
                      </a:cubicBezTo>
                      <a:close/>
                    </a:path>
                  </a:pathLst>
                </a:custGeom>
                <a:solidFill>
                  <a:schemeClr val="accent1"/>
                </a:solidFill>
                <a:ln w="345" cap="flat">
                  <a:noFill/>
                  <a:prstDash val="solid"/>
                  <a:miter/>
                </a:ln>
              </p:spPr>
              <p:txBody>
                <a:bodyPr rtlCol="0" anchor="ctr"/>
                <a:lstStyle/>
                <a:p>
                  <a:endParaRPr lang="en-GB" dirty="0"/>
                </a:p>
              </p:txBody>
            </p:sp>
            <p:sp>
              <p:nvSpPr>
                <p:cNvPr id="469" name="Freihandform: Form 312">
                  <a:extLst>
                    <a:ext uri="{FF2B5EF4-FFF2-40B4-BE49-F238E27FC236}">
                      <a16:creationId xmlns:a16="http://schemas.microsoft.com/office/drawing/2014/main" id="{BFA02EA2-63A8-45BB-AB32-5A952FDBBD48}"/>
                    </a:ext>
                  </a:extLst>
                </p:cNvPr>
                <p:cNvSpPr/>
                <p:nvPr/>
              </p:nvSpPr>
              <p:spPr>
                <a:xfrm>
                  <a:off x="3670329" y="4447281"/>
                  <a:ext cx="76737" cy="189942"/>
                </a:xfrm>
                <a:custGeom>
                  <a:avLst/>
                  <a:gdLst>
                    <a:gd name="connsiteX0" fmla="*/ 6923 w 76737"/>
                    <a:gd name="connsiteY0" fmla="*/ 189942 h 189942"/>
                    <a:gd name="connsiteX1" fmla="*/ 4599 w 76737"/>
                    <a:gd name="connsiteY1" fmla="*/ 189537 h 189942"/>
                    <a:gd name="connsiteX2" fmla="*/ 407 w 76737"/>
                    <a:gd name="connsiteY2" fmla="*/ 180697 h 189942"/>
                    <a:gd name="connsiteX3" fmla="*/ 63299 w 76737"/>
                    <a:gd name="connsiteY3" fmla="*/ 4607 h 189942"/>
                    <a:gd name="connsiteX4" fmla="*/ 72139 w 76737"/>
                    <a:gd name="connsiteY4" fmla="*/ 415 h 189942"/>
                    <a:gd name="connsiteX5" fmla="*/ 76331 w 76737"/>
                    <a:gd name="connsiteY5" fmla="*/ 9255 h 189942"/>
                    <a:gd name="connsiteX6" fmla="*/ 13438 w 76737"/>
                    <a:gd name="connsiteY6" fmla="*/ 185346 h 189942"/>
                    <a:gd name="connsiteX7" fmla="*/ 6923 w 76737"/>
                    <a:gd name="connsiteY7" fmla="*/ 189942 h 18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37" h="189942">
                      <a:moveTo>
                        <a:pt x="6923" y="189942"/>
                      </a:moveTo>
                      <a:cubicBezTo>
                        <a:pt x="6152" y="189942"/>
                        <a:pt x="5363" y="189814"/>
                        <a:pt x="4599" y="189537"/>
                      </a:cubicBezTo>
                      <a:cubicBezTo>
                        <a:pt x="995" y="188254"/>
                        <a:pt x="-883" y="184294"/>
                        <a:pt x="407" y="180697"/>
                      </a:cubicBezTo>
                      <a:lnTo>
                        <a:pt x="63299" y="4607"/>
                      </a:lnTo>
                      <a:cubicBezTo>
                        <a:pt x="64575" y="1003"/>
                        <a:pt x="68542" y="-895"/>
                        <a:pt x="72139" y="415"/>
                      </a:cubicBezTo>
                      <a:cubicBezTo>
                        <a:pt x="75743" y="1698"/>
                        <a:pt x="77620" y="5658"/>
                        <a:pt x="76331" y="9255"/>
                      </a:cubicBezTo>
                      <a:lnTo>
                        <a:pt x="13438" y="185346"/>
                      </a:lnTo>
                      <a:cubicBezTo>
                        <a:pt x="12429" y="188178"/>
                        <a:pt x="9766" y="189942"/>
                        <a:pt x="6923" y="189942"/>
                      </a:cubicBezTo>
                      <a:close/>
                    </a:path>
                  </a:pathLst>
                </a:custGeom>
                <a:solidFill>
                  <a:schemeClr val="accent1"/>
                </a:solidFill>
                <a:ln w="345" cap="flat">
                  <a:noFill/>
                  <a:prstDash val="solid"/>
                  <a:miter/>
                </a:ln>
              </p:spPr>
              <p:txBody>
                <a:bodyPr rtlCol="0" anchor="ctr"/>
                <a:lstStyle/>
                <a:p>
                  <a:endParaRPr lang="en-GB" dirty="0"/>
                </a:p>
              </p:txBody>
            </p:sp>
            <p:sp>
              <p:nvSpPr>
                <p:cNvPr id="470" name="Freihandform: Form 313">
                  <a:extLst>
                    <a:ext uri="{FF2B5EF4-FFF2-40B4-BE49-F238E27FC236}">
                      <a16:creationId xmlns:a16="http://schemas.microsoft.com/office/drawing/2014/main" id="{5333BB09-CC41-4114-9B77-8DE3C58E3ABB}"/>
                    </a:ext>
                  </a:extLst>
                </p:cNvPr>
                <p:cNvSpPr/>
                <p:nvPr/>
              </p:nvSpPr>
              <p:spPr>
                <a:xfrm>
                  <a:off x="3626311" y="4447292"/>
                  <a:ext cx="57858" cy="70441"/>
                </a:xfrm>
                <a:custGeom>
                  <a:avLst/>
                  <a:gdLst>
                    <a:gd name="connsiteX0" fmla="*/ 6911 w 57858"/>
                    <a:gd name="connsiteY0" fmla="*/ 70441 h 70441"/>
                    <a:gd name="connsiteX1" fmla="*/ 2668 w 57858"/>
                    <a:gd name="connsiteY1" fmla="*/ 68982 h 70441"/>
                    <a:gd name="connsiteX2" fmla="*/ 1457 w 57858"/>
                    <a:gd name="connsiteY2" fmla="*/ 59271 h 70441"/>
                    <a:gd name="connsiteX3" fmla="*/ 45480 w 57858"/>
                    <a:gd name="connsiteY3" fmla="*/ 2670 h 70441"/>
                    <a:gd name="connsiteX4" fmla="*/ 55191 w 57858"/>
                    <a:gd name="connsiteY4" fmla="*/ 1459 h 70441"/>
                    <a:gd name="connsiteX5" fmla="*/ 56402 w 57858"/>
                    <a:gd name="connsiteY5" fmla="*/ 11170 h 70441"/>
                    <a:gd name="connsiteX6" fmla="*/ 12379 w 57858"/>
                    <a:gd name="connsiteY6" fmla="*/ 67772 h 70441"/>
                    <a:gd name="connsiteX7" fmla="*/ 6911 w 57858"/>
                    <a:gd name="connsiteY7" fmla="*/ 70441 h 7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58" h="70441">
                      <a:moveTo>
                        <a:pt x="6911" y="70441"/>
                      </a:moveTo>
                      <a:cubicBezTo>
                        <a:pt x="5431" y="70441"/>
                        <a:pt x="3930" y="69968"/>
                        <a:pt x="2668" y="68982"/>
                      </a:cubicBezTo>
                      <a:cubicBezTo>
                        <a:pt x="-345" y="66637"/>
                        <a:pt x="-887" y="62290"/>
                        <a:pt x="1457" y="59271"/>
                      </a:cubicBezTo>
                      <a:lnTo>
                        <a:pt x="45480" y="2670"/>
                      </a:lnTo>
                      <a:cubicBezTo>
                        <a:pt x="47832" y="-339"/>
                        <a:pt x="52172" y="-893"/>
                        <a:pt x="55191" y="1459"/>
                      </a:cubicBezTo>
                      <a:cubicBezTo>
                        <a:pt x="58203" y="3804"/>
                        <a:pt x="58747" y="8151"/>
                        <a:pt x="56402" y="11170"/>
                      </a:cubicBezTo>
                      <a:lnTo>
                        <a:pt x="12379" y="67772"/>
                      </a:lnTo>
                      <a:cubicBezTo>
                        <a:pt x="11013" y="69521"/>
                        <a:pt x="8973" y="70441"/>
                        <a:pt x="6911" y="70441"/>
                      </a:cubicBezTo>
                      <a:close/>
                    </a:path>
                  </a:pathLst>
                </a:custGeom>
                <a:solidFill>
                  <a:schemeClr val="accent1"/>
                </a:solidFill>
                <a:ln w="345" cap="flat">
                  <a:noFill/>
                  <a:prstDash val="solid"/>
                  <a:miter/>
                </a:ln>
              </p:spPr>
              <p:txBody>
                <a:bodyPr rtlCol="0" anchor="ctr"/>
                <a:lstStyle/>
                <a:p>
                  <a:endParaRPr lang="en-GB" dirty="0"/>
                </a:p>
              </p:txBody>
            </p:sp>
            <p:sp>
              <p:nvSpPr>
                <p:cNvPr id="471" name="Freihandform: Form 314">
                  <a:extLst>
                    <a:ext uri="{FF2B5EF4-FFF2-40B4-BE49-F238E27FC236}">
                      <a16:creationId xmlns:a16="http://schemas.microsoft.com/office/drawing/2014/main" id="{0077887C-91F1-43A7-AB75-7DCC381394DB}"/>
                    </a:ext>
                  </a:extLst>
                </p:cNvPr>
                <p:cNvSpPr/>
                <p:nvPr/>
              </p:nvSpPr>
              <p:spPr>
                <a:xfrm>
                  <a:off x="3670333" y="4447292"/>
                  <a:ext cx="57867" cy="70441"/>
                </a:xfrm>
                <a:custGeom>
                  <a:avLst/>
                  <a:gdLst>
                    <a:gd name="connsiteX0" fmla="*/ 50956 w 57867"/>
                    <a:gd name="connsiteY0" fmla="*/ 70441 h 70441"/>
                    <a:gd name="connsiteX1" fmla="*/ 45488 w 57867"/>
                    <a:gd name="connsiteY1" fmla="*/ 67772 h 70441"/>
                    <a:gd name="connsiteX2" fmla="*/ 1458 w 57867"/>
                    <a:gd name="connsiteY2" fmla="*/ 11170 h 70441"/>
                    <a:gd name="connsiteX3" fmla="*/ 2669 w 57867"/>
                    <a:gd name="connsiteY3" fmla="*/ 1459 h 70441"/>
                    <a:gd name="connsiteX4" fmla="*/ 12380 w 57867"/>
                    <a:gd name="connsiteY4" fmla="*/ 2670 h 70441"/>
                    <a:gd name="connsiteX5" fmla="*/ 56410 w 57867"/>
                    <a:gd name="connsiteY5" fmla="*/ 59271 h 70441"/>
                    <a:gd name="connsiteX6" fmla="*/ 55199 w 57867"/>
                    <a:gd name="connsiteY6" fmla="*/ 68982 h 70441"/>
                    <a:gd name="connsiteX7" fmla="*/ 50956 w 57867"/>
                    <a:gd name="connsiteY7" fmla="*/ 70441 h 7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867" h="70441">
                      <a:moveTo>
                        <a:pt x="50956" y="70441"/>
                      </a:moveTo>
                      <a:cubicBezTo>
                        <a:pt x="48894" y="70441"/>
                        <a:pt x="46854" y="69521"/>
                        <a:pt x="45488" y="67772"/>
                      </a:cubicBezTo>
                      <a:lnTo>
                        <a:pt x="1458" y="11170"/>
                      </a:lnTo>
                      <a:cubicBezTo>
                        <a:pt x="-886" y="8151"/>
                        <a:pt x="-347" y="3804"/>
                        <a:pt x="2669" y="1459"/>
                      </a:cubicBezTo>
                      <a:cubicBezTo>
                        <a:pt x="5695" y="-893"/>
                        <a:pt x="10035" y="-339"/>
                        <a:pt x="12380" y="2670"/>
                      </a:cubicBezTo>
                      <a:lnTo>
                        <a:pt x="56410" y="59271"/>
                      </a:lnTo>
                      <a:cubicBezTo>
                        <a:pt x="58754" y="62293"/>
                        <a:pt x="58215" y="66637"/>
                        <a:pt x="55199" y="68982"/>
                      </a:cubicBezTo>
                      <a:cubicBezTo>
                        <a:pt x="53933" y="69968"/>
                        <a:pt x="52436" y="70441"/>
                        <a:pt x="50956" y="70441"/>
                      </a:cubicBezTo>
                      <a:close/>
                    </a:path>
                  </a:pathLst>
                </a:custGeom>
                <a:solidFill>
                  <a:schemeClr val="accent1"/>
                </a:solidFill>
                <a:ln w="345" cap="flat">
                  <a:noFill/>
                  <a:prstDash val="solid"/>
                  <a:miter/>
                </a:ln>
              </p:spPr>
              <p:txBody>
                <a:bodyPr rtlCol="0" anchor="ctr"/>
                <a:lstStyle/>
                <a:p>
                  <a:endParaRPr lang="en-GB" dirty="0"/>
                </a:p>
              </p:txBody>
            </p:sp>
          </p:grpSp>
          <p:sp>
            <p:nvSpPr>
              <p:cNvPr id="463" name="Freihandform: Form 329">
                <a:extLst>
                  <a:ext uri="{FF2B5EF4-FFF2-40B4-BE49-F238E27FC236}">
                    <a16:creationId xmlns:a16="http://schemas.microsoft.com/office/drawing/2014/main" id="{511141A1-593C-4AA9-A22D-5C9D9643E5D3}"/>
                  </a:ext>
                </a:extLst>
              </p:cNvPr>
              <p:cNvSpPr/>
              <p:nvPr/>
            </p:nvSpPr>
            <p:spPr>
              <a:xfrm>
                <a:off x="3669716" y="4343486"/>
                <a:ext cx="13840" cy="62283"/>
              </a:xfrm>
              <a:custGeom>
                <a:avLst/>
                <a:gdLst>
                  <a:gd name="connsiteX0" fmla="*/ 6921 w 13840"/>
                  <a:gd name="connsiteY0" fmla="*/ 62283 h 62283"/>
                  <a:gd name="connsiteX1" fmla="*/ 0 w 13840"/>
                  <a:gd name="connsiteY1" fmla="*/ 55363 h 62283"/>
                  <a:gd name="connsiteX2" fmla="*/ 0 w 13840"/>
                  <a:gd name="connsiteY2" fmla="*/ 6920 h 62283"/>
                  <a:gd name="connsiteX3" fmla="*/ 6921 w 13840"/>
                  <a:gd name="connsiteY3" fmla="*/ 0 h 62283"/>
                  <a:gd name="connsiteX4" fmla="*/ 13841 w 13840"/>
                  <a:gd name="connsiteY4" fmla="*/ 6920 h 62283"/>
                  <a:gd name="connsiteX5" fmla="*/ 13841 w 13840"/>
                  <a:gd name="connsiteY5" fmla="*/ 55363 h 62283"/>
                  <a:gd name="connsiteX6" fmla="*/ 6921 w 13840"/>
                  <a:gd name="connsiteY6" fmla="*/ 62283 h 62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40" h="62283">
                    <a:moveTo>
                      <a:pt x="6921" y="62283"/>
                    </a:moveTo>
                    <a:cubicBezTo>
                      <a:pt x="3095" y="62283"/>
                      <a:pt x="0" y="59188"/>
                      <a:pt x="0" y="55363"/>
                    </a:cubicBezTo>
                    <a:lnTo>
                      <a:pt x="0" y="6920"/>
                    </a:lnTo>
                    <a:cubicBezTo>
                      <a:pt x="0" y="3095"/>
                      <a:pt x="3095" y="0"/>
                      <a:pt x="6921" y="0"/>
                    </a:cubicBezTo>
                    <a:cubicBezTo>
                      <a:pt x="10746" y="0"/>
                      <a:pt x="13841" y="3095"/>
                      <a:pt x="13841" y="6920"/>
                    </a:cubicBezTo>
                    <a:lnTo>
                      <a:pt x="13841" y="55363"/>
                    </a:lnTo>
                    <a:cubicBezTo>
                      <a:pt x="13841" y="59188"/>
                      <a:pt x="10746" y="62283"/>
                      <a:pt x="6921" y="62283"/>
                    </a:cubicBezTo>
                    <a:close/>
                  </a:path>
                </a:pathLst>
              </a:custGeom>
              <a:solidFill>
                <a:schemeClr val="accent1"/>
              </a:solidFill>
              <a:ln w="345" cap="flat">
                <a:noFill/>
                <a:prstDash val="solid"/>
                <a:miter/>
              </a:ln>
            </p:spPr>
            <p:txBody>
              <a:bodyPr rtlCol="0" anchor="ctr"/>
              <a:lstStyle/>
              <a:p>
                <a:endParaRPr lang="en-GB" dirty="0"/>
              </a:p>
            </p:txBody>
          </p:sp>
          <p:sp>
            <p:nvSpPr>
              <p:cNvPr id="464" name="Freihandform: Form 330">
                <a:extLst>
                  <a:ext uri="{FF2B5EF4-FFF2-40B4-BE49-F238E27FC236}">
                    <a16:creationId xmlns:a16="http://schemas.microsoft.com/office/drawing/2014/main" id="{C11A4659-E373-4B33-8B8D-BD0601566014}"/>
                  </a:ext>
                </a:extLst>
              </p:cNvPr>
              <p:cNvSpPr/>
              <p:nvPr/>
            </p:nvSpPr>
            <p:spPr>
              <a:xfrm>
                <a:off x="3552068" y="4378432"/>
                <a:ext cx="48096" cy="48098"/>
              </a:xfrm>
              <a:custGeom>
                <a:avLst/>
                <a:gdLst>
                  <a:gd name="connsiteX0" fmla="*/ 41178 w 48096"/>
                  <a:gd name="connsiteY0" fmla="*/ 48098 h 48098"/>
                  <a:gd name="connsiteX1" fmla="*/ 36284 w 48096"/>
                  <a:gd name="connsiteY1" fmla="*/ 46072 h 48098"/>
                  <a:gd name="connsiteX2" fmla="*/ 2028 w 48096"/>
                  <a:gd name="connsiteY2" fmla="*/ 11816 h 48098"/>
                  <a:gd name="connsiteX3" fmla="*/ 2028 w 48096"/>
                  <a:gd name="connsiteY3" fmla="*/ 2028 h 48098"/>
                  <a:gd name="connsiteX4" fmla="*/ 11812 w 48096"/>
                  <a:gd name="connsiteY4" fmla="*/ 2028 h 48098"/>
                  <a:gd name="connsiteX5" fmla="*/ 46068 w 48096"/>
                  <a:gd name="connsiteY5" fmla="*/ 36284 h 48098"/>
                  <a:gd name="connsiteX6" fmla="*/ 46068 w 48096"/>
                  <a:gd name="connsiteY6" fmla="*/ 46072 h 48098"/>
                  <a:gd name="connsiteX7" fmla="*/ 41178 w 48096"/>
                  <a:gd name="connsiteY7" fmla="*/ 48098 h 4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96" h="48098">
                    <a:moveTo>
                      <a:pt x="41178" y="48098"/>
                    </a:moveTo>
                    <a:cubicBezTo>
                      <a:pt x="39407" y="48098"/>
                      <a:pt x="37637" y="47424"/>
                      <a:pt x="36284" y="46072"/>
                    </a:cubicBezTo>
                    <a:lnTo>
                      <a:pt x="2028" y="11816"/>
                    </a:lnTo>
                    <a:cubicBezTo>
                      <a:pt x="-676" y="9111"/>
                      <a:pt x="-676" y="4733"/>
                      <a:pt x="2028" y="2028"/>
                    </a:cubicBezTo>
                    <a:cubicBezTo>
                      <a:pt x="4733" y="-676"/>
                      <a:pt x="9111" y="-676"/>
                      <a:pt x="11812" y="2028"/>
                    </a:cubicBezTo>
                    <a:lnTo>
                      <a:pt x="46068" y="36284"/>
                    </a:lnTo>
                    <a:cubicBezTo>
                      <a:pt x="48773" y="38989"/>
                      <a:pt x="48773" y="43367"/>
                      <a:pt x="46068" y="46072"/>
                    </a:cubicBezTo>
                    <a:cubicBezTo>
                      <a:pt x="44720" y="47424"/>
                      <a:pt x="42949" y="48098"/>
                      <a:pt x="41178" y="48098"/>
                    </a:cubicBezTo>
                    <a:close/>
                  </a:path>
                </a:pathLst>
              </a:custGeom>
              <a:solidFill>
                <a:schemeClr val="accent1"/>
              </a:solidFill>
              <a:ln w="345" cap="flat">
                <a:noFill/>
                <a:prstDash val="solid"/>
                <a:miter/>
              </a:ln>
            </p:spPr>
            <p:txBody>
              <a:bodyPr rtlCol="0" anchor="ctr"/>
              <a:lstStyle/>
              <a:p>
                <a:endParaRPr lang="en-GB" dirty="0"/>
              </a:p>
            </p:txBody>
          </p:sp>
          <p:sp>
            <p:nvSpPr>
              <p:cNvPr id="465" name="Freihandform: Form 331">
                <a:extLst>
                  <a:ext uri="{FF2B5EF4-FFF2-40B4-BE49-F238E27FC236}">
                    <a16:creationId xmlns:a16="http://schemas.microsoft.com/office/drawing/2014/main" id="{D1473FB0-4072-4AF0-B096-941BE42D8CCC}"/>
                  </a:ext>
                </a:extLst>
              </p:cNvPr>
              <p:cNvSpPr/>
              <p:nvPr/>
            </p:nvSpPr>
            <p:spPr>
              <a:xfrm>
                <a:off x="3752759" y="4378432"/>
                <a:ext cx="48096" cy="48098"/>
              </a:xfrm>
              <a:custGeom>
                <a:avLst/>
                <a:gdLst>
                  <a:gd name="connsiteX0" fmla="*/ 6922 w 48096"/>
                  <a:gd name="connsiteY0" fmla="*/ 48098 h 48098"/>
                  <a:gd name="connsiteX1" fmla="*/ 2028 w 48096"/>
                  <a:gd name="connsiteY1" fmla="*/ 46072 h 48098"/>
                  <a:gd name="connsiteX2" fmla="*/ 2028 w 48096"/>
                  <a:gd name="connsiteY2" fmla="*/ 36284 h 48098"/>
                  <a:gd name="connsiteX3" fmla="*/ 36284 w 48096"/>
                  <a:gd name="connsiteY3" fmla="*/ 2028 h 48098"/>
                  <a:gd name="connsiteX4" fmla="*/ 46068 w 48096"/>
                  <a:gd name="connsiteY4" fmla="*/ 2028 h 48098"/>
                  <a:gd name="connsiteX5" fmla="*/ 46068 w 48096"/>
                  <a:gd name="connsiteY5" fmla="*/ 11816 h 48098"/>
                  <a:gd name="connsiteX6" fmla="*/ 11812 w 48096"/>
                  <a:gd name="connsiteY6" fmla="*/ 46072 h 48098"/>
                  <a:gd name="connsiteX7" fmla="*/ 6922 w 48096"/>
                  <a:gd name="connsiteY7" fmla="*/ 48098 h 480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96" h="48098">
                    <a:moveTo>
                      <a:pt x="6922" y="48098"/>
                    </a:moveTo>
                    <a:cubicBezTo>
                      <a:pt x="5152" y="48098"/>
                      <a:pt x="3381" y="47424"/>
                      <a:pt x="2028" y="46072"/>
                    </a:cubicBezTo>
                    <a:cubicBezTo>
                      <a:pt x="-676" y="43367"/>
                      <a:pt x="-676" y="38989"/>
                      <a:pt x="2028" y="36284"/>
                    </a:cubicBezTo>
                    <a:lnTo>
                      <a:pt x="36284" y="2028"/>
                    </a:lnTo>
                    <a:cubicBezTo>
                      <a:pt x="38989" y="-676"/>
                      <a:pt x="43367" y="-676"/>
                      <a:pt x="46068" y="2028"/>
                    </a:cubicBezTo>
                    <a:cubicBezTo>
                      <a:pt x="48773" y="4733"/>
                      <a:pt x="48773" y="9111"/>
                      <a:pt x="46068" y="11816"/>
                    </a:cubicBezTo>
                    <a:lnTo>
                      <a:pt x="11812" y="46072"/>
                    </a:lnTo>
                    <a:cubicBezTo>
                      <a:pt x="10464" y="47424"/>
                      <a:pt x="8693" y="48098"/>
                      <a:pt x="6922" y="48098"/>
                    </a:cubicBezTo>
                    <a:close/>
                  </a:path>
                </a:pathLst>
              </a:custGeom>
              <a:solidFill>
                <a:schemeClr val="accent1"/>
              </a:solidFill>
              <a:ln w="345" cap="flat">
                <a:noFill/>
                <a:prstDash val="solid"/>
                <a:miter/>
              </a:ln>
            </p:spPr>
            <p:txBody>
              <a:bodyPr rtlCol="0" anchor="ctr"/>
              <a:lstStyle/>
              <a:p>
                <a:endParaRPr lang="en-GB" dirty="0"/>
              </a:p>
            </p:txBody>
          </p:sp>
        </p:grpSp>
      </p:grpSp>
      <p:grpSp>
        <p:nvGrpSpPr>
          <p:cNvPr id="635" name="Group 634">
            <a:extLst>
              <a:ext uri="{FF2B5EF4-FFF2-40B4-BE49-F238E27FC236}">
                <a16:creationId xmlns:a16="http://schemas.microsoft.com/office/drawing/2014/main" id="{2560EDFA-BD30-27B4-18CA-5628114C9848}"/>
              </a:ext>
            </a:extLst>
          </p:cNvPr>
          <p:cNvGrpSpPr/>
          <p:nvPr/>
        </p:nvGrpSpPr>
        <p:grpSpPr>
          <a:xfrm>
            <a:off x="5950850" y="3197068"/>
            <a:ext cx="611102" cy="432000"/>
            <a:chOff x="5950438" y="3197068"/>
            <a:chExt cx="611102" cy="432000"/>
          </a:xfrm>
        </p:grpSpPr>
        <p:grpSp>
          <p:nvGrpSpPr>
            <p:cNvPr id="487" name="Gruppieren 862">
              <a:extLst>
                <a:ext uri="{FF2B5EF4-FFF2-40B4-BE49-F238E27FC236}">
                  <a16:creationId xmlns:a16="http://schemas.microsoft.com/office/drawing/2014/main" id="{52BE462C-CE5B-4BB7-B740-914001057F9C}"/>
                </a:ext>
              </a:extLst>
            </p:cNvPr>
            <p:cNvGrpSpPr/>
            <p:nvPr/>
          </p:nvGrpSpPr>
          <p:grpSpPr>
            <a:xfrm>
              <a:off x="6148624" y="3197068"/>
              <a:ext cx="221378" cy="432000"/>
              <a:chOff x="5383257" y="1740087"/>
              <a:chExt cx="167050" cy="325984"/>
            </a:xfrm>
          </p:grpSpPr>
          <p:grpSp>
            <p:nvGrpSpPr>
              <p:cNvPr id="495" name="Grafik 343">
                <a:extLst>
                  <a:ext uri="{FF2B5EF4-FFF2-40B4-BE49-F238E27FC236}">
                    <a16:creationId xmlns:a16="http://schemas.microsoft.com/office/drawing/2014/main" id="{7FD962A9-2598-4933-A78A-F309B7F31C9D}"/>
                  </a:ext>
                </a:extLst>
              </p:cNvPr>
              <p:cNvGrpSpPr/>
              <p:nvPr/>
            </p:nvGrpSpPr>
            <p:grpSpPr>
              <a:xfrm>
                <a:off x="5383257" y="1926374"/>
                <a:ext cx="139697" cy="139697"/>
                <a:chOff x="5383257" y="1926374"/>
                <a:chExt cx="139697" cy="139697"/>
              </a:xfrm>
              <a:solidFill>
                <a:schemeClr val="accent1"/>
              </a:solidFill>
            </p:grpSpPr>
            <p:sp>
              <p:nvSpPr>
                <p:cNvPr id="497" name="Freihandform: Form 548">
                  <a:extLst>
                    <a:ext uri="{FF2B5EF4-FFF2-40B4-BE49-F238E27FC236}">
                      <a16:creationId xmlns:a16="http://schemas.microsoft.com/office/drawing/2014/main" id="{3A508353-3859-442D-9C4E-863E4C3734D1}"/>
                    </a:ext>
                  </a:extLst>
                </p:cNvPr>
                <p:cNvSpPr/>
                <p:nvPr/>
              </p:nvSpPr>
              <p:spPr>
                <a:xfrm>
                  <a:off x="5406570" y="1962220"/>
                  <a:ext cx="93058" cy="81872"/>
                </a:xfrm>
                <a:custGeom>
                  <a:avLst/>
                  <a:gdLst>
                    <a:gd name="connsiteX0" fmla="*/ 47009 w 93058"/>
                    <a:gd name="connsiteY0" fmla="*/ 81872 h 81872"/>
                    <a:gd name="connsiteX1" fmla="*/ 40318 w 93058"/>
                    <a:gd name="connsiteY1" fmla="*/ 77746 h 81872"/>
                    <a:gd name="connsiteX2" fmla="*/ 22632 w 93058"/>
                    <a:gd name="connsiteY2" fmla="*/ 62473 h 81872"/>
                    <a:gd name="connsiteX3" fmla="*/ 17968 w 93058"/>
                    <a:gd name="connsiteY3" fmla="*/ 59780 h 81872"/>
                    <a:gd name="connsiteX4" fmla="*/ 3357 w 93058"/>
                    <a:gd name="connsiteY4" fmla="*/ 43169 h 81872"/>
                    <a:gd name="connsiteX5" fmla="*/ 2987 w 93058"/>
                    <a:gd name="connsiteY5" fmla="*/ 42445 h 81872"/>
                    <a:gd name="connsiteX6" fmla="*/ 279 w 93058"/>
                    <a:gd name="connsiteY6" fmla="*/ 24496 h 81872"/>
                    <a:gd name="connsiteX7" fmla="*/ 308 w 93058"/>
                    <a:gd name="connsiteY7" fmla="*/ 24295 h 81872"/>
                    <a:gd name="connsiteX8" fmla="*/ 17807 w 93058"/>
                    <a:gd name="connsiteY8" fmla="*/ 2681 h 81872"/>
                    <a:gd name="connsiteX9" fmla="*/ 40710 w 93058"/>
                    <a:gd name="connsiteY9" fmla="*/ 2669 h 81872"/>
                    <a:gd name="connsiteX10" fmla="*/ 46439 w 93058"/>
                    <a:gd name="connsiteY10" fmla="*/ 6611 h 81872"/>
                    <a:gd name="connsiteX11" fmla="*/ 51930 w 93058"/>
                    <a:gd name="connsiteY11" fmla="*/ 2619 h 81872"/>
                    <a:gd name="connsiteX12" fmla="*/ 74799 w 93058"/>
                    <a:gd name="connsiteY12" fmla="*/ 2193 h 81872"/>
                    <a:gd name="connsiteX13" fmla="*/ 92686 w 93058"/>
                    <a:gd name="connsiteY13" fmla="*/ 23500 h 81872"/>
                    <a:gd name="connsiteX14" fmla="*/ 90314 w 93058"/>
                    <a:gd name="connsiteY14" fmla="*/ 41692 h 81872"/>
                    <a:gd name="connsiteX15" fmla="*/ 89972 w 93058"/>
                    <a:gd name="connsiteY15" fmla="*/ 42391 h 81872"/>
                    <a:gd name="connsiteX16" fmla="*/ 75379 w 93058"/>
                    <a:gd name="connsiteY16" fmla="*/ 59460 h 81872"/>
                    <a:gd name="connsiteX17" fmla="*/ 71064 w 93058"/>
                    <a:gd name="connsiteY17" fmla="*/ 62040 h 81872"/>
                    <a:gd name="connsiteX18" fmla="*/ 53762 w 93058"/>
                    <a:gd name="connsiteY18" fmla="*/ 77511 h 81872"/>
                    <a:gd name="connsiteX19" fmla="*/ 47685 w 93058"/>
                    <a:gd name="connsiteY19" fmla="*/ 81840 h 81872"/>
                    <a:gd name="connsiteX20" fmla="*/ 47009 w 93058"/>
                    <a:gd name="connsiteY20" fmla="*/ 81872 h 81872"/>
                    <a:gd name="connsiteX21" fmla="*/ 41341 w 93058"/>
                    <a:gd name="connsiteY21" fmla="*/ 72812 h 81872"/>
                    <a:gd name="connsiteX22" fmla="*/ 41339 w 93058"/>
                    <a:gd name="connsiteY22" fmla="*/ 72825 h 81872"/>
                    <a:gd name="connsiteX23" fmla="*/ 41341 w 93058"/>
                    <a:gd name="connsiteY23" fmla="*/ 72812 h 81872"/>
                    <a:gd name="connsiteX24" fmla="*/ 52012 w 93058"/>
                    <a:gd name="connsiteY24" fmla="*/ 71405 h 81872"/>
                    <a:gd name="connsiteX25" fmla="*/ 52134 w 93058"/>
                    <a:gd name="connsiteY25" fmla="*/ 71628 h 81872"/>
                    <a:gd name="connsiteX26" fmla="*/ 52012 w 93058"/>
                    <a:gd name="connsiteY26" fmla="*/ 71405 h 81872"/>
                    <a:gd name="connsiteX27" fmla="*/ 13465 w 93058"/>
                    <a:gd name="connsiteY27" fmla="*/ 26255 h 81872"/>
                    <a:gd name="connsiteX28" fmla="*/ 15115 w 93058"/>
                    <a:gd name="connsiteY28" fmla="*/ 36981 h 81872"/>
                    <a:gd name="connsiteX29" fmla="*/ 25328 w 93058"/>
                    <a:gd name="connsiteY29" fmla="*/ 48700 h 81872"/>
                    <a:gd name="connsiteX30" fmla="*/ 28879 w 93058"/>
                    <a:gd name="connsiteY30" fmla="*/ 50727 h 81872"/>
                    <a:gd name="connsiteX31" fmla="*/ 46887 w 93058"/>
                    <a:gd name="connsiteY31" fmla="*/ 64002 h 81872"/>
                    <a:gd name="connsiteX32" fmla="*/ 64596 w 93058"/>
                    <a:gd name="connsiteY32" fmla="*/ 50415 h 81872"/>
                    <a:gd name="connsiteX33" fmla="*/ 67835 w 93058"/>
                    <a:gd name="connsiteY33" fmla="*/ 48509 h 81872"/>
                    <a:gd name="connsiteX34" fmla="*/ 78144 w 93058"/>
                    <a:gd name="connsiteY34" fmla="*/ 36302 h 81872"/>
                    <a:gd name="connsiteX35" fmla="*/ 79544 w 93058"/>
                    <a:gd name="connsiteY35" fmla="*/ 25576 h 81872"/>
                    <a:gd name="connsiteX36" fmla="*/ 70400 w 93058"/>
                    <a:gd name="connsiteY36" fmla="*/ 14749 h 81872"/>
                    <a:gd name="connsiteX37" fmla="*/ 58163 w 93058"/>
                    <a:gd name="connsiteY37" fmla="*/ 14373 h 81872"/>
                    <a:gd name="connsiteX38" fmla="*/ 52991 w 93058"/>
                    <a:gd name="connsiteY38" fmla="*/ 20481 h 81872"/>
                    <a:gd name="connsiteX39" fmla="*/ 46657 w 93058"/>
                    <a:gd name="connsiteY39" fmla="*/ 25177 h 81872"/>
                    <a:gd name="connsiteX40" fmla="*/ 46632 w 93058"/>
                    <a:gd name="connsiteY40" fmla="*/ 25177 h 81872"/>
                    <a:gd name="connsiteX41" fmla="*/ 40291 w 93058"/>
                    <a:gd name="connsiteY41" fmla="*/ 20620 h 81872"/>
                    <a:gd name="connsiteX42" fmla="*/ 40291 w 93058"/>
                    <a:gd name="connsiteY42" fmla="*/ 20620 h 81872"/>
                    <a:gd name="connsiteX43" fmla="*/ 34782 w 93058"/>
                    <a:gd name="connsiteY43" fmla="*/ 14576 h 81872"/>
                    <a:gd name="connsiteX44" fmla="*/ 22418 w 93058"/>
                    <a:gd name="connsiteY44" fmla="*/ 15158 h 81872"/>
                    <a:gd name="connsiteX45" fmla="*/ 13465 w 93058"/>
                    <a:gd name="connsiteY45" fmla="*/ 26255 h 81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93058" h="81872">
                      <a:moveTo>
                        <a:pt x="47009" y="81872"/>
                      </a:moveTo>
                      <a:cubicBezTo>
                        <a:pt x="44186" y="81872"/>
                        <a:pt x="41612" y="80304"/>
                        <a:pt x="40318" y="77746"/>
                      </a:cubicBezTo>
                      <a:cubicBezTo>
                        <a:pt x="35979" y="69571"/>
                        <a:pt x="28264" y="65467"/>
                        <a:pt x="22632" y="62473"/>
                      </a:cubicBezTo>
                      <a:cubicBezTo>
                        <a:pt x="20696" y="61447"/>
                        <a:pt x="19088" y="60563"/>
                        <a:pt x="17968" y="59780"/>
                      </a:cubicBezTo>
                      <a:cubicBezTo>
                        <a:pt x="9396" y="54382"/>
                        <a:pt x="5163" y="46524"/>
                        <a:pt x="3357" y="43169"/>
                      </a:cubicBezTo>
                      <a:cubicBezTo>
                        <a:pt x="3282" y="43032"/>
                        <a:pt x="3052" y="42586"/>
                        <a:pt x="2987" y="42445"/>
                      </a:cubicBezTo>
                      <a:cubicBezTo>
                        <a:pt x="375" y="36646"/>
                        <a:pt x="-512" y="30778"/>
                        <a:pt x="279" y="24496"/>
                      </a:cubicBezTo>
                      <a:cubicBezTo>
                        <a:pt x="289" y="24427"/>
                        <a:pt x="296" y="24362"/>
                        <a:pt x="308" y="24295"/>
                      </a:cubicBezTo>
                      <a:cubicBezTo>
                        <a:pt x="2150" y="12522"/>
                        <a:pt x="11782" y="4919"/>
                        <a:pt x="17807" y="2681"/>
                      </a:cubicBezTo>
                      <a:cubicBezTo>
                        <a:pt x="26460" y="-511"/>
                        <a:pt x="34167" y="-511"/>
                        <a:pt x="40710" y="2669"/>
                      </a:cubicBezTo>
                      <a:cubicBezTo>
                        <a:pt x="42989" y="3774"/>
                        <a:pt x="44880" y="5154"/>
                        <a:pt x="46439" y="6611"/>
                      </a:cubicBezTo>
                      <a:cubicBezTo>
                        <a:pt x="47931" y="5147"/>
                        <a:pt x="49740" y="3756"/>
                        <a:pt x="51930" y="2619"/>
                      </a:cubicBezTo>
                      <a:cubicBezTo>
                        <a:pt x="58366" y="-729"/>
                        <a:pt x="66066" y="-863"/>
                        <a:pt x="74799" y="2193"/>
                      </a:cubicBezTo>
                      <a:cubicBezTo>
                        <a:pt x="80873" y="4324"/>
                        <a:pt x="90646" y="11756"/>
                        <a:pt x="92686" y="23500"/>
                      </a:cubicBezTo>
                      <a:cubicBezTo>
                        <a:pt x="93608" y="29988"/>
                        <a:pt x="92822" y="35868"/>
                        <a:pt x="90314" y="41692"/>
                      </a:cubicBezTo>
                      <a:cubicBezTo>
                        <a:pt x="90252" y="41831"/>
                        <a:pt x="90042" y="42254"/>
                        <a:pt x="89972" y="42391"/>
                      </a:cubicBezTo>
                      <a:cubicBezTo>
                        <a:pt x="88225" y="45781"/>
                        <a:pt x="84136" y="53731"/>
                        <a:pt x="75379" y="59460"/>
                      </a:cubicBezTo>
                      <a:cubicBezTo>
                        <a:pt x="74541" y="60077"/>
                        <a:pt x="72962" y="60984"/>
                        <a:pt x="71064" y="62040"/>
                      </a:cubicBezTo>
                      <a:cubicBezTo>
                        <a:pt x="65565" y="65103"/>
                        <a:pt x="58049" y="69286"/>
                        <a:pt x="53762" y="77511"/>
                      </a:cubicBezTo>
                      <a:cubicBezTo>
                        <a:pt x="52694" y="79934"/>
                        <a:pt x="50394" y="81600"/>
                        <a:pt x="47685" y="81840"/>
                      </a:cubicBezTo>
                      <a:cubicBezTo>
                        <a:pt x="47460" y="81862"/>
                        <a:pt x="47234" y="81872"/>
                        <a:pt x="47009" y="81872"/>
                      </a:cubicBezTo>
                      <a:close/>
                      <a:moveTo>
                        <a:pt x="41341" y="72812"/>
                      </a:moveTo>
                      <a:cubicBezTo>
                        <a:pt x="41341" y="72815"/>
                        <a:pt x="41341" y="72822"/>
                        <a:pt x="41339" y="72825"/>
                      </a:cubicBezTo>
                      <a:cubicBezTo>
                        <a:pt x="41341" y="72822"/>
                        <a:pt x="41341" y="72815"/>
                        <a:pt x="41341" y="72812"/>
                      </a:cubicBezTo>
                      <a:close/>
                      <a:moveTo>
                        <a:pt x="52012" y="71405"/>
                      </a:moveTo>
                      <a:cubicBezTo>
                        <a:pt x="52054" y="71479"/>
                        <a:pt x="52094" y="71553"/>
                        <a:pt x="52134" y="71628"/>
                      </a:cubicBezTo>
                      <a:cubicBezTo>
                        <a:pt x="52094" y="71556"/>
                        <a:pt x="52054" y="71481"/>
                        <a:pt x="52012" y="71405"/>
                      </a:cubicBezTo>
                      <a:close/>
                      <a:moveTo>
                        <a:pt x="13465" y="26255"/>
                      </a:moveTo>
                      <a:cubicBezTo>
                        <a:pt x="13004" y="30052"/>
                        <a:pt x="13529" y="33464"/>
                        <a:pt x="15115" y="36981"/>
                      </a:cubicBezTo>
                      <a:cubicBezTo>
                        <a:pt x="16602" y="39702"/>
                        <a:pt x="19452" y="44995"/>
                        <a:pt x="25328" y="48700"/>
                      </a:cubicBezTo>
                      <a:cubicBezTo>
                        <a:pt x="26373" y="49421"/>
                        <a:pt x="27523" y="50006"/>
                        <a:pt x="28879" y="50727"/>
                      </a:cubicBezTo>
                      <a:cubicBezTo>
                        <a:pt x="33674" y="53277"/>
                        <a:pt x="40913" y="57126"/>
                        <a:pt x="46887" y="64002"/>
                      </a:cubicBezTo>
                      <a:cubicBezTo>
                        <a:pt x="52728" y="57026"/>
                        <a:pt x="59868" y="53049"/>
                        <a:pt x="64596" y="50415"/>
                      </a:cubicBezTo>
                      <a:cubicBezTo>
                        <a:pt x="65927" y="49674"/>
                        <a:pt x="67059" y="49069"/>
                        <a:pt x="67835" y="48509"/>
                      </a:cubicBezTo>
                      <a:cubicBezTo>
                        <a:pt x="73916" y="44519"/>
                        <a:pt x="76667" y="39174"/>
                        <a:pt x="78144" y="36302"/>
                      </a:cubicBezTo>
                      <a:cubicBezTo>
                        <a:pt x="79631" y="32870"/>
                        <a:pt x="80090" y="29420"/>
                        <a:pt x="79544" y="25576"/>
                      </a:cubicBezTo>
                      <a:cubicBezTo>
                        <a:pt x="78476" y="19431"/>
                        <a:pt x="72467" y="15471"/>
                        <a:pt x="70400" y="14749"/>
                      </a:cubicBezTo>
                      <a:cubicBezTo>
                        <a:pt x="65330" y="12975"/>
                        <a:pt x="61211" y="12839"/>
                        <a:pt x="58163" y="14373"/>
                      </a:cubicBezTo>
                      <a:cubicBezTo>
                        <a:pt x="54354" y="16283"/>
                        <a:pt x="53006" y="20439"/>
                        <a:pt x="52991" y="20481"/>
                      </a:cubicBezTo>
                      <a:cubicBezTo>
                        <a:pt x="52121" y="23240"/>
                        <a:pt x="49551" y="25165"/>
                        <a:pt x="46657" y="25177"/>
                      </a:cubicBezTo>
                      <a:cubicBezTo>
                        <a:pt x="46650" y="25177"/>
                        <a:pt x="46640" y="25177"/>
                        <a:pt x="46632" y="25177"/>
                      </a:cubicBezTo>
                      <a:cubicBezTo>
                        <a:pt x="43750" y="25177"/>
                        <a:pt x="41178" y="23366"/>
                        <a:pt x="40291" y="20620"/>
                      </a:cubicBezTo>
                      <a:lnTo>
                        <a:pt x="40291" y="20620"/>
                      </a:lnTo>
                      <a:cubicBezTo>
                        <a:pt x="40288" y="20620"/>
                        <a:pt x="38754" y="16440"/>
                        <a:pt x="34782" y="14576"/>
                      </a:cubicBezTo>
                      <a:cubicBezTo>
                        <a:pt x="31625" y="13099"/>
                        <a:pt x="27466" y="13292"/>
                        <a:pt x="22418" y="15158"/>
                      </a:cubicBezTo>
                      <a:cubicBezTo>
                        <a:pt x="20396" y="15909"/>
                        <a:pt x="14506" y="19941"/>
                        <a:pt x="13465" y="26255"/>
                      </a:cubicBezTo>
                      <a:close/>
                    </a:path>
                  </a:pathLst>
                </a:custGeom>
                <a:solidFill>
                  <a:schemeClr val="accent1"/>
                </a:solidFill>
                <a:ln w="247" cap="flat">
                  <a:noFill/>
                  <a:prstDash val="solid"/>
                  <a:miter/>
                </a:ln>
              </p:spPr>
              <p:txBody>
                <a:bodyPr rtlCol="0" anchor="ctr"/>
                <a:lstStyle/>
                <a:p>
                  <a:endParaRPr lang="en-GB" dirty="0"/>
                </a:p>
              </p:txBody>
            </p:sp>
            <p:sp>
              <p:nvSpPr>
                <p:cNvPr id="498" name="Freihandform: Form 549">
                  <a:extLst>
                    <a:ext uri="{FF2B5EF4-FFF2-40B4-BE49-F238E27FC236}">
                      <a16:creationId xmlns:a16="http://schemas.microsoft.com/office/drawing/2014/main" id="{E73347FD-6628-4ADD-93E3-E76B6411369A}"/>
                    </a:ext>
                  </a:extLst>
                </p:cNvPr>
                <p:cNvSpPr/>
                <p:nvPr/>
              </p:nvSpPr>
              <p:spPr>
                <a:xfrm>
                  <a:off x="5383257" y="1926374"/>
                  <a:ext cx="139697" cy="139697"/>
                </a:xfrm>
                <a:custGeom>
                  <a:avLst/>
                  <a:gdLst>
                    <a:gd name="connsiteX0" fmla="*/ 69849 w 139697"/>
                    <a:gd name="connsiteY0" fmla="*/ 139697 h 139697"/>
                    <a:gd name="connsiteX1" fmla="*/ 0 w 139697"/>
                    <a:gd name="connsiteY1" fmla="*/ 69849 h 139697"/>
                    <a:gd name="connsiteX2" fmla="*/ 69849 w 139697"/>
                    <a:gd name="connsiteY2" fmla="*/ 0 h 139697"/>
                    <a:gd name="connsiteX3" fmla="*/ 139697 w 139697"/>
                    <a:gd name="connsiteY3" fmla="*/ 69849 h 139697"/>
                    <a:gd name="connsiteX4" fmla="*/ 69849 w 139697"/>
                    <a:gd name="connsiteY4" fmla="*/ 139697 h 139697"/>
                    <a:gd name="connsiteX5" fmla="*/ 69849 w 139697"/>
                    <a:gd name="connsiteY5" fmla="*/ 13305 h 139697"/>
                    <a:gd name="connsiteX6" fmla="*/ 13305 w 139697"/>
                    <a:gd name="connsiteY6" fmla="*/ 69849 h 139697"/>
                    <a:gd name="connsiteX7" fmla="*/ 69849 w 139697"/>
                    <a:gd name="connsiteY7" fmla="*/ 126392 h 139697"/>
                    <a:gd name="connsiteX8" fmla="*/ 126392 w 139697"/>
                    <a:gd name="connsiteY8" fmla="*/ 69849 h 139697"/>
                    <a:gd name="connsiteX9" fmla="*/ 69849 w 139697"/>
                    <a:gd name="connsiteY9" fmla="*/ 13305 h 139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697" h="139697">
                      <a:moveTo>
                        <a:pt x="69849" y="139697"/>
                      </a:moveTo>
                      <a:cubicBezTo>
                        <a:pt x="31336" y="139697"/>
                        <a:pt x="0" y="108361"/>
                        <a:pt x="0" y="69849"/>
                      </a:cubicBezTo>
                      <a:cubicBezTo>
                        <a:pt x="0" y="31336"/>
                        <a:pt x="31336" y="0"/>
                        <a:pt x="69849" y="0"/>
                      </a:cubicBezTo>
                      <a:cubicBezTo>
                        <a:pt x="108361" y="0"/>
                        <a:pt x="139697" y="31336"/>
                        <a:pt x="139697" y="69849"/>
                      </a:cubicBezTo>
                      <a:cubicBezTo>
                        <a:pt x="139697" y="108361"/>
                        <a:pt x="108361" y="139697"/>
                        <a:pt x="69849" y="139697"/>
                      </a:cubicBezTo>
                      <a:close/>
                      <a:moveTo>
                        <a:pt x="69849" y="13305"/>
                      </a:moveTo>
                      <a:cubicBezTo>
                        <a:pt x="38669" y="13305"/>
                        <a:pt x="13305" y="38671"/>
                        <a:pt x="13305" y="69849"/>
                      </a:cubicBezTo>
                      <a:cubicBezTo>
                        <a:pt x="13305" y="101026"/>
                        <a:pt x="38671" y="126392"/>
                        <a:pt x="69849" y="126392"/>
                      </a:cubicBezTo>
                      <a:cubicBezTo>
                        <a:pt x="101026" y="126392"/>
                        <a:pt x="126392" y="101026"/>
                        <a:pt x="126392" y="69849"/>
                      </a:cubicBezTo>
                      <a:cubicBezTo>
                        <a:pt x="126392" y="38671"/>
                        <a:pt x="101029" y="13305"/>
                        <a:pt x="69849" y="13305"/>
                      </a:cubicBezTo>
                      <a:close/>
                    </a:path>
                  </a:pathLst>
                </a:custGeom>
                <a:solidFill>
                  <a:schemeClr val="accent1"/>
                </a:solidFill>
                <a:ln w="247" cap="flat">
                  <a:noFill/>
                  <a:prstDash val="solid"/>
                  <a:miter/>
                </a:ln>
              </p:spPr>
              <p:txBody>
                <a:bodyPr rtlCol="0" anchor="ctr"/>
                <a:lstStyle/>
                <a:p>
                  <a:endParaRPr lang="en-GB" dirty="0"/>
                </a:p>
              </p:txBody>
            </p:sp>
          </p:grpSp>
          <p:sp>
            <p:nvSpPr>
              <p:cNvPr id="496" name="Freihandform: Form 550">
                <a:extLst>
                  <a:ext uri="{FF2B5EF4-FFF2-40B4-BE49-F238E27FC236}">
                    <a16:creationId xmlns:a16="http://schemas.microsoft.com/office/drawing/2014/main" id="{E274ECA3-0DCC-48FB-BE8D-BB659CD735EA}"/>
                  </a:ext>
                </a:extLst>
              </p:cNvPr>
              <p:cNvSpPr/>
              <p:nvPr/>
            </p:nvSpPr>
            <p:spPr>
              <a:xfrm>
                <a:off x="5451567" y="1740087"/>
                <a:ext cx="98740" cy="211236"/>
              </a:xfrm>
              <a:custGeom>
                <a:avLst/>
                <a:gdLst>
                  <a:gd name="connsiteX0" fmla="*/ 39920 w 98740"/>
                  <a:gd name="connsiteY0" fmla="*/ 211237 h 211236"/>
                  <a:gd name="connsiteX1" fmla="*/ 38163 w 98740"/>
                  <a:gd name="connsiteY1" fmla="*/ 210999 h 211236"/>
                  <a:gd name="connsiteX2" fmla="*/ 33499 w 98740"/>
                  <a:gd name="connsiteY2" fmla="*/ 202826 h 211236"/>
                  <a:gd name="connsiteX3" fmla="*/ 83468 w 98740"/>
                  <a:gd name="connsiteY3" fmla="*/ 19932 h 211236"/>
                  <a:gd name="connsiteX4" fmla="*/ 12814 w 98740"/>
                  <a:gd name="connsiteY4" fmla="*/ 192958 h 211236"/>
                  <a:gd name="connsiteX5" fmla="*/ 4141 w 98740"/>
                  <a:gd name="connsiteY5" fmla="*/ 196603 h 211236"/>
                  <a:gd name="connsiteX6" fmla="*/ 496 w 98740"/>
                  <a:gd name="connsiteY6" fmla="*/ 187930 h 211236"/>
                  <a:gd name="connsiteX7" fmla="*/ 74044 w 98740"/>
                  <a:gd name="connsiteY7" fmla="*/ 7812 h 211236"/>
                  <a:gd name="connsiteX8" fmla="*/ 89941 w 98740"/>
                  <a:gd name="connsiteY8" fmla="*/ 690 h 211236"/>
                  <a:gd name="connsiteX9" fmla="*/ 98409 w 98740"/>
                  <a:gd name="connsiteY9" fmla="*/ 15702 h 211236"/>
                  <a:gd name="connsiteX10" fmla="*/ 46334 w 98740"/>
                  <a:gd name="connsiteY10" fmla="*/ 206335 h 211236"/>
                  <a:gd name="connsiteX11" fmla="*/ 39920 w 98740"/>
                  <a:gd name="connsiteY11" fmla="*/ 211237 h 21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8740" h="211236">
                    <a:moveTo>
                      <a:pt x="39920" y="211237"/>
                    </a:moveTo>
                    <a:cubicBezTo>
                      <a:pt x="39343" y="211237"/>
                      <a:pt x="38751" y="211160"/>
                      <a:pt x="38163" y="210999"/>
                    </a:cubicBezTo>
                    <a:cubicBezTo>
                      <a:pt x="34619" y="210027"/>
                      <a:pt x="32530" y="206370"/>
                      <a:pt x="33499" y="202826"/>
                    </a:cubicBezTo>
                    <a:lnTo>
                      <a:pt x="83468" y="19932"/>
                    </a:lnTo>
                    <a:lnTo>
                      <a:pt x="12814" y="192958"/>
                    </a:lnTo>
                    <a:cubicBezTo>
                      <a:pt x="11424" y="196358"/>
                      <a:pt x="7533" y="197994"/>
                      <a:pt x="4141" y="196603"/>
                    </a:cubicBezTo>
                    <a:cubicBezTo>
                      <a:pt x="741" y="195213"/>
                      <a:pt x="-895" y="191332"/>
                      <a:pt x="496" y="187930"/>
                    </a:cubicBezTo>
                    <a:lnTo>
                      <a:pt x="74044" y="7812"/>
                    </a:lnTo>
                    <a:cubicBezTo>
                      <a:pt x="76919" y="1453"/>
                      <a:pt x="83590" y="-1432"/>
                      <a:pt x="89941" y="690"/>
                    </a:cubicBezTo>
                    <a:cubicBezTo>
                      <a:pt x="96320" y="2823"/>
                      <a:pt x="99884" y="9137"/>
                      <a:pt x="98409" y="15702"/>
                    </a:cubicBezTo>
                    <a:lnTo>
                      <a:pt x="46334" y="206335"/>
                    </a:lnTo>
                    <a:cubicBezTo>
                      <a:pt x="45526" y="209291"/>
                      <a:pt x="42847" y="211237"/>
                      <a:pt x="39920" y="211237"/>
                    </a:cubicBezTo>
                    <a:close/>
                  </a:path>
                </a:pathLst>
              </a:custGeom>
              <a:solidFill>
                <a:schemeClr val="accent1"/>
              </a:solidFill>
              <a:ln w="247" cap="flat">
                <a:noFill/>
                <a:prstDash val="solid"/>
                <a:miter/>
              </a:ln>
            </p:spPr>
            <p:txBody>
              <a:bodyPr rtlCol="0" anchor="ctr"/>
              <a:lstStyle/>
              <a:p>
                <a:endParaRPr lang="en-GB" dirty="0"/>
              </a:p>
            </p:txBody>
          </p:sp>
        </p:grpSp>
        <p:grpSp>
          <p:nvGrpSpPr>
            <p:cNvPr id="488" name="Gruppieren 863">
              <a:extLst>
                <a:ext uri="{FF2B5EF4-FFF2-40B4-BE49-F238E27FC236}">
                  <a16:creationId xmlns:a16="http://schemas.microsoft.com/office/drawing/2014/main" id="{F2854E2C-76E5-4BEA-B288-3065EAB98F9A}"/>
                </a:ext>
              </a:extLst>
            </p:cNvPr>
            <p:cNvGrpSpPr/>
            <p:nvPr/>
          </p:nvGrpSpPr>
          <p:grpSpPr>
            <a:xfrm>
              <a:off x="5950438" y="3214727"/>
              <a:ext cx="611102" cy="343816"/>
              <a:chOff x="5233707" y="1753412"/>
              <a:chExt cx="461133" cy="259441"/>
            </a:xfrm>
            <a:solidFill>
              <a:schemeClr val="tx2"/>
            </a:solidFill>
          </p:grpSpPr>
          <p:sp>
            <p:nvSpPr>
              <p:cNvPr id="489" name="Freihandform: Form 551">
                <a:extLst>
                  <a:ext uri="{FF2B5EF4-FFF2-40B4-BE49-F238E27FC236}">
                    <a16:creationId xmlns:a16="http://schemas.microsoft.com/office/drawing/2014/main" id="{FA0A4BAD-E1E1-48DA-A874-38AE7D95D6CE}"/>
                  </a:ext>
                </a:extLst>
              </p:cNvPr>
              <p:cNvSpPr/>
              <p:nvPr/>
            </p:nvSpPr>
            <p:spPr>
              <a:xfrm>
                <a:off x="5537031" y="1812231"/>
                <a:ext cx="135728" cy="200622"/>
              </a:xfrm>
              <a:custGeom>
                <a:avLst/>
                <a:gdLst>
                  <a:gd name="connsiteX0" fmla="*/ 129075 w 135728"/>
                  <a:gd name="connsiteY0" fmla="*/ 200622 h 200622"/>
                  <a:gd name="connsiteX1" fmla="*/ 95813 w 135728"/>
                  <a:gd name="connsiteY1" fmla="*/ 200622 h 200622"/>
                  <a:gd name="connsiteX2" fmla="*/ 89162 w 135728"/>
                  <a:gd name="connsiteY2" fmla="*/ 193971 h 200622"/>
                  <a:gd name="connsiteX3" fmla="*/ 3297 w 135728"/>
                  <a:gd name="connsiteY3" fmla="*/ 44502 h 200622"/>
                  <a:gd name="connsiteX4" fmla="*/ 346 w 135728"/>
                  <a:gd name="connsiteY4" fmla="*/ 36644 h 200622"/>
                  <a:gd name="connsiteX5" fmla="*/ 11116 w 135728"/>
                  <a:gd name="connsiteY5" fmla="*/ 4542 h 200622"/>
                  <a:gd name="connsiteX6" fmla="*/ 14984 w 135728"/>
                  <a:gd name="connsiteY6" fmla="*/ 468 h 200622"/>
                  <a:gd name="connsiteX7" fmla="*/ 20589 w 135728"/>
                  <a:gd name="connsiteY7" fmla="*/ 805 h 200622"/>
                  <a:gd name="connsiteX8" fmla="*/ 135728 w 135728"/>
                  <a:gd name="connsiteY8" fmla="*/ 193968 h 200622"/>
                  <a:gd name="connsiteX9" fmla="*/ 129075 w 135728"/>
                  <a:gd name="connsiteY9" fmla="*/ 200622 h 200622"/>
                  <a:gd name="connsiteX10" fmla="*/ 102346 w 135728"/>
                  <a:gd name="connsiteY10" fmla="*/ 187317 h 200622"/>
                  <a:gd name="connsiteX11" fmla="*/ 122314 w 135728"/>
                  <a:gd name="connsiteY11" fmla="*/ 187317 h 200622"/>
                  <a:gd name="connsiteX12" fmla="*/ 21162 w 135728"/>
                  <a:gd name="connsiteY12" fmla="*/ 16420 h 200622"/>
                  <a:gd name="connsiteX13" fmla="*/ 14652 w 135728"/>
                  <a:gd name="connsiteY13" fmla="*/ 35821 h 200622"/>
                  <a:gd name="connsiteX14" fmla="*/ 102346 w 135728"/>
                  <a:gd name="connsiteY14" fmla="*/ 187317 h 200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5728" h="200622">
                    <a:moveTo>
                      <a:pt x="129075" y="200622"/>
                    </a:moveTo>
                    <a:lnTo>
                      <a:pt x="95813" y="200622"/>
                    </a:lnTo>
                    <a:cubicBezTo>
                      <a:pt x="92141" y="200622"/>
                      <a:pt x="89162" y="197643"/>
                      <a:pt x="89162" y="193971"/>
                    </a:cubicBezTo>
                    <a:cubicBezTo>
                      <a:pt x="89162" y="132706"/>
                      <a:pt x="56260" y="75434"/>
                      <a:pt x="3297" y="44502"/>
                    </a:cubicBezTo>
                    <a:cubicBezTo>
                      <a:pt x="576" y="42914"/>
                      <a:pt x="-656" y="39633"/>
                      <a:pt x="346" y="36644"/>
                    </a:cubicBezTo>
                    <a:lnTo>
                      <a:pt x="11116" y="4542"/>
                    </a:lnTo>
                    <a:cubicBezTo>
                      <a:pt x="11742" y="2679"/>
                      <a:pt x="13158" y="1187"/>
                      <a:pt x="14984" y="468"/>
                    </a:cubicBezTo>
                    <a:cubicBezTo>
                      <a:pt x="16805" y="-260"/>
                      <a:pt x="18860" y="-132"/>
                      <a:pt x="20589" y="805"/>
                    </a:cubicBezTo>
                    <a:cubicBezTo>
                      <a:pt x="91610" y="39263"/>
                      <a:pt x="135728" y="113278"/>
                      <a:pt x="135728" y="193968"/>
                    </a:cubicBezTo>
                    <a:cubicBezTo>
                      <a:pt x="135726" y="197643"/>
                      <a:pt x="132747" y="200622"/>
                      <a:pt x="129075" y="200622"/>
                    </a:cubicBezTo>
                    <a:close/>
                    <a:moveTo>
                      <a:pt x="102346" y="187317"/>
                    </a:moveTo>
                    <a:lnTo>
                      <a:pt x="122314" y="187317"/>
                    </a:lnTo>
                    <a:cubicBezTo>
                      <a:pt x="120057" y="116752"/>
                      <a:pt x="81923" y="52380"/>
                      <a:pt x="21162" y="16420"/>
                    </a:cubicBezTo>
                    <a:lnTo>
                      <a:pt x="14652" y="35821"/>
                    </a:lnTo>
                    <a:cubicBezTo>
                      <a:pt x="67072" y="68538"/>
                      <a:pt x="100120" y="125676"/>
                      <a:pt x="102346" y="187317"/>
                    </a:cubicBezTo>
                    <a:close/>
                  </a:path>
                </a:pathLst>
              </a:custGeom>
              <a:grpFill/>
              <a:ln w="247" cap="flat">
                <a:noFill/>
                <a:prstDash val="solid"/>
                <a:miter/>
              </a:ln>
            </p:spPr>
            <p:txBody>
              <a:bodyPr rtlCol="0" anchor="ctr"/>
              <a:lstStyle/>
              <a:p>
                <a:endParaRPr lang="en-GB" dirty="0"/>
              </a:p>
            </p:txBody>
          </p:sp>
          <p:sp>
            <p:nvSpPr>
              <p:cNvPr id="490" name="Freihandform: Form 552">
                <a:extLst>
                  <a:ext uri="{FF2B5EF4-FFF2-40B4-BE49-F238E27FC236}">
                    <a16:creationId xmlns:a16="http://schemas.microsoft.com/office/drawing/2014/main" id="{D322EA4B-C3E6-4B6C-A5EC-371E80F1DDDE}"/>
                  </a:ext>
                </a:extLst>
              </p:cNvPr>
              <p:cNvSpPr/>
              <p:nvPr/>
            </p:nvSpPr>
            <p:spPr>
              <a:xfrm>
                <a:off x="5233707" y="1786676"/>
                <a:ext cx="251052" cy="226176"/>
              </a:xfrm>
              <a:custGeom>
                <a:avLst/>
                <a:gdLst>
                  <a:gd name="connsiteX0" fmla="*/ 39913 w 251052"/>
                  <a:gd name="connsiteY0" fmla="*/ 226177 h 226176"/>
                  <a:gd name="connsiteX1" fmla="*/ 6651 w 251052"/>
                  <a:gd name="connsiteY1" fmla="*/ 226177 h 226176"/>
                  <a:gd name="connsiteX2" fmla="*/ 0 w 251052"/>
                  <a:gd name="connsiteY2" fmla="*/ 219525 h 226176"/>
                  <a:gd name="connsiteX3" fmla="*/ 219525 w 251052"/>
                  <a:gd name="connsiteY3" fmla="*/ 0 h 226176"/>
                  <a:gd name="connsiteX4" fmla="*/ 245169 w 251052"/>
                  <a:gd name="connsiteY4" fmla="*/ 1484 h 226176"/>
                  <a:gd name="connsiteX5" fmla="*/ 250051 w 251052"/>
                  <a:gd name="connsiteY5" fmla="*/ 4582 h 226176"/>
                  <a:gd name="connsiteX6" fmla="*/ 250666 w 251052"/>
                  <a:gd name="connsiteY6" fmla="*/ 10329 h 226176"/>
                  <a:gd name="connsiteX7" fmla="*/ 239118 w 251052"/>
                  <a:gd name="connsiteY7" fmla="*/ 42639 h 226176"/>
                  <a:gd name="connsiteX8" fmla="*/ 232367 w 251052"/>
                  <a:gd name="connsiteY8" fmla="*/ 47037 h 226176"/>
                  <a:gd name="connsiteX9" fmla="*/ 219523 w 251052"/>
                  <a:gd name="connsiteY9" fmla="*/ 46567 h 226176"/>
                  <a:gd name="connsiteX10" fmla="*/ 46564 w 251052"/>
                  <a:gd name="connsiteY10" fmla="*/ 219525 h 226176"/>
                  <a:gd name="connsiteX11" fmla="*/ 39913 w 251052"/>
                  <a:gd name="connsiteY11" fmla="*/ 226177 h 226176"/>
                  <a:gd name="connsiteX12" fmla="*/ 13412 w 251052"/>
                  <a:gd name="connsiteY12" fmla="*/ 212872 h 226176"/>
                  <a:gd name="connsiteX13" fmla="*/ 33378 w 251052"/>
                  <a:gd name="connsiteY13" fmla="*/ 212872 h 226176"/>
                  <a:gd name="connsiteX14" fmla="*/ 219525 w 251052"/>
                  <a:gd name="connsiteY14" fmla="*/ 33259 h 226176"/>
                  <a:gd name="connsiteX15" fmla="*/ 228266 w 251052"/>
                  <a:gd name="connsiteY15" fmla="*/ 33460 h 226176"/>
                  <a:gd name="connsiteX16" fmla="*/ 235259 w 251052"/>
                  <a:gd name="connsiteY16" fmla="*/ 13892 h 226176"/>
                  <a:gd name="connsiteX17" fmla="*/ 219525 w 251052"/>
                  <a:gd name="connsiteY17" fmla="*/ 13300 h 226176"/>
                  <a:gd name="connsiteX18" fmla="*/ 13412 w 251052"/>
                  <a:gd name="connsiteY18" fmla="*/ 212872 h 226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1052" h="226176">
                    <a:moveTo>
                      <a:pt x="39913" y="226177"/>
                    </a:moveTo>
                    <a:lnTo>
                      <a:pt x="6651" y="226177"/>
                    </a:lnTo>
                    <a:cubicBezTo>
                      <a:pt x="2979" y="226177"/>
                      <a:pt x="0" y="223198"/>
                      <a:pt x="0" y="219525"/>
                    </a:cubicBezTo>
                    <a:cubicBezTo>
                      <a:pt x="0" y="98479"/>
                      <a:pt x="98479" y="0"/>
                      <a:pt x="219525" y="0"/>
                    </a:cubicBezTo>
                    <a:cubicBezTo>
                      <a:pt x="228100" y="0"/>
                      <a:pt x="236731" y="501"/>
                      <a:pt x="245169" y="1484"/>
                    </a:cubicBezTo>
                    <a:cubicBezTo>
                      <a:pt x="247184" y="1717"/>
                      <a:pt x="248983" y="2857"/>
                      <a:pt x="250051" y="4582"/>
                    </a:cubicBezTo>
                    <a:cubicBezTo>
                      <a:pt x="251119" y="6304"/>
                      <a:pt x="251347" y="8418"/>
                      <a:pt x="250666" y="10329"/>
                    </a:cubicBezTo>
                    <a:lnTo>
                      <a:pt x="239118" y="42639"/>
                    </a:lnTo>
                    <a:cubicBezTo>
                      <a:pt x="238111" y="45454"/>
                      <a:pt x="235324" y="47218"/>
                      <a:pt x="232367" y="47037"/>
                    </a:cubicBezTo>
                    <a:cubicBezTo>
                      <a:pt x="228105" y="46725"/>
                      <a:pt x="223785" y="46567"/>
                      <a:pt x="219523" y="46567"/>
                    </a:cubicBezTo>
                    <a:cubicBezTo>
                      <a:pt x="124152" y="46567"/>
                      <a:pt x="46564" y="124157"/>
                      <a:pt x="46564" y="219525"/>
                    </a:cubicBezTo>
                    <a:cubicBezTo>
                      <a:pt x="46567" y="223198"/>
                      <a:pt x="43588" y="226177"/>
                      <a:pt x="39913" y="226177"/>
                    </a:cubicBezTo>
                    <a:close/>
                    <a:moveTo>
                      <a:pt x="13412" y="212872"/>
                    </a:moveTo>
                    <a:lnTo>
                      <a:pt x="33378" y="212872"/>
                    </a:lnTo>
                    <a:cubicBezTo>
                      <a:pt x="36892" y="113233"/>
                      <a:pt x="119047" y="33259"/>
                      <a:pt x="219525" y="33259"/>
                    </a:cubicBezTo>
                    <a:cubicBezTo>
                      <a:pt x="222427" y="33259"/>
                      <a:pt x="225349" y="33328"/>
                      <a:pt x="228266" y="33460"/>
                    </a:cubicBezTo>
                    <a:lnTo>
                      <a:pt x="235259" y="13892"/>
                    </a:lnTo>
                    <a:cubicBezTo>
                      <a:pt x="230035" y="13498"/>
                      <a:pt x="224772" y="13300"/>
                      <a:pt x="219525" y="13300"/>
                    </a:cubicBezTo>
                    <a:cubicBezTo>
                      <a:pt x="108042" y="13303"/>
                      <a:pt x="16936" y="102230"/>
                      <a:pt x="13412" y="212872"/>
                    </a:cubicBezTo>
                    <a:close/>
                  </a:path>
                </a:pathLst>
              </a:custGeom>
              <a:grpFill/>
              <a:ln w="247" cap="flat">
                <a:noFill/>
                <a:prstDash val="solid"/>
                <a:miter/>
              </a:ln>
            </p:spPr>
            <p:txBody>
              <a:bodyPr rtlCol="0" anchor="ctr"/>
              <a:lstStyle/>
              <a:p>
                <a:endParaRPr lang="en-GB" dirty="0"/>
              </a:p>
            </p:txBody>
          </p:sp>
          <p:sp>
            <p:nvSpPr>
              <p:cNvPr id="491" name="Freihandform: Form 553">
                <a:extLst>
                  <a:ext uri="{FF2B5EF4-FFF2-40B4-BE49-F238E27FC236}">
                    <a16:creationId xmlns:a16="http://schemas.microsoft.com/office/drawing/2014/main" id="{77526C13-240B-4476-AF67-A49666F569F8}"/>
                  </a:ext>
                </a:extLst>
              </p:cNvPr>
              <p:cNvSpPr/>
              <p:nvPr/>
            </p:nvSpPr>
            <p:spPr>
              <a:xfrm>
                <a:off x="5386708" y="1753412"/>
                <a:ext cx="73173" cy="20851"/>
              </a:xfrm>
              <a:custGeom>
                <a:avLst/>
                <a:gdLst>
                  <a:gd name="connsiteX0" fmla="*/ 6650 w 73173"/>
                  <a:gd name="connsiteY0" fmla="*/ 20851 h 20851"/>
                  <a:gd name="connsiteX1" fmla="*/ 212 w 73173"/>
                  <a:gd name="connsiteY1" fmla="*/ 15858 h 20851"/>
                  <a:gd name="connsiteX2" fmla="*/ 4992 w 73173"/>
                  <a:gd name="connsiteY2" fmla="*/ 7757 h 20851"/>
                  <a:gd name="connsiteX3" fmla="*/ 66522 w 73173"/>
                  <a:gd name="connsiteY3" fmla="*/ 0 h 20851"/>
                  <a:gd name="connsiteX4" fmla="*/ 73173 w 73173"/>
                  <a:gd name="connsiteY4" fmla="*/ 6651 h 20851"/>
                  <a:gd name="connsiteX5" fmla="*/ 66522 w 73173"/>
                  <a:gd name="connsiteY5" fmla="*/ 13303 h 20851"/>
                  <a:gd name="connsiteX6" fmla="*/ 8311 w 73173"/>
                  <a:gd name="connsiteY6" fmla="*/ 20638 h 20851"/>
                  <a:gd name="connsiteX7" fmla="*/ 6650 w 73173"/>
                  <a:gd name="connsiteY7" fmla="*/ 20851 h 20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73" h="20851">
                    <a:moveTo>
                      <a:pt x="6650" y="20851"/>
                    </a:moveTo>
                    <a:cubicBezTo>
                      <a:pt x="3689" y="20851"/>
                      <a:pt x="985" y="18861"/>
                      <a:pt x="212" y="15858"/>
                    </a:cubicBezTo>
                    <a:cubicBezTo>
                      <a:pt x="-705" y="12297"/>
                      <a:pt x="1436" y="8673"/>
                      <a:pt x="4992" y="7757"/>
                    </a:cubicBezTo>
                    <a:cubicBezTo>
                      <a:pt x="24979" y="2607"/>
                      <a:pt x="45678" y="0"/>
                      <a:pt x="66522" y="0"/>
                    </a:cubicBezTo>
                    <a:cubicBezTo>
                      <a:pt x="70195" y="0"/>
                      <a:pt x="73173" y="2979"/>
                      <a:pt x="73173" y="6651"/>
                    </a:cubicBezTo>
                    <a:cubicBezTo>
                      <a:pt x="73173" y="10324"/>
                      <a:pt x="70195" y="13303"/>
                      <a:pt x="66522" y="13303"/>
                    </a:cubicBezTo>
                    <a:cubicBezTo>
                      <a:pt x="46796" y="13303"/>
                      <a:pt x="27211" y="15771"/>
                      <a:pt x="8311" y="20638"/>
                    </a:cubicBezTo>
                    <a:cubicBezTo>
                      <a:pt x="7756" y="20784"/>
                      <a:pt x="7200" y="20851"/>
                      <a:pt x="6650" y="20851"/>
                    </a:cubicBezTo>
                    <a:close/>
                  </a:path>
                </a:pathLst>
              </a:custGeom>
              <a:grpFill/>
              <a:ln w="247" cap="flat">
                <a:noFill/>
                <a:prstDash val="solid"/>
                <a:miter/>
              </a:ln>
            </p:spPr>
            <p:txBody>
              <a:bodyPr rtlCol="0" anchor="ctr"/>
              <a:lstStyle/>
              <a:p>
                <a:endParaRPr lang="en-GB" dirty="0"/>
              </a:p>
            </p:txBody>
          </p:sp>
          <p:sp>
            <p:nvSpPr>
              <p:cNvPr id="492" name="Freihandform: Form 554">
                <a:extLst>
                  <a:ext uri="{FF2B5EF4-FFF2-40B4-BE49-F238E27FC236}">
                    <a16:creationId xmlns:a16="http://schemas.microsoft.com/office/drawing/2014/main" id="{228FAC2A-554E-4A75-B8EA-ABCA8ECC89E9}"/>
                  </a:ext>
                </a:extLst>
              </p:cNvPr>
              <p:cNvSpPr/>
              <p:nvPr/>
            </p:nvSpPr>
            <p:spPr>
              <a:xfrm>
                <a:off x="5599569" y="1808649"/>
                <a:ext cx="78086" cy="97777"/>
              </a:xfrm>
              <a:custGeom>
                <a:avLst/>
                <a:gdLst>
                  <a:gd name="connsiteX0" fmla="*/ 71439 w 78086"/>
                  <a:gd name="connsiteY0" fmla="*/ 97778 h 97777"/>
                  <a:gd name="connsiteX1" fmla="*/ 65389 w 78086"/>
                  <a:gd name="connsiteY1" fmla="*/ 93900 h 97777"/>
                  <a:gd name="connsiteX2" fmla="*/ 2400 w 78086"/>
                  <a:gd name="connsiteY2" fmla="*/ 11767 h 97777"/>
                  <a:gd name="connsiteX3" fmla="*/ 1535 w 78086"/>
                  <a:gd name="connsiteY3" fmla="*/ 2399 h 97777"/>
                  <a:gd name="connsiteX4" fmla="*/ 10903 w 78086"/>
                  <a:gd name="connsiteY4" fmla="*/ 1535 h 97777"/>
                  <a:gd name="connsiteX5" fmla="*/ 77478 w 78086"/>
                  <a:gd name="connsiteY5" fmla="*/ 88353 h 97777"/>
                  <a:gd name="connsiteX6" fmla="*/ 74207 w 78086"/>
                  <a:gd name="connsiteY6" fmla="*/ 97173 h 97777"/>
                  <a:gd name="connsiteX7" fmla="*/ 71439 w 78086"/>
                  <a:gd name="connsiteY7" fmla="*/ 97778 h 97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086" h="97777">
                    <a:moveTo>
                      <a:pt x="71439" y="97778"/>
                    </a:moveTo>
                    <a:cubicBezTo>
                      <a:pt x="68918" y="97778"/>
                      <a:pt x="66507" y="96338"/>
                      <a:pt x="65389" y="93900"/>
                    </a:cubicBezTo>
                    <a:cubicBezTo>
                      <a:pt x="50932" y="62402"/>
                      <a:pt x="29152" y="34001"/>
                      <a:pt x="2400" y="11767"/>
                    </a:cubicBezTo>
                    <a:cubicBezTo>
                      <a:pt x="-425" y="9417"/>
                      <a:pt x="-811" y="5224"/>
                      <a:pt x="1535" y="2399"/>
                    </a:cubicBezTo>
                    <a:cubicBezTo>
                      <a:pt x="3885" y="-423"/>
                      <a:pt x="8078" y="-812"/>
                      <a:pt x="10903" y="1535"/>
                    </a:cubicBezTo>
                    <a:cubicBezTo>
                      <a:pt x="39176" y="25032"/>
                      <a:pt x="62198" y="55055"/>
                      <a:pt x="77478" y="88353"/>
                    </a:cubicBezTo>
                    <a:cubicBezTo>
                      <a:pt x="79012" y="91692"/>
                      <a:pt x="77547" y="95642"/>
                      <a:pt x="74207" y="97173"/>
                    </a:cubicBezTo>
                    <a:cubicBezTo>
                      <a:pt x="73310" y="97582"/>
                      <a:pt x="72368" y="97778"/>
                      <a:pt x="71439" y="97778"/>
                    </a:cubicBezTo>
                    <a:close/>
                  </a:path>
                </a:pathLst>
              </a:custGeom>
              <a:grpFill/>
              <a:ln w="247" cap="flat">
                <a:noFill/>
                <a:prstDash val="solid"/>
                <a:miter/>
              </a:ln>
            </p:spPr>
            <p:txBody>
              <a:bodyPr rtlCol="0" anchor="ctr"/>
              <a:lstStyle/>
              <a:p>
                <a:endParaRPr lang="en-GB" dirty="0"/>
              </a:p>
            </p:txBody>
          </p:sp>
          <p:sp>
            <p:nvSpPr>
              <p:cNvPr id="493" name="Freihandform: Form 555">
                <a:extLst>
                  <a:ext uri="{FF2B5EF4-FFF2-40B4-BE49-F238E27FC236}">
                    <a16:creationId xmlns:a16="http://schemas.microsoft.com/office/drawing/2014/main" id="{323BEBB3-90CB-4CE8-9A85-E2191A8F11A3}"/>
                  </a:ext>
                </a:extLst>
              </p:cNvPr>
              <p:cNvSpPr/>
              <p:nvPr/>
            </p:nvSpPr>
            <p:spPr>
              <a:xfrm>
                <a:off x="5676701" y="1926377"/>
                <a:ext cx="18139" cy="33255"/>
              </a:xfrm>
              <a:custGeom>
                <a:avLst/>
                <a:gdLst>
                  <a:gd name="connsiteX0" fmla="*/ 11483 w 18139"/>
                  <a:gd name="connsiteY0" fmla="*/ 33256 h 33255"/>
                  <a:gd name="connsiteX1" fmla="*/ 4963 w 18139"/>
                  <a:gd name="connsiteY1" fmla="*/ 27891 h 33255"/>
                  <a:gd name="connsiteX2" fmla="*/ 262 w 18139"/>
                  <a:gd name="connsiteY2" fmla="*/ 8502 h 33255"/>
                  <a:gd name="connsiteX3" fmla="*/ 4809 w 18139"/>
                  <a:gd name="connsiteY3" fmla="*/ 264 h 33255"/>
                  <a:gd name="connsiteX4" fmla="*/ 13046 w 18139"/>
                  <a:gd name="connsiteY4" fmla="*/ 4812 h 33255"/>
                  <a:gd name="connsiteX5" fmla="*/ 18013 w 18139"/>
                  <a:gd name="connsiteY5" fmla="*/ 25318 h 33255"/>
                  <a:gd name="connsiteX6" fmla="*/ 12774 w 18139"/>
                  <a:gd name="connsiteY6" fmla="*/ 33129 h 33255"/>
                  <a:gd name="connsiteX7" fmla="*/ 11483 w 18139"/>
                  <a:gd name="connsiteY7" fmla="*/ 33256 h 3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39" h="33255">
                    <a:moveTo>
                      <a:pt x="11483" y="33256"/>
                    </a:moveTo>
                    <a:cubicBezTo>
                      <a:pt x="8368" y="33256"/>
                      <a:pt x="5587" y="31060"/>
                      <a:pt x="4963" y="27891"/>
                    </a:cubicBezTo>
                    <a:cubicBezTo>
                      <a:pt x="3677" y="21378"/>
                      <a:pt x="2098" y="14856"/>
                      <a:pt x="262" y="8502"/>
                    </a:cubicBezTo>
                    <a:cubicBezTo>
                      <a:pt x="-754" y="4970"/>
                      <a:pt x="1278" y="1285"/>
                      <a:pt x="4809" y="264"/>
                    </a:cubicBezTo>
                    <a:cubicBezTo>
                      <a:pt x="8335" y="-759"/>
                      <a:pt x="12025" y="1280"/>
                      <a:pt x="13046" y="4812"/>
                    </a:cubicBezTo>
                    <a:cubicBezTo>
                      <a:pt x="14984" y="11532"/>
                      <a:pt x="16655" y="18432"/>
                      <a:pt x="18013" y="25318"/>
                    </a:cubicBezTo>
                    <a:cubicBezTo>
                      <a:pt x="18724" y="28924"/>
                      <a:pt x="16379" y="32423"/>
                      <a:pt x="12774" y="33129"/>
                    </a:cubicBezTo>
                    <a:cubicBezTo>
                      <a:pt x="12340" y="33216"/>
                      <a:pt x="11909" y="33256"/>
                      <a:pt x="11483" y="33256"/>
                    </a:cubicBezTo>
                    <a:close/>
                  </a:path>
                </a:pathLst>
              </a:custGeom>
              <a:grpFill/>
              <a:ln w="247" cap="flat">
                <a:noFill/>
                <a:prstDash val="solid"/>
                <a:miter/>
              </a:ln>
            </p:spPr>
            <p:txBody>
              <a:bodyPr rtlCol="0" anchor="ctr"/>
              <a:lstStyle/>
              <a:p>
                <a:endParaRPr lang="en-GB" dirty="0"/>
              </a:p>
            </p:txBody>
          </p:sp>
          <p:sp>
            <p:nvSpPr>
              <p:cNvPr id="494" name="Freihandform: Form 556">
                <a:extLst>
                  <a:ext uri="{FF2B5EF4-FFF2-40B4-BE49-F238E27FC236}">
                    <a16:creationId xmlns:a16="http://schemas.microsoft.com/office/drawing/2014/main" id="{CF93924F-4E37-4D64-B7E8-12BDA6A9C6E8}"/>
                  </a:ext>
                </a:extLst>
              </p:cNvPr>
              <p:cNvSpPr/>
              <p:nvPr/>
            </p:nvSpPr>
            <p:spPr>
              <a:xfrm>
                <a:off x="5262340" y="1778298"/>
                <a:ext cx="91109" cy="74896"/>
              </a:xfrm>
              <a:custGeom>
                <a:avLst/>
                <a:gdLst>
                  <a:gd name="connsiteX0" fmla="*/ 6648 w 91109"/>
                  <a:gd name="connsiteY0" fmla="*/ 74897 h 74896"/>
                  <a:gd name="connsiteX1" fmla="*/ 2400 w 91109"/>
                  <a:gd name="connsiteY1" fmla="*/ 73360 h 74896"/>
                  <a:gd name="connsiteX2" fmla="*/ 1535 w 91109"/>
                  <a:gd name="connsiteY2" fmla="*/ 63993 h 74896"/>
                  <a:gd name="connsiteX3" fmla="*/ 81497 w 91109"/>
                  <a:gd name="connsiteY3" fmla="*/ 704 h 74896"/>
                  <a:gd name="connsiteX4" fmla="*/ 90414 w 91109"/>
                  <a:gd name="connsiteY4" fmla="*/ 3702 h 74896"/>
                  <a:gd name="connsiteX5" fmla="*/ 87415 w 91109"/>
                  <a:gd name="connsiteY5" fmla="*/ 12619 h 74896"/>
                  <a:gd name="connsiteX6" fmla="*/ 11768 w 91109"/>
                  <a:gd name="connsiteY6" fmla="*/ 72495 h 74896"/>
                  <a:gd name="connsiteX7" fmla="*/ 6648 w 91109"/>
                  <a:gd name="connsiteY7" fmla="*/ 74897 h 7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109" h="74896">
                    <a:moveTo>
                      <a:pt x="6648" y="74897"/>
                    </a:moveTo>
                    <a:cubicBezTo>
                      <a:pt x="5146" y="74897"/>
                      <a:pt x="3639" y="74394"/>
                      <a:pt x="2400" y="73360"/>
                    </a:cubicBezTo>
                    <a:cubicBezTo>
                      <a:pt x="-425" y="71011"/>
                      <a:pt x="-811" y="66815"/>
                      <a:pt x="1535" y="63993"/>
                    </a:cubicBezTo>
                    <a:cubicBezTo>
                      <a:pt x="23675" y="37360"/>
                      <a:pt x="50580" y="16068"/>
                      <a:pt x="81497" y="704"/>
                    </a:cubicBezTo>
                    <a:cubicBezTo>
                      <a:pt x="84771" y="-944"/>
                      <a:pt x="88776" y="401"/>
                      <a:pt x="90414" y="3702"/>
                    </a:cubicBezTo>
                    <a:cubicBezTo>
                      <a:pt x="92047" y="6988"/>
                      <a:pt x="90706" y="10986"/>
                      <a:pt x="87415" y="12619"/>
                    </a:cubicBezTo>
                    <a:cubicBezTo>
                      <a:pt x="58168" y="27155"/>
                      <a:pt x="32715" y="47300"/>
                      <a:pt x="11768" y="72495"/>
                    </a:cubicBezTo>
                    <a:cubicBezTo>
                      <a:pt x="10452" y="74079"/>
                      <a:pt x="8553" y="74897"/>
                      <a:pt x="6648" y="74897"/>
                    </a:cubicBezTo>
                    <a:close/>
                  </a:path>
                </a:pathLst>
              </a:custGeom>
              <a:grpFill/>
              <a:ln w="247" cap="flat">
                <a:noFill/>
                <a:prstDash val="solid"/>
                <a:miter/>
              </a:ln>
            </p:spPr>
            <p:txBody>
              <a:bodyPr rtlCol="0" anchor="ctr"/>
              <a:lstStyle/>
              <a:p>
                <a:endParaRPr lang="en-GB" dirty="0"/>
              </a:p>
            </p:txBody>
          </p:sp>
        </p:grpSp>
      </p:grpSp>
      <p:grpSp>
        <p:nvGrpSpPr>
          <p:cNvPr id="636" name="Group 635">
            <a:extLst>
              <a:ext uri="{FF2B5EF4-FFF2-40B4-BE49-F238E27FC236}">
                <a16:creationId xmlns:a16="http://schemas.microsoft.com/office/drawing/2014/main" id="{C69DEF2C-EB69-5FB1-B692-891629EB59AD}"/>
              </a:ext>
            </a:extLst>
          </p:cNvPr>
          <p:cNvGrpSpPr/>
          <p:nvPr/>
        </p:nvGrpSpPr>
        <p:grpSpPr>
          <a:xfrm>
            <a:off x="7057562" y="3197068"/>
            <a:ext cx="483945" cy="432000"/>
            <a:chOff x="7057150" y="3197068"/>
            <a:chExt cx="483945" cy="432000"/>
          </a:xfrm>
        </p:grpSpPr>
        <p:grpSp>
          <p:nvGrpSpPr>
            <p:cNvPr id="500" name="Gruppieren 866">
              <a:extLst>
                <a:ext uri="{FF2B5EF4-FFF2-40B4-BE49-F238E27FC236}">
                  <a16:creationId xmlns:a16="http://schemas.microsoft.com/office/drawing/2014/main" id="{E65F2A3E-A440-42B3-8959-D83E2390C7E4}"/>
                </a:ext>
              </a:extLst>
            </p:cNvPr>
            <p:cNvGrpSpPr/>
            <p:nvPr/>
          </p:nvGrpSpPr>
          <p:grpSpPr>
            <a:xfrm>
              <a:off x="7057150" y="3197068"/>
              <a:ext cx="483945" cy="432000"/>
              <a:chOff x="6065236" y="1626758"/>
              <a:chExt cx="492137" cy="439313"/>
            </a:xfrm>
            <a:solidFill>
              <a:schemeClr val="tx2"/>
            </a:solidFill>
          </p:grpSpPr>
          <p:sp>
            <p:nvSpPr>
              <p:cNvPr id="508" name="Freihandform: Form 558">
                <a:extLst>
                  <a:ext uri="{FF2B5EF4-FFF2-40B4-BE49-F238E27FC236}">
                    <a16:creationId xmlns:a16="http://schemas.microsoft.com/office/drawing/2014/main" id="{1108AC3C-070F-4B81-B7DE-C8FE1971369B}"/>
                  </a:ext>
                </a:extLst>
              </p:cNvPr>
              <p:cNvSpPr/>
              <p:nvPr/>
            </p:nvSpPr>
            <p:spPr>
              <a:xfrm>
                <a:off x="6238206" y="2052769"/>
                <a:ext cx="146348" cy="13302"/>
              </a:xfrm>
              <a:custGeom>
                <a:avLst/>
                <a:gdLst>
                  <a:gd name="connsiteX0" fmla="*/ 139697 w 146348"/>
                  <a:gd name="connsiteY0" fmla="*/ 13303 h 13302"/>
                  <a:gd name="connsiteX1" fmla="*/ 6651 w 146348"/>
                  <a:gd name="connsiteY1" fmla="*/ 13303 h 13302"/>
                  <a:gd name="connsiteX2" fmla="*/ 0 w 146348"/>
                  <a:gd name="connsiteY2" fmla="*/ 6651 h 13302"/>
                  <a:gd name="connsiteX3" fmla="*/ 6651 w 146348"/>
                  <a:gd name="connsiteY3" fmla="*/ 0 h 13302"/>
                  <a:gd name="connsiteX4" fmla="*/ 139697 w 146348"/>
                  <a:gd name="connsiteY4" fmla="*/ 0 h 13302"/>
                  <a:gd name="connsiteX5" fmla="*/ 146349 w 146348"/>
                  <a:gd name="connsiteY5" fmla="*/ 6651 h 13302"/>
                  <a:gd name="connsiteX6" fmla="*/ 139697 w 146348"/>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348" h="13302">
                    <a:moveTo>
                      <a:pt x="139697" y="13303"/>
                    </a:moveTo>
                    <a:lnTo>
                      <a:pt x="6651" y="13303"/>
                    </a:lnTo>
                    <a:cubicBezTo>
                      <a:pt x="2979" y="13303"/>
                      <a:pt x="0" y="10324"/>
                      <a:pt x="0" y="6651"/>
                    </a:cubicBezTo>
                    <a:cubicBezTo>
                      <a:pt x="0" y="2979"/>
                      <a:pt x="2979" y="0"/>
                      <a:pt x="6651" y="0"/>
                    </a:cubicBezTo>
                    <a:lnTo>
                      <a:pt x="139697" y="0"/>
                    </a:lnTo>
                    <a:cubicBezTo>
                      <a:pt x="143370" y="0"/>
                      <a:pt x="146349" y="2979"/>
                      <a:pt x="146349" y="6651"/>
                    </a:cubicBezTo>
                    <a:cubicBezTo>
                      <a:pt x="146349" y="10324"/>
                      <a:pt x="143370" y="13303"/>
                      <a:pt x="139697" y="13303"/>
                    </a:cubicBezTo>
                    <a:close/>
                  </a:path>
                </a:pathLst>
              </a:custGeom>
              <a:grpFill/>
              <a:ln w="247" cap="flat">
                <a:noFill/>
                <a:prstDash val="solid"/>
                <a:miter/>
              </a:ln>
            </p:spPr>
            <p:txBody>
              <a:bodyPr rtlCol="0" anchor="ctr"/>
              <a:lstStyle/>
              <a:p>
                <a:endParaRPr lang="en-GB" dirty="0"/>
              </a:p>
            </p:txBody>
          </p:sp>
          <p:sp>
            <p:nvSpPr>
              <p:cNvPr id="509" name="Freihandform: Form 559">
                <a:extLst>
                  <a:ext uri="{FF2B5EF4-FFF2-40B4-BE49-F238E27FC236}">
                    <a16:creationId xmlns:a16="http://schemas.microsoft.com/office/drawing/2014/main" id="{D7568101-79F1-4AFB-BA1F-DA66E09A2620}"/>
                  </a:ext>
                </a:extLst>
              </p:cNvPr>
              <p:cNvSpPr/>
              <p:nvPr/>
            </p:nvSpPr>
            <p:spPr>
              <a:xfrm>
                <a:off x="6284772" y="1946333"/>
                <a:ext cx="53215" cy="119738"/>
              </a:xfrm>
              <a:custGeom>
                <a:avLst/>
                <a:gdLst>
                  <a:gd name="connsiteX0" fmla="*/ 46564 w 53215"/>
                  <a:gd name="connsiteY0" fmla="*/ 119738 h 119738"/>
                  <a:gd name="connsiteX1" fmla="*/ 6651 w 53215"/>
                  <a:gd name="connsiteY1" fmla="*/ 119738 h 119738"/>
                  <a:gd name="connsiteX2" fmla="*/ 0 w 53215"/>
                  <a:gd name="connsiteY2" fmla="*/ 113087 h 119738"/>
                  <a:gd name="connsiteX3" fmla="*/ 0 w 53215"/>
                  <a:gd name="connsiteY3" fmla="*/ 6651 h 119738"/>
                  <a:gd name="connsiteX4" fmla="*/ 6651 w 53215"/>
                  <a:gd name="connsiteY4" fmla="*/ 0 h 119738"/>
                  <a:gd name="connsiteX5" fmla="*/ 46564 w 53215"/>
                  <a:gd name="connsiteY5" fmla="*/ 0 h 119738"/>
                  <a:gd name="connsiteX6" fmla="*/ 53215 w 53215"/>
                  <a:gd name="connsiteY6" fmla="*/ 6651 h 119738"/>
                  <a:gd name="connsiteX7" fmla="*/ 53215 w 53215"/>
                  <a:gd name="connsiteY7" fmla="*/ 113087 h 119738"/>
                  <a:gd name="connsiteX8" fmla="*/ 46564 w 53215"/>
                  <a:gd name="connsiteY8" fmla="*/ 119738 h 119738"/>
                  <a:gd name="connsiteX9" fmla="*/ 13303 w 53215"/>
                  <a:gd name="connsiteY9" fmla="*/ 106436 h 119738"/>
                  <a:gd name="connsiteX10" fmla="*/ 39913 w 53215"/>
                  <a:gd name="connsiteY10" fmla="*/ 106436 h 119738"/>
                  <a:gd name="connsiteX11" fmla="*/ 39913 w 53215"/>
                  <a:gd name="connsiteY11" fmla="*/ 13303 h 119738"/>
                  <a:gd name="connsiteX12" fmla="*/ 13303 w 53215"/>
                  <a:gd name="connsiteY12" fmla="*/ 13303 h 119738"/>
                  <a:gd name="connsiteX13" fmla="*/ 13303 w 53215"/>
                  <a:gd name="connsiteY13" fmla="*/ 106436 h 119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215" h="119738">
                    <a:moveTo>
                      <a:pt x="46564" y="119738"/>
                    </a:moveTo>
                    <a:lnTo>
                      <a:pt x="6651" y="119738"/>
                    </a:lnTo>
                    <a:cubicBezTo>
                      <a:pt x="2979" y="119738"/>
                      <a:pt x="0" y="116760"/>
                      <a:pt x="0" y="113087"/>
                    </a:cubicBezTo>
                    <a:lnTo>
                      <a:pt x="0" y="6651"/>
                    </a:lnTo>
                    <a:cubicBezTo>
                      <a:pt x="0" y="2979"/>
                      <a:pt x="2979" y="0"/>
                      <a:pt x="6651" y="0"/>
                    </a:cubicBezTo>
                    <a:lnTo>
                      <a:pt x="46564" y="0"/>
                    </a:lnTo>
                    <a:cubicBezTo>
                      <a:pt x="50237" y="0"/>
                      <a:pt x="53215" y="2979"/>
                      <a:pt x="53215" y="6651"/>
                    </a:cubicBezTo>
                    <a:lnTo>
                      <a:pt x="53215" y="113087"/>
                    </a:lnTo>
                    <a:cubicBezTo>
                      <a:pt x="53215" y="116760"/>
                      <a:pt x="50237" y="119738"/>
                      <a:pt x="46564" y="119738"/>
                    </a:cubicBezTo>
                    <a:close/>
                    <a:moveTo>
                      <a:pt x="13303" y="106436"/>
                    </a:moveTo>
                    <a:lnTo>
                      <a:pt x="39913" y="106436"/>
                    </a:lnTo>
                    <a:lnTo>
                      <a:pt x="39913" y="13303"/>
                    </a:lnTo>
                    <a:lnTo>
                      <a:pt x="13303" y="13303"/>
                    </a:lnTo>
                    <a:lnTo>
                      <a:pt x="13303" y="106436"/>
                    </a:lnTo>
                    <a:close/>
                  </a:path>
                </a:pathLst>
              </a:custGeom>
              <a:grpFill/>
              <a:ln w="247" cap="flat">
                <a:noFill/>
                <a:prstDash val="solid"/>
                <a:miter/>
              </a:ln>
            </p:spPr>
            <p:txBody>
              <a:bodyPr rtlCol="0" anchor="ctr"/>
              <a:lstStyle/>
              <a:p>
                <a:endParaRPr lang="en-GB" dirty="0"/>
              </a:p>
            </p:txBody>
          </p:sp>
          <p:sp>
            <p:nvSpPr>
              <p:cNvPr id="510" name="Freihandform: Form 560">
                <a:extLst>
                  <a:ext uri="{FF2B5EF4-FFF2-40B4-BE49-F238E27FC236}">
                    <a16:creationId xmlns:a16="http://schemas.microsoft.com/office/drawing/2014/main" id="{0A38BE3D-3F49-4C55-A2BD-208901AFE78C}"/>
                  </a:ext>
                </a:extLst>
              </p:cNvPr>
              <p:cNvSpPr/>
              <p:nvPr/>
            </p:nvSpPr>
            <p:spPr>
              <a:xfrm>
                <a:off x="6198288" y="1666933"/>
                <a:ext cx="226179" cy="292702"/>
              </a:xfrm>
              <a:custGeom>
                <a:avLst/>
                <a:gdLst>
                  <a:gd name="connsiteX0" fmla="*/ 206223 w 226179"/>
                  <a:gd name="connsiteY0" fmla="*/ 292702 h 292702"/>
                  <a:gd name="connsiteX1" fmla="*/ 26610 w 226179"/>
                  <a:gd name="connsiteY1" fmla="*/ 292702 h 292702"/>
                  <a:gd name="connsiteX2" fmla="*/ 0 w 226179"/>
                  <a:gd name="connsiteY2" fmla="*/ 266092 h 292702"/>
                  <a:gd name="connsiteX3" fmla="*/ 0 w 226179"/>
                  <a:gd name="connsiteY3" fmla="*/ 26610 h 292702"/>
                  <a:gd name="connsiteX4" fmla="*/ 26610 w 226179"/>
                  <a:gd name="connsiteY4" fmla="*/ 0 h 292702"/>
                  <a:gd name="connsiteX5" fmla="*/ 199569 w 226179"/>
                  <a:gd name="connsiteY5" fmla="*/ 0 h 292702"/>
                  <a:gd name="connsiteX6" fmla="*/ 226179 w 226179"/>
                  <a:gd name="connsiteY6" fmla="*/ 26610 h 292702"/>
                  <a:gd name="connsiteX7" fmla="*/ 226179 w 226179"/>
                  <a:gd name="connsiteY7" fmla="*/ 272746 h 292702"/>
                  <a:gd name="connsiteX8" fmla="*/ 206223 w 226179"/>
                  <a:gd name="connsiteY8" fmla="*/ 292702 h 292702"/>
                  <a:gd name="connsiteX9" fmla="*/ 26610 w 226179"/>
                  <a:gd name="connsiteY9" fmla="*/ 13305 h 292702"/>
                  <a:gd name="connsiteX10" fmla="*/ 13305 w 226179"/>
                  <a:gd name="connsiteY10" fmla="*/ 26610 h 292702"/>
                  <a:gd name="connsiteX11" fmla="*/ 13305 w 226179"/>
                  <a:gd name="connsiteY11" fmla="*/ 266092 h 292702"/>
                  <a:gd name="connsiteX12" fmla="*/ 26610 w 226179"/>
                  <a:gd name="connsiteY12" fmla="*/ 279397 h 292702"/>
                  <a:gd name="connsiteX13" fmla="*/ 206223 w 226179"/>
                  <a:gd name="connsiteY13" fmla="*/ 279397 h 292702"/>
                  <a:gd name="connsiteX14" fmla="*/ 212874 w 226179"/>
                  <a:gd name="connsiteY14" fmla="*/ 272746 h 292702"/>
                  <a:gd name="connsiteX15" fmla="*/ 212874 w 226179"/>
                  <a:gd name="connsiteY15" fmla="*/ 26610 h 292702"/>
                  <a:gd name="connsiteX16" fmla="*/ 199569 w 226179"/>
                  <a:gd name="connsiteY16" fmla="*/ 13305 h 292702"/>
                  <a:gd name="connsiteX17" fmla="*/ 26610 w 226179"/>
                  <a:gd name="connsiteY17" fmla="*/ 13305 h 292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179" h="292702">
                    <a:moveTo>
                      <a:pt x="206223" y="292702"/>
                    </a:moveTo>
                    <a:lnTo>
                      <a:pt x="26610" y="292702"/>
                    </a:lnTo>
                    <a:cubicBezTo>
                      <a:pt x="11937" y="292702"/>
                      <a:pt x="0" y="280765"/>
                      <a:pt x="0" y="266092"/>
                    </a:cubicBezTo>
                    <a:lnTo>
                      <a:pt x="0" y="26610"/>
                    </a:lnTo>
                    <a:cubicBezTo>
                      <a:pt x="0" y="11937"/>
                      <a:pt x="11937" y="0"/>
                      <a:pt x="26610" y="0"/>
                    </a:cubicBezTo>
                    <a:lnTo>
                      <a:pt x="199569" y="0"/>
                    </a:lnTo>
                    <a:cubicBezTo>
                      <a:pt x="214242" y="0"/>
                      <a:pt x="226179" y="11937"/>
                      <a:pt x="226179" y="26610"/>
                    </a:cubicBezTo>
                    <a:lnTo>
                      <a:pt x="226179" y="272746"/>
                    </a:lnTo>
                    <a:cubicBezTo>
                      <a:pt x="226182" y="283751"/>
                      <a:pt x="217228" y="292702"/>
                      <a:pt x="206223" y="292702"/>
                    </a:cubicBezTo>
                    <a:close/>
                    <a:moveTo>
                      <a:pt x="26610" y="13305"/>
                    </a:moveTo>
                    <a:cubicBezTo>
                      <a:pt x="19272" y="13305"/>
                      <a:pt x="13305" y="19272"/>
                      <a:pt x="13305" y="26610"/>
                    </a:cubicBezTo>
                    <a:lnTo>
                      <a:pt x="13305" y="266092"/>
                    </a:lnTo>
                    <a:cubicBezTo>
                      <a:pt x="13305" y="273430"/>
                      <a:pt x="19272" y="279397"/>
                      <a:pt x="26610" y="279397"/>
                    </a:cubicBezTo>
                    <a:lnTo>
                      <a:pt x="206223" y="279397"/>
                    </a:lnTo>
                    <a:cubicBezTo>
                      <a:pt x="209890" y="279397"/>
                      <a:pt x="212874" y="276411"/>
                      <a:pt x="212874" y="272746"/>
                    </a:cubicBezTo>
                    <a:lnTo>
                      <a:pt x="212874" y="26610"/>
                    </a:lnTo>
                    <a:cubicBezTo>
                      <a:pt x="212874" y="19272"/>
                      <a:pt x="206907" y="13305"/>
                      <a:pt x="199569" y="13305"/>
                    </a:cubicBezTo>
                    <a:lnTo>
                      <a:pt x="26610" y="13305"/>
                    </a:lnTo>
                    <a:close/>
                  </a:path>
                </a:pathLst>
              </a:custGeom>
              <a:grpFill/>
              <a:ln w="247" cap="flat">
                <a:noFill/>
                <a:prstDash val="solid"/>
                <a:miter/>
              </a:ln>
            </p:spPr>
            <p:txBody>
              <a:bodyPr rtlCol="0" anchor="ctr"/>
              <a:lstStyle/>
              <a:p>
                <a:endParaRPr lang="en-GB" dirty="0"/>
              </a:p>
            </p:txBody>
          </p:sp>
          <p:grpSp>
            <p:nvGrpSpPr>
              <p:cNvPr id="511" name="Grafik 343">
                <a:extLst>
                  <a:ext uri="{FF2B5EF4-FFF2-40B4-BE49-F238E27FC236}">
                    <a16:creationId xmlns:a16="http://schemas.microsoft.com/office/drawing/2014/main" id="{7C52A1E0-84B9-44CA-B723-5600FCCC9603}"/>
                  </a:ext>
                </a:extLst>
              </p:cNvPr>
              <p:cNvGrpSpPr/>
              <p:nvPr/>
            </p:nvGrpSpPr>
            <p:grpSpPr>
              <a:xfrm>
                <a:off x="6442252" y="1626758"/>
                <a:ext cx="115121" cy="299387"/>
                <a:chOff x="6442252" y="1626758"/>
                <a:chExt cx="115121" cy="299387"/>
              </a:xfrm>
              <a:grpFill/>
            </p:grpSpPr>
            <p:sp>
              <p:nvSpPr>
                <p:cNvPr id="519" name="Freihandform: Form 562">
                  <a:extLst>
                    <a:ext uri="{FF2B5EF4-FFF2-40B4-BE49-F238E27FC236}">
                      <a16:creationId xmlns:a16="http://schemas.microsoft.com/office/drawing/2014/main" id="{B69A13B2-528A-43DA-9D01-7FDEBC1FC314}"/>
                    </a:ext>
                  </a:extLst>
                </p:cNvPr>
                <p:cNvSpPr/>
                <p:nvPr/>
              </p:nvSpPr>
              <p:spPr>
                <a:xfrm>
                  <a:off x="6442252" y="1867909"/>
                  <a:ext cx="75760" cy="58236"/>
                </a:xfrm>
                <a:custGeom>
                  <a:avLst/>
                  <a:gdLst>
                    <a:gd name="connsiteX0" fmla="*/ 30271 w 75760"/>
                    <a:gd name="connsiteY0" fmla="*/ 58237 h 58236"/>
                    <a:gd name="connsiteX1" fmla="*/ 3366 w 75760"/>
                    <a:gd name="connsiteY1" fmla="*/ 50118 h 58236"/>
                    <a:gd name="connsiteX2" fmla="*/ 20 w 75760"/>
                    <a:gd name="connsiteY2" fmla="*/ 43814 h 58236"/>
                    <a:gd name="connsiteX3" fmla="*/ 19347 w 75760"/>
                    <a:gd name="connsiteY3" fmla="*/ 6399 h 58236"/>
                    <a:gd name="connsiteX4" fmla="*/ 71532 w 75760"/>
                    <a:gd name="connsiteY4" fmla="*/ 5019 h 58236"/>
                    <a:gd name="connsiteX5" fmla="*/ 75596 w 75760"/>
                    <a:gd name="connsiteY5" fmla="*/ 12681 h 58236"/>
                    <a:gd name="connsiteX6" fmla="*/ 45179 w 75760"/>
                    <a:gd name="connsiteY6" fmla="*/ 55109 h 58236"/>
                    <a:gd name="connsiteX7" fmla="*/ 30271 w 75760"/>
                    <a:gd name="connsiteY7" fmla="*/ 58237 h 58236"/>
                    <a:gd name="connsiteX8" fmla="*/ 13759 w 75760"/>
                    <a:gd name="connsiteY8" fmla="*/ 40568 h 58236"/>
                    <a:gd name="connsiteX9" fmla="*/ 39770 w 75760"/>
                    <a:gd name="connsiteY9" fmla="*/ 42954 h 58236"/>
                    <a:gd name="connsiteX10" fmla="*/ 60834 w 75760"/>
                    <a:gd name="connsiteY10" fmla="*/ 15600 h 58236"/>
                    <a:gd name="connsiteX11" fmla="*/ 26373 w 75760"/>
                    <a:gd name="connsiteY11" fmla="*/ 17694 h 58236"/>
                    <a:gd name="connsiteX12" fmla="*/ 13759 w 75760"/>
                    <a:gd name="connsiteY12" fmla="*/ 40568 h 58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760" h="58236">
                      <a:moveTo>
                        <a:pt x="30271" y="58237"/>
                      </a:moveTo>
                      <a:cubicBezTo>
                        <a:pt x="21870" y="58237"/>
                        <a:pt x="12874" y="55528"/>
                        <a:pt x="3366" y="50118"/>
                      </a:cubicBezTo>
                      <a:cubicBezTo>
                        <a:pt x="1121" y="48845"/>
                        <a:pt x="-180" y="46386"/>
                        <a:pt x="20" y="43814"/>
                      </a:cubicBezTo>
                      <a:cubicBezTo>
                        <a:pt x="1411" y="26150"/>
                        <a:pt x="7913" y="13561"/>
                        <a:pt x="19347" y="6399"/>
                      </a:cubicBezTo>
                      <a:cubicBezTo>
                        <a:pt x="40528" y="-6866"/>
                        <a:pt x="70278" y="4528"/>
                        <a:pt x="71532" y="5019"/>
                      </a:cubicBezTo>
                      <a:cubicBezTo>
                        <a:pt x="74595" y="6218"/>
                        <a:pt x="76322" y="9472"/>
                        <a:pt x="75596" y="12681"/>
                      </a:cubicBezTo>
                      <a:cubicBezTo>
                        <a:pt x="75301" y="13997"/>
                        <a:pt x="68045" y="45021"/>
                        <a:pt x="45179" y="55109"/>
                      </a:cubicBezTo>
                      <a:cubicBezTo>
                        <a:pt x="40456" y="57196"/>
                        <a:pt x="35477" y="58237"/>
                        <a:pt x="30271" y="58237"/>
                      </a:cubicBezTo>
                      <a:close/>
                      <a:moveTo>
                        <a:pt x="13759" y="40568"/>
                      </a:moveTo>
                      <a:cubicBezTo>
                        <a:pt x="23699" y="45378"/>
                        <a:pt x="32432" y="46183"/>
                        <a:pt x="39770" y="42954"/>
                      </a:cubicBezTo>
                      <a:cubicBezTo>
                        <a:pt x="51496" y="37802"/>
                        <a:pt x="57981" y="23677"/>
                        <a:pt x="60834" y="15600"/>
                      </a:cubicBezTo>
                      <a:cubicBezTo>
                        <a:pt x="52547" y="13427"/>
                        <a:pt x="37222" y="10867"/>
                        <a:pt x="26373" y="17694"/>
                      </a:cubicBezTo>
                      <a:cubicBezTo>
                        <a:pt x="19588" y="21964"/>
                        <a:pt x="15350" y="29649"/>
                        <a:pt x="13759" y="40568"/>
                      </a:cubicBezTo>
                      <a:close/>
                    </a:path>
                  </a:pathLst>
                </a:custGeom>
                <a:grpFill/>
                <a:ln w="247" cap="flat">
                  <a:noFill/>
                  <a:prstDash val="solid"/>
                  <a:miter/>
                </a:ln>
              </p:spPr>
              <p:txBody>
                <a:bodyPr rtlCol="0" anchor="ctr"/>
                <a:lstStyle/>
                <a:p>
                  <a:endParaRPr lang="en-GB" dirty="0"/>
                </a:p>
              </p:txBody>
            </p:sp>
            <p:sp>
              <p:nvSpPr>
                <p:cNvPr id="520" name="Freihandform: Form 563">
                  <a:extLst>
                    <a:ext uri="{FF2B5EF4-FFF2-40B4-BE49-F238E27FC236}">
                      <a16:creationId xmlns:a16="http://schemas.microsoft.com/office/drawing/2014/main" id="{44DDC1B5-EB27-4FF1-ABF4-AADCA38D0433}"/>
                    </a:ext>
                  </a:extLst>
                </p:cNvPr>
                <p:cNvSpPr/>
                <p:nvPr/>
              </p:nvSpPr>
              <p:spPr>
                <a:xfrm>
                  <a:off x="6492692" y="1786204"/>
                  <a:ext cx="64681" cy="65292"/>
                </a:xfrm>
                <a:custGeom>
                  <a:avLst/>
                  <a:gdLst>
                    <a:gd name="connsiteX0" fmla="*/ 21251 w 64681"/>
                    <a:gd name="connsiteY0" fmla="*/ 65293 h 65292"/>
                    <a:gd name="connsiteX1" fmla="*/ 6982 w 64681"/>
                    <a:gd name="connsiteY1" fmla="*/ 63682 h 65292"/>
                    <a:gd name="connsiteX2" fmla="*/ 1889 w 64681"/>
                    <a:gd name="connsiteY2" fmla="*/ 58684 h 65292"/>
                    <a:gd name="connsiteX3" fmla="*/ 8999 w 64681"/>
                    <a:gd name="connsiteY3" fmla="*/ 17173 h 65292"/>
                    <a:gd name="connsiteX4" fmla="*/ 58326 w 64681"/>
                    <a:gd name="connsiteY4" fmla="*/ 78 h 65292"/>
                    <a:gd name="connsiteX5" fmla="*/ 64516 w 64681"/>
                    <a:gd name="connsiteY5" fmla="*/ 6155 h 65292"/>
                    <a:gd name="connsiteX6" fmla="*/ 48349 w 64681"/>
                    <a:gd name="connsiteY6" fmla="*/ 55797 h 65292"/>
                    <a:gd name="connsiteX7" fmla="*/ 21251 w 64681"/>
                    <a:gd name="connsiteY7" fmla="*/ 65293 h 65292"/>
                    <a:gd name="connsiteX8" fmla="*/ 14005 w 64681"/>
                    <a:gd name="connsiteY8" fmla="*/ 51433 h 65292"/>
                    <a:gd name="connsiteX9" fmla="*/ 39549 w 64681"/>
                    <a:gd name="connsiteY9" fmla="*/ 45817 h 65292"/>
                    <a:gd name="connsiteX10" fmla="*/ 51370 w 64681"/>
                    <a:gd name="connsiteY10" fmla="*/ 13396 h 65292"/>
                    <a:gd name="connsiteX11" fmla="*/ 19114 w 64681"/>
                    <a:gd name="connsiteY11" fmla="*/ 25814 h 65292"/>
                    <a:gd name="connsiteX12" fmla="*/ 14005 w 64681"/>
                    <a:gd name="connsiteY12" fmla="*/ 51433 h 65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681" h="65292">
                      <a:moveTo>
                        <a:pt x="21251" y="65293"/>
                      </a:moveTo>
                      <a:cubicBezTo>
                        <a:pt x="16790" y="65293"/>
                        <a:pt x="12032" y="64758"/>
                        <a:pt x="6982" y="63682"/>
                      </a:cubicBezTo>
                      <a:cubicBezTo>
                        <a:pt x="4459" y="63147"/>
                        <a:pt x="2474" y="61197"/>
                        <a:pt x="1889" y="58684"/>
                      </a:cubicBezTo>
                      <a:cubicBezTo>
                        <a:pt x="-2126" y="41426"/>
                        <a:pt x="266" y="27459"/>
                        <a:pt x="8999" y="17173"/>
                      </a:cubicBezTo>
                      <a:cubicBezTo>
                        <a:pt x="25171" y="-1872"/>
                        <a:pt x="56985" y="16"/>
                        <a:pt x="58326" y="78"/>
                      </a:cubicBezTo>
                      <a:cubicBezTo>
                        <a:pt x="61607" y="296"/>
                        <a:pt x="64239" y="2879"/>
                        <a:pt x="64516" y="6155"/>
                      </a:cubicBezTo>
                      <a:cubicBezTo>
                        <a:pt x="64630" y="7500"/>
                        <a:pt x="67091" y="39268"/>
                        <a:pt x="48349" y="55797"/>
                      </a:cubicBezTo>
                      <a:cubicBezTo>
                        <a:pt x="41180" y="62118"/>
                        <a:pt x="32100" y="65293"/>
                        <a:pt x="21251" y="65293"/>
                      </a:cubicBezTo>
                      <a:close/>
                      <a:moveTo>
                        <a:pt x="14005" y="51433"/>
                      </a:moveTo>
                      <a:cubicBezTo>
                        <a:pt x="24936" y="53009"/>
                        <a:pt x="33522" y="51130"/>
                        <a:pt x="39549" y="45817"/>
                      </a:cubicBezTo>
                      <a:cubicBezTo>
                        <a:pt x="48609" y="37830"/>
                        <a:pt x="51050" y="22892"/>
                        <a:pt x="51370" y="13396"/>
                      </a:cubicBezTo>
                      <a:cubicBezTo>
                        <a:pt x="42823" y="13827"/>
                        <a:pt x="27404" y="16020"/>
                        <a:pt x="19114" y="25814"/>
                      </a:cubicBezTo>
                      <a:cubicBezTo>
                        <a:pt x="13933" y="31937"/>
                        <a:pt x="12220" y="40541"/>
                        <a:pt x="14005" y="51433"/>
                      </a:cubicBezTo>
                      <a:close/>
                    </a:path>
                  </a:pathLst>
                </a:custGeom>
                <a:grpFill/>
                <a:ln w="247" cap="flat">
                  <a:noFill/>
                  <a:prstDash val="solid"/>
                  <a:miter/>
                </a:ln>
              </p:spPr>
              <p:txBody>
                <a:bodyPr rtlCol="0" anchor="ctr"/>
                <a:lstStyle/>
                <a:p>
                  <a:endParaRPr lang="en-GB" dirty="0"/>
                </a:p>
              </p:txBody>
            </p:sp>
            <p:sp>
              <p:nvSpPr>
                <p:cNvPr id="521" name="Freihandform: Form 564">
                  <a:extLst>
                    <a:ext uri="{FF2B5EF4-FFF2-40B4-BE49-F238E27FC236}">
                      <a16:creationId xmlns:a16="http://schemas.microsoft.com/office/drawing/2014/main" id="{148CF2AB-7EC9-462A-AE52-E9B2C25336D3}"/>
                    </a:ext>
                  </a:extLst>
                </p:cNvPr>
                <p:cNvSpPr/>
                <p:nvPr/>
              </p:nvSpPr>
              <p:spPr>
                <a:xfrm>
                  <a:off x="6478262" y="1706756"/>
                  <a:ext cx="61665" cy="69106"/>
                </a:xfrm>
                <a:custGeom>
                  <a:avLst/>
                  <a:gdLst>
                    <a:gd name="connsiteX0" fmla="*/ 17260 w 61665"/>
                    <a:gd name="connsiteY0" fmla="*/ 69106 h 69106"/>
                    <a:gd name="connsiteX1" fmla="*/ 9375 w 61665"/>
                    <a:gd name="connsiteY1" fmla="*/ 68680 h 69106"/>
                    <a:gd name="connsiteX2" fmla="*/ 3782 w 61665"/>
                    <a:gd name="connsiteY2" fmla="*/ 64249 h 69106"/>
                    <a:gd name="connsiteX3" fmla="*/ 6458 w 61665"/>
                    <a:gd name="connsiteY3" fmla="*/ 22220 h 69106"/>
                    <a:gd name="connsiteX4" fmla="*/ 53699 w 61665"/>
                    <a:gd name="connsiteY4" fmla="*/ 6 h 69106"/>
                    <a:gd name="connsiteX5" fmla="*/ 60496 w 61665"/>
                    <a:gd name="connsiteY5" fmla="*/ 5391 h 69106"/>
                    <a:gd name="connsiteX6" fmla="*/ 49674 w 61665"/>
                    <a:gd name="connsiteY6" fmla="*/ 56458 h 69106"/>
                    <a:gd name="connsiteX7" fmla="*/ 17260 w 61665"/>
                    <a:gd name="connsiteY7" fmla="*/ 69106 h 69106"/>
                    <a:gd name="connsiteX8" fmla="*/ 15057 w 61665"/>
                    <a:gd name="connsiteY8" fmla="*/ 55756 h 69106"/>
                    <a:gd name="connsiteX9" fmla="*/ 39866 w 61665"/>
                    <a:gd name="connsiteY9" fmla="*/ 47469 h 69106"/>
                    <a:gd name="connsiteX10" fmla="*/ 48187 w 61665"/>
                    <a:gd name="connsiteY10" fmla="*/ 13987 h 69106"/>
                    <a:gd name="connsiteX11" fmla="*/ 17431 w 61665"/>
                    <a:gd name="connsiteY11" fmla="*/ 29743 h 69106"/>
                    <a:gd name="connsiteX12" fmla="*/ 15057 w 61665"/>
                    <a:gd name="connsiteY12" fmla="*/ 55756 h 69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665" h="69106">
                      <a:moveTo>
                        <a:pt x="17260" y="69106"/>
                      </a:moveTo>
                      <a:cubicBezTo>
                        <a:pt x="14728" y="69106"/>
                        <a:pt x="12098" y="68967"/>
                        <a:pt x="9375" y="68680"/>
                      </a:cubicBezTo>
                      <a:cubicBezTo>
                        <a:pt x="6808" y="68415"/>
                        <a:pt x="4627" y="66685"/>
                        <a:pt x="3782" y="64249"/>
                      </a:cubicBezTo>
                      <a:cubicBezTo>
                        <a:pt x="-2039" y="47512"/>
                        <a:pt x="-1135" y="33371"/>
                        <a:pt x="6458" y="22220"/>
                      </a:cubicBezTo>
                      <a:cubicBezTo>
                        <a:pt x="20529" y="1567"/>
                        <a:pt x="52351" y="58"/>
                        <a:pt x="53699" y="6"/>
                      </a:cubicBezTo>
                      <a:cubicBezTo>
                        <a:pt x="56943" y="-131"/>
                        <a:pt x="59874" y="2162"/>
                        <a:pt x="60496" y="5391"/>
                      </a:cubicBezTo>
                      <a:cubicBezTo>
                        <a:pt x="60754" y="6717"/>
                        <a:pt x="66560" y="38043"/>
                        <a:pt x="49674" y="56458"/>
                      </a:cubicBezTo>
                      <a:cubicBezTo>
                        <a:pt x="41967" y="64868"/>
                        <a:pt x="31086" y="69106"/>
                        <a:pt x="17260" y="69106"/>
                      </a:cubicBezTo>
                      <a:close/>
                      <a:moveTo>
                        <a:pt x="15057" y="55756"/>
                      </a:moveTo>
                      <a:cubicBezTo>
                        <a:pt x="26117" y="56188"/>
                        <a:pt x="34436" y="53392"/>
                        <a:pt x="39866" y="47469"/>
                      </a:cubicBezTo>
                      <a:cubicBezTo>
                        <a:pt x="48026" y="38570"/>
                        <a:pt x="48876" y="23459"/>
                        <a:pt x="48187" y="13987"/>
                      </a:cubicBezTo>
                      <a:cubicBezTo>
                        <a:pt x="39735" y="15318"/>
                        <a:pt x="24630" y="19130"/>
                        <a:pt x="17431" y="29743"/>
                      </a:cubicBezTo>
                      <a:cubicBezTo>
                        <a:pt x="12926" y="36380"/>
                        <a:pt x="12131" y="45118"/>
                        <a:pt x="15057" y="55756"/>
                      </a:cubicBezTo>
                      <a:close/>
                    </a:path>
                  </a:pathLst>
                </a:custGeom>
                <a:grpFill/>
                <a:ln w="247" cap="flat">
                  <a:noFill/>
                  <a:prstDash val="solid"/>
                  <a:miter/>
                </a:ln>
              </p:spPr>
              <p:txBody>
                <a:bodyPr rtlCol="0" anchor="ctr"/>
                <a:lstStyle/>
                <a:p>
                  <a:endParaRPr lang="en-GB" dirty="0"/>
                </a:p>
              </p:txBody>
            </p:sp>
            <p:sp>
              <p:nvSpPr>
                <p:cNvPr id="522" name="Freihandform: Form 565">
                  <a:extLst>
                    <a:ext uri="{FF2B5EF4-FFF2-40B4-BE49-F238E27FC236}">
                      <a16:creationId xmlns:a16="http://schemas.microsoft.com/office/drawing/2014/main" id="{F8793141-F99F-4AB5-88E0-A068F4AD6D4D}"/>
                    </a:ext>
                  </a:extLst>
                </p:cNvPr>
                <p:cNvSpPr/>
                <p:nvPr/>
              </p:nvSpPr>
              <p:spPr>
                <a:xfrm>
                  <a:off x="6446619" y="1626758"/>
                  <a:ext cx="56909" cy="79173"/>
                </a:xfrm>
                <a:custGeom>
                  <a:avLst/>
                  <a:gdLst>
                    <a:gd name="connsiteX0" fmla="*/ 16792 w 56909"/>
                    <a:gd name="connsiteY0" fmla="*/ 79173 h 79173"/>
                    <a:gd name="connsiteX1" fmla="*/ 11429 w 56909"/>
                    <a:gd name="connsiteY1" fmla="*/ 76455 h 79173"/>
                    <a:gd name="connsiteX2" fmla="*/ 1638 w 56909"/>
                    <a:gd name="connsiteY2" fmla="*/ 35496 h 79173"/>
                    <a:gd name="connsiteX3" fmla="*/ 40267 w 56909"/>
                    <a:gd name="connsiteY3" fmla="*/ 376 h 79173"/>
                    <a:gd name="connsiteX4" fmla="*/ 48348 w 56909"/>
                    <a:gd name="connsiteY4" fmla="*/ 3526 h 79173"/>
                    <a:gd name="connsiteX5" fmla="*/ 53010 w 56909"/>
                    <a:gd name="connsiteY5" fmla="*/ 55522 h 79173"/>
                    <a:gd name="connsiteX6" fmla="*/ 18078 w 56909"/>
                    <a:gd name="connsiteY6" fmla="*/ 79045 h 79173"/>
                    <a:gd name="connsiteX7" fmla="*/ 16792 w 56909"/>
                    <a:gd name="connsiteY7" fmla="*/ 79173 h 79173"/>
                    <a:gd name="connsiteX8" fmla="*/ 39110 w 56909"/>
                    <a:gd name="connsiteY8" fmla="*/ 15359 h 79173"/>
                    <a:gd name="connsiteX9" fmla="*/ 14338 w 56909"/>
                    <a:gd name="connsiteY9" fmla="*/ 39461 h 79173"/>
                    <a:gd name="connsiteX10" fmla="*/ 19714 w 56909"/>
                    <a:gd name="connsiteY10" fmla="*/ 65026 h 79173"/>
                    <a:gd name="connsiteX11" fmla="*/ 40993 w 56909"/>
                    <a:gd name="connsiteY11" fmla="*/ 49810 h 79173"/>
                    <a:gd name="connsiteX12" fmla="*/ 39110 w 56909"/>
                    <a:gd name="connsiteY12" fmla="*/ 15359 h 79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09" h="79173">
                      <a:moveTo>
                        <a:pt x="16792" y="79173"/>
                      </a:moveTo>
                      <a:cubicBezTo>
                        <a:pt x="14698" y="79173"/>
                        <a:pt x="12695" y="78182"/>
                        <a:pt x="11429" y="76455"/>
                      </a:cubicBezTo>
                      <a:cubicBezTo>
                        <a:pt x="947" y="62169"/>
                        <a:pt x="-2347" y="48388"/>
                        <a:pt x="1638" y="35496"/>
                      </a:cubicBezTo>
                      <a:cubicBezTo>
                        <a:pt x="9018" y="11617"/>
                        <a:pt x="38993" y="825"/>
                        <a:pt x="40267" y="376"/>
                      </a:cubicBezTo>
                      <a:cubicBezTo>
                        <a:pt x="43360" y="-712"/>
                        <a:pt x="46802" y="627"/>
                        <a:pt x="48348" y="3526"/>
                      </a:cubicBezTo>
                      <a:cubicBezTo>
                        <a:pt x="48983" y="4718"/>
                        <a:pt x="63743" y="32954"/>
                        <a:pt x="53010" y="55522"/>
                      </a:cubicBezTo>
                      <a:cubicBezTo>
                        <a:pt x="47218" y="67710"/>
                        <a:pt x="35462" y="75625"/>
                        <a:pt x="18078" y="79045"/>
                      </a:cubicBezTo>
                      <a:cubicBezTo>
                        <a:pt x="17649" y="79131"/>
                        <a:pt x="17218" y="79173"/>
                        <a:pt x="16792" y="79173"/>
                      </a:cubicBezTo>
                      <a:close/>
                      <a:moveTo>
                        <a:pt x="39110" y="15359"/>
                      </a:moveTo>
                      <a:cubicBezTo>
                        <a:pt x="31420" y="19118"/>
                        <a:pt x="18108" y="27200"/>
                        <a:pt x="14338" y="39461"/>
                      </a:cubicBezTo>
                      <a:cubicBezTo>
                        <a:pt x="11984" y="47131"/>
                        <a:pt x="13791" y="55715"/>
                        <a:pt x="19714" y="65026"/>
                      </a:cubicBezTo>
                      <a:cubicBezTo>
                        <a:pt x="30394" y="62176"/>
                        <a:pt x="37544" y="57071"/>
                        <a:pt x="40993" y="49810"/>
                      </a:cubicBezTo>
                      <a:cubicBezTo>
                        <a:pt x="46178" y="38906"/>
                        <a:pt x="42550" y="24211"/>
                        <a:pt x="39110" y="15359"/>
                      </a:cubicBezTo>
                      <a:close/>
                    </a:path>
                  </a:pathLst>
                </a:custGeom>
                <a:grpFill/>
                <a:ln w="247" cap="flat">
                  <a:noFill/>
                  <a:prstDash val="solid"/>
                  <a:miter/>
                </a:ln>
              </p:spPr>
              <p:txBody>
                <a:bodyPr rtlCol="0" anchor="ctr"/>
                <a:lstStyle/>
                <a:p>
                  <a:endParaRPr lang="en-GB" dirty="0"/>
                </a:p>
              </p:txBody>
            </p:sp>
          </p:grpSp>
          <p:grpSp>
            <p:nvGrpSpPr>
              <p:cNvPr id="512" name="Grafik 343">
                <a:extLst>
                  <a:ext uri="{FF2B5EF4-FFF2-40B4-BE49-F238E27FC236}">
                    <a16:creationId xmlns:a16="http://schemas.microsoft.com/office/drawing/2014/main" id="{FC578113-E50F-4CC8-9ED9-84B64A91CE8A}"/>
                  </a:ext>
                </a:extLst>
              </p:cNvPr>
              <p:cNvGrpSpPr/>
              <p:nvPr/>
            </p:nvGrpSpPr>
            <p:grpSpPr>
              <a:xfrm>
                <a:off x="6065236" y="1626759"/>
                <a:ext cx="115125" cy="299386"/>
                <a:chOff x="6065236" y="1626759"/>
                <a:chExt cx="115125" cy="299386"/>
              </a:xfrm>
              <a:grpFill/>
            </p:grpSpPr>
            <p:sp>
              <p:nvSpPr>
                <p:cNvPr id="515" name="Freihandform: Form 567">
                  <a:extLst>
                    <a:ext uri="{FF2B5EF4-FFF2-40B4-BE49-F238E27FC236}">
                      <a16:creationId xmlns:a16="http://schemas.microsoft.com/office/drawing/2014/main" id="{B7724DB2-DB15-44A1-9516-408AC94D43A6}"/>
                    </a:ext>
                  </a:extLst>
                </p:cNvPr>
                <p:cNvSpPr/>
                <p:nvPr/>
              </p:nvSpPr>
              <p:spPr>
                <a:xfrm>
                  <a:off x="6104600" y="1867903"/>
                  <a:ext cx="75761" cy="58242"/>
                </a:xfrm>
                <a:custGeom>
                  <a:avLst/>
                  <a:gdLst>
                    <a:gd name="connsiteX0" fmla="*/ 45491 w 75761"/>
                    <a:gd name="connsiteY0" fmla="*/ 58243 h 58242"/>
                    <a:gd name="connsiteX1" fmla="*/ 30582 w 75761"/>
                    <a:gd name="connsiteY1" fmla="*/ 55116 h 58242"/>
                    <a:gd name="connsiteX2" fmla="*/ 166 w 75761"/>
                    <a:gd name="connsiteY2" fmla="*/ 12687 h 58242"/>
                    <a:gd name="connsiteX3" fmla="*/ 4230 w 75761"/>
                    <a:gd name="connsiteY3" fmla="*/ 5025 h 58242"/>
                    <a:gd name="connsiteX4" fmla="*/ 56414 w 75761"/>
                    <a:gd name="connsiteY4" fmla="*/ 6405 h 58242"/>
                    <a:gd name="connsiteX5" fmla="*/ 75741 w 75761"/>
                    <a:gd name="connsiteY5" fmla="*/ 43820 h 58242"/>
                    <a:gd name="connsiteX6" fmla="*/ 72396 w 75761"/>
                    <a:gd name="connsiteY6" fmla="*/ 50125 h 58242"/>
                    <a:gd name="connsiteX7" fmla="*/ 45491 w 75761"/>
                    <a:gd name="connsiteY7" fmla="*/ 58243 h 58242"/>
                    <a:gd name="connsiteX8" fmla="*/ 14926 w 75761"/>
                    <a:gd name="connsiteY8" fmla="*/ 15607 h 58242"/>
                    <a:gd name="connsiteX9" fmla="*/ 35990 w 75761"/>
                    <a:gd name="connsiteY9" fmla="*/ 42960 h 58242"/>
                    <a:gd name="connsiteX10" fmla="*/ 62000 w 75761"/>
                    <a:gd name="connsiteY10" fmla="*/ 40574 h 58242"/>
                    <a:gd name="connsiteX11" fmla="*/ 49384 w 75761"/>
                    <a:gd name="connsiteY11" fmla="*/ 17703 h 58242"/>
                    <a:gd name="connsiteX12" fmla="*/ 14926 w 75761"/>
                    <a:gd name="connsiteY12" fmla="*/ 15607 h 5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761" h="58242">
                      <a:moveTo>
                        <a:pt x="45491" y="58243"/>
                      </a:moveTo>
                      <a:cubicBezTo>
                        <a:pt x="40282" y="58243"/>
                        <a:pt x="35308" y="57200"/>
                        <a:pt x="30582" y="55116"/>
                      </a:cubicBezTo>
                      <a:cubicBezTo>
                        <a:pt x="7719" y="45027"/>
                        <a:pt x="463" y="14003"/>
                        <a:pt x="166" y="12687"/>
                      </a:cubicBezTo>
                      <a:cubicBezTo>
                        <a:pt x="-563" y="9478"/>
                        <a:pt x="1167" y="6224"/>
                        <a:pt x="4230" y="5025"/>
                      </a:cubicBezTo>
                      <a:cubicBezTo>
                        <a:pt x="5481" y="4527"/>
                        <a:pt x="35231" y="-6870"/>
                        <a:pt x="56414" y="6405"/>
                      </a:cubicBezTo>
                      <a:cubicBezTo>
                        <a:pt x="67849" y="13567"/>
                        <a:pt x="74351" y="26159"/>
                        <a:pt x="75741" y="43820"/>
                      </a:cubicBezTo>
                      <a:cubicBezTo>
                        <a:pt x="75942" y="46393"/>
                        <a:pt x="74641" y="48851"/>
                        <a:pt x="72396" y="50125"/>
                      </a:cubicBezTo>
                      <a:cubicBezTo>
                        <a:pt x="62890" y="55534"/>
                        <a:pt x="53889" y="58243"/>
                        <a:pt x="45491" y="58243"/>
                      </a:cubicBezTo>
                      <a:close/>
                      <a:moveTo>
                        <a:pt x="14926" y="15607"/>
                      </a:moveTo>
                      <a:cubicBezTo>
                        <a:pt x="17778" y="23683"/>
                        <a:pt x="24263" y="37808"/>
                        <a:pt x="35990" y="42960"/>
                      </a:cubicBezTo>
                      <a:cubicBezTo>
                        <a:pt x="43327" y="46189"/>
                        <a:pt x="52063" y="45384"/>
                        <a:pt x="62000" y="40574"/>
                      </a:cubicBezTo>
                      <a:cubicBezTo>
                        <a:pt x="60409" y="29658"/>
                        <a:pt x="56174" y="21971"/>
                        <a:pt x="49384" y="17703"/>
                      </a:cubicBezTo>
                      <a:cubicBezTo>
                        <a:pt x="38542" y="10888"/>
                        <a:pt x="23215" y="13438"/>
                        <a:pt x="14926" y="15607"/>
                      </a:cubicBezTo>
                      <a:close/>
                    </a:path>
                  </a:pathLst>
                </a:custGeom>
                <a:grpFill/>
                <a:ln w="247" cap="flat">
                  <a:noFill/>
                  <a:prstDash val="solid"/>
                  <a:miter/>
                </a:ln>
              </p:spPr>
              <p:txBody>
                <a:bodyPr rtlCol="0" anchor="ctr"/>
                <a:lstStyle/>
                <a:p>
                  <a:endParaRPr lang="en-GB" dirty="0"/>
                </a:p>
              </p:txBody>
            </p:sp>
            <p:sp>
              <p:nvSpPr>
                <p:cNvPr id="516" name="Freihandform: Form 568">
                  <a:extLst>
                    <a:ext uri="{FF2B5EF4-FFF2-40B4-BE49-F238E27FC236}">
                      <a16:creationId xmlns:a16="http://schemas.microsoft.com/office/drawing/2014/main" id="{7B61A9E9-8B59-4EF0-A98D-69932F6A01D0}"/>
                    </a:ext>
                  </a:extLst>
                </p:cNvPr>
                <p:cNvSpPr/>
                <p:nvPr/>
              </p:nvSpPr>
              <p:spPr>
                <a:xfrm>
                  <a:off x="6065236" y="1786202"/>
                  <a:ext cx="64681" cy="65295"/>
                </a:xfrm>
                <a:custGeom>
                  <a:avLst/>
                  <a:gdLst>
                    <a:gd name="connsiteX0" fmla="*/ 43432 w 64681"/>
                    <a:gd name="connsiteY0" fmla="*/ 65295 h 65295"/>
                    <a:gd name="connsiteX1" fmla="*/ 16332 w 64681"/>
                    <a:gd name="connsiteY1" fmla="*/ 55797 h 65295"/>
                    <a:gd name="connsiteX2" fmla="*/ 164 w 64681"/>
                    <a:gd name="connsiteY2" fmla="*/ 6155 h 65295"/>
                    <a:gd name="connsiteX3" fmla="*/ 6355 w 64681"/>
                    <a:gd name="connsiteY3" fmla="*/ 78 h 65295"/>
                    <a:gd name="connsiteX4" fmla="*/ 55682 w 64681"/>
                    <a:gd name="connsiteY4" fmla="*/ 17172 h 65295"/>
                    <a:gd name="connsiteX5" fmla="*/ 62792 w 64681"/>
                    <a:gd name="connsiteY5" fmla="*/ 58684 h 65295"/>
                    <a:gd name="connsiteX6" fmla="*/ 57699 w 64681"/>
                    <a:gd name="connsiteY6" fmla="*/ 63682 h 65295"/>
                    <a:gd name="connsiteX7" fmla="*/ 43432 w 64681"/>
                    <a:gd name="connsiteY7" fmla="*/ 65295 h 65295"/>
                    <a:gd name="connsiteX8" fmla="*/ 56316 w 64681"/>
                    <a:gd name="connsiteY8" fmla="*/ 57177 h 65295"/>
                    <a:gd name="connsiteX9" fmla="*/ 56381 w 64681"/>
                    <a:gd name="connsiteY9" fmla="*/ 57177 h 65295"/>
                    <a:gd name="connsiteX10" fmla="*/ 56316 w 64681"/>
                    <a:gd name="connsiteY10" fmla="*/ 57177 h 65295"/>
                    <a:gd name="connsiteX11" fmla="*/ 13355 w 64681"/>
                    <a:gd name="connsiteY11" fmla="*/ 13358 h 65295"/>
                    <a:gd name="connsiteX12" fmla="*/ 25166 w 64681"/>
                    <a:gd name="connsiteY12" fmla="*/ 45844 h 65295"/>
                    <a:gd name="connsiteX13" fmla="*/ 50681 w 64681"/>
                    <a:gd name="connsiteY13" fmla="*/ 51435 h 65295"/>
                    <a:gd name="connsiteX14" fmla="*/ 45546 w 64681"/>
                    <a:gd name="connsiteY14" fmla="*/ 25784 h 65295"/>
                    <a:gd name="connsiteX15" fmla="*/ 13355 w 64681"/>
                    <a:gd name="connsiteY15" fmla="*/ 13358 h 65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81" h="65295">
                      <a:moveTo>
                        <a:pt x="43432" y="65295"/>
                      </a:moveTo>
                      <a:cubicBezTo>
                        <a:pt x="32583" y="65295"/>
                        <a:pt x="23506" y="62121"/>
                        <a:pt x="16332" y="55797"/>
                      </a:cubicBezTo>
                      <a:cubicBezTo>
                        <a:pt x="-2411" y="39267"/>
                        <a:pt x="53" y="7500"/>
                        <a:pt x="164" y="6155"/>
                      </a:cubicBezTo>
                      <a:cubicBezTo>
                        <a:pt x="444" y="2876"/>
                        <a:pt x="3074" y="294"/>
                        <a:pt x="6355" y="78"/>
                      </a:cubicBezTo>
                      <a:cubicBezTo>
                        <a:pt x="7700" y="16"/>
                        <a:pt x="39510" y="-1870"/>
                        <a:pt x="55682" y="17172"/>
                      </a:cubicBezTo>
                      <a:cubicBezTo>
                        <a:pt x="64417" y="27459"/>
                        <a:pt x="66806" y="41426"/>
                        <a:pt x="62792" y="58684"/>
                      </a:cubicBezTo>
                      <a:cubicBezTo>
                        <a:pt x="62207" y="61199"/>
                        <a:pt x="60222" y="63147"/>
                        <a:pt x="57699" y="63682"/>
                      </a:cubicBezTo>
                      <a:cubicBezTo>
                        <a:pt x="52654" y="64760"/>
                        <a:pt x="47893" y="65295"/>
                        <a:pt x="43432" y="65295"/>
                      </a:cubicBezTo>
                      <a:close/>
                      <a:moveTo>
                        <a:pt x="56316" y="57177"/>
                      </a:moveTo>
                      <a:lnTo>
                        <a:pt x="56381" y="57177"/>
                      </a:lnTo>
                      <a:lnTo>
                        <a:pt x="56316" y="57177"/>
                      </a:lnTo>
                      <a:close/>
                      <a:moveTo>
                        <a:pt x="13355" y="13358"/>
                      </a:moveTo>
                      <a:cubicBezTo>
                        <a:pt x="13628" y="21911"/>
                        <a:pt x="15529" y="37372"/>
                        <a:pt x="25166" y="45844"/>
                      </a:cubicBezTo>
                      <a:cubicBezTo>
                        <a:pt x="31188" y="51140"/>
                        <a:pt x="39757" y="53014"/>
                        <a:pt x="50681" y="51435"/>
                      </a:cubicBezTo>
                      <a:cubicBezTo>
                        <a:pt x="52468" y="40529"/>
                        <a:pt x="50745" y="31912"/>
                        <a:pt x="45546" y="25784"/>
                      </a:cubicBezTo>
                      <a:cubicBezTo>
                        <a:pt x="37730" y="16583"/>
                        <a:pt x="22839" y="13857"/>
                        <a:pt x="13355" y="13358"/>
                      </a:cubicBezTo>
                      <a:close/>
                    </a:path>
                  </a:pathLst>
                </a:custGeom>
                <a:grpFill/>
                <a:ln w="247" cap="flat">
                  <a:noFill/>
                  <a:prstDash val="solid"/>
                  <a:miter/>
                </a:ln>
              </p:spPr>
              <p:txBody>
                <a:bodyPr rtlCol="0" anchor="ctr"/>
                <a:lstStyle/>
                <a:p>
                  <a:endParaRPr lang="en-GB" dirty="0"/>
                </a:p>
              </p:txBody>
            </p:sp>
            <p:sp>
              <p:nvSpPr>
                <p:cNvPr id="517" name="Freihandform: Form 569">
                  <a:extLst>
                    <a:ext uri="{FF2B5EF4-FFF2-40B4-BE49-F238E27FC236}">
                      <a16:creationId xmlns:a16="http://schemas.microsoft.com/office/drawing/2014/main" id="{3C5CDF04-A12E-45BF-A6A6-02B03BE1419E}"/>
                    </a:ext>
                  </a:extLst>
                </p:cNvPr>
                <p:cNvSpPr/>
                <p:nvPr/>
              </p:nvSpPr>
              <p:spPr>
                <a:xfrm>
                  <a:off x="6082683" y="1706758"/>
                  <a:ext cx="61666" cy="69103"/>
                </a:xfrm>
                <a:custGeom>
                  <a:avLst/>
                  <a:gdLst>
                    <a:gd name="connsiteX0" fmla="*/ 44406 w 61666"/>
                    <a:gd name="connsiteY0" fmla="*/ 69103 h 69103"/>
                    <a:gd name="connsiteX1" fmla="*/ 11992 w 61666"/>
                    <a:gd name="connsiteY1" fmla="*/ 56457 h 69103"/>
                    <a:gd name="connsiteX2" fmla="*/ 1170 w 61666"/>
                    <a:gd name="connsiteY2" fmla="*/ 5391 h 69103"/>
                    <a:gd name="connsiteX3" fmla="*/ 7967 w 61666"/>
                    <a:gd name="connsiteY3" fmla="*/ 6 h 69103"/>
                    <a:gd name="connsiteX4" fmla="*/ 55208 w 61666"/>
                    <a:gd name="connsiteY4" fmla="*/ 22220 h 69103"/>
                    <a:gd name="connsiteX5" fmla="*/ 57884 w 61666"/>
                    <a:gd name="connsiteY5" fmla="*/ 64249 h 69103"/>
                    <a:gd name="connsiteX6" fmla="*/ 52291 w 61666"/>
                    <a:gd name="connsiteY6" fmla="*/ 68680 h 69103"/>
                    <a:gd name="connsiteX7" fmla="*/ 44406 w 61666"/>
                    <a:gd name="connsiteY7" fmla="*/ 69103 h 69103"/>
                    <a:gd name="connsiteX8" fmla="*/ 51605 w 61666"/>
                    <a:gd name="connsiteY8" fmla="*/ 62061 h 69103"/>
                    <a:gd name="connsiteX9" fmla="*/ 51669 w 61666"/>
                    <a:gd name="connsiteY9" fmla="*/ 62061 h 69103"/>
                    <a:gd name="connsiteX10" fmla="*/ 51605 w 61666"/>
                    <a:gd name="connsiteY10" fmla="*/ 62061 h 69103"/>
                    <a:gd name="connsiteX11" fmla="*/ 13521 w 61666"/>
                    <a:gd name="connsiteY11" fmla="*/ 13992 h 69103"/>
                    <a:gd name="connsiteX12" fmla="*/ 21828 w 61666"/>
                    <a:gd name="connsiteY12" fmla="*/ 47497 h 69103"/>
                    <a:gd name="connsiteX13" fmla="*/ 46611 w 61666"/>
                    <a:gd name="connsiteY13" fmla="*/ 55754 h 69103"/>
                    <a:gd name="connsiteX14" fmla="*/ 44237 w 61666"/>
                    <a:gd name="connsiteY14" fmla="*/ 29743 h 69103"/>
                    <a:gd name="connsiteX15" fmla="*/ 13521 w 61666"/>
                    <a:gd name="connsiteY15" fmla="*/ 13992 h 6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666" h="69103">
                      <a:moveTo>
                        <a:pt x="44406" y="69103"/>
                      </a:moveTo>
                      <a:cubicBezTo>
                        <a:pt x="30578" y="69103"/>
                        <a:pt x="19701" y="64868"/>
                        <a:pt x="11992" y="56457"/>
                      </a:cubicBezTo>
                      <a:cubicBezTo>
                        <a:pt x="-4897" y="38040"/>
                        <a:pt x="912" y="6714"/>
                        <a:pt x="1170" y="5391"/>
                      </a:cubicBezTo>
                      <a:cubicBezTo>
                        <a:pt x="1794" y="2162"/>
                        <a:pt x="4714" y="-128"/>
                        <a:pt x="7967" y="6"/>
                      </a:cubicBezTo>
                      <a:cubicBezTo>
                        <a:pt x="9316" y="58"/>
                        <a:pt x="41137" y="1567"/>
                        <a:pt x="55208" y="22220"/>
                      </a:cubicBezTo>
                      <a:cubicBezTo>
                        <a:pt x="62804" y="33371"/>
                        <a:pt x="63706" y="47509"/>
                        <a:pt x="57884" y="64249"/>
                      </a:cubicBezTo>
                      <a:cubicBezTo>
                        <a:pt x="57039" y="66685"/>
                        <a:pt x="54856" y="68412"/>
                        <a:pt x="52291" y="68680"/>
                      </a:cubicBezTo>
                      <a:cubicBezTo>
                        <a:pt x="49568" y="68960"/>
                        <a:pt x="46936" y="69103"/>
                        <a:pt x="44406" y="69103"/>
                      </a:cubicBezTo>
                      <a:close/>
                      <a:moveTo>
                        <a:pt x="51605" y="62061"/>
                      </a:moveTo>
                      <a:lnTo>
                        <a:pt x="51669" y="62061"/>
                      </a:lnTo>
                      <a:lnTo>
                        <a:pt x="51605" y="62061"/>
                      </a:lnTo>
                      <a:close/>
                      <a:moveTo>
                        <a:pt x="13521" y="13992"/>
                      </a:moveTo>
                      <a:cubicBezTo>
                        <a:pt x="12887" y="22532"/>
                        <a:pt x="13157" y="38072"/>
                        <a:pt x="21828" y="47497"/>
                      </a:cubicBezTo>
                      <a:cubicBezTo>
                        <a:pt x="27260" y="53402"/>
                        <a:pt x="35529" y="56215"/>
                        <a:pt x="46611" y="55754"/>
                      </a:cubicBezTo>
                      <a:cubicBezTo>
                        <a:pt x="49538" y="45115"/>
                        <a:pt x="48743" y="36377"/>
                        <a:pt x="44237" y="29743"/>
                      </a:cubicBezTo>
                      <a:cubicBezTo>
                        <a:pt x="37043" y="19147"/>
                        <a:pt x="21979" y="15330"/>
                        <a:pt x="13521" y="13992"/>
                      </a:cubicBezTo>
                      <a:close/>
                    </a:path>
                  </a:pathLst>
                </a:custGeom>
                <a:grpFill/>
                <a:ln w="247" cap="flat">
                  <a:noFill/>
                  <a:prstDash val="solid"/>
                  <a:miter/>
                </a:ln>
              </p:spPr>
              <p:txBody>
                <a:bodyPr rtlCol="0" anchor="ctr"/>
                <a:lstStyle/>
                <a:p>
                  <a:endParaRPr lang="en-GB" dirty="0"/>
                </a:p>
              </p:txBody>
            </p:sp>
            <p:sp>
              <p:nvSpPr>
                <p:cNvPr id="518" name="Freihandform: Form 570">
                  <a:extLst>
                    <a:ext uri="{FF2B5EF4-FFF2-40B4-BE49-F238E27FC236}">
                      <a16:creationId xmlns:a16="http://schemas.microsoft.com/office/drawing/2014/main" id="{9BAF927A-D797-4737-8910-2C9056B39AEE}"/>
                    </a:ext>
                  </a:extLst>
                </p:cNvPr>
                <p:cNvSpPr/>
                <p:nvPr/>
              </p:nvSpPr>
              <p:spPr>
                <a:xfrm>
                  <a:off x="6119084" y="1626759"/>
                  <a:ext cx="56903" cy="79172"/>
                </a:xfrm>
                <a:custGeom>
                  <a:avLst/>
                  <a:gdLst>
                    <a:gd name="connsiteX0" fmla="*/ 40114 w 56903"/>
                    <a:gd name="connsiteY0" fmla="*/ 79172 h 79172"/>
                    <a:gd name="connsiteX1" fmla="*/ 38828 w 56903"/>
                    <a:gd name="connsiteY1" fmla="*/ 79046 h 79172"/>
                    <a:gd name="connsiteX2" fmla="*/ 3896 w 56903"/>
                    <a:gd name="connsiteY2" fmla="*/ 55523 h 79172"/>
                    <a:gd name="connsiteX3" fmla="*/ 8560 w 56903"/>
                    <a:gd name="connsiteY3" fmla="*/ 3527 h 79172"/>
                    <a:gd name="connsiteX4" fmla="*/ 16641 w 56903"/>
                    <a:gd name="connsiteY4" fmla="*/ 377 h 79172"/>
                    <a:gd name="connsiteX5" fmla="*/ 55266 w 56903"/>
                    <a:gd name="connsiteY5" fmla="*/ 35497 h 79172"/>
                    <a:gd name="connsiteX6" fmla="*/ 45474 w 56903"/>
                    <a:gd name="connsiteY6" fmla="*/ 76456 h 79172"/>
                    <a:gd name="connsiteX7" fmla="*/ 40114 w 56903"/>
                    <a:gd name="connsiteY7" fmla="*/ 79172 h 79172"/>
                    <a:gd name="connsiteX8" fmla="*/ 17851 w 56903"/>
                    <a:gd name="connsiteY8" fmla="*/ 15338 h 79172"/>
                    <a:gd name="connsiteX9" fmla="*/ 15930 w 56903"/>
                    <a:gd name="connsiteY9" fmla="*/ 49846 h 79172"/>
                    <a:gd name="connsiteX10" fmla="*/ 37190 w 56903"/>
                    <a:gd name="connsiteY10" fmla="*/ 65022 h 79172"/>
                    <a:gd name="connsiteX11" fmla="*/ 42555 w 56903"/>
                    <a:gd name="connsiteY11" fmla="*/ 39420 h 79172"/>
                    <a:gd name="connsiteX12" fmla="*/ 17851 w 56903"/>
                    <a:gd name="connsiteY12" fmla="*/ 15338 h 79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03" h="79172">
                      <a:moveTo>
                        <a:pt x="40114" y="79172"/>
                      </a:moveTo>
                      <a:cubicBezTo>
                        <a:pt x="39688" y="79172"/>
                        <a:pt x="39257" y="79130"/>
                        <a:pt x="38828" y="79046"/>
                      </a:cubicBezTo>
                      <a:cubicBezTo>
                        <a:pt x="21444" y="75626"/>
                        <a:pt x="9693" y="67711"/>
                        <a:pt x="3896" y="55523"/>
                      </a:cubicBezTo>
                      <a:cubicBezTo>
                        <a:pt x="-6832" y="32955"/>
                        <a:pt x="7928" y="4719"/>
                        <a:pt x="8560" y="3527"/>
                      </a:cubicBezTo>
                      <a:cubicBezTo>
                        <a:pt x="10106" y="628"/>
                        <a:pt x="13546" y="-713"/>
                        <a:pt x="16641" y="377"/>
                      </a:cubicBezTo>
                      <a:cubicBezTo>
                        <a:pt x="17915" y="826"/>
                        <a:pt x="47888" y="11618"/>
                        <a:pt x="55266" y="35497"/>
                      </a:cubicBezTo>
                      <a:cubicBezTo>
                        <a:pt x="59250" y="48389"/>
                        <a:pt x="55957" y="62172"/>
                        <a:pt x="45474" y="76456"/>
                      </a:cubicBezTo>
                      <a:cubicBezTo>
                        <a:pt x="44211" y="78181"/>
                        <a:pt x="42206" y="79172"/>
                        <a:pt x="40114" y="79172"/>
                      </a:cubicBezTo>
                      <a:close/>
                      <a:moveTo>
                        <a:pt x="17851" y="15338"/>
                      </a:moveTo>
                      <a:cubicBezTo>
                        <a:pt x="14736" y="23305"/>
                        <a:pt x="10401" y="38270"/>
                        <a:pt x="15930" y="49846"/>
                      </a:cubicBezTo>
                      <a:cubicBezTo>
                        <a:pt x="19387" y="57087"/>
                        <a:pt x="26529" y="62179"/>
                        <a:pt x="37190" y="65022"/>
                      </a:cubicBezTo>
                      <a:cubicBezTo>
                        <a:pt x="43125" y="55697"/>
                        <a:pt x="44932" y="47098"/>
                        <a:pt x="42555" y="39420"/>
                      </a:cubicBezTo>
                      <a:cubicBezTo>
                        <a:pt x="38992" y="27885"/>
                        <a:pt x="26375" y="19523"/>
                        <a:pt x="17851" y="15338"/>
                      </a:cubicBezTo>
                      <a:close/>
                    </a:path>
                  </a:pathLst>
                </a:custGeom>
                <a:grpFill/>
                <a:ln w="247" cap="flat">
                  <a:noFill/>
                  <a:prstDash val="solid"/>
                  <a:miter/>
                </a:ln>
              </p:spPr>
              <p:txBody>
                <a:bodyPr rtlCol="0" anchor="ctr"/>
                <a:lstStyle/>
                <a:p>
                  <a:endParaRPr lang="en-GB" dirty="0"/>
                </a:p>
              </p:txBody>
            </p:sp>
          </p:grpSp>
          <p:sp>
            <p:nvSpPr>
              <p:cNvPr id="513" name="Freihandform: Form 572">
                <a:extLst>
                  <a:ext uri="{FF2B5EF4-FFF2-40B4-BE49-F238E27FC236}">
                    <a16:creationId xmlns:a16="http://schemas.microsoft.com/office/drawing/2014/main" id="{FC0A438F-171B-4330-AC9F-9E6A7D0E41EC}"/>
                  </a:ext>
                </a:extLst>
              </p:cNvPr>
              <p:cNvSpPr/>
              <p:nvPr/>
            </p:nvSpPr>
            <p:spPr>
              <a:xfrm>
                <a:off x="6198290" y="1700197"/>
                <a:ext cx="199566" cy="13302"/>
              </a:xfrm>
              <a:custGeom>
                <a:avLst/>
                <a:gdLst>
                  <a:gd name="connsiteX0" fmla="*/ 192915 w 199566"/>
                  <a:gd name="connsiteY0" fmla="*/ 13303 h 13302"/>
                  <a:gd name="connsiteX1" fmla="*/ 6651 w 199566"/>
                  <a:gd name="connsiteY1" fmla="*/ 13303 h 13302"/>
                  <a:gd name="connsiteX2" fmla="*/ 0 w 199566"/>
                  <a:gd name="connsiteY2" fmla="*/ 6651 h 13302"/>
                  <a:gd name="connsiteX3" fmla="*/ 6651 w 199566"/>
                  <a:gd name="connsiteY3" fmla="*/ 0 h 13302"/>
                  <a:gd name="connsiteX4" fmla="*/ 192915 w 199566"/>
                  <a:gd name="connsiteY4" fmla="*/ 0 h 13302"/>
                  <a:gd name="connsiteX5" fmla="*/ 199567 w 199566"/>
                  <a:gd name="connsiteY5" fmla="*/ 6651 h 13302"/>
                  <a:gd name="connsiteX6" fmla="*/ 192915 w 199566"/>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566" h="13302">
                    <a:moveTo>
                      <a:pt x="192915" y="13303"/>
                    </a:moveTo>
                    <a:lnTo>
                      <a:pt x="6651" y="13303"/>
                    </a:lnTo>
                    <a:cubicBezTo>
                      <a:pt x="2979" y="13303"/>
                      <a:pt x="0" y="10324"/>
                      <a:pt x="0" y="6651"/>
                    </a:cubicBezTo>
                    <a:cubicBezTo>
                      <a:pt x="0" y="2979"/>
                      <a:pt x="2979" y="0"/>
                      <a:pt x="6651" y="0"/>
                    </a:cubicBezTo>
                    <a:lnTo>
                      <a:pt x="192915" y="0"/>
                    </a:lnTo>
                    <a:cubicBezTo>
                      <a:pt x="196588" y="0"/>
                      <a:pt x="199567" y="2979"/>
                      <a:pt x="199567" y="6651"/>
                    </a:cubicBezTo>
                    <a:cubicBezTo>
                      <a:pt x="199569" y="10324"/>
                      <a:pt x="196590" y="13303"/>
                      <a:pt x="192915" y="13303"/>
                    </a:cubicBezTo>
                    <a:close/>
                  </a:path>
                </a:pathLst>
              </a:custGeom>
              <a:grpFill/>
              <a:ln w="247" cap="flat">
                <a:noFill/>
                <a:prstDash val="solid"/>
                <a:miter/>
              </a:ln>
            </p:spPr>
            <p:txBody>
              <a:bodyPr rtlCol="0" anchor="ctr"/>
              <a:lstStyle/>
              <a:p>
                <a:endParaRPr lang="en-GB" dirty="0"/>
              </a:p>
            </p:txBody>
          </p:sp>
          <p:sp>
            <p:nvSpPr>
              <p:cNvPr id="514" name="Freihandform: Form 573">
                <a:extLst>
                  <a:ext uri="{FF2B5EF4-FFF2-40B4-BE49-F238E27FC236}">
                    <a16:creationId xmlns:a16="http://schemas.microsoft.com/office/drawing/2014/main" id="{9CF24942-4661-427D-A032-3B58CEED27D5}"/>
                  </a:ext>
                </a:extLst>
              </p:cNvPr>
              <p:cNvSpPr/>
              <p:nvPr/>
            </p:nvSpPr>
            <p:spPr>
              <a:xfrm>
                <a:off x="6224900" y="1913071"/>
                <a:ext cx="199566" cy="13302"/>
              </a:xfrm>
              <a:custGeom>
                <a:avLst/>
                <a:gdLst>
                  <a:gd name="connsiteX0" fmla="*/ 192915 w 199566"/>
                  <a:gd name="connsiteY0" fmla="*/ 13303 h 13302"/>
                  <a:gd name="connsiteX1" fmla="*/ 6651 w 199566"/>
                  <a:gd name="connsiteY1" fmla="*/ 13303 h 13302"/>
                  <a:gd name="connsiteX2" fmla="*/ 0 w 199566"/>
                  <a:gd name="connsiteY2" fmla="*/ 6651 h 13302"/>
                  <a:gd name="connsiteX3" fmla="*/ 6651 w 199566"/>
                  <a:gd name="connsiteY3" fmla="*/ 0 h 13302"/>
                  <a:gd name="connsiteX4" fmla="*/ 192915 w 199566"/>
                  <a:gd name="connsiteY4" fmla="*/ 0 h 13302"/>
                  <a:gd name="connsiteX5" fmla="*/ 199567 w 199566"/>
                  <a:gd name="connsiteY5" fmla="*/ 6651 h 13302"/>
                  <a:gd name="connsiteX6" fmla="*/ 192915 w 199566"/>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566" h="13302">
                    <a:moveTo>
                      <a:pt x="192915" y="13303"/>
                    </a:moveTo>
                    <a:lnTo>
                      <a:pt x="6651" y="13303"/>
                    </a:lnTo>
                    <a:cubicBezTo>
                      <a:pt x="2979" y="13303"/>
                      <a:pt x="0" y="10324"/>
                      <a:pt x="0" y="6651"/>
                    </a:cubicBezTo>
                    <a:cubicBezTo>
                      <a:pt x="0" y="2979"/>
                      <a:pt x="2979" y="0"/>
                      <a:pt x="6651" y="0"/>
                    </a:cubicBezTo>
                    <a:lnTo>
                      <a:pt x="192915" y="0"/>
                    </a:lnTo>
                    <a:cubicBezTo>
                      <a:pt x="196588" y="0"/>
                      <a:pt x="199567" y="2979"/>
                      <a:pt x="199567" y="6651"/>
                    </a:cubicBezTo>
                    <a:cubicBezTo>
                      <a:pt x="199569" y="10324"/>
                      <a:pt x="196590" y="13303"/>
                      <a:pt x="192915" y="13303"/>
                    </a:cubicBezTo>
                    <a:close/>
                  </a:path>
                </a:pathLst>
              </a:custGeom>
              <a:grpFill/>
              <a:ln w="247" cap="flat">
                <a:noFill/>
                <a:prstDash val="solid"/>
                <a:miter/>
              </a:ln>
            </p:spPr>
            <p:txBody>
              <a:bodyPr rtlCol="0" anchor="ctr"/>
              <a:lstStyle/>
              <a:p>
                <a:endParaRPr lang="en-GB" dirty="0"/>
              </a:p>
            </p:txBody>
          </p:sp>
        </p:grpSp>
        <p:grpSp>
          <p:nvGrpSpPr>
            <p:cNvPr id="501" name="Gruppieren 865">
              <a:extLst>
                <a:ext uri="{FF2B5EF4-FFF2-40B4-BE49-F238E27FC236}">
                  <a16:creationId xmlns:a16="http://schemas.microsoft.com/office/drawing/2014/main" id="{3A9FC912-66FA-4FD4-B6EA-77977006034D}"/>
                </a:ext>
              </a:extLst>
            </p:cNvPr>
            <p:cNvGrpSpPr/>
            <p:nvPr/>
          </p:nvGrpSpPr>
          <p:grpSpPr>
            <a:xfrm>
              <a:off x="7214566" y="3308533"/>
              <a:ext cx="169667" cy="131376"/>
              <a:chOff x="6225317" y="1740110"/>
              <a:chExt cx="172539" cy="133600"/>
            </a:xfrm>
          </p:grpSpPr>
          <p:sp>
            <p:nvSpPr>
              <p:cNvPr id="502" name="Freihandform: Form 571">
                <a:extLst>
                  <a:ext uri="{FF2B5EF4-FFF2-40B4-BE49-F238E27FC236}">
                    <a16:creationId xmlns:a16="http://schemas.microsoft.com/office/drawing/2014/main" id="{C21FB152-E7B8-4422-A20F-AEF12B80B05F}"/>
                  </a:ext>
                </a:extLst>
              </p:cNvPr>
              <p:cNvSpPr/>
              <p:nvPr/>
            </p:nvSpPr>
            <p:spPr>
              <a:xfrm>
                <a:off x="6247747" y="1780020"/>
                <a:ext cx="128711" cy="93690"/>
              </a:xfrm>
              <a:custGeom>
                <a:avLst/>
                <a:gdLst>
                  <a:gd name="connsiteX0" fmla="*/ 64357 w 128711"/>
                  <a:gd name="connsiteY0" fmla="*/ 93691 h 93690"/>
                  <a:gd name="connsiteX1" fmla="*/ 14140 w 128711"/>
                  <a:gd name="connsiteY1" fmla="*/ 86928 h 93690"/>
                  <a:gd name="connsiteX2" fmla="*/ 9719 w 128711"/>
                  <a:gd name="connsiteY2" fmla="*/ 81776 h 93690"/>
                  <a:gd name="connsiteX3" fmla="*/ 101 w 128711"/>
                  <a:gd name="connsiteY3" fmla="*/ 27036 h 93690"/>
                  <a:gd name="connsiteX4" fmla="*/ 3132 w 128711"/>
                  <a:gd name="connsiteY4" fmla="*/ 20244 h 93690"/>
                  <a:gd name="connsiteX5" fmla="*/ 10566 w 128711"/>
                  <a:gd name="connsiteY5" fmla="*/ 20507 h 93690"/>
                  <a:gd name="connsiteX6" fmla="*/ 39476 w 128711"/>
                  <a:gd name="connsiteY6" fmla="*/ 41536 h 93690"/>
                  <a:gd name="connsiteX7" fmla="*/ 58407 w 128711"/>
                  <a:gd name="connsiteY7" fmla="*/ 3678 h 93690"/>
                  <a:gd name="connsiteX8" fmla="*/ 64357 w 128711"/>
                  <a:gd name="connsiteY8" fmla="*/ 0 h 93690"/>
                  <a:gd name="connsiteX9" fmla="*/ 64357 w 128711"/>
                  <a:gd name="connsiteY9" fmla="*/ 0 h 93690"/>
                  <a:gd name="connsiteX10" fmla="*/ 70307 w 128711"/>
                  <a:gd name="connsiteY10" fmla="*/ 3678 h 93690"/>
                  <a:gd name="connsiteX11" fmla="*/ 89235 w 128711"/>
                  <a:gd name="connsiteY11" fmla="*/ 41536 h 93690"/>
                  <a:gd name="connsiteX12" fmla="*/ 118145 w 128711"/>
                  <a:gd name="connsiteY12" fmla="*/ 20507 h 93690"/>
                  <a:gd name="connsiteX13" fmla="*/ 125579 w 128711"/>
                  <a:gd name="connsiteY13" fmla="*/ 20244 h 93690"/>
                  <a:gd name="connsiteX14" fmla="*/ 128610 w 128711"/>
                  <a:gd name="connsiteY14" fmla="*/ 27036 h 93690"/>
                  <a:gd name="connsiteX15" fmla="*/ 118992 w 128711"/>
                  <a:gd name="connsiteY15" fmla="*/ 81776 h 93690"/>
                  <a:gd name="connsiteX16" fmla="*/ 114571 w 128711"/>
                  <a:gd name="connsiteY16" fmla="*/ 86928 h 93690"/>
                  <a:gd name="connsiteX17" fmla="*/ 64357 w 128711"/>
                  <a:gd name="connsiteY17" fmla="*/ 93691 h 93690"/>
                  <a:gd name="connsiteX18" fmla="*/ 22105 w 128711"/>
                  <a:gd name="connsiteY18" fmla="*/ 75380 h 93690"/>
                  <a:gd name="connsiteX19" fmla="*/ 64357 w 128711"/>
                  <a:gd name="connsiteY19" fmla="*/ 80386 h 93690"/>
                  <a:gd name="connsiteX20" fmla="*/ 106606 w 128711"/>
                  <a:gd name="connsiteY20" fmla="*/ 75387 h 93690"/>
                  <a:gd name="connsiteX21" fmla="*/ 112658 w 128711"/>
                  <a:gd name="connsiteY21" fmla="*/ 40954 h 93690"/>
                  <a:gd name="connsiteX22" fmla="*/ 90709 w 128711"/>
                  <a:gd name="connsiteY22" fmla="*/ 56915 h 93690"/>
                  <a:gd name="connsiteX23" fmla="*/ 85220 w 128711"/>
                  <a:gd name="connsiteY23" fmla="*/ 58001 h 93690"/>
                  <a:gd name="connsiteX24" fmla="*/ 80844 w 128711"/>
                  <a:gd name="connsiteY24" fmla="*/ 54512 h 93690"/>
                  <a:gd name="connsiteX25" fmla="*/ 64357 w 128711"/>
                  <a:gd name="connsiteY25" fmla="*/ 21530 h 93690"/>
                  <a:gd name="connsiteX26" fmla="*/ 47865 w 128711"/>
                  <a:gd name="connsiteY26" fmla="*/ 54512 h 93690"/>
                  <a:gd name="connsiteX27" fmla="*/ 43488 w 128711"/>
                  <a:gd name="connsiteY27" fmla="*/ 58001 h 93690"/>
                  <a:gd name="connsiteX28" fmla="*/ 37999 w 128711"/>
                  <a:gd name="connsiteY28" fmla="*/ 56915 h 93690"/>
                  <a:gd name="connsiteX29" fmla="*/ 16051 w 128711"/>
                  <a:gd name="connsiteY29" fmla="*/ 40951 h 93690"/>
                  <a:gd name="connsiteX30" fmla="*/ 22105 w 128711"/>
                  <a:gd name="connsiteY30" fmla="*/ 75380 h 9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8711" h="93690">
                    <a:moveTo>
                      <a:pt x="64357" y="93691"/>
                    </a:moveTo>
                    <a:cubicBezTo>
                      <a:pt x="34485" y="93691"/>
                      <a:pt x="14958" y="87203"/>
                      <a:pt x="14140" y="86928"/>
                    </a:cubicBezTo>
                    <a:cubicBezTo>
                      <a:pt x="11838" y="86147"/>
                      <a:pt x="10140" y="84175"/>
                      <a:pt x="9719" y="81776"/>
                    </a:cubicBezTo>
                    <a:lnTo>
                      <a:pt x="101" y="27036"/>
                    </a:lnTo>
                    <a:cubicBezTo>
                      <a:pt x="-370" y="24367"/>
                      <a:pt x="830" y="21681"/>
                      <a:pt x="3132" y="20244"/>
                    </a:cubicBezTo>
                    <a:cubicBezTo>
                      <a:pt x="5432" y="18804"/>
                      <a:pt x="8378" y="18913"/>
                      <a:pt x="10566" y="20507"/>
                    </a:cubicBezTo>
                    <a:lnTo>
                      <a:pt x="39476" y="41536"/>
                    </a:lnTo>
                    <a:lnTo>
                      <a:pt x="58407" y="3678"/>
                    </a:lnTo>
                    <a:cubicBezTo>
                      <a:pt x="59534" y="1422"/>
                      <a:pt x="61836" y="0"/>
                      <a:pt x="64357" y="0"/>
                    </a:cubicBezTo>
                    <a:lnTo>
                      <a:pt x="64357" y="0"/>
                    </a:lnTo>
                    <a:cubicBezTo>
                      <a:pt x="66877" y="0"/>
                      <a:pt x="69179" y="1422"/>
                      <a:pt x="70307" y="3678"/>
                    </a:cubicBezTo>
                    <a:lnTo>
                      <a:pt x="89235" y="41536"/>
                    </a:lnTo>
                    <a:lnTo>
                      <a:pt x="118145" y="20507"/>
                    </a:lnTo>
                    <a:cubicBezTo>
                      <a:pt x="120338" y="18906"/>
                      <a:pt x="123287" y="18804"/>
                      <a:pt x="125579" y="20244"/>
                    </a:cubicBezTo>
                    <a:cubicBezTo>
                      <a:pt x="127881" y="21679"/>
                      <a:pt x="129081" y="24365"/>
                      <a:pt x="128610" y="27036"/>
                    </a:cubicBezTo>
                    <a:lnTo>
                      <a:pt x="118992" y="81776"/>
                    </a:lnTo>
                    <a:cubicBezTo>
                      <a:pt x="118571" y="84172"/>
                      <a:pt x="116873" y="86147"/>
                      <a:pt x="114571" y="86928"/>
                    </a:cubicBezTo>
                    <a:cubicBezTo>
                      <a:pt x="113751" y="87203"/>
                      <a:pt x="94223" y="93691"/>
                      <a:pt x="64357" y="93691"/>
                    </a:cubicBezTo>
                    <a:close/>
                    <a:moveTo>
                      <a:pt x="22105" y="75380"/>
                    </a:moveTo>
                    <a:cubicBezTo>
                      <a:pt x="28783" y="77117"/>
                      <a:pt x="44046" y="80386"/>
                      <a:pt x="64357" y="80386"/>
                    </a:cubicBezTo>
                    <a:cubicBezTo>
                      <a:pt x="84774" y="80386"/>
                      <a:pt x="99960" y="77124"/>
                      <a:pt x="106606" y="75387"/>
                    </a:cubicBezTo>
                    <a:lnTo>
                      <a:pt x="112658" y="40954"/>
                    </a:lnTo>
                    <a:lnTo>
                      <a:pt x="90709" y="56915"/>
                    </a:lnTo>
                    <a:cubicBezTo>
                      <a:pt x="89128" y="58068"/>
                      <a:pt x="87116" y="58469"/>
                      <a:pt x="85220" y="58001"/>
                    </a:cubicBezTo>
                    <a:cubicBezTo>
                      <a:pt x="83319" y="57537"/>
                      <a:pt x="81719" y="56259"/>
                      <a:pt x="80844" y="54512"/>
                    </a:cubicBezTo>
                    <a:lnTo>
                      <a:pt x="64357" y="21530"/>
                    </a:lnTo>
                    <a:lnTo>
                      <a:pt x="47865" y="54512"/>
                    </a:lnTo>
                    <a:cubicBezTo>
                      <a:pt x="46990" y="56259"/>
                      <a:pt x="45389" y="57535"/>
                      <a:pt x="43488" y="58001"/>
                    </a:cubicBezTo>
                    <a:cubicBezTo>
                      <a:pt x="41595" y="58464"/>
                      <a:pt x="39588" y="58070"/>
                      <a:pt x="37999" y="56915"/>
                    </a:cubicBezTo>
                    <a:lnTo>
                      <a:pt x="16051" y="40951"/>
                    </a:lnTo>
                    <a:lnTo>
                      <a:pt x="22105" y="75380"/>
                    </a:lnTo>
                    <a:close/>
                  </a:path>
                </a:pathLst>
              </a:custGeom>
              <a:solidFill>
                <a:schemeClr val="accent1"/>
              </a:solidFill>
              <a:ln w="247" cap="flat">
                <a:noFill/>
                <a:prstDash val="solid"/>
                <a:miter/>
              </a:ln>
            </p:spPr>
            <p:txBody>
              <a:bodyPr rtlCol="0" anchor="ctr"/>
              <a:lstStyle/>
              <a:p>
                <a:endParaRPr lang="en-GB" dirty="0"/>
              </a:p>
            </p:txBody>
          </p:sp>
          <p:sp>
            <p:nvSpPr>
              <p:cNvPr id="503" name="Freihandform: Form 574">
                <a:extLst>
                  <a:ext uri="{FF2B5EF4-FFF2-40B4-BE49-F238E27FC236}">
                    <a16:creationId xmlns:a16="http://schemas.microsoft.com/office/drawing/2014/main" id="{4E76120F-FBC7-4621-B3F6-984581ED5EEC}"/>
                  </a:ext>
                </a:extLst>
              </p:cNvPr>
              <p:cNvSpPr/>
              <p:nvPr/>
            </p:nvSpPr>
            <p:spPr>
              <a:xfrm>
                <a:off x="6225317" y="1830334"/>
                <a:ext cx="16211" cy="13302"/>
              </a:xfrm>
              <a:custGeom>
                <a:avLst/>
                <a:gdLst>
                  <a:gd name="connsiteX0" fmla="*/ 9561 w 16211"/>
                  <a:gd name="connsiteY0" fmla="*/ 13303 h 13302"/>
                  <a:gd name="connsiteX1" fmla="*/ 6651 w 16211"/>
                  <a:gd name="connsiteY1" fmla="*/ 13303 h 13302"/>
                  <a:gd name="connsiteX2" fmla="*/ 0 w 16211"/>
                  <a:gd name="connsiteY2" fmla="*/ 6651 h 13302"/>
                  <a:gd name="connsiteX3" fmla="*/ 6651 w 16211"/>
                  <a:gd name="connsiteY3" fmla="*/ 0 h 13302"/>
                  <a:gd name="connsiteX4" fmla="*/ 9561 w 16211"/>
                  <a:gd name="connsiteY4" fmla="*/ 0 h 13302"/>
                  <a:gd name="connsiteX5" fmla="*/ 16212 w 16211"/>
                  <a:gd name="connsiteY5" fmla="*/ 6651 h 13302"/>
                  <a:gd name="connsiteX6" fmla="*/ 9561 w 16211"/>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11" h="13302">
                    <a:moveTo>
                      <a:pt x="9561" y="13303"/>
                    </a:moveTo>
                    <a:lnTo>
                      <a:pt x="6651" y="13303"/>
                    </a:lnTo>
                    <a:cubicBezTo>
                      <a:pt x="2979" y="13303"/>
                      <a:pt x="0" y="10324"/>
                      <a:pt x="0" y="6651"/>
                    </a:cubicBezTo>
                    <a:cubicBezTo>
                      <a:pt x="0" y="2979"/>
                      <a:pt x="2979" y="0"/>
                      <a:pt x="6651" y="0"/>
                    </a:cubicBezTo>
                    <a:lnTo>
                      <a:pt x="9561" y="0"/>
                    </a:lnTo>
                    <a:cubicBezTo>
                      <a:pt x="13233" y="0"/>
                      <a:pt x="16212" y="2979"/>
                      <a:pt x="16212" y="6651"/>
                    </a:cubicBezTo>
                    <a:cubicBezTo>
                      <a:pt x="16214" y="10324"/>
                      <a:pt x="13236" y="13303"/>
                      <a:pt x="9561" y="13303"/>
                    </a:cubicBezTo>
                    <a:close/>
                  </a:path>
                </a:pathLst>
              </a:custGeom>
              <a:solidFill>
                <a:schemeClr val="accent1"/>
              </a:solidFill>
              <a:ln w="247" cap="flat">
                <a:noFill/>
                <a:prstDash val="solid"/>
                <a:miter/>
              </a:ln>
            </p:spPr>
            <p:txBody>
              <a:bodyPr rtlCol="0" anchor="ctr"/>
              <a:lstStyle/>
              <a:p>
                <a:endParaRPr lang="en-GB" dirty="0"/>
              </a:p>
            </p:txBody>
          </p:sp>
          <p:sp>
            <p:nvSpPr>
              <p:cNvPr id="504" name="Freihandform: Form 575">
                <a:extLst>
                  <a:ext uri="{FF2B5EF4-FFF2-40B4-BE49-F238E27FC236}">
                    <a16:creationId xmlns:a16="http://schemas.microsoft.com/office/drawing/2014/main" id="{BEC02A48-26ED-4709-AD2E-0A51F59053B9}"/>
                  </a:ext>
                </a:extLst>
              </p:cNvPr>
              <p:cNvSpPr/>
              <p:nvPr/>
            </p:nvSpPr>
            <p:spPr>
              <a:xfrm>
                <a:off x="6381645" y="1830334"/>
                <a:ext cx="16211" cy="13302"/>
              </a:xfrm>
              <a:custGeom>
                <a:avLst/>
                <a:gdLst>
                  <a:gd name="connsiteX0" fmla="*/ 9561 w 16211"/>
                  <a:gd name="connsiteY0" fmla="*/ 13303 h 13302"/>
                  <a:gd name="connsiteX1" fmla="*/ 6651 w 16211"/>
                  <a:gd name="connsiteY1" fmla="*/ 13303 h 13302"/>
                  <a:gd name="connsiteX2" fmla="*/ 0 w 16211"/>
                  <a:gd name="connsiteY2" fmla="*/ 6651 h 13302"/>
                  <a:gd name="connsiteX3" fmla="*/ 6651 w 16211"/>
                  <a:gd name="connsiteY3" fmla="*/ 0 h 13302"/>
                  <a:gd name="connsiteX4" fmla="*/ 9561 w 16211"/>
                  <a:gd name="connsiteY4" fmla="*/ 0 h 13302"/>
                  <a:gd name="connsiteX5" fmla="*/ 16212 w 16211"/>
                  <a:gd name="connsiteY5" fmla="*/ 6651 h 13302"/>
                  <a:gd name="connsiteX6" fmla="*/ 9561 w 16211"/>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11" h="13302">
                    <a:moveTo>
                      <a:pt x="9561" y="13303"/>
                    </a:moveTo>
                    <a:lnTo>
                      <a:pt x="6651" y="13303"/>
                    </a:lnTo>
                    <a:cubicBezTo>
                      <a:pt x="2979" y="13303"/>
                      <a:pt x="0" y="10324"/>
                      <a:pt x="0" y="6651"/>
                    </a:cubicBezTo>
                    <a:cubicBezTo>
                      <a:pt x="0" y="2979"/>
                      <a:pt x="2979" y="0"/>
                      <a:pt x="6651" y="0"/>
                    </a:cubicBezTo>
                    <a:lnTo>
                      <a:pt x="9561" y="0"/>
                    </a:lnTo>
                    <a:cubicBezTo>
                      <a:pt x="13233" y="0"/>
                      <a:pt x="16212" y="2979"/>
                      <a:pt x="16212" y="6651"/>
                    </a:cubicBezTo>
                    <a:cubicBezTo>
                      <a:pt x="16214" y="10324"/>
                      <a:pt x="13236" y="13303"/>
                      <a:pt x="9561" y="13303"/>
                    </a:cubicBezTo>
                    <a:close/>
                  </a:path>
                </a:pathLst>
              </a:custGeom>
              <a:solidFill>
                <a:schemeClr val="accent1"/>
              </a:solidFill>
              <a:ln w="247" cap="flat">
                <a:noFill/>
                <a:prstDash val="solid"/>
                <a:miter/>
              </a:ln>
            </p:spPr>
            <p:txBody>
              <a:bodyPr rtlCol="0" anchor="ctr"/>
              <a:lstStyle/>
              <a:p>
                <a:endParaRPr lang="en-GB" dirty="0"/>
              </a:p>
            </p:txBody>
          </p:sp>
          <p:sp>
            <p:nvSpPr>
              <p:cNvPr id="505" name="Freihandform: Form 576">
                <a:extLst>
                  <a:ext uri="{FF2B5EF4-FFF2-40B4-BE49-F238E27FC236}">
                    <a16:creationId xmlns:a16="http://schemas.microsoft.com/office/drawing/2014/main" id="{B9EB7791-59D4-4247-87D6-5C0ADE07F599}"/>
                  </a:ext>
                </a:extLst>
              </p:cNvPr>
              <p:cNvSpPr/>
              <p:nvPr/>
            </p:nvSpPr>
            <p:spPr>
              <a:xfrm>
                <a:off x="6304729" y="1740110"/>
                <a:ext cx="13302" cy="26607"/>
              </a:xfrm>
              <a:custGeom>
                <a:avLst/>
                <a:gdLst>
                  <a:gd name="connsiteX0" fmla="*/ 6651 w 13302"/>
                  <a:gd name="connsiteY0" fmla="*/ 26608 h 26607"/>
                  <a:gd name="connsiteX1" fmla="*/ 0 w 13302"/>
                  <a:gd name="connsiteY1" fmla="*/ 19956 h 26607"/>
                  <a:gd name="connsiteX2" fmla="*/ 0 w 13302"/>
                  <a:gd name="connsiteY2" fmla="*/ 6651 h 26607"/>
                  <a:gd name="connsiteX3" fmla="*/ 6651 w 13302"/>
                  <a:gd name="connsiteY3" fmla="*/ 0 h 26607"/>
                  <a:gd name="connsiteX4" fmla="*/ 13303 w 13302"/>
                  <a:gd name="connsiteY4" fmla="*/ 6651 h 26607"/>
                  <a:gd name="connsiteX5" fmla="*/ 13303 w 13302"/>
                  <a:gd name="connsiteY5" fmla="*/ 19956 h 26607"/>
                  <a:gd name="connsiteX6" fmla="*/ 6651 w 13302"/>
                  <a:gd name="connsiteY6" fmla="*/ 26608 h 26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02" h="26607">
                    <a:moveTo>
                      <a:pt x="6651" y="26608"/>
                    </a:moveTo>
                    <a:cubicBezTo>
                      <a:pt x="2979" y="26608"/>
                      <a:pt x="0" y="23629"/>
                      <a:pt x="0" y="19956"/>
                    </a:cubicBezTo>
                    <a:lnTo>
                      <a:pt x="0" y="6651"/>
                    </a:lnTo>
                    <a:cubicBezTo>
                      <a:pt x="0" y="2979"/>
                      <a:pt x="2979" y="0"/>
                      <a:pt x="6651" y="0"/>
                    </a:cubicBezTo>
                    <a:cubicBezTo>
                      <a:pt x="10324" y="0"/>
                      <a:pt x="13303" y="2979"/>
                      <a:pt x="13303" y="6651"/>
                    </a:cubicBezTo>
                    <a:lnTo>
                      <a:pt x="13303" y="19956"/>
                    </a:lnTo>
                    <a:cubicBezTo>
                      <a:pt x="13303" y="23629"/>
                      <a:pt x="10324" y="26608"/>
                      <a:pt x="6651" y="26608"/>
                    </a:cubicBezTo>
                    <a:close/>
                  </a:path>
                </a:pathLst>
              </a:custGeom>
              <a:solidFill>
                <a:schemeClr val="accent1"/>
              </a:solidFill>
              <a:ln w="247" cap="flat">
                <a:noFill/>
                <a:prstDash val="solid"/>
                <a:miter/>
              </a:ln>
            </p:spPr>
            <p:txBody>
              <a:bodyPr rtlCol="0" anchor="ctr"/>
              <a:lstStyle/>
              <a:p>
                <a:endParaRPr lang="en-GB" dirty="0"/>
              </a:p>
            </p:txBody>
          </p:sp>
          <p:sp>
            <p:nvSpPr>
              <p:cNvPr id="506" name="Freihandform: Form 577">
                <a:extLst>
                  <a:ext uri="{FF2B5EF4-FFF2-40B4-BE49-F238E27FC236}">
                    <a16:creationId xmlns:a16="http://schemas.microsoft.com/office/drawing/2014/main" id="{AAF6F55E-C257-4324-9A2B-39307CDA8E16}"/>
                  </a:ext>
                </a:extLst>
              </p:cNvPr>
              <p:cNvSpPr/>
              <p:nvPr/>
            </p:nvSpPr>
            <p:spPr>
              <a:xfrm>
                <a:off x="6352825" y="1757715"/>
                <a:ext cx="22713" cy="22711"/>
              </a:xfrm>
              <a:custGeom>
                <a:avLst/>
                <a:gdLst>
                  <a:gd name="connsiteX0" fmla="*/ 6653 w 22713"/>
                  <a:gd name="connsiteY0" fmla="*/ 22711 h 22711"/>
                  <a:gd name="connsiteX1" fmla="*/ 1950 w 22713"/>
                  <a:gd name="connsiteY1" fmla="*/ 20764 h 22711"/>
                  <a:gd name="connsiteX2" fmla="*/ 1950 w 22713"/>
                  <a:gd name="connsiteY2" fmla="*/ 11357 h 22711"/>
                  <a:gd name="connsiteX3" fmla="*/ 11357 w 22713"/>
                  <a:gd name="connsiteY3" fmla="*/ 1950 h 22711"/>
                  <a:gd name="connsiteX4" fmla="*/ 20764 w 22713"/>
                  <a:gd name="connsiteY4" fmla="*/ 1950 h 22711"/>
                  <a:gd name="connsiteX5" fmla="*/ 20764 w 22713"/>
                  <a:gd name="connsiteY5" fmla="*/ 11357 h 22711"/>
                  <a:gd name="connsiteX6" fmla="*/ 11357 w 22713"/>
                  <a:gd name="connsiteY6" fmla="*/ 20764 h 22711"/>
                  <a:gd name="connsiteX7" fmla="*/ 6653 w 22713"/>
                  <a:gd name="connsiteY7" fmla="*/ 22711 h 2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13" h="22711">
                    <a:moveTo>
                      <a:pt x="6653" y="22711"/>
                    </a:moveTo>
                    <a:cubicBezTo>
                      <a:pt x="4951" y="22711"/>
                      <a:pt x="3248" y="22062"/>
                      <a:pt x="1950" y="20764"/>
                    </a:cubicBezTo>
                    <a:cubicBezTo>
                      <a:pt x="-650" y="18164"/>
                      <a:pt x="-650" y="13956"/>
                      <a:pt x="1950" y="11357"/>
                    </a:cubicBezTo>
                    <a:lnTo>
                      <a:pt x="11357" y="1950"/>
                    </a:lnTo>
                    <a:cubicBezTo>
                      <a:pt x="13956" y="-650"/>
                      <a:pt x="18164" y="-650"/>
                      <a:pt x="20764" y="1950"/>
                    </a:cubicBezTo>
                    <a:cubicBezTo>
                      <a:pt x="23363" y="4549"/>
                      <a:pt x="23363" y="8757"/>
                      <a:pt x="20764" y="11357"/>
                    </a:cubicBezTo>
                    <a:lnTo>
                      <a:pt x="11357" y="20764"/>
                    </a:lnTo>
                    <a:cubicBezTo>
                      <a:pt x="10058" y="22062"/>
                      <a:pt x="8356" y="22711"/>
                      <a:pt x="6653" y="22711"/>
                    </a:cubicBezTo>
                    <a:close/>
                  </a:path>
                </a:pathLst>
              </a:custGeom>
              <a:solidFill>
                <a:schemeClr val="accent1"/>
              </a:solidFill>
              <a:ln w="247" cap="flat">
                <a:noFill/>
                <a:prstDash val="solid"/>
                <a:miter/>
              </a:ln>
            </p:spPr>
            <p:txBody>
              <a:bodyPr rtlCol="0" anchor="ctr"/>
              <a:lstStyle/>
              <a:p>
                <a:endParaRPr lang="en-GB" dirty="0"/>
              </a:p>
            </p:txBody>
          </p:sp>
          <p:sp>
            <p:nvSpPr>
              <p:cNvPr id="507" name="Freihandform: Form 578">
                <a:extLst>
                  <a:ext uri="{FF2B5EF4-FFF2-40B4-BE49-F238E27FC236}">
                    <a16:creationId xmlns:a16="http://schemas.microsoft.com/office/drawing/2014/main" id="{D75DD83F-ECDA-412B-B369-3088D0AD5A7E}"/>
                  </a:ext>
                </a:extLst>
              </p:cNvPr>
              <p:cNvSpPr/>
              <p:nvPr/>
            </p:nvSpPr>
            <p:spPr>
              <a:xfrm>
                <a:off x="6248337" y="1757715"/>
                <a:ext cx="22713" cy="22711"/>
              </a:xfrm>
              <a:custGeom>
                <a:avLst/>
                <a:gdLst>
                  <a:gd name="connsiteX0" fmla="*/ 16060 w 22713"/>
                  <a:gd name="connsiteY0" fmla="*/ 22711 h 22711"/>
                  <a:gd name="connsiteX1" fmla="*/ 11357 w 22713"/>
                  <a:gd name="connsiteY1" fmla="*/ 20764 h 22711"/>
                  <a:gd name="connsiteX2" fmla="*/ 1950 w 22713"/>
                  <a:gd name="connsiteY2" fmla="*/ 11357 h 22711"/>
                  <a:gd name="connsiteX3" fmla="*/ 1950 w 22713"/>
                  <a:gd name="connsiteY3" fmla="*/ 1950 h 22711"/>
                  <a:gd name="connsiteX4" fmla="*/ 11357 w 22713"/>
                  <a:gd name="connsiteY4" fmla="*/ 1950 h 22711"/>
                  <a:gd name="connsiteX5" fmla="*/ 20764 w 22713"/>
                  <a:gd name="connsiteY5" fmla="*/ 11357 h 22711"/>
                  <a:gd name="connsiteX6" fmla="*/ 20764 w 22713"/>
                  <a:gd name="connsiteY6" fmla="*/ 20764 h 22711"/>
                  <a:gd name="connsiteX7" fmla="*/ 16060 w 22713"/>
                  <a:gd name="connsiteY7" fmla="*/ 22711 h 2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13" h="22711">
                    <a:moveTo>
                      <a:pt x="16060" y="22711"/>
                    </a:moveTo>
                    <a:cubicBezTo>
                      <a:pt x="14358" y="22711"/>
                      <a:pt x="12655" y="22062"/>
                      <a:pt x="11357" y="20764"/>
                    </a:cubicBezTo>
                    <a:lnTo>
                      <a:pt x="1950" y="11357"/>
                    </a:lnTo>
                    <a:cubicBezTo>
                      <a:pt x="-650" y="8757"/>
                      <a:pt x="-650" y="4549"/>
                      <a:pt x="1950" y="1950"/>
                    </a:cubicBezTo>
                    <a:cubicBezTo>
                      <a:pt x="4549" y="-650"/>
                      <a:pt x="8757" y="-650"/>
                      <a:pt x="11357" y="1950"/>
                    </a:cubicBezTo>
                    <a:lnTo>
                      <a:pt x="20764" y="11357"/>
                    </a:lnTo>
                    <a:cubicBezTo>
                      <a:pt x="23363" y="13956"/>
                      <a:pt x="23363" y="18164"/>
                      <a:pt x="20764" y="20764"/>
                    </a:cubicBezTo>
                    <a:cubicBezTo>
                      <a:pt x="19465" y="22062"/>
                      <a:pt x="17763" y="22711"/>
                      <a:pt x="16060" y="22711"/>
                    </a:cubicBezTo>
                    <a:close/>
                  </a:path>
                </a:pathLst>
              </a:custGeom>
              <a:solidFill>
                <a:schemeClr val="accent1"/>
              </a:solidFill>
              <a:ln w="247" cap="flat">
                <a:noFill/>
                <a:prstDash val="solid"/>
                <a:miter/>
              </a:ln>
            </p:spPr>
            <p:txBody>
              <a:bodyPr rtlCol="0" anchor="ctr"/>
              <a:lstStyle/>
              <a:p>
                <a:endParaRPr lang="en-GB" dirty="0"/>
              </a:p>
            </p:txBody>
          </p:sp>
        </p:grpSp>
      </p:grpSp>
      <p:grpSp>
        <p:nvGrpSpPr>
          <p:cNvPr id="637" name="Group 636">
            <a:extLst>
              <a:ext uri="{FF2B5EF4-FFF2-40B4-BE49-F238E27FC236}">
                <a16:creationId xmlns:a16="http://schemas.microsoft.com/office/drawing/2014/main" id="{C4BB029D-8E07-C770-DD37-2F31B891DEA5}"/>
              </a:ext>
            </a:extLst>
          </p:cNvPr>
          <p:cNvGrpSpPr/>
          <p:nvPr/>
        </p:nvGrpSpPr>
        <p:grpSpPr>
          <a:xfrm>
            <a:off x="8143060" y="3197068"/>
            <a:ext cx="399216" cy="432000"/>
            <a:chOff x="8142648" y="3197068"/>
            <a:chExt cx="399216" cy="432000"/>
          </a:xfrm>
        </p:grpSpPr>
        <p:grpSp>
          <p:nvGrpSpPr>
            <p:cNvPr id="524" name="Grafik 343">
              <a:extLst>
                <a:ext uri="{FF2B5EF4-FFF2-40B4-BE49-F238E27FC236}">
                  <a16:creationId xmlns:a16="http://schemas.microsoft.com/office/drawing/2014/main" id="{D983C9EA-ED13-4157-8C47-592483A2EC62}"/>
                </a:ext>
              </a:extLst>
            </p:cNvPr>
            <p:cNvGrpSpPr/>
            <p:nvPr/>
          </p:nvGrpSpPr>
          <p:grpSpPr>
            <a:xfrm>
              <a:off x="8142648" y="3435273"/>
              <a:ext cx="399216" cy="193795"/>
              <a:chOff x="5268680" y="2710686"/>
              <a:chExt cx="393899" cy="191214"/>
            </a:xfrm>
            <a:solidFill>
              <a:schemeClr val="tx2"/>
            </a:solidFill>
          </p:grpSpPr>
          <p:sp>
            <p:nvSpPr>
              <p:cNvPr id="543" name="Freihandform: Form 612">
                <a:extLst>
                  <a:ext uri="{FF2B5EF4-FFF2-40B4-BE49-F238E27FC236}">
                    <a16:creationId xmlns:a16="http://schemas.microsoft.com/office/drawing/2014/main" id="{0A809C85-6D72-45A9-AC3C-9ED2EDF1641A}"/>
                  </a:ext>
                </a:extLst>
              </p:cNvPr>
              <p:cNvSpPr/>
              <p:nvPr/>
            </p:nvSpPr>
            <p:spPr>
              <a:xfrm>
                <a:off x="5475550" y="2827289"/>
                <a:ext cx="159638" cy="74611"/>
              </a:xfrm>
              <a:custGeom>
                <a:avLst/>
                <a:gdLst>
                  <a:gd name="connsiteX0" fmla="*/ 25904 w 159638"/>
                  <a:gd name="connsiteY0" fmla="*/ 74612 h 74611"/>
                  <a:gd name="connsiteX1" fmla="*/ 7643 w 159638"/>
                  <a:gd name="connsiteY1" fmla="*/ 67004 h 74611"/>
                  <a:gd name="connsiteX2" fmla="*/ 0 w 159638"/>
                  <a:gd name="connsiteY2" fmla="*/ 48524 h 74611"/>
                  <a:gd name="connsiteX3" fmla="*/ 7682 w 159638"/>
                  <a:gd name="connsiteY3" fmla="*/ 30065 h 74611"/>
                  <a:gd name="connsiteX4" fmla="*/ 16522 w 159638"/>
                  <a:gd name="connsiteY4" fmla="*/ 21523 h 74611"/>
                  <a:gd name="connsiteX5" fmla="*/ 25929 w 159638"/>
                  <a:gd name="connsiteY5" fmla="*/ 21686 h 74611"/>
                  <a:gd name="connsiteX6" fmla="*/ 25765 w 159638"/>
                  <a:gd name="connsiteY6" fmla="*/ 31093 h 74611"/>
                  <a:gd name="connsiteX7" fmla="*/ 16998 w 159638"/>
                  <a:gd name="connsiteY7" fmla="*/ 39563 h 74611"/>
                  <a:gd name="connsiteX8" fmla="*/ 13305 w 159638"/>
                  <a:gd name="connsiteY8" fmla="*/ 48542 h 74611"/>
                  <a:gd name="connsiteX9" fmla="*/ 17050 w 159638"/>
                  <a:gd name="connsiteY9" fmla="*/ 57597 h 74611"/>
                  <a:gd name="connsiteX10" fmla="*/ 26224 w 159638"/>
                  <a:gd name="connsiteY10" fmla="*/ 61304 h 74611"/>
                  <a:gd name="connsiteX11" fmla="*/ 34347 w 159638"/>
                  <a:gd name="connsiteY11" fmla="*/ 57589 h 74611"/>
                  <a:gd name="connsiteX12" fmla="*/ 86400 w 159638"/>
                  <a:gd name="connsiteY12" fmla="*/ 2101 h 74611"/>
                  <a:gd name="connsiteX13" fmla="*/ 91252 w 159638"/>
                  <a:gd name="connsiteY13" fmla="*/ 0 h 74611"/>
                  <a:gd name="connsiteX14" fmla="*/ 91252 w 159638"/>
                  <a:gd name="connsiteY14" fmla="*/ 0 h 74611"/>
                  <a:gd name="connsiteX15" fmla="*/ 152988 w 159638"/>
                  <a:gd name="connsiteY15" fmla="*/ 10 h 74611"/>
                  <a:gd name="connsiteX16" fmla="*/ 159639 w 159638"/>
                  <a:gd name="connsiteY16" fmla="*/ 6661 h 74611"/>
                  <a:gd name="connsiteX17" fmla="*/ 152988 w 159638"/>
                  <a:gd name="connsiteY17" fmla="*/ 13313 h 74611"/>
                  <a:gd name="connsiteX18" fmla="*/ 152988 w 159638"/>
                  <a:gd name="connsiteY18" fmla="*/ 13313 h 74611"/>
                  <a:gd name="connsiteX19" fmla="*/ 94134 w 159638"/>
                  <a:gd name="connsiteY19" fmla="*/ 13303 h 74611"/>
                  <a:gd name="connsiteX20" fmla="*/ 44150 w 159638"/>
                  <a:gd name="connsiteY20" fmla="*/ 66583 h 74611"/>
                  <a:gd name="connsiteX21" fmla="*/ 26583 w 159638"/>
                  <a:gd name="connsiteY21" fmla="*/ 74607 h 74611"/>
                  <a:gd name="connsiteX22" fmla="*/ 25904 w 159638"/>
                  <a:gd name="connsiteY22" fmla="*/ 74612 h 7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9638" h="74611">
                    <a:moveTo>
                      <a:pt x="25904" y="74612"/>
                    </a:moveTo>
                    <a:cubicBezTo>
                      <a:pt x="19121" y="74614"/>
                      <a:pt x="12500" y="71863"/>
                      <a:pt x="7643" y="67004"/>
                    </a:cubicBezTo>
                    <a:cubicBezTo>
                      <a:pt x="2706" y="62070"/>
                      <a:pt x="-7" y="55505"/>
                      <a:pt x="0" y="48524"/>
                    </a:cubicBezTo>
                    <a:cubicBezTo>
                      <a:pt x="7" y="41548"/>
                      <a:pt x="2736" y="34989"/>
                      <a:pt x="7682" y="30065"/>
                    </a:cubicBezTo>
                    <a:lnTo>
                      <a:pt x="16522" y="21523"/>
                    </a:lnTo>
                    <a:cubicBezTo>
                      <a:pt x="19156" y="18973"/>
                      <a:pt x="23369" y="19042"/>
                      <a:pt x="25929" y="21686"/>
                    </a:cubicBezTo>
                    <a:cubicBezTo>
                      <a:pt x="28481" y="24328"/>
                      <a:pt x="28407" y="28541"/>
                      <a:pt x="25765" y="31093"/>
                    </a:cubicBezTo>
                    <a:lnTo>
                      <a:pt x="16998" y="39563"/>
                    </a:lnTo>
                    <a:cubicBezTo>
                      <a:pt x="14646" y="41905"/>
                      <a:pt x="13308" y="45122"/>
                      <a:pt x="13305" y="48542"/>
                    </a:cubicBezTo>
                    <a:cubicBezTo>
                      <a:pt x="13303" y="51962"/>
                      <a:pt x="14631" y="55178"/>
                      <a:pt x="17050" y="57597"/>
                    </a:cubicBezTo>
                    <a:cubicBezTo>
                      <a:pt x="19498" y="60040"/>
                      <a:pt x="22767" y="61401"/>
                      <a:pt x="26224" y="61304"/>
                    </a:cubicBezTo>
                    <a:cubicBezTo>
                      <a:pt x="29388" y="61220"/>
                      <a:pt x="32275" y="59902"/>
                      <a:pt x="34347" y="57589"/>
                    </a:cubicBezTo>
                    <a:lnTo>
                      <a:pt x="86400" y="2101"/>
                    </a:lnTo>
                    <a:cubicBezTo>
                      <a:pt x="87662" y="761"/>
                      <a:pt x="89414" y="0"/>
                      <a:pt x="91252" y="0"/>
                    </a:cubicBezTo>
                    <a:lnTo>
                      <a:pt x="91252" y="0"/>
                    </a:lnTo>
                    <a:lnTo>
                      <a:pt x="152988" y="10"/>
                    </a:lnTo>
                    <a:cubicBezTo>
                      <a:pt x="156660" y="10"/>
                      <a:pt x="159639" y="2989"/>
                      <a:pt x="159639" y="6661"/>
                    </a:cubicBezTo>
                    <a:cubicBezTo>
                      <a:pt x="159639" y="10334"/>
                      <a:pt x="156660" y="13313"/>
                      <a:pt x="152988" y="13313"/>
                    </a:cubicBezTo>
                    <a:lnTo>
                      <a:pt x="152988" y="13313"/>
                    </a:lnTo>
                    <a:lnTo>
                      <a:pt x="94134" y="13303"/>
                    </a:lnTo>
                    <a:lnTo>
                      <a:pt x="44150" y="66583"/>
                    </a:lnTo>
                    <a:cubicBezTo>
                      <a:pt x="39715" y="71534"/>
                      <a:pt x="33437" y="74416"/>
                      <a:pt x="26583" y="74607"/>
                    </a:cubicBezTo>
                    <a:cubicBezTo>
                      <a:pt x="26355" y="74612"/>
                      <a:pt x="26129" y="74612"/>
                      <a:pt x="25904" y="74612"/>
                    </a:cubicBezTo>
                    <a:close/>
                  </a:path>
                </a:pathLst>
              </a:custGeom>
              <a:grpFill/>
              <a:ln w="247" cap="flat">
                <a:noFill/>
                <a:prstDash val="solid"/>
                <a:miter/>
              </a:ln>
            </p:spPr>
            <p:txBody>
              <a:bodyPr rtlCol="0" anchor="ctr"/>
              <a:lstStyle/>
              <a:p>
                <a:endParaRPr lang="en-GB" dirty="0"/>
              </a:p>
            </p:txBody>
          </p:sp>
          <p:sp>
            <p:nvSpPr>
              <p:cNvPr id="544" name="Freihandform: Form 613">
                <a:extLst>
                  <a:ext uri="{FF2B5EF4-FFF2-40B4-BE49-F238E27FC236}">
                    <a16:creationId xmlns:a16="http://schemas.microsoft.com/office/drawing/2014/main" id="{82D84DE2-7FAC-44F7-AE08-A46D288F738D}"/>
                  </a:ext>
                </a:extLst>
              </p:cNvPr>
              <p:cNvSpPr/>
              <p:nvPr/>
            </p:nvSpPr>
            <p:spPr>
              <a:xfrm>
                <a:off x="5268680" y="2710691"/>
                <a:ext cx="393899" cy="13327"/>
              </a:xfrm>
              <a:custGeom>
                <a:avLst/>
                <a:gdLst>
                  <a:gd name="connsiteX0" fmla="*/ 6651 w 393899"/>
                  <a:gd name="connsiteY0" fmla="*/ 13327 h 13327"/>
                  <a:gd name="connsiteX1" fmla="*/ 0 w 393899"/>
                  <a:gd name="connsiteY1" fmla="*/ 6676 h 13327"/>
                  <a:gd name="connsiteX2" fmla="*/ 6651 w 393899"/>
                  <a:gd name="connsiteY2" fmla="*/ 25 h 13327"/>
                  <a:gd name="connsiteX3" fmla="*/ 387248 w 393899"/>
                  <a:gd name="connsiteY3" fmla="*/ 0 h 13327"/>
                  <a:gd name="connsiteX4" fmla="*/ 393899 w 393899"/>
                  <a:gd name="connsiteY4" fmla="*/ 6651 h 13327"/>
                  <a:gd name="connsiteX5" fmla="*/ 387248 w 393899"/>
                  <a:gd name="connsiteY5" fmla="*/ 13303 h 13327"/>
                  <a:gd name="connsiteX6" fmla="*/ 6651 w 393899"/>
                  <a:gd name="connsiteY6" fmla="*/ 13327 h 13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899" h="13327">
                    <a:moveTo>
                      <a:pt x="6651" y="13327"/>
                    </a:moveTo>
                    <a:cubicBezTo>
                      <a:pt x="2979" y="13327"/>
                      <a:pt x="0" y="10349"/>
                      <a:pt x="0" y="6676"/>
                    </a:cubicBezTo>
                    <a:cubicBezTo>
                      <a:pt x="0" y="3003"/>
                      <a:pt x="2979" y="25"/>
                      <a:pt x="6651" y="25"/>
                    </a:cubicBezTo>
                    <a:lnTo>
                      <a:pt x="387248" y="0"/>
                    </a:lnTo>
                    <a:cubicBezTo>
                      <a:pt x="390921" y="0"/>
                      <a:pt x="393899" y="2979"/>
                      <a:pt x="393899" y="6651"/>
                    </a:cubicBezTo>
                    <a:cubicBezTo>
                      <a:pt x="393899" y="10324"/>
                      <a:pt x="390921" y="13303"/>
                      <a:pt x="387248" y="13303"/>
                    </a:cubicBezTo>
                    <a:lnTo>
                      <a:pt x="6651" y="13327"/>
                    </a:lnTo>
                    <a:close/>
                  </a:path>
                </a:pathLst>
              </a:custGeom>
              <a:grpFill/>
              <a:ln w="247" cap="flat">
                <a:noFill/>
                <a:prstDash val="solid"/>
                <a:miter/>
              </a:ln>
            </p:spPr>
            <p:txBody>
              <a:bodyPr rtlCol="0" anchor="ctr"/>
              <a:lstStyle/>
              <a:p>
                <a:endParaRPr lang="en-GB" dirty="0"/>
              </a:p>
            </p:txBody>
          </p:sp>
          <p:sp>
            <p:nvSpPr>
              <p:cNvPr id="545" name="Freihandform: Form 614">
                <a:extLst>
                  <a:ext uri="{FF2B5EF4-FFF2-40B4-BE49-F238E27FC236}">
                    <a16:creationId xmlns:a16="http://schemas.microsoft.com/office/drawing/2014/main" id="{E677F954-981C-45EA-8695-BECC6177B133}"/>
                  </a:ext>
                </a:extLst>
              </p:cNvPr>
              <p:cNvSpPr/>
              <p:nvPr/>
            </p:nvSpPr>
            <p:spPr>
              <a:xfrm>
                <a:off x="5347478" y="2750451"/>
                <a:ext cx="100879" cy="116094"/>
              </a:xfrm>
              <a:custGeom>
                <a:avLst/>
                <a:gdLst>
                  <a:gd name="connsiteX0" fmla="*/ 26092 w 100879"/>
                  <a:gd name="connsiteY0" fmla="*/ 116095 h 116094"/>
                  <a:gd name="connsiteX1" fmla="*/ 7643 w 100879"/>
                  <a:gd name="connsiteY1" fmla="*/ 108465 h 116094"/>
                  <a:gd name="connsiteX2" fmla="*/ 0 w 100879"/>
                  <a:gd name="connsiteY2" fmla="*/ 89985 h 116094"/>
                  <a:gd name="connsiteX3" fmla="*/ 7682 w 100879"/>
                  <a:gd name="connsiteY3" fmla="*/ 71525 h 116094"/>
                  <a:gd name="connsiteX4" fmla="*/ 77568 w 100879"/>
                  <a:gd name="connsiteY4" fmla="*/ 1937 h 116094"/>
                  <a:gd name="connsiteX5" fmla="*/ 86975 w 100879"/>
                  <a:gd name="connsiteY5" fmla="*/ 1957 h 116094"/>
                  <a:gd name="connsiteX6" fmla="*/ 86955 w 100879"/>
                  <a:gd name="connsiteY6" fmla="*/ 11364 h 116094"/>
                  <a:gd name="connsiteX7" fmla="*/ 17069 w 100879"/>
                  <a:gd name="connsiteY7" fmla="*/ 80952 h 116094"/>
                  <a:gd name="connsiteX8" fmla="*/ 13305 w 100879"/>
                  <a:gd name="connsiteY8" fmla="*/ 90002 h 116094"/>
                  <a:gd name="connsiteX9" fmla="*/ 17050 w 100879"/>
                  <a:gd name="connsiteY9" fmla="*/ 99058 h 116094"/>
                  <a:gd name="connsiteX10" fmla="*/ 35135 w 100879"/>
                  <a:gd name="connsiteY10" fmla="*/ 99058 h 116094"/>
                  <a:gd name="connsiteX11" fmla="*/ 89523 w 100879"/>
                  <a:gd name="connsiteY11" fmla="*/ 44670 h 116094"/>
                  <a:gd name="connsiteX12" fmla="*/ 98930 w 100879"/>
                  <a:gd name="connsiteY12" fmla="*/ 44670 h 116094"/>
                  <a:gd name="connsiteX13" fmla="*/ 98930 w 100879"/>
                  <a:gd name="connsiteY13" fmla="*/ 54077 h 116094"/>
                  <a:gd name="connsiteX14" fmla="*/ 44542 w 100879"/>
                  <a:gd name="connsiteY14" fmla="*/ 108465 h 116094"/>
                  <a:gd name="connsiteX15" fmla="*/ 26092 w 100879"/>
                  <a:gd name="connsiteY15" fmla="*/ 116095 h 116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879" h="116094">
                    <a:moveTo>
                      <a:pt x="26092" y="116095"/>
                    </a:moveTo>
                    <a:cubicBezTo>
                      <a:pt x="19411" y="116095"/>
                      <a:pt x="12730" y="113552"/>
                      <a:pt x="7643" y="108465"/>
                    </a:cubicBezTo>
                    <a:cubicBezTo>
                      <a:pt x="2706" y="103531"/>
                      <a:pt x="-7" y="96966"/>
                      <a:pt x="0" y="89985"/>
                    </a:cubicBezTo>
                    <a:cubicBezTo>
                      <a:pt x="7" y="83009"/>
                      <a:pt x="2736" y="76450"/>
                      <a:pt x="7682" y="71525"/>
                    </a:cubicBezTo>
                    <a:lnTo>
                      <a:pt x="77568" y="1937"/>
                    </a:lnTo>
                    <a:cubicBezTo>
                      <a:pt x="80178" y="-653"/>
                      <a:pt x="84385" y="-645"/>
                      <a:pt x="86975" y="1957"/>
                    </a:cubicBezTo>
                    <a:cubicBezTo>
                      <a:pt x="89567" y="4559"/>
                      <a:pt x="89560" y="8772"/>
                      <a:pt x="86955" y="11364"/>
                    </a:cubicBezTo>
                    <a:lnTo>
                      <a:pt x="17069" y="80952"/>
                    </a:lnTo>
                    <a:cubicBezTo>
                      <a:pt x="14646" y="83366"/>
                      <a:pt x="13308" y="86583"/>
                      <a:pt x="13305" y="90002"/>
                    </a:cubicBezTo>
                    <a:cubicBezTo>
                      <a:pt x="13303" y="93422"/>
                      <a:pt x="14631" y="96639"/>
                      <a:pt x="17050" y="99058"/>
                    </a:cubicBezTo>
                    <a:cubicBezTo>
                      <a:pt x="22038" y="104041"/>
                      <a:pt x="30147" y="104041"/>
                      <a:pt x="35135" y="99058"/>
                    </a:cubicBezTo>
                    <a:lnTo>
                      <a:pt x="89523" y="44670"/>
                    </a:lnTo>
                    <a:cubicBezTo>
                      <a:pt x="92122" y="42070"/>
                      <a:pt x="96330" y="42070"/>
                      <a:pt x="98930" y="44670"/>
                    </a:cubicBezTo>
                    <a:cubicBezTo>
                      <a:pt x="101529" y="47270"/>
                      <a:pt x="101529" y="51477"/>
                      <a:pt x="98930" y="54077"/>
                    </a:cubicBezTo>
                    <a:lnTo>
                      <a:pt x="44542" y="108465"/>
                    </a:lnTo>
                    <a:cubicBezTo>
                      <a:pt x="39454" y="113550"/>
                      <a:pt x="32773" y="116095"/>
                      <a:pt x="26092" y="116095"/>
                    </a:cubicBezTo>
                    <a:close/>
                  </a:path>
                </a:pathLst>
              </a:custGeom>
              <a:grpFill/>
              <a:ln w="247" cap="flat">
                <a:noFill/>
                <a:prstDash val="solid"/>
                <a:miter/>
              </a:ln>
            </p:spPr>
            <p:txBody>
              <a:bodyPr rtlCol="0" anchor="ctr"/>
              <a:lstStyle/>
              <a:p>
                <a:endParaRPr lang="en-GB" dirty="0"/>
              </a:p>
            </p:txBody>
          </p:sp>
          <p:sp>
            <p:nvSpPr>
              <p:cNvPr id="546" name="Freihandform: Form 615">
                <a:extLst>
                  <a:ext uri="{FF2B5EF4-FFF2-40B4-BE49-F238E27FC236}">
                    <a16:creationId xmlns:a16="http://schemas.microsoft.com/office/drawing/2014/main" id="{B0B98A3E-AF46-47CE-9E63-8EC0026965B4}"/>
                  </a:ext>
                </a:extLst>
              </p:cNvPr>
              <p:cNvSpPr/>
              <p:nvPr/>
            </p:nvSpPr>
            <p:spPr>
              <a:xfrm>
                <a:off x="5396627" y="2791547"/>
                <a:ext cx="79735" cy="81679"/>
              </a:xfrm>
              <a:custGeom>
                <a:avLst/>
                <a:gdLst>
                  <a:gd name="connsiteX0" fmla="*/ 26030 w 79735"/>
                  <a:gd name="connsiteY0" fmla="*/ 81680 h 81679"/>
                  <a:gd name="connsiteX1" fmla="*/ 7643 w 79735"/>
                  <a:gd name="connsiteY1" fmla="*/ 73016 h 81679"/>
                  <a:gd name="connsiteX2" fmla="*/ 0 w 79735"/>
                  <a:gd name="connsiteY2" fmla="*/ 54537 h 81679"/>
                  <a:gd name="connsiteX3" fmla="*/ 7682 w 79735"/>
                  <a:gd name="connsiteY3" fmla="*/ 36077 h 81679"/>
                  <a:gd name="connsiteX4" fmla="*/ 42009 w 79735"/>
                  <a:gd name="connsiteY4" fmla="*/ 1938 h 81679"/>
                  <a:gd name="connsiteX5" fmla="*/ 51416 w 79735"/>
                  <a:gd name="connsiteY5" fmla="*/ 1963 h 81679"/>
                  <a:gd name="connsiteX6" fmla="*/ 51392 w 79735"/>
                  <a:gd name="connsiteY6" fmla="*/ 11370 h 81679"/>
                  <a:gd name="connsiteX7" fmla="*/ 17064 w 79735"/>
                  <a:gd name="connsiteY7" fmla="*/ 45506 h 81679"/>
                  <a:gd name="connsiteX8" fmla="*/ 13303 w 79735"/>
                  <a:gd name="connsiteY8" fmla="*/ 54551 h 81679"/>
                  <a:gd name="connsiteX9" fmla="*/ 17047 w 79735"/>
                  <a:gd name="connsiteY9" fmla="*/ 63607 h 81679"/>
                  <a:gd name="connsiteX10" fmla="*/ 26221 w 79735"/>
                  <a:gd name="connsiteY10" fmla="*/ 68370 h 81679"/>
                  <a:gd name="connsiteX11" fmla="*/ 34342 w 79735"/>
                  <a:gd name="connsiteY11" fmla="*/ 63599 h 81679"/>
                  <a:gd name="connsiteX12" fmla="*/ 68379 w 79735"/>
                  <a:gd name="connsiteY12" fmla="*/ 29552 h 81679"/>
                  <a:gd name="connsiteX13" fmla="*/ 77786 w 79735"/>
                  <a:gd name="connsiteY13" fmla="*/ 29552 h 81679"/>
                  <a:gd name="connsiteX14" fmla="*/ 77786 w 79735"/>
                  <a:gd name="connsiteY14" fmla="*/ 38959 h 81679"/>
                  <a:gd name="connsiteX15" fmla="*/ 43999 w 79735"/>
                  <a:gd name="connsiteY15" fmla="*/ 72743 h 81679"/>
                  <a:gd name="connsiteX16" fmla="*/ 26585 w 79735"/>
                  <a:gd name="connsiteY16" fmla="*/ 81670 h 81679"/>
                  <a:gd name="connsiteX17" fmla="*/ 26030 w 79735"/>
                  <a:gd name="connsiteY17" fmla="*/ 81680 h 81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735" h="81679">
                    <a:moveTo>
                      <a:pt x="26030" y="81680"/>
                    </a:moveTo>
                    <a:cubicBezTo>
                      <a:pt x="19664" y="81680"/>
                      <a:pt x="13318" y="78691"/>
                      <a:pt x="7643" y="73016"/>
                    </a:cubicBezTo>
                    <a:cubicBezTo>
                      <a:pt x="2706" y="68082"/>
                      <a:pt x="-7" y="61517"/>
                      <a:pt x="0" y="54537"/>
                    </a:cubicBezTo>
                    <a:cubicBezTo>
                      <a:pt x="7" y="47561"/>
                      <a:pt x="2736" y="41001"/>
                      <a:pt x="7682" y="36077"/>
                    </a:cubicBezTo>
                    <a:lnTo>
                      <a:pt x="42009" y="1938"/>
                    </a:lnTo>
                    <a:cubicBezTo>
                      <a:pt x="44609" y="-656"/>
                      <a:pt x="48824" y="-644"/>
                      <a:pt x="51416" y="1963"/>
                    </a:cubicBezTo>
                    <a:cubicBezTo>
                      <a:pt x="54008" y="4568"/>
                      <a:pt x="53996" y="8780"/>
                      <a:pt x="51392" y="11370"/>
                    </a:cubicBezTo>
                    <a:lnTo>
                      <a:pt x="17064" y="45506"/>
                    </a:lnTo>
                    <a:cubicBezTo>
                      <a:pt x="14643" y="47918"/>
                      <a:pt x="13305" y="51132"/>
                      <a:pt x="13303" y="54551"/>
                    </a:cubicBezTo>
                    <a:cubicBezTo>
                      <a:pt x="13300" y="57971"/>
                      <a:pt x="14628" y="61188"/>
                      <a:pt x="17047" y="63607"/>
                    </a:cubicBezTo>
                    <a:cubicBezTo>
                      <a:pt x="19272" y="65834"/>
                      <a:pt x="22643" y="68377"/>
                      <a:pt x="26221" y="68370"/>
                    </a:cubicBezTo>
                    <a:cubicBezTo>
                      <a:pt x="28836" y="68298"/>
                      <a:pt x="31566" y="66694"/>
                      <a:pt x="34342" y="63599"/>
                    </a:cubicBezTo>
                    <a:lnTo>
                      <a:pt x="68379" y="29552"/>
                    </a:lnTo>
                    <a:cubicBezTo>
                      <a:pt x="70979" y="26952"/>
                      <a:pt x="75187" y="26952"/>
                      <a:pt x="77786" y="29552"/>
                    </a:cubicBezTo>
                    <a:cubicBezTo>
                      <a:pt x="80386" y="32152"/>
                      <a:pt x="80386" y="36360"/>
                      <a:pt x="77786" y="38959"/>
                    </a:cubicBezTo>
                    <a:lnTo>
                      <a:pt x="43999" y="72743"/>
                    </a:lnTo>
                    <a:cubicBezTo>
                      <a:pt x="38939" y="78406"/>
                      <a:pt x="32994" y="81496"/>
                      <a:pt x="26585" y="81670"/>
                    </a:cubicBezTo>
                    <a:cubicBezTo>
                      <a:pt x="26400" y="81675"/>
                      <a:pt x="26216" y="81680"/>
                      <a:pt x="26030" y="81680"/>
                    </a:cubicBezTo>
                    <a:close/>
                  </a:path>
                </a:pathLst>
              </a:custGeom>
              <a:grpFill/>
              <a:ln w="247" cap="flat">
                <a:noFill/>
                <a:prstDash val="solid"/>
                <a:miter/>
              </a:ln>
            </p:spPr>
            <p:txBody>
              <a:bodyPr rtlCol="0" anchor="ctr"/>
              <a:lstStyle/>
              <a:p>
                <a:endParaRPr lang="en-GB" dirty="0"/>
              </a:p>
            </p:txBody>
          </p:sp>
          <p:sp>
            <p:nvSpPr>
              <p:cNvPr id="547" name="Freihandform: Form 616">
                <a:extLst>
                  <a:ext uri="{FF2B5EF4-FFF2-40B4-BE49-F238E27FC236}">
                    <a16:creationId xmlns:a16="http://schemas.microsoft.com/office/drawing/2014/main" id="{18AF8340-8666-420F-96D7-AF89DC5F483C}"/>
                  </a:ext>
                </a:extLst>
              </p:cNvPr>
              <p:cNvSpPr/>
              <p:nvPr/>
            </p:nvSpPr>
            <p:spPr>
              <a:xfrm>
                <a:off x="5434468" y="2819242"/>
                <a:ext cx="68519" cy="69145"/>
              </a:xfrm>
              <a:custGeom>
                <a:avLst/>
                <a:gdLst>
                  <a:gd name="connsiteX0" fmla="*/ 25904 w 68519"/>
                  <a:gd name="connsiteY0" fmla="*/ 69146 h 69145"/>
                  <a:gd name="connsiteX1" fmla="*/ 7643 w 68519"/>
                  <a:gd name="connsiteY1" fmla="*/ 61536 h 69145"/>
                  <a:gd name="connsiteX2" fmla="*/ 0 w 68519"/>
                  <a:gd name="connsiteY2" fmla="*/ 43064 h 69145"/>
                  <a:gd name="connsiteX3" fmla="*/ 7682 w 68519"/>
                  <a:gd name="connsiteY3" fmla="*/ 24597 h 69145"/>
                  <a:gd name="connsiteX4" fmla="*/ 30657 w 68519"/>
                  <a:gd name="connsiteY4" fmla="*/ 1914 h 69145"/>
                  <a:gd name="connsiteX5" fmla="*/ 40066 w 68519"/>
                  <a:gd name="connsiteY5" fmla="*/ 1976 h 69145"/>
                  <a:gd name="connsiteX6" fmla="*/ 40005 w 68519"/>
                  <a:gd name="connsiteY6" fmla="*/ 11386 h 69145"/>
                  <a:gd name="connsiteX7" fmla="*/ 17050 w 68519"/>
                  <a:gd name="connsiteY7" fmla="*/ 34046 h 69145"/>
                  <a:gd name="connsiteX8" fmla="*/ 13305 w 68519"/>
                  <a:gd name="connsiteY8" fmla="*/ 43076 h 69145"/>
                  <a:gd name="connsiteX9" fmla="*/ 17050 w 68519"/>
                  <a:gd name="connsiteY9" fmla="*/ 52129 h 69145"/>
                  <a:gd name="connsiteX10" fmla="*/ 26219 w 68519"/>
                  <a:gd name="connsiteY10" fmla="*/ 55838 h 69145"/>
                  <a:gd name="connsiteX11" fmla="*/ 34342 w 68519"/>
                  <a:gd name="connsiteY11" fmla="*/ 52124 h 69145"/>
                  <a:gd name="connsiteX12" fmla="*/ 57163 w 68519"/>
                  <a:gd name="connsiteY12" fmla="*/ 29293 h 69145"/>
                  <a:gd name="connsiteX13" fmla="*/ 66570 w 68519"/>
                  <a:gd name="connsiteY13" fmla="*/ 29293 h 69145"/>
                  <a:gd name="connsiteX14" fmla="*/ 66570 w 68519"/>
                  <a:gd name="connsiteY14" fmla="*/ 38700 h 69145"/>
                  <a:gd name="connsiteX15" fmla="*/ 43999 w 68519"/>
                  <a:gd name="connsiteY15" fmla="*/ 61268 h 69145"/>
                  <a:gd name="connsiteX16" fmla="*/ 26578 w 68519"/>
                  <a:gd name="connsiteY16" fmla="*/ 69139 h 69145"/>
                  <a:gd name="connsiteX17" fmla="*/ 25904 w 68519"/>
                  <a:gd name="connsiteY17" fmla="*/ 69146 h 69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519" h="69145">
                    <a:moveTo>
                      <a:pt x="25904" y="69146"/>
                    </a:moveTo>
                    <a:cubicBezTo>
                      <a:pt x="19121" y="69146"/>
                      <a:pt x="12500" y="66395"/>
                      <a:pt x="7643" y="61536"/>
                    </a:cubicBezTo>
                    <a:cubicBezTo>
                      <a:pt x="2709" y="56604"/>
                      <a:pt x="-7" y="50045"/>
                      <a:pt x="0" y="43064"/>
                    </a:cubicBezTo>
                    <a:cubicBezTo>
                      <a:pt x="7" y="36080"/>
                      <a:pt x="2736" y="29523"/>
                      <a:pt x="7682" y="24597"/>
                    </a:cubicBezTo>
                    <a:lnTo>
                      <a:pt x="30657" y="1914"/>
                    </a:lnTo>
                    <a:cubicBezTo>
                      <a:pt x="33271" y="-661"/>
                      <a:pt x="37484" y="-636"/>
                      <a:pt x="40066" y="1976"/>
                    </a:cubicBezTo>
                    <a:cubicBezTo>
                      <a:pt x="42646" y="4591"/>
                      <a:pt x="42619" y="8803"/>
                      <a:pt x="40005" y="11386"/>
                    </a:cubicBezTo>
                    <a:lnTo>
                      <a:pt x="17050" y="34046"/>
                    </a:lnTo>
                    <a:cubicBezTo>
                      <a:pt x="14646" y="36440"/>
                      <a:pt x="13308" y="39651"/>
                      <a:pt x="13305" y="43076"/>
                    </a:cubicBezTo>
                    <a:cubicBezTo>
                      <a:pt x="13303" y="46496"/>
                      <a:pt x="14631" y="49710"/>
                      <a:pt x="17050" y="52129"/>
                    </a:cubicBezTo>
                    <a:cubicBezTo>
                      <a:pt x="19498" y="54575"/>
                      <a:pt x="22841" y="55947"/>
                      <a:pt x="26219" y="55838"/>
                    </a:cubicBezTo>
                    <a:cubicBezTo>
                      <a:pt x="29386" y="55754"/>
                      <a:pt x="32270" y="54431"/>
                      <a:pt x="34342" y="52124"/>
                    </a:cubicBezTo>
                    <a:lnTo>
                      <a:pt x="57163" y="29293"/>
                    </a:lnTo>
                    <a:cubicBezTo>
                      <a:pt x="59763" y="26693"/>
                      <a:pt x="63971" y="26693"/>
                      <a:pt x="66570" y="29293"/>
                    </a:cubicBezTo>
                    <a:cubicBezTo>
                      <a:pt x="69170" y="31892"/>
                      <a:pt x="69170" y="36105"/>
                      <a:pt x="66570" y="38700"/>
                    </a:cubicBezTo>
                    <a:lnTo>
                      <a:pt x="43999" y="61268"/>
                    </a:lnTo>
                    <a:cubicBezTo>
                      <a:pt x="39712" y="66066"/>
                      <a:pt x="33435" y="68953"/>
                      <a:pt x="26578" y="69139"/>
                    </a:cubicBezTo>
                    <a:cubicBezTo>
                      <a:pt x="26355" y="69144"/>
                      <a:pt x="26127" y="69146"/>
                      <a:pt x="25904" y="69146"/>
                    </a:cubicBezTo>
                    <a:close/>
                  </a:path>
                </a:pathLst>
              </a:custGeom>
              <a:grpFill/>
              <a:ln w="247" cap="flat">
                <a:noFill/>
                <a:prstDash val="solid"/>
                <a:miter/>
              </a:ln>
            </p:spPr>
            <p:txBody>
              <a:bodyPr rtlCol="0" anchor="ctr"/>
              <a:lstStyle/>
              <a:p>
                <a:endParaRPr lang="en-GB" dirty="0"/>
              </a:p>
            </p:txBody>
          </p:sp>
          <p:sp>
            <p:nvSpPr>
              <p:cNvPr id="548" name="Freihandform: Form 617">
                <a:extLst>
                  <a:ext uri="{FF2B5EF4-FFF2-40B4-BE49-F238E27FC236}">
                    <a16:creationId xmlns:a16="http://schemas.microsoft.com/office/drawing/2014/main" id="{3F5F3234-D5A2-4512-BD05-1DF20916CB6C}"/>
                  </a:ext>
                </a:extLst>
              </p:cNvPr>
              <p:cNvSpPr/>
              <p:nvPr/>
            </p:nvSpPr>
            <p:spPr>
              <a:xfrm>
                <a:off x="5423926" y="2710686"/>
                <a:ext cx="108787" cy="94265"/>
              </a:xfrm>
              <a:custGeom>
                <a:avLst/>
                <a:gdLst>
                  <a:gd name="connsiteX0" fmla="*/ 82671 w 108787"/>
                  <a:gd name="connsiteY0" fmla="*/ 94265 h 94265"/>
                  <a:gd name="connsiteX1" fmla="*/ 64208 w 108787"/>
                  <a:gd name="connsiteY1" fmla="*/ 86632 h 94265"/>
                  <a:gd name="connsiteX2" fmla="*/ 29805 w 108787"/>
                  <a:gd name="connsiteY2" fmla="*/ 52229 h 94265"/>
                  <a:gd name="connsiteX3" fmla="*/ 6651 w 108787"/>
                  <a:gd name="connsiteY3" fmla="*/ 52229 h 94265"/>
                  <a:gd name="connsiteX4" fmla="*/ 0 w 108787"/>
                  <a:gd name="connsiteY4" fmla="*/ 45577 h 94265"/>
                  <a:gd name="connsiteX5" fmla="*/ 6651 w 108787"/>
                  <a:gd name="connsiteY5" fmla="*/ 38926 h 94265"/>
                  <a:gd name="connsiteX6" fmla="*/ 35313 w 108787"/>
                  <a:gd name="connsiteY6" fmla="*/ 38926 h 94265"/>
                  <a:gd name="connsiteX7" fmla="*/ 73615 w 108787"/>
                  <a:gd name="connsiteY7" fmla="*/ 77228 h 94265"/>
                  <a:gd name="connsiteX8" fmla="*/ 91731 w 108787"/>
                  <a:gd name="connsiteY8" fmla="*/ 77228 h 94265"/>
                  <a:gd name="connsiteX9" fmla="*/ 95482 w 108787"/>
                  <a:gd name="connsiteY9" fmla="*/ 68168 h 94265"/>
                  <a:gd name="connsiteX10" fmla="*/ 91731 w 108787"/>
                  <a:gd name="connsiteY10" fmla="*/ 59113 h 94265"/>
                  <a:gd name="connsiteX11" fmla="*/ 43974 w 108787"/>
                  <a:gd name="connsiteY11" fmla="*/ 11357 h 94265"/>
                  <a:gd name="connsiteX12" fmla="*/ 43974 w 108787"/>
                  <a:gd name="connsiteY12" fmla="*/ 1950 h 94265"/>
                  <a:gd name="connsiteX13" fmla="*/ 53381 w 108787"/>
                  <a:gd name="connsiteY13" fmla="*/ 1950 h 94265"/>
                  <a:gd name="connsiteX14" fmla="*/ 101138 w 108787"/>
                  <a:gd name="connsiteY14" fmla="*/ 49706 h 94265"/>
                  <a:gd name="connsiteX15" fmla="*/ 108788 w 108787"/>
                  <a:gd name="connsiteY15" fmla="*/ 68168 h 94265"/>
                  <a:gd name="connsiteX16" fmla="*/ 101138 w 108787"/>
                  <a:gd name="connsiteY16" fmla="*/ 86635 h 94265"/>
                  <a:gd name="connsiteX17" fmla="*/ 82671 w 108787"/>
                  <a:gd name="connsiteY17" fmla="*/ 94265 h 94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787" h="94265">
                    <a:moveTo>
                      <a:pt x="82671" y="94265"/>
                    </a:moveTo>
                    <a:cubicBezTo>
                      <a:pt x="75985" y="94265"/>
                      <a:pt x="69299" y="91723"/>
                      <a:pt x="64208" y="86632"/>
                    </a:cubicBezTo>
                    <a:lnTo>
                      <a:pt x="29805" y="52229"/>
                    </a:lnTo>
                    <a:lnTo>
                      <a:pt x="6651" y="52229"/>
                    </a:lnTo>
                    <a:cubicBezTo>
                      <a:pt x="2979" y="52229"/>
                      <a:pt x="0" y="49250"/>
                      <a:pt x="0" y="45577"/>
                    </a:cubicBezTo>
                    <a:cubicBezTo>
                      <a:pt x="0" y="41905"/>
                      <a:pt x="2979" y="38926"/>
                      <a:pt x="6651" y="38926"/>
                    </a:cubicBezTo>
                    <a:lnTo>
                      <a:pt x="35313" y="38926"/>
                    </a:lnTo>
                    <a:lnTo>
                      <a:pt x="73615" y="77228"/>
                    </a:lnTo>
                    <a:cubicBezTo>
                      <a:pt x="78614" y="82216"/>
                      <a:pt x="86737" y="82216"/>
                      <a:pt x="91731" y="77228"/>
                    </a:cubicBezTo>
                    <a:cubicBezTo>
                      <a:pt x="94152" y="74809"/>
                      <a:pt x="95482" y="71593"/>
                      <a:pt x="95482" y="68168"/>
                    </a:cubicBezTo>
                    <a:cubicBezTo>
                      <a:pt x="95482" y="64748"/>
                      <a:pt x="94152" y="61531"/>
                      <a:pt x="91731" y="59113"/>
                    </a:cubicBezTo>
                    <a:lnTo>
                      <a:pt x="43974" y="11357"/>
                    </a:lnTo>
                    <a:cubicBezTo>
                      <a:pt x="41375" y="8757"/>
                      <a:pt x="41375" y="4549"/>
                      <a:pt x="43974" y="1950"/>
                    </a:cubicBezTo>
                    <a:cubicBezTo>
                      <a:pt x="46574" y="-650"/>
                      <a:pt x="50782" y="-650"/>
                      <a:pt x="53381" y="1950"/>
                    </a:cubicBezTo>
                    <a:lnTo>
                      <a:pt x="101138" y="49706"/>
                    </a:lnTo>
                    <a:cubicBezTo>
                      <a:pt x="106072" y="54637"/>
                      <a:pt x="108788" y="61194"/>
                      <a:pt x="108788" y="68168"/>
                    </a:cubicBezTo>
                    <a:cubicBezTo>
                      <a:pt x="108788" y="75144"/>
                      <a:pt x="106072" y="81703"/>
                      <a:pt x="101138" y="86635"/>
                    </a:cubicBezTo>
                    <a:cubicBezTo>
                      <a:pt x="96047" y="91723"/>
                      <a:pt x="89359" y="94265"/>
                      <a:pt x="82671" y="94265"/>
                    </a:cubicBezTo>
                    <a:close/>
                  </a:path>
                </a:pathLst>
              </a:custGeom>
              <a:grpFill/>
              <a:ln w="247" cap="flat">
                <a:noFill/>
                <a:prstDash val="solid"/>
                <a:miter/>
              </a:ln>
            </p:spPr>
            <p:txBody>
              <a:bodyPr rtlCol="0" anchor="ctr"/>
              <a:lstStyle/>
              <a:p>
                <a:endParaRPr lang="en-GB" dirty="0"/>
              </a:p>
            </p:txBody>
          </p:sp>
          <p:sp>
            <p:nvSpPr>
              <p:cNvPr id="549" name="Freihandform: Form 618">
                <a:extLst>
                  <a:ext uri="{FF2B5EF4-FFF2-40B4-BE49-F238E27FC236}">
                    <a16:creationId xmlns:a16="http://schemas.microsoft.com/office/drawing/2014/main" id="{0E7CB876-4955-4641-9B38-3D20C09FB559}"/>
                  </a:ext>
                </a:extLst>
              </p:cNvPr>
              <p:cNvSpPr/>
              <p:nvPr/>
            </p:nvSpPr>
            <p:spPr>
              <a:xfrm>
                <a:off x="5297598" y="2827289"/>
                <a:ext cx="63410" cy="13302"/>
              </a:xfrm>
              <a:custGeom>
                <a:avLst/>
                <a:gdLst>
                  <a:gd name="connsiteX0" fmla="*/ 56759 w 63410"/>
                  <a:gd name="connsiteY0" fmla="*/ 13303 h 13302"/>
                  <a:gd name="connsiteX1" fmla="*/ 6651 w 63410"/>
                  <a:gd name="connsiteY1" fmla="*/ 13303 h 13302"/>
                  <a:gd name="connsiteX2" fmla="*/ 0 w 63410"/>
                  <a:gd name="connsiteY2" fmla="*/ 6651 h 13302"/>
                  <a:gd name="connsiteX3" fmla="*/ 6651 w 63410"/>
                  <a:gd name="connsiteY3" fmla="*/ 0 h 13302"/>
                  <a:gd name="connsiteX4" fmla="*/ 56759 w 63410"/>
                  <a:gd name="connsiteY4" fmla="*/ 0 h 13302"/>
                  <a:gd name="connsiteX5" fmla="*/ 63410 w 63410"/>
                  <a:gd name="connsiteY5" fmla="*/ 6651 h 13302"/>
                  <a:gd name="connsiteX6" fmla="*/ 56759 w 63410"/>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410" h="13302">
                    <a:moveTo>
                      <a:pt x="56759" y="13303"/>
                    </a:moveTo>
                    <a:lnTo>
                      <a:pt x="6651" y="13303"/>
                    </a:lnTo>
                    <a:cubicBezTo>
                      <a:pt x="2979" y="13303"/>
                      <a:pt x="0" y="10324"/>
                      <a:pt x="0" y="6651"/>
                    </a:cubicBezTo>
                    <a:cubicBezTo>
                      <a:pt x="0" y="2979"/>
                      <a:pt x="2979" y="0"/>
                      <a:pt x="6651" y="0"/>
                    </a:cubicBezTo>
                    <a:lnTo>
                      <a:pt x="56759" y="0"/>
                    </a:lnTo>
                    <a:cubicBezTo>
                      <a:pt x="60432" y="0"/>
                      <a:pt x="63410" y="2979"/>
                      <a:pt x="63410" y="6651"/>
                    </a:cubicBezTo>
                    <a:cubicBezTo>
                      <a:pt x="63410" y="10324"/>
                      <a:pt x="60432" y="13303"/>
                      <a:pt x="56759" y="13303"/>
                    </a:cubicBezTo>
                    <a:close/>
                  </a:path>
                </a:pathLst>
              </a:custGeom>
              <a:grpFill/>
              <a:ln w="247" cap="flat">
                <a:noFill/>
                <a:prstDash val="solid"/>
                <a:miter/>
              </a:ln>
            </p:spPr>
            <p:txBody>
              <a:bodyPr rtlCol="0" anchor="ctr"/>
              <a:lstStyle/>
              <a:p>
                <a:endParaRPr lang="en-GB" dirty="0"/>
              </a:p>
            </p:txBody>
          </p:sp>
        </p:grpSp>
        <p:grpSp>
          <p:nvGrpSpPr>
            <p:cNvPr id="525" name="Grafik 343">
              <a:extLst>
                <a:ext uri="{FF2B5EF4-FFF2-40B4-BE49-F238E27FC236}">
                  <a16:creationId xmlns:a16="http://schemas.microsoft.com/office/drawing/2014/main" id="{4CDBE033-B9B0-4606-BEF3-1E0458EBDC12}"/>
                </a:ext>
              </a:extLst>
            </p:cNvPr>
            <p:cNvGrpSpPr/>
            <p:nvPr/>
          </p:nvGrpSpPr>
          <p:grpSpPr>
            <a:xfrm>
              <a:off x="8183614" y="3197068"/>
              <a:ext cx="315754" cy="221153"/>
              <a:chOff x="5309100" y="2475654"/>
              <a:chExt cx="311549" cy="218207"/>
            </a:xfrm>
            <a:solidFill>
              <a:schemeClr val="accent1"/>
            </a:solidFill>
          </p:grpSpPr>
          <p:grpSp>
            <p:nvGrpSpPr>
              <p:cNvPr id="526" name="Grafik 343">
                <a:extLst>
                  <a:ext uri="{FF2B5EF4-FFF2-40B4-BE49-F238E27FC236}">
                    <a16:creationId xmlns:a16="http://schemas.microsoft.com/office/drawing/2014/main" id="{27E8A877-100C-454E-B727-F0DB9CEB17C1}"/>
                  </a:ext>
                </a:extLst>
              </p:cNvPr>
              <p:cNvGrpSpPr/>
              <p:nvPr/>
            </p:nvGrpSpPr>
            <p:grpSpPr>
              <a:xfrm>
                <a:off x="5309100" y="2475654"/>
                <a:ext cx="311549" cy="107077"/>
                <a:chOff x="5309100" y="2475654"/>
                <a:chExt cx="311549" cy="107077"/>
              </a:xfrm>
              <a:solidFill>
                <a:schemeClr val="accent1"/>
              </a:solidFill>
            </p:grpSpPr>
            <p:sp>
              <p:nvSpPr>
                <p:cNvPr id="541" name="Freihandform: Form 621">
                  <a:extLst>
                    <a:ext uri="{FF2B5EF4-FFF2-40B4-BE49-F238E27FC236}">
                      <a16:creationId xmlns:a16="http://schemas.microsoft.com/office/drawing/2014/main" id="{FA6C4ADB-B640-4092-92E1-F8305CD5C573}"/>
                    </a:ext>
                  </a:extLst>
                </p:cNvPr>
                <p:cNvSpPr/>
                <p:nvPr/>
              </p:nvSpPr>
              <p:spPr>
                <a:xfrm>
                  <a:off x="5309100" y="2475654"/>
                  <a:ext cx="311548" cy="107077"/>
                </a:xfrm>
                <a:custGeom>
                  <a:avLst/>
                  <a:gdLst>
                    <a:gd name="connsiteX0" fmla="*/ 6655 w 311548"/>
                    <a:gd name="connsiteY0" fmla="*/ 107078 h 107077"/>
                    <a:gd name="connsiteX1" fmla="*/ 1543 w 311548"/>
                    <a:gd name="connsiteY1" fmla="*/ 104684 h 107077"/>
                    <a:gd name="connsiteX2" fmla="*/ 2393 w 311548"/>
                    <a:gd name="connsiteY2" fmla="*/ 95317 h 107077"/>
                    <a:gd name="connsiteX3" fmla="*/ 62264 w 311548"/>
                    <a:gd name="connsiteY3" fmla="*/ 45424 h 107077"/>
                    <a:gd name="connsiteX4" fmla="*/ 70660 w 311548"/>
                    <a:gd name="connsiteY4" fmla="*/ 45323 h 107077"/>
                    <a:gd name="connsiteX5" fmla="*/ 104608 w 311548"/>
                    <a:gd name="connsiteY5" fmla="*/ 72282 h 107077"/>
                    <a:gd name="connsiteX6" fmla="*/ 185968 w 311548"/>
                    <a:gd name="connsiteY6" fmla="*/ 19453 h 107077"/>
                    <a:gd name="connsiteX7" fmla="*/ 192765 w 311548"/>
                    <a:gd name="connsiteY7" fmla="*/ 19191 h 107077"/>
                    <a:gd name="connsiteX8" fmla="*/ 251567 w 311548"/>
                    <a:gd name="connsiteY8" fmla="*/ 51169 h 107077"/>
                    <a:gd name="connsiteX9" fmla="*/ 300163 w 311548"/>
                    <a:gd name="connsiteY9" fmla="*/ 1978 h 107077"/>
                    <a:gd name="connsiteX10" fmla="*/ 309570 w 311548"/>
                    <a:gd name="connsiteY10" fmla="*/ 1918 h 107077"/>
                    <a:gd name="connsiteX11" fmla="*/ 309629 w 311548"/>
                    <a:gd name="connsiteY11" fmla="*/ 11325 h 107077"/>
                    <a:gd name="connsiteX12" fmla="*/ 257519 w 311548"/>
                    <a:gd name="connsiteY12" fmla="*/ 64075 h 107077"/>
                    <a:gd name="connsiteX13" fmla="*/ 249609 w 311548"/>
                    <a:gd name="connsiteY13" fmla="*/ 65244 h 107077"/>
                    <a:gd name="connsiteX14" fmla="*/ 189893 w 311548"/>
                    <a:gd name="connsiteY14" fmla="*/ 32773 h 107077"/>
                    <a:gd name="connsiteX15" fmla="*/ 107840 w 311548"/>
                    <a:gd name="connsiteY15" fmla="*/ 86051 h 107077"/>
                    <a:gd name="connsiteX16" fmla="*/ 100081 w 311548"/>
                    <a:gd name="connsiteY16" fmla="*/ 85682 h 107077"/>
                    <a:gd name="connsiteX17" fmla="*/ 66623 w 311548"/>
                    <a:gd name="connsiteY17" fmla="*/ 59111 h 107077"/>
                    <a:gd name="connsiteX18" fmla="*/ 10910 w 311548"/>
                    <a:gd name="connsiteY18" fmla="*/ 105536 h 107077"/>
                    <a:gd name="connsiteX19" fmla="*/ 6655 w 311548"/>
                    <a:gd name="connsiteY19" fmla="*/ 107078 h 10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1548" h="107077">
                      <a:moveTo>
                        <a:pt x="6655" y="107078"/>
                      </a:moveTo>
                      <a:cubicBezTo>
                        <a:pt x="4749" y="107078"/>
                        <a:pt x="2859" y="106263"/>
                        <a:pt x="1543" y="104684"/>
                      </a:cubicBezTo>
                      <a:cubicBezTo>
                        <a:pt x="-809" y="101861"/>
                        <a:pt x="-430" y="97668"/>
                        <a:pt x="2393" y="95317"/>
                      </a:cubicBezTo>
                      <a:lnTo>
                        <a:pt x="62264" y="45424"/>
                      </a:lnTo>
                      <a:cubicBezTo>
                        <a:pt x="64686" y="43405"/>
                        <a:pt x="68185" y="43365"/>
                        <a:pt x="70660" y="45323"/>
                      </a:cubicBezTo>
                      <a:lnTo>
                        <a:pt x="104608" y="72282"/>
                      </a:lnTo>
                      <a:lnTo>
                        <a:pt x="185968" y="19453"/>
                      </a:lnTo>
                      <a:cubicBezTo>
                        <a:pt x="188015" y="18133"/>
                        <a:pt x="190629" y="18024"/>
                        <a:pt x="192765" y="19191"/>
                      </a:cubicBezTo>
                      <a:lnTo>
                        <a:pt x="251567" y="51169"/>
                      </a:lnTo>
                      <a:lnTo>
                        <a:pt x="300163" y="1978"/>
                      </a:lnTo>
                      <a:cubicBezTo>
                        <a:pt x="302747" y="-639"/>
                        <a:pt x="306955" y="-659"/>
                        <a:pt x="309570" y="1918"/>
                      </a:cubicBezTo>
                      <a:cubicBezTo>
                        <a:pt x="312184" y="4500"/>
                        <a:pt x="312211" y="8713"/>
                        <a:pt x="309629" y="11325"/>
                      </a:cubicBezTo>
                      <a:lnTo>
                        <a:pt x="257519" y="64075"/>
                      </a:lnTo>
                      <a:cubicBezTo>
                        <a:pt x="255437" y="66184"/>
                        <a:pt x="252208" y="66664"/>
                        <a:pt x="249609" y="65244"/>
                      </a:cubicBezTo>
                      <a:lnTo>
                        <a:pt x="189893" y="32773"/>
                      </a:lnTo>
                      <a:lnTo>
                        <a:pt x="107840" y="86051"/>
                      </a:lnTo>
                      <a:cubicBezTo>
                        <a:pt x="105443" y="87610"/>
                        <a:pt x="102321" y="87461"/>
                        <a:pt x="100081" y="85682"/>
                      </a:cubicBezTo>
                      <a:lnTo>
                        <a:pt x="66623" y="59111"/>
                      </a:lnTo>
                      <a:lnTo>
                        <a:pt x="10910" y="105536"/>
                      </a:lnTo>
                      <a:cubicBezTo>
                        <a:pt x="9666" y="106572"/>
                        <a:pt x="8157" y="107078"/>
                        <a:pt x="6655" y="107078"/>
                      </a:cubicBezTo>
                      <a:close/>
                    </a:path>
                  </a:pathLst>
                </a:custGeom>
                <a:solidFill>
                  <a:schemeClr val="accent1"/>
                </a:solidFill>
                <a:ln w="247" cap="flat">
                  <a:noFill/>
                  <a:prstDash val="solid"/>
                  <a:miter/>
                </a:ln>
              </p:spPr>
              <p:txBody>
                <a:bodyPr rtlCol="0" anchor="ctr"/>
                <a:lstStyle/>
                <a:p>
                  <a:endParaRPr lang="en-GB" dirty="0"/>
                </a:p>
              </p:txBody>
            </p:sp>
            <p:sp>
              <p:nvSpPr>
                <p:cNvPr id="542" name="Freihandform: Form 622">
                  <a:extLst>
                    <a:ext uri="{FF2B5EF4-FFF2-40B4-BE49-F238E27FC236}">
                      <a16:creationId xmlns:a16="http://schemas.microsoft.com/office/drawing/2014/main" id="{EC92C460-A7F1-43D7-BC1D-CDB647F79289}"/>
                    </a:ext>
                  </a:extLst>
                </p:cNvPr>
                <p:cNvSpPr/>
                <p:nvPr/>
              </p:nvSpPr>
              <p:spPr>
                <a:xfrm>
                  <a:off x="5577647" y="2475660"/>
                  <a:ext cx="43003" cy="43000"/>
                </a:xfrm>
                <a:custGeom>
                  <a:avLst/>
                  <a:gdLst>
                    <a:gd name="connsiteX0" fmla="*/ 36352 w 43003"/>
                    <a:gd name="connsiteY0" fmla="*/ 43001 h 43000"/>
                    <a:gd name="connsiteX1" fmla="*/ 29700 w 43003"/>
                    <a:gd name="connsiteY1" fmla="*/ 36349 h 43000"/>
                    <a:gd name="connsiteX2" fmla="*/ 29700 w 43003"/>
                    <a:gd name="connsiteY2" fmla="*/ 13303 h 43000"/>
                    <a:gd name="connsiteX3" fmla="*/ 6651 w 43003"/>
                    <a:gd name="connsiteY3" fmla="*/ 13303 h 43000"/>
                    <a:gd name="connsiteX4" fmla="*/ 0 w 43003"/>
                    <a:gd name="connsiteY4" fmla="*/ 6651 h 43000"/>
                    <a:gd name="connsiteX5" fmla="*/ 6651 w 43003"/>
                    <a:gd name="connsiteY5" fmla="*/ 0 h 43000"/>
                    <a:gd name="connsiteX6" fmla="*/ 36352 w 43003"/>
                    <a:gd name="connsiteY6" fmla="*/ 0 h 43000"/>
                    <a:gd name="connsiteX7" fmla="*/ 43003 w 43003"/>
                    <a:gd name="connsiteY7" fmla="*/ 6651 h 43000"/>
                    <a:gd name="connsiteX8" fmla="*/ 43003 w 43003"/>
                    <a:gd name="connsiteY8" fmla="*/ 36349 h 43000"/>
                    <a:gd name="connsiteX9" fmla="*/ 36352 w 43003"/>
                    <a:gd name="connsiteY9" fmla="*/ 43001 h 43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003" h="43000">
                      <a:moveTo>
                        <a:pt x="36352" y="43001"/>
                      </a:moveTo>
                      <a:cubicBezTo>
                        <a:pt x="32679" y="43001"/>
                        <a:pt x="29700" y="40022"/>
                        <a:pt x="29700" y="36349"/>
                      </a:cubicBezTo>
                      <a:lnTo>
                        <a:pt x="29700" y="13303"/>
                      </a:lnTo>
                      <a:lnTo>
                        <a:pt x="6651" y="13303"/>
                      </a:lnTo>
                      <a:cubicBezTo>
                        <a:pt x="2979" y="13303"/>
                        <a:pt x="0" y="10324"/>
                        <a:pt x="0" y="6651"/>
                      </a:cubicBezTo>
                      <a:cubicBezTo>
                        <a:pt x="0" y="2979"/>
                        <a:pt x="2979" y="0"/>
                        <a:pt x="6651" y="0"/>
                      </a:cubicBezTo>
                      <a:lnTo>
                        <a:pt x="36352" y="0"/>
                      </a:lnTo>
                      <a:cubicBezTo>
                        <a:pt x="40024" y="0"/>
                        <a:pt x="43003" y="2979"/>
                        <a:pt x="43003" y="6651"/>
                      </a:cubicBezTo>
                      <a:lnTo>
                        <a:pt x="43003" y="36349"/>
                      </a:lnTo>
                      <a:cubicBezTo>
                        <a:pt x="43003" y="40022"/>
                        <a:pt x="40024" y="43001"/>
                        <a:pt x="36352" y="43001"/>
                      </a:cubicBezTo>
                      <a:close/>
                    </a:path>
                  </a:pathLst>
                </a:custGeom>
                <a:solidFill>
                  <a:schemeClr val="accent1"/>
                </a:solidFill>
                <a:ln w="247" cap="flat">
                  <a:noFill/>
                  <a:prstDash val="solid"/>
                  <a:miter/>
                </a:ln>
              </p:spPr>
              <p:txBody>
                <a:bodyPr rtlCol="0" anchor="ctr"/>
                <a:lstStyle/>
                <a:p>
                  <a:endParaRPr lang="en-GB" dirty="0"/>
                </a:p>
              </p:txBody>
            </p:sp>
          </p:grpSp>
          <p:grpSp>
            <p:nvGrpSpPr>
              <p:cNvPr id="527" name="Grafik 343">
                <a:extLst>
                  <a:ext uri="{FF2B5EF4-FFF2-40B4-BE49-F238E27FC236}">
                    <a16:creationId xmlns:a16="http://schemas.microsoft.com/office/drawing/2014/main" id="{9670BD7E-71AA-467A-81E8-55DCC08453AB}"/>
                  </a:ext>
                </a:extLst>
              </p:cNvPr>
              <p:cNvGrpSpPr/>
              <p:nvPr/>
            </p:nvGrpSpPr>
            <p:grpSpPr>
              <a:xfrm>
                <a:off x="5330996" y="2556818"/>
                <a:ext cx="234414" cy="137043"/>
                <a:chOff x="5330996" y="2556818"/>
                <a:chExt cx="234414" cy="137043"/>
              </a:xfrm>
              <a:solidFill>
                <a:schemeClr val="accent1"/>
              </a:solidFill>
            </p:grpSpPr>
            <p:grpSp>
              <p:nvGrpSpPr>
                <p:cNvPr id="528" name="Grafik 343">
                  <a:extLst>
                    <a:ext uri="{FF2B5EF4-FFF2-40B4-BE49-F238E27FC236}">
                      <a16:creationId xmlns:a16="http://schemas.microsoft.com/office/drawing/2014/main" id="{18582F8D-3AA1-403A-9B24-583BD0724E02}"/>
                    </a:ext>
                  </a:extLst>
                </p:cNvPr>
                <p:cNvGrpSpPr/>
                <p:nvPr/>
              </p:nvGrpSpPr>
              <p:grpSpPr>
                <a:xfrm>
                  <a:off x="5330996" y="2590459"/>
                  <a:ext cx="106855" cy="83783"/>
                  <a:chOff x="5330996" y="2590459"/>
                  <a:chExt cx="106855" cy="83783"/>
                </a:xfrm>
                <a:solidFill>
                  <a:schemeClr val="accent1"/>
                </a:solidFill>
              </p:grpSpPr>
              <p:sp>
                <p:nvSpPr>
                  <p:cNvPr id="539" name="Freihandform: Form 625">
                    <a:extLst>
                      <a:ext uri="{FF2B5EF4-FFF2-40B4-BE49-F238E27FC236}">
                        <a16:creationId xmlns:a16="http://schemas.microsoft.com/office/drawing/2014/main" id="{FEC6AB6C-2294-4D77-A22F-E626CECA08E3}"/>
                      </a:ext>
                    </a:extLst>
                  </p:cNvPr>
                  <p:cNvSpPr/>
                  <p:nvPr/>
                </p:nvSpPr>
                <p:spPr>
                  <a:xfrm>
                    <a:off x="5330996" y="2590459"/>
                    <a:ext cx="105620" cy="56677"/>
                  </a:xfrm>
                  <a:custGeom>
                    <a:avLst/>
                    <a:gdLst>
                      <a:gd name="connsiteX0" fmla="*/ 70044 w 105620"/>
                      <a:gd name="connsiteY0" fmla="*/ 56677 h 56677"/>
                      <a:gd name="connsiteX1" fmla="*/ 0 w 105620"/>
                      <a:gd name="connsiteY1" fmla="*/ 28340 h 56677"/>
                      <a:gd name="connsiteX2" fmla="*/ 70044 w 105620"/>
                      <a:gd name="connsiteY2" fmla="*/ 0 h 56677"/>
                      <a:gd name="connsiteX3" fmla="*/ 99839 w 105620"/>
                      <a:gd name="connsiteY3" fmla="*/ 2436 h 56677"/>
                      <a:gd name="connsiteX4" fmla="*/ 105256 w 105620"/>
                      <a:gd name="connsiteY4" fmla="*/ 10128 h 56677"/>
                      <a:gd name="connsiteX5" fmla="*/ 97564 w 105620"/>
                      <a:gd name="connsiteY5" fmla="*/ 15545 h 56677"/>
                      <a:gd name="connsiteX6" fmla="*/ 70042 w 105620"/>
                      <a:gd name="connsiteY6" fmla="*/ 13305 h 56677"/>
                      <a:gd name="connsiteX7" fmla="*/ 13303 w 105620"/>
                      <a:gd name="connsiteY7" fmla="*/ 28340 h 56677"/>
                      <a:gd name="connsiteX8" fmla="*/ 70042 w 105620"/>
                      <a:gd name="connsiteY8" fmla="*/ 43372 h 56677"/>
                      <a:gd name="connsiteX9" fmla="*/ 97817 w 105620"/>
                      <a:gd name="connsiteY9" fmla="*/ 41090 h 56677"/>
                      <a:gd name="connsiteX10" fmla="*/ 105519 w 105620"/>
                      <a:gd name="connsiteY10" fmla="*/ 46492 h 56677"/>
                      <a:gd name="connsiteX11" fmla="*/ 100117 w 105620"/>
                      <a:gd name="connsiteY11" fmla="*/ 54194 h 56677"/>
                      <a:gd name="connsiteX12" fmla="*/ 70044 w 105620"/>
                      <a:gd name="connsiteY12" fmla="*/ 56677 h 56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620" h="56677">
                        <a:moveTo>
                          <a:pt x="70044" y="56677"/>
                        </a:moveTo>
                        <a:cubicBezTo>
                          <a:pt x="36310" y="56677"/>
                          <a:pt x="0" y="47811"/>
                          <a:pt x="0" y="28340"/>
                        </a:cubicBezTo>
                        <a:cubicBezTo>
                          <a:pt x="0" y="8867"/>
                          <a:pt x="36307" y="0"/>
                          <a:pt x="70044" y="0"/>
                        </a:cubicBezTo>
                        <a:cubicBezTo>
                          <a:pt x="80500" y="0"/>
                          <a:pt x="90529" y="818"/>
                          <a:pt x="99839" y="2436"/>
                        </a:cubicBezTo>
                        <a:cubicBezTo>
                          <a:pt x="103460" y="3065"/>
                          <a:pt x="105883" y="6510"/>
                          <a:pt x="105256" y="10128"/>
                        </a:cubicBezTo>
                        <a:cubicBezTo>
                          <a:pt x="104627" y="13749"/>
                          <a:pt x="101192" y="16157"/>
                          <a:pt x="97564" y="15545"/>
                        </a:cubicBezTo>
                        <a:cubicBezTo>
                          <a:pt x="89119" y="14081"/>
                          <a:pt x="79603" y="13305"/>
                          <a:pt x="70042" y="13305"/>
                        </a:cubicBezTo>
                        <a:cubicBezTo>
                          <a:pt x="33185" y="13305"/>
                          <a:pt x="13303" y="23978"/>
                          <a:pt x="13303" y="28340"/>
                        </a:cubicBezTo>
                        <a:cubicBezTo>
                          <a:pt x="13303" y="32701"/>
                          <a:pt x="33185" y="43372"/>
                          <a:pt x="70042" y="43372"/>
                        </a:cubicBezTo>
                        <a:cubicBezTo>
                          <a:pt x="79704" y="43372"/>
                          <a:pt x="89309" y="42582"/>
                          <a:pt x="97817" y="41090"/>
                        </a:cubicBezTo>
                        <a:cubicBezTo>
                          <a:pt x="101410" y="40443"/>
                          <a:pt x="104882" y="42874"/>
                          <a:pt x="105519" y="46492"/>
                        </a:cubicBezTo>
                        <a:cubicBezTo>
                          <a:pt x="106156" y="50110"/>
                          <a:pt x="103735" y="53557"/>
                          <a:pt x="100117" y="54194"/>
                        </a:cubicBezTo>
                        <a:cubicBezTo>
                          <a:pt x="90734" y="55842"/>
                          <a:pt x="80616" y="56677"/>
                          <a:pt x="70044" y="56677"/>
                        </a:cubicBezTo>
                        <a:close/>
                      </a:path>
                    </a:pathLst>
                  </a:custGeom>
                  <a:solidFill>
                    <a:schemeClr val="accent1"/>
                  </a:solidFill>
                  <a:ln w="247" cap="flat">
                    <a:noFill/>
                    <a:prstDash val="solid"/>
                    <a:miter/>
                  </a:ln>
                </p:spPr>
                <p:txBody>
                  <a:bodyPr rtlCol="0" anchor="ctr"/>
                  <a:lstStyle/>
                  <a:p>
                    <a:endParaRPr lang="en-GB" dirty="0"/>
                  </a:p>
                </p:txBody>
              </p:sp>
              <p:sp>
                <p:nvSpPr>
                  <p:cNvPr id="540" name="Freihandform: Form 626">
                    <a:extLst>
                      <a:ext uri="{FF2B5EF4-FFF2-40B4-BE49-F238E27FC236}">
                        <a16:creationId xmlns:a16="http://schemas.microsoft.com/office/drawing/2014/main" id="{6E864FE1-9932-4879-8A48-F797ADCF8C28}"/>
                      </a:ext>
                    </a:extLst>
                  </p:cNvPr>
                  <p:cNvSpPr/>
                  <p:nvPr/>
                </p:nvSpPr>
                <p:spPr>
                  <a:xfrm>
                    <a:off x="5330996" y="2612148"/>
                    <a:ext cx="106855" cy="62094"/>
                  </a:xfrm>
                  <a:custGeom>
                    <a:avLst/>
                    <a:gdLst>
                      <a:gd name="connsiteX0" fmla="*/ 70044 w 106855"/>
                      <a:gd name="connsiteY0" fmla="*/ 62095 h 62094"/>
                      <a:gd name="connsiteX1" fmla="*/ 0 w 106855"/>
                      <a:gd name="connsiteY1" fmla="*/ 33757 h 62094"/>
                      <a:gd name="connsiteX2" fmla="*/ 0 w 106855"/>
                      <a:gd name="connsiteY2" fmla="*/ 6651 h 62094"/>
                      <a:gd name="connsiteX3" fmla="*/ 6651 w 106855"/>
                      <a:gd name="connsiteY3" fmla="*/ 0 h 62094"/>
                      <a:gd name="connsiteX4" fmla="*/ 13303 w 106855"/>
                      <a:gd name="connsiteY4" fmla="*/ 6651 h 62094"/>
                      <a:gd name="connsiteX5" fmla="*/ 13303 w 106855"/>
                      <a:gd name="connsiteY5" fmla="*/ 33757 h 62094"/>
                      <a:gd name="connsiteX6" fmla="*/ 70042 w 106855"/>
                      <a:gd name="connsiteY6" fmla="*/ 48790 h 62094"/>
                      <a:gd name="connsiteX7" fmla="*/ 98989 w 106855"/>
                      <a:gd name="connsiteY7" fmla="*/ 46294 h 62094"/>
                      <a:gd name="connsiteX8" fmla="*/ 106743 w 106855"/>
                      <a:gd name="connsiteY8" fmla="*/ 51625 h 62094"/>
                      <a:gd name="connsiteX9" fmla="*/ 101413 w 106855"/>
                      <a:gd name="connsiteY9" fmla="*/ 59379 h 62094"/>
                      <a:gd name="connsiteX10" fmla="*/ 70044 w 106855"/>
                      <a:gd name="connsiteY10" fmla="*/ 62095 h 62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6855" h="62094">
                        <a:moveTo>
                          <a:pt x="70044" y="62095"/>
                        </a:moveTo>
                        <a:cubicBezTo>
                          <a:pt x="36310" y="62095"/>
                          <a:pt x="0" y="53228"/>
                          <a:pt x="0" y="33757"/>
                        </a:cubicBezTo>
                        <a:lnTo>
                          <a:pt x="0" y="6651"/>
                        </a:lnTo>
                        <a:cubicBezTo>
                          <a:pt x="0" y="2979"/>
                          <a:pt x="2979" y="0"/>
                          <a:pt x="6651" y="0"/>
                        </a:cubicBezTo>
                        <a:cubicBezTo>
                          <a:pt x="10324" y="0"/>
                          <a:pt x="13303" y="2979"/>
                          <a:pt x="13303" y="6651"/>
                        </a:cubicBezTo>
                        <a:lnTo>
                          <a:pt x="13303" y="33757"/>
                        </a:lnTo>
                        <a:cubicBezTo>
                          <a:pt x="13303" y="38119"/>
                          <a:pt x="33185" y="48790"/>
                          <a:pt x="70042" y="48790"/>
                        </a:cubicBezTo>
                        <a:cubicBezTo>
                          <a:pt x="80163" y="48790"/>
                          <a:pt x="90174" y="47925"/>
                          <a:pt x="98989" y="46294"/>
                        </a:cubicBezTo>
                        <a:cubicBezTo>
                          <a:pt x="102597" y="45617"/>
                          <a:pt x="106069" y="48016"/>
                          <a:pt x="106743" y="51625"/>
                        </a:cubicBezTo>
                        <a:cubicBezTo>
                          <a:pt x="107412" y="55238"/>
                          <a:pt x="105026" y="58709"/>
                          <a:pt x="101413" y="59379"/>
                        </a:cubicBezTo>
                        <a:cubicBezTo>
                          <a:pt x="91815" y="61155"/>
                          <a:pt x="80966" y="62095"/>
                          <a:pt x="70044" y="62095"/>
                        </a:cubicBezTo>
                        <a:close/>
                      </a:path>
                    </a:pathLst>
                  </a:custGeom>
                  <a:solidFill>
                    <a:schemeClr val="accent1"/>
                  </a:solidFill>
                  <a:ln w="247" cap="flat">
                    <a:noFill/>
                    <a:prstDash val="solid"/>
                    <a:miter/>
                  </a:ln>
                </p:spPr>
                <p:txBody>
                  <a:bodyPr rtlCol="0" anchor="ctr"/>
                  <a:lstStyle/>
                  <a:p>
                    <a:endParaRPr lang="en-GB" dirty="0"/>
                  </a:p>
                </p:txBody>
              </p:sp>
            </p:grpSp>
            <p:grpSp>
              <p:nvGrpSpPr>
                <p:cNvPr id="529" name="Grafik 343">
                  <a:extLst>
                    <a:ext uri="{FF2B5EF4-FFF2-40B4-BE49-F238E27FC236}">
                      <a16:creationId xmlns:a16="http://schemas.microsoft.com/office/drawing/2014/main" id="{F7B8C025-AD43-4FB1-8EE2-DCA42F6A0D53}"/>
                    </a:ext>
                  </a:extLst>
                </p:cNvPr>
                <p:cNvGrpSpPr/>
                <p:nvPr/>
              </p:nvGrpSpPr>
              <p:grpSpPr>
                <a:xfrm>
                  <a:off x="5425318" y="2556818"/>
                  <a:ext cx="140091" cy="110212"/>
                  <a:chOff x="5425318" y="2556818"/>
                  <a:chExt cx="140091" cy="110212"/>
                </a:xfrm>
                <a:solidFill>
                  <a:schemeClr val="accent1"/>
                </a:solidFill>
              </p:grpSpPr>
              <p:grpSp>
                <p:nvGrpSpPr>
                  <p:cNvPr id="533" name="Grafik 343">
                    <a:extLst>
                      <a:ext uri="{FF2B5EF4-FFF2-40B4-BE49-F238E27FC236}">
                        <a16:creationId xmlns:a16="http://schemas.microsoft.com/office/drawing/2014/main" id="{721B2220-07B7-42B3-9C2A-17D7E90A6FC9}"/>
                      </a:ext>
                    </a:extLst>
                  </p:cNvPr>
                  <p:cNvGrpSpPr/>
                  <p:nvPr/>
                </p:nvGrpSpPr>
                <p:grpSpPr>
                  <a:xfrm>
                    <a:off x="5425318" y="2604934"/>
                    <a:ext cx="140086" cy="62097"/>
                    <a:chOff x="5425318" y="2604934"/>
                    <a:chExt cx="140086" cy="62097"/>
                  </a:xfrm>
                  <a:solidFill>
                    <a:schemeClr val="accent1"/>
                  </a:solidFill>
                </p:grpSpPr>
                <p:sp>
                  <p:nvSpPr>
                    <p:cNvPr id="537" name="Freihandform: Form 629">
                      <a:extLst>
                        <a:ext uri="{FF2B5EF4-FFF2-40B4-BE49-F238E27FC236}">
                          <a16:creationId xmlns:a16="http://schemas.microsoft.com/office/drawing/2014/main" id="{7E6F3505-6EAE-4914-8466-E10FC6C70EC9}"/>
                        </a:ext>
                      </a:extLst>
                    </p:cNvPr>
                    <p:cNvSpPr/>
                    <p:nvPr/>
                  </p:nvSpPr>
                  <p:spPr>
                    <a:xfrm>
                      <a:off x="5425318" y="2604934"/>
                      <a:ext cx="140086" cy="34991"/>
                    </a:xfrm>
                    <a:custGeom>
                      <a:avLst/>
                      <a:gdLst>
                        <a:gd name="connsiteX0" fmla="*/ 70047 w 140086"/>
                        <a:gd name="connsiteY0" fmla="*/ 34991 h 34991"/>
                        <a:gd name="connsiteX1" fmla="*/ 0 w 140086"/>
                        <a:gd name="connsiteY1" fmla="*/ 6651 h 34991"/>
                        <a:gd name="connsiteX2" fmla="*/ 6651 w 140086"/>
                        <a:gd name="connsiteY2" fmla="*/ 0 h 34991"/>
                        <a:gd name="connsiteX3" fmla="*/ 13303 w 140086"/>
                        <a:gd name="connsiteY3" fmla="*/ 6651 h 34991"/>
                        <a:gd name="connsiteX4" fmla="*/ 70044 w 140086"/>
                        <a:gd name="connsiteY4" fmla="*/ 21686 h 34991"/>
                        <a:gd name="connsiteX5" fmla="*/ 126784 w 140086"/>
                        <a:gd name="connsiteY5" fmla="*/ 6651 h 34991"/>
                        <a:gd name="connsiteX6" fmla="*/ 133435 w 140086"/>
                        <a:gd name="connsiteY6" fmla="*/ 0 h 34991"/>
                        <a:gd name="connsiteX7" fmla="*/ 140086 w 140086"/>
                        <a:gd name="connsiteY7" fmla="*/ 6651 h 34991"/>
                        <a:gd name="connsiteX8" fmla="*/ 70047 w 140086"/>
                        <a:gd name="connsiteY8" fmla="*/ 34991 h 3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86" h="34991">
                          <a:moveTo>
                            <a:pt x="70047" y="34991"/>
                          </a:moveTo>
                          <a:cubicBezTo>
                            <a:pt x="36312" y="34991"/>
                            <a:pt x="0" y="26124"/>
                            <a:pt x="0" y="6651"/>
                          </a:cubicBezTo>
                          <a:cubicBezTo>
                            <a:pt x="0" y="2979"/>
                            <a:pt x="2979" y="0"/>
                            <a:pt x="6651" y="0"/>
                          </a:cubicBezTo>
                          <a:cubicBezTo>
                            <a:pt x="10324" y="0"/>
                            <a:pt x="13303" y="2979"/>
                            <a:pt x="13303" y="6651"/>
                          </a:cubicBezTo>
                          <a:cubicBezTo>
                            <a:pt x="13303" y="11013"/>
                            <a:pt x="33187" y="21686"/>
                            <a:pt x="70044" y="21686"/>
                          </a:cubicBezTo>
                          <a:cubicBezTo>
                            <a:pt x="106902" y="21686"/>
                            <a:pt x="126784" y="11013"/>
                            <a:pt x="126784" y="6651"/>
                          </a:cubicBezTo>
                          <a:cubicBezTo>
                            <a:pt x="126784" y="2979"/>
                            <a:pt x="129763" y="0"/>
                            <a:pt x="133435" y="0"/>
                          </a:cubicBezTo>
                          <a:cubicBezTo>
                            <a:pt x="137108" y="0"/>
                            <a:pt x="140086" y="2979"/>
                            <a:pt x="140086" y="6651"/>
                          </a:cubicBezTo>
                          <a:cubicBezTo>
                            <a:pt x="140091" y="26122"/>
                            <a:pt x="103782" y="34991"/>
                            <a:pt x="70047" y="34991"/>
                          </a:cubicBezTo>
                          <a:close/>
                        </a:path>
                      </a:pathLst>
                    </a:custGeom>
                    <a:solidFill>
                      <a:schemeClr val="accent1"/>
                    </a:solidFill>
                    <a:ln w="247" cap="flat">
                      <a:noFill/>
                      <a:prstDash val="solid"/>
                      <a:miter/>
                    </a:ln>
                  </p:spPr>
                  <p:txBody>
                    <a:bodyPr rtlCol="0" anchor="ctr"/>
                    <a:lstStyle/>
                    <a:p>
                      <a:endParaRPr lang="en-GB" dirty="0"/>
                    </a:p>
                  </p:txBody>
                </p:sp>
                <p:sp>
                  <p:nvSpPr>
                    <p:cNvPr id="538" name="Freihandform: Form 630">
                      <a:extLst>
                        <a:ext uri="{FF2B5EF4-FFF2-40B4-BE49-F238E27FC236}">
                          <a16:creationId xmlns:a16="http://schemas.microsoft.com/office/drawing/2014/main" id="{A945273D-2CAD-418A-AEB3-5ECC02305196}"/>
                        </a:ext>
                      </a:extLst>
                    </p:cNvPr>
                    <p:cNvSpPr/>
                    <p:nvPr/>
                  </p:nvSpPr>
                  <p:spPr>
                    <a:xfrm>
                      <a:off x="5425318" y="2604934"/>
                      <a:ext cx="140086" cy="62097"/>
                    </a:xfrm>
                    <a:custGeom>
                      <a:avLst/>
                      <a:gdLst>
                        <a:gd name="connsiteX0" fmla="*/ 70047 w 140086"/>
                        <a:gd name="connsiteY0" fmla="*/ 62097 h 62097"/>
                        <a:gd name="connsiteX1" fmla="*/ 0 w 140086"/>
                        <a:gd name="connsiteY1" fmla="*/ 33760 h 62097"/>
                        <a:gd name="connsiteX2" fmla="*/ 0 w 140086"/>
                        <a:gd name="connsiteY2" fmla="*/ 6651 h 62097"/>
                        <a:gd name="connsiteX3" fmla="*/ 6651 w 140086"/>
                        <a:gd name="connsiteY3" fmla="*/ 0 h 62097"/>
                        <a:gd name="connsiteX4" fmla="*/ 13303 w 140086"/>
                        <a:gd name="connsiteY4" fmla="*/ 6651 h 62097"/>
                        <a:gd name="connsiteX5" fmla="*/ 13303 w 140086"/>
                        <a:gd name="connsiteY5" fmla="*/ 33760 h 62097"/>
                        <a:gd name="connsiteX6" fmla="*/ 70044 w 140086"/>
                        <a:gd name="connsiteY6" fmla="*/ 48792 h 62097"/>
                        <a:gd name="connsiteX7" fmla="*/ 126784 w 140086"/>
                        <a:gd name="connsiteY7" fmla="*/ 33760 h 62097"/>
                        <a:gd name="connsiteX8" fmla="*/ 126784 w 140086"/>
                        <a:gd name="connsiteY8" fmla="*/ 6651 h 62097"/>
                        <a:gd name="connsiteX9" fmla="*/ 133435 w 140086"/>
                        <a:gd name="connsiteY9" fmla="*/ 0 h 62097"/>
                        <a:gd name="connsiteX10" fmla="*/ 140086 w 140086"/>
                        <a:gd name="connsiteY10" fmla="*/ 6651 h 62097"/>
                        <a:gd name="connsiteX11" fmla="*/ 140086 w 140086"/>
                        <a:gd name="connsiteY11" fmla="*/ 33760 h 62097"/>
                        <a:gd name="connsiteX12" fmla="*/ 70047 w 140086"/>
                        <a:gd name="connsiteY12" fmla="*/ 62097 h 6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086" h="62097">
                          <a:moveTo>
                            <a:pt x="70047" y="62097"/>
                          </a:moveTo>
                          <a:cubicBezTo>
                            <a:pt x="36312" y="62097"/>
                            <a:pt x="0" y="53230"/>
                            <a:pt x="0" y="33760"/>
                          </a:cubicBezTo>
                          <a:lnTo>
                            <a:pt x="0" y="6651"/>
                          </a:lnTo>
                          <a:cubicBezTo>
                            <a:pt x="0" y="2979"/>
                            <a:pt x="2979" y="0"/>
                            <a:pt x="6651" y="0"/>
                          </a:cubicBezTo>
                          <a:cubicBezTo>
                            <a:pt x="10324" y="0"/>
                            <a:pt x="13303" y="2979"/>
                            <a:pt x="13303" y="6651"/>
                          </a:cubicBezTo>
                          <a:lnTo>
                            <a:pt x="13303" y="33760"/>
                          </a:lnTo>
                          <a:cubicBezTo>
                            <a:pt x="13303" y="38121"/>
                            <a:pt x="33187" y="48792"/>
                            <a:pt x="70044" y="48792"/>
                          </a:cubicBezTo>
                          <a:cubicBezTo>
                            <a:pt x="106902" y="48792"/>
                            <a:pt x="126784" y="38121"/>
                            <a:pt x="126784" y="33760"/>
                          </a:cubicBezTo>
                          <a:lnTo>
                            <a:pt x="126784" y="6651"/>
                          </a:lnTo>
                          <a:cubicBezTo>
                            <a:pt x="126784" y="2979"/>
                            <a:pt x="129763" y="0"/>
                            <a:pt x="133435" y="0"/>
                          </a:cubicBezTo>
                          <a:cubicBezTo>
                            <a:pt x="137108" y="0"/>
                            <a:pt x="140086" y="2979"/>
                            <a:pt x="140086" y="6651"/>
                          </a:cubicBezTo>
                          <a:lnTo>
                            <a:pt x="140086" y="33760"/>
                          </a:lnTo>
                          <a:cubicBezTo>
                            <a:pt x="140091" y="53228"/>
                            <a:pt x="103782" y="62097"/>
                            <a:pt x="70047" y="62097"/>
                          </a:cubicBezTo>
                          <a:close/>
                        </a:path>
                      </a:pathLst>
                    </a:custGeom>
                    <a:solidFill>
                      <a:schemeClr val="accent1"/>
                    </a:solidFill>
                    <a:ln w="247" cap="flat">
                      <a:noFill/>
                      <a:prstDash val="solid"/>
                      <a:miter/>
                    </a:ln>
                  </p:spPr>
                  <p:txBody>
                    <a:bodyPr rtlCol="0" anchor="ctr"/>
                    <a:lstStyle/>
                    <a:p>
                      <a:endParaRPr lang="en-GB" dirty="0"/>
                    </a:p>
                  </p:txBody>
                </p:sp>
              </p:grpSp>
              <p:grpSp>
                <p:nvGrpSpPr>
                  <p:cNvPr id="534" name="Grafik 343">
                    <a:extLst>
                      <a:ext uri="{FF2B5EF4-FFF2-40B4-BE49-F238E27FC236}">
                        <a16:creationId xmlns:a16="http://schemas.microsoft.com/office/drawing/2014/main" id="{CB8DFDEC-54CD-4F6F-AFF1-819AE230C96C}"/>
                      </a:ext>
                    </a:extLst>
                  </p:cNvPr>
                  <p:cNvGrpSpPr/>
                  <p:nvPr/>
                </p:nvGrpSpPr>
                <p:grpSpPr>
                  <a:xfrm>
                    <a:off x="5425318" y="2556818"/>
                    <a:ext cx="140091" cy="83780"/>
                    <a:chOff x="5425318" y="2556818"/>
                    <a:chExt cx="140091" cy="83780"/>
                  </a:xfrm>
                  <a:solidFill>
                    <a:schemeClr val="accent1"/>
                  </a:solidFill>
                </p:grpSpPr>
                <p:sp>
                  <p:nvSpPr>
                    <p:cNvPr id="535" name="Freihandform: Form 632">
                      <a:extLst>
                        <a:ext uri="{FF2B5EF4-FFF2-40B4-BE49-F238E27FC236}">
                          <a16:creationId xmlns:a16="http://schemas.microsoft.com/office/drawing/2014/main" id="{3AD0F62A-8DCC-46F0-99FD-BEA66AA66E7A}"/>
                        </a:ext>
                      </a:extLst>
                    </p:cNvPr>
                    <p:cNvSpPr/>
                    <p:nvPr/>
                  </p:nvSpPr>
                  <p:spPr>
                    <a:xfrm>
                      <a:off x="5425318" y="2556818"/>
                      <a:ext cx="140091" cy="56674"/>
                    </a:xfrm>
                    <a:custGeom>
                      <a:avLst/>
                      <a:gdLst>
                        <a:gd name="connsiteX0" fmla="*/ 70047 w 140091"/>
                        <a:gd name="connsiteY0" fmla="*/ 56675 h 56674"/>
                        <a:gd name="connsiteX1" fmla="*/ 0 w 140091"/>
                        <a:gd name="connsiteY1" fmla="*/ 28337 h 56674"/>
                        <a:gd name="connsiteX2" fmla="*/ 70047 w 140091"/>
                        <a:gd name="connsiteY2" fmla="*/ 0 h 56674"/>
                        <a:gd name="connsiteX3" fmla="*/ 140091 w 140091"/>
                        <a:gd name="connsiteY3" fmla="*/ 28337 h 56674"/>
                        <a:gd name="connsiteX4" fmla="*/ 70047 w 140091"/>
                        <a:gd name="connsiteY4" fmla="*/ 56675 h 56674"/>
                        <a:gd name="connsiteX5" fmla="*/ 70047 w 140091"/>
                        <a:gd name="connsiteY5" fmla="*/ 13305 h 56674"/>
                        <a:gd name="connsiteX6" fmla="*/ 13305 w 140091"/>
                        <a:gd name="connsiteY6" fmla="*/ 28337 h 56674"/>
                        <a:gd name="connsiteX7" fmla="*/ 70047 w 140091"/>
                        <a:gd name="connsiteY7" fmla="*/ 43370 h 56674"/>
                        <a:gd name="connsiteX8" fmla="*/ 126786 w 140091"/>
                        <a:gd name="connsiteY8" fmla="*/ 28337 h 56674"/>
                        <a:gd name="connsiteX9" fmla="*/ 70047 w 140091"/>
                        <a:gd name="connsiteY9" fmla="*/ 13305 h 56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0091" h="56674">
                          <a:moveTo>
                            <a:pt x="70047" y="56675"/>
                          </a:moveTo>
                          <a:cubicBezTo>
                            <a:pt x="36312" y="56675"/>
                            <a:pt x="0" y="47808"/>
                            <a:pt x="0" y="28337"/>
                          </a:cubicBezTo>
                          <a:cubicBezTo>
                            <a:pt x="0" y="8867"/>
                            <a:pt x="36312" y="0"/>
                            <a:pt x="70047" y="0"/>
                          </a:cubicBezTo>
                          <a:cubicBezTo>
                            <a:pt x="103782" y="0"/>
                            <a:pt x="140091" y="8867"/>
                            <a:pt x="140091" y="28337"/>
                          </a:cubicBezTo>
                          <a:cubicBezTo>
                            <a:pt x="140091" y="47808"/>
                            <a:pt x="103782" y="56675"/>
                            <a:pt x="70047" y="56675"/>
                          </a:cubicBezTo>
                          <a:close/>
                          <a:moveTo>
                            <a:pt x="70047" y="13305"/>
                          </a:moveTo>
                          <a:cubicBezTo>
                            <a:pt x="33190" y="13305"/>
                            <a:pt x="13305" y="23976"/>
                            <a:pt x="13305" y="28337"/>
                          </a:cubicBezTo>
                          <a:cubicBezTo>
                            <a:pt x="13305" y="32699"/>
                            <a:pt x="33190" y="43370"/>
                            <a:pt x="70047" y="43370"/>
                          </a:cubicBezTo>
                          <a:cubicBezTo>
                            <a:pt x="106904" y="43370"/>
                            <a:pt x="126786" y="32699"/>
                            <a:pt x="126786" y="28337"/>
                          </a:cubicBezTo>
                          <a:cubicBezTo>
                            <a:pt x="126786" y="23976"/>
                            <a:pt x="106904" y="13305"/>
                            <a:pt x="70047" y="13305"/>
                          </a:cubicBezTo>
                          <a:close/>
                        </a:path>
                      </a:pathLst>
                    </a:custGeom>
                    <a:solidFill>
                      <a:schemeClr val="accent1"/>
                    </a:solidFill>
                    <a:ln w="247" cap="flat">
                      <a:noFill/>
                      <a:prstDash val="solid"/>
                      <a:miter/>
                    </a:ln>
                  </p:spPr>
                  <p:txBody>
                    <a:bodyPr rtlCol="0" anchor="ctr"/>
                    <a:lstStyle/>
                    <a:p>
                      <a:endParaRPr lang="en-GB" dirty="0"/>
                    </a:p>
                  </p:txBody>
                </p:sp>
                <p:sp>
                  <p:nvSpPr>
                    <p:cNvPr id="536" name="Freihandform: Form 633">
                      <a:extLst>
                        <a:ext uri="{FF2B5EF4-FFF2-40B4-BE49-F238E27FC236}">
                          <a16:creationId xmlns:a16="http://schemas.microsoft.com/office/drawing/2014/main" id="{BFD731A8-CA45-4E06-950E-E79D8AE82A19}"/>
                        </a:ext>
                      </a:extLst>
                    </p:cNvPr>
                    <p:cNvSpPr/>
                    <p:nvPr/>
                  </p:nvSpPr>
                  <p:spPr>
                    <a:xfrm>
                      <a:off x="5425318" y="2578505"/>
                      <a:ext cx="140086" cy="62094"/>
                    </a:xfrm>
                    <a:custGeom>
                      <a:avLst/>
                      <a:gdLst>
                        <a:gd name="connsiteX0" fmla="*/ 70047 w 140086"/>
                        <a:gd name="connsiteY0" fmla="*/ 62095 h 62094"/>
                        <a:gd name="connsiteX1" fmla="*/ 0 w 140086"/>
                        <a:gd name="connsiteY1" fmla="*/ 33757 h 62094"/>
                        <a:gd name="connsiteX2" fmla="*/ 0 w 140086"/>
                        <a:gd name="connsiteY2" fmla="*/ 6651 h 62094"/>
                        <a:gd name="connsiteX3" fmla="*/ 6651 w 140086"/>
                        <a:gd name="connsiteY3" fmla="*/ 0 h 62094"/>
                        <a:gd name="connsiteX4" fmla="*/ 13303 w 140086"/>
                        <a:gd name="connsiteY4" fmla="*/ 6651 h 62094"/>
                        <a:gd name="connsiteX5" fmla="*/ 13303 w 140086"/>
                        <a:gd name="connsiteY5" fmla="*/ 33757 h 62094"/>
                        <a:gd name="connsiteX6" fmla="*/ 70044 w 140086"/>
                        <a:gd name="connsiteY6" fmla="*/ 48789 h 62094"/>
                        <a:gd name="connsiteX7" fmla="*/ 126784 w 140086"/>
                        <a:gd name="connsiteY7" fmla="*/ 33757 h 62094"/>
                        <a:gd name="connsiteX8" fmla="*/ 126784 w 140086"/>
                        <a:gd name="connsiteY8" fmla="*/ 6651 h 62094"/>
                        <a:gd name="connsiteX9" fmla="*/ 133435 w 140086"/>
                        <a:gd name="connsiteY9" fmla="*/ 0 h 62094"/>
                        <a:gd name="connsiteX10" fmla="*/ 140086 w 140086"/>
                        <a:gd name="connsiteY10" fmla="*/ 6651 h 62094"/>
                        <a:gd name="connsiteX11" fmla="*/ 140086 w 140086"/>
                        <a:gd name="connsiteY11" fmla="*/ 33757 h 62094"/>
                        <a:gd name="connsiteX12" fmla="*/ 70047 w 140086"/>
                        <a:gd name="connsiteY12" fmla="*/ 62095 h 62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086" h="62094">
                          <a:moveTo>
                            <a:pt x="70047" y="62095"/>
                          </a:moveTo>
                          <a:cubicBezTo>
                            <a:pt x="36312" y="62095"/>
                            <a:pt x="0" y="53228"/>
                            <a:pt x="0" y="33757"/>
                          </a:cubicBezTo>
                          <a:lnTo>
                            <a:pt x="0" y="6651"/>
                          </a:lnTo>
                          <a:cubicBezTo>
                            <a:pt x="0" y="2979"/>
                            <a:pt x="2979" y="0"/>
                            <a:pt x="6651" y="0"/>
                          </a:cubicBezTo>
                          <a:cubicBezTo>
                            <a:pt x="10324" y="0"/>
                            <a:pt x="13303" y="2979"/>
                            <a:pt x="13303" y="6651"/>
                          </a:cubicBezTo>
                          <a:lnTo>
                            <a:pt x="13303" y="33757"/>
                          </a:lnTo>
                          <a:cubicBezTo>
                            <a:pt x="13303" y="38119"/>
                            <a:pt x="33187" y="48789"/>
                            <a:pt x="70044" y="48789"/>
                          </a:cubicBezTo>
                          <a:cubicBezTo>
                            <a:pt x="106902" y="48789"/>
                            <a:pt x="126784" y="38119"/>
                            <a:pt x="126784" y="33757"/>
                          </a:cubicBezTo>
                          <a:lnTo>
                            <a:pt x="126784" y="6651"/>
                          </a:lnTo>
                          <a:cubicBezTo>
                            <a:pt x="126784" y="2979"/>
                            <a:pt x="129763" y="0"/>
                            <a:pt x="133435" y="0"/>
                          </a:cubicBezTo>
                          <a:cubicBezTo>
                            <a:pt x="137108" y="0"/>
                            <a:pt x="140086" y="2979"/>
                            <a:pt x="140086" y="6651"/>
                          </a:cubicBezTo>
                          <a:lnTo>
                            <a:pt x="140086" y="33757"/>
                          </a:lnTo>
                          <a:cubicBezTo>
                            <a:pt x="140091" y="53228"/>
                            <a:pt x="103782" y="62095"/>
                            <a:pt x="70047" y="62095"/>
                          </a:cubicBezTo>
                          <a:close/>
                        </a:path>
                      </a:pathLst>
                    </a:custGeom>
                    <a:solidFill>
                      <a:schemeClr val="accent1"/>
                    </a:solidFill>
                    <a:ln w="247" cap="flat">
                      <a:noFill/>
                      <a:prstDash val="solid"/>
                      <a:miter/>
                    </a:ln>
                  </p:spPr>
                  <p:txBody>
                    <a:bodyPr rtlCol="0" anchor="ctr"/>
                    <a:lstStyle/>
                    <a:p>
                      <a:endParaRPr lang="en-GB" dirty="0"/>
                    </a:p>
                  </p:txBody>
                </p:sp>
              </p:grpSp>
            </p:grpSp>
            <p:grpSp>
              <p:nvGrpSpPr>
                <p:cNvPr id="530" name="Grafik 343">
                  <a:extLst>
                    <a:ext uri="{FF2B5EF4-FFF2-40B4-BE49-F238E27FC236}">
                      <a16:creationId xmlns:a16="http://schemas.microsoft.com/office/drawing/2014/main" id="{6DDB3290-593A-4EDE-8A61-C097EE453D93}"/>
                    </a:ext>
                  </a:extLst>
                </p:cNvPr>
                <p:cNvGrpSpPr/>
                <p:nvPr/>
              </p:nvGrpSpPr>
              <p:grpSpPr>
                <a:xfrm>
                  <a:off x="5425318" y="2631762"/>
                  <a:ext cx="140086" cy="62099"/>
                  <a:chOff x="5425318" y="2631762"/>
                  <a:chExt cx="140086" cy="62099"/>
                </a:xfrm>
                <a:solidFill>
                  <a:schemeClr val="accent1"/>
                </a:solidFill>
              </p:grpSpPr>
              <p:sp>
                <p:nvSpPr>
                  <p:cNvPr id="531" name="Freihandform: Form 635">
                    <a:extLst>
                      <a:ext uri="{FF2B5EF4-FFF2-40B4-BE49-F238E27FC236}">
                        <a16:creationId xmlns:a16="http://schemas.microsoft.com/office/drawing/2014/main" id="{DFE2EFD5-6C4E-48D7-9932-7C280680D774}"/>
                      </a:ext>
                    </a:extLst>
                  </p:cNvPr>
                  <p:cNvSpPr/>
                  <p:nvPr/>
                </p:nvSpPr>
                <p:spPr>
                  <a:xfrm>
                    <a:off x="5425318" y="2631765"/>
                    <a:ext cx="140086" cy="62097"/>
                  </a:xfrm>
                  <a:custGeom>
                    <a:avLst/>
                    <a:gdLst>
                      <a:gd name="connsiteX0" fmla="*/ 70047 w 140086"/>
                      <a:gd name="connsiteY0" fmla="*/ 62097 h 62097"/>
                      <a:gd name="connsiteX1" fmla="*/ 0 w 140086"/>
                      <a:gd name="connsiteY1" fmla="*/ 33757 h 62097"/>
                      <a:gd name="connsiteX2" fmla="*/ 0 w 140086"/>
                      <a:gd name="connsiteY2" fmla="*/ 6651 h 62097"/>
                      <a:gd name="connsiteX3" fmla="*/ 6651 w 140086"/>
                      <a:gd name="connsiteY3" fmla="*/ 0 h 62097"/>
                      <a:gd name="connsiteX4" fmla="*/ 13303 w 140086"/>
                      <a:gd name="connsiteY4" fmla="*/ 6651 h 62097"/>
                      <a:gd name="connsiteX5" fmla="*/ 13303 w 140086"/>
                      <a:gd name="connsiteY5" fmla="*/ 33757 h 62097"/>
                      <a:gd name="connsiteX6" fmla="*/ 70044 w 140086"/>
                      <a:gd name="connsiteY6" fmla="*/ 48792 h 62097"/>
                      <a:gd name="connsiteX7" fmla="*/ 126784 w 140086"/>
                      <a:gd name="connsiteY7" fmla="*/ 33757 h 62097"/>
                      <a:gd name="connsiteX8" fmla="*/ 126784 w 140086"/>
                      <a:gd name="connsiteY8" fmla="*/ 6651 h 62097"/>
                      <a:gd name="connsiteX9" fmla="*/ 133435 w 140086"/>
                      <a:gd name="connsiteY9" fmla="*/ 0 h 62097"/>
                      <a:gd name="connsiteX10" fmla="*/ 140086 w 140086"/>
                      <a:gd name="connsiteY10" fmla="*/ 6651 h 62097"/>
                      <a:gd name="connsiteX11" fmla="*/ 140086 w 140086"/>
                      <a:gd name="connsiteY11" fmla="*/ 33757 h 62097"/>
                      <a:gd name="connsiteX12" fmla="*/ 70047 w 140086"/>
                      <a:gd name="connsiteY12" fmla="*/ 62097 h 62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086" h="62097">
                        <a:moveTo>
                          <a:pt x="70047" y="62097"/>
                        </a:moveTo>
                        <a:cubicBezTo>
                          <a:pt x="36312" y="62097"/>
                          <a:pt x="0" y="53230"/>
                          <a:pt x="0" y="33757"/>
                        </a:cubicBezTo>
                        <a:lnTo>
                          <a:pt x="0" y="6651"/>
                        </a:lnTo>
                        <a:cubicBezTo>
                          <a:pt x="0" y="2979"/>
                          <a:pt x="2979" y="0"/>
                          <a:pt x="6651" y="0"/>
                        </a:cubicBezTo>
                        <a:cubicBezTo>
                          <a:pt x="10324" y="0"/>
                          <a:pt x="13303" y="2979"/>
                          <a:pt x="13303" y="6651"/>
                        </a:cubicBezTo>
                        <a:lnTo>
                          <a:pt x="13303" y="33757"/>
                        </a:lnTo>
                        <a:cubicBezTo>
                          <a:pt x="13303" y="38119"/>
                          <a:pt x="33187" y="48792"/>
                          <a:pt x="70044" y="48792"/>
                        </a:cubicBezTo>
                        <a:cubicBezTo>
                          <a:pt x="106902" y="48792"/>
                          <a:pt x="126784" y="38119"/>
                          <a:pt x="126784" y="33757"/>
                        </a:cubicBezTo>
                        <a:lnTo>
                          <a:pt x="126784" y="6651"/>
                        </a:lnTo>
                        <a:cubicBezTo>
                          <a:pt x="126784" y="2979"/>
                          <a:pt x="129763" y="0"/>
                          <a:pt x="133435" y="0"/>
                        </a:cubicBezTo>
                        <a:cubicBezTo>
                          <a:pt x="137108" y="0"/>
                          <a:pt x="140086" y="2979"/>
                          <a:pt x="140086" y="6651"/>
                        </a:cubicBezTo>
                        <a:lnTo>
                          <a:pt x="140086" y="33757"/>
                        </a:lnTo>
                        <a:cubicBezTo>
                          <a:pt x="140091" y="53228"/>
                          <a:pt x="103782" y="62097"/>
                          <a:pt x="70047" y="62097"/>
                        </a:cubicBezTo>
                        <a:close/>
                      </a:path>
                    </a:pathLst>
                  </a:custGeom>
                  <a:solidFill>
                    <a:schemeClr val="accent1"/>
                  </a:solidFill>
                  <a:ln w="247" cap="flat">
                    <a:noFill/>
                    <a:prstDash val="solid"/>
                    <a:miter/>
                  </a:ln>
                </p:spPr>
                <p:txBody>
                  <a:bodyPr rtlCol="0" anchor="ctr"/>
                  <a:lstStyle/>
                  <a:p>
                    <a:endParaRPr lang="en-GB" dirty="0"/>
                  </a:p>
                </p:txBody>
              </p:sp>
              <p:sp>
                <p:nvSpPr>
                  <p:cNvPr id="532" name="Freihandform: Form 636">
                    <a:extLst>
                      <a:ext uri="{FF2B5EF4-FFF2-40B4-BE49-F238E27FC236}">
                        <a16:creationId xmlns:a16="http://schemas.microsoft.com/office/drawing/2014/main" id="{6F11D3DD-5153-4EF6-826F-B2085123644C}"/>
                      </a:ext>
                    </a:extLst>
                  </p:cNvPr>
                  <p:cNvSpPr/>
                  <p:nvPr/>
                </p:nvSpPr>
                <p:spPr>
                  <a:xfrm>
                    <a:off x="5425318" y="2631762"/>
                    <a:ext cx="140086" cy="34988"/>
                  </a:xfrm>
                  <a:custGeom>
                    <a:avLst/>
                    <a:gdLst>
                      <a:gd name="connsiteX0" fmla="*/ 70047 w 140086"/>
                      <a:gd name="connsiteY0" fmla="*/ 34989 h 34988"/>
                      <a:gd name="connsiteX1" fmla="*/ 0 w 140086"/>
                      <a:gd name="connsiteY1" fmla="*/ 6651 h 34988"/>
                      <a:gd name="connsiteX2" fmla="*/ 6651 w 140086"/>
                      <a:gd name="connsiteY2" fmla="*/ 0 h 34988"/>
                      <a:gd name="connsiteX3" fmla="*/ 13303 w 140086"/>
                      <a:gd name="connsiteY3" fmla="*/ 6651 h 34988"/>
                      <a:gd name="connsiteX4" fmla="*/ 70044 w 140086"/>
                      <a:gd name="connsiteY4" fmla="*/ 21684 h 34988"/>
                      <a:gd name="connsiteX5" fmla="*/ 126784 w 140086"/>
                      <a:gd name="connsiteY5" fmla="*/ 6651 h 34988"/>
                      <a:gd name="connsiteX6" fmla="*/ 133435 w 140086"/>
                      <a:gd name="connsiteY6" fmla="*/ 0 h 34988"/>
                      <a:gd name="connsiteX7" fmla="*/ 140086 w 140086"/>
                      <a:gd name="connsiteY7" fmla="*/ 6651 h 34988"/>
                      <a:gd name="connsiteX8" fmla="*/ 70047 w 140086"/>
                      <a:gd name="connsiteY8" fmla="*/ 34989 h 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086" h="34988">
                        <a:moveTo>
                          <a:pt x="70047" y="34989"/>
                        </a:moveTo>
                        <a:cubicBezTo>
                          <a:pt x="36312" y="34989"/>
                          <a:pt x="0" y="26122"/>
                          <a:pt x="0" y="6651"/>
                        </a:cubicBezTo>
                        <a:cubicBezTo>
                          <a:pt x="0" y="2979"/>
                          <a:pt x="2979" y="0"/>
                          <a:pt x="6651" y="0"/>
                        </a:cubicBezTo>
                        <a:cubicBezTo>
                          <a:pt x="10324" y="0"/>
                          <a:pt x="13303" y="2979"/>
                          <a:pt x="13303" y="6651"/>
                        </a:cubicBezTo>
                        <a:cubicBezTo>
                          <a:pt x="13303" y="11013"/>
                          <a:pt x="33187" y="21684"/>
                          <a:pt x="70044" y="21684"/>
                        </a:cubicBezTo>
                        <a:cubicBezTo>
                          <a:pt x="106902" y="21684"/>
                          <a:pt x="126784" y="11013"/>
                          <a:pt x="126784" y="6651"/>
                        </a:cubicBezTo>
                        <a:cubicBezTo>
                          <a:pt x="126784" y="2979"/>
                          <a:pt x="129763" y="0"/>
                          <a:pt x="133435" y="0"/>
                        </a:cubicBezTo>
                        <a:cubicBezTo>
                          <a:pt x="137108" y="0"/>
                          <a:pt x="140086" y="2979"/>
                          <a:pt x="140086" y="6651"/>
                        </a:cubicBezTo>
                        <a:cubicBezTo>
                          <a:pt x="140091" y="26122"/>
                          <a:pt x="103782" y="34989"/>
                          <a:pt x="70047" y="34989"/>
                        </a:cubicBezTo>
                        <a:close/>
                      </a:path>
                    </a:pathLst>
                  </a:custGeom>
                  <a:solidFill>
                    <a:schemeClr val="accent1"/>
                  </a:solidFill>
                  <a:ln w="247" cap="flat">
                    <a:noFill/>
                    <a:prstDash val="solid"/>
                    <a:miter/>
                  </a:ln>
                </p:spPr>
                <p:txBody>
                  <a:bodyPr rtlCol="0" anchor="ctr"/>
                  <a:lstStyle/>
                  <a:p>
                    <a:endParaRPr lang="en-GB" dirty="0"/>
                  </a:p>
                </p:txBody>
              </p:sp>
            </p:grpSp>
          </p:grpSp>
        </p:grpSp>
      </p:grpSp>
      <p:grpSp>
        <p:nvGrpSpPr>
          <p:cNvPr id="150" name="Group 149">
            <a:extLst>
              <a:ext uri="{FF2B5EF4-FFF2-40B4-BE49-F238E27FC236}">
                <a16:creationId xmlns:a16="http://schemas.microsoft.com/office/drawing/2014/main" id="{5C2BA535-1F42-2C8C-0215-5AC3B531D5FD}"/>
              </a:ext>
            </a:extLst>
          </p:cNvPr>
          <p:cNvGrpSpPr/>
          <p:nvPr/>
        </p:nvGrpSpPr>
        <p:grpSpPr>
          <a:xfrm>
            <a:off x="6076401" y="4076081"/>
            <a:ext cx="360000" cy="360011"/>
            <a:chOff x="6075989" y="4076081"/>
            <a:chExt cx="360000" cy="360011"/>
          </a:xfrm>
        </p:grpSpPr>
        <p:grpSp>
          <p:nvGrpSpPr>
            <p:cNvPr id="551" name="Gruppieren 885">
              <a:extLst>
                <a:ext uri="{FF2B5EF4-FFF2-40B4-BE49-F238E27FC236}">
                  <a16:creationId xmlns:a16="http://schemas.microsoft.com/office/drawing/2014/main" id="{6EC28A5D-2A06-4700-AA73-9F8E22BD988A}"/>
                </a:ext>
              </a:extLst>
            </p:cNvPr>
            <p:cNvGrpSpPr/>
            <p:nvPr/>
          </p:nvGrpSpPr>
          <p:grpSpPr>
            <a:xfrm>
              <a:off x="6075989" y="4115354"/>
              <a:ext cx="321131" cy="320738"/>
              <a:chOff x="6165029" y="3443208"/>
              <a:chExt cx="239667" cy="239374"/>
            </a:xfrm>
            <a:solidFill>
              <a:schemeClr val="tx2"/>
            </a:solidFill>
          </p:grpSpPr>
          <p:grpSp>
            <p:nvGrpSpPr>
              <p:cNvPr id="555" name="Grafik 343">
                <a:extLst>
                  <a:ext uri="{FF2B5EF4-FFF2-40B4-BE49-F238E27FC236}">
                    <a16:creationId xmlns:a16="http://schemas.microsoft.com/office/drawing/2014/main" id="{8E6B26C5-32A8-41B5-9C9A-9D0D54901AC5}"/>
                  </a:ext>
                </a:extLst>
              </p:cNvPr>
              <p:cNvGrpSpPr/>
              <p:nvPr/>
            </p:nvGrpSpPr>
            <p:grpSpPr>
              <a:xfrm>
                <a:off x="6246287" y="3524173"/>
                <a:ext cx="158409" cy="158409"/>
                <a:chOff x="6246287" y="3524173"/>
                <a:chExt cx="158409" cy="158409"/>
              </a:xfrm>
              <a:grpFill/>
            </p:grpSpPr>
            <p:sp>
              <p:nvSpPr>
                <p:cNvPr id="560" name="Freihandform: Form 688">
                  <a:extLst>
                    <a:ext uri="{FF2B5EF4-FFF2-40B4-BE49-F238E27FC236}">
                      <a16:creationId xmlns:a16="http://schemas.microsoft.com/office/drawing/2014/main" id="{B811DFCC-E3EB-408E-931A-585D8BC7ECF6}"/>
                    </a:ext>
                  </a:extLst>
                </p:cNvPr>
                <p:cNvSpPr/>
                <p:nvPr/>
              </p:nvSpPr>
              <p:spPr>
                <a:xfrm>
                  <a:off x="6275306" y="3524173"/>
                  <a:ext cx="94564" cy="94562"/>
                </a:xfrm>
                <a:custGeom>
                  <a:avLst/>
                  <a:gdLst>
                    <a:gd name="connsiteX0" fmla="*/ 6653 w 94564"/>
                    <a:gd name="connsiteY0" fmla="*/ 94563 h 94562"/>
                    <a:gd name="connsiteX1" fmla="*/ 1950 w 94564"/>
                    <a:gd name="connsiteY1" fmla="*/ 92615 h 94562"/>
                    <a:gd name="connsiteX2" fmla="*/ 1950 w 94564"/>
                    <a:gd name="connsiteY2" fmla="*/ 83208 h 94562"/>
                    <a:gd name="connsiteX3" fmla="*/ 83208 w 94564"/>
                    <a:gd name="connsiteY3" fmla="*/ 1950 h 94562"/>
                    <a:gd name="connsiteX4" fmla="*/ 92615 w 94564"/>
                    <a:gd name="connsiteY4" fmla="*/ 1950 h 94562"/>
                    <a:gd name="connsiteX5" fmla="*/ 92615 w 94564"/>
                    <a:gd name="connsiteY5" fmla="*/ 11357 h 94562"/>
                    <a:gd name="connsiteX6" fmla="*/ 11357 w 94564"/>
                    <a:gd name="connsiteY6" fmla="*/ 92615 h 94562"/>
                    <a:gd name="connsiteX7" fmla="*/ 6653 w 94564"/>
                    <a:gd name="connsiteY7" fmla="*/ 94563 h 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564" h="94562">
                      <a:moveTo>
                        <a:pt x="6653" y="94563"/>
                      </a:moveTo>
                      <a:cubicBezTo>
                        <a:pt x="4951" y="94563"/>
                        <a:pt x="3248" y="93913"/>
                        <a:pt x="1950" y="92615"/>
                      </a:cubicBezTo>
                      <a:cubicBezTo>
                        <a:pt x="-650" y="90015"/>
                        <a:pt x="-650" y="85807"/>
                        <a:pt x="1950" y="83208"/>
                      </a:cubicBezTo>
                      <a:lnTo>
                        <a:pt x="83208" y="1950"/>
                      </a:lnTo>
                      <a:cubicBezTo>
                        <a:pt x="85807" y="-650"/>
                        <a:pt x="90015" y="-650"/>
                        <a:pt x="92615" y="1950"/>
                      </a:cubicBezTo>
                      <a:cubicBezTo>
                        <a:pt x="95214" y="4549"/>
                        <a:pt x="95214" y="8757"/>
                        <a:pt x="92615" y="11357"/>
                      </a:cubicBezTo>
                      <a:lnTo>
                        <a:pt x="11357" y="92615"/>
                      </a:lnTo>
                      <a:cubicBezTo>
                        <a:pt x="10058" y="93913"/>
                        <a:pt x="8356" y="94563"/>
                        <a:pt x="6653" y="94563"/>
                      </a:cubicBezTo>
                      <a:close/>
                    </a:path>
                  </a:pathLst>
                </a:custGeom>
                <a:grpFill/>
                <a:ln w="247" cap="flat">
                  <a:noFill/>
                  <a:prstDash val="solid"/>
                  <a:miter/>
                </a:ln>
              </p:spPr>
              <p:txBody>
                <a:bodyPr rtlCol="0" anchor="ctr"/>
                <a:lstStyle/>
                <a:p>
                  <a:endParaRPr lang="en-GB" dirty="0"/>
                </a:p>
              </p:txBody>
            </p:sp>
            <p:sp>
              <p:nvSpPr>
                <p:cNvPr id="561" name="Freihandform: Form 689">
                  <a:extLst>
                    <a:ext uri="{FF2B5EF4-FFF2-40B4-BE49-F238E27FC236}">
                      <a16:creationId xmlns:a16="http://schemas.microsoft.com/office/drawing/2014/main" id="{528E49D5-47BC-4403-9654-07594CFCA7BB}"/>
                    </a:ext>
                  </a:extLst>
                </p:cNvPr>
                <p:cNvSpPr/>
                <p:nvPr/>
              </p:nvSpPr>
              <p:spPr>
                <a:xfrm>
                  <a:off x="6379779" y="3559001"/>
                  <a:ext cx="24916" cy="24914"/>
                </a:xfrm>
                <a:custGeom>
                  <a:avLst/>
                  <a:gdLst>
                    <a:gd name="connsiteX0" fmla="*/ 6653 w 24916"/>
                    <a:gd name="connsiteY0" fmla="*/ 24915 h 24914"/>
                    <a:gd name="connsiteX1" fmla="*/ 1950 w 24916"/>
                    <a:gd name="connsiteY1" fmla="*/ 22967 h 24914"/>
                    <a:gd name="connsiteX2" fmla="*/ 1950 w 24916"/>
                    <a:gd name="connsiteY2" fmla="*/ 13560 h 24914"/>
                    <a:gd name="connsiteX3" fmla="*/ 13560 w 24916"/>
                    <a:gd name="connsiteY3" fmla="*/ 1950 h 24914"/>
                    <a:gd name="connsiteX4" fmla="*/ 22967 w 24916"/>
                    <a:gd name="connsiteY4" fmla="*/ 1950 h 24914"/>
                    <a:gd name="connsiteX5" fmla="*/ 22967 w 24916"/>
                    <a:gd name="connsiteY5" fmla="*/ 11357 h 24914"/>
                    <a:gd name="connsiteX6" fmla="*/ 11357 w 24916"/>
                    <a:gd name="connsiteY6" fmla="*/ 22967 h 24914"/>
                    <a:gd name="connsiteX7" fmla="*/ 6653 w 24916"/>
                    <a:gd name="connsiteY7" fmla="*/ 24915 h 2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16" h="24914">
                      <a:moveTo>
                        <a:pt x="6653" y="24915"/>
                      </a:moveTo>
                      <a:cubicBezTo>
                        <a:pt x="4951" y="24915"/>
                        <a:pt x="3248" y="24265"/>
                        <a:pt x="1950" y="22967"/>
                      </a:cubicBezTo>
                      <a:cubicBezTo>
                        <a:pt x="-650" y="20367"/>
                        <a:pt x="-650" y="16159"/>
                        <a:pt x="1950" y="13560"/>
                      </a:cubicBezTo>
                      <a:lnTo>
                        <a:pt x="13560" y="1950"/>
                      </a:lnTo>
                      <a:cubicBezTo>
                        <a:pt x="16159" y="-650"/>
                        <a:pt x="20367" y="-650"/>
                        <a:pt x="22967" y="1950"/>
                      </a:cubicBezTo>
                      <a:cubicBezTo>
                        <a:pt x="25566" y="4549"/>
                        <a:pt x="25566" y="8757"/>
                        <a:pt x="22967" y="11357"/>
                      </a:cubicBezTo>
                      <a:lnTo>
                        <a:pt x="11357" y="22967"/>
                      </a:lnTo>
                      <a:cubicBezTo>
                        <a:pt x="10056" y="24263"/>
                        <a:pt x="8356" y="24915"/>
                        <a:pt x="6653" y="24915"/>
                      </a:cubicBezTo>
                      <a:close/>
                    </a:path>
                  </a:pathLst>
                </a:custGeom>
                <a:grpFill/>
                <a:ln w="247" cap="flat">
                  <a:noFill/>
                  <a:prstDash val="solid"/>
                  <a:miter/>
                </a:ln>
              </p:spPr>
              <p:txBody>
                <a:bodyPr rtlCol="0" anchor="ctr"/>
                <a:lstStyle/>
                <a:p>
                  <a:endParaRPr lang="en-GB" dirty="0"/>
                </a:p>
              </p:txBody>
            </p:sp>
            <p:sp>
              <p:nvSpPr>
                <p:cNvPr id="562" name="Freihandform: Form 690">
                  <a:extLst>
                    <a:ext uri="{FF2B5EF4-FFF2-40B4-BE49-F238E27FC236}">
                      <a16:creationId xmlns:a16="http://schemas.microsoft.com/office/drawing/2014/main" id="{15050BB9-45E5-43D6-AC7B-013F039D146F}"/>
                    </a:ext>
                  </a:extLst>
                </p:cNvPr>
                <p:cNvSpPr/>
                <p:nvPr/>
              </p:nvSpPr>
              <p:spPr>
                <a:xfrm>
                  <a:off x="6246287" y="3582215"/>
                  <a:ext cx="123579" cy="100367"/>
                </a:xfrm>
                <a:custGeom>
                  <a:avLst/>
                  <a:gdLst>
                    <a:gd name="connsiteX0" fmla="*/ 6651 w 123579"/>
                    <a:gd name="connsiteY0" fmla="*/ 100368 h 100367"/>
                    <a:gd name="connsiteX1" fmla="*/ 1948 w 123579"/>
                    <a:gd name="connsiteY1" fmla="*/ 98420 h 100367"/>
                    <a:gd name="connsiteX2" fmla="*/ 15 w 123579"/>
                    <a:gd name="connsiteY2" fmla="*/ 93275 h 100367"/>
                    <a:gd name="connsiteX3" fmla="*/ 5819 w 123579"/>
                    <a:gd name="connsiteY3" fmla="*/ 6211 h 100367"/>
                    <a:gd name="connsiteX4" fmla="*/ 10116 w 123579"/>
                    <a:gd name="connsiteY4" fmla="*/ 422 h 100367"/>
                    <a:gd name="connsiteX5" fmla="*/ 17159 w 123579"/>
                    <a:gd name="connsiteY5" fmla="*/ 1948 h 100367"/>
                    <a:gd name="connsiteX6" fmla="*/ 40376 w 123579"/>
                    <a:gd name="connsiteY6" fmla="*/ 25166 h 100367"/>
                    <a:gd name="connsiteX7" fmla="*/ 40376 w 123579"/>
                    <a:gd name="connsiteY7" fmla="*/ 34573 h 100367"/>
                    <a:gd name="connsiteX8" fmla="*/ 30969 w 123579"/>
                    <a:gd name="connsiteY8" fmla="*/ 34573 h 100367"/>
                    <a:gd name="connsiteX9" fmla="*/ 18115 w 123579"/>
                    <a:gd name="connsiteY9" fmla="*/ 21724 h 100367"/>
                    <a:gd name="connsiteX10" fmla="*/ 13791 w 123579"/>
                    <a:gd name="connsiteY10" fmla="*/ 86572 h 100367"/>
                    <a:gd name="connsiteX11" fmla="*/ 78641 w 123579"/>
                    <a:gd name="connsiteY11" fmla="*/ 82252 h 100367"/>
                    <a:gd name="connsiteX12" fmla="*/ 65792 w 123579"/>
                    <a:gd name="connsiteY12" fmla="*/ 69403 h 100367"/>
                    <a:gd name="connsiteX13" fmla="*/ 65792 w 123579"/>
                    <a:gd name="connsiteY13" fmla="*/ 59996 h 100367"/>
                    <a:gd name="connsiteX14" fmla="*/ 112222 w 123579"/>
                    <a:gd name="connsiteY14" fmla="*/ 13566 h 100367"/>
                    <a:gd name="connsiteX15" fmla="*/ 121629 w 123579"/>
                    <a:gd name="connsiteY15" fmla="*/ 13566 h 100367"/>
                    <a:gd name="connsiteX16" fmla="*/ 121629 w 123579"/>
                    <a:gd name="connsiteY16" fmla="*/ 22973 h 100367"/>
                    <a:gd name="connsiteX17" fmla="*/ 79903 w 123579"/>
                    <a:gd name="connsiteY17" fmla="*/ 64700 h 100367"/>
                    <a:gd name="connsiteX18" fmla="*/ 98417 w 123579"/>
                    <a:gd name="connsiteY18" fmla="*/ 83214 h 100367"/>
                    <a:gd name="connsiteX19" fmla="*/ 99941 w 123579"/>
                    <a:gd name="connsiteY19" fmla="*/ 90257 h 100367"/>
                    <a:gd name="connsiteX20" fmla="*/ 94157 w 123579"/>
                    <a:gd name="connsiteY20" fmla="*/ 94556 h 100367"/>
                    <a:gd name="connsiteX21" fmla="*/ 7093 w 123579"/>
                    <a:gd name="connsiteY21" fmla="*/ 100358 h 100367"/>
                    <a:gd name="connsiteX22" fmla="*/ 6651 w 123579"/>
                    <a:gd name="connsiteY22" fmla="*/ 100368 h 100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3579" h="100367">
                      <a:moveTo>
                        <a:pt x="6651" y="100368"/>
                      </a:moveTo>
                      <a:cubicBezTo>
                        <a:pt x="4894" y="100368"/>
                        <a:pt x="3199" y="99673"/>
                        <a:pt x="1948" y="98420"/>
                      </a:cubicBezTo>
                      <a:cubicBezTo>
                        <a:pt x="590" y="97061"/>
                        <a:pt x="-114" y="95191"/>
                        <a:pt x="15" y="93275"/>
                      </a:cubicBezTo>
                      <a:lnTo>
                        <a:pt x="5819" y="6211"/>
                      </a:lnTo>
                      <a:cubicBezTo>
                        <a:pt x="5990" y="3606"/>
                        <a:pt x="7670" y="1346"/>
                        <a:pt x="10116" y="422"/>
                      </a:cubicBezTo>
                      <a:cubicBezTo>
                        <a:pt x="12552" y="-488"/>
                        <a:pt x="15318" y="97"/>
                        <a:pt x="17159" y="1948"/>
                      </a:cubicBezTo>
                      <a:lnTo>
                        <a:pt x="40376" y="25166"/>
                      </a:lnTo>
                      <a:cubicBezTo>
                        <a:pt x="42976" y="27766"/>
                        <a:pt x="42976" y="31973"/>
                        <a:pt x="40376" y="34573"/>
                      </a:cubicBezTo>
                      <a:cubicBezTo>
                        <a:pt x="37777" y="37173"/>
                        <a:pt x="33569" y="37173"/>
                        <a:pt x="30969" y="34573"/>
                      </a:cubicBezTo>
                      <a:lnTo>
                        <a:pt x="18115" y="21724"/>
                      </a:lnTo>
                      <a:lnTo>
                        <a:pt x="13791" y="86572"/>
                      </a:lnTo>
                      <a:lnTo>
                        <a:pt x="78641" y="82252"/>
                      </a:lnTo>
                      <a:lnTo>
                        <a:pt x="65792" y="69403"/>
                      </a:lnTo>
                      <a:cubicBezTo>
                        <a:pt x="63193" y="66804"/>
                        <a:pt x="63193" y="62596"/>
                        <a:pt x="65792" y="59996"/>
                      </a:cubicBezTo>
                      <a:lnTo>
                        <a:pt x="112222" y="13566"/>
                      </a:lnTo>
                      <a:cubicBezTo>
                        <a:pt x="114822" y="10966"/>
                        <a:pt x="119030" y="10966"/>
                        <a:pt x="121629" y="13566"/>
                      </a:cubicBezTo>
                      <a:cubicBezTo>
                        <a:pt x="124229" y="16165"/>
                        <a:pt x="124229" y="20373"/>
                        <a:pt x="121629" y="22973"/>
                      </a:cubicBezTo>
                      <a:lnTo>
                        <a:pt x="79903" y="64700"/>
                      </a:lnTo>
                      <a:lnTo>
                        <a:pt x="98417" y="83214"/>
                      </a:lnTo>
                      <a:cubicBezTo>
                        <a:pt x="100261" y="85060"/>
                        <a:pt x="100860" y="87813"/>
                        <a:pt x="99941" y="90257"/>
                      </a:cubicBezTo>
                      <a:cubicBezTo>
                        <a:pt x="99021" y="92700"/>
                        <a:pt x="96761" y="94383"/>
                        <a:pt x="94157" y="94556"/>
                      </a:cubicBezTo>
                      <a:lnTo>
                        <a:pt x="7093" y="100358"/>
                      </a:lnTo>
                      <a:cubicBezTo>
                        <a:pt x="6946" y="100360"/>
                        <a:pt x="6798" y="100368"/>
                        <a:pt x="6651" y="100368"/>
                      </a:cubicBezTo>
                      <a:close/>
                    </a:path>
                  </a:pathLst>
                </a:custGeom>
                <a:grpFill/>
                <a:ln w="247" cap="flat">
                  <a:noFill/>
                  <a:prstDash val="solid"/>
                  <a:miter/>
                </a:ln>
              </p:spPr>
              <p:txBody>
                <a:bodyPr rtlCol="0" anchor="ctr"/>
                <a:lstStyle/>
                <a:p>
                  <a:endParaRPr lang="en-GB" dirty="0"/>
                </a:p>
              </p:txBody>
            </p:sp>
          </p:grpSp>
          <p:grpSp>
            <p:nvGrpSpPr>
              <p:cNvPr id="556" name="Grafik 343">
                <a:extLst>
                  <a:ext uri="{FF2B5EF4-FFF2-40B4-BE49-F238E27FC236}">
                    <a16:creationId xmlns:a16="http://schemas.microsoft.com/office/drawing/2014/main" id="{7FB8F1EE-9331-4B7A-88E5-BB0C6A3177CD}"/>
                  </a:ext>
                </a:extLst>
              </p:cNvPr>
              <p:cNvGrpSpPr/>
              <p:nvPr/>
            </p:nvGrpSpPr>
            <p:grpSpPr>
              <a:xfrm>
                <a:off x="6165029" y="3443208"/>
                <a:ext cx="123289" cy="158116"/>
                <a:chOff x="6165029" y="3443208"/>
                <a:chExt cx="123289" cy="158116"/>
              </a:xfrm>
              <a:grpFill/>
            </p:grpSpPr>
            <p:sp>
              <p:nvSpPr>
                <p:cNvPr id="557" name="Freihandform: Form 692">
                  <a:extLst>
                    <a:ext uri="{FF2B5EF4-FFF2-40B4-BE49-F238E27FC236}">
                      <a16:creationId xmlns:a16="http://schemas.microsoft.com/office/drawing/2014/main" id="{3F5AE9A1-F552-45B0-AAF2-0C4F648C9069}"/>
                    </a:ext>
                  </a:extLst>
                </p:cNvPr>
                <p:cNvSpPr/>
                <p:nvPr/>
              </p:nvSpPr>
              <p:spPr>
                <a:xfrm>
                  <a:off x="6263694" y="3443208"/>
                  <a:ext cx="24623" cy="24622"/>
                </a:xfrm>
                <a:custGeom>
                  <a:avLst/>
                  <a:gdLst>
                    <a:gd name="connsiteX0" fmla="*/ 6653 w 24623"/>
                    <a:gd name="connsiteY0" fmla="*/ 24622 h 24622"/>
                    <a:gd name="connsiteX1" fmla="*/ 1950 w 24623"/>
                    <a:gd name="connsiteY1" fmla="*/ 22674 h 24622"/>
                    <a:gd name="connsiteX2" fmla="*/ 1950 w 24623"/>
                    <a:gd name="connsiteY2" fmla="*/ 13267 h 24622"/>
                    <a:gd name="connsiteX3" fmla="*/ 13267 w 24623"/>
                    <a:gd name="connsiteY3" fmla="*/ 1950 h 24622"/>
                    <a:gd name="connsiteX4" fmla="*/ 22674 w 24623"/>
                    <a:gd name="connsiteY4" fmla="*/ 1950 h 24622"/>
                    <a:gd name="connsiteX5" fmla="*/ 22674 w 24623"/>
                    <a:gd name="connsiteY5" fmla="*/ 11357 h 24622"/>
                    <a:gd name="connsiteX6" fmla="*/ 11357 w 24623"/>
                    <a:gd name="connsiteY6" fmla="*/ 22674 h 24622"/>
                    <a:gd name="connsiteX7" fmla="*/ 6653 w 24623"/>
                    <a:gd name="connsiteY7" fmla="*/ 24622 h 24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23" h="24622">
                      <a:moveTo>
                        <a:pt x="6653" y="24622"/>
                      </a:moveTo>
                      <a:cubicBezTo>
                        <a:pt x="4951" y="24622"/>
                        <a:pt x="3248" y="23973"/>
                        <a:pt x="1950" y="22674"/>
                      </a:cubicBezTo>
                      <a:cubicBezTo>
                        <a:pt x="-650" y="20075"/>
                        <a:pt x="-650" y="15867"/>
                        <a:pt x="1950" y="13267"/>
                      </a:cubicBezTo>
                      <a:lnTo>
                        <a:pt x="13267" y="1950"/>
                      </a:lnTo>
                      <a:cubicBezTo>
                        <a:pt x="15867" y="-650"/>
                        <a:pt x="20075" y="-650"/>
                        <a:pt x="22674" y="1950"/>
                      </a:cubicBezTo>
                      <a:cubicBezTo>
                        <a:pt x="25274" y="4549"/>
                        <a:pt x="25274" y="8757"/>
                        <a:pt x="22674" y="11357"/>
                      </a:cubicBezTo>
                      <a:lnTo>
                        <a:pt x="11357" y="22674"/>
                      </a:lnTo>
                      <a:cubicBezTo>
                        <a:pt x="10058" y="23973"/>
                        <a:pt x="8356" y="24622"/>
                        <a:pt x="6653" y="24622"/>
                      </a:cubicBezTo>
                      <a:close/>
                    </a:path>
                  </a:pathLst>
                </a:custGeom>
                <a:grpFill/>
                <a:ln w="247" cap="flat">
                  <a:noFill/>
                  <a:prstDash val="solid"/>
                  <a:miter/>
                </a:ln>
              </p:spPr>
              <p:txBody>
                <a:bodyPr rtlCol="0" anchor="ctr"/>
                <a:lstStyle/>
                <a:p>
                  <a:endParaRPr lang="en-GB" dirty="0"/>
                </a:p>
              </p:txBody>
            </p:sp>
            <p:sp>
              <p:nvSpPr>
                <p:cNvPr id="558" name="Freihandform: Form 693">
                  <a:extLst>
                    <a:ext uri="{FF2B5EF4-FFF2-40B4-BE49-F238E27FC236}">
                      <a16:creationId xmlns:a16="http://schemas.microsoft.com/office/drawing/2014/main" id="{ADA58AB6-FF54-495F-9BDF-ED32E85A07C8}"/>
                    </a:ext>
                  </a:extLst>
                </p:cNvPr>
                <p:cNvSpPr/>
                <p:nvPr/>
              </p:nvSpPr>
              <p:spPr>
                <a:xfrm>
                  <a:off x="6194046" y="3477743"/>
                  <a:ext cx="59739" cy="59734"/>
                </a:xfrm>
                <a:custGeom>
                  <a:avLst/>
                  <a:gdLst>
                    <a:gd name="connsiteX0" fmla="*/ 6653 w 59739"/>
                    <a:gd name="connsiteY0" fmla="*/ 59735 h 59734"/>
                    <a:gd name="connsiteX1" fmla="*/ 1950 w 59739"/>
                    <a:gd name="connsiteY1" fmla="*/ 57787 h 59734"/>
                    <a:gd name="connsiteX2" fmla="*/ 1950 w 59739"/>
                    <a:gd name="connsiteY2" fmla="*/ 48380 h 59734"/>
                    <a:gd name="connsiteX3" fmla="*/ 48382 w 59739"/>
                    <a:gd name="connsiteY3" fmla="*/ 1950 h 59734"/>
                    <a:gd name="connsiteX4" fmla="*/ 57789 w 59739"/>
                    <a:gd name="connsiteY4" fmla="*/ 1950 h 59734"/>
                    <a:gd name="connsiteX5" fmla="*/ 57789 w 59739"/>
                    <a:gd name="connsiteY5" fmla="*/ 11357 h 59734"/>
                    <a:gd name="connsiteX6" fmla="*/ 11357 w 59739"/>
                    <a:gd name="connsiteY6" fmla="*/ 57787 h 59734"/>
                    <a:gd name="connsiteX7" fmla="*/ 6653 w 59739"/>
                    <a:gd name="connsiteY7" fmla="*/ 59735 h 5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39" h="59734">
                      <a:moveTo>
                        <a:pt x="6653" y="59735"/>
                      </a:moveTo>
                      <a:cubicBezTo>
                        <a:pt x="4951" y="59735"/>
                        <a:pt x="3248" y="59086"/>
                        <a:pt x="1950" y="57787"/>
                      </a:cubicBezTo>
                      <a:cubicBezTo>
                        <a:pt x="-650" y="55187"/>
                        <a:pt x="-650" y="50980"/>
                        <a:pt x="1950" y="48380"/>
                      </a:cubicBezTo>
                      <a:lnTo>
                        <a:pt x="48382" y="1950"/>
                      </a:lnTo>
                      <a:cubicBezTo>
                        <a:pt x="50982" y="-650"/>
                        <a:pt x="55190" y="-650"/>
                        <a:pt x="57789" y="1950"/>
                      </a:cubicBezTo>
                      <a:cubicBezTo>
                        <a:pt x="60389" y="4549"/>
                        <a:pt x="60389" y="8757"/>
                        <a:pt x="57789" y="11357"/>
                      </a:cubicBezTo>
                      <a:lnTo>
                        <a:pt x="11357" y="57787"/>
                      </a:lnTo>
                      <a:cubicBezTo>
                        <a:pt x="10058" y="59086"/>
                        <a:pt x="8356" y="59735"/>
                        <a:pt x="6653" y="59735"/>
                      </a:cubicBezTo>
                      <a:close/>
                    </a:path>
                  </a:pathLst>
                </a:custGeom>
                <a:grpFill/>
                <a:ln w="247" cap="flat">
                  <a:noFill/>
                  <a:prstDash val="solid"/>
                  <a:miter/>
                </a:ln>
              </p:spPr>
              <p:txBody>
                <a:bodyPr rtlCol="0" anchor="ctr"/>
                <a:lstStyle/>
                <a:p>
                  <a:endParaRPr lang="en-GB" dirty="0"/>
                </a:p>
              </p:txBody>
            </p:sp>
            <p:sp>
              <p:nvSpPr>
                <p:cNvPr id="559" name="Freihandform: Form 694">
                  <a:extLst>
                    <a:ext uri="{FF2B5EF4-FFF2-40B4-BE49-F238E27FC236}">
                      <a16:creationId xmlns:a16="http://schemas.microsoft.com/office/drawing/2014/main" id="{2B860943-BB68-47A1-A1C5-D8579E0F422A}"/>
                    </a:ext>
                  </a:extLst>
                </p:cNvPr>
                <p:cNvSpPr/>
                <p:nvPr/>
              </p:nvSpPr>
              <p:spPr>
                <a:xfrm>
                  <a:off x="6165029" y="3500954"/>
                  <a:ext cx="111971" cy="100370"/>
                </a:xfrm>
                <a:custGeom>
                  <a:avLst/>
                  <a:gdLst>
                    <a:gd name="connsiteX0" fmla="*/ 6651 w 111971"/>
                    <a:gd name="connsiteY0" fmla="*/ 100371 h 100370"/>
                    <a:gd name="connsiteX1" fmla="*/ 1948 w 111971"/>
                    <a:gd name="connsiteY1" fmla="*/ 98423 h 100370"/>
                    <a:gd name="connsiteX2" fmla="*/ 15 w 111971"/>
                    <a:gd name="connsiteY2" fmla="*/ 93278 h 100370"/>
                    <a:gd name="connsiteX3" fmla="*/ 5819 w 111971"/>
                    <a:gd name="connsiteY3" fmla="*/ 6214 h 100370"/>
                    <a:gd name="connsiteX4" fmla="*/ 10116 w 111971"/>
                    <a:gd name="connsiteY4" fmla="*/ 425 h 100370"/>
                    <a:gd name="connsiteX5" fmla="*/ 17159 w 111971"/>
                    <a:gd name="connsiteY5" fmla="*/ 1952 h 100370"/>
                    <a:gd name="connsiteX6" fmla="*/ 40374 w 111971"/>
                    <a:gd name="connsiteY6" fmla="*/ 25169 h 100370"/>
                    <a:gd name="connsiteX7" fmla="*/ 40374 w 111971"/>
                    <a:gd name="connsiteY7" fmla="*/ 34576 h 100370"/>
                    <a:gd name="connsiteX8" fmla="*/ 30967 w 111971"/>
                    <a:gd name="connsiteY8" fmla="*/ 34576 h 100370"/>
                    <a:gd name="connsiteX9" fmla="*/ 18118 w 111971"/>
                    <a:gd name="connsiteY9" fmla="*/ 21727 h 100370"/>
                    <a:gd name="connsiteX10" fmla="*/ 13793 w 111971"/>
                    <a:gd name="connsiteY10" fmla="*/ 86575 h 100370"/>
                    <a:gd name="connsiteX11" fmla="*/ 78644 w 111971"/>
                    <a:gd name="connsiteY11" fmla="*/ 82248 h 100370"/>
                    <a:gd name="connsiteX12" fmla="*/ 65795 w 111971"/>
                    <a:gd name="connsiteY12" fmla="*/ 69399 h 100370"/>
                    <a:gd name="connsiteX13" fmla="*/ 65795 w 111971"/>
                    <a:gd name="connsiteY13" fmla="*/ 59992 h 100370"/>
                    <a:gd name="connsiteX14" fmla="*/ 100615 w 111971"/>
                    <a:gd name="connsiteY14" fmla="*/ 25172 h 100370"/>
                    <a:gd name="connsiteX15" fmla="*/ 110022 w 111971"/>
                    <a:gd name="connsiteY15" fmla="*/ 25172 h 100370"/>
                    <a:gd name="connsiteX16" fmla="*/ 110022 w 111971"/>
                    <a:gd name="connsiteY16" fmla="*/ 34579 h 100370"/>
                    <a:gd name="connsiteX17" fmla="*/ 79905 w 111971"/>
                    <a:gd name="connsiteY17" fmla="*/ 64695 h 100370"/>
                    <a:gd name="connsiteX18" fmla="*/ 98417 w 111971"/>
                    <a:gd name="connsiteY18" fmla="*/ 83210 h 100370"/>
                    <a:gd name="connsiteX19" fmla="*/ 99941 w 111971"/>
                    <a:gd name="connsiteY19" fmla="*/ 90252 h 100370"/>
                    <a:gd name="connsiteX20" fmla="*/ 94157 w 111971"/>
                    <a:gd name="connsiteY20" fmla="*/ 94552 h 100370"/>
                    <a:gd name="connsiteX21" fmla="*/ 7095 w 111971"/>
                    <a:gd name="connsiteY21" fmla="*/ 100361 h 100370"/>
                    <a:gd name="connsiteX22" fmla="*/ 6651 w 111971"/>
                    <a:gd name="connsiteY22" fmla="*/ 100371 h 100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1971" h="100370">
                      <a:moveTo>
                        <a:pt x="6651" y="100371"/>
                      </a:moveTo>
                      <a:cubicBezTo>
                        <a:pt x="4895" y="100371"/>
                        <a:pt x="3199" y="99674"/>
                        <a:pt x="1948" y="98423"/>
                      </a:cubicBezTo>
                      <a:cubicBezTo>
                        <a:pt x="590" y="97065"/>
                        <a:pt x="-114" y="95194"/>
                        <a:pt x="15" y="93278"/>
                      </a:cubicBezTo>
                      <a:lnTo>
                        <a:pt x="5819" y="6214"/>
                      </a:lnTo>
                      <a:cubicBezTo>
                        <a:pt x="5990" y="3609"/>
                        <a:pt x="7670" y="1349"/>
                        <a:pt x="10116" y="425"/>
                      </a:cubicBezTo>
                      <a:cubicBezTo>
                        <a:pt x="12544" y="-492"/>
                        <a:pt x="15308" y="100"/>
                        <a:pt x="17159" y="1952"/>
                      </a:cubicBezTo>
                      <a:lnTo>
                        <a:pt x="40374" y="25169"/>
                      </a:lnTo>
                      <a:cubicBezTo>
                        <a:pt x="42974" y="27769"/>
                        <a:pt x="42974" y="31977"/>
                        <a:pt x="40374" y="34576"/>
                      </a:cubicBezTo>
                      <a:cubicBezTo>
                        <a:pt x="37774" y="37176"/>
                        <a:pt x="33567" y="37176"/>
                        <a:pt x="30967" y="34576"/>
                      </a:cubicBezTo>
                      <a:lnTo>
                        <a:pt x="18118" y="21727"/>
                      </a:lnTo>
                      <a:lnTo>
                        <a:pt x="13793" y="86575"/>
                      </a:lnTo>
                      <a:lnTo>
                        <a:pt x="78644" y="82248"/>
                      </a:lnTo>
                      <a:lnTo>
                        <a:pt x="65795" y="69399"/>
                      </a:lnTo>
                      <a:cubicBezTo>
                        <a:pt x="63195" y="66799"/>
                        <a:pt x="63195" y="62591"/>
                        <a:pt x="65795" y="59992"/>
                      </a:cubicBezTo>
                      <a:lnTo>
                        <a:pt x="100615" y="25172"/>
                      </a:lnTo>
                      <a:cubicBezTo>
                        <a:pt x="103214" y="22572"/>
                        <a:pt x="107422" y="22572"/>
                        <a:pt x="110022" y="25172"/>
                      </a:cubicBezTo>
                      <a:cubicBezTo>
                        <a:pt x="112621" y="27771"/>
                        <a:pt x="112621" y="31979"/>
                        <a:pt x="110022" y="34579"/>
                      </a:cubicBezTo>
                      <a:lnTo>
                        <a:pt x="79905" y="64695"/>
                      </a:lnTo>
                      <a:lnTo>
                        <a:pt x="98417" y="83210"/>
                      </a:lnTo>
                      <a:cubicBezTo>
                        <a:pt x="100263" y="85053"/>
                        <a:pt x="100860" y="87809"/>
                        <a:pt x="99941" y="90252"/>
                      </a:cubicBezTo>
                      <a:cubicBezTo>
                        <a:pt x="99021" y="92696"/>
                        <a:pt x="96761" y="94379"/>
                        <a:pt x="94157" y="94552"/>
                      </a:cubicBezTo>
                      <a:lnTo>
                        <a:pt x="7095" y="100361"/>
                      </a:lnTo>
                      <a:cubicBezTo>
                        <a:pt x="6949" y="100366"/>
                        <a:pt x="6798" y="100371"/>
                        <a:pt x="6651" y="100371"/>
                      </a:cubicBezTo>
                      <a:close/>
                    </a:path>
                  </a:pathLst>
                </a:custGeom>
                <a:grpFill/>
                <a:ln w="247" cap="flat">
                  <a:noFill/>
                  <a:prstDash val="solid"/>
                  <a:miter/>
                </a:ln>
              </p:spPr>
              <p:txBody>
                <a:bodyPr rtlCol="0" anchor="ctr"/>
                <a:lstStyle/>
                <a:p>
                  <a:endParaRPr lang="en-GB" dirty="0"/>
                </a:p>
              </p:txBody>
            </p:sp>
          </p:grpSp>
        </p:grpSp>
        <p:grpSp>
          <p:nvGrpSpPr>
            <p:cNvPr id="552" name="Grafik 343">
              <a:extLst>
                <a:ext uri="{FF2B5EF4-FFF2-40B4-BE49-F238E27FC236}">
                  <a16:creationId xmlns:a16="http://schemas.microsoft.com/office/drawing/2014/main" id="{72D11CEE-24C5-4552-888F-B36F264D14D3}"/>
                </a:ext>
              </a:extLst>
            </p:cNvPr>
            <p:cNvGrpSpPr/>
            <p:nvPr/>
          </p:nvGrpSpPr>
          <p:grpSpPr>
            <a:xfrm>
              <a:off x="6239694" y="4076081"/>
              <a:ext cx="196295" cy="142258"/>
              <a:chOff x="6287206" y="3413898"/>
              <a:chExt cx="146499" cy="106170"/>
            </a:xfrm>
            <a:solidFill>
              <a:schemeClr val="accent1"/>
            </a:solidFill>
          </p:grpSpPr>
          <p:sp>
            <p:nvSpPr>
              <p:cNvPr id="553" name="Freihandform: Form 696">
                <a:extLst>
                  <a:ext uri="{FF2B5EF4-FFF2-40B4-BE49-F238E27FC236}">
                    <a16:creationId xmlns:a16="http://schemas.microsoft.com/office/drawing/2014/main" id="{80642269-AD6C-46AB-9A85-83C810653A42}"/>
                  </a:ext>
                </a:extLst>
              </p:cNvPr>
              <p:cNvSpPr/>
              <p:nvPr/>
            </p:nvSpPr>
            <p:spPr>
              <a:xfrm>
                <a:off x="6287206" y="3437117"/>
                <a:ext cx="76858" cy="76858"/>
              </a:xfrm>
              <a:custGeom>
                <a:avLst/>
                <a:gdLst>
                  <a:gd name="connsiteX0" fmla="*/ 6653 w 76858"/>
                  <a:gd name="connsiteY0" fmla="*/ 76859 h 76858"/>
                  <a:gd name="connsiteX1" fmla="*/ 1950 w 76858"/>
                  <a:gd name="connsiteY1" fmla="*/ 74911 h 76858"/>
                  <a:gd name="connsiteX2" fmla="*/ 1950 w 76858"/>
                  <a:gd name="connsiteY2" fmla="*/ 65504 h 76858"/>
                  <a:gd name="connsiteX3" fmla="*/ 65501 w 76858"/>
                  <a:gd name="connsiteY3" fmla="*/ 1950 h 76858"/>
                  <a:gd name="connsiteX4" fmla="*/ 74908 w 76858"/>
                  <a:gd name="connsiteY4" fmla="*/ 1950 h 76858"/>
                  <a:gd name="connsiteX5" fmla="*/ 74908 w 76858"/>
                  <a:gd name="connsiteY5" fmla="*/ 11357 h 76858"/>
                  <a:gd name="connsiteX6" fmla="*/ 11357 w 76858"/>
                  <a:gd name="connsiteY6" fmla="*/ 74911 h 76858"/>
                  <a:gd name="connsiteX7" fmla="*/ 6653 w 76858"/>
                  <a:gd name="connsiteY7" fmla="*/ 76859 h 76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858" h="76858">
                    <a:moveTo>
                      <a:pt x="6653" y="76859"/>
                    </a:moveTo>
                    <a:cubicBezTo>
                      <a:pt x="4951" y="76859"/>
                      <a:pt x="3248" y="76209"/>
                      <a:pt x="1950" y="74911"/>
                    </a:cubicBezTo>
                    <a:cubicBezTo>
                      <a:pt x="-650" y="72311"/>
                      <a:pt x="-650" y="68103"/>
                      <a:pt x="1950" y="65504"/>
                    </a:cubicBezTo>
                    <a:lnTo>
                      <a:pt x="65501" y="1950"/>
                    </a:lnTo>
                    <a:cubicBezTo>
                      <a:pt x="68101" y="-650"/>
                      <a:pt x="72309" y="-650"/>
                      <a:pt x="74908" y="1950"/>
                    </a:cubicBezTo>
                    <a:cubicBezTo>
                      <a:pt x="77508" y="4549"/>
                      <a:pt x="77508" y="8757"/>
                      <a:pt x="74908" y="11357"/>
                    </a:cubicBezTo>
                    <a:lnTo>
                      <a:pt x="11357" y="74911"/>
                    </a:lnTo>
                    <a:cubicBezTo>
                      <a:pt x="10056" y="76209"/>
                      <a:pt x="8353" y="76859"/>
                      <a:pt x="6653" y="76859"/>
                    </a:cubicBezTo>
                    <a:close/>
                  </a:path>
                </a:pathLst>
              </a:custGeom>
              <a:solidFill>
                <a:schemeClr val="accent1"/>
              </a:solidFill>
              <a:ln w="247" cap="flat">
                <a:noFill/>
                <a:prstDash val="solid"/>
                <a:miter/>
              </a:ln>
            </p:spPr>
            <p:txBody>
              <a:bodyPr rtlCol="0" anchor="ctr"/>
              <a:lstStyle/>
              <a:p>
                <a:endParaRPr lang="en-GB" dirty="0"/>
              </a:p>
            </p:txBody>
          </p:sp>
          <p:sp>
            <p:nvSpPr>
              <p:cNvPr id="554" name="Freihandform: Form 697">
                <a:extLst>
                  <a:ext uri="{FF2B5EF4-FFF2-40B4-BE49-F238E27FC236}">
                    <a16:creationId xmlns:a16="http://schemas.microsoft.com/office/drawing/2014/main" id="{B317D05B-2E17-42DE-99B7-0E48D7D34A2A}"/>
                  </a:ext>
                </a:extLst>
              </p:cNvPr>
              <p:cNvSpPr/>
              <p:nvPr/>
            </p:nvSpPr>
            <p:spPr>
              <a:xfrm>
                <a:off x="6327537" y="3413898"/>
                <a:ext cx="106168" cy="106170"/>
              </a:xfrm>
              <a:custGeom>
                <a:avLst/>
                <a:gdLst>
                  <a:gd name="connsiteX0" fmla="*/ 99520 w 106168"/>
                  <a:gd name="connsiteY0" fmla="*/ 106171 h 106170"/>
                  <a:gd name="connsiteX1" fmla="*/ 94816 w 106168"/>
                  <a:gd name="connsiteY1" fmla="*/ 104223 h 106170"/>
                  <a:gd name="connsiteX2" fmla="*/ 76305 w 106168"/>
                  <a:gd name="connsiteY2" fmla="*/ 85714 h 106170"/>
                  <a:gd name="connsiteX3" fmla="*/ 63597 w 106168"/>
                  <a:gd name="connsiteY3" fmla="*/ 98421 h 106170"/>
                  <a:gd name="connsiteX4" fmla="*/ 54190 w 106168"/>
                  <a:gd name="connsiteY4" fmla="*/ 98421 h 106170"/>
                  <a:gd name="connsiteX5" fmla="*/ 54190 w 106168"/>
                  <a:gd name="connsiteY5" fmla="*/ 89014 h 106170"/>
                  <a:gd name="connsiteX6" fmla="*/ 71601 w 106168"/>
                  <a:gd name="connsiteY6" fmla="*/ 71603 h 106170"/>
                  <a:gd name="connsiteX7" fmla="*/ 81008 w 106168"/>
                  <a:gd name="connsiteY7" fmla="*/ 71603 h 106170"/>
                  <a:gd name="connsiteX8" fmla="*/ 92866 w 106168"/>
                  <a:gd name="connsiteY8" fmla="*/ 83459 h 106170"/>
                  <a:gd name="connsiteX9" fmla="*/ 92866 w 106168"/>
                  <a:gd name="connsiteY9" fmla="*/ 13305 h 106170"/>
                  <a:gd name="connsiteX10" fmla="*/ 22715 w 106168"/>
                  <a:gd name="connsiteY10" fmla="*/ 13305 h 106170"/>
                  <a:gd name="connsiteX11" fmla="*/ 34578 w 106168"/>
                  <a:gd name="connsiteY11" fmla="*/ 25168 h 106170"/>
                  <a:gd name="connsiteX12" fmla="*/ 34578 w 106168"/>
                  <a:gd name="connsiteY12" fmla="*/ 34575 h 106170"/>
                  <a:gd name="connsiteX13" fmla="*/ 25171 w 106168"/>
                  <a:gd name="connsiteY13" fmla="*/ 34575 h 106170"/>
                  <a:gd name="connsiteX14" fmla="*/ 1948 w 106168"/>
                  <a:gd name="connsiteY14" fmla="*/ 11357 h 106170"/>
                  <a:gd name="connsiteX15" fmla="*/ 506 w 106168"/>
                  <a:gd name="connsiteY15" fmla="*/ 4106 h 106170"/>
                  <a:gd name="connsiteX16" fmla="*/ 6652 w 106168"/>
                  <a:gd name="connsiteY16" fmla="*/ 0 h 106170"/>
                  <a:gd name="connsiteX17" fmla="*/ 99518 w 106168"/>
                  <a:gd name="connsiteY17" fmla="*/ 0 h 106170"/>
                  <a:gd name="connsiteX18" fmla="*/ 106169 w 106168"/>
                  <a:gd name="connsiteY18" fmla="*/ 6651 h 106170"/>
                  <a:gd name="connsiteX19" fmla="*/ 106169 w 106168"/>
                  <a:gd name="connsiteY19" fmla="*/ 99517 h 106170"/>
                  <a:gd name="connsiteX20" fmla="*/ 102063 w 106168"/>
                  <a:gd name="connsiteY20" fmla="*/ 105663 h 106170"/>
                  <a:gd name="connsiteX21" fmla="*/ 99520 w 106168"/>
                  <a:gd name="connsiteY21" fmla="*/ 106171 h 106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68" h="106170">
                    <a:moveTo>
                      <a:pt x="99520" y="106171"/>
                    </a:moveTo>
                    <a:cubicBezTo>
                      <a:pt x="97788" y="106171"/>
                      <a:pt x="96090" y="105494"/>
                      <a:pt x="94816" y="104223"/>
                    </a:cubicBezTo>
                    <a:lnTo>
                      <a:pt x="76305" y="85714"/>
                    </a:lnTo>
                    <a:lnTo>
                      <a:pt x="63597" y="98421"/>
                    </a:lnTo>
                    <a:cubicBezTo>
                      <a:pt x="60997" y="101021"/>
                      <a:pt x="56789" y="101021"/>
                      <a:pt x="54190" y="98421"/>
                    </a:cubicBezTo>
                    <a:cubicBezTo>
                      <a:pt x="51590" y="95822"/>
                      <a:pt x="51590" y="91614"/>
                      <a:pt x="54190" y="89014"/>
                    </a:cubicBezTo>
                    <a:lnTo>
                      <a:pt x="71601" y="71603"/>
                    </a:lnTo>
                    <a:cubicBezTo>
                      <a:pt x="74201" y="69004"/>
                      <a:pt x="78409" y="69004"/>
                      <a:pt x="81008" y="71603"/>
                    </a:cubicBezTo>
                    <a:lnTo>
                      <a:pt x="92866" y="83459"/>
                    </a:lnTo>
                    <a:lnTo>
                      <a:pt x="92866" y="13305"/>
                    </a:lnTo>
                    <a:lnTo>
                      <a:pt x="22715" y="13305"/>
                    </a:lnTo>
                    <a:lnTo>
                      <a:pt x="34578" y="25168"/>
                    </a:lnTo>
                    <a:cubicBezTo>
                      <a:pt x="37178" y="27767"/>
                      <a:pt x="37178" y="31975"/>
                      <a:pt x="34578" y="34575"/>
                    </a:cubicBezTo>
                    <a:cubicBezTo>
                      <a:pt x="31978" y="37174"/>
                      <a:pt x="27771" y="37174"/>
                      <a:pt x="25171" y="34575"/>
                    </a:cubicBezTo>
                    <a:lnTo>
                      <a:pt x="1948" y="11357"/>
                    </a:lnTo>
                    <a:cubicBezTo>
                      <a:pt x="45" y="9454"/>
                      <a:pt x="-522" y="6594"/>
                      <a:pt x="506" y="4106"/>
                    </a:cubicBezTo>
                    <a:cubicBezTo>
                      <a:pt x="1535" y="1626"/>
                      <a:pt x="3963" y="0"/>
                      <a:pt x="6652" y="0"/>
                    </a:cubicBezTo>
                    <a:lnTo>
                      <a:pt x="99518" y="0"/>
                    </a:lnTo>
                    <a:cubicBezTo>
                      <a:pt x="103190" y="0"/>
                      <a:pt x="106169" y="2976"/>
                      <a:pt x="106169" y="6651"/>
                    </a:cubicBezTo>
                    <a:lnTo>
                      <a:pt x="106169" y="99517"/>
                    </a:lnTo>
                    <a:cubicBezTo>
                      <a:pt x="106169" y="102206"/>
                      <a:pt x="104548" y="104637"/>
                      <a:pt x="102063" y="105663"/>
                    </a:cubicBezTo>
                    <a:cubicBezTo>
                      <a:pt x="101242" y="106007"/>
                      <a:pt x="100377" y="106171"/>
                      <a:pt x="99520" y="106171"/>
                    </a:cubicBezTo>
                    <a:close/>
                  </a:path>
                </a:pathLst>
              </a:custGeom>
              <a:solidFill>
                <a:schemeClr val="accent1"/>
              </a:solidFill>
              <a:ln w="247" cap="flat">
                <a:noFill/>
                <a:prstDash val="solid"/>
                <a:miter/>
              </a:ln>
            </p:spPr>
            <p:txBody>
              <a:bodyPr rtlCol="0" anchor="ctr"/>
              <a:lstStyle/>
              <a:p>
                <a:endParaRPr lang="en-GB" dirty="0"/>
              </a:p>
            </p:txBody>
          </p:sp>
        </p:grpSp>
      </p:grpSp>
      <p:grpSp>
        <p:nvGrpSpPr>
          <p:cNvPr id="165" name="Group 164">
            <a:extLst>
              <a:ext uri="{FF2B5EF4-FFF2-40B4-BE49-F238E27FC236}">
                <a16:creationId xmlns:a16="http://schemas.microsoft.com/office/drawing/2014/main" id="{D4C89ED1-6CD0-F221-81F5-31F3E196A251}"/>
              </a:ext>
            </a:extLst>
          </p:cNvPr>
          <p:cNvGrpSpPr/>
          <p:nvPr/>
        </p:nvGrpSpPr>
        <p:grpSpPr>
          <a:xfrm>
            <a:off x="4961268" y="4083782"/>
            <a:ext cx="504000" cy="344608"/>
            <a:chOff x="4960856" y="4083782"/>
            <a:chExt cx="504000" cy="344608"/>
          </a:xfrm>
        </p:grpSpPr>
        <p:grpSp>
          <p:nvGrpSpPr>
            <p:cNvPr id="564" name="Grafik 343">
              <a:extLst>
                <a:ext uri="{FF2B5EF4-FFF2-40B4-BE49-F238E27FC236}">
                  <a16:creationId xmlns:a16="http://schemas.microsoft.com/office/drawing/2014/main" id="{FED288C1-E24D-4B10-A6DE-053A3A233533}"/>
                </a:ext>
              </a:extLst>
            </p:cNvPr>
            <p:cNvGrpSpPr/>
            <p:nvPr/>
          </p:nvGrpSpPr>
          <p:grpSpPr>
            <a:xfrm>
              <a:off x="4960856" y="4083782"/>
              <a:ext cx="504000" cy="344608"/>
              <a:chOff x="5220401" y="3383229"/>
              <a:chExt cx="492273" cy="336590"/>
            </a:xfrm>
            <a:solidFill>
              <a:schemeClr val="tx2"/>
            </a:solidFill>
          </p:grpSpPr>
          <p:sp>
            <p:nvSpPr>
              <p:cNvPr id="573" name="Freihandform: Form 745">
                <a:extLst>
                  <a:ext uri="{FF2B5EF4-FFF2-40B4-BE49-F238E27FC236}">
                    <a16:creationId xmlns:a16="http://schemas.microsoft.com/office/drawing/2014/main" id="{0DB76338-3279-4921-AEF8-1057A3A6C2C0}"/>
                  </a:ext>
                </a:extLst>
              </p:cNvPr>
              <p:cNvSpPr/>
              <p:nvPr/>
            </p:nvSpPr>
            <p:spPr>
              <a:xfrm>
                <a:off x="5220401" y="3383229"/>
                <a:ext cx="492273" cy="336590"/>
              </a:xfrm>
              <a:custGeom>
                <a:avLst/>
                <a:gdLst>
                  <a:gd name="connsiteX0" fmla="*/ 412443 w 492273"/>
                  <a:gd name="connsiteY0" fmla="*/ 336590 h 336590"/>
                  <a:gd name="connsiteX1" fmla="*/ 408062 w 492273"/>
                  <a:gd name="connsiteY1" fmla="*/ 334947 h 336590"/>
                  <a:gd name="connsiteX2" fmla="*/ 405792 w 492273"/>
                  <a:gd name="connsiteY2" fmla="*/ 329939 h 336590"/>
                  <a:gd name="connsiteX3" fmla="*/ 405792 w 492273"/>
                  <a:gd name="connsiteY3" fmla="*/ 63847 h 336590"/>
                  <a:gd name="connsiteX4" fmla="*/ 411561 w 492273"/>
                  <a:gd name="connsiteY4" fmla="*/ 57252 h 336590"/>
                  <a:gd name="connsiteX5" fmla="*/ 478607 w 492273"/>
                  <a:gd name="connsiteY5" fmla="*/ 39836 h 336590"/>
                  <a:gd name="connsiteX6" fmla="*/ 246136 w 492273"/>
                  <a:gd name="connsiteY6" fmla="*/ 13305 h 336590"/>
                  <a:gd name="connsiteX7" fmla="*/ 13664 w 492273"/>
                  <a:gd name="connsiteY7" fmla="*/ 39836 h 336590"/>
                  <a:gd name="connsiteX8" fmla="*/ 80710 w 492273"/>
                  <a:gd name="connsiteY8" fmla="*/ 57252 h 336590"/>
                  <a:gd name="connsiteX9" fmla="*/ 86479 w 492273"/>
                  <a:gd name="connsiteY9" fmla="*/ 63847 h 336590"/>
                  <a:gd name="connsiteX10" fmla="*/ 86479 w 492273"/>
                  <a:gd name="connsiteY10" fmla="*/ 329939 h 336590"/>
                  <a:gd name="connsiteX11" fmla="*/ 84209 w 492273"/>
                  <a:gd name="connsiteY11" fmla="*/ 334947 h 336590"/>
                  <a:gd name="connsiteX12" fmla="*/ 78943 w 492273"/>
                  <a:gd name="connsiteY12" fmla="*/ 336533 h 336590"/>
                  <a:gd name="connsiteX13" fmla="*/ 0 w 492273"/>
                  <a:gd name="connsiteY13" fmla="*/ 306005 h 336590"/>
                  <a:gd name="connsiteX14" fmla="*/ 24568 w 492273"/>
                  <a:gd name="connsiteY14" fmla="*/ 286361 h 336590"/>
                  <a:gd name="connsiteX15" fmla="*/ 32922 w 492273"/>
                  <a:gd name="connsiteY15" fmla="*/ 290688 h 336590"/>
                  <a:gd name="connsiteX16" fmla="*/ 28595 w 492273"/>
                  <a:gd name="connsiteY16" fmla="*/ 299041 h 336590"/>
                  <a:gd name="connsiteX17" fmla="*/ 13741 w 492273"/>
                  <a:gd name="connsiteY17" fmla="*/ 306000 h 336590"/>
                  <a:gd name="connsiteX18" fmla="*/ 73174 w 492273"/>
                  <a:gd name="connsiteY18" fmla="*/ 322286 h 336590"/>
                  <a:gd name="connsiteX19" fmla="*/ 73174 w 492273"/>
                  <a:gd name="connsiteY19" fmla="*/ 69641 h 336590"/>
                  <a:gd name="connsiteX20" fmla="*/ 0 w 492273"/>
                  <a:gd name="connsiteY20" fmla="*/ 39913 h 336590"/>
                  <a:gd name="connsiteX21" fmla="*/ 246136 w 492273"/>
                  <a:gd name="connsiteY21" fmla="*/ 0 h 336590"/>
                  <a:gd name="connsiteX22" fmla="*/ 492271 w 492273"/>
                  <a:gd name="connsiteY22" fmla="*/ 39913 h 336590"/>
                  <a:gd name="connsiteX23" fmla="*/ 419097 w 492273"/>
                  <a:gd name="connsiteY23" fmla="*/ 69641 h 336590"/>
                  <a:gd name="connsiteX24" fmla="*/ 419097 w 492273"/>
                  <a:gd name="connsiteY24" fmla="*/ 322286 h 336590"/>
                  <a:gd name="connsiteX25" fmla="*/ 478530 w 492273"/>
                  <a:gd name="connsiteY25" fmla="*/ 306000 h 336590"/>
                  <a:gd name="connsiteX26" fmla="*/ 463654 w 492273"/>
                  <a:gd name="connsiteY26" fmla="*/ 299036 h 336590"/>
                  <a:gd name="connsiteX27" fmla="*/ 459327 w 492273"/>
                  <a:gd name="connsiteY27" fmla="*/ 290683 h 336590"/>
                  <a:gd name="connsiteX28" fmla="*/ 467681 w 492273"/>
                  <a:gd name="connsiteY28" fmla="*/ 286356 h 336590"/>
                  <a:gd name="connsiteX29" fmla="*/ 492274 w 492273"/>
                  <a:gd name="connsiteY29" fmla="*/ 306007 h 336590"/>
                  <a:gd name="connsiteX30" fmla="*/ 413330 w 492273"/>
                  <a:gd name="connsiteY30" fmla="*/ 336533 h 336590"/>
                  <a:gd name="connsiteX31" fmla="*/ 412443 w 492273"/>
                  <a:gd name="connsiteY31" fmla="*/ 336590 h 336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92273" h="336590">
                    <a:moveTo>
                      <a:pt x="412443" y="336590"/>
                    </a:moveTo>
                    <a:cubicBezTo>
                      <a:pt x="410842" y="336590"/>
                      <a:pt x="409284" y="336013"/>
                      <a:pt x="408062" y="334947"/>
                    </a:cubicBezTo>
                    <a:cubicBezTo>
                      <a:pt x="406620" y="333681"/>
                      <a:pt x="405792" y="331854"/>
                      <a:pt x="405792" y="329939"/>
                    </a:cubicBezTo>
                    <a:lnTo>
                      <a:pt x="405792" y="63847"/>
                    </a:lnTo>
                    <a:cubicBezTo>
                      <a:pt x="405792" y="60514"/>
                      <a:pt x="408258" y="57693"/>
                      <a:pt x="411561" y="57252"/>
                    </a:cubicBezTo>
                    <a:cubicBezTo>
                      <a:pt x="464776" y="50120"/>
                      <a:pt x="476379" y="42004"/>
                      <a:pt x="478607" y="39836"/>
                    </a:cubicBezTo>
                    <a:cubicBezTo>
                      <a:pt x="469554" y="28741"/>
                      <a:pt x="383937" y="13305"/>
                      <a:pt x="246136" y="13305"/>
                    </a:cubicBezTo>
                    <a:cubicBezTo>
                      <a:pt x="108334" y="13305"/>
                      <a:pt x="22720" y="28741"/>
                      <a:pt x="13664" y="39836"/>
                    </a:cubicBezTo>
                    <a:cubicBezTo>
                      <a:pt x="15892" y="42007"/>
                      <a:pt x="27495" y="50120"/>
                      <a:pt x="80710" y="57252"/>
                    </a:cubicBezTo>
                    <a:cubicBezTo>
                      <a:pt x="84014" y="57693"/>
                      <a:pt x="86479" y="60514"/>
                      <a:pt x="86479" y="63847"/>
                    </a:cubicBezTo>
                    <a:lnTo>
                      <a:pt x="86479" y="329939"/>
                    </a:lnTo>
                    <a:cubicBezTo>
                      <a:pt x="86479" y="331854"/>
                      <a:pt x="85652" y="333681"/>
                      <a:pt x="84209" y="334947"/>
                    </a:cubicBezTo>
                    <a:cubicBezTo>
                      <a:pt x="82760" y="336208"/>
                      <a:pt x="80852" y="336778"/>
                      <a:pt x="78943" y="336533"/>
                    </a:cubicBezTo>
                    <a:cubicBezTo>
                      <a:pt x="0" y="325949"/>
                      <a:pt x="0" y="311975"/>
                      <a:pt x="0" y="306005"/>
                    </a:cubicBezTo>
                    <a:cubicBezTo>
                      <a:pt x="0" y="295396"/>
                      <a:pt x="14021" y="289711"/>
                      <a:pt x="24568" y="286361"/>
                    </a:cubicBezTo>
                    <a:cubicBezTo>
                      <a:pt x="28052" y="285236"/>
                      <a:pt x="31812" y="287179"/>
                      <a:pt x="32922" y="290688"/>
                    </a:cubicBezTo>
                    <a:cubicBezTo>
                      <a:pt x="34032" y="294189"/>
                      <a:pt x="32097" y="297931"/>
                      <a:pt x="28595" y="299041"/>
                    </a:cubicBezTo>
                    <a:cubicBezTo>
                      <a:pt x="18571" y="302223"/>
                      <a:pt x="14953" y="304843"/>
                      <a:pt x="13741" y="306000"/>
                    </a:cubicBezTo>
                    <a:cubicBezTo>
                      <a:pt x="16034" y="308171"/>
                      <a:pt x="26922" y="315511"/>
                      <a:pt x="73174" y="322286"/>
                    </a:cubicBezTo>
                    <a:lnTo>
                      <a:pt x="73174" y="69641"/>
                    </a:lnTo>
                    <a:cubicBezTo>
                      <a:pt x="-2" y="59163"/>
                      <a:pt x="0" y="45734"/>
                      <a:pt x="0" y="39913"/>
                    </a:cubicBezTo>
                    <a:cubicBezTo>
                      <a:pt x="0" y="454"/>
                      <a:pt x="236084" y="0"/>
                      <a:pt x="246136" y="0"/>
                    </a:cubicBezTo>
                    <a:cubicBezTo>
                      <a:pt x="256184" y="0"/>
                      <a:pt x="492271" y="454"/>
                      <a:pt x="492271" y="39913"/>
                    </a:cubicBezTo>
                    <a:cubicBezTo>
                      <a:pt x="492271" y="45734"/>
                      <a:pt x="492274" y="59160"/>
                      <a:pt x="419097" y="69641"/>
                    </a:cubicBezTo>
                    <a:lnTo>
                      <a:pt x="419097" y="322286"/>
                    </a:lnTo>
                    <a:cubicBezTo>
                      <a:pt x="465359" y="315511"/>
                      <a:pt x="476243" y="308163"/>
                      <a:pt x="478530" y="306000"/>
                    </a:cubicBezTo>
                    <a:cubicBezTo>
                      <a:pt x="477321" y="304843"/>
                      <a:pt x="473700" y="302226"/>
                      <a:pt x="463654" y="299036"/>
                    </a:cubicBezTo>
                    <a:cubicBezTo>
                      <a:pt x="460152" y="297926"/>
                      <a:pt x="458217" y="294184"/>
                      <a:pt x="459327" y="290683"/>
                    </a:cubicBezTo>
                    <a:cubicBezTo>
                      <a:pt x="460442" y="287181"/>
                      <a:pt x="464184" y="285238"/>
                      <a:pt x="467681" y="286356"/>
                    </a:cubicBezTo>
                    <a:cubicBezTo>
                      <a:pt x="478238" y="289709"/>
                      <a:pt x="492274" y="295391"/>
                      <a:pt x="492274" y="306007"/>
                    </a:cubicBezTo>
                    <a:cubicBezTo>
                      <a:pt x="492274" y="311977"/>
                      <a:pt x="492274" y="325952"/>
                      <a:pt x="413330" y="336533"/>
                    </a:cubicBezTo>
                    <a:cubicBezTo>
                      <a:pt x="413030" y="336570"/>
                      <a:pt x="412736" y="336590"/>
                      <a:pt x="412443" y="336590"/>
                    </a:cubicBezTo>
                    <a:close/>
                  </a:path>
                </a:pathLst>
              </a:custGeom>
              <a:grpFill/>
              <a:ln w="247" cap="flat">
                <a:noFill/>
                <a:prstDash val="solid"/>
                <a:miter/>
              </a:ln>
            </p:spPr>
            <p:txBody>
              <a:bodyPr rtlCol="0" anchor="ctr"/>
              <a:lstStyle/>
              <a:p>
                <a:endParaRPr lang="en-GB" dirty="0"/>
              </a:p>
            </p:txBody>
          </p:sp>
          <p:sp>
            <p:nvSpPr>
              <p:cNvPr id="574" name="Freihandform: Form 746">
                <a:extLst>
                  <a:ext uri="{FF2B5EF4-FFF2-40B4-BE49-F238E27FC236}">
                    <a16:creationId xmlns:a16="http://schemas.microsoft.com/office/drawing/2014/main" id="{00B48FD7-2A80-4087-ACDB-FACF52702A4F}"/>
                  </a:ext>
                </a:extLst>
              </p:cNvPr>
              <p:cNvSpPr/>
              <p:nvPr/>
            </p:nvSpPr>
            <p:spPr>
              <a:xfrm>
                <a:off x="5273616" y="3649321"/>
                <a:ext cx="385841" cy="25661"/>
              </a:xfrm>
              <a:custGeom>
                <a:avLst/>
                <a:gdLst>
                  <a:gd name="connsiteX0" fmla="*/ 379195 w 385841"/>
                  <a:gd name="connsiteY0" fmla="*/ 25661 h 25661"/>
                  <a:gd name="connsiteX1" fmla="*/ 378065 w 385841"/>
                  <a:gd name="connsiteY1" fmla="*/ 25564 h 25661"/>
                  <a:gd name="connsiteX2" fmla="*/ 192921 w 385841"/>
                  <a:gd name="connsiteY2" fmla="*/ 13305 h 25661"/>
                  <a:gd name="connsiteX3" fmla="*/ 7777 w 385841"/>
                  <a:gd name="connsiteY3" fmla="*/ 25564 h 25661"/>
                  <a:gd name="connsiteX4" fmla="*/ 98 w 385841"/>
                  <a:gd name="connsiteY4" fmla="*/ 20132 h 25661"/>
                  <a:gd name="connsiteX5" fmla="*/ 5530 w 385841"/>
                  <a:gd name="connsiteY5" fmla="*/ 12453 h 25661"/>
                  <a:gd name="connsiteX6" fmla="*/ 192921 w 385841"/>
                  <a:gd name="connsiteY6" fmla="*/ 0 h 25661"/>
                  <a:gd name="connsiteX7" fmla="*/ 380313 w 385841"/>
                  <a:gd name="connsiteY7" fmla="*/ 12453 h 25661"/>
                  <a:gd name="connsiteX8" fmla="*/ 385745 w 385841"/>
                  <a:gd name="connsiteY8" fmla="*/ 20132 h 25661"/>
                  <a:gd name="connsiteX9" fmla="*/ 379195 w 385841"/>
                  <a:gd name="connsiteY9" fmla="*/ 25661 h 2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5841" h="25661">
                    <a:moveTo>
                      <a:pt x="379195" y="25661"/>
                    </a:moveTo>
                    <a:cubicBezTo>
                      <a:pt x="378821" y="25661"/>
                      <a:pt x="378444" y="25629"/>
                      <a:pt x="378065" y="25564"/>
                    </a:cubicBezTo>
                    <a:cubicBezTo>
                      <a:pt x="332671" y="17776"/>
                      <a:pt x="265191" y="13305"/>
                      <a:pt x="192921" y="13305"/>
                    </a:cubicBezTo>
                    <a:cubicBezTo>
                      <a:pt x="120651" y="13305"/>
                      <a:pt x="53172" y="17776"/>
                      <a:pt x="7777" y="25564"/>
                    </a:cubicBezTo>
                    <a:cubicBezTo>
                      <a:pt x="4149" y="26169"/>
                      <a:pt x="720" y="23753"/>
                      <a:pt x="98" y="20132"/>
                    </a:cubicBezTo>
                    <a:cubicBezTo>
                      <a:pt x="-527" y="16514"/>
                      <a:pt x="1907" y="13070"/>
                      <a:pt x="5530" y="12453"/>
                    </a:cubicBezTo>
                    <a:cubicBezTo>
                      <a:pt x="51631" y="4540"/>
                      <a:pt x="119935" y="0"/>
                      <a:pt x="192921" y="0"/>
                    </a:cubicBezTo>
                    <a:cubicBezTo>
                      <a:pt x="265907" y="0"/>
                      <a:pt x="334212" y="4540"/>
                      <a:pt x="380313" y="12453"/>
                    </a:cubicBezTo>
                    <a:cubicBezTo>
                      <a:pt x="383933" y="13070"/>
                      <a:pt x="386367" y="16512"/>
                      <a:pt x="385745" y="20132"/>
                    </a:cubicBezTo>
                    <a:cubicBezTo>
                      <a:pt x="385187" y="23374"/>
                      <a:pt x="382375" y="25661"/>
                      <a:pt x="379195" y="25661"/>
                    </a:cubicBezTo>
                    <a:close/>
                  </a:path>
                </a:pathLst>
              </a:custGeom>
              <a:grpFill/>
              <a:ln w="247" cap="flat">
                <a:noFill/>
                <a:prstDash val="solid"/>
                <a:miter/>
              </a:ln>
            </p:spPr>
            <p:txBody>
              <a:bodyPr rtlCol="0" anchor="ctr"/>
              <a:lstStyle/>
              <a:p>
                <a:endParaRPr lang="en-GB" dirty="0"/>
              </a:p>
            </p:txBody>
          </p:sp>
          <p:sp>
            <p:nvSpPr>
              <p:cNvPr id="575" name="Freihandform: Form 747">
                <a:extLst>
                  <a:ext uri="{FF2B5EF4-FFF2-40B4-BE49-F238E27FC236}">
                    <a16:creationId xmlns:a16="http://schemas.microsoft.com/office/drawing/2014/main" id="{0D55349A-2116-4F69-A8AC-623C0C7CAA26}"/>
                  </a:ext>
                </a:extLst>
              </p:cNvPr>
              <p:cNvSpPr/>
              <p:nvPr/>
            </p:nvSpPr>
            <p:spPr>
              <a:xfrm>
                <a:off x="5699368" y="3416490"/>
                <a:ext cx="13302" cy="279397"/>
              </a:xfrm>
              <a:custGeom>
                <a:avLst/>
                <a:gdLst>
                  <a:gd name="connsiteX0" fmla="*/ 6651 w 13302"/>
                  <a:gd name="connsiteY0" fmla="*/ 279397 h 279397"/>
                  <a:gd name="connsiteX1" fmla="*/ 0 w 13302"/>
                  <a:gd name="connsiteY1" fmla="*/ 272746 h 279397"/>
                  <a:gd name="connsiteX2" fmla="*/ 0 w 13302"/>
                  <a:gd name="connsiteY2" fmla="*/ 6651 h 279397"/>
                  <a:gd name="connsiteX3" fmla="*/ 6651 w 13302"/>
                  <a:gd name="connsiteY3" fmla="*/ 0 h 279397"/>
                  <a:gd name="connsiteX4" fmla="*/ 13303 w 13302"/>
                  <a:gd name="connsiteY4" fmla="*/ 6651 h 279397"/>
                  <a:gd name="connsiteX5" fmla="*/ 13303 w 13302"/>
                  <a:gd name="connsiteY5" fmla="*/ 272743 h 279397"/>
                  <a:gd name="connsiteX6" fmla="*/ 6651 w 13302"/>
                  <a:gd name="connsiteY6" fmla="*/ 279397 h 279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02" h="279397">
                    <a:moveTo>
                      <a:pt x="6651" y="279397"/>
                    </a:moveTo>
                    <a:cubicBezTo>
                      <a:pt x="2979" y="279397"/>
                      <a:pt x="0" y="276421"/>
                      <a:pt x="0" y="272746"/>
                    </a:cubicBezTo>
                    <a:lnTo>
                      <a:pt x="0" y="6651"/>
                    </a:lnTo>
                    <a:cubicBezTo>
                      <a:pt x="0" y="2974"/>
                      <a:pt x="2979" y="0"/>
                      <a:pt x="6651" y="0"/>
                    </a:cubicBezTo>
                    <a:cubicBezTo>
                      <a:pt x="10324" y="0"/>
                      <a:pt x="13303" y="2976"/>
                      <a:pt x="13303" y="6651"/>
                    </a:cubicBezTo>
                    <a:lnTo>
                      <a:pt x="13303" y="272743"/>
                    </a:lnTo>
                    <a:cubicBezTo>
                      <a:pt x="13305" y="276421"/>
                      <a:pt x="10326" y="279397"/>
                      <a:pt x="6651" y="279397"/>
                    </a:cubicBezTo>
                    <a:close/>
                  </a:path>
                </a:pathLst>
              </a:custGeom>
              <a:grpFill/>
              <a:ln w="247" cap="flat">
                <a:noFill/>
                <a:prstDash val="solid"/>
                <a:miter/>
              </a:ln>
            </p:spPr>
            <p:txBody>
              <a:bodyPr rtlCol="0" anchor="ctr"/>
              <a:lstStyle/>
              <a:p>
                <a:endParaRPr lang="en-GB" dirty="0"/>
              </a:p>
            </p:txBody>
          </p:sp>
          <p:sp>
            <p:nvSpPr>
              <p:cNvPr id="576" name="Freihandform: Form 748">
                <a:extLst>
                  <a:ext uri="{FF2B5EF4-FFF2-40B4-BE49-F238E27FC236}">
                    <a16:creationId xmlns:a16="http://schemas.microsoft.com/office/drawing/2014/main" id="{94AF313C-65A3-4607-8CA5-34D08042823B}"/>
                  </a:ext>
                </a:extLst>
              </p:cNvPr>
              <p:cNvSpPr/>
              <p:nvPr/>
            </p:nvSpPr>
            <p:spPr>
              <a:xfrm>
                <a:off x="5220402" y="3419816"/>
                <a:ext cx="13302" cy="279397"/>
              </a:xfrm>
              <a:custGeom>
                <a:avLst/>
                <a:gdLst>
                  <a:gd name="connsiteX0" fmla="*/ 6651 w 13302"/>
                  <a:gd name="connsiteY0" fmla="*/ 279397 h 279397"/>
                  <a:gd name="connsiteX1" fmla="*/ 0 w 13302"/>
                  <a:gd name="connsiteY1" fmla="*/ 272746 h 279397"/>
                  <a:gd name="connsiteX2" fmla="*/ 0 w 13302"/>
                  <a:gd name="connsiteY2" fmla="*/ 6651 h 279397"/>
                  <a:gd name="connsiteX3" fmla="*/ 6651 w 13302"/>
                  <a:gd name="connsiteY3" fmla="*/ 0 h 279397"/>
                  <a:gd name="connsiteX4" fmla="*/ 13303 w 13302"/>
                  <a:gd name="connsiteY4" fmla="*/ 6651 h 279397"/>
                  <a:gd name="connsiteX5" fmla="*/ 13303 w 13302"/>
                  <a:gd name="connsiteY5" fmla="*/ 272743 h 279397"/>
                  <a:gd name="connsiteX6" fmla="*/ 6651 w 13302"/>
                  <a:gd name="connsiteY6" fmla="*/ 279397 h 279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02" h="279397">
                    <a:moveTo>
                      <a:pt x="6651" y="279397"/>
                    </a:moveTo>
                    <a:cubicBezTo>
                      <a:pt x="2979" y="279397"/>
                      <a:pt x="0" y="276421"/>
                      <a:pt x="0" y="272746"/>
                    </a:cubicBezTo>
                    <a:lnTo>
                      <a:pt x="0" y="6651"/>
                    </a:lnTo>
                    <a:cubicBezTo>
                      <a:pt x="0" y="2974"/>
                      <a:pt x="2979" y="0"/>
                      <a:pt x="6651" y="0"/>
                    </a:cubicBezTo>
                    <a:cubicBezTo>
                      <a:pt x="10324" y="0"/>
                      <a:pt x="13303" y="2976"/>
                      <a:pt x="13303" y="6651"/>
                    </a:cubicBezTo>
                    <a:lnTo>
                      <a:pt x="13303" y="272743"/>
                    </a:lnTo>
                    <a:cubicBezTo>
                      <a:pt x="13305" y="276421"/>
                      <a:pt x="10326" y="279397"/>
                      <a:pt x="6651" y="279397"/>
                    </a:cubicBezTo>
                    <a:close/>
                  </a:path>
                </a:pathLst>
              </a:custGeom>
              <a:grpFill/>
              <a:ln w="247" cap="flat">
                <a:noFill/>
                <a:prstDash val="solid"/>
                <a:miter/>
              </a:ln>
            </p:spPr>
            <p:txBody>
              <a:bodyPr rtlCol="0" anchor="ctr"/>
              <a:lstStyle/>
              <a:p>
                <a:endParaRPr lang="en-GB" dirty="0"/>
              </a:p>
            </p:txBody>
          </p:sp>
        </p:grpSp>
        <p:grpSp>
          <p:nvGrpSpPr>
            <p:cNvPr id="565" name="Grafik 343">
              <a:extLst>
                <a:ext uri="{FF2B5EF4-FFF2-40B4-BE49-F238E27FC236}">
                  <a16:creationId xmlns:a16="http://schemas.microsoft.com/office/drawing/2014/main" id="{F475EBFE-4B35-4AB4-BDCE-A1480275C759}"/>
                </a:ext>
              </a:extLst>
            </p:cNvPr>
            <p:cNvGrpSpPr/>
            <p:nvPr/>
          </p:nvGrpSpPr>
          <p:grpSpPr>
            <a:xfrm>
              <a:off x="5067194" y="4133834"/>
              <a:ext cx="290991" cy="202784"/>
              <a:chOff x="5324265" y="3432116"/>
              <a:chExt cx="284220" cy="198066"/>
            </a:xfrm>
            <a:solidFill>
              <a:schemeClr val="accent1"/>
            </a:solidFill>
          </p:grpSpPr>
          <p:sp>
            <p:nvSpPr>
              <p:cNvPr id="566" name="Freihandform: Form 752">
                <a:extLst>
                  <a:ext uri="{FF2B5EF4-FFF2-40B4-BE49-F238E27FC236}">
                    <a16:creationId xmlns:a16="http://schemas.microsoft.com/office/drawing/2014/main" id="{6038C486-8C49-424C-B20E-C3BADDB6964E}"/>
                  </a:ext>
                </a:extLst>
              </p:cNvPr>
              <p:cNvSpPr/>
              <p:nvPr/>
            </p:nvSpPr>
            <p:spPr>
              <a:xfrm>
                <a:off x="5358271" y="3552434"/>
                <a:ext cx="54938" cy="77176"/>
              </a:xfrm>
              <a:custGeom>
                <a:avLst/>
                <a:gdLst>
                  <a:gd name="connsiteX0" fmla="*/ 11037 w 54938"/>
                  <a:gd name="connsiteY0" fmla="*/ 77176 h 77176"/>
                  <a:gd name="connsiteX1" fmla="*/ 4408 w 54938"/>
                  <a:gd name="connsiteY1" fmla="*/ 70998 h 77176"/>
                  <a:gd name="connsiteX2" fmla="*/ 16 w 54938"/>
                  <a:gd name="connsiteY2" fmla="*/ 9355 h 77176"/>
                  <a:gd name="connsiteX3" fmla="*/ 1627 w 54938"/>
                  <a:gd name="connsiteY3" fmla="*/ 4523 h 77176"/>
                  <a:gd name="connsiteX4" fmla="*/ 6182 w 54938"/>
                  <a:gd name="connsiteY4" fmla="*/ 2248 h 77176"/>
                  <a:gd name="connsiteX5" fmla="*/ 45319 w 54938"/>
                  <a:gd name="connsiteY5" fmla="*/ 7 h 77176"/>
                  <a:gd name="connsiteX6" fmla="*/ 50104 w 54938"/>
                  <a:gd name="connsiteY6" fmla="*/ 1750 h 77176"/>
                  <a:gd name="connsiteX7" fmla="*/ 52256 w 54938"/>
                  <a:gd name="connsiteY7" fmla="*/ 6369 h 77176"/>
                  <a:gd name="connsiteX8" fmla="*/ 54932 w 54938"/>
                  <a:gd name="connsiteY8" fmla="*/ 68104 h 77176"/>
                  <a:gd name="connsiteX9" fmla="*/ 48575 w 54938"/>
                  <a:gd name="connsiteY9" fmla="*/ 75035 h 77176"/>
                  <a:gd name="connsiteX10" fmla="*/ 11517 w 54938"/>
                  <a:gd name="connsiteY10" fmla="*/ 77159 h 77176"/>
                  <a:gd name="connsiteX11" fmla="*/ 11037 w 54938"/>
                  <a:gd name="connsiteY11" fmla="*/ 77176 h 77176"/>
                  <a:gd name="connsiteX12" fmla="*/ 13763 w 54938"/>
                  <a:gd name="connsiteY12" fmla="*/ 15060 h 77176"/>
                  <a:gd name="connsiteX13" fmla="*/ 17210 w 54938"/>
                  <a:gd name="connsiteY13" fmla="*/ 63433 h 77176"/>
                  <a:gd name="connsiteX14" fmla="*/ 41349 w 54938"/>
                  <a:gd name="connsiteY14" fmla="*/ 62050 h 77176"/>
                  <a:gd name="connsiteX15" fmla="*/ 39250 w 54938"/>
                  <a:gd name="connsiteY15" fmla="*/ 13607 h 77176"/>
                  <a:gd name="connsiteX16" fmla="*/ 13763 w 54938"/>
                  <a:gd name="connsiteY16" fmla="*/ 15060 h 7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4938" h="77176">
                    <a:moveTo>
                      <a:pt x="11037" y="77176"/>
                    </a:moveTo>
                    <a:cubicBezTo>
                      <a:pt x="7577" y="77176"/>
                      <a:pt x="4658" y="74500"/>
                      <a:pt x="4408" y="70998"/>
                    </a:cubicBezTo>
                    <a:lnTo>
                      <a:pt x="16" y="9355"/>
                    </a:lnTo>
                    <a:cubicBezTo>
                      <a:pt x="-107" y="7595"/>
                      <a:pt x="472" y="5853"/>
                      <a:pt x="1627" y="4523"/>
                    </a:cubicBezTo>
                    <a:cubicBezTo>
                      <a:pt x="2785" y="3192"/>
                      <a:pt x="4420" y="2372"/>
                      <a:pt x="6182" y="2248"/>
                    </a:cubicBezTo>
                    <a:cubicBezTo>
                      <a:pt x="19078" y="1326"/>
                      <a:pt x="32245" y="577"/>
                      <a:pt x="45319" y="7"/>
                    </a:cubicBezTo>
                    <a:cubicBezTo>
                      <a:pt x="47096" y="-77"/>
                      <a:pt x="48801" y="560"/>
                      <a:pt x="50104" y="1750"/>
                    </a:cubicBezTo>
                    <a:cubicBezTo>
                      <a:pt x="51403" y="2944"/>
                      <a:pt x="52181" y="4602"/>
                      <a:pt x="52256" y="6369"/>
                    </a:cubicBezTo>
                    <a:lnTo>
                      <a:pt x="54932" y="68104"/>
                    </a:lnTo>
                    <a:cubicBezTo>
                      <a:pt x="55091" y="71774"/>
                      <a:pt x="52246" y="74879"/>
                      <a:pt x="48575" y="75035"/>
                    </a:cubicBezTo>
                    <a:cubicBezTo>
                      <a:pt x="36348" y="75568"/>
                      <a:pt x="23878" y="76282"/>
                      <a:pt x="11517" y="77159"/>
                    </a:cubicBezTo>
                    <a:cubicBezTo>
                      <a:pt x="11356" y="77172"/>
                      <a:pt x="11198" y="77176"/>
                      <a:pt x="11037" y="77176"/>
                    </a:cubicBezTo>
                    <a:close/>
                    <a:moveTo>
                      <a:pt x="13763" y="15060"/>
                    </a:moveTo>
                    <a:lnTo>
                      <a:pt x="17210" y="63433"/>
                    </a:lnTo>
                    <a:cubicBezTo>
                      <a:pt x="25269" y="62900"/>
                      <a:pt x="33347" y="62439"/>
                      <a:pt x="41349" y="62050"/>
                    </a:cubicBezTo>
                    <a:lnTo>
                      <a:pt x="39250" y="13607"/>
                    </a:lnTo>
                    <a:cubicBezTo>
                      <a:pt x="30735" y="14011"/>
                      <a:pt x="22201" y="14500"/>
                      <a:pt x="13763" y="15060"/>
                    </a:cubicBezTo>
                    <a:close/>
                  </a:path>
                </a:pathLst>
              </a:custGeom>
              <a:solidFill>
                <a:schemeClr val="accent1"/>
              </a:solidFill>
              <a:ln w="247" cap="flat">
                <a:noFill/>
                <a:prstDash val="solid"/>
                <a:miter/>
              </a:ln>
            </p:spPr>
            <p:txBody>
              <a:bodyPr rtlCol="0" anchor="ctr"/>
              <a:lstStyle/>
              <a:p>
                <a:endParaRPr lang="en-GB" dirty="0"/>
              </a:p>
            </p:txBody>
          </p:sp>
          <p:sp>
            <p:nvSpPr>
              <p:cNvPr id="567" name="Freihandform: Form 753">
                <a:extLst>
                  <a:ext uri="{FF2B5EF4-FFF2-40B4-BE49-F238E27FC236}">
                    <a16:creationId xmlns:a16="http://schemas.microsoft.com/office/drawing/2014/main" id="{DD1483F8-3871-4828-9CC6-9FFF7E79A222}"/>
                  </a:ext>
                </a:extLst>
              </p:cNvPr>
              <p:cNvSpPr/>
              <p:nvPr/>
            </p:nvSpPr>
            <p:spPr>
              <a:xfrm>
                <a:off x="5442514" y="3532571"/>
                <a:ext cx="52822" cy="93829"/>
              </a:xfrm>
              <a:custGeom>
                <a:avLst/>
                <a:gdLst>
                  <a:gd name="connsiteX0" fmla="*/ 44827 w 52822"/>
                  <a:gd name="connsiteY0" fmla="*/ 93830 h 93829"/>
                  <a:gd name="connsiteX1" fmla="*/ 44713 w 52822"/>
                  <a:gd name="connsiteY1" fmla="*/ 93830 h 93829"/>
                  <a:gd name="connsiteX2" fmla="*/ 7606 w 52822"/>
                  <a:gd name="connsiteY2" fmla="*/ 93718 h 93829"/>
                  <a:gd name="connsiteX3" fmla="*/ 883 w 52822"/>
                  <a:gd name="connsiteY3" fmla="*/ 87136 h 93829"/>
                  <a:gd name="connsiteX4" fmla="*/ 0 w 52822"/>
                  <a:gd name="connsiteY4" fmla="*/ 6810 h 93829"/>
                  <a:gd name="connsiteX5" fmla="*/ 1896 w 52822"/>
                  <a:gd name="connsiteY5" fmla="*/ 2087 h 93829"/>
                  <a:gd name="connsiteX6" fmla="*/ 6580 w 52822"/>
                  <a:gd name="connsiteY6" fmla="*/ 87 h 93829"/>
                  <a:gd name="connsiteX7" fmla="*/ 46280 w 52822"/>
                  <a:gd name="connsiteY7" fmla="*/ 203 h 93829"/>
                  <a:gd name="connsiteX8" fmla="*/ 52822 w 52822"/>
                  <a:gd name="connsiteY8" fmla="*/ 6966 h 93829"/>
                  <a:gd name="connsiteX9" fmla="*/ 51476 w 52822"/>
                  <a:gd name="connsiteY9" fmla="*/ 87287 h 93829"/>
                  <a:gd name="connsiteX10" fmla="*/ 44827 w 52822"/>
                  <a:gd name="connsiteY10" fmla="*/ 93830 h 93829"/>
                  <a:gd name="connsiteX11" fmla="*/ 22103 w 52822"/>
                  <a:gd name="connsiteY11" fmla="*/ 80336 h 93829"/>
                  <a:gd name="connsiteX12" fmla="*/ 38283 w 52822"/>
                  <a:gd name="connsiteY12" fmla="*/ 80433 h 93829"/>
                  <a:gd name="connsiteX13" fmla="*/ 39408 w 52822"/>
                  <a:gd name="connsiteY13" fmla="*/ 13409 h 93829"/>
                  <a:gd name="connsiteX14" fmla="*/ 13377 w 52822"/>
                  <a:gd name="connsiteY14" fmla="*/ 13332 h 93829"/>
                  <a:gd name="connsiteX15" fmla="*/ 14116 w 52822"/>
                  <a:gd name="connsiteY15" fmla="*/ 80356 h 93829"/>
                  <a:gd name="connsiteX16" fmla="*/ 22103 w 52822"/>
                  <a:gd name="connsiteY16" fmla="*/ 80336 h 9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822" h="93829">
                    <a:moveTo>
                      <a:pt x="44827" y="93830"/>
                    </a:moveTo>
                    <a:cubicBezTo>
                      <a:pt x="44788" y="93830"/>
                      <a:pt x="44751" y="93830"/>
                      <a:pt x="44713" y="93830"/>
                    </a:cubicBezTo>
                    <a:cubicBezTo>
                      <a:pt x="32330" y="93614"/>
                      <a:pt x="19848" y="93589"/>
                      <a:pt x="7606" y="93718"/>
                    </a:cubicBezTo>
                    <a:cubicBezTo>
                      <a:pt x="3886" y="93939"/>
                      <a:pt x="925" y="90809"/>
                      <a:pt x="883" y="87136"/>
                    </a:cubicBezTo>
                    <a:lnTo>
                      <a:pt x="0" y="6810"/>
                    </a:lnTo>
                    <a:cubicBezTo>
                      <a:pt x="-19" y="5050"/>
                      <a:pt x="662" y="3348"/>
                      <a:pt x="1896" y="2087"/>
                    </a:cubicBezTo>
                    <a:cubicBezTo>
                      <a:pt x="3130" y="825"/>
                      <a:pt x="4815" y="104"/>
                      <a:pt x="6580" y="87"/>
                    </a:cubicBezTo>
                    <a:cubicBezTo>
                      <a:pt x="19749" y="-57"/>
                      <a:pt x="33106" y="-25"/>
                      <a:pt x="46280" y="203"/>
                    </a:cubicBezTo>
                    <a:cubicBezTo>
                      <a:pt x="49952" y="268"/>
                      <a:pt x="52884" y="3296"/>
                      <a:pt x="52822" y="6966"/>
                    </a:cubicBezTo>
                    <a:lnTo>
                      <a:pt x="51476" y="87287"/>
                    </a:lnTo>
                    <a:cubicBezTo>
                      <a:pt x="51414" y="90925"/>
                      <a:pt x="48450" y="93830"/>
                      <a:pt x="44827" y="93830"/>
                    </a:cubicBezTo>
                    <a:close/>
                    <a:moveTo>
                      <a:pt x="22103" y="80336"/>
                    </a:moveTo>
                    <a:cubicBezTo>
                      <a:pt x="27485" y="80336"/>
                      <a:pt x="32888" y="80368"/>
                      <a:pt x="38283" y="80433"/>
                    </a:cubicBezTo>
                    <a:lnTo>
                      <a:pt x="39408" y="13409"/>
                    </a:lnTo>
                    <a:cubicBezTo>
                      <a:pt x="30752" y="13298"/>
                      <a:pt x="22036" y="13265"/>
                      <a:pt x="13377" y="13332"/>
                    </a:cubicBezTo>
                    <a:lnTo>
                      <a:pt x="14116" y="80356"/>
                    </a:lnTo>
                    <a:cubicBezTo>
                      <a:pt x="16770" y="80344"/>
                      <a:pt x="19436" y="80336"/>
                      <a:pt x="22103" y="80336"/>
                    </a:cubicBezTo>
                    <a:close/>
                  </a:path>
                </a:pathLst>
              </a:custGeom>
              <a:solidFill>
                <a:schemeClr val="accent1"/>
              </a:solidFill>
              <a:ln w="247" cap="flat">
                <a:noFill/>
                <a:prstDash val="solid"/>
                <a:miter/>
              </a:ln>
            </p:spPr>
            <p:txBody>
              <a:bodyPr rtlCol="0" anchor="ctr"/>
              <a:lstStyle/>
              <a:p>
                <a:endParaRPr lang="en-GB" dirty="0"/>
              </a:p>
            </p:txBody>
          </p:sp>
          <p:sp>
            <p:nvSpPr>
              <p:cNvPr id="568" name="Freihandform: Form 754">
                <a:extLst>
                  <a:ext uri="{FF2B5EF4-FFF2-40B4-BE49-F238E27FC236}">
                    <a16:creationId xmlns:a16="http://schemas.microsoft.com/office/drawing/2014/main" id="{014A84BD-0C8A-4F2F-A873-57793C0F70D3}"/>
                  </a:ext>
                </a:extLst>
              </p:cNvPr>
              <p:cNvSpPr/>
              <p:nvPr/>
            </p:nvSpPr>
            <p:spPr>
              <a:xfrm>
                <a:off x="5524168" y="3491075"/>
                <a:ext cx="60035" cy="139107"/>
              </a:xfrm>
              <a:custGeom>
                <a:avLst/>
                <a:gdLst>
                  <a:gd name="connsiteX0" fmla="*/ 43893 w 60035"/>
                  <a:gd name="connsiteY0" fmla="*/ 139108 h 139107"/>
                  <a:gd name="connsiteX1" fmla="*/ 43377 w 60035"/>
                  <a:gd name="connsiteY1" fmla="*/ 139088 h 139107"/>
                  <a:gd name="connsiteX2" fmla="*/ 6324 w 60035"/>
                  <a:gd name="connsiteY2" fmla="*/ 136749 h 139107"/>
                  <a:gd name="connsiteX3" fmla="*/ 1722 w 60035"/>
                  <a:gd name="connsiteY3" fmla="*/ 134573 h 139107"/>
                  <a:gd name="connsiteX4" fmla="*/ 8 w 60035"/>
                  <a:gd name="connsiteY4" fmla="*/ 129778 h 139107"/>
                  <a:gd name="connsiteX5" fmla="*/ 6079 w 60035"/>
                  <a:gd name="connsiteY5" fmla="*/ 6339 h 139107"/>
                  <a:gd name="connsiteX6" fmla="*/ 8260 w 60035"/>
                  <a:gd name="connsiteY6" fmla="*/ 1732 h 139107"/>
                  <a:gd name="connsiteX7" fmla="*/ 13055 w 60035"/>
                  <a:gd name="connsiteY7" fmla="*/ 18 h 139107"/>
                  <a:gd name="connsiteX8" fmla="*/ 53897 w 60035"/>
                  <a:gd name="connsiteY8" fmla="*/ 2597 h 139107"/>
                  <a:gd name="connsiteX9" fmla="*/ 60016 w 60035"/>
                  <a:gd name="connsiteY9" fmla="*/ 9744 h 139107"/>
                  <a:gd name="connsiteX10" fmla="*/ 50522 w 60035"/>
                  <a:gd name="connsiteY10" fmla="*/ 132967 h 139107"/>
                  <a:gd name="connsiteX11" fmla="*/ 43893 w 60035"/>
                  <a:gd name="connsiteY11" fmla="*/ 139108 h 139107"/>
                  <a:gd name="connsiteX12" fmla="*/ 13625 w 60035"/>
                  <a:gd name="connsiteY12" fmla="*/ 123803 h 139107"/>
                  <a:gd name="connsiteX13" fmla="*/ 37764 w 60035"/>
                  <a:gd name="connsiteY13" fmla="*/ 125329 h 139107"/>
                  <a:gd name="connsiteX14" fmla="*/ 46235 w 60035"/>
                  <a:gd name="connsiteY14" fmla="*/ 15372 h 139107"/>
                  <a:gd name="connsiteX15" fmla="*/ 19040 w 60035"/>
                  <a:gd name="connsiteY15" fmla="*/ 13657 h 139107"/>
                  <a:gd name="connsiteX16" fmla="*/ 13625 w 60035"/>
                  <a:gd name="connsiteY16" fmla="*/ 123803 h 139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035" h="139107">
                    <a:moveTo>
                      <a:pt x="43893" y="139108"/>
                    </a:moveTo>
                    <a:cubicBezTo>
                      <a:pt x="43722" y="139108"/>
                      <a:pt x="43548" y="139100"/>
                      <a:pt x="43377" y="139088"/>
                    </a:cubicBezTo>
                    <a:cubicBezTo>
                      <a:pt x="31021" y="138139"/>
                      <a:pt x="18559" y="137346"/>
                      <a:pt x="6324" y="136749"/>
                    </a:cubicBezTo>
                    <a:cubicBezTo>
                      <a:pt x="4565" y="136657"/>
                      <a:pt x="2907" y="135879"/>
                      <a:pt x="1722" y="134573"/>
                    </a:cubicBezTo>
                    <a:cubicBezTo>
                      <a:pt x="540" y="133259"/>
                      <a:pt x="-77" y="131540"/>
                      <a:pt x="8" y="129778"/>
                    </a:cubicBezTo>
                    <a:lnTo>
                      <a:pt x="6079" y="6339"/>
                    </a:lnTo>
                    <a:cubicBezTo>
                      <a:pt x="6166" y="4572"/>
                      <a:pt x="6949" y="2922"/>
                      <a:pt x="8260" y="1732"/>
                    </a:cubicBezTo>
                    <a:cubicBezTo>
                      <a:pt x="9566" y="543"/>
                      <a:pt x="11273" y="-119"/>
                      <a:pt x="13055" y="18"/>
                    </a:cubicBezTo>
                    <a:cubicBezTo>
                      <a:pt x="26767" y="694"/>
                      <a:pt x="40505" y="1564"/>
                      <a:pt x="53897" y="2597"/>
                    </a:cubicBezTo>
                    <a:cubicBezTo>
                      <a:pt x="57557" y="2882"/>
                      <a:pt x="60298" y="6079"/>
                      <a:pt x="60016" y="9744"/>
                    </a:cubicBezTo>
                    <a:lnTo>
                      <a:pt x="50522" y="132967"/>
                    </a:lnTo>
                    <a:cubicBezTo>
                      <a:pt x="50252" y="136456"/>
                      <a:pt x="47338" y="139108"/>
                      <a:pt x="43893" y="139108"/>
                    </a:cubicBezTo>
                    <a:close/>
                    <a:moveTo>
                      <a:pt x="13625" y="123803"/>
                    </a:moveTo>
                    <a:cubicBezTo>
                      <a:pt x="21632" y="124239"/>
                      <a:pt x="29711" y="124752"/>
                      <a:pt x="37764" y="125329"/>
                    </a:cubicBezTo>
                    <a:lnTo>
                      <a:pt x="46235" y="15372"/>
                    </a:lnTo>
                    <a:cubicBezTo>
                      <a:pt x="37259" y="14715"/>
                      <a:pt x="28159" y="14145"/>
                      <a:pt x="19040" y="13657"/>
                    </a:cubicBezTo>
                    <a:lnTo>
                      <a:pt x="13625" y="123803"/>
                    </a:lnTo>
                    <a:close/>
                  </a:path>
                </a:pathLst>
              </a:custGeom>
              <a:solidFill>
                <a:schemeClr val="accent1"/>
              </a:solidFill>
              <a:ln w="247" cap="flat">
                <a:noFill/>
                <a:prstDash val="solid"/>
                <a:miter/>
              </a:ln>
            </p:spPr>
            <p:txBody>
              <a:bodyPr rtlCol="0" anchor="ctr"/>
              <a:lstStyle/>
              <a:p>
                <a:endParaRPr lang="en-GB" dirty="0"/>
              </a:p>
            </p:txBody>
          </p:sp>
          <p:grpSp>
            <p:nvGrpSpPr>
              <p:cNvPr id="569" name="Grafik 343">
                <a:extLst>
                  <a:ext uri="{FF2B5EF4-FFF2-40B4-BE49-F238E27FC236}">
                    <a16:creationId xmlns:a16="http://schemas.microsoft.com/office/drawing/2014/main" id="{2362BAD8-7030-4305-9C22-AEDB56EFFD55}"/>
                  </a:ext>
                </a:extLst>
              </p:cNvPr>
              <p:cNvGrpSpPr/>
              <p:nvPr/>
            </p:nvGrpSpPr>
            <p:grpSpPr>
              <a:xfrm>
                <a:off x="5324265" y="3437266"/>
                <a:ext cx="74322" cy="67919"/>
                <a:chOff x="5324265" y="3437266"/>
                <a:chExt cx="74322" cy="67919"/>
              </a:xfrm>
              <a:solidFill>
                <a:schemeClr val="accent1"/>
              </a:solidFill>
            </p:grpSpPr>
            <p:sp>
              <p:nvSpPr>
                <p:cNvPr id="571" name="Freihandform: Form 756">
                  <a:extLst>
                    <a:ext uri="{FF2B5EF4-FFF2-40B4-BE49-F238E27FC236}">
                      <a16:creationId xmlns:a16="http://schemas.microsoft.com/office/drawing/2014/main" id="{B9A256CD-AE8E-4D72-9171-122CA2E7A7FA}"/>
                    </a:ext>
                  </a:extLst>
                </p:cNvPr>
                <p:cNvSpPr/>
                <p:nvPr/>
              </p:nvSpPr>
              <p:spPr>
                <a:xfrm>
                  <a:off x="5329382" y="3444747"/>
                  <a:ext cx="17908" cy="18126"/>
                </a:xfrm>
                <a:custGeom>
                  <a:avLst/>
                  <a:gdLst>
                    <a:gd name="connsiteX0" fmla="*/ 6647 w 17908"/>
                    <a:gd name="connsiteY0" fmla="*/ 18127 h 18126"/>
                    <a:gd name="connsiteX1" fmla="*/ 2654 w 17908"/>
                    <a:gd name="connsiteY1" fmla="*/ 16788 h 18126"/>
                    <a:gd name="connsiteX2" fmla="*/ 1336 w 17908"/>
                    <a:gd name="connsiteY2" fmla="*/ 7478 h 18126"/>
                    <a:gd name="connsiteX3" fmla="*/ 6999 w 17908"/>
                    <a:gd name="connsiteY3" fmla="*/ 1540 h 18126"/>
                    <a:gd name="connsiteX4" fmla="*/ 16366 w 17908"/>
                    <a:gd name="connsiteY4" fmla="*/ 2390 h 18126"/>
                    <a:gd name="connsiteX5" fmla="*/ 15516 w 17908"/>
                    <a:gd name="connsiteY5" fmla="*/ 11765 h 18126"/>
                    <a:gd name="connsiteX6" fmla="*/ 11972 w 17908"/>
                    <a:gd name="connsiteY6" fmla="*/ 15468 h 18126"/>
                    <a:gd name="connsiteX7" fmla="*/ 6647 w 17908"/>
                    <a:gd name="connsiteY7" fmla="*/ 18127 h 18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08" h="18126">
                      <a:moveTo>
                        <a:pt x="6647" y="18127"/>
                      </a:moveTo>
                      <a:cubicBezTo>
                        <a:pt x="5256" y="18127"/>
                        <a:pt x="3854" y="17690"/>
                        <a:pt x="2654" y="16788"/>
                      </a:cubicBezTo>
                      <a:cubicBezTo>
                        <a:pt x="-282" y="14585"/>
                        <a:pt x="-872" y="10415"/>
                        <a:pt x="1336" y="7478"/>
                      </a:cubicBezTo>
                      <a:cubicBezTo>
                        <a:pt x="2959" y="5315"/>
                        <a:pt x="4862" y="3320"/>
                        <a:pt x="6999" y="1540"/>
                      </a:cubicBezTo>
                      <a:cubicBezTo>
                        <a:pt x="9821" y="-804"/>
                        <a:pt x="14014" y="-435"/>
                        <a:pt x="16366" y="2390"/>
                      </a:cubicBezTo>
                      <a:cubicBezTo>
                        <a:pt x="18718" y="5215"/>
                        <a:pt x="18339" y="9406"/>
                        <a:pt x="15516" y="11765"/>
                      </a:cubicBezTo>
                      <a:cubicBezTo>
                        <a:pt x="14170" y="12883"/>
                        <a:pt x="12978" y="14129"/>
                        <a:pt x="11972" y="15468"/>
                      </a:cubicBezTo>
                      <a:cubicBezTo>
                        <a:pt x="10664" y="17212"/>
                        <a:pt x="8666" y="18127"/>
                        <a:pt x="6647" y="18127"/>
                      </a:cubicBezTo>
                      <a:close/>
                    </a:path>
                  </a:pathLst>
                </a:custGeom>
                <a:solidFill>
                  <a:schemeClr val="accent1"/>
                </a:solidFill>
                <a:ln w="247" cap="flat">
                  <a:noFill/>
                  <a:prstDash val="solid"/>
                  <a:miter/>
                </a:ln>
              </p:spPr>
              <p:txBody>
                <a:bodyPr rtlCol="0" anchor="ctr"/>
                <a:lstStyle/>
                <a:p>
                  <a:endParaRPr lang="en-GB" dirty="0"/>
                </a:p>
              </p:txBody>
            </p:sp>
            <p:sp>
              <p:nvSpPr>
                <p:cNvPr id="572" name="Freihandform: Form 757">
                  <a:extLst>
                    <a:ext uri="{FF2B5EF4-FFF2-40B4-BE49-F238E27FC236}">
                      <a16:creationId xmlns:a16="http://schemas.microsoft.com/office/drawing/2014/main" id="{D1873F77-3417-49E0-B272-3A204669B5B8}"/>
                    </a:ext>
                  </a:extLst>
                </p:cNvPr>
                <p:cNvSpPr/>
                <p:nvPr/>
              </p:nvSpPr>
              <p:spPr>
                <a:xfrm>
                  <a:off x="5324265" y="3437266"/>
                  <a:ext cx="74322" cy="67919"/>
                </a:xfrm>
                <a:custGeom>
                  <a:avLst/>
                  <a:gdLst>
                    <a:gd name="connsiteX0" fmla="*/ 36721 w 74322"/>
                    <a:gd name="connsiteY0" fmla="*/ 67920 h 67919"/>
                    <a:gd name="connsiteX1" fmla="*/ 30 w 74322"/>
                    <a:gd name="connsiteY1" fmla="*/ 37010 h 67919"/>
                    <a:gd name="connsiteX2" fmla="*/ 6032 w 74322"/>
                    <a:gd name="connsiteY2" fmla="*/ 29759 h 67919"/>
                    <a:gd name="connsiteX3" fmla="*/ 13275 w 74322"/>
                    <a:gd name="connsiteY3" fmla="*/ 35761 h 67919"/>
                    <a:gd name="connsiteX4" fmla="*/ 38560 w 74322"/>
                    <a:gd name="connsiteY4" fmla="*/ 54548 h 67919"/>
                    <a:gd name="connsiteX5" fmla="*/ 60999 w 74322"/>
                    <a:gd name="connsiteY5" fmla="*/ 32453 h 67919"/>
                    <a:gd name="connsiteX6" fmla="*/ 54551 w 74322"/>
                    <a:gd name="connsiteY6" fmla="*/ 19435 h 67919"/>
                    <a:gd name="connsiteX7" fmla="*/ 35707 w 74322"/>
                    <a:gd name="connsiteY7" fmla="*/ 13368 h 67919"/>
                    <a:gd name="connsiteX8" fmla="*/ 28610 w 74322"/>
                    <a:gd name="connsiteY8" fmla="*/ 7191 h 67919"/>
                    <a:gd name="connsiteX9" fmla="*/ 34786 w 74322"/>
                    <a:gd name="connsiteY9" fmla="*/ 91 h 67919"/>
                    <a:gd name="connsiteX10" fmla="*/ 63408 w 74322"/>
                    <a:gd name="connsiteY10" fmla="*/ 9505 h 67919"/>
                    <a:gd name="connsiteX11" fmla="*/ 74289 w 74322"/>
                    <a:gd name="connsiteY11" fmla="*/ 31860 h 67919"/>
                    <a:gd name="connsiteX12" fmla="*/ 39482 w 74322"/>
                    <a:gd name="connsiteY12" fmla="*/ 67830 h 67919"/>
                    <a:gd name="connsiteX13" fmla="*/ 36721 w 74322"/>
                    <a:gd name="connsiteY13" fmla="*/ 67920 h 6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322" h="67919">
                      <a:moveTo>
                        <a:pt x="36721" y="67920"/>
                      </a:moveTo>
                      <a:cubicBezTo>
                        <a:pt x="17845" y="67920"/>
                        <a:pt x="1670" y="54538"/>
                        <a:pt x="30" y="37010"/>
                      </a:cubicBezTo>
                      <a:cubicBezTo>
                        <a:pt x="-315" y="33345"/>
                        <a:pt x="2374" y="30103"/>
                        <a:pt x="6032" y="29759"/>
                      </a:cubicBezTo>
                      <a:cubicBezTo>
                        <a:pt x="9754" y="29390"/>
                        <a:pt x="12931" y="32111"/>
                        <a:pt x="13275" y="35761"/>
                      </a:cubicBezTo>
                      <a:cubicBezTo>
                        <a:pt x="14331" y="47012"/>
                        <a:pt x="25666" y="55472"/>
                        <a:pt x="38560" y="54548"/>
                      </a:cubicBezTo>
                      <a:cubicBezTo>
                        <a:pt x="51436" y="53651"/>
                        <a:pt x="61505" y="43738"/>
                        <a:pt x="60999" y="32453"/>
                      </a:cubicBezTo>
                      <a:cubicBezTo>
                        <a:pt x="60781" y="27568"/>
                        <a:pt x="58491" y="22941"/>
                        <a:pt x="54551" y="19435"/>
                      </a:cubicBezTo>
                      <a:cubicBezTo>
                        <a:pt x="49677" y="15088"/>
                        <a:pt x="42847" y="12893"/>
                        <a:pt x="35707" y="13368"/>
                      </a:cubicBezTo>
                      <a:cubicBezTo>
                        <a:pt x="32082" y="13505"/>
                        <a:pt x="28863" y="10861"/>
                        <a:pt x="28610" y="7191"/>
                      </a:cubicBezTo>
                      <a:cubicBezTo>
                        <a:pt x="28357" y="3525"/>
                        <a:pt x="31120" y="351"/>
                        <a:pt x="34786" y="91"/>
                      </a:cubicBezTo>
                      <a:cubicBezTo>
                        <a:pt x="45481" y="-611"/>
                        <a:pt x="55872" y="2779"/>
                        <a:pt x="63408" y="9505"/>
                      </a:cubicBezTo>
                      <a:cubicBezTo>
                        <a:pt x="70044" y="15423"/>
                        <a:pt x="73910" y="23363"/>
                        <a:pt x="74289" y="31860"/>
                      </a:cubicBezTo>
                      <a:cubicBezTo>
                        <a:pt x="75130" y="50610"/>
                        <a:pt x="59842" y="66408"/>
                        <a:pt x="39482" y="67830"/>
                      </a:cubicBezTo>
                      <a:cubicBezTo>
                        <a:pt x="38557" y="67887"/>
                        <a:pt x="37635" y="67920"/>
                        <a:pt x="36721" y="67920"/>
                      </a:cubicBezTo>
                      <a:close/>
                    </a:path>
                  </a:pathLst>
                </a:custGeom>
                <a:solidFill>
                  <a:schemeClr val="accent1"/>
                </a:solidFill>
                <a:ln w="247" cap="flat">
                  <a:noFill/>
                  <a:prstDash val="solid"/>
                  <a:miter/>
                </a:ln>
              </p:spPr>
              <p:txBody>
                <a:bodyPr rtlCol="0" anchor="ctr"/>
                <a:lstStyle/>
                <a:p>
                  <a:endParaRPr lang="en-GB" dirty="0"/>
                </a:p>
              </p:txBody>
            </p:sp>
          </p:grpSp>
          <p:sp>
            <p:nvSpPr>
              <p:cNvPr id="570" name="Freihandform: Form 758">
                <a:extLst>
                  <a:ext uri="{FF2B5EF4-FFF2-40B4-BE49-F238E27FC236}">
                    <a16:creationId xmlns:a16="http://schemas.microsoft.com/office/drawing/2014/main" id="{7B9E26CD-D7D5-48E4-92E5-2BB099A67977}"/>
                  </a:ext>
                </a:extLst>
              </p:cNvPr>
              <p:cNvSpPr/>
              <p:nvPr/>
            </p:nvSpPr>
            <p:spPr>
              <a:xfrm>
                <a:off x="5382328" y="3432116"/>
                <a:ext cx="226157" cy="97989"/>
              </a:xfrm>
              <a:custGeom>
                <a:avLst/>
                <a:gdLst>
                  <a:gd name="connsiteX0" fmla="*/ 6656 w 226157"/>
                  <a:gd name="connsiteY0" fmla="*/ 97989 h 97989"/>
                  <a:gd name="connsiteX1" fmla="*/ 1608 w 226157"/>
                  <a:gd name="connsiteY1" fmla="*/ 95677 h 97989"/>
                  <a:gd name="connsiteX2" fmla="*/ 2316 w 226157"/>
                  <a:gd name="connsiteY2" fmla="*/ 86298 h 97989"/>
                  <a:gd name="connsiteX3" fmla="*/ 36708 w 226157"/>
                  <a:gd name="connsiteY3" fmla="*/ 57712 h 97989"/>
                  <a:gd name="connsiteX4" fmla="*/ 42626 w 226157"/>
                  <a:gd name="connsiteY4" fmla="*/ 56478 h 97989"/>
                  <a:gd name="connsiteX5" fmla="*/ 77253 w 226157"/>
                  <a:gd name="connsiteY5" fmla="*/ 66391 h 97989"/>
                  <a:gd name="connsiteX6" fmla="*/ 146911 w 226157"/>
                  <a:gd name="connsiteY6" fmla="*/ 2420 h 97989"/>
                  <a:gd name="connsiteX7" fmla="*/ 155710 w 226157"/>
                  <a:gd name="connsiteY7" fmla="*/ 2537 h 97989"/>
                  <a:gd name="connsiteX8" fmla="*/ 181676 w 226157"/>
                  <a:gd name="connsiteY8" fmla="*/ 26664 h 97989"/>
                  <a:gd name="connsiteX9" fmla="*/ 215597 w 226157"/>
                  <a:gd name="connsiteY9" fmla="*/ 1270 h 97989"/>
                  <a:gd name="connsiteX10" fmla="*/ 224890 w 226157"/>
                  <a:gd name="connsiteY10" fmla="*/ 2752 h 97989"/>
                  <a:gd name="connsiteX11" fmla="*/ 223413 w 226157"/>
                  <a:gd name="connsiteY11" fmla="*/ 12043 h 97989"/>
                  <a:gd name="connsiteX12" fmla="*/ 185309 w 226157"/>
                  <a:gd name="connsiteY12" fmla="*/ 40685 h 97989"/>
                  <a:gd name="connsiteX13" fmla="*/ 176613 w 226157"/>
                  <a:gd name="connsiteY13" fmla="*/ 40231 h 97989"/>
                  <a:gd name="connsiteX14" fmla="*/ 151126 w 226157"/>
                  <a:gd name="connsiteY14" fmla="*/ 16357 h 97989"/>
                  <a:gd name="connsiteX15" fmla="*/ 83790 w 226157"/>
                  <a:gd name="connsiteY15" fmla="*/ 78633 h 97989"/>
                  <a:gd name="connsiteX16" fmla="*/ 77183 w 226157"/>
                  <a:gd name="connsiteY16" fmla="*/ 80271 h 97989"/>
                  <a:gd name="connsiteX17" fmla="*/ 42403 w 226157"/>
                  <a:gd name="connsiteY17" fmla="*/ 70214 h 97989"/>
                  <a:gd name="connsiteX18" fmla="*/ 10992 w 226157"/>
                  <a:gd name="connsiteY18" fmla="*/ 96381 h 97989"/>
                  <a:gd name="connsiteX19" fmla="*/ 6656 w 226157"/>
                  <a:gd name="connsiteY19" fmla="*/ 97989 h 97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6157" h="97989">
                    <a:moveTo>
                      <a:pt x="6656" y="97989"/>
                    </a:moveTo>
                    <a:cubicBezTo>
                      <a:pt x="4785" y="97989"/>
                      <a:pt x="2924" y="97204"/>
                      <a:pt x="1608" y="95677"/>
                    </a:cubicBezTo>
                    <a:cubicBezTo>
                      <a:pt x="-786" y="92889"/>
                      <a:pt x="-471" y="88686"/>
                      <a:pt x="2316" y="86298"/>
                    </a:cubicBezTo>
                    <a:cubicBezTo>
                      <a:pt x="13463" y="76710"/>
                      <a:pt x="25034" y="67094"/>
                      <a:pt x="36708" y="57712"/>
                    </a:cubicBezTo>
                    <a:cubicBezTo>
                      <a:pt x="38371" y="56374"/>
                      <a:pt x="40569" y="55926"/>
                      <a:pt x="42626" y="56478"/>
                    </a:cubicBezTo>
                    <a:cubicBezTo>
                      <a:pt x="54142" y="59615"/>
                      <a:pt x="65769" y="62949"/>
                      <a:pt x="77253" y="66391"/>
                    </a:cubicBezTo>
                    <a:cubicBezTo>
                      <a:pt x="99571" y="44459"/>
                      <a:pt x="122987" y="22956"/>
                      <a:pt x="146911" y="2420"/>
                    </a:cubicBezTo>
                    <a:cubicBezTo>
                      <a:pt x="149451" y="232"/>
                      <a:pt x="153222" y="289"/>
                      <a:pt x="155710" y="2537"/>
                    </a:cubicBezTo>
                    <a:cubicBezTo>
                      <a:pt x="164446" y="10457"/>
                      <a:pt x="173159" y="18550"/>
                      <a:pt x="181676" y="26664"/>
                    </a:cubicBezTo>
                    <a:cubicBezTo>
                      <a:pt x="192796" y="18082"/>
                      <a:pt x="204183" y="9552"/>
                      <a:pt x="215597" y="1270"/>
                    </a:cubicBezTo>
                    <a:cubicBezTo>
                      <a:pt x="218568" y="-893"/>
                      <a:pt x="222729" y="-224"/>
                      <a:pt x="224890" y="2752"/>
                    </a:cubicBezTo>
                    <a:cubicBezTo>
                      <a:pt x="227046" y="5721"/>
                      <a:pt x="226384" y="9884"/>
                      <a:pt x="223413" y="12043"/>
                    </a:cubicBezTo>
                    <a:cubicBezTo>
                      <a:pt x="210559" y="21365"/>
                      <a:pt x="197740" y="31005"/>
                      <a:pt x="185309" y="40685"/>
                    </a:cubicBezTo>
                    <a:cubicBezTo>
                      <a:pt x="182707" y="42712"/>
                      <a:pt x="179005" y="42524"/>
                      <a:pt x="176613" y="40231"/>
                    </a:cubicBezTo>
                    <a:cubicBezTo>
                      <a:pt x="168284" y="32235"/>
                      <a:pt x="159730" y="24218"/>
                      <a:pt x="151126" y="16357"/>
                    </a:cubicBezTo>
                    <a:cubicBezTo>
                      <a:pt x="127980" y="36393"/>
                      <a:pt x="105350" y="57323"/>
                      <a:pt x="83790" y="78633"/>
                    </a:cubicBezTo>
                    <a:cubicBezTo>
                      <a:pt x="82053" y="80355"/>
                      <a:pt x="79513" y="80984"/>
                      <a:pt x="77183" y="80271"/>
                    </a:cubicBezTo>
                    <a:cubicBezTo>
                      <a:pt x="65677" y="76782"/>
                      <a:pt x="53995" y="73404"/>
                      <a:pt x="42403" y="70214"/>
                    </a:cubicBezTo>
                    <a:cubicBezTo>
                      <a:pt x="31742" y="78828"/>
                      <a:pt x="21190" y="87618"/>
                      <a:pt x="10992" y="96381"/>
                    </a:cubicBezTo>
                    <a:cubicBezTo>
                      <a:pt x="9734" y="97464"/>
                      <a:pt x="8192" y="97989"/>
                      <a:pt x="6656" y="97989"/>
                    </a:cubicBezTo>
                    <a:close/>
                  </a:path>
                </a:pathLst>
              </a:custGeom>
              <a:solidFill>
                <a:schemeClr val="accent1"/>
              </a:solidFill>
              <a:ln w="247" cap="flat">
                <a:noFill/>
                <a:prstDash val="solid"/>
                <a:miter/>
              </a:ln>
            </p:spPr>
            <p:txBody>
              <a:bodyPr rtlCol="0" anchor="ctr"/>
              <a:lstStyle/>
              <a:p>
                <a:endParaRPr lang="en-GB" dirty="0"/>
              </a:p>
            </p:txBody>
          </p:sp>
        </p:grpSp>
      </p:grpSp>
      <p:grpSp>
        <p:nvGrpSpPr>
          <p:cNvPr id="639" name="Group 638">
            <a:extLst>
              <a:ext uri="{FF2B5EF4-FFF2-40B4-BE49-F238E27FC236}">
                <a16:creationId xmlns:a16="http://schemas.microsoft.com/office/drawing/2014/main" id="{49463698-5EAF-8485-3448-23E858BF06E2}"/>
              </a:ext>
            </a:extLst>
          </p:cNvPr>
          <p:cNvGrpSpPr/>
          <p:nvPr/>
        </p:nvGrpSpPr>
        <p:grpSpPr>
          <a:xfrm>
            <a:off x="7081706" y="4040086"/>
            <a:ext cx="435656" cy="432000"/>
            <a:chOff x="7081294" y="4040086"/>
            <a:chExt cx="435656" cy="432000"/>
          </a:xfrm>
        </p:grpSpPr>
        <p:grpSp>
          <p:nvGrpSpPr>
            <p:cNvPr id="578" name="Gruppieren 890">
              <a:extLst>
                <a:ext uri="{FF2B5EF4-FFF2-40B4-BE49-F238E27FC236}">
                  <a16:creationId xmlns:a16="http://schemas.microsoft.com/office/drawing/2014/main" id="{67751B45-9A40-4644-A7E4-2A26C8068B19}"/>
                </a:ext>
              </a:extLst>
            </p:cNvPr>
            <p:cNvGrpSpPr/>
            <p:nvPr/>
          </p:nvGrpSpPr>
          <p:grpSpPr>
            <a:xfrm>
              <a:off x="7281855" y="4069642"/>
              <a:ext cx="235095" cy="402444"/>
              <a:chOff x="7978247" y="3346675"/>
              <a:chExt cx="238378" cy="408063"/>
            </a:xfrm>
            <a:solidFill>
              <a:schemeClr val="tx2"/>
            </a:solidFill>
          </p:grpSpPr>
          <p:grpSp>
            <p:nvGrpSpPr>
              <p:cNvPr id="584" name="Grafik 343">
                <a:extLst>
                  <a:ext uri="{FF2B5EF4-FFF2-40B4-BE49-F238E27FC236}">
                    <a16:creationId xmlns:a16="http://schemas.microsoft.com/office/drawing/2014/main" id="{E465BB16-4E03-4222-A92F-5345D3C45D02}"/>
                  </a:ext>
                </a:extLst>
              </p:cNvPr>
              <p:cNvGrpSpPr/>
              <p:nvPr/>
            </p:nvGrpSpPr>
            <p:grpSpPr>
              <a:xfrm>
                <a:off x="7988762" y="3671245"/>
                <a:ext cx="204756" cy="83493"/>
                <a:chOff x="7988762" y="3671245"/>
                <a:chExt cx="204756" cy="83493"/>
              </a:xfrm>
              <a:grpFill/>
            </p:grpSpPr>
            <p:sp>
              <p:nvSpPr>
                <p:cNvPr id="594" name="Freihandform: Form 726">
                  <a:extLst>
                    <a:ext uri="{FF2B5EF4-FFF2-40B4-BE49-F238E27FC236}">
                      <a16:creationId xmlns:a16="http://schemas.microsoft.com/office/drawing/2014/main" id="{0E750845-82B0-42AC-B89B-9D2EADD90811}"/>
                    </a:ext>
                  </a:extLst>
                </p:cNvPr>
                <p:cNvSpPr/>
                <p:nvPr/>
              </p:nvSpPr>
              <p:spPr>
                <a:xfrm>
                  <a:off x="7988762" y="3671245"/>
                  <a:ext cx="204756" cy="83493"/>
                </a:xfrm>
                <a:custGeom>
                  <a:avLst/>
                  <a:gdLst>
                    <a:gd name="connsiteX0" fmla="*/ 197593 w 204756"/>
                    <a:gd name="connsiteY0" fmla="*/ 83494 h 83493"/>
                    <a:gd name="connsiteX1" fmla="*/ 7149 w 204756"/>
                    <a:gd name="connsiteY1" fmla="*/ 83494 h 83493"/>
                    <a:gd name="connsiteX2" fmla="*/ 532 w 204756"/>
                    <a:gd name="connsiteY2" fmla="*/ 77484 h 83493"/>
                    <a:gd name="connsiteX3" fmla="*/ 12378 w 204756"/>
                    <a:gd name="connsiteY3" fmla="*/ 41618 h 83493"/>
                    <a:gd name="connsiteX4" fmla="*/ 7892 w 204756"/>
                    <a:gd name="connsiteY4" fmla="*/ 29646 h 83493"/>
                    <a:gd name="connsiteX5" fmla="*/ 31682 w 204756"/>
                    <a:gd name="connsiteY5" fmla="*/ 15 h 83493"/>
                    <a:gd name="connsiteX6" fmla="*/ 38646 w 204756"/>
                    <a:gd name="connsiteY6" fmla="*/ 6342 h 83493"/>
                    <a:gd name="connsiteX7" fmla="*/ 32302 w 204756"/>
                    <a:gd name="connsiteY7" fmla="*/ 13306 h 83493"/>
                    <a:gd name="connsiteX8" fmla="*/ 21175 w 204756"/>
                    <a:gd name="connsiteY8" fmla="*/ 29319 h 83493"/>
                    <a:gd name="connsiteX9" fmla="*/ 24198 w 204756"/>
                    <a:gd name="connsiteY9" fmla="*/ 32970 h 83493"/>
                    <a:gd name="connsiteX10" fmla="*/ 30344 w 204756"/>
                    <a:gd name="connsiteY10" fmla="*/ 37076 h 83493"/>
                    <a:gd name="connsiteX11" fmla="*/ 28907 w 204756"/>
                    <a:gd name="connsiteY11" fmla="*/ 44327 h 83493"/>
                    <a:gd name="connsiteX12" fmla="*/ 21993 w 204756"/>
                    <a:gd name="connsiteY12" fmla="*/ 50862 h 83493"/>
                    <a:gd name="connsiteX13" fmla="*/ 13294 w 204756"/>
                    <a:gd name="connsiteY13" fmla="*/ 70189 h 83493"/>
                    <a:gd name="connsiteX14" fmla="*/ 191448 w 204756"/>
                    <a:gd name="connsiteY14" fmla="*/ 70189 h 83493"/>
                    <a:gd name="connsiteX15" fmla="*/ 182749 w 204756"/>
                    <a:gd name="connsiteY15" fmla="*/ 50857 h 83493"/>
                    <a:gd name="connsiteX16" fmla="*/ 175835 w 204756"/>
                    <a:gd name="connsiteY16" fmla="*/ 44327 h 83493"/>
                    <a:gd name="connsiteX17" fmla="*/ 174398 w 204756"/>
                    <a:gd name="connsiteY17" fmla="*/ 37076 h 83493"/>
                    <a:gd name="connsiteX18" fmla="*/ 180544 w 204756"/>
                    <a:gd name="connsiteY18" fmla="*/ 32970 h 83493"/>
                    <a:gd name="connsiteX19" fmla="*/ 183542 w 204756"/>
                    <a:gd name="connsiteY19" fmla="*/ 29312 h 83493"/>
                    <a:gd name="connsiteX20" fmla="*/ 172440 w 204756"/>
                    <a:gd name="connsiteY20" fmla="*/ 13306 h 83493"/>
                    <a:gd name="connsiteX21" fmla="*/ 166121 w 204756"/>
                    <a:gd name="connsiteY21" fmla="*/ 6342 h 83493"/>
                    <a:gd name="connsiteX22" fmla="*/ 173084 w 204756"/>
                    <a:gd name="connsiteY22" fmla="*/ 15 h 83493"/>
                    <a:gd name="connsiteX23" fmla="*/ 196850 w 204756"/>
                    <a:gd name="connsiteY23" fmla="*/ 29639 h 83493"/>
                    <a:gd name="connsiteX24" fmla="*/ 192365 w 204756"/>
                    <a:gd name="connsiteY24" fmla="*/ 41611 h 83493"/>
                    <a:gd name="connsiteX25" fmla="*/ 204235 w 204756"/>
                    <a:gd name="connsiteY25" fmla="*/ 77484 h 83493"/>
                    <a:gd name="connsiteX26" fmla="*/ 197593 w 204756"/>
                    <a:gd name="connsiteY26" fmla="*/ 83494 h 83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4756" h="83493">
                      <a:moveTo>
                        <a:pt x="197593" y="83494"/>
                      </a:moveTo>
                      <a:lnTo>
                        <a:pt x="7149" y="83494"/>
                      </a:lnTo>
                      <a:cubicBezTo>
                        <a:pt x="3729" y="83494"/>
                        <a:pt x="854" y="80894"/>
                        <a:pt x="532" y="77484"/>
                      </a:cubicBezTo>
                      <a:cubicBezTo>
                        <a:pt x="-1574" y="55853"/>
                        <a:pt x="2614" y="50557"/>
                        <a:pt x="12378" y="41618"/>
                      </a:cubicBezTo>
                      <a:cubicBezTo>
                        <a:pt x="9627" y="38726"/>
                        <a:pt x="8016" y="34623"/>
                        <a:pt x="7892" y="29646"/>
                      </a:cubicBezTo>
                      <a:cubicBezTo>
                        <a:pt x="7570" y="16492"/>
                        <a:pt x="17879" y="684"/>
                        <a:pt x="31682" y="15"/>
                      </a:cubicBezTo>
                      <a:cubicBezTo>
                        <a:pt x="35102" y="-237"/>
                        <a:pt x="38448" y="2672"/>
                        <a:pt x="38646" y="6342"/>
                      </a:cubicBezTo>
                      <a:cubicBezTo>
                        <a:pt x="38819" y="10012"/>
                        <a:pt x="35994" y="13130"/>
                        <a:pt x="32302" y="13306"/>
                      </a:cubicBezTo>
                      <a:cubicBezTo>
                        <a:pt x="26503" y="13586"/>
                        <a:pt x="21026" y="22712"/>
                        <a:pt x="21175" y="29319"/>
                      </a:cubicBezTo>
                      <a:cubicBezTo>
                        <a:pt x="21274" y="32970"/>
                        <a:pt x="22711" y="32970"/>
                        <a:pt x="24198" y="32970"/>
                      </a:cubicBezTo>
                      <a:cubicBezTo>
                        <a:pt x="26900" y="32970"/>
                        <a:pt x="29303" y="34588"/>
                        <a:pt x="30344" y="37076"/>
                      </a:cubicBezTo>
                      <a:cubicBezTo>
                        <a:pt x="31385" y="39557"/>
                        <a:pt x="30815" y="42424"/>
                        <a:pt x="28907" y="44327"/>
                      </a:cubicBezTo>
                      <a:cubicBezTo>
                        <a:pt x="26305" y="46919"/>
                        <a:pt x="24000" y="49018"/>
                        <a:pt x="21993" y="50862"/>
                      </a:cubicBezTo>
                      <a:cubicBezTo>
                        <a:pt x="14831" y="57384"/>
                        <a:pt x="12725" y="59300"/>
                        <a:pt x="13294" y="70189"/>
                      </a:cubicBezTo>
                      <a:lnTo>
                        <a:pt x="191448" y="70189"/>
                      </a:lnTo>
                      <a:cubicBezTo>
                        <a:pt x="192018" y="59287"/>
                        <a:pt x="189911" y="57377"/>
                        <a:pt x="182749" y="50857"/>
                      </a:cubicBezTo>
                      <a:cubicBezTo>
                        <a:pt x="180742" y="49010"/>
                        <a:pt x="178412" y="46914"/>
                        <a:pt x="175835" y="44327"/>
                      </a:cubicBezTo>
                      <a:cubicBezTo>
                        <a:pt x="173927" y="42431"/>
                        <a:pt x="173357" y="39566"/>
                        <a:pt x="174398" y="37076"/>
                      </a:cubicBezTo>
                      <a:cubicBezTo>
                        <a:pt x="175414" y="34595"/>
                        <a:pt x="177843" y="32970"/>
                        <a:pt x="180544" y="32970"/>
                      </a:cubicBezTo>
                      <a:cubicBezTo>
                        <a:pt x="182055" y="32970"/>
                        <a:pt x="183468" y="32970"/>
                        <a:pt x="183542" y="29312"/>
                      </a:cubicBezTo>
                      <a:cubicBezTo>
                        <a:pt x="183716" y="22712"/>
                        <a:pt x="178239" y="13583"/>
                        <a:pt x="172440" y="13306"/>
                      </a:cubicBezTo>
                      <a:cubicBezTo>
                        <a:pt x="168773" y="13130"/>
                        <a:pt x="165947" y="10005"/>
                        <a:pt x="166121" y="6342"/>
                      </a:cubicBezTo>
                      <a:cubicBezTo>
                        <a:pt x="166295" y="2672"/>
                        <a:pt x="169690" y="-161"/>
                        <a:pt x="173084" y="15"/>
                      </a:cubicBezTo>
                      <a:cubicBezTo>
                        <a:pt x="186863" y="684"/>
                        <a:pt x="197172" y="16485"/>
                        <a:pt x="196850" y="29639"/>
                      </a:cubicBezTo>
                      <a:cubicBezTo>
                        <a:pt x="196726" y="34615"/>
                        <a:pt x="195115" y="38721"/>
                        <a:pt x="192365" y="41611"/>
                      </a:cubicBezTo>
                      <a:cubicBezTo>
                        <a:pt x="202128" y="50545"/>
                        <a:pt x="206316" y="55845"/>
                        <a:pt x="204235" y="77484"/>
                      </a:cubicBezTo>
                      <a:cubicBezTo>
                        <a:pt x="203888" y="80894"/>
                        <a:pt x="201038" y="83494"/>
                        <a:pt x="197593" y="83494"/>
                      </a:cubicBezTo>
                      <a:close/>
                    </a:path>
                  </a:pathLst>
                </a:custGeom>
                <a:grpFill/>
                <a:ln w="247" cap="flat">
                  <a:noFill/>
                  <a:prstDash val="solid"/>
                  <a:miter/>
                </a:ln>
              </p:spPr>
              <p:txBody>
                <a:bodyPr rtlCol="0" anchor="ctr"/>
                <a:lstStyle/>
                <a:p>
                  <a:endParaRPr lang="en-GB" dirty="0"/>
                </a:p>
              </p:txBody>
            </p:sp>
            <p:sp>
              <p:nvSpPr>
                <p:cNvPr id="595" name="Freihandform: Form 727">
                  <a:extLst>
                    <a:ext uri="{FF2B5EF4-FFF2-40B4-BE49-F238E27FC236}">
                      <a16:creationId xmlns:a16="http://schemas.microsoft.com/office/drawing/2014/main" id="{8681069E-7593-4FB7-8170-ED74193AA240}"/>
                    </a:ext>
                  </a:extLst>
                </p:cNvPr>
                <p:cNvSpPr/>
                <p:nvPr/>
              </p:nvSpPr>
              <p:spPr>
                <a:xfrm>
                  <a:off x="8077863" y="3704469"/>
                  <a:ext cx="97886" cy="13302"/>
                </a:xfrm>
                <a:custGeom>
                  <a:avLst/>
                  <a:gdLst>
                    <a:gd name="connsiteX0" fmla="*/ 91245 w 97886"/>
                    <a:gd name="connsiteY0" fmla="*/ 13303 h 13302"/>
                    <a:gd name="connsiteX1" fmla="*/ 6666 w 97886"/>
                    <a:gd name="connsiteY1" fmla="*/ 13303 h 13302"/>
                    <a:gd name="connsiteX2" fmla="*/ 0 w 97886"/>
                    <a:gd name="connsiteY2" fmla="*/ 6651 h 13302"/>
                    <a:gd name="connsiteX3" fmla="*/ 6666 w 97886"/>
                    <a:gd name="connsiteY3" fmla="*/ 0 h 13302"/>
                    <a:gd name="connsiteX4" fmla="*/ 91245 w 97886"/>
                    <a:gd name="connsiteY4" fmla="*/ 0 h 13302"/>
                    <a:gd name="connsiteX5" fmla="*/ 97886 w 97886"/>
                    <a:gd name="connsiteY5" fmla="*/ 6651 h 13302"/>
                    <a:gd name="connsiteX6" fmla="*/ 91245 w 97886"/>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886" h="13302">
                      <a:moveTo>
                        <a:pt x="91245" y="13303"/>
                      </a:moveTo>
                      <a:lnTo>
                        <a:pt x="6666" y="13303"/>
                      </a:lnTo>
                      <a:cubicBezTo>
                        <a:pt x="2974" y="13303"/>
                        <a:pt x="0" y="10326"/>
                        <a:pt x="0" y="6651"/>
                      </a:cubicBezTo>
                      <a:cubicBezTo>
                        <a:pt x="0" y="2976"/>
                        <a:pt x="2998" y="0"/>
                        <a:pt x="6666" y="0"/>
                      </a:cubicBezTo>
                      <a:lnTo>
                        <a:pt x="91245" y="0"/>
                      </a:lnTo>
                      <a:cubicBezTo>
                        <a:pt x="94913" y="0"/>
                        <a:pt x="97886" y="2976"/>
                        <a:pt x="97886" y="6651"/>
                      </a:cubicBezTo>
                      <a:cubicBezTo>
                        <a:pt x="97886" y="10326"/>
                        <a:pt x="94913" y="13303"/>
                        <a:pt x="91245" y="13303"/>
                      </a:cubicBezTo>
                      <a:close/>
                    </a:path>
                  </a:pathLst>
                </a:custGeom>
                <a:grpFill/>
                <a:ln w="247" cap="flat">
                  <a:noFill/>
                  <a:prstDash val="solid"/>
                  <a:miter/>
                </a:ln>
              </p:spPr>
              <p:txBody>
                <a:bodyPr rtlCol="0" anchor="ctr"/>
                <a:lstStyle/>
                <a:p>
                  <a:endParaRPr lang="en-GB" dirty="0"/>
                </a:p>
              </p:txBody>
            </p:sp>
          </p:grpSp>
          <p:sp>
            <p:nvSpPr>
              <p:cNvPr id="585" name="Freihandform: Form 728">
                <a:extLst>
                  <a:ext uri="{FF2B5EF4-FFF2-40B4-BE49-F238E27FC236}">
                    <a16:creationId xmlns:a16="http://schemas.microsoft.com/office/drawing/2014/main" id="{380B2351-BE18-45BE-B446-014926597441}"/>
                  </a:ext>
                </a:extLst>
              </p:cNvPr>
              <p:cNvSpPr/>
              <p:nvPr/>
            </p:nvSpPr>
            <p:spPr>
              <a:xfrm>
                <a:off x="8030704" y="3704432"/>
                <a:ext cx="29935" cy="13302"/>
              </a:xfrm>
              <a:custGeom>
                <a:avLst/>
                <a:gdLst>
                  <a:gd name="connsiteX0" fmla="*/ 23270 w 29935"/>
                  <a:gd name="connsiteY0" fmla="*/ 13303 h 13302"/>
                  <a:gd name="connsiteX1" fmla="*/ 6666 w 29935"/>
                  <a:gd name="connsiteY1" fmla="*/ 13303 h 13302"/>
                  <a:gd name="connsiteX2" fmla="*/ 0 w 29935"/>
                  <a:gd name="connsiteY2" fmla="*/ 6651 h 13302"/>
                  <a:gd name="connsiteX3" fmla="*/ 6666 w 29935"/>
                  <a:gd name="connsiteY3" fmla="*/ 0 h 13302"/>
                  <a:gd name="connsiteX4" fmla="*/ 23270 w 29935"/>
                  <a:gd name="connsiteY4" fmla="*/ 0 h 13302"/>
                  <a:gd name="connsiteX5" fmla="*/ 29936 w 29935"/>
                  <a:gd name="connsiteY5" fmla="*/ 6651 h 13302"/>
                  <a:gd name="connsiteX6" fmla="*/ 23270 w 29935"/>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935" h="13302">
                    <a:moveTo>
                      <a:pt x="23270" y="13303"/>
                    </a:moveTo>
                    <a:lnTo>
                      <a:pt x="6666" y="13303"/>
                    </a:lnTo>
                    <a:cubicBezTo>
                      <a:pt x="2974" y="13303"/>
                      <a:pt x="0" y="10326"/>
                      <a:pt x="0" y="6651"/>
                    </a:cubicBezTo>
                    <a:cubicBezTo>
                      <a:pt x="0" y="2974"/>
                      <a:pt x="2998" y="0"/>
                      <a:pt x="6666" y="0"/>
                    </a:cubicBezTo>
                    <a:lnTo>
                      <a:pt x="23270" y="0"/>
                    </a:lnTo>
                    <a:cubicBezTo>
                      <a:pt x="26962" y="0"/>
                      <a:pt x="29936" y="2976"/>
                      <a:pt x="29936" y="6651"/>
                    </a:cubicBezTo>
                    <a:cubicBezTo>
                      <a:pt x="29936" y="10326"/>
                      <a:pt x="26962" y="13303"/>
                      <a:pt x="23270" y="13303"/>
                    </a:cubicBezTo>
                    <a:close/>
                  </a:path>
                </a:pathLst>
              </a:custGeom>
              <a:grpFill/>
              <a:ln w="247" cap="flat">
                <a:noFill/>
                <a:prstDash val="solid"/>
                <a:miter/>
              </a:ln>
            </p:spPr>
            <p:txBody>
              <a:bodyPr rtlCol="0" anchor="ctr"/>
              <a:lstStyle/>
              <a:p>
                <a:endParaRPr lang="en-GB" dirty="0"/>
              </a:p>
            </p:txBody>
          </p:sp>
          <p:sp>
            <p:nvSpPr>
              <p:cNvPr id="586" name="Freihandform: Form 729">
                <a:extLst>
                  <a:ext uri="{FF2B5EF4-FFF2-40B4-BE49-F238E27FC236}">
                    <a16:creationId xmlns:a16="http://schemas.microsoft.com/office/drawing/2014/main" id="{5E257203-422F-4770-9BA0-F7421A09360C}"/>
                  </a:ext>
                </a:extLst>
              </p:cNvPr>
              <p:cNvSpPr/>
              <p:nvPr/>
            </p:nvSpPr>
            <p:spPr>
              <a:xfrm>
                <a:off x="8179381" y="3448192"/>
                <a:ext cx="21349" cy="25038"/>
              </a:xfrm>
              <a:custGeom>
                <a:avLst/>
                <a:gdLst>
                  <a:gd name="connsiteX0" fmla="*/ 14682 w 21349"/>
                  <a:gd name="connsiteY0" fmla="*/ 25038 h 25038"/>
                  <a:gd name="connsiteX1" fmla="*/ 12377 w 21349"/>
                  <a:gd name="connsiteY1" fmla="*/ 24622 h 25038"/>
                  <a:gd name="connsiteX2" fmla="*/ 135 w 21349"/>
                  <a:gd name="connsiteY2" fmla="*/ 5711 h 25038"/>
                  <a:gd name="connsiteX3" fmla="*/ 7669 w 21349"/>
                  <a:gd name="connsiteY3" fmla="*/ 66 h 25038"/>
                  <a:gd name="connsiteX4" fmla="*/ 13319 w 21349"/>
                  <a:gd name="connsiteY4" fmla="*/ 7595 h 25038"/>
                  <a:gd name="connsiteX5" fmla="*/ 17011 w 21349"/>
                  <a:gd name="connsiteY5" fmla="*/ 12149 h 25038"/>
                  <a:gd name="connsiteX6" fmla="*/ 20927 w 21349"/>
                  <a:gd name="connsiteY6" fmla="*/ 20704 h 25038"/>
                  <a:gd name="connsiteX7" fmla="*/ 14682 w 21349"/>
                  <a:gd name="connsiteY7" fmla="*/ 25038 h 25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49" h="25038">
                    <a:moveTo>
                      <a:pt x="14682" y="25038"/>
                    </a:moveTo>
                    <a:cubicBezTo>
                      <a:pt x="13914" y="25038"/>
                      <a:pt x="13145" y="24909"/>
                      <a:pt x="12377" y="24622"/>
                    </a:cubicBezTo>
                    <a:cubicBezTo>
                      <a:pt x="3158" y="21197"/>
                      <a:pt x="-807" y="12323"/>
                      <a:pt x="135" y="5711"/>
                    </a:cubicBezTo>
                    <a:cubicBezTo>
                      <a:pt x="656" y="2081"/>
                      <a:pt x="4051" y="-447"/>
                      <a:pt x="7669" y="66"/>
                    </a:cubicBezTo>
                    <a:cubicBezTo>
                      <a:pt x="11312" y="587"/>
                      <a:pt x="13839" y="3957"/>
                      <a:pt x="13319" y="7595"/>
                    </a:cubicBezTo>
                    <a:cubicBezTo>
                      <a:pt x="13195" y="8368"/>
                      <a:pt x="13889" y="10992"/>
                      <a:pt x="17011" y="12149"/>
                    </a:cubicBezTo>
                    <a:cubicBezTo>
                      <a:pt x="20456" y="13428"/>
                      <a:pt x="22215" y="17262"/>
                      <a:pt x="20927" y="20704"/>
                    </a:cubicBezTo>
                    <a:cubicBezTo>
                      <a:pt x="19935" y="23380"/>
                      <a:pt x="17383" y="25038"/>
                      <a:pt x="14682" y="25038"/>
                    </a:cubicBezTo>
                    <a:close/>
                  </a:path>
                </a:pathLst>
              </a:custGeom>
              <a:grpFill/>
              <a:ln w="247" cap="flat">
                <a:noFill/>
                <a:prstDash val="solid"/>
                <a:miter/>
              </a:ln>
            </p:spPr>
            <p:txBody>
              <a:bodyPr rtlCol="0" anchor="ctr"/>
              <a:lstStyle/>
              <a:p>
                <a:endParaRPr lang="en-GB" dirty="0"/>
              </a:p>
            </p:txBody>
          </p:sp>
          <p:grpSp>
            <p:nvGrpSpPr>
              <p:cNvPr id="587" name="Grafik 343">
                <a:extLst>
                  <a:ext uri="{FF2B5EF4-FFF2-40B4-BE49-F238E27FC236}">
                    <a16:creationId xmlns:a16="http://schemas.microsoft.com/office/drawing/2014/main" id="{58C2969E-5231-4951-9AEA-A4EE1F47B8E3}"/>
                  </a:ext>
                </a:extLst>
              </p:cNvPr>
              <p:cNvGrpSpPr/>
              <p:nvPr/>
            </p:nvGrpSpPr>
            <p:grpSpPr>
              <a:xfrm>
                <a:off x="8085167" y="3400641"/>
                <a:ext cx="39069" cy="41074"/>
                <a:chOff x="8085167" y="3400641"/>
                <a:chExt cx="39069" cy="41074"/>
              </a:xfrm>
              <a:grpFill/>
            </p:grpSpPr>
            <p:sp>
              <p:nvSpPr>
                <p:cNvPr id="592" name="Freihandform: Form 731">
                  <a:extLst>
                    <a:ext uri="{FF2B5EF4-FFF2-40B4-BE49-F238E27FC236}">
                      <a16:creationId xmlns:a16="http://schemas.microsoft.com/office/drawing/2014/main" id="{6905DAF5-A8A1-4E00-8CB4-9CB6B9437DA5}"/>
                    </a:ext>
                  </a:extLst>
                </p:cNvPr>
                <p:cNvSpPr/>
                <p:nvPr/>
              </p:nvSpPr>
              <p:spPr>
                <a:xfrm>
                  <a:off x="8085167" y="3400641"/>
                  <a:ext cx="34702" cy="41074"/>
                </a:xfrm>
                <a:custGeom>
                  <a:avLst/>
                  <a:gdLst>
                    <a:gd name="connsiteX0" fmla="*/ 7763 w 34702"/>
                    <a:gd name="connsiteY0" fmla="*/ 41075 h 41074"/>
                    <a:gd name="connsiteX1" fmla="*/ 1270 w 34702"/>
                    <a:gd name="connsiteY1" fmla="*/ 35754 h 41074"/>
                    <a:gd name="connsiteX2" fmla="*/ 6747 w 34702"/>
                    <a:gd name="connsiteY2" fmla="*/ 5858 h 41074"/>
                    <a:gd name="connsiteX3" fmla="*/ 29669 w 34702"/>
                    <a:gd name="connsiteY3" fmla="*/ 778 h 41074"/>
                    <a:gd name="connsiteX4" fmla="*/ 34502 w 34702"/>
                    <a:gd name="connsiteY4" fmla="*/ 8846 h 41074"/>
                    <a:gd name="connsiteX5" fmla="*/ 26472 w 34702"/>
                    <a:gd name="connsiteY5" fmla="*/ 13694 h 41074"/>
                    <a:gd name="connsiteX6" fmla="*/ 15916 w 34702"/>
                    <a:gd name="connsiteY6" fmla="*/ 15500 h 41074"/>
                    <a:gd name="connsiteX7" fmla="*/ 14280 w 34702"/>
                    <a:gd name="connsiteY7" fmla="*/ 33092 h 41074"/>
                    <a:gd name="connsiteX8" fmla="*/ 9101 w 34702"/>
                    <a:gd name="connsiteY8" fmla="*/ 40941 h 41074"/>
                    <a:gd name="connsiteX9" fmla="*/ 7763 w 34702"/>
                    <a:gd name="connsiteY9" fmla="*/ 41075 h 4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702" h="41074">
                      <a:moveTo>
                        <a:pt x="7763" y="41075"/>
                      </a:moveTo>
                      <a:cubicBezTo>
                        <a:pt x="4665" y="41075"/>
                        <a:pt x="1914" y="38904"/>
                        <a:pt x="1270" y="35754"/>
                      </a:cubicBezTo>
                      <a:cubicBezTo>
                        <a:pt x="-1530" y="22085"/>
                        <a:pt x="303" y="12023"/>
                        <a:pt x="6747" y="5858"/>
                      </a:cubicBezTo>
                      <a:cubicBezTo>
                        <a:pt x="15469" y="-2476"/>
                        <a:pt x="28232" y="413"/>
                        <a:pt x="29669" y="778"/>
                      </a:cubicBezTo>
                      <a:cubicBezTo>
                        <a:pt x="33238" y="1667"/>
                        <a:pt x="35394" y="5280"/>
                        <a:pt x="34502" y="8846"/>
                      </a:cubicBezTo>
                      <a:cubicBezTo>
                        <a:pt x="33609" y="12400"/>
                        <a:pt x="30016" y="14551"/>
                        <a:pt x="26472" y="13694"/>
                      </a:cubicBezTo>
                      <a:cubicBezTo>
                        <a:pt x="26274" y="13642"/>
                        <a:pt x="19335" y="12179"/>
                        <a:pt x="15916" y="15500"/>
                      </a:cubicBezTo>
                      <a:cubicBezTo>
                        <a:pt x="13115" y="18229"/>
                        <a:pt x="12521" y="24478"/>
                        <a:pt x="14280" y="33092"/>
                      </a:cubicBezTo>
                      <a:cubicBezTo>
                        <a:pt x="15023" y="36691"/>
                        <a:pt x="12694" y="40207"/>
                        <a:pt x="9101" y="40941"/>
                      </a:cubicBezTo>
                      <a:cubicBezTo>
                        <a:pt x="8655" y="41030"/>
                        <a:pt x="8209" y="41075"/>
                        <a:pt x="7763" y="41075"/>
                      </a:cubicBezTo>
                      <a:close/>
                    </a:path>
                  </a:pathLst>
                </a:custGeom>
                <a:grpFill/>
                <a:ln w="247" cap="flat">
                  <a:noFill/>
                  <a:prstDash val="solid"/>
                  <a:miter/>
                </a:ln>
              </p:spPr>
              <p:txBody>
                <a:bodyPr rtlCol="0" anchor="ctr"/>
                <a:lstStyle/>
                <a:p>
                  <a:endParaRPr lang="en-GB" dirty="0"/>
                </a:p>
              </p:txBody>
            </p:sp>
            <p:sp>
              <p:nvSpPr>
                <p:cNvPr id="593" name="Freihandform: Form 732">
                  <a:extLst>
                    <a:ext uri="{FF2B5EF4-FFF2-40B4-BE49-F238E27FC236}">
                      <a16:creationId xmlns:a16="http://schemas.microsoft.com/office/drawing/2014/main" id="{90240585-45FF-4524-A88A-9DCCB4E37521}"/>
                    </a:ext>
                  </a:extLst>
                </p:cNvPr>
                <p:cNvSpPr/>
                <p:nvPr/>
              </p:nvSpPr>
              <p:spPr>
                <a:xfrm>
                  <a:off x="8085475" y="3417551"/>
                  <a:ext cx="38762" cy="21408"/>
                </a:xfrm>
                <a:custGeom>
                  <a:avLst/>
                  <a:gdLst>
                    <a:gd name="connsiteX0" fmla="*/ 26066 w 38762"/>
                    <a:gd name="connsiteY0" fmla="*/ 21409 h 21408"/>
                    <a:gd name="connsiteX1" fmla="*/ 2524 w 38762"/>
                    <a:gd name="connsiteY1" fmla="*/ 11873 h 21408"/>
                    <a:gd name="connsiteX2" fmla="*/ 1433 w 38762"/>
                    <a:gd name="connsiteY2" fmla="*/ 2530 h 21408"/>
                    <a:gd name="connsiteX3" fmla="*/ 10776 w 38762"/>
                    <a:gd name="connsiteY3" fmla="*/ 1425 h 21408"/>
                    <a:gd name="connsiteX4" fmla="*/ 27429 w 38762"/>
                    <a:gd name="connsiteY4" fmla="*/ 8000 h 21408"/>
                    <a:gd name="connsiteX5" fmla="*/ 35731 w 38762"/>
                    <a:gd name="connsiteY5" fmla="*/ 7142 h 21408"/>
                    <a:gd name="connsiteX6" fmla="*/ 37688 w 38762"/>
                    <a:gd name="connsiteY6" fmla="*/ 16341 h 21408"/>
                    <a:gd name="connsiteX7" fmla="*/ 29461 w 38762"/>
                    <a:gd name="connsiteY7" fmla="*/ 21141 h 21408"/>
                    <a:gd name="connsiteX8" fmla="*/ 26066 w 38762"/>
                    <a:gd name="connsiteY8" fmla="*/ 21409 h 21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2" h="21408">
                      <a:moveTo>
                        <a:pt x="26066" y="21409"/>
                      </a:moveTo>
                      <a:cubicBezTo>
                        <a:pt x="21060" y="21409"/>
                        <a:pt x="12659" y="19855"/>
                        <a:pt x="2524" y="11873"/>
                      </a:cubicBezTo>
                      <a:cubicBezTo>
                        <a:pt x="-351" y="9598"/>
                        <a:pt x="-847" y="5415"/>
                        <a:pt x="1433" y="2530"/>
                      </a:cubicBezTo>
                      <a:cubicBezTo>
                        <a:pt x="3713" y="-347"/>
                        <a:pt x="7877" y="-847"/>
                        <a:pt x="10776" y="1425"/>
                      </a:cubicBezTo>
                      <a:cubicBezTo>
                        <a:pt x="19301" y="8163"/>
                        <a:pt x="25620" y="8376"/>
                        <a:pt x="27429" y="8000"/>
                      </a:cubicBezTo>
                      <a:cubicBezTo>
                        <a:pt x="29610" y="5844"/>
                        <a:pt x="33054" y="5427"/>
                        <a:pt x="35731" y="7142"/>
                      </a:cubicBezTo>
                      <a:cubicBezTo>
                        <a:pt x="38804" y="9137"/>
                        <a:pt x="39696" y="13256"/>
                        <a:pt x="37688" y="16341"/>
                      </a:cubicBezTo>
                      <a:cubicBezTo>
                        <a:pt x="36078" y="18861"/>
                        <a:pt x="33228" y="20519"/>
                        <a:pt x="29461" y="21141"/>
                      </a:cubicBezTo>
                      <a:cubicBezTo>
                        <a:pt x="28619" y="21280"/>
                        <a:pt x="27478" y="21409"/>
                        <a:pt x="26066" y="21409"/>
                      </a:cubicBezTo>
                      <a:close/>
                    </a:path>
                  </a:pathLst>
                </a:custGeom>
                <a:grpFill/>
                <a:ln w="247" cap="flat">
                  <a:noFill/>
                  <a:prstDash val="solid"/>
                  <a:miter/>
                </a:ln>
              </p:spPr>
              <p:txBody>
                <a:bodyPr rtlCol="0" anchor="ctr"/>
                <a:lstStyle/>
                <a:p>
                  <a:endParaRPr lang="en-GB" dirty="0"/>
                </a:p>
              </p:txBody>
            </p:sp>
          </p:grpSp>
          <p:sp>
            <p:nvSpPr>
              <p:cNvPr id="588" name="Freihandform: Form 733">
                <a:extLst>
                  <a:ext uri="{FF2B5EF4-FFF2-40B4-BE49-F238E27FC236}">
                    <a16:creationId xmlns:a16="http://schemas.microsoft.com/office/drawing/2014/main" id="{67B5BB68-BD4C-4C0D-8274-0BB77B56C39C}"/>
                  </a:ext>
                </a:extLst>
              </p:cNvPr>
              <p:cNvSpPr/>
              <p:nvPr/>
            </p:nvSpPr>
            <p:spPr>
              <a:xfrm>
                <a:off x="8019397" y="3491881"/>
                <a:ext cx="33941" cy="141242"/>
              </a:xfrm>
              <a:custGeom>
                <a:avLst/>
                <a:gdLst>
                  <a:gd name="connsiteX0" fmla="*/ 6673 w 33941"/>
                  <a:gd name="connsiteY0" fmla="*/ 141243 h 141242"/>
                  <a:gd name="connsiteX1" fmla="*/ 1171 w 33941"/>
                  <a:gd name="connsiteY1" fmla="*/ 138366 h 141242"/>
                  <a:gd name="connsiteX2" fmla="*/ 2881 w 33941"/>
                  <a:gd name="connsiteY2" fmla="*/ 129115 h 141242"/>
                  <a:gd name="connsiteX3" fmla="*/ 15644 w 33941"/>
                  <a:gd name="connsiteY3" fmla="*/ 65930 h 141242"/>
                  <a:gd name="connsiteX4" fmla="*/ 676 w 33941"/>
                  <a:gd name="connsiteY4" fmla="*/ 8165 h 141242"/>
                  <a:gd name="connsiteX5" fmla="*/ 5656 w 33941"/>
                  <a:gd name="connsiteY5" fmla="*/ 175 h 141242"/>
                  <a:gd name="connsiteX6" fmla="*/ 13636 w 33941"/>
                  <a:gd name="connsiteY6" fmla="*/ 5139 h 141242"/>
                  <a:gd name="connsiteX7" fmla="*/ 28059 w 33941"/>
                  <a:gd name="connsiteY7" fmla="*/ 61113 h 141242"/>
                  <a:gd name="connsiteX8" fmla="*/ 10439 w 33941"/>
                  <a:gd name="connsiteY8" fmla="*/ 140071 h 141242"/>
                  <a:gd name="connsiteX9" fmla="*/ 6673 w 33941"/>
                  <a:gd name="connsiteY9" fmla="*/ 141243 h 141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941" h="141242">
                    <a:moveTo>
                      <a:pt x="6673" y="141243"/>
                    </a:moveTo>
                    <a:cubicBezTo>
                      <a:pt x="4541" y="141243"/>
                      <a:pt x="2460" y="140237"/>
                      <a:pt x="1171" y="138366"/>
                    </a:cubicBezTo>
                    <a:cubicBezTo>
                      <a:pt x="-911" y="135338"/>
                      <a:pt x="-142" y="131194"/>
                      <a:pt x="2881" y="129115"/>
                    </a:cubicBezTo>
                    <a:cubicBezTo>
                      <a:pt x="30958" y="109788"/>
                      <a:pt x="18444" y="73089"/>
                      <a:pt x="15644" y="65930"/>
                    </a:cubicBezTo>
                    <a:cubicBezTo>
                      <a:pt x="13884" y="61375"/>
                      <a:pt x="8036" y="39595"/>
                      <a:pt x="676" y="8165"/>
                    </a:cubicBezTo>
                    <a:cubicBezTo>
                      <a:pt x="-142" y="4591"/>
                      <a:pt x="2063" y="1013"/>
                      <a:pt x="5656" y="175"/>
                    </a:cubicBezTo>
                    <a:cubicBezTo>
                      <a:pt x="9225" y="-657"/>
                      <a:pt x="12818" y="1558"/>
                      <a:pt x="13636" y="5139"/>
                    </a:cubicBezTo>
                    <a:cubicBezTo>
                      <a:pt x="21492" y="38685"/>
                      <a:pt x="26894" y="58144"/>
                      <a:pt x="28059" y="61113"/>
                    </a:cubicBezTo>
                    <a:cubicBezTo>
                      <a:pt x="30141" y="66493"/>
                      <a:pt x="47537" y="114526"/>
                      <a:pt x="10439" y="140071"/>
                    </a:cubicBezTo>
                    <a:cubicBezTo>
                      <a:pt x="9275" y="140866"/>
                      <a:pt x="7961" y="141243"/>
                      <a:pt x="6673" y="141243"/>
                    </a:cubicBezTo>
                    <a:close/>
                  </a:path>
                </a:pathLst>
              </a:custGeom>
              <a:grpFill/>
              <a:ln w="247" cap="flat">
                <a:noFill/>
                <a:prstDash val="solid"/>
                <a:miter/>
              </a:ln>
            </p:spPr>
            <p:txBody>
              <a:bodyPr rtlCol="0" anchor="ctr"/>
              <a:lstStyle/>
              <a:p>
                <a:endParaRPr lang="en-GB" dirty="0"/>
              </a:p>
            </p:txBody>
          </p:sp>
          <p:sp>
            <p:nvSpPr>
              <p:cNvPr id="589" name="Freihandform: Form 734">
                <a:extLst>
                  <a:ext uri="{FF2B5EF4-FFF2-40B4-BE49-F238E27FC236}">
                    <a16:creationId xmlns:a16="http://schemas.microsoft.com/office/drawing/2014/main" id="{67D3AF99-97BC-4BC1-8EAB-0CAC48E7560D}"/>
                  </a:ext>
                </a:extLst>
              </p:cNvPr>
              <p:cNvSpPr/>
              <p:nvPr/>
            </p:nvSpPr>
            <p:spPr>
              <a:xfrm>
                <a:off x="8033353" y="3381958"/>
                <a:ext cx="22869" cy="16516"/>
              </a:xfrm>
              <a:custGeom>
                <a:avLst/>
                <a:gdLst>
                  <a:gd name="connsiteX0" fmla="*/ 6669 w 22869"/>
                  <a:gd name="connsiteY0" fmla="*/ 16516 h 16516"/>
                  <a:gd name="connsiteX1" fmla="*/ 672 w 22869"/>
                  <a:gd name="connsiteY1" fmla="*/ 12762 h 16516"/>
                  <a:gd name="connsiteX2" fmla="*/ 3745 w 22869"/>
                  <a:gd name="connsiteY2" fmla="*/ 3875 h 16516"/>
                  <a:gd name="connsiteX3" fmla="*/ 15268 w 22869"/>
                  <a:gd name="connsiteY3" fmla="*/ 69 h 16516"/>
                  <a:gd name="connsiteX4" fmla="*/ 22801 w 22869"/>
                  <a:gd name="connsiteY4" fmla="*/ 5721 h 16516"/>
                  <a:gd name="connsiteX5" fmla="*/ 17201 w 22869"/>
                  <a:gd name="connsiteY5" fmla="*/ 13238 h 16516"/>
                  <a:gd name="connsiteX6" fmla="*/ 9543 w 22869"/>
                  <a:gd name="connsiteY6" fmla="*/ 15855 h 16516"/>
                  <a:gd name="connsiteX7" fmla="*/ 6669 w 22869"/>
                  <a:gd name="connsiteY7" fmla="*/ 16516 h 1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69" h="16516">
                    <a:moveTo>
                      <a:pt x="6669" y="16516"/>
                    </a:moveTo>
                    <a:cubicBezTo>
                      <a:pt x="4191" y="16516"/>
                      <a:pt x="1812" y="15133"/>
                      <a:pt x="672" y="12762"/>
                    </a:cubicBezTo>
                    <a:cubicBezTo>
                      <a:pt x="-939" y="9456"/>
                      <a:pt x="449" y="5479"/>
                      <a:pt x="3745" y="3875"/>
                    </a:cubicBezTo>
                    <a:cubicBezTo>
                      <a:pt x="9915" y="894"/>
                      <a:pt x="14748" y="146"/>
                      <a:pt x="15268" y="69"/>
                    </a:cubicBezTo>
                    <a:cubicBezTo>
                      <a:pt x="18936" y="-456"/>
                      <a:pt x="22281" y="2084"/>
                      <a:pt x="22801" y="5721"/>
                    </a:cubicBezTo>
                    <a:cubicBezTo>
                      <a:pt x="23322" y="9340"/>
                      <a:pt x="20794" y="12697"/>
                      <a:pt x="17201" y="13238"/>
                    </a:cubicBezTo>
                    <a:cubicBezTo>
                      <a:pt x="17077" y="13257"/>
                      <a:pt x="13781" y="13803"/>
                      <a:pt x="9543" y="15855"/>
                    </a:cubicBezTo>
                    <a:cubicBezTo>
                      <a:pt x="8602" y="16303"/>
                      <a:pt x="7635" y="16516"/>
                      <a:pt x="6669" y="16516"/>
                    </a:cubicBezTo>
                    <a:close/>
                  </a:path>
                </a:pathLst>
              </a:custGeom>
              <a:grpFill/>
              <a:ln w="247" cap="flat">
                <a:noFill/>
                <a:prstDash val="solid"/>
                <a:miter/>
              </a:ln>
            </p:spPr>
            <p:txBody>
              <a:bodyPr rtlCol="0" anchor="ctr"/>
              <a:lstStyle/>
              <a:p>
                <a:endParaRPr lang="en-GB" dirty="0"/>
              </a:p>
            </p:txBody>
          </p:sp>
          <p:sp>
            <p:nvSpPr>
              <p:cNvPr id="590" name="Freihandform: Form 736">
                <a:extLst>
                  <a:ext uri="{FF2B5EF4-FFF2-40B4-BE49-F238E27FC236}">
                    <a16:creationId xmlns:a16="http://schemas.microsoft.com/office/drawing/2014/main" id="{6EBD83A3-5C36-4286-9E40-8C1EB0EE4044}"/>
                  </a:ext>
                </a:extLst>
              </p:cNvPr>
              <p:cNvSpPr/>
              <p:nvPr/>
            </p:nvSpPr>
            <p:spPr>
              <a:xfrm>
                <a:off x="8034845" y="3346675"/>
                <a:ext cx="181780" cy="168762"/>
              </a:xfrm>
              <a:custGeom>
                <a:avLst/>
                <a:gdLst>
                  <a:gd name="connsiteX0" fmla="*/ 126531 w 181780"/>
                  <a:gd name="connsiteY0" fmla="*/ 168755 h 168762"/>
                  <a:gd name="connsiteX1" fmla="*/ 120806 w 181780"/>
                  <a:gd name="connsiteY1" fmla="*/ 165507 h 168762"/>
                  <a:gd name="connsiteX2" fmla="*/ 111513 w 181780"/>
                  <a:gd name="connsiteY2" fmla="*/ 149882 h 168762"/>
                  <a:gd name="connsiteX3" fmla="*/ 65990 w 181780"/>
                  <a:gd name="connsiteY3" fmla="*/ 143010 h 168762"/>
                  <a:gd name="connsiteX4" fmla="*/ 44108 w 181780"/>
                  <a:gd name="connsiteY4" fmla="*/ 141808 h 168762"/>
                  <a:gd name="connsiteX5" fmla="*/ 40441 w 181780"/>
                  <a:gd name="connsiteY5" fmla="*/ 133142 h 168762"/>
                  <a:gd name="connsiteX6" fmla="*/ 49114 w 181780"/>
                  <a:gd name="connsiteY6" fmla="*/ 129492 h 168762"/>
                  <a:gd name="connsiteX7" fmla="*/ 62620 w 181780"/>
                  <a:gd name="connsiteY7" fmla="*/ 130149 h 168762"/>
                  <a:gd name="connsiteX8" fmla="*/ 118799 w 181780"/>
                  <a:gd name="connsiteY8" fmla="*/ 138510 h 168762"/>
                  <a:gd name="connsiteX9" fmla="*/ 121823 w 181780"/>
                  <a:gd name="connsiteY9" fmla="*/ 141186 h 168762"/>
                  <a:gd name="connsiteX10" fmla="*/ 130273 w 181780"/>
                  <a:gd name="connsiteY10" fmla="*/ 155381 h 168762"/>
                  <a:gd name="connsiteX11" fmla="*/ 143655 w 181780"/>
                  <a:gd name="connsiteY11" fmla="*/ 155141 h 168762"/>
                  <a:gd name="connsiteX12" fmla="*/ 127274 w 181780"/>
                  <a:gd name="connsiteY12" fmla="*/ 135053 h 168762"/>
                  <a:gd name="connsiteX13" fmla="*/ 127274 w 181780"/>
                  <a:gd name="connsiteY13" fmla="*/ 126647 h 168762"/>
                  <a:gd name="connsiteX14" fmla="*/ 135527 w 181780"/>
                  <a:gd name="connsiteY14" fmla="*/ 124952 h 168762"/>
                  <a:gd name="connsiteX15" fmla="*/ 165710 w 181780"/>
                  <a:gd name="connsiteY15" fmla="*/ 140693 h 168762"/>
                  <a:gd name="connsiteX16" fmla="*/ 167247 w 181780"/>
                  <a:gd name="connsiteY16" fmla="*/ 129551 h 168762"/>
                  <a:gd name="connsiteX17" fmla="*/ 166677 w 181780"/>
                  <a:gd name="connsiteY17" fmla="*/ 123049 h 168762"/>
                  <a:gd name="connsiteX18" fmla="*/ 111067 w 181780"/>
                  <a:gd name="connsiteY18" fmla="*/ 63145 h 168762"/>
                  <a:gd name="connsiteX19" fmla="*/ 107920 w 181780"/>
                  <a:gd name="connsiteY19" fmla="*/ 58773 h 168762"/>
                  <a:gd name="connsiteX20" fmla="*/ 105442 w 181780"/>
                  <a:gd name="connsiteY20" fmla="*/ 47022 h 168762"/>
                  <a:gd name="connsiteX21" fmla="*/ 62917 w 181780"/>
                  <a:gd name="connsiteY21" fmla="*/ 32594 h 168762"/>
                  <a:gd name="connsiteX22" fmla="*/ 58506 w 181780"/>
                  <a:gd name="connsiteY22" fmla="*/ 27539 h 168762"/>
                  <a:gd name="connsiteX23" fmla="*/ 56350 w 181780"/>
                  <a:gd name="connsiteY23" fmla="*/ 16152 h 168762"/>
                  <a:gd name="connsiteX24" fmla="*/ 7927 w 181780"/>
                  <a:gd name="connsiteY24" fmla="*/ 15198 h 168762"/>
                  <a:gd name="connsiteX25" fmla="*/ 121 w 181780"/>
                  <a:gd name="connsiteY25" fmla="*/ 9942 h 168762"/>
                  <a:gd name="connsiteX26" fmla="*/ 5375 w 181780"/>
                  <a:gd name="connsiteY26" fmla="*/ 2141 h 168762"/>
                  <a:gd name="connsiteX27" fmla="*/ 63834 w 181780"/>
                  <a:gd name="connsiteY27" fmla="*/ 4232 h 168762"/>
                  <a:gd name="connsiteX28" fmla="*/ 68617 w 181780"/>
                  <a:gd name="connsiteY28" fmla="*/ 9397 h 168762"/>
                  <a:gd name="connsiteX29" fmla="*/ 70872 w 181780"/>
                  <a:gd name="connsiteY29" fmla="*/ 21240 h 168762"/>
                  <a:gd name="connsiteX30" fmla="*/ 113298 w 181780"/>
                  <a:gd name="connsiteY30" fmla="*/ 35643 h 168762"/>
                  <a:gd name="connsiteX31" fmla="*/ 117684 w 181780"/>
                  <a:gd name="connsiteY31" fmla="*/ 40574 h 168762"/>
                  <a:gd name="connsiteX32" fmla="*/ 120336 w 181780"/>
                  <a:gd name="connsiteY32" fmla="*/ 53170 h 168762"/>
                  <a:gd name="connsiteX33" fmla="*/ 179935 w 181780"/>
                  <a:gd name="connsiteY33" fmla="*/ 124974 h 168762"/>
                  <a:gd name="connsiteX34" fmla="*/ 172153 w 181780"/>
                  <a:gd name="connsiteY34" fmla="*/ 153852 h 168762"/>
                  <a:gd name="connsiteX35" fmla="*/ 164397 w 181780"/>
                  <a:gd name="connsiteY35" fmla="*/ 155014 h 168762"/>
                  <a:gd name="connsiteX36" fmla="*/ 158003 w 181780"/>
                  <a:gd name="connsiteY36" fmla="*/ 151676 h 168762"/>
                  <a:gd name="connsiteX37" fmla="*/ 162613 w 181780"/>
                  <a:gd name="connsiteY37" fmla="*/ 157349 h 168762"/>
                  <a:gd name="connsiteX38" fmla="*/ 163505 w 181780"/>
                  <a:gd name="connsiteY38" fmla="*/ 164352 h 168762"/>
                  <a:gd name="connsiteX39" fmla="*/ 157582 w 181780"/>
                  <a:gd name="connsiteY39" fmla="*/ 168205 h 168762"/>
                  <a:gd name="connsiteX40" fmla="*/ 126655 w 181780"/>
                  <a:gd name="connsiteY40" fmla="*/ 168763 h 168762"/>
                  <a:gd name="connsiteX41" fmla="*/ 126531 w 181780"/>
                  <a:gd name="connsiteY41" fmla="*/ 168755 h 16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1780" h="168762">
                    <a:moveTo>
                      <a:pt x="126531" y="168755"/>
                    </a:moveTo>
                    <a:cubicBezTo>
                      <a:pt x="124201" y="168755"/>
                      <a:pt x="122021" y="167521"/>
                      <a:pt x="120806" y="165507"/>
                    </a:cubicBezTo>
                    <a:lnTo>
                      <a:pt x="111513" y="149882"/>
                    </a:lnTo>
                    <a:cubicBezTo>
                      <a:pt x="104822" y="147206"/>
                      <a:pt x="81949" y="138844"/>
                      <a:pt x="65990" y="143010"/>
                    </a:cubicBezTo>
                    <a:cubicBezTo>
                      <a:pt x="57490" y="145245"/>
                      <a:pt x="51766" y="144941"/>
                      <a:pt x="44108" y="141808"/>
                    </a:cubicBezTo>
                    <a:cubicBezTo>
                      <a:pt x="40688" y="140425"/>
                      <a:pt x="39053" y="136547"/>
                      <a:pt x="40441" y="133142"/>
                    </a:cubicBezTo>
                    <a:cubicBezTo>
                      <a:pt x="41828" y="129737"/>
                      <a:pt x="45719" y="128094"/>
                      <a:pt x="49114" y="129492"/>
                    </a:cubicBezTo>
                    <a:cubicBezTo>
                      <a:pt x="54070" y="131507"/>
                      <a:pt x="56970" y="131628"/>
                      <a:pt x="62620" y="130149"/>
                    </a:cubicBezTo>
                    <a:cubicBezTo>
                      <a:pt x="85840" y="124023"/>
                      <a:pt x="117461" y="137913"/>
                      <a:pt x="118799" y="138510"/>
                    </a:cubicBezTo>
                    <a:cubicBezTo>
                      <a:pt x="120063" y="139067"/>
                      <a:pt x="121104" y="140004"/>
                      <a:pt x="121823" y="141186"/>
                    </a:cubicBezTo>
                    <a:lnTo>
                      <a:pt x="130273" y="155381"/>
                    </a:lnTo>
                    <a:lnTo>
                      <a:pt x="143655" y="155141"/>
                    </a:lnTo>
                    <a:lnTo>
                      <a:pt x="127274" y="135053"/>
                    </a:lnTo>
                    <a:cubicBezTo>
                      <a:pt x="125292" y="132604"/>
                      <a:pt x="125292" y="129095"/>
                      <a:pt x="127274" y="126647"/>
                    </a:cubicBezTo>
                    <a:cubicBezTo>
                      <a:pt x="129282" y="124199"/>
                      <a:pt x="132726" y="123502"/>
                      <a:pt x="135527" y="124952"/>
                    </a:cubicBezTo>
                    <a:lnTo>
                      <a:pt x="165710" y="140693"/>
                    </a:lnTo>
                    <a:cubicBezTo>
                      <a:pt x="167742" y="137595"/>
                      <a:pt x="169700" y="133112"/>
                      <a:pt x="167247" y="129551"/>
                    </a:cubicBezTo>
                    <a:cubicBezTo>
                      <a:pt x="165933" y="127636"/>
                      <a:pt x="165710" y="125168"/>
                      <a:pt x="166677" y="123049"/>
                    </a:cubicBezTo>
                    <a:cubicBezTo>
                      <a:pt x="173392" y="108125"/>
                      <a:pt x="138203" y="79035"/>
                      <a:pt x="111067" y="63145"/>
                    </a:cubicBezTo>
                    <a:cubicBezTo>
                      <a:pt x="109457" y="62196"/>
                      <a:pt x="108292" y="60612"/>
                      <a:pt x="107920" y="58773"/>
                    </a:cubicBezTo>
                    <a:lnTo>
                      <a:pt x="105442" y="47022"/>
                    </a:lnTo>
                    <a:lnTo>
                      <a:pt x="62917" y="32594"/>
                    </a:lnTo>
                    <a:cubicBezTo>
                      <a:pt x="60637" y="31821"/>
                      <a:pt x="58952" y="29891"/>
                      <a:pt x="58506" y="27539"/>
                    </a:cubicBezTo>
                    <a:lnTo>
                      <a:pt x="56350" y="16152"/>
                    </a:lnTo>
                    <a:cubicBezTo>
                      <a:pt x="48073" y="14445"/>
                      <a:pt x="28099" y="11272"/>
                      <a:pt x="7927" y="15198"/>
                    </a:cubicBezTo>
                    <a:cubicBezTo>
                      <a:pt x="4309" y="15887"/>
                      <a:pt x="840" y="13547"/>
                      <a:pt x="121" y="9942"/>
                    </a:cubicBezTo>
                    <a:cubicBezTo>
                      <a:pt x="-573" y="6329"/>
                      <a:pt x="1782" y="2842"/>
                      <a:pt x="5375" y="2141"/>
                    </a:cubicBezTo>
                    <a:cubicBezTo>
                      <a:pt x="34790" y="-3569"/>
                      <a:pt x="62669" y="3915"/>
                      <a:pt x="63834" y="4232"/>
                    </a:cubicBezTo>
                    <a:cubicBezTo>
                      <a:pt x="66287" y="4901"/>
                      <a:pt x="68121" y="6909"/>
                      <a:pt x="68617" y="9397"/>
                    </a:cubicBezTo>
                    <a:lnTo>
                      <a:pt x="70872" y="21240"/>
                    </a:lnTo>
                    <a:lnTo>
                      <a:pt x="113298" y="35643"/>
                    </a:lnTo>
                    <a:cubicBezTo>
                      <a:pt x="115528" y="36403"/>
                      <a:pt x="117188" y="38274"/>
                      <a:pt x="117684" y="40574"/>
                    </a:cubicBezTo>
                    <a:lnTo>
                      <a:pt x="120336" y="53170"/>
                    </a:lnTo>
                    <a:cubicBezTo>
                      <a:pt x="180009" y="88784"/>
                      <a:pt x="182066" y="114970"/>
                      <a:pt x="179935" y="124974"/>
                    </a:cubicBezTo>
                    <a:cubicBezTo>
                      <a:pt x="185287" y="136304"/>
                      <a:pt x="177853" y="148239"/>
                      <a:pt x="172153" y="153852"/>
                    </a:cubicBezTo>
                    <a:cubicBezTo>
                      <a:pt x="170097" y="155879"/>
                      <a:pt x="166949" y="156347"/>
                      <a:pt x="164397" y="155014"/>
                    </a:cubicBezTo>
                    <a:lnTo>
                      <a:pt x="158003" y="151676"/>
                    </a:lnTo>
                    <a:lnTo>
                      <a:pt x="162613" y="157349"/>
                    </a:lnTo>
                    <a:cubicBezTo>
                      <a:pt x="164223" y="159324"/>
                      <a:pt x="164570" y="162040"/>
                      <a:pt x="163505" y="164352"/>
                    </a:cubicBezTo>
                    <a:cubicBezTo>
                      <a:pt x="162414" y="166664"/>
                      <a:pt x="160134" y="168158"/>
                      <a:pt x="157582" y="168205"/>
                    </a:cubicBezTo>
                    <a:lnTo>
                      <a:pt x="126655" y="168763"/>
                    </a:lnTo>
                    <a:cubicBezTo>
                      <a:pt x="126605" y="168755"/>
                      <a:pt x="126581" y="168755"/>
                      <a:pt x="126531" y="168755"/>
                    </a:cubicBezTo>
                    <a:close/>
                  </a:path>
                </a:pathLst>
              </a:custGeom>
              <a:grpFill/>
              <a:ln w="247" cap="flat">
                <a:noFill/>
                <a:prstDash val="solid"/>
                <a:miter/>
              </a:ln>
            </p:spPr>
            <p:txBody>
              <a:bodyPr rtlCol="0" anchor="ctr"/>
              <a:lstStyle/>
              <a:p>
                <a:endParaRPr lang="en-GB" dirty="0"/>
              </a:p>
            </p:txBody>
          </p:sp>
          <p:sp>
            <p:nvSpPr>
              <p:cNvPr id="591" name="Freihandform: Form 737">
                <a:extLst>
                  <a:ext uri="{FF2B5EF4-FFF2-40B4-BE49-F238E27FC236}">
                    <a16:creationId xmlns:a16="http://schemas.microsoft.com/office/drawing/2014/main" id="{41557826-4963-4015-8DFD-90F7844B9959}"/>
                  </a:ext>
                </a:extLst>
              </p:cNvPr>
              <p:cNvSpPr/>
              <p:nvPr/>
            </p:nvSpPr>
            <p:spPr>
              <a:xfrm>
                <a:off x="7978247" y="3476132"/>
                <a:ext cx="223323" cy="207717"/>
              </a:xfrm>
              <a:custGeom>
                <a:avLst/>
                <a:gdLst>
                  <a:gd name="connsiteX0" fmla="*/ 180155 w 223323"/>
                  <a:gd name="connsiteY0" fmla="*/ 207717 h 207717"/>
                  <a:gd name="connsiteX1" fmla="*/ 180130 w 223323"/>
                  <a:gd name="connsiteY1" fmla="*/ 207717 h 207717"/>
                  <a:gd name="connsiteX2" fmla="*/ 44229 w 223323"/>
                  <a:gd name="connsiteY2" fmla="*/ 207536 h 207717"/>
                  <a:gd name="connsiteX3" fmla="*/ 38678 w 223323"/>
                  <a:gd name="connsiteY3" fmla="*/ 204528 h 207717"/>
                  <a:gd name="connsiteX4" fmla="*/ 38133 w 223323"/>
                  <a:gd name="connsiteY4" fmla="*/ 198226 h 207717"/>
                  <a:gd name="connsiteX5" fmla="*/ 8247 w 223323"/>
                  <a:gd name="connsiteY5" fmla="*/ 171259 h 207717"/>
                  <a:gd name="connsiteX6" fmla="*/ 168 w 223323"/>
                  <a:gd name="connsiteY6" fmla="*/ 158447 h 207717"/>
                  <a:gd name="connsiteX7" fmla="*/ 4530 w 223323"/>
                  <a:gd name="connsiteY7" fmla="*/ 143987 h 207717"/>
                  <a:gd name="connsiteX8" fmla="*/ 15681 w 223323"/>
                  <a:gd name="connsiteY8" fmla="*/ 88293 h 207717"/>
                  <a:gd name="connsiteX9" fmla="*/ 21232 w 223323"/>
                  <a:gd name="connsiteY9" fmla="*/ 80686 h 207717"/>
                  <a:gd name="connsiteX10" fmla="*/ 28840 w 223323"/>
                  <a:gd name="connsiteY10" fmla="*/ 86227 h 207717"/>
                  <a:gd name="connsiteX11" fmla="*/ 14541 w 223323"/>
                  <a:gd name="connsiteY11" fmla="*/ 152770 h 207717"/>
                  <a:gd name="connsiteX12" fmla="*/ 13352 w 223323"/>
                  <a:gd name="connsiteY12" fmla="*/ 156668 h 207717"/>
                  <a:gd name="connsiteX13" fmla="*/ 15557 w 223323"/>
                  <a:gd name="connsiteY13" fmla="*/ 160137 h 207717"/>
                  <a:gd name="connsiteX14" fmla="*/ 50821 w 223323"/>
                  <a:gd name="connsiteY14" fmla="*/ 194236 h 207717"/>
                  <a:gd name="connsiteX15" fmla="*/ 174257 w 223323"/>
                  <a:gd name="connsiteY15" fmla="*/ 194405 h 207717"/>
                  <a:gd name="connsiteX16" fmla="*/ 188110 w 223323"/>
                  <a:gd name="connsiteY16" fmla="*/ 178683 h 207717"/>
                  <a:gd name="connsiteX17" fmla="*/ 209818 w 223323"/>
                  <a:gd name="connsiteY17" fmla="*/ 123704 h 207717"/>
                  <a:gd name="connsiteX18" fmla="*/ 122885 w 223323"/>
                  <a:gd name="connsiteY18" fmla="*/ 33410 h 207717"/>
                  <a:gd name="connsiteX19" fmla="*/ 119094 w 223323"/>
                  <a:gd name="connsiteY19" fmla="*/ 27284 h 207717"/>
                  <a:gd name="connsiteX20" fmla="*/ 119465 w 223323"/>
                  <a:gd name="connsiteY20" fmla="*/ 6535 h 207717"/>
                  <a:gd name="connsiteX21" fmla="*/ 126231 w 223323"/>
                  <a:gd name="connsiteY21" fmla="*/ 0 h 207717"/>
                  <a:gd name="connsiteX22" fmla="*/ 132773 w 223323"/>
                  <a:gd name="connsiteY22" fmla="*/ 6770 h 207717"/>
                  <a:gd name="connsiteX23" fmla="*/ 132475 w 223323"/>
                  <a:gd name="connsiteY23" fmla="*/ 23324 h 207717"/>
                  <a:gd name="connsiteX24" fmla="*/ 223126 w 223323"/>
                  <a:gd name="connsiteY24" fmla="*/ 123044 h 207717"/>
                  <a:gd name="connsiteX25" fmla="*/ 195643 w 223323"/>
                  <a:gd name="connsiteY25" fmla="*/ 189644 h 207717"/>
                  <a:gd name="connsiteX26" fmla="*/ 186796 w 223323"/>
                  <a:gd name="connsiteY26" fmla="*/ 200838 h 207717"/>
                  <a:gd name="connsiteX27" fmla="*/ 184938 w 223323"/>
                  <a:gd name="connsiteY27" fmla="*/ 205690 h 207717"/>
                  <a:gd name="connsiteX28" fmla="*/ 180155 w 223323"/>
                  <a:gd name="connsiteY28" fmla="*/ 207717 h 20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23323" h="207717">
                    <a:moveTo>
                      <a:pt x="180155" y="207717"/>
                    </a:moveTo>
                    <a:lnTo>
                      <a:pt x="180130" y="207717"/>
                    </a:lnTo>
                    <a:lnTo>
                      <a:pt x="44229" y="207536"/>
                    </a:lnTo>
                    <a:cubicBezTo>
                      <a:pt x="41999" y="207536"/>
                      <a:pt x="39893" y="206399"/>
                      <a:pt x="38678" y="204528"/>
                    </a:cubicBezTo>
                    <a:cubicBezTo>
                      <a:pt x="37439" y="202649"/>
                      <a:pt x="37241" y="200285"/>
                      <a:pt x="38133" y="198226"/>
                    </a:cubicBezTo>
                    <a:cubicBezTo>
                      <a:pt x="38183" y="196399"/>
                      <a:pt x="33028" y="187540"/>
                      <a:pt x="8247" y="171259"/>
                    </a:cubicBezTo>
                    <a:cubicBezTo>
                      <a:pt x="3836" y="168350"/>
                      <a:pt x="887" y="163683"/>
                      <a:pt x="168" y="158447"/>
                    </a:cubicBezTo>
                    <a:cubicBezTo>
                      <a:pt x="-551" y="153223"/>
                      <a:pt x="1060" y="147955"/>
                      <a:pt x="4530" y="143987"/>
                    </a:cubicBezTo>
                    <a:cubicBezTo>
                      <a:pt x="18680" y="127909"/>
                      <a:pt x="19324" y="111395"/>
                      <a:pt x="15681" y="88293"/>
                    </a:cubicBezTo>
                    <a:cubicBezTo>
                      <a:pt x="15136" y="84668"/>
                      <a:pt x="17614" y="81258"/>
                      <a:pt x="21232" y="80686"/>
                    </a:cubicBezTo>
                    <a:cubicBezTo>
                      <a:pt x="24850" y="80145"/>
                      <a:pt x="28270" y="82596"/>
                      <a:pt x="28840" y="86227"/>
                    </a:cubicBezTo>
                    <a:cubicBezTo>
                      <a:pt x="32855" y="111816"/>
                      <a:pt x="31962" y="132922"/>
                      <a:pt x="14541" y="152770"/>
                    </a:cubicBezTo>
                    <a:cubicBezTo>
                      <a:pt x="13253" y="154237"/>
                      <a:pt x="13253" y="155842"/>
                      <a:pt x="13352" y="156668"/>
                    </a:cubicBezTo>
                    <a:cubicBezTo>
                      <a:pt x="13475" y="157500"/>
                      <a:pt x="13897" y="159052"/>
                      <a:pt x="15557" y="160137"/>
                    </a:cubicBezTo>
                    <a:cubicBezTo>
                      <a:pt x="39967" y="176190"/>
                      <a:pt x="48616" y="186856"/>
                      <a:pt x="50821" y="194236"/>
                    </a:cubicBezTo>
                    <a:lnTo>
                      <a:pt x="174257" y="194405"/>
                    </a:lnTo>
                    <a:cubicBezTo>
                      <a:pt x="176388" y="186745"/>
                      <a:pt x="182534" y="182510"/>
                      <a:pt x="188110" y="178683"/>
                    </a:cubicBezTo>
                    <a:cubicBezTo>
                      <a:pt x="198642" y="171427"/>
                      <a:pt x="211776" y="162405"/>
                      <a:pt x="209818" y="123704"/>
                    </a:cubicBezTo>
                    <a:cubicBezTo>
                      <a:pt x="207365" y="74104"/>
                      <a:pt x="123728" y="33814"/>
                      <a:pt x="122885" y="33410"/>
                    </a:cubicBezTo>
                    <a:cubicBezTo>
                      <a:pt x="120531" y="32285"/>
                      <a:pt x="119044" y="29896"/>
                      <a:pt x="119094" y="27284"/>
                    </a:cubicBezTo>
                    <a:lnTo>
                      <a:pt x="119465" y="6535"/>
                    </a:lnTo>
                    <a:cubicBezTo>
                      <a:pt x="119515" y="2865"/>
                      <a:pt x="122414" y="45"/>
                      <a:pt x="126231" y="0"/>
                    </a:cubicBezTo>
                    <a:cubicBezTo>
                      <a:pt x="129898" y="64"/>
                      <a:pt x="132823" y="3098"/>
                      <a:pt x="132773" y="6770"/>
                    </a:cubicBezTo>
                    <a:lnTo>
                      <a:pt x="132475" y="23324"/>
                    </a:lnTo>
                    <a:cubicBezTo>
                      <a:pt x="150145" y="32399"/>
                      <a:pt x="220548" y="71722"/>
                      <a:pt x="223126" y="123044"/>
                    </a:cubicBezTo>
                    <a:cubicBezTo>
                      <a:pt x="225406" y="169155"/>
                      <a:pt x="207489" y="181486"/>
                      <a:pt x="195643" y="189644"/>
                    </a:cubicBezTo>
                    <a:cubicBezTo>
                      <a:pt x="188952" y="194256"/>
                      <a:pt x="186623" y="196095"/>
                      <a:pt x="186796" y="200838"/>
                    </a:cubicBezTo>
                    <a:cubicBezTo>
                      <a:pt x="186846" y="202644"/>
                      <a:pt x="186177" y="204391"/>
                      <a:pt x="184938" y="205690"/>
                    </a:cubicBezTo>
                    <a:cubicBezTo>
                      <a:pt x="183674" y="206984"/>
                      <a:pt x="181939" y="207717"/>
                      <a:pt x="180155" y="207717"/>
                    </a:cubicBezTo>
                    <a:close/>
                  </a:path>
                </a:pathLst>
              </a:custGeom>
              <a:grpFill/>
              <a:ln w="247" cap="flat">
                <a:noFill/>
                <a:prstDash val="solid"/>
                <a:miter/>
              </a:ln>
            </p:spPr>
            <p:txBody>
              <a:bodyPr rtlCol="0" anchor="ctr"/>
              <a:lstStyle/>
              <a:p>
                <a:endParaRPr lang="en-GB" dirty="0"/>
              </a:p>
            </p:txBody>
          </p:sp>
        </p:grpSp>
        <p:grpSp>
          <p:nvGrpSpPr>
            <p:cNvPr id="579" name="Gruppieren 889">
              <a:extLst>
                <a:ext uri="{FF2B5EF4-FFF2-40B4-BE49-F238E27FC236}">
                  <a16:creationId xmlns:a16="http://schemas.microsoft.com/office/drawing/2014/main" id="{6A292919-5A39-4827-9F69-F5113D52BA75}"/>
                </a:ext>
              </a:extLst>
            </p:cNvPr>
            <p:cNvGrpSpPr/>
            <p:nvPr/>
          </p:nvGrpSpPr>
          <p:grpSpPr>
            <a:xfrm>
              <a:off x="7081294" y="4040086"/>
              <a:ext cx="249313" cy="216502"/>
              <a:chOff x="7774886" y="3316706"/>
              <a:chExt cx="252794" cy="219525"/>
            </a:xfrm>
          </p:grpSpPr>
          <p:sp>
            <p:nvSpPr>
              <p:cNvPr id="580" name="Freihandform: Form 738">
                <a:extLst>
                  <a:ext uri="{FF2B5EF4-FFF2-40B4-BE49-F238E27FC236}">
                    <a16:creationId xmlns:a16="http://schemas.microsoft.com/office/drawing/2014/main" id="{D452805D-74FE-4ED3-8EAB-C2ABD5AF8CAF}"/>
                  </a:ext>
                </a:extLst>
              </p:cNvPr>
              <p:cNvSpPr/>
              <p:nvPr/>
            </p:nvSpPr>
            <p:spPr>
              <a:xfrm>
                <a:off x="7774886" y="3316706"/>
                <a:ext cx="252794" cy="219525"/>
              </a:xfrm>
              <a:custGeom>
                <a:avLst/>
                <a:gdLst>
                  <a:gd name="connsiteX0" fmla="*/ 212872 w 252794"/>
                  <a:gd name="connsiteY0" fmla="*/ 219526 h 219525"/>
                  <a:gd name="connsiteX1" fmla="*/ 208708 w 252794"/>
                  <a:gd name="connsiteY1" fmla="*/ 218071 h 219525"/>
                  <a:gd name="connsiteX2" fmla="*/ 144029 w 252794"/>
                  <a:gd name="connsiteY2" fmla="*/ 166308 h 219525"/>
                  <a:gd name="connsiteX3" fmla="*/ 19949 w 252794"/>
                  <a:gd name="connsiteY3" fmla="*/ 166308 h 219525"/>
                  <a:gd name="connsiteX4" fmla="*/ 0 w 252794"/>
                  <a:gd name="connsiteY4" fmla="*/ 146351 h 219525"/>
                  <a:gd name="connsiteX5" fmla="*/ 0 w 252794"/>
                  <a:gd name="connsiteY5" fmla="*/ 19956 h 219525"/>
                  <a:gd name="connsiteX6" fmla="*/ 19949 w 252794"/>
                  <a:gd name="connsiteY6" fmla="*/ 0 h 219525"/>
                  <a:gd name="connsiteX7" fmla="*/ 232846 w 252794"/>
                  <a:gd name="connsiteY7" fmla="*/ 0 h 219525"/>
                  <a:gd name="connsiteX8" fmla="*/ 252795 w 252794"/>
                  <a:gd name="connsiteY8" fmla="*/ 19956 h 219525"/>
                  <a:gd name="connsiteX9" fmla="*/ 252795 w 252794"/>
                  <a:gd name="connsiteY9" fmla="*/ 146351 h 219525"/>
                  <a:gd name="connsiteX10" fmla="*/ 232846 w 252794"/>
                  <a:gd name="connsiteY10" fmla="*/ 166308 h 219525"/>
                  <a:gd name="connsiteX11" fmla="*/ 219538 w 252794"/>
                  <a:gd name="connsiteY11" fmla="*/ 166308 h 219525"/>
                  <a:gd name="connsiteX12" fmla="*/ 219538 w 252794"/>
                  <a:gd name="connsiteY12" fmla="*/ 212874 h 219525"/>
                  <a:gd name="connsiteX13" fmla="*/ 215771 w 252794"/>
                  <a:gd name="connsiteY13" fmla="*/ 218871 h 219525"/>
                  <a:gd name="connsiteX14" fmla="*/ 212872 w 252794"/>
                  <a:gd name="connsiteY14" fmla="*/ 219526 h 219525"/>
                  <a:gd name="connsiteX15" fmla="*/ 19949 w 252794"/>
                  <a:gd name="connsiteY15" fmla="*/ 13305 h 219525"/>
                  <a:gd name="connsiteX16" fmla="*/ 13308 w 252794"/>
                  <a:gd name="connsiteY16" fmla="*/ 19956 h 219525"/>
                  <a:gd name="connsiteX17" fmla="*/ 13308 w 252794"/>
                  <a:gd name="connsiteY17" fmla="*/ 146351 h 219525"/>
                  <a:gd name="connsiteX18" fmla="*/ 19949 w 252794"/>
                  <a:gd name="connsiteY18" fmla="*/ 153003 h 219525"/>
                  <a:gd name="connsiteX19" fmla="*/ 146359 w 252794"/>
                  <a:gd name="connsiteY19" fmla="*/ 153003 h 219525"/>
                  <a:gd name="connsiteX20" fmla="*/ 150522 w 252794"/>
                  <a:gd name="connsiteY20" fmla="*/ 154457 h 219525"/>
                  <a:gd name="connsiteX21" fmla="*/ 206230 w 252794"/>
                  <a:gd name="connsiteY21" fmla="*/ 199029 h 219525"/>
                  <a:gd name="connsiteX22" fmla="*/ 206230 w 252794"/>
                  <a:gd name="connsiteY22" fmla="*/ 159654 h 219525"/>
                  <a:gd name="connsiteX23" fmla="*/ 212872 w 252794"/>
                  <a:gd name="connsiteY23" fmla="*/ 153003 h 219525"/>
                  <a:gd name="connsiteX24" fmla="*/ 232821 w 252794"/>
                  <a:gd name="connsiteY24" fmla="*/ 153003 h 219525"/>
                  <a:gd name="connsiteX25" fmla="*/ 239487 w 252794"/>
                  <a:gd name="connsiteY25" fmla="*/ 146351 h 219525"/>
                  <a:gd name="connsiteX26" fmla="*/ 239487 w 252794"/>
                  <a:gd name="connsiteY26" fmla="*/ 19956 h 219525"/>
                  <a:gd name="connsiteX27" fmla="*/ 232821 w 252794"/>
                  <a:gd name="connsiteY27" fmla="*/ 13305 h 219525"/>
                  <a:gd name="connsiteX28" fmla="*/ 19949 w 252794"/>
                  <a:gd name="connsiteY28" fmla="*/ 13305 h 21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2794" h="219525">
                    <a:moveTo>
                      <a:pt x="212872" y="219526"/>
                    </a:moveTo>
                    <a:cubicBezTo>
                      <a:pt x="211385" y="219526"/>
                      <a:pt x="209923" y="219032"/>
                      <a:pt x="208708" y="218071"/>
                    </a:cubicBezTo>
                    <a:lnTo>
                      <a:pt x="144029" y="166308"/>
                    </a:lnTo>
                    <a:lnTo>
                      <a:pt x="19949" y="166308"/>
                    </a:lnTo>
                    <a:cubicBezTo>
                      <a:pt x="8946" y="166308"/>
                      <a:pt x="0" y="157357"/>
                      <a:pt x="0" y="146351"/>
                    </a:cubicBezTo>
                    <a:lnTo>
                      <a:pt x="0" y="19956"/>
                    </a:lnTo>
                    <a:cubicBezTo>
                      <a:pt x="0" y="8951"/>
                      <a:pt x="8946" y="0"/>
                      <a:pt x="19949" y="0"/>
                    </a:cubicBezTo>
                    <a:lnTo>
                      <a:pt x="232846" y="0"/>
                    </a:lnTo>
                    <a:cubicBezTo>
                      <a:pt x="243848" y="0"/>
                      <a:pt x="252795" y="8951"/>
                      <a:pt x="252795" y="19956"/>
                    </a:cubicBezTo>
                    <a:lnTo>
                      <a:pt x="252795" y="146351"/>
                    </a:lnTo>
                    <a:cubicBezTo>
                      <a:pt x="252795" y="157357"/>
                      <a:pt x="243848" y="166308"/>
                      <a:pt x="232846" y="166308"/>
                    </a:cubicBezTo>
                    <a:lnTo>
                      <a:pt x="219538" y="166308"/>
                    </a:lnTo>
                    <a:lnTo>
                      <a:pt x="219538" y="212874"/>
                    </a:lnTo>
                    <a:cubicBezTo>
                      <a:pt x="219538" y="215434"/>
                      <a:pt x="218051" y="217759"/>
                      <a:pt x="215771" y="218871"/>
                    </a:cubicBezTo>
                    <a:cubicBezTo>
                      <a:pt x="214829" y="219310"/>
                      <a:pt x="213863" y="219526"/>
                      <a:pt x="212872" y="219526"/>
                    </a:cubicBezTo>
                    <a:close/>
                    <a:moveTo>
                      <a:pt x="19949" y="13305"/>
                    </a:moveTo>
                    <a:cubicBezTo>
                      <a:pt x="16281" y="13305"/>
                      <a:pt x="13308" y="16286"/>
                      <a:pt x="13308" y="19956"/>
                    </a:cubicBezTo>
                    <a:lnTo>
                      <a:pt x="13308" y="146351"/>
                    </a:lnTo>
                    <a:cubicBezTo>
                      <a:pt x="13308" y="150021"/>
                      <a:pt x="16281" y="153003"/>
                      <a:pt x="19949" y="153003"/>
                    </a:cubicBezTo>
                    <a:lnTo>
                      <a:pt x="146359" y="153003"/>
                    </a:lnTo>
                    <a:cubicBezTo>
                      <a:pt x="147870" y="153003"/>
                      <a:pt x="149332" y="153515"/>
                      <a:pt x="150522" y="154457"/>
                    </a:cubicBezTo>
                    <a:lnTo>
                      <a:pt x="206230" y="199029"/>
                    </a:lnTo>
                    <a:lnTo>
                      <a:pt x="206230" y="159654"/>
                    </a:lnTo>
                    <a:cubicBezTo>
                      <a:pt x="206230" y="155976"/>
                      <a:pt x="209204" y="153003"/>
                      <a:pt x="212872" y="153003"/>
                    </a:cubicBezTo>
                    <a:lnTo>
                      <a:pt x="232821" y="153003"/>
                    </a:lnTo>
                    <a:cubicBezTo>
                      <a:pt x="236513" y="153003"/>
                      <a:pt x="239487" y="150021"/>
                      <a:pt x="239487" y="146351"/>
                    </a:cubicBezTo>
                    <a:lnTo>
                      <a:pt x="239487" y="19956"/>
                    </a:lnTo>
                    <a:cubicBezTo>
                      <a:pt x="239487" y="16286"/>
                      <a:pt x="236513" y="13305"/>
                      <a:pt x="232821" y="13305"/>
                    </a:cubicBezTo>
                    <a:lnTo>
                      <a:pt x="19949" y="13305"/>
                    </a:lnTo>
                    <a:close/>
                  </a:path>
                </a:pathLst>
              </a:custGeom>
              <a:solidFill>
                <a:schemeClr val="accent1"/>
              </a:solidFill>
              <a:ln w="247" cap="flat">
                <a:noFill/>
                <a:prstDash val="solid"/>
                <a:miter/>
              </a:ln>
            </p:spPr>
            <p:txBody>
              <a:bodyPr rtlCol="0" anchor="ctr"/>
              <a:lstStyle/>
              <a:p>
                <a:endParaRPr lang="en-GB" dirty="0"/>
              </a:p>
            </p:txBody>
          </p:sp>
          <p:sp>
            <p:nvSpPr>
              <p:cNvPr id="581" name="Freihandform: Form 739">
                <a:extLst>
                  <a:ext uri="{FF2B5EF4-FFF2-40B4-BE49-F238E27FC236}">
                    <a16:creationId xmlns:a16="http://schemas.microsoft.com/office/drawing/2014/main" id="{D3607417-610E-4231-BFDF-58B66BAB58B4}"/>
                  </a:ext>
                </a:extLst>
              </p:cNvPr>
              <p:cNvSpPr/>
              <p:nvPr/>
            </p:nvSpPr>
            <p:spPr>
              <a:xfrm>
                <a:off x="7828092" y="3416493"/>
                <a:ext cx="26615" cy="13302"/>
              </a:xfrm>
              <a:custGeom>
                <a:avLst/>
                <a:gdLst>
                  <a:gd name="connsiteX0" fmla="*/ 19974 w 26615"/>
                  <a:gd name="connsiteY0" fmla="*/ 13303 h 13302"/>
                  <a:gd name="connsiteX1" fmla="*/ 6666 w 26615"/>
                  <a:gd name="connsiteY1" fmla="*/ 13303 h 13302"/>
                  <a:gd name="connsiteX2" fmla="*/ 0 w 26615"/>
                  <a:gd name="connsiteY2" fmla="*/ 6651 h 13302"/>
                  <a:gd name="connsiteX3" fmla="*/ 6666 w 26615"/>
                  <a:gd name="connsiteY3" fmla="*/ 0 h 13302"/>
                  <a:gd name="connsiteX4" fmla="*/ 19974 w 26615"/>
                  <a:gd name="connsiteY4" fmla="*/ 0 h 13302"/>
                  <a:gd name="connsiteX5" fmla="*/ 26615 w 26615"/>
                  <a:gd name="connsiteY5" fmla="*/ 6651 h 13302"/>
                  <a:gd name="connsiteX6" fmla="*/ 19974 w 26615"/>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15" h="13302">
                    <a:moveTo>
                      <a:pt x="19974" y="13303"/>
                    </a:moveTo>
                    <a:lnTo>
                      <a:pt x="6666" y="13303"/>
                    </a:lnTo>
                    <a:cubicBezTo>
                      <a:pt x="2974" y="13303"/>
                      <a:pt x="0" y="10326"/>
                      <a:pt x="0" y="6651"/>
                    </a:cubicBezTo>
                    <a:cubicBezTo>
                      <a:pt x="0" y="2974"/>
                      <a:pt x="2999" y="0"/>
                      <a:pt x="6666" y="0"/>
                    </a:cubicBezTo>
                    <a:lnTo>
                      <a:pt x="19974" y="0"/>
                    </a:lnTo>
                    <a:cubicBezTo>
                      <a:pt x="23641" y="0"/>
                      <a:pt x="26615" y="2976"/>
                      <a:pt x="26615" y="6651"/>
                    </a:cubicBezTo>
                    <a:cubicBezTo>
                      <a:pt x="26615" y="10326"/>
                      <a:pt x="23641" y="13303"/>
                      <a:pt x="19974" y="13303"/>
                    </a:cubicBezTo>
                    <a:close/>
                  </a:path>
                </a:pathLst>
              </a:custGeom>
              <a:solidFill>
                <a:schemeClr val="accent1"/>
              </a:solidFill>
              <a:ln w="247" cap="flat">
                <a:noFill/>
                <a:prstDash val="solid"/>
                <a:miter/>
              </a:ln>
            </p:spPr>
            <p:txBody>
              <a:bodyPr rtlCol="0" anchor="ctr"/>
              <a:lstStyle/>
              <a:p>
                <a:endParaRPr lang="en-GB" dirty="0"/>
              </a:p>
            </p:txBody>
          </p:sp>
          <p:sp>
            <p:nvSpPr>
              <p:cNvPr id="582" name="Freihandform: Form 740">
                <a:extLst>
                  <a:ext uri="{FF2B5EF4-FFF2-40B4-BE49-F238E27FC236}">
                    <a16:creationId xmlns:a16="http://schemas.microsoft.com/office/drawing/2014/main" id="{F18ABAB4-3ED0-4FEC-9C29-647715651591}"/>
                  </a:ext>
                </a:extLst>
              </p:cNvPr>
              <p:cNvSpPr/>
              <p:nvPr/>
            </p:nvSpPr>
            <p:spPr>
              <a:xfrm>
                <a:off x="7884643" y="3416493"/>
                <a:ext cx="26615" cy="13302"/>
              </a:xfrm>
              <a:custGeom>
                <a:avLst/>
                <a:gdLst>
                  <a:gd name="connsiteX0" fmla="*/ 19974 w 26615"/>
                  <a:gd name="connsiteY0" fmla="*/ 13303 h 13302"/>
                  <a:gd name="connsiteX1" fmla="*/ 6666 w 26615"/>
                  <a:gd name="connsiteY1" fmla="*/ 13303 h 13302"/>
                  <a:gd name="connsiteX2" fmla="*/ 0 w 26615"/>
                  <a:gd name="connsiteY2" fmla="*/ 6651 h 13302"/>
                  <a:gd name="connsiteX3" fmla="*/ 6666 w 26615"/>
                  <a:gd name="connsiteY3" fmla="*/ 0 h 13302"/>
                  <a:gd name="connsiteX4" fmla="*/ 19974 w 26615"/>
                  <a:gd name="connsiteY4" fmla="*/ 0 h 13302"/>
                  <a:gd name="connsiteX5" fmla="*/ 26615 w 26615"/>
                  <a:gd name="connsiteY5" fmla="*/ 6651 h 13302"/>
                  <a:gd name="connsiteX6" fmla="*/ 19974 w 26615"/>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15" h="13302">
                    <a:moveTo>
                      <a:pt x="19974" y="13303"/>
                    </a:moveTo>
                    <a:lnTo>
                      <a:pt x="6666" y="13303"/>
                    </a:lnTo>
                    <a:cubicBezTo>
                      <a:pt x="2974" y="13303"/>
                      <a:pt x="0" y="10326"/>
                      <a:pt x="0" y="6651"/>
                    </a:cubicBezTo>
                    <a:cubicBezTo>
                      <a:pt x="0" y="2974"/>
                      <a:pt x="2974" y="0"/>
                      <a:pt x="6666" y="0"/>
                    </a:cubicBezTo>
                    <a:lnTo>
                      <a:pt x="19974" y="0"/>
                    </a:lnTo>
                    <a:cubicBezTo>
                      <a:pt x="23641" y="0"/>
                      <a:pt x="26615" y="2976"/>
                      <a:pt x="26615" y="6651"/>
                    </a:cubicBezTo>
                    <a:cubicBezTo>
                      <a:pt x="26615" y="10326"/>
                      <a:pt x="23641" y="13303"/>
                      <a:pt x="19974" y="13303"/>
                    </a:cubicBezTo>
                    <a:close/>
                  </a:path>
                </a:pathLst>
              </a:custGeom>
              <a:solidFill>
                <a:schemeClr val="accent1"/>
              </a:solidFill>
              <a:ln w="247" cap="flat">
                <a:noFill/>
                <a:prstDash val="solid"/>
                <a:miter/>
              </a:ln>
            </p:spPr>
            <p:txBody>
              <a:bodyPr rtlCol="0" anchor="ctr"/>
              <a:lstStyle/>
              <a:p>
                <a:endParaRPr lang="en-GB" dirty="0"/>
              </a:p>
            </p:txBody>
          </p:sp>
          <p:sp>
            <p:nvSpPr>
              <p:cNvPr id="583" name="Freihandform: Form 741">
                <a:extLst>
                  <a:ext uri="{FF2B5EF4-FFF2-40B4-BE49-F238E27FC236}">
                    <a16:creationId xmlns:a16="http://schemas.microsoft.com/office/drawing/2014/main" id="{979386E2-2DBD-47B5-BE43-9BF115FF37F4}"/>
                  </a:ext>
                </a:extLst>
              </p:cNvPr>
              <p:cNvSpPr/>
              <p:nvPr/>
            </p:nvSpPr>
            <p:spPr>
              <a:xfrm>
                <a:off x="7941194" y="3416493"/>
                <a:ext cx="26615" cy="13302"/>
              </a:xfrm>
              <a:custGeom>
                <a:avLst/>
                <a:gdLst>
                  <a:gd name="connsiteX0" fmla="*/ 19949 w 26615"/>
                  <a:gd name="connsiteY0" fmla="*/ 13303 h 13302"/>
                  <a:gd name="connsiteX1" fmla="*/ 6641 w 26615"/>
                  <a:gd name="connsiteY1" fmla="*/ 13303 h 13302"/>
                  <a:gd name="connsiteX2" fmla="*/ 0 w 26615"/>
                  <a:gd name="connsiteY2" fmla="*/ 6651 h 13302"/>
                  <a:gd name="connsiteX3" fmla="*/ 6641 w 26615"/>
                  <a:gd name="connsiteY3" fmla="*/ 0 h 13302"/>
                  <a:gd name="connsiteX4" fmla="*/ 19949 w 26615"/>
                  <a:gd name="connsiteY4" fmla="*/ 0 h 13302"/>
                  <a:gd name="connsiteX5" fmla="*/ 26615 w 26615"/>
                  <a:gd name="connsiteY5" fmla="*/ 6651 h 13302"/>
                  <a:gd name="connsiteX6" fmla="*/ 19949 w 26615"/>
                  <a:gd name="connsiteY6" fmla="*/ 13303 h 13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15" h="13302">
                    <a:moveTo>
                      <a:pt x="19949" y="13303"/>
                    </a:moveTo>
                    <a:lnTo>
                      <a:pt x="6641" y="13303"/>
                    </a:lnTo>
                    <a:cubicBezTo>
                      <a:pt x="2974" y="13303"/>
                      <a:pt x="0" y="10326"/>
                      <a:pt x="0" y="6651"/>
                    </a:cubicBezTo>
                    <a:cubicBezTo>
                      <a:pt x="0" y="2974"/>
                      <a:pt x="2974" y="0"/>
                      <a:pt x="6641" y="0"/>
                    </a:cubicBezTo>
                    <a:lnTo>
                      <a:pt x="19949" y="0"/>
                    </a:lnTo>
                    <a:cubicBezTo>
                      <a:pt x="23641" y="0"/>
                      <a:pt x="26615" y="2976"/>
                      <a:pt x="26615" y="6651"/>
                    </a:cubicBezTo>
                    <a:cubicBezTo>
                      <a:pt x="26615" y="10326"/>
                      <a:pt x="23641" y="13303"/>
                      <a:pt x="19949" y="13303"/>
                    </a:cubicBezTo>
                    <a:close/>
                  </a:path>
                </a:pathLst>
              </a:custGeom>
              <a:solidFill>
                <a:schemeClr val="accent1"/>
              </a:solidFill>
              <a:ln w="247" cap="flat">
                <a:noFill/>
                <a:prstDash val="solid"/>
                <a:miter/>
              </a:ln>
            </p:spPr>
            <p:txBody>
              <a:bodyPr rtlCol="0" anchor="ctr"/>
              <a:lstStyle/>
              <a:p>
                <a:endParaRPr lang="en-GB" dirty="0"/>
              </a:p>
            </p:txBody>
          </p:sp>
        </p:grpSp>
      </p:grpSp>
      <p:grpSp>
        <p:nvGrpSpPr>
          <p:cNvPr id="638" name="Group 637">
            <a:extLst>
              <a:ext uri="{FF2B5EF4-FFF2-40B4-BE49-F238E27FC236}">
                <a16:creationId xmlns:a16="http://schemas.microsoft.com/office/drawing/2014/main" id="{4F8CAB89-1B82-2830-4D8C-95539AD8F532}"/>
              </a:ext>
            </a:extLst>
          </p:cNvPr>
          <p:cNvGrpSpPr/>
          <p:nvPr/>
        </p:nvGrpSpPr>
        <p:grpSpPr>
          <a:xfrm>
            <a:off x="8112672" y="4040086"/>
            <a:ext cx="459992" cy="432000"/>
            <a:chOff x="8112260" y="4040086"/>
            <a:chExt cx="459992" cy="432000"/>
          </a:xfrm>
        </p:grpSpPr>
        <p:sp>
          <p:nvSpPr>
            <p:cNvPr id="597" name="Freihandform: Form 800">
              <a:extLst>
                <a:ext uri="{FF2B5EF4-FFF2-40B4-BE49-F238E27FC236}">
                  <a16:creationId xmlns:a16="http://schemas.microsoft.com/office/drawing/2014/main" id="{BF36BF50-DD51-48A7-9220-4FDC211C64DF}"/>
                </a:ext>
              </a:extLst>
            </p:cNvPr>
            <p:cNvSpPr/>
            <p:nvPr/>
          </p:nvSpPr>
          <p:spPr>
            <a:xfrm>
              <a:off x="8334356" y="4291769"/>
              <a:ext cx="90153" cy="180317"/>
            </a:xfrm>
            <a:custGeom>
              <a:avLst/>
              <a:gdLst>
                <a:gd name="connsiteX0" fmla="*/ 39913 w 79828"/>
                <a:gd name="connsiteY0" fmla="*/ 159666 h 159666"/>
                <a:gd name="connsiteX1" fmla="*/ 0 w 79828"/>
                <a:gd name="connsiteY1" fmla="*/ 119743 h 159666"/>
                <a:gd name="connsiteX2" fmla="*/ 0 w 79828"/>
                <a:gd name="connsiteY2" fmla="*/ 6641 h 159666"/>
                <a:gd name="connsiteX3" fmla="*/ 6651 w 79828"/>
                <a:gd name="connsiteY3" fmla="*/ 0 h 159666"/>
                <a:gd name="connsiteX4" fmla="*/ 13303 w 79828"/>
                <a:gd name="connsiteY4" fmla="*/ 6641 h 159666"/>
                <a:gd name="connsiteX5" fmla="*/ 13303 w 79828"/>
                <a:gd name="connsiteY5" fmla="*/ 119743 h 159666"/>
                <a:gd name="connsiteX6" fmla="*/ 39913 w 79828"/>
                <a:gd name="connsiteY6" fmla="*/ 146358 h 159666"/>
                <a:gd name="connsiteX7" fmla="*/ 66523 w 79828"/>
                <a:gd name="connsiteY7" fmla="*/ 119743 h 159666"/>
                <a:gd name="connsiteX8" fmla="*/ 66523 w 79828"/>
                <a:gd name="connsiteY8" fmla="*/ 115952 h 159666"/>
                <a:gd name="connsiteX9" fmla="*/ 52784 w 79828"/>
                <a:gd name="connsiteY9" fmla="*/ 121057 h 159666"/>
                <a:gd name="connsiteX10" fmla="*/ 45248 w 79828"/>
                <a:gd name="connsiteY10" fmla="*/ 115431 h 159666"/>
                <a:gd name="connsiteX11" fmla="*/ 50854 w 79828"/>
                <a:gd name="connsiteY11" fmla="*/ 107898 h 159666"/>
                <a:gd name="connsiteX12" fmla="*/ 66523 w 79828"/>
                <a:gd name="connsiteY12" fmla="*/ 93029 h 159666"/>
                <a:gd name="connsiteX13" fmla="*/ 73224 w 79828"/>
                <a:gd name="connsiteY13" fmla="*/ 86487 h 159666"/>
                <a:gd name="connsiteX14" fmla="*/ 79828 w 79828"/>
                <a:gd name="connsiteY14" fmla="*/ 93128 h 159666"/>
                <a:gd name="connsiteX15" fmla="*/ 79828 w 79828"/>
                <a:gd name="connsiteY15" fmla="*/ 119743 h 159666"/>
                <a:gd name="connsiteX16" fmla="*/ 39913 w 79828"/>
                <a:gd name="connsiteY16" fmla="*/ 159666 h 159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828" h="159666">
                  <a:moveTo>
                    <a:pt x="39913" y="159666"/>
                  </a:moveTo>
                  <a:cubicBezTo>
                    <a:pt x="17902" y="159666"/>
                    <a:pt x="0" y="141749"/>
                    <a:pt x="0" y="119743"/>
                  </a:cubicBezTo>
                  <a:lnTo>
                    <a:pt x="0" y="6641"/>
                  </a:lnTo>
                  <a:cubicBezTo>
                    <a:pt x="0" y="2974"/>
                    <a:pt x="2979" y="0"/>
                    <a:pt x="6651" y="0"/>
                  </a:cubicBezTo>
                  <a:cubicBezTo>
                    <a:pt x="10324" y="0"/>
                    <a:pt x="13303" y="2974"/>
                    <a:pt x="13303" y="6641"/>
                  </a:cubicBezTo>
                  <a:lnTo>
                    <a:pt x="13303" y="119743"/>
                  </a:lnTo>
                  <a:cubicBezTo>
                    <a:pt x="13303" y="134414"/>
                    <a:pt x="25240" y="146358"/>
                    <a:pt x="39913" y="146358"/>
                  </a:cubicBezTo>
                  <a:cubicBezTo>
                    <a:pt x="54586" y="146358"/>
                    <a:pt x="66523" y="134414"/>
                    <a:pt x="66523" y="119743"/>
                  </a:cubicBezTo>
                  <a:lnTo>
                    <a:pt x="66523" y="115952"/>
                  </a:lnTo>
                  <a:cubicBezTo>
                    <a:pt x="61718" y="118925"/>
                    <a:pt x="56558" y="120512"/>
                    <a:pt x="52784" y="121057"/>
                  </a:cubicBezTo>
                  <a:cubicBezTo>
                    <a:pt x="49178" y="121676"/>
                    <a:pt x="45779" y="119074"/>
                    <a:pt x="45248" y="115431"/>
                  </a:cubicBezTo>
                  <a:cubicBezTo>
                    <a:pt x="44725" y="111789"/>
                    <a:pt x="47233" y="108443"/>
                    <a:pt x="50854" y="107898"/>
                  </a:cubicBezTo>
                  <a:cubicBezTo>
                    <a:pt x="51585" y="107774"/>
                    <a:pt x="66337" y="105321"/>
                    <a:pt x="66523" y="93029"/>
                  </a:cubicBezTo>
                  <a:cubicBezTo>
                    <a:pt x="66578" y="89386"/>
                    <a:pt x="69606" y="86685"/>
                    <a:pt x="73224" y="86487"/>
                  </a:cubicBezTo>
                  <a:cubicBezTo>
                    <a:pt x="76879" y="86512"/>
                    <a:pt x="79828" y="89485"/>
                    <a:pt x="79828" y="93128"/>
                  </a:cubicBezTo>
                  <a:lnTo>
                    <a:pt x="79828" y="119743"/>
                  </a:lnTo>
                  <a:cubicBezTo>
                    <a:pt x="79826" y="141749"/>
                    <a:pt x="61921" y="159666"/>
                    <a:pt x="39913" y="159666"/>
                  </a:cubicBezTo>
                  <a:close/>
                </a:path>
              </a:pathLst>
            </a:custGeom>
            <a:solidFill>
              <a:schemeClr val="tx2"/>
            </a:solidFill>
            <a:ln w="247" cap="flat">
              <a:noFill/>
              <a:prstDash val="solid"/>
              <a:miter/>
            </a:ln>
          </p:spPr>
          <p:txBody>
            <a:bodyPr rtlCol="0" anchor="ctr"/>
            <a:lstStyle/>
            <a:p>
              <a:endParaRPr lang="en-GB" dirty="0"/>
            </a:p>
          </p:txBody>
        </p:sp>
        <p:grpSp>
          <p:nvGrpSpPr>
            <p:cNvPr id="598" name="Gruppieren 895">
              <a:extLst>
                <a:ext uri="{FF2B5EF4-FFF2-40B4-BE49-F238E27FC236}">
                  <a16:creationId xmlns:a16="http://schemas.microsoft.com/office/drawing/2014/main" id="{6992059C-14B4-4C8C-A1F1-0CC7C7854244}"/>
                </a:ext>
              </a:extLst>
            </p:cNvPr>
            <p:cNvGrpSpPr/>
            <p:nvPr/>
          </p:nvGrpSpPr>
          <p:grpSpPr>
            <a:xfrm>
              <a:off x="8112260" y="4235432"/>
              <a:ext cx="459992" cy="99296"/>
              <a:chOff x="6108069" y="4364451"/>
              <a:chExt cx="407311" cy="87924"/>
            </a:xfrm>
          </p:grpSpPr>
          <p:sp>
            <p:nvSpPr>
              <p:cNvPr id="603" name="Freihandform: Form 801">
                <a:extLst>
                  <a:ext uri="{FF2B5EF4-FFF2-40B4-BE49-F238E27FC236}">
                    <a16:creationId xmlns:a16="http://schemas.microsoft.com/office/drawing/2014/main" id="{A7B3C591-9568-490B-A502-341EE9E2C392}"/>
                  </a:ext>
                </a:extLst>
              </p:cNvPr>
              <p:cNvSpPr/>
              <p:nvPr/>
            </p:nvSpPr>
            <p:spPr>
              <a:xfrm>
                <a:off x="6108069" y="4406579"/>
                <a:ext cx="46564" cy="13307"/>
              </a:xfrm>
              <a:custGeom>
                <a:avLst/>
                <a:gdLst>
                  <a:gd name="connsiteX0" fmla="*/ 39913 w 46564"/>
                  <a:gd name="connsiteY0" fmla="*/ 13307 h 13307"/>
                  <a:gd name="connsiteX1" fmla="*/ 6651 w 46564"/>
                  <a:gd name="connsiteY1" fmla="*/ 13307 h 13307"/>
                  <a:gd name="connsiteX2" fmla="*/ 0 w 46564"/>
                  <a:gd name="connsiteY2" fmla="*/ 6641 h 13307"/>
                  <a:gd name="connsiteX3" fmla="*/ 6651 w 46564"/>
                  <a:gd name="connsiteY3" fmla="*/ 0 h 13307"/>
                  <a:gd name="connsiteX4" fmla="*/ 39913 w 46564"/>
                  <a:gd name="connsiteY4" fmla="*/ 0 h 13307"/>
                  <a:gd name="connsiteX5" fmla="*/ 46564 w 46564"/>
                  <a:gd name="connsiteY5" fmla="*/ 6641 h 13307"/>
                  <a:gd name="connsiteX6" fmla="*/ 39913 w 46564"/>
                  <a:gd name="connsiteY6" fmla="*/ 13307 h 1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64" h="13307">
                    <a:moveTo>
                      <a:pt x="39913" y="13307"/>
                    </a:moveTo>
                    <a:lnTo>
                      <a:pt x="6651" y="13307"/>
                    </a:lnTo>
                    <a:cubicBezTo>
                      <a:pt x="2979" y="13307"/>
                      <a:pt x="0" y="10309"/>
                      <a:pt x="0" y="6641"/>
                    </a:cubicBezTo>
                    <a:cubicBezTo>
                      <a:pt x="0" y="2974"/>
                      <a:pt x="2979" y="0"/>
                      <a:pt x="6651" y="0"/>
                    </a:cubicBezTo>
                    <a:lnTo>
                      <a:pt x="39913" y="0"/>
                    </a:lnTo>
                    <a:cubicBezTo>
                      <a:pt x="43585" y="0"/>
                      <a:pt x="46564" y="2974"/>
                      <a:pt x="46564" y="6641"/>
                    </a:cubicBezTo>
                    <a:cubicBezTo>
                      <a:pt x="46564" y="10309"/>
                      <a:pt x="43588" y="13307"/>
                      <a:pt x="39913" y="13307"/>
                    </a:cubicBezTo>
                    <a:close/>
                  </a:path>
                </a:pathLst>
              </a:custGeom>
              <a:solidFill>
                <a:schemeClr val="accent1"/>
              </a:solidFill>
              <a:ln w="247" cap="flat">
                <a:noFill/>
                <a:prstDash val="solid"/>
                <a:miter/>
              </a:ln>
            </p:spPr>
            <p:txBody>
              <a:bodyPr rtlCol="0" anchor="ctr"/>
              <a:lstStyle/>
              <a:p>
                <a:endParaRPr lang="en-GB" dirty="0"/>
              </a:p>
            </p:txBody>
          </p:sp>
          <p:sp>
            <p:nvSpPr>
              <p:cNvPr id="604" name="Freihandform: Form 802">
                <a:extLst>
                  <a:ext uri="{FF2B5EF4-FFF2-40B4-BE49-F238E27FC236}">
                    <a16:creationId xmlns:a16="http://schemas.microsoft.com/office/drawing/2014/main" id="{5A94A3BF-90C2-471B-8818-E700E2123B69}"/>
                  </a:ext>
                </a:extLst>
              </p:cNvPr>
              <p:cNvSpPr/>
              <p:nvPr/>
            </p:nvSpPr>
            <p:spPr>
              <a:xfrm>
                <a:off x="6468816" y="4406579"/>
                <a:ext cx="46564" cy="13307"/>
              </a:xfrm>
              <a:custGeom>
                <a:avLst/>
                <a:gdLst>
                  <a:gd name="connsiteX0" fmla="*/ 39913 w 46564"/>
                  <a:gd name="connsiteY0" fmla="*/ 13307 h 13307"/>
                  <a:gd name="connsiteX1" fmla="*/ 6651 w 46564"/>
                  <a:gd name="connsiteY1" fmla="*/ 13307 h 13307"/>
                  <a:gd name="connsiteX2" fmla="*/ 0 w 46564"/>
                  <a:gd name="connsiteY2" fmla="*/ 6641 h 13307"/>
                  <a:gd name="connsiteX3" fmla="*/ 6651 w 46564"/>
                  <a:gd name="connsiteY3" fmla="*/ 0 h 13307"/>
                  <a:gd name="connsiteX4" fmla="*/ 39913 w 46564"/>
                  <a:gd name="connsiteY4" fmla="*/ 0 h 13307"/>
                  <a:gd name="connsiteX5" fmla="*/ 46564 w 46564"/>
                  <a:gd name="connsiteY5" fmla="*/ 6641 h 13307"/>
                  <a:gd name="connsiteX6" fmla="*/ 39913 w 46564"/>
                  <a:gd name="connsiteY6" fmla="*/ 13307 h 13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564" h="13307">
                    <a:moveTo>
                      <a:pt x="39913" y="13307"/>
                    </a:moveTo>
                    <a:lnTo>
                      <a:pt x="6651" y="13307"/>
                    </a:lnTo>
                    <a:cubicBezTo>
                      <a:pt x="2979" y="13307"/>
                      <a:pt x="0" y="10309"/>
                      <a:pt x="0" y="6641"/>
                    </a:cubicBezTo>
                    <a:cubicBezTo>
                      <a:pt x="0" y="2974"/>
                      <a:pt x="2979" y="0"/>
                      <a:pt x="6651" y="0"/>
                    </a:cubicBezTo>
                    <a:lnTo>
                      <a:pt x="39913" y="0"/>
                    </a:lnTo>
                    <a:cubicBezTo>
                      <a:pt x="43585" y="0"/>
                      <a:pt x="46564" y="2974"/>
                      <a:pt x="46564" y="6641"/>
                    </a:cubicBezTo>
                    <a:cubicBezTo>
                      <a:pt x="46564" y="10309"/>
                      <a:pt x="43588" y="13307"/>
                      <a:pt x="39913" y="13307"/>
                    </a:cubicBezTo>
                    <a:close/>
                  </a:path>
                </a:pathLst>
              </a:custGeom>
              <a:solidFill>
                <a:schemeClr val="accent1"/>
              </a:solidFill>
              <a:ln w="247" cap="flat">
                <a:noFill/>
                <a:prstDash val="solid"/>
                <a:miter/>
              </a:ln>
            </p:spPr>
            <p:txBody>
              <a:bodyPr rtlCol="0" anchor="ctr"/>
              <a:lstStyle/>
              <a:p>
                <a:endParaRPr lang="en-GB" dirty="0"/>
              </a:p>
            </p:txBody>
          </p:sp>
          <p:sp>
            <p:nvSpPr>
              <p:cNvPr id="605" name="Freihandform: Form 803">
                <a:extLst>
                  <a:ext uri="{FF2B5EF4-FFF2-40B4-BE49-F238E27FC236}">
                    <a16:creationId xmlns:a16="http://schemas.microsoft.com/office/drawing/2014/main" id="{BD1CA752-0059-40AC-B52D-F04BFD86A84F}"/>
                  </a:ext>
                </a:extLst>
              </p:cNvPr>
              <p:cNvSpPr/>
              <p:nvPr/>
            </p:nvSpPr>
            <p:spPr>
              <a:xfrm>
                <a:off x="6188868" y="4364451"/>
                <a:ext cx="243915" cy="56526"/>
              </a:xfrm>
              <a:custGeom>
                <a:avLst/>
                <a:gdLst>
                  <a:gd name="connsiteX0" fmla="*/ 121956 w 243915"/>
                  <a:gd name="connsiteY0" fmla="*/ 56526 h 56526"/>
                  <a:gd name="connsiteX1" fmla="*/ 0 w 243915"/>
                  <a:gd name="connsiteY1" fmla="*/ 28275 h 56526"/>
                  <a:gd name="connsiteX2" fmla="*/ 121956 w 243915"/>
                  <a:gd name="connsiteY2" fmla="*/ 0 h 56526"/>
                  <a:gd name="connsiteX3" fmla="*/ 128608 w 243915"/>
                  <a:gd name="connsiteY3" fmla="*/ 6641 h 56526"/>
                  <a:gd name="connsiteX4" fmla="*/ 121956 w 243915"/>
                  <a:gd name="connsiteY4" fmla="*/ 13283 h 56526"/>
                  <a:gd name="connsiteX5" fmla="*/ 14011 w 243915"/>
                  <a:gd name="connsiteY5" fmla="*/ 28251 h 56526"/>
                  <a:gd name="connsiteX6" fmla="*/ 121956 w 243915"/>
                  <a:gd name="connsiteY6" fmla="*/ 43219 h 56526"/>
                  <a:gd name="connsiteX7" fmla="*/ 229882 w 243915"/>
                  <a:gd name="connsiteY7" fmla="*/ 28275 h 56526"/>
                  <a:gd name="connsiteX8" fmla="*/ 148237 w 243915"/>
                  <a:gd name="connsiteY8" fmla="*/ 13853 h 56526"/>
                  <a:gd name="connsiteX9" fmla="*/ 141883 w 243915"/>
                  <a:gd name="connsiteY9" fmla="*/ 6914 h 56526"/>
                  <a:gd name="connsiteX10" fmla="*/ 148822 w 243915"/>
                  <a:gd name="connsiteY10" fmla="*/ 570 h 56526"/>
                  <a:gd name="connsiteX11" fmla="*/ 243915 w 243915"/>
                  <a:gd name="connsiteY11" fmla="*/ 28251 h 56526"/>
                  <a:gd name="connsiteX12" fmla="*/ 121956 w 243915"/>
                  <a:gd name="connsiteY12" fmla="*/ 56526 h 5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3915" h="56526">
                    <a:moveTo>
                      <a:pt x="121956" y="56526"/>
                    </a:moveTo>
                    <a:cubicBezTo>
                      <a:pt x="109474" y="56526"/>
                      <a:pt x="0" y="55733"/>
                      <a:pt x="0" y="28275"/>
                    </a:cubicBezTo>
                    <a:cubicBezTo>
                      <a:pt x="0" y="793"/>
                      <a:pt x="109474" y="0"/>
                      <a:pt x="121956" y="0"/>
                    </a:cubicBezTo>
                    <a:cubicBezTo>
                      <a:pt x="125629" y="0"/>
                      <a:pt x="128608" y="2974"/>
                      <a:pt x="128608" y="6641"/>
                    </a:cubicBezTo>
                    <a:cubicBezTo>
                      <a:pt x="128608" y="10309"/>
                      <a:pt x="125629" y="13283"/>
                      <a:pt x="121956" y="13283"/>
                    </a:cubicBezTo>
                    <a:cubicBezTo>
                      <a:pt x="57066" y="13283"/>
                      <a:pt x="20866" y="22675"/>
                      <a:pt x="14011" y="28251"/>
                    </a:cubicBezTo>
                    <a:cubicBezTo>
                      <a:pt x="20866" y="33851"/>
                      <a:pt x="57066" y="43219"/>
                      <a:pt x="121956" y="43219"/>
                    </a:cubicBezTo>
                    <a:cubicBezTo>
                      <a:pt x="186774" y="43219"/>
                      <a:pt x="222973" y="33876"/>
                      <a:pt x="229882" y="28275"/>
                    </a:cubicBezTo>
                    <a:cubicBezTo>
                      <a:pt x="224499" y="24087"/>
                      <a:pt x="199936" y="16157"/>
                      <a:pt x="148237" y="13853"/>
                    </a:cubicBezTo>
                    <a:cubicBezTo>
                      <a:pt x="144567" y="13704"/>
                      <a:pt x="141722" y="10606"/>
                      <a:pt x="141883" y="6914"/>
                    </a:cubicBezTo>
                    <a:cubicBezTo>
                      <a:pt x="142049" y="3246"/>
                      <a:pt x="145320" y="421"/>
                      <a:pt x="148822" y="570"/>
                    </a:cubicBezTo>
                    <a:cubicBezTo>
                      <a:pt x="184338" y="2131"/>
                      <a:pt x="243915" y="7831"/>
                      <a:pt x="243915" y="28251"/>
                    </a:cubicBezTo>
                    <a:cubicBezTo>
                      <a:pt x="243915" y="55733"/>
                      <a:pt x="134439" y="56526"/>
                      <a:pt x="121956" y="56526"/>
                    </a:cubicBezTo>
                    <a:close/>
                  </a:path>
                </a:pathLst>
              </a:custGeom>
              <a:solidFill>
                <a:schemeClr val="accent1"/>
              </a:solidFill>
              <a:ln w="247" cap="flat">
                <a:noFill/>
                <a:prstDash val="solid"/>
                <a:miter/>
              </a:ln>
            </p:spPr>
            <p:txBody>
              <a:bodyPr rtlCol="0" anchor="ctr"/>
              <a:lstStyle/>
              <a:p>
                <a:endParaRPr lang="en-GB" dirty="0"/>
              </a:p>
            </p:txBody>
          </p:sp>
          <p:sp>
            <p:nvSpPr>
              <p:cNvPr id="606" name="Freihandform: Form 804">
                <a:extLst>
                  <a:ext uri="{FF2B5EF4-FFF2-40B4-BE49-F238E27FC236}">
                    <a16:creationId xmlns:a16="http://schemas.microsoft.com/office/drawing/2014/main" id="{DF67A39F-4E0B-49E6-868E-50C7DE4C3950}"/>
                  </a:ext>
                </a:extLst>
              </p:cNvPr>
              <p:cNvSpPr/>
              <p:nvPr/>
            </p:nvSpPr>
            <p:spPr>
              <a:xfrm>
                <a:off x="6137450" y="4365071"/>
                <a:ext cx="345917" cy="87304"/>
              </a:xfrm>
              <a:custGeom>
                <a:avLst/>
                <a:gdLst>
                  <a:gd name="connsiteX0" fmla="*/ 172959 w 345917"/>
                  <a:gd name="connsiteY0" fmla="*/ 87305 h 87304"/>
                  <a:gd name="connsiteX1" fmla="*/ 0 w 345917"/>
                  <a:gd name="connsiteY1" fmla="*/ 40319 h 87304"/>
                  <a:gd name="connsiteX2" fmla="*/ 172959 w 345917"/>
                  <a:gd name="connsiteY2" fmla="*/ 0 h 87304"/>
                  <a:gd name="connsiteX3" fmla="*/ 179610 w 345917"/>
                  <a:gd name="connsiteY3" fmla="*/ 6641 h 87304"/>
                  <a:gd name="connsiteX4" fmla="*/ 172959 w 345917"/>
                  <a:gd name="connsiteY4" fmla="*/ 13307 h 87304"/>
                  <a:gd name="connsiteX5" fmla="*/ 13303 w 345917"/>
                  <a:gd name="connsiteY5" fmla="*/ 40319 h 87304"/>
                  <a:gd name="connsiteX6" fmla="*/ 172959 w 345917"/>
                  <a:gd name="connsiteY6" fmla="*/ 73997 h 87304"/>
                  <a:gd name="connsiteX7" fmla="*/ 332615 w 345917"/>
                  <a:gd name="connsiteY7" fmla="*/ 40319 h 87304"/>
                  <a:gd name="connsiteX8" fmla="*/ 214059 w 345917"/>
                  <a:gd name="connsiteY8" fmla="*/ 14200 h 87304"/>
                  <a:gd name="connsiteX9" fmla="*/ 207707 w 345917"/>
                  <a:gd name="connsiteY9" fmla="*/ 7261 h 87304"/>
                  <a:gd name="connsiteX10" fmla="*/ 214648 w 345917"/>
                  <a:gd name="connsiteY10" fmla="*/ 892 h 87304"/>
                  <a:gd name="connsiteX11" fmla="*/ 345918 w 345917"/>
                  <a:gd name="connsiteY11" fmla="*/ 40319 h 87304"/>
                  <a:gd name="connsiteX12" fmla="*/ 172959 w 345917"/>
                  <a:gd name="connsiteY12" fmla="*/ 87305 h 87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5917" h="87304">
                    <a:moveTo>
                      <a:pt x="172959" y="87305"/>
                    </a:moveTo>
                    <a:cubicBezTo>
                      <a:pt x="87941" y="87305"/>
                      <a:pt x="0" y="69735"/>
                      <a:pt x="0" y="40319"/>
                    </a:cubicBezTo>
                    <a:cubicBezTo>
                      <a:pt x="0" y="1115"/>
                      <a:pt x="155257" y="0"/>
                      <a:pt x="172959" y="0"/>
                    </a:cubicBezTo>
                    <a:cubicBezTo>
                      <a:pt x="176631" y="0"/>
                      <a:pt x="179610" y="2974"/>
                      <a:pt x="179610" y="6641"/>
                    </a:cubicBezTo>
                    <a:cubicBezTo>
                      <a:pt x="179610" y="10334"/>
                      <a:pt x="176631" y="13307"/>
                      <a:pt x="172959" y="13307"/>
                    </a:cubicBezTo>
                    <a:cubicBezTo>
                      <a:pt x="59242" y="13307"/>
                      <a:pt x="13303" y="32364"/>
                      <a:pt x="13303" y="40319"/>
                    </a:cubicBezTo>
                    <a:cubicBezTo>
                      <a:pt x="13303" y="50380"/>
                      <a:pt x="67623" y="73997"/>
                      <a:pt x="172959" y="73997"/>
                    </a:cubicBezTo>
                    <a:cubicBezTo>
                      <a:pt x="278294" y="73997"/>
                      <a:pt x="332615" y="50405"/>
                      <a:pt x="332615" y="40319"/>
                    </a:cubicBezTo>
                    <a:cubicBezTo>
                      <a:pt x="332615" y="33504"/>
                      <a:pt x="303636" y="18140"/>
                      <a:pt x="214059" y="14200"/>
                    </a:cubicBezTo>
                    <a:cubicBezTo>
                      <a:pt x="210389" y="14026"/>
                      <a:pt x="207546" y="10928"/>
                      <a:pt x="207707" y="7261"/>
                    </a:cubicBezTo>
                    <a:cubicBezTo>
                      <a:pt x="207873" y="3568"/>
                      <a:pt x="211055" y="743"/>
                      <a:pt x="214648" y="892"/>
                    </a:cubicBezTo>
                    <a:cubicBezTo>
                      <a:pt x="263673" y="3073"/>
                      <a:pt x="345918" y="11077"/>
                      <a:pt x="345918" y="40319"/>
                    </a:cubicBezTo>
                    <a:cubicBezTo>
                      <a:pt x="345918" y="69735"/>
                      <a:pt x="257976" y="87305"/>
                      <a:pt x="172959" y="87305"/>
                    </a:cubicBezTo>
                    <a:close/>
                  </a:path>
                </a:pathLst>
              </a:custGeom>
              <a:solidFill>
                <a:schemeClr val="accent1"/>
              </a:solidFill>
              <a:ln w="247" cap="flat">
                <a:noFill/>
                <a:prstDash val="solid"/>
                <a:miter/>
              </a:ln>
            </p:spPr>
            <p:txBody>
              <a:bodyPr rtlCol="0" anchor="ctr"/>
              <a:lstStyle/>
              <a:p>
                <a:endParaRPr lang="en-GB" dirty="0"/>
              </a:p>
            </p:txBody>
          </p:sp>
        </p:grpSp>
        <p:grpSp>
          <p:nvGrpSpPr>
            <p:cNvPr id="599" name="Grafik 343">
              <a:extLst>
                <a:ext uri="{FF2B5EF4-FFF2-40B4-BE49-F238E27FC236}">
                  <a16:creationId xmlns:a16="http://schemas.microsoft.com/office/drawing/2014/main" id="{2DB895ED-F7FD-4D41-869A-7C463E665DFF}"/>
                </a:ext>
              </a:extLst>
            </p:cNvPr>
            <p:cNvGrpSpPr/>
            <p:nvPr/>
          </p:nvGrpSpPr>
          <p:grpSpPr>
            <a:xfrm>
              <a:off x="8303674" y="4040086"/>
              <a:ext cx="75129" cy="225375"/>
              <a:chOff x="6277561" y="4191477"/>
              <a:chExt cx="66525" cy="199564"/>
            </a:xfrm>
            <a:solidFill>
              <a:schemeClr val="tx2"/>
            </a:solidFill>
          </p:grpSpPr>
          <p:sp>
            <p:nvSpPr>
              <p:cNvPr id="600" name="Freihandform: Form 806">
                <a:extLst>
                  <a:ext uri="{FF2B5EF4-FFF2-40B4-BE49-F238E27FC236}">
                    <a16:creationId xmlns:a16="http://schemas.microsoft.com/office/drawing/2014/main" id="{61E2CDC9-DC85-46FD-A8DD-5B8E235AA87D}"/>
                  </a:ext>
                </a:extLst>
              </p:cNvPr>
              <p:cNvSpPr/>
              <p:nvPr/>
            </p:nvSpPr>
            <p:spPr>
              <a:xfrm>
                <a:off x="6277561" y="4198135"/>
                <a:ext cx="39915" cy="73163"/>
              </a:xfrm>
              <a:custGeom>
                <a:avLst/>
                <a:gdLst>
                  <a:gd name="connsiteX0" fmla="*/ 33264 w 39915"/>
                  <a:gd name="connsiteY0" fmla="*/ 73163 h 73163"/>
                  <a:gd name="connsiteX1" fmla="*/ 30288 w 39915"/>
                  <a:gd name="connsiteY1" fmla="*/ 72470 h 73163"/>
                  <a:gd name="connsiteX2" fmla="*/ 3678 w 39915"/>
                  <a:gd name="connsiteY2" fmla="*/ 59162 h 73163"/>
                  <a:gd name="connsiteX3" fmla="*/ 0 w 39915"/>
                  <a:gd name="connsiteY3" fmla="*/ 53214 h 73163"/>
                  <a:gd name="connsiteX4" fmla="*/ 0 w 39915"/>
                  <a:gd name="connsiteY4" fmla="*/ 6650 h 73163"/>
                  <a:gd name="connsiteX5" fmla="*/ 3155 w 39915"/>
                  <a:gd name="connsiteY5" fmla="*/ 1000 h 73163"/>
                  <a:gd name="connsiteX6" fmla="*/ 9627 w 39915"/>
                  <a:gd name="connsiteY6" fmla="*/ 703 h 73163"/>
                  <a:gd name="connsiteX7" fmla="*/ 36238 w 39915"/>
                  <a:gd name="connsiteY7" fmla="*/ 14010 h 73163"/>
                  <a:gd name="connsiteX8" fmla="*/ 39915 w 39915"/>
                  <a:gd name="connsiteY8" fmla="*/ 19958 h 73163"/>
                  <a:gd name="connsiteX9" fmla="*/ 39915 w 39915"/>
                  <a:gd name="connsiteY9" fmla="*/ 66522 h 73163"/>
                  <a:gd name="connsiteX10" fmla="*/ 36761 w 39915"/>
                  <a:gd name="connsiteY10" fmla="*/ 72172 h 73163"/>
                  <a:gd name="connsiteX11" fmla="*/ 33264 w 39915"/>
                  <a:gd name="connsiteY11" fmla="*/ 73163 h 73163"/>
                  <a:gd name="connsiteX12" fmla="*/ 13305 w 39915"/>
                  <a:gd name="connsiteY12" fmla="*/ 49101 h 73163"/>
                  <a:gd name="connsiteX13" fmla="*/ 26610 w 39915"/>
                  <a:gd name="connsiteY13" fmla="*/ 55767 h 73163"/>
                  <a:gd name="connsiteX14" fmla="*/ 26610 w 39915"/>
                  <a:gd name="connsiteY14" fmla="*/ 24072 h 73163"/>
                  <a:gd name="connsiteX15" fmla="*/ 13305 w 39915"/>
                  <a:gd name="connsiteY15" fmla="*/ 17405 h 73163"/>
                  <a:gd name="connsiteX16" fmla="*/ 13305 w 39915"/>
                  <a:gd name="connsiteY16" fmla="*/ 49101 h 7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915" h="73163">
                    <a:moveTo>
                      <a:pt x="33264" y="73163"/>
                    </a:moveTo>
                    <a:cubicBezTo>
                      <a:pt x="32248" y="73163"/>
                      <a:pt x="31227" y="72940"/>
                      <a:pt x="30288" y="72470"/>
                    </a:cubicBezTo>
                    <a:lnTo>
                      <a:pt x="3678" y="59162"/>
                    </a:lnTo>
                    <a:cubicBezTo>
                      <a:pt x="1422" y="58047"/>
                      <a:pt x="0" y="55742"/>
                      <a:pt x="0" y="53214"/>
                    </a:cubicBezTo>
                    <a:lnTo>
                      <a:pt x="0" y="6650"/>
                    </a:lnTo>
                    <a:cubicBezTo>
                      <a:pt x="0" y="4346"/>
                      <a:pt x="1194" y="2214"/>
                      <a:pt x="3155" y="1000"/>
                    </a:cubicBezTo>
                    <a:cubicBezTo>
                      <a:pt x="5120" y="-239"/>
                      <a:pt x="7566" y="-313"/>
                      <a:pt x="9627" y="703"/>
                    </a:cubicBezTo>
                    <a:lnTo>
                      <a:pt x="36238" y="14010"/>
                    </a:lnTo>
                    <a:cubicBezTo>
                      <a:pt x="38493" y="15125"/>
                      <a:pt x="39915" y="17430"/>
                      <a:pt x="39915" y="19958"/>
                    </a:cubicBezTo>
                    <a:lnTo>
                      <a:pt x="39915" y="66522"/>
                    </a:lnTo>
                    <a:cubicBezTo>
                      <a:pt x="39915" y="68827"/>
                      <a:pt x="38721" y="70958"/>
                      <a:pt x="36761" y="72172"/>
                    </a:cubicBezTo>
                    <a:cubicBezTo>
                      <a:pt x="35693" y="72841"/>
                      <a:pt x="34478" y="73163"/>
                      <a:pt x="33264" y="73163"/>
                    </a:cubicBezTo>
                    <a:close/>
                    <a:moveTo>
                      <a:pt x="13305" y="49101"/>
                    </a:moveTo>
                    <a:lnTo>
                      <a:pt x="26610" y="55767"/>
                    </a:lnTo>
                    <a:lnTo>
                      <a:pt x="26610" y="24072"/>
                    </a:lnTo>
                    <a:lnTo>
                      <a:pt x="13305" y="17405"/>
                    </a:lnTo>
                    <a:lnTo>
                      <a:pt x="13305" y="49101"/>
                    </a:lnTo>
                    <a:close/>
                  </a:path>
                </a:pathLst>
              </a:custGeom>
              <a:grpFill/>
              <a:ln w="247" cap="flat">
                <a:noFill/>
                <a:prstDash val="solid"/>
                <a:miter/>
              </a:ln>
            </p:spPr>
            <p:txBody>
              <a:bodyPr rtlCol="0" anchor="ctr"/>
              <a:lstStyle/>
              <a:p>
                <a:endParaRPr lang="en-GB" dirty="0"/>
              </a:p>
            </p:txBody>
          </p:sp>
          <p:sp>
            <p:nvSpPr>
              <p:cNvPr id="601" name="Freihandform: Form 807">
                <a:extLst>
                  <a:ext uri="{FF2B5EF4-FFF2-40B4-BE49-F238E27FC236}">
                    <a16:creationId xmlns:a16="http://schemas.microsoft.com/office/drawing/2014/main" id="{C315D636-7148-4453-9512-0F36685DB592}"/>
                  </a:ext>
                </a:extLst>
              </p:cNvPr>
              <p:cNvSpPr/>
              <p:nvPr/>
            </p:nvSpPr>
            <p:spPr>
              <a:xfrm>
                <a:off x="6304171" y="4198135"/>
                <a:ext cx="39915" cy="73163"/>
              </a:xfrm>
              <a:custGeom>
                <a:avLst/>
                <a:gdLst>
                  <a:gd name="connsiteX0" fmla="*/ 6654 w 39915"/>
                  <a:gd name="connsiteY0" fmla="*/ 73163 h 73163"/>
                  <a:gd name="connsiteX1" fmla="*/ 3155 w 39915"/>
                  <a:gd name="connsiteY1" fmla="*/ 72172 h 73163"/>
                  <a:gd name="connsiteX2" fmla="*/ 0 w 39915"/>
                  <a:gd name="connsiteY2" fmla="*/ 66522 h 73163"/>
                  <a:gd name="connsiteX3" fmla="*/ 0 w 39915"/>
                  <a:gd name="connsiteY3" fmla="*/ 19958 h 73163"/>
                  <a:gd name="connsiteX4" fmla="*/ 3678 w 39915"/>
                  <a:gd name="connsiteY4" fmla="*/ 14010 h 73163"/>
                  <a:gd name="connsiteX5" fmla="*/ 30288 w 39915"/>
                  <a:gd name="connsiteY5" fmla="*/ 703 h 73163"/>
                  <a:gd name="connsiteX6" fmla="*/ 36761 w 39915"/>
                  <a:gd name="connsiteY6" fmla="*/ 1000 h 73163"/>
                  <a:gd name="connsiteX7" fmla="*/ 39915 w 39915"/>
                  <a:gd name="connsiteY7" fmla="*/ 6650 h 73163"/>
                  <a:gd name="connsiteX8" fmla="*/ 39915 w 39915"/>
                  <a:gd name="connsiteY8" fmla="*/ 53214 h 73163"/>
                  <a:gd name="connsiteX9" fmla="*/ 36238 w 39915"/>
                  <a:gd name="connsiteY9" fmla="*/ 59162 h 73163"/>
                  <a:gd name="connsiteX10" fmla="*/ 9628 w 39915"/>
                  <a:gd name="connsiteY10" fmla="*/ 72470 h 73163"/>
                  <a:gd name="connsiteX11" fmla="*/ 6654 w 39915"/>
                  <a:gd name="connsiteY11" fmla="*/ 73163 h 73163"/>
                  <a:gd name="connsiteX12" fmla="*/ 13305 w 39915"/>
                  <a:gd name="connsiteY12" fmla="*/ 24072 h 73163"/>
                  <a:gd name="connsiteX13" fmla="*/ 13305 w 39915"/>
                  <a:gd name="connsiteY13" fmla="*/ 55767 h 73163"/>
                  <a:gd name="connsiteX14" fmla="*/ 26610 w 39915"/>
                  <a:gd name="connsiteY14" fmla="*/ 49101 h 73163"/>
                  <a:gd name="connsiteX15" fmla="*/ 26610 w 39915"/>
                  <a:gd name="connsiteY15" fmla="*/ 17405 h 73163"/>
                  <a:gd name="connsiteX16" fmla="*/ 13305 w 39915"/>
                  <a:gd name="connsiteY16" fmla="*/ 24072 h 73163"/>
                  <a:gd name="connsiteX17" fmla="*/ 33261 w 39915"/>
                  <a:gd name="connsiteY17" fmla="*/ 53214 h 73163"/>
                  <a:gd name="connsiteX18" fmla="*/ 33326 w 39915"/>
                  <a:gd name="connsiteY18" fmla="*/ 53214 h 73163"/>
                  <a:gd name="connsiteX19" fmla="*/ 33261 w 39915"/>
                  <a:gd name="connsiteY19" fmla="*/ 53214 h 73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915" h="73163">
                    <a:moveTo>
                      <a:pt x="6654" y="73163"/>
                    </a:moveTo>
                    <a:cubicBezTo>
                      <a:pt x="5439" y="73163"/>
                      <a:pt x="4225" y="72841"/>
                      <a:pt x="3155" y="72172"/>
                    </a:cubicBezTo>
                    <a:cubicBezTo>
                      <a:pt x="1197" y="70958"/>
                      <a:pt x="0" y="68827"/>
                      <a:pt x="0" y="66522"/>
                    </a:cubicBezTo>
                    <a:lnTo>
                      <a:pt x="0" y="19958"/>
                    </a:lnTo>
                    <a:cubicBezTo>
                      <a:pt x="0" y="17430"/>
                      <a:pt x="1422" y="15125"/>
                      <a:pt x="3678" y="14010"/>
                    </a:cubicBezTo>
                    <a:lnTo>
                      <a:pt x="30288" y="703"/>
                    </a:lnTo>
                    <a:cubicBezTo>
                      <a:pt x="32347" y="-313"/>
                      <a:pt x="34800" y="-239"/>
                      <a:pt x="36761" y="1000"/>
                    </a:cubicBezTo>
                    <a:cubicBezTo>
                      <a:pt x="38718" y="2214"/>
                      <a:pt x="39915" y="4346"/>
                      <a:pt x="39915" y="6650"/>
                    </a:cubicBezTo>
                    <a:lnTo>
                      <a:pt x="39915" y="53214"/>
                    </a:lnTo>
                    <a:cubicBezTo>
                      <a:pt x="39915" y="55742"/>
                      <a:pt x="38493" y="58047"/>
                      <a:pt x="36238" y="59162"/>
                    </a:cubicBezTo>
                    <a:lnTo>
                      <a:pt x="9628" y="72470"/>
                    </a:lnTo>
                    <a:cubicBezTo>
                      <a:pt x="8688" y="72940"/>
                      <a:pt x="7670" y="73163"/>
                      <a:pt x="6654" y="73163"/>
                    </a:cubicBezTo>
                    <a:close/>
                    <a:moveTo>
                      <a:pt x="13305" y="24072"/>
                    </a:moveTo>
                    <a:lnTo>
                      <a:pt x="13305" y="55767"/>
                    </a:lnTo>
                    <a:lnTo>
                      <a:pt x="26610" y="49101"/>
                    </a:lnTo>
                    <a:lnTo>
                      <a:pt x="26610" y="17405"/>
                    </a:lnTo>
                    <a:lnTo>
                      <a:pt x="13305" y="24072"/>
                    </a:lnTo>
                    <a:close/>
                    <a:moveTo>
                      <a:pt x="33261" y="53214"/>
                    </a:moveTo>
                    <a:lnTo>
                      <a:pt x="33326" y="53214"/>
                    </a:lnTo>
                    <a:lnTo>
                      <a:pt x="33261" y="53214"/>
                    </a:lnTo>
                    <a:close/>
                  </a:path>
                </a:pathLst>
              </a:custGeom>
              <a:grpFill/>
              <a:ln w="247" cap="flat">
                <a:noFill/>
                <a:prstDash val="solid"/>
                <a:miter/>
              </a:ln>
            </p:spPr>
            <p:txBody>
              <a:bodyPr rtlCol="0" anchor="ctr"/>
              <a:lstStyle/>
              <a:p>
                <a:endParaRPr lang="en-GB" dirty="0"/>
              </a:p>
            </p:txBody>
          </p:sp>
          <p:sp>
            <p:nvSpPr>
              <p:cNvPr id="602" name="Freihandform: Form 808">
                <a:extLst>
                  <a:ext uri="{FF2B5EF4-FFF2-40B4-BE49-F238E27FC236}">
                    <a16:creationId xmlns:a16="http://schemas.microsoft.com/office/drawing/2014/main" id="{BCADEAD8-E8AE-4063-9125-C4D45291FC29}"/>
                  </a:ext>
                </a:extLst>
              </p:cNvPr>
              <p:cNvSpPr/>
              <p:nvPr/>
            </p:nvSpPr>
            <p:spPr>
              <a:xfrm>
                <a:off x="6304173" y="4191477"/>
                <a:ext cx="13302" cy="199564"/>
              </a:xfrm>
              <a:custGeom>
                <a:avLst/>
                <a:gdLst>
                  <a:gd name="connsiteX0" fmla="*/ 6651 w 13302"/>
                  <a:gd name="connsiteY0" fmla="*/ 199564 h 199564"/>
                  <a:gd name="connsiteX1" fmla="*/ 0 w 13302"/>
                  <a:gd name="connsiteY1" fmla="*/ 192923 h 199564"/>
                  <a:gd name="connsiteX2" fmla="*/ 0 w 13302"/>
                  <a:gd name="connsiteY2" fmla="*/ 6666 h 199564"/>
                  <a:gd name="connsiteX3" fmla="*/ 6651 w 13302"/>
                  <a:gd name="connsiteY3" fmla="*/ 0 h 199564"/>
                  <a:gd name="connsiteX4" fmla="*/ 13303 w 13302"/>
                  <a:gd name="connsiteY4" fmla="*/ 6666 h 199564"/>
                  <a:gd name="connsiteX5" fmla="*/ 13303 w 13302"/>
                  <a:gd name="connsiteY5" fmla="*/ 192923 h 199564"/>
                  <a:gd name="connsiteX6" fmla="*/ 6651 w 13302"/>
                  <a:gd name="connsiteY6" fmla="*/ 199564 h 199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02" h="199564">
                    <a:moveTo>
                      <a:pt x="6651" y="199564"/>
                    </a:moveTo>
                    <a:cubicBezTo>
                      <a:pt x="2979" y="199564"/>
                      <a:pt x="0" y="196590"/>
                      <a:pt x="0" y="192923"/>
                    </a:cubicBezTo>
                    <a:lnTo>
                      <a:pt x="0" y="6666"/>
                    </a:lnTo>
                    <a:cubicBezTo>
                      <a:pt x="0" y="2974"/>
                      <a:pt x="2979" y="0"/>
                      <a:pt x="6651" y="0"/>
                    </a:cubicBezTo>
                    <a:cubicBezTo>
                      <a:pt x="10324" y="0"/>
                      <a:pt x="13303" y="2974"/>
                      <a:pt x="13303" y="6666"/>
                    </a:cubicBezTo>
                    <a:lnTo>
                      <a:pt x="13303" y="192923"/>
                    </a:lnTo>
                    <a:cubicBezTo>
                      <a:pt x="13303" y="196590"/>
                      <a:pt x="10324" y="199564"/>
                      <a:pt x="6651" y="199564"/>
                    </a:cubicBezTo>
                    <a:close/>
                  </a:path>
                </a:pathLst>
              </a:custGeom>
              <a:grpFill/>
              <a:ln w="247"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3361321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B871789-6C54-47D5-8BCF-E137C2DC18DD}"/>
              </a:ext>
            </a:extLst>
          </p:cNvPr>
          <p:cNvGraphicFramePr>
            <a:graphicFrameLocks noChangeAspect="1"/>
          </p:cNvGraphicFramePr>
          <p:nvPr>
            <p:custDataLst>
              <p:tags r:id="rId1"/>
            </p:custDataLst>
            <p:extLst>
              <p:ext uri="{D42A27DB-BD31-4B8C-83A1-F6EECF244321}">
                <p14:modId xmlns:p14="http://schemas.microsoft.com/office/powerpoint/2010/main" val="20426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6" name="Objekt 5" hidden="1">
                        <a:extLst>
                          <a:ext uri="{FF2B5EF4-FFF2-40B4-BE49-F238E27FC236}">
                            <a16:creationId xmlns:a16="http://schemas.microsoft.com/office/drawing/2014/main" id="{6B871789-6C54-47D5-8BCF-E137C2DC18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9B9D19E-46C7-46FA-84F0-95E0EDBC4837}"/>
              </a:ext>
            </a:extLst>
          </p:cNvPr>
          <p:cNvSpPr>
            <a:spLocks noGrp="1"/>
          </p:cNvSpPr>
          <p:nvPr>
            <p:ph type="sldNum" sz="quarter" idx="11"/>
          </p:nvPr>
        </p:nvSpPr>
        <p:spPr/>
        <p:txBody>
          <a:bodyPr/>
          <a:lstStyle/>
          <a:p>
            <a:fld id="{D56DB8AA-803C-49D2-90AA-1140CE72DCD7}" type="slidenum">
              <a:rPr lang="en-GB" smtClean="0"/>
              <a:pPr/>
              <a:t>24</a:t>
            </a:fld>
            <a:endParaRPr lang="en-GB" dirty="0"/>
          </a:p>
        </p:txBody>
      </p:sp>
      <p:sp>
        <p:nvSpPr>
          <p:cNvPr id="3" name="Title 2">
            <a:extLst>
              <a:ext uri="{FF2B5EF4-FFF2-40B4-BE49-F238E27FC236}">
                <a16:creationId xmlns:a16="http://schemas.microsoft.com/office/drawing/2014/main" id="{E36573B1-54E1-C06C-7354-A0105AFC115B}"/>
              </a:ext>
            </a:extLst>
          </p:cNvPr>
          <p:cNvSpPr>
            <a:spLocks noGrp="1"/>
          </p:cNvSpPr>
          <p:nvPr>
            <p:ph type="title"/>
          </p:nvPr>
        </p:nvSpPr>
        <p:spPr>
          <a:xfrm>
            <a:off x="252000" y="252000"/>
            <a:ext cx="6748875" cy="576000"/>
          </a:xfrm>
        </p:spPr>
        <p:txBody>
          <a:bodyPr/>
          <a:lstStyle/>
          <a:p>
            <a:r>
              <a:rPr lang="en-US" dirty="0"/>
              <a:t>Performance/Rating 2/2</a:t>
            </a:r>
            <a:br>
              <a:rPr lang="en-US" dirty="0"/>
            </a:br>
            <a:endParaRPr lang="en-US" dirty="0"/>
          </a:p>
        </p:txBody>
      </p:sp>
      <p:sp>
        <p:nvSpPr>
          <p:cNvPr id="18" name="TextBox 17">
            <a:extLst>
              <a:ext uri="{FF2B5EF4-FFF2-40B4-BE49-F238E27FC236}">
                <a16:creationId xmlns:a16="http://schemas.microsoft.com/office/drawing/2014/main" id="{427CE2E6-49CA-4C70-ADB4-6B2F47DDD2B9}"/>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ritique</a:t>
            </a:r>
          </a:p>
        </p:txBody>
      </p:sp>
      <p:sp>
        <p:nvSpPr>
          <p:cNvPr id="19" name="TextBox 18">
            <a:extLst>
              <a:ext uri="{FF2B5EF4-FFF2-40B4-BE49-F238E27FC236}">
                <a16:creationId xmlns:a16="http://schemas.microsoft.com/office/drawing/2014/main" id="{E1CA49C6-6DE2-4406-ADDD-4EB933D33760}"/>
              </a:ext>
            </a:extLst>
          </p:cNvPr>
          <p:cNvSpPr txBox="1"/>
          <p:nvPr/>
        </p:nvSpPr>
        <p:spPr>
          <a:xfrm>
            <a:off x="3588420"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age views</a:t>
            </a:r>
          </a:p>
        </p:txBody>
      </p:sp>
      <p:sp>
        <p:nvSpPr>
          <p:cNvPr id="20" name="TextBox 19">
            <a:extLst>
              <a:ext uri="{FF2B5EF4-FFF2-40B4-BE49-F238E27FC236}">
                <a16:creationId xmlns:a16="http://schemas.microsoft.com/office/drawing/2014/main" id="{9A0B821C-3964-4EF4-B70C-E86EFF0EC573}"/>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ositive</a:t>
            </a:r>
            <a:br>
              <a:rPr lang="en-GB" sz="700" dirty="0">
                <a:solidFill>
                  <a:schemeClr val="tx2"/>
                </a:solidFill>
              </a:rPr>
            </a:br>
            <a:r>
              <a:rPr lang="en-GB" sz="700" dirty="0">
                <a:solidFill>
                  <a:schemeClr val="tx2"/>
                </a:solidFill>
              </a:rPr>
              <a:t>feedback</a:t>
            </a:r>
          </a:p>
        </p:txBody>
      </p:sp>
      <p:sp>
        <p:nvSpPr>
          <p:cNvPr id="21" name="TextBox 20">
            <a:extLst>
              <a:ext uri="{FF2B5EF4-FFF2-40B4-BE49-F238E27FC236}">
                <a16:creationId xmlns:a16="http://schemas.microsoft.com/office/drawing/2014/main" id="{CD522013-168D-4391-85F7-CBA29980A5BC}"/>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mments</a:t>
            </a:r>
          </a:p>
        </p:txBody>
      </p:sp>
      <p:sp>
        <p:nvSpPr>
          <p:cNvPr id="22" name="TextBox 21">
            <a:extLst>
              <a:ext uri="{FF2B5EF4-FFF2-40B4-BE49-F238E27FC236}">
                <a16:creationId xmlns:a16="http://schemas.microsoft.com/office/drawing/2014/main" id="{4F99CEA1-5D13-4D64-A593-914FE256ADB0}"/>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xpertise</a:t>
            </a:r>
          </a:p>
        </p:txBody>
      </p:sp>
      <p:sp>
        <p:nvSpPr>
          <p:cNvPr id="23" name="TextBox 22">
            <a:extLst>
              <a:ext uri="{FF2B5EF4-FFF2-40B4-BE49-F238E27FC236}">
                <a16:creationId xmlns:a16="http://schemas.microsoft.com/office/drawing/2014/main" id="{47458C5F-80AC-4ADC-B344-B4D0960EA88F}"/>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arranty</a:t>
            </a:r>
          </a:p>
        </p:txBody>
      </p:sp>
      <p:sp>
        <p:nvSpPr>
          <p:cNvPr id="24" name="TextBox 23">
            <a:extLst>
              <a:ext uri="{FF2B5EF4-FFF2-40B4-BE49-F238E27FC236}">
                <a16:creationId xmlns:a16="http://schemas.microsoft.com/office/drawing/2014/main" id="{69B3E4AC-7935-4858-8C22-71EF00077799}"/>
              </a:ext>
            </a:extLst>
          </p:cNvPr>
          <p:cNvSpPr txBox="1"/>
          <p:nvPr/>
        </p:nvSpPr>
        <p:spPr>
          <a:xfrm>
            <a:off x="1497553"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Quality</a:t>
            </a:r>
            <a:br>
              <a:rPr lang="en-GB" sz="700" dirty="0">
                <a:solidFill>
                  <a:schemeClr val="tx2"/>
                </a:solidFill>
              </a:rPr>
            </a:br>
            <a:r>
              <a:rPr lang="en-GB" sz="700" dirty="0">
                <a:solidFill>
                  <a:schemeClr val="tx2"/>
                </a:solidFill>
              </a:rPr>
              <a:t>Assurance</a:t>
            </a:r>
          </a:p>
        </p:txBody>
      </p:sp>
      <p:sp>
        <p:nvSpPr>
          <p:cNvPr id="25" name="TextBox 24">
            <a:extLst>
              <a:ext uri="{FF2B5EF4-FFF2-40B4-BE49-F238E27FC236}">
                <a16:creationId xmlns:a16="http://schemas.microsoft.com/office/drawing/2014/main" id="{4AE518EC-E8A3-4948-B7A1-487F0DE63D79}"/>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uitability</a:t>
            </a:r>
          </a:p>
        </p:txBody>
      </p:sp>
      <p:sp>
        <p:nvSpPr>
          <p:cNvPr id="26" name="TextBox 25">
            <a:extLst>
              <a:ext uri="{FF2B5EF4-FFF2-40B4-BE49-F238E27FC236}">
                <a16:creationId xmlns:a16="http://schemas.microsoft.com/office/drawing/2014/main" id="{08DCA275-B5F0-48E1-A6E0-F247B3DBFAB9}"/>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pprovement</a:t>
            </a:r>
          </a:p>
        </p:txBody>
      </p:sp>
      <p:sp>
        <p:nvSpPr>
          <p:cNvPr id="27" name="TextBox 26">
            <a:extLst>
              <a:ext uri="{FF2B5EF4-FFF2-40B4-BE49-F238E27FC236}">
                <a16:creationId xmlns:a16="http://schemas.microsoft.com/office/drawing/2014/main" id="{73F50AA8-15FE-4EA1-8AC4-5DE2BDF09FB2}"/>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License</a:t>
            </a:r>
          </a:p>
        </p:txBody>
      </p:sp>
      <p:sp>
        <p:nvSpPr>
          <p:cNvPr id="28" name="TextBox 27">
            <a:extLst>
              <a:ext uri="{FF2B5EF4-FFF2-40B4-BE49-F238E27FC236}">
                <a16:creationId xmlns:a16="http://schemas.microsoft.com/office/drawing/2014/main" id="{05C3C7B4-736F-4576-ACBF-CF0900D50775}"/>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Guarantee</a:t>
            </a:r>
          </a:p>
        </p:txBody>
      </p:sp>
      <p:sp>
        <p:nvSpPr>
          <p:cNvPr id="29" name="TextBox 28">
            <a:extLst>
              <a:ext uri="{FF2B5EF4-FFF2-40B4-BE49-F238E27FC236}">
                <a16:creationId xmlns:a16="http://schemas.microsoft.com/office/drawing/2014/main" id="{505BE781-2E43-4665-B8FF-F309A6EE32F7}"/>
              </a:ext>
            </a:extLst>
          </p:cNvPr>
          <p:cNvSpPr txBox="1"/>
          <p:nvPr/>
        </p:nvSpPr>
        <p:spPr>
          <a:xfrm>
            <a:off x="452119"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ocial media</a:t>
            </a:r>
            <a:br>
              <a:rPr lang="en-GB" sz="700" dirty="0">
                <a:solidFill>
                  <a:schemeClr val="tx2"/>
                </a:solidFill>
              </a:rPr>
            </a:br>
            <a:r>
              <a:rPr lang="en-GB" sz="700" dirty="0">
                <a:solidFill>
                  <a:schemeClr val="tx2"/>
                </a:solidFill>
              </a:rPr>
              <a:t>engagement</a:t>
            </a:r>
          </a:p>
        </p:txBody>
      </p:sp>
      <p:sp>
        <p:nvSpPr>
          <p:cNvPr id="30" name="TextBox 29">
            <a:extLst>
              <a:ext uri="{FF2B5EF4-FFF2-40B4-BE49-F238E27FC236}">
                <a16:creationId xmlns:a16="http://schemas.microsoft.com/office/drawing/2014/main" id="{E81DEF60-DCA5-4EE2-AFAE-89C285BACEC4}"/>
              </a:ext>
            </a:extLst>
          </p:cNvPr>
          <p:cNvSpPr txBox="1"/>
          <p:nvPr/>
        </p:nvSpPr>
        <p:spPr>
          <a:xfrm>
            <a:off x="3588420"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udience</a:t>
            </a:r>
            <a:br>
              <a:rPr lang="en-GB" sz="700" dirty="0">
                <a:solidFill>
                  <a:schemeClr val="tx2"/>
                </a:solidFill>
              </a:rPr>
            </a:br>
            <a:r>
              <a:rPr lang="en-GB" sz="700" dirty="0">
                <a:solidFill>
                  <a:schemeClr val="tx2"/>
                </a:solidFill>
              </a:rPr>
              <a:t>research</a:t>
            </a:r>
          </a:p>
        </p:txBody>
      </p:sp>
      <p:sp>
        <p:nvSpPr>
          <p:cNvPr id="31" name="TextBox 30">
            <a:extLst>
              <a:ext uri="{FF2B5EF4-FFF2-40B4-BE49-F238E27FC236}">
                <a16:creationId xmlns:a16="http://schemas.microsoft.com/office/drawing/2014/main" id="{7B02C26F-6022-407A-8F07-FA9E14C109D6}"/>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ach</a:t>
            </a:r>
          </a:p>
        </p:txBody>
      </p:sp>
      <p:sp>
        <p:nvSpPr>
          <p:cNvPr id="32" name="TextBox 31">
            <a:extLst>
              <a:ext uri="{FF2B5EF4-FFF2-40B4-BE49-F238E27FC236}">
                <a16:creationId xmlns:a16="http://schemas.microsoft.com/office/drawing/2014/main" id="{F9401DA5-E333-493B-960C-0D4D3D25DFA3}"/>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estimonials</a:t>
            </a:r>
          </a:p>
        </p:txBody>
      </p:sp>
      <p:sp>
        <p:nvSpPr>
          <p:cNvPr id="49" name="TextBox 48">
            <a:extLst>
              <a:ext uri="{FF2B5EF4-FFF2-40B4-BE49-F238E27FC236}">
                <a16:creationId xmlns:a16="http://schemas.microsoft.com/office/drawing/2014/main" id="{562EF131-BF1D-4450-829A-0841ADAD49DB}"/>
              </a:ext>
            </a:extLst>
          </p:cNvPr>
          <p:cNvSpPr txBox="1"/>
          <p:nvPr/>
        </p:nvSpPr>
        <p:spPr>
          <a:xfrm>
            <a:off x="452119"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est in</a:t>
            </a:r>
            <a:br>
              <a:rPr lang="en-GB" sz="700" dirty="0">
                <a:solidFill>
                  <a:schemeClr val="tx2"/>
                </a:solidFill>
              </a:rPr>
            </a:br>
            <a:r>
              <a:rPr lang="en-GB" sz="700" dirty="0">
                <a:solidFill>
                  <a:schemeClr val="tx2"/>
                </a:solidFill>
              </a:rPr>
              <a:t>class</a:t>
            </a:r>
          </a:p>
        </p:txBody>
      </p:sp>
      <p:grpSp>
        <p:nvGrpSpPr>
          <p:cNvPr id="38" name="Group 37">
            <a:extLst>
              <a:ext uri="{FF2B5EF4-FFF2-40B4-BE49-F238E27FC236}">
                <a16:creationId xmlns:a16="http://schemas.microsoft.com/office/drawing/2014/main" id="{DD6F61CE-92BC-685E-A03F-5463B3549F20}"/>
              </a:ext>
            </a:extLst>
          </p:cNvPr>
          <p:cNvGrpSpPr/>
          <p:nvPr/>
        </p:nvGrpSpPr>
        <p:grpSpPr>
          <a:xfrm>
            <a:off x="524050" y="2443994"/>
            <a:ext cx="540000" cy="327064"/>
            <a:chOff x="524050" y="2443994"/>
            <a:chExt cx="540000" cy="327064"/>
          </a:xfrm>
        </p:grpSpPr>
        <p:grpSp>
          <p:nvGrpSpPr>
            <p:cNvPr id="127" name="Graphic 4">
              <a:extLst>
                <a:ext uri="{FF2B5EF4-FFF2-40B4-BE49-F238E27FC236}">
                  <a16:creationId xmlns:a16="http://schemas.microsoft.com/office/drawing/2014/main" id="{61D3D23A-8AAF-435C-BF7D-72EB7D8E0236}"/>
                </a:ext>
              </a:extLst>
            </p:cNvPr>
            <p:cNvGrpSpPr/>
            <p:nvPr/>
          </p:nvGrpSpPr>
          <p:grpSpPr>
            <a:xfrm>
              <a:off x="639954" y="2520905"/>
              <a:ext cx="313284" cy="207119"/>
              <a:chOff x="2599522" y="1813904"/>
              <a:chExt cx="281759" cy="186277"/>
            </a:xfrm>
            <a:solidFill>
              <a:schemeClr val="tx2"/>
            </a:solidFill>
          </p:grpSpPr>
          <p:sp>
            <p:nvSpPr>
              <p:cNvPr id="139" name="Freihandform: Form 922">
                <a:extLst>
                  <a:ext uri="{FF2B5EF4-FFF2-40B4-BE49-F238E27FC236}">
                    <a16:creationId xmlns:a16="http://schemas.microsoft.com/office/drawing/2014/main" id="{BBE5B5D9-CF5F-4774-96CD-109533DA0670}"/>
                  </a:ext>
                </a:extLst>
              </p:cNvPr>
              <p:cNvSpPr/>
              <p:nvPr/>
            </p:nvSpPr>
            <p:spPr>
              <a:xfrm>
                <a:off x="2642626" y="1987112"/>
                <a:ext cx="196984" cy="13069"/>
              </a:xfrm>
              <a:custGeom>
                <a:avLst/>
                <a:gdLst>
                  <a:gd name="connsiteX0" fmla="*/ 190449 w 196984"/>
                  <a:gd name="connsiteY0" fmla="*/ 13070 h 13069"/>
                  <a:gd name="connsiteX1" fmla="*/ 6535 w 196984"/>
                  <a:gd name="connsiteY1" fmla="*/ 13070 h 13069"/>
                  <a:gd name="connsiteX2" fmla="*/ 0 w 196984"/>
                  <a:gd name="connsiteY2" fmla="*/ 6535 h 13069"/>
                  <a:gd name="connsiteX3" fmla="*/ 6535 w 196984"/>
                  <a:gd name="connsiteY3" fmla="*/ 0 h 13069"/>
                  <a:gd name="connsiteX4" fmla="*/ 190449 w 196984"/>
                  <a:gd name="connsiteY4" fmla="*/ 0 h 13069"/>
                  <a:gd name="connsiteX5" fmla="*/ 196984 w 196984"/>
                  <a:gd name="connsiteY5" fmla="*/ 6535 h 13069"/>
                  <a:gd name="connsiteX6" fmla="*/ 190449 w 196984"/>
                  <a:gd name="connsiteY6" fmla="*/ 13070 h 1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984" h="13069">
                    <a:moveTo>
                      <a:pt x="190449" y="13070"/>
                    </a:moveTo>
                    <a:lnTo>
                      <a:pt x="6535" y="13070"/>
                    </a:lnTo>
                    <a:cubicBezTo>
                      <a:pt x="2922" y="13070"/>
                      <a:pt x="0" y="10144"/>
                      <a:pt x="0" y="6535"/>
                    </a:cubicBezTo>
                    <a:cubicBezTo>
                      <a:pt x="0" y="2926"/>
                      <a:pt x="2922" y="0"/>
                      <a:pt x="6535" y="0"/>
                    </a:cubicBezTo>
                    <a:lnTo>
                      <a:pt x="190449" y="0"/>
                    </a:lnTo>
                    <a:cubicBezTo>
                      <a:pt x="194062" y="0"/>
                      <a:pt x="196984" y="2926"/>
                      <a:pt x="196984" y="6535"/>
                    </a:cubicBezTo>
                    <a:cubicBezTo>
                      <a:pt x="196988" y="10140"/>
                      <a:pt x="194062" y="13070"/>
                      <a:pt x="190449" y="13070"/>
                    </a:cubicBezTo>
                    <a:close/>
                  </a:path>
                </a:pathLst>
              </a:custGeom>
              <a:grpFill/>
              <a:ln w="377" cap="flat">
                <a:noFill/>
                <a:prstDash val="solid"/>
                <a:miter/>
              </a:ln>
            </p:spPr>
            <p:txBody>
              <a:bodyPr rtlCol="0" anchor="ctr"/>
              <a:lstStyle/>
              <a:p>
                <a:endParaRPr lang="en-GB" dirty="0"/>
              </a:p>
            </p:txBody>
          </p:sp>
          <p:sp>
            <p:nvSpPr>
              <p:cNvPr id="140" name="Freihandform: Form 923">
                <a:extLst>
                  <a:ext uri="{FF2B5EF4-FFF2-40B4-BE49-F238E27FC236}">
                    <a16:creationId xmlns:a16="http://schemas.microsoft.com/office/drawing/2014/main" id="{8ED46896-4EC1-49C0-9F31-BA7D16BD058A}"/>
                  </a:ext>
                </a:extLst>
              </p:cNvPr>
              <p:cNvSpPr/>
              <p:nvPr/>
            </p:nvSpPr>
            <p:spPr>
              <a:xfrm>
                <a:off x="2717344" y="1813904"/>
                <a:ext cx="47551" cy="47555"/>
              </a:xfrm>
              <a:custGeom>
                <a:avLst/>
                <a:gdLst>
                  <a:gd name="connsiteX0" fmla="*/ 23776 w 47551"/>
                  <a:gd name="connsiteY0" fmla="*/ 47556 h 47555"/>
                  <a:gd name="connsiteX1" fmla="*/ 0 w 47551"/>
                  <a:gd name="connsiteY1" fmla="*/ 23780 h 47555"/>
                  <a:gd name="connsiteX2" fmla="*/ 23776 w 47551"/>
                  <a:gd name="connsiteY2" fmla="*/ 0 h 47555"/>
                  <a:gd name="connsiteX3" fmla="*/ 47552 w 47551"/>
                  <a:gd name="connsiteY3" fmla="*/ 23780 h 47555"/>
                  <a:gd name="connsiteX4" fmla="*/ 23776 w 47551"/>
                  <a:gd name="connsiteY4" fmla="*/ 47556 h 47555"/>
                  <a:gd name="connsiteX5" fmla="*/ 23776 w 47551"/>
                  <a:gd name="connsiteY5" fmla="*/ 13073 h 47555"/>
                  <a:gd name="connsiteX6" fmla="*/ 13073 w 47551"/>
                  <a:gd name="connsiteY6" fmla="*/ 23780 h 47555"/>
                  <a:gd name="connsiteX7" fmla="*/ 23776 w 47551"/>
                  <a:gd name="connsiteY7" fmla="*/ 34482 h 47555"/>
                  <a:gd name="connsiteX8" fmla="*/ 34478 w 47551"/>
                  <a:gd name="connsiteY8" fmla="*/ 23780 h 47555"/>
                  <a:gd name="connsiteX9" fmla="*/ 23776 w 47551"/>
                  <a:gd name="connsiteY9" fmla="*/ 13073 h 4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51" h="47555">
                    <a:moveTo>
                      <a:pt x="23776" y="47556"/>
                    </a:moveTo>
                    <a:cubicBezTo>
                      <a:pt x="10665" y="47556"/>
                      <a:pt x="0" y="36891"/>
                      <a:pt x="0" y="23780"/>
                    </a:cubicBezTo>
                    <a:cubicBezTo>
                      <a:pt x="0" y="10669"/>
                      <a:pt x="10665" y="0"/>
                      <a:pt x="23776" y="0"/>
                    </a:cubicBezTo>
                    <a:cubicBezTo>
                      <a:pt x="36887" y="0"/>
                      <a:pt x="47552" y="10669"/>
                      <a:pt x="47552" y="23780"/>
                    </a:cubicBezTo>
                    <a:cubicBezTo>
                      <a:pt x="47552" y="36891"/>
                      <a:pt x="36887" y="47556"/>
                      <a:pt x="23776" y="47556"/>
                    </a:cubicBezTo>
                    <a:close/>
                    <a:moveTo>
                      <a:pt x="23776" y="13073"/>
                    </a:moveTo>
                    <a:cubicBezTo>
                      <a:pt x="17872" y="13073"/>
                      <a:pt x="13073" y="17875"/>
                      <a:pt x="13073" y="23780"/>
                    </a:cubicBezTo>
                    <a:cubicBezTo>
                      <a:pt x="13073" y="29680"/>
                      <a:pt x="17872" y="34482"/>
                      <a:pt x="23776" y="34482"/>
                    </a:cubicBezTo>
                    <a:cubicBezTo>
                      <a:pt x="29680" y="34482"/>
                      <a:pt x="34478" y="29680"/>
                      <a:pt x="34478" y="23780"/>
                    </a:cubicBezTo>
                    <a:cubicBezTo>
                      <a:pt x="34478" y="17875"/>
                      <a:pt x="29680" y="13073"/>
                      <a:pt x="23776" y="13073"/>
                    </a:cubicBezTo>
                    <a:close/>
                  </a:path>
                </a:pathLst>
              </a:custGeom>
              <a:grpFill/>
              <a:ln w="377" cap="flat">
                <a:noFill/>
                <a:prstDash val="solid"/>
                <a:miter/>
              </a:ln>
            </p:spPr>
            <p:txBody>
              <a:bodyPr rtlCol="0" anchor="ctr"/>
              <a:lstStyle/>
              <a:p>
                <a:endParaRPr lang="en-GB" dirty="0"/>
              </a:p>
            </p:txBody>
          </p:sp>
          <p:sp>
            <p:nvSpPr>
              <p:cNvPr id="141" name="Freihandform: Form 924">
                <a:extLst>
                  <a:ext uri="{FF2B5EF4-FFF2-40B4-BE49-F238E27FC236}">
                    <a16:creationId xmlns:a16="http://schemas.microsoft.com/office/drawing/2014/main" id="{082641AE-5BB4-4C39-8F1B-EA876968A35F}"/>
                  </a:ext>
                </a:extLst>
              </p:cNvPr>
              <p:cNvSpPr/>
              <p:nvPr/>
            </p:nvSpPr>
            <p:spPr>
              <a:xfrm>
                <a:off x="2599522" y="1843595"/>
                <a:ext cx="47559" cy="47555"/>
              </a:xfrm>
              <a:custGeom>
                <a:avLst/>
                <a:gdLst>
                  <a:gd name="connsiteX0" fmla="*/ 23784 w 47559"/>
                  <a:gd name="connsiteY0" fmla="*/ 47556 h 47555"/>
                  <a:gd name="connsiteX1" fmla="*/ 0 w 47559"/>
                  <a:gd name="connsiteY1" fmla="*/ 23780 h 47555"/>
                  <a:gd name="connsiteX2" fmla="*/ 23784 w 47559"/>
                  <a:gd name="connsiteY2" fmla="*/ 0 h 47555"/>
                  <a:gd name="connsiteX3" fmla="*/ 47559 w 47559"/>
                  <a:gd name="connsiteY3" fmla="*/ 23780 h 47555"/>
                  <a:gd name="connsiteX4" fmla="*/ 23784 w 47559"/>
                  <a:gd name="connsiteY4" fmla="*/ 47556 h 47555"/>
                  <a:gd name="connsiteX5" fmla="*/ 23784 w 47559"/>
                  <a:gd name="connsiteY5" fmla="*/ 13073 h 47555"/>
                  <a:gd name="connsiteX6" fmla="*/ 13073 w 47559"/>
                  <a:gd name="connsiteY6" fmla="*/ 23780 h 47555"/>
                  <a:gd name="connsiteX7" fmla="*/ 23784 w 47559"/>
                  <a:gd name="connsiteY7" fmla="*/ 34482 h 47555"/>
                  <a:gd name="connsiteX8" fmla="*/ 34486 w 47559"/>
                  <a:gd name="connsiteY8" fmla="*/ 23780 h 47555"/>
                  <a:gd name="connsiteX9" fmla="*/ 23784 w 47559"/>
                  <a:gd name="connsiteY9" fmla="*/ 13073 h 4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59" h="47555">
                    <a:moveTo>
                      <a:pt x="23784" y="47556"/>
                    </a:moveTo>
                    <a:cubicBezTo>
                      <a:pt x="10669" y="47556"/>
                      <a:pt x="0" y="36891"/>
                      <a:pt x="0" y="23780"/>
                    </a:cubicBezTo>
                    <a:cubicBezTo>
                      <a:pt x="0" y="10669"/>
                      <a:pt x="10665" y="0"/>
                      <a:pt x="23784" y="0"/>
                    </a:cubicBezTo>
                    <a:cubicBezTo>
                      <a:pt x="36895" y="0"/>
                      <a:pt x="47559" y="10669"/>
                      <a:pt x="47559" y="23780"/>
                    </a:cubicBezTo>
                    <a:cubicBezTo>
                      <a:pt x="47559" y="36891"/>
                      <a:pt x="36895" y="47556"/>
                      <a:pt x="23784" y="47556"/>
                    </a:cubicBezTo>
                    <a:close/>
                    <a:moveTo>
                      <a:pt x="23784" y="13073"/>
                    </a:moveTo>
                    <a:cubicBezTo>
                      <a:pt x="17879" y="13073"/>
                      <a:pt x="13073" y="17875"/>
                      <a:pt x="13073" y="23780"/>
                    </a:cubicBezTo>
                    <a:cubicBezTo>
                      <a:pt x="13073" y="29680"/>
                      <a:pt x="17879" y="34482"/>
                      <a:pt x="23784" y="34482"/>
                    </a:cubicBezTo>
                    <a:cubicBezTo>
                      <a:pt x="29688" y="34482"/>
                      <a:pt x="34486" y="29680"/>
                      <a:pt x="34486" y="23780"/>
                    </a:cubicBezTo>
                    <a:cubicBezTo>
                      <a:pt x="34490" y="17875"/>
                      <a:pt x="29688" y="13073"/>
                      <a:pt x="23784" y="13073"/>
                    </a:cubicBezTo>
                    <a:close/>
                  </a:path>
                </a:pathLst>
              </a:custGeom>
              <a:grpFill/>
              <a:ln w="377" cap="flat">
                <a:noFill/>
                <a:prstDash val="solid"/>
                <a:miter/>
              </a:ln>
            </p:spPr>
            <p:txBody>
              <a:bodyPr rtlCol="0" anchor="ctr"/>
              <a:lstStyle/>
              <a:p>
                <a:endParaRPr lang="en-GB" dirty="0"/>
              </a:p>
            </p:txBody>
          </p:sp>
          <p:sp>
            <p:nvSpPr>
              <p:cNvPr id="142" name="Freihandform: Form 925">
                <a:extLst>
                  <a:ext uri="{FF2B5EF4-FFF2-40B4-BE49-F238E27FC236}">
                    <a16:creationId xmlns:a16="http://schemas.microsoft.com/office/drawing/2014/main" id="{3F16A551-6ADD-429F-8722-073EB12B4615}"/>
                  </a:ext>
                </a:extLst>
              </p:cNvPr>
              <p:cNvSpPr/>
              <p:nvPr/>
            </p:nvSpPr>
            <p:spPr>
              <a:xfrm>
                <a:off x="2631140" y="1848377"/>
                <a:ext cx="106462" cy="65526"/>
              </a:xfrm>
              <a:custGeom>
                <a:avLst/>
                <a:gdLst>
                  <a:gd name="connsiteX0" fmla="*/ 56819 w 106462"/>
                  <a:gd name="connsiteY0" fmla="*/ 65527 h 65526"/>
                  <a:gd name="connsiteX1" fmla="*/ 837 w 106462"/>
                  <a:gd name="connsiteY1" fmla="*/ 32732 h 65526"/>
                  <a:gd name="connsiteX2" fmla="*/ 3340 w 106462"/>
                  <a:gd name="connsiteY2" fmla="*/ 23834 h 65526"/>
                  <a:gd name="connsiteX3" fmla="*/ 12238 w 106462"/>
                  <a:gd name="connsiteY3" fmla="*/ 26337 h 65526"/>
                  <a:gd name="connsiteX4" fmla="*/ 56823 w 106462"/>
                  <a:gd name="connsiteY4" fmla="*/ 52453 h 65526"/>
                  <a:gd name="connsiteX5" fmla="*/ 93491 w 106462"/>
                  <a:gd name="connsiteY5" fmla="*/ 5400 h 65526"/>
                  <a:gd name="connsiteX6" fmla="*/ 101075 w 106462"/>
                  <a:gd name="connsiteY6" fmla="*/ 111 h 65526"/>
                  <a:gd name="connsiteX7" fmla="*/ 106360 w 106462"/>
                  <a:gd name="connsiteY7" fmla="*/ 7691 h 65526"/>
                  <a:gd name="connsiteX8" fmla="*/ 56819 w 106462"/>
                  <a:gd name="connsiteY8" fmla="*/ 65527 h 6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62" h="65526">
                    <a:moveTo>
                      <a:pt x="56819" y="65527"/>
                    </a:moveTo>
                    <a:cubicBezTo>
                      <a:pt x="19653" y="65527"/>
                      <a:pt x="1581" y="34068"/>
                      <a:pt x="837" y="32732"/>
                    </a:cubicBezTo>
                    <a:cubicBezTo>
                      <a:pt x="-930" y="29583"/>
                      <a:pt x="192" y="25600"/>
                      <a:pt x="3340" y="23834"/>
                    </a:cubicBezTo>
                    <a:cubicBezTo>
                      <a:pt x="6492" y="22071"/>
                      <a:pt x="10471" y="23188"/>
                      <a:pt x="12238" y="26337"/>
                    </a:cubicBezTo>
                    <a:cubicBezTo>
                      <a:pt x="12838" y="27386"/>
                      <a:pt x="27441" y="52453"/>
                      <a:pt x="56823" y="52453"/>
                    </a:cubicBezTo>
                    <a:cubicBezTo>
                      <a:pt x="84793" y="52453"/>
                      <a:pt x="93408" y="5868"/>
                      <a:pt x="93491" y="5400"/>
                    </a:cubicBezTo>
                    <a:cubicBezTo>
                      <a:pt x="94118" y="1847"/>
                      <a:pt x="97455" y="-554"/>
                      <a:pt x="101075" y="111"/>
                    </a:cubicBezTo>
                    <a:cubicBezTo>
                      <a:pt x="104624" y="741"/>
                      <a:pt x="106991" y="4135"/>
                      <a:pt x="106360" y="7691"/>
                    </a:cubicBezTo>
                    <a:cubicBezTo>
                      <a:pt x="105934" y="10054"/>
                      <a:pt x="95613" y="65527"/>
                      <a:pt x="56819" y="65527"/>
                    </a:cubicBezTo>
                    <a:close/>
                  </a:path>
                </a:pathLst>
              </a:custGeom>
              <a:grpFill/>
              <a:ln w="377" cap="flat">
                <a:noFill/>
                <a:prstDash val="solid"/>
                <a:miter/>
              </a:ln>
            </p:spPr>
            <p:txBody>
              <a:bodyPr rtlCol="0" anchor="ctr"/>
              <a:lstStyle/>
              <a:p>
                <a:endParaRPr lang="en-GB" dirty="0"/>
              </a:p>
            </p:txBody>
          </p:sp>
          <p:grpSp>
            <p:nvGrpSpPr>
              <p:cNvPr id="143" name="Graphic 4">
                <a:extLst>
                  <a:ext uri="{FF2B5EF4-FFF2-40B4-BE49-F238E27FC236}">
                    <a16:creationId xmlns:a16="http://schemas.microsoft.com/office/drawing/2014/main" id="{8A67BBEC-EBBF-4993-BF1B-82784EB0AA3F}"/>
                  </a:ext>
                </a:extLst>
              </p:cNvPr>
              <p:cNvGrpSpPr/>
              <p:nvPr/>
            </p:nvGrpSpPr>
            <p:grpSpPr>
              <a:xfrm>
                <a:off x="2614367" y="1843595"/>
                <a:ext cx="266913" cy="127060"/>
                <a:chOff x="2614367" y="1843595"/>
                <a:chExt cx="266913" cy="127060"/>
              </a:xfrm>
              <a:grpFill/>
            </p:grpSpPr>
            <p:sp>
              <p:nvSpPr>
                <p:cNvPr id="145" name="Freihandform: Form 928">
                  <a:extLst>
                    <a:ext uri="{FF2B5EF4-FFF2-40B4-BE49-F238E27FC236}">
                      <a16:creationId xmlns:a16="http://schemas.microsoft.com/office/drawing/2014/main" id="{1EF8ACD8-F5D2-4225-8864-5BF686BCE61D}"/>
                    </a:ext>
                  </a:extLst>
                </p:cNvPr>
                <p:cNvSpPr/>
                <p:nvPr/>
              </p:nvSpPr>
              <p:spPr>
                <a:xfrm>
                  <a:off x="2614367" y="1878564"/>
                  <a:ext cx="252548" cy="92091"/>
                </a:xfrm>
                <a:custGeom>
                  <a:avLst/>
                  <a:gdLst>
                    <a:gd name="connsiteX0" fmla="*/ 218709 w 252548"/>
                    <a:gd name="connsiteY0" fmla="*/ 92091 h 92091"/>
                    <a:gd name="connsiteX1" fmla="*/ 34794 w 252548"/>
                    <a:gd name="connsiteY1" fmla="*/ 92091 h 92091"/>
                    <a:gd name="connsiteX2" fmla="*/ 28659 w 252548"/>
                    <a:gd name="connsiteY2" fmla="*/ 87807 h 92091"/>
                    <a:gd name="connsiteX3" fmla="*/ 402 w 252548"/>
                    <a:gd name="connsiteY3" fmla="*/ 10699 h 92091"/>
                    <a:gd name="connsiteX4" fmla="*/ 4291 w 252548"/>
                    <a:gd name="connsiteY4" fmla="*/ 2311 h 92091"/>
                    <a:gd name="connsiteX5" fmla="*/ 12672 w 252548"/>
                    <a:gd name="connsiteY5" fmla="*/ 6199 h 92091"/>
                    <a:gd name="connsiteX6" fmla="*/ 39358 w 252548"/>
                    <a:gd name="connsiteY6" fmla="*/ 79022 h 92091"/>
                    <a:gd name="connsiteX7" fmla="*/ 214050 w 252548"/>
                    <a:gd name="connsiteY7" fmla="*/ 79022 h 92091"/>
                    <a:gd name="connsiteX8" fmla="*/ 239831 w 252548"/>
                    <a:gd name="connsiteY8" fmla="*/ 4398 h 92091"/>
                    <a:gd name="connsiteX9" fmla="*/ 248140 w 252548"/>
                    <a:gd name="connsiteY9" fmla="*/ 355 h 92091"/>
                    <a:gd name="connsiteX10" fmla="*/ 252187 w 252548"/>
                    <a:gd name="connsiteY10" fmla="*/ 8668 h 92091"/>
                    <a:gd name="connsiteX11" fmla="*/ 224889 w 252548"/>
                    <a:gd name="connsiteY11" fmla="*/ 87693 h 92091"/>
                    <a:gd name="connsiteX12" fmla="*/ 218709 w 252548"/>
                    <a:gd name="connsiteY12" fmla="*/ 92091 h 92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2548" h="92091">
                      <a:moveTo>
                        <a:pt x="218709" y="92091"/>
                      </a:moveTo>
                      <a:lnTo>
                        <a:pt x="34794" y="92091"/>
                      </a:lnTo>
                      <a:cubicBezTo>
                        <a:pt x="32050" y="92091"/>
                        <a:pt x="29600" y="90381"/>
                        <a:pt x="28659" y="87807"/>
                      </a:cubicBezTo>
                      <a:lnTo>
                        <a:pt x="402" y="10699"/>
                      </a:lnTo>
                      <a:cubicBezTo>
                        <a:pt x="-843" y="7309"/>
                        <a:pt x="901" y="3553"/>
                        <a:pt x="4291" y="2311"/>
                      </a:cubicBezTo>
                      <a:cubicBezTo>
                        <a:pt x="7666" y="1069"/>
                        <a:pt x="11433" y="2813"/>
                        <a:pt x="12672" y="6199"/>
                      </a:cubicBezTo>
                      <a:lnTo>
                        <a:pt x="39358" y="79022"/>
                      </a:lnTo>
                      <a:lnTo>
                        <a:pt x="214050" y="79022"/>
                      </a:lnTo>
                      <a:lnTo>
                        <a:pt x="239831" y="4398"/>
                      </a:lnTo>
                      <a:cubicBezTo>
                        <a:pt x="241020" y="989"/>
                        <a:pt x="244746" y="-811"/>
                        <a:pt x="248140" y="355"/>
                      </a:cubicBezTo>
                      <a:cubicBezTo>
                        <a:pt x="251556" y="1537"/>
                        <a:pt x="253368" y="5255"/>
                        <a:pt x="252187" y="8668"/>
                      </a:cubicBezTo>
                      <a:lnTo>
                        <a:pt x="224889" y="87693"/>
                      </a:lnTo>
                      <a:cubicBezTo>
                        <a:pt x="223975" y="90325"/>
                        <a:pt x="221498" y="92091"/>
                        <a:pt x="218709" y="92091"/>
                      </a:cubicBezTo>
                      <a:close/>
                    </a:path>
                  </a:pathLst>
                </a:custGeom>
                <a:grpFill/>
                <a:ln w="377" cap="flat">
                  <a:noFill/>
                  <a:prstDash val="solid"/>
                  <a:miter/>
                </a:ln>
              </p:spPr>
              <p:txBody>
                <a:bodyPr rtlCol="0" anchor="ctr"/>
                <a:lstStyle/>
                <a:p>
                  <a:endParaRPr lang="en-GB" dirty="0"/>
                </a:p>
              </p:txBody>
            </p:sp>
            <p:sp>
              <p:nvSpPr>
                <p:cNvPr id="146" name="Freihandform: Form 929">
                  <a:extLst>
                    <a:ext uri="{FF2B5EF4-FFF2-40B4-BE49-F238E27FC236}">
                      <a16:creationId xmlns:a16="http://schemas.microsoft.com/office/drawing/2014/main" id="{FD03DE1C-BF0D-4872-B8E4-3E8A11B464E4}"/>
                    </a:ext>
                  </a:extLst>
                </p:cNvPr>
                <p:cNvSpPr/>
                <p:nvPr/>
              </p:nvSpPr>
              <p:spPr>
                <a:xfrm>
                  <a:off x="2833721" y="1843595"/>
                  <a:ext cx="47559" cy="47555"/>
                </a:xfrm>
                <a:custGeom>
                  <a:avLst/>
                  <a:gdLst>
                    <a:gd name="connsiteX0" fmla="*/ 23776 w 47559"/>
                    <a:gd name="connsiteY0" fmla="*/ 47556 h 47555"/>
                    <a:gd name="connsiteX1" fmla="*/ 0 w 47559"/>
                    <a:gd name="connsiteY1" fmla="*/ 23780 h 47555"/>
                    <a:gd name="connsiteX2" fmla="*/ 23776 w 47559"/>
                    <a:gd name="connsiteY2" fmla="*/ 0 h 47555"/>
                    <a:gd name="connsiteX3" fmla="*/ 47560 w 47559"/>
                    <a:gd name="connsiteY3" fmla="*/ 23780 h 47555"/>
                    <a:gd name="connsiteX4" fmla="*/ 23776 w 47559"/>
                    <a:gd name="connsiteY4" fmla="*/ 47556 h 47555"/>
                    <a:gd name="connsiteX5" fmla="*/ 23776 w 47559"/>
                    <a:gd name="connsiteY5" fmla="*/ 13073 h 47555"/>
                    <a:gd name="connsiteX6" fmla="*/ 13074 w 47559"/>
                    <a:gd name="connsiteY6" fmla="*/ 23780 h 47555"/>
                    <a:gd name="connsiteX7" fmla="*/ 23776 w 47559"/>
                    <a:gd name="connsiteY7" fmla="*/ 34482 h 47555"/>
                    <a:gd name="connsiteX8" fmla="*/ 34486 w 47559"/>
                    <a:gd name="connsiteY8" fmla="*/ 23780 h 47555"/>
                    <a:gd name="connsiteX9" fmla="*/ 23776 w 47559"/>
                    <a:gd name="connsiteY9" fmla="*/ 13073 h 47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559" h="47555">
                      <a:moveTo>
                        <a:pt x="23776" y="47556"/>
                      </a:moveTo>
                      <a:cubicBezTo>
                        <a:pt x="10665" y="47556"/>
                        <a:pt x="0" y="36891"/>
                        <a:pt x="0" y="23780"/>
                      </a:cubicBezTo>
                      <a:cubicBezTo>
                        <a:pt x="0" y="10669"/>
                        <a:pt x="10665" y="0"/>
                        <a:pt x="23776" y="0"/>
                      </a:cubicBezTo>
                      <a:cubicBezTo>
                        <a:pt x="36891" y="0"/>
                        <a:pt x="47560" y="10669"/>
                        <a:pt x="47560" y="23780"/>
                      </a:cubicBezTo>
                      <a:cubicBezTo>
                        <a:pt x="47560" y="36891"/>
                        <a:pt x="36895" y="47556"/>
                        <a:pt x="23776" y="47556"/>
                      </a:cubicBezTo>
                      <a:close/>
                      <a:moveTo>
                        <a:pt x="23776" y="13073"/>
                      </a:moveTo>
                      <a:cubicBezTo>
                        <a:pt x="17872" y="13073"/>
                        <a:pt x="13074" y="17875"/>
                        <a:pt x="13074" y="23780"/>
                      </a:cubicBezTo>
                      <a:cubicBezTo>
                        <a:pt x="13074" y="29680"/>
                        <a:pt x="17872" y="34482"/>
                        <a:pt x="23776" y="34482"/>
                      </a:cubicBezTo>
                      <a:cubicBezTo>
                        <a:pt x="29680" y="34482"/>
                        <a:pt x="34486" y="29680"/>
                        <a:pt x="34486" y="23780"/>
                      </a:cubicBezTo>
                      <a:cubicBezTo>
                        <a:pt x="34486" y="17875"/>
                        <a:pt x="29680" y="13073"/>
                        <a:pt x="23776" y="13073"/>
                      </a:cubicBezTo>
                      <a:close/>
                    </a:path>
                  </a:pathLst>
                </a:custGeom>
                <a:grpFill/>
                <a:ln w="377" cap="flat">
                  <a:noFill/>
                  <a:prstDash val="solid"/>
                  <a:miter/>
                </a:ln>
              </p:spPr>
              <p:txBody>
                <a:bodyPr rtlCol="0" anchor="ctr"/>
                <a:lstStyle/>
                <a:p>
                  <a:endParaRPr lang="en-GB" dirty="0"/>
                </a:p>
              </p:txBody>
            </p:sp>
            <p:sp>
              <p:nvSpPr>
                <p:cNvPr id="147" name="Freihandform: Form 930">
                  <a:extLst>
                    <a:ext uri="{FF2B5EF4-FFF2-40B4-BE49-F238E27FC236}">
                      <a16:creationId xmlns:a16="http://schemas.microsoft.com/office/drawing/2014/main" id="{052B4535-CE73-4AA5-8AD5-0C9630E40CC5}"/>
                    </a:ext>
                  </a:extLst>
                </p:cNvPr>
                <p:cNvSpPr/>
                <p:nvPr/>
              </p:nvSpPr>
              <p:spPr>
                <a:xfrm>
                  <a:off x="2743208" y="1848390"/>
                  <a:ext cx="106457" cy="65514"/>
                </a:xfrm>
                <a:custGeom>
                  <a:avLst/>
                  <a:gdLst>
                    <a:gd name="connsiteX0" fmla="*/ 49640 w 106457"/>
                    <a:gd name="connsiteY0" fmla="*/ 65514 h 65514"/>
                    <a:gd name="connsiteX1" fmla="*/ 102 w 106457"/>
                    <a:gd name="connsiteY1" fmla="*/ 7679 h 65514"/>
                    <a:gd name="connsiteX2" fmla="*/ 5387 w 106457"/>
                    <a:gd name="connsiteY2" fmla="*/ 102 h 65514"/>
                    <a:gd name="connsiteX3" fmla="*/ 12971 w 106457"/>
                    <a:gd name="connsiteY3" fmla="*/ 5380 h 65514"/>
                    <a:gd name="connsiteX4" fmla="*/ 49640 w 106457"/>
                    <a:gd name="connsiteY4" fmla="*/ 52441 h 65514"/>
                    <a:gd name="connsiteX5" fmla="*/ 94228 w 106457"/>
                    <a:gd name="connsiteY5" fmla="*/ 26305 h 65514"/>
                    <a:gd name="connsiteX6" fmla="*/ 103134 w 106457"/>
                    <a:gd name="connsiteY6" fmla="*/ 23840 h 65514"/>
                    <a:gd name="connsiteX7" fmla="*/ 105621 w 106457"/>
                    <a:gd name="connsiteY7" fmla="*/ 32719 h 65514"/>
                    <a:gd name="connsiteX8" fmla="*/ 49640 w 106457"/>
                    <a:gd name="connsiteY8" fmla="*/ 65514 h 65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457" h="65514">
                      <a:moveTo>
                        <a:pt x="49640" y="65514"/>
                      </a:moveTo>
                      <a:cubicBezTo>
                        <a:pt x="10846" y="65514"/>
                        <a:pt x="525" y="10042"/>
                        <a:pt x="102" y="7679"/>
                      </a:cubicBezTo>
                      <a:cubicBezTo>
                        <a:pt x="-529" y="4126"/>
                        <a:pt x="1831" y="736"/>
                        <a:pt x="5387" y="102"/>
                      </a:cubicBezTo>
                      <a:cubicBezTo>
                        <a:pt x="8917" y="-529"/>
                        <a:pt x="12333" y="1831"/>
                        <a:pt x="12971" y="5380"/>
                      </a:cubicBezTo>
                      <a:cubicBezTo>
                        <a:pt x="13054" y="5848"/>
                        <a:pt x="21771" y="52441"/>
                        <a:pt x="49640" y="52441"/>
                      </a:cubicBezTo>
                      <a:cubicBezTo>
                        <a:pt x="79018" y="52441"/>
                        <a:pt x="93624" y="27374"/>
                        <a:pt x="94228" y="26305"/>
                      </a:cubicBezTo>
                      <a:cubicBezTo>
                        <a:pt x="96014" y="23172"/>
                        <a:pt x="100004" y="22062"/>
                        <a:pt x="103134" y="23840"/>
                      </a:cubicBezTo>
                      <a:cubicBezTo>
                        <a:pt x="106267" y="25611"/>
                        <a:pt x="107384" y="29575"/>
                        <a:pt x="105621" y="32719"/>
                      </a:cubicBezTo>
                      <a:cubicBezTo>
                        <a:pt x="104870" y="34056"/>
                        <a:pt x="86806" y="65514"/>
                        <a:pt x="49640" y="65514"/>
                      </a:cubicBezTo>
                      <a:close/>
                    </a:path>
                  </a:pathLst>
                </a:custGeom>
                <a:grpFill/>
                <a:ln w="377" cap="flat">
                  <a:noFill/>
                  <a:prstDash val="solid"/>
                  <a:miter/>
                </a:ln>
              </p:spPr>
              <p:txBody>
                <a:bodyPr rtlCol="0" anchor="ctr"/>
                <a:lstStyle/>
                <a:p>
                  <a:endParaRPr lang="en-GB" dirty="0"/>
                </a:p>
              </p:txBody>
            </p:sp>
          </p:grpSp>
          <p:sp>
            <p:nvSpPr>
              <p:cNvPr id="144" name="Freihandform: Form 927">
                <a:extLst>
                  <a:ext uri="{FF2B5EF4-FFF2-40B4-BE49-F238E27FC236}">
                    <a16:creationId xmlns:a16="http://schemas.microsoft.com/office/drawing/2014/main" id="{8BCE2491-3422-47F1-B90F-E4FD37A79876}"/>
                  </a:ext>
                </a:extLst>
              </p:cNvPr>
              <p:cNvSpPr/>
              <p:nvPr/>
            </p:nvSpPr>
            <p:spPr>
              <a:xfrm>
                <a:off x="2666715" y="1848390"/>
                <a:ext cx="147914" cy="31801"/>
              </a:xfrm>
              <a:custGeom>
                <a:avLst/>
                <a:gdLst>
                  <a:gd name="connsiteX0" fmla="*/ 6543 w 147914"/>
                  <a:gd name="connsiteY0" fmla="*/ 31802 h 31801"/>
                  <a:gd name="connsiteX1" fmla="*/ 933 w 147914"/>
                  <a:gd name="connsiteY1" fmla="*/ 28627 h 31801"/>
                  <a:gd name="connsiteX2" fmla="*/ 3172 w 147914"/>
                  <a:gd name="connsiteY2" fmla="*/ 19661 h 31801"/>
                  <a:gd name="connsiteX3" fmla="*/ 74406 w 147914"/>
                  <a:gd name="connsiteY3" fmla="*/ 0 h 31801"/>
                  <a:gd name="connsiteX4" fmla="*/ 144699 w 147914"/>
                  <a:gd name="connsiteY4" fmla="*/ 19102 h 31801"/>
                  <a:gd name="connsiteX5" fmla="*/ 147009 w 147914"/>
                  <a:gd name="connsiteY5" fmla="*/ 28049 h 31801"/>
                  <a:gd name="connsiteX6" fmla="*/ 138062 w 147914"/>
                  <a:gd name="connsiteY6" fmla="*/ 30367 h 31801"/>
                  <a:gd name="connsiteX7" fmla="*/ 74406 w 147914"/>
                  <a:gd name="connsiteY7" fmla="*/ 13073 h 31801"/>
                  <a:gd name="connsiteX8" fmla="*/ 9899 w 147914"/>
                  <a:gd name="connsiteY8" fmla="*/ 30873 h 31801"/>
                  <a:gd name="connsiteX9" fmla="*/ 6543 w 147914"/>
                  <a:gd name="connsiteY9" fmla="*/ 31802 h 3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914" h="31801">
                    <a:moveTo>
                      <a:pt x="6543" y="31802"/>
                    </a:moveTo>
                    <a:cubicBezTo>
                      <a:pt x="4323" y="31802"/>
                      <a:pt x="2156" y="30669"/>
                      <a:pt x="933" y="28627"/>
                    </a:cubicBezTo>
                    <a:cubicBezTo>
                      <a:pt x="-924" y="25531"/>
                      <a:pt x="76" y="21518"/>
                      <a:pt x="3172" y="19661"/>
                    </a:cubicBezTo>
                    <a:cubicBezTo>
                      <a:pt x="24626" y="6795"/>
                      <a:pt x="49255" y="0"/>
                      <a:pt x="74406" y="0"/>
                    </a:cubicBezTo>
                    <a:cubicBezTo>
                      <a:pt x="99163" y="0"/>
                      <a:pt x="123471" y="6607"/>
                      <a:pt x="144699" y="19102"/>
                    </a:cubicBezTo>
                    <a:cubicBezTo>
                      <a:pt x="147806" y="20933"/>
                      <a:pt x="148840" y="24939"/>
                      <a:pt x="147009" y="28049"/>
                    </a:cubicBezTo>
                    <a:cubicBezTo>
                      <a:pt x="145182" y="31160"/>
                      <a:pt x="141177" y="32195"/>
                      <a:pt x="138062" y="30367"/>
                    </a:cubicBezTo>
                    <a:cubicBezTo>
                      <a:pt x="118851" y="19053"/>
                      <a:pt x="96838" y="13073"/>
                      <a:pt x="74406" y="13073"/>
                    </a:cubicBezTo>
                    <a:cubicBezTo>
                      <a:pt x="51626" y="13073"/>
                      <a:pt x="29319" y="19231"/>
                      <a:pt x="9899" y="30873"/>
                    </a:cubicBezTo>
                    <a:cubicBezTo>
                      <a:pt x="8846" y="31500"/>
                      <a:pt x="7687" y="31802"/>
                      <a:pt x="6543" y="31802"/>
                    </a:cubicBezTo>
                    <a:close/>
                  </a:path>
                </a:pathLst>
              </a:custGeom>
              <a:grpFill/>
              <a:ln w="377" cap="flat">
                <a:noFill/>
                <a:prstDash val="solid"/>
                <a:miter/>
              </a:ln>
            </p:spPr>
            <p:txBody>
              <a:bodyPr rtlCol="0" anchor="ctr"/>
              <a:lstStyle/>
              <a:p>
                <a:endParaRPr lang="en-GB" dirty="0"/>
              </a:p>
            </p:txBody>
          </p:sp>
        </p:grpSp>
        <p:grpSp>
          <p:nvGrpSpPr>
            <p:cNvPr id="128" name="Gruppieren 911">
              <a:extLst>
                <a:ext uri="{FF2B5EF4-FFF2-40B4-BE49-F238E27FC236}">
                  <a16:creationId xmlns:a16="http://schemas.microsoft.com/office/drawing/2014/main" id="{C6A0B980-72D6-482F-93D3-B882B42C1304}"/>
                </a:ext>
              </a:extLst>
            </p:cNvPr>
            <p:cNvGrpSpPr/>
            <p:nvPr/>
          </p:nvGrpSpPr>
          <p:grpSpPr>
            <a:xfrm>
              <a:off x="524050" y="2443994"/>
              <a:ext cx="540000" cy="327064"/>
              <a:chOff x="2495281" y="1744732"/>
              <a:chExt cx="485661" cy="294152"/>
            </a:xfrm>
          </p:grpSpPr>
          <p:grpSp>
            <p:nvGrpSpPr>
              <p:cNvPr id="129" name="Graphic 4">
                <a:extLst>
                  <a:ext uri="{FF2B5EF4-FFF2-40B4-BE49-F238E27FC236}">
                    <a16:creationId xmlns:a16="http://schemas.microsoft.com/office/drawing/2014/main" id="{484AAB87-CA07-46EE-908D-D4D5396A56D3}"/>
                  </a:ext>
                </a:extLst>
              </p:cNvPr>
              <p:cNvGrpSpPr/>
              <p:nvPr/>
            </p:nvGrpSpPr>
            <p:grpSpPr>
              <a:xfrm>
                <a:off x="2867837" y="1744734"/>
                <a:ext cx="113105" cy="294150"/>
                <a:chOff x="2867837" y="1744734"/>
                <a:chExt cx="113105" cy="294150"/>
              </a:xfrm>
              <a:solidFill>
                <a:schemeClr val="accent1"/>
              </a:solidFill>
            </p:grpSpPr>
            <p:sp>
              <p:nvSpPr>
                <p:cNvPr id="135" name="Freihandform: Form 918">
                  <a:extLst>
                    <a:ext uri="{FF2B5EF4-FFF2-40B4-BE49-F238E27FC236}">
                      <a16:creationId xmlns:a16="http://schemas.microsoft.com/office/drawing/2014/main" id="{1D14F756-1C24-4B7C-BE86-8DB292BD3DAB}"/>
                    </a:ext>
                  </a:extLst>
                </p:cNvPr>
                <p:cNvSpPr/>
                <p:nvPr/>
              </p:nvSpPr>
              <p:spPr>
                <a:xfrm>
                  <a:off x="2867837" y="1981663"/>
                  <a:ext cx="74437" cy="57221"/>
                </a:xfrm>
                <a:custGeom>
                  <a:avLst/>
                  <a:gdLst>
                    <a:gd name="connsiteX0" fmla="*/ 29745 w 74437"/>
                    <a:gd name="connsiteY0" fmla="*/ 57221 h 57221"/>
                    <a:gd name="connsiteX1" fmla="*/ 3308 w 74437"/>
                    <a:gd name="connsiteY1" fmla="*/ 49245 h 57221"/>
                    <a:gd name="connsiteX2" fmla="*/ 20 w 74437"/>
                    <a:gd name="connsiteY2" fmla="*/ 43050 h 57221"/>
                    <a:gd name="connsiteX3" fmla="*/ 19009 w 74437"/>
                    <a:gd name="connsiteY3" fmla="*/ 6287 h 57221"/>
                    <a:gd name="connsiteX4" fmla="*/ 70283 w 74437"/>
                    <a:gd name="connsiteY4" fmla="*/ 4935 h 57221"/>
                    <a:gd name="connsiteX5" fmla="*/ 74277 w 74437"/>
                    <a:gd name="connsiteY5" fmla="*/ 12463 h 57221"/>
                    <a:gd name="connsiteX6" fmla="*/ 44393 w 74437"/>
                    <a:gd name="connsiteY6" fmla="*/ 54148 h 57221"/>
                    <a:gd name="connsiteX7" fmla="*/ 29745 w 74437"/>
                    <a:gd name="connsiteY7" fmla="*/ 57221 h 57221"/>
                    <a:gd name="connsiteX8" fmla="*/ 13520 w 74437"/>
                    <a:gd name="connsiteY8" fmla="*/ 39859 h 57221"/>
                    <a:gd name="connsiteX9" fmla="*/ 39115 w 74437"/>
                    <a:gd name="connsiteY9" fmla="*/ 42189 h 57221"/>
                    <a:gd name="connsiteX10" fmla="*/ 59807 w 74437"/>
                    <a:gd name="connsiteY10" fmla="*/ 15344 h 57221"/>
                    <a:gd name="connsiteX11" fmla="*/ 25913 w 74437"/>
                    <a:gd name="connsiteY11" fmla="*/ 17390 h 57221"/>
                    <a:gd name="connsiteX12" fmla="*/ 13520 w 74437"/>
                    <a:gd name="connsiteY12" fmla="*/ 39859 h 5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437" h="57221">
                      <a:moveTo>
                        <a:pt x="29745" y="57221"/>
                      </a:moveTo>
                      <a:cubicBezTo>
                        <a:pt x="21493" y="57221"/>
                        <a:pt x="12651" y="54560"/>
                        <a:pt x="3308" y="49245"/>
                      </a:cubicBezTo>
                      <a:cubicBezTo>
                        <a:pt x="1107" y="47995"/>
                        <a:pt x="-177" y="45579"/>
                        <a:pt x="20" y="43050"/>
                      </a:cubicBezTo>
                      <a:cubicBezTo>
                        <a:pt x="1386" y="25695"/>
                        <a:pt x="7774" y="13328"/>
                        <a:pt x="19009" y="6287"/>
                      </a:cubicBezTo>
                      <a:cubicBezTo>
                        <a:pt x="39817" y="-6749"/>
                        <a:pt x="69048" y="4452"/>
                        <a:pt x="70283" y="4935"/>
                      </a:cubicBezTo>
                      <a:cubicBezTo>
                        <a:pt x="73295" y="6113"/>
                        <a:pt x="74987" y="9311"/>
                        <a:pt x="74277" y="12463"/>
                      </a:cubicBezTo>
                      <a:cubicBezTo>
                        <a:pt x="73983" y="13754"/>
                        <a:pt x="66855" y="44235"/>
                        <a:pt x="44393" y="54148"/>
                      </a:cubicBezTo>
                      <a:cubicBezTo>
                        <a:pt x="39753" y="56202"/>
                        <a:pt x="34864" y="57221"/>
                        <a:pt x="29745" y="57221"/>
                      </a:cubicBezTo>
                      <a:close/>
                      <a:moveTo>
                        <a:pt x="13520" y="39859"/>
                      </a:moveTo>
                      <a:cubicBezTo>
                        <a:pt x="23297" y="44597"/>
                        <a:pt x="31890" y="45383"/>
                        <a:pt x="39115" y="42189"/>
                      </a:cubicBezTo>
                      <a:cubicBezTo>
                        <a:pt x="49973" y="37402"/>
                        <a:pt x="56692" y="24140"/>
                        <a:pt x="59807" y="15344"/>
                      </a:cubicBezTo>
                      <a:cubicBezTo>
                        <a:pt x="51675" y="13214"/>
                        <a:pt x="36586" y="10678"/>
                        <a:pt x="25913" y="17390"/>
                      </a:cubicBezTo>
                      <a:cubicBezTo>
                        <a:pt x="19246" y="21584"/>
                        <a:pt x="15083" y="29134"/>
                        <a:pt x="13520" y="39859"/>
                      </a:cubicBezTo>
                      <a:close/>
                    </a:path>
                  </a:pathLst>
                </a:custGeom>
                <a:solidFill>
                  <a:schemeClr val="accent1"/>
                </a:solidFill>
                <a:ln w="377" cap="flat">
                  <a:noFill/>
                  <a:prstDash val="solid"/>
                  <a:miter/>
                </a:ln>
              </p:spPr>
              <p:txBody>
                <a:bodyPr rtlCol="0" anchor="ctr"/>
                <a:lstStyle/>
                <a:p>
                  <a:endParaRPr lang="en-GB" dirty="0"/>
                </a:p>
              </p:txBody>
            </p:sp>
            <p:sp>
              <p:nvSpPr>
                <p:cNvPr id="136" name="Freihandform: Form 919">
                  <a:extLst>
                    <a:ext uri="{FF2B5EF4-FFF2-40B4-BE49-F238E27FC236}">
                      <a16:creationId xmlns:a16="http://schemas.microsoft.com/office/drawing/2014/main" id="{7E7A7351-E694-45DC-9513-C3745EDF69A8}"/>
                    </a:ext>
                  </a:extLst>
                </p:cNvPr>
                <p:cNvSpPr/>
                <p:nvPr/>
              </p:nvSpPr>
              <p:spPr>
                <a:xfrm>
                  <a:off x="2917391" y="1901384"/>
                  <a:ext cx="63551" cy="64156"/>
                </a:xfrm>
                <a:custGeom>
                  <a:avLst/>
                  <a:gdLst>
                    <a:gd name="connsiteX0" fmla="*/ 20880 w 63551"/>
                    <a:gd name="connsiteY0" fmla="*/ 64156 h 64156"/>
                    <a:gd name="connsiteX1" fmla="*/ 6862 w 63551"/>
                    <a:gd name="connsiteY1" fmla="*/ 62574 h 64156"/>
                    <a:gd name="connsiteX2" fmla="*/ 1857 w 63551"/>
                    <a:gd name="connsiteY2" fmla="*/ 57663 h 64156"/>
                    <a:gd name="connsiteX3" fmla="*/ 8841 w 63551"/>
                    <a:gd name="connsiteY3" fmla="*/ 16880 h 64156"/>
                    <a:gd name="connsiteX4" fmla="*/ 57306 w 63551"/>
                    <a:gd name="connsiteY4" fmla="*/ 84 h 64156"/>
                    <a:gd name="connsiteX5" fmla="*/ 63388 w 63551"/>
                    <a:gd name="connsiteY5" fmla="*/ 6056 h 64156"/>
                    <a:gd name="connsiteX6" fmla="*/ 47506 w 63551"/>
                    <a:gd name="connsiteY6" fmla="*/ 54824 h 64156"/>
                    <a:gd name="connsiteX7" fmla="*/ 20880 w 63551"/>
                    <a:gd name="connsiteY7" fmla="*/ 64156 h 64156"/>
                    <a:gd name="connsiteX8" fmla="*/ 13764 w 63551"/>
                    <a:gd name="connsiteY8" fmla="*/ 50539 h 64156"/>
                    <a:gd name="connsiteX9" fmla="*/ 38834 w 63551"/>
                    <a:gd name="connsiteY9" fmla="*/ 45046 h 64156"/>
                    <a:gd name="connsiteX10" fmla="*/ 50432 w 63551"/>
                    <a:gd name="connsiteY10" fmla="*/ 13172 h 64156"/>
                    <a:gd name="connsiteX11" fmla="*/ 18784 w 63551"/>
                    <a:gd name="connsiteY11" fmla="*/ 25370 h 64156"/>
                    <a:gd name="connsiteX12" fmla="*/ 13764 w 63551"/>
                    <a:gd name="connsiteY12" fmla="*/ 50539 h 64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551" h="64156">
                      <a:moveTo>
                        <a:pt x="20880" y="64156"/>
                      </a:moveTo>
                      <a:cubicBezTo>
                        <a:pt x="16501" y="64156"/>
                        <a:pt x="11823" y="63631"/>
                        <a:pt x="6862" y="62574"/>
                      </a:cubicBezTo>
                      <a:cubicBezTo>
                        <a:pt x="4379" y="62050"/>
                        <a:pt x="2434" y="60132"/>
                        <a:pt x="1857" y="57663"/>
                      </a:cubicBezTo>
                      <a:cubicBezTo>
                        <a:pt x="-2088" y="40709"/>
                        <a:pt x="260" y="26986"/>
                        <a:pt x="8841" y="16880"/>
                      </a:cubicBezTo>
                      <a:cubicBezTo>
                        <a:pt x="24742" y="-1838"/>
                        <a:pt x="55989" y="5"/>
                        <a:pt x="57306" y="84"/>
                      </a:cubicBezTo>
                      <a:cubicBezTo>
                        <a:pt x="60538" y="299"/>
                        <a:pt x="63120" y="2836"/>
                        <a:pt x="63388" y="6056"/>
                      </a:cubicBezTo>
                      <a:cubicBezTo>
                        <a:pt x="63501" y="7378"/>
                        <a:pt x="65921" y="38587"/>
                        <a:pt x="47506" y="54824"/>
                      </a:cubicBezTo>
                      <a:cubicBezTo>
                        <a:pt x="40465" y="61038"/>
                        <a:pt x="31541" y="64156"/>
                        <a:pt x="20880" y="64156"/>
                      </a:cubicBezTo>
                      <a:close/>
                      <a:moveTo>
                        <a:pt x="13764" y="50539"/>
                      </a:moveTo>
                      <a:cubicBezTo>
                        <a:pt x="24455" y="52079"/>
                        <a:pt x="32907" y="50248"/>
                        <a:pt x="38834" y="45046"/>
                      </a:cubicBezTo>
                      <a:cubicBezTo>
                        <a:pt x="48287" y="36737"/>
                        <a:pt x="50164" y="21584"/>
                        <a:pt x="50432" y="13172"/>
                      </a:cubicBezTo>
                      <a:cubicBezTo>
                        <a:pt x="42032" y="13599"/>
                        <a:pt x="26912" y="15762"/>
                        <a:pt x="18784" y="25370"/>
                      </a:cubicBezTo>
                      <a:cubicBezTo>
                        <a:pt x="13696" y="31388"/>
                        <a:pt x="12008" y="39840"/>
                        <a:pt x="13764" y="50539"/>
                      </a:cubicBezTo>
                      <a:close/>
                    </a:path>
                  </a:pathLst>
                </a:custGeom>
                <a:solidFill>
                  <a:schemeClr val="accent1"/>
                </a:solidFill>
                <a:ln w="377" cap="flat">
                  <a:noFill/>
                  <a:prstDash val="solid"/>
                  <a:miter/>
                </a:ln>
              </p:spPr>
              <p:txBody>
                <a:bodyPr rtlCol="0" anchor="ctr"/>
                <a:lstStyle/>
                <a:p>
                  <a:endParaRPr lang="en-GB" dirty="0"/>
                </a:p>
              </p:txBody>
            </p:sp>
            <p:sp>
              <p:nvSpPr>
                <p:cNvPr id="137" name="Freihandform: Form 920">
                  <a:extLst>
                    <a:ext uri="{FF2B5EF4-FFF2-40B4-BE49-F238E27FC236}">
                      <a16:creationId xmlns:a16="http://schemas.microsoft.com/office/drawing/2014/main" id="{1661715F-8EC2-48BB-ACDF-CC95444DD1A4}"/>
                    </a:ext>
                  </a:extLst>
                </p:cNvPr>
                <p:cNvSpPr/>
                <p:nvPr/>
              </p:nvSpPr>
              <p:spPr>
                <a:xfrm>
                  <a:off x="2903213" y="1823336"/>
                  <a:ext cx="60592" cy="67894"/>
                </a:xfrm>
                <a:custGeom>
                  <a:avLst/>
                  <a:gdLst>
                    <a:gd name="connsiteX0" fmla="*/ 16963 w 60592"/>
                    <a:gd name="connsiteY0" fmla="*/ 67895 h 67894"/>
                    <a:gd name="connsiteX1" fmla="*/ 9213 w 60592"/>
                    <a:gd name="connsiteY1" fmla="*/ 67476 h 67894"/>
                    <a:gd name="connsiteX2" fmla="*/ 3716 w 60592"/>
                    <a:gd name="connsiteY2" fmla="*/ 63123 h 67894"/>
                    <a:gd name="connsiteX3" fmla="*/ 6347 w 60592"/>
                    <a:gd name="connsiteY3" fmla="*/ 21826 h 67894"/>
                    <a:gd name="connsiteX4" fmla="*/ 52763 w 60592"/>
                    <a:gd name="connsiteY4" fmla="*/ 2 h 67894"/>
                    <a:gd name="connsiteX5" fmla="*/ 59441 w 60592"/>
                    <a:gd name="connsiteY5" fmla="*/ 5295 h 67894"/>
                    <a:gd name="connsiteX6" fmla="*/ 48807 w 60592"/>
                    <a:gd name="connsiteY6" fmla="*/ 55474 h 67894"/>
                    <a:gd name="connsiteX7" fmla="*/ 16963 w 60592"/>
                    <a:gd name="connsiteY7" fmla="*/ 67895 h 67894"/>
                    <a:gd name="connsiteX8" fmla="*/ 14800 w 60592"/>
                    <a:gd name="connsiteY8" fmla="*/ 54780 h 67894"/>
                    <a:gd name="connsiteX9" fmla="*/ 39142 w 60592"/>
                    <a:gd name="connsiteY9" fmla="*/ 46667 h 67894"/>
                    <a:gd name="connsiteX10" fmla="*/ 47312 w 60592"/>
                    <a:gd name="connsiteY10" fmla="*/ 13744 h 67894"/>
                    <a:gd name="connsiteX11" fmla="*/ 17125 w 60592"/>
                    <a:gd name="connsiteY11" fmla="*/ 29222 h 67894"/>
                    <a:gd name="connsiteX12" fmla="*/ 14800 w 60592"/>
                    <a:gd name="connsiteY12" fmla="*/ 54780 h 67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592" h="67894">
                      <a:moveTo>
                        <a:pt x="16963" y="67895"/>
                      </a:moveTo>
                      <a:cubicBezTo>
                        <a:pt x="14475" y="67895"/>
                        <a:pt x="11889" y="67755"/>
                        <a:pt x="9213" y="67476"/>
                      </a:cubicBezTo>
                      <a:cubicBezTo>
                        <a:pt x="6691" y="67215"/>
                        <a:pt x="4546" y="65516"/>
                        <a:pt x="3716" y="63123"/>
                      </a:cubicBezTo>
                      <a:cubicBezTo>
                        <a:pt x="-2003" y="46678"/>
                        <a:pt x="-1116" y="32786"/>
                        <a:pt x="6347" y="21826"/>
                      </a:cubicBezTo>
                      <a:cubicBezTo>
                        <a:pt x="20172" y="1535"/>
                        <a:pt x="51434" y="51"/>
                        <a:pt x="52763" y="2"/>
                      </a:cubicBezTo>
                      <a:cubicBezTo>
                        <a:pt x="56221" y="-77"/>
                        <a:pt x="58833" y="2124"/>
                        <a:pt x="59441" y="5295"/>
                      </a:cubicBezTo>
                      <a:cubicBezTo>
                        <a:pt x="59698" y="6597"/>
                        <a:pt x="65402" y="37376"/>
                        <a:pt x="48807" y="55474"/>
                      </a:cubicBezTo>
                      <a:cubicBezTo>
                        <a:pt x="41237" y="63731"/>
                        <a:pt x="30546" y="67895"/>
                        <a:pt x="16963" y="67895"/>
                      </a:cubicBezTo>
                      <a:close/>
                      <a:moveTo>
                        <a:pt x="14800" y="54780"/>
                      </a:moveTo>
                      <a:cubicBezTo>
                        <a:pt x="25657" y="55191"/>
                        <a:pt x="33815" y="52465"/>
                        <a:pt x="39142" y="46667"/>
                      </a:cubicBezTo>
                      <a:cubicBezTo>
                        <a:pt x="47663" y="37406"/>
                        <a:pt x="47931" y="22140"/>
                        <a:pt x="47312" y="13744"/>
                      </a:cubicBezTo>
                      <a:cubicBezTo>
                        <a:pt x="39002" y="15057"/>
                        <a:pt x="24200" y="18810"/>
                        <a:pt x="17125" y="29222"/>
                      </a:cubicBezTo>
                      <a:cubicBezTo>
                        <a:pt x="12705" y="35742"/>
                        <a:pt x="11927" y="44326"/>
                        <a:pt x="14800" y="54780"/>
                      </a:cubicBezTo>
                      <a:close/>
                    </a:path>
                  </a:pathLst>
                </a:custGeom>
                <a:solidFill>
                  <a:schemeClr val="accent1"/>
                </a:solidFill>
                <a:ln w="377" cap="flat">
                  <a:noFill/>
                  <a:prstDash val="solid"/>
                  <a:miter/>
                </a:ln>
              </p:spPr>
              <p:txBody>
                <a:bodyPr rtlCol="0" anchor="ctr"/>
                <a:lstStyle/>
                <a:p>
                  <a:endParaRPr lang="en-GB" dirty="0"/>
                </a:p>
              </p:txBody>
            </p:sp>
            <p:sp>
              <p:nvSpPr>
                <p:cNvPr id="138" name="Freihandform: Form 921">
                  <a:extLst>
                    <a:ext uri="{FF2B5EF4-FFF2-40B4-BE49-F238E27FC236}">
                      <a16:creationId xmlns:a16="http://schemas.microsoft.com/office/drawing/2014/main" id="{1921FA42-1ABE-48B6-8DDF-92B1C7091B6F}"/>
                    </a:ext>
                  </a:extLst>
                </p:cNvPr>
                <p:cNvSpPr/>
                <p:nvPr/>
              </p:nvSpPr>
              <p:spPr>
                <a:xfrm>
                  <a:off x="2872130" y="1744734"/>
                  <a:ext cx="55909" cy="77788"/>
                </a:xfrm>
                <a:custGeom>
                  <a:avLst/>
                  <a:gdLst>
                    <a:gd name="connsiteX0" fmla="*/ 16497 w 55909"/>
                    <a:gd name="connsiteY0" fmla="*/ 77788 h 77788"/>
                    <a:gd name="connsiteX1" fmla="*/ 11223 w 55909"/>
                    <a:gd name="connsiteY1" fmla="*/ 75115 h 77788"/>
                    <a:gd name="connsiteX2" fmla="*/ 1612 w 55909"/>
                    <a:gd name="connsiteY2" fmla="*/ 34876 h 77788"/>
                    <a:gd name="connsiteX3" fmla="*/ 39563 w 55909"/>
                    <a:gd name="connsiteY3" fmla="*/ 371 h 77788"/>
                    <a:gd name="connsiteX4" fmla="*/ 47503 w 55909"/>
                    <a:gd name="connsiteY4" fmla="*/ 3467 h 77788"/>
                    <a:gd name="connsiteX5" fmla="*/ 52078 w 55909"/>
                    <a:gd name="connsiteY5" fmla="*/ 54556 h 77788"/>
                    <a:gd name="connsiteX6" fmla="*/ 17758 w 55909"/>
                    <a:gd name="connsiteY6" fmla="*/ 77664 h 77788"/>
                    <a:gd name="connsiteX7" fmla="*/ 16497 w 55909"/>
                    <a:gd name="connsiteY7" fmla="*/ 77788 h 77788"/>
                    <a:gd name="connsiteX8" fmla="*/ 38427 w 55909"/>
                    <a:gd name="connsiteY8" fmla="*/ 15090 h 77788"/>
                    <a:gd name="connsiteX9" fmla="*/ 14085 w 55909"/>
                    <a:gd name="connsiteY9" fmla="*/ 38772 h 77788"/>
                    <a:gd name="connsiteX10" fmla="*/ 19370 w 55909"/>
                    <a:gd name="connsiteY10" fmla="*/ 63884 h 77788"/>
                    <a:gd name="connsiteX11" fmla="*/ 40281 w 55909"/>
                    <a:gd name="connsiteY11" fmla="*/ 48939 h 77788"/>
                    <a:gd name="connsiteX12" fmla="*/ 38427 w 55909"/>
                    <a:gd name="connsiteY12" fmla="*/ 15090 h 7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909" h="77788">
                      <a:moveTo>
                        <a:pt x="16497" y="77788"/>
                      </a:moveTo>
                      <a:cubicBezTo>
                        <a:pt x="14443" y="77788"/>
                        <a:pt x="12469" y="76814"/>
                        <a:pt x="11223" y="75115"/>
                      </a:cubicBezTo>
                      <a:cubicBezTo>
                        <a:pt x="928" y="61079"/>
                        <a:pt x="-2307" y="47542"/>
                        <a:pt x="1612" y="34876"/>
                      </a:cubicBezTo>
                      <a:cubicBezTo>
                        <a:pt x="8864" y="11421"/>
                        <a:pt x="38314" y="813"/>
                        <a:pt x="39563" y="371"/>
                      </a:cubicBezTo>
                      <a:cubicBezTo>
                        <a:pt x="42621" y="-701"/>
                        <a:pt x="45985" y="616"/>
                        <a:pt x="47503" y="3467"/>
                      </a:cubicBezTo>
                      <a:cubicBezTo>
                        <a:pt x="48129" y="4637"/>
                        <a:pt x="62622" y="32381"/>
                        <a:pt x="52078" y="54556"/>
                      </a:cubicBezTo>
                      <a:cubicBezTo>
                        <a:pt x="46385" y="66531"/>
                        <a:pt x="34837" y="74304"/>
                        <a:pt x="17758" y="77664"/>
                      </a:cubicBezTo>
                      <a:cubicBezTo>
                        <a:pt x="17339" y="77747"/>
                        <a:pt x="16916" y="77788"/>
                        <a:pt x="16497" y="77788"/>
                      </a:cubicBezTo>
                      <a:close/>
                      <a:moveTo>
                        <a:pt x="38427" y="15090"/>
                      </a:moveTo>
                      <a:cubicBezTo>
                        <a:pt x="30869" y="18783"/>
                        <a:pt x="17784" y="26722"/>
                        <a:pt x="14085" y="38772"/>
                      </a:cubicBezTo>
                      <a:cubicBezTo>
                        <a:pt x="11774" y="46307"/>
                        <a:pt x="13549" y="54737"/>
                        <a:pt x="19370" y="63884"/>
                      </a:cubicBezTo>
                      <a:cubicBezTo>
                        <a:pt x="29865" y="61087"/>
                        <a:pt x="36883" y="56074"/>
                        <a:pt x="40281" y="48939"/>
                      </a:cubicBezTo>
                      <a:cubicBezTo>
                        <a:pt x="45373" y="38228"/>
                        <a:pt x="41810" y="23788"/>
                        <a:pt x="38427" y="15090"/>
                      </a:cubicBezTo>
                      <a:close/>
                    </a:path>
                  </a:pathLst>
                </a:custGeom>
                <a:solidFill>
                  <a:schemeClr val="accent1"/>
                </a:solidFill>
                <a:ln w="377" cap="flat">
                  <a:noFill/>
                  <a:prstDash val="solid"/>
                  <a:miter/>
                </a:ln>
              </p:spPr>
              <p:txBody>
                <a:bodyPr rtlCol="0" anchor="ctr"/>
                <a:lstStyle/>
                <a:p>
                  <a:endParaRPr lang="en-GB" dirty="0"/>
                </a:p>
              </p:txBody>
            </p:sp>
          </p:grpSp>
          <p:grpSp>
            <p:nvGrpSpPr>
              <p:cNvPr id="130" name="Graphic 4">
                <a:extLst>
                  <a:ext uri="{FF2B5EF4-FFF2-40B4-BE49-F238E27FC236}">
                    <a16:creationId xmlns:a16="http://schemas.microsoft.com/office/drawing/2014/main" id="{F1432BC4-ADAF-4D27-8720-1D4ADA028F98}"/>
                  </a:ext>
                </a:extLst>
              </p:cNvPr>
              <p:cNvGrpSpPr/>
              <p:nvPr/>
            </p:nvGrpSpPr>
            <p:grpSpPr>
              <a:xfrm>
                <a:off x="2495281" y="1744732"/>
                <a:ext cx="113109" cy="294152"/>
                <a:chOff x="2495281" y="1744732"/>
                <a:chExt cx="113109" cy="294152"/>
              </a:xfrm>
              <a:solidFill>
                <a:schemeClr val="accent1"/>
              </a:solidFill>
            </p:grpSpPr>
            <p:sp>
              <p:nvSpPr>
                <p:cNvPr id="131" name="Freihandform: Form 914">
                  <a:extLst>
                    <a:ext uri="{FF2B5EF4-FFF2-40B4-BE49-F238E27FC236}">
                      <a16:creationId xmlns:a16="http://schemas.microsoft.com/office/drawing/2014/main" id="{DD523D20-596C-4A5A-81CD-1183441832A9}"/>
                    </a:ext>
                  </a:extLst>
                </p:cNvPr>
                <p:cNvSpPr/>
                <p:nvPr/>
              </p:nvSpPr>
              <p:spPr>
                <a:xfrm>
                  <a:off x="2533952" y="1981666"/>
                  <a:ext cx="74438" cy="57217"/>
                </a:xfrm>
                <a:custGeom>
                  <a:avLst/>
                  <a:gdLst>
                    <a:gd name="connsiteX0" fmla="*/ 44693 w 74438"/>
                    <a:gd name="connsiteY0" fmla="*/ 57218 h 57217"/>
                    <a:gd name="connsiteX1" fmla="*/ 30045 w 74438"/>
                    <a:gd name="connsiteY1" fmla="*/ 54149 h 57217"/>
                    <a:gd name="connsiteX2" fmla="*/ 161 w 74438"/>
                    <a:gd name="connsiteY2" fmla="*/ 12463 h 57217"/>
                    <a:gd name="connsiteX3" fmla="*/ 4155 w 74438"/>
                    <a:gd name="connsiteY3" fmla="*/ 4935 h 57217"/>
                    <a:gd name="connsiteX4" fmla="*/ 55429 w 74438"/>
                    <a:gd name="connsiteY4" fmla="*/ 6287 h 57217"/>
                    <a:gd name="connsiteX5" fmla="*/ 74418 w 74438"/>
                    <a:gd name="connsiteY5" fmla="*/ 43050 h 57217"/>
                    <a:gd name="connsiteX6" fmla="*/ 71130 w 74438"/>
                    <a:gd name="connsiteY6" fmla="*/ 49245 h 57217"/>
                    <a:gd name="connsiteX7" fmla="*/ 44693 w 74438"/>
                    <a:gd name="connsiteY7" fmla="*/ 57218 h 57217"/>
                    <a:gd name="connsiteX8" fmla="*/ 14658 w 74438"/>
                    <a:gd name="connsiteY8" fmla="*/ 15295 h 57217"/>
                    <a:gd name="connsiteX9" fmla="*/ 35357 w 74438"/>
                    <a:gd name="connsiteY9" fmla="*/ 42204 h 57217"/>
                    <a:gd name="connsiteX10" fmla="*/ 60918 w 74438"/>
                    <a:gd name="connsiteY10" fmla="*/ 39859 h 57217"/>
                    <a:gd name="connsiteX11" fmla="*/ 48491 w 74438"/>
                    <a:gd name="connsiteY11" fmla="*/ 17367 h 57217"/>
                    <a:gd name="connsiteX12" fmla="*/ 14658 w 74438"/>
                    <a:gd name="connsiteY12" fmla="*/ 15295 h 57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438" h="57217">
                      <a:moveTo>
                        <a:pt x="44693" y="57218"/>
                      </a:moveTo>
                      <a:cubicBezTo>
                        <a:pt x="39574" y="57218"/>
                        <a:pt x="34685" y="56195"/>
                        <a:pt x="30045" y="54149"/>
                      </a:cubicBezTo>
                      <a:cubicBezTo>
                        <a:pt x="7583" y="44235"/>
                        <a:pt x="456" y="13754"/>
                        <a:pt x="161" y="12463"/>
                      </a:cubicBezTo>
                      <a:cubicBezTo>
                        <a:pt x="-549" y="9311"/>
                        <a:pt x="1143" y="6113"/>
                        <a:pt x="4155" y="4935"/>
                      </a:cubicBezTo>
                      <a:cubicBezTo>
                        <a:pt x="5394" y="4452"/>
                        <a:pt x="34613" y="-6749"/>
                        <a:pt x="55429" y="6287"/>
                      </a:cubicBezTo>
                      <a:cubicBezTo>
                        <a:pt x="66664" y="13328"/>
                        <a:pt x="73052" y="25695"/>
                        <a:pt x="74418" y="43050"/>
                      </a:cubicBezTo>
                      <a:cubicBezTo>
                        <a:pt x="74615" y="45579"/>
                        <a:pt x="73335" y="47991"/>
                        <a:pt x="71130" y="49245"/>
                      </a:cubicBezTo>
                      <a:cubicBezTo>
                        <a:pt x="61794" y="54556"/>
                        <a:pt x="52945" y="57218"/>
                        <a:pt x="44693" y="57218"/>
                      </a:cubicBezTo>
                      <a:close/>
                      <a:moveTo>
                        <a:pt x="14658" y="15295"/>
                      </a:moveTo>
                      <a:cubicBezTo>
                        <a:pt x="17447" y="23222"/>
                        <a:pt x="23824" y="37138"/>
                        <a:pt x="35357" y="42204"/>
                      </a:cubicBezTo>
                      <a:cubicBezTo>
                        <a:pt x="42564" y="45371"/>
                        <a:pt x="51148" y="44590"/>
                        <a:pt x="60918" y="39859"/>
                      </a:cubicBezTo>
                      <a:cubicBezTo>
                        <a:pt x="59348" y="29115"/>
                        <a:pt x="55180" y="21561"/>
                        <a:pt x="48491" y="17367"/>
                      </a:cubicBezTo>
                      <a:cubicBezTo>
                        <a:pt x="38437" y="11070"/>
                        <a:pt x="23688" y="12943"/>
                        <a:pt x="14658" y="15295"/>
                      </a:cubicBezTo>
                      <a:close/>
                    </a:path>
                  </a:pathLst>
                </a:custGeom>
                <a:solidFill>
                  <a:schemeClr val="accent1"/>
                </a:solidFill>
                <a:ln w="377" cap="flat">
                  <a:noFill/>
                  <a:prstDash val="solid"/>
                  <a:miter/>
                </a:ln>
              </p:spPr>
              <p:txBody>
                <a:bodyPr rtlCol="0" anchor="ctr"/>
                <a:lstStyle/>
                <a:p>
                  <a:endParaRPr lang="en-GB" dirty="0"/>
                </a:p>
              </p:txBody>
            </p:sp>
            <p:sp>
              <p:nvSpPr>
                <p:cNvPr id="132" name="Freihandform: Form 915">
                  <a:extLst>
                    <a:ext uri="{FF2B5EF4-FFF2-40B4-BE49-F238E27FC236}">
                      <a16:creationId xmlns:a16="http://schemas.microsoft.com/office/drawing/2014/main" id="{A678A9EB-CE03-4ED1-AC19-5DEE7687FDCF}"/>
                    </a:ext>
                  </a:extLst>
                </p:cNvPr>
                <p:cNvSpPr/>
                <p:nvPr/>
              </p:nvSpPr>
              <p:spPr>
                <a:xfrm>
                  <a:off x="2495281" y="1901383"/>
                  <a:ext cx="63550" cy="64157"/>
                </a:xfrm>
                <a:custGeom>
                  <a:avLst/>
                  <a:gdLst>
                    <a:gd name="connsiteX0" fmla="*/ 42675 w 63550"/>
                    <a:gd name="connsiteY0" fmla="*/ 64157 h 64157"/>
                    <a:gd name="connsiteX1" fmla="*/ 16045 w 63550"/>
                    <a:gd name="connsiteY1" fmla="*/ 54821 h 64157"/>
                    <a:gd name="connsiteX2" fmla="*/ 163 w 63550"/>
                    <a:gd name="connsiteY2" fmla="*/ 6054 h 64157"/>
                    <a:gd name="connsiteX3" fmla="*/ 6245 w 63550"/>
                    <a:gd name="connsiteY3" fmla="*/ 82 h 64157"/>
                    <a:gd name="connsiteX4" fmla="*/ 54711 w 63550"/>
                    <a:gd name="connsiteY4" fmla="*/ 16877 h 64157"/>
                    <a:gd name="connsiteX5" fmla="*/ 61695 w 63550"/>
                    <a:gd name="connsiteY5" fmla="*/ 57660 h 64157"/>
                    <a:gd name="connsiteX6" fmla="*/ 56689 w 63550"/>
                    <a:gd name="connsiteY6" fmla="*/ 62572 h 64157"/>
                    <a:gd name="connsiteX7" fmla="*/ 42675 w 63550"/>
                    <a:gd name="connsiteY7" fmla="*/ 64157 h 64157"/>
                    <a:gd name="connsiteX8" fmla="*/ 55330 w 63550"/>
                    <a:gd name="connsiteY8" fmla="*/ 56180 h 64157"/>
                    <a:gd name="connsiteX9" fmla="*/ 55394 w 63550"/>
                    <a:gd name="connsiteY9" fmla="*/ 56180 h 64157"/>
                    <a:gd name="connsiteX10" fmla="*/ 55330 w 63550"/>
                    <a:gd name="connsiteY10" fmla="*/ 56180 h 64157"/>
                    <a:gd name="connsiteX11" fmla="*/ 13123 w 63550"/>
                    <a:gd name="connsiteY11" fmla="*/ 13174 h 64157"/>
                    <a:gd name="connsiteX12" fmla="*/ 24721 w 63550"/>
                    <a:gd name="connsiteY12" fmla="*/ 45048 h 64157"/>
                    <a:gd name="connsiteX13" fmla="*/ 49792 w 63550"/>
                    <a:gd name="connsiteY13" fmla="*/ 50540 h 64157"/>
                    <a:gd name="connsiteX14" fmla="*/ 44767 w 63550"/>
                    <a:gd name="connsiteY14" fmla="*/ 25371 h 64157"/>
                    <a:gd name="connsiteX15" fmla="*/ 13123 w 63550"/>
                    <a:gd name="connsiteY15" fmla="*/ 13174 h 6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550" h="64157">
                      <a:moveTo>
                        <a:pt x="42675" y="64157"/>
                      </a:moveTo>
                      <a:cubicBezTo>
                        <a:pt x="32018" y="64157"/>
                        <a:pt x="23094" y="61039"/>
                        <a:pt x="16045" y="54821"/>
                      </a:cubicBezTo>
                      <a:cubicBezTo>
                        <a:pt x="-2370" y="38584"/>
                        <a:pt x="50" y="7375"/>
                        <a:pt x="163" y="6054"/>
                      </a:cubicBezTo>
                      <a:cubicBezTo>
                        <a:pt x="431" y="2834"/>
                        <a:pt x="3017" y="297"/>
                        <a:pt x="6245" y="82"/>
                      </a:cubicBezTo>
                      <a:cubicBezTo>
                        <a:pt x="7559" y="10"/>
                        <a:pt x="38809" y="-1844"/>
                        <a:pt x="54711" y="16877"/>
                      </a:cubicBezTo>
                      <a:cubicBezTo>
                        <a:pt x="63288" y="26983"/>
                        <a:pt x="65640" y="40706"/>
                        <a:pt x="61695" y="57660"/>
                      </a:cubicBezTo>
                      <a:cubicBezTo>
                        <a:pt x="61121" y="60129"/>
                        <a:pt x="59173" y="62047"/>
                        <a:pt x="56689" y="62572"/>
                      </a:cubicBezTo>
                      <a:cubicBezTo>
                        <a:pt x="51732" y="63633"/>
                        <a:pt x="47055" y="64157"/>
                        <a:pt x="42675" y="64157"/>
                      </a:cubicBezTo>
                      <a:close/>
                      <a:moveTo>
                        <a:pt x="55330" y="56180"/>
                      </a:moveTo>
                      <a:lnTo>
                        <a:pt x="55394" y="56180"/>
                      </a:lnTo>
                      <a:lnTo>
                        <a:pt x="55330" y="56180"/>
                      </a:lnTo>
                      <a:close/>
                      <a:moveTo>
                        <a:pt x="13123" y="13174"/>
                      </a:moveTo>
                      <a:cubicBezTo>
                        <a:pt x="13391" y="21585"/>
                        <a:pt x="15268" y="36735"/>
                        <a:pt x="24721" y="45048"/>
                      </a:cubicBezTo>
                      <a:cubicBezTo>
                        <a:pt x="30651" y="50253"/>
                        <a:pt x="39097" y="52084"/>
                        <a:pt x="49792" y="50540"/>
                      </a:cubicBezTo>
                      <a:cubicBezTo>
                        <a:pt x="51547" y="39842"/>
                        <a:pt x="49863" y="31389"/>
                        <a:pt x="44767" y="25371"/>
                      </a:cubicBezTo>
                      <a:cubicBezTo>
                        <a:pt x="36643" y="15767"/>
                        <a:pt x="21523" y="13604"/>
                        <a:pt x="13123" y="13174"/>
                      </a:cubicBezTo>
                      <a:close/>
                    </a:path>
                  </a:pathLst>
                </a:custGeom>
                <a:solidFill>
                  <a:schemeClr val="accent1"/>
                </a:solidFill>
                <a:ln w="377" cap="flat">
                  <a:noFill/>
                  <a:prstDash val="solid"/>
                  <a:miter/>
                </a:ln>
              </p:spPr>
              <p:txBody>
                <a:bodyPr rtlCol="0" anchor="ctr"/>
                <a:lstStyle/>
                <a:p>
                  <a:endParaRPr lang="en-GB" dirty="0"/>
                </a:p>
              </p:txBody>
            </p:sp>
            <p:sp>
              <p:nvSpPr>
                <p:cNvPr id="133" name="Freihandform: Form 916">
                  <a:extLst>
                    <a:ext uri="{FF2B5EF4-FFF2-40B4-BE49-F238E27FC236}">
                      <a16:creationId xmlns:a16="http://schemas.microsoft.com/office/drawing/2014/main" id="{241549A4-48A3-4319-B4FB-BF3513F5CAB0}"/>
                    </a:ext>
                  </a:extLst>
                </p:cNvPr>
                <p:cNvSpPr/>
                <p:nvPr/>
              </p:nvSpPr>
              <p:spPr>
                <a:xfrm>
                  <a:off x="2512421" y="1823332"/>
                  <a:ext cx="60592" cy="67897"/>
                </a:xfrm>
                <a:custGeom>
                  <a:avLst/>
                  <a:gdLst>
                    <a:gd name="connsiteX0" fmla="*/ 43630 w 60592"/>
                    <a:gd name="connsiteY0" fmla="*/ 67898 h 67897"/>
                    <a:gd name="connsiteX1" fmla="*/ 11779 w 60592"/>
                    <a:gd name="connsiteY1" fmla="*/ 55474 h 67897"/>
                    <a:gd name="connsiteX2" fmla="*/ 1152 w 60592"/>
                    <a:gd name="connsiteY2" fmla="*/ 5294 h 67897"/>
                    <a:gd name="connsiteX3" fmla="*/ 7830 w 60592"/>
                    <a:gd name="connsiteY3" fmla="*/ 1 h 67897"/>
                    <a:gd name="connsiteX4" fmla="*/ 54245 w 60592"/>
                    <a:gd name="connsiteY4" fmla="*/ 21826 h 67897"/>
                    <a:gd name="connsiteX5" fmla="*/ 56877 w 60592"/>
                    <a:gd name="connsiteY5" fmla="*/ 63122 h 67897"/>
                    <a:gd name="connsiteX6" fmla="*/ 51380 w 60592"/>
                    <a:gd name="connsiteY6" fmla="*/ 67475 h 67897"/>
                    <a:gd name="connsiteX7" fmla="*/ 43630 w 60592"/>
                    <a:gd name="connsiteY7" fmla="*/ 67898 h 67897"/>
                    <a:gd name="connsiteX8" fmla="*/ 50701 w 60592"/>
                    <a:gd name="connsiteY8" fmla="*/ 60982 h 67897"/>
                    <a:gd name="connsiteX9" fmla="*/ 50765 w 60592"/>
                    <a:gd name="connsiteY9" fmla="*/ 60982 h 67897"/>
                    <a:gd name="connsiteX10" fmla="*/ 50701 w 60592"/>
                    <a:gd name="connsiteY10" fmla="*/ 60982 h 67897"/>
                    <a:gd name="connsiteX11" fmla="*/ 13281 w 60592"/>
                    <a:gd name="connsiteY11" fmla="*/ 13747 h 67897"/>
                    <a:gd name="connsiteX12" fmla="*/ 21443 w 60592"/>
                    <a:gd name="connsiteY12" fmla="*/ 46670 h 67897"/>
                    <a:gd name="connsiteX13" fmla="*/ 45793 w 60592"/>
                    <a:gd name="connsiteY13" fmla="*/ 54783 h 67897"/>
                    <a:gd name="connsiteX14" fmla="*/ 43463 w 60592"/>
                    <a:gd name="connsiteY14" fmla="*/ 29225 h 67897"/>
                    <a:gd name="connsiteX15" fmla="*/ 13281 w 60592"/>
                    <a:gd name="connsiteY15" fmla="*/ 13747 h 67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92" h="67897">
                      <a:moveTo>
                        <a:pt x="43630" y="67898"/>
                      </a:moveTo>
                      <a:cubicBezTo>
                        <a:pt x="30047" y="67898"/>
                        <a:pt x="19355" y="63734"/>
                        <a:pt x="11779" y="55474"/>
                      </a:cubicBezTo>
                      <a:cubicBezTo>
                        <a:pt x="-4809" y="37375"/>
                        <a:pt x="895" y="6597"/>
                        <a:pt x="1152" y="5294"/>
                      </a:cubicBezTo>
                      <a:cubicBezTo>
                        <a:pt x="1763" y="2127"/>
                        <a:pt x="4485" y="-63"/>
                        <a:pt x="7830" y="1"/>
                      </a:cubicBezTo>
                      <a:cubicBezTo>
                        <a:pt x="9159" y="54"/>
                        <a:pt x="40421" y="1538"/>
                        <a:pt x="54245" y="21826"/>
                      </a:cubicBezTo>
                      <a:cubicBezTo>
                        <a:pt x="61709" y="32785"/>
                        <a:pt x="62596" y="46677"/>
                        <a:pt x="56877" y="63122"/>
                      </a:cubicBezTo>
                      <a:cubicBezTo>
                        <a:pt x="56046" y="65515"/>
                        <a:pt x="53902" y="67214"/>
                        <a:pt x="51380" y="67475"/>
                      </a:cubicBezTo>
                      <a:cubicBezTo>
                        <a:pt x="48703" y="67758"/>
                        <a:pt x="46117" y="67898"/>
                        <a:pt x="43630" y="67898"/>
                      </a:cubicBezTo>
                      <a:close/>
                      <a:moveTo>
                        <a:pt x="50701" y="60982"/>
                      </a:moveTo>
                      <a:lnTo>
                        <a:pt x="50765" y="60982"/>
                      </a:lnTo>
                      <a:lnTo>
                        <a:pt x="50701" y="60982"/>
                      </a:lnTo>
                      <a:close/>
                      <a:moveTo>
                        <a:pt x="13281" y="13747"/>
                      </a:moveTo>
                      <a:cubicBezTo>
                        <a:pt x="12662" y="22139"/>
                        <a:pt x="12922" y="37409"/>
                        <a:pt x="21443" y="46670"/>
                      </a:cubicBezTo>
                      <a:cubicBezTo>
                        <a:pt x="26773" y="52472"/>
                        <a:pt x="34935" y="55232"/>
                        <a:pt x="45793" y="54783"/>
                      </a:cubicBezTo>
                      <a:cubicBezTo>
                        <a:pt x="48666" y="44329"/>
                        <a:pt x="47888" y="35745"/>
                        <a:pt x="43463" y="29225"/>
                      </a:cubicBezTo>
                      <a:cubicBezTo>
                        <a:pt x="36393" y="18813"/>
                        <a:pt x="21590" y="15064"/>
                        <a:pt x="13281" y="13747"/>
                      </a:cubicBezTo>
                      <a:close/>
                    </a:path>
                  </a:pathLst>
                </a:custGeom>
                <a:solidFill>
                  <a:schemeClr val="accent1"/>
                </a:solidFill>
                <a:ln w="377" cap="flat">
                  <a:noFill/>
                  <a:prstDash val="solid"/>
                  <a:miter/>
                </a:ln>
              </p:spPr>
              <p:txBody>
                <a:bodyPr rtlCol="0" anchor="ctr"/>
                <a:lstStyle/>
                <a:p>
                  <a:endParaRPr lang="en-GB" dirty="0"/>
                </a:p>
              </p:txBody>
            </p:sp>
            <p:sp>
              <p:nvSpPr>
                <p:cNvPr id="134" name="Freihandform: Form 917">
                  <a:extLst>
                    <a:ext uri="{FF2B5EF4-FFF2-40B4-BE49-F238E27FC236}">
                      <a16:creationId xmlns:a16="http://schemas.microsoft.com/office/drawing/2014/main" id="{5FA1AADA-7C43-4EE2-9EDC-9AC877E9A452}"/>
                    </a:ext>
                  </a:extLst>
                </p:cNvPr>
                <p:cNvSpPr/>
                <p:nvPr/>
              </p:nvSpPr>
              <p:spPr>
                <a:xfrm>
                  <a:off x="2548184" y="1744732"/>
                  <a:ext cx="55909" cy="77790"/>
                </a:xfrm>
                <a:custGeom>
                  <a:avLst/>
                  <a:gdLst>
                    <a:gd name="connsiteX0" fmla="*/ 39416 w 55909"/>
                    <a:gd name="connsiteY0" fmla="*/ 77790 h 77790"/>
                    <a:gd name="connsiteX1" fmla="*/ 38151 w 55909"/>
                    <a:gd name="connsiteY1" fmla="*/ 77666 h 77790"/>
                    <a:gd name="connsiteX2" fmla="*/ 3831 w 55909"/>
                    <a:gd name="connsiteY2" fmla="*/ 54558 h 77790"/>
                    <a:gd name="connsiteX3" fmla="*/ 8407 w 55909"/>
                    <a:gd name="connsiteY3" fmla="*/ 3469 h 77790"/>
                    <a:gd name="connsiteX4" fmla="*/ 16346 w 55909"/>
                    <a:gd name="connsiteY4" fmla="*/ 373 h 77790"/>
                    <a:gd name="connsiteX5" fmla="*/ 54298 w 55909"/>
                    <a:gd name="connsiteY5" fmla="*/ 34878 h 77790"/>
                    <a:gd name="connsiteX6" fmla="*/ 44686 w 55909"/>
                    <a:gd name="connsiteY6" fmla="*/ 75118 h 77790"/>
                    <a:gd name="connsiteX7" fmla="*/ 39416 w 55909"/>
                    <a:gd name="connsiteY7" fmla="*/ 77790 h 77790"/>
                    <a:gd name="connsiteX8" fmla="*/ 17524 w 55909"/>
                    <a:gd name="connsiteY8" fmla="*/ 15111 h 77790"/>
                    <a:gd name="connsiteX9" fmla="*/ 15655 w 55909"/>
                    <a:gd name="connsiteY9" fmla="*/ 48978 h 77790"/>
                    <a:gd name="connsiteX10" fmla="*/ 36547 w 55909"/>
                    <a:gd name="connsiteY10" fmla="*/ 63890 h 77790"/>
                    <a:gd name="connsiteX11" fmla="*/ 41832 w 55909"/>
                    <a:gd name="connsiteY11" fmla="*/ 38778 h 77790"/>
                    <a:gd name="connsiteX12" fmla="*/ 17524 w 55909"/>
                    <a:gd name="connsiteY12" fmla="*/ 15111 h 77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909" h="77790">
                      <a:moveTo>
                        <a:pt x="39416" y="77790"/>
                      </a:moveTo>
                      <a:cubicBezTo>
                        <a:pt x="38993" y="77790"/>
                        <a:pt x="38574" y="77749"/>
                        <a:pt x="38151" y="77666"/>
                      </a:cubicBezTo>
                      <a:cubicBezTo>
                        <a:pt x="21072" y="74306"/>
                        <a:pt x="9524" y="66533"/>
                        <a:pt x="3831" y="54558"/>
                      </a:cubicBezTo>
                      <a:cubicBezTo>
                        <a:pt x="-6713" y="32383"/>
                        <a:pt x="7784" y="4643"/>
                        <a:pt x="8407" y="3469"/>
                      </a:cubicBezTo>
                      <a:cubicBezTo>
                        <a:pt x="9924" y="615"/>
                        <a:pt x="13288" y="-703"/>
                        <a:pt x="16346" y="373"/>
                      </a:cubicBezTo>
                      <a:cubicBezTo>
                        <a:pt x="17595" y="815"/>
                        <a:pt x="47046" y="11423"/>
                        <a:pt x="54298" y="34878"/>
                      </a:cubicBezTo>
                      <a:cubicBezTo>
                        <a:pt x="58216" y="47544"/>
                        <a:pt x="54981" y="61081"/>
                        <a:pt x="44686" y="75118"/>
                      </a:cubicBezTo>
                      <a:cubicBezTo>
                        <a:pt x="43444" y="76816"/>
                        <a:pt x="41473" y="77790"/>
                        <a:pt x="39416" y="77790"/>
                      </a:cubicBezTo>
                      <a:close/>
                      <a:moveTo>
                        <a:pt x="17524" y="15111"/>
                      </a:moveTo>
                      <a:cubicBezTo>
                        <a:pt x="14466" y="22952"/>
                        <a:pt x="10230" y="37623"/>
                        <a:pt x="15655" y="48978"/>
                      </a:cubicBezTo>
                      <a:cubicBezTo>
                        <a:pt x="19049" y="56091"/>
                        <a:pt x="26071" y="61097"/>
                        <a:pt x="36547" y="63890"/>
                      </a:cubicBezTo>
                      <a:cubicBezTo>
                        <a:pt x="42368" y="54743"/>
                        <a:pt x="44142" y="46313"/>
                        <a:pt x="41832" y="38778"/>
                      </a:cubicBezTo>
                      <a:cubicBezTo>
                        <a:pt x="38136" y="26746"/>
                        <a:pt x="25082" y="18811"/>
                        <a:pt x="17524" y="15111"/>
                      </a:cubicBezTo>
                      <a:close/>
                    </a:path>
                  </a:pathLst>
                </a:custGeom>
                <a:solidFill>
                  <a:schemeClr val="accent1"/>
                </a:solidFill>
                <a:ln w="377" cap="flat">
                  <a:noFill/>
                  <a:prstDash val="solid"/>
                  <a:miter/>
                </a:ln>
              </p:spPr>
              <p:txBody>
                <a:bodyPr rtlCol="0" anchor="ctr"/>
                <a:lstStyle/>
                <a:p>
                  <a:endParaRPr lang="en-GB" dirty="0"/>
                </a:p>
              </p:txBody>
            </p:sp>
          </p:grpSp>
        </p:grpSp>
      </p:grpSp>
      <p:grpSp>
        <p:nvGrpSpPr>
          <p:cNvPr id="13" name="Group 12">
            <a:extLst>
              <a:ext uri="{FF2B5EF4-FFF2-40B4-BE49-F238E27FC236}">
                <a16:creationId xmlns:a16="http://schemas.microsoft.com/office/drawing/2014/main" id="{380B1128-1754-4CD3-AD11-0F15EF81598D}"/>
              </a:ext>
            </a:extLst>
          </p:cNvPr>
          <p:cNvGrpSpPr/>
          <p:nvPr/>
        </p:nvGrpSpPr>
        <p:grpSpPr>
          <a:xfrm>
            <a:off x="1672986" y="2391526"/>
            <a:ext cx="332996" cy="432000"/>
            <a:chOff x="1672986" y="2391526"/>
            <a:chExt cx="332996" cy="432000"/>
          </a:xfrm>
        </p:grpSpPr>
        <p:grpSp>
          <p:nvGrpSpPr>
            <p:cNvPr id="149" name="Gruppieren 1148">
              <a:extLst>
                <a:ext uri="{FF2B5EF4-FFF2-40B4-BE49-F238E27FC236}">
                  <a16:creationId xmlns:a16="http://schemas.microsoft.com/office/drawing/2014/main" id="{92723D08-D3EE-4589-81B4-0398462674B8}"/>
                </a:ext>
              </a:extLst>
            </p:cNvPr>
            <p:cNvGrpSpPr/>
            <p:nvPr/>
          </p:nvGrpSpPr>
          <p:grpSpPr>
            <a:xfrm>
              <a:off x="1672986" y="2391526"/>
              <a:ext cx="332996" cy="432000"/>
              <a:chOff x="910612" y="2483383"/>
              <a:chExt cx="333585" cy="432764"/>
            </a:xfrm>
          </p:grpSpPr>
          <p:sp>
            <p:nvSpPr>
              <p:cNvPr id="151" name="Freihandform: Form 1150">
                <a:extLst>
                  <a:ext uri="{FF2B5EF4-FFF2-40B4-BE49-F238E27FC236}">
                    <a16:creationId xmlns:a16="http://schemas.microsoft.com/office/drawing/2014/main" id="{764A637C-A019-41F0-AE42-B0E0B8C6C87E}"/>
                  </a:ext>
                </a:extLst>
              </p:cNvPr>
              <p:cNvSpPr/>
              <p:nvPr/>
            </p:nvSpPr>
            <p:spPr>
              <a:xfrm>
                <a:off x="963118" y="2538179"/>
                <a:ext cx="228570" cy="223968"/>
              </a:xfrm>
              <a:custGeom>
                <a:avLst/>
                <a:gdLst>
                  <a:gd name="connsiteX0" fmla="*/ 114285 w 228570"/>
                  <a:gd name="connsiteY0" fmla="*/ 223969 h 223968"/>
                  <a:gd name="connsiteX1" fmla="*/ 0 w 228570"/>
                  <a:gd name="connsiteY1" fmla="*/ 111983 h 223968"/>
                  <a:gd name="connsiteX2" fmla="*/ 114285 w 228570"/>
                  <a:gd name="connsiteY2" fmla="*/ 0 h 223968"/>
                  <a:gd name="connsiteX3" fmla="*/ 228571 w 228570"/>
                  <a:gd name="connsiteY3" fmla="*/ 111983 h 223968"/>
                  <a:gd name="connsiteX4" fmla="*/ 114285 w 228570"/>
                  <a:gd name="connsiteY4" fmla="*/ 223969 h 223968"/>
                  <a:gd name="connsiteX5" fmla="*/ 114285 w 228570"/>
                  <a:gd name="connsiteY5" fmla="*/ 13073 h 223968"/>
                  <a:gd name="connsiteX6" fmla="*/ 13073 w 228570"/>
                  <a:gd name="connsiteY6" fmla="*/ 111986 h 223968"/>
                  <a:gd name="connsiteX7" fmla="*/ 114285 w 228570"/>
                  <a:gd name="connsiteY7" fmla="*/ 210899 h 223968"/>
                  <a:gd name="connsiteX8" fmla="*/ 215497 w 228570"/>
                  <a:gd name="connsiteY8" fmla="*/ 111986 h 223968"/>
                  <a:gd name="connsiteX9" fmla="*/ 114285 w 228570"/>
                  <a:gd name="connsiteY9" fmla="*/ 13073 h 22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8570" h="223968">
                    <a:moveTo>
                      <a:pt x="114285" y="223969"/>
                    </a:moveTo>
                    <a:cubicBezTo>
                      <a:pt x="51267" y="223969"/>
                      <a:pt x="0" y="173733"/>
                      <a:pt x="0" y="111983"/>
                    </a:cubicBezTo>
                    <a:cubicBezTo>
                      <a:pt x="0" y="50236"/>
                      <a:pt x="51267" y="0"/>
                      <a:pt x="114285" y="0"/>
                    </a:cubicBezTo>
                    <a:cubicBezTo>
                      <a:pt x="177304" y="0"/>
                      <a:pt x="228571" y="50236"/>
                      <a:pt x="228571" y="111983"/>
                    </a:cubicBezTo>
                    <a:cubicBezTo>
                      <a:pt x="228567" y="173733"/>
                      <a:pt x="177300" y="223969"/>
                      <a:pt x="114285" y="223969"/>
                    </a:cubicBezTo>
                    <a:close/>
                    <a:moveTo>
                      <a:pt x="114285" y="13073"/>
                    </a:moveTo>
                    <a:cubicBezTo>
                      <a:pt x="58477" y="13073"/>
                      <a:pt x="13073" y="57443"/>
                      <a:pt x="13073" y="111986"/>
                    </a:cubicBezTo>
                    <a:cubicBezTo>
                      <a:pt x="13073" y="166526"/>
                      <a:pt x="58477" y="210899"/>
                      <a:pt x="114285" y="210899"/>
                    </a:cubicBezTo>
                    <a:cubicBezTo>
                      <a:pt x="170094" y="210899"/>
                      <a:pt x="215497" y="166526"/>
                      <a:pt x="215497" y="111986"/>
                    </a:cubicBezTo>
                    <a:cubicBezTo>
                      <a:pt x="215497" y="57443"/>
                      <a:pt x="170094" y="13073"/>
                      <a:pt x="114285" y="13073"/>
                    </a:cubicBezTo>
                    <a:close/>
                  </a:path>
                </a:pathLst>
              </a:custGeom>
              <a:solidFill>
                <a:schemeClr val="tx2"/>
              </a:solidFill>
              <a:ln w="377" cap="flat">
                <a:noFill/>
                <a:prstDash val="solid"/>
                <a:miter/>
              </a:ln>
            </p:spPr>
            <p:txBody>
              <a:bodyPr rtlCol="0" anchor="ctr"/>
              <a:lstStyle/>
              <a:p>
                <a:endParaRPr lang="en-GB" dirty="0"/>
              </a:p>
            </p:txBody>
          </p:sp>
          <p:sp>
            <p:nvSpPr>
              <p:cNvPr id="152" name="Freihandform: Form 1151">
                <a:extLst>
                  <a:ext uri="{FF2B5EF4-FFF2-40B4-BE49-F238E27FC236}">
                    <a16:creationId xmlns:a16="http://schemas.microsoft.com/office/drawing/2014/main" id="{12AC5AF0-400B-44BC-9583-289B9BC64F32}"/>
                  </a:ext>
                </a:extLst>
              </p:cNvPr>
              <p:cNvSpPr/>
              <p:nvPr/>
            </p:nvSpPr>
            <p:spPr>
              <a:xfrm>
                <a:off x="910612" y="2483383"/>
                <a:ext cx="333585" cy="333573"/>
              </a:xfrm>
              <a:custGeom>
                <a:avLst/>
                <a:gdLst>
                  <a:gd name="connsiteX0" fmla="*/ 166788 w 333585"/>
                  <a:gd name="connsiteY0" fmla="*/ 333573 h 333573"/>
                  <a:gd name="connsiteX1" fmla="*/ 138614 w 333585"/>
                  <a:gd name="connsiteY1" fmla="*/ 314014 h 333573"/>
                  <a:gd name="connsiteX2" fmla="*/ 137874 w 333585"/>
                  <a:gd name="connsiteY2" fmla="*/ 311960 h 333573"/>
                  <a:gd name="connsiteX3" fmla="*/ 133850 w 333585"/>
                  <a:gd name="connsiteY3" fmla="*/ 308472 h 333573"/>
                  <a:gd name="connsiteX4" fmla="*/ 128481 w 333585"/>
                  <a:gd name="connsiteY4" fmla="*/ 309937 h 333573"/>
                  <a:gd name="connsiteX5" fmla="*/ 126900 w 333585"/>
                  <a:gd name="connsiteY5" fmla="*/ 311473 h 333573"/>
                  <a:gd name="connsiteX6" fmla="*/ 92538 w 333585"/>
                  <a:gd name="connsiteY6" fmla="*/ 316876 h 333573"/>
                  <a:gd name="connsiteX7" fmla="*/ 76158 w 333585"/>
                  <a:gd name="connsiteY7" fmla="*/ 287354 h 333573"/>
                  <a:gd name="connsiteX8" fmla="*/ 76399 w 333585"/>
                  <a:gd name="connsiteY8" fmla="*/ 285187 h 333573"/>
                  <a:gd name="connsiteX9" fmla="*/ 74421 w 333585"/>
                  <a:gd name="connsiteY9" fmla="*/ 280491 h 333573"/>
                  <a:gd name="connsiteX10" fmla="*/ 68879 w 333585"/>
                  <a:gd name="connsiteY10" fmla="*/ 279528 h 333573"/>
                  <a:gd name="connsiteX11" fmla="*/ 66773 w 333585"/>
                  <a:gd name="connsiteY11" fmla="*/ 280241 h 333573"/>
                  <a:gd name="connsiteX12" fmla="*/ 33344 w 333585"/>
                  <a:gd name="connsiteY12" fmla="*/ 270388 h 333573"/>
                  <a:gd name="connsiteX13" fmla="*/ 31701 w 333585"/>
                  <a:gd name="connsiteY13" fmla="*/ 236827 h 333573"/>
                  <a:gd name="connsiteX14" fmla="*/ 32879 w 333585"/>
                  <a:gd name="connsiteY14" fmla="*/ 234981 h 333573"/>
                  <a:gd name="connsiteX15" fmla="*/ 33196 w 333585"/>
                  <a:gd name="connsiteY15" fmla="*/ 229945 h 333573"/>
                  <a:gd name="connsiteX16" fmla="*/ 28708 w 333585"/>
                  <a:gd name="connsiteY16" fmla="*/ 226819 h 333573"/>
                  <a:gd name="connsiteX17" fmla="*/ 26495 w 333585"/>
                  <a:gd name="connsiteY17" fmla="*/ 226566 h 333573"/>
                  <a:gd name="connsiteX18" fmla="*/ 726 w 333585"/>
                  <a:gd name="connsiteY18" fmla="*/ 203689 h 333573"/>
                  <a:gd name="connsiteX19" fmla="*/ 13992 w 333585"/>
                  <a:gd name="connsiteY19" fmla="*/ 172483 h 333573"/>
                  <a:gd name="connsiteX20" fmla="*/ 15868 w 333585"/>
                  <a:gd name="connsiteY20" fmla="*/ 171317 h 333573"/>
                  <a:gd name="connsiteX21" fmla="*/ 18451 w 333585"/>
                  <a:gd name="connsiteY21" fmla="*/ 166786 h 333573"/>
                  <a:gd name="connsiteX22" fmla="*/ 15872 w 333585"/>
                  <a:gd name="connsiteY22" fmla="*/ 162256 h 333573"/>
                  <a:gd name="connsiteX23" fmla="*/ 13988 w 333585"/>
                  <a:gd name="connsiteY23" fmla="*/ 161090 h 333573"/>
                  <a:gd name="connsiteX24" fmla="*/ 726 w 333585"/>
                  <a:gd name="connsiteY24" fmla="*/ 129884 h 333573"/>
                  <a:gd name="connsiteX25" fmla="*/ 26499 w 333585"/>
                  <a:gd name="connsiteY25" fmla="*/ 107007 h 333573"/>
                  <a:gd name="connsiteX26" fmla="*/ 28704 w 333585"/>
                  <a:gd name="connsiteY26" fmla="*/ 106754 h 333573"/>
                  <a:gd name="connsiteX27" fmla="*/ 33193 w 333585"/>
                  <a:gd name="connsiteY27" fmla="*/ 103628 h 333573"/>
                  <a:gd name="connsiteX28" fmla="*/ 32875 w 333585"/>
                  <a:gd name="connsiteY28" fmla="*/ 98584 h 333573"/>
                  <a:gd name="connsiteX29" fmla="*/ 31698 w 333585"/>
                  <a:gd name="connsiteY29" fmla="*/ 96738 h 333573"/>
                  <a:gd name="connsiteX30" fmla="*/ 33340 w 333585"/>
                  <a:gd name="connsiteY30" fmla="*/ 63185 h 333573"/>
                  <a:gd name="connsiteX31" fmla="*/ 66773 w 333585"/>
                  <a:gd name="connsiteY31" fmla="*/ 53328 h 333573"/>
                  <a:gd name="connsiteX32" fmla="*/ 68872 w 333585"/>
                  <a:gd name="connsiteY32" fmla="*/ 54041 h 333573"/>
                  <a:gd name="connsiteX33" fmla="*/ 74417 w 333585"/>
                  <a:gd name="connsiteY33" fmla="*/ 53079 h 333573"/>
                  <a:gd name="connsiteX34" fmla="*/ 76395 w 333585"/>
                  <a:gd name="connsiteY34" fmla="*/ 48382 h 333573"/>
                  <a:gd name="connsiteX35" fmla="*/ 76154 w 333585"/>
                  <a:gd name="connsiteY35" fmla="*/ 46223 h 333573"/>
                  <a:gd name="connsiteX36" fmla="*/ 92534 w 333585"/>
                  <a:gd name="connsiteY36" fmla="*/ 16698 h 333573"/>
                  <a:gd name="connsiteX37" fmla="*/ 126900 w 333585"/>
                  <a:gd name="connsiteY37" fmla="*/ 22103 h 333573"/>
                  <a:gd name="connsiteX38" fmla="*/ 128478 w 333585"/>
                  <a:gd name="connsiteY38" fmla="*/ 23636 h 333573"/>
                  <a:gd name="connsiteX39" fmla="*/ 133850 w 333585"/>
                  <a:gd name="connsiteY39" fmla="*/ 25105 h 333573"/>
                  <a:gd name="connsiteX40" fmla="*/ 137874 w 333585"/>
                  <a:gd name="connsiteY40" fmla="*/ 21613 h 333573"/>
                  <a:gd name="connsiteX41" fmla="*/ 138614 w 333585"/>
                  <a:gd name="connsiteY41" fmla="*/ 19563 h 333573"/>
                  <a:gd name="connsiteX42" fmla="*/ 166788 w 333585"/>
                  <a:gd name="connsiteY42" fmla="*/ 0 h 333573"/>
                  <a:gd name="connsiteX43" fmla="*/ 194966 w 333585"/>
                  <a:gd name="connsiteY43" fmla="*/ 19559 h 333573"/>
                  <a:gd name="connsiteX44" fmla="*/ 195706 w 333585"/>
                  <a:gd name="connsiteY44" fmla="*/ 21605 h 333573"/>
                  <a:gd name="connsiteX45" fmla="*/ 199734 w 333585"/>
                  <a:gd name="connsiteY45" fmla="*/ 25105 h 333573"/>
                  <a:gd name="connsiteX46" fmla="*/ 205098 w 333585"/>
                  <a:gd name="connsiteY46" fmla="*/ 23640 h 333573"/>
                  <a:gd name="connsiteX47" fmla="*/ 206680 w 333585"/>
                  <a:gd name="connsiteY47" fmla="*/ 22103 h 333573"/>
                  <a:gd name="connsiteX48" fmla="*/ 241049 w 333585"/>
                  <a:gd name="connsiteY48" fmla="*/ 16701 h 333573"/>
                  <a:gd name="connsiteX49" fmla="*/ 257426 w 333585"/>
                  <a:gd name="connsiteY49" fmla="*/ 46227 h 333573"/>
                  <a:gd name="connsiteX50" fmla="*/ 257184 w 333585"/>
                  <a:gd name="connsiteY50" fmla="*/ 48390 h 333573"/>
                  <a:gd name="connsiteX51" fmla="*/ 259162 w 333585"/>
                  <a:gd name="connsiteY51" fmla="*/ 53086 h 333573"/>
                  <a:gd name="connsiteX52" fmla="*/ 264708 w 333585"/>
                  <a:gd name="connsiteY52" fmla="*/ 54049 h 333573"/>
                  <a:gd name="connsiteX53" fmla="*/ 266815 w 333585"/>
                  <a:gd name="connsiteY53" fmla="*/ 53335 h 333573"/>
                  <a:gd name="connsiteX54" fmla="*/ 300240 w 333585"/>
                  <a:gd name="connsiteY54" fmla="*/ 63189 h 333573"/>
                  <a:gd name="connsiteX55" fmla="*/ 301886 w 333585"/>
                  <a:gd name="connsiteY55" fmla="*/ 96746 h 333573"/>
                  <a:gd name="connsiteX56" fmla="*/ 300708 w 333585"/>
                  <a:gd name="connsiteY56" fmla="*/ 98592 h 333573"/>
                  <a:gd name="connsiteX57" fmla="*/ 300391 w 333585"/>
                  <a:gd name="connsiteY57" fmla="*/ 103632 h 333573"/>
                  <a:gd name="connsiteX58" fmla="*/ 304876 w 333585"/>
                  <a:gd name="connsiteY58" fmla="*/ 106758 h 333573"/>
                  <a:gd name="connsiteX59" fmla="*/ 307092 w 333585"/>
                  <a:gd name="connsiteY59" fmla="*/ 107011 h 333573"/>
                  <a:gd name="connsiteX60" fmla="*/ 332857 w 333585"/>
                  <a:gd name="connsiteY60" fmla="*/ 129888 h 333573"/>
                  <a:gd name="connsiteX61" fmla="*/ 319595 w 333585"/>
                  <a:gd name="connsiteY61" fmla="*/ 161094 h 333573"/>
                  <a:gd name="connsiteX62" fmla="*/ 317719 w 333585"/>
                  <a:gd name="connsiteY62" fmla="*/ 162260 h 333573"/>
                  <a:gd name="connsiteX63" fmla="*/ 315137 w 333585"/>
                  <a:gd name="connsiteY63" fmla="*/ 166790 h 333573"/>
                  <a:gd name="connsiteX64" fmla="*/ 317719 w 333585"/>
                  <a:gd name="connsiteY64" fmla="*/ 171320 h 333573"/>
                  <a:gd name="connsiteX65" fmla="*/ 319599 w 333585"/>
                  <a:gd name="connsiteY65" fmla="*/ 172487 h 333573"/>
                  <a:gd name="connsiteX66" fmla="*/ 332861 w 333585"/>
                  <a:gd name="connsiteY66" fmla="*/ 203692 h 333573"/>
                  <a:gd name="connsiteX67" fmla="*/ 307092 w 333585"/>
                  <a:gd name="connsiteY67" fmla="*/ 226570 h 333573"/>
                  <a:gd name="connsiteX68" fmla="*/ 304883 w 333585"/>
                  <a:gd name="connsiteY68" fmla="*/ 226823 h 333573"/>
                  <a:gd name="connsiteX69" fmla="*/ 300395 w 333585"/>
                  <a:gd name="connsiteY69" fmla="*/ 229949 h 333573"/>
                  <a:gd name="connsiteX70" fmla="*/ 300716 w 333585"/>
                  <a:gd name="connsiteY70" fmla="*/ 234985 h 333573"/>
                  <a:gd name="connsiteX71" fmla="*/ 301893 w 333585"/>
                  <a:gd name="connsiteY71" fmla="*/ 236831 h 333573"/>
                  <a:gd name="connsiteX72" fmla="*/ 300247 w 333585"/>
                  <a:gd name="connsiteY72" fmla="*/ 270392 h 333573"/>
                  <a:gd name="connsiteX73" fmla="*/ 266815 w 333585"/>
                  <a:gd name="connsiteY73" fmla="*/ 280245 h 333573"/>
                  <a:gd name="connsiteX74" fmla="*/ 264719 w 333585"/>
                  <a:gd name="connsiteY74" fmla="*/ 279532 h 333573"/>
                  <a:gd name="connsiteX75" fmla="*/ 259170 w 333585"/>
                  <a:gd name="connsiteY75" fmla="*/ 280494 h 333573"/>
                  <a:gd name="connsiteX76" fmla="*/ 257192 w 333585"/>
                  <a:gd name="connsiteY76" fmla="*/ 285191 h 333573"/>
                  <a:gd name="connsiteX77" fmla="*/ 257433 w 333585"/>
                  <a:gd name="connsiteY77" fmla="*/ 287350 h 333573"/>
                  <a:gd name="connsiteX78" fmla="*/ 241057 w 333585"/>
                  <a:gd name="connsiteY78" fmla="*/ 316876 h 333573"/>
                  <a:gd name="connsiteX79" fmla="*/ 206684 w 333585"/>
                  <a:gd name="connsiteY79" fmla="*/ 311470 h 333573"/>
                  <a:gd name="connsiteX80" fmla="*/ 205106 w 333585"/>
                  <a:gd name="connsiteY80" fmla="*/ 309937 h 333573"/>
                  <a:gd name="connsiteX81" fmla="*/ 199738 w 333585"/>
                  <a:gd name="connsiteY81" fmla="*/ 308468 h 333573"/>
                  <a:gd name="connsiteX82" fmla="*/ 195713 w 333585"/>
                  <a:gd name="connsiteY82" fmla="*/ 311960 h 333573"/>
                  <a:gd name="connsiteX83" fmla="*/ 194966 w 333585"/>
                  <a:gd name="connsiteY83" fmla="*/ 314018 h 333573"/>
                  <a:gd name="connsiteX84" fmla="*/ 166788 w 333585"/>
                  <a:gd name="connsiteY84" fmla="*/ 333573 h 333573"/>
                  <a:gd name="connsiteX85" fmla="*/ 132476 w 333585"/>
                  <a:gd name="connsiteY85" fmla="*/ 295240 h 333573"/>
                  <a:gd name="connsiteX86" fmla="*/ 136783 w 333585"/>
                  <a:gd name="connsiteY86" fmla="*/ 295731 h 333573"/>
                  <a:gd name="connsiteX87" fmla="*/ 150166 w 333585"/>
                  <a:gd name="connsiteY87" fmla="*/ 307521 h 333573"/>
                  <a:gd name="connsiteX88" fmla="*/ 150906 w 333585"/>
                  <a:gd name="connsiteY88" fmla="*/ 309574 h 333573"/>
                  <a:gd name="connsiteX89" fmla="*/ 166788 w 333585"/>
                  <a:gd name="connsiteY89" fmla="*/ 320504 h 333573"/>
                  <a:gd name="connsiteX90" fmla="*/ 182670 w 333585"/>
                  <a:gd name="connsiteY90" fmla="*/ 309574 h 333573"/>
                  <a:gd name="connsiteX91" fmla="*/ 183418 w 333585"/>
                  <a:gd name="connsiteY91" fmla="*/ 307517 h 333573"/>
                  <a:gd name="connsiteX92" fmla="*/ 196797 w 333585"/>
                  <a:gd name="connsiteY92" fmla="*/ 295735 h 333573"/>
                  <a:gd name="connsiteX93" fmla="*/ 214211 w 333585"/>
                  <a:gd name="connsiteY93" fmla="*/ 300571 h 333573"/>
                  <a:gd name="connsiteX94" fmla="*/ 215790 w 333585"/>
                  <a:gd name="connsiteY94" fmla="*/ 302103 h 333573"/>
                  <a:gd name="connsiteX95" fmla="*/ 235300 w 333585"/>
                  <a:gd name="connsiteY95" fmla="*/ 305142 h 333573"/>
                  <a:gd name="connsiteX96" fmla="*/ 244435 w 333585"/>
                  <a:gd name="connsiteY96" fmla="*/ 288811 h 333573"/>
                  <a:gd name="connsiteX97" fmla="*/ 244194 w 333585"/>
                  <a:gd name="connsiteY97" fmla="*/ 286648 h 333573"/>
                  <a:gd name="connsiteX98" fmla="*/ 250963 w 333585"/>
                  <a:gd name="connsiteY98" fmla="*/ 270313 h 333573"/>
                  <a:gd name="connsiteX99" fmla="*/ 268902 w 333585"/>
                  <a:gd name="connsiteY99" fmla="*/ 267149 h 333573"/>
                  <a:gd name="connsiteX100" fmla="*/ 271001 w 333585"/>
                  <a:gd name="connsiteY100" fmla="*/ 267863 h 333573"/>
                  <a:gd name="connsiteX101" fmla="*/ 289956 w 333585"/>
                  <a:gd name="connsiteY101" fmla="*/ 262321 h 333573"/>
                  <a:gd name="connsiteX102" fmla="*/ 290866 w 333585"/>
                  <a:gd name="connsiteY102" fmla="*/ 243856 h 333573"/>
                  <a:gd name="connsiteX103" fmla="*/ 289688 w 333585"/>
                  <a:gd name="connsiteY103" fmla="*/ 242010 h 333573"/>
                  <a:gd name="connsiteX104" fmla="*/ 288597 w 333585"/>
                  <a:gd name="connsiteY104" fmla="*/ 224316 h 333573"/>
                  <a:gd name="connsiteX105" fmla="*/ 303403 w 333585"/>
                  <a:gd name="connsiteY105" fmla="*/ 213829 h 333573"/>
                  <a:gd name="connsiteX106" fmla="*/ 305612 w 333585"/>
                  <a:gd name="connsiteY106" fmla="*/ 213576 h 333573"/>
                  <a:gd name="connsiteX107" fmla="*/ 320105 w 333585"/>
                  <a:gd name="connsiteY107" fmla="*/ 200823 h 333573"/>
                  <a:gd name="connsiteX108" fmla="*/ 312717 w 333585"/>
                  <a:gd name="connsiteY108" fmla="*/ 183594 h 333573"/>
                  <a:gd name="connsiteX109" fmla="*/ 310833 w 333585"/>
                  <a:gd name="connsiteY109" fmla="*/ 182427 h 333573"/>
                  <a:gd name="connsiteX110" fmla="*/ 302067 w 333585"/>
                  <a:gd name="connsiteY110" fmla="*/ 166779 h 333573"/>
                  <a:gd name="connsiteX111" fmla="*/ 310837 w 333585"/>
                  <a:gd name="connsiteY111" fmla="*/ 151142 h 333573"/>
                  <a:gd name="connsiteX112" fmla="*/ 312713 w 333585"/>
                  <a:gd name="connsiteY112" fmla="*/ 149976 h 333573"/>
                  <a:gd name="connsiteX113" fmla="*/ 320105 w 333585"/>
                  <a:gd name="connsiteY113" fmla="*/ 132746 h 333573"/>
                  <a:gd name="connsiteX114" fmla="*/ 305616 w 333585"/>
                  <a:gd name="connsiteY114" fmla="*/ 119993 h 333573"/>
                  <a:gd name="connsiteX115" fmla="*/ 303400 w 333585"/>
                  <a:gd name="connsiteY115" fmla="*/ 119741 h 333573"/>
                  <a:gd name="connsiteX116" fmla="*/ 288593 w 333585"/>
                  <a:gd name="connsiteY116" fmla="*/ 109253 h 333573"/>
                  <a:gd name="connsiteX117" fmla="*/ 289684 w 333585"/>
                  <a:gd name="connsiteY117" fmla="*/ 91555 h 333573"/>
                  <a:gd name="connsiteX118" fmla="*/ 290862 w 333585"/>
                  <a:gd name="connsiteY118" fmla="*/ 89709 h 333573"/>
                  <a:gd name="connsiteX119" fmla="*/ 289953 w 333585"/>
                  <a:gd name="connsiteY119" fmla="*/ 71249 h 333573"/>
                  <a:gd name="connsiteX120" fmla="*/ 271005 w 333585"/>
                  <a:gd name="connsiteY120" fmla="*/ 65707 h 333573"/>
                  <a:gd name="connsiteX121" fmla="*/ 268895 w 333585"/>
                  <a:gd name="connsiteY121" fmla="*/ 66420 h 333573"/>
                  <a:gd name="connsiteX122" fmla="*/ 250959 w 333585"/>
                  <a:gd name="connsiteY122" fmla="*/ 63257 h 333573"/>
                  <a:gd name="connsiteX123" fmla="*/ 244190 w 333585"/>
                  <a:gd name="connsiteY123" fmla="*/ 46925 h 333573"/>
                  <a:gd name="connsiteX124" fmla="*/ 244432 w 333585"/>
                  <a:gd name="connsiteY124" fmla="*/ 44758 h 333573"/>
                  <a:gd name="connsiteX125" fmla="*/ 235296 w 333585"/>
                  <a:gd name="connsiteY125" fmla="*/ 28427 h 333573"/>
                  <a:gd name="connsiteX126" fmla="*/ 215790 w 333585"/>
                  <a:gd name="connsiteY126" fmla="*/ 31462 h 333573"/>
                  <a:gd name="connsiteX127" fmla="*/ 214208 w 333585"/>
                  <a:gd name="connsiteY127" fmla="*/ 32999 h 333573"/>
                  <a:gd name="connsiteX128" fmla="*/ 196797 w 333585"/>
                  <a:gd name="connsiteY128" fmla="*/ 37831 h 333573"/>
                  <a:gd name="connsiteX129" fmla="*/ 183414 w 333585"/>
                  <a:gd name="connsiteY129" fmla="*/ 26041 h 333573"/>
                  <a:gd name="connsiteX130" fmla="*/ 182674 w 333585"/>
                  <a:gd name="connsiteY130" fmla="*/ 23995 h 333573"/>
                  <a:gd name="connsiteX131" fmla="*/ 182670 w 333585"/>
                  <a:gd name="connsiteY131" fmla="*/ 23987 h 333573"/>
                  <a:gd name="connsiteX132" fmla="*/ 166788 w 333585"/>
                  <a:gd name="connsiteY132" fmla="*/ 13058 h 333573"/>
                  <a:gd name="connsiteX133" fmla="*/ 150906 w 333585"/>
                  <a:gd name="connsiteY133" fmla="*/ 23987 h 333573"/>
                  <a:gd name="connsiteX134" fmla="*/ 150166 w 333585"/>
                  <a:gd name="connsiteY134" fmla="*/ 26037 h 333573"/>
                  <a:gd name="connsiteX135" fmla="*/ 136783 w 333585"/>
                  <a:gd name="connsiteY135" fmla="*/ 37831 h 333573"/>
                  <a:gd name="connsiteX136" fmla="*/ 119364 w 333585"/>
                  <a:gd name="connsiteY136" fmla="*/ 32995 h 333573"/>
                  <a:gd name="connsiteX137" fmla="*/ 117786 w 333585"/>
                  <a:gd name="connsiteY137" fmla="*/ 31462 h 333573"/>
                  <a:gd name="connsiteX138" fmla="*/ 98280 w 333585"/>
                  <a:gd name="connsiteY138" fmla="*/ 28419 h 333573"/>
                  <a:gd name="connsiteX139" fmla="*/ 89140 w 333585"/>
                  <a:gd name="connsiteY139" fmla="*/ 44754 h 333573"/>
                  <a:gd name="connsiteX140" fmla="*/ 89382 w 333585"/>
                  <a:gd name="connsiteY140" fmla="*/ 46914 h 333573"/>
                  <a:gd name="connsiteX141" fmla="*/ 82613 w 333585"/>
                  <a:gd name="connsiteY141" fmla="*/ 63249 h 333573"/>
                  <a:gd name="connsiteX142" fmla="*/ 64677 w 333585"/>
                  <a:gd name="connsiteY142" fmla="*/ 66413 h 333573"/>
                  <a:gd name="connsiteX143" fmla="*/ 62578 w 333585"/>
                  <a:gd name="connsiteY143" fmla="*/ 65699 h 333573"/>
                  <a:gd name="connsiteX144" fmla="*/ 43623 w 333585"/>
                  <a:gd name="connsiteY144" fmla="*/ 71241 h 333573"/>
                  <a:gd name="connsiteX145" fmla="*/ 42717 w 333585"/>
                  <a:gd name="connsiteY145" fmla="*/ 89702 h 333573"/>
                  <a:gd name="connsiteX146" fmla="*/ 43895 w 333585"/>
                  <a:gd name="connsiteY146" fmla="*/ 91548 h 333573"/>
                  <a:gd name="connsiteX147" fmla="*/ 44982 w 333585"/>
                  <a:gd name="connsiteY147" fmla="*/ 109246 h 333573"/>
                  <a:gd name="connsiteX148" fmla="*/ 30172 w 333585"/>
                  <a:gd name="connsiteY148" fmla="*/ 119729 h 333573"/>
                  <a:gd name="connsiteX149" fmla="*/ 27968 w 333585"/>
                  <a:gd name="connsiteY149" fmla="*/ 119982 h 333573"/>
                  <a:gd name="connsiteX150" fmla="*/ 13471 w 333585"/>
                  <a:gd name="connsiteY150" fmla="*/ 132735 h 333573"/>
                  <a:gd name="connsiteX151" fmla="*/ 20863 w 333585"/>
                  <a:gd name="connsiteY151" fmla="*/ 149964 h 333573"/>
                  <a:gd name="connsiteX152" fmla="*/ 22747 w 333585"/>
                  <a:gd name="connsiteY152" fmla="*/ 151131 h 333573"/>
                  <a:gd name="connsiteX153" fmla="*/ 31513 w 333585"/>
                  <a:gd name="connsiteY153" fmla="*/ 166768 h 333573"/>
                  <a:gd name="connsiteX154" fmla="*/ 22747 w 333585"/>
                  <a:gd name="connsiteY154" fmla="*/ 182416 h 333573"/>
                  <a:gd name="connsiteX155" fmla="*/ 20867 w 333585"/>
                  <a:gd name="connsiteY155" fmla="*/ 183582 h 333573"/>
                  <a:gd name="connsiteX156" fmla="*/ 13471 w 333585"/>
                  <a:gd name="connsiteY156" fmla="*/ 200812 h 333573"/>
                  <a:gd name="connsiteX157" fmla="*/ 27964 w 333585"/>
                  <a:gd name="connsiteY157" fmla="*/ 213565 h 333573"/>
                  <a:gd name="connsiteX158" fmla="*/ 30176 w 333585"/>
                  <a:gd name="connsiteY158" fmla="*/ 213817 h 333573"/>
                  <a:gd name="connsiteX159" fmla="*/ 44982 w 333585"/>
                  <a:gd name="connsiteY159" fmla="*/ 224305 h 333573"/>
                  <a:gd name="connsiteX160" fmla="*/ 43895 w 333585"/>
                  <a:gd name="connsiteY160" fmla="*/ 241999 h 333573"/>
                  <a:gd name="connsiteX161" fmla="*/ 42717 w 333585"/>
                  <a:gd name="connsiteY161" fmla="*/ 243845 h 333573"/>
                  <a:gd name="connsiteX162" fmla="*/ 43623 w 333585"/>
                  <a:gd name="connsiteY162" fmla="*/ 262309 h 333573"/>
                  <a:gd name="connsiteX163" fmla="*/ 62578 w 333585"/>
                  <a:gd name="connsiteY163" fmla="*/ 267851 h 333573"/>
                  <a:gd name="connsiteX164" fmla="*/ 64685 w 333585"/>
                  <a:gd name="connsiteY164" fmla="*/ 267138 h 333573"/>
                  <a:gd name="connsiteX165" fmla="*/ 82617 w 333585"/>
                  <a:gd name="connsiteY165" fmla="*/ 270301 h 333573"/>
                  <a:gd name="connsiteX166" fmla="*/ 89386 w 333585"/>
                  <a:gd name="connsiteY166" fmla="*/ 286633 h 333573"/>
                  <a:gd name="connsiteX167" fmla="*/ 89144 w 333585"/>
                  <a:gd name="connsiteY167" fmla="*/ 288800 h 333573"/>
                  <a:gd name="connsiteX168" fmla="*/ 98284 w 333585"/>
                  <a:gd name="connsiteY168" fmla="*/ 305135 h 333573"/>
                  <a:gd name="connsiteX169" fmla="*/ 117786 w 333585"/>
                  <a:gd name="connsiteY169" fmla="*/ 302096 h 333573"/>
                  <a:gd name="connsiteX170" fmla="*/ 119368 w 333585"/>
                  <a:gd name="connsiteY170" fmla="*/ 300559 h 333573"/>
                  <a:gd name="connsiteX171" fmla="*/ 132476 w 333585"/>
                  <a:gd name="connsiteY171" fmla="*/ 295240 h 33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Lst>
                <a:rect l="l" t="t" r="r" b="b"/>
                <a:pathLst>
                  <a:path w="333585" h="333573">
                    <a:moveTo>
                      <a:pt x="166788" y="333573"/>
                    </a:moveTo>
                    <a:cubicBezTo>
                      <a:pt x="153964" y="333573"/>
                      <a:pt x="142906" y="325894"/>
                      <a:pt x="138614" y="314014"/>
                    </a:cubicBezTo>
                    <a:lnTo>
                      <a:pt x="137874" y="311960"/>
                    </a:lnTo>
                    <a:cubicBezTo>
                      <a:pt x="136960" y="309435"/>
                      <a:pt x="134756" y="308680"/>
                      <a:pt x="133850" y="308472"/>
                    </a:cubicBezTo>
                    <a:cubicBezTo>
                      <a:pt x="132910" y="308246"/>
                      <a:pt x="130505" y="307966"/>
                      <a:pt x="128481" y="309937"/>
                    </a:cubicBezTo>
                    <a:lnTo>
                      <a:pt x="126900" y="311473"/>
                    </a:lnTo>
                    <a:cubicBezTo>
                      <a:pt x="117666" y="320451"/>
                      <a:pt x="104181" y="322572"/>
                      <a:pt x="92538" y="316876"/>
                    </a:cubicBezTo>
                    <a:cubicBezTo>
                      <a:pt x="81201" y="311326"/>
                      <a:pt x="74772" y="299736"/>
                      <a:pt x="76158" y="287354"/>
                    </a:cubicBezTo>
                    <a:lnTo>
                      <a:pt x="76399" y="285187"/>
                    </a:lnTo>
                    <a:cubicBezTo>
                      <a:pt x="76686" y="282616"/>
                      <a:pt x="75112" y="281049"/>
                      <a:pt x="74421" y="280491"/>
                    </a:cubicBezTo>
                    <a:cubicBezTo>
                      <a:pt x="73674" y="279890"/>
                      <a:pt x="71631" y="278580"/>
                      <a:pt x="68879" y="279528"/>
                    </a:cubicBezTo>
                    <a:lnTo>
                      <a:pt x="66773" y="280241"/>
                    </a:lnTo>
                    <a:cubicBezTo>
                      <a:pt x="54432" y="284421"/>
                      <a:pt x="41317" y="280555"/>
                      <a:pt x="33344" y="270388"/>
                    </a:cubicBezTo>
                    <a:cubicBezTo>
                      <a:pt x="25623" y="260543"/>
                      <a:pt x="24978" y="247371"/>
                      <a:pt x="31701" y="236827"/>
                    </a:cubicBezTo>
                    <a:lnTo>
                      <a:pt x="32879" y="234981"/>
                    </a:lnTo>
                    <a:cubicBezTo>
                      <a:pt x="34284" y="232780"/>
                      <a:pt x="33566" y="230726"/>
                      <a:pt x="33196" y="229945"/>
                    </a:cubicBezTo>
                    <a:cubicBezTo>
                      <a:pt x="32796" y="229111"/>
                      <a:pt x="31565" y="227140"/>
                      <a:pt x="28708" y="226819"/>
                    </a:cubicBezTo>
                    <a:lnTo>
                      <a:pt x="26495" y="226566"/>
                    </a:lnTo>
                    <a:cubicBezTo>
                      <a:pt x="13633" y="225109"/>
                      <a:pt x="3516" y="216124"/>
                      <a:pt x="726" y="203689"/>
                    </a:cubicBezTo>
                    <a:cubicBezTo>
                      <a:pt x="-2026" y="191423"/>
                      <a:pt x="3184" y="179177"/>
                      <a:pt x="13992" y="172483"/>
                    </a:cubicBezTo>
                    <a:lnTo>
                      <a:pt x="15868" y="171317"/>
                    </a:lnTo>
                    <a:cubicBezTo>
                      <a:pt x="18201" y="169875"/>
                      <a:pt x="18451" y="167666"/>
                      <a:pt x="18451" y="166786"/>
                    </a:cubicBezTo>
                    <a:cubicBezTo>
                      <a:pt x="18451" y="165907"/>
                      <a:pt x="18198" y="163702"/>
                      <a:pt x="15872" y="162256"/>
                    </a:cubicBezTo>
                    <a:lnTo>
                      <a:pt x="13988" y="161090"/>
                    </a:lnTo>
                    <a:cubicBezTo>
                      <a:pt x="3184" y="154396"/>
                      <a:pt x="-2026" y="142150"/>
                      <a:pt x="726" y="129884"/>
                    </a:cubicBezTo>
                    <a:cubicBezTo>
                      <a:pt x="3520" y="117449"/>
                      <a:pt x="13633" y="108464"/>
                      <a:pt x="26499" y="107007"/>
                    </a:cubicBezTo>
                    <a:lnTo>
                      <a:pt x="28704" y="106754"/>
                    </a:lnTo>
                    <a:cubicBezTo>
                      <a:pt x="31562" y="106433"/>
                      <a:pt x="32796" y="104459"/>
                      <a:pt x="33193" y="103628"/>
                    </a:cubicBezTo>
                    <a:cubicBezTo>
                      <a:pt x="33563" y="102847"/>
                      <a:pt x="34280" y="100789"/>
                      <a:pt x="32875" y="98584"/>
                    </a:cubicBezTo>
                    <a:lnTo>
                      <a:pt x="31698" y="96738"/>
                    </a:lnTo>
                    <a:cubicBezTo>
                      <a:pt x="24978" y="86198"/>
                      <a:pt x="25620" y="73027"/>
                      <a:pt x="33340" y="63185"/>
                    </a:cubicBezTo>
                    <a:cubicBezTo>
                      <a:pt x="41317" y="53015"/>
                      <a:pt x="54435" y="49149"/>
                      <a:pt x="66773" y="53328"/>
                    </a:cubicBezTo>
                    <a:lnTo>
                      <a:pt x="68872" y="54041"/>
                    </a:lnTo>
                    <a:cubicBezTo>
                      <a:pt x="71643" y="54985"/>
                      <a:pt x="73670" y="53679"/>
                      <a:pt x="74417" y="53079"/>
                    </a:cubicBezTo>
                    <a:cubicBezTo>
                      <a:pt x="75108" y="52524"/>
                      <a:pt x="76682" y="50953"/>
                      <a:pt x="76395" y="48382"/>
                    </a:cubicBezTo>
                    <a:lnTo>
                      <a:pt x="76154" y="46223"/>
                    </a:lnTo>
                    <a:cubicBezTo>
                      <a:pt x="74768" y="33833"/>
                      <a:pt x="81201" y="22247"/>
                      <a:pt x="92534" y="16698"/>
                    </a:cubicBezTo>
                    <a:cubicBezTo>
                      <a:pt x="104162" y="10993"/>
                      <a:pt x="117654" y="13115"/>
                      <a:pt x="126900" y="22103"/>
                    </a:cubicBezTo>
                    <a:lnTo>
                      <a:pt x="128478" y="23636"/>
                    </a:lnTo>
                    <a:cubicBezTo>
                      <a:pt x="130512" y="25611"/>
                      <a:pt x="132913" y="25320"/>
                      <a:pt x="133850" y="25105"/>
                    </a:cubicBezTo>
                    <a:cubicBezTo>
                      <a:pt x="134756" y="24897"/>
                      <a:pt x="136960" y="24142"/>
                      <a:pt x="137874" y="21613"/>
                    </a:cubicBezTo>
                    <a:lnTo>
                      <a:pt x="138614" y="19563"/>
                    </a:lnTo>
                    <a:cubicBezTo>
                      <a:pt x="142906" y="7679"/>
                      <a:pt x="153964" y="0"/>
                      <a:pt x="166788" y="0"/>
                    </a:cubicBezTo>
                    <a:cubicBezTo>
                      <a:pt x="179616" y="0"/>
                      <a:pt x="190673" y="7679"/>
                      <a:pt x="194966" y="19559"/>
                    </a:cubicBezTo>
                    <a:lnTo>
                      <a:pt x="195706" y="21605"/>
                    </a:lnTo>
                    <a:cubicBezTo>
                      <a:pt x="196623" y="24138"/>
                      <a:pt x="198828" y="24897"/>
                      <a:pt x="199734" y="25105"/>
                    </a:cubicBezTo>
                    <a:cubicBezTo>
                      <a:pt x="200666" y="25316"/>
                      <a:pt x="203071" y="25607"/>
                      <a:pt x="205098" y="23640"/>
                    </a:cubicBezTo>
                    <a:lnTo>
                      <a:pt x="206680" y="22103"/>
                    </a:lnTo>
                    <a:cubicBezTo>
                      <a:pt x="215922" y="13134"/>
                      <a:pt x="229410" y="11005"/>
                      <a:pt x="241049" y="16701"/>
                    </a:cubicBezTo>
                    <a:cubicBezTo>
                      <a:pt x="252382" y="22255"/>
                      <a:pt x="258807" y="33840"/>
                      <a:pt x="257426" y="46227"/>
                    </a:cubicBezTo>
                    <a:lnTo>
                      <a:pt x="257184" y="48390"/>
                    </a:lnTo>
                    <a:cubicBezTo>
                      <a:pt x="256897" y="50961"/>
                      <a:pt x="258475" y="52528"/>
                      <a:pt x="259162" y="53086"/>
                    </a:cubicBezTo>
                    <a:cubicBezTo>
                      <a:pt x="259906" y="53687"/>
                      <a:pt x="261948" y="54997"/>
                      <a:pt x="264708" y="54049"/>
                    </a:cubicBezTo>
                    <a:lnTo>
                      <a:pt x="266815" y="53335"/>
                    </a:lnTo>
                    <a:cubicBezTo>
                      <a:pt x="279133" y="49168"/>
                      <a:pt x="292267" y="53018"/>
                      <a:pt x="300240" y="63189"/>
                    </a:cubicBezTo>
                    <a:cubicBezTo>
                      <a:pt x="307960" y="73030"/>
                      <a:pt x="308606" y="86206"/>
                      <a:pt x="301886" y="96746"/>
                    </a:cubicBezTo>
                    <a:lnTo>
                      <a:pt x="300708" y="98592"/>
                    </a:lnTo>
                    <a:cubicBezTo>
                      <a:pt x="299304" y="100797"/>
                      <a:pt x="300017" y="102850"/>
                      <a:pt x="300391" y="103632"/>
                    </a:cubicBezTo>
                    <a:cubicBezTo>
                      <a:pt x="300787" y="104466"/>
                      <a:pt x="302018" y="106437"/>
                      <a:pt x="304876" y="106758"/>
                    </a:cubicBezTo>
                    <a:lnTo>
                      <a:pt x="307092" y="107011"/>
                    </a:lnTo>
                    <a:cubicBezTo>
                      <a:pt x="319954" y="108468"/>
                      <a:pt x="330067" y="117449"/>
                      <a:pt x="332857" y="129888"/>
                    </a:cubicBezTo>
                    <a:cubicBezTo>
                      <a:pt x="335609" y="142150"/>
                      <a:pt x="330403" y="154400"/>
                      <a:pt x="319595" y="161094"/>
                    </a:cubicBezTo>
                    <a:lnTo>
                      <a:pt x="317719" y="162260"/>
                    </a:lnTo>
                    <a:cubicBezTo>
                      <a:pt x="315390" y="163702"/>
                      <a:pt x="315137" y="165907"/>
                      <a:pt x="315137" y="166790"/>
                    </a:cubicBezTo>
                    <a:cubicBezTo>
                      <a:pt x="315137" y="167670"/>
                      <a:pt x="315386" y="169878"/>
                      <a:pt x="317719" y="171320"/>
                    </a:cubicBezTo>
                    <a:lnTo>
                      <a:pt x="319599" y="172487"/>
                    </a:lnTo>
                    <a:cubicBezTo>
                      <a:pt x="330403" y="179180"/>
                      <a:pt x="335609" y="191431"/>
                      <a:pt x="332861" y="203692"/>
                    </a:cubicBezTo>
                    <a:cubicBezTo>
                      <a:pt x="330067" y="216132"/>
                      <a:pt x="319954" y="225113"/>
                      <a:pt x="307092" y="226570"/>
                    </a:cubicBezTo>
                    <a:lnTo>
                      <a:pt x="304883" y="226823"/>
                    </a:lnTo>
                    <a:cubicBezTo>
                      <a:pt x="302025" y="227144"/>
                      <a:pt x="300791" y="229118"/>
                      <a:pt x="300395" y="229949"/>
                    </a:cubicBezTo>
                    <a:cubicBezTo>
                      <a:pt x="300025" y="230730"/>
                      <a:pt x="299311" y="232784"/>
                      <a:pt x="300716" y="234985"/>
                    </a:cubicBezTo>
                    <a:lnTo>
                      <a:pt x="301893" y="236831"/>
                    </a:lnTo>
                    <a:cubicBezTo>
                      <a:pt x="308613" y="247375"/>
                      <a:pt x="307968" y="260550"/>
                      <a:pt x="300247" y="270392"/>
                    </a:cubicBezTo>
                    <a:cubicBezTo>
                      <a:pt x="292270" y="280559"/>
                      <a:pt x="279144" y="284421"/>
                      <a:pt x="266815" y="280245"/>
                    </a:cubicBezTo>
                    <a:lnTo>
                      <a:pt x="264719" y="279532"/>
                    </a:lnTo>
                    <a:cubicBezTo>
                      <a:pt x="261945" y="278588"/>
                      <a:pt x="259914" y="279894"/>
                      <a:pt x="259170" y="280494"/>
                    </a:cubicBezTo>
                    <a:cubicBezTo>
                      <a:pt x="258479" y="281049"/>
                      <a:pt x="256905" y="282620"/>
                      <a:pt x="257192" y="285191"/>
                    </a:cubicBezTo>
                    <a:lnTo>
                      <a:pt x="257433" y="287350"/>
                    </a:lnTo>
                    <a:cubicBezTo>
                      <a:pt x="258819" y="299736"/>
                      <a:pt x="252390" y="311322"/>
                      <a:pt x="241057" y="316876"/>
                    </a:cubicBezTo>
                    <a:cubicBezTo>
                      <a:pt x="229410" y="322572"/>
                      <a:pt x="215925" y="320454"/>
                      <a:pt x="206684" y="311470"/>
                    </a:cubicBezTo>
                    <a:lnTo>
                      <a:pt x="205106" y="309937"/>
                    </a:lnTo>
                    <a:cubicBezTo>
                      <a:pt x="203075" y="307966"/>
                      <a:pt x="200674" y="308249"/>
                      <a:pt x="199738" y="308468"/>
                    </a:cubicBezTo>
                    <a:cubicBezTo>
                      <a:pt x="198831" y="308676"/>
                      <a:pt x="196627" y="309431"/>
                      <a:pt x="195713" y="311960"/>
                    </a:cubicBezTo>
                    <a:lnTo>
                      <a:pt x="194966" y="314018"/>
                    </a:lnTo>
                    <a:cubicBezTo>
                      <a:pt x="190673" y="325898"/>
                      <a:pt x="179612" y="333573"/>
                      <a:pt x="166788" y="333573"/>
                    </a:cubicBezTo>
                    <a:close/>
                    <a:moveTo>
                      <a:pt x="132476" y="295240"/>
                    </a:moveTo>
                    <a:cubicBezTo>
                      <a:pt x="133906" y="295240"/>
                      <a:pt x="135352" y="295403"/>
                      <a:pt x="136783" y="295731"/>
                    </a:cubicBezTo>
                    <a:cubicBezTo>
                      <a:pt x="143016" y="297165"/>
                      <a:pt x="148018" y="301575"/>
                      <a:pt x="150166" y="307521"/>
                    </a:cubicBezTo>
                    <a:lnTo>
                      <a:pt x="150906" y="309574"/>
                    </a:lnTo>
                    <a:cubicBezTo>
                      <a:pt x="153816" y="317631"/>
                      <a:pt x="161019" y="320504"/>
                      <a:pt x="166788" y="320504"/>
                    </a:cubicBezTo>
                    <a:cubicBezTo>
                      <a:pt x="172556" y="320504"/>
                      <a:pt x="179759" y="317631"/>
                      <a:pt x="182670" y="309574"/>
                    </a:cubicBezTo>
                    <a:lnTo>
                      <a:pt x="183418" y="307517"/>
                    </a:lnTo>
                    <a:cubicBezTo>
                      <a:pt x="185562" y="301579"/>
                      <a:pt x="190564" y="297169"/>
                      <a:pt x="196797" y="295735"/>
                    </a:cubicBezTo>
                    <a:cubicBezTo>
                      <a:pt x="203094" y="294285"/>
                      <a:pt x="209606" y="296090"/>
                      <a:pt x="214211" y="300571"/>
                    </a:cubicBezTo>
                    <a:lnTo>
                      <a:pt x="215790" y="302103"/>
                    </a:lnTo>
                    <a:cubicBezTo>
                      <a:pt x="222139" y="308283"/>
                      <a:pt x="230033" y="307725"/>
                      <a:pt x="235300" y="305142"/>
                    </a:cubicBezTo>
                    <a:cubicBezTo>
                      <a:pt x="240324" y="302681"/>
                      <a:pt x="245360" y="297101"/>
                      <a:pt x="244435" y="288811"/>
                    </a:cubicBezTo>
                    <a:lnTo>
                      <a:pt x="244194" y="286648"/>
                    </a:lnTo>
                    <a:cubicBezTo>
                      <a:pt x="243495" y="280396"/>
                      <a:pt x="246025" y="274292"/>
                      <a:pt x="250963" y="270313"/>
                    </a:cubicBezTo>
                    <a:cubicBezTo>
                      <a:pt x="256025" y="266243"/>
                      <a:pt x="262737" y="265061"/>
                      <a:pt x="268902" y="267149"/>
                    </a:cubicBezTo>
                    <a:lnTo>
                      <a:pt x="271001" y="267863"/>
                    </a:lnTo>
                    <a:cubicBezTo>
                      <a:pt x="279514" y="270754"/>
                      <a:pt x="286370" y="266892"/>
                      <a:pt x="289956" y="262321"/>
                    </a:cubicBezTo>
                    <a:cubicBezTo>
                      <a:pt x="293335" y="258010"/>
                      <a:pt x="295355" y="250897"/>
                      <a:pt x="290866" y="243856"/>
                    </a:cubicBezTo>
                    <a:lnTo>
                      <a:pt x="289688" y="242010"/>
                    </a:lnTo>
                    <a:cubicBezTo>
                      <a:pt x="286272" y="236653"/>
                      <a:pt x="285864" y="230043"/>
                      <a:pt x="288597" y="224316"/>
                    </a:cubicBezTo>
                    <a:cubicBezTo>
                      <a:pt x="291376" y="218487"/>
                      <a:pt x="296914" y="214565"/>
                      <a:pt x="303403" y="213829"/>
                    </a:cubicBezTo>
                    <a:lnTo>
                      <a:pt x="305612" y="213576"/>
                    </a:lnTo>
                    <a:cubicBezTo>
                      <a:pt x="314416" y="212575"/>
                      <a:pt x="318870" y="206335"/>
                      <a:pt x="320105" y="200823"/>
                    </a:cubicBezTo>
                    <a:cubicBezTo>
                      <a:pt x="321313" y="195451"/>
                      <a:pt x="320003" y="188105"/>
                      <a:pt x="312717" y="183594"/>
                    </a:cubicBezTo>
                    <a:lnTo>
                      <a:pt x="310833" y="182427"/>
                    </a:lnTo>
                    <a:cubicBezTo>
                      <a:pt x="305344" y="179026"/>
                      <a:pt x="302063" y="173174"/>
                      <a:pt x="302067" y="166779"/>
                    </a:cubicBezTo>
                    <a:cubicBezTo>
                      <a:pt x="302067" y="160388"/>
                      <a:pt x="305344" y="154540"/>
                      <a:pt x="310837" y="151142"/>
                    </a:cubicBezTo>
                    <a:lnTo>
                      <a:pt x="312713" y="149976"/>
                    </a:lnTo>
                    <a:cubicBezTo>
                      <a:pt x="320003" y="145464"/>
                      <a:pt x="321309" y="138118"/>
                      <a:pt x="320105" y="132746"/>
                    </a:cubicBezTo>
                    <a:cubicBezTo>
                      <a:pt x="318870" y="127234"/>
                      <a:pt x="314416" y="120990"/>
                      <a:pt x="305616" y="119993"/>
                    </a:cubicBezTo>
                    <a:lnTo>
                      <a:pt x="303400" y="119741"/>
                    </a:lnTo>
                    <a:cubicBezTo>
                      <a:pt x="296910" y="119004"/>
                      <a:pt x="291376" y="115086"/>
                      <a:pt x="288593" y="109253"/>
                    </a:cubicBezTo>
                    <a:cubicBezTo>
                      <a:pt x="285860" y="103530"/>
                      <a:pt x="286272" y="96916"/>
                      <a:pt x="289684" y="91555"/>
                    </a:cubicBezTo>
                    <a:lnTo>
                      <a:pt x="290862" y="89709"/>
                    </a:lnTo>
                    <a:cubicBezTo>
                      <a:pt x="295351" y="82672"/>
                      <a:pt x="293331" y="75560"/>
                      <a:pt x="289953" y="71249"/>
                    </a:cubicBezTo>
                    <a:cubicBezTo>
                      <a:pt x="286370" y="66681"/>
                      <a:pt x="279518" y="62822"/>
                      <a:pt x="271005" y="65707"/>
                    </a:cubicBezTo>
                    <a:lnTo>
                      <a:pt x="268895" y="66420"/>
                    </a:lnTo>
                    <a:cubicBezTo>
                      <a:pt x="262730" y="68512"/>
                      <a:pt x="256018" y="67326"/>
                      <a:pt x="250959" y="63257"/>
                    </a:cubicBezTo>
                    <a:cubicBezTo>
                      <a:pt x="246021" y="59281"/>
                      <a:pt x="243492" y="53173"/>
                      <a:pt x="244190" y="46925"/>
                    </a:cubicBezTo>
                    <a:lnTo>
                      <a:pt x="244432" y="44758"/>
                    </a:lnTo>
                    <a:cubicBezTo>
                      <a:pt x="245357" y="36472"/>
                      <a:pt x="240320" y="30888"/>
                      <a:pt x="235296" y="28427"/>
                    </a:cubicBezTo>
                    <a:cubicBezTo>
                      <a:pt x="230029" y="25841"/>
                      <a:pt x="222139" y="25286"/>
                      <a:pt x="215790" y="31462"/>
                    </a:cubicBezTo>
                    <a:lnTo>
                      <a:pt x="214208" y="32999"/>
                    </a:lnTo>
                    <a:cubicBezTo>
                      <a:pt x="209606" y="37472"/>
                      <a:pt x="203090" y="39277"/>
                      <a:pt x="196797" y="37831"/>
                    </a:cubicBezTo>
                    <a:cubicBezTo>
                      <a:pt x="190564" y="36396"/>
                      <a:pt x="185562" y="31987"/>
                      <a:pt x="183414" y="26041"/>
                    </a:cubicBezTo>
                    <a:lnTo>
                      <a:pt x="182674" y="23995"/>
                    </a:lnTo>
                    <a:cubicBezTo>
                      <a:pt x="182670" y="23991"/>
                      <a:pt x="182670" y="23987"/>
                      <a:pt x="182670" y="23987"/>
                    </a:cubicBezTo>
                    <a:cubicBezTo>
                      <a:pt x="179759" y="15927"/>
                      <a:pt x="172556" y="13058"/>
                      <a:pt x="166788" y="13058"/>
                    </a:cubicBezTo>
                    <a:cubicBezTo>
                      <a:pt x="161019" y="13058"/>
                      <a:pt x="153816" y="15931"/>
                      <a:pt x="150906" y="23987"/>
                    </a:cubicBezTo>
                    <a:lnTo>
                      <a:pt x="150166" y="26037"/>
                    </a:lnTo>
                    <a:cubicBezTo>
                      <a:pt x="148018" y="31987"/>
                      <a:pt x="143016" y="36393"/>
                      <a:pt x="136783" y="37831"/>
                    </a:cubicBezTo>
                    <a:cubicBezTo>
                      <a:pt x="130490" y="39280"/>
                      <a:pt x="123970" y="37472"/>
                      <a:pt x="119364" y="32995"/>
                    </a:cubicBezTo>
                    <a:lnTo>
                      <a:pt x="117786" y="31462"/>
                    </a:lnTo>
                    <a:cubicBezTo>
                      <a:pt x="111433" y="25286"/>
                      <a:pt x="103539" y="25845"/>
                      <a:pt x="98280" y="28419"/>
                    </a:cubicBezTo>
                    <a:cubicBezTo>
                      <a:pt x="93255" y="30881"/>
                      <a:pt x="88216" y="36464"/>
                      <a:pt x="89140" y="44754"/>
                    </a:cubicBezTo>
                    <a:lnTo>
                      <a:pt x="89382" y="46914"/>
                    </a:lnTo>
                    <a:cubicBezTo>
                      <a:pt x="90080" y="53166"/>
                      <a:pt x="87551" y="59270"/>
                      <a:pt x="82613" y="63249"/>
                    </a:cubicBezTo>
                    <a:cubicBezTo>
                      <a:pt x="77558" y="67322"/>
                      <a:pt x="70850" y="68500"/>
                      <a:pt x="64677" y="66413"/>
                    </a:cubicBezTo>
                    <a:lnTo>
                      <a:pt x="62578" y="65699"/>
                    </a:lnTo>
                    <a:cubicBezTo>
                      <a:pt x="54058" y="62819"/>
                      <a:pt x="47206" y="66665"/>
                      <a:pt x="43623" y="71241"/>
                    </a:cubicBezTo>
                    <a:cubicBezTo>
                      <a:pt x="40245" y="75552"/>
                      <a:pt x="38229" y="82665"/>
                      <a:pt x="42717" y="89702"/>
                    </a:cubicBezTo>
                    <a:lnTo>
                      <a:pt x="43895" y="91548"/>
                    </a:lnTo>
                    <a:cubicBezTo>
                      <a:pt x="47312" y="96908"/>
                      <a:pt x="47716" y="103522"/>
                      <a:pt x="44982" y="109246"/>
                    </a:cubicBezTo>
                    <a:cubicBezTo>
                      <a:pt x="42200" y="115074"/>
                      <a:pt x="36662" y="118993"/>
                      <a:pt x="30172" y="119729"/>
                    </a:cubicBezTo>
                    <a:lnTo>
                      <a:pt x="27968" y="119982"/>
                    </a:lnTo>
                    <a:cubicBezTo>
                      <a:pt x="19164" y="120983"/>
                      <a:pt x="14706" y="127223"/>
                      <a:pt x="13471" y="132735"/>
                    </a:cubicBezTo>
                    <a:cubicBezTo>
                      <a:pt x="12263" y="138107"/>
                      <a:pt x="13577" y="145453"/>
                      <a:pt x="20863" y="149964"/>
                    </a:cubicBezTo>
                    <a:lnTo>
                      <a:pt x="22747" y="151131"/>
                    </a:lnTo>
                    <a:cubicBezTo>
                      <a:pt x="28236" y="154529"/>
                      <a:pt x="31513" y="160376"/>
                      <a:pt x="31513" y="166768"/>
                    </a:cubicBezTo>
                    <a:cubicBezTo>
                      <a:pt x="31516" y="173163"/>
                      <a:pt x="28236" y="179014"/>
                      <a:pt x="22747" y="182416"/>
                    </a:cubicBezTo>
                    <a:lnTo>
                      <a:pt x="20867" y="183582"/>
                    </a:lnTo>
                    <a:cubicBezTo>
                      <a:pt x="13577" y="188094"/>
                      <a:pt x="12267" y="195440"/>
                      <a:pt x="13471" y="200812"/>
                    </a:cubicBezTo>
                    <a:cubicBezTo>
                      <a:pt x="14706" y="206324"/>
                      <a:pt x="19164" y="212568"/>
                      <a:pt x="27964" y="213565"/>
                    </a:cubicBezTo>
                    <a:lnTo>
                      <a:pt x="30176" y="213817"/>
                    </a:lnTo>
                    <a:cubicBezTo>
                      <a:pt x="36666" y="214554"/>
                      <a:pt x="42196" y="218472"/>
                      <a:pt x="44982" y="224305"/>
                    </a:cubicBezTo>
                    <a:cubicBezTo>
                      <a:pt x="47716" y="230028"/>
                      <a:pt x="47304" y="236638"/>
                      <a:pt x="43895" y="241999"/>
                    </a:cubicBezTo>
                    <a:lnTo>
                      <a:pt x="42717" y="243845"/>
                    </a:lnTo>
                    <a:cubicBezTo>
                      <a:pt x="38229" y="250886"/>
                      <a:pt x="40245" y="257998"/>
                      <a:pt x="43623" y="262309"/>
                    </a:cubicBezTo>
                    <a:cubicBezTo>
                      <a:pt x="47214" y="266881"/>
                      <a:pt x="54077" y="270736"/>
                      <a:pt x="62578" y="267851"/>
                    </a:cubicBezTo>
                    <a:lnTo>
                      <a:pt x="64685" y="267138"/>
                    </a:lnTo>
                    <a:cubicBezTo>
                      <a:pt x="70865" y="265058"/>
                      <a:pt x="77558" y="266236"/>
                      <a:pt x="82617" y="270301"/>
                    </a:cubicBezTo>
                    <a:cubicBezTo>
                      <a:pt x="87555" y="274277"/>
                      <a:pt x="90084" y="280385"/>
                      <a:pt x="89386" y="286633"/>
                    </a:cubicBezTo>
                    <a:lnTo>
                      <a:pt x="89144" y="288800"/>
                    </a:lnTo>
                    <a:cubicBezTo>
                      <a:pt x="88219" y="297086"/>
                      <a:pt x="93259" y="302673"/>
                      <a:pt x="98284" y="305135"/>
                    </a:cubicBezTo>
                    <a:cubicBezTo>
                      <a:pt x="103543" y="307713"/>
                      <a:pt x="111440" y="308272"/>
                      <a:pt x="117786" y="302096"/>
                    </a:cubicBezTo>
                    <a:lnTo>
                      <a:pt x="119368" y="300559"/>
                    </a:lnTo>
                    <a:cubicBezTo>
                      <a:pt x="122924" y="297105"/>
                      <a:pt x="127621" y="295240"/>
                      <a:pt x="132476" y="295240"/>
                    </a:cubicBezTo>
                    <a:close/>
                  </a:path>
                </a:pathLst>
              </a:custGeom>
              <a:solidFill>
                <a:schemeClr val="tx2"/>
              </a:solidFill>
              <a:ln w="377" cap="flat">
                <a:noFill/>
                <a:prstDash val="solid"/>
                <a:miter/>
              </a:ln>
            </p:spPr>
            <p:txBody>
              <a:bodyPr rtlCol="0" anchor="ctr"/>
              <a:lstStyle/>
              <a:p>
                <a:endParaRPr lang="en-GB" dirty="0"/>
              </a:p>
            </p:txBody>
          </p:sp>
          <p:sp>
            <p:nvSpPr>
              <p:cNvPr id="153" name="Freihandform: Form 1152">
                <a:extLst>
                  <a:ext uri="{FF2B5EF4-FFF2-40B4-BE49-F238E27FC236}">
                    <a16:creationId xmlns:a16="http://schemas.microsoft.com/office/drawing/2014/main" id="{23F0373B-86D7-4F5D-968C-7D409BE17C6D}"/>
                  </a:ext>
                </a:extLst>
              </p:cNvPr>
              <p:cNvSpPr/>
              <p:nvPr/>
            </p:nvSpPr>
            <p:spPr>
              <a:xfrm>
                <a:off x="946085" y="2759447"/>
                <a:ext cx="136467" cy="156700"/>
              </a:xfrm>
              <a:custGeom>
                <a:avLst/>
                <a:gdLst>
                  <a:gd name="connsiteX0" fmla="*/ 95885 w 136467"/>
                  <a:gd name="connsiteY0" fmla="*/ 156701 h 156700"/>
                  <a:gd name="connsiteX1" fmla="*/ 91642 w 136467"/>
                  <a:gd name="connsiteY1" fmla="*/ 155138 h 156700"/>
                  <a:gd name="connsiteX2" fmla="*/ 54962 w 136467"/>
                  <a:gd name="connsiteY2" fmla="*/ 123849 h 156700"/>
                  <a:gd name="connsiteX3" fmla="*/ 6784 w 136467"/>
                  <a:gd name="connsiteY3" fmla="*/ 125673 h 156700"/>
                  <a:gd name="connsiteX4" fmla="*/ 1272 w 136467"/>
                  <a:gd name="connsiteY4" fmla="*/ 123015 h 156700"/>
                  <a:gd name="connsiteX5" fmla="*/ 373 w 136467"/>
                  <a:gd name="connsiteY5" fmla="*/ 116960 h 156700"/>
                  <a:gd name="connsiteX6" fmla="*/ 40220 w 136467"/>
                  <a:gd name="connsiteY6" fmla="*/ 4358 h 156700"/>
                  <a:gd name="connsiteX7" fmla="*/ 48563 w 136467"/>
                  <a:gd name="connsiteY7" fmla="*/ 375 h 156700"/>
                  <a:gd name="connsiteX8" fmla="*/ 52546 w 136467"/>
                  <a:gd name="connsiteY8" fmla="*/ 8718 h 156700"/>
                  <a:gd name="connsiteX9" fmla="*/ 15908 w 136467"/>
                  <a:gd name="connsiteY9" fmla="*/ 112244 h 156700"/>
                  <a:gd name="connsiteX10" fmla="*/ 57012 w 136467"/>
                  <a:gd name="connsiteY10" fmla="*/ 110689 h 156700"/>
                  <a:gd name="connsiteX11" fmla="*/ 61501 w 136467"/>
                  <a:gd name="connsiteY11" fmla="*/ 112248 h 156700"/>
                  <a:gd name="connsiteX12" fmla="*/ 92842 w 136467"/>
                  <a:gd name="connsiteY12" fmla="*/ 138984 h 156700"/>
                  <a:gd name="connsiteX13" fmla="*/ 123753 w 136467"/>
                  <a:gd name="connsiteY13" fmla="*/ 49958 h 156700"/>
                  <a:gd name="connsiteX14" fmla="*/ 132074 w 136467"/>
                  <a:gd name="connsiteY14" fmla="*/ 45926 h 156700"/>
                  <a:gd name="connsiteX15" fmla="*/ 136105 w 136467"/>
                  <a:gd name="connsiteY15" fmla="*/ 54247 h 156700"/>
                  <a:gd name="connsiteX16" fmla="*/ 102054 w 136467"/>
                  <a:gd name="connsiteY16" fmla="*/ 152310 h 156700"/>
                  <a:gd name="connsiteX17" fmla="*/ 97591 w 136467"/>
                  <a:gd name="connsiteY17" fmla="*/ 156471 h 156700"/>
                  <a:gd name="connsiteX18" fmla="*/ 95885 w 136467"/>
                  <a:gd name="connsiteY18" fmla="*/ 156701 h 15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6467" h="156700">
                    <a:moveTo>
                      <a:pt x="95885" y="156701"/>
                    </a:moveTo>
                    <a:cubicBezTo>
                      <a:pt x="94348" y="156701"/>
                      <a:pt x="92842" y="156157"/>
                      <a:pt x="91642" y="155138"/>
                    </a:cubicBezTo>
                    <a:lnTo>
                      <a:pt x="54962" y="123849"/>
                    </a:lnTo>
                    <a:lnTo>
                      <a:pt x="6784" y="125673"/>
                    </a:lnTo>
                    <a:cubicBezTo>
                      <a:pt x="4783" y="125771"/>
                      <a:pt x="2559" y="124755"/>
                      <a:pt x="1272" y="123015"/>
                    </a:cubicBezTo>
                    <a:cubicBezTo>
                      <a:pt x="-12" y="121271"/>
                      <a:pt x="-348" y="119002"/>
                      <a:pt x="373" y="116960"/>
                    </a:cubicBezTo>
                    <a:lnTo>
                      <a:pt x="40220" y="4358"/>
                    </a:lnTo>
                    <a:cubicBezTo>
                      <a:pt x="41428" y="949"/>
                      <a:pt x="45162" y="-825"/>
                      <a:pt x="48563" y="375"/>
                    </a:cubicBezTo>
                    <a:cubicBezTo>
                      <a:pt x="51968" y="1583"/>
                      <a:pt x="53750" y="5317"/>
                      <a:pt x="52546" y="8718"/>
                    </a:cubicBezTo>
                    <a:lnTo>
                      <a:pt x="15908" y="112244"/>
                    </a:lnTo>
                    <a:lnTo>
                      <a:pt x="57012" y="110689"/>
                    </a:lnTo>
                    <a:cubicBezTo>
                      <a:pt x="58594" y="110610"/>
                      <a:pt x="60251" y="111184"/>
                      <a:pt x="61501" y="112248"/>
                    </a:cubicBezTo>
                    <a:lnTo>
                      <a:pt x="92842" y="138984"/>
                    </a:lnTo>
                    <a:lnTo>
                      <a:pt x="123753" y="49958"/>
                    </a:lnTo>
                    <a:cubicBezTo>
                      <a:pt x="124939" y="46549"/>
                      <a:pt x="128657" y="44745"/>
                      <a:pt x="132074" y="45926"/>
                    </a:cubicBezTo>
                    <a:cubicBezTo>
                      <a:pt x="135483" y="47112"/>
                      <a:pt x="137287" y="50834"/>
                      <a:pt x="136105" y="54247"/>
                    </a:cubicBezTo>
                    <a:lnTo>
                      <a:pt x="102054" y="152310"/>
                    </a:lnTo>
                    <a:cubicBezTo>
                      <a:pt x="101344" y="154349"/>
                      <a:pt x="99675" y="155908"/>
                      <a:pt x="97591" y="156471"/>
                    </a:cubicBezTo>
                    <a:cubicBezTo>
                      <a:pt x="97033" y="156622"/>
                      <a:pt x="96455" y="156701"/>
                      <a:pt x="95885" y="156701"/>
                    </a:cubicBezTo>
                    <a:close/>
                  </a:path>
                </a:pathLst>
              </a:custGeom>
              <a:solidFill>
                <a:schemeClr val="tx2"/>
              </a:solidFill>
              <a:ln w="377" cap="flat">
                <a:noFill/>
                <a:prstDash val="solid"/>
                <a:miter/>
              </a:ln>
            </p:spPr>
            <p:txBody>
              <a:bodyPr rtlCol="0" anchor="ctr"/>
              <a:lstStyle/>
              <a:p>
                <a:endParaRPr lang="en-GB" dirty="0"/>
              </a:p>
            </p:txBody>
          </p:sp>
          <p:sp>
            <p:nvSpPr>
              <p:cNvPr id="154" name="Freihandform: Form 1153">
                <a:extLst>
                  <a:ext uri="{FF2B5EF4-FFF2-40B4-BE49-F238E27FC236}">
                    <a16:creationId xmlns:a16="http://schemas.microsoft.com/office/drawing/2014/main" id="{6D6B98EF-9CF2-4389-AFF4-726A4FA7715A}"/>
                  </a:ext>
                </a:extLst>
              </p:cNvPr>
              <p:cNvSpPr/>
              <p:nvPr/>
            </p:nvSpPr>
            <p:spPr>
              <a:xfrm>
                <a:off x="1076375" y="2757690"/>
                <a:ext cx="129589" cy="140485"/>
              </a:xfrm>
              <a:custGeom>
                <a:avLst/>
                <a:gdLst>
                  <a:gd name="connsiteX0" fmla="*/ 33706 w 129589"/>
                  <a:gd name="connsiteY0" fmla="*/ 140485 h 140485"/>
                  <a:gd name="connsiteX1" fmla="*/ 31977 w 129589"/>
                  <a:gd name="connsiteY1" fmla="*/ 140251 h 140485"/>
                  <a:gd name="connsiteX2" fmla="*/ 27522 w 129589"/>
                  <a:gd name="connsiteY2" fmla="*/ 136057 h 140485"/>
                  <a:gd name="connsiteX3" fmla="*/ 352 w 129589"/>
                  <a:gd name="connsiteY3" fmla="*/ 56386 h 140485"/>
                  <a:gd name="connsiteX4" fmla="*/ 4430 w 129589"/>
                  <a:gd name="connsiteY4" fmla="*/ 48092 h 140485"/>
                  <a:gd name="connsiteX5" fmla="*/ 12724 w 129589"/>
                  <a:gd name="connsiteY5" fmla="*/ 52169 h 140485"/>
                  <a:gd name="connsiteX6" fmla="*/ 36790 w 129589"/>
                  <a:gd name="connsiteY6" fmla="*/ 122731 h 140485"/>
                  <a:gd name="connsiteX7" fmla="*/ 68090 w 129589"/>
                  <a:gd name="connsiteY7" fmla="*/ 96033 h 140485"/>
                  <a:gd name="connsiteX8" fmla="*/ 72579 w 129589"/>
                  <a:gd name="connsiteY8" fmla="*/ 94474 h 140485"/>
                  <a:gd name="connsiteX9" fmla="*/ 113660 w 129589"/>
                  <a:gd name="connsiteY9" fmla="*/ 96033 h 140485"/>
                  <a:gd name="connsiteX10" fmla="*/ 82526 w 129589"/>
                  <a:gd name="connsiteY10" fmla="*/ 8732 h 140485"/>
                  <a:gd name="connsiteX11" fmla="*/ 86487 w 129589"/>
                  <a:gd name="connsiteY11" fmla="*/ 381 h 140485"/>
                  <a:gd name="connsiteX12" fmla="*/ 94837 w 129589"/>
                  <a:gd name="connsiteY12" fmla="*/ 4342 h 140485"/>
                  <a:gd name="connsiteX13" fmla="*/ 129210 w 129589"/>
                  <a:gd name="connsiteY13" fmla="*/ 100733 h 140485"/>
                  <a:gd name="connsiteX14" fmla="*/ 128323 w 129589"/>
                  <a:gd name="connsiteY14" fmla="*/ 106796 h 140485"/>
                  <a:gd name="connsiteX15" fmla="*/ 122804 w 129589"/>
                  <a:gd name="connsiteY15" fmla="*/ 109461 h 140485"/>
                  <a:gd name="connsiteX16" fmla="*/ 74625 w 129589"/>
                  <a:gd name="connsiteY16" fmla="*/ 107634 h 140485"/>
                  <a:gd name="connsiteX17" fmla="*/ 37946 w 129589"/>
                  <a:gd name="connsiteY17" fmla="*/ 138922 h 140485"/>
                  <a:gd name="connsiteX18" fmla="*/ 33706 w 129589"/>
                  <a:gd name="connsiteY18" fmla="*/ 140485 h 140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9589" h="140485">
                    <a:moveTo>
                      <a:pt x="33706" y="140485"/>
                    </a:moveTo>
                    <a:cubicBezTo>
                      <a:pt x="33128" y="140485"/>
                      <a:pt x="32547" y="140410"/>
                      <a:pt x="31977" y="140251"/>
                    </a:cubicBezTo>
                    <a:cubicBezTo>
                      <a:pt x="29889" y="139677"/>
                      <a:pt x="28221" y="138107"/>
                      <a:pt x="27522" y="136057"/>
                    </a:cubicBezTo>
                    <a:lnTo>
                      <a:pt x="352" y="56386"/>
                    </a:lnTo>
                    <a:cubicBezTo>
                      <a:pt x="-814" y="52969"/>
                      <a:pt x="1009" y="49255"/>
                      <a:pt x="4430" y="48092"/>
                    </a:cubicBezTo>
                    <a:cubicBezTo>
                      <a:pt x="7842" y="46914"/>
                      <a:pt x="11561" y="48749"/>
                      <a:pt x="12724" y="52169"/>
                    </a:cubicBezTo>
                    <a:lnTo>
                      <a:pt x="36790" y="122731"/>
                    </a:lnTo>
                    <a:lnTo>
                      <a:pt x="68090" y="96033"/>
                    </a:lnTo>
                    <a:cubicBezTo>
                      <a:pt x="69340" y="94968"/>
                      <a:pt x="70974" y="94391"/>
                      <a:pt x="72579" y="94474"/>
                    </a:cubicBezTo>
                    <a:lnTo>
                      <a:pt x="113660" y="96033"/>
                    </a:lnTo>
                    <a:lnTo>
                      <a:pt x="82526" y="8732"/>
                    </a:lnTo>
                    <a:cubicBezTo>
                      <a:pt x="81315" y="5335"/>
                      <a:pt x="83089" y="1593"/>
                      <a:pt x="86487" y="381"/>
                    </a:cubicBezTo>
                    <a:cubicBezTo>
                      <a:pt x="89880" y="-830"/>
                      <a:pt x="93625" y="940"/>
                      <a:pt x="94837" y="4342"/>
                    </a:cubicBezTo>
                    <a:lnTo>
                      <a:pt x="129210" y="100733"/>
                    </a:lnTo>
                    <a:cubicBezTo>
                      <a:pt x="129939" y="102775"/>
                      <a:pt x="129606" y="105048"/>
                      <a:pt x="128323" y="106796"/>
                    </a:cubicBezTo>
                    <a:cubicBezTo>
                      <a:pt x="127043" y="108544"/>
                      <a:pt x="125001" y="109552"/>
                      <a:pt x="122804" y="109461"/>
                    </a:cubicBezTo>
                    <a:lnTo>
                      <a:pt x="74625" y="107634"/>
                    </a:lnTo>
                    <a:lnTo>
                      <a:pt x="37946" y="138922"/>
                    </a:lnTo>
                    <a:cubicBezTo>
                      <a:pt x="36753" y="139945"/>
                      <a:pt x="35243" y="140485"/>
                      <a:pt x="33706" y="140485"/>
                    </a:cubicBezTo>
                    <a:close/>
                  </a:path>
                </a:pathLst>
              </a:custGeom>
              <a:solidFill>
                <a:schemeClr val="tx2"/>
              </a:solidFill>
              <a:ln w="377" cap="flat">
                <a:noFill/>
                <a:prstDash val="solid"/>
                <a:miter/>
              </a:ln>
            </p:spPr>
            <p:txBody>
              <a:bodyPr rtlCol="0" anchor="ctr"/>
              <a:lstStyle/>
              <a:p>
                <a:endParaRPr lang="en-GB" dirty="0"/>
              </a:p>
            </p:txBody>
          </p:sp>
        </p:grpSp>
        <p:sp>
          <p:nvSpPr>
            <p:cNvPr id="150" name="Freihandform: Form 1149">
              <a:extLst>
                <a:ext uri="{FF2B5EF4-FFF2-40B4-BE49-F238E27FC236}">
                  <a16:creationId xmlns:a16="http://schemas.microsoft.com/office/drawing/2014/main" id="{75694F5D-4D6C-467C-8EE3-793636F1548E}"/>
                </a:ext>
              </a:extLst>
            </p:cNvPr>
            <p:cNvSpPr/>
            <p:nvPr/>
          </p:nvSpPr>
          <p:spPr>
            <a:xfrm>
              <a:off x="1766995" y="2485388"/>
              <a:ext cx="144125" cy="139057"/>
            </a:xfrm>
            <a:custGeom>
              <a:avLst/>
              <a:gdLst>
                <a:gd name="connsiteX0" fmla="*/ 40162 w 144380"/>
                <a:gd name="connsiteY0" fmla="*/ 139303 h 139303"/>
                <a:gd name="connsiteX1" fmla="*/ 28202 w 144380"/>
                <a:gd name="connsiteY1" fmla="*/ 135389 h 139303"/>
                <a:gd name="connsiteX2" fmla="*/ 20089 w 144380"/>
                <a:gd name="connsiteY2" fmla="*/ 115452 h 139303"/>
                <a:gd name="connsiteX3" fmla="*/ 24393 w 144380"/>
                <a:gd name="connsiteY3" fmla="*/ 90374 h 139303"/>
                <a:gd name="connsiteX4" fmla="*/ 6170 w 144380"/>
                <a:gd name="connsiteY4" fmla="*/ 72611 h 139303"/>
                <a:gd name="connsiteX5" fmla="*/ 1013 w 144380"/>
                <a:gd name="connsiteY5" fmla="*/ 51716 h 139303"/>
                <a:gd name="connsiteX6" fmla="*/ 17469 w 144380"/>
                <a:gd name="connsiteY6" fmla="*/ 37842 h 139303"/>
                <a:gd name="connsiteX7" fmla="*/ 42653 w 144380"/>
                <a:gd name="connsiteY7" fmla="*/ 34180 h 139303"/>
                <a:gd name="connsiteX8" fmla="*/ 53911 w 144380"/>
                <a:gd name="connsiteY8" fmla="*/ 11363 h 139303"/>
                <a:gd name="connsiteX9" fmla="*/ 72190 w 144380"/>
                <a:gd name="connsiteY9" fmla="*/ 0 h 139303"/>
                <a:gd name="connsiteX10" fmla="*/ 90469 w 144380"/>
                <a:gd name="connsiteY10" fmla="*/ 11359 h 139303"/>
                <a:gd name="connsiteX11" fmla="*/ 90473 w 144380"/>
                <a:gd name="connsiteY11" fmla="*/ 11363 h 139303"/>
                <a:gd name="connsiteX12" fmla="*/ 101731 w 144380"/>
                <a:gd name="connsiteY12" fmla="*/ 34180 h 139303"/>
                <a:gd name="connsiteX13" fmla="*/ 126915 w 144380"/>
                <a:gd name="connsiteY13" fmla="*/ 37842 h 139303"/>
                <a:gd name="connsiteX14" fmla="*/ 143367 w 144380"/>
                <a:gd name="connsiteY14" fmla="*/ 51716 h 139303"/>
                <a:gd name="connsiteX15" fmla="*/ 138214 w 144380"/>
                <a:gd name="connsiteY15" fmla="*/ 72611 h 139303"/>
                <a:gd name="connsiteX16" fmla="*/ 119991 w 144380"/>
                <a:gd name="connsiteY16" fmla="*/ 90370 h 139303"/>
                <a:gd name="connsiteX17" fmla="*/ 124295 w 144380"/>
                <a:gd name="connsiteY17" fmla="*/ 115448 h 139303"/>
                <a:gd name="connsiteX18" fmla="*/ 116186 w 144380"/>
                <a:gd name="connsiteY18" fmla="*/ 135385 h 139303"/>
                <a:gd name="connsiteX19" fmla="*/ 94713 w 144380"/>
                <a:gd name="connsiteY19" fmla="*/ 136936 h 139303"/>
                <a:gd name="connsiteX20" fmla="*/ 72190 w 144380"/>
                <a:gd name="connsiteY20" fmla="*/ 125098 h 139303"/>
                <a:gd name="connsiteX21" fmla="*/ 49667 w 144380"/>
                <a:gd name="connsiteY21" fmla="*/ 136936 h 139303"/>
                <a:gd name="connsiteX22" fmla="*/ 40162 w 144380"/>
                <a:gd name="connsiteY22" fmla="*/ 139303 h 139303"/>
                <a:gd name="connsiteX23" fmla="*/ 72186 w 144380"/>
                <a:gd name="connsiteY23" fmla="*/ 13070 h 139303"/>
                <a:gd name="connsiteX24" fmla="*/ 65629 w 144380"/>
                <a:gd name="connsiteY24" fmla="*/ 17147 h 139303"/>
                <a:gd name="connsiteX25" fmla="*/ 52850 w 144380"/>
                <a:gd name="connsiteY25" fmla="*/ 43041 h 139303"/>
                <a:gd name="connsiteX26" fmla="*/ 47927 w 144380"/>
                <a:gd name="connsiteY26" fmla="*/ 46619 h 139303"/>
                <a:gd name="connsiteX27" fmla="*/ 19342 w 144380"/>
                <a:gd name="connsiteY27" fmla="*/ 50780 h 139303"/>
                <a:gd name="connsiteX28" fmla="*/ 13437 w 144380"/>
                <a:gd name="connsiteY28" fmla="*/ 55755 h 139303"/>
                <a:gd name="connsiteX29" fmla="*/ 15287 w 144380"/>
                <a:gd name="connsiteY29" fmla="*/ 63249 h 139303"/>
                <a:gd name="connsiteX30" fmla="*/ 35971 w 144380"/>
                <a:gd name="connsiteY30" fmla="*/ 83412 h 139303"/>
                <a:gd name="connsiteX31" fmla="*/ 37851 w 144380"/>
                <a:gd name="connsiteY31" fmla="*/ 89196 h 139303"/>
                <a:gd name="connsiteX32" fmla="*/ 32970 w 144380"/>
                <a:gd name="connsiteY32" fmla="*/ 117660 h 139303"/>
                <a:gd name="connsiteX33" fmla="*/ 35877 w 144380"/>
                <a:gd name="connsiteY33" fmla="*/ 124811 h 139303"/>
                <a:gd name="connsiteX34" fmla="*/ 43578 w 144380"/>
                <a:gd name="connsiteY34" fmla="*/ 125366 h 139303"/>
                <a:gd name="connsiteX35" fmla="*/ 69140 w 144380"/>
                <a:gd name="connsiteY35" fmla="*/ 111926 h 139303"/>
                <a:gd name="connsiteX36" fmla="*/ 75221 w 144380"/>
                <a:gd name="connsiteY36" fmla="*/ 111926 h 139303"/>
                <a:gd name="connsiteX37" fmla="*/ 100783 w 144380"/>
                <a:gd name="connsiteY37" fmla="*/ 125366 h 139303"/>
                <a:gd name="connsiteX38" fmla="*/ 108488 w 144380"/>
                <a:gd name="connsiteY38" fmla="*/ 124811 h 139303"/>
                <a:gd name="connsiteX39" fmla="*/ 111395 w 144380"/>
                <a:gd name="connsiteY39" fmla="*/ 117660 h 139303"/>
                <a:gd name="connsiteX40" fmla="*/ 106514 w 144380"/>
                <a:gd name="connsiteY40" fmla="*/ 89196 h 139303"/>
                <a:gd name="connsiteX41" fmla="*/ 108398 w 144380"/>
                <a:gd name="connsiteY41" fmla="*/ 83408 h 139303"/>
                <a:gd name="connsiteX42" fmla="*/ 129082 w 144380"/>
                <a:gd name="connsiteY42" fmla="*/ 63249 h 139303"/>
                <a:gd name="connsiteX43" fmla="*/ 130928 w 144380"/>
                <a:gd name="connsiteY43" fmla="*/ 55755 h 139303"/>
                <a:gd name="connsiteX44" fmla="*/ 125027 w 144380"/>
                <a:gd name="connsiteY44" fmla="*/ 50780 h 139303"/>
                <a:gd name="connsiteX45" fmla="*/ 96442 w 144380"/>
                <a:gd name="connsiteY45" fmla="*/ 46619 h 139303"/>
                <a:gd name="connsiteX46" fmla="*/ 91519 w 144380"/>
                <a:gd name="connsiteY46" fmla="*/ 43041 h 139303"/>
                <a:gd name="connsiteX47" fmla="*/ 78736 w 144380"/>
                <a:gd name="connsiteY47" fmla="*/ 17143 h 139303"/>
                <a:gd name="connsiteX48" fmla="*/ 72186 w 144380"/>
                <a:gd name="connsiteY48" fmla="*/ 13070 h 13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380" h="139303">
                  <a:moveTo>
                    <a:pt x="40162" y="139303"/>
                  </a:moveTo>
                  <a:cubicBezTo>
                    <a:pt x="35952" y="139303"/>
                    <a:pt x="31773" y="137982"/>
                    <a:pt x="28202" y="135389"/>
                  </a:cubicBezTo>
                  <a:cubicBezTo>
                    <a:pt x="21875" y="130798"/>
                    <a:pt x="18768" y="123157"/>
                    <a:pt x="20089" y="115452"/>
                  </a:cubicBezTo>
                  <a:lnTo>
                    <a:pt x="24393" y="90374"/>
                  </a:lnTo>
                  <a:lnTo>
                    <a:pt x="6170" y="72611"/>
                  </a:lnTo>
                  <a:cubicBezTo>
                    <a:pt x="575" y="67160"/>
                    <a:pt x="-1403" y="59153"/>
                    <a:pt x="1013" y="51716"/>
                  </a:cubicBezTo>
                  <a:cubicBezTo>
                    <a:pt x="3425" y="44283"/>
                    <a:pt x="9734" y="38967"/>
                    <a:pt x="17469" y="37842"/>
                  </a:cubicBezTo>
                  <a:lnTo>
                    <a:pt x="42653" y="34180"/>
                  </a:lnTo>
                  <a:lnTo>
                    <a:pt x="53911" y="11363"/>
                  </a:lnTo>
                  <a:cubicBezTo>
                    <a:pt x="57372" y="4353"/>
                    <a:pt x="64375" y="0"/>
                    <a:pt x="72190" y="0"/>
                  </a:cubicBezTo>
                  <a:cubicBezTo>
                    <a:pt x="80008" y="0"/>
                    <a:pt x="87011" y="4353"/>
                    <a:pt x="90469" y="11359"/>
                  </a:cubicBezTo>
                  <a:cubicBezTo>
                    <a:pt x="90469" y="11363"/>
                    <a:pt x="90469" y="11363"/>
                    <a:pt x="90473" y="11363"/>
                  </a:cubicBezTo>
                  <a:lnTo>
                    <a:pt x="101731" y="34180"/>
                  </a:lnTo>
                  <a:lnTo>
                    <a:pt x="126915" y="37842"/>
                  </a:lnTo>
                  <a:cubicBezTo>
                    <a:pt x="134646" y="38967"/>
                    <a:pt x="140955" y="44283"/>
                    <a:pt x="143367" y="51716"/>
                  </a:cubicBezTo>
                  <a:cubicBezTo>
                    <a:pt x="145783" y="59149"/>
                    <a:pt x="143809" y="67156"/>
                    <a:pt x="138214" y="72611"/>
                  </a:cubicBezTo>
                  <a:lnTo>
                    <a:pt x="119991" y="90370"/>
                  </a:lnTo>
                  <a:lnTo>
                    <a:pt x="124295" y="115448"/>
                  </a:lnTo>
                  <a:cubicBezTo>
                    <a:pt x="125616" y="123153"/>
                    <a:pt x="122509" y="130790"/>
                    <a:pt x="116186" y="135385"/>
                  </a:cubicBezTo>
                  <a:cubicBezTo>
                    <a:pt x="109859" y="139979"/>
                    <a:pt x="101640" y="140579"/>
                    <a:pt x="94713" y="136936"/>
                  </a:cubicBezTo>
                  <a:lnTo>
                    <a:pt x="72190" y="125098"/>
                  </a:lnTo>
                  <a:lnTo>
                    <a:pt x="49667" y="136936"/>
                  </a:lnTo>
                  <a:cubicBezTo>
                    <a:pt x="46655" y="138522"/>
                    <a:pt x="43401" y="139303"/>
                    <a:pt x="40162" y="139303"/>
                  </a:cubicBezTo>
                  <a:close/>
                  <a:moveTo>
                    <a:pt x="72186" y="13070"/>
                  </a:moveTo>
                  <a:cubicBezTo>
                    <a:pt x="69343" y="13070"/>
                    <a:pt x="66890" y="14595"/>
                    <a:pt x="65629" y="17147"/>
                  </a:cubicBezTo>
                  <a:lnTo>
                    <a:pt x="52850" y="43041"/>
                  </a:lnTo>
                  <a:cubicBezTo>
                    <a:pt x="51895" y="44970"/>
                    <a:pt x="50056" y="46310"/>
                    <a:pt x="47927" y="46619"/>
                  </a:cubicBezTo>
                  <a:lnTo>
                    <a:pt x="19342" y="50780"/>
                  </a:lnTo>
                  <a:cubicBezTo>
                    <a:pt x="16525" y="51187"/>
                    <a:pt x="14317" y="53049"/>
                    <a:pt x="13437" y="55755"/>
                  </a:cubicBezTo>
                  <a:cubicBezTo>
                    <a:pt x="12561" y="58462"/>
                    <a:pt x="13252" y="61263"/>
                    <a:pt x="15287" y="63249"/>
                  </a:cubicBezTo>
                  <a:lnTo>
                    <a:pt x="35971" y="83412"/>
                  </a:lnTo>
                  <a:cubicBezTo>
                    <a:pt x="37508" y="84911"/>
                    <a:pt x="38210" y="87074"/>
                    <a:pt x="37851" y="89196"/>
                  </a:cubicBezTo>
                  <a:lnTo>
                    <a:pt x="32970" y="117660"/>
                  </a:lnTo>
                  <a:cubicBezTo>
                    <a:pt x="32487" y="120465"/>
                    <a:pt x="33578" y="123138"/>
                    <a:pt x="35877" y="124811"/>
                  </a:cubicBezTo>
                  <a:cubicBezTo>
                    <a:pt x="38187" y="126491"/>
                    <a:pt x="41064" y="126698"/>
                    <a:pt x="43578" y="125366"/>
                  </a:cubicBezTo>
                  <a:lnTo>
                    <a:pt x="69140" y="111926"/>
                  </a:lnTo>
                  <a:cubicBezTo>
                    <a:pt x="71042" y="110926"/>
                    <a:pt x="73319" y="110926"/>
                    <a:pt x="75221" y="111926"/>
                  </a:cubicBezTo>
                  <a:lnTo>
                    <a:pt x="100783" y="125366"/>
                  </a:lnTo>
                  <a:cubicBezTo>
                    <a:pt x="103309" y="126691"/>
                    <a:pt x="106182" y="126487"/>
                    <a:pt x="108488" y="124811"/>
                  </a:cubicBezTo>
                  <a:cubicBezTo>
                    <a:pt x="110791" y="123138"/>
                    <a:pt x="111878" y="120465"/>
                    <a:pt x="111395" y="117660"/>
                  </a:cubicBezTo>
                  <a:lnTo>
                    <a:pt x="106514" y="89196"/>
                  </a:lnTo>
                  <a:cubicBezTo>
                    <a:pt x="106151" y="87078"/>
                    <a:pt x="106854" y="84915"/>
                    <a:pt x="108398" y="83408"/>
                  </a:cubicBezTo>
                  <a:lnTo>
                    <a:pt x="129082" y="63249"/>
                  </a:lnTo>
                  <a:cubicBezTo>
                    <a:pt x="131116" y="61263"/>
                    <a:pt x="131811" y="58462"/>
                    <a:pt x="130928" y="55755"/>
                  </a:cubicBezTo>
                  <a:cubicBezTo>
                    <a:pt x="130048" y="53049"/>
                    <a:pt x="127843" y="51187"/>
                    <a:pt x="125027" y="50780"/>
                  </a:cubicBezTo>
                  <a:lnTo>
                    <a:pt x="96442" y="46619"/>
                  </a:lnTo>
                  <a:cubicBezTo>
                    <a:pt x="94312" y="46310"/>
                    <a:pt x="92474" y="44974"/>
                    <a:pt x="91519" y="43041"/>
                  </a:cubicBezTo>
                  <a:lnTo>
                    <a:pt x="78736" y="17143"/>
                  </a:lnTo>
                  <a:cubicBezTo>
                    <a:pt x="77490" y="14595"/>
                    <a:pt x="75033" y="13070"/>
                    <a:pt x="72186" y="13070"/>
                  </a:cubicBezTo>
                  <a:close/>
                </a:path>
              </a:pathLst>
            </a:custGeom>
            <a:solidFill>
              <a:schemeClr val="accent1"/>
            </a:solidFill>
            <a:ln w="377" cap="flat">
              <a:noFill/>
              <a:prstDash val="solid"/>
              <a:miter/>
            </a:ln>
          </p:spPr>
          <p:txBody>
            <a:bodyPr rtlCol="0" anchor="ctr"/>
            <a:lstStyle/>
            <a:p>
              <a:endParaRPr lang="en-GB" dirty="0"/>
            </a:p>
          </p:txBody>
        </p:sp>
      </p:grpSp>
      <p:grpSp>
        <p:nvGrpSpPr>
          <p:cNvPr id="39" name="Group 38">
            <a:extLst>
              <a:ext uri="{FF2B5EF4-FFF2-40B4-BE49-F238E27FC236}">
                <a16:creationId xmlns:a16="http://schemas.microsoft.com/office/drawing/2014/main" id="{22FE00AD-CB58-6E86-6053-66AC10D2EFA4}"/>
              </a:ext>
            </a:extLst>
          </p:cNvPr>
          <p:cNvGrpSpPr/>
          <p:nvPr/>
        </p:nvGrpSpPr>
        <p:grpSpPr>
          <a:xfrm>
            <a:off x="2614918" y="2482865"/>
            <a:ext cx="540000" cy="249323"/>
            <a:chOff x="2614918" y="2482865"/>
            <a:chExt cx="540000" cy="249323"/>
          </a:xfrm>
        </p:grpSpPr>
        <p:grpSp>
          <p:nvGrpSpPr>
            <p:cNvPr id="156" name="Graphic 4">
              <a:extLst>
                <a:ext uri="{FF2B5EF4-FFF2-40B4-BE49-F238E27FC236}">
                  <a16:creationId xmlns:a16="http://schemas.microsoft.com/office/drawing/2014/main" id="{95BE7FA1-89C4-45AB-8635-2A076FF10B36}"/>
                </a:ext>
              </a:extLst>
            </p:cNvPr>
            <p:cNvGrpSpPr/>
            <p:nvPr/>
          </p:nvGrpSpPr>
          <p:grpSpPr>
            <a:xfrm>
              <a:off x="2614918" y="2482865"/>
              <a:ext cx="365292" cy="249323"/>
              <a:chOff x="1690799" y="2649124"/>
              <a:chExt cx="300653" cy="205206"/>
            </a:xfrm>
            <a:solidFill>
              <a:schemeClr val="tx2"/>
            </a:solidFill>
          </p:grpSpPr>
          <p:sp>
            <p:nvSpPr>
              <p:cNvPr id="160" name="Freihandform: Form 1251">
                <a:extLst>
                  <a:ext uri="{FF2B5EF4-FFF2-40B4-BE49-F238E27FC236}">
                    <a16:creationId xmlns:a16="http://schemas.microsoft.com/office/drawing/2014/main" id="{03E2FEA0-006C-49F5-A913-8135FA813482}"/>
                  </a:ext>
                </a:extLst>
              </p:cNvPr>
              <p:cNvSpPr/>
              <p:nvPr/>
            </p:nvSpPr>
            <p:spPr>
              <a:xfrm>
                <a:off x="1853014" y="2782236"/>
                <a:ext cx="104441" cy="72094"/>
              </a:xfrm>
              <a:custGeom>
                <a:avLst/>
                <a:gdLst>
                  <a:gd name="connsiteX0" fmla="*/ 27328 w 104441"/>
                  <a:gd name="connsiteY0" fmla="*/ 72094 h 72094"/>
                  <a:gd name="connsiteX1" fmla="*/ 8064 w 104441"/>
                  <a:gd name="connsiteY1" fmla="*/ 64068 h 72094"/>
                  <a:gd name="connsiteX2" fmla="*/ 0 w 104441"/>
                  <a:gd name="connsiteY2" fmla="*/ 44573 h 72094"/>
                  <a:gd name="connsiteX3" fmla="*/ 8105 w 104441"/>
                  <a:gd name="connsiteY3" fmla="*/ 25097 h 72094"/>
                  <a:gd name="connsiteX4" fmla="*/ 17645 w 104441"/>
                  <a:gd name="connsiteY4" fmla="*/ 15875 h 72094"/>
                  <a:gd name="connsiteX5" fmla="*/ 26887 w 104441"/>
                  <a:gd name="connsiteY5" fmla="*/ 16033 h 72094"/>
                  <a:gd name="connsiteX6" fmla="*/ 26728 w 104441"/>
                  <a:gd name="connsiteY6" fmla="*/ 25275 h 72094"/>
                  <a:gd name="connsiteX7" fmla="*/ 17260 w 104441"/>
                  <a:gd name="connsiteY7" fmla="*/ 34429 h 72094"/>
                  <a:gd name="connsiteX8" fmla="*/ 13073 w 104441"/>
                  <a:gd name="connsiteY8" fmla="*/ 44592 h 72094"/>
                  <a:gd name="connsiteX9" fmla="*/ 17309 w 104441"/>
                  <a:gd name="connsiteY9" fmla="*/ 54830 h 72094"/>
                  <a:gd name="connsiteX10" fmla="*/ 27695 w 104441"/>
                  <a:gd name="connsiteY10" fmla="*/ 59025 h 72094"/>
                  <a:gd name="connsiteX11" fmla="*/ 36932 w 104441"/>
                  <a:gd name="connsiteY11" fmla="*/ 54796 h 72094"/>
                  <a:gd name="connsiteX12" fmla="*/ 93435 w 104441"/>
                  <a:gd name="connsiteY12" fmla="*/ 1767 h 72094"/>
                  <a:gd name="connsiteX13" fmla="*/ 102673 w 104441"/>
                  <a:gd name="connsiteY13" fmla="*/ 2065 h 72094"/>
                  <a:gd name="connsiteX14" fmla="*/ 102375 w 104441"/>
                  <a:gd name="connsiteY14" fmla="*/ 11303 h 72094"/>
                  <a:gd name="connsiteX15" fmla="*/ 46268 w 104441"/>
                  <a:gd name="connsiteY15" fmla="*/ 63929 h 72094"/>
                  <a:gd name="connsiteX16" fmla="*/ 28049 w 104441"/>
                  <a:gd name="connsiteY16" fmla="*/ 72090 h 72094"/>
                  <a:gd name="connsiteX17" fmla="*/ 27328 w 104441"/>
                  <a:gd name="connsiteY17" fmla="*/ 72094 h 72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4441" h="72094">
                    <a:moveTo>
                      <a:pt x="27328" y="72094"/>
                    </a:moveTo>
                    <a:cubicBezTo>
                      <a:pt x="20178" y="72094"/>
                      <a:pt x="13190" y="69195"/>
                      <a:pt x="8064" y="64068"/>
                    </a:cubicBezTo>
                    <a:cubicBezTo>
                      <a:pt x="2854" y="58858"/>
                      <a:pt x="-8" y="51939"/>
                      <a:pt x="0" y="44573"/>
                    </a:cubicBezTo>
                    <a:cubicBezTo>
                      <a:pt x="11" y="37212"/>
                      <a:pt x="2888" y="30292"/>
                      <a:pt x="8105" y="25097"/>
                    </a:cubicBezTo>
                    <a:lnTo>
                      <a:pt x="17645" y="15875"/>
                    </a:lnTo>
                    <a:cubicBezTo>
                      <a:pt x="20231" y="13368"/>
                      <a:pt x="24376" y="13432"/>
                      <a:pt x="26887" y="16033"/>
                    </a:cubicBezTo>
                    <a:cubicBezTo>
                      <a:pt x="29393" y="18627"/>
                      <a:pt x="29325" y="22764"/>
                      <a:pt x="26728" y="25275"/>
                    </a:cubicBezTo>
                    <a:lnTo>
                      <a:pt x="17260" y="34429"/>
                    </a:lnTo>
                    <a:cubicBezTo>
                      <a:pt x="14587" y="37087"/>
                      <a:pt x="13081" y="40723"/>
                      <a:pt x="13073" y="44592"/>
                    </a:cubicBezTo>
                    <a:cubicBezTo>
                      <a:pt x="13070" y="48462"/>
                      <a:pt x="14572" y="52093"/>
                      <a:pt x="17309" y="54830"/>
                    </a:cubicBezTo>
                    <a:cubicBezTo>
                      <a:pt x="20076" y="57601"/>
                      <a:pt x="23716" y="59111"/>
                      <a:pt x="27695" y="59025"/>
                    </a:cubicBezTo>
                    <a:cubicBezTo>
                      <a:pt x="31296" y="58926"/>
                      <a:pt x="34577" y="57424"/>
                      <a:pt x="36932" y="54796"/>
                    </a:cubicBezTo>
                    <a:lnTo>
                      <a:pt x="93435" y="1767"/>
                    </a:lnTo>
                    <a:cubicBezTo>
                      <a:pt x="96067" y="-695"/>
                      <a:pt x="100200" y="-574"/>
                      <a:pt x="102673" y="2065"/>
                    </a:cubicBezTo>
                    <a:cubicBezTo>
                      <a:pt x="105142" y="4696"/>
                      <a:pt x="105010" y="8834"/>
                      <a:pt x="102375" y="11303"/>
                    </a:cubicBezTo>
                    <a:lnTo>
                      <a:pt x="46268" y="63929"/>
                    </a:lnTo>
                    <a:cubicBezTo>
                      <a:pt x="41882" y="68851"/>
                      <a:pt x="35275" y="71894"/>
                      <a:pt x="28049" y="72090"/>
                    </a:cubicBezTo>
                    <a:cubicBezTo>
                      <a:pt x="27808" y="72090"/>
                      <a:pt x="27566" y="72094"/>
                      <a:pt x="27328" y="72094"/>
                    </a:cubicBezTo>
                    <a:close/>
                  </a:path>
                </a:pathLst>
              </a:custGeom>
              <a:grpFill/>
              <a:ln w="377" cap="flat">
                <a:noFill/>
                <a:prstDash val="solid"/>
                <a:miter/>
              </a:ln>
            </p:spPr>
            <p:txBody>
              <a:bodyPr rtlCol="0" anchor="ctr"/>
              <a:lstStyle/>
              <a:p>
                <a:endParaRPr lang="en-GB" dirty="0"/>
              </a:p>
            </p:txBody>
          </p:sp>
          <p:sp>
            <p:nvSpPr>
              <p:cNvPr id="161" name="Freihandform: Form 1252">
                <a:extLst>
                  <a:ext uri="{FF2B5EF4-FFF2-40B4-BE49-F238E27FC236}">
                    <a16:creationId xmlns:a16="http://schemas.microsoft.com/office/drawing/2014/main" id="{1178B1F2-6478-483A-B20B-592CD3FA21BC}"/>
                  </a:ext>
                </a:extLst>
              </p:cNvPr>
              <p:cNvSpPr/>
              <p:nvPr/>
            </p:nvSpPr>
            <p:spPr>
              <a:xfrm>
                <a:off x="1690799" y="2649124"/>
                <a:ext cx="300653" cy="13096"/>
              </a:xfrm>
              <a:custGeom>
                <a:avLst/>
                <a:gdLst>
                  <a:gd name="connsiteX0" fmla="*/ 6535 w 300653"/>
                  <a:gd name="connsiteY0" fmla="*/ 13096 h 13096"/>
                  <a:gd name="connsiteX1" fmla="*/ 0 w 300653"/>
                  <a:gd name="connsiteY1" fmla="*/ 6561 h 13096"/>
                  <a:gd name="connsiteX2" fmla="*/ 6535 w 300653"/>
                  <a:gd name="connsiteY2" fmla="*/ 26 h 13096"/>
                  <a:gd name="connsiteX3" fmla="*/ 294119 w 300653"/>
                  <a:gd name="connsiteY3" fmla="*/ 0 h 13096"/>
                  <a:gd name="connsiteX4" fmla="*/ 300654 w 300653"/>
                  <a:gd name="connsiteY4" fmla="*/ 6535 h 13096"/>
                  <a:gd name="connsiteX5" fmla="*/ 294119 w 300653"/>
                  <a:gd name="connsiteY5" fmla="*/ 13070 h 13096"/>
                  <a:gd name="connsiteX6" fmla="*/ 6535 w 300653"/>
                  <a:gd name="connsiteY6" fmla="*/ 13096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653" h="13096">
                    <a:moveTo>
                      <a:pt x="6535" y="13096"/>
                    </a:moveTo>
                    <a:cubicBezTo>
                      <a:pt x="2926" y="13096"/>
                      <a:pt x="0" y="10170"/>
                      <a:pt x="0" y="6561"/>
                    </a:cubicBezTo>
                    <a:cubicBezTo>
                      <a:pt x="0" y="2952"/>
                      <a:pt x="2926" y="26"/>
                      <a:pt x="6535" y="26"/>
                    </a:cubicBezTo>
                    <a:lnTo>
                      <a:pt x="294119" y="0"/>
                    </a:lnTo>
                    <a:cubicBezTo>
                      <a:pt x="297728" y="0"/>
                      <a:pt x="300654" y="2926"/>
                      <a:pt x="300654" y="6535"/>
                    </a:cubicBezTo>
                    <a:cubicBezTo>
                      <a:pt x="300654" y="10144"/>
                      <a:pt x="297728" y="13070"/>
                      <a:pt x="294119" y="13070"/>
                    </a:cubicBezTo>
                    <a:lnTo>
                      <a:pt x="6535" y="13096"/>
                    </a:lnTo>
                    <a:close/>
                  </a:path>
                </a:pathLst>
              </a:custGeom>
              <a:grpFill/>
              <a:ln w="377" cap="flat">
                <a:noFill/>
                <a:prstDash val="solid"/>
                <a:miter/>
              </a:ln>
            </p:spPr>
            <p:txBody>
              <a:bodyPr rtlCol="0" anchor="ctr"/>
              <a:lstStyle/>
              <a:p>
                <a:endParaRPr lang="en-GB" dirty="0"/>
              </a:p>
            </p:txBody>
          </p:sp>
          <p:sp>
            <p:nvSpPr>
              <p:cNvPr id="162" name="Freihandform: Form 1253">
                <a:extLst>
                  <a:ext uri="{FF2B5EF4-FFF2-40B4-BE49-F238E27FC236}">
                    <a16:creationId xmlns:a16="http://schemas.microsoft.com/office/drawing/2014/main" id="{7F2F740A-5B56-4B56-948D-F86CD832E754}"/>
                  </a:ext>
                </a:extLst>
              </p:cNvPr>
              <p:cNvSpPr/>
              <p:nvPr/>
            </p:nvSpPr>
            <p:spPr>
              <a:xfrm>
                <a:off x="1714703" y="2692062"/>
                <a:ext cx="107644" cy="124086"/>
              </a:xfrm>
              <a:custGeom>
                <a:avLst/>
                <a:gdLst>
                  <a:gd name="connsiteX0" fmla="*/ 27532 w 107644"/>
                  <a:gd name="connsiteY0" fmla="*/ 124086 h 124086"/>
                  <a:gd name="connsiteX1" fmla="*/ 8064 w 107644"/>
                  <a:gd name="connsiteY1" fmla="*/ 116034 h 124086"/>
                  <a:gd name="connsiteX2" fmla="*/ 0 w 107644"/>
                  <a:gd name="connsiteY2" fmla="*/ 96539 h 124086"/>
                  <a:gd name="connsiteX3" fmla="*/ 8105 w 107644"/>
                  <a:gd name="connsiteY3" fmla="*/ 77059 h 124086"/>
                  <a:gd name="connsiteX4" fmla="*/ 83578 w 107644"/>
                  <a:gd name="connsiteY4" fmla="*/ 1903 h 124086"/>
                  <a:gd name="connsiteX5" fmla="*/ 92820 w 107644"/>
                  <a:gd name="connsiteY5" fmla="*/ 1922 h 124086"/>
                  <a:gd name="connsiteX6" fmla="*/ 92801 w 107644"/>
                  <a:gd name="connsiteY6" fmla="*/ 11164 h 124086"/>
                  <a:gd name="connsiteX7" fmla="*/ 17328 w 107644"/>
                  <a:gd name="connsiteY7" fmla="*/ 86320 h 124086"/>
                  <a:gd name="connsiteX8" fmla="*/ 13070 w 107644"/>
                  <a:gd name="connsiteY8" fmla="*/ 96550 h 124086"/>
                  <a:gd name="connsiteX9" fmla="*/ 17305 w 107644"/>
                  <a:gd name="connsiteY9" fmla="*/ 106792 h 124086"/>
                  <a:gd name="connsiteX10" fmla="*/ 37752 w 107644"/>
                  <a:gd name="connsiteY10" fmla="*/ 106792 h 124086"/>
                  <a:gd name="connsiteX11" fmla="*/ 96489 w 107644"/>
                  <a:gd name="connsiteY11" fmla="*/ 48054 h 124086"/>
                  <a:gd name="connsiteX12" fmla="*/ 105731 w 107644"/>
                  <a:gd name="connsiteY12" fmla="*/ 48054 h 124086"/>
                  <a:gd name="connsiteX13" fmla="*/ 105731 w 107644"/>
                  <a:gd name="connsiteY13" fmla="*/ 57296 h 124086"/>
                  <a:gd name="connsiteX14" fmla="*/ 46993 w 107644"/>
                  <a:gd name="connsiteY14" fmla="*/ 116034 h 124086"/>
                  <a:gd name="connsiteX15" fmla="*/ 27532 w 107644"/>
                  <a:gd name="connsiteY15" fmla="*/ 124086 h 124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644" h="124086">
                    <a:moveTo>
                      <a:pt x="27532" y="124086"/>
                    </a:moveTo>
                    <a:cubicBezTo>
                      <a:pt x="20484" y="124086"/>
                      <a:pt x="13432" y="121402"/>
                      <a:pt x="8064" y="116034"/>
                    </a:cubicBezTo>
                    <a:cubicBezTo>
                      <a:pt x="2854" y="110824"/>
                      <a:pt x="-8" y="103904"/>
                      <a:pt x="0" y="96539"/>
                    </a:cubicBezTo>
                    <a:cubicBezTo>
                      <a:pt x="8" y="89174"/>
                      <a:pt x="2884" y="82254"/>
                      <a:pt x="8105" y="77059"/>
                    </a:cubicBezTo>
                    <a:lnTo>
                      <a:pt x="83578" y="1903"/>
                    </a:lnTo>
                    <a:cubicBezTo>
                      <a:pt x="86142" y="-641"/>
                      <a:pt x="90275" y="-634"/>
                      <a:pt x="92820" y="1922"/>
                    </a:cubicBezTo>
                    <a:cubicBezTo>
                      <a:pt x="95368" y="4478"/>
                      <a:pt x="95361" y="8619"/>
                      <a:pt x="92801" y="11164"/>
                    </a:cubicBezTo>
                    <a:lnTo>
                      <a:pt x="17328" y="86320"/>
                    </a:lnTo>
                    <a:cubicBezTo>
                      <a:pt x="14587" y="89053"/>
                      <a:pt x="13073" y="92684"/>
                      <a:pt x="13070" y="96550"/>
                    </a:cubicBezTo>
                    <a:cubicBezTo>
                      <a:pt x="13066" y="100420"/>
                      <a:pt x="14568" y="104055"/>
                      <a:pt x="17305" y="106792"/>
                    </a:cubicBezTo>
                    <a:cubicBezTo>
                      <a:pt x="22938" y="112425"/>
                      <a:pt x="32115" y="112432"/>
                      <a:pt x="37752" y="106792"/>
                    </a:cubicBezTo>
                    <a:lnTo>
                      <a:pt x="96489" y="48054"/>
                    </a:lnTo>
                    <a:cubicBezTo>
                      <a:pt x="99041" y="45502"/>
                      <a:pt x="103179" y="45502"/>
                      <a:pt x="105731" y="48054"/>
                    </a:cubicBezTo>
                    <a:cubicBezTo>
                      <a:pt x="108283" y="50607"/>
                      <a:pt x="108283" y="54744"/>
                      <a:pt x="105731" y="57296"/>
                    </a:cubicBezTo>
                    <a:lnTo>
                      <a:pt x="46993" y="116034"/>
                    </a:lnTo>
                    <a:cubicBezTo>
                      <a:pt x="41629" y="121402"/>
                      <a:pt x="34577" y="124086"/>
                      <a:pt x="27532" y="124086"/>
                    </a:cubicBezTo>
                    <a:close/>
                  </a:path>
                </a:pathLst>
              </a:custGeom>
              <a:grpFill/>
              <a:ln w="377" cap="flat">
                <a:noFill/>
                <a:prstDash val="solid"/>
                <a:miter/>
              </a:ln>
            </p:spPr>
            <p:txBody>
              <a:bodyPr rtlCol="0" anchor="ctr"/>
              <a:lstStyle/>
              <a:p>
                <a:endParaRPr lang="en-GB" dirty="0"/>
              </a:p>
            </p:txBody>
          </p:sp>
          <p:sp>
            <p:nvSpPr>
              <p:cNvPr id="163" name="Freihandform: Form 1254">
                <a:extLst>
                  <a:ext uri="{FF2B5EF4-FFF2-40B4-BE49-F238E27FC236}">
                    <a16:creationId xmlns:a16="http://schemas.microsoft.com/office/drawing/2014/main" id="{8E5B981F-3541-410B-9A0B-D770DD76DDA9}"/>
                  </a:ext>
                </a:extLst>
              </p:cNvPr>
              <p:cNvSpPr/>
              <p:nvPr/>
            </p:nvSpPr>
            <p:spPr>
              <a:xfrm>
                <a:off x="1767778" y="2736445"/>
                <a:ext cx="84816" cy="86914"/>
              </a:xfrm>
              <a:custGeom>
                <a:avLst/>
                <a:gdLst>
                  <a:gd name="connsiteX0" fmla="*/ 27468 w 84816"/>
                  <a:gd name="connsiteY0" fmla="*/ 86914 h 86914"/>
                  <a:gd name="connsiteX1" fmla="*/ 8064 w 84816"/>
                  <a:gd name="connsiteY1" fmla="*/ 77748 h 86914"/>
                  <a:gd name="connsiteX2" fmla="*/ 0 w 84816"/>
                  <a:gd name="connsiteY2" fmla="*/ 58253 h 86914"/>
                  <a:gd name="connsiteX3" fmla="*/ 8105 w 84816"/>
                  <a:gd name="connsiteY3" fmla="*/ 38777 h 86914"/>
                  <a:gd name="connsiteX4" fmla="*/ 45181 w 84816"/>
                  <a:gd name="connsiteY4" fmla="*/ 1905 h 86914"/>
                  <a:gd name="connsiteX5" fmla="*/ 54423 w 84816"/>
                  <a:gd name="connsiteY5" fmla="*/ 1932 h 86914"/>
                  <a:gd name="connsiteX6" fmla="*/ 54396 w 84816"/>
                  <a:gd name="connsiteY6" fmla="*/ 11173 h 86914"/>
                  <a:gd name="connsiteX7" fmla="*/ 17324 w 84816"/>
                  <a:gd name="connsiteY7" fmla="*/ 48041 h 86914"/>
                  <a:gd name="connsiteX8" fmla="*/ 13070 w 84816"/>
                  <a:gd name="connsiteY8" fmla="*/ 58268 h 86914"/>
                  <a:gd name="connsiteX9" fmla="*/ 17305 w 84816"/>
                  <a:gd name="connsiteY9" fmla="*/ 68506 h 86914"/>
                  <a:gd name="connsiteX10" fmla="*/ 27695 w 84816"/>
                  <a:gd name="connsiteY10" fmla="*/ 73841 h 86914"/>
                  <a:gd name="connsiteX11" fmla="*/ 36929 w 84816"/>
                  <a:gd name="connsiteY11" fmla="*/ 68472 h 86914"/>
                  <a:gd name="connsiteX12" fmla="*/ 73661 w 84816"/>
                  <a:gd name="connsiteY12" fmla="*/ 31729 h 86914"/>
                  <a:gd name="connsiteX13" fmla="*/ 82903 w 84816"/>
                  <a:gd name="connsiteY13" fmla="*/ 31729 h 86914"/>
                  <a:gd name="connsiteX14" fmla="*/ 82903 w 84816"/>
                  <a:gd name="connsiteY14" fmla="*/ 40970 h 86914"/>
                  <a:gd name="connsiteX15" fmla="*/ 46416 w 84816"/>
                  <a:gd name="connsiteY15" fmla="*/ 77454 h 86914"/>
                  <a:gd name="connsiteX16" fmla="*/ 28049 w 84816"/>
                  <a:gd name="connsiteY16" fmla="*/ 86903 h 86914"/>
                  <a:gd name="connsiteX17" fmla="*/ 27468 w 84816"/>
                  <a:gd name="connsiteY17" fmla="*/ 86914 h 86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4816" h="86914">
                    <a:moveTo>
                      <a:pt x="27468" y="86914"/>
                    </a:moveTo>
                    <a:cubicBezTo>
                      <a:pt x="20767" y="86914"/>
                      <a:pt x="14070" y="83754"/>
                      <a:pt x="8064" y="77748"/>
                    </a:cubicBezTo>
                    <a:cubicBezTo>
                      <a:pt x="2854" y="72538"/>
                      <a:pt x="-8" y="65618"/>
                      <a:pt x="0" y="58253"/>
                    </a:cubicBezTo>
                    <a:cubicBezTo>
                      <a:pt x="11" y="50892"/>
                      <a:pt x="2888" y="43972"/>
                      <a:pt x="8105" y="38777"/>
                    </a:cubicBezTo>
                    <a:lnTo>
                      <a:pt x="45181" y="1905"/>
                    </a:lnTo>
                    <a:cubicBezTo>
                      <a:pt x="47733" y="-643"/>
                      <a:pt x="51878" y="-636"/>
                      <a:pt x="54423" y="1932"/>
                    </a:cubicBezTo>
                    <a:cubicBezTo>
                      <a:pt x="56971" y="4491"/>
                      <a:pt x="56956" y="8629"/>
                      <a:pt x="54396" y="11173"/>
                    </a:cubicBezTo>
                    <a:lnTo>
                      <a:pt x="17324" y="48041"/>
                    </a:lnTo>
                    <a:cubicBezTo>
                      <a:pt x="14587" y="50767"/>
                      <a:pt x="13077" y="54402"/>
                      <a:pt x="13070" y="58268"/>
                    </a:cubicBezTo>
                    <a:cubicBezTo>
                      <a:pt x="13066" y="62138"/>
                      <a:pt x="14568" y="65769"/>
                      <a:pt x="17305" y="68506"/>
                    </a:cubicBezTo>
                    <a:cubicBezTo>
                      <a:pt x="19797" y="70994"/>
                      <a:pt x="23323" y="73826"/>
                      <a:pt x="27695" y="73841"/>
                    </a:cubicBezTo>
                    <a:cubicBezTo>
                      <a:pt x="30700" y="73758"/>
                      <a:pt x="33807" y="71953"/>
                      <a:pt x="36929" y="68472"/>
                    </a:cubicBezTo>
                    <a:lnTo>
                      <a:pt x="73661" y="31729"/>
                    </a:lnTo>
                    <a:cubicBezTo>
                      <a:pt x="76213" y="29177"/>
                      <a:pt x="80351" y="29177"/>
                      <a:pt x="82903" y="31729"/>
                    </a:cubicBezTo>
                    <a:cubicBezTo>
                      <a:pt x="85455" y="34281"/>
                      <a:pt x="85455" y="38418"/>
                      <a:pt x="82903" y="40970"/>
                    </a:cubicBezTo>
                    <a:lnTo>
                      <a:pt x="46416" y="77454"/>
                    </a:lnTo>
                    <a:cubicBezTo>
                      <a:pt x="41047" y="83452"/>
                      <a:pt x="34784" y="86722"/>
                      <a:pt x="28049" y="86903"/>
                    </a:cubicBezTo>
                    <a:cubicBezTo>
                      <a:pt x="27857" y="86910"/>
                      <a:pt x="27664" y="86914"/>
                      <a:pt x="27468" y="86914"/>
                    </a:cubicBezTo>
                    <a:close/>
                  </a:path>
                </a:pathLst>
              </a:custGeom>
              <a:grpFill/>
              <a:ln w="377" cap="flat">
                <a:noFill/>
                <a:prstDash val="solid"/>
                <a:miter/>
              </a:ln>
            </p:spPr>
            <p:txBody>
              <a:bodyPr rtlCol="0" anchor="ctr"/>
              <a:lstStyle/>
              <a:p>
                <a:endParaRPr lang="en-GB" dirty="0"/>
              </a:p>
            </p:txBody>
          </p:sp>
          <p:sp>
            <p:nvSpPr>
              <p:cNvPr id="164" name="Freihandform: Form 1255">
                <a:extLst>
                  <a:ext uri="{FF2B5EF4-FFF2-40B4-BE49-F238E27FC236}">
                    <a16:creationId xmlns:a16="http://schemas.microsoft.com/office/drawing/2014/main" id="{238752EF-AF29-46A0-B421-A493ABF311C7}"/>
                  </a:ext>
                </a:extLst>
              </p:cNvPr>
              <p:cNvSpPr/>
              <p:nvPr/>
            </p:nvSpPr>
            <p:spPr>
              <a:xfrm>
                <a:off x="1808648" y="2766360"/>
                <a:ext cx="72698" cy="73375"/>
              </a:xfrm>
              <a:custGeom>
                <a:avLst/>
                <a:gdLst>
                  <a:gd name="connsiteX0" fmla="*/ 27325 w 72698"/>
                  <a:gd name="connsiteY0" fmla="*/ 73375 h 73375"/>
                  <a:gd name="connsiteX1" fmla="*/ 8064 w 72698"/>
                  <a:gd name="connsiteY1" fmla="*/ 65349 h 73375"/>
                  <a:gd name="connsiteX2" fmla="*/ 0 w 72698"/>
                  <a:gd name="connsiteY2" fmla="*/ 45854 h 73375"/>
                  <a:gd name="connsiteX3" fmla="*/ 8101 w 72698"/>
                  <a:gd name="connsiteY3" fmla="*/ 26374 h 73375"/>
                  <a:gd name="connsiteX4" fmla="*/ 32916 w 72698"/>
                  <a:gd name="connsiteY4" fmla="*/ 1881 h 73375"/>
                  <a:gd name="connsiteX5" fmla="*/ 42161 w 72698"/>
                  <a:gd name="connsiteY5" fmla="*/ 1942 h 73375"/>
                  <a:gd name="connsiteX6" fmla="*/ 42101 w 72698"/>
                  <a:gd name="connsiteY6" fmla="*/ 11187 h 73375"/>
                  <a:gd name="connsiteX7" fmla="*/ 17305 w 72698"/>
                  <a:gd name="connsiteY7" fmla="*/ 35657 h 73375"/>
                  <a:gd name="connsiteX8" fmla="*/ 13070 w 72698"/>
                  <a:gd name="connsiteY8" fmla="*/ 45865 h 73375"/>
                  <a:gd name="connsiteX9" fmla="*/ 17305 w 72698"/>
                  <a:gd name="connsiteY9" fmla="*/ 56108 h 73375"/>
                  <a:gd name="connsiteX10" fmla="*/ 27687 w 72698"/>
                  <a:gd name="connsiteY10" fmla="*/ 60302 h 73375"/>
                  <a:gd name="connsiteX11" fmla="*/ 36921 w 72698"/>
                  <a:gd name="connsiteY11" fmla="*/ 56074 h 73375"/>
                  <a:gd name="connsiteX12" fmla="*/ 61543 w 72698"/>
                  <a:gd name="connsiteY12" fmla="*/ 31441 h 73375"/>
                  <a:gd name="connsiteX13" fmla="*/ 70784 w 72698"/>
                  <a:gd name="connsiteY13" fmla="*/ 31441 h 73375"/>
                  <a:gd name="connsiteX14" fmla="*/ 70784 w 72698"/>
                  <a:gd name="connsiteY14" fmla="*/ 40682 h 73375"/>
                  <a:gd name="connsiteX15" fmla="*/ 46408 w 72698"/>
                  <a:gd name="connsiteY15" fmla="*/ 65055 h 73375"/>
                  <a:gd name="connsiteX16" fmla="*/ 28042 w 72698"/>
                  <a:gd name="connsiteY16" fmla="*/ 73364 h 73375"/>
                  <a:gd name="connsiteX17" fmla="*/ 27325 w 72698"/>
                  <a:gd name="connsiteY17" fmla="*/ 73375 h 73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2698" h="73375">
                    <a:moveTo>
                      <a:pt x="27325" y="73375"/>
                    </a:moveTo>
                    <a:cubicBezTo>
                      <a:pt x="20174" y="73375"/>
                      <a:pt x="13190" y="70476"/>
                      <a:pt x="8064" y="65349"/>
                    </a:cubicBezTo>
                    <a:cubicBezTo>
                      <a:pt x="2854" y="60139"/>
                      <a:pt x="-8" y="53219"/>
                      <a:pt x="0" y="45854"/>
                    </a:cubicBezTo>
                    <a:cubicBezTo>
                      <a:pt x="8" y="38489"/>
                      <a:pt x="2884" y="31573"/>
                      <a:pt x="8101" y="26374"/>
                    </a:cubicBezTo>
                    <a:lnTo>
                      <a:pt x="32916" y="1881"/>
                    </a:lnTo>
                    <a:cubicBezTo>
                      <a:pt x="35487" y="-648"/>
                      <a:pt x="39624" y="-626"/>
                      <a:pt x="42161" y="1942"/>
                    </a:cubicBezTo>
                    <a:cubicBezTo>
                      <a:pt x="44694" y="4512"/>
                      <a:pt x="44668" y="8650"/>
                      <a:pt x="42101" y="11187"/>
                    </a:cubicBezTo>
                    <a:lnTo>
                      <a:pt x="17305" y="35657"/>
                    </a:lnTo>
                    <a:cubicBezTo>
                      <a:pt x="14587" y="38364"/>
                      <a:pt x="13073" y="42000"/>
                      <a:pt x="13070" y="45865"/>
                    </a:cubicBezTo>
                    <a:cubicBezTo>
                      <a:pt x="13066" y="49735"/>
                      <a:pt x="14568" y="53371"/>
                      <a:pt x="17305" y="56108"/>
                    </a:cubicBezTo>
                    <a:cubicBezTo>
                      <a:pt x="20076" y="58878"/>
                      <a:pt x="23878" y="60472"/>
                      <a:pt x="27687" y="60302"/>
                    </a:cubicBezTo>
                    <a:cubicBezTo>
                      <a:pt x="31289" y="60204"/>
                      <a:pt x="34569" y="58701"/>
                      <a:pt x="36921" y="56074"/>
                    </a:cubicBezTo>
                    <a:lnTo>
                      <a:pt x="61543" y="31441"/>
                    </a:lnTo>
                    <a:cubicBezTo>
                      <a:pt x="64095" y="28889"/>
                      <a:pt x="68232" y="28889"/>
                      <a:pt x="70784" y="31441"/>
                    </a:cubicBezTo>
                    <a:cubicBezTo>
                      <a:pt x="73336" y="33993"/>
                      <a:pt x="73336" y="38134"/>
                      <a:pt x="70784" y="40682"/>
                    </a:cubicBezTo>
                    <a:lnTo>
                      <a:pt x="46408" y="65055"/>
                    </a:lnTo>
                    <a:cubicBezTo>
                      <a:pt x="41874" y="70125"/>
                      <a:pt x="35264" y="73171"/>
                      <a:pt x="28042" y="73364"/>
                    </a:cubicBezTo>
                    <a:cubicBezTo>
                      <a:pt x="27804" y="73371"/>
                      <a:pt x="27562" y="73375"/>
                      <a:pt x="27325" y="73375"/>
                    </a:cubicBezTo>
                    <a:close/>
                  </a:path>
                </a:pathLst>
              </a:custGeom>
              <a:grpFill/>
              <a:ln w="377" cap="flat">
                <a:noFill/>
                <a:prstDash val="solid"/>
                <a:miter/>
              </a:ln>
            </p:spPr>
            <p:txBody>
              <a:bodyPr rtlCol="0" anchor="ctr"/>
              <a:lstStyle/>
              <a:p>
                <a:endParaRPr lang="en-GB" dirty="0"/>
              </a:p>
            </p:txBody>
          </p:sp>
          <p:sp>
            <p:nvSpPr>
              <p:cNvPr id="165" name="Freihandform: Form 1256">
                <a:extLst>
                  <a:ext uri="{FF2B5EF4-FFF2-40B4-BE49-F238E27FC236}">
                    <a16:creationId xmlns:a16="http://schemas.microsoft.com/office/drawing/2014/main" id="{C208B8B5-81BC-4585-B65D-B6B9098580EA}"/>
                  </a:ext>
                </a:extLst>
              </p:cNvPr>
              <p:cNvSpPr/>
              <p:nvPr/>
            </p:nvSpPr>
            <p:spPr>
              <a:xfrm>
                <a:off x="1797262" y="2649127"/>
                <a:ext cx="116172" cy="100502"/>
              </a:xfrm>
              <a:custGeom>
                <a:avLst/>
                <a:gdLst>
                  <a:gd name="connsiteX0" fmla="*/ 88637 w 116172"/>
                  <a:gd name="connsiteY0" fmla="*/ 100502 h 100502"/>
                  <a:gd name="connsiteX1" fmla="*/ 69153 w 116172"/>
                  <a:gd name="connsiteY1" fmla="*/ 92446 h 100502"/>
                  <a:gd name="connsiteX2" fmla="*/ 31806 w 116172"/>
                  <a:gd name="connsiteY2" fmla="*/ 55102 h 100502"/>
                  <a:gd name="connsiteX3" fmla="*/ 6535 w 116172"/>
                  <a:gd name="connsiteY3" fmla="*/ 55102 h 100502"/>
                  <a:gd name="connsiteX4" fmla="*/ 0 w 116172"/>
                  <a:gd name="connsiteY4" fmla="*/ 48567 h 100502"/>
                  <a:gd name="connsiteX5" fmla="*/ 6535 w 116172"/>
                  <a:gd name="connsiteY5" fmla="*/ 42033 h 100502"/>
                  <a:gd name="connsiteX6" fmla="*/ 34509 w 116172"/>
                  <a:gd name="connsiteY6" fmla="*/ 42033 h 100502"/>
                  <a:gd name="connsiteX7" fmla="*/ 39129 w 116172"/>
                  <a:gd name="connsiteY7" fmla="*/ 43947 h 100502"/>
                  <a:gd name="connsiteX8" fmla="*/ 78391 w 116172"/>
                  <a:gd name="connsiteY8" fmla="*/ 83208 h 100502"/>
                  <a:gd name="connsiteX9" fmla="*/ 98875 w 116172"/>
                  <a:gd name="connsiteY9" fmla="*/ 83208 h 100502"/>
                  <a:gd name="connsiteX10" fmla="*/ 98875 w 116172"/>
                  <a:gd name="connsiteY10" fmla="*/ 62724 h 100502"/>
                  <a:gd name="connsiteX11" fmla="*/ 47303 w 116172"/>
                  <a:gd name="connsiteY11" fmla="*/ 11156 h 100502"/>
                  <a:gd name="connsiteX12" fmla="*/ 47303 w 116172"/>
                  <a:gd name="connsiteY12" fmla="*/ 1914 h 100502"/>
                  <a:gd name="connsiteX13" fmla="*/ 56544 w 116172"/>
                  <a:gd name="connsiteY13" fmla="*/ 1914 h 100502"/>
                  <a:gd name="connsiteX14" fmla="*/ 108117 w 116172"/>
                  <a:gd name="connsiteY14" fmla="*/ 53483 h 100502"/>
                  <a:gd name="connsiteX15" fmla="*/ 108117 w 116172"/>
                  <a:gd name="connsiteY15" fmla="*/ 92450 h 100502"/>
                  <a:gd name="connsiteX16" fmla="*/ 88637 w 116172"/>
                  <a:gd name="connsiteY16" fmla="*/ 100502 h 10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6172" h="100502">
                    <a:moveTo>
                      <a:pt x="88637" y="100502"/>
                    </a:moveTo>
                    <a:cubicBezTo>
                      <a:pt x="81581" y="100502"/>
                      <a:pt x="74525" y="97818"/>
                      <a:pt x="69153" y="92446"/>
                    </a:cubicBezTo>
                    <a:lnTo>
                      <a:pt x="31806" y="55102"/>
                    </a:lnTo>
                    <a:lnTo>
                      <a:pt x="6535" y="55102"/>
                    </a:lnTo>
                    <a:cubicBezTo>
                      <a:pt x="2926" y="55102"/>
                      <a:pt x="0" y="52177"/>
                      <a:pt x="0" y="48567"/>
                    </a:cubicBezTo>
                    <a:cubicBezTo>
                      <a:pt x="0" y="44958"/>
                      <a:pt x="2926" y="42033"/>
                      <a:pt x="6535" y="42033"/>
                    </a:cubicBezTo>
                    <a:lnTo>
                      <a:pt x="34509" y="42033"/>
                    </a:lnTo>
                    <a:cubicBezTo>
                      <a:pt x="36242" y="42033"/>
                      <a:pt x="37903" y="42724"/>
                      <a:pt x="39129" y="43947"/>
                    </a:cubicBezTo>
                    <a:lnTo>
                      <a:pt x="78391" y="83208"/>
                    </a:lnTo>
                    <a:cubicBezTo>
                      <a:pt x="84039" y="88852"/>
                      <a:pt x="93224" y="88852"/>
                      <a:pt x="98875" y="83208"/>
                    </a:cubicBezTo>
                    <a:cubicBezTo>
                      <a:pt x="104519" y="77564"/>
                      <a:pt x="104519" y="68372"/>
                      <a:pt x="98875" y="62724"/>
                    </a:cubicBezTo>
                    <a:lnTo>
                      <a:pt x="47303" y="11156"/>
                    </a:lnTo>
                    <a:cubicBezTo>
                      <a:pt x="44751" y="8604"/>
                      <a:pt x="44751" y="4466"/>
                      <a:pt x="47303" y="1914"/>
                    </a:cubicBezTo>
                    <a:cubicBezTo>
                      <a:pt x="49855" y="-638"/>
                      <a:pt x="53992" y="-638"/>
                      <a:pt x="56544" y="1914"/>
                    </a:cubicBezTo>
                    <a:lnTo>
                      <a:pt x="108117" y="53483"/>
                    </a:lnTo>
                    <a:cubicBezTo>
                      <a:pt x="118857" y="64227"/>
                      <a:pt x="118857" y="81706"/>
                      <a:pt x="108117" y="92450"/>
                    </a:cubicBezTo>
                    <a:cubicBezTo>
                      <a:pt x="102749" y="97818"/>
                      <a:pt x="95693" y="100502"/>
                      <a:pt x="88637" y="100502"/>
                    </a:cubicBezTo>
                    <a:close/>
                  </a:path>
                </a:pathLst>
              </a:custGeom>
              <a:grpFill/>
              <a:ln w="377" cap="flat">
                <a:noFill/>
                <a:prstDash val="solid"/>
                <a:miter/>
              </a:ln>
            </p:spPr>
            <p:txBody>
              <a:bodyPr rtlCol="0" anchor="ctr"/>
              <a:lstStyle/>
              <a:p>
                <a:endParaRPr lang="en-GB" dirty="0"/>
              </a:p>
            </p:txBody>
          </p:sp>
          <p:sp>
            <p:nvSpPr>
              <p:cNvPr id="166" name="Freihandform: Form 1257">
                <a:extLst>
                  <a:ext uri="{FF2B5EF4-FFF2-40B4-BE49-F238E27FC236}">
                    <a16:creationId xmlns:a16="http://schemas.microsoft.com/office/drawing/2014/main" id="{2E2DDC6E-DA9C-42DF-B437-FB264AE120EA}"/>
                  </a:ext>
                </a:extLst>
              </p:cNvPr>
              <p:cNvSpPr/>
              <p:nvPr/>
            </p:nvSpPr>
            <p:spPr>
              <a:xfrm>
                <a:off x="1690799" y="2782232"/>
                <a:ext cx="37215" cy="13069"/>
              </a:xfrm>
              <a:custGeom>
                <a:avLst/>
                <a:gdLst>
                  <a:gd name="connsiteX0" fmla="*/ 30681 w 37215"/>
                  <a:gd name="connsiteY0" fmla="*/ 13070 h 13069"/>
                  <a:gd name="connsiteX1" fmla="*/ 6535 w 37215"/>
                  <a:gd name="connsiteY1" fmla="*/ 13070 h 13069"/>
                  <a:gd name="connsiteX2" fmla="*/ 0 w 37215"/>
                  <a:gd name="connsiteY2" fmla="*/ 6535 h 13069"/>
                  <a:gd name="connsiteX3" fmla="*/ 6535 w 37215"/>
                  <a:gd name="connsiteY3" fmla="*/ 0 h 13069"/>
                  <a:gd name="connsiteX4" fmla="*/ 30681 w 37215"/>
                  <a:gd name="connsiteY4" fmla="*/ 0 h 13069"/>
                  <a:gd name="connsiteX5" fmla="*/ 37216 w 37215"/>
                  <a:gd name="connsiteY5" fmla="*/ 6535 h 13069"/>
                  <a:gd name="connsiteX6" fmla="*/ 30681 w 37215"/>
                  <a:gd name="connsiteY6" fmla="*/ 13070 h 1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215" h="13069">
                    <a:moveTo>
                      <a:pt x="30681" y="13070"/>
                    </a:moveTo>
                    <a:lnTo>
                      <a:pt x="6535" y="13070"/>
                    </a:lnTo>
                    <a:cubicBezTo>
                      <a:pt x="2926" y="13070"/>
                      <a:pt x="0" y="10144"/>
                      <a:pt x="0" y="6535"/>
                    </a:cubicBezTo>
                    <a:cubicBezTo>
                      <a:pt x="0" y="2926"/>
                      <a:pt x="2926" y="0"/>
                      <a:pt x="6535" y="0"/>
                    </a:cubicBezTo>
                    <a:lnTo>
                      <a:pt x="30681" y="0"/>
                    </a:lnTo>
                    <a:cubicBezTo>
                      <a:pt x="34290" y="0"/>
                      <a:pt x="37216" y="2926"/>
                      <a:pt x="37216" y="6535"/>
                    </a:cubicBezTo>
                    <a:cubicBezTo>
                      <a:pt x="37219" y="10144"/>
                      <a:pt x="34290" y="13070"/>
                      <a:pt x="30681" y="13070"/>
                    </a:cubicBezTo>
                    <a:close/>
                  </a:path>
                </a:pathLst>
              </a:custGeom>
              <a:grpFill/>
              <a:ln w="377" cap="flat">
                <a:noFill/>
                <a:prstDash val="solid"/>
                <a:miter/>
              </a:ln>
            </p:spPr>
            <p:txBody>
              <a:bodyPr rtlCol="0" anchor="ctr"/>
              <a:lstStyle/>
              <a:p>
                <a:endParaRPr lang="en-GB" dirty="0"/>
              </a:p>
            </p:txBody>
          </p:sp>
        </p:grpSp>
        <p:grpSp>
          <p:nvGrpSpPr>
            <p:cNvPr id="157" name="Graphic 4">
              <a:extLst>
                <a:ext uri="{FF2B5EF4-FFF2-40B4-BE49-F238E27FC236}">
                  <a16:creationId xmlns:a16="http://schemas.microsoft.com/office/drawing/2014/main" id="{E78B459E-B992-4AB0-8BBE-ACF0856DE100}"/>
                </a:ext>
              </a:extLst>
            </p:cNvPr>
            <p:cNvGrpSpPr/>
            <p:nvPr/>
          </p:nvGrpSpPr>
          <p:grpSpPr>
            <a:xfrm>
              <a:off x="2952879" y="2514628"/>
              <a:ext cx="202039" cy="202038"/>
              <a:chOff x="1968957" y="2675267"/>
              <a:chExt cx="166288" cy="166288"/>
            </a:xfrm>
            <a:solidFill>
              <a:schemeClr val="accent1"/>
            </a:solidFill>
          </p:grpSpPr>
          <p:sp>
            <p:nvSpPr>
              <p:cNvPr id="158" name="Freihandform: Form 1249">
                <a:extLst>
                  <a:ext uri="{FF2B5EF4-FFF2-40B4-BE49-F238E27FC236}">
                    <a16:creationId xmlns:a16="http://schemas.microsoft.com/office/drawing/2014/main" id="{FB749336-6B2D-4414-AAB4-54B0EA60007B}"/>
                  </a:ext>
                </a:extLst>
              </p:cNvPr>
              <p:cNvSpPr/>
              <p:nvPr/>
            </p:nvSpPr>
            <p:spPr>
              <a:xfrm>
                <a:off x="2007733" y="2688373"/>
                <a:ext cx="119518" cy="108479"/>
              </a:xfrm>
              <a:custGeom>
                <a:avLst/>
                <a:gdLst>
                  <a:gd name="connsiteX0" fmla="*/ 44051 w 119518"/>
                  <a:gd name="connsiteY0" fmla="*/ 108480 h 108479"/>
                  <a:gd name="connsiteX1" fmla="*/ 39562 w 119518"/>
                  <a:gd name="connsiteY1" fmla="*/ 106694 h 108479"/>
                  <a:gd name="connsiteX2" fmla="*/ 2045 w 119518"/>
                  <a:gd name="connsiteY2" fmla="*/ 71234 h 108479"/>
                  <a:gd name="connsiteX3" fmla="*/ 1788 w 119518"/>
                  <a:gd name="connsiteY3" fmla="*/ 61996 h 108479"/>
                  <a:gd name="connsiteX4" fmla="*/ 11026 w 119518"/>
                  <a:gd name="connsiteY4" fmla="*/ 61740 h 108479"/>
                  <a:gd name="connsiteX5" fmla="*/ 43122 w 119518"/>
                  <a:gd name="connsiteY5" fmla="*/ 92073 h 108479"/>
                  <a:gd name="connsiteX6" fmla="*/ 107685 w 119518"/>
                  <a:gd name="connsiteY6" fmla="*/ 2707 h 108479"/>
                  <a:gd name="connsiteX7" fmla="*/ 116810 w 119518"/>
                  <a:gd name="connsiteY7" fmla="*/ 1235 h 108479"/>
                  <a:gd name="connsiteX8" fmla="*/ 118282 w 119518"/>
                  <a:gd name="connsiteY8" fmla="*/ 10360 h 108479"/>
                  <a:gd name="connsiteX9" fmla="*/ 49355 w 119518"/>
                  <a:gd name="connsiteY9" fmla="*/ 105773 h 108479"/>
                  <a:gd name="connsiteX10" fmla="*/ 44670 w 119518"/>
                  <a:gd name="connsiteY10" fmla="*/ 108453 h 108479"/>
                  <a:gd name="connsiteX11" fmla="*/ 44051 w 119518"/>
                  <a:gd name="connsiteY11" fmla="*/ 108480 h 10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518" h="108479">
                    <a:moveTo>
                      <a:pt x="44051" y="108480"/>
                    </a:moveTo>
                    <a:cubicBezTo>
                      <a:pt x="42390" y="108480"/>
                      <a:pt x="40778" y="107846"/>
                      <a:pt x="39562" y="106694"/>
                    </a:cubicBezTo>
                    <a:lnTo>
                      <a:pt x="2045" y="71234"/>
                    </a:lnTo>
                    <a:cubicBezTo>
                      <a:pt x="-579" y="68754"/>
                      <a:pt x="-692" y="64620"/>
                      <a:pt x="1788" y="61996"/>
                    </a:cubicBezTo>
                    <a:cubicBezTo>
                      <a:pt x="4268" y="59373"/>
                      <a:pt x="8402" y="59252"/>
                      <a:pt x="11026" y="61740"/>
                    </a:cubicBezTo>
                    <a:lnTo>
                      <a:pt x="43122" y="92073"/>
                    </a:lnTo>
                    <a:lnTo>
                      <a:pt x="107685" y="2707"/>
                    </a:lnTo>
                    <a:cubicBezTo>
                      <a:pt x="109799" y="-215"/>
                      <a:pt x="113888" y="-875"/>
                      <a:pt x="116810" y="1235"/>
                    </a:cubicBezTo>
                    <a:cubicBezTo>
                      <a:pt x="119735" y="3349"/>
                      <a:pt x="120392" y="7434"/>
                      <a:pt x="118282" y="10360"/>
                    </a:cubicBezTo>
                    <a:lnTo>
                      <a:pt x="49355" y="105773"/>
                    </a:lnTo>
                    <a:cubicBezTo>
                      <a:pt x="48253" y="107302"/>
                      <a:pt x="46547" y="108280"/>
                      <a:pt x="44670" y="108453"/>
                    </a:cubicBezTo>
                    <a:cubicBezTo>
                      <a:pt x="44459" y="108469"/>
                      <a:pt x="44255" y="108480"/>
                      <a:pt x="44051" y="108480"/>
                    </a:cubicBezTo>
                    <a:close/>
                  </a:path>
                </a:pathLst>
              </a:custGeom>
              <a:solidFill>
                <a:schemeClr val="accent1"/>
              </a:solidFill>
              <a:ln w="377" cap="flat">
                <a:noFill/>
                <a:prstDash val="solid"/>
                <a:miter/>
              </a:ln>
            </p:spPr>
            <p:txBody>
              <a:bodyPr rtlCol="0" anchor="ctr"/>
              <a:lstStyle/>
              <a:p>
                <a:endParaRPr lang="en-GB" dirty="0"/>
              </a:p>
            </p:txBody>
          </p:sp>
          <p:sp>
            <p:nvSpPr>
              <p:cNvPr id="159" name="Freihandform: Form 1250">
                <a:extLst>
                  <a:ext uri="{FF2B5EF4-FFF2-40B4-BE49-F238E27FC236}">
                    <a16:creationId xmlns:a16="http://schemas.microsoft.com/office/drawing/2014/main" id="{6B18CE0D-75A3-4931-86D0-E3D1BAE15C1A}"/>
                  </a:ext>
                </a:extLst>
              </p:cNvPr>
              <p:cNvSpPr/>
              <p:nvPr/>
            </p:nvSpPr>
            <p:spPr>
              <a:xfrm>
                <a:off x="1968957" y="2675267"/>
                <a:ext cx="166288" cy="166288"/>
              </a:xfrm>
              <a:custGeom>
                <a:avLst/>
                <a:gdLst>
                  <a:gd name="connsiteX0" fmla="*/ 83144 w 166288"/>
                  <a:gd name="connsiteY0" fmla="*/ 166288 h 166288"/>
                  <a:gd name="connsiteX1" fmla="*/ 0 w 166288"/>
                  <a:gd name="connsiteY1" fmla="*/ 83144 h 166288"/>
                  <a:gd name="connsiteX2" fmla="*/ 83144 w 166288"/>
                  <a:gd name="connsiteY2" fmla="*/ 0 h 166288"/>
                  <a:gd name="connsiteX3" fmla="*/ 125026 w 166288"/>
                  <a:gd name="connsiteY3" fmla="*/ 11303 h 166288"/>
                  <a:gd name="connsiteX4" fmla="*/ 127370 w 166288"/>
                  <a:gd name="connsiteY4" fmla="*/ 20242 h 166288"/>
                  <a:gd name="connsiteX5" fmla="*/ 118431 w 166288"/>
                  <a:gd name="connsiteY5" fmla="*/ 22587 h 166288"/>
                  <a:gd name="connsiteX6" fmla="*/ 83144 w 166288"/>
                  <a:gd name="connsiteY6" fmla="*/ 13070 h 166288"/>
                  <a:gd name="connsiteX7" fmla="*/ 13070 w 166288"/>
                  <a:gd name="connsiteY7" fmla="*/ 83140 h 166288"/>
                  <a:gd name="connsiteX8" fmla="*/ 83144 w 166288"/>
                  <a:gd name="connsiteY8" fmla="*/ 153215 h 166288"/>
                  <a:gd name="connsiteX9" fmla="*/ 153219 w 166288"/>
                  <a:gd name="connsiteY9" fmla="*/ 83140 h 166288"/>
                  <a:gd name="connsiteX10" fmla="*/ 149557 w 166288"/>
                  <a:gd name="connsiteY10" fmla="*/ 60720 h 166288"/>
                  <a:gd name="connsiteX11" fmla="*/ 153657 w 166288"/>
                  <a:gd name="connsiteY11" fmla="*/ 52437 h 166288"/>
                  <a:gd name="connsiteX12" fmla="*/ 161939 w 166288"/>
                  <a:gd name="connsiteY12" fmla="*/ 56537 h 166288"/>
                  <a:gd name="connsiteX13" fmla="*/ 166288 w 166288"/>
                  <a:gd name="connsiteY13" fmla="*/ 83137 h 166288"/>
                  <a:gd name="connsiteX14" fmla="*/ 83144 w 166288"/>
                  <a:gd name="connsiteY14" fmla="*/ 166288 h 16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288" h="166288">
                    <a:moveTo>
                      <a:pt x="83144" y="166288"/>
                    </a:moveTo>
                    <a:cubicBezTo>
                      <a:pt x="37295" y="166288"/>
                      <a:pt x="0" y="128990"/>
                      <a:pt x="0" y="83144"/>
                    </a:cubicBezTo>
                    <a:cubicBezTo>
                      <a:pt x="0" y="37299"/>
                      <a:pt x="37299" y="0"/>
                      <a:pt x="83144" y="0"/>
                    </a:cubicBezTo>
                    <a:cubicBezTo>
                      <a:pt x="97882" y="0"/>
                      <a:pt x="112364" y="3911"/>
                      <a:pt x="125026" y="11303"/>
                    </a:cubicBezTo>
                    <a:cubicBezTo>
                      <a:pt x="128144" y="13122"/>
                      <a:pt x="129194" y="17124"/>
                      <a:pt x="127370" y="20242"/>
                    </a:cubicBezTo>
                    <a:cubicBezTo>
                      <a:pt x="125550" y="23353"/>
                      <a:pt x="121545" y="24403"/>
                      <a:pt x="118431" y="22587"/>
                    </a:cubicBezTo>
                    <a:cubicBezTo>
                      <a:pt x="107769" y="16362"/>
                      <a:pt x="95568" y="13070"/>
                      <a:pt x="83144" y="13070"/>
                    </a:cubicBezTo>
                    <a:cubicBezTo>
                      <a:pt x="44505" y="13070"/>
                      <a:pt x="13070" y="44502"/>
                      <a:pt x="13070" y="83140"/>
                    </a:cubicBezTo>
                    <a:cubicBezTo>
                      <a:pt x="13070" y="121779"/>
                      <a:pt x="44505" y="153215"/>
                      <a:pt x="83144" y="153215"/>
                    </a:cubicBezTo>
                    <a:cubicBezTo>
                      <a:pt x="121783" y="153215"/>
                      <a:pt x="153219" y="121779"/>
                      <a:pt x="153219" y="83140"/>
                    </a:cubicBezTo>
                    <a:cubicBezTo>
                      <a:pt x="153219" y="75462"/>
                      <a:pt x="151988" y="67919"/>
                      <a:pt x="149557" y="60720"/>
                    </a:cubicBezTo>
                    <a:cubicBezTo>
                      <a:pt x="148401" y="57299"/>
                      <a:pt x="150236" y="53588"/>
                      <a:pt x="153657" y="52437"/>
                    </a:cubicBezTo>
                    <a:cubicBezTo>
                      <a:pt x="157073" y="51270"/>
                      <a:pt x="160784" y="53117"/>
                      <a:pt x="161939" y="56537"/>
                    </a:cubicBezTo>
                    <a:cubicBezTo>
                      <a:pt x="164827" y="65084"/>
                      <a:pt x="166288" y="74031"/>
                      <a:pt x="166288" y="83137"/>
                    </a:cubicBezTo>
                    <a:cubicBezTo>
                      <a:pt x="166288" y="128990"/>
                      <a:pt x="128990" y="166288"/>
                      <a:pt x="83144" y="166288"/>
                    </a:cubicBezTo>
                    <a:close/>
                  </a:path>
                </a:pathLst>
              </a:custGeom>
              <a:solidFill>
                <a:schemeClr val="accent1"/>
              </a:solidFill>
              <a:ln w="377" cap="flat">
                <a:noFill/>
                <a:prstDash val="solid"/>
                <a:miter/>
              </a:ln>
            </p:spPr>
            <p:txBody>
              <a:bodyPr rtlCol="0" anchor="ctr"/>
              <a:lstStyle/>
              <a:p>
                <a:endParaRPr lang="en-GB" dirty="0"/>
              </a:p>
            </p:txBody>
          </p:sp>
        </p:grpSp>
      </p:grpSp>
      <p:grpSp>
        <p:nvGrpSpPr>
          <p:cNvPr id="11" name="Group 10">
            <a:extLst>
              <a:ext uri="{FF2B5EF4-FFF2-40B4-BE49-F238E27FC236}">
                <a16:creationId xmlns:a16="http://schemas.microsoft.com/office/drawing/2014/main" id="{04EBB049-B328-46C9-A626-677E8326E12E}"/>
              </a:ext>
            </a:extLst>
          </p:cNvPr>
          <p:cNvGrpSpPr/>
          <p:nvPr/>
        </p:nvGrpSpPr>
        <p:grpSpPr>
          <a:xfrm>
            <a:off x="3750337" y="2391526"/>
            <a:ext cx="414031" cy="432000"/>
            <a:chOff x="3750337" y="2391526"/>
            <a:chExt cx="414031" cy="432000"/>
          </a:xfrm>
        </p:grpSpPr>
        <p:grpSp>
          <p:nvGrpSpPr>
            <p:cNvPr id="168" name="Gruppieren 1155">
              <a:extLst>
                <a:ext uri="{FF2B5EF4-FFF2-40B4-BE49-F238E27FC236}">
                  <a16:creationId xmlns:a16="http://schemas.microsoft.com/office/drawing/2014/main" id="{F67F414D-035C-4C89-8518-B644E544EDF9}"/>
                </a:ext>
              </a:extLst>
            </p:cNvPr>
            <p:cNvGrpSpPr/>
            <p:nvPr/>
          </p:nvGrpSpPr>
          <p:grpSpPr>
            <a:xfrm>
              <a:off x="3824469" y="2461412"/>
              <a:ext cx="265287" cy="362114"/>
              <a:chOff x="944976" y="3383145"/>
              <a:chExt cx="265063" cy="361809"/>
            </a:xfrm>
          </p:grpSpPr>
          <p:sp>
            <p:nvSpPr>
              <p:cNvPr id="192" name="Freihandform: Form 1179">
                <a:extLst>
                  <a:ext uri="{FF2B5EF4-FFF2-40B4-BE49-F238E27FC236}">
                    <a16:creationId xmlns:a16="http://schemas.microsoft.com/office/drawing/2014/main" id="{F1A5AD2F-BAB3-4A0F-BA85-1C86700CF248}"/>
                  </a:ext>
                </a:extLst>
              </p:cNvPr>
              <p:cNvSpPr/>
              <p:nvPr/>
            </p:nvSpPr>
            <p:spPr>
              <a:xfrm>
                <a:off x="944976" y="3383145"/>
                <a:ext cx="265063" cy="291328"/>
              </a:xfrm>
              <a:custGeom>
                <a:avLst/>
                <a:gdLst>
                  <a:gd name="connsiteX0" fmla="*/ 192229 w 265063"/>
                  <a:gd name="connsiteY0" fmla="*/ 291327 h 291328"/>
                  <a:gd name="connsiteX1" fmla="*/ 191599 w 265063"/>
                  <a:gd name="connsiteY1" fmla="*/ 291297 h 291328"/>
                  <a:gd name="connsiteX2" fmla="*/ 185714 w 265063"/>
                  <a:gd name="connsiteY2" fmla="*/ 284173 h 291328"/>
                  <a:gd name="connsiteX3" fmla="*/ 186495 w 265063"/>
                  <a:gd name="connsiteY3" fmla="*/ 275985 h 291328"/>
                  <a:gd name="connsiteX4" fmla="*/ 217270 w 265063"/>
                  <a:gd name="connsiteY4" fmla="*/ 215235 h 291328"/>
                  <a:gd name="connsiteX5" fmla="*/ 251998 w 265063"/>
                  <a:gd name="connsiteY5" fmla="*/ 131657 h 291328"/>
                  <a:gd name="connsiteX6" fmla="*/ 212498 w 265063"/>
                  <a:gd name="connsiteY6" fmla="*/ 43541 h 291328"/>
                  <a:gd name="connsiteX7" fmla="*/ 118723 w 265063"/>
                  <a:gd name="connsiteY7" fmla="*/ 13830 h 291328"/>
                  <a:gd name="connsiteX8" fmla="*/ 14019 w 265063"/>
                  <a:gd name="connsiteY8" fmla="*/ 116537 h 291328"/>
                  <a:gd name="connsiteX9" fmla="*/ 49664 w 265063"/>
                  <a:gd name="connsiteY9" fmla="*/ 217047 h 291328"/>
                  <a:gd name="connsiteX10" fmla="*/ 79186 w 265063"/>
                  <a:gd name="connsiteY10" fmla="*/ 281908 h 291328"/>
                  <a:gd name="connsiteX11" fmla="*/ 79371 w 265063"/>
                  <a:gd name="connsiteY11" fmla="*/ 284290 h 291328"/>
                  <a:gd name="connsiteX12" fmla="*/ 73357 w 265063"/>
                  <a:gd name="connsiteY12" fmla="*/ 291312 h 291328"/>
                  <a:gd name="connsiteX13" fmla="*/ 66335 w 265063"/>
                  <a:gd name="connsiteY13" fmla="*/ 285298 h 291328"/>
                  <a:gd name="connsiteX14" fmla="*/ 66143 w 265063"/>
                  <a:gd name="connsiteY14" fmla="*/ 282822 h 291328"/>
                  <a:gd name="connsiteX15" fmla="*/ 40623 w 265063"/>
                  <a:gd name="connsiteY15" fmla="*/ 226493 h 291328"/>
                  <a:gd name="connsiteX16" fmla="*/ 1044 w 265063"/>
                  <a:gd name="connsiteY16" fmla="*/ 114929 h 291328"/>
                  <a:gd name="connsiteX17" fmla="*/ 117274 w 265063"/>
                  <a:gd name="connsiteY17" fmla="*/ 836 h 291328"/>
                  <a:gd name="connsiteX18" fmla="*/ 221208 w 265063"/>
                  <a:gd name="connsiteY18" fmla="*/ 33805 h 291328"/>
                  <a:gd name="connsiteX19" fmla="*/ 265064 w 265063"/>
                  <a:gd name="connsiteY19" fmla="*/ 131661 h 291328"/>
                  <a:gd name="connsiteX20" fmla="*/ 226500 w 265063"/>
                  <a:gd name="connsiteY20" fmla="*/ 224484 h 291328"/>
                  <a:gd name="connsiteX21" fmla="*/ 199474 w 265063"/>
                  <a:gd name="connsiteY21" fmla="*/ 277469 h 291328"/>
                  <a:gd name="connsiteX22" fmla="*/ 198723 w 265063"/>
                  <a:gd name="connsiteY22" fmla="*/ 285415 h 291328"/>
                  <a:gd name="connsiteX23" fmla="*/ 192229 w 265063"/>
                  <a:gd name="connsiteY23" fmla="*/ 291327 h 29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5063" h="291328">
                    <a:moveTo>
                      <a:pt x="192229" y="291327"/>
                    </a:moveTo>
                    <a:cubicBezTo>
                      <a:pt x="192022" y="291327"/>
                      <a:pt x="191814" y="291320"/>
                      <a:pt x="191599" y="291297"/>
                    </a:cubicBezTo>
                    <a:cubicBezTo>
                      <a:pt x="188005" y="290957"/>
                      <a:pt x="185374" y="287767"/>
                      <a:pt x="185714" y="284173"/>
                    </a:cubicBezTo>
                    <a:lnTo>
                      <a:pt x="186495" y="275985"/>
                    </a:lnTo>
                    <a:cubicBezTo>
                      <a:pt x="189508" y="253255"/>
                      <a:pt x="200138" y="232333"/>
                      <a:pt x="217270" y="215235"/>
                    </a:cubicBezTo>
                    <a:cubicBezTo>
                      <a:pt x="239664" y="192871"/>
                      <a:pt x="251998" y="163183"/>
                      <a:pt x="251998" y="131657"/>
                    </a:cubicBezTo>
                    <a:cubicBezTo>
                      <a:pt x="251998" y="98130"/>
                      <a:pt x="237603" y="66011"/>
                      <a:pt x="212498" y="43541"/>
                    </a:cubicBezTo>
                    <a:cubicBezTo>
                      <a:pt x="186774" y="20524"/>
                      <a:pt x="153481" y="9953"/>
                      <a:pt x="118723" y="13830"/>
                    </a:cubicBezTo>
                    <a:cubicBezTo>
                      <a:pt x="64701" y="19837"/>
                      <a:pt x="20671" y="63036"/>
                      <a:pt x="14019" y="116537"/>
                    </a:cubicBezTo>
                    <a:cubicBezTo>
                      <a:pt x="9334" y="154266"/>
                      <a:pt x="22325" y="190897"/>
                      <a:pt x="49664" y="217047"/>
                    </a:cubicBezTo>
                    <a:cubicBezTo>
                      <a:pt x="67132" y="233745"/>
                      <a:pt x="77619" y="256781"/>
                      <a:pt x="79186" y="281908"/>
                    </a:cubicBezTo>
                    <a:lnTo>
                      <a:pt x="79371" y="284290"/>
                    </a:lnTo>
                    <a:cubicBezTo>
                      <a:pt x="79650" y="287892"/>
                      <a:pt x="76959" y="291029"/>
                      <a:pt x="73357" y="291312"/>
                    </a:cubicBezTo>
                    <a:cubicBezTo>
                      <a:pt x="69733" y="291561"/>
                      <a:pt x="66615" y="288900"/>
                      <a:pt x="66335" y="285298"/>
                    </a:cubicBezTo>
                    <a:lnTo>
                      <a:pt x="66143" y="282822"/>
                    </a:lnTo>
                    <a:cubicBezTo>
                      <a:pt x="64769" y="260892"/>
                      <a:pt x="55708" y="240918"/>
                      <a:pt x="40623" y="226493"/>
                    </a:cubicBezTo>
                    <a:cubicBezTo>
                      <a:pt x="10267" y="197458"/>
                      <a:pt x="-4162" y="156792"/>
                      <a:pt x="1044" y="114929"/>
                    </a:cubicBezTo>
                    <a:cubicBezTo>
                      <a:pt x="8428" y="55485"/>
                      <a:pt x="57313" y="7507"/>
                      <a:pt x="117274" y="836"/>
                    </a:cubicBezTo>
                    <a:cubicBezTo>
                      <a:pt x="155165" y="-3407"/>
                      <a:pt x="193086" y="8636"/>
                      <a:pt x="221208" y="33805"/>
                    </a:cubicBezTo>
                    <a:cubicBezTo>
                      <a:pt x="249080" y="58747"/>
                      <a:pt x="265064" y="94415"/>
                      <a:pt x="265064" y="131661"/>
                    </a:cubicBezTo>
                    <a:cubicBezTo>
                      <a:pt x="265064" y="166683"/>
                      <a:pt x="251371" y="199651"/>
                      <a:pt x="226500" y="224484"/>
                    </a:cubicBezTo>
                    <a:cubicBezTo>
                      <a:pt x="211422" y="239536"/>
                      <a:pt x="202079" y="257860"/>
                      <a:pt x="199474" y="277469"/>
                    </a:cubicBezTo>
                    <a:lnTo>
                      <a:pt x="198723" y="285415"/>
                    </a:lnTo>
                    <a:cubicBezTo>
                      <a:pt x="198409" y="288790"/>
                      <a:pt x="195563" y="291327"/>
                      <a:pt x="192229" y="291327"/>
                    </a:cubicBezTo>
                    <a:close/>
                  </a:path>
                </a:pathLst>
              </a:custGeom>
              <a:solidFill>
                <a:schemeClr val="tx2"/>
              </a:solidFill>
              <a:ln w="377" cap="flat">
                <a:noFill/>
                <a:prstDash val="solid"/>
                <a:miter/>
              </a:ln>
            </p:spPr>
            <p:txBody>
              <a:bodyPr rtlCol="0" anchor="ctr"/>
              <a:lstStyle/>
              <a:p>
                <a:endParaRPr lang="en-GB" dirty="0"/>
              </a:p>
            </p:txBody>
          </p:sp>
          <p:sp>
            <p:nvSpPr>
              <p:cNvPr id="193" name="Freihandform: Form 1180">
                <a:extLst>
                  <a:ext uri="{FF2B5EF4-FFF2-40B4-BE49-F238E27FC236}">
                    <a16:creationId xmlns:a16="http://schemas.microsoft.com/office/drawing/2014/main" id="{BDB31F7D-7FBE-4473-9E96-A7B0DBC5936B}"/>
                  </a:ext>
                </a:extLst>
              </p:cNvPr>
              <p:cNvSpPr/>
              <p:nvPr/>
            </p:nvSpPr>
            <p:spPr>
              <a:xfrm>
                <a:off x="1011852" y="3698939"/>
                <a:ext cx="130718" cy="13069"/>
              </a:xfrm>
              <a:custGeom>
                <a:avLst/>
                <a:gdLst>
                  <a:gd name="connsiteX0" fmla="*/ 124184 w 130718"/>
                  <a:gd name="connsiteY0" fmla="*/ 13069 h 13069"/>
                  <a:gd name="connsiteX1" fmla="*/ 6535 w 130718"/>
                  <a:gd name="connsiteY1" fmla="*/ 13069 h 13069"/>
                  <a:gd name="connsiteX2" fmla="*/ 0 w 130718"/>
                  <a:gd name="connsiteY2" fmla="*/ 6535 h 13069"/>
                  <a:gd name="connsiteX3" fmla="*/ 6535 w 130718"/>
                  <a:gd name="connsiteY3" fmla="*/ 0 h 13069"/>
                  <a:gd name="connsiteX4" fmla="*/ 124184 w 130718"/>
                  <a:gd name="connsiteY4" fmla="*/ 0 h 13069"/>
                  <a:gd name="connsiteX5" fmla="*/ 130719 w 130718"/>
                  <a:gd name="connsiteY5" fmla="*/ 6535 h 13069"/>
                  <a:gd name="connsiteX6" fmla="*/ 124184 w 130718"/>
                  <a:gd name="connsiteY6" fmla="*/ 13069 h 1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718" h="13069">
                    <a:moveTo>
                      <a:pt x="124184" y="13069"/>
                    </a:moveTo>
                    <a:lnTo>
                      <a:pt x="6535" y="13069"/>
                    </a:lnTo>
                    <a:cubicBezTo>
                      <a:pt x="2926" y="13069"/>
                      <a:pt x="0" y="10148"/>
                      <a:pt x="0" y="6535"/>
                    </a:cubicBezTo>
                    <a:cubicBezTo>
                      <a:pt x="0" y="2922"/>
                      <a:pt x="2926" y="0"/>
                      <a:pt x="6535" y="0"/>
                    </a:cubicBezTo>
                    <a:lnTo>
                      <a:pt x="124184" y="0"/>
                    </a:lnTo>
                    <a:cubicBezTo>
                      <a:pt x="127793" y="0"/>
                      <a:pt x="130719" y="2922"/>
                      <a:pt x="130719" y="6535"/>
                    </a:cubicBezTo>
                    <a:cubicBezTo>
                      <a:pt x="130719" y="10144"/>
                      <a:pt x="127793" y="13069"/>
                      <a:pt x="124184" y="13069"/>
                    </a:cubicBezTo>
                    <a:close/>
                  </a:path>
                </a:pathLst>
              </a:custGeom>
              <a:solidFill>
                <a:schemeClr val="tx2"/>
              </a:solidFill>
              <a:ln w="377" cap="flat">
                <a:noFill/>
                <a:prstDash val="solid"/>
                <a:miter/>
              </a:ln>
            </p:spPr>
            <p:txBody>
              <a:bodyPr rtlCol="0" anchor="ctr"/>
              <a:lstStyle/>
              <a:p>
                <a:endParaRPr lang="en-GB" dirty="0"/>
              </a:p>
            </p:txBody>
          </p:sp>
          <p:sp>
            <p:nvSpPr>
              <p:cNvPr id="194" name="Freihandform: Form 1181">
                <a:extLst>
                  <a:ext uri="{FF2B5EF4-FFF2-40B4-BE49-F238E27FC236}">
                    <a16:creationId xmlns:a16="http://schemas.microsoft.com/office/drawing/2014/main" id="{0E5050F7-5678-4011-9AB6-0312FBE46670}"/>
                  </a:ext>
                </a:extLst>
              </p:cNvPr>
              <p:cNvSpPr/>
              <p:nvPr/>
            </p:nvSpPr>
            <p:spPr>
              <a:xfrm>
                <a:off x="1044533" y="3731885"/>
                <a:ext cx="65359" cy="13069"/>
              </a:xfrm>
              <a:custGeom>
                <a:avLst/>
                <a:gdLst>
                  <a:gd name="connsiteX0" fmla="*/ 58821 w 65359"/>
                  <a:gd name="connsiteY0" fmla="*/ 13070 h 13069"/>
                  <a:gd name="connsiteX1" fmla="*/ 6535 w 65359"/>
                  <a:gd name="connsiteY1" fmla="*/ 13070 h 13069"/>
                  <a:gd name="connsiteX2" fmla="*/ 0 w 65359"/>
                  <a:gd name="connsiteY2" fmla="*/ 6535 h 13069"/>
                  <a:gd name="connsiteX3" fmla="*/ 6535 w 65359"/>
                  <a:gd name="connsiteY3" fmla="*/ 0 h 13069"/>
                  <a:gd name="connsiteX4" fmla="*/ 58825 w 65359"/>
                  <a:gd name="connsiteY4" fmla="*/ 0 h 13069"/>
                  <a:gd name="connsiteX5" fmla="*/ 65359 w 65359"/>
                  <a:gd name="connsiteY5" fmla="*/ 6535 h 13069"/>
                  <a:gd name="connsiteX6" fmla="*/ 58821 w 65359"/>
                  <a:gd name="connsiteY6" fmla="*/ 13070 h 1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59" h="13069">
                    <a:moveTo>
                      <a:pt x="58821" y="13070"/>
                    </a:moveTo>
                    <a:lnTo>
                      <a:pt x="6535" y="13070"/>
                    </a:lnTo>
                    <a:cubicBezTo>
                      <a:pt x="2926" y="13070"/>
                      <a:pt x="0" y="10148"/>
                      <a:pt x="0" y="6535"/>
                    </a:cubicBezTo>
                    <a:cubicBezTo>
                      <a:pt x="0" y="2922"/>
                      <a:pt x="2926" y="0"/>
                      <a:pt x="6535" y="0"/>
                    </a:cubicBezTo>
                    <a:lnTo>
                      <a:pt x="58825" y="0"/>
                    </a:lnTo>
                    <a:cubicBezTo>
                      <a:pt x="62434" y="0"/>
                      <a:pt x="65359" y="2922"/>
                      <a:pt x="65359" y="6535"/>
                    </a:cubicBezTo>
                    <a:cubicBezTo>
                      <a:pt x="65359" y="10148"/>
                      <a:pt x="62430" y="13070"/>
                      <a:pt x="58821" y="13070"/>
                    </a:cubicBezTo>
                    <a:close/>
                  </a:path>
                </a:pathLst>
              </a:custGeom>
              <a:solidFill>
                <a:schemeClr val="tx2"/>
              </a:solidFill>
              <a:ln w="377" cap="flat">
                <a:noFill/>
                <a:prstDash val="solid"/>
                <a:miter/>
              </a:ln>
            </p:spPr>
            <p:txBody>
              <a:bodyPr rtlCol="0" anchor="ctr"/>
              <a:lstStyle/>
              <a:p>
                <a:endParaRPr lang="en-GB" dirty="0"/>
              </a:p>
            </p:txBody>
          </p:sp>
        </p:grpSp>
        <p:grpSp>
          <p:nvGrpSpPr>
            <p:cNvPr id="169" name="Gruppieren 1156">
              <a:extLst>
                <a:ext uri="{FF2B5EF4-FFF2-40B4-BE49-F238E27FC236}">
                  <a16:creationId xmlns:a16="http://schemas.microsoft.com/office/drawing/2014/main" id="{49552D65-B7AB-4533-B44E-FB10E4C1CA40}"/>
                </a:ext>
              </a:extLst>
            </p:cNvPr>
            <p:cNvGrpSpPr/>
            <p:nvPr/>
          </p:nvGrpSpPr>
          <p:grpSpPr>
            <a:xfrm>
              <a:off x="3750337" y="2391526"/>
              <a:ext cx="414031" cy="300979"/>
              <a:chOff x="870906" y="3313318"/>
              <a:chExt cx="413682" cy="300725"/>
            </a:xfrm>
          </p:grpSpPr>
          <p:sp>
            <p:nvSpPr>
              <p:cNvPr id="170" name="Freihandform: Form 1157">
                <a:extLst>
                  <a:ext uri="{FF2B5EF4-FFF2-40B4-BE49-F238E27FC236}">
                    <a16:creationId xmlns:a16="http://schemas.microsoft.com/office/drawing/2014/main" id="{72D7E4C4-CF4F-4D36-B486-56D288A1D813}"/>
                  </a:ext>
                </a:extLst>
              </p:cNvPr>
              <p:cNvSpPr/>
              <p:nvPr/>
            </p:nvSpPr>
            <p:spPr>
              <a:xfrm>
                <a:off x="1070808" y="3313318"/>
                <a:ext cx="13069" cy="42946"/>
              </a:xfrm>
              <a:custGeom>
                <a:avLst/>
                <a:gdLst>
                  <a:gd name="connsiteX0" fmla="*/ 6535 w 13069"/>
                  <a:gd name="connsiteY0" fmla="*/ 42946 h 42946"/>
                  <a:gd name="connsiteX1" fmla="*/ 0 w 13069"/>
                  <a:gd name="connsiteY1" fmla="*/ 36411 h 42946"/>
                  <a:gd name="connsiteX2" fmla="*/ 0 w 13069"/>
                  <a:gd name="connsiteY2" fmla="*/ 6535 h 42946"/>
                  <a:gd name="connsiteX3" fmla="*/ 6535 w 13069"/>
                  <a:gd name="connsiteY3" fmla="*/ 0 h 42946"/>
                  <a:gd name="connsiteX4" fmla="*/ 13070 w 13069"/>
                  <a:gd name="connsiteY4" fmla="*/ 6535 h 42946"/>
                  <a:gd name="connsiteX5" fmla="*/ 13070 w 13069"/>
                  <a:gd name="connsiteY5" fmla="*/ 36411 h 42946"/>
                  <a:gd name="connsiteX6" fmla="*/ 6535 w 13069"/>
                  <a:gd name="connsiteY6" fmla="*/ 42946 h 42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9" h="42946">
                    <a:moveTo>
                      <a:pt x="6535" y="42946"/>
                    </a:moveTo>
                    <a:cubicBezTo>
                      <a:pt x="2926" y="42946"/>
                      <a:pt x="0" y="40024"/>
                      <a:pt x="0" y="36411"/>
                    </a:cubicBezTo>
                    <a:lnTo>
                      <a:pt x="0" y="6535"/>
                    </a:lnTo>
                    <a:cubicBezTo>
                      <a:pt x="0" y="2922"/>
                      <a:pt x="2926" y="0"/>
                      <a:pt x="6535" y="0"/>
                    </a:cubicBezTo>
                    <a:cubicBezTo>
                      <a:pt x="10144" y="0"/>
                      <a:pt x="13070" y="2922"/>
                      <a:pt x="13070" y="6535"/>
                    </a:cubicBezTo>
                    <a:lnTo>
                      <a:pt x="13070" y="36411"/>
                    </a:lnTo>
                    <a:cubicBezTo>
                      <a:pt x="13073" y="40020"/>
                      <a:pt x="10148" y="42946"/>
                      <a:pt x="6535" y="42946"/>
                    </a:cubicBezTo>
                    <a:close/>
                  </a:path>
                </a:pathLst>
              </a:custGeom>
              <a:solidFill>
                <a:schemeClr val="accent1"/>
              </a:solidFill>
              <a:ln w="377" cap="flat">
                <a:noFill/>
                <a:prstDash val="solid"/>
                <a:miter/>
              </a:ln>
            </p:spPr>
            <p:txBody>
              <a:bodyPr rtlCol="0" anchor="ctr"/>
              <a:lstStyle/>
              <a:p>
                <a:endParaRPr lang="en-GB" dirty="0"/>
              </a:p>
            </p:txBody>
          </p:sp>
          <p:sp>
            <p:nvSpPr>
              <p:cNvPr id="171" name="Freihandform: Form 1158">
                <a:extLst>
                  <a:ext uri="{FF2B5EF4-FFF2-40B4-BE49-F238E27FC236}">
                    <a16:creationId xmlns:a16="http://schemas.microsoft.com/office/drawing/2014/main" id="{578EF28E-F18B-4ACD-9DA4-68089733025C}"/>
                  </a:ext>
                </a:extLst>
              </p:cNvPr>
              <p:cNvSpPr/>
              <p:nvPr/>
            </p:nvSpPr>
            <p:spPr>
              <a:xfrm>
                <a:off x="1245772" y="3538691"/>
                <a:ext cx="38816" cy="13069"/>
              </a:xfrm>
              <a:custGeom>
                <a:avLst/>
                <a:gdLst>
                  <a:gd name="connsiteX0" fmla="*/ 32281 w 38816"/>
                  <a:gd name="connsiteY0" fmla="*/ 13070 h 13069"/>
                  <a:gd name="connsiteX1" fmla="*/ 6535 w 38816"/>
                  <a:gd name="connsiteY1" fmla="*/ 13070 h 13069"/>
                  <a:gd name="connsiteX2" fmla="*/ 0 w 38816"/>
                  <a:gd name="connsiteY2" fmla="*/ 6535 h 13069"/>
                  <a:gd name="connsiteX3" fmla="*/ 6535 w 38816"/>
                  <a:gd name="connsiteY3" fmla="*/ 0 h 13069"/>
                  <a:gd name="connsiteX4" fmla="*/ 32281 w 38816"/>
                  <a:gd name="connsiteY4" fmla="*/ 0 h 13069"/>
                  <a:gd name="connsiteX5" fmla="*/ 38816 w 38816"/>
                  <a:gd name="connsiteY5" fmla="*/ 6535 h 13069"/>
                  <a:gd name="connsiteX6" fmla="*/ 32281 w 38816"/>
                  <a:gd name="connsiteY6" fmla="*/ 13070 h 1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16" h="13069">
                    <a:moveTo>
                      <a:pt x="32281" y="13070"/>
                    </a:moveTo>
                    <a:lnTo>
                      <a:pt x="6535" y="13070"/>
                    </a:lnTo>
                    <a:cubicBezTo>
                      <a:pt x="2926" y="13070"/>
                      <a:pt x="0" y="10148"/>
                      <a:pt x="0" y="6535"/>
                    </a:cubicBezTo>
                    <a:cubicBezTo>
                      <a:pt x="0" y="2922"/>
                      <a:pt x="2926" y="0"/>
                      <a:pt x="6535" y="0"/>
                    </a:cubicBezTo>
                    <a:lnTo>
                      <a:pt x="32281" y="0"/>
                    </a:lnTo>
                    <a:cubicBezTo>
                      <a:pt x="35890" y="0"/>
                      <a:pt x="38816" y="2922"/>
                      <a:pt x="38816" y="6535"/>
                    </a:cubicBezTo>
                    <a:cubicBezTo>
                      <a:pt x="38820" y="10148"/>
                      <a:pt x="35894" y="13070"/>
                      <a:pt x="32281" y="13070"/>
                    </a:cubicBezTo>
                    <a:close/>
                  </a:path>
                </a:pathLst>
              </a:custGeom>
              <a:solidFill>
                <a:schemeClr val="accent1"/>
              </a:solidFill>
              <a:ln w="377" cap="flat">
                <a:noFill/>
                <a:prstDash val="solid"/>
                <a:miter/>
              </a:ln>
            </p:spPr>
            <p:txBody>
              <a:bodyPr rtlCol="0" anchor="ctr"/>
              <a:lstStyle/>
              <a:p>
                <a:endParaRPr lang="en-GB" dirty="0"/>
              </a:p>
            </p:txBody>
          </p:sp>
          <p:sp>
            <p:nvSpPr>
              <p:cNvPr id="172" name="Freihandform: Form 1159">
                <a:extLst>
                  <a:ext uri="{FF2B5EF4-FFF2-40B4-BE49-F238E27FC236}">
                    <a16:creationId xmlns:a16="http://schemas.microsoft.com/office/drawing/2014/main" id="{C7AE442D-5930-4028-96AB-CEBA087F90AA}"/>
                  </a:ext>
                </a:extLst>
              </p:cNvPr>
              <p:cNvSpPr/>
              <p:nvPr/>
            </p:nvSpPr>
            <p:spPr>
              <a:xfrm>
                <a:off x="1218971" y="3390983"/>
                <a:ext cx="33877" cy="32581"/>
              </a:xfrm>
              <a:custGeom>
                <a:avLst/>
                <a:gdLst>
                  <a:gd name="connsiteX0" fmla="*/ 6536 w 33877"/>
                  <a:gd name="connsiteY0" fmla="*/ 32581 h 32581"/>
                  <a:gd name="connsiteX1" fmla="*/ 1768 w 33877"/>
                  <a:gd name="connsiteY1" fmla="*/ 30520 h 32581"/>
                  <a:gd name="connsiteX2" fmla="*/ 2067 w 33877"/>
                  <a:gd name="connsiteY2" fmla="*/ 21278 h 32581"/>
                  <a:gd name="connsiteX3" fmla="*/ 22871 w 33877"/>
                  <a:gd name="connsiteY3" fmla="*/ 1764 h 32581"/>
                  <a:gd name="connsiteX4" fmla="*/ 32109 w 33877"/>
                  <a:gd name="connsiteY4" fmla="*/ 2059 h 32581"/>
                  <a:gd name="connsiteX5" fmla="*/ 31811 w 33877"/>
                  <a:gd name="connsiteY5" fmla="*/ 11301 h 32581"/>
                  <a:gd name="connsiteX6" fmla="*/ 11006 w 33877"/>
                  <a:gd name="connsiteY6" fmla="*/ 30814 h 32581"/>
                  <a:gd name="connsiteX7" fmla="*/ 6536 w 33877"/>
                  <a:gd name="connsiteY7" fmla="*/ 32581 h 32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77" h="32581">
                    <a:moveTo>
                      <a:pt x="6536" y="32581"/>
                    </a:moveTo>
                    <a:cubicBezTo>
                      <a:pt x="4792" y="32581"/>
                      <a:pt x="3056" y="31886"/>
                      <a:pt x="1768" y="30520"/>
                    </a:cubicBezTo>
                    <a:cubicBezTo>
                      <a:pt x="-701" y="27885"/>
                      <a:pt x="-569" y="23747"/>
                      <a:pt x="2067" y="21278"/>
                    </a:cubicBezTo>
                    <a:lnTo>
                      <a:pt x="22871" y="1764"/>
                    </a:lnTo>
                    <a:cubicBezTo>
                      <a:pt x="25499" y="-701"/>
                      <a:pt x="29640" y="-565"/>
                      <a:pt x="32109" y="2059"/>
                    </a:cubicBezTo>
                    <a:cubicBezTo>
                      <a:pt x="34578" y="4694"/>
                      <a:pt x="34446" y="8832"/>
                      <a:pt x="31811" y="11301"/>
                    </a:cubicBezTo>
                    <a:lnTo>
                      <a:pt x="11006" y="30814"/>
                    </a:lnTo>
                    <a:cubicBezTo>
                      <a:pt x="9745" y="31992"/>
                      <a:pt x="8141" y="32581"/>
                      <a:pt x="6536" y="32581"/>
                    </a:cubicBezTo>
                    <a:close/>
                  </a:path>
                </a:pathLst>
              </a:custGeom>
              <a:solidFill>
                <a:schemeClr val="accent1"/>
              </a:solidFill>
              <a:ln w="377" cap="flat">
                <a:noFill/>
                <a:prstDash val="solid"/>
                <a:miter/>
              </a:ln>
            </p:spPr>
            <p:txBody>
              <a:bodyPr rtlCol="0" anchor="ctr"/>
              <a:lstStyle/>
              <a:p>
                <a:endParaRPr lang="en-GB" dirty="0"/>
              </a:p>
            </p:txBody>
          </p:sp>
          <p:sp>
            <p:nvSpPr>
              <p:cNvPr id="173" name="Freihandform: Form 1160">
                <a:extLst>
                  <a:ext uri="{FF2B5EF4-FFF2-40B4-BE49-F238E27FC236}">
                    <a16:creationId xmlns:a16="http://schemas.microsoft.com/office/drawing/2014/main" id="{49F396A2-30AC-4125-9AF9-7788F1AA16C1}"/>
                  </a:ext>
                </a:extLst>
              </p:cNvPr>
              <p:cNvSpPr/>
              <p:nvPr/>
            </p:nvSpPr>
            <p:spPr>
              <a:xfrm>
                <a:off x="902940" y="3394406"/>
                <a:ext cx="30560" cy="30294"/>
              </a:xfrm>
              <a:custGeom>
                <a:avLst/>
                <a:gdLst>
                  <a:gd name="connsiteX0" fmla="*/ 24027 w 30560"/>
                  <a:gd name="connsiteY0" fmla="*/ 30294 h 30294"/>
                  <a:gd name="connsiteX1" fmla="*/ 19440 w 30560"/>
                  <a:gd name="connsiteY1" fmla="*/ 28418 h 30294"/>
                  <a:gd name="connsiteX2" fmla="*/ 1950 w 30560"/>
                  <a:gd name="connsiteY2" fmla="*/ 11192 h 30294"/>
                  <a:gd name="connsiteX3" fmla="*/ 1878 w 30560"/>
                  <a:gd name="connsiteY3" fmla="*/ 1943 h 30294"/>
                  <a:gd name="connsiteX4" fmla="*/ 11120 w 30560"/>
                  <a:gd name="connsiteY4" fmla="*/ 1871 h 30294"/>
                  <a:gd name="connsiteX5" fmla="*/ 28610 w 30560"/>
                  <a:gd name="connsiteY5" fmla="*/ 19097 h 30294"/>
                  <a:gd name="connsiteX6" fmla="*/ 28682 w 30560"/>
                  <a:gd name="connsiteY6" fmla="*/ 28346 h 30294"/>
                  <a:gd name="connsiteX7" fmla="*/ 24027 w 30560"/>
                  <a:gd name="connsiteY7" fmla="*/ 30294 h 3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60" h="30294">
                    <a:moveTo>
                      <a:pt x="24027" y="30294"/>
                    </a:moveTo>
                    <a:cubicBezTo>
                      <a:pt x="22370" y="30294"/>
                      <a:pt x="20716" y="29668"/>
                      <a:pt x="19440" y="28418"/>
                    </a:cubicBezTo>
                    <a:lnTo>
                      <a:pt x="1950" y="11192"/>
                    </a:lnTo>
                    <a:cubicBezTo>
                      <a:pt x="-621" y="8659"/>
                      <a:pt x="-655" y="4514"/>
                      <a:pt x="1878" y="1943"/>
                    </a:cubicBezTo>
                    <a:cubicBezTo>
                      <a:pt x="4415" y="-624"/>
                      <a:pt x="8549" y="-647"/>
                      <a:pt x="11120" y="1871"/>
                    </a:cubicBezTo>
                    <a:lnTo>
                      <a:pt x="28610" y="19097"/>
                    </a:lnTo>
                    <a:cubicBezTo>
                      <a:pt x="31181" y="21630"/>
                      <a:pt x="31215" y="25775"/>
                      <a:pt x="28682" y="28346"/>
                    </a:cubicBezTo>
                    <a:cubicBezTo>
                      <a:pt x="27402" y="29641"/>
                      <a:pt x="25715" y="30294"/>
                      <a:pt x="24027" y="30294"/>
                    </a:cubicBezTo>
                    <a:close/>
                  </a:path>
                </a:pathLst>
              </a:custGeom>
              <a:solidFill>
                <a:schemeClr val="accent1"/>
              </a:solidFill>
              <a:ln w="377" cap="flat">
                <a:noFill/>
                <a:prstDash val="solid"/>
                <a:miter/>
              </a:ln>
            </p:spPr>
            <p:txBody>
              <a:bodyPr rtlCol="0" anchor="ctr"/>
              <a:lstStyle/>
              <a:p>
                <a:endParaRPr lang="en-GB" dirty="0"/>
              </a:p>
            </p:txBody>
          </p:sp>
          <p:sp>
            <p:nvSpPr>
              <p:cNvPr id="174" name="Freihandform: Form 1161">
                <a:extLst>
                  <a:ext uri="{FF2B5EF4-FFF2-40B4-BE49-F238E27FC236}">
                    <a16:creationId xmlns:a16="http://schemas.microsoft.com/office/drawing/2014/main" id="{0C939B87-CE1F-437D-8946-E5DAA982DF4D}"/>
                  </a:ext>
                </a:extLst>
              </p:cNvPr>
              <p:cNvSpPr/>
              <p:nvPr/>
            </p:nvSpPr>
            <p:spPr>
              <a:xfrm>
                <a:off x="870906" y="3538955"/>
                <a:ext cx="38816" cy="13069"/>
              </a:xfrm>
              <a:custGeom>
                <a:avLst/>
                <a:gdLst>
                  <a:gd name="connsiteX0" fmla="*/ 32281 w 38816"/>
                  <a:gd name="connsiteY0" fmla="*/ 13070 h 13069"/>
                  <a:gd name="connsiteX1" fmla="*/ 6535 w 38816"/>
                  <a:gd name="connsiteY1" fmla="*/ 13070 h 13069"/>
                  <a:gd name="connsiteX2" fmla="*/ 0 w 38816"/>
                  <a:gd name="connsiteY2" fmla="*/ 6535 h 13069"/>
                  <a:gd name="connsiteX3" fmla="*/ 6535 w 38816"/>
                  <a:gd name="connsiteY3" fmla="*/ 0 h 13069"/>
                  <a:gd name="connsiteX4" fmla="*/ 32281 w 38816"/>
                  <a:gd name="connsiteY4" fmla="*/ 0 h 13069"/>
                  <a:gd name="connsiteX5" fmla="*/ 38816 w 38816"/>
                  <a:gd name="connsiteY5" fmla="*/ 6535 h 13069"/>
                  <a:gd name="connsiteX6" fmla="*/ 32281 w 38816"/>
                  <a:gd name="connsiteY6" fmla="*/ 13070 h 1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16" h="13069">
                    <a:moveTo>
                      <a:pt x="32281" y="13070"/>
                    </a:moveTo>
                    <a:lnTo>
                      <a:pt x="6535" y="13070"/>
                    </a:lnTo>
                    <a:cubicBezTo>
                      <a:pt x="2926" y="13070"/>
                      <a:pt x="0" y="10148"/>
                      <a:pt x="0" y="6535"/>
                    </a:cubicBezTo>
                    <a:cubicBezTo>
                      <a:pt x="0" y="2922"/>
                      <a:pt x="2926" y="0"/>
                      <a:pt x="6535" y="0"/>
                    </a:cubicBezTo>
                    <a:lnTo>
                      <a:pt x="32281" y="0"/>
                    </a:lnTo>
                    <a:cubicBezTo>
                      <a:pt x="35890" y="0"/>
                      <a:pt x="38816" y="2922"/>
                      <a:pt x="38816" y="6535"/>
                    </a:cubicBezTo>
                    <a:cubicBezTo>
                      <a:pt x="38816" y="10144"/>
                      <a:pt x="35890" y="13070"/>
                      <a:pt x="32281" y="13070"/>
                    </a:cubicBezTo>
                    <a:close/>
                  </a:path>
                </a:pathLst>
              </a:custGeom>
              <a:solidFill>
                <a:schemeClr val="accent1"/>
              </a:solidFill>
              <a:ln w="377" cap="flat">
                <a:noFill/>
                <a:prstDash val="solid"/>
                <a:miter/>
              </a:ln>
            </p:spPr>
            <p:txBody>
              <a:bodyPr rtlCol="0" anchor="ctr"/>
              <a:lstStyle/>
              <a:p>
                <a:endParaRPr lang="en-GB" dirty="0"/>
              </a:p>
            </p:txBody>
          </p:sp>
          <p:grpSp>
            <p:nvGrpSpPr>
              <p:cNvPr id="175" name="Graphic 4">
                <a:extLst>
                  <a:ext uri="{FF2B5EF4-FFF2-40B4-BE49-F238E27FC236}">
                    <a16:creationId xmlns:a16="http://schemas.microsoft.com/office/drawing/2014/main" id="{7F6A19B4-1866-474E-AD60-80846494FDF8}"/>
                  </a:ext>
                </a:extLst>
              </p:cNvPr>
              <p:cNvGrpSpPr/>
              <p:nvPr/>
            </p:nvGrpSpPr>
            <p:grpSpPr>
              <a:xfrm>
                <a:off x="971877" y="3420706"/>
                <a:ext cx="211273" cy="193337"/>
                <a:chOff x="971877" y="3420706"/>
                <a:chExt cx="211273" cy="193337"/>
              </a:xfrm>
              <a:solidFill>
                <a:schemeClr val="accent1"/>
              </a:solidFill>
            </p:grpSpPr>
            <p:grpSp>
              <p:nvGrpSpPr>
                <p:cNvPr id="176" name="Graphic 4">
                  <a:extLst>
                    <a:ext uri="{FF2B5EF4-FFF2-40B4-BE49-F238E27FC236}">
                      <a16:creationId xmlns:a16="http://schemas.microsoft.com/office/drawing/2014/main" id="{0AA8BBD4-7918-4ECF-B132-A149977D5BC2}"/>
                    </a:ext>
                  </a:extLst>
                </p:cNvPr>
                <p:cNvGrpSpPr/>
                <p:nvPr/>
              </p:nvGrpSpPr>
              <p:grpSpPr>
                <a:xfrm>
                  <a:off x="971877" y="3420706"/>
                  <a:ext cx="98909" cy="193337"/>
                  <a:chOff x="971877" y="3420706"/>
                  <a:chExt cx="98909" cy="193337"/>
                </a:xfrm>
                <a:solidFill>
                  <a:schemeClr val="accent1"/>
                </a:solidFill>
              </p:grpSpPr>
              <p:sp>
                <p:nvSpPr>
                  <p:cNvPr id="185" name="Freihandform: Form 1172">
                    <a:extLst>
                      <a:ext uri="{FF2B5EF4-FFF2-40B4-BE49-F238E27FC236}">
                        <a16:creationId xmlns:a16="http://schemas.microsoft.com/office/drawing/2014/main" id="{4702B3E1-BB8A-4D32-8267-E508222208ED}"/>
                      </a:ext>
                    </a:extLst>
                  </p:cNvPr>
                  <p:cNvSpPr/>
                  <p:nvPr/>
                </p:nvSpPr>
                <p:spPr>
                  <a:xfrm>
                    <a:off x="971877" y="3420706"/>
                    <a:ext cx="98909" cy="193337"/>
                  </a:xfrm>
                  <a:custGeom>
                    <a:avLst/>
                    <a:gdLst>
                      <a:gd name="connsiteX0" fmla="*/ 67874 w 98909"/>
                      <a:gd name="connsiteY0" fmla="*/ 193337 h 193337"/>
                      <a:gd name="connsiteX1" fmla="*/ 36883 w 98909"/>
                      <a:gd name="connsiteY1" fmla="*/ 167353 h 193337"/>
                      <a:gd name="connsiteX2" fmla="*/ 15875 w 98909"/>
                      <a:gd name="connsiteY2" fmla="*/ 136121 h 193337"/>
                      <a:gd name="connsiteX3" fmla="*/ 16626 w 98909"/>
                      <a:gd name="connsiteY3" fmla="*/ 129356 h 193337"/>
                      <a:gd name="connsiteX4" fmla="*/ 0 w 98909"/>
                      <a:gd name="connsiteY4" fmla="*/ 95425 h 193337"/>
                      <a:gd name="connsiteX5" fmla="*/ 17875 w 98909"/>
                      <a:gd name="connsiteY5" fmla="*/ 60637 h 193337"/>
                      <a:gd name="connsiteX6" fmla="*/ 17679 w 98909"/>
                      <a:gd name="connsiteY6" fmla="*/ 57216 h 193337"/>
                      <a:gd name="connsiteX7" fmla="*/ 36846 w 98909"/>
                      <a:gd name="connsiteY7" fmla="*/ 26962 h 193337"/>
                      <a:gd name="connsiteX8" fmla="*/ 67874 w 98909"/>
                      <a:gd name="connsiteY8" fmla="*/ 0 h 193337"/>
                      <a:gd name="connsiteX9" fmla="*/ 98909 w 98909"/>
                      <a:gd name="connsiteY9" fmla="*/ 27464 h 193337"/>
                      <a:gd name="connsiteX10" fmla="*/ 98909 w 98909"/>
                      <a:gd name="connsiteY10" fmla="*/ 59991 h 193337"/>
                      <a:gd name="connsiteX11" fmla="*/ 95247 w 98909"/>
                      <a:gd name="connsiteY11" fmla="*/ 72106 h 193337"/>
                      <a:gd name="connsiteX12" fmla="*/ 93073 w 98909"/>
                      <a:gd name="connsiteY12" fmla="*/ 75360 h 193337"/>
                      <a:gd name="connsiteX13" fmla="*/ 93333 w 98909"/>
                      <a:gd name="connsiteY13" fmla="*/ 78403 h 193337"/>
                      <a:gd name="connsiteX14" fmla="*/ 93892 w 98909"/>
                      <a:gd name="connsiteY14" fmla="*/ 78969 h 193337"/>
                      <a:gd name="connsiteX15" fmla="*/ 98905 w 98909"/>
                      <a:gd name="connsiteY15" fmla="*/ 91351 h 193337"/>
                      <a:gd name="connsiteX16" fmla="*/ 98905 w 98909"/>
                      <a:gd name="connsiteY16" fmla="*/ 132206 h 193337"/>
                      <a:gd name="connsiteX17" fmla="*/ 96089 w 98909"/>
                      <a:gd name="connsiteY17" fmla="*/ 141716 h 193337"/>
                      <a:gd name="connsiteX18" fmla="*/ 95968 w 98909"/>
                      <a:gd name="connsiteY18" fmla="*/ 146057 h 193337"/>
                      <a:gd name="connsiteX19" fmla="*/ 96610 w 98909"/>
                      <a:gd name="connsiteY19" fmla="*/ 147182 h 193337"/>
                      <a:gd name="connsiteX20" fmla="*/ 98905 w 98909"/>
                      <a:gd name="connsiteY20" fmla="*/ 155839 h 193337"/>
                      <a:gd name="connsiteX21" fmla="*/ 98905 w 98909"/>
                      <a:gd name="connsiteY21" fmla="*/ 165865 h 193337"/>
                      <a:gd name="connsiteX22" fmla="*/ 67874 w 98909"/>
                      <a:gd name="connsiteY22" fmla="*/ 193337 h 193337"/>
                      <a:gd name="connsiteX23" fmla="*/ 67874 w 98909"/>
                      <a:gd name="connsiteY23" fmla="*/ 13077 h 193337"/>
                      <a:gd name="connsiteX24" fmla="*/ 49908 w 98909"/>
                      <a:gd name="connsiteY24" fmla="*/ 27472 h 193337"/>
                      <a:gd name="connsiteX25" fmla="*/ 50149 w 98909"/>
                      <a:gd name="connsiteY25" fmla="*/ 29688 h 193337"/>
                      <a:gd name="connsiteX26" fmla="*/ 46182 w 98909"/>
                      <a:gd name="connsiteY26" fmla="*/ 36985 h 193337"/>
                      <a:gd name="connsiteX27" fmla="*/ 30745 w 98909"/>
                      <a:gd name="connsiteY27" fmla="*/ 57224 h 193337"/>
                      <a:gd name="connsiteX28" fmla="*/ 31436 w 98909"/>
                      <a:gd name="connsiteY28" fmla="*/ 62120 h 193337"/>
                      <a:gd name="connsiteX29" fmla="*/ 28250 w 98909"/>
                      <a:gd name="connsiteY29" fmla="*/ 69595 h 193337"/>
                      <a:gd name="connsiteX30" fmla="*/ 13070 w 98909"/>
                      <a:gd name="connsiteY30" fmla="*/ 95432 h 193337"/>
                      <a:gd name="connsiteX31" fmla="*/ 27551 w 98909"/>
                      <a:gd name="connsiteY31" fmla="*/ 120911 h 193337"/>
                      <a:gd name="connsiteX32" fmla="*/ 30371 w 98909"/>
                      <a:gd name="connsiteY32" fmla="*/ 129050 h 193337"/>
                      <a:gd name="connsiteX33" fmla="*/ 28940 w 98909"/>
                      <a:gd name="connsiteY33" fmla="*/ 136128 h 193337"/>
                      <a:gd name="connsiteX34" fmla="*/ 45770 w 98909"/>
                      <a:gd name="connsiteY34" fmla="*/ 156911 h 193337"/>
                      <a:gd name="connsiteX35" fmla="*/ 50074 w 98909"/>
                      <a:gd name="connsiteY35" fmla="*/ 164099 h 193337"/>
                      <a:gd name="connsiteX36" fmla="*/ 49908 w 98909"/>
                      <a:gd name="connsiteY36" fmla="*/ 165880 h 193337"/>
                      <a:gd name="connsiteX37" fmla="*/ 67874 w 98909"/>
                      <a:gd name="connsiteY37" fmla="*/ 180275 h 193337"/>
                      <a:gd name="connsiteX38" fmla="*/ 85840 w 98909"/>
                      <a:gd name="connsiteY38" fmla="*/ 165880 h 193337"/>
                      <a:gd name="connsiteX39" fmla="*/ 85840 w 98909"/>
                      <a:gd name="connsiteY39" fmla="*/ 155854 h 193337"/>
                      <a:gd name="connsiteX40" fmla="*/ 85266 w 98909"/>
                      <a:gd name="connsiteY40" fmla="*/ 153675 h 193337"/>
                      <a:gd name="connsiteX41" fmla="*/ 84628 w 98909"/>
                      <a:gd name="connsiteY41" fmla="*/ 152558 h 193337"/>
                      <a:gd name="connsiteX42" fmla="*/ 85141 w 98909"/>
                      <a:gd name="connsiteY42" fmla="*/ 134603 h 193337"/>
                      <a:gd name="connsiteX43" fmla="*/ 85840 w 98909"/>
                      <a:gd name="connsiteY43" fmla="*/ 132221 h 193337"/>
                      <a:gd name="connsiteX44" fmla="*/ 85840 w 98909"/>
                      <a:gd name="connsiteY44" fmla="*/ 91366 h 193337"/>
                      <a:gd name="connsiteX45" fmla="*/ 84533 w 98909"/>
                      <a:gd name="connsiteY45" fmla="*/ 88112 h 193337"/>
                      <a:gd name="connsiteX46" fmla="*/ 83975 w 98909"/>
                      <a:gd name="connsiteY46" fmla="*/ 87538 h 193337"/>
                      <a:gd name="connsiteX47" fmla="*/ 82200 w 98909"/>
                      <a:gd name="connsiteY47" fmla="*/ 68123 h 193337"/>
                      <a:gd name="connsiteX48" fmla="*/ 84379 w 98909"/>
                      <a:gd name="connsiteY48" fmla="*/ 64861 h 193337"/>
                      <a:gd name="connsiteX49" fmla="*/ 85840 w 98909"/>
                      <a:gd name="connsiteY49" fmla="*/ 60002 h 193337"/>
                      <a:gd name="connsiteX50" fmla="*/ 85840 w 98909"/>
                      <a:gd name="connsiteY50" fmla="*/ 27476 h 193337"/>
                      <a:gd name="connsiteX51" fmla="*/ 67874 w 98909"/>
                      <a:gd name="connsiteY51" fmla="*/ 13077 h 19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8909" h="193337">
                        <a:moveTo>
                          <a:pt x="67874" y="193337"/>
                        </a:moveTo>
                        <a:cubicBezTo>
                          <a:pt x="51323" y="193337"/>
                          <a:pt x="37755" y="181815"/>
                          <a:pt x="36883" y="167353"/>
                        </a:cubicBezTo>
                        <a:cubicBezTo>
                          <a:pt x="23972" y="161150"/>
                          <a:pt x="15875" y="149323"/>
                          <a:pt x="15875" y="136121"/>
                        </a:cubicBezTo>
                        <a:cubicBezTo>
                          <a:pt x="15875" y="133856"/>
                          <a:pt x="16127" y="131595"/>
                          <a:pt x="16626" y="129356"/>
                        </a:cubicBezTo>
                        <a:cubicBezTo>
                          <a:pt x="5995" y="121466"/>
                          <a:pt x="0" y="109366"/>
                          <a:pt x="0" y="95425"/>
                        </a:cubicBezTo>
                        <a:cubicBezTo>
                          <a:pt x="0" y="80962"/>
                          <a:pt x="6452" y="68527"/>
                          <a:pt x="17875" y="60637"/>
                        </a:cubicBezTo>
                        <a:cubicBezTo>
                          <a:pt x="17743" y="59489"/>
                          <a:pt x="17679" y="58345"/>
                          <a:pt x="17679" y="57216"/>
                        </a:cubicBezTo>
                        <a:cubicBezTo>
                          <a:pt x="17679" y="44853"/>
                          <a:pt x="25060" y="33410"/>
                          <a:pt x="36846" y="26962"/>
                        </a:cubicBezTo>
                        <a:cubicBezTo>
                          <a:pt x="37148" y="12050"/>
                          <a:pt x="50953" y="0"/>
                          <a:pt x="67874" y="0"/>
                        </a:cubicBezTo>
                        <a:cubicBezTo>
                          <a:pt x="84986" y="0"/>
                          <a:pt x="98909" y="12318"/>
                          <a:pt x="98909" y="27464"/>
                        </a:cubicBezTo>
                        <a:lnTo>
                          <a:pt x="98909" y="59991"/>
                        </a:lnTo>
                        <a:cubicBezTo>
                          <a:pt x="98909" y="64325"/>
                          <a:pt x="97641" y="68519"/>
                          <a:pt x="95247" y="72106"/>
                        </a:cubicBezTo>
                        <a:lnTo>
                          <a:pt x="93073" y="75360"/>
                        </a:lnTo>
                        <a:cubicBezTo>
                          <a:pt x="92446" y="76300"/>
                          <a:pt x="92559" y="77606"/>
                          <a:pt x="93333" y="78403"/>
                        </a:cubicBezTo>
                        <a:lnTo>
                          <a:pt x="93892" y="78969"/>
                        </a:lnTo>
                        <a:cubicBezTo>
                          <a:pt x="97124" y="82276"/>
                          <a:pt x="98905" y="86678"/>
                          <a:pt x="98905" y="91351"/>
                        </a:cubicBezTo>
                        <a:lnTo>
                          <a:pt x="98905" y="132206"/>
                        </a:lnTo>
                        <a:cubicBezTo>
                          <a:pt x="98905" y="135596"/>
                          <a:pt x="97931" y="138888"/>
                          <a:pt x="96089" y="141716"/>
                        </a:cubicBezTo>
                        <a:cubicBezTo>
                          <a:pt x="95251" y="143007"/>
                          <a:pt x="95198" y="144709"/>
                          <a:pt x="95968" y="146057"/>
                        </a:cubicBezTo>
                        <a:lnTo>
                          <a:pt x="96610" y="147182"/>
                        </a:lnTo>
                        <a:cubicBezTo>
                          <a:pt x="98113" y="149817"/>
                          <a:pt x="98905" y="152811"/>
                          <a:pt x="98905" y="155839"/>
                        </a:cubicBezTo>
                        <a:lnTo>
                          <a:pt x="98905" y="165865"/>
                        </a:lnTo>
                        <a:cubicBezTo>
                          <a:pt x="98909" y="181019"/>
                          <a:pt x="84986" y="193337"/>
                          <a:pt x="67874" y="193337"/>
                        </a:cubicBezTo>
                        <a:close/>
                        <a:moveTo>
                          <a:pt x="67874" y="13077"/>
                        </a:moveTo>
                        <a:cubicBezTo>
                          <a:pt x="57968" y="13077"/>
                          <a:pt x="49908" y="19536"/>
                          <a:pt x="49908" y="27472"/>
                        </a:cubicBezTo>
                        <a:cubicBezTo>
                          <a:pt x="49908" y="28231"/>
                          <a:pt x="50010" y="28967"/>
                          <a:pt x="50149" y="29688"/>
                        </a:cubicBezTo>
                        <a:cubicBezTo>
                          <a:pt x="50742" y="32753"/>
                          <a:pt x="49081" y="35815"/>
                          <a:pt x="46182" y="36985"/>
                        </a:cubicBezTo>
                        <a:cubicBezTo>
                          <a:pt x="36804" y="40783"/>
                          <a:pt x="30745" y="48730"/>
                          <a:pt x="30745" y="57224"/>
                        </a:cubicBezTo>
                        <a:cubicBezTo>
                          <a:pt x="30745" y="58802"/>
                          <a:pt x="30979" y="60452"/>
                          <a:pt x="31436" y="62120"/>
                        </a:cubicBezTo>
                        <a:cubicBezTo>
                          <a:pt x="32240" y="65050"/>
                          <a:pt x="30919" y="68146"/>
                          <a:pt x="28250" y="69595"/>
                        </a:cubicBezTo>
                        <a:cubicBezTo>
                          <a:pt x="18457" y="74907"/>
                          <a:pt x="13070" y="84084"/>
                          <a:pt x="13070" y="95432"/>
                        </a:cubicBezTo>
                        <a:cubicBezTo>
                          <a:pt x="13070" y="106546"/>
                          <a:pt x="18215" y="115595"/>
                          <a:pt x="27551" y="120911"/>
                        </a:cubicBezTo>
                        <a:cubicBezTo>
                          <a:pt x="30401" y="122530"/>
                          <a:pt x="31606" y="126019"/>
                          <a:pt x="30371" y="129050"/>
                        </a:cubicBezTo>
                        <a:cubicBezTo>
                          <a:pt x="29424" y="131394"/>
                          <a:pt x="28940" y="133773"/>
                          <a:pt x="28940" y="136128"/>
                        </a:cubicBezTo>
                        <a:cubicBezTo>
                          <a:pt x="28940" y="145185"/>
                          <a:pt x="35547" y="153343"/>
                          <a:pt x="45770" y="156911"/>
                        </a:cubicBezTo>
                        <a:cubicBezTo>
                          <a:pt x="48752" y="157953"/>
                          <a:pt x="50564" y="160977"/>
                          <a:pt x="50074" y="164099"/>
                        </a:cubicBezTo>
                        <a:cubicBezTo>
                          <a:pt x="49979" y="164680"/>
                          <a:pt x="49908" y="165273"/>
                          <a:pt x="49908" y="165880"/>
                        </a:cubicBezTo>
                        <a:cubicBezTo>
                          <a:pt x="49908" y="173816"/>
                          <a:pt x="57968" y="180275"/>
                          <a:pt x="67874" y="180275"/>
                        </a:cubicBezTo>
                        <a:cubicBezTo>
                          <a:pt x="77780" y="180275"/>
                          <a:pt x="85840" y="173816"/>
                          <a:pt x="85840" y="165880"/>
                        </a:cubicBezTo>
                        <a:lnTo>
                          <a:pt x="85840" y="155854"/>
                        </a:lnTo>
                        <a:cubicBezTo>
                          <a:pt x="85840" y="155087"/>
                          <a:pt x="85643" y="154340"/>
                          <a:pt x="85266" y="153675"/>
                        </a:cubicBezTo>
                        <a:lnTo>
                          <a:pt x="84628" y="152558"/>
                        </a:lnTo>
                        <a:cubicBezTo>
                          <a:pt x="81404" y="146922"/>
                          <a:pt x="81604" y="140040"/>
                          <a:pt x="85141" y="134603"/>
                        </a:cubicBezTo>
                        <a:cubicBezTo>
                          <a:pt x="85598" y="133901"/>
                          <a:pt x="85840" y="133078"/>
                          <a:pt x="85840" y="132221"/>
                        </a:cubicBezTo>
                        <a:lnTo>
                          <a:pt x="85840" y="91366"/>
                        </a:lnTo>
                        <a:cubicBezTo>
                          <a:pt x="85840" y="90147"/>
                          <a:pt x="85364" y="88962"/>
                          <a:pt x="84533" y="88112"/>
                        </a:cubicBezTo>
                        <a:lnTo>
                          <a:pt x="83975" y="87538"/>
                        </a:lnTo>
                        <a:cubicBezTo>
                          <a:pt x="78912" y="82355"/>
                          <a:pt x="78161" y="74186"/>
                          <a:pt x="82200" y="68123"/>
                        </a:cubicBezTo>
                        <a:lnTo>
                          <a:pt x="84379" y="64861"/>
                        </a:lnTo>
                        <a:cubicBezTo>
                          <a:pt x="85337" y="63427"/>
                          <a:pt x="85840" y="61747"/>
                          <a:pt x="85840" y="60002"/>
                        </a:cubicBezTo>
                        <a:lnTo>
                          <a:pt x="85840" y="27476"/>
                        </a:lnTo>
                        <a:cubicBezTo>
                          <a:pt x="85840" y="19536"/>
                          <a:pt x="77780" y="13077"/>
                          <a:pt x="67874" y="13077"/>
                        </a:cubicBezTo>
                        <a:close/>
                      </a:path>
                    </a:pathLst>
                  </a:custGeom>
                  <a:solidFill>
                    <a:schemeClr val="accent1"/>
                  </a:solidFill>
                  <a:ln w="377" cap="flat">
                    <a:noFill/>
                    <a:prstDash val="solid"/>
                    <a:miter/>
                  </a:ln>
                </p:spPr>
                <p:txBody>
                  <a:bodyPr rtlCol="0" anchor="ctr"/>
                  <a:lstStyle/>
                  <a:p>
                    <a:endParaRPr lang="en-GB" dirty="0"/>
                  </a:p>
                </p:txBody>
              </p:sp>
              <p:sp>
                <p:nvSpPr>
                  <p:cNvPr id="186" name="Freihandform: Form 1173">
                    <a:extLst>
                      <a:ext uri="{FF2B5EF4-FFF2-40B4-BE49-F238E27FC236}">
                        <a16:creationId xmlns:a16="http://schemas.microsoft.com/office/drawing/2014/main" id="{D875ED16-201F-44BB-B711-303FC14E1908}"/>
                      </a:ext>
                    </a:extLst>
                  </p:cNvPr>
                  <p:cNvSpPr/>
                  <p:nvPr/>
                </p:nvSpPr>
                <p:spPr>
                  <a:xfrm>
                    <a:off x="1009073" y="3445094"/>
                    <a:ext cx="18326" cy="25561"/>
                  </a:xfrm>
                  <a:custGeom>
                    <a:avLst/>
                    <a:gdLst>
                      <a:gd name="connsiteX0" fmla="*/ 11797 w 18326"/>
                      <a:gd name="connsiteY0" fmla="*/ 25562 h 25561"/>
                      <a:gd name="connsiteX1" fmla="*/ 6875 w 18326"/>
                      <a:gd name="connsiteY1" fmla="*/ 23327 h 25561"/>
                      <a:gd name="connsiteX2" fmla="*/ 0 w 18326"/>
                      <a:gd name="connsiteY2" fmla="*/ 6535 h 25561"/>
                      <a:gd name="connsiteX3" fmla="*/ 6535 w 18326"/>
                      <a:gd name="connsiteY3" fmla="*/ 0 h 25561"/>
                      <a:gd name="connsiteX4" fmla="*/ 13070 w 18326"/>
                      <a:gd name="connsiteY4" fmla="*/ 6535 h 25561"/>
                      <a:gd name="connsiteX5" fmla="*/ 16709 w 18326"/>
                      <a:gd name="connsiteY5" fmla="*/ 14723 h 25561"/>
                      <a:gd name="connsiteX6" fmla="*/ 16094 w 18326"/>
                      <a:gd name="connsiteY6" fmla="*/ 23946 h 25561"/>
                      <a:gd name="connsiteX7" fmla="*/ 11797 w 18326"/>
                      <a:gd name="connsiteY7" fmla="*/ 25562 h 25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 h="25561">
                        <a:moveTo>
                          <a:pt x="11797" y="25562"/>
                        </a:moveTo>
                        <a:cubicBezTo>
                          <a:pt x="9978" y="25562"/>
                          <a:pt x="8166" y="24807"/>
                          <a:pt x="6875" y="23327"/>
                        </a:cubicBezTo>
                        <a:cubicBezTo>
                          <a:pt x="2314" y="18113"/>
                          <a:pt x="0" y="12462"/>
                          <a:pt x="0" y="6535"/>
                        </a:cubicBezTo>
                        <a:cubicBezTo>
                          <a:pt x="0" y="2922"/>
                          <a:pt x="2926" y="0"/>
                          <a:pt x="6535" y="0"/>
                        </a:cubicBezTo>
                        <a:cubicBezTo>
                          <a:pt x="10144" y="0"/>
                          <a:pt x="13070" y="2922"/>
                          <a:pt x="13070" y="6535"/>
                        </a:cubicBezTo>
                        <a:cubicBezTo>
                          <a:pt x="13070" y="9249"/>
                          <a:pt x="14259" y="11922"/>
                          <a:pt x="16709" y="14723"/>
                        </a:cubicBezTo>
                        <a:cubicBezTo>
                          <a:pt x="19087" y="17437"/>
                          <a:pt x="18812" y="21564"/>
                          <a:pt x="16094" y="23946"/>
                        </a:cubicBezTo>
                        <a:cubicBezTo>
                          <a:pt x="14859" y="25033"/>
                          <a:pt x="13323" y="25562"/>
                          <a:pt x="11797" y="25562"/>
                        </a:cubicBezTo>
                        <a:close/>
                      </a:path>
                    </a:pathLst>
                  </a:custGeom>
                  <a:solidFill>
                    <a:schemeClr val="accent1"/>
                  </a:solidFill>
                  <a:ln w="377" cap="flat">
                    <a:noFill/>
                    <a:prstDash val="solid"/>
                    <a:miter/>
                  </a:ln>
                </p:spPr>
                <p:txBody>
                  <a:bodyPr rtlCol="0" anchor="ctr"/>
                  <a:lstStyle/>
                  <a:p>
                    <a:endParaRPr lang="en-GB" dirty="0"/>
                  </a:p>
                </p:txBody>
              </p:sp>
              <p:sp>
                <p:nvSpPr>
                  <p:cNvPr id="187" name="Freihandform: Form 1174">
                    <a:extLst>
                      <a:ext uri="{FF2B5EF4-FFF2-40B4-BE49-F238E27FC236}">
                        <a16:creationId xmlns:a16="http://schemas.microsoft.com/office/drawing/2014/main" id="{700C5AFA-502C-4D52-898D-379331708A23}"/>
                      </a:ext>
                    </a:extLst>
                  </p:cNvPr>
                  <p:cNvSpPr/>
                  <p:nvPr/>
                </p:nvSpPr>
                <p:spPr>
                  <a:xfrm>
                    <a:off x="983585" y="3475902"/>
                    <a:ext cx="44757" cy="19978"/>
                  </a:xfrm>
                  <a:custGeom>
                    <a:avLst/>
                    <a:gdLst>
                      <a:gd name="connsiteX0" fmla="*/ 6541 w 44757"/>
                      <a:gd name="connsiteY0" fmla="*/ 19979 h 19978"/>
                      <a:gd name="connsiteX1" fmla="*/ 1372 w 44757"/>
                      <a:gd name="connsiteY1" fmla="*/ 17449 h 19978"/>
                      <a:gd name="connsiteX2" fmla="*/ 2528 w 44757"/>
                      <a:gd name="connsiteY2" fmla="*/ 8276 h 19978"/>
                      <a:gd name="connsiteX3" fmla="*/ 36111 w 44757"/>
                      <a:gd name="connsiteY3" fmla="*/ 1280 h 19978"/>
                      <a:gd name="connsiteX4" fmla="*/ 40691 w 44757"/>
                      <a:gd name="connsiteY4" fmla="*/ 2832 h 19978"/>
                      <a:gd name="connsiteX5" fmla="*/ 44270 w 44757"/>
                      <a:gd name="connsiteY5" fmla="*/ 11352 h 19978"/>
                      <a:gd name="connsiteX6" fmla="*/ 35749 w 44757"/>
                      <a:gd name="connsiteY6" fmla="*/ 14931 h 19978"/>
                      <a:gd name="connsiteX7" fmla="*/ 32706 w 44757"/>
                      <a:gd name="connsiteY7" fmla="*/ 13905 h 19978"/>
                      <a:gd name="connsiteX8" fmla="*/ 10542 w 44757"/>
                      <a:gd name="connsiteY8" fmla="*/ 18601 h 19978"/>
                      <a:gd name="connsiteX9" fmla="*/ 6541 w 44757"/>
                      <a:gd name="connsiteY9" fmla="*/ 19979 h 1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757" h="19978">
                        <a:moveTo>
                          <a:pt x="6541" y="19979"/>
                        </a:moveTo>
                        <a:cubicBezTo>
                          <a:pt x="4589" y="19979"/>
                          <a:pt x="2664" y="19110"/>
                          <a:pt x="1372" y="17449"/>
                        </a:cubicBezTo>
                        <a:cubicBezTo>
                          <a:pt x="-840" y="14595"/>
                          <a:pt x="-323" y="10492"/>
                          <a:pt x="2528" y="8276"/>
                        </a:cubicBezTo>
                        <a:cubicBezTo>
                          <a:pt x="12407" y="608"/>
                          <a:pt x="24843" y="-1751"/>
                          <a:pt x="36111" y="1280"/>
                        </a:cubicBezTo>
                        <a:cubicBezTo>
                          <a:pt x="37674" y="1703"/>
                          <a:pt x="39207" y="2224"/>
                          <a:pt x="40691" y="2832"/>
                        </a:cubicBezTo>
                        <a:cubicBezTo>
                          <a:pt x="44032" y="4199"/>
                          <a:pt x="45636" y="8008"/>
                          <a:pt x="44270" y="11352"/>
                        </a:cubicBezTo>
                        <a:cubicBezTo>
                          <a:pt x="42907" y="14690"/>
                          <a:pt x="39079" y="16298"/>
                          <a:pt x="35749" y="14931"/>
                        </a:cubicBezTo>
                        <a:cubicBezTo>
                          <a:pt x="34764" y="14531"/>
                          <a:pt x="33748" y="14184"/>
                          <a:pt x="32706" y="13905"/>
                        </a:cubicBezTo>
                        <a:cubicBezTo>
                          <a:pt x="25288" y="11889"/>
                          <a:pt x="17273" y="13380"/>
                          <a:pt x="10542" y="18601"/>
                        </a:cubicBezTo>
                        <a:cubicBezTo>
                          <a:pt x="9353" y="19529"/>
                          <a:pt x="7941" y="19979"/>
                          <a:pt x="6541" y="19979"/>
                        </a:cubicBezTo>
                        <a:close/>
                      </a:path>
                    </a:pathLst>
                  </a:custGeom>
                  <a:solidFill>
                    <a:schemeClr val="accent1"/>
                  </a:solidFill>
                  <a:ln w="377" cap="flat">
                    <a:noFill/>
                    <a:prstDash val="solid"/>
                    <a:miter/>
                  </a:ln>
                </p:spPr>
                <p:txBody>
                  <a:bodyPr rtlCol="0" anchor="ctr"/>
                  <a:lstStyle/>
                  <a:p>
                    <a:endParaRPr lang="en-GB" dirty="0"/>
                  </a:p>
                </p:txBody>
              </p:sp>
              <p:sp>
                <p:nvSpPr>
                  <p:cNvPr id="188" name="Freihandform: Form 1175">
                    <a:extLst>
                      <a:ext uri="{FF2B5EF4-FFF2-40B4-BE49-F238E27FC236}">
                        <a16:creationId xmlns:a16="http://schemas.microsoft.com/office/drawing/2014/main" id="{A2315795-8BFA-4366-9027-838C967CA923}"/>
                      </a:ext>
                    </a:extLst>
                  </p:cNvPr>
                  <p:cNvSpPr/>
                  <p:nvPr/>
                </p:nvSpPr>
                <p:spPr>
                  <a:xfrm>
                    <a:off x="1042252" y="3493333"/>
                    <a:ext cx="24902" cy="16991"/>
                  </a:xfrm>
                  <a:custGeom>
                    <a:avLst/>
                    <a:gdLst>
                      <a:gd name="connsiteX0" fmla="*/ 18367 w 24902"/>
                      <a:gd name="connsiteY0" fmla="*/ 16992 h 16991"/>
                      <a:gd name="connsiteX1" fmla="*/ 13694 w 24902"/>
                      <a:gd name="connsiteY1" fmla="*/ 15021 h 16991"/>
                      <a:gd name="connsiteX2" fmla="*/ 7865 w 24902"/>
                      <a:gd name="connsiteY2" fmla="*/ 13194 h 16991"/>
                      <a:gd name="connsiteX3" fmla="*/ 137 w 24902"/>
                      <a:gd name="connsiteY3" fmla="*/ 8113 h 16991"/>
                      <a:gd name="connsiteX4" fmla="*/ 5215 w 24902"/>
                      <a:gd name="connsiteY4" fmla="*/ 389 h 16991"/>
                      <a:gd name="connsiteX5" fmla="*/ 23041 w 24902"/>
                      <a:gd name="connsiteY5" fmla="*/ 5889 h 16991"/>
                      <a:gd name="connsiteX6" fmla="*/ 22932 w 24902"/>
                      <a:gd name="connsiteY6" fmla="*/ 15131 h 16991"/>
                      <a:gd name="connsiteX7" fmla="*/ 18367 w 24902"/>
                      <a:gd name="connsiteY7" fmla="*/ 16992 h 16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02" h="16991">
                        <a:moveTo>
                          <a:pt x="18367" y="16992"/>
                        </a:moveTo>
                        <a:cubicBezTo>
                          <a:pt x="16669" y="16992"/>
                          <a:pt x="14974" y="16335"/>
                          <a:pt x="13694" y="15021"/>
                        </a:cubicBezTo>
                        <a:cubicBezTo>
                          <a:pt x="12154" y="13451"/>
                          <a:pt x="9885" y="12775"/>
                          <a:pt x="7865" y="13194"/>
                        </a:cubicBezTo>
                        <a:cubicBezTo>
                          <a:pt x="4320" y="13904"/>
                          <a:pt x="873" y="11650"/>
                          <a:pt x="137" y="8113"/>
                        </a:cubicBezTo>
                        <a:cubicBezTo>
                          <a:pt x="-595" y="4583"/>
                          <a:pt x="1677" y="1125"/>
                          <a:pt x="5215" y="389"/>
                        </a:cubicBezTo>
                        <a:cubicBezTo>
                          <a:pt x="11568" y="-925"/>
                          <a:pt x="18398" y="1136"/>
                          <a:pt x="23041" y="5889"/>
                        </a:cubicBezTo>
                        <a:cubicBezTo>
                          <a:pt x="25567" y="8468"/>
                          <a:pt x="25514" y="12609"/>
                          <a:pt x="22932" y="15131"/>
                        </a:cubicBezTo>
                        <a:cubicBezTo>
                          <a:pt x="21659" y="16373"/>
                          <a:pt x="20013" y="16992"/>
                          <a:pt x="18367" y="16992"/>
                        </a:cubicBezTo>
                        <a:close/>
                      </a:path>
                    </a:pathLst>
                  </a:custGeom>
                  <a:solidFill>
                    <a:schemeClr val="accent1"/>
                  </a:solidFill>
                  <a:ln w="377" cap="flat">
                    <a:noFill/>
                    <a:prstDash val="solid"/>
                    <a:miter/>
                  </a:ln>
                </p:spPr>
                <p:txBody>
                  <a:bodyPr rtlCol="0" anchor="ctr"/>
                  <a:lstStyle/>
                  <a:p>
                    <a:endParaRPr lang="en-GB" dirty="0"/>
                  </a:p>
                </p:txBody>
              </p:sp>
              <p:sp>
                <p:nvSpPr>
                  <p:cNvPr id="189" name="Freihandform: Form 1176">
                    <a:extLst>
                      <a:ext uri="{FF2B5EF4-FFF2-40B4-BE49-F238E27FC236}">
                        <a16:creationId xmlns:a16="http://schemas.microsoft.com/office/drawing/2014/main" id="{8121FB7D-B8EC-4FDA-B44E-8095CC7A705F}"/>
                      </a:ext>
                    </a:extLst>
                  </p:cNvPr>
                  <p:cNvSpPr/>
                  <p:nvPr/>
                </p:nvSpPr>
                <p:spPr>
                  <a:xfrm>
                    <a:off x="985012" y="3537854"/>
                    <a:ext cx="27598" cy="18036"/>
                  </a:xfrm>
                  <a:custGeom>
                    <a:avLst/>
                    <a:gdLst>
                      <a:gd name="connsiteX0" fmla="*/ 21068 w 27598"/>
                      <a:gd name="connsiteY0" fmla="*/ 18037 h 18036"/>
                      <a:gd name="connsiteX1" fmla="*/ 2543 w 27598"/>
                      <a:gd name="connsiteY1" fmla="*/ 11706 h 18036"/>
                      <a:gd name="connsiteX2" fmla="*/ 1362 w 27598"/>
                      <a:gd name="connsiteY2" fmla="*/ 2532 h 18036"/>
                      <a:gd name="connsiteX3" fmla="*/ 10528 w 27598"/>
                      <a:gd name="connsiteY3" fmla="*/ 1351 h 18036"/>
                      <a:gd name="connsiteX4" fmla="*/ 21064 w 27598"/>
                      <a:gd name="connsiteY4" fmla="*/ 4964 h 18036"/>
                      <a:gd name="connsiteX5" fmla="*/ 27599 w 27598"/>
                      <a:gd name="connsiteY5" fmla="*/ 11498 h 18036"/>
                      <a:gd name="connsiteX6" fmla="*/ 21068 w 27598"/>
                      <a:gd name="connsiteY6" fmla="*/ 18037 h 1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98" h="18036">
                        <a:moveTo>
                          <a:pt x="21068" y="18037"/>
                        </a:moveTo>
                        <a:cubicBezTo>
                          <a:pt x="14318" y="18037"/>
                          <a:pt x="7911" y="15847"/>
                          <a:pt x="2543" y="11706"/>
                        </a:cubicBezTo>
                        <a:cubicBezTo>
                          <a:pt x="-315" y="9498"/>
                          <a:pt x="-843" y="5394"/>
                          <a:pt x="1362" y="2532"/>
                        </a:cubicBezTo>
                        <a:cubicBezTo>
                          <a:pt x="3570" y="-322"/>
                          <a:pt x="7681" y="-831"/>
                          <a:pt x="10528" y="1351"/>
                        </a:cubicBezTo>
                        <a:cubicBezTo>
                          <a:pt x="13589" y="3714"/>
                          <a:pt x="17232" y="4964"/>
                          <a:pt x="21064" y="4964"/>
                        </a:cubicBezTo>
                        <a:cubicBezTo>
                          <a:pt x="24673" y="4964"/>
                          <a:pt x="27599" y="7886"/>
                          <a:pt x="27599" y="11498"/>
                        </a:cubicBezTo>
                        <a:cubicBezTo>
                          <a:pt x="27603" y="15115"/>
                          <a:pt x="24677" y="18037"/>
                          <a:pt x="21068" y="18037"/>
                        </a:cubicBezTo>
                        <a:close/>
                      </a:path>
                    </a:pathLst>
                  </a:custGeom>
                  <a:solidFill>
                    <a:schemeClr val="accent1"/>
                  </a:solidFill>
                  <a:ln w="377" cap="flat">
                    <a:noFill/>
                    <a:prstDash val="solid"/>
                    <a:miter/>
                  </a:ln>
                </p:spPr>
                <p:txBody>
                  <a:bodyPr rtlCol="0" anchor="ctr"/>
                  <a:lstStyle/>
                  <a:p>
                    <a:endParaRPr lang="en-GB" dirty="0"/>
                  </a:p>
                </p:txBody>
              </p:sp>
              <p:sp>
                <p:nvSpPr>
                  <p:cNvPr id="190" name="Freihandform: Form 1177">
                    <a:extLst>
                      <a:ext uri="{FF2B5EF4-FFF2-40B4-BE49-F238E27FC236}">
                        <a16:creationId xmlns:a16="http://schemas.microsoft.com/office/drawing/2014/main" id="{08FF82FA-BA58-4551-A015-4A846C81C2F1}"/>
                      </a:ext>
                    </a:extLst>
                  </p:cNvPr>
                  <p:cNvSpPr/>
                  <p:nvPr/>
                </p:nvSpPr>
                <p:spPr>
                  <a:xfrm>
                    <a:off x="1047793" y="3553761"/>
                    <a:ext cx="20318" cy="18899"/>
                  </a:xfrm>
                  <a:custGeom>
                    <a:avLst/>
                    <a:gdLst>
                      <a:gd name="connsiteX0" fmla="*/ 6541 w 20318"/>
                      <a:gd name="connsiteY0" fmla="*/ 18899 h 18899"/>
                      <a:gd name="connsiteX1" fmla="*/ 474 w 20318"/>
                      <a:gd name="connsiteY1" fmla="*/ 14803 h 18899"/>
                      <a:gd name="connsiteX2" fmla="*/ 4098 w 20318"/>
                      <a:gd name="connsiteY2" fmla="*/ 6301 h 18899"/>
                      <a:gd name="connsiteX3" fmla="*/ 8410 w 20318"/>
                      <a:gd name="connsiteY3" fmla="*/ 2828 h 18899"/>
                      <a:gd name="connsiteX4" fmla="*/ 17500 w 20318"/>
                      <a:gd name="connsiteY4" fmla="*/ 1167 h 18899"/>
                      <a:gd name="connsiteX5" fmla="*/ 19157 w 20318"/>
                      <a:gd name="connsiteY5" fmla="*/ 10258 h 18899"/>
                      <a:gd name="connsiteX6" fmla="*/ 8972 w 20318"/>
                      <a:gd name="connsiteY6" fmla="*/ 18427 h 18899"/>
                      <a:gd name="connsiteX7" fmla="*/ 6541 w 20318"/>
                      <a:gd name="connsiteY7" fmla="*/ 18899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18" h="18899">
                        <a:moveTo>
                          <a:pt x="6541" y="18899"/>
                        </a:moveTo>
                        <a:cubicBezTo>
                          <a:pt x="3951" y="18899"/>
                          <a:pt x="1497" y="17355"/>
                          <a:pt x="474" y="14803"/>
                        </a:cubicBezTo>
                        <a:cubicBezTo>
                          <a:pt x="-874" y="11450"/>
                          <a:pt x="750" y="7649"/>
                          <a:pt x="4098" y="6301"/>
                        </a:cubicBezTo>
                        <a:cubicBezTo>
                          <a:pt x="5827" y="5607"/>
                          <a:pt x="7319" y="4406"/>
                          <a:pt x="8410" y="2828"/>
                        </a:cubicBezTo>
                        <a:cubicBezTo>
                          <a:pt x="10456" y="-154"/>
                          <a:pt x="14533" y="-894"/>
                          <a:pt x="17500" y="1167"/>
                        </a:cubicBezTo>
                        <a:cubicBezTo>
                          <a:pt x="20467" y="3221"/>
                          <a:pt x="21211" y="7287"/>
                          <a:pt x="19157" y="10258"/>
                        </a:cubicBezTo>
                        <a:cubicBezTo>
                          <a:pt x="16609" y="13954"/>
                          <a:pt x="13083" y="16774"/>
                          <a:pt x="8972" y="18427"/>
                        </a:cubicBezTo>
                        <a:cubicBezTo>
                          <a:pt x="8179" y="18744"/>
                          <a:pt x="7353" y="18899"/>
                          <a:pt x="6541" y="18899"/>
                        </a:cubicBezTo>
                        <a:close/>
                      </a:path>
                    </a:pathLst>
                  </a:custGeom>
                  <a:solidFill>
                    <a:schemeClr val="accent1"/>
                  </a:solidFill>
                  <a:ln w="377" cap="flat">
                    <a:noFill/>
                    <a:prstDash val="solid"/>
                    <a:miter/>
                  </a:ln>
                </p:spPr>
                <p:txBody>
                  <a:bodyPr rtlCol="0" anchor="ctr"/>
                  <a:lstStyle/>
                  <a:p>
                    <a:endParaRPr lang="en-GB" dirty="0"/>
                  </a:p>
                </p:txBody>
              </p:sp>
              <p:sp>
                <p:nvSpPr>
                  <p:cNvPr id="191" name="Freihandform: Form 1178">
                    <a:extLst>
                      <a:ext uri="{FF2B5EF4-FFF2-40B4-BE49-F238E27FC236}">
                        <a16:creationId xmlns:a16="http://schemas.microsoft.com/office/drawing/2014/main" id="{5E230685-1E00-466C-AF9E-E8D0280210F9}"/>
                      </a:ext>
                    </a:extLst>
                  </p:cNvPr>
                  <p:cNvSpPr/>
                  <p:nvPr/>
                </p:nvSpPr>
                <p:spPr>
                  <a:xfrm>
                    <a:off x="1008962" y="3572566"/>
                    <a:ext cx="18429" cy="17753"/>
                  </a:xfrm>
                  <a:custGeom>
                    <a:avLst/>
                    <a:gdLst>
                      <a:gd name="connsiteX0" fmla="*/ 6536 w 18429"/>
                      <a:gd name="connsiteY0" fmla="*/ 17754 h 17753"/>
                      <a:gd name="connsiteX1" fmla="*/ 1614 w 18429"/>
                      <a:gd name="connsiteY1" fmla="*/ 15519 h 17753"/>
                      <a:gd name="connsiteX2" fmla="*/ 2233 w 18429"/>
                      <a:gd name="connsiteY2" fmla="*/ 6296 h 17753"/>
                      <a:gd name="connsiteX3" fmla="*/ 7593 w 18429"/>
                      <a:gd name="connsiteY3" fmla="*/ 1611 h 17753"/>
                      <a:gd name="connsiteX4" fmla="*/ 16816 w 18429"/>
                      <a:gd name="connsiteY4" fmla="*/ 2230 h 17753"/>
                      <a:gd name="connsiteX5" fmla="*/ 16197 w 18429"/>
                      <a:gd name="connsiteY5" fmla="*/ 11453 h 17753"/>
                      <a:gd name="connsiteX6" fmla="*/ 10836 w 18429"/>
                      <a:gd name="connsiteY6" fmla="*/ 16138 h 17753"/>
                      <a:gd name="connsiteX7" fmla="*/ 6536 w 18429"/>
                      <a:gd name="connsiteY7" fmla="*/ 17754 h 17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29" h="17753">
                        <a:moveTo>
                          <a:pt x="6536" y="17754"/>
                        </a:moveTo>
                        <a:cubicBezTo>
                          <a:pt x="4713" y="17754"/>
                          <a:pt x="2905" y="16995"/>
                          <a:pt x="1614" y="15519"/>
                        </a:cubicBezTo>
                        <a:cubicBezTo>
                          <a:pt x="-761" y="12801"/>
                          <a:pt x="-482" y="8671"/>
                          <a:pt x="2233" y="6296"/>
                        </a:cubicBezTo>
                        <a:lnTo>
                          <a:pt x="7593" y="1611"/>
                        </a:lnTo>
                        <a:cubicBezTo>
                          <a:pt x="10327" y="-763"/>
                          <a:pt x="14445" y="-477"/>
                          <a:pt x="16816" y="2230"/>
                        </a:cubicBezTo>
                        <a:cubicBezTo>
                          <a:pt x="19191" y="4948"/>
                          <a:pt x="18911" y="9078"/>
                          <a:pt x="16197" y="11453"/>
                        </a:cubicBezTo>
                        <a:lnTo>
                          <a:pt x="10836" y="16138"/>
                        </a:lnTo>
                        <a:cubicBezTo>
                          <a:pt x="9594" y="17225"/>
                          <a:pt x="8062" y="17754"/>
                          <a:pt x="6536" y="17754"/>
                        </a:cubicBezTo>
                        <a:close/>
                      </a:path>
                    </a:pathLst>
                  </a:custGeom>
                  <a:solidFill>
                    <a:schemeClr val="accent1"/>
                  </a:solidFill>
                  <a:ln w="377" cap="flat">
                    <a:noFill/>
                    <a:prstDash val="solid"/>
                    <a:miter/>
                  </a:ln>
                </p:spPr>
                <p:txBody>
                  <a:bodyPr rtlCol="0" anchor="ctr"/>
                  <a:lstStyle/>
                  <a:p>
                    <a:endParaRPr lang="en-GB" dirty="0"/>
                  </a:p>
                </p:txBody>
              </p:sp>
            </p:grpSp>
            <p:grpSp>
              <p:nvGrpSpPr>
                <p:cNvPr id="177" name="Graphic 4">
                  <a:extLst>
                    <a:ext uri="{FF2B5EF4-FFF2-40B4-BE49-F238E27FC236}">
                      <a16:creationId xmlns:a16="http://schemas.microsoft.com/office/drawing/2014/main" id="{C42FE3AB-6F51-4F49-8A7D-7390D02755D4}"/>
                    </a:ext>
                  </a:extLst>
                </p:cNvPr>
                <p:cNvGrpSpPr/>
                <p:nvPr/>
              </p:nvGrpSpPr>
              <p:grpSpPr>
                <a:xfrm>
                  <a:off x="1084240" y="3420714"/>
                  <a:ext cx="98909" cy="193329"/>
                  <a:chOff x="1084240" y="3420714"/>
                  <a:chExt cx="98909" cy="193329"/>
                </a:xfrm>
                <a:solidFill>
                  <a:schemeClr val="accent1"/>
                </a:solidFill>
              </p:grpSpPr>
              <p:sp>
                <p:nvSpPr>
                  <p:cNvPr id="178" name="Freihandform: Form 1165">
                    <a:extLst>
                      <a:ext uri="{FF2B5EF4-FFF2-40B4-BE49-F238E27FC236}">
                        <a16:creationId xmlns:a16="http://schemas.microsoft.com/office/drawing/2014/main" id="{EDEFDC97-8AB9-4CBC-A220-0E72E4564124}"/>
                      </a:ext>
                    </a:extLst>
                  </p:cNvPr>
                  <p:cNvSpPr/>
                  <p:nvPr/>
                </p:nvSpPr>
                <p:spPr>
                  <a:xfrm>
                    <a:off x="1084240" y="3420714"/>
                    <a:ext cx="98909" cy="193329"/>
                  </a:xfrm>
                  <a:custGeom>
                    <a:avLst/>
                    <a:gdLst>
                      <a:gd name="connsiteX0" fmla="*/ 31043 w 98909"/>
                      <a:gd name="connsiteY0" fmla="*/ 193330 h 193329"/>
                      <a:gd name="connsiteX1" fmla="*/ 8 w 98909"/>
                      <a:gd name="connsiteY1" fmla="*/ 165865 h 193329"/>
                      <a:gd name="connsiteX2" fmla="*/ 8 w 98909"/>
                      <a:gd name="connsiteY2" fmla="*/ 155839 h 193329"/>
                      <a:gd name="connsiteX3" fmla="*/ 2299 w 98909"/>
                      <a:gd name="connsiteY3" fmla="*/ 147190 h 193329"/>
                      <a:gd name="connsiteX4" fmla="*/ 2945 w 98909"/>
                      <a:gd name="connsiteY4" fmla="*/ 146061 h 193329"/>
                      <a:gd name="connsiteX5" fmla="*/ 2820 w 98909"/>
                      <a:gd name="connsiteY5" fmla="*/ 141716 h 193329"/>
                      <a:gd name="connsiteX6" fmla="*/ 8 w 98909"/>
                      <a:gd name="connsiteY6" fmla="*/ 132210 h 193329"/>
                      <a:gd name="connsiteX7" fmla="*/ 8 w 98909"/>
                      <a:gd name="connsiteY7" fmla="*/ 91355 h 193329"/>
                      <a:gd name="connsiteX8" fmla="*/ 5032 w 98909"/>
                      <a:gd name="connsiteY8" fmla="*/ 78961 h 193329"/>
                      <a:gd name="connsiteX9" fmla="*/ 5580 w 98909"/>
                      <a:gd name="connsiteY9" fmla="*/ 78399 h 193329"/>
                      <a:gd name="connsiteX10" fmla="*/ 5836 w 98909"/>
                      <a:gd name="connsiteY10" fmla="*/ 75360 h 193329"/>
                      <a:gd name="connsiteX11" fmla="*/ 3658 w 98909"/>
                      <a:gd name="connsiteY11" fmla="*/ 72098 h 193329"/>
                      <a:gd name="connsiteX12" fmla="*/ 0 w 98909"/>
                      <a:gd name="connsiteY12" fmla="*/ 59991 h 193329"/>
                      <a:gd name="connsiteX13" fmla="*/ 0 w 98909"/>
                      <a:gd name="connsiteY13" fmla="*/ 27464 h 193329"/>
                      <a:gd name="connsiteX14" fmla="*/ 31036 w 98909"/>
                      <a:gd name="connsiteY14" fmla="*/ 0 h 193329"/>
                      <a:gd name="connsiteX15" fmla="*/ 62064 w 98909"/>
                      <a:gd name="connsiteY15" fmla="*/ 26962 h 193329"/>
                      <a:gd name="connsiteX16" fmla="*/ 81230 w 98909"/>
                      <a:gd name="connsiteY16" fmla="*/ 57216 h 193329"/>
                      <a:gd name="connsiteX17" fmla="*/ 81034 w 98909"/>
                      <a:gd name="connsiteY17" fmla="*/ 60637 h 193329"/>
                      <a:gd name="connsiteX18" fmla="*/ 98909 w 98909"/>
                      <a:gd name="connsiteY18" fmla="*/ 95425 h 193329"/>
                      <a:gd name="connsiteX19" fmla="*/ 82283 w 98909"/>
                      <a:gd name="connsiteY19" fmla="*/ 129356 h 193329"/>
                      <a:gd name="connsiteX20" fmla="*/ 83035 w 98909"/>
                      <a:gd name="connsiteY20" fmla="*/ 136121 h 193329"/>
                      <a:gd name="connsiteX21" fmla="*/ 62026 w 98909"/>
                      <a:gd name="connsiteY21" fmla="*/ 167353 h 193329"/>
                      <a:gd name="connsiteX22" fmla="*/ 31043 w 98909"/>
                      <a:gd name="connsiteY22" fmla="*/ 193330 h 193329"/>
                      <a:gd name="connsiteX23" fmla="*/ 31043 w 98909"/>
                      <a:gd name="connsiteY23" fmla="*/ 13070 h 193329"/>
                      <a:gd name="connsiteX24" fmla="*/ 13077 w 98909"/>
                      <a:gd name="connsiteY24" fmla="*/ 27464 h 193329"/>
                      <a:gd name="connsiteX25" fmla="*/ 13077 w 98909"/>
                      <a:gd name="connsiteY25" fmla="*/ 59991 h 193329"/>
                      <a:gd name="connsiteX26" fmla="*/ 14534 w 98909"/>
                      <a:gd name="connsiteY26" fmla="*/ 64842 h 193329"/>
                      <a:gd name="connsiteX27" fmla="*/ 16713 w 98909"/>
                      <a:gd name="connsiteY27" fmla="*/ 68111 h 193329"/>
                      <a:gd name="connsiteX28" fmla="*/ 14931 w 98909"/>
                      <a:gd name="connsiteY28" fmla="*/ 87535 h 193329"/>
                      <a:gd name="connsiteX29" fmla="*/ 14380 w 98909"/>
                      <a:gd name="connsiteY29" fmla="*/ 88101 h 193329"/>
                      <a:gd name="connsiteX30" fmla="*/ 13073 w 98909"/>
                      <a:gd name="connsiteY30" fmla="*/ 91355 h 193329"/>
                      <a:gd name="connsiteX31" fmla="*/ 13073 w 98909"/>
                      <a:gd name="connsiteY31" fmla="*/ 132210 h 193329"/>
                      <a:gd name="connsiteX32" fmla="*/ 13768 w 98909"/>
                      <a:gd name="connsiteY32" fmla="*/ 134584 h 193329"/>
                      <a:gd name="connsiteX33" fmla="*/ 14285 w 98909"/>
                      <a:gd name="connsiteY33" fmla="*/ 152547 h 193329"/>
                      <a:gd name="connsiteX34" fmla="*/ 13643 w 98909"/>
                      <a:gd name="connsiteY34" fmla="*/ 153672 h 193329"/>
                      <a:gd name="connsiteX35" fmla="*/ 13073 w 98909"/>
                      <a:gd name="connsiteY35" fmla="*/ 155842 h 193329"/>
                      <a:gd name="connsiteX36" fmla="*/ 13073 w 98909"/>
                      <a:gd name="connsiteY36" fmla="*/ 165869 h 193329"/>
                      <a:gd name="connsiteX37" fmla="*/ 31039 w 98909"/>
                      <a:gd name="connsiteY37" fmla="*/ 180264 h 193329"/>
                      <a:gd name="connsiteX38" fmla="*/ 49005 w 98909"/>
                      <a:gd name="connsiteY38" fmla="*/ 165869 h 193329"/>
                      <a:gd name="connsiteX39" fmla="*/ 48839 w 98909"/>
                      <a:gd name="connsiteY39" fmla="*/ 164087 h 193329"/>
                      <a:gd name="connsiteX40" fmla="*/ 53143 w 98909"/>
                      <a:gd name="connsiteY40" fmla="*/ 156899 h 193329"/>
                      <a:gd name="connsiteX41" fmla="*/ 69973 w 98909"/>
                      <a:gd name="connsiteY41" fmla="*/ 136117 h 193329"/>
                      <a:gd name="connsiteX42" fmla="*/ 68542 w 98909"/>
                      <a:gd name="connsiteY42" fmla="*/ 129039 h 193329"/>
                      <a:gd name="connsiteX43" fmla="*/ 71362 w 98909"/>
                      <a:gd name="connsiteY43" fmla="*/ 120900 h 193329"/>
                      <a:gd name="connsiteX44" fmla="*/ 85843 w 98909"/>
                      <a:gd name="connsiteY44" fmla="*/ 95421 h 193329"/>
                      <a:gd name="connsiteX45" fmla="*/ 70663 w 98909"/>
                      <a:gd name="connsiteY45" fmla="*/ 69584 h 193329"/>
                      <a:gd name="connsiteX46" fmla="*/ 67477 w 98909"/>
                      <a:gd name="connsiteY46" fmla="*/ 62109 h 193329"/>
                      <a:gd name="connsiteX47" fmla="*/ 68168 w 98909"/>
                      <a:gd name="connsiteY47" fmla="*/ 57212 h 193329"/>
                      <a:gd name="connsiteX48" fmla="*/ 52731 w 98909"/>
                      <a:gd name="connsiteY48" fmla="*/ 36974 h 193329"/>
                      <a:gd name="connsiteX49" fmla="*/ 48764 w 98909"/>
                      <a:gd name="connsiteY49" fmla="*/ 29676 h 193329"/>
                      <a:gd name="connsiteX50" fmla="*/ 49005 w 98909"/>
                      <a:gd name="connsiteY50" fmla="*/ 27461 h 193329"/>
                      <a:gd name="connsiteX51" fmla="*/ 31043 w 98909"/>
                      <a:gd name="connsiteY51" fmla="*/ 13070 h 19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8909" h="193329">
                        <a:moveTo>
                          <a:pt x="31043" y="193330"/>
                        </a:moveTo>
                        <a:cubicBezTo>
                          <a:pt x="13930" y="193330"/>
                          <a:pt x="8" y="181011"/>
                          <a:pt x="8" y="165865"/>
                        </a:cubicBezTo>
                        <a:lnTo>
                          <a:pt x="8" y="155839"/>
                        </a:lnTo>
                        <a:cubicBezTo>
                          <a:pt x="8" y="152815"/>
                          <a:pt x="800" y="149821"/>
                          <a:pt x="2299" y="147190"/>
                        </a:cubicBezTo>
                        <a:lnTo>
                          <a:pt x="2945" y="146061"/>
                        </a:lnTo>
                        <a:cubicBezTo>
                          <a:pt x="3715" y="144713"/>
                          <a:pt x="3662" y="143011"/>
                          <a:pt x="2820" y="141716"/>
                        </a:cubicBezTo>
                        <a:cubicBezTo>
                          <a:pt x="982" y="138896"/>
                          <a:pt x="8" y="135600"/>
                          <a:pt x="8" y="132210"/>
                        </a:cubicBezTo>
                        <a:lnTo>
                          <a:pt x="8" y="91355"/>
                        </a:lnTo>
                        <a:cubicBezTo>
                          <a:pt x="8" y="86681"/>
                          <a:pt x="1793" y="82280"/>
                          <a:pt x="5032" y="78961"/>
                        </a:cubicBezTo>
                        <a:lnTo>
                          <a:pt x="5580" y="78399"/>
                        </a:lnTo>
                        <a:cubicBezTo>
                          <a:pt x="6354" y="77606"/>
                          <a:pt x="6463" y="76300"/>
                          <a:pt x="5836" y="75360"/>
                        </a:cubicBezTo>
                        <a:lnTo>
                          <a:pt x="3658" y="72098"/>
                        </a:lnTo>
                        <a:cubicBezTo>
                          <a:pt x="1268" y="68519"/>
                          <a:pt x="0" y="64325"/>
                          <a:pt x="0" y="59991"/>
                        </a:cubicBezTo>
                        <a:lnTo>
                          <a:pt x="0" y="27464"/>
                        </a:lnTo>
                        <a:cubicBezTo>
                          <a:pt x="0" y="12318"/>
                          <a:pt x="13923" y="0"/>
                          <a:pt x="31036" y="0"/>
                        </a:cubicBezTo>
                        <a:cubicBezTo>
                          <a:pt x="47960" y="0"/>
                          <a:pt x="61762" y="12050"/>
                          <a:pt x="62064" y="26962"/>
                        </a:cubicBezTo>
                        <a:cubicBezTo>
                          <a:pt x="73850" y="33410"/>
                          <a:pt x="81230" y="44853"/>
                          <a:pt x="81230" y="57216"/>
                        </a:cubicBezTo>
                        <a:cubicBezTo>
                          <a:pt x="81230" y="58345"/>
                          <a:pt x="81162" y="59489"/>
                          <a:pt x="81034" y="60637"/>
                        </a:cubicBezTo>
                        <a:cubicBezTo>
                          <a:pt x="92457" y="68527"/>
                          <a:pt x="98909" y="80958"/>
                          <a:pt x="98909" y="95425"/>
                        </a:cubicBezTo>
                        <a:cubicBezTo>
                          <a:pt x="98909" y="109366"/>
                          <a:pt x="92914" y="121466"/>
                          <a:pt x="82283" y="129356"/>
                        </a:cubicBezTo>
                        <a:cubicBezTo>
                          <a:pt x="82782" y="131595"/>
                          <a:pt x="83035" y="133856"/>
                          <a:pt x="83035" y="136121"/>
                        </a:cubicBezTo>
                        <a:cubicBezTo>
                          <a:pt x="83035" y="149319"/>
                          <a:pt x="74933" y="161146"/>
                          <a:pt x="62026" y="167353"/>
                        </a:cubicBezTo>
                        <a:cubicBezTo>
                          <a:pt x="61161" y="181812"/>
                          <a:pt x="47593" y="193330"/>
                          <a:pt x="31043" y="193330"/>
                        </a:cubicBezTo>
                        <a:close/>
                        <a:moveTo>
                          <a:pt x="31043" y="13070"/>
                        </a:moveTo>
                        <a:cubicBezTo>
                          <a:pt x="21137" y="13070"/>
                          <a:pt x="13077" y="19529"/>
                          <a:pt x="13077" y="27464"/>
                        </a:cubicBezTo>
                        <a:lnTo>
                          <a:pt x="13077" y="59991"/>
                        </a:lnTo>
                        <a:cubicBezTo>
                          <a:pt x="13077" y="61735"/>
                          <a:pt x="13583" y="63411"/>
                          <a:pt x="14534" y="64842"/>
                        </a:cubicBezTo>
                        <a:lnTo>
                          <a:pt x="16713" y="68111"/>
                        </a:lnTo>
                        <a:cubicBezTo>
                          <a:pt x="20748" y="74167"/>
                          <a:pt x="20001" y="82340"/>
                          <a:pt x="14931" y="87535"/>
                        </a:cubicBezTo>
                        <a:lnTo>
                          <a:pt x="14380" y="88101"/>
                        </a:lnTo>
                        <a:cubicBezTo>
                          <a:pt x="13549" y="88950"/>
                          <a:pt x="13073" y="90136"/>
                          <a:pt x="13073" y="91355"/>
                        </a:cubicBezTo>
                        <a:lnTo>
                          <a:pt x="13073" y="132210"/>
                        </a:lnTo>
                        <a:cubicBezTo>
                          <a:pt x="13073" y="133067"/>
                          <a:pt x="13315" y="133890"/>
                          <a:pt x="13768" y="134584"/>
                        </a:cubicBezTo>
                        <a:cubicBezTo>
                          <a:pt x="17309" y="140028"/>
                          <a:pt x="17509" y="146910"/>
                          <a:pt x="14285" y="152547"/>
                        </a:cubicBezTo>
                        <a:lnTo>
                          <a:pt x="13643" y="153672"/>
                        </a:lnTo>
                        <a:cubicBezTo>
                          <a:pt x="13270" y="154328"/>
                          <a:pt x="13073" y="155076"/>
                          <a:pt x="13073" y="155842"/>
                        </a:cubicBezTo>
                        <a:lnTo>
                          <a:pt x="13073" y="165869"/>
                        </a:lnTo>
                        <a:cubicBezTo>
                          <a:pt x="13073" y="173805"/>
                          <a:pt x="21133" y="180264"/>
                          <a:pt x="31039" y="180264"/>
                        </a:cubicBezTo>
                        <a:cubicBezTo>
                          <a:pt x="40945" y="180264"/>
                          <a:pt x="49005" y="173805"/>
                          <a:pt x="49005" y="165869"/>
                        </a:cubicBezTo>
                        <a:cubicBezTo>
                          <a:pt x="49005" y="165261"/>
                          <a:pt x="48934" y="164669"/>
                          <a:pt x="48839" y="164087"/>
                        </a:cubicBezTo>
                        <a:cubicBezTo>
                          <a:pt x="48348" y="160965"/>
                          <a:pt x="50161" y="157941"/>
                          <a:pt x="53143" y="156899"/>
                        </a:cubicBezTo>
                        <a:cubicBezTo>
                          <a:pt x="63366" y="153332"/>
                          <a:pt x="69973" y="145174"/>
                          <a:pt x="69973" y="136117"/>
                        </a:cubicBezTo>
                        <a:cubicBezTo>
                          <a:pt x="69973" y="133761"/>
                          <a:pt x="69489" y="131383"/>
                          <a:pt x="68542" y="129039"/>
                        </a:cubicBezTo>
                        <a:cubicBezTo>
                          <a:pt x="67307" y="126007"/>
                          <a:pt x="68512" y="122523"/>
                          <a:pt x="71362" y="120900"/>
                        </a:cubicBezTo>
                        <a:cubicBezTo>
                          <a:pt x="80702" y="115584"/>
                          <a:pt x="85843" y="106531"/>
                          <a:pt x="85843" y="95421"/>
                        </a:cubicBezTo>
                        <a:cubicBezTo>
                          <a:pt x="85843" y="84073"/>
                          <a:pt x="80452" y="74895"/>
                          <a:pt x="70663" y="69584"/>
                        </a:cubicBezTo>
                        <a:cubicBezTo>
                          <a:pt x="67994" y="68134"/>
                          <a:pt x="66673" y="65038"/>
                          <a:pt x="67477" y="62109"/>
                        </a:cubicBezTo>
                        <a:cubicBezTo>
                          <a:pt x="67934" y="60444"/>
                          <a:pt x="68168" y="58791"/>
                          <a:pt x="68168" y="57212"/>
                        </a:cubicBezTo>
                        <a:cubicBezTo>
                          <a:pt x="68168" y="48718"/>
                          <a:pt x="62109" y="40772"/>
                          <a:pt x="52731" y="36974"/>
                        </a:cubicBezTo>
                        <a:cubicBezTo>
                          <a:pt x="49832" y="35807"/>
                          <a:pt x="48171" y="32742"/>
                          <a:pt x="48764" y="29676"/>
                        </a:cubicBezTo>
                        <a:cubicBezTo>
                          <a:pt x="48903" y="28956"/>
                          <a:pt x="49005" y="28223"/>
                          <a:pt x="49005" y="27461"/>
                        </a:cubicBezTo>
                        <a:cubicBezTo>
                          <a:pt x="49009" y="19529"/>
                          <a:pt x="40949" y="13070"/>
                          <a:pt x="31043" y="13070"/>
                        </a:cubicBezTo>
                        <a:close/>
                      </a:path>
                    </a:pathLst>
                  </a:custGeom>
                  <a:solidFill>
                    <a:schemeClr val="accent1"/>
                  </a:solidFill>
                  <a:ln w="377" cap="flat">
                    <a:noFill/>
                    <a:prstDash val="solid"/>
                    <a:miter/>
                  </a:ln>
                </p:spPr>
                <p:txBody>
                  <a:bodyPr rtlCol="0" anchor="ctr"/>
                  <a:lstStyle/>
                  <a:p>
                    <a:endParaRPr lang="en-GB" dirty="0"/>
                  </a:p>
                </p:txBody>
              </p:sp>
              <p:sp>
                <p:nvSpPr>
                  <p:cNvPr id="179" name="Freihandform: Form 1166">
                    <a:extLst>
                      <a:ext uri="{FF2B5EF4-FFF2-40B4-BE49-F238E27FC236}">
                        <a16:creationId xmlns:a16="http://schemas.microsoft.com/office/drawing/2014/main" id="{D8435818-5723-408C-92F8-4796C9C84B1A}"/>
                      </a:ext>
                    </a:extLst>
                  </p:cNvPr>
                  <p:cNvSpPr/>
                  <p:nvPr/>
                </p:nvSpPr>
                <p:spPr>
                  <a:xfrm>
                    <a:off x="1127630" y="3445094"/>
                    <a:ext cx="18326" cy="25561"/>
                  </a:xfrm>
                  <a:custGeom>
                    <a:avLst/>
                    <a:gdLst>
                      <a:gd name="connsiteX0" fmla="*/ 6533 w 18326"/>
                      <a:gd name="connsiteY0" fmla="*/ 25562 h 25561"/>
                      <a:gd name="connsiteX1" fmla="*/ 2233 w 18326"/>
                      <a:gd name="connsiteY1" fmla="*/ 23946 h 25561"/>
                      <a:gd name="connsiteX2" fmla="*/ 1618 w 18326"/>
                      <a:gd name="connsiteY2" fmla="*/ 14723 h 25561"/>
                      <a:gd name="connsiteX3" fmla="*/ 5257 w 18326"/>
                      <a:gd name="connsiteY3" fmla="*/ 6535 h 25561"/>
                      <a:gd name="connsiteX4" fmla="*/ 11792 w 18326"/>
                      <a:gd name="connsiteY4" fmla="*/ 0 h 25561"/>
                      <a:gd name="connsiteX5" fmla="*/ 18327 w 18326"/>
                      <a:gd name="connsiteY5" fmla="*/ 6535 h 25561"/>
                      <a:gd name="connsiteX6" fmla="*/ 11452 w 18326"/>
                      <a:gd name="connsiteY6" fmla="*/ 23327 h 25561"/>
                      <a:gd name="connsiteX7" fmla="*/ 6533 w 18326"/>
                      <a:gd name="connsiteY7" fmla="*/ 25562 h 25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26" h="25561">
                        <a:moveTo>
                          <a:pt x="6533" y="25562"/>
                        </a:moveTo>
                        <a:cubicBezTo>
                          <a:pt x="5008" y="25562"/>
                          <a:pt x="3472" y="25033"/>
                          <a:pt x="2233" y="23946"/>
                        </a:cubicBezTo>
                        <a:cubicBezTo>
                          <a:pt x="-485" y="21564"/>
                          <a:pt x="-760" y="17434"/>
                          <a:pt x="1618" y="14723"/>
                        </a:cubicBezTo>
                        <a:cubicBezTo>
                          <a:pt x="4064" y="11922"/>
                          <a:pt x="5257" y="9245"/>
                          <a:pt x="5257" y="6535"/>
                        </a:cubicBezTo>
                        <a:cubicBezTo>
                          <a:pt x="5257" y="2922"/>
                          <a:pt x="8183" y="0"/>
                          <a:pt x="11792" y="0"/>
                        </a:cubicBezTo>
                        <a:cubicBezTo>
                          <a:pt x="15401" y="0"/>
                          <a:pt x="18327" y="2922"/>
                          <a:pt x="18327" y="6535"/>
                        </a:cubicBezTo>
                        <a:cubicBezTo>
                          <a:pt x="18327" y="12466"/>
                          <a:pt x="16013" y="18113"/>
                          <a:pt x="11452" y="23327"/>
                        </a:cubicBezTo>
                        <a:cubicBezTo>
                          <a:pt x="10165" y="24807"/>
                          <a:pt x="8353" y="25562"/>
                          <a:pt x="6533" y="25562"/>
                        </a:cubicBezTo>
                        <a:close/>
                      </a:path>
                    </a:pathLst>
                  </a:custGeom>
                  <a:solidFill>
                    <a:schemeClr val="accent1"/>
                  </a:solidFill>
                  <a:ln w="377" cap="flat">
                    <a:noFill/>
                    <a:prstDash val="solid"/>
                    <a:miter/>
                  </a:ln>
                </p:spPr>
                <p:txBody>
                  <a:bodyPr rtlCol="0" anchor="ctr"/>
                  <a:lstStyle/>
                  <a:p>
                    <a:endParaRPr lang="en-GB" dirty="0"/>
                  </a:p>
                </p:txBody>
              </p:sp>
              <p:sp>
                <p:nvSpPr>
                  <p:cNvPr id="180" name="Freihandform: Form 1167">
                    <a:extLst>
                      <a:ext uri="{FF2B5EF4-FFF2-40B4-BE49-F238E27FC236}">
                        <a16:creationId xmlns:a16="http://schemas.microsoft.com/office/drawing/2014/main" id="{936F4E48-40B8-4EB3-ACCC-670317ACE5E2}"/>
                      </a:ext>
                    </a:extLst>
                  </p:cNvPr>
                  <p:cNvSpPr/>
                  <p:nvPr/>
                </p:nvSpPr>
                <p:spPr>
                  <a:xfrm>
                    <a:off x="1126688" y="3475930"/>
                    <a:ext cx="44756" cy="19951"/>
                  </a:xfrm>
                  <a:custGeom>
                    <a:avLst/>
                    <a:gdLst>
                      <a:gd name="connsiteX0" fmla="*/ 38220 w 44756"/>
                      <a:gd name="connsiteY0" fmla="*/ 19951 h 19951"/>
                      <a:gd name="connsiteX1" fmla="*/ 34214 w 44756"/>
                      <a:gd name="connsiteY1" fmla="*/ 18581 h 19951"/>
                      <a:gd name="connsiteX2" fmla="*/ 9019 w 44756"/>
                      <a:gd name="connsiteY2" fmla="*/ 14904 h 19951"/>
                      <a:gd name="connsiteX3" fmla="*/ 491 w 44756"/>
                      <a:gd name="connsiteY3" fmla="*/ 11344 h 19951"/>
                      <a:gd name="connsiteX4" fmla="*/ 4058 w 44756"/>
                      <a:gd name="connsiteY4" fmla="*/ 2816 h 19951"/>
                      <a:gd name="connsiteX5" fmla="*/ 42229 w 44756"/>
                      <a:gd name="connsiteY5" fmla="*/ 8252 h 19951"/>
                      <a:gd name="connsiteX6" fmla="*/ 43384 w 44756"/>
                      <a:gd name="connsiteY6" fmla="*/ 17425 h 19951"/>
                      <a:gd name="connsiteX7" fmla="*/ 38220 w 44756"/>
                      <a:gd name="connsiteY7" fmla="*/ 19951 h 19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56" h="19951">
                        <a:moveTo>
                          <a:pt x="38220" y="19951"/>
                        </a:moveTo>
                        <a:cubicBezTo>
                          <a:pt x="36819" y="19951"/>
                          <a:pt x="35407" y="19506"/>
                          <a:pt x="34214" y="18581"/>
                        </a:cubicBezTo>
                        <a:cubicBezTo>
                          <a:pt x="26543" y="12627"/>
                          <a:pt x="17166" y="11566"/>
                          <a:pt x="9019" y="14904"/>
                        </a:cubicBezTo>
                        <a:cubicBezTo>
                          <a:pt x="5670" y="16289"/>
                          <a:pt x="1861" y="14681"/>
                          <a:pt x="491" y="11344"/>
                        </a:cubicBezTo>
                        <a:cubicBezTo>
                          <a:pt x="-879" y="7999"/>
                          <a:pt x="717" y="4182"/>
                          <a:pt x="4058" y="2816"/>
                        </a:cubicBezTo>
                        <a:cubicBezTo>
                          <a:pt x="16422" y="-2258"/>
                          <a:pt x="30960" y="-491"/>
                          <a:pt x="42229" y="8252"/>
                        </a:cubicBezTo>
                        <a:cubicBezTo>
                          <a:pt x="45079" y="10468"/>
                          <a:pt x="45597" y="14571"/>
                          <a:pt x="43384" y="17425"/>
                        </a:cubicBezTo>
                        <a:cubicBezTo>
                          <a:pt x="42097" y="19083"/>
                          <a:pt x="40168" y="19951"/>
                          <a:pt x="38220" y="19951"/>
                        </a:cubicBezTo>
                        <a:close/>
                      </a:path>
                    </a:pathLst>
                  </a:custGeom>
                  <a:solidFill>
                    <a:schemeClr val="accent1"/>
                  </a:solidFill>
                  <a:ln w="377" cap="flat">
                    <a:noFill/>
                    <a:prstDash val="solid"/>
                    <a:miter/>
                  </a:ln>
                </p:spPr>
                <p:txBody>
                  <a:bodyPr rtlCol="0" anchor="ctr"/>
                  <a:lstStyle/>
                  <a:p>
                    <a:endParaRPr lang="en-GB" dirty="0"/>
                  </a:p>
                </p:txBody>
              </p:sp>
              <p:sp>
                <p:nvSpPr>
                  <p:cNvPr id="181" name="Freihandform: Form 1168">
                    <a:extLst>
                      <a:ext uri="{FF2B5EF4-FFF2-40B4-BE49-F238E27FC236}">
                        <a16:creationId xmlns:a16="http://schemas.microsoft.com/office/drawing/2014/main" id="{8866EAE0-9E6F-4612-8F53-ECCB08669D7C}"/>
                      </a:ext>
                    </a:extLst>
                  </p:cNvPr>
                  <p:cNvSpPr/>
                  <p:nvPr/>
                </p:nvSpPr>
                <p:spPr>
                  <a:xfrm>
                    <a:off x="1087877" y="3493334"/>
                    <a:ext cx="24900" cy="16990"/>
                  </a:xfrm>
                  <a:custGeom>
                    <a:avLst/>
                    <a:gdLst>
                      <a:gd name="connsiteX0" fmla="*/ 6537 w 24900"/>
                      <a:gd name="connsiteY0" fmla="*/ 16990 h 16990"/>
                      <a:gd name="connsiteX1" fmla="*/ 1969 w 24900"/>
                      <a:gd name="connsiteY1" fmla="*/ 15133 h 16990"/>
                      <a:gd name="connsiteX2" fmla="*/ 1860 w 24900"/>
                      <a:gd name="connsiteY2" fmla="*/ 5891 h 16990"/>
                      <a:gd name="connsiteX3" fmla="*/ 19686 w 24900"/>
                      <a:gd name="connsiteY3" fmla="*/ 391 h 16990"/>
                      <a:gd name="connsiteX4" fmla="*/ 24764 w 24900"/>
                      <a:gd name="connsiteY4" fmla="*/ 8115 h 16990"/>
                      <a:gd name="connsiteX5" fmla="*/ 17036 w 24900"/>
                      <a:gd name="connsiteY5" fmla="*/ 13196 h 16990"/>
                      <a:gd name="connsiteX6" fmla="*/ 11207 w 24900"/>
                      <a:gd name="connsiteY6" fmla="*/ 15023 h 16990"/>
                      <a:gd name="connsiteX7" fmla="*/ 6537 w 24900"/>
                      <a:gd name="connsiteY7" fmla="*/ 16990 h 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00" h="16990">
                        <a:moveTo>
                          <a:pt x="6537" y="16990"/>
                        </a:moveTo>
                        <a:cubicBezTo>
                          <a:pt x="4891" y="16990"/>
                          <a:pt x="3245" y="16371"/>
                          <a:pt x="1969" y="15133"/>
                        </a:cubicBezTo>
                        <a:cubicBezTo>
                          <a:pt x="-613" y="12611"/>
                          <a:pt x="-662" y="8470"/>
                          <a:pt x="1860" y="5891"/>
                        </a:cubicBezTo>
                        <a:cubicBezTo>
                          <a:pt x="6499" y="1131"/>
                          <a:pt x="13317" y="-927"/>
                          <a:pt x="19686" y="391"/>
                        </a:cubicBezTo>
                        <a:cubicBezTo>
                          <a:pt x="23223" y="1123"/>
                          <a:pt x="25496" y="4585"/>
                          <a:pt x="24764" y="8115"/>
                        </a:cubicBezTo>
                        <a:cubicBezTo>
                          <a:pt x="24031" y="11652"/>
                          <a:pt x="20585" y="13910"/>
                          <a:pt x="17036" y="13196"/>
                        </a:cubicBezTo>
                        <a:cubicBezTo>
                          <a:pt x="15024" y="12781"/>
                          <a:pt x="12751" y="13453"/>
                          <a:pt x="11207" y="15023"/>
                        </a:cubicBezTo>
                        <a:cubicBezTo>
                          <a:pt x="9935" y="16333"/>
                          <a:pt x="8236" y="16990"/>
                          <a:pt x="6537" y="16990"/>
                        </a:cubicBezTo>
                        <a:close/>
                      </a:path>
                    </a:pathLst>
                  </a:custGeom>
                  <a:solidFill>
                    <a:schemeClr val="accent1"/>
                  </a:solidFill>
                  <a:ln w="377" cap="flat">
                    <a:noFill/>
                    <a:prstDash val="solid"/>
                    <a:miter/>
                  </a:ln>
                </p:spPr>
                <p:txBody>
                  <a:bodyPr rtlCol="0" anchor="ctr"/>
                  <a:lstStyle/>
                  <a:p>
                    <a:endParaRPr lang="en-GB" dirty="0"/>
                  </a:p>
                </p:txBody>
              </p:sp>
              <p:sp>
                <p:nvSpPr>
                  <p:cNvPr id="182" name="Freihandform: Form 1169">
                    <a:extLst>
                      <a:ext uri="{FF2B5EF4-FFF2-40B4-BE49-F238E27FC236}">
                        <a16:creationId xmlns:a16="http://schemas.microsoft.com/office/drawing/2014/main" id="{478E3972-A3BA-4266-AE0D-DC78BD4AEE7F}"/>
                      </a:ext>
                    </a:extLst>
                  </p:cNvPr>
                  <p:cNvSpPr/>
                  <p:nvPr/>
                </p:nvSpPr>
                <p:spPr>
                  <a:xfrm>
                    <a:off x="1142423" y="3537854"/>
                    <a:ext cx="27600" cy="18036"/>
                  </a:xfrm>
                  <a:custGeom>
                    <a:avLst/>
                    <a:gdLst>
                      <a:gd name="connsiteX0" fmla="*/ 6535 w 27600"/>
                      <a:gd name="connsiteY0" fmla="*/ 18036 h 18036"/>
                      <a:gd name="connsiteX1" fmla="*/ 0 w 27600"/>
                      <a:gd name="connsiteY1" fmla="*/ 11501 h 18036"/>
                      <a:gd name="connsiteX2" fmla="*/ 6535 w 27600"/>
                      <a:gd name="connsiteY2" fmla="*/ 4967 h 18036"/>
                      <a:gd name="connsiteX3" fmla="*/ 17071 w 27600"/>
                      <a:gd name="connsiteY3" fmla="*/ 1354 h 18036"/>
                      <a:gd name="connsiteX4" fmla="*/ 26237 w 27600"/>
                      <a:gd name="connsiteY4" fmla="*/ 2535 h 18036"/>
                      <a:gd name="connsiteX5" fmla="*/ 25056 w 27600"/>
                      <a:gd name="connsiteY5" fmla="*/ 11709 h 18036"/>
                      <a:gd name="connsiteX6" fmla="*/ 6535 w 27600"/>
                      <a:gd name="connsiteY6" fmla="*/ 18036 h 1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600" h="18036">
                        <a:moveTo>
                          <a:pt x="6535" y="18036"/>
                        </a:moveTo>
                        <a:cubicBezTo>
                          <a:pt x="2926" y="18036"/>
                          <a:pt x="0" y="15114"/>
                          <a:pt x="0" y="11501"/>
                        </a:cubicBezTo>
                        <a:cubicBezTo>
                          <a:pt x="0" y="7889"/>
                          <a:pt x="2926" y="4967"/>
                          <a:pt x="6535" y="4967"/>
                        </a:cubicBezTo>
                        <a:cubicBezTo>
                          <a:pt x="10367" y="4967"/>
                          <a:pt x="14013" y="3717"/>
                          <a:pt x="17071" y="1354"/>
                        </a:cubicBezTo>
                        <a:cubicBezTo>
                          <a:pt x="19922" y="-836"/>
                          <a:pt x="24029" y="-318"/>
                          <a:pt x="26237" y="2535"/>
                        </a:cubicBezTo>
                        <a:cubicBezTo>
                          <a:pt x="28442" y="5393"/>
                          <a:pt x="27917" y="9501"/>
                          <a:pt x="25056" y="11709"/>
                        </a:cubicBezTo>
                        <a:cubicBezTo>
                          <a:pt x="19687" y="15847"/>
                          <a:pt x="13285" y="18036"/>
                          <a:pt x="6535" y="18036"/>
                        </a:cubicBezTo>
                        <a:close/>
                      </a:path>
                    </a:pathLst>
                  </a:custGeom>
                  <a:solidFill>
                    <a:schemeClr val="accent1"/>
                  </a:solidFill>
                  <a:ln w="377" cap="flat">
                    <a:noFill/>
                    <a:prstDash val="solid"/>
                    <a:miter/>
                  </a:ln>
                </p:spPr>
                <p:txBody>
                  <a:bodyPr rtlCol="0" anchor="ctr"/>
                  <a:lstStyle/>
                  <a:p>
                    <a:endParaRPr lang="en-GB" dirty="0"/>
                  </a:p>
                </p:txBody>
              </p:sp>
              <p:sp>
                <p:nvSpPr>
                  <p:cNvPr id="183" name="Freihandform: Form 1170">
                    <a:extLst>
                      <a:ext uri="{FF2B5EF4-FFF2-40B4-BE49-F238E27FC236}">
                        <a16:creationId xmlns:a16="http://schemas.microsoft.com/office/drawing/2014/main" id="{862A04CF-096A-40CF-AB59-56853ADB279C}"/>
                      </a:ext>
                    </a:extLst>
                  </p:cNvPr>
                  <p:cNvSpPr/>
                  <p:nvPr/>
                </p:nvSpPr>
                <p:spPr>
                  <a:xfrm>
                    <a:off x="1086919" y="3553761"/>
                    <a:ext cx="20318" cy="18899"/>
                  </a:xfrm>
                  <a:custGeom>
                    <a:avLst/>
                    <a:gdLst>
                      <a:gd name="connsiteX0" fmla="*/ 13781 w 20318"/>
                      <a:gd name="connsiteY0" fmla="*/ 18899 h 18899"/>
                      <a:gd name="connsiteX1" fmla="*/ 11346 w 20318"/>
                      <a:gd name="connsiteY1" fmla="*/ 18427 h 18899"/>
                      <a:gd name="connsiteX2" fmla="*/ 1161 w 20318"/>
                      <a:gd name="connsiteY2" fmla="*/ 10258 h 18899"/>
                      <a:gd name="connsiteX3" fmla="*/ 2818 w 20318"/>
                      <a:gd name="connsiteY3" fmla="*/ 1167 h 18899"/>
                      <a:gd name="connsiteX4" fmla="*/ 11909 w 20318"/>
                      <a:gd name="connsiteY4" fmla="*/ 2828 h 18899"/>
                      <a:gd name="connsiteX5" fmla="*/ 16220 w 20318"/>
                      <a:gd name="connsiteY5" fmla="*/ 6301 h 18899"/>
                      <a:gd name="connsiteX6" fmla="*/ 19844 w 20318"/>
                      <a:gd name="connsiteY6" fmla="*/ 14803 h 18899"/>
                      <a:gd name="connsiteX7" fmla="*/ 13781 w 20318"/>
                      <a:gd name="connsiteY7" fmla="*/ 18899 h 1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318" h="18899">
                        <a:moveTo>
                          <a:pt x="13781" y="18899"/>
                        </a:moveTo>
                        <a:cubicBezTo>
                          <a:pt x="12970" y="18899"/>
                          <a:pt x="12143" y="18744"/>
                          <a:pt x="11346" y="18427"/>
                        </a:cubicBezTo>
                        <a:cubicBezTo>
                          <a:pt x="7235" y="16774"/>
                          <a:pt x="3713" y="13954"/>
                          <a:pt x="1161" y="10258"/>
                        </a:cubicBezTo>
                        <a:cubicBezTo>
                          <a:pt x="-893" y="7290"/>
                          <a:pt x="-149" y="3225"/>
                          <a:pt x="2818" y="1167"/>
                        </a:cubicBezTo>
                        <a:cubicBezTo>
                          <a:pt x="5778" y="-894"/>
                          <a:pt x="9855" y="-154"/>
                          <a:pt x="11909" y="2828"/>
                        </a:cubicBezTo>
                        <a:cubicBezTo>
                          <a:pt x="13000" y="4406"/>
                          <a:pt x="14491" y="5603"/>
                          <a:pt x="16220" y="6301"/>
                        </a:cubicBezTo>
                        <a:cubicBezTo>
                          <a:pt x="19572" y="7649"/>
                          <a:pt x="21192" y="11450"/>
                          <a:pt x="19844" y="14803"/>
                        </a:cubicBezTo>
                        <a:cubicBezTo>
                          <a:pt x="18825" y="17355"/>
                          <a:pt x="16371" y="18899"/>
                          <a:pt x="13781" y="18899"/>
                        </a:cubicBezTo>
                        <a:close/>
                      </a:path>
                    </a:pathLst>
                  </a:custGeom>
                  <a:solidFill>
                    <a:schemeClr val="accent1"/>
                  </a:solidFill>
                  <a:ln w="377" cap="flat">
                    <a:noFill/>
                    <a:prstDash val="solid"/>
                    <a:miter/>
                  </a:ln>
                </p:spPr>
                <p:txBody>
                  <a:bodyPr rtlCol="0" anchor="ctr"/>
                  <a:lstStyle/>
                  <a:p>
                    <a:endParaRPr lang="en-GB" dirty="0"/>
                  </a:p>
                </p:txBody>
              </p:sp>
              <p:sp>
                <p:nvSpPr>
                  <p:cNvPr id="184" name="Freihandform: Form 1171">
                    <a:extLst>
                      <a:ext uri="{FF2B5EF4-FFF2-40B4-BE49-F238E27FC236}">
                        <a16:creationId xmlns:a16="http://schemas.microsoft.com/office/drawing/2014/main" id="{FD9F7FE0-AA0B-4C7F-A959-9391EB578641}"/>
                      </a:ext>
                    </a:extLst>
                  </p:cNvPr>
                  <p:cNvSpPr/>
                  <p:nvPr/>
                </p:nvSpPr>
                <p:spPr>
                  <a:xfrm>
                    <a:off x="1127642" y="3572566"/>
                    <a:ext cx="18429" cy="17753"/>
                  </a:xfrm>
                  <a:custGeom>
                    <a:avLst/>
                    <a:gdLst>
                      <a:gd name="connsiteX0" fmla="*/ 11893 w 18429"/>
                      <a:gd name="connsiteY0" fmla="*/ 17754 h 17753"/>
                      <a:gd name="connsiteX1" fmla="*/ 7593 w 18429"/>
                      <a:gd name="connsiteY1" fmla="*/ 16138 h 17753"/>
                      <a:gd name="connsiteX2" fmla="*/ 2233 w 18429"/>
                      <a:gd name="connsiteY2" fmla="*/ 11453 h 17753"/>
                      <a:gd name="connsiteX3" fmla="*/ 1614 w 18429"/>
                      <a:gd name="connsiteY3" fmla="*/ 2230 h 17753"/>
                      <a:gd name="connsiteX4" fmla="*/ 10836 w 18429"/>
                      <a:gd name="connsiteY4" fmla="*/ 1611 h 17753"/>
                      <a:gd name="connsiteX5" fmla="*/ 16197 w 18429"/>
                      <a:gd name="connsiteY5" fmla="*/ 6296 h 17753"/>
                      <a:gd name="connsiteX6" fmla="*/ 16816 w 18429"/>
                      <a:gd name="connsiteY6" fmla="*/ 15519 h 17753"/>
                      <a:gd name="connsiteX7" fmla="*/ 11893 w 18429"/>
                      <a:gd name="connsiteY7" fmla="*/ 17754 h 17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29" h="17753">
                        <a:moveTo>
                          <a:pt x="11893" y="17754"/>
                        </a:moveTo>
                        <a:cubicBezTo>
                          <a:pt x="10368" y="17754"/>
                          <a:pt x="8836" y="17225"/>
                          <a:pt x="7593" y="16138"/>
                        </a:cubicBezTo>
                        <a:lnTo>
                          <a:pt x="2233" y="11453"/>
                        </a:lnTo>
                        <a:cubicBezTo>
                          <a:pt x="-482" y="9078"/>
                          <a:pt x="-761" y="4948"/>
                          <a:pt x="1614" y="2230"/>
                        </a:cubicBezTo>
                        <a:cubicBezTo>
                          <a:pt x="3988" y="-477"/>
                          <a:pt x="8114" y="-763"/>
                          <a:pt x="10836" y="1611"/>
                        </a:cubicBezTo>
                        <a:lnTo>
                          <a:pt x="16197" y="6296"/>
                        </a:lnTo>
                        <a:cubicBezTo>
                          <a:pt x="18911" y="8671"/>
                          <a:pt x="19191" y="12801"/>
                          <a:pt x="16816" y="15519"/>
                        </a:cubicBezTo>
                        <a:cubicBezTo>
                          <a:pt x="15525" y="16995"/>
                          <a:pt x="13717" y="17754"/>
                          <a:pt x="11893" y="17754"/>
                        </a:cubicBezTo>
                        <a:close/>
                      </a:path>
                    </a:pathLst>
                  </a:custGeom>
                  <a:solidFill>
                    <a:schemeClr val="accent1"/>
                  </a:solidFill>
                  <a:ln w="377" cap="flat">
                    <a:noFill/>
                    <a:prstDash val="solid"/>
                    <a:miter/>
                  </a:ln>
                </p:spPr>
                <p:txBody>
                  <a:bodyPr rtlCol="0" anchor="ctr"/>
                  <a:lstStyle/>
                  <a:p>
                    <a:endParaRPr lang="en-GB" dirty="0"/>
                  </a:p>
                </p:txBody>
              </p:sp>
            </p:grpSp>
          </p:grpSp>
        </p:grpSp>
      </p:grpSp>
      <p:grpSp>
        <p:nvGrpSpPr>
          <p:cNvPr id="43" name="Group 42">
            <a:extLst>
              <a:ext uri="{FF2B5EF4-FFF2-40B4-BE49-F238E27FC236}">
                <a16:creationId xmlns:a16="http://schemas.microsoft.com/office/drawing/2014/main" id="{0E526965-E116-C6FC-AA13-F9543D189DBD}"/>
              </a:ext>
            </a:extLst>
          </p:cNvPr>
          <p:cNvGrpSpPr/>
          <p:nvPr/>
        </p:nvGrpSpPr>
        <p:grpSpPr>
          <a:xfrm>
            <a:off x="594090" y="3197068"/>
            <a:ext cx="399921" cy="432000"/>
            <a:chOff x="594090" y="3197068"/>
            <a:chExt cx="399921" cy="432000"/>
          </a:xfrm>
        </p:grpSpPr>
        <p:grpSp>
          <p:nvGrpSpPr>
            <p:cNvPr id="196" name="Gruppieren 1218">
              <a:extLst>
                <a:ext uri="{FF2B5EF4-FFF2-40B4-BE49-F238E27FC236}">
                  <a16:creationId xmlns:a16="http://schemas.microsoft.com/office/drawing/2014/main" id="{57AD871E-FA43-423F-8BEE-899578E61290}"/>
                </a:ext>
              </a:extLst>
            </p:cNvPr>
            <p:cNvGrpSpPr/>
            <p:nvPr/>
          </p:nvGrpSpPr>
          <p:grpSpPr>
            <a:xfrm>
              <a:off x="594090" y="3197068"/>
              <a:ext cx="399921" cy="432000"/>
              <a:chOff x="2541773" y="3320864"/>
              <a:chExt cx="387248" cy="418310"/>
            </a:xfrm>
          </p:grpSpPr>
          <p:sp>
            <p:nvSpPr>
              <p:cNvPr id="205" name="Freihandform: Form 1227">
                <a:extLst>
                  <a:ext uri="{FF2B5EF4-FFF2-40B4-BE49-F238E27FC236}">
                    <a16:creationId xmlns:a16="http://schemas.microsoft.com/office/drawing/2014/main" id="{389A25B7-0E46-4C97-B8A2-2887780F3474}"/>
                  </a:ext>
                </a:extLst>
              </p:cNvPr>
              <p:cNvSpPr/>
              <p:nvPr/>
            </p:nvSpPr>
            <p:spPr>
              <a:xfrm>
                <a:off x="2765625" y="3320864"/>
                <a:ext cx="13069" cy="52293"/>
              </a:xfrm>
              <a:custGeom>
                <a:avLst/>
                <a:gdLst>
                  <a:gd name="connsiteX0" fmla="*/ 6535 w 13069"/>
                  <a:gd name="connsiteY0" fmla="*/ 52294 h 52293"/>
                  <a:gd name="connsiteX1" fmla="*/ 0 w 13069"/>
                  <a:gd name="connsiteY1" fmla="*/ 45759 h 52293"/>
                  <a:gd name="connsiteX2" fmla="*/ 0 w 13069"/>
                  <a:gd name="connsiteY2" fmla="*/ 6535 h 52293"/>
                  <a:gd name="connsiteX3" fmla="*/ 6535 w 13069"/>
                  <a:gd name="connsiteY3" fmla="*/ 0 h 52293"/>
                  <a:gd name="connsiteX4" fmla="*/ 13070 w 13069"/>
                  <a:gd name="connsiteY4" fmla="*/ 6535 h 52293"/>
                  <a:gd name="connsiteX5" fmla="*/ 13070 w 13069"/>
                  <a:gd name="connsiteY5" fmla="*/ 45759 h 52293"/>
                  <a:gd name="connsiteX6" fmla="*/ 6535 w 13069"/>
                  <a:gd name="connsiteY6" fmla="*/ 52294 h 5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9" h="52293">
                    <a:moveTo>
                      <a:pt x="6535" y="52294"/>
                    </a:moveTo>
                    <a:cubicBezTo>
                      <a:pt x="2922" y="52294"/>
                      <a:pt x="0" y="49372"/>
                      <a:pt x="0" y="45759"/>
                    </a:cubicBezTo>
                    <a:lnTo>
                      <a:pt x="0" y="6535"/>
                    </a:lnTo>
                    <a:cubicBezTo>
                      <a:pt x="0" y="2922"/>
                      <a:pt x="2922" y="0"/>
                      <a:pt x="6535" y="0"/>
                    </a:cubicBezTo>
                    <a:cubicBezTo>
                      <a:pt x="10148" y="0"/>
                      <a:pt x="13070" y="2922"/>
                      <a:pt x="13070" y="6535"/>
                    </a:cubicBezTo>
                    <a:lnTo>
                      <a:pt x="13070" y="45759"/>
                    </a:lnTo>
                    <a:cubicBezTo>
                      <a:pt x="13070" y="49372"/>
                      <a:pt x="10148" y="52294"/>
                      <a:pt x="6535" y="52294"/>
                    </a:cubicBezTo>
                    <a:close/>
                  </a:path>
                </a:pathLst>
              </a:custGeom>
              <a:solidFill>
                <a:schemeClr val="accent1"/>
              </a:solidFill>
              <a:ln w="377" cap="flat">
                <a:noFill/>
                <a:prstDash val="solid"/>
                <a:miter/>
              </a:ln>
            </p:spPr>
            <p:txBody>
              <a:bodyPr rtlCol="0" anchor="ctr"/>
              <a:lstStyle/>
              <a:p>
                <a:endParaRPr lang="en-GB" dirty="0"/>
              </a:p>
            </p:txBody>
          </p:sp>
          <p:sp>
            <p:nvSpPr>
              <p:cNvPr id="206" name="Freihandform: Form 1228">
                <a:extLst>
                  <a:ext uri="{FF2B5EF4-FFF2-40B4-BE49-F238E27FC236}">
                    <a16:creationId xmlns:a16="http://schemas.microsoft.com/office/drawing/2014/main" id="{4BD01FE8-4753-441C-8F79-67A413222741}"/>
                  </a:ext>
                </a:extLst>
              </p:cNvPr>
              <p:cNvSpPr/>
              <p:nvPr/>
            </p:nvSpPr>
            <p:spPr>
              <a:xfrm>
                <a:off x="2889809" y="3373162"/>
                <a:ext cx="39212" cy="39212"/>
              </a:xfrm>
              <a:custGeom>
                <a:avLst/>
                <a:gdLst>
                  <a:gd name="connsiteX0" fmla="*/ 6535 w 39212"/>
                  <a:gd name="connsiteY0" fmla="*/ 39213 h 39212"/>
                  <a:gd name="connsiteX1" fmla="*/ 1914 w 39212"/>
                  <a:gd name="connsiteY1" fmla="*/ 37299 h 39212"/>
                  <a:gd name="connsiteX2" fmla="*/ 1914 w 39212"/>
                  <a:gd name="connsiteY2" fmla="*/ 28057 h 39212"/>
                  <a:gd name="connsiteX3" fmla="*/ 28057 w 39212"/>
                  <a:gd name="connsiteY3" fmla="*/ 1914 h 39212"/>
                  <a:gd name="connsiteX4" fmla="*/ 37299 w 39212"/>
                  <a:gd name="connsiteY4" fmla="*/ 1914 h 39212"/>
                  <a:gd name="connsiteX5" fmla="*/ 37299 w 39212"/>
                  <a:gd name="connsiteY5" fmla="*/ 11156 h 39212"/>
                  <a:gd name="connsiteX6" fmla="*/ 11156 w 39212"/>
                  <a:gd name="connsiteY6" fmla="*/ 37299 h 39212"/>
                  <a:gd name="connsiteX7" fmla="*/ 6535 w 39212"/>
                  <a:gd name="connsiteY7" fmla="*/ 39213 h 3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12" h="39212">
                    <a:moveTo>
                      <a:pt x="6535" y="39213"/>
                    </a:moveTo>
                    <a:cubicBezTo>
                      <a:pt x="4862" y="39213"/>
                      <a:pt x="3190" y="38575"/>
                      <a:pt x="1914" y="37299"/>
                    </a:cubicBezTo>
                    <a:cubicBezTo>
                      <a:pt x="-638" y="34747"/>
                      <a:pt x="-638" y="30609"/>
                      <a:pt x="1914" y="28057"/>
                    </a:cubicBezTo>
                    <a:lnTo>
                      <a:pt x="28057" y="1914"/>
                    </a:lnTo>
                    <a:cubicBezTo>
                      <a:pt x="30609" y="-638"/>
                      <a:pt x="34747" y="-638"/>
                      <a:pt x="37299" y="1914"/>
                    </a:cubicBezTo>
                    <a:cubicBezTo>
                      <a:pt x="39851" y="4466"/>
                      <a:pt x="39851" y="8604"/>
                      <a:pt x="37299" y="11156"/>
                    </a:cubicBezTo>
                    <a:lnTo>
                      <a:pt x="11156" y="37299"/>
                    </a:lnTo>
                    <a:cubicBezTo>
                      <a:pt x="9880" y="38575"/>
                      <a:pt x="8207" y="39213"/>
                      <a:pt x="6535" y="39213"/>
                    </a:cubicBezTo>
                    <a:close/>
                  </a:path>
                </a:pathLst>
              </a:custGeom>
              <a:solidFill>
                <a:schemeClr val="accent1"/>
              </a:solidFill>
              <a:ln w="377" cap="flat">
                <a:noFill/>
                <a:prstDash val="solid"/>
                <a:miter/>
              </a:ln>
            </p:spPr>
            <p:txBody>
              <a:bodyPr rtlCol="0" anchor="ctr"/>
              <a:lstStyle/>
              <a:p>
                <a:endParaRPr lang="en-GB" dirty="0"/>
              </a:p>
            </p:txBody>
          </p:sp>
          <p:sp>
            <p:nvSpPr>
              <p:cNvPr id="207" name="Freihandform: Form 1229">
                <a:extLst>
                  <a:ext uri="{FF2B5EF4-FFF2-40B4-BE49-F238E27FC236}">
                    <a16:creationId xmlns:a16="http://schemas.microsoft.com/office/drawing/2014/main" id="{21319E0E-4483-45A3-BC70-6D4B4394F981}"/>
                  </a:ext>
                </a:extLst>
              </p:cNvPr>
              <p:cNvSpPr/>
              <p:nvPr/>
            </p:nvSpPr>
            <p:spPr>
              <a:xfrm>
                <a:off x="2615298" y="3373162"/>
                <a:ext cx="39212" cy="39212"/>
              </a:xfrm>
              <a:custGeom>
                <a:avLst/>
                <a:gdLst>
                  <a:gd name="connsiteX0" fmla="*/ 32678 w 39212"/>
                  <a:gd name="connsiteY0" fmla="*/ 39213 h 39212"/>
                  <a:gd name="connsiteX1" fmla="*/ 28057 w 39212"/>
                  <a:gd name="connsiteY1" fmla="*/ 37299 h 39212"/>
                  <a:gd name="connsiteX2" fmla="*/ 1914 w 39212"/>
                  <a:gd name="connsiteY2" fmla="*/ 11156 h 39212"/>
                  <a:gd name="connsiteX3" fmla="*/ 1914 w 39212"/>
                  <a:gd name="connsiteY3" fmla="*/ 1914 h 39212"/>
                  <a:gd name="connsiteX4" fmla="*/ 11156 w 39212"/>
                  <a:gd name="connsiteY4" fmla="*/ 1914 h 39212"/>
                  <a:gd name="connsiteX5" fmla="*/ 37299 w 39212"/>
                  <a:gd name="connsiteY5" fmla="*/ 28057 h 39212"/>
                  <a:gd name="connsiteX6" fmla="*/ 37299 w 39212"/>
                  <a:gd name="connsiteY6" fmla="*/ 37299 h 39212"/>
                  <a:gd name="connsiteX7" fmla="*/ 32678 w 39212"/>
                  <a:gd name="connsiteY7" fmla="*/ 39213 h 3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12" h="39212">
                    <a:moveTo>
                      <a:pt x="32678" y="39213"/>
                    </a:moveTo>
                    <a:cubicBezTo>
                      <a:pt x="31005" y="39213"/>
                      <a:pt x="29333" y="38575"/>
                      <a:pt x="28057" y="37299"/>
                    </a:cubicBezTo>
                    <a:lnTo>
                      <a:pt x="1914" y="11156"/>
                    </a:lnTo>
                    <a:cubicBezTo>
                      <a:pt x="-638" y="8604"/>
                      <a:pt x="-638" y="4466"/>
                      <a:pt x="1914" y="1914"/>
                    </a:cubicBezTo>
                    <a:cubicBezTo>
                      <a:pt x="4466" y="-638"/>
                      <a:pt x="8604" y="-638"/>
                      <a:pt x="11156" y="1914"/>
                    </a:cubicBezTo>
                    <a:lnTo>
                      <a:pt x="37299" y="28057"/>
                    </a:lnTo>
                    <a:cubicBezTo>
                      <a:pt x="39851" y="30609"/>
                      <a:pt x="39851" y="34747"/>
                      <a:pt x="37299" y="37299"/>
                    </a:cubicBezTo>
                    <a:cubicBezTo>
                      <a:pt x="36023" y="38575"/>
                      <a:pt x="34350" y="39213"/>
                      <a:pt x="32678" y="39213"/>
                    </a:cubicBezTo>
                    <a:close/>
                  </a:path>
                </a:pathLst>
              </a:custGeom>
              <a:solidFill>
                <a:schemeClr val="accent1"/>
              </a:solidFill>
              <a:ln w="377" cap="flat">
                <a:noFill/>
                <a:prstDash val="solid"/>
                <a:miter/>
              </a:ln>
            </p:spPr>
            <p:txBody>
              <a:bodyPr rtlCol="0" anchor="ctr"/>
              <a:lstStyle/>
              <a:p>
                <a:endParaRPr lang="en-GB" dirty="0"/>
              </a:p>
            </p:txBody>
          </p:sp>
          <p:grpSp>
            <p:nvGrpSpPr>
              <p:cNvPr id="208" name="Graphic 4">
                <a:extLst>
                  <a:ext uri="{FF2B5EF4-FFF2-40B4-BE49-F238E27FC236}">
                    <a16:creationId xmlns:a16="http://schemas.microsoft.com/office/drawing/2014/main" id="{03A94680-B6E3-4699-95C9-E17E30CDFC73}"/>
                  </a:ext>
                </a:extLst>
              </p:cNvPr>
              <p:cNvGrpSpPr/>
              <p:nvPr/>
            </p:nvGrpSpPr>
            <p:grpSpPr>
              <a:xfrm>
                <a:off x="2615298" y="3647665"/>
                <a:ext cx="313723" cy="91509"/>
                <a:chOff x="2615298" y="3647665"/>
                <a:chExt cx="313723" cy="91509"/>
              </a:xfrm>
              <a:solidFill>
                <a:schemeClr val="accent1"/>
              </a:solidFill>
            </p:grpSpPr>
            <p:sp>
              <p:nvSpPr>
                <p:cNvPr id="214" name="Freihandform: Form 1236">
                  <a:extLst>
                    <a:ext uri="{FF2B5EF4-FFF2-40B4-BE49-F238E27FC236}">
                      <a16:creationId xmlns:a16="http://schemas.microsoft.com/office/drawing/2014/main" id="{48367405-A85F-4C61-95F4-EB78D0004961}"/>
                    </a:ext>
                  </a:extLst>
                </p:cNvPr>
                <p:cNvSpPr/>
                <p:nvPr/>
              </p:nvSpPr>
              <p:spPr>
                <a:xfrm>
                  <a:off x="2765625" y="3686881"/>
                  <a:ext cx="13069" cy="52293"/>
                </a:xfrm>
                <a:custGeom>
                  <a:avLst/>
                  <a:gdLst>
                    <a:gd name="connsiteX0" fmla="*/ 6535 w 13069"/>
                    <a:gd name="connsiteY0" fmla="*/ 52294 h 52293"/>
                    <a:gd name="connsiteX1" fmla="*/ 0 w 13069"/>
                    <a:gd name="connsiteY1" fmla="*/ 45759 h 52293"/>
                    <a:gd name="connsiteX2" fmla="*/ 0 w 13069"/>
                    <a:gd name="connsiteY2" fmla="*/ 6535 h 52293"/>
                    <a:gd name="connsiteX3" fmla="*/ 6535 w 13069"/>
                    <a:gd name="connsiteY3" fmla="*/ 0 h 52293"/>
                    <a:gd name="connsiteX4" fmla="*/ 13070 w 13069"/>
                    <a:gd name="connsiteY4" fmla="*/ 6535 h 52293"/>
                    <a:gd name="connsiteX5" fmla="*/ 13070 w 13069"/>
                    <a:gd name="connsiteY5" fmla="*/ 45759 h 52293"/>
                    <a:gd name="connsiteX6" fmla="*/ 6535 w 13069"/>
                    <a:gd name="connsiteY6" fmla="*/ 52294 h 52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9" h="52293">
                      <a:moveTo>
                        <a:pt x="6535" y="52294"/>
                      </a:moveTo>
                      <a:cubicBezTo>
                        <a:pt x="2922" y="52294"/>
                        <a:pt x="0" y="49372"/>
                        <a:pt x="0" y="45759"/>
                      </a:cubicBezTo>
                      <a:lnTo>
                        <a:pt x="0" y="6535"/>
                      </a:lnTo>
                      <a:cubicBezTo>
                        <a:pt x="0" y="2922"/>
                        <a:pt x="2922" y="0"/>
                        <a:pt x="6535" y="0"/>
                      </a:cubicBezTo>
                      <a:cubicBezTo>
                        <a:pt x="10148" y="0"/>
                        <a:pt x="13070" y="2922"/>
                        <a:pt x="13070" y="6535"/>
                      </a:cubicBezTo>
                      <a:lnTo>
                        <a:pt x="13070" y="45759"/>
                      </a:lnTo>
                      <a:cubicBezTo>
                        <a:pt x="13070" y="49368"/>
                        <a:pt x="10148" y="52294"/>
                        <a:pt x="6535" y="52294"/>
                      </a:cubicBezTo>
                      <a:close/>
                    </a:path>
                  </a:pathLst>
                </a:custGeom>
                <a:solidFill>
                  <a:schemeClr val="accent1"/>
                </a:solidFill>
                <a:ln w="377" cap="flat">
                  <a:noFill/>
                  <a:prstDash val="solid"/>
                  <a:miter/>
                </a:ln>
              </p:spPr>
              <p:txBody>
                <a:bodyPr rtlCol="0" anchor="ctr"/>
                <a:lstStyle/>
                <a:p>
                  <a:endParaRPr lang="en-GB" dirty="0"/>
                </a:p>
              </p:txBody>
            </p:sp>
            <p:sp>
              <p:nvSpPr>
                <p:cNvPr id="215" name="Freihandform: Form 1237">
                  <a:extLst>
                    <a:ext uri="{FF2B5EF4-FFF2-40B4-BE49-F238E27FC236}">
                      <a16:creationId xmlns:a16="http://schemas.microsoft.com/office/drawing/2014/main" id="{256E306F-01FF-43D9-AAA4-C1769F0EF071}"/>
                    </a:ext>
                  </a:extLst>
                </p:cNvPr>
                <p:cNvSpPr/>
                <p:nvPr/>
              </p:nvSpPr>
              <p:spPr>
                <a:xfrm>
                  <a:off x="2615298" y="3647665"/>
                  <a:ext cx="39212" cy="39212"/>
                </a:xfrm>
                <a:custGeom>
                  <a:avLst/>
                  <a:gdLst>
                    <a:gd name="connsiteX0" fmla="*/ 6535 w 39212"/>
                    <a:gd name="connsiteY0" fmla="*/ 39213 h 39212"/>
                    <a:gd name="connsiteX1" fmla="*/ 1914 w 39212"/>
                    <a:gd name="connsiteY1" fmla="*/ 37299 h 39212"/>
                    <a:gd name="connsiteX2" fmla="*/ 1914 w 39212"/>
                    <a:gd name="connsiteY2" fmla="*/ 28057 h 39212"/>
                    <a:gd name="connsiteX3" fmla="*/ 28057 w 39212"/>
                    <a:gd name="connsiteY3" fmla="*/ 1914 h 39212"/>
                    <a:gd name="connsiteX4" fmla="*/ 37299 w 39212"/>
                    <a:gd name="connsiteY4" fmla="*/ 1914 h 39212"/>
                    <a:gd name="connsiteX5" fmla="*/ 37299 w 39212"/>
                    <a:gd name="connsiteY5" fmla="*/ 11156 h 39212"/>
                    <a:gd name="connsiteX6" fmla="*/ 11156 w 39212"/>
                    <a:gd name="connsiteY6" fmla="*/ 37299 h 39212"/>
                    <a:gd name="connsiteX7" fmla="*/ 6535 w 39212"/>
                    <a:gd name="connsiteY7" fmla="*/ 39213 h 3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12" h="39212">
                      <a:moveTo>
                        <a:pt x="6535" y="39213"/>
                      </a:moveTo>
                      <a:cubicBezTo>
                        <a:pt x="4862" y="39213"/>
                        <a:pt x="3190" y="38575"/>
                        <a:pt x="1914" y="37299"/>
                      </a:cubicBezTo>
                      <a:cubicBezTo>
                        <a:pt x="-638" y="34747"/>
                        <a:pt x="-638" y="30609"/>
                        <a:pt x="1914" y="28057"/>
                      </a:cubicBezTo>
                      <a:lnTo>
                        <a:pt x="28057" y="1914"/>
                      </a:lnTo>
                      <a:cubicBezTo>
                        <a:pt x="30609" y="-638"/>
                        <a:pt x="34747" y="-638"/>
                        <a:pt x="37299" y="1914"/>
                      </a:cubicBezTo>
                      <a:cubicBezTo>
                        <a:pt x="39851" y="4466"/>
                        <a:pt x="39851" y="8604"/>
                        <a:pt x="37299" y="11156"/>
                      </a:cubicBezTo>
                      <a:lnTo>
                        <a:pt x="11156" y="37299"/>
                      </a:lnTo>
                      <a:cubicBezTo>
                        <a:pt x="9880" y="38575"/>
                        <a:pt x="8207" y="39213"/>
                        <a:pt x="6535" y="39213"/>
                      </a:cubicBezTo>
                      <a:close/>
                    </a:path>
                  </a:pathLst>
                </a:custGeom>
                <a:solidFill>
                  <a:schemeClr val="accent1"/>
                </a:solidFill>
                <a:ln w="377" cap="flat">
                  <a:noFill/>
                  <a:prstDash val="solid"/>
                  <a:miter/>
                </a:ln>
              </p:spPr>
              <p:txBody>
                <a:bodyPr rtlCol="0" anchor="ctr"/>
                <a:lstStyle/>
                <a:p>
                  <a:endParaRPr lang="en-GB" dirty="0"/>
                </a:p>
              </p:txBody>
            </p:sp>
            <p:sp>
              <p:nvSpPr>
                <p:cNvPr id="216" name="Freihandform: Form 1238">
                  <a:extLst>
                    <a:ext uri="{FF2B5EF4-FFF2-40B4-BE49-F238E27FC236}">
                      <a16:creationId xmlns:a16="http://schemas.microsoft.com/office/drawing/2014/main" id="{8A2182F5-43BC-43E5-9508-6DEB1D4FDB00}"/>
                    </a:ext>
                  </a:extLst>
                </p:cNvPr>
                <p:cNvSpPr/>
                <p:nvPr/>
              </p:nvSpPr>
              <p:spPr>
                <a:xfrm>
                  <a:off x="2889809" y="3647665"/>
                  <a:ext cx="39212" cy="39212"/>
                </a:xfrm>
                <a:custGeom>
                  <a:avLst/>
                  <a:gdLst>
                    <a:gd name="connsiteX0" fmla="*/ 32678 w 39212"/>
                    <a:gd name="connsiteY0" fmla="*/ 39213 h 39212"/>
                    <a:gd name="connsiteX1" fmla="*/ 28057 w 39212"/>
                    <a:gd name="connsiteY1" fmla="*/ 37299 h 39212"/>
                    <a:gd name="connsiteX2" fmla="*/ 1914 w 39212"/>
                    <a:gd name="connsiteY2" fmla="*/ 11156 h 39212"/>
                    <a:gd name="connsiteX3" fmla="*/ 1914 w 39212"/>
                    <a:gd name="connsiteY3" fmla="*/ 1914 h 39212"/>
                    <a:gd name="connsiteX4" fmla="*/ 11156 w 39212"/>
                    <a:gd name="connsiteY4" fmla="*/ 1914 h 39212"/>
                    <a:gd name="connsiteX5" fmla="*/ 37299 w 39212"/>
                    <a:gd name="connsiteY5" fmla="*/ 28057 h 39212"/>
                    <a:gd name="connsiteX6" fmla="*/ 37299 w 39212"/>
                    <a:gd name="connsiteY6" fmla="*/ 37299 h 39212"/>
                    <a:gd name="connsiteX7" fmla="*/ 32678 w 39212"/>
                    <a:gd name="connsiteY7" fmla="*/ 39213 h 3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12" h="39212">
                      <a:moveTo>
                        <a:pt x="32678" y="39213"/>
                      </a:moveTo>
                      <a:cubicBezTo>
                        <a:pt x="31005" y="39213"/>
                        <a:pt x="29333" y="38575"/>
                        <a:pt x="28057" y="37299"/>
                      </a:cubicBezTo>
                      <a:lnTo>
                        <a:pt x="1914" y="11156"/>
                      </a:lnTo>
                      <a:cubicBezTo>
                        <a:pt x="-638" y="8604"/>
                        <a:pt x="-638" y="4466"/>
                        <a:pt x="1914" y="1914"/>
                      </a:cubicBezTo>
                      <a:cubicBezTo>
                        <a:pt x="4466" y="-638"/>
                        <a:pt x="8604" y="-638"/>
                        <a:pt x="11156" y="1914"/>
                      </a:cubicBezTo>
                      <a:lnTo>
                        <a:pt x="37299" y="28057"/>
                      </a:lnTo>
                      <a:cubicBezTo>
                        <a:pt x="39851" y="30609"/>
                        <a:pt x="39851" y="34747"/>
                        <a:pt x="37299" y="37299"/>
                      </a:cubicBezTo>
                      <a:cubicBezTo>
                        <a:pt x="36023" y="38575"/>
                        <a:pt x="34350" y="39213"/>
                        <a:pt x="32678" y="39213"/>
                      </a:cubicBezTo>
                      <a:close/>
                    </a:path>
                  </a:pathLst>
                </a:custGeom>
                <a:solidFill>
                  <a:schemeClr val="accent1"/>
                </a:solidFill>
                <a:ln w="377" cap="flat">
                  <a:noFill/>
                  <a:prstDash val="solid"/>
                  <a:miter/>
                </a:ln>
              </p:spPr>
              <p:txBody>
                <a:bodyPr rtlCol="0" anchor="ctr"/>
                <a:lstStyle/>
                <a:p>
                  <a:endParaRPr lang="en-GB" dirty="0"/>
                </a:p>
              </p:txBody>
            </p:sp>
          </p:grpSp>
          <p:grpSp>
            <p:nvGrpSpPr>
              <p:cNvPr id="209" name="Graphic 4">
                <a:extLst>
                  <a:ext uri="{FF2B5EF4-FFF2-40B4-BE49-F238E27FC236}">
                    <a16:creationId xmlns:a16="http://schemas.microsoft.com/office/drawing/2014/main" id="{7784CDA8-DFFE-4FA6-9C33-3273CA90540C}"/>
                  </a:ext>
                </a:extLst>
              </p:cNvPr>
              <p:cNvGrpSpPr/>
              <p:nvPr/>
            </p:nvGrpSpPr>
            <p:grpSpPr>
              <a:xfrm>
                <a:off x="2541773" y="3450628"/>
                <a:ext cx="257598" cy="130718"/>
                <a:chOff x="2541773" y="3450628"/>
                <a:chExt cx="257598" cy="130718"/>
              </a:xfrm>
              <a:solidFill>
                <a:schemeClr val="accent1"/>
              </a:solidFill>
            </p:grpSpPr>
            <p:grpSp>
              <p:nvGrpSpPr>
                <p:cNvPr id="210" name="Graphic 4">
                  <a:extLst>
                    <a:ext uri="{FF2B5EF4-FFF2-40B4-BE49-F238E27FC236}">
                      <a16:creationId xmlns:a16="http://schemas.microsoft.com/office/drawing/2014/main" id="{C8DFD1F4-461C-4DB1-B688-E035542C1F89}"/>
                    </a:ext>
                  </a:extLst>
                </p:cNvPr>
                <p:cNvGrpSpPr/>
                <p:nvPr/>
              </p:nvGrpSpPr>
              <p:grpSpPr>
                <a:xfrm>
                  <a:off x="2541773" y="3450628"/>
                  <a:ext cx="248360" cy="130718"/>
                  <a:chOff x="2541773" y="3450628"/>
                  <a:chExt cx="248360" cy="130718"/>
                </a:xfrm>
                <a:solidFill>
                  <a:schemeClr val="accent1"/>
                </a:solidFill>
              </p:grpSpPr>
              <p:sp>
                <p:nvSpPr>
                  <p:cNvPr id="212" name="Freihandform: Form 1234">
                    <a:extLst>
                      <a:ext uri="{FF2B5EF4-FFF2-40B4-BE49-F238E27FC236}">
                        <a16:creationId xmlns:a16="http://schemas.microsoft.com/office/drawing/2014/main" id="{C616B2E0-AFD3-4834-9F59-B3280263E1C0}"/>
                      </a:ext>
                    </a:extLst>
                  </p:cNvPr>
                  <p:cNvSpPr/>
                  <p:nvPr/>
                </p:nvSpPr>
                <p:spPr>
                  <a:xfrm>
                    <a:off x="2541773" y="3450628"/>
                    <a:ext cx="248360" cy="130718"/>
                  </a:xfrm>
                  <a:custGeom>
                    <a:avLst/>
                    <a:gdLst>
                      <a:gd name="connsiteX0" fmla="*/ 66386 w 248360"/>
                      <a:gd name="connsiteY0" fmla="*/ 130719 h 130718"/>
                      <a:gd name="connsiteX1" fmla="*/ 31651 w 248360"/>
                      <a:gd name="connsiteY1" fmla="*/ 130719 h 130718"/>
                      <a:gd name="connsiteX2" fmla="*/ 0 w 248360"/>
                      <a:gd name="connsiteY2" fmla="*/ 99068 h 130718"/>
                      <a:gd name="connsiteX3" fmla="*/ 0 w 248360"/>
                      <a:gd name="connsiteY3" fmla="*/ 31651 h 130718"/>
                      <a:gd name="connsiteX4" fmla="*/ 31651 w 248360"/>
                      <a:gd name="connsiteY4" fmla="*/ 0 h 130718"/>
                      <a:gd name="connsiteX5" fmla="*/ 66386 w 248360"/>
                      <a:gd name="connsiteY5" fmla="*/ 0 h 130718"/>
                      <a:gd name="connsiteX6" fmla="*/ 98037 w 248360"/>
                      <a:gd name="connsiteY6" fmla="*/ 31651 h 130718"/>
                      <a:gd name="connsiteX7" fmla="*/ 98037 w 248360"/>
                      <a:gd name="connsiteY7" fmla="*/ 39216 h 130718"/>
                      <a:gd name="connsiteX8" fmla="*/ 228756 w 248360"/>
                      <a:gd name="connsiteY8" fmla="*/ 39216 h 130718"/>
                      <a:gd name="connsiteX9" fmla="*/ 235291 w 248360"/>
                      <a:gd name="connsiteY9" fmla="*/ 45751 h 130718"/>
                      <a:gd name="connsiteX10" fmla="*/ 228756 w 248360"/>
                      <a:gd name="connsiteY10" fmla="*/ 52286 h 130718"/>
                      <a:gd name="connsiteX11" fmla="*/ 91499 w 248360"/>
                      <a:gd name="connsiteY11" fmla="*/ 52286 h 130718"/>
                      <a:gd name="connsiteX12" fmla="*/ 84964 w 248360"/>
                      <a:gd name="connsiteY12" fmla="*/ 45751 h 130718"/>
                      <a:gd name="connsiteX13" fmla="*/ 84964 w 248360"/>
                      <a:gd name="connsiteY13" fmla="*/ 31651 h 130718"/>
                      <a:gd name="connsiteX14" fmla="*/ 66382 w 248360"/>
                      <a:gd name="connsiteY14" fmla="*/ 13069 h 130718"/>
                      <a:gd name="connsiteX15" fmla="*/ 31647 w 248360"/>
                      <a:gd name="connsiteY15" fmla="*/ 13069 h 130718"/>
                      <a:gd name="connsiteX16" fmla="*/ 13066 w 248360"/>
                      <a:gd name="connsiteY16" fmla="*/ 31651 h 130718"/>
                      <a:gd name="connsiteX17" fmla="*/ 13066 w 248360"/>
                      <a:gd name="connsiteY17" fmla="*/ 99068 h 130718"/>
                      <a:gd name="connsiteX18" fmla="*/ 31647 w 248360"/>
                      <a:gd name="connsiteY18" fmla="*/ 117649 h 130718"/>
                      <a:gd name="connsiteX19" fmla="*/ 66382 w 248360"/>
                      <a:gd name="connsiteY19" fmla="*/ 117649 h 130718"/>
                      <a:gd name="connsiteX20" fmla="*/ 84964 w 248360"/>
                      <a:gd name="connsiteY20" fmla="*/ 99068 h 130718"/>
                      <a:gd name="connsiteX21" fmla="*/ 84964 w 248360"/>
                      <a:gd name="connsiteY21" fmla="*/ 84967 h 130718"/>
                      <a:gd name="connsiteX22" fmla="*/ 91499 w 248360"/>
                      <a:gd name="connsiteY22" fmla="*/ 78433 h 130718"/>
                      <a:gd name="connsiteX23" fmla="*/ 241826 w 248360"/>
                      <a:gd name="connsiteY23" fmla="*/ 78433 h 130718"/>
                      <a:gd name="connsiteX24" fmla="*/ 248360 w 248360"/>
                      <a:gd name="connsiteY24" fmla="*/ 84967 h 130718"/>
                      <a:gd name="connsiteX25" fmla="*/ 241826 w 248360"/>
                      <a:gd name="connsiteY25" fmla="*/ 91502 h 130718"/>
                      <a:gd name="connsiteX26" fmla="*/ 98033 w 248360"/>
                      <a:gd name="connsiteY26" fmla="*/ 91502 h 130718"/>
                      <a:gd name="connsiteX27" fmla="*/ 98033 w 248360"/>
                      <a:gd name="connsiteY27" fmla="*/ 99068 h 130718"/>
                      <a:gd name="connsiteX28" fmla="*/ 66386 w 248360"/>
                      <a:gd name="connsiteY28" fmla="*/ 130719 h 130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8360" h="130718">
                        <a:moveTo>
                          <a:pt x="66386" y="130719"/>
                        </a:moveTo>
                        <a:lnTo>
                          <a:pt x="31651" y="130719"/>
                        </a:lnTo>
                        <a:cubicBezTo>
                          <a:pt x="14202" y="130719"/>
                          <a:pt x="0" y="116516"/>
                          <a:pt x="0" y="99068"/>
                        </a:cubicBezTo>
                        <a:lnTo>
                          <a:pt x="0" y="31651"/>
                        </a:lnTo>
                        <a:cubicBezTo>
                          <a:pt x="0" y="14202"/>
                          <a:pt x="14202" y="0"/>
                          <a:pt x="31651" y="0"/>
                        </a:cubicBezTo>
                        <a:lnTo>
                          <a:pt x="66386" y="0"/>
                        </a:lnTo>
                        <a:cubicBezTo>
                          <a:pt x="83835" y="0"/>
                          <a:pt x="98037" y="14202"/>
                          <a:pt x="98037" y="31651"/>
                        </a:cubicBezTo>
                        <a:lnTo>
                          <a:pt x="98037" y="39216"/>
                        </a:lnTo>
                        <a:lnTo>
                          <a:pt x="228756" y="39216"/>
                        </a:lnTo>
                        <a:cubicBezTo>
                          <a:pt x="232369" y="39216"/>
                          <a:pt x="235291" y="42138"/>
                          <a:pt x="235291" y="45751"/>
                        </a:cubicBezTo>
                        <a:cubicBezTo>
                          <a:pt x="235291" y="49364"/>
                          <a:pt x="232369" y="52286"/>
                          <a:pt x="228756" y="52286"/>
                        </a:cubicBezTo>
                        <a:lnTo>
                          <a:pt x="91499" y="52286"/>
                        </a:lnTo>
                        <a:cubicBezTo>
                          <a:pt x="87886" y="52286"/>
                          <a:pt x="84964" y="49364"/>
                          <a:pt x="84964" y="45751"/>
                        </a:cubicBezTo>
                        <a:lnTo>
                          <a:pt x="84964" y="31651"/>
                        </a:lnTo>
                        <a:cubicBezTo>
                          <a:pt x="84964" y="21405"/>
                          <a:pt x="76628" y="13069"/>
                          <a:pt x="66382" y="13069"/>
                        </a:cubicBezTo>
                        <a:lnTo>
                          <a:pt x="31647" y="13069"/>
                        </a:lnTo>
                        <a:cubicBezTo>
                          <a:pt x="21401" y="13069"/>
                          <a:pt x="13066" y="21405"/>
                          <a:pt x="13066" y="31651"/>
                        </a:cubicBezTo>
                        <a:lnTo>
                          <a:pt x="13066" y="99068"/>
                        </a:lnTo>
                        <a:cubicBezTo>
                          <a:pt x="13066" y="109313"/>
                          <a:pt x="21401" y="117649"/>
                          <a:pt x="31647" y="117649"/>
                        </a:cubicBezTo>
                        <a:lnTo>
                          <a:pt x="66382" y="117649"/>
                        </a:lnTo>
                        <a:cubicBezTo>
                          <a:pt x="76628" y="117649"/>
                          <a:pt x="84964" y="109313"/>
                          <a:pt x="84964" y="99068"/>
                        </a:cubicBezTo>
                        <a:lnTo>
                          <a:pt x="84964" y="84967"/>
                        </a:lnTo>
                        <a:cubicBezTo>
                          <a:pt x="84964" y="81355"/>
                          <a:pt x="87886" y="78433"/>
                          <a:pt x="91499" y="78433"/>
                        </a:cubicBezTo>
                        <a:lnTo>
                          <a:pt x="241826" y="78433"/>
                        </a:lnTo>
                        <a:cubicBezTo>
                          <a:pt x="245438" y="78433"/>
                          <a:pt x="248360" y="81355"/>
                          <a:pt x="248360" y="84967"/>
                        </a:cubicBezTo>
                        <a:cubicBezTo>
                          <a:pt x="248360" y="88580"/>
                          <a:pt x="245438" y="91502"/>
                          <a:pt x="241826" y="91502"/>
                        </a:cubicBezTo>
                        <a:lnTo>
                          <a:pt x="98033" y="91502"/>
                        </a:lnTo>
                        <a:lnTo>
                          <a:pt x="98033" y="99068"/>
                        </a:lnTo>
                        <a:cubicBezTo>
                          <a:pt x="98041" y="116516"/>
                          <a:pt x="83839" y="130719"/>
                          <a:pt x="66386" y="130719"/>
                        </a:cubicBezTo>
                        <a:close/>
                      </a:path>
                    </a:pathLst>
                  </a:custGeom>
                  <a:solidFill>
                    <a:schemeClr val="accent1"/>
                  </a:solidFill>
                  <a:ln w="377" cap="flat">
                    <a:noFill/>
                    <a:prstDash val="solid"/>
                    <a:miter/>
                  </a:ln>
                </p:spPr>
                <p:txBody>
                  <a:bodyPr rtlCol="0" anchor="ctr"/>
                  <a:lstStyle/>
                  <a:p>
                    <a:endParaRPr lang="en-GB" dirty="0"/>
                  </a:p>
                </p:txBody>
              </p:sp>
              <p:sp>
                <p:nvSpPr>
                  <p:cNvPr id="213" name="Freihandform: Form 1235">
                    <a:extLst>
                      <a:ext uri="{FF2B5EF4-FFF2-40B4-BE49-F238E27FC236}">
                        <a16:creationId xmlns:a16="http://schemas.microsoft.com/office/drawing/2014/main" id="{E9C6B201-681E-4987-BFA5-735A15C9790A}"/>
                      </a:ext>
                    </a:extLst>
                  </p:cNvPr>
                  <p:cNvSpPr/>
                  <p:nvPr/>
                </p:nvSpPr>
                <p:spPr>
                  <a:xfrm>
                    <a:off x="2567916" y="3476771"/>
                    <a:ext cx="45755" cy="78432"/>
                  </a:xfrm>
                  <a:custGeom>
                    <a:avLst/>
                    <a:gdLst>
                      <a:gd name="connsiteX0" fmla="*/ 32682 w 45755"/>
                      <a:gd name="connsiteY0" fmla="*/ 78433 h 78432"/>
                      <a:gd name="connsiteX1" fmla="*/ 13073 w 45755"/>
                      <a:gd name="connsiteY1" fmla="*/ 78433 h 78432"/>
                      <a:gd name="connsiteX2" fmla="*/ 0 w 45755"/>
                      <a:gd name="connsiteY2" fmla="*/ 65359 h 78432"/>
                      <a:gd name="connsiteX3" fmla="*/ 0 w 45755"/>
                      <a:gd name="connsiteY3" fmla="*/ 13073 h 78432"/>
                      <a:gd name="connsiteX4" fmla="*/ 13073 w 45755"/>
                      <a:gd name="connsiteY4" fmla="*/ 0 h 78432"/>
                      <a:gd name="connsiteX5" fmla="*/ 32682 w 45755"/>
                      <a:gd name="connsiteY5" fmla="*/ 0 h 78432"/>
                      <a:gd name="connsiteX6" fmla="*/ 45755 w 45755"/>
                      <a:gd name="connsiteY6" fmla="*/ 13073 h 78432"/>
                      <a:gd name="connsiteX7" fmla="*/ 45755 w 45755"/>
                      <a:gd name="connsiteY7" fmla="*/ 65359 h 78432"/>
                      <a:gd name="connsiteX8" fmla="*/ 32682 w 45755"/>
                      <a:gd name="connsiteY8" fmla="*/ 78433 h 78432"/>
                      <a:gd name="connsiteX9" fmla="*/ 13073 w 45755"/>
                      <a:gd name="connsiteY9" fmla="*/ 13069 h 78432"/>
                      <a:gd name="connsiteX10" fmla="*/ 13073 w 45755"/>
                      <a:gd name="connsiteY10" fmla="*/ 65355 h 78432"/>
                      <a:gd name="connsiteX11" fmla="*/ 32682 w 45755"/>
                      <a:gd name="connsiteY11" fmla="*/ 65355 h 78432"/>
                      <a:gd name="connsiteX12" fmla="*/ 32682 w 45755"/>
                      <a:gd name="connsiteY12" fmla="*/ 13069 h 78432"/>
                      <a:gd name="connsiteX13" fmla="*/ 13073 w 45755"/>
                      <a:gd name="connsiteY13" fmla="*/ 13069 h 7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755" h="78432">
                        <a:moveTo>
                          <a:pt x="32682" y="78433"/>
                        </a:moveTo>
                        <a:lnTo>
                          <a:pt x="13073" y="78433"/>
                        </a:lnTo>
                        <a:cubicBezTo>
                          <a:pt x="5867" y="78433"/>
                          <a:pt x="0" y="72566"/>
                          <a:pt x="0" y="65359"/>
                        </a:cubicBezTo>
                        <a:lnTo>
                          <a:pt x="0" y="13073"/>
                        </a:lnTo>
                        <a:cubicBezTo>
                          <a:pt x="0" y="5866"/>
                          <a:pt x="5867" y="0"/>
                          <a:pt x="13073" y="0"/>
                        </a:cubicBezTo>
                        <a:lnTo>
                          <a:pt x="32682" y="0"/>
                        </a:lnTo>
                        <a:cubicBezTo>
                          <a:pt x="39888" y="0"/>
                          <a:pt x="45755" y="5866"/>
                          <a:pt x="45755" y="13073"/>
                        </a:cubicBezTo>
                        <a:lnTo>
                          <a:pt x="45755" y="65359"/>
                        </a:lnTo>
                        <a:cubicBezTo>
                          <a:pt x="45751" y="72566"/>
                          <a:pt x="39888" y="78433"/>
                          <a:pt x="32682" y="78433"/>
                        </a:cubicBezTo>
                        <a:close/>
                        <a:moveTo>
                          <a:pt x="13073" y="13069"/>
                        </a:moveTo>
                        <a:lnTo>
                          <a:pt x="13073" y="65355"/>
                        </a:lnTo>
                        <a:lnTo>
                          <a:pt x="32682" y="65355"/>
                        </a:lnTo>
                        <a:lnTo>
                          <a:pt x="32682" y="13069"/>
                        </a:lnTo>
                        <a:lnTo>
                          <a:pt x="13073" y="13069"/>
                        </a:lnTo>
                        <a:close/>
                      </a:path>
                    </a:pathLst>
                  </a:custGeom>
                  <a:solidFill>
                    <a:schemeClr val="accent1"/>
                  </a:solidFill>
                  <a:ln w="377" cap="flat">
                    <a:noFill/>
                    <a:prstDash val="solid"/>
                    <a:miter/>
                  </a:ln>
                </p:spPr>
                <p:txBody>
                  <a:bodyPr rtlCol="0" anchor="ctr"/>
                  <a:lstStyle/>
                  <a:p>
                    <a:endParaRPr lang="en-GB" dirty="0"/>
                  </a:p>
                </p:txBody>
              </p:sp>
            </p:grpSp>
            <p:sp>
              <p:nvSpPr>
                <p:cNvPr id="211" name="Freihandform: Form 1233">
                  <a:extLst>
                    <a:ext uri="{FF2B5EF4-FFF2-40B4-BE49-F238E27FC236}">
                      <a16:creationId xmlns:a16="http://schemas.microsoft.com/office/drawing/2014/main" id="{F7E3FB76-E92E-4FCD-997D-EA9AC26738B7}"/>
                    </a:ext>
                  </a:extLst>
                </p:cNvPr>
                <p:cNvSpPr/>
                <p:nvPr/>
              </p:nvSpPr>
              <p:spPr>
                <a:xfrm>
                  <a:off x="2741694" y="3489844"/>
                  <a:ext cx="57676" cy="87417"/>
                </a:xfrm>
                <a:custGeom>
                  <a:avLst/>
                  <a:gdLst>
                    <a:gd name="connsiteX0" fmla="*/ 51138 w 57676"/>
                    <a:gd name="connsiteY0" fmla="*/ 87418 h 87417"/>
                    <a:gd name="connsiteX1" fmla="*/ 6535 w 57676"/>
                    <a:gd name="connsiteY1" fmla="*/ 87418 h 87417"/>
                    <a:gd name="connsiteX2" fmla="*/ 1480 w 57676"/>
                    <a:gd name="connsiteY2" fmla="*/ 85024 h 87417"/>
                    <a:gd name="connsiteX3" fmla="*/ 128 w 57676"/>
                    <a:gd name="connsiteY3" fmla="*/ 79592 h 87417"/>
                    <a:gd name="connsiteX4" fmla="*/ 6365 w 57676"/>
                    <a:gd name="connsiteY4" fmla="*/ 48545 h 87417"/>
                    <a:gd name="connsiteX5" fmla="*/ 14062 w 57676"/>
                    <a:gd name="connsiteY5" fmla="*/ 43426 h 87417"/>
                    <a:gd name="connsiteX6" fmla="*/ 19181 w 57676"/>
                    <a:gd name="connsiteY6" fmla="*/ 51123 h 87417"/>
                    <a:gd name="connsiteX7" fmla="*/ 14515 w 57676"/>
                    <a:gd name="connsiteY7" fmla="*/ 74344 h 87417"/>
                    <a:gd name="connsiteX8" fmla="*/ 43169 w 57676"/>
                    <a:gd name="connsiteY8" fmla="*/ 74344 h 87417"/>
                    <a:gd name="connsiteX9" fmla="*/ 37585 w 57676"/>
                    <a:gd name="connsiteY9" fmla="*/ 46400 h 87417"/>
                    <a:gd name="connsiteX10" fmla="*/ 39537 w 57676"/>
                    <a:gd name="connsiteY10" fmla="*/ 40338 h 87417"/>
                    <a:gd name="connsiteX11" fmla="*/ 44603 w 57676"/>
                    <a:gd name="connsiteY11" fmla="*/ 28835 h 87417"/>
                    <a:gd name="connsiteX12" fmla="*/ 28838 w 57676"/>
                    <a:gd name="connsiteY12" fmla="*/ 13070 h 87417"/>
                    <a:gd name="connsiteX13" fmla="*/ 22303 w 57676"/>
                    <a:gd name="connsiteY13" fmla="*/ 6535 h 87417"/>
                    <a:gd name="connsiteX14" fmla="*/ 28838 w 57676"/>
                    <a:gd name="connsiteY14" fmla="*/ 0 h 87417"/>
                    <a:gd name="connsiteX15" fmla="*/ 57677 w 57676"/>
                    <a:gd name="connsiteY15" fmla="*/ 28838 h 87417"/>
                    <a:gd name="connsiteX16" fmla="*/ 51063 w 57676"/>
                    <a:gd name="connsiteY16" fmla="*/ 47144 h 87417"/>
                    <a:gd name="connsiteX17" fmla="*/ 57549 w 57676"/>
                    <a:gd name="connsiteY17" fmla="*/ 79599 h 87417"/>
                    <a:gd name="connsiteX18" fmla="*/ 56197 w 57676"/>
                    <a:gd name="connsiteY18" fmla="*/ 85024 h 87417"/>
                    <a:gd name="connsiteX19" fmla="*/ 51138 w 57676"/>
                    <a:gd name="connsiteY19" fmla="*/ 87418 h 8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7676" h="87417">
                      <a:moveTo>
                        <a:pt x="51138" y="87418"/>
                      </a:moveTo>
                      <a:lnTo>
                        <a:pt x="6535" y="87418"/>
                      </a:lnTo>
                      <a:cubicBezTo>
                        <a:pt x="4575" y="87418"/>
                        <a:pt x="2718" y="86538"/>
                        <a:pt x="1480" y="85024"/>
                      </a:cubicBezTo>
                      <a:cubicBezTo>
                        <a:pt x="234" y="83506"/>
                        <a:pt x="-257" y="81513"/>
                        <a:pt x="128" y="79592"/>
                      </a:cubicBezTo>
                      <a:lnTo>
                        <a:pt x="6365" y="48545"/>
                      </a:lnTo>
                      <a:cubicBezTo>
                        <a:pt x="7078" y="45007"/>
                        <a:pt x="10514" y="42686"/>
                        <a:pt x="14062" y="43426"/>
                      </a:cubicBezTo>
                      <a:cubicBezTo>
                        <a:pt x="17600" y="44135"/>
                        <a:pt x="19891" y="47582"/>
                        <a:pt x="19181" y="51123"/>
                      </a:cubicBezTo>
                      <a:lnTo>
                        <a:pt x="14515" y="74344"/>
                      </a:lnTo>
                      <a:lnTo>
                        <a:pt x="43169" y="74344"/>
                      </a:lnTo>
                      <a:lnTo>
                        <a:pt x="37585" y="46400"/>
                      </a:lnTo>
                      <a:cubicBezTo>
                        <a:pt x="37140" y="44173"/>
                        <a:pt x="37880" y="41882"/>
                        <a:pt x="39537" y="40338"/>
                      </a:cubicBezTo>
                      <a:cubicBezTo>
                        <a:pt x="42806" y="37295"/>
                        <a:pt x="44603" y="33206"/>
                        <a:pt x="44603" y="28835"/>
                      </a:cubicBezTo>
                      <a:cubicBezTo>
                        <a:pt x="44603" y="20141"/>
                        <a:pt x="37533" y="13070"/>
                        <a:pt x="28838" y="13070"/>
                      </a:cubicBezTo>
                      <a:cubicBezTo>
                        <a:pt x="25226" y="13070"/>
                        <a:pt x="22303" y="10148"/>
                        <a:pt x="22303" y="6535"/>
                      </a:cubicBezTo>
                      <a:cubicBezTo>
                        <a:pt x="22303" y="2922"/>
                        <a:pt x="25226" y="0"/>
                        <a:pt x="28838" y="0"/>
                      </a:cubicBezTo>
                      <a:cubicBezTo>
                        <a:pt x="44739" y="0"/>
                        <a:pt x="57677" y="12937"/>
                        <a:pt x="57677" y="28838"/>
                      </a:cubicBezTo>
                      <a:cubicBezTo>
                        <a:pt x="57677" y="35611"/>
                        <a:pt x="55355" y="41987"/>
                        <a:pt x="51063" y="47144"/>
                      </a:cubicBezTo>
                      <a:lnTo>
                        <a:pt x="57549" y="79599"/>
                      </a:lnTo>
                      <a:cubicBezTo>
                        <a:pt x="57930" y="81521"/>
                        <a:pt x="57435" y="83510"/>
                        <a:pt x="56197" y="85024"/>
                      </a:cubicBezTo>
                      <a:cubicBezTo>
                        <a:pt x="54951" y="86534"/>
                        <a:pt x="53098" y="87418"/>
                        <a:pt x="51138" y="87418"/>
                      </a:cubicBezTo>
                      <a:close/>
                    </a:path>
                  </a:pathLst>
                </a:custGeom>
                <a:solidFill>
                  <a:schemeClr val="accent1"/>
                </a:solidFill>
                <a:ln w="377" cap="flat">
                  <a:noFill/>
                  <a:prstDash val="solid"/>
                  <a:miter/>
                </a:ln>
              </p:spPr>
              <p:txBody>
                <a:bodyPr rtlCol="0" anchor="ctr"/>
                <a:lstStyle/>
                <a:p>
                  <a:endParaRPr lang="en-GB" dirty="0"/>
                </a:p>
              </p:txBody>
            </p:sp>
          </p:grpSp>
        </p:grpSp>
        <p:grpSp>
          <p:nvGrpSpPr>
            <p:cNvPr id="197" name="Graphic 4">
              <a:extLst>
                <a:ext uri="{FF2B5EF4-FFF2-40B4-BE49-F238E27FC236}">
                  <a16:creationId xmlns:a16="http://schemas.microsoft.com/office/drawing/2014/main" id="{E3B92070-A933-4E41-A634-0EBCB50677CD}"/>
                </a:ext>
              </a:extLst>
            </p:cNvPr>
            <p:cNvGrpSpPr/>
            <p:nvPr/>
          </p:nvGrpSpPr>
          <p:grpSpPr>
            <a:xfrm>
              <a:off x="703968" y="3276994"/>
              <a:ext cx="261450" cy="269999"/>
              <a:chOff x="2648169" y="3398257"/>
              <a:chExt cx="253165" cy="261443"/>
            </a:xfrm>
            <a:solidFill>
              <a:schemeClr val="tx2"/>
            </a:solidFill>
          </p:grpSpPr>
          <p:sp>
            <p:nvSpPr>
              <p:cNvPr id="198" name="Freihandform: Form 1220">
                <a:extLst>
                  <a:ext uri="{FF2B5EF4-FFF2-40B4-BE49-F238E27FC236}">
                    <a16:creationId xmlns:a16="http://schemas.microsoft.com/office/drawing/2014/main" id="{3E48F96F-F905-4F46-B725-346CCD70D1CF}"/>
                  </a:ext>
                </a:extLst>
              </p:cNvPr>
              <p:cNvSpPr/>
              <p:nvPr/>
            </p:nvSpPr>
            <p:spPr>
              <a:xfrm>
                <a:off x="2679890" y="3552013"/>
                <a:ext cx="187164" cy="78123"/>
              </a:xfrm>
              <a:custGeom>
                <a:avLst/>
                <a:gdLst>
                  <a:gd name="connsiteX0" fmla="*/ 90725 w 187164"/>
                  <a:gd name="connsiteY0" fmla="*/ 78124 h 78123"/>
                  <a:gd name="connsiteX1" fmla="*/ 722 w 187164"/>
                  <a:gd name="connsiteY1" fmla="*/ 23188 h 78123"/>
                  <a:gd name="connsiteX2" fmla="*/ 3542 w 187164"/>
                  <a:gd name="connsiteY2" fmla="*/ 14380 h 78123"/>
                  <a:gd name="connsiteX3" fmla="*/ 12349 w 187164"/>
                  <a:gd name="connsiteY3" fmla="*/ 17200 h 78123"/>
                  <a:gd name="connsiteX4" fmla="*/ 90725 w 187164"/>
                  <a:gd name="connsiteY4" fmla="*/ 65050 h 78123"/>
                  <a:gd name="connsiteX5" fmla="*/ 174417 w 187164"/>
                  <a:gd name="connsiteY5" fmla="*/ 4497 h 78123"/>
                  <a:gd name="connsiteX6" fmla="*/ 182669 w 187164"/>
                  <a:gd name="connsiteY6" fmla="*/ 329 h 78123"/>
                  <a:gd name="connsiteX7" fmla="*/ 186837 w 187164"/>
                  <a:gd name="connsiteY7" fmla="*/ 8582 h 78123"/>
                  <a:gd name="connsiteX8" fmla="*/ 90725 w 187164"/>
                  <a:gd name="connsiteY8" fmla="*/ 78124 h 7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164" h="78123">
                    <a:moveTo>
                      <a:pt x="90725" y="78124"/>
                    </a:moveTo>
                    <a:cubicBezTo>
                      <a:pt x="52645" y="78124"/>
                      <a:pt x="18159" y="57074"/>
                      <a:pt x="722" y="23188"/>
                    </a:cubicBezTo>
                    <a:cubicBezTo>
                      <a:pt x="-924" y="19979"/>
                      <a:pt x="341" y="16034"/>
                      <a:pt x="3542" y="14380"/>
                    </a:cubicBezTo>
                    <a:cubicBezTo>
                      <a:pt x="6751" y="12742"/>
                      <a:pt x="10703" y="13991"/>
                      <a:pt x="12349" y="17200"/>
                    </a:cubicBezTo>
                    <a:cubicBezTo>
                      <a:pt x="27533" y="46722"/>
                      <a:pt x="57564" y="65050"/>
                      <a:pt x="90725" y="65050"/>
                    </a:cubicBezTo>
                    <a:cubicBezTo>
                      <a:pt x="128877" y="65050"/>
                      <a:pt x="162506" y="40720"/>
                      <a:pt x="174417" y="4497"/>
                    </a:cubicBezTo>
                    <a:cubicBezTo>
                      <a:pt x="175546" y="1069"/>
                      <a:pt x="179249" y="-800"/>
                      <a:pt x="182669" y="329"/>
                    </a:cubicBezTo>
                    <a:cubicBezTo>
                      <a:pt x="186097" y="1458"/>
                      <a:pt x="187962" y="5154"/>
                      <a:pt x="186837" y="8582"/>
                    </a:cubicBezTo>
                    <a:cubicBezTo>
                      <a:pt x="173160" y="50180"/>
                      <a:pt x="134536" y="78124"/>
                      <a:pt x="90725" y="78124"/>
                    </a:cubicBezTo>
                    <a:close/>
                  </a:path>
                </a:pathLst>
              </a:custGeom>
              <a:grpFill/>
              <a:ln w="377" cap="flat">
                <a:noFill/>
                <a:prstDash val="solid"/>
                <a:miter/>
              </a:ln>
            </p:spPr>
            <p:txBody>
              <a:bodyPr rtlCol="0" anchor="ctr"/>
              <a:lstStyle/>
              <a:p>
                <a:endParaRPr lang="en-GB" dirty="0"/>
              </a:p>
            </p:txBody>
          </p:sp>
          <p:sp>
            <p:nvSpPr>
              <p:cNvPr id="199" name="Freihandform: Form 1221">
                <a:extLst>
                  <a:ext uri="{FF2B5EF4-FFF2-40B4-BE49-F238E27FC236}">
                    <a16:creationId xmlns:a16="http://schemas.microsoft.com/office/drawing/2014/main" id="{9B7942B7-4886-4757-AC7B-118EB3FA2271}"/>
                  </a:ext>
                </a:extLst>
              </p:cNvPr>
              <p:cNvSpPr/>
              <p:nvPr/>
            </p:nvSpPr>
            <p:spPr>
              <a:xfrm>
                <a:off x="2697025" y="3427830"/>
                <a:ext cx="170022" cy="78096"/>
              </a:xfrm>
              <a:custGeom>
                <a:avLst/>
                <a:gdLst>
                  <a:gd name="connsiteX0" fmla="*/ 163485 w 170022"/>
                  <a:gd name="connsiteY0" fmla="*/ 78097 h 78096"/>
                  <a:gd name="connsiteX1" fmla="*/ 157275 w 170022"/>
                  <a:gd name="connsiteY1" fmla="*/ 73604 h 78096"/>
                  <a:gd name="connsiteX2" fmla="*/ 73591 w 170022"/>
                  <a:gd name="connsiteY2" fmla="*/ 13070 h 78096"/>
                  <a:gd name="connsiteX3" fmla="*/ 11169 w 170022"/>
                  <a:gd name="connsiteY3" fmla="*/ 39009 h 78096"/>
                  <a:gd name="connsiteX4" fmla="*/ 1927 w 170022"/>
                  <a:gd name="connsiteY4" fmla="*/ 39035 h 78096"/>
                  <a:gd name="connsiteX5" fmla="*/ 1901 w 170022"/>
                  <a:gd name="connsiteY5" fmla="*/ 29794 h 78096"/>
                  <a:gd name="connsiteX6" fmla="*/ 73591 w 170022"/>
                  <a:gd name="connsiteY6" fmla="*/ 0 h 78096"/>
                  <a:gd name="connsiteX7" fmla="*/ 169695 w 170022"/>
                  <a:gd name="connsiteY7" fmla="*/ 69520 h 78096"/>
                  <a:gd name="connsiteX8" fmla="*/ 165528 w 170022"/>
                  <a:gd name="connsiteY8" fmla="*/ 77772 h 78096"/>
                  <a:gd name="connsiteX9" fmla="*/ 163485 w 170022"/>
                  <a:gd name="connsiteY9" fmla="*/ 78097 h 78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0022" h="78096">
                    <a:moveTo>
                      <a:pt x="163485" y="78097"/>
                    </a:moveTo>
                    <a:cubicBezTo>
                      <a:pt x="160741" y="78097"/>
                      <a:pt x="158181" y="76353"/>
                      <a:pt x="157275" y="73604"/>
                    </a:cubicBezTo>
                    <a:cubicBezTo>
                      <a:pt x="145365" y="37393"/>
                      <a:pt x="111735" y="13070"/>
                      <a:pt x="73591" y="13070"/>
                    </a:cubicBezTo>
                    <a:cubicBezTo>
                      <a:pt x="49989" y="13070"/>
                      <a:pt x="27821" y="22281"/>
                      <a:pt x="11169" y="39009"/>
                    </a:cubicBezTo>
                    <a:cubicBezTo>
                      <a:pt x="8628" y="41568"/>
                      <a:pt x="4479" y="41587"/>
                      <a:pt x="1927" y="39035"/>
                    </a:cubicBezTo>
                    <a:cubicBezTo>
                      <a:pt x="-632" y="36487"/>
                      <a:pt x="-644" y="32345"/>
                      <a:pt x="1901" y="29794"/>
                    </a:cubicBezTo>
                    <a:cubicBezTo>
                      <a:pt x="21030" y="10582"/>
                      <a:pt x="46489" y="0"/>
                      <a:pt x="73591" y="0"/>
                    </a:cubicBezTo>
                    <a:cubicBezTo>
                      <a:pt x="117394" y="0"/>
                      <a:pt x="156018" y="27936"/>
                      <a:pt x="169695" y="69520"/>
                    </a:cubicBezTo>
                    <a:cubicBezTo>
                      <a:pt x="170820" y="72947"/>
                      <a:pt x="168955" y="76643"/>
                      <a:pt x="165528" y="77772"/>
                    </a:cubicBezTo>
                    <a:cubicBezTo>
                      <a:pt x="164852" y="77995"/>
                      <a:pt x="164161" y="78097"/>
                      <a:pt x="163485" y="78097"/>
                    </a:cubicBezTo>
                    <a:close/>
                  </a:path>
                </a:pathLst>
              </a:custGeom>
              <a:grpFill/>
              <a:ln w="377" cap="flat">
                <a:noFill/>
                <a:prstDash val="solid"/>
                <a:miter/>
              </a:ln>
            </p:spPr>
            <p:txBody>
              <a:bodyPr rtlCol="0" anchor="ctr"/>
              <a:lstStyle/>
              <a:p>
                <a:endParaRPr lang="en-GB" dirty="0"/>
              </a:p>
            </p:txBody>
          </p:sp>
          <p:sp>
            <p:nvSpPr>
              <p:cNvPr id="200" name="Freihandform: Form 1222">
                <a:extLst>
                  <a:ext uri="{FF2B5EF4-FFF2-40B4-BE49-F238E27FC236}">
                    <a16:creationId xmlns:a16="http://schemas.microsoft.com/office/drawing/2014/main" id="{14F0288A-D891-4D72-95F2-4584F3F91598}"/>
                  </a:ext>
                </a:extLst>
              </p:cNvPr>
              <p:cNvSpPr/>
              <p:nvPr/>
            </p:nvSpPr>
            <p:spPr>
              <a:xfrm>
                <a:off x="2823209" y="3413217"/>
                <a:ext cx="78125" cy="231529"/>
              </a:xfrm>
              <a:custGeom>
                <a:avLst/>
                <a:gdLst>
                  <a:gd name="connsiteX0" fmla="*/ 6548 w 78125"/>
                  <a:gd name="connsiteY0" fmla="*/ 231529 h 231529"/>
                  <a:gd name="connsiteX1" fmla="*/ 799 w 78125"/>
                  <a:gd name="connsiteY1" fmla="*/ 228109 h 231529"/>
                  <a:gd name="connsiteX2" fmla="*/ 3430 w 78125"/>
                  <a:gd name="connsiteY2" fmla="*/ 219249 h 231529"/>
                  <a:gd name="connsiteX3" fmla="*/ 65056 w 78125"/>
                  <a:gd name="connsiteY3" fmla="*/ 115764 h 231529"/>
                  <a:gd name="connsiteX4" fmla="*/ 3423 w 78125"/>
                  <a:gd name="connsiteY4" fmla="*/ 12279 h 231529"/>
                  <a:gd name="connsiteX5" fmla="*/ 791 w 78125"/>
                  <a:gd name="connsiteY5" fmla="*/ 3419 h 231529"/>
                  <a:gd name="connsiteX6" fmla="*/ 9652 w 78125"/>
                  <a:gd name="connsiteY6" fmla="*/ 788 h 231529"/>
                  <a:gd name="connsiteX7" fmla="*/ 78125 w 78125"/>
                  <a:gd name="connsiteY7" fmla="*/ 115760 h 231529"/>
                  <a:gd name="connsiteX8" fmla="*/ 9655 w 78125"/>
                  <a:gd name="connsiteY8" fmla="*/ 230733 h 231529"/>
                  <a:gd name="connsiteX9" fmla="*/ 6548 w 78125"/>
                  <a:gd name="connsiteY9" fmla="*/ 231529 h 23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125" h="231529">
                    <a:moveTo>
                      <a:pt x="6548" y="231529"/>
                    </a:moveTo>
                    <a:cubicBezTo>
                      <a:pt x="4227" y="231529"/>
                      <a:pt x="1984" y="230291"/>
                      <a:pt x="799" y="228109"/>
                    </a:cubicBezTo>
                    <a:cubicBezTo>
                      <a:pt x="-923" y="224938"/>
                      <a:pt x="251" y="220974"/>
                      <a:pt x="3430" y="219249"/>
                    </a:cubicBezTo>
                    <a:cubicBezTo>
                      <a:pt x="41438" y="198621"/>
                      <a:pt x="65056" y="158963"/>
                      <a:pt x="65056" y="115764"/>
                    </a:cubicBezTo>
                    <a:cubicBezTo>
                      <a:pt x="65056" y="72557"/>
                      <a:pt x="41438" y="32903"/>
                      <a:pt x="3423" y="12279"/>
                    </a:cubicBezTo>
                    <a:cubicBezTo>
                      <a:pt x="251" y="10558"/>
                      <a:pt x="-930" y="6594"/>
                      <a:pt x="791" y="3419"/>
                    </a:cubicBezTo>
                    <a:cubicBezTo>
                      <a:pt x="2509" y="248"/>
                      <a:pt x="6477" y="-926"/>
                      <a:pt x="9652" y="788"/>
                    </a:cubicBezTo>
                    <a:cubicBezTo>
                      <a:pt x="51888" y="23703"/>
                      <a:pt x="78125" y="67756"/>
                      <a:pt x="78125" y="115760"/>
                    </a:cubicBezTo>
                    <a:cubicBezTo>
                      <a:pt x="78125" y="163758"/>
                      <a:pt x="51892" y="207814"/>
                      <a:pt x="9655" y="230733"/>
                    </a:cubicBezTo>
                    <a:cubicBezTo>
                      <a:pt x="8666" y="231273"/>
                      <a:pt x="7602" y="231529"/>
                      <a:pt x="6548" y="231529"/>
                    </a:cubicBezTo>
                    <a:close/>
                  </a:path>
                </a:pathLst>
              </a:custGeom>
              <a:grpFill/>
              <a:ln w="377" cap="flat">
                <a:noFill/>
                <a:prstDash val="solid"/>
                <a:miter/>
              </a:ln>
            </p:spPr>
            <p:txBody>
              <a:bodyPr rtlCol="0" anchor="ctr"/>
              <a:lstStyle/>
              <a:p>
                <a:endParaRPr lang="en-GB" dirty="0"/>
              </a:p>
            </p:txBody>
          </p:sp>
          <p:sp>
            <p:nvSpPr>
              <p:cNvPr id="201" name="Freihandform: Form 1223">
                <a:extLst>
                  <a:ext uri="{FF2B5EF4-FFF2-40B4-BE49-F238E27FC236}">
                    <a16:creationId xmlns:a16="http://schemas.microsoft.com/office/drawing/2014/main" id="{4B74B1F6-5064-48B1-AE6A-03372390FE9A}"/>
                  </a:ext>
                </a:extLst>
              </p:cNvPr>
              <p:cNvSpPr/>
              <p:nvPr/>
            </p:nvSpPr>
            <p:spPr>
              <a:xfrm>
                <a:off x="2758161" y="3646478"/>
                <a:ext cx="24901" cy="13221"/>
              </a:xfrm>
              <a:custGeom>
                <a:avLst/>
                <a:gdLst>
                  <a:gd name="connsiteX0" fmla="*/ 12454 w 24901"/>
                  <a:gd name="connsiteY0" fmla="*/ 13222 h 13221"/>
                  <a:gd name="connsiteX1" fmla="*/ 6218 w 24901"/>
                  <a:gd name="connsiteY1" fmla="*/ 13075 h 13221"/>
                  <a:gd name="connsiteX2" fmla="*/ 8 w 24901"/>
                  <a:gd name="connsiteY2" fmla="*/ 6227 h 13221"/>
                  <a:gd name="connsiteX3" fmla="*/ 6856 w 24901"/>
                  <a:gd name="connsiteY3" fmla="*/ 16 h 13221"/>
                  <a:gd name="connsiteX4" fmla="*/ 18046 w 24901"/>
                  <a:gd name="connsiteY4" fmla="*/ 16 h 13221"/>
                  <a:gd name="connsiteX5" fmla="*/ 24894 w 24901"/>
                  <a:gd name="connsiteY5" fmla="*/ 6227 h 13221"/>
                  <a:gd name="connsiteX6" fmla="*/ 18684 w 24901"/>
                  <a:gd name="connsiteY6" fmla="*/ 13075 h 13221"/>
                  <a:gd name="connsiteX7" fmla="*/ 12454 w 24901"/>
                  <a:gd name="connsiteY7" fmla="*/ 13222 h 13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01" h="13221">
                    <a:moveTo>
                      <a:pt x="12454" y="13222"/>
                    </a:moveTo>
                    <a:cubicBezTo>
                      <a:pt x="10359" y="13222"/>
                      <a:pt x="8287" y="13177"/>
                      <a:pt x="6218" y="13075"/>
                    </a:cubicBezTo>
                    <a:cubicBezTo>
                      <a:pt x="2613" y="12897"/>
                      <a:pt x="-166" y="9832"/>
                      <a:pt x="8" y="6227"/>
                    </a:cubicBezTo>
                    <a:cubicBezTo>
                      <a:pt x="185" y="2622"/>
                      <a:pt x="3296" y="-225"/>
                      <a:pt x="6856" y="16"/>
                    </a:cubicBezTo>
                    <a:cubicBezTo>
                      <a:pt x="10552" y="194"/>
                      <a:pt x="14338" y="194"/>
                      <a:pt x="18046" y="16"/>
                    </a:cubicBezTo>
                    <a:cubicBezTo>
                      <a:pt x="21538" y="-244"/>
                      <a:pt x="24716" y="2614"/>
                      <a:pt x="24894" y="6227"/>
                    </a:cubicBezTo>
                    <a:cubicBezTo>
                      <a:pt x="25067" y="9832"/>
                      <a:pt x="22289" y="12897"/>
                      <a:pt x="18684" y="13075"/>
                    </a:cubicBezTo>
                    <a:cubicBezTo>
                      <a:pt x="16615" y="13177"/>
                      <a:pt x="14542" y="13222"/>
                      <a:pt x="12454" y="13222"/>
                    </a:cubicBezTo>
                    <a:close/>
                  </a:path>
                </a:pathLst>
              </a:custGeom>
              <a:grpFill/>
              <a:ln w="377" cap="flat">
                <a:noFill/>
                <a:prstDash val="solid"/>
                <a:miter/>
              </a:ln>
            </p:spPr>
            <p:txBody>
              <a:bodyPr rtlCol="0" anchor="ctr"/>
              <a:lstStyle/>
              <a:p>
                <a:endParaRPr lang="en-GB" dirty="0"/>
              </a:p>
            </p:txBody>
          </p:sp>
          <p:sp>
            <p:nvSpPr>
              <p:cNvPr id="202" name="Freihandform: Form 1224">
                <a:extLst>
                  <a:ext uri="{FF2B5EF4-FFF2-40B4-BE49-F238E27FC236}">
                    <a16:creationId xmlns:a16="http://schemas.microsoft.com/office/drawing/2014/main" id="{84C1328F-B7FD-492C-9F6D-1D474A9C9885}"/>
                  </a:ext>
                </a:extLst>
              </p:cNvPr>
              <p:cNvSpPr/>
              <p:nvPr/>
            </p:nvSpPr>
            <p:spPr>
              <a:xfrm>
                <a:off x="2648169" y="3567106"/>
                <a:ext cx="69872" cy="77651"/>
              </a:xfrm>
              <a:custGeom>
                <a:avLst/>
                <a:gdLst>
                  <a:gd name="connsiteX0" fmla="*/ 63328 w 69872"/>
                  <a:gd name="connsiteY0" fmla="*/ 77652 h 77651"/>
                  <a:gd name="connsiteX1" fmla="*/ 60221 w 69872"/>
                  <a:gd name="connsiteY1" fmla="*/ 76859 h 77651"/>
                  <a:gd name="connsiteX2" fmla="*/ 441 w 69872"/>
                  <a:gd name="connsiteY2" fmla="*/ 8887 h 77651"/>
                  <a:gd name="connsiteX3" fmla="*/ 4186 w 69872"/>
                  <a:gd name="connsiteY3" fmla="*/ 442 h 77651"/>
                  <a:gd name="connsiteX4" fmla="*/ 12631 w 69872"/>
                  <a:gd name="connsiteY4" fmla="*/ 4187 h 77651"/>
                  <a:gd name="connsiteX5" fmla="*/ 66450 w 69872"/>
                  <a:gd name="connsiteY5" fmla="*/ 65367 h 77651"/>
                  <a:gd name="connsiteX6" fmla="*/ 69081 w 69872"/>
                  <a:gd name="connsiteY6" fmla="*/ 74227 h 77651"/>
                  <a:gd name="connsiteX7" fmla="*/ 63328 w 69872"/>
                  <a:gd name="connsiteY7" fmla="*/ 77652 h 77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872" h="77651">
                    <a:moveTo>
                      <a:pt x="63328" y="77652"/>
                    </a:moveTo>
                    <a:cubicBezTo>
                      <a:pt x="62274" y="77652"/>
                      <a:pt x="61210" y="77395"/>
                      <a:pt x="60221" y="76859"/>
                    </a:cubicBezTo>
                    <a:cubicBezTo>
                      <a:pt x="32843" y="62019"/>
                      <a:pt x="11616" y="37880"/>
                      <a:pt x="441" y="8887"/>
                    </a:cubicBezTo>
                    <a:cubicBezTo>
                      <a:pt x="-861" y="5523"/>
                      <a:pt x="819" y="1737"/>
                      <a:pt x="4186" y="442"/>
                    </a:cubicBezTo>
                    <a:cubicBezTo>
                      <a:pt x="7538" y="-860"/>
                      <a:pt x="11336" y="812"/>
                      <a:pt x="12631" y="4187"/>
                    </a:cubicBezTo>
                    <a:cubicBezTo>
                      <a:pt x="22696" y="30273"/>
                      <a:pt x="41806" y="51999"/>
                      <a:pt x="66450" y="65367"/>
                    </a:cubicBezTo>
                    <a:cubicBezTo>
                      <a:pt x="69621" y="67085"/>
                      <a:pt x="70802" y="71053"/>
                      <a:pt x="69081" y="74227"/>
                    </a:cubicBezTo>
                    <a:cubicBezTo>
                      <a:pt x="67899" y="76413"/>
                      <a:pt x="65653" y="77652"/>
                      <a:pt x="63328" y="77652"/>
                    </a:cubicBezTo>
                    <a:close/>
                  </a:path>
                </a:pathLst>
              </a:custGeom>
              <a:grpFill/>
              <a:ln w="377" cap="flat">
                <a:noFill/>
                <a:prstDash val="solid"/>
                <a:miter/>
              </a:ln>
            </p:spPr>
            <p:txBody>
              <a:bodyPr rtlCol="0" anchor="ctr"/>
              <a:lstStyle/>
              <a:p>
                <a:endParaRPr lang="en-GB" dirty="0"/>
              </a:p>
            </p:txBody>
          </p:sp>
          <p:sp>
            <p:nvSpPr>
              <p:cNvPr id="203" name="Freihandform: Form 1225">
                <a:extLst>
                  <a:ext uri="{FF2B5EF4-FFF2-40B4-BE49-F238E27FC236}">
                    <a16:creationId xmlns:a16="http://schemas.microsoft.com/office/drawing/2014/main" id="{1F461465-C1D1-4D5E-B2ED-EFE9162E9DE3}"/>
                  </a:ext>
                </a:extLst>
              </p:cNvPr>
              <p:cNvSpPr/>
              <p:nvPr/>
            </p:nvSpPr>
            <p:spPr>
              <a:xfrm>
                <a:off x="2657884" y="3413218"/>
                <a:ext cx="60129" cy="57878"/>
              </a:xfrm>
              <a:custGeom>
                <a:avLst/>
                <a:gdLst>
                  <a:gd name="connsiteX0" fmla="*/ 6532 w 60129"/>
                  <a:gd name="connsiteY0" fmla="*/ 57878 h 57878"/>
                  <a:gd name="connsiteX1" fmla="*/ 3142 w 60129"/>
                  <a:gd name="connsiteY1" fmla="*/ 56927 h 57878"/>
                  <a:gd name="connsiteX2" fmla="*/ 952 w 60129"/>
                  <a:gd name="connsiteY2" fmla="*/ 47946 h 57878"/>
                  <a:gd name="connsiteX3" fmla="*/ 50475 w 60129"/>
                  <a:gd name="connsiteY3" fmla="*/ 790 h 57878"/>
                  <a:gd name="connsiteX4" fmla="*/ 59335 w 60129"/>
                  <a:gd name="connsiteY4" fmla="*/ 3422 h 57878"/>
                  <a:gd name="connsiteX5" fmla="*/ 56704 w 60129"/>
                  <a:gd name="connsiteY5" fmla="*/ 12282 h 57878"/>
                  <a:gd name="connsiteX6" fmla="*/ 12119 w 60129"/>
                  <a:gd name="connsiteY6" fmla="*/ 54741 h 57878"/>
                  <a:gd name="connsiteX7" fmla="*/ 6532 w 60129"/>
                  <a:gd name="connsiteY7" fmla="*/ 57878 h 57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129" h="57878">
                    <a:moveTo>
                      <a:pt x="6532" y="57878"/>
                    </a:moveTo>
                    <a:cubicBezTo>
                      <a:pt x="5377" y="57878"/>
                      <a:pt x="4203" y="57572"/>
                      <a:pt x="3142" y="56927"/>
                    </a:cubicBezTo>
                    <a:cubicBezTo>
                      <a:pt x="58" y="55051"/>
                      <a:pt x="-924" y="51030"/>
                      <a:pt x="952" y="47946"/>
                    </a:cubicBezTo>
                    <a:cubicBezTo>
                      <a:pt x="12991" y="28145"/>
                      <a:pt x="30116" y="11836"/>
                      <a:pt x="50475" y="790"/>
                    </a:cubicBezTo>
                    <a:cubicBezTo>
                      <a:pt x="53646" y="-927"/>
                      <a:pt x="57610" y="247"/>
                      <a:pt x="59335" y="3422"/>
                    </a:cubicBezTo>
                    <a:cubicBezTo>
                      <a:pt x="61061" y="6597"/>
                      <a:pt x="59879" y="10557"/>
                      <a:pt x="56704" y="12282"/>
                    </a:cubicBezTo>
                    <a:cubicBezTo>
                      <a:pt x="38372" y="22233"/>
                      <a:pt x="22958" y="36915"/>
                      <a:pt x="12119" y="54741"/>
                    </a:cubicBezTo>
                    <a:cubicBezTo>
                      <a:pt x="10892" y="56761"/>
                      <a:pt x="8741" y="57878"/>
                      <a:pt x="6532" y="57878"/>
                    </a:cubicBezTo>
                    <a:close/>
                  </a:path>
                </a:pathLst>
              </a:custGeom>
              <a:grpFill/>
              <a:ln w="377" cap="flat">
                <a:noFill/>
                <a:prstDash val="solid"/>
                <a:miter/>
              </a:ln>
            </p:spPr>
            <p:txBody>
              <a:bodyPr rtlCol="0" anchor="ctr"/>
              <a:lstStyle/>
              <a:p>
                <a:endParaRPr lang="en-GB" dirty="0"/>
              </a:p>
            </p:txBody>
          </p:sp>
          <p:sp>
            <p:nvSpPr>
              <p:cNvPr id="204" name="Freihandform: Form 1226">
                <a:extLst>
                  <a:ext uri="{FF2B5EF4-FFF2-40B4-BE49-F238E27FC236}">
                    <a16:creationId xmlns:a16="http://schemas.microsoft.com/office/drawing/2014/main" id="{5B9B9C6E-A3CA-4BF7-9927-4E7F5B75D637}"/>
                  </a:ext>
                </a:extLst>
              </p:cNvPr>
              <p:cNvSpPr/>
              <p:nvPr/>
            </p:nvSpPr>
            <p:spPr>
              <a:xfrm>
                <a:off x="2758161" y="3398257"/>
                <a:ext cx="24901" cy="13218"/>
              </a:xfrm>
              <a:custGeom>
                <a:avLst/>
                <a:gdLst>
                  <a:gd name="connsiteX0" fmla="*/ 18370 w 24901"/>
                  <a:gd name="connsiteY0" fmla="*/ 13219 h 13218"/>
                  <a:gd name="connsiteX1" fmla="*/ 18046 w 24901"/>
                  <a:gd name="connsiteY1" fmla="*/ 13211 h 13218"/>
                  <a:gd name="connsiteX2" fmla="*/ 6856 w 24901"/>
                  <a:gd name="connsiteY2" fmla="*/ 13211 h 13218"/>
                  <a:gd name="connsiteX3" fmla="*/ 8 w 24901"/>
                  <a:gd name="connsiteY3" fmla="*/ 7001 h 13218"/>
                  <a:gd name="connsiteX4" fmla="*/ 6218 w 24901"/>
                  <a:gd name="connsiteY4" fmla="*/ 153 h 13218"/>
                  <a:gd name="connsiteX5" fmla="*/ 18684 w 24901"/>
                  <a:gd name="connsiteY5" fmla="*/ 153 h 13218"/>
                  <a:gd name="connsiteX6" fmla="*/ 24894 w 24901"/>
                  <a:gd name="connsiteY6" fmla="*/ 7001 h 13218"/>
                  <a:gd name="connsiteX7" fmla="*/ 18370 w 24901"/>
                  <a:gd name="connsiteY7" fmla="*/ 13219 h 1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01" h="13218">
                    <a:moveTo>
                      <a:pt x="18370" y="13219"/>
                    </a:moveTo>
                    <a:cubicBezTo>
                      <a:pt x="18261" y="13219"/>
                      <a:pt x="18155" y="13219"/>
                      <a:pt x="18046" y="13211"/>
                    </a:cubicBezTo>
                    <a:cubicBezTo>
                      <a:pt x="14338" y="13034"/>
                      <a:pt x="10552" y="13034"/>
                      <a:pt x="6856" y="13211"/>
                    </a:cubicBezTo>
                    <a:cubicBezTo>
                      <a:pt x="3277" y="13324"/>
                      <a:pt x="185" y="10606"/>
                      <a:pt x="8" y="7001"/>
                    </a:cubicBezTo>
                    <a:cubicBezTo>
                      <a:pt x="-166" y="3396"/>
                      <a:pt x="2613" y="330"/>
                      <a:pt x="6218" y="153"/>
                    </a:cubicBezTo>
                    <a:cubicBezTo>
                      <a:pt x="10348" y="-51"/>
                      <a:pt x="14542" y="-51"/>
                      <a:pt x="18684" y="153"/>
                    </a:cubicBezTo>
                    <a:cubicBezTo>
                      <a:pt x="22289" y="330"/>
                      <a:pt x="25067" y="3396"/>
                      <a:pt x="24894" y="7001"/>
                    </a:cubicBezTo>
                    <a:cubicBezTo>
                      <a:pt x="24720" y="10497"/>
                      <a:pt x="21828" y="13219"/>
                      <a:pt x="18370" y="13219"/>
                    </a:cubicBezTo>
                    <a:close/>
                  </a:path>
                </a:pathLst>
              </a:custGeom>
              <a:grpFill/>
              <a:ln w="377" cap="flat">
                <a:noFill/>
                <a:prstDash val="solid"/>
                <a:miter/>
              </a:ln>
            </p:spPr>
            <p:txBody>
              <a:bodyPr rtlCol="0" anchor="ctr"/>
              <a:lstStyle/>
              <a:p>
                <a:endParaRPr lang="en-GB" dirty="0"/>
              </a:p>
            </p:txBody>
          </p:sp>
        </p:grpSp>
      </p:grpSp>
      <p:grpSp>
        <p:nvGrpSpPr>
          <p:cNvPr id="42" name="Group 41">
            <a:extLst>
              <a:ext uri="{FF2B5EF4-FFF2-40B4-BE49-F238E27FC236}">
                <a16:creationId xmlns:a16="http://schemas.microsoft.com/office/drawing/2014/main" id="{2AB17E48-1D04-4723-E968-118D7D158026}"/>
              </a:ext>
            </a:extLst>
          </p:cNvPr>
          <p:cNvGrpSpPr/>
          <p:nvPr/>
        </p:nvGrpSpPr>
        <p:grpSpPr>
          <a:xfrm>
            <a:off x="1632654" y="3197068"/>
            <a:ext cx="413660" cy="432000"/>
            <a:chOff x="1632654" y="3197068"/>
            <a:chExt cx="413660" cy="432000"/>
          </a:xfrm>
        </p:grpSpPr>
        <p:grpSp>
          <p:nvGrpSpPr>
            <p:cNvPr id="218" name="Graphic 4">
              <a:extLst>
                <a:ext uri="{FF2B5EF4-FFF2-40B4-BE49-F238E27FC236}">
                  <a16:creationId xmlns:a16="http://schemas.microsoft.com/office/drawing/2014/main" id="{CB87E2DB-EAF8-4ECD-8766-4D917B8040D1}"/>
                </a:ext>
              </a:extLst>
            </p:cNvPr>
            <p:cNvGrpSpPr/>
            <p:nvPr/>
          </p:nvGrpSpPr>
          <p:grpSpPr>
            <a:xfrm>
              <a:off x="1632654" y="3197068"/>
              <a:ext cx="413660" cy="432000"/>
              <a:chOff x="870804" y="4110764"/>
              <a:chExt cx="413062" cy="431376"/>
            </a:xfrm>
            <a:solidFill>
              <a:schemeClr val="tx2"/>
            </a:solidFill>
          </p:grpSpPr>
          <p:sp>
            <p:nvSpPr>
              <p:cNvPr id="222" name="Freihandform: Form 1244">
                <a:extLst>
                  <a:ext uri="{FF2B5EF4-FFF2-40B4-BE49-F238E27FC236}">
                    <a16:creationId xmlns:a16="http://schemas.microsoft.com/office/drawing/2014/main" id="{315F0143-3509-4F17-8533-D51FB62D8B04}"/>
                  </a:ext>
                </a:extLst>
              </p:cNvPr>
              <p:cNvSpPr/>
              <p:nvPr/>
            </p:nvSpPr>
            <p:spPr>
              <a:xfrm>
                <a:off x="870804" y="4110764"/>
                <a:ext cx="413062" cy="431376"/>
              </a:xfrm>
              <a:custGeom>
                <a:avLst/>
                <a:gdLst>
                  <a:gd name="connsiteX0" fmla="*/ 206883 w 413062"/>
                  <a:gd name="connsiteY0" fmla="*/ 431376 h 431376"/>
                  <a:gd name="connsiteX1" fmla="*/ 206177 w 413062"/>
                  <a:gd name="connsiteY1" fmla="*/ 431357 h 431376"/>
                  <a:gd name="connsiteX2" fmla="*/ 195047 w 413062"/>
                  <a:gd name="connsiteY2" fmla="*/ 427797 h 431376"/>
                  <a:gd name="connsiteX3" fmla="*/ 438 w 413062"/>
                  <a:gd name="connsiteY3" fmla="*/ 123568 h 431376"/>
                  <a:gd name="connsiteX4" fmla="*/ 279 w 413062"/>
                  <a:gd name="connsiteY4" fmla="*/ 122651 h 431376"/>
                  <a:gd name="connsiteX5" fmla="*/ 0 w 413062"/>
                  <a:gd name="connsiteY5" fmla="*/ 119914 h 431376"/>
                  <a:gd name="connsiteX6" fmla="*/ 11620 w 413062"/>
                  <a:gd name="connsiteY6" fmla="*/ 106331 h 431376"/>
                  <a:gd name="connsiteX7" fmla="*/ 62090 w 413062"/>
                  <a:gd name="connsiteY7" fmla="*/ 97471 h 431376"/>
                  <a:gd name="connsiteX8" fmla="*/ 69225 w 413062"/>
                  <a:gd name="connsiteY8" fmla="*/ 71856 h 431376"/>
                  <a:gd name="connsiteX9" fmla="*/ 71958 w 413062"/>
                  <a:gd name="connsiteY9" fmla="*/ 63430 h 431376"/>
                  <a:gd name="connsiteX10" fmla="*/ 138756 w 413062"/>
                  <a:gd name="connsiteY10" fmla="*/ 30477 h 431376"/>
                  <a:gd name="connsiteX11" fmla="*/ 207000 w 413062"/>
                  <a:gd name="connsiteY11" fmla="*/ 0 h 431376"/>
                  <a:gd name="connsiteX12" fmla="*/ 275009 w 413062"/>
                  <a:gd name="connsiteY12" fmla="*/ 31039 h 431376"/>
                  <a:gd name="connsiteX13" fmla="*/ 342739 w 413062"/>
                  <a:gd name="connsiteY13" fmla="*/ 66548 h 431376"/>
                  <a:gd name="connsiteX14" fmla="*/ 343015 w 413062"/>
                  <a:gd name="connsiteY14" fmla="*/ 67447 h 431376"/>
                  <a:gd name="connsiteX15" fmla="*/ 350931 w 413062"/>
                  <a:gd name="connsiteY15" fmla="*/ 97452 h 431376"/>
                  <a:gd name="connsiteX16" fmla="*/ 401337 w 413062"/>
                  <a:gd name="connsiteY16" fmla="*/ 106323 h 431376"/>
                  <a:gd name="connsiteX17" fmla="*/ 413063 w 413062"/>
                  <a:gd name="connsiteY17" fmla="*/ 119914 h 431376"/>
                  <a:gd name="connsiteX18" fmla="*/ 412848 w 413062"/>
                  <a:gd name="connsiteY18" fmla="*/ 122447 h 431376"/>
                  <a:gd name="connsiteX19" fmla="*/ 412610 w 413062"/>
                  <a:gd name="connsiteY19" fmla="*/ 123723 h 431376"/>
                  <a:gd name="connsiteX20" fmla="*/ 217982 w 413062"/>
                  <a:gd name="connsiteY20" fmla="*/ 427805 h 431376"/>
                  <a:gd name="connsiteX21" fmla="*/ 207426 w 413062"/>
                  <a:gd name="connsiteY21" fmla="*/ 431365 h 431376"/>
                  <a:gd name="connsiteX22" fmla="*/ 206883 w 413062"/>
                  <a:gd name="connsiteY22" fmla="*/ 431376 h 431376"/>
                  <a:gd name="connsiteX23" fmla="*/ 82748 w 413062"/>
                  <a:gd name="connsiteY23" fmla="*/ 71720 h 431376"/>
                  <a:gd name="connsiteX24" fmla="*/ 81898 w 413062"/>
                  <a:gd name="connsiteY24" fmla="*/ 75065 h 431376"/>
                  <a:gd name="connsiteX25" fmla="*/ 67334 w 413062"/>
                  <a:gd name="connsiteY25" fmla="*/ 109812 h 431376"/>
                  <a:gd name="connsiteX26" fmla="*/ 13519 w 413062"/>
                  <a:gd name="connsiteY26" fmla="*/ 119257 h 431376"/>
                  <a:gd name="connsiteX27" fmla="*/ 13073 w 413062"/>
                  <a:gd name="connsiteY27" fmla="*/ 119907 h 431376"/>
                  <a:gd name="connsiteX28" fmla="*/ 13319 w 413062"/>
                  <a:gd name="connsiteY28" fmla="*/ 121311 h 431376"/>
                  <a:gd name="connsiteX29" fmla="*/ 202243 w 413062"/>
                  <a:gd name="connsiteY29" fmla="*/ 416880 h 431376"/>
                  <a:gd name="connsiteX30" fmla="*/ 206660 w 413062"/>
                  <a:gd name="connsiteY30" fmla="*/ 418295 h 431376"/>
                  <a:gd name="connsiteX31" fmla="*/ 206883 w 413062"/>
                  <a:gd name="connsiteY31" fmla="*/ 424838 h 431376"/>
                  <a:gd name="connsiteX32" fmla="*/ 206883 w 413062"/>
                  <a:gd name="connsiteY32" fmla="*/ 418303 h 431376"/>
                  <a:gd name="connsiteX33" fmla="*/ 206883 w 413062"/>
                  <a:gd name="connsiteY33" fmla="*/ 424838 h 431376"/>
                  <a:gd name="connsiteX34" fmla="*/ 206928 w 413062"/>
                  <a:gd name="connsiteY34" fmla="*/ 418303 h 431376"/>
                  <a:gd name="connsiteX35" fmla="*/ 210767 w 413062"/>
                  <a:gd name="connsiteY35" fmla="*/ 416898 h 431376"/>
                  <a:gd name="connsiteX36" fmla="*/ 399744 w 413062"/>
                  <a:gd name="connsiteY36" fmla="*/ 121383 h 431376"/>
                  <a:gd name="connsiteX37" fmla="*/ 399982 w 413062"/>
                  <a:gd name="connsiteY37" fmla="*/ 120114 h 431376"/>
                  <a:gd name="connsiteX38" fmla="*/ 399518 w 413062"/>
                  <a:gd name="connsiteY38" fmla="*/ 119265 h 431376"/>
                  <a:gd name="connsiteX39" fmla="*/ 345623 w 413062"/>
                  <a:gd name="connsiteY39" fmla="*/ 109782 h 431376"/>
                  <a:gd name="connsiteX40" fmla="*/ 330863 w 413062"/>
                  <a:gd name="connsiteY40" fmla="*/ 72959 h 431376"/>
                  <a:gd name="connsiteX41" fmla="*/ 206898 w 413062"/>
                  <a:gd name="connsiteY41" fmla="*/ 13534 h 431376"/>
                  <a:gd name="connsiteX42" fmla="*/ 82748 w 413062"/>
                  <a:gd name="connsiteY42" fmla="*/ 71720 h 431376"/>
                  <a:gd name="connsiteX43" fmla="*/ 65084 w 413062"/>
                  <a:gd name="connsiteY43" fmla="*/ 96938 h 431376"/>
                  <a:gd name="connsiteX44" fmla="*/ 65020 w 413062"/>
                  <a:gd name="connsiteY44" fmla="*/ 96950 h 431376"/>
                  <a:gd name="connsiteX45" fmla="*/ 65084 w 413062"/>
                  <a:gd name="connsiteY45" fmla="*/ 96938 h 431376"/>
                  <a:gd name="connsiteX46" fmla="*/ 347870 w 413062"/>
                  <a:gd name="connsiteY46" fmla="*/ 96901 h 431376"/>
                  <a:gd name="connsiteX47" fmla="*/ 347994 w 413062"/>
                  <a:gd name="connsiteY47" fmla="*/ 96927 h 431376"/>
                  <a:gd name="connsiteX48" fmla="*/ 347870 w 413062"/>
                  <a:gd name="connsiteY48" fmla="*/ 96901 h 43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13062" h="431376">
                    <a:moveTo>
                      <a:pt x="206883" y="431376"/>
                    </a:moveTo>
                    <a:cubicBezTo>
                      <a:pt x="206792" y="431376"/>
                      <a:pt x="206267" y="431365"/>
                      <a:pt x="206177" y="431357"/>
                    </a:cubicBezTo>
                    <a:cubicBezTo>
                      <a:pt x="203194" y="431255"/>
                      <a:pt x="199521" y="430746"/>
                      <a:pt x="195047" y="427797"/>
                    </a:cubicBezTo>
                    <a:cubicBezTo>
                      <a:pt x="51225" y="333165"/>
                      <a:pt x="11042" y="183514"/>
                      <a:pt x="438" y="123568"/>
                    </a:cubicBezTo>
                    <a:lnTo>
                      <a:pt x="279" y="122651"/>
                    </a:lnTo>
                    <a:cubicBezTo>
                      <a:pt x="113" y="121923"/>
                      <a:pt x="0" y="120903"/>
                      <a:pt x="0" y="119914"/>
                    </a:cubicBezTo>
                    <a:cubicBezTo>
                      <a:pt x="0" y="113134"/>
                      <a:pt x="4995" y="107294"/>
                      <a:pt x="11620" y="106331"/>
                    </a:cubicBezTo>
                    <a:cubicBezTo>
                      <a:pt x="13881" y="105991"/>
                      <a:pt x="41863" y="101057"/>
                      <a:pt x="62090" y="97471"/>
                    </a:cubicBezTo>
                    <a:cubicBezTo>
                      <a:pt x="64174" y="91808"/>
                      <a:pt x="67892" y="77130"/>
                      <a:pt x="69225" y="71856"/>
                    </a:cubicBezTo>
                    <a:cubicBezTo>
                      <a:pt x="71060" y="64623"/>
                      <a:pt x="71060" y="64623"/>
                      <a:pt x="71958" y="63430"/>
                    </a:cubicBezTo>
                    <a:cubicBezTo>
                      <a:pt x="73185" y="61822"/>
                      <a:pt x="73842" y="60954"/>
                      <a:pt x="138756" y="30477"/>
                    </a:cubicBezTo>
                    <a:cubicBezTo>
                      <a:pt x="203659" y="0"/>
                      <a:pt x="205135" y="0"/>
                      <a:pt x="207000" y="0"/>
                    </a:cubicBezTo>
                    <a:cubicBezTo>
                      <a:pt x="208630" y="0"/>
                      <a:pt x="210039" y="0"/>
                      <a:pt x="275009" y="31039"/>
                    </a:cubicBezTo>
                    <a:cubicBezTo>
                      <a:pt x="341259" y="62690"/>
                      <a:pt x="341516" y="63355"/>
                      <a:pt x="342739" y="66548"/>
                    </a:cubicBezTo>
                    <a:cubicBezTo>
                      <a:pt x="342853" y="66843"/>
                      <a:pt x="342943" y="67141"/>
                      <a:pt x="343015" y="67447"/>
                    </a:cubicBezTo>
                    <a:cubicBezTo>
                      <a:pt x="345586" y="78822"/>
                      <a:pt x="349036" y="92223"/>
                      <a:pt x="350931" y="97452"/>
                    </a:cubicBezTo>
                    <a:cubicBezTo>
                      <a:pt x="366217" y="100189"/>
                      <a:pt x="398272" y="105852"/>
                      <a:pt x="401337" y="106323"/>
                    </a:cubicBezTo>
                    <a:cubicBezTo>
                      <a:pt x="407955" y="107173"/>
                      <a:pt x="413063" y="113024"/>
                      <a:pt x="413063" y="119914"/>
                    </a:cubicBezTo>
                    <a:cubicBezTo>
                      <a:pt x="413063" y="120726"/>
                      <a:pt x="412984" y="121662"/>
                      <a:pt x="412848" y="122447"/>
                    </a:cubicBezTo>
                    <a:lnTo>
                      <a:pt x="412610" y="123723"/>
                    </a:lnTo>
                    <a:cubicBezTo>
                      <a:pt x="401979" y="183620"/>
                      <a:pt x="361721" y="333264"/>
                      <a:pt x="217982" y="427805"/>
                    </a:cubicBezTo>
                    <a:cubicBezTo>
                      <a:pt x="214671" y="430013"/>
                      <a:pt x="211107" y="431221"/>
                      <a:pt x="207426" y="431365"/>
                    </a:cubicBezTo>
                    <a:cubicBezTo>
                      <a:pt x="207339" y="431372"/>
                      <a:pt x="206973" y="431376"/>
                      <a:pt x="206883" y="431376"/>
                    </a:cubicBezTo>
                    <a:close/>
                    <a:moveTo>
                      <a:pt x="82748" y="71720"/>
                    </a:moveTo>
                    <a:cubicBezTo>
                      <a:pt x="82510" y="72634"/>
                      <a:pt x="82227" y="73770"/>
                      <a:pt x="81898" y="75065"/>
                    </a:cubicBezTo>
                    <a:cubicBezTo>
                      <a:pt x="73940" y="106490"/>
                      <a:pt x="72525" y="108921"/>
                      <a:pt x="67334" y="109812"/>
                    </a:cubicBezTo>
                    <a:cubicBezTo>
                      <a:pt x="51720" y="112587"/>
                      <a:pt x="16433" y="118823"/>
                      <a:pt x="13519" y="119257"/>
                    </a:cubicBezTo>
                    <a:cubicBezTo>
                      <a:pt x="13296" y="119288"/>
                      <a:pt x="13073" y="119544"/>
                      <a:pt x="13073" y="119907"/>
                    </a:cubicBezTo>
                    <a:lnTo>
                      <a:pt x="13319" y="121311"/>
                    </a:lnTo>
                    <a:cubicBezTo>
                      <a:pt x="23621" y="179565"/>
                      <a:pt x="62664" y="325037"/>
                      <a:pt x="202243" y="416880"/>
                    </a:cubicBezTo>
                    <a:cubicBezTo>
                      <a:pt x="204115" y="418110"/>
                      <a:pt x="205255" y="418246"/>
                      <a:pt x="206660" y="418295"/>
                    </a:cubicBezTo>
                    <a:lnTo>
                      <a:pt x="206883" y="424838"/>
                    </a:lnTo>
                    <a:lnTo>
                      <a:pt x="206883" y="418303"/>
                    </a:lnTo>
                    <a:lnTo>
                      <a:pt x="206883" y="424838"/>
                    </a:lnTo>
                    <a:lnTo>
                      <a:pt x="206928" y="418303"/>
                    </a:lnTo>
                    <a:cubicBezTo>
                      <a:pt x="208177" y="418250"/>
                      <a:pt x="209412" y="417804"/>
                      <a:pt x="210767" y="416898"/>
                    </a:cubicBezTo>
                    <a:cubicBezTo>
                      <a:pt x="350293" y="325132"/>
                      <a:pt x="389404" y="179664"/>
                      <a:pt x="399744" y="121383"/>
                    </a:cubicBezTo>
                    <a:lnTo>
                      <a:pt x="399982" y="120114"/>
                    </a:lnTo>
                    <a:cubicBezTo>
                      <a:pt x="399993" y="119533"/>
                      <a:pt x="399710" y="119291"/>
                      <a:pt x="399518" y="119265"/>
                    </a:cubicBezTo>
                    <a:cubicBezTo>
                      <a:pt x="395735" y="118683"/>
                      <a:pt x="357942" y="111994"/>
                      <a:pt x="345623" y="109782"/>
                    </a:cubicBezTo>
                    <a:cubicBezTo>
                      <a:pt x="341425" y="109068"/>
                      <a:pt x="339036" y="108664"/>
                      <a:pt x="330863" y="72959"/>
                    </a:cubicBezTo>
                    <a:cubicBezTo>
                      <a:pt x="315702" y="64631"/>
                      <a:pt x="221983" y="20174"/>
                      <a:pt x="206898" y="13534"/>
                    </a:cubicBezTo>
                    <a:cubicBezTo>
                      <a:pt x="191865" y="19846"/>
                      <a:pt x="98388" y="63664"/>
                      <a:pt x="82748" y="71720"/>
                    </a:cubicBezTo>
                    <a:close/>
                    <a:moveTo>
                      <a:pt x="65084" y="96938"/>
                    </a:moveTo>
                    <a:cubicBezTo>
                      <a:pt x="65061" y="96938"/>
                      <a:pt x="65038" y="96946"/>
                      <a:pt x="65020" y="96950"/>
                    </a:cubicBezTo>
                    <a:cubicBezTo>
                      <a:pt x="65038" y="96946"/>
                      <a:pt x="65061" y="96938"/>
                      <a:pt x="65084" y="96938"/>
                    </a:cubicBezTo>
                    <a:close/>
                    <a:moveTo>
                      <a:pt x="347870" y="96901"/>
                    </a:moveTo>
                    <a:cubicBezTo>
                      <a:pt x="347911" y="96912"/>
                      <a:pt x="347953" y="96920"/>
                      <a:pt x="347994" y="96927"/>
                    </a:cubicBezTo>
                    <a:cubicBezTo>
                      <a:pt x="347953" y="96920"/>
                      <a:pt x="347911" y="96908"/>
                      <a:pt x="347870" y="96901"/>
                    </a:cubicBezTo>
                    <a:close/>
                  </a:path>
                </a:pathLst>
              </a:custGeom>
              <a:grpFill/>
              <a:ln w="377" cap="flat">
                <a:noFill/>
                <a:prstDash val="solid"/>
                <a:miter/>
              </a:ln>
            </p:spPr>
            <p:txBody>
              <a:bodyPr rtlCol="0" anchor="ctr"/>
              <a:lstStyle/>
              <a:p>
                <a:endParaRPr lang="en-GB" dirty="0"/>
              </a:p>
            </p:txBody>
          </p:sp>
          <p:sp>
            <p:nvSpPr>
              <p:cNvPr id="223" name="Freihandform: Form 1245">
                <a:extLst>
                  <a:ext uri="{FF2B5EF4-FFF2-40B4-BE49-F238E27FC236}">
                    <a16:creationId xmlns:a16="http://schemas.microsoft.com/office/drawing/2014/main" id="{B3860038-B010-44DA-829D-D67FBF085BA3}"/>
                  </a:ext>
                </a:extLst>
              </p:cNvPr>
              <p:cNvSpPr/>
              <p:nvPr/>
            </p:nvSpPr>
            <p:spPr>
              <a:xfrm>
                <a:off x="973263" y="4143853"/>
                <a:ext cx="209047" cy="59152"/>
              </a:xfrm>
              <a:custGeom>
                <a:avLst/>
                <a:gdLst>
                  <a:gd name="connsiteX0" fmla="*/ 202502 w 209047"/>
                  <a:gd name="connsiteY0" fmla="*/ 59153 h 59152"/>
                  <a:gd name="connsiteX1" fmla="*/ 199648 w 209047"/>
                  <a:gd name="connsiteY1" fmla="*/ 58496 h 59152"/>
                  <a:gd name="connsiteX2" fmla="*/ 104665 w 209047"/>
                  <a:gd name="connsiteY2" fmla="*/ 13530 h 59152"/>
                  <a:gd name="connsiteX3" fmla="*/ 9346 w 209047"/>
                  <a:gd name="connsiteY3" fmla="*/ 57783 h 59152"/>
                  <a:gd name="connsiteX4" fmla="*/ 637 w 209047"/>
                  <a:gd name="connsiteY4" fmla="*/ 54687 h 59152"/>
                  <a:gd name="connsiteX5" fmla="*/ 3728 w 209047"/>
                  <a:gd name="connsiteY5" fmla="*/ 45974 h 59152"/>
                  <a:gd name="connsiteX6" fmla="*/ 104767 w 209047"/>
                  <a:gd name="connsiteY6" fmla="*/ 0 h 59152"/>
                  <a:gd name="connsiteX7" fmla="*/ 205371 w 209047"/>
                  <a:gd name="connsiteY7" fmla="*/ 46740 h 59152"/>
                  <a:gd name="connsiteX8" fmla="*/ 208387 w 209047"/>
                  <a:gd name="connsiteY8" fmla="*/ 55480 h 59152"/>
                  <a:gd name="connsiteX9" fmla="*/ 202502 w 209047"/>
                  <a:gd name="connsiteY9" fmla="*/ 59153 h 59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047" h="59152">
                    <a:moveTo>
                      <a:pt x="202502" y="59153"/>
                    </a:moveTo>
                    <a:cubicBezTo>
                      <a:pt x="201543" y="59153"/>
                      <a:pt x="200569" y="58942"/>
                      <a:pt x="199648" y="58496"/>
                    </a:cubicBezTo>
                    <a:cubicBezTo>
                      <a:pt x="164731" y="41500"/>
                      <a:pt x="115345" y="18200"/>
                      <a:pt x="104665" y="13530"/>
                    </a:cubicBezTo>
                    <a:cubicBezTo>
                      <a:pt x="94106" y="17940"/>
                      <a:pt x="45470" y="40575"/>
                      <a:pt x="9346" y="57783"/>
                    </a:cubicBezTo>
                    <a:cubicBezTo>
                      <a:pt x="6092" y="59315"/>
                      <a:pt x="2192" y="57956"/>
                      <a:pt x="637" y="54687"/>
                    </a:cubicBezTo>
                    <a:cubicBezTo>
                      <a:pt x="-915" y="51433"/>
                      <a:pt x="467" y="47533"/>
                      <a:pt x="3728" y="45974"/>
                    </a:cubicBezTo>
                    <a:cubicBezTo>
                      <a:pt x="67797" y="15471"/>
                      <a:pt x="101792" y="0"/>
                      <a:pt x="104767" y="0"/>
                    </a:cubicBezTo>
                    <a:cubicBezTo>
                      <a:pt x="109278" y="0"/>
                      <a:pt x="204408" y="46276"/>
                      <a:pt x="205371" y="46740"/>
                    </a:cubicBezTo>
                    <a:cubicBezTo>
                      <a:pt x="208618" y="48322"/>
                      <a:pt x="209965" y="52237"/>
                      <a:pt x="208387" y="55480"/>
                    </a:cubicBezTo>
                    <a:cubicBezTo>
                      <a:pt x="207251" y="57798"/>
                      <a:pt x="204926" y="59153"/>
                      <a:pt x="202502" y="59153"/>
                    </a:cubicBezTo>
                    <a:close/>
                  </a:path>
                </a:pathLst>
              </a:custGeom>
              <a:grpFill/>
              <a:ln w="377" cap="flat">
                <a:noFill/>
                <a:prstDash val="solid"/>
                <a:miter/>
              </a:ln>
            </p:spPr>
            <p:txBody>
              <a:bodyPr rtlCol="0" anchor="ctr"/>
              <a:lstStyle/>
              <a:p>
                <a:endParaRPr lang="en-GB" dirty="0"/>
              </a:p>
            </p:txBody>
          </p:sp>
        </p:grpSp>
        <p:grpSp>
          <p:nvGrpSpPr>
            <p:cNvPr id="219" name="Graphic 4">
              <a:extLst>
                <a:ext uri="{FF2B5EF4-FFF2-40B4-BE49-F238E27FC236}">
                  <a16:creationId xmlns:a16="http://schemas.microsoft.com/office/drawing/2014/main" id="{340CB00C-F3A2-4664-AEAC-9A5494EF5652}"/>
                </a:ext>
              </a:extLst>
            </p:cNvPr>
            <p:cNvGrpSpPr/>
            <p:nvPr/>
          </p:nvGrpSpPr>
          <p:grpSpPr>
            <a:xfrm>
              <a:off x="1748050" y="3319386"/>
              <a:ext cx="183269" cy="183269"/>
              <a:chOff x="986033" y="4232905"/>
              <a:chExt cx="183004" cy="183004"/>
            </a:xfrm>
            <a:solidFill>
              <a:schemeClr val="accent1"/>
            </a:solidFill>
          </p:grpSpPr>
          <p:sp>
            <p:nvSpPr>
              <p:cNvPr id="220" name="Freihandform: Form 1242">
                <a:extLst>
                  <a:ext uri="{FF2B5EF4-FFF2-40B4-BE49-F238E27FC236}">
                    <a16:creationId xmlns:a16="http://schemas.microsoft.com/office/drawing/2014/main" id="{754DC46F-D6E1-4429-A3D1-305B72F41CE2}"/>
                  </a:ext>
                </a:extLst>
              </p:cNvPr>
              <p:cNvSpPr/>
              <p:nvPr/>
            </p:nvSpPr>
            <p:spPr>
              <a:xfrm>
                <a:off x="986033" y="4232905"/>
                <a:ext cx="183004" cy="183004"/>
              </a:xfrm>
              <a:custGeom>
                <a:avLst/>
                <a:gdLst>
                  <a:gd name="connsiteX0" fmla="*/ 91502 w 183004"/>
                  <a:gd name="connsiteY0" fmla="*/ 183005 h 183004"/>
                  <a:gd name="connsiteX1" fmla="*/ 0 w 183004"/>
                  <a:gd name="connsiteY1" fmla="*/ 91502 h 183004"/>
                  <a:gd name="connsiteX2" fmla="*/ 91502 w 183004"/>
                  <a:gd name="connsiteY2" fmla="*/ 0 h 183004"/>
                  <a:gd name="connsiteX3" fmla="*/ 183005 w 183004"/>
                  <a:gd name="connsiteY3" fmla="*/ 91502 h 183004"/>
                  <a:gd name="connsiteX4" fmla="*/ 91502 w 183004"/>
                  <a:gd name="connsiteY4" fmla="*/ 183005 h 183004"/>
                  <a:gd name="connsiteX5" fmla="*/ 91502 w 183004"/>
                  <a:gd name="connsiteY5" fmla="*/ 13069 h 183004"/>
                  <a:gd name="connsiteX6" fmla="*/ 13070 w 183004"/>
                  <a:gd name="connsiteY6" fmla="*/ 91502 h 183004"/>
                  <a:gd name="connsiteX7" fmla="*/ 91502 w 183004"/>
                  <a:gd name="connsiteY7" fmla="*/ 169935 h 183004"/>
                  <a:gd name="connsiteX8" fmla="*/ 169935 w 183004"/>
                  <a:gd name="connsiteY8" fmla="*/ 91502 h 183004"/>
                  <a:gd name="connsiteX9" fmla="*/ 91502 w 183004"/>
                  <a:gd name="connsiteY9" fmla="*/ 13069 h 18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3004" h="183004">
                    <a:moveTo>
                      <a:pt x="91502" y="183005"/>
                    </a:moveTo>
                    <a:cubicBezTo>
                      <a:pt x="41047" y="183005"/>
                      <a:pt x="0" y="141957"/>
                      <a:pt x="0" y="91502"/>
                    </a:cubicBezTo>
                    <a:cubicBezTo>
                      <a:pt x="0" y="41047"/>
                      <a:pt x="41047" y="0"/>
                      <a:pt x="91502" y="0"/>
                    </a:cubicBezTo>
                    <a:cubicBezTo>
                      <a:pt x="141957" y="0"/>
                      <a:pt x="183005" y="41047"/>
                      <a:pt x="183005" y="91502"/>
                    </a:cubicBezTo>
                    <a:cubicBezTo>
                      <a:pt x="183008" y="141957"/>
                      <a:pt x="141957" y="183005"/>
                      <a:pt x="91502" y="183005"/>
                    </a:cubicBezTo>
                    <a:close/>
                    <a:moveTo>
                      <a:pt x="91502" y="13069"/>
                    </a:moveTo>
                    <a:cubicBezTo>
                      <a:pt x="48254" y="13069"/>
                      <a:pt x="13070" y="48250"/>
                      <a:pt x="13070" y="91502"/>
                    </a:cubicBezTo>
                    <a:cubicBezTo>
                      <a:pt x="13070" y="134751"/>
                      <a:pt x="48254" y="169935"/>
                      <a:pt x="91502" y="169935"/>
                    </a:cubicBezTo>
                    <a:cubicBezTo>
                      <a:pt x="134751" y="169935"/>
                      <a:pt x="169935" y="134754"/>
                      <a:pt x="169935" y="91502"/>
                    </a:cubicBezTo>
                    <a:cubicBezTo>
                      <a:pt x="169935" y="48250"/>
                      <a:pt x="134751" y="13069"/>
                      <a:pt x="91502" y="13069"/>
                    </a:cubicBezTo>
                    <a:close/>
                  </a:path>
                </a:pathLst>
              </a:custGeom>
              <a:solidFill>
                <a:schemeClr val="accent1"/>
              </a:solidFill>
              <a:ln w="377" cap="flat">
                <a:noFill/>
                <a:prstDash val="solid"/>
                <a:miter/>
              </a:ln>
            </p:spPr>
            <p:txBody>
              <a:bodyPr rtlCol="0" anchor="ctr"/>
              <a:lstStyle/>
              <a:p>
                <a:endParaRPr lang="en-GB" dirty="0"/>
              </a:p>
            </p:txBody>
          </p:sp>
          <p:sp>
            <p:nvSpPr>
              <p:cNvPr id="221" name="Freihandform: Form 1243">
                <a:extLst>
                  <a:ext uri="{FF2B5EF4-FFF2-40B4-BE49-F238E27FC236}">
                    <a16:creationId xmlns:a16="http://schemas.microsoft.com/office/drawing/2014/main" id="{DDAFC76E-5A7C-4BBA-8A09-945C2795E222}"/>
                  </a:ext>
                </a:extLst>
              </p:cNvPr>
              <p:cNvSpPr/>
              <p:nvPr/>
            </p:nvSpPr>
            <p:spPr>
              <a:xfrm>
                <a:off x="1028813" y="4288812"/>
                <a:ext cx="108506" cy="83286"/>
              </a:xfrm>
              <a:custGeom>
                <a:avLst/>
                <a:gdLst>
                  <a:gd name="connsiteX0" fmla="*/ 49316 w 108506"/>
                  <a:gd name="connsiteY0" fmla="*/ 83287 h 83286"/>
                  <a:gd name="connsiteX1" fmla="*/ 45235 w 108506"/>
                  <a:gd name="connsiteY1" fmla="*/ 81856 h 83286"/>
                  <a:gd name="connsiteX2" fmla="*/ 2455 w 108506"/>
                  <a:gd name="connsiteY2" fmla="*/ 47630 h 83286"/>
                  <a:gd name="connsiteX3" fmla="*/ 16 w 108506"/>
                  <a:gd name="connsiteY3" fmla="*/ 42972 h 83286"/>
                  <a:gd name="connsiteX4" fmla="*/ 1790 w 108506"/>
                  <a:gd name="connsiteY4" fmla="*/ 38030 h 83286"/>
                  <a:gd name="connsiteX5" fmla="*/ 20523 w 108506"/>
                  <a:gd name="connsiteY5" fmla="*/ 18263 h 83286"/>
                  <a:gd name="connsiteX6" fmla="*/ 29285 w 108506"/>
                  <a:gd name="connsiteY6" fmla="*/ 17599 h 83286"/>
                  <a:gd name="connsiteX7" fmla="*/ 47523 w 108506"/>
                  <a:gd name="connsiteY7" fmla="*/ 31820 h 83286"/>
                  <a:gd name="connsiteX8" fmla="*/ 78551 w 108506"/>
                  <a:gd name="connsiteY8" fmla="*/ 1834 h 83286"/>
                  <a:gd name="connsiteX9" fmla="*/ 87713 w 108506"/>
                  <a:gd name="connsiteY9" fmla="*/ 1910 h 83286"/>
                  <a:gd name="connsiteX10" fmla="*/ 106593 w 108506"/>
                  <a:gd name="connsiteY10" fmla="*/ 20789 h 83286"/>
                  <a:gd name="connsiteX11" fmla="*/ 108507 w 108506"/>
                  <a:gd name="connsiteY11" fmla="*/ 25455 h 83286"/>
                  <a:gd name="connsiteX12" fmla="*/ 106536 w 108506"/>
                  <a:gd name="connsiteY12" fmla="*/ 30087 h 83286"/>
                  <a:gd name="connsiteX13" fmla="*/ 53876 w 108506"/>
                  <a:gd name="connsiteY13" fmla="*/ 81430 h 83286"/>
                  <a:gd name="connsiteX14" fmla="*/ 49316 w 108506"/>
                  <a:gd name="connsiteY14" fmla="*/ 83287 h 83286"/>
                  <a:gd name="connsiteX15" fmla="*/ 16170 w 108506"/>
                  <a:gd name="connsiteY15" fmla="*/ 41862 h 83286"/>
                  <a:gd name="connsiteX16" fmla="*/ 48886 w 108506"/>
                  <a:gd name="connsiteY16" fmla="*/ 68039 h 83286"/>
                  <a:gd name="connsiteX17" fmla="*/ 92670 w 108506"/>
                  <a:gd name="connsiteY17" fmla="*/ 25357 h 83286"/>
                  <a:gd name="connsiteX18" fmla="*/ 83013 w 108506"/>
                  <a:gd name="connsiteY18" fmla="*/ 15700 h 83286"/>
                  <a:gd name="connsiteX19" fmla="*/ 52525 w 108506"/>
                  <a:gd name="connsiteY19" fmla="*/ 45161 h 83286"/>
                  <a:gd name="connsiteX20" fmla="*/ 43966 w 108506"/>
                  <a:gd name="connsiteY20" fmla="*/ 45622 h 83286"/>
                  <a:gd name="connsiteX21" fmla="*/ 25933 w 108506"/>
                  <a:gd name="connsiteY21" fmla="*/ 31560 h 83286"/>
                  <a:gd name="connsiteX22" fmla="*/ 16170 w 108506"/>
                  <a:gd name="connsiteY22" fmla="*/ 41862 h 83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506" h="83286">
                    <a:moveTo>
                      <a:pt x="49316" y="83287"/>
                    </a:moveTo>
                    <a:cubicBezTo>
                      <a:pt x="47878" y="83287"/>
                      <a:pt x="46432" y="82815"/>
                      <a:pt x="45235" y="81856"/>
                    </a:cubicBezTo>
                    <a:lnTo>
                      <a:pt x="2455" y="47630"/>
                    </a:lnTo>
                    <a:cubicBezTo>
                      <a:pt x="1024" y="46487"/>
                      <a:pt x="141" y="44795"/>
                      <a:pt x="16" y="42972"/>
                    </a:cubicBezTo>
                    <a:cubicBezTo>
                      <a:pt x="-112" y="41152"/>
                      <a:pt x="533" y="39359"/>
                      <a:pt x="1790" y="38030"/>
                    </a:cubicBezTo>
                    <a:lnTo>
                      <a:pt x="20523" y="18263"/>
                    </a:lnTo>
                    <a:cubicBezTo>
                      <a:pt x="22841" y="15813"/>
                      <a:pt x="26631" y="15530"/>
                      <a:pt x="29285" y="17599"/>
                    </a:cubicBezTo>
                    <a:lnTo>
                      <a:pt x="47523" y="31820"/>
                    </a:lnTo>
                    <a:lnTo>
                      <a:pt x="78551" y="1834"/>
                    </a:lnTo>
                    <a:cubicBezTo>
                      <a:pt x="81118" y="-635"/>
                      <a:pt x="85199" y="-612"/>
                      <a:pt x="87713" y="1910"/>
                    </a:cubicBezTo>
                    <a:lnTo>
                      <a:pt x="106593" y="20789"/>
                    </a:lnTo>
                    <a:cubicBezTo>
                      <a:pt x="107827" y="22027"/>
                      <a:pt x="108518" y="23707"/>
                      <a:pt x="108507" y="25455"/>
                    </a:cubicBezTo>
                    <a:cubicBezTo>
                      <a:pt x="108495" y="27199"/>
                      <a:pt x="107786" y="28872"/>
                      <a:pt x="106536" y="30087"/>
                    </a:cubicBezTo>
                    <a:lnTo>
                      <a:pt x="53876" y="81430"/>
                    </a:lnTo>
                    <a:cubicBezTo>
                      <a:pt x="52615" y="82660"/>
                      <a:pt x="50966" y="83287"/>
                      <a:pt x="49316" y="83287"/>
                    </a:cubicBezTo>
                    <a:close/>
                    <a:moveTo>
                      <a:pt x="16170" y="41862"/>
                    </a:moveTo>
                    <a:lnTo>
                      <a:pt x="48886" y="68039"/>
                    </a:lnTo>
                    <a:lnTo>
                      <a:pt x="92670" y="25357"/>
                    </a:lnTo>
                    <a:lnTo>
                      <a:pt x="83013" y="15700"/>
                    </a:lnTo>
                    <a:lnTo>
                      <a:pt x="52525" y="45161"/>
                    </a:lnTo>
                    <a:cubicBezTo>
                      <a:pt x="50184" y="47427"/>
                      <a:pt x="46534" y="47627"/>
                      <a:pt x="43966" y="45622"/>
                    </a:cubicBezTo>
                    <a:lnTo>
                      <a:pt x="25933" y="31560"/>
                    </a:lnTo>
                    <a:lnTo>
                      <a:pt x="16170" y="41862"/>
                    </a:lnTo>
                    <a:close/>
                  </a:path>
                </a:pathLst>
              </a:custGeom>
              <a:solidFill>
                <a:schemeClr val="accent1"/>
              </a:solidFill>
              <a:ln w="377" cap="flat">
                <a:noFill/>
                <a:prstDash val="solid"/>
                <a:miter/>
              </a:ln>
            </p:spPr>
            <p:txBody>
              <a:bodyPr rtlCol="0" anchor="ctr"/>
              <a:lstStyle/>
              <a:p>
                <a:endParaRPr lang="en-GB" dirty="0"/>
              </a:p>
            </p:txBody>
          </p:sp>
        </p:grpSp>
      </p:grpSp>
      <p:grpSp>
        <p:nvGrpSpPr>
          <p:cNvPr id="41" name="Group 40">
            <a:extLst>
              <a:ext uri="{FF2B5EF4-FFF2-40B4-BE49-F238E27FC236}">
                <a16:creationId xmlns:a16="http://schemas.microsoft.com/office/drawing/2014/main" id="{E913804C-54FA-DCDA-BC0C-DF272A678FF6}"/>
              </a:ext>
            </a:extLst>
          </p:cNvPr>
          <p:cNvGrpSpPr/>
          <p:nvPr/>
        </p:nvGrpSpPr>
        <p:grpSpPr>
          <a:xfrm>
            <a:off x="2650918" y="3249977"/>
            <a:ext cx="468000" cy="326183"/>
            <a:chOff x="2650918" y="3249977"/>
            <a:chExt cx="468000" cy="326183"/>
          </a:xfrm>
        </p:grpSpPr>
        <p:grpSp>
          <p:nvGrpSpPr>
            <p:cNvPr id="225" name="Graphic 4">
              <a:extLst>
                <a:ext uri="{FF2B5EF4-FFF2-40B4-BE49-F238E27FC236}">
                  <a16:creationId xmlns:a16="http://schemas.microsoft.com/office/drawing/2014/main" id="{66B3CC5B-4BC6-40EC-8B2E-32C7F6F39F53}"/>
                </a:ext>
              </a:extLst>
            </p:cNvPr>
            <p:cNvGrpSpPr/>
            <p:nvPr/>
          </p:nvGrpSpPr>
          <p:grpSpPr>
            <a:xfrm>
              <a:off x="2686374" y="3342305"/>
              <a:ext cx="163556" cy="191308"/>
              <a:chOff x="2554846" y="4267757"/>
              <a:chExt cx="150757" cy="176337"/>
            </a:xfrm>
            <a:solidFill>
              <a:schemeClr val="accent1"/>
            </a:solidFill>
          </p:grpSpPr>
          <p:sp>
            <p:nvSpPr>
              <p:cNvPr id="233" name="Freihandform: Form 1053">
                <a:extLst>
                  <a:ext uri="{FF2B5EF4-FFF2-40B4-BE49-F238E27FC236}">
                    <a16:creationId xmlns:a16="http://schemas.microsoft.com/office/drawing/2014/main" id="{A852166F-84D7-4E04-B28D-A65FE95CE599}"/>
                  </a:ext>
                </a:extLst>
              </p:cNvPr>
              <p:cNvSpPr/>
              <p:nvPr/>
            </p:nvSpPr>
            <p:spPr>
              <a:xfrm>
                <a:off x="2554846" y="4379393"/>
                <a:ext cx="150757" cy="64702"/>
              </a:xfrm>
              <a:custGeom>
                <a:avLst/>
                <a:gdLst>
                  <a:gd name="connsiteX0" fmla="*/ 144219 w 150757"/>
                  <a:gd name="connsiteY0" fmla="*/ 64703 h 64702"/>
                  <a:gd name="connsiteX1" fmla="*/ 6535 w 150757"/>
                  <a:gd name="connsiteY1" fmla="*/ 64703 h 64702"/>
                  <a:gd name="connsiteX2" fmla="*/ 0 w 150757"/>
                  <a:gd name="connsiteY2" fmla="*/ 58168 h 64702"/>
                  <a:gd name="connsiteX3" fmla="*/ 58168 w 150757"/>
                  <a:gd name="connsiteY3" fmla="*/ 0 h 64702"/>
                  <a:gd name="connsiteX4" fmla="*/ 92590 w 150757"/>
                  <a:gd name="connsiteY4" fmla="*/ 0 h 64702"/>
                  <a:gd name="connsiteX5" fmla="*/ 150757 w 150757"/>
                  <a:gd name="connsiteY5" fmla="*/ 58168 h 64702"/>
                  <a:gd name="connsiteX6" fmla="*/ 144219 w 150757"/>
                  <a:gd name="connsiteY6" fmla="*/ 64703 h 64702"/>
                  <a:gd name="connsiteX7" fmla="*/ 13542 w 150757"/>
                  <a:gd name="connsiteY7" fmla="*/ 51629 h 64702"/>
                  <a:gd name="connsiteX8" fmla="*/ 137208 w 150757"/>
                  <a:gd name="connsiteY8" fmla="*/ 51629 h 64702"/>
                  <a:gd name="connsiteX9" fmla="*/ 92586 w 150757"/>
                  <a:gd name="connsiteY9" fmla="*/ 13070 h 64702"/>
                  <a:gd name="connsiteX10" fmla="*/ 58164 w 150757"/>
                  <a:gd name="connsiteY10" fmla="*/ 13070 h 64702"/>
                  <a:gd name="connsiteX11" fmla="*/ 13542 w 150757"/>
                  <a:gd name="connsiteY11" fmla="*/ 51629 h 64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0757" h="64702">
                    <a:moveTo>
                      <a:pt x="144219" y="64703"/>
                    </a:moveTo>
                    <a:lnTo>
                      <a:pt x="6535" y="64703"/>
                    </a:lnTo>
                    <a:cubicBezTo>
                      <a:pt x="2922" y="64703"/>
                      <a:pt x="0" y="61780"/>
                      <a:pt x="0" y="58168"/>
                    </a:cubicBezTo>
                    <a:cubicBezTo>
                      <a:pt x="0" y="26094"/>
                      <a:pt x="26094" y="0"/>
                      <a:pt x="58168" y="0"/>
                    </a:cubicBezTo>
                    <a:lnTo>
                      <a:pt x="92590" y="0"/>
                    </a:lnTo>
                    <a:cubicBezTo>
                      <a:pt x="124663" y="0"/>
                      <a:pt x="150757" y="26094"/>
                      <a:pt x="150757" y="58168"/>
                    </a:cubicBezTo>
                    <a:cubicBezTo>
                      <a:pt x="150754" y="61780"/>
                      <a:pt x="147832" y="64703"/>
                      <a:pt x="144219" y="64703"/>
                    </a:cubicBezTo>
                    <a:close/>
                    <a:moveTo>
                      <a:pt x="13542" y="51629"/>
                    </a:moveTo>
                    <a:lnTo>
                      <a:pt x="137208" y="51629"/>
                    </a:lnTo>
                    <a:cubicBezTo>
                      <a:pt x="134037" y="29850"/>
                      <a:pt x="115233" y="13070"/>
                      <a:pt x="92586" y="13070"/>
                    </a:cubicBezTo>
                    <a:lnTo>
                      <a:pt x="58164" y="13070"/>
                    </a:lnTo>
                    <a:cubicBezTo>
                      <a:pt x="35517" y="13073"/>
                      <a:pt x="16717" y="29854"/>
                      <a:pt x="13542" y="51629"/>
                    </a:cubicBezTo>
                    <a:close/>
                  </a:path>
                </a:pathLst>
              </a:custGeom>
              <a:solidFill>
                <a:schemeClr val="accent1"/>
              </a:solidFill>
              <a:ln w="377" cap="flat">
                <a:noFill/>
                <a:prstDash val="solid"/>
                <a:miter/>
              </a:ln>
            </p:spPr>
            <p:txBody>
              <a:bodyPr rtlCol="0" anchor="ctr"/>
              <a:lstStyle/>
              <a:p>
                <a:endParaRPr lang="en-GB" dirty="0"/>
              </a:p>
            </p:txBody>
          </p:sp>
          <p:sp>
            <p:nvSpPr>
              <p:cNvPr id="234" name="Freihandform: Form 1054">
                <a:extLst>
                  <a:ext uri="{FF2B5EF4-FFF2-40B4-BE49-F238E27FC236}">
                    <a16:creationId xmlns:a16="http://schemas.microsoft.com/office/drawing/2014/main" id="{CE0E8746-BAD6-4F27-87AB-0E5CD7E47224}"/>
                  </a:ext>
                </a:extLst>
              </p:cNvPr>
              <p:cNvSpPr/>
              <p:nvPr/>
            </p:nvSpPr>
            <p:spPr>
              <a:xfrm>
                <a:off x="2589265" y="4267757"/>
                <a:ext cx="81909" cy="93386"/>
              </a:xfrm>
              <a:custGeom>
                <a:avLst/>
                <a:gdLst>
                  <a:gd name="connsiteX0" fmla="*/ 40953 w 81909"/>
                  <a:gd name="connsiteY0" fmla="*/ 93386 h 93386"/>
                  <a:gd name="connsiteX1" fmla="*/ 0 w 81909"/>
                  <a:gd name="connsiteY1" fmla="*/ 46695 h 93386"/>
                  <a:gd name="connsiteX2" fmla="*/ 40953 w 81909"/>
                  <a:gd name="connsiteY2" fmla="*/ 0 h 93386"/>
                  <a:gd name="connsiteX3" fmla="*/ 81910 w 81909"/>
                  <a:gd name="connsiteY3" fmla="*/ 46695 h 93386"/>
                  <a:gd name="connsiteX4" fmla="*/ 40953 w 81909"/>
                  <a:gd name="connsiteY4" fmla="*/ 93386 h 93386"/>
                  <a:gd name="connsiteX5" fmla="*/ 40953 w 81909"/>
                  <a:gd name="connsiteY5" fmla="*/ 13073 h 93386"/>
                  <a:gd name="connsiteX6" fmla="*/ 13073 w 81909"/>
                  <a:gd name="connsiteY6" fmla="*/ 46699 h 93386"/>
                  <a:gd name="connsiteX7" fmla="*/ 40953 w 81909"/>
                  <a:gd name="connsiteY7" fmla="*/ 80317 h 93386"/>
                  <a:gd name="connsiteX8" fmla="*/ 68840 w 81909"/>
                  <a:gd name="connsiteY8" fmla="*/ 46699 h 93386"/>
                  <a:gd name="connsiteX9" fmla="*/ 40953 w 81909"/>
                  <a:gd name="connsiteY9" fmla="*/ 13073 h 93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909" h="93386">
                    <a:moveTo>
                      <a:pt x="40953" y="93386"/>
                    </a:moveTo>
                    <a:cubicBezTo>
                      <a:pt x="16837" y="93386"/>
                      <a:pt x="0" y="74186"/>
                      <a:pt x="0" y="46695"/>
                    </a:cubicBezTo>
                    <a:cubicBezTo>
                      <a:pt x="0" y="19197"/>
                      <a:pt x="16837" y="0"/>
                      <a:pt x="40953" y="0"/>
                    </a:cubicBezTo>
                    <a:cubicBezTo>
                      <a:pt x="65069" y="0"/>
                      <a:pt x="81910" y="19200"/>
                      <a:pt x="81910" y="46695"/>
                    </a:cubicBezTo>
                    <a:cubicBezTo>
                      <a:pt x="81913" y="74189"/>
                      <a:pt x="65069" y="93386"/>
                      <a:pt x="40953" y="93386"/>
                    </a:cubicBezTo>
                    <a:close/>
                    <a:moveTo>
                      <a:pt x="40953" y="13073"/>
                    </a:moveTo>
                    <a:cubicBezTo>
                      <a:pt x="20374" y="13073"/>
                      <a:pt x="13073" y="31187"/>
                      <a:pt x="13073" y="46699"/>
                    </a:cubicBezTo>
                    <a:cubicBezTo>
                      <a:pt x="13073" y="62211"/>
                      <a:pt x="20374" y="80317"/>
                      <a:pt x="40953" y="80317"/>
                    </a:cubicBezTo>
                    <a:cubicBezTo>
                      <a:pt x="61539" y="80317"/>
                      <a:pt x="68840" y="62207"/>
                      <a:pt x="68840" y="46699"/>
                    </a:cubicBezTo>
                    <a:cubicBezTo>
                      <a:pt x="68840" y="31190"/>
                      <a:pt x="61539" y="13073"/>
                      <a:pt x="40953" y="13073"/>
                    </a:cubicBezTo>
                    <a:close/>
                  </a:path>
                </a:pathLst>
              </a:custGeom>
              <a:solidFill>
                <a:schemeClr val="accent1"/>
              </a:solidFill>
              <a:ln w="377" cap="flat">
                <a:noFill/>
                <a:prstDash val="solid"/>
                <a:miter/>
              </a:ln>
            </p:spPr>
            <p:txBody>
              <a:bodyPr rtlCol="0" anchor="ctr"/>
              <a:lstStyle/>
              <a:p>
                <a:endParaRPr lang="en-GB" dirty="0"/>
              </a:p>
            </p:txBody>
          </p:sp>
        </p:grpSp>
        <p:grpSp>
          <p:nvGrpSpPr>
            <p:cNvPr id="226" name="Graphic 4">
              <a:extLst>
                <a:ext uri="{FF2B5EF4-FFF2-40B4-BE49-F238E27FC236}">
                  <a16:creationId xmlns:a16="http://schemas.microsoft.com/office/drawing/2014/main" id="{80EA8DD5-20ED-4E3B-85BD-810D4CD76551}"/>
                </a:ext>
              </a:extLst>
            </p:cNvPr>
            <p:cNvGrpSpPr/>
            <p:nvPr/>
          </p:nvGrpSpPr>
          <p:grpSpPr>
            <a:xfrm>
              <a:off x="2884916" y="3384709"/>
              <a:ext cx="184363" cy="127633"/>
              <a:chOff x="2737851" y="4306842"/>
              <a:chExt cx="169935" cy="117645"/>
            </a:xfrm>
            <a:solidFill>
              <a:schemeClr val="accent1"/>
            </a:solidFill>
          </p:grpSpPr>
          <p:sp>
            <p:nvSpPr>
              <p:cNvPr id="230" name="Freihandform: Form 1050">
                <a:extLst>
                  <a:ext uri="{FF2B5EF4-FFF2-40B4-BE49-F238E27FC236}">
                    <a16:creationId xmlns:a16="http://schemas.microsoft.com/office/drawing/2014/main" id="{2EA369E4-2ED2-4A98-97A2-E019B6F87E31}"/>
                  </a:ext>
                </a:extLst>
              </p:cNvPr>
              <p:cNvSpPr/>
              <p:nvPr/>
            </p:nvSpPr>
            <p:spPr>
              <a:xfrm>
                <a:off x="2737851" y="4359131"/>
                <a:ext cx="169935" cy="13069"/>
              </a:xfrm>
              <a:custGeom>
                <a:avLst/>
                <a:gdLst>
                  <a:gd name="connsiteX0" fmla="*/ 163400 w 169935"/>
                  <a:gd name="connsiteY0" fmla="*/ 13070 h 13069"/>
                  <a:gd name="connsiteX1" fmla="*/ 6535 w 169935"/>
                  <a:gd name="connsiteY1" fmla="*/ 13070 h 13069"/>
                  <a:gd name="connsiteX2" fmla="*/ 0 w 169935"/>
                  <a:gd name="connsiteY2" fmla="*/ 6535 h 13069"/>
                  <a:gd name="connsiteX3" fmla="*/ 6535 w 169935"/>
                  <a:gd name="connsiteY3" fmla="*/ 0 h 13069"/>
                  <a:gd name="connsiteX4" fmla="*/ 163400 w 169935"/>
                  <a:gd name="connsiteY4" fmla="*/ 0 h 13069"/>
                  <a:gd name="connsiteX5" fmla="*/ 169935 w 169935"/>
                  <a:gd name="connsiteY5" fmla="*/ 6535 h 13069"/>
                  <a:gd name="connsiteX6" fmla="*/ 163400 w 169935"/>
                  <a:gd name="connsiteY6" fmla="*/ 13070 h 1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935" h="13069">
                    <a:moveTo>
                      <a:pt x="163400" y="13070"/>
                    </a:moveTo>
                    <a:lnTo>
                      <a:pt x="6535" y="13070"/>
                    </a:lnTo>
                    <a:cubicBezTo>
                      <a:pt x="2922" y="13070"/>
                      <a:pt x="0" y="10148"/>
                      <a:pt x="0" y="6535"/>
                    </a:cubicBezTo>
                    <a:cubicBezTo>
                      <a:pt x="0" y="2922"/>
                      <a:pt x="2922" y="0"/>
                      <a:pt x="6535" y="0"/>
                    </a:cubicBezTo>
                    <a:lnTo>
                      <a:pt x="163400" y="0"/>
                    </a:lnTo>
                    <a:cubicBezTo>
                      <a:pt x="167013" y="0"/>
                      <a:pt x="169935" y="2922"/>
                      <a:pt x="169935" y="6535"/>
                    </a:cubicBezTo>
                    <a:cubicBezTo>
                      <a:pt x="169935" y="10144"/>
                      <a:pt x="167013" y="13070"/>
                      <a:pt x="163400" y="13070"/>
                    </a:cubicBezTo>
                    <a:close/>
                  </a:path>
                </a:pathLst>
              </a:custGeom>
              <a:solidFill>
                <a:schemeClr val="accent1"/>
              </a:solidFill>
              <a:ln w="377" cap="flat">
                <a:noFill/>
                <a:prstDash val="solid"/>
                <a:miter/>
              </a:ln>
            </p:spPr>
            <p:txBody>
              <a:bodyPr rtlCol="0" anchor="ctr"/>
              <a:lstStyle/>
              <a:p>
                <a:endParaRPr lang="en-GB" dirty="0"/>
              </a:p>
            </p:txBody>
          </p:sp>
          <p:sp>
            <p:nvSpPr>
              <p:cNvPr id="231" name="Freihandform: Form 1051">
                <a:extLst>
                  <a:ext uri="{FF2B5EF4-FFF2-40B4-BE49-F238E27FC236}">
                    <a16:creationId xmlns:a16="http://schemas.microsoft.com/office/drawing/2014/main" id="{469EA7F4-35E8-4B9C-9B96-B2D78413B5F7}"/>
                  </a:ext>
                </a:extLst>
              </p:cNvPr>
              <p:cNvSpPr/>
              <p:nvPr/>
            </p:nvSpPr>
            <p:spPr>
              <a:xfrm>
                <a:off x="2737851" y="4411417"/>
                <a:ext cx="169935" cy="13069"/>
              </a:xfrm>
              <a:custGeom>
                <a:avLst/>
                <a:gdLst>
                  <a:gd name="connsiteX0" fmla="*/ 163400 w 169935"/>
                  <a:gd name="connsiteY0" fmla="*/ 13070 h 13069"/>
                  <a:gd name="connsiteX1" fmla="*/ 6535 w 169935"/>
                  <a:gd name="connsiteY1" fmla="*/ 13070 h 13069"/>
                  <a:gd name="connsiteX2" fmla="*/ 0 w 169935"/>
                  <a:gd name="connsiteY2" fmla="*/ 6535 h 13069"/>
                  <a:gd name="connsiteX3" fmla="*/ 6535 w 169935"/>
                  <a:gd name="connsiteY3" fmla="*/ 0 h 13069"/>
                  <a:gd name="connsiteX4" fmla="*/ 163400 w 169935"/>
                  <a:gd name="connsiteY4" fmla="*/ 0 h 13069"/>
                  <a:gd name="connsiteX5" fmla="*/ 169935 w 169935"/>
                  <a:gd name="connsiteY5" fmla="*/ 6535 h 13069"/>
                  <a:gd name="connsiteX6" fmla="*/ 163400 w 169935"/>
                  <a:gd name="connsiteY6" fmla="*/ 13070 h 1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9935" h="13069">
                    <a:moveTo>
                      <a:pt x="163400" y="13070"/>
                    </a:moveTo>
                    <a:lnTo>
                      <a:pt x="6535" y="13070"/>
                    </a:lnTo>
                    <a:cubicBezTo>
                      <a:pt x="2922" y="13070"/>
                      <a:pt x="0" y="10148"/>
                      <a:pt x="0" y="6535"/>
                    </a:cubicBezTo>
                    <a:cubicBezTo>
                      <a:pt x="0" y="2922"/>
                      <a:pt x="2922" y="0"/>
                      <a:pt x="6535" y="0"/>
                    </a:cubicBezTo>
                    <a:lnTo>
                      <a:pt x="163400" y="0"/>
                    </a:lnTo>
                    <a:cubicBezTo>
                      <a:pt x="167013" y="0"/>
                      <a:pt x="169935" y="2922"/>
                      <a:pt x="169935" y="6535"/>
                    </a:cubicBezTo>
                    <a:cubicBezTo>
                      <a:pt x="169935" y="10148"/>
                      <a:pt x="167013" y="13070"/>
                      <a:pt x="163400" y="13070"/>
                    </a:cubicBezTo>
                    <a:close/>
                  </a:path>
                </a:pathLst>
              </a:custGeom>
              <a:solidFill>
                <a:schemeClr val="accent1"/>
              </a:solidFill>
              <a:ln w="377" cap="flat">
                <a:noFill/>
                <a:prstDash val="solid"/>
                <a:miter/>
              </a:ln>
            </p:spPr>
            <p:txBody>
              <a:bodyPr rtlCol="0" anchor="ctr"/>
              <a:lstStyle/>
              <a:p>
                <a:endParaRPr lang="en-GB" dirty="0"/>
              </a:p>
            </p:txBody>
          </p:sp>
          <p:sp>
            <p:nvSpPr>
              <p:cNvPr id="232" name="Freihandform: Form 1052">
                <a:extLst>
                  <a:ext uri="{FF2B5EF4-FFF2-40B4-BE49-F238E27FC236}">
                    <a16:creationId xmlns:a16="http://schemas.microsoft.com/office/drawing/2014/main" id="{366FCFD4-09B8-4D8B-AB36-E54131D50E7A}"/>
                  </a:ext>
                </a:extLst>
              </p:cNvPr>
              <p:cNvSpPr/>
              <p:nvPr/>
            </p:nvSpPr>
            <p:spPr>
              <a:xfrm>
                <a:off x="2777067" y="4306842"/>
                <a:ext cx="91502" cy="13069"/>
              </a:xfrm>
              <a:custGeom>
                <a:avLst/>
                <a:gdLst>
                  <a:gd name="connsiteX0" fmla="*/ 84967 w 91502"/>
                  <a:gd name="connsiteY0" fmla="*/ 13070 h 13069"/>
                  <a:gd name="connsiteX1" fmla="*/ 6535 w 91502"/>
                  <a:gd name="connsiteY1" fmla="*/ 13070 h 13069"/>
                  <a:gd name="connsiteX2" fmla="*/ 0 w 91502"/>
                  <a:gd name="connsiteY2" fmla="*/ 6535 h 13069"/>
                  <a:gd name="connsiteX3" fmla="*/ 6535 w 91502"/>
                  <a:gd name="connsiteY3" fmla="*/ 0 h 13069"/>
                  <a:gd name="connsiteX4" fmla="*/ 84967 w 91502"/>
                  <a:gd name="connsiteY4" fmla="*/ 0 h 13069"/>
                  <a:gd name="connsiteX5" fmla="*/ 91502 w 91502"/>
                  <a:gd name="connsiteY5" fmla="*/ 6535 h 13069"/>
                  <a:gd name="connsiteX6" fmla="*/ 84967 w 91502"/>
                  <a:gd name="connsiteY6" fmla="*/ 13070 h 1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502" h="13069">
                    <a:moveTo>
                      <a:pt x="84967" y="13070"/>
                    </a:moveTo>
                    <a:lnTo>
                      <a:pt x="6535" y="13070"/>
                    </a:lnTo>
                    <a:cubicBezTo>
                      <a:pt x="2922" y="13070"/>
                      <a:pt x="0" y="10148"/>
                      <a:pt x="0" y="6535"/>
                    </a:cubicBezTo>
                    <a:cubicBezTo>
                      <a:pt x="0" y="2922"/>
                      <a:pt x="2922" y="0"/>
                      <a:pt x="6535" y="0"/>
                    </a:cubicBezTo>
                    <a:lnTo>
                      <a:pt x="84967" y="0"/>
                    </a:lnTo>
                    <a:cubicBezTo>
                      <a:pt x="88580" y="0"/>
                      <a:pt x="91502" y="2922"/>
                      <a:pt x="91502" y="6535"/>
                    </a:cubicBezTo>
                    <a:cubicBezTo>
                      <a:pt x="91502" y="10148"/>
                      <a:pt x="88580" y="13070"/>
                      <a:pt x="84967" y="13070"/>
                    </a:cubicBezTo>
                    <a:close/>
                  </a:path>
                </a:pathLst>
              </a:custGeom>
              <a:solidFill>
                <a:schemeClr val="accent1"/>
              </a:solidFill>
              <a:ln w="377" cap="flat">
                <a:noFill/>
                <a:prstDash val="solid"/>
                <a:miter/>
              </a:ln>
            </p:spPr>
            <p:txBody>
              <a:bodyPr rtlCol="0" anchor="ctr"/>
              <a:lstStyle/>
              <a:p>
                <a:endParaRPr lang="en-GB" dirty="0"/>
              </a:p>
            </p:txBody>
          </p:sp>
        </p:grpSp>
        <p:grpSp>
          <p:nvGrpSpPr>
            <p:cNvPr id="227" name="Gruppieren 1047">
              <a:extLst>
                <a:ext uri="{FF2B5EF4-FFF2-40B4-BE49-F238E27FC236}">
                  <a16:creationId xmlns:a16="http://schemas.microsoft.com/office/drawing/2014/main" id="{EFA42453-20AF-417E-BCCF-A41FB8178C59}"/>
                </a:ext>
              </a:extLst>
            </p:cNvPr>
            <p:cNvGrpSpPr/>
            <p:nvPr/>
          </p:nvGrpSpPr>
          <p:grpSpPr>
            <a:xfrm>
              <a:off x="2650918" y="3249977"/>
              <a:ext cx="468000" cy="326183"/>
              <a:chOff x="2522165" y="4182654"/>
              <a:chExt cx="431376" cy="300657"/>
            </a:xfrm>
            <a:solidFill>
              <a:schemeClr val="tx2"/>
            </a:solidFill>
          </p:grpSpPr>
          <p:sp>
            <p:nvSpPr>
              <p:cNvPr id="228" name="Freihandform: Form 1048">
                <a:extLst>
                  <a:ext uri="{FF2B5EF4-FFF2-40B4-BE49-F238E27FC236}">
                    <a16:creationId xmlns:a16="http://schemas.microsoft.com/office/drawing/2014/main" id="{D6C6CF65-C1C8-456B-9E28-F940E9DCCFB0}"/>
                  </a:ext>
                </a:extLst>
              </p:cNvPr>
              <p:cNvSpPr/>
              <p:nvPr/>
            </p:nvSpPr>
            <p:spPr>
              <a:xfrm>
                <a:off x="2522165" y="4182654"/>
                <a:ext cx="431376" cy="300657"/>
              </a:xfrm>
              <a:custGeom>
                <a:avLst/>
                <a:gdLst>
                  <a:gd name="connsiteX0" fmla="*/ 411768 w 431376"/>
                  <a:gd name="connsiteY0" fmla="*/ 300658 h 300657"/>
                  <a:gd name="connsiteX1" fmla="*/ 19608 w 431376"/>
                  <a:gd name="connsiteY1" fmla="*/ 300658 h 300657"/>
                  <a:gd name="connsiteX2" fmla="*/ 0 w 431376"/>
                  <a:gd name="connsiteY2" fmla="*/ 281049 h 300657"/>
                  <a:gd name="connsiteX3" fmla="*/ 0 w 431376"/>
                  <a:gd name="connsiteY3" fmla="*/ 19608 h 300657"/>
                  <a:gd name="connsiteX4" fmla="*/ 19608 w 431376"/>
                  <a:gd name="connsiteY4" fmla="*/ 0 h 300657"/>
                  <a:gd name="connsiteX5" fmla="*/ 411768 w 431376"/>
                  <a:gd name="connsiteY5" fmla="*/ 0 h 300657"/>
                  <a:gd name="connsiteX6" fmla="*/ 431376 w 431376"/>
                  <a:gd name="connsiteY6" fmla="*/ 19608 h 300657"/>
                  <a:gd name="connsiteX7" fmla="*/ 431376 w 431376"/>
                  <a:gd name="connsiteY7" fmla="*/ 281049 h 300657"/>
                  <a:gd name="connsiteX8" fmla="*/ 411768 w 431376"/>
                  <a:gd name="connsiteY8" fmla="*/ 300658 h 300657"/>
                  <a:gd name="connsiteX9" fmla="*/ 19608 w 431376"/>
                  <a:gd name="connsiteY9" fmla="*/ 13074 h 300657"/>
                  <a:gd name="connsiteX10" fmla="*/ 13073 w 431376"/>
                  <a:gd name="connsiteY10" fmla="*/ 19608 h 300657"/>
                  <a:gd name="connsiteX11" fmla="*/ 13073 w 431376"/>
                  <a:gd name="connsiteY11" fmla="*/ 281049 h 300657"/>
                  <a:gd name="connsiteX12" fmla="*/ 19608 w 431376"/>
                  <a:gd name="connsiteY12" fmla="*/ 287584 h 300657"/>
                  <a:gd name="connsiteX13" fmla="*/ 411768 w 431376"/>
                  <a:gd name="connsiteY13" fmla="*/ 287584 h 300657"/>
                  <a:gd name="connsiteX14" fmla="*/ 418303 w 431376"/>
                  <a:gd name="connsiteY14" fmla="*/ 281049 h 300657"/>
                  <a:gd name="connsiteX15" fmla="*/ 418303 w 431376"/>
                  <a:gd name="connsiteY15" fmla="*/ 19608 h 300657"/>
                  <a:gd name="connsiteX16" fmla="*/ 411768 w 431376"/>
                  <a:gd name="connsiteY16" fmla="*/ 13074 h 300657"/>
                  <a:gd name="connsiteX17" fmla="*/ 19608 w 431376"/>
                  <a:gd name="connsiteY17" fmla="*/ 13074 h 300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1376" h="300657">
                    <a:moveTo>
                      <a:pt x="411768" y="300658"/>
                    </a:moveTo>
                    <a:lnTo>
                      <a:pt x="19608" y="300658"/>
                    </a:lnTo>
                    <a:cubicBezTo>
                      <a:pt x="8796" y="300658"/>
                      <a:pt x="0" y="291862"/>
                      <a:pt x="0" y="281049"/>
                    </a:cubicBezTo>
                    <a:lnTo>
                      <a:pt x="0" y="19608"/>
                    </a:lnTo>
                    <a:cubicBezTo>
                      <a:pt x="0" y="8796"/>
                      <a:pt x="8796" y="0"/>
                      <a:pt x="19608" y="0"/>
                    </a:cubicBezTo>
                    <a:lnTo>
                      <a:pt x="411768" y="0"/>
                    </a:lnTo>
                    <a:cubicBezTo>
                      <a:pt x="422580" y="0"/>
                      <a:pt x="431376" y="8796"/>
                      <a:pt x="431376" y="19608"/>
                    </a:cubicBezTo>
                    <a:lnTo>
                      <a:pt x="431376" y="281049"/>
                    </a:lnTo>
                    <a:cubicBezTo>
                      <a:pt x="431376" y="291862"/>
                      <a:pt x="422580" y="300658"/>
                      <a:pt x="411768" y="300658"/>
                    </a:cubicBezTo>
                    <a:close/>
                    <a:moveTo>
                      <a:pt x="19608" y="13074"/>
                    </a:moveTo>
                    <a:cubicBezTo>
                      <a:pt x="16003" y="13074"/>
                      <a:pt x="13073" y="16003"/>
                      <a:pt x="13073" y="19608"/>
                    </a:cubicBezTo>
                    <a:lnTo>
                      <a:pt x="13073" y="281049"/>
                    </a:lnTo>
                    <a:cubicBezTo>
                      <a:pt x="13073" y="284655"/>
                      <a:pt x="16003" y="287584"/>
                      <a:pt x="19608" y="287584"/>
                    </a:cubicBezTo>
                    <a:lnTo>
                      <a:pt x="411768" y="287584"/>
                    </a:lnTo>
                    <a:cubicBezTo>
                      <a:pt x="415373" y="287584"/>
                      <a:pt x="418303" y="284655"/>
                      <a:pt x="418303" y="281049"/>
                    </a:cubicBezTo>
                    <a:lnTo>
                      <a:pt x="418303" y="19608"/>
                    </a:lnTo>
                    <a:cubicBezTo>
                      <a:pt x="418303" y="16003"/>
                      <a:pt x="415373" y="13074"/>
                      <a:pt x="411768" y="13074"/>
                    </a:cubicBezTo>
                    <a:lnTo>
                      <a:pt x="19608" y="13074"/>
                    </a:lnTo>
                    <a:close/>
                  </a:path>
                </a:pathLst>
              </a:custGeom>
              <a:grpFill/>
              <a:ln w="377" cap="flat">
                <a:noFill/>
                <a:prstDash val="solid"/>
                <a:miter/>
              </a:ln>
            </p:spPr>
            <p:txBody>
              <a:bodyPr rtlCol="0" anchor="ctr"/>
              <a:lstStyle/>
              <a:p>
                <a:endParaRPr lang="en-GB" dirty="0"/>
              </a:p>
            </p:txBody>
          </p:sp>
          <p:sp>
            <p:nvSpPr>
              <p:cNvPr id="229" name="Freihandform: Form 1049">
                <a:extLst>
                  <a:ext uri="{FF2B5EF4-FFF2-40B4-BE49-F238E27FC236}">
                    <a16:creationId xmlns:a16="http://schemas.microsoft.com/office/drawing/2014/main" id="{D4F4621B-A8F8-4FA4-9889-EF1B76E29983}"/>
                  </a:ext>
                </a:extLst>
              </p:cNvPr>
              <p:cNvSpPr/>
              <p:nvPr/>
            </p:nvSpPr>
            <p:spPr>
              <a:xfrm>
                <a:off x="2522165" y="4221874"/>
                <a:ext cx="431372" cy="13069"/>
              </a:xfrm>
              <a:custGeom>
                <a:avLst/>
                <a:gdLst>
                  <a:gd name="connsiteX0" fmla="*/ 424838 w 431372"/>
                  <a:gd name="connsiteY0" fmla="*/ 13070 h 13069"/>
                  <a:gd name="connsiteX1" fmla="*/ 6535 w 431372"/>
                  <a:gd name="connsiteY1" fmla="*/ 13070 h 13069"/>
                  <a:gd name="connsiteX2" fmla="*/ 0 w 431372"/>
                  <a:gd name="connsiteY2" fmla="*/ 6535 h 13069"/>
                  <a:gd name="connsiteX3" fmla="*/ 6535 w 431372"/>
                  <a:gd name="connsiteY3" fmla="*/ 0 h 13069"/>
                  <a:gd name="connsiteX4" fmla="*/ 424838 w 431372"/>
                  <a:gd name="connsiteY4" fmla="*/ 0 h 13069"/>
                  <a:gd name="connsiteX5" fmla="*/ 431373 w 431372"/>
                  <a:gd name="connsiteY5" fmla="*/ 6535 h 13069"/>
                  <a:gd name="connsiteX6" fmla="*/ 424838 w 431372"/>
                  <a:gd name="connsiteY6" fmla="*/ 13070 h 1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372" h="13069">
                    <a:moveTo>
                      <a:pt x="424838" y="13070"/>
                    </a:moveTo>
                    <a:lnTo>
                      <a:pt x="6535" y="13070"/>
                    </a:lnTo>
                    <a:cubicBezTo>
                      <a:pt x="2922" y="13070"/>
                      <a:pt x="0" y="10148"/>
                      <a:pt x="0" y="6535"/>
                    </a:cubicBezTo>
                    <a:cubicBezTo>
                      <a:pt x="0" y="2922"/>
                      <a:pt x="2922" y="0"/>
                      <a:pt x="6535" y="0"/>
                    </a:cubicBezTo>
                    <a:lnTo>
                      <a:pt x="424838" y="0"/>
                    </a:lnTo>
                    <a:cubicBezTo>
                      <a:pt x="428450" y="0"/>
                      <a:pt x="431373" y="2922"/>
                      <a:pt x="431373" y="6535"/>
                    </a:cubicBezTo>
                    <a:cubicBezTo>
                      <a:pt x="431376" y="10148"/>
                      <a:pt x="428450" y="13070"/>
                      <a:pt x="424838" y="13070"/>
                    </a:cubicBezTo>
                    <a:close/>
                  </a:path>
                </a:pathLst>
              </a:custGeom>
              <a:grpFill/>
              <a:ln w="377" cap="flat">
                <a:noFill/>
                <a:prstDash val="solid"/>
                <a:miter/>
              </a:ln>
            </p:spPr>
            <p:txBody>
              <a:bodyPr rtlCol="0" anchor="ctr"/>
              <a:lstStyle/>
              <a:p>
                <a:endParaRPr lang="en-GB" dirty="0"/>
              </a:p>
            </p:txBody>
          </p:sp>
        </p:grpSp>
      </p:grpSp>
      <p:grpSp>
        <p:nvGrpSpPr>
          <p:cNvPr id="40" name="Group 39">
            <a:extLst>
              <a:ext uri="{FF2B5EF4-FFF2-40B4-BE49-F238E27FC236}">
                <a16:creationId xmlns:a16="http://schemas.microsoft.com/office/drawing/2014/main" id="{03C43186-4447-0360-48C5-42BA5BAFF5F4}"/>
              </a:ext>
            </a:extLst>
          </p:cNvPr>
          <p:cNvGrpSpPr/>
          <p:nvPr/>
        </p:nvGrpSpPr>
        <p:grpSpPr>
          <a:xfrm>
            <a:off x="3725348" y="3197068"/>
            <a:ext cx="464008" cy="432000"/>
            <a:chOff x="3725348" y="3197068"/>
            <a:chExt cx="464008" cy="432000"/>
          </a:xfrm>
        </p:grpSpPr>
        <p:grpSp>
          <p:nvGrpSpPr>
            <p:cNvPr id="236" name="Gruppieren 1278">
              <a:extLst>
                <a:ext uri="{FF2B5EF4-FFF2-40B4-BE49-F238E27FC236}">
                  <a16:creationId xmlns:a16="http://schemas.microsoft.com/office/drawing/2014/main" id="{9473778F-DF39-44A6-A9A8-9746BE7F12C5}"/>
                </a:ext>
              </a:extLst>
            </p:cNvPr>
            <p:cNvGrpSpPr/>
            <p:nvPr/>
          </p:nvGrpSpPr>
          <p:grpSpPr>
            <a:xfrm>
              <a:off x="3725348" y="3232875"/>
              <a:ext cx="463503" cy="396193"/>
              <a:chOff x="3337014" y="4158863"/>
              <a:chExt cx="438831" cy="375104"/>
            </a:xfrm>
          </p:grpSpPr>
          <p:grpSp>
            <p:nvGrpSpPr>
              <p:cNvPr id="241" name="Graphic 4">
                <a:extLst>
                  <a:ext uri="{FF2B5EF4-FFF2-40B4-BE49-F238E27FC236}">
                    <a16:creationId xmlns:a16="http://schemas.microsoft.com/office/drawing/2014/main" id="{7CED47F7-8F70-4908-9BAF-62A84758321D}"/>
                  </a:ext>
                </a:extLst>
              </p:cNvPr>
              <p:cNvGrpSpPr/>
              <p:nvPr/>
            </p:nvGrpSpPr>
            <p:grpSpPr>
              <a:xfrm>
                <a:off x="3337014" y="4158863"/>
                <a:ext cx="221813" cy="221813"/>
                <a:chOff x="3337014" y="4158863"/>
                <a:chExt cx="221813" cy="221813"/>
              </a:xfrm>
              <a:solidFill>
                <a:schemeClr val="accent1"/>
              </a:solidFill>
            </p:grpSpPr>
            <p:sp>
              <p:nvSpPr>
                <p:cNvPr id="243" name="Freihandform: Form 1285">
                  <a:extLst>
                    <a:ext uri="{FF2B5EF4-FFF2-40B4-BE49-F238E27FC236}">
                      <a16:creationId xmlns:a16="http://schemas.microsoft.com/office/drawing/2014/main" id="{819C9F2A-F332-4B64-9502-8410C4F95CA5}"/>
                    </a:ext>
                  </a:extLst>
                </p:cNvPr>
                <p:cNvSpPr/>
                <p:nvPr/>
              </p:nvSpPr>
              <p:spPr>
                <a:xfrm>
                  <a:off x="3337014" y="4158863"/>
                  <a:ext cx="221813" cy="221813"/>
                </a:xfrm>
                <a:custGeom>
                  <a:avLst/>
                  <a:gdLst>
                    <a:gd name="connsiteX0" fmla="*/ 110907 w 221813"/>
                    <a:gd name="connsiteY0" fmla="*/ 221813 h 221813"/>
                    <a:gd name="connsiteX1" fmla="*/ 0 w 221813"/>
                    <a:gd name="connsiteY1" fmla="*/ 110907 h 221813"/>
                    <a:gd name="connsiteX2" fmla="*/ 110907 w 221813"/>
                    <a:gd name="connsiteY2" fmla="*/ 0 h 221813"/>
                    <a:gd name="connsiteX3" fmla="*/ 221813 w 221813"/>
                    <a:gd name="connsiteY3" fmla="*/ 110907 h 221813"/>
                    <a:gd name="connsiteX4" fmla="*/ 110907 w 221813"/>
                    <a:gd name="connsiteY4" fmla="*/ 221813 h 221813"/>
                    <a:gd name="connsiteX5" fmla="*/ 110907 w 221813"/>
                    <a:gd name="connsiteY5" fmla="*/ 13070 h 221813"/>
                    <a:gd name="connsiteX6" fmla="*/ 13069 w 221813"/>
                    <a:gd name="connsiteY6" fmla="*/ 110907 h 221813"/>
                    <a:gd name="connsiteX7" fmla="*/ 110907 w 221813"/>
                    <a:gd name="connsiteY7" fmla="*/ 208744 h 221813"/>
                    <a:gd name="connsiteX8" fmla="*/ 208744 w 221813"/>
                    <a:gd name="connsiteY8" fmla="*/ 110907 h 221813"/>
                    <a:gd name="connsiteX9" fmla="*/ 110907 w 221813"/>
                    <a:gd name="connsiteY9" fmla="*/ 13070 h 221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1813" h="221813">
                      <a:moveTo>
                        <a:pt x="110907" y="221813"/>
                      </a:moveTo>
                      <a:cubicBezTo>
                        <a:pt x="49753" y="221813"/>
                        <a:pt x="0" y="172060"/>
                        <a:pt x="0" y="110907"/>
                      </a:cubicBezTo>
                      <a:cubicBezTo>
                        <a:pt x="0" y="49753"/>
                        <a:pt x="49753" y="0"/>
                        <a:pt x="110907" y="0"/>
                      </a:cubicBezTo>
                      <a:cubicBezTo>
                        <a:pt x="172060" y="0"/>
                        <a:pt x="221813" y="49753"/>
                        <a:pt x="221813" y="110907"/>
                      </a:cubicBezTo>
                      <a:cubicBezTo>
                        <a:pt x="221813" y="172060"/>
                        <a:pt x="172057" y="221813"/>
                        <a:pt x="110907" y="221813"/>
                      </a:cubicBezTo>
                      <a:close/>
                      <a:moveTo>
                        <a:pt x="110907" y="13070"/>
                      </a:moveTo>
                      <a:cubicBezTo>
                        <a:pt x="56960" y="13070"/>
                        <a:pt x="13069" y="56956"/>
                        <a:pt x="13069" y="110907"/>
                      </a:cubicBezTo>
                      <a:cubicBezTo>
                        <a:pt x="13069" y="164854"/>
                        <a:pt x="56956" y="208744"/>
                        <a:pt x="110907" y="208744"/>
                      </a:cubicBezTo>
                      <a:cubicBezTo>
                        <a:pt x="164857" y="208744"/>
                        <a:pt x="208744" y="164858"/>
                        <a:pt x="208744" y="110907"/>
                      </a:cubicBezTo>
                      <a:cubicBezTo>
                        <a:pt x="208740" y="56960"/>
                        <a:pt x="164854" y="13070"/>
                        <a:pt x="110907" y="13070"/>
                      </a:cubicBezTo>
                      <a:close/>
                    </a:path>
                  </a:pathLst>
                </a:custGeom>
                <a:solidFill>
                  <a:schemeClr val="accent1"/>
                </a:solidFill>
                <a:ln w="377" cap="flat">
                  <a:noFill/>
                  <a:prstDash val="solid"/>
                  <a:miter/>
                </a:ln>
              </p:spPr>
              <p:txBody>
                <a:bodyPr rtlCol="0" anchor="ctr"/>
                <a:lstStyle/>
                <a:p>
                  <a:endParaRPr lang="en-GB" dirty="0"/>
                </a:p>
              </p:txBody>
            </p:sp>
            <p:sp>
              <p:nvSpPr>
                <p:cNvPr id="244" name="Freihandform: Form 1286">
                  <a:extLst>
                    <a:ext uri="{FF2B5EF4-FFF2-40B4-BE49-F238E27FC236}">
                      <a16:creationId xmlns:a16="http://schemas.microsoft.com/office/drawing/2014/main" id="{94F31370-6EC9-43B8-B864-DD3F0597A8F6}"/>
                    </a:ext>
                  </a:extLst>
                </p:cNvPr>
                <p:cNvSpPr/>
                <p:nvPr/>
              </p:nvSpPr>
              <p:spPr>
                <a:xfrm>
                  <a:off x="3389558" y="4227532"/>
                  <a:ext cx="130306" cy="99329"/>
                </a:xfrm>
                <a:custGeom>
                  <a:avLst/>
                  <a:gdLst>
                    <a:gd name="connsiteX0" fmla="*/ 59088 w 130306"/>
                    <a:gd name="connsiteY0" fmla="*/ 99329 h 99329"/>
                    <a:gd name="connsiteX1" fmla="*/ 55003 w 130306"/>
                    <a:gd name="connsiteY1" fmla="*/ 97899 h 99329"/>
                    <a:gd name="connsiteX2" fmla="*/ 2453 w 130306"/>
                    <a:gd name="connsiteY2" fmla="*/ 55862 h 99329"/>
                    <a:gd name="connsiteX3" fmla="*/ 14 w 130306"/>
                    <a:gd name="connsiteY3" fmla="*/ 51204 h 99329"/>
                    <a:gd name="connsiteX4" fmla="*/ 1796 w 130306"/>
                    <a:gd name="connsiteY4" fmla="*/ 46262 h 99329"/>
                    <a:gd name="connsiteX5" fmla="*/ 24806 w 130306"/>
                    <a:gd name="connsiteY5" fmla="*/ 21980 h 99329"/>
                    <a:gd name="connsiteX6" fmla="*/ 33564 w 130306"/>
                    <a:gd name="connsiteY6" fmla="*/ 21316 h 99329"/>
                    <a:gd name="connsiteX7" fmla="*/ 56997 w 130306"/>
                    <a:gd name="connsiteY7" fmla="*/ 39569 h 99329"/>
                    <a:gd name="connsiteX8" fmla="*/ 96039 w 130306"/>
                    <a:gd name="connsiteY8" fmla="*/ 1840 h 99329"/>
                    <a:gd name="connsiteX9" fmla="*/ 105205 w 130306"/>
                    <a:gd name="connsiteY9" fmla="*/ 1915 h 99329"/>
                    <a:gd name="connsiteX10" fmla="*/ 128392 w 130306"/>
                    <a:gd name="connsiteY10" fmla="*/ 25110 h 99329"/>
                    <a:gd name="connsiteX11" fmla="*/ 130306 w 130306"/>
                    <a:gd name="connsiteY11" fmla="*/ 29776 h 99329"/>
                    <a:gd name="connsiteX12" fmla="*/ 128336 w 130306"/>
                    <a:gd name="connsiteY12" fmla="*/ 34408 h 99329"/>
                    <a:gd name="connsiteX13" fmla="*/ 63652 w 130306"/>
                    <a:gd name="connsiteY13" fmla="*/ 97465 h 99329"/>
                    <a:gd name="connsiteX14" fmla="*/ 59088 w 130306"/>
                    <a:gd name="connsiteY14" fmla="*/ 99329 h 99329"/>
                    <a:gd name="connsiteX15" fmla="*/ 16172 w 130306"/>
                    <a:gd name="connsiteY15" fmla="*/ 50094 h 99329"/>
                    <a:gd name="connsiteX16" fmla="*/ 58661 w 130306"/>
                    <a:gd name="connsiteY16" fmla="*/ 84082 h 99329"/>
                    <a:gd name="connsiteX17" fmla="*/ 114473 w 130306"/>
                    <a:gd name="connsiteY17" fmla="*/ 29681 h 99329"/>
                    <a:gd name="connsiteX18" fmla="*/ 100509 w 130306"/>
                    <a:gd name="connsiteY18" fmla="*/ 15710 h 99329"/>
                    <a:gd name="connsiteX19" fmla="*/ 62003 w 130306"/>
                    <a:gd name="connsiteY19" fmla="*/ 52914 h 99329"/>
                    <a:gd name="connsiteX20" fmla="*/ 53444 w 130306"/>
                    <a:gd name="connsiteY20" fmla="*/ 53374 h 99329"/>
                    <a:gd name="connsiteX21" fmla="*/ 30216 w 130306"/>
                    <a:gd name="connsiteY21" fmla="*/ 35280 h 99329"/>
                    <a:gd name="connsiteX22" fmla="*/ 16172 w 130306"/>
                    <a:gd name="connsiteY22" fmla="*/ 50094 h 99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0306" h="99329">
                      <a:moveTo>
                        <a:pt x="59088" y="99329"/>
                      </a:moveTo>
                      <a:cubicBezTo>
                        <a:pt x="57646" y="99329"/>
                        <a:pt x="56204" y="98858"/>
                        <a:pt x="55003" y="97899"/>
                      </a:cubicBezTo>
                      <a:lnTo>
                        <a:pt x="2453" y="55862"/>
                      </a:lnTo>
                      <a:cubicBezTo>
                        <a:pt x="1030" y="54718"/>
                        <a:pt x="143" y="53027"/>
                        <a:pt x="14" y="51204"/>
                      </a:cubicBezTo>
                      <a:cubicBezTo>
                        <a:pt x="-106" y="49384"/>
                        <a:pt x="539" y="47591"/>
                        <a:pt x="1796" y="46262"/>
                      </a:cubicBezTo>
                      <a:lnTo>
                        <a:pt x="24806" y="21980"/>
                      </a:lnTo>
                      <a:cubicBezTo>
                        <a:pt x="27116" y="19530"/>
                        <a:pt x="30914" y="19255"/>
                        <a:pt x="33564" y="21316"/>
                      </a:cubicBezTo>
                      <a:lnTo>
                        <a:pt x="56997" y="39569"/>
                      </a:lnTo>
                      <a:lnTo>
                        <a:pt x="96039" y="1840"/>
                      </a:lnTo>
                      <a:cubicBezTo>
                        <a:pt x="98610" y="-644"/>
                        <a:pt x="102684" y="-607"/>
                        <a:pt x="105205" y="1915"/>
                      </a:cubicBezTo>
                      <a:lnTo>
                        <a:pt x="128392" y="25110"/>
                      </a:lnTo>
                      <a:cubicBezTo>
                        <a:pt x="129631" y="26348"/>
                        <a:pt x="130322" y="28028"/>
                        <a:pt x="130306" y="29776"/>
                      </a:cubicBezTo>
                      <a:cubicBezTo>
                        <a:pt x="130295" y="31520"/>
                        <a:pt x="129585" y="33192"/>
                        <a:pt x="128336" y="34408"/>
                      </a:cubicBezTo>
                      <a:lnTo>
                        <a:pt x="63652" y="97465"/>
                      </a:lnTo>
                      <a:cubicBezTo>
                        <a:pt x="62388" y="98707"/>
                        <a:pt x="60742" y="99329"/>
                        <a:pt x="59088" y="99329"/>
                      </a:cubicBezTo>
                      <a:close/>
                      <a:moveTo>
                        <a:pt x="16172" y="50094"/>
                      </a:moveTo>
                      <a:lnTo>
                        <a:pt x="58661" y="84082"/>
                      </a:lnTo>
                      <a:lnTo>
                        <a:pt x="114473" y="29681"/>
                      </a:lnTo>
                      <a:lnTo>
                        <a:pt x="100509" y="15710"/>
                      </a:lnTo>
                      <a:lnTo>
                        <a:pt x="62003" y="52914"/>
                      </a:lnTo>
                      <a:cubicBezTo>
                        <a:pt x="59654" y="55179"/>
                        <a:pt x="56008" y="55371"/>
                        <a:pt x="53444" y="53374"/>
                      </a:cubicBezTo>
                      <a:lnTo>
                        <a:pt x="30216" y="35280"/>
                      </a:lnTo>
                      <a:lnTo>
                        <a:pt x="16172" y="50094"/>
                      </a:lnTo>
                      <a:close/>
                    </a:path>
                  </a:pathLst>
                </a:custGeom>
                <a:solidFill>
                  <a:schemeClr val="accent1"/>
                </a:solidFill>
                <a:ln w="377" cap="flat">
                  <a:noFill/>
                  <a:prstDash val="solid"/>
                  <a:miter/>
                </a:ln>
              </p:spPr>
              <p:txBody>
                <a:bodyPr rtlCol="0" anchor="ctr"/>
                <a:lstStyle/>
                <a:p>
                  <a:endParaRPr lang="en-GB" dirty="0"/>
                </a:p>
              </p:txBody>
            </p:sp>
          </p:grpSp>
          <p:sp>
            <p:nvSpPr>
              <p:cNvPr id="242" name="Freihandform: Form 1284">
                <a:extLst>
                  <a:ext uri="{FF2B5EF4-FFF2-40B4-BE49-F238E27FC236}">
                    <a16:creationId xmlns:a16="http://schemas.microsoft.com/office/drawing/2014/main" id="{693647BA-A6ED-4F51-972F-2552A5EF0461}"/>
                  </a:ext>
                </a:extLst>
              </p:cNvPr>
              <p:cNvSpPr/>
              <p:nvPr/>
            </p:nvSpPr>
            <p:spPr>
              <a:xfrm>
                <a:off x="3497601" y="4496753"/>
                <a:ext cx="278244" cy="37214"/>
              </a:xfrm>
              <a:custGeom>
                <a:avLst/>
                <a:gdLst>
                  <a:gd name="connsiteX0" fmla="*/ 139550 w 278244"/>
                  <a:gd name="connsiteY0" fmla="*/ 37214 h 37214"/>
                  <a:gd name="connsiteX1" fmla="*/ 4048 w 278244"/>
                  <a:gd name="connsiteY1" fmla="*/ 12581 h 37214"/>
                  <a:gd name="connsiteX2" fmla="*/ 492 w 278244"/>
                  <a:gd name="connsiteY2" fmla="*/ 4053 h 37214"/>
                  <a:gd name="connsiteX3" fmla="*/ 9024 w 278244"/>
                  <a:gd name="connsiteY3" fmla="*/ 493 h 37214"/>
                  <a:gd name="connsiteX4" fmla="*/ 139546 w 278244"/>
                  <a:gd name="connsiteY4" fmla="*/ 24141 h 37214"/>
                  <a:gd name="connsiteX5" fmla="*/ 269378 w 278244"/>
                  <a:gd name="connsiteY5" fmla="*/ 1595 h 37214"/>
                  <a:gd name="connsiteX6" fmla="*/ 277815 w 278244"/>
                  <a:gd name="connsiteY6" fmla="*/ 5382 h 37214"/>
                  <a:gd name="connsiteX7" fmla="*/ 274037 w 278244"/>
                  <a:gd name="connsiteY7" fmla="*/ 13812 h 37214"/>
                  <a:gd name="connsiteX8" fmla="*/ 139550 w 278244"/>
                  <a:gd name="connsiteY8" fmla="*/ 37214 h 37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244" h="37214">
                    <a:moveTo>
                      <a:pt x="139550" y="37214"/>
                    </a:moveTo>
                    <a:cubicBezTo>
                      <a:pt x="64711" y="37214"/>
                      <a:pt x="6495" y="13585"/>
                      <a:pt x="4048" y="12581"/>
                    </a:cubicBezTo>
                    <a:cubicBezTo>
                      <a:pt x="711" y="11207"/>
                      <a:pt x="-878" y="7386"/>
                      <a:pt x="492" y="4053"/>
                    </a:cubicBezTo>
                    <a:cubicBezTo>
                      <a:pt x="1870" y="716"/>
                      <a:pt x="5657" y="-881"/>
                      <a:pt x="9024" y="493"/>
                    </a:cubicBezTo>
                    <a:cubicBezTo>
                      <a:pt x="9598" y="731"/>
                      <a:pt x="67407" y="24141"/>
                      <a:pt x="139546" y="24141"/>
                    </a:cubicBezTo>
                    <a:cubicBezTo>
                      <a:pt x="209338" y="24141"/>
                      <a:pt x="268793" y="1818"/>
                      <a:pt x="269378" y="1595"/>
                    </a:cubicBezTo>
                    <a:cubicBezTo>
                      <a:pt x="272730" y="312"/>
                      <a:pt x="276520" y="1999"/>
                      <a:pt x="277815" y="5382"/>
                    </a:cubicBezTo>
                    <a:cubicBezTo>
                      <a:pt x="279099" y="8753"/>
                      <a:pt x="277408" y="12525"/>
                      <a:pt x="274037" y="13812"/>
                    </a:cubicBezTo>
                    <a:cubicBezTo>
                      <a:pt x="271533" y="14763"/>
                      <a:pt x="211841" y="37214"/>
                      <a:pt x="139550" y="37214"/>
                    </a:cubicBezTo>
                    <a:close/>
                  </a:path>
                </a:pathLst>
              </a:custGeom>
              <a:solidFill>
                <a:schemeClr val="accent1"/>
              </a:solidFill>
              <a:ln w="377" cap="flat">
                <a:noFill/>
                <a:prstDash val="solid"/>
                <a:miter/>
              </a:ln>
            </p:spPr>
            <p:txBody>
              <a:bodyPr rtlCol="0" anchor="ctr"/>
              <a:lstStyle/>
              <a:p>
                <a:endParaRPr lang="en-GB" dirty="0"/>
              </a:p>
            </p:txBody>
          </p:sp>
        </p:grpSp>
        <p:grpSp>
          <p:nvGrpSpPr>
            <p:cNvPr id="237" name="Graphic 4">
              <a:extLst>
                <a:ext uri="{FF2B5EF4-FFF2-40B4-BE49-F238E27FC236}">
                  <a16:creationId xmlns:a16="http://schemas.microsoft.com/office/drawing/2014/main" id="{53B257BF-ABD8-4DB9-B2FE-CAC079022ABB}"/>
                </a:ext>
              </a:extLst>
            </p:cNvPr>
            <p:cNvGrpSpPr/>
            <p:nvPr/>
          </p:nvGrpSpPr>
          <p:grpSpPr>
            <a:xfrm>
              <a:off x="3894437" y="3197068"/>
              <a:ext cx="294919" cy="399206"/>
              <a:chOff x="3497102" y="4124962"/>
              <a:chExt cx="279221" cy="377957"/>
            </a:xfrm>
            <a:solidFill>
              <a:schemeClr val="tx2"/>
            </a:solidFill>
          </p:grpSpPr>
          <p:sp>
            <p:nvSpPr>
              <p:cNvPr id="238" name="Freihandform: Form 1280">
                <a:extLst>
                  <a:ext uri="{FF2B5EF4-FFF2-40B4-BE49-F238E27FC236}">
                    <a16:creationId xmlns:a16="http://schemas.microsoft.com/office/drawing/2014/main" id="{ACC1B46C-A4D7-458E-95D7-53B978FA1468}"/>
                  </a:ext>
                </a:extLst>
              </p:cNvPr>
              <p:cNvSpPr/>
              <p:nvPr/>
            </p:nvSpPr>
            <p:spPr>
              <a:xfrm>
                <a:off x="3497102" y="4124962"/>
                <a:ext cx="279221" cy="377957"/>
              </a:xfrm>
              <a:custGeom>
                <a:avLst/>
                <a:gdLst>
                  <a:gd name="connsiteX0" fmla="*/ 140049 w 279221"/>
                  <a:gd name="connsiteY0" fmla="*/ 377958 h 377957"/>
                  <a:gd name="connsiteX1" fmla="*/ 4547 w 279221"/>
                  <a:gd name="connsiteY1" fmla="*/ 353325 h 377957"/>
                  <a:gd name="connsiteX2" fmla="*/ 500 w 279221"/>
                  <a:gd name="connsiteY2" fmla="*/ 347364 h 377957"/>
                  <a:gd name="connsiteX3" fmla="*/ 2384 w 279221"/>
                  <a:gd name="connsiteY3" fmla="*/ 272895 h 377957"/>
                  <a:gd name="connsiteX4" fmla="*/ 7038 w 279221"/>
                  <a:gd name="connsiteY4" fmla="*/ 270955 h 377957"/>
                  <a:gd name="connsiteX5" fmla="*/ 7390 w 279221"/>
                  <a:gd name="connsiteY5" fmla="*/ 270955 h 377957"/>
                  <a:gd name="connsiteX6" fmla="*/ 88624 w 279221"/>
                  <a:gd name="connsiteY6" fmla="*/ 228235 h 377957"/>
                  <a:gd name="connsiteX7" fmla="*/ 88624 w 279221"/>
                  <a:gd name="connsiteY7" fmla="*/ 124577 h 377957"/>
                  <a:gd name="connsiteX8" fmla="*/ 83746 w 279221"/>
                  <a:gd name="connsiteY8" fmla="*/ 102790 h 377957"/>
                  <a:gd name="connsiteX9" fmla="*/ 76241 w 279221"/>
                  <a:gd name="connsiteY9" fmla="*/ 84956 h 377957"/>
                  <a:gd name="connsiteX10" fmla="*/ 73247 w 279221"/>
                  <a:gd name="connsiteY10" fmla="*/ 65552 h 377957"/>
                  <a:gd name="connsiteX11" fmla="*/ 138807 w 279221"/>
                  <a:gd name="connsiteY11" fmla="*/ 0 h 377957"/>
                  <a:gd name="connsiteX12" fmla="*/ 204359 w 279221"/>
                  <a:gd name="connsiteY12" fmla="*/ 65552 h 377957"/>
                  <a:gd name="connsiteX13" fmla="*/ 200115 w 279221"/>
                  <a:gd name="connsiteY13" fmla="*/ 88448 h 377957"/>
                  <a:gd name="connsiteX14" fmla="*/ 197193 w 279221"/>
                  <a:gd name="connsiteY14" fmla="*/ 95813 h 377957"/>
                  <a:gd name="connsiteX15" fmla="*/ 190224 w 279221"/>
                  <a:gd name="connsiteY15" fmla="*/ 124573 h 377957"/>
                  <a:gd name="connsiteX16" fmla="*/ 190224 w 279221"/>
                  <a:gd name="connsiteY16" fmla="*/ 229130 h 377957"/>
                  <a:gd name="connsiteX17" fmla="*/ 272353 w 279221"/>
                  <a:gd name="connsiteY17" fmla="*/ 272117 h 377957"/>
                  <a:gd name="connsiteX18" fmla="*/ 278756 w 279221"/>
                  <a:gd name="connsiteY18" fmla="*/ 348527 h 377957"/>
                  <a:gd name="connsiteX19" fmla="*/ 274550 w 279221"/>
                  <a:gd name="connsiteY19" fmla="*/ 354552 h 377957"/>
                  <a:gd name="connsiteX20" fmla="*/ 140049 w 279221"/>
                  <a:gd name="connsiteY20" fmla="*/ 377958 h 377957"/>
                  <a:gd name="connsiteX21" fmla="*/ 13517 w 279221"/>
                  <a:gd name="connsiteY21" fmla="*/ 342758 h 377957"/>
                  <a:gd name="connsiteX22" fmla="*/ 140049 w 279221"/>
                  <a:gd name="connsiteY22" fmla="*/ 364888 h 377957"/>
                  <a:gd name="connsiteX23" fmla="*/ 265731 w 279221"/>
                  <a:gd name="connsiteY23" fmla="*/ 343811 h 377957"/>
                  <a:gd name="connsiteX24" fmla="*/ 266018 w 279221"/>
                  <a:gd name="connsiteY24" fmla="*/ 284828 h 377957"/>
                  <a:gd name="connsiteX25" fmla="*/ 178952 w 279221"/>
                  <a:gd name="connsiteY25" fmla="*/ 236351 h 377957"/>
                  <a:gd name="connsiteX26" fmla="*/ 177147 w 279221"/>
                  <a:gd name="connsiteY26" fmla="*/ 231844 h 377957"/>
                  <a:gd name="connsiteX27" fmla="*/ 177147 w 279221"/>
                  <a:gd name="connsiteY27" fmla="*/ 124580 h 377957"/>
                  <a:gd name="connsiteX28" fmla="*/ 185068 w 279221"/>
                  <a:gd name="connsiteY28" fmla="*/ 90925 h 377957"/>
                  <a:gd name="connsiteX29" fmla="*/ 187906 w 279221"/>
                  <a:gd name="connsiteY29" fmla="*/ 83771 h 377957"/>
                  <a:gd name="connsiteX30" fmla="*/ 191281 w 279221"/>
                  <a:gd name="connsiteY30" fmla="*/ 65559 h 377957"/>
                  <a:gd name="connsiteX31" fmla="*/ 138803 w 279221"/>
                  <a:gd name="connsiteY31" fmla="*/ 13081 h 377957"/>
                  <a:gd name="connsiteX32" fmla="*/ 86317 w 279221"/>
                  <a:gd name="connsiteY32" fmla="*/ 65559 h 377957"/>
                  <a:gd name="connsiteX33" fmla="*/ 88699 w 279221"/>
                  <a:gd name="connsiteY33" fmla="*/ 81026 h 377957"/>
                  <a:gd name="connsiteX34" fmla="*/ 95343 w 279221"/>
                  <a:gd name="connsiteY34" fmla="*/ 96765 h 377957"/>
                  <a:gd name="connsiteX35" fmla="*/ 101693 w 279221"/>
                  <a:gd name="connsiteY35" fmla="*/ 124580 h 377957"/>
                  <a:gd name="connsiteX36" fmla="*/ 101693 w 279221"/>
                  <a:gd name="connsiteY36" fmla="*/ 230942 h 377957"/>
                  <a:gd name="connsiteX37" fmla="*/ 100881 w 279221"/>
                  <a:gd name="connsiteY37" fmla="*/ 234094 h 377957"/>
                  <a:gd name="connsiteX38" fmla="*/ 13226 w 279221"/>
                  <a:gd name="connsiteY38" fmla="*/ 283771 h 377957"/>
                  <a:gd name="connsiteX39" fmla="*/ 13517 w 279221"/>
                  <a:gd name="connsiteY39" fmla="*/ 342758 h 377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79221" h="377957">
                    <a:moveTo>
                      <a:pt x="140049" y="377958"/>
                    </a:moveTo>
                    <a:cubicBezTo>
                      <a:pt x="65210" y="377958"/>
                      <a:pt x="6993" y="354329"/>
                      <a:pt x="4547" y="353325"/>
                    </a:cubicBezTo>
                    <a:cubicBezTo>
                      <a:pt x="2127" y="352328"/>
                      <a:pt x="534" y="349980"/>
                      <a:pt x="500" y="347364"/>
                    </a:cubicBezTo>
                    <a:cubicBezTo>
                      <a:pt x="-444" y="275738"/>
                      <a:pt x="-176" y="275470"/>
                      <a:pt x="2384" y="272895"/>
                    </a:cubicBezTo>
                    <a:cubicBezTo>
                      <a:pt x="3611" y="271657"/>
                      <a:pt x="5294" y="270955"/>
                      <a:pt x="7038" y="270955"/>
                    </a:cubicBezTo>
                    <a:cubicBezTo>
                      <a:pt x="7152" y="270955"/>
                      <a:pt x="7276" y="270955"/>
                      <a:pt x="7390" y="270955"/>
                    </a:cubicBezTo>
                    <a:cubicBezTo>
                      <a:pt x="42382" y="270955"/>
                      <a:pt x="80318" y="236272"/>
                      <a:pt x="88624" y="228235"/>
                    </a:cubicBezTo>
                    <a:lnTo>
                      <a:pt x="88624" y="124577"/>
                    </a:lnTo>
                    <a:cubicBezTo>
                      <a:pt x="88624" y="112175"/>
                      <a:pt x="86895" y="108842"/>
                      <a:pt x="83746" y="102790"/>
                    </a:cubicBezTo>
                    <a:cubicBezTo>
                      <a:pt x="81628" y="98717"/>
                      <a:pt x="78989" y="93650"/>
                      <a:pt x="76241" y="84956"/>
                    </a:cubicBezTo>
                    <a:cubicBezTo>
                      <a:pt x="74255" y="78671"/>
                      <a:pt x="73247" y="72147"/>
                      <a:pt x="73247" y="65552"/>
                    </a:cubicBezTo>
                    <a:cubicBezTo>
                      <a:pt x="73247" y="29405"/>
                      <a:pt x="102660" y="0"/>
                      <a:pt x="138807" y="0"/>
                    </a:cubicBezTo>
                    <a:cubicBezTo>
                      <a:pt x="174954" y="0"/>
                      <a:pt x="204359" y="29405"/>
                      <a:pt x="204359" y="65552"/>
                    </a:cubicBezTo>
                    <a:cubicBezTo>
                      <a:pt x="204359" y="73408"/>
                      <a:pt x="202928" y="81113"/>
                      <a:pt x="200115" y="88448"/>
                    </a:cubicBezTo>
                    <a:cubicBezTo>
                      <a:pt x="199107" y="91072"/>
                      <a:pt x="198130" y="93503"/>
                      <a:pt x="197193" y="95813"/>
                    </a:cubicBezTo>
                    <a:cubicBezTo>
                      <a:pt x="192999" y="106210"/>
                      <a:pt x="190224" y="113077"/>
                      <a:pt x="190224" y="124573"/>
                    </a:cubicBezTo>
                    <a:lnTo>
                      <a:pt x="190224" y="229130"/>
                    </a:lnTo>
                    <a:cubicBezTo>
                      <a:pt x="198715" y="237409"/>
                      <a:pt x="235726" y="271366"/>
                      <a:pt x="272353" y="272117"/>
                    </a:cubicBezTo>
                    <a:cubicBezTo>
                      <a:pt x="279756" y="272272"/>
                      <a:pt x="279756" y="272272"/>
                      <a:pt x="278756" y="348527"/>
                    </a:cubicBezTo>
                    <a:cubicBezTo>
                      <a:pt x="278718" y="351207"/>
                      <a:pt x="277053" y="353593"/>
                      <a:pt x="274550" y="354552"/>
                    </a:cubicBezTo>
                    <a:cubicBezTo>
                      <a:pt x="272032" y="355511"/>
                      <a:pt x="212339" y="377958"/>
                      <a:pt x="140049" y="377958"/>
                    </a:cubicBezTo>
                    <a:close/>
                    <a:moveTo>
                      <a:pt x="13517" y="342758"/>
                    </a:moveTo>
                    <a:cubicBezTo>
                      <a:pt x="27802" y="347987"/>
                      <a:pt x="78755" y="364888"/>
                      <a:pt x="140049" y="364888"/>
                    </a:cubicBezTo>
                    <a:cubicBezTo>
                      <a:pt x="199270" y="364888"/>
                      <a:pt x="251046" y="348817"/>
                      <a:pt x="265731" y="343811"/>
                    </a:cubicBezTo>
                    <a:cubicBezTo>
                      <a:pt x="265981" y="323769"/>
                      <a:pt x="266196" y="296229"/>
                      <a:pt x="266018" y="284828"/>
                    </a:cubicBezTo>
                    <a:cubicBezTo>
                      <a:pt x="221358" y="280355"/>
                      <a:pt x="180730" y="238220"/>
                      <a:pt x="178952" y="236351"/>
                    </a:cubicBezTo>
                    <a:cubicBezTo>
                      <a:pt x="177789" y="235140"/>
                      <a:pt x="177147" y="233524"/>
                      <a:pt x="177147" y="231844"/>
                    </a:cubicBezTo>
                    <a:lnTo>
                      <a:pt x="177147" y="124580"/>
                    </a:lnTo>
                    <a:cubicBezTo>
                      <a:pt x="177147" y="110552"/>
                      <a:pt x="180817" y="101454"/>
                      <a:pt x="185068" y="90925"/>
                    </a:cubicBezTo>
                    <a:cubicBezTo>
                      <a:pt x="185974" y="88686"/>
                      <a:pt x="186932" y="86323"/>
                      <a:pt x="187906" y="83771"/>
                    </a:cubicBezTo>
                    <a:cubicBezTo>
                      <a:pt x="190145" y="77938"/>
                      <a:pt x="191281" y="71811"/>
                      <a:pt x="191281" y="65559"/>
                    </a:cubicBezTo>
                    <a:cubicBezTo>
                      <a:pt x="191281" y="36619"/>
                      <a:pt x="167743" y="13081"/>
                      <a:pt x="138803" y="13081"/>
                    </a:cubicBezTo>
                    <a:cubicBezTo>
                      <a:pt x="109863" y="13081"/>
                      <a:pt x="86317" y="36619"/>
                      <a:pt x="86317" y="65559"/>
                    </a:cubicBezTo>
                    <a:cubicBezTo>
                      <a:pt x="86317" y="70811"/>
                      <a:pt x="87121" y="76013"/>
                      <a:pt x="88699" y="81026"/>
                    </a:cubicBezTo>
                    <a:cubicBezTo>
                      <a:pt x="91111" y="88629"/>
                      <a:pt x="93357" y="92956"/>
                      <a:pt x="95343" y="96765"/>
                    </a:cubicBezTo>
                    <a:cubicBezTo>
                      <a:pt x="99281" y="104342"/>
                      <a:pt x="101693" y="109736"/>
                      <a:pt x="101693" y="124580"/>
                    </a:cubicBezTo>
                    <a:lnTo>
                      <a:pt x="101693" y="230942"/>
                    </a:lnTo>
                    <a:cubicBezTo>
                      <a:pt x="101693" y="232044"/>
                      <a:pt x="101414" y="233131"/>
                      <a:pt x="100881" y="234094"/>
                    </a:cubicBezTo>
                    <a:cubicBezTo>
                      <a:pt x="99285" y="236986"/>
                      <a:pt x="56157" y="280026"/>
                      <a:pt x="13226" y="283771"/>
                    </a:cubicBezTo>
                    <a:cubicBezTo>
                      <a:pt x="13049" y="295263"/>
                      <a:pt x="13271" y="322773"/>
                      <a:pt x="13517" y="342758"/>
                    </a:cubicBezTo>
                    <a:close/>
                  </a:path>
                </a:pathLst>
              </a:custGeom>
              <a:grpFill/>
              <a:ln w="377" cap="flat">
                <a:noFill/>
                <a:prstDash val="solid"/>
                <a:miter/>
              </a:ln>
            </p:spPr>
            <p:txBody>
              <a:bodyPr rtlCol="0" anchor="ctr"/>
              <a:lstStyle/>
              <a:p>
                <a:endParaRPr lang="en-GB" dirty="0"/>
              </a:p>
            </p:txBody>
          </p:sp>
          <p:sp>
            <p:nvSpPr>
              <p:cNvPr id="239" name="Freihandform: Form 1281">
                <a:extLst>
                  <a:ext uri="{FF2B5EF4-FFF2-40B4-BE49-F238E27FC236}">
                    <a16:creationId xmlns:a16="http://schemas.microsoft.com/office/drawing/2014/main" id="{3FAB3DE1-81F9-4A85-9BA6-C29649057C95}"/>
                  </a:ext>
                </a:extLst>
              </p:cNvPr>
              <p:cNvSpPr/>
              <p:nvPr/>
            </p:nvSpPr>
            <p:spPr>
              <a:xfrm>
                <a:off x="3607419" y="4400420"/>
                <a:ext cx="168433" cy="36048"/>
              </a:xfrm>
              <a:custGeom>
                <a:avLst/>
                <a:gdLst>
                  <a:gd name="connsiteX0" fmla="*/ 29732 w 168433"/>
                  <a:gd name="connsiteY0" fmla="*/ 36049 h 36048"/>
                  <a:gd name="connsiteX1" fmla="*/ 6114 w 168433"/>
                  <a:gd name="connsiteY1" fmla="*/ 35275 h 36048"/>
                  <a:gd name="connsiteX2" fmla="*/ 14 w 168433"/>
                  <a:gd name="connsiteY2" fmla="*/ 28329 h 36048"/>
                  <a:gd name="connsiteX3" fmla="*/ 6960 w 168433"/>
                  <a:gd name="connsiteY3" fmla="*/ 22228 h 36048"/>
                  <a:gd name="connsiteX4" fmla="*/ 29735 w 168433"/>
                  <a:gd name="connsiteY4" fmla="*/ 22976 h 36048"/>
                  <a:gd name="connsiteX5" fmla="*/ 159567 w 168433"/>
                  <a:gd name="connsiteY5" fmla="*/ 430 h 36048"/>
                  <a:gd name="connsiteX6" fmla="*/ 168004 w 168433"/>
                  <a:gd name="connsiteY6" fmla="*/ 4217 h 36048"/>
                  <a:gd name="connsiteX7" fmla="*/ 164225 w 168433"/>
                  <a:gd name="connsiteY7" fmla="*/ 12647 h 36048"/>
                  <a:gd name="connsiteX8" fmla="*/ 29732 w 168433"/>
                  <a:gd name="connsiteY8" fmla="*/ 36049 h 36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433" h="36048">
                    <a:moveTo>
                      <a:pt x="29732" y="36049"/>
                    </a:moveTo>
                    <a:cubicBezTo>
                      <a:pt x="22015" y="36049"/>
                      <a:pt x="14068" y="35788"/>
                      <a:pt x="6114" y="35275"/>
                    </a:cubicBezTo>
                    <a:cubicBezTo>
                      <a:pt x="2513" y="35037"/>
                      <a:pt x="-217" y="31930"/>
                      <a:pt x="14" y="28329"/>
                    </a:cubicBezTo>
                    <a:cubicBezTo>
                      <a:pt x="251" y="24727"/>
                      <a:pt x="3222" y="22024"/>
                      <a:pt x="6960" y="22228"/>
                    </a:cubicBezTo>
                    <a:cubicBezTo>
                      <a:pt x="14631" y="22726"/>
                      <a:pt x="22291" y="22976"/>
                      <a:pt x="29735" y="22976"/>
                    </a:cubicBezTo>
                    <a:cubicBezTo>
                      <a:pt x="99527" y="22976"/>
                      <a:pt x="158982" y="653"/>
                      <a:pt x="159567" y="430"/>
                    </a:cubicBezTo>
                    <a:cubicBezTo>
                      <a:pt x="162919" y="-853"/>
                      <a:pt x="166709" y="830"/>
                      <a:pt x="168004" y="4217"/>
                    </a:cubicBezTo>
                    <a:cubicBezTo>
                      <a:pt x="169288" y="7588"/>
                      <a:pt x="167597" y="11359"/>
                      <a:pt x="164225" y="12647"/>
                    </a:cubicBezTo>
                    <a:cubicBezTo>
                      <a:pt x="161715" y="13598"/>
                      <a:pt x="102022" y="36049"/>
                      <a:pt x="29732" y="36049"/>
                    </a:cubicBezTo>
                    <a:close/>
                  </a:path>
                </a:pathLst>
              </a:custGeom>
              <a:grpFill/>
              <a:ln w="377" cap="flat">
                <a:noFill/>
                <a:prstDash val="solid"/>
                <a:miter/>
              </a:ln>
            </p:spPr>
            <p:txBody>
              <a:bodyPr rtlCol="0" anchor="ctr"/>
              <a:lstStyle/>
              <a:p>
                <a:endParaRPr lang="en-GB" dirty="0"/>
              </a:p>
            </p:txBody>
          </p:sp>
          <p:sp>
            <p:nvSpPr>
              <p:cNvPr id="240" name="Freihandform: Form 1282">
                <a:extLst>
                  <a:ext uri="{FF2B5EF4-FFF2-40B4-BE49-F238E27FC236}">
                    <a16:creationId xmlns:a16="http://schemas.microsoft.com/office/drawing/2014/main" id="{CBEDFC12-E39B-4020-99FD-1DF0BD14A805}"/>
                  </a:ext>
                </a:extLst>
              </p:cNvPr>
              <p:cNvSpPr/>
              <p:nvPr/>
            </p:nvSpPr>
            <p:spPr>
              <a:xfrm>
                <a:off x="3497597" y="4399266"/>
                <a:ext cx="79240" cy="31076"/>
              </a:xfrm>
              <a:custGeom>
                <a:avLst/>
                <a:gdLst>
                  <a:gd name="connsiteX0" fmla="*/ 72711 w 79240"/>
                  <a:gd name="connsiteY0" fmla="*/ 31076 h 31076"/>
                  <a:gd name="connsiteX1" fmla="*/ 71548 w 79240"/>
                  <a:gd name="connsiteY1" fmla="*/ 30974 h 31076"/>
                  <a:gd name="connsiteX2" fmla="*/ 4048 w 79240"/>
                  <a:gd name="connsiteY2" fmla="*/ 12578 h 31076"/>
                  <a:gd name="connsiteX3" fmla="*/ 492 w 79240"/>
                  <a:gd name="connsiteY3" fmla="*/ 4050 h 31076"/>
                  <a:gd name="connsiteX4" fmla="*/ 9020 w 79240"/>
                  <a:gd name="connsiteY4" fmla="*/ 490 h 31076"/>
                  <a:gd name="connsiteX5" fmla="*/ 73858 w 79240"/>
                  <a:gd name="connsiteY5" fmla="*/ 18105 h 31076"/>
                  <a:gd name="connsiteX6" fmla="*/ 79136 w 79240"/>
                  <a:gd name="connsiteY6" fmla="*/ 25693 h 31076"/>
                  <a:gd name="connsiteX7" fmla="*/ 72711 w 79240"/>
                  <a:gd name="connsiteY7" fmla="*/ 31076 h 3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240" h="31076">
                    <a:moveTo>
                      <a:pt x="72711" y="31076"/>
                    </a:moveTo>
                    <a:cubicBezTo>
                      <a:pt x="72330" y="31076"/>
                      <a:pt x="71937" y="31046"/>
                      <a:pt x="71548" y="30974"/>
                    </a:cubicBezTo>
                    <a:cubicBezTo>
                      <a:pt x="31516" y="23775"/>
                      <a:pt x="5154" y="13031"/>
                      <a:pt x="4048" y="12578"/>
                    </a:cubicBezTo>
                    <a:cubicBezTo>
                      <a:pt x="711" y="11204"/>
                      <a:pt x="-878" y="7387"/>
                      <a:pt x="492" y="4050"/>
                    </a:cubicBezTo>
                    <a:cubicBezTo>
                      <a:pt x="1870" y="713"/>
                      <a:pt x="5683" y="-877"/>
                      <a:pt x="9020" y="490"/>
                    </a:cubicBezTo>
                    <a:cubicBezTo>
                      <a:pt x="9281" y="599"/>
                      <a:pt x="35299" y="11174"/>
                      <a:pt x="73858" y="18105"/>
                    </a:cubicBezTo>
                    <a:cubicBezTo>
                      <a:pt x="77415" y="18743"/>
                      <a:pt x="79774" y="22144"/>
                      <a:pt x="79136" y="25693"/>
                    </a:cubicBezTo>
                    <a:cubicBezTo>
                      <a:pt x="78570" y="28860"/>
                      <a:pt x="75814" y="31076"/>
                      <a:pt x="72711" y="31076"/>
                    </a:cubicBezTo>
                    <a:close/>
                  </a:path>
                </a:pathLst>
              </a:custGeom>
              <a:grpFill/>
              <a:ln w="377" cap="flat">
                <a:noFill/>
                <a:prstDash val="solid"/>
                <a:miter/>
              </a:ln>
            </p:spPr>
            <p:txBody>
              <a:bodyPr rtlCol="0" anchor="ctr"/>
              <a:lstStyle/>
              <a:p>
                <a:endParaRPr lang="en-GB" dirty="0"/>
              </a:p>
            </p:txBody>
          </p:sp>
        </p:grpSp>
      </p:grpSp>
      <p:grpSp>
        <p:nvGrpSpPr>
          <p:cNvPr id="44" name="Group 43">
            <a:extLst>
              <a:ext uri="{FF2B5EF4-FFF2-40B4-BE49-F238E27FC236}">
                <a16:creationId xmlns:a16="http://schemas.microsoft.com/office/drawing/2014/main" id="{7A824472-2BB1-168C-F95E-F9B8B20055C7}"/>
              </a:ext>
            </a:extLst>
          </p:cNvPr>
          <p:cNvGrpSpPr/>
          <p:nvPr/>
        </p:nvGrpSpPr>
        <p:grpSpPr>
          <a:xfrm>
            <a:off x="544299" y="4002611"/>
            <a:ext cx="499503" cy="432000"/>
            <a:chOff x="544299" y="4002611"/>
            <a:chExt cx="499503" cy="432000"/>
          </a:xfrm>
        </p:grpSpPr>
        <p:grpSp>
          <p:nvGrpSpPr>
            <p:cNvPr id="246" name="Group 245">
              <a:extLst>
                <a:ext uri="{FF2B5EF4-FFF2-40B4-BE49-F238E27FC236}">
                  <a16:creationId xmlns:a16="http://schemas.microsoft.com/office/drawing/2014/main" id="{D6E74BAE-724B-4EB7-87B8-15F840CC8634}"/>
                </a:ext>
              </a:extLst>
            </p:cNvPr>
            <p:cNvGrpSpPr/>
            <p:nvPr/>
          </p:nvGrpSpPr>
          <p:grpSpPr>
            <a:xfrm>
              <a:off x="544299" y="4002611"/>
              <a:ext cx="499503" cy="241233"/>
              <a:chOff x="2559831" y="1626731"/>
              <a:chExt cx="489868" cy="236580"/>
            </a:xfrm>
            <a:solidFill>
              <a:schemeClr val="tx2"/>
            </a:solidFill>
          </p:grpSpPr>
          <p:sp>
            <p:nvSpPr>
              <p:cNvPr id="253" name="Freihandform: Form 231">
                <a:extLst>
                  <a:ext uri="{FF2B5EF4-FFF2-40B4-BE49-F238E27FC236}">
                    <a16:creationId xmlns:a16="http://schemas.microsoft.com/office/drawing/2014/main" id="{45EF18E0-9526-4A56-B517-373ADD463406}"/>
                  </a:ext>
                </a:extLst>
              </p:cNvPr>
              <p:cNvSpPr/>
              <p:nvPr/>
            </p:nvSpPr>
            <p:spPr>
              <a:xfrm>
                <a:off x="2707614" y="1771070"/>
                <a:ext cx="23984" cy="24029"/>
              </a:xfrm>
              <a:custGeom>
                <a:avLst/>
                <a:gdLst>
                  <a:gd name="connsiteX0" fmla="*/ 17382 w 23984"/>
                  <a:gd name="connsiteY0" fmla="*/ 24030 h 24029"/>
                  <a:gd name="connsiteX1" fmla="*/ 12681 w 23984"/>
                  <a:gd name="connsiteY1" fmla="*/ 22083 h 24029"/>
                  <a:gd name="connsiteX2" fmla="*/ 1931 w 23984"/>
                  <a:gd name="connsiteY2" fmla="*/ 11304 h 24029"/>
                  <a:gd name="connsiteX3" fmla="*/ 1931 w 23984"/>
                  <a:gd name="connsiteY3" fmla="*/ 1931 h 24029"/>
                  <a:gd name="connsiteX4" fmla="*/ 11304 w 23984"/>
                  <a:gd name="connsiteY4" fmla="*/ 1931 h 24029"/>
                  <a:gd name="connsiteX5" fmla="*/ 22053 w 23984"/>
                  <a:gd name="connsiteY5" fmla="*/ 12711 h 24029"/>
                  <a:gd name="connsiteX6" fmla="*/ 22053 w 23984"/>
                  <a:gd name="connsiteY6" fmla="*/ 22083 h 24029"/>
                  <a:gd name="connsiteX7" fmla="*/ 17382 w 23984"/>
                  <a:gd name="connsiteY7" fmla="*/ 24030 h 24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84" h="24029">
                    <a:moveTo>
                      <a:pt x="17382" y="24030"/>
                    </a:moveTo>
                    <a:cubicBezTo>
                      <a:pt x="15675" y="24030"/>
                      <a:pt x="13999" y="23371"/>
                      <a:pt x="12681" y="22083"/>
                    </a:cubicBezTo>
                    <a:lnTo>
                      <a:pt x="1931" y="11304"/>
                    </a:lnTo>
                    <a:cubicBezTo>
                      <a:pt x="-644" y="8729"/>
                      <a:pt x="-644" y="4536"/>
                      <a:pt x="1931" y="1931"/>
                    </a:cubicBezTo>
                    <a:cubicBezTo>
                      <a:pt x="4536" y="-644"/>
                      <a:pt x="8699" y="-644"/>
                      <a:pt x="11304" y="1931"/>
                    </a:cubicBezTo>
                    <a:lnTo>
                      <a:pt x="22053" y="12711"/>
                    </a:lnTo>
                    <a:cubicBezTo>
                      <a:pt x="24629" y="15286"/>
                      <a:pt x="24629" y="19478"/>
                      <a:pt x="22053" y="22083"/>
                    </a:cubicBezTo>
                    <a:cubicBezTo>
                      <a:pt x="20736" y="23401"/>
                      <a:pt x="19059" y="24030"/>
                      <a:pt x="17382" y="24030"/>
                    </a:cubicBezTo>
                    <a:close/>
                  </a:path>
                </a:pathLst>
              </a:custGeom>
              <a:grpFill/>
              <a:ln w="2991" cap="flat">
                <a:noFill/>
                <a:prstDash val="solid"/>
                <a:miter/>
              </a:ln>
            </p:spPr>
            <p:txBody>
              <a:bodyPr rtlCol="0" anchor="ctr"/>
              <a:lstStyle/>
              <a:p>
                <a:endParaRPr lang="en-GB" dirty="0"/>
              </a:p>
            </p:txBody>
          </p:sp>
          <p:sp>
            <p:nvSpPr>
              <p:cNvPr id="254" name="Freihandform: Form 232">
                <a:extLst>
                  <a:ext uri="{FF2B5EF4-FFF2-40B4-BE49-F238E27FC236}">
                    <a16:creationId xmlns:a16="http://schemas.microsoft.com/office/drawing/2014/main" id="{75C01133-876E-49FA-9751-3EF527287239}"/>
                  </a:ext>
                </a:extLst>
              </p:cNvPr>
              <p:cNvSpPr/>
              <p:nvPr/>
            </p:nvSpPr>
            <p:spPr>
              <a:xfrm>
                <a:off x="2681982" y="1796702"/>
                <a:ext cx="37369" cy="37444"/>
              </a:xfrm>
              <a:custGeom>
                <a:avLst/>
                <a:gdLst>
                  <a:gd name="connsiteX0" fmla="*/ 30767 w 37369"/>
                  <a:gd name="connsiteY0" fmla="*/ 37444 h 37444"/>
                  <a:gd name="connsiteX1" fmla="*/ 26066 w 37369"/>
                  <a:gd name="connsiteY1" fmla="*/ 35498 h 37444"/>
                  <a:gd name="connsiteX2" fmla="*/ 1931 w 37369"/>
                  <a:gd name="connsiteY2" fmla="*/ 11304 h 37444"/>
                  <a:gd name="connsiteX3" fmla="*/ 1931 w 37369"/>
                  <a:gd name="connsiteY3" fmla="*/ 1931 h 37444"/>
                  <a:gd name="connsiteX4" fmla="*/ 11304 w 37369"/>
                  <a:gd name="connsiteY4" fmla="*/ 1931 h 37444"/>
                  <a:gd name="connsiteX5" fmla="*/ 35438 w 37369"/>
                  <a:gd name="connsiteY5" fmla="*/ 26126 h 37444"/>
                  <a:gd name="connsiteX6" fmla="*/ 35438 w 37369"/>
                  <a:gd name="connsiteY6" fmla="*/ 35498 h 37444"/>
                  <a:gd name="connsiteX7" fmla="*/ 30767 w 37369"/>
                  <a:gd name="connsiteY7" fmla="*/ 37444 h 3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69" h="37444">
                    <a:moveTo>
                      <a:pt x="30767" y="37444"/>
                    </a:moveTo>
                    <a:cubicBezTo>
                      <a:pt x="29060" y="37444"/>
                      <a:pt x="27383" y="36786"/>
                      <a:pt x="26066" y="35498"/>
                    </a:cubicBezTo>
                    <a:lnTo>
                      <a:pt x="1931" y="11304"/>
                    </a:lnTo>
                    <a:cubicBezTo>
                      <a:pt x="-644" y="8729"/>
                      <a:pt x="-644" y="4536"/>
                      <a:pt x="1931" y="1931"/>
                    </a:cubicBezTo>
                    <a:cubicBezTo>
                      <a:pt x="4506" y="-644"/>
                      <a:pt x="8699" y="-644"/>
                      <a:pt x="11304" y="1931"/>
                    </a:cubicBezTo>
                    <a:lnTo>
                      <a:pt x="35438" y="26126"/>
                    </a:lnTo>
                    <a:cubicBezTo>
                      <a:pt x="38013" y="28701"/>
                      <a:pt x="38013" y="32893"/>
                      <a:pt x="35438" y="35498"/>
                    </a:cubicBezTo>
                    <a:cubicBezTo>
                      <a:pt x="34151" y="36786"/>
                      <a:pt x="32444" y="37444"/>
                      <a:pt x="30767" y="37444"/>
                    </a:cubicBezTo>
                    <a:close/>
                  </a:path>
                </a:pathLst>
              </a:custGeom>
              <a:grpFill/>
              <a:ln w="2991" cap="flat">
                <a:noFill/>
                <a:prstDash val="solid"/>
                <a:miter/>
              </a:ln>
            </p:spPr>
            <p:txBody>
              <a:bodyPr rtlCol="0" anchor="ctr"/>
              <a:lstStyle/>
              <a:p>
                <a:endParaRPr lang="en-GB" dirty="0"/>
              </a:p>
            </p:txBody>
          </p:sp>
          <p:sp>
            <p:nvSpPr>
              <p:cNvPr id="255" name="Freihandform: Form 233">
                <a:extLst>
                  <a:ext uri="{FF2B5EF4-FFF2-40B4-BE49-F238E27FC236}">
                    <a16:creationId xmlns:a16="http://schemas.microsoft.com/office/drawing/2014/main" id="{3BE057B7-31F8-44C0-823C-3C135F5FBFD8}"/>
                  </a:ext>
                </a:extLst>
              </p:cNvPr>
              <p:cNvSpPr/>
              <p:nvPr/>
            </p:nvSpPr>
            <p:spPr>
              <a:xfrm>
                <a:off x="2559831" y="1693546"/>
                <a:ext cx="137931" cy="169765"/>
              </a:xfrm>
              <a:custGeom>
                <a:avLst/>
                <a:gdLst>
                  <a:gd name="connsiteX0" fmla="*/ 131299 w 137931"/>
                  <a:gd name="connsiteY0" fmla="*/ 169765 h 169765"/>
                  <a:gd name="connsiteX1" fmla="*/ 126598 w 137931"/>
                  <a:gd name="connsiteY1" fmla="*/ 167819 h 169765"/>
                  <a:gd name="connsiteX2" fmla="*/ 62608 w 137931"/>
                  <a:gd name="connsiteY2" fmla="*/ 103710 h 169765"/>
                  <a:gd name="connsiteX3" fmla="*/ 39732 w 137931"/>
                  <a:gd name="connsiteY3" fmla="*/ 49662 h 169765"/>
                  <a:gd name="connsiteX4" fmla="*/ 1913 w 137931"/>
                  <a:gd name="connsiteY4" fmla="*/ 11274 h 169765"/>
                  <a:gd name="connsiteX5" fmla="*/ 1973 w 137931"/>
                  <a:gd name="connsiteY5" fmla="*/ 1902 h 169765"/>
                  <a:gd name="connsiteX6" fmla="*/ 11345 w 137931"/>
                  <a:gd name="connsiteY6" fmla="*/ 1962 h 169765"/>
                  <a:gd name="connsiteX7" fmla="*/ 51080 w 137931"/>
                  <a:gd name="connsiteY7" fmla="*/ 42266 h 169765"/>
                  <a:gd name="connsiteX8" fmla="*/ 52996 w 137931"/>
                  <a:gd name="connsiteY8" fmla="*/ 47027 h 169765"/>
                  <a:gd name="connsiteX9" fmla="*/ 72011 w 137931"/>
                  <a:gd name="connsiteY9" fmla="*/ 94337 h 169765"/>
                  <a:gd name="connsiteX10" fmla="*/ 136000 w 137931"/>
                  <a:gd name="connsiteY10" fmla="*/ 158446 h 169765"/>
                  <a:gd name="connsiteX11" fmla="*/ 136000 w 137931"/>
                  <a:gd name="connsiteY11" fmla="*/ 167819 h 169765"/>
                  <a:gd name="connsiteX12" fmla="*/ 131299 w 137931"/>
                  <a:gd name="connsiteY12" fmla="*/ 169765 h 16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931" h="169765">
                    <a:moveTo>
                      <a:pt x="131299" y="169765"/>
                    </a:moveTo>
                    <a:cubicBezTo>
                      <a:pt x="129592" y="169765"/>
                      <a:pt x="127915" y="169106"/>
                      <a:pt x="126598" y="167819"/>
                    </a:cubicBezTo>
                    <a:lnTo>
                      <a:pt x="62608" y="103710"/>
                    </a:lnTo>
                    <a:cubicBezTo>
                      <a:pt x="48176" y="89247"/>
                      <a:pt x="40121" y="70143"/>
                      <a:pt x="39732" y="49662"/>
                    </a:cubicBezTo>
                    <a:lnTo>
                      <a:pt x="1913" y="11274"/>
                    </a:lnTo>
                    <a:cubicBezTo>
                      <a:pt x="-662" y="8669"/>
                      <a:pt x="-632" y="4477"/>
                      <a:pt x="1973" y="1902"/>
                    </a:cubicBezTo>
                    <a:cubicBezTo>
                      <a:pt x="4578" y="-673"/>
                      <a:pt x="8770" y="-614"/>
                      <a:pt x="11345" y="1962"/>
                    </a:cubicBezTo>
                    <a:lnTo>
                      <a:pt x="51080" y="42266"/>
                    </a:lnTo>
                    <a:cubicBezTo>
                      <a:pt x="52338" y="43523"/>
                      <a:pt x="53026" y="45230"/>
                      <a:pt x="52996" y="47027"/>
                    </a:cubicBezTo>
                    <a:cubicBezTo>
                      <a:pt x="52727" y="64963"/>
                      <a:pt x="59464" y="81761"/>
                      <a:pt x="72011" y="94337"/>
                    </a:cubicBezTo>
                    <a:lnTo>
                      <a:pt x="136000" y="158446"/>
                    </a:lnTo>
                    <a:cubicBezTo>
                      <a:pt x="138575" y="161022"/>
                      <a:pt x="138575" y="165214"/>
                      <a:pt x="136000" y="167819"/>
                    </a:cubicBezTo>
                    <a:cubicBezTo>
                      <a:pt x="134682" y="169136"/>
                      <a:pt x="132976" y="169765"/>
                      <a:pt x="131299" y="169765"/>
                    </a:cubicBezTo>
                    <a:close/>
                  </a:path>
                </a:pathLst>
              </a:custGeom>
              <a:grpFill/>
              <a:ln w="2991" cap="flat">
                <a:noFill/>
                <a:prstDash val="solid"/>
                <a:miter/>
              </a:ln>
            </p:spPr>
            <p:txBody>
              <a:bodyPr rtlCol="0" anchor="ctr"/>
              <a:lstStyle/>
              <a:p>
                <a:endParaRPr lang="en-GB" dirty="0"/>
              </a:p>
            </p:txBody>
          </p:sp>
          <p:sp>
            <p:nvSpPr>
              <p:cNvPr id="256" name="Freihandform: Form 234">
                <a:extLst>
                  <a:ext uri="{FF2B5EF4-FFF2-40B4-BE49-F238E27FC236}">
                    <a16:creationId xmlns:a16="http://schemas.microsoft.com/office/drawing/2014/main" id="{1FDE7C10-ACE3-4D54-BC6B-9998B8E5B7B2}"/>
                  </a:ext>
                </a:extLst>
              </p:cNvPr>
              <p:cNvSpPr/>
              <p:nvPr/>
            </p:nvSpPr>
            <p:spPr>
              <a:xfrm>
                <a:off x="2625703" y="1626731"/>
                <a:ext cx="185246" cy="124142"/>
              </a:xfrm>
              <a:custGeom>
                <a:avLst/>
                <a:gdLst>
                  <a:gd name="connsiteX0" fmla="*/ 156545 w 185246"/>
                  <a:gd name="connsiteY0" fmla="*/ 124142 h 124142"/>
                  <a:gd name="connsiteX1" fmla="*/ 151754 w 185246"/>
                  <a:gd name="connsiteY1" fmla="*/ 122106 h 124142"/>
                  <a:gd name="connsiteX2" fmla="*/ 119355 w 185246"/>
                  <a:gd name="connsiteY2" fmla="*/ 88210 h 124142"/>
                  <a:gd name="connsiteX3" fmla="*/ 118217 w 185246"/>
                  <a:gd name="connsiteY3" fmla="*/ 80694 h 124142"/>
                  <a:gd name="connsiteX4" fmla="*/ 124925 w 185246"/>
                  <a:gd name="connsiteY4" fmla="*/ 77071 h 124142"/>
                  <a:gd name="connsiteX5" fmla="*/ 160228 w 185246"/>
                  <a:gd name="connsiteY5" fmla="*/ 81293 h 124142"/>
                  <a:gd name="connsiteX6" fmla="*/ 167774 w 185246"/>
                  <a:gd name="connsiteY6" fmla="*/ 79137 h 124142"/>
                  <a:gd name="connsiteX7" fmla="*/ 171637 w 185246"/>
                  <a:gd name="connsiteY7" fmla="*/ 72280 h 124142"/>
                  <a:gd name="connsiteX8" fmla="*/ 171906 w 185246"/>
                  <a:gd name="connsiteY8" fmla="*/ 69885 h 124142"/>
                  <a:gd name="connsiteX9" fmla="*/ 162923 w 185246"/>
                  <a:gd name="connsiteY9" fmla="*/ 58446 h 124142"/>
                  <a:gd name="connsiteX10" fmla="*/ 71655 w 185246"/>
                  <a:gd name="connsiteY10" fmla="*/ 47547 h 124142"/>
                  <a:gd name="connsiteX11" fmla="*/ 42460 w 185246"/>
                  <a:gd name="connsiteY11" fmla="*/ 48235 h 124142"/>
                  <a:gd name="connsiteX12" fmla="*/ 36412 w 185246"/>
                  <a:gd name="connsiteY12" fmla="*/ 46379 h 124142"/>
                  <a:gd name="connsiteX13" fmla="*/ 1887 w 185246"/>
                  <a:gd name="connsiteY13" fmla="*/ 11285 h 124142"/>
                  <a:gd name="connsiteX14" fmla="*/ 1976 w 185246"/>
                  <a:gd name="connsiteY14" fmla="*/ 1913 h 124142"/>
                  <a:gd name="connsiteX15" fmla="*/ 11349 w 185246"/>
                  <a:gd name="connsiteY15" fmla="*/ 1973 h 124142"/>
                  <a:gd name="connsiteX16" fmla="*/ 43418 w 185246"/>
                  <a:gd name="connsiteY16" fmla="*/ 34581 h 124142"/>
                  <a:gd name="connsiteX17" fmla="*/ 73572 w 185246"/>
                  <a:gd name="connsiteY17" fmla="*/ 34402 h 124142"/>
                  <a:gd name="connsiteX18" fmla="*/ 164510 w 185246"/>
                  <a:gd name="connsiteY18" fmla="*/ 45241 h 124142"/>
                  <a:gd name="connsiteX19" fmla="*/ 185081 w 185246"/>
                  <a:gd name="connsiteY19" fmla="*/ 71412 h 124142"/>
                  <a:gd name="connsiteX20" fmla="*/ 184782 w 185246"/>
                  <a:gd name="connsiteY20" fmla="*/ 73807 h 124142"/>
                  <a:gd name="connsiteX21" fmla="*/ 175978 w 185246"/>
                  <a:gd name="connsiteY21" fmla="*/ 89498 h 124142"/>
                  <a:gd name="connsiteX22" fmla="*/ 158671 w 185246"/>
                  <a:gd name="connsiteY22" fmla="*/ 94408 h 124142"/>
                  <a:gd name="connsiteX23" fmla="*/ 141663 w 185246"/>
                  <a:gd name="connsiteY23" fmla="*/ 92372 h 124142"/>
                  <a:gd name="connsiteX24" fmla="*/ 161336 w 185246"/>
                  <a:gd name="connsiteY24" fmla="*/ 112943 h 124142"/>
                  <a:gd name="connsiteX25" fmla="*/ 161126 w 185246"/>
                  <a:gd name="connsiteY25" fmla="*/ 122286 h 124142"/>
                  <a:gd name="connsiteX26" fmla="*/ 156545 w 185246"/>
                  <a:gd name="connsiteY26" fmla="*/ 124142 h 124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5246" h="124142">
                    <a:moveTo>
                      <a:pt x="156545" y="124142"/>
                    </a:moveTo>
                    <a:cubicBezTo>
                      <a:pt x="154808" y="124142"/>
                      <a:pt x="153072" y="123454"/>
                      <a:pt x="151754" y="122106"/>
                    </a:cubicBezTo>
                    <a:lnTo>
                      <a:pt x="119355" y="88210"/>
                    </a:lnTo>
                    <a:cubicBezTo>
                      <a:pt x="117409" y="86204"/>
                      <a:pt x="116960" y="83180"/>
                      <a:pt x="118217" y="80694"/>
                    </a:cubicBezTo>
                    <a:cubicBezTo>
                      <a:pt x="119475" y="78209"/>
                      <a:pt x="122200" y="76772"/>
                      <a:pt x="124925" y="77071"/>
                    </a:cubicBezTo>
                    <a:lnTo>
                      <a:pt x="160228" y="81293"/>
                    </a:lnTo>
                    <a:cubicBezTo>
                      <a:pt x="162923" y="81622"/>
                      <a:pt x="165618" y="80844"/>
                      <a:pt x="167774" y="79137"/>
                    </a:cubicBezTo>
                    <a:cubicBezTo>
                      <a:pt x="169930" y="77430"/>
                      <a:pt x="171307" y="74975"/>
                      <a:pt x="171637" y="72280"/>
                    </a:cubicBezTo>
                    <a:lnTo>
                      <a:pt x="171906" y="69885"/>
                    </a:lnTo>
                    <a:cubicBezTo>
                      <a:pt x="172565" y="64225"/>
                      <a:pt x="168552" y="59105"/>
                      <a:pt x="162923" y="58446"/>
                    </a:cubicBezTo>
                    <a:lnTo>
                      <a:pt x="71655" y="47547"/>
                    </a:lnTo>
                    <a:cubicBezTo>
                      <a:pt x="61654" y="46109"/>
                      <a:pt x="51832" y="46349"/>
                      <a:pt x="42460" y="48235"/>
                    </a:cubicBezTo>
                    <a:cubicBezTo>
                      <a:pt x="40274" y="48655"/>
                      <a:pt x="37999" y="47996"/>
                      <a:pt x="36412" y="46379"/>
                    </a:cubicBezTo>
                    <a:lnTo>
                      <a:pt x="1887" y="11285"/>
                    </a:lnTo>
                    <a:cubicBezTo>
                      <a:pt x="-658" y="8680"/>
                      <a:pt x="-629" y="4488"/>
                      <a:pt x="1976" y="1913"/>
                    </a:cubicBezTo>
                    <a:cubicBezTo>
                      <a:pt x="4582" y="-662"/>
                      <a:pt x="8774" y="-632"/>
                      <a:pt x="11349" y="1973"/>
                    </a:cubicBezTo>
                    <a:lnTo>
                      <a:pt x="43418" y="34581"/>
                    </a:lnTo>
                    <a:cubicBezTo>
                      <a:pt x="53180" y="32964"/>
                      <a:pt x="63301" y="32934"/>
                      <a:pt x="73572" y="34402"/>
                    </a:cubicBezTo>
                    <a:lnTo>
                      <a:pt x="164510" y="45241"/>
                    </a:lnTo>
                    <a:cubicBezTo>
                      <a:pt x="177386" y="46768"/>
                      <a:pt x="186608" y="58506"/>
                      <a:pt x="185081" y="71412"/>
                    </a:cubicBezTo>
                    <a:lnTo>
                      <a:pt x="184782" y="73807"/>
                    </a:lnTo>
                    <a:cubicBezTo>
                      <a:pt x="184033" y="80035"/>
                      <a:pt x="180919" y="85605"/>
                      <a:pt x="175978" y="89498"/>
                    </a:cubicBezTo>
                    <a:cubicBezTo>
                      <a:pt x="171038" y="93390"/>
                      <a:pt x="164869" y="95097"/>
                      <a:pt x="158671" y="94408"/>
                    </a:cubicBezTo>
                    <a:lnTo>
                      <a:pt x="141663" y="92372"/>
                    </a:lnTo>
                    <a:lnTo>
                      <a:pt x="161336" y="112943"/>
                    </a:lnTo>
                    <a:cubicBezTo>
                      <a:pt x="163851" y="115578"/>
                      <a:pt x="163761" y="119771"/>
                      <a:pt x="161126" y="122286"/>
                    </a:cubicBezTo>
                    <a:cubicBezTo>
                      <a:pt x="159809" y="123543"/>
                      <a:pt x="158192" y="124142"/>
                      <a:pt x="156545" y="124142"/>
                    </a:cubicBezTo>
                    <a:close/>
                  </a:path>
                </a:pathLst>
              </a:custGeom>
              <a:grpFill/>
              <a:ln w="2991" cap="flat">
                <a:noFill/>
                <a:prstDash val="solid"/>
                <a:miter/>
              </a:ln>
            </p:spPr>
            <p:txBody>
              <a:bodyPr rtlCol="0" anchor="ctr"/>
              <a:lstStyle/>
              <a:p>
                <a:endParaRPr lang="en-GB" dirty="0"/>
              </a:p>
            </p:txBody>
          </p:sp>
          <p:sp>
            <p:nvSpPr>
              <p:cNvPr id="257" name="Freihandform: Form 235">
                <a:extLst>
                  <a:ext uri="{FF2B5EF4-FFF2-40B4-BE49-F238E27FC236}">
                    <a16:creationId xmlns:a16="http://schemas.microsoft.com/office/drawing/2014/main" id="{A051B0F7-5A64-4DA8-8EB3-A6B19C65DE8B}"/>
                  </a:ext>
                </a:extLst>
              </p:cNvPr>
              <p:cNvSpPr/>
              <p:nvPr/>
            </p:nvSpPr>
            <p:spPr>
              <a:xfrm>
                <a:off x="2733185" y="1745409"/>
                <a:ext cx="21559" cy="21604"/>
              </a:xfrm>
              <a:custGeom>
                <a:avLst/>
                <a:gdLst>
                  <a:gd name="connsiteX0" fmla="*/ 14957 w 21559"/>
                  <a:gd name="connsiteY0" fmla="*/ 21604 h 21604"/>
                  <a:gd name="connsiteX1" fmla="*/ 10256 w 21559"/>
                  <a:gd name="connsiteY1" fmla="*/ 19658 h 21604"/>
                  <a:gd name="connsiteX2" fmla="*/ 1931 w 21559"/>
                  <a:gd name="connsiteY2" fmla="*/ 11304 h 21604"/>
                  <a:gd name="connsiteX3" fmla="*/ 1931 w 21559"/>
                  <a:gd name="connsiteY3" fmla="*/ 1931 h 21604"/>
                  <a:gd name="connsiteX4" fmla="*/ 11304 w 21559"/>
                  <a:gd name="connsiteY4" fmla="*/ 1931 h 21604"/>
                  <a:gd name="connsiteX5" fmla="*/ 19628 w 21559"/>
                  <a:gd name="connsiteY5" fmla="*/ 10286 h 21604"/>
                  <a:gd name="connsiteX6" fmla="*/ 19628 w 21559"/>
                  <a:gd name="connsiteY6" fmla="*/ 19658 h 21604"/>
                  <a:gd name="connsiteX7" fmla="*/ 14957 w 21559"/>
                  <a:gd name="connsiteY7" fmla="*/ 21604 h 21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59" h="21604">
                    <a:moveTo>
                      <a:pt x="14957" y="21604"/>
                    </a:moveTo>
                    <a:cubicBezTo>
                      <a:pt x="13250" y="21604"/>
                      <a:pt x="11573" y="20945"/>
                      <a:pt x="10256" y="19658"/>
                    </a:cubicBezTo>
                    <a:lnTo>
                      <a:pt x="1931" y="11304"/>
                    </a:lnTo>
                    <a:cubicBezTo>
                      <a:pt x="-644" y="8729"/>
                      <a:pt x="-644" y="4536"/>
                      <a:pt x="1931" y="1931"/>
                    </a:cubicBezTo>
                    <a:cubicBezTo>
                      <a:pt x="4536" y="-644"/>
                      <a:pt x="8699" y="-644"/>
                      <a:pt x="11304" y="1931"/>
                    </a:cubicBezTo>
                    <a:lnTo>
                      <a:pt x="19628" y="10286"/>
                    </a:lnTo>
                    <a:cubicBezTo>
                      <a:pt x="22203" y="12861"/>
                      <a:pt x="22203" y="17053"/>
                      <a:pt x="19628" y="19658"/>
                    </a:cubicBezTo>
                    <a:cubicBezTo>
                      <a:pt x="18341" y="20975"/>
                      <a:pt x="16664" y="21604"/>
                      <a:pt x="14957" y="21604"/>
                    </a:cubicBezTo>
                    <a:close/>
                  </a:path>
                </a:pathLst>
              </a:custGeom>
              <a:grpFill/>
              <a:ln w="2991" cap="flat">
                <a:noFill/>
                <a:prstDash val="solid"/>
                <a:miter/>
              </a:ln>
            </p:spPr>
            <p:txBody>
              <a:bodyPr rtlCol="0" anchor="ctr"/>
              <a:lstStyle/>
              <a:p>
                <a:endParaRPr lang="en-GB" dirty="0"/>
              </a:p>
            </p:txBody>
          </p:sp>
          <p:sp>
            <p:nvSpPr>
              <p:cNvPr id="258" name="Freihandform: Form 236">
                <a:extLst>
                  <a:ext uri="{FF2B5EF4-FFF2-40B4-BE49-F238E27FC236}">
                    <a16:creationId xmlns:a16="http://schemas.microsoft.com/office/drawing/2014/main" id="{399379FB-21B6-46D3-8657-44EE70AEE651}"/>
                  </a:ext>
                </a:extLst>
              </p:cNvPr>
              <p:cNvSpPr/>
              <p:nvPr/>
            </p:nvSpPr>
            <p:spPr>
              <a:xfrm>
                <a:off x="2883681" y="1768768"/>
                <a:ext cx="19224" cy="19056"/>
              </a:xfrm>
              <a:custGeom>
                <a:avLst/>
                <a:gdLst>
                  <a:gd name="connsiteX0" fmla="*/ 6603 w 19224"/>
                  <a:gd name="connsiteY0" fmla="*/ 19056 h 19056"/>
                  <a:gd name="connsiteX1" fmla="*/ 1872 w 19224"/>
                  <a:gd name="connsiteY1" fmla="*/ 17050 h 19056"/>
                  <a:gd name="connsiteX2" fmla="*/ 1992 w 19224"/>
                  <a:gd name="connsiteY2" fmla="*/ 7678 h 19056"/>
                  <a:gd name="connsiteX3" fmla="*/ 7981 w 19224"/>
                  <a:gd name="connsiteY3" fmla="*/ 1869 h 19056"/>
                  <a:gd name="connsiteX4" fmla="*/ 17353 w 19224"/>
                  <a:gd name="connsiteY4" fmla="*/ 2018 h 19056"/>
                  <a:gd name="connsiteX5" fmla="*/ 17233 w 19224"/>
                  <a:gd name="connsiteY5" fmla="*/ 11391 h 19056"/>
                  <a:gd name="connsiteX6" fmla="*/ 11244 w 19224"/>
                  <a:gd name="connsiteY6" fmla="*/ 17200 h 19056"/>
                  <a:gd name="connsiteX7" fmla="*/ 6603 w 19224"/>
                  <a:gd name="connsiteY7" fmla="*/ 19056 h 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4" h="19056">
                    <a:moveTo>
                      <a:pt x="6603" y="19056"/>
                    </a:moveTo>
                    <a:cubicBezTo>
                      <a:pt x="4866" y="19056"/>
                      <a:pt x="3160" y="18397"/>
                      <a:pt x="1872" y="17050"/>
                    </a:cubicBezTo>
                    <a:cubicBezTo>
                      <a:pt x="-673" y="14415"/>
                      <a:pt x="-613" y="10253"/>
                      <a:pt x="1992" y="7678"/>
                    </a:cubicBezTo>
                    <a:lnTo>
                      <a:pt x="7981" y="1869"/>
                    </a:lnTo>
                    <a:cubicBezTo>
                      <a:pt x="10616" y="-677"/>
                      <a:pt x="14808" y="-617"/>
                      <a:pt x="17353" y="2018"/>
                    </a:cubicBezTo>
                    <a:cubicBezTo>
                      <a:pt x="19898" y="4653"/>
                      <a:pt x="19838" y="8815"/>
                      <a:pt x="17233" y="11391"/>
                    </a:cubicBezTo>
                    <a:lnTo>
                      <a:pt x="11244" y="17200"/>
                    </a:lnTo>
                    <a:cubicBezTo>
                      <a:pt x="9927" y="18427"/>
                      <a:pt x="8250" y="19056"/>
                      <a:pt x="6603" y="19056"/>
                    </a:cubicBezTo>
                    <a:close/>
                  </a:path>
                </a:pathLst>
              </a:custGeom>
              <a:grpFill/>
              <a:ln w="2991" cap="flat">
                <a:noFill/>
                <a:prstDash val="solid"/>
                <a:miter/>
              </a:ln>
            </p:spPr>
            <p:txBody>
              <a:bodyPr rtlCol="0" anchor="ctr"/>
              <a:lstStyle/>
              <a:p>
                <a:endParaRPr lang="en-GB" dirty="0"/>
              </a:p>
            </p:txBody>
          </p:sp>
          <p:sp>
            <p:nvSpPr>
              <p:cNvPr id="259" name="Freihandform: Form 237">
                <a:extLst>
                  <a:ext uri="{FF2B5EF4-FFF2-40B4-BE49-F238E27FC236}">
                    <a16:creationId xmlns:a16="http://schemas.microsoft.com/office/drawing/2014/main" id="{9A4A17B2-5A44-4611-9A00-403F6BEE4948}"/>
                  </a:ext>
                </a:extLst>
              </p:cNvPr>
              <p:cNvSpPr/>
              <p:nvPr/>
            </p:nvSpPr>
            <p:spPr>
              <a:xfrm>
                <a:off x="2909316" y="1794389"/>
                <a:ext cx="19187" cy="19096"/>
              </a:xfrm>
              <a:custGeom>
                <a:avLst/>
                <a:gdLst>
                  <a:gd name="connsiteX0" fmla="*/ 6629 w 19187"/>
                  <a:gd name="connsiteY0" fmla="*/ 19097 h 19096"/>
                  <a:gd name="connsiteX1" fmla="*/ 1898 w 19187"/>
                  <a:gd name="connsiteY1" fmla="*/ 17120 h 19096"/>
                  <a:gd name="connsiteX2" fmla="*/ 1988 w 19187"/>
                  <a:gd name="connsiteY2" fmla="*/ 7748 h 19096"/>
                  <a:gd name="connsiteX3" fmla="*/ 7917 w 19187"/>
                  <a:gd name="connsiteY3" fmla="*/ 1909 h 19096"/>
                  <a:gd name="connsiteX4" fmla="*/ 17289 w 19187"/>
                  <a:gd name="connsiteY4" fmla="*/ 1999 h 19096"/>
                  <a:gd name="connsiteX5" fmla="*/ 17199 w 19187"/>
                  <a:gd name="connsiteY5" fmla="*/ 11371 h 19096"/>
                  <a:gd name="connsiteX6" fmla="*/ 11270 w 19187"/>
                  <a:gd name="connsiteY6" fmla="*/ 17210 h 19096"/>
                  <a:gd name="connsiteX7" fmla="*/ 6629 w 19187"/>
                  <a:gd name="connsiteY7" fmla="*/ 19097 h 1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87" h="19096">
                    <a:moveTo>
                      <a:pt x="6629" y="19097"/>
                    </a:moveTo>
                    <a:cubicBezTo>
                      <a:pt x="4922" y="19097"/>
                      <a:pt x="3216" y="18438"/>
                      <a:pt x="1898" y="17120"/>
                    </a:cubicBezTo>
                    <a:cubicBezTo>
                      <a:pt x="-677" y="14515"/>
                      <a:pt x="-617" y="10323"/>
                      <a:pt x="1988" y="7748"/>
                    </a:cubicBezTo>
                    <a:lnTo>
                      <a:pt x="7917" y="1909"/>
                    </a:lnTo>
                    <a:cubicBezTo>
                      <a:pt x="10522" y="-666"/>
                      <a:pt x="14714" y="-636"/>
                      <a:pt x="17289" y="1999"/>
                    </a:cubicBezTo>
                    <a:cubicBezTo>
                      <a:pt x="19864" y="4604"/>
                      <a:pt x="19804" y="8796"/>
                      <a:pt x="17199" y="11371"/>
                    </a:cubicBezTo>
                    <a:lnTo>
                      <a:pt x="11270" y="17210"/>
                    </a:lnTo>
                    <a:cubicBezTo>
                      <a:pt x="9983" y="18468"/>
                      <a:pt x="8276" y="19097"/>
                      <a:pt x="6629" y="19097"/>
                    </a:cubicBezTo>
                    <a:close/>
                  </a:path>
                </a:pathLst>
              </a:custGeom>
              <a:grpFill/>
              <a:ln w="2991" cap="flat">
                <a:noFill/>
                <a:prstDash val="solid"/>
                <a:miter/>
              </a:ln>
            </p:spPr>
            <p:txBody>
              <a:bodyPr rtlCol="0" anchor="ctr"/>
              <a:lstStyle/>
              <a:p>
                <a:endParaRPr lang="en-GB" dirty="0"/>
              </a:p>
            </p:txBody>
          </p:sp>
          <p:sp>
            <p:nvSpPr>
              <p:cNvPr id="260" name="Freihandform: Form 238">
                <a:extLst>
                  <a:ext uri="{FF2B5EF4-FFF2-40B4-BE49-F238E27FC236}">
                    <a16:creationId xmlns:a16="http://schemas.microsoft.com/office/drawing/2014/main" id="{90B43A37-76C5-4600-BD10-DFEA27C04EC2}"/>
                  </a:ext>
                </a:extLst>
              </p:cNvPr>
              <p:cNvSpPr/>
              <p:nvPr/>
            </p:nvSpPr>
            <p:spPr>
              <a:xfrm>
                <a:off x="2911746" y="1693535"/>
                <a:ext cx="137953" cy="169776"/>
              </a:xfrm>
              <a:custGeom>
                <a:avLst/>
                <a:gdLst>
                  <a:gd name="connsiteX0" fmla="*/ 6625 w 137953"/>
                  <a:gd name="connsiteY0" fmla="*/ 169776 h 169776"/>
                  <a:gd name="connsiteX1" fmla="*/ 1954 w 137953"/>
                  <a:gd name="connsiteY1" fmla="*/ 167830 h 169776"/>
                  <a:gd name="connsiteX2" fmla="*/ 1954 w 137953"/>
                  <a:gd name="connsiteY2" fmla="*/ 158458 h 169776"/>
                  <a:gd name="connsiteX3" fmla="*/ 65913 w 137953"/>
                  <a:gd name="connsiteY3" fmla="*/ 94348 h 169776"/>
                  <a:gd name="connsiteX4" fmla="*/ 84957 w 137953"/>
                  <a:gd name="connsiteY4" fmla="*/ 47038 h 169776"/>
                  <a:gd name="connsiteX5" fmla="*/ 86874 w 137953"/>
                  <a:gd name="connsiteY5" fmla="*/ 42277 h 169776"/>
                  <a:gd name="connsiteX6" fmla="*/ 126609 w 137953"/>
                  <a:gd name="connsiteY6" fmla="*/ 1973 h 169776"/>
                  <a:gd name="connsiteX7" fmla="*/ 135981 w 137953"/>
                  <a:gd name="connsiteY7" fmla="*/ 1913 h 169776"/>
                  <a:gd name="connsiteX8" fmla="*/ 136041 w 137953"/>
                  <a:gd name="connsiteY8" fmla="*/ 11285 h 169776"/>
                  <a:gd name="connsiteX9" fmla="*/ 98222 w 137953"/>
                  <a:gd name="connsiteY9" fmla="*/ 49673 h 169776"/>
                  <a:gd name="connsiteX10" fmla="*/ 75345 w 137953"/>
                  <a:gd name="connsiteY10" fmla="*/ 103721 h 169776"/>
                  <a:gd name="connsiteX11" fmla="*/ 11296 w 137953"/>
                  <a:gd name="connsiteY11" fmla="*/ 167830 h 169776"/>
                  <a:gd name="connsiteX12" fmla="*/ 6625 w 137953"/>
                  <a:gd name="connsiteY12" fmla="*/ 169776 h 16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953" h="169776">
                    <a:moveTo>
                      <a:pt x="6625" y="169776"/>
                    </a:moveTo>
                    <a:cubicBezTo>
                      <a:pt x="4918" y="169776"/>
                      <a:pt x="3241" y="169147"/>
                      <a:pt x="1954" y="167830"/>
                    </a:cubicBezTo>
                    <a:cubicBezTo>
                      <a:pt x="-651" y="165255"/>
                      <a:pt x="-651" y="161063"/>
                      <a:pt x="1954" y="158458"/>
                    </a:cubicBezTo>
                    <a:lnTo>
                      <a:pt x="65913" y="94348"/>
                    </a:lnTo>
                    <a:cubicBezTo>
                      <a:pt x="78459" y="81772"/>
                      <a:pt x="85227" y="64974"/>
                      <a:pt x="84957" y="47038"/>
                    </a:cubicBezTo>
                    <a:cubicBezTo>
                      <a:pt x="84927" y="45271"/>
                      <a:pt x="85616" y="43564"/>
                      <a:pt x="86874" y="42277"/>
                    </a:cubicBezTo>
                    <a:lnTo>
                      <a:pt x="126609" y="1973"/>
                    </a:lnTo>
                    <a:cubicBezTo>
                      <a:pt x="129154" y="-632"/>
                      <a:pt x="133346" y="-662"/>
                      <a:pt x="135981" y="1913"/>
                    </a:cubicBezTo>
                    <a:cubicBezTo>
                      <a:pt x="138586" y="4488"/>
                      <a:pt x="138616" y="8680"/>
                      <a:pt x="136041" y="11285"/>
                    </a:cubicBezTo>
                    <a:lnTo>
                      <a:pt x="98222" y="49673"/>
                    </a:lnTo>
                    <a:cubicBezTo>
                      <a:pt x="97833" y="70154"/>
                      <a:pt x="89778" y="89258"/>
                      <a:pt x="75345" y="103721"/>
                    </a:cubicBezTo>
                    <a:lnTo>
                      <a:pt x="11296" y="167830"/>
                    </a:lnTo>
                    <a:cubicBezTo>
                      <a:pt x="10009" y="169117"/>
                      <a:pt x="8302" y="169776"/>
                      <a:pt x="6625" y="169776"/>
                    </a:cubicBezTo>
                    <a:close/>
                  </a:path>
                </a:pathLst>
              </a:custGeom>
              <a:grpFill/>
              <a:ln w="2991" cap="flat">
                <a:noFill/>
                <a:prstDash val="solid"/>
                <a:miter/>
              </a:ln>
            </p:spPr>
            <p:txBody>
              <a:bodyPr rtlCol="0" anchor="ctr"/>
              <a:lstStyle/>
              <a:p>
                <a:endParaRPr lang="en-GB" dirty="0"/>
              </a:p>
            </p:txBody>
          </p:sp>
          <p:sp>
            <p:nvSpPr>
              <p:cNvPr id="261" name="Freihandform: Form 239">
                <a:extLst>
                  <a:ext uri="{FF2B5EF4-FFF2-40B4-BE49-F238E27FC236}">
                    <a16:creationId xmlns:a16="http://schemas.microsoft.com/office/drawing/2014/main" id="{3EF55818-5B3C-4420-8ABA-B265C29E2AA9}"/>
                  </a:ext>
                </a:extLst>
              </p:cNvPr>
              <p:cNvSpPr/>
              <p:nvPr/>
            </p:nvSpPr>
            <p:spPr>
              <a:xfrm>
                <a:off x="2798521" y="1626761"/>
                <a:ext cx="185276" cy="124112"/>
              </a:xfrm>
              <a:custGeom>
                <a:avLst/>
                <a:gdLst>
                  <a:gd name="connsiteX0" fmla="*/ 26725 w 185276"/>
                  <a:gd name="connsiteY0" fmla="*/ 124112 h 124112"/>
                  <a:gd name="connsiteX1" fmla="*/ 22024 w 185276"/>
                  <a:gd name="connsiteY1" fmla="*/ 122136 h 124112"/>
                  <a:gd name="connsiteX2" fmla="*/ 22084 w 185276"/>
                  <a:gd name="connsiteY2" fmla="*/ 112764 h 124112"/>
                  <a:gd name="connsiteX3" fmla="*/ 42685 w 185276"/>
                  <a:gd name="connsiteY3" fmla="*/ 92462 h 124112"/>
                  <a:gd name="connsiteX4" fmla="*/ 26576 w 185276"/>
                  <a:gd name="connsiteY4" fmla="*/ 94378 h 124112"/>
                  <a:gd name="connsiteX5" fmla="*/ 9268 w 185276"/>
                  <a:gd name="connsiteY5" fmla="*/ 89468 h 124112"/>
                  <a:gd name="connsiteX6" fmla="*/ 465 w 185276"/>
                  <a:gd name="connsiteY6" fmla="*/ 73777 h 124112"/>
                  <a:gd name="connsiteX7" fmla="*/ 165 w 185276"/>
                  <a:gd name="connsiteY7" fmla="*/ 71382 h 124112"/>
                  <a:gd name="connsiteX8" fmla="*/ 20737 w 185276"/>
                  <a:gd name="connsiteY8" fmla="*/ 45211 h 124112"/>
                  <a:gd name="connsiteX9" fmla="*/ 111076 w 185276"/>
                  <a:gd name="connsiteY9" fmla="*/ 34431 h 124112"/>
                  <a:gd name="connsiteX10" fmla="*/ 141828 w 185276"/>
                  <a:gd name="connsiteY10" fmla="*/ 34521 h 124112"/>
                  <a:gd name="connsiteX11" fmla="*/ 173928 w 185276"/>
                  <a:gd name="connsiteY11" fmla="*/ 1973 h 124112"/>
                  <a:gd name="connsiteX12" fmla="*/ 183300 w 185276"/>
                  <a:gd name="connsiteY12" fmla="*/ 1913 h 124112"/>
                  <a:gd name="connsiteX13" fmla="*/ 183390 w 185276"/>
                  <a:gd name="connsiteY13" fmla="*/ 11285 h 124112"/>
                  <a:gd name="connsiteX14" fmla="*/ 148835 w 185276"/>
                  <a:gd name="connsiteY14" fmla="*/ 46379 h 124112"/>
                  <a:gd name="connsiteX15" fmla="*/ 142786 w 185276"/>
                  <a:gd name="connsiteY15" fmla="*/ 48235 h 124112"/>
                  <a:gd name="connsiteX16" fmla="*/ 113621 w 185276"/>
                  <a:gd name="connsiteY16" fmla="*/ 47547 h 124112"/>
                  <a:gd name="connsiteX17" fmla="*/ 112693 w 185276"/>
                  <a:gd name="connsiteY17" fmla="*/ 47666 h 124112"/>
                  <a:gd name="connsiteX18" fmla="*/ 22353 w 185276"/>
                  <a:gd name="connsiteY18" fmla="*/ 58446 h 124112"/>
                  <a:gd name="connsiteX19" fmla="*/ 13370 w 185276"/>
                  <a:gd name="connsiteY19" fmla="*/ 69885 h 124112"/>
                  <a:gd name="connsiteX20" fmla="*/ 13670 w 185276"/>
                  <a:gd name="connsiteY20" fmla="*/ 72280 h 124112"/>
                  <a:gd name="connsiteX21" fmla="*/ 17533 w 185276"/>
                  <a:gd name="connsiteY21" fmla="*/ 79167 h 124112"/>
                  <a:gd name="connsiteX22" fmla="*/ 25078 w 185276"/>
                  <a:gd name="connsiteY22" fmla="*/ 81323 h 124112"/>
                  <a:gd name="connsiteX23" fmla="*/ 60382 w 185276"/>
                  <a:gd name="connsiteY23" fmla="*/ 77101 h 124112"/>
                  <a:gd name="connsiteX24" fmla="*/ 67119 w 185276"/>
                  <a:gd name="connsiteY24" fmla="*/ 80814 h 124112"/>
                  <a:gd name="connsiteX25" fmla="*/ 65802 w 185276"/>
                  <a:gd name="connsiteY25" fmla="*/ 88390 h 124112"/>
                  <a:gd name="connsiteX26" fmla="*/ 31396 w 185276"/>
                  <a:gd name="connsiteY26" fmla="*/ 122226 h 124112"/>
                  <a:gd name="connsiteX27" fmla="*/ 26725 w 185276"/>
                  <a:gd name="connsiteY27" fmla="*/ 124112 h 12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5276" h="124112">
                    <a:moveTo>
                      <a:pt x="26725" y="124112"/>
                    </a:moveTo>
                    <a:cubicBezTo>
                      <a:pt x="25018" y="124112"/>
                      <a:pt x="23312" y="123454"/>
                      <a:pt x="22024" y="122136"/>
                    </a:cubicBezTo>
                    <a:cubicBezTo>
                      <a:pt x="19449" y="119531"/>
                      <a:pt x="19479" y="115339"/>
                      <a:pt x="22084" y="112764"/>
                    </a:cubicBezTo>
                    <a:lnTo>
                      <a:pt x="42685" y="92462"/>
                    </a:lnTo>
                    <a:lnTo>
                      <a:pt x="26576" y="94378"/>
                    </a:lnTo>
                    <a:cubicBezTo>
                      <a:pt x="20347" y="95097"/>
                      <a:pt x="14209" y="93390"/>
                      <a:pt x="9268" y="89468"/>
                    </a:cubicBezTo>
                    <a:cubicBezTo>
                      <a:pt x="4327" y="85575"/>
                      <a:pt x="1213" y="80006"/>
                      <a:pt x="465" y="73777"/>
                    </a:cubicBezTo>
                    <a:lnTo>
                      <a:pt x="165" y="71382"/>
                    </a:lnTo>
                    <a:cubicBezTo>
                      <a:pt x="-1362" y="58476"/>
                      <a:pt x="7861" y="46738"/>
                      <a:pt x="20737" y="45211"/>
                    </a:cubicBezTo>
                    <a:lnTo>
                      <a:pt x="111076" y="34431"/>
                    </a:lnTo>
                    <a:cubicBezTo>
                      <a:pt x="121886" y="32874"/>
                      <a:pt x="132067" y="32934"/>
                      <a:pt x="141828" y="34521"/>
                    </a:cubicBezTo>
                    <a:lnTo>
                      <a:pt x="173928" y="1973"/>
                    </a:lnTo>
                    <a:cubicBezTo>
                      <a:pt x="176503" y="-632"/>
                      <a:pt x="180695" y="-662"/>
                      <a:pt x="183300" y="1913"/>
                    </a:cubicBezTo>
                    <a:cubicBezTo>
                      <a:pt x="185905" y="4488"/>
                      <a:pt x="185935" y="8680"/>
                      <a:pt x="183390" y="11285"/>
                    </a:cubicBezTo>
                    <a:lnTo>
                      <a:pt x="148835" y="46379"/>
                    </a:lnTo>
                    <a:cubicBezTo>
                      <a:pt x="147248" y="47966"/>
                      <a:pt x="144972" y="48655"/>
                      <a:pt x="142786" y="48235"/>
                    </a:cubicBezTo>
                    <a:cubicBezTo>
                      <a:pt x="133414" y="46319"/>
                      <a:pt x="123592" y="46079"/>
                      <a:pt x="113621" y="47547"/>
                    </a:cubicBezTo>
                    <a:lnTo>
                      <a:pt x="112693" y="47666"/>
                    </a:lnTo>
                    <a:lnTo>
                      <a:pt x="22353" y="58446"/>
                    </a:lnTo>
                    <a:cubicBezTo>
                      <a:pt x="16724" y="59105"/>
                      <a:pt x="12712" y="64255"/>
                      <a:pt x="13370" y="69885"/>
                    </a:cubicBezTo>
                    <a:lnTo>
                      <a:pt x="13670" y="72280"/>
                    </a:lnTo>
                    <a:cubicBezTo>
                      <a:pt x="13999" y="75005"/>
                      <a:pt x="15347" y="77460"/>
                      <a:pt x="17533" y="79167"/>
                    </a:cubicBezTo>
                    <a:cubicBezTo>
                      <a:pt x="19688" y="80874"/>
                      <a:pt x="22383" y="81622"/>
                      <a:pt x="25078" y="81323"/>
                    </a:cubicBezTo>
                    <a:lnTo>
                      <a:pt x="60382" y="77101"/>
                    </a:lnTo>
                    <a:cubicBezTo>
                      <a:pt x="63136" y="76772"/>
                      <a:pt x="65891" y="78269"/>
                      <a:pt x="67119" y="80814"/>
                    </a:cubicBezTo>
                    <a:cubicBezTo>
                      <a:pt x="68347" y="83359"/>
                      <a:pt x="67808" y="86413"/>
                      <a:pt x="65802" y="88390"/>
                    </a:cubicBezTo>
                    <a:lnTo>
                      <a:pt x="31396" y="122226"/>
                    </a:lnTo>
                    <a:cubicBezTo>
                      <a:pt x="30079" y="123484"/>
                      <a:pt x="28432" y="124112"/>
                      <a:pt x="26725" y="124112"/>
                    </a:cubicBezTo>
                    <a:close/>
                  </a:path>
                </a:pathLst>
              </a:custGeom>
              <a:grpFill/>
              <a:ln w="2991" cap="flat">
                <a:noFill/>
                <a:prstDash val="solid"/>
                <a:miter/>
              </a:ln>
            </p:spPr>
            <p:txBody>
              <a:bodyPr rtlCol="0" anchor="ctr"/>
              <a:lstStyle/>
              <a:p>
                <a:endParaRPr lang="en-GB" dirty="0"/>
              </a:p>
            </p:txBody>
          </p:sp>
          <p:sp>
            <p:nvSpPr>
              <p:cNvPr id="262" name="Freihandform: Form 240">
                <a:extLst>
                  <a:ext uri="{FF2B5EF4-FFF2-40B4-BE49-F238E27FC236}">
                    <a16:creationId xmlns:a16="http://schemas.microsoft.com/office/drawing/2014/main" id="{B4F4D685-5181-454C-8C66-503ADCEA5DBC}"/>
                  </a:ext>
                </a:extLst>
              </p:cNvPr>
              <p:cNvSpPr/>
              <p:nvPr/>
            </p:nvSpPr>
            <p:spPr>
              <a:xfrm>
                <a:off x="2857769" y="1743148"/>
                <a:ext cx="19515" cy="19523"/>
              </a:xfrm>
              <a:custGeom>
                <a:avLst/>
                <a:gdLst>
                  <a:gd name="connsiteX0" fmla="*/ 6614 w 19515"/>
                  <a:gd name="connsiteY0" fmla="*/ 19523 h 19523"/>
                  <a:gd name="connsiteX1" fmla="*/ 1943 w 19515"/>
                  <a:gd name="connsiteY1" fmla="*/ 17607 h 19523"/>
                  <a:gd name="connsiteX2" fmla="*/ 1943 w 19515"/>
                  <a:gd name="connsiteY2" fmla="*/ 8235 h 19523"/>
                  <a:gd name="connsiteX3" fmla="*/ 8201 w 19515"/>
                  <a:gd name="connsiteY3" fmla="*/ 1946 h 19523"/>
                  <a:gd name="connsiteX4" fmla="*/ 17573 w 19515"/>
                  <a:gd name="connsiteY4" fmla="*/ 1916 h 19523"/>
                  <a:gd name="connsiteX5" fmla="*/ 17573 w 19515"/>
                  <a:gd name="connsiteY5" fmla="*/ 11289 h 19523"/>
                  <a:gd name="connsiteX6" fmla="*/ 11315 w 19515"/>
                  <a:gd name="connsiteY6" fmla="*/ 17577 h 19523"/>
                  <a:gd name="connsiteX7" fmla="*/ 6614 w 19515"/>
                  <a:gd name="connsiteY7" fmla="*/ 19523 h 19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5" h="19523">
                    <a:moveTo>
                      <a:pt x="6614" y="19523"/>
                    </a:moveTo>
                    <a:cubicBezTo>
                      <a:pt x="4937" y="19523"/>
                      <a:pt x="3230" y="18894"/>
                      <a:pt x="1943" y="17607"/>
                    </a:cubicBezTo>
                    <a:cubicBezTo>
                      <a:pt x="-633" y="15032"/>
                      <a:pt x="-662" y="10840"/>
                      <a:pt x="1943" y="8235"/>
                    </a:cubicBezTo>
                    <a:lnTo>
                      <a:pt x="8201" y="1946"/>
                    </a:lnTo>
                    <a:cubicBezTo>
                      <a:pt x="10776" y="-629"/>
                      <a:pt x="14968" y="-659"/>
                      <a:pt x="17573" y="1916"/>
                    </a:cubicBezTo>
                    <a:cubicBezTo>
                      <a:pt x="20148" y="4492"/>
                      <a:pt x="20178" y="8684"/>
                      <a:pt x="17573" y="11289"/>
                    </a:cubicBezTo>
                    <a:lnTo>
                      <a:pt x="11315" y="17577"/>
                    </a:lnTo>
                    <a:cubicBezTo>
                      <a:pt x="9997" y="18894"/>
                      <a:pt x="8321" y="19523"/>
                      <a:pt x="6614" y="19523"/>
                    </a:cubicBezTo>
                    <a:close/>
                  </a:path>
                </a:pathLst>
              </a:custGeom>
              <a:grpFill/>
              <a:ln w="2991" cap="flat">
                <a:noFill/>
                <a:prstDash val="solid"/>
                <a:miter/>
              </a:ln>
            </p:spPr>
            <p:txBody>
              <a:bodyPr rtlCol="0" anchor="ctr"/>
              <a:lstStyle/>
              <a:p>
                <a:endParaRPr lang="en-GB" dirty="0"/>
              </a:p>
            </p:txBody>
          </p:sp>
        </p:grpSp>
        <p:grpSp>
          <p:nvGrpSpPr>
            <p:cNvPr id="247" name="Grafik 306">
              <a:extLst>
                <a:ext uri="{FF2B5EF4-FFF2-40B4-BE49-F238E27FC236}">
                  <a16:creationId xmlns:a16="http://schemas.microsoft.com/office/drawing/2014/main" id="{B42342BB-E387-4D8F-B341-5AB533F226E4}"/>
                </a:ext>
              </a:extLst>
            </p:cNvPr>
            <p:cNvGrpSpPr/>
            <p:nvPr/>
          </p:nvGrpSpPr>
          <p:grpSpPr>
            <a:xfrm>
              <a:off x="675786" y="4132768"/>
              <a:ext cx="215266" cy="301843"/>
              <a:chOff x="2688782" y="1754377"/>
              <a:chExt cx="211114" cy="296021"/>
            </a:xfrm>
            <a:solidFill>
              <a:schemeClr val="accent1"/>
            </a:solidFill>
          </p:grpSpPr>
          <p:sp>
            <p:nvSpPr>
              <p:cNvPr id="248" name="Freihandform: Form 242">
                <a:extLst>
                  <a:ext uri="{FF2B5EF4-FFF2-40B4-BE49-F238E27FC236}">
                    <a16:creationId xmlns:a16="http://schemas.microsoft.com/office/drawing/2014/main" id="{FD64501A-8F73-4750-B6EE-79E1A2DD5FA8}"/>
                  </a:ext>
                </a:extLst>
              </p:cNvPr>
              <p:cNvSpPr/>
              <p:nvPr/>
            </p:nvSpPr>
            <p:spPr>
              <a:xfrm>
                <a:off x="2850039" y="1800430"/>
                <a:ext cx="49527" cy="86357"/>
              </a:xfrm>
              <a:custGeom>
                <a:avLst/>
                <a:gdLst>
                  <a:gd name="connsiteX0" fmla="*/ 42880 w 49527"/>
                  <a:gd name="connsiteY0" fmla="*/ 86357 h 86357"/>
                  <a:gd name="connsiteX1" fmla="*/ 36263 w 49527"/>
                  <a:gd name="connsiteY1" fmla="*/ 79770 h 86357"/>
                  <a:gd name="connsiteX2" fmla="*/ 35933 w 49527"/>
                  <a:gd name="connsiteY2" fmla="*/ 25033 h 86357"/>
                  <a:gd name="connsiteX3" fmla="*/ 24435 w 49527"/>
                  <a:gd name="connsiteY3" fmla="*/ 13265 h 86357"/>
                  <a:gd name="connsiteX4" fmla="*/ 24375 w 49527"/>
                  <a:gd name="connsiteY4" fmla="*/ 13265 h 86357"/>
                  <a:gd name="connsiteX5" fmla="*/ 16590 w 49527"/>
                  <a:gd name="connsiteY5" fmla="*/ 16529 h 86357"/>
                  <a:gd name="connsiteX6" fmla="*/ 13236 w 49527"/>
                  <a:gd name="connsiteY6" fmla="*/ 24733 h 86357"/>
                  <a:gd name="connsiteX7" fmla="*/ 13566 w 49527"/>
                  <a:gd name="connsiteY7" fmla="*/ 79470 h 86357"/>
                  <a:gd name="connsiteX8" fmla="*/ 6978 w 49527"/>
                  <a:gd name="connsiteY8" fmla="*/ 86118 h 86357"/>
                  <a:gd name="connsiteX9" fmla="*/ 6948 w 49527"/>
                  <a:gd name="connsiteY9" fmla="*/ 86118 h 86357"/>
                  <a:gd name="connsiteX10" fmla="*/ 331 w 49527"/>
                  <a:gd name="connsiteY10" fmla="*/ 79530 h 86357"/>
                  <a:gd name="connsiteX11" fmla="*/ 1 w 49527"/>
                  <a:gd name="connsiteY11" fmla="*/ 24793 h 86357"/>
                  <a:gd name="connsiteX12" fmla="*/ 7218 w 49527"/>
                  <a:gd name="connsiteY12" fmla="*/ 7127 h 86357"/>
                  <a:gd name="connsiteX13" fmla="*/ 24375 w 49527"/>
                  <a:gd name="connsiteY13" fmla="*/ 0 h 86357"/>
                  <a:gd name="connsiteX14" fmla="*/ 24525 w 49527"/>
                  <a:gd name="connsiteY14" fmla="*/ 0 h 86357"/>
                  <a:gd name="connsiteX15" fmla="*/ 49198 w 49527"/>
                  <a:gd name="connsiteY15" fmla="*/ 24943 h 86357"/>
                  <a:gd name="connsiteX16" fmla="*/ 49528 w 49527"/>
                  <a:gd name="connsiteY16" fmla="*/ 79680 h 86357"/>
                  <a:gd name="connsiteX17" fmla="*/ 42940 w 49527"/>
                  <a:gd name="connsiteY17" fmla="*/ 86327 h 86357"/>
                  <a:gd name="connsiteX18" fmla="*/ 42880 w 49527"/>
                  <a:gd name="connsiteY18" fmla="*/ 86357 h 86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527" h="86357">
                    <a:moveTo>
                      <a:pt x="42880" y="86357"/>
                    </a:moveTo>
                    <a:cubicBezTo>
                      <a:pt x="39227" y="86357"/>
                      <a:pt x="36293" y="83423"/>
                      <a:pt x="36263" y="79770"/>
                    </a:cubicBezTo>
                    <a:lnTo>
                      <a:pt x="35933" y="25033"/>
                    </a:lnTo>
                    <a:cubicBezTo>
                      <a:pt x="35903" y="18565"/>
                      <a:pt x="30723" y="13295"/>
                      <a:pt x="24435" y="13265"/>
                    </a:cubicBezTo>
                    <a:cubicBezTo>
                      <a:pt x="24405" y="13265"/>
                      <a:pt x="24375" y="13265"/>
                      <a:pt x="24375" y="13265"/>
                    </a:cubicBezTo>
                    <a:cubicBezTo>
                      <a:pt x="21441" y="13265"/>
                      <a:pt x="18686" y="14433"/>
                      <a:pt x="16590" y="16529"/>
                    </a:cubicBezTo>
                    <a:cubicBezTo>
                      <a:pt x="14404" y="18715"/>
                      <a:pt x="13206" y="21619"/>
                      <a:pt x="13236" y="24733"/>
                    </a:cubicBezTo>
                    <a:lnTo>
                      <a:pt x="13566" y="79470"/>
                    </a:lnTo>
                    <a:cubicBezTo>
                      <a:pt x="13595" y="83123"/>
                      <a:pt x="10631" y="86118"/>
                      <a:pt x="6978" y="86118"/>
                    </a:cubicBezTo>
                    <a:cubicBezTo>
                      <a:pt x="6978" y="86118"/>
                      <a:pt x="6948" y="86118"/>
                      <a:pt x="6948" y="86118"/>
                    </a:cubicBezTo>
                    <a:cubicBezTo>
                      <a:pt x="3295" y="86118"/>
                      <a:pt x="360" y="83183"/>
                      <a:pt x="331" y="79530"/>
                    </a:cubicBezTo>
                    <a:lnTo>
                      <a:pt x="1" y="24793"/>
                    </a:lnTo>
                    <a:cubicBezTo>
                      <a:pt x="-59" y="18116"/>
                      <a:pt x="2516" y="11828"/>
                      <a:pt x="7218" y="7127"/>
                    </a:cubicBezTo>
                    <a:cubicBezTo>
                      <a:pt x="11829" y="2515"/>
                      <a:pt x="17907" y="0"/>
                      <a:pt x="24375" y="0"/>
                    </a:cubicBezTo>
                    <a:cubicBezTo>
                      <a:pt x="24435" y="0"/>
                      <a:pt x="24465" y="0"/>
                      <a:pt x="24525" y="0"/>
                    </a:cubicBezTo>
                    <a:cubicBezTo>
                      <a:pt x="38059" y="90"/>
                      <a:pt x="49108" y="11259"/>
                      <a:pt x="49198" y="24943"/>
                    </a:cubicBezTo>
                    <a:lnTo>
                      <a:pt x="49528" y="79680"/>
                    </a:lnTo>
                    <a:cubicBezTo>
                      <a:pt x="49558" y="83333"/>
                      <a:pt x="46593" y="86327"/>
                      <a:pt x="42940" y="86327"/>
                    </a:cubicBezTo>
                    <a:cubicBezTo>
                      <a:pt x="42910" y="86357"/>
                      <a:pt x="42910" y="86357"/>
                      <a:pt x="42880" y="86357"/>
                    </a:cubicBezTo>
                    <a:close/>
                  </a:path>
                </a:pathLst>
              </a:custGeom>
              <a:solidFill>
                <a:schemeClr val="accent1"/>
              </a:solidFill>
              <a:ln w="2991" cap="flat">
                <a:noFill/>
                <a:prstDash val="solid"/>
                <a:miter/>
              </a:ln>
            </p:spPr>
            <p:txBody>
              <a:bodyPr rtlCol="0" anchor="ctr"/>
              <a:lstStyle/>
              <a:p>
                <a:endParaRPr lang="en-GB" dirty="0"/>
              </a:p>
            </p:txBody>
          </p:sp>
          <p:sp>
            <p:nvSpPr>
              <p:cNvPr id="249" name="Freihandform: Form 243">
                <a:extLst>
                  <a:ext uri="{FF2B5EF4-FFF2-40B4-BE49-F238E27FC236}">
                    <a16:creationId xmlns:a16="http://schemas.microsoft.com/office/drawing/2014/main" id="{E21C7EB4-BFB1-4046-81CA-E94BCC2C3117}"/>
                  </a:ext>
                </a:extLst>
              </p:cNvPr>
              <p:cNvSpPr/>
              <p:nvPr/>
            </p:nvSpPr>
            <p:spPr>
              <a:xfrm>
                <a:off x="2813868" y="1772822"/>
                <a:ext cx="49706" cy="113725"/>
              </a:xfrm>
              <a:custGeom>
                <a:avLst/>
                <a:gdLst>
                  <a:gd name="connsiteX0" fmla="*/ 43089 w 49706"/>
                  <a:gd name="connsiteY0" fmla="*/ 113726 h 113725"/>
                  <a:gd name="connsiteX1" fmla="*/ 36471 w 49706"/>
                  <a:gd name="connsiteY1" fmla="*/ 107138 h 113725"/>
                  <a:gd name="connsiteX2" fmla="*/ 35962 w 49706"/>
                  <a:gd name="connsiteY2" fmla="*/ 25033 h 113725"/>
                  <a:gd name="connsiteX3" fmla="*/ 24464 w 49706"/>
                  <a:gd name="connsiteY3" fmla="*/ 13265 h 113725"/>
                  <a:gd name="connsiteX4" fmla="*/ 24374 w 49706"/>
                  <a:gd name="connsiteY4" fmla="*/ 13265 h 113725"/>
                  <a:gd name="connsiteX5" fmla="*/ 16589 w 49706"/>
                  <a:gd name="connsiteY5" fmla="*/ 16499 h 113725"/>
                  <a:gd name="connsiteX6" fmla="*/ 13235 w 49706"/>
                  <a:gd name="connsiteY6" fmla="*/ 24733 h 113725"/>
                  <a:gd name="connsiteX7" fmla="*/ 13744 w 49706"/>
                  <a:gd name="connsiteY7" fmla="*/ 106838 h 113725"/>
                  <a:gd name="connsiteX8" fmla="*/ 7157 w 49706"/>
                  <a:gd name="connsiteY8" fmla="*/ 113486 h 113725"/>
                  <a:gd name="connsiteX9" fmla="*/ 7127 w 49706"/>
                  <a:gd name="connsiteY9" fmla="*/ 113486 h 113725"/>
                  <a:gd name="connsiteX10" fmla="*/ 509 w 49706"/>
                  <a:gd name="connsiteY10" fmla="*/ 106898 h 113725"/>
                  <a:gd name="connsiteX11" fmla="*/ 0 w 49706"/>
                  <a:gd name="connsiteY11" fmla="*/ 24793 h 113725"/>
                  <a:gd name="connsiteX12" fmla="*/ 7247 w 49706"/>
                  <a:gd name="connsiteY12" fmla="*/ 7127 h 113725"/>
                  <a:gd name="connsiteX13" fmla="*/ 24374 w 49706"/>
                  <a:gd name="connsiteY13" fmla="*/ 0 h 113725"/>
                  <a:gd name="connsiteX14" fmla="*/ 24524 w 49706"/>
                  <a:gd name="connsiteY14" fmla="*/ 0 h 113725"/>
                  <a:gd name="connsiteX15" fmla="*/ 49197 w 49706"/>
                  <a:gd name="connsiteY15" fmla="*/ 24943 h 113725"/>
                  <a:gd name="connsiteX16" fmla="*/ 49706 w 49706"/>
                  <a:gd name="connsiteY16" fmla="*/ 107048 h 113725"/>
                  <a:gd name="connsiteX17" fmla="*/ 43119 w 49706"/>
                  <a:gd name="connsiteY17" fmla="*/ 113696 h 113725"/>
                  <a:gd name="connsiteX18" fmla="*/ 43089 w 49706"/>
                  <a:gd name="connsiteY18" fmla="*/ 113726 h 11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706" h="113725">
                    <a:moveTo>
                      <a:pt x="43089" y="113726"/>
                    </a:moveTo>
                    <a:cubicBezTo>
                      <a:pt x="39436" y="113726"/>
                      <a:pt x="36501" y="110791"/>
                      <a:pt x="36471" y="107138"/>
                    </a:cubicBezTo>
                    <a:lnTo>
                      <a:pt x="35962" y="25033"/>
                    </a:lnTo>
                    <a:cubicBezTo>
                      <a:pt x="35932" y="18565"/>
                      <a:pt x="30752" y="13295"/>
                      <a:pt x="24464" y="13265"/>
                    </a:cubicBezTo>
                    <a:cubicBezTo>
                      <a:pt x="24434" y="13265"/>
                      <a:pt x="24404" y="13265"/>
                      <a:pt x="24374" y="13265"/>
                    </a:cubicBezTo>
                    <a:cubicBezTo>
                      <a:pt x="21440" y="13265"/>
                      <a:pt x="18685" y="14403"/>
                      <a:pt x="16589" y="16499"/>
                    </a:cubicBezTo>
                    <a:cubicBezTo>
                      <a:pt x="14403" y="18685"/>
                      <a:pt x="13205" y="21619"/>
                      <a:pt x="13235" y="24733"/>
                    </a:cubicBezTo>
                    <a:lnTo>
                      <a:pt x="13744" y="106838"/>
                    </a:lnTo>
                    <a:cubicBezTo>
                      <a:pt x="13774" y="110492"/>
                      <a:pt x="10810" y="113486"/>
                      <a:pt x="7157" y="113486"/>
                    </a:cubicBezTo>
                    <a:cubicBezTo>
                      <a:pt x="7157" y="113486"/>
                      <a:pt x="7127" y="113486"/>
                      <a:pt x="7127" y="113486"/>
                    </a:cubicBezTo>
                    <a:cubicBezTo>
                      <a:pt x="3474" y="113486"/>
                      <a:pt x="539" y="110551"/>
                      <a:pt x="509" y="106898"/>
                    </a:cubicBezTo>
                    <a:lnTo>
                      <a:pt x="0" y="24793"/>
                    </a:lnTo>
                    <a:cubicBezTo>
                      <a:pt x="-30" y="18086"/>
                      <a:pt x="2545" y="11828"/>
                      <a:pt x="7247" y="7127"/>
                    </a:cubicBezTo>
                    <a:cubicBezTo>
                      <a:pt x="11858" y="2545"/>
                      <a:pt x="17936" y="0"/>
                      <a:pt x="24374" y="0"/>
                    </a:cubicBezTo>
                    <a:cubicBezTo>
                      <a:pt x="24434" y="0"/>
                      <a:pt x="24464" y="0"/>
                      <a:pt x="24524" y="0"/>
                    </a:cubicBezTo>
                    <a:cubicBezTo>
                      <a:pt x="38058" y="90"/>
                      <a:pt x="49108" y="11259"/>
                      <a:pt x="49197" y="24943"/>
                    </a:cubicBezTo>
                    <a:lnTo>
                      <a:pt x="49706" y="107048"/>
                    </a:lnTo>
                    <a:cubicBezTo>
                      <a:pt x="49736" y="110701"/>
                      <a:pt x="46772" y="113696"/>
                      <a:pt x="43119" y="113696"/>
                    </a:cubicBezTo>
                    <a:cubicBezTo>
                      <a:pt x="43119" y="113726"/>
                      <a:pt x="43089" y="113726"/>
                      <a:pt x="43089" y="113726"/>
                    </a:cubicBezTo>
                    <a:close/>
                  </a:path>
                </a:pathLst>
              </a:custGeom>
              <a:solidFill>
                <a:schemeClr val="accent1"/>
              </a:solidFill>
              <a:ln w="2991" cap="flat">
                <a:noFill/>
                <a:prstDash val="solid"/>
                <a:miter/>
              </a:ln>
            </p:spPr>
            <p:txBody>
              <a:bodyPr rtlCol="0" anchor="ctr"/>
              <a:lstStyle/>
              <a:p>
                <a:endParaRPr lang="en-GB" dirty="0"/>
              </a:p>
            </p:txBody>
          </p:sp>
          <p:sp>
            <p:nvSpPr>
              <p:cNvPr id="250" name="Freihandform: Form 244">
                <a:extLst>
                  <a:ext uri="{FF2B5EF4-FFF2-40B4-BE49-F238E27FC236}">
                    <a16:creationId xmlns:a16="http://schemas.microsoft.com/office/drawing/2014/main" id="{66AB9F19-885A-45AB-A184-00F346FAF8D3}"/>
                  </a:ext>
                </a:extLst>
              </p:cNvPr>
              <p:cNvSpPr/>
              <p:nvPr/>
            </p:nvSpPr>
            <p:spPr>
              <a:xfrm>
                <a:off x="2777815" y="1754377"/>
                <a:ext cx="49827" cy="131961"/>
              </a:xfrm>
              <a:custGeom>
                <a:avLst/>
                <a:gdLst>
                  <a:gd name="connsiteX0" fmla="*/ 43180 w 49827"/>
                  <a:gd name="connsiteY0" fmla="*/ 131961 h 131961"/>
                  <a:gd name="connsiteX1" fmla="*/ 36562 w 49827"/>
                  <a:gd name="connsiteY1" fmla="*/ 125374 h 131961"/>
                  <a:gd name="connsiteX2" fmla="*/ 35933 w 49827"/>
                  <a:gd name="connsiteY2" fmla="*/ 25033 h 131961"/>
                  <a:gd name="connsiteX3" fmla="*/ 24435 w 49827"/>
                  <a:gd name="connsiteY3" fmla="*/ 13265 h 131961"/>
                  <a:gd name="connsiteX4" fmla="*/ 24375 w 49827"/>
                  <a:gd name="connsiteY4" fmla="*/ 13265 h 131961"/>
                  <a:gd name="connsiteX5" fmla="*/ 16590 w 49827"/>
                  <a:gd name="connsiteY5" fmla="*/ 16529 h 131961"/>
                  <a:gd name="connsiteX6" fmla="*/ 13236 w 49827"/>
                  <a:gd name="connsiteY6" fmla="*/ 24733 h 131961"/>
                  <a:gd name="connsiteX7" fmla="*/ 13835 w 49827"/>
                  <a:gd name="connsiteY7" fmla="*/ 125074 h 131961"/>
                  <a:gd name="connsiteX8" fmla="*/ 7247 w 49827"/>
                  <a:gd name="connsiteY8" fmla="*/ 131722 h 131961"/>
                  <a:gd name="connsiteX9" fmla="*/ 7218 w 49827"/>
                  <a:gd name="connsiteY9" fmla="*/ 131722 h 131961"/>
                  <a:gd name="connsiteX10" fmla="*/ 600 w 49827"/>
                  <a:gd name="connsiteY10" fmla="*/ 125134 h 131961"/>
                  <a:gd name="connsiteX11" fmla="*/ 1 w 49827"/>
                  <a:gd name="connsiteY11" fmla="*/ 24793 h 131961"/>
                  <a:gd name="connsiteX12" fmla="*/ 7218 w 49827"/>
                  <a:gd name="connsiteY12" fmla="*/ 7127 h 131961"/>
                  <a:gd name="connsiteX13" fmla="*/ 24375 w 49827"/>
                  <a:gd name="connsiteY13" fmla="*/ 0 h 131961"/>
                  <a:gd name="connsiteX14" fmla="*/ 24525 w 49827"/>
                  <a:gd name="connsiteY14" fmla="*/ 0 h 131961"/>
                  <a:gd name="connsiteX15" fmla="*/ 49198 w 49827"/>
                  <a:gd name="connsiteY15" fmla="*/ 24943 h 131961"/>
                  <a:gd name="connsiteX16" fmla="*/ 49827 w 49827"/>
                  <a:gd name="connsiteY16" fmla="*/ 125284 h 131961"/>
                  <a:gd name="connsiteX17" fmla="*/ 43239 w 49827"/>
                  <a:gd name="connsiteY17" fmla="*/ 131931 h 131961"/>
                  <a:gd name="connsiteX18" fmla="*/ 43180 w 49827"/>
                  <a:gd name="connsiteY18" fmla="*/ 131961 h 13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827" h="131961">
                    <a:moveTo>
                      <a:pt x="43180" y="131961"/>
                    </a:moveTo>
                    <a:cubicBezTo>
                      <a:pt x="39527" y="131961"/>
                      <a:pt x="36592" y="129027"/>
                      <a:pt x="36562" y="125374"/>
                    </a:cubicBezTo>
                    <a:lnTo>
                      <a:pt x="35933" y="25033"/>
                    </a:lnTo>
                    <a:cubicBezTo>
                      <a:pt x="35903" y="18565"/>
                      <a:pt x="30723" y="13295"/>
                      <a:pt x="24435" y="13265"/>
                    </a:cubicBezTo>
                    <a:cubicBezTo>
                      <a:pt x="24405" y="13265"/>
                      <a:pt x="24375" y="13265"/>
                      <a:pt x="24375" y="13265"/>
                    </a:cubicBezTo>
                    <a:cubicBezTo>
                      <a:pt x="21441" y="13265"/>
                      <a:pt x="18686" y="14433"/>
                      <a:pt x="16590" y="16529"/>
                    </a:cubicBezTo>
                    <a:cubicBezTo>
                      <a:pt x="14404" y="18715"/>
                      <a:pt x="13206" y="21619"/>
                      <a:pt x="13236" y="24733"/>
                    </a:cubicBezTo>
                    <a:lnTo>
                      <a:pt x="13835" y="125074"/>
                    </a:lnTo>
                    <a:cubicBezTo>
                      <a:pt x="13865" y="128727"/>
                      <a:pt x="10901" y="131722"/>
                      <a:pt x="7247" y="131722"/>
                    </a:cubicBezTo>
                    <a:cubicBezTo>
                      <a:pt x="7247" y="131722"/>
                      <a:pt x="7218" y="131722"/>
                      <a:pt x="7218" y="131722"/>
                    </a:cubicBezTo>
                    <a:cubicBezTo>
                      <a:pt x="3564" y="131722"/>
                      <a:pt x="630" y="128787"/>
                      <a:pt x="600" y="125134"/>
                    </a:cubicBezTo>
                    <a:lnTo>
                      <a:pt x="1" y="24793"/>
                    </a:lnTo>
                    <a:cubicBezTo>
                      <a:pt x="-59" y="18116"/>
                      <a:pt x="2516" y="11828"/>
                      <a:pt x="7218" y="7127"/>
                    </a:cubicBezTo>
                    <a:cubicBezTo>
                      <a:pt x="11829" y="2515"/>
                      <a:pt x="17907" y="0"/>
                      <a:pt x="24375" y="0"/>
                    </a:cubicBezTo>
                    <a:cubicBezTo>
                      <a:pt x="24435" y="0"/>
                      <a:pt x="24465" y="0"/>
                      <a:pt x="24525" y="0"/>
                    </a:cubicBezTo>
                    <a:cubicBezTo>
                      <a:pt x="38059" y="90"/>
                      <a:pt x="49108" y="11259"/>
                      <a:pt x="49198" y="24943"/>
                    </a:cubicBezTo>
                    <a:lnTo>
                      <a:pt x="49827" y="125284"/>
                    </a:lnTo>
                    <a:cubicBezTo>
                      <a:pt x="49857" y="128937"/>
                      <a:pt x="46893" y="131931"/>
                      <a:pt x="43239" y="131931"/>
                    </a:cubicBezTo>
                    <a:cubicBezTo>
                      <a:pt x="43210" y="131961"/>
                      <a:pt x="43180" y="131961"/>
                      <a:pt x="43180" y="131961"/>
                    </a:cubicBezTo>
                    <a:close/>
                  </a:path>
                </a:pathLst>
              </a:custGeom>
              <a:solidFill>
                <a:schemeClr val="accent1"/>
              </a:solidFill>
              <a:ln w="2991" cap="flat">
                <a:noFill/>
                <a:prstDash val="solid"/>
                <a:miter/>
              </a:ln>
            </p:spPr>
            <p:txBody>
              <a:bodyPr rtlCol="0" anchor="ctr"/>
              <a:lstStyle/>
              <a:p>
                <a:endParaRPr lang="en-GB" dirty="0"/>
              </a:p>
            </p:txBody>
          </p:sp>
          <p:sp>
            <p:nvSpPr>
              <p:cNvPr id="251" name="Freihandform: Form 245">
                <a:extLst>
                  <a:ext uri="{FF2B5EF4-FFF2-40B4-BE49-F238E27FC236}">
                    <a16:creationId xmlns:a16="http://schemas.microsoft.com/office/drawing/2014/main" id="{C45E99CA-EFE9-4624-B431-2FBDAE5E3893}"/>
                  </a:ext>
                </a:extLst>
              </p:cNvPr>
              <p:cNvSpPr/>
              <p:nvPr/>
            </p:nvSpPr>
            <p:spPr>
              <a:xfrm>
                <a:off x="2865161" y="1837051"/>
                <a:ext cx="34735" cy="213347"/>
              </a:xfrm>
              <a:custGeom>
                <a:avLst/>
                <a:gdLst>
                  <a:gd name="connsiteX0" fmla="*/ 6618 w 34735"/>
                  <a:gd name="connsiteY0" fmla="*/ 213348 h 213347"/>
                  <a:gd name="connsiteX1" fmla="*/ 0 w 34735"/>
                  <a:gd name="connsiteY1" fmla="*/ 206730 h 213347"/>
                  <a:gd name="connsiteX2" fmla="*/ 0 w 34735"/>
                  <a:gd name="connsiteY2" fmla="*/ 149718 h 213347"/>
                  <a:gd name="connsiteX3" fmla="*/ 1976 w 34735"/>
                  <a:gd name="connsiteY3" fmla="*/ 144987 h 213347"/>
                  <a:gd name="connsiteX4" fmla="*/ 21500 w 34735"/>
                  <a:gd name="connsiteY4" fmla="*/ 97885 h 213347"/>
                  <a:gd name="connsiteX5" fmla="*/ 20931 w 34735"/>
                  <a:gd name="connsiteY5" fmla="*/ 6647 h 213347"/>
                  <a:gd name="connsiteX6" fmla="*/ 27518 w 34735"/>
                  <a:gd name="connsiteY6" fmla="*/ 0 h 213347"/>
                  <a:gd name="connsiteX7" fmla="*/ 27548 w 34735"/>
                  <a:gd name="connsiteY7" fmla="*/ 0 h 213347"/>
                  <a:gd name="connsiteX8" fmla="*/ 34166 w 34735"/>
                  <a:gd name="connsiteY8" fmla="*/ 6588 h 213347"/>
                  <a:gd name="connsiteX9" fmla="*/ 34735 w 34735"/>
                  <a:gd name="connsiteY9" fmla="*/ 97825 h 213347"/>
                  <a:gd name="connsiteX10" fmla="*/ 13235 w 34735"/>
                  <a:gd name="connsiteY10" fmla="*/ 152442 h 213347"/>
                  <a:gd name="connsiteX11" fmla="*/ 13235 w 34735"/>
                  <a:gd name="connsiteY11" fmla="*/ 206730 h 213347"/>
                  <a:gd name="connsiteX12" fmla="*/ 6618 w 34735"/>
                  <a:gd name="connsiteY12" fmla="*/ 213348 h 21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35" h="213347">
                    <a:moveTo>
                      <a:pt x="6618" y="213348"/>
                    </a:moveTo>
                    <a:cubicBezTo>
                      <a:pt x="2965" y="213348"/>
                      <a:pt x="0" y="210383"/>
                      <a:pt x="0" y="206730"/>
                    </a:cubicBezTo>
                    <a:lnTo>
                      <a:pt x="0" y="149718"/>
                    </a:lnTo>
                    <a:cubicBezTo>
                      <a:pt x="0" y="147951"/>
                      <a:pt x="719" y="146244"/>
                      <a:pt x="1976" y="144987"/>
                    </a:cubicBezTo>
                    <a:cubicBezTo>
                      <a:pt x="14672" y="132500"/>
                      <a:pt x="21589" y="115792"/>
                      <a:pt x="21500" y="97885"/>
                    </a:cubicBezTo>
                    <a:lnTo>
                      <a:pt x="20931" y="6647"/>
                    </a:lnTo>
                    <a:cubicBezTo>
                      <a:pt x="20901" y="2994"/>
                      <a:pt x="23865" y="0"/>
                      <a:pt x="27518" y="0"/>
                    </a:cubicBezTo>
                    <a:cubicBezTo>
                      <a:pt x="27518" y="0"/>
                      <a:pt x="27548" y="0"/>
                      <a:pt x="27548" y="0"/>
                    </a:cubicBezTo>
                    <a:cubicBezTo>
                      <a:pt x="31201" y="0"/>
                      <a:pt x="34136" y="2934"/>
                      <a:pt x="34166" y="6588"/>
                    </a:cubicBezTo>
                    <a:lnTo>
                      <a:pt x="34735" y="97825"/>
                    </a:lnTo>
                    <a:cubicBezTo>
                      <a:pt x="34854" y="118397"/>
                      <a:pt x="27249" y="137680"/>
                      <a:pt x="13235" y="152442"/>
                    </a:cubicBezTo>
                    <a:lnTo>
                      <a:pt x="13235" y="206730"/>
                    </a:lnTo>
                    <a:cubicBezTo>
                      <a:pt x="13235" y="210383"/>
                      <a:pt x="10271" y="213348"/>
                      <a:pt x="6618" y="213348"/>
                    </a:cubicBezTo>
                    <a:close/>
                  </a:path>
                </a:pathLst>
              </a:custGeom>
              <a:solidFill>
                <a:schemeClr val="accent1"/>
              </a:solidFill>
              <a:ln w="2991" cap="flat">
                <a:noFill/>
                <a:prstDash val="solid"/>
                <a:miter/>
              </a:ln>
            </p:spPr>
            <p:txBody>
              <a:bodyPr rtlCol="0" anchor="ctr"/>
              <a:lstStyle/>
              <a:p>
                <a:endParaRPr lang="en-GB" dirty="0"/>
              </a:p>
            </p:txBody>
          </p:sp>
          <p:sp>
            <p:nvSpPr>
              <p:cNvPr id="252" name="Freihandform: Form 246">
                <a:extLst>
                  <a:ext uri="{FF2B5EF4-FFF2-40B4-BE49-F238E27FC236}">
                    <a16:creationId xmlns:a16="http://schemas.microsoft.com/office/drawing/2014/main" id="{2A3E3434-5348-4D15-84FD-B4C953076962}"/>
                  </a:ext>
                </a:extLst>
              </p:cNvPr>
              <p:cNvSpPr/>
              <p:nvPr/>
            </p:nvSpPr>
            <p:spPr>
              <a:xfrm>
                <a:off x="2688782" y="1772403"/>
                <a:ext cx="102867" cy="277995"/>
              </a:xfrm>
              <a:custGeom>
                <a:avLst/>
                <a:gdLst>
                  <a:gd name="connsiteX0" fmla="*/ 89842 w 102867"/>
                  <a:gd name="connsiteY0" fmla="*/ 277996 h 277995"/>
                  <a:gd name="connsiteX1" fmla="*/ 89842 w 102867"/>
                  <a:gd name="connsiteY1" fmla="*/ 277996 h 277995"/>
                  <a:gd name="connsiteX2" fmla="*/ 83225 w 102867"/>
                  <a:gd name="connsiteY2" fmla="*/ 271378 h 277995"/>
                  <a:gd name="connsiteX3" fmla="*/ 83255 w 102867"/>
                  <a:gd name="connsiteY3" fmla="*/ 225205 h 277995"/>
                  <a:gd name="connsiteX4" fmla="*/ 61785 w 102867"/>
                  <a:gd name="connsiteY4" fmla="*/ 203706 h 277995"/>
                  <a:gd name="connsiteX5" fmla="*/ 5042 w 102867"/>
                  <a:gd name="connsiteY5" fmla="*/ 130793 h 277995"/>
                  <a:gd name="connsiteX6" fmla="*/ 8785 w 102867"/>
                  <a:gd name="connsiteY6" fmla="*/ 97646 h 277995"/>
                  <a:gd name="connsiteX7" fmla="*/ 10672 w 102867"/>
                  <a:gd name="connsiteY7" fmla="*/ 96149 h 277995"/>
                  <a:gd name="connsiteX8" fmla="*/ 27799 w 102867"/>
                  <a:gd name="connsiteY8" fmla="*/ 91298 h 277995"/>
                  <a:gd name="connsiteX9" fmla="*/ 43609 w 102867"/>
                  <a:gd name="connsiteY9" fmla="*/ 100251 h 277995"/>
                  <a:gd name="connsiteX10" fmla="*/ 53700 w 102867"/>
                  <a:gd name="connsiteY10" fmla="*/ 113187 h 277995"/>
                  <a:gd name="connsiteX11" fmla="*/ 53161 w 102867"/>
                  <a:gd name="connsiteY11" fmla="*/ 24793 h 277995"/>
                  <a:gd name="connsiteX12" fmla="*/ 60408 w 102867"/>
                  <a:gd name="connsiteY12" fmla="*/ 7127 h 277995"/>
                  <a:gd name="connsiteX13" fmla="*/ 77685 w 102867"/>
                  <a:gd name="connsiteY13" fmla="*/ 0 h 277995"/>
                  <a:gd name="connsiteX14" fmla="*/ 102359 w 102867"/>
                  <a:gd name="connsiteY14" fmla="*/ 24943 h 277995"/>
                  <a:gd name="connsiteX15" fmla="*/ 102868 w 102867"/>
                  <a:gd name="connsiteY15" fmla="*/ 87196 h 277995"/>
                  <a:gd name="connsiteX16" fmla="*/ 96310 w 102867"/>
                  <a:gd name="connsiteY16" fmla="*/ 93873 h 277995"/>
                  <a:gd name="connsiteX17" fmla="*/ 89633 w 102867"/>
                  <a:gd name="connsiteY17" fmla="*/ 87315 h 277995"/>
                  <a:gd name="connsiteX18" fmla="*/ 89124 w 102867"/>
                  <a:gd name="connsiteY18" fmla="*/ 25033 h 277995"/>
                  <a:gd name="connsiteX19" fmla="*/ 77625 w 102867"/>
                  <a:gd name="connsiteY19" fmla="*/ 13235 h 277995"/>
                  <a:gd name="connsiteX20" fmla="*/ 77565 w 102867"/>
                  <a:gd name="connsiteY20" fmla="*/ 13235 h 277995"/>
                  <a:gd name="connsiteX21" fmla="*/ 69780 w 102867"/>
                  <a:gd name="connsiteY21" fmla="*/ 16469 h 277995"/>
                  <a:gd name="connsiteX22" fmla="*/ 66426 w 102867"/>
                  <a:gd name="connsiteY22" fmla="*/ 24703 h 277995"/>
                  <a:gd name="connsiteX23" fmla="*/ 67085 w 102867"/>
                  <a:gd name="connsiteY23" fmla="*/ 132560 h 277995"/>
                  <a:gd name="connsiteX24" fmla="*/ 62623 w 102867"/>
                  <a:gd name="connsiteY24" fmla="*/ 138848 h 277995"/>
                  <a:gd name="connsiteX25" fmla="*/ 55227 w 102867"/>
                  <a:gd name="connsiteY25" fmla="*/ 136662 h 277995"/>
                  <a:gd name="connsiteX26" fmla="*/ 33189 w 102867"/>
                  <a:gd name="connsiteY26" fmla="*/ 108366 h 277995"/>
                  <a:gd name="connsiteX27" fmla="*/ 26272 w 102867"/>
                  <a:gd name="connsiteY27" fmla="*/ 104443 h 277995"/>
                  <a:gd name="connsiteX28" fmla="*/ 18966 w 102867"/>
                  <a:gd name="connsiteY28" fmla="*/ 106509 h 277995"/>
                  <a:gd name="connsiteX29" fmla="*/ 17079 w 102867"/>
                  <a:gd name="connsiteY29" fmla="*/ 108006 h 277995"/>
                  <a:gd name="connsiteX30" fmla="*/ 15522 w 102867"/>
                  <a:gd name="connsiteY30" fmla="*/ 122649 h 277995"/>
                  <a:gd name="connsiteX31" fmla="*/ 72475 w 102867"/>
                  <a:gd name="connsiteY31" fmla="*/ 195831 h 277995"/>
                  <a:gd name="connsiteX32" fmla="*/ 93615 w 102867"/>
                  <a:gd name="connsiteY32" fmla="*/ 216282 h 277995"/>
                  <a:gd name="connsiteX33" fmla="*/ 96520 w 102867"/>
                  <a:gd name="connsiteY33" fmla="*/ 221762 h 277995"/>
                  <a:gd name="connsiteX34" fmla="*/ 96490 w 102867"/>
                  <a:gd name="connsiteY34" fmla="*/ 271348 h 277995"/>
                  <a:gd name="connsiteX35" fmla="*/ 89842 w 102867"/>
                  <a:gd name="connsiteY35" fmla="*/ 277996 h 27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2867" h="277995">
                    <a:moveTo>
                      <a:pt x="89842" y="277996"/>
                    </a:moveTo>
                    <a:cubicBezTo>
                      <a:pt x="89842" y="277996"/>
                      <a:pt x="89842" y="277996"/>
                      <a:pt x="89842" y="277996"/>
                    </a:cubicBezTo>
                    <a:cubicBezTo>
                      <a:pt x="86189" y="277996"/>
                      <a:pt x="83225" y="275031"/>
                      <a:pt x="83225" y="271378"/>
                    </a:cubicBezTo>
                    <a:lnTo>
                      <a:pt x="83255" y="225205"/>
                    </a:lnTo>
                    <a:cubicBezTo>
                      <a:pt x="75230" y="219336"/>
                      <a:pt x="68013" y="212120"/>
                      <a:pt x="61785" y="203706"/>
                    </a:cubicBezTo>
                    <a:lnTo>
                      <a:pt x="5042" y="130793"/>
                    </a:lnTo>
                    <a:cubicBezTo>
                      <a:pt x="-2953" y="120523"/>
                      <a:pt x="-1246" y="105671"/>
                      <a:pt x="8785" y="97646"/>
                    </a:cubicBezTo>
                    <a:lnTo>
                      <a:pt x="10672" y="96149"/>
                    </a:lnTo>
                    <a:cubicBezTo>
                      <a:pt x="15522" y="92286"/>
                      <a:pt x="21631" y="90579"/>
                      <a:pt x="27799" y="91298"/>
                    </a:cubicBezTo>
                    <a:cubicBezTo>
                      <a:pt x="34087" y="92046"/>
                      <a:pt x="39717" y="95220"/>
                      <a:pt x="43609" y="100251"/>
                    </a:cubicBezTo>
                    <a:lnTo>
                      <a:pt x="53700" y="113187"/>
                    </a:lnTo>
                    <a:lnTo>
                      <a:pt x="53161" y="24793"/>
                    </a:lnTo>
                    <a:cubicBezTo>
                      <a:pt x="53131" y="18116"/>
                      <a:pt x="55707" y="11828"/>
                      <a:pt x="60408" y="7127"/>
                    </a:cubicBezTo>
                    <a:cubicBezTo>
                      <a:pt x="65049" y="2485"/>
                      <a:pt x="70888" y="30"/>
                      <a:pt x="77685" y="0"/>
                    </a:cubicBezTo>
                    <a:cubicBezTo>
                      <a:pt x="91220" y="90"/>
                      <a:pt x="102269" y="11259"/>
                      <a:pt x="102359" y="24943"/>
                    </a:cubicBezTo>
                    <a:lnTo>
                      <a:pt x="102868" y="87196"/>
                    </a:lnTo>
                    <a:cubicBezTo>
                      <a:pt x="102898" y="90849"/>
                      <a:pt x="99963" y="93843"/>
                      <a:pt x="96310" y="93873"/>
                    </a:cubicBezTo>
                    <a:cubicBezTo>
                      <a:pt x="92537" y="94053"/>
                      <a:pt x="89663" y="90968"/>
                      <a:pt x="89633" y="87315"/>
                    </a:cubicBezTo>
                    <a:lnTo>
                      <a:pt x="89124" y="25033"/>
                    </a:lnTo>
                    <a:cubicBezTo>
                      <a:pt x="89094" y="18565"/>
                      <a:pt x="83913" y="13295"/>
                      <a:pt x="77625" y="13235"/>
                    </a:cubicBezTo>
                    <a:cubicBezTo>
                      <a:pt x="77595" y="13235"/>
                      <a:pt x="77565" y="13235"/>
                      <a:pt x="77565" y="13235"/>
                    </a:cubicBezTo>
                    <a:cubicBezTo>
                      <a:pt x="74631" y="13235"/>
                      <a:pt x="71876" y="14373"/>
                      <a:pt x="69780" y="16469"/>
                    </a:cubicBezTo>
                    <a:cubicBezTo>
                      <a:pt x="67594" y="18655"/>
                      <a:pt x="66396" y="21589"/>
                      <a:pt x="66426" y="24703"/>
                    </a:cubicBezTo>
                    <a:lnTo>
                      <a:pt x="67085" y="132560"/>
                    </a:lnTo>
                    <a:cubicBezTo>
                      <a:pt x="67115" y="135405"/>
                      <a:pt x="65318" y="137920"/>
                      <a:pt x="62623" y="138848"/>
                    </a:cubicBezTo>
                    <a:cubicBezTo>
                      <a:pt x="59929" y="139776"/>
                      <a:pt x="56994" y="138908"/>
                      <a:pt x="55227" y="136662"/>
                    </a:cubicBezTo>
                    <a:lnTo>
                      <a:pt x="33189" y="108366"/>
                    </a:lnTo>
                    <a:cubicBezTo>
                      <a:pt x="31482" y="106150"/>
                      <a:pt x="28997" y="104772"/>
                      <a:pt x="26272" y="104443"/>
                    </a:cubicBezTo>
                    <a:cubicBezTo>
                      <a:pt x="23607" y="104114"/>
                      <a:pt x="21032" y="104862"/>
                      <a:pt x="18966" y="106509"/>
                    </a:cubicBezTo>
                    <a:lnTo>
                      <a:pt x="17079" y="108006"/>
                    </a:lnTo>
                    <a:cubicBezTo>
                      <a:pt x="12678" y="111510"/>
                      <a:pt x="11959" y="118097"/>
                      <a:pt x="15522" y="122649"/>
                    </a:cubicBezTo>
                    <a:lnTo>
                      <a:pt x="72475" y="195831"/>
                    </a:lnTo>
                    <a:cubicBezTo>
                      <a:pt x="78553" y="204035"/>
                      <a:pt x="85680" y="210922"/>
                      <a:pt x="93615" y="216282"/>
                    </a:cubicBezTo>
                    <a:cubicBezTo>
                      <a:pt x="95442" y="217510"/>
                      <a:pt x="96520" y="219576"/>
                      <a:pt x="96520" y="221762"/>
                    </a:cubicBezTo>
                    <a:lnTo>
                      <a:pt x="96490" y="271348"/>
                    </a:lnTo>
                    <a:cubicBezTo>
                      <a:pt x="96460" y="275031"/>
                      <a:pt x="93495" y="277996"/>
                      <a:pt x="89842" y="277996"/>
                    </a:cubicBezTo>
                    <a:close/>
                  </a:path>
                </a:pathLst>
              </a:custGeom>
              <a:solidFill>
                <a:schemeClr val="accent1"/>
              </a:solidFill>
              <a:ln w="2991" cap="flat">
                <a:noFill/>
                <a:prstDash val="solid"/>
                <a:miter/>
              </a:ln>
            </p:spPr>
            <p:txBody>
              <a:bodyPr rtlCol="0" anchor="ctr"/>
              <a:lstStyle/>
              <a:p>
                <a:endParaRPr lang="en-GB" dirty="0"/>
              </a:p>
            </p:txBody>
          </p:sp>
        </p:grpSp>
      </p:grpSp>
      <p:grpSp>
        <p:nvGrpSpPr>
          <p:cNvPr id="45" name="Group 44">
            <a:extLst>
              <a:ext uri="{FF2B5EF4-FFF2-40B4-BE49-F238E27FC236}">
                <a16:creationId xmlns:a16="http://schemas.microsoft.com/office/drawing/2014/main" id="{AD8C028F-2B80-88D8-E44C-99462330AA3F}"/>
              </a:ext>
            </a:extLst>
          </p:cNvPr>
          <p:cNvGrpSpPr/>
          <p:nvPr/>
        </p:nvGrpSpPr>
        <p:grpSpPr>
          <a:xfrm>
            <a:off x="1589708" y="4002611"/>
            <a:ext cx="499552" cy="432000"/>
            <a:chOff x="1589708" y="4002611"/>
            <a:chExt cx="499552" cy="432000"/>
          </a:xfrm>
        </p:grpSpPr>
        <p:grpSp>
          <p:nvGrpSpPr>
            <p:cNvPr id="264" name="Group 263">
              <a:extLst>
                <a:ext uri="{FF2B5EF4-FFF2-40B4-BE49-F238E27FC236}">
                  <a16:creationId xmlns:a16="http://schemas.microsoft.com/office/drawing/2014/main" id="{4CB9BF28-24B0-4AEB-9FF9-CF79D67F841F}"/>
                </a:ext>
              </a:extLst>
            </p:cNvPr>
            <p:cNvGrpSpPr/>
            <p:nvPr/>
          </p:nvGrpSpPr>
          <p:grpSpPr>
            <a:xfrm>
              <a:off x="1589708" y="4002611"/>
              <a:ext cx="310517" cy="269992"/>
              <a:chOff x="880475" y="2457511"/>
              <a:chExt cx="304465" cy="264730"/>
            </a:xfrm>
            <a:solidFill>
              <a:schemeClr val="accent1"/>
            </a:solidFill>
          </p:grpSpPr>
          <p:sp>
            <p:nvSpPr>
              <p:cNvPr id="270" name="Freihandform: Form 263">
                <a:extLst>
                  <a:ext uri="{FF2B5EF4-FFF2-40B4-BE49-F238E27FC236}">
                    <a16:creationId xmlns:a16="http://schemas.microsoft.com/office/drawing/2014/main" id="{A8FD3039-5AAC-4E43-9701-794A89879E05}"/>
                  </a:ext>
                </a:extLst>
              </p:cNvPr>
              <p:cNvSpPr/>
              <p:nvPr/>
            </p:nvSpPr>
            <p:spPr>
              <a:xfrm>
                <a:off x="959924" y="2503770"/>
                <a:ext cx="142745" cy="124598"/>
              </a:xfrm>
              <a:custGeom>
                <a:avLst/>
                <a:gdLst>
                  <a:gd name="connsiteX0" fmla="*/ 72125 w 142745"/>
                  <a:gd name="connsiteY0" fmla="*/ 124599 h 124598"/>
                  <a:gd name="connsiteX1" fmla="*/ 64998 w 142745"/>
                  <a:gd name="connsiteY1" fmla="*/ 120197 h 124598"/>
                  <a:gd name="connsiteX2" fmla="*/ 34516 w 142745"/>
                  <a:gd name="connsiteY2" fmla="*/ 93577 h 124598"/>
                  <a:gd name="connsiteX3" fmla="*/ 27389 w 142745"/>
                  <a:gd name="connsiteY3" fmla="*/ 89475 h 124598"/>
                  <a:gd name="connsiteX4" fmla="*/ 4961 w 142745"/>
                  <a:gd name="connsiteY4" fmla="*/ 63933 h 124598"/>
                  <a:gd name="connsiteX5" fmla="*/ 4482 w 142745"/>
                  <a:gd name="connsiteY5" fmla="*/ 63035 h 124598"/>
                  <a:gd name="connsiteX6" fmla="*/ 410 w 142745"/>
                  <a:gd name="connsiteY6" fmla="*/ 36115 h 124598"/>
                  <a:gd name="connsiteX7" fmla="*/ 440 w 142745"/>
                  <a:gd name="connsiteY7" fmla="*/ 35906 h 124598"/>
                  <a:gd name="connsiteX8" fmla="*/ 26191 w 142745"/>
                  <a:gd name="connsiteY8" fmla="*/ 4076 h 124598"/>
                  <a:gd name="connsiteX9" fmla="*/ 60087 w 142745"/>
                  <a:gd name="connsiteY9" fmla="*/ 3896 h 124598"/>
                  <a:gd name="connsiteX10" fmla="*/ 71316 w 142745"/>
                  <a:gd name="connsiteY10" fmla="*/ 12730 h 124598"/>
                  <a:gd name="connsiteX11" fmla="*/ 82066 w 142745"/>
                  <a:gd name="connsiteY11" fmla="*/ 3776 h 124598"/>
                  <a:gd name="connsiteX12" fmla="*/ 115902 w 142745"/>
                  <a:gd name="connsiteY12" fmla="*/ 3327 h 124598"/>
                  <a:gd name="connsiteX13" fmla="*/ 142193 w 142745"/>
                  <a:gd name="connsiteY13" fmla="*/ 34708 h 124598"/>
                  <a:gd name="connsiteX14" fmla="*/ 138629 w 142745"/>
                  <a:gd name="connsiteY14" fmla="*/ 61867 h 124598"/>
                  <a:gd name="connsiteX15" fmla="*/ 138180 w 142745"/>
                  <a:gd name="connsiteY15" fmla="*/ 62765 h 124598"/>
                  <a:gd name="connsiteX16" fmla="*/ 115932 w 142745"/>
                  <a:gd name="connsiteY16" fmla="*/ 88846 h 124598"/>
                  <a:gd name="connsiteX17" fmla="*/ 109195 w 142745"/>
                  <a:gd name="connsiteY17" fmla="*/ 92888 h 124598"/>
                  <a:gd name="connsiteX18" fmla="*/ 79371 w 142745"/>
                  <a:gd name="connsiteY18" fmla="*/ 119868 h 124598"/>
                  <a:gd name="connsiteX19" fmla="*/ 72903 w 142745"/>
                  <a:gd name="connsiteY19" fmla="*/ 124539 h 124598"/>
                  <a:gd name="connsiteX20" fmla="*/ 72125 w 142745"/>
                  <a:gd name="connsiteY20" fmla="*/ 124599 h 124598"/>
                  <a:gd name="connsiteX21" fmla="*/ 66915 w 142745"/>
                  <a:gd name="connsiteY21" fmla="*/ 115286 h 124598"/>
                  <a:gd name="connsiteX22" fmla="*/ 66915 w 142745"/>
                  <a:gd name="connsiteY22" fmla="*/ 115286 h 124598"/>
                  <a:gd name="connsiteX23" fmla="*/ 66915 w 142745"/>
                  <a:gd name="connsiteY23" fmla="*/ 115286 h 124598"/>
                  <a:gd name="connsiteX24" fmla="*/ 76646 w 142745"/>
                  <a:gd name="connsiteY24" fmla="*/ 113909 h 124598"/>
                  <a:gd name="connsiteX25" fmla="*/ 76736 w 142745"/>
                  <a:gd name="connsiteY25" fmla="*/ 114088 h 124598"/>
                  <a:gd name="connsiteX26" fmla="*/ 76646 w 142745"/>
                  <a:gd name="connsiteY26" fmla="*/ 113909 h 124598"/>
                  <a:gd name="connsiteX27" fmla="*/ 13525 w 142745"/>
                  <a:gd name="connsiteY27" fmla="*/ 37882 h 124598"/>
                  <a:gd name="connsiteX28" fmla="*/ 16550 w 142745"/>
                  <a:gd name="connsiteY28" fmla="*/ 57615 h 124598"/>
                  <a:gd name="connsiteX29" fmla="*/ 34695 w 142745"/>
                  <a:gd name="connsiteY29" fmla="*/ 78456 h 124598"/>
                  <a:gd name="connsiteX30" fmla="*/ 40714 w 142745"/>
                  <a:gd name="connsiteY30" fmla="*/ 81899 h 124598"/>
                  <a:gd name="connsiteX31" fmla="*/ 71975 w 142745"/>
                  <a:gd name="connsiteY31" fmla="*/ 106543 h 124598"/>
                  <a:gd name="connsiteX32" fmla="*/ 102697 w 142745"/>
                  <a:gd name="connsiteY32" fmla="*/ 81360 h 124598"/>
                  <a:gd name="connsiteX33" fmla="*/ 108386 w 142745"/>
                  <a:gd name="connsiteY33" fmla="*/ 78006 h 124598"/>
                  <a:gd name="connsiteX34" fmla="*/ 126382 w 142745"/>
                  <a:gd name="connsiteY34" fmla="*/ 56747 h 124598"/>
                  <a:gd name="connsiteX35" fmla="*/ 129077 w 142745"/>
                  <a:gd name="connsiteY35" fmla="*/ 36804 h 124598"/>
                  <a:gd name="connsiteX36" fmla="*/ 111471 w 142745"/>
                  <a:gd name="connsiteY36" fmla="*/ 15874 h 124598"/>
                  <a:gd name="connsiteX37" fmla="*/ 88234 w 142745"/>
                  <a:gd name="connsiteY37" fmla="*/ 15514 h 124598"/>
                  <a:gd name="connsiteX38" fmla="*/ 77814 w 142745"/>
                  <a:gd name="connsiteY38" fmla="*/ 27881 h 124598"/>
                  <a:gd name="connsiteX39" fmla="*/ 71526 w 142745"/>
                  <a:gd name="connsiteY39" fmla="*/ 32612 h 124598"/>
                  <a:gd name="connsiteX40" fmla="*/ 65148 w 142745"/>
                  <a:gd name="connsiteY40" fmla="*/ 28061 h 124598"/>
                  <a:gd name="connsiteX41" fmla="*/ 54099 w 142745"/>
                  <a:gd name="connsiteY41" fmla="*/ 15784 h 124598"/>
                  <a:gd name="connsiteX42" fmla="*/ 30713 w 142745"/>
                  <a:gd name="connsiteY42" fmla="*/ 16532 h 124598"/>
                  <a:gd name="connsiteX43" fmla="*/ 13525 w 142745"/>
                  <a:gd name="connsiteY43" fmla="*/ 37882 h 12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2745" h="124598">
                    <a:moveTo>
                      <a:pt x="72125" y="124599"/>
                    </a:moveTo>
                    <a:cubicBezTo>
                      <a:pt x="69100" y="124599"/>
                      <a:pt x="66376" y="122922"/>
                      <a:pt x="64998" y="120197"/>
                    </a:cubicBezTo>
                    <a:cubicBezTo>
                      <a:pt x="57303" y="105704"/>
                      <a:pt x="43589" y="98428"/>
                      <a:pt x="34516" y="93577"/>
                    </a:cubicBezTo>
                    <a:cubicBezTo>
                      <a:pt x="31701" y="92080"/>
                      <a:pt x="29276" y="90792"/>
                      <a:pt x="27389" y="89475"/>
                    </a:cubicBezTo>
                    <a:cubicBezTo>
                      <a:pt x="14244" y="81180"/>
                      <a:pt x="7716" y="69113"/>
                      <a:pt x="4961" y="63933"/>
                    </a:cubicBezTo>
                    <a:cubicBezTo>
                      <a:pt x="4902" y="63783"/>
                      <a:pt x="4572" y="63154"/>
                      <a:pt x="4482" y="63035"/>
                    </a:cubicBezTo>
                    <a:cubicBezTo>
                      <a:pt x="560" y="54351"/>
                      <a:pt x="-758" y="45548"/>
                      <a:pt x="410" y="36115"/>
                    </a:cubicBezTo>
                    <a:cubicBezTo>
                      <a:pt x="410" y="36056"/>
                      <a:pt x="440" y="35996"/>
                      <a:pt x="440" y="35906"/>
                    </a:cubicBezTo>
                    <a:cubicBezTo>
                      <a:pt x="3464" y="16502"/>
                      <a:pt x="20053" y="6352"/>
                      <a:pt x="26191" y="4076"/>
                    </a:cubicBezTo>
                    <a:cubicBezTo>
                      <a:pt x="39127" y="-685"/>
                      <a:pt x="50535" y="-745"/>
                      <a:pt x="60087" y="3896"/>
                    </a:cubicBezTo>
                    <a:cubicBezTo>
                      <a:pt x="64938" y="6262"/>
                      <a:pt x="68621" y="9526"/>
                      <a:pt x="71316" y="12730"/>
                    </a:cubicBezTo>
                    <a:cubicBezTo>
                      <a:pt x="73861" y="9496"/>
                      <a:pt x="77365" y="6202"/>
                      <a:pt x="82066" y="3776"/>
                    </a:cubicBezTo>
                    <a:cubicBezTo>
                      <a:pt x="91438" y="-1104"/>
                      <a:pt x="102847" y="-1254"/>
                      <a:pt x="115902" y="3327"/>
                    </a:cubicBezTo>
                    <a:cubicBezTo>
                      <a:pt x="122071" y="5483"/>
                      <a:pt x="138839" y="15335"/>
                      <a:pt x="142193" y="34708"/>
                    </a:cubicBezTo>
                    <a:cubicBezTo>
                      <a:pt x="143570" y="44320"/>
                      <a:pt x="142372" y="53153"/>
                      <a:pt x="138629" y="61867"/>
                    </a:cubicBezTo>
                    <a:cubicBezTo>
                      <a:pt x="138569" y="62017"/>
                      <a:pt x="138240" y="62645"/>
                      <a:pt x="138180" y="62765"/>
                    </a:cubicBezTo>
                    <a:cubicBezTo>
                      <a:pt x="135485" y="67975"/>
                      <a:pt x="129197" y="80162"/>
                      <a:pt x="115932" y="88846"/>
                    </a:cubicBezTo>
                    <a:cubicBezTo>
                      <a:pt x="114345" y="90014"/>
                      <a:pt x="111950" y="91331"/>
                      <a:pt x="109195" y="92888"/>
                    </a:cubicBezTo>
                    <a:cubicBezTo>
                      <a:pt x="100302" y="97829"/>
                      <a:pt x="86887" y="105315"/>
                      <a:pt x="79371" y="119868"/>
                    </a:cubicBezTo>
                    <a:cubicBezTo>
                      <a:pt x="78263" y="122473"/>
                      <a:pt x="75808" y="124269"/>
                      <a:pt x="72903" y="124539"/>
                    </a:cubicBezTo>
                    <a:cubicBezTo>
                      <a:pt x="72604" y="124569"/>
                      <a:pt x="72364" y="124599"/>
                      <a:pt x="72125" y="124599"/>
                    </a:cubicBezTo>
                    <a:close/>
                    <a:moveTo>
                      <a:pt x="66915" y="115286"/>
                    </a:moveTo>
                    <a:cubicBezTo>
                      <a:pt x="66915" y="115286"/>
                      <a:pt x="66915" y="115286"/>
                      <a:pt x="66915" y="115286"/>
                    </a:cubicBezTo>
                    <a:cubicBezTo>
                      <a:pt x="66915" y="115286"/>
                      <a:pt x="66915" y="115286"/>
                      <a:pt x="66915" y="115286"/>
                    </a:cubicBezTo>
                    <a:close/>
                    <a:moveTo>
                      <a:pt x="76646" y="113909"/>
                    </a:moveTo>
                    <a:cubicBezTo>
                      <a:pt x="76676" y="113969"/>
                      <a:pt x="76706" y="114029"/>
                      <a:pt x="76736" y="114088"/>
                    </a:cubicBezTo>
                    <a:cubicBezTo>
                      <a:pt x="76706" y="114029"/>
                      <a:pt x="76676" y="113969"/>
                      <a:pt x="76646" y="113909"/>
                    </a:cubicBezTo>
                    <a:close/>
                    <a:moveTo>
                      <a:pt x="13525" y="37882"/>
                    </a:moveTo>
                    <a:cubicBezTo>
                      <a:pt x="12657" y="44859"/>
                      <a:pt x="13615" y="51117"/>
                      <a:pt x="16550" y="57615"/>
                    </a:cubicBezTo>
                    <a:cubicBezTo>
                      <a:pt x="19095" y="62286"/>
                      <a:pt x="24245" y="71868"/>
                      <a:pt x="34695" y="78456"/>
                    </a:cubicBezTo>
                    <a:cubicBezTo>
                      <a:pt x="36163" y="79474"/>
                      <a:pt x="38289" y="80582"/>
                      <a:pt x="40714" y="81899"/>
                    </a:cubicBezTo>
                    <a:cubicBezTo>
                      <a:pt x="49098" y="86361"/>
                      <a:pt x="62303" y="93368"/>
                      <a:pt x="71975" y="106543"/>
                    </a:cubicBezTo>
                    <a:cubicBezTo>
                      <a:pt x="81437" y="93218"/>
                      <a:pt x="94433" y="85971"/>
                      <a:pt x="102697" y="81360"/>
                    </a:cubicBezTo>
                    <a:cubicBezTo>
                      <a:pt x="105093" y="80013"/>
                      <a:pt x="107189" y="78875"/>
                      <a:pt x="108386" y="78006"/>
                    </a:cubicBezTo>
                    <a:cubicBezTo>
                      <a:pt x="118986" y="71060"/>
                      <a:pt x="123987" y="61388"/>
                      <a:pt x="126382" y="56747"/>
                    </a:cubicBezTo>
                    <a:cubicBezTo>
                      <a:pt x="129257" y="50159"/>
                      <a:pt x="130095" y="43841"/>
                      <a:pt x="129077" y="36804"/>
                    </a:cubicBezTo>
                    <a:cubicBezTo>
                      <a:pt x="126802" y="23779"/>
                      <a:pt x="114615" y="16982"/>
                      <a:pt x="111471" y="15874"/>
                    </a:cubicBezTo>
                    <a:cubicBezTo>
                      <a:pt x="102068" y="12580"/>
                      <a:pt x="94253" y="12460"/>
                      <a:pt x="88234" y="15514"/>
                    </a:cubicBezTo>
                    <a:cubicBezTo>
                      <a:pt x="80449" y="19467"/>
                      <a:pt x="77844" y="27791"/>
                      <a:pt x="77814" y="27881"/>
                    </a:cubicBezTo>
                    <a:cubicBezTo>
                      <a:pt x="76976" y="30666"/>
                      <a:pt x="74430" y="32582"/>
                      <a:pt x="71526" y="32612"/>
                    </a:cubicBezTo>
                    <a:cubicBezTo>
                      <a:pt x="68651" y="32402"/>
                      <a:pt x="66046" y="30815"/>
                      <a:pt x="65148" y="28061"/>
                    </a:cubicBezTo>
                    <a:cubicBezTo>
                      <a:pt x="65148" y="28031"/>
                      <a:pt x="62213" y="19647"/>
                      <a:pt x="54099" y="15784"/>
                    </a:cubicBezTo>
                    <a:cubicBezTo>
                      <a:pt x="47930" y="12849"/>
                      <a:pt x="40055" y="13089"/>
                      <a:pt x="30713" y="16532"/>
                    </a:cubicBezTo>
                    <a:cubicBezTo>
                      <a:pt x="27659" y="17670"/>
                      <a:pt x="15651" y="24677"/>
                      <a:pt x="13525" y="37882"/>
                    </a:cubicBezTo>
                    <a:close/>
                  </a:path>
                </a:pathLst>
              </a:custGeom>
              <a:solidFill>
                <a:schemeClr val="accent1"/>
              </a:solidFill>
              <a:ln w="2991" cap="flat">
                <a:noFill/>
                <a:prstDash val="solid"/>
                <a:miter/>
              </a:ln>
            </p:spPr>
            <p:txBody>
              <a:bodyPr rtlCol="0" anchor="ctr"/>
              <a:lstStyle/>
              <a:p>
                <a:endParaRPr lang="en-GB" dirty="0"/>
              </a:p>
            </p:txBody>
          </p:sp>
          <p:sp>
            <p:nvSpPr>
              <p:cNvPr id="271" name="Freihandform: Form 264">
                <a:extLst>
                  <a:ext uri="{FF2B5EF4-FFF2-40B4-BE49-F238E27FC236}">
                    <a16:creationId xmlns:a16="http://schemas.microsoft.com/office/drawing/2014/main" id="{E9B6CAB4-6544-477D-8923-CA8BBBAF08E0}"/>
                  </a:ext>
                </a:extLst>
              </p:cNvPr>
              <p:cNvSpPr/>
              <p:nvPr/>
            </p:nvSpPr>
            <p:spPr>
              <a:xfrm>
                <a:off x="880475" y="2457511"/>
                <a:ext cx="304465" cy="264730"/>
              </a:xfrm>
              <a:custGeom>
                <a:avLst/>
                <a:gdLst>
                  <a:gd name="connsiteX0" fmla="*/ 66175 w 304465"/>
                  <a:gd name="connsiteY0" fmla="*/ 264731 h 264730"/>
                  <a:gd name="connsiteX1" fmla="*/ 63301 w 304465"/>
                  <a:gd name="connsiteY1" fmla="*/ 264072 h 264730"/>
                  <a:gd name="connsiteX2" fmla="*/ 59558 w 304465"/>
                  <a:gd name="connsiteY2" fmla="*/ 258113 h 264730"/>
                  <a:gd name="connsiteX3" fmla="*/ 59558 w 304465"/>
                  <a:gd name="connsiteY3" fmla="*/ 211791 h 264730"/>
                  <a:gd name="connsiteX4" fmla="*/ 39705 w 304465"/>
                  <a:gd name="connsiteY4" fmla="*/ 211791 h 264730"/>
                  <a:gd name="connsiteX5" fmla="*/ 0 w 304465"/>
                  <a:gd name="connsiteY5" fmla="*/ 172085 h 264730"/>
                  <a:gd name="connsiteX6" fmla="*/ 0 w 304465"/>
                  <a:gd name="connsiteY6" fmla="*/ 39705 h 264730"/>
                  <a:gd name="connsiteX7" fmla="*/ 39705 w 304465"/>
                  <a:gd name="connsiteY7" fmla="*/ 0 h 264730"/>
                  <a:gd name="connsiteX8" fmla="*/ 264761 w 304465"/>
                  <a:gd name="connsiteY8" fmla="*/ 0 h 264730"/>
                  <a:gd name="connsiteX9" fmla="*/ 304466 w 304465"/>
                  <a:gd name="connsiteY9" fmla="*/ 39705 h 264730"/>
                  <a:gd name="connsiteX10" fmla="*/ 304466 w 304465"/>
                  <a:gd name="connsiteY10" fmla="*/ 165468 h 264730"/>
                  <a:gd name="connsiteX11" fmla="*/ 297848 w 304465"/>
                  <a:gd name="connsiteY11" fmla="*/ 172085 h 264730"/>
                  <a:gd name="connsiteX12" fmla="*/ 291231 w 304465"/>
                  <a:gd name="connsiteY12" fmla="*/ 165468 h 264730"/>
                  <a:gd name="connsiteX13" fmla="*/ 291231 w 304465"/>
                  <a:gd name="connsiteY13" fmla="*/ 39705 h 264730"/>
                  <a:gd name="connsiteX14" fmla="*/ 264761 w 304465"/>
                  <a:gd name="connsiteY14" fmla="*/ 13235 h 264730"/>
                  <a:gd name="connsiteX15" fmla="*/ 39705 w 304465"/>
                  <a:gd name="connsiteY15" fmla="*/ 13235 h 264730"/>
                  <a:gd name="connsiteX16" fmla="*/ 13235 w 304465"/>
                  <a:gd name="connsiteY16" fmla="*/ 39705 h 264730"/>
                  <a:gd name="connsiteX17" fmla="*/ 13235 w 304465"/>
                  <a:gd name="connsiteY17" fmla="*/ 172085 h 264730"/>
                  <a:gd name="connsiteX18" fmla="*/ 39705 w 304465"/>
                  <a:gd name="connsiteY18" fmla="*/ 198556 h 264730"/>
                  <a:gd name="connsiteX19" fmla="*/ 66175 w 304465"/>
                  <a:gd name="connsiteY19" fmla="*/ 198556 h 264730"/>
                  <a:gd name="connsiteX20" fmla="*/ 72793 w 304465"/>
                  <a:gd name="connsiteY20" fmla="*/ 205173 h 264730"/>
                  <a:gd name="connsiteX21" fmla="*/ 72793 w 304465"/>
                  <a:gd name="connsiteY21" fmla="*/ 244369 h 264730"/>
                  <a:gd name="connsiteX22" fmla="*/ 128218 w 304465"/>
                  <a:gd name="connsiteY22" fmla="*/ 200023 h 264730"/>
                  <a:gd name="connsiteX23" fmla="*/ 132350 w 304465"/>
                  <a:gd name="connsiteY23" fmla="*/ 198585 h 264730"/>
                  <a:gd name="connsiteX24" fmla="*/ 191908 w 304465"/>
                  <a:gd name="connsiteY24" fmla="*/ 198585 h 264730"/>
                  <a:gd name="connsiteX25" fmla="*/ 198526 w 304465"/>
                  <a:gd name="connsiteY25" fmla="*/ 205203 h 264730"/>
                  <a:gd name="connsiteX26" fmla="*/ 191908 w 304465"/>
                  <a:gd name="connsiteY26" fmla="*/ 211820 h 264730"/>
                  <a:gd name="connsiteX27" fmla="*/ 134686 w 304465"/>
                  <a:gd name="connsiteY27" fmla="*/ 211820 h 264730"/>
                  <a:gd name="connsiteX28" fmla="*/ 70307 w 304465"/>
                  <a:gd name="connsiteY28" fmla="*/ 263323 h 264730"/>
                  <a:gd name="connsiteX29" fmla="*/ 66175 w 304465"/>
                  <a:gd name="connsiteY29" fmla="*/ 264731 h 264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4465" h="264730">
                    <a:moveTo>
                      <a:pt x="66175" y="264731"/>
                    </a:moveTo>
                    <a:cubicBezTo>
                      <a:pt x="65187" y="264731"/>
                      <a:pt x="64229" y="264521"/>
                      <a:pt x="63301" y="264072"/>
                    </a:cubicBezTo>
                    <a:cubicBezTo>
                      <a:pt x="60995" y="262964"/>
                      <a:pt x="59558" y="260658"/>
                      <a:pt x="59558" y="258113"/>
                    </a:cubicBezTo>
                    <a:lnTo>
                      <a:pt x="59558" y="211791"/>
                    </a:lnTo>
                    <a:lnTo>
                      <a:pt x="39705" y="211791"/>
                    </a:lnTo>
                    <a:cubicBezTo>
                      <a:pt x="17816" y="211791"/>
                      <a:pt x="0" y="193974"/>
                      <a:pt x="0" y="172085"/>
                    </a:cubicBezTo>
                    <a:lnTo>
                      <a:pt x="0" y="39705"/>
                    </a:lnTo>
                    <a:cubicBezTo>
                      <a:pt x="0" y="17816"/>
                      <a:pt x="17816" y="0"/>
                      <a:pt x="39705" y="0"/>
                    </a:cubicBezTo>
                    <a:lnTo>
                      <a:pt x="264761" y="0"/>
                    </a:lnTo>
                    <a:cubicBezTo>
                      <a:pt x="286649" y="0"/>
                      <a:pt x="304466" y="17816"/>
                      <a:pt x="304466" y="39705"/>
                    </a:cubicBezTo>
                    <a:lnTo>
                      <a:pt x="304466" y="165468"/>
                    </a:lnTo>
                    <a:cubicBezTo>
                      <a:pt x="304466" y="169121"/>
                      <a:pt x="301501" y="172085"/>
                      <a:pt x="297848" y="172085"/>
                    </a:cubicBezTo>
                    <a:cubicBezTo>
                      <a:pt x="294195" y="172085"/>
                      <a:pt x="291231" y="169121"/>
                      <a:pt x="291231" y="165468"/>
                    </a:cubicBezTo>
                    <a:lnTo>
                      <a:pt x="291231" y="39705"/>
                    </a:lnTo>
                    <a:cubicBezTo>
                      <a:pt x="291231" y="25093"/>
                      <a:pt x="279343" y="13235"/>
                      <a:pt x="264761" y="13235"/>
                    </a:cubicBezTo>
                    <a:lnTo>
                      <a:pt x="39705" y="13235"/>
                    </a:lnTo>
                    <a:cubicBezTo>
                      <a:pt x="25093" y="13235"/>
                      <a:pt x="13235" y="25123"/>
                      <a:pt x="13235" y="39705"/>
                    </a:cubicBezTo>
                    <a:lnTo>
                      <a:pt x="13235" y="172085"/>
                    </a:lnTo>
                    <a:cubicBezTo>
                      <a:pt x="13235" y="186698"/>
                      <a:pt x="25123" y="198556"/>
                      <a:pt x="39705" y="198556"/>
                    </a:cubicBezTo>
                    <a:lnTo>
                      <a:pt x="66175" y="198556"/>
                    </a:lnTo>
                    <a:cubicBezTo>
                      <a:pt x="69828" y="198556"/>
                      <a:pt x="72793" y="201520"/>
                      <a:pt x="72793" y="205173"/>
                    </a:cubicBezTo>
                    <a:lnTo>
                      <a:pt x="72793" y="244369"/>
                    </a:lnTo>
                    <a:lnTo>
                      <a:pt x="128218" y="200023"/>
                    </a:lnTo>
                    <a:cubicBezTo>
                      <a:pt x="129386" y="199094"/>
                      <a:pt x="130853" y="198585"/>
                      <a:pt x="132350" y="198585"/>
                    </a:cubicBezTo>
                    <a:lnTo>
                      <a:pt x="191908" y="198585"/>
                    </a:lnTo>
                    <a:cubicBezTo>
                      <a:pt x="195561" y="198585"/>
                      <a:pt x="198526" y="201550"/>
                      <a:pt x="198526" y="205203"/>
                    </a:cubicBezTo>
                    <a:cubicBezTo>
                      <a:pt x="198526" y="208856"/>
                      <a:pt x="195561" y="211820"/>
                      <a:pt x="191908" y="211820"/>
                    </a:cubicBezTo>
                    <a:lnTo>
                      <a:pt x="134686" y="211820"/>
                    </a:lnTo>
                    <a:lnTo>
                      <a:pt x="70307" y="263323"/>
                    </a:lnTo>
                    <a:cubicBezTo>
                      <a:pt x="69110" y="264252"/>
                      <a:pt x="67672" y="264731"/>
                      <a:pt x="66175" y="264731"/>
                    </a:cubicBezTo>
                    <a:close/>
                  </a:path>
                </a:pathLst>
              </a:custGeom>
              <a:solidFill>
                <a:schemeClr val="accent1"/>
              </a:solidFill>
              <a:ln w="2991" cap="flat">
                <a:noFill/>
                <a:prstDash val="solid"/>
                <a:miter/>
              </a:ln>
            </p:spPr>
            <p:txBody>
              <a:bodyPr rtlCol="0" anchor="ctr"/>
              <a:lstStyle/>
              <a:p>
                <a:endParaRPr lang="en-GB" dirty="0"/>
              </a:p>
            </p:txBody>
          </p:sp>
        </p:grpSp>
        <p:grpSp>
          <p:nvGrpSpPr>
            <p:cNvPr id="265" name="Group 264">
              <a:extLst>
                <a:ext uri="{FF2B5EF4-FFF2-40B4-BE49-F238E27FC236}">
                  <a16:creationId xmlns:a16="http://schemas.microsoft.com/office/drawing/2014/main" id="{349FBE75-607E-434F-8A89-5C66A747129E}"/>
                </a:ext>
              </a:extLst>
            </p:cNvPr>
            <p:cNvGrpSpPr/>
            <p:nvPr/>
          </p:nvGrpSpPr>
          <p:grpSpPr>
            <a:xfrm>
              <a:off x="1778743" y="4164619"/>
              <a:ext cx="310517" cy="269992"/>
              <a:chOff x="1065825" y="2616361"/>
              <a:chExt cx="304465" cy="264730"/>
            </a:xfrm>
            <a:solidFill>
              <a:schemeClr val="tx2"/>
            </a:solidFill>
          </p:grpSpPr>
          <p:sp>
            <p:nvSpPr>
              <p:cNvPr id="266" name="Freihandform: Form 265">
                <a:extLst>
                  <a:ext uri="{FF2B5EF4-FFF2-40B4-BE49-F238E27FC236}">
                    <a16:creationId xmlns:a16="http://schemas.microsoft.com/office/drawing/2014/main" id="{756A282D-6181-47F4-8CE8-89312C8A00DB}"/>
                  </a:ext>
                </a:extLst>
              </p:cNvPr>
              <p:cNvSpPr/>
              <p:nvPr/>
            </p:nvSpPr>
            <p:spPr>
              <a:xfrm>
                <a:off x="1065825" y="2616361"/>
                <a:ext cx="304465" cy="264730"/>
              </a:xfrm>
              <a:custGeom>
                <a:avLst/>
                <a:gdLst>
                  <a:gd name="connsiteX0" fmla="*/ 238261 w 304465"/>
                  <a:gd name="connsiteY0" fmla="*/ 264731 h 264730"/>
                  <a:gd name="connsiteX1" fmla="*/ 234128 w 304465"/>
                  <a:gd name="connsiteY1" fmla="*/ 263293 h 264730"/>
                  <a:gd name="connsiteX2" fmla="*/ 169750 w 304465"/>
                  <a:gd name="connsiteY2" fmla="*/ 211791 h 264730"/>
                  <a:gd name="connsiteX3" fmla="*/ 39705 w 304465"/>
                  <a:gd name="connsiteY3" fmla="*/ 211791 h 264730"/>
                  <a:gd name="connsiteX4" fmla="*/ 0 w 304465"/>
                  <a:gd name="connsiteY4" fmla="*/ 172085 h 264730"/>
                  <a:gd name="connsiteX5" fmla="*/ 0 w 304465"/>
                  <a:gd name="connsiteY5" fmla="*/ 39705 h 264730"/>
                  <a:gd name="connsiteX6" fmla="*/ 39705 w 304465"/>
                  <a:gd name="connsiteY6" fmla="*/ 0 h 264730"/>
                  <a:gd name="connsiteX7" fmla="*/ 264761 w 304465"/>
                  <a:gd name="connsiteY7" fmla="*/ 0 h 264730"/>
                  <a:gd name="connsiteX8" fmla="*/ 304466 w 304465"/>
                  <a:gd name="connsiteY8" fmla="*/ 39705 h 264730"/>
                  <a:gd name="connsiteX9" fmla="*/ 304466 w 304465"/>
                  <a:gd name="connsiteY9" fmla="*/ 172085 h 264730"/>
                  <a:gd name="connsiteX10" fmla="*/ 264761 w 304465"/>
                  <a:gd name="connsiteY10" fmla="*/ 211791 h 264730"/>
                  <a:gd name="connsiteX11" fmla="*/ 244908 w 304465"/>
                  <a:gd name="connsiteY11" fmla="*/ 211791 h 264730"/>
                  <a:gd name="connsiteX12" fmla="*/ 244908 w 304465"/>
                  <a:gd name="connsiteY12" fmla="*/ 258113 h 264730"/>
                  <a:gd name="connsiteX13" fmla="*/ 241165 w 304465"/>
                  <a:gd name="connsiteY13" fmla="*/ 264072 h 264730"/>
                  <a:gd name="connsiteX14" fmla="*/ 238261 w 304465"/>
                  <a:gd name="connsiteY14" fmla="*/ 264731 h 264730"/>
                  <a:gd name="connsiteX15" fmla="*/ 39705 w 304465"/>
                  <a:gd name="connsiteY15" fmla="*/ 13205 h 264730"/>
                  <a:gd name="connsiteX16" fmla="*/ 13235 w 304465"/>
                  <a:gd name="connsiteY16" fmla="*/ 39675 h 264730"/>
                  <a:gd name="connsiteX17" fmla="*/ 13235 w 304465"/>
                  <a:gd name="connsiteY17" fmla="*/ 172056 h 264730"/>
                  <a:gd name="connsiteX18" fmla="*/ 39705 w 304465"/>
                  <a:gd name="connsiteY18" fmla="*/ 198526 h 264730"/>
                  <a:gd name="connsiteX19" fmla="*/ 172085 w 304465"/>
                  <a:gd name="connsiteY19" fmla="*/ 198526 h 264730"/>
                  <a:gd name="connsiteX20" fmla="*/ 176218 w 304465"/>
                  <a:gd name="connsiteY20" fmla="*/ 199963 h 264730"/>
                  <a:gd name="connsiteX21" fmla="*/ 231643 w 304465"/>
                  <a:gd name="connsiteY21" fmla="*/ 244309 h 264730"/>
                  <a:gd name="connsiteX22" fmla="*/ 231643 w 304465"/>
                  <a:gd name="connsiteY22" fmla="*/ 205113 h 264730"/>
                  <a:gd name="connsiteX23" fmla="*/ 238261 w 304465"/>
                  <a:gd name="connsiteY23" fmla="*/ 198496 h 264730"/>
                  <a:gd name="connsiteX24" fmla="*/ 264731 w 304465"/>
                  <a:gd name="connsiteY24" fmla="*/ 198496 h 264730"/>
                  <a:gd name="connsiteX25" fmla="*/ 291201 w 304465"/>
                  <a:gd name="connsiteY25" fmla="*/ 172026 h 264730"/>
                  <a:gd name="connsiteX26" fmla="*/ 291201 w 304465"/>
                  <a:gd name="connsiteY26" fmla="*/ 39645 h 264730"/>
                  <a:gd name="connsiteX27" fmla="*/ 264731 w 304465"/>
                  <a:gd name="connsiteY27" fmla="*/ 13175 h 264730"/>
                  <a:gd name="connsiteX28" fmla="*/ 39705 w 304465"/>
                  <a:gd name="connsiteY28" fmla="*/ 13175 h 264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4465" h="264730">
                    <a:moveTo>
                      <a:pt x="238261" y="264731"/>
                    </a:moveTo>
                    <a:cubicBezTo>
                      <a:pt x="236793" y="264731"/>
                      <a:pt x="235326" y="264222"/>
                      <a:pt x="234128" y="263293"/>
                    </a:cubicBezTo>
                    <a:lnTo>
                      <a:pt x="169750" y="211791"/>
                    </a:lnTo>
                    <a:lnTo>
                      <a:pt x="39705" y="211791"/>
                    </a:lnTo>
                    <a:cubicBezTo>
                      <a:pt x="17816" y="211791"/>
                      <a:pt x="0" y="193974"/>
                      <a:pt x="0" y="172085"/>
                    </a:cubicBezTo>
                    <a:lnTo>
                      <a:pt x="0" y="39705"/>
                    </a:lnTo>
                    <a:cubicBezTo>
                      <a:pt x="0" y="17816"/>
                      <a:pt x="17816" y="0"/>
                      <a:pt x="39705" y="0"/>
                    </a:cubicBezTo>
                    <a:lnTo>
                      <a:pt x="264761" y="0"/>
                    </a:lnTo>
                    <a:cubicBezTo>
                      <a:pt x="286649" y="0"/>
                      <a:pt x="304466" y="17816"/>
                      <a:pt x="304466" y="39705"/>
                    </a:cubicBezTo>
                    <a:lnTo>
                      <a:pt x="304466" y="172085"/>
                    </a:lnTo>
                    <a:cubicBezTo>
                      <a:pt x="304466" y="193974"/>
                      <a:pt x="286649" y="211791"/>
                      <a:pt x="264761" y="211791"/>
                    </a:cubicBezTo>
                    <a:lnTo>
                      <a:pt x="244908" y="211791"/>
                    </a:lnTo>
                    <a:lnTo>
                      <a:pt x="244908" y="258113"/>
                    </a:lnTo>
                    <a:cubicBezTo>
                      <a:pt x="244908" y="260658"/>
                      <a:pt x="243441" y="262964"/>
                      <a:pt x="241165" y="264072"/>
                    </a:cubicBezTo>
                    <a:cubicBezTo>
                      <a:pt x="240237" y="264521"/>
                      <a:pt x="239249" y="264731"/>
                      <a:pt x="238261" y="264731"/>
                    </a:cubicBezTo>
                    <a:close/>
                    <a:moveTo>
                      <a:pt x="39705" y="13205"/>
                    </a:moveTo>
                    <a:cubicBezTo>
                      <a:pt x="25093" y="13205"/>
                      <a:pt x="13235" y="25093"/>
                      <a:pt x="13235" y="39675"/>
                    </a:cubicBezTo>
                    <a:lnTo>
                      <a:pt x="13235" y="172056"/>
                    </a:lnTo>
                    <a:cubicBezTo>
                      <a:pt x="13235" y="186668"/>
                      <a:pt x="25123" y="198526"/>
                      <a:pt x="39705" y="198526"/>
                    </a:cubicBezTo>
                    <a:lnTo>
                      <a:pt x="172085" y="198526"/>
                    </a:lnTo>
                    <a:cubicBezTo>
                      <a:pt x="173583" y="198526"/>
                      <a:pt x="175050" y="199035"/>
                      <a:pt x="176218" y="199963"/>
                    </a:cubicBezTo>
                    <a:lnTo>
                      <a:pt x="231643" y="244309"/>
                    </a:lnTo>
                    <a:lnTo>
                      <a:pt x="231643" y="205113"/>
                    </a:lnTo>
                    <a:cubicBezTo>
                      <a:pt x="231643" y="201460"/>
                      <a:pt x="234608" y="198496"/>
                      <a:pt x="238261" y="198496"/>
                    </a:cubicBezTo>
                    <a:lnTo>
                      <a:pt x="264731" y="198496"/>
                    </a:lnTo>
                    <a:cubicBezTo>
                      <a:pt x="279343" y="198496"/>
                      <a:pt x="291201" y="186608"/>
                      <a:pt x="291201" y="172026"/>
                    </a:cubicBezTo>
                    <a:lnTo>
                      <a:pt x="291201" y="39645"/>
                    </a:lnTo>
                    <a:cubicBezTo>
                      <a:pt x="291201" y="25033"/>
                      <a:pt x="279313" y="13175"/>
                      <a:pt x="264731" y="13175"/>
                    </a:cubicBezTo>
                    <a:lnTo>
                      <a:pt x="39705" y="13175"/>
                    </a:lnTo>
                    <a:close/>
                  </a:path>
                </a:pathLst>
              </a:custGeom>
              <a:grpFill/>
              <a:ln w="2991" cap="flat">
                <a:noFill/>
                <a:prstDash val="solid"/>
                <a:miter/>
              </a:ln>
            </p:spPr>
            <p:txBody>
              <a:bodyPr rtlCol="0" anchor="ctr"/>
              <a:lstStyle/>
              <a:p>
                <a:endParaRPr lang="en-GB" dirty="0"/>
              </a:p>
            </p:txBody>
          </p:sp>
          <p:sp>
            <p:nvSpPr>
              <p:cNvPr id="267" name="Freihandform: Form 266">
                <a:extLst>
                  <a:ext uri="{FF2B5EF4-FFF2-40B4-BE49-F238E27FC236}">
                    <a16:creationId xmlns:a16="http://schemas.microsoft.com/office/drawing/2014/main" id="{7D7741B2-E772-45B3-93FE-97B1232D317F}"/>
                  </a:ext>
                </a:extLst>
              </p:cNvPr>
              <p:cNvSpPr/>
              <p:nvPr/>
            </p:nvSpPr>
            <p:spPr>
              <a:xfrm>
                <a:off x="1170741" y="2675859"/>
                <a:ext cx="100070" cy="96298"/>
              </a:xfrm>
              <a:custGeom>
                <a:avLst/>
                <a:gdLst>
                  <a:gd name="connsiteX0" fmla="*/ 26536 w 100070"/>
                  <a:gd name="connsiteY0" fmla="*/ 96298 h 96298"/>
                  <a:gd name="connsiteX1" fmla="*/ 19500 w 100070"/>
                  <a:gd name="connsiteY1" fmla="*/ 93993 h 96298"/>
                  <a:gd name="connsiteX2" fmla="*/ 14739 w 100070"/>
                  <a:gd name="connsiteY2" fmla="*/ 82285 h 96298"/>
                  <a:gd name="connsiteX3" fmla="*/ 18152 w 100070"/>
                  <a:gd name="connsiteY3" fmla="*/ 62313 h 96298"/>
                  <a:gd name="connsiteX4" fmla="*/ 3629 w 100070"/>
                  <a:gd name="connsiteY4" fmla="*/ 48179 h 96298"/>
                  <a:gd name="connsiteX5" fmla="*/ 605 w 100070"/>
                  <a:gd name="connsiteY5" fmla="*/ 35902 h 96298"/>
                  <a:gd name="connsiteX6" fmla="*/ 10277 w 100070"/>
                  <a:gd name="connsiteY6" fmla="*/ 27758 h 96298"/>
                  <a:gd name="connsiteX7" fmla="*/ 30339 w 100070"/>
                  <a:gd name="connsiteY7" fmla="*/ 24853 h 96298"/>
                  <a:gd name="connsiteX8" fmla="*/ 39292 w 100070"/>
                  <a:gd name="connsiteY8" fmla="*/ 6677 h 96298"/>
                  <a:gd name="connsiteX9" fmla="*/ 50042 w 100070"/>
                  <a:gd name="connsiteY9" fmla="*/ 0 h 96298"/>
                  <a:gd name="connsiteX10" fmla="*/ 60792 w 100070"/>
                  <a:gd name="connsiteY10" fmla="*/ 6677 h 96298"/>
                  <a:gd name="connsiteX11" fmla="*/ 60792 w 100070"/>
                  <a:gd name="connsiteY11" fmla="*/ 6677 h 96298"/>
                  <a:gd name="connsiteX12" fmla="*/ 69745 w 100070"/>
                  <a:gd name="connsiteY12" fmla="*/ 24853 h 96298"/>
                  <a:gd name="connsiteX13" fmla="*/ 89807 w 100070"/>
                  <a:gd name="connsiteY13" fmla="*/ 27758 h 96298"/>
                  <a:gd name="connsiteX14" fmla="*/ 99479 w 100070"/>
                  <a:gd name="connsiteY14" fmla="*/ 35902 h 96298"/>
                  <a:gd name="connsiteX15" fmla="*/ 96454 w 100070"/>
                  <a:gd name="connsiteY15" fmla="*/ 48179 h 96298"/>
                  <a:gd name="connsiteX16" fmla="*/ 81932 w 100070"/>
                  <a:gd name="connsiteY16" fmla="*/ 62313 h 96298"/>
                  <a:gd name="connsiteX17" fmla="*/ 85345 w 100070"/>
                  <a:gd name="connsiteY17" fmla="*/ 82285 h 96298"/>
                  <a:gd name="connsiteX18" fmla="*/ 80584 w 100070"/>
                  <a:gd name="connsiteY18" fmla="*/ 93993 h 96298"/>
                  <a:gd name="connsiteX19" fmla="*/ 67978 w 100070"/>
                  <a:gd name="connsiteY19" fmla="*/ 94891 h 96298"/>
                  <a:gd name="connsiteX20" fmla="*/ 50042 w 100070"/>
                  <a:gd name="connsiteY20" fmla="*/ 85459 h 96298"/>
                  <a:gd name="connsiteX21" fmla="*/ 32106 w 100070"/>
                  <a:gd name="connsiteY21" fmla="*/ 94891 h 96298"/>
                  <a:gd name="connsiteX22" fmla="*/ 26536 w 100070"/>
                  <a:gd name="connsiteY22" fmla="*/ 96298 h 96298"/>
                  <a:gd name="connsiteX23" fmla="*/ 14739 w 100070"/>
                  <a:gd name="connsiteY23" fmla="*/ 40484 h 96298"/>
                  <a:gd name="connsiteX24" fmla="*/ 29920 w 100070"/>
                  <a:gd name="connsiteY24" fmla="*/ 55276 h 96298"/>
                  <a:gd name="connsiteX25" fmla="*/ 31836 w 100070"/>
                  <a:gd name="connsiteY25" fmla="*/ 61145 h 96298"/>
                  <a:gd name="connsiteX26" fmla="*/ 28243 w 100070"/>
                  <a:gd name="connsiteY26" fmla="*/ 82015 h 96298"/>
                  <a:gd name="connsiteX27" fmla="*/ 46988 w 100070"/>
                  <a:gd name="connsiteY27" fmla="*/ 72164 h 96298"/>
                  <a:gd name="connsiteX28" fmla="*/ 53156 w 100070"/>
                  <a:gd name="connsiteY28" fmla="*/ 72164 h 96298"/>
                  <a:gd name="connsiteX29" fmla="*/ 71901 w 100070"/>
                  <a:gd name="connsiteY29" fmla="*/ 82015 h 96298"/>
                  <a:gd name="connsiteX30" fmla="*/ 68308 w 100070"/>
                  <a:gd name="connsiteY30" fmla="*/ 61145 h 96298"/>
                  <a:gd name="connsiteX31" fmla="*/ 70224 w 100070"/>
                  <a:gd name="connsiteY31" fmla="*/ 55276 h 96298"/>
                  <a:gd name="connsiteX32" fmla="*/ 85405 w 100070"/>
                  <a:gd name="connsiteY32" fmla="*/ 40484 h 96298"/>
                  <a:gd name="connsiteX33" fmla="*/ 64445 w 100070"/>
                  <a:gd name="connsiteY33" fmla="*/ 37429 h 96298"/>
                  <a:gd name="connsiteX34" fmla="*/ 59444 w 100070"/>
                  <a:gd name="connsiteY34" fmla="*/ 33806 h 96298"/>
                  <a:gd name="connsiteX35" fmla="*/ 50072 w 100070"/>
                  <a:gd name="connsiteY35" fmla="*/ 14822 h 96298"/>
                  <a:gd name="connsiteX36" fmla="*/ 40700 w 100070"/>
                  <a:gd name="connsiteY36" fmla="*/ 33806 h 96298"/>
                  <a:gd name="connsiteX37" fmla="*/ 35699 w 100070"/>
                  <a:gd name="connsiteY37" fmla="*/ 37429 h 96298"/>
                  <a:gd name="connsiteX38" fmla="*/ 14739 w 100070"/>
                  <a:gd name="connsiteY38" fmla="*/ 40484 h 9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70" h="96298">
                    <a:moveTo>
                      <a:pt x="26536" y="96298"/>
                    </a:moveTo>
                    <a:cubicBezTo>
                      <a:pt x="24081" y="96298"/>
                      <a:pt x="21596" y="95520"/>
                      <a:pt x="19500" y="93993"/>
                    </a:cubicBezTo>
                    <a:cubicBezTo>
                      <a:pt x="15787" y="91298"/>
                      <a:pt x="13960" y="86806"/>
                      <a:pt x="14739" y="82285"/>
                    </a:cubicBezTo>
                    <a:lnTo>
                      <a:pt x="18152" y="62313"/>
                    </a:lnTo>
                    <a:lnTo>
                      <a:pt x="3629" y="48179"/>
                    </a:lnTo>
                    <a:cubicBezTo>
                      <a:pt x="336" y="44975"/>
                      <a:pt x="-832" y="40274"/>
                      <a:pt x="605" y="35902"/>
                    </a:cubicBezTo>
                    <a:cubicBezTo>
                      <a:pt x="2013" y="31531"/>
                      <a:pt x="5726" y="28416"/>
                      <a:pt x="10277" y="27758"/>
                    </a:cubicBezTo>
                    <a:lnTo>
                      <a:pt x="30339" y="24853"/>
                    </a:lnTo>
                    <a:lnTo>
                      <a:pt x="39292" y="6677"/>
                    </a:lnTo>
                    <a:cubicBezTo>
                      <a:pt x="41328" y="2575"/>
                      <a:pt x="45431" y="0"/>
                      <a:pt x="50042" y="0"/>
                    </a:cubicBezTo>
                    <a:cubicBezTo>
                      <a:pt x="54623" y="0"/>
                      <a:pt x="58756" y="2575"/>
                      <a:pt x="60792" y="6677"/>
                    </a:cubicBezTo>
                    <a:lnTo>
                      <a:pt x="60792" y="6677"/>
                    </a:lnTo>
                    <a:lnTo>
                      <a:pt x="69745" y="24853"/>
                    </a:lnTo>
                    <a:lnTo>
                      <a:pt x="89807" y="27758"/>
                    </a:lnTo>
                    <a:cubicBezTo>
                      <a:pt x="94358" y="28416"/>
                      <a:pt x="98071" y="31531"/>
                      <a:pt x="99479" y="35902"/>
                    </a:cubicBezTo>
                    <a:cubicBezTo>
                      <a:pt x="100886" y="40274"/>
                      <a:pt x="99748" y="44975"/>
                      <a:pt x="96454" y="48179"/>
                    </a:cubicBezTo>
                    <a:lnTo>
                      <a:pt x="81932" y="62313"/>
                    </a:lnTo>
                    <a:lnTo>
                      <a:pt x="85345" y="82285"/>
                    </a:lnTo>
                    <a:cubicBezTo>
                      <a:pt x="86124" y="86806"/>
                      <a:pt x="84297" y="91298"/>
                      <a:pt x="80584" y="93993"/>
                    </a:cubicBezTo>
                    <a:cubicBezTo>
                      <a:pt x="76871" y="96688"/>
                      <a:pt x="72050" y="97047"/>
                      <a:pt x="67978" y="94891"/>
                    </a:cubicBezTo>
                    <a:lnTo>
                      <a:pt x="50042" y="85459"/>
                    </a:lnTo>
                    <a:lnTo>
                      <a:pt x="32106" y="94891"/>
                    </a:lnTo>
                    <a:cubicBezTo>
                      <a:pt x="30369" y="95849"/>
                      <a:pt x="28453" y="96298"/>
                      <a:pt x="26536" y="96298"/>
                    </a:cubicBezTo>
                    <a:close/>
                    <a:moveTo>
                      <a:pt x="14739" y="40484"/>
                    </a:moveTo>
                    <a:lnTo>
                      <a:pt x="29920" y="55276"/>
                    </a:lnTo>
                    <a:cubicBezTo>
                      <a:pt x="31477" y="56803"/>
                      <a:pt x="32196" y="58989"/>
                      <a:pt x="31836" y="61145"/>
                    </a:cubicBezTo>
                    <a:lnTo>
                      <a:pt x="28243" y="82015"/>
                    </a:lnTo>
                    <a:lnTo>
                      <a:pt x="46988" y="72164"/>
                    </a:lnTo>
                    <a:cubicBezTo>
                      <a:pt x="48904" y="71146"/>
                      <a:pt x="51210" y="71146"/>
                      <a:pt x="53156" y="72164"/>
                    </a:cubicBezTo>
                    <a:lnTo>
                      <a:pt x="71901" y="82015"/>
                    </a:lnTo>
                    <a:lnTo>
                      <a:pt x="68308" y="61145"/>
                    </a:lnTo>
                    <a:cubicBezTo>
                      <a:pt x="67948" y="58989"/>
                      <a:pt x="68667" y="56803"/>
                      <a:pt x="70224" y="55276"/>
                    </a:cubicBezTo>
                    <a:lnTo>
                      <a:pt x="85405" y="40484"/>
                    </a:lnTo>
                    <a:lnTo>
                      <a:pt x="64445" y="37429"/>
                    </a:lnTo>
                    <a:cubicBezTo>
                      <a:pt x="62289" y="37130"/>
                      <a:pt x="60432" y="35753"/>
                      <a:pt x="59444" y="33806"/>
                    </a:cubicBezTo>
                    <a:lnTo>
                      <a:pt x="50072" y="14822"/>
                    </a:lnTo>
                    <a:lnTo>
                      <a:pt x="40700" y="33806"/>
                    </a:lnTo>
                    <a:cubicBezTo>
                      <a:pt x="39741" y="35753"/>
                      <a:pt x="37885" y="37130"/>
                      <a:pt x="35699" y="37429"/>
                    </a:cubicBezTo>
                    <a:lnTo>
                      <a:pt x="14739" y="40484"/>
                    </a:lnTo>
                    <a:close/>
                  </a:path>
                </a:pathLst>
              </a:custGeom>
              <a:grpFill/>
              <a:ln w="2991" cap="flat">
                <a:noFill/>
                <a:prstDash val="solid"/>
                <a:miter/>
              </a:ln>
            </p:spPr>
            <p:txBody>
              <a:bodyPr rtlCol="0" anchor="ctr"/>
              <a:lstStyle/>
              <a:p>
                <a:endParaRPr lang="en-GB" dirty="0"/>
              </a:p>
            </p:txBody>
          </p:sp>
          <p:sp>
            <p:nvSpPr>
              <p:cNvPr id="268" name="Freihandform: Form 267">
                <a:extLst>
                  <a:ext uri="{FF2B5EF4-FFF2-40B4-BE49-F238E27FC236}">
                    <a16:creationId xmlns:a16="http://schemas.microsoft.com/office/drawing/2014/main" id="{3D806885-C397-47C3-8C4C-0688B5407AE4}"/>
                  </a:ext>
                </a:extLst>
              </p:cNvPr>
              <p:cNvSpPr/>
              <p:nvPr/>
            </p:nvSpPr>
            <p:spPr>
              <a:xfrm>
                <a:off x="1267151" y="2684453"/>
                <a:ext cx="71982" cy="80710"/>
              </a:xfrm>
              <a:custGeom>
                <a:avLst/>
                <a:gdLst>
                  <a:gd name="connsiteX0" fmla="*/ 10974 w 71982"/>
                  <a:gd name="connsiteY0" fmla="*/ 80698 h 80710"/>
                  <a:gd name="connsiteX1" fmla="*/ 4536 w 71982"/>
                  <a:gd name="connsiteY1" fmla="*/ 78602 h 80710"/>
                  <a:gd name="connsiteX2" fmla="*/ 164 w 71982"/>
                  <a:gd name="connsiteY2" fmla="*/ 67882 h 80710"/>
                  <a:gd name="connsiteX3" fmla="*/ 3428 w 71982"/>
                  <a:gd name="connsiteY3" fmla="*/ 48868 h 80710"/>
                  <a:gd name="connsiteX4" fmla="*/ 6362 w 71982"/>
                  <a:gd name="connsiteY4" fmla="*/ 49377 h 80710"/>
                  <a:gd name="connsiteX5" fmla="*/ 11932 w 71982"/>
                  <a:gd name="connsiteY5" fmla="*/ 42939 h 80710"/>
                  <a:gd name="connsiteX6" fmla="*/ 14297 w 71982"/>
                  <a:gd name="connsiteY6" fmla="*/ 44975 h 80710"/>
                  <a:gd name="connsiteX7" fmla="*/ 16483 w 71982"/>
                  <a:gd name="connsiteY7" fmla="*/ 51114 h 80710"/>
                  <a:gd name="connsiteX8" fmla="*/ 13998 w 71982"/>
                  <a:gd name="connsiteY8" fmla="*/ 65606 h 80710"/>
                  <a:gd name="connsiteX9" fmla="*/ 26993 w 71982"/>
                  <a:gd name="connsiteY9" fmla="*/ 58779 h 80710"/>
                  <a:gd name="connsiteX10" fmla="*/ 33162 w 71982"/>
                  <a:gd name="connsiteY10" fmla="*/ 58779 h 80710"/>
                  <a:gd name="connsiteX11" fmla="*/ 46157 w 71982"/>
                  <a:gd name="connsiteY11" fmla="*/ 65606 h 80710"/>
                  <a:gd name="connsiteX12" fmla="*/ 43672 w 71982"/>
                  <a:gd name="connsiteY12" fmla="*/ 51114 h 80710"/>
                  <a:gd name="connsiteX13" fmla="*/ 45588 w 71982"/>
                  <a:gd name="connsiteY13" fmla="*/ 45245 h 80710"/>
                  <a:gd name="connsiteX14" fmla="*/ 56098 w 71982"/>
                  <a:gd name="connsiteY14" fmla="*/ 35004 h 80710"/>
                  <a:gd name="connsiteX15" fmla="*/ 41546 w 71982"/>
                  <a:gd name="connsiteY15" fmla="*/ 32908 h 80710"/>
                  <a:gd name="connsiteX16" fmla="*/ 36575 w 71982"/>
                  <a:gd name="connsiteY16" fmla="*/ 29285 h 80710"/>
                  <a:gd name="connsiteX17" fmla="*/ 30078 w 71982"/>
                  <a:gd name="connsiteY17" fmla="*/ 16110 h 80710"/>
                  <a:gd name="connsiteX18" fmla="*/ 23580 w 71982"/>
                  <a:gd name="connsiteY18" fmla="*/ 29285 h 80710"/>
                  <a:gd name="connsiteX19" fmla="*/ 18370 w 71982"/>
                  <a:gd name="connsiteY19" fmla="*/ 32938 h 80710"/>
                  <a:gd name="connsiteX20" fmla="*/ 15525 w 71982"/>
                  <a:gd name="connsiteY20" fmla="*/ 33237 h 80710"/>
                  <a:gd name="connsiteX21" fmla="*/ 14627 w 71982"/>
                  <a:gd name="connsiteY21" fmla="*/ 24853 h 80710"/>
                  <a:gd name="connsiteX22" fmla="*/ 11722 w 71982"/>
                  <a:gd name="connsiteY22" fmla="*/ 23416 h 80710"/>
                  <a:gd name="connsiteX23" fmla="*/ 20256 w 71982"/>
                  <a:gd name="connsiteY23" fmla="*/ 6108 h 80710"/>
                  <a:gd name="connsiteX24" fmla="*/ 30078 w 71982"/>
                  <a:gd name="connsiteY24" fmla="*/ 0 h 80710"/>
                  <a:gd name="connsiteX25" fmla="*/ 30078 w 71982"/>
                  <a:gd name="connsiteY25" fmla="*/ 0 h 80710"/>
                  <a:gd name="connsiteX26" fmla="*/ 39929 w 71982"/>
                  <a:gd name="connsiteY26" fmla="*/ 6108 h 80710"/>
                  <a:gd name="connsiteX27" fmla="*/ 46936 w 71982"/>
                  <a:gd name="connsiteY27" fmla="*/ 20272 h 80710"/>
                  <a:gd name="connsiteX28" fmla="*/ 62566 w 71982"/>
                  <a:gd name="connsiteY28" fmla="*/ 22547 h 80710"/>
                  <a:gd name="connsiteX29" fmla="*/ 71430 w 71982"/>
                  <a:gd name="connsiteY29" fmla="*/ 30003 h 80710"/>
                  <a:gd name="connsiteX30" fmla="*/ 68645 w 71982"/>
                  <a:gd name="connsiteY30" fmla="*/ 41262 h 80710"/>
                  <a:gd name="connsiteX31" fmla="*/ 57326 w 71982"/>
                  <a:gd name="connsiteY31" fmla="*/ 52311 h 80710"/>
                  <a:gd name="connsiteX32" fmla="*/ 59991 w 71982"/>
                  <a:gd name="connsiteY32" fmla="*/ 67882 h 80710"/>
                  <a:gd name="connsiteX33" fmla="*/ 55619 w 71982"/>
                  <a:gd name="connsiteY33" fmla="*/ 78602 h 80710"/>
                  <a:gd name="connsiteX34" fmla="*/ 44061 w 71982"/>
                  <a:gd name="connsiteY34" fmla="*/ 79440 h 80710"/>
                  <a:gd name="connsiteX35" fmla="*/ 30078 w 71982"/>
                  <a:gd name="connsiteY35" fmla="*/ 72074 h 80710"/>
                  <a:gd name="connsiteX36" fmla="*/ 16094 w 71982"/>
                  <a:gd name="connsiteY36" fmla="*/ 79440 h 80710"/>
                  <a:gd name="connsiteX37" fmla="*/ 10974 w 71982"/>
                  <a:gd name="connsiteY37" fmla="*/ 80698 h 8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1982" h="80710">
                    <a:moveTo>
                      <a:pt x="10974" y="80698"/>
                    </a:moveTo>
                    <a:cubicBezTo>
                      <a:pt x="8698" y="80698"/>
                      <a:pt x="6452" y="79979"/>
                      <a:pt x="4536" y="78602"/>
                    </a:cubicBezTo>
                    <a:cubicBezTo>
                      <a:pt x="1122" y="76116"/>
                      <a:pt x="-555" y="72014"/>
                      <a:pt x="164" y="67882"/>
                    </a:cubicBezTo>
                    <a:lnTo>
                      <a:pt x="3428" y="48868"/>
                    </a:lnTo>
                    <a:lnTo>
                      <a:pt x="6362" y="49377"/>
                    </a:lnTo>
                    <a:lnTo>
                      <a:pt x="11932" y="42939"/>
                    </a:lnTo>
                    <a:lnTo>
                      <a:pt x="14297" y="44975"/>
                    </a:lnTo>
                    <a:cubicBezTo>
                      <a:pt x="16064" y="46502"/>
                      <a:pt x="16872" y="48808"/>
                      <a:pt x="16483" y="51114"/>
                    </a:cubicBezTo>
                    <a:lnTo>
                      <a:pt x="13998" y="65606"/>
                    </a:lnTo>
                    <a:lnTo>
                      <a:pt x="26993" y="58779"/>
                    </a:lnTo>
                    <a:cubicBezTo>
                      <a:pt x="28910" y="57761"/>
                      <a:pt x="31215" y="57761"/>
                      <a:pt x="33162" y="58779"/>
                    </a:cubicBezTo>
                    <a:lnTo>
                      <a:pt x="46157" y="65606"/>
                    </a:lnTo>
                    <a:lnTo>
                      <a:pt x="43672" y="51114"/>
                    </a:lnTo>
                    <a:cubicBezTo>
                      <a:pt x="43313" y="48958"/>
                      <a:pt x="44031" y="46772"/>
                      <a:pt x="45588" y="45245"/>
                    </a:cubicBezTo>
                    <a:lnTo>
                      <a:pt x="56098" y="35004"/>
                    </a:lnTo>
                    <a:lnTo>
                      <a:pt x="41546" y="32908"/>
                    </a:lnTo>
                    <a:cubicBezTo>
                      <a:pt x="39390" y="32608"/>
                      <a:pt x="37534" y="31231"/>
                      <a:pt x="36575" y="29285"/>
                    </a:cubicBezTo>
                    <a:lnTo>
                      <a:pt x="30078" y="16110"/>
                    </a:lnTo>
                    <a:lnTo>
                      <a:pt x="23580" y="29285"/>
                    </a:lnTo>
                    <a:cubicBezTo>
                      <a:pt x="22592" y="31321"/>
                      <a:pt x="20615" y="32698"/>
                      <a:pt x="18370" y="32938"/>
                    </a:cubicBezTo>
                    <a:lnTo>
                      <a:pt x="15525" y="33237"/>
                    </a:lnTo>
                    <a:lnTo>
                      <a:pt x="14627" y="24853"/>
                    </a:lnTo>
                    <a:lnTo>
                      <a:pt x="11722" y="23416"/>
                    </a:lnTo>
                    <a:lnTo>
                      <a:pt x="20256" y="6108"/>
                    </a:lnTo>
                    <a:cubicBezTo>
                      <a:pt x="22113" y="2336"/>
                      <a:pt x="25885" y="0"/>
                      <a:pt x="30078" y="0"/>
                    </a:cubicBezTo>
                    <a:cubicBezTo>
                      <a:pt x="30078" y="0"/>
                      <a:pt x="30078" y="0"/>
                      <a:pt x="30078" y="0"/>
                    </a:cubicBezTo>
                    <a:cubicBezTo>
                      <a:pt x="34300" y="0"/>
                      <a:pt x="38043" y="2336"/>
                      <a:pt x="39929" y="6108"/>
                    </a:cubicBezTo>
                    <a:lnTo>
                      <a:pt x="46936" y="20272"/>
                    </a:lnTo>
                    <a:lnTo>
                      <a:pt x="62566" y="22547"/>
                    </a:lnTo>
                    <a:cubicBezTo>
                      <a:pt x="66728" y="23146"/>
                      <a:pt x="70112" y="26021"/>
                      <a:pt x="71430" y="30003"/>
                    </a:cubicBezTo>
                    <a:cubicBezTo>
                      <a:pt x="72747" y="34016"/>
                      <a:pt x="71669" y="38328"/>
                      <a:pt x="68645" y="41262"/>
                    </a:cubicBezTo>
                    <a:lnTo>
                      <a:pt x="57326" y="52311"/>
                    </a:lnTo>
                    <a:lnTo>
                      <a:pt x="59991" y="67882"/>
                    </a:lnTo>
                    <a:cubicBezTo>
                      <a:pt x="60710" y="72014"/>
                      <a:pt x="59033" y="76146"/>
                      <a:pt x="55619" y="78602"/>
                    </a:cubicBezTo>
                    <a:cubicBezTo>
                      <a:pt x="52236" y="81087"/>
                      <a:pt x="47774" y="81386"/>
                      <a:pt x="44061" y="79440"/>
                    </a:cubicBezTo>
                    <a:lnTo>
                      <a:pt x="30078" y="72074"/>
                    </a:lnTo>
                    <a:lnTo>
                      <a:pt x="16094" y="79440"/>
                    </a:lnTo>
                    <a:cubicBezTo>
                      <a:pt x="14477" y="80279"/>
                      <a:pt x="12710" y="80698"/>
                      <a:pt x="10974" y="80698"/>
                    </a:cubicBezTo>
                    <a:close/>
                  </a:path>
                </a:pathLst>
              </a:custGeom>
              <a:grpFill/>
              <a:ln w="2991" cap="flat">
                <a:noFill/>
                <a:prstDash val="solid"/>
                <a:miter/>
              </a:ln>
            </p:spPr>
            <p:txBody>
              <a:bodyPr rtlCol="0" anchor="ctr"/>
              <a:lstStyle/>
              <a:p>
                <a:endParaRPr lang="en-GB" dirty="0"/>
              </a:p>
            </p:txBody>
          </p:sp>
          <p:sp>
            <p:nvSpPr>
              <p:cNvPr id="269" name="Freihandform: Form 268">
                <a:extLst>
                  <a:ext uri="{FF2B5EF4-FFF2-40B4-BE49-F238E27FC236}">
                    <a16:creationId xmlns:a16="http://schemas.microsoft.com/office/drawing/2014/main" id="{9718EB06-FCD2-47C4-B7E5-A22E508631B8}"/>
                  </a:ext>
                </a:extLst>
              </p:cNvPr>
              <p:cNvSpPr/>
              <p:nvPr/>
            </p:nvSpPr>
            <p:spPr>
              <a:xfrm>
                <a:off x="1101546" y="2684483"/>
                <a:ext cx="71969" cy="80680"/>
              </a:xfrm>
              <a:custGeom>
                <a:avLst/>
                <a:gdLst>
                  <a:gd name="connsiteX0" fmla="*/ 60996 w 71969"/>
                  <a:gd name="connsiteY0" fmla="*/ 80668 h 80680"/>
                  <a:gd name="connsiteX1" fmla="*/ 55876 w 71969"/>
                  <a:gd name="connsiteY1" fmla="*/ 79410 h 80680"/>
                  <a:gd name="connsiteX2" fmla="*/ 41892 w 71969"/>
                  <a:gd name="connsiteY2" fmla="*/ 72044 h 80680"/>
                  <a:gd name="connsiteX3" fmla="*/ 27909 w 71969"/>
                  <a:gd name="connsiteY3" fmla="*/ 79410 h 80680"/>
                  <a:gd name="connsiteX4" fmla="*/ 16350 w 71969"/>
                  <a:gd name="connsiteY4" fmla="*/ 78572 h 80680"/>
                  <a:gd name="connsiteX5" fmla="*/ 11979 w 71969"/>
                  <a:gd name="connsiteY5" fmla="*/ 67852 h 80680"/>
                  <a:gd name="connsiteX6" fmla="*/ 14644 w 71969"/>
                  <a:gd name="connsiteY6" fmla="*/ 52281 h 80680"/>
                  <a:gd name="connsiteX7" fmla="*/ 3325 w 71969"/>
                  <a:gd name="connsiteY7" fmla="*/ 41262 h 80680"/>
                  <a:gd name="connsiteX8" fmla="*/ 540 w 71969"/>
                  <a:gd name="connsiteY8" fmla="*/ 30003 h 80680"/>
                  <a:gd name="connsiteX9" fmla="*/ 9403 w 71969"/>
                  <a:gd name="connsiteY9" fmla="*/ 22547 h 80680"/>
                  <a:gd name="connsiteX10" fmla="*/ 25034 w 71969"/>
                  <a:gd name="connsiteY10" fmla="*/ 20272 h 80680"/>
                  <a:gd name="connsiteX11" fmla="*/ 32041 w 71969"/>
                  <a:gd name="connsiteY11" fmla="*/ 6109 h 80680"/>
                  <a:gd name="connsiteX12" fmla="*/ 41892 w 71969"/>
                  <a:gd name="connsiteY12" fmla="*/ 0 h 80680"/>
                  <a:gd name="connsiteX13" fmla="*/ 51744 w 71969"/>
                  <a:gd name="connsiteY13" fmla="*/ 6109 h 80680"/>
                  <a:gd name="connsiteX14" fmla="*/ 60277 w 71969"/>
                  <a:gd name="connsiteY14" fmla="*/ 23416 h 80680"/>
                  <a:gd name="connsiteX15" fmla="*/ 57373 w 71969"/>
                  <a:gd name="connsiteY15" fmla="*/ 24853 h 80680"/>
                  <a:gd name="connsiteX16" fmla="*/ 56475 w 71969"/>
                  <a:gd name="connsiteY16" fmla="*/ 33237 h 80680"/>
                  <a:gd name="connsiteX17" fmla="*/ 53630 w 71969"/>
                  <a:gd name="connsiteY17" fmla="*/ 32938 h 80680"/>
                  <a:gd name="connsiteX18" fmla="*/ 48420 w 71969"/>
                  <a:gd name="connsiteY18" fmla="*/ 29285 h 80680"/>
                  <a:gd name="connsiteX19" fmla="*/ 41922 w 71969"/>
                  <a:gd name="connsiteY19" fmla="*/ 16110 h 80680"/>
                  <a:gd name="connsiteX20" fmla="*/ 35424 w 71969"/>
                  <a:gd name="connsiteY20" fmla="*/ 29285 h 80680"/>
                  <a:gd name="connsiteX21" fmla="*/ 30424 w 71969"/>
                  <a:gd name="connsiteY21" fmla="*/ 32908 h 80680"/>
                  <a:gd name="connsiteX22" fmla="*/ 15871 w 71969"/>
                  <a:gd name="connsiteY22" fmla="*/ 35004 h 80680"/>
                  <a:gd name="connsiteX23" fmla="*/ 26381 w 71969"/>
                  <a:gd name="connsiteY23" fmla="*/ 45245 h 80680"/>
                  <a:gd name="connsiteX24" fmla="*/ 28298 w 71969"/>
                  <a:gd name="connsiteY24" fmla="*/ 51114 h 80680"/>
                  <a:gd name="connsiteX25" fmla="*/ 25812 w 71969"/>
                  <a:gd name="connsiteY25" fmla="*/ 65606 h 80680"/>
                  <a:gd name="connsiteX26" fmla="*/ 38808 w 71969"/>
                  <a:gd name="connsiteY26" fmla="*/ 58779 h 80680"/>
                  <a:gd name="connsiteX27" fmla="*/ 44976 w 71969"/>
                  <a:gd name="connsiteY27" fmla="*/ 58779 h 80680"/>
                  <a:gd name="connsiteX28" fmla="*/ 57972 w 71969"/>
                  <a:gd name="connsiteY28" fmla="*/ 65606 h 80680"/>
                  <a:gd name="connsiteX29" fmla="*/ 55487 w 71969"/>
                  <a:gd name="connsiteY29" fmla="*/ 51114 h 80680"/>
                  <a:gd name="connsiteX30" fmla="*/ 57672 w 71969"/>
                  <a:gd name="connsiteY30" fmla="*/ 45005 h 80680"/>
                  <a:gd name="connsiteX31" fmla="*/ 60038 w 71969"/>
                  <a:gd name="connsiteY31" fmla="*/ 42969 h 80680"/>
                  <a:gd name="connsiteX32" fmla="*/ 65607 w 71969"/>
                  <a:gd name="connsiteY32" fmla="*/ 49407 h 80680"/>
                  <a:gd name="connsiteX33" fmla="*/ 68542 w 71969"/>
                  <a:gd name="connsiteY33" fmla="*/ 48898 h 80680"/>
                  <a:gd name="connsiteX34" fmla="*/ 71806 w 71969"/>
                  <a:gd name="connsiteY34" fmla="*/ 67912 h 80680"/>
                  <a:gd name="connsiteX35" fmla="*/ 67434 w 71969"/>
                  <a:gd name="connsiteY35" fmla="*/ 78632 h 80680"/>
                  <a:gd name="connsiteX36" fmla="*/ 60996 w 71969"/>
                  <a:gd name="connsiteY36" fmla="*/ 80668 h 8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1969" h="80680">
                    <a:moveTo>
                      <a:pt x="60996" y="80668"/>
                    </a:moveTo>
                    <a:cubicBezTo>
                      <a:pt x="59259" y="80668"/>
                      <a:pt x="57493" y="80249"/>
                      <a:pt x="55876" y="79410"/>
                    </a:cubicBezTo>
                    <a:lnTo>
                      <a:pt x="41892" y="72044"/>
                    </a:lnTo>
                    <a:lnTo>
                      <a:pt x="27909" y="79410"/>
                    </a:lnTo>
                    <a:cubicBezTo>
                      <a:pt x="24196" y="81357"/>
                      <a:pt x="19764" y="81057"/>
                      <a:pt x="16350" y="78572"/>
                    </a:cubicBezTo>
                    <a:cubicBezTo>
                      <a:pt x="12937" y="76116"/>
                      <a:pt x="11260" y="71984"/>
                      <a:pt x="11979" y="67852"/>
                    </a:cubicBezTo>
                    <a:lnTo>
                      <a:pt x="14644" y="52281"/>
                    </a:lnTo>
                    <a:lnTo>
                      <a:pt x="3325" y="41262"/>
                    </a:lnTo>
                    <a:cubicBezTo>
                      <a:pt x="301" y="38328"/>
                      <a:pt x="-747" y="34016"/>
                      <a:pt x="540" y="30003"/>
                    </a:cubicBezTo>
                    <a:cubicBezTo>
                      <a:pt x="1858" y="25991"/>
                      <a:pt x="5241" y="23146"/>
                      <a:pt x="9403" y="22547"/>
                    </a:cubicBezTo>
                    <a:lnTo>
                      <a:pt x="25034" y="20272"/>
                    </a:lnTo>
                    <a:lnTo>
                      <a:pt x="32041" y="6109"/>
                    </a:lnTo>
                    <a:cubicBezTo>
                      <a:pt x="33897" y="2336"/>
                      <a:pt x="37670" y="0"/>
                      <a:pt x="41892" y="0"/>
                    </a:cubicBezTo>
                    <a:cubicBezTo>
                      <a:pt x="46114" y="0"/>
                      <a:pt x="49857" y="2336"/>
                      <a:pt x="51744" y="6109"/>
                    </a:cubicBezTo>
                    <a:lnTo>
                      <a:pt x="60277" y="23416"/>
                    </a:lnTo>
                    <a:lnTo>
                      <a:pt x="57373" y="24853"/>
                    </a:lnTo>
                    <a:lnTo>
                      <a:pt x="56475" y="33237"/>
                    </a:lnTo>
                    <a:lnTo>
                      <a:pt x="53630" y="32938"/>
                    </a:lnTo>
                    <a:cubicBezTo>
                      <a:pt x="51384" y="32698"/>
                      <a:pt x="49408" y="31321"/>
                      <a:pt x="48420" y="29285"/>
                    </a:cubicBezTo>
                    <a:lnTo>
                      <a:pt x="41922" y="16110"/>
                    </a:lnTo>
                    <a:lnTo>
                      <a:pt x="35424" y="29285"/>
                    </a:lnTo>
                    <a:cubicBezTo>
                      <a:pt x="34466" y="31231"/>
                      <a:pt x="32610" y="32609"/>
                      <a:pt x="30424" y="32908"/>
                    </a:cubicBezTo>
                    <a:lnTo>
                      <a:pt x="15871" y="35004"/>
                    </a:lnTo>
                    <a:lnTo>
                      <a:pt x="26381" y="45245"/>
                    </a:lnTo>
                    <a:cubicBezTo>
                      <a:pt x="27938" y="46772"/>
                      <a:pt x="28657" y="48958"/>
                      <a:pt x="28298" y="51114"/>
                    </a:cubicBezTo>
                    <a:lnTo>
                      <a:pt x="25812" y="65606"/>
                    </a:lnTo>
                    <a:lnTo>
                      <a:pt x="38808" y="58779"/>
                    </a:lnTo>
                    <a:cubicBezTo>
                      <a:pt x="40724" y="57761"/>
                      <a:pt x="43030" y="57761"/>
                      <a:pt x="44976" y="58779"/>
                    </a:cubicBezTo>
                    <a:lnTo>
                      <a:pt x="57972" y="65606"/>
                    </a:lnTo>
                    <a:lnTo>
                      <a:pt x="55487" y="51114"/>
                    </a:lnTo>
                    <a:cubicBezTo>
                      <a:pt x="55097" y="48838"/>
                      <a:pt x="55936" y="46502"/>
                      <a:pt x="57672" y="45005"/>
                    </a:cubicBezTo>
                    <a:lnTo>
                      <a:pt x="60038" y="42969"/>
                    </a:lnTo>
                    <a:lnTo>
                      <a:pt x="65607" y="49407"/>
                    </a:lnTo>
                    <a:lnTo>
                      <a:pt x="68542" y="48898"/>
                    </a:lnTo>
                    <a:lnTo>
                      <a:pt x="71806" y="67912"/>
                    </a:lnTo>
                    <a:cubicBezTo>
                      <a:pt x="72524" y="72074"/>
                      <a:pt x="70848" y="76176"/>
                      <a:pt x="67434" y="78632"/>
                    </a:cubicBezTo>
                    <a:cubicBezTo>
                      <a:pt x="65518" y="79949"/>
                      <a:pt x="63272" y="80668"/>
                      <a:pt x="60996" y="80668"/>
                    </a:cubicBezTo>
                    <a:close/>
                  </a:path>
                </a:pathLst>
              </a:custGeom>
              <a:grpFill/>
              <a:ln w="2991" cap="flat">
                <a:noFill/>
                <a:prstDash val="solid"/>
                <a:miter/>
              </a:ln>
            </p:spPr>
            <p:txBody>
              <a:bodyPr rtlCol="0" anchor="ctr"/>
              <a:lstStyle/>
              <a:p>
                <a:endParaRPr lang="en-GB" dirty="0"/>
              </a:p>
            </p:txBody>
          </p:sp>
        </p:grpSp>
      </p:grpSp>
      <p:grpSp>
        <p:nvGrpSpPr>
          <p:cNvPr id="46" name="Group 45">
            <a:extLst>
              <a:ext uri="{FF2B5EF4-FFF2-40B4-BE49-F238E27FC236}">
                <a16:creationId xmlns:a16="http://schemas.microsoft.com/office/drawing/2014/main" id="{888B633F-DA81-D0FC-B4C8-9542F2C8961A}"/>
              </a:ext>
            </a:extLst>
          </p:cNvPr>
          <p:cNvGrpSpPr/>
          <p:nvPr/>
        </p:nvGrpSpPr>
        <p:grpSpPr>
          <a:xfrm>
            <a:off x="2716970" y="4002611"/>
            <a:ext cx="335897" cy="432000"/>
            <a:chOff x="2716970" y="4002611"/>
            <a:chExt cx="335897" cy="432000"/>
          </a:xfrm>
        </p:grpSpPr>
        <p:grpSp>
          <p:nvGrpSpPr>
            <p:cNvPr id="273" name="Grafik 306">
              <a:extLst>
                <a:ext uri="{FF2B5EF4-FFF2-40B4-BE49-F238E27FC236}">
                  <a16:creationId xmlns:a16="http://schemas.microsoft.com/office/drawing/2014/main" id="{AAE581E4-0860-456D-80B2-2EE10593E329}"/>
                </a:ext>
              </a:extLst>
            </p:cNvPr>
            <p:cNvGrpSpPr/>
            <p:nvPr/>
          </p:nvGrpSpPr>
          <p:grpSpPr>
            <a:xfrm>
              <a:off x="2716970" y="4252964"/>
              <a:ext cx="335897" cy="181647"/>
              <a:chOff x="3460828" y="2698975"/>
              <a:chExt cx="360130" cy="194752"/>
            </a:xfrm>
            <a:solidFill>
              <a:schemeClr val="tx2"/>
            </a:solidFill>
          </p:grpSpPr>
          <p:sp>
            <p:nvSpPr>
              <p:cNvPr id="282" name="Freihandform: Form 328">
                <a:extLst>
                  <a:ext uri="{FF2B5EF4-FFF2-40B4-BE49-F238E27FC236}">
                    <a16:creationId xmlns:a16="http://schemas.microsoft.com/office/drawing/2014/main" id="{430C7C37-3721-44F9-B205-72A7D70014E3}"/>
                  </a:ext>
                </a:extLst>
              </p:cNvPr>
              <p:cNvSpPr/>
              <p:nvPr/>
            </p:nvSpPr>
            <p:spPr>
              <a:xfrm>
                <a:off x="3475950" y="2824738"/>
                <a:ext cx="157293" cy="68989"/>
              </a:xfrm>
              <a:custGeom>
                <a:avLst/>
                <a:gdLst>
                  <a:gd name="connsiteX0" fmla="*/ 130973 w 157293"/>
                  <a:gd name="connsiteY0" fmla="*/ 68990 h 68989"/>
                  <a:gd name="connsiteX1" fmla="*/ 130284 w 157293"/>
                  <a:gd name="connsiteY1" fmla="*/ 68990 h 68989"/>
                  <a:gd name="connsiteX2" fmla="*/ 112378 w 157293"/>
                  <a:gd name="connsiteY2" fmla="*/ 60755 h 68989"/>
                  <a:gd name="connsiteX3" fmla="*/ 61684 w 157293"/>
                  <a:gd name="connsiteY3" fmla="*/ 13235 h 68989"/>
                  <a:gd name="connsiteX4" fmla="*/ 6617 w 157293"/>
                  <a:gd name="connsiteY4" fmla="*/ 13235 h 68989"/>
                  <a:gd name="connsiteX5" fmla="*/ 0 w 157293"/>
                  <a:gd name="connsiteY5" fmla="*/ 6618 h 68989"/>
                  <a:gd name="connsiteX6" fmla="*/ 6617 w 157293"/>
                  <a:gd name="connsiteY6" fmla="*/ 0 h 68989"/>
                  <a:gd name="connsiteX7" fmla="*/ 64319 w 157293"/>
                  <a:gd name="connsiteY7" fmla="*/ 0 h 68989"/>
                  <a:gd name="connsiteX8" fmla="*/ 68840 w 157293"/>
                  <a:gd name="connsiteY8" fmla="*/ 1797 h 68989"/>
                  <a:gd name="connsiteX9" fmla="*/ 121840 w 157293"/>
                  <a:gd name="connsiteY9" fmla="*/ 51503 h 68989"/>
                  <a:gd name="connsiteX10" fmla="*/ 130644 w 157293"/>
                  <a:gd name="connsiteY10" fmla="*/ 55755 h 68989"/>
                  <a:gd name="connsiteX11" fmla="*/ 140136 w 157293"/>
                  <a:gd name="connsiteY11" fmla="*/ 51922 h 68989"/>
                  <a:gd name="connsiteX12" fmla="*/ 143998 w 157293"/>
                  <a:gd name="connsiteY12" fmla="*/ 42580 h 68989"/>
                  <a:gd name="connsiteX13" fmla="*/ 140106 w 157293"/>
                  <a:gd name="connsiteY13" fmla="*/ 33237 h 68989"/>
                  <a:gd name="connsiteX14" fmla="*/ 131243 w 157293"/>
                  <a:gd name="connsiteY14" fmla="*/ 24674 h 68989"/>
                  <a:gd name="connsiteX15" fmla="*/ 131093 w 157293"/>
                  <a:gd name="connsiteY15" fmla="*/ 15301 h 68989"/>
                  <a:gd name="connsiteX16" fmla="*/ 140465 w 157293"/>
                  <a:gd name="connsiteY16" fmla="*/ 15152 h 68989"/>
                  <a:gd name="connsiteX17" fmla="*/ 149418 w 157293"/>
                  <a:gd name="connsiteY17" fmla="*/ 23805 h 68989"/>
                  <a:gd name="connsiteX18" fmla="*/ 157293 w 157293"/>
                  <a:gd name="connsiteY18" fmla="*/ 42610 h 68989"/>
                  <a:gd name="connsiteX19" fmla="*/ 149538 w 157293"/>
                  <a:gd name="connsiteY19" fmla="*/ 61354 h 68989"/>
                  <a:gd name="connsiteX20" fmla="*/ 130973 w 157293"/>
                  <a:gd name="connsiteY20" fmla="*/ 68990 h 6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293" h="68989">
                    <a:moveTo>
                      <a:pt x="130973" y="68990"/>
                    </a:moveTo>
                    <a:cubicBezTo>
                      <a:pt x="130733" y="68990"/>
                      <a:pt x="130524" y="68990"/>
                      <a:pt x="130284" y="68990"/>
                    </a:cubicBezTo>
                    <a:cubicBezTo>
                      <a:pt x="123337" y="68810"/>
                      <a:pt x="116989" y="65876"/>
                      <a:pt x="112378" y="60755"/>
                    </a:cubicBezTo>
                    <a:lnTo>
                      <a:pt x="61684" y="13235"/>
                    </a:lnTo>
                    <a:lnTo>
                      <a:pt x="6617" y="13235"/>
                    </a:lnTo>
                    <a:cubicBezTo>
                      <a:pt x="2964" y="13235"/>
                      <a:pt x="0" y="10271"/>
                      <a:pt x="0" y="6618"/>
                    </a:cubicBezTo>
                    <a:cubicBezTo>
                      <a:pt x="0" y="2964"/>
                      <a:pt x="2964" y="0"/>
                      <a:pt x="6617" y="0"/>
                    </a:cubicBezTo>
                    <a:lnTo>
                      <a:pt x="64319" y="0"/>
                    </a:lnTo>
                    <a:cubicBezTo>
                      <a:pt x="65995" y="0"/>
                      <a:pt x="67613" y="629"/>
                      <a:pt x="68840" y="1797"/>
                    </a:cubicBezTo>
                    <a:lnTo>
                      <a:pt x="121840" y="51503"/>
                    </a:lnTo>
                    <a:cubicBezTo>
                      <a:pt x="124385" y="54288"/>
                      <a:pt x="127380" y="55665"/>
                      <a:pt x="130644" y="55755"/>
                    </a:cubicBezTo>
                    <a:cubicBezTo>
                      <a:pt x="134207" y="55935"/>
                      <a:pt x="137620" y="54437"/>
                      <a:pt x="140136" y="51922"/>
                    </a:cubicBezTo>
                    <a:cubicBezTo>
                      <a:pt x="142651" y="49437"/>
                      <a:pt x="143998" y="46083"/>
                      <a:pt x="143998" y="42580"/>
                    </a:cubicBezTo>
                    <a:cubicBezTo>
                      <a:pt x="143998" y="39046"/>
                      <a:pt x="142621" y="35723"/>
                      <a:pt x="140106" y="33237"/>
                    </a:cubicBezTo>
                    <a:lnTo>
                      <a:pt x="131243" y="24674"/>
                    </a:lnTo>
                    <a:cubicBezTo>
                      <a:pt x="128607" y="22128"/>
                      <a:pt x="128548" y="17936"/>
                      <a:pt x="131093" y="15301"/>
                    </a:cubicBezTo>
                    <a:cubicBezTo>
                      <a:pt x="133638" y="12666"/>
                      <a:pt x="137830" y="12606"/>
                      <a:pt x="140465" y="15152"/>
                    </a:cubicBezTo>
                    <a:lnTo>
                      <a:pt x="149418" y="23805"/>
                    </a:lnTo>
                    <a:cubicBezTo>
                      <a:pt x="154509" y="28866"/>
                      <a:pt x="157263" y="35513"/>
                      <a:pt x="157293" y="42610"/>
                    </a:cubicBezTo>
                    <a:cubicBezTo>
                      <a:pt x="157293" y="49676"/>
                      <a:pt x="154539" y="56354"/>
                      <a:pt x="149538" y="61354"/>
                    </a:cubicBezTo>
                    <a:cubicBezTo>
                      <a:pt x="144567" y="66205"/>
                      <a:pt x="137860" y="68990"/>
                      <a:pt x="130973" y="68990"/>
                    </a:cubicBezTo>
                    <a:close/>
                  </a:path>
                </a:pathLst>
              </a:custGeom>
              <a:grpFill/>
              <a:ln w="2991" cap="flat">
                <a:noFill/>
                <a:prstDash val="solid"/>
                <a:miter/>
              </a:ln>
            </p:spPr>
            <p:txBody>
              <a:bodyPr rtlCol="0" anchor="ctr"/>
              <a:lstStyle/>
              <a:p>
                <a:endParaRPr lang="en-GB" dirty="0"/>
              </a:p>
            </p:txBody>
          </p:sp>
          <p:sp>
            <p:nvSpPr>
              <p:cNvPr id="283" name="Freihandform: Form 329">
                <a:extLst>
                  <a:ext uri="{FF2B5EF4-FFF2-40B4-BE49-F238E27FC236}">
                    <a16:creationId xmlns:a16="http://schemas.microsoft.com/office/drawing/2014/main" id="{FC2527B4-E4F6-4CEC-B193-957BE9FC814A}"/>
                  </a:ext>
                </a:extLst>
              </p:cNvPr>
              <p:cNvSpPr/>
              <p:nvPr/>
            </p:nvSpPr>
            <p:spPr>
              <a:xfrm>
                <a:off x="3460828" y="2698975"/>
                <a:ext cx="360130" cy="13265"/>
              </a:xfrm>
              <a:custGeom>
                <a:avLst/>
                <a:gdLst>
                  <a:gd name="connsiteX0" fmla="*/ 353513 w 360130"/>
                  <a:gd name="connsiteY0" fmla="*/ 13265 h 13265"/>
                  <a:gd name="connsiteX1" fmla="*/ 353513 w 360130"/>
                  <a:gd name="connsiteY1" fmla="*/ 13265 h 13265"/>
                  <a:gd name="connsiteX2" fmla="*/ 6617 w 360130"/>
                  <a:gd name="connsiteY2" fmla="*/ 13235 h 13265"/>
                  <a:gd name="connsiteX3" fmla="*/ 0 w 360130"/>
                  <a:gd name="connsiteY3" fmla="*/ 6618 h 13265"/>
                  <a:gd name="connsiteX4" fmla="*/ 6617 w 360130"/>
                  <a:gd name="connsiteY4" fmla="*/ 0 h 13265"/>
                  <a:gd name="connsiteX5" fmla="*/ 6617 w 360130"/>
                  <a:gd name="connsiteY5" fmla="*/ 0 h 13265"/>
                  <a:gd name="connsiteX6" fmla="*/ 353513 w 360130"/>
                  <a:gd name="connsiteY6" fmla="*/ 30 h 13265"/>
                  <a:gd name="connsiteX7" fmla="*/ 360131 w 360130"/>
                  <a:gd name="connsiteY7" fmla="*/ 6647 h 13265"/>
                  <a:gd name="connsiteX8" fmla="*/ 353513 w 360130"/>
                  <a:gd name="connsiteY8" fmla="*/ 13265 h 1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130" h="13265">
                    <a:moveTo>
                      <a:pt x="353513" y="13265"/>
                    </a:moveTo>
                    <a:lnTo>
                      <a:pt x="353513" y="13265"/>
                    </a:lnTo>
                    <a:lnTo>
                      <a:pt x="6617" y="13235"/>
                    </a:lnTo>
                    <a:cubicBezTo>
                      <a:pt x="2964" y="13235"/>
                      <a:pt x="0" y="10271"/>
                      <a:pt x="0" y="6618"/>
                    </a:cubicBezTo>
                    <a:cubicBezTo>
                      <a:pt x="0" y="2964"/>
                      <a:pt x="2964" y="0"/>
                      <a:pt x="6617" y="0"/>
                    </a:cubicBezTo>
                    <a:lnTo>
                      <a:pt x="6617" y="0"/>
                    </a:lnTo>
                    <a:lnTo>
                      <a:pt x="353513" y="30"/>
                    </a:lnTo>
                    <a:cubicBezTo>
                      <a:pt x="357166" y="30"/>
                      <a:pt x="360131" y="2994"/>
                      <a:pt x="360131" y="6647"/>
                    </a:cubicBezTo>
                    <a:cubicBezTo>
                      <a:pt x="360131" y="10301"/>
                      <a:pt x="357136" y="13265"/>
                      <a:pt x="353513" y="13265"/>
                    </a:cubicBezTo>
                    <a:close/>
                  </a:path>
                </a:pathLst>
              </a:custGeom>
              <a:grpFill/>
              <a:ln w="2991" cap="flat">
                <a:noFill/>
                <a:prstDash val="solid"/>
                <a:miter/>
              </a:ln>
            </p:spPr>
            <p:txBody>
              <a:bodyPr rtlCol="0" anchor="ctr"/>
              <a:lstStyle/>
              <a:p>
                <a:endParaRPr lang="en-GB" dirty="0"/>
              </a:p>
            </p:txBody>
          </p:sp>
          <p:sp>
            <p:nvSpPr>
              <p:cNvPr id="284" name="Freihandform: Form 330">
                <a:extLst>
                  <a:ext uri="{FF2B5EF4-FFF2-40B4-BE49-F238E27FC236}">
                    <a16:creationId xmlns:a16="http://schemas.microsoft.com/office/drawing/2014/main" id="{EF82AFA4-1C73-4FA5-BC33-3E842DB759F2}"/>
                  </a:ext>
                </a:extLst>
              </p:cNvPr>
              <p:cNvSpPr/>
              <p:nvPr/>
            </p:nvSpPr>
            <p:spPr>
              <a:xfrm>
                <a:off x="3661255" y="2739519"/>
                <a:ext cx="102601" cy="118127"/>
              </a:xfrm>
              <a:custGeom>
                <a:avLst/>
                <a:gdLst>
                  <a:gd name="connsiteX0" fmla="*/ 76161 w 102601"/>
                  <a:gd name="connsiteY0" fmla="*/ 118127 h 118127"/>
                  <a:gd name="connsiteX1" fmla="*/ 57447 w 102601"/>
                  <a:gd name="connsiteY1" fmla="*/ 110402 h 118127"/>
                  <a:gd name="connsiteX2" fmla="*/ 1931 w 102601"/>
                  <a:gd name="connsiteY2" fmla="*/ 54916 h 118127"/>
                  <a:gd name="connsiteX3" fmla="*/ 1931 w 102601"/>
                  <a:gd name="connsiteY3" fmla="*/ 45544 h 118127"/>
                  <a:gd name="connsiteX4" fmla="*/ 11304 w 102601"/>
                  <a:gd name="connsiteY4" fmla="*/ 45544 h 118127"/>
                  <a:gd name="connsiteX5" fmla="*/ 66789 w 102601"/>
                  <a:gd name="connsiteY5" fmla="*/ 101029 h 118127"/>
                  <a:gd name="connsiteX6" fmla="*/ 85474 w 102601"/>
                  <a:gd name="connsiteY6" fmla="*/ 101029 h 118127"/>
                  <a:gd name="connsiteX7" fmla="*/ 89366 w 102601"/>
                  <a:gd name="connsiteY7" fmla="*/ 91657 h 118127"/>
                  <a:gd name="connsiteX8" fmla="*/ 85474 w 102601"/>
                  <a:gd name="connsiteY8" fmla="*/ 82315 h 118127"/>
                  <a:gd name="connsiteX9" fmla="*/ 14148 w 102601"/>
                  <a:gd name="connsiteY9" fmla="*/ 11319 h 118127"/>
                  <a:gd name="connsiteX10" fmla="*/ 14118 w 102601"/>
                  <a:gd name="connsiteY10" fmla="*/ 1946 h 118127"/>
                  <a:gd name="connsiteX11" fmla="*/ 23491 w 102601"/>
                  <a:gd name="connsiteY11" fmla="*/ 1916 h 118127"/>
                  <a:gd name="connsiteX12" fmla="*/ 94816 w 102601"/>
                  <a:gd name="connsiteY12" fmla="*/ 72943 h 118127"/>
                  <a:gd name="connsiteX13" fmla="*/ 102601 w 102601"/>
                  <a:gd name="connsiteY13" fmla="*/ 91657 h 118127"/>
                  <a:gd name="connsiteX14" fmla="*/ 94846 w 102601"/>
                  <a:gd name="connsiteY14" fmla="*/ 110402 h 118127"/>
                  <a:gd name="connsiteX15" fmla="*/ 76161 w 102601"/>
                  <a:gd name="connsiteY15" fmla="*/ 118127 h 11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601" h="118127">
                    <a:moveTo>
                      <a:pt x="76161" y="118127"/>
                    </a:moveTo>
                    <a:cubicBezTo>
                      <a:pt x="69394" y="118127"/>
                      <a:pt x="62627" y="115552"/>
                      <a:pt x="57447" y="110402"/>
                    </a:cubicBezTo>
                    <a:lnTo>
                      <a:pt x="1931" y="54916"/>
                    </a:lnTo>
                    <a:cubicBezTo>
                      <a:pt x="-644" y="52341"/>
                      <a:pt x="-644" y="48149"/>
                      <a:pt x="1931" y="45544"/>
                    </a:cubicBezTo>
                    <a:cubicBezTo>
                      <a:pt x="4507" y="42969"/>
                      <a:pt x="8699" y="42969"/>
                      <a:pt x="11304" y="45544"/>
                    </a:cubicBezTo>
                    <a:lnTo>
                      <a:pt x="66789" y="101029"/>
                    </a:lnTo>
                    <a:cubicBezTo>
                      <a:pt x="71939" y="106180"/>
                      <a:pt x="80323" y="106180"/>
                      <a:pt x="85474" y="101029"/>
                    </a:cubicBezTo>
                    <a:cubicBezTo>
                      <a:pt x="87989" y="98514"/>
                      <a:pt x="89366" y="95191"/>
                      <a:pt x="89366" y="91657"/>
                    </a:cubicBezTo>
                    <a:cubicBezTo>
                      <a:pt x="89366" y="88124"/>
                      <a:pt x="87989" y="84800"/>
                      <a:pt x="85474" y="82315"/>
                    </a:cubicBezTo>
                    <a:lnTo>
                      <a:pt x="14148" y="11319"/>
                    </a:lnTo>
                    <a:cubicBezTo>
                      <a:pt x="11573" y="8744"/>
                      <a:pt x="11543" y="4552"/>
                      <a:pt x="14118" y="1946"/>
                    </a:cubicBezTo>
                    <a:cubicBezTo>
                      <a:pt x="16693" y="-629"/>
                      <a:pt x="20886" y="-659"/>
                      <a:pt x="23491" y="1916"/>
                    </a:cubicBezTo>
                    <a:lnTo>
                      <a:pt x="94816" y="72943"/>
                    </a:lnTo>
                    <a:cubicBezTo>
                      <a:pt x="99817" y="77943"/>
                      <a:pt x="102601" y="84591"/>
                      <a:pt x="102601" y="91657"/>
                    </a:cubicBezTo>
                    <a:cubicBezTo>
                      <a:pt x="102601" y="98724"/>
                      <a:pt x="99847" y="105401"/>
                      <a:pt x="94846" y="110402"/>
                    </a:cubicBezTo>
                    <a:cubicBezTo>
                      <a:pt x="89696" y="115552"/>
                      <a:pt x="82929" y="118127"/>
                      <a:pt x="76161" y="118127"/>
                    </a:cubicBezTo>
                    <a:close/>
                  </a:path>
                </a:pathLst>
              </a:custGeom>
              <a:grpFill/>
              <a:ln w="2991" cap="flat">
                <a:noFill/>
                <a:prstDash val="solid"/>
                <a:miter/>
              </a:ln>
            </p:spPr>
            <p:txBody>
              <a:bodyPr rtlCol="0" anchor="ctr"/>
              <a:lstStyle/>
              <a:p>
                <a:endParaRPr lang="en-GB" dirty="0"/>
              </a:p>
            </p:txBody>
          </p:sp>
          <p:sp>
            <p:nvSpPr>
              <p:cNvPr id="285" name="Freihandform: Form 331">
                <a:extLst>
                  <a:ext uri="{FF2B5EF4-FFF2-40B4-BE49-F238E27FC236}">
                    <a16:creationId xmlns:a16="http://schemas.microsoft.com/office/drawing/2014/main" id="{EF5A3938-8B59-43C5-8C69-4F044051C8A5}"/>
                  </a:ext>
                </a:extLst>
              </p:cNvPr>
              <p:cNvSpPr/>
              <p:nvPr/>
            </p:nvSpPr>
            <p:spPr>
              <a:xfrm>
                <a:off x="3632689" y="2781470"/>
                <a:ext cx="81012" cy="83003"/>
              </a:xfrm>
              <a:custGeom>
                <a:avLst/>
                <a:gdLst>
                  <a:gd name="connsiteX0" fmla="*/ 54632 w 81012"/>
                  <a:gd name="connsiteY0" fmla="*/ 83004 h 83003"/>
                  <a:gd name="connsiteX1" fmla="*/ 54063 w 81012"/>
                  <a:gd name="connsiteY1" fmla="*/ 83004 h 83003"/>
                  <a:gd name="connsiteX2" fmla="*/ 36157 w 81012"/>
                  <a:gd name="connsiteY2" fmla="*/ 73691 h 83003"/>
                  <a:gd name="connsiteX3" fmla="*/ 1931 w 81012"/>
                  <a:gd name="connsiteY3" fmla="*/ 39496 h 83003"/>
                  <a:gd name="connsiteX4" fmla="*/ 1931 w 81012"/>
                  <a:gd name="connsiteY4" fmla="*/ 30123 h 83003"/>
                  <a:gd name="connsiteX5" fmla="*/ 11304 w 81012"/>
                  <a:gd name="connsiteY5" fmla="*/ 30123 h 83003"/>
                  <a:gd name="connsiteX6" fmla="*/ 45769 w 81012"/>
                  <a:gd name="connsiteY6" fmla="*/ 64588 h 83003"/>
                  <a:gd name="connsiteX7" fmla="*/ 54422 w 81012"/>
                  <a:gd name="connsiteY7" fmla="*/ 69768 h 83003"/>
                  <a:gd name="connsiteX8" fmla="*/ 63914 w 81012"/>
                  <a:gd name="connsiteY8" fmla="*/ 64858 h 83003"/>
                  <a:gd name="connsiteX9" fmla="*/ 67777 w 81012"/>
                  <a:gd name="connsiteY9" fmla="*/ 55485 h 83003"/>
                  <a:gd name="connsiteX10" fmla="*/ 63884 w 81012"/>
                  <a:gd name="connsiteY10" fmla="*/ 46143 h 83003"/>
                  <a:gd name="connsiteX11" fmla="*/ 28851 w 81012"/>
                  <a:gd name="connsiteY11" fmla="*/ 11319 h 83003"/>
                  <a:gd name="connsiteX12" fmla="*/ 28821 w 81012"/>
                  <a:gd name="connsiteY12" fmla="*/ 1946 h 83003"/>
                  <a:gd name="connsiteX13" fmla="*/ 38193 w 81012"/>
                  <a:gd name="connsiteY13" fmla="*/ 1916 h 83003"/>
                  <a:gd name="connsiteX14" fmla="*/ 73227 w 81012"/>
                  <a:gd name="connsiteY14" fmla="*/ 36741 h 83003"/>
                  <a:gd name="connsiteX15" fmla="*/ 81012 w 81012"/>
                  <a:gd name="connsiteY15" fmla="*/ 55455 h 83003"/>
                  <a:gd name="connsiteX16" fmla="*/ 73257 w 81012"/>
                  <a:gd name="connsiteY16" fmla="*/ 74200 h 83003"/>
                  <a:gd name="connsiteX17" fmla="*/ 54632 w 81012"/>
                  <a:gd name="connsiteY17" fmla="*/ 83004 h 8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012" h="83003">
                    <a:moveTo>
                      <a:pt x="54632" y="83004"/>
                    </a:moveTo>
                    <a:cubicBezTo>
                      <a:pt x="54452" y="83004"/>
                      <a:pt x="54243" y="83004"/>
                      <a:pt x="54063" y="83004"/>
                    </a:cubicBezTo>
                    <a:cubicBezTo>
                      <a:pt x="47565" y="82824"/>
                      <a:pt x="41547" y="79680"/>
                      <a:pt x="36157" y="73691"/>
                    </a:cubicBezTo>
                    <a:lnTo>
                      <a:pt x="1931" y="39496"/>
                    </a:lnTo>
                    <a:cubicBezTo>
                      <a:pt x="-644" y="36920"/>
                      <a:pt x="-644" y="32728"/>
                      <a:pt x="1931" y="30123"/>
                    </a:cubicBezTo>
                    <a:cubicBezTo>
                      <a:pt x="4506" y="27548"/>
                      <a:pt x="8699" y="27548"/>
                      <a:pt x="11304" y="30123"/>
                    </a:cubicBezTo>
                    <a:lnTo>
                      <a:pt x="45769" y="64588"/>
                    </a:lnTo>
                    <a:cubicBezTo>
                      <a:pt x="48883" y="68032"/>
                      <a:pt x="51697" y="69709"/>
                      <a:pt x="54422" y="69768"/>
                    </a:cubicBezTo>
                    <a:cubicBezTo>
                      <a:pt x="58135" y="69918"/>
                      <a:pt x="61609" y="67163"/>
                      <a:pt x="63914" y="64858"/>
                    </a:cubicBezTo>
                    <a:cubicBezTo>
                      <a:pt x="66430" y="62343"/>
                      <a:pt x="67777" y="59019"/>
                      <a:pt x="67777" y="55485"/>
                    </a:cubicBezTo>
                    <a:cubicBezTo>
                      <a:pt x="67777" y="51952"/>
                      <a:pt x="66400" y="48628"/>
                      <a:pt x="63884" y="46143"/>
                    </a:cubicBezTo>
                    <a:lnTo>
                      <a:pt x="28851" y="11319"/>
                    </a:lnTo>
                    <a:cubicBezTo>
                      <a:pt x="26245" y="8744"/>
                      <a:pt x="26245" y="4551"/>
                      <a:pt x="28821" y="1946"/>
                    </a:cubicBezTo>
                    <a:cubicBezTo>
                      <a:pt x="31396" y="-629"/>
                      <a:pt x="35588" y="-659"/>
                      <a:pt x="38193" y="1916"/>
                    </a:cubicBezTo>
                    <a:lnTo>
                      <a:pt x="73227" y="36741"/>
                    </a:lnTo>
                    <a:cubicBezTo>
                      <a:pt x="78257" y="41741"/>
                      <a:pt x="81012" y="48389"/>
                      <a:pt x="81012" y="55455"/>
                    </a:cubicBezTo>
                    <a:cubicBezTo>
                      <a:pt x="81012" y="62522"/>
                      <a:pt x="78257" y="69200"/>
                      <a:pt x="73257" y="74200"/>
                    </a:cubicBezTo>
                    <a:cubicBezTo>
                      <a:pt x="67508" y="79979"/>
                      <a:pt x="61100" y="83004"/>
                      <a:pt x="54632" y="83004"/>
                    </a:cubicBezTo>
                    <a:close/>
                  </a:path>
                </a:pathLst>
              </a:custGeom>
              <a:grpFill/>
              <a:ln w="2991" cap="flat">
                <a:noFill/>
                <a:prstDash val="solid"/>
                <a:miter/>
              </a:ln>
            </p:spPr>
            <p:txBody>
              <a:bodyPr rtlCol="0" anchor="ctr"/>
              <a:lstStyle/>
              <a:p>
                <a:endParaRPr lang="en-GB" dirty="0"/>
              </a:p>
            </p:txBody>
          </p:sp>
          <p:sp>
            <p:nvSpPr>
              <p:cNvPr id="286" name="Freihandform: Form 332">
                <a:extLst>
                  <a:ext uri="{FF2B5EF4-FFF2-40B4-BE49-F238E27FC236}">
                    <a16:creationId xmlns:a16="http://schemas.microsoft.com/office/drawing/2014/main" id="{BC2BD53F-DF05-4C0F-9375-8804547B252F}"/>
                  </a:ext>
                </a:extLst>
              </p:cNvPr>
              <p:cNvSpPr/>
              <p:nvPr/>
            </p:nvSpPr>
            <p:spPr>
              <a:xfrm>
                <a:off x="3605530" y="2809710"/>
                <a:ext cx="69573" cy="70243"/>
              </a:xfrm>
              <a:custGeom>
                <a:avLst/>
                <a:gdLst>
                  <a:gd name="connsiteX0" fmla="*/ 43313 w 69573"/>
                  <a:gd name="connsiteY0" fmla="*/ 70244 h 70243"/>
                  <a:gd name="connsiteX1" fmla="*/ 42625 w 69573"/>
                  <a:gd name="connsiteY1" fmla="*/ 70244 h 70243"/>
                  <a:gd name="connsiteX2" fmla="*/ 24718 w 69573"/>
                  <a:gd name="connsiteY2" fmla="*/ 62009 h 70243"/>
                  <a:gd name="connsiteX3" fmla="*/ 1931 w 69573"/>
                  <a:gd name="connsiteY3" fmla="*/ 39252 h 70243"/>
                  <a:gd name="connsiteX4" fmla="*/ 1931 w 69573"/>
                  <a:gd name="connsiteY4" fmla="*/ 29880 h 70243"/>
                  <a:gd name="connsiteX5" fmla="*/ 11304 w 69573"/>
                  <a:gd name="connsiteY5" fmla="*/ 29880 h 70243"/>
                  <a:gd name="connsiteX6" fmla="*/ 34330 w 69573"/>
                  <a:gd name="connsiteY6" fmla="*/ 52907 h 70243"/>
                  <a:gd name="connsiteX7" fmla="*/ 42984 w 69573"/>
                  <a:gd name="connsiteY7" fmla="*/ 57009 h 70243"/>
                  <a:gd name="connsiteX8" fmla="*/ 52476 w 69573"/>
                  <a:gd name="connsiteY8" fmla="*/ 53176 h 70243"/>
                  <a:gd name="connsiteX9" fmla="*/ 56339 w 69573"/>
                  <a:gd name="connsiteY9" fmla="*/ 43804 h 70243"/>
                  <a:gd name="connsiteX10" fmla="*/ 52446 w 69573"/>
                  <a:gd name="connsiteY10" fmla="*/ 34461 h 70243"/>
                  <a:gd name="connsiteX11" fmla="*/ 29030 w 69573"/>
                  <a:gd name="connsiteY11" fmla="*/ 11345 h 70243"/>
                  <a:gd name="connsiteX12" fmla="*/ 28970 w 69573"/>
                  <a:gd name="connsiteY12" fmla="*/ 1973 h 70243"/>
                  <a:gd name="connsiteX13" fmla="*/ 38343 w 69573"/>
                  <a:gd name="connsiteY13" fmla="*/ 1913 h 70243"/>
                  <a:gd name="connsiteX14" fmla="*/ 61758 w 69573"/>
                  <a:gd name="connsiteY14" fmla="*/ 25029 h 70243"/>
                  <a:gd name="connsiteX15" fmla="*/ 69574 w 69573"/>
                  <a:gd name="connsiteY15" fmla="*/ 43774 h 70243"/>
                  <a:gd name="connsiteX16" fmla="*/ 61818 w 69573"/>
                  <a:gd name="connsiteY16" fmla="*/ 62518 h 70243"/>
                  <a:gd name="connsiteX17" fmla="*/ 43313 w 69573"/>
                  <a:gd name="connsiteY17" fmla="*/ 70244 h 7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573" h="70243">
                    <a:moveTo>
                      <a:pt x="43313" y="70244"/>
                    </a:moveTo>
                    <a:cubicBezTo>
                      <a:pt x="43074" y="70244"/>
                      <a:pt x="42864" y="70244"/>
                      <a:pt x="42625" y="70244"/>
                    </a:cubicBezTo>
                    <a:cubicBezTo>
                      <a:pt x="35678" y="70064"/>
                      <a:pt x="29330" y="67130"/>
                      <a:pt x="24718" y="62009"/>
                    </a:cubicBezTo>
                    <a:lnTo>
                      <a:pt x="1931" y="39252"/>
                    </a:lnTo>
                    <a:cubicBezTo>
                      <a:pt x="-644" y="36677"/>
                      <a:pt x="-644" y="32485"/>
                      <a:pt x="1931" y="29880"/>
                    </a:cubicBezTo>
                    <a:cubicBezTo>
                      <a:pt x="4506" y="27305"/>
                      <a:pt x="8699" y="27305"/>
                      <a:pt x="11304" y="29880"/>
                    </a:cubicBezTo>
                    <a:lnTo>
                      <a:pt x="34330" y="52907"/>
                    </a:lnTo>
                    <a:cubicBezTo>
                      <a:pt x="36726" y="55572"/>
                      <a:pt x="39720" y="56919"/>
                      <a:pt x="42984" y="57009"/>
                    </a:cubicBezTo>
                    <a:cubicBezTo>
                      <a:pt x="46487" y="57099"/>
                      <a:pt x="49961" y="55691"/>
                      <a:pt x="52476" y="53176"/>
                    </a:cubicBezTo>
                    <a:cubicBezTo>
                      <a:pt x="54991" y="50661"/>
                      <a:pt x="56339" y="47337"/>
                      <a:pt x="56339" y="43804"/>
                    </a:cubicBezTo>
                    <a:cubicBezTo>
                      <a:pt x="56339" y="40270"/>
                      <a:pt x="54961" y="36947"/>
                      <a:pt x="52446" y="34461"/>
                    </a:cubicBezTo>
                    <a:lnTo>
                      <a:pt x="29030" y="11345"/>
                    </a:lnTo>
                    <a:cubicBezTo>
                      <a:pt x="26425" y="8770"/>
                      <a:pt x="26395" y="4578"/>
                      <a:pt x="28970" y="1973"/>
                    </a:cubicBezTo>
                    <a:cubicBezTo>
                      <a:pt x="31546" y="-632"/>
                      <a:pt x="35738" y="-662"/>
                      <a:pt x="38343" y="1913"/>
                    </a:cubicBezTo>
                    <a:lnTo>
                      <a:pt x="61758" y="25029"/>
                    </a:lnTo>
                    <a:cubicBezTo>
                      <a:pt x="66789" y="30030"/>
                      <a:pt x="69574" y="36677"/>
                      <a:pt x="69574" y="43774"/>
                    </a:cubicBezTo>
                    <a:cubicBezTo>
                      <a:pt x="69574" y="50841"/>
                      <a:pt x="66819" y="57518"/>
                      <a:pt x="61818" y="62518"/>
                    </a:cubicBezTo>
                    <a:cubicBezTo>
                      <a:pt x="56908" y="67459"/>
                      <a:pt x="50200" y="70244"/>
                      <a:pt x="43313" y="70244"/>
                    </a:cubicBezTo>
                    <a:close/>
                  </a:path>
                </a:pathLst>
              </a:custGeom>
              <a:grpFill/>
              <a:ln w="2991" cap="flat">
                <a:noFill/>
                <a:prstDash val="solid"/>
                <a:miter/>
              </a:ln>
            </p:spPr>
            <p:txBody>
              <a:bodyPr rtlCol="0" anchor="ctr"/>
              <a:lstStyle/>
              <a:p>
                <a:endParaRPr lang="en-GB" dirty="0"/>
              </a:p>
            </p:txBody>
          </p:sp>
          <p:sp>
            <p:nvSpPr>
              <p:cNvPr id="287" name="Freihandform: Form 333">
                <a:extLst>
                  <a:ext uri="{FF2B5EF4-FFF2-40B4-BE49-F238E27FC236}">
                    <a16:creationId xmlns:a16="http://schemas.microsoft.com/office/drawing/2014/main" id="{73C50A3B-AEF7-4239-B701-829C51ADC8D3}"/>
                  </a:ext>
                </a:extLst>
              </p:cNvPr>
              <p:cNvSpPr/>
              <p:nvPr/>
            </p:nvSpPr>
            <p:spPr>
              <a:xfrm>
                <a:off x="3575212" y="2698990"/>
                <a:ext cx="110671" cy="95834"/>
              </a:xfrm>
              <a:custGeom>
                <a:avLst/>
                <a:gdLst>
                  <a:gd name="connsiteX0" fmla="*/ 26470 w 110671"/>
                  <a:gd name="connsiteY0" fmla="*/ 95834 h 95834"/>
                  <a:gd name="connsiteX1" fmla="*/ 7755 w 110671"/>
                  <a:gd name="connsiteY1" fmla="*/ 88079 h 95834"/>
                  <a:gd name="connsiteX2" fmla="*/ 0 w 110671"/>
                  <a:gd name="connsiteY2" fmla="*/ 69364 h 95834"/>
                  <a:gd name="connsiteX3" fmla="*/ 7755 w 110671"/>
                  <a:gd name="connsiteY3" fmla="*/ 50649 h 95834"/>
                  <a:gd name="connsiteX4" fmla="*/ 56474 w 110671"/>
                  <a:gd name="connsiteY4" fmla="*/ 1931 h 95834"/>
                  <a:gd name="connsiteX5" fmla="*/ 65846 w 110671"/>
                  <a:gd name="connsiteY5" fmla="*/ 1931 h 95834"/>
                  <a:gd name="connsiteX6" fmla="*/ 65846 w 110671"/>
                  <a:gd name="connsiteY6" fmla="*/ 11304 h 95834"/>
                  <a:gd name="connsiteX7" fmla="*/ 17128 w 110671"/>
                  <a:gd name="connsiteY7" fmla="*/ 60022 h 95834"/>
                  <a:gd name="connsiteX8" fmla="*/ 13235 w 110671"/>
                  <a:gd name="connsiteY8" fmla="*/ 69394 h 95834"/>
                  <a:gd name="connsiteX9" fmla="*/ 17128 w 110671"/>
                  <a:gd name="connsiteY9" fmla="*/ 78766 h 95834"/>
                  <a:gd name="connsiteX10" fmla="*/ 35842 w 110671"/>
                  <a:gd name="connsiteY10" fmla="*/ 78766 h 95834"/>
                  <a:gd name="connsiteX11" fmla="*/ 72943 w 110671"/>
                  <a:gd name="connsiteY11" fmla="*/ 41666 h 95834"/>
                  <a:gd name="connsiteX12" fmla="*/ 77614 w 110671"/>
                  <a:gd name="connsiteY12" fmla="*/ 39720 h 95834"/>
                  <a:gd name="connsiteX13" fmla="*/ 104054 w 110671"/>
                  <a:gd name="connsiteY13" fmla="*/ 39720 h 95834"/>
                  <a:gd name="connsiteX14" fmla="*/ 110671 w 110671"/>
                  <a:gd name="connsiteY14" fmla="*/ 46338 h 95834"/>
                  <a:gd name="connsiteX15" fmla="*/ 104054 w 110671"/>
                  <a:gd name="connsiteY15" fmla="*/ 52955 h 95834"/>
                  <a:gd name="connsiteX16" fmla="*/ 80369 w 110671"/>
                  <a:gd name="connsiteY16" fmla="*/ 52955 h 95834"/>
                  <a:gd name="connsiteX17" fmla="*/ 45215 w 110671"/>
                  <a:gd name="connsiteY17" fmla="*/ 88109 h 95834"/>
                  <a:gd name="connsiteX18" fmla="*/ 26470 w 110671"/>
                  <a:gd name="connsiteY18" fmla="*/ 95834 h 9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671" h="95834">
                    <a:moveTo>
                      <a:pt x="26470" y="95834"/>
                    </a:moveTo>
                    <a:cubicBezTo>
                      <a:pt x="19703" y="95834"/>
                      <a:pt x="12906" y="93259"/>
                      <a:pt x="7755" y="88079"/>
                    </a:cubicBezTo>
                    <a:cubicBezTo>
                      <a:pt x="2755" y="83078"/>
                      <a:pt x="0" y="76431"/>
                      <a:pt x="0" y="69364"/>
                    </a:cubicBezTo>
                    <a:cubicBezTo>
                      <a:pt x="0" y="62298"/>
                      <a:pt x="2755" y="55650"/>
                      <a:pt x="7755" y="50649"/>
                    </a:cubicBezTo>
                    <a:lnTo>
                      <a:pt x="56474" y="1931"/>
                    </a:lnTo>
                    <a:cubicBezTo>
                      <a:pt x="59049" y="-644"/>
                      <a:pt x="63241" y="-644"/>
                      <a:pt x="65846" y="1931"/>
                    </a:cubicBezTo>
                    <a:cubicBezTo>
                      <a:pt x="68421" y="4506"/>
                      <a:pt x="68421" y="8699"/>
                      <a:pt x="65846" y="11304"/>
                    </a:cubicBezTo>
                    <a:lnTo>
                      <a:pt x="17128" y="60022"/>
                    </a:lnTo>
                    <a:cubicBezTo>
                      <a:pt x="14612" y="62537"/>
                      <a:pt x="13235" y="65861"/>
                      <a:pt x="13235" y="69394"/>
                    </a:cubicBezTo>
                    <a:cubicBezTo>
                      <a:pt x="13235" y="72927"/>
                      <a:pt x="14612" y="76251"/>
                      <a:pt x="17128" y="78766"/>
                    </a:cubicBezTo>
                    <a:cubicBezTo>
                      <a:pt x="22278" y="83917"/>
                      <a:pt x="30692" y="83917"/>
                      <a:pt x="35842" y="78766"/>
                    </a:cubicBezTo>
                    <a:lnTo>
                      <a:pt x="72943" y="41666"/>
                    </a:lnTo>
                    <a:cubicBezTo>
                      <a:pt x="74170" y="40439"/>
                      <a:pt x="75877" y="39720"/>
                      <a:pt x="77614" y="39720"/>
                    </a:cubicBezTo>
                    <a:lnTo>
                      <a:pt x="104054" y="39720"/>
                    </a:lnTo>
                    <a:cubicBezTo>
                      <a:pt x="107707" y="39720"/>
                      <a:pt x="110671" y="42684"/>
                      <a:pt x="110671" y="46338"/>
                    </a:cubicBezTo>
                    <a:cubicBezTo>
                      <a:pt x="110671" y="49991"/>
                      <a:pt x="107707" y="52955"/>
                      <a:pt x="104054" y="52955"/>
                    </a:cubicBezTo>
                    <a:lnTo>
                      <a:pt x="80369" y="52955"/>
                    </a:lnTo>
                    <a:lnTo>
                      <a:pt x="45215" y="88109"/>
                    </a:lnTo>
                    <a:cubicBezTo>
                      <a:pt x="40034" y="93229"/>
                      <a:pt x="33237" y="95834"/>
                      <a:pt x="26470" y="95834"/>
                    </a:cubicBezTo>
                    <a:close/>
                  </a:path>
                </a:pathLst>
              </a:custGeom>
              <a:grpFill/>
              <a:ln w="2991" cap="flat">
                <a:noFill/>
                <a:prstDash val="solid"/>
                <a:miter/>
              </a:ln>
            </p:spPr>
            <p:txBody>
              <a:bodyPr rtlCol="0" anchor="ctr"/>
              <a:lstStyle/>
              <a:p>
                <a:endParaRPr lang="en-GB" dirty="0"/>
              </a:p>
            </p:txBody>
          </p:sp>
          <p:sp>
            <p:nvSpPr>
              <p:cNvPr id="288" name="Freihandform: Form 334">
                <a:extLst>
                  <a:ext uri="{FF2B5EF4-FFF2-40B4-BE49-F238E27FC236}">
                    <a16:creationId xmlns:a16="http://schemas.microsoft.com/office/drawing/2014/main" id="{2DB1B645-782C-48B9-9934-5A70F361AA70}"/>
                  </a:ext>
                </a:extLst>
              </p:cNvPr>
              <p:cNvSpPr/>
              <p:nvPr/>
            </p:nvSpPr>
            <p:spPr>
              <a:xfrm>
                <a:off x="3750412" y="2824738"/>
                <a:ext cx="57072" cy="13235"/>
              </a:xfrm>
              <a:custGeom>
                <a:avLst/>
                <a:gdLst>
                  <a:gd name="connsiteX0" fmla="*/ 50455 w 57072"/>
                  <a:gd name="connsiteY0" fmla="*/ 13235 h 13235"/>
                  <a:gd name="connsiteX1" fmla="*/ 6618 w 57072"/>
                  <a:gd name="connsiteY1" fmla="*/ 13235 h 13235"/>
                  <a:gd name="connsiteX2" fmla="*/ 0 w 57072"/>
                  <a:gd name="connsiteY2" fmla="*/ 6618 h 13235"/>
                  <a:gd name="connsiteX3" fmla="*/ 6618 w 57072"/>
                  <a:gd name="connsiteY3" fmla="*/ 0 h 13235"/>
                  <a:gd name="connsiteX4" fmla="*/ 50455 w 57072"/>
                  <a:gd name="connsiteY4" fmla="*/ 0 h 13235"/>
                  <a:gd name="connsiteX5" fmla="*/ 57072 w 57072"/>
                  <a:gd name="connsiteY5" fmla="*/ 6618 h 13235"/>
                  <a:gd name="connsiteX6" fmla="*/ 50455 w 57072"/>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72" h="13235">
                    <a:moveTo>
                      <a:pt x="50455" y="13235"/>
                    </a:moveTo>
                    <a:lnTo>
                      <a:pt x="6618" y="13235"/>
                    </a:lnTo>
                    <a:cubicBezTo>
                      <a:pt x="2964" y="13235"/>
                      <a:pt x="0" y="10271"/>
                      <a:pt x="0" y="6618"/>
                    </a:cubicBezTo>
                    <a:cubicBezTo>
                      <a:pt x="0" y="2964"/>
                      <a:pt x="2964" y="0"/>
                      <a:pt x="6618" y="0"/>
                    </a:cubicBezTo>
                    <a:lnTo>
                      <a:pt x="50455" y="0"/>
                    </a:lnTo>
                    <a:cubicBezTo>
                      <a:pt x="54108" y="0"/>
                      <a:pt x="57072" y="2964"/>
                      <a:pt x="57072" y="6618"/>
                    </a:cubicBezTo>
                    <a:cubicBezTo>
                      <a:pt x="57072" y="10271"/>
                      <a:pt x="54108" y="13235"/>
                      <a:pt x="50455" y="13235"/>
                    </a:cubicBezTo>
                    <a:close/>
                  </a:path>
                </a:pathLst>
              </a:custGeom>
              <a:grpFill/>
              <a:ln w="2991" cap="flat">
                <a:noFill/>
                <a:prstDash val="solid"/>
                <a:miter/>
              </a:ln>
            </p:spPr>
            <p:txBody>
              <a:bodyPr rtlCol="0" anchor="ctr"/>
              <a:lstStyle/>
              <a:p>
                <a:endParaRPr lang="en-GB" dirty="0"/>
              </a:p>
            </p:txBody>
          </p:sp>
        </p:grpSp>
        <p:grpSp>
          <p:nvGrpSpPr>
            <p:cNvPr id="274" name="Grafik 306">
              <a:extLst>
                <a:ext uri="{FF2B5EF4-FFF2-40B4-BE49-F238E27FC236}">
                  <a16:creationId xmlns:a16="http://schemas.microsoft.com/office/drawing/2014/main" id="{E718B9A6-CB90-4E00-A110-A30445F0A459}"/>
                </a:ext>
              </a:extLst>
            </p:cNvPr>
            <p:cNvGrpSpPr/>
            <p:nvPr/>
          </p:nvGrpSpPr>
          <p:grpSpPr>
            <a:xfrm>
              <a:off x="2723979" y="4002611"/>
              <a:ext cx="274343" cy="229182"/>
              <a:chOff x="3468343" y="2430561"/>
              <a:chExt cx="294135" cy="245716"/>
            </a:xfrm>
            <a:solidFill>
              <a:schemeClr val="accent1"/>
            </a:solidFill>
          </p:grpSpPr>
          <p:sp>
            <p:nvSpPr>
              <p:cNvPr id="275" name="Freihandform: Form 336">
                <a:extLst>
                  <a:ext uri="{FF2B5EF4-FFF2-40B4-BE49-F238E27FC236}">
                    <a16:creationId xmlns:a16="http://schemas.microsoft.com/office/drawing/2014/main" id="{FA0065DB-9DEB-47AB-9CFC-86258AFFFE7A}"/>
                  </a:ext>
                </a:extLst>
              </p:cNvPr>
              <p:cNvSpPr/>
              <p:nvPr/>
            </p:nvSpPr>
            <p:spPr>
              <a:xfrm>
                <a:off x="3516763" y="2430561"/>
                <a:ext cx="245716" cy="245716"/>
              </a:xfrm>
              <a:custGeom>
                <a:avLst/>
                <a:gdLst>
                  <a:gd name="connsiteX0" fmla="*/ 122888 w 245716"/>
                  <a:gd name="connsiteY0" fmla="*/ 245717 h 245716"/>
                  <a:gd name="connsiteX1" fmla="*/ 36262 w 245716"/>
                  <a:gd name="connsiteY1" fmla="*/ 209994 h 245716"/>
                  <a:gd name="connsiteX2" fmla="*/ 36232 w 245716"/>
                  <a:gd name="connsiteY2" fmla="*/ 200622 h 245716"/>
                  <a:gd name="connsiteX3" fmla="*/ 45604 w 245716"/>
                  <a:gd name="connsiteY3" fmla="*/ 200592 h 245716"/>
                  <a:gd name="connsiteX4" fmla="*/ 122888 w 245716"/>
                  <a:gd name="connsiteY4" fmla="*/ 232481 h 245716"/>
                  <a:gd name="connsiteX5" fmla="*/ 232511 w 245716"/>
                  <a:gd name="connsiteY5" fmla="*/ 122858 h 245716"/>
                  <a:gd name="connsiteX6" fmla="*/ 122888 w 245716"/>
                  <a:gd name="connsiteY6" fmla="*/ 13235 h 245716"/>
                  <a:gd name="connsiteX7" fmla="*/ 13265 w 245716"/>
                  <a:gd name="connsiteY7" fmla="*/ 122858 h 245716"/>
                  <a:gd name="connsiteX8" fmla="*/ 27787 w 245716"/>
                  <a:gd name="connsiteY8" fmla="*/ 177415 h 245716"/>
                  <a:gd name="connsiteX9" fmla="*/ 25332 w 245716"/>
                  <a:gd name="connsiteY9" fmla="*/ 186458 h 245716"/>
                  <a:gd name="connsiteX10" fmla="*/ 16289 w 245716"/>
                  <a:gd name="connsiteY10" fmla="*/ 184003 h 245716"/>
                  <a:gd name="connsiteX11" fmla="*/ 0 w 245716"/>
                  <a:gd name="connsiteY11" fmla="*/ 122858 h 245716"/>
                  <a:gd name="connsiteX12" fmla="*/ 122858 w 245716"/>
                  <a:gd name="connsiteY12" fmla="*/ 0 h 245716"/>
                  <a:gd name="connsiteX13" fmla="*/ 245717 w 245716"/>
                  <a:gd name="connsiteY13" fmla="*/ 122858 h 245716"/>
                  <a:gd name="connsiteX14" fmla="*/ 122888 w 245716"/>
                  <a:gd name="connsiteY14" fmla="*/ 245717 h 2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5716" h="245716">
                    <a:moveTo>
                      <a:pt x="122888" y="245717"/>
                    </a:moveTo>
                    <a:cubicBezTo>
                      <a:pt x="90220" y="245717"/>
                      <a:pt x="59438" y="233021"/>
                      <a:pt x="36262" y="209994"/>
                    </a:cubicBezTo>
                    <a:cubicBezTo>
                      <a:pt x="33656" y="207419"/>
                      <a:pt x="33656" y="203227"/>
                      <a:pt x="36232" y="200622"/>
                    </a:cubicBezTo>
                    <a:cubicBezTo>
                      <a:pt x="38807" y="198017"/>
                      <a:pt x="42999" y="198017"/>
                      <a:pt x="45604" y="200592"/>
                    </a:cubicBezTo>
                    <a:cubicBezTo>
                      <a:pt x="66295" y="221163"/>
                      <a:pt x="93723" y="232481"/>
                      <a:pt x="122888" y="232481"/>
                    </a:cubicBezTo>
                    <a:cubicBezTo>
                      <a:pt x="183344" y="232481"/>
                      <a:pt x="232511" y="183314"/>
                      <a:pt x="232511" y="122858"/>
                    </a:cubicBezTo>
                    <a:cubicBezTo>
                      <a:pt x="232511" y="62402"/>
                      <a:pt x="183344" y="13235"/>
                      <a:pt x="122888" y="13235"/>
                    </a:cubicBezTo>
                    <a:cubicBezTo>
                      <a:pt x="62432" y="13235"/>
                      <a:pt x="13265" y="62402"/>
                      <a:pt x="13265" y="122858"/>
                    </a:cubicBezTo>
                    <a:cubicBezTo>
                      <a:pt x="13265" y="142022"/>
                      <a:pt x="18295" y="160887"/>
                      <a:pt x="27787" y="177415"/>
                    </a:cubicBezTo>
                    <a:cubicBezTo>
                      <a:pt x="29614" y="180589"/>
                      <a:pt x="28506" y="184632"/>
                      <a:pt x="25332" y="186458"/>
                    </a:cubicBezTo>
                    <a:cubicBezTo>
                      <a:pt x="22158" y="188285"/>
                      <a:pt x="18116" y="187177"/>
                      <a:pt x="16289" y="184003"/>
                    </a:cubicBezTo>
                    <a:cubicBezTo>
                      <a:pt x="5629" y="165468"/>
                      <a:pt x="0" y="144328"/>
                      <a:pt x="0" y="122858"/>
                    </a:cubicBezTo>
                    <a:cubicBezTo>
                      <a:pt x="0" y="55126"/>
                      <a:pt x="55126" y="0"/>
                      <a:pt x="122858" y="0"/>
                    </a:cubicBezTo>
                    <a:cubicBezTo>
                      <a:pt x="190590" y="0"/>
                      <a:pt x="245717" y="55126"/>
                      <a:pt x="245717" y="122858"/>
                    </a:cubicBezTo>
                    <a:cubicBezTo>
                      <a:pt x="245747" y="190620"/>
                      <a:pt x="190650" y="245717"/>
                      <a:pt x="122888" y="245717"/>
                    </a:cubicBezTo>
                    <a:close/>
                  </a:path>
                </a:pathLst>
              </a:custGeom>
              <a:solidFill>
                <a:schemeClr val="accent1"/>
              </a:solidFill>
              <a:ln w="2991" cap="flat">
                <a:noFill/>
                <a:prstDash val="solid"/>
                <a:miter/>
              </a:ln>
            </p:spPr>
            <p:txBody>
              <a:bodyPr rtlCol="0" anchor="ctr"/>
              <a:lstStyle/>
              <a:p>
                <a:endParaRPr lang="en-GB" dirty="0"/>
              </a:p>
            </p:txBody>
          </p:sp>
          <p:sp>
            <p:nvSpPr>
              <p:cNvPr id="276" name="Freihandform: Form 337">
                <a:extLst>
                  <a:ext uri="{FF2B5EF4-FFF2-40B4-BE49-F238E27FC236}">
                    <a16:creationId xmlns:a16="http://schemas.microsoft.com/office/drawing/2014/main" id="{F2F9F468-0542-42BA-942C-EEC2FC83D476}"/>
                  </a:ext>
                </a:extLst>
              </p:cNvPr>
              <p:cNvSpPr/>
              <p:nvPr/>
            </p:nvSpPr>
            <p:spPr>
              <a:xfrm>
                <a:off x="3595843" y="2509642"/>
                <a:ext cx="87614" cy="87614"/>
              </a:xfrm>
              <a:custGeom>
                <a:avLst/>
                <a:gdLst>
                  <a:gd name="connsiteX0" fmla="*/ 43807 w 87614"/>
                  <a:gd name="connsiteY0" fmla="*/ 87615 h 87614"/>
                  <a:gd name="connsiteX1" fmla="*/ 27967 w 87614"/>
                  <a:gd name="connsiteY1" fmla="*/ 84650 h 87614"/>
                  <a:gd name="connsiteX2" fmla="*/ 24194 w 87614"/>
                  <a:gd name="connsiteY2" fmla="*/ 76087 h 87614"/>
                  <a:gd name="connsiteX3" fmla="*/ 32758 w 87614"/>
                  <a:gd name="connsiteY3" fmla="*/ 72314 h 87614"/>
                  <a:gd name="connsiteX4" fmla="*/ 43837 w 87614"/>
                  <a:gd name="connsiteY4" fmla="*/ 74380 h 87614"/>
                  <a:gd name="connsiteX5" fmla="*/ 74410 w 87614"/>
                  <a:gd name="connsiteY5" fmla="*/ 43807 h 87614"/>
                  <a:gd name="connsiteX6" fmla="*/ 43837 w 87614"/>
                  <a:gd name="connsiteY6" fmla="*/ 13235 h 87614"/>
                  <a:gd name="connsiteX7" fmla="*/ 13265 w 87614"/>
                  <a:gd name="connsiteY7" fmla="*/ 43807 h 87614"/>
                  <a:gd name="connsiteX8" fmla="*/ 16948 w 87614"/>
                  <a:gd name="connsiteY8" fmla="*/ 58390 h 87614"/>
                  <a:gd name="connsiteX9" fmla="*/ 14283 w 87614"/>
                  <a:gd name="connsiteY9" fmla="*/ 67373 h 87614"/>
                  <a:gd name="connsiteX10" fmla="*/ 5300 w 87614"/>
                  <a:gd name="connsiteY10" fmla="*/ 64708 h 87614"/>
                  <a:gd name="connsiteX11" fmla="*/ 0 w 87614"/>
                  <a:gd name="connsiteY11" fmla="*/ 43807 h 87614"/>
                  <a:gd name="connsiteX12" fmla="*/ 43807 w 87614"/>
                  <a:gd name="connsiteY12" fmla="*/ 0 h 87614"/>
                  <a:gd name="connsiteX13" fmla="*/ 87615 w 87614"/>
                  <a:gd name="connsiteY13" fmla="*/ 43807 h 87614"/>
                  <a:gd name="connsiteX14" fmla="*/ 43807 w 87614"/>
                  <a:gd name="connsiteY14" fmla="*/ 87615 h 8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614" h="87614">
                    <a:moveTo>
                      <a:pt x="43807" y="87615"/>
                    </a:moveTo>
                    <a:cubicBezTo>
                      <a:pt x="38358" y="87615"/>
                      <a:pt x="33028" y="86627"/>
                      <a:pt x="27967" y="84650"/>
                    </a:cubicBezTo>
                    <a:cubicBezTo>
                      <a:pt x="24554" y="83333"/>
                      <a:pt x="22877" y="79500"/>
                      <a:pt x="24194" y="76087"/>
                    </a:cubicBezTo>
                    <a:cubicBezTo>
                      <a:pt x="25512" y="72673"/>
                      <a:pt x="29375" y="70966"/>
                      <a:pt x="32758" y="72314"/>
                    </a:cubicBezTo>
                    <a:cubicBezTo>
                      <a:pt x="36292" y="73691"/>
                      <a:pt x="40005" y="74380"/>
                      <a:pt x="43837" y="74380"/>
                    </a:cubicBezTo>
                    <a:cubicBezTo>
                      <a:pt x="60696" y="74380"/>
                      <a:pt x="74410" y="60666"/>
                      <a:pt x="74410" y="43807"/>
                    </a:cubicBezTo>
                    <a:cubicBezTo>
                      <a:pt x="74410" y="26949"/>
                      <a:pt x="60696" y="13235"/>
                      <a:pt x="43837" y="13235"/>
                    </a:cubicBezTo>
                    <a:cubicBezTo>
                      <a:pt x="26979" y="13235"/>
                      <a:pt x="13265" y="26949"/>
                      <a:pt x="13265" y="43807"/>
                    </a:cubicBezTo>
                    <a:cubicBezTo>
                      <a:pt x="13265" y="48898"/>
                      <a:pt x="14553" y="53928"/>
                      <a:pt x="16948" y="58390"/>
                    </a:cubicBezTo>
                    <a:cubicBezTo>
                      <a:pt x="18685" y="61594"/>
                      <a:pt x="17517" y="65636"/>
                      <a:pt x="14283" y="67373"/>
                    </a:cubicBezTo>
                    <a:cubicBezTo>
                      <a:pt x="11079" y="69110"/>
                      <a:pt x="7037" y="67912"/>
                      <a:pt x="5300" y="64708"/>
                    </a:cubicBezTo>
                    <a:cubicBezTo>
                      <a:pt x="1827" y="58330"/>
                      <a:pt x="0" y="51114"/>
                      <a:pt x="0" y="43807"/>
                    </a:cubicBezTo>
                    <a:cubicBezTo>
                      <a:pt x="0" y="19643"/>
                      <a:pt x="19643" y="0"/>
                      <a:pt x="43807" y="0"/>
                    </a:cubicBezTo>
                    <a:cubicBezTo>
                      <a:pt x="67972" y="0"/>
                      <a:pt x="87615" y="19643"/>
                      <a:pt x="87615" y="43807"/>
                    </a:cubicBezTo>
                    <a:cubicBezTo>
                      <a:pt x="87645" y="67942"/>
                      <a:pt x="67972" y="87615"/>
                      <a:pt x="43807" y="87615"/>
                    </a:cubicBezTo>
                    <a:close/>
                  </a:path>
                </a:pathLst>
              </a:custGeom>
              <a:solidFill>
                <a:schemeClr val="accent1"/>
              </a:solidFill>
              <a:ln w="2991" cap="flat">
                <a:noFill/>
                <a:prstDash val="solid"/>
                <a:miter/>
              </a:ln>
            </p:spPr>
            <p:txBody>
              <a:bodyPr rtlCol="0" anchor="ctr"/>
              <a:lstStyle/>
              <a:p>
                <a:endParaRPr lang="en-GB" dirty="0"/>
              </a:p>
            </p:txBody>
          </p:sp>
          <p:sp>
            <p:nvSpPr>
              <p:cNvPr id="277" name="Freihandform: Form 338">
                <a:extLst>
                  <a:ext uri="{FF2B5EF4-FFF2-40B4-BE49-F238E27FC236}">
                    <a16:creationId xmlns:a16="http://schemas.microsoft.com/office/drawing/2014/main" id="{2254697D-A2E9-4EA8-9365-80236D51D3A1}"/>
                  </a:ext>
                </a:extLst>
              </p:cNvPr>
              <p:cNvSpPr/>
              <p:nvPr/>
            </p:nvSpPr>
            <p:spPr>
              <a:xfrm>
                <a:off x="3554012" y="2467781"/>
                <a:ext cx="171336" cy="171306"/>
              </a:xfrm>
              <a:custGeom>
                <a:avLst/>
                <a:gdLst>
                  <a:gd name="connsiteX0" fmla="*/ 85638 w 171336"/>
                  <a:gd name="connsiteY0" fmla="*/ 171307 h 171306"/>
                  <a:gd name="connsiteX1" fmla="*/ 31261 w 171336"/>
                  <a:gd name="connsiteY1" fmla="*/ 151844 h 171306"/>
                  <a:gd name="connsiteX2" fmla="*/ 30363 w 171336"/>
                  <a:gd name="connsiteY2" fmla="*/ 142531 h 171306"/>
                  <a:gd name="connsiteX3" fmla="*/ 39675 w 171336"/>
                  <a:gd name="connsiteY3" fmla="*/ 141633 h 171306"/>
                  <a:gd name="connsiteX4" fmla="*/ 85638 w 171336"/>
                  <a:gd name="connsiteY4" fmla="*/ 158072 h 171306"/>
                  <a:gd name="connsiteX5" fmla="*/ 158042 w 171336"/>
                  <a:gd name="connsiteY5" fmla="*/ 85639 h 171306"/>
                  <a:gd name="connsiteX6" fmla="*/ 85638 w 171336"/>
                  <a:gd name="connsiteY6" fmla="*/ 13205 h 171306"/>
                  <a:gd name="connsiteX7" fmla="*/ 13205 w 171336"/>
                  <a:gd name="connsiteY7" fmla="*/ 85639 h 171306"/>
                  <a:gd name="connsiteX8" fmla="*/ 22937 w 171336"/>
                  <a:gd name="connsiteY8" fmla="*/ 121930 h 171306"/>
                  <a:gd name="connsiteX9" fmla="*/ 20541 w 171336"/>
                  <a:gd name="connsiteY9" fmla="*/ 130973 h 171306"/>
                  <a:gd name="connsiteX10" fmla="*/ 11498 w 171336"/>
                  <a:gd name="connsiteY10" fmla="*/ 128578 h 171306"/>
                  <a:gd name="connsiteX11" fmla="*/ 0 w 171336"/>
                  <a:gd name="connsiteY11" fmla="*/ 85668 h 171306"/>
                  <a:gd name="connsiteX12" fmla="*/ 85668 w 171336"/>
                  <a:gd name="connsiteY12" fmla="*/ 0 h 171306"/>
                  <a:gd name="connsiteX13" fmla="*/ 171337 w 171336"/>
                  <a:gd name="connsiteY13" fmla="*/ 85668 h 171306"/>
                  <a:gd name="connsiteX14" fmla="*/ 85638 w 171336"/>
                  <a:gd name="connsiteY14" fmla="*/ 171307 h 17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336" h="171306">
                    <a:moveTo>
                      <a:pt x="85638" y="171307"/>
                    </a:moveTo>
                    <a:cubicBezTo>
                      <a:pt x="65846" y="171307"/>
                      <a:pt x="46532" y="164390"/>
                      <a:pt x="31261" y="151844"/>
                    </a:cubicBezTo>
                    <a:cubicBezTo>
                      <a:pt x="28446" y="149508"/>
                      <a:pt x="28027" y="145346"/>
                      <a:pt x="30363" y="142531"/>
                    </a:cubicBezTo>
                    <a:cubicBezTo>
                      <a:pt x="32668" y="139717"/>
                      <a:pt x="36860" y="139297"/>
                      <a:pt x="39675" y="141633"/>
                    </a:cubicBezTo>
                    <a:cubicBezTo>
                      <a:pt x="52581" y="152233"/>
                      <a:pt x="68900" y="158072"/>
                      <a:pt x="85638" y="158072"/>
                    </a:cubicBezTo>
                    <a:cubicBezTo>
                      <a:pt x="125553" y="158072"/>
                      <a:pt x="158042" y="125583"/>
                      <a:pt x="158042" y="85639"/>
                    </a:cubicBezTo>
                    <a:cubicBezTo>
                      <a:pt x="158042" y="45694"/>
                      <a:pt x="125553" y="13205"/>
                      <a:pt x="85638" y="13205"/>
                    </a:cubicBezTo>
                    <a:cubicBezTo>
                      <a:pt x="45694" y="13205"/>
                      <a:pt x="13205" y="45694"/>
                      <a:pt x="13205" y="85639"/>
                    </a:cubicBezTo>
                    <a:cubicBezTo>
                      <a:pt x="13205" y="98394"/>
                      <a:pt x="16559" y="110941"/>
                      <a:pt x="22937" y="121930"/>
                    </a:cubicBezTo>
                    <a:cubicBezTo>
                      <a:pt x="24763" y="125104"/>
                      <a:pt x="23685" y="129146"/>
                      <a:pt x="20541" y="130973"/>
                    </a:cubicBezTo>
                    <a:cubicBezTo>
                      <a:pt x="17367" y="132800"/>
                      <a:pt x="13325" y="131722"/>
                      <a:pt x="11498" y="128578"/>
                    </a:cubicBezTo>
                    <a:cubicBezTo>
                      <a:pt x="3982" y="115582"/>
                      <a:pt x="0" y="100760"/>
                      <a:pt x="0" y="85668"/>
                    </a:cubicBezTo>
                    <a:cubicBezTo>
                      <a:pt x="0" y="38447"/>
                      <a:pt x="38417" y="0"/>
                      <a:pt x="85668" y="0"/>
                    </a:cubicBezTo>
                    <a:cubicBezTo>
                      <a:pt x="132889" y="0"/>
                      <a:pt x="171337" y="38418"/>
                      <a:pt x="171337" y="85668"/>
                    </a:cubicBezTo>
                    <a:cubicBezTo>
                      <a:pt x="171307" y="132889"/>
                      <a:pt x="132889" y="171307"/>
                      <a:pt x="85638" y="171307"/>
                    </a:cubicBezTo>
                    <a:close/>
                  </a:path>
                </a:pathLst>
              </a:custGeom>
              <a:solidFill>
                <a:schemeClr val="accent1"/>
              </a:solidFill>
              <a:ln w="2991" cap="flat">
                <a:noFill/>
                <a:prstDash val="solid"/>
                <a:miter/>
              </a:ln>
            </p:spPr>
            <p:txBody>
              <a:bodyPr rtlCol="0" anchor="ctr"/>
              <a:lstStyle/>
              <a:p>
                <a:endParaRPr lang="en-GB" dirty="0"/>
              </a:p>
            </p:txBody>
          </p:sp>
          <p:grpSp>
            <p:nvGrpSpPr>
              <p:cNvPr id="278" name="Grafik 306">
                <a:extLst>
                  <a:ext uri="{FF2B5EF4-FFF2-40B4-BE49-F238E27FC236}">
                    <a16:creationId xmlns:a16="http://schemas.microsoft.com/office/drawing/2014/main" id="{B45789FB-27C0-4A1C-B629-5270E99DD441}"/>
                  </a:ext>
                </a:extLst>
              </p:cNvPr>
              <p:cNvGrpSpPr/>
              <p:nvPr/>
            </p:nvGrpSpPr>
            <p:grpSpPr>
              <a:xfrm>
                <a:off x="3468343" y="2546812"/>
                <a:ext cx="177885" cy="121740"/>
                <a:chOff x="3468343" y="2546812"/>
                <a:chExt cx="177885" cy="121740"/>
              </a:xfrm>
              <a:solidFill>
                <a:schemeClr val="accent1"/>
              </a:solidFill>
            </p:grpSpPr>
            <p:sp>
              <p:nvSpPr>
                <p:cNvPr id="279" name="Freihandform: Form 340">
                  <a:extLst>
                    <a:ext uri="{FF2B5EF4-FFF2-40B4-BE49-F238E27FC236}">
                      <a16:creationId xmlns:a16="http://schemas.microsoft.com/office/drawing/2014/main" id="{349A9B97-5403-4DAA-8C6B-426D45201B2F}"/>
                    </a:ext>
                  </a:extLst>
                </p:cNvPr>
                <p:cNvSpPr/>
                <p:nvPr/>
              </p:nvSpPr>
              <p:spPr>
                <a:xfrm>
                  <a:off x="3468343" y="2598799"/>
                  <a:ext cx="65158" cy="42624"/>
                </a:xfrm>
                <a:custGeom>
                  <a:avLst/>
                  <a:gdLst>
                    <a:gd name="connsiteX0" fmla="*/ 30333 w 65158"/>
                    <a:gd name="connsiteY0" fmla="*/ 42625 h 42624"/>
                    <a:gd name="connsiteX1" fmla="*/ 27129 w 65158"/>
                    <a:gd name="connsiteY1" fmla="*/ 41786 h 42624"/>
                    <a:gd name="connsiteX2" fmla="*/ 3414 w 65158"/>
                    <a:gd name="connsiteY2" fmla="*/ 28641 h 42624"/>
                    <a:gd name="connsiteX3" fmla="*/ 1 w 65158"/>
                    <a:gd name="connsiteY3" fmla="*/ 22922 h 42624"/>
                    <a:gd name="connsiteX4" fmla="*/ 3324 w 65158"/>
                    <a:gd name="connsiteY4" fmla="*/ 17143 h 42624"/>
                    <a:gd name="connsiteX5" fmla="*/ 31501 w 65158"/>
                    <a:gd name="connsiteY5" fmla="*/ 884 h 42624"/>
                    <a:gd name="connsiteX6" fmla="*/ 38029 w 65158"/>
                    <a:gd name="connsiteY6" fmla="*/ 824 h 42624"/>
                    <a:gd name="connsiteX7" fmla="*/ 61744 w 65158"/>
                    <a:gd name="connsiteY7" fmla="*/ 13969 h 42624"/>
                    <a:gd name="connsiteX8" fmla="*/ 65158 w 65158"/>
                    <a:gd name="connsiteY8" fmla="*/ 19688 h 42624"/>
                    <a:gd name="connsiteX9" fmla="*/ 61834 w 65158"/>
                    <a:gd name="connsiteY9" fmla="*/ 25467 h 42624"/>
                    <a:gd name="connsiteX10" fmla="*/ 33657 w 65158"/>
                    <a:gd name="connsiteY10" fmla="*/ 41726 h 42624"/>
                    <a:gd name="connsiteX11" fmla="*/ 30333 w 65158"/>
                    <a:gd name="connsiteY11" fmla="*/ 42625 h 42624"/>
                    <a:gd name="connsiteX12" fmla="*/ 20063 w 65158"/>
                    <a:gd name="connsiteY12" fmla="*/ 22742 h 42624"/>
                    <a:gd name="connsiteX13" fmla="*/ 30274 w 65158"/>
                    <a:gd name="connsiteY13" fmla="*/ 28402 h 42624"/>
                    <a:gd name="connsiteX14" fmla="*/ 45095 w 65158"/>
                    <a:gd name="connsiteY14" fmla="*/ 19838 h 42624"/>
                    <a:gd name="connsiteX15" fmla="*/ 34885 w 65158"/>
                    <a:gd name="connsiteY15" fmla="*/ 14178 h 42624"/>
                    <a:gd name="connsiteX16" fmla="*/ 20063 w 65158"/>
                    <a:gd name="connsiteY16" fmla="*/ 22742 h 4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158" h="42624">
                      <a:moveTo>
                        <a:pt x="30333" y="42625"/>
                      </a:moveTo>
                      <a:cubicBezTo>
                        <a:pt x="29225" y="42625"/>
                        <a:pt x="28118" y="42355"/>
                        <a:pt x="27129" y="41786"/>
                      </a:cubicBezTo>
                      <a:lnTo>
                        <a:pt x="3414" y="28641"/>
                      </a:lnTo>
                      <a:cubicBezTo>
                        <a:pt x="1318" y="27473"/>
                        <a:pt x="30" y="25287"/>
                        <a:pt x="1" y="22922"/>
                      </a:cubicBezTo>
                      <a:cubicBezTo>
                        <a:pt x="-29" y="20526"/>
                        <a:pt x="1258" y="18341"/>
                        <a:pt x="3324" y="17143"/>
                      </a:cubicBezTo>
                      <a:lnTo>
                        <a:pt x="31501" y="884"/>
                      </a:lnTo>
                      <a:cubicBezTo>
                        <a:pt x="33507" y="-284"/>
                        <a:pt x="35993" y="-284"/>
                        <a:pt x="38029" y="824"/>
                      </a:cubicBezTo>
                      <a:lnTo>
                        <a:pt x="61744" y="13969"/>
                      </a:lnTo>
                      <a:cubicBezTo>
                        <a:pt x="63840" y="15137"/>
                        <a:pt x="65128" y="17322"/>
                        <a:pt x="65158" y="19688"/>
                      </a:cubicBezTo>
                      <a:cubicBezTo>
                        <a:pt x="65188" y="22083"/>
                        <a:pt x="63900" y="24269"/>
                        <a:pt x="61834" y="25467"/>
                      </a:cubicBezTo>
                      <a:lnTo>
                        <a:pt x="33657" y="41726"/>
                      </a:lnTo>
                      <a:cubicBezTo>
                        <a:pt x="32609" y="42325"/>
                        <a:pt x="31471" y="42625"/>
                        <a:pt x="30333" y="42625"/>
                      </a:cubicBezTo>
                      <a:close/>
                      <a:moveTo>
                        <a:pt x="20063" y="22742"/>
                      </a:moveTo>
                      <a:lnTo>
                        <a:pt x="30274" y="28402"/>
                      </a:lnTo>
                      <a:lnTo>
                        <a:pt x="45095" y="19838"/>
                      </a:lnTo>
                      <a:lnTo>
                        <a:pt x="34885" y="14178"/>
                      </a:lnTo>
                      <a:lnTo>
                        <a:pt x="20063" y="22742"/>
                      </a:lnTo>
                      <a:close/>
                    </a:path>
                  </a:pathLst>
                </a:custGeom>
                <a:solidFill>
                  <a:schemeClr val="accent1"/>
                </a:solidFill>
                <a:ln w="2991" cap="flat">
                  <a:noFill/>
                  <a:prstDash val="solid"/>
                  <a:miter/>
                </a:ln>
              </p:spPr>
              <p:txBody>
                <a:bodyPr rtlCol="0" anchor="ctr"/>
                <a:lstStyle/>
                <a:p>
                  <a:endParaRPr lang="en-GB" dirty="0"/>
                </a:p>
              </p:txBody>
            </p:sp>
            <p:sp>
              <p:nvSpPr>
                <p:cNvPr id="280" name="Freihandform: Form 341">
                  <a:extLst>
                    <a:ext uri="{FF2B5EF4-FFF2-40B4-BE49-F238E27FC236}">
                      <a16:creationId xmlns:a16="http://schemas.microsoft.com/office/drawing/2014/main" id="{30515119-6F3B-4D59-9EBE-0D7327AE9DAF}"/>
                    </a:ext>
                  </a:extLst>
                </p:cNvPr>
                <p:cNvSpPr/>
                <p:nvPr/>
              </p:nvSpPr>
              <p:spPr>
                <a:xfrm>
                  <a:off x="3491609" y="2611944"/>
                  <a:ext cx="41892" cy="56608"/>
                </a:xfrm>
                <a:custGeom>
                  <a:avLst/>
                  <a:gdLst>
                    <a:gd name="connsiteX0" fmla="*/ 6618 w 41892"/>
                    <a:gd name="connsiteY0" fmla="*/ 56608 h 56608"/>
                    <a:gd name="connsiteX1" fmla="*/ 3264 w 41892"/>
                    <a:gd name="connsiteY1" fmla="*/ 55680 h 56608"/>
                    <a:gd name="connsiteX2" fmla="*/ 1 w 41892"/>
                    <a:gd name="connsiteY2" fmla="*/ 49871 h 56608"/>
                    <a:gd name="connsiteX3" fmla="*/ 450 w 41892"/>
                    <a:gd name="connsiteY3" fmla="*/ 22772 h 56608"/>
                    <a:gd name="connsiteX4" fmla="*/ 3773 w 41892"/>
                    <a:gd name="connsiteY4" fmla="*/ 17143 h 56608"/>
                    <a:gd name="connsiteX5" fmla="*/ 31950 w 41892"/>
                    <a:gd name="connsiteY5" fmla="*/ 883 h 56608"/>
                    <a:gd name="connsiteX6" fmla="*/ 38628 w 41892"/>
                    <a:gd name="connsiteY6" fmla="*/ 913 h 56608"/>
                    <a:gd name="connsiteX7" fmla="*/ 41892 w 41892"/>
                    <a:gd name="connsiteY7" fmla="*/ 6722 h 56608"/>
                    <a:gd name="connsiteX8" fmla="*/ 41442 w 41892"/>
                    <a:gd name="connsiteY8" fmla="*/ 33821 h 56608"/>
                    <a:gd name="connsiteX9" fmla="*/ 38119 w 41892"/>
                    <a:gd name="connsiteY9" fmla="*/ 39451 h 56608"/>
                    <a:gd name="connsiteX10" fmla="*/ 9942 w 41892"/>
                    <a:gd name="connsiteY10" fmla="*/ 55710 h 56608"/>
                    <a:gd name="connsiteX11" fmla="*/ 6618 w 41892"/>
                    <a:gd name="connsiteY11" fmla="*/ 56608 h 56608"/>
                    <a:gd name="connsiteX12" fmla="*/ 13625 w 41892"/>
                    <a:gd name="connsiteY12" fmla="*/ 26725 h 56608"/>
                    <a:gd name="connsiteX13" fmla="*/ 13445 w 41892"/>
                    <a:gd name="connsiteY13" fmla="*/ 38403 h 56608"/>
                    <a:gd name="connsiteX14" fmla="*/ 28267 w 41892"/>
                    <a:gd name="connsiteY14" fmla="*/ 29839 h 56608"/>
                    <a:gd name="connsiteX15" fmla="*/ 28477 w 41892"/>
                    <a:gd name="connsiteY15" fmla="*/ 18161 h 56608"/>
                    <a:gd name="connsiteX16" fmla="*/ 13625 w 41892"/>
                    <a:gd name="connsiteY16" fmla="*/ 26725 h 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892" h="56608">
                      <a:moveTo>
                        <a:pt x="6618" y="56608"/>
                      </a:moveTo>
                      <a:cubicBezTo>
                        <a:pt x="5450" y="56608"/>
                        <a:pt x="4312" y="56309"/>
                        <a:pt x="3264" y="55680"/>
                      </a:cubicBezTo>
                      <a:cubicBezTo>
                        <a:pt x="1198" y="54482"/>
                        <a:pt x="-29" y="52237"/>
                        <a:pt x="1" y="49871"/>
                      </a:cubicBezTo>
                      <a:lnTo>
                        <a:pt x="450" y="22772"/>
                      </a:lnTo>
                      <a:cubicBezTo>
                        <a:pt x="480" y="20437"/>
                        <a:pt x="1737" y="18311"/>
                        <a:pt x="3773" y="17143"/>
                      </a:cubicBezTo>
                      <a:lnTo>
                        <a:pt x="31950" y="883"/>
                      </a:lnTo>
                      <a:cubicBezTo>
                        <a:pt x="34016" y="-314"/>
                        <a:pt x="36562" y="-284"/>
                        <a:pt x="38628" y="913"/>
                      </a:cubicBezTo>
                      <a:cubicBezTo>
                        <a:pt x="40664" y="2111"/>
                        <a:pt x="41921" y="4357"/>
                        <a:pt x="41892" y="6722"/>
                      </a:cubicBezTo>
                      <a:lnTo>
                        <a:pt x="41442" y="33821"/>
                      </a:lnTo>
                      <a:cubicBezTo>
                        <a:pt x="41412" y="36157"/>
                        <a:pt x="40155" y="38283"/>
                        <a:pt x="38119" y="39451"/>
                      </a:cubicBezTo>
                      <a:lnTo>
                        <a:pt x="9942" y="55710"/>
                      </a:lnTo>
                      <a:cubicBezTo>
                        <a:pt x="8894" y="56309"/>
                        <a:pt x="7756" y="56608"/>
                        <a:pt x="6618" y="56608"/>
                      </a:cubicBezTo>
                      <a:close/>
                      <a:moveTo>
                        <a:pt x="13625" y="26725"/>
                      </a:moveTo>
                      <a:lnTo>
                        <a:pt x="13445" y="38403"/>
                      </a:lnTo>
                      <a:lnTo>
                        <a:pt x="28267" y="29839"/>
                      </a:lnTo>
                      <a:lnTo>
                        <a:pt x="28477" y="18161"/>
                      </a:lnTo>
                      <a:lnTo>
                        <a:pt x="13625" y="26725"/>
                      </a:lnTo>
                      <a:close/>
                    </a:path>
                  </a:pathLst>
                </a:custGeom>
                <a:solidFill>
                  <a:schemeClr val="accent1"/>
                </a:solidFill>
                <a:ln w="2991" cap="flat">
                  <a:noFill/>
                  <a:prstDash val="solid"/>
                  <a:miter/>
                </a:ln>
              </p:spPr>
              <p:txBody>
                <a:bodyPr rtlCol="0" anchor="ctr"/>
                <a:lstStyle/>
                <a:p>
                  <a:endParaRPr lang="en-GB" dirty="0"/>
                </a:p>
              </p:txBody>
            </p:sp>
            <p:sp>
              <p:nvSpPr>
                <p:cNvPr id="281" name="Freihandform: Form 342">
                  <a:extLst>
                    <a:ext uri="{FF2B5EF4-FFF2-40B4-BE49-F238E27FC236}">
                      <a16:creationId xmlns:a16="http://schemas.microsoft.com/office/drawing/2014/main" id="{53D54F94-258C-4347-9B4A-6194CFF64A71}"/>
                    </a:ext>
                  </a:extLst>
                </p:cNvPr>
                <p:cNvSpPr/>
                <p:nvPr/>
              </p:nvSpPr>
              <p:spPr>
                <a:xfrm>
                  <a:off x="3479972" y="2546812"/>
                  <a:ext cx="166256" cy="101588"/>
                </a:xfrm>
                <a:custGeom>
                  <a:avLst/>
                  <a:gdLst>
                    <a:gd name="connsiteX0" fmla="*/ 6638 w 166256"/>
                    <a:gd name="connsiteY0" fmla="*/ 101589 h 101588"/>
                    <a:gd name="connsiteX1" fmla="*/ 889 w 166256"/>
                    <a:gd name="connsiteY1" fmla="*/ 98265 h 101588"/>
                    <a:gd name="connsiteX2" fmla="*/ 3314 w 166256"/>
                    <a:gd name="connsiteY2" fmla="*/ 89222 h 101588"/>
                    <a:gd name="connsiteX3" fmla="*/ 156325 w 166256"/>
                    <a:gd name="connsiteY3" fmla="*/ 888 h 101588"/>
                    <a:gd name="connsiteX4" fmla="*/ 165368 w 166256"/>
                    <a:gd name="connsiteY4" fmla="*/ 3314 h 101588"/>
                    <a:gd name="connsiteX5" fmla="*/ 162943 w 166256"/>
                    <a:gd name="connsiteY5" fmla="*/ 12357 h 101588"/>
                    <a:gd name="connsiteX6" fmla="*/ 9931 w 166256"/>
                    <a:gd name="connsiteY6" fmla="*/ 100690 h 101588"/>
                    <a:gd name="connsiteX7" fmla="*/ 6638 w 166256"/>
                    <a:gd name="connsiteY7" fmla="*/ 101589 h 10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256" h="101588">
                      <a:moveTo>
                        <a:pt x="6638" y="101589"/>
                      </a:moveTo>
                      <a:cubicBezTo>
                        <a:pt x="4362" y="101589"/>
                        <a:pt x="2116" y="100391"/>
                        <a:pt x="889" y="98265"/>
                      </a:cubicBezTo>
                      <a:cubicBezTo>
                        <a:pt x="-938" y="95091"/>
                        <a:pt x="140" y="91048"/>
                        <a:pt x="3314" y="89222"/>
                      </a:cubicBezTo>
                      <a:lnTo>
                        <a:pt x="156325" y="888"/>
                      </a:lnTo>
                      <a:cubicBezTo>
                        <a:pt x="159469" y="-938"/>
                        <a:pt x="163542" y="140"/>
                        <a:pt x="165368" y="3314"/>
                      </a:cubicBezTo>
                      <a:cubicBezTo>
                        <a:pt x="167195" y="6488"/>
                        <a:pt x="166117" y="10530"/>
                        <a:pt x="162943" y="12357"/>
                      </a:cubicBezTo>
                      <a:lnTo>
                        <a:pt x="9931" y="100690"/>
                      </a:lnTo>
                      <a:cubicBezTo>
                        <a:pt x="8883" y="101319"/>
                        <a:pt x="7746" y="101589"/>
                        <a:pt x="6638" y="101589"/>
                      </a:cubicBezTo>
                      <a:close/>
                    </a:path>
                  </a:pathLst>
                </a:custGeom>
                <a:solidFill>
                  <a:schemeClr val="accent1"/>
                </a:solidFill>
                <a:ln w="2991" cap="flat">
                  <a:noFill/>
                  <a:prstDash val="solid"/>
                  <a:miter/>
                </a:ln>
              </p:spPr>
              <p:txBody>
                <a:bodyPr rtlCol="0" anchor="ctr"/>
                <a:lstStyle/>
                <a:p>
                  <a:endParaRPr lang="en-GB" dirty="0"/>
                </a:p>
              </p:txBody>
            </p:sp>
          </p:grpSp>
        </p:grpSp>
      </p:grpSp>
      <p:grpSp>
        <p:nvGrpSpPr>
          <p:cNvPr id="47" name="Group 46">
            <a:extLst>
              <a:ext uri="{FF2B5EF4-FFF2-40B4-BE49-F238E27FC236}">
                <a16:creationId xmlns:a16="http://schemas.microsoft.com/office/drawing/2014/main" id="{2FCF80BC-E98D-B79B-BFE2-8307861CC317}"/>
              </a:ext>
            </a:extLst>
          </p:cNvPr>
          <p:cNvGrpSpPr/>
          <p:nvPr/>
        </p:nvGrpSpPr>
        <p:grpSpPr>
          <a:xfrm>
            <a:off x="3686395" y="4002611"/>
            <a:ext cx="541914" cy="432000"/>
            <a:chOff x="3686395" y="4002611"/>
            <a:chExt cx="541914" cy="432000"/>
          </a:xfrm>
        </p:grpSpPr>
        <p:grpSp>
          <p:nvGrpSpPr>
            <p:cNvPr id="290" name="Group 289">
              <a:extLst>
                <a:ext uri="{FF2B5EF4-FFF2-40B4-BE49-F238E27FC236}">
                  <a16:creationId xmlns:a16="http://schemas.microsoft.com/office/drawing/2014/main" id="{A2C3D991-B3CA-4EB9-8260-E12C38E3DBA3}"/>
                </a:ext>
              </a:extLst>
            </p:cNvPr>
            <p:cNvGrpSpPr/>
            <p:nvPr/>
          </p:nvGrpSpPr>
          <p:grpSpPr>
            <a:xfrm>
              <a:off x="3686395" y="4002611"/>
              <a:ext cx="541914" cy="432000"/>
              <a:chOff x="3395761" y="3284910"/>
              <a:chExt cx="489846" cy="390493"/>
            </a:xfrm>
            <a:solidFill>
              <a:schemeClr val="tx2"/>
            </a:solidFill>
          </p:grpSpPr>
          <p:grpSp>
            <p:nvGrpSpPr>
              <p:cNvPr id="297" name="Grafik 306">
                <a:extLst>
                  <a:ext uri="{FF2B5EF4-FFF2-40B4-BE49-F238E27FC236}">
                    <a16:creationId xmlns:a16="http://schemas.microsoft.com/office/drawing/2014/main" id="{B0043207-0490-4F26-AA4F-425218F4B548}"/>
                  </a:ext>
                </a:extLst>
              </p:cNvPr>
              <p:cNvGrpSpPr/>
              <p:nvPr/>
            </p:nvGrpSpPr>
            <p:grpSpPr>
              <a:xfrm>
                <a:off x="3713492" y="3483466"/>
                <a:ext cx="172115" cy="191937"/>
                <a:chOff x="3713492" y="3483466"/>
                <a:chExt cx="172115" cy="191937"/>
              </a:xfrm>
              <a:grpFill/>
            </p:grpSpPr>
            <p:sp>
              <p:nvSpPr>
                <p:cNvPr id="311" name="Freihandform: Form 396">
                  <a:extLst>
                    <a:ext uri="{FF2B5EF4-FFF2-40B4-BE49-F238E27FC236}">
                      <a16:creationId xmlns:a16="http://schemas.microsoft.com/office/drawing/2014/main" id="{BF478ABB-AE18-4EE9-A651-1AB54E740DE8}"/>
                    </a:ext>
                  </a:extLst>
                </p:cNvPr>
                <p:cNvSpPr/>
                <p:nvPr/>
              </p:nvSpPr>
              <p:spPr>
                <a:xfrm>
                  <a:off x="3713492" y="3602581"/>
                  <a:ext cx="172115" cy="72822"/>
                </a:xfrm>
                <a:custGeom>
                  <a:avLst/>
                  <a:gdLst>
                    <a:gd name="connsiteX0" fmla="*/ 165468 w 172115"/>
                    <a:gd name="connsiteY0" fmla="*/ 72823 h 72822"/>
                    <a:gd name="connsiteX1" fmla="*/ 6617 w 172115"/>
                    <a:gd name="connsiteY1" fmla="*/ 72823 h 72822"/>
                    <a:gd name="connsiteX2" fmla="*/ 0 w 172115"/>
                    <a:gd name="connsiteY2" fmla="*/ 66205 h 72822"/>
                    <a:gd name="connsiteX3" fmla="*/ 66205 w 172115"/>
                    <a:gd name="connsiteY3" fmla="*/ 0 h 72822"/>
                    <a:gd name="connsiteX4" fmla="*/ 105910 w 172115"/>
                    <a:gd name="connsiteY4" fmla="*/ 0 h 72822"/>
                    <a:gd name="connsiteX5" fmla="*/ 172115 w 172115"/>
                    <a:gd name="connsiteY5" fmla="*/ 66205 h 72822"/>
                    <a:gd name="connsiteX6" fmla="*/ 165468 w 172115"/>
                    <a:gd name="connsiteY6" fmla="*/ 72823 h 72822"/>
                    <a:gd name="connsiteX7" fmla="*/ 13624 w 172115"/>
                    <a:gd name="connsiteY7" fmla="*/ 59588 h 72822"/>
                    <a:gd name="connsiteX8" fmla="*/ 158431 w 172115"/>
                    <a:gd name="connsiteY8" fmla="*/ 59588 h 72822"/>
                    <a:gd name="connsiteX9" fmla="*/ 105880 w 172115"/>
                    <a:gd name="connsiteY9" fmla="*/ 13265 h 72822"/>
                    <a:gd name="connsiteX10" fmla="*/ 66175 w 172115"/>
                    <a:gd name="connsiteY10" fmla="*/ 13265 h 72822"/>
                    <a:gd name="connsiteX11" fmla="*/ 13624 w 172115"/>
                    <a:gd name="connsiteY11" fmla="*/ 59588 h 7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115" h="72822">
                      <a:moveTo>
                        <a:pt x="165468" y="72823"/>
                      </a:moveTo>
                      <a:lnTo>
                        <a:pt x="6617" y="72823"/>
                      </a:lnTo>
                      <a:cubicBezTo>
                        <a:pt x="2964" y="72823"/>
                        <a:pt x="0" y="69858"/>
                        <a:pt x="0" y="66205"/>
                      </a:cubicBezTo>
                      <a:cubicBezTo>
                        <a:pt x="0" y="29704"/>
                        <a:pt x="29704" y="0"/>
                        <a:pt x="66205" y="0"/>
                      </a:cubicBezTo>
                      <a:lnTo>
                        <a:pt x="105910" y="0"/>
                      </a:lnTo>
                      <a:cubicBezTo>
                        <a:pt x="142411" y="0"/>
                        <a:pt x="172115" y="29704"/>
                        <a:pt x="172115" y="66205"/>
                      </a:cubicBezTo>
                      <a:cubicBezTo>
                        <a:pt x="172085" y="69858"/>
                        <a:pt x="169121" y="72823"/>
                        <a:pt x="165468" y="72823"/>
                      </a:cubicBezTo>
                      <a:close/>
                      <a:moveTo>
                        <a:pt x="13624" y="59588"/>
                      </a:moveTo>
                      <a:lnTo>
                        <a:pt x="158431" y="59588"/>
                      </a:lnTo>
                      <a:cubicBezTo>
                        <a:pt x="155167" y="33507"/>
                        <a:pt x="132859" y="13265"/>
                        <a:pt x="105880" y="13265"/>
                      </a:cubicBezTo>
                      <a:lnTo>
                        <a:pt x="66175" y="13265"/>
                      </a:lnTo>
                      <a:cubicBezTo>
                        <a:pt x="39226" y="13265"/>
                        <a:pt x="16888" y="33507"/>
                        <a:pt x="13624" y="59588"/>
                      </a:cubicBezTo>
                      <a:close/>
                    </a:path>
                  </a:pathLst>
                </a:custGeom>
                <a:grpFill/>
                <a:ln w="2991" cap="flat">
                  <a:noFill/>
                  <a:prstDash val="solid"/>
                  <a:miter/>
                </a:ln>
              </p:spPr>
              <p:txBody>
                <a:bodyPr rtlCol="0" anchor="ctr"/>
                <a:lstStyle/>
                <a:p>
                  <a:endParaRPr lang="en-GB" dirty="0"/>
                </a:p>
              </p:txBody>
            </p:sp>
            <p:sp>
              <p:nvSpPr>
                <p:cNvPr id="312" name="Freihandform: Form 397">
                  <a:extLst>
                    <a:ext uri="{FF2B5EF4-FFF2-40B4-BE49-F238E27FC236}">
                      <a16:creationId xmlns:a16="http://schemas.microsoft.com/office/drawing/2014/main" id="{4BC5DF3D-68E5-482B-A70B-3DF6D722184F}"/>
                    </a:ext>
                  </a:extLst>
                </p:cNvPr>
                <p:cNvSpPr/>
                <p:nvPr/>
              </p:nvSpPr>
              <p:spPr>
                <a:xfrm>
                  <a:off x="3753197" y="3483466"/>
                  <a:ext cx="92645" cy="105880"/>
                </a:xfrm>
                <a:custGeom>
                  <a:avLst/>
                  <a:gdLst>
                    <a:gd name="connsiteX0" fmla="*/ 46323 w 92645"/>
                    <a:gd name="connsiteY0" fmla="*/ 105880 h 105880"/>
                    <a:gd name="connsiteX1" fmla="*/ 0 w 92645"/>
                    <a:gd name="connsiteY1" fmla="*/ 52940 h 105880"/>
                    <a:gd name="connsiteX2" fmla="*/ 46323 w 92645"/>
                    <a:gd name="connsiteY2" fmla="*/ 0 h 105880"/>
                    <a:gd name="connsiteX3" fmla="*/ 92645 w 92645"/>
                    <a:gd name="connsiteY3" fmla="*/ 52940 h 105880"/>
                    <a:gd name="connsiteX4" fmla="*/ 46323 w 92645"/>
                    <a:gd name="connsiteY4" fmla="*/ 105880 h 105880"/>
                    <a:gd name="connsiteX5" fmla="*/ 46323 w 92645"/>
                    <a:gd name="connsiteY5" fmla="*/ 13235 h 105880"/>
                    <a:gd name="connsiteX6" fmla="*/ 13235 w 92645"/>
                    <a:gd name="connsiteY6" fmla="*/ 52940 h 105880"/>
                    <a:gd name="connsiteX7" fmla="*/ 46323 w 92645"/>
                    <a:gd name="connsiteY7" fmla="*/ 92645 h 105880"/>
                    <a:gd name="connsiteX8" fmla="*/ 79410 w 92645"/>
                    <a:gd name="connsiteY8" fmla="*/ 52940 h 105880"/>
                    <a:gd name="connsiteX9" fmla="*/ 46323 w 92645"/>
                    <a:gd name="connsiteY9" fmla="*/ 13235 h 1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45" h="105880">
                      <a:moveTo>
                        <a:pt x="46323" y="105880"/>
                      </a:moveTo>
                      <a:cubicBezTo>
                        <a:pt x="18625" y="105880"/>
                        <a:pt x="0" y="84590"/>
                        <a:pt x="0" y="52940"/>
                      </a:cubicBezTo>
                      <a:cubicBezTo>
                        <a:pt x="0" y="21260"/>
                        <a:pt x="18625" y="0"/>
                        <a:pt x="46323" y="0"/>
                      </a:cubicBezTo>
                      <a:cubicBezTo>
                        <a:pt x="74020" y="0"/>
                        <a:pt x="92645" y="21290"/>
                        <a:pt x="92645" y="52940"/>
                      </a:cubicBezTo>
                      <a:cubicBezTo>
                        <a:pt x="92645" y="84620"/>
                        <a:pt x="74020" y="105880"/>
                        <a:pt x="46323" y="105880"/>
                      </a:cubicBezTo>
                      <a:close/>
                      <a:moveTo>
                        <a:pt x="46323" y="13235"/>
                      </a:moveTo>
                      <a:cubicBezTo>
                        <a:pt x="21889" y="13235"/>
                        <a:pt x="13235" y="34645"/>
                        <a:pt x="13235" y="52940"/>
                      </a:cubicBezTo>
                      <a:cubicBezTo>
                        <a:pt x="13235" y="71236"/>
                        <a:pt x="21889" y="92645"/>
                        <a:pt x="46323" y="92645"/>
                      </a:cubicBezTo>
                      <a:cubicBezTo>
                        <a:pt x="70757" y="92645"/>
                        <a:pt x="79410" y="71236"/>
                        <a:pt x="79410" y="52940"/>
                      </a:cubicBezTo>
                      <a:cubicBezTo>
                        <a:pt x="79410" y="34645"/>
                        <a:pt x="70757" y="13235"/>
                        <a:pt x="46323" y="13235"/>
                      </a:cubicBezTo>
                      <a:close/>
                    </a:path>
                  </a:pathLst>
                </a:custGeom>
                <a:grpFill/>
                <a:ln w="2991" cap="flat">
                  <a:noFill/>
                  <a:prstDash val="solid"/>
                  <a:miter/>
                </a:ln>
              </p:spPr>
              <p:txBody>
                <a:bodyPr rtlCol="0" anchor="ctr"/>
                <a:lstStyle/>
                <a:p>
                  <a:endParaRPr lang="en-GB" dirty="0"/>
                </a:p>
              </p:txBody>
            </p:sp>
          </p:grpSp>
          <p:grpSp>
            <p:nvGrpSpPr>
              <p:cNvPr id="298" name="Grafik 306">
                <a:extLst>
                  <a:ext uri="{FF2B5EF4-FFF2-40B4-BE49-F238E27FC236}">
                    <a16:creationId xmlns:a16="http://schemas.microsoft.com/office/drawing/2014/main" id="{1CD53350-D4A7-421A-8D46-FCCA442DD8D9}"/>
                  </a:ext>
                </a:extLst>
              </p:cNvPr>
              <p:cNvGrpSpPr/>
              <p:nvPr/>
            </p:nvGrpSpPr>
            <p:grpSpPr>
              <a:xfrm>
                <a:off x="3700256" y="3284910"/>
                <a:ext cx="132380" cy="191907"/>
                <a:chOff x="3700256" y="3284910"/>
                <a:chExt cx="132380" cy="191907"/>
              </a:xfrm>
              <a:grpFill/>
            </p:grpSpPr>
            <p:sp>
              <p:nvSpPr>
                <p:cNvPr id="309" name="Freihandform: Form 399">
                  <a:extLst>
                    <a:ext uri="{FF2B5EF4-FFF2-40B4-BE49-F238E27FC236}">
                      <a16:creationId xmlns:a16="http://schemas.microsoft.com/office/drawing/2014/main" id="{5803FC98-5247-46C9-AB10-EAD1AA69E04F}"/>
                    </a:ext>
                  </a:extLst>
                </p:cNvPr>
                <p:cNvSpPr/>
                <p:nvPr/>
              </p:nvSpPr>
              <p:spPr>
                <a:xfrm>
                  <a:off x="3720109" y="3404025"/>
                  <a:ext cx="112527" cy="72792"/>
                </a:xfrm>
                <a:custGeom>
                  <a:avLst/>
                  <a:gdLst>
                    <a:gd name="connsiteX0" fmla="*/ 105880 w 112527"/>
                    <a:gd name="connsiteY0" fmla="*/ 72793 h 72792"/>
                    <a:gd name="connsiteX1" fmla="*/ 99263 w 112527"/>
                    <a:gd name="connsiteY1" fmla="*/ 66175 h 72792"/>
                    <a:gd name="connsiteX2" fmla="*/ 46323 w 112527"/>
                    <a:gd name="connsiteY2" fmla="*/ 13235 h 72792"/>
                    <a:gd name="connsiteX3" fmla="*/ 6618 w 112527"/>
                    <a:gd name="connsiteY3" fmla="*/ 13235 h 72792"/>
                    <a:gd name="connsiteX4" fmla="*/ 0 w 112527"/>
                    <a:gd name="connsiteY4" fmla="*/ 6618 h 72792"/>
                    <a:gd name="connsiteX5" fmla="*/ 6618 w 112527"/>
                    <a:gd name="connsiteY5" fmla="*/ 0 h 72792"/>
                    <a:gd name="connsiteX6" fmla="*/ 46323 w 112527"/>
                    <a:gd name="connsiteY6" fmla="*/ 0 h 72792"/>
                    <a:gd name="connsiteX7" fmla="*/ 112528 w 112527"/>
                    <a:gd name="connsiteY7" fmla="*/ 66205 h 72792"/>
                    <a:gd name="connsiteX8" fmla="*/ 105880 w 112527"/>
                    <a:gd name="connsiteY8" fmla="*/ 72793 h 7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527" h="72792">
                      <a:moveTo>
                        <a:pt x="105880" y="72793"/>
                      </a:moveTo>
                      <a:cubicBezTo>
                        <a:pt x="102227" y="72793"/>
                        <a:pt x="99263" y="69828"/>
                        <a:pt x="99263" y="66175"/>
                      </a:cubicBezTo>
                      <a:cubicBezTo>
                        <a:pt x="99263" y="36980"/>
                        <a:pt x="75518" y="13235"/>
                        <a:pt x="46323" y="13235"/>
                      </a:cubicBezTo>
                      <a:lnTo>
                        <a:pt x="6618" y="13235"/>
                      </a:lnTo>
                      <a:cubicBezTo>
                        <a:pt x="2964" y="13235"/>
                        <a:pt x="0" y="10271"/>
                        <a:pt x="0" y="6618"/>
                      </a:cubicBezTo>
                      <a:cubicBezTo>
                        <a:pt x="0" y="2965"/>
                        <a:pt x="2964" y="0"/>
                        <a:pt x="6618" y="0"/>
                      </a:cubicBezTo>
                      <a:lnTo>
                        <a:pt x="46323" y="0"/>
                      </a:lnTo>
                      <a:cubicBezTo>
                        <a:pt x="82824" y="0"/>
                        <a:pt x="112528" y="29704"/>
                        <a:pt x="112528" y="66205"/>
                      </a:cubicBezTo>
                      <a:cubicBezTo>
                        <a:pt x="112498" y="69858"/>
                        <a:pt x="109533" y="72793"/>
                        <a:pt x="105880" y="72793"/>
                      </a:cubicBezTo>
                      <a:close/>
                    </a:path>
                  </a:pathLst>
                </a:custGeom>
                <a:grpFill/>
                <a:ln w="2991" cap="flat">
                  <a:noFill/>
                  <a:prstDash val="solid"/>
                  <a:miter/>
                </a:ln>
              </p:spPr>
              <p:txBody>
                <a:bodyPr rtlCol="0" anchor="ctr"/>
                <a:lstStyle/>
                <a:p>
                  <a:endParaRPr lang="en-GB" dirty="0"/>
                </a:p>
              </p:txBody>
            </p:sp>
            <p:sp>
              <p:nvSpPr>
                <p:cNvPr id="310" name="Freihandform: Form 400">
                  <a:extLst>
                    <a:ext uri="{FF2B5EF4-FFF2-40B4-BE49-F238E27FC236}">
                      <a16:creationId xmlns:a16="http://schemas.microsoft.com/office/drawing/2014/main" id="{33F78181-13F5-40F9-8E2F-3E3AF2C1CDA9}"/>
                    </a:ext>
                  </a:extLst>
                </p:cNvPr>
                <p:cNvSpPr/>
                <p:nvPr/>
              </p:nvSpPr>
              <p:spPr>
                <a:xfrm>
                  <a:off x="3700256" y="3284910"/>
                  <a:ext cx="92645" cy="105880"/>
                </a:xfrm>
                <a:custGeom>
                  <a:avLst/>
                  <a:gdLst>
                    <a:gd name="connsiteX0" fmla="*/ 46323 w 92645"/>
                    <a:gd name="connsiteY0" fmla="*/ 105880 h 105880"/>
                    <a:gd name="connsiteX1" fmla="*/ 0 w 92645"/>
                    <a:gd name="connsiteY1" fmla="*/ 52940 h 105880"/>
                    <a:gd name="connsiteX2" fmla="*/ 46323 w 92645"/>
                    <a:gd name="connsiteY2" fmla="*/ 0 h 105880"/>
                    <a:gd name="connsiteX3" fmla="*/ 92645 w 92645"/>
                    <a:gd name="connsiteY3" fmla="*/ 52940 h 105880"/>
                    <a:gd name="connsiteX4" fmla="*/ 46323 w 92645"/>
                    <a:gd name="connsiteY4" fmla="*/ 105880 h 105880"/>
                    <a:gd name="connsiteX5" fmla="*/ 46323 w 92645"/>
                    <a:gd name="connsiteY5" fmla="*/ 13205 h 105880"/>
                    <a:gd name="connsiteX6" fmla="*/ 13235 w 92645"/>
                    <a:gd name="connsiteY6" fmla="*/ 52910 h 105880"/>
                    <a:gd name="connsiteX7" fmla="*/ 46323 w 92645"/>
                    <a:gd name="connsiteY7" fmla="*/ 92615 h 105880"/>
                    <a:gd name="connsiteX8" fmla="*/ 79410 w 92645"/>
                    <a:gd name="connsiteY8" fmla="*/ 52910 h 105880"/>
                    <a:gd name="connsiteX9" fmla="*/ 46323 w 92645"/>
                    <a:gd name="connsiteY9" fmla="*/ 13205 h 1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45" h="105880">
                      <a:moveTo>
                        <a:pt x="46323" y="105880"/>
                      </a:moveTo>
                      <a:cubicBezTo>
                        <a:pt x="18625" y="105880"/>
                        <a:pt x="0" y="84590"/>
                        <a:pt x="0" y="52940"/>
                      </a:cubicBezTo>
                      <a:cubicBezTo>
                        <a:pt x="0" y="21260"/>
                        <a:pt x="18625" y="0"/>
                        <a:pt x="46323" y="0"/>
                      </a:cubicBezTo>
                      <a:cubicBezTo>
                        <a:pt x="74020" y="0"/>
                        <a:pt x="92645" y="21290"/>
                        <a:pt x="92645" y="52940"/>
                      </a:cubicBezTo>
                      <a:cubicBezTo>
                        <a:pt x="92645" y="84590"/>
                        <a:pt x="74020" y="105880"/>
                        <a:pt x="46323" y="105880"/>
                      </a:cubicBezTo>
                      <a:close/>
                      <a:moveTo>
                        <a:pt x="46323" y="13205"/>
                      </a:moveTo>
                      <a:cubicBezTo>
                        <a:pt x="21889" y="13205"/>
                        <a:pt x="13235" y="34615"/>
                        <a:pt x="13235" y="52910"/>
                      </a:cubicBezTo>
                      <a:cubicBezTo>
                        <a:pt x="13235" y="71206"/>
                        <a:pt x="21889" y="92615"/>
                        <a:pt x="46323" y="92615"/>
                      </a:cubicBezTo>
                      <a:cubicBezTo>
                        <a:pt x="70757" y="92615"/>
                        <a:pt x="79410" y="71206"/>
                        <a:pt x="79410" y="52910"/>
                      </a:cubicBezTo>
                      <a:cubicBezTo>
                        <a:pt x="79410" y="34615"/>
                        <a:pt x="70727" y="13205"/>
                        <a:pt x="46323" y="13205"/>
                      </a:cubicBezTo>
                      <a:close/>
                    </a:path>
                  </a:pathLst>
                </a:custGeom>
                <a:grpFill/>
                <a:ln w="2991" cap="flat">
                  <a:noFill/>
                  <a:prstDash val="solid"/>
                  <a:miter/>
                </a:ln>
              </p:spPr>
              <p:txBody>
                <a:bodyPr rtlCol="0" anchor="ctr"/>
                <a:lstStyle/>
                <a:p>
                  <a:endParaRPr lang="en-GB" dirty="0"/>
                </a:p>
              </p:txBody>
            </p:sp>
          </p:grpSp>
          <p:grpSp>
            <p:nvGrpSpPr>
              <p:cNvPr id="299" name="Grafik 306">
                <a:extLst>
                  <a:ext uri="{FF2B5EF4-FFF2-40B4-BE49-F238E27FC236}">
                    <a16:creationId xmlns:a16="http://schemas.microsoft.com/office/drawing/2014/main" id="{DD669562-96C2-4FC2-8CCE-129386A3CAAF}"/>
                  </a:ext>
                </a:extLst>
              </p:cNvPr>
              <p:cNvGrpSpPr/>
              <p:nvPr/>
            </p:nvGrpSpPr>
            <p:grpSpPr>
              <a:xfrm>
                <a:off x="3448701" y="3284910"/>
                <a:ext cx="132380" cy="191907"/>
                <a:chOff x="3448701" y="3284910"/>
                <a:chExt cx="132380" cy="191907"/>
              </a:xfrm>
              <a:grpFill/>
            </p:grpSpPr>
            <p:sp>
              <p:nvSpPr>
                <p:cNvPr id="307" name="Freihandform: Form 402">
                  <a:extLst>
                    <a:ext uri="{FF2B5EF4-FFF2-40B4-BE49-F238E27FC236}">
                      <a16:creationId xmlns:a16="http://schemas.microsoft.com/office/drawing/2014/main" id="{D0278522-ACF1-4AA1-93D7-76965B58573F}"/>
                    </a:ext>
                  </a:extLst>
                </p:cNvPr>
                <p:cNvSpPr/>
                <p:nvPr/>
              </p:nvSpPr>
              <p:spPr>
                <a:xfrm>
                  <a:off x="3448701" y="3403996"/>
                  <a:ext cx="112527" cy="72822"/>
                </a:xfrm>
                <a:custGeom>
                  <a:avLst/>
                  <a:gdLst>
                    <a:gd name="connsiteX0" fmla="*/ 6618 w 112527"/>
                    <a:gd name="connsiteY0" fmla="*/ 72822 h 72822"/>
                    <a:gd name="connsiteX1" fmla="*/ 0 w 112527"/>
                    <a:gd name="connsiteY1" fmla="*/ 66205 h 72822"/>
                    <a:gd name="connsiteX2" fmla="*/ 66205 w 112527"/>
                    <a:gd name="connsiteY2" fmla="*/ 0 h 72822"/>
                    <a:gd name="connsiteX3" fmla="*/ 105910 w 112527"/>
                    <a:gd name="connsiteY3" fmla="*/ 0 h 72822"/>
                    <a:gd name="connsiteX4" fmla="*/ 112528 w 112527"/>
                    <a:gd name="connsiteY4" fmla="*/ 6617 h 72822"/>
                    <a:gd name="connsiteX5" fmla="*/ 105910 w 112527"/>
                    <a:gd name="connsiteY5" fmla="*/ 13235 h 72822"/>
                    <a:gd name="connsiteX6" fmla="*/ 66205 w 112527"/>
                    <a:gd name="connsiteY6" fmla="*/ 13235 h 72822"/>
                    <a:gd name="connsiteX7" fmla="*/ 13265 w 112527"/>
                    <a:gd name="connsiteY7" fmla="*/ 66175 h 72822"/>
                    <a:gd name="connsiteX8" fmla="*/ 6618 w 112527"/>
                    <a:gd name="connsiteY8" fmla="*/ 72822 h 7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527" h="72822">
                      <a:moveTo>
                        <a:pt x="6618" y="72822"/>
                      </a:moveTo>
                      <a:cubicBezTo>
                        <a:pt x="2965" y="72822"/>
                        <a:pt x="0" y="69858"/>
                        <a:pt x="0" y="66205"/>
                      </a:cubicBezTo>
                      <a:cubicBezTo>
                        <a:pt x="0" y="29704"/>
                        <a:pt x="29704" y="0"/>
                        <a:pt x="66205" y="0"/>
                      </a:cubicBezTo>
                      <a:lnTo>
                        <a:pt x="105910" y="0"/>
                      </a:lnTo>
                      <a:cubicBezTo>
                        <a:pt x="109563" y="0"/>
                        <a:pt x="112528" y="2964"/>
                        <a:pt x="112528" y="6617"/>
                      </a:cubicBezTo>
                      <a:cubicBezTo>
                        <a:pt x="112528" y="10271"/>
                        <a:pt x="109563" y="13235"/>
                        <a:pt x="105910" y="13235"/>
                      </a:cubicBezTo>
                      <a:lnTo>
                        <a:pt x="66205" y="13235"/>
                      </a:lnTo>
                      <a:cubicBezTo>
                        <a:pt x="37010" y="13235"/>
                        <a:pt x="13265" y="36980"/>
                        <a:pt x="13265" y="66175"/>
                      </a:cubicBezTo>
                      <a:cubicBezTo>
                        <a:pt x="13235" y="69888"/>
                        <a:pt x="10271" y="72822"/>
                        <a:pt x="6618" y="72822"/>
                      </a:cubicBezTo>
                      <a:close/>
                    </a:path>
                  </a:pathLst>
                </a:custGeom>
                <a:grpFill/>
                <a:ln w="2991" cap="flat">
                  <a:noFill/>
                  <a:prstDash val="solid"/>
                  <a:miter/>
                </a:ln>
              </p:spPr>
              <p:txBody>
                <a:bodyPr rtlCol="0" anchor="ctr"/>
                <a:lstStyle/>
                <a:p>
                  <a:endParaRPr lang="en-GB" dirty="0"/>
                </a:p>
              </p:txBody>
            </p:sp>
            <p:sp>
              <p:nvSpPr>
                <p:cNvPr id="308" name="Freihandform: Form 403">
                  <a:extLst>
                    <a:ext uri="{FF2B5EF4-FFF2-40B4-BE49-F238E27FC236}">
                      <a16:creationId xmlns:a16="http://schemas.microsoft.com/office/drawing/2014/main" id="{0C0BFADD-33DE-40CB-9009-149DFF85539D}"/>
                    </a:ext>
                  </a:extLst>
                </p:cNvPr>
                <p:cNvSpPr/>
                <p:nvPr/>
              </p:nvSpPr>
              <p:spPr>
                <a:xfrm>
                  <a:off x="3488436" y="3284910"/>
                  <a:ext cx="92645" cy="105880"/>
                </a:xfrm>
                <a:custGeom>
                  <a:avLst/>
                  <a:gdLst>
                    <a:gd name="connsiteX0" fmla="*/ 46323 w 92645"/>
                    <a:gd name="connsiteY0" fmla="*/ 105880 h 105880"/>
                    <a:gd name="connsiteX1" fmla="*/ 0 w 92645"/>
                    <a:gd name="connsiteY1" fmla="*/ 52940 h 105880"/>
                    <a:gd name="connsiteX2" fmla="*/ 46323 w 92645"/>
                    <a:gd name="connsiteY2" fmla="*/ 0 h 105880"/>
                    <a:gd name="connsiteX3" fmla="*/ 92645 w 92645"/>
                    <a:gd name="connsiteY3" fmla="*/ 52940 h 105880"/>
                    <a:gd name="connsiteX4" fmla="*/ 46323 w 92645"/>
                    <a:gd name="connsiteY4" fmla="*/ 105880 h 105880"/>
                    <a:gd name="connsiteX5" fmla="*/ 46323 w 92645"/>
                    <a:gd name="connsiteY5" fmla="*/ 13205 h 105880"/>
                    <a:gd name="connsiteX6" fmla="*/ 13235 w 92645"/>
                    <a:gd name="connsiteY6" fmla="*/ 52910 h 105880"/>
                    <a:gd name="connsiteX7" fmla="*/ 46323 w 92645"/>
                    <a:gd name="connsiteY7" fmla="*/ 92615 h 105880"/>
                    <a:gd name="connsiteX8" fmla="*/ 79410 w 92645"/>
                    <a:gd name="connsiteY8" fmla="*/ 52910 h 105880"/>
                    <a:gd name="connsiteX9" fmla="*/ 46323 w 92645"/>
                    <a:gd name="connsiteY9" fmla="*/ 13205 h 1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45" h="105880">
                      <a:moveTo>
                        <a:pt x="46323" y="105880"/>
                      </a:moveTo>
                      <a:cubicBezTo>
                        <a:pt x="18625" y="105880"/>
                        <a:pt x="0" y="84590"/>
                        <a:pt x="0" y="52940"/>
                      </a:cubicBezTo>
                      <a:cubicBezTo>
                        <a:pt x="0" y="21260"/>
                        <a:pt x="18625" y="0"/>
                        <a:pt x="46323" y="0"/>
                      </a:cubicBezTo>
                      <a:cubicBezTo>
                        <a:pt x="74020" y="0"/>
                        <a:pt x="92645" y="21290"/>
                        <a:pt x="92645" y="52940"/>
                      </a:cubicBezTo>
                      <a:cubicBezTo>
                        <a:pt x="92645" y="84590"/>
                        <a:pt x="74020" y="105880"/>
                        <a:pt x="46323" y="105880"/>
                      </a:cubicBezTo>
                      <a:close/>
                      <a:moveTo>
                        <a:pt x="46323" y="13205"/>
                      </a:moveTo>
                      <a:cubicBezTo>
                        <a:pt x="21889" y="13205"/>
                        <a:pt x="13235" y="34615"/>
                        <a:pt x="13235" y="52910"/>
                      </a:cubicBezTo>
                      <a:cubicBezTo>
                        <a:pt x="13235" y="71206"/>
                        <a:pt x="21889" y="92615"/>
                        <a:pt x="46323" y="92615"/>
                      </a:cubicBezTo>
                      <a:cubicBezTo>
                        <a:pt x="70757" y="92615"/>
                        <a:pt x="79410" y="71206"/>
                        <a:pt x="79410" y="52910"/>
                      </a:cubicBezTo>
                      <a:cubicBezTo>
                        <a:pt x="79410" y="34615"/>
                        <a:pt x="70757" y="13205"/>
                        <a:pt x="46323" y="13205"/>
                      </a:cubicBezTo>
                      <a:close/>
                    </a:path>
                  </a:pathLst>
                </a:custGeom>
                <a:grpFill/>
                <a:ln w="2991" cap="flat">
                  <a:noFill/>
                  <a:prstDash val="solid"/>
                  <a:miter/>
                </a:ln>
              </p:spPr>
              <p:txBody>
                <a:bodyPr rtlCol="0" anchor="ctr"/>
                <a:lstStyle/>
                <a:p>
                  <a:endParaRPr lang="en-GB" dirty="0"/>
                </a:p>
              </p:txBody>
            </p:sp>
          </p:grpSp>
          <p:grpSp>
            <p:nvGrpSpPr>
              <p:cNvPr id="300" name="Grafik 306">
                <a:extLst>
                  <a:ext uri="{FF2B5EF4-FFF2-40B4-BE49-F238E27FC236}">
                    <a16:creationId xmlns:a16="http://schemas.microsoft.com/office/drawing/2014/main" id="{57E6CC30-78B9-4A04-AC1E-6F0DC73BE6E5}"/>
                  </a:ext>
                </a:extLst>
              </p:cNvPr>
              <p:cNvGrpSpPr/>
              <p:nvPr/>
            </p:nvGrpSpPr>
            <p:grpSpPr>
              <a:xfrm>
                <a:off x="3395761" y="3483466"/>
                <a:ext cx="172115" cy="191937"/>
                <a:chOff x="3395761" y="3483466"/>
                <a:chExt cx="172115" cy="191937"/>
              </a:xfrm>
              <a:grpFill/>
            </p:grpSpPr>
            <p:sp>
              <p:nvSpPr>
                <p:cNvPr id="305" name="Freihandform: Form 405">
                  <a:extLst>
                    <a:ext uri="{FF2B5EF4-FFF2-40B4-BE49-F238E27FC236}">
                      <a16:creationId xmlns:a16="http://schemas.microsoft.com/office/drawing/2014/main" id="{4E44B730-47F5-4FEA-AD34-9C2349D12903}"/>
                    </a:ext>
                  </a:extLst>
                </p:cNvPr>
                <p:cNvSpPr/>
                <p:nvPr/>
              </p:nvSpPr>
              <p:spPr>
                <a:xfrm>
                  <a:off x="3395761" y="3602581"/>
                  <a:ext cx="172115" cy="72822"/>
                </a:xfrm>
                <a:custGeom>
                  <a:avLst/>
                  <a:gdLst>
                    <a:gd name="connsiteX0" fmla="*/ 165468 w 172115"/>
                    <a:gd name="connsiteY0" fmla="*/ 72823 h 72822"/>
                    <a:gd name="connsiteX1" fmla="*/ 6618 w 172115"/>
                    <a:gd name="connsiteY1" fmla="*/ 72823 h 72822"/>
                    <a:gd name="connsiteX2" fmla="*/ 0 w 172115"/>
                    <a:gd name="connsiteY2" fmla="*/ 66205 h 72822"/>
                    <a:gd name="connsiteX3" fmla="*/ 66205 w 172115"/>
                    <a:gd name="connsiteY3" fmla="*/ 0 h 72822"/>
                    <a:gd name="connsiteX4" fmla="*/ 105910 w 172115"/>
                    <a:gd name="connsiteY4" fmla="*/ 0 h 72822"/>
                    <a:gd name="connsiteX5" fmla="*/ 172116 w 172115"/>
                    <a:gd name="connsiteY5" fmla="*/ 66205 h 72822"/>
                    <a:gd name="connsiteX6" fmla="*/ 165468 w 172115"/>
                    <a:gd name="connsiteY6" fmla="*/ 72823 h 72822"/>
                    <a:gd name="connsiteX7" fmla="*/ 13654 w 172115"/>
                    <a:gd name="connsiteY7" fmla="*/ 59588 h 72822"/>
                    <a:gd name="connsiteX8" fmla="*/ 158461 w 172115"/>
                    <a:gd name="connsiteY8" fmla="*/ 59588 h 72822"/>
                    <a:gd name="connsiteX9" fmla="*/ 105910 w 172115"/>
                    <a:gd name="connsiteY9" fmla="*/ 13265 h 72822"/>
                    <a:gd name="connsiteX10" fmla="*/ 66205 w 172115"/>
                    <a:gd name="connsiteY10" fmla="*/ 13265 h 72822"/>
                    <a:gd name="connsiteX11" fmla="*/ 13654 w 172115"/>
                    <a:gd name="connsiteY11" fmla="*/ 59588 h 7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115" h="72822">
                      <a:moveTo>
                        <a:pt x="165468" y="72823"/>
                      </a:moveTo>
                      <a:lnTo>
                        <a:pt x="6618" y="72823"/>
                      </a:lnTo>
                      <a:cubicBezTo>
                        <a:pt x="2964" y="72823"/>
                        <a:pt x="0" y="69858"/>
                        <a:pt x="0" y="66205"/>
                      </a:cubicBezTo>
                      <a:cubicBezTo>
                        <a:pt x="0" y="29704"/>
                        <a:pt x="29704" y="0"/>
                        <a:pt x="66205" y="0"/>
                      </a:cubicBezTo>
                      <a:lnTo>
                        <a:pt x="105910" y="0"/>
                      </a:lnTo>
                      <a:cubicBezTo>
                        <a:pt x="142411" y="0"/>
                        <a:pt x="172116" y="29704"/>
                        <a:pt x="172116" y="66205"/>
                      </a:cubicBezTo>
                      <a:cubicBezTo>
                        <a:pt x="172086" y="69858"/>
                        <a:pt x="169121" y="72823"/>
                        <a:pt x="165468" y="72823"/>
                      </a:cubicBezTo>
                      <a:close/>
                      <a:moveTo>
                        <a:pt x="13654" y="59588"/>
                      </a:moveTo>
                      <a:lnTo>
                        <a:pt x="158461" y="59588"/>
                      </a:lnTo>
                      <a:cubicBezTo>
                        <a:pt x="155197" y="33507"/>
                        <a:pt x="132889" y="13265"/>
                        <a:pt x="105910" y="13265"/>
                      </a:cubicBezTo>
                      <a:lnTo>
                        <a:pt x="66205" y="13265"/>
                      </a:lnTo>
                      <a:cubicBezTo>
                        <a:pt x="39226" y="13265"/>
                        <a:pt x="16918" y="33507"/>
                        <a:pt x="13654" y="59588"/>
                      </a:cubicBezTo>
                      <a:close/>
                    </a:path>
                  </a:pathLst>
                </a:custGeom>
                <a:grpFill/>
                <a:ln w="2991" cap="flat">
                  <a:noFill/>
                  <a:prstDash val="solid"/>
                  <a:miter/>
                </a:ln>
              </p:spPr>
              <p:txBody>
                <a:bodyPr rtlCol="0" anchor="ctr"/>
                <a:lstStyle/>
                <a:p>
                  <a:endParaRPr lang="en-GB" dirty="0"/>
                </a:p>
              </p:txBody>
            </p:sp>
            <p:sp>
              <p:nvSpPr>
                <p:cNvPr id="306" name="Freihandform: Form 406">
                  <a:extLst>
                    <a:ext uri="{FF2B5EF4-FFF2-40B4-BE49-F238E27FC236}">
                      <a16:creationId xmlns:a16="http://schemas.microsoft.com/office/drawing/2014/main" id="{F9DDFF1A-40FF-461A-B5CB-F7EF3AE77F8C}"/>
                    </a:ext>
                  </a:extLst>
                </p:cNvPr>
                <p:cNvSpPr/>
                <p:nvPr/>
              </p:nvSpPr>
              <p:spPr>
                <a:xfrm>
                  <a:off x="3435466" y="3483466"/>
                  <a:ext cx="92645" cy="105880"/>
                </a:xfrm>
                <a:custGeom>
                  <a:avLst/>
                  <a:gdLst>
                    <a:gd name="connsiteX0" fmla="*/ 46323 w 92645"/>
                    <a:gd name="connsiteY0" fmla="*/ 105880 h 105880"/>
                    <a:gd name="connsiteX1" fmla="*/ 0 w 92645"/>
                    <a:gd name="connsiteY1" fmla="*/ 52940 h 105880"/>
                    <a:gd name="connsiteX2" fmla="*/ 46323 w 92645"/>
                    <a:gd name="connsiteY2" fmla="*/ 0 h 105880"/>
                    <a:gd name="connsiteX3" fmla="*/ 92645 w 92645"/>
                    <a:gd name="connsiteY3" fmla="*/ 52940 h 105880"/>
                    <a:gd name="connsiteX4" fmla="*/ 46323 w 92645"/>
                    <a:gd name="connsiteY4" fmla="*/ 105880 h 105880"/>
                    <a:gd name="connsiteX5" fmla="*/ 46323 w 92645"/>
                    <a:gd name="connsiteY5" fmla="*/ 13235 h 105880"/>
                    <a:gd name="connsiteX6" fmla="*/ 13235 w 92645"/>
                    <a:gd name="connsiteY6" fmla="*/ 52940 h 105880"/>
                    <a:gd name="connsiteX7" fmla="*/ 46323 w 92645"/>
                    <a:gd name="connsiteY7" fmla="*/ 92645 h 105880"/>
                    <a:gd name="connsiteX8" fmla="*/ 79410 w 92645"/>
                    <a:gd name="connsiteY8" fmla="*/ 52940 h 105880"/>
                    <a:gd name="connsiteX9" fmla="*/ 46323 w 92645"/>
                    <a:gd name="connsiteY9" fmla="*/ 13235 h 1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45" h="105880">
                      <a:moveTo>
                        <a:pt x="46323" y="105880"/>
                      </a:moveTo>
                      <a:cubicBezTo>
                        <a:pt x="18625" y="105880"/>
                        <a:pt x="0" y="84590"/>
                        <a:pt x="0" y="52940"/>
                      </a:cubicBezTo>
                      <a:cubicBezTo>
                        <a:pt x="0" y="21260"/>
                        <a:pt x="18625" y="0"/>
                        <a:pt x="46323" y="0"/>
                      </a:cubicBezTo>
                      <a:cubicBezTo>
                        <a:pt x="74020" y="0"/>
                        <a:pt x="92645" y="21290"/>
                        <a:pt x="92645" y="52940"/>
                      </a:cubicBezTo>
                      <a:cubicBezTo>
                        <a:pt x="92675" y="84620"/>
                        <a:pt x="74050" y="105880"/>
                        <a:pt x="46323" y="105880"/>
                      </a:cubicBezTo>
                      <a:close/>
                      <a:moveTo>
                        <a:pt x="46323" y="13235"/>
                      </a:moveTo>
                      <a:cubicBezTo>
                        <a:pt x="21889" y="13235"/>
                        <a:pt x="13235" y="34645"/>
                        <a:pt x="13235" y="52940"/>
                      </a:cubicBezTo>
                      <a:cubicBezTo>
                        <a:pt x="13235" y="71236"/>
                        <a:pt x="21889" y="92645"/>
                        <a:pt x="46323" y="92645"/>
                      </a:cubicBezTo>
                      <a:cubicBezTo>
                        <a:pt x="70757" y="92645"/>
                        <a:pt x="79410" y="71236"/>
                        <a:pt x="79410" y="52940"/>
                      </a:cubicBezTo>
                      <a:cubicBezTo>
                        <a:pt x="79410" y="34645"/>
                        <a:pt x="70757" y="13235"/>
                        <a:pt x="46323" y="13235"/>
                      </a:cubicBezTo>
                      <a:close/>
                    </a:path>
                  </a:pathLst>
                </a:custGeom>
                <a:grpFill/>
                <a:ln w="2991" cap="flat">
                  <a:noFill/>
                  <a:prstDash val="solid"/>
                  <a:miter/>
                </a:ln>
              </p:spPr>
              <p:txBody>
                <a:bodyPr rtlCol="0" anchor="ctr"/>
                <a:lstStyle/>
                <a:p>
                  <a:endParaRPr lang="en-GB" dirty="0"/>
                </a:p>
              </p:txBody>
            </p:sp>
          </p:grpSp>
          <p:grpSp>
            <p:nvGrpSpPr>
              <p:cNvPr id="301" name="Grafik 306">
                <a:extLst>
                  <a:ext uri="{FF2B5EF4-FFF2-40B4-BE49-F238E27FC236}">
                    <a16:creationId xmlns:a16="http://schemas.microsoft.com/office/drawing/2014/main" id="{8E460BEB-5086-4CE1-BD3A-026862DC8CA3}"/>
                  </a:ext>
                </a:extLst>
              </p:cNvPr>
              <p:cNvGrpSpPr/>
              <p:nvPr/>
            </p:nvGrpSpPr>
            <p:grpSpPr>
              <a:xfrm>
                <a:off x="3554611" y="3450378"/>
                <a:ext cx="172085" cy="225025"/>
                <a:chOff x="3554611" y="3450378"/>
                <a:chExt cx="172085" cy="225025"/>
              </a:xfrm>
              <a:grpFill/>
            </p:grpSpPr>
            <p:sp>
              <p:nvSpPr>
                <p:cNvPr id="302" name="Freihandform: Form 408">
                  <a:extLst>
                    <a:ext uri="{FF2B5EF4-FFF2-40B4-BE49-F238E27FC236}">
                      <a16:creationId xmlns:a16="http://schemas.microsoft.com/office/drawing/2014/main" id="{70F51BD5-BC0E-4842-B37F-8F81B016BA0F}"/>
                    </a:ext>
                  </a:extLst>
                </p:cNvPr>
                <p:cNvSpPr/>
                <p:nvPr/>
              </p:nvSpPr>
              <p:spPr>
                <a:xfrm>
                  <a:off x="3554611" y="3597942"/>
                  <a:ext cx="172085" cy="77461"/>
                </a:xfrm>
                <a:custGeom>
                  <a:avLst/>
                  <a:gdLst>
                    <a:gd name="connsiteX0" fmla="*/ 165468 w 172085"/>
                    <a:gd name="connsiteY0" fmla="*/ 77461 h 77461"/>
                    <a:gd name="connsiteX1" fmla="*/ 6618 w 172085"/>
                    <a:gd name="connsiteY1" fmla="*/ 77461 h 77461"/>
                    <a:gd name="connsiteX2" fmla="*/ 0 w 172085"/>
                    <a:gd name="connsiteY2" fmla="*/ 70844 h 77461"/>
                    <a:gd name="connsiteX3" fmla="*/ 0 w 172085"/>
                    <a:gd name="connsiteY3" fmla="*/ 37756 h 77461"/>
                    <a:gd name="connsiteX4" fmla="*/ 9941 w 172085"/>
                    <a:gd name="connsiteY4" fmla="*/ 3171 h 77461"/>
                    <a:gd name="connsiteX5" fmla="*/ 19134 w 172085"/>
                    <a:gd name="connsiteY5" fmla="*/ 1375 h 77461"/>
                    <a:gd name="connsiteX6" fmla="*/ 20931 w 172085"/>
                    <a:gd name="connsiteY6" fmla="*/ 10567 h 77461"/>
                    <a:gd name="connsiteX7" fmla="*/ 13235 w 172085"/>
                    <a:gd name="connsiteY7" fmla="*/ 37756 h 77461"/>
                    <a:gd name="connsiteX8" fmla="*/ 13235 w 172085"/>
                    <a:gd name="connsiteY8" fmla="*/ 64226 h 77461"/>
                    <a:gd name="connsiteX9" fmla="*/ 158851 w 172085"/>
                    <a:gd name="connsiteY9" fmla="*/ 64226 h 77461"/>
                    <a:gd name="connsiteX10" fmla="*/ 158851 w 172085"/>
                    <a:gd name="connsiteY10" fmla="*/ 37756 h 77461"/>
                    <a:gd name="connsiteX11" fmla="*/ 150706 w 172085"/>
                    <a:gd name="connsiteY11" fmla="*/ 10447 h 77461"/>
                    <a:gd name="connsiteX12" fmla="*/ 152263 w 172085"/>
                    <a:gd name="connsiteY12" fmla="*/ 1225 h 77461"/>
                    <a:gd name="connsiteX13" fmla="*/ 161486 w 172085"/>
                    <a:gd name="connsiteY13" fmla="*/ 2782 h 77461"/>
                    <a:gd name="connsiteX14" fmla="*/ 172086 w 172085"/>
                    <a:gd name="connsiteY14" fmla="*/ 37786 h 77461"/>
                    <a:gd name="connsiteX15" fmla="*/ 172086 w 172085"/>
                    <a:gd name="connsiteY15" fmla="*/ 70873 h 77461"/>
                    <a:gd name="connsiteX16" fmla="*/ 165468 w 172085"/>
                    <a:gd name="connsiteY16" fmla="*/ 77461 h 7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085" h="77461">
                      <a:moveTo>
                        <a:pt x="165468" y="77461"/>
                      </a:moveTo>
                      <a:lnTo>
                        <a:pt x="6618" y="77461"/>
                      </a:lnTo>
                      <a:cubicBezTo>
                        <a:pt x="2965" y="77461"/>
                        <a:pt x="0" y="74497"/>
                        <a:pt x="0" y="70844"/>
                      </a:cubicBezTo>
                      <a:lnTo>
                        <a:pt x="0" y="37756"/>
                      </a:lnTo>
                      <a:cubicBezTo>
                        <a:pt x="0" y="23892"/>
                        <a:pt x="2965" y="13562"/>
                        <a:pt x="9941" y="3171"/>
                      </a:cubicBezTo>
                      <a:cubicBezTo>
                        <a:pt x="11977" y="147"/>
                        <a:pt x="16080" y="-691"/>
                        <a:pt x="19134" y="1375"/>
                      </a:cubicBezTo>
                      <a:cubicBezTo>
                        <a:pt x="22158" y="3411"/>
                        <a:pt x="22967" y="7513"/>
                        <a:pt x="20931" y="10567"/>
                      </a:cubicBezTo>
                      <a:cubicBezTo>
                        <a:pt x="15451" y="18712"/>
                        <a:pt x="13235" y="26587"/>
                        <a:pt x="13235" y="37756"/>
                      </a:cubicBezTo>
                      <a:lnTo>
                        <a:pt x="13235" y="64226"/>
                      </a:lnTo>
                      <a:lnTo>
                        <a:pt x="158851" y="64226"/>
                      </a:lnTo>
                      <a:lnTo>
                        <a:pt x="158851" y="37756"/>
                      </a:lnTo>
                      <a:cubicBezTo>
                        <a:pt x="158851" y="26048"/>
                        <a:pt x="156725" y="18892"/>
                        <a:pt x="150706" y="10447"/>
                      </a:cubicBezTo>
                      <a:cubicBezTo>
                        <a:pt x="148580" y="7453"/>
                        <a:pt x="149269" y="3351"/>
                        <a:pt x="152263" y="1225"/>
                      </a:cubicBezTo>
                      <a:cubicBezTo>
                        <a:pt x="155257" y="-901"/>
                        <a:pt x="159390" y="-182"/>
                        <a:pt x="161486" y="2782"/>
                      </a:cubicBezTo>
                      <a:cubicBezTo>
                        <a:pt x="169121" y="13502"/>
                        <a:pt x="172086" y="23323"/>
                        <a:pt x="172086" y="37786"/>
                      </a:cubicBezTo>
                      <a:lnTo>
                        <a:pt x="172086" y="70873"/>
                      </a:lnTo>
                      <a:cubicBezTo>
                        <a:pt x="172086" y="74497"/>
                        <a:pt x="169121" y="77461"/>
                        <a:pt x="165468" y="77461"/>
                      </a:cubicBezTo>
                      <a:close/>
                    </a:path>
                  </a:pathLst>
                </a:custGeom>
                <a:grpFill/>
                <a:ln w="2991" cap="flat">
                  <a:noFill/>
                  <a:prstDash val="solid"/>
                  <a:miter/>
                </a:ln>
              </p:spPr>
              <p:txBody>
                <a:bodyPr rtlCol="0" anchor="ctr"/>
                <a:lstStyle/>
                <a:p>
                  <a:endParaRPr lang="en-GB" dirty="0"/>
                </a:p>
              </p:txBody>
            </p:sp>
            <p:sp>
              <p:nvSpPr>
                <p:cNvPr id="303" name="Freihandform: Form 409">
                  <a:extLst>
                    <a:ext uri="{FF2B5EF4-FFF2-40B4-BE49-F238E27FC236}">
                      <a16:creationId xmlns:a16="http://schemas.microsoft.com/office/drawing/2014/main" id="{1DFE1BB5-3454-428D-BDF4-2ACEE909C7A5}"/>
                    </a:ext>
                  </a:extLst>
                </p:cNvPr>
                <p:cNvSpPr/>
                <p:nvPr/>
              </p:nvSpPr>
              <p:spPr>
                <a:xfrm>
                  <a:off x="3581458" y="3569493"/>
                  <a:ext cx="117691" cy="23026"/>
                </a:xfrm>
                <a:custGeom>
                  <a:avLst/>
                  <a:gdLst>
                    <a:gd name="connsiteX0" fmla="*/ 6630 w 117691"/>
                    <a:gd name="connsiteY0" fmla="*/ 23027 h 23026"/>
                    <a:gd name="connsiteX1" fmla="*/ 1090 w 117691"/>
                    <a:gd name="connsiteY1" fmla="*/ 20062 h 23026"/>
                    <a:gd name="connsiteX2" fmla="*/ 2977 w 117691"/>
                    <a:gd name="connsiteY2" fmla="*/ 10899 h 23026"/>
                    <a:gd name="connsiteX3" fmla="*/ 39358 w 117691"/>
                    <a:gd name="connsiteY3" fmla="*/ 0 h 23026"/>
                    <a:gd name="connsiteX4" fmla="*/ 79064 w 117691"/>
                    <a:gd name="connsiteY4" fmla="*/ 0 h 23026"/>
                    <a:gd name="connsiteX5" fmla="*/ 114636 w 117691"/>
                    <a:gd name="connsiteY5" fmla="*/ 10361 h 23026"/>
                    <a:gd name="connsiteX6" fmla="*/ 116643 w 117691"/>
                    <a:gd name="connsiteY6" fmla="*/ 19493 h 23026"/>
                    <a:gd name="connsiteX7" fmla="*/ 107510 w 117691"/>
                    <a:gd name="connsiteY7" fmla="*/ 21499 h 23026"/>
                    <a:gd name="connsiteX8" fmla="*/ 79064 w 117691"/>
                    <a:gd name="connsiteY8" fmla="*/ 13205 h 23026"/>
                    <a:gd name="connsiteX9" fmla="*/ 39358 w 117691"/>
                    <a:gd name="connsiteY9" fmla="*/ 13205 h 23026"/>
                    <a:gd name="connsiteX10" fmla="*/ 10283 w 117691"/>
                    <a:gd name="connsiteY10" fmla="*/ 21919 h 23026"/>
                    <a:gd name="connsiteX11" fmla="*/ 6630 w 117691"/>
                    <a:gd name="connsiteY11" fmla="*/ 23027 h 2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691" h="23026">
                      <a:moveTo>
                        <a:pt x="6630" y="23027"/>
                      </a:moveTo>
                      <a:cubicBezTo>
                        <a:pt x="4474" y="23027"/>
                        <a:pt x="2378" y="21979"/>
                        <a:pt x="1090" y="20062"/>
                      </a:cubicBezTo>
                      <a:cubicBezTo>
                        <a:pt x="-916" y="17008"/>
                        <a:pt x="-77" y="12906"/>
                        <a:pt x="2977" y="10899"/>
                      </a:cubicBezTo>
                      <a:cubicBezTo>
                        <a:pt x="13787" y="3773"/>
                        <a:pt x="26363" y="0"/>
                        <a:pt x="39358" y="0"/>
                      </a:cubicBezTo>
                      <a:lnTo>
                        <a:pt x="79064" y="0"/>
                      </a:lnTo>
                      <a:cubicBezTo>
                        <a:pt x="91730" y="0"/>
                        <a:pt x="104006" y="3593"/>
                        <a:pt x="114636" y="10361"/>
                      </a:cubicBezTo>
                      <a:cubicBezTo>
                        <a:pt x="117721" y="12337"/>
                        <a:pt x="118619" y="16409"/>
                        <a:pt x="116643" y="19493"/>
                      </a:cubicBezTo>
                      <a:cubicBezTo>
                        <a:pt x="114666" y="22578"/>
                        <a:pt x="110594" y="23476"/>
                        <a:pt x="107510" y="21499"/>
                      </a:cubicBezTo>
                      <a:cubicBezTo>
                        <a:pt x="99036" y="16080"/>
                        <a:pt x="89184" y="13205"/>
                        <a:pt x="79064" y="13205"/>
                      </a:cubicBezTo>
                      <a:lnTo>
                        <a:pt x="39358" y="13205"/>
                      </a:lnTo>
                      <a:cubicBezTo>
                        <a:pt x="28968" y="13205"/>
                        <a:pt x="18907" y="16200"/>
                        <a:pt x="10283" y="21919"/>
                      </a:cubicBezTo>
                      <a:cubicBezTo>
                        <a:pt x="9115" y="22667"/>
                        <a:pt x="7858" y="23027"/>
                        <a:pt x="6630" y="23027"/>
                      </a:cubicBezTo>
                      <a:close/>
                    </a:path>
                  </a:pathLst>
                </a:custGeom>
                <a:grpFill/>
                <a:ln w="2991" cap="flat">
                  <a:noFill/>
                  <a:prstDash val="solid"/>
                  <a:miter/>
                </a:ln>
              </p:spPr>
              <p:txBody>
                <a:bodyPr rtlCol="0" anchor="ctr"/>
                <a:lstStyle/>
                <a:p>
                  <a:endParaRPr lang="en-GB" dirty="0"/>
                </a:p>
              </p:txBody>
            </p:sp>
            <p:sp>
              <p:nvSpPr>
                <p:cNvPr id="304" name="Freihandform: Form 410">
                  <a:extLst>
                    <a:ext uri="{FF2B5EF4-FFF2-40B4-BE49-F238E27FC236}">
                      <a16:creationId xmlns:a16="http://schemas.microsoft.com/office/drawing/2014/main" id="{4A7B228A-28C7-462A-A9AA-AB0A194078C1}"/>
                    </a:ext>
                  </a:extLst>
                </p:cNvPr>
                <p:cNvSpPr/>
                <p:nvPr/>
              </p:nvSpPr>
              <p:spPr>
                <a:xfrm>
                  <a:off x="3594346" y="3450378"/>
                  <a:ext cx="92645" cy="105880"/>
                </a:xfrm>
                <a:custGeom>
                  <a:avLst/>
                  <a:gdLst>
                    <a:gd name="connsiteX0" fmla="*/ 46323 w 92645"/>
                    <a:gd name="connsiteY0" fmla="*/ 105880 h 105880"/>
                    <a:gd name="connsiteX1" fmla="*/ 0 w 92645"/>
                    <a:gd name="connsiteY1" fmla="*/ 52940 h 105880"/>
                    <a:gd name="connsiteX2" fmla="*/ 46323 w 92645"/>
                    <a:gd name="connsiteY2" fmla="*/ 0 h 105880"/>
                    <a:gd name="connsiteX3" fmla="*/ 92645 w 92645"/>
                    <a:gd name="connsiteY3" fmla="*/ 52940 h 105880"/>
                    <a:gd name="connsiteX4" fmla="*/ 46323 w 92645"/>
                    <a:gd name="connsiteY4" fmla="*/ 105880 h 105880"/>
                    <a:gd name="connsiteX5" fmla="*/ 46323 w 92645"/>
                    <a:gd name="connsiteY5" fmla="*/ 13205 h 105880"/>
                    <a:gd name="connsiteX6" fmla="*/ 13235 w 92645"/>
                    <a:gd name="connsiteY6" fmla="*/ 52910 h 105880"/>
                    <a:gd name="connsiteX7" fmla="*/ 46323 w 92645"/>
                    <a:gd name="connsiteY7" fmla="*/ 92615 h 105880"/>
                    <a:gd name="connsiteX8" fmla="*/ 79410 w 92645"/>
                    <a:gd name="connsiteY8" fmla="*/ 52910 h 105880"/>
                    <a:gd name="connsiteX9" fmla="*/ 46323 w 92645"/>
                    <a:gd name="connsiteY9" fmla="*/ 13205 h 1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45" h="105880">
                      <a:moveTo>
                        <a:pt x="46323" y="105880"/>
                      </a:moveTo>
                      <a:cubicBezTo>
                        <a:pt x="18625" y="105880"/>
                        <a:pt x="0" y="84590"/>
                        <a:pt x="0" y="52940"/>
                      </a:cubicBezTo>
                      <a:cubicBezTo>
                        <a:pt x="0" y="21260"/>
                        <a:pt x="18625" y="0"/>
                        <a:pt x="46323" y="0"/>
                      </a:cubicBezTo>
                      <a:cubicBezTo>
                        <a:pt x="74020" y="0"/>
                        <a:pt x="92645" y="21290"/>
                        <a:pt x="92645" y="52940"/>
                      </a:cubicBezTo>
                      <a:cubicBezTo>
                        <a:pt x="92645" y="84590"/>
                        <a:pt x="74020" y="105880"/>
                        <a:pt x="46323" y="105880"/>
                      </a:cubicBezTo>
                      <a:close/>
                      <a:moveTo>
                        <a:pt x="46323" y="13205"/>
                      </a:moveTo>
                      <a:cubicBezTo>
                        <a:pt x="21889" y="13205"/>
                        <a:pt x="13235" y="34615"/>
                        <a:pt x="13235" y="52910"/>
                      </a:cubicBezTo>
                      <a:cubicBezTo>
                        <a:pt x="13235" y="71206"/>
                        <a:pt x="21889" y="92615"/>
                        <a:pt x="46323" y="92615"/>
                      </a:cubicBezTo>
                      <a:cubicBezTo>
                        <a:pt x="70757" y="92615"/>
                        <a:pt x="79410" y="71206"/>
                        <a:pt x="79410" y="52910"/>
                      </a:cubicBezTo>
                      <a:cubicBezTo>
                        <a:pt x="79410" y="34615"/>
                        <a:pt x="70727" y="13205"/>
                        <a:pt x="46323" y="13205"/>
                      </a:cubicBezTo>
                      <a:close/>
                    </a:path>
                  </a:pathLst>
                </a:custGeom>
                <a:grpFill/>
                <a:ln w="2991" cap="flat">
                  <a:noFill/>
                  <a:prstDash val="solid"/>
                  <a:miter/>
                </a:ln>
              </p:spPr>
              <p:txBody>
                <a:bodyPr rtlCol="0" anchor="ctr"/>
                <a:lstStyle/>
                <a:p>
                  <a:endParaRPr lang="en-GB" dirty="0"/>
                </a:p>
              </p:txBody>
            </p:sp>
          </p:grpSp>
        </p:grpSp>
        <p:grpSp>
          <p:nvGrpSpPr>
            <p:cNvPr id="291" name="Grafik 306">
              <a:extLst>
                <a:ext uri="{FF2B5EF4-FFF2-40B4-BE49-F238E27FC236}">
                  <a16:creationId xmlns:a16="http://schemas.microsoft.com/office/drawing/2014/main" id="{552B9A5F-B013-4CBB-A219-1FE0FE407DAD}"/>
                </a:ext>
              </a:extLst>
            </p:cNvPr>
            <p:cNvGrpSpPr/>
            <p:nvPr/>
          </p:nvGrpSpPr>
          <p:grpSpPr>
            <a:xfrm>
              <a:off x="3840168" y="4134387"/>
              <a:ext cx="234302" cy="234335"/>
              <a:chOff x="3534759" y="3404025"/>
              <a:chExt cx="211790" cy="211820"/>
            </a:xfrm>
            <a:solidFill>
              <a:schemeClr val="accent1"/>
            </a:solidFill>
          </p:grpSpPr>
          <p:sp>
            <p:nvSpPr>
              <p:cNvPr id="292" name="Freihandform: Form 412">
                <a:extLst>
                  <a:ext uri="{FF2B5EF4-FFF2-40B4-BE49-F238E27FC236}">
                    <a16:creationId xmlns:a16="http://schemas.microsoft.com/office/drawing/2014/main" id="{43CDB902-DA8F-4777-AC29-0C37598284D1}"/>
                  </a:ext>
                </a:extLst>
              </p:cNvPr>
              <p:cNvSpPr/>
              <p:nvPr/>
            </p:nvSpPr>
            <p:spPr>
              <a:xfrm>
                <a:off x="3541376" y="3410613"/>
                <a:ext cx="198585" cy="198585"/>
              </a:xfrm>
              <a:custGeom>
                <a:avLst/>
                <a:gdLst>
                  <a:gd name="connsiteX0" fmla="*/ 99293 w 198585"/>
                  <a:gd name="connsiteY0" fmla="*/ 198585 h 198585"/>
                  <a:gd name="connsiteX1" fmla="*/ 0 w 198585"/>
                  <a:gd name="connsiteY1" fmla="*/ 99293 h 198585"/>
                  <a:gd name="connsiteX2" fmla="*/ 99293 w 198585"/>
                  <a:gd name="connsiteY2" fmla="*/ 0 h 198585"/>
                  <a:gd name="connsiteX3" fmla="*/ 198585 w 198585"/>
                  <a:gd name="connsiteY3" fmla="*/ 99293 h 198585"/>
                  <a:gd name="connsiteX4" fmla="*/ 99293 w 198585"/>
                  <a:gd name="connsiteY4" fmla="*/ 198585 h 198585"/>
                  <a:gd name="connsiteX5" fmla="*/ 99293 w 198585"/>
                  <a:gd name="connsiteY5" fmla="*/ 13265 h 198585"/>
                  <a:gd name="connsiteX6" fmla="*/ 13235 w 198585"/>
                  <a:gd name="connsiteY6" fmla="*/ 99323 h 198585"/>
                  <a:gd name="connsiteX7" fmla="*/ 99293 w 198585"/>
                  <a:gd name="connsiteY7" fmla="*/ 185380 h 198585"/>
                  <a:gd name="connsiteX8" fmla="*/ 185351 w 198585"/>
                  <a:gd name="connsiteY8" fmla="*/ 99323 h 198585"/>
                  <a:gd name="connsiteX9" fmla="*/ 99293 w 198585"/>
                  <a:gd name="connsiteY9" fmla="*/ 13265 h 19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5" h="198585">
                    <a:moveTo>
                      <a:pt x="99293" y="198585"/>
                    </a:moveTo>
                    <a:cubicBezTo>
                      <a:pt x="44556" y="198585"/>
                      <a:pt x="0" y="154059"/>
                      <a:pt x="0" y="99293"/>
                    </a:cubicBezTo>
                    <a:cubicBezTo>
                      <a:pt x="0" y="44556"/>
                      <a:pt x="44526" y="0"/>
                      <a:pt x="99293" y="0"/>
                    </a:cubicBezTo>
                    <a:cubicBezTo>
                      <a:pt x="154030" y="0"/>
                      <a:pt x="198585" y="44526"/>
                      <a:pt x="198585" y="99293"/>
                    </a:cubicBezTo>
                    <a:cubicBezTo>
                      <a:pt x="198556" y="154059"/>
                      <a:pt x="154030" y="198585"/>
                      <a:pt x="99293" y="198585"/>
                    </a:cubicBezTo>
                    <a:close/>
                    <a:moveTo>
                      <a:pt x="99293" y="13265"/>
                    </a:moveTo>
                    <a:cubicBezTo>
                      <a:pt x="51832" y="13265"/>
                      <a:pt x="13235" y="51862"/>
                      <a:pt x="13235" y="99323"/>
                    </a:cubicBezTo>
                    <a:cubicBezTo>
                      <a:pt x="13235" y="146783"/>
                      <a:pt x="51832" y="185380"/>
                      <a:pt x="99293" y="185380"/>
                    </a:cubicBezTo>
                    <a:cubicBezTo>
                      <a:pt x="146753" y="185380"/>
                      <a:pt x="185351" y="146783"/>
                      <a:pt x="185351" y="99323"/>
                    </a:cubicBezTo>
                    <a:cubicBezTo>
                      <a:pt x="185321" y="51862"/>
                      <a:pt x="146723" y="13265"/>
                      <a:pt x="99293" y="13265"/>
                    </a:cubicBezTo>
                    <a:close/>
                  </a:path>
                </a:pathLst>
              </a:custGeom>
              <a:solidFill>
                <a:schemeClr val="accent1"/>
              </a:solidFill>
              <a:ln w="2991" cap="flat">
                <a:noFill/>
                <a:prstDash val="solid"/>
                <a:miter/>
              </a:ln>
            </p:spPr>
            <p:txBody>
              <a:bodyPr rtlCol="0" anchor="ctr"/>
              <a:lstStyle/>
              <a:p>
                <a:endParaRPr lang="en-GB" dirty="0"/>
              </a:p>
            </p:txBody>
          </p:sp>
          <p:sp>
            <p:nvSpPr>
              <p:cNvPr id="293" name="Freihandform: Form 413">
                <a:extLst>
                  <a:ext uri="{FF2B5EF4-FFF2-40B4-BE49-F238E27FC236}">
                    <a16:creationId xmlns:a16="http://schemas.microsoft.com/office/drawing/2014/main" id="{6EBD69FD-F605-4495-B9A6-E8945A2FF700}"/>
                  </a:ext>
                </a:extLst>
              </p:cNvPr>
              <p:cNvSpPr/>
              <p:nvPr/>
            </p:nvSpPr>
            <p:spPr>
              <a:xfrm>
                <a:off x="3634051" y="3589376"/>
                <a:ext cx="13234" cy="26470"/>
              </a:xfrm>
              <a:custGeom>
                <a:avLst/>
                <a:gdLst>
                  <a:gd name="connsiteX0" fmla="*/ 6618 w 13234"/>
                  <a:gd name="connsiteY0" fmla="*/ 26470 h 26470"/>
                  <a:gd name="connsiteX1" fmla="*/ 0 w 13234"/>
                  <a:gd name="connsiteY1" fmla="*/ 19853 h 26470"/>
                  <a:gd name="connsiteX2" fmla="*/ 0 w 13234"/>
                  <a:gd name="connsiteY2" fmla="*/ 6618 h 26470"/>
                  <a:gd name="connsiteX3" fmla="*/ 6618 w 13234"/>
                  <a:gd name="connsiteY3" fmla="*/ 0 h 26470"/>
                  <a:gd name="connsiteX4" fmla="*/ 13235 w 13234"/>
                  <a:gd name="connsiteY4" fmla="*/ 6618 h 26470"/>
                  <a:gd name="connsiteX5" fmla="*/ 13235 w 13234"/>
                  <a:gd name="connsiteY5" fmla="*/ 19853 h 26470"/>
                  <a:gd name="connsiteX6" fmla="*/ 6618 w 13234"/>
                  <a:gd name="connsiteY6" fmla="*/ 26470 h 2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4" h="26470">
                    <a:moveTo>
                      <a:pt x="6618" y="26470"/>
                    </a:moveTo>
                    <a:cubicBezTo>
                      <a:pt x="2964" y="26470"/>
                      <a:pt x="0" y="23506"/>
                      <a:pt x="0" y="19853"/>
                    </a:cubicBezTo>
                    <a:lnTo>
                      <a:pt x="0" y="6618"/>
                    </a:lnTo>
                    <a:cubicBezTo>
                      <a:pt x="0" y="2964"/>
                      <a:pt x="2964" y="0"/>
                      <a:pt x="6618" y="0"/>
                    </a:cubicBezTo>
                    <a:cubicBezTo>
                      <a:pt x="10271" y="0"/>
                      <a:pt x="13235" y="2964"/>
                      <a:pt x="13235" y="6618"/>
                    </a:cubicBezTo>
                    <a:lnTo>
                      <a:pt x="13235" y="19853"/>
                    </a:lnTo>
                    <a:cubicBezTo>
                      <a:pt x="13235" y="23506"/>
                      <a:pt x="10271" y="26470"/>
                      <a:pt x="6618" y="26470"/>
                    </a:cubicBezTo>
                    <a:close/>
                  </a:path>
                </a:pathLst>
              </a:custGeom>
              <a:solidFill>
                <a:schemeClr val="accent1"/>
              </a:solidFill>
              <a:ln w="2991" cap="flat">
                <a:noFill/>
                <a:prstDash val="solid"/>
                <a:miter/>
              </a:ln>
            </p:spPr>
            <p:txBody>
              <a:bodyPr rtlCol="0" anchor="ctr"/>
              <a:lstStyle/>
              <a:p>
                <a:endParaRPr lang="en-GB" dirty="0"/>
              </a:p>
            </p:txBody>
          </p:sp>
          <p:sp>
            <p:nvSpPr>
              <p:cNvPr id="294" name="Freihandform: Form 414">
                <a:extLst>
                  <a:ext uri="{FF2B5EF4-FFF2-40B4-BE49-F238E27FC236}">
                    <a16:creationId xmlns:a16="http://schemas.microsoft.com/office/drawing/2014/main" id="{C7143D1C-61F3-4D5A-A3AB-2498D8DAA0E1}"/>
                  </a:ext>
                </a:extLst>
              </p:cNvPr>
              <p:cNvSpPr/>
              <p:nvPr/>
            </p:nvSpPr>
            <p:spPr>
              <a:xfrm>
                <a:off x="3634051" y="3404025"/>
                <a:ext cx="13234" cy="26470"/>
              </a:xfrm>
              <a:custGeom>
                <a:avLst/>
                <a:gdLst>
                  <a:gd name="connsiteX0" fmla="*/ 6618 w 13234"/>
                  <a:gd name="connsiteY0" fmla="*/ 26470 h 26470"/>
                  <a:gd name="connsiteX1" fmla="*/ 0 w 13234"/>
                  <a:gd name="connsiteY1" fmla="*/ 19853 h 26470"/>
                  <a:gd name="connsiteX2" fmla="*/ 0 w 13234"/>
                  <a:gd name="connsiteY2" fmla="*/ 6618 h 26470"/>
                  <a:gd name="connsiteX3" fmla="*/ 6618 w 13234"/>
                  <a:gd name="connsiteY3" fmla="*/ 0 h 26470"/>
                  <a:gd name="connsiteX4" fmla="*/ 13235 w 13234"/>
                  <a:gd name="connsiteY4" fmla="*/ 6618 h 26470"/>
                  <a:gd name="connsiteX5" fmla="*/ 13235 w 13234"/>
                  <a:gd name="connsiteY5" fmla="*/ 19853 h 26470"/>
                  <a:gd name="connsiteX6" fmla="*/ 6618 w 13234"/>
                  <a:gd name="connsiteY6" fmla="*/ 26470 h 2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4" h="26470">
                    <a:moveTo>
                      <a:pt x="6618" y="26470"/>
                    </a:moveTo>
                    <a:cubicBezTo>
                      <a:pt x="2964" y="26470"/>
                      <a:pt x="0" y="23506"/>
                      <a:pt x="0" y="19853"/>
                    </a:cubicBezTo>
                    <a:lnTo>
                      <a:pt x="0" y="6618"/>
                    </a:lnTo>
                    <a:cubicBezTo>
                      <a:pt x="0" y="2965"/>
                      <a:pt x="2964" y="0"/>
                      <a:pt x="6618" y="0"/>
                    </a:cubicBezTo>
                    <a:cubicBezTo>
                      <a:pt x="10271" y="0"/>
                      <a:pt x="13235" y="2965"/>
                      <a:pt x="13235" y="6618"/>
                    </a:cubicBezTo>
                    <a:lnTo>
                      <a:pt x="13235" y="19853"/>
                    </a:lnTo>
                    <a:cubicBezTo>
                      <a:pt x="13235" y="23506"/>
                      <a:pt x="10271" y="26470"/>
                      <a:pt x="6618" y="26470"/>
                    </a:cubicBezTo>
                    <a:close/>
                  </a:path>
                </a:pathLst>
              </a:custGeom>
              <a:solidFill>
                <a:schemeClr val="accent1"/>
              </a:solidFill>
              <a:ln w="2991" cap="flat">
                <a:noFill/>
                <a:prstDash val="solid"/>
                <a:miter/>
              </a:ln>
            </p:spPr>
            <p:txBody>
              <a:bodyPr rtlCol="0" anchor="ctr"/>
              <a:lstStyle/>
              <a:p>
                <a:endParaRPr lang="en-GB" dirty="0"/>
              </a:p>
            </p:txBody>
          </p:sp>
          <p:sp>
            <p:nvSpPr>
              <p:cNvPr id="295" name="Freihandform: Form 415">
                <a:extLst>
                  <a:ext uri="{FF2B5EF4-FFF2-40B4-BE49-F238E27FC236}">
                    <a16:creationId xmlns:a16="http://schemas.microsoft.com/office/drawing/2014/main" id="{3B24BECE-4D00-49FD-9208-B8E5765668A5}"/>
                  </a:ext>
                </a:extLst>
              </p:cNvPr>
              <p:cNvSpPr/>
              <p:nvPr/>
            </p:nvSpPr>
            <p:spPr>
              <a:xfrm>
                <a:off x="3720079" y="3503318"/>
                <a:ext cx="26470" cy="13234"/>
              </a:xfrm>
              <a:custGeom>
                <a:avLst/>
                <a:gdLst>
                  <a:gd name="connsiteX0" fmla="*/ 19853 w 26470"/>
                  <a:gd name="connsiteY0" fmla="*/ 13235 h 13234"/>
                  <a:gd name="connsiteX1" fmla="*/ 6618 w 26470"/>
                  <a:gd name="connsiteY1" fmla="*/ 13235 h 13234"/>
                  <a:gd name="connsiteX2" fmla="*/ 0 w 26470"/>
                  <a:gd name="connsiteY2" fmla="*/ 6617 h 13234"/>
                  <a:gd name="connsiteX3" fmla="*/ 6618 w 26470"/>
                  <a:gd name="connsiteY3" fmla="*/ 0 h 13234"/>
                  <a:gd name="connsiteX4" fmla="*/ 19853 w 26470"/>
                  <a:gd name="connsiteY4" fmla="*/ 0 h 13234"/>
                  <a:gd name="connsiteX5" fmla="*/ 26470 w 26470"/>
                  <a:gd name="connsiteY5" fmla="*/ 6617 h 13234"/>
                  <a:gd name="connsiteX6" fmla="*/ 19853 w 26470"/>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 h="13234">
                    <a:moveTo>
                      <a:pt x="19853" y="13235"/>
                    </a:moveTo>
                    <a:lnTo>
                      <a:pt x="6618" y="13235"/>
                    </a:lnTo>
                    <a:cubicBezTo>
                      <a:pt x="2964" y="13235"/>
                      <a:pt x="0" y="10271"/>
                      <a:pt x="0" y="6617"/>
                    </a:cubicBezTo>
                    <a:cubicBezTo>
                      <a:pt x="0" y="2964"/>
                      <a:pt x="2964" y="0"/>
                      <a:pt x="6618" y="0"/>
                    </a:cubicBezTo>
                    <a:lnTo>
                      <a:pt x="19853" y="0"/>
                    </a:lnTo>
                    <a:cubicBezTo>
                      <a:pt x="23506" y="0"/>
                      <a:pt x="26470" y="2964"/>
                      <a:pt x="26470" y="6617"/>
                    </a:cubicBezTo>
                    <a:cubicBezTo>
                      <a:pt x="26500" y="10271"/>
                      <a:pt x="23536" y="13235"/>
                      <a:pt x="19853" y="13235"/>
                    </a:cubicBezTo>
                    <a:close/>
                  </a:path>
                </a:pathLst>
              </a:custGeom>
              <a:solidFill>
                <a:schemeClr val="accent1"/>
              </a:solidFill>
              <a:ln w="2991" cap="flat">
                <a:noFill/>
                <a:prstDash val="solid"/>
                <a:miter/>
              </a:ln>
            </p:spPr>
            <p:txBody>
              <a:bodyPr rtlCol="0" anchor="ctr"/>
              <a:lstStyle/>
              <a:p>
                <a:endParaRPr lang="en-GB" dirty="0"/>
              </a:p>
            </p:txBody>
          </p:sp>
          <p:sp>
            <p:nvSpPr>
              <p:cNvPr id="296" name="Freihandform: Form 416">
                <a:extLst>
                  <a:ext uri="{FF2B5EF4-FFF2-40B4-BE49-F238E27FC236}">
                    <a16:creationId xmlns:a16="http://schemas.microsoft.com/office/drawing/2014/main" id="{052579A6-0732-43EF-8395-A470203B4A1A}"/>
                  </a:ext>
                </a:extLst>
              </p:cNvPr>
              <p:cNvSpPr/>
              <p:nvPr/>
            </p:nvSpPr>
            <p:spPr>
              <a:xfrm>
                <a:off x="3534759" y="3503318"/>
                <a:ext cx="26469" cy="13234"/>
              </a:xfrm>
              <a:custGeom>
                <a:avLst/>
                <a:gdLst>
                  <a:gd name="connsiteX0" fmla="*/ 19852 w 26469"/>
                  <a:gd name="connsiteY0" fmla="*/ 13235 h 13234"/>
                  <a:gd name="connsiteX1" fmla="*/ 6617 w 26469"/>
                  <a:gd name="connsiteY1" fmla="*/ 13235 h 13234"/>
                  <a:gd name="connsiteX2" fmla="*/ 0 w 26469"/>
                  <a:gd name="connsiteY2" fmla="*/ 6617 h 13234"/>
                  <a:gd name="connsiteX3" fmla="*/ 6617 w 26469"/>
                  <a:gd name="connsiteY3" fmla="*/ 0 h 13234"/>
                  <a:gd name="connsiteX4" fmla="*/ 19852 w 26469"/>
                  <a:gd name="connsiteY4" fmla="*/ 0 h 13234"/>
                  <a:gd name="connsiteX5" fmla="*/ 26470 w 26469"/>
                  <a:gd name="connsiteY5" fmla="*/ 6617 h 13234"/>
                  <a:gd name="connsiteX6" fmla="*/ 19852 w 26469"/>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 h="13234">
                    <a:moveTo>
                      <a:pt x="19852" y="13235"/>
                    </a:moveTo>
                    <a:lnTo>
                      <a:pt x="6617" y="13235"/>
                    </a:lnTo>
                    <a:cubicBezTo>
                      <a:pt x="2964" y="13235"/>
                      <a:pt x="0" y="10271"/>
                      <a:pt x="0" y="6617"/>
                    </a:cubicBezTo>
                    <a:cubicBezTo>
                      <a:pt x="0" y="2964"/>
                      <a:pt x="2964" y="0"/>
                      <a:pt x="6617" y="0"/>
                    </a:cubicBezTo>
                    <a:lnTo>
                      <a:pt x="19852" y="0"/>
                    </a:lnTo>
                    <a:cubicBezTo>
                      <a:pt x="23506" y="0"/>
                      <a:pt x="26470" y="2964"/>
                      <a:pt x="26470" y="6617"/>
                    </a:cubicBezTo>
                    <a:cubicBezTo>
                      <a:pt x="26470" y="10271"/>
                      <a:pt x="23506" y="13235"/>
                      <a:pt x="19852" y="13235"/>
                    </a:cubicBezTo>
                    <a:close/>
                  </a:path>
                </a:pathLst>
              </a:custGeom>
              <a:solidFill>
                <a:schemeClr val="accent1"/>
              </a:solidFill>
              <a:ln w="2991" cap="flat">
                <a:noFill/>
                <a:prstDash val="solid"/>
                <a:miter/>
              </a:ln>
            </p:spPr>
            <p:txBody>
              <a:bodyPr rtlCol="0" anchor="ctr"/>
              <a:lstStyle/>
              <a:p>
                <a:endParaRPr lang="en-GB" dirty="0"/>
              </a:p>
            </p:txBody>
          </p:sp>
        </p:grpSp>
      </p:grpSp>
      <p:grpSp>
        <p:nvGrpSpPr>
          <p:cNvPr id="7" name="Group 6">
            <a:extLst>
              <a:ext uri="{FF2B5EF4-FFF2-40B4-BE49-F238E27FC236}">
                <a16:creationId xmlns:a16="http://schemas.microsoft.com/office/drawing/2014/main" id="{9BCEEB95-AE77-4F52-8CDB-E12DE4C44959}"/>
              </a:ext>
            </a:extLst>
          </p:cNvPr>
          <p:cNvGrpSpPr/>
          <p:nvPr/>
        </p:nvGrpSpPr>
        <p:grpSpPr>
          <a:xfrm>
            <a:off x="488050" y="1615739"/>
            <a:ext cx="612000" cy="372490"/>
            <a:chOff x="488050" y="1615739"/>
            <a:chExt cx="612000" cy="372490"/>
          </a:xfrm>
        </p:grpSpPr>
        <p:grpSp>
          <p:nvGrpSpPr>
            <p:cNvPr id="51" name="Gruppieren 809">
              <a:extLst>
                <a:ext uri="{FF2B5EF4-FFF2-40B4-BE49-F238E27FC236}">
                  <a16:creationId xmlns:a16="http://schemas.microsoft.com/office/drawing/2014/main" id="{5CBACA64-9440-4064-B69D-E3CC97CA5508}"/>
                </a:ext>
              </a:extLst>
            </p:cNvPr>
            <p:cNvGrpSpPr/>
            <p:nvPr/>
          </p:nvGrpSpPr>
          <p:grpSpPr>
            <a:xfrm>
              <a:off x="488050" y="1615739"/>
              <a:ext cx="377279" cy="372490"/>
              <a:chOff x="3378508" y="1685127"/>
              <a:chExt cx="296872" cy="293103"/>
            </a:xfrm>
          </p:grpSpPr>
          <p:sp>
            <p:nvSpPr>
              <p:cNvPr id="59" name="Freihandform: Form 626">
                <a:extLst>
                  <a:ext uri="{FF2B5EF4-FFF2-40B4-BE49-F238E27FC236}">
                    <a16:creationId xmlns:a16="http://schemas.microsoft.com/office/drawing/2014/main" id="{A1A01B59-2D61-491D-B262-455ABD560576}"/>
                  </a:ext>
                </a:extLst>
              </p:cNvPr>
              <p:cNvSpPr/>
              <p:nvPr/>
            </p:nvSpPr>
            <p:spPr>
              <a:xfrm>
                <a:off x="3378508" y="1770874"/>
                <a:ext cx="13176" cy="92335"/>
              </a:xfrm>
              <a:custGeom>
                <a:avLst/>
                <a:gdLst>
                  <a:gd name="connsiteX0" fmla="*/ 6588 w 13176"/>
                  <a:gd name="connsiteY0" fmla="*/ 92335 h 92335"/>
                  <a:gd name="connsiteX1" fmla="*/ 0 w 13176"/>
                  <a:gd name="connsiteY1" fmla="*/ 85747 h 92335"/>
                  <a:gd name="connsiteX2" fmla="*/ 0 w 13176"/>
                  <a:gd name="connsiteY2" fmla="*/ 6588 h 92335"/>
                  <a:gd name="connsiteX3" fmla="*/ 6588 w 13176"/>
                  <a:gd name="connsiteY3" fmla="*/ 0 h 92335"/>
                  <a:gd name="connsiteX4" fmla="*/ 13176 w 13176"/>
                  <a:gd name="connsiteY4" fmla="*/ 6588 h 92335"/>
                  <a:gd name="connsiteX5" fmla="*/ 13176 w 13176"/>
                  <a:gd name="connsiteY5" fmla="*/ 85747 h 92335"/>
                  <a:gd name="connsiteX6" fmla="*/ 6588 w 13176"/>
                  <a:gd name="connsiteY6" fmla="*/ 92335 h 9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76" h="92335">
                    <a:moveTo>
                      <a:pt x="6588" y="92335"/>
                    </a:moveTo>
                    <a:cubicBezTo>
                      <a:pt x="2948" y="92335"/>
                      <a:pt x="0" y="89387"/>
                      <a:pt x="0" y="85747"/>
                    </a:cubicBezTo>
                    <a:lnTo>
                      <a:pt x="0" y="6588"/>
                    </a:lnTo>
                    <a:cubicBezTo>
                      <a:pt x="0" y="2948"/>
                      <a:pt x="2948" y="0"/>
                      <a:pt x="6588" y="0"/>
                    </a:cubicBezTo>
                    <a:cubicBezTo>
                      <a:pt x="10228" y="0"/>
                      <a:pt x="13176" y="2948"/>
                      <a:pt x="13176" y="6588"/>
                    </a:cubicBezTo>
                    <a:lnTo>
                      <a:pt x="13176" y="85747"/>
                    </a:lnTo>
                    <a:cubicBezTo>
                      <a:pt x="13202" y="89387"/>
                      <a:pt x="10254" y="92335"/>
                      <a:pt x="6588" y="92335"/>
                    </a:cubicBezTo>
                    <a:close/>
                  </a:path>
                </a:pathLst>
              </a:custGeom>
              <a:solidFill>
                <a:schemeClr val="tx2"/>
              </a:solidFill>
              <a:ln w="2556" cap="flat">
                <a:noFill/>
                <a:prstDash val="solid"/>
                <a:miter/>
              </a:ln>
            </p:spPr>
            <p:txBody>
              <a:bodyPr rtlCol="0" anchor="ctr"/>
              <a:lstStyle/>
              <a:p>
                <a:endParaRPr lang="en-GB" dirty="0"/>
              </a:p>
            </p:txBody>
          </p:sp>
          <p:sp>
            <p:nvSpPr>
              <p:cNvPr id="60" name="Freihandform: Form 627">
                <a:extLst>
                  <a:ext uri="{FF2B5EF4-FFF2-40B4-BE49-F238E27FC236}">
                    <a16:creationId xmlns:a16="http://schemas.microsoft.com/office/drawing/2014/main" id="{B59000EE-A9D3-484F-B9BA-37B32719AA3D}"/>
                  </a:ext>
                </a:extLst>
              </p:cNvPr>
              <p:cNvSpPr/>
              <p:nvPr/>
            </p:nvSpPr>
            <p:spPr>
              <a:xfrm>
                <a:off x="3404911" y="1751084"/>
                <a:ext cx="98923" cy="131914"/>
              </a:xfrm>
              <a:custGeom>
                <a:avLst/>
                <a:gdLst>
                  <a:gd name="connsiteX0" fmla="*/ 92335 w 98923"/>
                  <a:gd name="connsiteY0" fmla="*/ 131915 h 131914"/>
                  <a:gd name="connsiteX1" fmla="*/ 6588 w 98923"/>
                  <a:gd name="connsiteY1" fmla="*/ 131915 h 131914"/>
                  <a:gd name="connsiteX2" fmla="*/ 0 w 98923"/>
                  <a:gd name="connsiteY2" fmla="*/ 125327 h 131914"/>
                  <a:gd name="connsiteX3" fmla="*/ 0 w 98923"/>
                  <a:gd name="connsiteY3" fmla="*/ 6588 h 131914"/>
                  <a:gd name="connsiteX4" fmla="*/ 6588 w 98923"/>
                  <a:gd name="connsiteY4" fmla="*/ 0 h 131914"/>
                  <a:gd name="connsiteX5" fmla="*/ 92335 w 98923"/>
                  <a:gd name="connsiteY5" fmla="*/ 0 h 131914"/>
                  <a:gd name="connsiteX6" fmla="*/ 98923 w 98923"/>
                  <a:gd name="connsiteY6" fmla="*/ 6588 h 131914"/>
                  <a:gd name="connsiteX7" fmla="*/ 98923 w 98923"/>
                  <a:gd name="connsiteY7" fmla="*/ 125327 h 131914"/>
                  <a:gd name="connsiteX8" fmla="*/ 92335 w 98923"/>
                  <a:gd name="connsiteY8" fmla="*/ 131915 h 131914"/>
                  <a:gd name="connsiteX9" fmla="*/ 13176 w 98923"/>
                  <a:gd name="connsiteY9" fmla="*/ 118713 h 131914"/>
                  <a:gd name="connsiteX10" fmla="*/ 85747 w 98923"/>
                  <a:gd name="connsiteY10" fmla="*/ 118713 h 131914"/>
                  <a:gd name="connsiteX11" fmla="*/ 85747 w 98923"/>
                  <a:gd name="connsiteY11" fmla="*/ 13176 h 131914"/>
                  <a:gd name="connsiteX12" fmla="*/ 13176 w 98923"/>
                  <a:gd name="connsiteY12" fmla="*/ 13176 h 131914"/>
                  <a:gd name="connsiteX13" fmla="*/ 13176 w 98923"/>
                  <a:gd name="connsiteY13" fmla="*/ 118713 h 131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8923" h="131914">
                    <a:moveTo>
                      <a:pt x="92335" y="131915"/>
                    </a:moveTo>
                    <a:lnTo>
                      <a:pt x="6588" y="131915"/>
                    </a:lnTo>
                    <a:cubicBezTo>
                      <a:pt x="2948" y="131915"/>
                      <a:pt x="0" y="128967"/>
                      <a:pt x="0" y="125327"/>
                    </a:cubicBezTo>
                    <a:lnTo>
                      <a:pt x="0" y="6588"/>
                    </a:lnTo>
                    <a:cubicBezTo>
                      <a:pt x="0" y="2948"/>
                      <a:pt x="2948" y="0"/>
                      <a:pt x="6588" y="0"/>
                    </a:cubicBezTo>
                    <a:lnTo>
                      <a:pt x="92335" y="0"/>
                    </a:lnTo>
                    <a:cubicBezTo>
                      <a:pt x="95975" y="0"/>
                      <a:pt x="98923" y="2948"/>
                      <a:pt x="98923" y="6588"/>
                    </a:cubicBezTo>
                    <a:lnTo>
                      <a:pt x="98923" y="125327"/>
                    </a:lnTo>
                    <a:cubicBezTo>
                      <a:pt x="98949" y="128967"/>
                      <a:pt x="95975" y="131915"/>
                      <a:pt x="92335" y="131915"/>
                    </a:cubicBezTo>
                    <a:close/>
                    <a:moveTo>
                      <a:pt x="13176" y="118713"/>
                    </a:moveTo>
                    <a:lnTo>
                      <a:pt x="85747" y="118713"/>
                    </a:lnTo>
                    <a:lnTo>
                      <a:pt x="85747" y="13176"/>
                    </a:lnTo>
                    <a:lnTo>
                      <a:pt x="13176" y="13176"/>
                    </a:lnTo>
                    <a:lnTo>
                      <a:pt x="13176" y="118713"/>
                    </a:lnTo>
                    <a:close/>
                  </a:path>
                </a:pathLst>
              </a:custGeom>
              <a:solidFill>
                <a:schemeClr val="tx2"/>
              </a:solidFill>
              <a:ln w="2556" cap="flat">
                <a:noFill/>
                <a:prstDash val="solid"/>
                <a:miter/>
              </a:ln>
            </p:spPr>
            <p:txBody>
              <a:bodyPr rtlCol="0" anchor="ctr"/>
              <a:lstStyle/>
              <a:p>
                <a:endParaRPr lang="en-GB" dirty="0"/>
              </a:p>
            </p:txBody>
          </p:sp>
          <p:sp>
            <p:nvSpPr>
              <p:cNvPr id="61" name="Freihandform: Form 628">
                <a:extLst>
                  <a:ext uri="{FF2B5EF4-FFF2-40B4-BE49-F238E27FC236}">
                    <a16:creationId xmlns:a16="http://schemas.microsoft.com/office/drawing/2014/main" id="{D1BD1CFA-F194-449F-B7E5-0A42B3F9CA9B}"/>
                  </a:ext>
                </a:extLst>
              </p:cNvPr>
              <p:cNvSpPr/>
              <p:nvPr/>
            </p:nvSpPr>
            <p:spPr>
              <a:xfrm>
                <a:off x="3490659" y="1685127"/>
                <a:ext cx="184721" cy="257240"/>
              </a:xfrm>
              <a:custGeom>
                <a:avLst/>
                <a:gdLst>
                  <a:gd name="connsiteX0" fmla="*/ 178108 w 184721"/>
                  <a:gd name="connsiteY0" fmla="*/ 257241 h 257240"/>
                  <a:gd name="connsiteX1" fmla="*/ 175955 w 184721"/>
                  <a:gd name="connsiteY1" fmla="*/ 256882 h 257240"/>
                  <a:gd name="connsiteX2" fmla="*/ 4435 w 184721"/>
                  <a:gd name="connsiteY2" fmla="*/ 197513 h 257240"/>
                  <a:gd name="connsiteX3" fmla="*/ 0 w 184721"/>
                  <a:gd name="connsiteY3" fmla="*/ 191283 h 257240"/>
                  <a:gd name="connsiteX4" fmla="*/ 0 w 184721"/>
                  <a:gd name="connsiteY4" fmla="*/ 72545 h 257240"/>
                  <a:gd name="connsiteX5" fmla="*/ 4229 w 184721"/>
                  <a:gd name="connsiteY5" fmla="*/ 66393 h 257240"/>
                  <a:gd name="connsiteX6" fmla="*/ 175749 w 184721"/>
                  <a:gd name="connsiteY6" fmla="*/ 435 h 257240"/>
                  <a:gd name="connsiteX7" fmla="*/ 181850 w 184721"/>
                  <a:gd name="connsiteY7" fmla="*/ 1153 h 257240"/>
                  <a:gd name="connsiteX8" fmla="*/ 184721 w 184721"/>
                  <a:gd name="connsiteY8" fmla="*/ 6588 h 257240"/>
                  <a:gd name="connsiteX9" fmla="*/ 184721 w 184721"/>
                  <a:gd name="connsiteY9" fmla="*/ 250653 h 257240"/>
                  <a:gd name="connsiteX10" fmla="*/ 181953 w 184721"/>
                  <a:gd name="connsiteY10" fmla="*/ 256036 h 257240"/>
                  <a:gd name="connsiteX11" fmla="*/ 178108 w 184721"/>
                  <a:gd name="connsiteY11" fmla="*/ 257241 h 257240"/>
                  <a:gd name="connsiteX12" fmla="*/ 13201 w 184721"/>
                  <a:gd name="connsiteY12" fmla="*/ 186592 h 257240"/>
                  <a:gd name="connsiteX13" fmla="*/ 171520 w 184721"/>
                  <a:gd name="connsiteY13" fmla="*/ 241399 h 257240"/>
                  <a:gd name="connsiteX14" fmla="*/ 171520 w 184721"/>
                  <a:gd name="connsiteY14" fmla="*/ 16175 h 257240"/>
                  <a:gd name="connsiteX15" fmla="*/ 13201 w 184721"/>
                  <a:gd name="connsiteY15" fmla="*/ 77057 h 257240"/>
                  <a:gd name="connsiteX16" fmla="*/ 13201 w 184721"/>
                  <a:gd name="connsiteY16" fmla="*/ 186592 h 25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4721" h="257240">
                    <a:moveTo>
                      <a:pt x="178108" y="257241"/>
                    </a:moveTo>
                    <a:cubicBezTo>
                      <a:pt x="177390" y="257241"/>
                      <a:pt x="176646" y="257113"/>
                      <a:pt x="175955" y="256882"/>
                    </a:cubicBezTo>
                    <a:lnTo>
                      <a:pt x="4435" y="197513"/>
                    </a:lnTo>
                    <a:cubicBezTo>
                      <a:pt x="1769" y="196590"/>
                      <a:pt x="0" y="194103"/>
                      <a:pt x="0" y="191283"/>
                    </a:cubicBezTo>
                    <a:lnTo>
                      <a:pt x="0" y="72545"/>
                    </a:lnTo>
                    <a:cubicBezTo>
                      <a:pt x="0" y="69828"/>
                      <a:pt x="1692" y="67367"/>
                      <a:pt x="4229" y="66393"/>
                    </a:cubicBezTo>
                    <a:lnTo>
                      <a:pt x="175749" y="435"/>
                    </a:lnTo>
                    <a:cubicBezTo>
                      <a:pt x="177775" y="-334"/>
                      <a:pt x="180056" y="-77"/>
                      <a:pt x="181850" y="1153"/>
                    </a:cubicBezTo>
                    <a:cubicBezTo>
                      <a:pt x="183645" y="2384"/>
                      <a:pt x="184721" y="4409"/>
                      <a:pt x="184721" y="6588"/>
                    </a:cubicBezTo>
                    <a:lnTo>
                      <a:pt x="184721" y="250653"/>
                    </a:lnTo>
                    <a:cubicBezTo>
                      <a:pt x="184721" y="252780"/>
                      <a:pt x="183696" y="254780"/>
                      <a:pt x="181953" y="256036"/>
                    </a:cubicBezTo>
                    <a:cubicBezTo>
                      <a:pt x="180799" y="256831"/>
                      <a:pt x="179466" y="257241"/>
                      <a:pt x="178108" y="257241"/>
                    </a:cubicBezTo>
                    <a:close/>
                    <a:moveTo>
                      <a:pt x="13201" y="186592"/>
                    </a:moveTo>
                    <a:lnTo>
                      <a:pt x="171520" y="241399"/>
                    </a:lnTo>
                    <a:lnTo>
                      <a:pt x="171520" y="16175"/>
                    </a:lnTo>
                    <a:lnTo>
                      <a:pt x="13201" y="77057"/>
                    </a:lnTo>
                    <a:lnTo>
                      <a:pt x="13201" y="186592"/>
                    </a:lnTo>
                    <a:close/>
                  </a:path>
                </a:pathLst>
              </a:custGeom>
              <a:solidFill>
                <a:schemeClr val="tx2"/>
              </a:solidFill>
              <a:ln w="2556" cap="flat">
                <a:noFill/>
                <a:prstDash val="solid"/>
                <a:miter/>
              </a:ln>
            </p:spPr>
            <p:txBody>
              <a:bodyPr rtlCol="0" anchor="ctr"/>
              <a:lstStyle/>
              <a:p>
                <a:endParaRPr lang="en-GB" dirty="0"/>
              </a:p>
            </p:txBody>
          </p:sp>
          <p:sp>
            <p:nvSpPr>
              <p:cNvPr id="62" name="Freihandform: Form 629">
                <a:extLst>
                  <a:ext uri="{FF2B5EF4-FFF2-40B4-BE49-F238E27FC236}">
                    <a16:creationId xmlns:a16="http://schemas.microsoft.com/office/drawing/2014/main" id="{A230774C-5E4C-4E86-81C3-134CFA35DDF5}"/>
                  </a:ext>
                </a:extLst>
              </p:cNvPr>
              <p:cNvSpPr/>
              <p:nvPr/>
            </p:nvSpPr>
            <p:spPr>
              <a:xfrm>
                <a:off x="3424060" y="1892150"/>
                <a:ext cx="65983" cy="86080"/>
              </a:xfrm>
              <a:custGeom>
                <a:avLst/>
                <a:gdLst>
                  <a:gd name="connsiteX0" fmla="*/ 20431 w 65983"/>
                  <a:gd name="connsiteY0" fmla="*/ 86080 h 86080"/>
                  <a:gd name="connsiteX1" fmla="*/ 16637 w 65983"/>
                  <a:gd name="connsiteY1" fmla="*/ 84876 h 86080"/>
                  <a:gd name="connsiteX2" fmla="*/ 13919 w 65983"/>
                  <a:gd name="connsiteY2" fmla="*/ 80620 h 86080"/>
                  <a:gd name="connsiteX3" fmla="*/ 0 w 65983"/>
                  <a:gd name="connsiteY3" fmla="*/ 1051 h 86080"/>
                  <a:gd name="connsiteX4" fmla="*/ 13304 w 65983"/>
                  <a:gd name="connsiteY4" fmla="*/ 846 h 86080"/>
                  <a:gd name="connsiteX5" fmla="*/ 25763 w 65983"/>
                  <a:gd name="connsiteY5" fmla="*/ 71853 h 86080"/>
                  <a:gd name="connsiteX6" fmla="*/ 51756 w 65983"/>
                  <a:gd name="connsiteY6" fmla="*/ 67265 h 86080"/>
                  <a:gd name="connsiteX7" fmla="*/ 39990 w 65983"/>
                  <a:gd name="connsiteY7" fmla="*/ 436 h 86080"/>
                  <a:gd name="connsiteX8" fmla="*/ 53268 w 65983"/>
                  <a:gd name="connsiteY8" fmla="*/ 0 h 86080"/>
                  <a:gd name="connsiteX9" fmla="*/ 65880 w 65983"/>
                  <a:gd name="connsiteY9" fmla="*/ 71469 h 86080"/>
                  <a:gd name="connsiteX10" fmla="*/ 60523 w 65983"/>
                  <a:gd name="connsiteY10" fmla="*/ 79108 h 86080"/>
                  <a:gd name="connsiteX11" fmla="*/ 21558 w 65983"/>
                  <a:gd name="connsiteY11" fmla="*/ 85978 h 86080"/>
                  <a:gd name="connsiteX12" fmla="*/ 20431 w 65983"/>
                  <a:gd name="connsiteY12" fmla="*/ 86080 h 8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83" h="86080">
                    <a:moveTo>
                      <a:pt x="20431" y="86080"/>
                    </a:moveTo>
                    <a:cubicBezTo>
                      <a:pt x="19072" y="86080"/>
                      <a:pt x="17765" y="85670"/>
                      <a:pt x="16637" y="84876"/>
                    </a:cubicBezTo>
                    <a:cubicBezTo>
                      <a:pt x="15201" y="83876"/>
                      <a:pt x="14227" y="82338"/>
                      <a:pt x="13919" y="80620"/>
                    </a:cubicBezTo>
                    <a:lnTo>
                      <a:pt x="0" y="1051"/>
                    </a:lnTo>
                    <a:lnTo>
                      <a:pt x="13304" y="846"/>
                    </a:lnTo>
                    <a:lnTo>
                      <a:pt x="25763" y="71853"/>
                    </a:lnTo>
                    <a:lnTo>
                      <a:pt x="51756" y="67265"/>
                    </a:lnTo>
                    <a:lnTo>
                      <a:pt x="39990" y="436"/>
                    </a:lnTo>
                    <a:lnTo>
                      <a:pt x="53268" y="0"/>
                    </a:lnTo>
                    <a:lnTo>
                      <a:pt x="65880" y="71469"/>
                    </a:lnTo>
                    <a:cubicBezTo>
                      <a:pt x="66521" y="75058"/>
                      <a:pt x="64112" y="78467"/>
                      <a:pt x="60523" y="79108"/>
                    </a:cubicBezTo>
                    <a:lnTo>
                      <a:pt x="21558" y="85978"/>
                    </a:lnTo>
                    <a:cubicBezTo>
                      <a:pt x="21200" y="86055"/>
                      <a:pt x="20815" y="86080"/>
                      <a:pt x="20431" y="86080"/>
                    </a:cubicBezTo>
                    <a:close/>
                  </a:path>
                </a:pathLst>
              </a:custGeom>
              <a:solidFill>
                <a:schemeClr val="tx2"/>
              </a:solidFill>
              <a:ln w="2556" cap="flat">
                <a:noFill/>
                <a:prstDash val="solid"/>
                <a:miter/>
              </a:ln>
            </p:spPr>
            <p:txBody>
              <a:bodyPr rtlCol="0" anchor="ctr"/>
              <a:lstStyle/>
              <a:p>
                <a:endParaRPr lang="en-GB" dirty="0"/>
              </a:p>
            </p:txBody>
          </p:sp>
        </p:grpSp>
        <p:grpSp>
          <p:nvGrpSpPr>
            <p:cNvPr id="52" name="Grafik 210">
              <a:extLst>
                <a:ext uri="{FF2B5EF4-FFF2-40B4-BE49-F238E27FC236}">
                  <a16:creationId xmlns:a16="http://schemas.microsoft.com/office/drawing/2014/main" id="{F11E20E9-3F65-4105-9D73-EA4CACF0CB5C}"/>
                </a:ext>
              </a:extLst>
            </p:cNvPr>
            <p:cNvGrpSpPr/>
            <p:nvPr/>
          </p:nvGrpSpPr>
          <p:grpSpPr>
            <a:xfrm>
              <a:off x="898852" y="1691156"/>
              <a:ext cx="201198" cy="167676"/>
              <a:chOff x="8121096" y="1744471"/>
              <a:chExt cx="158318" cy="131940"/>
            </a:xfrm>
            <a:solidFill>
              <a:schemeClr val="accent1"/>
            </a:solidFill>
          </p:grpSpPr>
          <p:sp>
            <p:nvSpPr>
              <p:cNvPr id="53" name="Freihandform: Form 631">
                <a:extLst>
                  <a:ext uri="{FF2B5EF4-FFF2-40B4-BE49-F238E27FC236}">
                    <a16:creationId xmlns:a16="http://schemas.microsoft.com/office/drawing/2014/main" id="{34738128-00C8-4621-A4A9-C473ABFBFD3C}"/>
                  </a:ext>
                </a:extLst>
              </p:cNvPr>
              <p:cNvSpPr/>
              <p:nvPr/>
            </p:nvSpPr>
            <p:spPr>
              <a:xfrm>
                <a:off x="8160675" y="1744471"/>
                <a:ext cx="118738" cy="13201"/>
              </a:xfrm>
              <a:custGeom>
                <a:avLst/>
                <a:gdLst>
                  <a:gd name="connsiteX0" fmla="*/ 0 w 118738"/>
                  <a:gd name="connsiteY0" fmla="*/ 0 h 13201"/>
                  <a:gd name="connsiteX1" fmla="*/ 118738 w 118738"/>
                  <a:gd name="connsiteY1" fmla="*/ 0 h 13201"/>
                  <a:gd name="connsiteX2" fmla="*/ 118738 w 118738"/>
                  <a:gd name="connsiteY2" fmla="*/ 13202 h 13201"/>
                  <a:gd name="connsiteX3" fmla="*/ 0 w 118738"/>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18738" h="13201">
                    <a:moveTo>
                      <a:pt x="0" y="0"/>
                    </a:moveTo>
                    <a:lnTo>
                      <a:pt x="118738" y="0"/>
                    </a:lnTo>
                    <a:lnTo>
                      <a:pt x="118738"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54" name="Freihandform: Form 632">
                <a:extLst>
                  <a:ext uri="{FF2B5EF4-FFF2-40B4-BE49-F238E27FC236}">
                    <a16:creationId xmlns:a16="http://schemas.microsoft.com/office/drawing/2014/main" id="{A8FE6D48-5155-4DF9-8F17-76C31104D1AA}"/>
                  </a:ext>
                </a:extLst>
              </p:cNvPr>
              <p:cNvSpPr/>
              <p:nvPr/>
            </p:nvSpPr>
            <p:spPr>
              <a:xfrm>
                <a:off x="8121096" y="1744471"/>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55" name="Freihandform: Form 633">
                <a:extLst>
                  <a:ext uri="{FF2B5EF4-FFF2-40B4-BE49-F238E27FC236}">
                    <a16:creationId xmlns:a16="http://schemas.microsoft.com/office/drawing/2014/main" id="{90DCCEF8-6EBC-4117-9850-62C6ED4CC5E1}"/>
                  </a:ext>
                </a:extLst>
              </p:cNvPr>
              <p:cNvSpPr/>
              <p:nvPr/>
            </p:nvSpPr>
            <p:spPr>
              <a:xfrm>
                <a:off x="8160675" y="1803840"/>
                <a:ext cx="118738" cy="13201"/>
              </a:xfrm>
              <a:custGeom>
                <a:avLst/>
                <a:gdLst>
                  <a:gd name="connsiteX0" fmla="*/ 0 w 118738"/>
                  <a:gd name="connsiteY0" fmla="*/ 0 h 13201"/>
                  <a:gd name="connsiteX1" fmla="*/ 118738 w 118738"/>
                  <a:gd name="connsiteY1" fmla="*/ 0 h 13201"/>
                  <a:gd name="connsiteX2" fmla="*/ 118738 w 118738"/>
                  <a:gd name="connsiteY2" fmla="*/ 13202 h 13201"/>
                  <a:gd name="connsiteX3" fmla="*/ 0 w 118738"/>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18738" h="13201">
                    <a:moveTo>
                      <a:pt x="0" y="0"/>
                    </a:moveTo>
                    <a:lnTo>
                      <a:pt x="118738" y="0"/>
                    </a:lnTo>
                    <a:lnTo>
                      <a:pt x="118738"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56" name="Freihandform: Form 634">
                <a:extLst>
                  <a:ext uri="{FF2B5EF4-FFF2-40B4-BE49-F238E27FC236}">
                    <a16:creationId xmlns:a16="http://schemas.microsoft.com/office/drawing/2014/main" id="{D38CFC66-099E-4E14-937D-00FBF60E0661}"/>
                  </a:ext>
                </a:extLst>
              </p:cNvPr>
              <p:cNvSpPr/>
              <p:nvPr/>
            </p:nvSpPr>
            <p:spPr>
              <a:xfrm>
                <a:off x="8121096" y="1803840"/>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57" name="Freihandform: Form 635">
                <a:extLst>
                  <a:ext uri="{FF2B5EF4-FFF2-40B4-BE49-F238E27FC236}">
                    <a16:creationId xmlns:a16="http://schemas.microsoft.com/office/drawing/2014/main" id="{2D3DBCCC-9073-4D0D-9D6B-21167A751B80}"/>
                  </a:ext>
                </a:extLst>
              </p:cNvPr>
              <p:cNvSpPr/>
              <p:nvPr/>
            </p:nvSpPr>
            <p:spPr>
              <a:xfrm>
                <a:off x="8160675" y="1863209"/>
                <a:ext cx="118738" cy="13201"/>
              </a:xfrm>
              <a:custGeom>
                <a:avLst/>
                <a:gdLst>
                  <a:gd name="connsiteX0" fmla="*/ 0 w 118738"/>
                  <a:gd name="connsiteY0" fmla="*/ 0 h 13201"/>
                  <a:gd name="connsiteX1" fmla="*/ 118738 w 118738"/>
                  <a:gd name="connsiteY1" fmla="*/ 0 h 13201"/>
                  <a:gd name="connsiteX2" fmla="*/ 118738 w 118738"/>
                  <a:gd name="connsiteY2" fmla="*/ 13202 h 13201"/>
                  <a:gd name="connsiteX3" fmla="*/ 0 w 118738"/>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18738" h="13201">
                    <a:moveTo>
                      <a:pt x="0" y="0"/>
                    </a:moveTo>
                    <a:lnTo>
                      <a:pt x="118738" y="0"/>
                    </a:lnTo>
                    <a:lnTo>
                      <a:pt x="118738"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58" name="Freihandform: Form 636">
                <a:extLst>
                  <a:ext uri="{FF2B5EF4-FFF2-40B4-BE49-F238E27FC236}">
                    <a16:creationId xmlns:a16="http://schemas.microsoft.com/office/drawing/2014/main" id="{13CECB92-5E0B-46A1-A238-DFBF2C44279D}"/>
                  </a:ext>
                </a:extLst>
              </p:cNvPr>
              <p:cNvSpPr/>
              <p:nvPr/>
            </p:nvSpPr>
            <p:spPr>
              <a:xfrm>
                <a:off x="8121096" y="1863209"/>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grpSp>
      </p:grpSp>
      <p:grpSp>
        <p:nvGrpSpPr>
          <p:cNvPr id="8" name="Group 7">
            <a:extLst>
              <a:ext uri="{FF2B5EF4-FFF2-40B4-BE49-F238E27FC236}">
                <a16:creationId xmlns:a16="http://schemas.microsoft.com/office/drawing/2014/main" id="{0CE092E2-936E-43E7-99AB-CB136B2E07C6}"/>
              </a:ext>
            </a:extLst>
          </p:cNvPr>
          <p:cNvGrpSpPr/>
          <p:nvPr/>
        </p:nvGrpSpPr>
        <p:grpSpPr>
          <a:xfrm>
            <a:off x="1642138" y="1585984"/>
            <a:ext cx="394693" cy="432000"/>
            <a:chOff x="1642138" y="1585984"/>
            <a:chExt cx="394693" cy="432000"/>
          </a:xfrm>
        </p:grpSpPr>
        <p:grpSp>
          <p:nvGrpSpPr>
            <p:cNvPr id="64" name="Gruppieren 814">
              <a:extLst>
                <a:ext uri="{FF2B5EF4-FFF2-40B4-BE49-F238E27FC236}">
                  <a16:creationId xmlns:a16="http://schemas.microsoft.com/office/drawing/2014/main" id="{50579A70-45C2-4AE9-A251-1185371F38DF}"/>
                </a:ext>
              </a:extLst>
            </p:cNvPr>
            <p:cNvGrpSpPr/>
            <p:nvPr/>
          </p:nvGrpSpPr>
          <p:grpSpPr>
            <a:xfrm>
              <a:off x="1722142" y="1719317"/>
              <a:ext cx="314689" cy="165334"/>
              <a:chOff x="1808503" y="2595456"/>
              <a:chExt cx="389207" cy="204485"/>
            </a:xfrm>
          </p:grpSpPr>
          <p:sp>
            <p:nvSpPr>
              <p:cNvPr id="78" name="Freihandform: Form 644">
                <a:extLst>
                  <a:ext uri="{FF2B5EF4-FFF2-40B4-BE49-F238E27FC236}">
                    <a16:creationId xmlns:a16="http://schemas.microsoft.com/office/drawing/2014/main" id="{C81FEF9A-E08C-430F-BEE2-7541E5F076B5}"/>
                  </a:ext>
                </a:extLst>
              </p:cNvPr>
              <p:cNvSpPr/>
              <p:nvPr/>
            </p:nvSpPr>
            <p:spPr>
              <a:xfrm>
                <a:off x="1808503" y="2595456"/>
                <a:ext cx="389207" cy="204485"/>
              </a:xfrm>
              <a:custGeom>
                <a:avLst/>
                <a:gdLst>
                  <a:gd name="connsiteX0" fmla="*/ 356216 w 389207"/>
                  <a:gd name="connsiteY0" fmla="*/ 204486 h 204485"/>
                  <a:gd name="connsiteX1" fmla="*/ 351345 w 389207"/>
                  <a:gd name="connsiteY1" fmla="*/ 202332 h 204485"/>
                  <a:gd name="connsiteX2" fmla="*/ 293335 w 389207"/>
                  <a:gd name="connsiteY2" fmla="*/ 138528 h 204485"/>
                  <a:gd name="connsiteX3" fmla="*/ 19790 w 389207"/>
                  <a:gd name="connsiteY3" fmla="*/ 138528 h 204485"/>
                  <a:gd name="connsiteX4" fmla="*/ 0 w 389207"/>
                  <a:gd name="connsiteY4" fmla="*/ 118738 h 204485"/>
                  <a:gd name="connsiteX5" fmla="*/ 0 w 389207"/>
                  <a:gd name="connsiteY5" fmla="*/ 19790 h 204485"/>
                  <a:gd name="connsiteX6" fmla="*/ 19790 w 389207"/>
                  <a:gd name="connsiteY6" fmla="*/ 0 h 204485"/>
                  <a:gd name="connsiteX7" fmla="*/ 369417 w 389207"/>
                  <a:gd name="connsiteY7" fmla="*/ 0 h 204485"/>
                  <a:gd name="connsiteX8" fmla="*/ 389207 w 389207"/>
                  <a:gd name="connsiteY8" fmla="*/ 19790 h 204485"/>
                  <a:gd name="connsiteX9" fmla="*/ 389207 w 389207"/>
                  <a:gd name="connsiteY9" fmla="*/ 118738 h 204485"/>
                  <a:gd name="connsiteX10" fmla="*/ 369417 w 389207"/>
                  <a:gd name="connsiteY10" fmla="*/ 138528 h 204485"/>
                  <a:gd name="connsiteX11" fmla="*/ 362829 w 389207"/>
                  <a:gd name="connsiteY11" fmla="*/ 138528 h 204485"/>
                  <a:gd name="connsiteX12" fmla="*/ 362829 w 389207"/>
                  <a:gd name="connsiteY12" fmla="*/ 197898 h 204485"/>
                  <a:gd name="connsiteX13" fmla="*/ 358600 w 389207"/>
                  <a:gd name="connsiteY13" fmla="*/ 204050 h 204485"/>
                  <a:gd name="connsiteX14" fmla="*/ 356216 w 389207"/>
                  <a:gd name="connsiteY14" fmla="*/ 204486 h 204485"/>
                  <a:gd name="connsiteX15" fmla="*/ 19790 w 389207"/>
                  <a:gd name="connsiteY15" fmla="*/ 13176 h 204485"/>
                  <a:gd name="connsiteX16" fmla="*/ 13202 w 389207"/>
                  <a:gd name="connsiteY16" fmla="*/ 19764 h 204485"/>
                  <a:gd name="connsiteX17" fmla="*/ 13202 w 389207"/>
                  <a:gd name="connsiteY17" fmla="*/ 118713 h 204485"/>
                  <a:gd name="connsiteX18" fmla="*/ 19790 w 389207"/>
                  <a:gd name="connsiteY18" fmla="*/ 125301 h 204485"/>
                  <a:gd name="connsiteX19" fmla="*/ 296257 w 389207"/>
                  <a:gd name="connsiteY19" fmla="*/ 125301 h 204485"/>
                  <a:gd name="connsiteX20" fmla="*/ 301127 w 389207"/>
                  <a:gd name="connsiteY20" fmla="*/ 127454 h 204485"/>
                  <a:gd name="connsiteX21" fmla="*/ 349628 w 389207"/>
                  <a:gd name="connsiteY21" fmla="*/ 180799 h 204485"/>
                  <a:gd name="connsiteX22" fmla="*/ 349628 w 389207"/>
                  <a:gd name="connsiteY22" fmla="*/ 131889 h 204485"/>
                  <a:gd name="connsiteX23" fmla="*/ 356216 w 389207"/>
                  <a:gd name="connsiteY23" fmla="*/ 125301 h 204485"/>
                  <a:gd name="connsiteX24" fmla="*/ 369417 w 389207"/>
                  <a:gd name="connsiteY24" fmla="*/ 125301 h 204485"/>
                  <a:gd name="connsiteX25" fmla="*/ 376006 w 389207"/>
                  <a:gd name="connsiteY25" fmla="*/ 118713 h 204485"/>
                  <a:gd name="connsiteX26" fmla="*/ 376006 w 389207"/>
                  <a:gd name="connsiteY26" fmla="*/ 19764 h 204485"/>
                  <a:gd name="connsiteX27" fmla="*/ 369417 w 389207"/>
                  <a:gd name="connsiteY27" fmla="*/ 13176 h 204485"/>
                  <a:gd name="connsiteX28" fmla="*/ 19790 w 389207"/>
                  <a:gd name="connsiteY28" fmla="*/ 13176 h 20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89207" h="204485">
                    <a:moveTo>
                      <a:pt x="356216" y="204486"/>
                    </a:moveTo>
                    <a:cubicBezTo>
                      <a:pt x="354396" y="204486"/>
                      <a:pt x="352601" y="203717"/>
                      <a:pt x="351345" y="202332"/>
                    </a:cubicBezTo>
                    <a:lnTo>
                      <a:pt x="293335" y="138528"/>
                    </a:lnTo>
                    <a:lnTo>
                      <a:pt x="19790" y="138528"/>
                    </a:lnTo>
                    <a:cubicBezTo>
                      <a:pt x="8870" y="138528"/>
                      <a:pt x="0" y="129659"/>
                      <a:pt x="0" y="118738"/>
                    </a:cubicBezTo>
                    <a:lnTo>
                      <a:pt x="0" y="19790"/>
                    </a:lnTo>
                    <a:cubicBezTo>
                      <a:pt x="0" y="8869"/>
                      <a:pt x="8870" y="0"/>
                      <a:pt x="19790" y="0"/>
                    </a:cubicBezTo>
                    <a:lnTo>
                      <a:pt x="369417" y="0"/>
                    </a:lnTo>
                    <a:cubicBezTo>
                      <a:pt x="380338" y="0"/>
                      <a:pt x="389207" y="8869"/>
                      <a:pt x="389207" y="19790"/>
                    </a:cubicBezTo>
                    <a:lnTo>
                      <a:pt x="389207" y="118738"/>
                    </a:lnTo>
                    <a:cubicBezTo>
                      <a:pt x="389207" y="129659"/>
                      <a:pt x="380338" y="138528"/>
                      <a:pt x="369417" y="138528"/>
                    </a:cubicBezTo>
                    <a:lnTo>
                      <a:pt x="362829" y="138528"/>
                    </a:lnTo>
                    <a:lnTo>
                      <a:pt x="362829" y="197898"/>
                    </a:lnTo>
                    <a:cubicBezTo>
                      <a:pt x="362829" y="200615"/>
                      <a:pt x="361163" y="203076"/>
                      <a:pt x="358600" y="204050"/>
                    </a:cubicBezTo>
                    <a:cubicBezTo>
                      <a:pt x="357831" y="204332"/>
                      <a:pt x="357010" y="204486"/>
                      <a:pt x="356216" y="204486"/>
                    </a:cubicBezTo>
                    <a:close/>
                    <a:moveTo>
                      <a:pt x="19790" y="13176"/>
                    </a:moveTo>
                    <a:cubicBezTo>
                      <a:pt x="16150" y="13176"/>
                      <a:pt x="13202" y="16124"/>
                      <a:pt x="13202" y="19764"/>
                    </a:cubicBezTo>
                    <a:lnTo>
                      <a:pt x="13202" y="118713"/>
                    </a:lnTo>
                    <a:cubicBezTo>
                      <a:pt x="13202" y="122353"/>
                      <a:pt x="16150" y="125301"/>
                      <a:pt x="19790" y="125301"/>
                    </a:cubicBezTo>
                    <a:lnTo>
                      <a:pt x="296257" y="125301"/>
                    </a:lnTo>
                    <a:cubicBezTo>
                      <a:pt x="298103" y="125301"/>
                      <a:pt x="299897" y="126096"/>
                      <a:pt x="301127" y="127454"/>
                    </a:cubicBezTo>
                    <a:lnTo>
                      <a:pt x="349628" y="180799"/>
                    </a:lnTo>
                    <a:lnTo>
                      <a:pt x="349628" y="131889"/>
                    </a:lnTo>
                    <a:cubicBezTo>
                      <a:pt x="349628" y="128249"/>
                      <a:pt x="352576" y="125301"/>
                      <a:pt x="356216" y="125301"/>
                    </a:cubicBezTo>
                    <a:lnTo>
                      <a:pt x="369417" y="125301"/>
                    </a:lnTo>
                    <a:cubicBezTo>
                      <a:pt x="373057" y="125301"/>
                      <a:pt x="376006" y="122353"/>
                      <a:pt x="376006" y="118713"/>
                    </a:cubicBezTo>
                    <a:lnTo>
                      <a:pt x="376006" y="19764"/>
                    </a:lnTo>
                    <a:cubicBezTo>
                      <a:pt x="376006" y="16124"/>
                      <a:pt x="373057" y="13176"/>
                      <a:pt x="369417" y="13176"/>
                    </a:cubicBezTo>
                    <a:lnTo>
                      <a:pt x="19790" y="13176"/>
                    </a:lnTo>
                    <a:close/>
                  </a:path>
                </a:pathLst>
              </a:custGeom>
              <a:solidFill>
                <a:schemeClr val="accent1"/>
              </a:solidFill>
              <a:ln w="2556" cap="flat">
                <a:noFill/>
                <a:prstDash val="solid"/>
                <a:miter/>
              </a:ln>
            </p:spPr>
            <p:txBody>
              <a:bodyPr rtlCol="0" anchor="ctr"/>
              <a:lstStyle/>
              <a:p>
                <a:endParaRPr lang="en-GB" dirty="0"/>
              </a:p>
            </p:txBody>
          </p:sp>
          <p:sp>
            <p:nvSpPr>
              <p:cNvPr id="79" name="Freihandform: Form 646">
                <a:extLst>
                  <a:ext uri="{FF2B5EF4-FFF2-40B4-BE49-F238E27FC236}">
                    <a16:creationId xmlns:a16="http://schemas.microsoft.com/office/drawing/2014/main" id="{89DE99AD-B05B-4B10-8317-E9465EEA3BE4}"/>
                  </a:ext>
                </a:extLst>
              </p:cNvPr>
              <p:cNvSpPr/>
              <p:nvPr/>
            </p:nvSpPr>
            <p:spPr>
              <a:xfrm>
                <a:off x="1907452" y="2635035"/>
                <a:ext cx="250653" cy="13176"/>
              </a:xfrm>
              <a:custGeom>
                <a:avLst/>
                <a:gdLst>
                  <a:gd name="connsiteX0" fmla="*/ 244065 w 250653"/>
                  <a:gd name="connsiteY0" fmla="*/ 13176 h 13176"/>
                  <a:gd name="connsiteX1" fmla="*/ 6588 w 250653"/>
                  <a:gd name="connsiteY1" fmla="*/ 13176 h 13176"/>
                  <a:gd name="connsiteX2" fmla="*/ 0 w 250653"/>
                  <a:gd name="connsiteY2" fmla="*/ 6588 h 13176"/>
                  <a:gd name="connsiteX3" fmla="*/ 6588 w 250653"/>
                  <a:gd name="connsiteY3" fmla="*/ 0 h 13176"/>
                  <a:gd name="connsiteX4" fmla="*/ 244065 w 250653"/>
                  <a:gd name="connsiteY4" fmla="*/ 0 h 13176"/>
                  <a:gd name="connsiteX5" fmla="*/ 250653 w 250653"/>
                  <a:gd name="connsiteY5" fmla="*/ 6588 h 13176"/>
                  <a:gd name="connsiteX6" fmla="*/ 244065 w 250653"/>
                  <a:gd name="connsiteY6" fmla="*/ 13176 h 1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653" h="13176">
                    <a:moveTo>
                      <a:pt x="244065" y="13176"/>
                    </a:moveTo>
                    <a:lnTo>
                      <a:pt x="6588" y="13176"/>
                    </a:lnTo>
                    <a:cubicBezTo>
                      <a:pt x="2948" y="13176"/>
                      <a:pt x="0" y="10228"/>
                      <a:pt x="0" y="6588"/>
                    </a:cubicBezTo>
                    <a:cubicBezTo>
                      <a:pt x="0" y="2948"/>
                      <a:pt x="2948" y="0"/>
                      <a:pt x="6588" y="0"/>
                    </a:cubicBezTo>
                    <a:lnTo>
                      <a:pt x="244065" y="0"/>
                    </a:lnTo>
                    <a:cubicBezTo>
                      <a:pt x="247705" y="0"/>
                      <a:pt x="250653" y="2948"/>
                      <a:pt x="250653" y="6588"/>
                    </a:cubicBezTo>
                    <a:cubicBezTo>
                      <a:pt x="250653" y="10228"/>
                      <a:pt x="247731" y="13176"/>
                      <a:pt x="244065" y="13176"/>
                    </a:cubicBezTo>
                    <a:close/>
                  </a:path>
                </a:pathLst>
              </a:custGeom>
              <a:solidFill>
                <a:schemeClr val="accent1"/>
              </a:solidFill>
              <a:ln w="2556" cap="flat">
                <a:noFill/>
                <a:prstDash val="solid"/>
                <a:miter/>
              </a:ln>
            </p:spPr>
            <p:txBody>
              <a:bodyPr rtlCol="0" anchor="ctr"/>
              <a:lstStyle/>
              <a:p>
                <a:endParaRPr lang="en-GB" dirty="0"/>
              </a:p>
            </p:txBody>
          </p:sp>
          <p:sp>
            <p:nvSpPr>
              <p:cNvPr id="80" name="Freihandform: Form 647">
                <a:extLst>
                  <a:ext uri="{FF2B5EF4-FFF2-40B4-BE49-F238E27FC236}">
                    <a16:creationId xmlns:a16="http://schemas.microsoft.com/office/drawing/2014/main" id="{ED3B7464-DBBF-4929-B3BC-61B561F70071}"/>
                  </a:ext>
                </a:extLst>
              </p:cNvPr>
              <p:cNvSpPr/>
              <p:nvPr/>
            </p:nvSpPr>
            <p:spPr>
              <a:xfrm>
                <a:off x="1848083" y="2681229"/>
                <a:ext cx="131914" cy="13176"/>
              </a:xfrm>
              <a:custGeom>
                <a:avLst/>
                <a:gdLst>
                  <a:gd name="connsiteX0" fmla="*/ 125327 w 131914"/>
                  <a:gd name="connsiteY0" fmla="*/ 13176 h 13176"/>
                  <a:gd name="connsiteX1" fmla="*/ 6588 w 131914"/>
                  <a:gd name="connsiteY1" fmla="*/ 13176 h 13176"/>
                  <a:gd name="connsiteX2" fmla="*/ 0 w 131914"/>
                  <a:gd name="connsiteY2" fmla="*/ 6588 h 13176"/>
                  <a:gd name="connsiteX3" fmla="*/ 6588 w 131914"/>
                  <a:gd name="connsiteY3" fmla="*/ 0 h 13176"/>
                  <a:gd name="connsiteX4" fmla="*/ 125327 w 131914"/>
                  <a:gd name="connsiteY4" fmla="*/ 0 h 13176"/>
                  <a:gd name="connsiteX5" fmla="*/ 131915 w 131914"/>
                  <a:gd name="connsiteY5" fmla="*/ 6588 h 13176"/>
                  <a:gd name="connsiteX6" fmla="*/ 125327 w 131914"/>
                  <a:gd name="connsiteY6" fmla="*/ 13176 h 1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14" h="13176">
                    <a:moveTo>
                      <a:pt x="125327" y="13176"/>
                    </a:moveTo>
                    <a:lnTo>
                      <a:pt x="6588" y="13176"/>
                    </a:lnTo>
                    <a:cubicBezTo>
                      <a:pt x="2948" y="13176"/>
                      <a:pt x="0" y="10228"/>
                      <a:pt x="0" y="6588"/>
                    </a:cubicBezTo>
                    <a:cubicBezTo>
                      <a:pt x="0" y="2948"/>
                      <a:pt x="2948" y="0"/>
                      <a:pt x="6588" y="0"/>
                    </a:cubicBezTo>
                    <a:lnTo>
                      <a:pt x="125327" y="0"/>
                    </a:lnTo>
                    <a:cubicBezTo>
                      <a:pt x="128967" y="0"/>
                      <a:pt x="131915" y="2948"/>
                      <a:pt x="131915" y="6588"/>
                    </a:cubicBezTo>
                    <a:cubicBezTo>
                      <a:pt x="131940" y="10202"/>
                      <a:pt x="128967" y="13176"/>
                      <a:pt x="125327" y="13176"/>
                    </a:cubicBezTo>
                    <a:close/>
                  </a:path>
                </a:pathLst>
              </a:custGeom>
              <a:solidFill>
                <a:schemeClr val="accent1"/>
              </a:solidFill>
              <a:ln w="2556" cap="flat">
                <a:noFill/>
                <a:prstDash val="solid"/>
                <a:miter/>
              </a:ln>
            </p:spPr>
            <p:txBody>
              <a:bodyPr rtlCol="0" anchor="ctr"/>
              <a:lstStyle/>
              <a:p>
                <a:endParaRPr lang="en-GB" dirty="0"/>
              </a:p>
            </p:txBody>
          </p:sp>
          <p:sp>
            <p:nvSpPr>
              <p:cNvPr id="81" name="Freihandform: Form 648">
                <a:extLst>
                  <a:ext uri="{FF2B5EF4-FFF2-40B4-BE49-F238E27FC236}">
                    <a16:creationId xmlns:a16="http://schemas.microsoft.com/office/drawing/2014/main" id="{62FDD45B-9F8D-4F04-BD93-E285EAF0D995}"/>
                  </a:ext>
                </a:extLst>
              </p:cNvPr>
              <p:cNvSpPr/>
              <p:nvPr/>
            </p:nvSpPr>
            <p:spPr>
              <a:xfrm>
                <a:off x="2012989" y="2681229"/>
                <a:ext cx="145116" cy="13176"/>
              </a:xfrm>
              <a:custGeom>
                <a:avLst/>
                <a:gdLst>
                  <a:gd name="connsiteX0" fmla="*/ 138528 w 145116"/>
                  <a:gd name="connsiteY0" fmla="*/ 13176 h 13176"/>
                  <a:gd name="connsiteX1" fmla="*/ 6588 w 145116"/>
                  <a:gd name="connsiteY1" fmla="*/ 13176 h 13176"/>
                  <a:gd name="connsiteX2" fmla="*/ 0 w 145116"/>
                  <a:gd name="connsiteY2" fmla="*/ 6588 h 13176"/>
                  <a:gd name="connsiteX3" fmla="*/ 6588 w 145116"/>
                  <a:gd name="connsiteY3" fmla="*/ 0 h 13176"/>
                  <a:gd name="connsiteX4" fmla="*/ 138528 w 145116"/>
                  <a:gd name="connsiteY4" fmla="*/ 0 h 13176"/>
                  <a:gd name="connsiteX5" fmla="*/ 145116 w 145116"/>
                  <a:gd name="connsiteY5" fmla="*/ 6588 h 13176"/>
                  <a:gd name="connsiteX6" fmla="*/ 138528 w 145116"/>
                  <a:gd name="connsiteY6" fmla="*/ 13176 h 1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5116" h="13176">
                    <a:moveTo>
                      <a:pt x="138528" y="13176"/>
                    </a:moveTo>
                    <a:lnTo>
                      <a:pt x="6588" y="13176"/>
                    </a:lnTo>
                    <a:cubicBezTo>
                      <a:pt x="2948" y="13176"/>
                      <a:pt x="0" y="10228"/>
                      <a:pt x="0" y="6588"/>
                    </a:cubicBezTo>
                    <a:cubicBezTo>
                      <a:pt x="0" y="2948"/>
                      <a:pt x="2948" y="0"/>
                      <a:pt x="6588" y="0"/>
                    </a:cubicBezTo>
                    <a:lnTo>
                      <a:pt x="138528" y="0"/>
                    </a:lnTo>
                    <a:cubicBezTo>
                      <a:pt x="142168" y="0"/>
                      <a:pt x="145116" y="2948"/>
                      <a:pt x="145116" y="6588"/>
                    </a:cubicBezTo>
                    <a:cubicBezTo>
                      <a:pt x="145142" y="10202"/>
                      <a:pt x="142194" y="13176"/>
                      <a:pt x="138528" y="13176"/>
                    </a:cubicBezTo>
                    <a:close/>
                  </a:path>
                </a:pathLst>
              </a:custGeom>
              <a:solidFill>
                <a:schemeClr val="accent1"/>
              </a:solidFill>
              <a:ln w="2556" cap="flat">
                <a:noFill/>
                <a:prstDash val="solid"/>
                <a:miter/>
              </a:ln>
            </p:spPr>
            <p:txBody>
              <a:bodyPr rtlCol="0" anchor="ctr"/>
              <a:lstStyle/>
              <a:p>
                <a:endParaRPr lang="en-GB" dirty="0"/>
              </a:p>
            </p:txBody>
          </p:sp>
        </p:grpSp>
        <p:grpSp>
          <p:nvGrpSpPr>
            <p:cNvPr id="65" name="Gruppieren 813">
              <a:extLst>
                <a:ext uri="{FF2B5EF4-FFF2-40B4-BE49-F238E27FC236}">
                  <a16:creationId xmlns:a16="http://schemas.microsoft.com/office/drawing/2014/main" id="{0678FB78-102E-49E9-8DEC-2620B2647873}"/>
                </a:ext>
              </a:extLst>
            </p:cNvPr>
            <p:cNvGrpSpPr/>
            <p:nvPr/>
          </p:nvGrpSpPr>
          <p:grpSpPr>
            <a:xfrm>
              <a:off x="1642138" y="1585984"/>
              <a:ext cx="314689" cy="432000"/>
              <a:chOff x="1709554" y="2430550"/>
              <a:chExt cx="389207" cy="534297"/>
            </a:xfrm>
          </p:grpSpPr>
          <p:sp>
            <p:nvSpPr>
              <p:cNvPr id="66" name="Freihandform: Form 643">
                <a:extLst>
                  <a:ext uri="{FF2B5EF4-FFF2-40B4-BE49-F238E27FC236}">
                    <a16:creationId xmlns:a16="http://schemas.microsoft.com/office/drawing/2014/main" id="{EF52ECB9-3DC0-4176-B0A1-37D04EAA9E67}"/>
                  </a:ext>
                </a:extLst>
              </p:cNvPr>
              <p:cNvSpPr/>
              <p:nvPr/>
            </p:nvSpPr>
            <p:spPr>
              <a:xfrm>
                <a:off x="1709554" y="2430550"/>
                <a:ext cx="389207" cy="204485"/>
              </a:xfrm>
              <a:custGeom>
                <a:avLst/>
                <a:gdLst>
                  <a:gd name="connsiteX0" fmla="*/ 32992 w 389207"/>
                  <a:gd name="connsiteY0" fmla="*/ 204486 h 204485"/>
                  <a:gd name="connsiteX1" fmla="*/ 30607 w 389207"/>
                  <a:gd name="connsiteY1" fmla="*/ 204050 h 204485"/>
                  <a:gd name="connsiteX2" fmla="*/ 26378 w 389207"/>
                  <a:gd name="connsiteY2" fmla="*/ 197898 h 204485"/>
                  <a:gd name="connsiteX3" fmla="*/ 26378 w 389207"/>
                  <a:gd name="connsiteY3" fmla="*/ 138528 h 204485"/>
                  <a:gd name="connsiteX4" fmla="*/ 19790 w 389207"/>
                  <a:gd name="connsiteY4" fmla="*/ 138528 h 204485"/>
                  <a:gd name="connsiteX5" fmla="*/ 0 w 389207"/>
                  <a:gd name="connsiteY5" fmla="*/ 118739 h 204485"/>
                  <a:gd name="connsiteX6" fmla="*/ 0 w 389207"/>
                  <a:gd name="connsiteY6" fmla="*/ 19790 h 204485"/>
                  <a:gd name="connsiteX7" fmla="*/ 19790 w 389207"/>
                  <a:gd name="connsiteY7" fmla="*/ 0 h 204485"/>
                  <a:gd name="connsiteX8" fmla="*/ 369417 w 389207"/>
                  <a:gd name="connsiteY8" fmla="*/ 0 h 204485"/>
                  <a:gd name="connsiteX9" fmla="*/ 389207 w 389207"/>
                  <a:gd name="connsiteY9" fmla="*/ 19790 h 204485"/>
                  <a:gd name="connsiteX10" fmla="*/ 389207 w 389207"/>
                  <a:gd name="connsiteY10" fmla="*/ 118739 h 204485"/>
                  <a:gd name="connsiteX11" fmla="*/ 369417 w 389207"/>
                  <a:gd name="connsiteY11" fmla="*/ 138528 h 204485"/>
                  <a:gd name="connsiteX12" fmla="*/ 95873 w 389207"/>
                  <a:gd name="connsiteY12" fmla="*/ 138528 h 204485"/>
                  <a:gd name="connsiteX13" fmla="*/ 37862 w 389207"/>
                  <a:gd name="connsiteY13" fmla="*/ 202332 h 204485"/>
                  <a:gd name="connsiteX14" fmla="*/ 32992 w 389207"/>
                  <a:gd name="connsiteY14" fmla="*/ 204486 h 204485"/>
                  <a:gd name="connsiteX15" fmla="*/ 19790 w 389207"/>
                  <a:gd name="connsiteY15" fmla="*/ 13176 h 204485"/>
                  <a:gd name="connsiteX16" fmla="*/ 13202 w 389207"/>
                  <a:gd name="connsiteY16" fmla="*/ 19764 h 204485"/>
                  <a:gd name="connsiteX17" fmla="*/ 13202 w 389207"/>
                  <a:gd name="connsiteY17" fmla="*/ 118713 h 204485"/>
                  <a:gd name="connsiteX18" fmla="*/ 19790 w 389207"/>
                  <a:gd name="connsiteY18" fmla="*/ 125301 h 204485"/>
                  <a:gd name="connsiteX19" fmla="*/ 32992 w 389207"/>
                  <a:gd name="connsiteY19" fmla="*/ 125301 h 204485"/>
                  <a:gd name="connsiteX20" fmla="*/ 39580 w 389207"/>
                  <a:gd name="connsiteY20" fmla="*/ 131889 h 204485"/>
                  <a:gd name="connsiteX21" fmla="*/ 39580 w 389207"/>
                  <a:gd name="connsiteY21" fmla="*/ 180799 h 204485"/>
                  <a:gd name="connsiteX22" fmla="*/ 88080 w 389207"/>
                  <a:gd name="connsiteY22" fmla="*/ 127454 h 204485"/>
                  <a:gd name="connsiteX23" fmla="*/ 92950 w 389207"/>
                  <a:gd name="connsiteY23" fmla="*/ 125301 h 204485"/>
                  <a:gd name="connsiteX24" fmla="*/ 369417 w 389207"/>
                  <a:gd name="connsiteY24" fmla="*/ 125301 h 204485"/>
                  <a:gd name="connsiteX25" fmla="*/ 376006 w 389207"/>
                  <a:gd name="connsiteY25" fmla="*/ 118713 h 204485"/>
                  <a:gd name="connsiteX26" fmla="*/ 376006 w 389207"/>
                  <a:gd name="connsiteY26" fmla="*/ 19764 h 204485"/>
                  <a:gd name="connsiteX27" fmla="*/ 369417 w 389207"/>
                  <a:gd name="connsiteY27" fmla="*/ 13176 h 204485"/>
                  <a:gd name="connsiteX28" fmla="*/ 19790 w 389207"/>
                  <a:gd name="connsiteY28" fmla="*/ 13176 h 20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89207" h="204485">
                    <a:moveTo>
                      <a:pt x="32992" y="204486"/>
                    </a:moveTo>
                    <a:cubicBezTo>
                      <a:pt x="32197" y="204486"/>
                      <a:pt x="31377" y="204332"/>
                      <a:pt x="30607" y="204050"/>
                    </a:cubicBezTo>
                    <a:cubicBezTo>
                      <a:pt x="28070" y="203076"/>
                      <a:pt x="26378" y="200615"/>
                      <a:pt x="26378" y="197898"/>
                    </a:cubicBezTo>
                    <a:lnTo>
                      <a:pt x="26378" y="138528"/>
                    </a:lnTo>
                    <a:lnTo>
                      <a:pt x="19790" y="138528"/>
                    </a:lnTo>
                    <a:cubicBezTo>
                      <a:pt x="8870" y="138528"/>
                      <a:pt x="0" y="129659"/>
                      <a:pt x="0" y="118739"/>
                    </a:cubicBezTo>
                    <a:lnTo>
                      <a:pt x="0" y="19790"/>
                    </a:lnTo>
                    <a:cubicBezTo>
                      <a:pt x="0" y="8869"/>
                      <a:pt x="8870" y="0"/>
                      <a:pt x="19790" y="0"/>
                    </a:cubicBezTo>
                    <a:lnTo>
                      <a:pt x="369417" y="0"/>
                    </a:lnTo>
                    <a:cubicBezTo>
                      <a:pt x="380338" y="0"/>
                      <a:pt x="389207" y="8869"/>
                      <a:pt x="389207" y="19790"/>
                    </a:cubicBezTo>
                    <a:lnTo>
                      <a:pt x="389207" y="118739"/>
                    </a:lnTo>
                    <a:cubicBezTo>
                      <a:pt x="389207" y="129659"/>
                      <a:pt x="380338" y="138528"/>
                      <a:pt x="369417" y="138528"/>
                    </a:cubicBezTo>
                    <a:lnTo>
                      <a:pt x="95873" y="138528"/>
                    </a:lnTo>
                    <a:lnTo>
                      <a:pt x="37862" y="202332"/>
                    </a:lnTo>
                    <a:cubicBezTo>
                      <a:pt x="36580" y="203717"/>
                      <a:pt x="34812" y="204486"/>
                      <a:pt x="32992" y="204486"/>
                    </a:cubicBezTo>
                    <a:close/>
                    <a:moveTo>
                      <a:pt x="19790" y="13176"/>
                    </a:moveTo>
                    <a:cubicBezTo>
                      <a:pt x="16150" y="13176"/>
                      <a:pt x="13202" y="16124"/>
                      <a:pt x="13202" y="19764"/>
                    </a:cubicBezTo>
                    <a:lnTo>
                      <a:pt x="13202" y="118713"/>
                    </a:lnTo>
                    <a:cubicBezTo>
                      <a:pt x="13202" y="122353"/>
                      <a:pt x="16150" y="125301"/>
                      <a:pt x="19790" y="125301"/>
                    </a:cubicBezTo>
                    <a:lnTo>
                      <a:pt x="32992" y="125301"/>
                    </a:lnTo>
                    <a:cubicBezTo>
                      <a:pt x="36632" y="125301"/>
                      <a:pt x="39580" y="128249"/>
                      <a:pt x="39580" y="131889"/>
                    </a:cubicBezTo>
                    <a:lnTo>
                      <a:pt x="39580" y="180799"/>
                    </a:lnTo>
                    <a:lnTo>
                      <a:pt x="88080" y="127454"/>
                    </a:lnTo>
                    <a:cubicBezTo>
                      <a:pt x="89336" y="126070"/>
                      <a:pt x="91105" y="125301"/>
                      <a:pt x="92950" y="125301"/>
                    </a:cubicBezTo>
                    <a:lnTo>
                      <a:pt x="369417" y="125301"/>
                    </a:lnTo>
                    <a:cubicBezTo>
                      <a:pt x="373058" y="125301"/>
                      <a:pt x="376006" y="122353"/>
                      <a:pt x="376006" y="118713"/>
                    </a:cubicBezTo>
                    <a:lnTo>
                      <a:pt x="376006" y="19764"/>
                    </a:lnTo>
                    <a:cubicBezTo>
                      <a:pt x="376006" y="16124"/>
                      <a:pt x="373058" y="13176"/>
                      <a:pt x="369417" y="13176"/>
                    </a:cubicBezTo>
                    <a:lnTo>
                      <a:pt x="19790" y="13176"/>
                    </a:lnTo>
                    <a:close/>
                  </a:path>
                </a:pathLst>
              </a:custGeom>
              <a:solidFill>
                <a:schemeClr val="tx2"/>
              </a:solidFill>
              <a:ln w="2556" cap="flat">
                <a:noFill/>
                <a:prstDash val="solid"/>
                <a:miter/>
              </a:ln>
            </p:spPr>
            <p:txBody>
              <a:bodyPr rtlCol="0" anchor="ctr"/>
              <a:lstStyle/>
              <a:p>
                <a:endParaRPr lang="en-GB" dirty="0"/>
              </a:p>
            </p:txBody>
          </p:sp>
          <p:sp>
            <p:nvSpPr>
              <p:cNvPr id="67" name="Freihandform: Form 645">
                <a:extLst>
                  <a:ext uri="{FF2B5EF4-FFF2-40B4-BE49-F238E27FC236}">
                    <a16:creationId xmlns:a16="http://schemas.microsoft.com/office/drawing/2014/main" id="{50AA4CAE-A69C-4E84-8D8F-95F0BDE04F03}"/>
                  </a:ext>
                </a:extLst>
              </p:cNvPr>
              <p:cNvSpPr/>
              <p:nvPr/>
            </p:nvSpPr>
            <p:spPr>
              <a:xfrm>
                <a:off x="1709554" y="2760362"/>
                <a:ext cx="389207" cy="204485"/>
              </a:xfrm>
              <a:custGeom>
                <a:avLst/>
                <a:gdLst>
                  <a:gd name="connsiteX0" fmla="*/ 32992 w 389207"/>
                  <a:gd name="connsiteY0" fmla="*/ 204486 h 204485"/>
                  <a:gd name="connsiteX1" fmla="*/ 30607 w 389207"/>
                  <a:gd name="connsiteY1" fmla="*/ 204050 h 204485"/>
                  <a:gd name="connsiteX2" fmla="*/ 26378 w 389207"/>
                  <a:gd name="connsiteY2" fmla="*/ 197898 h 204485"/>
                  <a:gd name="connsiteX3" fmla="*/ 26378 w 389207"/>
                  <a:gd name="connsiteY3" fmla="*/ 138528 h 204485"/>
                  <a:gd name="connsiteX4" fmla="*/ 19790 w 389207"/>
                  <a:gd name="connsiteY4" fmla="*/ 138528 h 204485"/>
                  <a:gd name="connsiteX5" fmla="*/ 0 w 389207"/>
                  <a:gd name="connsiteY5" fmla="*/ 118739 h 204485"/>
                  <a:gd name="connsiteX6" fmla="*/ 0 w 389207"/>
                  <a:gd name="connsiteY6" fmla="*/ 19790 h 204485"/>
                  <a:gd name="connsiteX7" fmla="*/ 19790 w 389207"/>
                  <a:gd name="connsiteY7" fmla="*/ 0 h 204485"/>
                  <a:gd name="connsiteX8" fmla="*/ 369417 w 389207"/>
                  <a:gd name="connsiteY8" fmla="*/ 0 h 204485"/>
                  <a:gd name="connsiteX9" fmla="*/ 389207 w 389207"/>
                  <a:gd name="connsiteY9" fmla="*/ 19790 h 204485"/>
                  <a:gd name="connsiteX10" fmla="*/ 389207 w 389207"/>
                  <a:gd name="connsiteY10" fmla="*/ 118739 h 204485"/>
                  <a:gd name="connsiteX11" fmla="*/ 369417 w 389207"/>
                  <a:gd name="connsiteY11" fmla="*/ 138528 h 204485"/>
                  <a:gd name="connsiteX12" fmla="*/ 95873 w 389207"/>
                  <a:gd name="connsiteY12" fmla="*/ 138528 h 204485"/>
                  <a:gd name="connsiteX13" fmla="*/ 37862 w 389207"/>
                  <a:gd name="connsiteY13" fmla="*/ 202332 h 204485"/>
                  <a:gd name="connsiteX14" fmla="*/ 32992 w 389207"/>
                  <a:gd name="connsiteY14" fmla="*/ 204486 h 204485"/>
                  <a:gd name="connsiteX15" fmla="*/ 19790 w 389207"/>
                  <a:gd name="connsiteY15" fmla="*/ 13202 h 204485"/>
                  <a:gd name="connsiteX16" fmla="*/ 13202 w 389207"/>
                  <a:gd name="connsiteY16" fmla="*/ 19790 h 204485"/>
                  <a:gd name="connsiteX17" fmla="*/ 13202 w 389207"/>
                  <a:gd name="connsiteY17" fmla="*/ 118739 h 204485"/>
                  <a:gd name="connsiteX18" fmla="*/ 19790 w 389207"/>
                  <a:gd name="connsiteY18" fmla="*/ 125327 h 204485"/>
                  <a:gd name="connsiteX19" fmla="*/ 32992 w 389207"/>
                  <a:gd name="connsiteY19" fmla="*/ 125327 h 204485"/>
                  <a:gd name="connsiteX20" fmla="*/ 39580 w 389207"/>
                  <a:gd name="connsiteY20" fmla="*/ 131915 h 204485"/>
                  <a:gd name="connsiteX21" fmla="*/ 39580 w 389207"/>
                  <a:gd name="connsiteY21" fmla="*/ 180825 h 204485"/>
                  <a:gd name="connsiteX22" fmla="*/ 88080 w 389207"/>
                  <a:gd name="connsiteY22" fmla="*/ 127480 h 204485"/>
                  <a:gd name="connsiteX23" fmla="*/ 92950 w 389207"/>
                  <a:gd name="connsiteY23" fmla="*/ 125327 h 204485"/>
                  <a:gd name="connsiteX24" fmla="*/ 369417 w 389207"/>
                  <a:gd name="connsiteY24" fmla="*/ 125327 h 204485"/>
                  <a:gd name="connsiteX25" fmla="*/ 376006 w 389207"/>
                  <a:gd name="connsiteY25" fmla="*/ 118739 h 204485"/>
                  <a:gd name="connsiteX26" fmla="*/ 376006 w 389207"/>
                  <a:gd name="connsiteY26" fmla="*/ 19790 h 204485"/>
                  <a:gd name="connsiteX27" fmla="*/ 369417 w 389207"/>
                  <a:gd name="connsiteY27" fmla="*/ 13202 h 204485"/>
                  <a:gd name="connsiteX28" fmla="*/ 19790 w 389207"/>
                  <a:gd name="connsiteY28" fmla="*/ 13202 h 20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89207" h="204485">
                    <a:moveTo>
                      <a:pt x="32992" y="204486"/>
                    </a:moveTo>
                    <a:cubicBezTo>
                      <a:pt x="32197" y="204486"/>
                      <a:pt x="31377" y="204332"/>
                      <a:pt x="30607" y="204050"/>
                    </a:cubicBezTo>
                    <a:cubicBezTo>
                      <a:pt x="28070" y="203076"/>
                      <a:pt x="26378" y="200615"/>
                      <a:pt x="26378" y="197898"/>
                    </a:cubicBezTo>
                    <a:lnTo>
                      <a:pt x="26378" y="138528"/>
                    </a:lnTo>
                    <a:lnTo>
                      <a:pt x="19790" y="138528"/>
                    </a:lnTo>
                    <a:cubicBezTo>
                      <a:pt x="8870" y="138528"/>
                      <a:pt x="0" y="129659"/>
                      <a:pt x="0" y="118739"/>
                    </a:cubicBezTo>
                    <a:lnTo>
                      <a:pt x="0" y="19790"/>
                    </a:lnTo>
                    <a:cubicBezTo>
                      <a:pt x="0" y="8869"/>
                      <a:pt x="8870" y="0"/>
                      <a:pt x="19790" y="0"/>
                    </a:cubicBezTo>
                    <a:lnTo>
                      <a:pt x="369417" y="0"/>
                    </a:lnTo>
                    <a:cubicBezTo>
                      <a:pt x="380338" y="0"/>
                      <a:pt x="389207" y="8869"/>
                      <a:pt x="389207" y="19790"/>
                    </a:cubicBezTo>
                    <a:lnTo>
                      <a:pt x="389207" y="118739"/>
                    </a:lnTo>
                    <a:cubicBezTo>
                      <a:pt x="389207" y="129659"/>
                      <a:pt x="380338" y="138528"/>
                      <a:pt x="369417" y="138528"/>
                    </a:cubicBezTo>
                    <a:lnTo>
                      <a:pt x="95873" y="138528"/>
                    </a:lnTo>
                    <a:lnTo>
                      <a:pt x="37862" y="202332"/>
                    </a:lnTo>
                    <a:cubicBezTo>
                      <a:pt x="36580" y="203742"/>
                      <a:pt x="34812" y="204486"/>
                      <a:pt x="32992" y="204486"/>
                    </a:cubicBezTo>
                    <a:close/>
                    <a:moveTo>
                      <a:pt x="19790" y="13202"/>
                    </a:moveTo>
                    <a:cubicBezTo>
                      <a:pt x="16150" y="13202"/>
                      <a:pt x="13202" y="16150"/>
                      <a:pt x="13202" y="19790"/>
                    </a:cubicBezTo>
                    <a:lnTo>
                      <a:pt x="13202" y="118739"/>
                    </a:lnTo>
                    <a:cubicBezTo>
                      <a:pt x="13202" y="122379"/>
                      <a:pt x="16150" y="125327"/>
                      <a:pt x="19790" y="125327"/>
                    </a:cubicBezTo>
                    <a:lnTo>
                      <a:pt x="32992" y="125327"/>
                    </a:lnTo>
                    <a:cubicBezTo>
                      <a:pt x="36632" y="125327"/>
                      <a:pt x="39580" y="128275"/>
                      <a:pt x="39580" y="131915"/>
                    </a:cubicBezTo>
                    <a:lnTo>
                      <a:pt x="39580" y="180825"/>
                    </a:lnTo>
                    <a:lnTo>
                      <a:pt x="88080" y="127480"/>
                    </a:lnTo>
                    <a:cubicBezTo>
                      <a:pt x="89336" y="126096"/>
                      <a:pt x="91105" y="125327"/>
                      <a:pt x="92950" y="125327"/>
                    </a:cubicBezTo>
                    <a:lnTo>
                      <a:pt x="369417" y="125327"/>
                    </a:lnTo>
                    <a:cubicBezTo>
                      <a:pt x="373058" y="125327"/>
                      <a:pt x="376006" y="122379"/>
                      <a:pt x="376006" y="118739"/>
                    </a:cubicBezTo>
                    <a:lnTo>
                      <a:pt x="376006" y="19790"/>
                    </a:lnTo>
                    <a:cubicBezTo>
                      <a:pt x="376006" y="16150"/>
                      <a:pt x="373058" y="13202"/>
                      <a:pt x="369417" y="13202"/>
                    </a:cubicBezTo>
                    <a:lnTo>
                      <a:pt x="19790" y="13202"/>
                    </a:lnTo>
                    <a:close/>
                  </a:path>
                </a:pathLst>
              </a:custGeom>
              <a:solidFill>
                <a:schemeClr val="tx2"/>
              </a:solidFill>
              <a:ln w="2556" cap="flat">
                <a:noFill/>
                <a:prstDash val="solid"/>
                <a:miter/>
              </a:ln>
            </p:spPr>
            <p:txBody>
              <a:bodyPr rtlCol="0" anchor="ctr"/>
              <a:lstStyle/>
              <a:p>
                <a:endParaRPr lang="en-GB" dirty="0"/>
              </a:p>
            </p:txBody>
          </p:sp>
          <p:grpSp>
            <p:nvGrpSpPr>
              <p:cNvPr id="68" name="Grafik 210">
                <a:extLst>
                  <a:ext uri="{FF2B5EF4-FFF2-40B4-BE49-F238E27FC236}">
                    <a16:creationId xmlns:a16="http://schemas.microsoft.com/office/drawing/2014/main" id="{B1F9F11E-CF9C-45D5-88D7-848AF0BFD96B}"/>
                  </a:ext>
                </a:extLst>
              </p:cNvPr>
              <p:cNvGrpSpPr/>
              <p:nvPr/>
            </p:nvGrpSpPr>
            <p:grpSpPr>
              <a:xfrm>
                <a:off x="1815091" y="2496481"/>
                <a:ext cx="171519" cy="13201"/>
                <a:chOff x="6234429" y="2496481"/>
                <a:chExt cx="171519" cy="13201"/>
              </a:xfrm>
              <a:solidFill>
                <a:schemeClr val="tx2"/>
              </a:solidFill>
            </p:grpSpPr>
            <p:sp>
              <p:nvSpPr>
                <p:cNvPr id="74" name="Freihandform: Form 650">
                  <a:extLst>
                    <a:ext uri="{FF2B5EF4-FFF2-40B4-BE49-F238E27FC236}">
                      <a16:creationId xmlns:a16="http://schemas.microsoft.com/office/drawing/2014/main" id="{B380C353-F10D-4C1A-A058-1C388DB3B2B1}"/>
                    </a:ext>
                  </a:extLst>
                </p:cNvPr>
                <p:cNvSpPr/>
                <p:nvPr/>
              </p:nvSpPr>
              <p:spPr>
                <a:xfrm>
                  <a:off x="6234429" y="2496481"/>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75" name="Freihandform: Form 651">
                  <a:extLst>
                    <a:ext uri="{FF2B5EF4-FFF2-40B4-BE49-F238E27FC236}">
                      <a16:creationId xmlns:a16="http://schemas.microsoft.com/office/drawing/2014/main" id="{479C3A87-7F9C-40C5-B26A-F8E849B326E4}"/>
                    </a:ext>
                  </a:extLst>
                </p:cNvPr>
                <p:cNvSpPr/>
                <p:nvPr/>
              </p:nvSpPr>
              <p:spPr>
                <a:xfrm>
                  <a:off x="6287210" y="2496481"/>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76" name="Freihandform: Form 652">
                  <a:extLst>
                    <a:ext uri="{FF2B5EF4-FFF2-40B4-BE49-F238E27FC236}">
                      <a16:creationId xmlns:a16="http://schemas.microsoft.com/office/drawing/2014/main" id="{E73E417F-637F-43FB-AA2E-E434A4773E15}"/>
                    </a:ext>
                  </a:extLst>
                </p:cNvPr>
                <p:cNvSpPr/>
                <p:nvPr/>
              </p:nvSpPr>
              <p:spPr>
                <a:xfrm>
                  <a:off x="6339992" y="2496481"/>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77" name="Freihandform: Form 653">
                  <a:extLst>
                    <a:ext uri="{FF2B5EF4-FFF2-40B4-BE49-F238E27FC236}">
                      <a16:creationId xmlns:a16="http://schemas.microsoft.com/office/drawing/2014/main" id="{FDBEAE2A-E5A8-4C4D-8AC1-1C2405E6A8F3}"/>
                    </a:ext>
                  </a:extLst>
                </p:cNvPr>
                <p:cNvSpPr/>
                <p:nvPr/>
              </p:nvSpPr>
              <p:spPr>
                <a:xfrm>
                  <a:off x="6392747" y="2496481"/>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grpSp>
          <p:grpSp>
            <p:nvGrpSpPr>
              <p:cNvPr id="69" name="Grafik 210">
                <a:extLst>
                  <a:ext uri="{FF2B5EF4-FFF2-40B4-BE49-F238E27FC236}">
                    <a16:creationId xmlns:a16="http://schemas.microsoft.com/office/drawing/2014/main" id="{92E6B966-1E32-479B-B719-EF2217B99E52}"/>
                  </a:ext>
                </a:extLst>
              </p:cNvPr>
              <p:cNvGrpSpPr/>
              <p:nvPr/>
            </p:nvGrpSpPr>
            <p:grpSpPr>
              <a:xfrm>
                <a:off x="1815091" y="2826319"/>
                <a:ext cx="171519" cy="13201"/>
                <a:chOff x="6234429" y="2826319"/>
                <a:chExt cx="171519" cy="13201"/>
              </a:xfrm>
              <a:solidFill>
                <a:schemeClr val="tx2"/>
              </a:solidFill>
            </p:grpSpPr>
            <p:sp>
              <p:nvSpPr>
                <p:cNvPr id="70" name="Freihandform: Form 655">
                  <a:extLst>
                    <a:ext uri="{FF2B5EF4-FFF2-40B4-BE49-F238E27FC236}">
                      <a16:creationId xmlns:a16="http://schemas.microsoft.com/office/drawing/2014/main" id="{C20B36E9-B94B-432A-A12E-ACDA393207D3}"/>
                    </a:ext>
                  </a:extLst>
                </p:cNvPr>
                <p:cNvSpPr/>
                <p:nvPr/>
              </p:nvSpPr>
              <p:spPr>
                <a:xfrm>
                  <a:off x="6234429" y="2826319"/>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71" name="Freihandform: Form 656">
                  <a:extLst>
                    <a:ext uri="{FF2B5EF4-FFF2-40B4-BE49-F238E27FC236}">
                      <a16:creationId xmlns:a16="http://schemas.microsoft.com/office/drawing/2014/main" id="{E84A87CA-83DB-459F-8C3B-406B5312CB05}"/>
                    </a:ext>
                  </a:extLst>
                </p:cNvPr>
                <p:cNvSpPr/>
                <p:nvPr/>
              </p:nvSpPr>
              <p:spPr>
                <a:xfrm>
                  <a:off x="6287210" y="2826319"/>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72" name="Freihandform: Form 657">
                  <a:extLst>
                    <a:ext uri="{FF2B5EF4-FFF2-40B4-BE49-F238E27FC236}">
                      <a16:creationId xmlns:a16="http://schemas.microsoft.com/office/drawing/2014/main" id="{B2FD4FD1-1243-4417-BF68-5FB052F10353}"/>
                    </a:ext>
                  </a:extLst>
                </p:cNvPr>
                <p:cNvSpPr/>
                <p:nvPr/>
              </p:nvSpPr>
              <p:spPr>
                <a:xfrm>
                  <a:off x="6339992" y="2826319"/>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sp>
              <p:nvSpPr>
                <p:cNvPr id="73" name="Freihandform: Form 658">
                  <a:extLst>
                    <a:ext uri="{FF2B5EF4-FFF2-40B4-BE49-F238E27FC236}">
                      <a16:creationId xmlns:a16="http://schemas.microsoft.com/office/drawing/2014/main" id="{75F1DBC7-2494-4748-8908-A7152431E661}"/>
                    </a:ext>
                  </a:extLst>
                </p:cNvPr>
                <p:cNvSpPr/>
                <p:nvPr/>
              </p:nvSpPr>
              <p:spPr>
                <a:xfrm>
                  <a:off x="6392747" y="2826319"/>
                  <a:ext cx="13201" cy="13201"/>
                </a:xfrm>
                <a:custGeom>
                  <a:avLst/>
                  <a:gdLst>
                    <a:gd name="connsiteX0" fmla="*/ 0 w 13201"/>
                    <a:gd name="connsiteY0" fmla="*/ 0 h 13201"/>
                    <a:gd name="connsiteX1" fmla="*/ 13202 w 13201"/>
                    <a:gd name="connsiteY1" fmla="*/ 0 h 13201"/>
                    <a:gd name="connsiteX2" fmla="*/ 13202 w 13201"/>
                    <a:gd name="connsiteY2" fmla="*/ 13202 h 13201"/>
                    <a:gd name="connsiteX3" fmla="*/ 0 w 13201"/>
                    <a:gd name="connsiteY3" fmla="*/ 13202 h 13201"/>
                  </a:gdLst>
                  <a:ahLst/>
                  <a:cxnLst>
                    <a:cxn ang="0">
                      <a:pos x="connsiteX0" y="connsiteY0"/>
                    </a:cxn>
                    <a:cxn ang="0">
                      <a:pos x="connsiteX1" y="connsiteY1"/>
                    </a:cxn>
                    <a:cxn ang="0">
                      <a:pos x="connsiteX2" y="connsiteY2"/>
                    </a:cxn>
                    <a:cxn ang="0">
                      <a:pos x="connsiteX3" y="connsiteY3"/>
                    </a:cxn>
                  </a:cxnLst>
                  <a:rect l="l" t="t" r="r" b="b"/>
                  <a:pathLst>
                    <a:path w="13201" h="13201">
                      <a:moveTo>
                        <a:pt x="0" y="0"/>
                      </a:moveTo>
                      <a:lnTo>
                        <a:pt x="13202" y="0"/>
                      </a:lnTo>
                      <a:lnTo>
                        <a:pt x="13202" y="13202"/>
                      </a:lnTo>
                      <a:lnTo>
                        <a:pt x="0" y="13202"/>
                      </a:lnTo>
                      <a:close/>
                    </a:path>
                  </a:pathLst>
                </a:custGeom>
                <a:solidFill>
                  <a:schemeClr val="accent1"/>
                </a:solidFill>
                <a:ln w="2556" cap="flat">
                  <a:noFill/>
                  <a:prstDash val="solid"/>
                  <a:miter/>
                </a:ln>
              </p:spPr>
              <p:txBody>
                <a:bodyPr rtlCol="0" anchor="ctr"/>
                <a:lstStyle/>
                <a:p>
                  <a:endParaRPr lang="en-GB" dirty="0"/>
                </a:p>
              </p:txBody>
            </p:sp>
          </p:grpSp>
        </p:grpSp>
      </p:grpSp>
      <p:grpSp>
        <p:nvGrpSpPr>
          <p:cNvPr id="4" name="Group 3">
            <a:extLst>
              <a:ext uri="{FF2B5EF4-FFF2-40B4-BE49-F238E27FC236}">
                <a16:creationId xmlns:a16="http://schemas.microsoft.com/office/drawing/2014/main" id="{5EF9BFDC-8201-09E1-F0F4-7E80B9DEB562}"/>
              </a:ext>
            </a:extLst>
          </p:cNvPr>
          <p:cNvGrpSpPr/>
          <p:nvPr/>
        </p:nvGrpSpPr>
        <p:grpSpPr>
          <a:xfrm>
            <a:off x="2701272" y="1585984"/>
            <a:ext cx="367293" cy="432000"/>
            <a:chOff x="2701272" y="1585984"/>
            <a:chExt cx="367293" cy="432000"/>
          </a:xfrm>
        </p:grpSpPr>
        <p:grpSp>
          <p:nvGrpSpPr>
            <p:cNvPr id="83" name="Grafik 210">
              <a:extLst>
                <a:ext uri="{FF2B5EF4-FFF2-40B4-BE49-F238E27FC236}">
                  <a16:creationId xmlns:a16="http://schemas.microsoft.com/office/drawing/2014/main" id="{9CF81F42-9493-4C9C-B224-187024287495}"/>
                </a:ext>
              </a:extLst>
            </p:cNvPr>
            <p:cNvGrpSpPr/>
            <p:nvPr/>
          </p:nvGrpSpPr>
          <p:grpSpPr>
            <a:xfrm>
              <a:off x="2701272" y="1655740"/>
              <a:ext cx="340088" cy="362244"/>
              <a:chOff x="5336755" y="4152152"/>
              <a:chExt cx="385286" cy="410385"/>
            </a:xfrm>
            <a:solidFill>
              <a:schemeClr val="tx2"/>
            </a:solidFill>
          </p:grpSpPr>
          <p:grpSp>
            <p:nvGrpSpPr>
              <p:cNvPr id="89" name="Grafik 210">
                <a:extLst>
                  <a:ext uri="{FF2B5EF4-FFF2-40B4-BE49-F238E27FC236}">
                    <a16:creationId xmlns:a16="http://schemas.microsoft.com/office/drawing/2014/main" id="{FA8AE389-6DE9-4C2D-AD23-B46000F50DB9}"/>
                  </a:ext>
                </a:extLst>
              </p:cNvPr>
              <p:cNvGrpSpPr/>
              <p:nvPr/>
            </p:nvGrpSpPr>
            <p:grpSpPr>
              <a:xfrm>
                <a:off x="5464185" y="4220987"/>
                <a:ext cx="257856" cy="341550"/>
                <a:chOff x="5464185" y="4220987"/>
                <a:chExt cx="257856" cy="341550"/>
              </a:xfrm>
              <a:grpFill/>
            </p:grpSpPr>
            <p:sp>
              <p:nvSpPr>
                <p:cNvPr id="95" name="Freihandform: Form 723">
                  <a:extLst>
                    <a:ext uri="{FF2B5EF4-FFF2-40B4-BE49-F238E27FC236}">
                      <a16:creationId xmlns:a16="http://schemas.microsoft.com/office/drawing/2014/main" id="{F9288FE3-971D-42C0-92F9-63B888CE0196}"/>
                    </a:ext>
                  </a:extLst>
                </p:cNvPr>
                <p:cNvSpPr/>
                <p:nvPr/>
              </p:nvSpPr>
              <p:spPr>
                <a:xfrm>
                  <a:off x="5464908" y="4242470"/>
                  <a:ext cx="257132" cy="320067"/>
                </a:xfrm>
                <a:custGeom>
                  <a:avLst/>
                  <a:gdLst>
                    <a:gd name="connsiteX0" fmla="*/ 140837 w 257132"/>
                    <a:gd name="connsiteY0" fmla="*/ 320067 h 320067"/>
                    <a:gd name="connsiteX1" fmla="*/ 109615 w 257132"/>
                    <a:gd name="connsiteY1" fmla="*/ 315018 h 320067"/>
                    <a:gd name="connsiteX2" fmla="*/ 52194 w 257132"/>
                    <a:gd name="connsiteY2" fmla="*/ 265697 h 320067"/>
                    <a:gd name="connsiteX3" fmla="*/ 3181 w 257132"/>
                    <a:gd name="connsiteY3" fmla="*/ 168517 h 320067"/>
                    <a:gd name="connsiteX4" fmla="*/ 1514 w 257132"/>
                    <a:gd name="connsiteY4" fmla="*/ 145856 h 320067"/>
                    <a:gd name="connsiteX5" fmla="*/ 16305 w 257132"/>
                    <a:gd name="connsiteY5" fmla="*/ 128630 h 320067"/>
                    <a:gd name="connsiteX6" fmla="*/ 38941 w 257132"/>
                    <a:gd name="connsiteY6" fmla="*/ 126964 h 320067"/>
                    <a:gd name="connsiteX7" fmla="*/ 56167 w 257132"/>
                    <a:gd name="connsiteY7" fmla="*/ 141780 h 320067"/>
                    <a:gd name="connsiteX8" fmla="*/ 84390 w 257132"/>
                    <a:gd name="connsiteY8" fmla="*/ 197740 h 320067"/>
                    <a:gd name="connsiteX9" fmla="*/ 72599 w 257132"/>
                    <a:gd name="connsiteY9" fmla="*/ 203687 h 320067"/>
                    <a:gd name="connsiteX10" fmla="*/ 44375 w 257132"/>
                    <a:gd name="connsiteY10" fmla="*/ 147727 h 320067"/>
                    <a:gd name="connsiteX11" fmla="*/ 34813 w 257132"/>
                    <a:gd name="connsiteY11" fmla="*/ 139524 h 320067"/>
                    <a:gd name="connsiteX12" fmla="*/ 22227 w 257132"/>
                    <a:gd name="connsiteY12" fmla="*/ 140422 h 320067"/>
                    <a:gd name="connsiteX13" fmla="*/ 14024 w 257132"/>
                    <a:gd name="connsiteY13" fmla="*/ 149983 h 320067"/>
                    <a:gd name="connsiteX14" fmla="*/ 14947 w 257132"/>
                    <a:gd name="connsiteY14" fmla="*/ 162570 h 320067"/>
                    <a:gd name="connsiteX15" fmla="*/ 63960 w 257132"/>
                    <a:gd name="connsiteY15" fmla="*/ 259750 h 320067"/>
                    <a:gd name="connsiteX16" fmla="*/ 113716 w 257132"/>
                    <a:gd name="connsiteY16" fmla="*/ 302482 h 320067"/>
                    <a:gd name="connsiteX17" fmla="*/ 179135 w 257132"/>
                    <a:gd name="connsiteY17" fmla="*/ 297714 h 320067"/>
                    <a:gd name="connsiteX18" fmla="*/ 196797 w 257132"/>
                    <a:gd name="connsiteY18" fmla="*/ 288794 h 320067"/>
                    <a:gd name="connsiteX19" fmla="*/ 239530 w 257132"/>
                    <a:gd name="connsiteY19" fmla="*/ 239011 h 320067"/>
                    <a:gd name="connsiteX20" fmla="*/ 234762 w 257132"/>
                    <a:gd name="connsiteY20" fmla="*/ 173592 h 320067"/>
                    <a:gd name="connsiteX21" fmla="*/ 157525 w 257132"/>
                    <a:gd name="connsiteY21" fmla="*/ 20453 h 320067"/>
                    <a:gd name="connsiteX22" fmla="*/ 139812 w 257132"/>
                    <a:gd name="connsiteY22" fmla="*/ 14608 h 320067"/>
                    <a:gd name="connsiteX23" fmla="*/ 133967 w 257132"/>
                    <a:gd name="connsiteY23" fmla="*/ 32321 h 320067"/>
                    <a:gd name="connsiteX24" fmla="*/ 160704 w 257132"/>
                    <a:gd name="connsiteY24" fmla="*/ 85333 h 320067"/>
                    <a:gd name="connsiteX25" fmla="*/ 148912 w 257132"/>
                    <a:gd name="connsiteY25" fmla="*/ 91280 h 320067"/>
                    <a:gd name="connsiteX26" fmla="*/ 122175 w 257132"/>
                    <a:gd name="connsiteY26" fmla="*/ 38268 h 320067"/>
                    <a:gd name="connsiteX27" fmla="*/ 133865 w 257132"/>
                    <a:gd name="connsiteY27" fmla="*/ 2816 h 320067"/>
                    <a:gd name="connsiteX28" fmla="*/ 169317 w 257132"/>
                    <a:gd name="connsiteY28" fmla="*/ 14506 h 320067"/>
                    <a:gd name="connsiteX29" fmla="*/ 246554 w 257132"/>
                    <a:gd name="connsiteY29" fmla="*/ 167645 h 320067"/>
                    <a:gd name="connsiteX30" fmla="*/ 252065 w 257132"/>
                    <a:gd name="connsiteY30" fmla="*/ 243139 h 320067"/>
                    <a:gd name="connsiteX31" fmla="*/ 202744 w 257132"/>
                    <a:gd name="connsiteY31" fmla="*/ 300560 h 320067"/>
                    <a:gd name="connsiteX32" fmla="*/ 185082 w 257132"/>
                    <a:gd name="connsiteY32" fmla="*/ 309480 h 320067"/>
                    <a:gd name="connsiteX33" fmla="*/ 140837 w 257132"/>
                    <a:gd name="connsiteY33" fmla="*/ 320067 h 32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7132" h="320067">
                      <a:moveTo>
                        <a:pt x="140837" y="320067"/>
                      </a:moveTo>
                      <a:cubicBezTo>
                        <a:pt x="130378" y="320067"/>
                        <a:pt x="119843" y="318375"/>
                        <a:pt x="109615" y="315018"/>
                      </a:cubicBezTo>
                      <a:cubicBezTo>
                        <a:pt x="84442" y="306738"/>
                        <a:pt x="64037" y="289204"/>
                        <a:pt x="52194" y="265697"/>
                      </a:cubicBezTo>
                      <a:lnTo>
                        <a:pt x="3181" y="168517"/>
                      </a:lnTo>
                      <a:cubicBezTo>
                        <a:pt x="-383" y="161467"/>
                        <a:pt x="-972" y="153418"/>
                        <a:pt x="1514" y="145856"/>
                      </a:cubicBezTo>
                      <a:cubicBezTo>
                        <a:pt x="4001" y="138294"/>
                        <a:pt x="9256" y="132193"/>
                        <a:pt x="16305" y="128630"/>
                      </a:cubicBezTo>
                      <a:cubicBezTo>
                        <a:pt x="23355" y="125067"/>
                        <a:pt x="31404" y="124477"/>
                        <a:pt x="38941" y="126964"/>
                      </a:cubicBezTo>
                      <a:cubicBezTo>
                        <a:pt x="46503" y="129450"/>
                        <a:pt x="52604" y="134705"/>
                        <a:pt x="56167" y="141780"/>
                      </a:cubicBezTo>
                      <a:lnTo>
                        <a:pt x="84390" y="197740"/>
                      </a:lnTo>
                      <a:lnTo>
                        <a:pt x="72599" y="203687"/>
                      </a:lnTo>
                      <a:lnTo>
                        <a:pt x="44375" y="147727"/>
                      </a:lnTo>
                      <a:cubicBezTo>
                        <a:pt x="42401" y="143805"/>
                        <a:pt x="39017" y="140909"/>
                        <a:pt x="34813" y="139524"/>
                      </a:cubicBezTo>
                      <a:cubicBezTo>
                        <a:pt x="30609" y="138140"/>
                        <a:pt x="26149" y="138473"/>
                        <a:pt x="22227" y="140422"/>
                      </a:cubicBezTo>
                      <a:cubicBezTo>
                        <a:pt x="18305" y="142395"/>
                        <a:pt x="15408" y="145805"/>
                        <a:pt x="14024" y="149983"/>
                      </a:cubicBezTo>
                      <a:cubicBezTo>
                        <a:pt x="12640" y="154187"/>
                        <a:pt x="12973" y="158648"/>
                        <a:pt x="14947" y="162570"/>
                      </a:cubicBezTo>
                      <a:lnTo>
                        <a:pt x="63960" y="259750"/>
                      </a:lnTo>
                      <a:cubicBezTo>
                        <a:pt x="74239" y="280103"/>
                        <a:pt x="91901" y="295279"/>
                        <a:pt x="113716" y="302482"/>
                      </a:cubicBezTo>
                      <a:cubicBezTo>
                        <a:pt x="135531" y="309660"/>
                        <a:pt x="158781" y="307968"/>
                        <a:pt x="179135" y="297714"/>
                      </a:cubicBezTo>
                      <a:lnTo>
                        <a:pt x="196797" y="288794"/>
                      </a:lnTo>
                      <a:cubicBezTo>
                        <a:pt x="217151" y="278514"/>
                        <a:pt x="232326" y="260852"/>
                        <a:pt x="239530" y="239011"/>
                      </a:cubicBezTo>
                      <a:cubicBezTo>
                        <a:pt x="246707" y="217197"/>
                        <a:pt x="245016" y="193946"/>
                        <a:pt x="234762" y="173592"/>
                      </a:cubicBezTo>
                      <a:lnTo>
                        <a:pt x="157525" y="20453"/>
                      </a:lnTo>
                      <a:cubicBezTo>
                        <a:pt x="154244" y="13967"/>
                        <a:pt x="146297" y="11327"/>
                        <a:pt x="139812" y="14608"/>
                      </a:cubicBezTo>
                      <a:cubicBezTo>
                        <a:pt x="133326" y="17889"/>
                        <a:pt x="130712" y="25836"/>
                        <a:pt x="133967" y="32321"/>
                      </a:cubicBezTo>
                      <a:lnTo>
                        <a:pt x="160704" y="85333"/>
                      </a:lnTo>
                      <a:lnTo>
                        <a:pt x="148912" y="91280"/>
                      </a:lnTo>
                      <a:lnTo>
                        <a:pt x="122175" y="38268"/>
                      </a:lnTo>
                      <a:cubicBezTo>
                        <a:pt x="115639" y="25272"/>
                        <a:pt x="120868" y="9379"/>
                        <a:pt x="133865" y="2816"/>
                      </a:cubicBezTo>
                      <a:cubicBezTo>
                        <a:pt x="146861" y="-3721"/>
                        <a:pt x="162755" y="1509"/>
                        <a:pt x="169317" y="14506"/>
                      </a:cubicBezTo>
                      <a:lnTo>
                        <a:pt x="246554" y="167645"/>
                      </a:lnTo>
                      <a:cubicBezTo>
                        <a:pt x="258422" y="191152"/>
                        <a:pt x="260371" y="217966"/>
                        <a:pt x="252065" y="243139"/>
                      </a:cubicBezTo>
                      <a:cubicBezTo>
                        <a:pt x="243759" y="268312"/>
                        <a:pt x="226251" y="288717"/>
                        <a:pt x="202744" y="300560"/>
                      </a:cubicBezTo>
                      <a:lnTo>
                        <a:pt x="185082" y="309480"/>
                      </a:lnTo>
                      <a:cubicBezTo>
                        <a:pt x="171137" y="316530"/>
                        <a:pt x="156039" y="320067"/>
                        <a:pt x="140837" y="320067"/>
                      </a:cubicBezTo>
                      <a:close/>
                    </a:path>
                  </a:pathLst>
                </a:custGeom>
                <a:grpFill/>
                <a:ln w="2556" cap="flat">
                  <a:noFill/>
                  <a:prstDash val="solid"/>
                  <a:miter/>
                </a:ln>
              </p:spPr>
              <p:txBody>
                <a:bodyPr rtlCol="0" anchor="ctr"/>
                <a:lstStyle/>
                <a:p>
                  <a:endParaRPr lang="en-GB" dirty="0"/>
                </a:p>
              </p:txBody>
            </p:sp>
            <p:sp>
              <p:nvSpPr>
                <p:cNvPr id="96" name="Freihandform: Form 724">
                  <a:extLst>
                    <a:ext uri="{FF2B5EF4-FFF2-40B4-BE49-F238E27FC236}">
                      <a16:creationId xmlns:a16="http://schemas.microsoft.com/office/drawing/2014/main" id="{748B3655-E45E-4093-ACC9-36CD44494FB1}"/>
                    </a:ext>
                  </a:extLst>
                </p:cNvPr>
                <p:cNvSpPr/>
                <p:nvPr/>
              </p:nvSpPr>
              <p:spPr>
                <a:xfrm>
                  <a:off x="5484446" y="4220987"/>
                  <a:ext cx="100432" cy="120581"/>
                </a:xfrm>
                <a:custGeom>
                  <a:avLst/>
                  <a:gdLst>
                    <a:gd name="connsiteX0" fmla="*/ 88667 w 100432"/>
                    <a:gd name="connsiteY0" fmla="*/ 120582 h 120581"/>
                    <a:gd name="connsiteX1" fmla="*/ 38167 w 100432"/>
                    <a:gd name="connsiteY1" fmla="*/ 20454 h 120581"/>
                    <a:gd name="connsiteX2" fmla="*/ 30502 w 100432"/>
                    <a:gd name="connsiteY2" fmla="*/ 13891 h 120581"/>
                    <a:gd name="connsiteX3" fmla="*/ 20428 w 100432"/>
                    <a:gd name="connsiteY3" fmla="*/ 14609 h 120581"/>
                    <a:gd name="connsiteX4" fmla="*/ 13865 w 100432"/>
                    <a:gd name="connsiteY4" fmla="*/ 22274 h 120581"/>
                    <a:gd name="connsiteX5" fmla="*/ 14609 w 100432"/>
                    <a:gd name="connsiteY5" fmla="*/ 32348 h 120581"/>
                    <a:gd name="connsiteX6" fmla="*/ 31810 w 100432"/>
                    <a:gd name="connsiteY6" fmla="*/ 65903 h 120581"/>
                    <a:gd name="connsiteX7" fmla="*/ 20069 w 100432"/>
                    <a:gd name="connsiteY7" fmla="*/ 71927 h 120581"/>
                    <a:gd name="connsiteX8" fmla="*/ 2843 w 100432"/>
                    <a:gd name="connsiteY8" fmla="*/ 38321 h 120581"/>
                    <a:gd name="connsiteX9" fmla="*/ 1356 w 100432"/>
                    <a:gd name="connsiteY9" fmla="*/ 18147 h 120581"/>
                    <a:gd name="connsiteX10" fmla="*/ 14506 w 100432"/>
                    <a:gd name="connsiteY10" fmla="*/ 2843 h 120581"/>
                    <a:gd name="connsiteX11" fmla="*/ 34629 w 100432"/>
                    <a:gd name="connsiteY11" fmla="*/ 1356 h 120581"/>
                    <a:gd name="connsiteX12" fmla="*/ 49933 w 100432"/>
                    <a:gd name="connsiteY12" fmla="*/ 14506 h 120581"/>
                    <a:gd name="connsiteX13" fmla="*/ 100433 w 100432"/>
                    <a:gd name="connsiteY13" fmla="*/ 114634 h 120581"/>
                    <a:gd name="connsiteX14" fmla="*/ 88667 w 100432"/>
                    <a:gd name="connsiteY14" fmla="*/ 120582 h 120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432" h="120581">
                      <a:moveTo>
                        <a:pt x="88667" y="120582"/>
                      </a:moveTo>
                      <a:lnTo>
                        <a:pt x="38167" y="20454"/>
                      </a:lnTo>
                      <a:cubicBezTo>
                        <a:pt x="36603" y="17326"/>
                        <a:pt x="33860" y="14993"/>
                        <a:pt x="30502" y="13891"/>
                      </a:cubicBezTo>
                      <a:cubicBezTo>
                        <a:pt x="27144" y="12789"/>
                        <a:pt x="23555" y="13045"/>
                        <a:pt x="20428" y="14609"/>
                      </a:cubicBezTo>
                      <a:cubicBezTo>
                        <a:pt x="17300" y="16198"/>
                        <a:pt x="14968" y="18916"/>
                        <a:pt x="13865" y="22274"/>
                      </a:cubicBezTo>
                      <a:cubicBezTo>
                        <a:pt x="12763" y="25632"/>
                        <a:pt x="13020" y="29195"/>
                        <a:pt x="14609" y="32348"/>
                      </a:cubicBezTo>
                      <a:lnTo>
                        <a:pt x="31810" y="65903"/>
                      </a:lnTo>
                      <a:lnTo>
                        <a:pt x="20069" y="71927"/>
                      </a:lnTo>
                      <a:lnTo>
                        <a:pt x="2843" y="38321"/>
                      </a:lnTo>
                      <a:cubicBezTo>
                        <a:pt x="-336" y="32015"/>
                        <a:pt x="-874" y="24863"/>
                        <a:pt x="1356" y="18147"/>
                      </a:cubicBezTo>
                      <a:cubicBezTo>
                        <a:pt x="3560" y="11430"/>
                        <a:pt x="8252" y="5996"/>
                        <a:pt x="14506" y="2843"/>
                      </a:cubicBezTo>
                      <a:cubicBezTo>
                        <a:pt x="20761" y="-336"/>
                        <a:pt x="27913" y="-874"/>
                        <a:pt x="34629" y="1356"/>
                      </a:cubicBezTo>
                      <a:cubicBezTo>
                        <a:pt x="41346" y="3561"/>
                        <a:pt x="46780" y="8226"/>
                        <a:pt x="49933" y="14506"/>
                      </a:cubicBezTo>
                      <a:lnTo>
                        <a:pt x="100433" y="114634"/>
                      </a:lnTo>
                      <a:lnTo>
                        <a:pt x="88667" y="120582"/>
                      </a:lnTo>
                      <a:close/>
                    </a:path>
                  </a:pathLst>
                </a:custGeom>
                <a:grpFill/>
                <a:ln w="2556" cap="flat">
                  <a:noFill/>
                  <a:prstDash val="solid"/>
                  <a:miter/>
                </a:ln>
              </p:spPr>
              <p:txBody>
                <a:bodyPr rtlCol="0" anchor="ctr"/>
                <a:lstStyle/>
                <a:p>
                  <a:endParaRPr lang="en-GB" dirty="0"/>
                </a:p>
              </p:txBody>
            </p:sp>
            <p:sp>
              <p:nvSpPr>
                <p:cNvPr id="97" name="Freihandform: Form 725">
                  <a:extLst>
                    <a:ext uri="{FF2B5EF4-FFF2-40B4-BE49-F238E27FC236}">
                      <a16:creationId xmlns:a16="http://schemas.microsoft.com/office/drawing/2014/main" id="{C254B9E8-DB70-4EA5-9387-C82EBDED0F8B}"/>
                    </a:ext>
                  </a:extLst>
                </p:cNvPr>
                <p:cNvSpPr/>
                <p:nvPr/>
              </p:nvSpPr>
              <p:spPr>
                <a:xfrm>
                  <a:off x="5534654" y="4232589"/>
                  <a:ext cx="91547" cy="120745"/>
                </a:xfrm>
                <a:custGeom>
                  <a:avLst/>
                  <a:gdLst>
                    <a:gd name="connsiteX0" fmla="*/ 44406 w 91547"/>
                    <a:gd name="connsiteY0" fmla="*/ 120746 h 120745"/>
                    <a:gd name="connsiteX1" fmla="*/ 2827 w 91547"/>
                    <a:gd name="connsiteY1" fmla="*/ 38280 h 120745"/>
                    <a:gd name="connsiteX2" fmla="*/ 14517 w 91547"/>
                    <a:gd name="connsiteY2" fmla="*/ 2827 h 120745"/>
                    <a:gd name="connsiteX3" fmla="*/ 49969 w 91547"/>
                    <a:gd name="connsiteY3" fmla="*/ 14517 h 120745"/>
                    <a:gd name="connsiteX4" fmla="*/ 91548 w 91547"/>
                    <a:gd name="connsiteY4" fmla="*/ 96982 h 120745"/>
                    <a:gd name="connsiteX5" fmla="*/ 79756 w 91547"/>
                    <a:gd name="connsiteY5" fmla="*/ 102929 h 120745"/>
                    <a:gd name="connsiteX6" fmla="*/ 38177 w 91547"/>
                    <a:gd name="connsiteY6" fmla="*/ 20464 h 120745"/>
                    <a:gd name="connsiteX7" fmla="*/ 20464 w 91547"/>
                    <a:gd name="connsiteY7" fmla="*/ 14619 h 120745"/>
                    <a:gd name="connsiteX8" fmla="*/ 14619 w 91547"/>
                    <a:gd name="connsiteY8" fmla="*/ 32358 h 120745"/>
                    <a:gd name="connsiteX9" fmla="*/ 56198 w 91547"/>
                    <a:gd name="connsiteY9" fmla="*/ 114824 h 120745"/>
                    <a:gd name="connsiteX10" fmla="*/ 44406 w 91547"/>
                    <a:gd name="connsiteY10" fmla="*/ 120746 h 120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547" h="120745">
                      <a:moveTo>
                        <a:pt x="44406" y="120746"/>
                      </a:moveTo>
                      <a:lnTo>
                        <a:pt x="2827" y="38280"/>
                      </a:lnTo>
                      <a:cubicBezTo>
                        <a:pt x="-3735" y="25283"/>
                        <a:pt x="1520" y="9390"/>
                        <a:pt x="14517" y="2827"/>
                      </a:cubicBezTo>
                      <a:cubicBezTo>
                        <a:pt x="27513" y="-3735"/>
                        <a:pt x="43407" y="1520"/>
                        <a:pt x="49969" y="14517"/>
                      </a:cubicBezTo>
                      <a:lnTo>
                        <a:pt x="91548" y="96982"/>
                      </a:lnTo>
                      <a:lnTo>
                        <a:pt x="79756" y="102929"/>
                      </a:lnTo>
                      <a:lnTo>
                        <a:pt x="38177" y="20464"/>
                      </a:lnTo>
                      <a:cubicBezTo>
                        <a:pt x="34896" y="13978"/>
                        <a:pt x="26949" y="11363"/>
                        <a:pt x="20464" y="14619"/>
                      </a:cubicBezTo>
                      <a:cubicBezTo>
                        <a:pt x="13978" y="17900"/>
                        <a:pt x="11364" y="25847"/>
                        <a:pt x="14619" y="32358"/>
                      </a:cubicBezTo>
                      <a:lnTo>
                        <a:pt x="56198" y="114824"/>
                      </a:lnTo>
                      <a:lnTo>
                        <a:pt x="44406" y="120746"/>
                      </a:lnTo>
                      <a:close/>
                    </a:path>
                  </a:pathLst>
                </a:custGeom>
                <a:grpFill/>
                <a:ln w="2556" cap="flat">
                  <a:noFill/>
                  <a:prstDash val="solid"/>
                  <a:miter/>
                </a:ln>
              </p:spPr>
              <p:txBody>
                <a:bodyPr rtlCol="0" anchor="ctr"/>
                <a:lstStyle/>
                <a:p>
                  <a:endParaRPr lang="en-GB" dirty="0"/>
                </a:p>
              </p:txBody>
            </p:sp>
            <p:sp>
              <p:nvSpPr>
                <p:cNvPr id="98" name="Freihandform: Form 726">
                  <a:extLst>
                    <a:ext uri="{FF2B5EF4-FFF2-40B4-BE49-F238E27FC236}">
                      <a16:creationId xmlns:a16="http://schemas.microsoft.com/office/drawing/2014/main" id="{B5DF1C18-0B59-4397-AB1A-A60F1EFD0AA0}"/>
                    </a:ext>
                  </a:extLst>
                </p:cNvPr>
                <p:cNvSpPr/>
                <p:nvPr/>
              </p:nvSpPr>
              <p:spPr>
                <a:xfrm>
                  <a:off x="5464185" y="4268140"/>
                  <a:ext cx="91522" cy="138412"/>
                </a:xfrm>
                <a:custGeom>
                  <a:avLst/>
                  <a:gdLst>
                    <a:gd name="connsiteX0" fmla="*/ 53327 w 91522"/>
                    <a:gd name="connsiteY0" fmla="*/ 138412 h 138412"/>
                    <a:gd name="connsiteX1" fmla="*/ 2827 w 91522"/>
                    <a:gd name="connsiteY1" fmla="*/ 38284 h 138412"/>
                    <a:gd name="connsiteX2" fmla="*/ 14517 w 91522"/>
                    <a:gd name="connsiteY2" fmla="*/ 2832 h 138412"/>
                    <a:gd name="connsiteX3" fmla="*/ 34640 w 91522"/>
                    <a:gd name="connsiteY3" fmla="*/ 1345 h 138412"/>
                    <a:gd name="connsiteX4" fmla="*/ 49943 w 91522"/>
                    <a:gd name="connsiteY4" fmla="*/ 14496 h 138412"/>
                    <a:gd name="connsiteX5" fmla="*/ 91522 w 91522"/>
                    <a:gd name="connsiteY5" fmla="*/ 96961 h 138412"/>
                    <a:gd name="connsiteX6" fmla="*/ 79731 w 91522"/>
                    <a:gd name="connsiteY6" fmla="*/ 102909 h 138412"/>
                    <a:gd name="connsiteX7" fmla="*/ 38152 w 91522"/>
                    <a:gd name="connsiteY7" fmla="*/ 20443 h 138412"/>
                    <a:gd name="connsiteX8" fmla="*/ 30487 w 91522"/>
                    <a:gd name="connsiteY8" fmla="*/ 13880 h 138412"/>
                    <a:gd name="connsiteX9" fmla="*/ 20413 w 91522"/>
                    <a:gd name="connsiteY9" fmla="*/ 14598 h 138412"/>
                    <a:gd name="connsiteX10" fmla="*/ 14568 w 91522"/>
                    <a:gd name="connsiteY10" fmla="*/ 32337 h 138412"/>
                    <a:gd name="connsiteX11" fmla="*/ 65068 w 91522"/>
                    <a:gd name="connsiteY11" fmla="*/ 132465 h 138412"/>
                    <a:gd name="connsiteX12" fmla="*/ 53327 w 91522"/>
                    <a:gd name="connsiteY12" fmla="*/ 138412 h 138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522" h="138412">
                      <a:moveTo>
                        <a:pt x="53327" y="138412"/>
                      </a:moveTo>
                      <a:lnTo>
                        <a:pt x="2827" y="38284"/>
                      </a:lnTo>
                      <a:cubicBezTo>
                        <a:pt x="-3735" y="25287"/>
                        <a:pt x="1520" y="9394"/>
                        <a:pt x="14517" y="2832"/>
                      </a:cubicBezTo>
                      <a:cubicBezTo>
                        <a:pt x="20797" y="-347"/>
                        <a:pt x="27923" y="-860"/>
                        <a:pt x="34640" y="1345"/>
                      </a:cubicBezTo>
                      <a:cubicBezTo>
                        <a:pt x="41356" y="3550"/>
                        <a:pt x="46790" y="8241"/>
                        <a:pt x="49943" y="14496"/>
                      </a:cubicBezTo>
                      <a:lnTo>
                        <a:pt x="91522" y="96961"/>
                      </a:lnTo>
                      <a:lnTo>
                        <a:pt x="79731" y="102909"/>
                      </a:lnTo>
                      <a:lnTo>
                        <a:pt x="38152" y="20443"/>
                      </a:lnTo>
                      <a:cubicBezTo>
                        <a:pt x="36588" y="17315"/>
                        <a:pt x="33845" y="14982"/>
                        <a:pt x="30487" y="13880"/>
                      </a:cubicBezTo>
                      <a:cubicBezTo>
                        <a:pt x="27129" y="12778"/>
                        <a:pt x="23540" y="13034"/>
                        <a:pt x="20413" y="14598"/>
                      </a:cubicBezTo>
                      <a:cubicBezTo>
                        <a:pt x="13927" y="17879"/>
                        <a:pt x="11287" y="25826"/>
                        <a:pt x="14568" y="32337"/>
                      </a:cubicBezTo>
                      <a:lnTo>
                        <a:pt x="65068" y="132465"/>
                      </a:lnTo>
                      <a:lnTo>
                        <a:pt x="53327" y="138412"/>
                      </a:lnTo>
                      <a:close/>
                    </a:path>
                  </a:pathLst>
                </a:custGeom>
                <a:grpFill/>
                <a:ln w="2556" cap="flat">
                  <a:noFill/>
                  <a:prstDash val="solid"/>
                  <a:miter/>
                </a:ln>
              </p:spPr>
              <p:txBody>
                <a:bodyPr rtlCol="0" anchor="ctr"/>
                <a:lstStyle/>
                <a:p>
                  <a:endParaRPr lang="en-GB" dirty="0"/>
                </a:p>
              </p:txBody>
            </p:sp>
          </p:grpSp>
          <p:grpSp>
            <p:nvGrpSpPr>
              <p:cNvPr id="90" name="Grafik 210">
                <a:extLst>
                  <a:ext uri="{FF2B5EF4-FFF2-40B4-BE49-F238E27FC236}">
                    <a16:creationId xmlns:a16="http://schemas.microsoft.com/office/drawing/2014/main" id="{CCC4FC30-87CA-4042-8E5F-CEA10890F177}"/>
                  </a:ext>
                </a:extLst>
              </p:cNvPr>
              <p:cNvGrpSpPr/>
              <p:nvPr/>
            </p:nvGrpSpPr>
            <p:grpSpPr>
              <a:xfrm>
                <a:off x="5336755" y="4152152"/>
                <a:ext cx="263213" cy="333353"/>
                <a:chOff x="5336755" y="4152152"/>
                <a:chExt cx="263213" cy="333353"/>
              </a:xfrm>
              <a:grpFill/>
            </p:grpSpPr>
            <p:sp>
              <p:nvSpPr>
                <p:cNvPr id="91" name="Freihandform: Form 728">
                  <a:extLst>
                    <a:ext uri="{FF2B5EF4-FFF2-40B4-BE49-F238E27FC236}">
                      <a16:creationId xmlns:a16="http://schemas.microsoft.com/office/drawing/2014/main" id="{66DEE375-8346-4629-852A-6B4A405FA3E3}"/>
                    </a:ext>
                  </a:extLst>
                </p:cNvPr>
                <p:cNvSpPr/>
                <p:nvPr/>
              </p:nvSpPr>
              <p:spPr>
                <a:xfrm>
                  <a:off x="5336755" y="4219321"/>
                  <a:ext cx="163863" cy="266184"/>
                </a:xfrm>
                <a:custGeom>
                  <a:avLst/>
                  <a:gdLst>
                    <a:gd name="connsiteX0" fmla="*/ 116286 w 163863"/>
                    <a:gd name="connsiteY0" fmla="*/ 266185 h 266184"/>
                    <a:gd name="connsiteX1" fmla="*/ 70965 w 163863"/>
                    <a:gd name="connsiteY1" fmla="*/ 255137 h 266184"/>
                    <a:gd name="connsiteX2" fmla="*/ 53405 w 163863"/>
                    <a:gd name="connsiteY2" fmla="*/ 246036 h 266184"/>
                    <a:gd name="connsiteX3" fmla="*/ 11083 w 163863"/>
                    <a:gd name="connsiteY3" fmla="*/ 112661 h 266184"/>
                    <a:gd name="connsiteX4" fmla="*/ 61172 w 163863"/>
                    <a:gd name="connsiteY4" fmla="*/ 16019 h 266184"/>
                    <a:gd name="connsiteX5" fmla="*/ 101188 w 163863"/>
                    <a:gd name="connsiteY5" fmla="*/ 3330 h 266184"/>
                    <a:gd name="connsiteX6" fmla="*/ 113877 w 163863"/>
                    <a:gd name="connsiteY6" fmla="*/ 43345 h 266184"/>
                    <a:gd name="connsiteX7" fmla="*/ 87935 w 163863"/>
                    <a:gd name="connsiteY7" fmla="*/ 93409 h 266184"/>
                    <a:gd name="connsiteX8" fmla="*/ 114748 w 163863"/>
                    <a:gd name="connsiteY8" fmla="*/ 128708 h 266184"/>
                    <a:gd name="connsiteX9" fmla="*/ 110442 w 163863"/>
                    <a:gd name="connsiteY9" fmla="*/ 179002 h 266184"/>
                    <a:gd name="connsiteX10" fmla="*/ 98727 w 163863"/>
                    <a:gd name="connsiteY10" fmla="*/ 172927 h 266184"/>
                    <a:gd name="connsiteX11" fmla="*/ 102162 w 163863"/>
                    <a:gd name="connsiteY11" fmla="*/ 132681 h 266184"/>
                    <a:gd name="connsiteX12" fmla="*/ 76143 w 163863"/>
                    <a:gd name="connsiteY12" fmla="*/ 101791 h 266184"/>
                    <a:gd name="connsiteX13" fmla="*/ 70272 w 163863"/>
                    <a:gd name="connsiteY13" fmla="*/ 98767 h 266184"/>
                    <a:gd name="connsiteX14" fmla="*/ 102136 w 163863"/>
                    <a:gd name="connsiteY14" fmla="*/ 37270 h 266184"/>
                    <a:gd name="connsiteX15" fmla="*/ 95087 w 163863"/>
                    <a:gd name="connsiteY15" fmla="*/ 15045 h 266184"/>
                    <a:gd name="connsiteX16" fmla="*/ 72862 w 163863"/>
                    <a:gd name="connsiteY16" fmla="*/ 22094 h 266184"/>
                    <a:gd name="connsiteX17" fmla="*/ 22772 w 163863"/>
                    <a:gd name="connsiteY17" fmla="*/ 118736 h 266184"/>
                    <a:gd name="connsiteX18" fmla="*/ 59455 w 163863"/>
                    <a:gd name="connsiteY18" fmla="*/ 234347 h 266184"/>
                    <a:gd name="connsiteX19" fmla="*/ 77014 w 163863"/>
                    <a:gd name="connsiteY19" fmla="*/ 243447 h 266184"/>
                    <a:gd name="connsiteX20" fmla="*/ 157558 w 163863"/>
                    <a:gd name="connsiteY20" fmla="*/ 242473 h 266184"/>
                    <a:gd name="connsiteX21" fmla="*/ 163864 w 163863"/>
                    <a:gd name="connsiteY21" fmla="*/ 254060 h 266184"/>
                    <a:gd name="connsiteX22" fmla="*/ 116286 w 163863"/>
                    <a:gd name="connsiteY22" fmla="*/ 266185 h 26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3863" h="266184">
                      <a:moveTo>
                        <a:pt x="116286" y="266185"/>
                      </a:moveTo>
                      <a:cubicBezTo>
                        <a:pt x="100700" y="266185"/>
                        <a:pt x="85166" y="262519"/>
                        <a:pt x="70965" y="255137"/>
                      </a:cubicBezTo>
                      <a:lnTo>
                        <a:pt x="53405" y="246036"/>
                      </a:lnTo>
                      <a:cubicBezTo>
                        <a:pt x="4956" y="220940"/>
                        <a:pt x="-14013" y="161110"/>
                        <a:pt x="11083" y="112661"/>
                      </a:cubicBezTo>
                      <a:lnTo>
                        <a:pt x="61172" y="16019"/>
                      </a:lnTo>
                      <a:cubicBezTo>
                        <a:pt x="68709" y="1484"/>
                        <a:pt x="86653" y="-4207"/>
                        <a:pt x="101188" y="3330"/>
                      </a:cubicBezTo>
                      <a:cubicBezTo>
                        <a:pt x="115722" y="10866"/>
                        <a:pt x="121413" y="28810"/>
                        <a:pt x="113877" y="43345"/>
                      </a:cubicBezTo>
                      <a:lnTo>
                        <a:pt x="87935" y="93409"/>
                      </a:lnTo>
                      <a:cubicBezTo>
                        <a:pt x="100675" y="101689"/>
                        <a:pt x="110083" y="114019"/>
                        <a:pt x="114748" y="128708"/>
                      </a:cubicBezTo>
                      <a:cubicBezTo>
                        <a:pt x="120080" y="145498"/>
                        <a:pt x="118542" y="163365"/>
                        <a:pt x="110442" y="179002"/>
                      </a:cubicBezTo>
                      <a:lnTo>
                        <a:pt x="98727" y="172927"/>
                      </a:lnTo>
                      <a:cubicBezTo>
                        <a:pt x="105212" y="160417"/>
                        <a:pt x="106443" y="146113"/>
                        <a:pt x="102162" y="132681"/>
                      </a:cubicBezTo>
                      <a:cubicBezTo>
                        <a:pt x="97906" y="119249"/>
                        <a:pt x="88652" y="108277"/>
                        <a:pt x="76143" y="101791"/>
                      </a:cubicBezTo>
                      <a:lnTo>
                        <a:pt x="70272" y="98767"/>
                      </a:lnTo>
                      <a:lnTo>
                        <a:pt x="102136" y="37270"/>
                      </a:lnTo>
                      <a:cubicBezTo>
                        <a:pt x="106314" y="29195"/>
                        <a:pt x="103161" y="19223"/>
                        <a:pt x="95087" y="15045"/>
                      </a:cubicBezTo>
                      <a:cubicBezTo>
                        <a:pt x="87012" y="10866"/>
                        <a:pt x="77040" y="14019"/>
                        <a:pt x="72862" y="22094"/>
                      </a:cubicBezTo>
                      <a:lnTo>
                        <a:pt x="22772" y="118736"/>
                      </a:lnTo>
                      <a:cubicBezTo>
                        <a:pt x="1008" y="160725"/>
                        <a:pt x="17466" y="212584"/>
                        <a:pt x="59455" y="234347"/>
                      </a:cubicBezTo>
                      <a:lnTo>
                        <a:pt x="77014" y="243447"/>
                      </a:lnTo>
                      <a:cubicBezTo>
                        <a:pt x="102239" y="256521"/>
                        <a:pt x="132359" y="256162"/>
                        <a:pt x="157558" y="242473"/>
                      </a:cubicBezTo>
                      <a:lnTo>
                        <a:pt x="163864" y="254060"/>
                      </a:lnTo>
                      <a:cubicBezTo>
                        <a:pt x="148996" y="262135"/>
                        <a:pt x="132641" y="266185"/>
                        <a:pt x="116286" y="266185"/>
                      </a:cubicBezTo>
                      <a:close/>
                    </a:path>
                  </a:pathLst>
                </a:custGeom>
                <a:grpFill/>
                <a:ln w="2556" cap="flat">
                  <a:noFill/>
                  <a:prstDash val="solid"/>
                  <a:miter/>
                </a:ln>
              </p:spPr>
              <p:txBody>
                <a:bodyPr rtlCol="0" anchor="ctr"/>
                <a:lstStyle/>
                <a:p>
                  <a:endParaRPr lang="en-GB" dirty="0"/>
                </a:p>
              </p:txBody>
            </p:sp>
            <p:sp>
              <p:nvSpPr>
                <p:cNvPr id="92" name="Freihandform: Form 729">
                  <a:extLst>
                    <a:ext uri="{FF2B5EF4-FFF2-40B4-BE49-F238E27FC236}">
                      <a16:creationId xmlns:a16="http://schemas.microsoft.com/office/drawing/2014/main" id="{BCC53271-7A10-4658-9624-C708B5718F7E}"/>
                    </a:ext>
                  </a:extLst>
                </p:cNvPr>
                <p:cNvSpPr/>
                <p:nvPr/>
              </p:nvSpPr>
              <p:spPr>
                <a:xfrm>
                  <a:off x="5507899" y="4152152"/>
                  <a:ext cx="72103" cy="72241"/>
                </a:xfrm>
                <a:custGeom>
                  <a:avLst/>
                  <a:gdLst>
                    <a:gd name="connsiteX0" fmla="*/ 51858 w 72103"/>
                    <a:gd name="connsiteY0" fmla="*/ 72242 h 72241"/>
                    <a:gd name="connsiteX1" fmla="*/ 40118 w 72103"/>
                    <a:gd name="connsiteY1" fmla="*/ 66218 h 72241"/>
                    <a:gd name="connsiteX2" fmla="*/ 57421 w 72103"/>
                    <a:gd name="connsiteY2" fmla="*/ 32508 h 72241"/>
                    <a:gd name="connsiteX3" fmla="*/ 51781 w 72103"/>
                    <a:gd name="connsiteY3" fmla="*/ 14693 h 72241"/>
                    <a:gd name="connsiteX4" fmla="*/ 33991 w 72103"/>
                    <a:gd name="connsiteY4" fmla="*/ 20332 h 72241"/>
                    <a:gd name="connsiteX5" fmla="*/ 11664 w 72103"/>
                    <a:gd name="connsiteY5" fmla="*/ 62654 h 72241"/>
                    <a:gd name="connsiteX6" fmla="*/ 0 w 72103"/>
                    <a:gd name="connsiteY6" fmla="*/ 56502 h 72241"/>
                    <a:gd name="connsiteX7" fmla="*/ 22302 w 72103"/>
                    <a:gd name="connsiteY7" fmla="*/ 14205 h 72241"/>
                    <a:gd name="connsiteX8" fmla="*/ 57857 w 72103"/>
                    <a:gd name="connsiteY8" fmla="*/ 2952 h 72241"/>
                    <a:gd name="connsiteX9" fmla="*/ 69136 w 72103"/>
                    <a:gd name="connsiteY9" fmla="*/ 38507 h 72241"/>
                    <a:gd name="connsiteX10" fmla="*/ 51858 w 72103"/>
                    <a:gd name="connsiteY10" fmla="*/ 72242 h 72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103" h="72241">
                      <a:moveTo>
                        <a:pt x="51858" y="72242"/>
                      </a:moveTo>
                      <a:lnTo>
                        <a:pt x="40118" y="66218"/>
                      </a:lnTo>
                      <a:lnTo>
                        <a:pt x="57421" y="32508"/>
                      </a:lnTo>
                      <a:cubicBezTo>
                        <a:pt x="60779" y="26023"/>
                        <a:pt x="58241" y="18051"/>
                        <a:pt x="51781" y="14693"/>
                      </a:cubicBezTo>
                      <a:cubicBezTo>
                        <a:pt x="45322" y="11360"/>
                        <a:pt x="37349" y="13872"/>
                        <a:pt x="33991" y="20332"/>
                      </a:cubicBezTo>
                      <a:lnTo>
                        <a:pt x="11664" y="62654"/>
                      </a:lnTo>
                      <a:lnTo>
                        <a:pt x="0" y="56502"/>
                      </a:lnTo>
                      <a:lnTo>
                        <a:pt x="22302" y="14205"/>
                      </a:lnTo>
                      <a:cubicBezTo>
                        <a:pt x="28967" y="1337"/>
                        <a:pt x="44911" y="-3739"/>
                        <a:pt x="57857" y="2952"/>
                      </a:cubicBezTo>
                      <a:cubicBezTo>
                        <a:pt x="70777" y="9642"/>
                        <a:pt x="75852" y="25613"/>
                        <a:pt x="69136" y="38507"/>
                      </a:cubicBezTo>
                      <a:lnTo>
                        <a:pt x="51858" y="72242"/>
                      </a:lnTo>
                      <a:close/>
                    </a:path>
                  </a:pathLst>
                </a:custGeom>
                <a:grpFill/>
                <a:ln w="2556" cap="flat">
                  <a:noFill/>
                  <a:prstDash val="solid"/>
                  <a:miter/>
                </a:ln>
              </p:spPr>
              <p:txBody>
                <a:bodyPr rtlCol="0" anchor="ctr"/>
                <a:lstStyle/>
                <a:p>
                  <a:endParaRPr lang="en-GB" dirty="0"/>
                </a:p>
              </p:txBody>
            </p:sp>
            <p:sp>
              <p:nvSpPr>
                <p:cNvPr id="93" name="Freihandform: Form 730">
                  <a:extLst>
                    <a:ext uri="{FF2B5EF4-FFF2-40B4-BE49-F238E27FC236}">
                      <a16:creationId xmlns:a16="http://schemas.microsoft.com/office/drawing/2014/main" id="{649E8A5C-496D-4B79-98B7-1256465E02CD}"/>
                    </a:ext>
                  </a:extLst>
                </p:cNvPr>
                <p:cNvSpPr/>
                <p:nvPr/>
              </p:nvSpPr>
              <p:spPr>
                <a:xfrm>
                  <a:off x="5550144" y="4199700"/>
                  <a:ext cx="49824" cy="38536"/>
                </a:xfrm>
                <a:custGeom>
                  <a:avLst/>
                  <a:gdLst>
                    <a:gd name="connsiteX0" fmla="*/ 46860 w 49824"/>
                    <a:gd name="connsiteY0" fmla="*/ 38537 h 38536"/>
                    <a:gd name="connsiteX1" fmla="*/ 35145 w 49824"/>
                    <a:gd name="connsiteY1" fmla="*/ 32461 h 38536"/>
                    <a:gd name="connsiteX2" fmla="*/ 35991 w 49824"/>
                    <a:gd name="connsiteY2" fmla="*/ 22413 h 38536"/>
                    <a:gd name="connsiteX3" fmla="*/ 29505 w 49824"/>
                    <a:gd name="connsiteY3" fmla="*/ 14671 h 38536"/>
                    <a:gd name="connsiteX4" fmla="*/ 11715 w 49824"/>
                    <a:gd name="connsiteY4" fmla="*/ 20311 h 38536"/>
                    <a:gd name="connsiteX5" fmla="*/ 0 w 49824"/>
                    <a:gd name="connsiteY5" fmla="*/ 14235 h 38536"/>
                    <a:gd name="connsiteX6" fmla="*/ 35555 w 49824"/>
                    <a:gd name="connsiteY6" fmla="*/ 2956 h 38536"/>
                    <a:gd name="connsiteX7" fmla="*/ 48552 w 49824"/>
                    <a:gd name="connsiteY7" fmla="*/ 18414 h 38536"/>
                    <a:gd name="connsiteX8" fmla="*/ 46860 w 49824"/>
                    <a:gd name="connsiteY8" fmla="*/ 38537 h 3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824" h="38536">
                      <a:moveTo>
                        <a:pt x="46860" y="38537"/>
                      </a:moveTo>
                      <a:lnTo>
                        <a:pt x="35145" y="32461"/>
                      </a:lnTo>
                      <a:cubicBezTo>
                        <a:pt x="36760" y="29359"/>
                        <a:pt x="37042" y="25771"/>
                        <a:pt x="35991" y="22413"/>
                      </a:cubicBezTo>
                      <a:cubicBezTo>
                        <a:pt x="34914" y="19029"/>
                        <a:pt x="32607" y="16286"/>
                        <a:pt x="29505" y="14671"/>
                      </a:cubicBezTo>
                      <a:cubicBezTo>
                        <a:pt x="23045" y="11339"/>
                        <a:pt x="15073" y="13851"/>
                        <a:pt x="11715" y="20311"/>
                      </a:cubicBezTo>
                      <a:lnTo>
                        <a:pt x="0" y="14235"/>
                      </a:lnTo>
                      <a:cubicBezTo>
                        <a:pt x="6691" y="1315"/>
                        <a:pt x="22661" y="-3734"/>
                        <a:pt x="35555" y="2956"/>
                      </a:cubicBezTo>
                      <a:cubicBezTo>
                        <a:pt x="41784" y="6186"/>
                        <a:pt x="46398" y="11672"/>
                        <a:pt x="48552" y="18414"/>
                      </a:cubicBezTo>
                      <a:cubicBezTo>
                        <a:pt x="50705" y="25156"/>
                        <a:pt x="50115" y="32282"/>
                        <a:pt x="46860" y="38537"/>
                      </a:cubicBezTo>
                      <a:close/>
                    </a:path>
                  </a:pathLst>
                </a:custGeom>
                <a:grpFill/>
                <a:ln w="2556" cap="flat">
                  <a:noFill/>
                  <a:prstDash val="solid"/>
                  <a:miter/>
                </a:ln>
              </p:spPr>
              <p:txBody>
                <a:bodyPr rtlCol="0" anchor="ctr"/>
                <a:lstStyle/>
                <a:p>
                  <a:endParaRPr lang="en-GB" dirty="0"/>
                </a:p>
              </p:txBody>
            </p:sp>
            <p:sp>
              <p:nvSpPr>
                <p:cNvPr id="94" name="Freihandform: Form 731">
                  <a:extLst>
                    <a:ext uri="{FF2B5EF4-FFF2-40B4-BE49-F238E27FC236}">
                      <a16:creationId xmlns:a16="http://schemas.microsoft.com/office/drawing/2014/main" id="{E3C9A8DA-B237-4579-BC82-DF8BAB21257D}"/>
                    </a:ext>
                  </a:extLst>
                </p:cNvPr>
                <p:cNvSpPr/>
                <p:nvPr/>
              </p:nvSpPr>
              <p:spPr>
                <a:xfrm>
                  <a:off x="5428279" y="4163273"/>
                  <a:ext cx="101407" cy="119874"/>
                </a:xfrm>
                <a:custGeom>
                  <a:avLst/>
                  <a:gdLst>
                    <a:gd name="connsiteX0" fmla="*/ 11715 w 101407"/>
                    <a:gd name="connsiteY0" fmla="*/ 119875 h 119874"/>
                    <a:gd name="connsiteX1" fmla="*/ 0 w 101407"/>
                    <a:gd name="connsiteY1" fmla="*/ 113799 h 119874"/>
                    <a:gd name="connsiteX2" fmla="*/ 51602 w 101407"/>
                    <a:gd name="connsiteY2" fmla="*/ 14235 h 119874"/>
                    <a:gd name="connsiteX3" fmla="*/ 87157 w 101407"/>
                    <a:gd name="connsiteY3" fmla="*/ 2956 h 119874"/>
                    <a:gd name="connsiteX4" fmla="*/ 100154 w 101407"/>
                    <a:gd name="connsiteY4" fmla="*/ 18414 h 119874"/>
                    <a:gd name="connsiteX5" fmla="*/ 98462 w 101407"/>
                    <a:gd name="connsiteY5" fmla="*/ 38537 h 119874"/>
                    <a:gd name="connsiteX6" fmla="*/ 91258 w 101407"/>
                    <a:gd name="connsiteY6" fmla="*/ 51662 h 119874"/>
                    <a:gd name="connsiteX7" fmla="*/ 79697 w 101407"/>
                    <a:gd name="connsiteY7" fmla="*/ 45330 h 119874"/>
                    <a:gd name="connsiteX8" fmla="*/ 86824 w 101407"/>
                    <a:gd name="connsiteY8" fmla="*/ 32333 h 119874"/>
                    <a:gd name="connsiteX9" fmla="*/ 87593 w 101407"/>
                    <a:gd name="connsiteY9" fmla="*/ 22413 h 119874"/>
                    <a:gd name="connsiteX10" fmla="*/ 81107 w 101407"/>
                    <a:gd name="connsiteY10" fmla="*/ 14671 h 119874"/>
                    <a:gd name="connsiteX11" fmla="*/ 63317 w 101407"/>
                    <a:gd name="connsiteY11" fmla="*/ 20311 h 119874"/>
                    <a:gd name="connsiteX12" fmla="*/ 11715 w 101407"/>
                    <a:gd name="connsiteY12" fmla="*/ 119875 h 11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407" h="119874">
                      <a:moveTo>
                        <a:pt x="11715" y="119875"/>
                      </a:moveTo>
                      <a:lnTo>
                        <a:pt x="0" y="113799"/>
                      </a:lnTo>
                      <a:lnTo>
                        <a:pt x="51602" y="14235"/>
                      </a:lnTo>
                      <a:cubicBezTo>
                        <a:pt x="58293" y="1316"/>
                        <a:pt x="74263" y="-3735"/>
                        <a:pt x="87157" y="2956"/>
                      </a:cubicBezTo>
                      <a:cubicBezTo>
                        <a:pt x="93386" y="6186"/>
                        <a:pt x="98000" y="11672"/>
                        <a:pt x="100154" y="18414"/>
                      </a:cubicBezTo>
                      <a:cubicBezTo>
                        <a:pt x="102281" y="25155"/>
                        <a:pt x="101692" y="32282"/>
                        <a:pt x="98462" y="38537"/>
                      </a:cubicBezTo>
                      <a:lnTo>
                        <a:pt x="91258" y="51662"/>
                      </a:lnTo>
                      <a:lnTo>
                        <a:pt x="79697" y="45330"/>
                      </a:lnTo>
                      <a:lnTo>
                        <a:pt x="86824" y="32333"/>
                      </a:lnTo>
                      <a:cubicBezTo>
                        <a:pt x="88362" y="29360"/>
                        <a:pt x="88669" y="25796"/>
                        <a:pt x="87593" y="22413"/>
                      </a:cubicBezTo>
                      <a:cubicBezTo>
                        <a:pt x="86516" y="19029"/>
                        <a:pt x="84209" y="16286"/>
                        <a:pt x="81107" y="14671"/>
                      </a:cubicBezTo>
                      <a:cubicBezTo>
                        <a:pt x="74647" y="11338"/>
                        <a:pt x="66675" y="13851"/>
                        <a:pt x="63317" y="20311"/>
                      </a:cubicBezTo>
                      <a:lnTo>
                        <a:pt x="11715" y="119875"/>
                      </a:lnTo>
                      <a:close/>
                    </a:path>
                  </a:pathLst>
                </a:custGeom>
                <a:grpFill/>
                <a:ln w="2556" cap="flat">
                  <a:noFill/>
                  <a:prstDash val="solid"/>
                  <a:miter/>
                </a:ln>
              </p:spPr>
              <p:txBody>
                <a:bodyPr rtlCol="0" anchor="ctr"/>
                <a:lstStyle/>
                <a:p>
                  <a:endParaRPr lang="en-GB" dirty="0"/>
                </a:p>
              </p:txBody>
            </p:sp>
          </p:grpSp>
        </p:grpSp>
        <p:grpSp>
          <p:nvGrpSpPr>
            <p:cNvPr id="84" name="Gruppieren 829">
              <a:extLst>
                <a:ext uri="{FF2B5EF4-FFF2-40B4-BE49-F238E27FC236}">
                  <a16:creationId xmlns:a16="http://schemas.microsoft.com/office/drawing/2014/main" id="{273BB42D-5431-4DD1-88A6-6DCE23D4D6FF}"/>
                </a:ext>
              </a:extLst>
            </p:cNvPr>
            <p:cNvGrpSpPr/>
            <p:nvPr/>
          </p:nvGrpSpPr>
          <p:grpSpPr>
            <a:xfrm>
              <a:off x="2730837" y="1585984"/>
              <a:ext cx="337728" cy="221249"/>
              <a:chOff x="950911" y="4073125"/>
              <a:chExt cx="382612" cy="250653"/>
            </a:xfrm>
          </p:grpSpPr>
          <p:sp>
            <p:nvSpPr>
              <p:cNvPr id="85" name="Freihandform: Form 732">
                <a:extLst>
                  <a:ext uri="{FF2B5EF4-FFF2-40B4-BE49-F238E27FC236}">
                    <a16:creationId xmlns:a16="http://schemas.microsoft.com/office/drawing/2014/main" id="{DBBEFDF9-0C5E-43C9-8E97-BB2093180FAC}"/>
                  </a:ext>
                </a:extLst>
              </p:cNvPr>
              <p:cNvSpPr/>
              <p:nvPr/>
            </p:nvSpPr>
            <p:spPr>
              <a:xfrm>
                <a:off x="1129038" y="4073125"/>
                <a:ext cx="13176" cy="52755"/>
              </a:xfrm>
              <a:custGeom>
                <a:avLst/>
                <a:gdLst>
                  <a:gd name="connsiteX0" fmla="*/ 6588 w 13176"/>
                  <a:gd name="connsiteY0" fmla="*/ 52755 h 52755"/>
                  <a:gd name="connsiteX1" fmla="*/ 0 w 13176"/>
                  <a:gd name="connsiteY1" fmla="*/ 46168 h 52755"/>
                  <a:gd name="connsiteX2" fmla="*/ 0 w 13176"/>
                  <a:gd name="connsiteY2" fmla="*/ 6588 h 52755"/>
                  <a:gd name="connsiteX3" fmla="*/ 6588 w 13176"/>
                  <a:gd name="connsiteY3" fmla="*/ 0 h 52755"/>
                  <a:gd name="connsiteX4" fmla="*/ 13176 w 13176"/>
                  <a:gd name="connsiteY4" fmla="*/ 6588 h 52755"/>
                  <a:gd name="connsiteX5" fmla="*/ 13176 w 13176"/>
                  <a:gd name="connsiteY5" fmla="*/ 46168 h 52755"/>
                  <a:gd name="connsiteX6" fmla="*/ 6588 w 13176"/>
                  <a:gd name="connsiteY6" fmla="*/ 52755 h 52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76" h="52755">
                    <a:moveTo>
                      <a:pt x="6588" y="52755"/>
                    </a:moveTo>
                    <a:cubicBezTo>
                      <a:pt x="2948" y="52755"/>
                      <a:pt x="0" y="49808"/>
                      <a:pt x="0" y="46168"/>
                    </a:cubicBezTo>
                    <a:lnTo>
                      <a:pt x="0" y="6588"/>
                    </a:lnTo>
                    <a:cubicBezTo>
                      <a:pt x="0" y="2948"/>
                      <a:pt x="2948" y="0"/>
                      <a:pt x="6588" y="0"/>
                    </a:cubicBezTo>
                    <a:cubicBezTo>
                      <a:pt x="10228" y="0"/>
                      <a:pt x="13176" y="2948"/>
                      <a:pt x="13176" y="6588"/>
                    </a:cubicBezTo>
                    <a:lnTo>
                      <a:pt x="13176" y="46168"/>
                    </a:lnTo>
                    <a:cubicBezTo>
                      <a:pt x="13202" y="49808"/>
                      <a:pt x="10254" y="52755"/>
                      <a:pt x="6588" y="52755"/>
                    </a:cubicBezTo>
                    <a:close/>
                  </a:path>
                </a:pathLst>
              </a:custGeom>
              <a:solidFill>
                <a:schemeClr val="accent1"/>
              </a:solidFill>
              <a:ln w="2556" cap="flat">
                <a:noFill/>
                <a:prstDash val="solid"/>
                <a:miter/>
              </a:ln>
            </p:spPr>
            <p:txBody>
              <a:bodyPr rtlCol="0" anchor="ctr"/>
              <a:lstStyle/>
              <a:p>
                <a:endParaRPr lang="en-GB" dirty="0"/>
              </a:p>
            </p:txBody>
          </p:sp>
          <p:sp>
            <p:nvSpPr>
              <p:cNvPr id="86" name="Freihandform: Form 733">
                <a:extLst>
                  <a:ext uri="{FF2B5EF4-FFF2-40B4-BE49-F238E27FC236}">
                    <a16:creationId xmlns:a16="http://schemas.microsoft.com/office/drawing/2014/main" id="{2C364B32-20B6-4394-BE1C-E2EE1F7D159E}"/>
                  </a:ext>
                </a:extLst>
              </p:cNvPr>
              <p:cNvSpPr/>
              <p:nvPr/>
            </p:nvSpPr>
            <p:spPr>
              <a:xfrm>
                <a:off x="1280768" y="4310602"/>
                <a:ext cx="52755" cy="13176"/>
              </a:xfrm>
              <a:custGeom>
                <a:avLst/>
                <a:gdLst>
                  <a:gd name="connsiteX0" fmla="*/ 46168 w 52755"/>
                  <a:gd name="connsiteY0" fmla="*/ 13176 h 13176"/>
                  <a:gd name="connsiteX1" fmla="*/ 6588 w 52755"/>
                  <a:gd name="connsiteY1" fmla="*/ 13176 h 13176"/>
                  <a:gd name="connsiteX2" fmla="*/ 0 w 52755"/>
                  <a:gd name="connsiteY2" fmla="*/ 6588 h 13176"/>
                  <a:gd name="connsiteX3" fmla="*/ 6588 w 52755"/>
                  <a:gd name="connsiteY3" fmla="*/ 0 h 13176"/>
                  <a:gd name="connsiteX4" fmla="*/ 46168 w 52755"/>
                  <a:gd name="connsiteY4" fmla="*/ 0 h 13176"/>
                  <a:gd name="connsiteX5" fmla="*/ 52756 w 52755"/>
                  <a:gd name="connsiteY5" fmla="*/ 6588 h 13176"/>
                  <a:gd name="connsiteX6" fmla="*/ 46168 w 52755"/>
                  <a:gd name="connsiteY6" fmla="*/ 13176 h 1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55" h="13176">
                    <a:moveTo>
                      <a:pt x="46168" y="13176"/>
                    </a:moveTo>
                    <a:lnTo>
                      <a:pt x="6588" y="13176"/>
                    </a:lnTo>
                    <a:cubicBezTo>
                      <a:pt x="2948" y="13176"/>
                      <a:pt x="0" y="10228"/>
                      <a:pt x="0" y="6588"/>
                    </a:cubicBezTo>
                    <a:cubicBezTo>
                      <a:pt x="0" y="2948"/>
                      <a:pt x="2948" y="0"/>
                      <a:pt x="6588" y="0"/>
                    </a:cubicBezTo>
                    <a:lnTo>
                      <a:pt x="46168" y="0"/>
                    </a:lnTo>
                    <a:cubicBezTo>
                      <a:pt x="49808" y="0"/>
                      <a:pt x="52756" y="2948"/>
                      <a:pt x="52756" y="6588"/>
                    </a:cubicBezTo>
                    <a:cubicBezTo>
                      <a:pt x="52781" y="10228"/>
                      <a:pt x="49808" y="13176"/>
                      <a:pt x="46168" y="13176"/>
                    </a:cubicBezTo>
                    <a:close/>
                  </a:path>
                </a:pathLst>
              </a:custGeom>
              <a:solidFill>
                <a:schemeClr val="accent1"/>
              </a:solidFill>
              <a:ln w="2556" cap="flat">
                <a:noFill/>
                <a:prstDash val="solid"/>
                <a:miter/>
              </a:ln>
            </p:spPr>
            <p:txBody>
              <a:bodyPr rtlCol="0" anchor="ctr"/>
              <a:lstStyle/>
              <a:p>
                <a:endParaRPr lang="en-GB" dirty="0"/>
              </a:p>
            </p:txBody>
          </p:sp>
          <p:sp>
            <p:nvSpPr>
              <p:cNvPr id="87" name="Freihandform: Form 734">
                <a:extLst>
                  <a:ext uri="{FF2B5EF4-FFF2-40B4-BE49-F238E27FC236}">
                    <a16:creationId xmlns:a16="http://schemas.microsoft.com/office/drawing/2014/main" id="{DBFDE205-6CB5-4202-B442-67EE081F0792}"/>
                  </a:ext>
                </a:extLst>
              </p:cNvPr>
              <p:cNvSpPr/>
              <p:nvPr/>
            </p:nvSpPr>
            <p:spPr>
              <a:xfrm>
                <a:off x="950911" y="4132449"/>
                <a:ext cx="41207" cy="41188"/>
              </a:xfrm>
              <a:custGeom>
                <a:avLst/>
                <a:gdLst>
                  <a:gd name="connsiteX0" fmla="*/ 34600 w 41207"/>
                  <a:gd name="connsiteY0" fmla="*/ 41188 h 41188"/>
                  <a:gd name="connsiteX1" fmla="*/ 29935 w 41207"/>
                  <a:gd name="connsiteY1" fmla="*/ 39266 h 41188"/>
                  <a:gd name="connsiteX2" fmla="*/ 1942 w 41207"/>
                  <a:gd name="connsiteY2" fmla="*/ 11273 h 41188"/>
                  <a:gd name="connsiteX3" fmla="*/ 1942 w 41207"/>
                  <a:gd name="connsiteY3" fmla="*/ 1942 h 41188"/>
                  <a:gd name="connsiteX4" fmla="*/ 11273 w 41207"/>
                  <a:gd name="connsiteY4" fmla="*/ 1942 h 41188"/>
                  <a:gd name="connsiteX5" fmla="*/ 39266 w 41207"/>
                  <a:gd name="connsiteY5" fmla="*/ 29935 h 41188"/>
                  <a:gd name="connsiteX6" fmla="*/ 39266 w 41207"/>
                  <a:gd name="connsiteY6" fmla="*/ 39266 h 41188"/>
                  <a:gd name="connsiteX7" fmla="*/ 34600 w 41207"/>
                  <a:gd name="connsiteY7" fmla="*/ 41188 h 4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07" h="41188">
                    <a:moveTo>
                      <a:pt x="34600" y="41188"/>
                    </a:moveTo>
                    <a:cubicBezTo>
                      <a:pt x="32908" y="41188"/>
                      <a:pt x="31216" y="40547"/>
                      <a:pt x="29935" y="39266"/>
                    </a:cubicBezTo>
                    <a:lnTo>
                      <a:pt x="1942" y="11273"/>
                    </a:lnTo>
                    <a:cubicBezTo>
                      <a:pt x="-647" y="8684"/>
                      <a:pt x="-647" y="4531"/>
                      <a:pt x="1942" y="1942"/>
                    </a:cubicBezTo>
                    <a:cubicBezTo>
                      <a:pt x="4531" y="-647"/>
                      <a:pt x="8684" y="-647"/>
                      <a:pt x="11273" y="1942"/>
                    </a:cubicBezTo>
                    <a:lnTo>
                      <a:pt x="39266" y="29935"/>
                    </a:lnTo>
                    <a:cubicBezTo>
                      <a:pt x="41855" y="32524"/>
                      <a:pt x="41855" y="36677"/>
                      <a:pt x="39266" y="39266"/>
                    </a:cubicBezTo>
                    <a:cubicBezTo>
                      <a:pt x="37984" y="40547"/>
                      <a:pt x="36292" y="41188"/>
                      <a:pt x="34600" y="41188"/>
                    </a:cubicBezTo>
                    <a:close/>
                  </a:path>
                </a:pathLst>
              </a:custGeom>
              <a:solidFill>
                <a:schemeClr val="accent1"/>
              </a:solidFill>
              <a:ln w="2556" cap="flat">
                <a:noFill/>
                <a:prstDash val="solid"/>
                <a:miter/>
              </a:ln>
            </p:spPr>
            <p:txBody>
              <a:bodyPr rtlCol="0" anchor="ctr"/>
              <a:lstStyle/>
              <a:p>
                <a:endParaRPr lang="en-GB" dirty="0"/>
              </a:p>
            </p:txBody>
          </p:sp>
          <p:sp>
            <p:nvSpPr>
              <p:cNvPr id="88" name="Freihandform: Form 735">
                <a:extLst>
                  <a:ext uri="{FF2B5EF4-FFF2-40B4-BE49-F238E27FC236}">
                    <a16:creationId xmlns:a16="http://schemas.microsoft.com/office/drawing/2014/main" id="{2F8F36AE-3505-4443-AE26-A528BA7EF63E}"/>
                  </a:ext>
                </a:extLst>
              </p:cNvPr>
              <p:cNvSpPr/>
              <p:nvPr/>
            </p:nvSpPr>
            <p:spPr>
              <a:xfrm>
                <a:off x="1241759" y="4169850"/>
                <a:ext cx="41207" cy="41188"/>
              </a:xfrm>
              <a:custGeom>
                <a:avLst/>
                <a:gdLst>
                  <a:gd name="connsiteX0" fmla="*/ 6607 w 41207"/>
                  <a:gd name="connsiteY0" fmla="*/ 41188 h 41188"/>
                  <a:gd name="connsiteX1" fmla="*/ 1942 w 41207"/>
                  <a:gd name="connsiteY1" fmla="*/ 39266 h 41188"/>
                  <a:gd name="connsiteX2" fmla="*/ 1942 w 41207"/>
                  <a:gd name="connsiteY2" fmla="*/ 29935 h 41188"/>
                  <a:gd name="connsiteX3" fmla="*/ 29935 w 41207"/>
                  <a:gd name="connsiteY3" fmla="*/ 1942 h 41188"/>
                  <a:gd name="connsiteX4" fmla="*/ 39266 w 41207"/>
                  <a:gd name="connsiteY4" fmla="*/ 1942 h 41188"/>
                  <a:gd name="connsiteX5" fmla="*/ 39266 w 41207"/>
                  <a:gd name="connsiteY5" fmla="*/ 11273 h 41188"/>
                  <a:gd name="connsiteX6" fmla="*/ 11273 w 41207"/>
                  <a:gd name="connsiteY6" fmla="*/ 39266 h 41188"/>
                  <a:gd name="connsiteX7" fmla="*/ 6607 w 41207"/>
                  <a:gd name="connsiteY7" fmla="*/ 41188 h 4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07" h="41188">
                    <a:moveTo>
                      <a:pt x="6607" y="41188"/>
                    </a:moveTo>
                    <a:cubicBezTo>
                      <a:pt x="4915" y="41188"/>
                      <a:pt x="3224" y="40547"/>
                      <a:pt x="1942" y="39266"/>
                    </a:cubicBezTo>
                    <a:cubicBezTo>
                      <a:pt x="-647" y="36676"/>
                      <a:pt x="-647" y="32524"/>
                      <a:pt x="1942" y="29935"/>
                    </a:cubicBezTo>
                    <a:lnTo>
                      <a:pt x="29935" y="1942"/>
                    </a:lnTo>
                    <a:cubicBezTo>
                      <a:pt x="32524" y="-647"/>
                      <a:pt x="36676" y="-647"/>
                      <a:pt x="39266" y="1942"/>
                    </a:cubicBezTo>
                    <a:cubicBezTo>
                      <a:pt x="41855" y="4531"/>
                      <a:pt x="41855" y="8684"/>
                      <a:pt x="39266" y="11273"/>
                    </a:cubicBezTo>
                    <a:lnTo>
                      <a:pt x="11273" y="39266"/>
                    </a:lnTo>
                    <a:cubicBezTo>
                      <a:pt x="9991" y="40547"/>
                      <a:pt x="8299" y="41188"/>
                      <a:pt x="6607" y="41188"/>
                    </a:cubicBezTo>
                    <a:close/>
                  </a:path>
                </a:pathLst>
              </a:custGeom>
              <a:solidFill>
                <a:schemeClr val="accent1"/>
              </a:solidFill>
              <a:ln w="2556" cap="flat">
                <a:noFill/>
                <a:prstDash val="solid"/>
                <a:miter/>
              </a:ln>
            </p:spPr>
            <p:txBody>
              <a:bodyPr rtlCol="0" anchor="ctr"/>
              <a:lstStyle/>
              <a:p>
                <a:endParaRPr lang="en-GB" dirty="0"/>
              </a:p>
            </p:txBody>
          </p:sp>
        </p:grpSp>
      </p:grpSp>
      <p:grpSp>
        <p:nvGrpSpPr>
          <p:cNvPr id="5" name="Group 4">
            <a:extLst>
              <a:ext uri="{FF2B5EF4-FFF2-40B4-BE49-F238E27FC236}">
                <a16:creationId xmlns:a16="http://schemas.microsoft.com/office/drawing/2014/main" id="{D98601A9-DE9D-0209-9DBE-A7151B96BC32}"/>
              </a:ext>
            </a:extLst>
          </p:cNvPr>
          <p:cNvGrpSpPr/>
          <p:nvPr/>
        </p:nvGrpSpPr>
        <p:grpSpPr>
          <a:xfrm>
            <a:off x="3694553" y="1585984"/>
            <a:ext cx="525598" cy="432000"/>
            <a:chOff x="3694553" y="1585984"/>
            <a:chExt cx="525598" cy="432000"/>
          </a:xfrm>
        </p:grpSpPr>
        <p:grpSp>
          <p:nvGrpSpPr>
            <p:cNvPr id="314" name="Grafik 306">
              <a:extLst>
                <a:ext uri="{FF2B5EF4-FFF2-40B4-BE49-F238E27FC236}">
                  <a16:creationId xmlns:a16="http://schemas.microsoft.com/office/drawing/2014/main" id="{3D0488D7-091B-41ED-B88A-F817BABFF649}"/>
                </a:ext>
              </a:extLst>
            </p:cNvPr>
            <p:cNvGrpSpPr/>
            <p:nvPr/>
          </p:nvGrpSpPr>
          <p:grpSpPr>
            <a:xfrm>
              <a:off x="3778820" y="1721014"/>
              <a:ext cx="309543" cy="175199"/>
              <a:chOff x="1817737" y="4204416"/>
              <a:chExt cx="257274" cy="145615"/>
            </a:xfrm>
            <a:solidFill>
              <a:schemeClr val="accent1"/>
            </a:solidFill>
          </p:grpSpPr>
          <p:sp>
            <p:nvSpPr>
              <p:cNvPr id="320" name="Freihandform: Form 222">
                <a:extLst>
                  <a:ext uri="{FF2B5EF4-FFF2-40B4-BE49-F238E27FC236}">
                    <a16:creationId xmlns:a16="http://schemas.microsoft.com/office/drawing/2014/main" id="{5AE714EB-B1F3-4F5D-985C-FAD4B1FB02AD}"/>
                  </a:ext>
                </a:extLst>
              </p:cNvPr>
              <p:cNvSpPr/>
              <p:nvPr/>
            </p:nvSpPr>
            <p:spPr>
              <a:xfrm>
                <a:off x="1817737" y="4204416"/>
                <a:ext cx="257274" cy="145615"/>
              </a:xfrm>
              <a:custGeom>
                <a:avLst/>
                <a:gdLst>
                  <a:gd name="connsiteX0" fmla="*/ 128637 w 257274"/>
                  <a:gd name="connsiteY0" fmla="*/ 145615 h 145615"/>
                  <a:gd name="connsiteX1" fmla="*/ 1078 w 257274"/>
                  <a:gd name="connsiteY1" fmla="*/ 76416 h 145615"/>
                  <a:gd name="connsiteX2" fmla="*/ 1078 w 257274"/>
                  <a:gd name="connsiteY2" fmla="*/ 69199 h 145615"/>
                  <a:gd name="connsiteX3" fmla="*/ 128637 w 257274"/>
                  <a:gd name="connsiteY3" fmla="*/ 0 h 145615"/>
                  <a:gd name="connsiteX4" fmla="*/ 256197 w 257274"/>
                  <a:gd name="connsiteY4" fmla="*/ 69199 h 145615"/>
                  <a:gd name="connsiteX5" fmla="*/ 256197 w 257274"/>
                  <a:gd name="connsiteY5" fmla="*/ 76416 h 145615"/>
                  <a:gd name="connsiteX6" fmla="*/ 128637 w 257274"/>
                  <a:gd name="connsiteY6" fmla="*/ 145615 h 145615"/>
                  <a:gd name="connsiteX7" fmla="*/ 14612 w 257274"/>
                  <a:gd name="connsiteY7" fmla="*/ 72822 h 145615"/>
                  <a:gd name="connsiteX8" fmla="*/ 128667 w 257274"/>
                  <a:gd name="connsiteY8" fmla="*/ 132380 h 145615"/>
                  <a:gd name="connsiteX9" fmla="*/ 242722 w 257274"/>
                  <a:gd name="connsiteY9" fmla="*/ 72822 h 145615"/>
                  <a:gd name="connsiteX10" fmla="*/ 128667 w 257274"/>
                  <a:gd name="connsiteY10" fmla="*/ 13265 h 145615"/>
                  <a:gd name="connsiteX11" fmla="*/ 14612 w 257274"/>
                  <a:gd name="connsiteY11" fmla="*/ 72822 h 14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274" h="145615">
                    <a:moveTo>
                      <a:pt x="128637" y="145615"/>
                    </a:moveTo>
                    <a:cubicBezTo>
                      <a:pt x="77015" y="145615"/>
                      <a:pt x="29345" y="119744"/>
                      <a:pt x="1078" y="76416"/>
                    </a:cubicBezTo>
                    <a:cubicBezTo>
                      <a:pt x="-359" y="74230"/>
                      <a:pt x="-359" y="71385"/>
                      <a:pt x="1078" y="69199"/>
                    </a:cubicBezTo>
                    <a:cubicBezTo>
                      <a:pt x="29345" y="25871"/>
                      <a:pt x="77015" y="0"/>
                      <a:pt x="128637" y="0"/>
                    </a:cubicBezTo>
                    <a:cubicBezTo>
                      <a:pt x="180260" y="0"/>
                      <a:pt x="227960" y="25871"/>
                      <a:pt x="256197" y="69199"/>
                    </a:cubicBezTo>
                    <a:cubicBezTo>
                      <a:pt x="257634" y="71385"/>
                      <a:pt x="257634" y="74230"/>
                      <a:pt x="256197" y="76416"/>
                    </a:cubicBezTo>
                    <a:cubicBezTo>
                      <a:pt x="227960" y="119744"/>
                      <a:pt x="180260" y="145615"/>
                      <a:pt x="128637" y="145615"/>
                    </a:cubicBezTo>
                    <a:close/>
                    <a:moveTo>
                      <a:pt x="14612" y="72822"/>
                    </a:moveTo>
                    <a:cubicBezTo>
                      <a:pt x="40663" y="110222"/>
                      <a:pt x="82974" y="132380"/>
                      <a:pt x="128667" y="132380"/>
                    </a:cubicBezTo>
                    <a:cubicBezTo>
                      <a:pt x="174331" y="132380"/>
                      <a:pt x="216641" y="110192"/>
                      <a:pt x="242722" y="72822"/>
                    </a:cubicBezTo>
                    <a:cubicBezTo>
                      <a:pt x="216671" y="35423"/>
                      <a:pt x="174361" y="13265"/>
                      <a:pt x="128667" y="13265"/>
                    </a:cubicBezTo>
                    <a:cubicBezTo>
                      <a:pt x="82974" y="13235"/>
                      <a:pt x="40663" y="35423"/>
                      <a:pt x="14612" y="72822"/>
                    </a:cubicBezTo>
                    <a:close/>
                  </a:path>
                </a:pathLst>
              </a:custGeom>
              <a:solidFill>
                <a:schemeClr val="accent1"/>
              </a:solidFill>
              <a:ln w="2991" cap="flat">
                <a:noFill/>
                <a:prstDash val="solid"/>
                <a:miter/>
              </a:ln>
            </p:spPr>
            <p:txBody>
              <a:bodyPr rtlCol="0" anchor="ctr"/>
              <a:lstStyle/>
              <a:p>
                <a:endParaRPr lang="en-GB" dirty="0"/>
              </a:p>
            </p:txBody>
          </p:sp>
          <p:sp>
            <p:nvSpPr>
              <p:cNvPr id="321" name="Freihandform: Form 223">
                <a:extLst>
                  <a:ext uri="{FF2B5EF4-FFF2-40B4-BE49-F238E27FC236}">
                    <a16:creationId xmlns:a16="http://schemas.microsoft.com/office/drawing/2014/main" id="{A7E66A3E-C723-428F-877F-119E42F1F2F5}"/>
                  </a:ext>
                </a:extLst>
              </p:cNvPr>
              <p:cNvSpPr/>
              <p:nvPr/>
            </p:nvSpPr>
            <p:spPr>
              <a:xfrm>
                <a:off x="1906669" y="4237533"/>
                <a:ext cx="79410" cy="79410"/>
              </a:xfrm>
              <a:custGeom>
                <a:avLst/>
                <a:gdLst>
                  <a:gd name="connsiteX0" fmla="*/ 39705 w 79410"/>
                  <a:gd name="connsiteY0" fmla="*/ 79410 h 79410"/>
                  <a:gd name="connsiteX1" fmla="*/ 0 w 79410"/>
                  <a:gd name="connsiteY1" fmla="*/ 39705 h 79410"/>
                  <a:gd name="connsiteX2" fmla="*/ 39705 w 79410"/>
                  <a:gd name="connsiteY2" fmla="*/ 0 h 79410"/>
                  <a:gd name="connsiteX3" fmla="*/ 79410 w 79410"/>
                  <a:gd name="connsiteY3" fmla="*/ 39705 h 79410"/>
                  <a:gd name="connsiteX4" fmla="*/ 39705 w 79410"/>
                  <a:gd name="connsiteY4" fmla="*/ 79410 h 79410"/>
                  <a:gd name="connsiteX5" fmla="*/ 39705 w 79410"/>
                  <a:gd name="connsiteY5" fmla="*/ 13205 h 79410"/>
                  <a:gd name="connsiteX6" fmla="*/ 13235 w 79410"/>
                  <a:gd name="connsiteY6" fmla="*/ 39675 h 79410"/>
                  <a:gd name="connsiteX7" fmla="*/ 39705 w 79410"/>
                  <a:gd name="connsiteY7" fmla="*/ 66145 h 79410"/>
                  <a:gd name="connsiteX8" fmla="*/ 66175 w 79410"/>
                  <a:gd name="connsiteY8" fmla="*/ 39675 h 79410"/>
                  <a:gd name="connsiteX9" fmla="*/ 39705 w 79410"/>
                  <a:gd name="connsiteY9" fmla="*/ 13205 h 7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410" h="79410">
                    <a:moveTo>
                      <a:pt x="39705" y="79410"/>
                    </a:moveTo>
                    <a:cubicBezTo>
                      <a:pt x="17816" y="79410"/>
                      <a:pt x="0" y="61594"/>
                      <a:pt x="0" y="39705"/>
                    </a:cubicBezTo>
                    <a:cubicBezTo>
                      <a:pt x="0" y="17816"/>
                      <a:pt x="17816" y="0"/>
                      <a:pt x="39705" y="0"/>
                    </a:cubicBezTo>
                    <a:cubicBezTo>
                      <a:pt x="61594" y="0"/>
                      <a:pt x="79410" y="17816"/>
                      <a:pt x="79410" y="39705"/>
                    </a:cubicBezTo>
                    <a:cubicBezTo>
                      <a:pt x="79410" y="61594"/>
                      <a:pt x="61594" y="79410"/>
                      <a:pt x="39705" y="79410"/>
                    </a:cubicBezTo>
                    <a:close/>
                    <a:moveTo>
                      <a:pt x="39705" y="13205"/>
                    </a:moveTo>
                    <a:cubicBezTo>
                      <a:pt x="25093" y="13205"/>
                      <a:pt x="13235" y="25093"/>
                      <a:pt x="13235" y="39675"/>
                    </a:cubicBezTo>
                    <a:cubicBezTo>
                      <a:pt x="13235" y="54258"/>
                      <a:pt x="25123" y="66145"/>
                      <a:pt x="39705" y="66145"/>
                    </a:cubicBezTo>
                    <a:cubicBezTo>
                      <a:pt x="54288" y="66145"/>
                      <a:pt x="66175" y="54258"/>
                      <a:pt x="66175" y="39675"/>
                    </a:cubicBezTo>
                    <a:cubicBezTo>
                      <a:pt x="66175" y="25093"/>
                      <a:pt x="54318" y="13205"/>
                      <a:pt x="39705" y="13205"/>
                    </a:cubicBezTo>
                    <a:close/>
                  </a:path>
                </a:pathLst>
              </a:custGeom>
              <a:solidFill>
                <a:schemeClr val="accent1"/>
              </a:solidFill>
              <a:ln w="2991" cap="flat">
                <a:noFill/>
                <a:prstDash val="solid"/>
                <a:miter/>
              </a:ln>
            </p:spPr>
            <p:txBody>
              <a:bodyPr rtlCol="0" anchor="ctr"/>
              <a:lstStyle/>
              <a:p>
                <a:endParaRPr lang="en-GB" dirty="0"/>
              </a:p>
            </p:txBody>
          </p:sp>
        </p:grpSp>
        <p:grpSp>
          <p:nvGrpSpPr>
            <p:cNvPr id="315" name="Group 314">
              <a:extLst>
                <a:ext uri="{FF2B5EF4-FFF2-40B4-BE49-F238E27FC236}">
                  <a16:creationId xmlns:a16="http://schemas.microsoft.com/office/drawing/2014/main" id="{7D47DAD7-705E-4BCA-B693-3FF8E5CFD810}"/>
                </a:ext>
              </a:extLst>
            </p:cNvPr>
            <p:cNvGrpSpPr/>
            <p:nvPr/>
          </p:nvGrpSpPr>
          <p:grpSpPr>
            <a:xfrm>
              <a:off x="3694553" y="1585984"/>
              <a:ext cx="525598" cy="432000"/>
              <a:chOff x="1747699" y="4092187"/>
              <a:chExt cx="436846" cy="359053"/>
            </a:xfrm>
            <a:solidFill>
              <a:schemeClr val="tx2"/>
            </a:solidFill>
          </p:grpSpPr>
          <p:grpSp>
            <p:nvGrpSpPr>
              <p:cNvPr id="316" name="Grafik 306">
                <a:extLst>
                  <a:ext uri="{FF2B5EF4-FFF2-40B4-BE49-F238E27FC236}">
                    <a16:creationId xmlns:a16="http://schemas.microsoft.com/office/drawing/2014/main" id="{96601D2D-1EF9-45F1-82A1-FA1F3E3ADEC7}"/>
                  </a:ext>
                </a:extLst>
              </p:cNvPr>
              <p:cNvGrpSpPr/>
              <p:nvPr/>
            </p:nvGrpSpPr>
            <p:grpSpPr>
              <a:xfrm>
                <a:off x="1747699" y="4092187"/>
                <a:ext cx="397141" cy="317700"/>
                <a:chOff x="1747699" y="4092187"/>
                <a:chExt cx="397141" cy="317700"/>
              </a:xfrm>
              <a:grpFill/>
            </p:grpSpPr>
            <p:sp>
              <p:nvSpPr>
                <p:cNvPr id="318" name="Freihandform: Form 219">
                  <a:extLst>
                    <a:ext uri="{FF2B5EF4-FFF2-40B4-BE49-F238E27FC236}">
                      <a16:creationId xmlns:a16="http://schemas.microsoft.com/office/drawing/2014/main" id="{1E57458B-A0AC-4D95-8E48-ECF104C3B53F}"/>
                    </a:ext>
                  </a:extLst>
                </p:cNvPr>
                <p:cNvSpPr/>
                <p:nvPr/>
              </p:nvSpPr>
              <p:spPr>
                <a:xfrm>
                  <a:off x="1747699" y="4092187"/>
                  <a:ext cx="397141" cy="317700"/>
                </a:xfrm>
                <a:custGeom>
                  <a:avLst/>
                  <a:gdLst>
                    <a:gd name="connsiteX0" fmla="*/ 357406 w 397141"/>
                    <a:gd name="connsiteY0" fmla="*/ 317701 h 317700"/>
                    <a:gd name="connsiteX1" fmla="*/ 39705 w 397141"/>
                    <a:gd name="connsiteY1" fmla="*/ 317701 h 317700"/>
                    <a:gd name="connsiteX2" fmla="*/ 0 w 397141"/>
                    <a:gd name="connsiteY2" fmla="*/ 277996 h 317700"/>
                    <a:gd name="connsiteX3" fmla="*/ 0 w 397141"/>
                    <a:gd name="connsiteY3" fmla="*/ 39705 h 317700"/>
                    <a:gd name="connsiteX4" fmla="*/ 39705 w 397141"/>
                    <a:gd name="connsiteY4" fmla="*/ 0 h 317700"/>
                    <a:gd name="connsiteX5" fmla="*/ 357436 w 397141"/>
                    <a:gd name="connsiteY5" fmla="*/ 0 h 317700"/>
                    <a:gd name="connsiteX6" fmla="*/ 397141 w 397141"/>
                    <a:gd name="connsiteY6" fmla="*/ 39705 h 317700"/>
                    <a:gd name="connsiteX7" fmla="*/ 397141 w 397141"/>
                    <a:gd name="connsiteY7" fmla="*/ 277996 h 317700"/>
                    <a:gd name="connsiteX8" fmla="*/ 357406 w 397141"/>
                    <a:gd name="connsiteY8" fmla="*/ 317701 h 317700"/>
                    <a:gd name="connsiteX9" fmla="*/ 39705 w 397141"/>
                    <a:gd name="connsiteY9" fmla="*/ 13205 h 317700"/>
                    <a:gd name="connsiteX10" fmla="*/ 13235 w 397141"/>
                    <a:gd name="connsiteY10" fmla="*/ 39675 h 317700"/>
                    <a:gd name="connsiteX11" fmla="*/ 13235 w 397141"/>
                    <a:gd name="connsiteY11" fmla="*/ 277966 h 317700"/>
                    <a:gd name="connsiteX12" fmla="*/ 39705 w 397141"/>
                    <a:gd name="connsiteY12" fmla="*/ 304436 h 317700"/>
                    <a:gd name="connsiteX13" fmla="*/ 357436 w 397141"/>
                    <a:gd name="connsiteY13" fmla="*/ 304436 h 317700"/>
                    <a:gd name="connsiteX14" fmla="*/ 383906 w 397141"/>
                    <a:gd name="connsiteY14" fmla="*/ 277966 h 317700"/>
                    <a:gd name="connsiteX15" fmla="*/ 383906 w 397141"/>
                    <a:gd name="connsiteY15" fmla="*/ 39675 h 317700"/>
                    <a:gd name="connsiteX16" fmla="*/ 357436 w 397141"/>
                    <a:gd name="connsiteY16" fmla="*/ 13205 h 317700"/>
                    <a:gd name="connsiteX17" fmla="*/ 39705 w 397141"/>
                    <a:gd name="connsiteY17" fmla="*/ 13205 h 31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7141" h="317700">
                      <a:moveTo>
                        <a:pt x="357406" y="317701"/>
                      </a:moveTo>
                      <a:lnTo>
                        <a:pt x="39705" y="317701"/>
                      </a:lnTo>
                      <a:cubicBezTo>
                        <a:pt x="17816" y="317701"/>
                        <a:pt x="0" y="299884"/>
                        <a:pt x="0" y="277996"/>
                      </a:cubicBezTo>
                      <a:lnTo>
                        <a:pt x="0" y="39705"/>
                      </a:lnTo>
                      <a:cubicBezTo>
                        <a:pt x="0" y="17816"/>
                        <a:pt x="17816" y="0"/>
                        <a:pt x="39705" y="0"/>
                      </a:cubicBezTo>
                      <a:lnTo>
                        <a:pt x="357436" y="0"/>
                      </a:lnTo>
                      <a:cubicBezTo>
                        <a:pt x="379325" y="0"/>
                        <a:pt x="397141" y="17816"/>
                        <a:pt x="397141" y="39705"/>
                      </a:cubicBezTo>
                      <a:lnTo>
                        <a:pt x="397141" y="277996"/>
                      </a:lnTo>
                      <a:cubicBezTo>
                        <a:pt x="397141" y="299884"/>
                        <a:pt x="379325" y="317701"/>
                        <a:pt x="357406" y="317701"/>
                      </a:cubicBezTo>
                      <a:close/>
                      <a:moveTo>
                        <a:pt x="39705" y="13205"/>
                      </a:moveTo>
                      <a:cubicBezTo>
                        <a:pt x="25093" y="13205"/>
                        <a:pt x="13235" y="25093"/>
                        <a:pt x="13235" y="39675"/>
                      </a:cubicBezTo>
                      <a:lnTo>
                        <a:pt x="13235" y="277966"/>
                      </a:lnTo>
                      <a:cubicBezTo>
                        <a:pt x="13235" y="292578"/>
                        <a:pt x="25123" y="304436"/>
                        <a:pt x="39705" y="304436"/>
                      </a:cubicBezTo>
                      <a:lnTo>
                        <a:pt x="357436" y="304436"/>
                      </a:lnTo>
                      <a:cubicBezTo>
                        <a:pt x="372048" y="304436"/>
                        <a:pt x="383906" y="292548"/>
                        <a:pt x="383906" y="277966"/>
                      </a:cubicBezTo>
                      <a:lnTo>
                        <a:pt x="383906" y="39675"/>
                      </a:lnTo>
                      <a:cubicBezTo>
                        <a:pt x="383906" y="25063"/>
                        <a:pt x="372018" y="13205"/>
                        <a:pt x="357436" y="13205"/>
                      </a:cubicBezTo>
                      <a:lnTo>
                        <a:pt x="39705" y="13205"/>
                      </a:lnTo>
                      <a:close/>
                    </a:path>
                  </a:pathLst>
                </a:custGeom>
                <a:grpFill/>
                <a:ln w="2991" cap="flat">
                  <a:noFill/>
                  <a:prstDash val="solid"/>
                  <a:miter/>
                </a:ln>
              </p:spPr>
              <p:txBody>
                <a:bodyPr rtlCol="0" anchor="ctr"/>
                <a:lstStyle/>
                <a:p>
                  <a:endParaRPr lang="en-GB" dirty="0"/>
                </a:p>
              </p:txBody>
            </p:sp>
            <p:sp>
              <p:nvSpPr>
                <p:cNvPr id="319" name="Freihandform: Form 220">
                  <a:extLst>
                    <a:ext uri="{FF2B5EF4-FFF2-40B4-BE49-F238E27FC236}">
                      <a16:creationId xmlns:a16="http://schemas.microsoft.com/office/drawing/2014/main" id="{B69FE7A0-C86D-4FB7-AF00-074121E924D4}"/>
                    </a:ext>
                  </a:extLst>
                </p:cNvPr>
                <p:cNvSpPr/>
                <p:nvPr/>
              </p:nvSpPr>
              <p:spPr>
                <a:xfrm>
                  <a:off x="1754287" y="4138510"/>
                  <a:ext cx="383905" cy="13235"/>
                </a:xfrm>
                <a:custGeom>
                  <a:avLst/>
                  <a:gdLst>
                    <a:gd name="connsiteX0" fmla="*/ 0 w 383905"/>
                    <a:gd name="connsiteY0" fmla="*/ 0 h 13235"/>
                    <a:gd name="connsiteX1" fmla="*/ 383906 w 383905"/>
                    <a:gd name="connsiteY1" fmla="*/ 0 h 13235"/>
                    <a:gd name="connsiteX2" fmla="*/ 383906 w 383905"/>
                    <a:gd name="connsiteY2" fmla="*/ 13235 h 13235"/>
                    <a:gd name="connsiteX3" fmla="*/ 0 w 383905"/>
                    <a:gd name="connsiteY3" fmla="*/ 13235 h 13235"/>
                  </a:gdLst>
                  <a:ahLst/>
                  <a:cxnLst>
                    <a:cxn ang="0">
                      <a:pos x="connsiteX0" y="connsiteY0"/>
                    </a:cxn>
                    <a:cxn ang="0">
                      <a:pos x="connsiteX1" y="connsiteY1"/>
                    </a:cxn>
                    <a:cxn ang="0">
                      <a:pos x="connsiteX2" y="connsiteY2"/>
                    </a:cxn>
                    <a:cxn ang="0">
                      <a:pos x="connsiteX3" y="connsiteY3"/>
                    </a:cxn>
                  </a:cxnLst>
                  <a:rect l="l" t="t" r="r" b="b"/>
                  <a:pathLst>
                    <a:path w="383905" h="13235">
                      <a:moveTo>
                        <a:pt x="0" y="0"/>
                      </a:moveTo>
                      <a:lnTo>
                        <a:pt x="383906" y="0"/>
                      </a:lnTo>
                      <a:lnTo>
                        <a:pt x="383906" y="13235"/>
                      </a:lnTo>
                      <a:lnTo>
                        <a:pt x="0" y="13235"/>
                      </a:lnTo>
                      <a:close/>
                    </a:path>
                  </a:pathLst>
                </a:custGeom>
                <a:grpFill/>
                <a:ln w="2991" cap="flat">
                  <a:noFill/>
                  <a:prstDash val="solid"/>
                  <a:miter/>
                </a:ln>
              </p:spPr>
              <p:txBody>
                <a:bodyPr rtlCol="0" anchor="ctr"/>
                <a:lstStyle/>
                <a:p>
                  <a:endParaRPr lang="en-GB" dirty="0"/>
                </a:p>
              </p:txBody>
            </p:sp>
          </p:grpSp>
          <p:sp>
            <p:nvSpPr>
              <p:cNvPr id="317" name="Freihandform: Form 224">
                <a:extLst>
                  <a:ext uri="{FF2B5EF4-FFF2-40B4-BE49-F238E27FC236}">
                    <a16:creationId xmlns:a16="http://schemas.microsoft.com/office/drawing/2014/main" id="{38AE16EB-968B-487A-8C6C-5DE7DE22764A}"/>
                  </a:ext>
                </a:extLst>
              </p:cNvPr>
              <p:cNvSpPr/>
              <p:nvPr/>
            </p:nvSpPr>
            <p:spPr>
              <a:xfrm>
                <a:off x="1797091" y="4140242"/>
                <a:ext cx="387454" cy="310998"/>
              </a:xfrm>
              <a:custGeom>
                <a:avLst/>
                <a:gdLst>
                  <a:gd name="connsiteX0" fmla="*/ 347749 w 387454"/>
                  <a:gd name="connsiteY0" fmla="*/ 310998 h 310998"/>
                  <a:gd name="connsiteX1" fmla="*/ 30018 w 387454"/>
                  <a:gd name="connsiteY1" fmla="*/ 310998 h 310998"/>
                  <a:gd name="connsiteX2" fmla="*/ 1931 w 387454"/>
                  <a:gd name="connsiteY2" fmla="*/ 299350 h 310998"/>
                  <a:gd name="connsiteX3" fmla="*/ 1931 w 387454"/>
                  <a:gd name="connsiteY3" fmla="*/ 289978 h 310998"/>
                  <a:gd name="connsiteX4" fmla="*/ 11304 w 387454"/>
                  <a:gd name="connsiteY4" fmla="*/ 289978 h 310998"/>
                  <a:gd name="connsiteX5" fmla="*/ 30018 w 387454"/>
                  <a:gd name="connsiteY5" fmla="*/ 297733 h 310998"/>
                  <a:gd name="connsiteX6" fmla="*/ 347749 w 387454"/>
                  <a:gd name="connsiteY6" fmla="*/ 297733 h 310998"/>
                  <a:gd name="connsiteX7" fmla="*/ 374219 w 387454"/>
                  <a:gd name="connsiteY7" fmla="*/ 271263 h 310998"/>
                  <a:gd name="connsiteX8" fmla="*/ 374219 w 387454"/>
                  <a:gd name="connsiteY8" fmla="*/ 32972 h 310998"/>
                  <a:gd name="connsiteX9" fmla="*/ 363769 w 387454"/>
                  <a:gd name="connsiteY9" fmla="*/ 11892 h 310998"/>
                  <a:gd name="connsiteX10" fmla="*/ 362511 w 387454"/>
                  <a:gd name="connsiteY10" fmla="*/ 2610 h 310998"/>
                  <a:gd name="connsiteX11" fmla="*/ 371794 w 387454"/>
                  <a:gd name="connsiteY11" fmla="*/ 1352 h 310998"/>
                  <a:gd name="connsiteX12" fmla="*/ 387454 w 387454"/>
                  <a:gd name="connsiteY12" fmla="*/ 32972 h 310998"/>
                  <a:gd name="connsiteX13" fmla="*/ 387454 w 387454"/>
                  <a:gd name="connsiteY13" fmla="*/ 271263 h 310998"/>
                  <a:gd name="connsiteX14" fmla="*/ 347749 w 387454"/>
                  <a:gd name="connsiteY14" fmla="*/ 310998 h 31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454" h="310998">
                    <a:moveTo>
                      <a:pt x="347749" y="310998"/>
                    </a:moveTo>
                    <a:lnTo>
                      <a:pt x="30018" y="310998"/>
                    </a:lnTo>
                    <a:cubicBezTo>
                      <a:pt x="19418" y="310998"/>
                      <a:pt x="9447" y="306866"/>
                      <a:pt x="1931" y="299350"/>
                    </a:cubicBezTo>
                    <a:cubicBezTo>
                      <a:pt x="-644" y="296775"/>
                      <a:pt x="-644" y="292583"/>
                      <a:pt x="1931" y="289978"/>
                    </a:cubicBezTo>
                    <a:cubicBezTo>
                      <a:pt x="4506" y="287403"/>
                      <a:pt x="8699" y="287403"/>
                      <a:pt x="11304" y="289978"/>
                    </a:cubicBezTo>
                    <a:cubicBezTo>
                      <a:pt x="16304" y="294978"/>
                      <a:pt x="22952" y="297733"/>
                      <a:pt x="30018" y="297733"/>
                    </a:cubicBezTo>
                    <a:lnTo>
                      <a:pt x="347749" y="297733"/>
                    </a:lnTo>
                    <a:cubicBezTo>
                      <a:pt x="362362" y="297733"/>
                      <a:pt x="374219" y="285846"/>
                      <a:pt x="374219" y="271263"/>
                    </a:cubicBezTo>
                    <a:lnTo>
                      <a:pt x="374219" y="32972"/>
                    </a:lnTo>
                    <a:cubicBezTo>
                      <a:pt x="374219" y="24648"/>
                      <a:pt x="370416" y="16953"/>
                      <a:pt x="363769" y="11892"/>
                    </a:cubicBezTo>
                    <a:cubicBezTo>
                      <a:pt x="360864" y="9676"/>
                      <a:pt x="360296" y="5514"/>
                      <a:pt x="362511" y="2610"/>
                    </a:cubicBezTo>
                    <a:cubicBezTo>
                      <a:pt x="364727" y="-295"/>
                      <a:pt x="368859" y="-864"/>
                      <a:pt x="371794" y="1352"/>
                    </a:cubicBezTo>
                    <a:cubicBezTo>
                      <a:pt x="381735" y="8928"/>
                      <a:pt x="387454" y="20456"/>
                      <a:pt x="387454" y="32972"/>
                    </a:cubicBezTo>
                    <a:lnTo>
                      <a:pt x="387454" y="271263"/>
                    </a:lnTo>
                    <a:cubicBezTo>
                      <a:pt x="387454" y="293212"/>
                      <a:pt x="369638" y="310998"/>
                      <a:pt x="347749" y="310998"/>
                    </a:cubicBezTo>
                    <a:close/>
                  </a:path>
                </a:pathLst>
              </a:custGeom>
              <a:grpFill/>
              <a:ln w="2991"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4012678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kt 37" hidden="1">
            <a:extLst>
              <a:ext uri="{FF2B5EF4-FFF2-40B4-BE49-F238E27FC236}">
                <a16:creationId xmlns:a16="http://schemas.microsoft.com/office/drawing/2014/main" id="{9017D3A4-4081-4F35-852E-E61D9DAF58D0}"/>
              </a:ext>
            </a:extLst>
          </p:cNvPr>
          <p:cNvGraphicFramePr>
            <a:graphicFrameLocks noChangeAspect="1"/>
          </p:cNvGraphicFramePr>
          <p:nvPr>
            <p:custDataLst>
              <p:tags r:id="rId1"/>
            </p:custDataLst>
            <p:extLst>
              <p:ext uri="{D42A27DB-BD31-4B8C-83A1-F6EECF244321}">
                <p14:modId xmlns:p14="http://schemas.microsoft.com/office/powerpoint/2010/main" val="26100970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8" name="Objekt 37" hidden="1">
                        <a:extLst>
                          <a:ext uri="{FF2B5EF4-FFF2-40B4-BE49-F238E27FC236}">
                            <a16:creationId xmlns:a16="http://schemas.microsoft.com/office/drawing/2014/main" id="{9017D3A4-4081-4F35-852E-E61D9DAF58D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26D784B-BFB9-4CF2-84AF-370E33A358BF}"/>
              </a:ext>
            </a:extLst>
          </p:cNvPr>
          <p:cNvSpPr>
            <a:spLocks noGrp="1"/>
          </p:cNvSpPr>
          <p:nvPr>
            <p:ph type="sldNum" sz="quarter" idx="11"/>
          </p:nvPr>
        </p:nvSpPr>
        <p:spPr/>
        <p:txBody>
          <a:bodyPr/>
          <a:lstStyle/>
          <a:p>
            <a:fld id="{D56DB8AA-803C-49D2-90AA-1140CE72DCD7}" type="slidenum">
              <a:rPr lang="en-GB" smtClean="0"/>
              <a:pPr/>
              <a:t>25</a:t>
            </a:fld>
            <a:endParaRPr lang="en-GB" dirty="0"/>
          </a:p>
        </p:txBody>
      </p:sp>
      <p:sp>
        <p:nvSpPr>
          <p:cNvPr id="3" name="Title 2">
            <a:extLst>
              <a:ext uri="{FF2B5EF4-FFF2-40B4-BE49-F238E27FC236}">
                <a16:creationId xmlns:a16="http://schemas.microsoft.com/office/drawing/2014/main" id="{9DB0ECBD-DF20-B07D-861A-1042706E52FA}"/>
              </a:ext>
            </a:extLst>
          </p:cNvPr>
          <p:cNvSpPr>
            <a:spLocks noGrp="1"/>
          </p:cNvSpPr>
          <p:nvPr>
            <p:ph type="title"/>
          </p:nvPr>
        </p:nvSpPr>
        <p:spPr>
          <a:xfrm>
            <a:off x="252000" y="252000"/>
            <a:ext cx="6748875" cy="576000"/>
          </a:xfrm>
        </p:spPr>
        <p:txBody>
          <a:bodyPr/>
          <a:lstStyle/>
          <a:p>
            <a:r>
              <a:rPr lang="en-US" dirty="0"/>
              <a:t>Marketing/Brand 1/4</a:t>
            </a:r>
            <a:br>
              <a:rPr lang="en-US" dirty="0"/>
            </a:br>
            <a:endParaRPr lang="en-US" dirty="0"/>
          </a:p>
        </p:txBody>
      </p:sp>
      <p:sp>
        <p:nvSpPr>
          <p:cNvPr id="5" name="TextBox 4">
            <a:extLst>
              <a:ext uri="{FF2B5EF4-FFF2-40B4-BE49-F238E27FC236}">
                <a16:creationId xmlns:a16="http://schemas.microsoft.com/office/drawing/2014/main" id="{F8AFFEBB-789B-4107-AAE2-78AFA69DD19C}"/>
              </a:ext>
            </a:extLst>
          </p:cNvPr>
          <p:cNvSpPr txBox="1"/>
          <p:nvPr/>
        </p:nvSpPr>
        <p:spPr>
          <a:xfrm>
            <a:off x="452119"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ffiliate</a:t>
            </a:r>
            <a:br>
              <a:rPr lang="en-GB" sz="700" dirty="0">
                <a:solidFill>
                  <a:schemeClr val="tx2"/>
                </a:solidFill>
              </a:rPr>
            </a:br>
            <a:r>
              <a:rPr lang="en-GB" sz="700" dirty="0">
                <a:solidFill>
                  <a:schemeClr val="tx2"/>
                </a:solidFill>
              </a:rPr>
              <a:t>marketing</a:t>
            </a:r>
          </a:p>
        </p:txBody>
      </p:sp>
      <p:sp>
        <p:nvSpPr>
          <p:cNvPr id="6" name="TextBox 5">
            <a:extLst>
              <a:ext uri="{FF2B5EF4-FFF2-40B4-BE49-F238E27FC236}">
                <a16:creationId xmlns:a16="http://schemas.microsoft.com/office/drawing/2014/main" id="{9FF7EBF9-8AC8-456C-BF11-A1CD951C04E2}"/>
              </a:ext>
            </a:extLst>
          </p:cNvPr>
          <p:cNvSpPr txBox="1"/>
          <p:nvPr/>
        </p:nvSpPr>
        <p:spPr>
          <a:xfrm>
            <a:off x="3588420"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mbassador</a:t>
            </a:r>
          </a:p>
        </p:txBody>
      </p:sp>
      <p:sp>
        <p:nvSpPr>
          <p:cNvPr id="7" name="TextBox 6">
            <a:extLst>
              <a:ext uri="{FF2B5EF4-FFF2-40B4-BE49-F238E27FC236}">
                <a16:creationId xmlns:a16="http://schemas.microsoft.com/office/drawing/2014/main" id="{53A4C825-AB94-4FF4-957A-00BBFC7C3F07}"/>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Engagement</a:t>
            </a:r>
            <a:br>
              <a:rPr lang="en-GB" sz="700" dirty="0">
                <a:solidFill>
                  <a:schemeClr val="tx2"/>
                </a:solidFill>
              </a:rPr>
            </a:br>
            <a:r>
              <a:rPr lang="en-GB" sz="700" dirty="0">
                <a:solidFill>
                  <a:schemeClr val="tx2"/>
                </a:solidFill>
              </a:rPr>
              <a:t>rate</a:t>
            </a:r>
          </a:p>
        </p:txBody>
      </p:sp>
      <p:sp>
        <p:nvSpPr>
          <p:cNvPr id="8" name="TextBox 7">
            <a:extLst>
              <a:ext uri="{FF2B5EF4-FFF2-40B4-BE49-F238E27FC236}">
                <a16:creationId xmlns:a16="http://schemas.microsoft.com/office/drawing/2014/main" id="{D926F82E-0A9A-4348-A537-7252A69B20AF}"/>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ampaign</a:t>
            </a:r>
          </a:p>
        </p:txBody>
      </p:sp>
      <p:sp>
        <p:nvSpPr>
          <p:cNvPr id="9" name="TextBox 8">
            <a:extLst>
              <a:ext uri="{FF2B5EF4-FFF2-40B4-BE49-F238E27FC236}">
                <a16:creationId xmlns:a16="http://schemas.microsoft.com/office/drawing/2014/main" id="{77D579B8-732E-4A92-8443-CD03030A549C}"/>
              </a:ext>
            </a:extLst>
          </p:cNvPr>
          <p:cNvSpPr txBox="1"/>
          <p:nvPr/>
        </p:nvSpPr>
        <p:spPr>
          <a:xfrm>
            <a:off x="3588420"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haring</a:t>
            </a:r>
            <a:br>
              <a:rPr lang="en-GB" sz="700" dirty="0">
                <a:solidFill>
                  <a:schemeClr val="tx2"/>
                </a:solidFill>
              </a:rPr>
            </a:br>
            <a:r>
              <a:rPr lang="en-GB" sz="700" dirty="0">
                <a:solidFill>
                  <a:schemeClr val="tx2"/>
                </a:solidFill>
              </a:rPr>
              <a:t>results</a:t>
            </a:r>
          </a:p>
        </p:txBody>
      </p:sp>
      <p:sp>
        <p:nvSpPr>
          <p:cNvPr id="10" name="TextBox 9">
            <a:extLst>
              <a:ext uri="{FF2B5EF4-FFF2-40B4-BE49-F238E27FC236}">
                <a16:creationId xmlns:a16="http://schemas.microsoft.com/office/drawing/2014/main" id="{B7329C0C-6E4D-425F-985C-7E4D95B17D00}"/>
              </a:ext>
            </a:extLst>
          </p:cNvPr>
          <p:cNvSpPr txBox="1"/>
          <p:nvPr/>
        </p:nvSpPr>
        <p:spPr>
          <a:xfrm>
            <a:off x="254298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onitoring</a:t>
            </a:r>
            <a:br>
              <a:rPr lang="en-GB" sz="700" dirty="0">
                <a:solidFill>
                  <a:schemeClr val="tx2"/>
                </a:solidFill>
              </a:rPr>
            </a:br>
            <a:r>
              <a:rPr lang="en-GB" sz="700" dirty="0">
                <a:solidFill>
                  <a:schemeClr val="tx2"/>
                </a:solidFill>
              </a:rPr>
              <a:t>feedback</a:t>
            </a:r>
          </a:p>
        </p:txBody>
      </p:sp>
      <p:sp>
        <p:nvSpPr>
          <p:cNvPr id="11" name="TextBox 10">
            <a:extLst>
              <a:ext uri="{FF2B5EF4-FFF2-40B4-BE49-F238E27FC236}">
                <a16:creationId xmlns:a16="http://schemas.microsoft.com/office/drawing/2014/main" id="{BA7416E2-B1BF-4869-8596-5D29F1204937}"/>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orkflow</a:t>
            </a:r>
          </a:p>
        </p:txBody>
      </p:sp>
      <p:sp>
        <p:nvSpPr>
          <p:cNvPr id="12" name="TextBox 11">
            <a:extLst>
              <a:ext uri="{FF2B5EF4-FFF2-40B4-BE49-F238E27FC236}">
                <a16:creationId xmlns:a16="http://schemas.microsoft.com/office/drawing/2014/main" id="{A07EF63D-399B-43A5-9541-8C9C5E1C6DCE}"/>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arketing mix</a:t>
            </a:r>
          </a:p>
        </p:txBody>
      </p:sp>
      <p:sp>
        <p:nvSpPr>
          <p:cNvPr id="13" name="TextBox 12">
            <a:extLst>
              <a:ext uri="{FF2B5EF4-FFF2-40B4-BE49-F238E27FC236}">
                <a16:creationId xmlns:a16="http://schemas.microsoft.com/office/drawing/2014/main" id="{1B7E9514-D840-4596-A865-44479924C1E0}"/>
              </a:ext>
            </a:extLst>
          </p:cNvPr>
          <p:cNvSpPr txBox="1"/>
          <p:nvPr/>
        </p:nvSpPr>
        <p:spPr>
          <a:xfrm>
            <a:off x="3588420"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rowd</a:t>
            </a:r>
            <a:br>
              <a:rPr lang="en-GB" sz="700" dirty="0">
                <a:solidFill>
                  <a:schemeClr val="tx2"/>
                </a:solidFill>
              </a:rPr>
            </a:br>
            <a:r>
              <a:rPr lang="en-GB" sz="700" dirty="0">
                <a:solidFill>
                  <a:schemeClr val="tx2"/>
                </a:solidFill>
              </a:rPr>
              <a:t>marketing</a:t>
            </a:r>
          </a:p>
        </p:txBody>
      </p:sp>
      <p:sp>
        <p:nvSpPr>
          <p:cNvPr id="14" name="TextBox 13">
            <a:extLst>
              <a:ext uri="{FF2B5EF4-FFF2-40B4-BE49-F238E27FC236}">
                <a16:creationId xmlns:a16="http://schemas.microsoft.com/office/drawing/2014/main" id="{C7F6C71C-106B-4BC6-A814-8ADAB7003FBD}"/>
              </a:ext>
            </a:extLst>
          </p:cNvPr>
          <p:cNvSpPr txBox="1"/>
          <p:nvPr/>
        </p:nvSpPr>
        <p:spPr>
          <a:xfrm>
            <a:off x="2542987"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arket</a:t>
            </a:r>
            <a:br>
              <a:rPr lang="en-GB" sz="700" dirty="0">
                <a:solidFill>
                  <a:schemeClr val="tx2"/>
                </a:solidFill>
              </a:rPr>
            </a:br>
            <a:r>
              <a:rPr lang="en-GB" sz="700" dirty="0">
                <a:solidFill>
                  <a:schemeClr val="tx2"/>
                </a:solidFill>
              </a:rPr>
              <a:t>policy</a:t>
            </a:r>
          </a:p>
        </p:txBody>
      </p:sp>
      <p:sp>
        <p:nvSpPr>
          <p:cNvPr id="15" name="TextBox 14">
            <a:extLst>
              <a:ext uri="{FF2B5EF4-FFF2-40B4-BE49-F238E27FC236}">
                <a16:creationId xmlns:a16="http://schemas.microsoft.com/office/drawing/2014/main" id="{733AB1F2-4994-43A3-971C-C130A0BC929D}"/>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mpetitiveness</a:t>
            </a:r>
          </a:p>
        </p:txBody>
      </p:sp>
      <p:sp>
        <p:nvSpPr>
          <p:cNvPr id="16" name="TextBox 15">
            <a:extLst>
              <a:ext uri="{FF2B5EF4-FFF2-40B4-BE49-F238E27FC236}">
                <a16:creationId xmlns:a16="http://schemas.microsoft.com/office/drawing/2014/main" id="{52AD2395-F8C3-4D90-8E33-CE1D9F66F9A0}"/>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Gross profit</a:t>
            </a:r>
          </a:p>
        </p:txBody>
      </p:sp>
      <p:sp>
        <p:nvSpPr>
          <p:cNvPr id="17" name="TextBox 16">
            <a:extLst>
              <a:ext uri="{FF2B5EF4-FFF2-40B4-BE49-F238E27FC236}">
                <a16:creationId xmlns:a16="http://schemas.microsoft.com/office/drawing/2014/main" id="{E9E073B2-0DBC-46F3-89C3-044F1963B02A}"/>
              </a:ext>
            </a:extLst>
          </p:cNvPr>
          <p:cNvSpPr txBox="1"/>
          <p:nvPr/>
        </p:nvSpPr>
        <p:spPr>
          <a:xfrm>
            <a:off x="3588420"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elf promotion</a:t>
            </a:r>
            <a:br>
              <a:rPr lang="en-GB" sz="700" dirty="0">
                <a:solidFill>
                  <a:schemeClr val="tx2"/>
                </a:solidFill>
              </a:rPr>
            </a:br>
            <a:r>
              <a:rPr lang="en-GB" sz="700" dirty="0">
                <a:solidFill>
                  <a:schemeClr val="tx2"/>
                </a:solidFill>
              </a:rPr>
              <a:t>analysis</a:t>
            </a:r>
          </a:p>
        </p:txBody>
      </p:sp>
      <p:sp>
        <p:nvSpPr>
          <p:cNvPr id="18" name="TextBox 17">
            <a:extLst>
              <a:ext uri="{FF2B5EF4-FFF2-40B4-BE49-F238E27FC236}">
                <a16:creationId xmlns:a16="http://schemas.microsoft.com/office/drawing/2014/main" id="{EC7E4525-B548-4575-ABB1-1E07921E9C33}"/>
              </a:ext>
            </a:extLst>
          </p:cNvPr>
          <p:cNvSpPr txBox="1"/>
          <p:nvPr/>
        </p:nvSpPr>
        <p:spPr>
          <a:xfrm>
            <a:off x="254298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edia</a:t>
            </a:r>
            <a:br>
              <a:rPr lang="en-GB" sz="700" dirty="0">
                <a:solidFill>
                  <a:schemeClr val="tx2"/>
                </a:solidFill>
              </a:rPr>
            </a:br>
            <a:r>
              <a:rPr lang="en-GB" sz="700" dirty="0">
                <a:solidFill>
                  <a:schemeClr val="tx2"/>
                </a:solidFill>
              </a:rPr>
              <a:t>relations</a:t>
            </a:r>
          </a:p>
        </p:txBody>
      </p:sp>
      <p:sp>
        <p:nvSpPr>
          <p:cNvPr id="19" name="TextBox 18">
            <a:extLst>
              <a:ext uri="{FF2B5EF4-FFF2-40B4-BE49-F238E27FC236}">
                <a16:creationId xmlns:a16="http://schemas.microsoft.com/office/drawing/2014/main" id="{A5C87C09-9075-4983-A9F3-F5E6AF5072EC}"/>
              </a:ext>
            </a:extLst>
          </p:cNvPr>
          <p:cNvSpPr txBox="1"/>
          <p:nvPr/>
        </p:nvSpPr>
        <p:spPr>
          <a:xfrm>
            <a:off x="1497553"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arketing</a:t>
            </a:r>
            <a:br>
              <a:rPr lang="en-GB" sz="700" dirty="0">
                <a:solidFill>
                  <a:schemeClr val="tx2"/>
                </a:solidFill>
              </a:rPr>
            </a:br>
            <a:r>
              <a:rPr lang="en-GB" sz="700" dirty="0">
                <a:solidFill>
                  <a:schemeClr val="tx2"/>
                </a:solidFill>
              </a:rPr>
              <a:t>organization</a:t>
            </a:r>
          </a:p>
        </p:txBody>
      </p:sp>
      <p:sp>
        <p:nvSpPr>
          <p:cNvPr id="36" name="TextBox 35">
            <a:extLst>
              <a:ext uri="{FF2B5EF4-FFF2-40B4-BE49-F238E27FC236}">
                <a16:creationId xmlns:a16="http://schemas.microsoft.com/office/drawing/2014/main" id="{325433E5-9D7F-4D2A-BC3C-862EDEA74783}"/>
              </a:ext>
            </a:extLst>
          </p:cNvPr>
          <p:cNvSpPr txBox="1"/>
          <p:nvPr/>
        </p:nvSpPr>
        <p:spPr>
          <a:xfrm>
            <a:off x="452119"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arget</a:t>
            </a:r>
            <a:br>
              <a:rPr lang="en-GB" sz="700" dirty="0">
                <a:solidFill>
                  <a:schemeClr val="tx2"/>
                </a:solidFill>
              </a:rPr>
            </a:br>
            <a:r>
              <a:rPr lang="en-GB" sz="700" dirty="0">
                <a:solidFill>
                  <a:schemeClr val="tx2"/>
                </a:solidFill>
              </a:rPr>
              <a:t>audience</a:t>
            </a:r>
          </a:p>
        </p:txBody>
      </p:sp>
      <p:grpSp>
        <p:nvGrpSpPr>
          <p:cNvPr id="4" name="Group 3">
            <a:extLst>
              <a:ext uri="{FF2B5EF4-FFF2-40B4-BE49-F238E27FC236}">
                <a16:creationId xmlns:a16="http://schemas.microsoft.com/office/drawing/2014/main" id="{93AAF651-82A7-9E8E-319D-D71F09BEAE2F}"/>
              </a:ext>
            </a:extLst>
          </p:cNvPr>
          <p:cNvGrpSpPr/>
          <p:nvPr/>
        </p:nvGrpSpPr>
        <p:grpSpPr>
          <a:xfrm>
            <a:off x="560970" y="1585984"/>
            <a:ext cx="466160" cy="432000"/>
            <a:chOff x="560970" y="1585984"/>
            <a:chExt cx="466160" cy="432000"/>
          </a:xfrm>
        </p:grpSpPr>
        <p:grpSp>
          <p:nvGrpSpPr>
            <p:cNvPr id="52" name="Graphic 4">
              <a:extLst>
                <a:ext uri="{FF2B5EF4-FFF2-40B4-BE49-F238E27FC236}">
                  <a16:creationId xmlns:a16="http://schemas.microsoft.com/office/drawing/2014/main" id="{F21BC70F-D7F7-489E-9588-95596DC3FBB3}"/>
                </a:ext>
              </a:extLst>
            </p:cNvPr>
            <p:cNvGrpSpPr/>
            <p:nvPr/>
          </p:nvGrpSpPr>
          <p:grpSpPr>
            <a:xfrm>
              <a:off x="574560" y="1808512"/>
              <a:ext cx="431509" cy="209472"/>
              <a:chOff x="890222" y="1855095"/>
              <a:chExt cx="394691" cy="191599"/>
            </a:xfrm>
            <a:solidFill>
              <a:schemeClr val="tx2"/>
            </a:solidFill>
          </p:grpSpPr>
          <p:sp>
            <p:nvSpPr>
              <p:cNvPr id="61" name="Freihandform: Form 234">
                <a:extLst>
                  <a:ext uri="{FF2B5EF4-FFF2-40B4-BE49-F238E27FC236}">
                    <a16:creationId xmlns:a16="http://schemas.microsoft.com/office/drawing/2014/main" id="{A537D0BC-3A6D-4503-9D56-5BF13895BB3E}"/>
                  </a:ext>
                </a:extLst>
              </p:cNvPr>
              <p:cNvSpPr/>
              <p:nvPr/>
            </p:nvSpPr>
            <p:spPr>
              <a:xfrm>
                <a:off x="1097506" y="1971925"/>
                <a:ext cx="159952" cy="74769"/>
              </a:xfrm>
              <a:custGeom>
                <a:avLst/>
                <a:gdLst>
                  <a:gd name="connsiteX0" fmla="*/ 25957 w 159952"/>
                  <a:gd name="connsiteY0" fmla="*/ 74770 h 74769"/>
                  <a:gd name="connsiteX1" fmla="*/ 7658 w 159952"/>
                  <a:gd name="connsiteY1" fmla="*/ 67143 h 74769"/>
                  <a:gd name="connsiteX2" fmla="*/ 0 w 159952"/>
                  <a:gd name="connsiteY2" fmla="*/ 48633 h 74769"/>
                  <a:gd name="connsiteX3" fmla="*/ 7696 w 159952"/>
                  <a:gd name="connsiteY3" fmla="*/ 30131 h 74769"/>
                  <a:gd name="connsiteX4" fmla="*/ 16553 w 159952"/>
                  <a:gd name="connsiteY4" fmla="*/ 21569 h 74769"/>
                  <a:gd name="connsiteX5" fmla="*/ 25979 w 159952"/>
                  <a:gd name="connsiteY5" fmla="*/ 21733 h 74769"/>
                  <a:gd name="connsiteX6" fmla="*/ 25815 w 159952"/>
                  <a:gd name="connsiteY6" fmla="*/ 31159 h 74769"/>
                  <a:gd name="connsiteX7" fmla="*/ 17031 w 159952"/>
                  <a:gd name="connsiteY7" fmla="*/ 39648 h 74769"/>
                  <a:gd name="connsiteX8" fmla="*/ 13329 w 159952"/>
                  <a:gd name="connsiteY8" fmla="*/ 48646 h 74769"/>
                  <a:gd name="connsiteX9" fmla="*/ 17081 w 159952"/>
                  <a:gd name="connsiteY9" fmla="*/ 57717 h 74769"/>
                  <a:gd name="connsiteX10" fmla="*/ 26271 w 159952"/>
                  <a:gd name="connsiteY10" fmla="*/ 61434 h 74769"/>
                  <a:gd name="connsiteX11" fmla="*/ 34408 w 159952"/>
                  <a:gd name="connsiteY11" fmla="*/ 57710 h 74769"/>
                  <a:gd name="connsiteX12" fmla="*/ 86567 w 159952"/>
                  <a:gd name="connsiteY12" fmla="*/ 2107 h 74769"/>
                  <a:gd name="connsiteX13" fmla="*/ 91430 w 159952"/>
                  <a:gd name="connsiteY13" fmla="*/ 0 h 74769"/>
                  <a:gd name="connsiteX14" fmla="*/ 91430 w 159952"/>
                  <a:gd name="connsiteY14" fmla="*/ 0 h 74769"/>
                  <a:gd name="connsiteX15" fmla="*/ 153288 w 159952"/>
                  <a:gd name="connsiteY15" fmla="*/ 9 h 74769"/>
                  <a:gd name="connsiteX16" fmla="*/ 159953 w 159952"/>
                  <a:gd name="connsiteY16" fmla="*/ 6674 h 74769"/>
                  <a:gd name="connsiteX17" fmla="*/ 153288 w 159952"/>
                  <a:gd name="connsiteY17" fmla="*/ 13339 h 74769"/>
                  <a:gd name="connsiteX18" fmla="*/ 153288 w 159952"/>
                  <a:gd name="connsiteY18" fmla="*/ 13339 h 74769"/>
                  <a:gd name="connsiteX19" fmla="*/ 94317 w 159952"/>
                  <a:gd name="connsiteY19" fmla="*/ 13329 h 74769"/>
                  <a:gd name="connsiteX20" fmla="*/ 44237 w 159952"/>
                  <a:gd name="connsiteY20" fmla="*/ 66721 h 74769"/>
                  <a:gd name="connsiteX21" fmla="*/ 26639 w 159952"/>
                  <a:gd name="connsiteY21" fmla="*/ 74760 h 74769"/>
                  <a:gd name="connsiteX22" fmla="*/ 25957 w 159952"/>
                  <a:gd name="connsiteY22" fmla="*/ 74770 h 7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9952" h="74769">
                    <a:moveTo>
                      <a:pt x="25957" y="74770"/>
                    </a:moveTo>
                    <a:cubicBezTo>
                      <a:pt x="19160" y="74770"/>
                      <a:pt x="12524" y="72011"/>
                      <a:pt x="7658" y="67143"/>
                    </a:cubicBezTo>
                    <a:cubicBezTo>
                      <a:pt x="2714" y="62202"/>
                      <a:pt x="-6" y="55628"/>
                      <a:pt x="0" y="48633"/>
                    </a:cubicBezTo>
                    <a:cubicBezTo>
                      <a:pt x="6" y="41636"/>
                      <a:pt x="2739" y="35065"/>
                      <a:pt x="7696" y="30131"/>
                    </a:cubicBezTo>
                    <a:lnTo>
                      <a:pt x="16553" y="21569"/>
                    </a:lnTo>
                    <a:cubicBezTo>
                      <a:pt x="19189" y="19012"/>
                      <a:pt x="23413" y="19079"/>
                      <a:pt x="25979" y="21733"/>
                    </a:cubicBezTo>
                    <a:cubicBezTo>
                      <a:pt x="28536" y="24378"/>
                      <a:pt x="28467" y="28599"/>
                      <a:pt x="25815" y="31159"/>
                    </a:cubicBezTo>
                    <a:lnTo>
                      <a:pt x="17031" y="39648"/>
                    </a:lnTo>
                    <a:cubicBezTo>
                      <a:pt x="14675" y="41997"/>
                      <a:pt x="13332" y="45218"/>
                      <a:pt x="13329" y="48646"/>
                    </a:cubicBezTo>
                    <a:cubicBezTo>
                      <a:pt x="13326" y="52074"/>
                      <a:pt x="14656" y="55292"/>
                      <a:pt x="17081" y="57717"/>
                    </a:cubicBezTo>
                    <a:cubicBezTo>
                      <a:pt x="19535" y="60170"/>
                      <a:pt x="22978" y="61525"/>
                      <a:pt x="26271" y="61434"/>
                    </a:cubicBezTo>
                    <a:cubicBezTo>
                      <a:pt x="29445" y="61346"/>
                      <a:pt x="32335" y="60025"/>
                      <a:pt x="34408" y="57710"/>
                    </a:cubicBezTo>
                    <a:lnTo>
                      <a:pt x="86567" y="2107"/>
                    </a:lnTo>
                    <a:cubicBezTo>
                      <a:pt x="87832" y="764"/>
                      <a:pt x="89587" y="0"/>
                      <a:pt x="91430" y="0"/>
                    </a:cubicBezTo>
                    <a:lnTo>
                      <a:pt x="91430" y="0"/>
                    </a:lnTo>
                    <a:lnTo>
                      <a:pt x="153288" y="9"/>
                    </a:lnTo>
                    <a:cubicBezTo>
                      <a:pt x="156968" y="9"/>
                      <a:pt x="159953" y="2994"/>
                      <a:pt x="159953" y="6674"/>
                    </a:cubicBezTo>
                    <a:cubicBezTo>
                      <a:pt x="159953" y="10354"/>
                      <a:pt x="156968" y="13339"/>
                      <a:pt x="153288" y="13339"/>
                    </a:cubicBezTo>
                    <a:lnTo>
                      <a:pt x="153288" y="13339"/>
                    </a:lnTo>
                    <a:lnTo>
                      <a:pt x="94317" y="13329"/>
                    </a:lnTo>
                    <a:lnTo>
                      <a:pt x="44237" y="66721"/>
                    </a:lnTo>
                    <a:cubicBezTo>
                      <a:pt x="39792" y="71681"/>
                      <a:pt x="33508" y="74575"/>
                      <a:pt x="26639" y="74760"/>
                    </a:cubicBezTo>
                    <a:cubicBezTo>
                      <a:pt x="26413" y="74767"/>
                      <a:pt x="26183" y="74770"/>
                      <a:pt x="25957" y="74770"/>
                    </a:cubicBezTo>
                    <a:close/>
                  </a:path>
                </a:pathLst>
              </a:custGeom>
              <a:solidFill>
                <a:schemeClr val="accent1"/>
              </a:solidFill>
              <a:ln w="314" cap="flat">
                <a:noFill/>
                <a:prstDash val="solid"/>
                <a:miter/>
              </a:ln>
            </p:spPr>
            <p:txBody>
              <a:bodyPr rtlCol="0" anchor="ctr"/>
              <a:lstStyle/>
              <a:p>
                <a:endParaRPr lang="en-GB" dirty="0"/>
              </a:p>
            </p:txBody>
          </p:sp>
          <p:sp>
            <p:nvSpPr>
              <p:cNvPr id="62" name="Freihandform: Form 235">
                <a:extLst>
                  <a:ext uri="{FF2B5EF4-FFF2-40B4-BE49-F238E27FC236}">
                    <a16:creationId xmlns:a16="http://schemas.microsoft.com/office/drawing/2014/main" id="{E03BA04A-A813-43CE-B620-57FD99DF7498}"/>
                  </a:ext>
                </a:extLst>
              </p:cNvPr>
              <p:cNvSpPr/>
              <p:nvPr/>
            </p:nvSpPr>
            <p:spPr>
              <a:xfrm>
                <a:off x="890222" y="1855095"/>
                <a:ext cx="394691" cy="13357"/>
              </a:xfrm>
              <a:custGeom>
                <a:avLst/>
                <a:gdLst>
                  <a:gd name="connsiteX0" fmla="*/ 6665 w 394691"/>
                  <a:gd name="connsiteY0" fmla="*/ 13357 h 13357"/>
                  <a:gd name="connsiteX1" fmla="*/ 0 w 394691"/>
                  <a:gd name="connsiteY1" fmla="*/ 6693 h 13357"/>
                  <a:gd name="connsiteX2" fmla="*/ 6665 w 394691"/>
                  <a:gd name="connsiteY2" fmla="*/ 28 h 13357"/>
                  <a:gd name="connsiteX3" fmla="*/ 388027 w 394691"/>
                  <a:gd name="connsiteY3" fmla="*/ 0 h 13357"/>
                  <a:gd name="connsiteX4" fmla="*/ 394691 w 394691"/>
                  <a:gd name="connsiteY4" fmla="*/ 6665 h 13357"/>
                  <a:gd name="connsiteX5" fmla="*/ 388027 w 394691"/>
                  <a:gd name="connsiteY5" fmla="*/ 13329 h 13357"/>
                  <a:gd name="connsiteX6" fmla="*/ 6665 w 394691"/>
                  <a:gd name="connsiteY6" fmla="*/ 13357 h 13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691" h="13357">
                    <a:moveTo>
                      <a:pt x="6665" y="13357"/>
                    </a:moveTo>
                    <a:cubicBezTo>
                      <a:pt x="2985" y="13357"/>
                      <a:pt x="0" y="10373"/>
                      <a:pt x="0" y="6693"/>
                    </a:cubicBezTo>
                    <a:cubicBezTo>
                      <a:pt x="0" y="3013"/>
                      <a:pt x="2985" y="28"/>
                      <a:pt x="6665" y="28"/>
                    </a:cubicBezTo>
                    <a:lnTo>
                      <a:pt x="388027" y="0"/>
                    </a:lnTo>
                    <a:cubicBezTo>
                      <a:pt x="391707" y="0"/>
                      <a:pt x="394691" y="2985"/>
                      <a:pt x="394691" y="6665"/>
                    </a:cubicBezTo>
                    <a:cubicBezTo>
                      <a:pt x="394691" y="10344"/>
                      <a:pt x="391707" y="13329"/>
                      <a:pt x="388027" y="13329"/>
                    </a:cubicBezTo>
                    <a:lnTo>
                      <a:pt x="6665" y="13357"/>
                    </a:lnTo>
                    <a:close/>
                  </a:path>
                </a:pathLst>
              </a:custGeom>
              <a:solidFill>
                <a:schemeClr val="accent1"/>
              </a:solidFill>
              <a:ln w="314" cap="flat">
                <a:noFill/>
                <a:prstDash val="solid"/>
                <a:miter/>
              </a:ln>
            </p:spPr>
            <p:txBody>
              <a:bodyPr rtlCol="0" anchor="ctr"/>
              <a:lstStyle/>
              <a:p>
                <a:endParaRPr lang="en-GB" dirty="0"/>
              </a:p>
            </p:txBody>
          </p:sp>
          <p:sp>
            <p:nvSpPr>
              <p:cNvPr id="63" name="Freihandform: Form 236">
                <a:extLst>
                  <a:ext uri="{FF2B5EF4-FFF2-40B4-BE49-F238E27FC236}">
                    <a16:creationId xmlns:a16="http://schemas.microsoft.com/office/drawing/2014/main" id="{3EFAADC3-3ECF-430D-959E-C3124998B11C}"/>
                  </a:ext>
                </a:extLst>
              </p:cNvPr>
              <p:cNvSpPr/>
              <p:nvPr/>
            </p:nvSpPr>
            <p:spPr>
              <a:xfrm>
                <a:off x="969177" y="1894934"/>
                <a:ext cx="101082" cy="116346"/>
              </a:xfrm>
              <a:custGeom>
                <a:avLst/>
                <a:gdLst>
                  <a:gd name="connsiteX0" fmla="*/ 26143 w 101082"/>
                  <a:gd name="connsiteY0" fmla="*/ 116346 h 116346"/>
                  <a:gd name="connsiteX1" fmla="*/ 7655 w 101082"/>
                  <a:gd name="connsiteY1" fmla="*/ 108685 h 116346"/>
                  <a:gd name="connsiteX2" fmla="*/ 0 w 101082"/>
                  <a:gd name="connsiteY2" fmla="*/ 90175 h 116346"/>
                  <a:gd name="connsiteX3" fmla="*/ 7693 w 101082"/>
                  <a:gd name="connsiteY3" fmla="*/ 71673 h 116346"/>
                  <a:gd name="connsiteX4" fmla="*/ 77720 w 101082"/>
                  <a:gd name="connsiteY4" fmla="*/ 1941 h 116346"/>
                  <a:gd name="connsiteX5" fmla="*/ 87146 w 101082"/>
                  <a:gd name="connsiteY5" fmla="*/ 1960 h 116346"/>
                  <a:gd name="connsiteX6" fmla="*/ 87127 w 101082"/>
                  <a:gd name="connsiteY6" fmla="*/ 11386 h 116346"/>
                  <a:gd name="connsiteX7" fmla="*/ 17100 w 101082"/>
                  <a:gd name="connsiteY7" fmla="*/ 81114 h 116346"/>
                  <a:gd name="connsiteX8" fmla="*/ 13332 w 101082"/>
                  <a:gd name="connsiteY8" fmla="*/ 90185 h 116346"/>
                  <a:gd name="connsiteX9" fmla="*/ 17081 w 101082"/>
                  <a:gd name="connsiteY9" fmla="*/ 99255 h 116346"/>
                  <a:gd name="connsiteX10" fmla="*/ 35204 w 101082"/>
                  <a:gd name="connsiteY10" fmla="*/ 99255 h 116346"/>
                  <a:gd name="connsiteX11" fmla="*/ 89703 w 101082"/>
                  <a:gd name="connsiteY11" fmla="*/ 44763 h 116346"/>
                  <a:gd name="connsiteX12" fmla="*/ 99129 w 101082"/>
                  <a:gd name="connsiteY12" fmla="*/ 44763 h 116346"/>
                  <a:gd name="connsiteX13" fmla="*/ 99129 w 101082"/>
                  <a:gd name="connsiteY13" fmla="*/ 54189 h 116346"/>
                  <a:gd name="connsiteX14" fmla="*/ 44633 w 101082"/>
                  <a:gd name="connsiteY14" fmla="*/ 108685 h 116346"/>
                  <a:gd name="connsiteX15" fmla="*/ 26143 w 101082"/>
                  <a:gd name="connsiteY15" fmla="*/ 116346 h 11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082" h="116346">
                    <a:moveTo>
                      <a:pt x="26143" y="116346"/>
                    </a:moveTo>
                    <a:cubicBezTo>
                      <a:pt x="19160" y="116346"/>
                      <a:pt x="12593" y="113626"/>
                      <a:pt x="7655" y="108685"/>
                    </a:cubicBezTo>
                    <a:cubicBezTo>
                      <a:pt x="2711" y="103740"/>
                      <a:pt x="-6" y="97167"/>
                      <a:pt x="0" y="90175"/>
                    </a:cubicBezTo>
                    <a:cubicBezTo>
                      <a:pt x="6" y="83177"/>
                      <a:pt x="2736" y="76610"/>
                      <a:pt x="7693" y="71673"/>
                    </a:cubicBezTo>
                    <a:lnTo>
                      <a:pt x="77720" y="1941"/>
                    </a:lnTo>
                    <a:cubicBezTo>
                      <a:pt x="80333" y="-653"/>
                      <a:pt x="84551" y="-647"/>
                      <a:pt x="87146" y="1960"/>
                    </a:cubicBezTo>
                    <a:cubicBezTo>
                      <a:pt x="89744" y="4568"/>
                      <a:pt x="89737" y="8788"/>
                      <a:pt x="87127" y="11386"/>
                    </a:cubicBezTo>
                    <a:lnTo>
                      <a:pt x="17100" y="81114"/>
                    </a:lnTo>
                    <a:cubicBezTo>
                      <a:pt x="14672" y="83533"/>
                      <a:pt x="13335" y="86754"/>
                      <a:pt x="13332" y="90185"/>
                    </a:cubicBezTo>
                    <a:cubicBezTo>
                      <a:pt x="13329" y="93613"/>
                      <a:pt x="14660" y="96834"/>
                      <a:pt x="17081" y="99255"/>
                    </a:cubicBezTo>
                    <a:cubicBezTo>
                      <a:pt x="21925" y="104102"/>
                      <a:pt x="30360" y="104096"/>
                      <a:pt x="35204" y="99255"/>
                    </a:cubicBezTo>
                    <a:lnTo>
                      <a:pt x="89703" y="44763"/>
                    </a:lnTo>
                    <a:cubicBezTo>
                      <a:pt x="92307" y="42158"/>
                      <a:pt x="96525" y="42158"/>
                      <a:pt x="99129" y="44763"/>
                    </a:cubicBezTo>
                    <a:cubicBezTo>
                      <a:pt x="101733" y="47367"/>
                      <a:pt x="101733" y="51584"/>
                      <a:pt x="99129" y="54189"/>
                    </a:cubicBezTo>
                    <a:lnTo>
                      <a:pt x="44633" y="108685"/>
                    </a:lnTo>
                    <a:cubicBezTo>
                      <a:pt x="39692" y="113626"/>
                      <a:pt x="33128" y="116346"/>
                      <a:pt x="26143" y="116346"/>
                    </a:cubicBezTo>
                    <a:close/>
                  </a:path>
                </a:pathLst>
              </a:custGeom>
              <a:solidFill>
                <a:schemeClr val="accent1"/>
              </a:solidFill>
              <a:ln w="314" cap="flat">
                <a:noFill/>
                <a:prstDash val="solid"/>
                <a:miter/>
              </a:ln>
            </p:spPr>
            <p:txBody>
              <a:bodyPr rtlCol="0" anchor="ctr"/>
              <a:lstStyle/>
              <a:p>
                <a:endParaRPr lang="en-GB" dirty="0"/>
              </a:p>
            </p:txBody>
          </p:sp>
          <p:sp>
            <p:nvSpPr>
              <p:cNvPr id="64" name="Freihandform: Form 237">
                <a:extLst>
                  <a:ext uri="{FF2B5EF4-FFF2-40B4-BE49-F238E27FC236}">
                    <a16:creationId xmlns:a16="http://schemas.microsoft.com/office/drawing/2014/main" id="{17DE3271-E7D9-4F04-B469-4670142CC24E}"/>
                  </a:ext>
                </a:extLst>
              </p:cNvPr>
              <p:cNvSpPr/>
              <p:nvPr/>
            </p:nvSpPr>
            <p:spPr>
              <a:xfrm>
                <a:off x="1018424" y="1936115"/>
                <a:ext cx="79896" cy="81842"/>
              </a:xfrm>
              <a:custGeom>
                <a:avLst/>
                <a:gdLst>
                  <a:gd name="connsiteX0" fmla="*/ 26086 w 79896"/>
                  <a:gd name="connsiteY0" fmla="*/ 81842 h 81842"/>
                  <a:gd name="connsiteX1" fmla="*/ 7658 w 79896"/>
                  <a:gd name="connsiteY1" fmla="*/ 73162 h 81842"/>
                  <a:gd name="connsiteX2" fmla="*/ 0 w 79896"/>
                  <a:gd name="connsiteY2" fmla="*/ 54646 h 81842"/>
                  <a:gd name="connsiteX3" fmla="*/ 7696 w 79896"/>
                  <a:gd name="connsiteY3" fmla="*/ 36150 h 81842"/>
                  <a:gd name="connsiteX4" fmla="*/ 42095 w 79896"/>
                  <a:gd name="connsiteY4" fmla="*/ 1943 h 81842"/>
                  <a:gd name="connsiteX5" fmla="*/ 51521 w 79896"/>
                  <a:gd name="connsiteY5" fmla="*/ 1968 h 81842"/>
                  <a:gd name="connsiteX6" fmla="*/ 51496 w 79896"/>
                  <a:gd name="connsiteY6" fmla="*/ 11394 h 81842"/>
                  <a:gd name="connsiteX7" fmla="*/ 17100 w 79896"/>
                  <a:gd name="connsiteY7" fmla="*/ 45598 h 81842"/>
                  <a:gd name="connsiteX8" fmla="*/ 13332 w 79896"/>
                  <a:gd name="connsiteY8" fmla="*/ 54662 h 81842"/>
                  <a:gd name="connsiteX9" fmla="*/ 17084 w 79896"/>
                  <a:gd name="connsiteY9" fmla="*/ 63736 h 81842"/>
                  <a:gd name="connsiteX10" fmla="*/ 26278 w 79896"/>
                  <a:gd name="connsiteY10" fmla="*/ 68507 h 81842"/>
                  <a:gd name="connsiteX11" fmla="*/ 34414 w 79896"/>
                  <a:gd name="connsiteY11" fmla="*/ 63729 h 81842"/>
                  <a:gd name="connsiteX12" fmla="*/ 68517 w 79896"/>
                  <a:gd name="connsiteY12" fmla="*/ 29614 h 81842"/>
                  <a:gd name="connsiteX13" fmla="*/ 77943 w 79896"/>
                  <a:gd name="connsiteY13" fmla="*/ 29614 h 81842"/>
                  <a:gd name="connsiteX14" fmla="*/ 77943 w 79896"/>
                  <a:gd name="connsiteY14" fmla="*/ 39040 h 81842"/>
                  <a:gd name="connsiteX15" fmla="*/ 44092 w 79896"/>
                  <a:gd name="connsiteY15" fmla="*/ 72891 h 81842"/>
                  <a:gd name="connsiteX16" fmla="*/ 26639 w 79896"/>
                  <a:gd name="connsiteY16" fmla="*/ 81836 h 81842"/>
                  <a:gd name="connsiteX17" fmla="*/ 26086 w 79896"/>
                  <a:gd name="connsiteY17" fmla="*/ 81842 h 8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896" h="81842">
                    <a:moveTo>
                      <a:pt x="26086" y="81842"/>
                    </a:moveTo>
                    <a:cubicBezTo>
                      <a:pt x="19704" y="81842"/>
                      <a:pt x="13345" y="78848"/>
                      <a:pt x="7658" y="73162"/>
                    </a:cubicBezTo>
                    <a:cubicBezTo>
                      <a:pt x="2711" y="68218"/>
                      <a:pt x="-6" y="61641"/>
                      <a:pt x="0" y="54646"/>
                    </a:cubicBezTo>
                    <a:cubicBezTo>
                      <a:pt x="6" y="47655"/>
                      <a:pt x="2739" y="41084"/>
                      <a:pt x="7696" y="36150"/>
                    </a:cubicBezTo>
                    <a:lnTo>
                      <a:pt x="42095" y="1943"/>
                    </a:lnTo>
                    <a:cubicBezTo>
                      <a:pt x="44699" y="-655"/>
                      <a:pt x="48923" y="-649"/>
                      <a:pt x="51521" y="1968"/>
                    </a:cubicBezTo>
                    <a:cubicBezTo>
                      <a:pt x="54119" y="4579"/>
                      <a:pt x="54106" y="8799"/>
                      <a:pt x="51496" y="11394"/>
                    </a:cubicBezTo>
                    <a:lnTo>
                      <a:pt x="17100" y="45598"/>
                    </a:lnTo>
                    <a:cubicBezTo>
                      <a:pt x="14675" y="48013"/>
                      <a:pt x="13335" y="51234"/>
                      <a:pt x="13332" y="54662"/>
                    </a:cubicBezTo>
                    <a:cubicBezTo>
                      <a:pt x="13329" y="58090"/>
                      <a:pt x="14660" y="61311"/>
                      <a:pt x="17084" y="63736"/>
                    </a:cubicBezTo>
                    <a:cubicBezTo>
                      <a:pt x="19314" y="65966"/>
                      <a:pt x="22837" y="68762"/>
                      <a:pt x="26278" y="68507"/>
                    </a:cubicBezTo>
                    <a:cubicBezTo>
                      <a:pt x="28898" y="68435"/>
                      <a:pt x="31634" y="66827"/>
                      <a:pt x="34414" y="63729"/>
                    </a:cubicBezTo>
                    <a:lnTo>
                      <a:pt x="68517" y="29614"/>
                    </a:lnTo>
                    <a:cubicBezTo>
                      <a:pt x="71121" y="27010"/>
                      <a:pt x="75339" y="27010"/>
                      <a:pt x="77943" y="29614"/>
                    </a:cubicBezTo>
                    <a:cubicBezTo>
                      <a:pt x="80547" y="32218"/>
                      <a:pt x="80547" y="36436"/>
                      <a:pt x="77943" y="39040"/>
                    </a:cubicBezTo>
                    <a:lnTo>
                      <a:pt x="44092" y="72891"/>
                    </a:lnTo>
                    <a:cubicBezTo>
                      <a:pt x="39019" y="78562"/>
                      <a:pt x="33065" y="81660"/>
                      <a:pt x="26639" y="81836"/>
                    </a:cubicBezTo>
                    <a:cubicBezTo>
                      <a:pt x="26457" y="81839"/>
                      <a:pt x="26271" y="81842"/>
                      <a:pt x="26086" y="81842"/>
                    </a:cubicBezTo>
                    <a:close/>
                  </a:path>
                </a:pathLst>
              </a:custGeom>
              <a:solidFill>
                <a:schemeClr val="accent1"/>
              </a:solidFill>
              <a:ln w="314" cap="flat">
                <a:noFill/>
                <a:prstDash val="solid"/>
                <a:miter/>
              </a:ln>
            </p:spPr>
            <p:txBody>
              <a:bodyPr rtlCol="0" anchor="ctr"/>
              <a:lstStyle/>
              <a:p>
                <a:endParaRPr lang="en-GB" dirty="0"/>
              </a:p>
            </p:txBody>
          </p:sp>
          <p:sp>
            <p:nvSpPr>
              <p:cNvPr id="65" name="Freihandform: Form 238">
                <a:extLst>
                  <a:ext uri="{FF2B5EF4-FFF2-40B4-BE49-F238E27FC236}">
                    <a16:creationId xmlns:a16="http://schemas.microsoft.com/office/drawing/2014/main" id="{5D2E427B-BBBD-467A-B3F6-2EF38AA71C91}"/>
                  </a:ext>
                </a:extLst>
              </p:cNvPr>
              <p:cNvSpPr/>
              <p:nvPr/>
            </p:nvSpPr>
            <p:spPr>
              <a:xfrm>
                <a:off x="1056339" y="1963866"/>
                <a:ext cx="68655" cy="69286"/>
              </a:xfrm>
              <a:custGeom>
                <a:avLst/>
                <a:gdLst>
                  <a:gd name="connsiteX0" fmla="*/ 25957 w 68655"/>
                  <a:gd name="connsiteY0" fmla="*/ 69286 h 69286"/>
                  <a:gd name="connsiteX1" fmla="*/ 7658 w 68655"/>
                  <a:gd name="connsiteY1" fmla="*/ 61662 h 69286"/>
                  <a:gd name="connsiteX2" fmla="*/ 0 w 68655"/>
                  <a:gd name="connsiteY2" fmla="*/ 43147 h 69286"/>
                  <a:gd name="connsiteX3" fmla="*/ 7696 w 68655"/>
                  <a:gd name="connsiteY3" fmla="*/ 24650 h 69286"/>
                  <a:gd name="connsiteX4" fmla="*/ 30716 w 68655"/>
                  <a:gd name="connsiteY4" fmla="*/ 1923 h 69286"/>
                  <a:gd name="connsiteX5" fmla="*/ 40142 w 68655"/>
                  <a:gd name="connsiteY5" fmla="*/ 1983 h 69286"/>
                  <a:gd name="connsiteX6" fmla="*/ 40082 w 68655"/>
                  <a:gd name="connsiteY6" fmla="*/ 11409 h 69286"/>
                  <a:gd name="connsiteX7" fmla="*/ 17081 w 68655"/>
                  <a:gd name="connsiteY7" fmla="*/ 34117 h 69286"/>
                  <a:gd name="connsiteX8" fmla="*/ 13329 w 68655"/>
                  <a:gd name="connsiteY8" fmla="*/ 43166 h 69286"/>
                  <a:gd name="connsiteX9" fmla="*/ 17081 w 68655"/>
                  <a:gd name="connsiteY9" fmla="*/ 52240 h 69286"/>
                  <a:gd name="connsiteX10" fmla="*/ 26271 w 68655"/>
                  <a:gd name="connsiteY10" fmla="*/ 55954 h 69286"/>
                  <a:gd name="connsiteX11" fmla="*/ 34411 w 68655"/>
                  <a:gd name="connsiteY11" fmla="*/ 52230 h 69286"/>
                  <a:gd name="connsiteX12" fmla="*/ 57276 w 68655"/>
                  <a:gd name="connsiteY12" fmla="*/ 29352 h 69286"/>
                  <a:gd name="connsiteX13" fmla="*/ 66702 w 68655"/>
                  <a:gd name="connsiteY13" fmla="*/ 29352 h 69286"/>
                  <a:gd name="connsiteX14" fmla="*/ 66702 w 68655"/>
                  <a:gd name="connsiteY14" fmla="*/ 38778 h 69286"/>
                  <a:gd name="connsiteX15" fmla="*/ 44086 w 68655"/>
                  <a:gd name="connsiteY15" fmla="*/ 61395 h 69286"/>
                  <a:gd name="connsiteX16" fmla="*/ 26630 w 68655"/>
                  <a:gd name="connsiteY16" fmla="*/ 69280 h 69286"/>
                  <a:gd name="connsiteX17" fmla="*/ 25957 w 68655"/>
                  <a:gd name="connsiteY17" fmla="*/ 69286 h 69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655" h="69286">
                    <a:moveTo>
                      <a:pt x="25957" y="69286"/>
                    </a:moveTo>
                    <a:cubicBezTo>
                      <a:pt x="19160" y="69289"/>
                      <a:pt x="12524" y="66534"/>
                      <a:pt x="7658" y="61662"/>
                    </a:cubicBezTo>
                    <a:cubicBezTo>
                      <a:pt x="2711" y="56718"/>
                      <a:pt x="-6" y="50142"/>
                      <a:pt x="0" y="43147"/>
                    </a:cubicBezTo>
                    <a:cubicBezTo>
                      <a:pt x="6" y="36155"/>
                      <a:pt x="2739" y="29585"/>
                      <a:pt x="7696" y="24650"/>
                    </a:cubicBezTo>
                    <a:lnTo>
                      <a:pt x="30716" y="1923"/>
                    </a:lnTo>
                    <a:cubicBezTo>
                      <a:pt x="33332" y="-662"/>
                      <a:pt x="37556" y="-640"/>
                      <a:pt x="40142" y="1983"/>
                    </a:cubicBezTo>
                    <a:cubicBezTo>
                      <a:pt x="42730" y="4603"/>
                      <a:pt x="42702" y="8824"/>
                      <a:pt x="40082" y="11409"/>
                    </a:cubicBezTo>
                    <a:lnTo>
                      <a:pt x="17081" y="34117"/>
                    </a:lnTo>
                    <a:cubicBezTo>
                      <a:pt x="14672" y="36517"/>
                      <a:pt x="13332" y="39738"/>
                      <a:pt x="13329" y="43166"/>
                    </a:cubicBezTo>
                    <a:cubicBezTo>
                      <a:pt x="13326" y="46594"/>
                      <a:pt x="14656" y="49815"/>
                      <a:pt x="17081" y="52240"/>
                    </a:cubicBezTo>
                    <a:cubicBezTo>
                      <a:pt x="19531" y="54686"/>
                      <a:pt x="22739" y="56067"/>
                      <a:pt x="26271" y="55954"/>
                    </a:cubicBezTo>
                    <a:cubicBezTo>
                      <a:pt x="29442" y="55869"/>
                      <a:pt x="32335" y="54548"/>
                      <a:pt x="34411" y="52230"/>
                    </a:cubicBezTo>
                    <a:lnTo>
                      <a:pt x="57276" y="29352"/>
                    </a:lnTo>
                    <a:cubicBezTo>
                      <a:pt x="59881" y="26748"/>
                      <a:pt x="64098" y="26748"/>
                      <a:pt x="66702" y="29352"/>
                    </a:cubicBezTo>
                    <a:cubicBezTo>
                      <a:pt x="69307" y="31956"/>
                      <a:pt x="69307" y="36174"/>
                      <a:pt x="66702" y="38778"/>
                    </a:cubicBezTo>
                    <a:lnTo>
                      <a:pt x="44086" y="61395"/>
                    </a:lnTo>
                    <a:cubicBezTo>
                      <a:pt x="39789" y="66201"/>
                      <a:pt x="33502" y="69091"/>
                      <a:pt x="26630" y="69280"/>
                    </a:cubicBezTo>
                    <a:cubicBezTo>
                      <a:pt x="26410" y="69286"/>
                      <a:pt x="26183" y="69286"/>
                      <a:pt x="25957" y="69286"/>
                    </a:cubicBezTo>
                    <a:close/>
                  </a:path>
                </a:pathLst>
              </a:custGeom>
              <a:solidFill>
                <a:schemeClr val="accent1"/>
              </a:solidFill>
              <a:ln w="314" cap="flat">
                <a:noFill/>
                <a:prstDash val="solid"/>
                <a:miter/>
              </a:ln>
            </p:spPr>
            <p:txBody>
              <a:bodyPr rtlCol="0" anchor="ctr"/>
              <a:lstStyle/>
              <a:p>
                <a:endParaRPr lang="en-GB" dirty="0"/>
              </a:p>
            </p:txBody>
          </p:sp>
          <p:sp>
            <p:nvSpPr>
              <p:cNvPr id="66" name="Freihandform: Form 239">
                <a:extLst>
                  <a:ext uri="{FF2B5EF4-FFF2-40B4-BE49-F238E27FC236}">
                    <a16:creationId xmlns:a16="http://schemas.microsoft.com/office/drawing/2014/main" id="{C73747E7-177B-462C-8825-77FB39BCDECF}"/>
                  </a:ext>
                </a:extLst>
              </p:cNvPr>
              <p:cNvSpPr/>
              <p:nvPr/>
            </p:nvSpPr>
            <p:spPr>
              <a:xfrm>
                <a:off x="1045781" y="1855095"/>
                <a:ext cx="108988" cy="94455"/>
              </a:xfrm>
              <a:custGeom>
                <a:avLst/>
                <a:gdLst>
                  <a:gd name="connsiteX0" fmla="*/ 82834 w 108988"/>
                  <a:gd name="connsiteY0" fmla="*/ 94455 h 94455"/>
                  <a:gd name="connsiteX1" fmla="*/ 64334 w 108988"/>
                  <a:gd name="connsiteY1" fmla="*/ 86803 h 94455"/>
                  <a:gd name="connsiteX2" fmla="*/ 29860 w 108988"/>
                  <a:gd name="connsiteY2" fmla="*/ 52329 h 94455"/>
                  <a:gd name="connsiteX3" fmla="*/ 6665 w 108988"/>
                  <a:gd name="connsiteY3" fmla="*/ 52329 h 94455"/>
                  <a:gd name="connsiteX4" fmla="*/ 0 w 108988"/>
                  <a:gd name="connsiteY4" fmla="*/ 45664 h 94455"/>
                  <a:gd name="connsiteX5" fmla="*/ 6665 w 108988"/>
                  <a:gd name="connsiteY5" fmla="*/ 39000 h 94455"/>
                  <a:gd name="connsiteX6" fmla="*/ 35380 w 108988"/>
                  <a:gd name="connsiteY6" fmla="*/ 39000 h 94455"/>
                  <a:gd name="connsiteX7" fmla="*/ 73760 w 108988"/>
                  <a:gd name="connsiteY7" fmla="*/ 77380 h 94455"/>
                  <a:gd name="connsiteX8" fmla="*/ 91911 w 108988"/>
                  <a:gd name="connsiteY8" fmla="*/ 77380 h 94455"/>
                  <a:gd name="connsiteX9" fmla="*/ 95669 w 108988"/>
                  <a:gd name="connsiteY9" fmla="*/ 68303 h 94455"/>
                  <a:gd name="connsiteX10" fmla="*/ 91911 w 108988"/>
                  <a:gd name="connsiteY10" fmla="*/ 59229 h 94455"/>
                  <a:gd name="connsiteX11" fmla="*/ 44060 w 108988"/>
                  <a:gd name="connsiteY11" fmla="*/ 11379 h 94455"/>
                  <a:gd name="connsiteX12" fmla="*/ 44060 w 108988"/>
                  <a:gd name="connsiteY12" fmla="*/ 1953 h 94455"/>
                  <a:gd name="connsiteX13" fmla="*/ 53486 w 108988"/>
                  <a:gd name="connsiteY13" fmla="*/ 1953 h 94455"/>
                  <a:gd name="connsiteX14" fmla="*/ 101337 w 108988"/>
                  <a:gd name="connsiteY14" fmla="*/ 49800 h 94455"/>
                  <a:gd name="connsiteX15" fmla="*/ 101337 w 108988"/>
                  <a:gd name="connsiteY15" fmla="*/ 86803 h 94455"/>
                  <a:gd name="connsiteX16" fmla="*/ 82834 w 108988"/>
                  <a:gd name="connsiteY16" fmla="*/ 94455 h 94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8988" h="94455">
                    <a:moveTo>
                      <a:pt x="82834" y="94455"/>
                    </a:moveTo>
                    <a:cubicBezTo>
                      <a:pt x="76135" y="94455"/>
                      <a:pt x="69435" y="91904"/>
                      <a:pt x="64334" y="86803"/>
                    </a:cubicBezTo>
                    <a:lnTo>
                      <a:pt x="29860" y="52329"/>
                    </a:lnTo>
                    <a:lnTo>
                      <a:pt x="6665" y="52329"/>
                    </a:lnTo>
                    <a:cubicBezTo>
                      <a:pt x="2985" y="52329"/>
                      <a:pt x="0" y="49344"/>
                      <a:pt x="0" y="45664"/>
                    </a:cubicBezTo>
                    <a:cubicBezTo>
                      <a:pt x="0" y="41985"/>
                      <a:pt x="2985" y="39000"/>
                      <a:pt x="6665" y="39000"/>
                    </a:cubicBezTo>
                    <a:lnTo>
                      <a:pt x="35380" y="39000"/>
                    </a:lnTo>
                    <a:lnTo>
                      <a:pt x="73760" y="77380"/>
                    </a:lnTo>
                    <a:cubicBezTo>
                      <a:pt x="78764" y="82384"/>
                      <a:pt x="86904" y="82390"/>
                      <a:pt x="91911" y="77380"/>
                    </a:cubicBezTo>
                    <a:cubicBezTo>
                      <a:pt x="94336" y="74955"/>
                      <a:pt x="95669" y="71735"/>
                      <a:pt x="95669" y="68303"/>
                    </a:cubicBezTo>
                    <a:cubicBezTo>
                      <a:pt x="95669" y="64875"/>
                      <a:pt x="94336" y="61654"/>
                      <a:pt x="91911" y="59229"/>
                    </a:cubicBezTo>
                    <a:lnTo>
                      <a:pt x="44060" y="11379"/>
                    </a:lnTo>
                    <a:cubicBezTo>
                      <a:pt x="41456" y="8775"/>
                      <a:pt x="41456" y="4557"/>
                      <a:pt x="44060" y="1953"/>
                    </a:cubicBezTo>
                    <a:cubicBezTo>
                      <a:pt x="46665" y="-651"/>
                      <a:pt x="50882" y="-651"/>
                      <a:pt x="53486" y="1953"/>
                    </a:cubicBezTo>
                    <a:lnTo>
                      <a:pt x="101337" y="49800"/>
                    </a:lnTo>
                    <a:cubicBezTo>
                      <a:pt x="111540" y="60000"/>
                      <a:pt x="111540" y="76603"/>
                      <a:pt x="101337" y="86803"/>
                    </a:cubicBezTo>
                    <a:cubicBezTo>
                      <a:pt x="96235" y="91904"/>
                      <a:pt x="89536" y="94455"/>
                      <a:pt x="82834" y="94455"/>
                    </a:cubicBezTo>
                    <a:close/>
                  </a:path>
                </a:pathLst>
              </a:custGeom>
              <a:solidFill>
                <a:schemeClr val="accent1"/>
              </a:solidFill>
              <a:ln w="314" cap="flat">
                <a:noFill/>
                <a:prstDash val="solid"/>
                <a:miter/>
              </a:ln>
            </p:spPr>
            <p:txBody>
              <a:bodyPr rtlCol="0" anchor="ctr"/>
              <a:lstStyle/>
              <a:p>
                <a:endParaRPr lang="en-GB" dirty="0"/>
              </a:p>
            </p:txBody>
          </p:sp>
          <p:sp>
            <p:nvSpPr>
              <p:cNvPr id="67" name="Freihandform: Form 240">
                <a:extLst>
                  <a:ext uri="{FF2B5EF4-FFF2-40B4-BE49-F238E27FC236}">
                    <a16:creationId xmlns:a16="http://schemas.microsoft.com/office/drawing/2014/main" id="{A34E64AA-BE1E-4AC4-85F0-0D8EA2605B20}"/>
                  </a:ext>
                </a:extLst>
              </p:cNvPr>
              <p:cNvSpPr/>
              <p:nvPr/>
            </p:nvSpPr>
            <p:spPr>
              <a:xfrm>
                <a:off x="919198" y="1971928"/>
                <a:ext cx="63535" cy="13329"/>
              </a:xfrm>
              <a:custGeom>
                <a:avLst/>
                <a:gdLst>
                  <a:gd name="connsiteX0" fmla="*/ 56871 w 63535"/>
                  <a:gd name="connsiteY0" fmla="*/ 13329 h 13329"/>
                  <a:gd name="connsiteX1" fmla="*/ 6665 w 63535"/>
                  <a:gd name="connsiteY1" fmla="*/ 13329 h 13329"/>
                  <a:gd name="connsiteX2" fmla="*/ 0 w 63535"/>
                  <a:gd name="connsiteY2" fmla="*/ 6665 h 13329"/>
                  <a:gd name="connsiteX3" fmla="*/ 6665 w 63535"/>
                  <a:gd name="connsiteY3" fmla="*/ 0 h 13329"/>
                  <a:gd name="connsiteX4" fmla="*/ 56871 w 63535"/>
                  <a:gd name="connsiteY4" fmla="*/ 0 h 13329"/>
                  <a:gd name="connsiteX5" fmla="*/ 63535 w 63535"/>
                  <a:gd name="connsiteY5" fmla="*/ 6665 h 13329"/>
                  <a:gd name="connsiteX6" fmla="*/ 56871 w 63535"/>
                  <a:gd name="connsiteY6" fmla="*/ 13329 h 1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35" h="13329">
                    <a:moveTo>
                      <a:pt x="56871" y="13329"/>
                    </a:moveTo>
                    <a:lnTo>
                      <a:pt x="6665" y="13329"/>
                    </a:lnTo>
                    <a:cubicBezTo>
                      <a:pt x="2985" y="13329"/>
                      <a:pt x="0" y="10344"/>
                      <a:pt x="0" y="6665"/>
                    </a:cubicBezTo>
                    <a:cubicBezTo>
                      <a:pt x="0" y="2985"/>
                      <a:pt x="2985" y="0"/>
                      <a:pt x="6665" y="0"/>
                    </a:cubicBezTo>
                    <a:lnTo>
                      <a:pt x="56871" y="0"/>
                    </a:lnTo>
                    <a:cubicBezTo>
                      <a:pt x="60550" y="0"/>
                      <a:pt x="63535" y="2985"/>
                      <a:pt x="63535" y="6665"/>
                    </a:cubicBezTo>
                    <a:cubicBezTo>
                      <a:pt x="63535" y="10344"/>
                      <a:pt x="60554" y="13329"/>
                      <a:pt x="56871" y="13329"/>
                    </a:cubicBezTo>
                    <a:close/>
                  </a:path>
                </a:pathLst>
              </a:custGeom>
              <a:solidFill>
                <a:schemeClr val="accent1"/>
              </a:solidFill>
              <a:ln w="314" cap="flat">
                <a:noFill/>
                <a:prstDash val="solid"/>
                <a:miter/>
              </a:ln>
            </p:spPr>
            <p:txBody>
              <a:bodyPr rtlCol="0" anchor="ctr"/>
              <a:lstStyle/>
              <a:p>
                <a:endParaRPr lang="en-GB" dirty="0"/>
              </a:p>
            </p:txBody>
          </p:sp>
        </p:grpSp>
        <p:grpSp>
          <p:nvGrpSpPr>
            <p:cNvPr id="53" name="Graphic 4">
              <a:extLst>
                <a:ext uri="{FF2B5EF4-FFF2-40B4-BE49-F238E27FC236}">
                  <a16:creationId xmlns:a16="http://schemas.microsoft.com/office/drawing/2014/main" id="{34D731A0-54EF-41B4-84E9-04F9D41AB453}"/>
                </a:ext>
              </a:extLst>
            </p:cNvPr>
            <p:cNvGrpSpPr/>
            <p:nvPr/>
          </p:nvGrpSpPr>
          <p:grpSpPr>
            <a:xfrm>
              <a:off x="560970" y="1585984"/>
              <a:ext cx="466160" cy="207694"/>
              <a:chOff x="877792" y="1651554"/>
              <a:chExt cx="426385" cy="189973"/>
            </a:xfrm>
            <a:solidFill>
              <a:schemeClr val="tx2"/>
            </a:solidFill>
          </p:grpSpPr>
          <p:sp>
            <p:nvSpPr>
              <p:cNvPr id="54" name="Freihandform: Form 242">
                <a:extLst>
                  <a:ext uri="{FF2B5EF4-FFF2-40B4-BE49-F238E27FC236}">
                    <a16:creationId xmlns:a16="http://schemas.microsoft.com/office/drawing/2014/main" id="{BD6285D0-6167-4E03-BD5A-49197B59635F}"/>
                  </a:ext>
                </a:extLst>
              </p:cNvPr>
              <p:cNvSpPr/>
              <p:nvPr/>
            </p:nvSpPr>
            <p:spPr>
              <a:xfrm>
                <a:off x="995556" y="1757539"/>
                <a:ext cx="189973" cy="83988"/>
              </a:xfrm>
              <a:custGeom>
                <a:avLst/>
                <a:gdLst>
                  <a:gd name="connsiteX0" fmla="*/ 183306 w 189973"/>
                  <a:gd name="connsiteY0" fmla="*/ 83988 h 83988"/>
                  <a:gd name="connsiteX1" fmla="*/ 176641 w 189973"/>
                  <a:gd name="connsiteY1" fmla="*/ 77324 h 83988"/>
                  <a:gd name="connsiteX2" fmla="*/ 118538 w 189973"/>
                  <a:gd name="connsiteY2" fmla="*/ 13332 h 83988"/>
                  <a:gd name="connsiteX3" fmla="*/ 71430 w 189973"/>
                  <a:gd name="connsiteY3" fmla="*/ 13332 h 83988"/>
                  <a:gd name="connsiteX4" fmla="*/ 13329 w 189973"/>
                  <a:gd name="connsiteY4" fmla="*/ 77324 h 83988"/>
                  <a:gd name="connsiteX5" fmla="*/ 6665 w 189973"/>
                  <a:gd name="connsiteY5" fmla="*/ 83988 h 83988"/>
                  <a:gd name="connsiteX6" fmla="*/ 0 w 189973"/>
                  <a:gd name="connsiteY6" fmla="*/ 77324 h 83988"/>
                  <a:gd name="connsiteX7" fmla="*/ 71433 w 189973"/>
                  <a:gd name="connsiteY7" fmla="*/ 0 h 83988"/>
                  <a:gd name="connsiteX8" fmla="*/ 118538 w 189973"/>
                  <a:gd name="connsiteY8" fmla="*/ 0 h 83988"/>
                  <a:gd name="connsiteX9" fmla="*/ 189973 w 189973"/>
                  <a:gd name="connsiteY9" fmla="*/ 77324 h 83988"/>
                  <a:gd name="connsiteX10" fmla="*/ 183306 w 189973"/>
                  <a:gd name="connsiteY10" fmla="*/ 83988 h 8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973" h="83988">
                    <a:moveTo>
                      <a:pt x="183306" y="83988"/>
                    </a:moveTo>
                    <a:cubicBezTo>
                      <a:pt x="179626" y="83988"/>
                      <a:pt x="176641" y="81003"/>
                      <a:pt x="176641" y="77324"/>
                    </a:cubicBezTo>
                    <a:cubicBezTo>
                      <a:pt x="176641" y="40245"/>
                      <a:pt x="152203" y="13332"/>
                      <a:pt x="118538" y="13332"/>
                    </a:cubicBezTo>
                    <a:lnTo>
                      <a:pt x="71430" y="13332"/>
                    </a:lnTo>
                    <a:cubicBezTo>
                      <a:pt x="37764" y="13332"/>
                      <a:pt x="13329" y="40245"/>
                      <a:pt x="13329" y="77324"/>
                    </a:cubicBezTo>
                    <a:cubicBezTo>
                      <a:pt x="13329" y="81003"/>
                      <a:pt x="10344" y="83988"/>
                      <a:pt x="6665" y="83988"/>
                    </a:cubicBezTo>
                    <a:cubicBezTo>
                      <a:pt x="2985" y="83988"/>
                      <a:pt x="0" y="81003"/>
                      <a:pt x="0" y="77324"/>
                    </a:cubicBezTo>
                    <a:cubicBezTo>
                      <a:pt x="0" y="33241"/>
                      <a:pt x="30709" y="0"/>
                      <a:pt x="71433" y="0"/>
                    </a:cubicBezTo>
                    <a:lnTo>
                      <a:pt x="118538" y="0"/>
                    </a:lnTo>
                    <a:cubicBezTo>
                      <a:pt x="159261" y="0"/>
                      <a:pt x="189973" y="33241"/>
                      <a:pt x="189973" y="77324"/>
                    </a:cubicBezTo>
                    <a:cubicBezTo>
                      <a:pt x="189970" y="81003"/>
                      <a:pt x="186986" y="83988"/>
                      <a:pt x="183306" y="83988"/>
                    </a:cubicBezTo>
                    <a:close/>
                  </a:path>
                </a:pathLst>
              </a:custGeom>
              <a:grpFill/>
              <a:ln w="314" cap="flat">
                <a:noFill/>
                <a:prstDash val="solid"/>
                <a:miter/>
              </a:ln>
            </p:spPr>
            <p:txBody>
              <a:bodyPr rtlCol="0" anchor="ctr"/>
              <a:lstStyle/>
              <a:p>
                <a:endParaRPr lang="en-GB" dirty="0"/>
              </a:p>
            </p:txBody>
          </p:sp>
          <p:sp>
            <p:nvSpPr>
              <p:cNvPr id="55" name="Freihandform: Form 243">
                <a:extLst>
                  <a:ext uri="{FF2B5EF4-FFF2-40B4-BE49-F238E27FC236}">
                    <a16:creationId xmlns:a16="http://schemas.microsoft.com/office/drawing/2014/main" id="{2A6DCAA0-40A3-47C4-B3A3-4C1699B752B5}"/>
                  </a:ext>
                </a:extLst>
              </p:cNvPr>
              <p:cNvSpPr/>
              <p:nvPr/>
            </p:nvSpPr>
            <p:spPr>
              <a:xfrm>
                <a:off x="1048542" y="1651554"/>
                <a:ext cx="83988" cy="95763"/>
              </a:xfrm>
              <a:custGeom>
                <a:avLst/>
                <a:gdLst>
                  <a:gd name="connsiteX0" fmla="*/ 41997 w 83988"/>
                  <a:gd name="connsiteY0" fmla="*/ 95764 h 95763"/>
                  <a:gd name="connsiteX1" fmla="*/ 0 w 83988"/>
                  <a:gd name="connsiteY1" fmla="*/ 47879 h 95763"/>
                  <a:gd name="connsiteX2" fmla="*/ 41997 w 83988"/>
                  <a:gd name="connsiteY2" fmla="*/ 0 h 95763"/>
                  <a:gd name="connsiteX3" fmla="*/ 83988 w 83988"/>
                  <a:gd name="connsiteY3" fmla="*/ 47882 h 95763"/>
                  <a:gd name="connsiteX4" fmla="*/ 41997 w 83988"/>
                  <a:gd name="connsiteY4" fmla="*/ 95764 h 95763"/>
                  <a:gd name="connsiteX5" fmla="*/ 41997 w 83988"/>
                  <a:gd name="connsiteY5" fmla="*/ 13332 h 95763"/>
                  <a:gd name="connsiteX6" fmla="*/ 13332 w 83988"/>
                  <a:gd name="connsiteY6" fmla="*/ 47882 h 95763"/>
                  <a:gd name="connsiteX7" fmla="*/ 41997 w 83988"/>
                  <a:gd name="connsiteY7" fmla="*/ 82434 h 95763"/>
                  <a:gd name="connsiteX8" fmla="*/ 70659 w 83988"/>
                  <a:gd name="connsiteY8" fmla="*/ 47882 h 95763"/>
                  <a:gd name="connsiteX9" fmla="*/ 41997 w 83988"/>
                  <a:gd name="connsiteY9" fmla="*/ 13332 h 9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988" h="95763">
                    <a:moveTo>
                      <a:pt x="41997" y="95764"/>
                    </a:moveTo>
                    <a:cubicBezTo>
                      <a:pt x="17270" y="95764"/>
                      <a:pt x="0" y="76072"/>
                      <a:pt x="0" y="47879"/>
                    </a:cubicBezTo>
                    <a:cubicBezTo>
                      <a:pt x="0" y="19686"/>
                      <a:pt x="17273" y="0"/>
                      <a:pt x="41997" y="0"/>
                    </a:cubicBezTo>
                    <a:cubicBezTo>
                      <a:pt x="66724" y="0"/>
                      <a:pt x="83988" y="19689"/>
                      <a:pt x="83988" y="47882"/>
                    </a:cubicBezTo>
                    <a:cubicBezTo>
                      <a:pt x="83988" y="76075"/>
                      <a:pt x="66724" y="95764"/>
                      <a:pt x="41997" y="95764"/>
                    </a:cubicBezTo>
                    <a:close/>
                    <a:moveTo>
                      <a:pt x="41997" y="13332"/>
                    </a:moveTo>
                    <a:cubicBezTo>
                      <a:pt x="20843" y="13332"/>
                      <a:pt x="13332" y="31942"/>
                      <a:pt x="13332" y="47882"/>
                    </a:cubicBezTo>
                    <a:cubicBezTo>
                      <a:pt x="13332" y="63821"/>
                      <a:pt x="20840" y="82434"/>
                      <a:pt x="41997" y="82434"/>
                    </a:cubicBezTo>
                    <a:cubicBezTo>
                      <a:pt x="63152" y="82434"/>
                      <a:pt x="70659" y="63821"/>
                      <a:pt x="70659" y="47882"/>
                    </a:cubicBezTo>
                    <a:cubicBezTo>
                      <a:pt x="70659" y="31942"/>
                      <a:pt x="63155" y="13332"/>
                      <a:pt x="41997" y="13332"/>
                    </a:cubicBezTo>
                    <a:close/>
                  </a:path>
                </a:pathLst>
              </a:custGeom>
              <a:grpFill/>
              <a:ln w="314" cap="flat">
                <a:noFill/>
                <a:prstDash val="solid"/>
                <a:miter/>
              </a:ln>
            </p:spPr>
            <p:txBody>
              <a:bodyPr rtlCol="0" anchor="ctr"/>
              <a:lstStyle/>
              <a:p>
                <a:endParaRPr lang="en-GB" dirty="0"/>
              </a:p>
            </p:txBody>
          </p:sp>
          <p:grpSp>
            <p:nvGrpSpPr>
              <p:cNvPr id="56" name="Graphic 4">
                <a:extLst>
                  <a:ext uri="{FF2B5EF4-FFF2-40B4-BE49-F238E27FC236}">
                    <a16:creationId xmlns:a16="http://schemas.microsoft.com/office/drawing/2014/main" id="{DB15CA55-2054-461F-B251-6996C69F1D76}"/>
                  </a:ext>
                </a:extLst>
              </p:cNvPr>
              <p:cNvGrpSpPr/>
              <p:nvPr/>
            </p:nvGrpSpPr>
            <p:grpSpPr>
              <a:xfrm>
                <a:off x="1149528" y="1651557"/>
                <a:ext cx="154648" cy="184082"/>
                <a:chOff x="1149528" y="1651557"/>
                <a:chExt cx="154648" cy="184082"/>
              </a:xfrm>
              <a:grpFill/>
            </p:grpSpPr>
            <p:sp>
              <p:nvSpPr>
                <p:cNvPr id="59" name="Freihandform: Form 245">
                  <a:extLst>
                    <a:ext uri="{FF2B5EF4-FFF2-40B4-BE49-F238E27FC236}">
                      <a16:creationId xmlns:a16="http://schemas.microsoft.com/office/drawing/2014/main" id="{F2B242DF-1A51-4B4C-A098-460550E35F55}"/>
                    </a:ext>
                  </a:extLst>
                </p:cNvPr>
                <p:cNvSpPr/>
                <p:nvPr/>
              </p:nvSpPr>
              <p:spPr>
                <a:xfrm>
                  <a:off x="1149528" y="1745761"/>
                  <a:ext cx="154648" cy="89879"/>
                </a:xfrm>
                <a:custGeom>
                  <a:avLst/>
                  <a:gdLst>
                    <a:gd name="connsiteX0" fmla="*/ 147981 w 154648"/>
                    <a:gd name="connsiteY0" fmla="*/ 89879 h 89879"/>
                    <a:gd name="connsiteX1" fmla="*/ 141316 w 154648"/>
                    <a:gd name="connsiteY1" fmla="*/ 83214 h 89879"/>
                    <a:gd name="connsiteX2" fmla="*/ 141316 w 154648"/>
                    <a:gd name="connsiteY2" fmla="*/ 67555 h 89879"/>
                    <a:gd name="connsiteX3" fmla="*/ 87094 w 154648"/>
                    <a:gd name="connsiteY3" fmla="*/ 13335 h 89879"/>
                    <a:gd name="connsiteX4" fmla="*/ 55784 w 154648"/>
                    <a:gd name="connsiteY4" fmla="*/ 13335 h 89879"/>
                    <a:gd name="connsiteX5" fmla="*/ 12041 w 154648"/>
                    <a:gd name="connsiteY5" fmla="*/ 35506 h 89879"/>
                    <a:gd name="connsiteX6" fmla="*/ 2722 w 154648"/>
                    <a:gd name="connsiteY6" fmla="*/ 36934 h 89879"/>
                    <a:gd name="connsiteX7" fmla="*/ 1294 w 154648"/>
                    <a:gd name="connsiteY7" fmla="*/ 27614 h 89879"/>
                    <a:gd name="connsiteX8" fmla="*/ 55784 w 154648"/>
                    <a:gd name="connsiteY8" fmla="*/ 0 h 89879"/>
                    <a:gd name="connsiteX9" fmla="*/ 87094 w 154648"/>
                    <a:gd name="connsiteY9" fmla="*/ 0 h 89879"/>
                    <a:gd name="connsiteX10" fmla="*/ 154648 w 154648"/>
                    <a:gd name="connsiteY10" fmla="*/ 67552 h 89879"/>
                    <a:gd name="connsiteX11" fmla="*/ 154648 w 154648"/>
                    <a:gd name="connsiteY11" fmla="*/ 83211 h 89879"/>
                    <a:gd name="connsiteX12" fmla="*/ 147981 w 154648"/>
                    <a:gd name="connsiteY12" fmla="*/ 89879 h 8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648" h="89879">
                      <a:moveTo>
                        <a:pt x="147981" y="89879"/>
                      </a:moveTo>
                      <a:cubicBezTo>
                        <a:pt x="144301" y="89879"/>
                        <a:pt x="141316" y="86894"/>
                        <a:pt x="141316" y="83214"/>
                      </a:cubicBezTo>
                      <a:lnTo>
                        <a:pt x="141316" y="67555"/>
                      </a:lnTo>
                      <a:cubicBezTo>
                        <a:pt x="141316" y="37657"/>
                        <a:pt x="116992" y="13335"/>
                        <a:pt x="87094" y="13335"/>
                      </a:cubicBezTo>
                      <a:lnTo>
                        <a:pt x="55784" y="13335"/>
                      </a:lnTo>
                      <a:cubicBezTo>
                        <a:pt x="38586" y="13335"/>
                        <a:pt x="22231" y="21626"/>
                        <a:pt x="12041" y="35506"/>
                      </a:cubicBezTo>
                      <a:cubicBezTo>
                        <a:pt x="9865" y="38475"/>
                        <a:pt x="5691" y="39119"/>
                        <a:pt x="2722" y="36934"/>
                      </a:cubicBezTo>
                      <a:cubicBezTo>
                        <a:pt x="-247" y="34757"/>
                        <a:pt x="-886" y="30583"/>
                        <a:pt x="1294" y="27614"/>
                      </a:cubicBezTo>
                      <a:cubicBezTo>
                        <a:pt x="13988" y="10326"/>
                        <a:pt x="34359" y="0"/>
                        <a:pt x="55784" y="0"/>
                      </a:cubicBezTo>
                      <a:lnTo>
                        <a:pt x="87094" y="0"/>
                      </a:lnTo>
                      <a:cubicBezTo>
                        <a:pt x="124345" y="0"/>
                        <a:pt x="154648" y="30304"/>
                        <a:pt x="154648" y="67552"/>
                      </a:cubicBezTo>
                      <a:lnTo>
                        <a:pt x="154648" y="83211"/>
                      </a:lnTo>
                      <a:cubicBezTo>
                        <a:pt x="154645" y="86894"/>
                        <a:pt x="151661" y="89879"/>
                        <a:pt x="147981" y="89879"/>
                      </a:cubicBezTo>
                      <a:close/>
                    </a:path>
                  </a:pathLst>
                </a:custGeom>
                <a:grpFill/>
                <a:ln w="314" cap="flat">
                  <a:noFill/>
                  <a:prstDash val="solid"/>
                  <a:miter/>
                </a:ln>
              </p:spPr>
              <p:txBody>
                <a:bodyPr rtlCol="0" anchor="ctr"/>
                <a:lstStyle/>
                <a:p>
                  <a:endParaRPr lang="en-GB" dirty="0"/>
                </a:p>
              </p:txBody>
            </p:sp>
            <p:sp>
              <p:nvSpPr>
                <p:cNvPr id="60" name="Freihandform: Form 246">
                  <a:extLst>
                    <a:ext uri="{FF2B5EF4-FFF2-40B4-BE49-F238E27FC236}">
                      <a16:creationId xmlns:a16="http://schemas.microsoft.com/office/drawing/2014/main" id="{367C1600-9F75-4AB4-BB2B-409F8A9528EC}"/>
                    </a:ext>
                  </a:extLst>
                </p:cNvPr>
                <p:cNvSpPr/>
                <p:nvPr/>
              </p:nvSpPr>
              <p:spPr>
                <a:xfrm>
                  <a:off x="1184859" y="1651557"/>
                  <a:ext cx="72206" cy="83981"/>
                </a:xfrm>
                <a:custGeom>
                  <a:avLst/>
                  <a:gdLst>
                    <a:gd name="connsiteX0" fmla="*/ 36103 w 72206"/>
                    <a:gd name="connsiteY0" fmla="*/ 83982 h 83981"/>
                    <a:gd name="connsiteX1" fmla="*/ 0 w 72206"/>
                    <a:gd name="connsiteY1" fmla="*/ 41991 h 83981"/>
                    <a:gd name="connsiteX2" fmla="*/ 36103 w 72206"/>
                    <a:gd name="connsiteY2" fmla="*/ 0 h 83981"/>
                    <a:gd name="connsiteX3" fmla="*/ 72206 w 72206"/>
                    <a:gd name="connsiteY3" fmla="*/ 41991 h 83981"/>
                    <a:gd name="connsiteX4" fmla="*/ 36103 w 72206"/>
                    <a:gd name="connsiteY4" fmla="*/ 83982 h 83981"/>
                    <a:gd name="connsiteX5" fmla="*/ 36103 w 72206"/>
                    <a:gd name="connsiteY5" fmla="*/ 13329 h 83981"/>
                    <a:gd name="connsiteX6" fmla="*/ 13329 w 72206"/>
                    <a:gd name="connsiteY6" fmla="*/ 41991 h 83981"/>
                    <a:gd name="connsiteX7" fmla="*/ 36103 w 72206"/>
                    <a:gd name="connsiteY7" fmla="*/ 70653 h 83981"/>
                    <a:gd name="connsiteX8" fmla="*/ 58877 w 72206"/>
                    <a:gd name="connsiteY8" fmla="*/ 41991 h 83981"/>
                    <a:gd name="connsiteX9" fmla="*/ 36103 w 72206"/>
                    <a:gd name="connsiteY9" fmla="*/ 13329 h 83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206" h="83981">
                      <a:moveTo>
                        <a:pt x="36103" y="83982"/>
                      </a:moveTo>
                      <a:cubicBezTo>
                        <a:pt x="16194" y="83982"/>
                        <a:pt x="0" y="65142"/>
                        <a:pt x="0" y="41991"/>
                      </a:cubicBezTo>
                      <a:cubicBezTo>
                        <a:pt x="0" y="18839"/>
                        <a:pt x="16194" y="0"/>
                        <a:pt x="36103" y="0"/>
                      </a:cubicBezTo>
                      <a:cubicBezTo>
                        <a:pt x="56012" y="0"/>
                        <a:pt x="72206" y="18839"/>
                        <a:pt x="72206" y="41991"/>
                      </a:cubicBezTo>
                      <a:cubicBezTo>
                        <a:pt x="72206" y="65142"/>
                        <a:pt x="56015" y="83982"/>
                        <a:pt x="36103" y="83982"/>
                      </a:cubicBezTo>
                      <a:close/>
                      <a:moveTo>
                        <a:pt x="36103" y="13329"/>
                      </a:moveTo>
                      <a:cubicBezTo>
                        <a:pt x="23548" y="13329"/>
                        <a:pt x="13329" y="26187"/>
                        <a:pt x="13329" y="41991"/>
                      </a:cubicBezTo>
                      <a:cubicBezTo>
                        <a:pt x="13329" y="57795"/>
                        <a:pt x="23545" y="70653"/>
                        <a:pt x="36103" y="70653"/>
                      </a:cubicBezTo>
                      <a:cubicBezTo>
                        <a:pt x="48662" y="70653"/>
                        <a:pt x="58877" y="57795"/>
                        <a:pt x="58877" y="41991"/>
                      </a:cubicBezTo>
                      <a:cubicBezTo>
                        <a:pt x="58877" y="26187"/>
                        <a:pt x="48662" y="13329"/>
                        <a:pt x="36103" y="13329"/>
                      </a:cubicBezTo>
                      <a:close/>
                    </a:path>
                  </a:pathLst>
                </a:custGeom>
                <a:grpFill/>
                <a:ln w="314" cap="flat">
                  <a:noFill/>
                  <a:prstDash val="solid"/>
                  <a:miter/>
                </a:ln>
              </p:spPr>
              <p:txBody>
                <a:bodyPr rtlCol="0" anchor="ctr"/>
                <a:lstStyle/>
                <a:p>
                  <a:endParaRPr lang="en-GB" dirty="0"/>
                </a:p>
              </p:txBody>
            </p:sp>
          </p:grpSp>
          <p:sp>
            <p:nvSpPr>
              <p:cNvPr id="57" name="Freihandform: Form 247">
                <a:extLst>
                  <a:ext uri="{FF2B5EF4-FFF2-40B4-BE49-F238E27FC236}">
                    <a16:creationId xmlns:a16="http://schemas.microsoft.com/office/drawing/2014/main" id="{01E47F2A-5A8B-4150-AC79-0CFBB4BD4CD0}"/>
                  </a:ext>
                </a:extLst>
              </p:cNvPr>
              <p:cNvSpPr/>
              <p:nvPr/>
            </p:nvSpPr>
            <p:spPr>
              <a:xfrm>
                <a:off x="877792" y="1745764"/>
                <a:ext cx="154646" cy="89875"/>
              </a:xfrm>
              <a:custGeom>
                <a:avLst/>
                <a:gdLst>
                  <a:gd name="connsiteX0" fmla="*/ 6665 w 154646"/>
                  <a:gd name="connsiteY0" fmla="*/ 89876 h 89875"/>
                  <a:gd name="connsiteX1" fmla="*/ 0 w 154646"/>
                  <a:gd name="connsiteY1" fmla="*/ 83211 h 89875"/>
                  <a:gd name="connsiteX2" fmla="*/ 0 w 154646"/>
                  <a:gd name="connsiteY2" fmla="*/ 67552 h 89875"/>
                  <a:gd name="connsiteX3" fmla="*/ 67555 w 154646"/>
                  <a:gd name="connsiteY3" fmla="*/ 0 h 89875"/>
                  <a:gd name="connsiteX4" fmla="*/ 98865 w 154646"/>
                  <a:gd name="connsiteY4" fmla="*/ 0 h 89875"/>
                  <a:gd name="connsiteX5" fmla="*/ 153354 w 154646"/>
                  <a:gd name="connsiteY5" fmla="*/ 27614 h 89875"/>
                  <a:gd name="connsiteX6" fmla="*/ 151927 w 154646"/>
                  <a:gd name="connsiteY6" fmla="*/ 36934 h 89875"/>
                  <a:gd name="connsiteX7" fmla="*/ 142607 w 154646"/>
                  <a:gd name="connsiteY7" fmla="*/ 35506 h 89875"/>
                  <a:gd name="connsiteX8" fmla="*/ 98865 w 154646"/>
                  <a:gd name="connsiteY8" fmla="*/ 13335 h 89875"/>
                  <a:gd name="connsiteX9" fmla="*/ 67555 w 154646"/>
                  <a:gd name="connsiteY9" fmla="*/ 13335 h 89875"/>
                  <a:gd name="connsiteX10" fmla="*/ 13332 w 154646"/>
                  <a:gd name="connsiteY10" fmla="*/ 67555 h 89875"/>
                  <a:gd name="connsiteX11" fmla="*/ 13332 w 154646"/>
                  <a:gd name="connsiteY11" fmla="*/ 83214 h 89875"/>
                  <a:gd name="connsiteX12" fmla="*/ 6665 w 154646"/>
                  <a:gd name="connsiteY12" fmla="*/ 89876 h 89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646" h="89875">
                    <a:moveTo>
                      <a:pt x="6665" y="89876"/>
                    </a:moveTo>
                    <a:cubicBezTo>
                      <a:pt x="2985" y="89876"/>
                      <a:pt x="0" y="86891"/>
                      <a:pt x="0" y="83211"/>
                    </a:cubicBezTo>
                    <a:lnTo>
                      <a:pt x="0" y="67552"/>
                    </a:lnTo>
                    <a:cubicBezTo>
                      <a:pt x="0" y="30304"/>
                      <a:pt x="30304" y="0"/>
                      <a:pt x="67555" y="0"/>
                    </a:cubicBezTo>
                    <a:lnTo>
                      <a:pt x="98865" y="0"/>
                    </a:lnTo>
                    <a:cubicBezTo>
                      <a:pt x="120289" y="0"/>
                      <a:pt x="140661" y="10322"/>
                      <a:pt x="153354" y="27614"/>
                    </a:cubicBezTo>
                    <a:cubicBezTo>
                      <a:pt x="155531" y="30583"/>
                      <a:pt x="154892" y="34754"/>
                      <a:pt x="151927" y="36934"/>
                    </a:cubicBezTo>
                    <a:cubicBezTo>
                      <a:pt x="148948" y="39113"/>
                      <a:pt x="144781" y="38465"/>
                      <a:pt x="142607" y="35506"/>
                    </a:cubicBezTo>
                    <a:cubicBezTo>
                      <a:pt x="132417" y="21623"/>
                      <a:pt x="116062" y="13335"/>
                      <a:pt x="98865" y="13335"/>
                    </a:cubicBezTo>
                    <a:lnTo>
                      <a:pt x="67555" y="13335"/>
                    </a:lnTo>
                    <a:cubicBezTo>
                      <a:pt x="37657" y="13335"/>
                      <a:pt x="13332" y="37657"/>
                      <a:pt x="13332" y="67555"/>
                    </a:cubicBezTo>
                    <a:lnTo>
                      <a:pt x="13332" y="83214"/>
                    </a:lnTo>
                    <a:cubicBezTo>
                      <a:pt x="13329" y="86891"/>
                      <a:pt x="10344" y="89876"/>
                      <a:pt x="6665" y="89876"/>
                    </a:cubicBezTo>
                    <a:close/>
                  </a:path>
                </a:pathLst>
              </a:custGeom>
              <a:grpFill/>
              <a:ln w="314" cap="flat">
                <a:noFill/>
                <a:prstDash val="solid"/>
                <a:miter/>
              </a:ln>
            </p:spPr>
            <p:txBody>
              <a:bodyPr rtlCol="0" anchor="ctr"/>
              <a:lstStyle/>
              <a:p>
                <a:endParaRPr lang="en-GB" dirty="0"/>
              </a:p>
            </p:txBody>
          </p:sp>
          <p:sp>
            <p:nvSpPr>
              <p:cNvPr id="58" name="Freihandform: Form 248">
                <a:extLst>
                  <a:ext uri="{FF2B5EF4-FFF2-40B4-BE49-F238E27FC236}">
                    <a16:creationId xmlns:a16="http://schemas.microsoft.com/office/drawing/2014/main" id="{C5D5F2A4-4311-4AAB-85AB-2C748FB96FF3}"/>
                  </a:ext>
                </a:extLst>
              </p:cNvPr>
              <p:cNvSpPr/>
              <p:nvPr/>
            </p:nvSpPr>
            <p:spPr>
              <a:xfrm>
                <a:off x="924897" y="1651554"/>
                <a:ext cx="72209" cy="83984"/>
              </a:xfrm>
              <a:custGeom>
                <a:avLst/>
                <a:gdLst>
                  <a:gd name="connsiteX0" fmla="*/ 36103 w 72209"/>
                  <a:gd name="connsiteY0" fmla="*/ 83985 h 83984"/>
                  <a:gd name="connsiteX1" fmla="*/ 0 w 72209"/>
                  <a:gd name="connsiteY1" fmla="*/ 41994 h 83984"/>
                  <a:gd name="connsiteX2" fmla="*/ 36103 w 72209"/>
                  <a:gd name="connsiteY2" fmla="*/ 0 h 83984"/>
                  <a:gd name="connsiteX3" fmla="*/ 72210 w 72209"/>
                  <a:gd name="connsiteY3" fmla="*/ 41991 h 83984"/>
                  <a:gd name="connsiteX4" fmla="*/ 36103 w 72209"/>
                  <a:gd name="connsiteY4" fmla="*/ 83985 h 83984"/>
                  <a:gd name="connsiteX5" fmla="*/ 36103 w 72209"/>
                  <a:gd name="connsiteY5" fmla="*/ 13332 h 83984"/>
                  <a:gd name="connsiteX6" fmla="*/ 13329 w 72209"/>
                  <a:gd name="connsiteY6" fmla="*/ 41994 h 83984"/>
                  <a:gd name="connsiteX7" fmla="*/ 36103 w 72209"/>
                  <a:gd name="connsiteY7" fmla="*/ 70656 h 83984"/>
                  <a:gd name="connsiteX8" fmla="*/ 58880 w 72209"/>
                  <a:gd name="connsiteY8" fmla="*/ 41994 h 83984"/>
                  <a:gd name="connsiteX9" fmla="*/ 36103 w 72209"/>
                  <a:gd name="connsiteY9" fmla="*/ 13332 h 83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209" h="83984">
                    <a:moveTo>
                      <a:pt x="36103" y="83985"/>
                    </a:moveTo>
                    <a:cubicBezTo>
                      <a:pt x="16194" y="83985"/>
                      <a:pt x="0" y="65146"/>
                      <a:pt x="0" y="41994"/>
                    </a:cubicBezTo>
                    <a:cubicBezTo>
                      <a:pt x="0" y="18843"/>
                      <a:pt x="16194" y="0"/>
                      <a:pt x="36103" y="0"/>
                    </a:cubicBezTo>
                    <a:cubicBezTo>
                      <a:pt x="56012" y="0"/>
                      <a:pt x="72210" y="18839"/>
                      <a:pt x="72210" y="41991"/>
                    </a:cubicBezTo>
                    <a:cubicBezTo>
                      <a:pt x="72210" y="65142"/>
                      <a:pt x="56012" y="83985"/>
                      <a:pt x="36103" y="83985"/>
                    </a:cubicBezTo>
                    <a:close/>
                    <a:moveTo>
                      <a:pt x="36103" y="13332"/>
                    </a:moveTo>
                    <a:cubicBezTo>
                      <a:pt x="23548" y="13332"/>
                      <a:pt x="13329" y="26190"/>
                      <a:pt x="13329" y="41994"/>
                    </a:cubicBezTo>
                    <a:cubicBezTo>
                      <a:pt x="13329" y="57798"/>
                      <a:pt x="23545" y="70656"/>
                      <a:pt x="36103" y="70656"/>
                    </a:cubicBezTo>
                    <a:cubicBezTo>
                      <a:pt x="48662" y="70656"/>
                      <a:pt x="58880" y="57798"/>
                      <a:pt x="58880" y="41994"/>
                    </a:cubicBezTo>
                    <a:cubicBezTo>
                      <a:pt x="58880" y="26190"/>
                      <a:pt x="48662" y="13332"/>
                      <a:pt x="36103" y="13332"/>
                    </a:cubicBezTo>
                    <a:close/>
                  </a:path>
                </a:pathLst>
              </a:custGeom>
              <a:grpFill/>
              <a:ln w="314" cap="flat">
                <a:noFill/>
                <a:prstDash val="solid"/>
                <a:miter/>
              </a:ln>
            </p:spPr>
            <p:txBody>
              <a:bodyPr rtlCol="0" anchor="ctr"/>
              <a:lstStyle/>
              <a:p>
                <a:endParaRPr lang="en-GB" dirty="0"/>
              </a:p>
            </p:txBody>
          </p:sp>
        </p:grpSp>
      </p:grpSp>
      <p:grpSp>
        <p:nvGrpSpPr>
          <p:cNvPr id="37" name="Group 36">
            <a:extLst>
              <a:ext uri="{FF2B5EF4-FFF2-40B4-BE49-F238E27FC236}">
                <a16:creationId xmlns:a16="http://schemas.microsoft.com/office/drawing/2014/main" id="{51E4357A-4BF1-2675-97E4-285E7AA0D3B4}"/>
              </a:ext>
            </a:extLst>
          </p:cNvPr>
          <p:cNvGrpSpPr/>
          <p:nvPr/>
        </p:nvGrpSpPr>
        <p:grpSpPr>
          <a:xfrm>
            <a:off x="1580284" y="1585984"/>
            <a:ext cx="518401" cy="432000"/>
            <a:chOff x="1580284" y="1585984"/>
            <a:chExt cx="518401" cy="432000"/>
          </a:xfrm>
        </p:grpSpPr>
        <p:grpSp>
          <p:nvGrpSpPr>
            <p:cNvPr id="69" name="Graphic 4">
              <a:extLst>
                <a:ext uri="{FF2B5EF4-FFF2-40B4-BE49-F238E27FC236}">
                  <a16:creationId xmlns:a16="http://schemas.microsoft.com/office/drawing/2014/main" id="{17BB2589-5FF7-461B-A4E5-2AE3D6A3BFA5}"/>
                </a:ext>
              </a:extLst>
            </p:cNvPr>
            <p:cNvGrpSpPr/>
            <p:nvPr/>
          </p:nvGrpSpPr>
          <p:grpSpPr>
            <a:xfrm>
              <a:off x="1745229" y="1668946"/>
              <a:ext cx="353456" cy="349038"/>
              <a:chOff x="2704700" y="1697163"/>
              <a:chExt cx="299956" cy="296206"/>
            </a:xfrm>
            <a:solidFill>
              <a:schemeClr val="accent1"/>
            </a:solidFill>
          </p:grpSpPr>
          <p:sp>
            <p:nvSpPr>
              <p:cNvPr id="75" name="Freihandform: Form 251">
                <a:extLst>
                  <a:ext uri="{FF2B5EF4-FFF2-40B4-BE49-F238E27FC236}">
                    <a16:creationId xmlns:a16="http://schemas.microsoft.com/office/drawing/2014/main" id="{8F70851E-0C7A-457B-8B42-4D9088976D83}"/>
                  </a:ext>
                </a:extLst>
              </p:cNvPr>
              <p:cNvSpPr/>
              <p:nvPr/>
            </p:nvSpPr>
            <p:spPr>
              <a:xfrm>
                <a:off x="2704700" y="1783817"/>
                <a:ext cx="13329" cy="93319"/>
              </a:xfrm>
              <a:custGeom>
                <a:avLst/>
                <a:gdLst>
                  <a:gd name="connsiteX0" fmla="*/ 6665 w 13329"/>
                  <a:gd name="connsiteY0" fmla="*/ 93320 h 93319"/>
                  <a:gd name="connsiteX1" fmla="*/ 0 w 13329"/>
                  <a:gd name="connsiteY1" fmla="*/ 86655 h 93319"/>
                  <a:gd name="connsiteX2" fmla="*/ 0 w 13329"/>
                  <a:gd name="connsiteY2" fmla="*/ 6665 h 93319"/>
                  <a:gd name="connsiteX3" fmla="*/ 6665 w 13329"/>
                  <a:gd name="connsiteY3" fmla="*/ 0 h 93319"/>
                  <a:gd name="connsiteX4" fmla="*/ 13329 w 13329"/>
                  <a:gd name="connsiteY4" fmla="*/ 6665 h 93319"/>
                  <a:gd name="connsiteX5" fmla="*/ 13329 w 13329"/>
                  <a:gd name="connsiteY5" fmla="*/ 86652 h 93319"/>
                  <a:gd name="connsiteX6" fmla="*/ 6665 w 13329"/>
                  <a:gd name="connsiteY6" fmla="*/ 93320 h 9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9" h="93319">
                    <a:moveTo>
                      <a:pt x="6665" y="93320"/>
                    </a:moveTo>
                    <a:cubicBezTo>
                      <a:pt x="2982" y="93320"/>
                      <a:pt x="0" y="90335"/>
                      <a:pt x="0" y="86655"/>
                    </a:cubicBezTo>
                    <a:lnTo>
                      <a:pt x="0" y="6665"/>
                    </a:lnTo>
                    <a:cubicBezTo>
                      <a:pt x="0" y="2985"/>
                      <a:pt x="2982" y="0"/>
                      <a:pt x="6665" y="0"/>
                    </a:cubicBezTo>
                    <a:cubicBezTo>
                      <a:pt x="10348" y="0"/>
                      <a:pt x="13329" y="2985"/>
                      <a:pt x="13329" y="6665"/>
                    </a:cubicBezTo>
                    <a:lnTo>
                      <a:pt x="13329" y="86652"/>
                    </a:lnTo>
                    <a:cubicBezTo>
                      <a:pt x="13332" y="90335"/>
                      <a:pt x="10351" y="93320"/>
                      <a:pt x="6665" y="93320"/>
                    </a:cubicBezTo>
                    <a:close/>
                  </a:path>
                </a:pathLst>
              </a:custGeom>
              <a:solidFill>
                <a:schemeClr val="accent1"/>
              </a:solidFill>
              <a:ln w="314" cap="flat">
                <a:noFill/>
                <a:prstDash val="solid"/>
                <a:miter/>
              </a:ln>
            </p:spPr>
            <p:txBody>
              <a:bodyPr rtlCol="0" anchor="ctr"/>
              <a:lstStyle/>
              <a:p>
                <a:endParaRPr lang="en-GB" dirty="0"/>
              </a:p>
            </p:txBody>
          </p:sp>
          <p:sp>
            <p:nvSpPr>
              <p:cNvPr id="76" name="Freihandform: Form 252">
                <a:extLst>
                  <a:ext uri="{FF2B5EF4-FFF2-40B4-BE49-F238E27FC236}">
                    <a16:creationId xmlns:a16="http://schemas.microsoft.com/office/drawing/2014/main" id="{AEACF0F3-97B9-4394-B694-3B6AF354BA79}"/>
                  </a:ext>
                </a:extLst>
              </p:cNvPr>
              <p:cNvSpPr/>
              <p:nvPr/>
            </p:nvSpPr>
            <p:spPr>
              <a:xfrm>
                <a:off x="2731362" y="1763820"/>
                <a:ext cx="99984" cy="133313"/>
              </a:xfrm>
              <a:custGeom>
                <a:avLst/>
                <a:gdLst>
                  <a:gd name="connsiteX0" fmla="*/ 93320 w 99984"/>
                  <a:gd name="connsiteY0" fmla="*/ 133314 h 133313"/>
                  <a:gd name="connsiteX1" fmla="*/ 6665 w 99984"/>
                  <a:gd name="connsiteY1" fmla="*/ 133314 h 133313"/>
                  <a:gd name="connsiteX2" fmla="*/ 0 w 99984"/>
                  <a:gd name="connsiteY2" fmla="*/ 126649 h 133313"/>
                  <a:gd name="connsiteX3" fmla="*/ 0 w 99984"/>
                  <a:gd name="connsiteY3" fmla="*/ 6665 h 133313"/>
                  <a:gd name="connsiteX4" fmla="*/ 6665 w 99984"/>
                  <a:gd name="connsiteY4" fmla="*/ 0 h 133313"/>
                  <a:gd name="connsiteX5" fmla="*/ 93320 w 99984"/>
                  <a:gd name="connsiteY5" fmla="*/ 0 h 133313"/>
                  <a:gd name="connsiteX6" fmla="*/ 99984 w 99984"/>
                  <a:gd name="connsiteY6" fmla="*/ 6665 h 133313"/>
                  <a:gd name="connsiteX7" fmla="*/ 99984 w 99984"/>
                  <a:gd name="connsiteY7" fmla="*/ 126646 h 133313"/>
                  <a:gd name="connsiteX8" fmla="*/ 93320 w 99984"/>
                  <a:gd name="connsiteY8" fmla="*/ 133314 h 133313"/>
                  <a:gd name="connsiteX9" fmla="*/ 13332 w 99984"/>
                  <a:gd name="connsiteY9" fmla="*/ 119981 h 133313"/>
                  <a:gd name="connsiteX10" fmla="*/ 86655 w 99984"/>
                  <a:gd name="connsiteY10" fmla="*/ 119981 h 133313"/>
                  <a:gd name="connsiteX11" fmla="*/ 86655 w 99984"/>
                  <a:gd name="connsiteY11" fmla="*/ 13329 h 133313"/>
                  <a:gd name="connsiteX12" fmla="*/ 13332 w 99984"/>
                  <a:gd name="connsiteY12" fmla="*/ 13329 h 133313"/>
                  <a:gd name="connsiteX13" fmla="*/ 13332 w 99984"/>
                  <a:gd name="connsiteY13" fmla="*/ 119981 h 13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84" h="133313">
                    <a:moveTo>
                      <a:pt x="93320" y="133314"/>
                    </a:moveTo>
                    <a:lnTo>
                      <a:pt x="6665" y="133314"/>
                    </a:lnTo>
                    <a:cubicBezTo>
                      <a:pt x="2982" y="133314"/>
                      <a:pt x="0" y="130329"/>
                      <a:pt x="0" y="126649"/>
                    </a:cubicBezTo>
                    <a:lnTo>
                      <a:pt x="0" y="6665"/>
                    </a:lnTo>
                    <a:cubicBezTo>
                      <a:pt x="0" y="2985"/>
                      <a:pt x="2982" y="0"/>
                      <a:pt x="6665" y="0"/>
                    </a:cubicBezTo>
                    <a:lnTo>
                      <a:pt x="93320" y="0"/>
                    </a:lnTo>
                    <a:cubicBezTo>
                      <a:pt x="97003" y="0"/>
                      <a:pt x="99984" y="2985"/>
                      <a:pt x="99984" y="6665"/>
                    </a:cubicBezTo>
                    <a:lnTo>
                      <a:pt x="99984" y="126646"/>
                    </a:lnTo>
                    <a:cubicBezTo>
                      <a:pt x="99984" y="130329"/>
                      <a:pt x="97006" y="133314"/>
                      <a:pt x="93320" y="133314"/>
                    </a:cubicBezTo>
                    <a:close/>
                    <a:moveTo>
                      <a:pt x="13332" y="119981"/>
                    </a:moveTo>
                    <a:lnTo>
                      <a:pt x="86655" y="119981"/>
                    </a:lnTo>
                    <a:lnTo>
                      <a:pt x="86655" y="13329"/>
                    </a:lnTo>
                    <a:lnTo>
                      <a:pt x="13332" y="13329"/>
                    </a:lnTo>
                    <a:lnTo>
                      <a:pt x="13332" y="119981"/>
                    </a:lnTo>
                    <a:close/>
                  </a:path>
                </a:pathLst>
              </a:custGeom>
              <a:solidFill>
                <a:schemeClr val="accent1"/>
              </a:solidFill>
              <a:ln w="314" cap="flat">
                <a:noFill/>
                <a:prstDash val="solid"/>
                <a:miter/>
              </a:ln>
            </p:spPr>
            <p:txBody>
              <a:bodyPr rtlCol="0" anchor="ctr"/>
              <a:lstStyle/>
              <a:p>
                <a:endParaRPr lang="en-GB" dirty="0"/>
              </a:p>
            </p:txBody>
          </p:sp>
          <p:sp>
            <p:nvSpPr>
              <p:cNvPr id="77" name="Freihandform: Form 253">
                <a:extLst>
                  <a:ext uri="{FF2B5EF4-FFF2-40B4-BE49-F238E27FC236}">
                    <a16:creationId xmlns:a16="http://schemas.microsoft.com/office/drawing/2014/main" id="{748CABB3-A80E-438A-99A1-AE6D0E3FE482}"/>
                  </a:ext>
                </a:extLst>
              </p:cNvPr>
              <p:cNvSpPr/>
              <p:nvPr/>
            </p:nvSpPr>
            <p:spPr>
              <a:xfrm>
                <a:off x="2818017" y="1697163"/>
                <a:ext cx="186639" cy="259961"/>
              </a:xfrm>
              <a:custGeom>
                <a:avLst/>
                <a:gdLst>
                  <a:gd name="connsiteX0" fmla="*/ 179972 w 186639"/>
                  <a:gd name="connsiteY0" fmla="*/ 259962 h 259961"/>
                  <a:gd name="connsiteX1" fmla="*/ 177792 w 186639"/>
                  <a:gd name="connsiteY1" fmla="*/ 259594 h 259961"/>
                  <a:gd name="connsiteX2" fmla="*/ 4485 w 186639"/>
                  <a:gd name="connsiteY2" fmla="*/ 199603 h 259961"/>
                  <a:gd name="connsiteX3" fmla="*/ 0 w 186639"/>
                  <a:gd name="connsiteY3" fmla="*/ 193306 h 259961"/>
                  <a:gd name="connsiteX4" fmla="*/ 0 w 186639"/>
                  <a:gd name="connsiteY4" fmla="*/ 73322 h 259961"/>
                  <a:gd name="connsiteX5" fmla="*/ 4271 w 186639"/>
                  <a:gd name="connsiteY5" fmla="*/ 67098 h 259961"/>
                  <a:gd name="connsiteX6" fmla="*/ 177578 w 186639"/>
                  <a:gd name="connsiteY6" fmla="*/ 443 h 259961"/>
                  <a:gd name="connsiteX7" fmla="*/ 183749 w 186639"/>
                  <a:gd name="connsiteY7" fmla="*/ 1172 h 259961"/>
                  <a:gd name="connsiteX8" fmla="*/ 186640 w 186639"/>
                  <a:gd name="connsiteY8" fmla="*/ 6667 h 259961"/>
                  <a:gd name="connsiteX9" fmla="*/ 186640 w 186639"/>
                  <a:gd name="connsiteY9" fmla="*/ 253297 h 259961"/>
                  <a:gd name="connsiteX10" fmla="*/ 183840 w 186639"/>
                  <a:gd name="connsiteY10" fmla="*/ 258726 h 259961"/>
                  <a:gd name="connsiteX11" fmla="*/ 179972 w 186639"/>
                  <a:gd name="connsiteY11" fmla="*/ 259962 h 259961"/>
                  <a:gd name="connsiteX12" fmla="*/ 13329 w 186639"/>
                  <a:gd name="connsiteY12" fmla="*/ 188560 h 259961"/>
                  <a:gd name="connsiteX13" fmla="*/ 173304 w 186639"/>
                  <a:gd name="connsiteY13" fmla="*/ 243937 h 259961"/>
                  <a:gd name="connsiteX14" fmla="*/ 173304 w 186639"/>
                  <a:gd name="connsiteY14" fmla="*/ 16373 h 259961"/>
                  <a:gd name="connsiteX15" fmla="*/ 13329 w 186639"/>
                  <a:gd name="connsiteY15" fmla="*/ 77904 h 259961"/>
                  <a:gd name="connsiteX16" fmla="*/ 13329 w 186639"/>
                  <a:gd name="connsiteY16" fmla="*/ 188560 h 259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6639" h="259961">
                    <a:moveTo>
                      <a:pt x="179972" y="259962"/>
                    </a:moveTo>
                    <a:cubicBezTo>
                      <a:pt x="179236" y="259962"/>
                      <a:pt x="178500" y="259842"/>
                      <a:pt x="177792" y="259594"/>
                    </a:cubicBezTo>
                    <a:lnTo>
                      <a:pt x="4485" y="199603"/>
                    </a:lnTo>
                    <a:cubicBezTo>
                      <a:pt x="1802" y="198675"/>
                      <a:pt x="0" y="196146"/>
                      <a:pt x="0" y="193306"/>
                    </a:cubicBezTo>
                    <a:lnTo>
                      <a:pt x="0" y="73322"/>
                    </a:lnTo>
                    <a:cubicBezTo>
                      <a:pt x="0" y="70567"/>
                      <a:pt x="1698" y="68092"/>
                      <a:pt x="4271" y="67098"/>
                    </a:cubicBezTo>
                    <a:lnTo>
                      <a:pt x="177578" y="443"/>
                    </a:lnTo>
                    <a:cubicBezTo>
                      <a:pt x="179629" y="-341"/>
                      <a:pt x="181941" y="-76"/>
                      <a:pt x="183749" y="1172"/>
                    </a:cubicBezTo>
                    <a:cubicBezTo>
                      <a:pt x="185558" y="2415"/>
                      <a:pt x="186640" y="4468"/>
                      <a:pt x="186640" y="6667"/>
                    </a:cubicBezTo>
                    <a:lnTo>
                      <a:pt x="186640" y="253297"/>
                    </a:lnTo>
                    <a:cubicBezTo>
                      <a:pt x="186640" y="255451"/>
                      <a:pt x="185598" y="257477"/>
                      <a:pt x="183840" y="258726"/>
                    </a:cubicBezTo>
                    <a:cubicBezTo>
                      <a:pt x="182692" y="259543"/>
                      <a:pt x="181340" y="259962"/>
                      <a:pt x="179972" y="259962"/>
                    </a:cubicBezTo>
                    <a:close/>
                    <a:moveTo>
                      <a:pt x="13329" y="188560"/>
                    </a:moveTo>
                    <a:lnTo>
                      <a:pt x="173304" y="243937"/>
                    </a:lnTo>
                    <a:lnTo>
                      <a:pt x="173304" y="16373"/>
                    </a:lnTo>
                    <a:lnTo>
                      <a:pt x="13329" y="77904"/>
                    </a:lnTo>
                    <a:lnTo>
                      <a:pt x="13329" y="188560"/>
                    </a:lnTo>
                    <a:close/>
                  </a:path>
                </a:pathLst>
              </a:custGeom>
              <a:solidFill>
                <a:schemeClr val="accent1"/>
              </a:solidFill>
              <a:ln w="314" cap="flat">
                <a:noFill/>
                <a:prstDash val="solid"/>
                <a:miter/>
              </a:ln>
            </p:spPr>
            <p:txBody>
              <a:bodyPr rtlCol="0" anchor="ctr"/>
              <a:lstStyle/>
              <a:p>
                <a:endParaRPr lang="en-GB" dirty="0"/>
              </a:p>
            </p:txBody>
          </p:sp>
          <p:sp>
            <p:nvSpPr>
              <p:cNvPr id="78" name="Freihandform: Form 254">
                <a:extLst>
                  <a:ext uri="{FF2B5EF4-FFF2-40B4-BE49-F238E27FC236}">
                    <a16:creationId xmlns:a16="http://schemas.microsoft.com/office/drawing/2014/main" id="{3EFEA883-64F5-49D8-82E3-60D2F5C334B7}"/>
                  </a:ext>
                </a:extLst>
              </p:cNvPr>
              <p:cNvSpPr/>
              <p:nvPr/>
            </p:nvSpPr>
            <p:spPr>
              <a:xfrm>
                <a:off x="2750941" y="1900875"/>
                <a:ext cx="66472" cy="92494"/>
              </a:xfrm>
              <a:custGeom>
                <a:avLst/>
                <a:gdLst>
                  <a:gd name="connsiteX0" fmla="*/ 20421 w 66472"/>
                  <a:gd name="connsiteY0" fmla="*/ 92494 h 92494"/>
                  <a:gd name="connsiteX1" fmla="*/ 16593 w 66472"/>
                  <a:gd name="connsiteY1" fmla="*/ 91287 h 92494"/>
                  <a:gd name="connsiteX2" fmla="*/ 13854 w 66472"/>
                  <a:gd name="connsiteY2" fmla="*/ 86981 h 92494"/>
                  <a:gd name="connsiteX3" fmla="*/ 100 w 66472"/>
                  <a:gd name="connsiteY3" fmla="*/ 8660 h 92494"/>
                  <a:gd name="connsiteX4" fmla="*/ 5516 w 66472"/>
                  <a:gd name="connsiteY4" fmla="*/ 942 h 92494"/>
                  <a:gd name="connsiteX5" fmla="*/ 13238 w 66472"/>
                  <a:gd name="connsiteY5" fmla="*/ 6355 h 92494"/>
                  <a:gd name="connsiteX6" fmla="*/ 25834 w 66472"/>
                  <a:gd name="connsiteY6" fmla="*/ 78105 h 92494"/>
                  <a:gd name="connsiteX7" fmla="*/ 52087 w 66472"/>
                  <a:gd name="connsiteY7" fmla="*/ 73476 h 92494"/>
                  <a:gd name="connsiteX8" fmla="*/ 40512 w 66472"/>
                  <a:gd name="connsiteY8" fmla="*/ 7830 h 92494"/>
                  <a:gd name="connsiteX9" fmla="*/ 45916 w 66472"/>
                  <a:gd name="connsiteY9" fmla="*/ 105 h 92494"/>
                  <a:gd name="connsiteX10" fmla="*/ 53637 w 66472"/>
                  <a:gd name="connsiteY10" fmla="*/ 5512 h 92494"/>
                  <a:gd name="connsiteX11" fmla="*/ 66369 w 66472"/>
                  <a:gd name="connsiteY11" fmla="*/ 77722 h 92494"/>
                  <a:gd name="connsiteX12" fmla="*/ 60965 w 66472"/>
                  <a:gd name="connsiteY12" fmla="*/ 85446 h 92494"/>
                  <a:gd name="connsiteX13" fmla="*/ 21582 w 66472"/>
                  <a:gd name="connsiteY13" fmla="*/ 92391 h 92494"/>
                  <a:gd name="connsiteX14" fmla="*/ 20421 w 66472"/>
                  <a:gd name="connsiteY14" fmla="*/ 92494 h 92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472" h="92494">
                    <a:moveTo>
                      <a:pt x="20421" y="92494"/>
                    </a:moveTo>
                    <a:cubicBezTo>
                      <a:pt x="19059" y="92494"/>
                      <a:pt x="17726" y="92079"/>
                      <a:pt x="16593" y="91287"/>
                    </a:cubicBezTo>
                    <a:cubicBezTo>
                      <a:pt x="15150" y="90271"/>
                      <a:pt x="14159" y="88723"/>
                      <a:pt x="13854" y="86981"/>
                    </a:cubicBezTo>
                    <a:lnTo>
                      <a:pt x="100" y="8660"/>
                    </a:lnTo>
                    <a:cubicBezTo>
                      <a:pt x="-532" y="5034"/>
                      <a:pt x="1890" y="1581"/>
                      <a:pt x="5516" y="942"/>
                    </a:cubicBezTo>
                    <a:cubicBezTo>
                      <a:pt x="9130" y="300"/>
                      <a:pt x="12593" y="2725"/>
                      <a:pt x="13238" y="6355"/>
                    </a:cubicBezTo>
                    <a:lnTo>
                      <a:pt x="25834" y="78105"/>
                    </a:lnTo>
                    <a:lnTo>
                      <a:pt x="52087" y="73476"/>
                    </a:lnTo>
                    <a:lnTo>
                      <a:pt x="40512" y="7830"/>
                    </a:lnTo>
                    <a:cubicBezTo>
                      <a:pt x="39868" y="4204"/>
                      <a:pt x="42289" y="747"/>
                      <a:pt x="45916" y="105"/>
                    </a:cubicBezTo>
                    <a:cubicBezTo>
                      <a:pt x="49536" y="-546"/>
                      <a:pt x="52999" y="1886"/>
                      <a:pt x="53637" y="5512"/>
                    </a:cubicBezTo>
                    <a:lnTo>
                      <a:pt x="66369" y="77722"/>
                    </a:lnTo>
                    <a:cubicBezTo>
                      <a:pt x="67013" y="81348"/>
                      <a:pt x="64592" y="84804"/>
                      <a:pt x="60965" y="85446"/>
                    </a:cubicBezTo>
                    <a:lnTo>
                      <a:pt x="21582" y="92391"/>
                    </a:lnTo>
                    <a:cubicBezTo>
                      <a:pt x="21198" y="92463"/>
                      <a:pt x="20805" y="92494"/>
                      <a:pt x="20421" y="92494"/>
                    </a:cubicBezTo>
                    <a:close/>
                  </a:path>
                </a:pathLst>
              </a:custGeom>
              <a:solidFill>
                <a:schemeClr val="accent1"/>
              </a:solidFill>
              <a:ln w="314" cap="flat">
                <a:noFill/>
                <a:prstDash val="solid"/>
                <a:miter/>
              </a:ln>
            </p:spPr>
            <p:txBody>
              <a:bodyPr rtlCol="0" anchor="ctr"/>
              <a:lstStyle/>
              <a:p>
                <a:endParaRPr lang="en-GB" dirty="0"/>
              </a:p>
            </p:txBody>
          </p:sp>
        </p:grpSp>
        <p:grpSp>
          <p:nvGrpSpPr>
            <p:cNvPr id="70" name="Graphic 4">
              <a:extLst>
                <a:ext uri="{FF2B5EF4-FFF2-40B4-BE49-F238E27FC236}">
                  <a16:creationId xmlns:a16="http://schemas.microsoft.com/office/drawing/2014/main" id="{AE77E84A-1AB8-446E-9EB7-A0DBAB16EDEF}"/>
                </a:ext>
              </a:extLst>
            </p:cNvPr>
            <p:cNvGrpSpPr/>
            <p:nvPr/>
          </p:nvGrpSpPr>
          <p:grpSpPr>
            <a:xfrm>
              <a:off x="1580284" y="1585984"/>
              <a:ext cx="377017" cy="337745"/>
              <a:chOff x="2564722" y="1626758"/>
              <a:chExt cx="319950" cy="286623"/>
            </a:xfrm>
            <a:solidFill>
              <a:schemeClr val="tx2"/>
            </a:solidFill>
          </p:grpSpPr>
          <p:sp>
            <p:nvSpPr>
              <p:cNvPr id="71" name="Freihandform: Form 256">
                <a:extLst>
                  <a:ext uri="{FF2B5EF4-FFF2-40B4-BE49-F238E27FC236}">
                    <a16:creationId xmlns:a16="http://schemas.microsoft.com/office/drawing/2014/main" id="{84E72E61-359A-4363-B515-4B80055601D2}"/>
                  </a:ext>
                </a:extLst>
              </p:cNvPr>
              <p:cNvSpPr/>
              <p:nvPr/>
            </p:nvSpPr>
            <p:spPr>
              <a:xfrm>
                <a:off x="2564722" y="1626758"/>
                <a:ext cx="319950" cy="286623"/>
              </a:xfrm>
              <a:custGeom>
                <a:avLst/>
                <a:gdLst>
                  <a:gd name="connsiteX0" fmla="*/ 66655 w 319950"/>
                  <a:gd name="connsiteY0" fmla="*/ 286624 h 286623"/>
                  <a:gd name="connsiteX1" fmla="*/ 64086 w 319950"/>
                  <a:gd name="connsiteY1" fmla="*/ 286108 h 286623"/>
                  <a:gd name="connsiteX2" fmla="*/ 59991 w 319950"/>
                  <a:gd name="connsiteY2" fmla="*/ 279956 h 286623"/>
                  <a:gd name="connsiteX3" fmla="*/ 59991 w 319950"/>
                  <a:gd name="connsiteY3" fmla="*/ 219966 h 286623"/>
                  <a:gd name="connsiteX4" fmla="*/ 26661 w 319950"/>
                  <a:gd name="connsiteY4" fmla="*/ 219966 h 286623"/>
                  <a:gd name="connsiteX5" fmla="*/ 0 w 319950"/>
                  <a:gd name="connsiteY5" fmla="*/ 193304 h 286623"/>
                  <a:gd name="connsiteX6" fmla="*/ 0 w 319950"/>
                  <a:gd name="connsiteY6" fmla="*/ 26661 h 286623"/>
                  <a:gd name="connsiteX7" fmla="*/ 26661 w 319950"/>
                  <a:gd name="connsiteY7" fmla="*/ 0 h 286623"/>
                  <a:gd name="connsiteX8" fmla="*/ 293289 w 319950"/>
                  <a:gd name="connsiteY8" fmla="*/ 0 h 286623"/>
                  <a:gd name="connsiteX9" fmla="*/ 319950 w 319950"/>
                  <a:gd name="connsiteY9" fmla="*/ 26661 h 286623"/>
                  <a:gd name="connsiteX10" fmla="*/ 319950 w 319950"/>
                  <a:gd name="connsiteY10" fmla="*/ 93317 h 286623"/>
                  <a:gd name="connsiteX11" fmla="*/ 313285 w 319950"/>
                  <a:gd name="connsiteY11" fmla="*/ 99981 h 286623"/>
                  <a:gd name="connsiteX12" fmla="*/ 306621 w 319950"/>
                  <a:gd name="connsiteY12" fmla="*/ 93317 h 286623"/>
                  <a:gd name="connsiteX13" fmla="*/ 306621 w 319950"/>
                  <a:gd name="connsiteY13" fmla="*/ 26661 h 286623"/>
                  <a:gd name="connsiteX14" fmla="*/ 293289 w 319950"/>
                  <a:gd name="connsiteY14" fmla="*/ 13329 h 286623"/>
                  <a:gd name="connsiteX15" fmla="*/ 26661 w 319950"/>
                  <a:gd name="connsiteY15" fmla="*/ 13329 h 286623"/>
                  <a:gd name="connsiteX16" fmla="*/ 13329 w 319950"/>
                  <a:gd name="connsiteY16" fmla="*/ 26661 h 286623"/>
                  <a:gd name="connsiteX17" fmla="*/ 13329 w 319950"/>
                  <a:gd name="connsiteY17" fmla="*/ 193304 h 286623"/>
                  <a:gd name="connsiteX18" fmla="*/ 26661 w 319950"/>
                  <a:gd name="connsiteY18" fmla="*/ 206636 h 286623"/>
                  <a:gd name="connsiteX19" fmla="*/ 66655 w 319950"/>
                  <a:gd name="connsiteY19" fmla="*/ 206636 h 286623"/>
                  <a:gd name="connsiteX20" fmla="*/ 73320 w 319950"/>
                  <a:gd name="connsiteY20" fmla="*/ 213301 h 286623"/>
                  <a:gd name="connsiteX21" fmla="*/ 73320 w 319950"/>
                  <a:gd name="connsiteY21" fmla="*/ 264001 h 286623"/>
                  <a:gd name="connsiteX22" fmla="*/ 109181 w 319950"/>
                  <a:gd name="connsiteY22" fmla="*/ 228558 h 286623"/>
                  <a:gd name="connsiteX23" fmla="*/ 118607 w 319950"/>
                  <a:gd name="connsiteY23" fmla="*/ 228615 h 286623"/>
                  <a:gd name="connsiteX24" fmla="*/ 118553 w 319950"/>
                  <a:gd name="connsiteY24" fmla="*/ 238044 h 286623"/>
                  <a:gd name="connsiteX25" fmla="*/ 71341 w 319950"/>
                  <a:gd name="connsiteY25" fmla="*/ 284699 h 286623"/>
                  <a:gd name="connsiteX26" fmla="*/ 66655 w 319950"/>
                  <a:gd name="connsiteY26" fmla="*/ 286624 h 28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9950" h="286623">
                    <a:moveTo>
                      <a:pt x="66655" y="286624"/>
                    </a:moveTo>
                    <a:cubicBezTo>
                      <a:pt x="65790" y="286624"/>
                      <a:pt x="64916" y="286454"/>
                      <a:pt x="64086" y="286108"/>
                    </a:cubicBezTo>
                    <a:cubicBezTo>
                      <a:pt x="61604" y="285070"/>
                      <a:pt x="59991" y="282645"/>
                      <a:pt x="59991" y="279956"/>
                    </a:cubicBezTo>
                    <a:lnTo>
                      <a:pt x="59991" y="219966"/>
                    </a:lnTo>
                    <a:lnTo>
                      <a:pt x="26661" y="219966"/>
                    </a:lnTo>
                    <a:cubicBezTo>
                      <a:pt x="11958" y="219966"/>
                      <a:pt x="0" y="208005"/>
                      <a:pt x="0" y="193304"/>
                    </a:cubicBezTo>
                    <a:lnTo>
                      <a:pt x="0" y="26661"/>
                    </a:lnTo>
                    <a:cubicBezTo>
                      <a:pt x="0" y="11961"/>
                      <a:pt x="11958" y="0"/>
                      <a:pt x="26661" y="0"/>
                    </a:cubicBezTo>
                    <a:lnTo>
                      <a:pt x="293289" y="0"/>
                    </a:lnTo>
                    <a:cubicBezTo>
                      <a:pt x="307992" y="0"/>
                      <a:pt x="319950" y="11961"/>
                      <a:pt x="319950" y="26661"/>
                    </a:cubicBezTo>
                    <a:lnTo>
                      <a:pt x="319950" y="93317"/>
                    </a:lnTo>
                    <a:cubicBezTo>
                      <a:pt x="319950" y="96996"/>
                      <a:pt x="316968" y="99981"/>
                      <a:pt x="313285" y="99981"/>
                    </a:cubicBezTo>
                    <a:cubicBezTo>
                      <a:pt x="309602" y="99981"/>
                      <a:pt x="306621" y="96996"/>
                      <a:pt x="306621" y="93317"/>
                    </a:cubicBezTo>
                    <a:lnTo>
                      <a:pt x="306621" y="26661"/>
                    </a:lnTo>
                    <a:cubicBezTo>
                      <a:pt x="306621" y="19308"/>
                      <a:pt x="300639" y="13329"/>
                      <a:pt x="293289" y="13329"/>
                    </a:cubicBezTo>
                    <a:lnTo>
                      <a:pt x="26661" y="13329"/>
                    </a:lnTo>
                    <a:cubicBezTo>
                      <a:pt x="19311" y="13329"/>
                      <a:pt x="13329" y="19308"/>
                      <a:pt x="13329" y="26661"/>
                    </a:cubicBezTo>
                    <a:lnTo>
                      <a:pt x="13329" y="193304"/>
                    </a:lnTo>
                    <a:cubicBezTo>
                      <a:pt x="13329" y="200658"/>
                      <a:pt x="19311" y="206636"/>
                      <a:pt x="26661" y="206636"/>
                    </a:cubicBezTo>
                    <a:lnTo>
                      <a:pt x="66655" y="206636"/>
                    </a:lnTo>
                    <a:cubicBezTo>
                      <a:pt x="70338" y="206636"/>
                      <a:pt x="73320" y="209621"/>
                      <a:pt x="73320" y="213301"/>
                    </a:cubicBezTo>
                    <a:lnTo>
                      <a:pt x="73320" y="264001"/>
                    </a:lnTo>
                    <a:lnTo>
                      <a:pt x="109181" y="228558"/>
                    </a:lnTo>
                    <a:cubicBezTo>
                      <a:pt x="111804" y="225973"/>
                      <a:pt x="116022" y="225998"/>
                      <a:pt x="118607" y="228615"/>
                    </a:cubicBezTo>
                    <a:cubicBezTo>
                      <a:pt x="121198" y="231235"/>
                      <a:pt x="121170" y="235455"/>
                      <a:pt x="118553" y="238044"/>
                    </a:cubicBezTo>
                    <a:lnTo>
                      <a:pt x="71341" y="284699"/>
                    </a:lnTo>
                    <a:cubicBezTo>
                      <a:pt x="70068" y="285957"/>
                      <a:pt x="68372" y="286624"/>
                      <a:pt x="66655" y="286624"/>
                    </a:cubicBezTo>
                    <a:close/>
                  </a:path>
                </a:pathLst>
              </a:custGeom>
              <a:grpFill/>
              <a:ln w="314" cap="flat">
                <a:noFill/>
                <a:prstDash val="solid"/>
                <a:miter/>
              </a:ln>
            </p:spPr>
            <p:txBody>
              <a:bodyPr rtlCol="0" anchor="ctr"/>
              <a:lstStyle/>
              <a:p>
                <a:endParaRPr lang="en-GB" dirty="0"/>
              </a:p>
            </p:txBody>
          </p:sp>
          <p:sp>
            <p:nvSpPr>
              <p:cNvPr id="72" name="Freihandform: Form 257">
                <a:extLst>
                  <a:ext uri="{FF2B5EF4-FFF2-40B4-BE49-F238E27FC236}">
                    <a16:creationId xmlns:a16="http://schemas.microsoft.com/office/drawing/2014/main" id="{8527F058-AD33-4433-8703-1968EC87CB3C}"/>
                  </a:ext>
                </a:extLst>
              </p:cNvPr>
              <p:cNvSpPr/>
              <p:nvPr/>
            </p:nvSpPr>
            <p:spPr>
              <a:xfrm>
                <a:off x="2678039" y="1680084"/>
                <a:ext cx="153307" cy="13329"/>
              </a:xfrm>
              <a:custGeom>
                <a:avLst/>
                <a:gdLst>
                  <a:gd name="connsiteX0" fmla="*/ 146643 w 153307"/>
                  <a:gd name="connsiteY0" fmla="*/ 13329 h 13329"/>
                  <a:gd name="connsiteX1" fmla="*/ 6665 w 153307"/>
                  <a:gd name="connsiteY1" fmla="*/ 13329 h 13329"/>
                  <a:gd name="connsiteX2" fmla="*/ 0 w 153307"/>
                  <a:gd name="connsiteY2" fmla="*/ 6665 h 13329"/>
                  <a:gd name="connsiteX3" fmla="*/ 6665 w 153307"/>
                  <a:gd name="connsiteY3" fmla="*/ 0 h 13329"/>
                  <a:gd name="connsiteX4" fmla="*/ 146643 w 153307"/>
                  <a:gd name="connsiteY4" fmla="*/ 0 h 13329"/>
                  <a:gd name="connsiteX5" fmla="*/ 153307 w 153307"/>
                  <a:gd name="connsiteY5" fmla="*/ 6665 h 13329"/>
                  <a:gd name="connsiteX6" fmla="*/ 146643 w 153307"/>
                  <a:gd name="connsiteY6" fmla="*/ 13329 h 1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307" h="13329">
                    <a:moveTo>
                      <a:pt x="146643" y="13329"/>
                    </a:moveTo>
                    <a:lnTo>
                      <a:pt x="6665" y="13329"/>
                    </a:lnTo>
                    <a:cubicBezTo>
                      <a:pt x="2982" y="13329"/>
                      <a:pt x="0" y="10344"/>
                      <a:pt x="0" y="6665"/>
                    </a:cubicBezTo>
                    <a:cubicBezTo>
                      <a:pt x="0" y="2985"/>
                      <a:pt x="2982" y="0"/>
                      <a:pt x="6665" y="0"/>
                    </a:cubicBezTo>
                    <a:lnTo>
                      <a:pt x="146643" y="0"/>
                    </a:lnTo>
                    <a:cubicBezTo>
                      <a:pt x="150326" y="0"/>
                      <a:pt x="153307" y="2985"/>
                      <a:pt x="153307" y="6665"/>
                    </a:cubicBezTo>
                    <a:cubicBezTo>
                      <a:pt x="153307" y="10348"/>
                      <a:pt x="150329" y="13329"/>
                      <a:pt x="146643" y="13329"/>
                    </a:cubicBezTo>
                    <a:close/>
                  </a:path>
                </a:pathLst>
              </a:custGeom>
              <a:grpFill/>
              <a:ln w="314" cap="flat">
                <a:noFill/>
                <a:prstDash val="solid"/>
                <a:miter/>
              </a:ln>
            </p:spPr>
            <p:txBody>
              <a:bodyPr rtlCol="0" anchor="ctr"/>
              <a:lstStyle/>
              <a:p>
                <a:endParaRPr lang="en-GB" dirty="0"/>
              </a:p>
            </p:txBody>
          </p:sp>
          <p:sp>
            <p:nvSpPr>
              <p:cNvPr id="73" name="Freihandform: Form 258">
                <a:extLst>
                  <a:ext uri="{FF2B5EF4-FFF2-40B4-BE49-F238E27FC236}">
                    <a16:creationId xmlns:a16="http://schemas.microsoft.com/office/drawing/2014/main" id="{305E77D8-6A0C-47BC-B4F3-6C885C5B0527}"/>
                  </a:ext>
                </a:extLst>
              </p:cNvPr>
              <p:cNvSpPr/>
              <p:nvPr/>
            </p:nvSpPr>
            <p:spPr>
              <a:xfrm>
                <a:off x="2618048" y="1728969"/>
                <a:ext cx="206633" cy="13329"/>
              </a:xfrm>
              <a:custGeom>
                <a:avLst/>
                <a:gdLst>
                  <a:gd name="connsiteX0" fmla="*/ 199969 w 206633"/>
                  <a:gd name="connsiteY0" fmla="*/ 13329 h 13329"/>
                  <a:gd name="connsiteX1" fmla="*/ 6665 w 206633"/>
                  <a:gd name="connsiteY1" fmla="*/ 13329 h 13329"/>
                  <a:gd name="connsiteX2" fmla="*/ 0 w 206633"/>
                  <a:gd name="connsiteY2" fmla="*/ 6665 h 13329"/>
                  <a:gd name="connsiteX3" fmla="*/ 6665 w 206633"/>
                  <a:gd name="connsiteY3" fmla="*/ 0 h 13329"/>
                  <a:gd name="connsiteX4" fmla="*/ 199969 w 206633"/>
                  <a:gd name="connsiteY4" fmla="*/ 0 h 13329"/>
                  <a:gd name="connsiteX5" fmla="*/ 206633 w 206633"/>
                  <a:gd name="connsiteY5" fmla="*/ 6665 h 13329"/>
                  <a:gd name="connsiteX6" fmla="*/ 199969 w 206633"/>
                  <a:gd name="connsiteY6" fmla="*/ 13329 h 1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633" h="13329">
                    <a:moveTo>
                      <a:pt x="199969" y="13329"/>
                    </a:moveTo>
                    <a:lnTo>
                      <a:pt x="6665" y="13329"/>
                    </a:lnTo>
                    <a:cubicBezTo>
                      <a:pt x="2982" y="13329"/>
                      <a:pt x="0" y="10344"/>
                      <a:pt x="0" y="6665"/>
                    </a:cubicBezTo>
                    <a:cubicBezTo>
                      <a:pt x="0" y="2985"/>
                      <a:pt x="2982" y="0"/>
                      <a:pt x="6665" y="0"/>
                    </a:cubicBezTo>
                    <a:lnTo>
                      <a:pt x="199969" y="0"/>
                    </a:lnTo>
                    <a:cubicBezTo>
                      <a:pt x="203652" y="0"/>
                      <a:pt x="206633" y="2985"/>
                      <a:pt x="206633" y="6665"/>
                    </a:cubicBezTo>
                    <a:cubicBezTo>
                      <a:pt x="206633" y="10344"/>
                      <a:pt x="203652" y="13329"/>
                      <a:pt x="199969" y="13329"/>
                    </a:cubicBezTo>
                    <a:close/>
                  </a:path>
                </a:pathLst>
              </a:custGeom>
              <a:grpFill/>
              <a:ln w="314" cap="flat">
                <a:noFill/>
                <a:prstDash val="solid"/>
                <a:miter/>
              </a:ln>
            </p:spPr>
            <p:txBody>
              <a:bodyPr rtlCol="0" anchor="ctr"/>
              <a:lstStyle/>
              <a:p>
                <a:endParaRPr lang="en-GB" dirty="0"/>
              </a:p>
            </p:txBody>
          </p:sp>
          <p:sp>
            <p:nvSpPr>
              <p:cNvPr id="74" name="Freihandform: Form 259">
                <a:extLst>
                  <a:ext uri="{FF2B5EF4-FFF2-40B4-BE49-F238E27FC236}">
                    <a16:creationId xmlns:a16="http://schemas.microsoft.com/office/drawing/2014/main" id="{99FB1B00-2046-4661-B4D6-6CF22C962164}"/>
                  </a:ext>
                </a:extLst>
              </p:cNvPr>
              <p:cNvSpPr/>
              <p:nvPr/>
            </p:nvSpPr>
            <p:spPr>
              <a:xfrm>
                <a:off x="2618048" y="1777847"/>
                <a:ext cx="73319" cy="13329"/>
              </a:xfrm>
              <a:custGeom>
                <a:avLst/>
                <a:gdLst>
                  <a:gd name="connsiteX0" fmla="*/ 66655 w 73319"/>
                  <a:gd name="connsiteY0" fmla="*/ 13329 h 13329"/>
                  <a:gd name="connsiteX1" fmla="*/ 6665 w 73319"/>
                  <a:gd name="connsiteY1" fmla="*/ 13329 h 13329"/>
                  <a:gd name="connsiteX2" fmla="*/ 0 w 73319"/>
                  <a:gd name="connsiteY2" fmla="*/ 6665 h 13329"/>
                  <a:gd name="connsiteX3" fmla="*/ 6665 w 73319"/>
                  <a:gd name="connsiteY3" fmla="*/ 0 h 13329"/>
                  <a:gd name="connsiteX4" fmla="*/ 66655 w 73319"/>
                  <a:gd name="connsiteY4" fmla="*/ 0 h 13329"/>
                  <a:gd name="connsiteX5" fmla="*/ 73320 w 73319"/>
                  <a:gd name="connsiteY5" fmla="*/ 6665 h 13329"/>
                  <a:gd name="connsiteX6" fmla="*/ 66655 w 73319"/>
                  <a:gd name="connsiteY6" fmla="*/ 13329 h 13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319" h="13329">
                    <a:moveTo>
                      <a:pt x="66655" y="13329"/>
                    </a:moveTo>
                    <a:lnTo>
                      <a:pt x="6665" y="13329"/>
                    </a:lnTo>
                    <a:cubicBezTo>
                      <a:pt x="2982" y="13329"/>
                      <a:pt x="0" y="10344"/>
                      <a:pt x="0" y="6665"/>
                    </a:cubicBezTo>
                    <a:cubicBezTo>
                      <a:pt x="0" y="2985"/>
                      <a:pt x="2982" y="0"/>
                      <a:pt x="6665" y="0"/>
                    </a:cubicBezTo>
                    <a:lnTo>
                      <a:pt x="66655" y="0"/>
                    </a:lnTo>
                    <a:cubicBezTo>
                      <a:pt x="70338" y="0"/>
                      <a:pt x="73320" y="2985"/>
                      <a:pt x="73320" y="6665"/>
                    </a:cubicBezTo>
                    <a:cubicBezTo>
                      <a:pt x="73320" y="10344"/>
                      <a:pt x="70338" y="13329"/>
                      <a:pt x="66655" y="13329"/>
                    </a:cubicBezTo>
                    <a:close/>
                  </a:path>
                </a:pathLst>
              </a:custGeom>
              <a:grpFill/>
              <a:ln w="314" cap="flat">
                <a:noFill/>
                <a:prstDash val="solid"/>
                <a:miter/>
              </a:ln>
            </p:spPr>
            <p:txBody>
              <a:bodyPr rtlCol="0" anchor="ctr"/>
              <a:lstStyle/>
              <a:p>
                <a:endParaRPr lang="en-GB" dirty="0"/>
              </a:p>
            </p:txBody>
          </p:sp>
        </p:grpSp>
      </p:grpSp>
      <p:grpSp>
        <p:nvGrpSpPr>
          <p:cNvPr id="41" name="Group 40">
            <a:extLst>
              <a:ext uri="{FF2B5EF4-FFF2-40B4-BE49-F238E27FC236}">
                <a16:creationId xmlns:a16="http://schemas.microsoft.com/office/drawing/2014/main" id="{8BFC1887-4AEE-4EF7-B402-2DCD2D94CC99}"/>
              </a:ext>
            </a:extLst>
          </p:cNvPr>
          <p:cNvGrpSpPr/>
          <p:nvPr/>
        </p:nvGrpSpPr>
        <p:grpSpPr>
          <a:xfrm>
            <a:off x="2614918" y="1593346"/>
            <a:ext cx="540000" cy="417277"/>
            <a:chOff x="2614918" y="1593346"/>
            <a:chExt cx="540000" cy="417277"/>
          </a:xfrm>
        </p:grpSpPr>
        <p:grpSp>
          <p:nvGrpSpPr>
            <p:cNvPr id="80" name="Gruppieren 917">
              <a:extLst>
                <a:ext uri="{FF2B5EF4-FFF2-40B4-BE49-F238E27FC236}">
                  <a16:creationId xmlns:a16="http://schemas.microsoft.com/office/drawing/2014/main" id="{8F148EA1-D8AF-46AD-8EA5-96058C5BCF29}"/>
                </a:ext>
              </a:extLst>
            </p:cNvPr>
            <p:cNvGrpSpPr/>
            <p:nvPr/>
          </p:nvGrpSpPr>
          <p:grpSpPr>
            <a:xfrm>
              <a:off x="2614918" y="1593346"/>
              <a:ext cx="540000" cy="417277"/>
              <a:chOff x="2564722" y="2546620"/>
              <a:chExt cx="439931" cy="339950"/>
            </a:xfrm>
          </p:grpSpPr>
          <p:sp>
            <p:nvSpPr>
              <p:cNvPr id="86" name="Freihandform: Form 321">
                <a:extLst>
                  <a:ext uri="{FF2B5EF4-FFF2-40B4-BE49-F238E27FC236}">
                    <a16:creationId xmlns:a16="http://schemas.microsoft.com/office/drawing/2014/main" id="{5B441559-4F1C-4914-9055-DA1857267307}"/>
                  </a:ext>
                </a:extLst>
              </p:cNvPr>
              <p:cNvSpPr/>
              <p:nvPr/>
            </p:nvSpPr>
            <p:spPr>
              <a:xfrm>
                <a:off x="2564722" y="2546620"/>
                <a:ext cx="439931" cy="339950"/>
              </a:xfrm>
              <a:custGeom>
                <a:avLst/>
                <a:gdLst>
                  <a:gd name="connsiteX0" fmla="*/ 219966 w 439931"/>
                  <a:gd name="connsiteY0" fmla="*/ 339950 h 339950"/>
                  <a:gd name="connsiteX1" fmla="*/ 214112 w 439931"/>
                  <a:gd name="connsiteY1" fmla="*/ 336478 h 339950"/>
                  <a:gd name="connsiteX2" fmla="*/ 176012 w 439931"/>
                  <a:gd name="connsiteY2" fmla="*/ 266627 h 339950"/>
                  <a:gd name="connsiteX3" fmla="*/ 19997 w 439931"/>
                  <a:gd name="connsiteY3" fmla="*/ 266627 h 339950"/>
                  <a:gd name="connsiteX4" fmla="*/ 0 w 439931"/>
                  <a:gd name="connsiteY4" fmla="*/ 246630 h 339950"/>
                  <a:gd name="connsiteX5" fmla="*/ 0 w 439931"/>
                  <a:gd name="connsiteY5" fmla="*/ 19997 h 339950"/>
                  <a:gd name="connsiteX6" fmla="*/ 19997 w 439931"/>
                  <a:gd name="connsiteY6" fmla="*/ 0 h 339950"/>
                  <a:gd name="connsiteX7" fmla="*/ 419934 w 439931"/>
                  <a:gd name="connsiteY7" fmla="*/ 0 h 339950"/>
                  <a:gd name="connsiteX8" fmla="*/ 439931 w 439931"/>
                  <a:gd name="connsiteY8" fmla="*/ 19997 h 339950"/>
                  <a:gd name="connsiteX9" fmla="*/ 439931 w 439931"/>
                  <a:gd name="connsiteY9" fmla="*/ 246630 h 339950"/>
                  <a:gd name="connsiteX10" fmla="*/ 419934 w 439931"/>
                  <a:gd name="connsiteY10" fmla="*/ 266627 h 339950"/>
                  <a:gd name="connsiteX11" fmla="*/ 263916 w 439931"/>
                  <a:gd name="connsiteY11" fmla="*/ 266627 h 339950"/>
                  <a:gd name="connsiteX12" fmla="*/ 225816 w 439931"/>
                  <a:gd name="connsiteY12" fmla="*/ 336478 h 339950"/>
                  <a:gd name="connsiteX13" fmla="*/ 219966 w 439931"/>
                  <a:gd name="connsiteY13" fmla="*/ 339950 h 339950"/>
                  <a:gd name="connsiteX14" fmla="*/ 19997 w 439931"/>
                  <a:gd name="connsiteY14" fmla="*/ 13332 h 339950"/>
                  <a:gd name="connsiteX15" fmla="*/ 13332 w 439931"/>
                  <a:gd name="connsiteY15" fmla="*/ 19997 h 339950"/>
                  <a:gd name="connsiteX16" fmla="*/ 13332 w 439931"/>
                  <a:gd name="connsiteY16" fmla="*/ 246630 h 339950"/>
                  <a:gd name="connsiteX17" fmla="*/ 19997 w 439931"/>
                  <a:gd name="connsiteY17" fmla="*/ 253295 h 339950"/>
                  <a:gd name="connsiteX18" fmla="*/ 179972 w 439931"/>
                  <a:gd name="connsiteY18" fmla="*/ 253295 h 339950"/>
                  <a:gd name="connsiteX19" fmla="*/ 185825 w 439931"/>
                  <a:gd name="connsiteY19" fmla="*/ 256767 h 339950"/>
                  <a:gd name="connsiteX20" fmla="*/ 219966 w 439931"/>
                  <a:gd name="connsiteY20" fmla="*/ 319362 h 339950"/>
                  <a:gd name="connsiteX21" fmla="*/ 254106 w 439931"/>
                  <a:gd name="connsiteY21" fmla="*/ 256767 h 339950"/>
                  <a:gd name="connsiteX22" fmla="*/ 259959 w 439931"/>
                  <a:gd name="connsiteY22" fmla="*/ 253295 h 339950"/>
                  <a:gd name="connsiteX23" fmla="*/ 419934 w 439931"/>
                  <a:gd name="connsiteY23" fmla="*/ 253295 h 339950"/>
                  <a:gd name="connsiteX24" fmla="*/ 426599 w 439931"/>
                  <a:gd name="connsiteY24" fmla="*/ 246630 h 339950"/>
                  <a:gd name="connsiteX25" fmla="*/ 426599 w 439931"/>
                  <a:gd name="connsiteY25" fmla="*/ 19997 h 339950"/>
                  <a:gd name="connsiteX26" fmla="*/ 419934 w 439931"/>
                  <a:gd name="connsiteY26" fmla="*/ 13332 h 339950"/>
                  <a:gd name="connsiteX27" fmla="*/ 19997 w 439931"/>
                  <a:gd name="connsiteY27" fmla="*/ 13332 h 339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9931" h="339950">
                    <a:moveTo>
                      <a:pt x="219966" y="339950"/>
                    </a:moveTo>
                    <a:cubicBezTo>
                      <a:pt x="217525" y="339950"/>
                      <a:pt x="215279" y="338620"/>
                      <a:pt x="214112" y="336478"/>
                    </a:cubicBezTo>
                    <a:lnTo>
                      <a:pt x="176012" y="266627"/>
                    </a:lnTo>
                    <a:lnTo>
                      <a:pt x="19997" y="266627"/>
                    </a:lnTo>
                    <a:cubicBezTo>
                      <a:pt x="8970" y="266627"/>
                      <a:pt x="0" y="257657"/>
                      <a:pt x="0" y="246630"/>
                    </a:cubicBezTo>
                    <a:lnTo>
                      <a:pt x="0" y="19997"/>
                    </a:lnTo>
                    <a:cubicBezTo>
                      <a:pt x="0" y="8970"/>
                      <a:pt x="8970" y="0"/>
                      <a:pt x="19997" y="0"/>
                    </a:cubicBezTo>
                    <a:lnTo>
                      <a:pt x="419934" y="0"/>
                    </a:lnTo>
                    <a:cubicBezTo>
                      <a:pt x="430961" y="0"/>
                      <a:pt x="439931" y="8970"/>
                      <a:pt x="439931" y="19997"/>
                    </a:cubicBezTo>
                    <a:lnTo>
                      <a:pt x="439931" y="246630"/>
                    </a:lnTo>
                    <a:cubicBezTo>
                      <a:pt x="439931" y="257657"/>
                      <a:pt x="430961" y="266627"/>
                      <a:pt x="419934" y="266627"/>
                    </a:cubicBezTo>
                    <a:lnTo>
                      <a:pt x="263916" y="266627"/>
                    </a:lnTo>
                    <a:lnTo>
                      <a:pt x="225816" y="336478"/>
                    </a:lnTo>
                    <a:cubicBezTo>
                      <a:pt x="224652" y="338616"/>
                      <a:pt x="222406" y="339950"/>
                      <a:pt x="219966" y="339950"/>
                    </a:cubicBezTo>
                    <a:close/>
                    <a:moveTo>
                      <a:pt x="19997" y="13332"/>
                    </a:moveTo>
                    <a:cubicBezTo>
                      <a:pt x="16320" y="13332"/>
                      <a:pt x="13332" y="16323"/>
                      <a:pt x="13332" y="19997"/>
                    </a:cubicBezTo>
                    <a:lnTo>
                      <a:pt x="13332" y="246630"/>
                    </a:lnTo>
                    <a:cubicBezTo>
                      <a:pt x="13332" y="250304"/>
                      <a:pt x="16320" y="253295"/>
                      <a:pt x="19997" y="253295"/>
                    </a:cubicBezTo>
                    <a:lnTo>
                      <a:pt x="179972" y="253295"/>
                    </a:lnTo>
                    <a:cubicBezTo>
                      <a:pt x="182412" y="253295"/>
                      <a:pt x="184658" y="254625"/>
                      <a:pt x="185825" y="256767"/>
                    </a:cubicBezTo>
                    <a:lnTo>
                      <a:pt x="219966" y="319362"/>
                    </a:lnTo>
                    <a:lnTo>
                      <a:pt x="254106" y="256767"/>
                    </a:lnTo>
                    <a:cubicBezTo>
                      <a:pt x="255273" y="254625"/>
                      <a:pt x="257519" y="253295"/>
                      <a:pt x="259959" y="253295"/>
                    </a:cubicBezTo>
                    <a:lnTo>
                      <a:pt x="419934" y="253295"/>
                    </a:lnTo>
                    <a:cubicBezTo>
                      <a:pt x="423611" y="253295"/>
                      <a:pt x="426599" y="250304"/>
                      <a:pt x="426599" y="246630"/>
                    </a:cubicBezTo>
                    <a:lnTo>
                      <a:pt x="426599" y="19997"/>
                    </a:lnTo>
                    <a:cubicBezTo>
                      <a:pt x="426599" y="16323"/>
                      <a:pt x="423611" y="13332"/>
                      <a:pt x="419934" y="13332"/>
                    </a:cubicBezTo>
                    <a:lnTo>
                      <a:pt x="19997" y="13332"/>
                    </a:lnTo>
                    <a:close/>
                  </a:path>
                </a:pathLst>
              </a:custGeom>
              <a:solidFill>
                <a:schemeClr val="tx2"/>
              </a:solidFill>
              <a:ln w="314" cap="flat">
                <a:noFill/>
                <a:prstDash val="solid"/>
                <a:miter/>
              </a:ln>
            </p:spPr>
            <p:txBody>
              <a:bodyPr rtlCol="0" anchor="ctr"/>
              <a:lstStyle/>
              <a:p>
                <a:endParaRPr lang="en-GB" dirty="0"/>
              </a:p>
            </p:txBody>
          </p:sp>
          <p:sp>
            <p:nvSpPr>
              <p:cNvPr id="87" name="Freihandform: Form 322">
                <a:extLst>
                  <a:ext uri="{FF2B5EF4-FFF2-40B4-BE49-F238E27FC236}">
                    <a16:creationId xmlns:a16="http://schemas.microsoft.com/office/drawing/2014/main" id="{7866E19F-C33A-4606-A8FC-180A02B41EFD}"/>
                  </a:ext>
                </a:extLst>
              </p:cNvPr>
              <p:cNvSpPr/>
              <p:nvPr/>
            </p:nvSpPr>
            <p:spPr>
              <a:xfrm>
                <a:off x="2818017" y="2713263"/>
                <a:ext cx="53322" cy="53322"/>
              </a:xfrm>
              <a:custGeom>
                <a:avLst/>
                <a:gdLst>
                  <a:gd name="connsiteX0" fmla="*/ 46658 w 53322"/>
                  <a:gd name="connsiteY0" fmla="*/ 53323 h 53322"/>
                  <a:gd name="connsiteX1" fmla="*/ 6665 w 53322"/>
                  <a:gd name="connsiteY1" fmla="*/ 53323 h 53322"/>
                  <a:gd name="connsiteX2" fmla="*/ 0 w 53322"/>
                  <a:gd name="connsiteY2" fmla="*/ 46658 h 53322"/>
                  <a:gd name="connsiteX3" fmla="*/ 0 w 53322"/>
                  <a:gd name="connsiteY3" fmla="*/ 6665 h 53322"/>
                  <a:gd name="connsiteX4" fmla="*/ 6665 w 53322"/>
                  <a:gd name="connsiteY4" fmla="*/ 0 h 53322"/>
                  <a:gd name="connsiteX5" fmla="*/ 46658 w 53322"/>
                  <a:gd name="connsiteY5" fmla="*/ 0 h 53322"/>
                  <a:gd name="connsiteX6" fmla="*/ 53323 w 53322"/>
                  <a:gd name="connsiteY6" fmla="*/ 6665 h 53322"/>
                  <a:gd name="connsiteX7" fmla="*/ 53323 w 53322"/>
                  <a:gd name="connsiteY7" fmla="*/ 46658 h 53322"/>
                  <a:gd name="connsiteX8" fmla="*/ 46658 w 53322"/>
                  <a:gd name="connsiteY8" fmla="*/ 53323 h 53322"/>
                  <a:gd name="connsiteX9" fmla="*/ 13329 w 53322"/>
                  <a:gd name="connsiteY9" fmla="*/ 39994 h 53322"/>
                  <a:gd name="connsiteX10" fmla="*/ 39991 w 53322"/>
                  <a:gd name="connsiteY10" fmla="*/ 39994 h 53322"/>
                  <a:gd name="connsiteX11" fmla="*/ 39991 w 53322"/>
                  <a:gd name="connsiteY11" fmla="*/ 13332 h 53322"/>
                  <a:gd name="connsiteX12" fmla="*/ 13329 w 53322"/>
                  <a:gd name="connsiteY12" fmla="*/ 13332 h 53322"/>
                  <a:gd name="connsiteX13" fmla="*/ 13329 w 53322"/>
                  <a:gd name="connsiteY13" fmla="*/ 39994 h 5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322" h="53322">
                    <a:moveTo>
                      <a:pt x="46658" y="53323"/>
                    </a:moveTo>
                    <a:lnTo>
                      <a:pt x="6665" y="53323"/>
                    </a:lnTo>
                    <a:cubicBezTo>
                      <a:pt x="2982" y="53323"/>
                      <a:pt x="0" y="50338"/>
                      <a:pt x="0" y="46658"/>
                    </a:cubicBezTo>
                    <a:lnTo>
                      <a:pt x="0" y="6665"/>
                    </a:lnTo>
                    <a:cubicBezTo>
                      <a:pt x="0" y="2985"/>
                      <a:pt x="2982" y="0"/>
                      <a:pt x="6665" y="0"/>
                    </a:cubicBezTo>
                    <a:lnTo>
                      <a:pt x="46658" y="0"/>
                    </a:lnTo>
                    <a:cubicBezTo>
                      <a:pt x="50341" y="0"/>
                      <a:pt x="53323" y="2985"/>
                      <a:pt x="53323" y="6665"/>
                    </a:cubicBezTo>
                    <a:lnTo>
                      <a:pt x="53323" y="46658"/>
                    </a:lnTo>
                    <a:cubicBezTo>
                      <a:pt x="53326" y="50338"/>
                      <a:pt x="50344" y="53323"/>
                      <a:pt x="46658" y="53323"/>
                    </a:cubicBezTo>
                    <a:close/>
                    <a:moveTo>
                      <a:pt x="13329" y="39994"/>
                    </a:moveTo>
                    <a:lnTo>
                      <a:pt x="39991" y="39994"/>
                    </a:lnTo>
                    <a:lnTo>
                      <a:pt x="39991" y="13332"/>
                    </a:lnTo>
                    <a:lnTo>
                      <a:pt x="13329" y="13332"/>
                    </a:lnTo>
                    <a:lnTo>
                      <a:pt x="13329" y="39994"/>
                    </a:lnTo>
                    <a:close/>
                  </a:path>
                </a:pathLst>
              </a:custGeom>
              <a:solidFill>
                <a:schemeClr val="tx2"/>
              </a:solidFill>
              <a:ln w="314" cap="flat">
                <a:noFill/>
                <a:prstDash val="solid"/>
                <a:miter/>
              </a:ln>
            </p:spPr>
            <p:txBody>
              <a:bodyPr rtlCol="0" anchor="ctr"/>
              <a:lstStyle/>
              <a:p>
                <a:endParaRPr lang="en-GB" dirty="0"/>
              </a:p>
            </p:txBody>
          </p:sp>
          <p:sp>
            <p:nvSpPr>
              <p:cNvPr id="88" name="Freihandform: Form 323">
                <a:extLst>
                  <a:ext uri="{FF2B5EF4-FFF2-40B4-BE49-F238E27FC236}">
                    <a16:creationId xmlns:a16="http://schemas.microsoft.com/office/drawing/2014/main" id="{0DC954C3-42F8-4248-9DB2-437DBC30273F}"/>
                  </a:ext>
                </a:extLst>
              </p:cNvPr>
              <p:cNvSpPr/>
              <p:nvPr/>
            </p:nvSpPr>
            <p:spPr>
              <a:xfrm>
                <a:off x="2904672" y="2666601"/>
                <a:ext cx="53322" cy="99984"/>
              </a:xfrm>
              <a:custGeom>
                <a:avLst/>
                <a:gdLst>
                  <a:gd name="connsiteX0" fmla="*/ 46658 w 53322"/>
                  <a:gd name="connsiteY0" fmla="*/ 99984 h 99984"/>
                  <a:gd name="connsiteX1" fmla="*/ 6665 w 53322"/>
                  <a:gd name="connsiteY1" fmla="*/ 99984 h 99984"/>
                  <a:gd name="connsiteX2" fmla="*/ 0 w 53322"/>
                  <a:gd name="connsiteY2" fmla="*/ 93320 h 99984"/>
                  <a:gd name="connsiteX3" fmla="*/ 0 w 53322"/>
                  <a:gd name="connsiteY3" fmla="*/ 6665 h 99984"/>
                  <a:gd name="connsiteX4" fmla="*/ 6665 w 53322"/>
                  <a:gd name="connsiteY4" fmla="*/ 0 h 99984"/>
                  <a:gd name="connsiteX5" fmla="*/ 46658 w 53322"/>
                  <a:gd name="connsiteY5" fmla="*/ 0 h 99984"/>
                  <a:gd name="connsiteX6" fmla="*/ 53323 w 53322"/>
                  <a:gd name="connsiteY6" fmla="*/ 6665 h 99984"/>
                  <a:gd name="connsiteX7" fmla="*/ 53323 w 53322"/>
                  <a:gd name="connsiteY7" fmla="*/ 93320 h 99984"/>
                  <a:gd name="connsiteX8" fmla="*/ 46658 w 53322"/>
                  <a:gd name="connsiteY8" fmla="*/ 99984 h 99984"/>
                  <a:gd name="connsiteX9" fmla="*/ 13329 w 53322"/>
                  <a:gd name="connsiteY9" fmla="*/ 86655 h 99984"/>
                  <a:gd name="connsiteX10" fmla="*/ 39991 w 53322"/>
                  <a:gd name="connsiteY10" fmla="*/ 86655 h 99984"/>
                  <a:gd name="connsiteX11" fmla="*/ 39991 w 53322"/>
                  <a:gd name="connsiteY11" fmla="*/ 13332 h 99984"/>
                  <a:gd name="connsiteX12" fmla="*/ 13329 w 53322"/>
                  <a:gd name="connsiteY12" fmla="*/ 13332 h 99984"/>
                  <a:gd name="connsiteX13" fmla="*/ 13329 w 53322"/>
                  <a:gd name="connsiteY13" fmla="*/ 86655 h 99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322" h="99984">
                    <a:moveTo>
                      <a:pt x="46658" y="99984"/>
                    </a:moveTo>
                    <a:lnTo>
                      <a:pt x="6665" y="99984"/>
                    </a:lnTo>
                    <a:cubicBezTo>
                      <a:pt x="2982" y="99984"/>
                      <a:pt x="0" y="97000"/>
                      <a:pt x="0" y="93320"/>
                    </a:cubicBezTo>
                    <a:lnTo>
                      <a:pt x="0" y="6665"/>
                    </a:lnTo>
                    <a:cubicBezTo>
                      <a:pt x="0" y="2985"/>
                      <a:pt x="2982" y="0"/>
                      <a:pt x="6665" y="0"/>
                    </a:cubicBezTo>
                    <a:lnTo>
                      <a:pt x="46658" y="0"/>
                    </a:lnTo>
                    <a:cubicBezTo>
                      <a:pt x="50341" y="0"/>
                      <a:pt x="53323" y="2985"/>
                      <a:pt x="53323" y="6665"/>
                    </a:cubicBezTo>
                    <a:lnTo>
                      <a:pt x="53323" y="93320"/>
                    </a:lnTo>
                    <a:cubicBezTo>
                      <a:pt x="53323" y="97000"/>
                      <a:pt x="50341" y="99984"/>
                      <a:pt x="46658" y="99984"/>
                    </a:cubicBezTo>
                    <a:close/>
                    <a:moveTo>
                      <a:pt x="13329" y="86655"/>
                    </a:moveTo>
                    <a:lnTo>
                      <a:pt x="39991" y="86655"/>
                    </a:lnTo>
                    <a:lnTo>
                      <a:pt x="39991" y="13332"/>
                    </a:lnTo>
                    <a:lnTo>
                      <a:pt x="13329" y="13332"/>
                    </a:lnTo>
                    <a:lnTo>
                      <a:pt x="13329" y="86655"/>
                    </a:lnTo>
                    <a:close/>
                  </a:path>
                </a:pathLst>
              </a:custGeom>
              <a:solidFill>
                <a:schemeClr val="tx2"/>
              </a:solidFill>
              <a:ln w="314" cap="flat">
                <a:noFill/>
                <a:prstDash val="solid"/>
                <a:miter/>
              </a:ln>
            </p:spPr>
            <p:txBody>
              <a:bodyPr rtlCol="0" anchor="ctr"/>
              <a:lstStyle/>
              <a:p>
                <a:endParaRPr lang="en-GB" dirty="0"/>
              </a:p>
            </p:txBody>
          </p:sp>
        </p:grpSp>
        <p:grpSp>
          <p:nvGrpSpPr>
            <p:cNvPr id="81" name="Gruppieren 918">
              <a:extLst>
                <a:ext uri="{FF2B5EF4-FFF2-40B4-BE49-F238E27FC236}">
                  <a16:creationId xmlns:a16="http://schemas.microsoft.com/office/drawing/2014/main" id="{210C5664-85A2-4A07-BF3E-F8A99D527B77}"/>
                </a:ext>
              </a:extLst>
            </p:cNvPr>
            <p:cNvGrpSpPr/>
            <p:nvPr/>
          </p:nvGrpSpPr>
          <p:grpSpPr>
            <a:xfrm>
              <a:off x="2672193" y="1642438"/>
              <a:ext cx="433638" cy="220907"/>
              <a:chOff x="2611383" y="2586615"/>
              <a:chExt cx="353279" cy="179970"/>
            </a:xfrm>
            <a:solidFill>
              <a:schemeClr val="accent1"/>
            </a:solidFill>
          </p:grpSpPr>
          <p:grpSp>
            <p:nvGrpSpPr>
              <p:cNvPr id="82" name="Graphic 4">
                <a:extLst>
                  <a:ext uri="{FF2B5EF4-FFF2-40B4-BE49-F238E27FC236}">
                    <a16:creationId xmlns:a16="http://schemas.microsoft.com/office/drawing/2014/main" id="{8D3B28B7-2921-4045-858F-82FA4F72496B}"/>
                  </a:ext>
                </a:extLst>
              </p:cNvPr>
              <p:cNvGrpSpPr/>
              <p:nvPr/>
            </p:nvGrpSpPr>
            <p:grpSpPr>
              <a:xfrm>
                <a:off x="2611383" y="2593281"/>
                <a:ext cx="173307" cy="173304"/>
                <a:chOff x="2611383" y="2593281"/>
                <a:chExt cx="173307" cy="173304"/>
              </a:xfrm>
              <a:solidFill>
                <a:schemeClr val="accent1"/>
              </a:solidFill>
            </p:grpSpPr>
            <p:sp>
              <p:nvSpPr>
                <p:cNvPr id="84" name="Freihandform: Form 319">
                  <a:extLst>
                    <a:ext uri="{FF2B5EF4-FFF2-40B4-BE49-F238E27FC236}">
                      <a16:creationId xmlns:a16="http://schemas.microsoft.com/office/drawing/2014/main" id="{66BFB6BF-A297-46D7-B49D-AE2E5D0FACFF}"/>
                    </a:ext>
                  </a:extLst>
                </p:cNvPr>
                <p:cNvSpPr/>
                <p:nvPr/>
              </p:nvSpPr>
              <p:spPr>
                <a:xfrm>
                  <a:off x="2611383" y="2691266"/>
                  <a:ext cx="173307" cy="75320"/>
                </a:xfrm>
                <a:custGeom>
                  <a:avLst/>
                  <a:gdLst>
                    <a:gd name="connsiteX0" fmla="*/ 166640 w 173307"/>
                    <a:gd name="connsiteY0" fmla="*/ 75320 h 75320"/>
                    <a:gd name="connsiteX1" fmla="*/ 6665 w 173307"/>
                    <a:gd name="connsiteY1" fmla="*/ 75320 h 75320"/>
                    <a:gd name="connsiteX2" fmla="*/ 0 w 173307"/>
                    <a:gd name="connsiteY2" fmla="*/ 68655 h 75320"/>
                    <a:gd name="connsiteX3" fmla="*/ 63214 w 173307"/>
                    <a:gd name="connsiteY3" fmla="*/ 0 h 75320"/>
                    <a:gd name="connsiteX4" fmla="*/ 106762 w 173307"/>
                    <a:gd name="connsiteY4" fmla="*/ 0 h 75320"/>
                    <a:gd name="connsiteX5" fmla="*/ 173307 w 173307"/>
                    <a:gd name="connsiteY5" fmla="*/ 68655 h 75320"/>
                    <a:gd name="connsiteX6" fmla="*/ 166640 w 173307"/>
                    <a:gd name="connsiteY6" fmla="*/ 75320 h 75320"/>
                    <a:gd name="connsiteX7" fmla="*/ 13581 w 173307"/>
                    <a:gd name="connsiteY7" fmla="*/ 61991 h 75320"/>
                    <a:gd name="connsiteX8" fmla="*/ 159673 w 173307"/>
                    <a:gd name="connsiteY8" fmla="*/ 61991 h 75320"/>
                    <a:gd name="connsiteX9" fmla="*/ 106759 w 173307"/>
                    <a:gd name="connsiteY9" fmla="*/ 13332 h 75320"/>
                    <a:gd name="connsiteX10" fmla="*/ 63211 w 173307"/>
                    <a:gd name="connsiteY10" fmla="*/ 13332 h 75320"/>
                    <a:gd name="connsiteX11" fmla="*/ 13581 w 173307"/>
                    <a:gd name="connsiteY11" fmla="*/ 61991 h 75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307" h="75320">
                      <a:moveTo>
                        <a:pt x="166640" y="75320"/>
                      </a:moveTo>
                      <a:lnTo>
                        <a:pt x="6665" y="75320"/>
                      </a:lnTo>
                      <a:cubicBezTo>
                        <a:pt x="2982" y="75320"/>
                        <a:pt x="0" y="72335"/>
                        <a:pt x="0" y="68655"/>
                      </a:cubicBezTo>
                      <a:cubicBezTo>
                        <a:pt x="0" y="27589"/>
                        <a:pt x="25407" y="0"/>
                        <a:pt x="63214" y="0"/>
                      </a:cubicBezTo>
                      <a:lnTo>
                        <a:pt x="106762" y="0"/>
                      </a:lnTo>
                      <a:cubicBezTo>
                        <a:pt x="145941" y="0"/>
                        <a:pt x="173307" y="28231"/>
                        <a:pt x="173307" y="68655"/>
                      </a:cubicBezTo>
                      <a:cubicBezTo>
                        <a:pt x="173304" y="72335"/>
                        <a:pt x="170323" y="75320"/>
                        <a:pt x="166640" y="75320"/>
                      </a:cubicBezTo>
                      <a:close/>
                      <a:moveTo>
                        <a:pt x="13581" y="61991"/>
                      </a:moveTo>
                      <a:lnTo>
                        <a:pt x="159673" y="61991"/>
                      </a:lnTo>
                      <a:cubicBezTo>
                        <a:pt x="156984" y="32615"/>
                        <a:pt x="136402" y="13332"/>
                        <a:pt x="106759" y="13332"/>
                      </a:cubicBezTo>
                      <a:lnTo>
                        <a:pt x="63211" y="13332"/>
                      </a:lnTo>
                      <a:cubicBezTo>
                        <a:pt x="34496" y="13332"/>
                        <a:pt x="15933" y="31791"/>
                        <a:pt x="13581" y="61991"/>
                      </a:cubicBezTo>
                      <a:close/>
                    </a:path>
                  </a:pathLst>
                </a:custGeom>
                <a:solidFill>
                  <a:schemeClr val="accent1"/>
                </a:solidFill>
                <a:ln w="314" cap="flat">
                  <a:noFill/>
                  <a:prstDash val="solid"/>
                  <a:miter/>
                </a:ln>
              </p:spPr>
              <p:txBody>
                <a:bodyPr rtlCol="0" anchor="ctr"/>
                <a:lstStyle/>
                <a:p>
                  <a:endParaRPr lang="en-GB" dirty="0"/>
                </a:p>
              </p:txBody>
            </p:sp>
            <p:sp>
              <p:nvSpPr>
                <p:cNvPr id="85" name="Freihandform: Form 320">
                  <a:extLst>
                    <a:ext uri="{FF2B5EF4-FFF2-40B4-BE49-F238E27FC236}">
                      <a16:creationId xmlns:a16="http://schemas.microsoft.com/office/drawing/2014/main" id="{B1CEA116-1C33-437F-B2AE-D2105852ED66}"/>
                    </a:ext>
                  </a:extLst>
                </p:cNvPr>
                <p:cNvSpPr/>
                <p:nvPr/>
              </p:nvSpPr>
              <p:spPr>
                <a:xfrm>
                  <a:off x="2657039" y="2593281"/>
                  <a:ext cx="78660" cy="89539"/>
                </a:xfrm>
                <a:custGeom>
                  <a:avLst/>
                  <a:gdLst>
                    <a:gd name="connsiteX0" fmla="*/ 39330 w 78660"/>
                    <a:gd name="connsiteY0" fmla="*/ 89539 h 89539"/>
                    <a:gd name="connsiteX1" fmla="*/ 0 w 78660"/>
                    <a:gd name="connsiteY1" fmla="*/ 44771 h 89539"/>
                    <a:gd name="connsiteX2" fmla="*/ 39330 w 78660"/>
                    <a:gd name="connsiteY2" fmla="*/ 0 h 89539"/>
                    <a:gd name="connsiteX3" fmla="*/ 78660 w 78660"/>
                    <a:gd name="connsiteY3" fmla="*/ 44771 h 89539"/>
                    <a:gd name="connsiteX4" fmla="*/ 39330 w 78660"/>
                    <a:gd name="connsiteY4" fmla="*/ 89539 h 89539"/>
                    <a:gd name="connsiteX5" fmla="*/ 39330 w 78660"/>
                    <a:gd name="connsiteY5" fmla="*/ 13329 h 89539"/>
                    <a:gd name="connsiteX6" fmla="*/ 13332 w 78660"/>
                    <a:gd name="connsiteY6" fmla="*/ 44771 h 89539"/>
                    <a:gd name="connsiteX7" fmla="*/ 39330 w 78660"/>
                    <a:gd name="connsiteY7" fmla="*/ 76207 h 89539"/>
                    <a:gd name="connsiteX8" fmla="*/ 65328 w 78660"/>
                    <a:gd name="connsiteY8" fmla="*/ 44771 h 89539"/>
                    <a:gd name="connsiteX9" fmla="*/ 39330 w 78660"/>
                    <a:gd name="connsiteY9" fmla="*/ 13329 h 89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60" h="89539">
                      <a:moveTo>
                        <a:pt x="39330" y="89539"/>
                      </a:moveTo>
                      <a:cubicBezTo>
                        <a:pt x="16176" y="89539"/>
                        <a:pt x="0" y="71131"/>
                        <a:pt x="0" y="44771"/>
                      </a:cubicBezTo>
                      <a:cubicBezTo>
                        <a:pt x="0" y="18412"/>
                        <a:pt x="16176" y="0"/>
                        <a:pt x="39330" y="0"/>
                      </a:cubicBezTo>
                      <a:cubicBezTo>
                        <a:pt x="62485" y="0"/>
                        <a:pt x="78660" y="18412"/>
                        <a:pt x="78660" y="44771"/>
                      </a:cubicBezTo>
                      <a:cubicBezTo>
                        <a:pt x="78660" y="71131"/>
                        <a:pt x="62482" y="89539"/>
                        <a:pt x="39330" y="89539"/>
                      </a:cubicBezTo>
                      <a:close/>
                      <a:moveTo>
                        <a:pt x="39330" y="13329"/>
                      </a:moveTo>
                      <a:cubicBezTo>
                        <a:pt x="20142" y="13329"/>
                        <a:pt x="13332" y="30266"/>
                        <a:pt x="13332" y="44771"/>
                      </a:cubicBezTo>
                      <a:cubicBezTo>
                        <a:pt x="13332" y="59277"/>
                        <a:pt x="20142" y="76207"/>
                        <a:pt x="39330" y="76207"/>
                      </a:cubicBezTo>
                      <a:cubicBezTo>
                        <a:pt x="58519" y="76207"/>
                        <a:pt x="65328" y="59274"/>
                        <a:pt x="65328" y="44771"/>
                      </a:cubicBezTo>
                      <a:cubicBezTo>
                        <a:pt x="65328" y="30269"/>
                        <a:pt x="58519" y="13329"/>
                        <a:pt x="39330" y="13329"/>
                      </a:cubicBezTo>
                      <a:close/>
                    </a:path>
                  </a:pathLst>
                </a:custGeom>
                <a:solidFill>
                  <a:schemeClr val="accent1"/>
                </a:solidFill>
                <a:ln w="314" cap="flat">
                  <a:noFill/>
                  <a:prstDash val="solid"/>
                  <a:miter/>
                </a:ln>
              </p:spPr>
              <p:txBody>
                <a:bodyPr rtlCol="0" anchor="ctr"/>
                <a:lstStyle/>
                <a:p>
                  <a:endParaRPr lang="en-GB" dirty="0"/>
                </a:p>
              </p:txBody>
            </p:sp>
          </p:grpSp>
          <p:sp>
            <p:nvSpPr>
              <p:cNvPr id="83" name="Freihandform: Form 324">
                <a:extLst>
                  <a:ext uri="{FF2B5EF4-FFF2-40B4-BE49-F238E27FC236}">
                    <a16:creationId xmlns:a16="http://schemas.microsoft.com/office/drawing/2014/main" id="{5832D2F6-E709-40F3-93A8-A22870D72283}"/>
                  </a:ext>
                </a:extLst>
              </p:cNvPr>
              <p:cNvSpPr/>
              <p:nvPr/>
            </p:nvSpPr>
            <p:spPr>
              <a:xfrm>
                <a:off x="2798018" y="2586615"/>
                <a:ext cx="166644" cy="106650"/>
              </a:xfrm>
              <a:custGeom>
                <a:avLst/>
                <a:gdLst>
                  <a:gd name="connsiteX0" fmla="*/ 39996 w 166644"/>
                  <a:gd name="connsiteY0" fmla="*/ 106651 h 106650"/>
                  <a:gd name="connsiteX1" fmla="*/ 37524 w 166644"/>
                  <a:gd name="connsiteY1" fmla="*/ 106176 h 106650"/>
                  <a:gd name="connsiteX2" fmla="*/ 4195 w 166644"/>
                  <a:gd name="connsiteY2" fmla="*/ 92844 h 106650"/>
                  <a:gd name="connsiteX3" fmla="*/ 477 w 166644"/>
                  <a:gd name="connsiteY3" fmla="*/ 84176 h 106650"/>
                  <a:gd name="connsiteX4" fmla="*/ 9142 w 166644"/>
                  <a:gd name="connsiteY4" fmla="*/ 80461 h 106650"/>
                  <a:gd name="connsiteX5" fmla="*/ 38128 w 166644"/>
                  <a:gd name="connsiteY5" fmla="*/ 92054 h 106650"/>
                  <a:gd name="connsiteX6" fmla="*/ 88340 w 166644"/>
                  <a:gd name="connsiteY6" fmla="*/ 35561 h 106650"/>
                  <a:gd name="connsiteX7" fmla="*/ 95794 w 166644"/>
                  <a:gd name="connsiteY7" fmla="*/ 33800 h 106650"/>
                  <a:gd name="connsiteX8" fmla="*/ 124267 w 166644"/>
                  <a:gd name="connsiteY8" fmla="*/ 45188 h 106650"/>
                  <a:gd name="connsiteX9" fmla="*/ 154555 w 166644"/>
                  <a:gd name="connsiteY9" fmla="*/ 2789 h 106650"/>
                  <a:gd name="connsiteX10" fmla="*/ 163852 w 166644"/>
                  <a:gd name="connsiteY10" fmla="*/ 1235 h 106650"/>
                  <a:gd name="connsiteX11" fmla="*/ 165403 w 166644"/>
                  <a:gd name="connsiteY11" fmla="*/ 10535 h 106650"/>
                  <a:gd name="connsiteX12" fmla="*/ 132073 w 166644"/>
                  <a:gd name="connsiteY12" fmla="*/ 57193 h 106650"/>
                  <a:gd name="connsiteX13" fmla="*/ 124179 w 166644"/>
                  <a:gd name="connsiteY13" fmla="*/ 59511 h 106650"/>
                  <a:gd name="connsiteX14" fmla="*/ 95193 w 166644"/>
                  <a:gd name="connsiteY14" fmla="*/ 47918 h 106650"/>
                  <a:gd name="connsiteX15" fmla="*/ 44981 w 166644"/>
                  <a:gd name="connsiteY15" fmla="*/ 104412 h 106650"/>
                  <a:gd name="connsiteX16" fmla="*/ 39996 w 166644"/>
                  <a:gd name="connsiteY16" fmla="*/ 106651 h 10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6644" h="106650">
                    <a:moveTo>
                      <a:pt x="39996" y="106651"/>
                    </a:moveTo>
                    <a:cubicBezTo>
                      <a:pt x="39163" y="106651"/>
                      <a:pt x="38323" y="106494"/>
                      <a:pt x="37524" y="106176"/>
                    </a:cubicBezTo>
                    <a:lnTo>
                      <a:pt x="4195" y="92844"/>
                    </a:lnTo>
                    <a:cubicBezTo>
                      <a:pt x="776" y="91472"/>
                      <a:pt x="-888" y="87598"/>
                      <a:pt x="477" y="84176"/>
                    </a:cubicBezTo>
                    <a:cubicBezTo>
                      <a:pt x="1845" y="80757"/>
                      <a:pt x="5748" y="79109"/>
                      <a:pt x="9142" y="80461"/>
                    </a:cubicBezTo>
                    <a:lnTo>
                      <a:pt x="38128" y="92054"/>
                    </a:lnTo>
                    <a:lnTo>
                      <a:pt x="88340" y="35561"/>
                    </a:lnTo>
                    <a:cubicBezTo>
                      <a:pt x="90208" y="33463"/>
                      <a:pt x="93215" y="32771"/>
                      <a:pt x="95794" y="33800"/>
                    </a:cubicBezTo>
                    <a:lnTo>
                      <a:pt x="124267" y="45188"/>
                    </a:lnTo>
                    <a:lnTo>
                      <a:pt x="154555" y="2789"/>
                    </a:lnTo>
                    <a:cubicBezTo>
                      <a:pt x="156697" y="-202"/>
                      <a:pt x="160864" y="-894"/>
                      <a:pt x="163852" y="1235"/>
                    </a:cubicBezTo>
                    <a:cubicBezTo>
                      <a:pt x="166846" y="3377"/>
                      <a:pt x="167544" y="7538"/>
                      <a:pt x="165403" y="10535"/>
                    </a:cubicBezTo>
                    <a:lnTo>
                      <a:pt x="132073" y="57193"/>
                    </a:lnTo>
                    <a:cubicBezTo>
                      <a:pt x="130284" y="59700"/>
                      <a:pt x="127010" y="60637"/>
                      <a:pt x="124179" y="59511"/>
                    </a:cubicBezTo>
                    <a:lnTo>
                      <a:pt x="95193" y="47918"/>
                    </a:lnTo>
                    <a:lnTo>
                      <a:pt x="44981" y="104412"/>
                    </a:lnTo>
                    <a:cubicBezTo>
                      <a:pt x="43685" y="105865"/>
                      <a:pt x="41858" y="106651"/>
                      <a:pt x="39996" y="106651"/>
                    </a:cubicBezTo>
                    <a:close/>
                  </a:path>
                </a:pathLst>
              </a:custGeom>
              <a:solidFill>
                <a:schemeClr val="accent1"/>
              </a:solidFill>
              <a:ln w="314" cap="flat">
                <a:noFill/>
                <a:prstDash val="solid"/>
                <a:miter/>
              </a:ln>
            </p:spPr>
            <p:txBody>
              <a:bodyPr rtlCol="0" anchor="ctr"/>
              <a:lstStyle/>
              <a:p>
                <a:endParaRPr lang="en-GB" dirty="0"/>
              </a:p>
            </p:txBody>
          </p:sp>
        </p:grpSp>
      </p:grpSp>
      <p:grpSp>
        <p:nvGrpSpPr>
          <p:cNvPr id="51" name="Group 50">
            <a:extLst>
              <a:ext uri="{FF2B5EF4-FFF2-40B4-BE49-F238E27FC236}">
                <a16:creationId xmlns:a16="http://schemas.microsoft.com/office/drawing/2014/main" id="{6FB204DE-B812-FA26-BC2D-18B9227482A6}"/>
              </a:ext>
            </a:extLst>
          </p:cNvPr>
          <p:cNvGrpSpPr/>
          <p:nvPr/>
        </p:nvGrpSpPr>
        <p:grpSpPr>
          <a:xfrm>
            <a:off x="3770919" y="1585984"/>
            <a:ext cx="372867" cy="432000"/>
            <a:chOff x="3770919" y="1585984"/>
            <a:chExt cx="372867" cy="432000"/>
          </a:xfrm>
        </p:grpSpPr>
        <p:grpSp>
          <p:nvGrpSpPr>
            <p:cNvPr id="90" name="Graphic 5">
              <a:extLst>
                <a:ext uri="{FF2B5EF4-FFF2-40B4-BE49-F238E27FC236}">
                  <a16:creationId xmlns:a16="http://schemas.microsoft.com/office/drawing/2014/main" id="{E04C0092-06F1-4875-9A54-77A57714E995}"/>
                </a:ext>
              </a:extLst>
            </p:cNvPr>
            <p:cNvGrpSpPr/>
            <p:nvPr/>
          </p:nvGrpSpPr>
          <p:grpSpPr>
            <a:xfrm>
              <a:off x="3822533" y="1585984"/>
              <a:ext cx="269639" cy="432000"/>
              <a:chOff x="5342061" y="2446427"/>
              <a:chExt cx="268181" cy="429664"/>
            </a:xfrm>
            <a:solidFill>
              <a:schemeClr val="tx2"/>
            </a:solidFill>
          </p:grpSpPr>
          <p:sp>
            <p:nvSpPr>
              <p:cNvPr id="100" name="Freihandform: Form 669">
                <a:extLst>
                  <a:ext uri="{FF2B5EF4-FFF2-40B4-BE49-F238E27FC236}">
                    <a16:creationId xmlns:a16="http://schemas.microsoft.com/office/drawing/2014/main" id="{A31241B0-4B03-4770-B9D1-B4E9CDB09690}"/>
                  </a:ext>
                </a:extLst>
              </p:cNvPr>
              <p:cNvSpPr/>
              <p:nvPr/>
            </p:nvSpPr>
            <p:spPr>
              <a:xfrm>
                <a:off x="5415813" y="2744893"/>
                <a:ext cx="117417" cy="111369"/>
              </a:xfrm>
              <a:custGeom>
                <a:avLst/>
                <a:gdLst>
                  <a:gd name="connsiteX0" fmla="*/ 86799 w 117417"/>
                  <a:gd name="connsiteY0" fmla="*/ 111369 h 111369"/>
                  <a:gd name="connsiteX1" fmla="*/ 80613 w 117417"/>
                  <a:gd name="connsiteY1" fmla="*/ 109851 h 111369"/>
                  <a:gd name="connsiteX2" fmla="*/ 58709 w 117417"/>
                  <a:gd name="connsiteY2" fmla="*/ 98496 h 111369"/>
                  <a:gd name="connsiteX3" fmla="*/ 36804 w 117417"/>
                  <a:gd name="connsiteY3" fmla="*/ 109851 h 111369"/>
                  <a:gd name="connsiteX4" fmla="*/ 22828 w 117417"/>
                  <a:gd name="connsiteY4" fmla="*/ 108853 h 111369"/>
                  <a:gd name="connsiteX5" fmla="*/ 17557 w 117417"/>
                  <a:gd name="connsiteY5" fmla="*/ 96066 h 111369"/>
                  <a:gd name="connsiteX6" fmla="*/ 21736 w 117417"/>
                  <a:gd name="connsiteY6" fmla="*/ 72018 h 111369"/>
                  <a:gd name="connsiteX7" fmla="*/ 4014 w 117417"/>
                  <a:gd name="connsiteY7" fmla="*/ 54987 h 111369"/>
                  <a:gd name="connsiteX8" fmla="*/ 660 w 117417"/>
                  <a:gd name="connsiteY8" fmla="*/ 41578 h 111369"/>
                  <a:gd name="connsiteX9" fmla="*/ 11368 w 117417"/>
                  <a:gd name="connsiteY9" fmla="*/ 32678 h 111369"/>
                  <a:gd name="connsiteX10" fmla="*/ 35861 w 117417"/>
                  <a:gd name="connsiteY10" fmla="*/ 29171 h 111369"/>
                  <a:gd name="connsiteX11" fmla="*/ 46811 w 117417"/>
                  <a:gd name="connsiteY11" fmla="*/ 7296 h 111369"/>
                  <a:gd name="connsiteX12" fmla="*/ 58709 w 117417"/>
                  <a:gd name="connsiteY12" fmla="*/ 0 h 111369"/>
                  <a:gd name="connsiteX13" fmla="*/ 70606 w 117417"/>
                  <a:gd name="connsiteY13" fmla="*/ 7296 h 111369"/>
                  <a:gd name="connsiteX14" fmla="*/ 81557 w 117417"/>
                  <a:gd name="connsiteY14" fmla="*/ 29171 h 111369"/>
                  <a:gd name="connsiteX15" fmla="*/ 106049 w 117417"/>
                  <a:gd name="connsiteY15" fmla="*/ 32678 h 111369"/>
                  <a:gd name="connsiteX16" fmla="*/ 116758 w 117417"/>
                  <a:gd name="connsiteY16" fmla="*/ 41578 h 111369"/>
                  <a:gd name="connsiteX17" fmla="*/ 113403 w 117417"/>
                  <a:gd name="connsiteY17" fmla="*/ 54987 h 111369"/>
                  <a:gd name="connsiteX18" fmla="*/ 95677 w 117417"/>
                  <a:gd name="connsiteY18" fmla="*/ 72018 h 111369"/>
                  <a:gd name="connsiteX19" fmla="*/ 99860 w 117417"/>
                  <a:gd name="connsiteY19" fmla="*/ 96066 h 111369"/>
                  <a:gd name="connsiteX20" fmla="*/ 94586 w 117417"/>
                  <a:gd name="connsiteY20" fmla="*/ 108853 h 111369"/>
                  <a:gd name="connsiteX21" fmla="*/ 86799 w 117417"/>
                  <a:gd name="connsiteY21" fmla="*/ 111369 h 111369"/>
                  <a:gd name="connsiteX22" fmla="*/ 58564 w 117417"/>
                  <a:gd name="connsiteY22" fmla="*/ 13120 h 111369"/>
                  <a:gd name="connsiteX23" fmla="*/ 46323 w 117417"/>
                  <a:gd name="connsiteY23" fmla="*/ 38133 h 111369"/>
                  <a:gd name="connsiteX24" fmla="*/ 41276 w 117417"/>
                  <a:gd name="connsiteY24" fmla="*/ 41752 h 111369"/>
                  <a:gd name="connsiteX25" fmla="*/ 13295 w 117417"/>
                  <a:gd name="connsiteY25" fmla="*/ 45761 h 111369"/>
                  <a:gd name="connsiteX26" fmla="*/ 33623 w 117417"/>
                  <a:gd name="connsiteY26" fmla="*/ 64976 h 111369"/>
                  <a:gd name="connsiteX27" fmla="*/ 35550 w 117417"/>
                  <a:gd name="connsiteY27" fmla="*/ 70829 h 111369"/>
                  <a:gd name="connsiteX28" fmla="*/ 30770 w 117417"/>
                  <a:gd name="connsiteY28" fmla="*/ 98301 h 111369"/>
                  <a:gd name="connsiteX29" fmla="*/ 55585 w 117417"/>
                  <a:gd name="connsiteY29" fmla="*/ 85177 h 111369"/>
                  <a:gd name="connsiteX30" fmla="*/ 61825 w 117417"/>
                  <a:gd name="connsiteY30" fmla="*/ 85177 h 111369"/>
                  <a:gd name="connsiteX31" fmla="*/ 86849 w 117417"/>
                  <a:gd name="connsiteY31" fmla="*/ 98149 h 111369"/>
                  <a:gd name="connsiteX32" fmla="*/ 81860 w 117417"/>
                  <a:gd name="connsiteY32" fmla="*/ 70825 h 111369"/>
                  <a:gd name="connsiteX33" fmla="*/ 83787 w 117417"/>
                  <a:gd name="connsiteY33" fmla="*/ 64972 h 111369"/>
                  <a:gd name="connsiteX34" fmla="*/ 104036 w 117417"/>
                  <a:gd name="connsiteY34" fmla="*/ 45512 h 111369"/>
                  <a:gd name="connsiteX35" fmla="*/ 76134 w 117417"/>
                  <a:gd name="connsiteY35" fmla="*/ 41748 h 111369"/>
                  <a:gd name="connsiteX36" fmla="*/ 71087 w 117417"/>
                  <a:gd name="connsiteY36" fmla="*/ 38129 h 111369"/>
                  <a:gd name="connsiteX37" fmla="*/ 58575 w 117417"/>
                  <a:gd name="connsiteY37" fmla="*/ 13134 h 111369"/>
                  <a:gd name="connsiteX38" fmla="*/ 58575 w 117417"/>
                  <a:gd name="connsiteY38" fmla="*/ 13134 h 111369"/>
                  <a:gd name="connsiteX39" fmla="*/ 58564 w 117417"/>
                  <a:gd name="connsiteY39" fmla="*/ 13120 h 111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7417" h="111369">
                    <a:moveTo>
                      <a:pt x="86799" y="111369"/>
                    </a:moveTo>
                    <a:cubicBezTo>
                      <a:pt x="84691" y="111369"/>
                      <a:pt x="82572" y="110867"/>
                      <a:pt x="80613" y="109851"/>
                    </a:cubicBezTo>
                    <a:lnTo>
                      <a:pt x="58709" y="98496"/>
                    </a:lnTo>
                    <a:lnTo>
                      <a:pt x="36804" y="109851"/>
                    </a:lnTo>
                    <a:cubicBezTo>
                      <a:pt x="32303" y="112183"/>
                      <a:pt x="26946" y="111803"/>
                      <a:pt x="22828" y="108853"/>
                    </a:cubicBezTo>
                    <a:cubicBezTo>
                      <a:pt x="18717" y="105907"/>
                      <a:pt x="16696" y="101008"/>
                      <a:pt x="17557" y="96066"/>
                    </a:cubicBezTo>
                    <a:lnTo>
                      <a:pt x="21736" y="72018"/>
                    </a:lnTo>
                    <a:lnTo>
                      <a:pt x="4014" y="54987"/>
                    </a:lnTo>
                    <a:cubicBezTo>
                      <a:pt x="374" y="51484"/>
                      <a:pt x="-913" y="46350"/>
                      <a:pt x="660" y="41578"/>
                    </a:cubicBezTo>
                    <a:cubicBezTo>
                      <a:pt x="2232" y="36810"/>
                      <a:pt x="6335" y="33401"/>
                      <a:pt x="11368" y="32678"/>
                    </a:cubicBezTo>
                    <a:lnTo>
                      <a:pt x="35861" y="29171"/>
                    </a:lnTo>
                    <a:lnTo>
                      <a:pt x="46811" y="7296"/>
                    </a:lnTo>
                    <a:cubicBezTo>
                      <a:pt x="49063" y="2795"/>
                      <a:pt x="53618" y="0"/>
                      <a:pt x="58709" y="0"/>
                    </a:cubicBezTo>
                    <a:cubicBezTo>
                      <a:pt x="63799" y="0"/>
                      <a:pt x="68354" y="2795"/>
                      <a:pt x="70606" y="7296"/>
                    </a:cubicBezTo>
                    <a:lnTo>
                      <a:pt x="81557" y="29171"/>
                    </a:lnTo>
                    <a:lnTo>
                      <a:pt x="106049" y="32678"/>
                    </a:lnTo>
                    <a:cubicBezTo>
                      <a:pt x="111082" y="33401"/>
                      <a:pt x="115185" y="36813"/>
                      <a:pt x="116758" y="41578"/>
                    </a:cubicBezTo>
                    <a:cubicBezTo>
                      <a:pt x="118330" y="46350"/>
                      <a:pt x="117043" y="51484"/>
                      <a:pt x="113403" y="54987"/>
                    </a:cubicBezTo>
                    <a:lnTo>
                      <a:pt x="95677" y="72018"/>
                    </a:lnTo>
                    <a:lnTo>
                      <a:pt x="99860" y="96066"/>
                    </a:lnTo>
                    <a:cubicBezTo>
                      <a:pt x="100717" y="101008"/>
                      <a:pt x="98696" y="105907"/>
                      <a:pt x="94586" y="108853"/>
                    </a:cubicBezTo>
                    <a:cubicBezTo>
                      <a:pt x="92257" y="110520"/>
                      <a:pt x="89539" y="111369"/>
                      <a:pt x="86799" y="111369"/>
                    </a:cubicBezTo>
                    <a:close/>
                    <a:moveTo>
                      <a:pt x="58564" y="13120"/>
                    </a:moveTo>
                    <a:lnTo>
                      <a:pt x="46323" y="38133"/>
                    </a:lnTo>
                    <a:cubicBezTo>
                      <a:pt x="45343" y="40085"/>
                      <a:pt x="43460" y="41437"/>
                      <a:pt x="41276" y="41752"/>
                    </a:cubicBezTo>
                    <a:lnTo>
                      <a:pt x="13295" y="45761"/>
                    </a:lnTo>
                    <a:lnTo>
                      <a:pt x="33623" y="64976"/>
                    </a:lnTo>
                    <a:cubicBezTo>
                      <a:pt x="35199" y="66498"/>
                      <a:pt x="35922" y="68685"/>
                      <a:pt x="35550" y="70829"/>
                    </a:cubicBezTo>
                    <a:lnTo>
                      <a:pt x="30770" y="98301"/>
                    </a:lnTo>
                    <a:lnTo>
                      <a:pt x="55585" y="85177"/>
                    </a:lnTo>
                    <a:cubicBezTo>
                      <a:pt x="57537" y="84165"/>
                      <a:pt x="59873" y="84165"/>
                      <a:pt x="61825" y="85177"/>
                    </a:cubicBezTo>
                    <a:lnTo>
                      <a:pt x="86849" y="98149"/>
                    </a:lnTo>
                    <a:lnTo>
                      <a:pt x="81860" y="70825"/>
                    </a:lnTo>
                    <a:cubicBezTo>
                      <a:pt x="81491" y="68681"/>
                      <a:pt x="82211" y="66494"/>
                      <a:pt x="83787" y="64972"/>
                    </a:cubicBezTo>
                    <a:lnTo>
                      <a:pt x="104036" y="45512"/>
                    </a:lnTo>
                    <a:lnTo>
                      <a:pt x="76134" y="41748"/>
                    </a:lnTo>
                    <a:cubicBezTo>
                      <a:pt x="73950" y="41434"/>
                      <a:pt x="72063" y="40082"/>
                      <a:pt x="71087" y="38129"/>
                    </a:cubicBezTo>
                    <a:lnTo>
                      <a:pt x="58575" y="13134"/>
                    </a:lnTo>
                    <a:lnTo>
                      <a:pt x="58575" y="13134"/>
                    </a:lnTo>
                    <a:lnTo>
                      <a:pt x="58564" y="13120"/>
                    </a:lnTo>
                    <a:close/>
                  </a:path>
                </a:pathLst>
              </a:custGeom>
              <a:grpFill/>
              <a:ln w="361" cap="flat">
                <a:noFill/>
                <a:prstDash val="solid"/>
                <a:miter/>
              </a:ln>
            </p:spPr>
            <p:txBody>
              <a:bodyPr rtlCol="0" anchor="ctr"/>
              <a:lstStyle/>
              <a:p>
                <a:endParaRPr lang="en-GB" dirty="0"/>
              </a:p>
            </p:txBody>
          </p:sp>
          <p:sp>
            <p:nvSpPr>
              <p:cNvPr id="101" name="Freihandform: Form 670">
                <a:extLst>
                  <a:ext uri="{FF2B5EF4-FFF2-40B4-BE49-F238E27FC236}">
                    <a16:creationId xmlns:a16="http://schemas.microsoft.com/office/drawing/2014/main" id="{B172E71F-0E09-489A-852E-F3A7171F7999}"/>
                  </a:ext>
                </a:extLst>
              </p:cNvPr>
              <p:cNvSpPr/>
              <p:nvPr/>
            </p:nvSpPr>
            <p:spPr>
              <a:xfrm>
                <a:off x="5375585" y="2710372"/>
                <a:ext cx="201137" cy="165720"/>
              </a:xfrm>
              <a:custGeom>
                <a:avLst/>
                <a:gdLst>
                  <a:gd name="connsiteX0" fmla="*/ 201134 w 201137"/>
                  <a:gd name="connsiteY0" fmla="*/ 165720 h 165720"/>
                  <a:gd name="connsiteX1" fmla="*/ 187726 w 201137"/>
                  <a:gd name="connsiteY1" fmla="*/ 165720 h 165720"/>
                  <a:gd name="connsiteX2" fmla="*/ 187726 w 201137"/>
                  <a:gd name="connsiteY2" fmla="*/ 13221 h 165720"/>
                  <a:gd name="connsiteX3" fmla="*/ 13409 w 201137"/>
                  <a:gd name="connsiteY3" fmla="*/ 13221 h 165720"/>
                  <a:gd name="connsiteX4" fmla="*/ 13409 w 201137"/>
                  <a:gd name="connsiteY4" fmla="*/ 165720 h 165720"/>
                  <a:gd name="connsiteX5" fmla="*/ 0 w 201137"/>
                  <a:gd name="connsiteY5" fmla="*/ 165720 h 165720"/>
                  <a:gd name="connsiteX6" fmla="*/ 0 w 201137"/>
                  <a:gd name="connsiteY6" fmla="*/ 6609 h 165720"/>
                  <a:gd name="connsiteX7" fmla="*/ 6706 w 201137"/>
                  <a:gd name="connsiteY7" fmla="*/ 0 h 165720"/>
                  <a:gd name="connsiteX8" fmla="*/ 194432 w 201137"/>
                  <a:gd name="connsiteY8" fmla="*/ 0 h 165720"/>
                  <a:gd name="connsiteX9" fmla="*/ 201138 w 201137"/>
                  <a:gd name="connsiteY9" fmla="*/ 6609 h 165720"/>
                  <a:gd name="connsiteX10" fmla="*/ 201138 w 201137"/>
                  <a:gd name="connsiteY10" fmla="*/ 165720 h 165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1137" h="165720">
                    <a:moveTo>
                      <a:pt x="201134" y="165720"/>
                    </a:moveTo>
                    <a:lnTo>
                      <a:pt x="187726" y="165720"/>
                    </a:lnTo>
                    <a:lnTo>
                      <a:pt x="187726" y="13221"/>
                    </a:lnTo>
                    <a:lnTo>
                      <a:pt x="13409" y="13221"/>
                    </a:lnTo>
                    <a:lnTo>
                      <a:pt x="13409" y="165720"/>
                    </a:lnTo>
                    <a:lnTo>
                      <a:pt x="0" y="165720"/>
                    </a:lnTo>
                    <a:lnTo>
                      <a:pt x="0" y="6609"/>
                    </a:lnTo>
                    <a:cubicBezTo>
                      <a:pt x="0" y="2957"/>
                      <a:pt x="3001" y="0"/>
                      <a:pt x="6706" y="0"/>
                    </a:cubicBezTo>
                    <a:lnTo>
                      <a:pt x="194432" y="0"/>
                    </a:lnTo>
                    <a:cubicBezTo>
                      <a:pt x="198134" y="0"/>
                      <a:pt x="201138" y="2961"/>
                      <a:pt x="201138" y="6609"/>
                    </a:cubicBezTo>
                    <a:lnTo>
                      <a:pt x="201138" y="165720"/>
                    </a:lnTo>
                    <a:close/>
                  </a:path>
                </a:pathLst>
              </a:custGeom>
              <a:grpFill/>
              <a:ln w="361" cap="flat">
                <a:noFill/>
                <a:prstDash val="solid"/>
                <a:miter/>
              </a:ln>
            </p:spPr>
            <p:txBody>
              <a:bodyPr rtlCol="0" anchor="ctr"/>
              <a:lstStyle/>
              <a:p>
                <a:endParaRPr lang="en-GB" dirty="0"/>
              </a:p>
            </p:txBody>
          </p:sp>
          <p:sp>
            <p:nvSpPr>
              <p:cNvPr id="102" name="Freihandform: Form 671">
                <a:extLst>
                  <a:ext uri="{FF2B5EF4-FFF2-40B4-BE49-F238E27FC236}">
                    <a16:creationId xmlns:a16="http://schemas.microsoft.com/office/drawing/2014/main" id="{A0E59644-BBD5-4567-969A-F14B57EEACDD}"/>
                  </a:ext>
                </a:extLst>
              </p:cNvPr>
              <p:cNvSpPr/>
              <p:nvPr/>
            </p:nvSpPr>
            <p:spPr>
              <a:xfrm>
                <a:off x="5342061" y="2684396"/>
                <a:ext cx="268181" cy="39658"/>
              </a:xfrm>
              <a:custGeom>
                <a:avLst/>
                <a:gdLst>
                  <a:gd name="connsiteX0" fmla="*/ 261475 w 268181"/>
                  <a:gd name="connsiteY0" fmla="*/ 39659 h 39658"/>
                  <a:gd name="connsiteX1" fmla="*/ 6706 w 268181"/>
                  <a:gd name="connsiteY1" fmla="*/ 39659 h 39658"/>
                  <a:gd name="connsiteX2" fmla="*/ 0 w 268181"/>
                  <a:gd name="connsiteY2" fmla="*/ 33050 h 39658"/>
                  <a:gd name="connsiteX3" fmla="*/ 0 w 268181"/>
                  <a:gd name="connsiteY3" fmla="*/ 6609 h 39658"/>
                  <a:gd name="connsiteX4" fmla="*/ 6706 w 268181"/>
                  <a:gd name="connsiteY4" fmla="*/ 0 h 39658"/>
                  <a:gd name="connsiteX5" fmla="*/ 261475 w 268181"/>
                  <a:gd name="connsiteY5" fmla="*/ 0 h 39658"/>
                  <a:gd name="connsiteX6" fmla="*/ 268182 w 268181"/>
                  <a:gd name="connsiteY6" fmla="*/ 6609 h 39658"/>
                  <a:gd name="connsiteX7" fmla="*/ 268182 w 268181"/>
                  <a:gd name="connsiteY7" fmla="*/ 33050 h 39658"/>
                  <a:gd name="connsiteX8" fmla="*/ 261475 w 268181"/>
                  <a:gd name="connsiteY8" fmla="*/ 39659 h 39658"/>
                  <a:gd name="connsiteX9" fmla="*/ 13409 w 268181"/>
                  <a:gd name="connsiteY9" fmla="*/ 26438 h 39658"/>
                  <a:gd name="connsiteX10" fmla="*/ 254769 w 268181"/>
                  <a:gd name="connsiteY10" fmla="*/ 26438 h 39658"/>
                  <a:gd name="connsiteX11" fmla="*/ 254769 w 268181"/>
                  <a:gd name="connsiteY11" fmla="*/ 13217 h 39658"/>
                  <a:gd name="connsiteX12" fmla="*/ 13409 w 268181"/>
                  <a:gd name="connsiteY12" fmla="*/ 13217 h 39658"/>
                  <a:gd name="connsiteX13" fmla="*/ 13409 w 268181"/>
                  <a:gd name="connsiteY13" fmla="*/ 26438 h 3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8181" h="39658">
                    <a:moveTo>
                      <a:pt x="261475" y="39659"/>
                    </a:moveTo>
                    <a:lnTo>
                      <a:pt x="6706" y="39659"/>
                    </a:lnTo>
                    <a:cubicBezTo>
                      <a:pt x="3004" y="39659"/>
                      <a:pt x="0" y="36698"/>
                      <a:pt x="0" y="33050"/>
                    </a:cubicBezTo>
                    <a:lnTo>
                      <a:pt x="0" y="6609"/>
                    </a:lnTo>
                    <a:cubicBezTo>
                      <a:pt x="0" y="2957"/>
                      <a:pt x="3001" y="0"/>
                      <a:pt x="6706" y="0"/>
                    </a:cubicBezTo>
                    <a:lnTo>
                      <a:pt x="261475" y="0"/>
                    </a:lnTo>
                    <a:cubicBezTo>
                      <a:pt x="265177" y="0"/>
                      <a:pt x="268182" y="2961"/>
                      <a:pt x="268182" y="6609"/>
                    </a:cubicBezTo>
                    <a:lnTo>
                      <a:pt x="268182" y="33050"/>
                    </a:lnTo>
                    <a:cubicBezTo>
                      <a:pt x="268182" y="36701"/>
                      <a:pt x="265177" y="39659"/>
                      <a:pt x="261475" y="39659"/>
                    </a:cubicBezTo>
                    <a:close/>
                    <a:moveTo>
                      <a:pt x="13409" y="26438"/>
                    </a:moveTo>
                    <a:lnTo>
                      <a:pt x="254769" y="26438"/>
                    </a:lnTo>
                    <a:lnTo>
                      <a:pt x="254769" y="13217"/>
                    </a:lnTo>
                    <a:lnTo>
                      <a:pt x="13409" y="13217"/>
                    </a:lnTo>
                    <a:lnTo>
                      <a:pt x="13409" y="26438"/>
                    </a:lnTo>
                    <a:close/>
                  </a:path>
                </a:pathLst>
              </a:custGeom>
              <a:grpFill/>
              <a:ln w="361" cap="flat">
                <a:noFill/>
                <a:prstDash val="solid"/>
                <a:miter/>
              </a:ln>
            </p:spPr>
            <p:txBody>
              <a:bodyPr rtlCol="0" anchor="ctr"/>
              <a:lstStyle/>
              <a:p>
                <a:endParaRPr lang="en-GB" dirty="0"/>
              </a:p>
            </p:txBody>
          </p:sp>
          <p:grpSp>
            <p:nvGrpSpPr>
              <p:cNvPr id="103" name="Graphic 5">
                <a:extLst>
                  <a:ext uri="{FF2B5EF4-FFF2-40B4-BE49-F238E27FC236}">
                    <a16:creationId xmlns:a16="http://schemas.microsoft.com/office/drawing/2014/main" id="{D3DFE062-A785-4FCE-8417-B12365D473D1}"/>
                  </a:ext>
                </a:extLst>
              </p:cNvPr>
              <p:cNvGrpSpPr/>
              <p:nvPr/>
            </p:nvGrpSpPr>
            <p:grpSpPr>
              <a:xfrm>
                <a:off x="5362573" y="2446427"/>
                <a:ext cx="227152" cy="251739"/>
                <a:chOff x="5362573" y="2446427"/>
                <a:chExt cx="227152" cy="251739"/>
              </a:xfrm>
              <a:grpFill/>
            </p:grpSpPr>
            <p:grpSp>
              <p:nvGrpSpPr>
                <p:cNvPr id="104" name="Graphic 5">
                  <a:extLst>
                    <a:ext uri="{FF2B5EF4-FFF2-40B4-BE49-F238E27FC236}">
                      <a16:creationId xmlns:a16="http://schemas.microsoft.com/office/drawing/2014/main" id="{CC30BE3E-CEDD-42F9-AAD5-F26507DE9084}"/>
                    </a:ext>
                  </a:extLst>
                </p:cNvPr>
                <p:cNvGrpSpPr/>
                <p:nvPr/>
              </p:nvGrpSpPr>
              <p:grpSpPr>
                <a:xfrm>
                  <a:off x="5407413" y="2622959"/>
                  <a:ext cx="139006" cy="75120"/>
                  <a:chOff x="5407413" y="2622959"/>
                  <a:chExt cx="139006" cy="75120"/>
                </a:xfrm>
                <a:grpFill/>
              </p:grpSpPr>
              <p:sp>
                <p:nvSpPr>
                  <p:cNvPr id="107" name="Freihandform: Form 674">
                    <a:extLst>
                      <a:ext uri="{FF2B5EF4-FFF2-40B4-BE49-F238E27FC236}">
                        <a16:creationId xmlns:a16="http://schemas.microsoft.com/office/drawing/2014/main" id="{C54C06B8-98E2-4BB3-915D-1082B6F18E90}"/>
                      </a:ext>
                    </a:extLst>
                  </p:cNvPr>
                  <p:cNvSpPr/>
                  <p:nvPr/>
                </p:nvSpPr>
                <p:spPr>
                  <a:xfrm>
                    <a:off x="5469348" y="2622959"/>
                    <a:ext cx="77070" cy="75120"/>
                  </a:xfrm>
                  <a:custGeom>
                    <a:avLst/>
                    <a:gdLst>
                      <a:gd name="connsiteX0" fmla="*/ 6706 w 77070"/>
                      <a:gd name="connsiteY0" fmla="*/ 75120 h 75120"/>
                      <a:gd name="connsiteX1" fmla="*/ 0 w 77070"/>
                      <a:gd name="connsiteY1" fmla="*/ 68512 h 75120"/>
                      <a:gd name="connsiteX2" fmla="*/ 0 w 77070"/>
                      <a:gd name="connsiteY2" fmla="*/ 46947 h 75120"/>
                      <a:gd name="connsiteX3" fmla="*/ 17642 w 77070"/>
                      <a:gd name="connsiteY3" fmla="*/ 29555 h 75120"/>
                      <a:gd name="connsiteX4" fmla="*/ 61154 w 77070"/>
                      <a:gd name="connsiteY4" fmla="*/ 29555 h 75120"/>
                      <a:gd name="connsiteX5" fmla="*/ 54307 w 77070"/>
                      <a:gd name="connsiteY5" fmla="*/ 8644 h 75120"/>
                      <a:gd name="connsiteX6" fmla="*/ 58627 w 77070"/>
                      <a:gd name="connsiteY6" fmla="*/ 322 h 75120"/>
                      <a:gd name="connsiteX7" fmla="*/ 67065 w 77070"/>
                      <a:gd name="connsiteY7" fmla="*/ 4581 h 75120"/>
                      <a:gd name="connsiteX8" fmla="*/ 76747 w 77070"/>
                      <a:gd name="connsiteY8" fmla="*/ 34135 h 75120"/>
                      <a:gd name="connsiteX9" fmla="*/ 75789 w 77070"/>
                      <a:gd name="connsiteY9" fmla="*/ 40053 h 75120"/>
                      <a:gd name="connsiteX10" fmla="*/ 70366 w 77070"/>
                      <a:gd name="connsiteY10" fmla="*/ 42775 h 75120"/>
                      <a:gd name="connsiteX11" fmla="*/ 17642 w 77070"/>
                      <a:gd name="connsiteY11" fmla="*/ 42775 h 75120"/>
                      <a:gd name="connsiteX12" fmla="*/ 13409 w 77070"/>
                      <a:gd name="connsiteY12" fmla="*/ 46947 h 75120"/>
                      <a:gd name="connsiteX13" fmla="*/ 13409 w 77070"/>
                      <a:gd name="connsiteY13" fmla="*/ 68512 h 75120"/>
                      <a:gd name="connsiteX14" fmla="*/ 6706 w 77070"/>
                      <a:gd name="connsiteY14" fmla="*/ 75120 h 7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070" h="75120">
                        <a:moveTo>
                          <a:pt x="6706" y="75120"/>
                        </a:moveTo>
                        <a:cubicBezTo>
                          <a:pt x="3004" y="75120"/>
                          <a:pt x="0" y="72160"/>
                          <a:pt x="0" y="68512"/>
                        </a:cubicBezTo>
                        <a:lnTo>
                          <a:pt x="0" y="46947"/>
                        </a:lnTo>
                        <a:cubicBezTo>
                          <a:pt x="0" y="37356"/>
                          <a:pt x="7914" y="29555"/>
                          <a:pt x="17642" y="29555"/>
                        </a:cubicBezTo>
                        <a:lnTo>
                          <a:pt x="61154" y="29555"/>
                        </a:lnTo>
                        <a:lnTo>
                          <a:pt x="54307" y="8644"/>
                        </a:lnTo>
                        <a:cubicBezTo>
                          <a:pt x="53169" y="5170"/>
                          <a:pt x="55103" y="1447"/>
                          <a:pt x="58627" y="322"/>
                        </a:cubicBezTo>
                        <a:cubicBezTo>
                          <a:pt x="62156" y="-802"/>
                          <a:pt x="65926" y="1110"/>
                          <a:pt x="67065" y="4581"/>
                        </a:cubicBezTo>
                        <a:lnTo>
                          <a:pt x="76747" y="34135"/>
                        </a:lnTo>
                        <a:cubicBezTo>
                          <a:pt x="77405" y="36145"/>
                          <a:pt x="77047" y="38347"/>
                          <a:pt x="75789" y="40053"/>
                        </a:cubicBezTo>
                        <a:cubicBezTo>
                          <a:pt x="74523" y="41763"/>
                          <a:pt x="72513" y="42775"/>
                          <a:pt x="70366" y="42775"/>
                        </a:cubicBezTo>
                        <a:lnTo>
                          <a:pt x="17642" y="42775"/>
                        </a:lnTo>
                        <a:cubicBezTo>
                          <a:pt x="15307" y="42775"/>
                          <a:pt x="13409" y="44648"/>
                          <a:pt x="13409" y="46947"/>
                        </a:cubicBezTo>
                        <a:lnTo>
                          <a:pt x="13409" y="68512"/>
                        </a:lnTo>
                        <a:cubicBezTo>
                          <a:pt x="13412" y="72160"/>
                          <a:pt x="10408" y="75120"/>
                          <a:pt x="6706" y="75120"/>
                        </a:cubicBezTo>
                        <a:close/>
                      </a:path>
                    </a:pathLst>
                  </a:custGeom>
                  <a:grpFill/>
                  <a:ln w="361" cap="flat">
                    <a:noFill/>
                    <a:prstDash val="solid"/>
                    <a:miter/>
                  </a:ln>
                </p:spPr>
                <p:txBody>
                  <a:bodyPr rtlCol="0" anchor="ctr"/>
                  <a:lstStyle/>
                  <a:p>
                    <a:endParaRPr lang="en-GB" dirty="0"/>
                  </a:p>
                </p:txBody>
              </p:sp>
              <p:sp>
                <p:nvSpPr>
                  <p:cNvPr id="108" name="Freihandform: Form 675">
                    <a:extLst>
                      <a:ext uri="{FF2B5EF4-FFF2-40B4-BE49-F238E27FC236}">
                        <a16:creationId xmlns:a16="http://schemas.microsoft.com/office/drawing/2014/main" id="{8ECD870F-C4CB-4F00-AC7C-264F6C8F4714}"/>
                      </a:ext>
                    </a:extLst>
                  </p:cNvPr>
                  <p:cNvSpPr/>
                  <p:nvPr/>
                </p:nvSpPr>
                <p:spPr>
                  <a:xfrm>
                    <a:off x="5407413" y="2623217"/>
                    <a:ext cx="75351" cy="74862"/>
                  </a:xfrm>
                  <a:custGeom>
                    <a:avLst/>
                    <a:gdLst>
                      <a:gd name="connsiteX0" fmla="*/ 68642 w 75351"/>
                      <a:gd name="connsiteY0" fmla="*/ 74862 h 74862"/>
                      <a:gd name="connsiteX1" fmla="*/ 61936 w 75351"/>
                      <a:gd name="connsiteY1" fmla="*/ 68254 h 74862"/>
                      <a:gd name="connsiteX2" fmla="*/ 61936 w 75351"/>
                      <a:gd name="connsiteY2" fmla="*/ 46689 h 74862"/>
                      <a:gd name="connsiteX3" fmla="*/ 57706 w 75351"/>
                      <a:gd name="connsiteY3" fmla="*/ 42517 h 74862"/>
                      <a:gd name="connsiteX4" fmla="*/ 6703 w 75351"/>
                      <a:gd name="connsiteY4" fmla="*/ 42517 h 74862"/>
                      <a:gd name="connsiteX5" fmla="*/ 1352 w 75351"/>
                      <a:gd name="connsiteY5" fmla="*/ 39886 h 74862"/>
                      <a:gd name="connsiteX6" fmla="*/ 261 w 75351"/>
                      <a:gd name="connsiteY6" fmla="*/ 34087 h 74862"/>
                      <a:gd name="connsiteX7" fmla="*/ 8749 w 75351"/>
                      <a:gd name="connsiteY7" fmla="*/ 4797 h 74862"/>
                      <a:gd name="connsiteX8" fmla="*/ 17039 w 75351"/>
                      <a:gd name="connsiteY8" fmla="*/ 260 h 74862"/>
                      <a:gd name="connsiteX9" fmla="*/ 21641 w 75351"/>
                      <a:gd name="connsiteY9" fmla="*/ 8433 h 74862"/>
                      <a:gd name="connsiteX10" fmla="*/ 15596 w 75351"/>
                      <a:gd name="connsiteY10" fmla="*/ 29297 h 74862"/>
                      <a:gd name="connsiteX11" fmla="*/ 57713 w 75351"/>
                      <a:gd name="connsiteY11" fmla="*/ 29297 h 74862"/>
                      <a:gd name="connsiteX12" fmla="*/ 75352 w 75351"/>
                      <a:gd name="connsiteY12" fmla="*/ 46689 h 74862"/>
                      <a:gd name="connsiteX13" fmla="*/ 75352 w 75351"/>
                      <a:gd name="connsiteY13" fmla="*/ 68254 h 74862"/>
                      <a:gd name="connsiteX14" fmla="*/ 68642 w 75351"/>
                      <a:gd name="connsiteY14" fmla="*/ 74862 h 7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351" h="74862">
                        <a:moveTo>
                          <a:pt x="68642" y="74862"/>
                        </a:moveTo>
                        <a:cubicBezTo>
                          <a:pt x="64940" y="74862"/>
                          <a:pt x="61936" y="71902"/>
                          <a:pt x="61936" y="68254"/>
                        </a:cubicBezTo>
                        <a:lnTo>
                          <a:pt x="61936" y="46689"/>
                        </a:lnTo>
                        <a:cubicBezTo>
                          <a:pt x="61936" y="44390"/>
                          <a:pt x="60038" y="42517"/>
                          <a:pt x="57706" y="42517"/>
                        </a:cubicBezTo>
                        <a:lnTo>
                          <a:pt x="6703" y="42517"/>
                        </a:lnTo>
                        <a:cubicBezTo>
                          <a:pt x="4599" y="42517"/>
                          <a:pt x="2618" y="41541"/>
                          <a:pt x="1352" y="39886"/>
                        </a:cubicBezTo>
                        <a:cubicBezTo>
                          <a:pt x="84" y="38230"/>
                          <a:pt x="-321" y="36082"/>
                          <a:pt x="261" y="34087"/>
                        </a:cubicBezTo>
                        <a:lnTo>
                          <a:pt x="8749" y="4797"/>
                        </a:lnTo>
                        <a:cubicBezTo>
                          <a:pt x="9769" y="1286"/>
                          <a:pt x="13471" y="-753"/>
                          <a:pt x="17039" y="260"/>
                        </a:cubicBezTo>
                        <a:cubicBezTo>
                          <a:pt x="20596" y="1265"/>
                          <a:pt x="22660" y="4920"/>
                          <a:pt x="21641" y="8433"/>
                        </a:cubicBezTo>
                        <a:lnTo>
                          <a:pt x="15596" y="29297"/>
                        </a:lnTo>
                        <a:lnTo>
                          <a:pt x="57713" y="29297"/>
                        </a:lnTo>
                        <a:cubicBezTo>
                          <a:pt x="67438" y="29297"/>
                          <a:pt x="75352" y="37098"/>
                          <a:pt x="75352" y="46689"/>
                        </a:cubicBezTo>
                        <a:lnTo>
                          <a:pt x="75352" y="68254"/>
                        </a:lnTo>
                        <a:cubicBezTo>
                          <a:pt x="75348" y="71902"/>
                          <a:pt x="72344" y="74862"/>
                          <a:pt x="68642" y="74862"/>
                        </a:cubicBezTo>
                        <a:close/>
                      </a:path>
                    </a:pathLst>
                  </a:custGeom>
                  <a:grpFill/>
                  <a:ln w="361" cap="flat">
                    <a:noFill/>
                    <a:prstDash val="solid"/>
                    <a:miter/>
                  </a:ln>
                </p:spPr>
                <p:txBody>
                  <a:bodyPr rtlCol="0" anchor="ctr"/>
                  <a:lstStyle/>
                  <a:p>
                    <a:endParaRPr lang="en-GB" dirty="0"/>
                  </a:p>
                </p:txBody>
              </p:sp>
            </p:grpSp>
            <p:sp>
              <p:nvSpPr>
                <p:cNvPr id="105" name="Freihandform: Form 676">
                  <a:extLst>
                    <a:ext uri="{FF2B5EF4-FFF2-40B4-BE49-F238E27FC236}">
                      <a16:creationId xmlns:a16="http://schemas.microsoft.com/office/drawing/2014/main" id="{DEA16D05-9419-4C84-9F68-3C9CF48BFADF}"/>
                    </a:ext>
                  </a:extLst>
                </p:cNvPr>
                <p:cNvSpPr/>
                <p:nvPr/>
              </p:nvSpPr>
              <p:spPr>
                <a:xfrm>
                  <a:off x="5431251" y="2446427"/>
                  <a:ext cx="89801" cy="101094"/>
                </a:xfrm>
                <a:custGeom>
                  <a:avLst/>
                  <a:gdLst>
                    <a:gd name="connsiteX0" fmla="*/ 44901 w 89801"/>
                    <a:gd name="connsiteY0" fmla="*/ 101095 h 101094"/>
                    <a:gd name="connsiteX1" fmla="*/ 0 w 89801"/>
                    <a:gd name="connsiteY1" fmla="*/ 50548 h 101094"/>
                    <a:gd name="connsiteX2" fmla="*/ 44901 w 89801"/>
                    <a:gd name="connsiteY2" fmla="*/ 0 h 101094"/>
                    <a:gd name="connsiteX3" fmla="*/ 89801 w 89801"/>
                    <a:gd name="connsiteY3" fmla="*/ 50548 h 101094"/>
                    <a:gd name="connsiteX4" fmla="*/ 44901 w 89801"/>
                    <a:gd name="connsiteY4" fmla="*/ 101095 h 101094"/>
                    <a:gd name="connsiteX5" fmla="*/ 44901 w 89801"/>
                    <a:gd name="connsiteY5" fmla="*/ 13221 h 101094"/>
                    <a:gd name="connsiteX6" fmla="*/ 13409 w 89801"/>
                    <a:gd name="connsiteY6" fmla="*/ 50548 h 101094"/>
                    <a:gd name="connsiteX7" fmla="*/ 44901 w 89801"/>
                    <a:gd name="connsiteY7" fmla="*/ 87874 h 101094"/>
                    <a:gd name="connsiteX8" fmla="*/ 76392 w 89801"/>
                    <a:gd name="connsiteY8" fmla="*/ 50548 h 101094"/>
                    <a:gd name="connsiteX9" fmla="*/ 44901 w 89801"/>
                    <a:gd name="connsiteY9" fmla="*/ 13221 h 101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801" h="101094">
                      <a:moveTo>
                        <a:pt x="44901" y="101095"/>
                      </a:moveTo>
                      <a:cubicBezTo>
                        <a:pt x="18463" y="101095"/>
                        <a:pt x="0" y="80308"/>
                        <a:pt x="0" y="50548"/>
                      </a:cubicBezTo>
                      <a:cubicBezTo>
                        <a:pt x="0" y="20784"/>
                        <a:pt x="18463" y="0"/>
                        <a:pt x="44901" y="0"/>
                      </a:cubicBezTo>
                      <a:cubicBezTo>
                        <a:pt x="71338" y="0"/>
                        <a:pt x="89801" y="20787"/>
                        <a:pt x="89801" y="50548"/>
                      </a:cubicBezTo>
                      <a:cubicBezTo>
                        <a:pt x="89801" y="80311"/>
                        <a:pt x="71338" y="101095"/>
                        <a:pt x="44901" y="101095"/>
                      </a:cubicBezTo>
                      <a:close/>
                      <a:moveTo>
                        <a:pt x="44901" y="13221"/>
                      </a:moveTo>
                      <a:cubicBezTo>
                        <a:pt x="21655" y="13221"/>
                        <a:pt x="13409" y="33328"/>
                        <a:pt x="13409" y="50548"/>
                      </a:cubicBezTo>
                      <a:cubicBezTo>
                        <a:pt x="13409" y="67767"/>
                        <a:pt x="21655" y="87874"/>
                        <a:pt x="44901" y="87874"/>
                      </a:cubicBezTo>
                      <a:cubicBezTo>
                        <a:pt x="68146" y="87874"/>
                        <a:pt x="76392" y="67767"/>
                        <a:pt x="76392" y="50548"/>
                      </a:cubicBezTo>
                      <a:cubicBezTo>
                        <a:pt x="76392" y="33328"/>
                        <a:pt x="68146" y="13221"/>
                        <a:pt x="44901" y="13221"/>
                      </a:cubicBezTo>
                      <a:close/>
                    </a:path>
                  </a:pathLst>
                </a:custGeom>
                <a:grpFill/>
                <a:ln w="361" cap="flat">
                  <a:noFill/>
                  <a:prstDash val="solid"/>
                  <a:miter/>
                </a:ln>
              </p:spPr>
              <p:txBody>
                <a:bodyPr rtlCol="0" anchor="ctr"/>
                <a:lstStyle/>
                <a:p>
                  <a:endParaRPr lang="en-GB" dirty="0"/>
                </a:p>
              </p:txBody>
            </p:sp>
            <p:sp>
              <p:nvSpPr>
                <p:cNvPr id="106" name="Freihandform: Form 677">
                  <a:extLst>
                    <a:ext uri="{FF2B5EF4-FFF2-40B4-BE49-F238E27FC236}">
                      <a16:creationId xmlns:a16="http://schemas.microsoft.com/office/drawing/2014/main" id="{2455C3FE-416B-43B8-98A0-F4C8FF7051B7}"/>
                    </a:ext>
                  </a:extLst>
                </p:cNvPr>
                <p:cNvSpPr/>
                <p:nvPr/>
              </p:nvSpPr>
              <p:spPr>
                <a:xfrm>
                  <a:off x="5362573" y="2559409"/>
                  <a:ext cx="227152" cy="138757"/>
                </a:xfrm>
                <a:custGeom>
                  <a:avLst/>
                  <a:gdLst>
                    <a:gd name="connsiteX0" fmla="*/ 202708 w 227152"/>
                    <a:gd name="connsiteY0" fmla="*/ 138758 h 138757"/>
                    <a:gd name="connsiteX1" fmla="*/ 24451 w 227152"/>
                    <a:gd name="connsiteY1" fmla="*/ 138758 h 138757"/>
                    <a:gd name="connsiteX2" fmla="*/ 4860 w 227152"/>
                    <a:gd name="connsiteY2" fmla="*/ 129781 h 138757"/>
                    <a:gd name="connsiteX3" fmla="*/ 2141 w 227152"/>
                    <a:gd name="connsiteY3" fmla="*/ 100733 h 138757"/>
                    <a:gd name="connsiteX4" fmla="*/ 21844 w 227152"/>
                    <a:gd name="connsiteY4" fmla="*/ 40573 h 138757"/>
                    <a:gd name="connsiteX5" fmla="*/ 70833 w 227152"/>
                    <a:gd name="connsiteY5" fmla="*/ 0 h 138757"/>
                    <a:gd name="connsiteX6" fmla="*/ 156325 w 227152"/>
                    <a:gd name="connsiteY6" fmla="*/ 0 h 138757"/>
                    <a:gd name="connsiteX7" fmla="*/ 205249 w 227152"/>
                    <a:gd name="connsiteY7" fmla="*/ 40389 h 138757"/>
                    <a:gd name="connsiteX8" fmla="*/ 225003 w 227152"/>
                    <a:gd name="connsiteY8" fmla="*/ 100690 h 138757"/>
                    <a:gd name="connsiteX9" fmla="*/ 222295 w 227152"/>
                    <a:gd name="connsiteY9" fmla="*/ 129778 h 138757"/>
                    <a:gd name="connsiteX10" fmla="*/ 202708 w 227152"/>
                    <a:gd name="connsiteY10" fmla="*/ 138758 h 138757"/>
                    <a:gd name="connsiteX11" fmla="*/ 70837 w 227152"/>
                    <a:gd name="connsiteY11" fmla="*/ 13221 h 138757"/>
                    <a:gd name="connsiteX12" fmla="*/ 34548 w 227152"/>
                    <a:gd name="connsiteY12" fmla="*/ 44814 h 138757"/>
                    <a:gd name="connsiteX13" fmla="*/ 14917 w 227152"/>
                    <a:gd name="connsiteY13" fmla="*/ 104754 h 138757"/>
                    <a:gd name="connsiteX14" fmla="*/ 15673 w 227152"/>
                    <a:gd name="connsiteY14" fmla="*/ 121965 h 138757"/>
                    <a:gd name="connsiteX15" fmla="*/ 24451 w 227152"/>
                    <a:gd name="connsiteY15" fmla="*/ 125534 h 138757"/>
                    <a:gd name="connsiteX16" fmla="*/ 202708 w 227152"/>
                    <a:gd name="connsiteY16" fmla="*/ 125534 h 138757"/>
                    <a:gd name="connsiteX17" fmla="*/ 211486 w 227152"/>
                    <a:gd name="connsiteY17" fmla="*/ 121965 h 138757"/>
                    <a:gd name="connsiteX18" fmla="*/ 212230 w 227152"/>
                    <a:gd name="connsiteY18" fmla="*/ 104710 h 138757"/>
                    <a:gd name="connsiteX19" fmla="*/ 192553 w 227152"/>
                    <a:gd name="connsiteY19" fmla="*/ 44629 h 138757"/>
                    <a:gd name="connsiteX20" fmla="*/ 156325 w 227152"/>
                    <a:gd name="connsiteY20" fmla="*/ 13217 h 138757"/>
                    <a:gd name="connsiteX21" fmla="*/ 70837 w 227152"/>
                    <a:gd name="connsiteY21" fmla="*/ 13217 h 138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7152" h="138757">
                      <a:moveTo>
                        <a:pt x="202708" y="138758"/>
                      </a:moveTo>
                      <a:lnTo>
                        <a:pt x="24451" y="138758"/>
                      </a:lnTo>
                      <a:cubicBezTo>
                        <a:pt x="13771" y="138758"/>
                        <a:pt x="7900" y="133877"/>
                        <a:pt x="4860" y="129781"/>
                      </a:cubicBezTo>
                      <a:cubicBezTo>
                        <a:pt x="-480" y="122602"/>
                        <a:pt x="-1470" y="112009"/>
                        <a:pt x="2141" y="100733"/>
                      </a:cubicBezTo>
                      <a:lnTo>
                        <a:pt x="21844" y="40573"/>
                      </a:lnTo>
                      <a:cubicBezTo>
                        <a:pt x="31562" y="13589"/>
                        <a:pt x="48021" y="0"/>
                        <a:pt x="70833" y="0"/>
                      </a:cubicBezTo>
                      <a:lnTo>
                        <a:pt x="156325" y="0"/>
                      </a:lnTo>
                      <a:cubicBezTo>
                        <a:pt x="179137" y="0"/>
                        <a:pt x="195597" y="13589"/>
                        <a:pt x="205249" y="40389"/>
                      </a:cubicBezTo>
                      <a:lnTo>
                        <a:pt x="225003" y="100690"/>
                      </a:lnTo>
                      <a:cubicBezTo>
                        <a:pt x="228625" y="112009"/>
                        <a:pt x="227635" y="122598"/>
                        <a:pt x="222295" y="129778"/>
                      </a:cubicBezTo>
                      <a:cubicBezTo>
                        <a:pt x="219255" y="133877"/>
                        <a:pt x="213384" y="138758"/>
                        <a:pt x="202708" y="138758"/>
                      </a:cubicBezTo>
                      <a:close/>
                      <a:moveTo>
                        <a:pt x="70837" y="13221"/>
                      </a:moveTo>
                      <a:cubicBezTo>
                        <a:pt x="53842" y="13221"/>
                        <a:pt x="42313" y="23260"/>
                        <a:pt x="34548" y="44814"/>
                      </a:cubicBezTo>
                      <a:lnTo>
                        <a:pt x="14917" y="104754"/>
                      </a:lnTo>
                      <a:cubicBezTo>
                        <a:pt x="12683" y="111720"/>
                        <a:pt x="12972" y="118329"/>
                        <a:pt x="15673" y="121965"/>
                      </a:cubicBezTo>
                      <a:cubicBezTo>
                        <a:pt x="17459" y="124366"/>
                        <a:pt x="20333" y="125534"/>
                        <a:pt x="24451" y="125534"/>
                      </a:cubicBezTo>
                      <a:lnTo>
                        <a:pt x="202708" y="125534"/>
                      </a:lnTo>
                      <a:cubicBezTo>
                        <a:pt x="206826" y="125534"/>
                        <a:pt x="209696" y="124366"/>
                        <a:pt x="211486" y="121965"/>
                      </a:cubicBezTo>
                      <a:cubicBezTo>
                        <a:pt x="214190" y="118329"/>
                        <a:pt x="214475" y="111716"/>
                        <a:pt x="212230" y="104710"/>
                      </a:cubicBezTo>
                      <a:lnTo>
                        <a:pt x="192553" y="44629"/>
                      </a:lnTo>
                      <a:cubicBezTo>
                        <a:pt x="184849" y="23256"/>
                        <a:pt x="173320" y="13217"/>
                        <a:pt x="156325" y="13217"/>
                      </a:cubicBezTo>
                      <a:lnTo>
                        <a:pt x="70837" y="13217"/>
                      </a:lnTo>
                      <a:close/>
                    </a:path>
                  </a:pathLst>
                </a:custGeom>
                <a:grpFill/>
                <a:ln w="361" cap="flat">
                  <a:noFill/>
                  <a:prstDash val="solid"/>
                  <a:miter/>
                </a:ln>
              </p:spPr>
              <p:txBody>
                <a:bodyPr rtlCol="0" anchor="ctr"/>
                <a:lstStyle/>
                <a:p>
                  <a:endParaRPr lang="en-GB" dirty="0"/>
                </a:p>
              </p:txBody>
            </p:sp>
          </p:grpSp>
        </p:grpSp>
        <p:grpSp>
          <p:nvGrpSpPr>
            <p:cNvPr id="91" name="Gruppieren 951">
              <a:extLst>
                <a:ext uri="{FF2B5EF4-FFF2-40B4-BE49-F238E27FC236}">
                  <a16:creationId xmlns:a16="http://schemas.microsoft.com/office/drawing/2014/main" id="{7F919F20-E807-426C-8543-7AE6BDA1E9F7}"/>
                </a:ext>
              </a:extLst>
            </p:cNvPr>
            <p:cNvGrpSpPr/>
            <p:nvPr/>
          </p:nvGrpSpPr>
          <p:grpSpPr>
            <a:xfrm>
              <a:off x="3770919" y="1592635"/>
              <a:ext cx="372867" cy="139564"/>
              <a:chOff x="5290726" y="2453042"/>
              <a:chExt cx="370851" cy="138809"/>
            </a:xfrm>
          </p:grpSpPr>
          <p:grpSp>
            <p:nvGrpSpPr>
              <p:cNvPr id="92" name="Graphic 5">
                <a:extLst>
                  <a:ext uri="{FF2B5EF4-FFF2-40B4-BE49-F238E27FC236}">
                    <a16:creationId xmlns:a16="http://schemas.microsoft.com/office/drawing/2014/main" id="{A790773B-30B7-42B1-851F-E3B33F450158}"/>
                  </a:ext>
                </a:extLst>
              </p:cNvPr>
              <p:cNvGrpSpPr/>
              <p:nvPr/>
            </p:nvGrpSpPr>
            <p:grpSpPr>
              <a:xfrm>
                <a:off x="5563309" y="2453042"/>
                <a:ext cx="98268" cy="138809"/>
                <a:chOff x="5563309" y="2453042"/>
                <a:chExt cx="98268" cy="138809"/>
              </a:xfrm>
              <a:solidFill>
                <a:schemeClr val="accent1"/>
              </a:solidFill>
            </p:grpSpPr>
            <p:sp>
              <p:nvSpPr>
                <p:cNvPr id="97" name="Freihandform: Form 679">
                  <a:extLst>
                    <a:ext uri="{FF2B5EF4-FFF2-40B4-BE49-F238E27FC236}">
                      <a16:creationId xmlns:a16="http://schemas.microsoft.com/office/drawing/2014/main" id="{B9A6D6E2-4E27-4890-BB1F-4C8BD1B2F04E}"/>
                    </a:ext>
                  </a:extLst>
                </p:cNvPr>
                <p:cNvSpPr/>
                <p:nvPr/>
              </p:nvSpPr>
              <p:spPr>
                <a:xfrm>
                  <a:off x="5596834" y="2505920"/>
                  <a:ext cx="40222" cy="39660"/>
                </a:xfrm>
                <a:custGeom>
                  <a:avLst/>
                  <a:gdLst>
                    <a:gd name="connsiteX0" fmla="*/ 6703 w 40222"/>
                    <a:gd name="connsiteY0" fmla="*/ 39660 h 39660"/>
                    <a:gd name="connsiteX1" fmla="*/ 1963 w 40222"/>
                    <a:gd name="connsiteY1" fmla="*/ 37723 h 39660"/>
                    <a:gd name="connsiteX2" fmla="*/ 1963 w 40222"/>
                    <a:gd name="connsiteY2" fmla="*/ 28377 h 39660"/>
                    <a:gd name="connsiteX3" fmla="*/ 28780 w 40222"/>
                    <a:gd name="connsiteY3" fmla="*/ 1936 h 39660"/>
                    <a:gd name="connsiteX4" fmla="*/ 38259 w 40222"/>
                    <a:gd name="connsiteY4" fmla="*/ 1936 h 39660"/>
                    <a:gd name="connsiteX5" fmla="*/ 38259 w 40222"/>
                    <a:gd name="connsiteY5" fmla="*/ 11281 h 39660"/>
                    <a:gd name="connsiteX6" fmla="*/ 11442 w 40222"/>
                    <a:gd name="connsiteY6" fmla="*/ 37723 h 39660"/>
                    <a:gd name="connsiteX7" fmla="*/ 6703 w 40222"/>
                    <a:gd name="connsiteY7" fmla="*/ 39660 h 3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22" h="39660">
                      <a:moveTo>
                        <a:pt x="6703" y="39660"/>
                      </a:moveTo>
                      <a:cubicBezTo>
                        <a:pt x="4989" y="39660"/>
                        <a:pt x="3272" y="39013"/>
                        <a:pt x="1963" y="37723"/>
                      </a:cubicBezTo>
                      <a:cubicBezTo>
                        <a:pt x="-654" y="35141"/>
                        <a:pt x="-654" y="30959"/>
                        <a:pt x="1963" y="28377"/>
                      </a:cubicBezTo>
                      <a:lnTo>
                        <a:pt x="28780" y="1936"/>
                      </a:lnTo>
                      <a:cubicBezTo>
                        <a:pt x="31398" y="-645"/>
                        <a:pt x="35642" y="-645"/>
                        <a:pt x="38259" y="1936"/>
                      </a:cubicBezTo>
                      <a:cubicBezTo>
                        <a:pt x="40877" y="4517"/>
                        <a:pt x="40877" y="8700"/>
                        <a:pt x="38259" y="11281"/>
                      </a:cubicBezTo>
                      <a:lnTo>
                        <a:pt x="11442" y="37723"/>
                      </a:lnTo>
                      <a:cubicBezTo>
                        <a:pt x="10133" y="39013"/>
                        <a:pt x="8420" y="39660"/>
                        <a:pt x="6703" y="39660"/>
                      </a:cubicBezTo>
                      <a:close/>
                    </a:path>
                  </a:pathLst>
                </a:custGeom>
                <a:solidFill>
                  <a:schemeClr val="accent1"/>
                </a:solidFill>
                <a:ln w="361" cap="flat">
                  <a:noFill/>
                  <a:prstDash val="solid"/>
                  <a:miter/>
                </a:ln>
              </p:spPr>
              <p:txBody>
                <a:bodyPr rtlCol="0" anchor="ctr"/>
                <a:lstStyle/>
                <a:p>
                  <a:endParaRPr lang="en-GB" dirty="0"/>
                </a:p>
              </p:txBody>
            </p:sp>
            <p:sp>
              <p:nvSpPr>
                <p:cNvPr id="98" name="Freihandform: Form 680">
                  <a:extLst>
                    <a:ext uri="{FF2B5EF4-FFF2-40B4-BE49-F238E27FC236}">
                      <a16:creationId xmlns:a16="http://schemas.microsoft.com/office/drawing/2014/main" id="{703509E1-745D-4361-BA0F-116C39B0E741}"/>
                    </a:ext>
                  </a:extLst>
                </p:cNvPr>
                <p:cNvSpPr/>
                <p:nvPr/>
              </p:nvSpPr>
              <p:spPr>
                <a:xfrm>
                  <a:off x="5610239" y="2578634"/>
                  <a:ext cx="51339" cy="13217"/>
                </a:xfrm>
                <a:custGeom>
                  <a:avLst/>
                  <a:gdLst>
                    <a:gd name="connsiteX0" fmla="*/ 44633 w 51339"/>
                    <a:gd name="connsiteY0" fmla="*/ 13217 h 13217"/>
                    <a:gd name="connsiteX1" fmla="*/ 6706 w 51339"/>
                    <a:gd name="connsiteY1" fmla="*/ 13217 h 13217"/>
                    <a:gd name="connsiteX2" fmla="*/ 0 w 51339"/>
                    <a:gd name="connsiteY2" fmla="*/ 6609 h 13217"/>
                    <a:gd name="connsiteX3" fmla="*/ 6706 w 51339"/>
                    <a:gd name="connsiteY3" fmla="*/ 0 h 13217"/>
                    <a:gd name="connsiteX4" fmla="*/ 44633 w 51339"/>
                    <a:gd name="connsiteY4" fmla="*/ 0 h 13217"/>
                    <a:gd name="connsiteX5" fmla="*/ 51339 w 51339"/>
                    <a:gd name="connsiteY5" fmla="*/ 6609 h 13217"/>
                    <a:gd name="connsiteX6" fmla="*/ 44633 w 51339"/>
                    <a:gd name="connsiteY6" fmla="*/ 13217 h 1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39" h="13217">
                      <a:moveTo>
                        <a:pt x="44633" y="13217"/>
                      </a:moveTo>
                      <a:lnTo>
                        <a:pt x="6706" y="13217"/>
                      </a:lnTo>
                      <a:cubicBezTo>
                        <a:pt x="3004" y="13217"/>
                        <a:pt x="0" y="10256"/>
                        <a:pt x="0" y="6609"/>
                      </a:cubicBezTo>
                      <a:cubicBezTo>
                        <a:pt x="0" y="2957"/>
                        <a:pt x="3001" y="0"/>
                        <a:pt x="6706" y="0"/>
                      </a:cubicBezTo>
                      <a:lnTo>
                        <a:pt x="44633" y="0"/>
                      </a:lnTo>
                      <a:cubicBezTo>
                        <a:pt x="48335" y="0"/>
                        <a:pt x="51339" y="2961"/>
                        <a:pt x="51339" y="6609"/>
                      </a:cubicBezTo>
                      <a:cubicBezTo>
                        <a:pt x="51339" y="10256"/>
                        <a:pt x="48335" y="13217"/>
                        <a:pt x="44633" y="13217"/>
                      </a:cubicBezTo>
                      <a:close/>
                    </a:path>
                  </a:pathLst>
                </a:custGeom>
                <a:solidFill>
                  <a:schemeClr val="accent1"/>
                </a:solidFill>
                <a:ln w="361" cap="flat">
                  <a:noFill/>
                  <a:prstDash val="solid"/>
                  <a:miter/>
                </a:ln>
              </p:spPr>
              <p:txBody>
                <a:bodyPr rtlCol="0" anchor="ctr"/>
                <a:lstStyle/>
                <a:p>
                  <a:endParaRPr lang="en-GB" dirty="0"/>
                </a:p>
              </p:txBody>
            </p:sp>
            <p:sp>
              <p:nvSpPr>
                <p:cNvPr id="99" name="Freihandform: Form 681">
                  <a:extLst>
                    <a:ext uri="{FF2B5EF4-FFF2-40B4-BE49-F238E27FC236}">
                      <a16:creationId xmlns:a16="http://schemas.microsoft.com/office/drawing/2014/main" id="{892EE79A-D600-4B51-8079-92C471460289}"/>
                    </a:ext>
                  </a:extLst>
                </p:cNvPr>
                <p:cNvSpPr/>
                <p:nvPr/>
              </p:nvSpPr>
              <p:spPr>
                <a:xfrm>
                  <a:off x="5563309" y="2453042"/>
                  <a:ext cx="33923" cy="44670"/>
                </a:xfrm>
                <a:custGeom>
                  <a:avLst/>
                  <a:gdLst>
                    <a:gd name="connsiteX0" fmla="*/ 6700 w 33923"/>
                    <a:gd name="connsiteY0" fmla="*/ 44670 h 44670"/>
                    <a:gd name="connsiteX1" fmla="*/ 3078 w 33923"/>
                    <a:gd name="connsiteY1" fmla="*/ 43622 h 44670"/>
                    <a:gd name="connsiteX2" fmla="*/ 1064 w 33923"/>
                    <a:gd name="connsiteY2" fmla="*/ 34486 h 44670"/>
                    <a:gd name="connsiteX3" fmla="*/ 21576 w 33923"/>
                    <a:gd name="connsiteY3" fmla="*/ 3034 h 44670"/>
                    <a:gd name="connsiteX4" fmla="*/ 30846 w 33923"/>
                    <a:gd name="connsiteY4" fmla="*/ 1050 h 44670"/>
                    <a:gd name="connsiteX5" fmla="*/ 32859 w 33923"/>
                    <a:gd name="connsiteY5" fmla="*/ 10185 h 44670"/>
                    <a:gd name="connsiteX6" fmla="*/ 12347 w 33923"/>
                    <a:gd name="connsiteY6" fmla="*/ 41637 h 44670"/>
                    <a:gd name="connsiteX7" fmla="*/ 6700 w 33923"/>
                    <a:gd name="connsiteY7" fmla="*/ 44670 h 44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23" h="44670">
                      <a:moveTo>
                        <a:pt x="6700" y="44670"/>
                      </a:moveTo>
                      <a:cubicBezTo>
                        <a:pt x="5460" y="44670"/>
                        <a:pt x="4202" y="44331"/>
                        <a:pt x="3078" y="43622"/>
                      </a:cubicBezTo>
                      <a:cubicBezTo>
                        <a:pt x="-35" y="41648"/>
                        <a:pt x="-935" y="37556"/>
                        <a:pt x="1064" y="34486"/>
                      </a:cubicBezTo>
                      <a:lnTo>
                        <a:pt x="21576" y="3034"/>
                      </a:lnTo>
                      <a:cubicBezTo>
                        <a:pt x="23583" y="-31"/>
                        <a:pt x="27726" y="-924"/>
                        <a:pt x="30846" y="1050"/>
                      </a:cubicBezTo>
                      <a:cubicBezTo>
                        <a:pt x="33958" y="3023"/>
                        <a:pt x="34859" y="7116"/>
                        <a:pt x="32859" y="10185"/>
                      </a:cubicBezTo>
                      <a:lnTo>
                        <a:pt x="12347" y="41637"/>
                      </a:lnTo>
                      <a:cubicBezTo>
                        <a:pt x="11063" y="43597"/>
                        <a:pt x="8905" y="44670"/>
                        <a:pt x="6700" y="44670"/>
                      </a:cubicBezTo>
                      <a:close/>
                    </a:path>
                  </a:pathLst>
                </a:custGeom>
                <a:solidFill>
                  <a:schemeClr val="accent1"/>
                </a:solidFill>
                <a:ln w="361" cap="flat">
                  <a:noFill/>
                  <a:prstDash val="solid"/>
                  <a:miter/>
                </a:ln>
              </p:spPr>
              <p:txBody>
                <a:bodyPr rtlCol="0" anchor="ctr"/>
                <a:lstStyle/>
                <a:p>
                  <a:endParaRPr lang="en-GB" dirty="0"/>
                </a:p>
              </p:txBody>
            </p:sp>
          </p:grpSp>
          <p:grpSp>
            <p:nvGrpSpPr>
              <p:cNvPr id="93" name="Graphic 5">
                <a:extLst>
                  <a:ext uri="{FF2B5EF4-FFF2-40B4-BE49-F238E27FC236}">
                    <a16:creationId xmlns:a16="http://schemas.microsoft.com/office/drawing/2014/main" id="{5CD1DBFA-DDBE-4C2E-ADF3-C9DDDB637813}"/>
                  </a:ext>
                </a:extLst>
              </p:cNvPr>
              <p:cNvGrpSpPr/>
              <p:nvPr/>
            </p:nvGrpSpPr>
            <p:grpSpPr>
              <a:xfrm>
                <a:off x="5290726" y="2453042"/>
                <a:ext cx="98268" cy="138809"/>
                <a:chOff x="5290726" y="2453042"/>
                <a:chExt cx="98268" cy="138809"/>
              </a:xfrm>
              <a:solidFill>
                <a:schemeClr val="accent1"/>
              </a:solidFill>
            </p:grpSpPr>
            <p:sp>
              <p:nvSpPr>
                <p:cNvPr id="94" name="Freihandform: Form 683">
                  <a:extLst>
                    <a:ext uri="{FF2B5EF4-FFF2-40B4-BE49-F238E27FC236}">
                      <a16:creationId xmlns:a16="http://schemas.microsoft.com/office/drawing/2014/main" id="{DBFA1F83-2135-4C19-9F7C-CB36F759ACE3}"/>
                    </a:ext>
                  </a:extLst>
                </p:cNvPr>
                <p:cNvSpPr/>
                <p:nvPr/>
              </p:nvSpPr>
              <p:spPr>
                <a:xfrm>
                  <a:off x="5315247" y="2505920"/>
                  <a:ext cx="40222" cy="39660"/>
                </a:xfrm>
                <a:custGeom>
                  <a:avLst/>
                  <a:gdLst>
                    <a:gd name="connsiteX0" fmla="*/ 33520 w 40222"/>
                    <a:gd name="connsiteY0" fmla="*/ 39660 h 39660"/>
                    <a:gd name="connsiteX1" fmla="*/ 28780 w 40222"/>
                    <a:gd name="connsiteY1" fmla="*/ 37723 h 39660"/>
                    <a:gd name="connsiteX2" fmla="*/ 1963 w 40222"/>
                    <a:gd name="connsiteY2" fmla="*/ 11281 h 39660"/>
                    <a:gd name="connsiteX3" fmla="*/ 1963 w 40222"/>
                    <a:gd name="connsiteY3" fmla="*/ 1936 h 39660"/>
                    <a:gd name="connsiteX4" fmla="*/ 11442 w 40222"/>
                    <a:gd name="connsiteY4" fmla="*/ 1936 h 39660"/>
                    <a:gd name="connsiteX5" fmla="*/ 38259 w 40222"/>
                    <a:gd name="connsiteY5" fmla="*/ 28377 h 39660"/>
                    <a:gd name="connsiteX6" fmla="*/ 38259 w 40222"/>
                    <a:gd name="connsiteY6" fmla="*/ 37723 h 39660"/>
                    <a:gd name="connsiteX7" fmla="*/ 33520 w 40222"/>
                    <a:gd name="connsiteY7" fmla="*/ 39660 h 39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22" h="39660">
                      <a:moveTo>
                        <a:pt x="33520" y="39660"/>
                      </a:moveTo>
                      <a:cubicBezTo>
                        <a:pt x="31806" y="39660"/>
                        <a:pt x="30089" y="39013"/>
                        <a:pt x="28780" y="37723"/>
                      </a:cubicBezTo>
                      <a:lnTo>
                        <a:pt x="1963" y="11281"/>
                      </a:lnTo>
                      <a:cubicBezTo>
                        <a:pt x="-654" y="8700"/>
                        <a:pt x="-654" y="4517"/>
                        <a:pt x="1963" y="1936"/>
                      </a:cubicBezTo>
                      <a:cubicBezTo>
                        <a:pt x="4580" y="-645"/>
                        <a:pt x="8825" y="-645"/>
                        <a:pt x="11442" y="1936"/>
                      </a:cubicBezTo>
                      <a:lnTo>
                        <a:pt x="38259" y="28377"/>
                      </a:lnTo>
                      <a:cubicBezTo>
                        <a:pt x="40877" y="30959"/>
                        <a:pt x="40877" y="35141"/>
                        <a:pt x="38259" y="37723"/>
                      </a:cubicBezTo>
                      <a:cubicBezTo>
                        <a:pt x="36951" y="39013"/>
                        <a:pt x="35234" y="39660"/>
                        <a:pt x="33520" y="39660"/>
                      </a:cubicBezTo>
                      <a:close/>
                    </a:path>
                  </a:pathLst>
                </a:custGeom>
                <a:solidFill>
                  <a:schemeClr val="accent1"/>
                </a:solidFill>
                <a:ln w="361" cap="flat">
                  <a:noFill/>
                  <a:prstDash val="solid"/>
                  <a:miter/>
                </a:ln>
              </p:spPr>
              <p:txBody>
                <a:bodyPr rtlCol="0" anchor="ctr"/>
                <a:lstStyle/>
                <a:p>
                  <a:endParaRPr lang="en-GB" dirty="0"/>
                </a:p>
              </p:txBody>
            </p:sp>
            <p:sp>
              <p:nvSpPr>
                <p:cNvPr id="95" name="Freihandform: Form 684">
                  <a:extLst>
                    <a:ext uri="{FF2B5EF4-FFF2-40B4-BE49-F238E27FC236}">
                      <a16:creationId xmlns:a16="http://schemas.microsoft.com/office/drawing/2014/main" id="{6A5CC2BF-5820-46B4-830B-17953A592792}"/>
                    </a:ext>
                  </a:extLst>
                </p:cNvPr>
                <p:cNvSpPr/>
                <p:nvPr/>
              </p:nvSpPr>
              <p:spPr>
                <a:xfrm>
                  <a:off x="5290726" y="2578634"/>
                  <a:ext cx="51339" cy="13217"/>
                </a:xfrm>
                <a:custGeom>
                  <a:avLst/>
                  <a:gdLst>
                    <a:gd name="connsiteX0" fmla="*/ 44633 w 51339"/>
                    <a:gd name="connsiteY0" fmla="*/ 13217 h 13217"/>
                    <a:gd name="connsiteX1" fmla="*/ 6706 w 51339"/>
                    <a:gd name="connsiteY1" fmla="*/ 13217 h 13217"/>
                    <a:gd name="connsiteX2" fmla="*/ 0 w 51339"/>
                    <a:gd name="connsiteY2" fmla="*/ 6609 h 13217"/>
                    <a:gd name="connsiteX3" fmla="*/ 6706 w 51339"/>
                    <a:gd name="connsiteY3" fmla="*/ 0 h 13217"/>
                    <a:gd name="connsiteX4" fmla="*/ 44633 w 51339"/>
                    <a:gd name="connsiteY4" fmla="*/ 0 h 13217"/>
                    <a:gd name="connsiteX5" fmla="*/ 51339 w 51339"/>
                    <a:gd name="connsiteY5" fmla="*/ 6609 h 13217"/>
                    <a:gd name="connsiteX6" fmla="*/ 44633 w 51339"/>
                    <a:gd name="connsiteY6" fmla="*/ 13217 h 1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339" h="13217">
                      <a:moveTo>
                        <a:pt x="44633" y="13217"/>
                      </a:moveTo>
                      <a:lnTo>
                        <a:pt x="6706" y="13217"/>
                      </a:lnTo>
                      <a:cubicBezTo>
                        <a:pt x="3004" y="13217"/>
                        <a:pt x="0" y="10256"/>
                        <a:pt x="0" y="6609"/>
                      </a:cubicBezTo>
                      <a:cubicBezTo>
                        <a:pt x="0" y="2957"/>
                        <a:pt x="3001" y="0"/>
                        <a:pt x="6706" y="0"/>
                      </a:cubicBezTo>
                      <a:lnTo>
                        <a:pt x="44633" y="0"/>
                      </a:lnTo>
                      <a:cubicBezTo>
                        <a:pt x="48335" y="0"/>
                        <a:pt x="51339" y="2961"/>
                        <a:pt x="51339" y="6609"/>
                      </a:cubicBezTo>
                      <a:cubicBezTo>
                        <a:pt x="51336" y="10256"/>
                        <a:pt x="48335" y="13217"/>
                        <a:pt x="44633" y="13217"/>
                      </a:cubicBezTo>
                      <a:close/>
                    </a:path>
                  </a:pathLst>
                </a:custGeom>
                <a:solidFill>
                  <a:schemeClr val="accent1"/>
                </a:solidFill>
                <a:ln w="361" cap="flat">
                  <a:noFill/>
                  <a:prstDash val="solid"/>
                  <a:miter/>
                </a:ln>
              </p:spPr>
              <p:txBody>
                <a:bodyPr rtlCol="0" anchor="ctr"/>
                <a:lstStyle/>
                <a:p>
                  <a:endParaRPr lang="en-GB" dirty="0"/>
                </a:p>
              </p:txBody>
            </p:sp>
            <p:sp>
              <p:nvSpPr>
                <p:cNvPr id="96" name="Freihandform: Form 685">
                  <a:extLst>
                    <a:ext uri="{FF2B5EF4-FFF2-40B4-BE49-F238E27FC236}">
                      <a16:creationId xmlns:a16="http://schemas.microsoft.com/office/drawing/2014/main" id="{03BAB6BE-0C3A-421A-A93B-2F341E1C5156}"/>
                    </a:ext>
                  </a:extLst>
                </p:cNvPr>
                <p:cNvSpPr/>
                <p:nvPr/>
              </p:nvSpPr>
              <p:spPr>
                <a:xfrm>
                  <a:off x="5355075" y="2453042"/>
                  <a:ext cx="33919" cy="44670"/>
                </a:xfrm>
                <a:custGeom>
                  <a:avLst/>
                  <a:gdLst>
                    <a:gd name="connsiteX0" fmla="*/ 27220 w 33919"/>
                    <a:gd name="connsiteY0" fmla="*/ 44670 h 44670"/>
                    <a:gd name="connsiteX1" fmla="*/ 21573 w 33919"/>
                    <a:gd name="connsiteY1" fmla="*/ 41637 h 44670"/>
                    <a:gd name="connsiteX2" fmla="*/ 1064 w 33919"/>
                    <a:gd name="connsiteY2" fmla="*/ 10185 h 44670"/>
                    <a:gd name="connsiteX3" fmla="*/ 3078 w 33919"/>
                    <a:gd name="connsiteY3" fmla="*/ 1050 h 44670"/>
                    <a:gd name="connsiteX4" fmla="*/ 12347 w 33919"/>
                    <a:gd name="connsiteY4" fmla="*/ 3034 h 44670"/>
                    <a:gd name="connsiteX5" fmla="*/ 32856 w 33919"/>
                    <a:gd name="connsiteY5" fmla="*/ 34486 h 44670"/>
                    <a:gd name="connsiteX6" fmla="*/ 30842 w 33919"/>
                    <a:gd name="connsiteY6" fmla="*/ 43622 h 44670"/>
                    <a:gd name="connsiteX7" fmla="*/ 27220 w 33919"/>
                    <a:gd name="connsiteY7" fmla="*/ 44670 h 44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9" h="44670">
                      <a:moveTo>
                        <a:pt x="27220" y="44670"/>
                      </a:moveTo>
                      <a:cubicBezTo>
                        <a:pt x="25014" y="44670"/>
                        <a:pt x="22856" y="43600"/>
                        <a:pt x="21573" y="41637"/>
                      </a:cubicBezTo>
                      <a:lnTo>
                        <a:pt x="1064" y="10185"/>
                      </a:lnTo>
                      <a:cubicBezTo>
                        <a:pt x="-935" y="7112"/>
                        <a:pt x="-35" y="3023"/>
                        <a:pt x="3078" y="1050"/>
                      </a:cubicBezTo>
                      <a:cubicBezTo>
                        <a:pt x="6201" y="-924"/>
                        <a:pt x="10337" y="-31"/>
                        <a:pt x="12347" y="3034"/>
                      </a:cubicBezTo>
                      <a:lnTo>
                        <a:pt x="32856" y="34486"/>
                      </a:lnTo>
                      <a:cubicBezTo>
                        <a:pt x="34855" y="37559"/>
                        <a:pt x="33955" y="41648"/>
                        <a:pt x="30842" y="43622"/>
                      </a:cubicBezTo>
                      <a:cubicBezTo>
                        <a:pt x="29718" y="44331"/>
                        <a:pt x="28463" y="44670"/>
                        <a:pt x="27220" y="44670"/>
                      </a:cubicBezTo>
                      <a:close/>
                    </a:path>
                  </a:pathLst>
                </a:custGeom>
                <a:solidFill>
                  <a:schemeClr val="accent1"/>
                </a:solidFill>
                <a:ln w="361" cap="flat">
                  <a:noFill/>
                  <a:prstDash val="solid"/>
                  <a:miter/>
                </a:ln>
              </p:spPr>
              <p:txBody>
                <a:bodyPr rtlCol="0" anchor="ctr"/>
                <a:lstStyle/>
                <a:p>
                  <a:endParaRPr lang="en-GB" dirty="0"/>
                </a:p>
              </p:txBody>
            </p:sp>
          </p:grpSp>
        </p:grpSp>
      </p:grpSp>
      <p:grpSp>
        <p:nvGrpSpPr>
          <p:cNvPr id="46" name="Group 45">
            <a:extLst>
              <a:ext uri="{FF2B5EF4-FFF2-40B4-BE49-F238E27FC236}">
                <a16:creationId xmlns:a16="http://schemas.microsoft.com/office/drawing/2014/main" id="{21517B94-A507-4296-8014-C42503A11D7E}"/>
              </a:ext>
            </a:extLst>
          </p:cNvPr>
          <p:cNvGrpSpPr/>
          <p:nvPr/>
        </p:nvGrpSpPr>
        <p:grpSpPr>
          <a:xfrm>
            <a:off x="555640" y="2399021"/>
            <a:ext cx="476820" cy="432000"/>
            <a:chOff x="555640" y="2399021"/>
            <a:chExt cx="476820" cy="432000"/>
          </a:xfrm>
        </p:grpSpPr>
        <p:grpSp>
          <p:nvGrpSpPr>
            <p:cNvPr id="110" name="Gruppieren 969">
              <a:extLst>
                <a:ext uri="{FF2B5EF4-FFF2-40B4-BE49-F238E27FC236}">
                  <a16:creationId xmlns:a16="http://schemas.microsoft.com/office/drawing/2014/main" id="{5A87E3FE-0226-49DB-A60F-F990BAD461E6}"/>
                </a:ext>
              </a:extLst>
            </p:cNvPr>
            <p:cNvGrpSpPr/>
            <p:nvPr/>
          </p:nvGrpSpPr>
          <p:grpSpPr>
            <a:xfrm>
              <a:off x="555640" y="2399021"/>
              <a:ext cx="476820" cy="222347"/>
              <a:chOff x="6933223" y="4079702"/>
              <a:chExt cx="496132" cy="231353"/>
            </a:xfrm>
          </p:grpSpPr>
          <p:sp>
            <p:nvSpPr>
              <p:cNvPr id="120" name="Freihandform: Form 831">
                <a:extLst>
                  <a:ext uri="{FF2B5EF4-FFF2-40B4-BE49-F238E27FC236}">
                    <a16:creationId xmlns:a16="http://schemas.microsoft.com/office/drawing/2014/main" id="{EC42C311-440A-4CE0-9881-E80499F5EFAF}"/>
                  </a:ext>
                </a:extLst>
              </p:cNvPr>
              <p:cNvSpPr/>
              <p:nvPr/>
            </p:nvSpPr>
            <p:spPr>
              <a:xfrm>
                <a:off x="7074013" y="4198688"/>
                <a:ext cx="214539" cy="112367"/>
              </a:xfrm>
              <a:custGeom>
                <a:avLst/>
                <a:gdLst>
                  <a:gd name="connsiteX0" fmla="*/ 207840 w 214539"/>
                  <a:gd name="connsiteY0" fmla="*/ 112367 h 112367"/>
                  <a:gd name="connsiteX1" fmla="*/ 201134 w 214539"/>
                  <a:gd name="connsiteY1" fmla="*/ 105759 h 112367"/>
                  <a:gd name="connsiteX2" fmla="*/ 201134 w 214539"/>
                  <a:gd name="connsiteY2" fmla="*/ 85933 h 112367"/>
                  <a:gd name="connsiteX3" fmla="*/ 134091 w 214539"/>
                  <a:gd name="connsiteY3" fmla="*/ 13221 h 112367"/>
                  <a:gd name="connsiteX4" fmla="*/ 80456 w 214539"/>
                  <a:gd name="connsiteY4" fmla="*/ 13221 h 112367"/>
                  <a:gd name="connsiteX5" fmla="*/ 13412 w 214539"/>
                  <a:gd name="connsiteY5" fmla="*/ 85933 h 112367"/>
                  <a:gd name="connsiteX6" fmla="*/ 13412 w 214539"/>
                  <a:gd name="connsiteY6" fmla="*/ 105759 h 112367"/>
                  <a:gd name="connsiteX7" fmla="*/ 6706 w 214539"/>
                  <a:gd name="connsiteY7" fmla="*/ 112367 h 112367"/>
                  <a:gd name="connsiteX8" fmla="*/ 0 w 214539"/>
                  <a:gd name="connsiteY8" fmla="*/ 105759 h 112367"/>
                  <a:gd name="connsiteX9" fmla="*/ 0 w 214539"/>
                  <a:gd name="connsiteY9" fmla="*/ 85933 h 112367"/>
                  <a:gd name="connsiteX10" fmla="*/ 80452 w 214539"/>
                  <a:gd name="connsiteY10" fmla="*/ 0 h 112367"/>
                  <a:gd name="connsiteX11" fmla="*/ 134087 w 214539"/>
                  <a:gd name="connsiteY11" fmla="*/ 0 h 112367"/>
                  <a:gd name="connsiteX12" fmla="*/ 214539 w 214539"/>
                  <a:gd name="connsiteY12" fmla="*/ 85933 h 112367"/>
                  <a:gd name="connsiteX13" fmla="*/ 214539 w 214539"/>
                  <a:gd name="connsiteY13" fmla="*/ 105759 h 112367"/>
                  <a:gd name="connsiteX14" fmla="*/ 207840 w 214539"/>
                  <a:gd name="connsiteY14" fmla="*/ 112367 h 112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4539" h="112367">
                    <a:moveTo>
                      <a:pt x="207840" y="112367"/>
                    </a:moveTo>
                    <a:cubicBezTo>
                      <a:pt x="204135" y="112367"/>
                      <a:pt x="201134" y="109410"/>
                      <a:pt x="201134" y="105759"/>
                    </a:cubicBezTo>
                    <a:lnTo>
                      <a:pt x="201134" y="85933"/>
                    </a:lnTo>
                    <a:cubicBezTo>
                      <a:pt x="201134" y="43798"/>
                      <a:pt x="172936" y="13221"/>
                      <a:pt x="134091" y="13221"/>
                    </a:cubicBezTo>
                    <a:lnTo>
                      <a:pt x="80456" y="13221"/>
                    </a:lnTo>
                    <a:cubicBezTo>
                      <a:pt x="41611" y="13221"/>
                      <a:pt x="13412" y="43798"/>
                      <a:pt x="13412" y="85933"/>
                    </a:cubicBezTo>
                    <a:lnTo>
                      <a:pt x="13412" y="105759"/>
                    </a:lnTo>
                    <a:cubicBezTo>
                      <a:pt x="13412" y="109413"/>
                      <a:pt x="10412" y="112367"/>
                      <a:pt x="6706" y="112367"/>
                    </a:cubicBezTo>
                    <a:cubicBezTo>
                      <a:pt x="3001" y="112367"/>
                      <a:pt x="0" y="109410"/>
                      <a:pt x="0" y="105759"/>
                    </a:cubicBezTo>
                    <a:lnTo>
                      <a:pt x="0" y="85933"/>
                    </a:lnTo>
                    <a:cubicBezTo>
                      <a:pt x="0" y="36944"/>
                      <a:pt x="34590" y="0"/>
                      <a:pt x="80452" y="0"/>
                    </a:cubicBezTo>
                    <a:lnTo>
                      <a:pt x="134087" y="0"/>
                    </a:lnTo>
                    <a:cubicBezTo>
                      <a:pt x="179949" y="0"/>
                      <a:pt x="214539" y="36944"/>
                      <a:pt x="214539" y="85933"/>
                    </a:cubicBezTo>
                    <a:lnTo>
                      <a:pt x="214539" y="105759"/>
                    </a:lnTo>
                    <a:cubicBezTo>
                      <a:pt x="214547" y="109410"/>
                      <a:pt x="211546" y="112367"/>
                      <a:pt x="207840" y="112367"/>
                    </a:cubicBezTo>
                    <a:close/>
                  </a:path>
                </a:pathLst>
              </a:custGeom>
              <a:solidFill>
                <a:schemeClr val="tx2"/>
              </a:solidFill>
              <a:ln w="361" cap="flat">
                <a:noFill/>
                <a:prstDash val="solid"/>
                <a:miter/>
              </a:ln>
            </p:spPr>
            <p:txBody>
              <a:bodyPr rtlCol="0" anchor="ctr"/>
              <a:lstStyle/>
              <a:p>
                <a:endParaRPr lang="en-GB" dirty="0"/>
              </a:p>
            </p:txBody>
          </p:sp>
          <p:sp>
            <p:nvSpPr>
              <p:cNvPr id="121" name="Freihandform: Form 833">
                <a:extLst>
                  <a:ext uri="{FF2B5EF4-FFF2-40B4-BE49-F238E27FC236}">
                    <a16:creationId xmlns:a16="http://schemas.microsoft.com/office/drawing/2014/main" id="{5A84F3D3-F76E-4D1E-A185-B7FBA0FB7A4A}"/>
                  </a:ext>
                </a:extLst>
              </p:cNvPr>
              <p:cNvSpPr/>
              <p:nvPr/>
            </p:nvSpPr>
            <p:spPr>
              <a:xfrm>
                <a:off x="7134353" y="4079702"/>
                <a:ext cx="93864" cy="105765"/>
              </a:xfrm>
              <a:custGeom>
                <a:avLst/>
                <a:gdLst>
                  <a:gd name="connsiteX0" fmla="*/ 46932 w 93864"/>
                  <a:gd name="connsiteY0" fmla="*/ 105766 h 105765"/>
                  <a:gd name="connsiteX1" fmla="*/ 0 w 93864"/>
                  <a:gd name="connsiteY1" fmla="*/ 52883 h 105765"/>
                  <a:gd name="connsiteX2" fmla="*/ 46932 w 93864"/>
                  <a:gd name="connsiteY2" fmla="*/ 0 h 105765"/>
                  <a:gd name="connsiteX3" fmla="*/ 93865 w 93864"/>
                  <a:gd name="connsiteY3" fmla="*/ 52883 h 105765"/>
                  <a:gd name="connsiteX4" fmla="*/ 46932 w 93864"/>
                  <a:gd name="connsiteY4" fmla="*/ 105766 h 105765"/>
                  <a:gd name="connsiteX5" fmla="*/ 46932 w 93864"/>
                  <a:gd name="connsiteY5" fmla="*/ 13224 h 105765"/>
                  <a:gd name="connsiteX6" fmla="*/ 13409 w 93864"/>
                  <a:gd name="connsiteY6" fmla="*/ 52887 h 105765"/>
                  <a:gd name="connsiteX7" fmla="*/ 46932 w 93864"/>
                  <a:gd name="connsiteY7" fmla="*/ 92549 h 105765"/>
                  <a:gd name="connsiteX8" fmla="*/ 80456 w 93864"/>
                  <a:gd name="connsiteY8" fmla="*/ 52887 h 105765"/>
                  <a:gd name="connsiteX9" fmla="*/ 46932 w 93864"/>
                  <a:gd name="connsiteY9" fmla="*/ 13224 h 1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64" h="105765">
                    <a:moveTo>
                      <a:pt x="46932" y="105766"/>
                    </a:moveTo>
                    <a:cubicBezTo>
                      <a:pt x="18864" y="105766"/>
                      <a:pt x="0" y="84516"/>
                      <a:pt x="0" y="52883"/>
                    </a:cubicBezTo>
                    <a:cubicBezTo>
                      <a:pt x="0" y="21254"/>
                      <a:pt x="18864" y="0"/>
                      <a:pt x="46932" y="0"/>
                    </a:cubicBezTo>
                    <a:cubicBezTo>
                      <a:pt x="75001" y="0"/>
                      <a:pt x="93865" y="21250"/>
                      <a:pt x="93865" y="52883"/>
                    </a:cubicBezTo>
                    <a:cubicBezTo>
                      <a:pt x="93865" y="84516"/>
                      <a:pt x="75001" y="105766"/>
                      <a:pt x="46932" y="105766"/>
                    </a:cubicBezTo>
                    <a:close/>
                    <a:moveTo>
                      <a:pt x="46932" y="13224"/>
                    </a:moveTo>
                    <a:cubicBezTo>
                      <a:pt x="22190" y="13224"/>
                      <a:pt x="13409" y="34590"/>
                      <a:pt x="13409" y="52887"/>
                    </a:cubicBezTo>
                    <a:cubicBezTo>
                      <a:pt x="13409" y="71183"/>
                      <a:pt x="22190" y="92549"/>
                      <a:pt x="46932" y="92549"/>
                    </a:cubicBezTo>
                    <a:cubicBezTo>
                      <a:pt x="71675" y="92549"/>
                      <a:pt x="80456" y="71183"/>
                      <a:pt x="80456" y="52887"/>
                    </a:cubicBezTo>
                    <a:cubicBezTo>
                      <a:pt x="80456" y="34590"/>
                      <a:pt x="71675" y="13224"/>
                      <a:pt x="46932" y="13224"/>
                    </a:cubicBezTo>
                    <a:close/>
                  </a:path>
                </a:pathLst>
              </a:custGeom>
              <a:solidFill>
                <a:schemeClr val="tx2"/>
              </a:solidFill>
              <a:ln w="361" cap="flat">
                <a:noFill/>
                <a:prstDash val="solid"/>
                <a:miter/>
              </a:ln>
            </p:spPr>
            <p:txBody>
              <a:bodyPr rtlCol="0" anchor="ctr"/>
              <a:lstStyle/>
              <a:p>
                <a:endParaRPr lang="en-GB" dirty="0"/>
              </a:p>
            </p:txBody>
          </p:sp>
          <p:sp>
            <p:nvSpPr>
              <p:cNvPr id="122" name="Freihandform: Form 834">
                <a:extLst>
                  <a:ext uri="{FF2B5EF4-FFF2-40B4-BE49-F238E27FC236}">
                    <a16:creationId xmlns:a16="http://schemas.microsoft.com/office/drawing/2014/main" id="{9CCDFAFC-BF16-46FB-965E-9908F78F73C7}"/>
                  </a:ext>
                </a:extLst>
              </p:cNvPr>
              <p:cNvSpPr/>
              <p:nvPr/>
            </p:nvSpPr>
            <p:spPr>
              <a:xfrm>
                <a:off x="7291913" y="4231742"/>
                <a:ext cx="137442" cy="79313"/>
              </a:xfrm>
              <a:custGeom>
                <a:avLst/>
                <a:gdLst>
                  <a:gd name="connsiteX0" fmla="*/ 130736 w 137442"/>
                  <a:gd name="connsiteY0" fmla="*/ 79313 h 79313"/>
                  <a:gd name="connsiteX1" fmla="*/ 16761 w 137442"/>
                  <a:gd name="connsiteY1" fmla="*/ 79313 h 79313"/>
                  <a:gd name="connsiteX2" fmla="*/ 10058 w 137442"/>
                  <a:gd name="connsiteY2" fmla="*/ 72705 h 79313"/>
                  <a:gd name="connsiteX3" fmla="*/ 16761 w 137442"/>
                  <a:gd name="connsiteY3" fmla="*/ 66096 h 79313"/>
                  <a:gd name="connsiteX4" fmla="*/ 123647 w 137442"/>
                  <a:gd name="connsiteY4" fmla="*/ 66096 h 79313"/>
                  <a:gd name="connsiteX5" fmla="*/ 64564 w 137442"/>
                  <a:gd name="connsiteY5" fmla="*/ 13221 h 79313"/>
                  <a:gd name="connsiteX6" fmla="*/ 22596 w 137442"/>
                  <a:gd name="connsiteY6" fmla="*/ 13221 h 79313"/>
                  <a:gd name="connsiteX7" fmla="*/ 8630 w 137442"/>
                  <a:gd name="connsiteY7" fmla="*/ 15422 h 79313"/>
                  <a:gd name="connsiteX8" fmla="*/ 283 w 137442"/>
                  <a:gd name="connsiteY8" fmla="*/ 10986 h 79313"/>
                  <a:gd name="connsiteX9" fmla="*/ 4780 w 137442"/>
                  <a:gd name="connsiteY9" fmla="*/ 2755 h 79313"/>
                  <a:gd name="connsiteX10" fmla="*/ 22596 w 137442"/>
                  <a:gd name="connsiteY10" fmla="*/ 0 h 79313"/>
                  <a:gd name="connsiteX11" fmla="*/ 64564 w 137442"/>
                  <a:gd name="connsiteY11" fmla="*/ 0 h 79313"/>
                  <a:gd name="connsiteX12" fmla="*/ 137443 w 137442"/>
                  <a:gd name="connsiteY12" fmla="*/ 72705 h 79313"/>
                  <a:gd name="connsiteX13" fmla="*/ 130736 w 137442"/>
                  <a:gd name="connsiteY13" fmla="*/ 79313 h 7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442" h="79313">
                    <a:moveTo>
                      <a:pt x="130736" y="79313"/>
                    </a:moveTo>
                    <a:lnTo>
                      <a:pt x="16761" y="79313"/>
                    </a:lnTo>
                    <a:cubicBezTo>
                      <a:pt x="13055" y="79313"/>
                      <a:pt x="10058" y="76356"/>
                      <a:pt x="10058" y="72705"/>
                    </a:cubicBezTo>
                    <a:cubicBezTo>
                      <a:pt x="10058" y="69050"/>
                      <a:pt x="13055" y="66096"/>
                      <a:pt x="16761" y="66096"/>
                    </a:cubicBezTo>
                    <a:lnTo>
                      <a:pt x="123647" y="66096"/>
                    </a:lnTo>
                    <a:cubicBezTo>
                      <a:pt x="120242" y="36821"/>
                      <a:pt x="94570" y="13221"/>
                      <a:pt x="64564" y="13221"/>
                    </a:cubicBezTo>
                    <a:lnTo>
                      <a:pt x="22596" y="13221"/>
                    </a:lnTo>
                    <a:cubicBezTo>
                      <a:pt x="16580" y="13221"/>
                      <a:pt x="14255" y="13756"/>
                      <a:pt x="8630" y="15422"/>
                    </a:cubicBezTo>
                    <a:cubicBezTo>
                      <a:pt x="5069" y="16456"/>
                      <a:pt x="1342" y="14486"/>
                      <a:pt x="283" y="10986"/>
                    </a:cubicBezTo>
                    <a:cubicBezTo>
                      <a:pt x="-777" y="7487"/>
                      <a:pt x="1233" y="3810"/>
                      <a:pt x="4780" y="2755"/>
                    </a:cubicBezTo>
                    <a:cubicBezTo>
                      <a:pt x="11262" y="839"/>
                      <a:pt x="14910" y="0"/>
                      <a:pt x="22596" y="0"/>
                    </a:cubicBezTo>
                    <a:lnTo>
                      <a:pt x="64564" y="0"/>
                    </a:lnTo>
                    <a:cubicBezTo>
                      <a:pt x="104071" y="0"/>
                      <a:pt x="137443" y="33296"/>
                      <a:pt x="137443" y="72705"/>
                    </a:cubicBezTo>
                    <a:cubicBezTo>
                      <a:pt x="137439" y="76356"/>
                      <a:pt x="134442" y="79313"/>
                      <a:pt x="130736" y="79313"/>
                    </a:cubicBezTo>
                    <a:close/>
                  </a:path>
                </a:pathLst>
              </a:custGeom>
              <a:solidFill>
                <a:schemeClr val="tx2"/>
              </a:solidFill>
              <a:ln w="361" cap="flat">
                <a:noFill/>
                <a:prstDash val="solid"/>
                <a:miter/>
              </a:ln>
            </p:spPr>
            <p:txBody>
              <a:bodyPr rtlCol="0" anchor="ctr"/>
              <a:lstStyle/>
              <a:p>
                <a:endParaRPr lang="en-GB" dirty="0"/>
              </a:p>
            </p:txBody>
          </p:sp>
          <p:sp>
            <p:nvSpPr>
              <p:cNvPr id="123" name="Freihandform: Form 835">
                <a:extLst>
                  <a:ext uri="{FF2B5EF4-FFF2-40B4-BE49-F238E27FC236}">
                    <a16:creationId xmlns:a16="http://schemas.microsoft.com/office/drawing/2014/main" id="{7F6C6C38-864C-4F96-AB6E-9122DA712590}"/>
                  </a:ext>
                </a:extLst>
              </p:cNvPr>
              <p:cNvSpPr/>
              <p:nvPr/>
            </p:nvSpPr>
            <p:spPr>
              <a:xfrm>
                <a:off x="7295265" y="4125976"/>
                <a:ext cx="80452" cy="92541"/>
              </a:xfrm>
              <a:custGeom>
                <a:avLst/>
                <a:gdLst>
                  <a:gd name="connsiteX0" fmla="*/ 40226 w 80452"/>
                  <a:gd name="connsiteY0" fmla="*/ 92541 h 92541"/>
                  <a:gd name="connsiteX1" fmla="*/ 0 w 80452"/>
                  <a:gd name="connsiteY1" fmla="*/ 46271 h 92541"/>
                  <a:gd name="connsiteX2" fmla="*/ 40226 w 80452"/>
                  <a:gd name="connsiteY2" fmla="*/ 0 h 92541"/>
                  <a:gd name="connsiteX3" fmla="*/ 80452 w 80452"/>
                  <a:gd name="connsiteY3" fmla="*/ 46271 h 92541"/>
                  <a:gd name="connsiteX4" fmla="*/ 40226 w 80452"/>
                  <a:gd name="connsiteY4" fmla="*/ 92541 h 92541"/>
                  <a:gd name="connsiteX5" fmla="*/ 40226 w 80452"/>
                  <a:gd name="connsiteY5" fmla="*/ 13221 h 92541"/>
                  <a:gd name="connsiteX6" fmla="*/ 13409 w 80452"/>
                  <a:gd name="connsiteY6" fmla="*/ 46271 h 92541"/>
                  <a:gd name="connsiteX7" fmla="*/ 40226 w 80452"/>
                  <a:gd name="connsiteY7" fmla="*/ 79321 h 92541"/>
                  <a:gd name="connsiteX8" fmla="*/ 67044 w 80452"/>
                  <a:gd name="connsiteY8" fmla="*/ 46271 h 92541"/>
                  <a:gd name="connsiteX9" fmla="*/ 40226 w 80452"/>
                  <a:gd name="connsiteY9" fmla="*/ 13221 h 92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452" h="92541">
                    <a:moveTo>
                      <a:pt x="40226" y="92541"/>
                    </a:moveTo>
                    <a:cubicBezTo>
                      <a:pt x="16163" y="92541"/>
                      <a:pt x="0" y="73945"/>
                      <a:pt x="0" y="46271"/>
                    </a:cubicBezTo>
                    <a:cubicBezTo>
                      <a:pt x="0" y="18596"/>
                      <a:pt x="16163" y="0"/>
                      <a:pt x="40226" y="0"/>
                    </a:cubicBezTo>
                    <a:cubicBezTo>
                      <a:pt x="64289" y="0"/>
                      <a:pt x="80452" y="18596"/>
                      <a:pt x="80452" y="46271"/>
                    </a:cubicBezTo>
                    <a:cubicBezTo>
                      <a:pt x="80452" y="73945"/>
                      <a:pt x="64285" y="92541"/>
                      <a:pt x="40226" y="92541"/>
                    </a:cubicBezTo>
                    <a:close/>
                    <a:moveTo>
                      <a:pt x="40226" y="13221"/>
                    </a:moveTo>
                    <a:cubicBezTo>
                      <a:pt x="20455" y="13221"/>
                      <a:pt x="13409" y="30295"/>
                      <a:pt x="13409" y="46271"/>
                    </a:cubicBezTo>
                    <a:cubicBezTo>
                      <a:pt x="13409" y="62246"/>
                      <a:pt x="20455" y="79321"/>
                      <a:pt x="40226" y="79321"/>
                    </a:cubicBezTo>
                    <a:cubicBezTo>
                      <a:pt x="59998" y="79321"/>
                      <a:pt x="67044" y="62246"/>
                      <a:pt x="67044" y="46271"/>
                    </a:cubicBezTo>
                    <a:cubicBezTo>
                      <a:pt x="67044" y="30295"/>
                      <a:pt x="59998" y="13221"/>
                      <a:pt x="40226" y="13221"/>
                    </a:cubicBezTo>
                    <a:close/>
                  </a:path>
                </a:pathLst>
              </a:custGeom>
              <a:solidFill>
                <a:schemeClr val="tx2"/>
              </a:solidFill>
              <a:ln w="361" cap="flat">
                <a:noFill/>
                <a:prstDash val="solid"/>
                <a:miter/>
              </a:ln>
            </p:spPr>
            <p:txBody>
              <a:bodyPr rtlCol="0" anchor="ctr"/>
              <a:lstStyle/>
              <a:p>
                <a:endParaRPr lang="en-GB" dirty="0"/>
              </a:p>
            </p:txBody>
          </p:sp>
          <p:sp>
            <p:nvSpPr>
              <p:cNvPr id="124" name="Freihandform: Form 836">
                <a:extLst>
                  <a:ext uri="{FF2B5EF4-FFF2-40B4-BE49-F238E27FC236}">
                    <a16:creationId xmlns:a16="http://schemas.microsoft.com/office/drawing/2014/main" id="{4EAC1DA6-6944-49B2-A74D-8F065029E683}"/>
                  </a:ext>
                </a:extLst>
              </p:cNvPr>
              <p:cNvSpPr/>
              <p:nvPr/>
            </p:nvSpPr>
            <p:spPr>
              <a:xfrm>
                <a:off x="6933223" y="4231742"/>
                <a:ext cx="135347" cy="79313"/>
              </a:xfrm>
              <a:custGeom>
                <a:avLst/>
                <a:gdLst>
                  <a:gd name="connsiteX0" fmla="*/ 113976 w 135347"/>
                  <a:gd name="connsiteY0" fmla="*/ 79313 h 79313"/>
                  <a:gd name="connsiteX1" fmla="*/ 6703 w 135347"/>
                  <a:gd name="connsiteY1" fmla="*/ 79313 h 79313"/>
                  <a:gd name="connsiteX2" fmla="*/ 0 w 135347"/>
                  <a:gd name="connsiteY2" fmla="*/ 72705 h 79313"/>
                  <a:gd name="connsiteX3" fmla="*/ 72879 w 135347"/>
                  <a:gd name="connsiteY3" fmla="*/ 0 h 79313"/>
                  <a:gd name="connsiteX4" fmla="*/ 114847 w 135347"/>
                  <a:gd name="connsiteY4" fmla="*/ 0 h 79313"/>
                  <a:gd name="connsiteX5" fmla="*/ 130566 w 135347"/>
                  <a:gd name="connsiteY5" fmla="*/ 2343 h 79313"/>
                  <a:gd name="connsiteX6" fmla="*/ 135063 w 135347"/>
                  <a:gd name="connsiteY6" fmla="*/ 10574 h 79313"/>
                  <a:gd name="connsiteX7" fmla="*/ 126716 w 135347"/>
                  <a:gd name="connsiteY7" fmla="*/ 15010 h 79313"/>
                  <a:gd name="connsiteX8" fmla="*/ 114847 w 135347"/>
                  <a:gd name="connsiteY8" fmla="*/ 13221 h 79313"/>
                  <a:gd name="connsiteX9" fmla="*/ 72879 w 135347"/>
                  <a:gd name="connsiteY9" fmla="*/ 13221 h 79313"/>
                  <a:gd name="connsiteX10" fmla="*/ 13796 w 135347"/>
                  <a:gd name="connsiteY10" fmla="*/ 66096 h 79313"/>
                  <a:gd name="connsiteX11" fmla="*/ 113976 w 135347"/>
                  <a:gd name="connsiteY11" fmla="*/ 66096 h 79313"/>
                  <a:gd name="connsiteX12" fmla="*/ 120682 w 135347"/>
                  <a:gd name="connsiteY12" fmla="*/ 72705 h 79313"/>
                  <a:gd name="connsiteX13" fmla="*/ 113976 w 135347"/>
                  <a:gd name="connsiteY13" fmla="*/ 79313 h 7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347" h="79313">
                    <a:moveTo>
                      <a:pt x="113976" y="79313"/>
                    </a:moveTo>
                    <a:lnTo>
                      <a:pt x="6703" y="79313"/>
                    </a:lnTo>
                    <a:cubicBezTo>
                      <a:pt x="2997" y="79313"/>
                      <a:pt x="0" y="76356"/>
                      <a:pt x="0" y="72705"/>
                    </a:cubicBezTo>
                    <a:cubicBezTo>
                      <a:pt x="0" y="33296"/>
                      <a:pt x="33372" y="0"/>
                      <a:pt x="72879" y="0"/>
                    </a:cubicBezTo>
                    <a:lnTo>
                      <a:pt x="114847" y="0"/>
                    </a:lnTo>
                    <a:cubicBezTo>
                      <a:pt x="122403" y="0"/>
                      <a:pt x="123896" y="372"/>
                      <a:pt x="130566" y="2343"/>
                    </a:cubicBezTo>
                    <a:cubicBezTo>
                      <a:pt x="134116" y="3395"/>
                      <a:pt x="136126" y="7075"/>
                      <a:pt x="135063" y="10574"/>
                    </a:cubicBezTo>
                    <a:cubicBezTo>
                      <a:pt x="133997" y="14067"/>
                      <a:pt x="130277" y="16044"/>
                      <a:pt x="126716" y="15010"/>
                    </a:cubicBezTo>
                    <a:cubicBezTo>
                      <a:pt x="120895" y="13286"/>
                      <a:pt x="120671" y="13221"/>
                      <a:pt x="114847" y="13221"/>
                    </a:cubicBezTo>
                    <a:lnTo>
                      <a:pt x="72879" y="13221"/>
                    </a:lnTo>
                    <a:cubicBezTo>
                      <a:pt x="42873" y="13221"/>
                      <a:pt x="17201" y="36821"/>
                      <a:pt x="13796" y="66096"/>
                    </a:cubicBezTo>
                    <a:lnTo>
                      <a:pt x="113976" y="66096"/>
                    </a:lnTo>
                    <a:cubicBezTo>
                      <a:pt x="117681" y="66096"/>
                      <a:pt x="120682" y="69054"/>
                      <a:pt x="120682" y="72705"/>
                    </a:cubicBezTo>
                    <a:cubicBezTo>
                      <a:pt x="120678" y="76356"/>
                      <a:pt x="117681" y="79313"/>
                      <a:pt x="113976" y="79313"/>
                    </a:cubicBezTo>
                    <a:close/>
                  </a:path>
                </a:pathLst>
              </a:custGeom>
              <a:solidFill>
                <a:schemeClr val="tx2"/>
              </a:solidFill>
              <a:ln w="361" cap="flat">
                <a:noFill/>
                <a:prstDash val="solid"/>
                <a:miter/>
              </a:ln>
            </p:spPr>
            <p:txBody>
              <a:bodyPr rtlCol="0" anchor="ctr"/>
              <a:lstStyle/>
              <a:p>
                <a:endParaRPr lang="en-GB" dirty="0"/>
              </a:p>
            </p:txBody>
          </p:sp>
          <p:sp>
            <p:nvSpPr>
              <p:cNvPr id="125" name="Freihandform: Form 837">
                <a:extLst>
                  <a:ext uri="{FF2B5EF4-FFF2-40B4-BE49-F238E27FC236}">
                    <a16:creationId xmlns:a16="http://schemas.microsoft.com/office/drawing/2014/main" id="{DEDBB25C-9C41-4D47-96F9-9243BF4508E8}"/>
                  </a:ext>
                </a:extLst>
              </p:cNvPr>
              <p:cNvSpPr/>
              <p:nvPr/>
            </p:nvSpPr>
            <p:spPr>
              <a:xfrm>
                <a:off x="6986858" y="4125976"/>
                <a:ext cx="80452" cy="92541"/>
              </a:xfrm>
              <a:custGeom>
                <a:avLst/>
                <a:gdLst>
                  <a:gd name="connsiteX0" fmla="*/ 40226 w 80452"/>
                  <a:gd name="connsiteY0" fmla="*/ 92541 h 92541"/>
                  <a:gd name="connsiteX1" fmla="*/ 0 w 80452"/>
                  <a:gd name="connsiteY1" fmla="*/ 46271 h 92541"/>
                  <a:gd name="connsiteX2" fmla="*/ 40226 w 80452"/>
                  <a:gd name="connsiteY2" fmla="*/ 0 h 92541"/>
                  <a:gd name="connsiteX3" fmla="*/ 80452 w 80452"/>
                  <a:gd name="connsiteY3" fmla="*/ 46271 h 92541"/>
                  <a:gd name="connsiteX4" fmla="*/ 40226 w 80452"/>
                  <a:gd name="connsiteY4" fmla="*/ 92541 h 92541"/>
                  <a:gd name="connsiteX5" fmla="*/ 40226 w 80452"/>
                  <a:gd name="connsiteY5" fmla="*/ 13221 h 92541"/>
                  <a:gd name="connsiteX6" fmla="*/ 13409 w 80452"/>
                  <a:gd name="connsiteY6" fmla="*/ 46271 h 92541"/>
                  <a:gd name="connsiteX7" fmla="*/ 40226 w 80452"/>
                  <a:gd name="connsiteY7" fmla="*/ 79321 h 92541"/>
                  <a:gd name="connsiteX8" fmla="*/ 67043 w 80452"/>
                  <a:gd name="connsiteY8" fmla="*/ 46271 h 92541"/>
                  <a:gd name="connsiteX9" fmla="*/ 40226 w 80452"/>
                  <a:gd name="connsiteY9" fmla="*/ 13221 h 92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452" h="92541">
                    <a:moveTo>
                      <a:pt x="40226" y="92541"/>
                    </a:moveTo>
                    <a:cubicBezTo>
                      <a:pt x="16163" y="92541"/>
                      <a:pt x="0" y="73945"/>
                      <a:pt x="0" y="46271"/>
                    </a:cubicBezTo>
                    <a:cubicBezTo>
                      <a:pt x="0" y="18596"/>
                      <a:pt x="16163" y="0"/>
                      <a:pt x="40226" y="0"/>
                    </a:cubicBezTo>
                    <a:cubicBezTo>
                      <a:pt x="64289" y="0"/>
                      <a:pt x="80452" y="18596"/>
                      <a:pt x="80452" y="46271"/>
                    </a:cubicBezTo>
                    <a:cubicBezTo>
                      <a:pt x="80452" y="73945"/>
                      <a:pt x="64289" y="92541"/>
                      <a:pt x="40226" y="92541"/>
                    </a:cubicBezTo>
                    <a:close/>
                    <a:moveTo>
                      <a:pt x="40226" y="13221"/>
                    </a:moveTo>
                    <a:cubicBezTo>
                      <a:pt x="20455" y="13221"/>
                      <a:pt x="13409" y="30295"/>
                      <a:pt x="13409" y="46271"/>
                    </a:cubicBezTo>
                    <a:cubicBezTo>
                      <a:pt x="13409" y="62246"/>
                      <a:pt x="20455" y="79321"/>
                      <a:pt x="40226" y="79321"/>
                    </a:cubicBezTo>
                    <a:cubicBezTo>
                      <a:pt x="59998" y="79321"/>
                      <a:pt x="67043" y="62246"/>
                      <a:pt x="67043" y="46271"/>
                    </a:cubicBezTo>
                    <a:cubicBezTo>
                      <a:pt x="67043" y="30295"/>
                      <a:pt x="60001" y="13221"/>
                      <a:pt x="40226" y="13221"/>
                    </a:cubicBezTo>
                    <a:close/>
                  </a:path>
                </a:pathLst>
              </a:custGeom>
              <a:solidFill>
                <a:schemeClr val="tx2"/>
              </a:solidFill>
              <a:ln w="361" cap="flat">
                <a:noFill/>
                <a:prstDash val="solid"/>
                <a:miter/>
              </a:ln>
            </p:spPr>
            <p:txBody>
              <a:bodyPr rtlCol="0" anchor="ctr"/>
              <a:lstStyle/>
              <a:p>
                <a:endParaRPr lang="en-GB" dirty="0"/>
              </a:p>
            </p:txBody>
          </p:sp>
        </p:grpSp>
        <p:grpSp>
          <p:nvGrpSpPr>
            <p:cNvPr id="111" name="Gruppieren 970">
              <a:extLst>
                <a:ext uri="{FF2B5EF4-FFF2-40B4-BE49-F238E27FC236}">
                  <a16:creationId xmlns:a16="http://schemas.microsoft.com/office/drawing/2014/main" id="{C415E087-E137-4B31-AFA9-ACCFF3E7A99B}"/>
                </a:ext>
              </a:extLst>
            </p:cNvPr>
            <p:cNvGrpSpPr/>
            <p:nvPr/>
          </p:nvGrpSpPr>
          <p:grpSpPr>
            <a:xfrm>
              <a:off x="665176" y="2576906"/>
              <a:ext cx="257742" cy="254115"/>
              <a:chOff x="7047195" y="4264792"/>
              <a:chExt cx="268181" cy="264407"/>
            </a:xfrm>
          </p:grpSpPr>
          <p:sp>
            <p:nvSpPr>
              <p:cNvPr id="112" name="Freihandform: Form 839">
                <a:extLst>
                  <a:ext uri="{FF2B5EF4-FFF2-40B4-BE49-F238E27FC236}">
                    <a16:creationId xmlns:a16="http://schemas.microsoft.com/office/drawing/2014/main" id="{756AD2C7-1B21-4A76-B85F-442DEB032AAD}"/>
                  </a:ext>
                </a:extLst>
              </p:cNvPr>
              <p:cNvSpPr/>
              <p:nvPr/>
            </p:nvSpPr>
            <p:spPr>
              <a:xfrm>
                <a:off x="7137654" y="4354029"/>
                <a:ext cx="87155" cy="85932"/>
              </a:xfrm>
              <a:custGeom>
                <a:avLst/>
                <a:gdLst>
                  <a:gd name="connsiteX0" fmla="*/ 43632 w 87155"/>
                  <a:gd name="connsiteY0" fmla="*/ 85933 h 85932"/>
                  <a:gd name="connsiteX1" fmla="*/ 0 w 87155"/>
                  <a:gd name="connsiteY1" fmla="*/ 42966 h 85932"/>
                  <a:gd name="connsiteX2" fmla="*/ 43632 w 87155"/>
                  <a:gd name="connsiteY2" fmla="*/ 0 h 85932"/>
                  <a:gd name="connsiteX3" fmla="*/ 56267 w 87155"/>
                  <a:gd name="connsiteY3" fmla="*/ 1833 h 85932"/>
                  <a:gd name="connsiteX4" fmla="*/ 60746 w 87155"/>
                  <a:gd name="connsiteY4" fmla="*/ 10068 h 85932"/>
                  <a:gd name="connsiteX5" fmla="*/ 52391 w 87155"/>
                  <a:gd name="connsiteY5" fmla="*/ 14482 h 85932"/>
                  <a:gd name="connsiteX6" fmla="*/ 43632 w 87155"/>
                  <a:gd name="connsiteY6" fmla="*/ 13217 h 85932"/>
                  <a:gd name="connsiteX7" fmla="*/ 13409 w 87155"/>
                  <a:gd name="connsiteY7" fmla="*/ 42963 h 85932"/>
                  <a:gd name="connsiteX8" fmla="*/ 43632 w 87155"/>
                  <a:gd name="connsiteY8" fmla="*/ 72709 h 85932"/>
                  <a:gd name="connsiteX9" fmla="*/ 73768 w 87155"/>
                  <a:gd name="connsiteY9" fmla="*/ 45230 h 85932"/>
                  <a:gd name="connsiteX10" fmla="*/ 80951 w 87155"/>
                  <a:gd name="connsiteY10" fmla="*/ 39127 h 85932"/>
                  <a:gd name="connsiteX11" fmla="*/ 87137 w 87155"/>
                  <a:gd name="connsiteY11" fmla="*/ 46209 h 85932"/>
                  <a:gd name="connsiteX12" fmla="*/ 43632 w 87155"/>
                  <a:gd name="connsiteY12" fmla="*/ 85933 h 8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155" h="85932">
                    <a:moveTo>
                      <a:pt x="43632" y="85933"/>
                    </a:moveTo>
                    <a:cubicBezTo>
                      <a:pt x="19569" y="85933"/>
                      <a:pt x="0" y="66657"/>
                      <a:pt x="0" y="42966"/>
                    </a:cubicBezTo>
                    <a:cubicBezTo>
                      <a:pt x="0" y="19276"/>
                      <a:pt x="19569" y="0"/>
                      <a:pt x="43632" y="0"/>
                    </a:cubicBezTo>
                    <a:cubicBezTo>
                      <a:pt x="47934" y="0"/>
                      <a:pt x="52182" y="615"/>
                      <a:pt x="56267" y="1833"/>
                    </a:cubicBezTo>
                    <a:cubicBezTo>
                      <a:pt x="59810" y="2885"/>
                      <a:pt x="61820" y="6569"/>
                      <a:pt x="60746" y="10068"/>
                    </a:cubicBezTo>
                    <a:cubicBezTo>
                      <a:pt x="59679" y="13568"/>
                      <a:pt x="55952" y="15556"/>
                      <a:pt x="52391" y="14482"/>
                    </a:cubicBezTo>
                    <a:cubicBezTo>
                      <a:pt x="49564" y="13644"/>
                      <a:pt x="46618" y="13217"/>
                      <a:pt x="43632" y="13217"/>
                    </a:cubicBezTo>
                    <a:cubicBezTo>
                      <a:pt x="26969" y="13217"/>
                      <a:pt x="13409" y="26561"/>
                      <a:pt x="13409" y="42963"/>
                    </a:cubicBezTo>
                    <a:cubicBezTo>
                      <a:pt x="13409" y="59365"/>
                      <a:pt x="26969" y="72709"/>
                      <a:pt x="43632" y="72709"/>
                    </a:cubicBezTo>
                    <a:cubicBezTo>
                      <a:pt x="59358" y="72709"/>
                      <a:pt x="72597" y="60637"/>
                      <a:pt x="73768" y="45230"/>
                    </a:cubicBezTo>
                    <a:cubicBezTo>
                      <a:pt x="74043" y="41582"/>
                      <a:pt x="77257" y="38820"/>
                      <a:pt x="80951" y="39127"/>
                    </a:cubicBezTo>
                    <a:cubicBezTo>
                      <a:pt x="84642" y="39398"/>
                      <a:pt x="87412" y="42576"/>
                      <a:pt x="87137" y="46209"/>
                    </a:cubicBezTo>
                    <a:cubicBezTo>
                      <a:pt x="85452" y="68486"/>
                      <a:pt x="66339" y="85933"/>
                      <a:pt x="43632" y="85933"/>
                    </a:cubicBezTo>
                    <a:close/>
                  </a:path>
                </a:pathLst>
              </a:custGeom>
              <a:solidFill>
                <a:schemeClr val="accent1"/>
              </a:solidFill>
              <a:ln w="361" cap="flat">
                <a:noFill/>
                <a:prstDash val="solid"/>
                <a:miter/>
              </a:ln>
            </p:spPr>
            <p:txBody>
              <a:bodyPr rtlCol="0" anchor="ctr"/>
              <a:lstStyle/>
              <a:p>
                <a:endParaRPr lang="en-GB" dirty="0"/>
              </a:p>
            </p:txBody>
          </p:sp>
          <p:sp>
            <p:nvSpPr>
              <p:cNvPr id="113" name="Freihandform: Form 840">
                <a:extLst>
                  <a:ext uri="{FF2B5EF4-FFF2-40B4-BE49-F238E27FC236}">
                    <a16:creationId xmlns:a16="http://schemas.microsoft.com/office/drawing/2014/main" id="{4E48F69E-72A9-445C-8FED-E562F30FCBEE}"/>
                  </a:ext>
                </a:extLst>
              </p:cNvPr>
              <p:cNvSpPr/>
              <p:nvPr/>
            </p:nvSpPr>
            <p:spPr>
              <a:xfrm>
                <a:off x="7096427" y="4313329"/>
                <a:ext cx="169718" cy="167332"/>
              </a:xfrm>
              <a:custGeom>
                <a:avLst/>
                <a:gdLst>
                  <a:gd name="connsiteX0" fmla="*/ 84859 w 169718"/>
                  <a:gd name="connsiteY0" fmla="*/ 167333 h 167332"/>
                  <a:gd name="connsiteX1" fmla="*/ 0 w 169718"/>
                  <a:gd name="connsiteY1" fmla="*/ 83666 h 167332"/>
                  <a:gd name="connsiteX2" fmla="*/ 84859 w 169718"/>
                  <a:gd name="connsiteY2" fmla="*/ 0 h 167332"/>
                  <a:gd name="connsiteX3" fmla="*/ 169718 w 169718"/>
                  <a:gd name="connsiteY3" fmla="*/ 83666 h 167332"/>
                  <a:gd name="connsiteX4" fmla="*/ 84859 w 169718"/>
                  <a:gd name="connsiteY4" fmla="*/ 167333 h 167332"/>
                  <a:gd name="connsiteX5" fmla="*/ 84859 w 169718"/>
                  <a:gd name="connsiteY5" fmla="*/ 13221 h 167332"/>
                  <a:gd name="connsiteX6" fmla="*/ 13409 w 169718"/>
                  <a:gd name="connsiteY6" fmla="*/ 83666 h 167332"/>
                  <a:gd name="connsiteX7" fmla="*/ 84859 w 169718"/>
                  <a:gd name="connsiteY7" fmla="*/ 154112 h 167332"/>
                  <a:gd name="connsiteX8" fmla="*/ 156310 w 169718"/>
                  <a:gd name="connsiteY8" fmla="*/ 83666 h 167332"/>
                  <a:gd name="connsiteX9" fmla="*/ 84859 w 169718"/>
                  <a:gd name="connsiteY9" fmla="*/ 13221 h 167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718" h="167332">
                    <a:moveTo>
                      <a:pt x="84859" y="167333"/>
                    </a:moveTo>
                    <a:cubicBezTo>
                      <a:pt x="38064" y="167333"/>
                      <a:pt x="0" y="129803"/>
                      <a:pt x="0" y="83666"/>
                    </a:cubicBezTo>
                    <a:cubicBezTo>
                      <a:pt x="0" y="37529"/>
                      <a:pt x="38068" y="0"/>
                      <a:pt x="84859" y="0"/>
                    </a:cubicBezTo>
                    <a:cubicBezTo>
                      <a:pt x="131650" y="0"/>
                      <a:pt x="169718" y="37529"/>
                      <a:pt x="169718" y="83666"/>
                    </a:cubicBezTo>
                    <a:cubicBezTo>
                      <a:pt x="169718" y="129803"/>
                      <a:pt x="131654" y="167333"/>
                      <a:pt x="84859" y="167333"/>
                    </a:cubicBezTo>
                    <a:close/>
                    <a:moveTo>
                      <a:pt x="84859" y="13221"/>
                    </a:moveTo>
                    <a:cubicBezTo>
                      <a:pt x="45464" y="13221"/>
                      <a:pt x="13409" y="44825"/>
                      <a:pt x="13409" y="83666"/>
                    </a:cubicBezTo>
                    <a:cubicBezTo>
                      <a:pt x="13409" y="122508"/>
                      <a:pt x="45464" y="154112"/>
                      <a:pt x="84859" y="154112"/>
                    </a:cubicBezTo>
                    <a:cubicBezTo>
                      <a:pt x="124254" y="154112"/>
                      <a:pt x="156310" y="122508"/>
                      <a:pt x="156310" y="83666"/>
                    </a:cubicBezTo>
                    <a:cubicBezTo>
                      <a:pt x="156313" y="44825"/>
                      <a:pt x="124257" y="13221"/>
                      <a:pt x="84859" y="13221"/>
                    </a:cubicBezTo>
                    <a:close/>
                  </a:path>
                </a:pathLst>
              </a:custGeom>
              <a:solidFill>
                <a:schemeClr val="accent1"/>
              </a:solidFill>
              <a:ln w="361" cap="flat">
                <a:noFill/>
                <a:prstDash val="solid"/>
                <a:miter/>
              </a:ln>
            </p:spPr>
            <p:txBody>
              <a:bodyPr rtlCol="0" anchor="ctr"/>
              <a:lstStyle/>
              <a:p>
                <a:endParaRPr lang="en-GB" dirty="0"/>
              </a:p>
            </p:txBody>
          </p:sp>
          <p:sp>
            <p:nvSpPr>
              <p:cNvPr id="114" name="Freihandform: Form 841">
                <a:extLst>
                  <a:ext uri="{FF2B5EF4-FFF2-40B4-BE49-F238E27FC236}">
                    <a16:creationId xmlns:a16="http://schemas.microsoft.com/office/drawing/2014/main" id="{A1DAE06A-6B11-44AE-BEC1-E2ADD4FCC86A}"/>
                  </a:ext>
                </a:extLst>
              </p:cNvPr>
              <p:cNvSpPr/>
              <p:nvPr/>
            </p:nvSpPr>
            <p:spPr>
              <a:xfrm>
                <a:off x="7060604" y="4278013"/>
                <a:ext cx="241364" cy="237965"/>
              </a:xfrm>
              <a:custGeom>
                <a:avLst/>
                <a:gdLst>
                  <a:gd name="connsiteX0" fmla="*/ 120682 w 241364"/>
                  <a:gd name="connsiteY0" fmla="*/ 237966 h 237965"/>
                  <a:gd name="connsiteX1" fmla="*/ 0 w 241364"/>
                  <a:gd name="connsiteY1" fmla="*/ 118983 h 237965"/>
                  <a:gd name="connsiteX2" fmla="*/ 120682 w 241364"/>
                  <a:gd name="connsiteY2" fmla="*/ 0 h 237965"/>
                  <a:gd name="connsiteX3" fmla="*/ 241364 w 241364"/>
                  <a:gd name="connsiteY3" fmla="*/ 118983 h 237965"/>
                  <a:gd name="connsiteX4" fmla="*/ 120682 w 241364"/>
                  <a:gd name="connsiteY4" fmla="*/ 237966 h 237965"/>
                  <a:gd name="connsiteX5" fmla="*/ 120682 w 241364"/>
                  <a:gd name="connsiteY5" fmla="*/ 13221 h 237965"/>
                  <a:gd name="connsiteX6" fmla="*/ 13409 w 241364"/>
                  <a:gd name="connsiteY6" fmla="*/ 118983 h 237965"/>
                  <a:gd name="connsiteX7" fmla="*/ 120682 w 241364"/>
                  <a:gd name="connsiteY7" fmla="*/ 224745 h 237965"/>
                  <a:gd name="connsiteX8" fmla="*/ 227956 w 241364"/>
                  <a:gd name="connsiteY8" fmla="*/ 118983 h 237965"/>
                  <a:gd name="connsiteX9" fmla="*/ 120682 w 241364"/>
                  <a:gd name="connsiteY9" fmla="*/ 13221 h 23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364" h="237965">
                    <a:moveTo>
                      <a:pt x="120682" y="237966"/>
                    </a:moveTo>
                    <a:cubicBezTo>
                      <a:pt x="54141" y="237966"/>
                      <a:pt x="0" y="184588"/>
                      <a:pt x="0" y="118983"/>
                    </a:cubicBezTo>
                    <a:cubicBezTo>
                      <a:pt x="0" y="53378"/>
                      <a:pt x="54141" y="0"/>
                      <a:pt x="120682" y="0"/>
                    </a:cubicBezTo>
                    <a:cubicBezTo>
                      <a:pt x="187223" y="0"/>
                      <a:pt x="241364" y="53378"/>
                      <a:pt x="241364" y="118983"/>
                    </a:cubicBezTo>
                    <a:cubicBezTo>
                      <a:pt x="241364" y="184588"/>
                      <a:pt x="187223" y="237966"/>
                      <a:pt x="120682" y="237966"/>
                    </a:cubicBezTo>
                    <a:close/>
                    <a:moveTo>
                      <a:pt x="120682" y="13221"/>
                    </a:moveTo>
                    <a:cubicBezTo>
                      <a:pt x="61534" y="13221"/>
                      <a:pt x="13409" y="60666"/>
                      <a:pt x="13409" y="118983"/>
                    </a:cubicBezTo>
                    <a:cubicBezTo>
                      <a:pt x="13409" y="177300"/>
                      <a:pt x="61530" y="224745"/>
                      <a:pt x="120682" y="224745"/>
                    </a:cubicBezTo>
                    <a:cubicBezTo>
                      <a:pt x="179830" y="224745"/>
                      <a:pt x="227956" y="177300"/>
                      <a:pt x="227956" y="118983"/>
                    </a:cubicBezTo>
                    <a:cubicBezTo>
                      <a:pt x="227956" y="60666"/>
                      <a:pt x="179830" y="13221"/>
                      <a:pt x="120682" y="13221"/>
                    </a:cubicBezTo>
                    <a:close/>
                  </a:path>
                </a:pathLst>
              </a:custGeom>
              <a:solidFill>
                <a:schemeClr val="accent1"/>
              </a:solidFill>
              <a:ln w="361" cap="flat">
                <a:noFill/>
                <a:prstDash val="solid"/>
                <a:miter/>
              </a:ln>
            </p:spPr>
            <p:txBody>
              <a:bodyPr rtlCol="0" anchor="ctr"/>
              <a:lstStyle/>
              <a:p>
                <a:endParaRPr lang="en-GB" dirty="0"/>
              </a:p>
            </p:txBody>
          </p:sp>
          <p:sp>
            <p:nvSpPr>
              <p:cNvPr id="115" name="Freihandform: Form 842">
                <a:extLst>
                  <a:ext uri="{FF2B5EF4-FFF2-40B4-BE49-F238E27FC236}">
                    <a16:creationId xmlns:a16="http://schemas.microsoft.com/office/drawing/2014/main" id="{8E829AC4-9BF7-40A4-AD8C-580B2481D16B}"/>
                  </a:ext>
                </a:extLst>
              </p:cNvPr>
              <p:cNvSpPr/>
              <p:nvPr/>
            </p:nvSpPr>
            <p:spPr>
              <a:xfrm>
                <a:off x="7047195" y="4390387"/>
                <a:ext cx="40229" cy="13217"/>
              </a:xfrm>
              <a:custGeom>
                <a:avLst/>
                <a:gdLst>
                  <a:gd name="connsiteX0" fmla="*/ 33524 w 40229"/>
                  <a:gd name="connsiteY0" fmla="*/ 13217 h 13217"/>
                  <a:gd name="connsiteX1" fmla="*/ 6706 w 40229"/>
                  <a:gd name="connsiteY1" fmla="*/ 13217 h 13217"/>
                  <a:gd name="connsiteX2" fmla="*/ 0 w 40229"/>
                  <a:gd name="connsiteY2" fmla="*/ 6609 h 13217"/>
                  <a:gd name="connsiteX3" fmla="*/ 6706 w 40229"/>
                  <a:gd name="connsiteY3" fmla="*/ 0 h 13217"/>
                  <a:gd name="connsiteX4" fmla="*/ 33524 w 40229"/>
                  <a:gd name="connsiteY4" fmla="*/ 0 h 13217"/>
                  <a:gd name="connsiteX5" fmla="*/ 40230 w 40229"/>
                  <a:gd name="connsiteY5" fmla="*/ 6609 h 13217"/>
                  <a:gd name="connsiteX6" fmla="*/ 33524 w 40229"/>
                  <a:gd name="connsiteY6" fmla="*/ 13217 h 1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29" h="13217">
                    <a:moveTo>
                      <a:pt x="33524" y="13217"/>
                    </a:moveTo>
                    <a:lnTo>
                      <a:pt x="6706" y="13217"/>
                    </a:lnTo>
                    <a:cubicBezTo>
                      <a:pt x="3001" y="13217"/>
                      <a:pt x="0" y="10260"/>
                      <a:pt x="0" y="6609"/>
                    </a:cubicBezTo>
                    <a:cubicBezTo>
                      <a:pt x="0" y="2957"/>
                      <a:pt x="2997" y="0"/>
                      <a:pt x="6706" y="0"/>
                    </a:cubicBezTo>
                    <a:lnTo>
                      <a:pt x="33524" y="0"/>
                    </a:lnTo>
                    <a:cubicBezTo>
                      <a:pt x="37229" y="0"/>
                      <a:pt x="40230" y="2957"/>
                      <a:pt x="40230" y="6609"/>
                    </a:cubicBezTo>
                    <a:cubicBezTo>
                      <a:pt x="40230" y="10260"/>
                      <a:pt x="37229" y="13217"/>
                      <a:pt x="33524" y="13217"/>
                    </a:cubicBezTo>
                    <a:close/>
                  </a:path>
                </a:pathLst>
              </a:custGeom>
              <a:solidFill>
                <a:schemeClr val="accent1"/>
              </a:solidFill>
              <a:ln w="361" cap="flat">
                <a:noFill/>
                <a:prstDash val="solid"/>
                <a:miter/>
              </a:ln>
            </p:spPr>
            <p:txBody>
              <a:bodyPr rtlCol="0" anchor="ctr"/>
              <a:lstStyle/>
              <a:p>
                <a:endParaRPr lang="en-GB" dirty="0"/>
              </a:p>
            </p:txBody>
          </p:sp>
          <p:sp>
            <p:nvSpPr>
              <p:cNvPr id="116" name="Freihandform: Form 843">
                <a:extLst>
                  <a:ext uri="{FF2B5EF4-FFF2-40B4-BE49-F238E27FC236}">
                    <a16:creationId xmlns:a16="http://schemas.microsoft.com/office/drawing/2014/main" id="{EDDCB9EF-6A73-404D-92AB-CF607362C452}"/>
                  </a:ext>
                </a:extLst>
              </p:cNvPr>
              <p:cNvSpPr/>
              <p:nvPr/>
            </p:nvSpPr>
            <p:spPr>
              <a:xfrm>
                <a:off x="7275147" y="4390387"/>
                <a:ext cx="40229" cy="13217"/>
              </a:xfrm>
              <a:custGeom>
                <a:avLst/>
                <a:gdLst>
                  <a:gd name="connsiteX0" fmla="*/ 33524 w 40229"/>
                  <a:gd name="connsiteY0" fmla="*/ 13217 h 13217"/>
                  <a:gd name="connsiteX1" fmla="*/ 6706 w 40229"/>
                  <a:gd name="connsiteY1" fmla="*/ 13217 h 13217"/>
                  <a:gd name="connsiteX2" fmla="*/ 0 w 40229"/>
                  <a:gd name="connsiteY2" fmla="*/ 6609 h 13217"/>
                  <a:gd name="connsiteX3" fmla="*/ 6706 w 40229"/>
                  <a:gd name="connsiteY3" fmla="*/ 0 h 13217"/>
                  <a:gd name="connsiteX4" fmla="*/ 33524 w 40229"/>
                  <a:gd name="connsiteY4" fmla="*/ 0 h 13217"/>
                  <a:gd name="connsiteX5" fmla="*/ 40230 w 40229"/>
                  <a:gd name="connsiteY5" fmla="*/ 6609 h 13217"/>
                  <a:gd name="connsiteX6" fmla="*/ 33524 w 40229"/>
                  <a:gd name="connsiteY6" fmla="*/ 13217 h 1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29" h="13217">
                    <a:moveTo>
                      <a:pt x="33524" y="13217"/>
                    </a:moveTo>
                    <a:lnTo>
                      <a:pt x="6706" y="13217"/>
                    </a:lnTo>
                    <a:cubicBezTo>
                      <a:pt x="3001" y="13217"/>
                      <a:pt x="0" y="10260"/>
                      <a:pt x="0" y="6609"/>
                    </a:cubicBezTo>
                    <a:cubicBezTo>
                      <a:pt x="0" y="2957"/>
                      <a:pt x="2997" y="0"/>
                      <a:pt x="6706" y="0"/>
                    </a:cubicBezTo>
                    <a:lnTo>
                      <a:pt x="33524" y="0"/>
                    </a:lnTo>
                    <a:cubicBezTo>
                      <a:pt x="37229" y="0"/>
                      <a:pt x="40230" y="2957"/>
                      <a:pt x="40230" y="6609"/>
                    </a:cubicBezTo>
                    <a:cubicBezTo>
                      <a:pt x="40230" y="10260"/>
                      <a:pt x="37229" y="13217"/>
                      <a:pt x="33524" y="13217"/>
                    </a:cubicBezTo>
                    <a:close/>
                  </a:path>
                </a:pathLst>
              </a:custGeom>
              <a:solidFill>
                <a:schemeClr val="accent1"/>
              </a:solidFill>
              <a:ln w="361" cap="flat">
                <a:noFill/>
                <a:prstDash val="solid"/>
                <a:miter/>
              </a:ln>
            </p:spPr>
            <p:txBody>
              <a:bodyPr rtlCol="0" anchor="ctr"/>
              <a:lstStyle/>
              <a:p>
                <a:endParaRPr lang="en-GB" dirty="0"/>
              </a:p>
            </p:txBody>
          </p:sp>
          <p:sp>
            <p:nvSpPr>
              <p:cNvPr id="117" name="Freihandform: Form 844">
                <a:extLst>
                  <a:ext uri="{FF2B5EF4-FFF2-40B4-BE49-F238E27FC236}">
                    <a16:creationId xmlns:a16="http://schemas.microsoft.com/office/drawing/2014/main" id="{64C580ED-E449-4BC5-AB93-A7B9EF313155}"/>
                  </a:ext>
                </a:extLst>
              </p:cNvPr>
              <p:cNvSpPr/>
              <p:nvPr/>
            </p:nvSpPr>
            <p:spPr>
              <a:xfrm>
                <a:off x="7174580" y="4489541"/>
                <a:ext cx="13412" cy="39658"/>
              </a:xfrm>
              <a:custGeom>
                <a:avLst/>
                <a:gdLst>
                  <a:gd name="connsiteX0" fmla="*/ 6706 w 13412"/>
                  <a:gd name="connsiteY0" fmla="*/ 39659 h 39658"/>
                  <a:gd name="connsiteX1" fmla="*/ 0 w 13412"/>
                  <a:gd name="connsiteY1" fmla="*/ 33050 h 39658"/>
                  <a:gd name="connsiteX2" fmla="*/ 0 w 13412"/>
                  <a:gd name="connsiteY2" fmla="*/ 6609 h 39658"/>
                  <a:gd name="connsiteX3" fmla="*/ 6706 w 13412"/>
                  <a:gd name="connsiteY3" fmla="*/ 0 h 39658"/>
                  <a:gd name="connsiteX4" fmla="*/ 13412 w 13412"/>
                  <a:gd name="connsiteY4" fmla="*/ 6609 h 39658"/>
                  <a:gd name="connsiteX5" fmla="*/ 13412 w 13412"/>
                  <a:gd name="connsiteY5" fmla="*/ 33050 h 39658"/>
                  <a:gd name="connsiteX6" fmla="*/ 6706 w 13412"/>
                  <a:gd name="connsiteY6" fmla="*/ 39659 h 3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12" h="39658">
                    <a:moveTo>
                      <a:pt x="6706" y="39659"/>
                    </a:moveTo>
                    <a:cubicBezTo>
                      <a:pt x="3001" y="39659"/>
                      <a:pt x="0" y="36701"/>
                      <a:pt x="0" y="33050"/>
                    </a:cubicBezTo>
                    <a:lnTo>
                      <a:pt x="0" y="6609"/>
                    </a:lnTo>
                    <a:cubicBezTo>
                      <a:pt x="0" y="2954"/>
                      <a:pt x="2997" y="0"/>
                      <a:pt x="6706" y="0"/>
                    </a:cubicBezTo>
                    <a:cubicBezTo>
                      <a:pt x="10412" y="0"/>
                      <a:pt x="13412" y="2957"/>
                      <a:pt x="13412" y="6609"/>
                    </a:cubicBezTo>
                    <a:lnTo>
                      <a:pt x="13412" y="33050"/>
                    </a:lnTo>
                    <a:cubicBezTo>
                      <a:pt x="13412" y="36701"/>
                      <a:pt x="10412" y="39659"/>
                      <a:pt x="6706" y="39659"/>
                    </a:cubicBezTo>
                    <a:close/>
                  </a:path>
                </a:pathLst>
              </a:custGeom>
              <a:solidFill>
                <a:schemeClr val="accent1"/>
              </a:solidFill>
              <a:ln w="361" cap="flat">
                <a:noFill/>
                <a:prstDash val="solid"/>
                <a:miter/>
              </a:ln>
            </p:spPr>
            <p:txBody>
              <a:bodyPr rtlCol="0" anchor="ctr"/>
              <a:lstStyle/>
              <a:p>
                <a:endParaRPr lang="en-GB" dirty="0"/>
              </a:p>
            </p:txBody>
          </p:sp>
          <p:sp>
            <p:nvSpPr>
              <p:cNvPr id="118" name="Freihandform: Form 845">
                <a:extLst>
                  <a:ext uri="{FF2B5EF4-FFF2-40B4-BE49-F238E27FC236}">
                    <a16:creationId xmlns:a16="http://schemas.microsoft.com/office/drawing/2014/main" id="{74677272-BA60-45A8-A756-77EF18040BF0}"/>
                  </a:ext>
                </a:extLst>
              </p:cNvPr>
              <p:cNvSpPr/>
              <p:nvPr/>
            </p:nvSpPr>
            <p:spPr>
              <a:xfrm>
                <a:off x="7174580" y="4264792"/>
                <a:ext cx="13412" cy="39658"/>
              </a:xfrm>
              <a:custGeom>
                <a:avLst/>
                <a:gdLst>
                  <a:gd name="connsiteX0" fmla="*/ 6706 w 13412"/>
                  <a:gd name="connsiteY0" fmla="*/ 39658 h 39658"/>
                  <a:gd name="connsiteX1" fmla="*/ 0 w 13412"/>
                  <a:gd name="connsiteY1" fmla="*/ 33050 h 39658"/>
                  <a:gd name="connsiteX2" fmla="*/ 0 w 13412"/>
                  <a:gd name="connsiteY2" fmla="*/ 6608 h 39658"/>
                  <a:gd name="connsiteX3" fmla="*/ 6706 w 13412"/>
                  <a:gd name="connsiteY3" fmla="*/ 0 h 39658"/>
                  <a:gd name="connsiteX4" fmla="*/ 13412 w 13412"/>
                  <a:gd name="connsiteY4" fmla="*/ 6608 h 39658"/>
                  <a:gd name="connsiteX5" fmla="*/ 13412 w 13412"/>
                  <a:gd name="connsiteY5" fmla="*/ 33050 h 39658"/>
                  <a:gd name="connsiteX6" fmla="*/ 6706 w 13412"/>
                  <a:gd name="connsiteY6" fmla="*/ 39658 h 39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12" h="39658">
                    <a:moveTo>
                      <a:pt x="6706" y="39658"/>
                    </a:moveTo>
                    <a:cubicBezTo>
                      <a:pt x="3001" y="39658"/>
                      <a:pt x="0" y="36701"/>
                      <a:pt x="0" y="33050"/>
                    </a:cubicBezTo>
                    <a:lnTo>
                      <a:pt x="0" y="6608"/>
                    </a:lnTo>
                    <a:cubicBezTo>
                      <a:pt x="0" y="2954"/>
                      <a:pt x="2997" y="0"/>
                      <a:pt x="6706" y="0"/>
                    </a:cubicBezTo>
                    <a:cubicBezTo>
                      <a:pt x="10412" y="0"/>
                      <a:pt x="13412" y="2957"/>
                      <a:pt x="13412" y="6608"/>
                    </a:cubicBezTo>
                    <a:lnTo>
                      <a:pt x="13412" y="33050"/>
                    </a:lnTo>
                    <a:cubicBezTo>
                      <a:pt x="13412" y="36705"/>
                      <a:pt x="10412" y="39658"/>
                      <a:pt x="6706" y="39658"/>
                    </a:cubicBezTo>
                    <a:close/>
                  </a:path>
                </a:pathLst>
              </a:custGeom>
              <a:solidFill>
                <a:schemeClr val="accent1"/>
              </a:solidFill>
              <a:ln w="361" cap="flat">
                <a:noFill/>
                <a:prstDash val="solid"/>
                <a:miter/>
              </a:ln>
            </p:spPr>
            <p:txBody>
              <a:bodyPr rtlCol="0" anchor="ctr"/>
              <a:lstStyle/>
              <a:p>
                <a:endParaRPr lang="en-GB" dirty="0"/>
              </a:p>
            </p:txBody>
          </p:sp>
          <p:sp>
            <p:nvSpPr>
              <p:cNvPr id="119" name="Freihandform: Form 846">
                <a:extLst>
                  <a:ext uri="{FF2B5EF4-FFF2-40B4-BE49-F238E27FC236}">
                    <a16:creationId xmlns:a16="http://schemas.microsoft.com/office/drawing/2014/main" id="{C8E999FD-BEA7-4265-AED8-B5A2C67AF016}"/>
                  </a:ext>
                </a:extLst>
              </p:cNvPr>
              <p:cNvSpPr/>
              <p:nvPr/>
            </p:nvSpPr>
            <p:spPr>
              <a:xfrm>
                <a:off x="7161592" y="4355282"/>
                <a:ext cx="67048" cy="58343"/>
              </a:xfrm>
              <a:custGeom>
                <a:avLst/>
                <a:gdLst>
                  <a:gd name="connsiteX0" fmla="*/ 19799 w 67048"/>
                  <a:gd name="connsiteY0" fmla="*/ 58344 h 58343"/>
                  <a:gd name="connsiteX1" fmla="*/ 15302 w 67048"/>
                  <a:gd name="connsiteY1" fmla="*/ 56641 h 58343"/>
                  <a:gd name="connsiteX2" fmla="*/ 2208 w 67048"/>
                  <a:gd name="connsiteY2" fmla="*/ 44971 h 58343"/>
                  <a:gd name="connsiteX3" fmla="*/ 1730 w 67048"/>
                  <a:gd name="connsiteY3" fmla="*/ 35630 h 58343"/>
                  <a:gd name="connsiteX4" fmla="*/ 11206 w 67048"/>
                  <a:gd name="connsiteY4" fmla="*/ 35160 h 58343"/>
                  <a:gd name="connsiteX5" fmla="*/ 19271 w 67048"/>
                  <a:gd name="connsiteY5" fmla="*/ 42357 h 58343"/>
                  <a:gd name="connsiteX6" fmla="*/ 55322 w 67048"/>
                  <a:gd name="connsiteY6" fmla="*/ 2218 h 58343"/>
                  <a:gd name="connsiteX7" fmla="*/ 64790 w 67048"/>
                  <a:gd name="connsiteY7" fmla="*/ 1651 h 58343"/>
                  <a:gd name="connsiteX8" fmla="*/ 65365 w 67048"/>
                  <a:gd name="connsiteY8" fmla="*/ 10985 h 58343"/>
                  <a:gd name="connsiteX9" fmla="*/ 24824 w 67048"/>
                  <a:gd name="connsiteY9" fmla="*/ 56121 h 58343"/>
                  <a:gd name="connsiteX10" fmla="*/ 20175 w 67048"/>
                  <a:gd name="connsiteY10" fmla="*/ 58337 h 58343"/>
                  <a:gd name="connsiteX11" fmla="*/ 19799 w 67048"/>
                  <a:gd name="connsiteY11" fmla="*/ 58344 h 5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048" h="58343">
                    <a:moveTo>
                      <a:pt x="19799" y="58344"/>
                    </a:moveTo>
                    <a:cubicBezTo>
                      <a:pt x="18143" y="58344"/>
                      <a:pt x="16538" y="57736"/>
                      <a:pt x="15302" y="56641"/>
                    </a:cubicBezTo>
                    <a:lnTo>
                      <a:pt x="2208" y="44971"/>
                    </a:lnTo>
                    <a:cubicBezTo>
                      <a:pt x="-536" y="42516"/>
                      <a:pt x="-753" y="38341"/>
                      <a:pt x="1730" y="35630"/>
                    </a:cubicBezTo>
                    <a:cubicBezTo>
                      <a:pt x="4225" y="32925"/>
                      <a:pt x="8455" y="32712"/>
                      <a:pt x="11206" y="35160"/>
                    </a:cubicBezTo>
                    <a:lnTo>
                      <a:pt x="19271" y="42357"/>
                    </a:lnTo>
                    <a:lnTo>
                      <a:pt x="55322" y="2218"/>
                    </a:lnTo>
                    <a:cubicBezTo>
                      <a:pt x="57791" y="-508"/>
                      <a:pt x="62021" y="-750"/>
                      <a:pt x="64790" y="1651"/>
                    </a:cubicBezTo>
                    <a:cubicBezTo>
                      <a:pt x="67559" y="4073"/>
                      <a:pt x="67819" y="8256"/>
                      <a:pt x="65365" y="10985"/>
                    </a:cubicBezTo>
                    <a:lnTo>
                      <a:pt x="24824" y="56121"/>
                    </a:lnTo>
                    <a:cubicBezTo>
                      <a:pt x="23631" y="57444"/>
                      <a:pt x="21965" y="58239"/>
                      <a:pt x="20175" y="58337"/>
                    </a:cubicBezTo>
                    <a:cubicBezTo>
                      <a:pt x="20049" y="58337"/>
                      <a:pt x="19926" y="58344"/>
                      <a:pt x="19799" y="58344"/>
                    </a:cubicBezTo>
                    <a:close/>
                  </a:path>
                </a:pathLst>
              </a:custGeom>
              <a:solidFill>
                <a:schemeClr val="accent1"/>
              </a:solidFill>
              <a:ln w="361" cap="flat">
                <a:noFill/>
                <a:prstDash val="solid"/>
                <a:miter/>
              </a:ln>
            </p:spPr>
            <p:txBody>
              <a:bodyPr rtlCol="0" anchor="ctr"/>
              <a:lstStyle/>
              <a:p>
                <a:endParaRPr lang="en-GB" dirty="0"/>
              </a:p>
            </p:txBody>
          </p:sp>
        </p:grpSp>
      </p:grpSp>
      <p:grpSp>
        <p:nvGrpSpPr>
          <p:cNvPr id="45" name="Group 44">
            <a:extLst>
              <a:ext uri="{FF2B5EF4-FFF2-40B4-BE49-F238E27FC236}">
                <a16:creationId xmlns:a16="http://schemas.microsoft.com/office/drawing/2014/main" id="{6FC4817F-701B-446F-8112-27FFD77126D1}"/>
              </a:ext>
            </a:extLst>
          </p:cNvPr>
          <p:cNvGrpSpPr/>
          <p:nvPr/>
        </p:nvGrpSpPr>
        <p:grpSpPr>
          <a:xfrm>
            <a:off x="1677226" y="2399021"/>
            <a:ext cx="324516" cy="432000"/>
            <a:chOff x="1677226" y="2399021"/>
            <a:chExt cx="324516" cy="432000"/>
          </a:xfrm>
        </p:grpSpPr>
        <p:grpSp>
          <p:nvGrpSpPr>
            <p:cNvPr id="127" name="Grafik 14">
              <a:extLst>
                <a:ext uri="{FF2B5EF4-FFF2-40B4-BE49-F238E27FC236}">
                  <a16:creationId xmlns:a16="http://schemas.microsoft.com/office/drawing/2014/main" id="{31ABE985-6861-444C-999B-FFB5AF12A7F5}"/>
                </a:ext>
              </a:extLst>
            </p:cNvPr>
            <p:cNvGrpSpPr/>
            <p:nvPr/>
          </p:nvGrpSpPr>
          <p:grpSpPr>
            <a:xfrm>
              <a:off x="1706121" y="2399021"/>
              <a:ext cx="254479" cy="301270"/>
              <a:chOff x="7009031" y="2501783"/>
              <a:chExt cx="315694" cy="373741"/>
            </a:xfrm>
            <a:solidFill>
              <a:schemeClr val="accent1"/>
            </a:solidFill>
          </p:grpSpPr>
          <p:grpSp>
            <p:nvGrpSpPr>
              <p:cNvPr id="131" name="Grafik 14">
                <a:extLst>
                  <a:ext uri="{FF2B5EF4-FFF2-40B4-BE49-F238E27FC236}">
                    <a16:creationId xmlns:a16="http://schemas.microsoft.com/office/drawing/2014/main" id="{FE9AA314-B198-4A37-90A3-118FABC72DF9}"/>
                  </a:ext>
                </a:extLst>
              </p:cNvPr>
              <p:cNvGrpSpPr/>
              <p:nvPr/>
            </p:nvGrpSpPr>
            <p:grpSpPr>
              <a:xfrm>
                <a:off x="7009031" y="2536310"/>
                <a:ext cx="315694" cy="315694"/>
                <a:chOff x="7009031" y="2536310"/>
                <a:chExt cx="315694" cy="315694"/>
              </a:xfrm>
              <a:solidFill>
                <a:schemeClr val="accent1"/>
              </a:solidFill>
            </p:grpSpPr>
            <p:sp>
              <p:nvSpPr>
                <p:cNvPr id="153" name="Freihandform: Form 928">
                  <a:extLst>
                    <a:ext uri="{FF2B5EF4-FFF2-40B4-BE49-F238E27FC236}">
                      <a16:creationId xmlns:a16="http://schemas.microsoft.com/office/drawing/2014/main" id="{1D436573-DCF7-4C99-B4F1-60BBE3B3A54D}"/>
                    </a:ext>
                  </a:extLst>
                </p:cNvPr>
                <p:cNvSpPr/>
                <p:nvPr/>
              </p:nvSpPr>
              <p:spPr>
                <a:xfrm>
                  <a:off x="7009031" y="2536310"/>
                  <a:ext cx="315694" cy="315694"/>
                </a:xfrm>
                <a:custGeom>
                  <a:avLst/>
                  <a:gdLst>
                    <a:gd name="connsiteX0" fmla="*/ 157847 w 315694"/>
                    <a:gd name="connsiteY0" fmla="*/ 315694 h 315694"/>
                    <a:gd name="connsiteX1" fmla="*/ 0 w 315694"/>
                    <a:gd name="connsiteY1" fmla="*/ 157847 h 315694"/>
                    <a:gd name="connsiteX2" fmla="*/ 157847 w 315694"/>
                    <a:gd name="connsiteY2" fmla="*/ 0 h 315694"/>
                    <a:gd name="connsiteX3" fmla="*/ 315694 w 315694"/>
                    <a:gd name="connsiteY3" fmla="*/ 157847 h 315694"/>
                    <a:gd name="connsiteX4" fmla="*/ 157847 w 315694"/>
                    <a:gd name="connsiteY4" fmla="*/ 315694 h 315694"/>
                    <a:gd name="connsiteX5" fmla="*/ 157847 w 315694"/>
                    <a:gd name="connsiteY5" fmla="*/ 9762 h 315694"/>
                    <a:gd name="connsiteX6" fmla="*/ 9738 w 315694"/>
                    <a:gd name="connsiteY6" fmla="*/ 157871 h 315694"/>
                    <a:gd name="connsiteX7" fmla="*/ 157847 w 315694"/>
                    <a:gd name="connsiteY7" fmla="*/ 305980 h 315694"/>
                    <a:gd name="connsiteX8" fmla="*/ 305956 w 315694"/>
                    <a:gd name="connsiteY8" fmla="*/ 157871 h 315694"/>
                    <a:gd name="connsiteX9" fmla="*/ 157847 w 315694"/>
                    <a:gd name="connsiteY9" fmla="*/ 9762 h 315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5694" h="315694">
                      <a:moveTo>
                        <a:pt x="157847" y="315694"/>
                      </a:moveTo>
                      <a:cubicBezTo>
                        <a:pt x="70824" y="315694"/>
                        <a:pt x="0" y="244894"/>
                        <a:pt x="0" y="157847"/>
                      </a:cubicBezTo>
                      <a:cubicBezTo>
                        <a:pt x="0" y="70800"/>
                        <a:pt x="70800" y="0"/>
                        <a:pt x="157847" y="0"/>
                      </a:cubicBezTo>
                      <a:cubicBezTo>
                        <a:pt x="244870" y="0"/>
                        <a:pt x="315694" y="70800"/>
                        <a:pt x="315694" y="157847"/>
                      </a:cubicBezTo>
                      <a:cubicBezTo>
                        <a:pt x="315694" y="244894"/>
                        <a:pt x="244870" y="315694"/>
                        <a:pt x="157847" y="315694"/>
                      </a:cubicBezTo>
                      <a:close/>
                      <a:moveTo>
                        <a:pt x="157847" y="9762"/>
                      </a:moveTo>
                      <a:cubicBezTo>
                        <a:pt x="76184" y="9762"/>
                        <a:pt x="9738" y="76208"/>
                        <a:pt x="9738" y="157871"/>
                      </a:cubicBezTo>
                      <a:cubicBezTo>
                        <a:pt x="9738" y="239534"/>
                        <a:pt x="76184" y="305980"/>
                        <a:pt x="157847" y="305980"/>
                      </a:cubicBezTo>
                      <a:cubicBezTo>
                        <a:pt x="239511" y="305980"/>
                        <a:pt x="305956" y="239534"/>
                        <a:pt x="305956" y="157871"/>
                      </a:cubicBezTo>
                      <a:cubicBezTo>
                        <a:pt x="305956" y="76208"/>
                        <a:pt x="239511" y="9762"/>
                        <a:pt x="157847" y="9762"/>
                      </a:cubicBezTo>
                      <a:close/>
                    </a:path>
                  </a:pathLst>
                </a:custGeom>
                <a:solidFill>
                  <a:schemeClr val="accent1"/>
                </a:solidFill>
                <a:ln w="2390" cap="flat">
                  <a:noFill/>
                  <a:prstDash val="solid"/>
                  <a:miter/>
                </a:ln>
              </p:spPr>
              <p:txBody>
                <a:bodyPr rtlCol="0" anchor="ctr"/>
                <a:lstStyle/>
                <a:p>
                  <a:endParaRPr lang="en-GB" dirty="0"/>
                </a:p>
              </p:txBody>
            </p:sp>
            <p:sp>
              <p:nvSpPr>
                <p:cNvPr id="154" name="Freihandform: Form 929">
                  <a:extLst>
                    <a:ext uri="{FF2B5EF4-FFF2-40B4-BE49-F238E27FC236}">
                      <a16:creationId xmlns:a16="http://schemas.microsoft.com/office/drawing/2014/main" id="{82047B2F-E60E-4B6B-B8F5-3936046F3899}"/>
                    </a:ext>
                  </a:extLst>
                </p:cNvPr>
                <p:cNvSpPr/>
                <p:nvPr/>
              </p:nvSpPr>
              <p:spPr>
                <a:xfrm>
                  <a:off x="7039945" y="2567247"/>
                  <a:ext cx="253866" cy="253866"/>
                </a:xfrm>
                <a:custGeom>
                  <a:avLst/>
                  <a:gdLst>
                    <a:gd name="connsiteX0" fmla="*/ 126933 w 253866"/>
                    <a:gd name="connsiteY0" fmla="*/ 253867 h 253866"/>
                    <a:gd name="connsiteX1" fmla="*/ 0 w 253866"/>
                    <a:gd name="connsiteY1" fmla="*/ 126933 h 253866"/>
                    <a:gd name="connsiteX2" fmla="*/ 126933 w 253866"/>
                    <a:gd name="connsiteY2" fmla="*/ 0 h 253866"/>
                    <a:gd name="connsiteX3" fmla="*/ 253867 w 253866"/>
                    <a:gd name="connsiteY3" fmla="*/ 126933 h 253866"/>
                    <a:gd name="connsiteX4" fmla="*/ 126933 w 253866"/>
                    <a:gd name="connsiteY4" fmla="*/ 253867 h 253866"/>
                    <a:gd name="connsiteX5" fmla="*/ 126933 w 253866"/>
                    <a:gd name="connsiteY5" fmla="*/ 9738 h 253866"/>
                    <a:gd name="connsiteX6" fmla="*/ 9738 w 253866"/>
                    <a:gd name="connsiteY6" fmla="*/ 126933 h 253866"/>
                    <a:gd name="connsiteX7" fmla="*/ 126933 w 253866"/>
                    <a:gd name="connsiteY7" fmla="*/ 244128 h 253866"/>
                    <a:gd name="connsiteX8" fmla="*/ 244128 w 253866"/>
                    <a:gd name="connsiteY8" fmla="*/ 126933 h 253866"/>
                    <a:gd name="connsiteX9" fmla="*/ 126933 w 253866"/>
                    <a:gd name="connsiteY9" fmla="*/ 9738 h 25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866" h="253866">
                      <a:moveTo>
                        <a:pt x="126933" y="253867"/>
                      </a:moveTo>
                      <a:cubicBezTo>
                        <a:pt x="56947" y="253867"/>
                        <a:pt x="0" y="196920"/>
                        <a:pt x="0" y="126933"/>
                      </a:cubicBezTo>
                      <a:cubicBezTo>
                        <a:pt x="0" y="56947"/>
                        <a:pt x="56947" y="0"/>
                        <a:pt x="126933" y="0"/>
                      </a:cubicBezTo>
                      <a:cubicBezTo>
                        <a:pt x="196920" y="0"/>
                        <a:pt x="253867" y="56947"/>
                        <a:pt x="253867" y="126933"/>
                      </a:cubicBezTo>
                      <a:cubicBezTo>
                        <a:pt x="253867" y="196920"/>
                        <a:pt x="196920" y="253867"/>
                        <a:pt x="126933" y="253867"/>
                      </a:cubicBezTo>
                      <a:close/>
                      <a:moveTo>
                        <a:pt x="126933" y="9738"/>
                      </a:moveTo>
                      <a:cubicBezTo>
                        <a:pt x="62306" y="9738"/>
                        <a:pt x="9738" y="62306"/>
                        <a:pt x="9738" y="126933"/>
                      </a:cubicBezTo>
                      <a:cubicBezTo>
                        <a:pt x="9738" y="191561"/>
                        <a:pt x="62306" y="244128"/>
                        <a:pt x="126933" y="244128"/>
                      </a:cubicBezTo>
                      <a:cubicBezTo>
                        <a:pt x="191561" y="244128"/>
                        <a:pt x="244128" y="191561"/>
                        <a:pt x="244128" y="126933"/>
                      </a:cubicBezTo>
                      <a:cubicBezTo>
                        <a:pt x="244128" y="62306"/>
                        <a:pt x="191561" y="9738"/>
                        <a:pt x="126933" y="9738"/>
                      </a:cubicBezTo>
                      <a:close/>
                    </a:path>
                  </a:pathLst>
                </a:custGeom>
                <a:solidFill>
                  <a:schemeClr val="accent1"/>
                </a:solidFill>
                <a:ln w="2390" cap="flat">
                  <a:noFill/>
                  <a:prstDash val="solid"/>
                  <a:miter/>
                </a:ln>
              </p:spPr>
              <p:txBody>
                <a:bodyPr rtlCol="0" anchor="ctr"/>
                <a:lstStyle/>
                <a:p>
                  <a:endParaRPr lang="en-GB" dirty="0"/>
                </a:p>
              </p:txBody>
            </p:sp>
          </p:grpSp>
          <p:sp>
            <p:nvSpPr>
              <p:cNvPr id="132" name="Freihandform: Form 930">
                <a:extLst>
                  <a:ext uri="{FF2B5EF4-FFF2-40B4-BE49-F238E27FC236}">
                    <a16:creationId xmlns:a16="http://schemas.microsoft.com/office/drawing/2014/main" id="{BD18C548-D02E-403E-BE75-6FBF98BA9BE8}"/>
                  </a:ext>
                </a:extLst>
              </p:cNvPr>
              <p:cNvSpPr/>
              <p:nvPr/>
            </p:nvSpPr>
            <p:spPr>
              <a:xfrm>
                <a:off x="7125412" y="2648911"/>
                <a:ext cx="82931" cy="82931"/>
              </a:xfrm>
              <a:custGeom>
                <a:avLst/>
                <a:gdLst>
                  <a:gd name="connsiteX0" fmla="*/ 41466 w 82931"/>
                  <a:gd name="connsiteY0" fmla="*/ 82931 h 82931"/>
                  <a:gd name="connsiteX1" fmla="*/ 0 w 82931"/>
                  <a:gd name="connsiteY1" fmla="*/ 41466 h 82931"/>
                  <a:gd name="connsiteX2" fmla="*/ 41466 w 82931"/>
                  <a:gd name="connsiteY2" fmla="*/ 0 h 82931"/>
                  <a:gd name="connsiteX3" fmla="*/ 82931 w 82931"/>
                  <a:gd name="connsiteY3" fmla="*/ 41466 h 82931"/>
                  <a:gd name="connsiteX4" fmla="*/ 41466 w 82931"/>
                  <a:gd name="connsiteY4" fmla="*/ 82931 h 82931"/>
                  <a:gd name="connsiteX5" fmla="*/ 41466 w 82931"/>
                  <a:gd name="connsiteY5" fmla="*/ 9738 h 82931"/>
                  <a:gd name="connsiteX6" fmla="*/ 9738 w 82931"/>
                  <a:gd name="connsiteY6" fmla="*/ 41466 h 82931"/>
                  <a:gd name="connsiteX7" fmla="*/ 41466 w 82931"/>
                  <a:gd name="connsiteY7" fmla="*/ 73193 h 82931"/>
                  <a:gd name="connsiteX8" fmla="*/ 73193 w 82931"/>
                  <a:gd name="connsiteY8" fmla="*/ 41466 h 82931"/>
                  <a:gd name="connsiteX9" fmla="*/ 41466 w 82931"/>
                  <a:gd name="connsiteY9" fmla="*/ 9738 h 8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931" h="82931">
                    <a:moveTo>
                      <a:pt x="41466" y="82931"/>
                    </a:moveTo>
                    <a:cubicBezTo>
                      <a:pt x="18615" y="82931"/>
                      <a:pt x="0" y="64340"/>
                      <a:pt x="0" y="41466"/>
                    </a:cubicBezTo>
                    <a:cubicBezTo>
                      <a:pt x="0" y="18591"/>
                      <a:pt x="18591" y="0"/>
                      <a:pt x="41466" y="0"/>
                    </a:cubicBezTo>
                    <a:cubicBezTo>
                      <a:pt x="64316" y="0"/>
                      <a:pt x="82931" y="18591"/>
                      <a:pt x="82931" y="41466"/>
                    </a:cubicBezTo>
                    <a:cubicBezTo>
                      <a:pt x="82931" y="64340"/>
                      <a:pt x="64316" y="82931"/>
                      <a:pt x="41466" y="82931"/>
                    </a:cubicBezTo>
                    <a:close/>
                    <a:moveTo>
                      <a:pt x="41466" y="9738"/>
                    </a:moveTo>
                    <a:cubicBezTo>
                      <a:pt x="23975" y="9738"/>
                      <a:pt x="9738" y="23975"/>
                      <a:pt x="9738" y="41466"/>
                    </a:cubicBezTo>
                    <a:cubicBezTo>
                      <a:pt x="9738" y="58956"/>
                      <a:pt x="23975" y="73193"/>
                      <a:pt x="41466" y="73193"/>
                    </a:cubicBezTo>
                    <a:cubicBezTo>
                      <a:pt x="58956" y="73193"/>
                      <a:pt x="73193" y="58956"/>
                      <a:pt x="73193" y="41466"/>
                    </a:cubicBezTo>
                    <a:cubicBezTo>
                      <a:pt x="73193" y="23975"/>
                      <a:pt x="58956" y="9738"/>
                      <a:pt x="41466" y="9738"/>
                    </a:cubicBezTo>
                    <a:close/>
                  </a:path>
                </a:pathLst>
              </a:custGeom>
              <a:solidFill>
                <a:schemeClr val="accent1"/>
              </a:solidFill>
              <a:ln w="2390" cap="flat">
                <a:noFill/>
                <a:prstDash val="solid"/>
                <a:miter/>
              </a:ln>
            </p:spPr>
            <p:txBody>
              <a:bodyPr rtlCol="0" anchor="ctr"/>
              <a:lstStyle/>
              <a:p>
                <a:endParaRPr lang="en-GB" dirty="0"/>
              </a:p>
            </p:txBody>
          </p:sp>
          <p:grpSp>
            <p:nvGrpSpPr>
              <p:cNvPr id="133" name="Grafik 14">
                <a:extLst>
                  <a:ext uri="{FF2B5EF4-FFF2-40B4-BE49-F238E27FC236}">
                    <a16:creationId xmlns:a16="http://schemas.microsoft.com/office/drawing/2014/main" id="{8264D7F0-D7CF-40AE-9909-7067CFA97722}"/>
                  </a:ext>
                </a:extLst>
              </p:cNvPr>
              <p:cNvGrpSpPr/>
              <p:nvPr/>
            </p:nvGrpSpPr>
            <p:grpSpPr>
              <a:xfrm>
                <a:off x="7162906" y="2501783"/>
                <a:ext cx="9762" cy="152200"/>
                <a:chOff x="7162906" y="2501783"/>
                <a:chExt cx="9762" cy="152200"/>
              </a:xfrm>
              <a:solidFill>
                <a:schemeClr val="accent1"/>
              </a:solidFill>
            </p:grpSpPr>
            <p:sp>
              <p:nvSpPr>
                <p:cNvPr id="151" name="Freihandform: Form 932">
                  <a:extLst>
                    <a:ext uri="{FF2B5EF4-FFF2-40B4-BE49-F238E27FC236}">
                      <a16:creationId xmlns:a16="http://schemas.microsoft.com/office/drawing/2014/main" id="{91B3E1D1-C478-4C6E-AA90-F0EAC1678635}"/>
                    </a:ext>
                  </a:extLst>
                </p:cNvPr>
                <p:cNvSpPr/>
                <p:nvPr/>
              </p:nvSpPr>
              <p:spPr>
                <a:xfrm>
                  <a:off x="7162906" y="2567223"/>
                  <a:ext cx="9762" cy="86759"/>
                </a:xfrm>
                <a:custGeom>
                  <a:avLst/>
                  <a:gdLst>
                    <a:gd name="connsiteX0" fmla="*/ 4881 w 9762"/>
                    <a:gd name="connsiteY0" fmla="*/ 86760 h 86759"/>
                    <a:gd name="connsiteX1" fmla="*/ 0 w 9762"/>
                    <a:gd name="connsiteY1" fmla="*/ 81879 h 86759"/>
                    <a:gd name="connsiteX2" fmla="*/ 0 w 9762"/>
                    <a:gd name="connsiteY2" fmla="*/ 4881 h 86759"/>
                    <a:gd name="connsiteX3" fmla="*/ 4881 w 9762"/>
                    <a:gd name="connsiteY3" fmla="*/ 0 h 86759"/>
                    <a:gd name="connsiteX4" fmla="*/ 9762 w 9762"/>
                    <a:gd name="connsiteY4" fmla="*/ 4881 h 86759"/>
                    <a:gd name="connsiteX5" fmla="*/ 9762 w 9762"/>
                    <a:gd name="connsiteY5" fmla="*/ 81879 h 86759"/>
                    <a:gd name="connsiteX6" fmla="*/ 4881 w 9762"/>
                    <a:gd name="connsiteY6" fmla="*/ 86760 h 8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2" h="86759">
                      <a:moveTo>
                        <a:pt x="4881" y="86760"/>
                      </a:moveTo>
                      <a:cubicBezTo>
                        <a:pt x="2201" y="86760"/>
                        <a:pt x="0" y="84582"/>
                        <a:pt x="0" y="81879"/>
                      </a:cubicBezTo>
                      <a:lnTo>
                        <a:pt x="0" y="4881"/>
                      </a:lnTo>
                      <a:cubicBezTo>
                        <a:pt x="0" y="2201"/>
                        <a:pt x="2177" y="0"/>
                        <a:pt x="4881" y="0"/>
                      </a:cubicBezTo>
                      <a:cubicBezTo>
                        <a:pt x="7561" y="0"/>
                        <a:pt x="9762" y="2177"/>
                        <a:pt x="9762" y="4881"/>
                      </a:cubicBezTo>
                      <a:lnTo>
                        <a:pt x="9762" y="81879"/>
                      </a:lnTo>
                      <a:cubicBezTo>
                        <a:pt x="9738" y="84582"/>
                        <a:pt x="7561" y="86760"/>
                        <a:pt x="4881" y="86760"/>
                      </a:cubicBezTo>
                      <a:close/>
                    </a:path>
                  </a:pathLst>
                </a:custGeom>
                <a:solidFill>
                  <a:schemeClr val="accent1"/>
                </a:solidFill>
                <a:ln w="2390" cap="flat">
                  <a:noFill/>
                  <a:prstDash val="solid"/>
                  <a:miter/>
                </a:ln>
              </p:spPr>
              <p:txBody>
                <a:bodyPr rtlCol="0" anchor="ctr"/>
                <a:lstStyle/>
                <a:p>
                  <a:endParaRPr lang="en-GB" dirty="0"/>
                </a:p>
              </p:txBody>
            </p:sp>
            <p:sp>
              <p:nvSpPr>
                <p:cNvPr id="152" name="Freihandform: Form 933">
                  <a:extLst>
                    <a:ext uri="{FF2B5EF4-FFF2-40B4-BE49-F238E27FC236}">
                      <a16:creationId xmlns:a16="http://schemas.microsoft.com/office/drawing/2014/main" id="{FC64D60D-E49D-4A14-A2DC-61758936B643}"/>
                    </a:ext>
                  </a:extLst>
                </p:cNvPr>
                <p:cNvSpPr/>
                <p:nvPr/>
              </p:nvSpPr>
              <p:spPr>
                <a:xfrm>
                  <a:off x="7162906" y="2501783"/>
                  <a:ext cx="9762" cy="42255"/>
                </a:xfrm>
                <a:custGeom>
                  <a:avLst/>
                  <a:gdLst>
                    <a:gd name="connsiteX0" fmla="*/ 4881 w 9762"/>
                    <a:gd name="connsiteY0" fmla="*/ 42255 h 42255"/>
                    <a:gd name="connsiteX1" fmla="*/ 0 w 9762"/>
                    <a:gd name="connsiteY1" fmla="*/ 37374 h 42255"/>
                    <a:gd name="connsiteX2" fmla="*/ 0 w 9762"/>
                    <a:gd name="connsiteY2" fmla="*/ 4881 h 42255"/>
                    <a:gd name="connsiteX3" fmla="*/ 4881 w 9762"/>
                    <a:gd name="connsiteY3" fmla="*/ 0 h 42255"/>
                    <a:gd name="connsiteX4" fmla="*/ 9762 w 9762"/>
                    <a:gd name="connsiteY4" fmla="*/ 4881 h 42255"/>
                    <a:gd name="connsiteX5" fmla="*/ 9762 w 9762"/>
                    <a:gd name="connsiteY5" fmla="*/ 37374 h 42255"/>
                    <a:gd name="connsiteX6" fmla="*/ 4881 w 9762"/>
                    <a:gd name="connsiteY6" fmla="*/ 42255 h 4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2" h="42255">
                      <a:moveTo>
                        <a:pt x="4881" y="42255"/>
                      </a:moveTo>
                      <a:cubicBezTo>
                        <a:pt x="2201" y="42255"/>
                        <a:pt x="0" y="40078"/>
                        <a:pt x="0" y="37374"/>
                      </a:cubicBezTo>
                      <a:lnTo>
                        <a:pt x="0" y="4881"/>
                      </a:lnTo>
                      <a:cubicBezTo>
                        <a:pt x="0" y="2201"/>
                        <a:pt x="2177" y="0"/>
                        <a:pt x="4881" y="0"/>
                      </a:cubicBezTo>
                      <a:cubicBezTo>
                        <a:pt x="7561" y="0"/>
                        <a:pt x="9762" y="2177"/>
                        <a:pt x="9762" y="4881"/>
                      </a:cubicBezTo>
                      <a:lnTo>
                        <a:pt x="9762" y="37374"/>
                      </a:lnTo>
                      <a:cubicBezTo>
                        <a:pt x="9738" y="40078"/>
                        <a:pt x="7561" y="42255"/>
                        <a:pt x="4881" y="42255"/>
                      </a:cubicBezTo>
                      <a:close/>
                    </a:path>
                  </a:pathLst>
                </a:custGeom>
                <a:solidFill>
                  <a:schemeClr val="accent1"/>
                </a:solidFill>
                <a:ln w="2390" cap="flat">
                  <a:noFill/>
                  <a:prstDash val="solid"/>
                  <a:miter/>
                </a:ln>
              </p:spPr>
              <p:txBody>
                <a:bodyPr rtlCol="0" anchor="ctr"/>
                <a:lstStyle/>
                <a:p>
                  <a:endParaRPr lang="en-GB" dirty="0"/>
                </a:p>
              </p:txBody>
            </p:sp>
          </p:grpSp>
          <p:grpSp>
            <p:nvGrpSpPr>
              <p:cNvPr id="134" name="Grafik 14">
                <a:extLst>
                  <a:ext uri="{FF2B5EF4-FFF2-40B4-BE49-F238E27FC236}">
                    <a16:creationId xmlns:a16="http://schemas.microsoft.com/office/drawing/2014/main" id="{56BCCA07-B8AE-46A7-9503-C628665F50BE}"/>
                  </a:ext>
                </a:extLst>
              </p:cNvPr>
              <p:cNvGrpSpPr/>
              <p:nvPr/>
            </p:nvGrpSpPr>
            <p:grpSpPr>
              <a:xfrm>
                <a:off x="7162906" y="2723324"/>
                <a:ext cx="9762" cy="152200"/>
                <a:chOff x="7162906" y="2723324"/>
                <a:chExt cx="9762" cy="152200"/>
              </a:xfrm>
              <a:solidFill>
                <a:schemeClr val="accent1"/>
              </a:solidFill>
            </p:grpSpPr>
            <p:sp>
              <p:nvSpPr>
                <p:cNvPr id="149" name="Freihandform: Form 935">
                  <a:extLst>
                    <a:ext uri="{FF2B5EF4-FFF2-40B4-BE49-F238E27FC236}">
                      <a16:creationId xmlns:a16="http://schemas.microsoft.com/office/drawing/2014/main" id="{DECA36EA-75E7-4ACB-BE56-B49F1677E77B}"/>
                    </a:ext>
                  </a:extLst>
                </p:cNvPr>
                <p:cNvSpPr/>
                <p:nvPr/>
              </p:nvSpPr>
              <p:spPr>
                <a:xfrm>
                  <a:off x="7162906" y="2723324"/>
                  <a:ext cx="9762" cy="97790"/>
                </a:xfrm>
                <a:custGeom>
                  <a:avLst/>
                  <a:gdLst>
                    <a:gd name="connsiteX0" fmla="*/ 4881 w 9762"/>
                    <a:gd name="connsiteY0" fmla="*/ 97790 h 97790"/>
                    <a:gd name="connsiteX1" fmla="*/ 0 w 9762"/>
                    <a:gd name="connsiteY1" fmla="*/ 92909 h 97790"/>
                    <a:gd name="connsiteX2" fmla="*/ 0 w 9762"/>
                    <a:gd name="connsiteY2" fmla="*/ 4881 h 97790"/>
                    <a:gd name="connsiteX3" fmla="*/ 4881 w 9762"/>
                    <a:gd name="connsiteY3" fmla="*/ 0 h 97790"/>
                    <a:gd name="connsiteX4" fmla="*/ 9762 w 9762"/>
                    <a:gd name="connsiteY4" fmla="*/ 4881 h 97790"/>
                    <a:gd name="connsiteX5" fmla="*/ 9762 w 9762"/>
                    <a:gd name="connsiteY5" fmla="*/ 92909 h 97790"/>
                    <a:gd name="connsiteX6" fmla="*/ 4881 w 9762"/>
                    <a:gd name="connsiteY6" fmla="*/ 97790 h 97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2" h="97790">
                      <a:moveTo>
                        <a:pt x="4881" y="97790"/>
                      </a:moveTo>
                      <a:cubicBezTo>
                        <a:pt x="2201" y="97790"/>
                        <a:pt x="0" y="95613"/>
                        <a:pt x="0" y="92909"/>
                      </a:cubicBezTo>
                      <a:lnTo>
                        <a:pt x="0" y="4881"/>
                      </a:lnTo>
                      <a:cubicBezTo>
                        <a:pt x="0" y="2201"/>
                        <a:pt x="2177" y="0"/>
                        <a:pt x="4881" y="0"/>
                      </a:cubicBezTo>
                      <a:cubicBezTo>
                        <a:pt x="7561" y="0"/>
                        <a:pt x="9762" y="2177"/>
                        <a:pt x="9762" y="4881"/>
                      </a:cubicBezTo>
                      <a:lnTo>
                        <a:pt x="9762" y="92909"/>
                      </a:lnTo>
                      <a:cubicBezTo>
                        <a:pt x="9738" y="95613"/>
                        <a:pt x="7561" y="97790"/>
                        <a:pt x="4881" y="97790"/>
                      </a:cubicBezTo>
                      <a:close/>
                    </a:path>
                  </a:pathLst>
                </a:custGeom>
                <a:solidFill>
                  <a:schemeClr val="accent1"/>
                </a:solidFill>
                <a:ln w="2390" cap="flat">
                  <a:noFill/>
                  <a:prstDash val="solid"/>
                  <a:miter/>
                </a:ln>
              </p:spPr>
              <p:txBody>
                <a:bodyPr rtlCol="0" anchor="ctr"/>
                <a:lstStyle/>
                <a:p>
                  <a:endParaRPr lang="en-GB" dirty="0"/>
                </a:p>
              </p:txBody>
            </p:sp>
            <p:sp>
              <p:nvSpPr>
                <p:cNvPr id="150" name="Freihandform: Form 936">
                  <a:extLst>
                    <a:ext uri="{FF2B5EF4-FFF2-40B4-BE49-F238E27FC236}">
                      <a16:creationId xmlns:a16="http://schemas.microsoft.com/office/drawing/2014/main" id="{077EADF2-011E-486B-A2C0-E7B8555C1D3B}"/>
                    </a:ext>
                  </a:extLst>
                </p:cNvPr>
                <p:cNvSpPr/>
                <p:nvPr/>
              </p:nvSpPr>
              <p:spPr>
                <a:xfrm>
                  <a:off x="7162906" y="2842266"/>
                  <a:ext cx="9762" cy="33258"/>
                </a:xfrm>
                <a:custGeom>
                  <a:avLst/>
                  <a:gdLst>
                    <a:gd name="connsiteX0" fmla="*/ 4881 w 9762"/>
                    <a:gd name="connsiteY0" fmla="*/ 33259 h 33258"/>
                    <a:gd name="connsiteX1" fmla="*/ 0 w 9762"/>
                    <a:gd name="connsiteY1" fmla="*/ 28378 h 33258"/>
                    <a:gd name="connsiteX2" fmla="*/ 0 w 9762"/>
                    <a:gd name="connsiteY2" fmla="*/ 4881 h 33258"/>
                    <a:gd name="connsiteX3" fmla="*/ 4881 w 9762"/>
                    <a:gd name="connsiteY3" fmla="*/ 0 h 33258"/>
                    <a:gd name="connsiteX4" fmla="*/ 9762 w 9762"/>
                    <a:gd name="connsiteY4" fmla="*/ 4881 h 33258"/>
                    <a:gd name="connsiteX5" fmla="*/ 9762 w 9762"/>
                    <a:gd name="connsiteY5" fmla="*/ 28378 h 33258"/>
                    <a:gd name="connsiteX6" fmla="*/ 4881 w 9762"/>
                    <a:gd name="connsiteY6" fmla="*/ 33259 h 33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2" h="33258">
                      <a:moveTo>
                        <a:pt x="4881" y="33259"/>
                      </a:moveTo>
                      <a:cubicBezTo>
                        <a:pt x="2201" y="33259"/>
                        <a:pt x="0" y="31081"/>
                        <a:pt x="0" y="28378"/>
                      </a:cubicBezTo>
                      <a:lnTo>
                        <a:pt x="0" y="4881"/>
                      </a:lnTo>
                      <a:cubicBezTo>
                        <a:pt x="0" y="2201"/>
                        <a:pt x="2177" y="0"/>
                        <a:pt x="4881" y="0"/>
                      </a:cubicBezTo>
                      <a:cubicBezTo>
                        <a:pt x="7561" y="0"/>
                        <a:pt x="9762" y="2177"/>
                        <a:pt x="9762" y="4881"/>
                      </a:cubicBezTo>
                      <a:lnTo>
                        <a:pt x="9762" y="28378"/>
                      </a:lnTo>
                      <a:cubicBezTo>
                        <a:pt x="9738" y="31081"/>
                        <a:pt x="7561" y="33259"/>
                        <a:pt x="4881" y="33259"/>
                      </a:cubicBezTo>
                      <a:close/>
                    </a:path>
                  </a:pathLst>
                </a:custGeom>
                <a:solidFill>
                  <a:schemeClr val="accent1"/>
                </a:solidFill>
                <a:ln w="2390" cap="flat">
                  <a:noFill/>
                  <a:prstDash val="solid"/>
                  <a:miter/>
                </a:ln>
              </p:spPr>
              <p:txBody>
                <a:bodyPr rtlCol="0" anchor="ctr"/>
                <a:lstStyle/>
                <a:p>
                  <a:endParaRPr lang="en-GB" dirty="0"/>
                </a:p>
              </p:txBody>
            </p:sp>
          </p:grpSp>
          <p:grpSp>
            <p:nvGrpSpPr>
              <p:cNvPr id="135" name="Grafik 14">
                <a:extLst>
                  <a:ext uri="{FF2B5EF4-FFF2-40B4-BE49-F238E27FC236}">
                    <a16:creationId xmlns:a16="http://schemas.microsoft.com/office/drawing/2014/main" id="{B4B00FD0-D4F5-471B-80E3-E231526B41DC}"/>
                  </a:ext>
                </a:extLst>
              </p:cNvPr>
              <p:cNvGrpSpPr/>
              <p:nvPr/>
            </p:nvGrpSpPr>
            <p:grpSpPr>
              <a:xfrm>
                <a:off x="7017543" y="2574300"/>
                <a:ext cx="300464" cy="228724"/>
                <a:chOff x="7017543" y="2574300"/>
                <a:chExt cx="300464" cy="228724"/>
              </a:xfrm>
              <a:solidFill>
                <a:schemeClr val="accent1"/>
              </a:solidFill>
            </p:grpSpPr>
            <p:grpSp>
              <p:nvGrpSpPr>
                <p:cNvPr id="143" name="Grafik 14">
                  <a:extLst>
                    <a:ext uri="{FF2B5EF4-FFF2-40B4-BE49-F238E27FC236}">
                      <a16:creationId xmlns:a16="http://schemas.microsoft.com/office/drawing/2014/main" id="{686DE543-6A87-422C-8489-0729A8623953}"/>
                    </a:ext>
                  </a:extLst>
                </p:cNvPr>
                <p:cNvGrpSpPr/>
                <p:nvPr/>
              </p:nvGrpSpPr>
              <p:grpSpPr>
                <a:xfrm>
                  <a:off x="7194508" y="2574300"/>
                  <a:ext cx="123499" cy="95427"/>
                  <a:chOff x="7194508" y="2574300"/>
                  <a:chExt cx="123499" cy="95427"/>
                </a:xfrm>
                <a:solidFill>
                  <a:schemeClr val="accent1"/>
                </a:solidFill>
              </p:grpSpPr>
              <p:sp>
                <p:nvSpPr>
                  <p:cNvPr id="147" name="Freihandform: Form 939">
                    <a:extLst>
                      <a:ext uri="{FF2B5EF4-FFF2-40B4-BE49-F238E27FC236}">
                        <a16:creationId xmlns:a16="http://schemas.microsoft.com/office/drawing/2014/main" id="{C6E64365-8E19-458C-A9F8-F1E38FC7CA2F}"/>
                      </a:ext>
                    </a:extLst>
                  </p:cNvPr>
                  <p:cNvSpPr/>
                  <p:nvPr/>
                </p:nvSpPr>
                <p:spPr>
                  <a:xfrm>
                    <a:off x="7194508" y="2612878"/>
                    <a:ext cx="72295" cy="56849"/>
                  </a:xfrm>
                  <a:custGeom>
                    <a:avLst/>
                    <a:gdLst>
                      <a:gd name="connsiteX0" fmla="*/ 4887 w 72295"/>
                      <a:gd name="connsiteY0" fmla="*/ 56849 h 56849"/>
                      <a:gd name="connsiteX1" fmla="*/ 987 w 72295"/>
                      <a:gd name="connsiteY1" fmla="*/ 54911 h 56849"/>
                      <a:gd name="connsiteX2" fmla="*/ 1944 w 72295"/>
                      <a:gd name="connsiteY2" fmla="*/ 48092 h 56849"/>
                      <a:gd name="connsiteX3" fmla="*/ 64489 w 72295"/>
                      <a:gd name="connsiteY3" fmla="*/ 980 h 56849"/>
                      <a:gd name="connsiteX4" fmla="*/ 71308 w 72295"/>
                      <a:gd name="connsiteY4" fmla="*/ 1937 h 56849"/>
                      <a:gd name="connsiteX5" fmla="*/ 70351 w 72295"/>
                      <a:gd name="connsiteY5" fmla="*/ 8756 h 56849"/>
                      <a:gd name="connsiteX6" fmla="*/ 7806 w 72295"/>
                      <a:gd name="connsiteY6" fmla="*/ 55868 h 56849"/>
                      <a:gd name="connsiteX7" fmla="*/ 4887 w 72295"/>
                      <a:gd name="connsiteY7" fmla="*/ 56849 h 5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295" h="56849">
                        <a:moveTo>
                          <a:pt x="4887" y="56849"/>
                        </a:moveTo>
                        <a:cubicBezTo>
                          <a:pt x="3403" y="56849"/>
                          <a:pt x="1944" y="56179"/>
                          <a:pt x="987" y="54911"/>
                        </a:cubicBezTo>
                        <a:cubicBezTo>
                          <a:pt x="-640" y="52758"/>
                          <a:pt x="-210" y="49719"/>
                          <a:pt x="1944" y="48092"/>
                        </a:cubicBezTo>
                        <a:lnTo>
                          <a:pt x="64489" y="980"/>
                        </a:lnTo>
                        <a:cubicBezTo>
                          <a:pt x="66643" y="-647"/>
                          <a:pt x="69705" y="-193"/>
                          <a:pt x="71308" y="1937"/>
                        </a:cubicBezTo>
                        <a:cubicBezTo>
                          <a:pt x="72936" y="4090"/>
                          <a:pt x="72505" y="7129"/>
                          <a:pt x="70351" y="8756"/>
                        </a:cubicBezTo>
                        <a:lnTo>
                          <a:pt x="7806" y="55868"/>
                        </a:lnTo>
                        <a:cubicBezTo>
                          <a:pt x="6921" y="56538"/>
                          <a:pt x="5892" y="56849"/>
                          <a:pt x="4887" y="56849"/>
                        </a:cubicBezTo>
                        <a:close/>
                      </a:path>
                    </a:pathLst>
                  </a:custGeom>
                  <a:solidFill>
                    <a:schemeClr val="accent1"/>
                  </a:solidFill>
                  <a:ln w="2390" cap="flat">
                    <a:noFill/>
                    <a:prstDash val="solid"/>
                    <a:miter/>
                  </a:ln>
                </p:spPr>
                <p:txBody>
                  <a:bodyPr rtlCol="0" anchor="ctr"/>
                  <a:lstStyle/>
                  <a:p>
                    <a:endParaRPr lang="en-GB" dirty="0"/>
                  </a:p>
                </p:txBody>
              </p:sp>
              <p:sp>
                <p:nvSpPr>
                  <p:cNvPr id="148" name="Freihandform: Form 940">
                    <a:extLst>
                      <a:ext uri="{FF2B5EF4-FFF2-40B4-BE49-F238E27FC236}">
                        <a16:creationId xmlns:a16="http://schemas.microsoft.com/office/drawing/2014/main" id="{5A44B487-5519-4EA4-B5CF-7ECC9DA194E2}"/>
                      </a:ext>
                    </a:extLst>
                  </p:cNvPr>
                  <p:cNvSpPr/>
                  <p:nvPr/>
                </p:nvSpPr>
                <p:spPr>
                  <a:xfrm>
                    <a:off x="7283828" y="2574300"/>
                    <a:ext cx="34179" cy="28167"/>
                  </a:xfrm>
                  <a:custGeom>
                    <a:avLst/>
                    <a:gdLst>
                      <a:gd name="connsiteX0" fmla="*/ 4887 w 34179"/>
                      <a:gd name="connsiteY0" fmla="*/ 28168 h 28167"/>
                      <a:gd name="connsiteX1" fmla="*/ 987 w 34179"/>
                      <a:gd name="connsiteY1" fmla="*/ 26230 h 28167"/>
                      <a:gd name="connsiteX2" fmla="*/ 1944 w 34179"/>
                      <a:gd name="connsiteY2" fmla="*/ 19411 h 28167"/>
                      <a:gd name="connsiteX3" fmla="*/ 26373 w 34179"/>
                      <a:gd name="connsiteY3" fmla="*/ 987 h 28167"/>
                      <a:gd name="connsiteX4" fmla="*/ 33193 w 34179"/>
                      <a:gd name="connsiteY4" fmla="*/ 1944 h 28167"/>
                      <a:gd name="connsiteX5" fmla="*/ 32235 w 34179"/>
                      <a:gd name="connsiteY5" fmla="*/ 8763 h 28167"/>
                      <a:gd name="connsiteX6" fmla="*/ 7806 w 34179"/>
                      <a:gd name="connsiteY6" fmla="*/ 27187 h 28167"/>
                      <a:gd name="connsiteX7" fmla="*/ 4887 w 34179"/>
                      <a:gd name="connsiteY7" fmla="*/ 28168 h 28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79" h="28167">
                        <a:moveTo>
                          <a:pt x="4887" y="28168"/>
                        </a:moveTo>
                        <a:cubicBezTo>
                          <a:pt x="3403" y="28168"/>
                          <a:pt x="1944" y="27498"/>
                          <a:pt x="987" y="26230"/>
                        </a:cubicBezTo>
                        <a:cubicBezTo>
                          <a:pt x="-640" y="24076"/>
                          <a:pt x="-210" y="21038"/>
                          <a:pt x="1944" y="19411"/>
                        </a:cubicBezTo>
                        <a:lnTo>
                          <a:pt x="26373" y="987"/>
                        </a:lnTo>
                        <a:cubicBezTo>
                          <a:pt x="28503" y="-640"/>
                          <a:pt x="31566" y="-210"/>
                          <a:pt x="33193" y="1944"/>
                        </a:cubicBezTo>
                        <a:cubicBezTo>
                          <a:pt x="34820" y="4097"/>
                          <a:pt x="34389" y="7136"/>
                          <a:pt x="32235" y="8763"/>
                        </a:cubicBezTo>
                        <a:lnTo>
                          <a:pt x="7806" y="27187"/>
                        </a:lnTo>
                        <a:cubicBezTo>
                          <a:pt x="6921" y="27833"/>
                          <a:pt x="5892" y="28168"/>
                          <a:pt x="4887" y="28168"/>
                        </a:cubicBezTo>
                        <a:close/>
                      </a:path>
                    </a:pathLst>
                  </a:custGeom>
                  <a:solidFill>
                    <a:schemeClr val="accent1"/>
                  </a:solidFill>
                  <a:ln w="2390" cap="flat">
                    <a:noFill/>
                    <a:prstDash val="solid"/>
                    <a:miter/>
                  </a:ln>
                </p:spPr>
                <p:txBody>
                  <a:bodyPr rtlCol="0" anchor="ctr"/>
                  <a:lstStyle/>
                  <a:p>
                    <a:endParaRPr lang="en-GB" dirty="0"/>
                  </a:p>
                </p:txBody>
              </p:sp>
            </p:grpSp>
            <p:grpSp>
              <p:nvGrpSpPr>
                <p:cNvPr id="144" name="Grafik 14">
                  <a:extLst>
                    <a:ext uri="{FF2B5EF4-FFF2-40B4-BE49-F238E27FC236}">
                      <a16:creationId xmlns:a16="http://schemas.microsoft.com/office/drawing/2014/main" id="{B92334B4-D5D8-4FC1-9EB7-5EE47B1D537B}"/>
                    </a:ext>
                  </a:extLst>
                </p:cNvPr>
                <p:cNvGrpSpPr/>
                <p:nvPr/>
              </p:nvGrpSpPr>
              <p:grpSpPr>
                <a:xfrm>
                  <a:off x="7017543" y="2707605"/>
                  <a:ext cx="123523" cy="95419"/>
                  <a:chOff x="7017543" y="2707605"/>
                  <a:chExt cx="123523" cy="95419"/>
                </a:xfrm>
                <a:solidFill>
                  <a:schemeClr val="accent1"/>
                </a:solidFill>
              </p:grpSpPr>
              <p:sp>
                <p:nvSpPr>
                  <p:cNvPr id="145" name="Freihandform: Form 942">
                    <a:extLst>
                      <a:ext uri="{FF2B5EF4-FFF2-40B4-BE49-F238E27FC236}">
                        <a16:creationId xmlns:a16="http://schemas.microsoft.com/office/drawing/2014/main" id="{6BE0BB26-7B64-4B05-ADD6-207D3BA18632}"/>
                      </a:ext>
                    </a:extLst>
                  </p:cNvPr>
                  <p:cNvSpPr/>
                  <p:nvPr/>
                </p:nvSpPr>
                <p:spPr>
                  <a:xfrm>
                    <a:off x="7063723" y="2707605"/>
                    <a:ext cx="77343" cy="60653"/>
                  </a:xfrm>
                  <a:custGeom>
                    <a:avLst/>
                    <a:gdLst>
                      <a:gd name="connsiteX0" fmla="*/ 4887 w 77343"/>
                      <a:gd name="connsiteY0" fmla="*/ 60654 h 60653"/>
                      <a:gd name="connsiteX1" fmla="*/ 987 w 77343"/>
                      <a:gd name="connsiteY1" fmla="*/ 58716 h 60653"/>
                      <a:gd name="connsiteX2" fmla="*/ 1944 w 77343"/>
                      <a:gd name="connsiteY2" fmla="*/ 51896 h 60653"/>
                      <a:gd name="connsiteX3" fmla="*/ 69538 w 77343"/>
                      <a:gd name="connsiteY3" fmla="*/ 980 h 60653"/>
                      <a:gd name="connsiteX4" fmla="*/ 76357 w 77343"/>
                      <a:gd name="connsiteY4" fmla="*/ 1937 h 60653"/>
                      <a:gd name="connsiteX5" fmla="*/ 75400 w 77343"/>
                      <a:gd name="connsiteY5" fmla="*/ 8756 h 60653"/>
                      <a:gd name="connsiteX6" fmla="*/ 7806 w 77343"/>
                      <a:gd name="connsiteY6" fmla="*/ 59673 h 60653"/>
                      <a:gd name="connsiteX7" fmla="*/ 4887 w 77343"/>
                      <a:gd name="connsiteY7" fmla="*/ 60654 h 6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343" h="60653">
                        <a:moveTo>
                          <a:pt x="4887" y="60654"/>
                        </a:moveTo>
                        <a:cubicBezTo>
                          <a:pt x="3403" y="60654"/>
                          <a:pt x="1944" y="59984"/>
                          <a:pt x="987" y="58716"/>
                        </a:cubicBezTo>
                        <a:cubicBezTo>
                          <a:pt x="-640" y="56562"/>
                          <a:pt x="-210" y="53523"/>
                          <a:pt x="1944" y="51896"/>
                        </a:cubicBezTo>
                        <a:lnTo>
                          <a:pt x="69538" y="980"/>
                        </a:lnTo>
                        <a:cubicBezTo>
                          <a:pt x="71691" y="-647"/>
                          <a:pt x="74754" y="-193"/>
                          <a:pt x="76357" y="1937"/>
                        </a:cubicBezTo>
                        <a:cubicBezTo>
                          <a:pt x="77984" y="4090"/>
                          <a:pt x="77553" y="7129"/>
                          <a:pt x="75400" y="8756"/>
                        </a:cubicBezTo>
                        <a:lnTo>
                          <a:pt x="7806" y="59673"/>
                        </a:lnTo>
                        <a:cubicBezTo>
                          <a:pt x="6921" y="60343"/>
                          <a:pt x="5892" y="60654"/>
                          <a:pt x="4887" y="60654"/>
                        </a:cubicBezTo>
                        <a:close/>
                      </a:path>
                    </a:pathLst>
                  </a:custGeom>
                  <a:solidFill>
                    <a:schemeClr val="accent1"/>
                  </a:solidFill>
                  <a:ln w="2390" cap="flat">
                    <a:noFill/>
                    <a:prstDash val="solid"/>
                    <a:miter/>
                  </a:ln>
                </p:spPr>
                <p:txBody>
                  <a:bodyPr rtlCol="0" anchor="ctr"/>
                  <a:lstStyle/>
                  <a:p>
                    <a:endParaRPr lang="en-GB" dirty="0"/>
                  </a:p>
                </p:txBody>
              </p:sp>
              <p:sp>
                <p:nvSpPr>
                  <p:cNvPr id="146" name="Freihandform: Form 943">
                    <a:extLst>
                      <a:ext uri="{FF2B5EF4-FFF2-40B4-BE49-F238E27FC236}">
                        <a16:creationId xmlns:a16="http://schemas.microsoft.com/office/drawing/2014/main" id="{6F65FE20-A1A2-4E3B-89D1-6E99CC118AE1}"/>
                      </a:ext>
                    </a:extLst>
                  </p:cNvPr>
                  <p:cNvSpPr/>
                  <p:nvPr/>
                </p:nvSpPr>
                <p:spPr>
                  <a:xfrm>
                    <a:off x="7017543" y="2779301"/>
                    <a:ext cx="28340" cy="23723"/>
                  </a:xfrm>
                  <a:custGeom>
                    <a:avLst/>
                    <a:gdLst>
                      <a:gd name="connsiteX0" fmla="*/ 4887 w 28340"/>
                      <a:gd name="connsiteY0" fmla="*/ 23724 h 23723"/>
                      <a:gd name="connsiteX1" fmla="*/ 987 w 28340"/>
                      <a:gd name="connsiteY1" fmla="*/ 21786 h 23723"/>
                      <a:gd name="connsiteX2" fmla="*/ 1944 w 28340"/>
                      <a:gd name="connsiteY2" fmla="*/ 14967 h 23723"/>
                      <a:gd name="connsiteX3" fmla="*/ 20535 w 28340"/>
                      <a:gd name="connsiteY3" fmla="*/ 969 h 23723"/>
                      <a:gd name="connsiteX4" fmla="*/ 27354 w 28340"/>
                      <a:gd name="connsiteY4" fmla="*/ 1926 h 23723"/>
                      <a:gd name="connsiteX5" fmla="*/ 26397 w 28340"/>
                      <a:gd name="connsiteY5" fmla="*/ 8746 h 23723"/>
                      <a:gd name="connsiteX6" fmla="*/ 7806 w 28340"/>
                      <a:gd name="connsiteY6" fmla="*/ 22743 h 23723"/>
                      <a:gd name="connsiteX7" fmla="*/ 4887 w 28340"/>
                      <a:gd name="connsiteY7" fmla="*/ 23724 h 23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40" h="23723">
                        <a:moveTo>
                          <a:pt x="4887" y="23724"/>
                        </a:moveTo>
                        <a:cubicBezTo>
                          <a:pt x="3403" y="23724"/>
                          <a:pt x="1944" y="23054"/>
                          <a:pt x="987" y="21786"/>
                        </a:cubicBezTo>
                        <a:cubicBezTo>
                          <a:pt x="-640" y="19632"/>
                          <a:pt x="-210" y="16594"/>
                          <a:pt x="1944" y="14967"/>
                        </a:cubicBezTo>
                        <a:lnTo>
                          <a:pt x="20535" y="969"/>
                        </a:lnTo>
                        <a:cubicBezTo>
                          <a:pt x="22689" y="-634"/>
                          <a:pt x="25751" y="-203"/>
                          <a:pt x="27354" y="1926"/>
                        </a:cubicBezTo>
                        <a:cubicBezTo>
                          <a:pt x="28981" y="4080"/>
                          <a:pt x="28551" y="7119"/>
                          <a:pt x="26397" y="8746"/>
                        </a:cubicBezTo>
                        <a:lnTo>
                          <a:pt x="7806" y="22743"/>
                        </a:lnTo>
                        <a:cubicBezTo>
                          <a:pt x="6944" y="23413"/>
                          <a:pt x="5916" y="23724"/>
                          <a:pt x="4887" y="23724"/>
                        </a:cubicBezTo>
                        <a:close/>
                      </a:path>
                    </a:pathLst>
                  </a:custGeom>
                  <a:solidFill>
                    <a:schemeClr val="accent1"/>
                  </a:solidFill>
                  <a:ln w="2390" cap="flat">
                    <a:noFill/>
                    <a:prstDash val="solid"/>
                    <a:miter/>
                  </a:ln>
                </p:spPr>
                <p:txBody>
                  <a:bodyPr rtlCol="0" anchor="ctr"/>
                  <a:lstStyle/>
                  <a:p>
                    <a:endParaRPr lang="en-GB" dirty="0"/>
                  </a:p>
                </p:txBody>
              </p:sp>
            </p:grpSp>
          </p:grpSp>
          <p:grpSp>
            <p:nvGrpSpPr>
              <p:cNvPr id="136" name="Grafik 14">
                <a:extLst>
                  <a:ext uri="{FF2B5EF4-FFF2-40B4-BE49-F238E27FC236}">
                    <a16:creationId xmlns:a16="http://schemas.microsoft.com/office/drawing/2014/main" id="{6493A07E-61CC-4290-8074-EFE67795D023}"/>
                  </a:ext>
                </a:extLst>
              </p:cNvPr>
              <p:cNvGrpSpPr/>
              <p:nvPr/>
            </p:nvGrpSpPr>
            <p:grpSpPr>
              <a:xfrm>
                <a:off x="7016251" y="2574300"/>
                <a:ext cx="300464" cy="228724"/>
                <a:chOff x="7016251" y="2574300"/>
                <a:chExt cx="300464" cy="228724"/>
              </a:xfrm>
              <a:solidFill>
                <a:schemeClr val="accent1"/>
              </a:solidFill>
            </p:grpSpPr>
            <p:grpSp>
              <p:nvGrpSpPr>
                <p:cNvPr id="137" name="Grafik 14">
                  <a:extLst>
                    <a:ext uri="{FF2B5EF4-FFF2-40B4-BE49-F238E27FC236}">
                      <a16:creationId xmlns:a16="http://schemas.microsoft.com/office/drawing/2014/main" id="{E8A5C5FB-E745-48A8-A011-2CD29EEDDE2F}"/>
                    </a:ext>
                  </a:extLst>
                </p:cNvPr>
                <p:cNvGrpSpPr/>
                <p:nvPr/>
              </p:nvGrpSpPr>
              <p:grpSpPr>
                <a:xfrm>
                  <a:off x="7193168" y="2707605"/>
                  <a:ext cx="123546" cy="95419"/>
                  <a:chOff x="7193168" y="2707605"/>
                  <a:chExt cx="123546" cy="95419"/>
                </a:xfrm>
                <a:solidFill>
                  <a:schemeClr val="accent1"/>
                </a:solidFill>
              </p:grpSpPr>
              <p:sp>
                <p:nvSpPr>
                  <p:cNvPr id="141" name="Freihandform: Form 946">
                    <a:extLst>
                      <a:ext uri="{FF2B5EF4-FFF2-40B4-BE49-F238E27FC236}">
                        <a16:creationId xmlns:a16="http://schemas.microsoft.com/office/drawing/2014/main" id="{61B45126-011F-4336-A6BE-1302AE5DF3ED}"/>
                      </a:ext>
                    </a:extLst>
                  </p:cNvPr>
                  <p:cNvSpPr/>
                  <p:nvPr/>
                </p:nvSpPr>
                <p:spPr>
                  <a:xfrm>
                    <a:off x="7193168" y="2707605"/>
                    <a:ext cx="78300" cy="61371"/>
                  </a:xfrm>
                  <a:custGeom>
                    <a:avLst/>
                    <a:gdLst>
                      <a:gd name="connsiteX0" fmla="*/ 73438 w 78300"/>
                      <a:gd name="connsiteY0" fmla="*/ 61372 h 61371"/>
                      <a:gd name="connsiteX1" fmla="*/ 70519 w 78300"/>
                      <a:gd name="connsiteY1" fmla="*/ 60391 h 61371"/>
                      <a:gd name="connsiteX2" fmla="*/ 1944 w 78300"/>
                      <a:gd name="connsiteY2" fmla="*/ 8756 h 61371"/>
                      <a:gd name="connsiteX3" fmla="*/ 987 w 78300"/>
                      <a:gd name="connsiteY3" fmla="*/ 1937 h 61371"/>
                      <a:gd name="connsiteX4" fmla="*/ 7806 w 78300"/>
                      <a:gd name="connsiteY4" fmla="*/ 980 h 61371"/>
                      <a:gd name="connsiteX5" fmla="*/ 76357 w 78300"/>
                      <a:gd name="connsiteY5" fmla="*/ 52614 h 61371"/>
                      <a:gd name="connsiteX6" fmla="*/ 77314 w 78300"/>
                      <a:gd name="connsiteY6" fmla="*/ 59434 h 61371"/>
                      <a:gd name="connsiteX7" fmla="*/ 73438 w 78300"/>
                      <a:gd name="connsiteY7" fmla="*/ 61372 h 61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300" h="61371">
                        <a:moveTo>
                          <a:pt x="73438" y="61372"/>
                        </a:moveTo>
                        <a:cubicBezTo>
                          <a:pt x="72433" y="61372"/>
                          <a:pt x="71380" y="61061"/>
                          <a:pt x="70519" y="60391"/>
                        </a:cubicBezTo>
                        <a:lnTo>
                          <a:pt x="1944" y="8756"/>
                        </a:lnTo>
                        <a:cubicBezTo>
                          <a:pt x="-210" y="7129"/>
                          <a:pt x="-640" y="4090"/>
                          <a:pt x="987" y="1937"/>
                        </a:cubicBezTo>
                        <a:cubicBezTo>
                          <a:pt x="2590" y="-193"/>
                          <a:pt x="5652" y="-647"/>
                          <a:pt x="7806" y="980"/>
                        </a:cubicBezTo>
                        <a:lnTo>
                          <a:pt x="76357" y="52614"/>
                        </a:lnTo>
                        <a:cubicBezTo>
                          <a:pt x="78511" y="54241"/>
                          <a:pt x="78941" y="57280"/>
                          <a:pt x="77314" y="59434"/>
                        </a:cubicBezTo>
                        <a:cubicBezTo>
                          <a:pt x="76381" y="60702"/>
                          <a:pt x="74921" y="61372"/>
                          <a:pt x="73438" y="61372"/>
                        </a:cubicBezTo>
                        <a:close/>
                      </a:path>
                    </a:pathLst>
                  </a:custGeom>
                  <a:solidFill>
                    <a:schemeClr val="accent1"/>
                  </a:solidFill>
                  <a:ln w="2390" cap="flat">
                    <a:noFill/>
                    <a:prstDash val="solid"/>
                    <a:miter/>
                  </a:ln>
                </p:spPr>
                <p:txBody>
                  <a:bodyPr rtlCol="0" anchor="ctr"/>
                  <a:lstStyle/>
                  <a:p>
                    <a:endParaRPr lang="en-GB" dirty="0"/>
                  </a:p>
                </p:txBody>
              </p:sp>
              <p:sp>
                <p:nvSpPr>
                  <p:cNvPr id="142" name="Freihandform: Form 947">
                    <a:extLst>
                      <a:ext uri="{FF2B5EF4-FFF2-40B4-BE49-F238E27FC236}">
                        <a16:creationId xmlns:a16="http://schemas.microsoft.com/office/drawing/2014/main" id="{DE6402FF-B000-486B-82D4-500E6830D6B7}"/>
                      </a:ext>
                    </a:extLst>
                  </p:cNvPr>
                  <p:cNvSpPr/>
                  <p:nvPr/>
                </p:nvSpPr>
                <p:spPr>
                  <a:xfrm>
                    <a:off x="7286867" y="2778159"/>
                    <a:ext cx="29848" cy="24865"/>
                  </a:xfrm>
                  <a:custGeom>
                    <a:avLst/>
                    <a:gdLst>
                      <a:gd name="connsiteX0" fmla="*/ 24962 w 29848"/>
                      <a:gd name="connsiteY0" fmla="*/ 24866 h 24865"/>
                      <a:gd name="connsiteX1" fmla="*/ 22042 w 29848"/>
                      <a:gd name="connsiteY1" fmla="*/ 23885 h 24865"/>
                      <a:gd name="connsiteX2" fmla="*/ 1944 w 29848"/>
                      <a:gd name="connsiteY2" fmla="*/ 8763 h 24865"/>
                      <a:gd name="connsiteX3" fmla="*/ 987 w 29848"/>
                      <a:gd name="connsiteY3" fmla="*/ 1944 h 24865"/>
                      <a:gd name="connsiteX4" fmla="*/ 7806 w 29848"/>
                      <a:gd name="connsiteY4" fmla="*/ 987 h 24865"/>
                      <a:gd name="connsiteX5" fmla="*/ 27905 w 29848"/>
                      <a:gd name="connsiteY5" fmla="*/ 16133 h 24865"/>
                      <a:gd name="connsiteX6" fmla="*/ 28862 w 29848"/>
                      <a:gd name="connsiteY6" fmla="*/ 22952 h 24865"/>
                      <a:gd name="connsiteX7" fmla="*/ 24962 w 29848"/>
                      <a:gd name="connsiteY7" fmla="*/ 24866 h 24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48" h="24865">
                        <a:moveTo>
                          <a:pt x="24962" y="24866"/>
                        </a:moveTo>
                        <a:cubicBezTo>
                          <a:pt x="23957" y="24866"/>
                          <a:pt x="22904" y="24555"/>
                          <a:pt x="22042" y="23885"/>
                        </a:cubicBezTo>
                        <a:lnTo>
                          <a:pt x="1944" y="8763"/>
                        </a:lnTo>
                        <a:cubicBezTo>
                          <a:pt x="-210" y="7136"/>
                          <a:pt x="-640" y="4097"/>
                          <a:pt x="987" y="1944"/>
                        </a:cubicBezTo>
                        <a:cubicBezTo>
                          <a:pt x="2614" y="-210"/>
                          <a:pt x="5652" y="-640"/>
                          <a:pt x="7806" y="987"/>
                        </a:cubicBezTo>
                        <a:lnTo>
                          <a:pt x="27905" y="16133"/>
                        </a:lnTo>
                        <a:cubicBezTo>
                          <a:pt x="30058" y="17760"/>
                          <a:pt x="30489" y="20798"/>
                          <a:pt x="28862" y="22952"/>
                        </a:cubicBezTo>
                        <a:cubicBezTo>
                          <a:pt x="27905" y="24196"/>
                          <a:pt x="26445" y="24866"/>
                          <a:pt x="24962" y="24866"/>
                        </a:cubicBezTo>
                        <a:close/>
                      </a:path>
                    </a:pathLst>
                  </a:custGeom>
                  <a:solidFill>
                    <a:schemeClr val="accent1"/>
                  </a:solidFill>
                  <a:ln w="2390" cap="flat">
                    <a:noFill/>
                    <a:prstDash val="solid"/>
                    <a:miter/>
                  </a:ln>
                </p:spPr>
                <p:txBody>
                  <a:bodyPr rtlCol="0" anchor="ctr"/>
                  <a:lstStyle/>
                  <a:p>
                    <a:endParaRPr lang="en-GB" dirty="0"/>
                  </a:p>
                </p:txBody>
              </p:sp>
            </p:grpSp>
            <p:grpSp>
              <p:nvGrpSpPr>
                <p:cNvPr id="138" name="Grafik 14">
                  <a:extLst>
                    <a:ext uri="{FF2B5EF4-FFF2-40B4-BE49-F238E27FC236}">
                      <a16:creationId xmlns:a16="http://schemas.microsoft.com/office/drawing/2014/main" id="{36AEDBBB-116A-433B-B9C0-2F5A7DC34F95}"/>
                    </a:ext>
                  </a:extLst>
                </p:cNvPr>
                <p:cNvGrpSpPr/>
                <p:nvPr/>
              </p:nvGrpSpPr>
              <p:grpSpPr>
                <a:xfrm>
                  <a:off x="7016251" y="2574300"/>
                  <a:ext cx="123499" cy="95427"/>
                  <a:chOff x="7016251" y="2574300"/>
                  <a:chExt cx="123499" cy="95427"/>
                </a:xfrm>
                <a:solidFill>
                  <a:schemeClr val="accent1"/>
                </a:solidFill>
              </p:grpSpPr>
              <p:sp>
                <p:nvSpPr>
                  <p:cNvPr id="139" name="Freihandform: Form 949">
                    <a:extLst>
                      <a:ext uri="{FF2B5EF4-FFF2-40B4-BE49-F238E27FC236}">
                        <a16:creationId xmlns:a16="http://schemas.microsoft.com/office/drawing/2014/main" id="{98BD171A-7B38-4068-B9AF-F0B96B5399CE}"/>
                      </a:ext>
                    </a:extLst>
                  </p:cNvPr>
                  <p:cNvSpPr/>
                  <p:nvPr/>
                </p:nvSpPr>
                <p:spPr>
                  <a:xfrm>
                    <a:off x="7067695" y="2613062"/>
                    <a:ext cx="72055" cy="56665"/>
                  </a:xfrm>
                  <a:custGeom>
                    <a:avLst/>
                    <a:gdLst>
                      <a:gd name="connsiteX0" fmla="*/ 67169 w 72055"/>
                      <a:gd name="connsiteY0" fmla="*/ 56665 h 56665"/>
                      <a:gd name="connsiteX1" fmla="*/ 64250 w 72055"/>
                      <a:gd name="connsiteY1" fmla="*/ 55684 h 56665"/>
                      <a:gd name="connsiteX2" fmla="*/ 1944 w 72055"/>
                      <a:gd name="connsiteY2" fmla="*/ 8763 h 56665"/>
                      <a:gd name="connsiteX3" fmla="*/ 987 w 72055"/>
                      <a:gd name="connsiteY3" fmla="*/ 1944 h 56665"/>
                      <a:gd name="connsiteX4" fmla="*/ 7806 w 72055"/>
                      <a:gd name="connsiteY4" fmla="*/ 987 h 56665"/>
                      <a:gd name="connsiteX5" fmla="*/ 70112 w 72055"/>
                      <a:gd name="connsiteY5" fmla="*/ 47908 h 56665"/>
                      <a:gd name="connsiteX6" fmla="*/ 71069 w 72055"/>
                      <a:gd name="connsiteY6" fmla="*/ 54727 h 56665"/>
                      <a:gd name="connsiteX7" fmla="*/ 67169 w 72055"/>
                      <a:gd name="connsiteY7" fmla="*/ 56665 h 5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055" h="56665">
                        <a:moveTo>
                          <a:pt x="67169" y="56665"/>
                        </a:moveTo>
                        <a:cubicBezTo>
                          <a:pt x="66164" y="56665"/>
                          <a:pt x="65111" y="56354"/>
                          <a:pt x="64250" y="55684"/>
                        </a:cubicBezTo>
                        <a:lnTo>
                          <a:pt x="1944" y="8763"/>
                        </a:lnTo>
                        <a:cubicBezTo>
                          <a:pt x="-210" y="7136"/>
                          <a:pt x="-640" y="4097"/>
                          <a:pt x="987" y="1944"/>
                        </a:cubicBezTo>
                        <a:cubicBezTo>
                          <a:pt x="2614" y="-210"/>
                          <a:pt x="5652" y="-640"/>
                          <a:pt x="7806" y="987"/>
                        </a:cubicBezTo>
                        <a:lnTo>
                          <a:pt x="70112" y="47908"/>
                        </a:lnTo>
                        <a:cubicBezTo>
                          <a:pt x="72266" y="49535"/>
                          <a:pt x="72696" y="52574"/>
                          <a:pt x="71069" y="54727"/>
                        </a:cubicBezTo>
                        <a:cubicBezTo>
                          <a:pt x="70112" y="55995"/>
                          <a:pt x="68653" y="56665"/>
                          <a:pt x="67169" y="56665"/>
                        </a:cubicBezTo>
                        <a:close/>
                      </a:path>
                    </a:pathLst>
                  </a:custGeom>
                  <a:solidFill>
                    <a:schemeClr val="accent1"/>
                  </a:solidFill>
                  <a:ln w="2390" cap="flat">
                    <a:noFill/>
                    <a:prstDash val="solid"/>
                    <a:miter/>
                  </a:ln>
                </p:spPr>
                <p:txBody>
                  <a:bodyPr rtlCol="0" anchor="ctr"/>
                  <a:lstStyle/>
                  <a:p>
                    <a:endParaRPr lang="en-GB" dirty="0"/>
                  </a:p>
                </p:txBody>
              </p:sp>
              <p:sp>
                <p:nvSpPr>
                  <p:cNvPr id="140" name="Freihandform: Form 950">
                    <a:extLst>
                      <a:ext uri="{FF2B5EF4-FFF2-40B4-BE49-F238E27FC236}">
                        <a16:creationId xmlns:a16="http://schemas.microsoft.com/office/drawing/2014/main" id="{6AB7CD00-518F-435C-A496-404AA26031AF}"/>
                      </a:ext>
                    </a:extLst>
                  </p:cNvPr>
                  <p:cNvSpPr/>
                  <p:nvPr/>
                </p:nvSpPr>
                <p:spPr>
                  <a:xfrm>
                    <a:off x="7016251" y="2574300"/>
                    <a:ext cx="35567" cy="29196"/>
                  </a:xfrm>
                  <a:custGeom>
                    <a:avLst/>
                    <a:gdLst>
                      <a:gd name="connsiteX0" fmla="*/ 30680 w 35567"/>
                      <a:gd name="connsiteY0" fmla="*/ 29197 h 29196"/>
                      <a:gd name="connsiteX1" fmla="*/ 27761 w 35567"/>
                      <a:gd name="connsiteY1" fmla="*/ 28216 h 29196"/>
                      <a:gd name="connsiteX2" fmla="*/ 1944 w 35567"/>
                      <a:gd name="connsiteY2" fmla="*/ 8763 h 29196"/>
                      <a:gd name="connsiteX3" fmla="*/ 987 w 35567"/>
                      <a:gd name="connsiteY3" fmla="*/ 1944 h 29196"/>
                      <a:gd name="connsiteX4" fmla="*/ 7806 w 35567"/>
                      <a:gd name="connsiteY4" fmla="*/ 987 h 29196"/>
                      <a:gd name="connsiteX5" fmla="*/ 33623 w 35567"/>
                      <a:gd name="connsiteY5" fmla="*/ 20439 h 29196"/>
                      <a:gd name="connsiteX6" fmla="*/ 34580 w 35567"/>
                      <a:gd name="connsiteY6" fmla="*/ 27259 h 29196"/>
                      <a:gd name="connsiteX7" fmla="*/ 30680 w 35567"/>
                      <a:gd name="connsiteY7" fmla="*/ 29197 h 2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567" h="29196">
                        <a:moveTo>
                          <a:pt x="30680" y="29197"/>
                        </a:moveTo>
                        <a:cubicBezTo>
                          <a:pt x="29651" y="29197"/>
                          <a:pt x="28623" y="28886"/>
                          <a:pt x="27761" y="28216"/>
                        </a:cubicBezTo>
                        <a:lnTo>
                          <a:pt x="1944" y="8763"/>
                        </a:lnTo>
                        <a:cubicBezTo>
                          <a:pt x="-210" y="7136"/>
                          <a:pt x="-640" y="4097"/>
                          <a:pt x="987" y="1944"/>
                        </a:cubicBezTo>
                        <a:cubicBezTo>
                          <a:pt x="2614" y="-210"/>
                          <a:pt x="5652" y="-640"/>
                          <a:pt x="7806" y="987"/>
                        </a:cubicBezTo>
                        <a:lnTo>
                          <a:pt x="33623" y="20439"/>
                        </a:lnTo>
                        <a:cubicBezTo>
                          <a:pt x="35777" y="22066"/>
                          <a:pt x="36207" y="25105"/>
                          <a:pt x="34580" y="27259"/>
                        </a:cubicBezTo>
                        <a:cubicBezTo>
                          <a:pt x="33623" y="28527"/>
                          <a:pt x="32164" y="29197"/>
                          <a:pt x="30680" y="29197"/>
                        </a:cubicBezTo>
                        <a:close/>
                      </a:path>
                    </a:pathLst>
                  </a:custGeom>
                  <a:solidFill>
                    <a:schemeClr val="accent1"/>
                  </a:solidFill>
                  <a:ln w="2390" cap="flat">
                    <a:noFill/>
                    <a:prstDash val="solid"/>
                    <a:miter/>
                  </a:ln>
                </p:spPr>
                <p:txBody>
                  <a:bodyPr rtlCol="0" anchor="ctr"/>
                  <a:lstStyle/>
                  <a:p>
                    <a:endParaRPr lang="en-GB" dirty="0"/>
                  </a:p>
                </p:txBody>
              </p:sp>
            </p:grpSp>
          </p:grpSp>
        </p:grpSp>
        <p:grpSp>
          <p:nvGrpSpPr>
            <p:cNvPr id="128" name="Group 127">
              <a:extLst>
                <a:ext uri="{FF2B5EF4-FFF2-40B4-BE49-F238E27FC236}">
                  <a16:creationId xmlns:a16="http://schemas.microsoft.com/office/drawing/2014/main" id="{6EF2126C-D6F6-4B67-BD1A-F21487964B9F}"/>
                </a:ext>
              </a:extLst>
            </p:cNvPr>
            <p:cNvGrpSpPr/>
            <p:nvPr/>
          </p:nvGrpSpPr>
          <p:grpSpPr>
            <a:xfrm>
              <a:off x="1677226" y="2697528"/>
              <a:ext cx="324516" cy="133493"/>
              <a:chOff x="6973185" y="2872097"/>
              <a:chExt cx="402579" cy="165605"/>
            </a:xfrm>
          </p:grpSpPr>
          <p:sp>
            <p:nvSpPr>
              <p:cNvPr id="129" name="Freihandform: Form 951">
                <a:extLst>
                  <a:ext uri="{FF2B5EF4-FFF2-40B4-BE49-F238E27FC236}">
                    <a16:creationId xmlns:a16="http://schemas.microsoft.com/office/drawing/2014/main" id="{FECBE731-0CD1-4995-A306-5165801EB0B7}"/>
                  </a:ext>
                </a:extLst>
              </p:cNvPr>
              <p:cNvSpPr/>
              <p:nvPr/>
            </p:nvSpPr>
            <p:spPr>
              <a:xfrm>
                <a:off x="6973185" y="2872097"/>
                <a:ext cx="402579" cy="59249"/>
              </a:xfrm>
              <a:custGeom>
                <a:avLst/>
                <a:gdLst>
                  <a:gd name="connsiteX0" fmla="*/ 58050 w 402579"/>
                  <a:gd name="connsiteY0" fmla="*/ 59250 h 59249"/>
                  <a:gd name="connsiteX1" fmla="*/ 1439 w 402579"/>
                  <a:gd name="connsiteY1" fmla="*/ 32308 h 59249"/>
                  <a:gd name="connsiteX2" fmla="*/ 1415 w 402579"/>
                  <a:gd name="connsiteY2" fmla="*/ 25417 h 59249"/>
                  <a:gd name="connsiteX3" fmla="*/ 8306 w 402579"/>
                  <a:gd name="connsiteY3" fmla="*/ 25393 h 59249"/>
                  <a:gd name="connsiteX4" fmla="*/ 58744 w 402579"/>
                  <a:gd name="connsiteY4" fmla="*/ 49487 h 59249"/>
                  <a:gd name="connsiteX5" fmla="*/ 89084 w 402579"/>
                  <a:gd name="connsiteY5" fmla="*/ 28168 h 59249"/>
                  <a:gd name="connsiteX6" fmla="*/ 127702 w 402579"/>
                  <a:gd name="connsiteY6" fmla="*/ 2016 h 59249"/>
                  <a:gd name="connsiteX7" fmla="*/ 128563 w 402579"/>
                  <a:gd name="connsiteY7" fmla="*/ 2016 h 59249"/>
                  <a:gd name="connsiteX8" fmla="*/ 167086 w 402579"/>
                  <a:gd name="connsiteY8" fmla="*/ 27068 h 59249"/>
                  <a:gd name="connsiteX9" fmla="*/ 197306 w 402579"/>
                  <a:gd name="connsiteY9" fmla="*/ 47477 h 59249"/>
                  <a:gd name="connsiteX10" fmla="*/ 198024 w 402579"/>
                  <a:gd name="connsiteY10" fmla="*/ 47477 h 59249"/>
                  <a:gd name="connsiteX11" fmla="*/ 228363 w 402579"/>
                  <a:gd name="connsiteY11" fmla="*/ 26158 h 59249"/>
                  <a:gd name="connsiteX12" fmla="*/ 266982 w 402579"/>
                  <a:gd name="connsiteY12" fmla="*/ 6 h 59249"/>
                  <a:gd name="connsiteX13" fmla="*/ 306366 w 402579"/>
                  <a:gd name="connsiteY13" fmla="*/ 25034 h 59249"/>
                  <a:gd name="connsiteX14" fmla="*/ 337351 w 402579"/>
                  <a:gd name="connsiteY14" fmla="*/ 45468 h 59249"/>
                  <a:gd name="connsiteX15" fmla="*/ 394274 w 402579"/>
                  <a:gd name="connsiteY15" fmla="*/ 18597 h 59249"/>
                  <a:gd name="connsiteX16" fmla="*/ 401165 w 402579"/>
                  <a:gd name="connsiteY16" fmla="*/ 18621 h 59249"/>
                  <a:gd name="connsiteX17" fmla="*/ 401141 w 402579"/>
                  <a:gd name="connsiteY17" fmla="*/ 25512 h 59249"/>
                  <a:gd name="connsiteX18" fmla="*/ 337471 w 402579"/>
                  <a:gd name="connsiteY18" fmla="*/ 55206 h 59249"/>
                  <a:gd name="connsiteX19" fmla="*/ 298087 w 402579"/>
                  <a:gd name="connsiteY19" fmla="*/ 30178 h 59249"/>
                  <a:gd name="connsiteX20" fmla="*/ 267867 w 402579"/>
                  <a:gd name="connsiteY20" fmla="*/ 9768 h 59249"/>
                  <a:gd name="connsiteX21" fmla="*/ 267125 w 402579"/>
                  <a:gd name="connsiteY21" fmla="*/ 9768 h 59249"/>
                  <a:gd name="connsiteX22" fmla="*/ 236810 w 402579"/>
                  <a:gd name="connsiteY22" fmla="*/ 31063 h 59249"/>
                  <a:gd name="connsiteX23" fmla="*/ 198167 w 402579"/>
                  <a:gd name="connsiteY23" fmla="*/ 57216 h 59249"/>
                  <a:gd name="connsiteX24" fmla="*/ 197282 w 402579"/>
                  <a:gd name="connsiteY24" fmla="*/ 57216 h 59249"/>
                  <a:gd name="connsiteX25" fmla="*/ 158807 w 402579"/>
                  <a:gd name="connsiteY25" fmla="*/ 32188 h 59249"/>
                  <a:gd name="connsiteX26" fmla="*/ 127846 w 402579"/>
                  <a:gd name="connsiteY26" fmla="*/ 11754 h 59249"/>
                  <a:gd name="connsiteX27" fmla="*/ 97530 w 402579"/>
                  <a:gd name="connsiteY27" fmla="*/ 33049 h 59249"/>
                  <a:gd name="connsiteX28" fmla="*/ 58912 w 402579"/>
                  <a:gd name="connsiteY28" fmla="*/ 59226 h 59249"/>
                  <a:gd name="connsiteX29" fmla="*/ 58050 w 402579"/>
                  <a:gd name="connsiteY29" fmla="*/ 59250 h 5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02579" h="59249">
                    <a:moveTo>
                      <a:pt x="58050" y="59250"/>
                    </a:moveTo>
                    <a:cubicBezTo>
                      <a:pt x="33621" y="59250"/>
                      <a:pt x="13809" y="44630"/>
                      <a:pt x="1439" y="32308"/>
                    </a:cubicBezTo>
                    <a:cubicBezTo>
                      <a:pt x="-476" y="30417"/>
                      <a:pt x="-476" y="27331"/>
                      <a:pt x="1415" y="25417"/>
                    </a:cubicBezTo>
                    <a:cubicBezTo>
                      <a:pt x="3305" y="23502"/>
                      <a:pt x="6392" y="23502"/>
                      <a:pt x="8306" y="25393"/>
                    </a:cubicBezTo>
                    <a:cubicBezTo>
                      <a:pt x="19504" y="36543"/>
                      <a:pt x="37401" y="49894"/>
                      <a:pt x="58744" y="49487"/>
                    </a:cubicBezTo>
                    <a:cubicBezTo>
                      <a:pt x="76881" y="49224"/>
                      <a:pt x="82528" y="39462"/>
                      <a:pt x="89084" y="28168"/>
                    </a:cubicBezTo>
                    <a:cubicBezTo>
                      <a:pt x="96094" y="16061"/>
                      <a:pt x="104038" y="2351"/>
                      <a:pt x="127702" y="2016"/>
                    </a:cubicBezTo>
                    <a:cubicBezTo>
                      <a:pt x="127989" y="2016"/>
                      <a:pt x="128276" y="2016"/>
                      <a:pt x="128563" y="2016"/>
                    </a:cubicBezTo>
                    <a:cubicBezTo>
                      <a:pt x="151581" y="2016"/>
                      <a:pt x="159812" y="15319"/>
                      <a:pt x="167086" y="27068"/>
                    </a:cubicBezTo>
                    <a:cubicBezTo>
                      <a:pt x="173857" y="38002"/>
                      <a:pt x="179744" y="47477"/>
                      <a:pt x="197306" y="47477"/>
                    </a:cubicBezTo>
                    <a:cubicBezTo>
                      <a:pt x="197545" y="47477"/>
                      <a:pt x="197785" y="47477"/>
                      <a:pt x="198024" y="47477"/>
                    </a:cubicBezTo>
                    <a:cubicBezTo>
                      <a:pt x="216161" y="47214"/>
                      <a:pt x="221807" y="37452"/>
                      <a:pt x="228363" y="26158"/>
                    </a:cubicBezTo>
                    <a:cubicBezTo>
                      <a:pt x="235374" y="14051"/>
                      <a:pt x="243342" y="365"/>
                      <a:pt x="266982" y="6"/>
                    </a:cubicBezTo>
                    <a:cubicBezTo>
                      <a:pt x="290574" y="-329"/>
                      <a:pt x="298972" y="13142"/>
                      <a:pt x="306366" y="25034"/>
                    </a:cubicBezTo>
                    <a:cubicBezTo>
                      <a:pt x="313257" y="36136"/>
                      <a:pt x="318904" y="45683"/>
                      <a:pt x="337351" y="45468"/>
                    </a:cubicBezTo>
                    <a:cubicBezTo>
                      <a:pt x="363839" y="45085"/>
                      <a:pt x="384392" y="28479"/>
                      <a:pt x="394274" y="18597"/>
                    </a:cubicBezTo>
                    <a:cubicBezTo>
                      <a:pt x="396188" y="16683"/>
                      <a:pt x="399251" y="16707"/>
                      <a:pt x="401165" y="18621"/>
                    </a:cubicBezTo>
                    <a:cubicBezTo>
                      <a:pt x="403055" y="20535"/>
                      <a:pt x="403055" y="23598"/>
                      <a:pt x="401141" y="25512"/>
                    </a:cubicBezTo>
                    <a:cubicBezTo>
                      <a:pt x="390207" y="36423"/>
                      <a:pt x="367380" y="54775"/>
                      <a:pt x="337471" y="55206"/>
                    </a:cubicBezTo>
                    <a:cubicBezTo>
                      <a:pt x="313735" y="55326"/>
                      <a:pt x="305457" y="42070"/>
                      <a:pt x="298087" y="30178"/>
                    </a:cubicBezTo>
                    <a:cubicBezTo>
                      <a:pt x="291292" y="19243"/>
                      <a:pt x="285430" y="9768"/>
                      <a:pt x="267867" y="9768"/>
                    </a:cubicBezTo>
                    <a:cubicBezTo>
                      <a:pt x="267628" y="9768"/>
                      <a:pt x="267389" y="9768"/>
                      <a:pt x="267125" y="9768"/>
                    </a:cubicBezTo>
                    <a:cubicBezTo>
                      <a:pt x="249013" y="10031"/>
                      <a:pt x="243342" y="19770"/>
                      <a:pt x="236810" y="31063"/>
                    </a:cubicBezTo>
                    <a:cubicBezTo>
                      <a:pt x="229799" y="43171"/>
                      <a:pt x="221831" y="56881"/>
                      <a:pt x="198167" y="57216"/>
                    </a:cubicBezTo>
                    <a:cubicBezTo>
                      <a:pt x="197880" y="57216"/>
                      <a:pt x="197569" y="57216"/>
                      <a:pt x="197282" y="57216"/>
                    </a:cubicBezTo>
                    <a:cubicBezTo>
                      <a:pt x="174312" y="57216"/>
                      <a:pt x="166081" y="43936"/>
                      <a:pt x="158807" y="32188"/>
                    </a:cubicBezTo>
                    <a:cubicBezTo>
                      <a:pt x="151940" y="21086"/>
                      <a:pt x="146198" y="11491"/>
                      <a:pt x="127846" y="11754"/>
                    </a:cubicBezTo>
                    <a:cubicBezTo>
                      <a:pt x="109733" y="12017"/>
                      <a:pt x="104062" y="21756"/>
                      <a:pt x="97530" y="33049"/>
                    </a:cubicBezTo>
                    <a:cubicBezTo>
                      <a:pt x="90519" y="45157"/>
                      <a:pt x="82552" y="58867"/>
                      <a:pt x="58912" y="59226"/>
                    </a:cubicBezTo>
                    <a:cubicBezTo>
                      <a:pt x="58624" y="59250"/>
                      <a:pt x="58337" y="59250"/>
                      <a:pt x="58050" y="59250"/>
                    </a:cubicBezTo>
                    <a:close/>
                  </a:path>
                </a:pathLst>
              </a:custGeom>
              <a:solidFill>
                <a:schemeClr val="tx2"/>
              </a:solidFill>
              <a:ln w="2390" cap="flat">
                <a:noFill/>
                <a:prstDash val="solid"/>
                <a:miter/>
              </a:ln>
            </p:spPr>
            <p:txBody>
              <a:bodyPr rtlCol="0" anchor="ctr"/>
              <a:lstStyle/>
              <a:p>
                <a:endParaRPr lang="en-GB" dirty="0"/>
              </a:p>
            </p:txBody>
          </p:sp>
          <p:sp>
            <p:nvSpPr>
              <p:cNvPr id="130" name="Freihandform: Form 952">
                <a:extLst>
                  <a:ext uri="{FF2B5EF4-FFF2-40B4-BE49-F238E27FC236}">
                    <a16:creationId xmlns:a16="http://schemas.microsoft.com/office/drawing/2014/main" id="{31D11025-65F2-4992-A9DE-81D7B6A77624}"/>
                  </a:ext>
                </a:extLst>
              </p:cNvPr>
              <p:cNvSpPr/>
              <p:nvPr/>
            </p:nvSpPr>
            <p:spPr>
              <a:xfrm>
                <a:off x="7030301" y="2978502"/>
                <a:ext cx="288347" cy="59200"/>
              </a:xfrm>
              <a:custGeom>
                <a:avLst/>
                <a:gdLst>
                  <a:gd name="connsiteX0" fmla="*/ 4882 w 288347"/>
                  <a:gd name="connsiteY0" fmla="*/ 59200 h 59200"/>
                  <a:gd name="connsiteX1" fmla="*/ 1 w 288347"/>
                  <a:gd name="connsiteY1" fmla="*/ 54391 h 59200"/>
                  <a:gd name="connsiteX2" fmla="*/ 4810 w 288347"/>
                  <a:gd name="connsiteY2" fmla="*/ 49462 h 59200"/>
                  <a:gd name="connsiteX3" fmla="*/ 35150 w 288347"/>
                  <a:gd name="connsiteY3" fmla="*/ 28167 h 59200"/>
                  <a:gd name="connsiteX4" fmla="*/ 73768 w 288347"/>
                  <a:gd name="connsiteY4" fmla="*/ 2014 h 59200"/>
                  <a:gd name="connsiteX5" fmla="*/ 113152 w 288347"/>
                  <a:gd name="connsiteY5" fmla="*/ 27042 h 59200"/>
                  <a:gd name="connsiteX6" fmla="*/ 144090 w 288347"/>
                  <a:gd name="connsiteY6" fmla="*/ 47452 h 59200"/>
                  <a:gd name="connsiteX7" fmla="*/ 174430 w 288347"/>
                  <a:gd name="connsiteY7" fmla="*/ 26157 h 59200"/>
                  <a:gd name="connsiteX8" fmla="*/ 213048 w 288347"/>
                  <a:gd name="connsiteY8" fmla="*/ 5 h 59200"/>
                  <a:gd name="connsiteX9" fmla="*/ 252432 w 288347"/>
                  <a:gd name="connsiteY9" fmla="*/ 25032 h 59200"/>
                  <a:gd name="connsiteX10" fmla="*/ 283394 w 288347"/>
                  <a:gd name="connsiteY10" fmla="*/ 45466 h 59200"/>
                  <a:gd name="connsiteX11" fmla="*/ 283465 w 288347"/>
                  <a:gd name="connsiteY11" fmla="*/ 45466 h 59200"/>
                  <a:gd name="connsiteX12" fmla="*/ 288347 w 288347"/>
                  <a:gd name="connsiteY12" fmla="*/ 50275 h 59200"/>
                  <a:gd name="connsiteX13" fmla="*/ 283537 w 288347"/>
                  <a:gd name="connsiteY13" fmla="*/ 55204 h 59200"/>
                  <a:gd name="connsiteX14" fmla="*/ 282676 w 288347"/>
                  <a:gd name="connsiteY14" fmla="*/ 55204 h 59200"/>
                  <a:gd name="connsiteX15" fmla="*/ 244153 w 288347"/>
                  <a:gd name="connsiteY15" fmla="*/ 30177 h 59200"/>
                  <a:gd name="connsiteX16" fmla="*/ 213191 w 288347"/>
                  <a:gd name="connsiteY16" fmla="*/ 9767 h 59200"/>
                  <a:gd name="connsiteX17" fmla="*/ 182852 w 288347"/>
                  <a:gd name="connsiteY17" fmla="*/ 31062 h 59200"/>
                  <a:gd name="connsiteX18" fmla="*/ 144233 w 288347"/>
                  <a:gd name="connsiteY18" fmla="*/ 57214 h 59200"/>
                  <a:gd name="connsiteX19" fmla="*/ 143348 w 288347"/>
                  <a:gd name="connsiteY19" fmla="*/ 57214 h 59200"/>
                  <a:gd name="connsiteX20" fmla="*/ 104873 w 288347"/>
                  <a:gd name="connsiteY20" fmla="*/ 32187 h 59200"/>
                  <a:gd name="connsiteX21" fmla="*/ 73912 w 288347"/>
                  <a:gd name="connsiteY21" fmla="*/ 11753 h 59200"/>
                  <a:gd name="connsiteX22" fmla="*/ 43596 w 288347"/>
                  <a:gd name="connsiteY22" fmla="*/ 33048 h 59200"/>
                  <a:gd name="connsiteX23" fmla="*/ 4978 w 288347"/>
                  <a:gd name="connsiteY23" fmla="*/ 59200 h 59200"/>
                  <a:gd name="connsiteX24" fmla="*/ 4882 w 288347"/>
                  <a:gd name="connsiteY24" fmla="*/ 59200 h 5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8347" h="59200">
                    <a:moveTo>
                      <a:pt x="4882" y="59200"/>
                    </a:moveTo>
                    <a:cubicBezTo>
                      <a:pt x="2226" y="59200"/>
                      <a:pt x="49" y="57071"/>
                      <a:pt x="1" y="54391"/>
                    </a:cubicBezTo>
                    <a:cubicBezTo>
                      <a:pt x="-47" y="51711"/>
                      <a:pt x="2106" y="49486"/>
                      <a:pt x="4810" y="49462"/>
                    </a:cubicBezTo>
                    <a:cubicBezTo>
                      <a:pt x="22947" y="49199"/>
                      <a:pt x="28594" y="39460"/>
                      <a:pt x="35150" y="28167"/>
                    </a:cubicBezTo>
                    <a:cubicBezTo>
                      <a:pt x="42160" y="16060"/>
                      <a:pt x="50104" y="2349"/>
                      <a:pt x="73768" y="2014"/>
                    </a:cubicBezTo>
                    <a:cubicBezTo>
                      <a:pt x="97408" y="1608"/>
                      <a:pt x="105783" y="15150"/>
                      <a:pt x="113152" y="27042"/>
                    </a:cubicBezTo>
                    <a:cubicBezTo>
                      <a:pt x="120019" y="38144"/>
                      <a:pt x="125857" y="47572"/>
                      <a:pt x="144090" y="47452"/>
                    </a:cubicBezTo>
                    <a:cubicBezTo>
                      <a:pt x="162227" y="47189"/>
                      <a:pt x="167873" y="37427"/>
                      <a:pt x="174430" y="26157"/>
                    </a:cubicBezTo>
                    <a:cubicBezTo>
                      <a:pt x="181440" y="14074"/>
                      <a:pt x="189408" y="363"/>
                      <a:pt x="213048" y="5"/>
                    </a:cubicBezTo>
                    <a:cubicBezTo>
                      <a:pt x="236760" y="-283"/>
                      <a:pt x="245038" y="13140"/>
                      <a:pt x="252432" y="25032"/>
                    </a:cubicBezTo>
                    <a:cubicBezTo>
                      <a:pt x="259323" y="36134"/>
                      <a:pt x="265089" y="45705"/>
                      <a:pt x="283394" y="45466"/>
                    </a:cubicBezTo>
                    <a:cubicBezTo>
                      <a:pt x="283418" y="45466"/>
                      <a:pt x="283442" y="45466"/>
                      <a:pt x="283465" y="45466"/>
                    </a:cubicBezTo>
                    <a:cubicBezTo>
                      <a:pt x="286121" y="45466"/>
                      <a:pt x="288299" y="47596"/>
                      <a:pt x="288347" y="50275"/>
                    </a:cubicBezTo>
                    <a:cubicBezTo>
                      <a:pt x="288394" y="52955"/>
                      <a:pt x="286241" y="55180"/>
                      <a:pt x="283537" y="55204"/>
                    </a:cubicBezTo>
                    <a:cubicBezTo>
                      <a:pt x="283250" y="55204"/>
                      <a:pt x="282963" y="55204"/>
                      <a:pt x="282676" y="55204"/>
                    </a:cubicBezTo>
                    <a:cubicBezTo>
                      <a:pt x="259682" y="55204"/>
                      <a:pt x="251451" y="41901"/>
                      <a:pt x="244153" y="30177"/>
                    </a:cubicBezTo>
                    <a:cubicBezTo>
                      <a:pt x="237262" y="19074"/>
                      <a:pt x="231400" y="9504"/>
                      <a:pt x="213191" y="9767"/>
                    </a:cubicBezTo>
                    <a:cubicBezTo>
                      <a:pt x="195055" y="10030"/>
                      <a:pt x="189408" y="19768"/>
                      <a:pt x="182852" y="31062"/>
                    </a:cubicBezTo>
                    <a:cubicBezTo>
                      <a:pt x="175841" y="43169"/>
                      <a:pt x="167873" y="56879"/>
                      <a:pt x="144233" y="57214"/>
                    </a:cubicBezTo>
                    <a:cubicBezTo>
                      <a:pt x="143946" y="57214"/>
                      <a:pt x="143635" y="57214"/>
                      <a:pt x="143348" y="57214"/>
                    </a:cubicBezTo>
                    <a:cubicBezTo>
                      <a:pt x="120378" y="57214"/>
                      <a:pt x="112147" y="43935"/>
                      <a:pt x="104873" y="32187"/>
                    </a:cubicBezTo>
                    <a:cubicBezTo>
                      <a:pt x="98006" y="21084"/>
                      <a:pt x="92216" y="11657"/>
                      <a:pt x="73912" y="11753"/>
                    </a:cubicBezTo>
                    <a:cubicBezTo>
                      <a:pt x="55799" y="12016"/>
                      <a:pt x="50128" y="21754"/>
                      <a:pt x="43596" y="33048"/>
                    </a:cubicBezTo>
                    <a:cubicBezTo>
                      <a:pt x="36585" y="45155"/>
                      <a:pt x="28618" y="58865"/>
                      <a:pt x="4978" y="59200"/>
                    </a:cubicBezTo>
                    <a:cubicBezTo>
                      <a:pt x="4930" y="59200"/>
                      <a:pt x="4906" y="59200"/>
                      <a:pt x="4882" y="59200"/>
                    </a:cubicBezTo>
                    <a:close/>
                  </a:path>
                </a:pathLst>
              </a:custGeom>
              <a:solidFill>
                <a:schemeClr val="tx2"/>
              </a:solidFill>
              <a:ln w="2390" cap="flat">
                <a:noFill/>
                <a:prstDash val="solid"/>
                <a:miter/>
              </a:ln>
            </p:spPr>
            <p:txBody>
              <a:bodyPr rtlCol="0" anchor="ctr"/>
              <a:lstStyle/>
              <a:p>
                <a:endParaRPr lang="en-GB" dirty="0"/>
              </a:p>
            </p:txBody>
          </p:sp>
        </p:grpSp>
      </p:grpSp>
      <p:grpSp>
        <p:nvGrpSpPr>
          <p:cNvPr id="456" name="Group 455">
            <a:extLst>
              <a:ext uri="{FF2B5EF4-FFF2-40B4-BE49-F238E27FC236}">
                <a16:creationId xmlns:a16="http://schemas.microsoft.com/office/drawing/2014/main" id="{658AFFAB-3A59-C585-DCDC-AEA680A4A76F}"/>
              </a:ext>
            </a:extLst>
          </p:cNvPr>
          <p:cNvGrpSpPr/>
          <p:nvPr/>
        </p:nvGrpSpPr>
        <p:grpSpPr>
          <a:xfrm>
            <a:off x="2569736" y="2399021"/>
            <a:ext cx="630364" cy="432000"/>
            <a:chOff x="2569736" y="2399021"/>
            <a:chExt cx="630364" cy="432000"/>
          </a:xfrm>
        </p:grpSpPr>
        <p:grpSp>
          <p:nvGrpSpPr>
            <p:cNvPr id="156" name="Grafik 14">
              <a:extLst>
                <a:ext uri="{FF2B5EF4-FFF2-40B4-BE49-F238E27FC236}">
                  <a16:creationId xmlns:a16="http://schemas.microsoft.com/office/drawing/2014/main" id="{A3FE59D1-4B34-4A2B-96DD-DE41A6385FBF}"/>
                </a:ext>
              </a:extLst>
            </p:cNvPr>
            <p:cNvGrpSpPr/>
            <p:nvPr/>
          </p:nvGrpSpPr>
          <p:grpSpPr>
            <a:xfrm>
              <a:off x="2569736" y="2399021"/>
              <a:ext cx="630364" cy="432000"/>
              <a:chOff x="5231725" y="3343395"/>
              <a:chExt cx="626005" cy="429013"/>
            </a:xfrm>
            <a:solidFill>
              <a:schemeClr val="tx2"/>
            </a:solidFill>
          </p:grpSpPr>
          <p:sp>
            <p:nvSpPr>
              <p:cNvPr id="170" name="Freihandform: Form 977">
                <a:extLst>
                  <a:ext uri="{FF2B5EF4-FFF2-40B4-BE49-F238E27FC236}">
                    <a16:creationId xmlns:a16="http://schemas.microsoft.com/office/drawing/2014/main" id="{D087284E-D27E-46F3-A5A6-012A25DE8780}"/>
                  </a:ext>
                </a:extLst>
              </p:cNvPr>
              <p:cNvSpPr/>
              <p:nvPr/>
            </p:nvSpPr>
            <p:spPr>
              <a:xfrm>
                <a:off x="5315828" y="3343395"/>
                <a:ext cx="455763" cy="295332"/>
              </a:xfrm>
              <a:custGeom>
                <a:avLst/>
                <a:gdLst>
                  <a:gd name="connsiteX0" fmla="*/ 450931 w 455763"/>
                  <a:gd name="connsiteY0" fmla="*/ 295332 h 295332"/>
                  <a:gd name="connsiteX1" fmla="*/ 4881 w 455763"/>
                  <a:gd name="connsiteY1" fmla="*/ 295332 h 295332"/>
                  <a:gd name="connsiteX2" fmla="*/ 0 w 455763"/>
                  <a:gd name="connsiteY2" fmla="*/ 290451 h 295332"/>
                  <a:gd name="connsiteX3" fmla="*/ 0 w 455763"/>
                  <a:gd name="connsiteY3" fmla="*/ 10719 h 295332"/>
                  <a:gd name="connsiteX4" fmla="*/ 10719 w 455763"/>
                  <a:gd name="connsiteY4" fmla="*/ 0 h 295332"/>
                  <a:gd name="connsiteX5" fmla="*/ 445021 w 455763"/>
                  <a:gd name="connsiteY5" fmla="*/ 0 h 295332"/>
                  <a:gd name="connsiteX6" fmla="*/ 455764 w 455763"/>
                  <a:gd name="connsiteY6" fmla="*/ 10719 h 295332"/>
                  <a:gd name="connsiteX7" fmla="*/ 455764 w 455763"/>
                  <a:gd name="connsiteY7" fmla="*/ 290475 h 295332"/>
                  <a:gd name="connsiteX8" fmla="*/ 450931 w 455763"/>
                  <a:gd name="connsiteY8" fmla="*/ 295332 h 295332"/>
                  <a:gd name="connsiteX9" fmla="*/ 9762 w 455763"/>
                  <a:gd name="connsiteY9" fmla="*/ 285594 h 295332"/>
                  <a:gd name="connsiteX10" fmla="*/ 446049 w 455763"/>
                  <a:gd name="connsiteY10" fmla="*/ 285594 h 295332"/>
                  <a:gd name="connsiteX11" fmla="*/ 446049 w 455763"/>
                  <a:gd name="connsiteY11" fmla="*/ 10719 h 295332"/>
                  <a:gd name="connsiteX12" fmla="*/ 445954 w 455763"/>
                  <a:gd name="connsiteY12" fmla="*/ 10025 h 295332"/>
                  <a:gd name="connsiteX13" fmla="*/ 444949 w 455763"/>
                  <a:gd name="connsiteY13" fmla="*/ 9714 h 295332"/>
                  <a:gd name="connsiteX14" fmla="*/ 10743 w 455763"/>
                  <a:gd name="connsiteY14" fmla="*/ 9714 h 295332"/>
                  <a:gd name="connsiteX15" fmla="*/ 9834 w 455763"/>
                  <a:gd name="connsiteY15" fmla="*/ 10025 h 295332"/>
                  <a:gd name="connsiteX16" fmla="*/ 9738 w 455763"/>
                  <a:gd name="connsiteY16" fmla="*/ 10695 h 295332"/>
                  <a:gd name="connsiteX17" fmla="*/ 9738 w 455763"/>
                  <a:gd name="connsiteY17" fmla="*/ 285594 h 295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5763" h="295332">
                    <a:moveTo>
                      <a:pt x="450931" y="295332"/>
                    </a:moveTo>
                    <a:lnTo>
                      <a:pt x="4881" y="295332"/>
                    </a:lnTo>
                    <a:cubicBezTo>
                      <a:pt x="2201" y="295332"/>
                      <a:pt x="0" y="293155"/>
                      <a:pt x="0" y="290451"/>
                    </a:cubicBezTo>
                    <a:lnTo>
                      <a:pt x="0" y="10719"/>
                    </a:lnTo>
                    <a:cubicBezTo>
                      <a:pt x="0" y="2895"/>
                      <a:pt x="6580" y="0"/>
                      <a:pt x="10719" y="0"/>
                    </a:cubicBezTo>
                    <a:lnTo>
                      <a:pt x="445021" y="0"/>
                    </a:lnTo>
                    <a:cubicBezTo>
                      <a:pt x="449184" y="0"/>
                      <a:pt x="455764" y="2919"/>
                      <a:pt x="455764" y="10719"/>
                    </a:cubicBezTo>
                    <a:lnTo>
                      <a:pt x="455764" y="290475"/>
                    </a:lnTo>
                    <a:cubicBezTo>
                      <a:pt x="455788" y="293155"/>
                      <a:pt x="453610" y="295332"/>
                      <a:pt x="450931" y="295332"/>
                    </a:cubicBezTo>
                    <a:close/>
                    <a:moveTo>
                      <a:pt x="9762" y="285594"/>
                    </a:moveTo>
                    <a:lnTo>
                      <a:pt x="446049" y="285594"/>
                    </a:lnTo>
                    <a:lnTo>
                      <a:pt x="446049" y="10719"/>
                    </a:lnTo>
                    <a:cubicBezTo>
                      <a:pt x="446049" y="10289"/>
                      <a:pt x="445978" y="10073"/>
                      <a:pt x="445954" y="10025"/>
                    </a:cubicBezTo>
                    <a:cubicBezTo>
                      <a:pt x="445834" y="9906"/>
                      <a:pt x="445332" y="9738"/>
                      <a:pt x="444949" y="9714"/>
                    </a:cubicBezTo>
                    <a:lnTo>
                      <a:pt x="10743" y="9714"/>
                    </a:lnTo>
                    <a:cubicBezTo>
                      <a:pt x="10456" y="9738"/>
                      <a:pt x="9954" y="9906"/>
                      <a:pt x="9834" y="10025"/>
                    </a:cubicBezTo>
                    <a:cubicBezTo>
                      <a:pt x="9810" y="10049"/>
                      <a:pt x="9738" y="10265"/>
                      <a:pt x="9738" y="10695"/>
                    </a:cubicBezTo>
                    <a:lnTo>
                      <a:pt x="9738" y="285594"/>
                    </a:lnTo>
                    <a:close/>
                  </a:path>
                </a:pathLst>
              </a:custGeom>
              <a:grpFill/>
              <a:ln w="2390" cap="flat">
                <a:noFill/>
                <a:prstDash val="solid"/>
                <a:miter/>
              </a:ln>
            </p:spPr>
            <p:txBody>
              <a:bodyPr rtlCol="0" anchor="ctr"/>
              <a:lstStyle/>
              <a:p>
                <a:endParaRPr lang="en-GB" dirty="0"/>
              </a:p>
            </p:txBody>
          </p:sp>
          <p:sp>
            <p:nvSpPr>
              <p:cNvPr id="171" name="Freihandform: Form 978">
                <a:extLst>
                  <a:ext uri="{FF2B5EF4-FFF2-40B4-BE49-F238E27FC236}">
                    <a16:creationId xmlns:a16="http://schemas.microsoft.com/office/drawing/2014/main" id="{8355EA72-B554-40DE-A303-899B2D8FDF57}"/>
                  </a:ext>
                </a:extLst>
              </p:cNvPr>
              <p:cNvSpPr/>
              <p:nvPr/>
            </p:nvSpPr>
            <p:spPr>
              <a:xfrm>
                <a:off x="5231725" y="3734604"/>
                <a:ext cx="626005" cy="37804"/>
              </a:xfrm>
              <a:custGeom>
                <a:avLst/>
                <a:gdLst>
                  <a:gd name="connsiteX0" fmla="*/ 621076 w 626005"/>
                  <a:gd name="connsiteY0" fmla="*/ 37805 h 37804"/>
                  <a:gd name="connsiteX1" fmla="*/ 4881 w 626005"/>
                  <a:gd name="connsiteY1" fmla="*/ 37805 h 37804"/>
                  <a:gd name="connsiteX2" fmla="*/ 0 w 626005"/>
                  <a:gd name="connsiteY2" fmla="*/ 32924 h 37804"/>
                  <a:gd name="connsiteX3" fmla="*/ 0 w 626005"/>
                  <a:gd name="connsiteY3" fmla="*/ 4881 h 37804"/>
                  <a:gd name="connsiteX4" fmla="*/ 4881 w 626005"/>
                  <a:gd name="connsiteY4" fmla="*/ 0 h 37804"/>
                  <a:gd name="connsiteX5" fmla="*/ 9762 w 626005"/>
                  <a:gd name="connsiteY5" fmla="*/ 4881 h 37804"/>
                  <a:gd name="connsiteX6" fmla="*/ 9762 w 626005"/>
                  <a:gd name="connsiteY6" fmla="*/ 28066 h 37804"/>
                  <a:gd name="connsiteX7" fmla="*/ 616243 w 626005"/>
                  <a:gd name="connsiteY7" fmla="*/ 28066 h 37804"/>
                  <a:gd name="connsiteX8" fmla="*/ 616243 w 626005"/>
                  <a:gd name="connsiteY8" fmla="*/ 4881 h 37804"/>
                  <a:gd name="connsiteX9" fmla="*/ 621124 w 626005"/>
                  <a:gd name="connsiteY9" fmla="*/ 0 h 37804"/>
                  <a:gd name="connsiteX10" fmla="*/ 626005 w 626005"/>
                  <a:gd name="connsiteY10" fmla="*/ 4881 h 37804"/>
                  <a:gd name="connsiteX11" fmla="*/ 626005 w 626005"/>
                  <a:gd name="connsiteY11" fmla="*/ 32924 h 37804"/>
                  <a:gd name="connsiteX12" fmla="*/ 621076 w 626005"/>
                  <a:gd name="connsiteY12" fmla="*/ 37805 h 3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6005" h="37804">
                    <a:moveTo>
                      <a:pt x="621076" y="37805"/>
                    </a:moveTo>
                    <a:lnTo>
                      <a:pt x="4881" y="37805"/>
                    </a:lnTo>
                    <a:cubicBezTo>
                      <a:pt x="2201" y="37805"/>
                      <a:pt x="0" y="35628"/>
                      <a:pt x="0" y="32924"/>
                    </a:cubicBezTo>
                    <a:lnTo>
                      <a:pt x="0" y="4881"/>
                    </a:lnTo>
                    <a:cubicBezTo>
                      <a:pt x="0" y="2201"/>
                      <a:pt x="2177" y="0"/>
                      <a:pt x="4881" y="0"/>
                    </a:cubicBezTo>
                    <a:cubicBezTo>
                      <a:pt x="7585" y="0"/>
                      <a:pt x="9762" y="2177"/>
                      <a:pt x="9762" y="4881"/>
                    </a:cubicBezTo>
                    <a:lnTo>
                      <a:pt x="9762" y="28066"/>
                    </a:lnTo>
                    <a:lnTo>
                      <a:pt x="616243" y="28066"/>
                    </a:lnTo>
                    <a:lnTo>
                      <a:pt x="616243" y="4881"/>
                    </a:lnTo>
                    <a:cubicBezTo>
                      <a:pt x="616243" y="2201"/>
                      <a:pt x="618420" y="0"/>
                      <a:pt x="621124" y="0"/>
                    </a:cubicBezTo>
                    <a:cubicBezTo>
                      <a:pt x="623804" y="0"/>
                      <a:pt x="626005" y="2177"/>
                      <a:pt x="626005" y="4881"/>
                    </a:cubicBezTo>
                    <a:lnTo>
                      <a:pt x="626005" y="32924"/>
                    </a:lnTo>
                    <a:cubicBezTo>
                      <a:pt x="625957" y="35604"/>
                      <a:pt x="623780" y="37805"/>
                      <a:pt x="621076" y="37805"/>
                    </a:cubicBezTo>
                    <a:close/>
                  </a:path>
                </a:pathLst>
              </a:custGeom>
              <a:grpFill/>
              <a:ln w="2390" cap="flat">
                <a:noFill/>
                <a:prstDash val="solid"/>
                <a:miter/>
              </a:ln>
            </p:spPr>
            <p:txBody>
              <a:bodyPr rtlCol="0" anchor="ctr"/>
              <a:lstStyle/>
              <a:p>
                <a:endParaRPr lang="en-GB" dirty="0"/>
              </a:p>
            </p:txBody>
          </p:sp>
          <p:sp>
            <p:nvSpPr>
              <p:cNvPr id="172" name="Freihandform: Form 979">
                <a:extLst>
                  <a:ext uri="{FF2B5EF4-FFF2-40B4-BE49-F238E27FC236}">
                    <a16:creationId xmlns:a16="http://schemas.microsoft.com/office/drawing/2014/main" id="{537B0822-09AC-45D5-8AE6-4398152C76B2}"/>
                  </a:ext>
                </a:extLst>
              </p:cNvPr>
              <p:cNvSpPr/>
              <p:nvPr/>
            </p:nvSpPr>
            <p:spPr>
              <a:xfrm>
                <a:off x="5231726" y="3629013"/>
                <a:ext cx="625975" cy="113414"/>
              </a:xfrm>
              <a:custGeom>
                <a:avLst/>
                <a:gdLst>
                  <a:gd name="connsiteX0" fmla="*/ 621075 w 625975"/>
                  <a:gd name="connsiteY0" fmla="*/ 113415 h 113414"/>
                  <a:gd name="connsiteX1" fmla="*/ 4880 w 625975"/>
                  <a:gd name="connsiteY1" fmla="*/ 113415 h 113414"/>
                  <a:gd name="connsiteX2" fmla="*/ 477 w 625975"/>
                  <a:gd name="connsiteY2" fmla="*/ 110639 h 113414"/>
                  <a:gd name="connsiteX3" fmla="*/ 1099 w 625975"/>
                  <a:gd name="connsiteY3" fmla="*/ 105471 h 113414"/>
                  <a:gd name="connsiteX4" fmla="*/ 85227 w 625975"/>
                  <a:gd name="connsiteY4" fmla="*/ 1795 h 113414"/>
                  <a:gd name="connsiteX5" fmla="*/ 89007 w 625975"/>
                  <a:gd name="connsiteY5" fmla="*/ 0 h 113414"/>
                  <a:gd name="connsiteX6" fmla="*/ 535033 w 625975"/>
                  <a:gd name="connsiteY6" fmla="*/ 0 h 113414"/>
                  <a:gd name="connsiteX7" fmla="*/ 538789 w 625975"/>
                  <a:gd name="connsiteY7" fmla="*/ 1747 h 113414"/>
                  <a:gd name="connsiteX8" fmla="*/ 624855 w 625975"/>
                  <a:gd name="connsiteY8" fmla="*/ 105423 h 113414"/>
                  <a:gd name="connsiteX9" fmla="*/ 625525 w 625975"/>
                  <a:gd name="connsiteY9" fmla="*/ 110615 h 113414"/>
                  <a:gd name="connsiteX10" fmla="*/ 621075 w 625975"/>
                  <a:gd name="connsiteY10" fmla="*/ 113415 h 113414"/>
                  <a:gd name="connsiteX11" fmla="*/ 15097 w 625975"/>
                  <a:gd name="connsiteY11" fmla="*/ 103652 h 113414"/>
                  <a:gd name="connsiteX12" fmla="*/ 610714 w 625975"/>
                  <a:gd name="connsiteY12" fmla="*/ 103652 h 113414"/>
                  <a:gd name="connsiteX13" fmla="*/ 532736 w 625975"/>
                  <a:gd name="connsiteY13" fmla="*/ 9714 h 113414"/>
                  <a:gd name="connsiteX14" fmla="*/ 91304 w 625975"/>
                  <a:gd name="connsiteY14" fmla="*/ 9714 h 113414"/>
                  <a:gd name="connsiteX15" fmla="*/ 15097 w 625975"/>
                  <a:gd name="connsiteY15" fmla="*/ 103652 h 11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975" h="113414">
                    <a:moveTo>
                      <a:pt x="621075" y="113415"/>
                    </a:moveTo>
                    <a:lnTo>
                      <a:pt x="4880" y="113415"/>
                    </a:lnTo>
                    <a:cubicBezTo>
                      <a:pt x="3013" y="113415"/>
                      <a:pt x="1291" y="112338"/>
                      <a:pt x="477" y="110639"/>
                    </a:cubicBezTo>
                    <a:cubicBezTo>
                      <a:pt x="-336" y="108940"/>
                      <a:pt x="-97" y="106930"/>
                      <a:pt x="1099" y="105471"/>
                    </a:cubicBezTo>
                    <a:lnTo>
                      <a:pt x="85227" y="1795"/>
                    </a:lnTo>
                    <a:cubicBezTo>
                      <a:pt x="86160" y="646"/>
                      <a:pt x="87548" y="0"/>
                      <a:pt x="89007" y="0"/>
                    </a:cubicBezTo>
                    <a:lnTo>
                      <a:pt x="535033" y="0"/>
                    </a:lnTo>
                    <a:cubicBezTo>
                      <a:pt x="536493" y="0"/>
                      <a:pt x="537856" y="646"/>
                      <a:pt x="538789" y="1747"/>
                    </a:cubicBezTo>
                    <a:lnTo>
                      <a:pt x="624855" y="105423"/>
                    </a:lnTo>
                    <a:cubicBezTo>
                      <a:pt x="626052" y="106882"/>
                      <a:pt x="626315" y="108892"/>
                      <a:pt x="625525" y="110615"/>
                    </a:cubicBezTo>
                    <a:cubicBezTo>
                      <a:pt x="624688" y="112314"/>
                      <a:pt x="622965" y="113415"/>
                      <a:pt x="621075" y="113415"/>
                    </a:cubicBezTo>
                    <a:close/>
                    <a:moveTo>
                      <a:pt x="15097" y="103652"/>
                    </a:moveTo>
                    <a:lnTo>
                      <a:pt x="610714" y="103652"/>
                    </a:lnTo>
                    <a:lnTo>
                      <a:pt x="532736" y="9714"/>
                    </a:lnTo>
                    <a:lnTo>
                      <a:pt x="91304" y="9714"/>
                    </a:lnTo>
                    <a:lnTo>
                      <a:pt x="15097" y="103652"/>
                    </a:lnTo>
                    <a:close/>
                  </a:path>
                </a:pathLst>
              </a:custGeom>
              <a:grpFill/>
              <a:ln w="2390" cap="flat">
                <a:noFill/>
                <a:prstDash val="solid"/>
                <a:miter/>
              </a:ln>
            </p:spPr>
            <p:txBody>
              <a:bodyPr rtlCol="0" anchor="ctr"/>
              <a:lstStyle/>
              <a:p>
                <a:endParaRPr lang="en-GB" dirty="0"/>
              </a:p>
            </p:txBody>
          </p:sp>
          <p:sp>
            <p:nvSpPr>
              <p:cNvPr id="173" name="Freihandform: Form 980">
                <a:extLst>
                  <a:ext uri="{FF2B5EF4-FFF2-40B4-BE49-F238E27FC236}">
                    <a16:creationId xmlns:a16="http://schemas.microsoft.com/office/drawing/2014/main" id="{5013ED94-9708-4ADF-88EE-C7B96C763D09}"/>
                  </a:ext>
                </a:extLst>
              </p:cNvPr>
              <p:cNvSpPr/>
              <p:nvPr/>
            </p:nvSpPr>
            <p:spPr>
              <a:xfrm>
                <a:off x="5341263" y="3368782"/>
                <a:ext cx="402980" cy="238649"/>
              </a:xfrm>
              <a:custGeom>
                <a:avLst/>
                <a:gdLst>
                  <a:gd name="connsiteX0" fmla="*/ 398099 w 402980"/>
                  <a:gd name="connsiteY0" fmla="*/ 238649 h 238649"/>
                  <a:gd name="connsiteX1" fmla="*/ 4881 w 402980"/>
                  <a:gd name="connsiteY1" fmla="*/ 238649 h 238649"/>
                  <a:gd name="connsiteX2" fmla="*/ 0 w 402980"/>
                  <a:gd name="connsiteY2" fmla="*/ 233768 h 238649"/>
                  <a:gd name="connsiteX3" fmla="*/ 0 w 402980"/>
                  <a:gd name="connsiteY3" fmla="*/ 4881 h 238649"/>
                  <a:gd name="connsiteX4" fmla="*/ 4881 w 402980"/>
                  <a:gd name="connsiteY4" fmla="*/ 0 h 238649"/>
                  <a:gd name="connsiteX5" fmla="*/ 398099 w 402980"/>
                  <a:gd name="connsiteY5" fmla="*/ 0 h 238649"/>
                  <a:gd name="connsiteX6" fmla="*/ 402981 w 402980"/>
                  <a:gd name="connsiteY6" fmla="*/ 4881 h 238649"/>
                  <a:gd name="connsiteX7" fmla="*/ 402981 w 402980"/>
                  <a:gd name="connsiteY7" fmla="*/ 233768 h 238649"/>
                  <a:gd name="connsiteX8" fmla="*/ 398099 w 402980"/>
                  <a:gd name="connsiteY8" fmla="*/ 238649 h 238649"/>
                  <a:gd name="connsiteX9" fmla="*/ 9738 w 402980"/>
                  <a:gd name="connsiteY9" fmla="*/ 228911 h 238649"/>
                  <a:gd name="connsiteX10" fmla="*/ 393218 w 402980"/>
                  <a:gd name="connsiteY10" fmla="*/ 228911 h 238649"/>
                  <a:gd name="connsiteX11" fmla="*/ 393218 w 402980"/>
                  <a:gd name="connsiteY11" fmla="*/ 9762 h 238649"/>
                  <a:gd name="connsiteX12" fmla="*/ 9738 w 402980"/>
                  <a:gd name="connsiteY12" fmla="*/ 9762 h 238649"/>
                  <a:gd name="connsiteX13" fmla="*/ 9738 w 402980"/>
                  <a:gd name="connsiteY13" fmla="*/ 228911 h 238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2980" h="238649">
                    <a:moveTo>
                      <a:pt x="398099" y="238649"/>
                    </a:moveTo>
                    <a:lnTo>
                      <a:pt x="4881" y="238649"/>
                    </a:lnTo>
                    <a:cubicBezTo>
                      <a:pt x="2201" y="238649"/>
                      <a:pt x="0" y="236472"/>
                      <a:pt x="0" y="233768"/>
                    </a:cubicBezTo>
                    <a:lnTo>
                      <a:pt x="0" y="4881"/>
                    </a:lnTo>
                    <a:cubicBezTo>
                      <a:pt x="0" y="2201"/>
                      <a:pt x="2177" y="0"/>
                      <a:pt x="4881" y="0"/>
                    </a:cubicBezTo>
                    <a:lnTo>
                      <a:pt x="398099" y="0"/>
                    </a:lnTo>
                    <a:cubicBezTo>
                      <a:pt x="400779" y="0"/>
                      <a:pt x="402981" y="2177"/>
                      <a:pt x="402981" y="4881"/>
                    </a:cubicBezTo>
                    <a:lnTo>
                      <a:pt x="402981" y="233768"/>
                    </a:lnTo>
                    <a:cubicBezTo>
                      <a:pt x="402957" y="236472"/>
                      <a:pt x="400779" y="238649"/>
                      <a:pt x="398099" y="238649"/>
                    </a:cubicBezTo>
                    <a:close/>
                    <a:moveTo>
                      <a:pt x="9738" y="228911"/>
                    </a:moveTo>
                    <a:lnTo>
                      <a:pt x="393218" y="228911"/>
                    </a:lnTo>
                    <a:lnTo>
                      <a:pt x="393218" y="9762"/>
                    </a:lnTo>
                    <a:lnTo>
                      <a:pt x="9738" y="9762"/>
                    </a:lnTo>
                    <a:lnTo>
                      <a:pt x="9738" y="228911"/>
                    </a:lnTo>
                    <a:close/>
                  </a:path>
                </a:pathLst>
              </a:custGeom>
              <a:grpFill/>
              <a:ln w="2390" cap="flat">
                <a:noFill/>
                <a:prstDash val="solid"/>
                <a:miter/>
              </a:ln>
            </p:spPr>
            <p:txBody>
              <a:bodyPr rtlCol="0" anchor="ctr"/>
              <a:lstStyle/>
              <a:p>
                <a:endParaRPr lang="en-GB" dirty="0"/>
              </a:p>
            </p:txBody>
          </p:sp>
        </p:grpSp>
        <p:grpSp>
          <p:nvGrpSpPr>
            <p:cNvPr id="157" name="Grafik 14">
              <a:extLst>
                <a:ext uri="{FF2B5EF4-FFF2-40B4-BE49-F238E27FC236}">
                  <a16:creationId xmlns:a16="http://schemas.microsoft.com/office/drawing/2014/main" id="{268E61C4-76A1-4756-9EDA-77F663CA2735}"/>
                </a:ext>
              </a:extLst>
            </p:cNvPr>
            <p:cNvGrpSpPr/>
            <p:nvPr/>
          </p:nvGrpSpPr>
          <p:grpSpPr>
            <a:xfrm>
              <a:off x="2718755" y="2491782"/>
              <a:ext cx="332276" cy="120878"/>
              <a:chOff x="5379714" y="3435515"/>
              <a:chExt cx="329978" cy="120042"/>
            </a:xfrm>
            <a:solidFill>
              <a:schemeClr val="accent1"/>
            </a:solidFill>
          </p:grpSpPr>
          <p:grpSp>
            <p:nvGrpSpPr>
              <p:cNvPr id="158" name="Grafik 14">
                <a:extLst>
                  <a:ext uri="{FF2B5EF4-FFF2-40B4-BE49-F238E27FC236}">
                    <a16:creationId xmlns:a16="http://schemas.microsoft.com/office/drawing/2014/main" id="{E3AD09E3-F843-4836-BDA0-15B0D19F2D62}"/>
                  </a:ext>
                </a:extLst>
              </p:cNvPr>
              <p:cNvGrpSpPr/>
              <p:nvPr/>
            </p:nvGrpSpPr>
            <p:grpSpPr>
              <a:xfrm>
                <a:off x="5379714" y="3435539"/>
                <a:ext cx="162616" cy="120018"/>
                <a:chOff x="5379714" y="3435539"/>
                <a:chExt cx="162616" cy="120018"/>
              </a:xfrm>
              <a:solidFill>
                <a:schemeClr val="accent1"/>
              </a:solidFill>
            </p:grpSpPr>
            <p:sp>
              <p:nvSpPr>
                <p:cNvPr id="165" name="Freihandform: Form 983">
                  <a:extLst>
                    <a:ext uri="{FF2B5EF4-FFF2-40B4-BE49-F238E27FC236}">
                      <a16:creationId xmlns:a16="http://schemas.microsoft.com/office/drawing/2014/main" id="{C0F6B63B-38C4-46E4-9EB5-F40D9A558EC2}"/>
                    </a:ext>
                  </a:extLst>
                </p:cNvPr>
                <p:cNvSpPr/>
                <p:nvPr/>
              </p:nvSpPr>
              <p:spPr>
                <a:xfrm>
                  <a:off x="5379714" y="3435587"/>
                  <a:ext cx="136214" cy="119970"/>
                </a:xfrm>
                <a:custGeom>
                  <a:avLst/>
                  <a:gdLst>
                    <a:gd name="connsiteX0" fmla="*/ 59985 w 136214"/>
                    <a:gd name="connsiteY0" fmla="*/ 119970 h 119970"/>
                    <a:gd name="connsiteX1" fmla="*/ 0 w 136214"/>
                    <a:gd name="connsiteY1" fmla="*/ 59985 h 119970"/>
                    <a:gd name="connsiteX2" fmla="*/ 59985 w 136214"/>
                    <a:gd name="connsiteY2" fmla="*/ 0 h 119970"/>
                    <a:gd name="connsiteX3" fmla="*/ 64866 w 136214"/>
                    <a:gd name="connsiteY3" fmla="*/ 4881 h 119970"/>
                    <a:gd name="connsiteX4" fmla="*/ 59985 w 136214"/>
                    <a:gd name="connsiteY4" fmla="*/ 9762 h 119970"/>
                    <a:gd name="connsiteX5" fmla="*/ 9738 w 136214"/>
                    <a:gd name="connsiteY5" fmla="*/ 60009 h 119970"/>
                    <a:gd name="connsiteX6" fmla="*/ 59985 w 136214"/>
                    <a:gd name="connsiteY6" fmla="*/ 110256 h 119970"/>
                    <a:gd name="connsiteX7" fmla="*/ 78888 w 136214"/>
                    <a:gd name="connsiteY7" fmla="*/ 106571 h 119970"/>
                    <a:gd name="connsiteX8" fmla="*/ 82668 w 136214"/>
                    <a:gd name="connsiteY8" fmla="*/ 104681 h 119970"/>
                    <a:gd name="connsiteX9" fmla="*/ 129015 w 136214"/>
                    <a:gd name="connsiteY9" fmla="*/ 79486 h 119970"/>
                    <a:gd name="connsiteX10" fmla="*/ 135619 w 136214"/>
                    <a:gd name="connsiteY10" fmla="*/ 81448 h 119970"/>
                    <a:gd name="connsiteX11" fmla="*/ 133681 w 136214"/>
                    <a:gd name="connsiteY11" fmla="*/ 88052 h 119970"/>
                    <a:gd name="connsiteX12" fmla="*/ 82907 w 136214"/>
                    <a:gd name="connsiteY12" fmla="*/ 115424 h 119970"/>
                    <a:gd name="connsiteX13" fmla="*/ 59985 w 136214"/>
                    <a:gd name="connsiteY13" fmla="*/ 119970 h 119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214" h="119970">
                      <a:moveTo>
                        <a:pt x="59985" y="119970"/>
                      </a:moveTo>
                      <a:cubicBezTo>
                        <a:pt x="26918" y="119970"/>
                        <a:pt x="0" y="93052"/>
                        <a:pt x="0" y="59985"/>
                      </a:cubicBezTo>
                      <a:cubicBezTo>
                        <a:pt x="0" y="26918"/>
                        <a:pt x="26918" y="0"/>
                        <a:pt x="59985" y="0"/>
                      </a:cubicBezTo>
                      <a:cubicBezTo>
                        <a:pt x="62665" y="0"/>
                        <a:pt x="64866" y="2177"/>
                        <a:pt x="64866" y="4881"/>
                      </a:cubicBezTo>
                      <a:cubicBezTo>
                        <a:pt x="64866" y="7561"/>
                        <a:pt x="62689" y="9762"/>
                        <a:pt x="59985" y="9762"/>
                      </a:cubicBezTo>
                      <a:cubicBezTo>
                        <a:pt x="32278" y="9762"/>
                        <a:pt x="9738" y="32302"/>
                        <a:pt x="9738" y="60009"/>
                      </a:cubicBezTo>
                      <a:cubicBezTo>
                        <a:pt x="9738" y="87717"/>
                        <a:pt x="32278" y="110256"/>
                        <a:pt x="59985" y="110256"/>
                      </a:cubicBezTo>
                      <a:cubicBezTo>
                        <a:pt x="66541" y="110256"/>
                        <a:pt x="72906" y="109012"/>
                        <a:pt x="78888" y="106571"/>
                      </a:cubicBezTo>
                      <a:lnTo>
                        <a:pt x="82668" y="104681"/>
                      </a:lnTo>
                      <a:lnTo>
                        <a:pt x="129015" y="79486"/>
                      </a:lnTo>
                      <a:cubicBezTo>
                        <a:pt x="131384" y="78218"/>
                        <a:pt x="134327" y="79079"/>
                        <a:pt x="135619" y="81448"/>
                      </a:cubicBezTo>
                      <a:cubicBezTo>
                        <a:pt x="136911" y="83817"/>
                        <a:pt x="136026" y="86760"/>
                        <a:pt x="133681" y="88052"/>
                      </a:cubicBezTo>
                      <a:lnTo>
                        <a:pt x="82907" y="115424"/>
                      </a:lnTo>
                      <a:cubicBezTo>
                        <a:pt x="75394" y="118487"/>
                        <a:pt x="67809" y="119970"/>
                        <a:pt x="59985" y="119970"/>
                      </a:cubicBezTo>
                      <a:close/>
                    </a:path>
                  </a:pathLst>
                </a:custGeom>
                <a:solidFill>
                  <a:schemeClr val="accent1"/>
                </a:solidFill>
                <a:ln w="2390" cap="flat">
                  <a:noFill/>
                  <a:prstDash val="solid"/>
                  <a:miter/>
                </a:ln>
              </p:spPr>
              <p:txBody>
                <a:bodyPr rtlCol="0" anchor="ctr"/>
                <a:lstStyle/>
                <a:p>
                  <a:endParaRPr lang="en-GB" dirty="0"/>
                </a:p>
              </p:txBody>
            </p:sp>
            <p:grpSp>
              <p:nvGrpSpPr>
                <p:cNvPr id="166" name="Grafik 14">
                  <a:extLst>
                    <a:ext uri="{FF2B5EF4-FFF2-40B4-BE49-F238E27FC236}">
                      <a16:creationId xmlns:a16="http://schemas.microsoft.com/office/drawing/2014/main" id="{CBE0F354-83AD-4C49-B2AC-41064919A713}"/>
                    </a:ext>
                  </a:extLst>
                </p:cNvPr>
                <p:cNvGrpSpPr/>
                <p:nvPr/>
              </p:nvGrpSpPr>
              <p:grpSpPr>
                <a:xfrm>
                  <a:off x="5435990" y="3435539"/>
                  <a:ext cx="106339" cy="59363"/>
                  <a:chOff x="5435990" y="3435539"/>
                  <a:chExt cx="106339" cy="59363"/>
                </a:xfrm>
                <a:solidFill>
                  <a:schemeClr val="accent1"/>
                </a:solidFill>
              </p:grpSpPr>
              <p:sp>
                <p:nvSpPr>
                  <p:cNvPr id="167" name="Freihandform: Form 985">
                    <a:extLst>
                      <a:ext uri="{FF2B5EF4-FFF2-40B4-BE49-F238E27FC236}">
                        <a16:creationId xmlns:a16="http://schemas.microsoft.com/office/drawing/2014/main" id="{61C07AA1-0FBC-4321-8C83-E96C1FBAEA52}"/>
                      </a:ext>
                    </a:extLst>
                  </p:cNvPr>
                  <p:cNvSpPr/>
                  <p:nvPr/>
                </p:nvSpPr>
                <p:spPr>
                  <a:xfrm>
                    <a:off x="5435990" y="3435539"/>
                    <a:ext cx="106339" cy="57736"/>
                  </a:xfrm>
                  <a:custGeom>
                    <a:avLst/>
                    <a:gdLst>
                      <a:gd name="connsiteX0" fmla="*/ 101427 w 106339"/>
                      <a:gd name="connsiteY0" fmla="*/ 57736 h 57736"/>
                      <a:gd name="connsiteX1" fmla="*/ 98388 w 106339"/>
                      <a:gd name="connsiteY1" fmla="*/ 56659 h 57736"/>
                      <a:gd name="connsiteX2" fmla="*/ 4857 w 106339"/>
                      <a:gd name="connsiteY2" fmla="*/ 9738 h 57736"/>
                      <a:gd name="connsiteX3" fmla="*/ 0 w 106339"/>
                      <a:gd name="connsiteY3" fmla="*/ 4857 h 57736"/>
                      <a:gd name="connsiteX4" fmla="*/ 4881 w 106339"/>
                      <a:gd name="connsiteY4" fmla="*/ 0 h 57736"/>
                      <a:gd name="connsiteX5" fmla="*/ 4881 w 106339"/>
                      <a:gd name="connsiteY5" fmla="*/ 0 h 57736"/>
                      <a:gd name="connsiteX6" fmla="*/ 104514 w 106339"/>
                      <a:gd name="connsiteY6" fmla="*/ 49075 h 57736"/>
                      <a:gd name="connsiteX7" fmla="*/ 105255 w 106339"/>
                      <a:gd name="connsiteY7" fmla="*/ 55918 h 57736"/>
                      <a:gd name="connsiteX8" fmla="*/ 101427 w 106339"/>
                      <a:gd name="connsiteY8" fmla="*/ 57736 h 57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339" h="57736">
                        <a:moveTo>
                          <a:pt x="101427" y="57736"/>
                        </a:moveTo>
                        <a:cubicBezTo>
                          <a:pt x="100350" y="57736"/>
                          <a:pt x="99274" y="57377"/>
                          <a:pt x="98388" y="56659"/>
                        </a:cubicBezTo>
                        <a:cubicBezTo>
                          <a:pt x="68073" y="32326"/>
                          <a:pt x="35747" y="9786"/>
                          <a:pt x="4857" y="9738"/>
                        </a:cubicBezTo>
                        <a:cubicBezTo>
                          <a:pt x="2177" y="9738"/>
                          <a:pt x="0" y="7561"/>
                          <a:pt x="0" y="4857"/>
                        </a:cubicBezTo>
                        <a:cubicBezTo>
                          <a:pt x="0" y="2177"/>
                          <a:pt x="2177" y="0"/>
                          <a:pt x="4881" y="0"/>
                        </a:cubicBezTo>
                        <a:cubicBezTo>
                          <a:pt x="4881" y="0"/>
                          <a:pt x="4881" y="0"/>
                          <a:pt x="4881" y="0"/>
                        </a:cubicBezTo>
                        <a:cubicBezTo>
                          <a:pt x="38786" y="48"/>
                          <a:pt x="72810" y="23616"/>
                          <a:pt x="104514" y="49075"/>
                        </a:cubicBezTo>
                        <a:cubicBezTo>
                          <a:pt x="106619" y="50749"/>
                          <a:pt x="106954" y="53812"/>
                          <a:pt x="105255" y="55918"/>
                        </a:cubicBezTo>
                        <a:cubicBezTo>
                          <a:pt x="104274" y="57114"/>
                          <a:pt x="102863" y="57736"/>
                          <a:pt x="101427" y="57736"/>
                        </a:cubicBezTo>
                        <a:close/>
                      </a:path>
                    </a:pathLst>
                  </a:custGeom>
                  <a:solidFill>
                    <a:schemeClr val="accent1"/>
                  </a:solidFill>
                  <a:ln w="2390" cap="flat">
                    <a:noFill/>
                    <a:prstDash val="solid"/>
                    <a:miter/>
                  </a:ln>
                </p:spPr>
                <p:txBody>
                  <a:bodyPr rtlCol="0" anchor="ctr"/>
                  <a:lstStyle/>
                  <a:p>
                    <a:endParaRPr lang="en-GB" dirty="0"/>
                  </a:p>
                </p:txBody>
              </p:sp>
              <p:sp>
                <p:nvSpPr>
                  <p:cNvPr id="168" name="Freihandform: Form 986">
                    <a:extLst>
                      <a:ext uri="{FF2B5EF4-FFF2-40B4-BE49-F238E27FC236}">
                        <a16:creationId xmlns:a16="http://schemas.microsoft.com/office/drawing/2014/main" id="{FE8D9D4D-B137-45B1-A080-23CE9323401D}"/>
                      </a:ext>
                    </a:extLst>
                  </p:cNvPr>
                  <p:cNvSpPr/>
                  <p:nvPr/>
                </p:nvSpPr>
                <p:spPr>
                  <a:xfrm>
                    <a:off x="5513044" y="3483521"/>
                    <a:ext cx="29246" cy="11381"/>
                  </a:xfrm>
                  <a:custGeom>
                    <a:avLst/>
                    <a:gdLst>
                      <a:gd name="connsiteX0" fmla="*/ 4873 w 29246"/>
                      <a:gd name="connsiteY0" fmla="*/ 11381 h 11381"/>
                      <a:gd name="connsiteX1" fmla="*/ 16 w 29246"/>
                      <a:gd name="connsiteY1" fmla="*/ 6907 h 11381"/>
                      <a:gd name="connsiteX2" fmla="*/ 4466 w 29246"/>
                      <a:gd name="connsiteY2" fmla="*/ 1643 h 11381"/>
                      <a:gd name="connsiteX3" fmla="*/ 23967 w 29246"/>
                      <a:gd name="connsiteY3" fmla="*/ 16 h 11381"/>
                      <a:gd name="connsiteX4" fmla="*/ 29231 w 29246"/>
                      <a:gd name="connsiteY4" fmla="*/ 4466 h 11381"/>
                      <a:gd name="connsiteX5" fmla="*/ 24781 w 29246"/>
                      <a:gd name="connsiteY5" fmla="*/ 9730 h 11381"/>
                      <a:gd name="connsiteX6" fmla="*/ 5280 w 29246"/>
                      <a:gd name="connsiteY6" fmla="*/ 11357 h 11381"/>
                      <a:gd name="connsiteX7" fmla="*/ 4873 w 29246"/>
                      <a:gd name="connsiteY7" fmla="*/ 11381 h 11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6" h="11381">
                        <a:moveTo>
                          <a:pt x="4873" y="11381"/>
                        </a:moveTo>
                        <a:cubicBezTo>
                          <a:pt x="2361" y="11381"/>
                          <a:pt x="231" y="9467"/>
                          <a:pt x="16" y="6907"/>
                        </a:cubicBezTo>
                        <a:cubicBezTo>
                          <a:pt x="-199" y="4227"/>
                          <a:pt x="1787" y="1882"/>
                          <a:pt x="4466" y="1643"/>
                        </a:cubicBezTo>
                        <a:lnTo>
                          <a:pt x="23967" y="16"/>
                        </a:lnTo>
                        <a:cubicBezTo>
                          <a:pt x="26647" y="-199"/>
                          <a:pt x="28992" y="1787"/>
                          <a:pt x="29231" y="4466"/>
                        </a:cubicBezTo>
                        <a:cubicBezTo>
                          <a:pt x="29446" y="7146"/>
                          <a:pt x="27460" y="9491"/>
                          <a:pt x="24781" y="9730"/>
                        </a:cubicBezTo>
                        <a:lnTo>
                          <a:pt x="5280" y="11357"/>
                        </a:lnTo>
                        <a:cubicBezTo>
                          <a:pt x="5160" y="11357"/>
                          <a:pt x="5017" y="11381"/>
                          <a:pt x="4873" y="11381"/>
                        </a:cubicBezTo>
                        <a:close/>
                      </a:path>
                    </a:pathLst>
                  </a:custGeom>
                  <a:solidFill>
                    <a:schemeClr val="accent1"/>
                  </a:solidFill>
                  <a:ln w="2390" cap="flat">
                    <a:noFill/>
                    <a:prstDash val="solid"/>
                    <a:miter/>
                  </a:ln>
                </p:spPr>
                <p:txBody>
                  <a:bodyPr rtlCol="0" anchor="ctr"/>
                  <a:lstStyle/>
                  <a:p>
                    <a:endParaRPr lang="en-GB" dirty="0"/>
                  </a:p>
                </p:txBody>
              </p:sp>
              <p:sp>
                <p:nvSpPr>
                  <p:cNvPr id="169" name="Freihandform: Form 987">
                    <a:extLst>
                      <a:ext uri="{FF2B5EF4-FFF2-40B4-BE49-F238E27FC236}">
                        <a16:creationId xmlns:a16="http://schemas.microsoft.com/office/drawing/2014/main" id="{1E1AACE2-6D65-4E86-951A-D68190904858}"/>
                      </a:ext>
                    </a:extLst>
                  </p:cNvPr>
                  <p:cNvSpPr/>
                  <p:nvPr/>
                </p:nvSpPr>
                <p:spPr>
                  <a:xfrm>
                    <a:off x="5527521" y="3462538"/>
                    <a:ext cx="14767" cy="30736"/>
                  </a:xfrm>
                  <a:custGeom>
                    <a:avLst/>
                    <a:gdLst>
                      <a:gd name="connsiteX0" fmla="*/ 9896 w 14767"/>
                      <a:gd name="connsiteY0" fmla="*/ 30737 h 30736"/>
                      <a:gd name="connsiteX1" fmla="*/ 5159 w 14767"/>
                      <a:gd name="connsiteY1" fmla="*/ 27004 h 30736"/>
                      <a:gd name="connsiteX2" fmla="*/ 134 w 14767"/>
                      <a:gd name="connsiteY2" fmla="*/ 5996 h 30736"/>
                      <a:gd name="connsiteX3" fmla="*/ 3747 w 14767"/>
                      <a:gd name="connsiteY3" fmla="*/ 134 h 30736"/>
                      <a:gd name="connsiteX4" fmla="*/ 9609 w 14767"/>
                      <a:gd name="connsiteY4" fmla="*/ 3747 h 30736"/>
                      <a:gd name="connsiteX5" fmla="*/ 14634 w 14767"/>
                      <a:gd name="connsiteY5" fmla="*/ 24755 h 30736"/>
                      <a:gd name="connsiteX6" fmla="*/ 11021 w 14767"/>
                      <a:gd name="connsiteY6" fmla="*/ 30617 h 30736"/>
                      <a:gd name="connsiteX7" fmla="*/ 9896 w 14767"/>
                      <a:gd name="connsiteY7" fmla="*/ 30737 h 30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67" h="30736">
                        <a:moveTo>
                          <a:pt x="9896" y="30737"/>
                        </a:moveTo>
                        <a:cubicBezTo>
                          <a:pt x="7695" y="30737"/>
                          <a:pt x="5709" y="29229"/>
                          <a:pt x="5159" y="27004"/>
                        </a:cubicBezTo>
                        <a:lnTo>
                          <a:pt x="134" y="5996"/>
                        </a:lnTo>
                        <a:cubicBezTo>
                          <a:pt x="-488" y="3388"/>
                          <a:pt x="1115" y="756"/>
                          <a:pt x="3747" y="134"/>
                        </a:cubicBezTo>
                        <a:cubicBezTo>
                          <a:pt x="6355" y="-488"/>
                          <a:pt x="8987" y="1115"/>
                          <a:pt x="9609" y="3747"/>
                        </a:cubicBezTo>
                        <a:lnTo>
                          <a:pt x="14634" y="24755"/>
                        </a:lnTo>
                        <a:cubicBezTo>
                          <a:pt x="15256" y="27363"/>
                          <a:pt x="13653" y="29995"/>
                          <a:pt x="11021" y="30617"/>
                        </a:cubicBezTo>
                        <a:cubicBezTo>
                          <a:pt x="10662" y="30689"/>
                          <a:pt x="10279" y="30737"/>
                          <a:pt x="9896" y="30737"/>
                        </a:cubicBezTo>
                        <a:close/>
                      </a:path>
                    </a:pathLst>
                  </a:custGeom>
                  <a:solidFill>
                    <a:schemeClr val="accent1"/>
                  </a:solidFill>
                  <a:ln w="2390" cap="flat">
                    <a:noFill/>
                    <a:prstDash val="solid"/>
                    <a:miter/>
                  </a:ln>
                </p:spPr>
                <p:txBody>
                  <a:bodyPr rtlCol="0" anchor="ctr"/>
                  <a:lstStyle/>
                  <a:p>
                    <a:endParaRPr lang="en-GB" dirty="0"/>
                  </a:p>
                </p:txBody>
              </p:sp>
            </p:grpSp>
          </p:grpSp>
          <p:grpSp>
            <p:nvGrpSpPr>
              <p:cNvPr id="159" name="Grafik 14">
                <a:extLst>
                  <a:ext uri="{FF2B5EF4-FFF2-40B4-BE49-F238E27FC236}">
                    <a16:creationId xmlns:a16="http://schemas.microsoft.com/office/drawing/2014/main" id="{F495E135-56AB-4B1C-80E4-9DFB66F3BF5C}"/>
                  </a:ext>
                </a:extLst>
              </p:cNvPr>
              <p:cNvGrpSpPr/>
              <p:nvPr/>
            </p:nvGrpSpPr>
            <p:grpSpPr>
              <a:xfrm>
                <a:off x="5547100" y="3435515"/>
                <a:ext cx="162592" cy="120042"/>
                <a:chOff x="5547100" y="3435515"/>
                <a:chExt cx="162592" cy="120042"/>
              </a:xfrm>
              <a:solidFill>
                <a:schemeClr val="accent1"/>
              </a:solidFill>
            </p:grpSpPr>
            <p:sp>
              <p:nvSpPr>
                <p:cNvPr id="160" name="Freihandform: Form 989">
                  <a:extLst>
                    <a:ext uri="{FF2B5EF4-FFF2-40B4-BE49-F238E27FC236}">
                      <a16:creationId xmlns:a16="http://schemas.microsoft.com/office/drawing/2014/main" id="{CC827CD4-6DF6-44D0-B16E-91D9FAF7B86C}"/>
                    </a:ext>
                  </a:extLst>
                </p:cNvPr>
                <p:cNvSpPr/>
                <p:nvPr/>
              </p:nvSpPr>
              <p:spPr>
                <a:xfrm>
                  <a:off x="5573479" y="3435515"/>
                  <a:ext cx="136213" cy="119994"/>
                </a:xfrm>
                <a:custGeom>
                  <a:avLst/>
                  <a:gdLst>
                    <a:gd name="connsiteX0" fmla="*/ 76228 w 136213"/>
                    <a:gd name="connsiteY0" fmla="*/ 119995 h 119994"/>
                    <a:gd name="connsiteX1" fmla="*/ 71347 w 136213"/>
                    <a:gd name="connsiteY1" fmla="*/ 115113 h 119994"/>
                    <a:gd name="connsiteX2" fmla="*/ 76228 w 136213"/>
                    <a:gd name="connsiteY2" fmla="*/ 110232 h 119994"/>
                    <a:gd name="connsiteX3" fmla="*/ 126475 w 136213"/>
                    <a:gd name="connsiteY3" fmla="*/ 59985 h 119994"/>
                    <a:gd name="connsiteX4" fmla="*/ 76228 w 136213"/>
                    <a:gd name="connsiteY4" fmla="*/ 9738 h 119994"/>
                    <a:gd name="connsiteX5" fmla="*/ 57326 w 136213"/>
                    <a:gd name="connsiteY5" fmla="*/ 13423 h 119994"/>
                    <a:gd name="connsiteX6" fmla="*/ 53545 w 136213"/>
                    <a:gd name="connsiteY6" fmla="*/ 15313 h 119994"/>
                    <a:gd name="connsiteX7" fmla="*/ 7198 w 136213"/>
                    <a:gd name="connsiteY7" fmla="*/ 40509 h 119994"/>
                    <a:gd name="connsiteX8" fmla="*/ 595 w 136213"/>
                    <a:gd name="connsiteY8" fmla="*/ 38547 h 119994"/>
                    <a:gd name="connsiteX9" fmla="*/ 2557 w 136213"/>
                    <a:gd name="connsiteY9" fmla="*/ 31943 h 119994"/>
                    <a:gd name="connsiteX10" fmla="*/ 53330 w 136213"/>
                    <a:gd name="connsiteY10" fmla="*/ 4546 h 119994"/>
                    <a:gd name="connsiteX11" fmla="*/ 76228 w 136213"/>
                    <a:gd name="connsiteY11" fmla="*/ 0 h 119994"/>
                    <a:gd name="connsiteX12" fmla="*/ 136213 w 136213"/>
                    <a:gd name="connsiteY12" fmla="*/ 59985 h 119994"/>
                    <a:gd name="connsiteX13" fmla="*/ 76228 w 136213"/>
                    <a:gd name="connsiteY13" fmla="*/ 119995 h 11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213" h="119994">
                      <a:moveTo>
                        <a:pt x="76228" y="119995"/>
                      </a:moveTo>
                      <a:cubicBezTo>
                        <a:pt x="73548" y="119995"/>
                        <a:pt x="71347" y="117817"/>
                        <a:pt x="71347" y="115113"/>
                      </a:cubicBezTo>
                      <a:cubicBezTo>
                        <a:pt x="71347" y="112434"/>
                        <a:pt x="73524" y="110232"/>
                        <a:pt x="76228" y="110232"/>
                      </a:cubicBezTo>
                      <a:cubicBezTo>
                        <a:pt x="103936" y="110232"/>
                        <a:pt x="126475" y="87693"/>
                        <a:pt x="126475" y="59985"/>
                      </a:cubicBezTo>
                      <a:cubicBezTo>
                        <a:pt x="126475" y="32278"/>
                        <a:pt x="103936" y="9738"/>
                        <a:pt x="76228" y="9738"/>
                      </a:cubicBezTo>
                      <a:cubicBezTo>
                        <a:pt x="69696" y="9738"/>
                        <a:pt x="63332" y="10983"/>
                        <a:pt x="57326" y="13423"/>
                      </a:cubicBezTo>
                      <a:lnTo>
                        <a:pt x="53545" y="15313"/>
                      </a:lnTo>
                      <a:lnTo>
                        <a:pt x="7198" y="40509"/>
                      </a:lnTo>
                      <a:cubicBezTo>
                        <a:pt x="4854" y="41801"/>
                        <a:pt x="1887" y="40915"/>
                        <a:pt x="595" y="38547"/>
                      </a:cubicBezTo>
                      <a:cubicBezTo>
                        <a:pt x="-697" y="36178"/>
                        <a:pt x="188" y="33235"/>
                        <a:pt x="2557" y="31943"/>
                      </a:cubicBezTo>
                      <a:lnTo>
                        <a:pt x="53330" y="4546"/>
                      </a:lnTo>
                      <a:cubicBezTo>
                        <a:pt x="60843" y="1483"/>
                        <a:pt x="68428" y="0"/>
                        <a:pt x="76228" y="0"/>
                      </a:cubicBezTo>
                      <a:cubicBezTo>
                        <a:pt x="109295" y="0"/>
                        <a:pt x="136213" y="26918"/>
                        <a:pt x="136213" y="59985"/>
                      </a:cubicBezTo>
                      <a:cubicBezTo>
                        <a:pt x="136213" y="93077"/>
                        <a:pt x="109295" y="119995"/>
                        <a:pt x="76228" y="119995"/>
                      </a:cubicBezTo>
                      <a:close/>
                    </a:path>
                  </a:pathLst>
                </a:custGeom>
                <a:solidFill>
                  <a:schemeClr val="accent1"/>
                </a:solidFill>
                <a:ln w="2390" cap="flat">
                  <a:noFill/>
                  <a:prstDash val="solid"/>
                  <a:miter/>
                </a:ln>
              </p:spPr>
              <p:txBody>
                <a:bodyPr rtlCol="0" anchor="ctr"/>
                <a:lstStyle/>
                <a:p>
                  <a:endParaRPr lang="en-GB" dirty="0"/>
                </a:p>
              </p:txBody>
            </p:sp>
            <p:grpSp>
              <p:nvGrpSpPr>
                <p:cNvPr id="161" name="Grafik 14">
                  <a:extLst>
                    <a:ext uri="{FF2B5EF4-FFF2-40B4-BE49-F238E27FC236}">
                      <a16:creationId xmlns:a16="http://schemas.microsoft.com/office/drawing/2014/main" id="{0DDC4CF7-B6E3-4EDF-B18C-12EA62638E5D}"/>
                    </a:ext>
                  </a:extLst>
                </p:cNvPr>
                <p:cNvGrpSpPr/>
                <p:nvPr/>
              </p:nvGrpSpPr>
              <p:grpSpPr>
                <a:xfrm>
                  <a:off x="5547100" y="3497816"/>
                  <a:ext cx="106315" cy="57741"/>
                  <a:chOff x="5547100" y="3497816"/>
                  <a:chExt cx="106315" cy="57741"/>
                </a:xfrm>
                <a:solidFill>
                  <a:schemeClr val="accent1"/>
                </a:solidFill>
              </p:grpSpPr>
              <p:sp>
                <p:nvSpPr>
                  <p:cNvPr id="162" name="Freihandform: Form 991">
                    <a:extLst>
                      <a:ext uri="{FF2B5EF4-FFF2-40B4-BE49-F238E27FC236}">
                        <a16:creationId xmlns:a16="http://schemas.microsoft.com/office/drawing/2014/main" id="{EC1A7E9A-F4DD-4884-83ED-9C1B6A6D749F}"/>
                      </a:ext>
                    </a:extLst>
                  </p:cNvPr>
                  <p:cNvSpPr/>
                  <p:nvPr/>
                </p:nvSpPr>
                <p:spPr>
                  <a:xfrm>
                    <a:off x="5547100" y="3497845"/>
                    <a:ext cx="106315" cy="57712"/>
                  </a:xfrm>
                  <a:custGeom>
                    <a:avLst/>
                    <a:gdLst>
                      <a:gd name="connsiteX0" fmla="*/ 101459 w 106315"/>
                      <a:gd name="connsiteY0" fmla="*/ 57712 h 57712"/>
                      <a:gd name="connsiteX1" fmla="*/ 101459 w 106315"/>
                      <a:gd name="connsiteY1" fmla="*/ 57712 h 57712"/>
                      <a:gd name="connsiteX2" fmla="*/ 1826 w 106315"/>
                      <a:gd name="connsiteY2" fmla="*/ 8662 h 57712"/>
                      <a:gd name="connsiteX3" fmla="*/ 1084 w 106315"/>
                      <a:gd name="connsiteY3" fmla="*/ 1818 h 57712"/>
                      <a:gd name="connsiteX4" fmla="*/ 7927 w 106315"/>
                      <a:gd name="connsiteY4" fmla="*/ 1077 h 57712"/>
                      <a:gd name="connsiteX5" fmla="*/ 101459 w 106315"/>
                      <a:gd name="connsiteY5" fmla="*/ 47998 h 57712"/>
                      <a:gd name="connsiteX6" fmla="*/ 106316 w 106315"/>
                      <a:gd name="connsiteY6" fmla="*/ 52879 h 57712"/>
                      <a:gd name="connsiteX7" fmla="*/ 101459 w 106315"/>
                      <a:gd name="connsiteY7" fmla="*/ 57712 h 5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6315" h="57712">
                        <a:moveTo>
                          <a:pt x="101459" y="57712"/>
                        </a:moveTo>
                        <a:cubicBezTo>
                          <a:pt x="101459" y="57712"/>
                          <a:pt x="101459" y="57712"/>
                          <a:pt x="101459" y="57712"/>
                        </a:cubicBezTo>
                        <a:cubicBezTo>
                          <a:pt x="67554" y="57664"/>
                          <a:pt x="33553" y="34120"/>
                          <a:pt x="1826" y="8662"/>
                        </a:cubicBezTo>
                        <a:cubicBezTo>
                          <a:pt x="-280" y="6963"/>
                          <a:pt x="-615" y="3900"/>
                          <a:pt x="1084" y="1818"/>
                        </a:cubicBezTo>
                        <a:cubicBezTo>
                          <a:pt x="2783" y="-263"/>
                          <a:pt x="5846" y="-622"/>
                          <a:pt x="7927" y="1077"/>
                        </a:cubicBezTo>
                        <a:cubicBezTo>
                          <a:pt x="38267" y="25411"/>
                          <a:pt x="70593" y="47950"/>
                          <a:pt x="101459" y="47998"/>
                        </a:cubicBezTo>
                        <a:cubicBezTo>
                          <a:pt x="104138" y="47998"/>
                          <a:pt x="106316" y="50175"/>
                          <a:pt x="106316" y="52879"/>
                        </a:cubicBezTo>
                        <a:cubicBezTo>
                          <a:pt x="106340" y="55535"/>
                          <a:pt x="104162" y="57712"/>
                          <a:pt x="101459" y="57712"/>
                        </a:cubicBezTo>
                        <a:close/>
                      </a:path>
                    </a:pathLst>
                  </a:custGeom>
                  <a:solidFill>
                    <a:schemeClr val="accent1"/>
                  </a:solidFill>
                  <a:ln w="2390" cap="flat">
                    <a:noFill/>
                    <a:prstDash val="solid"/>
                    <a:miter/>
                  </a:ln>
                </p:spPr>
                <p:txBody>
                  <a:bodyPr rtlCol="0" anchor="ctr"/>
                  <a:lstStyle/>
                  <a:p>
                    <a:endParaRPr lang="en-GB" dirty="0"/>
                  </a:p>
                </p:txBody>
              </p:sp>
              <p:sp>
                <p:nvSpPr>
                  <p:cNvPr id="163" name="Freihandform: Form 992">
                    <a:extLst>
                      <a:ext uri="{FF2B5EF4-FFF2-40B4-BE49-F238E27FC236}">
                        <a16:creationId xmlns:a16="http://schemas.microsoft.com/office/drawing/2014/main" id="{B122A505-147F-476F-9DB6-677299217EA6}"/>
                      </a:ext>
                    </a:extLst>
                  </p:cNvPr>
                  <p:cNvSpPr/>
                  <p:nvPr/>
                </p:nvSpPr>
                <p:spPr>
                  <a:xfrm>
                    <a:off x="5547119" y="3497816"/>
                    <a:ext cx="30747" cy="11298"/>
                  </a:xfrm>
                  <a:custGeom>
                    <a:avLst/>
                    <a:gdLst>
                      <a:gd name="connsiteX0" fmla="*/ 25878 w 30747"/>
                      <a:gd name="connsiteY0" fmla="*/ 11299 h 11298"/>
                      <a:gd name="connsiteX1" fmla="*/ 25519 w 30747"/>
                      <a:gd name="connsiteY1" fmla="*/ 11275 h 11298"/>
                      <a:gd name="connsiteX2" fmla="*/ 4511 w 30747"/>
                      <a:gd name="connsiteY2" fmla="*/ 9720 h 11298"/>
                      <a:gd name="connsiteX3" fmla="*/ 13 w 30747"/>
                      <a:gd name="connsiteY3" fmla="*/ 4504 h 11298"/>
                      <a:gd name="connsiteX4" fmla="*/ 5229 w 30747"/>
                      <a:gd name="connsiteY4" fmla="*/ 5 h 11298"/>
                      <a:gd name="connsiteX5" fmla="*/ 26237 w 30747"/>
                      <a:gd name="connsiteY5" fmla="*/ 1561 h 11298"/>
                      <a:gd name="connsiteX6" fmla="*/ 30735 w 30747"/>
                      <a:gd name="connsiteY6" fmla="*/ 6777 h 11298"/>
                      <a:gd name="connsiteX7" fmla="*/ 25878 w 30747"/>
                      <a:gd name="connsiteY7" fmla="*/ 11299 h 11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47" h="11298">
                        <a:moveTo>
                          <a:pt x="25878" y="11299"/>
                        </a:moveTo>
                        <a:cubicBezTo>
                          <a:pt x="25758" y="11299"/>
                          <a:pt x="25639" y="11299"/>
                          <a:pt x="25519" y="11275"/>
                        </a:cubicBezTo>
                        <a:lnTo>
                          <a:pt x="4511" y="9720"/>
                        </a:lnTo>
                        <a:cubicBezTo>
                          <a:pt x="1831" y="9528"/>
                          <a:pt x="-179" y="7183"/>
                          <a:pt x="13" y="4504"/>
                        </a:cubicBezTo>
                        <a:cubicBezTo>
                          <a:pt x="204" y="1824"/>
                          <a:pt x="2621" y="-114"/>
                          <a:pt x="5229" y="5"/>
                        </a:cubicBezTo>
                        <a:lnTo>
                          <a:pt x="26237" y="1561"/>
                        </a:lnTo>
                        <a:cubicBezTo>
                          <a:pt x="28917" y="1752"/>
                          <a:pt x="30926" y="4097"/>
                          <a:pt x="30735" y="6777"/>
                        </a:cubicBezTo>
                        <a:cubicBezTo>
                          <a:pt x="30544" y="9337"/>
                          <a:pt x="28390" y="11299"/>
                          <a:pt x="25878" y="11299"/>
                        </a:cubicBezTo>
                        <a:close/>
                      </a:path>
                    </a:pathLst>
                  </a:custGeom>
                  <a:solidFill>
                    <a:schemeClr val="accent1"/>
                  </a:solidFill>
                  <a:ln w="2390" cap="flat">
                    <a:noFill/>
                    <a:prstDash val="solid"/>
                    <a:miter/>
                  </a:ln>
                </p:spPr>
                <p:txBody>
                  <a:bodyPr rtlCol="0" anchor="ctr"/>
                  <a:lstStyle/>
                  <a:p>
                    <a:endParaRPr lang="en-GB" dirty="0"/>
                  </a:p>
                </p:txBody>
              </p:sp>
              <p:sp>
                <p:nvSpPr>
                  <p:cNvPr id="164" name="Freihandform: Form 993">
                    <a:extLst>
                      <a:ext uri="{FF2B5EF4-FFF2-40B4-BE49-F238E27FC236}">
                        <a16:creationId xmlns:a16="http://schemas.microsoft.com/office/drawing/2014/main" id="{0C492C2E-CF15-46FD-9C23-9E3EEFC5DEA3}"/>
                      </a:ext>
                    </a:extLst>
                  </p:cNvPr>
                  <p:cNvSpPr/>
                  <p:nvPr/>
                </p:nvSpPr>
                <p:spPr>
                  <a:xfrm>
                    <a:off x="5547109" y="3497822"/>
                    <a:ext cx="16268" cy="31128"/>
                  </a:xfrm>
                  <a:custGeom>
                    <a:avLst/>
                    <a:gdLst>
                      <a:gd name="connsiteX0" fmla="*/ 11412 w 16268"/>
                      <a:gd name="connsiteY0" fmla="*/ 31128 h 31128"/>
                      <a:gd name="connsiteX1" fmla="*/ 6747 w 16268"/>
                      <a:gd name="connsiteY1" fmla="*/ 27683 h 31128"/>
                      <a:gd name="connsiteX2" fmla="*/ 215 w 16268"/>
                      <a:gd name="connsiteY2" fmla="*/ 6292 h 31128"/>
                      <a:gd name="connsiteX3" fmla="*/ 3445 w 16268"/>
                      <a:gd name="connsiteY3" fmla="*/ 215 h 31128"/>
                      <a:gd name="connsiteX4" fmla="*/ 9522 w 16268"/>
                      <a:gd name="connsiteY4" fmla="*/ 3445 h 31128"/>
                      <a:gd name="connsiteX5" fmla="*/ 16054 w 16268"/>
                      <a:gd name="connsiteY5" fmla="*/ 24836 h 31128"/>
                      <a:gd name="connsiteX6" fmla="*/ 12824 w 16268"/>
                      <a:gd name="connsiteY6" fmla="*/ 30913 h 31128"/>
                      <a:gd name="connsiteX7" fmla="*/ 11412 w 16268"/>
                      <a:gd name="connsiteY7" fmla="*/ 31128 h 31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68" h="31128">
                        <a:moveTo>
                          <a:pt x="11412" y="31128"/>
                        </a:moveTo>
                        <a:cubicBezTo>
                          <a:pt x="9331" y="31128"/>
                          <a:pt x="7393" y="29788"/>
                          <a:pt x="6747" y="27683"/>
                        </a:cubicBezTo>
                        <a:lnTo>
                          <a:pt x="215" y="6292"/>
                        </a:lnTo>
                        <a:cubicBezTo>
                          <a:pt x="-575" y="3708"/>
                          <a:pt x="885" y="1004"/>
                          <a:pt x="3445" y="215"/>
                        </a:cubicBezTo>
                        <a:cubicBezTo>
                          <a:pt x="6005" y="-575"/>
                          <a:pt x="8733" y="884"/>
                          <a:pt x="9522" y="3445"/>
                        </a:cubicBezTo>
                        <a:lnTo>
                          <a:pt x="16054" y="24836"/>
                        </a:lnTo>
                        <a:cubicBezTo>
                          <a:pt x="16844" y="27420"/>
                          <a:pt x="15384" y="30123"/>
                          <a:pt x="12824" y="30913"/>
                        </a:cubicBezTo>
                        <a:cubicBezTo>
                          <a:pt x="12370" y="31057"/>
                          <a:pt x="11891" y="31128"/>
                          <a:pt x="11412" y="31128"/>
                        </a:cubicBezTo>
                        <a:close/>
                      </a:path>
                    </a:pathLst>
                  </a:custGeom>
                  <a:solidFill>
                    <a:schemeClr val="accent1"/>
                  </a:solidFill>
                  <a:ln w="2390" cap="flat">
                    <a:noFill/>
                    <a:prstDash val="solid"/>
                    <a:miter/>
                  </a:ln>
                </p:spPr>
                <p:txBody>
                  <a:bodyPr rtlCol="0" anchor="ctr"/>
                  <a:lstStyle/>
                  <a:p>
                    <a:endParaRPr lang="en-GB" dirty="0"/>
                  </a:p>
                </p:txBody>
              </p:sp>
            </p:grpSp>
          </p:grpSp>
        </p:grpSp>
      </p:grpSp>
      <p:grpSp>
        <p:nvGrpSpPr>
          <p:cNvPr id="473" name="Group 472">
            <a:extLst>
              <a:ext uri="{FF2B5EF4-FFF2-40B4-BE49-F238E27FC236}">
                <a16:creationId xmlns:a16="http://schemas.microsoft.com/office/drawing/2014/main" id="{90F4CDDB-C0FA-5078-7824-14D34182347F}"/>
              </a:ext>
            </a:extLst>
          </p:cNvPr>
          <p:cNvGrpSpPr/>
          <p:nvPr/>
        </p:nvGrpSpPr>
        <p:grpSpPr>
          <a:xfrm>
            <a:off x="3741363" y="2399021"/>
            <a:ext cx="431978" cy="432000"/>
            <a:chOff x="3741363" y="2399021"/>
            <a:chExt cx="431978" cy="432000"/>
          </a:xfrm>
        </p:grpSpPr>
        <p:grpSp>
          <p:nvGrpSpPr>
            <p:cNvPr id="175" name="Group 174">
              <a:extLst>
                <a:ext uri="{FF2B5EF4-FFF2-40B4-BE49-F238E27FC236}">
                  <a16:creationId xmlns:a16="http://schemas.microsoft.com/office/drawing/2014/main" id="{3C9A73A6-6750-4573-8C8E-83C7108F5B0D}"/>
                </a:ext>
              </a:extLst>
            </p:cNvPr>
            <p:cNvGrpSpPr/>
            <p:nvPr/>
          </p:nvGrpSpPr>
          <p:grpSpPr>
            <a:xfrm>
              <a:off x="3741363" y="2476522"/>
              <a:ext cx="431978" cy="276933"/>
              <a:chOff x="6144879" y="4232097"/>
              <a:chExt cx="475718" cy="304974"/>
            </a:xfrm>
          </p:grpSpPr>
          <p:sp>
            <p:nvSpPr>
              <p:cNvPr id="186" name="Freihandform: Form 1055">
                <a:extLst>
                  <a:ext uri="{FF2B5EF4-FFF2-40B4-BE49-F238E27FC236}">
                    <a16:creationId xmlns:a16="http://schemas.microsoft.com/office/drawing/2014/main" id="{EECE25B3-709A-452B-B387-CFE5FDF06DFA}"/>
                  </a:ext>
                </a:extLst>
              </p:cNvPr>
              <p:cNvSpPr/>
              <p:nvPr/>
            </p:nvSpPr>
            <p:spPr>
              <a:xfrm>
                <a:off x="6144879" y="4234154"/>
                <a:ext cx="123859" cy="302917"/>
              </a:xfrm>
              <a:custGeom>
                <a:avLst/>
                <a:gdLst>
                  <a:gd name="connsiteX0" fmla="*/ 63574 w 123859"/>
                  <a:gd name="connsiteY0" fmla="*/ 302917 h 302917"/>
                  <a:gd name="connsiteX1" fmla="*/ 63526 w 123859"/>
                  <a:gd name="connsiteY1" fmla="*/ 302917 h 302917"/>
                  <a:gd name="connsiteX2" fmla="*/ 60033 w 123859"/>
                  <a:gd name="connsiteY2" fmla="*/ 301386 h 302917"/>
                  <a:gd name="connsiteX3" fmla="*/ 0 w 123859"/>
                  <a:gd name="connsiteY3" fmla="*/ 150430 h 302917"/>
                  <a:gd name="connsiteX4" fmla="*/ 57999 w 123859"/>
                  <a:gd name="connsiteY4" fmla="*/ 1579 h 302917"/>
                  <a:gd name="connsiteX5" fmla="*/ 61469 w 123859"/>
                  <a:gd name="connsiteY5" fmla="*/ 0 h 302917"/>
                  <a:gd name="connsiteX6" fmla="*/ 65010 w 123859"/>
                  <a:gd name="connsiteY6" fmla="*/ 1412 h 302917"/>
                  <a:gd name="connsiteX7" fmla="*/ 121191 w 123859"/>
                  <a:gd name="connsiteY7" fmla="*/ 56851 h 302917"/>
                  <a:gd name="connsiteX8" fmla="*/ 121430 w 123859"/>
                  <a:gd name="connsiteY8" fmla="*/ 63526 h 302917"/>
                  <a:gd name="connsiteX9" fmla="*/ 88626 w 123859"/>
                  <a:gd name="connsiteY9" fmla="*/ 150406 h 302917"/>
                  <a:gd name="connsiteX10" fmla="*/ 122603 w 123859"/>
                  <a:gd name="connsiteY10" fmla="*/ 238625 h 302917"/>
                  <a:gd name="connsiteX11" fmla="*/ 122459 w 123859"/>
                  <a:gd name="connsiteY11" fmla="*/ 245301 h 302917"/>
                  <a:gd name="connsiteX12" fmla="*/ 67068 w 123859"/>
                  <a:gd name="connsiteY12" fmla="*/ 301458 h 302917"/>
                  <a:gd name="connsiteX13" fmla="*/ 63574 w 123859"/>
                  <a:gd name="connsiteY13" fmla="*/ 302917 h 302917"/>
                  <a:gd name="connsiteX14" fmla="*/ 61804 w 123859"/>
                  <a:gd name="connsiteY14" fmla="*/ 11940 h 302917"/>
                  <a:gd name="connsiteX15" fmla="*/ 9738 w 123859"/>
                  <a:gd name="connsiteY15" fmla="*/ 150430 h 302917"/>
                  <a:gd name="connsiteX16" fmla="*/ 63694 w 123859"/>
                  <a:gd name="connsiteY16" fmla="*/ 291002 h 302917"/>
                  <a:gd name="connsiteX17" fmla="*/ 112314 w 123859"/>
                  <a:gd name="connsiteY17" fmla="*/ 241712 h 302917"/>
                  <a:gd name="connsiteX18" fmla="*/ 78864 w 123859"/>
                  <a:gd name="connsiteY18" fmla="*/ 150430 h 302917"/>
                  <a:gd name="connsiteX19" fmla="*/ 111117 w 123859"/>
                  <a:gd name="connsiteY19" fmla="*/ 60607 h 302917"/>
                  <a:gd name="connsiteX20" fmla="*/ 61804 w 123859"/>
                  <a:gd name="connsiteY20" fmla="*/ 11940 h 30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59" h="302917">
                    <a:moveTo>
                      <a:pt x="63574" y="302917"/>
                    </a:moveTo>
                    <a:cubicBezTo>
                      <a:pt x="63550" y="302917"/>
                      <a:pt x="63550" y="302917"/>
                      <a:pt x="63526" y="302917"/>
                    </a:cubicBezTo>
                    <a:cubicBezTo>
                      <a:pt x="62211" y="302893"/>
                      <a:pt x="60942" y="302343"/>
                      <a:pt x="60033" y="301386"/>
                    </a:cubicBezTo>
                    <a:cubicBezTo>
                      <a:pt x="21319" y="260399"/>
                      <a:pt x="0" y="206778"/>
                      <a:pt x="0" y="150430"/>
                    </a:cubicBezTo>
                    <a:cubicBezTo>
                      <a:pt x="0" y="95158"/>
                      <a:pt x="20601" y="42303"/>
                      <a:pt x="57999" y="1579"/>
                    </a:cubicBezTo>
                    <a:cubicBezTo>
                      <a:pt x="58885" y="598"/>
                      <a:pt x="60153" y="48"/>
                      <a:pt x="61469" y="0"/>
                    </a:cubicBezTo>
                    <a:cubicBezTo>
                      <a:pt x="62785" y="0"/>
                      <a:pt x="64077" y="478"/>
                      <a:pt x="65010" y="1412"/>
                    </a:cubicBezTo>
                    <a:lnTo>
                      <a:pt x="121191" y="56851"/>
                    </a:lnTo>
                    <a:cubicBezTo>
                      <a:pt x="123033" y="58669"/>
                      <a:pt x="123129" y="61612"/>
                      <a:pt x="121430" y="63526"/>
                    </a:cubicBezTo>
                    <a:cubicBezTo>
                      <a:pt x="100278" y="87573"/>
                      <a:pt x="88626" y="118415"/>
                      <a:pt x="88626" y="150406"/>
                    </a:cubicBezTo>
                    <a:cubicBezTo>
                      <a:pt x="88626" y="183090"/>
                      <a:pt x="100685" y="214411"/>
                      <a:pt x="122603" y="238625"/>
                    </a:cubicBezTo>
                    <a:cubicBezTo>
                      <a:pt x="124325" y="240539"/>
                      <a:pt x="124277" y="243458"/>
                      <a:pt x="122459" y="245301"/>
                    </a:cubicBezTo>
                    <a:lnTo>
                      <a:pt x="67068" y="301458"/>
                    </a:lnTo>
                    <a:cubicBezTo>
                      <a:pt x="66135" y="302415"/>
                      <a:pt x="64866" y="302917"/>
                      <a:pt x="63574" y="302917"/>
                    </a:cubicBezTo>
                    <a:close/>
                    <a:moveTo>
                      <a:pt x="61804" y="11940"/>
                    </a:moveTo>
                    <a:cubicBezTo>
                      <a:pt x="28186" y="50319"/>
                      <a:pt x="9738" y="99298"/>
                      <a:pt x="9738" y="150430"/>
                    </a:cubicBezTo>
                    <a:cubicBezTo>
                      <a:pt x="9738" y="202615"/>
                      <a:pt x="28856" y="252335"/>
                      <a:pt x="63694" y="291002"/>
                    </a:cubicBezTo>
                    <a:lnTo>
                      <a:pt x="112314" y="241712"/>
                    </a:lnTo>
                    <a:cubicBezTo>
                      <a:pt x="90708" y="216229"/>
                      <a:pt x="78864" y="184000"/>
                      <a:pt x="78864" y="150430"/>
                    </a:cubicBezTo>
                    <a:cubicBezTo>
                      <a:pt x="78864" y="117602"/>
                      <a:pt x="90277" y="85898"/>
                      <a:pt x="111117" y="60607"/>
                    </a:cubicBezTo>
                    <a:lnTo>
                      <a:pt x="61804" y="11940"/>
                    </a:lnTo>
                    <a:close/>
                  </a:path>
                </a:pathLst>
              </a:custGeom>
              <a:solidFill>
                <a:schemeClr val="accent1"/>
              </a:solidFill>
              <a:ln w="2390" cap="flat">
                <a:noFill/>
                <a:prstDash val="solid"/>
                <a:miter/>
              </a:ln>
            </p:spPr>
            <p:txBody>
              <a:bodyPr rtlCol="0" anchor="ctr"/>
              <a:lstStyle/>
              <a:p>
                <a:endParaRPr lang="en-GB" dirty="0"/>
              </a:p>
            </p:txBody>
          </p:sp>
          <p:sp>
            <p:nvSpPr>
              <p:cNvPr id="187" name="Freihandform: Form 1056">
                <a:extLst>
                  <a:ext uri="{FF2B5EF4-FFF2-40B4-BE49-F238E27FC236}">
                    <a16:creationId xmlns:a16="http://schemas.microsoft.com/office/drawing/2014/main" id="{01620049-FFFD-4BA9-A896-7D32797B37FF}"/>
                  </a:ext>
                </a:extLst>
              </p:cNvPr>
              <p:cNvSpPr/>
              <p:nvPr/>
            </p:nvSpPr>
            <p:spPr>
              <a:xfrm>
                <a:off x="6496786" y="4232097"/>
                <a:ext cx="123811" cy="302965"/>
              </a:xfrm>
              <a:custGeom>
                <a:avLst/>
                <a:gdLst>
                  <a:gd name="connsiteX0" fmla="*/ 62223 w 123811"/>
                  <a:gd name="connsiteY0" fmla="*/ 302965 h 302965"/>
                  <a:gd name="connsiteX1" fmla="*/ 58802 w 123811"/>
                  <a:gd name="connsiteY1" fmla="*/ 301553 h 302965"/>
                  <a:gd name="connsiteX2" fmla="*/ 2621 w 123811"/>
                  <a:gd name="connsiteY2" fmla="*/ 246066 h 302965"/>
                  <a:gd name="connsiteX3" fmla="*/ 2382 w 123811"/>
                  <a:gd name="connsiteY3" fmla="*/ 239391 h 302965"/>
                  <a:gd name="connsiteX4" fmla="*/ 35210 w 123811"/>
                  <a:gd name="connsiteY4" fmla="*/ 152488 h 302965"/>
                  <a:gd name="connsiteX5" fmla="*/ 1257 w 123811"/>
                  <a:gd name="connsiteY5" fmla="*/ 64292 h 302965"/>
                  <a:gd name="connsiteX6" fmla="*/ 1401 w 123811"/>
                  <a:gd name="connsiteY6" fmla="*/ 57616 h 302965"/>
                  <a:gd name="connsiteX7" fmla="*/ 56792 w 123811"/>
                  <a:gd name="connsiteY7" fmla="*/ 1460 h 302965"/>
                  <a:gd name="connsiteX8" fmla="*/ 60309 w 123811"/>
                  <a:gd name="connsiteY8" fmla="*/ 0 h 302965"/>
                  <a:gd name="connsiteX9" fmla="*/ 63803 w 123811"/>
                  <a:gd name="connsiteY9" fmla="*/ 1531 h 302965"/>
                  <a:gd name="connsiteX10" fmla="*/ 123812 w 123811"/>
                  <a:gd name="connsiteY10" fmla="*/ 152488 h 302965"/>
                  <a:gd name="connsiteX11" fmla="*/ 65812 w 123811"/>
                  <a:gd name="connsiteY11" fmla="*/ 301386 h 302965"/>
                  <a:gd name="connsiteX12" fmla="*/ 62343 w 123811"/>
                  <a:gd name="connsiteY12" fmla="*/ 302965 h 302965"/>
                  <a:gd name="connsiteX13" fmla="*/ 62223 w 123811"/>
                  <a:gd name="connsiteY13" fmla="*/ 302965 h 302965"/>
                  <a:gd name="connsiteX14" fmla="*/ 12694 w 123811"/>
                  <a:gd name="connsiteY14" fmla="*/ 242334 h 302965"/>
                  <a:gd name="connsiteX15" fmla="*/ 62032 w 123811"/>
                  <a:gd name="connsiteY15" fmla="*/ 291050 h 302965"/>
                  <a:gd name="connsiteX16" fmla="*/ 114098 w 123811"/>
                  <a:gd name="connsiteY16" fmla="*/ 152511 h 302965"/>
                  <a:gd name="connsiteX17" fmla="*/ 60166 w 123811"/>
                  <a:gd name="connsiteY17" fmla="*/ 11940 h 302965"/>
                  <a:gd name="connsiteX18" fmla="*/ 11546 w 123811"/>
                  <a:gd name="connsiteY18" fmla="*/ 61253 h 302965"/>
                  <a:gd name="connsiteX19" fmla="*/ 44972 w 123811"/>
                  <a:gd name="connsiteY19" fmla="*/ 152511 h 302965"/>
                  <a:gd name="connsiteX20" fmla="*/ 12694 w 123811"/>
                  <a:gd name="connsiteY20" fmla="*/ 242334 h 30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3811" h="302965">
                    <a:moveTo>
                      <a:pt x="62223" y="302965"/>
                    </a:moveTo>
                    <a:cubicBezTo>
                      <a:pt x="60931" y="302965"/>
                      <a:pt x="59711" y="302463"/>
                      <a:pt x="58802" y="301553"/>
                    </a:cubicBezTo>
                    <a:lnTo>
                      <a:pt x="2621" y="246066"/>
                    </a:lnTo>
                    <a:cubicBezTo>
                      <a:pt x="779" y="244248"/>
                      <a:pt x="683" y="241329"/>
                      <a:pt x="2382" y="239391"/>
                    </a:cubicBezTo>
                    <a:cubicBezTo>
                      <a:pt x="23557" y="215368"/>
                      <a:pt x="35210" y="184502"/>
                      <a:pt x="35210" y="152488"/>
                    </a:cubicBezTo>
                    <a:cubicBezTo>
                      <a:pt x="35210" y="119851"/>
                      <a:pt x="23151" y="88530"/>
                      <a:pt x="1257" y="64292"/>
                    </a:cubicBezTo>
                    <a:cubicBezTo>
                      <a:pt x="-466" y="62378"/>
                      <a:pt x="-418" y="59435"/>
                      <a:pt x="1401" y="57616"/>
                    </a:cubicBezTo>
                    <a:lnTo>
                      <a:pt x="56792" y="1460"/>
                    </a:lnTo>
                    <a:cubicBezTo>
                      <a:pt x="57725" y="526"/>
                      <a:pt x="58993" y="0"/>
                      <a:pt x="60309" y="0"/>
                    </a:cubicBezTo>
                    <a:cubicBezTo>
                      <a:pt x="61625" y="24"/>
                      <a:pt x="62893" y="574"/>
                      <a:pt x="63803" y="1531"/>
                    </a:cubicBezTo>
                    <a:cubicBezTo>
                      <a:pt x="102517" y="42566"/>
                      <a:pt x="123812" y="96187"/>
                      <a:pt x="123812" y="152488"/>
                    </a:cubicBezTo>
                    <a:cubicBezTo>
                      <a:pt x="123812" y="207735"/>
                      <a:pt x="103211" y="260614"/>
                      <a:pt x="65812" y="301386"/>
                    </a:cubicBezTo>
                    <a:cubicBezTo>
                      <a:pt x="64927" y="302367"/>
                      <a:pt x="63659" y="302941"/>
                      <a:pt x="62343" y="302965"/>
                    </a:cubicBezTo>
                    <a:cubicBezTo>
                      <a:pt x="62319" y="302965"/>
                      <a:pt x="62271" y="302965"/>
                      <a:pt x="62223" y="302965"/>
                    </a:cubicBezTo>
                    <a:close/>
                    <a:moveTo>
                      <a:pt x="12694" y="242334"/>
                    </a:moveTo>
                    <a:lnTo>
                      <a:pt x="62032" y="291050"/>
                    </a:lnTo>
                    <a:cubicBezTo>
                      <a:pt x="95650" y="252622"/>
                      <a:pt x="114098" y="203620"/>
                      <a:pt x="114098" y="152511"/>
                    </a:cubicBezTo>
                    <a:cubicBezTo>
                      <a:pt x="114098" y="100374"/>
                      <a:pt x="94980" y="50654"/>
                      <a:pt x="60166" y="11940"/>
                    </a:cubicBezTo>
                    <a:lnTo>
                      <a:pt x="11546" y="61253"/>
                    </a:lnTo>
                    <a:cubicBezTo>
                      <a:pt x="33128" y="86760"/>
                      <a:pt x="44972" y="118990"/>
                      <a:pt x="44972" y="152511"/>
                    </a:cubicBezTo>
                    <a:cubicBezTo>
                      <a:pt x="44948" y="185339"/>
                      <a:pt x="33535" y="217067"/>
                      <a:pt x="12694" y="242334"/>
                    </a:cubicBezTo>
                    <a:close/>
                  </a:path>
                </a:pathLst>
              </a:custGeom>
              <a:solidFill>
                <a:schemeClr val="accent1"/>
              </a:solidFill>
              <a:ln w="2390" cap="flat">
                <a:noFill/>
                <a:prstDash val="solid"/>
                <a:miter/>
              </a:ln>
            </p:spPr>
            <p:txBody>
              <a:bodyPr rtlCol="0" anchor="ctr"/>
              <a:lstStyle/>
              <a:p>
                <a:endParaRPr lang="en-GB" dirty="0"/>
              </a:p>
            </p:txBody>
          </p:sp>
        </p:grpSp>
        <p:grpSp>
          <p:nvGrpSpPr>
            <p:cNvPr id="176" name="Group 175">
              <a:extLst>
                <a:ext uri="{FF2B5EF4-FFF2-40B4-BE49-F238E27FC236}">
                  <a16:creationId xmlns:a16="http://schemas.microsoft.com/office/drawing/2014/main" id="{6A603532-A0A6-4751-9AE6-FE834033DF11}"/>
                </a:ext>
              </a:extLst>
            </p:cNvPr>
            <p:cNvGrpSpPr/>
            <p:nvPr/>
          </p:nvGrpSpPr>
          <p:grpSpPr>
            <a:xfrm>
              <a:off x="3818907" y="2399021"/>
              <a:ext cx="276869" cy="432000"/>
              <a:chOff x="6230275" y="4146749"/>
              <a:chExt cx="304903" cy="475742"/>
            </a:xfrm>
            <a:solidFill>
              <a:schemeClr val="tx2"/>
            </a:solidFill>
          </p:grpSpPr>
          <p:grpSp>
            <p:nvGrpSpPr>
              <p:cNvPr id="177" name="Grafik 14">
                <a:extLst>
                  <a:ext uri="{FF2B5EF4-FFF2-40B4-BE49-F238E27FC236}">
                    <a16:creationId xmlns:a16="http://schemas.microsoft.com/office/drawing/2014/main" id="{0BE5C48F-BA36-4C7E-B14A-D3E41915113A}"/>
                  </a:ext>
                </a:extLst>
              </p:cNvPr>
              <p:cNvGrpSpPr/>
              <p:nvPr/>
            </p:nvGrpSpPr>
            <p:grpSpPr>
              <a:xfrm>
                <a:off x="6282819" y="4282463"/>
                <a:ext cx="175936" cy="210582"/>
                <a:chOff x="6282819" y="4282463"/>
                <a:chExt cx="175936" cy="210582"/>
              </a:xfrm>
              <a:grpFill/>
            </p:grpSpPr>
            <p:grpSp>
              <p:nvGrpSpPr>
                <p:cNvPr id="180" name="Grafik 14">
                  <a:extLst>
                    <a:ext uri="{FF2B5EF4-FFF2-40B4-BE49-F238E27FC236}">
                      <a16:creationId xmlns:a16="http://schemas.microsoft.com/office/drawing/2014/main" id="{0BE77A5C-EBB9-4203-BA85-C45860440D80}"/>
                    </a:ext>
                  </a:extLst>
                </p:cNvPr>
                <p:cNvGrpSpPr/>
                <p:nvPr/>
              </p:nvGrpSpPr>
              <p:grpSpPr>
                <a:xfrm>
                  <a:off x="6385634" y="4282463"/>
                  <a:ext cx="73121" cy="210582"/>
                  <a:chOff x="6385634" y="4282463"/>
                  <a:chExt cx="73121" cy="210582"/>
                </a:xfrm>
                <a:grpFill/>
              </p:grpSpPr>
              <p:sp>
                <p:nvSpPr>
                  <p:cNvPr id="184" name="Freihandform: Form 1049">
                    <a:extLst>
                      <a:ext uri="{FF2B5EF4-FFF2-40B4-BE49-F238E27FC236}">
                        <a16:creationId xmlns:a16="http://schemas.microsoft.com/office/drawing/2014/main" id="{11D648F3-DF6F-4119-B35C-B8A85955ED0B}"/>
                      </a:ext>
                    </a:extLst>
                  </p:cNvPr>
                  <p:cNvSpPr/>
                  <p:nvPr/>
                </p:nvSpPr>
                <p:spPr>
                  <a:xfrm>
                    <a:off x="6385634" y="4282463"/>
                    <a:ext cx="73121" cy="73121"/>
                  </a:xfrm>
                  <a:custGeom>
                    <a:avLst/>
                    <a:gdLst>
                      <a:gd name="connsiteX0" fmla="*/ 36561 w 73121"/>
                      <a:gd name="connsiteY0" fmla="*/ 73121 h 73121"/>
                      <a:gd name="connsiteX1" fmla="*/ 0 w 73121"/>
                      <a:gd name="connsiteY1" fmla="*/ 36561 h 73121"/>
                      <a:gd name="connsiteX2" fmla="*/ 36561 w 73121"/>
                      <a:gd name="connsiteY2" fmla="*/ 0 h 73121"/>
                      <a:gd name="connsiteX3" fmla="*/ 73121 w 73121"/>
                      <a:gd name="connsiteY3" fmla="*/ 36561 h 73121"/>
                      <a:gd name="connsiteX4" fmla="*/ 36561 w 73121"/>
                      <a:gd name="connsiteY4" fmla="*/ 73121 h 73121"/>
                      <a:gd name="connsiteX5" fmla="*/ 36561 w 73121"/>
                      <a:gd name="connsiteY5" fmla="*/ 9739 h 73121"/>
                      <a:gd name="connsiteX6" fmla="*/ 9738 w 73121"/>
                      <a:gd name="connsiteY6" fmla="*/ 36561 h 73121"/>
                      <a:gd name="connsiteX7" fmla="*/ 36561 w 73121"/>
                      <a:gd name="connsiteY7" fmla="*/ 63383 h 73121"/>
                      <a:gd name="connsiteX8" fmla="*/ 63383 w 73121"/>
                      <a:gd name="connsiteY8" fmla="*/ 36561 h 73121"/>
                      <a:gd name="connsiteX9" fmla="*/ 36561 w 73121"/>
                      <a:gd name="connsiteY9" fmla="*/ 9739 h 7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21" h="73121">
                        <a:moveTo>
                          <a:pt x="36561" y="73121"/>
                        </a:moveTo>
                        <a:cubicBezTo>
                          <a:pt x="16390" y="73121"/>
                          <a:pt x="0" y="56707"/>
                          <a:pt x="0" y="36561"/>
                        </a:cubicBezTo>
                        <a:cubicBezTo>
                          <a:pt x="0" y="16390"/>
                          <a:pt x="16414" y="0"/>
                          <a:pt x="36561" y="0"/>
                        </a:cubicBezTo>
                        <a:cubicBezTo>
                          <a:pt x="56731" y="0"/>
                          <a:pt x="73121" y="16414"/>
                          <a:pt x="73121" y="36561"/>
                        </a:cubicBezTo>
                        <a:cubicBezTo>
                          <a:pt x="73121" y="56731"/>
                          <a:pt x="56731" y="73121"/>
                          <a:pt x="36561" y="73121"/>
                        </a:cubicBezTo>
                        <a:close/>
                        <a:moveTo>
                          <a:pt x="36561" y="9739"/>
                        </a:moveTo>
                        <a:cubicBezTo>
                          <a:pt x="21774" y="9739"/>
                          <a:pt x="9738" y="21774"/>
                          <a:pt x="9738" y="36561"/>
                        </a:cubicBezTo>
                        <a:cubicBezTo>
                          <a:pt x="9738" y="51348"/>
                          <a:pt x="21774" y="63383"/>
                          <a:pt x="36561" y="63383"/>
                        </a:cubicBezTo>
                        <a:cubicBezTo>
                          <a:pt x="51348" y="63383"/>
                          <a:pt x="63383" y="51348"/>
                          <a:pt x="63383" y="36561"/>
                        </a:cubicBezTo>
                        <a:cubicBezTo>
                          <a:pt x="63383" y="21774"/>
                          <a:pt x="51348" y="9739"/>
                          <a:pt x="36561" y="9739"/>
                        </a:cubicBezTo>
                        <a:close/>
                      </a:path>
                    </a:pathLst>
                  </a:custGeom>
                  <a:grpFill/>
                  <a:ln w="2390" cap="flat">
                    <a:noFill/>
                    <a:prstDash val="solid"/>
                    <a:miter/>
                  </a:ln>
                </p:spPr>
                <p:txBody>
                  <a:bodyPr rtlCol="0" anchor="ctr"/>
                  <a:lstStyle/>
                  <a:p>
                    <a:endParaRPr lang="en-GB" dirty="0"/>
                  </a:p>
                </p:txBody>
              </p:sp>
              <p:sp>
                <p:nvSpPr>
                  <p:cNvPr id="185" name="Freihandform: Form 1050">
                    <a:extLst>
                      <a:ext uri="{FF2B5EF4-FFF2-40B4-BE49-F238E27FC236}">
                        <a16:creationId xmlns:a16="http://schemas.microsoft.com/office/drawing/2014/main" id="{7F9E4896-B22B-4D0D-BC63-405857745F2F}"/>
                      </a:ext>
                    </a:extLst>
                  </p:cNvPr>
                  <p:cNvSpPr/>
                  <p:nvPr/>
                </p:nvSpPr>
                <p:spPr>
                  <a:xfrm>
                    <a:off x="6385634" y="4419925"/>
                    <a:ext cx="73121" cy="73121"/>
                  </a:xfrm>
                  <a:custGeom>
                    <a:avLst/>
                    <a:gdLst>
                      <a:gd name="connsiteX0" fmla="*/ 36561 w 73121"/>
                      <a:gd name="connsiteY0" fmla="*/ 73121 h 73121"/>
                      <a:gd name="connsiteX1" fmla="*/ 0 w 73121"/>
                      <a:gd name="connsiteY1" fmla="*/ 36560 h 73121"/>
                      <a:gd name="connsiteX2" fmla="*/ 36561 w 73121"/>
                      <a:gd name="connsiteY2" fmla="*/ 0 h 73121"/>
                      <a:gd name="connsiteX3" fmla="*/ 73121 w 73121"/>
                      <a:gd name="connsiteY3" fmla="*/ 36560 h 73121"/>
                      <a:gd name="connsiteX4" fmla="*/ 36561 w 73121"/>
                      <a:gd name="connsiteY4" fmla="*/ 73121 h 73121"/>
                      <a:gd name="connsiteX5" fmla="*/ 36561 w 73121"/>
                      <a:gd name="connsiteY5" fmla="*/ 9714 h 73121"/>
                      <a:gd name="connsiteX6" fmla="*/ 9738 w 73121"/>
                      <a:gd name="connsiteY6" fmla="*/ 36536 h 73121"/>
                      <a:gd name="connsiteX7" fmla="*/ 36561 w 73121"/>
                      <a:gd name="connsiteY7" fmla="*/ 63359 h 73121"/>
                      <a:gd name="connsiteX8" fmla="*/ 63383 w 73121"/>
                      <a:gd name="connsiteY8" fmla="*/ 36536 h 73121"/>
                      <a:gd name="connsiteX9" fmla="*/ 36561 w 73121"/>
                      <a:gd name="connsiteY9" fmla="*/ 9714 h 7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21" h="73121">
                        <a:moveTo>
                          <a:pt x="36561" y="73121"/>
                        </a:moveTo>
                        <a:cubicBezTo>
                          <a:pt x="16390" y="73121"/>
                          <a:pt x="0" y="56707"/>
                          <a:pt x="0" y="36560"/>
                        </a:cubicBezTo>
                        <a:cubicBezTo>
                          <a:pt x="0" y="16390"/>
                          <a:pt x="16414" y="0"/>
                          <a:pt x="36561" y="0"/>
                        </a:cubicBezTo>
                        <a:cubicBezTo>
                          <a:pt x="56731" y="0"/>
                          <a:pt x="73121" y="16414"/>
                          <a:pt x="73121" y="36560"/>
                        </a:cubicBezTo>
                        <a:cubicBezTo>
                          <a:pt x="73121" y="56707"/>
                          <a:pt x="56731" y="73121"/>
                          <a:pt x="36561" y="73121"/>
                        </a:cubicBezTo>
                        <a:close/>
                        <a:moveTo>
                          <a:pt x="36561" y="9714"/>
                        </a:moveTo>
                        <a:cubicBezTo>
                          <a:pt x="21774" y="9714"/>
                          <a:pt x="9738" y="21750"/>
                          <a:pt x="9738" y="36536"/>
                        </a:cubicBezTo>
                        <a:cubicBezTo>
                          <a:pt x="9738" y="51324"/>
                          <a:pt x="21774" y="63359"/>
                          <a:pt x="36561" y="63359"/>
                        </a:cubicBezTo>
                        <a:cubicBezTo>
                          <a:pt x="51348" y="63359"/>
                          <a:pt x="63383" y="51324"/>
                          <a:pt x="63383" y="36536"/>
                        </a:cubicBezTo>
                        <a:cubicBezTo>
                          <a:pt x="63383" y="21750"/>
                          <a:pt x="51348" y="9714"/>
                          <a:pt x="36561" y="9714"/>
                        </a:cubicBezTo>
                        <a:close/>
                      </a:path>
                    </a:pathLst>
                  </a:custGeom>
                  <a:grpFill/>
                  <a:ln w="2390" cap="flat">
                    <a:noFill/>
                    <a:prstDash val="solid"/>
                    <a:miter/>
                  </a:ln>
                </p:spPr>
                <p:txBody>
                  <a:bodyPr rtlCol="0" anchor="ctr"/>
                  <a:lstStyle/>
                  <a:p>
                    <a:endParaRPr lang="en-GB" dirty="0"/>
                  </a:p>
                </p:txBody>
              </p:sp>
            </p:grpSp>
            <p:sp>
              <p:nvSpPr>
                <p:cNvPr id="181" name="Freihandform: Form 1051">
                  <a:extLst>
                    <a:ext uri="{FF2B5EF4-FFF2-40B4-BE49-F238E27FC236}">
                      <a16:creationId xmlns:a16="http://schemas.microsoft.com/office/drawing/2014/main" id="{DD406267-96A2-4184-860F-F2805ADE330B}"/>
                    </a:ext>
                  </a:extLst>
                </p:cNvPr>
                <p:cNvSpPr/>
                <p:nvPr/>
              </p:nvSpPr>
              <p:spPr>
                <a:xfrm>
                  <a:off x="6282819" y="4351206"/>
                  <a:ext cx="73121" cy="73121"/>
                </a:xfrm>
                <a:custGeom>
                  <a:avLst/>
                  <a:gdLst>
                    <a:gd name="connsiteX0" fmla="*/ 36561 w 73121"/>
                    <a:gd name="connsiteY0" fmla="*/ 73121 h 73121"/>
                    <a:gd name="connsiteX1" fmla="*/ 0 w 73121"/>
                    <a:gd name="connsiteY1" fmla="*/ 36561 h 73121"/>
                    <a:gd name="connsiteX2" fmla="*/ 36561 w 73121"/>
                    <a:gd name="connsiteY2" fmla="*/ 0 h 73121"/>
                    <a:gd name="connsiteX3" fmla="*/ 73121 w 73121"/>
                    <a:gd name="connsiteY3" fmla="*/ 36561 h 73121"/>
                    <a:gd name="connsiteX4" fmla="*/ 36561 w 73121"/>
                    <a:gd name="connsiteY4" fmla="*/ 73121 h 73121"/>
                    <a:gd name="connsiteX5" fmla="*/ 36561 w 73121"/>
                    <a:gd name="connsiteY5" fmla="*/ 9715 h 73121"/>
                    <a:gd name="connsiteX6" fmla="*/ 9738 w 73121"/>
                    <a:gd name="connsiteY6" fmla="*/ 36537 h 73121"/>
                    <a:gd name="connsiteX7" fmla="*/ 36561 w 73121"/>
                    <a:gd name="connsiteY7" fmla="*/ 63359 h 73121"/>
                    <a:gd name="connsiteX8" fmla="*/ 63383 w 73121"/>
                    <a:gd name="connsiteY8" fmla="*/ 36537 h 73121"/>
                    <a:gd name="connsiteX9" fmla="*/ 36561 w 73121"/>
                    <a:gd name="connsiteY9" fmla="*/ 9715 h 73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21" h="73121">
                      <a:moveTo>
                        <a:pt x="36561" y="73121"/>
                      </a:moveTo>
                      <a:cubicBezTo>
                        <a:pt x="16390" y="73121"/>
                        <a:pt x="0" y="56707"/>
                        <a:pt x="0" y="36561"/>
                      </a:cubicBezTo>
                      <a:cubicBezTo>
                        <a:pt x="0" y="16390"/>
                        <a:pt x="16414" y="0"/>
                        <a:pt x="36561" y="0"/>
                      </a:cubicBezTo>
                      <a:cubicBezTo>
                        <a:pt x="56731" y="0"/>
                        <a:pt x="73121" y="16414"/>
                        <a:pt x="73121" y="36561"/>
                      </a:cubicBezTo>
                      <a:cubicBezTo>
                        <a:pt x="73121" y="56707"/>
                        <a:pt x="56707" y="73121"/>
                        <a:pt x="36561" y="73121"/>
                      </a:cubicBezTo>
                      <a:close/>
                      <a:moveTo>
                        <a:pt x="36561" y="9715"/>
                      </a:moveTo>
                      <a:cubicBezTo>
                        <a:pt x="21774" y="9715"/>
                        <a:pt x="9738" y="21750"/>
                        <a:pt x="9738" y="36537"/>
                      </a:cubicBezTo>
                      <a:cubicBezTo>
                        <a:pt x="9738" y="51324"/>
                        <a:pt x="21774" y="63359"/>
                        <a:pt x="36561" y="63359"/>
                      </a:cubicBezTo>
                      <a:cubicBezTo>
                        <a:pt x="51348" y="63359"/>
                        <a:pt x="63383" y="51324"/>
                        <a:pt x="63383" y="36537"/>
                      </a:cubicBezTo>
                      <a:cubicBezTo>
                        <a:pt x="63383" y="21750"/>
                        <a:pt x="51348" y="9715"/>
                        <a:pt x="36561" y="9715"/>
                      </a:cubicBezTo>
                      <a:close/>
                    </a:path>
                  </a:pathLst>
                </a:custGeom>
                <a:grpFill/>
                <a:ln w="2390" cap="flat">
                  <a:noFill/>
                  <a:prstDash val="solid"/>
                  <a:miter/>
                </a:ln>
              </p:spPr>
              <p:txBody>
                <a:bodyPr rtlCol="0" anchor="ctr"/>
                <a:lstStyle/>
                <a:p>
                  <a:endParaRPr lang="en-GB" dirty="0"/>
                </a:p>
              </p:txBody>
            </p:sp>
            <p:sp>
              <p:nvSpPr>
                <p:cNvPr id="182" name="Freihandform: Form 1052">
                  <a:extLst>
                    <a:ext uri="{FF2B5EF4-FFF2-40B4-BE49-F238E27FC236}">
                      <a16:creationId xmlns:a16="http://schemas.microsoft.com/office/drawing/2014/main" id="{F09B00CD-F85A-487D-82E5-F6C7EC619C34}"/>
                    </a:ext>
                  </a:extLst>
                </p:cNvPr>
                <p:cNvSpPr/>
                <p:nvPr/>
              </p:nvSpPr>
              <p:spPr>
                <a:xfrm>
                  <a:off x="6343001" y="4331878"/>
                  <a:ext cx="57413" cy="43828"/>
                </a:xfrm>
                <a:custGeom>
                  <a:avLst/>
                  <a:gdLst>
                    <a:gd name="connsiteX0" fmla="*/ 4875 w 57413"/>
                    <a:gd name="connsiteY0" fmla="*/ 43829 h 43828"/>
                    <a:gd name="connsiteX1" fmla="*/ 903 w 57413"/>
                    <a:gd name="connsiteY1" fmla="*/ 41795 h 43828"/>
                    <a:gd name="connsiteX2" fmla="*/ 2028 w 57413"/>
                    <a:gd name="connsiteY2" fmla="*/ 35000 h 43828"/>
                    <a:gd name="connsiteX3" fmla="*/ 49715 w 57413"/>
                    <a:gd name="connsiteY3" fmla="*/ 903 h 43828"/>
                    <a:gd name="connsiteX4" fmla="*/ 56510 w 57413"/>
                    <a:gd name="connsiteY4" fmla="*/ 2028 h 43828"/>
                    <a:gd name="connsiteX5" fmla="*/ 55385 w 57413"/>
                    <a:gd name="connsiteY5" fmla="*/ 8823 h 43828"/>
                    <a:gd name="connsiteX6" fmla="*/ 7699 w 57413"/>
                    <a:gd name="connsiteY6" fmla="*/ 42920 h 43828"/>
                    <a:gd name="connsiteX7" fmla="*/ 4875 w 57413"/>
                    <a:gd name="connsiteY7" fmla="*/ 43829 h 4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13" h="43828">
                      <a:moveTo>
                        <a:pt x="4875" y="43829"/>
                      </a:moveTo>
                      <a:cubicBezTo>
                        <a:pt x="3368" y="43829"/>
                        <a:pt x="1861" y="43111"/>
                        <a:pt x="903" y="41795"/>
                      </a:cubicBezTo>
                      <a:cubicBezTo>
                        <a:pt x="-652" y="39618"/>
                        <a:pt x="-149" y="36555"/>
                        <a:pt x="2028" y="35000"/>
                      </a:cubicBezTo>
                      <a:lnTo>
                        <a:pt x="49715" y="903"/>
                      </a:lnTo>
                      <a:cubicBezTo>
                        <a:pt x="51892" y="-652"/>
                        <a:pt x="54955" y="-149"/>
                        <a:pt x="56510" y="2028"/>
                      </a:cubicBezTo>
                      <a:cubicBezTo>
                        <a:pt x="58065" y="4205"/>
                        <a:pt x="57563" y="7268"/>
                        <a:pt x="55385" y="8823"/>
                      </a:cubicBezTo>
                      <a:lnTo>
                        <a:pt x="7699" y="42920"/>
                      </a:lnTo>
                      <a:cubicBezTo>
                        <a:pt x="6837" y="43518"/>
                        <a:pt x="5856" y="43829"/>
                        <a:pt x="4875" y="43829"/>
                      </a:cubicBezTo>
                      <a:close/>
                    </a:path>
                  </a:pathLst>
                </a:custGeom>
                <a:grpFill/>
                <a:ln w="2390" cap="flat">
                  <a:noFill/>
                  <a:prstDash val="solid"/>
                  <a:miter/>
                </a:ln>
              </p:spPr>
              <p:txBody>
                <a:bodyPr rtlCol="0" anchor="ctr"/>
                <a:lstStyle/>
                <a:p>
                  <a:endParaRPr lang="en-GB" dirty="0"/>
                </a:p>
              </p:txBody>
            </p:sp>
            <p:sp>
              <p:nvSpPr>
                <p:cNvPr id="183" name="Freihandform: Form 1053">
                  <a:extLst>
                    <a:ext uri="{FF2B5EF4-FFF2-40B4-BE49-F238E27FC236}">
                      <a16:creationId xmlns:a16="http://schemas.microsoft.com/office/drawing/2014/main" id="{25E36CFC-1741-4E8E-A31D-7AAEF2F73BFB}"/>
                    </a:ext>
                  </a:extLst>
                </p:cNvPr>
                <p:cNvSpPr/>
                <p:nvPr/>
              </p:nvSpPr>
              <p:spPr>
                <a:xfrm>
                  <a:off x="6341125" y="4402559"/>
                  <a:ext cx="57434" cy="43828"/>
                </a:xfrm>
                <a:custGeom>
                  <a:avLst/>
                  <a:gdLst>
                    <a:gd name="connsiteX0" fmla="*/ 52549 w 57434"/>
                    <a:gd name="connsiteY0" fmla="*/ 43829 h 43828"/>
                    <a:gd name="connsiteX1" fmla="*/ 49725 w 57434"/>
                    <a:gd name="connsiteY1" fmla="*/ 42919 h 43828"/>
                    <a:gd name="connsiteX2" fmla="*/ 2038 w 57434"/>
                    <a:gd name="connsiteY2" fmla="*/ 8823 h 43828"/>
                    <a:gd name="connsiteX3" fmla="*/ 914 w 57434"/>
                    <a:gd name="connsiteY3" fmla="*/ 2028 h 43828"/>
                    <a:gd name="connsiteX4" fmla="*/ 7709 w 57434"/>
                    <a:gd name="connsiteY4" fmla="*/ 904 h 43828"/>
                    <a:gd name="connsiteX5" fmla="*/ 55396 w 57434"/>
                    <a:gd name="connsiteY5" fmla="*/ 35000 h 43828"/>
                    <a:gd name="connsiteX6" fmla="*/ 56520 w 57434"/>
                    <a:gd name="connsiteY6" fmla="*/ 41795 h 43828"/>
                    <a:gd name="connsiteX7" fmla="*/ 52549 w 57434"/>
                    <a:gd name="connsiteY7" fmla="*/ 43829 h 4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34" h="43828">
                      <a:moveTo>
                        <a:pt x="52549" y="43829"/>
                      </a:moveTo>
                      <a:cubicBezTo>
                        <a:pt x="51568" y="43829"/>
                        <a:pt x="50587" y="43542"/>
                        <a:pt x="49725" y="42919"/>
                      </a:cubicBezTo>
                      <a:lnTo>
                        <a:pt x="2038" y="8823"/>
                      </a:lnTo>
                      <a:cubicBezTo>
                        <a:pt x="-139" y="7268"/>
                        <a:pt x="-665" y="4205"/>
                        <a:pt x="914" y="2028"/>
                      </a:cubicBezTo>
                      <a:cubicBezTo>
                        <a:pt x="2469" y="-149"/>
                        <a:pt x="5532" y="-652"/>
                        <a:pt x="7709" y="904"/>
                      </a:cubicBezTo>
                      <a:lnTo>
                        <a:pt x="55396" y="35000"/>
                      </a:lnTo>
                      <a:cubicBezTo>
                        <a:pt x="57573" y="36555"/>
                        <a:pt x="58100" y="39617"/>
                        <a:pt x="56520" y="41795"/>
                      </a:cubicBezTo>
                      <a:cubicBezTo>
                        <a:pt x="55563" y="43111"/>
                        <a:pt x="54080" y="43829"/>
                        <a:pt x="52549" y="43829"/>
                      </a:cubicBezTo>
                      <a:close/>
                    </a:path>
                  </a:pathLst>
                </a:custGeom>
                <a:grpFill/>
                <a:ln w="2390" cap="flat">
                  <a:noFill/>
                  <a:prstDash val="solid"/>
                  <a:miter/>
                </a:ln>
              </p:spPr>
              <p:txBody>
                <a:bodyPr rtlCol="0" anchor="ctr"/>
                <a:lstStyle/>
                <a:p>
                  <a:endParaRPr lang="en-GB" dirty="0"/>
                </a:p>
              </p:txBody>
            </p:sp>
          </p:grpSp>
          <p:sp>
            <p:nvSpPr>
              <p:cNvPr id="178" name="Freihandform: Form 1057">
                <a:extLst>
                  <a:ext uri="{FF2B5EF4-FFF2-40B4-BE49-F238E27FC236}">
                    <a16:creationId xmlns:a16="http://schemas.microsoft.com/office/drawing/2014/main" id="{3573E89D-6101-41C3-81E4-C6320A7FC70D}"/>
                  </a:ext>
                </a:extLst>
              </p:cNvPr>
              <p:cNvSpPr/>
              <p:nvPr/>
            </p:nvSpPr>
            <p:spPr>
              <a:xfrm>
                <a:off x="6232356" y="4498656"/>
                <a:ext cx="302822" cy="123835"/>
              </a:xfrm>
              <a:custGeom>
                <a:avLst/>
                <a:gdLst>
                  <a:gd name="connsiteX0" fmla="*/ 150383 w 302822"/>
                  <a:gd name="connsiteY0" fmla="*/ 123836 h 123835"/>
                  <a:gd name="connsiteX1" fmla="*/ 1580 w 302822"/>
                  <a:gd name="connsiteY1" fmla="*/ 65908 h 123835"/>
                  <a:gd name="connsiteX2" fmla="*/ 1 w 302822"/>
                  <a:gd name="connsiteY2" fmla="*/ 62439 h 123835"/>
                  <a:gd name="connsiteX3" fmla="*/ 1413 w 302822"/>
                  <a:gd name="connsiteY3" fmla="*/ 58897 h 123835"/>
                  <a:gd name="connsiteX4" fmla="*/ 56876 w 302822"/>
                  <a:gd name="connsiteY4" fmla="*/ 2645 h 123835"/>
                  <a:gd name="connsiteX5" fmla="*/ 63551 w 302822"/>
                  <a:gd name="connsiteY5" fmla="*/ 2406 h 123835"/>
                  <a:gd name="connsiteX6" fmla="*/ 150383 w 302822"/>
                  <a:gd name="connsiteY6" fmla="*/ 35186 h 123835"/>
                  <a:gd name="connsiteX7" fmla="*/ 238530 w 302822"/>
                  <a:gd name="connsiteY7" fmla="*/ 1257 h 123835"/>
                  <a:gd name="connsiteX8" fmla="*/ 245206 w 302822"/>
                  <a:gd name="connsiteY8" fmla="*/ 1401 h 123835"/>
                  <a:gd name="connsiteX9" fmla="*/ 301363 w 302822"/>
                  <a:gd name="connsiteY9" fmla="*/ 56840 h 123835"/>
                  <a:gd name="connsiteX10" fmla="*/ 302822 w 302822"/>
                  <a:gd name="connsiteY10" fmla="*/ 60357 h 123835"/>
                  <a:gd name="connsiteX11" fmla="*/ 301291 w 302822"/>
                  <a:gd name="connsiteY11" fmla="*/ 63850 h 123835"/>
                  <a:gd name="connsiteX12" fmla="*/ 150383 w 302822"/>
                  <a:gd name="connsiteY12" fmla="*/ 123836 h 123835"/>
                  <a:gd name="connsiteX13" fmla="*/ 11940 w 302822"/>
                  <a:gd name="connsiteY13" fmla="*/ 62104 h 123835"/>
                  <a:gd name="connsiteX14" fmla="*/ 150407 w 302822"/>
                  <a:gd name="connsiteY14" fmla="*/ 114097 h 123835"/>
                  <a:gd name="connsiteX15" fmla="*/ 290931 w 302822"/>
                  <a:gd name="connsiteY15" fmla="*/ 60190 h 123835"/>
                  <a:gd name="connsiteX16" fmla="*/ 241641 w 302822"/>
                  <a:gd name="connsiteY16" fmla="*/ 11522 h 123835"/>
                  <a:gd name="connsiteX17" fmla="*/ 150407 w 302822"/>
                  <a:gd name="connsiteY17" fmla="*/ 44948 h 123835"/>
                  <a:gd name="connsiteX18" fmla="*/ 60632 w 302822"/>
                  <a:gd name="connsiteY18" fmla="*/ 12718 h 123835"/>
                  <a:gd name="connsiteX19" fmla="*/ 11940 w 302822"/>
                  <a:gd name="connsiteY19" fmla="*/ 62104 h 123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02822" h="123835">
                    <a:moveTo>
                      <a:pt x="150383" y="123836"/>
                    </a:moveTo>
                    <a:cubicBezTo>
                      <a:pt x="95183" y="123836"/>
                      <a:pt x="42328" y="103258"/>
                      <a:pt x="1580" y="65908"/>
                    </a:cubicBezTo>
                    <a:cubicBezTo>
                      <a:pt x="599" y="65023"/>
                      <a:pt x="25" y="63755"/>
                      <a:pt x="1" y="62439"/>
                    </a:cubicBezTo>
                    <a:cubicBezTo>
                      <a:pt x="-23" y="61123"/>
                      <a:pt x="479" y="59831"/>
                      <a:pt x="1413" y="58897"/>
                    </a:cubicBezTo>
                    <a:lnTo>
                      <a:pt x="56876" y="2645"/>
                    </a:lnTo>
                    <a:cubicBezTo>
                      <a:pt x="58694" y="803"/>
                      <a:pt x="61613" y="707"/>
                      <a:pt x="63551" y="2406"/>
                    </a:cubicBezTo>
                    <a:cubicBezTo>
                      <a:pt x="87598" y="23533"/>
                      <a:pt x="118440" y="35186"/>
                      <a:pt x="150383" y="35186"/>
                    </a:cubicBezTo>
                    <a:cubicBezTo>
                      <a:pt x="183019" y="35186"/>
                      <a:pt x="214340" y="23126"/>
                      <a:pt x="238530" y="1257"/>
                    </a:cubicBezTo>
                    <a:cubicBezTo>
                      <a:pt x="240444" y="-466"/>
                      <a:pt x="243387" y="-418"/>
                      <a:pt x="245206" y="1401"/>
                    </a:cubicBezTo>
                    <a:lnTo>
                      <a:pt x="301363" y="56840"/>
                    </a:lnTo>
                    <a:cubicBezTo>
                      <a:pt x="302296" y="57773"/>
                      <a:pt x="302822" y="59041"/>
                      <a:pt x="302822" y="60357"/>
                    </a:cubicBezTo>
                    <a:cubicBezTo>
                      <a:pt x="302799" y="61673"/>
                      <a:pt x="302248" y="62941"/>
                      <a:pt x="301291" y="63850"/>
                    </a:cubicBezTo>
                    <a:cubicBezTo>
                      <a:pt x="260256" y="102541"/>
                      <a:pt x="206659" y="123836"/>
                      <a:pt x="150383" y="123836"/>
                    </a:cubicBezTo>
                    <a:close/>
                    <a:moveTo>
                      <a:pt x="11940" y="62104"/>
                    </a:moveTo>
                    <a:cubicBezTo>
                      <a:pt x="50343" y="95674"/>
                      <a:pt x="99322" y="114097"/>
                      <a:pt x="150407" y="114097"/>
                    </a:cubicBezTo>
                    <a:cubicBezTo>
                      <a:pt x="202496" y="114097"/>
                      <a:pt x="252217" y="94980"/>
                      <a:pt x="290931" y="60190"/>
                    </a:cubicBezTo>
                    <a:lnTo>
                      <a:pt x="241641" y="11522"/>
                    </a:lnTo>
                    <a:cubicBezTo>
                      <a:pt x="216158" y="33104"/>
                      <a:pt x="183929" y="44948"/>
                      <a:pt x="150407" y="44948"/>
                    </a:cubicBezTo>
                    <a:cubicBezTo>
                      <a:pt x="117626" y="44948"/>
                      <a:pt x="85923" y="33535"/>
                      <a:pt x="60632" y="12718"/>
                    </a:cubicBezTo>
                    <a:lnTo>
                      <a:pt x="11940" y="62104"/>
                    </a:lnTo>
                    <a:close/>
                  </a:path>
                </a:pathLst>
              </a:custGeom>
              <a:grpFill/>
              <a:ln w="2390" cap="flat">
                <a:noFill/>
                <a:prstDash val="solid"/>
                <a:miter/>
              </a:ln>
            </p:spPr>
            <p:txBody>
              <a:bodyPr rtlCol="0" anchor="ctr"/>
              <a:lstStyle/>
              <a:p>
                <a:endParaRPr lang="en-GB" dirty="0"/>
              </a:p>
            </p:txBody>
          </p:sp>
          <p:sp>
            <p:nvSpPr>
              <p:cNvPr id="179" name="Freihandform: Form 1058">
                <a:extLst>
                  <a:ext uri="{FF2B5EF4-FFF2-40B4-BE49-F238E27FC236}">
                    <a16:creationId xmlns:a16="http://schemas.microsoft.com/office/drawing/2014/main" id="{83FD8E10-DA97-429E-9AF0-C4BBFA2B14BB}"/>
                  </a:ext>
                </a:extLst>
              </p:cNvPr>
              <p:cNvSpPr/>
              <p:nvPr/>
            </p:nvSpPr>
            <p:spPr>
              <a:xfrm>
                <a:off x="6230275" y="4146749"/>
                <a:ext cx="302822" cy="123751"/>
              </a:xfrm>
              <a:custGeom>
                <a:avLst/>
                <a:gdLst>
                  <a:gd name="connsiteX0" fmla="*/ 61038 w 302822"/>
                  <a:gd name="connsiteY0" fmla="*/ 123751 h 123751"/>
                  <a:gd name="connsiteX1" fmla="*/ 57617 w 302822"/>
                  <a:gd name="connsiteY1" fmla="*/ 122339 h 123751"/>
                  <a:gd name="connsiteX2" fmla="*/ 1460 w 302822"/>
                  <a:gd name="connsiteY2" fmla="*/ 66924 h 123751"/>
                  <a:gd name="connsiteX3" fmla="*/ 0 w 302822"/>
                  <a:gd name="connsiteY3" fmla="*/ 63407 h 123751"/>
                  <a:gd name="connsiteX4" fmla="*/ 1531 w 302822"/>
                  <a:gd name="connsiteY4" fmla="*/ 59914 h 123751"/>
                  <a:gd name="connsiteX5" fmla="*/ 152440 w 302822"/>
                  <a:gd name="connsiteY5" fmla="*/ 0 h 123751"/>
                  <a:gd name="connsiteX6" fmla="*/ 301242 w 302822"/>
                  <a:gd name="connsiteY6" fmla="*/ 57927 h 123751"/>
                  <a:gd name="connsiteX7" fmla="*/ 302822 w 302822"/>
                  <a:gd name="connsiteY7" fmla="*/ 61397 h 123751"/>
                  <a:gd name="connsiteX8" fmla="*/ 301410 w 302822"/>
                  <a:gd name="connsiteY8" fmla="*/ 64938 h 123751"/>
                  <a:gd name="connsiteX9" fmla="*/ 245971 w 302822"/>
                  <a:gd name="connsiteY9" fmla="*/ 121143 h 123751"/>
                  <a:gd name="connsiteX10" fmla="*/ 239295 w 302822"/>
                  <a:gd name="connsiteY10" fmla="*/ 121382 h 123751"/>
                  <a:gd name="connsiteX11" fmla="*/ 152464 w 302822"/>
                  <a:gd name="connsiteY11" fmla="*/ 88578 h 123751"/>
                  <a:gd name="connsiteX12" fmla="*/ 64316 w 302822"/>
                  <a:gd name="connsiteY12" fmla="*/ 122507 h 123751"/>
                  <a:gd name="connsiteX13" fmla="*/ 61038 w 302822"/>
                  <a:gd name="connsiteY13" fmla="*/ 123751 h 123751"/>
                  <a:gd name="connsiteX14" fmla="*/ 11940 w 302822"/>
                  <a:gd name="connsiteY14" fmla="*/ 63574 h 123751"/>
                  <a:gd name="connsiteX15" fmla="*/ 61230 w 302822"/>
                  <a:gd name="connsiteY15" fmla="*/ 112218 h 123751"/>
                  <a:gd name="connsiteX16" fmla="*/ 152440 w 302822"/>
                  <a:gd name="connsiteY16" fmla="*/ 78816 h 123751"/>
                  <a:gd name="connsiteX17" fmla="*/ 242214 w 302822"/>
                  <a:gd name="connsiteY17" fmla="*/ 111070 h 123751"/>
                  <a:gd name="connsiteX18" fmla="*/ 290906 w 302822"/>
                  <a:gd name="connsiteY18" fmla="*/ 61708 h 123751"/>
                  <a:gd name="connsiteX19" fmla="*/ 152464 w 302822"/>
                  <a:gd name="connsiteY19" fmla="*/ 9715 h 123751"/>
                  <a:gd name="connsiteX20" fmla="*/ 11940 w 302822"/>
                  <a:gd name="connsiteY20" fmla="*/ 63574 h 123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02822" h="123751">
                    <a:moveTo>
                      <a:pt x="61038" y="123751"/>
                    </a:moveTo>
                    <a:cubicBezTo>
                      <a:pt x="59794" y="123751"/>
                      <a:pt x="58574" y="123273"/>
                      <a:pt x="57617" y="122339"/>
                    </a:cubicBezTo>
                    <a:lnTo>
                      <a:pt x="1460" y="66924"/>
                    </a:lnTo>
                    <a:cubicBezTo>
                      <a:pt x="526" y="65991"/>
                      <a:pt x="0" y="64723"/>
                      <a:pt x="0" y="63407"/>
                    </a:cubicBezTo>
                    <a:cubicBezTo>
                      <a:pt x="24" y="62091"/>
                      <a:pt x="574" y="60823"/>
                      <a:pt x="1531" y="59914"/>
                    </a:cubicBezTo>
                    <a:cubicBezTo>
                      <a:pt x="42590" y="21271"/>
                      <a:pt x="96211" y="0"/>
                      <a:pt x="152440" y="0"/>
                    </a:cubicBezTo>
                    <a:cubicBezTo>
                      <a:pt x="207711" y="0"/>
                      <a:pt x="260542" y="20577"/>
                      <a:pt x="301242" y="57927"/>
                    </a:cubicBezTo>
                    <a:cubicBezTo>
                      <a:pt x="302224" y="58813"/>
                      <a:pt x="302774" y="60081"/>
                      <a:pt x="302822" y="61397"/>
                    </a:cubicBezTo>
                    <a:cubicBezTo>
                      <a:pt x="302846" y="62713"/>
                      <a:pt x="302343" y="64005"/>
                      <a:pt x="301410" y="64938"/>
                    </a:cubicBezTo>
                    <a:lnTo>
                      <a:pt x="245971" y="121143"/>
                    </a:lnTo>
                    <a:cubicBezTo>
                      <a:pt x="244152" y="122985"/>
                      <a:pt x="241233" y="123081"/>
                      <a:pt x="239295" y="121382"/>
                    </a:cubicBezTo>
                    <a:cubicBezTo>
                      <a:pt x="215296" y="100231"/>
                      <a:pt x="184454" y="88578"/>
                      <a:pt x="152464" y="88578"/>
                    </a:cubicBezTo>
                    <a:cubicBezTo>
                      <a:pt x="119851" y="88578"/>
                      <a:pt x="88554" y="100638"/>
                      <a:pt x="64316" y="122507"/>
                    </a:cubicBezTo>
                    <a:cubicBezTo>
                      <a:pt x="63383" y="123344"/>
                      <a:pt x="62211" y="123751"/>
                      <a:pt x="61038" y="123751"/>
                    </a:cubicBezTo>
                    <a:close/>
                    <a:moveTo>
                      <a:pt x="11940" y="63574"/>
                    </a:moveTo>
                    <a:lnTo>
                      <a:pt x="61230" y="112218"/>
                    </a:lnTo>
                    <a:cubicBezTo>
                      <a:pt x="86736" y="90636"/>
                      <a:pt x="118966" y="78816"/>
                      <a:pt x="152440" y="78816"/>
                    </a:cubicBezTo>
                    <a:cubicBezTo>
                      <a:pt x="185268" y="78816"/>
                      <a:pt x="216947" y="90229"/>
                      <a:pt x="242214" y="111070"/>
                    </a:cubicBezTo>
                    <a:lnTo>
                      <a:pt x="290906" y="61708"/>
                    </a:lnTo>
                    <a:cubicBezTo>
                      <a:pt x="252551" y="28138"/>
                      <a:pt x="203596" y="9715"/>
                      <a:pt x="152464" y="9715"/>
                    </a:cubicBezTo>
                    <a:cubicBezTo>
                      <a:pt x="100398" y="9738"/>
                      <a:pt x="50702" y="28832"/>
                      <a:pt x="11940" y="63574"/>
                    </a:cubicBezTo>
                    <a:close/>
                  </a:path>
                </a:pathLst>
              </a:custGeom>
              <a:grpFill/>
              <a:ln w="2390" cap="flat">
                <a:noFill/>
                <a:prstDash val="solid"/>
                <a:miter/>
              </a:ln>
            </p:spPr>
            <p:txBody>
              <a:bodyPr rtlCol="0" anchor="ctr"/>
              <a:lstStyle/>
              <a:p>
                <a:endParaRPr lang="en-GB" dirty="0"/>
              </a:p>
            </p:txBody>
          </p:sp>
        </p:grpSp>
      </p:grpSp>
      <p:grpSp>
        <p:nvGrpSpPr>
          <p:cNvPr id="79" name="Group 78">
            <a:extLst>
              <a:ext uri="{FF2B5EF4-FFF2-40B4-BE49-F238E27FC236}">
                <a16:creationId xmlns:a16="http://schemas.microsoft.com/office/drawing/2014/main" id="{5560583B-C696-FABD-41D2-F310B0B11D3A}"/>
              </a:ext>
            </a:extLst>
          </p:cNvPr>
          <p:cNvGrpSpPr/>
          <p:nvPr/>
        </p:nvGrpSpPr>
        <p:grpSpPr>
          <a:xfrm>
            <a:off x="542050" y="4063871"/>
            <a:ext cx="504000" cy="369441"/>
            <a:chOff x="542050" y="4063871"/>
            <a:chExt cx="504000" cy="369441"/>
          </a:xfrm>
        </p:grpSpPr>
        <p:grpSp>
          <p:nvGrpSpPr>
            <p:cNvPr id="268" name="Graphic 8">
              <a:extLst>
                <a:ext uri="{FF2B5EF4-FFF2-40B4-BE49-F238E27FC236}">
                  <a16:creationId xmlns:a16="http://schemas.microsoft.com/office/drawing/2014/main" id="{E25178D6-D2B1-4EC4-8E9F-06F8A90D16C8}"/>
                </a:ext>
              </a:extLst>
            </p:cNvPr>
            <p:cNvGrpSpPr/>
            <p:nvPr/>
          </p:nvGrpSpPr>
          <p:grpSpPr>
            <a:xfrm>
              <a:off x="542050" y="4221457"/>
              <a:ext cx="499517" cy="211855"/>
              <a:chOff x="2569398" y="4327842"/>
              <a:chExt cx="412363" cy="174892"/>
            </a:xfrm>
            <a:solidFill>
              <a:schemeClr val="tx2"/>
            </a:solidFill>
          </p:grpSpPr>
          <p:sp>
            <p:nvSpPr>
              <p:cNvPr id="275" name="Freihandform: Form 313">
                <a:extLst>
                  <a:ext uri="{FF2B5EF4-FFF2-40B4-BE49-F238E27FC236}">
                    <a16:creationId xmlns:a16="http://schemas.microsoft.com/office/drawing/2014/main" id="{C37A8977-00F5-40A1-B1D9-8AB4A28F4122}"/>
                  </a:ext>
                </a:extLst>
              </p:cNvPr>
              <p:cNvSpPr/>
              <p:nvPr/>
            </p:nvSpPr>
            <p:spPr>
              <a:xfrm>
                <a:off x="2570397" y="4396482"/>
                <a:ext cx="411364" cy="106252"/>
              </a:xfrm>
              <a:custGeom>
                <a:avLst/>
                <a:gdLst>
                  <a:gd name="connsiteX0" fmla="*/ 221036 w 411364"/>
                  <a:gd name="connsiteY0" fmla="*/ 106252 h 106252"/>
                  <a:gd name="connsiteX1" fmla="*/ 105720 w 411364"/>
                  <a:gd name="connsiteY1" fmla="*/ 89850 h 106252"/>
                  <a:gd name="connsiteX2" fmla="*/ 7425 w 411364"/>
                  <a:gd name="connsiteY2" fmla="*/ 82291 h 106252"/>
                  <a:gd name="connsiteX3" fmla="*/ 99 w 411364"/>
                  <a:gd name="connsiteY3" fmla="*/ 77011 h 106252"/>
                  <a:gd name="connsiteX4" fmla="*/ 5196 w 411364"/>
                  <a:gd name="connsiteY4" fmla="*/ 69475 h 106252"/>
                  <a:gd name="connsiteX5" fmla="*/ 108840 w 411364"/>
                  <a:gd name="connsiteY5" fmla="*/ 77237 h 106252"/>
                  <a:gd name="connsiteX6" fmla="*/ 397602 w 411364"/>
                  <a:gd name="connsiteY6" fmla="*/ 22161 h 106252"/>
                  <a:gd name="connsiteX7" fmla="*/ 397954 w 411364"/>
                  <a:gd name="connsiteY7" fmla="*/ 17175 h 106252"/>
                  <a:gd name="connsiteX8" fmla="*/ 365387 w 411364"/>
                  <a:gd name="connsiteY8" fmla="*/ 17942 h 106252"/>
                  <a:gd name="connsiteX9" fmla="*/ 345293 w 411364"/>
                  <a:gd name="connsiteY9" fmla="*/ 27441 h 106252"/>
                  <a:gd name="connsiteX10" fmla="*/ 272961 w 411364"/>
                  <a:gd name="connsiteY10" fmla="*/ 45265 h 106252"/>
                  <a:gd name="connsiteX11" fmla="*/ 267093 w 411364"/>
                  <a:gd name="connsiteY11" fmla="*/ 38316 h 106252"/>
                  <a:gd name="connsiteX12" fmla="*/ 273839 w 411364"/>
                  <a:gd name="connsiteY12" fmla="*/ 32269 h 106252"/>
                  <a:gd name="connsiteX13" fmla="*/ 339435 w 411364"/>
                  <a:gd name="connsiteY13" fmla="*/ 15911 h 106252"/>
                  <a:gd name="connsiteX14" fmla="*/ 360938 w 411364"/>
                  <a:gd name="connsiteY14" fmla="*/ 5758 h 106252"/>
                  <a:gd name="connsiteX15" fmla="*/ 408026 w 411364"/>
                  <a:gd name="connsiteY15" fmla="*/ 9301 h 106252"/>
                  <a:gd name="connsiteX16" fmla="*/ 407365 w 411364"/>
                  <a:gd name="connsiteY16" fmla="*/ 30419 h 106252"/>
                  <a:gd name="connsiteX17" fmla="*/ 235284 w 411364"/>
                  <a:gd name="connsiteY17" fmla="*/ 105982 h 106252"/>
                  <a:gd name="connsiteX18" fmla="*/ 221036 w 411364"/>
                  <a:gd name="connsiteY18" fmla="*/ 106252 h 106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11364" h="106252">
                    <a:moveTo>
                      <a:pt x="221036" y="106252"/>
                    </a:moveTo>
                    <a:cubicBezTo>
                      <a:pt x="162770" y="106252"/>
                      <a:pt x="115255" y="92760"/>
                      <a:pt x="105720" y="89850"/>
                    </a:cubicBezTo>
                    <a:cubicBezTo>
                      <a:pt x="43503" y="76041"/>
                      <a:pt x="7777" y="82223"/>
                      <a:pt x="7425" y="82291"/>
                    </a:cubicBezTo>
                    <a:cubicBezTo>
                      <a:pt x="3994" y="82945"/>
                      <a:pt x="711" y="80576"/>
                      <a:pt x="99" y="77011"/>
                    </a:cubicBezTo>
                    <a:cubicBezTo>
                      <a:pt x="-512" y="73492"/>
                      <a:pt x="1767" y="70107"/>
                      <a:pt x="5196" y="69475"/>
                    </a:cubicBezTo>
                    <a:cubicBezTo>
                      <a:pt x="6721" y="69205"/>
                      <a:pt x="43442" y="62684"/>
                      <a:pt x="108840" y="77237"/>
                    </a:cubicBezTo>
                    <a:cubicBezTo>
                      <a:pt x="117184" y="79764"/>
                      <a:pt x="303707" y="134885"/>
                      <a:pt x="397602" y="22161"/>
                    </a:cubicBezTo>
                    <a:cubicBezTo>
                      <a:pt x="399644" y="19454"/>
                      <a:pt x="398367" y="17739"/>
                      <a:pt x="397954" y="17175"/>
                    </a:cubicBezTo>
                    <a:cubicBezTo>
                      <a:pt x="394998" y="13136"/>
                      <a:pt x="383884" y="10045"/>
                      <a:pt x="365387" y="17942"/>
                    </a:cubicBezTo>
                    <a:cubicBezTo>
                      <a:pt x="358381" y="20401"/>
                      <a:pt x="352025" y="23831"/>
                      <a:pt x="345293" y="27441"/>
                    </a:cubicBezTo>
                    <a:cubicBezTo>
                      <a:pt x="327635" y="36962"/>
                      <a:pt x="307629" y="47702"/>
                      <a:pt x="272961" y="45265"/>
                    </a:cubicBezTo>
                    <a:cubicBezTo>
                      <a:pt x="269480" y="45017"/>
                      <a:pt x="266851" y="41904"/>
                      <a:pt x="267093" y="38316"/>
                    </a:cubicBezTo>
                    <a:cubicBezTo>
                      <a:pt x="267339" y="34729"/>
                      <a:pt x="270389" y="32111"/>
                      <a:pt x="273839" y="32269"/>
                    </a:cubicBezTo>
                    <a:cubicBezTo>
                      <a:pt x="304908" y="34526"/>
                      <a:pt x="322470" y="25049"/>
                      <a:pt x="339435" y="15911"/>
                    </a:cubicBezTo>
                    <a:cubicBezTo>
                      <a:pt x="346619" y="12031"/>
                      <a:pt x="353402" y="8375"/>
                      <a:pt x="360938" y="5758"/>
                    </a:cubicBezTo>
                    <a:cubicBezTo>
                      <a:pt x="385822" y="-4891"/>
                      <a:pt x="401911" y="975"/>
                      <a:pt x="408026" y="9301"/>
                    </a:cubicBezTo>
                    <a:cubicBezTo>
                      <a:pt x="412703" y="15663"/>
                      <a:pt x="412450" y="23763"/>
                      <a:pt x="407365" y="30419"/>
                    </a:cubicBezTo>
                    <a:cubicBezTo>
                      <a:pt x="367973" y="77711"/>
                      <a:pt x="310131" y="103071"/>
                      <a:pt x="235284" y="105982"/>
                    </a:cubicBezTo>
                    <a:cubicBezTo>
                      <a:pt x="230478" y="106162"/>
                      <a:pt x="225719" y="106252"/>
                      <a:pt x="221036" y="106252"/>
                    </a:cubicBezTo>
                    <a:close/>
                  </a:path>
                </a:pathLst>
              </a:custGeom>
              <a:grpFill/>
              <a:ln w="225" cap="flat">
                <a:noFill/>
                <a:prstDash val="solid"/>
                <a:miter/>
              </a:ln>
            </p:spPr>
            <p:txBody>
              <a:bodyPr rtlCol="0" anchor="ctr"/>
              <a:lstStyle/>
              <a:p>
                <a:endParaRPr lang="en-GB" dirty="0"/>
              </a:p>
            </p:txBody>
          </p:sp>
          <p:sp>
            <p:nvSpPr>
              <p:cNvPr id="276" name="Freihandform: Form 314">
                <a:extLst>
                  <a:ext uri="{FF2B5EF4-FFF2-40B4-BE49-F238E27FC236}">
                    <a16:creationId xmlns:a16="http://schemas.microsoft.com/office/drawing/2014/main" id="{0230BD90-F68A-4E08-9E56-591AF7A5FA07}"/>
                  </a:ext>
                </a:extLst>
              </p:cNvPr>
              <p:cNvSpPr/>
              <p:nvPr/>
            </p:nvSpPr>
            <p:spPr>
              <a:xfrm>
                <a:off x="2569398" y="4327842"/>
                <a:ext cx="284532" cy="125345"/>
              </a:xfrm>
              <a:custGeom>
                <a:avLst/>
                <a:gdLst>
                  <a:gd name="connsiteX0" fmla="*/ 214086 w 284532"/>
                  <a:gd name="connsiteY0" fmla="*/ 125345 h 125345"/>
                  <a:gd name="connsiteX1" fmla="*/ 140367 w 284532"/>
                  <a:gd name="connsiteY1" fmla="*/ 105716 h 125345"/>
                  <a:gd name="connsiteX2" fmla="*/ 139065 w 284532"/>
                  <a:gd name="connsiteY2" fmla="*/ 96578 h 125345"/>
                  <a:gd name="connsiteX3" fmla="*/ 147909 w 284532"/>
                  <a:gd name="connsiteY3" fmla="*/ 95246 h 125345"/>
                  <a:gd name="connsiteX4" fmla="*/ 253449 w 284532"/>
                  <a:gd name="connsiteY4" fmla="*/ 109371 h 125345"/>
                  <a:gd name="connsiteX5" fmla="*/ 271075 w 284532"/>
                  <a:gd name="connsiteY5" fmla="*/ 99014 h 125345"/>
                  <a:gd name="connsiteX6" fmla="*/ 268755 w 284532"/>
                  <a:gd name="connsiteY6" fmla="*/ 85319 h 125345"/>
                  <a:gd name="connsiteX7" fmla="*/ 264708 w 284532"/>
                  <a:gd name="connsiteY7" fmla="*/ 82815 h 125345"/>
                  <a:gd name="connsiteX8" fmla="*/ 259362 w 284532"/>
                  <a:gd name="connsiteY8" fmla="*/ 83243 h 125345"/>
                  <a:gd name="connsiteX9" fmla="*/ 192432 w 284532"/>
                  <a:gd name="connsiteY9" fmla="*/ 67540 h 125345"/>
                  <a:gd name="connsiteX10" fmla="*/ 80641 w 284532"/>
                  <a:gd name="connsiteY10" fmla="*/ 17541 h 125345"/>
                  <a:gd name="connsiteX11" fmla="*/ 15839 w 284532"/>
                  <a:gd name="connsiteY11" fmla="*/ 32071 h 125345"/>
                  <a:gd name="connsiteX12" fmla="*/ 6482 w 284532"/>
                  <a:gd name="connsiteY12" fmla="*/ 32297 h 125345"/>
                  <a:gd name="connsiteX13" fmla="*/ 2 w 284532"/>
                  <a:gd name="connsiteY13" fmla="*/ 25934 h 125345"/>
                  <a:gd name="connsiteX14" fmla="*/ 6162 w 284532"/>
                  <a:gd name="connsiteY14" fmla="*/ 19255 h 125345"/>
                  <a:gd name="connsiteX15" fmla="*/ 15561 w 284532"/>
                  <a:gd name="connsiteY15" fmla="*/ 19030 h 125345"/>
                  <a:gd name="connsiteX16" fmla="*/ 75097 w 284532"/>
                  <a:gd name="connsiteY16" fmla="*/ 5831 h 125345"/>
                  <a:gd name="connsiteX17" fmla="*/ 202331 w 284532"/>
                  <a:gd name="connsiteY17" fmla="*/ 59417 h 125345"/>
                  <a:gd name="connsiteX18" fmla="*/ 202744 w 284532"/>
                  <a:gd name="connsiteY18" fmla="*/ 59981 h 125345"/>
                  <a:gd name="connsiteX19" fmla="*/ 258250 w 284532"/>
                  <a:gd name="connsiteY19" fmla="*/ 70270 h 125345"/>
                  <a:gd name="connsiteX20" fmla="*/ 263002 w 284532"/>
                  <a:gd name="connsiteY20" fmla="*/ 69909 h 125345"/>
                  <a:gd name="connsiteX21" fmla="*/ 278523 w 284532"/>
                  <a:gd name="connsiteY21" fmla="*/ 77061 h 125345"/>
                  <a:gd name="connsiteX22" fmla="*/ 282837 w 284532"/>
                  <a:gd name="connsiteY22" fmla="*/ 103775 h 125345"/>
                  <a:gd name="connsiteX23" fmla="*/ 255127 w 284532"/>
                  <a:gd name="connsiteY23" fmla="*/ 122299 h 125345"/>
                  <a:gd name="connsiteX24" fmla="*/ 214086 w 284532"/>
                  <a:gd name="connsiteY24" fmla="*/ 125345 h 12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4532" h="125345">
                    <a:moveTo>
                      <a:pt x="214086" y="125345"/>
                    </a:moveTo>
                    <a:cubicBezTo>
                      <a:pt x="182135" y="125345"/>
                      <a:pt x="157431" y="118780"/>
                      <a:pt x="140367" y="105716"/>
                    </a:cubicBezTo>
                    <a:cubicBezTo>
                      <a:pt x="137564" y="103572"/>
                      <a:pt x="136985" y="99466"/>
                      <a:pt x="139065" y="96578"/>
                    </a:cubicBezTo>
                    <a:cubicBezTo>
                      <a:pt x="141152" y="93712"/>
                      <a:pt x="145100" y="93103"/>
                      <a:pt x="147909" y="95246"/>
                    </a:cubicBezTo>
                    <a:cubicBezTo>
                      <a:pt x="168658" y="111131"/>
                      <a:pt x="205176" y="116027"/>
                      <a:pt x="253449" y="109371"/>
                    </a:cubicBezTo>
                    <a:cubicBezTo>
                      <a:pt x="262885" y="108085"/>
                      <a:pt x="268983" y="104497"/>
                      <a:pt x="271075" y="99014"/>
                    </a:cubicBezTo>
                    <a:cubicBezTo>
                      <a:pt x="272988" y="94006"/>
                      <a:pt x="271217" y="88410"/>
                      <a:pt x="268755" y="85319"/>
                    </a:cubicBezTo>
                    <a:cubicBezTo>
                      <a:pt x="267379" y="83582"/>
                      <a:pt x="265712" y="82589"/>
                      <a:pt x="264708" y="82815"/>
                    </a:cubicBezTo>
                    <a:cubicBezTo>
                      <a:pt x="263573" y="83018"/>
                      <a:pt x="262275" y="82973"/>
                      <a:pt x="259362" y="83243"/>
                    </a:cubicBezTo>
                    <a:cubicBezTo>
                      <a:pt x="243366" y="84687"/>
                      <a:pt x="206108" y="88072"/>
                      <a:pt x="192432" y="67540"/>
                    </a:cubicBezTo>
                    <a:cubicBezTo>
                      <a:pt x="132858" y="-5699"/>
                      <a:pt x="85812" y="14946"/>
                      <a:pt x="80641" y="17541"/>
                    </a:cubicBezTo>
                    <a:cubicBezTo>
                      <a:pt x="53424" y="31214"/>
                      <a:pt x="46210" y="31394"/>
                      <a:pt x="15839" y="32071"/>
                    </a:cubicBezTo>
                    <a:lnTo>
                      <a:pt x="6482" y="32297"/>
                    </a:lnTo>
                    <a:cubicBezTo>
                      <a:pt x="2779" y="32387"/>
                      <a:pt x="94" y="29521"/>
                      <a:pt x="2" y="25934"/>
                    </a:cubicBezTo>
                    <a:cubicBezTo>
                      <a:pt x="-84" y="22346"/>
                      <a:pt x="2673" y="19346"/>
                      <a:pt x="6162" y="19255"/>
                    </a:cubicBezTo>
                    <a:lnTo>
                      <a:pt x="15561" y="19030"/>
                    </a:lnTo>
                    <a:cubicBezTo>
                      <a:pt x="45062" y="18376"/>
                      <a:pt x="50375" y="18263"/>
                      <a:pt x="75097" y="5831"/>
                    </a:cubicBezTo>
                    <a:cubicBezTo>
                      <a:pt x="81194" y="2762"/>
                      <a:pt x="136479" y="-21718"/>
                      <a:pt x="202331" y="59417"/>
                    </a:cubicBezTo>
                    <a:cubicBezTo>
                      <a:pt x="202480" y="59597"/>
                      <a:pt x="202622" y="59801"/>
                      <a:pt x="202744" y="59981"/>
                    </a:cubicBezTo>
                    <a:cubicBezTo>
                      <a:pt x="212087" y="74444"/>
                      <a:pt x="246833" y="71308"/>
                      <a:pt x="258250" y="70270"/>
                    </a:cubicBezTo>
                    <a:cubicBezTo>
                      <a:pt x="260324" y="70067"/>
                      <a:pt x="261946" y="69954"/>
                      <a:pt x="263002" y="69909"/>
                    </a:cubicBezTo>
                    <a:cubicBezTo>
                      <a:pt x="268636" y="69051"/>
                      <a:pt x="274240" y="71668"/>
                      <a:pt x="278523" y="77061"/>
                    </a:cubicBezTo>
                    <a:cubicBezTo>
                      <a:pt x="284491" y="84552"/>
                      <a:pt x="286183" y="95044"/>
                      <a:pt x="282837" y="103775"/>
                    </a:cubicBezTo>
                    <a:cubicBezTo>
                      <a:pt x="280621" y="109574"/>
                      <a:pt x="274080" y="119682"/>
                      <a:pt x="255127" y="122299"/>
                    </a:cubicBezTo>
                    <a:cubicBezTo>
                      <a:pt x="240337" y="124330"/>
                      <a:pt x="226651" y="125345"/>
                      <a:pt x="214086" y="125345"/>
                    </a:cubicBezTo>
                    <a:close/>
                  </a:path>
                </a:pathLst>
              </a:custGeom>
              <a:grpFill/>
              <a:ln w="225" cap="flat">
                <a:noFill/>
                <a:prstDash val="solid"/>
                <a:miter/>
              </a:ln>
            </p:spPr>
            <p:txBody>
              <a:bodyPr rtlCol="0" anchor="ctr"/>
              <a:lstStyle/>
              <a:p>
                <a:endParaRPr lang="en-GB" dirty="0"/>
              </a:p>
            </p:txBody>
          </p:sp>
          <p:sp>
            <p:nvSpPr>
              <p:cNvPr id="277" name="Freihandform: Form 315">
                <a:extLst>
                  <a:ext uri="{FF2B5EF4-FFF2-40B4-BE49-F238E27FC236}">
                    <a16:creationId xmlns:a16="http://schemas.microsoft.com/office/drawing/2014/main" id="{378C8902-88BD-44E9-80CC-D3680FD90F69}"/>
                  </a:ext>
                </a:extLst>
              </p:cNvPr>
              <p:cNvSpPr/>
              <p:nvPr/>
            </p:nvSpPr>
            <p:spPr>
              <a:xfrm>
                <a:off x="2841334" y="4377179"/>
                <a:ext cx="111690" cy="46812"/>
              </a:xfrm>
              <a:custGeom>
                <a:avLst/>
                <a:gdLst>
                  <a:gd name="connsiteX0" fmla="*/ 6328 w 111690"/>
                  <a:gd name="connsiteY0" fmla="*/ 46812 h 46812"/>
                  <a:gd name="connsiteX1" fmla="*/ 538 w 111690"/>
                  <a:gd name="connsiteY1" fmla="*/ 42909 h 46812"/>
                  <a:gd name="connsiteX2" fmla="*/ 3778 w 111690"/>
                  <a:gd name="connsiteY2" fmla="*/ 34335 h 46812"/>
                  <a:gd name="connsiteX3" fmla="*/ 70949 w 111690"/>
                  <a:gd name="connsiteY3" fmla="*/ 3875 h 46812"/>
                  <a:gd name="connsiteX4" fmla="*/ 99308 w 111690"/>
                  <a:gd name="connsiteY4" fmla="*/ 2048 h 46812"/>
                  <a:gd name="connsiteX5" fmla="*/ 110294 w 111690"/>
                  <a:gd name="connsiteY5" fmla="*/ 12607 h 46812"/>
                  <a:gd name="connsiteX6" fmla="*/ 109541 w 111690"/>
                  <a:gd name="connsiteY6" fmla="*/ 29439 h 46812"/>
                  <a:gd name="connsiteX7" fmla="*/ 101154 w 111690"/>
                  <a:gd name="connsiteY7" fmla="*/ 32598 h 46812"/>
                  <a:gd name="connsiteX8" fmla="*/ 98074 w 111690"/>
                  <a:gd name="connsiteY8" fmla="*/ 23956 h 46812"/>
                  <a:gd name="connsiteX9" fmla="*/ 98654 w 111690"/>
                  <a:gd name="connsiteY9" fmla="*/ 17684 h 46812"/>
                  <a:gd name="connsiteX10" fmla="*/ 94631 w 111690"/>
                  <a:gd name="connsiteY10" fmla="*/ 14141 h 46812"/>
                  <a:gd name="connsiteX11" fmla="*/ 76024 w 111690"/>
                  <a:gd name="connsiteY11" fmla="*/ 15788 h 46812"/>
                  <a:gd name="connsiteX12" fmla="*/ 8864 w 111690"/>
                  <a:gd name="connsiteY12" fmla="*/ 46248 h 46812"/>
                  <a:gd name="connsiteX13" fmla="*/ 6328 w 111690"/>
                  <a:gd name="connsiteY13" fmla="*/ 46812 h 46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690" h="46812">
                    <a:moveTo>
                      <a:pt x="6328" y="46812"/>
                    </a:moveTo>
                    <a:cubicBezTo>
                      <a:pt x="3895" y="46812"/>
                      <a:pt x="1576" y="45368"/>
                      <a:pt x="538" y="42909"/>
                    </a:cubicBezTo>
                    <a:cubicBezTo>
                      <a:pt x="-870" y="39637"/>
                      <a:pt x="581" y="35779"/>
                      <a:pt x="3778" y="34335"/>
                    </a:cubicBezTo>
                    <a:lnTo>
                      <a:pt x="70949" y="3875"/>
                    </a:lnTo>
                    <a:cubicBezTo>
                      <a:pt x="80755" y="-547"/>
                      <a:pt x="91353" y="-1224"/>
                      <a:pt x="99308" y="2048"/>
                    </a:cubicBezTo>
                    <a:cubicBezTo>
                      <a:pt x="104523" y="4169"/>
                      <a:pt x="108324" y="7824"/>
                      <a:pt x="110294" y="12607"/>
                    </a:cubicBezTo>
                    <a:cubicBezTo>
                      <a:pt x="112386" y="17706"/>
                      <a:pt x="112122" y="23685"/>
                      <a:pt x="109541" y="29439"/>
                    </a:cubicBezTo>
                    <a:cubicBezTo>
                      <a:pt x="108090" y="32688"/>
                      <a:pt x="104345" y="34154"/>
                      <a:pt x="101154" y="32598"/>
                    </a:cubicBezTo>
                    <a:cubicBezTo>
                      <a:pt x="97989" y="31108"/>
                      <a:pt x="96606" y="27228"/>
                      <a:pt x="98074" y="23956"/>
                    </a:cubicBezTo>
                    <a:cubicBezTo>
                      <a:pt x="98821" y="22287"/>
                      <a:pt x="99536" y="19827"/>
                      <a:pt x="98654" y="17684"/>
                    </a:cubicBezTo>
                    <a:cubicBezTo>
                      <a:pt x="98031" y="16172"/>
                      <a:pt x="96673" y="14976"/>
                      <a:pt x="94631" y="14141"/>
                    </a:cubicBezTo>
                    <a:cubicBezTo>
                      <a:pt x="89812" y="12178"/>
                      <a:pt x="82682" y="12810"/>
                      <a:pt x="76024" y="15788"/>
                    </a:cubicBezTo>
                    <a:lnTo>
                      <a:pt x="8864" y="46248"/>
                    </a:lnTo>
                    <a:cubicBezTo>
                      <a:pt x="8035" y="46632"/>
                      <a:pt x="7174" y="46812"/>
                      <a:pt x="6328" y="46812"/>
                    </a:cubicBezTo>
                    <a:close/>
                  </a:path>
                </a:pathLst>
              </a:custGeom>
              <a:grpFill/>
              <a:ln w="225" cap="flat">
                <a:noFill/>
                <a:prstDash val="solid"/>
                <a:miter/>
              </a:ln>
            </p:spPr>
            <p:txBody>
              <a:bodyPr rtlCol="0" anchor="ctr"/>
              <a:lstStyle/>
              <a:p>
                <a:endParaRPr lang="en-GB" dirty="0"/>
              </a:p>
            </p:txBody>
          </p:sp>
          <p:sp>
            <p:nvSpPr>
              <p:cNvPr id="278" name="Freihandform: Form 316">
                <a:extLst>
                  <a:ext uri="{FF2B5EF4-FFF2-40B4-BE49-F238E27FC236}">
                    <a16:creationId xmlns:a16="http://schemas.microsoft.com/office/drawing/2014/main" id="{275F33DA-728A-492B-95B2-AC2335AD2657}"/>
                  </a:ext>
                </a:extLst>
              </p:cNvPr>
              <p:cNvSpPr/>
              <p:nvPr/>
            </p:nvSpPr>
            <p:spPr>
              <a:xfrm>
                <a:off x="2794311" y="4372754"/>
                <a:ext cx="91674" cy="38285"/>
              </a:xfrm>
              <a:custGeom>
                <a:avLst/>
                <a:gdLst>
                  <a:gd name="connsiteX0" fmla="*/ 80665 w 91674"/>
                  <a:gd name="connsiteY0" fmla="*/ 38285 h 38285"/>
                  <a:gd name="connsiteX1" fmla="*/ 76710 w 91674"/>
                  <a:gd name="connsiteY1" fmla="*/ 36841 h 38285"/>
                  <a:gd name="connsiteX2" fmla="*/ 75747 w 91674"/>
                  <a:gd name="connsiteY2" fmla="*/ 27681 h 38285"/>
                  <a:gd name="connsiteX3" fmla="*/ 78616 w 91674"/>
                  <a:gd name="connsiteY3" fmla="*/ 17708 h 38285"/>
                  <a:gd name="connsiteX4" fmla="*/ 74605 w 91674"/>
                  <a:gd name="connsiteY4" fmla="*/ 14143 h 38285"/>
                  <a:gd name="connsiteX5" fmla="*/ 55973 w 91674"/>
                  <a:gd name="connsiteY5" fmla="*/ 15790 h 38285"/>
                  <a:gd name="connsiteX6" fmla="*/ 8846 w 91674"/>
                  <a:gd name="connsiteY6" fmla="*/ 36954 h 38285"/>
                  <a:gd name="connsiteX7" fmla="*/ 527 w 91674"/>
                  <a:gd name="connsiteY7" fmla="*/ 33592 h 38285"/>
                  <a:gd name="connsiteX8" fmla="*/ 3799 w 91674"/>
                  <a:gd name="connsiteY8" fmla="*/ 24996 h 38285"/>
                  <a:gd name="connsiteX9" fmla="*/ 50925 w 91674"/>
                  <a:gd name="connsiteY9" fmla="*/ 3854 h 38285"/>
                  <a:gd name="connsiteX10" fmla="*/ 79284 w 91674"/>
                  <a:gd name="connsiteY10" fmla="*/ 2049 h 38285"/>
                  <a:gd name="connsiteX11" fmla="*/ 90257 w 91674"/>
                  <a:gd name="connsiteY11" fmla="*/ 12609 h 38285"/>
                  <a:gd name="connsiteX12" fmla="*/ 85597 w 91674"/>
                  <a:gd name="connsiteY12" fmla="*/ 35848 h 38285"/>
                  <a:gd name="connsiteX13" fmla="*/ 80665 w 91674"/>
                  <a:gd name="connsiteY13" fmla="*/ 38285 h 3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1674" h="38285">
                    <a:moveTo>
                      <a:pt x="80665" y="38285"/>
                    </a:moveTo>
                    <a:cubicBezTo>
                      <a:pt x="79277" y="38285"/>
                      <a:pt x="77876" y="37811"/>
                      <a:pt x="76710" y="36841"/>
                    </a:cubicBezTo>
                    <a:cubicBezTo>
                      <a:pt x="73993" y="34585"/>
                      <a:pt x="73563" y="30501"/>
                      <a:pt x="75747" y="27681"/>
                    </a:cubicBezTo>
                    <a:cubicBezTo>
                      <a:pt x="78610" y="24026"/>
                      <a:pt x="79677" y="20280"/>
                      <a:pt x="78616" y="17708"/>
                    </a:cubicBezTo>
                    <a:cubicBezTo>
                      <a:pt x="77994" y="16174"/>
                      <a:pt x="76642" y="14978"/>
                      <a:pt x="74605" y="14143"/>
                    </a:cubicBezTo>
                    <a:cubicBezTo>
                      <a:pt x="69786" y="12158"/>
                      <a:pt x="62651" y="12789"/>
                      <a:pt x="55973" y="15790"/>
                    </a:cubicBezTo>
                    <a:lnTo>
                      <a:pt x="8846" y="36954"/>
                    </a:lnTo>
                    <a:cubicBezTo>
                      <a:pt x="5637" y="38398"/>
                      <a:pt x="1915" y="36886"/>
                      <a:pt x="527" y="33592"/>
                    </a:cubicBezTo>
                    <a:cubicBezTo>
                      <a:pt x="-867" y="30275"/>
                      <a:pt x="602" y="26440"/>
                      <a:pt x="3799" y="24996"/>
                    </a:cubicBezTo>
                    <a:lnTo>
                      <a:pt x="50925" y="3854"/>
                    </a:lnTo>
                    <a:cubicBezTo>
                      <a:pt x="60731" y="-545"/>
                      <a:pt x="71322" y="-1222"/>
                      <a:pt x="79284" y="2049"/>
                    </a:cubicBezTo>
                    <a:cubicBezTo>
                      <a:pt x="84499" y="4193"/>
                      <a:pt x="88296" y="7848"/>
                      <a:pt x="90257" y="12609"/>
                    </a:cubicBezTo>
                    <a:cubicBezTo>
                      <a:pt x="93206" y="19806"/>
                      <a:pt x="91509" y="28267"/>
                      <a:pt x="85597" y="35848"/>
                    </a:cubicBezTo>
                    <a:cubicBezTo>
                      <a:pt x="84350" y="37450"/>
                      <a:pt x="82518" y="38285"/>
                      <a:pt x="80665" y="38285"/>
                    </a:cubicBezTo>
                    <a:close/>
                  </a:path>
                </a:pathLst>
              </a:custGeom>
              <a:grpFill/>
              <a:ln w="225" cap="flat">
                <a:noFill/>
                <a:prstDash val="solid"/>
                <a:miter/>
              </a:ln>
            </p:spPr>
            <p:txBody>
              <a:bodyPr rtlCol="0" anchor="ctr"/>
              <a:lstStyle/>
              <a:p>
                <a:endParaRPr lang="en-GB" dirty="0"/>
              </a:p>
            </p:txBody>
          </p:sp>
        </p:grpSp>
        <p:grpSp>
          <p:nvGrpSpPr>
            <p:cNvPr id="269" name="Graphic 8">
              <a:extLst>
                <a:ext uri="{FF2B5EF4-FFF2-40B4-BE49-F238E27FC236}">
                  <a16:creationId xmlns:a16="http://schemas.microsoft.com/office/drawing/2014/main" id="{138B2CCA-A08A-46AF-965D-145DB913BEA1}"/>
                </a:ext>
              </a:extLst>
            </p:cNvPr>
            <p:cNvGrpSpPr/>
            <p:nvPr/>
          </p:nvGrpSpPr>
          <p:grpSpPr>
            <a:xfrm>
              <a:off x="768195" y="4063871"/>
              <a:ext cx="277855" cy="193374"/>
              <a:chOff x="2756086" y="4197751"/>
              <a:chExt cx="229376" cy="159635"/>
            </a:xfrm>
            <a:solidFill>
              <a:schemeClr val="accent1"/>
            </a:solidFill>
          </p:grpSpPr>
          <p:sp>
            <p:nvSpPr>
              <p:cNvPr id="270" name="Freihandform: Form 318">
                <a:extLst>
                  <a:ext uri="{FF2B5EF4-FFF2-40B4-BE49-F238E27FC236}">
                    <a16:creationId xmlns:a16="http://schemas.microsoft.com/office/drawing/2014/main" id="{367780E7-793A-4E42-B1D4-79447EF4721A}"/>
                  </a:ext>
                </a:extLst>
              </p:cNvPr>
              <p:cNvSpPr/>
              <p:nvPr/>
            </p:nvSpPr>
            <p:spPr>
              <a:xfrm>
                <a:off x="2762858" y="4197751"/>
                <a:ext cx="215832" cy="138696"/>
              </a:xfrm>
              <a:custGeom>
                <a:avLst/>
                <a:gdLst>
                  <a:gd name="connsiteX0" fmla="*/ 6319 w 215832"/>
                  <a:gd name="connsiteY0" fmla="*/ 138697 h 138696"/>
                  <a:gd name="connsiteX1" fmla="*/ 1851 w 215832"/>
                  <a:gd name="connsiteY1" fmla="*/ 136779 h 138696"/>
                  <a:gd name="connsiteX2" fmla="*/ 1851 w 215832"/>
                  <a:gd name="connsiteY2" fmla="*/ 127573 h 138696"/>
                  <a:gd name="connsiteX3" fmla="*/ 76353 w 215832"/>
                  <a:gd name="connsiteY3" fmla="*/ 50770 h 138696"/>
                  <a:gd name="connsiteX4" fmla="*/ 85017 w 215832"/>
                  <a:gd name="connsiteY4" fmla="*/ 50522 h 138696"/>
                  <a:gd name="connsiteX5" fmla="*/ 140549 w 215832"/>
                  <a:gd name="connsiteY5" fmla="*/ 101401 h 138696"/>
                  <a:gd name="connsiteX6" fmla="*/ 204252 w 215832"/>
                  <a:gd name="connsiteY6" fmla="*/ 2892 h 138696"/>
                  <a:gd name="connsiteX7" fmla="*/ 213016 w 215832"/>
                  <a:gd name="connsiteY7" fmla="*/ 1087 h 138696"/>
                  <a:gd name="connsiteX8" fmla="*/ 214769 w 215832"/>
                  <a:gd name="connsiteY8" fmla="*/ 10134 h 138696"/>
                  <a:gd name="connsiteX9" fmla="*/ 147035 w 215832"/>
                  <a:gd name="connsiteY9" fmla="*/ 114848 h 138696"/>
                  <a:gd name="connsiteX10" fmla="*/ 142586 w 215832"/>
                  <a:gd name="connsiteY10" fmla="*/ 117691 h 138696"/>
                  <a:gd name="connsiteX11" fmla="*/ 137582 w 215832"/>
                  <a:gd name="connsiteY11" fmla="*/ 116111 h 138696"/>
                  <a:gd name="connsiteX12" fmla="*/ 81076 w 215832"/>
                  <a:gd name="connsiteY12" fmla="*/ 64330 h 138696"/>
                  <a:gd name="connsiteX13" fmla="*/ 10789 w 215832"/>
                  <a:gd name="connsiteY13" fmla="*/ 136779 h 138696"/>
                  <a:gd name="connsiteX14" fmla="*/ 6319 w 215832"/>
                  <a:gd name="connsiteY14" fmla="*/ 138697 h 138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5832" h="138696">
                    <a:moveTo>
                      <a:pt x="6319" y="138697"/>
                    </a:moveTo>
                    <a:cubicBezTo>
                      <a:pt x="4701" y="138697"/>
                      <a:pt x="3085" y="138065"/>
                      <a:pt x="1851" y="136779"/>
                    </a:cubicBezTo>
                    <a:cubicBezTo>
                      <a:pt x="-617" y="134252"/>
                      <a:pt x="-617" y="130123"/>
                      <a:pt x="1851" y="127573"/>
                    </a:cubicBezTo>
                    <a:lnTo>
                      <a:pt x="76353" y="50770"/>
                    </a:lnTo>
                    <a:cubicBezTo>
                      <a:pt x="78723" y="48356"/>
                      <a:pt x="82531" y="48220"/>
                      <a:pt x="85017" y="50522"/>
                    </a:cubicBezTo>
                    <a:lnTo>
                      <a:pt x="140549" y="101401"/>
                    </a:lnTo>
                    <a:lnTo>
                      <a:pt x="204252" y="2892"/>
                    </a:lnTo>
                    <a:cubicBezTo>
                      <a:pt x="206177" y="-86"/>
                      <a:pt x="210103" y="-899"/>
                      <a:pt x="213016" y="1087"/>
                    </a:cubicBezTo>
                    <a:cubicBezTo>
                      <a:pt x="215922" y="3095"/>
                      <a:pt x="216707" y="7134"/>
                      <a:pt x="214769" y="10134"/>
                    </a:cubicBezTo>
                    <a:lnTo>
                      <a:pt x="147035" y="114848"/>
                    </a:lnTo>
                    <a:cubicBezTo>
                      <a:pt x="146023" y="116427"/>
                      <a:pt x="144400" y="117465"/>
                      <a:pt x="142586" y="117691"/>
                    </a:cubicBezTo>
                    <a:cubicBezTo>
                      <a:pt x="140741" y="117894"/>
                      <a:pt x="138938" y="117352"/>
                      <a:pt x="137582" y="116111"/>
                    </a:cubicBezTo>
                    <a:lnTo>
                      <a:pt x="81076" y="64330"/>
                    </a:lnTo>
                    <a:lnTo>
                      <a:pt x="10789" y="136779"/>
                    </a:lnTo>
                    <a:cubicBezTo>
                      <a:pt x="9552" y="138065"/>
                      <a:pt x="7936" y="138697"/>
                      <a:pt x="6319" y="138697"/>
                    </a:cubicBezTo>
                    <a:close/>
                  </a:path>
                </a:pathLst>
              </a:custGeom>
              <a:solidFill>
                <a:schemeClr val="accent1"/>
              </a:solidFill>
              <a:ln w="225" cap="flat">
                <a:noFill/>
                <a:prstDash val="solid"/>
                <a:miter/>
              </a:ln>
            </p:spPr>
            <p:txBody>
              <a:bodyPr rtlCol="0" anchor="ctr"/>
              <a:lstStyle/>
              <a:p>
                <a:endParaRPr lang="en-GB" dirty="0"/>
              </a:p>
            </p:txBody>
          </p:sp>
          <p:sp>
            <p:nvSpPr>
              <p:cNvPr id="271" name="Freihandform: Form 319">
                <a:extLst>
                  <a:ext uri="{FF2B5EF4-FFF2-40B4-BE49-F238E27FC236}">
                    <a16:creationId xmlns:a16="http://schemas.microsoft.com/office/drawing/2014/main" id="{FDE2741D-3993-4D0C-9190-2EF3E27789E0}"/>
                  </a:ext>
                </a:extLst>
              </p:cNvPr>
              <p:cNvSpPr/>
              <p:nvPr/>
            </p:nvSpPr>
            <p:spPr>
              <a:xfrm>
                <a:off x="2756086" y="4218693"/>
                <a:ext cx="46503" cy="54917"/>
              </a:xfrm>
              <a:custGeom>
                <a:avLst/>
                <a:gdLst>
                  <a:gd name="connsiteX0" fmla="*/ 23249 w 46503"/>
                  <a:gd name="connsiteY0" fmla="*/ 54917 h 54917"/>
                  <a:gd name="connsiteX1" fmla="*/ 0 w 46503"/>
                  <a:gd name="connsiteY1" fmla="*/ 27459 h 54917"/>
                  <a:gd name="connsiteX2" fmla="*/ 23249 w 46503"/>
                  <a:gd name="connsiteY2" fmla="*/ 0 h 54917"/>
                  <a:gd name="connsiteX3" fmla="*/ 46504 w 46503"/>
                  <a:gd name="connsiteY3" fmla="*/ 27459 h 54917"/>
                  <a:gd name="connsiteX4" fmla="*/ 23249 w 46503"/>
                  <a:gd name="connsiteY4" fmla="*/ 54917 h 54917"/>
                  <a:gd name="connsiteX5" fmla="*/ 23249 w 46503"/>
                  <a:gd name="connsiteY5" fmla="*/ 13041 h 54917"/>
                  <a:gd name="connsiteX6" fmla="*/ 12640 w 46503"/>
                  <a:gd name="connsiteY6" fmla="*/ 27459 h 54917"/>
                  <a:gd name="connsiteX7" fmla="*/ 23249 w 46503"/>
                  <a:gd name="connsiteY7" fmla="*/ 41899 h 54917"/>
                  <a:gd name="connsiteX8" fmla="*/ 33864 w 46503"/>
                  <a:gd name="connsiteY8" fmla="*/ 27459 h 54917"/>
                  <a:gd name="connsiteX9" fmla="*/ 23249 w 46503"/>
                  <a:gd name="connsiteY9" fmla="*/ 13041 h 5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503" h="54917">
                    <a:moveTo>
                      <a:pt x="23249" y="54917"/>
                    </a:moveTo>
                    <a:cubicBezTo>
                      <a:pt x="10431" y="54917"/>
                      <a:pt x="0" y="42598"/>
                      <a:pt x="0" y="27459"/>
                    </a:cubicBezTo>
                    <a:cubicBezTo>
                      <a:pt x="0" y="12319"/>
                      <a:pt x="10431" y="0"/>
                      <a:pt x="23249" y="0"/>
                    </a:cubicBezTo>
                    <a:cubicBezTo>
                      <a:pt x="36073" y="0"/>
                      <a:pt x="46504" y="12319"/>
                      <a:pt x="46504" y="27459"/>
                    </a:cubicBezTo>
                    <a:cubicBezTo>
                      <a:pt x="46504" y="42598"/>
                      <a:pt x="36073" y="54917"/>
                      <a:pt x="23249" y="54917"/>
                    </a:cubicBezTo>
                    <a:close/>
                    <a:moveTo>
                      <a:pt x="23249" y="13041"/>
                    </a:moveTo>
                    <a:cubicBezTo>
                      <a:pt x="17497" y="13041"/>
                      <a:pt x="12640" y="19630"/>
                      <a:pt x="12640" y="27459"/>
                    </a:cubicBezTo>
                    <a:cubicBezTo>
                      <a:pt x="12640" y="35288"/>
                      <a:pt x="17497" y="41899"/>
                      <a:pt x="23249" y="41899"/>
                    </a:cubicBezTo>
                    <a:cubicBezTo>
                      <a:pt x="29000" y="41899"/>
                      <a:pt x="33864" y="35288"/>
                      <a:pt x="33864" y="27459"/>
                    </a:cubicBezTo>
                    <a:cubicBezTo>
                      <a:pt x="33864" y="19630"/>
                      <a:pt x="29002" y="13041"/>
                      <a:pt x="23249" y="13041"/>
                    </a:cubicBezTo>
                    <a:close/>
                  </a:path>
                </a:pathLst>
              </a:custGeom>
              <a:solidFill>
                <a:schemeClr val="accent1"/>
              </a:solidFill>
              <a:ln w="225" cap="flat">
                <a:noFill/>
                <a:prstDash val="solid"/>
                <a:miter/>
              </a:ln>
            </p:spPr>
            <p:txBody>
              <a:bodyPr rtlCol="0" anchor="ctr"/>
              <a:lstStyle/>
              <a:p>
                <a:endParaRPr lang="en-GB" dirty="0"/>
              </a:p>
            </p:txBody>
          </p:sp>
          <p:sp>
            <p:nvSpPr>
              <p:cNvPr id="272" name="Freihandform: Form 320">
                <a:extLst>
                  <a:ext uri="{FF2B5EF4-FFF2-40B4-BE49-F238E27FC236}">
                    <a16:creationId xmlns:a16="http://schemas.microsoft.com/office/drawing/2014/main" id="{76110121-9177-4907-8001-87C7918708C5}"/>
                  </a:ext>
                </a:extLst>
              </p:cNvPr>
              <p:cNvSpPr/>
              <p:nvPr/>
            </p:nvSpPr>
            <p:spPr>
              <a:xfrm>
                <a:off x="2817044" y="4302468"/>
                <a:ext cx="46503" cy="54917"/>
              </a:xfrm>
              <a:custGeom>
                <a:avLst/>
                <a:gdLst>
                  <a:gd name="connsiteX0" fmla="*/ 23255 w 46503"/>
                  <a:gd name="connsiteY0" fmla="*/ 54918 h 54917"/>
                  <a:gd name="connsiteX1" fmla="*/ 0 w 46503"/>
                  <a:gd name="connsiteY1" fmla="*/ 27459 h 54917"/>
                  <a:gd name="connsiteX2" fmla="*/ 23255 w 46503"/>
                  <a:gd name="connsiteY2" fmla="*/ 0 h 54917"/>
                  <a:gd name="connsiteX3" fmla="*/ 46504 w 46503"/>
                  <a:gd name="connsiteY3" fmla="*/ 27459 h 54917"/>
                  <a:gd name="connsiteX4" fmla="*/ 23255 w 46503"/>
                  <a:gd name="connsiteY4" fmla="*/ 54918 h 54917"/>
                  <a:gd name="connsiteX5" fmla="*/ 23255 w 46503"/>
                  <a:gd name="connsiteY5" fmla="*/ 13041 h 54917"/>
                  <a:gd name="connsiteX6" fmla="*/ 12640 w 46503"/>
                  <a:gd name="connsiteY6" fmla="*/ 27459 h 54917"/>
                  <a:gd name="connsiteX7" fmla="*/ 23255 w 46503"/>
                  <a:gd name="connsiteY7" fmla="*/ 41899 h 54917"/>
                  <a:gd name="connsiteX8" fmla="*/ 33864 w 46503"/>
                  <a:gd name="connsiteY8" fmla="*/ 27459 h 54917"/>
                  <a:gd name="connsiteX9" fmla="*/ 23255 w 46503"/>
                  <a:gd name="connsiteY9" fmla="*/ 13041 h 54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503" h="54917">
                    <a:moveTo>
                      <a:pt x="23255" y="54918"/>
                    </a:moveTo>
                    <a:cubicBezTo>
                      <a:pt x="10431" y="54918"/>
                      <a:pt x="0" y="42598"/>
                      <a:pt x="0" y="27459"/>
                    </a:cubicBezTo>
                    <a:cubicBezTo>
                      <a:pt x="0" y="12319"/>
                      <a:pt x="10431" y="0"/>
                      <a:pt x="23255" y="0"/>
                    </a:cubicBezTo>
                    <a:cubicBezTo>
                      <a:pt x="36073" y="0"/>
                      <a:pt x="46504" y="12319"/>
                      <a:pt x="46504" y="27459"/>
                    </a:cubicBezTo>
                    <a:cubicBezTo>
                      <a:pt x="46502" y="42598"/>
                      <a:pt x="36073" y="54918"/>
                      <a:pt x="23255" y="54918"/>
                    </a:cubicBezTo>
                    <a:close/>
                    <a:moveTo>
                      <a:pt x="23255" y="13041"/>
                    </a:moveTo>
                    <a:cubicBezTo>
                      <a:pt x="17504" y="13041"/>
                      <a:pt x="12640" y="19652"/>
                      <a:pt x="12640" y="27459"/>
                    </a:cubicBezTo>
                    <a:cubicBezTo>
                      <a:pt x="12640" y="35288"/>
                      <a:pt x="17502" y="41899"/>
                      <a:pt x="23255" y="41899"/>
                    </a:cubicBezTo>
                    <a:cubicBezTo>
                      <a:pt x="29009" y="41899"/>
                      <a:pt x="33864" y="35288"/>
                      <a:pt x="33864" y="27459"/>
                    </a:cubicBezTo>
                    <a:cubicBezTo>
                      <a:pt x="33864" y="19652"/>
                      <a:pt x="29007" y="13041"/>
                      <a:pt x="23255" y="13041"/>
                    </a:cubicBezTo>
                    <a:close/>
                  </a:path>
                </a:pathLst>
              </a:custGeom>
              <a:solidFill>
                <a:schemeClr val="accent1"/>
              </a:solidFill>
              <a:ln w="225" cap="flat">
                <a:noFill/>
                <a:prstDash val="solid"/>
                <a:miter/>
              </a:ln>
            </p:spPr>
            <p:txBody>
              <a:bodyPr rtlCol="0" anchor="ctr"/>
              <a:lstStyle/>
              <a:p>
                <a:endParaRPr lang="en-GB" dirty="0"/>
              </a:p>
            </p:txBody>
          </p:sp>
          <p:sp>
            <p:nvSpPr>
              <p:cNvPr id="273" name="Freihandform: Form 321">
                <a:extLst>
                  <a:ext uri="{FF2B5EF4-FFF2-40B4-BE49-F238E27FC236}">
                    <a16:creationId xmlns:a16="http://schemas.microsoft.com/office/drawing/2014/main" id="{5B0DDBD3-B433-461A-9B19-BB8E8A249B72}"/>
                  </a:ext>
                </a:extLst>
              </p:cNvPr>
              <p:cNvSpPr/>
              <p:nvPr/>
            </p:nvSpPr>
            <p:spPr>
              <a:xfrm>
                <a:off x="2931056" y="4197758"/>
                <a:ext cx="47633" cy="21160"/>
              </a:xfrm>
              <a:custGeom>
                <a:avLst/>
                <a:gdLst>
                  <a:gd name="connsiteX0" fmla="*/ 6315 w 47633"/>
                  <a:gd name="connsiteY0" fmla="*/ 21160 h 21160"/>
                  <a:gd name="connsiteX1" fmla="*/ 155 w 47633"/>
                  <a:gd name="connsiteY1" fmla="*/ 16084 h 21160"/>
                  <a:gd name="connsiteX2" fmla="*/ 4932 w 47633"/>
                  <a:gd name="connsiteY2" fmla="*/ 8299 h 21160"/>
                  <a:gd name="connsiteX3" fmla="*/ 39924 w 47633"/>
                  <a:gd name="connsiteY3" fmla="*/ 154 h 21160"/>
                  <a:gd name="connsiteX4" fmla="*/ 47478 w 47633"/>
                  <a:gd name="connsiteY4" fmla="*/ 5073 h 21160"/>
                  <a:gd name="connsiteX5" fmla="*/ 42702 w 47633"/>
                  <a:gd name="connsiteY5" fmla="*/ 12857 h 21160"/>
                  <a:gd name="connsiteX6" fmla="*/ 7709 w 47633"/>
                  <a:gd name="connsiteY6" fmla="*/ 21002 h 21160"/>
                  <a:gd name="connsiteX7" fmla="*/ 6315 w 47633"/>
                  <a:gd name="connsiteY7" fmla="*/ 21160 h 21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33" h="21160">
                    <a:moveTo>
                      <a:pt x="6315" y="21160"/>
                    </a:moveTo>
                    <a:cubicBezTo>
                      <a:pt x="3427" y="21160"/>
                      <a:pt x="823" y="19107"/>
                      <a:pt x="155" y="16084"/>
                    </a:cubicBezTo>
                    <a:cubicBezTo>
                      <a:pt x="-610" y="12586"/>
                      <a:pt x="1525" y="9089"/>
                      <a:pt x="4932" y="8299"/>
                    </a:cubicBezTo>
                    <a:lnTo>
                      <a:pt x="39924" y="154"/>
                    </a:lnTo>
                    <a:cubicBezTo>
                      <a:pt x="43275" y="-613"/>
                      <a:pt x="46707" y="1553"/>
                      <a:pt x="47478" y="5073"/>
                    </a:cubicBezTo>
                    <a:cubicBezTo>
                      <a:pt x="48243" y="8593"/>
                      <a:pt x="46109" y="12067"/>
                      <a:pt x="42702" y="12857"/>
                    </a:cubicBezTo>
                    <a:lnTo>
                      <a:pt x="7709" y="21002"/>
                    </a:lnTo>
                    <a:cubicBezTo>
                      <a:pt x="7247" y="21115"/>
                      <a:pt x="6777" y="21160"/>
                      <a:pt x="6315" y="21160"/>
                    </a:cubicBezTo>
                    <a:close/>
                  </a:path>
                </a:pathLst>
              </a:custGeom>
              <a:solidFill>
                <a:schemeClr val="accent1"/>
              </a:solidFill>
              <a:ln w="225" cap="flat">
                <a:noFill/>
                <a:prstDash val="solid"/>
                <a:miter/>
              </a:ln>
            </p:spPr>
            <p:txBody>
              <a:bodyPr rtlCol="0" anchor="ctr"/>
              <a:lstStyle/>
              <a:p>
                <a:endParaRPr lang="en-GB" dirty="0"/>
              </a:p>
            </p:txBody>
          </p:sp>
          <p:sp>
            <p:nvSpPr>
              <p:cNvPr id="274" name="Freihandform: Form 322">
                <a:extLst>
                  <a:ext uri="{FF2B5EF4-FFF2-40B4-BE49-F238E27FC236}">
                    <a16:creationId xmlns:a16="http://schemas.microsoft.com/office/drawing/2014/main" id="{2A896532-3698-47B0-ABE3-0E13F841F700}"/>
                  </a:ext>
                </a:extLst>
              </p:cNvPr>
              <p:cNvSpPr/>
              <p:nvPr/>
            </p:nvSpPr>
            <p:spPr>
              <a:xfrm>
                <a:off x="2966048" y="4197751"/>
                <a:ext cx="19415" cy="47926"/>
              </a:xfrm>
              <a:custGeom>
                <a:avLst/>
                <a:gdLst>
                  <a:gd name="connsiteX0" fmla="*/ 13091 w 19415"/>
                  <a:gd name="connsiteY0" fmla="*/ 47927 h 47926"/>
                  <a:gd name="connsiteX1" fmla="*/ 6900 w 19415"/>
                  <a:gd name="connsiteY1" fmla="*/ 42692 h 47926"/>
                  <a:gd name="connsiteX2" fmla="*/ 124 w 19415"/>
                  <a:gd name="connsiteY2" fmla="*/ 7788 h 47926"/>
                  <a:gd name="connsiteX3" fmla="*/ 5079 w 19415"/>
                  <a:gd name="connsiteY3" fmla="*/ 139 h 47926"/>
                  <a:gd name="connsiteX4" fmla="*/ 12516 w 19415"/>
                  <a:gd name="connsiteY4" fmla="*/ 5238 h 47926"/>
                  <a:gd name="connsiteX5" fmla="*/ 19291 w 19415"/>
                  <a:gd name="connsiteY5" fmla="*/ 40143 h 47926"/>
                  <a:gd name="connsiteX6" fmla="*/ 14336 w 19415"/>
                  <a:gd name="connsiteY6" fmla="*/ 47814 h 47926"/>
                  <a:gd name="connsiteX7" fmla="*/ 13091 w 19415"/>
                  <a:gd name="connsiteY7" fmla="*/ 47927 h 47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415" h="47926">
                    <a:moveTo>
                      <a:pt x="13091" y="47927"/>
                    </a:moveTo>
                    <a:cubicBezTo>
                      <a:pt x="10140" y="47927"/>
                      <a:pt x="7500" y="45806"/>
                      <a:pt x="6900" y="42692"/>
                    </a:cubicBezTo>
                    <a:lnTo>
                      <a:pt x="124" y="7788"/>
                    </a:lnTo>
                    <a:cubicBezTo>
                      <a:pt x="-562" y="4268"/>
                      <a:pt x="1661" y="838"/>
                      <a:pt x="5079" y="139"/>
                    </a:cubicBezTo>
                    <a:cubicBezTo>
                      <a:pt x="8547" y="-605"/>
                      <a:pt x="11836" y="1718"/>
                      <a:pt x="12516" y="5238"/>
                    </a:cubicBezTo>
                    <a:lnTo>
                      <a:pt x="19291" y="40143"/>
                    </a:lnTo>
                    <a:cubicBezTo>
                      <a:pt x="19977" y="43685"/>
                      <a:pt x="17755" y="47115"/>
                      <a:pt x="14336" y="47814"/>
                    </a:cubicBezTo>
                    <a:cubicBezTo>
                      <a:pt x="13919" y="47904"/>
                      <a:pt x="13499" y="47927"/>
                      <a:pt x="13091" y="47927"/>
                    </a:cubicBezTo>
                    <a:close/>
                  </a:path>
                </a:pathLst>
              </a:custGeom>
              <a:solidFill>
                <a:schemeClr val="accent1"/>
              </a:solidFill>
              <a:ln w="225" cap="flat">
                <a:noFill/>
                <a:prstDash val="solid"/>
                <a:miter/>
              </a:ln>
            </p:spPr>
            <p:txBody>
              <a:bodyPr rtlCol="0" anchor="ctr"/>
              <a:lstStyle/>
              <a:p>
                <a:endParaRPr lang="en-GB" dirty="0"/>
              </a:p>
            </p:txBody>
          </p:sp>
        </p:grpSp>
      </p:grpSp>
      <p:grpSp>
        <p:nvGrpSpPr>
          <p:cNvPr id="580" name="Group 579">
            <a:extLst>
              <a:ext uri="{FF2B5EF4-FFF2-40B4-BE49-F238E27FC236}">
                <a16:creationId xmlns:a16="http://schemas.microsoft.com/office/drawing/2014/main" id="{5202DB16-55B9-404E-97CD-7D1DA5B0D349}"/>
              </a:ext>
            </a:extLst>
          </p:cNvPr>
          <p:cNvGrpSpPr/>
          <p:nvPr/>
        </p:nvGrpSpPr>
        <p:grpSpPr>
          <a:xfrm>
            <a:off x="1519764" y="4032591"/>
            <a:ext cx="639441" cy="432000"/>
            <a:chOff x="1519764" y="4032591"/>
            <a:chExt cx="639441" cy="432000"/>
          </a:xfrm>
        </p:grpSpPr>
        <p:grpSp>
          <p:nvGrpSpPr>
            <p:cNvPr id="280" name="Gruppieren 1059">
              <a:extLst>
                <a:ext uri="{FF2B5EF4-FFF2-40B4-BE49-F238E27FC236}">
                  <a16:creationId xmlns:a16="http://schemas.microsoft.com/office/drawing/2014/main" id="{9BBA7E97-75E5-45D7-9A6B-41D387BD1680}"/>
                </a:ext>
              </a:extLst>
            </p:cNvPr>
            <p:cNvGrpSpPr/>
            <p:nvPr/>
          </p:nvGrpSpPr>
          <p:grpSpPr>
            <a:xfrm>
              <a:off x="1519764" y="4207051"/>
              <a:ext cx="639441" cy="257540"/>
              <a:chOff x="6058169" y="1820663"/>
              <a:chExt cx="512432" cy="206386"/>
            </a:xfrm>
          </p:grpSpPr>
          <p:sp>
            <p:nvSpPr>
              <p:cNvPr id="292" name="Freihandform: Form 866">
                <a:extLst>
                  <a:ext uri="{FF2B5EF4-FFF2-40B4-BE49-F238E27FC236}">
                    <a16:creationId xmlns:a16="http://schemas.microsoft.com/office/drawing/2014/main" id="{8C69F20E-FECD-4CEE-BE55-E650F41C8D84}"/>
                  </a:ext>
                </a:extLst>
              </p:cNvPr>
              <p:cNvSpPr/>
              <p:nvPr/>
            </p:nvSpPr>
            <p:spPr>
              <a:xfrm>
                <a:off x="6058169" y="1939159"/>
                <a:ext cx="290838" cy="87890"/>
              </a:xfrm>
              <a:custGeom>
                <a:avLst/>
                <a:gdLst>
                  <a:gd name="connsiteX0" fmla="*/ 145420 w 290838"/>
                  <a:gd name="connsiteY0" fmla="*/ 87891 h 87890"/>
                  <a:gd name="connsiteX1" fmla="*/ 0 w 290838"/>
                  <a:gd name="connsiteY1" fmla="*/ 34630 h 87890"/>
                  <a:gd name="connsiteX2" fmla="*/ 31699 w 290838"/>
                  <a:gd name="connsiteY2" fmla="*/ 630 h 87890"/>
                  <a:gd name="connsiteX3" fmla="*/ 40899 w 290838"/>
                  <a:gd name="connsiteY3" fmla="*/ 3850 h 87890"/>
                  <a:gd name="connsiteX4" fmla="*/ 37549 w 290838"/>
                  <a:gd name="connsiteY4" fmla="*/ 12696 h 87890"/>
                  <a:gd name="connsiteX5" fmla="*/ 13850 w 290838"/>
                  <a:gd name="connsiteY5" fmla="*/ 34628 h 87890"/>
                  <a:gd name="connsiteX6" fmla="*/ 145420 w 290838"/>
                  <a:gd name="connsiteY6" fmla="*/ 74572 h 87890"/>
                  <a:gd name="connsiteX7" fmla="*/ 276988 w 290838"/>
                  <a:gd name="connsiteY7" fmla="*/ 34628 h 87890"/>
                  <a:gd name="connsiteX8" fmla="*/ 254601 w 290838"/>
                  <a:gd name="connsiteY8" fmla="*/ 13094 h 87890"/>
                  <a:gd name="connsiteX9" fmla="*/ 251190 w 290838"/>
                  <a:gd name="connsiteY9" fmla="*/ 4269 h 87890"/>
                  <a:gd name="connsiteX10" fmla="*/ 260370 w 290838"/>
                  <a:gd name="connsiteY10" fmla="*/ 989 h 87890"/>
                  <a:gd name="connsiteX11" fmla="*/ 290839 w 290838"/>
                  <a:gd name="connsiteY11" fmla="*/ 34628 h 87890"/>
                  <a:gd name="connsiteX12" fmla="*/ 145420 w 290838"/>
                  <a:gd name="connsiteY12" fmla="*/ 87891 h 87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0838" h="87890">
                    <a:moveTo>
                      <a:pt x="145420" y="87891"/>
                    </a:moveTo>
                    <a:cubicBezTo>
                      <a:pt x="74923" y="87891"/>
                      <a:pt x="0" y="69225"/>
                      <a:pt x="0" y="34630"/>
                    </a:cubicBezTo>
                    <a:cubicBezTo>
                      <a:pt x="0" y="25596"/>
                      <a:pt x="5502" y="12363"/>
                      <a:pt x="31699" y="630"/>
                    </a:cubicBezTo>
                    <a:cubicBezTo>
                      <a:pt x="35158" y="-934"/>
                      <a:pt x="39285" y="516"/>
                      <a:pt x="40899" y="3850"/>
                    </a:cubicBezTo>
                    <a:cubicBezTo>
                      <a:pt x="42515" y="7185"/>
                      <a:pt x="41013" y="11146"/>
                      <a:pt x="37549" y="12696"/>
                    </a:cubicBezTo>
                    <a:cubicBezTo>
                      <a:pt x="22490" y="19442"/>
                      <a:pt x="13850" y="27435"/>
                      <a:pt x="13850" y="34628"/>
                    </a:cubicBezTo>
                    <a:cubicBezTo>
                      <a:pt x="13850" y="53520"/>
                      <a:pt x="67886" y="74572"/>
                      <a:pt x="145420" y="74572"/>
                    </a:cubicBezTo>
                    <a:cubicBezTo>
                      <a:pt x="222953" y="74572"/>
                      <a:pt x="276988" y="53520"/>
                      <a:pt x="276988" y="34628"/>
                    </a:cubicBezTo>
                    <a:cubicBezTo>
                      <a:pt x="276988" y="26881"/>
                      <a:pt x="269454" y="19634"/>
                      <a:pt x="254601" y="13094"/>
                    </a:cubicBezTo>
                    <a:cubicBezTo>
                      <a:pt x="251124" y="11564"/>
                      <a:pt x="249596" y="7614"/>
                      <a:pt x="251190" y="4269"/>
                    </a:cubicBezTo>
                    <a:cubicBezTo>
                      <a:pt x="252782" y="916"/>
                      <a:pt x="256885" y="-553"/>
                      <a:pt x="260370" y="989"/>
                    </a:cubicBezTo>
                    <a:cubicBezTo>
                      <a:pt x="280586" y="9889"/>
                      <a:pt x="290839" y="21208"/>
                      <a:pt x="290839" y="34628"/>
                    </a:cubicBezTo>
                    <a:cubicBezTo>
                      <a:pt x="290839" y="69225"/>
                      <a:pt x="215913" y="87891"/>
                      <a:pt x="145420" y="87891"/>
                    </a:cubicBezTo>
                    <a:close/>
                  </a:path>
                </a:pathLst>
              </a:custGeom>
              <a:solidFill>
                <a:schemeClr val="accent1"/>
              </a:solidFill>
              <a:ln w="218" cap="flat">
                <a:noFill/>
                <a:prstDash val="solid"/>
                <a:miter/>
              </a:ln>
            </p:spPr>
            <p:txBody>
              <a:bodyPr rtlCol="0" anchor="ctr"/>
              <a:lstStyle/>
              <a:p>
                <a:endParaRPr lang="en-GB" dirty="0"/>
              </a:p>
            </p:txBody>
          </p:sp>
          <p:sp>
            <p:nvSpPr>
              <p:cNvPr id="293" name="Freihandform: Form 867">
                <a:extLst>
                  <a:ext uri="{FF2B5EF4-FFF2-40B4-BE49-F238E27FC236}">
                    <a16:creationId xmlns:a16="http://schemas.microsoft.com/office/drawing/2014/main" id="{387FC37D-154C-4262-8C1D-313287440D4F}"/>
                  </a:ext>
                </a:extLst>
              </p:cNvPr>
              <p:cNvSpPr/>
              <p:nvPr/>
            </p:nvSpPr>
            <p:spPr>
              <a:xfrm>
                <a:off x="6308731" y="1877219"/>
                <a:ext cx="157993" cy="76597"/>
              </a:xfrm>
              <a:custGeom>
                <a:avLst/>
                <a:gdLst>
                  <a:gd name="connsiteX0" fmla="*/ 33353 w 157993"/>
                  <a:gd name="connsiteY0" fmla="*/ 76597 h 76597"/>
                  <a:gd name="connsiteX1" fmla="*/ 6398 w 157993"/>
                  <a:gd name="connsiteY1" fmla="*/ 75623 h 76597"/>
                  <a:gd name="connsiteX2" fmla="*/ 20 w 157993"/>
                  <a:gd name="connsiteY2" fmla="*/ 68479 h 76597"/>
                  <a:gd name="connsiteX3" fmla="*/ 7451 w 157993"/>
                  <a:gd name="connsiteY3" fmla="*/ 62348 h 76597"/>
                  <a:gd name="connsiteX4" fmla="*/ 33350 w 157993"/>
                  <a:gd name="connsiteY4" fmla="*/ 63285 h 76597"/>
                  <a:gd name="connsiteX5" fmla="*/ 144146 w 157993"/>
                  <a:gd name="connsiteY5" fmla="*/ 32116 h 76597"/>
                  <a:gd name="connsiteX6" fmla="*/ 120821 w 157993"/>
                  <a:gd name="connsiteY6" fmla="*/ 12851 h 76597"/>
                  <a:gd name="connsiteX7" fmla="*/ 116933 w 157993"/>
                  <a:gd name="connsiteY7" fmla="*/ 4212 h 76597"/>
                  <a:gd name="connsiteX8" fmla="*/ 125921 w 157993"/>
                  <a:gd name="connsiteY8" fmla="*/ 474 h 76597"/>
                  <a:gd name="connsiteX9" fmla="*/ 157994 w 157993"/>
                  <a:gd name="connsiteY9" fmla="*/ 32116 h 76597"/>
                  <a:gd name="connsiteX10" fmla="*/ 33353 w 157993"/>
                  <a:gd name="connsiteY10" fmla="*/ 76597 h 76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993" h="76597">
                    <a:moveTo>
                      <a:pt x="33353" y="76597"/>
                    </a:moveTo>
                    <a:cubicBezTo>
                      <a:pt x="24271" y="76597"/>
                      <a:pt x="15202" y="76269"/>
                      <a:pt x="6398" y="75623"/>
                    </a:cubicBezTo>
                    <a:cubicBezTo>
                      <a:pt x="2584" y="75343"/>
                      <a:pt x="-269" y="72144"/>
                      <a:pt x="20" y="68479"/>
                    </a:cubicBezTo>
                    <a:cubicBezTo>
                      <a:pt x="311" y="64811"/>
                      <a:pt x="3624" y="62085"/>
                      <a:pt x="7451" y="62348"/>
                    </a:cubicBezTo>
                    <a:cubicBezTo>
                      <a:pt x="15907" y="62970"/>
                      <a:pt x="24621" y="63285"/>
                      <a:pt x="33350" y="63285"/>
                    </a:cubicBezTo>
                    <a:cubicBezTo>
                      <a:pt x="101996" y="63285"/>
                      <a:pt x="144146" y="45132"/>
                      <a:pt x="144146" y="32116"/>
                    </a:cubicBezTo>
                    <a:cubicBezTo>
                      <a:pt x="144146" y="26947"/>
                      <a:pt x="136934" y="18986"/>
                      <a:pt x="120821" y="12851"/>
                    </a:cubicBezTo>
                    <a:cubicBezTo>
                      <a:pt x="117264" y="11498"/>
                      <a:pt x="115523" y="7631"/>
                      <a:pt x="116933" y="4212"/>
                    </a:cubicBezTo>
                    <a:cubicBezTo>
                      <a:pt x="118339" y="798"/>
                      <a:pt x="122350" y="-892"/>
                      <a:pt x="125921" y="474"/>
                    </a:cubicBezTo>
                    <a:cubicBezTo>
                      <a:pt x="146302" y="8234"/>
                      <a:pt x="157994" y="19768"/>
                      <a:pt x="157994" y="32116"/>
                    </a:cubicBezTo>
                    <a:cubicBezTo>
                      <a:pt x="157998" y="61006"/>
                      <a:pt x="93779" y="76597"/>
                      <a:pt x="33353" y="76597"/>
                    </a:cubicBezTo>
                    <a:close/>
                  </a:path>
                </a:pathLst>
              </a:custGeom>
              <a:solidFill>
                <a:schemeClr val="accent1"/>
              </a:solidFill>
              <a:ln w="218" cap="flat">
                <a:noFill/>
                <a:prstDash val="solid"/>
                <a:miter/>
              </a:ln>
            </p:spPr>
            <p:txBody>
              <a:bodyPr rtlCol="0" anchor="ctr"/>
              <a:lstStyle/>
              <a:p>
                <a:endParaRPr lang="en-GB" dirty="0"/>
              </a:p>
            </p:txBody>
          </p:sp>
          <p:sp>
            <p:nvSpPr>
              <p:cNvPr id="294" name="Freihandform: Form 870">
                <a:extLst>
                  <a:ext uri="{FF2B5EF4-FFF2-40B4-BE49-F238E27FC236}">
                    <a16:creationId xmlns:a16="http://schemas.microsoft.com/office/drawing/2014/main" id="{F37DFACB-AFD7-4C8D-BE67-9993E7FB7250}"/>
                  </a:ext>
                </a:extLst>
              </p:cNvPr>
              <p:cNvSpPr/>
              <p:nvPr/>
            </p:nvSpPr>
            <p:spPr>
              <a:xfrm>
                <a:off x="6425183" y="1820663"/>
                <a:ext cx="145418" cy="70577"/>
              </a:xfrm>
              <a:custGeom>
                <a:avLst/>
                <a:gdLst>
                  <a:gd name="connsiteX0" fmla="*/ 28843 w 145418"/>
                  <a:gd name="connsiteY0" fmla="*/ 70577 h 70577"/>
                  <a:gd name="connsiteX1" fmla="*/ 6453 w 145418"/>
                  <a:gd name="connsiteY1" fmla="*/ 69859 h 70577"/>
                  <a:gd name="connsiteX2" fmla="*/ 16 w 145418"/>
                  <a:gd name="connsiteY2" fmla="*/ 62770 h 70577"/>
                  <a:gd name="connsiteX3" fmla="*/ 7395 w 145418"/>
                  <a:gd name="connsiteY3" fmla="*/ 56578 h 70577"/>
                  <a:gd name="connsiteX4" fmla="*/ 28845 w 145418"/>
                  <a:gd name="connsiteY4" fmla="*/ 57263 h 70577"/>
                  <a:gd name="connsiteX5" fmla="*/ 131570 w 145418"/>
                  <a:gd name="connsiteY5" fmla="*/ 28688 h 70577"/>
                  <a:gd name="connsiteX6" fmla="*/ 108388 w 145418"/>
                  <a:gd name="connsiteY6" fmla="*/ 12894 h 70577"/>
                  <a:gd name="connsiteX7" fmla="*/ 104344 w 145418"/>
                  <a:gd name="connsiteY7" fmla="*/ 4318 h 70577"/>
                  <a:gd name="connsiteX8" fmla="*/ 113264 w 145418"/>
                  <a:gd name="connsiteY8" fmla="*/ 429 h 70577"/>
                  <a:gd name="connsiteX9" fmla="*/ 145418 w 145418"/>
                  <a:gd name="connsiteY9" fmla="*/ 28688 h 70577"/>
                  <a:gd name="connsiteX10" fmla="*/ 28843 w 145418"/>
                  <a:gd name="connsiteY10" fmla="*/ 70577 h 7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418" h="70577">
                    <a:moveTo>
                      <a:pt x="28843" y="70577"/>
                    </a:moveTo>
                    <a:cubicBezTo>
                      <a:pt x="21293" y="70577"/>
                      <a:pt x="13760" y="70336"/>
                      <a:pt x="6453" y="69859"/>
                    </a:cubicBezTo>
                    <a:cubicBezTo>
                      <a:pt x="2639" y="69612"/>
                      <a:pt x="-244" y="66437"/>
                      <a:pt x="16" y="62770"/>
                    </a:cubicBezTo>
                    <a:cubicBezTo>
                      <a:pt x="277" y="59096"/>
                      <a:pt x="3513" y="56236"/>
                      <a:pt x="7395" y="56578"/>
                    </a:cubicBezTo>
                    <a:cubicBezTo>
                      <a:pt x="14388" y="57033"/>
                      <a:pt x="21607" y="57263"/>
                      <a:pt x="28845" y="57263"/>
                    </a:cubicBezTo>
                    <a:cubicBezTo>
                      <a:pt x="91553" y="57263"/>
                      <a:pt x="131570" y="40339"/>
                      <a:pt x="131570" y="28688"/>
                    </a:cubicBezTo>
                    <a:cubicBezTo>
                      <a:pt x="131570" y="25304"/>
                      <a:pt x="127550" y="19817"/>
                      <a:pt x="108388" y="12894"/>
                    </a:cubicBezTo>
                    <a:cubicBezTo>
                      <a:pt x="104810" y="11600"/>
                      <a:pt x="102997" y="7762"/>
                      <a:pt x="104344" y="4318"/>
                    </a:cubicBezTo>
                    <a:cubicBezTo>
                      <a:pt x="105691" y="871"/>
                      <a:pt x="109682" y="-867"/>
                      <a:pt x="113264" y="429"/>
                    </a:cubicBezTo>
                    <a:cubicBezTo>
                      <a:pt x="128235" y="5841"/>
                      <a:pt x="145418" y="13942"/>
                      <a:pt x="145418" y="28688"/>
                    </a:cubicBezTo>
                    <a:cubicBezTo>
                      <a:pt x="145416" y="56190"/>
                      <a:pt x="86774" y="70577"/>
                      <a:pt x="28843" y="70577"/>
                    </a:cubicBezTo>
                    <a:close/>
                  </a:path>
                </a:pathLst>
              </a:custGeom>
              <a:solidFill>
                <a:schemeClr val="accent1"/>
              </a:solidFill>
              <a:ln w="218" cap="flat">
                <a:noFill/>
                <a:prstDash val="solid"/>
                <a:miter/>
              </a:ln>
            </p:spPr>
            <p:txBody>
              <a:bodyPr rtlCol="0" anchor="ctr"/>
              <a:lstStyle/>
              <a:p>
                <a:endParaRPr lang="en-GB" dirty="0"/>
              </a:p>
            </p:txBody>
          </p:sp>
        </p:grpSp>
        <p:grpSp>
          <p:nvGrpSpPr>
            <p:cNvPr id="281" name="Gruppieren 1060">
              <a:extLst>
                <a:ext uri="{FF2B5EF4-FFF2-40B4-BE49-F238E27FC236}">
                  <a16:creationId xmlns:a16="http://schemas.microsoft.com/office/drawing/2014/main" id="{A720AB78-018A-42B2-BA5F-EFF14E1DADD3}"/>
                </a:ext>
              </a:extLst>
            </p:cNvPr>
            <p:cNvGrpSpPr/>
            <p:nvPr/>
          </p:nvGrpSpPr>
          <p:grpSpPr>
            <a:xfrm>
              <a:off x="1580249" y="4032591"/>
              <a:ext cx="518464" cy="365538"/>
              <a:chOff x="6106640" y="1680855"/>
              <a:chExt cx="415484" cy="292933"/>
            </a:xfrm>
          </p:grpSpPr>
          <p:sp>
            <p:nvSpPr>
              <p:cNvPr id="282" name="Freihandform: Form 858">
                <a:extLst>
                  <a:ext uri="{FF2B5EF4-FFF2-40B4-BE49-F238E27FC236}">
                    <a16:creationId xmlns:a16="http://schemas.microsoft.com/office/drawing/2014/main" id="{37C173DA-35D6-409C-9963-EA9A9EEEDB82}"/>
                  </a:ext>
                </a:extLst>
              </p:cNvPr>
              <p:cNvSpPr/>
              <p:nvPr/>
            </p:nvSpPr>
            <p:spPr>
              <a:xfrm>
                <a:off x="6106640" y="1847295"/>
                <a:ext cx="193891" cy="126493"/>
              </a:xfrm>
              <a:custGeom>
                <a:avLst/>
                <a:gdLst>
                  <a:gd name="connsiteX0" fmla="*/ 186971 w 193891"/>
                  <a:gd name="connsiteY0" fmla="*/ 126494 h 126493"/>
                  <a:gd name="connsiteX1" fmla="*/ 180046 w 193891"/>
                  <a:gd name="connsiteY1" fmla="*/ 119836 h 126493"/>
                  <a:gd name="connsiteX2" fmla="*/ 180046 w 193891"/>
                  <a:gd name="connsiteY2" fmla="*/ 73233 h 126493"/>
                  <a:gd name="connsiteX3" fmla="*/ 120823 w 193891"/>
                  <a:gd name="connsiteY3" fmla="*/ 13314 h 126493"/>
                  <a:gd name="connsiteX4" fmla="*/ 73073 w 193891"/>
                  <a:gd name="connsiteY4" fmla="*/ 13314 h 126493"/>
                  <a:gd name="connsiteX5" fmla="*/ 13851 w 193891"/>
                  <a:gd name="connsiteY5" fmla="*/ 73233 h 126493"/>
                  <a:gd name="connsiteX6" fmla="*/ 13851 w 193891"/>
                  <a:gd name="connsiteY6" fmla="*/ 119836 h 126493"/>
                  <a:gd name="connsiteX7" fmla="*/ 6925 w 193891"/>
                  <a:gd name="connsiteY7" fmla="*/ 126494 h 126493"/>
                  <a:gd name="connsiteX8" fmla="*/ 0 w 193891"/>
                  <a:gd name="connsiteY8" fmla="*/ 119836 h 126493"/>
                  <a:gd name="connsiteX9" fmla="*/ 0 w 193891"/>
                  <a:gd name="connsiteY9" fmla="*/ 73233 h 126493"/>
                  <a:gd name="connsiteX10" fmla="*/ 73071 w 193891"/>
                  <a:gd name="connsiteY10" fmla="*/ 0 h 126493"/>
                  <a:gd name="connsiteX11" fmla="*/ 120821 w 193891"/>
                  <a:gd name="connsiteY11" fmla="*/ 0 h 126493"/>
                  <a:gd name="connsiteX12" fmla="*/ 193892 w 193891"/>
                  <a:gd name="connsiteY12" fmla="*/ 73233 h 126493"/>
                  <a:gd name="connsiteX13" fmla="*/ 193892 w 193891"/>
                  <a:gd name="connsiteY13" fmla="*/ 119836 h 126493"/>
                  <a:gd name="connsiteX14" fmla="*/ 186971 w 193891"/>
                  <a:gd name="connsiteY14" fmla="*/ 126494 h 12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3891" h="126493">
                    <a:moveTo>
                      <a:pt x="186971" y="126494"/>
                    </a:moveTo>
                    <a:cubicBezTo>
                      <a:pt x="183146" y="126494"/>
                      <a:pt x="180046" y="123514"/>
                      <a:pt x="180046" y="119836"/>
                    </a:cubicBezTo>
                    <a:lnTo>
                      <a:pt x="180046" y="73233"/>
                    </a:lnTo>
                    <a:cubicBezTo>
                      <a:pt x="180046" y="38515"/>
                      <a:pt x="155141" y="13314"/>
                      <a:pt x="120823" y="13314"/>
                    </a:cubicBezTo>
                    <a:lnTo>
                      <a:pt x="73073" y="13314"/>
                    </a:lnTo>
                    <a:cubicBezTo>
                      <a:pt x="38758" y="13314"/>
                      <a:pt x="13851" y="38515"/>
                      <a:pt x="13851" y="73233"/>
                    </a:cubicBezTo>
                    <a:lnTo>
                      <a:pt x="13851" y="119836"/>
                    </a:lnTo>
                    <a:cubicBezTo>
                      <a:pt x="13851" y="123512"/>
                      <a:pt x="10750" y="126494"/>
                      <a:pt x="6925" y="126494"/>
                    </a:cubicBezTo>
                    <a:cubicBezTo>
                      <a:pt x="3100" y="126494"/>
                      <a:pt x="0" y="123514"/>
                      <a:pt x="0" y="119836"/>
                    </a:cubicBezTo>
                    <a:lnTo>
                      <a:pt x="0" y="73233"/>
                    </a:lnTo>
                    <a:cubicBezTo>
                      <a:pt x="0" y="31484"/>
                      <a:pt x="31414" y="0"/>
                      <a:pt x="73071" y="0"/>
                    </a:cubicBezTo>
                    <a:lnTo>
                      <a:pt x="120821" y="0"/>
                    </a:lnTo>
                    <a:cubicBezTo>
                      <a:pt x="162478" y="0"/>
                      <a:pt x="193892" y="31484"/>
                      <a:pt x="193892" y="73233"/>
                    </a:cubicBezTo>
                    <a:lnTo>
                      <a:pt x="193892" y="119836"/>
                    </a:lnTo>
                    <a:cubicBezTo>
                      <a:pt x="193896" y="123514"/>
                      <a:pt x="190794" y="126494"/>
                      <a:pt x="186971" y="126494"/>
                    </a:cubicBezTo>
                    <a:close/>
                  </a:path>
                </a:pathLst>
              </a:custGeom>
              <a:solidFill>
                <a:schemeClr val="tx2"/>
              </a:solidFill>
              <a:ln w="218" cap="flat">
                <a:noFill/>
                <a:prstDash val="solid"/>
                <a:miter/>
              </a:ln>
            </p:spPr>
            <p:txBody>
              <a:bodyPr rtlCol="0" anchor="ctr"/>
              <a:lstStyle/>
              <a:p>
                <a:endParaRPr lang="en-GB" dirty="0"/>
              </a:p>
            </p:txBody>
          </p:sp>
          <p:sp>
            <p:nvSpPr>
              <p:cNvPr id="283" name="Freihandform: Form 859">
                <a:extLst>
                  <a:ext uri="{FF2B5EF4-FFF2-40B4-BE49-F238E27FC236}">
                    <a16:creationId xmlns:a16="http://schemas.microsoft.com/office/drawing/2014/main" id="{502A7F0C-A310-40A4-9749-53E5F8D234B3}"/>
                  </a:ext>
                </a:extLst>
              </p:cNvPr>
              <p:cNvSpPr/>
              <p:nvPr/>
            </p:nvSpPr>
            <p:spPr>
              <a:xfrm>
                <a:off x="6162219" y="1740776"/>
                <a:ext cx="83098" cy="93205"/>
              </a:xfrm>
              <a:custGeom>
                <a:avLst/>
                <a:gdLst>
                  <a:gd name="connsiteX0" fmla="*/ 41549 w 83098"/>
                  <a:gd name="connsiteY0" fmla="*/ 93205 h 93205"/>
                  <a:gd name="connsiteX1" fmla="*/ 0 w 83098"/>
                  <a:gd name="connsiteY1" fmla="*/ 46603 h 93205"/>
                  <a:gd name="connsiteX2" fmla="*/ 41549 w 83098"/>
                  <a:gd name="connsiteY2" fmla="*/ 0 h 93205"/>
                  <a:gd name="connsiteX3" fmla="*/ 83099 w 83098"/>
                  <a:gd name="connsiteY3" fmla="*/ 46603 h 93205"/>
                  <a:gd name="connsiteX4" fmla="*/ 41549 w 83098"/>
                  <a:gd name="connsiteY4" fmla="*/ 93205 h 93205"/>
                  <a:gd name="connsiteX5" fmla="*/ 41549 w 83098"/>
                  <a:gd name="connsiteY5" fmla="*/ 13314 h 93205"/>
                  <a:gd name="connsiteX6" fmla="*/ 13850 w 83098"/>
                  <a:gd name="connsiteY6" fmla="*/ 46603 h 93205"/>
                  <a:gd name="connsiteX7" fmla="*/ 41549 w 83098"/>
                  <a:gd name="connsiteY7" fmla="*/ 79891 h 93205"/>
                  <a:gd name="connsiteX8" fmla="*/ 69248 w 83098"/>
                  <a:gd name="connsiteY8" fmla="*/ 46603 h 93205"/>
                  <a:gd name="connsiteX9" fmla="*/ 41549 w 83098"/>
                  <a:gd name="connsiteY9" fmla="*/ 13314 h 9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098" h="93205">
                    <a:moveTo>
                      <a:pt x="41549" y="93205"/>
                    </a:moveTo>
                    <a:cubicBezTo>
                      <a:pt x="16697" y="93205"/>
                      <a:pt x="0" y="74477"/>
                      <a:pt x="0" y="46603"/>
                    </a:cubicBezTo>
                    <a:cubicBezTo>
                      <a:pt x="0" y="18729"/>
                      <a:pt x="16697" y="0"/>
                      <a:pt x="41549" y="0"/>
                    </a:cubicBezTo>
                    <a:cubicBezTo>
                      <a:pt x="66402" y="0"/>
                      <a:pt x="83099" y="18729"/>
                      <a:pt x="83099" y="46603"/>
                    </a:cubicBezTo>
                    <a:cubicBezTo>
                      <a:pt x="83099" y="74477"/>
                      <a:pt x="66400" y="93205"/>
                      <a:pt x="41549" y="93205"/>
                    </a:cubicBezTo>
                    <a:close/>
                    <a:moveTo>
                      <a:pt x="41549" y="13314"/>
                    </a:moveTo>
                    <a:cubicBezTo>
                      <a:pt x="21126" y="13314"/>
                      <a:pt x="13850" y="30510"/>
                      <a:pt x="13850" y="46603"/>
                    </a:cubicBezTo>
                    <a:cubicBezTo>
                      <a:pt x="13850" y="62695"/>
                      <a:pt x="21126" y="79891"/>
                      <a:pt x="41549" y="79891"/>
                    </a:cubicBezTo>
                    <a:cubicBezTo>
                      <a:pt x="61973" y="79891"/>
                      <a:pt x="69248" y="62695"/>
                      <a:pt x="69248" y="46603"/>
                    </a:cubicBezTo>
                    <a:cubicBezTo>
                      <a:pt x="69248" y="30510"/>
                      <a:pt x="61970" y="13314"/>
                      <a:pt x="41549" y="13314"/>
                    </a:cubicBezTo>
                    <a:close/>
                  </a:path>
                </a:pathLst>
              </a:custGeom>
              <a:solidFill>
                <a:schemeClr val="tx2"/>
              </a:solidFill>
              <a:ln w="218" cap="flat">
                <a:noFill/>
                <a:prstDash val="solid"/>
                <a:miter/>
              </a:ln>
            </p:spPr>
            <p:txBody>
              <a:bodyPr rtlCol="0" anchor="ctr"/>
              <a:lstStyle/>
              <a:p>
                <a:endParaRPr lang="en-GB" dirty="0"/>
              </a:p>
            </p:txBody>
          </p:sp>
          <p:sp>
            <p:nvSpPr>
              <p:cNvPr id="284" name="Freihandform: Form 861">
                <a:extLst>
                  <a:ext uri="{FF2B5EF4-FFF2-40B4-BE49-F238E27FC236}">
                    <a16:creationId xmlns:a16="http://schemas.microsoft.com/office/drawing/2014/main" id="{A6762F28-743A-4362-94B5-6DAD194467FC}"/>
                  </a:ext>
                </a:extLst>
              </p:cNvPr>
              <p:cNvSpPr/>
              <p:nvPr/>
            </p:nvSpPr>
            <p:spPr>
              <a:xfrm>
                <a:off x="6134520" y="1920526"/>
                <a:ext cx="20775" cy="53262"/>
              </a:xfrm>
              <a:custGeom>
                <a:avLst/>
                <a:gdLst>
                  <a:gd name="connsiteX0" fmla="*/ 13851 w 20775"/>
                  <a:gd name="connsiteY0" fmla="*/ 53263 h 53262"/>
                  <a:gd name="connsiteX1" fmla="*/ 6925 w 20775"/>
                  <a:gd name="connsiteY1" fmla="*/ 46605 h 53262"/>
                  <a:gd name="connsiteX2" fmla="*/ 6925 w 20775"/>
                  <a:gd name="connsiteY2" fmla="*/ 13316 h 53262"/>
                  <a:gd name="connsiteX3" fmla="*/ 0 w 20775"/>
                  <a:gd name="connsiteY3" fmla="*/ 6658 h 53262"/>
                  <a:gd name="connsiteX4" fmla="*/ 6925 w 20775"/>
                  <a:gd name="connsiteY4" fmla="*/ 0 h 53262"/>
                  <a:gd name="connsiteX5" fmla="*/ 13851 w 20775"/>
                  <a:gd name="connsiteY5" fmla="*/ 0 h 53262"/>
                  <a:gd name="connsiteX6" fmla="*/ 20776 w 20775"/>
                  <a:gd name="connsiteY6" fmla="*/ 6658 h 53262"/>
                  <a:gd name="connsiteX7" fmla="*/ 20776 w 20775"/>
                  <a:gd name="connsiteY7" fmla="*/ 46603 h 53262"/>
                  <a:gd name="connsiteX8" fmla="*/ 13851 w 20775"/>
                  <a:gd name="connsiteY8" fmla="*/ 53263 h 53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75" h="53262">
                    <a:moveTo>
                      <a:pt x="13851" y="53263"/>
                    </a:moveTo>
                    <a:cubicBezTo>
                      <a:pt x="10026" y="53263"/>
                      <a:pt x="6925" y="50283"/>
                      <a:pt x="6925" y="46605"/>
                    </a:cubicBezTo>
                    <a:lnTo>
                      <a:pt x="6925" y="13316"/>
                    </a:lnTo>
                    <a:cubicBezTo>
                      <a:pt x="3100" y="13316"/>
                      <a:pt x="0" y="10336"/>
                      <a:pt x="0" y="6658"/>
                    </a:cubicBezTo>
                    <a:cubicBezTo>
                      <a:pt x="0" y="2980"/>
                      <a:pt x="3100" y="0"/>
                      <a:pt x="6925" y="0"/>
                    </a:cubicBezTo>
                    <a:lnTo>
                      <a:pt x="13851" y="0"/>
                    </a:lnTo>
                    <a:cubicBezTo>
                      <a:pt x="17675" y="0"/>
                      <a:pt x="20776" y="2980"/>
                      <a:pt x="20776" y="6658"/>
                    </a:cubicBezTo>
                    <a:lnTo>
                      <a:pt x="20776" y="46603"/>
                    </a:lnTo>
                    <a:cubicBezTo>
                      <a:pt x="20774" y="50283"/>
                      <a:pt x="17673" y="53263"/>
                      <a:pt x="13851" y="53263"/>
                    </a:cubicBezTo>
                    <a:close/>
                  </a:path>
                </a:pathLst>
              </a:custGeom>
              <a:solidFill>
                <a:schemeClr val="tx2"/>
              </a:solidFill>
              <a:ln w="218" cap="flat">
                <a:noFill/>
                <a:prstDash val="solid"/>
                <a:miter/>
              </a:ln>
            </p:spPr>
            <p:txBody>
              <a:bodyPr rtlCol="0" anchor="ctr"/>
              <a:lstStyle/>
              <a:p>
                <a:endParaRPr lang="en-GB" dirty="0"/>
              </a:p>
            </p:txBody>
          </p:sp>
          <p:sp>
            <p:nvSpPr>
              <p:cNvPr id="285" name="Freihandform: Form 862">
                <a:extLst>
                  <a:ext uri="{FF2B5EF4-FFF2-40B4-BE49-F238E27FC236}">
                    <a16:creationId xmlns:a16="http://schemas.microsoft.com/office/drawing/2014/main" id="{81765AF7-727F-464B-AAD9-16D0D066CCC4}"/>
                  </a:ext>
                </a:extLst>
              </p:cNvPr>
              <p:cNvSpPr/>
              <p:nvPr/>
            </p:nvSpPr>
            <p:spPr>
              <a:xfrm>
                <a:off x="6252328" y="1920528"/>
                <a:ext cx="20775" cy="53260"/>
              </a:xfrm>
              <a:custGeom>
                <a:avLst/>
                <a:gdLst>
                  <a:gd name="connsiteX0" fmla="*/ 6925 w 20775"/>
                  <a:gd name="connsiteY0" fmla="*/ 53261 h 53260"/>
                  <a:gd name="connsiteX1" fmla="*/ 0 w 20775"/>
                  <a:gd name="connsiteY1" fmla="*/ 46603 h 53260"/>
                  <a:gd name="connsiteX2" fmla="*/ 0 w 20775"/>
                  <a:gd name="connsiteY2" fmla="*/ 6658 h 53260"/>
                  <a:gd name="connsiteX3" fmla="*/ 6925 w 20775"/>
                  <a:gd name="connsiteY3" fmla="*/ 0 h 53260"/>
                  <a:gd name="connsiteX4" fmla="*/ 13850 w 20775"/>
                  <a:gd name="connsiteY4" fmla="*/ 0 h 53260"/>
                  <a:gd name="connsiteX5" fmla="*/ 20776 w 20775"/>
                  <a:gd name="connsiteY5" fmla="*/ 6658 h 53260"/>
                  <a:gd name="connsiteX6" fmla="*/ 13850 w 20775"/>
                  <a:gd name="connsiteY6" fmla="*/ 13316 h 53260"/>
                  <a:gd name="connsiteX7" fmla="*/ 13850 w 20775"/>
                  <a:gd name="connsiteY7" fmla="*/ 46605 h 53260"/>
                  <a:gd name="connsiteX8" fmla="*/ 6925 w 20775"/>
                  <a:gd name="connsiteY8" fmla="*/ 53261 h 53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75" h="53260">
                    <a:moveTo>
                      <a:pt x="6925" y="53261"/>
                    </a:moveTo>
                    <a:cubicBezTo>
                      <a:pt x="3100" y="53261"/>
                      <a:pt x="0" y="50281"/>
                      <a:pt x="0" y="46603"/>
                    </a:cubicBezTo>
                    <a:lnTo>
                      <a:pt x="0" y="6658"/>
                    </a:lnTo>
                    <a:cubicBezTo>
                      <a:pt x="0" y="2982"/>
                      <a:pt x="3100" y="0"/>
                      <a:pt x="6925" y="0"/>
                    </a:cubicBezTo>
                    <a:lnTo>
                      <a:pt x="13850" y="0"/>
                    </a:lnTo>
                    <a:cubicBezTo>
                      <a:pt x="17675" y="0"/>
                      <a:pt x="20776" y="2980"/>
                      <a:pt x="20776" y="6658"/>
                    </a:cubicBezTo>
                    <a:cubicBezTo>
                      <a:pt x="20776" y="10336"/>
                      <a:pt x="17675" y="13316"/>
                      <a:pt x="13850" y="13316"/>
                    </a:cubicBezTo>
                    <a:lnTo>
                      <a:pt x="13850" y="46605"/>
                    </a:lnTo>
                    <a:cubicBezTo>
                      <a:pt x="13850" y="50281"/>
                      <a:pt x="10750" y="53261"/>
                      <a:pt x="6925" y="53261"/>
                    </a:cubicBezTo>
                    <a:close/>
                  </a:path>
                </a:pathLst>
              </a:custGeom>
              <a:solidFill>
                <a:schemeClr val="tx2"/>
              </a:solidFill>
              <a:ln w="218" cap="flat">
                <a:noFill/>
                <a:prstDash val="solid"/>
                <a:miter/>
              </a:ln>
            </p:spPr>
            <p:txBody>
              <a:bodyPr rtlCol="0" anchor="ctr"/>
              <a:lstStyle/>
              <a:p>
                <a:endParaRPr lang="en-GB" dirty="0"/>
              </a:p>
            </p:txBody>
          </p:sp>
          <p:sp>
            <p:nvSpPr>
              <p:cNvPr id="286" name="Freihandform: Form 863">
                <a:extLst>
                  <a:ext uri="{FF2B5EF4-FFF2-40B4-BE49-F238E27FC236}">
                    <a16:creationId xmlns:a16="http://schemas.microsoft.com/office/drawing/2014/main" id="{7C4876EF-575A-4A83-B85D-1CB1AF4E33CD}"/>
                  </a:ext>
                </a:extLst>
              </p:cNvPr>
              <p:cNvSpPr/>
              <p:nvPr/>
            </p:nvSpPr>
            <p:spPr>
              <a:xfrm>
                <a:off x="6250955" y="1800692"/>
                <a:ext cx="167299" cy="99863"/>
              </a:xfrm>
              <a:custGeom>
                <a:avLst/>
                <a:gdLst>
                  <a:gd name="connsiteX0" fmla="*/ 160376 w 167299"/>
                  <a:gd name="connsiteY0" fmla="*/ 99863 h 99863"/>
                  <a:gd name="connsiteX1" fmla="*/ 153451 w 167299"/>
                  <a:gd name="connsiteY1" fmla="*/ 93205 h 99863"/>
                  <a:gd name="connsiteX2" fmla="*/ 153451 w 167299"/>
                  <a:gd name="connsiteY2" fmla="*/ 61090 h 99863"/>
                  <a:gd name="connsiteX3" fmla="*/ 111901 w 167299"/>
                  <a:gd name="connsiteY3" fmla="*/ 13314 h 99863"/>
                  <a:gd name="connsiteX4" fmla="*/ 62001 w 167299"/>
                  <a:gd name="connsiteY4" fmla="*/ 13314 h 99863"/>
                  <a:gd name="connsiteX5" fmla="*/ 33055 w 167299"/>
                  <a:gd name="connsiteY5" fmla="*/ 18571 h 99863"/>
                  <a:gd name="connsiteX6" fmla="*/ 13840 w 167299"/>
                  <a:gd name="connsiteY6" fmla="*/ 57594 h 99863"/>
                  <a:gd name="connsiteX7" fmla="*/ 6529 w 167299"/>
                  <a:gd name="connsiteY7" fmla="*/ 63862 h 99863"/>
                  <a:gd name="connsiteX8" fmla="*/ 11 w 167299"/>
                  <a:gd name="connsiteY8" fmla="*/ 56834 h 99863"/>
                  <a:gd name="connsiteX9" fmla="*/ 24555 w 167299"/>
                  <a:gd name="connsiteY9" fmla="*/ 8059 h 99863"/>
                  <a:gd name="connsiteX10" fmla="*/ 62008 w 167299"/>
                  <a:gd name="connsiteY10" fmla="*/ 0 h 99863"/>
                  <a:gd name="connsiteX11" fmla="*/ 111901 w 167299"/>
                  <a:gd name="connsiteY11" fmla="*/ 0 h 99863"/>
                  <a:gd name="connsiteX12" fmla="*/ 167299 w 167299"/>
                  <a:gd name="connsiteY12" fmla="*/ 61092 h 99863"/>
                  <a:gd name="connsiteX13" fmla="*/ 167299 w 167299"/>
                  <a:gd name="connsiteY13" fmla="*/ 93207 h 99863"/>
                  <a:gd name="connsiteX14" fmla="*/ 160376 w 167299"/>
                  <a:gd name="connsiteY14" fmla="*/ 99863 h 9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299" h="99863">
                    <a:moveTo>
                      <a:pt x="160376" y="99863"/>
                    </a:moveTo>
                    <a:cubicBezTo>
                      <a:pt x="156551" y="99863"/>
                      <a:pt x="153451" y="96884"/>
                      <a:pt x="153451" y="93205"/>
                    </a:cubicBezTo>
                    <a:lnTo>
                      <a:pt x="153451" y="61090"/>
                    </a:lnTo>
                    <a:cubicBezTo>
                      <a:pt x="153451" y="39294"/>
                      <a:pt x="146243" y="13314"/>
                      <a:pt x="111901" y="13314"/>
                    </a:cubicBezTo>
                    <a:lnTo>
                      <a:pt x="62001" y="13314"/>
                    </a:lnTo>
                    <a:cubicBezTo>
                      <a:pt x="49710" y="13308"/>
                      <a:pt x="40100" y="13305"/>
                      <a:pt x="33055" y="18571"/>
                    </a:cubicBezTo>
                    <a:cubicBezTo>
                      <a:pt x="22147" y="26727"/>
                      <a:pt x="14784" y="41681"/>
                      <a:pt x="13840" y="57594"/>
                    </a:cubicBezTo>
                    <a:cubicBezTo>
                      <a:pt x="13621" y="61263"/>
                      <a:pt x="10324" y="64070"/>
                      <a:pt x="6529" y="63862"/>
                    </a:cubicBezTo>
                    <a:cubicBezTo>
                      <a:pt x="2711" y="63650"/>
                      <a:pt x="-205" y="60504"/>
                      <a:pt x="11" y="56834"/>
                    </a:cubicBezTo>
                    <a:cubicBezTo>
                      <a:pt x="1194" y="36901"/>
                      <a:pt x="10372" y="18667"/>
                      <a:pt x="24555" y="8059"/>
                    </a:cubicBezTo>
                    <a:cubicBezTo>
                      <a:pt x="35356" y="-13"/>
                      <a:pt x="48366" y="4"/>
                      <a:pt x="62008" y="0"/>
                    </a:cubicBezTo>
                    <a:lnTo>
                      <a:pt x="111901" y="0"/>
                    </a:lnTo>
                    <a:cubicBezTo>
                      <a:pt x="146589" y="0"/>
                      <a:pt x="167299" y="22836"/>
                      <a:pt x="167299" y="61092"/>
                    </a:cubicBezTo>
                    <a:lnTo>
                      <a:pt x="167299" y="93207"/>
                    </a:lnTo>
                    <a:cubicBezTo>
                      <a:pt x="167301" y="96884"/>
                      <a:pt x="164199" y="99863"/>
                      <a:pt x="160376" y="99863"/>
                    </a:cubicBezTo>
                    <a:close/>
                  </a:path>
                </a:pathLst>
              </a:custGeom>
              <a:solidFill>
                <a:schemeClr val="tx2"/>
              </a:solidFill>
              <a:ln w="218" cap="flat">
                <a:noFill/>
                <a:prstDash val="solid"/>
                <a:miter/>
              </a:ln>
            </p:spPr>
            <p:txBody>
              <a:bodyPr rtlCol="0" anchor="ctr"/>
              <a:lstStyle/>
              <a:p>
                <a:endParaRPr lang="en-GB" dirty="0"/>
              </a:p>
            </p:txBody>
          </p:sp>
          <p:sp>
            <p:nvSpPr>
              <p:cNvPr id="287" name="Freihandform: Form 864">
                <a:extLst>
                  <a:ext uri="{FF2B5EF4-FFF2-40B4-BE49-F238E27FC236}">
                    <a16:creationId xmlns:a16="http://schemas.microsoft.com/office/drawing/2014/main" id="{415D47C1-F27E-404A-819F-E5E9AE34C7D5}"/>
                  </a:ext>
                </a:extLst>
              </p:cNvPr>
              <p:cNvSpPr/>
              <p:nvPr/>
            </p:nvSpPr>
            <p:spPr>
              <a:xfrm>
                <a:off x="6300534" y="1707489"/>
                <a:ext cx="69248" cy="79888"/>
              </a:xfrm>
              <a:custGeom>
                <a:avLst/>
                <a:gdLst>
                  <a:gd name="connsiteX0" fmla="*/ 34624 w 69248"/>
                  <a:gd name="connsiteY0" fmla="*/ 79889 h 79888"/>
                  <a:gd name="connsiteX1" fmla="*/ 0 w 69248"/>
                  <a:gd name="connsiteY1" fmla="*/ 39944 h 79888"/>
                  <a:gd name="connsiteX2" fmla="*/ 34624 w 69248"/>
                  <a:gd name="connsiteY2" fmla="*/ 0 h 79888"/>
                  <a:gd name="connsiteX3" fmla="*/ 69248 w 69248"/>
                  <a:gd name="connsiteY3" fmla="*/ 39944 h 79888"/>
                  <a:gd name="connsiteX4" fmla="*/ 34624 w 69248"/>
                  <a:gd name="connsiteY4" fmla="*/ 79889 h 79888"/>
                  <a:gd name="connsiteX5" fmla="*/ 34624 w 69248"/>
                  <a:gd name="connsiteY5" fmla="*/ 13312 h 79888"/>
                  <a:gd name="connsiteX6" fmla="*/ 13850 w 69248"/>
                  <a:gd name="connsiteY6" fmla="*/ 39942 h 79888"/>
                  <a:gd name="connsiteX7" fmla="*/ 34624 w 69248"/>
                  <a:gd name="connsiteY7" fmla="*/ 66573 h 79888"/>
                  <a:gd name="connsiteX8" fmla="*/ 55398 w 69248"/>
                  <a:gd name="connsiteY8" fmla="*/ 39942 h 79888"/>
                  <a:gd name="connsiteX9" fmla="*/ 34624 w 69248"/>
                  <a:gd name="connsiteY9" fmla="*/ 13312 h 7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248" h="79888">
                    <a:moveTo>
                      <a:pt x="34624" y="79889"/>
                    </a:moveTo>
                    <a:cubicBezTo>
                      <a:pt x="13914" y="79889"/>
                      <a:pt x="0" y="63836"/>
                      <a:pt x="0" y="39944"/>
                    </a:cubicBezTo>
                    <a:cubicBezTo>
                      <a:pt x="0" y="16053"/>
                      <a:pt x="13914" y="0"/>
                      <a:pt x="34624" y="0"/>
                    </a:cubicBezTo>
                    <a:cubicBezTo>
                      <a:pt x="55334" y="0"/>
                      <a:pt x="69248" y="16053"/>
                      <a:pt x="69248" y="39944"/>
                    </a:cubicBezTo>
                    <a:cubicBezTo>
                      <a:pt x="69248" y="63836"/>
                      <a:pt x="55334" y="79889"/>
                      <a:pt x="34624" y="79889"/>
                    </a:cubicBezTo>
                    <a:close/>
                    <a:moveTo>
                      <a:pt x="34624" y="13312"/>
                    </a:moveTo>
                    <a:cubicBezTo>
                      <a:pt x="19307" y="13312"/>
                      <a:pt x="13850" y="27068"/>
                      <a:pt x="13850" y="39942"/>
                    </a:cubicBezTo>
                    <a:cubicBezTo>
                      <a:pt x="13850" y="52816"/>
                      <a:pt x="19309" y="66573"/>
                      <a:pt x="34624" y="66573"/>
                    </a:cubicBezTo>
                    <a:cubicBezTo>
                      <a:pt x="49939" y="66573"/>
                      <a:pt x="55398" y="52816"/>
                      <a:pt x="55398" y="39942"/>
                    </a:cubicBezTo>
                    <a:cubicBezTo>
                      <a:pt x="55400" y="27070"/>
                      <a:pt x="49942" y="13312"/>
                      <a:pt x="34624" y="13312"/>
                    </a:cubicBezTo>
                    <a:close/>
                  </a:path>
                </a:pathLst>
              </a:custGeom>
              <a:solidFill>
                <a:schemeClr val="tx2"/>
              </a:solidFill>
              <a:ln w="218" cap="flat">
                <a:noFill/>
                <a:prstDash val="solid"/>
                <a:miter/>
              </a:ln>
            </p:spPr>
            <p:txBody>
              <a:bodyPr rtlCol="0" anchor="ctr"/>
              <a:lstStyle/>
              <a:p>
                <a:endParaRPr lang="en-GB" dirty="0"/>
              </a:p>
            </p:txBody>
          </p:sp>
          <p:sp>
            <p:nvSpPr>
              <p:cNvPr id="288" name="Freihandform: Form 865">
                <a:extLst>
                  <a:ext uri="{FF2B5EF4-FFF2-40B4-BE49-F238E27FC236}">
                    <a16:creationId xmlns:a16="http://schemas.microsoft.com/office/drawing/2014/main" id="{950607BA-8A26-4D0C-A1B8-D568F174B41A}"/>
                  </a:ext>
                </a:extLst>
              </p:cNvPr>
              <p:cNvSpPr/>
              <p:nvPr/>
            </p:nvSpPr>
            <p:spPr>
              <a:xfrm>
                <a:off x="6369782" y="1860611"/>
                <a:ext cx="20774" cy="39944"/>
              </a:xfrm>
              <a:custGeom>
                <a:avLst/>
                <a:gdLst>
                  <a:gd name="connsiteX0" fmla="*/ 6925 w 20774"/>
                  <a:gd name="connsiteY0" fmla="*/ 39945 h 39944"/>
                  <a:gd name="connsiteX1" fmla="*/ 0 w 20774"/>
                  <a:gd name="connsiteY1" fmla="*/ 33287 h 39944"/>
                  <a:gd name="connsiteX2" fmla="*/ 0 w 20774"/>
                  <a:gd name="connsiteY2" fmla="*/ 6851 h 39944"/>
                  <a:gd name="connsiteX3" fmla="*/ 6722 w 20774"/>
                  <a:gd name="connsiteY3" fmla="*/ 197 h 39944"/>
                  <a:gd name="connsiteX4" fmla="*/ 13647 w 20774"/>
                  <a:gd name="connsiteY4" fmla="*/ 3 h 39944"/>
                  <a:gd name="connsiteX5" fmla="*/ 20771 w 20774"/>
                  <a:gd name="connsiteY5" fmla="*/ 6461 h 39944"/>
                  <a:gd name="connsiteX6" fmla="*/ 14052 w 20774"/>
                  <a:gd name="connsiteY6" fmla="*/ 13310 h 39944"/>
                  <a:gd name="connsiteX7" fmla="*/ 13848 w 20774"/>
                  <a:gd name="connsiteY7" fmla="*/ 13317 h 39944"/>
                  <a:gd name="connsiteX8" fmla="*/ 13848 w 20774"/>
                  <a:gd name="connsiteY8" fmla="*/ 33287 h 39944"/>
                  <a:gd name="connsiteX9" fmla="*/ 6925 w 20774"/>
                  <a:gd name="connsiteY9" fmla="*/ 39945 h 3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74" h="39944">
                    <a:moveTo>
                      <a:pt x="6925" y="39945"/>
                    </a:moveTo>
                    <a:cubicBezTo>
                      <a:pt x="3100" y="39945"/>
                      <a:pt x="0" y="36965"/>
                      <a:pt x="0" y="33287"/>
                    </a:cubicBezTo>
                    <a:lnTo>
                      <a:pt x="0" y="6851"/>
                    </a:lnTo>
                    <a:cubicBezTo>
                      <a:pt x="0" y="3250"/>
                      <a:pt x="2980" y="300"/>
                      <a:pt x="6722" y="197"/>
                    </a:cubicBezTo>
                    <a:lnTo>
                      <a:pt x="13647" y="3"/>
                    </a:lnTo>
                    <a:cubicBezTo>
                      <a:pt x="17457" y="-98"/>
                      <a:pt x="20662" y="2788"/>
                      <a:pt x="20771" y="6461"/>
                    </a:cubicBezTo>
                    <a:cubicBezTo>
                      <a:pt x="20883" y="10138"/>
                      <a:pt x="17877" y="13203"/>
                      <a:pt x="14052" y="13310"/>
                    </a:cubicBezTo>
                    <a:lnTo>
                      <a:pt x="13848" y="13317"/>
                    </a:lnTo>
                    <a:lnTo>
                      <a:pt x="13848" y="33287"/>
                    </a:lnTo>
                    <a:cubicBezTo>
                      <a:pt x="13851" y="36965"/>
                      <a:pt x="10750" y="39945"/>
                      <a:pt x="6925" y="39945"/>
                    </a:cubicBezTo>
                    <a:close/>
                  </a:path>
                </a:pathLst>
              </a:custGeom>
              <a:solidFill>
                <a:schemeClr val="tx2"/>
              </a:solidFill>
              <a:ln w="218" cap="flat">
                <a:noFill/>
                <a:prstDash val="solid"/>
                <a:miter/>
              </a:ln>
            </p:spPr>
            <p:txBody>
              <a:bodyPr rtlCol="0" anchor="ctr"/>
              <a:lstStyle/>
              <a:p>
                <a:endParaRPr lang="en-GB" dirty="0"/>
              </a:p>
            </p:txBody>
          </p:sp>
          <p:sp>
            <p:nvSpPr>
              <p:cNvPr id="289" name="Freihandform: Form 868">
                <a:extLst>
                  <a:ext uri="{FF2B5EF4-FFF2-40B4-BE49-F238E27FC236}">
                    <a16:creationId xmlns:a16="http://schemas.microsoft.com/office/drawing/2014/main" id="{EB9DFFA8-9E7E-4A43-AFFD-2F1AAE8E0DAA}"/>
                  </a:ext>
                </a:extLst>
              </p:cNvPr>
              <p:cNvSpPr/>
              <p:nvPr/>
            </p:nvSpPr>
            <p:spPr>
              <a:xfrm>
                <a:off x="6376705" y="1754090"/>
                <a:ext cx="145419" cy="93205"/>
              </a:xfrm>
              <a:custGeom>
                <a:avLst/>
                <a:gdLst>
                  <a:gd name="connsiteX0" fmla="*/ 138496 w 145419"/>
                  <a:gd name="connsiteY0" fmla="*/ 93205 h 93205"/>
                  <a:gd name="connsiteX1" fmla="*/ 131571 w 145419"/>
                  <a:gd name="connsiteY1" fmla="*/ 86547 h 93205"/>
                  <a:gd name="connsiteX2" fmla="*/ 131571 w 145419"/>
                  <a:gd name="connsiteY2" fmla="*/ 55851 h 93205"/>
                  <a:gd name="connsiteX3" fmla="*/ 91084 w 145419"/>
                  <a:gd name="connsiteY3" fmla="*/ 13314 h 93205"/>
                  <a:gd name="connsiteX4" fmla="*/ 55805 w 145419"/>
                  <a:gd name="connsiteY4" fmla="*/ 13314 h 93205"/>
                  <a:gd name="connsiteX5" fmla="*/ 30230 w 145419"/>
                  <a:gd name="connsiteY5" fmla="*/ 21400 h 93205"/>
                  <a:gd name="connsiteX6" fmla="*/ 13851 w 145419"/>
                  <a:gd name="connsiteY6" fmla="*/ 55851 h 93205"/>
                  <a:gd name="connsiteX7" fmla="*/ 6925 w 145419"/>
                  <a:gd name="connsiteY7" fmla="*/ 62509 h 93205"/>
                  <a:gd name="connsiteX8" fmla="*/ 0 w 145419"/>
                  <a:gd name="connsiteY8" fmla="*/ 55851 h 93205"/>
                  <a:gd name="connsiteX9" fmla="*/ 21728 w 145419"/>
                  <a:gd name="connsiteY9" fmla="*/ 10890 h 93205"/>
                  <a:gd name="connsiteX10" fmla="*/ 55805 w 145419"/>
                  <a:gd name="connsiteY10" fmla="*/ 0 h 93205"/>
                  <a:gd name="connsiteX11" fmla="*/ 91084 w 145419"/>
                  <a:gd name="connsiteY11" fmla="*/ 0 h 93205"/>
                  <a:gd name="connsiteX12" fmla="*/ 145420 w 145419"/>
                  <a:gd name="connsiteY12" fmla="*/ 55851 h 93205"/>
                  <a:gd name="connsiteX13" fmla="*/ 145420 w 145419"/>
                  <a:gd name="connsiteY13" fmla="*/ 86547 h 93205"/>
                  <a:gd name="connsiteX14" fmla="*/ 138496 w 145419"/>
                  <a:gd name="connsiteY14" fmla="*/ 93205 h 93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5419" h="93205">
                    <a:moveTo>
                      <a:pt x="138496" y="93205"/>
                    </a:moveTo>
                    <a:cubicBezTo>
                      <a:pt x="134671" y="93205"/>
                      <a:pt x="131571" y="90225"/>
                      <a:pt x="131571" y="86547"/>
                    </a:cubicBezTo>
                    <a:lnTo>
                      <a:pt x="131571" y="55851"/>
                    </a:lnTo>
                    <a:cubicBezTo>
                      <a:pt x="131571" y="30808"/>
                      <a:pt x="114923" y="13314"/>
                      <a:pt x="91084" y="13314"/>
                    </a:cubicBezTo>
                    <a:lnTo>
                      <a:pt x="55805" y="13314"/>
                    </a:lnTo>
                    <a:cubicBezTo>
                      <a:pt x="46147" y="13314"/>
                      <a:pt x="37304" y="16110"/>
                      <a:pt x="30230" y="21400"/>
                    </a:cubicBezTo>
                    <a:cubicBezTo>
                      <a:pt x="19823" y="29181"/>
                      <a:pt x="13851" y="41740"/>
                      <a:pt x="13851" y="55851"/>
                    </a:cubicBezTo>
                    <a:cubicBezTo>
                      <a:pt x="13851" y="59527"/>
                      <a:pt x="10750" y="62509"/>
                      <a:pt x="6925" y="62509"/>
                    </a:cubicBezTo>
                    <a:cubicBezTo>
                      <a:pt x="3100" y="62509"/>
                      <a:pt x="0" y="59529"/>
                      <a:pt x="0" y="55851"/>
                    </a:cubicBezTo>
                    <a:cubicBezTo>
                      <a:pt x="0" y="37602"/>
                      <a:pt x="7919" y="21214"/>
                      <a:pt x="21728" y="10890"/>
                    </a:cubicBezTo>
                    <a:cubicBezTo>
                      <a:pt x="31252" y="3764"/>
                      <a:pt x="43036" y="0"/>
                      <a:pt x="55805" y="0"/>
                    </a:cubicBezTo>
                    <a:lnTo>
                      <a:pt x="91084" y="0"/>
                    </a:lnTo>
                    <a:cubicBezTo>
                      <a:pt x="122570" y="0"/>
                      <a:pt x="145420" y="23491"/>
                      <a:pt x="145420" y="55851"/>
                    </a:cubicBezTo>
                    <a:lnTo>
                      <a:pt x="145420" y="86547"/>
                    </a:lnTo>
                    <a:cubicBezTo>
                      <a:pt x="145422" y="90225"/>
                      <a:pt x="142321" y="93205"/>
                      <a:pt x="138496" y="93205"/>
                    </a:cubicBezTo>
                    <a:close/>
                  </a:path>
                </a:pathLst>
              </a:custGeom>
              <a:solidFill>
                <a:schemeClr val="tx2"/>
              </a:solidFill>
              <a:ln w="218" cap="flat">
                <a:noFill/>
                <a:prstDash val="solid"/>
                <a:miter/>
              </a:ln>
            </p:spPr>
            <p:txBody>
              <a:bodyPr rtlCol="0" anchor="ctr"/>
              <a:lstStyle/>
              <a:p>
                <a:endParaRPr lang="en-GB" dirty="0"/>
              </a:p>
            </p:txBody>
          </p:sp>
          <p:sp>
            <p:nvSpPr>
              <p:cNvPr id="290" name="Freihandform: Form 869">
                <a:extLst>
                  <a:ext uri="{FF2B5EF4-FFF2-40B4-BE49-F238E27FC236}">
                    <a16:creationId xmlns:a16="http://schemas.microsoft.com/office/drawing/2014/main" id="{4213C550-9177-47BC-971F-8D40500AF329}"/>
                  </a:ext>
                </a:extLst>
              </p:cNvPr>
              <p:cNvSpPr/>
              <p:nvPr/>
            </p:nvSpPr>
            <p:spPr>
              <a:xfrm>
                <a:off x="6418257" y="1680855"/>
                <a:ext cx="55397" cy="66577"/>
              </a:xfrm>
              <a:custGeom>
                <a:avLst/>
                <a:gdLst>
                  <a:gd name="connsiteX0" fmla="*/ 27699 w 55397"/>
                  <a:gd name="connsiteY0" fmla="*/ 66577 h 66577"/>
                  <a:gd name="connsiteX1" fmla="*/ 0 w 55397"/>
                  <a:gd name="connsiteY1" fmla="*/ 33289 h 66577"/>
                  <a:gd name="connsiteX2" fmla="*/ 27699 w 55397"/>
                  <a:gd name="connsiteY2" fmla="*/ 0 h 66577"/>
                  <a:gd name="connsiteX3" fmla="*/ 55398 w 55397"/>
                  <a:gd name="connsiteY3" fmla="*/ 33289 h 66577"/>
                  <a:gd name="connsiteX4" fmla="*/ 27699 w 55397"/>
                  <a:gd name="connsiteY4" fmla="*/ 66577 h 66577"/>
                  <a:gd name="connsiteX5" fmla="*/ 27699 w 55397"/>
                  <a:gd name="connsiteY5" fmla="*/ 13316 h 66577"/>
                  <a:gd name="connsiteX6" fmla="*/ 13848 w 55397"/>
                  <a:gd name="connsiteY6" fmla="*/ 33289 h 66577"/>
                  <a:gd name="connsiteX7" fmla="*/ 27699 w 55397"/>
                  <a:gd name="connsiteY7" fmla="*/ 53261 h 66577"/>
                  <a:gd name="connsiteX8" fmla="*/ 41547 w 55397"/>
                  <a:gd name="connsiteY8" fmla="*/ 33289 h 66577"/>
                  <a:gd name="connsiteX9" fmla="*/ 27699 w 55397"/>
                  <a:gd name="connsiteY9" fmla="*/ 13316 h 6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397" h="66577">
                    <a:moveTo>
                      <a:pt x="27699" y="66577"/>
                    </a:moveTo>
                    <a:cubicBezTo>
                      <a:pt x="11131" y="66577"/>
                      <a:pt x="0" y="53199"/>
                      <a:pt x="0" y="33289"/>
                    </a:cubicBezTo>
                    <a:cubicBezTo>
                      <a:pt x="0" y="13378"/>
                      <a:pt x="11131" y="0"/>
                      <a:pt x="27699" y="0"/>
                    </a:cubicBezTo>
                    <a:cubicBezTo>
                      <a:pt x="44266" y="0"/>
                      <a:pt x="55398" y="13378"/>
                      <a:pt x="55398" y="33289"/>
                    </a:cubicBezTo>
                    <a:cubicBezTo>
                      <a:pt x="55398" y="53199"/>
                      <a:pt x="44266" y="66577"/>
                      <a:pt x="27699" y="66577"/>
                    </a:cubicBezTo>
                    <a:close/>
                    <a:moveTo>
                      <a:pt x="27699" y="13316"/>
                    </a:moveTo>
                    <a:cubicBezTo>
                      <a:pt x="14516" y="13316"/>
                      <a:pt x="13848" y="29954"/>
                      <a:pt x="13848" y="33289"/>
                    </a:cubicBezTo>
                    <a:cubicBezTo>
                      <a:pt x="13848" y="36623"/>
                      <a:pt x="14514" y="53261"/>
                      <a:pt x="27699" y="53261"/>
                    </a:cubicBezTo>
                    <a:cubicBezTo>
                      <a:pt x="40882" y="53261"/>
                      <a:pt x="41547" y="36623"/>
                      <a:pt x="41547" y="33289"/>
                    </a:cubicBezTo>
                    <a:cubicBezTo>
                      <a:pt x="41547" y="29954"/>
                      <a:pt x="40882" y="13316"/>
                      <a:pt x="27699" y="13316"/>
                    </a:cubicBezTo>
                    <a:close/>
                  </a:path>
                </a:pathLst>
              </a:custGeom>
              <a:solidFill>
                <a:schemeClr val="tx2"/>
              </a:solidFill>
              <a:ln w="218" cap="flat">
                <a:noFill/>
                <a:prstDash val="solid"/>
                <a:miter/>
              </a:ln>
            </p:spPr>
            <p:txBody>
              <a:bodyPr rtlCol="0" anchor="ctr"/>
              <a:lstStyle/>
              <a:p>
                <a:endParaRPr lang="en-GB" dirty="0"/>
              </a:p>
            </p:txBody>
          </p:sp>
          <p:sp>
            <p:nvSpPr>
              <p:cNvPr id="291" name="Freihandform: Form 871">
                <a:extLst>
                  <a:ext uri="{FF2B5EF4-FFF2-40B4-BE49-F238E27FC236}">
                    <a16:creationId xmlns:a16="http://schemas.microsoft.com/office/drawing/2014/main" id="{4B866312-115C-4F5B-94D6-16457AF5F752}"/>
                  </a:ext>
                </a:extLst>
              </p:cNvPr>
              <p:cNvSpPr/>
              <p:nvPr/>
            </p:nvSpPr>
            <p:spPr>
              <a:xfrm>
                <a:off x="6473652" y="1807351"/>
                <a:ext cx="20775" cy="39944"/>
              </a:xfrm>
              <a:custGeom>
                <a:avLst/>
                <a:gdLst>
                  <a:gd name="connsiteX0" fmla="*/ 6925 w 20775"/>
                  <a:gd name="connsiteY0" fmla="*/ 39944 h 39944"/>
                  <a:gd name="connsiteX1" fmla="*/ 0 w 20775"/>
                  <a:gd name="connsiteY1" fmla="*/ 33286 h 39944"/>
                  <a:gd name="connsiteX2" fmla="*/ 0 w 20775"/>
                  <a:gd name="connsiteY2" fmla="*/ 6658 h 39944"/>
                  <a:gd name="connsiteX3" fmla="*/ 6925 w 20775"/>
                  <a:gd name="connsiteY3" fmla="*/ 0 h 39944"/>
                  <a:gd name="connsiteX4" fmla="*/ 13851 w 20775"/>
                  <a:gd name="connsiteY4" fmla="*/ 0 h 39944"/>
                  <a:gd name="connsiteX5" fmla="*/ 20776 w 20775"/>
                  <a:gd name="connsiteY5" fmla="*/ 6658 h 39944"/>
                  <a:gd name="connsiteX6" fmla="*/ 13851 w 20775"/>
                  <a:gd name="connsiteY6" fmla="*/ 13316 h 39944"/>
                  <a:gd name="connsiteX7" fmla="*/ 13851 w 20775"/>
                  <a:gd name="connsiteY7" fmla="*/ 33289 h 39944"/>
                  <a:gd name="connsiteX8" fmla="*/ 6925 w 20775"/>
                  <a:gd name="connsiteY8" fmla="*/ 39944 h 3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75" h="39944">
                    <a:moveTo>
                      <a:pt x="6925" y="39944"/>
                    </a:moveTo>
                    <a:cubicBezTo>
                      <a:pt x="3100" y="39944"/>
                      <a:pt x="0" y="36965"/>
                      <a:pt x="0" y="33286"/>
                    </a:cubicBezTo>
                    <a:lnTo>
                      <a:pt x="0" y="6658"/>
                    </a:lnTo>
                    <a:cubicBezTo>
                      <a:pt x="0" y="2982"/>
                      <a:pt x="3100" y="0"/>
                      <a:pt x="6925" y="0"/>
                    </a:cubicBezTo>
                    <a:lnTo>
                      <a:pt x="13851" y="0"/>
                    </a:lnTo>
                    <a:cubicBezTo>
                      <a:pt x="17675" y="0"/>
                      <a:pt x="20776" y="2980"/>
                      <a:pt x="20776" y="6658"/>
                    </a:cubicBezTo>
                    <a:cubicBezTo>
                      <a:pt x="20776" y="10336"/>
                      <a:pt x="17675" y="13316"/>
                      <a:pt x="13851" y="13316"/>
                    </a:cubicBezTo>
                    <a:lnTo>
                      <a:pt x="13851" y="33289"/>
                    </a:lnTo>
                    <a:cubicBezTo>
                      <a:pt x="13851" y="36965"/>
                      <a:pt x="10750" y="39944"/>
                      <a:pt x="6925" y="39944"/>
                    </a:cubicBezTo>
                    <a:close/>
                  </a:path>
                </a:pathLst>
              </a:custGeom>
              <a:solidFill>
                <a:schemeClr val="tx2"/>
              </a:solidFill>
              <a:ln w="218" cap="flat">
                <a:noFill/>
                <a:prstDash val="solid"/>
                <a:miter/>
              </a:ln>
            </p:spPr>
            <p:txBody>
              <a:bodyPr rtlCol="0" anchor="ctr"/>
              <a:lstStyle/>
              <a:p>
                <a:endParaRPr lang="en-GB" dirty="0"/>
              </a:p>
            </p:txBody>
          </p:sp>
        </p:grpSp>
      </p:grpSp>
      <p:grpSp>
        <p:nvGrpSpPr>
          <p:cNvPr id="89" name="Group 88">
            <a:extLst>
              <a:ext uri="{FF2B5EF4-FFF2-40B4-BE49-F238E27FC236}">
                <a16:creationId xmlns:a16="http://schemas.microsoft.com/office/drawing/2014/main" id="{0CB6FF0C-4A04-B9DE-89FE-668A8B61A868}"/>
              </a:ext>
            </a:extLst>
          </p:cNvPr>
          <p:cNvGrpSpPr/>
          <p:nvPr/>
        </p:nvGrpSpPr>
        <p:grpSpPr>
          <a:xfrm>
            <a:off x="2584603" y="4032591"/>
            <a:ext cx="600630" cy="432000"/>
            <a:chOff x="2584603" y="4032591"/>
            <a:chExt cx="600630" cy="432000"/>
          </a:xfrm>
        </p:grpSpPr>
        <p:grpSp>
          <p:nvGrpSpPr>
            <p:cNvPr id="296" name="Graphic 9">
              <a:extLst>
                <a:ext uri="{FF2B5EF4-FFF2-40B4-BE49-F238E27FC236}">
                  <a16:creationId xmlns:a16="http://schemas.microsoft.com/office/drawing/2014/main" id="{010BA922-62CE-4EEA-A10C-677912104B76}"/>
                </a:ext>
              </a:extLst>
            </p:cNvPr>
            <p:cNvGrpSpPr/>
            <p:nvPr/>
          </p:nvGrpSpPr>
          <p:grpSpPr>
            <a:xfrm>
              <a:off x="2584603" y="4032591"/>
              <a:ext cx="600630" cy="410809"/>
              <a:chOff x="6913389" y="3350840"/>
              <a:chExt cx="566119" cy="387205"/>
            </a:xfrm>
            <a:solidFill>
              <a:schemeClr val="accent1"/>
            </a:solidFill>
          </p:grpSpPr>
          <p:grpSp>
            <p:nvGrpSpPr>
              <p:cNvPr id="305" name="Graphic 9">
                <a:extLst>
                  <a:ext uri="{FF2B5EF4-FFF2-40B4-BE49-F238E27FC236}">
                    <a16:creationId xmlns:a16="http://schemas.microsoft.com/office/drawing/2014/main" id="{9667C346-E44D-411D-B2C6-273067E351BF}"/>
                  </a:ext>
                </a:extLst>
              </p:cNvPr>
              <p:cNvGrpSpPr/>
              <p:nvPr/>
            </p:nvGrpSpPr>
            <p:grpSpPr>
              <a:xfrm>
                <a:off x="6913389" y="3353071"/>
                <a:ext cx="178041" cy="382016"/>
                <a:chOff x="6913389" y="3353071"/>
                <a:chExt cx="178041" cy="382016"/>
              </a:xfrm>
              <a:solidFill>
                <a:schemeClr val="accent1"/>
              </a:solidFill>
            </p:grpSpPr>
            <p:sp>
              <p:nvSpPr>
                <p:cNvPr id="317" name="Freihandform: Form 584">
                  <a:extLst>
                    <a:ext uri="{FF2B5EF4-FFF2-40B4-BE49-F238E27FC236}">
                      <a16:creationId xmlns:a16="http://schemas.microsoft.com/office/drawing/2014/main" id="{990E7783-9A48-493B-9524-60B5D2645499}"/>
                    </a:ext>
                  </a:extLst>
                </p:cNvPr>
                <p:cNvSpPr/>
                <p:nvPr/>
              </p:nvSpPr>
              <p:spPr>
                <a:xfrm>
                  <a:off x="7011591" y="3412157"/>
                  <a:ext cx="79840" cy="258949"/>
                </a:xfrm>
                <a:custGeom>
                  <a:avLst/>
                  <a:gdLst>
                    <a:gd name="connsiteX0" fmla="*/ 65949 w 79840"/>
                    <a:gd name="connsiteY0" fmla="*/ 258949 h 258949"/>
                    <a:gd name="connsiteX1" fmla="*/ 61552 w 79840"/>
                    <a:gd name="connsiteY1" fmla="*/ 257427 h 258949"/>
                    <a:gd name="connsiteX2" fmla="*/ 0 w 79840"/>
                    <a:gd name="connsiteY2" fmla="*/ 132079 h 258949"/>
                    <a:gd name="connsiteX3" fmla="*/ 68808 w 79840"/>
                    <a:gd name="connsiteY3" fmla="*/ 1294 h 258949"/>
                    <a:gd name="connsiteX4" fmla="*/ 78492 w 79840"/>
                    <a:gd name="connsiteY4" fmla="*/ 2710 h 258949"/>
                    <a:gd name="connsiteX5" fmla="*/ 77018 w 79840"/>
                    <a:gd name="connsiteY5" fmla="*/ 12020 h 258949"/>
                    <a:gd name="connsiteX6" fmla="*/ 13850 w 79840"/>
                    <a:gd name="connsiteY6" fmla="*/ 132076 h 258949"/>
                    <a:gd name="connsiteX7" fmla="*/ 70358 w 79840"/>
                    <a:gd name="connsiteY7" fmla="*/ 247154 h 258949"/>
                    <a:gd name="connsiteX8" fmla="*/ 71297 w 79840"/>
                    <a:gd name="connsiteY8" fmla="*/ 256523 h 258949"/>
                    <a:gd name="connsiteX9" fmla="*/ 65949 w 79840"/>
                    <a:gd name="connsiteY9" fmla="*/ 258949 h 2589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840" h="258949">
                      <a:moveTo>
                        <a:pt x="65949" y="258949"/>
                      </a:moveTo>
                      <a:cubicBezTo>
                        <a:pt x="64401" y="258949"/>
                        <a:pt x="62844" y="258448"/>
                        <a:pt x="61552" y="257427"/>
                      </a:cubicBezTo>
                      <a:cubicBezTo>
                        <a:pt x="22437" y="226453"/>
                        <a:pt x="0" y="180761"/>
                        <a:pt x="0" y="132079"/>
                      </a:cubicBezTo>
                      <a:cubicBezTo>
                        <a:pt x="0" y="80690"/>
                        <a:pt x="25724" y="31799"/>
                        <a:pt x="68808" y="1294"/>
                      </a:cubicBezTo>
                      <a:cubicBezTo>
                        <a:pt x="71891" y="-879"/>
                        <a:pt x="76226" y="-255"/>
                        <a:pt x="78492" y="2710"/>
                      </a:cubicBezTo>
                      <a:cubicBezTo>
                        <a:pt x="80758" y="5668"/>
                        <a:pt x="80101" y="9837"/>
                        <a:pt x="77018" y="12020"/>
                      </a:cubicBezTo>
                      <a:cubicBezTo>
                        <a:pt x="37466" y="40021"/>
                        <a:pt x="13850" y="84902"/>
                        <a:pt x="13850" y="132076"/>
                      </a:cubicBezTo>
                      <a:cubicBezTo>
                        <a:pt x="13850" y="176768"/>
                        <a:pt x="34449" y="218715"/>
                        <a:pt x="70358" y="247154"/>
                      </a:cubicBezTo>
                      <a:cubicBezTo>
                        <a:pt x="73314" y="249488"/>
                        <a:pt x="73732" y="253688"/>
                        <a:pt x="71297" y="256523"/>
                      </a:cubicBezTo>
                      <a:cubicBezTo>
                        <a:pt x="69931" y="258124"/>
                        <a:pt x="67950" y="258949"/>
                        <a:pt x="65949" y="258949"/>
                      </a:cubicBezTo>
                      <a:close/>
                    </a:path>
                  </a:pathLst>
                </a:custGeom>
                <a:solidFill>
                  <a:schemeClr val="accent1"/>
                </a:solidFill>
                <a:ln w="218" cap="flat">
                  <a:noFill/>
                  <a:prstDash val="solid"/>
                  <a:miter/>
                </a:ln>
              </p:spPr>
              <p:txBody>
                <a:bodyPr rtlCol="0" anchor="ctr"/>
                <a:lstStyle/>
                <a:p>
                  <a:endParaRPr lang="en-GB" dirty="0"/>
                </a:p>
              </p:txBody>
            </p:sp>
            <p:grpSp>
              <p:nvGrpSpPr>
                <p:cNvPr id="318" name="Graphic 9">
                  <a:extLst>
                    <a:ext uri="{FF2B5EF4-FFF2-40B4-BE49-F238E27FC236}">
                      <a16:creationId xmlns:a16="http://schemas.microsoft.com/office/drawing/2014/main" id="{015CB78C-BD5A-4128-9BA8-FE5D28FABC27}"/>
                    </a:ext>
                  </a:extLst>
                </p:cNvPr>
                <p:cNvGrpSpPr/>
                <p:nvPr/>
              </p:nvGrpSpPr>
              <p:grpSpPr>
                <a:xfrm>
                  <a:off x="6981609" y="3353071"/>
                  <a:ext cx="90315" cy="86840"/>
                  <a:chOff x="6981609" y="3353071"/>
                  <a:chExt cx="90315" cy="86840"/>
                </a:xfrm>
                <a:solidFill>
                  <a:schemeClr val="accent1"/>
                </a:solidFill>
              </p:grpSpPr>
              <p:sp>
                <p:nvSpPr>
                  <p:cNvPr id="325" name="Freihandform: Form 586">
                    <a:extLst>
                      <a:ext uri="{FF2B5EF4-FFF2-40B4-BE49-F238E27FC236}">
                        <a16:creationId xmlns:a16="http://schemas.microsoft.com/office/drawing/2014/main" id="{A78F9088-2981-4E54-BF1C-EA30310EC3D8}"/>
                      </a:ext>
                    </a:extLst>
                  </p:cNvPr>
                  <p:cNvSpPr/>
                  <p:nvPr/>
                </p:nvSpPr>
                <p:spPr>
                  <a:xfrm>
                    <a:off x="6981609" y="3353071"/>
                    <a:ext cx="61821" cy="59441"/>
                  </a:xfrm>
                  <a:custGeom>
                    <a:avLst/>
                    <a:gdLst>
                      <a:gd name="connsiteX0" fmla="*/ 30911 w 61821"/>
                      <a:gd name="connsiteY0" fmla="*/ 59442 h 59441"/>
                      <a:gd name="connsiteX1" fmla="*/ 0 w 61821"/>
                      <a:gd name="connsiteY1" fmla="*/ 29718 h 59441"/>
                      <a:gd name="connsiteX2" fmla="*/ 30911 w 61821"/>
                      <a:gd name="connsiteY2" fmla="*/ 0 h 59441"/>
                      <a:gd name="connsiteX3" fmla="*/ 61822 w 61821"/>
                      <a:gd name="connsiteY3" fmla="*/ 29718 h 59441"/>
                      <a:gd name="connsiteX4" fmla="*/ 30911 w 61821"/>
                      <a:gd name="connsiteY4" fmla="*/ 59442 h 59441"/>
                      <a:gd name="connsiteX5" fmla="*/ 30911 w 61821"/>
                      <a:gd name="connsiteY5" fmla="*/ 13314 h 59441"/>
                      <a:gd name="connsiteX6" fmla="*/ 13848 w 61821"/>
                      <a:gd name="connsiteY6" fmla="*/ 29718 h 59441"/>
                      <a:gd name="connsiteX7" fmla="*/ 30911 w 61821"/>
                      <a:gd name="connsiteY7" fmla="*/ 46127 h 59441"/>
                      <a:gd name="connsiteX8" fmla="*/ 47973 w 61821"/>
                      <a:gd name="connsiteY8" fmla="*/ 29718 h 59441"/>
                      <a:gd name="connsiteX9" fmla="*/ 30911 w 61821"/>
                      <a:gd name="connsiteY9" fmla="*/ 13314 h 5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821" h="59441">
                        <a:moveTo>
                          <a:pt x="30911" y="59442"/>
                        </a:moveTo>
                        <a:cubicBezTo>
                          <a:pt x="13870" y="59442"/>
                          <a:pt x="0" y="46108"/>
                          <a:pt x="0" y="29718"/>
                        </a:cubicBezTo>
                        <a:cubicBezTo>
                          <a:pt x="0" y="13334"/>
                          <a:pt x="13870" y="0"/>
                          <a:pt x="30911" y="0"/>
                        </a:cubicBezTo>
                        <a:cubicBezTo>
                          <a:pt x="47951" y="0"/>
                          <a:pt x="61822" y="13334"/>
                          <a:pt x="61822" y="29718"/>
                        </a:cubicBezTo>
                        <a:cubicBezTo>
                          <a:pt x="61822" y="46108"/>
                          <a:pt x="47951" y="59442"/>
                          <a:pt x="30911" y="59442"/>
                        </a:cubicBezTo>
                        <a:close/>
                        <a:moveTo>
                          <a:pt x="30911" y="13314"/>
                        </a:moveTo>
                        <a:cubicBezTo>
                          <a:pt x="21505" y="13314"/>
                          <a:pt x="13848" y="20673"/>
                          <a:pt x="13848" y="29718"/>
                        </a:cubicBezTo>
                        <a:cubicBezTo>
                          <a:pt x="13848" y="38767"/>
                          <a:pt x="21503" y="46127"/>
                          <a:pt x="30911" y="46127"/>
                        </a:cubicBezTo>
                        <a:cubicBezTo>
                          <a:pt x="40319" y="46127"/>
                          <a:pt x="47973" y="38769"/>
                          <a:pt x="47973" y="29718"/>
                        </a:cubicBezTo>
                        <a:cubicBezTo>
                          <a:pt x="47971" y="20673"/>
                          <a:pt x="40317" y="13314"/>
                          <a:pt x="30911" y="13314"/>
                        </a:cubicBezTo>
                        <a:close/>
                      </a:path>
                    </a:pathLst>
                  </a:custGeom>
                  <a:solidFill>
                    <a:schemeClr val="accent1"/>
                  </a:solidFill>
                  <a:ln w="218" cap="flat">
                    <a:noFill/>
                    <a:prstDash val="solid"/>
                    <a:miter/>
                  </a:ln>
                </p:spPr>
                <p:txBody>
                  <a:bodyPr rtlCol="0" anchor="ctr"/>
                  <a:lstStyle/>
                  <a:p>
                    <a:endParaRPr lang="en-GB" dirty="0"/>
                  </a:p>
                </p:txBody>
              </p:sp>
              <p:sp>
                <p:nvSpPr>
                  <p:cNvPr id="326" name="Freihandform: Form 587">
                    <a:extLst>
                      <a:ext uri="{FF2B5EF4-FFF2-40B4-BE49-F238E27FC236}">
                        <a16:creationId xmlns:a16="http://schemas.microsoft.com/office/drawing/2014/main" id="{E1641388-72BC-4C82-BFE8-530094FC876E}"/>
                      </a:ext>
                    </a:extLst>
                  </p:cNvPr>
                  <p:cNvSpPr/>
                  <p:nvPr/>
                </p:nvSpPr>
                <p:spPr>
                  <a:xfrm>
                    <a:off x="7023379" y="3393230"/>
                    <a:ext cx="48545" cy="46681"/>
                  </a:xfrm>
                  <a:custGeom>
                    <a:avLst/>
                    <a:gdLst>
                      <a:gd name="connsiteX0" fmla="*/ 41622 w 48545"/>
                      <a:gd name="connsiteY0" fmla="*/ 46681 h 46681"/>
                      <a:gd name="connsiteX1" fmla="*/ 36727 w 48545"/>
                      <a:gd name="connsiteY1" fmla="*/ 44731 h 46681"/>
                      <a:gd name="connsiteX2" fmla="*/ 2028 w 48545"/>
                      <a:gd name="connsiteY2" fmla="*/ 11366 h 46681"/>
                      <a:gd name="connsiteX3" fmla="*/ 2028 w 48545"/>
                      <a:gd name="connsiteY3" fmla="*/ 1951 h 46681"/>
                      <a:gd name="connsiteX4" fmla="*/ 11819 w 48545"/>
                      <a:gd name="connsiteY4" fmla="*/ 1951 h 46681"/>
                      <a:gd name="connsiteX5" fmla="*/ 46518 w 48545"/>
                      <a:gd name="connsiteY5" fmla="*/ 35316 h 46681"/>
                      <a:gd name="connsiteX6" fmla="*/ 46518 w 48545"/>
                      <a:gd name="connsiteY6" fmla="*/ 44731 h 46681"/>
                      <a:gd name="connsiteX7" fmla="*/ 41622 w 48545"/>
                      <a:gd name="connsiteY7" fmla="*/ 46681 h 4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45" h="46681">
                        <a:moveTo>
                          <a:pt x="41622" y="46681"/>
                        </a:moveTo>
                        <a:cubicBezTo>
                          <a:pt x="39851" y="46681"/>
                          <a:pt x="38080" y="46031"/>
                          <a:pt x="36727" y="44731"/>
                        </a:cubicBezTo>
                        <a:lnTo>
                          <a:pt x="2028" y="11366"/>
                        </a:lnTo>
                        <a:cubicBezTo>
                          <a:pt x="-676" y="8764"/>
                          <a:pt x="-676" y="4552"/>
                          <a:pt x="2028" y="1951"/>
                        </a:cubicBezTo>
                        <a:cubicBezTo>
                          <a:pt x="4734" y="-650"/>
                          <a:pt x="9115" y="-650"/>
                          <a:pt x="11819" y="1951"/>
                        </a:cubicBezTo>
                        <a:lnTo>
                          <a:pt x="46518" y="35316"/>
                        </a:lnTo>
                        <a:cubicBezTo>
                          <a:pt x="49222" y="37917"/>
                          <a:pt x="49222" y="42130"/>
                          <a:pt x="46518" y="44731"/>
                        </a:cubicBezTo>
                        <a:cubicBezTo>
                          <a:pt x="45167" y="46031"/>
                          <a:pt x="43396" y="46681"/>
                          <a:pt x="41622" y="46681"/>
                        </a:cubicBezTo>
                        <a:close/>
                      </a:path>
                    </a:pathLst>
                  </a:custGeom>
                  <a:solidFill>
                    <a:schemeClr val="accent1"/>
                  </a:solidFill>
                  <a:ln w="218" cap="flat">
                    <a:noFill/>
                    <a:prstDash val="solid"/>
                    <a:miter/>
                  </a:ln>
                </p:spPr>
                <p:txBody>
                  <a:bodyPr rtlCol="0" anchor="ctr"/>
                  <a:lstStyle/>
                  <a:p>
                    <a:endParaRPr lang="en-GB" dirty="0"/>
                  </a:p>
                </p:txBody>
              </p:sp>
            </p:grpSp>
            <p:grpSp>
              <p:nvGrpSpPr>
                <p:cNvPr id="319" name="Graphic 9">
                  <a:extLst>
                    <a:ext uri="{FF2B5EF4-FFF2-40B4-BE49-F238E27FC236}">
                      <a16:creationId xmlns:a16="http://schemas.microsoft.com/office/drawing/2014/main" id="{40740BD3-C7BA-4177-9717-9F0FFEBA3AEB}"/>
                    </a:ext>
                  </a:extLst>
                </p:cNvPr>
                <p:cNvGrpSpPr/>
                <p:nvPr/>
              </p:nvGrpSpPr>
              <p:grpSpPr>
                <a:xfrm>
                  <a:off x="6913389" y="3514509"/>
                  <a:ext cx="112052" cy="59437"/>
                  <a:chOff x="6913389" y="3514509"/>
                  <a:chExt cx="112052" cy="59437"/>
                </a:xfrm>
                <a:solidFill>
                  <a:schemeClr val="accent1"/>
                </a:solidFill>
              </p:grpSpPr>
              <p:sp>
                <p:nvSpPr>
                  <p:cNvPr id="323" name="Freihandform: Form 589">
                    <a:extLst>
                      <a:ext uri="{FF2B5EF4-FFF2-40B4-BE49-F238E27FC236}">
                        <a16:creationId xmlns:a16="http://schemas.microsoft.com/office/drawing/2014/main" id="{D09F9A9C-FE58-400C-ACA2-5BD657EBE8A0}"/>
                      </a:ext>
                    </a:extLst>
                  </p:cNvPr>
                  <p:cNvSpPr/>
                  <p:nvPr/>
                </p:nvSpPr>
                <p:spPr>
                  <a:xfrm>
                    <a:off x="6913389" y="3514509"/>
                    <a:ext cx="61795" cy="59437"/>
                  </a:xfrm>
                  <a:custGeom>
                    <a:avLst/>
                    <a:gdLst>
                      <a:gd name="connsiteX0" fmla="*/ 30895 w 61795"/>
                      <a:gd name="connsiteY0" fmla="*/ 59437 h 59437"/>
                      <a:gd name="connsiteX1" fmla="*/ 9038 w 61795"/>
                      <a:gd name="connsiteY1" fmla="*/ 50745 h 59437"/>
                      <a:gd name="connsiteX2" fmla="*/ 9038 w 61795"/>
                      <a:gd name="connsiteY2" fmla="*/ 8712 h 59437"/>
                      <a:gd name="connsiteX3" fmla="*/ 30895 w 61795"/>
                      <a:gd name="connsiteY3" fmla="*/ 0 h 59437"/>
                      <a:gd name="connsiteX4" fmla="*/ 52757 w 61795"/>
                      <a:gd name="connsiteY4" fmla="*/ 8712 h 59437"/>
                      <a:gd name="connsiteX5" fmla="*/ 52757 w 61795"/>
                      <a:gd name="connsiteY5" fmla="*/ 8712 h 59437"/>
                      <a:gd name="connsiteX6" fmla="*/ 52757 w 61795"/>
                      <a:gd name="connsiteY6" fmla="*/ 50745 h 59437"/>
                      <a:gd name="connsiteX7" fmla="*/ 30895 w 61795"/>
                      <a:gd name="connsiteY7" fmla="*/ 59437 h 59437"/>
                      <a:gd name="connsiteX8" fmla="*/ 30895 w 61795"/>
                      <a:gd name="connsiteY8" fmla="*/ 13316 h 59437"/>
                      <a:gd name="connsiteX9" fmla="*/ 18832 w 61795"/>
                      <a:gd name="connsiteY9" fmla="*/ 18127 h 59437"/>
                      <a:gd name="connsiteX10" fmla="*/ 18832 w 61795"/>
                      <a:gd name="connsiteY10" fmla="*/ 41330 h 59437"/>
                      <a:gd name="connsiteX11" fmla="*/ 42966 w 61795"/>
                      <a:gd name="connsiteY11" fmla="*/ 41330 h 59437"/>
                      <a:gd name="connsiteX12" fmla="*/ 42966 w 61795"/>
                      <a:gd name="connsiteY12" fmla="*/ 18127 h 59437"/>
                      <a:gd name="connsiteX13" fmla="*/ 42966 w 61795"/>
                      <a:gd name="connsiteY13" fmla="*/ 18127 h 59437"/>
                      <a:gd name="connsiteX14" fmla="*/ 30895 w 61795"/>
                      <a:gd name="connsiteY14" fmla="*/ 13316 h 59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795" h="59437">
                        <a:moveTo>
                          <a:pt x="30895" y="59437"/>
                        </a:moveTo>
                        <a:cubicBezTo>
                          <a:pt x="22983" y="59437"/>
                          <a:pt x="15063" y="56538"/>
                          <a:pt x="9038" y="50745"/>
                        </a:cubicBezTo>
                        <a:cubicBezTo>
                          <a:pt x="-3013" y="39152"/>
                          <a:pt x="-3013" y="20298"/>
                          <a:pt x="9038" y="8712"/>
                        </a:cubicBezTo>
                        <a:cubicBezTo>
                          <a:pt x="14873" y="3094"/>
                          <a:pt x="22637" y="0"/>
                          <a:pt x="30895" y="0"/>
                        </a:cubicBezTo>
                        <a:cubicBezTo>
                          <a:pt x="39159" y="0"/>
                          <a:pt x="46922" y="3094"/>
                          <a:pt x="52757" y="8712"/>
                        </a:cubicBezTo>
                        <a:lnTo>
                          <a:pt x="52757" y="8712"/>
                        </a:lnTo>
                        <a:cubicBezTo>
                          <a:pt x="64808" y="20298"/>
                          <a:pt x="64808" y="39152"/>
                          <a:pt x="52757" y="50745"/>
                        </a:cubicBezTo>
                        <a:cubicBezTo>
                          <a:pt x="46734" y="56538"/>
                          <a:pt x="38815" y="59437"/>
                          <a:pt x="30895" y="59437"/>
                        </a:cubicBezTo>
                        <a:close/>
                        <a:moveTo>
                          <a:pt x="30895" y="13316"/>
                        </a:moveTo>
                        <a:cubicBezTo>
                          <a:pt x="26337" y="13316"/>
                          <a:pt x="22057" y="15026"/>
                          <a:pt x="18832" y="18127"/>
                        </a:cubicBezTo>
                        <a:cubicBezTo>
                          <a:pt x="12184" y="24524"/>
                          <a:pt x="12184" y="34933"/>
                          <a:pt x="18832" y="41330"/>
                        </a:cubicBezTo>
                        <a:cubicBezTo>
                          <a:pt x="25485" y="47734"/>
                          <a:pt x="36312" y="47721"/>
                          <a:pt x="42966" y="41330"/>
                        </a:cubicBezTo>
                        <a:cubicBezTo>
                          <a:pt x="49613" y="34933"/>
                          <a:pt x="49620" y="24524"/>
                          <a:pt x="42966" y="18127"/>
                        </a:cubicBezTo>
                        <a:lnTo>
                          <a:pt x="42966" y="18127"/>
                        </a:lnTo>
                        <a:cubicBezTo>
                          <a:pt x="39741" y="15026"/>
                          <a:pt x="35460" y="13316"/>
                          <a:pt x="30895" y="13316"/>
                        </a:cubicBezTo>
                        <a:close/>
                      </a:path>
                    </a:pathLst>
                  </a:custGeom>
                  <a:solidFill>
                    <a:schemeClr val="accent1"/>
                  </a:solidFill>
                  <a:ln w="218" cap="flat">
                    <a:noFill/>
                    <a:prstDash val="solid"/>
                    <a:miter/>
                  </a:ln>
                </p:spPr>
                <p:txBody>
                  <a:bodyPr rtlCol="0" anchor="ctr"/>
                  <a:lstStyle/>
                  <a:p>
                    <a:endParaRPr lang="en-GB" dirty="0"/>
                  </a:p>
                </p:txBody>
              </p:sp>
              <p:sp>
                <p:nvSpPr>
                  <p:cNvPr id="324" name="Freihandform: Form 590">
                    <a:extLst>
                      <a:ext uri="{FF2B5EF4-FFF2-40B4-BE49-F238E27FC236}">
                        <a16:creationId xmlns:a16="http://schemas.microsoft.com/office/drawing/2014/main" id="{40EE4FD1-1BA1-4C7D-BDA1-3891BCD4396D}"/>
                      </a:ext>
                    </a:extLst>
                  </p:cNvPr>
                  <p:cNvSpPr/>
                  <p:nvPr/>
                </p:nvSpPr>
                <p:spPr>
                  <a:xfrm>
                    <a:off x="6962516" y="3537575"/>
                    <a:ext cx="62925" cy="13316"/>
                  </a:xfrm>
                  <a:custGeom>
                    <a:avLst/>
                    <a:gdLst>
                      <a:gd name="connsiteX0" fmla="*/ 56000 w 62925"/>
                      <a:gd name="connsiteY0" fmla="*/ 13316 h 13316"/>
                      <a:gd name="connsiteX1" fmla="*/ 6925 w 62925"/>
                      <a:gd name="connsiteY1" fmla="*/ 13316 h 13316"/>
                      <a:gd name="connsiteX2" fmla="*/ 0 w 62925"/>
                      <a:gd name="connsiteY2" fmla="*/ 6658 h 13316"/>
                      <a:gd name="connsiteX3" fmla="*/ 6925 w 62925"/>
                      <a:gd name="connsiteY3" fmla="*/ 0 h 13316"/>
                      <a:gd name="connsiteX4" fmla="*/ 56000 w 62925"/>
                      <a:gd name="connsiteY4" fmla="*/ 0 h 13316"/>
                      <a:gd name="connsiteX5" fmla="*/ 62925 w 62925"/>
                      <a:gd name="connsiteY5" fmla="*/ 6658 h 13316"/>
                      <a:gd name="connsiteX6" fmla="*/ 56000 w 62925"/>
                      <a:gd name="connsiteY6" fmla="*/ 13316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925" h="13316">
                        <a:moveTo>
                          <a:pt x="56000" y="13316"/>
                        </a:moveTo>
                        <a:lnTo>
                          <a:pt x="6925" y="13316"/>
                        </a:lnTo>
                        <a:cubicBezTo>
                          <a:pt x="3098" y="13316"/>
                          <a:pt x="0" y="10339"/>
                          <a:pt x="0" y="6658"/>
                        </a:cubicBezTo>
                        <a:cubicBezTo>
                          <a:pt x="0" y="2978"/>
                          <a:pt x="3098" y="0"/>
                          <a:pt x="6925" y="0"/>
                        </a:cubicBezTo>
                        <a:lnTo>
                          <a:pt x="56000" y="0"/>
                        </a:lnTo>
                        <a:cubicBezTo>
                          <a:pt x="59827" y="0"/>
                          <a:pt x="62925" y="2978"/>
                          <a:pt x="62925" y="6658"/>
                        </a:cubicBezTo>
                        <a:cubicBezTo>
                          <a:pt x="62925" y="10341"/>
                          <a:pt x="59827" y="13316"/>
                          <a:pt x="56000" y="13316"/>
                        </a:cubicBezTo>
                        <a:close/>
                      </a:path>
                    </a:pathLst>
                  </a:custGeom>
                  <a:solidFill>
                    <a:schemeClr val="accent1"/>
                  </a:solidFill>
                  <a:ln w="218" cap="flat">
                    <a:noFill/>
                    <a:prstDash val="solid"/>
                    <a:miter/>
                  </a:ln>
                </p:spPr>
                <p:txBody>
                  <a:bodyPr rtlCol="0" anchor="ctr"/>
                  <a:lstStyle/>
                  <a:p>
                    <a:endParaRPr lang="en-GB" dirty="0"/>
                  </a:p>
                </p:txBody>
              </p:sp>
            </p:grpSp>
            <p:grpSp>
              <p:nvGrpSpPr>
                <p:cNvPr id="320" name="Graphic 9">
                  <a:extLst>
                    <a:ext uri="{FF2B5EF4-FFF2-40B4-BE49-F238E27FC236}">
                      <a16:creationId xmlns:a16="http://schemas.microsoft.com/office/drawing/2014/main" id="{D6EE33A7-B997-4FE4-B8A4-578A242A16E1}"/>
                    </a:ext>
                  </a:extLst>
                </p:cNvPr>
                <p:cNvGrpSpPr/>
                <p:nvPr/>
              </p:nvGrpSpPr>
              <p:grpSpPr>
                <a:xfrm>
                  <a:off x="6981933" y="3648245"/>
                  <a:ext cx="90324" cy="86842"/>
                  <a:chOff x="6981933" y="3648245"/>
                  <a:chExt cx="90324" cy="86842"/>
                </a:xfrm>
                <a:solidFill>
                  <a:schemeClr val="accent1"/>
                </a:solidFill>
              </p:grpSpPr>
              <p:sp>
                <p:nvSpPr>
                  <p:cNvPr id="321" name="Freihandform: Form 592">
                    <a:extLst>
                      <a:ext uri="{FF2B5EF4-FFF2-40B4-BE49-F238E27FC236}">
                        <a16:creationId xmlns:a16="http://schemas.microsoft.com/office/drawing/2014/main" id="{7751B950-19A3-4ADC-8EF4-BDE8EDDADE60}"/>
                      </a:ext>
                    </a:extLst>
                  </p:cNvPr>
                  <p:cNvSpPr/>
                  <p:nvPr/>
                </p:nvSpPr>
                <p:spPr>
                  <a:xfrm>
                    <a:off x="6981933" y="3675646"/>
                    <a:ext cx="61828" cy="59441"/>
                  </a:xfrm>
                  <a:custGeom>
                    <a:avLst/>
                    <a:gdLst>
                      <a:gd name="connsiteX0" fmla="*/ 30917 w 61828"/>
                      <a:gd name="connsiteY0" fmla="*/ 59442 h 59441"/>
                      <a:gd name="connsiteX1" fmla="*/ 0 w 61828"/>
                      <a:gd name="connsiteY1" fmla="*/ 29724 h 59441"/>
                      <a:gd name="connsiteX2" fmla="*/ 30917 w 61828"/>
                      <a:gd name="connsiteY2" fmla="*/ 0 h 59441"/>
                      <a:gd name="connsiteX3" fmla="*/ 61828 w 61828"/>
                      <a:gd name="connsiteY3" fmla="*/ 29724 h 59441"/>
                      <a:gd name="connsiteX4" fmla="*/ 30917 w 61828"/>
                      <a:gd name="connsiteY4" fmla="*/ 59442 h 59441"/>
                      <a:gd name="connsiteX5" fmla="*/ 30917 w 61828"/>
                      <a:gd name="connsiteY5" fmla="*/ 13312 h 59441"/>
                      <a:gd name="connsiteX6" fmla="*/ 13848 w 61828"/>
                      <a:gd name="connsiteY6" fmla="*/ 29722 h 59441"/>
                      <a:gd name="connsiteX7" fmla="*/ 30917 w 61828"/>
                      <a:gd name="connsiteY7" fmla="*/ 46125 h 59441"/>
                      <a:gd name="connsiteX8" fmla="*/ 47980 w 61828"/>
                      <a:gd name="connsiteY8" fmla="*/ 29722 h 59441"/>
                      <a:gd name="connsiteX9" fmla="*/ 30917 w 61828"/>
                      <a:gd name="connsiteY9" fmla="*/ 13312 h 59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828" h="59441">
                        <a:moveTo>
                          <a:pt x="30917" y="59442"/>
                        </a:moveTo>
                        <a:cubicBezTo>
                          <a:pt x="13870" y="59442"/>
                          <a:pt x="0" y="46108"/>
                          <a:pt x="0" y="29724"/>
                        </a:cubicBezTo>
                        <a:cubicBezTo>
                          <a:pt x="0" y="13334"/>
                          <a:pt x="13870" y="0"/>
                          <a:pt x="30917" y="0"/>
                        </a:cubicBezTo>
                        <a:cubicBezTo>
                          <a:pt x="47958" y="0"/>
                          <a:pt x="61828" y="13334"/>
                          <a:pt x="61828" y="29724"/>
                        </a:cubicBezTo>
                        <a:cubicBezTo>
                          <a:pt x="61828" y="46106"/>
                          <a:pt x="47958" y="59442"/>
                          <a:pt x="30917" y="59442"/>
                        </a:cubicBezTo>
                        <a:close/>
                        <a:moveTo>
                          <a:pt x="30917" y="13312"/>
                        </a:moveTo>
                        <a:cubicBezTo>
                          <a:pt x="21505" y="13312"/>
                          <a:pt x="13848" y="20671"/>
                          <a:pt x="13848" y="29722"/>
                        </a:cubicBezTo>
                        <a:cubicBezTo>
                          <a:pt x="13848" y="38767"/>
                          <a:pt x="21503" y="46125"/>
                          <a:pt x="30917" y="46125"/>
                        </a:cubicBezTo>
                        <a:cubicBezTo>
                          <a:pt x="40323" y="46125"/>
                          <a:pt x="47980" y="38767"/>
                          <a:pt x="47980" y="29722"/>
                        </a:cubicBezTo>
                        <a:cubicBezTo>
                          <a:pt x="47980" y="20673"/>
                          <a:pt x="40323" y="13312"/>
                          <a:pt x="30917" y="13312"/>
                        </a:cubicBezTo>
                        <a:close/>
                      </a:path>
                    </a:pathLst>
                  </a:custGeom>
                  <a:solidFill>
                    <a:schemeClr val="accent1"/>
                  </a:solidFill>
                  <a:ln w="218" cap="flat">
                    <a:noFill/>
                    <a:prstDash val="solid"/>
                    <a:miter/>
                  </a:ln>
                </p:spPr>
                <p:txBody>
                  <a:bodyPr rtlCol="0" anchor="ctr"/>
                  <a:lstStyle/>
                  <a:p>
                    <a:endParaRPr lang="en-GB" dirty="0"/>
                  </a:p>
                </p:txBody>
              </p:sp>
              <p:sp>
                <p:nvSpPr>
                  <p:cNvPr id="322" name="Freihandform: Form 593">
                    <a:extLst>
                      <a:ext uri="{FF2B5EF4-FFF2-40B4-BE49-F238E27FC236}">
                        <a16:creationId xmlns:a16="http://schemas.microsoft.com/office/drawing/2014/main" id="{1E18B2C3-DD91-47F7-8050-F9EA9CB7BFA4}"/>
                      </a:ext>
                    </a:extLst>
                  </p:cNvPr>
                  <p:cNvSpPr/>
                  <p:nvPr/>
                </p:nvSpPr>
                <p:spPr>
                  <a:xfrm>
                    <a:off x="7023705" y="3648245"/>
                    <a:ext cx="48552" cy="46681"/>
                  </a:xfrm>
                  <a:custGeom>
                    <a:avLst/>
                    <a:gdLst>
                      <a:gd name="connsiteX0" fmla="*/ 6924 w 48552"/>
                      <a:gd name="connsiteY0" fmla="*/ 46682 h 46681"/>
                      <a:gd name="connsiteX1" fmla="*/ 2028 w 48552"/>
                      <a:gd name="connsiteY1" fmla="*/ 44731 h 46681"/>
                      <a:gd name="connsiteX2" fmla="*/ 2028 w 48552"/>
                      <a:gd name="connsiteY2" fmla="*/ 35316 h 46681"/>
                      <a:gd name="connsiteX3" fmla="*/ 36733 w 48552"/>
                      <a:gd name="connsiteY3" fmla="*/ 1951 h 46681"/>
                      <a:gd name="connsiteX4" fmla="*/ 46524 w 48552"/>
                      <a:gd name="connsiteY4" fmla="*/ 1951 h 46681"/>
                      <a:gd name="connsiteX5" fmla="*/ 46524 w 48552"/>
                      <a:gd name="connsiteY5" fmla="*/ 11366 h 46681"/>
                      <a:gd name="connsiteX6" fmla="*/ 11819 w 48552"/>
                      <a:gd name="connsiteY6" fmla="*/ 44731 h 46681"/>
                      <a:gd name="connsiteX7" fmla="*/ 6924 w 48552"/>
                      <a:gd name="connsiteY7" fmla="*/ 46682 h 4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52" h="46681">
                        <a:moveTo>
                          <a:pt x="6924" y="46682"/>
                        </a:moveTo>
                        <a:cubicBezTo>
                          <a:pt x="5152" y="46682"/>
                          <a:pt x="3381" y="46031"/>
                          <a:pt x="2028" y="44731"/>
                        </a:cubicBezTo>
                        <a:cubicBezTo>
                          <a:pt x="-676" y="42130"/>
                          <a:pt x="-676" y="37917"/>
                          <a:pt x="2028" y="35316"/>
                        </a:cubicBezTo>
                        <a:lnTo>
                          <a:pt x="36733" y="1951"/>
                        </a:lnTo>
                        <a:cubicBezTo>
                          <a:pt x="39437" y="-650"/>
                          <a:pt x="43820" y="-650"/>
                          <a:pt x="46524" y="1951"/>
                        </a:cubicBezTo>
                        <a:cubicBezTo>
                          <a:pt x="49228" y="4552"/>
                          <a:pt x="49228" y="8764"/>
                          <a:pt x="46524" y="11366"/>
                        </a:cubicBezTo>
                        <a:lnTo>
                          <a:pt x="11819" y="44731"/>
                        </a:lnTo>
                        <a:cubicBezTo>
                          <a:pt x="10466" y="46031"/>
                          <a:pt x="8695" y="46682"/>
                          <a:pt x="6924" y="46682"/>
                        </a:cubicBezTo>
                        <a:close/>
                      </a:path>
                    </a:pathLst>
                  </a:custGeom>
                  <a:solidFill>
                    <a:schemeClr val="accent1"/>
                  </a:solidFill>
                  <a:ln w="218" cap="flat">
                    <a:noFill/>
                    <a:prstDash val="solid"/>
                    <a:miter/>
                  </a:ln>
                </p:spPr>
                <p:txBody>
                  <a:bodyPr rtlCol="0" anchor="ctr"/>
                  <a:lstStyle/>
                  <a:p>
                    <a:endParaRPr lang="en-GB" dirty="0"/>
                  </a:p>
                </p:txBody>
              </p:sp>
            </p:grpSp>
          </p:grpSp>
          <p:grpSp>
            <p:nvGrpSpPr>
              <p:cNvPr id="306" name="Graphic 9">
                <a:extLst>
                  <a:ext uri="{FF2B5EF4-FFF2-40B4-BE49-F238E27FC236}">
                    <a16:creationId xmlns:a16="http://schemas.microsoft.com/office/drawing/2014/main" id="{F5E52514-19F1-4971-95CE-F2C7CF19DA69}"/>
                  </a:ext>
                </a:extLst>
              </p:cNvPr>
              <p:cNvGrpSpPr/>
              <p:nvPr/>
            </p:nvGrpSpPr>
            <p:grpSpPr>
              <a:xfrm>
                <a:off x="7299132" y="3350840"/>
                <a:ext cx="180376" cy="387205"/>
                <a:chOff x="7299132" y="3350840"/>
                <a:chExt cx="180376" cy="387205"/>
              </a:xfrm>
              <a:solidFill>
                <a:schemeClr val="accent1"/>
              </a:solidFill>
            </p:grpSpPr>
            <p:sp>
              <p:nvSpPr>
                <p:cNvPr id="307" name="Freihandform: Form 595">
                  <a:extLst>
                    <a:ext uri="{FF2B5EF4-FFF2-40B4-BE49-F238E27FC236}">
                      <a16:creationId xmlns:a16="http://schemas.microsoft.com/office/drawing/2014/main" id="{7D0B7EC2-7DD2-42C7-9AC1-87E57DB9B30C}"/>
                    </a:ext>
                  </a:extLst>
                </p:cNvPr>
                <p:cNvSpPr/>
                <p:nvPr/>
              </p:nvSpPr>
              <p:spPr>
                <a:xfrm>
                  <a:off x="7299132" y="3410753"/>
                  <a:ext cx="80756" cy="266228"/>
                </a:xfrm>
                <a:custGeom>
                  <a:avLst/>
                  <a:gdLst>
                    <a:gd name="connsiteX0" fmla="*/ 8966 w 80756"/>
                    <a:gd name="connsiteY0" fmla="*/ 266229 h 266228"/>
                    <a:gd name="connsiteX1" fmla="*/ 3449 w 80756"/>
                    <a:gd name="connsiteY1" fmla="*/ 263602 h 266228"/>
                    <a:gd name="connsiteX2" fmla="*/ 4767 w 80756"/>
                    <a:gd name="connsiteY2" fmla="*/ 254272 h 266228"/>
                    <a:gd name="connsiteX3" fmla="*/ 66919 w 80756"/>
                    <a:gd name="connsiteY3" fmla="*/ 133850 h 266228"/>
                    <a:gd name="connsiteX4" fmla="*/ 2820 w 80756"/>
                    <a:gd name="connsiteY4" fmla="*/ 12017 h 266228"/>
                    <a:gd name="connsiteX5" fmla="*/ 1353 w 80756"/>
                    <a:gd name="connsiteY5" fmla="*/ 2714 h 266228"/>
                    <a:gd name="connsiteX6" fmla="*/ 11031 w 80756"/>
                    <a:gd name="connsiteY6" fmla="*/ 1304 h 266228"/>
                    <a:gd name="connsiteX7" fmla="*/ 80756 w 80756"/>
                    <a:gd name="connsiteY7" fmla="*/ 133852 h 266228"/>
                    <a:gd name="connsiteX8" fmla="*/ 13155 w 80756"/>
                    <a:gd name="connsiteY8" fmla="*/ 264871 h 266228"/>
                    <a:gd name="connsiteX9" fmla="*/ 8966 w 80756"/>
                    <a:gd name="connsiteY9" fmla="*/ 266229 h 266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756" h="266228">
                      <a:moveTo>
                        <a:pt x="8966" y="266229"/>
                      </a:moveTo>
                      <a:cubicBezTo>
                        <a:pt x="6877" y="266229"/>
                        <a:pt x="4808" y="265325"/>
                        <a:pt x="3449" y="263602"/>
                      </a:cubicBezTo>
                      <a:cubicBezTo>
                        <a:pt x="1137" y="260676"/>
                        <a:pt x="1723" y="256495"/>
                        <a:pt x="4767" y="254272"/>
                      </a:cubicBezTo>
                      <a:cubicBezTo>
                        <a:pt x="44258" y="225393"/>
                        <a:pt x="66919" y="181501"/>
                        <a:pt x="66919" y="133850"/>
                      </a:cubicBezTo>
                      <a:cubicBezTo>
                        <a:pt x="66919" y="85986"/>
                        <a:pt x="42966" y="40443"/>
                        <a:pt x="2820" y="12017"/>
                      </a:cubicBezTo>
                      <a:cubicBezTo>
                        <a:pt x="-263" y="9839"/>
                        <a:pt x="-919" y="5672"/>
                        <a:pt x="1353" y="2714"/>
                      </a:cubicBezTo>
                      <a:cubicBezTo>
                        <a:pt x="3613" y="-250"/>
                        <a:pt x="7946" y="-887"/>
                        <a:pt x="11031" y="1304"/>
                      </a:cubicBezTo>
                      <a:cubicBezTo>
                        <a:pt x="54702" y="32226"/>
                        <a:pt x="80756" y="81773"/>
                        <a:pt x="80756" y="133852"/>
                      </a:cubicBezTo>
                      <a:cubicBezTo>
                        <a:pt x="80756" y="185696"/>
                        <a:pt x="56125" y="233448"/>
                        <a:pt x="13155" y="264871"/>
                      </a:cubicBezTo>
                      <a:cubicBezTo>
                        <a:pt x="11900" y="265786"/>
                        <a:pt x="10426" y="266229"/>
                        <a:pt x="8966" y="266229"/>
                      </a:cubicBezTo>
                      <a:close/>
                    </a:path>
                  </a:pathLst>
                </a:custGeom>
                <a:solidFill>
                  <a:schemeClr val="accent1"/>
                </a:solidFill>
                <a:ln w="218" cap="flat">
                  <a:noFill/>
                  <a:prstDash val="solid"/>
                  <a:miter/>
                </a:ln>
              </p:spPr>
              <p:txBody>
                <a:bodyPr rtlCol="0" anchor="ctr"/>
                <a:lstStyle/>
                <a:p>
                  <a:endParaRPr lang="en-GB" dirty="0"/>
                </a:p>
              </p:txBody>
            </p:sp>
            <p:grpSp>
              <p:nvGrpSpPr>
                <p:cNvPr id="308" name="Graphic 9">
                  <a:extLst>
                    <a:ext uri="{FF2B5EF4-FFF2-40B4-BE49-F238E27FC236}">
                      <a16:creationId xmlns:a16="http://schemas.microsoft.com/office/drawing/2014/main" id="{4EBDE603-5976-47FB-80AA-408033CB3D4D}"/>
                    </a:ext>
                  </a:extLst>
                </p:cNvPr>
                <p:cNvGrpSpPr/>
                <p:nvPr/>
              </p:nvGrpSpPr>
              <p:grpSpPr>
                <a:xfrm>
                  <a:off x="7318903" y="3350840"/>
                  <a:ext cx="91396" cy="87873"/>
                  <a:chOff x="7318903" y="3350840"/>
                  <a:chExt cx="91396" cy="87873"/>
                </a:xfrm>
                <a:solidFill>
                  <a:schemeClr val="accent1"/>
                </a:solidFill>
              </p:grpSpPr>
              <p:sp>
                <p:nvSpPr>
                  <p:cNvPr id="315" name="Freihandform: Form 597">
                    <a:extLst>
                      <a:ext uri="{FF2B5EF4-FFF2-40B4-BE49-F238E27FC236}">
                        <a16:creationId xmlns:a16="http://schemas.microsoft.com/office/drawing/2014/main" id="{0235AF8C-CE59-4FF6-BEEB-6FE433402A52}"/>
                      </a:ext>
                    </a:extLst>
                  </p:cNvPr>
                  <p:cNvSpPr/>
                  <p:nvPr/>
                </p:nvSpPr>
                <p:spPr>
                  <a:xfrm>
                    <a:off x="7347791" y="3350840"/>
                    <a:ext cx="62509" cy="60094"/>
                  </a:xfrm>
                  <a:custGeom>
                    <a:avLst/>
                    <a:gdLst>
                      <a:gd name="connsiteX0" fmla="*/ 31265 w 62509"/>
                      <a:gd name="connsiteY0" fmla="*/ 60094 h 60094"/>
                      <a:gd name="connsiteX1" fmla="*/ 0 w 62509"/>
                      <a:gd name="connsiteY1" fmla="*/ 30044 h 60094"/>
                      <a:gd name="connsiteX2" fmla="*/ 31265 w 62509"/>
                      <a:gd name="connsiteY2" fmla="*/ 0 h 60094"/>
                      <a:gd name="connsiteX3" fmla="*/ 62509 w 62509"/>
                      <a:gd name="connsiteY3" fmla="*/ 30044 h 60094"/>
                      <a:gd name="connsiteX4" fmla="*/ 31265 w 62509"/>
                      <a:gd name="connsiteY4" fmla="*/ 60094 h 60094"/>
                      <a:gd name="connsiteX5" fmla="*/ 31265 w 62509"/>
                      <a:gd name="connsiteY5" fmla="*/ 13314 h 60094"/>
                      <a:gd name="connsiteX6" fmla="*/ 13859 w 62509"/>
                      <a:gd name="connsiteY6" fmla="*/ 30042 h 60094"/>
                      <a:gd name="connsiteX7" fmla="*/ 31265 w 62509"/>
                      <a:gd name="connsiteY7" fmla="*/ 46776 h 60094"/>
                      <a:gd name="connsiteX8" fmla="*/ 48672 w 62509"/>
                      <a:gd name="connsiteY8" fmla="*/ 30042 h 60094"/>
                      <a:gd name="connsiteX9" fmla="*/ 31265 w 62509"/>
                      <a:gd name="connsiteY9" fmla="*/ 13314 h 6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509" h="60094">
                        <a:moveTo>
                          <a:pt x="31265" y="60094"/>
                        </a:moveTo>
                        <a:cubicBezTo>
                          <a:pt x="14034" y="60094"/>
                          <a:pt x="0" y="46616"/>
                          <a:pt x="0" y="30044"/>
                        </a:cubicBezTo>
                        <a:cubicBezTo>
                          <a:pt x="0" y="13478"/>
                          <a:pt x="14034" y="0"/>
                          <a:pt x="31265" y="0"/>
                        </a:cubicBezTo>
                        <a:cubicBezTo>
                          <a:pt x="48497" y="0"/>
                          <a:pt x="62509" y="13478"/>
                          <a:pt x="62509" y="30044"/>
                        </a:cubicBezTo>
                        <a:cubicBezTo>
                          <a:pt x="62509" y="46616"/>
                          <a:pt x="48497" y="60094"/>
                          <a:pt x="31265" y="60094"/>
                        </a:cubicBezTo>
                        <a:close/>
                        <a:moveTo>
                          <a:pt x="31265" y="13314"/>
                        </a:moveTo>
                        <a:cubicBezTo>
                          <a:pt x="21676" y="13314"/>
                          <a:pt x="13859" y="20817"/>
                          <a:pt x="13859" y="30042"/>
                        </a:cubicBezTo>
                        <a:cubicBezTo>
                          <a:pt x="13859" y="39266"/>
                          <a:pt x="21676" y="46776"/>
                          <a:pt x="31265" y="46776"/>
                        </a:cubicBezTo>
                        <a:cubicBezTo>
                          <a:pt x="40855" y="46776"/>
                          <a:pt x="48672" y="39266"/>
                          <a:pt x="48672" y="30042"/>
                        </a:cubicBezTo>
                        <a:cubicBezTo>
                          <a:pt x="48672" y="20817"/>
                          <a:pt x="40855" y="13314"/>
                          <a:pt x="31265" y="13314"/>
                        </a:cubicBezTo>
                        <a:close/>
                      </a:path>
                    </a:pathLst>
                  </a:custGeom>
                  <a:solidFill>
                    <a:schemeClr val="accent1"/>
                  </a:solidFill>
                  <a:ln w="218" cap="flat">
                    <a:noFill/>
                    <a:prstDash val="solid"/>
                    <a:miter/>
                  </a:ln>
                </p:spPr>
                <p:txBody>
                  <a:bodyPr rtlCol="0" anchor="ctr"/>
                  <a:lstStyle/>
                  <a:p>
                    <a:endParaRPr lang="en-GB" dirty="0"/>
                  </a:p>
                </p:txBody>
              </p:sp>
              <p:sp>
                <p:nvSpPr>
                  <p:cNvPr id="316" name="Freihandform: Form 598">
                    <a:extLst>
                      <a:ext uri="{FF2B5EF4-FFF2-40B4-BE49-F238E27FC236}">
                        <a16:creationId xmlns:a16="http://schemas.microsoft.com/office/drawing/2014/main" id="{95CECA9D-634C-44F3-9397-5BD2027F6648}"/>
                      </a:ext>
                    </a:extLst>
                  </p:cNvPr>
                  <p:cNvSpPr/>
                  <p:nvPr/>
                </p:nvSpPr>
                <p:spPr>
                  <a:xfrm>
                    <a:off x="7318903" y="3391564"/>
                    <a:ext cx="49036" cy="47150"/>
                  </a:xfrm>
                  <a:custGeom>
                    <a:avLst/>
                    <a:gdLst>
                      <a:gd name="connsiteX0" fmla="*/ 6925 w 49036"/>
                      <a:gd name="connsiteY0" fmla="*/ 47150 h 47150"/>
                      <a:gd name="connsiteX1" fmla="*/ 2030 w 49036"/>
                      <a:gd name="connsiteY1" fmla="*/ 45199 h 47150"/>
                      <a:gd name="connsiteX2" fmla="*/ 2030 w 49036"/>
                      <a:gd name="connsiteY2" fmla="*/ 35785 h 47150"/>
                      <a:gd name="connsiteX3" fmla="*/ 37230 w 49036"/>
                      <a:gd name="connsiteY3" fmla="*/ 1951 h 47150"/>
                      <a:gd name="connsiteX4" fmla="*/ 47016 w 49036"/>
                      <a:gd name="connsiteY4" fmla="*/ 1951 h 47150"/>
                      <a:gd name="connsiteX5" fmla="*/ 47016 w 49036"/>
                      <a:gd name="connsiteY5" fmla="*/ 11365 h 47150"/>
                      <a:gd name="connsiteX6" fmla="*/ 11832 w 49036"/>
                      <a:gd name="connsiteY6" fmla="*/ 45199 h 47150"/>
                      <a:gd name="connsiteX7" fmla="*/ 6925 w 49036"/>
                      <a:gd name="connsiteY7" fmla="*/ 47150 h 4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36" h="47150">
                        <a:moveTo>
                          <a:pt x="6925" y="47150"/>
                        </a:moveTo>
                        <a:cubicBezTo>
                          <a:pt x="5154" y="47150"/>
                          <a:pt x="3383" y="46500"/>
                          <a:pt x="2030" y="45199"/>
                        </a:cubicBezTo>
                        <a:cubicBezTo>
                          <a:pt x="-677" y="42598"/>
                          <a:pt x="-677" y="38386"/>
                          <a:pt x="2030" y="35785"/>
                        </a:cubicBezTo>
                        <a:lnTo>
                          <a:pt x="37230" y="1951"/>
                        </a:lnTo>
                        <a:cubicBezTo>
                          <a:pt x="39923" y="-650"/>
                          <a:pt x="44301" y="-650"/>
                          <a:pt x="47016" y="1951"/>
                        </a:cubicBezTo>
                        <a:cubicBezTo>
                          <a:pt x="49709" y="4552"/>
                          <a:pt x="49709" y="8764"/>
                          <a:pt x="47016" y="11365"/>
                        </a:cubicBezTo>
                        <a:lnTo>
                          <a:pt x="11832" y="45199"/>
                        </a:lnTo>
                        <a:cubicBezTo>
                          <a:pt x="10474" y="46500"/>
                          <a:pt x="8697" y="47150"/>
                          <a:pt x="6925" y="47150"/>
                        </a:cubicBezTo>
                        <a:close/>
                      </a:path>
                    </a:pathLst>
                  </a:custGeom>
                  <a:solidFill>
                    <a:schemeClr val="accent1"/>
                  </a:solidFill>
                  <a:ln w="218" cap="flat">
                    <a:noFill/>
                    <a:prstDash val="solid"/>
                    <a:miter/>
                  </a:ln>
                </p:spPr>
                <p:txBody>
                  <a:bodyPr rtlCol="0" anchor="ctr"/>
                  <a:lstStyle/>
                  <a:p>
                    <a:endParaRPr lang="en-GB" dirty="0"/>
                  </a:p>
                </p:txBody>
              </p:sp>
            </p:grpSp>
            <p:grpSp>
              <p:nvGrpSpPr>
                <p:cNvPr id="309" name="Graphic 9">
                  <a:extLst>
                    <a:ext uri="{FF2B5EF4-FFF2-40B4-BE49-F238E27FC236}">
                      <a16:creationId xmlns:a16="http://schemas.microsoft.com/office/drawing/2014/main" id="{0A58D785-1BAA-4B3D-AD9A-2185299D25AC}"/>
                    </a:ext>
                  </a:extLst>
                </p:cNvPr>
                <p:cNvGrpSpPr/>
                <p:nvPr/>
              </p:nvGrpSpPr>
              <p:grpSpPr>
                <a:xfrm>
                  <a:off x="7366051" y="3514572"/>
                  <a:ext cx="113457" cy="60063"/>
                  <a:chOff x="7366051" y="3514572"/>
                  <a:chExt cx="113457" cy="60063"/>
                </a:xfrm>
                <a:solidFill>
                  <a:schemeClr val="accent1"/>
                </a:solidFill>
              </p:grpSpPr>
              <p:sp>
                <p:nvSpPr>
                  <p:cNvPr id="313" name="Freihandform: Form 600">
                    <a:extLst>
                      <a:ext uri="{FF2B5EF4-FFF2-40B4-BE49-F238E27FC236}">
                        <a16:creationId xmlns:a16="http://schemas.microsoft.com/office/drawing/2014/main" id="{C85A557C-8793-496C-A49E-08E5BD97D15F}"/>
                      </a:ext>
                    </a:extLst>
                  </p:cNvPr>
                  <p:cNvSpPr/>
                  <p:nvPr/>
                </p:nvSpPr>
                <p:spPr>
                  <a:xfrm>
                    <a:off x="7416978" y="3514572"/>
                    <a:ext cx="62530" cy="60063"/>
                  </a:xfrm>
                  <a:custGeom>
                    <a:avLst/>
                    <a:gdLst>
                      <a:gd name="connsiteX0" fmla="*/ 31265 w 62530"/>
                      <a:gd name="connsiteY0" fmla="*/ 60064 h 60063"/>
                      <a:gd name="connsiteX1" fmla="*/ 9174 w 62530"/>
                      <a:gd name="connsiteY1" fmla="*/ 51273 h 60063"/>
                      <a:gd name="connsiteX2" fmla="*/ 0 w 62530"/>
                      <a:gd name="connsiteY2" fmla="*/ 30033 h 60063"/>
                      <a:gd name="connsiteX3" fmla="*/ 9174 w 62530"/>
                      <a:gd name="connsiteY3" fmla="*/ 8787 h 60063"/>
                      <a:gd name="connsiteX4" fmla="*/ 53357 w 62530"/>
                      <a:gd name="connsiteY4" fmla="*/ 8787 h 60063"/>
                      <a:gd name="connsiteX5" fmla="*/ 62531 w 62530"/>
                      <a:gd name="connsiteY5" fmla="*/ 30033 h 60063"/>
                      <a:gd name="connsiteX6" fmla="*/ 53357 w 62530"/>
                      <a:gd name="connsiteY6" fmla="*/ 51273 h 60063"/>
                      <a:gd name="connsiteX7" fmla="*/ 31265 w 62530"/>
                      <a:gd name="connsiteY7" fmla="*/ 60064 h 60063"/>
                      <a:gd name="connsiteX8" fmla="*/ 31265 w 62530"/>
                      <a:gd name="connsiteY8" fmla="*/ 13306 h 60063"/>
                      <a:gd name="connsiteX9" fmla="*/ 18961 w 62530"/>
                      <a:gd name="connsiteY9" fmla="*/ 18201 h 60063"/>
                      <a:gd name="connsiteX10" fmla="*/ 13859 w 62530"/>
                      <a:gd name="connsiteY10" fmla="*/ 30033 h 60063"/>
                      <a:gd name="connsiteX11" fmla="*/ 18961 w 62530"/>
                      <a:gd name="connsiteY11" fmla="*/ 41859 h 60063"/>
                      <a:gd name="connsiteX12" fmla="*/ 43570 w 62530"/>
                      <a:gd name="connsiteY12" fmla="*/ 41859 h 60063"/>
                      <a:gd name="connsiteX13" fmla="*/ 48672 w 62530"/>
                      <a:gd name="connsiteY13" fmla="*/ 30033 h 60063"/>
                      <a:gd name="connsiteX14" fmla="*/ 43570 w 62530"/>
                      <a:gd name="connsiteY14" fmla="*/ 18201 h 60063"/>
                      <a:gd name="connsiteX15" fmla="*/ 31265 w 62530"/>
                      <a:gd name="connsiteY15" fmla="*/ 13306 h 60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530" h="60063">
                        <a:moveTo>
                          <a:pt x="31265" y="60064"/>
                        </a:moveTo>
                        <a:cubicBezTo>
                          <a:pt x="23252" y="60064"/>
                          <a:pt x="15261" y="57132"/>
                          <a:pt x="9174" y="51273"/>
                        </a:cubicBezTo>
                        <a:cubicBezTo>
                          <a:pt x="3262" y="45605"/>
                          <a:pt x="0" y="38055"/>
                          <a:pt x="0" y="30033"/>
                        </a:cubicBezTo>
                        <a:cubicBezTo>
                          <a:pt x="0" y="22005"/>
                          <a:pt x="3262" y="14462"/>
                          <a:pt x="9174" y="8787"/>
                        </a:cubicBezTo>
                        <a:cubicBezTo>
                          <a:pt x="21347" y="-2929"/>
                          <a:pt x="41184" y="-2929"/>
                          <a:pt x="53357" y="8787"/>
                        </a:cubicBezTo>
                        <a:cubicBezTo>
                          <a:pt x="59269" y="14462"/>
                          <a:pt x="62531" y="22005"/>
                          <a:pt x="62531" y="30033"/>
                        </a:cubicBezTo>
                        <a:cubicBezTo>
                          <a:pt x="62531" y="38055"/>
                          <a:pt x="59269" y="45605"/>
                          <a:pt x="53357" y="51273"/>
                        </a:cubicBezTo>
                        <a:cubicBezTo>
                          <a:pt x="47270" y="57132"/>
                          <a:pt x="39257" y="60064"/>
                          <a:pt x="31265" y="60064"/>
                        </a:cubicBezTo>
                        <a:close/>
                        <a:moveTo>
                          <a:pt x="31265" y="13306"/>
                        </a:moveTo>
                        <a:cubicBezTo>
                          <a:pt x="26821" y="13306"/>
                          <a:pt x="22354" y="14937"/>
                          <a:pt x="18961" y="18201"/>
                        </a:cubicBezTo>
                        <a:cubicBezTo>
                          <a:pt x="15676" y="21361"/>
                          <a:pt x="13859" y="25560"/>
                          <a:pt x="13859" y="30033"/>
                        </a:cubicBezTo>
                        <a:cubicBezTo>
                          <a:pt x="13859" y="34500"/>
                          <a:pt x="15676" y="38699"/>
                          <a:pt x="18961" y="41859"/>
                        </a:cubicBezTo>
                        <a:cubicBezTo>
                          <a:pt x="25748" y="48385"/>
                          <a:pt x="36783" y="48385"/>
                          <a:pt x="43570" y="41859"/>
                        </a:cubicBezTo>
                        <a:cubicBezTo>
                          <a:pt x="46854" y="38699"/>
                          <a:pt x="48672" y="34500"/>
                          <a:pt x="48672" y="30033"/>
                        </a:cubicBezTo>
                        <a:cubicBezTo>
                          <a:pt x="48672" y="25560"/>
                          <a:pt x="46854" y="21361"/>
                          <a:pt x="43570" y="18201"/>
                        </a:cubicBezTo>
                        <a:cubicBezTo>
                          <a:pt x="40177" y="14937"/>
                          <a:pt x="35710" y="13306"/>
                          <a:pt x="31265" y="13306"/>
                        </a:cubicBezTo>
                        <a:close/>
                      </a:path>
                    </a:pathLst>
                  </a:custGeom>
                  <a:solidFill>
                    <a:schemeClr val="accent1"/>
                  </a:solidFill>
                  <a:ln w="218" cap="flat">
                    <a:noFill/>
                    <a:prstDash val="solid"/>
                    <a:miter/>
                  </a:ln>
                </p:spPr>
                <p:txBody>
                  <a:bodyPr rtlCol="0" anchor="ctr"/>
                  <a:lstStyle/>
                  <a:p>
                    <a:endParaRPr lang="en-GB" dirty="0"/>
                  </a:p>
                </p:txBody>
              </p:sp>
              <p:sp>
                <p:nvSpPr>
                  <p:cNvPr id="314" name="Freihandform: Form 601">
                    <a:extLst>
                      <a:ext uri="{FF2B5EF4-FFF2-40B4-BE49-F238E27FC236}">
                        <a16:creationId xmlns:a16="http://schemas.microsoft.com/office/drawing/2014/main" id="{6E831A17-8BE8-4E4D-BEE1-868E31EA79F0}"/>
                      </a:ext>
                    </a:extLst>
                  </p:cNvPr>
                  <p:cNvSpPr/>
                  <p:nvPr/>
                </p:nvSpPr>
                <p:spPr>
                  <a:xfrm>
                    <a:off x="7366051" y="3537947"/>
                    <a:ext cx="63625" cy="13316"/>
                  </a:xfrm>
                  <a:custGeom>
                    <a:avLst/>
                    <a:gdLst>
                      <a:gd name="connsiteX0" fmla="*/ 56685 w 63625"/>
                      <a:gd name="connsiteY0" fmla="*/ 13316 h 13316"/>
                      <a:gd name="connsiteX1" fmla="*/ 6919 w 63625"/>
                      <a:gd name="connsiteY1" fmla="*/ 13316 h 13316"/>
                      <a:gd name="connsiteX2" fmla="*/ 0 w 63625"/>
                      <a:gd name="connsiteY2" fmla="*/ 6658 h 13316"/>
                      <a:gd name="connsiteX3" fmla="*/ 6919 w 63625"/>
                      <a:gd name="connsiteY3" fmla="*/ 0 h 13316"/>
                      <a:gd name="connsiteX4" fmla="*/ 56685 w 63625"/>
                      <a:gd name="connsiteY4" fmla="*/ 0 h 13316"/>
                      <a:gd name="connsiteX5" fmla="*/ 63626 w 63625"/>
                      <a:gd name="connsiteY5" fmla="*/ 6658 h 13316"/>
                      <a:gd name="connsiteX6" fmla="*/ 56685 w 63625"/>
                      <a:gd name="connsiteY6" fmla="*/ 13316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625" h="13316">
                        <a:moveTo>
                          <a:pt x="56685" y="13316"/>
                        </a:moveTo>
                        <a:lnTo>
                          <a:pt x="6919" y="13316"/>
                        </a:lnTo>
                        <a:cubicBezTo>
                          <a:pt x="3087" y="13316"/>
                          <a:pt x="0" y="10339"/>
                          <a:pt x="0" y="6658"/>
                        </a:cubicBezTo>
                        <a:cubicBezTo>
                          <a:pt x="0" y="2978"/>
                          <a:pt x="3087" y="0"/>
                          <a:pt x="6919" y="0"/>
                        </a:cubicBezTo>
                        <a:lnTo>
                          <a:pt x="56685" y="0"/>
                        </a:lnTo>
                        <a:cubicBezTo>
                          <a:pt x="60517" y="0"/>
                          <a:pt x="63626" y="2978"/>
                          <a:pt x="63626" y="6658"/>
                        </a:cubicBezTo>
                        <a:cubicBezTo>
                          <a:pt x="63626" y="10339"/>
                          <a:pt x="60517" y="13316"/>
                          <a:pt x="56685" y="13316"/>
                        </a:cubicBezTo>
                        <a:close/>
                      </a:path>
                    </a:pathLst>
                  </a:custGeom>
                  <a:solidFill>
                    <a:schemeClr val="accent1"/>
                  </a:solidFill>
                  <a:ln w="218" cap="flat">
                    <a:noFill/>
                    <a:prstDash val="solid"/>
                    <a:miter/>
                  </a:ln>
                </p:spPr>
                <p:txBody>
                  <a:bodyPr rtlCol="0" anchor="ctr"/>
                  <a:lstStyle/>
                  <a:p>
                    <a:endParaRPr lang="en-GB" dirty="0"/>
                  </a:p>
                </p:txBody>
              </p:sp>
            </p:grpSp>
            <p:grpSp>
              <p:nvGrpSpPr>
                <p:cNvPr id="310" name="Graphic 9">
                  <a:extLst>
                    <a:ext uri="{FF2B5EF4-FFF2-40B4-BE49-F238E27FC236}">
                      <a16:creationId xmlns:a16="http://schemas.microsoft.com/office/drawing/2014/main" id="{3B6613B3-0B58-42CC-93E5-056980940D76}"/>
                    </a:ext>
                  </a:extLst>
                </p:cNvPr>
                <p:cNvGrpSpPr/>
                <p:nvPr/>
              </p:nvGrpSpPr>
              <p:grpSpPr>
                <a:xfrm>
                  <a:off x="7318574" y="3650170"/>
                  <a:ext cx="91397" cy="87876"/>
                  <a:chOff x="7318574" y="3650170"/>
                  <a:chExt cx="91397" cy="87876"/>
                </a:xfrm>
                <a:solidFill>
                  <a:schemeClr val="accent1"/>
                </a:solidFill>
              </p:grpSpPr>
              <p:sp>
                <p:nvSpPr>
                  <p:cNvPr id="311" name="Freihandform: Form 603">
                    <a:extLst>
                      <a:ext uri="{FF2B5EF4-FFF2-40B4-BE49-F238E27FC236}">
                        <a16:creationId xmlns:a16="http://schemas.microsoft.com/office/drawing/2014/main" id="{2D204264-E6DC-4D4B-B61E-0E0D518491FA}"/>
                      </a:ext>
                    </a:extLst>
                  </p:cNvPr>
                  <p:cNvSpPr/>
                  <p:nvPr/>
                </p:nvSpPr>
                <p:spPr>
                  <a:xfrm>
                    <a:off x="7347463" y="3677952"/>
                    <a:ext cx="62509" cy="60094"/>
                  </a:xfrm>
                  <a:custGeom>
                    <a:avLst/>
                    <a:gdLst>
                      <a:gd name="connsiteX0" fmla="*/ 31265 w 62509"/>
                      <a:gd name="connsiteY0" fmla="*/ 60094 h 60094"/>
                      <a:gd name="connsiteX1" fmla="*/ 0 w 62509"/>
                      <a:gd name="connsiteY1" fmla="*/ 30050 h 60094"/>
                      <a:gd name="connsiteX2" fmla="*/ 31265 w 62509"/>
                      <a:gd name="connsiteY2" fmla="*/ 0 h 60094"/>
                      <a:gd name="connsiteX3" fmla="*/ 62509 w 62509"/>
                      <a:gd name="connsiteY3" fmla="*/ 30050 h 60094"/>
                      <a:gd name="connsiteX4" fmla="*/ 31265 w 62509"/>
                      <a:gd name="connsiteY4" fmla="*/ 60094 h 60094"/>
                      <a:gd name="connsiteX5" fmla="*/ 31265 w 62509"/>
                      <a:gd name="connsiteY5" fmla="*/ 13314 h 60094"/>
                      <a:gd name="connsiteX6" fmla="*/ 13859 w 62509"/>
                      <a:gd name="connsiteY6" fmla="*/ 30048 h 60094"/>
                      <a:gd name="connsiteX7" fmla="*/ 31265 w 62509"/>
                      <a:gd name="connsiteY7" fmla="*/ 46776 h 60094"/>
                      <a:gd name="connsiteX8" fmla="*/ 48672 w 62509"/>
                      <a:gd name="connsiteY8" fmla="*/ 30048 h 60094"/>
                      <a:gd name="connsiteX9" fmla="*/ 31265 w 62509"/>
                      <a:gd name="connsiteY9" fmla="*/ 13314 h 60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509" h="60094">
                        <a:moveTo>
                          <a:pt x="31265" y="60094"/>
                        </a:moveTo>
                        <a:cubicBezTo>
                          <a:pt x="14034" y="60094"/>
                          <a:pt x="0" y="46616"/>
                          <a:pt x="0" y="30050"/>
                        </a:cubicBezTo>
                        <a:cubicBezTo>
                          <a:pt x="0" y="13478"/>
                          <a:pt x="14034" y="0"/>
                          <a:pt x="31265" y="0"/>
                        </a:cubicBezTo>
                        <a:cubicBezTo>
                          <a:pt x="48497" y="0"/>
                          <a:pt x="62509" y="13478"/>
                          <a:pt x="62509" y="30050"/>
                        </a:cubicBezTo>
                        <a:cubicBezTo>
                          <a:pt x="62509" y="46616"/>
                          <a:pt x="48497" y="60094"/>
                          <a:pt x="31265" y="60094"/>
                        </a:cubicBezTo>
                        <a:close/>
                        <a:moveTo>
                          <a:pt x="31265" y="13314"/>
                        </a:moveTo>
                        <a:cubicBezTo>
                          <a:pt x="21654" y="13314"/>
                          <a:pt x="13859" y="20824"/>
                          <a:pt x="13859" y="30048"/>
                        </a:cubicBezTo>
                        <a:cubicBezTo>
                          <a:pt x="13859" y="39272"/>
                          <a:pt x="21654" y="46776"/>
                          <a:pt x="31265" y="46776"/>
                        </a:cubicBezTo>
                        <a:cubicBezTo>
                          <a:pt x="40855" y="46776"/>
                          <a:pt x="48672" y="39272"/>
                          <a:pt x="48672" y="30048"/>
                        </a:cubicBezTo>
                        <a:cubicBezTo>
                          <a:pt x="48672" y="20824"/>
                          <a:pt x="40855" y="13314"/>
                          <a:pt x="31265" y="13314"/>
                        </a:cubicBezTo>
                        <a:close/>
                      </a:path>
                    </a:pathLst>
                  </a:custGeom>
                  <a:solidFill>
                    <a:schemeClr val="accent1"/>
                  </a:solidFill>
                  <a:ln w="218" cap="flat">
                    <a:noFill/>
                    <a:prstDash val="solid"/>
                    <a:miter/>
                  </a:ln>
                </p:spPr>
                <p:txBody>
                  <a:bodyPr rtlCol="0" anchor="ctr"/>
                  <a:lstStyle/>
                  <a:p>
                    <a:endParaRPr lang="en-GB" dirty="0"/>
                  </a:p>
                </p:txBody>
              </p:sp>
              <p:sp>
                <p:nvSpPr>
                  <p:cNvPr id="312" name="Freihandform: Form 604">
                    <a:extLst>
                      <a:ext uri="{FF2B5EF4-FFF2-40B4-BE49-F238E27FC236}">
                        <a16:creationId xmlns:a16="http://schemas.microsoft.com/office/drawing/2014/main" id="{04A49B16-BC82-4189-B9F1-5C254CCA78C9}"/>
                      </a:ext>
                    </a:extLst>
                  </p:cNvPr>
                  <p:cNvSpPr/>
                  <p:nvPr/>
                </p:nvSpPr>
                <p:spPr>
                  <a:xfrm>
                    <a:off x="7318574" y="3650170"/>
                    <a:ext cx="49036" cy="47150"/>
                  </a:xfrm>
                  <a:custGeom>
                    <a:avLst/>
                    <a:gdLst>
                      <a:gd name="connsiteX0" fmla="*/ 42113 w 49036"/>
                      <a:gd name="connsiteY0" fmla="*/ 47150 h 47150"/>
                      <a:gd name="connsiteX1" fmla="*/ 37230 w 49036"/>
                      <a:gd name="connsiteY1" fmla="*/ 45199 h 47150"/>
                      <a:gd name="connsiteX2" fmla="*/ 2028 w 49036"/>
                      <a:gd name="connsiteY2" fmla="*/ 11365 h 47150"/>
                      <a:gd name="connsiteX3" fmla="*/ 2028 w 49036"/>
                      <a:gd name="connsiteY3" fmla="*/ 1951 h 47150"/>
                      <a:gd name="connsiteX4" fmla="*/ 11811 w 49036"/>
                      <a:gd name="connsiteY4" fmla="*/ 1951 h 47150"/>
                      <a:gd name="connsiteX5" fmla="*/ 47017 w 49036"/>
                      <a:gd name="connsiteY5" fmla="*/ 35785 h 47150"/>
                      <a:gd name="connsiteX6" fmla="*/ 47017 w 49036"/>
                      <a:gd name="connsiteY6" fmla="*/ 45199 h 47150"/>
                      <a:gd name="connsiteX7" fmla="*/ 42113 w 49036"/>
                      <a:gd name="connsiteY7" fmla="*/ 47150 h 4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036" h="47150">
                        <a:moveTo>
                          <a:pt x="42113" y="47150"/>
                        </a:moveTo>
                        <a:cubicBezTo>
                          <a:pt x="40339" y="47150"/>
                          <a:pt x="38566" y="46500"/>
                          <a:pt x="37230" y="45199"/>
                        </a:cubicBezTo>
                        <a:lnTo>
                          <a:pt x="2028" y="11365"/>
                        </a:lnTo>
                        <a:cubicBezTo>
                          <a:pt x="-676" y="8764"/>
                          <a:pt x="-676" y="4552"/>
                          <a:pt x="2028" y="1951"/>
                        </a:cubicBezTo>
                        <a:cubicBezTo>
                          <a:pt x="4732" y="-650"/>
                          <a:pt x="9115" y="-650"/>
                          <a:pt x="11811" y="1951"/>
                        </a:cubicBezTo>
                        <a:lnTo>
                          <a:pt x="47017" y="35785"/>
                        </a:lnTo>
                        <a:cubicBezTo>
                          <a:pt x="49710" y="38386"/>
                          <a:pt x="49710" y="42598"/>
                          <a:pt x="47017" y="45199"/>
                        </a:cubicBezTo>
                        <a:cubicBezTo>
                          <a:pt x="45660" y="46500"/>
                          <a:pt x="43886" y="47150"/>
                          <a:pt x="42113" y="47150"/>
                        </a:cubicBezTo>
                        <a:close/>
                      </a:path>
                    </a:pathLst>
                  </a:custGeom>
                  <a:solidFill>
                    <a:schemeClr val="accent1"/>
                  </a:solidFill>
                  <a:ln w="218" cap="flat">
                    <a:noFill/>
                    <a:prstDash val="solid"/>
                    <a:miter/>
                  </a:ln>
                </p:spPr>
                <p:txBody>
                  <a:bodyPr rtlCol="0" anchor="ctr"/>
                  <a:lstStyle/>
                  <a:p>
                    <a:endParaRPr lang="en-GB" dirty="0"/>
                  </a:p>
                </p:txBody>
              </p:sp>
            </p:grpSp>
          </p:grpSp>
        </p:grpSp>
        <p:grpSp>
          <p:nvGrpSpPr>
            <p:cNvPr id="297" name="Graphic 9">
              <a:extLst>
                <a:ext uri="{FF2B5EF4-FFF2-40B4-BE49-F238E27FC236}">
                  <a16:creationId xmlns:a16="http://schemas.microsoft.com/office/drawing/2014/main" id="{8E90B6D1-4E44-45B4-AC0D-EAF333CED355}"/>
                </a:ext>
              </a:extLst>
            </p:cNvPr>
            <p:cNvGrpSpPr/>
            <p:nvPr/>
          </p:nvGrpSpPr>
          <p:grpSpPr>
            <a:xfrm>
              <a:off x="2768256" y="4125546"/>
              <a:ext cx="235098" cy="339045"/>
              <a:chOff x="7086490" y="3438454"/>
              <a:chExt cx="221590" cy="319564"/>
            </a:xfrm>
            <a:solidFill>
              <a:schemeClr val="tx2"/>
            </a:solidFill>
          </p:grpSpPr>
          <p:sp>
            <p:nvSpPr>
              <p:cNvPr id="298" name="Freihandform: Form 606">
                <a:extLst>
                  <a:ext uri="{FF2B5EF4-FFF2-40B4-BE49-F238E27FC236}">
                    <a16:creationId xmlns:a16="http://schemas.microsoft.com/office/drawing/2014/main" id="{2DE21797-15CC-43DE-9AEE-316E97770A6B}"/>
                  </a:ext>
                </a:extLst>
              </p:cNvPr>
              <p:cNvSpPr/>
              <p:nvPr/>
            </p:nvSpPr>
            <p:spPr>
              <a:xfrm>
                <a:off x="7121117" y="3744702"/>
                <a:ext cx="152344" cy="13316"/>
              </a:xfrm>
              <a:custGeom>
                <a:avLst/>
                <a:gdLst>
                  <a:gd name="connsiteX0" fmla="*/ 145419 w 152344"/>
                  <a:gd name="connsiteY0" fmla="*/ 13316 h 13316"/>
                  <a:gd name="connsiteX1" fmla="*/ 6925 w 152344"/>
                  <a:gd name="connsiteY1" fmla="*/ 13316 h 13316"/>
                  <a:gd name="connsiteX2" fmla="*/ 0 w 152344"/>
                  <a:gd name="connsiteY2" fmla="*/ 6658 h 13316"/>
                  <a:gd name="connsiteX3" fmla="*/ 6925 w 152344"/>
                  <a:gd name="connsiteY3" fmla="*/ 0 h 13316"/>
                  <a:gd name="connsiteX4" fmla="*/ 145419 w 152344"/>
                  <a:gd name="connsiteY4" fmla="*/ 0 h 13316"/>
                  <a:gd name="connsiteX5" fmla="*/ 152345 w 152344"/>
                  <a:gd name="connsiteY5" fmla="*/ 6658 h 13316"/>
                  <a:gd name="connsiteX6" fmla="*/ 145419 w 152344"/>
                  <a:gd name="connsiteY6" fmla="*/ 13316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344" h="13316">
                    <a:moveTo>
                      <a:pt x="145419" y="13316"/>
                    </a:moveTo>
                    <a:lnTo>
                      <a:pt x="6925" y="13316"/>
                    </a:lnTo>
                    <a:cubicBezTo>
                      <a:pt x="3098" y="13316"/>
                      <a:pt x="0" y="10339"/>
                      <a:pt x="0" y="6658"/>
                    </a:cubicBezTo>
                    <a:cubicBezTo>
                      <a:pt x="0" y="2978"/>
                      <a:pt x="3098" y="0"/>
                      <a:pt x="6925" y="0"/>
                    </a:cubicBezTo>
                    <a:lnTo>
                      <a:pt x="145419" y="0"/>
                    </a:lnTo>
                    <a:cubicBezTo>
                      <a:pt x="149246" y="0"/>
                      <a:pt x="152345" y="2978"/>
                      <a:pt x="152345" y="6658"/>
                    </a:cubicBezTo>
                    <a:cubicBezTo>
                      <a:pt x="152345" y="10339"/>
                      <a:pt x="149246" y="13316"/>
                      <a:pt x="145419" y="13316"/>
                    </a:cubicBezTo>
                    <a:close/>
                  </a:path>
                </a:pathLst>
              </a:custGeom>
              <a:grpFill/>
              <a:ln w="218" cap="flat">
                <a:noFill/>
                <a:prstDash val="solid"/>
                <a:miter/>
              </a:ln>
            </p:spPr>
            <p:txBody>
              <a:bodyPr rtlCol="0" anchor="ctr"/>
              <a:lstStyle/>
              <a:p>
                <a:endParaRPr lang="en-GB" dirty="0"/>
              </a:p>
            </p:txBody>
          </p:sp>
          <p:sp>
            <p:nvSpPr>
              <p:cNvPr id="299" name="Freihandform: Form 607">
                <a:extLst>
                  <a:ext uri="{FF2B5EF4-FFF2-40B4-BE49-F238E27FC236}">
                    <a16:creationId xmlns:a16="http://schemas.microsoft.com/office/drawing/2014/main" id="{451FB8C5-4A24-4DB7-A7A9-5E7F5EDC5115}"/>
                  </a:ext>
                </a:extLst>
              </p:cNvPr>
              <p:cNvSpPr/>
              <p:nvPr/>
            </p:nvSpPr>
            <p:spPr>
              <a:xfrm>
                <a:off x="7190362" y="3658153"/>
                <a:ext cx="13850" cy="99865"/>
              </a:xfrm>
              <a:custGeom>
                <a:avLst/>
                <a:gdLst>
                  <a:gd name="connsiteX0" fmla="*/ 6925 w 13850"/>
                  <a:gd name="connsiteY0" fmla="*/ 99866 h 99865"/>
                  <a:gd name="connsiteX1" fmla="*/ 0 w 13850"/>
                  <a:gd name="connsiteY1" fmla="*/ 93207 h 99865"/>
                  <a:gd name="connsiteX2" fmla="*/ 0 w 13850"/>
                  <a:gd name="connsiteY2" fmla="*/ 6658 h 99865"/>
                  <a:gd name="connsiteX3" fmla="*/ 6925 w 13850"/>
                  <a:gd name="connsiteY3" fmla="*/ 0 h 99865"/>
                  <a:gd name="connsiteX4" fmla="*/ 13850 w 13850"/>
                  <a:gd name="connsiteY4" fmla="*/ 6658 h 99865"/>
                  <a:gd name="connsiteX5" fmla="*/ 13850 w 13850"/>
                  <a:gd name="connsiteY5" fmla="*/ 93207 h 99865"/>
                  <a:gd name="connsiteX6" fmla="*/ 6925 w 13850"/>
                  <a:gd name="connsiteY6" fmla="*/ 99866 h 99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50" h="99865">
                    <a:moveTo>
                      <a:pt x="6925" y="99866"/>
                    </a:moveTo>
                    <a:cubicBezTo>
                      <a:pt x="3098" y="99866"/>
                      <a:pt x="0" y="96888"/>
                      <a:pt x="0" y="93207"/>
                    </a:cubicBezTo>
                    <a:lnTo>
                      <a:pt x="0" y="6658"/>
                    </a:lnTo>
                    <a:cubicBezTo>
                      <a:pt x="0" y="2978"/>
                      <a:pt x="3098" y="0"/>
                      <a:pt x="6925" y="0"/>
                    </a:cubicBezTo>
                    <a:cubicBezTo>
                      <a:pt x="10753" y="0"/>
                      <a:pt x="13850" y="2978"/>
                      <a:pt x="13850" y="6658"/>
                    </a:cubicBezTo>
                    <a:lnTo>
                      <a:pt x="13850" y="93207"/>
                    </a:lnTo>
                    <a:cubicBezTo>
                      <a:pt x="13850" y="96888"/>
                      <a:pt x="10755" y="99866"/>
                      <a:pt x="6925" y="99866"/>
                    </a:cubicBezTo>
                    <a:close/>
                  </a:path>
                </a:pathLst>
              </a:custGeom>
              <a:grpFill/>
              <a:ln w="218" cap="flat">
                <a:noFill/>
                <a:prstDash val="solid"/>
                <a:miter/>
              </a:ln>
            </p:spPr>
            <p:txBody>
              <a:bodyPr rtlCol="0" anchor="ctr"/>
              <a:lstStyle/>
              <a:p>
                <a:endParaRPr lang="en-GB" dirty="0"/>
              </a:p>
            </p:txBody>
          </p:sp>
          <p:sp>
            <p:nvSpPr>
              <p:cNvPr id="300" name="Freihandform: Form 608">
                <a:extLst>
                  <a:ext uri="{FF2B5EF4-FFF2-40B4-BE49-F238E27FC236}">
                    <a16:creationId xmlns:a16="http://schemas.microsoft.com/office/drawing/2014/main" id="{2A8E3922-34B2-404F-AA9F-9D6F9B37B2C2}"/>
                  </a:ext>
                </a:extLst>
              </p:cNvPr>
              <p:cNvSpPr/>
              <p:nvPr/>
            </p:nvSpPr>
            <p:spPr>
              <a:xfrm>
                <a:off x="7134965" y="3438454"/>
                <a:ext cx="124645" cy="199729"/>
              </a:xfrm>
              <a:custGeom>
                <a:avLst/>
                <a:gdLst>
                  <a:gd name="connsiteX0" fmla="*/ 62323 w 124645"/>
                  <a:gd name="connsiteY0" fmla="*/ 199729 h 199729"/>
                  <a:gd name="connsiteX1" fmla="*/ 0 w 124645"/>
                  <a:gd name="connsiteY1" fmla="*/ 139810 h 199729"/>
                  <a:gd name="connsiteX2" fmla="*/ 0 w 124645"/>
                  <a:gd name="connsiteY2" fmla="*/ 59919 h 199729"/>
                  <a:gd name="connsiteX3" fmla="*/ 62323 w 124645"/>
                  <a:gd name="connsiteY3" fmla="*/ 0 h 199729"/>
                  <a:gd name="connsiteX4" fmla="*/ 124646 w 124645"/>
                  <a:gd name="connsiteY4" fmla="*/ 59919 h 199729"/>
                  <a:gd name="connsiteX5" fmla="*/ 124646 w 124645"/>
                  <a:gd name="connsiteY5" fmla="*/ 139810 h 199729"/>
                  <a:gd name="connsiteX6" fmla="*/ 62323 w 124645"/>
                  <a:gd name="connsiteY6" fmla="*/ 199729 h 199729"/>
                  <a:gd name="connsiteX7" fmla="*/ 62323 w 124645"/>
                  <a:gd name="connsiteY7" fmla="*/ 13316 h 199729"/>
                  <a:gd name="connsiteX8" fmla="*/ 13850 w 124645"/>
                  <a:gd name="connsiteY8" fmla="*/ 59919 h 199729"/>
                  <a:gd name="connsiteX9" fmla="*/ 13850 w 124645"/>
                  <a:gd name="connsiteY9" fmla="*/ 139810 h 199729"/>
                  <a:gd name="connsiteX10" fmla="*/ 62323 w 124645"/>
                  <a:gd name="connsiteY10" fmla="*/ 186413 h 199729"/>
                  <a:gd name="connsiteX11" fmla="*/ 110795 w 124645"/>
                  <a:gd name="connsiteY11" fmla="*/ 139810 h 199729"/>
                  <a:gd name="connsiteX12" fmla="*/ 110795 w 124645"/>
                  <a:gd name="connsiteY12" fmla="*/ 59919 h 199729"/>
                  <a:gd name="connsiteX13" fmla="*/ 62323 w 124645"/>
                  <a:gd name="connsiteY13" fmla="*/ 13316 h 199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645" h="199729">
                    <a:moveTo>
                      <a:pt x="62323" y="199729"/>
                    </a:moveTo>
                    <a:cubicBezTo>
                      <a:pt x="27957" y="199729"/>
                      <a:pt x="0" y="172851"/>
                      <a:pt x="0" y="139810"/>
                    </a:cubicBezTo>
                    <a:lnTo>
                      <a:pt x="0" y="59919"/>
                    </a:lnTo>
                    <a:cubicBezTo>
                      <a:pt x="0" y="26878"/>
                      <a:pt x="27955" y="0"/>
                      <a:pt x="62323" y="0"/>
                    </a:cubicBezTo>
                    <a:cubicBezTo>
                      <a:pt x="96691" y="0"/>
                      <a:pt x="124646" y="26878"/>
                      <a:pt x="124646" y="59919"/>
                    </a:cubicBezTo>
                    <a:lnTo>
                      <a:pt x="124646" y="139810"/>
                    </a:lnTo>
                    <a:cubicBezTo>
                      <a:pt x="124646" y="172851"/>
                      <a:pt x="96691" y="199729"/>
                      <a:pt x="62323" y="199729"/>
                    </a:cubicBezTo>
                    <a:close/>
                    <a:moveTo>
                      <a:pt x="62323" y="13316"/>
                    </a:moveTo>
                    <a:cubicBezTo>
                      <a:pt x="35598" y="13316"/>
                      <a:pt x="13850" y="34226"/>
                      <a:pt x="13850" y="59919"/>
                    </a:cubicBezTo>
                    <a:lnTo>
                      <a:pt x="13850" y="139810"/>
                    </a:lnTo>
                    <a:cubicBezTo>
                      <a:pt x="13850" y="165503"/>
                      <a:pt x="35598" y="186413"/>
                      <a:pt x="62323" y="186413"/>
                    </a:cubicBezTo>
                    <a:cubicBezTo>
                      <a:pt x="89047" y="186413"/>
                      <a:pt x="110795" y="165503"/>
                      <a:pt x="110795" y="139810"/>
                    </a:cubicBezTo>
                    <a:lnTo>
                      <a:pt x="110795" y="59919"/>
                    </a:lnTo>
                    <a:cubicBezTo>
                      <a:pt x="110798" y="34226"/>
                      <a:pt x="89050" y="13316"/>
                      <a:pt x="62323" y="13316"/>
                    </a:cubicBezTo>
                    <a:close/>
                  </a:path>
                </a:pathLst>
              </a:custGeom>
              <a:grpFill/>
              <a:ln w="218" cap="flat">
                <a:noFill/>
                <a:prstDash val="solid"/>
                <a:miter/>
              </a:ln>
            </p:spPr>
            <p:txBody>
              <a:bodyPr rtlCol="0" anchor="ctr"/>
              <a:lstStyle/>
              <a:p>
                <a:endParaRPr lang="en-GB" dirty="0"/>
              </a:p>
            </p:txBody>
          </p:sp>
          <p:sp>
            <p:nvSpPr>
              <p:cNvPr id="301" name="Freihandform: Form 609">
                <a:extLst>
                  <a:ext uri="{FF2B5EF4-FFF2-40B4-BE49-F238E27FC236}">
                    <a16:creationId xmlns:a16="http://schemas.microsoft.com/office/drawing/2014/main" id="{266F554A-D2CC-482C-9F1C-8996A2AE8207}"/>
                  </a:ext>
                </a:extLst>
              </p:cNvPr>
              <p:cNvSpPr/>
              <p:nvPr/>
            </p:nvSpPr>
            <p:spPr>
              <a:xfrm>
                <a:off x="7134967" y="3531659"/>
                <a:ext cx="124645" cy="13316"/>
              </a:xfrm>
              <a:custGeom>
                <a:avLst/>
                <a:gdLst>
                  <a:gd name="connsiteX0" fmla="*/ 117721 w 124645"/>
                  <a:gd name="connsiteY0" fmla="*/ 13316 h 13316"/>
                  <a:gd name="connsiteX1" fmla="*/ 6925 w 124645"/>
                  <a:gd name="connsiteY1" fmla="*/ 13316 h 13316"/>
                  <a:gd name="connsiteX2" fmla="*/ 0 w 124645"/>
                  <a:gd name="connsiteY2" fmla="*/ 6658 h 13316"/>
                  <a:gd name="connsiteX3" fmla="*/ 6925 w 124645"/>
                  <a:gd name="connsiteY3" fmla="*/ 0 h 13316"/>
                  <a:gd name="connsiteX4" fmla="*/ 117721 w 124645"/>
                  <a:gd name="connsiteY4" fmla="*/ 0 h 13316"/>
                  <a:gd name="connsiteX5" fmla="*/ 124646 w 124645"/>
                  <a:gd name="connsiteY5" fmla="*/ 6658 h 13316"/>
                  <a:gd name="connsiteX6" fmla="*/ 117721 w 124645"/>
                  <a:gd name="connsiteY6" fmla="*/ 13316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645" h="13316">
                    <a:moveTo>
                      <a:pt x="117721" y="13316"/>
                    </a:moveTo>
                    <a:lnTo>
                      <a:pt x="6925" y="13316"/>
                    </a:lnTo>
                    <a:cubicBezTo>
                      <a:pt x="3098" y="13316"/>
                      <a:pt x="0" y="10339"/>
                      <a:pt x="0" y="6658"/>
                    </a:cubicBezTo>
                    <a:cubicBezTo>
                      <a:pt x="0" y="2978"/>
                      <a:pt x="3098" y="0"/>
                      <a:pt x="6925" y="0"/>
                    </a:cubicBezTo>
                    <a:lnTo>
                      <a:pt x="117721" y="0"/>
                    </a:lnTo>
                    <a:cubicBezTo>
                      <a:pt x="121548" y="0"/>
                      <a:pt x="124646" y="2978"/>
                      <a:pt x="124646" y="6658"/>
                    </a:cubicBezTo>
                    <a:cubicBezTo>
                      <a:pt x="124644" y="10339"/>
                      <a:pt x="121548" y="13316"/>
                      <a:pt x="117721" y="13316"/>
                    </a:cubicBezTo>
                    <a:close/>
                  </a:path>
                </a:pathLst>
              </a:custGeom>
              <a:grpFill/>
              <a:ln w="218" cap="flat">
                <a:noFill/>
                <a:prstDash val="solid"/>
                <a:miter/>
              </a:ln>
            </p:spPr>
            <p:txBody>
              <a:bodyPr rtlCol="0" anchor="ctr"/>
              <a:lstStyle/>
              <a:p>
                <a:endParaRPr lang="en-GB" dirty="0"/>
              </a:p>
            </p:txBody>
          </p:sp>
          <p:sp>
            <p:nvSpPr>
              <p:cNvPr id="302" name="Freihandform: Form 610">
                <a:extLst>
                  <a:ext uri="{FF2B5EF4-FFF2-40B4-BE49-F238E27FC236}">
                    <a16:creationId xmlns:a16="http://schemas.microsoft.com/office/drawing/2014/main" id="{6B2FB697-81BB-41E0-B6BB-72905A09B362}"/>
                  </a:ext>
                </a:extLst>
              </p:cNvPr>
              <p:cNvSpPr/>
              <p:nvPr/>
            </p:nvSpPr>
            <p:spPr>
              <a:xfrm>
                <a:off x="7086490" y="3531659"/>
                <a:ext cx="221590" cy="139809"/>
              </a:xfrm>
              <a:custGeom>
                <a:avLst/>
                <a:gdLst>
                  <a:gd name="connsiteX0" fmla="*/ 110798 w 221590"/>
                  <a:gd name="connsiteY0" fmla="*/ 139810 h 139809"/>
                  <a:gd name="connsiteX1" fmla="*/ 13850 w 221590"/>
                  <a:gd name="connsiteY1" fmla="*/ 46605 h 139809"/>
                  <a:gd name="connsiteX2" fmla="*/ 13850 w 221590"/>
                  <a:gd name="connsiteY2" fmla="*/ 13316 h 139809"/>
                  <a:gd name="connsiteX3" fmla="*/ 6925 w 221590"/>
                  <a:gd name="connsiteY3" fmla="*/ 13316 h 139809"/>
                  <a:gd name="connsiteX4" fmla="*/ 0 w 221590"/>
                  <a:gd name="connsiteY4" fmla="*/ 6658 h 139809"/>
                  <a:gd name="connsiteX5" fmla="*/ 6925 w 221590"/>
                  <a:gd name="connsiteY5" fmla="*/ 0 h 139809"/>
                  <a:gd name="connsiteX6" fmla="*/ 20774 w 221590"/>
                  <a:gd name="connsiteY6" fmla="*/ 0 h 139809"/>
                  <a:gd name="connsiteX7" fmla="*/ 27699 w 221590"/>
                  <a:gd name="connsiteY7" fmla="*/ 6658 h 139809"/>
                  <a:gd name="connsiteX8" fmla="*/ 27699 w 221590"/>
                  <a:gd name="connsiteY8" fmla="*/ 46603 h 139809"/>
                  <a:gd name="connsiteX9" fmla="*/ 110795 w 221590"/>
                  <a:gd name="connsiteY9" fmla="*/ 126494 h 139809"/>
                  <a:gd name="connsiteX10" fmla="*/ 193892 w 221590"/>
                  <a:gd name="connsiteY10" fmla="*/ 46603 h 139809"/>
                  <a:gd name="connsiteX11" fmla="*/ 193892 w 221590"/>
                  <a:gd name="connsiteY11" fmla="*/ 6658 h 139809"/>
                  <a:gd name="connsiteX12" fmla="*/ 200817 w 221590"/>
                  <a:gd name="connsiteY12" fmla="*/ 0 h 139809"/>
                  <a:gd name="connsiteX13" fmla="*/ 214666 w 221590"/>
                  <a:gd name="connsiteY13" fmla="*/ 0 h 139809"/>
                  <a:gd name="connsiteX14" fmla="*/ 221591 w 221590"/>
                  <a:gd name="connsiteY14" fmla="*/ 6658 h 139809"/>
                  <a:gd name="connsiteX15" fmla="*/ 214666 w 221590"/>
                  <a:gd name="connsiteY15" fmla="*/ 13316 h 139809"/>
                  <a:gd name="connsiteX16" fmla="*/ 207740 w 221590"/>
                  <a:gd name="connsiteY16" fmla="*/ 13316 h 139809"/>
                  <a:gd name="connsiteX17" fmla="*/ 207740 w 221590"/>
                  <a:gd name="connsiteY17" fmla="*/ 46605 h 139809"/>
                  <a:gd name="connsiteX18" fmla="*/ 110798 w 221590"/>
                  <a:gd name="connsiteY18" fmla="*/ 139810 h 139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1590" h="139809">
                    <a:moveTo>
                      <a:pt x="110798" y="139810"/>
                    </a:moveTo>
                    <a:cubicBezTo>
                      <a:pt x="57340" y="139810"/>
                      <a:pt x="13850" y="97998"/>
                      <a:pt x="13850" y="46605"/>
                    </a:cubicBezTo>
                    <a:lnTo>
                      <a:pt x="13850" y="13316"/>
                    </a:lnTo>
                    <a:lnTo>
                      <a:pt x="6925" y="13316"/>
                    </a:lnTo>
                    <a:cubicBezTo>
                      <a:pt x="3098" y="13316"/>
                      <a:pt x="0" y="10339"/>
                      <a:pt x="0" y="6658"/>
                    </a:cubicBezTo>
                    <a:cubicBezTo>
                      <a:pt x="0" y="2978"/>
                      <a:pt x="3098" y="0"/>
                      <a:pt x="6925" y="0"/>
                    </a:cubicBezTo>
                    <a:lnTo>
                      <a:pt x="20774" y="0"/>
                    </a:lnTo>
                    <a:cubicBezTo>
                      <a:pt x="24601" y="0"/>
                      <a:pt x="27699" y="2978"/>
                      <a:pt x="27699" y="6658"/>
                    </a:cubicBezTo>
                    <a:lnTo>
                      <a:pt x="27699" y="46603"/>
                    </a:lnTo>
                    <a:cubicBezTo>
                      <a:pt x="27699" y="90657"/>
                      <a:pt x="64974" y="126494"/>
                      <a:pt x="110795" y="126494"/>
                    </a:cubicBezTo>
                    <a:cubicBezTo>
                      <a:pt x="156616" y="126494"/>
                      <a:pt x="193892" y="90657"/>
                      <a:pt x="193892" y="46603"/>
                    </a:cubicBezTo>
                    <a:lnTo>
                      <a:pt x="193892" y="6658"/>
                    </a:lnTo>
                    <a:cubicBezTo>
                      <a:pt x="193892" y="2978"/>
                      <a:pt x="196990" y="0"/>
                      <a:pt x="200817" y="0"/>
                    </a:cubicBezTo>
                    <a:lnTo>
                      <a:pt x="214666" y="0"/>
                    </a:lnTo>
                    <a:cubicBezTo>
                      <a:pt x="218493" y="0"/>
                      <a:pt x="221591" y="2978"/>
                      <a:pt x="221591" y="6658"/>
                    </a:cubicBezTo>
                    <a:cubicBezTo>
                      <a:pt x="221591" y="10339"/>
                      <a:pt x="218493" y="13316"/>
                      <a:pt x="214666" y="13316"/>
                    </a:cubicBezTo>
                    <a:lnTo>
                      <a:pt x="207740" y="13316"/>
                    </a:lnTo>
                    <a:lnTo>
                      <a:pt x="207740" y="46605"/>
                    </a:lnTo>
                    <a:cubicBezTo>
                      <a:pt x="207745" y="98000"/>
                      <a:pt x="164255" y="139810"/>
                      <a:pt x="110798" y="139810"/>
                    </a:cubicBezTo>
                    <a:close/>
                  </a:path>
                </a:pathLst>
              </a:custGeom>
              <a:grpFill/>
              <a:ln w="218" cap="flat">
                <a:noFill/>
                <a:prstDash val="solid"/>
                <a:miter/>
              </a:ln>
            </p:spPr>
            <p:txBody>
              <a:bodyPr rtlCol="0" anchor="ctr"/>
              <a:lstStyle/>
              <a:p>
                <a:endParaRPr lang="en-GB" dirty="0"/>
              </a:p>
            </p:txBody>
          </p:sp>
          <p:sp>
            <p:nvSpPr>
              <p:cNvPr id="303" name="Freihandform: Form 611">
                <a:extLst>
                  <a:ext uri="{FF2B5EF4-FFF2-40B4-BE49-F238E27FC236}">
                    <a16:creationId xmlns:a16="http://schemas.microsoft.com/office/drawing/2014/main" id="{8E7BB27C-99BF-43B9-AB1C-59CB4BFD6E2A}"/>
                  </a:ext>
                </a:extLst>
              </p:cNvPr>
              <p:cNvSpPr/>
              <p:nvPr/>
            </p:nvSpPr>
            <p:spPr>
              <a:xfrm>
                <a:off x="7134967" y="3491714"/>
                <a:ext cx="34624" cy="13316"/>
              </a:xfrm>
              <a:custGeom>
                <a:avLst/>
                <a:gdLst>
                  <a:gd name="connsiteX0" fmla="*/ 27699 w 34624"/>
                  <a:gd name="connsiteY0" fmla="*/ 13316 h 13316"/>
                  <a:gd name="connsiteX1" fmla="*/ 6925 w 34624"/>
                  <a:gd name="connsiteY1" fmla="*/ 13316 h 13316"/>
                  <a:gd name="connsiteX2" fmla="*/ 0 w 34624"/>
                  <a:gd name="connsiteY2" fmla="*/ 6658 h 13316"/>
                  <a:gd name="connsiteX3" fmla="*/ 6925 w 34624"/>
                  <a:gd name="connsiteY3" fmla="*/ 0 h 13316"/>
                  <a:gd name="connsiteX4" fmla="*/ 27699 w 34624"/>
                  <a:gd name="connsiteY4" fmla="*/ 0 h 13316"/>
                  <a:gd name="connsiteX5" fmla="*/ 34624 w 34624"/>
                  <a:gd name="connsiteY5" fmla="*/ 6658 h 13316"/>
                  <a:gd name="connsiteX6" fmla="*/ 27699 w 34624"/>
                  <a:gd name="connsiteY6" fmla="*/ 13316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24" h="13316">
                    <a:moveTo>
                      <a:pt x="27699" y="13316"/>
                    </a:moveTo>
                    <a:lnTo>
                      <a:pt x="6925" y="13316"/>
                    </a:lnTo>
                    <a:cubicBezTo>
                      <a:pt x="3098" y="13316"/>
                      <a:pt x="0" y="10339"/>
                      <a:pt x="0" y="6658"/>
                    </a:cubicBezTo>
                    <a:cubicBezTo>
                      <a:pt x="0" y="2978"/>
                      <a:pt x="3098" y="0"/>
                      <a:pt x="6925" y="0"/>
                    </a:cubicBezTo>
                    <a:lnTo>
                      <a:pt x="27699" y="0"/>
                    </a:lnTo>
                    <a:cubicBezTo>
                      <a:pt x="31526" y="0"/>
                      <a:pt x="34624" y="2978"/>
                      <a:pt x="34624" y="6658"/>
                    </a:cubicBezTo>
                    <a:cubicBezTo>
                      <a:pt x="34622" y="10339"/>
                      <a:pt x="31526" y="13316"/>
                      <a:pt x="27699" y="13316"/>
                    </a:cubicBezTo>
                    <a:close/>
                  </a:path>
                </a:pathLst>
              </a:custGeom>
              <a:grpFill/>
              <a:ln w="218" cap="flat">
                <a:noFill/>
                <a:prstDash val="solid"/>
                <a:miter/>
              </a:ln>
            </p:spPr>
            <p:txBody>
              <a:bodyPr rtlCol="0" anchor="ctr"/>
              <a:lstStyle/>
              <a:p>
                <a:endParaRPr lang="en-GB" dirty="0"/>
              </a:p>
            </p:txBody>
          </p:sp>
          <p:sp>
            <p:nvSpPr>
              <p:cNvPr id="304" name="Freihandform: Form 612">
                <a:extLst>
                  <a:ext uri="{FF2B5EF4-FFF2-40B4-BE49-F238E27FC236}">
                    <a16:creationId xmlns:a16="http://schemas.microsoft.com/office/drawing/2014/main" id="{F564C278-DEC3-46AA-96F6-4B6B991A3F45}"/>
                  </a:ext>
                </a:extLst>
              </p:cNvPr>
              <p:cNvSpPr/>
              <p:nvPr/>
            </p:nvSpPr>
            <p:spPr>
              <a:xfrm>
                <a:off x="7224989" y="3491714"/>
                <a:ext cx="34624" cy="13316"/>
              </a:xfrm>
              <a:custGeom>
                <a:avLst/>
                <a:gdLst>
                  <a:gd name="connsiteX0" fmla="*/ 27699 w 34624"/>
                  <a:gd name="connsiteY0" fmla="*/ 13316 h 13316"/>
                  <a:gd name="connsiteX1" fmla="*/ 6925 w 34624"/>
                  <a:gd name="connsiteY1" fmla="*/ 13316 h 13316"/>
                  <a:gd name="connsiteX2" fmla="*/ 0 w 34624"/>
                  <a:gd name="connsiteY2" fmla="*/ 6658 h 13316"/>
                  <a:gd name="connsiteX3" fmla="*/ 6925 w 34624"/>
                  <a:gd name="connsiteY3" fmla="*/ 0 h 13316"/>
                  <a:gd name="connsiteX4" fmla="*/ 27699 w 34624"/>
                  <a:gd name="connsiteY4" fmla="*/ 0 h 13316"/>
                  <a:gd name="connsiteX5" fmla="*/ 34624 w 34624"/>
                  <a:gd name="connsiteY5" fmla="*/ 6658 h 13316"/>
                  <a:gd name="connsiteX6" fmla="*/ 27699 w 34624"/>
                  <a:gd name="connsiteY6" fmla="*/ 13316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624" h="13316">
                    <a:moveTo>
                      <a:pt x="27699" y="13316"/>
                    </a:moveTo>
                    <a:lnTo>
                      <a:pt x="6925" y="13316"/>
                    </a:lnTo>
                    <a:cubicBezTo>
                      <a:pt x="3098" y="13316"/>
                      <a:pt x="0" y="10339"/>
                      <a:pt x="0" y="6658"/>
                    </a:cubicBezTo>
                    <a:cubicBezTo>
                      <a:pt x="0" y="2978"/>
                      <a:pt x="3098" y="0"/>
                      <a:pt x="6925" y="0"/>
                    </a:cubicBezTo>
                    <a:lnTo>
                      <a:pt x="27699" y="0"/>
                    </a:lnTo>
                    <a:cubicBezTo>
                      <a:pt x="31526" y="0"/>
                      <a:pt x="34624" y="2978"/>
                      <a:pt x="34624" y="6658"/>
                    </a:cubicBezTo>
                    <a:cubicBezTo>
                      <a:pt x="34622" y="10339"/>
                      <a:pt x="31526" y="13316"/>
                      <a:pt x="27699" y="13316"/>
                    </a:cubicBezTo>
                    <a:close/>
                  </a:path>
                </a:pathLst>
              </a:custGeom>
              <a:grpFill/>
              <a:ln w="218" cap="flat">
                <a:noFill/>
                <a:prstDash val="solid"/>
                <a:miter/>
              </a:ln>
            </p:spPr>
            <p:txBody>
              <a:bodyPr rtlCol="0" anchor="ctr"/>
              <a:lstStyle/>
              <a:p>
                <a:endParaRPr lang="en-GB" dirty="0"/>
              </a:p>
            </p:txBody>
          </p:sp>
        </p:grpSp>
      </p:grpSp>
      <p:grpSp>
        <p:nvGrpSpPr>
          <p:cNvPr id="109" name="Group 108">
            <a:extLst>
              <a:ext uri="{FF2B5EF4-FFF2-40B4-BE49-F238E27FC236}">
                <a16:creationId xmlns:a16="http://schemas.microsoft.com/office/drawing/2014/main" id="{36D49B69-EFC7-198E-D0C7-AC3A28B01F60}"/>
              </a:ext>
            </a:extLst>
          </p:cNvPr>
          <p:cNvGrpSpPr/>
          <p:nvPr/>
        </p:nvGrpSpPr>
        <p:grpSpPr>
          <a:xfrm>
            <a:off x="3633348" y="4058513"/>
            <a:ext cx="648008" cy="380156"/>
            <a:chOff x="3633348" y="4058513"/>
            <a:chExt cx="648008" cy="380156"/>
          </a:xfrm>
        </p:grpSpPr>
        <p:grpSp>
          <p:nvGrpSpPr>
            <p:cNvPr id="328" name="Grafik 17">
              <a:extLst>
                <a:ext uri="{FF2B5EF4-FFF2-40B4-BE49-F238E27FC236}">
                  <a16:creationId xmlns:a16="http://schemas.microsoft.com/office/drawing/2014/main" id="{18713A53-60A8-47BC-8684-E4E21A8422D6}"/>
                </a:ext>
              </a:extLst>
            </p:cNvPr>
            <p:cNvGrpSpPr/>
            <p:nvPr/>
          </p:nvGrpSpPr>
          <p:grpSpPr>
            <a:xfrm>
              <a:off x="4026057" y="4085941"/>
              <a:ext cx="141660" cy="141660"/>
              <a:chOff x="1204954" y="1680479"/>
              <a:chExt cx="152317" cy="152317"/>
            </a:xfrm>
            <a:solidFill>
              <a:schemeClr val="accent1"/>
            </a:solidFill>
          </p:grpSpPr>
          <p:sp>
            <p:nvSpPr>
              <p:cNvPr id="341" name="Freihandform: Form 521">
                <a:extLst>
                  <a:ext uri="{FF2B5EF4-FFF2-40B4-BE49-F238E27FC236}">
                    <a16:creationId xmlns:a16="http://schemas.microsoft.com/office/drawing/2014/main" id="{3EEC9BBD-156F-44A6-8B73-1665CD6614D8}"/>
                  </a:ext>
                </a:extLst>
              </p:cNvPr>
              <p:cNvSpPr/>
              <p:nvPr/>
            </p:nvSpPr>
            <p:spPr>
              <a:xfrm>
                <a:off x="1204954" y="1680479"/>
                <a:ext cx="152317" cy="152317"/>
              </a:xfrm>
              <a:custGeom>
                <a:avLst/>
                <a:gdLst>
                  <a:gd name="connsiteX0" fmla="*/ 76145 w 152317"/>
                  <a:gd name="connsiteY0" fmla="*/ 0 h 152317"/>
                  <a:gd name="connsiteX1" fmla="*/ 0 w 152317"/>
                  <a:gd name="connsiteY1" fmla="*/ 76172 h 152317"/>
                  <a:gd name="connsiteX2" fmla="*/ 76145 w 152317"/>
                  <a:gd name="connsiteY2" fmla="*/ 152317 h 152317"/>
                  <a:gd name="connsiteX3" fmla="*/ 152317 w 152317"/>
                  <a:gd name="connsiteY3" fmla="*/ 76172 h 152317"/>
                  <a:gd name="connsiteX4" fmla="*/ 76145 w 152317"/>
                  <a:gd name="connsiteY4" fmla="*/ 0 h 152317"/>
                  <a:gd name="connsiteX5" fmla="*/ 76145 w 152317"/>
                  <a:gd name="connsiteY5" fmla="*/ 142514 h 152317"/>
                  <a:gd name="connsiteX6" fmla="*/ 9804 w 152317"/>
                  <a:gd name="connsiteY6" fmla="*/ 76172 h 152317"/>
                  <a:gd name="connsiteX7" fmla="*/ 76145 w 152317"/>
                  <a:gd name="connsiteY7" fmla="*/ 9830 h 152317"/>
                  <a:gd name="connsiteX8" fmla="*/ 142487 w 152317"/>
                  <a:gd name="connsiteY8" fmla="*/ 76172 h 152317"/>
                  <a:gd name="connsiteX9" fmla="*/ 76145 w 152317"/>
                  <a:gd name="connsiteY9" fmla="*/ 142514 h 15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2317" h="152317">
                    <a:moveTo>
                      <a:pt x="76145" y="0"/>
                    </a:moveTo>
                    <a:cubicBezTo>
                      <a:pt x="34141" y="0"/>
                      <a:pt x="0" y="34167"/>
                      <a:pt x="0" y="76172"/>
                    </a:cubicBezTo>
                    <a:cubicBezTo>
                      <a:pt x="0" y="118177"/>
                      <a:pt x="34167" y="152317"/>
                      <a:pt x="76145" y="152317"/>
                    </a:cubicBezTo>
                    <a:cubicBezTo>
                      <a:pt x="118150" y="152317"/>
                      <a:pt x="152317" y="118150"/>
                      <a:pt x="152317" y="76172"/>
                    </a:cubicBezTo>
                    <a:cubicBezTo>
                      <a:pt x="152317" y="34167"/>
                      <a:pt x="118150" y="0"/>
                      <a:pt x="76145" y="0"/>
                    </a:cubicBezTo>
                    <a:close/>
                    <a:moveTo>
                      <a:pt x="76145" y="142514"/>
                    </a:moveTo>
                    <a:cubicBezTo>
                      <a:pt x="39561" y="142514"/>
                      <a:pt x="9804" y="112757"/>
                      <a:pt x="9804" y="76172"/>
                    </a:cubicBezTo>
                    <a:cubicBezTo>
                      <a:pt x="9804" y="39587"/>
                      <a:pt x="39561" y="9830"/>
                      <a:pt x="76145" y="9830"/>
                    </a:cubicBezTo>
                    <a:cubicBezTo>
                      <a:pt x="112730" y="9830"/>
                      <a:pt x="142487" y="39587"/>
                      <a:pt x="142487" y="76172"/>
                    </a:cubicBezTo>
                    <a:cubicBezTo>
                      <a:pt x="142487" y="112757"/>
                      <a:pt x="112730" y="142514"/>
                      <a:pt x="76145" y="142514"/>
                    </a:cubicBezTo>
                    <a:close/>
                  </a:path>
                </a:pathLst>
              </a:custGeom>
              <a:solidFill>
                <a:schemeClr val="accent1"/>
              </a:solidFill>
              <a:ln w="2652" cap="flat">
                <a:noFill/>
                <a:prstDash val="solid"/>
                <a:miter/>
              </a:ln>
            </p:spPr>
            <p:txBody>
              <a:bodyPr rtlCol="0" anchor="ctr"/>
              <a:lstStyle/>
              <a:p>
                <a:endParaRPr lang="en-GB" dirty="0"/>
              </a:p>
            </p:txBody>
          </p:sp>
          <p:sp>
            <p:nvSpPr>
              <p:cNvPr id="342" name="Freihandform: Form 522">
                <a:extLst>
                  <a:ext uri="{FF2B5EF4-FFF2-40B4-BE49-F238E27FC236}">
                    <a16:creationId xmlns:a16="http://schemas.microsoft.com/office/drawing/2014/main" id="{957C39EC-97D5-4C3E-8E6B-B09AE69CC357}"/>
                  </a:ext>
                </a:extLst>
              </p:cNvPr>
              <p:cNvSpPr/>
              <p:nvPr/>
            </p:nvSpPr>
            <p:spPr>
              <a:xfrm>
                <a:off x="1275759" y="1680506"/>
                <a:ext cx="81485" cy="136748"/>
              </a:xfrm>
              <a:custGeom>
                <a:avLst/>
                <a:gdLst>
                  <a:gd name="connsiteX0" fmla="*/ 4942 w 81485"/>
                  <a:gd name="connsiteY0" fmla="*/ 0 h 136748"/>
                  <a:gd name="connsiteX1" fmla="*/ 4942 w 81485"/>
                  <a:gd name="connsiteY1" fmla="*/ 0 h 136748"/>
                  <a:gd name="connsiteX2" fmla="*/ 0 w 81485"/>
                  <a:gd name="connsiteY2" fmla="*/ 0 h 136748"/>
                  <a:gd name="connsiteX3" fmla="*/ 0 w 81485"/>
                  <a:gd name="connsiteY3" fmla="*/ 75747 h 136748"/>
                  <a:gd name="connsiteX4" fmla="*/ 51623 w 81485"/>
                  <a:gd name="connsiteY4" fmla="*/ 136748 h 136748"/>
                  <a:gd name="connsiteX5" fmla="*/ 55369 w 81485"/>
                  <a:gd name="connsiteY5" fmla="*/ 133480 h 136748"/>
                  <a:gd name="connsiteX6" fmla="*/ 81486 w 81485"/>
                  <a:gd name="connsiteY6" fmla="*/ 76172 h 136748"/>
                  <a:gd name="connsiteX7" fmla="*/ 4942 w 81485"/>
                  <a:gd name="connsiteY7" fmla="*/ 0 h 136748"/>
                  <a:gd name="connsiteX8" fmla="*/ 52553 w 81485"/>
                  <a:gd name="connsiteY8" fmla="*/ 122640 h 136748"/>
                  <a:gd name="connsiteX9" fmla="*/ 9804 w 81485"/>
                  <a:gd name="connsiteY9" fmla="*/ 72134 h 136748"/>
                  <a:gd name="connsiteX10" fmla="*/ 9804 w 81485"/>
                  <a:gd name="connsiteY10" fmla="*/ 9937 h 136748"/>
                  <a:gd name="connsiteX11" fmla="*/ 71682 w 81485"/>
                  <a:gd name="connsiteY11" fmla="*/ 76145 h 136748"/>
                  <a:gd name="connsiteX12" fmla="*/ 52553 w 81485"/>
                  <a:gd name="connsiteY12" fmla="*/ 122640 h 136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485" h="136748">
                    <a:moveTo>
                      <a:pt x="4942" y="0"/>
                    </a:moveTo>
                    <a:cubicBezTo>
                      <a:pt x="4915" y="0"/>
                      <a:pt x="4915" y="0"/>
                      <a:pt x="4942" y="0"/>
                    </a:cubicBezTo>
                    <a:lnTo>
                      <a:pt x="0" y="0"/>
                    </a:lnTo>
                    <a:lnTo>
                      <a:pt x="0" y="75747"/>
                    </a:lnTo>
                    <a:lnTo>
                      <a:pt x="51623" y="136748"/>
                    </a:lnTo>
                    <a:lnTo>
                      <a:pt x="55369" y="133480"/>
                    </a:lnTo>
                    <a:cubicBezTo>
                      <a:pt x="71974" y="119000"/>
                      <a:pt x="81486" y="98091"/>
                      <a:pt x="81486" y="76172"/>
                    </a:cubicBezTo>
                    <a:cubicBezTo>
                      <a:pt x="81512" y="34167"/>
                      <a:pt x="47345" y="0"/>
                      <a:pt x="4942" y="0"/>
                    </a:cubicBezTo>
                    <a:close/>
                    <a:moveTo>
                      <a:pt x="52553" y="122640"/>
                    </a:moveTo>
                    <a:lnTo>
                      <a:pt x="9804" y="72134"/>
                    </a:lnTo>
                    <a:lnTo>
                      <a:pt x="9804" y="9937"/>
                    </a:lnTo>
                    <a:cubicBezTo>
                      <a:pt x="44316" y="12248"/>
                      <a:pt x="71682" y="41048"/>
                      <a:pt x="71682" y="76145"/>
                    </a:cubicBezTo>
                    <a:cubicBezTo>
                      <a:pt x="71682" y="93574"/>
                      <a:pt x="64774" y="110259"/>
                      <a:pt x="52553" y="122640"/>
                    </a:cubicBezTo>
                    <a:close/>
                  </a:path>
                </a:pathLst>
              </a:custGeom>
              <a:solidFill>
                <a:schemeClr val="accent1"/>
              </a:solidFill>
              <a:ln w="2652" cap="flat">
                <a:noFill/>
                <a:prstDash val="solid"/>
                <a:miter/>
              </a:ln>
            </p:spPr>
            <p:txBody>
              <a:bodyPr rtlCol="0" anchor="ctr"/>
              <a:lstStyle/>
              <a:p>
                <a:endParaRPr lang="en-GB" dirty="0"/>
              </a:p>
            </p:txBody>
          </p:sp>
        </p:grpSp>
        <p:grpSp>
          <p:nvGrpSpPr>
            <p:cNvPr id="329" name="Group 328">
              <a:extLst>
                <a:ext uri="{FF2B5EF4-FFF2-40B4-BE49-F238E27FC236}">
                  <a16:creationId xmlns:a16="http://schemas.microsoft.com/office/drawing/2014/main" id="{BA3831D8-3607-4A32-A592-3830911D6BA7}"/>
                </a:ext>
              </a:extLst>
            </p:cNvPr>
            <p:cNvGrpSpPr/>
            <p:nvPr/>
          </p:nvGrpSpPr>
          <p:grpSpPr>
            <a:xfrm>
              <a:off x="3633348" y="4058513"/>
              <a:ext cx="648008" cy="380156"/>
              <a:chOff x="782701" y="1650988"/>
              <a:chExt cx="696759" cy="408756"/>
            </a:xfrm>
            <a:solidFill>
              <a:schemeClr val="tx2"/>
            </a:solidFill>
          </p:grpSpPr>
          <p:sp>
            <p:nvSpPr>
              <p:cNvPr id="330" name="Freihandform: Form 519">
                <a:extLst>
                  <a:ext uri="{FF2B5EF4-FFF2-40B4-BE49-F238E27FC236}">
                    <a16:creationId xmlns:a16="http://schemas.microsoft.com/office/drawing/2014/main" id="{F22A4D01-A47C-4855-8649-83D8F858D4F9}"/>
                  </a:ext>
                </a:extLst>
              </p:cNvPr>
              <p:cNvSpPr/>
              <p:nvPr/>
            </p:nvSpPr>
            <p:spPr>
              <a:xfrm>
                <a:off x="1104419" y="1650988"/>
                <a:ext cx="352219" cy="211007"/>
              </a:xfrm>
              <a:custGeom>
                <a:avLst/>
                <a:gdLst>
                  <a:gd name="connsiteX0" fmla="*/ 347304 w 352219"/>
                  <a:gd name="connsiteY0" fmla="*/ 0 h 211007"/>
                  <a:gd name="connsiteX1" fmla="*/ 4915 w 352219"/>
                  <a:gd name="connsiteY1" fmla="*/ 0 h 211007"/>
                  <a:gd name="connsiteX2" fmla="*/ 0 w 352219"/>
                  <a:gd name="connsiteY2" fmla="*/ 4915 h 211007"/>
                  <a:gd name="connsiteX3" fmla="*/ 0 w 352219"/>
                  <a:gd name="connsiteY3" fmla="*/ 109037 h 211007"/>
                  <a:gd name="connsiteX4" fmla="*/ 4915 w 352219"/>
                  <a:gd name="connsiteY4" fmla="*/ 113952 h 211007"/>
                  <a:gd name="connsiteX5" fmla="*/ 9830 w 352219"/>
                  <a:gd name="connsiteY5" fmla="*/ 109037 h 211007"/>
                  <a:gd name="connsiteX6" fmla="*/ 9830 w 352219"/>
                  <a:gd name="connsiteY6" fmla="*/ 9830 h 211007"/>
                  <a:gd name="connsiteX7" fmla="*/ 342389 w 352219"/>
                  <a:gd name="connsiteY7" fmla="*/ 9830 h 211007"/>
                  <a:gd name="connsiteX8" fmla="*/ 342389 w 352219"/>
                  <a:gd name="connsiteY8" fmla="*/ 201177 h 211007"/>
                  <a:gd name="connsiteX9" fmla="*/ 110339 w 352219"/>
                  <a:gd name="connsiteY9" fmla="*/ 201177 h 211007"/>
                  <a:gd name="connsiteX10" fmla="*/ 105424 w 352219"/>
                  <a:gd name="connsiteY10" fmla="*/ 206092 h 211007"/>
                  <a:gd name="connsiteX11" fmla="*/ 110339 w 352219"/>
                  <a:gd name="connsiteY11" fmla="*/ 211007 h 211007"/>
                  <a:gd name="connsiteX12" fmla="*/ 347304 w 352219"/>
                  <a:gd name="connsiteY12" fmla="*/ 211007 h 211007"/>
                  <a:gd name="connsiteX13" fmla="*/ 352219 w 352219"/>
                  <a:gd name="connsiteY13" fmla="*/ 206092 h 211007"/>
                  <a:gd name="connsiteX14" fmla="*/ 352219 w 352219"/>
                  <a:gd name="connsiteY14" fmla="*/ 4915 h 211007"/>
                  <a:gd name="connsiteX15" fmla="*/ 347304 w 352219"/>
                  <a:gd name="connsiteY15" fmla="*/ 0 h 21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219" h="211007">
                    <a:moveTo>
                      <a:pt x="347304" y="0"/>
                    </a:moveTo>
                    <a:lnTo>
                      <a:pt x="4915" y="0"/>
                    </a:lnTo>
                    <a:cubicBezTo>
                      <a:pt x="2205" y="0"/>
                      <a:pt x="0" y="2205"/>
                      <a:pt x="0" y="4915"/>
                    </a:cubicBezTo>
                    <a:lnTo>
                      <a:pt x="0" y="109037"/>
                    </a:lnTo>
                    <a:cubicBezTo>
                      <a:pt x="0" y="111747"/>
                      <a:pt x="2205" y="113952"/>
                      <a:pt x="4915" y="113952"/>
                    </a:cubicBezTo>
                    <a:cubicBezTo>
                      <a:pt x="7625" y="113952"/>
                      <a:pt x="9830" y="111747"/>
                      <a:pt x="9830" y="109037"/>
                    </a:cubicBezTo>
                    <a:lnTo>
                      <a:pt x="9830" y="9830"/>
                    </a:lnTo>
                    <a:lnTo>
                      <a:pt x="342389" y="9830"/>
                    </a:lnTo>
                    <a:lnTo>
                      <a:pt x="342389" y="201177"/>
                    </a:lnTo>
                    <a:lnTo>
                      <a:pt x="110339" y="201177"/>
                    </a:lnTo>
                    <a:cubicBezTo>
                      <a:pt x="107629" y="201177"/>
                      <a:pt x="105424" y="203382"/>
                      <a:pt x="105424" y="206092"/>
                    </a:cubicBezTo>
                    <a:cubicBezTo>
                      <a:pt x="105424" y="208802"/>
                      <a:pt x="107629" y="211007"/>
                      <a:pt x="110339" y="211007"/>
                    </a:cubicBezTo>
                    <a:lnTo>
                      <a:pt x="347304" y="211007"/>
                    </a:lnTo>
                    <a:cubicBezTo>
                      <a:pt x="350014" y="211007"/>
                      <a:pt x="352219" y="208802"/>
                      <a:pt x="352219" y="206092"/>
                    </a:cubicBezTo>
                    <a:lnTo>
                      <a:pt x="352219" y="4915"/>
                    </a:lnTo>
                    <a:cubicBezTo>
                      <a:pt x="352219" y="2205"/>
                      <a:pt x="350014" y="0"/>
                      <a:pt x="347304" y="0"/>
                    </a:cubicBezTo>
                    <a:close/>
                  </a:path>
                </a:pathLst>
              </a:custGeom>
              <a:grpFill/>
              <a:ln w="2652" cap="flat">
                <a:noFill/>
                <a:prstDash val="solid"/>
                <a:miter/>
              </a:ln>
            </p:spPr>
            <p:txBody>
              <a:bodyPr rtlCol="0" anchor="ctr"/>
              <a:lstStyle/>
              <a:p>
                <a:endParaRPr lang="en-GB" dirty="0"/>
              </a:p>
            </p:txBody>
          </p:sp>
          <p:sp>
            <p:nvSpPr>
              <p:cNvPr id="331" name="Freihandform: Form 523">
                <a:extLst>
                  <a:ext uri="{FF2B5EF4-FFF2-40B4-BE49-F238E27FC236}">
                    <a16:creationId xmlns:a16="http://schemas.microsoft.com/office/drawing/2014/main" id="{CAC25CEA-0832-4440-B9AC-1EDAAFC7ABDF}"/>
                  </a:ext>
                </a:extLst>
              </p:cNvPr>
              <p:cNvSpPr/>
              <p:nvPr/>
            </p:nvSpPr>
            <p:spPr>
              <a:xfrm>
                <a:off x="1077213" y="1651201"/>
                <a:ext cx="402247" cy="9830"/>
              </a:xfrm>
              <a:custGeom>
                <a:avLst/>
                <a:gdLst>
                  <a:gd name="connsiteX0" fmla="*/ 397332 w 402247"/>
                  <a:gd name="connsiteY0" fmla="*/ 0 h 9830"/>
                  <a:gd name="connsiteX1" fmla="*/ 4915 w 402247"/>
                  <a:gd name="connsiteY1" fmla="*/ 0 h 9830"/>
                  <a:gd name="connsiteX2" fmla="*/ 0 w 402247"/>
                  <a:gd name="connsiteY2" fmla="*/ 4915 h 9830"/>
                  <a:gd name="connsiteX3" fmla="*/ 4915 w 402247"/>
                  <a:gd name="connsiteY3" fmla="*/ 9830 h 9830"/>
                  <a:gd name="connsiteX4" fmla="*/ 397332 w 402247"/>
                  <a:gd name="connsiteY4" fmla="*/ 9830 h 9830"/>
                  <a:gd name="connsiteX5" fmla="*/ 402248 w 402247"/>
                  <a:gd name="connsiteY5" fmla="*/ 4915 h 9830"/>
                  <a:gd name="connsiteX6" fmla="*/ 397332 w 402247"/>
                  <a:gd name="connsiteY6" fmla="*/ 0 h 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247" h="9830">
                    <a:moveTo>
                      <a:pt x="397332" y="0"/>
                    </a:moveTo>
                    <a:lnTo>
                      <a:pt x="4915" y="0"/>
                    </a:lnTo>
                    <a:cubicBezTo>
                      <a:pt x="2205" y="0"/>
                      <a:pt x="0" y="2205"/>
                      <a:pt x="0" y="4915"/>
                    </a:cubicBezTo>
                    <a:cubicBezTo>
                      <a:pt x="0" y="7625"/>
                      <a:pt x="2205" y="9830"/>
                      <a:pt x="4915" y="9830"/>
                    </a:cubicBezTo>
                    <a:lnTo>
                      <a:pt x="397332" y="9830"/>
                    </a:lnTo>
                    <a:cubicBezTo>
                      <a:pt x="400043" y="9830"/>
                      <a:pt x="402248" y="7625"/>
                      <a:pt x="402248" y="4915"/>
                    </a:cubicBezTo>
                    <a:cubicBezTo>
                      <a:pt x="402248" y="2205"/>
                      <a:pt x="400043" y="0"/>
                      <a:pt x="397332" y="0"/>
                    </a:cubicBezTo>
                    <a:close/>
                  </a:path>
                </a:pathLst>
              </a:custGeom>
              <a:grpFill/>
              <a:ln w="2652" cap="flat">
                <a:noFill/>
                <a:prstDash val="solid"/>
                <a:miter/>
              </a:ln>
            </p:spPr>
            <p:txBody>
              <a:bodyPr rtlCol="0" anchor="ctr"/>
              <a:lstStyle/>
              <a:p>
                <a:endParaRPr lang="en-GB" dirty="0"/>
              </a:p>
            </p:txBody>
          </p:sp>
          <p:grpSp>
            <p:nvGrpSpPr>
              <p:cNvPr id="332" name="Grafik 17">
                <a:extLst>
                  <a:ext uri="{FF2B5EF4-FFF2-40B4-BE49-F238E27FC236}">
                    <a16:creationId xmlns:a16="http://schemas.microsoft.com/office/drawing/2014/main" id="{E279AEB9-7415-49EB-85AC-450AA2BBA856}"/>
                  </a:ext>
                </a:extLst>
              </p:cNvPr>
              <p:cNvGrpSpPr/>
              <p:nvPr/>
            </p:nvGrpSpPr>
            <p:grpSpPr>
              <a:xfrm>
                <a:off x="1203732" y="1853732"/>
                <a:ext cx="275728" cy="41473"/>
                <a:chOff x="1203732" y="1853732"/>
                <a:chExt cx="275728" cy="41473"/>
              </a:xfrm>
              <a:grpFill/>
            </p:grpSpPr>
            <p:sp>
              <p:nvSpPr>
                <p:cNvPr id="339" name="Freihandform: Form 525">
                  <a:extLst>
                    <a:ext uri="{FF2B5EF4-FFF2-40B4-BE49-F238E27FC236}">
                      <a16:creationId xmlns:a16="http://schemas.microsoft.com/office/drawing/2014/main" id="{97CDEC11-5B91-40D2-8777-DDB79067622E}"/>
                    </a:ext>
                  </a:extLst>
                </p:cNvPr>
                <p:cNvSpPr/>
                <p:nvPr/>
              </p:nvSpPr>
              <p:spPr>
                <a:xfrm>
                  <a:off x="1204131" y="1885376"/>
                  <a:ext cx="275329" cy="9830"/>
                </a:xfrm>
                <a:custGeom>
                  <a:avLst/>
                  <a:gdLst>
                    <a:gd name="connsiteX0" fmla="*/ 270415 w 275329"/>
                    <a:gd name="connsiteY0" fmla="*/ 0 h 9830"/>
                    <a:gd name="connsiteX1" fmla="*/ 4915 w 275329"/>
                    <a:gd name="connsiteY1" fmla="*/ 0 h 9830"/>
                    <a:gd name="connsiteX2" fmla="*/ 0 w 275329"/>
                    <a:gd name="connsiteY2" fmla="*/ 4915 h 9830"/>
                    <a:gd name="connsiteX3" fmla="*/ 4915 w 275329"/>
                    <a:gd name="connsiteY3" fmla="*/ 9830 h 9830"/>
                    <a:gd name="connsiteX4" fmla="*/ 270415 w 275329"/>
                    <a:gd name="connsiteY4" fmla="*/ 9830 h 9830"/>
                    <a:gd name="connsiteX5" fmla="*/ 275330 w 275329"/>
                    <a:gd name="connsiteY5" fmla="*/ 4915 h 9830"/>
                    <a:gd name="connsiteX6" fmla="*/ 270415 w 275329"/>
                    <a:gd name="connsiteY6" fmla="*/ 0 h 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329" h="9830">
                      <a:moveTo>
                        <a:pt x="270415" y="0"/>
                      </a:moveTo>
                      <a:lnTo>
                        <a:pt x="4915" y="0"/>
                      </a:lnTo>
                      <a:cubicBezTo>
                        <a:pt x="2205" y="0"/>
                        <a:pt x="0" y="2205"/>
                        <a:pt x="0" y="4915"/>
                      </a:cubicBezTo>
                      <a:cubicBezTo>
                        <a:pt x="0" y="7625"/>
                        <a:pt x="2205" y="9830"/>
                        <a:pt x="4915" y="9830"/>
                      </a:cubicBezTo>
                      <a:lnTo>
                        <a:pt x="270415" y="9830"/>
                      </a:lnTo>
                      <a:cubicBezTo>
                        <a:pt x="273125" y="9830"/>
                        <a:pt x="275330" y="7625"/>
                        <a:pt x="275330" y="4915"/>
                      </a:cubicBezTo>
                      <a:cubicBezTo>
                        <a:pt x="275330" y="2205"/>
                        <a:pt x="273125" y="0"/>
                        <a:pt x="270415" y="0"/>
                      </a:cubicBezTo>
                      <a:close/>
                    </a:path>
                  </a:pathLst>
                </a:custGeom>
                <a:grpFill/>
                <a:ln w="2652" cap="flat">
                  <a:noFill/>
                  <a:prstDash val="solid"/>
                  <a:miter/>
                </a:ln>
              </p:spPr>
              <p:txBody>
                <a:bodyPr rtlCol="0" anchor="ctr"/>
                <a:lstStyle/>
                <a:p>
                  <a:endParaRPr lang="en-GB" dirty="0"/>
                </a:p>
              </p:txBody>
            </p:sp>
            <p:sp>
              <p:nvSpPr>
                <p:cNvPr id="340" name="Freihandform: Form 526">
                  <a:extLst>
                    <a:ext uri="{FF2B5EF4-FFF2-40B4-BE49-F238E27FC236}">
                      <a16:creationId xmlns:a16="http://schemas.microsoft.com/office/drawing/2014/main" id="{A581FD83-28E3-47CF-879E-6A3B84FBF4BA}"/>
                    </a:ext>
                  </a:extLst>
                </p:cNvPr>
                <p:cNvSpPr/>
                <p:nvPr/>
              </p:nvSpPr>
              <p:spPr>
                <a:xfrm>
                  <a:off x="1203732" y="1853732"/>
                  <a:ext cx="275728" cy="9830"/>
                </a:xfrm>
                <a:custGeom>
                  <a:avLst/>
                  <a:gdLst>
                    <a:gd name="connsiteX0" fmla="*/ 270813 w 275728"/>
                    <a:gd name="connsiteY0" fmla="*/ 0 h 9830"/>
                    <a:gd name="connsiteX1" fmla="*/ 4915 w 275728"/>
                    <a:gd name="connsiteY1" fmla="*/ 0 h 9830"/>
                    <a:gd name="connsiteX2" fmla="*/ 0 w 275728"/>
                    <a:gd name="connsiteY2" fmla="*/ 4915 h 9830"/>
                    <a:gd name="connsiteX3" fmla="*/ 4915 w 275728"/>
                    <a:gd name="connsiteY3" fmla="*/ 9830 h 9830"/>
                    <a:gd name="connsiteX4" fmla="*/ 270813 w 275728"/>
                    <a:gd name="connsiteY4" fmla="*/ 9830 h 9830"/>
                    <a:gd name="connsiteX5" fmla="*/ 275728 w 275728"/>
                    <a:gd name="connsiteY5" fmla="*/ 4915 h 9830"/>
                    <a:gd name="connsiteX6" fmla="*/ 270813 w 275728"/>
                    <a:gd name="connsiteY6" fmla="*/ 0 h 9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5728" h="9830">
                      <a:moveTo>
                        <a:pt x="270813" y="0"/>
                      </a:moveTo>
                      <a:lnTo>
                        <a:pt x="4915" y="0"/>
                      </a:lnTo>
                      <a:cubicBezTo>
                        <a:pt x="2205" y="0"/>
                        <a:pt x="0" y="2205"/>
                        <a:pt x="0" y="4915"/>
                      </a:cubicBezTo>
                      <a:cubicBezTo>
                        <a:pt x="0" y="7625"/>
                        <a:pt x="2205" y="9830"/>
                        <a:pt x="4915" y="9830"/>
                      </a:cubicBezTo>
                      <a:lnTo>
                        <a:pt x="270813" y="9830"/>
                      </a:lnTo>
                      <a:cubicBezTo>
                        <a:pt x="273523" y="9830"/>
                        <a:pt x="275728" y="7625"/>
                        <a:pt x="275728" y="4915"/>
                      </a:cubicBezTo>
                      <a:cubicBezTo>
                        <a:pt x="275728" y="2205"/>
                        <a:pt x="273523" y="0"/>
                        <a:pt x="270813" y="0"/>
                      </a:cubicBezTo>
                      <a:close/>
                    </a:path>
                  </a:pathLst>
                </a:custGeom>
                <a:grpFill/>
                <a:ln w="2652" cap="flat">
                  <a:noFill/>
                  <a:prstDash val="solid"/>
                  <a:miter/>
                </a:ln>
              </p:spPr>
              <p:txBody>
                <a:bodyPr rtlCol="0" anchor="ctr"/>
                <a:lstStyle/>
                <a:p>
                  <a:endParaRPr lang="en-GB" dirty="0"/>
                </a:p>
              </p:txBody>
            </p:sp>
          </p:grpSp>
          <p:sp>
            <p:nvSpPr>
              <p:cNvPr id="333" name="Freihandform: Form 528">
                <a:extLst>
                  <a:ext uri="{FF2B5EF4-FFF2-40B4-BE49-F238E27FC236}">
                    <a16:creationId xmlns:a16="http://schemas.microsoft.com/office/drawing/2014/main" id="{D03FF6BF-B9A6-42D5-8514-5CD7BAB94321}"/>
                  </a:ext>
                </a:extLst>
              </p:cNvPr>
              <p:cNvSpPr/>
              <p:nvPr/>
            </p:nvSpPr>
            <p:spPr>
              <a:xfrm>
                <a:off x="852895" y="1953736"/>
                <a:ext cx="48593" cy="106008"/>
              </a:xfrm>
              <a:custGeom>
                <a:avLst/>
                <a:gdLst>
                  <a:gd name="connsiteX0" fmla="*/ 38763 w 48593"/>
                  <a:gd name="connsiteY0" fmla="*/ 96205 h 106008"/>
                  <a:gd name="connsiteX1" fmla="*/ 9804 w 48593"/>
                  <a:gd name="connsiteY1" fmla="*/ 96205 h 106008"/>
                  <a:gd name="connsiteX2" fmla="*/ 9804 w 48593"/>
                  <a:gd name="connsiteY2" fmla="*/ 0 h 106008"/>
                  <a:gd name="connsiteX3" fmla="*/ 0 w 48593"/>
                  <a:gd name="connsiteY3" fmla="*/ 0 h 106008"/>
                  <a:gd name="connsiteX4" fmla="*/ 0 w 48593"/>
                  <a:gd name="connsiteY4" fmla="*/ 106008 h 106008"/>
                  <a:gd name="connsiteX5" fmla="*/ 48594 w 48593"/>
                  <a:gd name="connsiteY5" fmla="*/ 106008 h 106008"/>
                  <a:gd name="connsiteX6" fmla="*/ 48594 w 48593"/>
                  <a:gd name="connsiteY6" fmla="*/ 0 h 106008"/>
                  <a:gd name="connsiteX7" fmla="*/ 38763 w 48593"/>
                  <a:gd name="connsiteY7" fmla="*/ 0 h 10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93" h="106008">
                    <a:moveTo>
                      <a:pt x="38763" y="96205"/>
                    </a:moveTo>
                    <a:lnTo>
                      <a:pt x="9804" y="96205"/>
                    </a:lnTo>
                    <a:lnTo>
                      <a:pt x="9804" y="0"/>
                    </a:lnTo>
                    <a:lnTo>
                      <a:pt x="0" y="0"/>
                    </a:lnTo>
                    <a:lnTo>
                      <a:pt x="0" y="106008"/>
                    </a:lnTo>
                    <a:lnTo>
                      <a:pt x="48594" y="106008"/>
                    </a:lnTo>
                    <a:lnTo>
                      <a:pt x="48594" y="0"/>
                    </a:lnTo>
                    <a:lnTo>
                      <a:pt x="38763" y="0"/>
                    </a:lnTo>
                    <a:close/>
                  </a:path>
                </a:pathLst>
              </a:custGeom>
              <a:grpFill/>
              <a:ln w="2652" cap="flat">
                <a:noFill/>
                <a:prstDash val="solid"/>
                <a:miter/>
              </a:ln>
            </p:spPr>
            <p:txBody>
              <a:bodyPr rtlCol="0" anchor="ctr"/>
              <a:lstStyle/>
              <a:p>
                <a:endParaRPr lang="en-GB" dirty="0"/>
              </a:p>
            </p:txBody>
          </p:sp>
          <p:sp>
            <p:nvSpPr>
              <p:cNvPr id="334" name="Freihandform: Form 529">
                <a:extLst>
                  <a:ext uri="{FF2B5EF4-FFF2-40B4-BE49-F238E27FC236}">
                    <a16:creationId xmlns:a16="http://schemas.microsoft.com/office/drawing/2014/main" id="{827D2BDD-ACEA-455D-9216-4B5F122F948F}"/>
                  </a:ext>
                </a:extLst>
              </p:cNvPr>
              <p:cNvSpPr/>
              <p:nvPr/>
            </p:nvSpPr>
            <p:spPr>
              <a:xfrm>
                <a:off x="782701" y="1798842"/>
                <a:ext cx="32493" cy="149129"/>
              </a:xfrm>
              <a:custGeom>
                <a:avLst/>
                <a:gdLst>
                  <a:gd name="connsiteX0" fmla="*/ 0 w 32493"/>
                  <a:gd name="connsiteY0" fmla="*/ 130212 h 149129"/>
                  <a:gd name="connsiteX1" fmla="*/ 32493 w 32493"/>
                  <a:gd name="connsiteY1" fmla="*/ 149129 h 149129"/>
                  <a:gd name="connsiteX2" fmla="*/ 32493 w 32493"/>
                  <a:gd name="connsiteY2" fmla="*/ 0 h 149129"/>
                  <a:gd name="connsiteX3" fmla="*/ 0 w 32493"/>
                  <a:gd name="connsiteY3" fmla="*/ 18890 h 149129"/>
                  <a:gd name="connsiteX4" fmla="*/ 0 w 32493"/>
                  <a:gd name="connsiteY4" fmla="*/ 130212 h 149129"/>
                  <a:gd name="connsiteX5" fmla="*/ 9830 w 32493"/>
                  <a:gd name="connsiteY5" fmla="*/ 24549 h 149129"/>
                  <a:gd name="connsiteX6" fmla="*/ 22690 w 32493"/>
                  <a:gd name="connsiteY6" fmla="*/ 17084 h 149129"/>
                  <a:gd name="connsiteX7" fmla="*/ 22690 w 32493"/>
                  <a:gd name="connsiteY7" fmla="*/ 132072 h 149129"/>
                  <a:gd name="connsiteX8" fmla="*/ 9830 w 32493"/>
                  <a:gd name="connsiteY8" fmla="*/ 124580 h 149129"/>
                  <a:gd name="connsiteX9" fmla="*/ 9830 w 32493"/>
                  <a:gd name="connsiteY9" fmla="*/ 24549 h 149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493" h="149129">
                    <a:moveTo>
                      <a:pt x="0" y="130212"/>
                    </a:moveTo>
                    <a:lnTo>
                      <a:pt x="32493" y="149129"/>
                    </a:lnTo>
                    <a:lnTo>
                      <a:pt x="32493" y="0"/>
                    </a:lnTo>
                    <a:lnTo>
                      <a:pt x="0" y="18890"/>
                    </a:lnTo>
                    <a:lnTo>
                      <a:pt x="0" y="130212"/>
                    </a:lnTo>
                    <a:close/>
                    <a:moveTo>
                      <a:pt x="9830" y="24549"/>
                    </a:moveTo>
                    <a:lnTo>
                      <a:pt x="22690" y="17084"/>
                    </a:lnTo>
                    <a:lnTo>
                      <a:pt x="22690" y="132072"/>
                    </a:lnTo>
                    <a:lnTo>
                      <a:pt x="9830" y="124580"/>
                    </a:lnTo>
                    <a:lnTo>
                      <a:pt x="9830" y="24549"/>
                    </a:lnTo>
                    <a:close/>
                  </a:path>
                </a:pathLst>
              </a:custGeom>
              <a:grpFill/>
              <a:ln w="2652" cap="flat">
                <a:noFill/>
                <a:prstDash val="solid"/>
                <a:miter/>
              </a:ln>
            </p:spPr>
            <p:txBody>
              <a:bodyPr rtlCol="0" anchor="ctr"/>
              <a:lstStyle/>
              <a:p>
                <a:endParaRPr lang="en-GB" dirty="0"/>
              </a:p>
            </p:txBody>
          </p:sp>
          <p:sp>
            <p:nvSpPr>
              <p:cNvPr id="335" name="Freihandform: Form 530">
                <a:extLst>
                  <a:ext uri="{FF2B5EF4-FFF2-40B4-BE49-F238E27FC236}">
                    <a16:creationId xmlns:a16="http://schemas.microsoft.com/office/drawing/2014/main" id="{D1139194-77E5-4BFF-89EC-1276184F63F9}"/>
                  </a:ext>
                </a:extLst>
              </p:cNvPr>
              <p:cNvSpPr/>
              <p:nvPr/>
            </p:nvSpPr>
            <p:spPr>
              <a:xfrm>
                <a:off x="1183620" y="1822461"/>
                <a:ext cx="28508" cy="101863"/>
              </a:xfrm>
              <a:custGeom>
                <a:avLst/>
                <a:gdLst>
                  <a:gd name="connsiteX0" fmla="*/ 0 w 28508"/>
                  <a:gd name="connsiteY0" fmla="*/ 9405 h 101863"/>
                  <a:gd name="connsiteX1" fmla="*/ 18704 w 28508"/>
                  <a:gd name="connsiteY1" fmla="*/ 14985 h 101863"/>
                  <a:gd name="connsiteX2" fmla="*/ 18704 w 28508"/>
                  <a:gd name="connsiteY2" fmla="*/ 86879 h 101863"/>
                  <a:gd name="connsiteX3" fmla="*/ 0 w 28508"/>
                  <a:gd name="connsiteY3" fmla="*/ 92458 h 101863"/>
                  <a:gd name="connsiteX4" fmla="*/ 2816 w 28508"/>
                  <a:gd name="connsiteY4" fmla="*/ 101864 h 101863"/>
                  <a:gd name="connsiteX5" fmla="*/ 28508 w 28508"/>
                  <a:gd name="connsiteY5" fmla="*/ 94185 h 101863"/>
                  <a:gd name="connsiteX6" fmla="*/ 28508 w 28508"/>
                  <a:gd name="connsiteY6" fmla="*/ 7652 h 101863"/>
                  <a:gd name="connsiteX7" fmla="*/ 2816 w 28508"/>
                  <a:gd name="connsiteY7" fmla="*/ 0 h 101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508" h="101863">
                    <a:moveTo>
                      <a:pt x="0" y="9405"/>
                    </a:moveTo>
                    <a:lnTo>
                      <a:pt x="18704" y="14985"/>
                    </a:lnTo>
                    <a:lnTo>
                      <a:pt x="18704" y="86879"/>
                    </a:lnTo>
                    <a:lnTo>
                      <a:pt x="0" y="92458"/>
                    </a:lnTo>
                    <a:lnTo>
                      <a:pt x="2816" y="101864"/>
                    </a:lnTo>
                    <a:lnTo>
                      <a:pt x="28508" y="94185"/>
                    </a:lnTo>
                    <a:lnTo>
                      <a:pt x="28508" y="7652"/>
                    </a:lnTo>
                    <a:lnTo>
                      <a:pt x="2816" y="0"/>
                    </a:lnTo>
                    <a:close/>
                  </a:path>
                </a:pathLst>
              </a:custGeom>
              <a:grpFill/>
              <a:ln w="2652" cap="flat">
                <a:noFill/>
                <a:prstDash val="solid"/>
                <a:miter/>
              </a:ln>
            </p:spPr>
            <p:txBody>
              <a:bodyPr rtlCol="0" anchor="ctr"/>
              <a:lstStyle/>
              <a:p>
                <a:endParaRPr lang="en-GB" dirty="0"/>
              </a:p>
            </p:txBody>
          </p:sp>
          <p:sp>
            <p:nvSpPr>
              <p:cNvPr id="336" name="Freihandform: Form 531">
                <a:extLst>
                  <a:ext uri="{FF2B5EF4-FFF2-40B4-BE49-F238E27FC236}">
                    <a16:creationId xmlns:a16="http://schemas.microsoft.com/office/drawing/2014/main" id="{BC501F89-FA38-46DE-B9B2-8B3552603009}"/>
                  </a:ext>
                </a:extLst>
              </p:cNvPr>
              <p:cNvSpPr/>
              <p:nvPr/>
            </p:nvSpPr>
            <p:spPr>
              <a:xfrm>
                <a:off x="926224" y="1741560"/>
                <a:ext cx="237283" cy="263666"/>
              </a:xfrm>
              <a:custGeom>
                <a:avLst/>
                <a:gdLst>
                  <a:gd name="connsiteX0" fmla="*/ 2444 w 237283"/>
                  <a:gd name="connsiteY0" fmla="*/ 70566 h 263666"/>
                  <a:gd name="connsiteX1" fmla="*/ 227453 w 237283"/>
                  <a:gd name="connsiteY1" fmla="*/ 12673 h 263666"/>
                  <a:gd name="connsiteX2" fmla="*/ 227453 w 237283"/>
                  <a:gd name="connsiteY2" fmla="*/ 250993 h 263666"/>
                  <a:gd name="connsiteX3" fmla="*/ 2444 w 237283"/>
                  <a:gd name="connsiteY3" fmla="*/ 193127 h 263666"/>
                  <a:gd name="connsiteX4" fmla="*/ 0 w 237283"/>
                  <a:gd name="connsiteY4" fmla="*/ 202638 h 263666"/>
                  <a:gd name="connsiteX5" fmla="*/ 237284 w 237283"/>
                  <a:gd name="connsiteY5" fmla="*/ 263666 h 263666"/>
                  <a:gd name="connsiteX6" fmla="*/ 237284 w 237283"/>
                  <a:gd name="connsiteY6" fmla="*/ 0 h 263666"/>
                  <a:gd name="connsiteX7" fmla="*/ 0 w 237283"/>
                  <a:gd name="connsiteY7" fmla="*/ 61055 h 26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283" h="263666">
                    <a:moveTo>
                      <a:pt x="2444" y="70566"/>
                    </a:moveTo>
                    <a:lnTo>
                      <a:pt x="227453" y="12673"/>
                    </a:lnTo>
                    <a:lnTo>
                      <a:pt x="227453" y="250993"/>
                    </a:lnTo>
                    <a:lnTo>
                      <a:pt x="2444" y="193127"/>
                    </a:lnTo>
                    <a:lnTo>
                      <a:pt x="0" y="202638"/>
                    </a:lnTo>
                    <a:lnTo>
                      <a:pt x="237284" y="263666"/>
                    </a:lnTo>
                    <a:lnTo>
                      <a:pt x="237284" y="0"/>
                    </a:lnTo>
                    <a:lnTo>
                      <a:pt x="0" y="61055"/>
                    </a:lnTo>
                    <a:close/>
                  </a:path>
                </a:pathLst>
              </a:custGeom>
              <a:grpFill/>
              <a:ln w="2652" cap="flat">
                <a:noFill/>
                <a:prstDash val="solid"/>
                <a:miter/>
              </a:ln>
            </p:spPr>
            <p:txBody>
              <a:bodyPr rtlCol="0" anchor="ctr"/>
              <a:lstStyle/>
              <a:p>
                <a:endParaRPr lang="en-GB" dirty="0"/>
              </a:p>
            </p:txBody>
          </p:sp>
          <p:sp>
            <p:nvSpPr>
              <p:cNvPr id="337" name="Freihandform: Form 532">
                <a:extLst>
                  <a:ext uri="{FF2B5EF4-FFF2-40B4-BE49-F238E27FC236}">
                    <a16:creationId xmlns:a16="http://schemas.microsoft.com/office/drawing/2014/main" id="{0B496C5B-4B13-4E27-9981-1EF73A41A82F}"/>
                  </a:ext>
                </a:extLst>
              </p:cNvPr>
              <p:cNvSpPr/>
              <p:nvPr/>
            </p:nvSpPr>
            <p:spPr>
              <a:xfrm>
                <a:off x="1153704" y="1729179"/>
                <a:ext cx="36239" cy="287205"/>
              </a:xfrm>
              <a:custGeom>
                <a:avLst/>
                <a:gdLst>
                  <a:gd name="connsiteX0" fmla="*/ 18093 w 36239"/>
                  <a:gd name="connsiteY0" fmla="*/ 0 h 287205"/>
                  <a:gd name="connsiteX1" fmla="*/ 0 w 36239"/>
                  <a:gd name="connsiteY1" fmla="*/ 14799 h 287205"/>
                  <a:gd name="connsiteX2" fmla="*/ 9830 w 36239"/>
                  <a:gd name="connsiteY2" fmla="*/ 14799 h 287205"/>
                  <a:gd name="connsiteX3" fmla="*/ 18120 w 36239"/>
                  <a:gd name="connsiteY3" fmla="*/ 9804 h 287205"/>
                  <a:gd name="connsiteX4" fmla="*/ 26436 w 36239"/>
                  <a:gd name="connsiteY4" fmla="*/ 14799 h 287205"/>
                  <a:gd name="connsiteX5" fmla="*/ 26436 w 36239"/>
                  <a:gd name="connsiteY5" fmla="*/ 272381 h 287205"/>
                  <a:gd name="connsiteX6" fmla="*/ 18120 w 36239"/>
                  <a:gd name="connsiteY6" fmla="*/ 277376 h 287205"/>
                  <a:gd name="connsiteX7" fmla="*/ 9830 w 36239"/>
                  <a:gd name="connsiteY7" fmla="*/ 272381 h 287205"/>
                  <a:gd name="connsiteX8" fmla="*/ 0 w 36239"/>
                  <a:gd name="connsiteY8" fmla="*/ 272381 h 287205"/>
                  <a:gd name="connsiteX9" fmla="*/ 18093 w 36239"/>
                  <a:gd name="connsiteY9" fmla="*/ 287206 h 287205"/>
                  <a:gd name="connsiteX10" fmla="*/ 36239 w 36239"/>
                  <a:gd name="connsiteY10" fmla="*/ 272381 h 287205"/>
                  <a:gd name="connsiteX11" fmla="*/ 36239 w 36239"/>
                  <a:gd name="connsiteY11" fmla="*/ 14799 h 287205"/>
                  <a:gd name="connsiteX12" fmla="*/ 18093 w 36239"/>
                  <a:gd name="connsiteY12" fmla="*/ 0 h 287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239" h="287205">
                    <a:moveTo>
                      <a:pt x="18093" y="0"/>
                    </a:moveTo>
                    <a:cubicBezTo>
                      <a:pt x="7944" y="0"/>
                      <a:pt x="0" y="6509"/>
                      <a:pt x="0" y="14799"/>
                    </a:cubicBezTo>
                    <a:lnTo>
                      <a:pt x="9830" y="14799"/>
                    </a:lnTo>
                    <a:cubicBezTo>
                      <a:pt x="9830" y="12434"/>
                      <a:pt x="13364" y="9804"/>
                      <a:pt x="18120" y="9804"/>
                    </a:cubicBezTo>
                    <a:cubicBezTo>
                      <a:pt x="22876" y="9804"/>
                      <a:pt x="26436" y="12434"/>
                      <a:pt x="26436" y="14799"/>
                    </a:cubicBezTo>
                    <a:lnTo>
                      <a:pt x="26436" y="272381"/>
                    </a:lnTo>
                    <a:cubicBezTo>
                      <a:pt x="26436" y="274745"/>
                      <a:pt x="23008" y="277376"/>
                      <a:pt x="18120" y="277376"/>
                    </a:cubicBezTo>
                    <a:cubicBezTo>
                      <a:pt x="13364" y="277376"/>
                      <a:pt x="9830" y="274745"/>
                      <a:pt x="9830" y="272381"/>
                    </a:cubicBezTo>
                    <a:lnTo>
                      <a:pt x="0" y="272381"/>
                    </a:lnTo>
                    <a:cubicBezTo>
                      <a:pt x="0" y="280697"/>
                      <a:pt x="7944" y="287206"/>
                      <a:pt x="18093" y="287206"/>
                    </a:cubicBezTo>
                    <a:cubicBezTo>
                      <a:pt x="28269" y="287206"/>
                      <a:pt x="36239" y="280697"/>
                      <a:pt x="36239" y="272381"/>
                    </a:cubicBezTo>
                    <a:lnTo>
                      <a:pt x="36239" y="14799"/>
                    </a:lnTo>
                    <a:cubicBezTo>
                      <a:pt x="36239" y="6509"/>
                      <a:pt x="28269" y="0"/>
                      <a:pt x="18093" y="0"/>
                    </a:cubicBezTo>
                    <a:close/>
                  </a:path>
                </a:pathLst>
              </a:custGeom>
              <a:grpFill/>
              <a:ln w="2652" cap="flat">
                <a:noFill/>
                <a:prstDash val="solid"/>
                <a:miter/>
              </a:ln>
            </p:spPr>
            <p:txBody>
              <a:bodyPr rtlCol="0" anchor="ctr"/>
              <a:lstStyle/>
              <a:p>
                <a:endParaRPr lang="en-GB" dirty="0"/>
              </a:p>
            </p:txBody>
          </p:sp>
          <p:sp>
            <p:nvSpPr>
              <p:cNvPr id="338" name="Freihandform: Form 533">
                <a:extLst>
                  <a:ext uri="{FF2B5EF4-FFF2-40B4-BE49-F238E27FC236}">
                    <a16:creationId xmlns:a16="http://schemas.microsoft.com/office/drawing/2014/main" id="{6E0887C7-EE0E-4E05-A01A-78E52375AD86}"/>
                  </a:ext>
                </a:extLst>
              </p:cNvPr>
              <p:cNvSpPr/>
              <p:nvPr/>
            </p:nvSpPr>
            <p:spPr>
              <a:xfrm>
                <a:off x="805363" y="1795840"/>
                <a:ext cx="128697" cy="161749"/>
              </a:xfrm>
              <a:custGeom>
                <a:avLst/>
                <a:gdLst>
                  <a:gd name="connsiteX0" fmla="*/ 14985 w 128697"/>
                  <a:gd name="connsiteY0" fmla="*/ 0 h 161749"/>
                  <a:gd name="connsiteX1" fmla="*/ 0 w 128697"/>
                  <a:gd name="connsiteY1" fmla="*/ 11557 h 161749"/>
                  <a:gd name="connsiteX2" fmla="*/ 9804 w 128697"/>
                  <a:gd name="connsiteY2" fmla="*/ 11690 h 161749"/>
                  <a:gd name="connsiteX3" fmla="*/ 14985 w 128697"/>
                  <a:gd name="connsiteY3" fmla="*/ 9830 h 161749"/>
                  <a:gd name="connsiteX4" fmla="*/ 20166 w 128697"/>
                  <a:gd name="connsiteY4" fmla="*/ 11557 h 161749"/>
                  <a:gd name="connsiteX5" fmla="*/ 20166 w 128697"/>
                  <a:gd name="connsiteY5" fmla="*/ 16472 h 161749"/>
                  <a:gd name="connsiteX6" fmla="*/ 118894 w 128697"/>
                  <a:gd name="connsiteY6" fmla="*/ 16472 h 161749"/>
                  <a:gd name="connsiteX7" fmla="*/ 118894 w 128697"/>
                  <a:gd name="connsiteY7" fmla="*/ 138714 h 161749"/>
                  <a:gd name="connsiteX8" fmla="*/ 105663 w 128697"/>
                  <a:gd name="connsiteY8" fmla="*/ 138714 h 161749"/>
                  <a:gd name="connsiteX9" fmla="*/ 105663 w 128697"/>
                  <a:gd name="connsiteY9" fmla="*/ 151919 h 161749"/>
                  <a:gd name="connsiteX10" fmla="*/ 42828 w 128697"/>
                  <a:gd name="connsiteY10" fmla="*/ 151919 h 161749"/>
                  <a:gd name="connsiteX11" fmla="*/ 42828 w 128697"/>
                  <a:gd name="connsiteY11" fmla="*/ 138714 h 161749"/>
                  <a:gd name="connsiteX12" fmla="*/ 25054 w 128697"/>
                  <a:gd name="connsiteY12" fmla="*/ 138714 h 161749"/>
                  <a:gd name="connsiteX13" fmla="*/ 20166 w 128697"/>
                  <a:gd name="connsiteY13" fmla="*/ 138581 h 161749"/>
                  <a:gd name="connsiteX14" fmla="*/ 20166 w 128697"/>
                  <a:gd name="connsiteY14" fmla="*/ 143497 h 161749"/>
                  <a:gd name="connsiteX15" fmla="*/ 14985 w 128697"/>
                  <a:gd name="connsiteY15" fmla="*/ 145330 h 161749"/>
                  <a:gd name="connsiteX16" fmla="*/ 9804 w 128697"/>
                  <a:gd name="connsiteY16" fmla="*/ 143497 h 161749"/>
                  <a:gd name="connsiteX17" fmla="*/ 9830 w 128697"/>
                  <a:gd name="connsiteY17" fmla="*/ 143629 h 161749"/>
                  <a:gd name="connsiteX18" fmla="*/ 0 w 128697"/>
                  <a:gd name="connsiteY18" fmla="*/ 143629 h 161749"/>
                  <a:gd name="connsiteX19" fmla="*/ 14985 w 128697"/>
                  <a:gd name="connsiteY19" fmla="*/ 155160 h 161749"/>
                  <a:gd name="connsiteX20" fmla="*/ 28588 w 128697"/>
                  <a:gd name="connsiteY20" fmla="*/ 148545 h 161749"/>
                  <a:gd name="connsiteX21" fmla="*/ 33025 w 128697"/>
                  <a:gd name="connsiteY21" fmla="*/ 148545 h 161749"/>
                  <a:gd name="connsiteX22" fmla="*/ 33025 w 128697"/>
                  <a:gd name="connsiteY22" fmla="*/ 161749 h 161749"/>
                  <a:gd name="connsiteX23" fmla="*/ 115493 w 128697"/>
                  <a:gd name="connsiteY23" fmla="*/ 161749 h 161749"/>
                  <a:gd name="connsiteX24" fmla="*/ 115493 w 128697"/>
                  <a:gd name="connsiteY24" fmla="*/ 148545 h 161749"/>
                  <a:gd name="connsiteX25" fmla="*/ 128698 w 128697"/>
                  <a:gd name="connsiteY25" fmla="*/ 148545 h 161749"/>
                  <a:gd name="connsiteX26" fmla="*/ 128698 w 128697"/>
                  <a:gd name="connsiteY26" fmla="*/ 6669 h 161749"/>
                  <a:gd name="connsiteX27" fmla="*/ 28614 w 128697"/>
                  <a:gd name="connsiteY27" fmla="*/ 6669 h 161749"/>
                  <a:gd name="connsiteX28" fmla="*/ 14985 w 128697"/>
                  <a:gd name="connsiteY28" fmla="*/ 0 h 161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8697" h="161749">
                    <a:moveTo>
                      <a:pt x="14985" y="0"/>
                    </a:moveTo>
                    <a:cubicBezTo>
                      <a:pt x="6589" y="0"/>
                      <a:pt x="0" y="5075"/>
                      <a:pt x="0" y="11557"/>
                    </a:cubicBezTo>
                    <a:lnTo>
                      <a:pt x="9804" y="11690"/>
                    </a:lnTo>
                    <a:cubicBezTo>
                      <a:pt x="10016" y="11159"/>
                      <a:pt x="11876" y="9830"/>
                      <a:pt x="14985" y="9830"/>
                    </a:cubicBezTo>
                    <a:cubicBezTo>
                      <a:pt x="18093" y="9830"/>
                      <a:pt x="19953" y="11159"/>
                      <a:pt x="20166" y="11557"/>
                    </a:cubicBezTo>
                    <a:lnTo>
                      <a:pt x="20166" y="16472"/>
                    </a:lnTo>
                    <a:lnTo>
                      <a:pt x="118894" y="16472"/>
                    </a:lnTo>
                    <a:lnTo>
                      <a:pt x="118894" y="138714"/>
                    </a:lnTo>
                    <a:lnTo>
                      <a:pt x="105663" y="138714"/>
                    </a:lnTo>
                    <a:lnTo>
                      <a:pt x="105663" y="151919"/>
                    </a:lnTo>
                    <a:lnTo>
                      <a:pt x="42828" y="151919"/>
                    </a:lnTo>
                    <a:lnTo>
                      <a:pt x="42828" y="138714"/>
                    </a:lnTo>
                    <a:lnTo>
                      <a:pt x="25054" y="138714"/>
                    </a:lnTo>
                    <a:lnTo>
                      <a:pt x="20166" y="138581"/>
                    </a:lnTo>
                    <a:lnTo>
                      <a:pt x="20166" y="143497"/>
                    </a:lnTo>
                    <a:cubicBezTo>
                      <a:pt x="19953" y="144028"/>
                      <a:pt x="18093" y="145330"/>
                      <a:pt x="14985" y="145330"/>
                    </a:cubicBezTo>
                    <a:cubicBezTo>
                      <a:pt x="11876" y="145330"/>
                      <a:pt x="10016" y="144028"/>
                      <a:pt x="9804" y="143497"/>
                    </a:cubicBezTo>
                    <a:cubicBezTo>
                      <a:pt x="9804" y="143497"/>
                      <a:pt x="9830" y="143550"/>
                      <a:pt x="9830" y="143629"/>
                    </a:cubicBezTo>
                    <a:lnTo>
                      <a:pt x="0" y="143629"/>
                    </a:lnTo>
                    <a:cubicBezTo>
                      <a:pt x="0" y="150086"/>
                      <a:pt x="6589" y="155160"/>
                      <a:pt x="14985" y="155160"/>
                    </a:cubicBezTo>
                    <a:cubicBezTo>
                      <a:pt x="21095" y="155160"/>
                      <a:pt x="26250" y="152477"/>
                      <a:pt x="28588" y="148545"/>
                    </a:cubicBezTo>
                    <a:lnTo>
                      <a:pt x="33025" y="148545"/>
                    </a:lnTo>
                    <a:lnTo>
                      <a:pt x="33025" y="161749"/>
                    </a:lnTo>
                    <a:lnTo>
                      <a:pt x="115493" y="161749"/>
                    </a:lnTo>
                    <a:lnTo>
                      <a:pt x="115493" y="148545"/>
                    </a:lnTo>
                    <a:lnTo>
                      <a:pt x="128698" y="148545"/>
                    </a:lnTo>
                    <a:lnTo>
                      <a:pt x="128698" y="6669"/>
                    </a:lnTo>
                    <a:lnTo>
                      <a:pt x="28614" y="6669"/>
                    </a:lnTo>
                    <a:cubicBezTo>
                      <a:pt x="26250" y="2657"/>
                      <a:pt x="21095" y="0"/>
                      <a:pt x="14985" y="0"/>
                    </a:cubicBezTo>
                    <a:close/>
                  </a:path>
                </a:pathLst>
              </a:custGeom>
              <a:grpFill/>
              <a:ln w="2652" cap="flat">
                <a:noFill/>
                <a:prstDash val="solid"/>
                <a:miter/>
              </a:ln>
            </p:spPr>
            <p:txBody>
              <a:bodyPr rtlCol="0" anchor="ctr"/>
              <a:lstStyle/>
              <a:p>
                <a:endParaRPr lang="en-GB" dirty="0"/>
              </a:p>
            </p:txBody>
          </p:sp>
        </p:grpSp>
      </p:grpSp>
      <p:grpSp>
        <p:nvGrpSpPr>
          <p:cNvPr id="68" name="Group 67">
            <a:extLst>
              <a:ext uri="{FF2B5EF4-FFF2-40B4-BE49-F238E27FC236}">
                <a16:creationId xmlns:a16="http://schemas.microsoft.com/office/drawing/2014/main" id="{706C609B-98FC-34AF-355F-6B37E65FE190}"/>
              </a:ext>
            </a:extLst>
          </p:cNvPr>
          <p:cNvGrpSpPr/>
          <p:nvPr/>
        </p:nvGrpSpPr>
        <p:grpSpPr>
          <a:xfrm>
            <a:off x="584505" y="3212058"/>
            <a:ext cx="419090" cy="432000"/>
            <a:chOff x="584505" y="3212058"/>
            <a:chExt cx="419090" cy="432000"/>
          </a:xfrm>
        </p:grpSpPr>
        <p:grpSp>
          <p:nvGrpSpPr>
            <p:cNvPr id="189" name="Graphic 8">
              <a:extLst>
                <a:ext uri="{FF2B5EF4-FFF2-40B4-BE49-F238E27FC236}">
                  <a16:creationId xmlns:a16="http://schemas.microsoft.com/office/drawing/2014/main" id="{8686A612-B3EC-4A7F-8FD1-1A863F215747}"/>
                </a:ext>
              </a:extLst>
            </p:cNvPr>
            <p:cNvGrpSpPr/>
            <p:nvPr/>
          </p:nvGrpSpPr>
          <p:grpSpPr>
            <a:xfrm>
              <a:off x="684705" y="3342601"/>
              <a:ext cx="218176" cy="178309"/>
              <a:chOff x="1064597" y="1783100"/>
              <a:chExt cx="216211" cy="176703"/>
            </a:xfrm>
            <a:solidFill>
              <a:schemeClr val="accent1"/>
            </a:solidFill>
          </p:grpSpPr>
          <p:grpSp>
            <p:nvGrpSpPr>
              <p:cNvPr id="195" name="Graphic 8">
                <a:extLst>
                  <a:ext uri="{FF2B5EF4-FFF2-40B4-BE49-F238E27FC236}">
                    <a16:creationId xmlns:a16="http://schemas.microsoft.com/office/drawing/2014/main" id="{AD36F092-B158-4140-BED1-CBD9367BC8CE}"/>
                  </a:ext>
                </a:extLst>
              </p:cNvPr>
              <p:cNvGrpSpPr/>
              <p:nvPr/>
            </p:nvGrpSpPr>
            <p:grpSpPr>
              <a:xfrm>
                <a:off x="1064597" y="1836139"/>
                <a:ext cx="216211" cy="123663"/>
                <a:chOff x="1064597" y="1836139"/>
                <a:chExt cx="216211" cy="123663"/>
              </a:xfrm>
              <a:solidFill>
                <a:schemeClr val="accent1"/>
              </a:solidFill>
            </p:grpSpPr>
            <p:sp>
              <p:nvSpPr>
                <p:cNvPr id="198" name="Freihandform: Form 182">
                  <a:extLst>
                    <a:ext uri="{FF2B5EF4-FFF2-40B4-BE49-F238E27FC236}">
                      <a16:creationId xmlns:a16="http://schemas.microsoft.com/office/drawing/2014/main" id="{A4257F5F-E6CF-47D2-946E-404C6C77910C}"/>
                    </a:ext>
                  </a:extLst>
                </p:cNvPr>
                <p:cNvSpPr/>
                <p:nvPr/>
              </p:nvSpPr>
              <p:spPr>
                <a:xfrm>
                  <a:off x="1064597" y="1836139"/>
                  <a:ext cx="216211" cy="13027"/>
                </a:xfrm>
                <a:custGeom>
                  <a:avLst/>
                  <a:gdLst>
                    <a:gd name="connsiteX0" fmla="*/ 209892 w 216211"/>
                    <a:gd name="connsiteY0" fmla="*/ 13028 h 13027"/>
                    <a:gd name="connsiteX1" fmla="*/ 6320 w 216211"/>
                    <a:gd name="connsiteY1" fmla="*/ 13028 h 13027"/>
                    <a:gd name="connsiteX2" fmla="*/ 0 w 216211"/>
                    <a:gd name="connsiteY2" fmla="*/ 6514 h 13027"/>
                    <a:gd name="connsiteX3" fmla="*/ 6320 w 216211"/>
                    <a:gd name="connsiteY3" fmla="*/ 0 h 13027"/>
                    <a:gd name="connsiteX4" fmla="*/ 209892 w 216211"/>
                    <a:gd name="connsiteY4" fmla="*/ 0 h 13027"/>
                    <a:gd name="connsiteX5" fmla="*/ 216212 w 216211"/>
                    <a:gd name="connsiteY5" fmla="*/ 6514 h 13027"/>
                    <a:gd name="connsiteX6" fmla="*/ 209892 w 216211"/>
                    <a:gd name="connsiteY6" fmla="*/ 13028 h 1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211" h="13027">
                      <a:moveTo>
                        <a:pt x="209892" y="13028"/>
                      </a:moveTo>
                      <a:lnTo>
                        <a:pt x="6320" y="13028"/>
                      </a:lnTo>
                      <a:cubicBezTo>
                        <a:pt x="2829" y="13028"/>
                        <a:pt x="0" y="10110"/>
                        <a:pt x="0" y="6514"/>
                      </a:cubicBezTo>
                      <a:cubicBezTo>
                        <a:pt x="0" y="2917"/>
                        <a:pt x="2829" y="0"/>
                        <a:pt x="6320" y="0"/>
                      </a:cubicBezTo>
                      <a:lnTo>
                        <a:pt x="209892" y="0"/>
                      </a:lnTo>
                      <a:cubicBezTo>
                        <a:pt x="213382" y="0"/>
                        <a:pt x="216212" y="2917"/>
                        <a:pt x="216212" y="6514"/>
                      </a:cubicBezTo>
                      <a:cubicBezTo>
                        <a:pt x="216212" y="10110"/>
                        <a:pt x="213380" y="13028"/>
                        <a:pt x="209892" y="13028"/>
                      </a:cubicBezTo>
                      <a:close/>
                    </a:path>
                  </a:pathLst>
                </a:custGeom>
                <a:solidFill>
                  <a:schemeClr val="accent1"/>
                </a:solidFill>
                <a:ln w="225" cap="flat">
                  <a:noFill/>
                  <a:prstDash val="solid"/>
                  <a:miter/>
                </a:ln>
              </p:spPr>
              <p:txBody>
                <a:bodyPr rtlCol="0" anchor="ctr"/>
                <a:lstStyle/>
                <a:p>
                  <a:endParaRPr lang="en-GB" dirty="0"/>
                </a:p>
              </p:txBody>
            </p:sp>
            <p:sp>
              <p:nvSpPr>
                <p:cNvPr id="199" name="Freihandform: Form 183">
                  <a:extLst>
                    <a:ext uri="{FF2B5EF4-FFF2-40B4-BE49-F238E27FC236}">
                      <a16:creationId xmlns:a16="http://schemas.microsoft.com/office/drawing/2014/main" id="{62A72EED-D38C-4961-994B-BE723F1F36AF}"/>
                    </a:ext>
                  </a:extLst>
                </p:cNvPr>
                <p:cNvSpPr/>
                <p:nvPr/>
              </p:nvSpPr>
              <p:spPr>
                <a:xfrm>
                  <a:off x="1064597" y="1856886"/>
                  <a:ext cx="216211" cy="13027"/>
                </a:xfrm>
                <a:custGeom>
                  <a:avLst/>
                  <a:gdLst>
                    <a:gd name="connsiteX0" fmla="*/ 209892 w 216211"/>
                    <a:gd name="connsiteY0" fmla="*/ 13028 h 13027"/>
                    <a:gd name="connsiteX1" fmla="*/ 6320 w 216211"/>
                    <a:gd name="connsiteY1" fmla="*/ 13028 h 13027"/>
                    <a:gd name="connsiteX2" fmla="*/ 0 w 216211"/>
                    <a:gd name="connsiteY2" fmla="*/ 6514 h 13027"/>
                    <a:gd name="connsiteX3" fmla="*/ 6320 w 216211"/>
                    <a:gd name="connsiteY3" fmla="*/ 0 h 13027"/>
                    <a:gd name="connsiteX4" fmla="*/ 209892 w 216211"/>
                    <a:gd name="connsiteY4" fmla="*/ 0 h 13027"/>
                    <a:gd name="connsiteX5" fmla="*/ 216212 w 216211"/>
                    <a:gd name="connsiteY5" fmla="*/ 6514 h 13027"/>
                    <a:gd name="connsiteX6" fmla="*/ 209892 w 216211"/>
                    <a:gd name="connsiteY6" fmla="*/ 13028 h 1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211" h="13027">
                      <a:moveTo>
                        <a:pt x="209892" y="13028"/>
                      </a:moveTo>
                      <a:lnTo>
                        <a:pt x="6320" y="13028"/>
                      </a:lnTo>
                      <a:cubicBezTo>
                        <a:pt x="2829" y="13028"/>
                        <a:pt x="0" y="10110"/>
                        <a:pt x="0" y="6514"/>
                      </a:cubicBezTo>
                      <a:cubicBezTo>
                        <a:pt x="0" y="2917"/>
                        <a:pt x="2829" y="0"/>
                        <a:pt x="6320" y="0"/>
                      </a:cubicBezTo>
                      <a:lnTo>
                        <a:pt x="209892" y="0"/>
                      </a:lnTo>
                      <a:cubicBezTo>
                        <a:pt x="213382" y="0"/>
                        <a:pt x="216212" y="2917"/>
                        <a:pt x="216212" y="6514"/>
                      </a:cubicBezTo>
                      <a:cubicBezTo>
                        <a:pt x="216212" y="10110"/>
                        <a:pt x="213380" y="13028"/>
                        <a:pt x="209892" y="13028"/>
                      </a:cubicBezTo>
                      <a:close/>
                    </a:path>
                  </a:pathLst>
                </a:custGeom>
                <a:solidFill>
                  <a:schemeClr val="accent1"/>
                </a:solidFill>
                <a:ln w="225" cap="flat">
                  <a:noFill/>
                  <a:prstDash val="solid"/>
                  <a:miter/>
                </a:ln>
              </p:spPr>
              <p:txBody>
                <a:bodyPr rtlCol="0" anchor="ctr"/>
                <a:lstStyle/>
                <a:p>
                  <a:endParaRPr lang="en-GB" dirty="0"/>
                </a:p>
              </p:txBody>
            </p:sp>
            <p:sp>
              <p:nvSpPr>
                <p:cNvPr id="200" name="Freihandform: Form 184">
                  <a:extLst>
                    <a:ext uri="{FF2B5EF4-FFF2-40B4-BE49-F238E27FC236}">
                      <a16:creationId xmlns:a16="http://schemas.microsoft.com/office/drawing/2014/main" id="{D4D66FBE-5AB9-4E06-A116-1391D44726FC}"/>
                    </a:ext>
                  </a:extLst>
                </p:cNvPr>
                <p:cNvSpPr/>
                <p:nvPr/>
              </p:nvSpPr>
              <p:spPr>
                <a:xfrm>
                  <a:off x="1071790" y="1856886"/>
                  <a:ext cx="201825" cy="102917"/>
                </a:xfrm>
                <a:custGeom>
                  <a:avLst/>
                  <a:gdLst>
                    <a:gd name="connsiteX0" fmla="*/ 168480 w 201825"/>
                    <a:gd name="connsiteY0" fmla="*/ 102917 h 102917"/>
                    <a:gd name="connsiteX1" fmla="*/ 33345 w 201825"/>
                    <a:gd name="connsiteY1" fmla="*/ 102917 h 102917"/>
                    <a:gd name="connsiteX2" fmla="*/ 27310 w 201825"/>
                    <a:gd name="connsiteY2" fmla="*/ 98331 h 102917"/>
                    <a:gd name="connsiteX3" fmla="*/ 284 w 201825"/>
                    <a:gd name="connsiteY3" fmla="*/ 8441 h 102917"/>
                    <a:gd name="connsiteX4" fmla="*/ 1232 w 201825"/>
                    <a:gd name="connsiteY4" fmla="*/ 2649 h 102917"/>
                    <a:gd name="connsiteX5" fmla="*/ 6320 w 201825"/>
                    <a:gd name="connsiteY5" fmla="*/ 0 h 102917"/>
                    <a:gd name="connsiteX6" fmla="*/ 195506 w 201825"/>
                    <a:gd name="connsiteY6" fmla="*/ 0 h 102917"/>
                    <a:gd name="connsiteX7" fmla="*/ 200594 w 201825"/>
                    <a:gd name="connsiteY7" fmla="*/ 2649 h 102917"/>
                    <a:gd name="connsiteX8" fmla="*/ 201541 w 201825"/>
                    <a:gd name="connsiteY8" fmla="*/ 8441 h 102917"/>
                    <a:gd name="connsiteX9" fmla="*/ 174516 w 201825"/>
                    <a:gd name="connsiteY9" fmla="*/ 98331 h 102917"/>
                    <a:gd name="connsiteX10" fmla="*/ 168480 w 201825"/>
                    <a:gd name="connsiteY10" fmla="*/ 102917 h 102917"/>
                    <a:gd name="connsiteX11" fmla="*/ 38000 w 201825"/>
                    <a:gd name="connsiteY11" fmla="*/ 89888 h 102917"/>
                    <a:gd name="connsiteX12" fmla="*/ 163823 w 201825"/>
                    <a:gd name="connsiteY12" fmla="*/ 89888 h 102917"/>
                    <a:gd name="connsiteX13" fmla="*/ 186930 w 201825"/>
                    <a:gd name="connsiteY13" fmla="*/ 13025 h 102917"/>
                    <a:gd name="connsiteX14" fmla="*/ 14894 w 201825"/>
                    <a:gd name="connsiteY14" fmla="*/ 13025 h 102917"/>
                    <a:gd name="connsiteX15" fmla="*/ 38000 w 201825"/>
                    <a:gd name="connsiteY15" fmla="*/ 89888 h 10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1825" h="102917">
                      <a:moveTo>
                        <a:pt x="168480" y="102917"/>
                      </a:moveTo>
                      <a:lnTo>
                        <a:pt x="33345" y="102917"/>
                      </a:lnTo>
                      <a:cubicBezTo>
                        <a:pt x="30575" y="102917"/>
                        <a:pt x="28127" y="101061"/>
                        <a:pt x="27310" y="98331"/>
                      </a:cubicBezTo>
                      <a:lnTo>
                        <a:pt x="284" y="8441"/>
                      </a:lnTo>
                      <a:cubicBezTo>
                        <a:pt x="-311" y="6466"/>
                        <a:pt x="41" y="4316"/>
                        <a:pt x="1232" y="2649"/>
                      </a:cubicBezTo>
                      <a:cubicBezTo>
                        <a:pt x="2423" y="981"/>
                        <a:pt x="4312" y="0"/>
                        <a:pt x="6320" y="0"/>
                      </a:cubicBezTo>
                      <a:lnTo>
                        <a:pt x="195506" y="0"/>
                      </a:lnTo>
                      <a:cubicBezTo>
                        <a:pt x="197514" y="0"/>
                        <a:pt x="199402" y="984"/>
                        <a:pt x="200594" y="2649"/>
                      </a:cubicBezTo>
                      <a:cubicBezTo>
                        <a:pt x="201785" y="4316"/>
                        <a:pt x="202137" y="6466"/>
                        <a:pt x="201541" y="8441"/>
                      </a:cubicBezTo>
                      <a:lnTo>
                        <a:pt x="174516" y="98331"/>
                      </a:lnTo>
                      <a:cubicBezTo>
                        <a:pt x="173697" y="101061"/>
                        <a:pt x="171251" y="102917"/>
                        <a:pt x="168480" y="102917"/>
                      </a:cubicBezTo>
                      <a:close/>
                      <a:moveTo>
                        <a:pt x="38000" y="89888"/>
                      </a:moveTo>
                      <a:lnTo>
                        <a:pt x="163823" y="89888"/>
                      </a:lnTo>
                      <a:lnTo>
                        <a:pt x="186930" y="13025"/>
                      </a:lnTo>
                      <a:lnTo>
                        <a:pt x="14894" y="13025"/>
                      </a:lnTo>
                      <a:lnTo>
                        <a:pt x="38000" y="89888"/>
                      </a:lnTo>
                      <a:close/>
                    </a:path>
                  </a:pathLst>
                </a:custGeom>
                <a:solidFill>
                  <a:schemeClr val="accent1"/>
                </a:solidFill>
                <a:ln w="225" cap="flat">
                  <a:noFill/>
                  <a:prstDash val="solid"/>
                  <a:miter/>
                </a:ln>
              </p:spPr>
              <p:txBody>
                <a:bodyPr rtlCol="0" anchor="ctr"/>
                <a:lstStyle/>
                <a:p>
                  <a:endParaRPr lang="en-GB" dirty="0"/>
                </a:p>
              </p:txBody>
            </p:sp>
            <p:sp>
              <p:nvSpPr>
                <p:cNvPr id="201" name="Freihandform: Form 185">
                  <a:extLst>
                    <a:ext uri="{FF2B5EF4-FFF2-40B4-BE49-F238E27FC236}">
                      <a16:creationId xmlns:a16="http://schemas.microsoft.com/office/drawing/2014/main" id="{63E836DD-F44B-45A7-97DD-62650CF4AC91}"/>
                    </a:ext>
                  </a:extLst>
                </p:cNvPr>
                <p:cNvSpPr/>
                <p:nvPr/>
              </p:nvSpPr>
              <p:spPr>
                <a:xfrm>
                  <a:off x="1112327" y="1856886"/>
                  <a:ext cx="32911" cy="102916"/>
                </a:xfrm>
                <a:custGeom>
                  <a:avLst/>
                  <a:gdLst>
                    <a:gd name="connsiteX0" fmla="*/ 26584 w 32911"/>
                    <a:gd name="connsiteY0" fmla="*/ 102917 h 102916"/>
                    <a:gd name="connsiteX1" fmla="*/ 20433 w 32911"/>
                    <a:gd name="connsiteY1" fmla="*/ 97879 h 102916"/>
                    <a:gd name="connsiteX2" fmla="*/ 165 w 32911"/>
                    <a:gd name="connsiteY2" fmla="*/ 7989 h 102916"/>
                    <a:gd name="connsiteX3" fmla="*/ 4890 w 32911"/>
                    <a:gd name="connsiteY3" fmla="*/ 166 h 102916"/>
                    <a:gd name="connsiteX4" fmla="*/ 12478 w 32911"/>
                    <a:gd name="connsiteY4" fmla="*/ 5035 h 102916"/>
                    <a:gd name="connsiteX5" fmla="*/ 32746 w 32911"/>
                    <a:gd name="connsiteY5" fmla="*/ 94925 h 102916"/>
                    <a:gd name="connsiteX6" fmla="*/ 28021 w 32911"/>
                    <a:gd name="connsiteY6" fmla="*/ 102748 h 102916"/>
                    <a:gd name="connsiteX7" fmla="*/ 26584 w 32911"/>
                    <a:gd name="connsiteY7" fmla="*/ 102917 h 102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11" h="102916">
                      <a:moveTo>
                        <a:pt x="26584" y="102917"/>
                      </a:moveTo>
                      <a:cubicBezTo>
                        <a:pt x="23712" y="102917"/>
                        <a:pt x="21112" y="100884"/>
                        <a:pt x="20433" y="97879"/>
                      </a:cubicBezTo>
                      <a:lnTo>
                        <a:pt x="165" y="7989"/>
                      </a:lnTo>
                      <a:cubicBezTo>
                        <a:pt x="-624" y="4483"/>
                        <a:pt x="1492" y="981"/>
                        <a:pt x="4890" y="166"/>
                      </a:cubicBezTo>
                      <a:cubicBezTo>
                        <a:pt x="8265" y="-635"/>
                        <a:pt x="11686" y="1531"/>
                        <a:pt x="12478" y="5035"/>
                      </a:cubicBezTo>
                      <a:lnTo>
                        <a:pt x="32746" y="94925"/>
                      </a:lnTo>
                      <a:cubicBezTo>
                        <a:pt x="33535" y="98431"/>
                        <a:pt x="31419" y="101933"/>
                        <a:pt x="28021" y="102748"/>
                      </a:cubicBezTo>
                      <a:cubicBezTo>
                        <a:pt x="27541" y="102863"/>
                        <a:pt x="27058" y="102917"/>
                        <a:pt x="26584" y="102917"/>
                      </a:cubicBezTo>
                      <a:close/>
                    </a:path>
                  </a:pathLst>
                </a:custGeom>
                <a:solidFill>
                  <a:schemeClr val="accent1"/>
                </a:solidFill>
                <a:ln w="225" cap="flat">
                  <a:noFill/>
                  <a:prstDash val="solid"/>
                  <a:miter/>
                </a:ln>
              </p:spPr>
              <p:txBody>
                <a:bodyPr rtlCol="0" anchor="ctr"/>
                <a:lstStyle/>
                <a:p>
                  <a:endParaRPr lang="en-GB" dirty="0"/>
                </a:p>
              </p:txBody>
            </p:sp>
            <p:sp>
              <p:nvSpPr>
                <p:cNvPr id="202" name="Freihandform: Form 186">
                  <a:extLst>
                    <a:ext uri="{FF2B5EF4-FFF2-40B4-BE49-F238E27FC236}">
                      <a16:creationId xmlns:a16="http://schemas.microsoft.com/office/drawing/2014/main" id="{EAE4F8DD-986E-4923-99CE-882CDE4EE38F}"/>
                    </a:ext>
                  </a:extLst>
                </p:cNvPr>
                <p:cNvSpPr/>
                <p:nvPr/>
              </p:nvSpPr>
              <p:spPr>
                <a:xfrm>
                  <a:off x="1200164" y="1856885"/>
                  <a:ext cx="32911" cy="102917"/>
                </a:xfrm>
                <a:custGeom>
                  <a:avLst/>
                  <a:gdLst>
                    <a:gd name="connsiteX0" fmla="*/ 6327 w 32911"/>
                    <a:gd name="connsiteY0" fmla="*/ 102918 h 102917"/>
                    <a:gd name="connsiteX1" fmla="*/ 4890 w 32911"/>
                    <a:gd name="connsiteY1" fmla="*/ 102749 h 102917"/>
                    <a:gd name="connsiteX2" fmla="*/ 165 w 32911"/>
                    <a:gd name="connsiteY2" fmla="*/ 94926 h 102917"/>
                    <a:gd name="connsiteX3" fmla="*/ 20433 w 32911"/>
                    <a:gd name="connsiteY3" fmla="*/ 5036 h 102917"/>
                    <a:gd name="connsiteX4" fmla="*/ 28021 w 32911"/>
                    <a:gd name="connsiteY4" fmla="*/ 167 h 102917"/>
                    <a:gd name="connsiteX5" fmla="*/ 32746 w 32911"/>
                    <a:gd name="connsiteY5" fmla="*/ 7990 h 102917"/>
                    <a:gd name="connsiteX6" fmla="*/ 12478 w 32911"/>
                    <a:gd name="connsiteY6" fmla="*/ 97880 h 102917"/>
                    <a:gd name="connsiteX7" fmla="*/ 6327 w 32911"/>
                    <a:gd name="connsiteY7" fmla="*/ 102918 h 10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11" h="102917">
                      <a:moveTo>
                        <a:pt x="6327" y="102918"/>
                      </a:moveTo>
                      <a:cubicBezTo>
                        <a:pt x="5851" y="102918"/>
                        <a:pt x="5370" y="102864"/>
                        <a:pt x="4890" y="102749"/>
                      </a:cubicBezTo>
                      <a:cubicBezTo>
                        <a:pt x="1492" y="101934"/>
                        <a:pt x="-624" y="98432"/>
                        <a:pt x="165" y="94926"/>
                      </a:cubicBezTo>
                      <a:lnTo>
                        <a:pt x="20433" y="5036"/>
                      </a:lnTo>
                      <a:cubicBezTo>
                        <a:pt x="21223" y="1530"/>
                        <a:pt x="24632" y="-636"/>
                        <a:pt x="28021" y="167"/>
                      </a:cubicBezTo>
                      <a:cubicBezTo>
                        <a:pt x="31419" y="982"/>
                        <a:pt x="33536" y="4483"/>
                        <a:pt x="32746" y="7990"/>
                      </a:cubicBezTo>
                      <a:lnTo>
                        <a:pt x="12478" y="97880"/>
                      </a:lnTo>
                      <a:cubicBezTo>
                        <a:pt x="11799" y="100885"/>
                        <a:pt x="9202" y="102918"/>
                        <a:pt x="6327" y="102918"/>
                      </a:cubicBezTo>
                      <a:close/>
                    </a:path>
                  </a:pathLst>
                </a:custGeom>
                <a:solidFill>
                  <a:schemeClr val="accent1"/>
                </a:solidFill>
                <a:ln w="225" cap="flat">
                  <a:noFill/>
                  <a:prstDash val="solid"/>
                  <a:miter/>
                </a:ln>
              </p:spPr>
              <p:txBody>
                <a:bodyPr rtlCol="0" anchor="ctr"/>
                <a:lstStyle/>
                <a:p>
                  <a:endParaRPr lang="en-GB" dirty="0"/>
                </a:p>
              </p:txBody>
            </p:sp>
            <p:sp>
              <p:nvSpPr>
                <p:cNvPr id="203" name="Freihandform: Form 187">
                  <a:extLst>
                    <a:ext uri="{FF2B5EF4-FFF2-40B4-BE49-F238E27FC236}">
                      <a16:creationId xmlns:a16="http://schemas.microsoft.com/office/drawing/2014/main" id="{E90E8A94-371C-41B5-B1EC-819C4E66C498}"/>
                    </a:ext>
                  </a:extLst>
                </p:cNvPr>
                <p:cNvSpPr/>
                <p:nvPr/>
              </p:nvSpPr>
              <p:spPr>
                <a:xfrm>
                  <a:off x="1081922" y="1884543"/>
                  <a:ext cx="181557" cy="13027"/>
                </a:xfrm>
                <a:custGeom>
                  <a:avLst/>
                  <a:gdLst>
                    <a:gd name="connsiteX0" fmla="*/ 175238 w 181557"/>
                    <a:gd name="connsiteY0" fmla="*/ 13028 h 13027"/>
                    <a:gd name="connsiteX1" fmla="*/ 6320 w 181557"/>
                    <a:gd name="connsiteY1" fmla="*/ 13028 h 13027"/>
                    <a:gd name="connsiteX2" fmla="*/ 0 w 181557"/>
                    <a:gd name="connsiteY2" fmla="*/ 6514 h 13027"/>
                    <a:gd name="connsiteX3" fmla="*/ 6320 w 181557"/>
                    <a:gd name="connsiteY3" fmla="*/ 0 h 13027"/>
                    <a:gd name="connsiteX4" fmla="*/ 175238 w 181557"/>
                    <a:gd name="connsiteY4" fmla="*/ 0 h 13027"/>
                    <a:gd name="connsiteX5" fmla="*/ 181558 w 181557"/>
                    <a:gd name="connsiteY5" fmla="*/ 6514 h 13027"/>
                    <a:gd name="connsiteX6" fmla="*/ 175238 w 181557"/>
                    <a:gd name="connsiteY6" fmla="*/ 13028 h 1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57" h="13027">
                      <a:moveTo>
                        <a:pt x="175238" y="13028"/>
                      </a:moveTo>
                      <a:lnTo>
                        <a:pt x="6320" y="13028"/>
                      </a:lnTo>
                      <a:cubicBezTo>
                        <a:pt x="2829" y="13028"/>
                        <a:pt x="0" y="10110"/>
                        <a:pt x="0" y="6514"/>
                      </a:cubicBezTo>
                      <a:cubicBezTo>
                        <a:pt x="0" y="2917"/>
                        <a:pt x="2829" y="0"/>
                        <a:pt x="6320" y="0"/>
                      </a:cubicBezTo>
                      <a:lnTo>
                        <a:pt x="175238" y="0"/>
                      </a:lnTo>
                      <a:cubicBezTo>
                        <a:pt x="178728" y="0"/>
                        <a:pt x="181558" y="2917"/>
                        <a:pt x="181558" y="6514"/>
                      </a:cubicBezTo>
                      <a:cubicBezTo>
                        <a:pt x="181558" y="10110"/>
                        <a:pt x="178728" y="13028"/>
                        <a:pt x="175238" y="13028"/>
                      </a:cubicBezTo>
                      <a:close/>
                    </a:path>
                  </a:pathLst>
                </a:custGeom>
                <a:solidFill>
                  <a:schemeClr val="accent1"/>
                </a:solidFill>
                <a:ln w="225" cap="flat">
                  <a:noFill/>
                  <a:prstDash val="solid"/>
                  <a:miter/>
                </a:ln>
              </p:spPr>
              <p:txBody>
                <a:bodyPr rtlCol="0" anchor="ctr"/>
                <a:lstStyle/>
                <a:p>
                  <a:endParaRPr lang="en-GB" dirty="0"/>
                </a:p>
              </p:txBody>
            </p:sp>
            <p:sp>
              <p:nvSpPr>
                <p:cNvPr id="204" name="Freihandform: Form 188">
                  <a:extLst>
                    <a:ext uri="{FF2B5EF4-FFF2-40B4-BE49-F238E27FC236}">
                      <a16:creationId xmlns:a16="http://schemas.microsoft.com/office/drawing/2014/main" id="{764E2E0E-4E29-43D4-8E68-6D73933C7CF5}"/>
                    </a:ext>
                  </a:extLst>
                </p:cNvPr>
                <p:cNvSpPr/>
                <p:nvPr/>
              </p:nvSpPr>
              <p:spPr>
                <a:xfrm>
                  <a:off x="1092060" y="1919118"/>
                  <a:ext cx="161284" cy="13027"/>
                </a:xfrm>
                <a:custGeom>
                  <a:avLst/>
                  <a:gdLst>
                    <a:gd name="connsiteX0" fmla="*/ 154965 w 161284"/>
                    <a:gd name="connsiteY0" fmla="*/ 13028 h 13027"/>
                    <a:gd name="connsiteX1" fmla="*/ 6320 w 161284"/>
                    <a:gd name="connsiteY1" fmla="*/ 13028 h 13027"/>
                    <a:gd name="connsiteX2" fmla="*/ 0 w 161284"/>
                    <a:gd name="connsiteY2" fmla="*/ 6514 h 13027"/>
                    <a:gd name="connsiteX3" fmla="*/ 6320 w 161284"/>
                    <a:gd name="connsiteY3" fmla="*/ 0 h 13027"/>
                    <a:gd name="connsiteX4" fmla="*/ 154965 w 161284"/>
                    <a:gd name="connsiteY4" fmla="*/ 0 h 13027"/>
                    <a:gd name="connsiteX5" fmla="*/ 161285 w 161284"/>
                    <a:gd name="connsiteY5" fmla="*/ 6514 h 13027"/>
                    <a:gd name="connsiteX6" fmla="*/ 154965 w 161284"/>
                    <a:gd name="connsiteY6" fmla="*/ 13028 h 1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1284" h="13027">
                      <a:moveTo>
                        <a:pt x="154965" y="13028"/>
                      </a:moveTo>
                      <a:lnTo>
                        <a:pt x="6320" y="13028"/>
                      </a:lnTo>
                      <a:cubicBezTo>
                        <a:pt x="2829" y="13028"/>
                        <a:pt x="0" y="10110"/>
                        <a:pt x="0" y="6514"/>
                      </a:cubicBezTo>
                      <a:cubicBezTo>
                        <a:pt x="0" y="2917"/>
                        <a:pt x="2829" y="0"/>
                        <a:pt x="6320" y="0"/>
                      </a:cubicBezTo>
                      <a:lnTo>
                        <a:pt x="154965" y="0"/>
                      </a:lnTo>
                      <a:cubicBezTo>
                        <a:pt x="158456" y="0"/>
                        <a:pt x="161285" y="2917"/>
                        <a:pt x="161285" y="6514"/>
                      </a:cubicBezTo>
                      <a:cubicBezTo>
                        <a:pt x="161283" y="10110"/>
                        <a:pt x="158453" y="13028"/>
                        <a:pt x="154965" y="13028"/>
                      </a:cubicBezTo>
                      <a:close/>
                    </a:path>
                  </a:pathLst>
                </a:custGeom>
                <a:solidFill>
                  <a:schemeClr val="accent1"/>
                </a:solidFill>
                <a:ln w="225" cap="flat">
                  <a:noFill/>
                  <a:prstDash val="solid"/>
                  <a:miter/>
                </a:ln>
              </p:spPr>
              <p:txBody>
                <a:bodyPr rtlCol="0" anchor="ctr"/>
                <a:lstStyle/>
                <a:p>
                  <a:endParaRPr lang="en-GB" dirty="0"/>
                </a:p>
              </p:txBody>
            </p:sp>
            <p:sp>
              <p:nvSpPr>
                <p:cNvPr id="205" name="Freihandform: Form 189">
                  <a:extLst>
                    <a:ext uri="{FF2B5EF4-FFF2-40B4-BE49-F238E27FC236}">
                      <a16:creationId xmlns:a16="http://schemas.microsoft.com/office/drawing/2014/main" id="{C7A26F2C-6F24-48DA-8502-53CAC24CCD26}"/>
                    </a:ext>
                  </a:extLst>
                </p:cNvPr>
                <p:cNvSpPr/>
                <p:nvPr/>
              </p:nvSpPr>
              <p:spPr>
                <a:xfrm>
                  <a:off x="1166384" y="1856886"/>
                  <a:ext cx="12639" cy="102917"/>
                </a:xfrm>
                <a:custGeom>
                  <a:avLst/>
                  <a:gdLst>
                    <a:gd name="connsiteX0" fmla="*/ 6320 w 12639"/>
                    <a:gd name="connsiteY0" fmla="*/ 102917 h 102917"/>
                    <a:gd name="connsiteX1" fmla="*/ 0 w 12639"/>
                    <a:gd name="connsiteY1" fmla="*/ 96404 h 102917"/>
                    <a:gd name="connsiteX2" fmla="*/ 0 w 12639"/>
                    <a:gd name="connsiteY2" fmla="*/ 6514 h 102917"/>
                    <a:gd name="connsiteX3" fmla="*/ 6320 w 12639"/>
                    <a:gd name="connsiteY3" fmla="*/ 0 h 102917"/>
                    <a:gd name="connsiteX4" fmla="*/ 12640 w 12639"/>
                    <a:gd name="connsiteY4" fmla="*/ 6514 h 102917"/>
                    <a:gd name="connsiteX5" fmla="*/ 12640 w 12639"/>
                    <a:gd name="connsiteY5" fmla="*/ 96404 h 102917"/>
                    <a:gd name="connsiteX6" fmla="*/ 6320 w 12639"/>
                    <a:gd name="connsiteY6" fmla="*/ 102917 h 10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39" h="102917">
                      <a:moveTo>
                        <a:pt x="6320" y="102917"/>
                      </a:moveTo>
                      <a:cubicBezTo>
                        <a:pt x="2829" y="102917"/>
                        <a:pt x="0" y="100000"/>
                        <a:pt x="0" y="96404"/>
                      </a:cubicBezTo>
                      <a:lnTo>
                        <a:pt x="0" y="6514"/>
                      </a:lnTo>
                      <a:cubicBezTo>
                        <a:pt x="0" y="2917"/>
                        <a:pt x="2829" y="0"/>
                        <a:pt x="6320" y="0"/>
                      </a:cubicBezTo>
                      <a:cubicBezTo>
                        <a:pt x="9810" y="0"/>
                        <a:pt x="12640" y="2917"/>
                        <a:pt x="12640" y="6514"/>
                      </a:cubicBezTo>
                      <a:lnTo>
                        <a:pt x="12640" y="96404"/>
                      </a:lnTo>
                      <a:cubicBezTo>
                        <a:pt x="12640" y="100000"/>
                        <a:pt x="9810" y="102917"/>
                        <a:pt x="6320" y="102917"/>
                      </a:cubicBezTo>
                      <a:close/>
                    </a:path>
                  </a:pathLst>
                </a:custGeom>
                <a:solidFill>
                  <a:schemeClr val="accent1"/>
                </a:solidFill>
                <a:ln w="225" cap="flat">
                  <a:noFill/>
                  <a:prstDash val="solid"/>
                  <a:miter/>
                </a:ln>
              </p:spPr>
              <p:txBody>
                <a:bodyPr rtlCol="0" anchor="ctr"/>
                <a:lstStyle/>
                <a:p>
                  <a:endParaRPr lang="en-GB" dirty="0"/>
                </a:p>
              </p:txBody>
            </p:sp>
          </p:grpSp>
          <p:sp>
            <p:nvSpPr>
              <p:cNvPr id="196" name="Freihandform: Form 190">
                <a:extLst>
                  <a:ext uri="{FF2B5EF4-FFF2-40B4-BE49-F238E27FC236}">
                    <a16:creationId xmlns:a16="http://schemas.microsoft.com/office/drawing/2014/main" id="{FE4EC697-E87F-4D4E-9E7F-28A129E834B9}"/>
                  </a:ext>
                </a:extLst>
              </p:cNvPr>
              <p:cNvSpPr/>
              <p:nvPr/>
            </p:nvSpPr>
            <p:spPr>
              <a:xfrm>
                <a:off x="1082488" y="1783100"/>
                <a:ext cx="35723" cy="66141"/>
              </a:xfrm>
              <a:custGeom>
                <a:avLst/>
                <a:gdLst>
                  <a:gd name="connsiteX0" fmla="*/ 6316 w 35723"/>
                  <a:gd name="connsiteY0" fmla="*/ 66142 h 66141"/>
                  <a:gd name="connsiteX1" fmla="*/ 3737 w 35723"/>
                  <a:gd name="connsiteY1" fmla="*/ 65569 h 66141"/>
                  <a:gd name="connsiteX2" fmla="*/ 554 w 35723"/>
                  <a:gd name="connsiteY2" fmla="*/ 56961 h 66141"/>
                  <a:gd name="connsiteX3" fmla="*/ 23636 w 35723"/>
                  <a:gd name="connsiteY3" fmla="*/ 3853 h 66141"/>
                  <a:gd name="connsiteX4" fmla="*/ 31986 w 35723"/>
                  <a:gd name="connsiteY4" fmla="*/ 570 h 66141"/>
                  <a:gd name="connsiteX5" fmla="*/ 35170 w 35723"/>
                  <a:gd name="connsiteY5" fmla="*/ 9178 h 66141"/>
                  <a:gd name="connsiteX6" fmla="*/ 12086 w 35723"/>
                  <a:gd name="connsiteY6" fmla="*/ 62286 h 66141"/>
                  <a:gd name="connsiteX7" fmla="*/ 6316 w 35723"/>
                  <a:gd name="connsiteY7" fmla="*/ 66142 h 66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23" h="66141">
                    <a:moveTo>
                      <a:pt x="6316" y="66142"/>
                    </a:moveTo>
                    <a:cubicBezTo>
                      <a:pt x="5452" y="66142"/>
                      <a:pt x="4577" y="65957"/>
                      <a:pt x="3737" y="65569"/>
                    </a:cubicBezTo>
                    <a:cubicBezTo>
                      <a:pt x="549" y="64095"/>
                      <a:pt x="-872" y="60244"/>
                      <a:pt x="554" y="56961"/>
                    </a:cubicBezTo>
                    <a:lnTo>
                      <a:pt x="23636" y="3853"/>
                    </a:lnTo>
                    <a:cubicBezTo>
                      <a:pt x="25068" y="568"/>
                      <a:pt x="28807" y="-899"/>
                      <a:pt x="31986" y="570"/>
                    </a:cubicBezTo>
                    <a:cubicBezTo>
                      <a:pt x="35174" y="2043"/>
                      <a:pt x="36596" y="5895"/>
                      <a:pt x="35170" y="9178"/>
                    </a:cubicBezTo>
                    <a:lnTo>
                      <a:pt x="12086" y="62286"/>
                    </a:lnTo>
                    <a:cubicBezTo>
                      <a:pt x="11034" y="64707"/>
                      <a:pt x="8728" y="66142"/>
                      <a:pt x="6316" y="66142"/>
                    </a:cubicBezTo>
                    <a:close/>
                  </a:path>
                </a:pathLst>
              </a:custGeom>
              <a:solidFill>
                <a:schemeClr val="accent1"/>
              </a:solidFill>
              <a:ln w="225" cap="flat">
                <a:noFill/>
                <a:prstDash val="solid"/>
                <a:miter/>
              </a:ln>
            </p:spPr>
            <p:txBody>
              <a:bodyPr rtlCol="0" anchor="ctr"/>
              <a:lstStyle/>
              <a:p>
                <a:endParaRPr lang="en-GB" dirty="0"/>
              </a:p>
            </p:txBody>
          </p:sp>
          <p:sp>
            <p:nvSpPr>
              <p:cNvPr id="197" name="Freihandform: Form 191">
                <a:extLst>
                  <a:ext uri="{FF2B5EF4-FFF2-40B4-BE49-F238E27FC236}">
                    <a16:creationId xmlns:a16="http://schemas.microsoft.com/office/drawing/2014/main" id="{E066335E-ECA7-4D0D-A14E-1F6BDA6707BE}"/>
                  </a:ext>
                </a:extLst>
              </p:cNvPr>
              <p:cNvSpPr/>
              <p:nvPr/>
            </p:nvSpPr>
            <p:spPr>
              <a:xfrm>
                <a:off x="1226083" y="1783106"/>
                <a:ext cx="34866" cy="64973"/>
              </a:xfrm>
              <a:custGeom>
                <a:avLst/>
                <a:gdLst>
                  <a:gd name="connsiteX0" fmla="*/ 28548 w 34866"/>
                  <a:gd name="connsiteY0" fmla="*/ 64974 h 64973"/>
                  <a:gd name="connsiteX1" fmla="*/ 22763 w 34866"/>
                  <a:gd name="connsiteY1" fmla="*/ 61084 h 64973"/>
                  <a:gd name="connsiteX2" fmla="*/ 538 w 34866"/>
                  <a:gd name="connsiteY2" fmla="*/ 9138 h 64973"/>
                  <a:gd name="connsiteX3" fmla="*/ 3772 w 34866"/>
                  <a:gd name="connsiteY3" fmla="*/ 550 h 64973"/>
                  <a:gd name="connsiteX4" fmla="*/ 12104 w 34866"/>
                  <a:gd name="connsiteY4" fmla="*/ 3883 h 64973"/>
                  <a:gd name="connsiteX5" fmla="*/ 34328 w 34866"/>
                  <a:gd name="connsiteY5" fmla="*/ 55829 h 64973"/>
                  <a:gd name="connsiteX6" fmla="*/ 31095 w 34866"/>
                  <a:gd name="connsiteY6" fmla="*/ 64416 h 64973"/>
                  <a:gd name="connsiteX7" fmla="*/ 28548 w 34866"/>
                  <a:gd name="connsiteY7" fmla="*/ 64974 h 6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66" h="64973">
                    <a:moveTo>
                      <a:pt x="28548" y="64974"/>
                    </a:moveTo>
                    <a:cubicBezTo>
                      <a:pt x="26120" y="64974"/>
                      <a:pt x="23805" y="63523"/>
                      <a:pt x="22763" y="61084"/>
                    </a:cubicBezTo>
                    <a:lnTo>
                      <a:pt x="538" y="9138"/>
                    </a:lnTo>
                    <a:cubicBezTo>
                      <a:pt x="-869" y="5846"/>
                      <a:pt x="579" y="2004"/>
                      <a:pt x="3772" y="550"/>
                    </a:cubicBezTo>
                    <a:cubicBezTo>
                      <a:pt x="6955" y="-891"/>
                      <a:pt x="10696" y="596"/>
                      <a:pt x="12104" y="3883"/>
                    </a:cubicBezTo>
                    <a:lnTo>
                      <a:pt x="34328" y="55829"/>
                    </a:lnTo>
                    <a:cubicBezTo>
                      <a:pt x="35736" y="59121"/>
                      <a:pt x="34288" y="62963"/>
                      <a:pt x="31095" y="64416"/>
                    </a:cubicBezTo>
                    <a:cubicBezTo>
                      <a:pt x="30267" y="64793"/>
                      <a:pt x="29398" y="64974"/>
                      <a:pt x="28548" y="64974"/>
                    </a:cubicBezTo>
                    <a:close/>
                  </a:path>
                </a:pathLst>
              </a:custGeom>
              <a:solidFill>
                <a:schemeClr val="accent1"/>
              </a:solidFill>
              <a:ln w="225" cap="flat">
                <a:noFill/>
                <a:prstDash val="solid"/>
                <a:miter/>
              </a:ln>
            </p:spPr>
            <p:txBody>
              <a:bodyPr rtlCol="0" anchor="ctr"/>
              <a:lstStyle/>
              <a:p>
                <a:endParaRPr lang="en-GB" dirty="0"/>
              </a:p>
            </p:txBody>
          </p:sp>
        </p:grpSp>
        <p:grpSp>
          <p:nvGrpSpPr>
            <p:cNvPr id="190" name="Graphic 8">
              <a:extLst>
                <a:ext uri="{FF2B5EF4-FFF2-40B4-BE49-F238E27FC236}">
                  <a16:creationId xmlns:a16="http://schemas.microsoft.com/office/drawing/2014/main" id="{981CDB6B-5CDB-4E65-9F03-9BA9380519D3}"/>
                </a:ext>
              </a:extLst>
            </p:cNvPr>
            <p:cNvGrpSpPr/>
            <p:nvPr/>
          </p:nvGrpSpPr>
          <p:grpSpPr>
            <a:xfrm>
              <a:off x="584505" y="3212058"/>
              <a:ext cx="419090" cy="432000"/>
              <a:chOff x="965300" y="1653733"/>
              <a:chExt cx="415315" cy="428109"/>
            </a:xfrm>
            <a:solidFill>
              <a:schemeClr val="tx2"/>
            </a:solidFill>
          </p:grpSpPr>
          <p:sp>
            <p:nvSpPr>
              <p:cNvPr id="191" name="Freihandform: Form 193">
                <a:extLst>
                  <a:ext uri="{FF2B5EF4-FFF2-40B4-BE49-F238E27FC236}">
                    <a16:creationId xmlns:a16="http://schemas.microsoft.com/office/drawing/2014/main" id="{943DB0B5-328B-4EF2-907D-97FE8C28FF6C}"/>
                  </a:ext>
                </a:extLst>
              </p:cNvPr>
              <p:cNvSpPr/>
              <p:nvPr/>
            </p:nvSpPr>
            <p:spPr>
              <a:xfrm>
                <a:off x="1185598" y="1653733"/>
                <a:ext cx="195016" cy="201027"/>
              </a:xfrm>
              <a:custGeom>
                <a:avLst/>
                <a:gdLst>
                  <a:gd name="connsiteX0" fmla="*/ 188696 w 195016"/>
                  <a:gd name="connsiteY0" fmla="*/ 201027 h 201027"/>
                  <a:gd name="connsiteX1" fmla="*/ 131444 w 195016"/>
                  <a:gd name="connsiteY1" fmla="*/ 201027 h 201027"/>
                  <a:gd name="connsiteX2" fmla="*/ 125176 w 195016"/>
                  <a:gd name="connsiteY2" fmla="*/ 195355 h 201027"/>
                  <a:gd name="connsiteX3" fmla="*/ 5503 w 195016"/>
                  <a:gd name="connsiteY3" fmla="*/ 71996 h 201027"/>
                  <a:gd name="connsiteX4" fmla="*/ 0 w 195016"/>
                  <a:gd name="connsiteY4" fmla="*/ 65536 h 201027"/>
                  <a:gd name="connsiteX5" fmla="*/ 0 w 195016"/>
                  <a:gd name="connsiteY5" fmla="*/ 6514 h 201027"/>
                  <a:gd name="connsiteX6" fmla="*/ 2064 w 195016"/>
                  <a:gd name="connsiteY6" fmla="*/ 1699 h 201027"/>
                  <a:gd name="connsiteX7" fmla="*/ 6906 w 195016"/>
                  <a:gd name="connsiteY7" fmla="*/ 30 h 201027"/>
                  <a:gd name="connsiteX8" fmla="*/ 111110 w 195016"/>
                  <a:gd name="connsiteY8" fmla="*/ 41031 h 201027"/>
                  <a:gd name="connsiteX9" fmla="*/ 148117 w 195016"/>
                  <a:gd name="connsiteY9" fmla="*/ 10483 h 201027"/>
                  <a:gd name="connsiteX10" fmla="*/ 186036 w 195016"/>
                  <a:gd name="connsiteY10" fmla="*/ 49568 h 201027"/>
                  <a:gd name="connsiteX11" fmla="*/ 156147 w 195016"/>
                  <a:gd name="connsiteY11" fmla="*/ 87774 h 201027"/>
                  <a:gd name="connsiteX12" fmla="*/ 194989 w 195016"/>
                  <a:gd name="connsiteY12" fmla="*/ 193909 h 201027"/>
                  <a:gd name="connsiteX13" fmla="*/ 193369 w 195016"/>
                  <a:gd name="connsiteY13" fmla="*/ 198900 h 201027"/>
                  <a:gd name="connsiteX14" fmla="*/ 188696 w 195016"/>
                  <a:gd name="connsiteY14" fmla="*/ 201027 h 201027"/>
                  <a:gd name="connsiteX15" fmla="*/ 136888 w 195016"/>
                  <a:gd name="connsiteY15" fmla="*/ 187997 h 201027"/>
                  <a:gd name="connsiteX16" fmla="*/ 181639 w 195016"/>
                  <a:gd name="connsiteY16" fmla="*/ 187997 h 201027"/>
                  <a:gd name="connsiteX17" fmla="*/ 138693 w 195016"/>
                  <a:gd name="connsiteY17" fmla="*/ 85811 h 201027"/>
                  <a:gd name="connsiteX18" fmla="*/ 138063 w 195016"/>
                  <a:gd name="connsiteY18" fmla="*/ 78473 h 201027"/>
                  <a:gd name="connsiteX19" fmla="*/ 144476 w 195016"/>
                  <a:gd name="connsiteY19" fmla="*/ 75222 h 201027"/>
                  <a:gd name="connsiteX20" fmla="*/ 148117 w 195016"/>
                  <a:gd name="connsiteY20" fmla="*/ 75626 h 201027"/>
                  <a:gd name="connsiteX21" fmla="*/ 173397 w 195016"/>
                  <a:gd name="connsiteY21" fmla="*/ 49568 h 201027"/>
                  <a:gd name="connsiteX22" fmla="*/ 148117 w 195016"/>
                  <a:gd name="connsiteY22" fmla="*/ 23511 h 201027"/>
                  <a:gd name="connsiteX23" fmla="*/ 122838 w 195016"/>
                  <a:gd name="connsiteY23" fmla="*/ 49568 h 201027"/>
                  <a:gd name="connsiteX24" fmla="*/ 123122 w 195016"/>
                  <a:gd name="connsiteY24" fmla="*/ 52463 h 201027"/>
                  <a:gd name="connsiteX25" fmla="*/ 123217 w 195016"/>
                  <a:gd name="connsiteY25" fmla="*/ 53169 h 201027"/>
                  <a:gd name="connsiteX26" fmla="*/ 120018 w 195016"/>
                  <a:gd name="connsiteY26" fmla="*/ 59758 h 201027"/>
                  <a:gd name="connsiteX27" fmla="*/ 112906 w 195016"/>
                  <a:gd name="connsiteY27" fmla="*/ 59054 h 201027"/>
                  <a:gd name="connsiteX28" fmla="*/ 12640 w 195016"/>
                  <a:gd name="connsiteY28" fmla="*/ 13791 h 201027"/>
                  <a:gd name="connsiteX29" fmla="*/ 12640 w 195016"/>
                  <a:gd name="connsiteY29" fmla="*/ 59922 h 201027"/>
                  <a:gd name="connsiteX30" fmla="*/ 136888 w 195016"/>
                  <a:gd name="connsiteY30" fmla="*/ 187997 h 20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5016" h="201027">
                    <a:moveTo>
                      <a:pt x="188696" y="201027"/>
                    </a:moveTo>
                    <a:lnTo>
                      <a:pt x="131444" y="201027"/>
                    </a:lnTo>
                    <a:cubicBezTo>
                      <a:pt x="128269" y="201027"/>
                      <a:pt x="125586" y="198600"/>
                      <a:pt x="125176" y="195355"/>
                    </a:cubicBezTo>
                    <a:cubicBezTo>
                      <a:pt x="117051" y="131099"/>
                      <a:pt x="67839" y="80371"/>
                      <a:pt x="5503" y="71996"/>
                    </a:cubicBezTo>
                    <a:cubicBezTo>
                      <a:pt x="2356" y="71574"/>
                      <a:pt x="0" y="68808"/>
                      <a:pt x="0" y="65536"/>
                    </a:cubicBezTo>
                    <a:lnTo>
                      <a:pt x="0" y="6514"/>
                    </a:lnTo>
                    <a:cubicBezTo>
                      <a:pt x="0" y="4682"/>
                      <a:pt x="749" y="2934"/>
                      <a:pt x="2064" y="1699"/>
                    </a:cubicBezTo>
                    <a:cubicBezTo>
                      <a:pt x="3375" y="465"/>
                      <a:pt x="5108" y="-146"/>
                      <a:pt x="6906" y="30"/>
                    </a:cubicBezTo>
                    <a:cubicBezTo>
                      <a:pt x="44834" y="3671"/>
                      <a:pt x="80608" y="17784"/>
                      <a:pt x="111110" y="41031"/>
                    </a:cubicBezTo>
                    <a:cubicBezTo>
                      <a:pt x="114898" y="23572"/>
                      <a:pt x="130054" y="10483"/>
                      <a:pt x="148117" y="10483"/>
                    </a:cubicBezTo>
                    <a:cubicBezTo>
                      <a:pt x="169026" y="10483"/>
                      <a:pt x="186036" y="28017"/>
                      <a:pt x="186036" y="49568"/>
                    </a:cubicBezTo>
                    <a:cubicBezTo>
                      <a:pt x="186036" y="68282"/>
                      <a:pt x="173212" y="83965"/>
                      <a:pt x="156147" y="87774"/>
                    </a:cubicBezTo>
                    <a:cubicBezTo>
                      <a:pt x="178139" y="118926"/>
                      <a:pt x="191510" y="155363"/>
                      <a:pt x="194989" y="193909"/>
                    </a:cubicBezTo>
                    <a:cubicBezTo>
                      <a:pt x="195156" y="195734"/>
                      <a:pt x="194567" y="197548"/>
                      <a:pt x="193369" y="198900"/>
                    </a:cubicBezTo>
                    <a:cubicBezTo>
                      <a:pt x="192171" y="200253"/>
                      <a:pt x="190472" y="201027"/>
                      <a:pt x="188696" y="201027"/>
                    </a:cubicBezTo>
                    <a:close/>
                    <a:moveTo>
                      <a:pt x="136888" y="187997"/>
                    </a:moveTo>
                    <a:lnTo>
                      <a:pt x="181639" y="187997"/>
                    </a:lnTo>
                    <a:cubicBezTo>
                      <a:pt x="176948" y="150417"/>
                      <a:pt x="162181" y="115219"/>
                      <a:pt x="138693" y="85811"/>
                    </a:cubicBezTo>
                    <a:cubicBezTo>
                      <a:pt x="137032" y="83733"/>
                      <a:pt x="136782" y="80818"/>
                      <a:pt x="138063" y="78473"/>
                    </a:cubicBezTo>
                    <a:cubicBezTo>
                      <a:pt x="139350" y="76129"/>
                      <a:pt x="141888" y="74834"/>
                      <a:pt x="144476" y="75222"/>
                    </a:cubicBezTo>
                    <a:cubicBezTo>
                      <a:pt x="145954" y="75446"/>
                      <a:pt x="147016" y="75626"/>
                      <a:pt x="148117" y="75626"/>
                    </a:cubicBezTo>
                    <a:cubicBezTo>
                      <a:pt x="162057" y="75626"/>
                      <a:pt x="173397" y="63936"/>
                      <a:pt x="173397" y="49568"/>
                    </a:cubicBezTo>
                    <a:cubicBezTo>
                      <a:pt x="173397" y="35200"/>
                      <a:pt x="162057" y="23511"/>
                      <a:pt x="148117" y="23511"/>
                    </a:cubicBezTo>
                    <a:cubicBezTo>
                      <a:pt x="134178" y="23511"/>
                      <a:pt x="122838" y="35200"/>
                      <a:pt x="122838" y="49568"/>
                    </a:cubicBezTo>
                    <a:cubicBezTo>
                      <a:pt x="122838" y="50557"/>
                      <a:pt x="122989" y="51509"/>
                      <a:pt x="123122" y="52463"/>
                    </a:cubicBezTo>
                    <a:lnTo>
                      <a:pt x="123217" y="53169"/>
                    </a:lnTo>
                    <a:cubicBezTo>
                      <a:pt x="123571" y="55834"/>
                      <a:pt x="122301" y="58454"/>
                      <a:pt x="120018" y="59758"/>
                    </a:cubicBezTo>
                    <a:cubicBezTo>
                      <a:pt x="117732" y="61064"/>
                      <a:pt x="114907" y="60782"/>
                      <a:pt x="112906" y="59054"/>
                    </a:cubicBezTo>
                    <a:cubicBezTo>
                      <a:pt x="84132" y="34262"/>
                      <a:pt x="49595" y="18696"/>
                      <a:pt x="12640" y="13791"/>
                    </a:cubicBezTo>
                    <a:lnTo>
                      <a:pt x="12640" y="59922"/>
                    </a:lnTo>
                    <a:cubicBezTo>
                      <a:pt x="76212" y="70910"/>
                      <a:pt x="126227" y="122466"/>
                      <a:pt x="136888" y="187997"/>
                    </a:cubicBezTo>
                    <a:close/>
                  </a:path>
                </a:pathLst>
              </a:custGeom>
              <a:grpFill/>
              <a:ln w="225" cap="flat">
                <a:noFill/>
                <a:prstDash val="solid"/>
                <a:miter/>
              </a:ln>
            </p:spPr>
            <p:txBody>
              <a:bodyPr rtlCol="0" anchor="ctr"/>
              <a:lstStyle/>
              <a:p>
                <a:endParaRPr lang="en-GB" dirty="0"/>
              </a:p>
            </p:txBody>
          </p:sp>
          <p:sp>
            <p:nvSpPr>
              <p:cNvPr id="192" name="Freihandform: Form 194">
                <a:extLst>
                  <a:ext uri="{FF2B5EF4-FFF2-40B4-BE49-F238E27FC236}">
                    <a16:creationId xmlns:a16="http://schemas.microsoft.com/office/drawing/2014/main" id="{DA220338-44F0-4CBC-B576-A592C12528B9}"/>
                  </a:ext>
                </a:extLst>
              </p:cNvPr>
              <p:cNvSpPr/>
              <p:nvPr/>
            </p:nvSpPr>
            <p:spPr>
              <a:xfrm>
                <a:off x="965304" y="1653735"/>
                <a:ext cx="195019" cy="201025"/>
              </a:xfrm>
              <a:custGeom>
                <a:avLst/>
                <a:gdLst>
                  <a:gd name="connsiteX0" fmla="*/ 63573 w 195019"/>
                  <a:gd name="connsiteY0" fmla="*/ 201025 h 201025"/>
                  <a:gd name="connsiteX1" fmla="*/ 6321 w 195019"/>
                  <a:gd name="connsiteY1" fmla="*/ 201025 h 201025"/>
                  <a:gd name="connsiteX2" fmla="*/ 1648 w 195019"/>
                  <a:gd name="connsiteY2" fmla="*/ 198898 h 201025"/>
                  <a:gd name="connsiteX3" fmla="*/ 28 w 195019"/>
                  <a:gd name="connsiteY3" fmla="*/ 193907 h 201025"/>
                  <a:gd name="connsiteX4" fmla="*/ 39064 w 195019"/>
                  <a:gd name="connsiteY4" fmla="*/ 87501 h 201025"/>
                  <a:gd name="connsiteX5" fmla="*/ 10298 w 195019"/>
                  <a:gd name="connsiteY5" fmla="*/ 49566 h 201025"/>
                  <a:gd name="connsiteX6" fmla="*/ 48217 w 195019"/>
                  <a:gd name="connsiteY6" fmla="*/ 10481 h 201025"/>
                  <a:gd name="connsiteX7" fmla="*/ 85028 w 195019"/>
                  <a:gd name="connsiteY7" fmla="*/ 40171 h 201025"/>
                  <a:gd name="connsiteX8" fmla="*/ 188113 w 195019"/>
                  <a:gd name="connsiteY8" fmla="*/ 32 h 201025"/>
                  <a:gd name="connsiteX9" fmla="*/ 192955 w 195019"/>
                  <a:gd name="connsiteY9" fmla="*/ 1702 h 201025"/>
                  <a:gd name="connsiteX10" fmla="*/ 195019 w 195019"/>
                  <a:gd name="connsiteY10" fmla="*/ 6517 h 201025"/>
                  <a:gd name="connsiteX11" fmla="*/ 195019 w 195019"/>
                  <a:gd name="connsiteY11" fmla="*/ 65534 h 201025"/>
                  <a:gd name="connsiteX12" fmla="*/ 189516 w 195019"/>
                  <a:gd name="connsiteY12" fmla="*/ 71994 h 201025"/>
                  <a:gd name="connsiteX13" fmla="*/ 69844 w 195019"/>
                  <a:gd name="connsiteY13" fmla="*/ 195353 h 201025"/>
                  <a:gd name="connsiteX14" fmla="*/ 63573 w 195019"/>
                  <a:gd name="connsiteY14" fmla="*/ 201025 h 201025"/>
                  <a:gd name="connsiteX15" fmla="*/ 13378 w 195019"/>
                  <a:gd name="connsiteY15" fmla="*/ 187995 h 201025"/>
                  <a:gd name="connsiteX16" fmla="*/ 58129 w 195019"/>
                  <a:gd name="connsiteY16" fmla="*/ 187995 h 201025"/>
                  <a:gd name="connsiteX17" fmla="*/ 182377 w 195019"/>
                  <a:gd name="connsiteY17" fmla="*/ 59920 h 201025"/>
                  <a:gd name="connsiteX18" fmla="*/ 182377 w 195019"/>
                  <a:gd name="connsiteY18" fmla="*/ 13791 h 201025"/>
                  <a:gd name="connsiteX19" fmla="*/ 83505 w 195019"/>
                  <a:gd name="connsiteY19" fmla="*/ 57845 h 201025"/>
                  <a:gd name="connsiteX20" fmla="*/ 76513 w 195019"/>
                  <a:gd name="connsiteY20" fmla="*/ 58551 h 201025"/>
                  <a:gd name="connsiteX21" fmla="*/ 73208 w 195019"/>
                  <a:gd name="connsiteY21" fmla="*/ 52163 h 201025"/>
                  <a:gd name="connsiteX22" fmla="*/ 73366 w 195019"/>
                  <a:gd name="connsiteY22" fmla="*/ 50841 h 201025"/>
                  <a:gd name="connsiteX23" fmla="*/ 73494 w 195019"/>
                  <a:gd name="connsiteY23" fmla="*/ 49566 h 201025"/>
                  <a:gd name="connsiteX24" fmla="*/ 48215 w 195019"/>
                  <a:gd name="connsiteY24" fmla="*/ 23509 h 201025"/>
                  <a:gd name="connsiteX25" fmla="*/ 22936 w 195019"/>
                  <a:gd name="connsiteY25" fmla="*/ 49566 h 201025"/>
                  <a:gd name="connsiteX26" fmla="*/ 48215 w 195019"/>
                  <a:gd name="connsiteY26" fmla="*/ 75624 h 201025"/>
                  <a:gd name="connsiteX27" fmla="*/ 49442 w 195019"/>
                  <a:gd name="connsiteY27" fmla="*/ 75491 h 201025"/>
                  <a:gd name="connsiteX28" fmla="*/ 50692 w 195019"/>
                  <a:gd name="connsiteY28" fmla="*/ 75333 h 201025"/>
                  <a:gd name="connsiteX29" fmla="*/ 56897 w 195019"/>
                  <a:gd name="connsiteY29" fmla="*/ 78740 h 201025"/>
                  <a:gd name="connsiteX30" fmla="*/ 56209 w 195019"/>
                  <a:gd name="connsiteY30" fmla="*/ 85951 h 201025"/>
                  <a:gd name="connsiteX31" fmla="*/ 13378 w 195019"/>
                  <a:gd name="connsiteY31" fmla="*/ 187995 h 20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5019" h="201025">
                    <a:moveTo>
                      <a:pt x="63573" y="201025"/>
                    </a:moveTo>
                    <a:lnTo>
                      <a:pt x="6321" y="201025"/>
                    </a:lnTo>
                    <a:cubicBezTo>
                      <a:pt x="4543" y="201025"/>
                      <a:pt x="2846" y="200251"/>
                      <a:pt x="1648" y="198898"/>
                    </a:cubicBezTo>
                    <a:cubicBezTo>
                      <a:pt x="450" y="197546"/>
                      <a:pt x="-139" y="195732"/>
                      <a:pt x="28" y="193907"/>
                    </a:cubicBezTo>
                    <a:cubicBezTo>
                      <a:pt x="3518" y="155252"/>
                      <a:pt x="16957" y="118719"/>
                      <a:pt x="39064" y="87501"/>
                    </a:cubicBezTo>
                    <a:cubicBezTo>
                      <a:pt x="22561" y="83270"/>
                      <a:pt x="10298" y="67865"/>
                      <a:pt x="10298" y="49566"/>
                    </a:cubicBezTo>
                    <a:cubicBezTo>
                      <a:pt x="10298" y="28012"/>
                      <a:pt x="27306" y="10481"/>
                      <a:pt x="48217" y="10481"/>
                    </a:cubicBezTo>
                    <a:cubicBezTo>
                      <a:pt x="65983" y="10481"/>
                      <a:pt x="80935" y="23141"/>
                      <a:pt x="85028" y="40171"/>
                    </a:cubicBezTo>
                    <a:cubicBezTo>
                      <a:pt x="115285" y="17442"/>
                      <a:pt x="150681" y="3624"/>
                      <a:pt x="188113" y="32"/>
                    </a:cubicBezTo>
                    <a:cubicBezTo>
                      <a:pt x="189907" y="-153"/>
                      <a:pt x="191644" y="468"/>
                      <a:pt x="192955" y="1702"/>
                    </a:cubicBezTo>
                    <a:cubicBezTo>
                      <a:pt x="194270" y="2936"/>
                      <a:pt x="195019" y="4685"/>
                      <a:pt x="195019" y="6517"/>
                    </a:cubicBezTo>
                    <a:lnTo>
                      <a:pt x="195019" y="65534"/>
                    </a:lnTo>
                    <a:cubicBezTo>
                      <a:pt x="195019" y="68808"/>
                      <a:pt x="192664" y="71572"/>
                      <a:pt x="189516" y="71994"/>
                    </a:cubicBezTo>
                    <a:cubicBezTo>
                      <a:pt x="127180" y="80369"/>
                      <a:pt x="77968" y="131097"/>
                      <a:pt x="69844" y="195353"/>
                    </a:cubicBezTo>
                    <a:cubicBezTo>
                      <a:pt x="69431" y="198597"/>
                      <a:pt x="66748" y="201025"/>
                      <a:pt x="63573" y="201025"/>
                    </a:cubicBezTo>
                    <a:close/>
                    <a:moveTo>
                      <a:pt x="13378" y="187995"/>
                    </a:moveTo>
                    <a:lnTo>
                      <a:pt x="58129" y="187995"/>
                    </a:lnTo>
                    <a:cubicBezTo>
                      <a:pt x="68790" y="122464"/>
                      <a:pt x="118805" y="70908"/>
                      <a:pt x="182377" y="59920"/>
                    </a:cubicBezTo>
                    <a:lnTo>
                      <a:pt x="182377" y="13791"/>
                    </a:lnTo>
                    <a:cubicBezTo>
                      <a:pt x="146045" y="18613"/>
                      <a:pt x="111988" y="33763"/>
                      <a:pt x="83505" y="57845"/>
                    </a:cubicBezTo>
                    <a:cubicBezTo>
                      <a:pt x="81531" y="59519"/>
                      <a:pt x="78769" y="59794"/>
                      <a:pt x="76513" y="58551"/>
                    </a:cubicBezTo>
                    <a:cubicBezTo>
                      <a:pt x="74261" y="57308"/>
                      <a:pt x="72955" y="54785"/>
                      <a:pt x="73208" y="52163"/>
                    </a:cubicBezTo>
                    <a:lnTo>
                      <a:pt x="73366" y="50841"/>
                    </a:lnTo>
                    <a:cubicBezTo>
                      <a:pt x="73422" y="50421"/>
                      <a:pt x="73494" y="50002"/>
                      <a:pt x="73494" y="49566"/>
                    </a:cubicBezTo>
                    <a:cubicBezTo>
                      <a:pt x="73494" y="35198"/>
                      <a:pt x="62154" y="23509"/>
                      <a:pt x="48215" y="23509"/>
                    </a:cubicBezTo>
                    <a:cubicBezTo>
                      <a:pt x="34276" y="23509"/>
                      <a:pt x="22936" y="35198"/>
                      <a:pt x="22936" y="49566"/>
                    </a:cubicBezTo>
                    <a:cubicBezTo>
                      <a:pt x="22936" y="63934"/>
                      <a:pt x="34276" y="75624"/>
                      <a:pt x="48215" y="75624"/>
                    </a:cubicBezTo>
                    <a:cubicBezTo>
                      <a:pt x="48635" y="75624"/>
                      <a:pt x="49036" y="75547"/>
                      <a:pt x="49442" y="75491"/>
                    </a:cubicBezTo>
                    <a:lnTo>
                      <a:pt x="50692" y="75333"/>
                    </a:lnTo>
                    <a:cubicBezTo>
                      <a:pt x="53235" y="75076"/>
                      <a:pt x="55688" y="76414"/>
                      <a:pt x="56897" y="78740"/>
                    </a:cubicBezTo>
                    <a:cubicBezTo>
                      <a:pt x="58107" y="81066"/>
                      <a:pt x="57836" y="83911"/>
                      <a:pt x="56209" y="85951"/>
                    </a:cubicBezTo>
                    <a:cubicBezTo>
                      <a:pt x="32793" y="115330"/>
                      <a:pt x="18062" y="150478"/>
                      <a:pt x="13378" y="187995"/>
                    </a:cubicBezTo>
                    <a:close/>
                  </a:path>
                </a:pathLst>
              </a:custGeom>
              <a:grpFill/>
              <a:ln w="225" cap="flat">
                <a:noFill/>
                <a:prstDash val="solid"/>
                <a:miter/>
              </a:ln>
            </p:spPr>
            <p:txBody>
              <a:bodyPr rtlCol="0" anchor="ctr"/>
              <a:lstStyle/>
              <a:p>
                <a:endParaRPr lang="en-GB" dirty="0"/>
              </a:p>
            </p:txBody>
          </p:sp>
          <p:sp>
            <p:nvSpPr>
              <p:cNvPr id="193" name="Freihandform: Form 195">
                <a:extLst>
                  <a:ext uri="{FF2B5EF4-FFF2-40B4-BE49-F238E27FC236}">
                    <a16:creationId xmlns:a16="http://schemas.microsoft.com/office/drawing/2014/main" id="{A800D6A6-39C0-4A25-9C0F-1B4CFC26DE67}"/>
                  </a:ext>
                </a:extLst>
              </p:cNvPr>
              <p:cNvSpPr/>
              <p:nvPr/>
            </p:nvSpPr>
            <p:spPr>
              <a:xfrm>
                <a:off x="1185598" y="1880818"/>
                <a:ext cx="195016" cy="201024"/>
              </a:xfrm>
              <a:custGeom>
                <a:avLst/>
                <a:gdLst>
                  <a:gd name="connsiteX0" fmla="*/ 6320 w 195016"/>
                  <a:gd name="connsiteY0" fmla="*/ 201025 h 201024"/>
                  <a:gd name="connsiteX1" fmla="*/ 2064 w 195016"/>
                  <a:gd name="connsiteY1" fmla="*/ 199326 h 201024"/>
                  <a:gd name="connsiteX2" fmla="*/ 0 w 195016"/>
                  <a:gd name="connsiteY2" fmla="*/ 194511 h 201024"/>
                  <a:gd name="connsiteX3" fmla="*/ 0 w 195016"/>
                  <a:gd name="connsiteY3" fmla="*/ 135491 h 201024"/>
                  <a:gd name="connsiteX4" fmla="*/ 5503 w 195016"/>
                  <a:gd name="connsiteY4" fmla="*/ 129032 h 201024"/>
                  <a:gd name="connsiteX5" fmla="*/ 125176 w 195016"/>
                  <a:gd name="connsiteY5" fmla="*/ 5672 h 201024"/>
                  <a:gd name="connsiteX6" fmla="*/ 131444 w 195016"/>
                  <a:gd name="connsiteY6" fmla="*/ 0 h 201024"/>
                  <a:gd name="connsiteX7" fmla="*/ 188696 w 195016"/>
                  <a:gd name="connsiteY7" fmla="*/ 0 h 201024"/>
                  <a:gd name="connsiteX8" fmla="*/ 193369 w 195016"/>
                  <a:gd name="connsiteY8" fmla="*/ 2128 h 201024"/>
                  <a:gd name="connsiteX9" fmla="*/ 194989 w 195016"/>
                  <a:gd name="connsiteY9" fmla="*/ 7119 h 201024"/>
                  <a:gd name="connsiteX10" fmla="*/ 156147 w 195016"/>
                  <a:gd name="connsiteY10" fmla="*/ 113253 h 201024"/>
                  <a:gd name="connsiteX11" fmla="*/ 186036 w 195016"/>
                  <a:gd name="connsiteY11" fmla="*/ 151459 h 201024"/>
                  <a:gd name="connsiteX12" fmla="*/ 148117 w 195016"/>
                  <a:gd name="connsiteY12" fmla="*/ 190544 h 201024"/>
                  <a:gd name="connsiteX13" fmla="*/ 111110 w 195016"/>
                  <a:gd name="connsiteY13" fmla="*/ 159997 h 201024"/>
                  <a:gd name="connsiteX14" fmla="*/ 6906 w 195016"/>
                  <a:gd name="connsiteY14" fmla="*/ 200998 h 201024"/>
                  <a:gd name="connsiteX15" fmla="*/ 6320 w 195016"/>
                  <a:gd name="connsiteY15" fmla="*/ 201025 h 201024"/>
                  <a:gd name="connsiteX16" fmla="*/ 12640 w 195016"/>
                  <a:gd name="connsiteY16" fmla="*/ 141103 h 201024"/>
                  <a:gd name="connsiteX17" fmla="*/ 12640 w 195016"/>
                  <a:gd name="connsiteY17" fmla="*/ 187234 h 201024"/>
                  <a:gd name="connsiteX18" fmla="*/ 112906 w 195016"/>
                  <a:gd name="connsiteY18" fmla="*/ 141971 h 201024"/>
                  <a:gd name="connsiteX19" fmla="*/ 120018 w 195016"/>
                  <a:gd name="connsiteY19" fmla="*/ 141267 h 201024"/>
                  <a:gd name="connsiteX20" fmla="*/ 123217 w 195016"/>
                  <a:gd name="connsiteY20" fmla="*/ 147856 h 201024"/>
                  <a:gd name="connsiteX21" fmla="*/ 123122 w 195016"/>
                  <a:gd name="connsiteY21" fmla="*/ 148553 h 201024"/>
                  <a:gd name="connsiteX22" fmla="*/ 122838 w 195016"/>
                  <a:gd name="connsiteY22" fmla="*/ 151457 h 201024"/>
                  <a:gd name="connsiteX23" fmla="*/ 148117 w 195016"/>
                  <a:gd name="connsiteY23" fmla="*/ 177514 h 201024"/>
                  <a:gd name="connsiteX24" fmla="*/ 173397 w 195016"/>
                  <a:gd name="connsiteY24" fmla="*/ 151457 h 201024"/>
                  <a:gd name="connsiteX25" fmla="*/ 148117 w 195016"/>
                  <a:gd name="connsiteY25" fmla="*/ 125399 h 201024"/>
                  <a:gd name="connsiteX26" fmla="*/ 144895 w 195016"/>
                  <a:gd name="connsiteY26" fmla="*/ 125740 h 201024"/>
                  <a:gd name="connsiteX27" fmla="*/ 138273 w 195016"/>
                  <a:gd name="connsiteY27" fmla="*/ 122524 h 201024"/>
                  <a:gd name="connsiteX28" fmla="*/ 138693 w 195016"/>
                  <a:gd name="connsiteY28" fmla="*/ 115214 h 201024"/>
                  <a:gd name="connsiteX29" fmla="*/ 181639 w 195016"/>
                  <a:gd name="connsiteY29" fmla="*/ 13028 h 201024"/>
                  <a:gd name="connsiteX30" fmla="*/ 136888 w 195016"/>
                  <a:gd name="connsiteY30" fmla="*/ 13028 h 201024"/>
                  <a:gd name="connsiteX31" fmla="*/ 12640 w 195016"/>
                  <a:gd name="connsiteY31" fmla="*/ 141103 h 201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5016" h="201024">
                    <a:moveTo>
                      <a:pt x="6320" y="201025"/>
                    </a:moveTo>
                    <a:cubicBezTo>
                      <a:pt x="4752" y="201025"/>
                      <a:pt x="3231" y="200424"/>
                      <a:pt x="2064" y="199326"/>
                    </a:cubicBezTo>
                    <a:cubicBezTo>
                      <a:pt x="749" y="198091"/>
                      <a:pt x="0" y="196343"/>
                      <a:pt x="0" y="194511"/>
                    </a:cubicBezTo>
                    <a:lnTo>
                      <a:pt x="0" y="135491"/>
                    </a:lnTo>
                    <a:cubicBezTo>
                      <a:pt x="0" y="132217"/>
                      <a:pt x="2356" y="129453"/>
                      <a:pt x="5503" y="129032"/>
                    </a:cubicBezTo>
                    <a:cubicBezTo>
                      <a:pt x="67839" y="120656"/>
                      <a:pt x="117051" y="69929"/>
                      <a:pt x="125176" y="5672"/>
                    </a:cubicBezTo>
                    <a:cubicBezTo>
                      <a:pt x="125586" y="2428"/>
                      <a:pt x="128267" y="0"/>
                      <a:pt x="131444" y="0"/>
                    </a:cubicBezTo>
                    <a:lnTo>
                      <a:pt x="188696" y="0"/>
                    </a:lnTo>
                    <a:cubicBezTo>
                      <a:pt x="190474" y="0"/>
                      <a:pt x="192171" y="774"/>
                      <a:pt x="193369" y="2128"/>
                    </a:cubicBezTo>
                    <a:cubicBezTo>
                      <a:pt x="194567" y="3479"/>
                      <a:pt x="195156" y="5293"/>
                      <a:pt x="194989" y="7119"/>
                    </a:cubicBezTo>
                    <a:cubicBezTo>
                      <a:pt x="191512" y="45665"/>
                      <a:pt x="178142" y="82101"/>
                      <a:pt x="156147" y="113253"/>
                    </a:cubicBezTo>
                    <a:cubicBezTo>
                      <a:pt x="173212" y="117062"/>
                      <a:pt x="186036" y="132745"/>
                      <a:pt x="186036" y="151459"/>
                    </a:cubicBezTo>
                    <a:cubicBezTo>
                      <a:pt x="186036" y="173013"/>
                      <a:pt x="169029" y="190544"/>
                      <a:pt x="148117" y="190544"/>
                    </a:cubicBezTo>
                    <a:cubicBezTo>
                      <a:pt x="130054" y="190544"/>
                      <a:pt x="114898" y="177456"/>
                      <a:pt x="111110" y="159997"/>
                    </a:cubicBezTo>
                    <a:cubicBezTo>
                      <a:pt x="80608" y="183243"/>
                      <a:pt x="44834" y="197356"/>
                      <a:pt x="6906" y="200998"/>
                    </a:cubicBezTo>
                    <a:cubicBezTo>
                      <a:pt x="6712" y="201013"/>
                      <a:pt x="6514" y="201025"/>
                      <a:pt x="6320" y="201025"/>
                    </a:cubicBezTo>
                    <a:close/>
                    <a:moveTo>
                      <a:pt x="12640" y="141103"/>
                    </a:moveTo>
                    <a:lnTo>
                      <a:pt x="12640" y="187234"/>
                    </a:lnTo>
                    <a:cubicBezTo>
                      <a:pt x="49595" y="182329"/>
                      <a:pt x="84132" y="166763"/>
                      <a:pt x="112906" y="141971"/>
                    </a:cubicBezTo>
                    <a:cubicBezTo>
                      <a:pt x="114910" y="140243"/>
                      <a:pt x="117739" y="139963"/>
                      <a:pt x="120018" y="141267"/>
                    </a:cubicBezTo>
                    <a:cubicBezTo>
                      <a:pt x="122301" y="142571"/>
                      <a:pt x="123574" y="145189"/>
                      <a:pt x="123217" y="147856"/>
                    </a:cubicBezTo>
                    <a:lnTo>
                      <a:pt x="123122" y="148553"/>
                    </a:lnTo>
                    <a:cubicBezTo>
                      <a:pt x="122989" y="149507"/>
                      <a:pt x="122838" y="150464"/>
                      <a:pt x="122838" y="151457"/>
                    </a:cubicBezTo>
                    <a:cubicBezTo>
                      <a:pt x="122838" y="165825"/>
                      <a:pt x="134178" y="177514"/>
                      <a:pt x="148117" y="177514"/>
                    </a:cubicBezTo>
                    <a:cubicBezTo>
                      <a:pt x="162057" y="177514"/>
                      <a:pt x="173397" y="165825"/>
                      <a:pt x="173397" y="151457"/>
                    </a:cubicBezTo>
                    <a:cubicBezTo>
                      <a:pt x="173397" y="137089"/>
                      <a:pt x="162057" y="125399"/>
                      <a:pt x="148117" y="125399"/>
                    </a:cubicBezTo>
                    <a:cubicBezTo>
                      <a:pt x="147016" y="125399"/>
                      <a:pt x="145954" y="125579"/>
                      <a:pt x="144895" y="125740"/>
                    </a:cubicBezTo>
                    <a:cubicBezTo>
                      <a:pt x="142312" y="126141"/>
                      <a:pt x="139555" y="124871"/>
                      <a:pt x="138273" y="122524"/>
                    </a:cubicBezTo>
                    <a:cubicBezTo>
                      <a:pt x="136989" y="120180"/>
                      <a:pt x="137032" y="117294"/>
                      <a:pt x="138693" y="115214"/>
                    </a:cubicBezTo>
                    <a:cubicBezTo>
                      <a:pt x="162178" y="85804"/>
                      <a:pt x="176948" y="50608"/>
                      <a:pt x="181639" y="13028"/>
                    </a:cubicBezTo>
                    <a:lnTo>
                      <a:pt x="136888" y="13028"/>
                    </a:lnTo>
                    <a:cubicBezTo>
                      <a:pt x="126227" y="78559"/>
                      <a:pt x="76212" y="130115"/>
                      <a:pt x="12640" y="141103"/>
                    </a:cubicBezTo>
                    <a:close/>
                  </a:path>
                </a:pathLst>
              </a:custGeom>
              <a:grpFill/>
              <a:ln w="225" cap="flat">
                <a:noFill/>
                <a:prstDash val="solid"/>
                <a:miter/>
              </a:ln>
            </p:spPr>
            <p:txBody>
              <a:bodyPr rtlCol="0" anchor="ctr"/>
              <a:lstStyle/>
              <a:p>
                <a:endParaRPr lang="en-GB" dirty="0"/>
              </a:p>
            </p:txBody>
          </p:sp>
          <p:sp>
            <p:nvSpPr>
              <p:cNvPr id="194" name="Freihandform: Form 196">
                <a:extLst>
                  <a:ext uri="{FF2B5EF4-FFF2-40B4-BE49-F238E27FC236}">
                    <a16:creationId xmlns:a16="http://schemas.microsoft.com/office/drawing/2014/main" id="{2AFDFD5C-84C9-4DFF-BEA1-61EB4378E999}"/>
                  </a:ext>
                </a:extLst>
              </p:cNvPr>
              <p:cNvSpPr/>
              <p:nvPr/>
            </p:nvSpPr>
            <p:spPr>
              <a:xfrm>
                <a:off x="965300" y="1880816"/>
                <a:ext cx="195016" cy="201022"/>
              </a:xfrm>
              <a:custGeom>
                <a:avLst/>
                <a:gdLst>
                  <a:gd name="connsiteX0" fmla="*/ 188699 w 195016"/>
                  <a:gd name="connsiteY0" fmla="*/ 201022 h 201022"/>
                  <a:gd name="connsiteX1" fmla="*/ 188113 w 195016"/>
                  <a:gd name="connsiteY1" fmla="*/ 200993 h 201022"/>
                  <a:gd name="connsiteX2" fmla="*/ 85028 w 195016"/>
                  <a:gd name="connsiteY2" fmla="*/ 160854 h 201022"/>
                  <a:gd name="connsiteX3" fmla="*/ 48217 w 195016"/>
                  <a:gd name="connsiteY3" fmla="*/ 190544 h 201022"/>
                  <a:gd name="connsiteX4" fmla="*/ 10298 w 195016"/>
                  <a:gd name="connsiteY4" fmla="*/ 151459 h 201022"/>
                  <a:gd name="connsiteX5" fmla="*/ 39064 w 195016"/>
                  <a:gd name="connsiteY5" fmla="*/ 113524 h 201022"/>
                  <a:gd name="connsiteX6" fmla="*/ 28 w 195016"/>
                  <a:gd name="connsiteY6" fmla="*/ 7119 h 201022"/>
                  <a:gd name="connsiteX7" fmla="*/ 1648 w 195016"/>
                  <a:gd name="connsiteY7" fmla="*/ 2128 h 201022"/>
                  <a:gd name="connsiteX8" fmla="*/ 6321 w 195016"/>
                  <a:gd name="connsiteY8" fmla="*/ 0 h 201022"/>
                  <a:gd name="connsiteX9" fmla="*/ 63573 w 195016"/>
                  <a:gd name="connsiteY9" fmla="*/ 0 h 201022"/>
                  <a:gd name="connsiteX10" fmla="*/ 69841 w 195016"/>
                  <a:gd name="connsiteY10" fmla="*/ 5672 h 201022"/>
                  <a:gd name="connsiteX11" fmla="*/ 189514 w 195016"/>
                  <a:gd name="connsiteY11" fmla="*/ 129032 h 201022"/>
                  <a:gd name="connsiteX12" fmla="*/ 195017 w 195016"/>
                  <a:gd name="connsiteY12" fmla="*/ 135491 h 201022"/>
                  <a:gd name="connsiteX13" fmla="*/ 195017 w 195016"/>
                  <a:gd name="connsiteY13" fmla="*/ 194509 h 201022"/>
                  <a:gd name="connsiteX14" fmla="*/ 192952 w 195016"/>
                  <a:gd name="connsiteY14" fmla="*/ 199323 h 201022"/>
                  <a:gd name="connsiteX15" fmla="*/ 188699 w 195016"/>
                  <a:gd name="connsiteY15" fmla="*/ 201022 h 201022"/>
                  <a:gd name="connsiteX16" fmla="*/ 79500 w 195016"/>
                  <a:gd name="connsiteY16" fmla="*/ 141701 h 201022"/>
                  <a:gd name="connsiteX17" fmla="*/ 83510 w 195016"/>
                  <a:gd name="connsiteY17" fmla="*/ 143181 h 201022"/>
                  <a:gd name="connsiteX18" fmla="*/ 182382 w 195016"/>
                  <a:gd name="connsiteY18" fmla="*/ 187234 h 201022"/>
                  <a:gd name="connsiteX19" fmla="*/ 182382 w 195016"/>
                  <a:gd name="connsiteY19" fmla="*/ 141105 h 201022"/>
                  <a:gd name="connsiteX20" fmla="*/ 58134 w 195016"/>
                  <a:gd name="connsiteY20" fmla="*/ 13030 h 201022"/>
                  <a:gd name="connsiteX21" fmla="*/ 13383 w 195016"/>
                  <a:gd name="connsiteY21" fmla="*/ 13030 h 201022"/>
                  <a:gd name="connsiteX22" fmla="*/ 56216 w 195016"/>
                  <a:gd name="connsiteY22" fmla="*/ 115077 h 201022"/>
                  <a:gd name="connsiteX23" fmla="*/ 56904 w 195016"/>
                  <a:gd name="connsiteY23" fmla="*/ 122288 h 201022"/>
                  <a:gd name="connsiteX24" fmla="*/ 50699 w 195016"/>
                  <a:gd name="connsiteY24" fmla="*/ 125695 h 201022"/>
                  <a:gd name="connsiteX25" fmla="*/ 49449 w 195016"/>
                  <a:gd name="connsiteY25" fmla="*/ 125537 h 201022"/>
                  <a:gd name="connsiteX26" fmla="*/ 48222 w 195016"/>
                  <a:gd name="connsiteY26" fmla="*/ 125403 h 201022"/>
                  <a:gd name="connsiteX27" fmla="*/ 22943 w 195016"/>
                  <a:gd name="connsiteY27" fmla="*/ 151461 h 201022"/>
                  <a:gd name="connsiteX28" fmla="*/ 48222 w 195016"/>
                  <a:gd name="connsiteY28" fmla="*/ 177519 h 201022"/>
                  <a:gd name="connsiteX29" fmla="*/ 73501 w 195016"/>
                  <a:gd name="connsiteY29" fmla="*/ 151461 h 201022"/>
                  <a:gd name="connsiteX30" fmla="*/ 73372 w 195016"/>
                  <a:gd name="connsiteY30" fmla="*/ 150186 h 201022"/>
                  <a:gd name="connsiteX31" fmla="*/ 73214 w 195016"/>
                  <a:gd name="connsiteY31" fmla="*/ 148864 h 201022"/>
                  <a:gd name="connsiteX32" fmla="*/ 76520 w 195016"/>
                  <a:gd name="connsiteY32" fmla="*/ 142477 h 201022"/>
                  <a:gd name="connsiteX33" fmla="*/ 79500 w 195016"/>
                  <a:gd name="connsiteY33" fmla="*/ 141701 h 201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95016" h="201022">
                    <a:moveTo>
                      <a:pt x="188699" y="201022"/>
                    </a:moveTo>
                    <a:cubicBezTo>
                      <a:pt x="188505" y="201022"/>
                      <a:pt x="188311" y="201013"/>
                      <a:pt x="188113" y="200993"/>
                    </a:cubicBezTo>
                    <a:cubicBezTo>
                      <a:pt x="150681" y="197401"/>
                      <a:pt x="115285" y="183584"/>
                      <a:pt x="85028" y="160854"/>
                    </a:cubicBezTo>
                    <a:cubicBezTo>
                      <a:pt x="80935" y="177884"/>
                      <a:pt x="65983" y="190544"/>
                      <a:pt x="48217" y="190544"/>
                    </a:cubicBezTo>
                    <a:cubicBezTo>
                      <a:pt x="27308" y="190544"/>
                      <a:pt x="10298" y="173011"/>
                      <a:pt x="10298" y="151459"/>
                    </a:cubicBezTo>
                    <a:cubicBezTo>
                      <a:pt x="10298" y="133161"/>
                      <a:pt x="22561" y="117755"/>
                      <a:pt x="39064" y="113524"/>
                    </a:cubicBezTo>
                    <a:cubicBezTo>
                      <a:pt x="16957" y="82309"/>
                      <a:pt x="3518" y="45773"/>
                      <a:pt x="28" y="7119"/>
                    </a:cubicBezTo>
                    <a:cubicBezTo>
                      <a:pt x="-139" y="5293"/>
                      <a:pt x="450" y="3479"/>
                      <a:pt x="1648" y="2128"/>
                    </a:cubicBezTo>
                    <a:cubicBezTo>
                      <a:pt x="2846" y="772"/>
                      <a:pt x="4543" y="0"/>
                      <a:pt x="6321" y="0"/>
                    </a:cubicBezTo>
                    <a:lnTo>
                      <a:pt x="63573" y="0"/>
                    </a:lnTo>
                    <a:cubicBezTo>
                      <a:pt x="66748" y="0"/>
                      <a:pt x="69431" y="2428"/>
                      <a:pt x="69841" y="5672"/>
                    </a:cubicBezTo>
                    <a:cubicBezTo>
                      <a:pt x="77966" y="69929"/>
                      <a:pt x="127178" y="120656"/>
                      <a:pt x="189514" y="129032"/>
                    </a:cubicBezTo>
                    <a:cubicBezTo>
                      <a:pt x="192661" y="129453"/>
                      <a:pt x="195017" y="132220"/>
                      <a:pt x="195017" y="135491"/>
                    </a:cubicBezTo>
                    <a:lnTo>
                      <a:pt x="195017" y="194509"/>
                    </a:lnTo>
                    <a:cubicBezTo>
                      <a:pt x="195017" y="196341"/>
                      <a:pt x="194268" y="198089"/>
                      <a:pt x="192952" y="199323"/>
                    </a:cubicBezTo>
                    <a:cubicBezTo>
                      <a:pt x="191788" y="200422"/>
                      <a:pt x="190268" y="201022"/>
                      <a:pt x="188699" y="201022"/>
                    </a:cubicBezTo>
                    <a:close/>
                    <a:moveTo>
                      <a:pt x="79500" y="141701"/>
                    </a:moveTo>
                    <a:cubicBezTo>
                      <a:pt x="80933" y="141701"/>
                      <a:pt x="82355" y="142204"/>
                      <a:pt x="83510" y="143181"/>
                    </a:cubicBezTo>
                    <a:cubicBezTo>
                      <a:pt x="111991" y="167262"/>
                      <a:pt x="146049" y="182413"/>
                      <a:pt x="182382" y="187234"/>
                    </a:cubicBezTo>
                    <a:lnTo>
                      <a:pt x="182382" y="141105"/>
                    </a:lnTo>
                    <a:cubicBezTo>
                      <a:pt x="118809" y="130115"/>
                      <a:pt x="68794" y="78561"/>
                      <a:pt x="58134" y="13030"/>
                    </a:cubicBezTo>
                    <a:lnTo>
                      <a:pt x="13383" y="13030"/>
                    </a:lnTo>
                    <a:cubicBezTo>
                      <a:pt x="18067" y="50547"/>
                      <a:pt x="32798" y="85695"/>
                      <a:pt x="56216" y="115077"/>
                    </a:cubicBezTo>
                    <a:cubicBezTo>
                      <a:pt x="57843" y="117116"/>
                      <a:pt x="58113" y="119961"/>
                      <a:pt x="56904" y="122288"/>
                    </a:cubicBezTo>
                    <a:cubicBezTo>
                      <a:pt x="55695" y="124616"/>
                      <a:pt x="53231" y="125934"/>
                      <a:pt x="50699" y="125695"/>
                    </a:cubicBezTo>
                    <a:lnTo>
                      <a:pt x="49449" y="125537"/>
                    </a:lnTo>
                    <a:cubicBezTo>
                      <a:pt x="49041" y="125480"/>
                      <a:pt x="48641" y="125403"/>
                      <a:pt x="48222" y="125403"/>
                    </a:cubicBezTo>
                    <a:cubicBezTo>
                      <a:pt x="34283" y="125403"/>
                      <a:pt x="22943" y="137093"/>
                      <a:pt x="22943" y="151461"/>
                    </a:cubicBezTo>
                    <a:cubicBezTo>
                      <a:pt x="22943" y="165829"/>
                      <a:pt x="34283" y="177519"/>
                      <a:pt x="48222" y="177519"/>
                    </a:cubicBezTo>
                    <a:cubicBezTo>
                      <a:pt x="62161" y="177519"/>
                      <a:pt x="73501" y="165829"/>
                      <a:pt x="73501" y="151461"/>
                    </a:cubicBezTo>
                    <a:cubicBezTo>
                      <a:pt x="73501" y="151026"/>
                      <a:pt x="73427" y="150606"/>
                      <a:pt x="73372" y="150186"/>
                    </a:cubicBezTo>
                    <a:lnTo>
                      <a:pt x="73214" y="148864"/>
                    </a:lnTo>
                    <a:cubicBezTo>
                      <a:pt x="72962" y="146242"/>
                      <a:pt x="74266" y="143720"/>
                      <a:pt x="76520" y="142477"/>
                    </a:cubicBezTo>
                    <a:cubicBezTo>
                      <a:pt x="77454" y="141955"/>
                      <a:pt x="78478" y="141701"/>
                      <a:pt x="79500" y="141701"/>
                    </a:cubicBezTo>
                    <a:close/>
                  </a:path>
                </a:pathLst>
              </a:custGeom>
              <a:grpFill/>
              <a:ln w="225" cap="flat">
                <a:noFill/>
                <a:prstDash val="solid"/>
                <a:miter/>
              </a:ln>
            </p:spPr>
            <p:txBody>
              <a:bodyPr rtlCol="0" anchor="ctr"/>
              <a:lstStyle/>
              <a:p>
                <a:endParaRPr lang="en-GB" dirty="0"/>
              </a:p>
            </p:txBody>
          </p:sp>
        </p:grpSp>
      </p:grpSp>
      <p:grpSp>
        <p:nvGrpSpPr>
          <p:cNvPr id="554" name="Group 553">
            <a:extLst>
              <a:ext uri="{FF2B5EF4-FFF2-40B4-BE49-F238E27FC236}">
                <a16:creationId xmlns:a16="http://schemas.microsoft.com/office/drawing/2014/main" id="{06C7AB8D-241E-A514-4B19-909DA687EFD4}"/>
              </a:ext>
            </a:extLst>
          </p:cNvPr>
          <p:cNvGrpSpPr/>
          <p:nvPr/>
        </p:nvGrpSpPr>
        <p:grpSpPr>
          <a:xfrm>
            <a:off x="1619657" y="3212058"/>
            <a:ext cx="439654" cy="432000"/>
            <a:chOff x="1619657" y="3212058"/>
            <a:chExt cx="439654" cy="432000"/>
          </a:xfrm>
        </p:grpSpPr>
        <p:grpSp>
          <p:nvGrpSpPr>
            <p:cNvPr id="207" name="Gruppieren 9">
              <a:extLst>
                <a:ext uri="{FF2B5EF4-FFF2-40B4-BE49-F238E27FC236}">
                  <a16:creationId xmlns:a16="http://schemas.microsoft.com/office/drawing/2014/main" id="{D1B54A23-973C-4D2F-9BFF-40E06239BDA4}"/>
                </a:ext>
              </a:extLst>
            </p:cNvPr>
            <p:cNvGrpSpPr/>
            <p:nvPr/>
          </p:nvGrpSpPr>
          <p:grpSpPr>
            <a:xfrm>
              <a:off x="1645297" y="3319052"/>
              <a:ext cx="414014" cy="325006"/>
              <a:chOff x="1769116" y="1741361"/>
              <a:chExt cx="442292" cy="347204"/>
            </a:xfrm>
            <a:solidFill>
              <a:schemeClr val="tx2"/>
            </a:solidFill>
          </p:grpSpPr>
          <p:grpSp>
            <p:nvGrpSpPr>
              <p:cNvPr id="213" name="Graphic 8">
                <a:extLst>
                  <a:ext uri="{FF2B5EF4-FFF2-40B4-BE49-F238E27FC236}">
                    <a16:creationId xmlns:a16="http://schemas.microsoft.com/office/drawing/2014/main" id="{D2CA19C0-1F8B-44DE-9BAE-BC0E1E71049E}"/>
                  </a:ext>
                </a:extLst>
              </p:cNvPr>
              <p:cNvGrpSpPr/>
              <p:nvPr/>
            </p:nvGrpSpPr>
            <p:grpSpPr>
              <a:xfrm>
                <a:off x="1990375" y="1848223"/>
                <a:ext cx="221033" cy="240342"/>
                <a:chOff x="1990375" y="1848223"/>
                <a:chExt cx="221033" cy="240342"/>
              </a:xfrm>
              <a:grpFill/>
            </p:grpSpPr>
            <p:sp>
              <p:nvSpPr>
                <p:cNvPr id="217" name="Freihandform: Form 495">
                  <a:extLst>
                    <a:ext uri="{FF2B5EF4-FFF2-40B4-BE49-F238E27FC236}">
                      <a16:creationId xmlns:a16="http://schemas.microsoft.com/office/drawing/2014/main" id="{6B981C1B-0DC4-4797-99BC-961CC98B0FE5}"/>
                    </a:ext>
                  </a:extLst>
                </p:cNvPr>
                <p:cNvSpPr/>
                <p:nvPr/>
              </p:nvSpPr>
              <p:spPr>
                <a:xfrm>
                  <a:off x="2034658" y="2016021"/>
                  <a:ext cx="104450" cy="72545"/>
                </a:xfrm>
                <a:custGeom>
                  <a:avLst/>
                  <a:gdLst>
                    <a:gd name="connsiteX0" fmla="*/ 98125 w 104450"/>
                    <a:gd name="connsiteY0" fmla="*/ 72545 h 72545"/>
                    <a:gd name="connsiteX1" fmla="*/ 94278 w 104450"/>
                    <a:gd name="connsiteY1" fmla="*/ 71196 h 72545"/>
                    <a:gd name="connsiteX2" fmla="*/ 61032 w 104450"/>
                    <a:gd name="connsiteY2" fmla="*/ 44872 h 72545"/>
                    <a:gd name="connsiteX3" fmla="*/ 32133 w 104450"/>
                    <a:gd name="connsiteY3" fmla="*/ 35046 h 72545"/>
                    <a:gd name="connsiteX4" fmla="*/ 30222 w 104450"/>
                    <a:gd name="connsiteY4" fmla="*/ 33997 h 72545"/>
                    <a:gd name="connsiteX5" fmla="*/ 2432 w 104450"/>
                    <a:gd name="connsiteY5" fmla="*/ 11646 h 72545"/>
                    <a:gd name="connsiteX6" fmla="*/ 1337 w 104450"/>
                    <a:gd name="connsiteY6" fmla="*/ 2502 h 72545"/>
                    <a:gd name="connsiteX7" fmla="*/ 10209 w 104450"/>
                    <a:gd name="connsiteY7" fmla="*/ 1374 h 72545"/>
                    <a:gd name="connsiteX8" fmla="*/ 37133 w 104450"/>
                    <a:gd name="connsiteY8" fmla="*/ 23032 h 72545"/>
                    <a:gd name="connsiteX9" fmla="*/ 66009 w 104450"/>
                    <a:gd name="connsiteY9" fmla="*/ 32849 h 72545"/>
                    <a:gd name="connsiteX10" fmla="*/ 67882 w 104450"/>
                    <a:gd name="connsiteY10" fmla="*/ 33871 h 72545"/>
                    <a:gd name="connsiteX11" fmla="*/ 101981 w 104450"/>
                    <a:gd name="connsiteY11" fmla="*/ 60869 h 72545"/>
                    <a:gd name="connsiteX12" fmla="*/ 103140 w 104450"/>
                    <a:gd name="connsiteY12" fmla="*/ 70005 h 72545"/>
                    <a:gd name="connsiteX13" fmla="*/ 98125 w 104450"/>
                    <a:gd name="connsiteY13" fmla="*/ 72545 h 72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450" h="72545">
                      <a:moveTo>
                        <a:pt x="98125" y="72545"/>
                      </a:moveTo>
                      <a:cubicBezTo>
                        <a:pt x="96780" y="72545"/>
                        <a:pt x="95424" y="72105"/>
                        <a:pt x="94278" y="71196"/>
                      </a:cubicBezTo>
                      <a:lnTo>
                        <a:pt x="61032" y="44872"/>
                      </a:lnTo>
                      <a:lnTo>
                        <a:pt x="32133" y="35046"/>
                      </a:lnTo>
                      <a:cubicBezTo>
                        <a:pt x="31443" y="34812"/>
                        <a:pt x="30797" y="34455"/>
                        <a:pt x="30222" y="33997"/>
                      </a:cubicBezTo>
                      <a:lnTo>
                        <a:pt x="2432" y="11646"/>
                      </a:lnTo>
                      <a:cubicBezTo>
                        <a:pt x="-321" y="9433"/>
                        <a:pt x="-808" y="5338"/>
                        <a:pt x="1337" y="2502"/>
                      </a:cubicBezTo>
                      <a:cubicBezTo>
                        <a:pt x="3488" y="-330"/>
                        <a:pt x="7465" y="-831"/>
                        <a:pt x="10209" y="1374"/>
                      </a:cubicBezTo>
                      <a:lnTo>
                        <a:pt x="37133" y="23032"/>
                      </a:lnTo>
                      <a:lnTo>
                        <a:pt x="66009" y="32849"/>
                      </a:lnTo>
                      <a:cubicBezTo>
                        <a:pt x="66684" y="33079"/>
                        <a:pt x="67318" y="33424"/>
                        <a:pt x="67882" y="33871"/>
                      </a:cubicBezTo>
                      <a:lnTo>
                        <a:pt x="101981" y="60869"/>
                      </a:lnTo>
                      <a:cubicBezTo>
                        <a:pt x="104749" y="63060"/>
                        <a:pt x="105268" y="67151"/>
                        <a:pt x="103140" y="70005"/>
                      </a:cubicBezTo>
                      <a:cubicBezTo>
                        <a:pt x="101895" y="71670"/>
                        <a:pt x="100018" y="72545"/>
                        <a:pt x="98125" y="72545"/>
                      </a:cubicBezTo>
                      <a:close/>
                    </a:path>
                  </a:pathLst>
                </a:custGeom>
                <a:grpFill/>
                <a:ln w="225" cap="flat">
                  <a:noFill/>
                  <a:prstDash val="solid"/>
                  <a:miter/>
                </a:ln>
              </p:spPr>
              <p:txBody>
                <a:bodyPr rtlCol="0" anchor="ctr"/>
                <a:lstStyle/>
                <a:p>
                  <a:endParaRPr lang="en-GB" dirty="0"/>
                </a:p>
              </p:txBody>
            </p:sp>
            <p:sp>
              <p:nvSpPr>
                <p:cNvPr id="218" name="Freihandform: Form 496">
                  <a:extLst>
                    <a:ext uri="{FF2B5EF4-FFF2-40B4-BE49-F238E27FC236}">
                      <a16:creationId xmlns:a16="http://schemas.microsoft.com/office/drawing/2014/main" id="{9016451A-A899-41BC-8811-6ED5F0714FCA}"/>
                    </a:ext>
                  </a:extLst>
                </p:cNvPr>
                <p:cNvSpPr/>
                <p:nvPr/>
              </p:nvSpPr>
              <p:spPr>
                <a:xfrm>
                  <a:off x="2038239" y="1864613"/>
                  <a:ext cx="173169" cy="132793"/>
                </a:xfrm>
                <a:custGeom>
                  <a:avLst/>
                  <a:gdLst>
                    <a:gd name="connsiteX0" fmla="*/ 166848 w 173169"/>
                    <a:gd name="connsiteY0" fmla="*/ 132794 h 132793"/>
                    <a:gd name="connsiteX1" fmla="*/ 162922 w 173169"/>
                    <a:gd name="connsiteY1" fmla="*/ 131381 h 132793"/>
                    <a:gd name="connsiteX2" fmla="*/ 129367 w 173169"/>
                    <a:gd name="connsiteY2" fmla="*/ 103925 h 132793"/>
                    <a:gd name="connsiteX3" fmla="*/ 127359 w 173169"/>
                    <a:gd name="connsiteY3" fmla="*/ 101059 h 132793"/>
                    <a:gd name="connsiteX4" fmla="*/ 116743 w 173169"/>
                    <a:gd name="connsiteY4" fmla="*/ 71105 h 132793"/>
                    <a:gd name="connsiteX5" fmla="*/ 116477 w 173169"/>
                    <a:gd name="connsiteY5" fmla="*/ 70112 h 132793"/>
                    <a:gd name="connsiteX6" fmla="*/ 102973 w 173169"/>
                    <a:gd name="connsiteY6" fmla="*/ 42150 h 132793"/>
                    <a:gd name="connsiteX7" fmla="*/ 79285 w 173169"/>
                    <a:gd name="connsiteY7" fmla="*/ 14937 h 132793"/>
                    <a:gd name="connsiteX8" fmla="*/ 57133 w 173169"/>
                    <a:gd name="connsiteY8" fmla="*/ 20176 h 132793"/>
                    <a:gd name="connsiteX9" fmla="*/ 13018 w 173169"/>
                    <a:gd name="connsiteY9" fmla="*/ 79286 h 132793"/>
                    <a:gd name="connsiteX10" fmla="*/ 15292 w 173169"/>
                    <a:gd name="connsiteY10" fmla="*/ 80778 h 132793"/>
                    <a:gd name="connsiteX11" fmla="*/ 41889 w 173169"/>
                    <a:gd name="connsiteY11" fmla="*/ 76436 h 132793"/>
                    <a:gd name="connsiteX12" fmla="*/ 61420 w 173169"/>
                    <a:gd name="connsiteY12" fmla="*/ 56098 h 132793"/>
                    <a:gd name="connsiteX13" fmla="*/ 70357 w 173169"/>
                    <a:gd name="connsiteY13" fmla="*/ 56060 h 132793"/>
                    <a:gd name="connsiteX14" fmla="*/ 70393 w 173169"/>
                    <a:gd name="connsiteY14" fmla="*/ 65272 h 132793"/>
                    <a:gd name="connsiteX15" fmla="*/ 51251 w 173169"/>
                    <a:gd name="connsiteY15" fmla="*/ 85168 h 132793"/>
                    <a:gd name="connsiteX16" fmla="*/ 8510 w 173169"/>
                    <a:gd name="connsiteY16" fmla="*/ 91772 h 132793"/>
                    <a:gd name="connsiteX17" fmla="*/ 5473 w 173169"/>
                    <a:gd name="connsiteY17" fmla="*/ 89780 h 132793"/>
                    <a:gd name="connsiteX18" fmla="*/ 178 w 173169"/>
                    <a:gd name="connsiteY18" fmla="*/ 81615 h 132793"/>
                    <a:gd name="connsiteX19" fmla="*/ 2454 w 173169"/>
                    <a:gd name="connsiteY19" fmla="*/ 72073 h 132793"/>
                    <a:gd name="connsiteX20" fmla="*/ 47117 w 173169"/>
                    <a:gd name="connsiteY20" fmla="*/ 12232 h 132793"/>
                    <a:gd name="connsiteX21" fmla="*/ 86372 w 173169"/>
                    <a:gd name="connsiteY21" fmla="*/ 4076 h 132793"/>
                    <a:gd name="connsiteX22" fmla="*/ 87951 w 173169"/>
                    <a:gd name="connsiteY22" fmla="*/ 5387 h 132793"/>
                    <a:gd name="connsiteX23" fmla="*/ 112382 w 173169"/>
                    <a:gd name="connsiteY23" fmla="*/ 33448 h 132793"/>
                    <a:gd name="connsiteX24" fmla="*/ 128785 w 173169"/>
                    <a:gd name="connsiteY24" fmla="*/ 67107 h 132793"/>
                    <a:gd name="connsiteX25" fmla="*/ 138622 w 173169"/>
                    <a:gd name="connsiteY25" fmla="*/ 94863 h 132793"/>
                    <a:gd name="connsiteX26" fmla="*/ 170779 w 173169"/>
                    <a:gd name="connsiteY26" fmla="*/ 121178 h 132793"/>
                    <a:gd name="connsiteX27" fmla="*/ 171801 w 173169"/>
                    <a:gd name="connsiteY27" fmla="*/ 130330 h 132793"/>
                    <a:gd name="connsiteX28" fmla="*/ 166848 w 173169"/>
                    <a:gd name="connsiteY28" fmla="*/ 132794 h 13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3169" h="132793">
                      <a:moveTo>
                        <a:pt x="166848" y="132794"/>
                      </a:moveTo>
                      <a:cubicBezTo>
                        <a:pt x="165470" y="132794"/>
                        <a:pt x="164084" y="132333"/>
                        <a:pt x="162922" y="131381"/>
                      </a:cubicBezTo>
                      <a:lnTo>
                        <a:pt x="129367" y="103925"/>
                      </a:lnTo>
                      <a:cubicBezTo>
                        <a:pt x="128453" y="103178"/>
                        <a:pt x="127758" y="102185"/>
                        <a:pt x="127359" y="101059"/>
                      </a:cubicBezTo>
                      <a:lnTo>
                        <a:pt x="116743" y="71105"/>
                      </a:lnTo>
                      <a:cubicBezTo>
                        <a:pt x="116628" y="70780"/>
                        <a:pt x="116540" y="70451"/>
                        <a:pt x="116477" y="70112"/>
                      </a:cubicBezTo>
                      <a:cubicBezTo>
                        <a:pt x="114514" y="59708"/>
                        <a:pt x="109846" y="50040"/>
                        <a:pt x="102973" y="42150"/>
                      </a:cubicBezTo>
                      <a:lnTo>
                        <a:pt x="79285" y="14937"/>
                      </a:lnTo>
                      <a:cubicBezTo>
                        <a:pt x="71708" y="11043"/>
                        <a:pt x="62340" y="13193"/>
                        <a:pt x="57133" y="20176"/>
                      </a:cubicBezTo>
                      <a:lnTo>
                        <a:pt x="13018" y="79286"/>
                      </a:lnTo>
                      <a:lnTo>
                        <a:pt x="15292" y="80778"/>
                      </a:lnTo>
                      <a:cubicBezTo>
                        <a:pt x="23936" y="86445"/>
                        <a:pt x="35369" y="84575"/>
                        <a:pt x="41889" y="76436"/>
                      </a:cubicBezTo>
                      <a:lnTo>
                        <a:pt x="61420" y="56098"/>
                      </a:lnTo>
                      <a:cubicBezTo>
                        <a:pt x="63872" y="53538"/>
                        <a:pt x="67875" y="53524"/>
                        <a:pt x="70357" y="56060"/>
                      </a:cubicBezTo>
                      <a:cubicBezTo>
                        <a:pt x="72834" y="58592"/>
                        <a:pt x="72852" y="62718"/>
                        <a:pt x="70393" y="65272"/>
                      </a:cubicBezTo>
                      <a:lnTo>
                        <a:pt x="51251" y="85168"/>
                      </a:lnTo>
                      <a:cubicBezTo>
                        <a:pt x="41063" y="97930"/>
                        <a:pt x="22522" y="100960"/>
                        <a:pt x="8510" y="91772"/>
                      </a:cubicBezTo>
                      <a:lnTo>
                        <a:pt x="5473" y="89780"/>
                      </a:lnTo>
                      <a:cubicBezTo>
                        <a:pt x="2680" y="87950"/>
                        <a:pt x="753" y="84974"/>
                        <a:pt x="178" y="81615"/>
                      </a:cubicBezTo>
                      <a:cubicBezTo>
                        <a:pt x="-395" y="78253"/>
                        <a:pt x="433" y="74774"/>
                        <a:pt x="2454" y="72073"/>
                      </a:cubicBezTo>
                      <a:lnTo>
                        <a:pt x="47117" y="12232"/>
                      </a:lnTo>
                      <a:cubicBezTo>
                        <a:pt x="56341" y="-126"/>
                        <a:pt x="73220" y="-3634"/>
                        <a:pt x="86372" y="4076"/>
                      </a:cubicBezTo>
                      <a:cubicBezTo>
                        <a:pt x="86965" y="4423"/>
                        <a:pt x="87498" y="4865"/>
                        <a:pt x="87951" y="5387"/>
                      </a:cubicBezTo>
                      <a:lnTo>
                        <a:pt x="112382" y="33448"/>
                      </a:lnTo>
                      <a:cubicBezTo>
                        <a:pt x="120667" y="42958"/>
                        <a:pt x="126332" y="54587"/>
                        <a:pt x="128785" y="67107"/>
                      </a:cubicBezTo>
                      <a:lnTo>
                        <a:pt x="138622" y="94863"/>
                      </a:lnTo>
                      <a:lnTo>
                        <a:pt x="170779" y="121178"/>
                      </a:lnTo>
                      <a:cubicBezTo>
                        <a:pt x="173513" y="123414"/>
                        <a:pt x="173969" y="127512"/>
                        <a:pt x="171801" y="130330"/>
                      </a:cubicBezTo>
                      <a:cubicBezTo>
                        <a:pt x="170555" y="131952"/>
                        <a:pt x="168710" y="132794"/>
                        <a:pt x="166848" y="132794"/>
                      </a:cubicBezTo>
                      <a:close/>
                    </a:path>
                  </a:pathLst>
                </a:custGeom>
                <a:grpFill/>
                <a:ln w="225" cap="flat">
                  <a:noFill/>
                  <a:prstDash val="solid"/>
                  <a:miter/>
                </a:ln>
              </p:spPr>
              <p:txBody>
                <a:bodyPr rtlCol="0" anchor="ctr"/>
                <a:lstStyle/>
                <a:p>
                  <a:endParaRPr lang="en-GB" dirty="0"/>
                </a:p>
              </p:txBody>
            </p:sp>
            <p:sp>
              <p:nvSpPr>
                <p:cNvPr id="219" name="Freihandform: Form 497">
                  <a:extLst>
                    <a:ext uri="{FF2B5EF4-FFF2-40B4-BE49-F238E27FC236}">
                      <a16:creationId xmlns:a16="http://schemas.microsoft.com/office/drawing/2014/main" id="{9652335D-8C24-436C-A6D8-8FED917F30AC}"/>
                    </a:ext>
                  </a:extLst>
                </p:cNvPr>
                <p:cNvSpPr/>
                <p:nvPr/>
              </p:nvSpPr>
              <p:spPr>
                <a:xfrm>
                  <a:off x="1990375" y="1956164"/>
                  <a:ext cx="75187" cy="72254"/>
                </a:xfrm>
                <a:custGeom>
                  <a:avLst/>
                  <a:gdLst>
                    <a:gd name="connsiteX0" fmla="*/ 50293 w 75187"/>
                    <a:gd name="connsiteY0" fmla="*/ 72255 h 72254"/>
                    <a:gd name="connsiteX1" fmla="*/ 39339 w 75187"/>
                    <a:gd name="connsiteY1" fmla="*/ 68358 h 72254"/>
                    <a:gd name="connsiteX2" fmla="*/ 6821 w 75187"/>
                    <a:gd name="connsiteY2" fmla="*/ 42095 h 72254"/>
                    <a:gd name="connsiteX3" fmla="*/ 132 w 75187"/>
                    <a:gd name="connsiteY3" fmla="*/ 29864 h 72254"/>
                    <a:gd name="connsiteX4" fmla="*/ 3791 w 75187"/>
                    <a:gd name="connsiteY4" fmla="*/ 16340 h 72254"/>
                    <a:gd name="connsiteX5" fmla="*/ 10869 w 75187"/>
                    <a:gd name="connsiteY5" fmla="*/ 7033 h 72254"/>
                    <a:gd name="connsiteX6" fmla="*/ 22730 w 75187"/>
                    <a:gd name="connsiteY6" fmla="*/ 133 h 72254"/>
                    <a:gd name="connsiteX7" fmla="*/ 35851 w 75187"/>
                    <a:gd name="connsiteY7" fmla="*/ 3905 h 72254"/>
                    <a:gd name="connsiteX8" fmla="*/ 68366 w 75187"/>
                    <a:gd name="connsiteY8" fmla="*/ 30168 h 72254"/>
                    <a:gd name="connsiteX9" fmla="*/ 75055 w 75187"/>
                    <a:gd name="connsiteY9" fmla="*/ 42400 h 72254"/>
                    <a:gd name="connsiteX10" fmla="*/ 71396 w 75187"/>
                    <a:gd name="connsiteY10" fmla="*/ 55922 h 72254"/>
                    <a:gd name="connsiteX11" fmla="*/ 64320 w 75187"/>
                    <a:gd name="connsiteY11" fmla="*/ 65231 h 72254"/>
                    <a:gd name="connsiteX12" fmla="*/ 50293 w 75187"/>
                    <a:gd name="connsiteY12" fmla="*/ 72255 h 72254"/>
                    <a:gd name="connsiteX13" fmla="*/ 24885 w 75187"/>
                    <a:gd name="connsiteY13" fmla="*/ 13030 h 72254"/>
                    <a:gd name="connsiteX14" fmla="*/ 24256 w 75187"/>
                    <a:gd name="connsiteY14" fmla="*/ 13070 h 72254"/>
                    <a:gd name="connsiteX15" fmla="*/ 20821 w 75187"/>
                    <a:gd name="connsiteY15" fmla="*/ 15067 h 72254"/>
                    <a:gd name="connsiteX16" fmla="*/ 13739 w 75187"/>
                    <a:gd name="connsiteY16" fmla="*/ 24377 h 72254"/>
                    <a:gd name="connsiteX17" fmla="*/ 12679 w 75187"/>
                    <a:gd name="connsiteY17" fmla="*/ 28296 h 72254"/>
                    <a:gd name="connsiteX18" fmla="*/ 14619 w 75187"/>
                    <a:gd name="connsiteY18" fmla="*/ 31838 h 72254"/>
                    <a:gd name="connsiteX19" fmla="*/ 47134 w 75187"/>
                    <a:gd name="connsiteY19" fmla="*/ 58103 h 72254"/>
                    <a:gd name="connsiteX20" fmla="*/ 54372 w 75187"/>
                    <a:gd name="connsiteY20" fmla="*/ 57196 h 72254"/>
                    <a:gd name="connsiteX21" fmla="*/ 61448 w 75187"/>
                    <a:gd name="connsiteY21" fmla="*/ 47887 h 72254"/>
                    <a:gd name="connsiteX22" fmla="*/ 61448 w 75187"/>
                    <a:gd name="connsiteY22" fmla="*/ 47885 h 72254"/>
                    <a:gd name="connsiteX23" fmla="*/ 62508 w 75187"/>
                    <a:gd name="connsiteY23" fmla="*/ 43970 h 72254"/>
                    <a:gd name="connsiteX24" fmla="*/ 60568 w 75187"/>
                    <a:gd name="connsiteY24" fmla="*/ 40425 h 72254"/>
                    <a:gd name="connsiteX25" fmla="*/ 28053 w 75187"/>
                    <a:gd name="connsiteY25" fmla="*/ 14162 h 72254"/>
                    <a:gd name="connsiteX26" fmla="*/ 24885 w 75187"/>
                    <a:gd name="connsiteY26" fmla="*/ 13030 h 7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5187" h="72254">
                      <a:moveTo>
                        <a:pt x="50293" y="72255"/>
                      </a:moveTo>
                      <a:cubicBezTo>
                        <a:pt x="46455" y="72255"/>
                        <a:pt x="42588" y="70982"/>
                        <a:pt x="39339" y="68358"/>
                      </a:cubicBezTo>
                      <a:lnTo>
                        <a:pt x="6821" y="42095"/>
                      </a:lnTo>
                      <a:cubicBezTo>
                        <a:pt x="3078" y="39069"/>
                        <a:pt x="705" y="34728"/>
                        <a:pt x="132" y="29864"/>
                      </a:cubicBezTo>
                      <a:cubicBezTo>
                        <a:pt x="-439" y="24997"/>
                        <a:pt x="860" y="20198"/>
                        <a:pt x="3791" y="16340"/>
                      </a:cubicBezTo>
                      <a:lnTo>
                        <a:pt x="10869" y="7033"/>
                      </a:lnTo>
                      <a:cubicBezTo>
                        <a:pt x="13798" y="3177"/>
                        <a:pt x="18010" y="724"/>
                        <a:pt x="22730" y="133"/>
                      </a:cubicBezTo>
                      <a:cubicBezTo>
                        <a:pt x="27412" y="-447"/>
                        <a:pt x="32105" y="880"/>
                        <a:pt x="35851" y="3905"/>
                      </a:cubicBezTo>
                      <a:lnTo>
                        <a:pt x="68366" y="30168"/>
                      </a:lnTo>
                      <a:cubicBezTo>
                        <a:pt x="72109" y="33194"/>
                        <a:pt x="74482" y="37535"/>
                        <a:pt x="75055" y="42400"/>
                      </a:cubicBezTo>
                      <a:cubicBezTo>
                        <a:pt x="75626" y="47264"/>
                        <a:pt x="74327" y="52066"/>
                        <a:pt x="71396" y="55922"/>
                      </a:cubicBezTo>
                      <a:lnTo>
                        <a:pt x="64320" y="65231"/>
                      </a:lnTo>
                      <a:cubicBezTo>
                        <a:pt x="60816" y="69845"/>
                        <a:pt x="55579" y="72255"/>
                        <a:pt x="50293" y="72255"/>
                      </a:cubicBezTo>
                      <a:close/>
                      <a:moveTo>
                        <a:pt x="24885" y="13030"/>
                      </a:moveTo>
                      <a:cubicBezTo>
                        <a:pt x="24675" y="13030"/>
                        <a:pt x="24465" y="13043"/>
                        <a:pt x="24256" y="13070"/>
                      </a:cubicBezTo>
                      <a:cubicBezTo>
                        <a:pt x="22888" y="13240"/>
                        <a:pt x="21668" y="13948"/>
                        <a:pt x="20821" y="15067"/>
                      </a:cubicBezTo>
                      <a:lnTo>
                        <a:pt x="13739" y="24377"/>
                      </a:lnTo>
                      <a:cubicBezTo>
                        <a:pt x="12891" y="25493"/>
                        <a:pt x="12514" y="26886"/>
                        <a:pt x="12679" y="28296"/>
                      </a:cubicBezTo>
                      <a:cubicBezTo>
                        <a:pt x="12846" y="29704"/>
                        <a:pt x="13534" y="30965"/>
                        <a:pt x="14619" y="31838"/>
                      </a:cubicBezTo>
                      <a:lnTo>
                        <a:pt x="47134" y="58103"/>
                      </a:lnTo>
                      <a:cubicBezTo>
                        <a:pt x="49366" y="59906"/>
                        <a:pt x="52617" y="59507"/>
                        <a:pt x="54372" y="57196"/>
                      </a:cubicBezTo>
                      <a:lnTo>
                        <a:pt x="61448" y="47887"/>
                      </a:lnTo>
                      <a:cubicBezTo>
                        <a:pt x="61448" y="47887"/>
                        <a:pt x="61448" y="47887"/>
                        <a:pt x="61448" y="47885"/>
                      </a:cubicBezTo>
                      <a:cubicBezTo>
                        <a:pt x="62296" y="46772"/>
                        <a:pt x="62673" y="45378"/>
                        <a:pt x="62508" y="43970"/>
                      </a:cubicBezTo>
                      <a:cubicBezTo>
                        <a:pt x="62341" y="42560"/>
                        <a:pt x="61653" y="41301"/>
                        <a:pt x="60568" y="40425"/>
                      </a:cubicBezTo>
                      <a:lnTo>
                        <a:pt x="28053" y="14162"/>
                      </a:lnTo>
                      <a:cubicBezTo>
                        <a:pt x="27137" y="13420"/>
                        <a:pt x="26033" y="13030"/>
                        <a:pt x="24885" y="13030"/>
                      </a:cubicBezTo>
                      <a:close/>
                    </a:path>
                  </a:pathLst>
                </a:custGeom>
                <a:grpFill/>
                <a:ln w="225" cap="flat">
                  <a:noFill/>
                  <a:prstDash val="solid"/>
                  <a:miter/>
                </a:ln>
              </p:spPr>
              <p:txBody>
                <a:bodyPr rtlCol="0" anchor="ctr"/>
                <a:lstStyle/>
                <a:p>
                  <a:endParaRPr lang="en-GB" dirty="0"/>
                </a:p>
              </p:txBody>
            </p:sp>
            <p:sp>
              <p:nvSpPr>
                <p:cNvPr id="220" name="Freihandform: Form 498">
                  <a:extLst>
                    <a:ext uri="{FF2B5EF4-FFF2-40B4-BE49-F238E27FC236}">
                      <a16:creationId xmlns:a16="http://schemas.microsoft.com/office/drawing/2014/main" id="{D6D94407-7C9F-4341-AAF8-1C4EB2AAE508}"/>
                    </a:ext>
                  </a:extLst>
                </p:cNvPr>
                <p:cNvSpPr/>
                <p:nvPr/>
              </p:nvSpPr>
              <p:spPr>
                <a:xfrm>
                  <a:off x="2001122" y="1915826"/>
                  <a:ext cx="83423" cy="80362"/>
                </a:xfrm>
                <a:custGeom>
                  <a:avLst/>
                  <a:gdLst>
                    <a:gd name="connsiteX0" fmla="*/ 55704 w 83423"/>
                    <a:gd name="connsiteY0" fmla="*/ 80362 h 80362"/>
                    <a:gd name="connsiteX1" fmla="*/ 44749 w 83423"/>
                    <a:gd name="connsiteY1" fmla="*/ 76466 h 80362"/>
                    <a:gd name="connsiteX2" fmla="*/ 6812 w 83423"/>
                    <a:gd name="connsiteY2" fmla="*/ 45821 h 80362"/>
                    <a:gd name="connsiteX3" fmla="*/ 3780 w 83423"/>
                    <a:gd name="connsiteY3" fmla="*/ 20072 h 80362"/>
                    <a:gd name="connsiteX4" fmla="*/ 13690 w 83423"/>
                    <a:gd name="connsiteY4" fmla="*/ 7038 h 80362"/>
                    <a:gd name="connsiteX5" fmla="*/ 25555 w 83423"/>
                    <a:gd name="connsiteY5" fmla="*/ 138 h 80362"/>
                    <a:gd name="connsiteX6" fmla="*/ 38676 w 83423"/>
                    <a:gd name="connsiteY6" fmla="*/ 3911 h 80362"/>
                    <a:gd name="connsiteX7" fmla="*/ 51281 w 83423"/>
                    <a:gd name="connsiteY7" fmla="*/ 13692 h 80362"/>
                    <a:gd name="connsiteX8" fmla="*/ 52531 w 83423"/>
                    <a:gd name="connsiteY8" fmla="*/ 22811 h 80362"/>
                    <a:gd name="connsiteX9" fmla="*/ 43684 w 83423"/>
                    <a:gd name="connsiteY9" fmla="*/ 24100 h 80362"/>
                    <a:gd name="connsiteX10" fmla="*/ 30977 w 83423"/>
                    <a:gd name="connsiteY10" fmla="*/ 14242 h 80362"/>
                    <a:gd name="connsiteX11" fmla="*/ 27081 w 83423"/>
                    <a:gd name="connsiteY11" fmla="*/ 13076 h 80362"/>
                    <a:gd name="connsiteX12" fmla="*/ 23640 w 83423"/>
                    <a:gd name="connsiteY12" fmla="*/ 15072 h 80362"/>
                    <a:gd name="connsiteX13" fmla="*/ 13730 w 83423"/>
                    <a:gd name="connsiteY13" fmla="*/ 28107 h 80362"/>
                    <a:gd name="connsiteX14" fmla="*/ 14610 w 83423"/>
                    <a:gd name="connsiteY14" fmla="*/ 35566 h 80362"/>
                    <a:gd name="connsiteX15" fmla="*/ 52547 w 83423"/>
                    <a:gd name="connsiteY15" fmla="*/ 66211 h 80362"/>
                    <a:gd name="connsiteX16" fmla="*/ 59783 w 83423"/>
                    <a:gd name="connsiteY16" fmla="*/ 65304 h 80362"/>
                    <a:gd name="connsiteX17" fmla="*/ 69692 w 83423"/>
                    <a:gd name="connsiteY17" fmla="*/ 52269 h 80362"/>
                    <a:gd name="connsiteX18" fmla="*/ 69995 w 83423"/>
                    <a:gd name="connsiteY18" fmla="*/ 46150 h 80362"/>
                    <a:gd name="connsiteX19" fmla="*/ 71958 w 83423"/>
                    <a:gd name="connsiteY19" fmla="*/ 37161 h 80362"/>
                    <a:gd name="connsiteX20" fmla="*/ 80678 w 83423"/>
                    <a:gd name="connsiteY20" fmla="*/ 39185 h 80362"/>
                    <a:gd name="connsiteX21" fmla="*/ 79640 w 83423"/>
                    <a:gd name="connsiteY21" fmla="*/ 60306 h 80362"/>
                    <a:gd name="connsiteX22" fmla="*/ 69731 w 83423"/>
                    <a:gd name="connsiteY22" fmla="*/ 73341 h 80362"/>
                    <a:gd name="connsiteX23" fmla="*/ 55704 w 83423"/>
                    <a:gd name="connsiteY23" fmla="*/ 80362 h 80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3423" h="80362">
                      <a:moveTo>
                        <a:pt x="55704" y="80362"/>
                      </a:moveTo>
                      <a:cubicBezTo>
                        <a:pt x="51861" y="80362"/>
                        <a:pt x="47998" y="79090"/>
                        <a:pt x="44749" y="76466"/>
                      </a:cubicBezTo>
                      <a:lnTo>
                        <a:pt x="6812" y="45821"/>
                      </a:lnTo>
                      <a:cubicBezTo>
                        <a:pt x="-911" y="39582"/>
                        <a:pt x="-2271" y="28035"/>
                        <a:pt x="3780" y="20072"/>
                      </a:cubicBezTo>
                      <a:lnTo>
                        <a:pt x="13690" y="7038"/>
                      </a:lnTo>
                      <a:cubicBezTo>
                        <a:pt x="16621" y="3180"/>
                        <a:pt x="20835" y="729"/>
                        <a:pt x="25555" y="138"/>
                      </a:cubicBezTo>
                      <a:cubicBezTo>
                        <a:pt x="30255" y="-457"/>
                        <a:pt x="34930" y="885"/>
                        <a:pt x="38676" y="3911"/>
                      </a:cubicBezTo>
                      <a:lnTo>
                        <a:pt x="51281" y="13692"/>
                      </a:lnTo>
                      <a:cubicBezTo>
                        <a:pt x="54070" y="15855"/>
                        <a:pt x="54632" y="19939"/>
                        <a:pt x="52531" y="22811"/>
                      </a:cubicBezTo>
                      <a:cubicBezTo>
                        <a:pt x="50440" y="25684"/>
                        <a:pt x="46480" y="26268"/>
                        <a:pt x="43684" y="24100"/>
                      </a:cubicBezTo>
                      <a:lnTo>
                        <a:pt x="30977" y="14242"/>
                      </a:lnTo>
                      <a:cubicBezTo>
                        <a:pt x="29795" y="13290"/>
                        <a:pt x="28450" y="12900"/>
                        <a:pt x="27081" y="13076"/>
                      </a:cubicBezTo>
                      <a:cubicBezTo>
                        <a:pt x="25711" y="13245"/>
                        <a:pt x="24493" y="13958"/>
                        <a:pt x="23640" y="15072"/>
                      </a:cubicBezTo>
                      <a:lnTo>
                        <a:pt x="13730" y="28107"/>
                      </a:lnTo>
                      <a:cubicBezTo>
                        <a:pt x="11977" y="30413"/>
                        <a:pt x="12372" y="33759"/>
                        <a:pt x="14610" y="35566"/>
                      </a:cubicBezTo>
                      <a:lnTo>
                        <a:pt x="52547" y="66211"/>
                      </a:lnTo>
                      <a:cubicBezTo>
                        <a:pt x="54785" y="68025"/>
                        <a:pt x="58034" y="67614"/>
                        <a:pt x="59783" y="65304"/>
                      </a:cubicBezTo>
                      <a:lnTo>
                        <a:pt x="69692" y="52269"/>
                      </a:lnTo>
                      <a:cubicBezTo>
                        <a:pt x="71035" y="50500"/>
                        <a:pt x="71159" y="48041"/>
                        <a:pt x="69995" y="46150"/>
                      </a:cubicBezTo>
                      <a:cubicBezTo>
                        <a:pt x="68131" y="43109"/>
                        <a:pt x="69007" y="39086"/>
                        <a:pt x="71958" y="37161"/>
                      </a:cubicBezTo>
                      <a:cubicBezTo>
                        <a:pt x="74911" y="35230"/>
                        <a:pt x="78808" y="36146"/>
                        <a:pt x="80678" y="39185"/>
                      </a:cubicBezTo>
                      <a:cubicBezTo>
                        <a:pt x="84690" y="45728"/>
                        <a:pt x="84272" y="54214"/>
                        <a:pt x="79640" y="60306"/>
                      </a:cubicBezTo>
                      <a:lnTo>
                        <a:pt x="69731" y="73341"/>
                      </a:lnTo>
                      <a:cubicBezTo>
                        <a:pt x="66222" y="77952"/>
                        <a:pt x="60986" y="80362"/>
                        <a:pt x="55704" y="80362"/>
                      </a:cubicBezTo>
                      <a:close/>
                    </a:path>
                  </a:pathLst>
                </a:custGeom>
                <a:grpFill/>
                <a:ln w="225" cap="flat">
                  <a:noFill/>
                  <a:prstDash val="solid"/>
                  <a:miter/>
                </a:ln>
              </p:spPr>
              <p:txBody>
                <a:bodyPr rtlCol="0" anchor="ctr"/>
                <a:lstStyle/>
                <a:p>
                  <a:endParaRPr lang="en-GB" dirty="0"/>
                </a:p>
              </p:txBody>
            </p:sp>
            <p:sp>
              <p:nvSpPr>
                <p:cNvPr id="221" name="Freihandform: Form 499">
                  <a:extLst>
                    <a:ext uri="{FF2B5EF4-FFF2-40B4-BE49-F238E27FC236}">
                      <a16:creationId xmlns:a16="http://schemas.microsoft.com/office/drawing/2014/main" id="{C27B7A29-907D-49F6-A5CB-C145C8FF2033}"/>
                    </a:ext>
                  </a:extLst>
                </p:cNvPr>
                <p:cNvSpPr/>
                <p:nvPr/>
              </p:nvSpPr>
              <p:spPr>
                <a:xfrm>
                  <a:off x="2014682" y="1875497"/>
                  <a:ext cx="64078" cy="66280"/>
                </a:xfrm>
                <a:custGeom>
                  <a:avLst/>
                  <a:gdLst>
                    <a:gd name="connsiteX0" fmla="*/ 33472 w 64078"/>
                    <a:gd name="connsiteY0" fmla="*/ 66281 h 66280"/>
                    <a:gd name="connsiteX1" fmla="*/ 29488 w 64078"/>
                    <a:gd name="connsiteY1" fmla="*/ 64821 h 66280"/>
                    <a:gd name="connsiteX2" fmla="*/ 6731 w 64078"/>
                    <a:gd name="connsiteY2" fmla="*/ 45746 h 66280"/>
                    <a:gd name="connsiteX3" fmla="*/ 3787 w 64078"/>
                    <a:gd name="connsiteY3" fmla="*/ 20070 h 66280"/>
                    <a:gd name="connsiteX4" fmla="*/ 13698 w 64078"/>
                    <a:gd name="connsiteY4" fmla="*/ 7036 h 66280"/>
                    <a:gd name="connsiteX5" fmla="*/ 25560 w 64078"/>
                    <a:gd name="connsiteY5" fmla="*/ 136 h 66280"/>
                    <a:gd name="connsiteX6" fmla="*/ 38680 w 64078"/>
                    <a:gd name="connsiteY6" fmla="*/ 3908 h 66280"/>
                    <a:gd name="connsiteX7" fmla="*/ 61728 w 64078"/>
                    <a:gd name="connsiteY7" fmla="*/ 23066 h 66280"/>
                    <a:gd name="connsiteX8" fmla="*/ 62678 w 64078"/>
                    <a:gd name="connsiteY8" fmla="*/ 32227 h 66280"/>
                    <a:gd name="connsiteX9" fmla="*/ 53790 w 64078"/>
                    <a:gd name="connsiteY9" fmla="*/ 33206 h 66280"/>
                    <a:gd name="connsiteX10" fmla="*/ 30810 w 64078"/>
                    <a:gd name="connsiteY10" fmla="*/ 14105 h 66280"/>
                    <a:gd name="connsiteX11" fmla="*/ 27083 w 64078"/>
                    <a:gd name="connsiteY11" fmla="*/ 13071 h 66280"/>
                    <a:gd name="connsiteX12" fmla="*/ 23649 w 64078"/>
                    <a:gd name="connsiteY12" fmla="*/ 15068 h 66280"/>
                    <a:gd name="connsiteX13" fmla="*/ 13735 w 64078"/>
                    <a:gd name="connsiteY13" fmla="*/ 28102 h 66280"/>
                    <a:gd name="connsiteX14" fmla="*/ 14615 w 64078"/>
                    <a:gd name="connsiteY14" fmla="*/ 35562 h 66280"/>
                    <a:gd name="connsiteX15" fmla="*/ 37461 w 64078"/>
                    <a:gd name="connsiteY15" fmla="*/ 54711 h 66280"/>
                    <a:gd name="connsiteX16" fmla="*/ 38378 w 64078"/>
                    <a:gd name="connsiteY16" fmla="*/ 63876 h 66280"/>
                    <a:gd name="connsiteX17" fmla="*/ 33472 w 64078"/>
                    <a:gd name="connsiteY17" fmla="*/ 66281 h 66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078" h="66280">
                      <a:moveTo>
                        <a:pt x="33472" y="66281"/>
                      </a:moveTo>
                      <a:cubicBezTo>
                        <a:pt x="32071" y="66281"/>
                        <a:pt x="30661" y="65805"/>
                        <a:pt x="29488" y="64821"/>
                      </a:cubicBezTo>
                      <a:lnTo>
                        <a:pt x="6731" y="45746"/>
                      </a:lnTo>
                      <a:cubicBezTo>
                        <a:pt x="-904" y="39582"/>
                        <a:pt x="-2265" y="28033"/>
                        <a:pt x="3787" y="20070"/>
                      </a:cubicBezTo>
                      <a:lnTo>
                        <a:pt x="13698" y="7036"/>
                      </a:lnTo>
                      <a:cubicBezTo>
                        <a:pt x="16627" y="3180"/>
                        <a:pt x="20840" y="727"/>
                        <a:pt x="25560" y="136"/>
                      </a:cubicBezTo>
                      <a:cubicBezTo>
                        <a:pt x="30257" y="-453"/>
                        <a:pt x="34934" y="883"/>
                        <a:pt x="38680" y="3908"/>
                      </a:cubicBezTo>
                      <a:lnTo>
                        <a:pt x="61728" y="23066"/>
                      </a:lnTo>
                      <a:cubicBezTo>
                        <a:pt x="64444" y="25325"/>
                        <a:pt x="64868" y="29425"/>
                        <a:pt x="62678" y="32227"/>
                      </a:cubicBezTo>
                      <a:cubicBezTo>
                        <a:pt x="60487" y="35027"/>
                        <a:pt x="56509" y="35471"/>
                        <a:pt x="53790" y="33206"/>
                      </a:cubicBezTo>
                      <a:lnTo>
                        <a:pt x="30810" y="14105"/>
                      </a:lnTo>
                      <a:cubicBezTo>
                        <a:pt x="29801" y="13288"/>
                        <a:pt x="28454" y="12877"/>
                        <a:pt x="27083" y="13071"/>
                      </a:cubicBezTo>
                      <a:cubicBezTo>
                        <a:pt x="25715" y="13240"/>
                        <a:pt x="24495" y="13949"/>
                        <a:pt x="23649" y="15068"/>
                      </a:cubicBezTo>
                      <a:lnTo>
                        <a:pt x="13735" y="28102"/>
                      </a:lnTo>
                      <a:cubicBezTo>
                        <a:pt x="11981" y="30408"/>
                        <a:pt x="12376" y="33754"/>
                        <a:pt x="14615" y="35562"/>
                      </a:cubicBezTo>
                      <a:lnTo>
                        <a:pt x="37461" y="54711"/>
                      </a:lnTo>
                      <a:cubicBezTo>
                        <a:pt x="40171" y="56983"/>
                        <a:pt x="40582" y="61085"/>
                        <a:pt x="38378" y="63876"/>
                      </a:cubicBezTo>
                      <a:cubicBezTo>
                        <a:pt x="37130" y="65460"/>
                        <a:pt x="35309" y="66281"/>
                        <a:pt x="33472" y="66281"/>
                      </a:cubicBezTo>
                      <a:close/>
                    </a:path>
                  </a:pathLst>
                </a:custGeom>
                <a:grpFill/>
                <a:ln w="225" cap="flat">
                  <a:noFill/>
                  <a:prstDash val="solid"/>
                  <a:miter/>
                </a:ln>
              </p:spPr>
              <p:txBody>
                <a:bodyPr rtlCol="0" anchor="ctr"/>
                <a:lstStyle/>
                <a:p>
                  <a:endParaRPr lang="en-GB" dirty="0"/>
                </a:p>
              </p:txBody>
            </p:sp>
            <p:sp>
              <p:nvSpPr>
                <p:cNvPr id="222" name="Freihandform: Form 500">
                  <a:extLst>
                    <a:ext uri="{FF2B5EF4-FFF2-40B4-BE49-F238E27FC236}">
                      <a16:creationId xmlns:a16="http://schemas.microsoft.com/office/drawing/2014/main" id="{325BEBE1-6930-445D-978A-13DB3F869C0B}"/>
                    </a:ext>
                  </a:extLst>
                </p:cNvPr>
                <p:cNvSpPr/>
                <p:nvPr/>
              </p:nvSpPr>
              <p:spPr>
                <a:xfrm>
                  <a:off x="2044162" y="1848223"/>
                  <a:ext cx="59943" cy="60809"/>
                </a:xfrm>
                <a:custGeom>
                  <a:avLst/>
                  <a:gdLst>
                    <a:gd name="connsiteX0" fmla="*/ 28109 w 59943"/>
                    <a:gd name="connsiteY0" fmla="*/ 60809 h 60809"/>
                    <a:gd name="connsiteX1" fmla="*/ 24296 w 59943"/>
                    <a:gd name="connsiteY1" fmla="*/ 59482 h 60809"/>
                    <a:gd name="connsiteX2" fmla="*/ 6898 w 59943"/>
                    <a:gd name="connsiteY2" fmla="*/ 45873 h 60809"/>
                    <a:gd name="connsiteX3" fmla="*/ 131 w 59943"/>
                    <a:gd name="connsiteY3" fmla="*/ 33585 h 60809"/>
                    <a:gd name="connsiteX4" fmla="*/ 3791 w 59943"/>
                    <a:gd name="connsiteY4" fmla="*/ 20061 h 60809"/>
                    <a:gd name="connsiteX5" fmla="*/ 13701 w 59943"/>
                    <a:gd name="connsiteY5" fmla="*/ 7029 h 60809"/>
                    <a:gd name="connsiteX6" fmla="*/ 25562 w 59943"/>
                    <a:gd name="connsiteY6" fmla="*/ 129 h 60809"/>
                    <a:gd name="connsiteX7" fmla="*/ 38682 w 59943"/>
                    <a:gd name="connsiteY7" fmla="*/ 3902 h 60809"/>
                    <a:gd name="connsiteX8" fmla="*/ 57551 w 59943"/>
                    <a:gd name="connsiteY8" fmla="*/ 19325 h 60809"/>
                    <a:gd name="connsiteX9" fmla="*/ 58576 w 59943"/>
                    <a:gd name="connsiteY9" fmla="*/ 28479 h 60809"/>
                    <a:gd name="connsiteX10" fmla="*/ 49695 w 59943"/>
                    <a:gd name="connsiteY10" fmla="*/ 29535 h 60809"/>
                    <a:gd name="connsiteX11" fmla="*/ 30855 w 59943"/>
                    <a:gd name="connsiteY11" fmla="*/ 14134 h 60809"/>
                    <a:gd name="connsiteX12" fmla="*/ 27085 w 59943"/>
                    <a:gd name="connsiteY12" fmla="*/ 13064 h 60809"/>
                    <a:gd name="connsiteX13" fmla="*/ 23646 w 59943"/>
                    <a:gd name="connsiteY13" fmla="*/ 15061 h 60809"/>
                    <a:gd name="connsiteX14" fmla="*/ 13737 w 59943"/>
                    <a:gd name="connsiteY14" fmla="*/ 28095 h 60809"/>
                    <a:gd name="connsiteX15" fmla="*/ 12674 w 59943"/>
                    <a:gd name="connsiteY15" fmla="*/ 32015 h 60809"/>
                    <a:gd name="connsiteX16" fmla="*/ 14612 w 59943"/>
                    <a:gd name="connsiteY16" fmla="*/ 35555 h 60809"/>
                    <a:gd name="connsiteX17" fmla="*/ 31934 w 59943"/>
                    <a:gd name="connsiteY17" fmla="*/ 49106 h 60809"/>
                    <a:gd name="connsiteX18" fmla="*/ 33145 w 59943"/>
                    <a:gd name="connsiteY18" fmla="*/ 58233 h 60809"/>
                    <a:gd name="connsiteX19" fmla="*/ 28109 w 59943"/>
                    <a:gd name="connsiteY19" fmla="*/ 60809 h 6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943" h="60809">
                      <a:moveTo>
                        <a:pt x="28109" y="60809"/>
                      </a:moveTo>
                      <a:cubicBezTo>
                        <a:pt x="26780" y="60809"/>
                        <a:pt x="25438" y="60376"/>
                        <a:pt x="24296" y="59482"/>
                      </a:cubicBezTo>
                      <a:lnTo>
                        <a:pt x="6898" y="45873"/>
                      </a:lnTo>
                      <a:cubicBezTo>
                        <a:pt x="3081" y="42791"/>
                        <a:pt x="705" y="38450"/>
                        <a:pt x="131" y="33585"/>
                      </a:cubicBezTo>
                      <a:cubicBezTo>
                        <a:pt x="-439" y="28718"/>
                        <a:pt x="860" y="23919"/>
                        <a:pt x="3791" y="20061"/>
                      </a:cubicBezTo>
                      <a:lnTo>
                        <a:pt x="13701" y="7029"/>
                      </a:lnTo>
                      <a:cubicBezTo>
                        <a:pt x="16632" y="3170"/>
                        <a:pt x="20844" y="720"/>
                        <a:pt x="25562" y="129"/>
                      </a:cubicBezTo>
                      <a:cubicBezTo>
                        <a:pt x="30305" y="-440"/>
                        <a:pt x="34943" y="880"/>
                        <a:pt x="38682" y="3902"/>
                      </a:cubicBezTo>
                      <a:lnTo>
                        <a:pt x="57551" y="19325"/>
                      </a:lnTo>
                      <a:cubicBezTo>
                        <a:pt x="60286" y="21561"/>
                        <a:pt x="60742" y="25659"/>
                        <a:pt x="58576" y="28479"/>
                      </a:cubicBezTo>
                      <a:cubicBezTo>
                        <a:pt x="56401" y="31299"/>
                        <a:pt x="52434" y="31769"/>
                        <a:pt x="49695" y="29535"/>
                      </a:cubicBezTo>
                      <a:lnTo>
                        <a:pt x="30855" y="14134"/>
                      </a:lnTo>
                      <a:cubicBezTo>
                        <a:pt x="29799" y="13281"/>
                        <a:pt x="28470" y="12881"/>
                        <a:pt x="27085" y="13064"/>
                      </a:cubicBezTo>
                      <a:cubicBezTo>
                        <a:pt x="25718" y="13233"/>
                        <a:pt x="24499" y="13946"/>
                        <a:pt x="23646" y="15061"/>
                      </a:cubicBezTo>
                      <a:lnTo>
                        <a:pt x="13737" y="28095"/>
                      </a:lnTo>
                      <a:cubicBezTo>
                        <a:pt x="12888" y="29212"/>
                        <a:pt x="12512" y="30604"/>
                        <a:pt x="12674" y="32015"/>
                      </a:cubicBezTo>
                      <a:cubicBezTo>
                        <a:pt x="12841" y="33425"/>
                        <a:pt x="13529" y="34679"/>
                        <a:pt x="14612" y="35555"/>
                      </a:cubicBezTo>
                      <a:lnTo>
                        <a:pt x="31934" y="49106"/>
                      </a:lnTo>
                      <a:cubicBezTo>
                        <a:pt x="34713" y="51279"/>
                        <a:pt x="35257" y="55365"/>
                        <a:pt x="33145" y="58233"/>
                      </a:cubicBezTo>
                      <a:cubicBezTo>
                        <a:pt x="31909" y="59922"/>
                        <a:pt x="30020" y="60809"/>
                        <a:pt x="28109" y="60809"/>
                      </a:cubicBezTo>
                      <a:close/>
                    </a:path>
                  </a:pathLst>
                </a:custGeom>
                <a:grpFill/>
                <a:ln w="225" cap="flat">
                  <a:noFill/>
                  <a:prstDash val="solid"/>
                  <a:miter/>
                </a:ln>
              </p:spPr>
              <p:txBody>
                <a:bodyPr rtlCol="0" anchor="ctr"/>
                <a:lstStyle/>
                <a:p>
                  <a:endParaRPr lang="en-GB" dirty="0"/>
                </a:p>
              </p:txBody>
            </p:sp>
            <p:sp>
              <p:nvSpPr>
                <p:cNvPr id="223" name="Freihandform: Form 501">
                  <a:extLst>
                    <a:ext uri="{FF2B5EF4-FFF2-40B4-BE49-F238E27FC236}">
                      <a16:creationId xmlns:a16="http://schemas.microsoft.com/office/drawing/2014/main" id="{10C16981-8BC9-4D07-B3FA-E329EC5ADCFB}"/>
                    </a:ext>
                  </a:extLst>
                </p:cNvPr>
                <p:cNvSpPr/>
                <p:nvPr/>
              </p:nvSpPr>
              <p:spPr>
                <a:xfrm>
                  <a:off x="2093182" y="1919208"/>
                  <a:ext cx="24153" cy="88146"/>
                </a:xfrm>
                <a:custGeom>
                  <a:avLst/>
                  <a:gdLst>
                    <a:gd name="connsiteX0" fmla="*/ 17832 w 24153"/>
                    <a:gd name="connsiteY0" fmla="*/ 88146 h 88146"/>
                    <a:gd name="connsiteX1" fmla="*/ 13385 w 24153"/>
                    <a:gd name="connsiteY1" fmla="*/ 86260 h 88146"/>
                    <a:gd name="connsiteX2" fmla="*/ 4624 w 24153"/>
                    <a:gd name="connsiteY2" fmla="*/ 5027 h 88146"/>
                    <a:gd name="connsiteX3" fmla="*/ 12226 w 24153"/>
                    <a:gd name="connsiteY3" fmla="*/ 176 h 88146"/>
                    <a:gd name="connsiteX4" fmla="*/ 16932 w 24153"/>
                    <a:gd name="connsiteY4" fmla="*/ 8010 h 88146"/>
                    <a:gd name="connsiteX5" fmla="*/ 22279 w 24153"/>
                    <a:gd name="connsiteY5" fmla="*/ 77002 h 88146"/>
                    <a:gd name="connsiteX6" fmla="*/ 22322 w 24153"/>
                    <a:gd name="connsiteY6" fmla="*/ 86215 h 88146"/>
                    <a:gd name="connsiteX7" fmla="*/ 17832 w 24153"/>
                    <a:gd name="connsiteY7" fmla="*/ 88146 h 88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53" h="88146">
                      <a:moveTo>
                        <a:pt x="17832" y="88146"/>
                      </a:moveTo>
                      <a:cubicBezTo>
                        <a:pt x="16224" y="88146"/>
                        <a:pt x="14617" y="87517"/>
                        <a:pt x="13385" y="86260"/>
                      </a:cubicBezTo>
                      <a:cubicBezTo>
                        <a:pt x="-6585" y="65866"/>
                        <a:pt x="608" y="22660"/>
                        <a:pt x="4624" y="5027"/>
                      </a:cubicBezTo>
                      <a:cubicBezTo>
                        <a:pt x="5423" y="1526"/>
                        <a:pt x="8812" y="-654"/>
                        <a:pt x="12226" y="176"/>
                      </a:cubicBezTo>
                      <a:cubicBezTo>
                        <a:pt x="15623" y="1000"/>
                        <a:pt x="17728" y="4506"/>
                        <a:pt x="16932" y="8010"/>
                      </a:cubicBezTo>
                      <a:cubicBezTo>
                        <a:pt x="14177" y="20097"/>
                        <a:pt x="6416" y="60800"/>
                        <a:pt x="22279" y="77002"/>
                      </a:cubicBezTo>
                      <a:cubicBezTo>
                        <a:pt x="24761" y="79534"/>
                        <a:pt x="24779" y="83661"/>
                        <a:pt x="22322" y="86215"/>
                      </a:cubicBezTo>
                      <a:cubicBezTo>
                        <a:pt x="21086" y="87503"/>
                        <a:pt x="19459" y="88146"/>
                        <a:pt x="17832" y="88146"/>
                      </a:cubicBezTo>
                      <a:close/>
                    </a:path>
                  </a:pathLst>
                </a:custGeom>
                <a:grpFill/>
                <a:ln w="225" cap="flat">
                  <a:noFill/>
                  <a:prstDash val="solid"/>
                  <a:miter/>
                </a:ln>
              </p:spPr>
              <p:txBody>
                <a:bodyPr rtlCol="0" anchor="ctr"/>
                <a:lstStyle/>
                <a:p>
                  <a:endParaRPr lang="en-GB" dirty="0"/>
                </a:p>
              </p:txBody>
            </p:sp>
          </p:grpSp>
          <p:sp>
            <p:nvSpPr>
              <p:cNvPr id="214" name="Freihandform: Form 502">
                <a:extLst>
                  <a:ext uri="{FF2B5EF4-FFF2-40B4-BE49-F238E27FC236}">
                    <a16:creationId xmlns:a16="http://schemas.microsoft.com/office/drawing/2014/main" id="{E8DE42B7-395C-45F6-B6B8-9DD36E06CC76}"/>
                  </a:ext>
                </a:extLst>
              </p:cNvPr>
              <p:cNvSpPr/>
              <p:nvPr/>
            </p:nvSpPr>
            <p:spPr>
              <a:xfrm>
                <a:off x="2051788" y="1927644"/>
                <a:ext cx="54507" cy="153898"/>
              </a:xfrm>
              <a:custGeom>
                <a:avLst/>
                <a:gdLst>
                  <a:gd name="connsiteX0" fmla="*/ 6323 w 54507"/>
                  <a:gd name="connsiteY0" fmla="*/ 153898 h 153898"/>
                  <a:gd name="connsiteX1" fmla="*/ 4469 w 54507"/>
                  <a:gd name="connsiteY1" fmla="*/ 153610 h 153898"/>
                  <a:gd name="connsiteX2" fmla="*/ 279 w 54507"/>
                  <a:gd name="connsiteY2" fmla="*/ 145473 h 153898"/>
                  <a:gd name="connsiteX3" fmla="*/ 42146 w 54507"/>
                  <a:gd name="connsiteY3" fmla="*/ 4601 h 153898"/>
                  <a:gd name="connsiteX4" fmla="*/ 50038 w 54507"/>
                  <a:gd name="connsiteY4" fmla="*/ 282 h 153898"/>
                  <a:gd name="connsiteX5" fmla="*/ 54228 w 54507"/>
                  <a:gd name="connsiteY5" fmla="*/ 8419 h 153898"/>
                  <a:gd name="connsiteX6" fmla="*/ 12361 w 54507"/>
                  <a:gd name="connsiteY6" fmla="*/ 149291 h 153898"/>
                  <a:gd name="connsiteX7" fmla="*/ 6323 w 54507"/>
                  <a:gd name="connsiteY7" fmla="*/ 153898 h 15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07" h="153898">
                    <a:moveTo>
                      <a:pt x="6323" y="153898"/>
                    </a:moveTo>
                    <a:cubicBezTo>
                      <a:pt x="5709" y="153898"/>
                      <a:pt x="5087" y="153804"/>
                      <a:pt x="4469" y="153610"/>
                    </a:cubicBezTo>
                    <a:cubicBezTo>
                      <a:pt x="1134" y="152556"/>
                      <a:pt x="-743" y="148914"/>
                      <a:pt x="279" y="145473"/>
                    </a:cubicBezTo>
                    <a:lnTo>
                      <a:pt x="42146" y="4601"/>
                    </a:lnTo>
                    <a:cubicBezTo>
                      <a:pt x="43170" y="1162"/>
                      <a:pt x="46706" y="-758"/>
                      <a:pt x="50038" y="282"/>
                    </a:cubicBezTo>
                    <a:cubicBezTo>
                      <a:pt x="53373" y="1336"/>
                      <a:pt x="55250" y="4978"/>
                      <a:pt x="54228" y="8419"/>
                    </a:cubicBezTo>
                    <a:lnTo>
                      <a:pt x="12361" y="149291"/>
                    </a:lnTo>
                    <a:cubicBezTo>
                      <a:pt x="11528" y="152091"/>
                      <a:pt x="9026" y="153898"/>
                      <a:pt x="6323" y="153898"/>
                    </a:cubicBezTo>
                    <a:close/>
                  </a:path>
                </a:pathLst>
              </a:custGeom>
              <a:grpFill/>
              <a:ln w="225" cap="flat">
                <a:noFill/>
                <a:prstDash val="solid"/>
                <a:miter/>
              </a:ln>
            </p:spPr>
            <p:txBody>
              <a:bodyPr rtlCol="0" anchor="ctr"/>
              <a:lstStyle/>
              <a:p>
                <a:endParaRPr lang="en-GB" dirty="0"/>
              </a:p>
            </p:txBody>
          </p:sp>
          <p:sp>
            <p:nvSpPr>
              <p:cNvPr id="215" name="Freihandform: Form 503">
                <a:extLst>
                  <a:ext uri="{FF2B5EF4-FFF2-40B4-BE49-F238E27FC236}">
                    <a16:creationId xmlns:a16="http://schemas.microsoft.com/office/drawing/2014/main" id="{8A574E0D-A39A-42E4-AEBA-6BC1D1A23EF9}"/>
                  </a:ext>
                </a:extLst>
              </p:cNvPr>
              <p:cNvSpPr/>
              <p:nvPr/>
            </p:nvSpPr>
            <p:spPr>
              <a:xfrm>
                <a:off x="1959528" y="1741361"/>
                <a:ext cx="145583" cy="137827"/>
              </a:xfrm>
              <a:custGeom>
                <a:avLst/>
                <a:gdLst>
                  <a:gd name="connsiteX0" fmla="*/ 139261 w 145583"/>
                  <a:gd name="connsiteY0" fmla="*/ 137828 h 137827"/>
                  <a:gd name="connsiteX1" fmla="*/ 135008 w 145583"/>
                  <a:gd name="connsiteY1" fmla="*/ 136129 h 137827"/>
                  <a:gd name="connsiteX2" fmla="*/ 2064 w 145583"/>
                  <a:gd name="connsiteY2" fmla="*/ 11332 h 137827"/>
                  <a:gd name="connsiteX3" fmla="*/ 1647 w 145583"/>
                  <a:gd name="connsiteY3" fmla="*/ 2131 h 137827"/>
                  <a:gd name="connsiteX4" fmla="*/ 10575 w 145583"/>
                  <a:gd name="connsiteY4" fmla="*/ 1702 h 137827"/>
                  <a:gd name="connsiteX5" fmla="*/ 143519 w 145583"/>
                  <a:gd name="connsiteY5" fmla="*/ 126499 h 137827"/>
                  <a:gd name="connsiteX6" fmla="*/ 143936 w 145583"/>
                  <a:gd name="connsiteY6" fmla="*/ 135700 h 137827"/>
                  <a:gd name="connsiteX7" fmla="*/ 139261 w 145583"/>
                  <a:gd name="connsiteY7" fmla="*/ 137828 h 137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583" h="137827">
                    <a:moveTo>
                      <a:pt x="139261" y="137828"/>
                    </a:moveTo>
                    <a:cubicBezTo>
                      <a:pt x="137743" y="137828"/>
                      <a:pt x="136222" y="137268"/>
                      <a:pt x="135008" y="136129"/>
                    </a:cubicBezTo>
                    <a:lnTo>
                      <a:pt x="2064" y="11332"/>
                    </a:lnTo>
                    <a:cubicBezTo>
                      <a:pt x="-515" y="8911"/>
                      <a:pt x="-704" y="4789"/>
                      <a:pt x="1647" y="2131"/>
                    </a:cubicBezTo>
                    <a:cubicBezTo>
                      <a:pt x="3991" y="-531"/>
                      <a:pt x="7992" y="-728"/>
                      <a:pt x="10575" y="1702"/>
                    </a:cubicBezTo>
                    <a:lnTo>
                      <a:pt x="143519" y="126499"/>
                    </a:lnTo>
                    <a:cubicBezTo>
                      <a:pt x="146098" y="128920"/>
                      <a:pt x="146287" y="133042"/>
                      <a:pt x="143936" y="135700"/>
                    </a:cubicBezTo>
                    <a:cubicBezTo>
                      <a:pt x="142689" y="137110"/>
                      <a:pt x="140978" y="137828"/>
                      <a:pt x="139261" y="137828"/>
                    </a:cubicBezTo>
                    <a:close/>
                  </a:path>
                </a:pathLst>
              </a:custGeom>
              <a:grpFill/>
              <a:ln w="225" cap="flat">
                <a:noFill/>
                <a:prstDash val="solid"/>
                <a:miter/>
              </a:ln>
            </p:spPr>
            <p:txBody>
              <a:bodyPr rtlCol="0" anchor="ctr"/>
              <a:lstStyle/>
              <a:p>
                <a:endParaRPr lang="en-GB" dirty="0"/>
              </a:p>
            </p:txBody>
          </p:sp>
          <p:sp>
            <p:nvSpPr>
              <p:cNvPr id="216" name="Freihandform: Form 504">
                <a:extLst>
                  <a:ext uri="{FF2B5EF4-FFF2-40B4-BE49-F238E27FC236}">
                    <a16:creationId xmlns:a16="http://schemas.microsoft.com/office/drawing/2014/main" id="{2090F1F4-4D56-428A-9141-9C7AC33335B1}"/>
                  </a:ext>
                </a:extLst>
              </p:cNvPr>
              <p:cNvSpPr/>
              <p:nvPr/>
            </p:nvSpPr>
            <p:spPr>
              <a:xfrm>
                <a:off x="1769116" y="1794234"/>
                <a:ext cx="52819" cy="37724"/>
              </a:xfrm>
              <a:custGeom>
                <a:avLst/>
                <a:gdLst>
                  <a:gd name="connsiteX0" fmla="*/ 6325 w 52819"/>
                  <a:gd name="connsiteY0" fmla="*/ 37724 h 37724"/>
                  <a:gd name="connsiteX1" fmla="*/ 892 w 52819"/>
                  <a:gd name="connsiteY1" fmla="*/ 34547 h 37724"/>
                  <a:gd name="connsiteX2" fmla="*/ 3083 w 52819"/>
                  <a:gd name="connsiteY2" fmla="*/ 25615 h 37724"/>
                  <a:gd name="connsiteX3" fmla="*/ 43263 w 52819"/>
                  <a:gd name="connsiteY3" fmla="*/ 920 h 37724"/>
                  <a:gd name="connsiteX4" fmla="*/ 51927 w 52819"/>
                  <a:gd name="connsiteY4" fmla="*/ 3178 h 37724"/>
                  <a:gd name="connsiteX5" fmla="*/ 49736 w 52819"/>
                  <a:gd name="connsiteY5" fmla="*/ 12111 h 37724"/>
                  <a:gd name="connsiteX6" fmla="*/ 9556 w 52819"/>
                  <a:gd name="connsiteY6" fmla="*/ 36806 h 37724"/>
                  <a:gd name="connsiteX7" fmla="*/ 6325 w 52819"/>
                  <a:gd name="connsiteY7" fmla="*/ 37724 h 37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819" h="37724">
                    <a:moveTo>
                      <a:pt x="6325" y="37724"/>
                    </a:moveTo>
                    <a:cubicBezTo>
                      <a:pt x="4171" y="37724"/>
                      <a:pt x="2072" y="36591"/>
                      <a:pt x="892" y="34547"/>
                    </a:cubicBezTo>
                    <a:cubicBezTo>
                      <a:pt x="-895" y="31456"/>
                      <a:pt x="87" y="27458"/>
                      <a:pt x="3083" y="25615"/>
                    </a:cubicBezTo>
                    <a:lnTo>
                      <a:pt x="43263" y="920"/>
                    </a:lnTo>
                    <a:cubicBezTo>
                      <a:pt x="46259" y="-921"/>
                      <a:pt x="50138" y="87"/>
                      <a:pt x="51927" y="3178"/>
                    </a:cubicBezTo>
                    <a:cubicBezTo>
                      <a:pt x="53714" y="6269"/>
                      <a:pt x="52732" y="10268"/>
                      <a:pt x="49736" y="12111"/>
                    </a:cubicBezTo>
                    <a:lnTo>
                      <a:pt x="9556" y="36806"/>
                    </a:lnTo>
                    <a:cubicBezTo>
                      <a:pt x="8541" y="37429"/>
                      <a:pt x="7429" y="37724"/>
                      <a:pt x="6325" y="37724"/>
                    </a:cubicBezTo>
                    <a:close/>
                  </a:path>
                </a:pathLst>
              </a:custGeom>
              <a:grpFill/>
              <a:ln w="225" cap="flat">
                <a:noFill/>
                <a:prstDash val="solid"/>
                <a:miter/>
              </a:ln>
            </p:spPr>
            <p:txBody>
              <a:bodyPr rtlCol="0" anchor="ctr"/>
              <a:lstStyle/>
              <a:p>
                <a:endParaRPr lang="en-GB" dirty="0"/>
              </a:p>
            </p:txBody>
          </p:sp>
        </p:grpSp>
        <p:grpSp>
          <p:nvGrpSpPr>
            <p:cNvPr id="208" name="Graphic 8">
              <a:extLst>
                <a:ext uri="{FF2B5EF4-FFF2-40B4-BE49-F238E27FC236}">
                  <a16:creationId xmlns:a16="http://schemas.microsoft.com/office/drawing/2014/main" id="{57F3F4BD-66E6-412F-96CF-F60BED9D2EAE}"/>
                </a:ext>
              </a:extLst>
            </p:cNvPr>
            <p:cNvGrpSpPr/>
            <p:nvPr/>
          </p:nvGrpSpPr>
          <p:grpSpPr>
            <a:xfrm>
              <a:off x="1619657" y="3212058"/>
              <a:ext cx="214531" cy="203113"/>
              <a:chOff x="1741725" y="1627059"/>
              <a:chExt cx="229184" cy="216986"/>
            </a:xfrm>
            <a:solidFill>
              <a:schemeClr val="accent1"/>
            </a:solidFill>
          </p:grpSpPr>
          <p:sp>
            <p:nvSpPr>
              <p:cNvPr id="209" name="Freihandform: Form 506">
                <a:extLst>
                  <a:ext uri="{FF2B5EF4-FFF2-40B4-BE49-F238E27FC236}">
                    <a16:creationId xmlns:a16="http://schemas.microsoft.com/office/drawing/2014/main" id="{8C09E924-957A-4BF7-A83E-6EE5B668DE09}"/>
                  </a:ext>
                </a:extLst>
              </p:cNvPr>
              <p:cNvSpPr/>
              <p:nvPr/>
            </p:nvSpPr>
            <p:spPr>
              <a:xfrm>
                <a:off x="1889050" y="1689043"/>
                <a:ext cx="81859" cy="111722"/>
              </a:xfrm>
              <a:custGeom>
                <a:avLst/>
                <a:gdLst>
                  <a:gd name="connsiteX0" fmla="*/ 32942 w 81859"/>
                  <a:gd name="connsiteY0" fmla="*/ 111723 h 111722"/>
                  <a:gd name="connsiteX1" fmla="*/ 21517 w 81859"/>
                  <a:gd name="connsiteY1" fmla="*/ 107625 h 111722"/>
                  <a:gd name="connsiteX2" fmla="*/ 2388 w 81859"/>
                  <a:gd name="connsiteY2" fmla="*/ 91962 h 111722"/>
                  <a:gd name="connsiteX3" fmla="*/ 1370 w 81859"/>
                  <a:gd name="connsiteY3" fmla="*/ 82809 h 111722"/>
                  <a:gd name="connsiteX4" fmla="*/ 10251 w 81859"/>
                  <a:gd name="connsiteY4" fmla="*/ 81759 h 111722"/>
                  <a:gd name="connsiteX5" fmla="*/ 29380 w 81859"/>
                  <a:gd name="connsiteY5" fmla="*/ 97422 h 111722"/>
                  <a:gd name="connsiteX6" fmla="*/ 33734 w 81859"/>
                  <a:gd name="connsiteY6" fmla="*/ 98639 h 111722"/>
                  <a:gd name="connsiteX7" fmla="*/ 37586 w 81859"/>
                  <a:gd name="connsiteY7" fmla="*/ 96202 h 111722"/>
                  <a:gd name="connsiteX8" fmla="*/ 42180 w 81859"/>
                  <a:gd name="connsiteY8" fmla="*/ 89471 h 111722"/>
                  <a:gd name="connsiteX9" fmla="*/ 41065 w 81859"/>
                  <a:gd name="connsiteY9" fmla="*/ 81493 h 111722"/>
                  <a:gd name="connsiteX10" fmla="*/ 14317 w 81859"/>
                  <a:gd name="connsiteY10" fmla="*/ 57764 h 111722"/>
                  <a:gd name="connsiteX11" fmla="*/ 13647 w 81859"/>
                  <a:gd name="connsiteY11" fmla="*/ 48581 h 111722"/>
                  <a:gd name="connsiteX12" fmla="*/ 22552 w 81859"/>
                  <a:gd name="connsiteY12" fmla="*/ 47881 h 111722"/>
                  <a:gd name="connsiteX13" fmla="*/ 22564 w 81859"/>
                  <a:gd name="connsiteY13" fmla="*/ 47890 h 111722"/>
                  <a:gd name="connsiteX14" fmla="*/ 52798 w 81859"/>
                  <a:gd name="connsiteY14" fmla="*/ 74623 h 111722"/>
                  <a:gd name="connsiteX15" fmla="*/ 60480 w 81859"/>
                  <a:gd name="connsiteY15" fmla="*/ 73768 h 111722"/>
                  <a:gd name="connsiteX16" fmla="*/ 67802 w 81859"/>
                  <a:gd name="connsiteY16" fmla="*/ 65153 h 111722"/>
                  <a:gd name="connsiteX17" fmla="*/ 67414 w 81859"/>
                  <a:gd name="connsiteY17" fmla="*/ 56997 h 111722"/>
                  <a:gd name="connsiteX18" fmla="*/ 14563 w 81859"/>
                  <a:gd name="connsiteY18" fmla="*/ 11517 h 111722"/>
                  <a:gd name="connsiteX19" fmla="*/ 13764 w 81859"/>
                  <a:gd name="connsiteY19" fmla="*/ 2341 h 111722"/>
                  <a:gd name="connsiteX20" fmla="*/ 22667 w 81859"/>
                  <a:gd name="connsiteY20" fmla="*/ 1517 h 111722"/>
                  <a:gd name="connsiteX21" fmla="*/ 75791 w 81859"/>
                  <a:gd name="connsiteY21" fmla="*/ 47245 h 111722"/>
                  <a:gd name="connsiteX22" fmla="*/ 77310 w 81859"/>
                  <a:gd name="connsiteY22" fmla="*/ 73741 h 111722"/>
                  <a:gd name="connsiteX23" fmla="*/ 69988 w 81859"/>
                  <a:gd name="connsiteY23" fmla="*/ 82355 h 111722"/>
                  <a:gd name="connsiteX24" fmla="*/ 55674 w 81859"/>
                  <a:gd name="connsiteY24" fmla="*/ 88806 h 111722"/>
                  <a:gd name="connsiteX25" fmla="*/ 52516 w 81859"/>
                  <a:gd name="connsiteY25" fmla="*/ 96971 h 111722"/>
                  <a:gd name="connsiteX26" fmla="*/ 47922 w 81859"/>
                  <a:gd name="connsiteY26" fmla="*/ 103704 h 111722"/>
                  <a:gd name="connsiteX27" fmla="*/ 35539 w 81859"/>
                  <a:gd name="connsiteY27" fmla="*/ 111531 h 111722"/>
                  <a:gd name="connsiteX28" fmla="*/ 32942 w 81859"/>
                  <a:gd name="connsiteY28" fmla="*/ 111723 h 11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1859" h="111722">
                    <a:moveTo>
                      <a:pt x="32942" y="111723"/>
                    </a:moveTo>
                    <a:cubicBezTo>
                      <a:pt x="28827" y="111723"/>
                      <a:pt x="24770" y="110288"/>
                      <a:pt x="21517" y="107625"/>
                    </a:cubicBezTo>
                    <a:lnTo>
                      <a:pt x="2388" y="91962"/>
                    </a:lnTo>
                    <a:cubicBezTo>
                      <a:pt x="-342" y="89724"/>
                      <a:pt x="-800" y="85627"/>
                      <a:pt x="1370" y="82809"/>
                    </a:cubicBezTo>
                    <a:cubicBezTo>
                      <a:pt x="3539" y="79988"/>
                      <a:pt x="7514" y="79519"/>
                      <a:pt x="10251" y="81759"/>
                    </a:cubicBezTo>
                    <a:lnTo>
                      <a:pt x="29380" y="97422"/>
                    </a:lnTo>
                    <a:cubicBezTo>
                      <a:pt x="30614" y="98438"/>
                      <a:pt x="32157" y="98857"/>
                      <a:pt x="33734" y="98639"/>
                    </a:cubicBezTo>
                    <a:cubicBezTo>
                      <a:pt x="35305" y="98404"/>
                      <a:pt x="36672" y="97542"/>
                      <a:pt x="37586" y="96202"/>
                    </a:cubicBezTo>
                    <a:lnTo>
                      <a:pt x="42180" y="89471"/>
                    </a:lnTo>
                    <a:cubicBezTo>
                      <a:pt x="43917" y="86931"/>
                      <a:pt x="43427" y="83427"/>
                      <a:pt x="41065" y="81493"/>
                    </a:cubicBezTo>
                    <a:lnTo>
                      <a:pt x="14317" y="57764"/>
                    </a:lnTo>
                    <a:cubicBezTo>
                      <a:pt x="11673" y="55420"/>
                      <a:pt x="11372" y="51311"/>
                      <a:pt x="13647" y="48581"/>
                    </a:cubicBezTo>
                    <a:cubicBezTo>
                      <a:pt x="15928" y="45858"/>
                      <a:pt x="19910" y="45548"/>
                      <a:pt x="22552" y="47881"/>
                    </a:cubicBezTo>
                    <a:lnTo>
                      <a:pt x="22564" y="47890"/>
                    </a:lnTo>
                    <a:lnTo>
                      <a:pt x="52798" y="74623"/>
                    </a:lnTo>
                    <a:cubicBezTo>
                      <a:pt x="55013" y="76455"/>
                      <a:pt x="58463" y="76144"/>
                      <a:pt x="60480" y="73768"/>
                    </a:cubicBezTo>
                    <a:lnTo>
                      <a:pt x="67802" y="65153"/>
                    </a:lnTo>
                    <a:cubicBezTo>
                      <a:pt x="69839" y="62757"/>
                      <a:pt x="69668" y="59176"/>
                      <a:pt x="67414" y="56997"/>
                    </a:cubicBezTo>
                    <a:lnTo>
                      <a:pt x="14563" y="11517"/>
                    </a:lnTo>
                    <a:cubicBezTo>
                      <a:pt x="11885" y="9211"/>
                      <a:pt x="11526" y="5105"/>
                      <a:pt x="13764" y="2341"/>
                    </a:cubicBezTo>
                    <a:cubicBezTo>
                      <a:pt x="16005" y="-423"/>
                      <a:pt x="19991" y="-793"/>
                      <a:pt x="22667" y="1517"/>
                    </a:cubicBezTo>
                    <a:lnTo>
                      <a:pt x="75791" y="47245"/>
                    </a:lnTo>
                    <a:cubicBezTo>
                      <a:pt x="83318" y="54504"/>
                      <a:pt x="83864" y="66031"/>
                      <a:pt x="77310" y="73741"/>
                    </a:cubicBezTo>
                    <a:lnTo>
                      <a:pt x="69988" y="82355"/>
                    </a:lnTo>
                    <a:cubicBezTo>
                      <a:pt x="66243" y="86764"/>
                      <a:pt x="60992" y="89038"/>
                      <a:pt x="55674" y="88806"/>
                    </a:cubicBezTo>
                    <a:cubicBezTo>
                      <a:pt x="55270" y="91660"/>
                      <a:pt x="54230" y="94462"/>
                      <a:pt x="52516" y="96971"/>
                    </a:cubicBezTo>
                    <a:lnTo>
                      <a:pt x="47922" y="103704"/>
                    </a:lnTo>
                    <a:cubicBezTo>
                      <a:pt x="45025" y="107941"/>
                      <a:pt x="40512" y="110793"/>
                      <a:pt x="35539" y="111531"/>
                    </a:cubicBezTo>
                    <a:cubicBezTo>
                      <a:pt x="34668" y="111657"/>
                      <a:pt x="33807" y="111723"/>
                      <a:pt x="32942" y="111723"/>
                    </a:cubicBezTo>
                    <a:close/>
                  </a:path>
                </a:pathLst>
              </a:custGeom>
              <a:solidFill>
                <a:schemeClr val="accent1"/>
              </a:solidFill>
              <a:ln w="225" cap="flat">
                <a:noFill/>
                <a:prstDash val="solid"/>
                <a:miter/>
              </a:ln>
            </p:spPr>
            <p:txBody>
              <a:bodyPr rtlCol="0" anchor="ctr"/>
              <a:lstStyle/>
              <a:p>
                <a:endParaRPr lang="en-GB" dirty="0"/>
              </a:p>
            </p:txBody>
          </p:sp>
          <p:sp>
            <p:nvSpPr>
              <p:cNvPr id="210" name="Freihandform: Form 507">
                <a:extLst>
                  <a:ext uri="{FF2B5EF4-FFF2-40B4-BE49-F238E27FC236}">
                    <a16:creationId xmlns:a16="http://schemas.microsoft.com/office/drawing/2014/main" id="{6AAFA989-BABE-4761-868D-9D695346B5BD}"/>
                  </a:ext>
                </a:extLst>
              </p:cNvPr>
              <p:cNvSpPr/>
              <p:nvPr/>
            </p:nvSpPr>
            <p:spPr>
              <a:xfrm>
                <a:off x="1806983" y="1627059"/>
                <a:ext cx="147627" cy="103902"/>
              </a:xfrm>
              <a:custGeom>
                <a:avLst/>
                <a:gdLst>
                  <a:gd name="connsiteX0" fmla="*/ 136198 w 147627"/>
                  <a:gd name="connsiteY0" fmla="*/ 103902 h 103902"/>
                  <a:gd name="connsiteX1" fmla="*/ 132410 w 147627"/>
                  <a:gd name="connsiteY1" fmla="*/ 102598 h 103902"/>
                  <a:gd name="connsiteX2" fmla="*/ 131151 w 147627"/>
                  <a:gd name="connsiteY2" fmla="*/ 93476 h 103902"/>
                  <a:gd name="connsiteX3" fmla="*/ 131923 w 147627"/>
                  <a:gd name="connsiteY3" fmla="*/ 92418 h 103902"/>
                  <a:gd name="connsiteX4" fmla="*/ 129457 w 147627"/>
                  <a:gd name="connsiteY4" fmla="*/ 70753 h 103902"/>
                  <a:gd name="connsiteX5" fmla="*/ 94011 w 147627"/>
                  <a:gd name="connsiteY5" fmla="*/ 40275 h 103902"/>
                  <a:gd name="connsiteX6" fmla="*/ 85875 w 147627"/>
                  <a:gd name="connsiteY6" fmla="*/ 37940 h 103902"/>
                  <a:gd name="connsiteX7" fmla="*/ 25269 w 147627"/>
                  <a:gd name="connsiteY7" fmla="*/ 29984 h 103902"/>
                  <a:gd name="connsiteX8" fmla="*/ 22015 w 147627"/>
                  <a:gd name="connsiteY8" fmla="*/ 28522 h 103902"/>
                  <a:gd name="connsiteX9" fmla="*/ 2268 w 147627"/>
                  <a:gd name="connsiteY9" fmla="*/ 11515 h 103902"/>
                  <a:gd name="connsiteX10" fmla="*/ 1470 w 147627"/>
                  <a:gd name="connsiteY10" fmla="*/ 2338 h 103902"/>
                  <a:gd name="connsiteX11" fmla="*/ 10373 w 147627"/>
                  <a:gd name="connsiteY11" fmla="*/ 1515 h 103902"/>
                  <a:gd name="connsiteX12" fmla="*/ 28701 w 147627"/>
                  <a:gd name="connsiteY12" fmla="*/ 17297 h 103902"/>
                  <a:gd name="connsiteX13" fmla="*/ 87183 w 147627"/>
                  <a:gd name="connsiteY13" fmla="*/ 24982 h 103902"/>
                  <a:gd name="connsiteX14" fmla="*/ 102149 w 147627"/>
                  <a:gd name="connsiteY14" fmla="*/ 30300 h 103902"/>
                  <a:gd name="connsiteX15" fmla="*/ 137554 w 147627"/>
                  <a:gd name="connsiteY15" fmla="*/ 60744 h 103902"/>
                  <a:gd name="connsiteX16" fmla="*/ 142038 w 147627"/>
                  <a:gd name="connsiteY16" fmla="*/ 100231 h 103902"/>
                  <a:gd name="connsiteX17" fmla="*/ 141259 w 147627"/>
                  <a:gd name="connsiteY17" fmla="*/ 101301 h 103902"/>
                  <a:gd name="connsiteX18" fmla="*/ 136198 w 147627"/>
                  <a:gd name="connsiteY18" fmla="*/ 103902 h 103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47627" h="103902">
                    <a:moveTo>
                      <a:pt x="136198" y="103902"/>
                    </a:moveTo>
                    <a:cubicBezTo>
                      <a:pt x="134879" y="103902"/>
                      <a:pt x="133547" y="103480"/>
                      <a:pt x="132410" y="102598"/>
                    </a:cubicBezTo>
                    <a:cubicBezTo>
                      <a:pt x="129621" y="100439"/>
                      <a:pt x="129055" y="96355"/>
                      <a:pt x="131151" y="93476"/>
                    </a:cubicBezTo>
                    <a:lnTo>
                      <a:pt x="131923" y="92418"/>
                    </a:lnTo>
                    <a:cubicBezTo>
                      <a:pt x="136819" y="85674"/>
                      <a:pt x="135740" y="76154"/>
                      <a:pt x="129457" y="70753"/>
                    </a:cubicBezTo>
                    <a:lnTo>
                      <a:pt x="94011" y="40275"/>
                    </a:lnTo>
                    <a:cubicBezTo>
                      <a:pt x="93022" y="39411"/>
                      <a:pt x="90335" y="38312"/>
                      <a:pt x="85875" y="37940"/>
                    </a:cubicBezTo>
                    <a:lnTo>
                      <a:pt x="25269" y="29984"/>
                    </a:lnTo>
                    <a:cubicBezTo>
                      <a:pt x="24071" y="29824"/>
                      <a:pt x="22943" y="29317"/>
                      <a:pt x="22015" y="28522"/>
                    </a:cubicBezTo>
                    <a:lnTo>
                      <a:pt x="2268" y="11515"/>
                    </a:lnTo>
                    <a:cubicBezTo>
                      <a:pt x="-410" y="9204"/>
                      <a:pt x="-768" y="5098"/>
                      <a:pt x="1470" y="2338"/>
                    </a:cubicBezTo>
                    <a:cubicBezTo>
                      <a:pt x="3710" y="-423"/>
                      <a:pt x="7695" y="-791"/>
                      <a:pt x="10373" y="1515"/>
                    </a:cubicBezTo>
                    <a:lnTo>
                      <a:pt x="28701" y="17297"/>
                    </a:lnTo>
                    <a:lnTo>
                      <a:pt x="87183" y="24982"/>
                    </a:lnTo>
                    <a:cubicBezTo>
                      <a:pt x="91499" y="25334"/>
                      <a:pt x="97887" y="26573"/>
                      <a:pt x="102149" y="30300"/>
                    </a:cubicBezTo>
                    <a:lnTo>
                      <a:pt x="137554" y="60744"/>
                    </a:lnTo>
                    <a:cubicBezTo>
                      <a:pt x="149000" y="70586"/>
                      <a:pt x="150968" y="87930"/>
                      <a:pt x="142038" y="100231"/>
                    </a:cubicBezTo>
                    <a:lnTo>
                      <a:pt x="141259" y="101301"/>
                    </a:lnTo>
                    <a:cubicBezTo>
                      <a:pt x="140016" y="103006"/>
                      <a:pt x="138121" y="103902"/>
                      <a:pt x="136198" y="103902"/>
                    </a:cubicBezTo>
                    <a:close/>
                  </a:path>
                </a:pathLst>
              </a:custGeom>
              <a:solidFill>
                <a:schemeClr val="accent1"/>
              </a:solidFill>
              <a:ln w="225" cap="flat">
                <a:noFill/>
                <a:prstDash val="solid"/>
                <a:miter/>
              </a:ln>
            </p:spPr>
            <p:txBody>
              <a:bodyPr rtlCol="0" anchor="ctr"/>
              <a:lstStyle/>
              <a:p>
                <a:endParaRPr lang="en-GB" dirty="0"/>
              </a:p>
            </p:txBody>
          </p:sp>
          <p:sp>
            <p:nvSpPr>
              <p:cNvPr id="211" name="Freihandform: Form 508">
                <a:extLst>
                  <a:ext uri="{FF2B5EF4-FFF2-40B4-BE49-F238E27FC236}">
                    <a16:creationId xmlns:a16="http://schemas.microsoft.com/office/drawing/2014/main" id="{81A545C4-C3B9-406E-8C20-B33D66BE1C67}"/>
                  </a:ext>
                </a:extLst>
              </p:cNvPr>
              <p:cNvSpPr/>
              <p:nvPr/>
            </p:nvSpPr>
            <p:spPr>
              <a:xfrm>
                <a:off x="1741725" y="1721218"/>
                <a:ext cx="147956" cy="122827"/>
              </a:xfrm>
              <a:custGeom>
                <a:avLst/>
                <a:gdLst>
                  <a:gd name="connsiteX0" fmla="*/ 124222 w 147956"/>
                  <a:gd name="connsiteY0" fmla="*/ 122828 h 122827"/>
                  <a:gd name="connsiteX1" fmla="*/ 113951 w 147956"/>
                  <a:gd name="connsiteY1" fmla="*/ 119459 h 122827"/>
                  <a:gd name="connsiteX2" fmla="*/ 40780 w 147956"/>
                  <a:gd name="connsiteY2" fmla="*/ 60611 h 122827"/>
                  <a:gd name="connsiteX3" fmla="*/ 38987 w 147956"/>
                  <a:gd name="connsiteY3" fmla="*/ 58328 h 122827"/>
                  <a:gd name="connsiteX4" fmla="*/ 27750 w 147956"/>
                  <a:gd name="connsiteY4" fmla="*/ 34558 h 122827"/>
                  <a:gd name="connsiteX5" fmla="*/ 2151 w 147956"/>
                  <a:gd name="connsiteY5" fmla="*/ 11411 h 122827"/>
                  <a:gd name="connsiteX6" fmla="*/ 1569 w 147956"/>
                  <a:gd name="connsiteY6" fmla="*/ 2214 h 122827"/>
                  <a:gd name="connsiteX7" fmla="*/ 10490 w 147956"/>
                  <a:gd name="connsiteY7" fmla="*/ 1614 h 122827"/>
                  <a:gd name="connsiteX8" fmla="*/ 37044 w 147956"/>
                  <a:gd name="connsiteY8" fmla="*/ 25625 h 122827"/>
                  <a:gd name="connsiteX9" fmla="*/ 38556 w 147956"/>
                  <a:gd name="connsiteY9" fmla="*/ 27672 h 122827"/>
                  <a:gd name="connsiteX10" fmla="*/ 49711 w 147956"/>
                  <a:gd name="connsiteY10" fmla="*/ 51268 h 122827"/>
                  <a:gd name="connsiteX11" fmla="*/ 121498 w 147956"/>
                  <a:gd name="connsiteY11" fmla="*/ 109015 h 122827"/>
                  <a:gd name="connsiteX12" fmla="*/ 128434 w 147956"/>
                  <a:gd name="connsiteY12" fmla="*/ 107650 h 122827"/>
                  <a:gd name="connsiteX13" fmla="*/ 134325 w 147956"/>
                  <a:gd name="connsiteY13" fmla="*/ 99360 h 122827"/>
                  <a:gd name="connsiteX14" fmla="*/ 133445 w 147956"/>
                  <a:gd name="connsiteY14" fmla="*/ 92104 h 122827"/>
                  <a:gd name="connsiteX15" fmla="*/ 121458 w 147956"/>
                  <a:gd name="connsiteY15" fmla="*/ 81899 h 122827"/>
                  <a:gd name="connsiteX16" fmla="*/ 120609 w 147956"/>
                  <a:gd name="connsiteY16" fmla="*/ 72730 h 122827"/>
                  <a:gd name="connsiteX17" fmla="*/ 129506 w 147956"/>
                  <a:gd name="connsiteY17" fmla="*/ 71854 h 122827"/>
                  <a:gd name="connsiteX18" fmla="*/ 141493 w 147956"/>
                  <a:gd name="connsiteY18" fmla="*/ 82059 h 122827"/>
                  <a:gd name="connsiteX19" fmla="*/ 144521 w 147956"/>
                  <a:gd name="connsiteY19" fmla="*/ 107061 h 122827"/>
                  <a:gd name="connsiteX20" fmla="*/ 138630 w 147956"/>
                  <a:gd name="connsiteY20" fmla="*/ 115350 h 122827"/>
                  <a:gd name="connsiteX21" fmla="*/ 124222 w 147956"/>
                  <a:gd name="connsiteY21" fmla="*/ 122828 h 12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7956" h="122827">
                    <a:moveTo>
                      <a:pt x="124222" y="122828"/>
                    </a:moveTo>
                    <a:cubicBezTo>
                      <a:pt x="120652" y="122828"/>
                      <a:pt x="117056" y="121733"/>
                      <a:pt x="113951" y="119459"/>
                    </a:cubicBezTo>
                    <a:lnTo>
                      <a:pt x="40780" y="60611"/>
                    </a:lnTo>
                    <a:cubicBezTo>
                      <a:pt x="40022" y="60000"/>
                      <a:pt x="39406" y="59219"/>
                      <a:pt x="38987" y="58328"/>
                    </a:cubicBezTo>
                    <a:lnTo>
                      <a:pt x="27750" y="34558"/>
                    </a:lnTo>
                    <a:lnTo>
                      <a:pt x="2151" y="11411"/>
                    </a:lnTo>
                    <a:cubicBezTo>
                      <a:pt x="-473" y="9037"/>
                      <a:pt x="-731" y="4922"/>
                      <a:pt x="1569" y="2214"/>
                    </a:cubicBezTo>
                    <a:cubicBezTo>
                      <a:pt x="3870" y="-486"/>
                      <a:pt x="7864" y="-753"/>
                      <a:pt x="10490" y="1614"/>
                    </a:cubicBezTo>
                    <a:lnTo>
                      <a:pt x="37044" y="25625"/>
                    </a:lnTo>
                    <a:cubicBezTo>
                      <a:pt x="37673" y="26198"/>
                      <a:pt x="38188" y="26891"/>
                      <a:pt x="38556" y="27672"/>
                    </a:cubicBezTo>
                    <a:lnTo>
                      <a:pt x="49711" y="51268"/>
                    </a:lnTo>
                    <a:lnTo>
                      <a:pt x="121498" y="109015"/>
                    </a:lnTo>
                    <a:cubicBezTo>
                      <a:pt x="123561" y="110522"/>
                      <a:pt x="126778" y="109983"/>
                      <a:pt x="128434" y="107650"/>
                    </a:cubicBezTo>
                    <a:lnTo>
                      <a:pt x="134325" y="99360"/>
                    </a:lnTo>
                    <a:cubicBezTo>
                      <a:pt x="135939" y="97088"/>
                      <a:pt x="135553" y="93898"/>
                      <a:pt x="133445" y="92104"/>
                    </a:cubicBezTo>
                    <a:lnTo>
                      <a:pt x="121458" y="81899"/>
                    </a:lnTo>
                    <a:cubicBezTo>
                      <a:pt x="118766" y="79609"/>
                      <a:pt x="118387" y="75502"/>
                      <a:pt x="120609" y="72730"/>
                    </a:cubicBezTo>
                    <a:cubicBezTo>
                      <a:pt x="122834" y="69959"/>
                      <a:pt x="126814" y="69571"/>
                      <a:pt x="129506" y="71854"/>
                    </a:cubicBezTo>
                    <a:lnTo>
                      <a:pt x="141493" y="82059"/>
                    </a:lnTo>
                    <a:cubicBezTo>
                      <a:pt x="148756" y="88244"/>
                      <a:pt x="150088" y="99223"/>
                      <a:pt x="144521" y="107061"/>
                    </a:cubicBezTo>
                    <a:lnTo>
                      <a:pt x="138630" y="115350"/>
                    </a:lnTo>
                    <a:cubicBezTo>
                      <a:pt x="135165" y="120231"/>
                      <a:pt x="129725" y="122828"/>
                      <a:pt x="124222" y="122828"/>
                    </a:cubicBezTo>
                    <a:close/>
                  </a:path>
                </a:pathLst>
              </a:custGeom>
              <a:solidFill>
                <a:schemeClr val="accent1"/>
              </a:solidFill>
              <a:ln w="225" cap="flat">
                <a:noFill/>
                <a:prstDash val="solid"/>
                <a:miter/>
              </a:ln>
            </p:spPr>
            <p:txBody>
              <a:bodyPr rtlCol="0" anchor="ctr"/>
              <a:lstStyle/>
              <a:p>
                <a:endParaRPr lang="en-GB" dirty="0"/>
              </a:p>
            </p:txBody>
          </p:sp>
          <p:sp>
            <p:nvSpPr>
              <p:cNvPr id="212" name="Freihandform: Form 509">
                <a:extLst>
                  <a:ext uri="{FF2B5EF4-FFF2-40B4-BE49-F238E27FC236}">
                    <a16:creationId xmlns:a16="http://schemas.microsoft.com/office/drawing/2014/main" id="{E99AE8A5-94B3-42B1-ACE3-BE4E7677730D}"/>
                  </a:ext>
                </a:extLst>
              </p:cNvPr>
              <p:cNvSpPr/>
              <p:nvPr/>
            </p:nvSpPr>
            <p:spPr>
              <a:xfrm>
                <a:off x="1866058" y="1764707"/>
                <a:ext cx="52056" cy="58765"/>
              </a:xfrm>
              <a:custGeom>
                <a:avLst/>
                <a:gdLst>
                  <a:gd name="connsiteX0" fmla="*/ 27700 w 52056"/>
                  <a:gd name="connsiteY0" fmla="*/ 58766 h 58765"/>
                  <a:gd name="connsiteX1" fmla="*/ 16114 w 52056"/>
                  <a:gd name="connsiteY1" fmla="*/ 54533 h 58765"/>
                  <a:gd name="connsiteX2" fmla="*/ 2333 w 52056"/>
                  <a:gd name="connsiteY2" fmla="*/ 42988 h 58765"/>
                  <a:gd name="connsiteX3" fmla="*/ 1417 w 52056"/>
                  <a:gd name="connsiteY3" fmla="*/ 33823 h 58765"/>
                  <a:gd name="connsiteX4" fmla="*/ 10307 w 52056"/>
                  <a:gd name="connsiteY4" fmla="*/ 32878 h 58765"/>
                  <a:gd name="connsiteX5" fmla="*/ 24088 w 52056"/>
                  <a:gd name="connsiteY5" fmla="*/ 44425 h 58765"/>
                  <a:gd name="connsiteX6" fmla="*/ 28458 w 52056"/>
                  <a:gd name="connsiteY6" fmla="*/ 45689 h 58765"/>
                  <a:gd name="connsiteX7" fmla="*/ 32334 w 52056"/>
                  <a:gd name="connsiteY7" fmla="*/ 43259 h 58765"/>
                  <a:gd name="connsiteX8" fmla="*/ 38397 w 52056"/>
                  <a:gd name="connsiteY8" fmla="*/ 34412 h 58765"/>
                  <a:gd name="connsiteX9" fmla="*/ 37382 w 52056"/>
                  <a:gd name="connsiteY9" fmla="*/ 26497 h 58765"/>
                  <a:gd name="connsiteX10" fmla="*/ 19857 w 52056"/>
                  <a:gd name="connsiteY10" fmla="*/ 11529 h 58765"/>
                  <a:gd name="connsiteX11" fmla="*/ 19025 w 52056"/>
                  <a:gd name="connsiteY11" fmla="*/ 2355 h 58765"/>
                  <a:gd name="connsiteX12" fmla="*/ 27924 w 52056"/>
                  <a:gd name="connsiteY12" fmla="*/ 1495 h 58765"/>
                  <a:gd name="connsiteX13" fmla="*/ 45448 w 52056"/>
                  <a:gd name="connsiteY13" fmla="*/ 16463 h 58765"/>
                  <a:gd name="connsiteX14" fmla="*/ 48720 w 52056"/>
                  <a:gd name="connsiteY14" fmla="*/ 41930 h 58765"/>
                  <a:gd name="connsiteX15" fmla="*/ 42659 w 52056"/>
                  <a:gd name="connsiteY15" fmla="*/ 50777 h 58765"/>
                  <a:gd name="connsiteX16" fmla="*/ 30177 w 52056"/>
                  <a:gd name="connsiteY16" fmla="*/ 58595 h 58765"/>
                  <a:gd name="connsiteX17" fmla="*/ 27700 w 52056"/>
                  <a:gd name="connsiteY17" fmla="*/ 58766 h 58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056" h="58765">
                    <a:moveTo>
                      <a:pt x="27700" y="58766"/>
                    </a:moveTo>
                    <a:cubicBezTo>
                      <a:pt x="23512" y="58766"/>
                      <a:pt x="19393" y="57281"/>
                      <a:pt x="16114" y="54533"/>
                    </a:cubicBezTo>
                    <a:lnTo>
                      <a:pt x="2333" y="42988"/>
                    </a:lnTo>
                    <a:cubicBezTo>
                      <a:pt x="-372" y="40720"/>
                      <a:pt x="-788" y="36616"/>
                      <a:pt x="1417" y="33823"/>
                    </a:cubicBezTo>
                    <a:cubicBezTo>
                      <a:pt x="3617" y="31030"/>
                      <a:pt x="7597" y="30608"/>
                      <a:pt x="10307" y="32878"/>
                    </a:cubicBezTo>
                    <a:lnTo>
                      <a:pt x="24088" y="44425"/>
                    </a:lnTo>
                    <a:cubicBezTo>
                      <a:pt x="25329" y="45463"/>
                      <a:pt x="26877" y="45905"/>
                      <a:pt x="28458" y="45689"/>
                    </a:cubicBezTo>
                    <a:cubicBezTo>
                      <a:pt x="30038" y="45463"/>
                      <a:pt x="31414" y="44601"/>
                      <a:pt x="32334" y="43259"/>
                    </a:cubicBezTo>
                    <a:lnTo>
                      <a:pt x="38397" y="34412"/>
                    </a:lnTo>
                    <a:cubicBezTo>
                      <a:pt x="40107" y="31921"/>
                      <a:pt x="39658" y="28444"/>
                      <a:pt x="37382" y="26497"/>
                    </a:cubicBezTo>
                    <a:lnTo>
                      <a:pt x="19857" y="11529"/>
                    </a:lnTo>
                    <a:cubicBezTo>
                      <a:pt x="17170" y="9232"/>
                      <a:pt x="16796" y="5125"/>
                      <a:pt x="19025" y="2355"/>
                    </a:cubicBezTo>
                    <a:cubicBezTo>
                      <a:pt x="21256" y="-409"/>
                      <a:pt x="25243" y="-797"/>
                      <a:pt x="27924" y="1495"/>
                    </a:cubicBezTo>
                    <a:lnTo>
                      <a:pt x="45448" y="16463"/>
                    </a:lnTo>
                    <a:cubicBezTo>
                      <a:pt x="52781" y="22729"/>
                      <a:pt x="54218" y="33915"/>
                      <a:pt x="48720" y="41930"/>
                    </a:cubicBezTo>
                    <a:lnTo>
                      <a:pt x="42659" y="50777"/>
                    </a:lnTo>
                    <a:cubicBezTo>
                      <a:pt x="39737" y="55036"/>
                      <a:pt x="35189" y="57886"/>
                      <a:pt x="30177" y="58595"/>
                    </a:cubicBezTo>
                    <a:cubicBezTo>
                      <a:pt x="29349" y="58710"/>
                      <a:pt x="28524" y="58766"/>
                      <a:pt x="27700" y="58766"/>
                    </a:cubicBezTo>
                    <a:close/>
                  </a:path>
                </a:pathLst>
              </a:custGeom>
              <a:solidFill>
                <a:schemeClr val="accent1"/>
              </a:solidFill>
              <a:ln w="225" cap="flat">
                <a:noFill/>
                <a:prstDash val="solid"/>
                <a:miter/>
              </a:ln>
            </p:spPr>
            <p:txBody>
              <a:bodyPr rtlCol="0" anchor="ctr"/>
              <a:lstStyle/>
              <a:p>
                <a:endParaRPr lang="en-GB" dirty="0"/>
              </a:p>
            </p:txBody>
          </p:sp>
        </p:grpSp>
      </p:grpSp>
      <p:grpSp>
        <p:nvGrpSpPr>
          <p:cNvPr id="493" name="Group 492">
            <a:extLst>
              <a:ext uri="{FF2B5EF4-FFF2-40B4-BE49-F238E27FC236}">
                <a16:creationId xmlns:a16="http://schemas.microsoft.com/office/drawing/2014/main" id="{3FE2D37A-D15E-1939-37BD-F7F592238EC9}"/>
              </a:ext>
            </a:extLst>
          </p:cNvPr>
          <p:cNvGrpSpPr/>
          <p:nvPr/>
        </p:nvGrpSpPr>
        <p:grpSpPr>
          <a:xfrm>
            <a:off x="3655974" y="3212058"/>
            <a:ext cx="602756" cy="432000"/>
            <a:chOff x="3655974" y="3212058"/>
            <a:chExt cx="602756" cy="432000"/>
          </a:xfrm>
        </p:grpSpPr>
        <p:grpSp>
          <p:nvGrpSpPr>
            <p:cNvPr id="225" name="Gruppieren 1038">
              <a:extLst>
                <a:ext uri="{FF2B5EF4-FFF2-40B4-BE49-F238E27FC236}">
                  <a16:creationId xmlns:a16="http://schemas.microsoft.com/office/drawing/2014/main" id="{3DC002FA-803D-4003-A4B2-C521725BB3CE}"/>
                </a:ext>
              </a:extLst>
            </p:cNvPr>
            <p:cNvGrpSpPr/>
            <p:nvPr/>
          </p:nvGrpSpPr>
          <p:grpSpPr>
            <a:xfrm>
              <a:off x="3752852" y="3212058"/>
              <a:ext cx="430150" cy="432000"/>
              <a:chOff x="2583296" y="2491290"/>
              <a:chExt cx="411533" cy="413303"/>
            </a:xfrm>
          </p:grpSpPr>
          <p:sp>
            <p:nvSpPr>
              <p:cNvPr id="237" name="Freihandform: Form 245">
                <a:extLst>
                  <a:ext uri="{FF2B5EF4-FFF2-40B4-BE49-F238E27FC236}">
                    <a16:creationId xmlns:a16="http://schemas.microsoft.com/office/drawing/2014/main" id="{BCE24B50-EE71-431E-8766-AF5AC55BECCD}"/>
                  </a:ext>
                </a:extLst>
              </p:cNvPr>
              <p:cNvSpPr/>
              <p:nvPr/>
            </p:nvSpPr>
            <p:spPr>
              <a:xfrm>
                <a:off x="2856307" y="2494035"/>
                <a:ext cx="79502" cy="92501"/>
              </a:xfrm>
              <a:custGeom>
                <a:avLst/>
                <a:gdLst>
                  <a:gd name="connsiteX0" fmla="*/ 39979 w 79502"/>
                  <a:gd name="connsiteY0" fmla="*/ 92502 h 92501"/>
                  <a:gd name="connsiteX1" fmla="*/ 39794 w 79502"/>
                  <a:gd name="connsiteY1" fmla="*/ 92502 h 92501"/>
                  <a:gd name="connsiteX2" fmla="*/ 0 w 79502"/>
                  <a:gd name="connsiteY2" fmla="*/ 46126 h 92501"/>
                  <a:gd name="connsiteX3" fmla="*/ 12608 w 79502"/>
                  <a:gd name="connsiteY3" fmla="*/ 10971 h 92501"/>
                  <a:gd name="connsiteX4" fmla="*/ 39708 w 79502"/>
                  <a:gd name="connsiteY4" fmla="*/ 1 h 92501"/>
                  <a:gd name="connsiteX5" fmla="*/ 79502 w 79502"/>
                  <a:gd name="connsiteY5" fmla="*/ 46374 h 92501"/>
                  <a:gd name="connsiteX6" fmla="*/ 66894 w 79502"/>
                  <a:gd name="connsiteY6" fmla="*/ 81532 h 92501"/>
                  <a:gd name="connsiteX7" fmla="*/ 39979 w 79502"/>
                  <a:gd name="connsiteY7" fmla="*/ 92502 h 92501"/>
                  <a:gd name="connsiteX8" fmla="*/ 12640 w 79502"/>
                  <a:gd name="connsiteY8" fmla="*/ 46101 h 92501"/>
                  <a:gd name="connsiteX9" fmla="*/ 39844 w 79502"/>
                  <a:gd name="connsiteY9" fmla="*/ 79474 h 92501"/>
                  <a:gd name="connsiteX10" fmla="*/ 39979 w 79502"/>
                  <a:gd name="connsiteY10" fmla="*/ 79474 h 92501"/>
                  <a:gd name="connsiteX11" fmla="*/ 57964 w 79502"/>
                  <a:gd name="connsiteY11" fmla="*/ 72310 h 92501"/>
                  <a:gd name="connsiteX12" fmla="*/ 66862 w 79502"/>
                  <a:gd name="connsiteY12" fmla="*/ 46399 h 92501"/>
                  <a:gd name="connsiteX13" fmla="*/ 39659 w 79502"/>
                  <a:gd name="connsiteY13" fmla="*/ 13029 h 92501"/>
                  <a:gd name="connsiteX14" fmla="*/ 21534 w 79502"/>
                  <a:gd name="connsiteY14" fmla="*/ 20193 h 92501"/>
                  <a:gd name="connsiteX15" fmla="*/ 12640 w 79502"/>
                  <a:gd name="connsiteY15" fmla="*/ 46101 h 92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502" h="92501">
                    <a:moveTo>
                      <a:pt x="39979" y="92502"/>
                    </a:moveTo>
                    <a:cubicBezTo>
                      <a:pt x="39918" y="92502"/>
                      <a:pt x="39855" y="92502"/>
                      <a:pt x="39794" y="92502"/>
                    </a:cubicBezTo>
                    <a:cubicBezTo>
                      <a:pt x="16410" y="92407"/>
                      <a:pt x="43" y="73335"/>
                      <a:pt x="0" y="46126"/>
                    </a:cubicBezTo>
                    <a:cubicBezTo>
                      <a:pt x="-25" y="31842"/>
                      <a:pt x="4456" y="19356"/>
                      <a:pt x="12608" y="10971"/>
                    </a:cubicBezTo>
                    <a:cubicBezTo>
                      <a:pt x="19632" y="3751"/>
                      <a:pt x="29235" y="-80"/>
                      <a:pt x="39708" y="1"/>
                    </a:cubicBezTo>
                    <a:cubicBezTo>
                      <a:pt x="63092" y="94"/>
                      <a:pt x="79459" y="19166"/>
                      <a:pt x="79502" y="46374"/>
                    </a:cubicBezTo>
                    <a:cubicBezTo>
                      <a:pt x="79527" y="60659"/>
                      <a:pt x="75046" y="73145"/>
                      <a:pt x="66894" y="81532"/>
                    </a:cubicBezTo>
                    <a:cubicBezTo>
                      <a:pt x="59913" y="88711"/>
                      <a:pt x="50606" y="92502"/>
                      <a:pt x="39979" y="92502"/>
                    </a:cubicBezTo>
                    <a:close/>
                    <a:moveTo>
                      <a:pt x="12640" y="46101"/>
                    </a:moveTo>
                    <a:cubicBezTo>
                      <a:pt x="12665" y="61446"/>
                      <a:pt x="19806" y="79393"/>
                      <a:pt x="39844" y="79474"/>
                    </a:cubicBezTo>
                    <a:cubicBezTo>
                      <a:pt x="39893" y="79474"/>
                      <a:pt x="39936" y="79474"/>
                      <a:pt x="39979" y="79474"/>
                    </a:cubicBezTo>
                    <a:cubicBezTo>
                      <a:pt x="47292" y="79474"/>
                      <a:pt x="53341" y="77062"/>
                      <a:pt x="57964" y="72310"/>
                    </a:cubicBezTo>
                    <a:cubicBezTo>
                      <a:pt x="63722" y="66390"/>
                      <a:pt x="66883" y="57189"/>
                      <a:pt x="66862" y="46399"/>
                    </a:cubicBezTo>
                    <a:cubicBezTo>
                      <a:pt x="66838" y="31054"/>
                      <a:pt x="59697" y="13108"/>
                      <a:pt x="39659" y="13029"/>
                    </a:cubicBezTo>
                    <a:cubicBezTo>
                      <a:pt x="32400" y="13155"/>
                      <a:pt x="26180" y="15412"/>
                      <a:pt x="21534" y="20193"/>
                    </a:cubicBezTo>
                    <a:cubicBezTo>
                      <a:pt x="15781" y="26113"/>
                      <a:pt x="12622" y="35314"/>
                      <a:pt x="12640" y="46101"/>
                    </a:cubicBezTo>
                    <a:close/>
                  </a:path>
                </a:pathLst>
              </a:custGeom>
              <a:solidFill>
                <a:schemeClr val="accent1"/>
              </a:solidFill>
              <a:ln w="225" cap="flat">
                <a:noFill/>
                <a:prstDash val="solid"/>
                <a:miter/>
              </a:ln>
            </p:spPr>
            <p:txBody>
              <a:bodyPr rtlCol="0" anchor="ctr"/>
              <a:lstStyle/>
              <a:p>
                <a:endParaRPr lang="en-GB" dirty="0"/>
              </a:p>
            </p:txBody>
          </p:sp>
          <p:sp>
            <p:nvSpPr>
              <p:cNvPr id="238" name="Freihandform: Form 246">
                <a:extLst>
                  <a:ext uri="{FF2B5EF4-FFF2-40B4-BE49-F238E27FC236}">
                    <a16:creationId xmlns:a16="http://schemas.microsoft.com/office/drawing/2014/main" id="{58662F5B-DE17-4ADB-81C2-6E85F100CA87}"/>
                  </a:ext>
                </a:extLst>
              </p:cNvPr>
              <p:cNvSpPr/>
              <p:nvPr/>
            </p:nvSpPr>
            <p:spPr>
              <a:xfrm>
                <a:off x="2844020" y="2598260"/>
                <a:ext cx="150809" cy="306333"/>
              </a:xfrm>
              <a:custGeom>
                <a:avLst/>
                <a:gdLst>
                  <a:gd name="connsiteX0" fmla="*/ 6480 w 150809"/>
                  <a:gd name="connsiteY0" fmla="*/ 306334 h 306333"/>
                  <a:gd name="connsiteX1" fmla="*/ 160 w 150809"/>
                  <a:gd name="connsiteY1" fmla="*/ 299822 h 306333"/>
                  <a:gd name="connsiteX2" fmla="*/ 0 w 150809"/>
                  <a:gd name="connsiteY2" fmla="*/ 38548 h 306333"/>
                  <a:gd name="connsiteX3" fmla="*/ 32623 w 150809"/>
                  <a:gd name="connsiteY3" fmla="*/ 0 h 306333"/>
                  <a:gd name="connsiteX4" fmla="*/ 82336 w 150809"/>
                  <a:gd name="connsiteY4" fmla="*/ 160 h 306333"/>
                  <a:gd name="connsiteX5" fmla="*/ 82559 w 150809"/>
                  <a:gd name="connsiteY5" fmla="*/ 160 h 306333"/>
                  <a:gd name="connsiteX6" fmla="*/ 130956 w 150809"/>
                  <a:gd name="connsiteY6" fmla="*/ 30175 h 306333"/>
                  <a:gd name="connsiteX7" fmla="*/ 131642 w 150809"/>
                  <a:gd name="connsiteY7" fmla="*/ 31795 h 306333"/>
                  <a:gd name="connsiteX8" fmla="*/ 149268 w 150809"/>
                  <a:gd name="connsiteY8" fmla="*/ 96501 h 306333"/>
                  <a:gd name="connsiteX9" fmla="*/ 149503 w 150809"/>
                  <a:gd name="connsiteY9" fmla="*/ 98094 h 306333"/>
                  <a:gd name="connsiteX10" fmla="*/ 150762 w 150809"/>
                  <a:gd name="connsiteY10" fmla="*/ 148602 h 306333"/>
                  <a:gd name="connsiteX11" fmla="*/ 145992 w 150809"/>
                  <a:gd name="connsiteY11" fmla="*/ 163151 h 306333"/>
                  <a:gd name="connsiteX12" fmla="*/ 132982 w 150809"/>
                  <a:gd name="connsiteY12" fmla="*/ 169128 h 306333"/>
                  <a:gd name="connsiteX13" fmla="*/ 112714 w 150809"/>
                  <a:gd name="connsiteY13" fmla="*/ 149753 h 306333"/>
                  <a:gd name="connsiteX14" fmla="*/ 107771 w 150809"/>
                  <a:gd name="connsiteY14" fmla="*/ 106672 h 306333"/>
                  <a:gd name="connsiteX15" fmla="*/ 101277 w 150809"/>
                  <a:gd name="connsiteY15" fmla="*/ 88604 h 306333"/>
                  <a:gd name="connsiteX16" fmla="*/ 101277 w 150809"/>
                  <a:gd name="connsiteY16" fmla="*/ 299820 h 306333"/>
                  <a:gd name="connsiteX17" fmla="*/ 94957 w 150809"/>
                  <a:gd name="connsiteY17" fmla="*/ 306334 h 306333"/>
                  <a:gd name="connsiteX18" fmla="*/ 88638 w 150809"/>
                  <a:gd name="connsiteY18" fmla="*/ 299820 h 306333"/>
                  <a:gd name="connsiteX19" fmla="*/ 88638 w 150809"/>
                  <a:gd name="connsiteY19" fmla="*/ 52276 h 306333"/>
                  <a:gd name="connsiteX20" fmla="*/ 93841 w 150809"/>
                  <a:gd name="connsiteY20" fmla="*/ 45863 h 306333"/>
                  <a:gd name="connsiteX21" fmla="*/ 100882 w 150809"/>
                  <a:gd name="connsiteY21" fmla="*/ 50010 h 306333"/>
                  <a:gd name="connsiteX22" fmla="*/ 119885 w 150809"/>
                  <a:gd name="connsiteY22" fmla="*/ 102870 h 306333"/>
                  <a:gd name="connsiteX23" fmla="*/ 120237 w 150809"/>
                  <a:gd name="connsiteY23" fmla="*/ 104371 h 306333"/>
                  <a:gd name="connsiteX24" fmla="*/ 125304 w 150809"/>
                  <a:gd name="connsiteY24" fmla="*/ 148684 h 306333"/>
                  <a:gd name="connsiteX25" fmla="*/ 132685 w 150809"/>
                  <a:gd name="connsiteY25" fmla="*/ 156098 h 306333"/>
                  <a:gd name="connsiteX26" fmla="*/ 136671 w 150809"/>
                  <a:gd name="connsiteY26" fmla="*/ 154349 h 306333"/>
                  <a:gd name="connsiteX27" fmla="*/ 138134 w 150809"/>
                  <a:gd name="connsiteY27" fmla="*/ 149205 h 306333"/>
                  <a:gd name="connsiteX28" fmla="*/ 136886 w 150809"/>
                  <a:gd name="connsiteY28" fmla="*/ 99240 h 306333"/>
                  <a:gd name="connsiteX29" fmla="*/ 119711 w 150809"/>
                  <a:gd name="connsiteY29" fmla="*/ 36202 h 306333"/>
                  <a:gd name="connsiteX30" fmla="*/ 82503 w 150809"/>
                  <a:gd name="connsiteY30" fmla="*/ 13188 h 306333"/>
                  <a:gd name="connsiteX31" fmla="*/ 82349 w 150809"/>
                  <a:gd name="connsiteY31" fmla="*/ 13188 h 306333"/>
                  <a:gd name="connsiteX32" fmla="*/ 32637 w 150809"/>
                  <a:gd name="connsiteY32" fmla="*/ 13030 h 306333"/>
                  <a:gd name="connsiteX33" fmla="*/ 12642 w 150809"/>
                  <a:gd name="connsiteY33" fmla="*/ 38724 h 306333"/>
                  <a:gd name="connsiteX34" fmla="*/ 12802 w 150809"/>
                  <a:gd name="connsiteY34" fmla="*/ 299815 h 306333"/>
                  <a:gd name="connsiteX35" fmla="*/ 6489 w 150809"/>
                  <a:gd name="connsiteY35" fmla="*/ 306334 h 306333"/>
                  <a:gd name="connsiteX36" fmla="*/ 6480 w 150809"/>
                  <a:gd name="connsiteY36" fmla="*/ 306334 h 306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50809" h="306333">
                    <a:moveTo>
                      <a:pt x="6480" y="306334"/>
                    </a:moveTo>
                    <a:cubicBezTo>
                      <a:pt x="2994" y="306334"/>
                      <a:pt x="160" y="303421"/>
                      <a:pt x="160" y="299822"/>
                    </a:cubicBezTo>
                    <a:lnTo>
                      <a:pt x="0" y="38548"/>
                    </a:lnTo>
                    <a:cubicBezTo>
                      <a:pt x="636" y="14447"/>
                      <a:pt x="17082" y="77"/>
                      <a:pt x="32623" y="0"/>
                    </a:cubicBezTo>
                    <a:lnTo>
                      <a:pt x="82336" y="160"/>
                    </a:lnTo>
                    <a:cubicBezTo>
                      <a:pt x="82410" y="160"/>
                      <a:pt x="82485" y="160"/>
                      <a:pt x="82559" y="160"/>
                    </a:cubicBezTo>
                    <a:cubicBezTo>
                      <a:pt x="101487" y="160"/>
                      <a:pt x="120034" y="11642"/>
                      <a:pt x="130956" y="30175"/>
                    </a:cubicBezTo>
                    <a:cubicBezTo>
                      <a:pt x="131252" y="30681"/>
                      <a:pt x="131487" y="31225"/>
                      <a:pt x="131642" y="31795"/>
                    </a:cubicBezTo>
                    <a:lnTo>
                      <a:pt x="149268" y="96501"/>
                    </a:lnTo>
                    <a:cubicBezTo>
                      <a:pt x="149410" y="97022"/>
                      <a:pt x="149485" y="97557"/>
                      <a:pt x="149503" y="98094"/>
                    </a:cubicBezTo>
                    <a:lnTo>
                      <a:pt x="150762" y="148602"/>
                    </a:lnTo>
                    <a:cubicBezTo>
                      <a:pt x="151121" y="154020"/>
                      <a:pt x="149428" y="159284"/>
                      <a:pt x="145992" y="163151"/>
                    </a:cubicBezTo>
                    <a:cubicBezTo>
                      <a:pt x="142660" y="166899"/>
                      <a:pt x="138036" y="169022"/>
                      <a:pt x="132982" y="169128"/>
                    </a:cubicBezTo>
                    <a:cubicBezTo>
                      <a:pt x="120214" y="168940"/>
                      <a:pt x="113134" y="159006"/>
                      <a:pt x="112714" y="149753"/>
                    </a:cubicBezTo>
                    <a:lnTo>
                      <a:pt x="107771" y="106672"/>
                    </a:lnTo>
                    <a:lnTo>
                      <a:pt x="101277" y="88604"/>
                    </a:lnTo>
                    <a:lnTo>
                      <a:pt x="101277" y="299820"/>
                    </a:lnTo>
                    <a:cubicBezTo>
                      <a:pt x="101277" y="303416"/>
                      <a:pt x="98450" y="306334"/>
                      <a:pt x="94957" y="306334"/>
                    </a:cubicBezTo>
                    <a:cubicBezTo>
                      <a:pt x="91465" y="306334"/>
                      <a:pt x="88638" y="303416"/>
                      <a:pt x="88638" y="299820"/>
                    </a:cubicBezTo>
                    <a:lnTo>
                      <a:pt x="88638" y="52276"/>
                    </a:lnTo>
                    <a:cubicBezTo>
                      <a:pt x="88638" y="49121"/>
                      <a:pt x="90829" y="46420"/>
                      <a:pt x="93841" y="45863"/>
                    </a:cubicBezTo>
                    <a:cubicBezTo>
                      <a:pt x="96853" y="45304"/>
                      <a:pt x="99815" y="47052"/>
                      <a:pt x="100882" y="50010"/>
                    </a:cubicBezTo>
                    <a:lnTo>
                      <a:pt x="119885" y="102870"/>
                    </a:lnTo>
                    <a:cubicBezTo>
                      <a:pt x="120058" y="103357"/>
                      <a:pt x="120176" y="103858"/>
                      <a:pt x="120237" y="104371"/>
                    </a:cubicBezTo>
                    <a:lnTo>
                      <a:pt x="125304" y="148684"/>
                    </a:lnTo>
                    <a:cubicBezTo>
                      <a:pt x="125446" y="151511"/>
                      <a:pt x="127125" y="156017"/>
                      <a:pt x="132685" y="156098"/>
                    </a:cubicBezTo>
                    <a:cubicBezTo>
                      <a:pt x="134295" y="156066"/>
                      <a:pt x="135697" y="155446"/>
                      <a:pt x="136671" y="154349"/>
                    </a:cubicBezTo>
                    <a:cubicBezTo>
                      <a:pt x="137770" y="153115"/>
                      <a:pt x="138276" y="151337"/>
                      <a:pt x="138134" y="149205"/>
                    </a:cubicBezTo>
                    <a:lnTo>
                      <a:pt x="136886" y="99240"/>
                    </a:lnTo>
                    <a:lnTo>
                      <a:pt x="119711" y="36202"/>
                    </a:lnTo>
                    <a:cubicBezTo>
                      <a:pt x="111139" y="22181"/>
                      <a:pt x="96629" y="13188"/>
                      <a:pt x="82503" y="13188"/>
                    </a:cubicBezTo>
                    <a:cubicBezTo>
                      <a:pt x="82446" y="13188"/>
                      <a:pt x="82399" y="13188"/>
                      <a:pt x="82349" y="13188"/>
                    </a:cubicBezTo>
                    <a:lnTo>
                      <a:pt x="32637" y="13030"/>
                    </a:lnTo>
                    <a:cubicBezTo>
                      <a:pt x="23163" y="13075"/>
                      <a:pt x="13062" y="22700"/>
                      <a:pt x="12642" y="38724"/>
                    </a:cubicBezTo>
                    <a:lnTo>
                      <a:pt x="12802" y="299815"/>
                    </a:lnTo>
                    <a:cubicBezTo>
                      <a:pt x="12802" y="303412"/>
                      <a:pt x="9975" y="306329"/>
                      <a:pt x="6489" y="306334"/>
                    </a:cubicBezTo>
                    <a:cubicBezTo>
                      <a:pt x="6480" y="306334"/>
                      <a:pt x="6480" y="306334"/>
                      <a:pt x="6480" y="306334"/>
                    </a:cubicBezTo>
                    <a:close/>
                  </a:path>
                </a:pathLst>
              </a:custGeom>
              <a:solidFill>
                <a:schemeClr val="accent1"/>
              </a:solidFill>
              <a:ln w="225" cap="flat">
                <a:noFill/>
                <a:prstDash val="solid"/>
                <a:miter/>
              </a:ln>
            </p:spPr>
            <p:txBody>
              <a:bodyPr rtlCol="0" anchor="ctr"/>
              <a:lstStyle/>
              <a:p>
                <a:endParaRPr lang="en-GB" dirty="0"/>
              </a:p>
            </p:txBody>
          </p:sp>
          <p:sp>
            <p:nvSpPr>
              <p:cNvPr id="239" name="Freihandform: Form 247">
                <a:extLst>
                  <a:ext uri="{FF2B5EF4-FFF2-40B4-BE49-F238E27FC236}">
                    <a16:creationId xmlns:a16="http://schemas.microsoft.com/office/drawing/2014/main" id="{A022C07A-22F4-48F1-81C7-071AC5F5B26D}"/>
                  </a:ext>
                </a:extLst>
              </p:cNvPr>
              <p:cNvSpPr/>
              <p:nvPr/>
            </p:nvSpPr>
            <p:spPr>
              <a:xfrm>
                <a:off x="2738696" y="2608634"/>
                <a:ext cx="125354" cy="114216"/>
              </a:xfrm>
              <a:custGeom>
                <a:avLst/>
                <a:gdLst>
                  <a:gd name="connsiteX0" fmla="*/ 17638 w 125354"/>
                  <a:gd name="connsiteY0" fmla="*/ 114217 h 114216"/>
                  <a:gd name="connsiteX1" fmla="*/ 16785 w 125354"/>
                  <a:gd name="connsiteY1" fmla="*/ 114156 h 114216"/>
                  <a:gd name="connsiteX2" fmla="*/ 17 w 125354"/>
                  <a:gd name="connsiteY2" fmla="*/ 93486 h 114216"/>
                  <a:gd name="connsiteX3" fmla="*/ 18191 w 125354"/>
                  <a:gd name="connsiteY3" fmla="*/ 73250 h 114216"/>
                  <a:gd name="connsiteX4" fmla="*/ 57689 w 125354"/>
                  <a:gd name="connsiteY4" fmla="*/ 68629 h 114216"/>
                  <a:gd name="connsiteX5" fmla="*/ 115838 w 125354"/>
                  <a:gd name="connsiteY5" fmla="*/ 0 h 114216"/>
                  <a:gd name="connsiteX6" fmla="*/ 125355 w 125354"/>
                  <a:gd name="connsiteY6" fmla="*/ 8569 h 114216"/>
                  <a:gd name="connsiteX7" fmla="*/ 65595 w 125354"/>
                  <a:gd name="connsiteY7" fmla="*/ 79100 h 114216"/>
                  <a:gd name="connsiteX8" fmla="*/ 61552 w 125354"/>
                  <a:gd name="connsiteY8" fmla="*/ 81289 h 114216"/>
                  <a:gd name="connsiteX9" fmla="*/ 19276 w 125354"/>
                  <a:gd name="connsiteY9" fmla="*/ 86239 h 114216"/>
                  <a:gd name="connsiteX10" fmla="*/ 18493 w 125354"/>
                  <a:gd name="connsiteY10" fmla="*/ 86280 h 114216"/>
                  <a:gd name="connsiteX11" fmla="*/ 18444 w 125354"/>
                  <a:gd name="connsiteY11" fmla="*/ 86280 h 114216"/>
                  <a:gd name="connsiteX12" fmla="*/ 12643 w 125354"/>
                  <a:gd name="connsiteY12" fmla="*/ 94021 h 114216"/>
                  <a:gd name="connsiteX13" fmla="*/ 17999 w 125354"/>
                  <a:gd name="connsiteY13" fmla="*/ 101160 h 114216"/>
                  <a:gd name="connsiteX14" fmla="*/ 67761 w 125354"/>
                  <a:gd name="connsiteY14" fmla="*/ 98522 h 114216"/>
                  <a:gd name="connsiteX15" fmla="*/ 107291 w 125354"/>
                  <a:gd name="connsiteY15" fmla="*/ 67503 h 114216"/>
                  <a:gd name="connsiteX16" fmla="*/ 114945 w 125354"/>
                  <a:gd name="connsiteY16" fmla="*/ 77866 h 114216"/>
                  <a:gd name="connsiteX17" fmla="*/ 73867 w 125354"/>
                  <a:gd name="connsiteY17" fmla="*/ 110106 h 114216"/>
                  <a:gd name="connsiteX18" fmla="*/ 70367 w 125354"/>
                  <a:gd name="connsiteY18" fmla="*/ 111428 h 114216"/>
                  <a:gd name="connsiteX19" fmla="*/ 17965 w 125354"/>
                  <a:gd name="connsiteY19" fmla="*/ 114206 h 114216"/>
                  <a:gd name="connsiteX20" fmla="*/ 17638 w 125354"/>
                  <a:gd name="connsiteY20" fmla="*/ 114217 h 114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5354" h="114216">
                    <a:moveTo>
                      <a:pt x="17638" y="114217"/>
                    </a:moveTo>
                    <a:cubicBezTo>
                      <a:pt x="17354" y="114217"/>
                      <a:pt x="17070" y="114199"/>
                      <a:pt x="16785" y="114156"/>
                    </a:cubicBezTo>
                    <a:cubicBezTo>
                      <a:pt x="6813" y="112757"/>
                      <a:pt x="-396" y="103870"/>
                      <a:pt x="17" y="93486"/>
                    </a:cubicBezTo>
                    <a:cubicBezTo>
                      <a:pt x="468" y="82194"/>
                      <a:pt x="8410" y="73399"/>
                      <a:pt x="18191" y="73250"/>
                    </a:cubicBezTo>
                    <a:lnTo>
                      <a:pt x="57689" y="68629"/>
                    </a:lnTo>
                    <a:lnTo>
                      <a:pt x="115838" y="0"/>
                    </a:lnTo>
                    <a:lnTo>
                      <a:pt x="125355" y="8569"/>
                    </a:lnTo>
                    <a:lnTo>
                      <a:pt x="65595" y="79100"/>
                    </a:lnTo>
                    <a:cubicBezTo>
                      <a:pt x="64560" y="80325"/>
                      <a:pt x="63113" y="81104"/>
                      <a:pt x="61552" y="81289"/>
                    </a:cubicBezTo>
                    <a:lnTo>
                      <a:pt x="19276" y="86239"/>
                    </a:lnTo>
                    <a:cubicBezTo>
                      <a:pt x="19010" y="86269"/>
                      <a:pt x="18672" y="86253"/>
                      <a:pt x="18493" y="86280"/>
                    </a:cubicBezTo>
                    <a:cubicBezTo>
                      <a:pt x="18475" y="86280"/>
                      <a:pt x="18457" y="86280"/>
                      <a:pt x="18444" y="86280"/>
                    </a:cubicBezTo>
                    <a:cubicBezTo>
                      <a:pt x="15050" y="86280"/>
                      <a:pt x="12789" y="90287"/>
                      <a:pt x="12643" y="94021"/>
                    </a:cubicBezTo>
                    <a:cubicBezTo>
                      <a:pt x="12507" y="97478"/>
                      <a:pt x="14777" y="100463"/>
                      <a:pt x="17999" y="101160"/>
                    </a:cubicBezTo>
                    <a:lnTo>
                      <a:pt x="67761" y="98522"/>
                    </a:lnTo>
                    <a:lnTo>
                      <a:pt x="107291" y="67503"/>
                    </a:lnTo>
                    <a:lnTo>
                      <a:pt x="114945" y="77866"/>
                    </a:lnTo>
                    <a:lnTo>
                      <a:pt x="73867" y="110106"/>
                    </a:lnTo>
                    <a:cubicBezTo>
                      <a:pt x="72854" y="110900"/>
                      <a:pt x="71633" y="111363"/>
                      <a:pt x="70367" y="111428"/>
                    </a:cubicBezTo>
                    <a:lnTo>
                      <a:pt x="17965" y="114206"/>
                    </a:lnTo>
                    <a:cubicBezTo>
                      <a:pt x="17855" y="114215"/>
                      <a:pt x="17749" y="114217"/>
                      <a:pt x="17638" y="114217"/>
                    </a:cubicBezTo>
                    <a:close/>
                  </a:path>
                </a:pathLst>
              </a:custGeom>
              <a:solidFill>
                <a:schemeClr val="accent1"/>
              </a:solidFill>
              <a:ln w="225" cap="flat">
                <a:noFill/>
                <a:prstDash val="solid"/>
                <a:miter/>
              </a:ln>
            </p:spPr>
            <p:txBody>
              <a:bodyPr rtlCol="0" anchor="ctr"/>
              <a:lstStyle/>
              <a:p>
                <a:endParaRPr lang="en-GB" dirty="0"/>
              </a:p>
            </p:txBody>
          </p:sp>
          <p:sp>
            <p:nvSpPr>
              <p:cNvPr id="240" name="Freihandform: Form 248">
                <a:extLst>
                  <a:ext uri="{FF2B5EF4-FFF2-40B4-BE49-F238E27FC236}">
                    <a16:creationId xmlns:a16="http://schemas.microsoft.com/office/drawing/2014/main" id="{1153047E-9784-400E-AACB-98E6C25F358D}"/>
                  </a:ext>
                </a:extLst>
              </p:cNvPr>
              <p:cNvSpPr/>
              <p:nvPr/>
            </p:nvSpPr>
            <p:spPr>
              <a:xfrm>
                <a:off x="2888419" y="2761280"/>
                <a:ext cx="12639" cy="143313"/>
              </a:xfrm>
              <a:custGeom>
                <a:avLst/>
                <a:gdLst>
                  <a:gd name="connsiteX0" fmla="*/ 6320 w 12639"/>
                  <a:gd name="connsiteY0" fmla="*/ 143314 h 143313"/>
                  <a:gd name="connsiteX1" fmla="*/ 0 w 12639"/>
                  <a:gd name="connsiteY1" fmla="*/ 136800 h 143313"/>
                  <a:gd name="connsiteX2" fmla="*/ 0 w 12639"/>
                  <a:gd name="connsiteY2" fmla="*/ 6514 h 143313"/>
                  <a:gd name="connsiteX3" fmla="*/ 6320 w 12639"/>
                  <a:gd name="connsiteY3" fmla="*/ 0 h 143313"/>
                  <a:gd name="connsiteX4" fmla="*/ 12640 w 12639"/>
                  <a:gd name="connsiteY4" fmla="*/ 6514 h 143313"/>
                  <a:gd name="connsiteX5" fmla="*/ 12640 w 12639"/>
                  <a:gd name="connsiteY5" fmla="*/ 136800 h 143313"/>
                  <a:gd name="connsiteX6" fmla="*/ 6320 w 12639"/>
                  <a:gd name="connsiteY6" fmla="*/ 143314 h 143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39" h="143313">
                    <a:moveTo>
                      <a:pt x="6320" y="143314"/>
                    </a:moveTo>
                    <a:cubicBezTo>
                      <a:pt x="2827" y="143314"/>
                      <a:pt x="0" y="140396"/>
                      <a:pt x="0" y="136800"/>
                    </a:cubicBezTo>
                    <a:lnTo>
                      <a:pt x="0" y="6514"/>
                    </a:lnTo>
                    <a:cubicBezTo>
                      <a:pt x="0" y="2917"/>
                      <a:pt x="2827" y="0"/>
                      <a:pt x="6320" y="0"/>
                    </a:cubicBezTo>
                    <a:cubicBezTo>
                      <a:pt x="9813" y="0"/>
                      <a:pt x="12640" y="2917"/>
                      <a:pt x="12640" y="6514"/>
                    </a:cubicBezTo>
                    <a:lnTo>
                      <a:pt x="12640" y="136800"/>
                    </a:lnTo>
                    <a:cubicBezTo>
                      <a:pt x="12640" y="140399"/>
                      <a:pt x="9813" y="143314"/>
                      <a:pt x="6320" y="143314"/>
                    </a:cubicBezTo>
                    <a:close/>
                  </a:path>
                </a:pathLst>
              </a:custGeom>
              <a:solidFill>
                <a:schemeClr val="accent1"/>
              </a:solidFill>
              <a:ln w="225" cap="flat">
                <a:noFill/>
                <a:prstDash val="solid"/>
                <a:miter/>
              </a:ln>
            </p:spPr>
            <p:txBody>
              <a:bodyPr rtlCol="0" anchor="ctr"/>
              <a:lstStyle/>
              <a:p>
                <a:endParaRPr lang="en-GB" dirty="0"/>
              </a:p>
            </p:txBody>
          </p:sp>
          <p:grpSp>
            <p:nvGrpSpPr>
              <p:cNvPr id="241" name="Graphic 8">
                <a:extLst>
                  <a:ext uri="{FF2B5EF4-FFF2-40B4-BE49-F238E27FC236}">
                    <a16:creationId xmlns:a16="http://schemas.microsoft.com/office/drawing/2014/main" id="{8F90E464-1790-4785-A892-25449DEA43FD}"/>
                  </a:ext>
                </a:extLst>
              </p:cNvPr>
              <p:cNvGrpSpPr/>
              <p:nvPr/>
            </p:nvGrpSpPr>
            <p:grpSpPr>
              <a:xfrm>
                <a:off x="2583296" y="2491290"/>
                <a:ext cx="177715" cy="413303"/>
                <a:chOff x="2583296" y="2491290"/>
                <a:chExt cx="177715" cy="413303"/>
              </a:xfrm>
              <a:solidFill>
                <a:schemeClr val="accent1"/>
              </a:solidFill>
            </p:grpSpPr>
            <p:sp>
              <p:nvSpPr>
                <p:cNvPr id="242" name="Freihandform: Form 250">
                  <a:extLst>
                    <a:ext uri="{FF2B5EF4-FFF2-40B4-BE49-F238E27FC236}">
                      <a16:creationId xmlns:a16="http://schemas.microsoft.com/office/drawing/2014/main" id="{A2F263F6-1F35-4315-B8E9-B641BFA29055}"/>
                    </a:ext>
                  </a:extLst>
                </p:cNvPr>
                <p:cNvSpPr/>
                <p:nvPr/>
              </p:nvSpPr>
              <p:spPr>
                <a:xfrm>
                  <a:off x="2613882" y="2705365"/>
                  <a:ext cx="13756" cy="199228"/>
                </a:xfrm>
                <a:custGeom>
                  <a:avLst/>
                  <a:gdLst>
                    <a:gd name="connsiteX0" fmla="*/ 6320 w 13756"/>
                    <a:gd name="connsiteY0" fmla="*/ 199229 h 199228"/>
                    <a:gd name="connsiteX1" fmla="*/ 6284 w 13756"/>
                    <a:gd name="connsiteY1" fmla="*/ 199229 h 199228"/>
                    <a:gd name="connsiteX2" fmla="*/ 0 w 13756"/>
                    <a:gd name="connsiteY2" fmla="*/ 192672 h 199228"/>
                    <a:gd name="connsiteX3" fmla="*/ 1117 w 13756"/>
                    <a:gd name="connsiteY3" fmla="*/ 6473 h 199228"/>
                    <a:gd name="connsiteX4" fmla="*/ 7437 w 13756"/>
                    <a:gd name="connsiteY4" fmla="*/ 0 h 199228"/>
                    <a:gd name="connsiteX5" fmla="*/ 7473 w 13756"/>
                    <a:gd name="connsiteY5" fmla="*/ 0 h 199228"/>
                    <a:gd name="connsiteX6" fmla="*/ 13757 w 13756"/>
                    <a:gd name="connsiteY6" fmla="*/ 6557 h 199228"/>
                    <a:gd name="connsiteX7" fmla="*/ 12640 w 13756"/>
                    <a:gd name="connsiteY7" fmla="*/ 192755 h 199228"/>
                    <a:gd name="connsiteX8" fmla="*/ 6320 w 13756"/>
                    <a:gd name="connsiteY8" fmla="*/ 199229 h 199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56" h="199228">
                      <a:moveTo>
                        <a:pt x="6320" y="199229"/>
                      </a:moveTo>
                      <a:cubicBezTo>
                        <a:pt x="6309" y="199229"/>
                        <a:pt x="6295" y="199229"/>
                        <a:pt x="6284" y="199229"/>
                      </a:cubicBezTo>
                      <a:cubicBezTo>
                        <a:pt x="2791" y="199206"/>
                        <a:pt x="-18" y="196271"/>
                        <a:pt x="0" y="192672"/>
                      </a:cubicBezTo>
                      <a:lnTo>
                        <a:pt x="1117" y="6473"/>
                      </a:lnTo>
                      <a:cubicBezTo>
                        <a:pt x="1142" y="2892"/>
                        <a:pt x="3962" y="0"/>
                        <a:pt x="7437" y="0"/>
                      </a:cubicBezTo>
                      <a:cubicBezTo>
                        <a:pt x="7448" y="0"/>
                        <a:pt x="7462" y="0"/>
                        <a:pt x="7473" y="0"/>
                      </a:cubicBezTo>
                      <a:cubicBezTo>
                        <a:pt x="10966" y="22"/>
                        <a:pt x="13775" y="2958"/>
                        <a:pt x="13757" y="6557"/>
                      </a:cubicBezTo>
                      <a:lnTo>
                        <a:pt x="12640" y="192755"/>
                      </a:lnTo>
                      <a:cubicBezTo>
                        <a:pt x="12615" y="196338"/>
                        <a:pt x="9795" y="199229"/>
                        <a:pt x="6320" y="199229"/>
                      </a:cubicBezTo>
                      <a:close/>
                    </a:path>
                  </a:pathLst>
                </a:custGeom>
                <a:solidFill>
                  <a:schemeClr val="accent1"/>
                </a:solidFill>
                <a:ln w="225" cap="flat">
                  <a:noFill/>
                  <a:prstDash val="solid"/>
                  <a:miter/>
                </a:ln>
              </p:spPr>
              <p:txBody>
                <a:bodyPr rtlCol="0" anchor="ctr"/>
                <a:lstStyle/>
                <a:p>
                  <a:endParaRPr lang="en-GB" dirty="0"/>
                </a:p>
              </p:txBody>
            </p:sp>
            <p:sp>
              <p:nvSpPr>
                <p:cNvPr id="243" name="Freihandform: Form 251">
                  <a:extLst>
                    <a:ext uri="{FF2B5EF4-FFF2-40B4-BE49-F238E27FC236}">
                      <a16:creationId xmlns:a16="http://schemas.microsoft.com/office/drawing/2014/main" id="{2BC3F8D1-3626-4177-BEAF-491DA487CD16}"/>
                    </a:ext>
                  </a:extLst>
                </p:cNvPr>
                <p:cNvSpPr/>
                <p:nvPr/>
              </p:nvSpPr>
              <p:spPr>
                <a:xfrm>
                  <a:off x="2696976" y="2660298"/>
                  <a:ext cx="12639" cy="33449"/>
                </a:xfrm>
                <a:custGeom>
                  <a:avLst/>
                  <a:gdLst>
                    <a:gd name="connsiteX0" fmla="*/ 6320 w 12639"/>
                    <a:gd name="connsiteY0" fmla="*/ 33449 h 33449"/>
                    <a:gd name="connsiteX1" fmla="*/ 0 w 12639"/>
                    <a:gd name="connsiteY1" fmla="*/ 26935 h 33449"/>
                    <a:gd name="connsiteX2" fmla="*/ 0 w 12639"/>
                    <a:gd name="connsiteY2" fmla="*/ 6514 h 33449"/>
                    <a:gd name="connsiteX3" fmla="*/ 6320 w 12639"/>
                    <a:gd name="connsiteY3" fmla="*/ 0 h 33449"/>
                    <a:gd name="connsiteX4" fmla="*/ 12640 w 12639"/>
                    <a:gd name="connsiteY4" fmla="*/ 6514 h 33449"/>
                    <a:gd name="connsiteX5" fmla="*/ 12640 w 12639"/>
                    <a:gd name="connsiteY5" fmla="*/ 26935 h 33449"/>
                    <a:gd name="connsiteX6" fmla="*/ 6320 w 12639"/>
                    <a:gd name="connsiteY6" fmla="*/ 33449 h 33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39" h="33449">
                      <a:moveTo>
                        <a:pt x="6320" y="33449"/>
                      </a:moveTo>
                      <a:cubicBezTo>
                        <a:pt x="2827" y="33449"/>
                        <a:pt x="0" y="30532"/>
                        <a:pt x="0" y="26935"/>
                      </a:cubicBezTo>
                      <a:lnTo>
                        <a:pt x="0" y="6514"/>
                      </a:lnTo>
                      <a:cubicBezTo>
                        <a:pt x="0" y="2917"/>
                        <a:pt x="2827" y="0"/>
                        <a:pt x="6320" y="0"/>
                      </a:cubicBezTo>
                      <a:cubicBezTo>
                        <a:pt x="9813" y="0"/>
                        <a:pt x="12640" y="2917"/>
                        <a:pt x="12640" y="6514"/>
                      </a:cubicBezTo>
                      <a:lnTo>
                        <a:pt x="12640" y="26935"/>
                      </a:lnTo>
                      <a:cubicBezTo>
                        <a:pt x="12640" y="30532"/>
                        <a:pt x="9813" y="33449"/>
                        <a:pt x="6320" y="33449"/>
                      </a:cubicBezTo>
                      <a:close/>
                    </a:path>
                  </a:pathLst>
                </a:custGeom>
                <a:solidFill>
                  <a:schemeClr val="accent1"/>
                </a:solidFill>
                <a:ln w="225" cap="flat">
                  <a:noFill/>
                  <a:prstDash val="solid"/>
                  <a:miter/>
                </a:ln>
              </p:spPr>
              <p:txBody>
                <a:bodyPr rtlCol="0" anchor="ctr"/>
                <a:lstStyle/>
                <a:p>
                  <a:endParaRPr lang="en-GB" dirty="0"/>
                </a:p>
              </p:txBody>
            </p:sp>
            <p:sp>
              <p:nvSpPr>
                <p:cNvPr id="244" name="Freihandform: Form 252">
                  <a:extLst>
                    <a:ext uri="{FF2B5EF4-FFF2-40B4-BE49-F238E27FC236}">
                      <a16:creationId xmlns:a16="http://schemas.microsoft.com/office/drawing/2014/main" id="{DD604D0F-6EE2-4347-AF6A-585429D9E7EA}"/>
                    </a:ext>
                  </a:extLst>
                </p:cNvPr>
                <p:cNvSpPr/>
                <p:nvPr/>
              </p:nvSpPr>
              <p:spPr>
                <a:xfrm>
                  <a:off x="2695864" y="2714519"/>
                  <a:ext cx="13750" cy="190074"/>
                </a:xfrm>
                <a:custGeom>
                  <a:avLst/>
                  <a:gdLst>
                    <a:gd name="connsiteX0" fmla="*/ 6320 w 13750"/>
                    <a:gd name="connsiteY0" fmla="*/ 190075 h 190074"/>
                    <a:gd name="connsiteX1" fmla="*/ 6277 w 13750"/>
                    <a:gd name="connsiteY1" fmla="*/ 190075 h 190074"/>
                    <a:gd name="connsiteX2" fmla="*/ 0 w 13750"/>
                    <a:gd name="connsiteY2" fmla="*/ 183518 h 190074"/>
                    <a:gd name="connsiteX3" fmla="*/ 1110 w 13750"/>
                    <a:gd name="connsiteY3" fmla="*/ 6473 h 190074"/>
                    <a:gd name="connsiteX4" fmla="*/ 7430 w 13750"/>
                    <a:gd name="connsiteY4" fmla="*/ 0 h 190074"/>
                    <a:gd name="connsiteX5" fmla="*/ 7473 w 13750"/>
                    <a:gd name="connsiteY5" fmla="*/ 0 h 190074"/>
                    <a:gd name="connsiteX6" fmla="*/ 13750 w 13750"/>
                    <a:gd name="connsiteY6" fmla="*/ 6557 h 190074"/>
                    <a:gd name="connsiteX7" fmla="*/ 12640 w 13750"/>
                    <a:gd name="connsiteY7" fmla="*/ 183602 h 190074"/>
                    <a:gd name="connsiteX8" fmla="*/ 6320 w 13750"/>
                    <a:gd name="connsiteY8" fmla="*/ 190075 h 190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50" h="190074">
                      <a:moveTo>
                        <a:pt x="6320" y="190075"/>
                      </a:moveTo>
                      <a:cubicBezTo>
                        <a:pt x="6309" y="190075"/>
                        <a:pt x="6295" y="190075"/>
                        <a:pt x="6277" y="190075"/>
                      </a:cubicBezTo>
                      <a:cubicBezTo>
                        <a:pt x="2791" y="190052"/>
                        <a:pt x="-25" y="187117"/>
                        <a:pt x="0" y="183518"/>
                      </a:cubicBezTo>
                      <a:lnTo>
                        <a:pt x="1110" y="6473"/>
                      </a:lnTo>
                      <a:cubicBezTo>
                        <a:pt x="1135" y="2888"/>
                        <a:pt x="3955" y="0"/>
                        <a:pt x="7430" y="0"/>
                      </a:cubicBezTo>
                      <a:cubicBezTo>
                        <a:pt x="7441" y="0"/>
                        <a:pt x="7455" y="0"/>
                        <a:pt x="7473" y="0"/>
                      </a:cubicBezTo>
                      <a:cubicBezTo>
                        <a:pt x="10959" y="23"/>
                        <a:pt x="13775" y="2958"/>
                        <a:pt x="13750" y="6557"/>
                      </a:cubicBezTo>
                      <a:lnTo>
                        <a:pt x="12640" y="183602"/>
                      </a:lnTo>
                      <a:cubicBezTo>
                        <a:pt x="12615" y="187187"/>
                        <a:pt x="9795" y="190075"/>
                        <a:pt x="6320" y="190075"/>
                      </a:cubicBezTo>
                      <a:close/>
                    </a:path>
                  </a:pathLst>
                </a:custGeom>
                <a:solidFill>
                  <a:schemeClr val="accent1"/>
                </a:solidFill>
                <a:ln w="225" cap="flat">
                  <a:noFill/>
                  <a:prstDash val="solid"/>
                  <a:miter/>
                </a:ln>
              </p:spPr>
              <p:txBody>
                <a:bodyPr rtlCol="0" anchor="ctr"/>
                <a:lstStyle/>
                <a:p>
                  <a:endParaRPr lang="en-GB" dirty="0"/>
                </a:p>
              </p:txBody>
            </p:sp>
            <p:sp>
              <p:nvSpPr>
                <p:cNvPr id="245" name="Freihandform: Form 253">
                  <a:extLst>
                    <a:ext uri="{FF2B5EF4-FFF2-40B4-BE49-F238E27FC236}">
                      <a16:creationId xmlns:a16="http://schemas.microsoft.com/office/drawing/2014/main" id="{1650102E-47B2-4184-9F2B-732F0770FC09}"/>
                    </a:ext>
                  </a:extLst>
                </p:cNvPr>
                <p:cNvSpPr/>
                <p:nvPr/>
              </p:nvSpPr>
              <p:spPr>
                <a:xfrm>
                  <a:off x="2656749" y="2761700"/>
                  <a:ext cx="13756" cy="142894"/>
                </a:xfrm>
                <a:custGeom>
                  <a:avLst/>
                  <a:gdLst>
                    <a:gd name="connsiteX0" fmla="*/ 6320 w 13756"/>
                    <a:gd name="connsiteY0" fmla="*/ 142894 h 142894"/>
                    <a:gd name="connsiteX1" fmla="*/ 6264 w 13756"/>
                    <a:gd name="connsiteY1" fmla="*/ 142894 h 142894"/>
                    <a:gd name="connsiteX2" fmla="*/ 0 w 13756"/>
                    <a:gd name="connsiteY2" fmla="*/ 136322 h 142894"/>
                    <a:gd name="connsiteX3" fmla="*/ 1117 w 13756"/>
                    <a:gd name="connsiteY3" fmla="*/ 6457 h 142894"/>
                    <a:gd name="connsiteX4" fmla="*/ 7437 w 13756"/>
                    <a:gd name="connsiteY4" fmla="*/ 0 h 142894"/>
                    <a:gd name="connsiteX5" fmla="*/ 7493 w 13756"/>
                    <a:gd name="connsiteY5" fmla="*/ 0 h 142894"/>
                    <a:gd name="connsiteX6" fmla="*/ 13757 w 13756"/>
                    <a:gd name="connsiteY6" fmla="*/ 6572 h 142894"/>
                    <a:gd name="connsiteX7" fmla="*/ 12640 w 13756"/>
                    <a:gd name="connsiteY7" fmla="*/ 136437 h 142894"/>
                    <a:gd name="connsiteX8" fmla="*/ 6320 w 13756"/>
                    <a:gd name="connsiteY8" fmla="*/ 142894 h 14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56" h="142894">
                      <a:moveTo>
                        <a:pt x="6320" y="142894"/>
                      </a:moveTo>
                      <a:cubicBezTo>
                        <a:pt x="6302" y="142894"/>
                        <a:pt x="6284" y="142894"/>
                        <a:pt x="6264" y="142894"/>
                      </a:cubicBezTo>
                      <a:cubicBezTo>
                        <a:pt x="2771" y="142863"/>
                        <a:pt x="-31" y="139920"/>
                        <a:pt x="0" y="136322"/>
                      </a:cubicBezTo>
                      <a:lnTo>
                        <a:pt x="1117" y="6457"/>
                      </a:lnTo>
                      <a:cubicBezTo>
                        <a:pt x="1149" y="2879"/>
                        <a:pt x="3974" y="0"/>
                        <a:pt x="7437" y="0"/>
                      </a:cubicBezTo>
                      <a:cubicBezTo>
                        <a:pt x="7455" y="0"/>
                        <a:pt x="7473" y="0"/>
                        <a:pt x="7493" y="0"/>
                      </a:cubicBezTo>
                      <a:cubicBezTo>
                        <a:pt x="10986" y="32"/>
                        <a:pt x="13788" y="2974"/>
                        <a:pt x="13757" y="6572"/>
                      </a:cubicBezTo>
                      <a:lnTo>
                        <a:pt x="12640" y="136437"/>
                      </a:lnTo>
                      <a:cubicBezTo>
                        <a:pt x="12608" y="140017"/>
                        <a:pt x="9783" y="142894"/>
                        <a:pt x="6320" y="142894"/>
                      </a:cubicBezTo>
                      <a:close/>
                    </a:path>
                  </a:pathLst>
                </a:custGeom>
                <a:solidFill>
                  <a:schemeClr val="accent1"/>
                </a:solidFill>
                <a:ln w="225" cap="flat">
                  <a:noFill/>
                  <a:prstDash val="solid"/>
                  <a:miter/>
                </a:ln>
              </p:spPr>
              <p:txBody>
                <a:bodyPr rtlCol="0" anchor="ctr"/>
                <a:lstStyle/>
                <a:p>
                  <a:endParaRPr lang="en-GB" dirty="0"/>
                </a:p>
              </p:txBody>
            </p:sp>
            <p:sp>
              <p:nvSpPr>
                <p:cNvPr id="246" name="Freihandform: Form 254">
                  <a:extLst>
                    <a:ext uri="{FF2B5EF4-FFF2-40B4-BE49-F238E27FC236}">
                      <a16:creationId xmlns:a16="http://schemas.microsoft.com/office/drawing/2014/main" id="{FA4D971B-FCCC-4D3F-9560-D4F383E5E389}"/>
                    </a:ext>
                  </a:extLst>
                </p:cNvPr>
                <p:cNvSpPr/>
                <p:nvPr/>
              </p:nvSpPr>
              <p:spPr>
                <a:xfrm>
                  <a:off x="2628103" y="2656237"/>
                  <a:ext cx="131729" cy="40380"/>
                </a:xfrm>
                <a:custGeom>
                  <a:avLst/>
                  <a:gdLst>
                    <a:gd name="connsiteX0" fmla="*/ 92382 w 131729"/>
                    <a:gd name="connsiteY0" fmla="*/ 40381 h 40380"/>
                    <a:gd name="connsiteX1" fmla="*/ 41794 w 131729"/>
                    <a:gd name="connsiteY1" fmla="*/ 35902 h 40380"/>
                    <a:gd name="connsiteX2" fmla="*/ 1118 w 131729"/>
                    <a:gd name="connsiteY2" fmla="*/ 10217 h 40380"/>
                    <a:gd name="connsiteX3" fmla="*/ 2729 w 131729"/>
                    <a:gd name="connsiteY3" fmla="*/ 1156 h 40380"/>
                    <a:gd name="connsiteX4" fmla="*/ 11524 w 131729"/>
                    <a:gd name="connsiteY4" fmla="*/ 2814 h 40380"/>
                    <a:gd name="connsiteX5" fmla="*/ 44314 w 131729"/>
                    <a:gd name="connsiteY5" fmla="*/ 23136 h 40380"/>
                    <a:gd name="connsiteX6" fmla="*/ 124773 w 131729"/>
                    <a:gd name="connsiteY6" fmla="*/ 25887 h 40380"/>
                    <a:gd name="connsiteX7" fmla="*/ 131697 w 131729"/>
                    <a:gd name="connsiteY7" fmla="*/ 31715 h 40380"/>
                    <a:gd name="connsiteX8" fmla="*/ 126043 w 131729"/>
                    <a:gd name="connsiteY8" fmla="*/ 38853 h 40380"/>
                    <a:gd name="connsiteX9" fmla="*/ 92382 w 131729"/>
                    <a:gd name="connsiteY9" fmla="*/ 40381 h 40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729" h="40380">
                      <a:moveTo>
                        <a:pt x="92382" y="40381"/>
                      </a:moveTo>
                      <a:cubicBezTo>
                        <a:pt x="77008" y="40381"/>
                        <a:pt x="58542" y="39409"/>
                        <a:pt x="41794" y="35902"/>
                      </a:cubicBezTo>
                      <a:cubicBezTo>
                        <a:pt x="24193" y="32218"/>
                        <a:pt x="9746" y="23096"/>
                        <a:pt x="1118" y="10217"/>
                      </a:cubicBezTo>
                      <a:cubicBezTo>
                        <a:pt x="-863" y="7254"/>
                        <a:pt x="-141" y="3198"/>
                        <a:pt x="2729" y="1156"/>
                      </a:cubicBezTo>
                      <a:cubicBezTo>
                        <a:pt x="5599" y="-888"/>
                        <a:pt x="9536" y="-151"/>
                        <a:pt x="11524" y="2814"/>
                      </a:cubicBezTo>
                      <a:cubicBezTo>
                        <a:pt x="18182" y="12764"/>
                        <a:pt x="30138" y="20169"/>
                        <a:pt x="44314" y="23136"/>
                      </a:cubicBezTo>
                      <a:cubicBezTo>
                        <a:pt x="79424" y="30485"/>
                        <a:pt x="124321" y="25936"/>
                        <a:pt x="124773" y="25887"/>
                      </a:cubicBezTo>
                      <a:cubicBezTo>
                        <a:pt x="128333" y="25523"/>
                        <a:pt x="131352" y="28143"/>
                        <a:pt x="131697" y="31715"/>
                      </a:cubicBezTo>
                      <a:cubicBezTo>
                        <a:pt x="132049" y="35295"/>
                        <a:pt x="129518" y="38490"/>
                        <a:pt x="126043" y="38853"/>
                      </a:cubicBezTo>
                      <a:cubicBezTo>
                        <a:pt x="124992" y="38957"/>
                        <a:pt x="110940" y="40381"/>
                        <a:pt x="92382" y="40381"/>
                      </a:cubicBezTo>
                      <a:close/>
                    </a:path>
                  </a:pathLst>
                </a:custGeom>
                <a:solidFill>
                  <a:schemeClr val="accent1"/>
                </a:solidFill>
                <a:ln w="225" cap="flat">
                  <a:noFill/>
                  <a:prstDash val="solid"/>
                  <a:miter/>
                </a:ln>
              </p:spPr>
              <p:txBody>
                <a:bodyPr rtlCol="0" anchor="ctr"/>
                <a:lstStyle/>
                <a:p>
                  <a:endParaRPr lang="en-GB" dirty="0"/>
                </a:p>
              </p:txBody>
            </p:sp>
            <p:sp>
              <p:nvSpPr>
                <p:cNvPr id="247" name="Freihandform: Form 255">
                  <a:extLst>
                    <a:ext uri="{FF2B5EF4-FFF2-40B4-BE49-F238E27FC236}">
                      <a16:creationId xmlns:a16="http://schemas.microsoft.com/office/drawing/2014/main" id="{4BCF050B-D2E6-4499-BC29-55B9E3C7A66A}"/>
                    </a:ext>
                  </a:extLst>
                </p:cNvPr>
                <p:cNvSpPr/>
                <p:nvPr/>
              </p:nvSpPr>
              <p:spPr>
                <a:xfrm>
                  <a:off x="2583296" y="2592669"/>
                  <a:ext cx="177715" cy="134209"/>
                </a:xfrm>
                <a:custGeom>
                  <a:avLst/>
                  <a:gdLst>
                    <a:gd name="connsiteX0" fmla="*/ 114538 w 177715"/>
                    <a:gd name="connsiteY0" fmla="*/ 134210 h 134209"/>
                    <a:gd name="connsiteX1" fmla="*/ 19145 w 177715"/>
                    <a:gd name="connsiteY1" fmla="*/ 108098 h 134209"/>
                    <a:gd name="connsiteX2" fmla="*/ 14 w 177715"/>
                    <a:gd name="connsiteY2" fmla="*/ 60439 h 134209"/>
                    <a:gd name="connsiteX3" fmla="*/ 16140 w 177715"/>
                    <a:gd name="connsiteY3" fmla="*/ 15898 h 134209"/>
                    <a:gd name="connsiteX4" fmla="*/ 65475 w 177715"/>
                    <a:gd name="connsiteY4" fmla="*/ 25 h 134209"/>
                    <a:gd name="connsiteX5" fmla="*/ 94383 w 177715"/>
                    <a:gd name="connsiteY5" fmla="*/ 25 h 134209"/>
                    <a:gd name="connsiteX6" fmla="*/ 132281 w 177715"/>
                    <a:gd name="connsiteY6" fmla="*/ 15356 h 134209"/>
                    <a:gd name="connsiteX7" fmla="*/ 150661 w 177715"/>
                    <a:gd name="connsiteY7" fmla="*/ 74279 h 134209"/>
                    <a:gd name="connsiteX8" fmla="*/ 150661 w 177715"/>
                    <a:gd name="connsiteY8" fmla="*/ 94102 h 134209"/>
                    <a:gd name="connsiteX9" fmla="*/ 144341 w 177715"/>
                    <a:gd name="connsiteY9" fmla="*/ 100616 h 134209"/>
                    <a:gd name="connsiteX10" fmla="*/ 138021 w 177715"/>
                    <a:gd name="connsiteY10" fmla="*/ 94102 h 134209"/>
                    <a:gd name="connsiteX11" fmla="*/ 138021 w 177715"/>
                    <a:gd name="connsiteY11" fmla="*/ 74152 h 134209"/>
                    <a:gd name="connsiteX12" fmla="*/ 123258 w 177715"/>
                    <a:gd name="connsiteY12" fmla="*/ 24480 h 134209"/>
                    <a:gd name="connsiteX13" fmla="*/ 94383 w 177715"/>
                    <a:gd name="connsiteY13" fmla="*/ 13055 h 134209"/>
                    <a:gd name="connsiteX14" fmla="*/ 65344 w 177715"/>
                    <a:gd name="connsiteY14" fmla="*/ 13055 h 134209"/>
                    <a:gd name="connsiteX15" fmla="*/ 24896 w 177715"/>
                    <a:gd name="connsiteY15" fmla="*/ 25290 h 134209"/>
                    <a:gd name="connsiteX16" fmla="*/ 12652 w 177715"/>
                    <a:gd name="connsiteY16" fmla="*/ 60687 h 134209"/>
                    <a:gd name="connsiteX17" fmla="*/ 27617 w 177715"/>
                    <a:gd name="connsiteY17" fmla="*/ 98430 h 134209"/>
                    <a:gd name="connsiteX18" fmla="*/ 170642 w 177715"/>
                    <a:gd name="connsiteY18" fmla="*/ 117355 h 134209"/>
                    <a:gd name="connsiteX19" fmla="*/ 177671 w 177715"/>
                    <a:gd name="connsiteY19" fmla="*/ 123046 h 134209"/>
                    <a:gd name="connsiteX20" fmla="*/ 172147 w 177715"/>
                    <a:gd name="connsiteY20" fmla="*/ 130288 h 134209"/>
                    <a:gd name="connsiteX21" fmla="*/ 114538 w 177715"/>
                    <a:gd name="connsiteY21" fmla="*/ 134210 h 13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7715" h="134209">
                      <a:moveTo>
                        <a:pt x="114538" y="134210"/>
                      </a:moveTo>
                      <a:cubicBezTo>
                        <a:pt x="69769" y="134210"/>
                        <a:pt x="37800" y="125482"/>
                        <a:pt x="19145" y="108098"/>
                      </a:cubicBezTo>
                      <a:cubicBezTo>
                        <a:pt x="6093" y="95934"/>
                        <a:pt x="-345" y="79903"/>
                        <a:pt x="14" y="60439"/>
                      </a:cubicBezTo>
                      <a:cubicBezTo>
                        <a:pt x="373" y="41134"/>
                        <a:pt x="5797" y="26146"/>
                        <a:pt x="16140" y="15898"/>
                      </a:cubicBezTo>
                      <a:cubicBezTo>
                        <a:pt x="27243" y="4905"/>
                        <a:pt x="43788" y="-411"/>
                        <a:pt x="65475" y="25"/>
                      </a:cubicBezTo>
                      <a:lnTo>
                        <a:pt x="94383" y="25"/>
                      </a:lnTo>
                      <a:cubicBezTo>
                        <a:pt x="109849" y="25"/>
                        <a:pt x="122600" y="5185"/>
                        <a:pt x="132281" y="15356"/>
                      </a:cubicBezTo>
                      <a:cubicBezTo>
                        <a:pt x="144600" y="28305"/>
                        <a:pt x="151130" y="49229"/>
                        <a:pt x="150661" y="74279"/>
                      </a:cubicBezTo>
                      <a:lnTo>
                        <a:pt x="150661" y="94102"/>
                      </a:lnTo>
                      <a:cubicBezTo>
                        <a:pt x="150661" y="97699"/>
                        <a:pt x="147834" y="100616"/>
                        <a:pt x="144341" y="100616"/>
                      </a:cubicBezTo>
                      <a:cubicBezTo>
                        <a:pt x="140848" y="100616"/>
                        <a:pt x="138021" y="97699"/>
                        <a:pt x="138021" y="94102"/>
                      </a:cubicBezTo>
                      <a:lnTo>
                        <a:pt x="138021" y="74152"/>
                      </a:lnTo>
                      <a:cubicBezTo>
                        <a:pt x="138423" y="52506"/>
                        <a:pt x="133184" y="34911"/>
                        <a:pt x="123258" y="24480"/>
                      </a:cubicBezTo>
                      <a:cubicBezTo>
                        <a:pt x="116043" y="16902"/>
                        <a:pt x="106330" y="13055"/>
                        <a:pt x="94383" y="13055"/>
                      </a:cubicBezTo>
                      <a:lnTo>
                        <a:pt x="65344" y="13055"/>
                      </a:lnTo>
                      <a:cubicBezTo>
                        <a:pt x="47046" y="12691"/>
                        <a:pt x="33486" y="16787"/>
                        <a:pt x="24896" y="25290"/>
                      </a:cubicBezTo>
                      <a:cubicBezTo>
                        <a:pt x="17058" y="33054"/>
                        <a:pt x="12943" y="44963"/>
                        <a:pt x="12652" y="60687"/>
                      </a:cubicBezTo>
                      <a:cubicBezTo>
                        <a:pt x="12367" y="76210"/>
                        <a:pt x="17403" y="88910"/>
                        <a:pt x="27617" y="98430"/>
                      </a:cubicBezTo>
                      <a:cubicBezTo>
                        <a:pt x="50649" y="119894"/>
                        <a:pt x="98782" y="126259"/>
                        <a:pt x="170642" y="117355"/>
                      </a:cubicBezTo>
                      <a:cubicBezTo>
                        <a:pt x="174149" y="116949"/>
                        <a:pt x="177251" y="119481"/>
                        <a:pt x="177671" y="123046"/>
                      </a:cubicBezTo>
                      <a:cubicBezTo>
                        <a:pt x="178084" y="126617"/>
                        <a:pt x="175615" y="129860"/>
                        <a:pt x="172147" y="130288"/>
                      </a:cubicBezTo>
                      <a:cubicBezTo>
                        <a:pt x="151063" y="132905"/>
                        <a:pt x="131844" y="134210"/>
                        <a:pt x="114538" y="134210"/>
                      </a:cubicBezTo>
                      <a:close/>
                    </a:path>
                  </a:pathLst>
                </a:custGeom>
                <a:solidFill>
                  <a:schemeClr val="accent1"/>
                </a:solidFill>
                <a:ln w="225" cap="flat">
                  <a:noFill/>
                  <a:prstDash val="solid"/>
                  <a:miter/>
                </a:ln>
              </p:spPr>
              <p:txBody>
                <a:bodyPr rtlCol="0" anchor="ctr"/>
                <a:lstStyle/>
                <a:p>
                  <a:endParaRPr lang="en-GB" dirty="0"/>
                </a:p>
              </p:txBody>
            </p:sp>
            <p:sp>
              <p:nvSpPr>
                <p:cNvPr id="248" name="Freihandform: Form 256">
                  <a:extLst>
                    <a:ext uri="{FF2B5EF4-FFF2-40B4-BE49-F238E27FC236}">
                      <a16:creationId xmlns:a16="http://schemas.microsoft.com/office/drawing/2014/main" id="{D44B0B71-77EE-4B01-9C54-3C5042BD56F4}"/>
                    </a:ext>
                  </a:extLst>
                </p:cNvPr>
                <p:cNvSpPr/>
                <p:nvPr/>
              </p:nvSpPr>
              <p:spPr>
                <a:xfrm>
                  <a:off x="2702436" y="2713702"/>
                  <a:ext cx="31802" cy="66661"/>
                </a:xfrm>
                <a:custGeom>
                  <a:avLst/>
                  <a:gdLst>
                    <a:gd name="connsiteX0" fmla="*/ 12270 w 31802"/>
                    <a:gd name="connsiteY0" fmla="*/ 66662 h 66661"/>
                    <a:gd name="connsiteX1" fmla="*/ 6320 w 31802"/>
                    <a:gd name="connsiteY1" fmla="*/ 66662 h 66661"/>
                    <a:gd name="connsiteX2" fmla="*/ 0 w 31802"/>
                    <a:gd name="connsiteY2" fmla="*/ 60148 h 66661"/>
                    <a:gd name="connsiteX3" fmla="*/ 6320 w 31802"/>
                    <a:gd name="connsiteY3" fmla="*/ 53634 h 66661"/>
                    <a:gd name="connsiteX4" fmla="*/ 12270 w 31802"/>
                    <a:gd name="connsiteY4" fmla="*/ 53634 h 66661"/>
                    <a:gd name="connsiteX5" fmla="*/ 19162 w 31802"/>
                    <a:gd name="connsiteY5" fmla="*/ 46529 h 66661"/>
                    <a:gd name="connsiteX6" fmla="*/ 19162 w 31802"/>
                    <a:gd name="connsiteY6" fmla="*/ 6514 h 66661"/>
                    <a:gd name="connsiteX7" fmla="*/ 25482 w 31802"/>
                    <a:gd name="connsiteY7" fmla="*/ 0 h 66661"/>
                    <a:gd name="connsiteX8" fmla="*/ 31802 w 31802"/>
                    <a:gd name="connsiteY8" fmla="*/ 6514 h 66661"/>
                    <a:gd name="connsiteX9" fmla="*/ 31802 w 31802"/>
                    <a:gd name="connsiteY9" fmla="*/ 46529 h 66661"/>
                    <a:gd name="connsiteX10" fmla="*/ 12270 w 31802"/>
                    <a:gd name="connsiteY10" fmla="*/ 66662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802" h="66661">
                      <a:moveTo>
                        <a:pt x="12270" y="66662"/>
                      </a:moveTo>
                      <a:lnTo>
                        <a:pt x="6320" y="66662"/>
                      </a:lnTo>
                      <a:cubicBezTo>
                        <a:pt x="2827" y="66662"/>
                        <a:pt x="0" y="63744"/>
                        <a:pt x="0" y="60148"/>
                      </a:cubicBezTo>
                      <a:cubicBezTo>
                        <a:pt x="0" y="56551"/>
                        <a:pt x="2827" y="53634"/>
                        <a:pt x="6320" y="53634"/>
                      </a:cubicBezTo>
                      <a:lnTo>
                        <a:pt x="12270" y="53634"/>
                      </a:lnTo>
                      <a:cubicBezTo>
                        <a:pt x="16072" y="53634"/>
                        <a:pt x="19162" y="50446"/>
                        <a:pt x="19162" y="46529"/>
                      </a:cubicBezTo>
                      <a:lnTo>
                        <a:pt x="19162" y="6514"/>
                      </a:lnTo>
                      <a:cubicBezTo>
                        <a:pt x="19162" y="2917"/>
                        <a:pt x="21990" y="0"/>
                        <a:pt x="25482" y="0"/>
                      </a:cubicBezTo>
                      <a:cubicBezTo>
                        <a:pt x="28975" y="0"/>
                        <a:pt x="31802" y="2917"/>
                        <a:pt x="31802" y="6514"/>
                      </a:cubicBezTo>
                      <a:lnTo>
                        <a:pt x="31802" y="46529"/>
                      </a:lnTo>
                      <a:cubicBezTo>
                        <a:pt x="31804" y="57630"/>
                        <a:pt x="23039" y="66662"/>
                        <a:pt x="12270" y="66662"/>
                      </a:cubicBezTo>
                      <a:close/>
                    </a:path>
                  </a:pathLst>
                </a:custGeom>
                <a:solidFill>
                  <a:schemeClr val="accent1"/>
                </a:solidFill>
                <a:ln w="225" cap="flat">
                  <a:noFill/>
                  <a:prstDash val="solid"/>
                  <a:miter/>
                </a:ln>
              </p:spPr>
              <p:txBody>
                <a:bodyPr rtlCol="0" anchor="ctr"/>
                <a:lstStyle/>
                <a:p>
                  <a:endParaRPr lang="en-GB" dirty="0"/>
                </a:p>
              </p:txBody>
            </p:sp>
            <p:sp>
              <p:nvSpPr>
                <p:cNvPr id="249" name="Freihandform: Form 257">
                  <a:extLst>
                    <a:ext uri="{FF2B5EF4-FFF2-40B4-BE49-F238E27FC236}">
                      <a16:creationId xmlns:a16="http://schemas.microsoft.com/office/drawing/2014/main" id="{A2ABADA9-DBF8-4415-BC60-2A48E4204538}"/>
                    </a:ext>
                  </a:extLst>
                </p:cNvPr>
                <p:cNvSpPr/>
                <p:nvPr/>
              </p:nvSpPr>
              <p:spPr>
                <a:xfrm>
                  <a:off x="2615002" y="2491290"/>
                  <a:ext cx="78218" cy="91897"/>
                </a:xfrm>
                <a:custGeom>
                  <a:avLst/>
                  <a:gdLst>
                    <a:gd name="connsiteX0" fmla="*/ 39108 w 78218"/>
                    <a:gd name="connsiteY0" fmla="*/ 91898 h 91897"/>
                    <a:gd name="connsiteX1" fmla="*/ 0 w 78218"/>
                    <a:gd name="connsiteY1" fmla="*/ 45951 h 91897"/>
                    <a:gd name="connsiteX2" fmla="*/ 39108 w 78218"/>
                    <a:gd name="connsiteY2" fmla="*/ 0 h 91897"/>
                    <a:gd name="connsiteX3" fmla="*/ 78218 w 78218"/>
                    <a:gd name="connsiteY3" fmla="*/ 45951 h 91897"/>
                    <a:gd name="connsiteX4" fmla="*/ 39108 w 78218"/>
                    <a:gd name="connsiteY4" fmla="*/ 91898 h 91897"/>
                    <a:gd name="connsiteX5" fmla="*/ 39108 w 78218"/>
                    <a:gd name="connsiteY5" fmla="*/ 13030 h 91897"/>
                    <a:gd name="connsiteX6" fmla="*/ 12637 w 78218"/>
                    <a:gd name="connsiteY6" fmla="*/ 45951 h 91897"/>
                    <a:gd name="connsiteX7" fmla="*/ 39108 w 78218"/>
                    <a:gd name="connsiteY7" fmla="*/ 78870 h 91897"/>
                    <a:gd name="connsiteX8" fmla="*/ 65578 w 78218"/>
                    <a:gd name="connsiteY8" fmla="*/ 45951 h 91897"/>
                    <a:gd name="connsiteX9" fmla="*/ 39108 w 78218"/>
                    <a:gd name="connsiteY9" fmla="*/ 13030 h 9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218" h="91897">
                      <a:moveTo>
                        <a:pt x="39108" y="91898"/>
                      </a:moveTo>
                      <a:cubicBezTo>
                        <a:pt x="16083" y="91898"/>
                        <a:pt x="0" y="73004"/>
                        <a:pt x="0" y="45951"/>
                      </a:cubicBezTo>
                      <a:cubicBezTo>
                        <a:pt x="0" y="18894"/>
                        <a:pt x="16083" y="0"/>
                        <a:pt x="39108" y="0"/>
                      </a:cubicBezTo>
                      <a:cubicBezTo>
                        <a:pt x="62133" y="0"/>
                        <a:pt x="78218" y="18894"/>
                        <a:pt x="78218" y="45951"/>
                      </a:cubicBezTo>
                      <a:cubicBezTo>
                        <a:pt x="78216" y="73004"/>
                        <a:pt x="62133" y="91898"/>
                        <a:pt x="39108" y="91898"/>
                      </a:cubicBezTo>
                      <a:close/>
                      <a:moveTo>
                        <a:pt x="39108" y="13030"/>
                      </a:moveTo>
                      <a:cubicBezTo>
                        <a:pt x="19569" y="13030"/>
                        <a:pt x="12637" y="30762"/>
                        <a:pt x="12637" y="45951"/>
                      </a:cubicBezTo>
                      <a:cubicBezTo>
                        <a:pt x="12637" y="61136"/>
                        <a:pt x="19569" y="78870"/>
                        <a:pt x="39108" y="78870"/>
                      </a:cubicBezTo>
                      <a:cubicBezTo>
                        <a:pt x="58647" y="78870"/>
                        <a:pt x="65578" y="61138"/>
                        <a:pt x="65578" y="45951"/>
                      </a:cubicBezTo>
                      <a:cubicBezTo>
                        <a:pt x="65576" y="30762"/>
                        <a:pt x="58645" y="13030"/>
                        <a:pt x="39108" y="13030"/>
                      </a:cubicBezTo>
                      <a:close/>
                    </a:path>
                  </a:pathLst>
                </a:custGeom>
                <a:solidFill>
                  <a:schemeClr val="accent1"/>
                </a:solidFill>
                <a:ln w="225" cap="flat">
                  <a:noFill/>
                  <a:prstDash val="solid"/>
                  <a:miter/>
                </a:ln>
              </p:spPr>
              <p:txBody>
                <a:bodyPr rtlCol="0" anchor="ctr"/>
                <a:lstStyle/>
                <a:p>
                  <a:endParaRPr lang="en-GB" dirty="0"/>
                </a:p>
              </p:txBody>
            </p:sp>
          </p:grpSp>
        </p:grpSp>
        <p:grpSp>
          <p:nvGrpSpPr>
            <p:cNvPr id="226" name="Gruppieren 1037">
              <a:extLst>
                <a:ext uri="{FF2B5EF4-FFF2-40B4-BE49-F238E27FC236}">
                  <a16:creationId xmlns:a16="http://schemas.microsoft.com/office/drawing/2014/main" id="{11BE5E5F-1720-414A-9C4B-E7FD3CB836D3}"/>
                </a:ext>
              </a:extLst>
            </p:cNvPr>
            <p:cNvGrpSpPr/>
            <p:nvPr/>
          </p:nvGrpSpPr>
          <p:grpSpPr>
            <a:xfrm>
              <a:off x="3655974" y="3221902"/>
              <a:ext cx="602756" cy="422156"/>
              <a:chOff x="2490611" y="2500708"/>
              <a:chExt cx="576669" cy="403885"/>
            </a:xfrm>
            <a:solidFill>
              <a:schemeClr val="tx2"/>
            </a:solidFill>
          </p:grpSpPr>
          <p:grpSp>
            <p:nvGrpSpPr>
              <p:cNvPr id="227" name="Graphic 8">
                <a:extLst>
                  <a:ext uri="{FF2B5EF4-FFF2-40B4-BE49-F238E27FC236}">
                    <a16:creationId xmlns:a16="http://schemas.microsoft.com/office/drawing/2014/main" id="{AC00593F-F7CF-4493-9397-9E92830D0282}"/>
                  </a:ext>
                </a:extLst>
              </p:cNvPr>
              <p:cNvGrpSpPr/>
              <p:nvPr/>
            </p:nvGrpSpPr>
            <p:grpSpPr>
              <a:xfrm>
                <a:off x="2959848" y="2500708"/>
                <a:ext cx="107432" cy="403885"/>
                <a:chOff x="2959848" y="2500708"/>
                <a:chExt cx="107432" cy="403885"/>
              </a:xfrm>
              <a:grpFill/>
            </p:grpSpPr>
            <p:sp>
              <p:nvSpPr>
                <p:cNvPr id="233" name="Freihandform: Form 259">
                  <a:extLst>
                    <a:ext uri="{FF2B5EF4-FFF2-40B4-BE49-F238E27FC236}">
                      <a16:creationId xmlns:a16="http://schemas.microsoft.com/office/drawing/2014/main" id="{F6504FB5-D179-4FC6-B5C6-59E11EF25C6B}"/>
                    </a:ext>
                  </a:extLst>
                </p:cNvPr>
                <p:cNvSpPr/>
                <p:nvPr/>
              </p:nvSpPr>
              <p:spPr>
                <a:xfrm>
                  <a:off x="2972485" y="2591909"/>
                  <a:ext cx="94795" cy="188912"/>
                </a:xfrm>
                <a:custGeom>
                  <a:avLst/>
                  <a:gdLst>
                    <a:gd name="connsiteX0" fmla="*/ 88478 w 94795"/>
                    <a:gd name="connsiteY0" fmla="*/ 188913 h 188912"/>
                    <a:gd name="connsiteX1" fmla="*/ 75838 w 94795"/>
                    <a:gd name="connsiteY1" fmla="*/ 188913 h 188912"/>
                    <a:gd name="connsiteX2" fmla="*/ 69518 w 94795"/>
                    <a:gd name="connsiteY2" fmla="*/ 182399 h 188912"/>
                    <a:gd name="connsiteX3" fmla="*/ 75838 w 94795"/>
                    <a:gd name="connsiteY3" fmla="*/ 175885 h 188912"/>
                    <a:gd name="connsiteX4" fmla="*/ 82158 w 94795"/>
                    <a:gd name="connsiteY4" fmla="*/ 175885 h 188912"/>
                    <a:gd name="connsiteX5" fmla="*/ 82158 w 94795"/>
                    <a:gd name="connsiteY5" fmla="*/ 58627 h 188912"/>
                    <a:gd name="connsiteX6" fmla="*/ 31599 w 94795"/>
                    <a:gd name="connsiteY6" fmla="*/ 13028 h 188912"/>
                    <a:gd name="connsiteX7" fmla="*/ 6320 w 94795"/>
                    <a:gd name="connsiteY7" fmla="*/ 13028 h 188912"/>
                    <a:gd name="connsiteX8" fmla="*/ 0 w 94795"/>
                    <a:gd name="connsiteY8" fmla="*/ 6514 h 188912"/>
                    <a:gd name="connsiteX9" fmla="*/ 6320 w 94795"/>
                    <a:gd name="connsiteY9" fmla="*/ 0 h 188912"/>
                    <a:gd name="connsiteX10" fmla="*/ 31599 w 94795"/>
                    <a:gd name="connsiteY10" fmla="*/ 0 h 188912"/>
                    <a:gd name="connsiteX11" fmla="*/ 94795 w 94795"/>
                    <a:gd name="connsiteY11" fmla="*/ 58629 h 188912"/>
                    <a:gd name="connsiteX12" fmla="*/ 94795 w 94795"/>
                    <a:gd name="connsiteY12" fmla="*/ 182401 h 188912"/>
                    <a:gd name="connsiteX13" fmla="*/ 88478 w 94795"/>
                    <a:gd name="connsiteY13" fmla="*/ 188913 h 18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795" h="188912">
                      <a:moveTo>
                        <a:pt x="88478" y="188913"/>
                      </a:moveTo>
                      <a:lnTo>
                        <a:pt x="75838" y="188913"/>
                      </a:lnTo>
                      <a:cubicBezTo>
                        <a:pt x="72345" y="188913"/>
                        <a:pt x="69518" y="185996"/>
                        <a:pt x="69518" y="182399"/>
                      </a:cubicBezTo>
                      <a:cubicBezTo>
                        <a:pt x="69518" y="178803"/>
                        <a:pt x="72345" y="175885"/>
                        <a:pt x="75838" y="175885"/>
                      </a:cubicBezTo>
                      <a:lnTo>
                        <a:pt x="82158" y="175885"/>
                      </a:lnTo>
                      <a:lnTo>
                        <a:pt x="82158" y="58627"/>
                      </a:lnTo>
                      <a:cubicBezTo>
                        <a:pt x="82158" y="31351"/>
                        <a:pt x="61840" y="13028"/>
                        <a:pt x="31599" y="13028"/>
                      </a:cubicBezTo>
                      <a:lnTo>
                        <a:pt x="6320" y="13028"/>
                      </a:lnTo>
                      <a:cubicBezTo>
                        <a:pt x="2827" y="13028"/>
                        <a:pt x="0" y="10110"/>
                        <a:pt x="0" y="6514"/>
                      </a:cubicBezTo>
                      <a:cubicBezTo>
                        <a:pt x="0" y="2917"/>
                        <a:pt x="2827" y="0"/>
                        <a:pt x="6320" y="0"/>
                      </a:cubicBezTo>
                      <a:lnTo>
                        <a:pt x="31599" y="0"/>
                      </a:lnTo>
                      <a:cubicBezTo>
                        <a:pt x="68807" y="0"/>
                        <a:pt x="94795" y="24110"/>
                        <a:pt x="94795" y="58629"/>
                      </a:cubicBezTo>
                      <a:lnTo>
                        <a:pt x="94795" y="182401"/>
                      </a:lnTo>
                      <a:cubicBezTo>
                        <a:pt x="94797" y="185998"/>
                        <a:pt x="91970" y="188913"/>
                        <a:pt x="88478" y="188913"/>
                      </a:cubicBezTo>
                      <a:close/>
                    </a:path>
                  </a:pathLst>
                </a:custGeom>
                <a:grpFill/>
                <a:ln w="225" cap="flat">
                  <a:noFill/>
                  <a:prstDash val="solid"/>
                  <a:miter/>
                </a:ln>
              </p:spPr>
              <p:txBody>
                <a:bodyPr rtlCol="0" anchor="ctr"/>
                <a:lstStyle/>
                <a:p>
                  <a:endParaRPr lang="en-GB" dirty="0"/>
                </a:p>
              </p:txBody>
            </p:sp>
            <p:sp>
              <p:nvSpPr>
                <p:cNvPr id="234" name="Freihandform: Form 260">
                  <a:extLst>
                    <a:ext uri="{FF2B5EF4-FFF2-40B4-BE49-F238E27FC236}">
                      <a16:creationId xmlns:a16="http://schemas.microsoft.com/office/drawing/2014/main" id="{8050698D-820B-4FE8-AF81-5021D532D760}"/>
                    </a:ext>
                  </a:extLst>
                </p:cNvPr>
                <p:cNvSpPr/>
                <p:nvPr/>
              </p:nvSpPr>
              <p:spPr>
                <a:xfrm>
                  <a:off x="3023043" y="2683107"/>
                  <a:ext cx="18959" cy="221486"/>
                </a:xfrm>
                <a:custGeom>
                  <a:avLst/>
                  <a:gdLst>
                    <a:gd name="connsiteX0" fmla="*/ 6320 w 18959"/>
                    <a:gd name="connsiteY0" fmla="*/ 221487 h 221486"/>
                    <a:gd name="connsiteX1" fmla="*/ 0 w 18959"/>
                    <a:gd name="connsiteY1" fmla="*/ 214973 h 221486"/>
                    <a:gd name="connsiteX2" fmla="*/ 0 w 18959"/>
                    <a:gd name="connsiteY2" fmla="*/ 6514 h 221486"/>
                    <a:gd name="connsiteX3" fmla="*/ 6320 w 18959"/>
                    <a:gd name="connsiteY3" fmla="*/ 0 h 221486"/>
                    <a:gd name="connsiteX4" fmla="*/ 12640 w 18959"/>
                    <a:gd name="connsiteY4" fmla="*/ 0 h 221486"/>
                    <a:gd name="connsiteX5" fmla="*/ 18959 w 18959"/>
                    <a:gd name="connsiteY5" fmla="*/ 6514 h 221486"/>
                    <a:gd name="connsiteX6" fmla="*/ 12640 w 18959"/>
                    <a:gd name="connsiteY6" fmla="*/ 13028 h 221486"/>
                    <a:gd name="connsiteX7" fmla="*/ 12640 w 18959"/>
                    <a:gd name="connsiteY7" fmla="*/ 214973 h 221486"/>
                    <a:gd name="connsiteX8" fmla="*/ 6320 w 18959"/>
                    <a:gd name="connsiteY8" fmla="*/ 221487 h 22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59" h="221486">
                      <a:moveTo>
                        <a:pt x="6320" y="221487"/>
                      </a:moveTo>
                      <a:cubicBezTo>
                        <a:pt x="2827" y="221487"/>
                        <a:pt x="0" y="218569"/>
                        <a:pt x="0" y="214973"/>
                      </a:cubicBezTo>
                      <a:lnTo>
                        <a:pt x="0" y="6514"/>
                      </a:lnTo>
                      <a:cubicBezTo>
                        <a:pt x="0" y="2917"/>
                        <a:pt x="2827" y="0"/>
                        <a:pt x="6320" y="0"/>
                      </a:cubicBezTo>
                      <a:lnTo>
                        <a:pt x="12640" y="0"/>
                      </a:lnTo>
                      <a:cubicBezTo>
                        <a:pt x="16132" y="0"/>
                        <a:pt x="18959" y="2917"/>
                        <a:pt x="18959" y="6514"/>
                      </a:cubicBezTo>
                      <a:cubicBezTo>
                        <a:pt x="18959" y="10110"/>
                        <a:pt x="16132" y="13028"/>
                        <a:pt x="12640" y="13028"/>
                      </a:cubicBezTo>
                      <a:lnTo>
                        <a:pt x="12640" y="214973"/>
                      </a:lnTo>
                      <a:cubicBezTo>
                        <a:pt x="12640" y="218572"/>
                        <a:pt x="9813" y="221487"/>
                        <a:pt x="6320" y="221487"/>
                      </a:cubicBezTo>
                      <a:close/>
                    </a:path>
                  </a:pathLst>
                </a:custGeom>
                <a:grpFill/>
                <a:ln w="225" cap="flat">
                  <a:noFill/>
                  <a:prstDash val="solid"/>
                  <a:miter/>
                </a:ln>
              </p:spPr>
              <p:txBody>
                <a:bodyPr rtlCol="0" anchor="ctr"/>
                <a:lstStyle/>
                <a:p>
                  <a:endParaRPr lang="en-GB" dirty="0"/>
                </a:p>
              </p:txBody>
            </p:sp>
            <p:sp>
              <p:nvSpPr>
                <p:cNvPr id="235" name="Freihandform: Form 261">
                  <a:extLst>
                    <a:ext uri="{FF2B5EF4-FFF2-40B4-BE49-F238E27FC236}">
                      <a16:creationId xmlns:a16="http://schemas.microsoft.com/office/drawing/2014/main" id="{A544FD61-4F71-4887-B3AE-60FEC6FA8965}"/>
                    </a:ext>
                  </a:extLst>
                </p:cNvPr>
                <p:cNvSpPr/>
                <p:nvPr/>
              </p:nvSpPr>
              <p:spPr>
                <a:xfrm>
                  <a:off x="2978807" y="2787338"/>
                  <a:ext cx="12639" cy="117256"/>
                </a:xfrm>
                <a:custGeom>
                  <a:avLst/>
                  <a:gdLst>
                    <a:gd name="connsiteX0" fmla="*/ 6320 w 12639"/>
                    <a:gd name="connsiteY0" fmla="*/ 117256 h 117256"/>
                    <a:gd name="connsiteX1" fmla="*/ 0 w 12639"/>
                    <a:gd name="connsiteY1" fmla="*/ 110742 h 117256"/>
                    <a:gd name="connsiteX2" fmla="*/ 0 w 12639"/>
                    <a:gd name="connsiteY2" fmla="*/ 6514 h 117256"/>
                    <a:gd name="connsiteX3" fmla="*/ 6320 w 12639"/>
                    <a:gd name="connsiteY3" fmla="*/ 0 h 117256"/>
                    <a:gd name="connsiteX4" fmla="*/ 12640 w 12639"/>
                    <a:gd name="connsiteY4" fmla="*/ 6514 h 117256"/>
                    <a:gd name="connsiteX5" fmla="*/ 12640 w 12639"/>
                    <a:gd name="connsiteY5" fmla="*/ 110742 h 117256"/>
                    <a:gd name="connsiteX6" fmla="*/ 6320 w 12639"/>
                    <a:gd name="connsiteY6" fmla="*/ 117256 h 11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39" h="117256">
                      <a:moveTo>
                        <a:pt x="6320" y="117256"/>
                      </a:moveTo>
                      <a:cubicBezTo>
                        <a:pt x="2827" y="117256"/>
                        <a:pt x="0" y="114339"/>
                        <a:pt x="0" y="110742"/>
                      </a:cubicBezTo>
                      <a:lnTo>
                        <a:pt x="0" y="6514"/>
                      </a:lnTo>
                      <a:cubicBezTo>
                        <a:pt x="0" y="2917"/>
                        <a:pt x="2827" y="0"/>
                        <a:pt x="6320" y="0"/>
                      </a:cubicBezTo>
                      <a:cubicBezTo>
                        <a:pt x="9812" y="0"/>
                        <a:pt x="12640" y="2917"/>
                        <a:pt x="12640" y="6514"/>
                      </a:cubicBezTo>
                      <a:lnTo>
                        <a:pt x="12640" y="110742"/>
                      </a:lnTo>
                      <a:cubicBezTo>
                        <a:pt x="12640" y="114341"/>
                        <a:pt x="9812" y="117256"/>
                        <a:pt x="6320" y="117256"/>
                      </a:cubicBezTo>
                      <a:close/>
                    </a:path>
                  </a:pathLst>
                </a:custGeom>
                <a:grpFill/>
                <a:ln w="225" cap="flat">
                  <a:noFill/>
                  <a:prstDash val="solid"/>
                  <a:miter/>
                </a:ln>
              </p:spPr>
              <p:txBody>
                <a:bodyPr rtlCol="0" anchor="ctr"/>
                <a:lstStyle/>
                <a:p>
                  <a:endParaRPr lang="en-GB" dirty="0"/>
                </a:p>
              </p:txBody>
            </p:sp>
            <p:sp>
              <p:nvSpPr>
                <p:cNvPr id="236" name="Freihandform: Form 262">
                  <a:extLst>
                    <a:ext uri="{FF2B5EF4-FFF2-40B4-BE49-F238E27FC236}">
                      <a16:creationId xmlns:a16="http://schemas.microsoft.com/office/drawing/2014/main" id="{8B137304-5141-40E6-B0AA-AF4D8706DA3C}"/>
                    </a:ext>
                  </a:extLst>
                </p:cNvPr>
                <p:cNvSpPr/>
                <p:nvPr/>
              </p:nvSpPr>
              <p:spPr>
                <a:xfrm>
                  <a:off x="2959848" y="2500708"/>
                  <a:ext cx="63198" cy="78170"/>
                </a:xfrm>
                <a:custGeom>
                  <a:avLst/>
                  <a:gdLst>
                    <a:gd name="connsiteX0" fmla="*/ 31599 w 63198"/>
                    <a:gd name="connsiteY0" fmla="*/ 78171 h 78170"/>
                    <a:gd name="connsiteX1" fmla="*/ 0 w 63198"/>
                    <a:gd name="connsiteY1" fmla="*/ 39085 h 78170"/>
                    <a:gd name="connsiteX2" fmla="*/ 31599 w 63198"/>
                    <a:gd name="connsiteY2" fmla="*/ 0 h 78170"/>
                    <a:gd name="connsiteX3" fmla="*/ 63198 w 63198"/>
                    <a:gd name="connsiteY3" fmla="*/ 39085 h 78170"/>
                    <a:gd name="connsiteX4" fmla="*/ 31599 w 63198"/>
                    <a:gd name="connsiteY4" fmla="*/ 78171 h 78170"/>
                    <a:gd name="connsiteX5" fmla="*/ 31599 w 63198"/>
                    <a:gd name="connsiteY5" fmla="*/ 13028 h 78170"/>
                    <a:gd name="connsiteX6" fmla="*/ 12640 w 63198"/>
                    <a:gd name="connsiteY6" fmla="*/ 39085 h 78170"/>
                    <a:gd name="connsiteX7" fmla="*/ 31599 w 63198"/>
                    <a:gd name="connsiteY7" fmla="*/ 65143 h 78170"/>
                    <a:gd name="connsiteX8" fmla="*/ 50559 w 63198"/>
                    <a:gd name="connsiteY8" fmla="*/ 39085 h 78170"/>
                    <a:gd name="connsiteX9" fmla="*/ 31599 w 63198"/>
                    <a:gd name="connsiteY9" fmla="*/ 13028 h 7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198" h="78170">
                      <a:moveTo>
                        <a:pt x="31599" y="78171"/>
                      </a:moveTo>
                      <a:cubicBezTo>
                        <a:pt x="12703" y="78171"/>
                        <a:pt x="0" y="62465"/>
                        <a:pt x="0" y="39085"/>
                      </a:cubicBezTo>
                      <a:cubicBezTo>
                        <a:pt x="0" y="15706"/>
                        <a:pt x="12701" y="0"/>
                        <a:pt x="31599" y="0"/>
                      </a:cubicBezTo>
                      <a:cubicBezTo>
                        <a:pt x="50495" y="0"/>
                        <a:pt x="63198" y="15706"/>
                        <a:pt x="63198" y="39085"/>
                      </a:cubicBezTo>
                      <a:cubicBezTo>
                        <a:pt x="63196" y="62463"/>
                        <a:pt x="50495" y="78171"/>
                        <a:pt x="31599" y="78171"/>
                      </a:cubicBezTo>
                      <a:close/>
                      <a:moveTo>
                        <a:pt x="31599" y="13028"/>
                      </a:moveTo>
                      <a:cubicBezTo>
                        <a:pt x="17621" y="13028"/>
                        <a:pt x="12640" y="26489"/>
                        <a:pt x="12640" y="39085"/>
                      </a:cubicBezTo>
                      <a:cubicBezTo>
                        <a:pt x="12640" y="51682"/>
                        <a:pt x="17619" y="65143"/>
                        <a:pt x="31599" y="65143"/>
                      </a:cubicBezTo>
                      <a:cubicBezTo>
                        <a:pt x="45579" y="65143"/>
                        <a:pt x="50559" y="51682"/>
                        <a:pt x="50559" y="39085"/>
                      </a:cubicBezTo>
                      <a:cubicBezTo>
                        <a:pt x="50559" y="26489"/>
                        <a:pt x="45577" y="13028"/>
                        <a:pt x="31599" y="13028"/>
                      </a:cubicBezTo>
                      <a:close/>
                    </a:path>
                  </a:pathLst>
                </a:custGeom>
                <a:grpFill/>
                <a:ln w="225" cap="flat">
                  <a:noFill/>
                  <a:prstDash val="solid"/>
                  <a:miter/>
                </a:ln>
              </p:spPr>
              <p:txBody>
                <a:bodyPr rtlCol="0" anchor="ctr"/>
                <a:lstStyle/>
                <a:p>
                  <a:endParaRPr lang="en-GB" dirty="0"/>
                </a:p>
              </p:txBody>
            </p:sp>
          </p:grpSp>
          <p:grpSp>
            <p:nvGrpSpPr>
              <p:cNvPr id="228" name="Graphic 8">
                <a:extLst>
                  <a:ext uri="{FF2B5EF4-FFF2-40B4-BE49-F238E27FC236}">
                    <a16:creationId xmlns:a16="http://schemas.microsoft.com/office/drawing/2014/main" id="{99F411CF-2421-490E-BB8C-04962A7D6E9C}"/>
                  </a:ext>
                </a:extLst>
              </p:cNvPr>
              <p:cNvGrpSpPr/>
              <p:nvPr/>
            </p:nvGrpSpPr>
            <p:grpSpPr>
              <a:xfrm>
                <a:off x="2490611" y="2500708"/>
                <a:ext cx="107434" cy="403885"/>
                <a:chOff x="2490611" y="2500708"/>
                <a:chExt cx="107434" cy="403885"/>
              </a:xfrm>
              <a:grpFill/>
            </p:grpSpPr>
            <p:sp>
              <p:nvSpPr>
                <p:cNvPr id="229" name="Freihandform: Form 264">
                  <a:extLst>
                    <a:ext uri="{FF2B5EF4-FFF2-40B4-BE49-F238E27FC236}">
                      <a16:creationId xmlns:a16="http://schemas.microsoft.com/office/drawing/2014/main" id="{619B3D6D-6145-4E0A-8E96-4EEA12A1A794}"/>
                    </a:ext>
                  </a:extLst>
                </p:cNvPr>
                <p:cNvSpPr/>
                <p:nvPr/>
              </p:nvSpPr>
              <p:spPr>
                <a:xfrm>
                  <a:off x="2490611" y="2591906"/>
                  <a:ext cx="94794" cy="188915"/>
                </a:xfrm>
                <a:custGeom>
                  <a:avLst/>
                  <a:gdLst>
                    <a:gd name="connsiteX0" fmla="*/ 18959 w 94794"/>
                    <a:gd name="connsiteY0" fmla="*/ 188915 h 188915"/>
                    <a:gd name="connsiteX1" fmla="*/ 6320 w 94794"/>
                    <a:gd name="connsiteY1" fmla="*/ 188915 h 188915"/>
                    <a:gd name="connsiteX2" fmla="*/ 0 w 94794"/>
                    <a:gd name="connsiteY2" fmla="*/ 182401 h 188915"/>
                    <a:gd name="connsiteX3" fmla="*/ 0 w 94794"/>
                    <a:gd name="connsiteY3" fmla="*/ 58629 h 188915"/>
                    <a:gd name="connsiteX4" fmla="*/ 63196 w 94794"/>
                    <a:gd name="connsiteY4" fmla="*/ 0 h 188915"/>
                    <a:gd name="connsiteX5" fmla="*/ 88475 w 94794"/>
                    <a:gd name="connsiteY5" fmla="*/ 0 h 188915"/>
                    <a:gd name="connsiteX6" fmla="*/ 94795 w 94794"/>
                    <a:gd name="connsiteY6" fmla="*/ 6514 h 188915"/>
                    <a:gd name="connsiteX7" fmla="*/ 88475 w 94794"/>
                    <a:gd name="connsiteY7" fmla="*/ 13028 h 188915"/>
                    <a:gd name="connsiteX8" fmla="*/ 63196 w 94794"/>
                    <a:gd name="connsiteY8" fmla="*/ 13028 h 188915"/>
                    <a:gd name="connsiteX9" fmla="*/ 12637 w 94794"/>
                    <a:gd name="connsiteY9" fmla="*/ 58627 h 188915"/>
                    <a:gd name="connsiteX10" fmla="*/ 12637 w 94794"/>
                    <a:gd name="connsiteY10" fmla="*/ 175885 h 188915"/>
                    <a:gd name="connsiteX11" fmla="*/ 18957 w 94794"/>
                    <a:gd name="connsiteY11" fmla="*/ 175885 h 188915"/>
                    <a:gd name="connsiteX12" fmla="*/ 25277 w 94794"/>
                    <a:gd name="connsiteY12" fmla="*/ 182399 h 188915"/>
                    <a:gd name="connsiteX13" fmla="*/ 18959 w 94794"/>
                    <a:gd name="connsiteY13" fmla="*/ 188915 h 188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4794" h="188915">
                      <a:moveTo>
                        <a:pt x="18959" y="188915"/>
                      </a:moveTo>
                      <a:lnTo>
                        <a:pt x="6320" y="188915"/>
                      </a:lnTo>
                      <a:cubicBezTo>
                        <a:pt x="2827" y="188915"/>
                        <a:pt x="0" y="185998"/>
                        <a:pt x="0" y="182401"/>
                      </a:cubicBezTo>
                      <a:lnTo>
                        <a:pt x="0" y="58629"/>
                      </a:lnTo>
                      <a:cubicBezTo>
                        <a:pt x="0" y="24111"/>
                        <a:pt x="25988" y="0"/>
                        <a:pt x="63196" y="0"/>
                      </a:cubicBezTo>
                      <a:lnTo>
                        <a:pt x="88475" y="0"/>
                      </a:lnTo>
                      <a:cubicBezTo>
                        <a:pt x="91968" y="0"/>
                        <a:pt x="94795" y="2917"/>
                        <a:pt x="94795" y="6514"/>
                      </a:cubicBezTo>
                      <a:cubicBezTo>
                        <a:pt x="94795" y="10110"/>
                        <a:pt x="91968" y="13028"/>
                        <a:pt x="88475" y="13028"/>
                      </a:cubicBezTo>
                      <a:lnTo>
                        <a:pt x="63196" y="13028"/>
                      </a:lnTo>
                      <a:cubicBezTo>
                        <a:pt x="32955" y="13028"/>
                        <a:pt x="12637" y="31353"/>
                        <a:pt x="12637" y="58627"/>
                      </a:cubicBezTo>
                      <a:lnTo>
                        <a:pt x="12637" y="175885"/>
                      </a:lnTo>
                      <a:lnTo>
                        <a:pt x="18957" y="175885"/>
                      </a:lnTo>
                      <a:cubicBezTo>
                        <a:pt x="22450" y="175885"/>
                        <a:pt x="25277" y="178803"/>
                        <a:pt x="25277" y="182399"/>
                      </a:cubicBezTo>
                      <a:cubicBezTo>
                        <a:pt x="25279" y="186000"/>
                        <a:pt x="22452" y="188915"/>
                        <a:pt x="18959" y="188915"/>
                      </a:cubicBezTo>
                      <a:close/>
                    </a:path>
                  </a:pathLst>
                </a:custGeom>
                <a:grpFill/>
                <a:ln w="225" cap="flat">
                  <a:noFill/>
                  <a:prstDash val="solid"/>
                  <a:miter/>
                </a:ln>
              </p:spPr>
              <p:txBody>
                <a:bodyPr rtlCol="0" anchor="ctr"/>
                <a:lstStyle/>
                <a:p>
                  <a:endParaRPr lang="en-GB" dirty="0"/>
                </a:p>
              </p:txBody>
            </p:sp>
            <p:sp>
              <p:nvSpPr>
                <p:cNvPr id="230" name="Freihandform: Form 265">
                  <a:extLst>
                    <a:ext uri="{FF2B5EF4-FFF2-40B4-BE49-F238E27FC236}">
                      <a16:creationId xmlns:a16="http://schemas.microsoft.com/office/drawing/2014/main" id="{04B1EC10-F69C-4851-8675-38FBD2F171D7}"/>
                    </a:ext>
                  </a:extLst>
                </p:cNvPr>
                <p:cNvSpPr/>
                <p:nvPr/>
              </p:nvSpPr>
              <p:spPr>
                <a:xfrm>
                  <a:off x="2515890" y="2683107"/>
                  <a:ext cx="18959" cy="221486"/>
                </a:xfrm>
                <a:custGeom>
                  <a:avLst/>
                  <a:gdLst>
                    <a:gd name="connsiteX0" fmla="*/ 12640 w 18959"/>
                    <a:gd name="connsiteY0" fmla="*/ 221487 h 221486"/>
                    <a:gd name="connsiteX1" fmla="*/ 6320 w 18959"/>
                    <a:gd name="connsiteY1" fmla="*/ 214973 h 221486"/>
                    <a:gd name="connsiteX2" fmla="*/ 6320 w 18959"/>
                    <a:gd name="connsiteY2" fmla="*/ 13028 h 221486"/>
                    <a:gd name="connsiteX3" fmla="*/ 0 w 18959"/>
                    <a:gd name="connsiteY3" fmla="*/ 6514 h 221486"/>
                    <a:gd name="connsiteX4" fmla="*/ 6320 w 18959"/>
                    <a:gd name="connsiteY4" fmla="*/ 0 h 221486"/>
                    <a:gd name="connsiteX5" fmla="*/ 12640 w 18959"/>
                    <a:gd name="connsiteY5" fmla="*/ 0 h 221486"/>
                    <a:gd name="connsiteX6" fmla="*/ 18959 w 18959"/>
                    <a:gd name="connsiteY6" fmla="*/ 6514 h 221486"/>
                    <a:gd name="connsiteX7" fmla="*/ 18959 w 18959"/>
                    <a:gd name="connsiteY7" fmla="*/ 214973 h 221486"/>
                    <a:gd name="connsiteX8" fmla="*/ 12640 w 18959"/>
                    <a:gd name="connsiteY8" fmla="*/ 221487 h 221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959" h="221486">
                      <a:moveTo>
                        <a:pt x="12640" y="221487"/>
                      </a:moveTo>
                      <a:cubicBezTo>
                        <a:pt x="9147" y="221487"/>
                        <a:pt x="6320" y="218569"/>
                        <a:pt x="6320" y="214973"/>
                      </a:cubicBezTo>
                      <a:lnTo>
                        <a:pt x="6320" y="13028"/>
                      </a:lnTo>
                      <a:cubicBezTo>
                        <a:pt x="2827" y="13028"/>
                        <a:pt x="0" y="10110"/>
                        <a:pt x="0" y="6514"/>
                      </a:cubicBezTo>
                      <a:cubicBezTo>
                        <a:pt x="0" y="2917"/>
                        <a:pt x="2827" y="0"/>
                        <a:pt x="6320" y="0"/>
                      </a:cubicBezTo>
                      <a:lnTo>
                        <a:pt x="12640" y="0"/>
                      </a:lnTo>
                      <a:cubicBezTo>
                        <a:pt x="16132" y="0"/>
                        <a:pt x="18959" y="2917"/>
                        <a:pt x="18959" y="6514"/>
                      </a:cubicBezTo>
                      <a:lnTo>
                        <a:pt x="18959" y="214973"/>
                      </a:lnTo>
                      <a:cubicBezTo>
                        <a:pt x="18959" y="218572"/>
                        <a:pt x="16132" y="221487"/>
                        <a:pt x="12640" y="221487"/>
                      </a:cubicBezTo>
                      <a:close/>
                    </a:path>
                  </a:pathLst>
                </a:custGeom>
                <a:grpFill/>
                <a:ln w="225" cap="flat">
                  <a:noFill/>
                  <a:prstDash val="solid"/>
                  <a:miter/>
                </a:ln>
              </p:spPr>
              <p:txBody>
                <a:bodyPr rtlCol="0" anchor="ctr"/>
                <a:lstStyle/>
                <a:p>
                  <a:endParaRPr lang="en-GB" dirty="0"/>
                </a:p>
              </p:txBody>
            </p:sp>
            <p:sp>
              <p:nvSpPr>
                <p:cNvPr id="231" name="Freihandform: Form 266">
                  <a:extLst>
                    <a:ext uri="{FF2B5EF4-FFF2-40B4-BE49-F238E27FC236}">
                      <a16:creationId xmlns:a16="http://schemas.microsoft.com/office/drawing/2014/main" id="{9DDA330F-F2E2-4EB0-8B50-1B2A3BAD21C3}"/>
                    </a:ext>
                  </a:extLst>
                </p:cNvPr>
                <p:cNvSpPr/>
                <p:nvPr/>
              </p:nvSpPr>
              <p:spPr>
                <a:xfrm>
                  <a:off x="2566447" y="2787338"/>
                  <a:ext cx="12639" cy="117256"/>
                </a:xfrm>
                <a:custGeom>
                  <a:avLst/>
                  <a:gdLst>
                    <a:gd name="connsiteX0" fmla="*/ 6320 w 12639"/>
                    <a:gd name="connsiteY0" fmla="*/ 117256 h 117256"/>
                    <a:gd name="connsiteX1" fmla="*/ 0 w 12639"/>
                    <a:gd name="connsiteY1" fmla="*/ 110742 h 117256"/>
                    <a:gd name="connsiteX2" fmla="*/ 0 w 12639"/>
                    <a:gd name="connsiteY2" fmla="*/ 6514 h 117256"/>
                    <a:gd name="connsiteX3" fmla="*/ 6320 w 12639"/>
                    <a:gd name="connsiteY3" fmla="*/ 0 h 117256"/>
                    <a:gd name="connsiteX4" fmla="*/ 12640 w 12639"/>
                    <a:gd name="connsiteY4" fmla="*/ 6514 h 117256"/>
                    <a:gd name="connsiteX5" fmla="*/ 12640 w 12639"/>
                    <a:gd name="connsiteY5" fmla="*/ 110742 h 117256"/>
                    <a:gd name="connsiteX6" fmla="*/ 6320 w 12639"/>
                    <a:gd name="connsiteY6" fmla="*/ 117256 h 11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39" h="117256">
                      <a:moveTo>
                        <a:pt x="6320" y="117256"/>
                      </a:moveTo>
                      <a:cubicBezTo>
                        <a:pt x="2827" y="117256"/>
                        <a:pt x="0" y="114339"/>
                        <a:pt x="0" y="110742"/>
                      </a:cubicBezTo>
                      <a:lnTo>
                        <a:pt x="0" y="6514"/>
                      </a:lnTo>
                      <a:cubicBezTo>
                        <a:pt x="0" y="2917"/>
                        <a:pt x="2827" y="0"/>
                        <a:pt x="6320" y="0"/>
                      </a:cubicBezTo>
                      <a:cubicBezTo>
                        <a:pt x="9812" y="0"/>
                        <a:pt x="12640" y="2917"/>
                        <a:pt x="12640" y="6514"/>
                      </a:cubicBezTo>
                      <a:lnTo>
                        <a:pt x="12640" y="110742"/>
                      </a:lnTo>
                      <a:cubicBezTo>
                        <a:pt x="12640" y="114341"/>
                        <a:pt x="9815" y="117256"/>
                        <a:pt x="6320" y="117256"/>
                      </a:cubicBezTo>
                      <a:close/>
                    </a:path>
                  </a:pathLst>
                </a:custGeom>
                <a:grpFill/>
                <a:ln w="225" cap="flat">
                  <a:noFill/>
                  <a:prstDash val="solid"/>
                  <a:miter/>
                </a:ln>
              </p:spPr>
              <p:txBody>
                <a:bodyPr rtlCol="0" anchor="ctr"/>
                <a:lstStyle/>
                <a:p>
                  <a:endParaRPr lang="en-GB" dirty="0"/>
                </a:p>
              </p:txBody>
            </p:sp>
            <p:sp>
              <p:nvSpPr>
                <p:cNvPr id="232" name="Freihandform: Form 267">
                  <a:extLst>
                    <a:ext uri="{FF2B5EF4-FFF2-40B4-BE49-F238E27FC236}">
                      <a16:creationId xmlns:a16="http://schemas.microsoft.com/office/drawing/2014/main" id="{5913763B-1117-41FC-9002-F0B8B4DDABBB}"/>
                    </a:ext>
                  </a:extLst>
                </p:cNvPr>
                <p:cNvSpPr/>
                <p:nvPr/>
              </p:nvSpPr>
              <p:spPr>
                <a:xfrm>
                  <a:off x="2534848" y="2500708"/>
                  <a:ext cx="63198" cy="78170"/>
                </a:xfrm>
                <a:custGeom>
                  <a:avLst/>
                  <a:gdLst>
                    <a:gd name="connsiteX0" fmla="*/ 31599 w 63198"/>
                    <a:gd name="connsiteY0" fmla="*/ 78171 h 78170"/>
                    <a:gd name="connsiteX1" fmla="*/ 0 w 63198"/>
                    <a:gd name="connsiteY1" fmla="*/ 39085 h 78170"/>
                    <a:gd name="connsiteX2" fmla="*/ 31599 w 63198"/>
                    <a:gd name="connsiteY2" fmla="*/ 0 h 78170"/>
                    <a:gd name="connsiteX3" fmla="*/ 63198 w 63198"/>
                    <a:gd name="connsiteY3" fmla="*/ 39085 h 78170"/>
                    <a:gd name="connsiteX4" fmla="*/ 31599 w 63198"/>
                    <a:gd name="connsiteY4" fmla="*/ 78171 h 78170"/>
                    <a:gd name="connsiteX5" fmla="*/ 31599 w 63198"/>
                    <a:gd name="connsiteY5" fmla="*/ 13028 h 78170"/>
                    <a:gd name="connsiteX6" fmla="*/ 12640 w 63198"/>
                    <a:gd name="connsiteY6" fmla="*/ 39085 h 78170"/>
                    <a:gd name="connsiteX7" fmla="*/ 31599 w 63198"/>
                    <a:gd name="connsiteY7" fmla="*/ 65143 h 78170"/>
                    <a:gd name="connsiteX8" fmla="*/ 50559 w 63198"/>
                    <a:gd name="connsiteY8" fmla="*/ 39085 h 78170"/>
                    <a:gd name="connsiteX9" fmla="*/ 31599 w 63198"/>
                    <a:gd name="connsiteY9" fmla="*/ 13028 h 78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198" h="78170">
                      <a:moveTo>
                        <a:pt x="31599" y="78171"/>
                      </a:moveTo>
                      <a:cubicBezTo>
                        <a:pt x="12703" y="78171"/>
                        <a:pt x="0" y="62465"/>
                        <a:pt x="0" y="39085"/>
                      </a:cubicBezTo>
                      <a:cubicBezTo>
                        <a:pt x="0" y="15706"/>
                        <a:pt x="12701" y="0"/>
                        <a:pt x="31599" y="0"/>
                      </a:cubicBezTo>
                      <a:cubicBezTo>
                        <a:pt x="50495" y="0"/>
                        <a:pt x="63198" y="15706"/>
                        <a:pt x="63198" y="39085"/>
                      </a:cubicBezTo>
                      <a:cubicBezTo>
                        <a:pt x="63198" y="62463"/>
                        <a:pt x="50498" y="78171"/>
                        <a:pt x="31599" y="78171"/>
                      </a:cubicBezTo>
                      <a:close/>
                      <a:moveTo>
                        <a:pt x="31599" y="13028"/>
                      </a:moveTo>
                      <a:cubicBezTo>
                        <a:pt x="17621" y="13028"/>
                        <a:pt x="12640" y="26489"/>
                        <a:pt x="12640" y="39085"/>
                      </a:cubicBezTo>
                      <a:cubicBezTo>
                        <a:pt x="12640" y="51682"/>
                        <a:pt x="17619" y="65143"/>
                        <a:pt x="31599" y="65143"/>
                      </a:cubicBezTo>
                      <a:cubicBezTo>
                        <a:pt x="45577" y="65143"/>
                        <a:pt x="50559" y="51682"/>
                        <a:pt x="50559" y="39085"/>
                      </a:cubicBezTo>
                      <a:cubicBezTo>
                        <a:pt x="50559" y="26489"/>
                        <a:pt x="45579" y="13028"/>
                        <a:pt x="31599" y="13028"/>
                      </a:cubicBezTo>
                      <a:close/>
                    </a:path>
                  </a:pathLst>
                </a:custGeom>
                <a:grpFill/>
                <a:ln w="225" cap="flat">
                  <a:noFill/>
                  <a:prstDash val="solid"/>
                  <a:miter/>
                </a:ln>
              </p:spPr>
              <p:txBody>
                <a:bodyPr rtlCol="0" anchor="ctr"/>
                <a:lstStyle/>
                <a:p>
                  <a:endParaRPr lang="en-GB" dirty="0"/>
                </a:p>
              </p:txBody>
            </p:sp>
          </p:grpSp>
        </p:grpSp>
      </p:grpSp>
      <p:grpSp>
        <p:nvGrpSpPr>
          <p:cNvPr id="507" name="Group 506">
            <a:extLst>
              <a:ext uri="{FF2B5EF4-FFF2-40B4-BE49-F238E27FC236}">
                <a16:creationId xmlns:a16="http://schemas.microsoft.com/office/drawing/2014/main" id="{90891459-375B-DE85-4946-F1EAA3974767}"/>
              </a:ext>
            </a:extLst>
          </p:cNvPr>
          <p:cNvGrpSpPr/>
          <p:nvPr/>
        </p:nvGrpSpPr>
        <p:grpSpPr>
          <a:xfrm>
            <a:off x="2674925" y="3212058"/>
            <a:ext cx="419987" cy="432000"/>
            <a:chOff x="2674925" y="3212058"/>
            <a:chExt cx="419987" cy="432000"/>
          </a:xfrm>
        </p:grpSpPr>
        <p:grpSp>
          <p:nvGrpSpPr>
            <p:cNvPr id="251" name="Gruppieren 1035">
              <a:extLst>
                <a:ext uri="{FF2B5EF4-FFF2-40B4-BE49-F238E27FC236}">
                  <a16:creationId xmlns:a16="http://schemas.microsoft.com/office/drawing/2014/main" id="{9E586CDF-D750-4FE4-BA35-B5C5CB88CB68}"/>
                </a:ext>
              </a:extLst>
            </p:cNvPr>
            <p:cNvGrpSpPr/>
            <p:nvPr/>
          </p:nvGrpSpPr>
          <p:grpSpPr>
            <a:xfrm>
              <a:off x="2674925" y="3348792"/>
              <a:ext cx="419987" cy="295266"/>
              <a:chOff x="1748233" y="2612387"/>
              <a:chExt cx="417252" cy="293343"/>
            </a:xfrm>
            <a:solidFill>
              <a:schemeClr val="tx2"/>
            </a:solidFill>
          </p:grpSpPr>
          <p:grpSp>
            <p:nvGrpSpPr>
              <p:cNvPr id="258" name="Gruppieren 1034">
                <a:extLst>
                  <a:ext uri="{FF2B5EF4-FFF2-40B4-BE49-F238E27FC236}">
                    <a16:creationId xmlns:a16="http://schemas.microsoft.com/office/drawing/2014/main" id="{BBB77D58-7F1C-47A1-B203-DB33E6C1E671}"/>
                  </a:ext>
                </a:extLst>
              </p:cNvPr>
              <p:cNvGrpSpPr/>
              <p:nvPr/>
            </p:nvGrpSpPr>
            <p:grpSpPr>
              <a:xfrm>
                <a:off x="1748233" y="2612387"/>
                <a:ext cx="417252" cy="195297"/>
                <a:chOff x="1748233" y="2612387"/>
                <a:chExt cx="417252" cy="195297"/>
              </a:xfrm>
              <a:grpFill/>
            </p:grpSpPr>
            <p:grpSp>
              <p:nvGrpSpPr>
                <p:cNvPr id="260" name="Graphic 8">
                  <a:extLst>
                    <a:ext uri="{FF2B5EF4-FFF2-40B4-BE49-F238E27FC236}">
                      <a16:creationId xmlns:a16="http://schemas.microsoft.com/office/drawing/2014/main" id="{5D666B33-6EF1-4C9A-B55B-13FBF5EB1961}"/>
                    </a:ext>
                  </a:extLst>
                </p:cNvPr>
                <p:cNvGrpSpPr/>
                <p:nvPr/>
              </p:nvGrpSpPr>
              <p:grpSpPr>
                <a:xfrm>
                  <a:off x="1879826" y="2705284"/>
                  <a:ext cx="154525" cy="37257"/>
                  <a:chOff x="1879826" y="2705284"/>
                  <a:chExt cx="154525" cy="37257"/>
                </a:xfrm>
                <a:grpFill/>
              </p:grpSpPr>
              <p:sp>
                <p:nvSpPr>
                  <p:cNvPr id="264" name="Freihandform: Form 431">
                    <a:extLst>
                      <a:ext uri="{FF2B5EF4-FFF2-40B4-BE49-F238E27FC236}">
                        <a16:creationId xmlns:a16="http://schemas.microsoft.com/office/drawing/2014/main" id="{AD599809-1914-4444-89B8-5041CD58E220}"/>
                      </a:ext>
                    </a:extLst>
                  </p:cNvPr>
                  <p:cNvSpPr/>
                  <p:nvPr/>
                </p:nvSpPr>
                <p:spPr>
                  <a:xfrm>
                    <a:off x="1879826" y="2705284"/>
                    <a:ext cx="59649" cy="37257"/>
                  </a:xfrm>
                  <a:custGeom>
                    <a:avLst/>
                    <a:gdLst>
                      <a:gd name="connsiteX0" fmla="*/ 29822 w 59649"/>
                      <a:gd name="connsiteY0" fmla="*/ 37258 h 37257"/>
                      <a:gd name="connsiteX1" fmla="*/ 25355 w 59649"/>
                      <a:gd name="connsiteY1" fmla="*/ 35349 h 37257"/>
                      <a:gd name="connsiteX2" fmla="*/ 1851 w 59649"/>
                      <a:gd name="connsiteY2" fmla="*/ 11121 h 37257"/>
                      <a:gd name="connsiteX3" fmla="*/ 1851 w 59649"/>
                      <a:gd name="connsiteY3" fmla="*/ 1909 h 37257"/>
                      <a:gd name="connsiteX4" fmla="*/ 10788 w 59649"/>
                      <a:gd name="connsiteY4" fmla="*/ 1909 h 37257"/>
                      <a:gd name="connsiteX5" fmla="*/ 29824 w 59649"/>
                      <a:gd name="connsiteY5" fmla="*/ 21532 h 37257"/>
                      <a:gd name="connsiteX6" fmla="*/ 48861 w 59649"/>
                      <a:gd name="connsiteY6" fmla="*/ 1909 h 37257"/>
                      <a:gd name="connsiteX7" fmla="*/ 57798 w 59649"/>
                      <a:gd name="connsiteY7" fmla="*/ 1909 h 37257"/>
                      <a:gd name="connsiteX8" fmla="*/ 57798 w 59649"/>
                      <a:gd name="connsiteY8" fmla="*/ 11121 h 37257"/>
                      <a:gd name="connsiteX9" fmla="*/ 34294 w 59649"/>
                      <a:gd name="connsiteY9" fmla="*/ 35349 h 37257"/>
                      <a:gd name="connsiteX10" fmla="*/ 29822 w 59649"/>
                      <a:gd name="connsiteY10" fmla="*/ 37258 h 3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649" h="37257">
                        <a:moveTo>
                          <a:pt x="29822" y="37258"/>
                        </a:moveTo>
                        <a:cubicBezTo>
                          <a:pt x="28205" y="37258"/>
                          <a:pt x="26589" y="36622"/>
                          <a:pt x="25355" y="35349"/>
                        </a:cubicBezTo>
                        <a:lnTo>
                          <a:pt x="1851" y="11121"/>
                        </a:lnTo>
                        <a:cubicBezTo>
                          <a:pt x="-617" y="8576"/>
                          <a:pt x="-617" y="4454"/>
                          <a:pt x="1851" y="1909"/>
                        </a:cubicBezTo>
                        <a:cubicBezTo>
                          <a:pt x="4320" y="-636"/>
                          <a:pt x="8320" y="-636"/>
                          <a:pt x="10788" y="1909"/>
                        </a:cubicBezTo>
                        <a:lnTo>
                          <a:pt x="29824" y="21532"/>
                        </a:lnTo>
                        <a:lnTo>
                          <a:pt x="48861" y="1909"/>
                        </a:lnTo>
                        <a:cubicBezTo>
                          <a:pt x="51329" y="-636"/>
                          <a:pt x="55329" y="-636"/>
                          <a:pt x="57798" y="1909"/>
                        </a:cubicBezTo>
                        <a:cubicBezTo>
                          <a:pt x="60266" y="4454"/>
                          <a:pt x="60266" y="8576"/>
                          <a:pt x="57798" y="11121"/>
                        </a:cubicBezTo>
                        <a:lnTo>
                          <a:pt x="34294" y="35349"/>
                        </a:lnTo>
                        <a:cubicBezTo>
                          <a:pt x="33056" y="36622"/>
                          <a:pt x="31440" y="37258"/>
                          <a:pt x="29822" y="37258"/>
                        </a:cubicBezTo>
                        <a:close/>
                      </a:path>
                    </a:pathLst>
                  </a:custGeom>
                  <a:grpFill/>
                  <a:ln w="225" cap="flat">
                    <a:noFill/>
                    <a:prstDash val="solid"/>
                    <a:miter/>
                  </a:ln>
                </p:spPr>
                <p:txBody>
                  <a:bodyPr rtlCol="0" anchor="ctr"/>
                  <a:lstStyle/>
                  <a:p>
                    <a:endParaRPr lang="en-GB" dirty="0"/>
                  </a:p>
                </p:txBody>
              </p:sp>
              <p:sp>
                <p:nvSpPr>
                  <p:cNvPr id="265" name="Freihandform: Form 432">
                    <a:extLst>
                      <a:ext uri="{FF2B5EF4-FFF2-40B4-BE49-F238E27FC236}">
                        <a16:creationId xmlns:a16="http://schemas.microsoft.com/office/drawing/2014/main" id="{06EF9F2F-0B33-42EE-A607-4FAFADC0FC84}"/>
                      </a:ext>
                    </a:extLst>
                  </p:cNvPr>
                  <p:cNvSpPr/>
                  <p:nvPr/>
                </p:nvSpPr>
                <p:spPr>
                  <a:xfrm>
                    <a:off x="1927569" y="2705284"/>
                    <a:ext cx="59651" cy="37257"/>
                  </a:xfrm>
                  <a:custGeom>
                    <a:avLst/>
                    <a:gdLst>
                      <a:gd name="connsiteX0" fmla="*/ 29822 w 59651"/>
                      <a:gd name="connsiteY0" fmla="*/ 37258 h 37257"/>
                      <a:gd name="connsiteX1" fmla="*/ 25355 w 59651"/>
                      <a:gd name="connsiteY1" fmla="*/ 35349 h 37257"/>
                      <a:gd name="connsiteX2" fmla="*/ 1851 w 59651"/>
                      <a:gd name="connsiteY2" fmla="*/ 11121 h 37257"/>
                      <a:gd name="connsiteX3" fmla="*/ 1851 w 59651"/>
                      <a:gd name="connsiteY3" fmla="*/ 1909 h 37257"/>
                      <a:gd name="connsiteX4" fmla="*/ 10788 w 59651"/>
                      <a:gd name="connsiteY4" fmla="*/ 1909 h 37257"/>
                      <a:gd name="connsiteX5" fmla="*/ 29824 w 59651"/>
                      <a:gd name="connsiteY5" fmla="*/ 21532 h 37257"/>
                      <a:gd name="connsiteX6" fmla="*/ 48863 w 59651"/>
                      <a:gd name="connsiteY6" fmla="*/ 1909 h 37257"/>
                      <a:gd name="connsiteX7" fmla="*/ 57800 w 59651"/>
                      <a:gd name="connsiteY7" fmla="*/ 1909 h 37257"/>
                      <a:gd name="connsiteX8" fmla="*/ 57800 w 59651"/>
                      <a:gd name="connsiteY8" fmla="*/ 11121 h 37257"/>
                      <a:gd name="connsiteX9" fmla="*/ 34292 w 59651"/>
                      <a:gd name="connsiteY9" fmla="*/ 35349 h 37257"/>
                      <a:gd name="connsiteX10" fmla="*/ 29822 w 59651"/>
                      <a:gd name="connsiteY10" fmla="*/ 37258 h 3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651" h="37257">
                        <a:moveTo>
                          <a:pt x="29822" y="37258"/>
                        </a:moveTo>
                        <a:cubicBezTo>
                          <a:pt x="28205" y="37258"/>
                          <a:pt x="26589" y="36622"/>
                          <a:pt x="25355" y="35349"/>
                        </a:cubicBezTo>
                        <a:lnTo>
                          <a:pt x="1851" y="11121"/>
                        </a:lnTo>
                        <a:cubicBezTo>
                          <a:pt x="-617" y="8576"/>
                          <a:pt x="-617" y="4454"/>
                          <a:pt x="1851" y="1909"/>
                        </a:cubicBezTo>
                        <a:cubicBezTo>
                          <a:pt x="4320" y="-636"/>
                          <a:pt x="8320" y="-636"/>
                          <a:pt x="10788" y="1909"/>
                        </a:cubicBezTo>
                        <a:lnTo>
                          <a:pt x="29824" y="21532"/>
                        </a:lnTo>
                        <a:lnTo>
                          <a:pt x="48863" y="1909"/>
                        </a:lnTo>
                        <a:cubicBezTo>
                          <a:pt x="51331" y="-636"/>
                          <a:pt x="55332" y="-636"/>
                          <a:pt x="57800" y="1909"/>
                        </a:cubicBezTo>
                        <a:cubicBezTo>
                          <a:pt x="60268" y="4454"/>
                          <a:pt x="60268" y="8578"/>
                          <a:pt x="57800" y="11121"/>
                        </a:cubicBezTo>
                        <a:lnTo>
                          <a:pt x="34292" y="35349"/>
                        </a:lnTo>
                        <a:cubicBezTo>
                          <a:pt x="33058" y="36622"/>
                          <a:pt x="31440" y="37258"/>
                          <a:pt x="29822" y="37258"/>
                        </a:cubicBezTo>
                        <a:close/>
                      </a:path>
                    </a:pathLst>
                  </a:custGeom>
                  <a:grpFill/>
                  <a:ln w="225" cap="flat">
                    <a:noFill/>
                    <a:prstDash val="solid"/>
                    <a:miter/>
                  </a:ln>
                </p:spPr>
                <p:txBody>
                  <a:bodyPr rtlCol="0" anchor="ctr"/>
                  <a:lstStyle/>
                  <a:p>
                    <a:endParaRPr lang="en-GB" dirty="0"/>
                  </a:p>
                </p:txBody>
              </p:sp>
              <p:sp>
                <p:nvSpPr>
                  <p:cNvPr id="266" name="Freihandform: Form 433">
                    <a:extLst>
                      <a:ext uri="{FF2B5EF4-FFF2-40B4-BE49-F238E27FC236}">
                        <a16:creationId xmlns:a16="http://schemas.microsoft.com/office/drawing/2014/main" id="{D84B3752-E602-4089-8326-C9FA70C5B33B}"/>
                      </a:ext>
                    </a:extLst>
                  </p:cNvPr>
                  <p:cNvSpPr/>
                  <p:nvPr/>
                </p:nvSpPr>
                <p:spPr>
                  <a:xfrm>
                    <a:off x="1974700" y="2705284"/>
                    <a:ext cx="59651" cy="37257"/>
                  </a:xfrm>
                  <a:custGeom>
                    <a:avLst/>
                    <a:gdLst>
                      <a:gd name="connsiteX0" fmla="*/ 29827 w 59651"/>
                      <a:gd name="connsiteY0" fmla="*/ 37258 h 37257"/>
                      <a:gd name="connsiteX1" fmla="*/ 25359 w 59651"/>
                      <a:gd name="connsiteY1" fmla="*/ 35349 h 37257"/>
                      <a:gd name="connsiteX2" fmla="*/ 1851 w 59651"/>
                      <a:gd name="connsiteY2" fmla="*/ 11121 h 37257"/>
                      <a:gd name="connsiteX3" fmla="*/ 1851 w 59651"/>
                      <a:gd name="connsiteY3" fmla="*/ 1909 h 37257"/>
                      <a:gd name="connsiteX4" fmla="*/ 10788 w 59651"/>
                      <a:gd name="connsiteY4" fmla="*/ 1909 h 37257"/>
                      <a:gd name="connsiteX5" fmla="*/ 29827 w 59651"/>
                      <a:gd name="connsiteY5" fmla="*/ 21532 h 37257"/>
                      <a:gd name="connsiteX6" fmla="*/ 48863 w 59651"/>
                      <a:gd name="connsiteY6" fmla="*/ 1909 h 37257"/>
                      <a:gd name="connsiteX7" fmla="*/ 57800 w 59651"/>
                      <a:gd name="connsiteY7" fmla="*/ 1909 h 37257"/>
                      <a:gd name="connsiteX8" fmla="*/ 57800 w 59651"/>
                      <a:gd name="connsiteY8" fmla="*/ 11121 h 37257"/>
                      <a:gd name="connsiteX9" fmla="*/ 34296 w 59651"/>
                      <a:gd name="connsiteY9" fmla="*/ 35349 h 37257"/>
                      <a:gd name="connsiteX10" fmla="*/ 29827 w 59651"/>
                      <a:gd name="connsiteY10" fmla="*/ 37258 h 3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651" h="37257">
                        <a:moveTo>
                          <a:pt x="29827" y="37258"/>
                        </a:moveTo>
                        <a:cubicBezTo>
                          <a:pt x="28209" y="37258"/>
                          <a:pt x="26594" y="36622"/>
                          <a:pt x="25359" y="35349"/>
                        </a:cubicBezTo>
                        <a:lnTo>
                          <a:pt x="1851" y="11121"/>
                        </a:lnTo>
                        <a:cubicBezTo>
                          <a:pt x="-617" y="8581"/>
                          <a:pt x="-617" y="4454"/>
                          <a:pt x="1851" y="1909"/>
                        </a:cubicBezTo>
                        <a:cubicBezTo>
                          <a:pt x="4320" y="-636"/>
                          <a:pt x="8320" y="-636"/>
                          <a:pt x="10788" y="1909"/>
                        </a:cubicBezTo>
                        <a:lnTo>
                          <a:pt x="29827" y="21532"/>
                        </a:lnTo>
                        <a:lnTo>
                          <a:pt x="48863" y="1909"/>
                        </a:lnTo>
                        <a:cubicBezTo>
                          <a:pt x="51331" y="-636"/>
                          <a:pt x="55332" y="-636"/>
                          <a:pt x="57800" y="1909"/>
                        </a:cubicBezTo>
                        <a:cubicBezTo>
                          <a:pt x="60268" y="4454"/>
                          <a:pt x="60268" y="8576"/>
                          <a:pt x="57800" y="11121"/>
                        </a:cubicBezTo>
                        <a:lnTo>
                          <a:pt x="34296" y="35349"/>
                        </a:lnTo>
                        <a:cubicBezTo>
                          <a:pt x="33060" y="36622"/>
                          <a:pt x="31445" y="37258"/>
                          <a:pt x="29827" y="37258"/>
                        </a:cubicBezTo>
                        <a:close/>
                      </a:path>
                    </a:pathLst>
                  </a:custGeom>
                  <a:grpFill/>
                  <a:ln w="225" cap="flat">
                    <a:noFill/>
                    <a:prstDash val="solid"/>
                    <a:miter/>
                  </a:ln>
                </p:spPr>
                <p:txBody>
                  <a:bodyPr rtlCol="0" anchor="ctr"/>
                  <a:lstStyle/>
                  <a:p>
                    <a:endParaRPr lang="en-GB" dirty="0"/>
                  </a:p>
                </p:txBody>
              </p:sp>
            </p:grpSp>
            <p:sp>
              <p:nvSpPr>
                <p:cNvPr id="261" name="Freihandform: Form 434">
                  <a:extLst>
                    <a:ext uri="{FF2B5EF4-FFF2-40B4-BE49-F238E27FC236}">
                      <a16:creationId xmlns:a16="http://schemas.microsoft.com/office/drawing/2014/main" id="{663FECD2-93F0-4AD5-9DB8-4638BB8CD397}"/>
                    </a:ext>
                  </a:extLst>
                </p:cNvPr>
                <p:cNvSpPr/>
                <p:nvPr/>
              </p:nvSpPr>
              <p:spPr>
                <a:xfrm>
                  <a:off x="1811582" y="2612387"/>
                  <a:ext cx="290706" cy="195297"/>
                </a:xfrm>
                <a:custGeom>
                  <a:avLst/>
                  <a:gdLst>
                    <a:gd name="connsiteX0" fmla="*/ 284389 w 290706"/>
                    <a:gd name="connsiteY0" fmla="*/ 195298 h 195297"/>
                    <a:gd name="connsiteX1" fmla="*/ 279419 w 290706"/>
                    <a:gd name="connsiteY1" fmla="*/ 192807 h 195297"/>
                    <a:gd name="connsiteX2" fmla="*/ 145353 w 290706"/>
                    <a:gd name="connsiteY2" fmla="*/ 16926 h 195297"/>
                    <a:gd name="connsiteX3" fmla="*/ 11288 w 290706"/>
                    <a:gd name="connsiteY3" fmla="*/ 192807 h 195297"/>
                    <a:gd name="connsiteX4" fmla="*/ 2416 w 290706"/>
                    <a:gd name="connsiteY4" fmla="*/ 193903 h 195297"/>
                    <a:gd name="connsiteX5" fmla="*/ 1351 w 290706"/>
                    <a:gd name="connsiteY5" fmla="*/ 184759 h 195297"/>
                    <a:gd name="connsiteX6" fmla="*/ 140385 w 290706"/>
                    <a:gd name="connsiteY6" fmla="*/ 2357 h 195297"/>
                    <a:gd name="connsiteX7" fmla="*/ 150322 w 290706"/>
                    <a:gd name="connsiteY7" fmla="*/ 2357 h 195297"/>
                    <a:gd name="connsiteX8" fmla="*/ 289355 w 290706"/>
                    <a:gd name="connsiteY8" fmla="*/ 184759 h 195297"/>
                    <a:gd name="connsiteX9" fmla="*/ 288290 w 290706"/>
                    <a:gd name="connsiteY9" fmla="*/ 193903 h 195297"/>
                    <a:gd name="connsiteX10" fmla="*/ 284389 w 290706"/>
                    <a:gd name="connsiteY10" fmla="*/ 195298 h 195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0706" h="195297">
                      <a:moveTo>
                        <a:pt x="284389" y="195298"/>
                      </a:moveTo>
                      <a:cubicBezTo>
                        <a:pt x="282516" y="195298"/>
                        <a:pt x="280664" y="194445"/>
                        <a:pt x="279419" y="192807"/>
                      </a:cubicBezTo>
                      <a:lnTo>
                        <a:pt x="145353" y="16926"/>
                      </a:lnTo>
                      <a:lnTo>
                        <a:pt x="11288" y="192807"/>
                      </a:lnTo>
                      <a:cubicBezTo>
                        <a:pt x="9131" y="195638"/>
                        <a:pt x="5155" y="196128"/>
                        <a:pt x="2416" y="193903"/>
                      </a:cubicBezTo>
                      <a:cubicBezTo>
                        <a:pt x="-330" y="191683"/>
                        <a:pt x="-806" y="187586"/>
                        <a:pt x="1351" y="184759"/>
                      </a:cubicBezTo>
                      <a:lnTo>
                        <a:pt x="140385" y="2357"/>
                      </a:lnTo>
                      <a:cubicBezTo>
                        <a:pt x="142779" y="-786"/>
                        <a:pt x="147928" y="-786"/>
                        <a:pt x="150322" y="2357"/>
                      </a:cubicBezTo>
                      <a:lnTo>
                        <a:pt x="289355" y="184759"/>
                      </a:lnTo>
                      <a:cubicBezTo>
                        <a:pt x="291512" y="187586"/>
                        <a:pt x="291036" y="191683"/>
                        <a:pt x="288290" y="193903"/>
                      </a:cubicBezTo>
                      <a:cubicBezTo>
                        <a:pt x="287133" y="194842"/>
                        <a:pt x="285756" y="195298"/>
                        <a:pt x="284389" y="195298"/>
                      </a:cubicBezTo>
                      <a:close/>
                    </a:path>
                  </a:pathLst>
                </a:custGeom>
                <a:grpFill/>
                <a:ln w="225" cap="flat">
                  <a:noFill/>
                  <a:prstDash val="solid"/>
                  <a:miter/>
                </a:ln>
              </p:spPr>
              <p:txBody>
                <a:bodyPr rtlCol="0" anchor="ctr"/>
                <a:lstStyle/>
                <a:p>
                  <a:endParaRPr lang="en-GB" dirty="0"/>
                </a:p>
              </p:txBody>
            </p:sp>
            <p:sp>
              <p:nvSpPr>
                <p:cNvPr id="262" name="Freihandform: Form 435">
                  <a:extLst>
                    <a:ext uri="{FF2B5EF4-FFF2-40B4-BE49-F238E27FC236}">
                      <a16:creationId xmlns:a16="http://schemas.microsoft.com/office/drawing/2014/main" id="{7D5D6CB2-3E16-4278-93C3-31900C8C01BA}"/>
                    </a:ext>
                  </a:extLst>
                </p:cNvPr>
                <p:cNvSpPr/>
                <p:nvPr/>
              </p:nvSpPr>
              <p:spPr>
                <a:xfrm>
                  <a:off x="2021567" y="2643776"/>
                  <a:ext cx="143918" cy="123193"/>
                </a:xfrm>
                <a:custGeom>
                  <a:avLst/>
                  <a:gdLst>
                    <a:gd name="connsiteX0" fmla="*/ 137601 w 143918"/>
                    <a:gd name="connsiteY0" fmla="*/ 123194 h 123193"/>
                    <a:gd name="connsiteX1" fmla="*/ 132630 w 143918"/>
                    <a:gd name="connsiteY1" fmla="*/ 120703 h 123193"/>
                    <a:gd name="connsiteX2" fmla="*/ 53523 w 143918"/>
                    <a:gd name="connsiteY2" fmla="*/ 16926 h 123193"/>
                    <a:gd name="connsiteX3" fmla="*/ 11288 w 143918"/>
                    <a:gd name="connsiteY3" fmla="*/ 72333 h 123193"/>
                    <a:gd name="connsiteX4" fmla="*/ 2416 w 143918"/>
                    <a:gd name="connsiteY4" fmla="*/ 73430 h 123193"/>
                    <a:gd name="connsiteX5" fmla="*/ 1351 w 143918"/>
                    <a:gd name="connsiteY5" fmla="*/ 64285 h 123193"/>
                    <a:gd name="connsiteX6" fmla="*/ 48555 w 143918"/>
                    <a:gd name="connsiteY6" fmla="*/ 2357 h 123193"/>
                    <a:gd name="connsiteX7" fmla="*/ 58491 w 143918"/>
                    <a:gd name="connsiteY7" fmla="*/ 2357 h 123193"/>
                    <a:gd name="connsiteX8" fmla="*/ 142567 w 143918"/>
                    <a:gd name="connsiteY8" fmla="*/ 112655 h 123193"/>
                    <a:gd name="connsiteX9" fmla="*/ 141502 w 143918"/>
                    <a:gd name="connsiteY9" fmla="*/ 121800 h 123193"/>
                    <a:gd name="connsiteX10" fmla="*/ 137601 w 143918"/>
                    <a:gd name="connsiteY10" fmla="*/ 123194 h 12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918" h="123193">
                      <a:moveTo>
                        <a:pt x="137601" y="123194"/>
                      </a:moveTo>
                      <a:cubicBezTo>
                        <a:pt x="135728" y="123194"/>
                        <a:pt x="133876" y="122341"/>
                        <a:pt x="132630" y="120703"/>
                      </a:cubicBezTo>
                      <a:lnTo>
                        <a:pt x="53523" y="16926"/>
                      </a:lnTo>
                      <a:lnTo>
                        <a:pt x="11288" y="72333"/>
                      </a:lnTo>
                      <a:cubicBezTo>
                        <a:pt x="9129" y="75160"/>
                        <a:pt x="5160" y="75650"/>
                        <a:pt x="2416" y="73430"/>
                      </a:cubicBezTo>
                      <a:cubicBezTo>
                        <a:pt x="-330" y="71210"/>
                        <a:pt x="-806" y="67112"/>
                        <a:pt x="1351" y="64285"/>
                      </a:cubicBezTo>
                      <a:lnTo>
                        <a:pt x="48555" y="2357"/>
                      </a:lnTo>
                      <a:cubicBezTo>
                        <a:pt x="50949" y="-786"/>
                        <a:pt x="56098" y="-786"/>
                        <a:pt x="58491" y="2357"/>
                      </a:cubicBezTo>
                      <a:lnTo>
                        <a:pt x="142567" y="112655"/>
                      </a:lnTo>
                      <a:cubicBezTo>
                        <a:pt x="144724" y="115482"/>
                        <a:pt x="144248" y="119579"/>
                        <a:pt x="141502" y="121800"/>
                      </a:cubicBezTo>
                      <a:cubicBezTo>
                        <a:pt x="140344" y="122738"/>
                        <a:pt x="138968" y="123194"/>
                        <a:pt x="137601" y="123194"/>
                      </a:cubicBezTo>
                      <a:close/>
                    </a:path>
                  </a:pathLst>
                </a:custGeom>
                <a:grpFill/>
                <a:ln w="225" cap="flat">
                  <a:noFill/>
                  <a:prstDash val="solid"/>
                  <a:miter/>
                </a:ln>
              </p:spPr>
              <p:txBody>
                <a:bodyPr rtlCol="0" anchor="ctr"/>
                <a:lstStyle/>
                <a:p>
                  <a:endParaRPr lang="en-GB" dirty="0"/>
                </a:p>
              </p:txBody>
            </p:sp>
            <p:sp>
              <p:nvSpPr>
                <p:cNvPr id="263" name="Freihandform: Form 436">
                  <a:extLst>
                    <a:ext uri="{FF2B5EF4-FFF2-40B4-BE49-F238E27FC236}">
                      <a16:creationId xmlns:a16="http://schemas.microsoft.com/office/drawing/2014/main" id="{92DBB3B6-7B34-4E18-9F07-566A6BD99112}"/>
                    </a:ext>
                  </a:extLst>
                </p:cNvPr>
                <p:cNvSpPr/>
                <p:nvPr/>
              </p:nvSpPr>
              <p:spPr>
                <a:xfrm>
                  <a:off x="1748233" y="2644322"/>
                  <a:ext cx="143575" cy="123191"/>
                </a:xfrm>
                <a:custGeom>
                  <a:avLst/>
                  <a:gdLst>
                    <a:gd name="connsiteX0" fmla="*/ 6317 w 143575"/>
                    <a:gd name="connsiteY0" fmla="*/ 123192 h 123191"/>
                    <a:gd name="connsiteX1" fmla="*/ 2416 w 143575"/>
                    <a:gd name="connsiteY1" fmla="*/ 121800 h 123191"/>
                    <a:gd name="connsiteX2" fmla="*/ 1351 w 143575"/>
                    <a:gd name="connsiteY2" fmla="*/ 112655 h 123191"/>
                    <a:gd name="connsiteX3" fmla="*/ 85427 w 143575"/>
                    <a:gd name="connsiteY3" fmla="*/ 2357 h 123191"/>
                    <a:gd name="connsiteX4" fmla="*/ 95363 w 143575"/>
                    <a:gd name="connsiteY4" fmla="*/ 2357 h 123191"/>
                    <a:gd name="connsiteX5" fmla="*/ 142224 w 143575"/>
                    <a:gd name="connsiteY5" fmla="*/ 63836 h 123191"/>
                    <a:gd name="connsiteX6" fmla="*/ 141159 w 143575"/>
                    <a:gd name="connsiteY6" fmla="*/ 72981 h 123191"/>
                    <a:gd name="connsiteX7" fmla="*/ 132287 w 143575"/>
                    <a:gd name="connsiteY7" fmla="*/ 71884 h 123191"/>
                    <a:gd name="connsiteX8" fmla="*/ 90395 w 143575"/>
                    <a:gd name="connsiteY8" fmla="*/ 16926 h 123191"/>
                    <a:gd name="connsiteX9" fmla="*/ 11288 w 143575"/>
                    <a:gd name="connsiteY9" fmla="*/ 120703 h 123191"/>
                    <a:gd name="connsiteX10" fmla="*/ 6317 w 143575"/>
                    <a:gd name="connsiteY10" fmla="*/ 123192 h 12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575" h="123191">
                      <a:moveTo>
                        <a:pt x="6317" y="123192"/>
                      </a:moveTo>
                      <a:cubicBezTo>
                        <a:pt x="4950" y="123192"/>
                        <a:pt x="3574" y="122736"/>
                        <a:pt x="2416" y="121800"/>
                      </a:cubicBezTo>
                      <a:cubicBezTo>
                        <a:pt x="-330" y="119580"/>
                        <a:pt x="-806" y="115482"/>
                        <a:pt x="1351" y="112655"/>
                      </a:cubicBezTo>
                      <a:lnTo>
                        <a:pt x="85427" y="2357"/>
                      </a:lnTo>
                      <a:cubicBezTo>
                        <a:pt x="87821" y="-786"/>
                        <a:pt x="92969" y="-786"/>
                        <a:pt x="95363" y="2357"/>
                      </a:cubicBezTo>
                      <a:lnTo>
                        <a:pt x="142224" y="63836"/>
                      </a:lnTo>
                      <a:cubicBezTo>
                        <a:pt x="144381" y="66663"/>
                        <a:pt x="143905" y="70761"/>
                        <a:pt x="141159" y="72981"/>
                      </a:cubicBezTo>
                      <a:cubicBezTo>
                        <a:pt x="138415" y="75203"/>
                        <a:pt x="134442" y="74714"/>
                        <a:pt x="132287" y="71884"/>
                      </a:cubicBezTo>
                      <a:lnTo>
                        <a:pt x="90395" y="16926"/>
                      </a:lnTo>
                      <a:lnTo>
                        <a:pt x="11288" y="120703"/>
                      </a:lnTo>
                      <a:cubicBezTo>
                        <a:pt x="10043" y="122337"/>
                        <a:pt x="8188" y="123192"/>
                        <a:pt x="6317" y="123192"/>
                      </a:cubicBezTo>
                      <a:close/>
                    </a:path>
                  </a:pathLst>
                </a:custGeom>
                <a:grpFill/>
                <a:ln w="225" cap="flat">
                  <a:noFill/>
                  <a:prstDash val="solid"/>
                  <a:miter/>
                </a:ln>
              </p:spPr>
              <p:txBody>
                <a:bodyPr rtlCol="0" anchor="ctr"/>
                <a:lstStyle/>
                <a:p>
                  <a:endParaRPr lang="en-GB" dirty="0"/>
                </a:p>
              </p:txBody>
            </p:sp>
          </p:grpSp>
          <p:sp>
            <p:nvSpPr>
              <p:cNvPr id="259" name="Freihandform: Form 438">
                <a:extLst>
                  <a:ext uri="{FF2B5EF4-FFF2-40B4-BE49-F238E27FC236}">
                    <a16:creationId xmlns:a16="http://schemas.microsoft.com/office/drawing/2014/main" id="{73EB8714-9F4B-48EF-884F-141272210271}"/>
                  </a:ext>
                </a:extLst>
              </p:cNvPr>
              <p:cNvSpPr/>
              <p:nvPr/>
            </p:nvSpPr>
            <p:spPr>
              <a:xfrm>
                <a:off x="1900251" y="2788477"/>
                <a:ext cx="113756" cy="117253"/>
              </a:xfrm>
              <a:custGeom>
                <a:avLst/>
                <a:gdLst>
                  <a:gd name="connsiteX0" fmla="*/ 56876 w 113756"/>
                  <a:gd name="connsiteY0" fmla="*/ 117254 h 117253"/>
                  <a:gd name="connsiteX1" fmla="*/ 0 w 113756"/>
                  <a:gd name="connsiteY1" fmla="*/ 58629 h 117253"/>
                  <a:gd name="connsiteX2" fmla="*/ 56876 w 113756"/>
                  <a:gd name="connsiteY2" fmla="*/ 0 h 117253"/>
                  <a:gd name="connsiteX3" fmla="*/ 74969 w 113756"/>
                  <a:gd name="connsiteY3" fmla="*/ 3032 h 117253"/>
                  <a:gd name="connsiteX4" fmla="*/ 78954 w 113756"/>
                  <a:gd name="connsiteY4" fmla="*/ 11281 h 117253"/>
                  <a:gd name="connsiteX5" fmla="*/ 70953 w 113756"/>
                  <a:gd name="connsiteY5" fmla="*/ 15388 h 117253"/>
                  <a:gd name="connsiteX6" fmla="*/ 56878 w 113756"/>
                  <a:gd name="connsiteY6" fmla="*/ 13030 h 117253"/>
                  <a:gd name="connsiteX7" fmla="*/ 12640 w 113756"/>
                  <a:gd name="connsiteY7" fmla="*/ 58631 h 117253"/>
                  <a:gd name="connsiteX8" fmla="*/ 56878 w 113756"/>
                  <a:gd name="connsiteY8" fmla="*/ 104228 h 117253"/>
                  <a:gd name="connsiteX9" fmla="*/ 101117 w 113756"/>
                  <a:gd name="connsiteY9" fmla="*/ 58631 h 117253"/>
                  <a:gd name="connsiteX10" fmla="*/ 100857 w 113756"/>
                  <a:gd name="connsiteY10" fmla="*/ 53647 h 117253"/>
                  <a:gd name="connsiteX11" fmla="*/ 106455 w 113756"/>
                  <a:gd name="connsiteY11" fmla="*/ 46466 h 117253"/>
                  <a:gd name="connsiteX12" fmla="*/ 113423 w 113756"/>
                  <a:gd name="connsiteY12" fmla="*/ 52235 h 117253"/>
                  <a:gd name="connsiteX13" fmla="*/ 113757 w 113756"/>
                  <a:gd name="connsiteY13" fmla="*/ 58631 h 117253"/>
                  <a:gd name="connsiteX14" fmla="*/ 56876 w 113756"/>
                  <a:gd name="connsiteY14" fmla="*/ 117254 h 11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756" h="117253">
                    <a:moveTo>
                      <a:pt x="56876" y="117254"/>
                    </a:moveTo>
                    <a:cubicBezTo>
                      <a:pt x="25516" y="117254"/>
                      <a:pt x="0" y="90955"/>
                      <a:pt x="0" y="58629"/>
                    </a:cubicBezTo>
                    <a:cubicBezTo>
                      <a:pt x="0" y="26301"/>
                      <a:pt x="25516" y="0"/>
                      <a:pt x="56876" y="0"/>
                    </a:cubicBezTo>
                    <a:cubicBezTo>
                      <a:pt x="63060" y="0"/>
                      <a:pt x="69148" y="1022"/>
                      <a:pt x="74969" y="3032"/>
                    </a:cubicBezTo>
                    <a:cubicBezTo>
                      <a:pt x="78279" y="4179"/>
                      <a:pt x="80061" y="7870"/>
                      <a:pt x="78954" y="11281"/>
                    </a:cubicBezTo>
                    <a:cubicBezTo>
                      <a:pt x="77844" y="14697"/>
                      <a:pt x="74261" y="16527"/>
                      <a:pt x="70953" y="15388"/>
                    </a:cubicBezTo>
                    <a:cubicBezTo>
                      <a:pt x="66429" y="13822"/>
                      <a:pt x="61695" y="13030"/>
                      <a:pt x="56878" y="13030"/>
                    </a:cubicBezTo>
                    <a:cubicBezTo>
                      <a:pt x="32486" y="13030"/>
                      <a:pt x="12640" y="33485"/>
                      <a:pt x="12640" y="58631"/>
                    </a:cubicBezTo>
                    <a:cubicBezTo>
                      <a:pt x="12640" y="83773"/>
                      <a:pt x="32483" y="104228"/>
                      <a:pt x="56878" y="104228"/>
                    </a:cubicBezTo>
                    <a:cubicBezTo>
                      <a:pt x="81271" y="104228"/>
                      <a:pt x="101117" y="83773"/>
                      <a:pt x="101117" y="58631"/>
                    </a:cubicBezTo>
                    <a:cubicBezTo>
                      <a:pt x="101117" y="56946"/>
                      <a:pt x="101031" y="55281"/>
                      <a:pt x="100857" y="53647"/>
                    </a:cubicBezTo>
                    <a:cubicBezTo>
                      <a:pt x="100478" y="50071"/>
                      <a:pt x="102987" y="46856"/>
                      <a:pt x="106455" y="46466"/>
                    </a:cubicBezTo>
                    <a:cubicBezTo>
                      <a:pt x="109837" y="46068"/>
                      <a:pt x="113044" y="48654"/>
                      <a:pt x="113423" y="52235"/>
                    </a:cubicBezTo>
                    <a:cubicBezTo>
                      <a:pt x="113644" y="54333"/>
                      <a:pt x="113757" y="56468"/>
                      <a:pt x="113757" y="58631"/>
                    </a:cubicBezTo>
                    <a:cubicBezTo>
                      <a:pt x="113752" y="90955"/>
                      <a:pt x="88236" y="117254"/>
                      <a:pt x="56876" y="117254"/>
                    </a:cubicBezTo>
                    <a:close/>
                  </a:path>
                </a:pathLst>
              </a:custGeom>
              <a:grpFill/>
              <a:ln w="225" cap="flat">
                <a:noFill/>
                <a:prstDash val="solid"/>
                <a:miter/>
              </a:ln>
            </p:spPr>
            <p:txBody>
              <a:bodyPr rtlCol="0" anchor="ctr"/>
              <a:lstStyle/>
              <a:p>
                <a:endParaRPr lang="en-GB" dirty="0"/>
              </a:p>
            </p:txBody>
          </p:sp>
        </p:grpSp>
        <p:grpSp>
          <p:nvGrpSpPr>
            <p:cNvPr id="252" name="Gruppieren 1033">
              <a:extLst>
                <a:ext uri="{FF2B5EF4-FFF2-40B4-BE49-F238E27FC236}">
                  <a16:creationId xmlns:a16="http://schemas.microsoft.com/office/drawing/2014/main" id="{1CE330EF-BE20-41A0-A48F-2F17DC150535}"/>
                </a:ext>
              </a:extLst>
            </p:cNvPr>
            <p:cNvGrpSpPr/>
            <p:nvPr/>
          </p:nvGrpSpPr>
          <p:grpSpPr>
            <a:xfrm>
              <a:off x="2858630" y="3212058"/>
              <a:ext cx="147771" cy="400528"/>
              <a:chOff x="1930742" y="2476543"/>
              <a:chExt cx="146809" cy="397920"/>
            </a:xfrm>
          </p:grpSpPr>
          <p:grpSp>
            <p:nvGrpSpPr>
              <p:cNvPr id="253" name="Graphic 8">
                <a:extLst>
                  <a:ext uri="{FF2B5EF4-FFF2-40B4-BE49-F238E27FC236}">
                    <a16:creationId xmlns:a16="http://schemas.microsoft.com/office/drawing/2014/main" id="{1814764A-673B-4B61-85FC-FA3E783081B7}"/>
                  </a:ext>
                </a:extLst>
              </p:cNvPr>
              <p:cNvGrpSpPr/>
              <p:nvPr/>
            </p:nvGrpSpPr>
            <p:grpSpPr>
              <a:xfrm>
                <a:off x="1950656" y="2476543"/>
                <a:ext cx="126895" cy="147047"/>
                <a:chOff x="1950656" y="2476543"/>
                <a:chExt cx="126895" cy="147047"/>
              </a:xfrm>
              <a:solidFill>
                <a:schemeClr val="accent1"/>
              </a:solidFill>
            </p:grpSpPr>
            <p:sp>
              <p:nvSpPr>
                <p:cNvPr id="255" name="Freihandform: Form 427">
                  <a:extLst>
                    <a:ext uri="{FF2B5EF4-FFF2-40B4-BE49-F238E27FC236}">
                      <a16:creationId xmlns:a16="http://schemas.microsoft.com/office/drawing/2014/main" id="{00DFE00D-7556-4CB6-A964-C9301E46E787}"/>
                    </a:ext>
                  </a:extLst>
                </p:cNvPr>
                <p:cNvSpPr/>
                <p:nvPr/>
              </p:nvSpPr>
              <p:spPr>
                <a:xfrm>
                  <a:off x="1950656" y="2476543"/>
                  <a:ext cx="12639" cy="147047"/>
                </a:xfrm>
                <a:custGeom>
                  <a:avLst/>
                  <a:gdLst>
                    <a:gd name="connsiteX0" fmla="*/ 6320 w 12639"/>
                    <a:gd name="connsiteY0" fmla="*/ 147048 h 147047"/>
                    <a:gd name="connsiteX1" fmla="*/ 0 w 12639"/>
                    <a:gd name="connsiteY1" fmla="*/ 140534 h 147047"/>
                    <a:gd name="connsiteX2" fmla="*/ 0 w 12639"/>
                    <a:gd name="connsiteY2" fmla="*/ 6514 h 147047"/>
                    <a:gd name="connsiteX3" fmla="*/ 6320 w 12639"/>
                    <a:gd name="connsiteY3" fmla="*/ 0 h 147047"/>
                    <a:gd name="connsiteX4" fmla="*/ 12640 w 12639"/>
                    <a:gd name="connsiteY4" fmla="*/ 6514 h 147047"/>
                    <a:gd name="connsiteX5" fmla="*/ 12640 w 12639"/>
                    <a:gd name="connsiteY5" fmla="*/ 140534 h 147047"/>
                    <a:gd name="connsiteX6" fmla="*/ 6320 w 12639"/>
                    <a:gd name="connsiteY6" fmla="*/ 147048 h 147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39" h="147047">
                      <a:moveTo>
                        <a:pt x="6320" y="147048"/>
                      </a:moveTo>
                      <a:cubicBezTo>
                        <a:pt x="2829" y="147048"/>
                        <a:pt x="0" y="144130"/>
                        <a:pt x="0" y="140534"/>
                      </a:cubicBezTo>
                      <a:lnTo>
                        <a:pt x="0" y="6514"/>
                      </a:lnTo>
                      <a:cubicBezTo>
                        <a:pt x="0" y="2917"/>
                        <a:pt x="2829" y="0"/>
                        <a:pt x="6320" y="0"/>
                      </a:cubicBezTo>
                      <a:cubicBezTo>
                        <a:pt x="9810" y="0"/>
                        <a:pt x="12640" y="2917"/>
                        <a:pt x="12640" y="6514"/>
                      </a:cubicBezTo>
                      <a:lnTo>
                        <a:pt x="12640" y="140534"/>
                      </a:lnTo>
                      <a:cubicBezTo>
                        <a:pt x="12640" y="144130"/>
                        <a:pt x="9808" y="147048"/>
                        <a:pt x="6320" y="147048"/>
                      </a:cubicBezTo>
                      <a:close/>
                    </a:path>
                  </a:pathLst>
                </a:custGeom>
                <a:solidFill>
                  <a:schemeClr val="accent1"/>
                </a:solidFill>
                <a:ln w="225" cap="flat">
                  <a:noFill/>
                  <a:prstDash val="solid"/>
                  <a:miter/>
                </a:ln>
              </p:spPr>
              <p:txBody>
                <a:bodyPr rtlCol="0" anchor="ctr"/>
                <a:lstStyle/>
                <a:p>
                  <a:endParaRPr lang="en-GB" dirty="0"/>
                </a:p>
              </p:txBody>
            </p:sp>
            <p:sp>
              <p:nvSpPr>
                <p:cNvPr id="256" name="Freihandform: Form 428">
                  <a:extLst>
                    <a:ext uri="{FF2B5EF4-FFF2-40B4-BE49-F238E27FC236}">
                      <a16:creationId xmlns:a16="http://schemas.microsoft.com/office/drawing/2014/main" id="{D946E54F-AF29-430A-94ED-314D3E59FE7E}"/>
                    </a:ext>
                  </a:extLst>
                </p:cNvPr>
                <p:cNvSpPr/>
                <p:nvPr/>
              </p:nvSpPr>
              <p:spPr>
                <a:xfrm>
                  <a:off x="1950656" y="2486353"/>
                  <a:ext cx="79292" cy="71918"/>
                </a:xfrm>
                <a:custGeom>
                  <a:avLst/>
                  <a:gdLst>
                    <a:gd name="connsiteX0" fmla="*/ 72972 w 79292"/>
                    <a:gd name="connsiteY0" fmla="*/ 71919 h 71918"/>
                    <a:gd name="connsiteX1" fmla="*/ 6320 w 79292"/>
                    <a:gd name="connsiteY1" fmla="*/ 71919 h 71918"/>
                    <a:gd name="connsiteX2" fmla="*/ 0 w 79292"/>
                    <a:gd name="connsiteY2" fmla="*/ 65405 h 71918"/>
                    <a:gd name="connsiteX3" fmla="*/ 0 w 79292"/>
                    <a:gd name="connsiteY3" fmla="*/ 6514 h 71918"/>
                    <a:gd name="connsiteX4" fmla="*/ 6320 w 79292"/>
                    <a:gd name="connsiteY4" fmla="*/ 0 h 71918"/>
                    <a:gd name="connsiteX5" fmla="*/ 72972 w 79292"/>
                    <a:gd name="connsiteY5" fmla="*/ 0 h 71918"/>
                    <a:gd name="connsiteX6" fmla="*/ 79292 w 79292"/>
                    <a:gd name="connsiteY6" fmla="*/ 6514 h 71918"/>
                    <a:gd name="connsiteX7" fmla="*/ 79292 w 79292"/>
                    <a:gd name="connsiteY7" fmla="*/ 65405 h 71918"/>
                    <a:gd name="connsiteX8" fmla="*/ 72972 w 79292"/>
                    <a:gd name="connsiteY8" fmla="*/ 71919 h 71918"/>
                    <a:gd name="connsiteX9" fmla="*/ 12640 w 79292"/>
                    <a:gd name="connsiteY9" fmla="*/ 58891 h 71918"/>
                    <a:gd name="connsiteX10" fmla="*/ 66653 w 79292"/>
                    <a:gd name="connsiteY10" fmla="*/ 58891 h 71918"/>
                    <a:gd name="connsiteX11" fmla="*/ 66653 w 79292"/>
                    <a:gd name="connsiteY11" fmla="*/ 13030 h 71918"/>
                    <a:gd name="connsiteX12" fmla="*/ 12640 w 79292"/>
                    <a:gd name="connsiteY12" fmla="*/ 13030 h 71918"/>
                    <a:gd name="connsiteX13" fmla="*/ 12640 w 79292"/>
                    <a:gd name="connsiteY13" fmla="*/ 58891 h 7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292" h="71918">
                      <a:moveTo>
                        <a:pt x="72972" y="71919"/>
                      </a:moveTo>
                      <a:lnTo>
                        <a:pt x="6320" y="71919"/>
                      </a:lnTo>
                      <a:cubicBezTo>
                        <a:pt x="2829" y="71919"/>
                        <a:pt x="0" y="69001"/>
                        <a:pt x="0" y="65405"/>
                      </a:cubicBezTo>
                      <a:lnTo>
                        <a:pt x="0" y="6514"/>
                      </a:lnTo>
                      <a:cubicBezTo>
                        <a:pt x="0" y="2917"/>
                        <a:pt x="2829" y="0"/>
                        <a:pt x="6320" y="0"/>
                      </a:cubicBezTo>
                      <a:lnTo>
                        <a:pt x="72972" y="0"/>
                      </a:lnTo>
                      <a:cubicBezTo>
                        <a:pt x="76463" y="0"/>
                        <a:pt x="79292" y="2917"/>
                        <a:pt x="79292" y="6514"/>
                      </a:cubicBezTo>
                      <a:lnTo>
                        <a:pt x="79292" y="65405"/>
                      </a:lnTo>
                      <a:cubicBezTo>
                        <a:pt x="79292" y="69001"/>
                        <a:pt x="76463" y="71919"/>
                        <a:pt x="72972" y="71919"/>
                      </a:cubicBezTo>
                      <a:close/>
                      <a:moveTo>
                        <a:pt x="12640" y="58891"/>
                      </a:moveTo>
                      <a:lnTo>
                        <a:pt x="66653" y="58891"/>
                      </a:lnTo>
                      <a:lnTo>
                        <a:pt x="66653" y="13030"/>
                      </a:lnTo>
                      <a:lnTo>
                        <a:pt x="12640" y="13030"/>
                      </a:lnTo>
                      <a:lnTo>
                        <a:pt x="12640" y="58891"/>
                      </a:lnTo>
                      <a:close/>
                    </a:path>
                  </a:pathLst>
                </a:custGeom>
                <a:solidFill>
                  <a:schemeClr val="accent1"/>
                </a:solidFill>
                <a:ln w="225" cap="flat">
                  <a:noFill/>
                  <a:prstDash val="solid"/>
                  <a:miter/>
                </a:ln>
              </p:spPr>
              <p:txBody>
                <a:bodyPr rtlCol="0" anchor="ctr"/>
                <a:lstStyle/>
                <a:p>
                  <a:endParaRPr lang="en-GB" dirty="0"/>
                </a:p>
              </p:txBody>
            </p:sp>
            <p:sp>
              <p:nvSpPr>
                <p:cNvPr id="257" name="Freihandform: Form 429">
                  <a:extLst>
                    <a:ext uri="{FF2B5EF4-FFF2-40B4-BE49-F238E27FC236}">
                      <a16:creationId xmlns:a16="http://schemas.microsoft.com/office/drawing/2014/main" id="{165EF2F1-4736-4511-81FC-ED3F94C1040B}"/>
                    </a:ext>
                  </a:extLst>
                </p:cNvPr>
                <p:cNvSpPr/>
                <p:nvPr/>
              </p:nvSpPr>
              <p:spPr>
                <a:xfrm>
                  <a:off x="1998266" y="2505985"/>
                  <a:ext cx="79286" cy="71916"/>
                </a:xfrm>
                <a:custGeom>
                  <a:avLst/>
                  <a:gdLst>
                    <a:gd name="connsiteX0" fmla="*/ 72970 w 79286"/>
                    <a:gd name="connsiteY0" fmla="*/ 71916 h 71916"/>
                    <a:gd name="connsiteX1" fmla="*/ 6320 w 79286"/>
                    <a:gd name="connsiteY1" fmla="*/ 71916 h 71916"/>
                    <a:gd name="connsiteX2" fmla="*/ 0 w 79286"/>
                    <a:gd name="connsiteY2" fmla="*/ 65402 h 71916"/>
                    <a:gd name="connsiteX3" fmla="*/ 0 w 79286"/>
                    <a:gd name="connsiteY3" fmla="*/ 45773 h 71916"/>
                    <a:gd name="connsiteX4" fmla="*/ 6320 w 79286"/>
                    <a:gd name="connsiteY4" fmla="*/ 39259 h 71916"/>
                    <a:gd name="connsiteX5" fmla="*/ 12640 w 79286"/>
                    <a:gd name="connsiteY5" fmla="*/ 45773 h 71916"/>
                    <a:gd name="connsiteX6" fmla="*/ 12640 w 79286"/>
                    <a:gd name="connsiteY6" fmla="*/ 58886 h 71916"/>
                    <a:gd name="connsiteX7" fmla="*/ 62742 w 79286"/>
                    <a:gd name="connsiteY7" fmla="*/ 58886 h 71916"/>
                    <a:gd name="connsiteX8" fmla="*/ 53031 w 79286"/>
                    <a:gd name="connsiteY8" fmla="*/ 38873 h 71916"/>
                    <a:gd name="connsiteX9" fmla="*/ 53031 w 79286"/>
                    <a:gd name="connsiteY9" fmla="*/ 33045 h 71916"/>
                    <a:gd name="connsiteX10" fmla="*/ 62742 w 79286"/>
                    <a:gd name="connsiteY10" fmla="*/ 13028 h 71916"/>
                    <a:gd name="connsiteX11" fmla="*/ 25361 w 79286"/>
                    <a:gd name="connsiteY11" fmla="*/ 13028 h 71916"/>
                    <a:gd name="connsiteX12" fmla="*/ 19041 w 79286"/>
                    <a:gd name="connsiteY12" fmla="*/ 6514 h 71916"/>
                    <a:gd name="connsiteX13" fmla="*/ 25361 w 79286"/>
                    <a:gd name="connsiteY13" fmla="*/ 0 h 71916"/>
                    <a:gd name="connsiteX14" fmla="*/ 72968 w 79286"/>
                    <a:gd name="connsiteY14" fmla="*/ 0 h 71916"/>
                    <a:gd name="connsiteX15" fmla="*/ 78342 w 79286"/>
                    <a:gd name="connsiteY15" fmla="*/ 3089 h 71916"/>
                    <a:gd name="connsiteX16" fmla="*/ 78620 w 79286"/>
                    <a:gd name="connsiteY16" fmla="*/ 9429 h 71916"/>
                    <a:gd name="connsiteX17" fmla="*/ 65750 w 79286"/>
                    <a:gd name="connsiteY17" fmla="*/ 35960 h 71916"/>
                    <a:gd name="connsiteX18" fmla="*/ 78620 w 79286"/>
                    <a:gd name="connsiteY18" fmla="*/ 62490 h 71916"/>
                    <a:gd name="connsiteX19" fmla="*/ 78342 w 79286"/>
                    <a:gd name="connsiteY19" fmla="*/ 68830 h 71916"/>
                    <a:gd name="connsiteX20" fmla="*/ 72970 w 79286"/>
                    <a:gd name="connsiteY20" fmla="*/ 71916 h 71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286" h="71916">
                      <a:moveTo>
                        <a:pt x="72970" y="71916"/>
                      </a:moveTo>
                      <a:lnTo>
                        <a:pt x="6320" y="71916"/>
                      </a:lnTo>
                      <a:cubicBezTo>
                        <a:pt x="2829" y="71916"/>
                        <a:pt x="0" y="68999"/>
                        <a:pt x="0" y="65402"/>
                      </a:cubicBezTo>
                      <a:lnTo>
                        <a:pt x="0" y="45773"/>
                      </a:lnTo>
                      <a:cubicBezTo>
                        <a:pt x="0" y="42176"/>
                        <a:pt x="2829" y="39259"/>
                        <a:pt x="6320" y="39259"/>
                      </a:cubicBezTo>
                      <a:cubicBezTo>
                        <a:pt x="9810" y="39259"/>
                        <a:pt x="12640" y="42176"/>
                        <a:pt x="12640" y="45773"/>
                      </a:cubicBezTo>
                      <a:lnTo>
                        <a:pt x="12640" y="58886"/>
                      </a:lnTo>
                      <a:lnTo>
                        <a:pt x="62742" y="58886"/>
                      </a:lnTo>
                      <a:lnTo>
                        <a:pt x="53031" y="38873"/>
                      </a:lnTo>
                      <a:cubicBezTo>
                        <a:pt x="52142" y="37039"/>
                        <a:pt x="52142" y="34882"/>
                        <a:pt x="53031" y="33045"/>
                      </a:cubicBezTo>
                      <a:lnTo>
                        <a:pt x="62742" y="13028"/>
                      </a:lnTo>
                      <a:lnTo>
                        <a:pt x="25361" y="13028"/>
                      </a:lnTo>
                      <a:cubicBezTo>
                        <a:pt x="21870" y="13028"/>
                        <a:pt x="19041" y="10110"/>
                        <a:pt x="19041" y="6514"/>
                      </a:cubicBezTo>
                      <a:cubicBezTo>
                        <a:pt x="19041" y="2917"/>
                        <a:pt x="21870" y="0"/>
                        <a:pt x="25361" y="0"/>
                      </a:cubicBezTo>
                      <a:lnTo>
                        <a:pt x="72968" y="0"/>
                      </a:lnTo>
                      <a:cubicBezTo>
                        <a:pt x="75159" y="0"/>
                        <a:pt x="77192" y="1171"/>
                        <a:pt x="78342" y="3089"/>
                      </a:cubicBezTo>
                      <a:cubicBezTo>
                        <a:pt x="79493" y="5009"/>
                        <a:pt x="79599" y="7410"/>
                        <a:pt x="78620" y="9429"/>
                      </a:cubicBezTo>
                      <a:lnTo>
                        <a:pt x="65750" y="35960"/>
                      </a:lnTo>
                      <a:lnTo>
                        <a:pt x="78620" y="62490"/>
                      </a:lnTo>
                      <a:cubicBezTo>
                        <a:pt x="79599" y="64509"/>
                        <a:pt x="79493" y="66907"/>
                        <a:pt x="78342" y="68830"/>
                      </a:cubicBezTo>
                      <a:cubicBezTo>
                        <a:pt x="77194" y="70745"/>
                        <a:pt x="75161" y="71916"/>
                        <a:pt x="72970" y="71916"/>
                      </a:cubicBezTo>
                      <a:close/>
                    </a:path>
                  </a:pathLst>
                </a:custGeom>
                <a:solidFill>
                  <a:schemeClr val="accent1"/>
                </a:solidFill>
                <a:ln w="225" cap="flat">
                  <a:noFill/>
                  <a:prstDash val="solid"/>
                  <a:miter/>
                </a:ln>
              </p:spPr>
              <p:txBody>
                <a:bodyPr rtlCol="0" anchor="ctr"/>
                <a:lstStyle/>
                <a:p>
                  <a:endParaRPr lang="en-GB" dirty="0"/>
                </a:p>
              </p:txBody>
            </p:sp>
          </p:grpSp>
          <p:sp>
            <p:nvSpPr>
              <p:cNvPr id="254" name="Freihandform: Form 439">
                <a:extLst>
                  <a:ext uri="{FF2B5EF4-FFF2-40B4-BE49-F238E27FC236}">
                    <a16:creationId xmlns:a16="http://schemas.microsoft.com/office/drawing/2014/main" id="{C440A811-0080-4ABE-BBC9-8CB9C90908C6}"/>
                  </a:ext>
                </a:extLst>
              </p:cNvPr>
              <p:cNvSpPr/>
              <p:nvPr/>
            </p:nvSpPr>
            <p:spPr>
              <a:xfrm>
                <a:off x="1930742" y="2788471"/>
                <a:ext cx="83260" cy="85992"/>
              </a:xfrm>
              <a:custGeom>
                <a:avLst/>
                <a:gdLst>
                  <a:gd name="connsiteX0" fmla="*/ 26381 w 83260"/>
                  <a:gd name="connsiteY0" fmla="*/ 85993 h 85992"/>
                  <a:gd name="connsiteX1" fmla="*/ 21906 w 83260"/>
                  <a:gd name="connsiteY1" fmla="*/ 84082 h 85992"/>
                  <a:gd name="connsiteX2" fmla="*/ 1846 w 83260"/>
                  <a:gd name="connsiteY2" fmla="*/ 63362 h 85992"/>
                  <a:gd name="connsiteX3" fmla="*/ 1855 w 83260"/>
                  <a:gd name="connsiteY3" fmla="*/ 54148 h 85992"/>
                  <a:gd name="connsiteX4" fmla="*/ 10794 w 83260"/>
                  <a:gd name="connsiteY4" fmla="*/ 54157 h 85992"/>
                  <a:gd name="connsiteX5" fmla="*/ 25577 w 83260"/>
                  <a:gd name="connsiteY5" fmla="*/ 69427 h 85992"/>
                  <a:gd name="connsiteX6" fmla="*/ 71797 w 83260"/>
                  <a:gd name="connsiteY6" fmla="*/ 2732 h 85992"/>
                  <a:gd name="connsiteX7" fmla="*/ 80612 w 83260"/>
                  <a:gd name="connsiteY7" fmla="*/ 1216 h 85992"/>
                  <a:gd name="connsiteX8" fmla="*/ 82081 w 83260"/>
                  <a:gd name="connsiteY8" fmla="*/ 10304 h 85992"/>
                  <a:gd name="connsiteX9" fmla="*/ 31523 w 83260"/>
                  <a:gd name="connsiteY9" fmla="*/ 83265 h 85992"/>
                  <a:gd name="connsiteX10" fmla="*/ 26897 w 83260"/>
                  <a:gd name="connsiteY10" fmla="*/ 85972 h 85992"/>
                  <a:gd name="connsiteX11" fmla="*/ 26381 w 83260"/>
                  <a:gd name="connsiteY11" fmla="*/ 85993 h 85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260" h="85992">
                    <a:moveTo>
                      <a:pt x="26381" y="85993"/>
                    </a:moveTo>
                    <a:cubicBezTo>
                      <a:pt x="24709" y="85993"/>
                      <a:pt x="23098" y="85309"/>
                      <a:pt x="21906" y="84082"/>
                    </a:cubicBezTo>
                    <a:lnTo>
                      <a:pt x="1846" y="63362"/>
                    </a:lnTo>
                    <a:cubicBezTo>
                      <a:pt x="-620" y="60815"/>
                      <a:pt x="-613" y="56688"/>
                      <a:pt x="1855" y="54148"/>
                    </a:cubicBezTo>
                    <a:cubicBezTo>
                      <a:pt x="4330" y="51607"/>
                      <a:pt x="8333" y="51610"/>
                      <a:pt x="10794" y="54157"/>
                    </a:cubicBezTo>
                    <a:lnTo>
                      <a:pt x="25577" y="69427"/>
                    </a:lnTo>
                    <a:lnTo>
                      <a:pt x="71797" y="2732"/>
                    </a:lnTo>
                    <a:cubicBezTo>
                      <a:pt x="73825" y="-204"/>
                      <a:pt x="77772" y="-876"/>
                      <a:pt x="80612" y="1216"/>
                    </a:cubicBezTo>
                    <a:cubicBezTo>
                      <a:pt x="83455" y="3310"/>
                      <a:pt x="84112" y="7378"/>
                      <a:pt x="82081" y="10304"/>
                    </a:cubicBezTo>
                    <a:lnTo>
                      <a:pt x="31523" y="83265"/>
                    </a:lnTo>
                    <a:cubicBezTo>
                      <a:pt x="30440" y="84826"/>
                      <a:pt x="28750" y="85817"/>
                      <a:pt x="26897" y="85972"/>
                    </a:cubicBezTo>
                    <a:cubicBezTo>
                      <a:pt x="26726" y="85986"/>
                      <a:pt x="26554" y="85993"/>
                      <a:pt x="26381" y="85993"/>
                    </a:cubicBezTo>
                    <a:close/>
                  </a:path>
                </a:pathLst>
              </a:custGeom>
              <a:solidFill>
                <a:schemeClr val="accent1"/>
              </a:solidFill>
              <a:ln w="225" cap="flat">
                <a:noFill/>
                <a:prstDash val="solid"/>
                <a:miter/>
              </a:ln>
            </p:spPr>
            <p:txBody>
              <a:bodyPr rtlCol="0" anchor="ctr"/>
              <a:lstStyle/>
              <a:p>
                <a:endParaRPr lang="en-GB" dirty="0"/>
              </a:p>
            </p:txBody>
          </p:sp>
        </p:grpSp>
      </p:grpSp>
      <p:sp>
        <p:nvSpPr>
          <p:cNvPr id="20" name="TextBox 19">
            <a:extLst>
              <a:ext uri="{FF2B5EF4-FFF2-40B4-BE49-F238E27FC236}">
                <a16:creationId xmlns:a16="http://schemas.microsoft.com/office/drawing/2014/main" id="{A41FD02E-57D4-4522-A939-EA5B4321B76B}"/>
              </a:ext>
            </a:extLst>
          </p:cNvPr>
          <p:cNvSpPr txBox="1"/>
          <p:nvPr/>
        </p:nvSpPr>
        <p:spPr>
          <a:xfrm>
            <a:off x="487133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Data</a:t>
            </a:r>
            <a:br>
              <a:rPr lang="en-GB" sz="700" dirty="0">
                <a:solidFill>
                  <a:schemeClr val="tx2"/>
                </a:solidFill>
              </a:rPr>
            </a:br>
            <a:r>
              <a:rPr lang="en-GB" sz="700" dirty="0">
                <a:solidFill>
                  <a:schemeClr val="tx2"/>
                </a:solidFill>
              </a:rPr>
              <a:t>integration</a:t>
            </a:r>
          </a:p>
        </p:txBody>
      </p:sp>
      <p:sp>
        <p:nvSpPr>
          <p:cNvPr id="21" name="TextBox 20">
            <a:extLst>
              <a:ext uri="{FF2B5EF4-FFF2-40B4-BE49-F238E27FC236}">
                <a16:creationId xmlns:a16="http://schemas.microsoft.com/office/drawing/2014/main" id="{7623DAF7-78B4-45B5-AA6F-A4228A288390}"/>
              </a:ext>
            </a:extLst>
          </p:cNvPr>
          <p:cNvSpPr txBox="1"/>
          <p:nvPr/>
        </p:nvSpPr>
        <p:spPr>
          <a:xfrm>
            <a:off x="8007638"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ject goals</a:t>
            </a:r>
            <a:br>
              <a:rPr lang="en-GB" sz="700" dirty="0">
                <a:solidFill>
                  <a:schemeClr val="tx2"/>
                </a:solidFill>
              </a:rPr>
            </a:br>
            <a:r>
              <a:rPr lang="en-GB" sz="700" dirty="0">
                <a:solidFill>
                  <a:schemeClr val="tx2"/>
                </a:solidFill>
              </a:rPr>
              <a:t>and objectives</a:t>
            </a:r>
          </a:p>
        </p:txBody>
      </p:sp>
      <p:sp>
        <p:nvSpPr>
          <p:cNvPr id="22" name="TextBox 21">
            <a:extLst>
              <a:ext uri="{FF2B5EF4-FFF2-40B4-BE49-F238E27FC236}">
                <a16:creationId xmlns:a16="http://schemas.microsoft.com/office/drawing/2014/main" id="{6F4C14A1-F06D-4C27-A1FB-703DF56E1267}"/>
              </a:ext>
            </a:extLst>
          </p:cNvPr>
          <p:cNvSpPr txBox="1"/>
          <p:nvPr/>
        </p:nvSpPr>
        <p:spPr>
          <a:xfrm>
            <a:off x="6962205"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Web</a:t>
            </a:r>
            <a:br>
              <a:rPr lang="en-GB" sz="700" dirty="0">
                <a:solidFill>
                  <a:schemeClr val="tx2"/>
                </a:solidFill>
              </a:rPr>
            </a:br>
            <a:r>
              <a:rPr lang="en-GB" sz="700" dirty="0">
                <a:solidFill>
                  <a:schemeClr val="tx2"/>
                </a:solidFill>
              </a:rPr>
              <a:t>analytics</a:t>
            </a:r>
          </a:p>
        </p:txBody>
      </p:sp>
      <p:sp>
        <p:nvSpPr>
          <p:cNvPr id="23" name="TextBox 22">
            <a:extLst>
              <a:ext uri="{FF2B5EF4-FFF2-40B4-BE49-F238E27FC236}">
                <a16:creationId xmlns:a16="http://schemas.microsoft.com/office/drawing/2014/main" id="{017646AB-1D78-4D99-A394-94A3C72EC286}"/>
              </a:ext>
            </a:extLst>
          </p:cNvPr>
          <p:cNvSpPr txBox="1"/>
          <p:nvPr/>
        </p:nvSpPr>
        <p:spPr>
          <a:xfrm>
            <a:off x="5916771"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ite</a:t>
            </a:r>
            <a:br>
              <a:rPr lang="en-GB" sz="700" dirty="0">
                <a:solidFill>
                  <a:schemeClr val="tx2"/>
                </a:solidFill>
              </a:rPr>
            </a:br>
            <a:r>
              <a:rPr lang="en-GB" sz="700" dirty="0">
                <a:solidFill>
                  <a:schemeClr val="tx2"/>
                </a:solidFill>
              </a:rPr>
              <a:t>editor</a:t>
            </a:r>
          </a:p>
        </p:txBody>
      </p:sp>
      <p:sp>
        <p:nvSpPr>
          <p:cNvPr id="24" name="TextBox 23">
            <a:extLst>
              <a:ext uri="{FF2B5EF4-FFF2-40B4-BE49-F238E27FC236}">
                <a16:creationId xmlns:a16="http://schemas.microsoft.com/office/drawing/2014/main" id="{EB441D11-56D0-4854-ADC2-DA3A08C49F83}"/>
              </a:ext>
            </a:extLst>
          </p:cNvPr>
          <p:cNvSpPr txBox="1"/>
          <p:nvPr/>
        </p:nvSpPr>
        <p:spPr>
          <a:xfrm>
            <a:off x="487133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ustomer</a:t>
            </a:r>
            <a:br>
              <a:rPr lang="en-GB" sz="700" dirty="0">
                <a:solidFill>
                  <a:schemeClr val="tx2"/>
                </a:solidFill>
              </a:rPr>
            </a:br>
            <a:r>
              <a:rPr lang="en-GB" sz="700" dirty="0">
                <a:solidFill>
                  <a:schemeClr val="tx2"/>
                </a:solidFill>
              </a:rPr>
              <a:t>requests</a:t>
            </a:r>
          </a:p>
        </p:txBody>
      </p:sp>
      <p:sp>
        <p:nvSpPr>
          <p:cNvPr id="25" name="TextBox 24">
            <a:extLst>
              <a:ext uri="{FF2B5EF4-FFF2-40B4-BE49-F238E27FC236}">
                <a16:creationId xmlns:a16="http://schemas.microsoft.com/office/drawing/2014/main" id="{F05EA98C-F0B8-4708-889D-297D5C7B323B}"/>
              </a:ext>
            </a:extLst>
          </p:cNvPr>
          <p:cNvSpPr txBox="1"/>
          <p:nvPr/>
        </p:nvSpPr>
        <p:spPr>
          <a:xfrm>
            <a:off x="8007638"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ternet</a:t>
            </a:r>
            <a:br>
              <a:rPr lang="en-GB" sz="700" dirty="0">
                <a:solidFill>
                  <a:schemeClr val="tx2"/>
                </a:solidFill>
              </a:rPr>
            </a:br>
            <a:r>
              <a:rPr lang="en-GB" sz="700" dirty="0">
                <a:solidFill>
                  <a:schemeClr val="tx2"/>
                </a:solidFill>
              </a:rPr>
              <a:t>publishing</a:t>
            </a:r>
          </a:p>
        </p:txBody>
      </p:sp>
      <p:sp>
        <p:nvSpPr>
          <p:cNvPr id="26" name="TextBox 25">
            <a:extLst>
              <a:ext uri="{FF2B5EF4-FFF2-40B4-BE49-F238E27FC236}">
                <a16:creationId xmlns:a16="http://schemas.microsoft.com/office/drawing/2014/main" id="{6D26A442-AB53-48C9-8DAD-97B875A379D9}"/>
              </a:ext>
            </a:extLst>
          </p:cNvPr>
          <p:cNvSpPr txBox="1"/>
          <p:nvPr/>
        </p:nvSpPr>
        <p:spPr>
          <a:xfrm>
            <a:off x="6962205"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lanning online</a:t>
            </a:r>
            <a:br>
              <a:rPr lang="en-GB" sz="700" dirty="0">
                <a:solidFill>
                  <a:schemeClr val="tx2"/>
                </a:solidFill>
              </a:rPr>
            </a:br>
            <a:r>
              <a:rPr lang="en-GB" sz="700" dirty="0">
                <a:solidFill>
                  <a:schemeClr val="tx2"/>
                </a:solidFill>
              </a:rPr>
              <a:t>promotion</a:t>
            </a:r>
          </a:p>
        </p:txBody>
      </p:sp>
      <p:sp>
        <p:nvSpPr>
          <p:cNvPr id="27" name="TextBox 26">
            <a:extLst>
              <a:ext uri="{FF2B5EF4-FFF2-40B4-BE49-F238E27FC236}">
                <a16:creationId xmlns:a16="http://schemas.microsoft.com/office/drawing/2014/main" id="{52918C8D-97A0-4A98-AE59-D4C99D8F4F77}"/>
              </a:ext>
            </a:extLst>
          </p:cNvPr>
          <p:cNvSpPr txBox="1"/>
          <p:nvPr/>
        </p:nvSpPr>
        <p:spPr>
          <a:xfrm>
            <a:off x="5882578" y="2899619"/>
            <a:ext cx="752249" cy="107722"/>
          </a:xfrm>
          <a:prstGeom prst="rect">
            <a:avLst/>
          </a:prstGeom>
          <a:noFill/>
          <a:effectLst/>
        </p:spPr>
        <p:txBody>
          <a:bodyPr wrap="square" lIns="0" tIns="0" rIns="0" bIns="0" rtlCol="0" anchor="t">
            <a:spAutoFit/>
          </a:bodyPr>
          <a:lstStyle/>
          <a:p>
            <a:pPr algn="ctr"/>
            <a:r>
              <a:rPr lang="en-GB" sz="700" dirty="0">
                <a:solidFill>
                  <a:schemeClr val="tx2"/>
                </a:solidFill>
              </a:rPr>
              <a:t>Recommendations</a:t>
            </a:r>
          </a:p>
        </p:txBody>
      </p:sp>
      <p:sp>
        <p:nvSpPr>
          <p:cNvPr id="28" name="TextBox 27">
            <a:extLst>
              <a:ext uri="{FF2B5EF4-FFF2-40B4-BE49-F238E27FC236}">
                <a16:creationId xmlns:a16="http://schemas.microsoft.com/office/drawing/2014/main" id="{0F53AAE9-B52A-4C4D-9E25-87D4DC3E33E7}"/>
              </a:ext>
            </a:extLst>
          </p:cNvPr>
          <p:cNvSpPr txBox="1"/>
          <p:nvPr/>
        </p:nvSpPr>
        <p:spPr>
          <a:xfrm>
            <a:off x="4813995" y="3723675"/>
            <a:ext cx="798548" cy="215444"/>
          </a:xfrm>
          <a:prstGeom prst="rect">
            <a:avLst/>
          </a:prstGeom>
          <a:noFill/>
          <a:effectLst/>
        </p:spPr>
        <p:txBody>
          <a:bodyPr wrap="square" lIns="0" tIns="0" rIns="0" bIns="0" rtlCol="0" anchor="t">
            <a:spAutoFit/>
          </a:bodyPr>
          <a:lstStyle/>
          <a:p>
            <a:pPr algn="ctr"/>
            <a:r>
              <a:rPr lang="en-GB" sz="700" dirty="0">
                <a:solidFill>
                  <a:schemeClr val="tx2"/>
                </a:solidFill>
              </a:rPr>
              <a:t>Web banner</a:t>
            </a:r>
            <a:br>
              <a:rPr lang="en-GB" sz="700" dirty="0">
                <a:solidFill>
                  <a:schemeClr val="tx2"/>
                </a:solidFill>
              </a:rPr>
            </a:br>
            <a:r>
              <a:rPr lang="en-GB" sz="700" dirty="0">
                <a:solidFill>
                  <a:schemeClr val="tx2"/>
                </a:solidFill>
              </a:rPr>
              <a:t>advertising</a:t>
            </a:r>
          </a:p>
        </p:txBody>
      </p:sp>
      <p:sp>
        <p:nvSpPr>
          <p:cNvPr id="29" name="TextBox 28">
            <a:extLst>
              <a:ext uri="{FF2B5EF4-FFF2-40B4-BE49-F238E27FC236}">
                <a16:creationId xmlns:a16="http://schemas.microsoft.com/office/drawing/2014/main" id="{B9B50086-6990-4892-9D3A-9F4BEBECE593}"/>
              </a:ext>
            </a:extLst>
          </p:cNvPr>
          <p:cNvSpPr txBox="1"/>
          <p:nvPr/>
        </p:nvSpPr>
        <p:spPr>
          <a:xfrm>
            <a:off x="8007638"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deo</a:t>
            </a:r>
          </a:p>
        </p:txBody>
      </p:sp>
      <p:sp>
        <p:nvSpPr>
          <p:cNvPr id="30" name="TextBox 29">
            <a:extLst>
              <a:ext uri="{FF2B5EF4-FFF2-40B4-BE49-F238E27FC236}">
                <a16:creationId xmlns:a16="http://schemas.microsoft.com/office/drawing/2014/main" id="{A02212E3-E294-4D00-946F-4DBF84C61D24}"/>
              </a:ext>
            </a:extLst>
          </p:cNvPr>
          <p:cNvSpPr txBox="1"/>
          <p:nvPr/>
        </p:nvSpPr>
        <p:spPr>
          <a:xfrm>
            <a:off x="6962205"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Online</a:t>
            </a:r>
            <a:br>
              <a:rPr lang="en-GB" sz="700" dirty="0">
                <a:solidFill>
                  <a:schemeClr val="tx2"/>
                </a:solidFill>
              </a:rPr>
            </a:br>
            <a:r>
              <a:rPr lang="en-GB" sz="700" dirty="0">
                <a:solidFill>
                  <a:schemeClr val="tx2"/>
                </a:solidFill>
              </a:rPr>
              <a:t>advertising</a:t>
            </a:r>
          </a:p>
        </p:txBody>
      </p:sp>
      <p:sp>
        <p:nvSpPr>
          <p:cNvPr id="31" name="TextBox 30">
            <a:extLst>
              <a:ext uri="{FF2B5EF4-FFF2-40B4-BE49-F238E27FC236}">
                <a16:creationId xmlns:a16="http://schemas.microsoft.com/office/drawing/2014/main" id="{2B1566E6-7B42-4DE2-AAD4-A67372D6A599}"/>
              </a:ext>
            </a:extLst>
          </p:cNvPr>
          <p:cNvSpPr txBox="1"/>
          <p:nvPr/>
        </p:nvSpPr>
        <p:spPr>
          <a:xfrm>
            <a:off x="5916771"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ffiliate</a:t>
            </a:r>
            <a:br>
              <a:rPr lang="en-GB" sz="700" dirty="0">
                <a:solidFill>
                  <a:schemeClr val="tx2"/>
                </a:solidFill>
              </a:rPr>
            </a:br>
            <a:r>
              <a:rPr lang="en-GB" sz="700" dirty="0">
                <a:solidFill>
                  <a:schemeClr val="tx2"/>
                </a:solidFill>
              </a:rPr>
              <a:t>marketing</a:t>
            </a:r>
          </a:p>
        </p:txBody>
      </p:sp>
      <p:sp>
        <p:nvSpPr>
          <p:cNvPr id="32" name="TextBox 31">
            <a:extLst>
              <a:ext uri="{FF2B5EF4-FFF2-40B4-BE49-F238E27FC236}">
                <a16:creationId xmlns:a16="http://schemas.microsoft.com/office/drawing/2014/main" id="{87FDFFCC-15DE-40DA-877E-0DB29EC87326}"/>
              </a:ext>
            </a:extLst>
          </p:cNvPr>
          <p:cNvSpPr txBox="1"/>
          <p:nvPr/>
        </p:nvSpPr>
        <p:spPr>
          <a:xfrm>
            <a:off x="487133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Viral</a:t>
            </a:r>
            <a:br>
              <a:rPr lang="en-GB" sz="700" dirty="0">
                <a:solidFill>
                  <a:schemeClr val="tx2"/>
                </a:solidFill>
              </a:rPr>
            </a:br>
            <a:r>
              <a:rPr lang="en-GB" sz="700" dirty="0">
                <a:solidFill>
                  <a:schemeClr val="tx2"/>
                </a:solidFill>
              </a:rPr>
              <a:t>marketing</a:t>
            </a:r>
          </a:p>
        </p:txBody>
      </p:sp>
      <p:sp>
        <p:nvSpPr>
          <p:cNvPr id="33" name="TextBox 32">
            <a:extLst>
              <a:ext uri="{FF2B5EF4-FFF2-40B4-BE49-F238E27FC236}">
                <a16:creationId xmlns:a16="http://schemas.microsoft.com/office/drawing/2014/main" id="{3D49F9DF-E86E-4712-AFB0-E1858E0D2ED7}"/>
              </a:ext>
            </a:extLst>
          </p:cNvPr>
          <p:cNvSpPr txBox="1"/>
          <p:nvPr/>
        </p:nvSpPr>
        <p:spPr>
          <a:xfrm>
            <a:off x="8007638"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ompetitive</a:t>
            </a:r>
            <a:br>
              <a:rPr lang="en-GB" sz="700" dirty="0">
                <a:solidFill>
                  <a:schemeClr val="tx2"/>
                </a:solidFill>
              </a:rPr>
            </a:br>
            <a:r>
              <a:rPr lang="en-GB" sz="700" dirty="0">
                <a:solidFill>
                  <a:schemeClr val="tx2"/>
                </a:solidFill>
              </a:rPr>
              <a:t>dynamics</a:t>
            </a:r>
          </a:p>
        </p:txBody>
      </p:sp>
      <p:sp>
        <p:nvSpPr>
          <p:cNvPr id="34" name="TextBox 33">
            <a:extLst>
              <a:ext uri="{FF2B5EF4-FFF2-40B4-BE49-F238E27FC236}">
                <a16:creationId xmlns:a16="http://schemas.microsoft.com/office/drawing/2014/main" id="{2A9E8DB6-7080-49F2-99E6-83E87F93BA43}"/>
              </a:ext>
            </a:extLst>
          </p:cNvPr>
          <p:cNvSpPr txBox="1"/>
          <p:nvPr/>
        </p:nvSpPr>
        <p:spPr>
          <a:xfrm>
            <a:off x="6962205"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Resource</a:t>
            </a:r>
            <a:br>
              <a:rPr lang="en-GB" sz="700" dirty="0">
                <a:solidFill>
                  <a:schemeClr val="tx2"/>
                </a:solidFill>
              </a:rPr>
            </a:br>
            <a:r>
              <a:rPr lang="en-GB" sz="700" dirty="0">
                <a:solidFill>
                  <a:schemeClr val="tx2"/>
                </a:solidFill>
              </a:rPr>
              <a:t>allocation</a:t>
            </a:r>
          </a:p>
        </p:txBody>
      </p:sp>
      <p:sp>
        <p:nvSpPr>
          <p:cNvPr id="35" name="TextBox 34">
            <a:extLst>
              <a:ext uri="{FF2B5EF4-FFF2-40B4-BE49-F238E27FC236}">
                <a16:creationId xmlns:a16="http://schemas.microsoft.com/office/drawing/2014/main" id="{C60FCA92-5CB4-4C5B-9127-8F076EFF826E}"/>
              </a:ext>
            </a:extLst>
          </p:cNvPr>
          <p:cNvSpPr txBox="1"/>
          <p:nvPr/>
        </p:nvSpPr>
        <p:spPr>
          <a:xfrm>
            <a:off x="5916771"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nfiguration</a:t>
            </a:r>
          </a:p>
        </p:txBody>
      </p:sp>
      <p:grpSp>
        <p:nvGrpSpPr>
          <p:cNvPr id="582" name="Group 581">
            <a:extLst>
              <a:ext uri="{FF2B5EF4-FFF2-40B4-BE49-F238E27FC236}">
                <a16:creationId xmlns:a16="http://schemas.microsoft.com/office/drawing/2014/main" id="{D421CAA3-D1C7-4ACB-96E5-B4702A3928F6}"/>
              </a:ext>
            </a:extLst>
          </p:cNvPr>
          <p:cNvGrpSpPr/>
          <p:nvPr/>
        </p:nvGrpSpPr>
        <p:grpSpPr>
          <a:xfrm>
            <a:off x="5011437" y="1585984"/>
            <a:ext cx="403662" cy="432000"/>
            <a:chOff x="5011025" y="1585984"/>
            <a:chExt cx="403662" cy="432000"/>
          </a:xfrm>
        </p:grpSpPr>
        <p:grpSp>
          <p:nvGrpSpPr>
            <p:cNvPr id="344" name="Group 1327">
              <a:extLst>
                <a:ext uri="{FF2B5EF4-FFF2-40B4-BE49-F238E27FC236}">
                  <a16:creationId xmlns:a16="http://schemas.microsoft.com/office/drawing/2014/main" id="{F1DFDD2F-46B2-427D-9E75-FA8F36EEAC07}"/>
                </a:ext>
              </a:extLst>
            </p:cNvPr>
            <p:cNvGrpSpPr/>
            <p:nvPr/>
          </p:nvGrpSpPr>
          <p:grpSpPr>
            <a:xfrm>
              <a:off x="5011025" y="1585984"/>
              <a:ext cx="403662" cy="432000"/>
              <a:chOff x="1704521" y="2483568"/>
              <a:chExt cx="422381" cy="452033"/>
            </a:xfrm>
          </p:grpSpPr>
          <p:sp>
            <p:nvSpPr>
              <p:cNvPr id="350" name="Freihandform: Form 1363">
                <a:extLst>
                  <a:ext uri="{FF2B5EF4-FFF2-40B4-BE49-F238E27FC236}">
                    <a16:creationId xmlns:a16="http://schemas.microsoft.com/office/drawing/2014/main" id="{B78EBC4A-0DF1-47FD-8EDE-99FAD2D4D7A9}"/>
                  </a:ext>
                </a:extLst>
              </p:cNvPr>
              <p:cNvSpPr/>
              <p:nvPr/>
            </p:nvSpPr>
            <p:spPr>
              <a:xfrm>
                <a:off x="1741309" y="2509439"/>
                <a:ext cx="349744" cy="402317"/>
              </a:xfrm>
              <a:custGeom>
                <a:avLst/>
                <a:gdLst>
                  <a:gd name="connsiteX0" fmla="*/ 174886 w 349744"/>
                  <a:gd name="connsiteY0" fmla="*/ 402318 h 402317"/>
                  <a:gd name="connsiteX1" fmla="*/ 172375 w 349744"/>
                  <a:gd name="connsiteY1" fmla="*/ 401655 h 402317"/>
                  <a:gd name="connsiteX2" fmla="*/ 2511 w 349744"/>
                  <a:gd name="connsiteY2" fmla="*/ 303574 h 402317"/>
                  <a:gd name="connsiteX3" fmla="*/ 0 w 349744"/>
                  <a:gd name="connsiteY3" fmla="*/ 299241 h 402317"/>
                  <a:gd name="connsiteX4" fmla="*/ 0 w 349744"/>
                  <a:gd name="connsiteY4" fmla="*/ 103077 h 402317"/>
                  <a:gd name="connsiteX5" fmla="*/ 2511 w 349744"/>
                  <a:gd name="connsiteY5" fmla="*/ 98744 h 402317"/>
                  <a:gd name="connsiteX6" fmla="*/ 172375 w 349744"/>
                  <a:gd name="connsiteY6" fmla="*/ 662 h 402317"/>
                  <a:gd name="connsiteX7" fmla="*/ 177370 w 349744"/>
                  <a:gd name="connsiteY7" fmla="*/ 662 h 402317"/>
                  <a:gd name="connsiteX8" fmla="*/ 347233 w 349744"/>
                  <a:gd name="connsiteY8" fmla="*/ 98744 h 402317"/>
                  <a:gd name="connsiteX9" fmla="*/ 349744 w 349744"/>
                  <a:gd name="connsiteY9" fmla="*/ 103077 h 402317"/>
                  <a:gd name="connsiteX10" fmla="*/ 349744 w 349744"/>
                  <a:gd name="connsiteY10" fmla="*/ 299241 h 402317"/>
                  <a:gd name="connsiteX11" fmla="*/ 347233 w 349744"/>
                  <a:gd name="connsiteY11" fmla="*/ 303574 h 402317"/>
                  <a:gd name="connsiteX12" fmla="*/ 177370 w 349744"/>
                  <a:gd name="connsiteY12" fmla="*/ 401655 h 402317"/>
                  <a:gd name="connsiteX13" fmla="*/ 174886 w 349744"/>
                  <a:gd name="connsiteY13" fmla="*/ 402318 h 402317"/>
                  <a:gd name="connsiteX14" fmla="*/ 10018 w 349744"/>
                  <a:gd name="connsiteY14" fmla="*/ 296343 h 402317"/>
                  <a:gd name="connsiteX15" fmla="*/ 174886 w 349744"/>
                  <a:gd name="connsiteY15" fmla="*/ 391527 h 402317"/>
                  <a:gd name="connsiteX16" fmla="*/ 339754 w 349744"/>
                  <a:gd name="connsiteY16" fmla="*/ 296343 h 402317"/>
                  <a:gd name="connsiteX17" fmla="*/ 339754 w 349744"/>
                  <a:gd name="connsiteY17" fmla="*/ 105975 h 402317"/>
                  <a:gd name="connsiteX18" fmla="*/ 174886 w 349744"/>
                  <a:gd name="connsiteY18" fmla="*/ 10791 h 402317"/>
                  <a:gd name="connsiteX19" fmla="*/ 10018 w 349744"/>
                  <a:gd name="connsiteY19" fmla="*/ 105975 h 402317"/>
                  <a:gd name="connsiteX20" fmla="*/ 10018 w 349744"/>
                  <a:gd name="connsiteY20" fmla="*/ 296343 h 402317"/>
                  <a:gd name="connsiteX21" fmla="*/ 344777 w 349744"/>
                  <a:gd name="connsiteY21" fmla="*/ 299241 h 402317"/>
                  <a:gd name="connsiteX22" fmla="*/ 344832 w 349744"/>
                  <a:gd name="connsiteY22" fmla="*/ 299241 h 402317"/>
                  <a:gd name="connsiteX23" fmla="*/ 344777 w 349744"/>
                  <a:gd name="connsiteY23" fmla="*/ 299241 h 402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9744" h="402317">
                    <a:moveTo>
                      <a:pt x="174886" y="402318"/>
                    </a:moveTo>
                    <a:cubicBezTo>
                      <a:pt x="174030" y="402318"/>
                      <a:pt x="173147" y="402097"/>
                      <a:pt x="172375" y="401655"/>
                    </a:cubicBezTo>
                    <a:lnTo>
                      <a:pt x="2511" y="303574"/>
                    </a:lnTo>
                    <a:cubicBezTo>
                      <a:pt x="966" y="302690"/>
                      <a:pt x="0" y="301035"/>
                      <a:pt x="0" y="299241"/>
                    </a:cubicBezTo>
                    <a:lnTo>
                      <a:pt x="0" y="103077"/>
                    </a:lnTo>
                    <a:cubicBezTo>
                      <a:pt x="0" y="101283"/>
                      <a:pt x="966" y="99627"/>
                      <a:pt x="2511" y="98744"/>
                    </a:cubicBezTo>
                    <a:lnTo>
                      <a:pt x="172375" y="662"/>
                    </a:lnTo>
                    <a:cubicBezTo>
                      <a:pt x="173920" y="-221"/>
                      <a:pt x="175824" y="-221"/>
                      <a:pt x="177370" y="662"/>
                    </a:cubicBezTo>
                    <a:lnTo>
                      <a:pt x="347233" y="98744"/>
                    </a:lnTo>
                    <a:cubicBezTo>
                      <a:pt x="348778" y="99627"/>
                      <a:pt x="349744" y="101283"/>
                      <a:pt x="349744" y="103077"/>
                    </a:cubicBezTo>
                    <a:lnTo>
                      <a:pt x="349744" y="299241"/>
                    </a:lnTo>
                    <a:cubicBezTo>
                      <a:pt x="349744" y="301035"/>
                      <a:pt x="348778" y="302690"/>
                      <a:pt x="347233" y="303574"/>
                    </a:cubicBezTo>
                    <a:lnTo>
                      <a:pt x="177370" y="401655"/>
                    </a:lnTo>
                    <a:cubicBezTo>
                      <a:pt x="176625" y="402097"/>
                      <a:pt x="175769" y="402318"/>
                      <a:pt x="174886" y="402318"/>
                    </a:cubicBezTo>
                    <a:close/>
                    <a:moveTo>
                      <a:pt x="10018" y="296343"/>
                    </a:moveTo>
                    <a:lnTo>
                      <a:pt x="174886" y="391527"/>
                    </a:lnTo>
                    <a:lnTo>
                      <a:pt x="339754" y="296343"/>
                    </a:lnTo>
                    <a:lnTo>
                      <a:pt x="339754" y="105975"/>
                    </a:lnTo>
                    <a:lnTo>
                      <a:pt x="174886" y="10791"/>
                    </a:lnTo>
                    <a:lnTo>
                      <a:pt x="10018" y="105975"/>
                    </a:lnTo>
                    <a:lnTo>
                      <a:pt x="10018" y="296343"/>
                    </a:lnTo>
                    <a:close/>
                    <a:moveTo>
                      <a:pt x="344777" y="299241"/>
                    </a:moveTo>
                    <a:lnTo>
                      <a:pt x="344832" y="299241"/>
                    </a:lnTo>
                    <a:lnTo>
                      <a:pt x="344777" y="299241"/>
                    </a:lnTo>
                    <a:close/>
                  </a:path>
                </a:pathLst>
              </a:custGeom>
              <a:solidFill>
                <a:schemeClr val="tx2"/>
              </a:solidFill>
              <a:ln w="2758" cap="flat">
                <a:noFill/>
                <a:prstDash val="solid"/>
                <a:miter/>
              </a:ln>
            </p:spPr>
            <p:txBody>
              <a:bodyPr rtlCol="0" anchor="ctr"/>
              <a:lstStyle/>
              <a:p>
                <a:endParaRPr lang="en-GB" dirty="0"/>
              </a:p>
            </p:txBody>
          </p:sp>
          <p:sp>
            <p:nvSpPr>
              <p:cNvPr id="351" name="Freihandform: Form 1364">
                <a:extLst>
                  <a:ext uri="{FF2B5EF4-FFF2-40B4-BE49-F238E27FC236}">
                    <a16:creationId xmlns:a16="http://schemas.microsoft.com/office/drawing/2014/main" id="{4B219260-5C1E-4AF5-9B17-62641F43A08E}"/>
                  </a:ext>
                </a:extLst>
              </p:cNvPr>
              <p:cNvSpPr/>
              <p:nvPr/>
            </p:nvSpPr>
            <p:spPr>
              <a:xfrm>
                <a:off x="1704521" y="2631393"/>
                <a:ext cx="179865" cy="304208"/>
              </a:xfrm>
              <a:custGeom>
                <a:avLst/>
                <a:gdLst>
                  <a:gd name="connsiteX0" fmla="*/ 174858 w 179865"/>
                  <a:gd name="connsiteY0" fmla="*/ 304208 h 304208"/>
                  <a:gd name="connsiteX1" fmla="*/ 172375 w 179865"/>
                  <a:gd name="connsiteY1" fmla="*/ 303546 h 304208"/>
                  <a:gd name="connsiteX2" fmla="*/ 2511 w 179865"/>
                  <a:gd name="connsiteY2" fmla="*/ 205464 h 304208"/>
                  <a:gd name="connsiteX3" fmla="*/ 0 w 179865"/>
                  <a:gd name="connsiteY3" fmla="*/ 201131 h 304208"/>
                  <a:gd name="connsiteX4" fmla="*/ 0 w 179865"/>
                  <a:gd name="connsiteY4" fmla="*/ 4995 h 304208"/>
                  <a:gd name="connsiteX5" fmla="*/ 4995 w 179865"/>
                  <a:gd name="connsiteY5" fmla="*/ 0 h 304208"/>
                  <a:gd name="connsiteX6" fmla="*/ 9990 w 179865"/>
                  <a:gd name="connsiteY6" fmla="*/ 4995 h 304208"/>
                  <a:gd name="connsiteX7" fmla="*/ 9990 w 179865"/>
                  <a:gd name="connsiteY7" fmla="*/ 198261 h 304208"/>
                  <a:gd name="connsiteX8" fmla="*/ 177370 w 179865"/>
                  <a:gd name="connsiteY8" fmla="*/ 294880 h 304208"/>
                  <a:gd name="connsiteX9" fmla="*/ 179191 w 179865"/>
                  <a:gd name="connsiteY9" fmla="*/ 301697 h 304208"/>
                  <a:gd name="connsiteX10" fmla="*/ 174858 w 179865"/>
                  <a:gd name="connsiteY10" fmla="*/ 304208 h 30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865" h="304208">
                    <a:moveTo>
                      <a:pt x="174858" y="304208"/>
                    </a:moveTo>
                    <a:cubicBezTo>
                      <a:pt x="174003" y="304208"/>
                      <a:pt x="173147" y="303988"/>
                      <a:pt x="172375" y="303546"/>
                    </a:cubicBezTo>
                    <a:lnTo>
                      <a:pt x="2511" y="205464"/>
                    </a:lnTo>
                    <a:cubicBezTo>
                      <a:pt x="966" y="204581"/>
                      <a:pt x="0" y="202925"/>
                      <a:pt x="0" y="201131"/>
                    </a:cubicBezTo>
                    <a:lnTo>
                      <a:pt x="0" y="4995"/>
                    </a:lnTo>
                    <a:cubicBezTo>
                      <a:pt x="0" y="2235"/>
                      <a:pt x="2235" y="0"/>
                      <a:pt x="4995" y="0"/>
                    </a:cubicBezTo>
                    <a:cubicBezTo>
                      <a:pt x="7755" y="0"/>
                      <a:pt x="9990" y="2235"/>
                      <a:pt x="9990" y="4995"/>
                    </a:cubicBezTo>
                    <a:lnTo>
                      <a:pt x="9990" y="198261"/>
                    </a:lnTo>
                    <a:lnTo>
                      <a:pt x="177370" y="294880"/>
                    </a:lnTo>
                    <a:cubicBezTo>
                      <a:pt x="179771" y="296260"/>
                      <a:pt x="180571" y="299324"/>
                      <a:pt x="179191" y="301697"/>
                    </a:cubicBezTo>
                    <a:cubicBezTo>
                      <a:pt x="178253" y="303325"/>
                      <a:pt x="176569" y="304208"/>
                      <a:pt x="174858" y="304208"/>
                    </a:cubicBezTo>
                    <a:close/>
                  </a:path>
                </a:pathLst>
              </a:custGeom>
              <a:solidFill>
                <a:schemeClr val="tx2"/>
              </a:solidFill>
              <a:ln w="2758" cap="flat">
                <a:noFill/>
                <a:prstDash val="solid"/>
                <a:miter/>
              </a:ln>
            </p:spPr>
            <p:txBody>
              <a:bodyPr rtlCol="0" anchor="ctr"/>
              <a:lstStyle/>
              <a:p>
                <a:endParaRPr lang="en-GB" dirty="0"/>
              </a:p>
            </p:txBody>
          </p:sp>
          <p:sp>
            <p:nvSpPr>
              <p:cNvPr id="352" name="Freihandform: Form 1365">
                <a:extLst>
                  <a:ext uri="{FF2B5EF4-FFF2-40B4-BE49-F238E27FC236}">
                    <a16:creationId xmlns:a16="http://schemas.microsoft.com/office/drawing/2014/main" id="{8CBADC5A-D50C-4F24-A28C-CB88EB96224F}"/>
                  </a:ext>
                </a:extLst>
              </p:cNvPr>
              <p:cNvSpPr/>
              <p:nvPr/>
            </p:nvSpPr>
            <p:spPr>
              <a:xfrm>
                <a:off x="1947037" y="2483568"/>
                <a:ext cx="179865" cy="304193"/>
              </a:xfrm>
              <a:custGeom>
                <a:avLst/>
                <a:gdLst>
                  <a:gd name="connsiteX0" fmla="*/ 174871 w 179865"/>
                  <a:gd name="connsiteY0" fmla="*/ 304193 h 304193"/>
                  <a:gd name="connsiteX1" fmla="*/ 169876 w 179865"/>
                  <a:gd name="connsiteY1" fmla="*/ 299198 h 304193"/>
                  <a:gd name="connsiteX2" fmla="*/ 169876 w 179865"/>
                  <a:gd name="connsiteY2" fmla="*/ 105932 h 304193"/>
                  <a:gd name="connsiteX3" fmla="*/ 2496 w 179865"/>
                  <a:gd name="connsiteY3" fmla="*/ 9313 h 304193"/>
                  <a:gd name="connsiteX4" fmla="*/ 675 w 179865"/>
                  <a:gd name="connsiteY4" fmla="*/ 2496 h 304193"/>
                  <a:gd name="connsiteX5" fmla="*/ 7491 w 179865"/>
                  <a:gd name="connsiteY5" fmla="*/ 675 h 304193"/>
                  <a:gd name="connsiteX6" fmla="*/ 177354 w 179865"/>
                  <a:gd name="connsiteY6" fmla="*/ 98757 h 304193"/>
                  <a:gd name="connsiteX7" fmla="*/ 179866 w 179865"/>
                  <a:gd name="connsiteY7" fmla="*/ 103089 h 304193"/>
                  <a:gd name="connsiteX8" fmla="*/ 179866 w 179865"/>
                  <a:gd name="connsiteY8" fmla="*/ 299253 h 304193"/>
                  <a:gd name="connsiteX9" fmla="*/ 174871 w 179865"/>
                  <a:gd name="connsiteY9" fmla="*/ 304193 h 30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865" h="304193">
                    <a:moveTo>
                      <a:pt x="174871" y="304193"/>
                    </a:moveTo>
                    <a:cubicBezTo>
                      <a:pt x="172111" y="304193"/>
                      <a:pt x="169876" y="301958"/>
                      <a:pt x="169876" y="299198"/>
                    </a:cubicBezTo>
                    <a:lnTo>
                      <a:pt x="169876" y="105932"/>
                    </a:lnTo>
                    <a:lnTo>
                      <a:pt x="2496" y="9313"/>
                    </a:lnTo>
                    <a:cubicBezTo>
                      <a:pt x="95" y="7933"/>
                      <a:pt x="-705" y="4870"/>
                      <a:pt x="675" y="2496"/>
                    </a:cubicBezTo>
                    <a:cubicBezTo>
                      <a:pt x="2055" y="95"/>
                      <a:pt x="5118" y="-705"/>
                      <a:pt x="7491" y="675"/>
                    </a:cubicBezTo>
                    <a:lnTo>
                      <a:pt x="177354" y="98757"/>
                    </a:lnTo>
                    <a:cubicBezTo>
                      <a:pt x="178900" y="99640"/>
                      <a:pt x="179866" y="101296"/>
                      <a:pt x="179866" y="103089"/>
                    </a:cubicBezTo>
                    <a:lnTo>
                      <a:pt x="179866" y="299253"/>
                    </a:lnTo>
                    <a:cubicBezTo>
                      <a:pt x="179866" y="301958"/>
                      <a:pt x="177630" y="304193"/>
                      <a:pt x="174871" y="304193"/>
                    </a:cubicBezTo>
                    <a:close/>
                  </a:path>
                </a:pathLst>
              </a:custGeom>
              <a:solidFill>
                <a:schemeClr val="tx2"/>
              </a:solidFill>
              <a:ln w="2758" cap="flat">
                <a:noFill/>
                <a:prstDash val="solid"/>
                <a:miter/>
              </a:ln>
            </p:spPr>
            <p:txBody>
              <a:bodyPr rtlCol="0" anchor="ctr"/>
              <a:lstStyle/>
              <a:p>
                <a:endParaRPr lang="en-GB" dirty="0"/>
              </a:p>
            </p:txBody>
          </p:sp>
        </p:grpSp>
        <p:grpSp>
          <p:nvGrpSpPr>
            <p:cNvPr id="345" name="Group 1161">
              <a:extLst>
                <a:ext uri="{FF2B5EF4-FFF2-40B4-BE49-F238E27FC236}">
                  <a16:creationId xmlns:a16="http://schemas.microsoft.com/office/drawing/2014/main" id="{BEBBCF24-BD7A-4661-889B-46A1CF012ED1}"/>
                </a:ext>
              </a:extLst>
            </p:cNvPr>
            <p:cNvGrpSpPr/>
            <p:nvPr/>
          </p:nvGrpSpPr>
          <p:grpSpPr>
            <a:xfrm>
              <a:off x="5100907" y="1696970"/>
              <a:ext cx="224848" cy="211876"/>
              <a:chOff x="1798571" y="2599701"/>
              <a:chExt cx="235275" cy="221701"/>
            </a:xfrm>
            <a:solidFill>
              <a:schemeClr val="accent1"/>
            </a:solidFill>
          </p:grpSpPr>
          <p:grpSp>
            <p:nvGrpSpPr>
              <p:cNvPr id="346" name="Grafik 40">
                <a:extLst>
                  <a:ext uri="{FF2B5EF4-FFF2-40B4-BE49-F238E27FC236}">
                    <a16:creationId xmlns:a16="http://schemas.microsoft.com/office/drawing/2014/main" id="{998E2DA4-4633-4D0F-8646-E5BFABC258B5}"/>
                  </a:ext>
                </a:extLst>
              </p:cNvPr>
              <p:cNvGrpSpPr/>
              <p:nvPr/>
            </p:nvGrpSpPr>
            <p:grpSpPr>
              <a:xfrm>
                <a:off x="1798571" y="2599701"/>
                <a:ext cx="235275" cy="221701"/>
                <a:chOff x="1798571" y="2599701"/>
                <a:chExt cx="235275" cy="221701"/>
              </a:xfrm>
              <a:solidFill>
                <a:schemeClr val="accent1"/>
              </a:solidFill>
            </p:grpSpPr>
            <p:sp>
              <p:nvSpPr>
                <p:cNvPr id="348" name="Freihandform: Form 1361">
                  <a:extLst>
                    <a:ext uri="{FF2B5EF4-FFF2-40B4-BE49-F238E27FC236}">
                      <a16:creationId xmlns:a16="http://schemas.microsoft.com/office/drawing/2014/main" id="{E43E9317-98DD-45DF-AC74-3B3DCD772F01}"/>
                    </a:ext>
                  </a:extLst>
                </p:cNvPr>
                <p:cNvSpPr/>
                <p:nvPr/>
              </p:nvSpPr>
              <p:spPr>
                <a:xfrm>
                  <a:off x="1798705" y="2599712"/>
                  <a:ext cx="235141" cy="221690"/>
                </a:xfrm>
                <a:custGeom>
                  <a:avLst/>
                  <a:gdLst>
                    <a:gd name="connsiteX0" fmla="*/ 35166 w 235141"/>
                    <a:gd name="connsiteY0" fmla="*/ 221690 h 221690"/>
                    <a:gd name="connsiteX1" fmla="*/ 7955 w 235141"/>
                    <a:gd name="connsiteY1" fmla="*/ 211617 h 221690"/>
                    <a:gd name="connsiteX2" fmla="*/ 75790 w 235141"/>
                    <a:gd name="connsiteY2" fmla="*/ 65515 h 221690"/>
                    <a:gd name="connsiteX3" fmla="*/ 75790 w 235141"/>
                    <a:gd name="connsiteY3" fmla="*/ 65515 h 221690"/>
                    <a:gd name="connsiteX4" fmla="*/ 163495 w 235141"/>
                    <a:gd name="connsiteY4" fmla="*/ 7919 h 221690"/>
                    <a:gd name="connsiteX5" fmla="*/ 227080 w 235141"/>
                    <a:gd name="connsiteY5" fmla="*/ 10182 h 221690"/>
                    <a:gd name="connsiteX6" fmla="*/ 223989 w 235141"/>
                    <a:gd name="connsiteY6" fmla="*/ 73739 h 221690"/>
                    <a:gd name="connsiteX7" fmla="*/ 159245 w 235141"/>
                    <a:gd name="connsiteY7" fmla="*/ 156284 h 221690"/>
                    <a:gd name="connsiteX8" fmla="*/ 35166 w 235141"/>
                    <a:gd name="connsiteY8" fmla="*/ 221690 h 221690"/>
                    <a:gd name="connsiteX9" fmla="*/ 82551 w 235141"/>
                    <a:gd name="connsiteY9" fmla="*/ 72884 h 221690"/>
                    <a:gd name="connsiteX10" fmla="*/ 15324 w 235141"/>
                    <a:gd name="connsiteY10" fmla="*/ 204856 h 221690"/>
                    <a:gd name="connsiteX11" fmla="*/ 152484 w 235141"/>
                    <a:gd name="connsiteY11" fmla="*/ 148943 h 221690"/>
                    <a:gd name="connsiteX12" fmla="*/ 214992 w 235141"/>
                    <a:gd name="connsiteY12" fmla="*/ 69379 h 221690"/>
                    <a:gd name="connsiteX13" fmla="*/ 219711 w 235141"/>
                    <a:gd name="connsiteY13" fmla="*/ 16971 h 221690"/>
                    <a:gd name="connsiteX14" fmla="*/ 167083 w 235141"/>
                    <a:gd name="connsiteY14" fmla="*/ 17247 h 221690"/>
                    <a:gd name="connsiteX15" fmla="*/ 82551 w 235141"/>
                    <a:gd name="connsiteY15" fmla="*/ 72884 h 221690"/>
                    <a:gd name="connsiteX16" fmla="*/ 82551 w 235141"/>
                    <a:gd name="connsiteY16" fmla="*/ 72884 h 22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5141" h="221690">
                      <a:moveTo>
                        <a:pt x="35166" y="221690"/>
                      </a:moveTo>
                      <a:cubicBezTo>
                        <a:pt x="23603" y="221690"/>
                        <a:pt x="14220" y="218461"/>
                        <a:pt x="7955" y="211617"/>
                      </a:cubicBezTo>
                      <a:cubicBezTo>
                        <a:pt x="-15420" y="186172"/>
                        <a:pt x="14358" y="122008"/>
                        <a:pt x="75790" y="65515"/>
                      </a:cubicBezTo>
                      <a:lnTo>
                        <a:pt x="75790" y="65515"/>
                      </a:lnTo>
                      <a:cubicBezTo>
                        <a:pt x="104519" y="39104"/>
                        <a:pt x="135677" y="18655"/>
                        <a:pt x="163495" y="7919"/>
                      </a:cubicBezTo>
                      <a:cubicBezTo>
                        <a:pt x="192776" y="-3368"/>
                        <a:pt x="215379" y="-2568"/>
                        <a:pt x="227080" y="10182"/>
                      </a:cubicBezTo>
                      <a:cubicBezTo>
                        <a:pt x="238809" y="22932"/>
                        <a:pt x="237705" y="45507"/>
                        <a:pt x="223989" y="73739"/>
                      </a:cubicBezTo>
                      <a:cubicBezTo>
                        <a:pt x="210963" y="100564"/>
                        <a:pt x="187974" y="129873"/>
                        <a:pt x="159245" y="156284"/>
                      </a:cubicBezTo>
                      <a:cubicBezTo>
                        <a:pt x="114289" y="197570"/>
                        <a:pt x="66655" y="221690"/>
                        <a:pt x="35166" y="221690"/>
                      </a:cubicBezTo>
                      <a:close/>
                      <a:moveTo>
                        <a:pt x="82551" y="72884"/>
                      </a:moveTo>
                      <a:cubicBezTo>
                        <a:pt x="21450" y="129073"/>
                        <a:pt x="-1538" y="186503"/>
                        <a:pt x="15324" y="204856"/>
                      </a:cubicBezTo>
                      <a:cubicBezTo>
                        <a:pt x="32186" y="223208"/>
                        <a:pt x="91327" y="205104"/>
                        <a:pt x="152484" y="148943"/>
                      </a:cubicBezTo>
                      <a:cubicBezTo>
                        <a:pt x="180302" y="123360"/>
                        <a:pt x="202518" y="95100"/>
                        <a:pt x="214992" y="69379"/>
                      </a:cubicBezTo>
                      <a:cubicBezTo>
                        <a:pt x="226611" y="45452"/>
                        <a:pt x="228350" y="26354"/>
                        <a:pt x="219711" y="16971"/>
                      </a:cubicBezTo>
                      <a:cubicBezTo>
                        <a:pt x="211073" y="7560"/>
                        <a:pt x="191893" y="7671"/>
                        <a:pt x="167083" y="17247"/>
                      </a:cubicBezTo>
                      <a:cubicBezTo>
                        <a:pt x="140396" y="27513"/>
                        <a:pt x="110370" y="47273"/>
                        <a:pt x="82551" y="72884"/>
                      </a:cubicBezTo>
                      <a:lnTo>
                        <a:pt x="82551" y="72884"/>
                      </a:lnTo>
                      <a:close/>
                    </a:path>
                  </a:pathLst>
                </a:custGeom>
                <a:solidFill>
                  <a:schemeClr val="accent1"/>
                </a:solidFill>
                <a:ln w="2758" cap="flat">
                  <a:noFill/>
                  <a:prstDash val="solid"/>
                  <a:miter/>
                </a:ln>
              </p:spPr>
              <p:txBody>
                <a:bodyPr rtlCol="0" anchor="ctr"/>
                <a:lstStyle/>
                <a:p>
                  <a:endParaRPr lang="en-GB" dirty="0"/>
                </a:p>
              </p:txBody>
            </p:sp>
            <p:sp>
              <p:nvSpPr>
                <p:cNvPr id="349" name="Freihandform: Form 1362">
                  <a:extLst>
                    <a:ext uri="{FF2B5EF4-FFF2-40B4-BE49-F238E27FC236}">
                      <a16:creationId xmlns:a16="http://schemas.microsoft.com/office/drawing/2014/main" id="{502D1E16-72E5-4587-A02D-6F1AB27FBD4E}"/>
                    </a:ext>
                  </a:extLst>
                </p:cNvPr>
                <p:cNvSpPr/>
                <p:nvPr/>
              </p:nvSpPr>
              <p:spPr>
                <a:xfrm>
                  <a:off x="1798571" y="2599701"/>
                  <a:ext cx="235137" cy="221701"/>
                </a:xfrm>
                <a:custGeom>
                  <a:avLst/>
                  <a:gdLst>
                    <a:gd name="connsiteX0" fmla="*/ 199975 w 235137"/>
                    <a:gd name="connsiteY0" fmla="*/ 221701 h 221701"/>
                    <a:gd name="connsiteX1" fmla="*/ 75896 w 235137"/>
                    <a:gd name="connsiteY1" fmla="*/ 156295 h 221701"/>
                    <a:gd name="connsiteX2" fmla="*/ 11152 w 235137"/>
                    <a:gd name="connsiteY2" fmla="*/ 73750 h 221701"/>
                    <a:gd name="connsiteX3" fmla="*/ 8061 w 235137"/>
                    <a:gd name="connsiteY3" fmla="*/ 10193 h 221701"/>
                    <a:gd name="connsiteX4" fmla="*/ 71646 w 235137"/>
                    <a:gd name="connsiteY4" fmla="*/ 7930 h 221701"/>
                    <a:gd name="connsiteX5" fmla="*/ 159351 w 235137"/>
                    <a:gd name="connsiteY5" fmla="*/ 65526 h 221701"/>
                    <a:gd name="connsiteX6" fmla="*/ 159351 w 235137"/>
                    <a:gd name="connsiteY6" fmla="*/ 65526 h 221701"/>
                    <a:gd name="connsiteX7" fmla="*/ 227186 w 235137"/>
                    <a:gd name="connsiteY7" fmla="*/ 211628 h 221701"/>
                    <a:gd name="connsiteX8" fmla="*/ 199975 w 235137"/>
                    <a:gd name="connsiteY8" fmla="*/ 221701 h 221701"/>
                    <a:gd name="connsiteX9" fmla="*/ 35410 w 235137"/>
                    <a:gd name="connsiteY9" fmla="*/ 10000 h 221701"/>
                    <a:gd name="connsiteX10" fmla="*/ 15457 w 235137"/>
                    <a:gd name="connsiteY10" fmla="*/ 16955 h 221701"/>
                    <a:gd name="connsiteX11" fmla="*/ 20177 w 235137"/>
                    <a:gd name="connsiteY11" fmla="*/ 69362 h 221701"/>
                    <a:gd name="connsiteX12" fmla="*/ 82685 w 235137"/>
                    <a:gd name="connsiteY12" fmla="*/ 148926 h 221701"/>
                    <a:gd name="connsiteX13" fmla="*/ 219845 w 235137"/>
                    <a:gd name="connsiteY13" fmla="*/ 204839 h 221701"/>
                    <a:gd name="connsiteX14" fmla="*/ 152617 w 235137"/>
                    <a:gd name="connsiteY14" fmla="*/ 72867 h 221701"/>
                    <a:gd name="connsiteX15" fmla="*/ 68086 w 235137"/>
                    <a:gd name="connsiteY15" fmla="*/ 17231 h 221701"/>
                    <a:gd name="connsiteX16" fmla="*/ 35410 w 235137"/>
                    <a:gd name="connsiteY16" fmla="*/ 10000 h 22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5137" h="221701">
                      <a:moveTo>
                        <a:pt x="199975" y="221701"/>
                      </a:moveTo>
                      <a:cubicBezTo>
                        <a:pt x="168486" y="221701"/>
                        <a:pt x="120853" y="197608"/>
                        <a:pt x="75896" y="156295"/>
                      </a:cubicBezTo>
                      <a:cubicBezTo>
                        <a:pt x="47167" y="129884"/>
                        <a:pt x="24178" y="100548"/>
                        <a:pt x="11152" y="73750"/>
                      </a:cubicBezTo>
                      <a:cubicBezTo>
                        <a:pt x="-2564" y="45518"/>
                        <a:pt x="-3668" y="22943"/>
                        <a:pt x="8061" y="10193"/>
                      </a:cubicBezTo>
                      <a:cubicBezTo>
                        <a:pt x="19790" y="-2557"/>
                        <a:pt x="42365" y="-3385"/>
                        <a:pt x="71646" y="7930"/>
                      </a:cubicBezTo>
                      <a:cubicBezTo>
                        <a:pt x="99464" y="18666"/>
                        <a:pt x="130595" y="39115"/>
                        <a:pt x="159351" y="65526"/>
                      </a:cubicBezTo>
                      <a:lnTo>
                        <a:pt x="159351" y="65526"/>
                      </a:lnTo>
                      <a:cubicBezTo>
                        <a:pt x="220756" y="121991"/>
                        <a:pt x="250561" y="186155"/>
                        <a:pt x="227186" y="211628"/>
                      </a:cubicBezTo>
                      <a:cubicBezTo>
                        <a:pt x="220922" y="218445"/>
                        <a:pt x="211538" y="221701"/>
                        <a:pt x="199975" y="221701"/>
                      </a:cubicBezTo>
                      <a:close/>
                      <a:moveTo>
                        <a:pt x="35410" y="10000"/>
                      </a:moveTo>
                      <a:cubicBezTo>
                        <a:pt x="26579" y="10000"/>
                        <a:pt x="19707" y="12318"/>
                        <a:pt x="15457" y="16955"/>
                      </a:cubicBezTo>
                      <a:cubicBezTo>
                        <a:pt x="6819" y="26338"/>
                        <a:pt x="8558" y="45435"/>
                        <a:pt x="20177" y="69362"/>
                      </a:cubicBezTo>
                      <a:cubicBezTo>
                        <a:pt x="32678" y="95056"/>
                        <a:pt x="54867" y="123316"/>
                        <a:pt x="82685" y="148926"/>
                      </a:cubicBezTo>
                      <a:cubicBezTo>
                        <a:pt x="143841" y="205115"/>
                        <a:pt x="202955" y="223164"/>
                        <a:pt x="219845" y="204839"/>
                      </a:cubicBezTo>
                      <a:cubicBezTo>
                        <a:pt x="236707" y="186459"/>
                        <a:pt x="213719" y="129056"/>
                        <a:pt x="152617" y="72867"/>
                      </a:cubicBezTo>
                      <a:cubicBezTo>
                        <a:pt x="124772" y="47284"/>
                        <a:pt x="94773" y="27524"/>
                        <a:pt x="68086" y="17231"/>
                      </a:cubicBezTo>
                      <a:cubicBezTo>
                        <a:pt x="55529" y="12428"/>
                        <a:pt x="44435" y="10000"/>
                        <a:pt x="35410" y="10000"/>
                      </a:cubicBezTo>
                      <a:close/>
                    </a:path>
                  </a:pathLst>
                </a:custGeom>
                <a:solidFill>
                  <a:schemeClr val="accent1"/>
                </a:solidFill>
                <a:ln w="2758" cap="flat">
                  <a:noFill/>
                  <a:prstDash val="solid"/>
                  <a:miter/>
                </a:ln>
              </p:spPr>
              <p:txBody>
                <a:bodyPr rtlCol="0" anchor="ctr"/>
                <a:lstStyle/>
                <a:p>
                  <a:endParaRPr lang="en-GB" dirty="0"/>
                </a:p>
              </p:txBody>
            </p:sp>
          </p:grpSp>
          <p:sp>
            <p:nvSpPr>
              <p:cNvPr id="347" name="Freihandform: Form 1360">
                <a:extLst>
                  <a:ext uri="{FF2B5EF4-FFF2-40B4-BE49-F238E27FC236}">
                    <a16:creationId xmlns:a16="http://schemas.microsoft.com/office/drawing/2014/main" id="{8E165B54-F664-4F48-A461-FA1E92CA495F}"/>
                  </a:ext>
                </a:extLst>
              </p:cNvPr>
              <p:cNvSpPr/>
              <p:nvPr/>
            </p:nvSpPr>
            <p:spPr>
              <a:xfrm>
                <a:off x="1887631" y="2680351"/>
                <a:ext cx="57154" cy="57154"/>
              </a:xfrm>
              <a:custGeom>
                <a:avLst/>
                <a:gdLst>
                  <a:gd name="connsiteX0" fmla="*/ 28591 w 57154"/>
                  <a:gd name="connsiteY0" fmla="*/ 57155 h 57154"/>
                  <a:gd name="connsiteX1" fmla="*/ 0 w 57154"/>
                  <a:gd name="connsiteY1" fmla="*/ 28564 h 57154"/>
                  <a:gd name="connsiteX2" fmla="*/ 28591 w 57154"/>
                  <a:gd name="connsiteY2" fmla="*/ 0 h 57154"/>
                  <a:gd name="connsiteX3" fmla="*/ 57155 w 57154"/>
                  <a:gd name="connsiteY3" fmla="*/ 28564 h 57154"/>
                  <a:gd name="connsiteX4" fmla="*/ 28591 w 57154"/>
                  <a:gd name="connsiteY4" fmla="*/ 57155 h 57154"/>
                  <a:gd name="connsiteX5" fmla="*/ 28591 w 57154"/>
                  <a:gd name="connsiteY5" fmla="*/ 9990 h 57154"/>
                  <a:gd name="connsiteX6" fmla="*/ 10018 w 57154"/>
                  <a:gd name="connsiteY6" fmla="*/ 28564 h 57154"/>
                  <a:gd name="connsiteX7" fmla="*/ 28591 w 57154"/>
                  <a:gd name="connsiteY7" fmla="*/ 47137 h 57154"/>
                  <a:gd name="connsiteX8" fmla="*/ 47164 w 57154"/>
                  <a:gd name="connsiteY8" fmla="*/ 28564 h 57154"/>
                  <a:gd name="connsiteX9" fmla="*/ 28591 w 57154"/>
                  <a:gd name="connsiteY9" fmla="*/ 9990 h 57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154" h="57154">
                    <a:moveTo>
                      <a:pt x="28591" y="57155"/>
                    </a:moveTo>
                    <a:cubicBezTo>
                      <a:pt x="12833" y="57155"/>
                      <a:pt x="0" y="44322"/>
                      <a:pt x="0" y="28564"/>
                    </a:cubicBezTo>
                    <a:cubicBezTo>
                      <a:pt x="0" y="12805"/>
                      <a:pt x="12833" y="0"/>
                      <a:pt x="28591" y="0"/>
                    </a:cubicBezTo>
                    <a:cubicBezTo>
                      <a:pt x="44349" y="0"/>
                      <a:pt x="57155" y="12805"/>
                      <a:pt x="57155" y="28564"/>
                    </a:cubicBezTo>
                    <a:cubicBezTo>
                      <a:pt x="57155" y="44322"/>
                      <a:pt x="44349" y="57155"/>
                      <a:pt x="28591" y="57155"/>
                    </a:cubicBezTo>
                    <a:close/>
                    <a:moveTo>
                      <a:pt x="28591" y="9990"/>
                    </a:moveTo>
                    <a:cubicBezTo>
                      <a:pt x="18352" y="9990"/>
                      <a:pt x="10018" y="18325"/>
                      <a:pt x="10018" y="28564"/>
                    </a:cubicBezTo>
                    <a:cubicBezTo>
                      <a:pt x="10018" y="38802"/>
                      <a:pt x="18352" y="47137"/>
                      <a:pt x="28591" y="47137"/>
                    </a:cubicBezTo>
                    <a:cubicBezTo>
                      <a:pt x="38830" y="47137"/>
                      <a:pt x="47164" y="38802"/>
                      <a:pt x="47164" y="28564"/>
                    </a:cubicBezTo>
                    <a:cubicBezTo>
                      <a:pt x="47164" y="18325"/>
                      <a:pt x="38830" y="9990"/>
                      <a:pt x="28591" y="9990"/>
                    </a:cubicBezTo>
                    <a:close/>
                  </a:path>
                </a:pathLst>
              </a:custGeom>
              <a:solidFill>
                <a:schemeClr val="accent1"/>
              </a:solidFill>
              <a:ln w="2758" cap="flat">
                <a:noFill/>
                <a:prstDash val="solid"/>
                <a:miter/>
              </a:ln>
            </p:spPr>
            <p:txBody>
              <a:bodyPr rtlCol="0" anchor="ctr"/>
              <a:lstStyle/>
              <a:p>
                <a:endParaRPr lang="en-GB" dirty="0"/>
              </a:p>
            </p:txBody>
          </p:sp>
        </p:grpSp>
      </p:grpSp>
      <p:grpSp>
        <p:nvGrpSpPr>
          <p:cNvPr id="126" name="Group 125">
            <a:extLst>
              <a:ext uri="{FF2B5EF4-FFF2-40B4-BE49-F238E27FC236}">
                <a16:creationId xmlns:a16="http://schemas.microsoft.com/office/drawing/2014/main" id="{377D28D3-4571-E322-B85C-4994199DBECD}"/>
              </a:ext>
            </a:extLst>
          </p:cNvPr>
          <p:cNvGrpSpPr/>
          <p:nvPr/>
        </p:nvGrpSpPr>
        <p:grpSpPr>
          <a:xfrm>
            <a:off x="6040947" y="1585984"/>
            <a:ext cx="430908" cy="432000"/>
            <a:chOff x="6040535" y="1585984"/>
            <a:chExt cx="430908" cy="432000"/>
          </a:xfrm>
        </p:grpSpPr>
        <p:grpSp>
          <p:nvGrpSpPr>
            <p:cNvPr id="354" name="Group 353">
              <a:extLst>
                <a:ext uri="{FF2B5EF4-FFF2-40B4-BE49-F238E27FC236}">
                  <a16:creationId xmlns:a16="http://schemas.microsoft.com/office/drawing/2014/main" id="{24729683-B005-4DD2-AB1F-C889197BB2F0}"/>
                </a:ext>
              </a:extLst>
            </p:cNvPr>
            <p:cNvGrpSpPr/>
            <p:nvPr/>
          </p:nvGrpSpPr>
          <p:grpSpPr>
            <a:xfrm>
              <a:off x="6040535" y="1585984"/>
              <a:ext cx="430908" cy="432000"/>
              <a:chOff x="870431" y="1626758"/>
              <a:chExt cx="485624" cy="486855"/>
            </a:xfrm>
          </p:grpSpPr>
          <p:grpSp>
            <p:nvGrpSpPr>
              <p:cNvPr id="366" name="Grafik 32">
                <a:extLst>
                  <a:ext uri="{FF2B5EF4-FFF2-40B4-BE49-F238E27FC236}">
                    <a16:creationId xmlns:a16="http://schemas.microsoft.com/office/drawing/2014/main" id="{26607245-4620-4DFB-B150-43CA2D29B46A}"/>
                  </a:ext>
                </a:extLst>
              </p:cNvPr>
              <p:cNvGrpSpPr/>
              <p:nvPr/>
            </p:nvGrpSpPr>
            <p:grpSpPr>
              <a:xfrm>
                <a:off x="1077568" y="1859161"/>
                <a:ext cx="278487" cy="254452"/>
                <a:chOff x="1077568" y="1859161"/>
                <a:chExt cx="278487" cy="254452"/>
              </a:xfrm>
              <a:solidFill>
                <a:schemeClr val="accent1"/>
              </a:solidFill>
            </p:grpSpPr>
            <p:sp>
              <p:nvSpPr>
                <p:cNvPr id="370" name="Freihandform: Form 440">
                  <a:extLst>
                    <a:ext uri="{FF2B5EF4-FFF2-40B4-BE49-F238E27FC236}">
                      <a16:creationId xmlns:a16="http://schemas.microsoft.com/office/drawing/2014/main" id="{88A6C450-90CE-4F80-BCFB-97B3C74A6AD2}"/>
                    </a:ext>
                  </a:extLst>
                </p:cNvPr>
                <p:cNvSpPr/>
                <p:nvPr/>
              </p:nvSpPr>
              <p:spPr>
                <a:xfrm>
                  <a:off x="1077568" y="1859161"/>
                  <a:ext cx="278487" cy="254452"/>
                </a:xfrm>
                <a:custGeom>
                  <a:avLst/>
                  <a:gdLst>
                    <a:gd name="connsiteX0" fmla="*/ 263528 w 278487"/>
                    <a:gd name="connsiteY0" fmla="*/ 254452 h 254452"/>
                    <a:gd name="connsiteX1" fmla="*/ 14934 w 278487"/>
                    <a:gd name="connsiteY1" fmla="*/ 254452 h 254452"/>
                    <a:gd name="connsiteX2" fmla="*/ 0 w 278487"/>
                    <a:gd name="connsiteY2" fmla="*/ 239519 h 254452"/>
                    <a:gd name="connsiteX3" fmla="*/ 0 w 278487"/>
                    <a:gd name="connsiteY3" fmla="*/ 208143 h 254452"/>
                    <a:gd name="connsiteX4" fmla="*/ 4928 w 278487"/>
                    <a:gd name="connsiteY4" fmla="*/ 203215 h 254452"/>
                    <a:gd name="connsiteX5" fmla="*/ 9855 w 278487"/>
                    <a:gd name="connsiteY5" fmla="*/ 208143 h 254452"/>
                    <a:gd name="connsiteX6" fmla="*/ 9855 w 278487"/>
                    <a:gd name="connsiteY6" fmla="*/ 239519 h 254452"/>
                    <a:gd name="connsiteX7" fmla="*/ 14959 w 278487"/>
                    <a:gd name="connsiteY7" fmla="*/ 244622 h 254452"/>
                    <a:gd name="connsiteX8" fmla="*/ 263554 w 278487"/>
                    <a:gd name="connsiteY8" fmla="*/ 244622 h 254452"/>
                    <a:gd name="connsiteX9" fmla="*/ 268657 w 278487"/>
                    <a:gd name="connsiteY9" fmla="*/ 239519 h 254452"/>
                    <a:gd name="connsiteX10" fmla="*/ 268657 w 278487"/>
                    <a:gd name="connsiteY10" fmla="*/ 14959 h 254452"/>
                    <a:gd name="connsiteX11" fmla="*/ 263554 w 278487"/>
                    <a:gd name="connsiteY11" fmla="*/ 9855 h 254452"/>
                    <a:gd name="connsiteX12" fmla="*/ 220562 w 278487"/>
                    <a:gd name="connsiteY12" fmla="*/ 9855 h 254452"/>
                    <a:gd name="connsiteX13" fmla="*/ 215635 w 278487"/>
                    <a:gd name="connsiteY13" fmla="*/ 4928 h 254452"/>
                    <a:gd name="connsiteX14" fmla="*/ 220562 w 278487"/>
                    <a:gd name="connsiteY14" fmla="*/ 0 h 254452"/>
                    <a:gd name="connsiteX15" fmla="*/ 263554 w 278487"/>
                    <a:gd name="connsiteY15" fmla="*/ 0 h 254452"/>
                    <a:gd name="connsiteX16" fmla="*/ 278487 w 278487"/>
                    <a:gd name="connsiteY16" fmla="*/ 14934 h 254452"/>
                    <a:gd name="connsiteX17" fmla="*/ 278487 w 278487"/>
                    <a:gd name="connsiteY17" fmla="*/ 239468 h 254452"/>
                    <a:gd name="connsiteX18" fmla="*/ 263528 w 278487"/>
                    <a:gd name="connsiteY18" fmla="*/ 254452 h 254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87" h="254452">
                      <a:moveTo>
                        <a:pt x="263528" y="254452"/>
                      </a:moveTo>
                      <a:lnTo>
                        <a:pt x="14934" y="254452"/>
                      </a:lnTo>
                      <a:cubicBezTo>
                        <a:pt x="8925" y="254452"/>
                        <a:pt x="0" y="250480"/>
                        <a:pt x="0" y="239519"/>
                      </a:cubicBezTo>
                      <a:lnTo>
                        <a:pt x="0" y="208143"/>
                      </a:lnTo>
                      <a:cubicBezTo>
                        <a:pt x="0" y="205427"/>
                        <a:pt x="2212" y="203215"/>
                        <a:pt x="4928" y="203215"/>
                      </a:cubicBezTo>
                      <a:cubicBezTo>
                        <a:pt x="7643" y="203215"/>
                        <a:pt x="9855" y="205427"/>
                        <a:pt x="9855" y="208143"/>
                      </a:cubicBezTo>
                      <a:lnTo>
                        <a:pt x="9855" y="239519"/>
                      </a:lnTo>
                      <a:cubicBezTo>
                        <a:pt x="9855" y="244119"/>
                        <a:pt x="13425" y="244622"/>
                        <a:pt x="14959" y="244622"/>
                      </a:cubicBezTo>
                      <a:lnTo>
                        <a:pt x="263554" y="244622"/>
                      </a:lnTo>
                      <a:cubicBezTo>
                        <a:pt x="265841" y="244572"/>
                        <a:pt x="268657" y="243642"/>
                        <a:pt x="268657" y="239519"/>
                      </a:cubicBezTo>
                      <a:lnTo>
                        <a:pt x="268657" y="14959"/>
                      </a:lnTo>
                      <a:cubicBezTo>
                        <a:pt x="268657" y="10358"/>
                        <a:pt x="265087" y="9855"/>
                        <a:pt x="263554" y="9855"/>
                      </a:cubicBezTo>
                      <a:lnTo>
                        <a:pt x="220562" y="9855"/>
                      </a:lnTo>
                      <a:cubicBezTo>
                        <a:pt x="217847" y="9855"/>
                        <a:pt x="215635" y="7643"/>
                        <a:pt x="215635" y="4928"/>
                      </a:cubicBezTo>
                      <a:cubicBezTo>
                        <a:pt x="215635" y="2212"/>
                        <a:pt x="217847" y="0"/>
                        <a:pt x="220562" y="0"/>
                      </a:cubicBezTo>
                      <a:lnTo>
                        <a:pt x="263554" y="0"/>
                      </a:lnTo>
                      <a:cubicBezTo>
                        <a:pt x="269562" y="0"/>
                        <a:pt x="278487" y="3972"/>
                        <a:pt x="278487" y="14934"/>
                      </a:cubicBezTo>
                      <a:lnTo>
                        <a:pt x="278487" y="239468"/>
                      </a:lnTo>
                      <a:cubicBezTo>
                        <a:pt x="278487" y="250455"/>
                        <a:pt x="269537" y="254452"/>
                        <a:pt x="263528" y="254452"/>
                      </a:cubicBezTo>
                      <a:close/>
                    </a:path>
                  </a:pathLst>
                </a:custGeom>
                <a:solidFill>
                  <a:schemeClr val="accent1"/>
                </a:solidFill>
                <a:ln w="2509" cap="flat">
                  <a:noFill/>
                  <a:prstDash val="solid"/>
                  <a:miter/>
                </a:ln>
              </p:spPr>
              <p:txBody>
                <a:bodyPr rtlCol="0" anchor="ctr"/>
                <a:lstStyle/>
                <a:p>
                  <a:endParaRPr lang="en-GB" dirty="0"/>
                </a:p>
              </p:txBody>
            </p:sp>
            <p:sp>
              <p:nvSpPr>
                <p:cNvPr id="371" name="Freihandform: Form 441">
                  <a:extLst>
                    <a:ext uri="{FF2B5EF4-FFF2-40B4-BE49-F238E27FC236}">
                      <a16:creationId xmlns:a16="http://schemas.microsoft.com/office/drawing/2014/main" id="{3E2CFF43-3D7A-4509-A5C0-C311ACEC09CE}"/>
                    </a:ext>
                  </a:extLst>
                </p:cNvPr>
                <p:cNvSpPr/>
                <p:nvPr/>
              </p:nvSpPr>
              <p:spPr>
                <a:xfrm>
                  <a:off x="1293177" y="1859161"/>
                  <a:ext cx="62852" cy="49955"/>
                </a:xfrm>
                <a:custGeom>
                  <a:avLst/>
                  <a:gdLst>
                    <a:gd name="connsiteX0" fmla="*/ 57950 w 62852"/>
                    <a:gd name="connsiteY0" fmla="*/ 49955 h 49955"/>
                    <a:gd name="connsiteX1" fmla="*/ 4928 w 62852"/>
                    <a:gd name="connsiteY1" fmla="*/ 49955 h 49955"/>
                    <a:gd name="connsiteX2" fmla="*/ 0 w 62852"/>
                    <a:gd name="connsiteY2" fmla="*/ 45028 h 49955"/>
                    <a:gd name="connsiteX3" fmla="*/ 4928 w 62852"/>
                    <a:gd name="connsiteY3" fmla="*/ 40100 h 49955"/>
                    <a:gd name="connsiteX4" fmla="*/ 53022 w 62852"/>
                    <a:gd name="connsiteY4" fmla="*/ 40100 h 49955"/>
                    <a:gd name="connsiteX5" fmla="*/ 53022 w 62852"/>
                    <a:gd name="connsiteY5" fmla="*/ 14959 h 49955"/>
                    <a:gd name="connsiteX6" fmla="*/ 47919 w 62852"/>
                    <a:gd name="connsiteY6" fmla="*/ 9855 h 49955"/>
                    <a:gd name="connsiteX7" fmla="*/ 4928 w 62852"/>
                    <a:gd name="connsiteY7" fmla="*/ 9855 h 49955"/>
                    <a:gd name="connsiteX8" fmla="*/ 0 w 62852"/>
                    <a:gd name="connsiteY8" fmla="*/ 4928 h 49955"/>
                    <a:gd name="connsiteX9" fmla="*/ 4928 w 62852"/>
                    <a:gd name="connsiteY9" fmla="*/ 0 h 49955"/>
                    <a:gd name="connsiteX10" fmla="*/ 47919 w 62852"/>
                    <a:gd name="connsiteY10" fmla="*/ 0 h 49955"/>
                    <a:gd name="connsiteX11" fmla="*/ 62853 w 62852"/>
                    <a:gd name="connsiteY11" fmla="*/ 14934 h 49955"/>
                    <a:gd name="connsiteX12" fmla="*/ 62853 w 62852"/>
                    <a:gd name="connsiteY12" fmla="*/ 45002 h 49955"/>
                    <a:gd name="connsiteX13" fmla="*/ 57950 w 62852"/>
                    <a:gd name="connsiteY13" fmla="*/ 49955 h 49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852" h="49955">
                      <a:moveTo>
                        <a:pt x="57950" y="49955"/>
                      </a:moveTo>
                      <a:lnTo>
                        <a:pt x="4928" y="49955"/>
                      </a:lnTo>
                      <a:cubicBezTo>
                        <a:pt x="2212" y="49955"/>
                        <a:pt x="0" y="47743"/>
                        <a:pt x="0" y="45028"/>
                      </a:cubicBezTo>
                      <a:cubicBezTo>
                        <a:pt x="0" y="42312"/>
                        <a:pt x="2212" y="40100"/>
                        <a:pt x="4928" y="40100"/>
                      </a:cubicBezTo>
                      <a:lnTo>
                        <a:pt x="53022" y="40100"/>
                      </a:lnTo>
                      <a:lnTo>
                        <a:pt x="53022" y="14959"/>
                      </a:lnTo>
                      <a:cubicBezTo>
                        <a:pt x="53022" y="10358"/>
                        <a:pt x="49452" y="9855"/>
                        <a:pt x="47919" y="9855"/>
                      </a:cubicBezTo>
                      <a:lnTo>
                        <a:pt x="4928" y="9855"/>
                      </a:lnTo>
                      <a:cubicBezTo>
                        <a:pt x="2212" y="9855"/>
                        <a:pt x="0" y="7643"/>
                        <a:pt x="0" y="4928"/>
                      </a:cubicBezTo>
                      <a:cubicBezTo>
                        <a:pt x="0" y="2212"/>
                        <a:pt x="2212" y="0"/>
                        <a:pt x="4928" y="0"/>
                      </a:cubicBezTo>
                      <a:lnTo>
                        <a:pt x="47919" y="0"/>
                      </a:lnTo>
                      <a:cubicBezTo>
                        <a:pt x="53928" y="0"/>
                        <a:pt x="62853" y="3972"/>
                        <a:pt x="62853" y="14934"/>
                      </a:cubicBezTo>
                      <a:lnTo>
                        <a:pt x="62853" y="45002"/>
                      </a:lnTo>
                      <a:cubicBezTo>
                        <a:pt x="62878" y="47743"/>
                        <a:pt x="60665" y="49955"/>
                        <a:pt x="57950" y="49955"/>
                      </a:cubicBezTo>
                      <a:close/>
                    </a:path>
                  </a:pathLst>
                </a:custGeom>
                <a:solidFill>
                  <a:schemeClr val="accent1"/>
                </a:solidFill>
                <a:ln w="2509" cap="flat">
                  <a:noFill/>
                  <a:prstDash val="solid"/>
                  <a:miter/>
                </a:ln>
              </p:spPr>
              <p:txBody>
                <a:bodyPr rtlCol="0" anchor="ctr"/>
                <a:lstStyle/>
                <a:p>
                  <a:endParaRPr lang="en-GB" dirty="0"/>
                </a:p>
              </p:txBody>
            </p:sp>
          </p:grpSp>
          <p:grpSp>
            <p:nvGrpSpPr>
              <p:cNvPr id="367" name="Grafik 32">
                <a:extLst>
                  <a:ext uri="{FF2B5EF4-FFF2-40B4-BE49-F238E27FC236}">
                    <a16:creationId xmlns:a16="http://schemas.microsoft.com/office/drawing/2014/main" id="{F42BA2F4-D28A-4795-9201-7170C321B2CC}"/>
                  </a:ext>
                </a:extLst>
              </p:cNvPr>
              <p:cNvGrpSpPr/>
              <p:nvPr/>
            </p:nvGrpSpPr>
            <p:grpSpPr>
              <a:xfrm>
                <a:off x="870431" y="1626758"/>
                <a:ext cx="278487" cy="254427"/>
                <a:chOff x="870431" y="1626758"/>
                <a:chExt cx="278487" cy="254427"/>
              </a:xfrm>
              <a:solidFill>
                <a:schemeClr val="accent1"/>
              </a:solidFill>
            </p:grpSpPr>
            <p:sp>
              <p:nvSpPr>
                <p:cNvPr id="368" name="Freihandform: Form 443">
                  <a:extLst>
                    <a:ext uri="{FF2B5EF4-FFF2-40B4-BE49-F238E27FC236}">
                      <a16:creationId xmlns:a16="http://schemas.microsoft.com/office/drawing/2014/main" id="{8F5BA782-D773-4C8C-9761-FBDF24C2DB06}"/>
                    </a:ext>
                  </a:extLst>
                </p:cNvPr>
                <p:cNvSpPr/>
                <p:nvPr/>
              </p:nvSpPr>
              <p:spPr>
                <a:xfrm>
                  <a:off x="870431" y="1626758"/>
                  <a:ext cx="278487" cy="254427"/>
                </a:xfrm>
                <a:custGeom>
                  <a:avLst/>
                  <a:gdLst>
                    <a:gd name="connsiteX0" fmla="*/ 57699 w 278487"/>
                    <a:gd name="connsiteY0" fmla="*/ 254427 h 254427"/>
                    <a:gd name="connsiteX1" fmla="*/ 14959 w 278487"/>
                    <a:gd name="connsiteY1" fmla="*/ 254427 h 254427"/>
                    <a:gd name="connsiteX2" fmla="*/ 0 w 278487"/>
                    <a:gd name="connsiteY2" fmla="*/ 239494 h 254427"/>
                    <a:gd name="connsiteX3" fmla="*/ 0 w 278487"/>
                    <a:gd name="connsiteY3" fmla="*/ 14934 h 254427"/>
                    <a:gd name="connsiteX4" fmla="*/ 14959 w 278487"/>
                    <a:gd name="connsiteY4" fmla="*/ 0 h 254427"/>
                    <a:gd name="connsiteX5" fmla="*/ 263554 w 278487"/>
                    <a:gd name="connsiteY5" fmla="*/ 0 h 254427"/>
                    <a:gd name="connsiteX6" fmla="*/ 278487 w 278487"/>
                    <a:gd name="connsiteY6" fmla="*/ 14934 h 254427"/>
                    <a:gd name="connsiteX7" fmla="*/ 278487 w 278487"/>
                    <a:gd name="connsiteY7" fmla="*/ 91890 h 254427"/>
                    <a:gd name="connsiteX8" fmla="*/ 273560 w 278487"/>
                    <a:gd name="connsiteY8" fmla="*/ 96818 h 254427"/>
                    <a:gd name="connsiteX9" fmla="*/ 268632 w 278487"/>
                    <a:gd name="connsiteY9" fmla="*/ 91890 h 254427"/>
                    <a:gd name="connsiteX10" fmla="*/ 268632 w 278487"/>
                    <a:gd name="connsiteY10" fmla="*/ 14934 h 254427"/>
                    <a:gd name="connsiteX11" fmla="*/ 263478 w 278487"/>
                    <a:gd name="connsiteY11" fmla="*/ 9830 h 254427"/>
                    <a:gd name="connsiteX12" fmla="*/ 14959 w 278487"/>
                    <a:gd name="connsiteY12" fmla="*/ 9830 h 254427"/>
                    <a:gd name="connsiteX13" fmla="*/ 9855 w 278487"/>
                    <a:gd name="connsiteY13" fmla="*/ 14934 h 254427"/>
                    <a:gd name="connsiteX14" fmla="*/ 9855 w 278487"/>
                    <a:gd name="connsiteY14" fmla="*/ 239468 h 254427"/>
                    <a:gd name="connsiteX15" fmla="*/ 15034 w 278487"/>
                    <a:gd name="connsiteY15" fmla="*/ 244572 h 254427"/>
                    <a:gd name="connsiteX16" fmla="*/ 57724 w 278487"/>
                    <a:gd name="connsiteY16" fmla="*/ 244572 h 254427"/>
                    <a:gd name="connsiteX17" fmla="*/ 62651 w 278487"/>
                    <a:gd name="connsiteY17" fmla="*/ 249500 h 254427"/>
                    <a:gd name="connsiteX18" fmla="*/ 57699 w 278487"/>
                    <a:gd name="connsiteY18" fmla="*/ 254427 h 25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8487" h="254427">
                      <a:moveTo>
                        <a:pt x="57699" y="254427"/>
                      </a:moveTo>
                      <a:lnTo>
                        <a:pt x="14959" y="254427"/>
                      </a:lnTo>
                      <a:cubicBezTo>
                        <a:pt x="8950" y="254427"/>
                        <a:pt x="0" y="250455"/>
                        <a:pt x="0" y="239494"/>
                      </a:cubicBezTo>
                      <a:lnTo>
                        <a:pt x="0" y="14934"/>
                      </a:lnTo>
                      <a:cubicBezTo>
                        <a:pt x="0" y="3972"/>
                        <a:pt x="8950" y="0"/>
                        <a:pt x="14959" y="0"/>
                      </a:cubicBezTo>
                      <a:lnTo>
                        <a:pt x="263554" y="0"/>
                      </a:lnTo>
                      <a:cubicBezTo>
                        <a:pt x="269562" y="0"/>
                        <a:pt x="278487" y="3972"/>
                        <a:pt x="278487" y="14934"/>
                      </a:cubicBezTo>
                      <a:lnTo>
                        <a:pt x="278487" y="91890"/>
                      </a:lnTo>
                      <a:cubicBezTo>
                        <a:pt x="278487" y="94606"/>
                        <a:pt x="276275" y="96818"/>
                        <a:pt x="273560" y="96818"/>
                      </a:cubicBezTo>
                      <a:cubicBezTo>
                        <a:pt x="270844" y="96818"/>
                        <a:pt x="268632" y="94606"/>
                        <a:pt x="268632" y="91890"/>
                      </a:cubicBezTo>
                      <a:lnTo>
                        <a:pt x="268632" y="14934"/>
                      </a:lnTo>
                      <a:cubicBezTo>
                        <a:pt x="268632" y="10811"/>
                        <a:pt x="265816" y="9880"/>
                        <a:pt x="263478" y="9830"/>
                      </a:cubicBezTo>
                      <a:lnTo>
                        <a:pt x="14959" y="9830"/>
                      </a:lnTo>
                      <a:cubicBezTo>
                        <a:pt x="12646" y="9880"/>
                        <a:pt x="9855" y="10811"/>
                        <a:pt x="9855" y="14934"/>
                      </a:cubicBezTo>
                      <a:lnTo>
                        <a:pt x="9855" y="239468"/>
                      </a:lnTo>
                      <a:cubicBezTo>
                        <a:pt x="9855" y="243591"/>
                        <a:pt x="12671" y="244522"/>
                        <a:pt x="15034" y="244572"/>
                      </a:cubicBezTo>
                      <a:lnTo>
                        <a:pt x="57724" y="244572"/>
                      </a:lnTo>
                      <a:cubicBezTo>
                        <a:pt x="60439" y="244572"/>
                        <a:pt x="62651" y="246784"/>
                        <a:pt x="62651" y="249500"/>
                      </a:cubicBezTo>
                      <a:cubicBezTo>
                        <a:pt x="62626" y="252215"/>
                        <a:pt x="60414" y="254427"/>
                        <a:pt x="57699" y="254427"/>
                      </a:cubicBezTo>
                      <a:close/>
                    </a:path>
                  </a:pathLst>
                </a:custGeom>
                <a:solidFill>
                  <a:schemeClr val="accent1"/>
                </a:solidFill>
                <a:ln w="2509" cap="flat">
                  <a:noFill/>
                  <a:prstDash val="solid"/>
                  <a:miter/>
                </a:ln>
              </p:spPr>
              <p:txBody>
                <a:bodyPr rtlCol="0" anchor="ctr"/>
                <a:lstStyle/>
                <a:p>
                  <a:endParaRPr lang="en-GB" dirty="0"/>
                </a:p>
              </p:txBody>
            </p:sp>
            <p:sp>
              <p:nvSpPr>
                <p:cNvPr id="369" name="Freihandform: Form 444">
                  <a:extLst>
                    <a:ext uri="{FF2B5EF4-FFF2-40B4-BE49-F238E27FC236}">
                      <a16:creationId xmlns:a16="http://schemas.microsoft.com/office/drawing/2014/main" id="{5D2D93E6-0328-4466-85D5-1956603B6AC1}"/>
                    </a:ext>
                  </a:extLst>
                </p:cNvPr>
                <p:cNvSpPr/>
                <p:nvPr/>
              </p:nvSpPr>
              <p:spPr>
                <a:xfrm>
                  <a:off x="870431" y="1626758"/>
                  <a:ext cx="278487" cy="49930"/>
                </a:xfrm>
                <a:custGeom>
                  <a:avLst/>
                  <a:gdLst>
                    <a:gd name="connsiteX0" fmla="*/ 273585 w 278487"/>
                    <a:gd name="connsiteY0" fmla="*/ 49930 h 49930"/>
                    <a:gd name="connsiteX1" fmla="*/ 4928 w 278487"/>
                    <a:gd name="connsiteY1" fmla="*/ 49930 h 49930"/>
                    <a:gd name="connsiteX2" fmla="*/ 0 w 278487"/>
                    <a:gd name="connsiteY2" fmla="*/ 45002 h 49930"/>
                    <a:gd name="connsiteX3" fmla="*/ 0 w 278487"/>
                    <a:gd name="connsiteY3" fmla="*/ 14934 h 49930"/>
                    <a:gd name="connsiteX4" fmla="*/ 14959 w 278487"/>
                    <a:gd name="connsiteY4" fmla="*/ 0 h 49930"/>
                    <a:gd name="connsiteX5" fmla="*/ 263554 w 278487"/>
                    <a:gd name="connsiteY5" fmla="*/ 0 h 49930"/>
                    <a:gd name="connsiteX6" fmla="*/ 278487 w 278487"/>
                    <a:gd name="connsiteY6" fmla="*/ 14934 h 49930"/>
                    <a:gd name="connsiteX7" fmla="*/ 278487 w 278487"/>
                    <a:gd name="connsiteY7" fmla="*/ 45002 h 49930"/>
                    <a:gd name="connsiteX8" fmla="*/ 273585 w 278487"/>
                    <a:gd name="connsiteY8" fmla="*/ 49930 h 49930"/>
                    <a:gd name="connsiteX9" fmla="*/ 9830 w 278487"/>
                    <a:gd name="connsiteY9" fmla="*/ 40100 h 49930"/>
                    <a:gd name="connsiteX10" fmla="*/ 268657 w 278487"/>
                    <a:gd name="connsiteY10" fmla="*/ 40100 h 49930"/>
                    <a:gd name="connsiteX11" fmla="*/ 268657 w 278487"/>
                    <a:gd name="connsiteY11" fmla="*/ 14959 h 49930"/>
                    <a:gd name="connsiteX12" fmla="*/ 263503 w 278487"/>
                    <a:gd name="connsiteY12" fmla="*/ 9855 h 49930"/>
                    <a:gd name="connsiteX13" fmla="*/ 14959 w 278487"/>
                    <a:gd name="connsiteY13" fmla="*/ 9855 h 49930"/>
                    <a:gd name="connsiteX14" fmla="*/ 9855 w 278487"/>
                    <a:gd name="connsiteY14" fmla="*/ 14959 h 49930"/>
                    <a:gd name="connsiteX15" fmla="*/ 9855 w 278487"/>
                    <a:gd name="connsiteY15" fmla="*/ 40100 h 49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8487" h="49930">
                      <a:moveTo>
                        <a:pt x="273585" y="49930"/>
                      </a:moveTo>
                      <a:lnTo>
                        <a:pt x="4928" y="49930"/>
                      </a:lnTo>
                      <a:cubicBezTo>
                        <a:pt x="2212" y="49930"/>
                        <a:pt x="0" y="47718"/>
                        <a:pt x="0" y="45002"/>
                      </a:cubicBezTo>
                      <a:lnTo>
                        <a:pt x="0" y="14934"/>
                      </a:lnTo>
                      <a:cubicBezTo>
                        <a:pt x="0" y="3972"/>
                        <a:pt x="8950" y="0"/>
                        <a:pt x="14959" y="0"/>
                      </a:cubicBezTo>
                      <a:lnTo>
                        <a:pt x="263554" y="0"/>
                      </a:lnTo>
                      <a:cubicBezTo>
                        <a:pt x="269562" y="0"/>
                        <a:pt x="278487" y="3972"/>
                        <a:pt x="278487" y="14934"/>
                      </a:cubicBezTo>
                      <a:lnTo>
                        <a:pt x="278487" y="45002"/>
                      </a:lnTo>
                      <a:cubicBezTo>
                        <a:pt x="278487" y="47718"/>
                        <a:pt x="276300" y="49930"/>
                        <a:pt x="273585" y="49930"/>
                      </a:cubicBezTo>
                      <a:close/>
                      <a:moveTo>
                        <a:pt x="9830" y="40100"/>
                      </a:moveTo>
                      <a:lnTo>
                        <a:pt x="268657" y="40100"/>
                      </a:lnTo>
                      <a:lnTo>
                        <a:pt x="268657" y="14959"/>
                      </a:lnTo>
                      <a:cubicBezTo>
                        <a:pt x="268657" y="10836"/>
                        <a:pt x="265841" y="9906"/>
                        <a:pt x="263503" y="9855"/>
                      </a:cubicBezTo>
                      <a:lnTo>
                        <a:pt x="14959" y="9855"/>
                      </a:lnTo>
                      <a:cubicBezTo>
                        <a:pt x="12646" y="9906"/>
                        <a:pt x="9855" y="10836"/>
                        <a:pt x="9855" y="14959"/>
                      </a:cubicBezTo>
                      <a:lnTo>
                        <a:pt x="9855" y="40100"/>
                      </a:lnTo>
                      <a:close/>
                    </a:path>
                  </a:pathLst>
                </a:custGeom>
                <a:solidFill>
                  <a:schemeClr val="accent1"/>
                </a:solidFill>
                <a:ln w="2509" cap="flat">
                  <a:noFill/>
                  <a:prstDash val="solid"/>
                  <a:miter/>
                </a:ln>
              </p:spPr>
              <p:txBody>
                <a:bodyPr rtlCol="0" anchor="ctr"/>
                <a:lstStyle/>
                <a:p>
                  <a:endParaRPr lang="en-GB" dirty="0"/>
                </a:p>
              </p:txBody>
            </p:sp>
          </p:grpSp>
        </p:grpSp>
        <p:grpSp>
          <p:nvGrpSpPr>
            <p:cNvPr id="355" name="Group 354">
              <a:extLst>
                <a:ext uri="{FF2B5EF4-FFF2-40B4-BE49-F238E27FC236}">
                  <a16:creationId xmlns:a16="http://schemas.microsoft.com/office/drawing/2014/main" id="{E4935BC0-74AF-4019-BCBB-C416032F9639}"/>
                </a:ext>
              </a:extLst>
            </p:cNvPr>
            <p:cNvGrpSpPr/>
            <p:nvPr/>
          </p:nvGrpSpPr>
          <p:grpSpPr>
            <a:xfrm>
              <a:off x="6103668" y="1681374"/>
              <a:ext cx="304129" cy="277672"/>
              <a:chOff x="941580" y="1734261"/>
              <a:chExt cx="342747" cy="312930"/>
            </a:xfrm>
            <a:solidFill>
              <a:schemeClr val="tx2"/>
            </a:solidFill>
          </p:grpSpPr>
          <p:grpSp>
            <p:nvGrpSpPr>
              <p:cNvPr id="356" name="Grafik 32">
                <a:extLst>
                  <a:ext uri="{FF2B5EF4-FFF2-40B4-BE49-F238E27FC236}">
                    <a16:creationId xmlns:a16="http://schemas.microsoft.com/office/drawing/2014/main" id="{F33287E9-FBC2-486F-8782-5A88072CC321}"/>
                  </a:ext>
                </a:extLst>
              </p:cNvPr>
              <p:cNvGrpSpPr/>
              <p:nvPr/>
            </p:nvGrpSpPr>
            <p:grpSpPr>
              <a:xfrm>
                <a:off x="941580" y="1734261"/>
                <a:ext cx="342747" cy="312930"/>
                <a:chOff x="941580" y="1734261"/>
                <a:chExt cx="342747" cy="312930"/>
              </a:xfrm>
              <a:grpFill/>
            </p:grpSpPr>
            <p:sp>
              <p:nvSpPr>
                <p:cNvPr id="364" name="Freihandform: Form 437">
                  <a:extLst>
                    <a:ext uri="{FF2B5EF4-FFF2-40B4-BE49-F238E27FC236}">
                      <a16:creationId xmlns:a16="http://schemas.microsoft.com/office/drawing/2014/main" id="{D078A7A2-4652-4410-B078-D5AB01CD18A1}"/>
                    </a:ext>
                  </a:extLst>
                </p:cNvPr>
                <p:cNvSpPr/>
                <p:nvPr/>
              </p:nvSpPr>
              <p:spPr>
                <a:xfrm>
                  <a:off x="941580" y="1734261"/>
                  <a:ext cx="342747" cy="312930"/>
                </a:xfrm>
                <a:custGeom>
                  <a:avLst/>
                  <a:gdLst>
                    <a:gd name="connsiteX0" fmla="*/ 325400 w 342747"/>
                    <a:gd name="connsiteY0" fmla="*/ 312930 h 312930"/>
                    <a:gd name="connsiteX1" fmla="*/ 17347 w 342747"/>
                    <a:gd name="connsiteY1" fmla="*/ 312930 h 312930"/>
                    <a:gd name="connsiteX2" fmla="*/ 0 w 342747"/>
                    <a:gd name="connsiteY2" fmla="*/ 295583 h 312930"/>
                    <a:gd name="connsiteX3" fmla="*/ 0 w 342747"/>
                    <a:gd name="connsiteY3" fmla="*/ 17347 h 312930"/>
                    <a:gd name="connsiteX4" fmla="*/ 17347 w 342747"/>
                    <a:gd name="connsiteY4" fmla="*/ 0 h 312930"/>
                    <a:gd name="connsiteX5" fmla="*/ 325400 w 342747"/>
                    <a:gd name="connsiteY5" fmla="*/ 0 h 312930"/>
                    <a:gd name="connsiteX6" fmla="*/ 342748 w 342747"/>
                    <a:gd name="connsiteY6" fmla="*/ 17347 h 312930"/>
                    <a:gd name="connsiteX7" fmla="*/ 342748 w 342747"/>
                    <a:gd name="connsiteY7" fmla="*/ 295583 h 312930"/>
                    <a:gd name="connsiteX8" fmla="*/ 325400 w 342747"/>
                    <a:gd name="connsiteY8" fmla="*/ 312930 h 312930"/>
                    <a:gd name="connsiteX9" fmla="*/ 17347 w 342747"/>
                    <a:gd name="connsiteY9" fmla="*/ 9855 h 312930"/>
                    <a:gd name="connsiteX10" fmla="*/ 9830 w 342747"/>
                    <a:gd name="connsiteY10" fmla="*/ 17372 h 312930"/>
                    <a:gd name="connsiteX11" fmla="*/ 9830 w 342747"/>
                    <a:gd name="connsiteY11" fmla="*/ 295608 h 312930"/>
                    <a:gd name="connsiteX12" fmla="*/ 17347 w 342747"/>
                    <a:gd name="connsiteY12" fmla="*/ 303125 h 312930"/>
                    <a:gd name="connsiteX13" fmla="*/ 325375 w 342747"/>
                    <a:gd name="connsiteY13" fmla="*/ 303125 h 312930"/>
                    <a:gd name="connsiteX14" fmla="*/ 332918 w 342747"/>
                    <a:gd name="connsiteY14" fmla="*/ 295608 h 312930"/>
                    <a:gd name="connsiteX15" fmla="*/ 332918 w 342747"/>
                    <a:gd name="connsiteY15" fmla="*/ 17347 h 312930"/>
                    <a:gd name="connsiteX16" fmla="*/ 325426 w 342747"/>
                    <a:gd name="connsiteY16" fmla="*/ 9830 h 312930"/>
                    <a:gd name="connsiteX17" fmla="*/ 17347 w 342747"/>
                    <a:gd name="connsiteY17" fmla="*/ 9830 h 312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2747" h="312930">
                      <a:moveTo>
                        <a:pt x="325400" y="312930"/>
                      </a:moveTo>
                      <a:lnTo>
                        <a:pt x="17347" y="312930"/>
                      </a:lnTo>
                      <a:cubicBezTo>
                        <a:pt x="10383" y="312930"/>
                        <a:pt x="0" y="308305"/>
                        <a:pt x="0" y="295583"/>
                      </a:cubicBezTo>
                      <a:lnTo>
                        <a:pt x="0" y="17347"/>
                      </a:lnTo>
                      <a:cubicBezTo>
                        <a:pt x="0" y="4626"/>
                        <a:pt x="10383" y="0"/>
                        <a:pt x="17347" y="0"/>
                      </a:cubicBezTo>
                      <a:lnTo>
                        <a:pt x="325400" y="0"/>
                      </a:lnTo>
                      <a:cubicBezTo>
                        <a:pt x="332365" y="0"/>
                        <a:pt x="342748" y="4626"/>
                        <a:pt x="342748" y="17347"/>
                      </a:cubicBezTo>
                      <a:lnTo>
                        <a:pt x="342748" y="295583"/>
                      </a:lnTo>
                      <a:cubicBezTo>
                        <a:pt x="342748" y="308330"/>
                        <a:pt x="332365" y="312930"/>
                        <a:pt x="325400" y="312930"/>
                      </a:cubicBezTo>
                      <a:close/>
                      <a:moveTo>
                        <a:pt x="17347" y="9855"/>
                      </a:moveTo>
                      <a:cubicBezTo>
                        <a:pt x="15110" y="9906"/>
                        <a:pt x="9830" y="10710"/>
                        <a:pt x="9830" y="17372"/>
                      </a:cubicBezTo>
                      <a:lnTo>
                        <a:pt x="9830" y="295608"/>
                      </a:lnTo>
                      <a:cubicBezTo>
                        <a:pt x="9830" y="302748"/>
                        <a:pt x="16090" y="303125"/>
                        <a:pt x="17347" y="303125"/>
                      </a:cubicBezTo>
                      <a:lnTo>
                        <a:pt x="325375" y="303125"/>
                      </a:lnTo>
                      <a:cubicBezTo>
                        <a:pt x="327663" y="303075"/>
                        <a:pt x="332918" y="302246"/>
                        <a:pt x="332918" y="295608"/>
                      </a:cubicBezTo>
                      <a:lnTo>
                        <a:pt x="332918" y="17347"/>
                      </a:lnTo>
                      <a:cubicBezTo>
                        <a:pt x="332918" y="10207"/>
                        <a:pt x="326658" y="9830"/>
                        <a:pt x="325426" y="9830"/>
                      </a:cubicBezTo>
                      <a:lnTo>
                        <a:pt x="17347" y="9830"/>
                      </a:lnTo>
                      <a:close/>
                    </a:path>
                  </a:pathLst>
                </a:custGeom>
                <a:grpFill/>
                <a:ln w="2509" cap="flat">
                  <a:noFill/>
                  <a:prstDash val="solid"/>
                  <a:miter/>
                </a:ln>
              </p:spPr>
              <p:txBody>
                <a:bodyPr rtlCol="0" anchor="ctr"/>
                <a:lstStyle/>
                <a:p>
                  <a:endParaRPr lang="en-GB" dirty="0"/>
                </a:p>
              </p:txBody>
            </p:sp>
            <p:sp>
              <p:nvSpPr>
                <p:cNvPr id="365" name="Freihandform: Form 438">
                  <a:extLst>
                    <a:ext uri="{FF2B5EF4-FFF2-40B4-BE49-F238E27FC236}">
                      <a16:creationId xmlns:a16="http://schemas.microsoft.com/office/drawing/2014/main" id="{22313226-0A5C-4B6A-BC27-C5346192D6D6}"/>
                    </a:ext>
                  </a:extLst>
                </p:cNvPr>
                <p:cNvSpPr/>
                <p:nvPr/>
              </p:nvSpPr>
              <p:spPr>
                <a:xfrm>
                  <a:off x="941580" y="1734261"/>
                  <a:ext cx="342747" cy="59533"/>
                </a:xfrm>
                <a:custGeom>
                  <a:avLst/>
                  <a:gdLst>
                    <a:gd name="connsiteX0" fmla="*/ 337820 w 342747"/>
                    <a:gd name="connsiteY0" fmla="*/ 59534 h 59533"/>
                    <a:gd name="connsiteX1" fmla="*/ 4928 w 342747"/>
                    <a:gd name="connsiteY1" fmla="*/ 59534 h 59533"/>
                    <a:gd name="connsiteX2" fmla="*/ 0 w 342747"/>
                    <a:gd name="connsiteY2" fmla="*/ 54606 h 59533"/>
                    <a:gd name="connsiteX3" fmla="*/ 0 w 342747"/>
                    <a:gd name="connsiteY3" fmla="*/ 17347 h 59533"/>
                    <a:gd name="connsiteX4" fmla="*/ 17347 w 342747"/>
                    <a:gd name="connsiteY4" fmla="*/ 0 h 59533"/>
                    <a:gd name="connsiteX5" fmla="*/ 325400 w 342747"/>
                    <a:gd name="connsiteY5" fmla="*/ 0 h 59533"/>
                    <a:gd name="connsiteX6" fmla="*/ 342748 w 342747"/>
                    <a:gd name="connsiteY6" fmla="*/ 17347 h 59533"/>
                    <a:gd name="connsiteX7" fmla="*/ 342748 w 342747"/>
                    <a:gd name="connsiteY7" fmla="*/ 54606 h 59533"/>
                    <a:gd name="connsiteX8" fmla="*/ 337820 w 342747"/>
                    <a:gd name="connsiteY8" fmla="*/ 59534 h 59533"/>
                    <a:gd name="connsiteX9" fmla="*/ 9830 w 342747"/>
                    <a:gd name="connsiteY9" fmla="*/ 49704 h 59533"/>
                    <a:gd name="connsiteX10" fmla="*/ 332893 w 342747"/>
                    <a:gd name="connsiteY10" fmla="*/ 49704 h 59533"/>
                    <a:gd name="connsiteX11" fmla="*/ 332893 w 342747"/>
                    <a:gd name="connsiteY11" fmla="*/ 17347 h 59533"/>
                    <a:gd name="connsiteX12" fmla="*/ 325400 w 342747"/>
                    <a:gd name="connsiteY12" fmla="*/ 9830 h 59533"/>
                    <a:gd name="connsiteX13" fmla="*/ 17347 w 342747"/>
                    <a:gd name="connsiteY13" fmla="*/ 9830 h 59533"/>
                    <a:gd name="connsiteX14" fmla="*/ 9830 w 342747"/>
                    <a:gd name="connsiteY14" fmla="*/ 17347 h 59533"/>
                    <a:gd name="connsiteX15" fmla="*/ 9830 w 342747"/>
                    <a:gd name="connsiteY15" fmla="*/ 49704 h 59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2747" h="59533">
                      <a:moveTo>
                        <a:pt x="337820" y="59534"/>
                      </a:moveTo>
                      <a:lnTo>
                        <a:pt x="4928" y="59534"/>
                      </a:lnTo>
                      <a:cubicBezTo>
                        <a:pt x="2212" y="59534"/>
                        <a:pt x="0" y="57322"/>
                        <a:pt x="0" y="54606"/>
                      </a:cubicBezTo>
                      <a:lnTo>
                        <a:pt x="0" y="17347"/>
                      </a:lnTo>
                      <a:cubicBezTo>
                        <a:pt x="0" y="4626"/>
                        <a:pt x="10383" y="0"/>
                        <a:pt x="17347" y="0"/>
                      </a:cubicBezTo>
                      <a:lnTo>
                        <a:pt x="325400" y="0"/>
                      </a:lnTo>
                      <a:cubicBezTo>
                        <a:pt x="332365" y="0"/>
                        <a:pt x="342748" y="4626"/>
                        <a:pt x="342748" y="17347"/>
                      </a:cubicBezTo>
                      <a:lnTo>
                        <a:pt x="342748" y="54606"/>
                      </a:lnTo>
                      <a:cubicBezTo>
                        <a:pt x="342748" y="57322"/>
                        <a:pt x="340535" y="59534"/>
                        <a:pt x="337820" y="59534"/>
                      </a:cubicBezTo>
                      <a:close/>
                      <a:moveTo>
                        <a:pt x="9830" y="49704"/>
                      </a:moveTo>
                      <a:lnTo>
                        <a:pt x="332893" y="49704"/>
                      </a:lnTo>
                      <a:lnTo>
                        <a:pt x="332893" y="17347"/>
                      </a:lnTo>
                      <a:cubicBezTo>
                        <a:pt x="332893" y="10207"/>
                        <a:pt x="326632" y="9830"/>
                        <a:pt x="325400" y="9830"/>
                      </a:cubicBezTo>
                      <a:lnTo>
                        <a:pt x="17347" y="9830"/>
                      </a:lnTo>
                      <a:cubicBezTo>
                        <a:pt x="15110" y="9880"/>
                        <a:pt x="9830" y="10685"/>
                        <a:pt x="9830" y="17347"/>
                      </a:cubicBezTo>
                      <a:lnTo>
                        <a:pt x="9830" y="49704"/>
                      </a:lnTo>
                      <a:close/>
                    </a:path>
                  </a:pathLst>
                </a:custGeom>
                <a:grpFill/>
                <a:ln w="2509" cap="flat">
                  <a:noFill/>
                  <a:prstDash val="solid"/>
                  <a:miter/>
                </a:ln>
              </p:spPr>
              <p:txBody>
                <a:bodyPr rtlCol="0" anchor="ctr"/>
                <a:lstStyle/>
                <a:p>
                  <a:endParaRPr lang="en-GB" dirty="0"/>
                </a:p>
              </p:txBody>
            </p:sp>
          </p:grpSp>
          <p:grpSp>
            <p:nvGrpSpPr>
              <p:cNvPr id="357" name="Grafik 32">
                <a:extLst>
                  <a:ext uri="{FF2B5EF4-FFF2-40B4-BE49-F238E27FC236}">
                    <a16:creationId xmlns:a16="http://schemas.microsoft.com/office/drawing/2014/main" id="{0539C010-549E-498B-8DCA-5480D8E58314}"/>
                  </a:ext>
                </a:extLst>
              </p:cNvPr>
              <p:cNvGrpSpPr/>
              <p:nvPr/>
            </p:nvGrpSpPr>
            <p:grpSpPr>
              <a:xfrm>
                <a:off x="1038828" y="1870229"/>
                <a:ext cx="151471" cy="82507"/>
                <a:chOff x="1038828" y="1870229"/>
                <a:chExt cx="151471" cy="82507"/>
              </a:xfrm>
              <a:grpFill/>
            </p:grpSpPr>
            <p:sp>
              <p:nvSpPr>
                <p:cNvPr id="361" name="Freihandform: Form 446">
                  <a:extLst>
                    <a:ext uri="{FF2B5EF4-FFF2-40B4-BE49-F238E27FC236}">
                      <a16:creationId xmlns:a16="http://schemas.microsoft.com/office/drawing/2014/main" id="{95200F08-ED15-481E-A739-69F32B05FAD9}"/>
                    </a:ext>
                  </a:extLst>
                </p:cNvPr>
                <p:cNvSpPr/>
                <p:nvPr/>
              </p:nvSpPr>
              <p:spPr>
                <a:xfrm>
                  <a:off x="1038828" y="1870261"/>
                  <a:ext cx="45772" cy="82450"/>
                </a:xfrm>
                <a:custGeom>
                  <a:avLst/>
                  <a:gdLst>
                    <a:gd name="connsiteX0" fmla="*/ 11637 w 45772"/>
                    <a:gd name="connsiteY0" fmla="*/ 41269 h 82450"/>
                    <a:gd name="connsiteX1" fmla="*/ 44547 w 45772"/>
                    <a:gd name="connsiteY1" fmla="*/ 8234 h 82450"/>
                    <a:gd name="connsiteX2" fmla="*/ 44446 w 45772"/>
                    <a:gd name="connsiteY2" fmla="*/ 1320 h 82450"/>
                    <a:gd name="connsiteX3" fmla="*/ 37533 w 45772"/>
                    <a:gd name="connsiteY3" fmla="*/ 1320 h 82450"/>
                    <a:gd name="connsiteX4" fmla="*/ 1103 w 45772"/>
                    <a:gd name="connsiteY4" fmla="*/ 38202 h 82450"/>
                    <a:gd name="connsiteX5" fmla="*/ 475 w 45772"/>
                    <a:gd name="connsiteY5" fmla="*/ 39182 h 82450"/>
                    <a:gd name="connsiteX6" fmla="*/ 324 w 45772"/>
                    <a:gd name="connsiteY6" fmla="*/ 39610 h 82450"/>
                    <a:gd name="connsiteX7" fmla="*/ 98 w 45772"/>
                    <a:gd name="connsiteY7" fmla="*/ 40414 h 82450"/>
                    <a:gd name="connsiteX8" fmla="*/ 73 w 45772"/>
                    <a:gd name="connsiteY8" fmla="*/ 41948 h 82450"/>
                    <a:gd name="connsiteX9" fmla="*/ 198 w 45772"/>
                    <a:gd name="connsiteY9" fmla="*/ 42677 h 82450"/>
                    <a:gd name="connsiteX10" fmla="*/ 374 w 45772"/>
                    <a:gd name="connsiteY10" fmla="*/ 43205 h 82450"/>
                    <a:gd name="connsiteX11" fmla="*/ 726 w 45772"/>
                    <a:gd name="connsiteY11" fmla="*/ 43833 h 82450"/>
                    <a:gd name="connsiteX12" fmla="*/ 1556 w 45772"/>
                    <a:gd name="connsiteY12" fmla="*/ 44764 h 82450"/>
                    <a:gd name="connsiteX13" fmla="*/ 37533 w 45772"/>
                    <a:gd name="connsiteY13" fmla="*/ 80967 h 82450"/>
                    <a:gd name="connsiteX14" fmla="*/ 40927 w 45772"/>
                    <a:gd name="connsiteY14" fmla="*/ 82450 h 82450"/>
                    <a:gd name="connsiteX15" fmla="*/ 44497 w 45772"/>
                    <a:gd name="connsiteY15" fmla="*/ 80916 h 82450"/>
                    <a:gd name="connsiteX16" fmla="*/ 44446 w 45772"/>
                    <a:gd name="connsiteY16" fmla="*/ 74304 h 82450"/>
                    <a:gd name="connsiteX17" fmla="*/ 11637 w 45772"/>
                    <a:gd name="connsiteY17" fmla="*/ 41269 h 82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772" h="82450">
                      <a:moveTo>
                        <a:pt x="11637" y="41269"/>
                      </a:moveTo>
                      <a:lnTo>
                        <a:pt x="44547" y="8234"/>
                      </a:lnTo>
                      <a:cubicBezTo>
                        <a:pt x="46156" y="6298"/>
                        <a:pt x="46156" y="3382"/>
                        <a:pt x="44446" y="1320"/>
                      </a:cubicBezTo>
                      <a:cubicBezTo>
                        <a:pt x="42687" y="-415"/>
                        <a:pt x="39494" y="-465"/>
                        <a:pt x="37533" y="1320"/>
                      </a:cubicBezTo>
                      <a:lnTo>
                        <a:pt x="1103" y="38202"/>
                      </a:lnTo>
                      <a:cubicBezTo>
                        <a:pt x="802" y="38504"/>
                        <a:pt x="626" y="38881"/>
                        <a:pt x="475" y="39182"/>
                      </a:cubicBezTo>
                      <a:lnTo>
                        <a:pt x="324" y="39610"/>
                      </a:lnTo>
                      <a:cubicBezTo>
                        <a:pt x="249" y="39836"/>
                        <a:pt x="148" y="40087"/>
                        <a:pt x="98" y="40414"/>
                      </a:cubicBezTo>
                      <a:cubicBezTo>
                        <a:pt x="-28" y="40917"/>
                        <a:pt x="-28" y="41445"/>
                        <a:pt x="73" y="41948"/>
                      </a:cubicBezTo>
                      <a:cubicBezTo>
                        <a:pt x="73" y="42149"/>
                        <a:pt x="123" y="42375"/>
                        <a:pt x="198" y="42677"/>
                      </a:cubicBezTo>
                      <a:cubicBezTo>
                        <a:pt x="223" y="42828"/>
                        <a:pt x="274" y="43004"/>
                        <a:pt x="374" y="43205"/>
                      </a:cubicBezTo>
                      <a:lnTo>
                        <a:pt x="726" y="43833"/>
                      </a:lnTo>
                      <a:cubicBezTo>
                        <a:pt x="927" y="44160"/>
                        <a:pt x="1204" y="44437"/>
                        <a:pt x="1556" y="44764"/>
                      </a:cubicBezTo>
                      <a:lnTo>
                        <a:pt x="37533" y="80967"/>
                      </a:lnTo>
                      <a:cubicBezTo>
                        <a:pt x="38488" y="81922"/>
                        <a:pt x="39695" y="82450"/>
                        <a:pt x="40927" y="82450"/>
                      </a:cubicBezTo>
                      <a:cubicBezTo>
                        <a:pt x="42385" y="82450"/>
                        <a:pt x="43692" y="81872"/>
                        <a:pt x="44497" y="80916"/>
                      </a:cubicBezTo>
                      <a:cubicBezTo>
                        <a:pt x="46206" y="79031"/>
                        <a:pt x="46206" y="76215"/>
                        <a:pt x="44446" y="74304"/>
                      </a:cubicBezTo>
                      <a:lnTo>
                        <a:pt x="11637" y="41269"/>
                      </a:lnTo>
                      <a:close/>
                    </a:path>
                  </a:pathLst>
                </a:custGeom>
                <a:grpFill/>
                <a:ln w="2509" cap="flat">
                  <a:noFill/>
                  <a:prstDash val="solid"/>
                  <a:miter/>
                </a:ln>
              </p:spPr>
              <p:txBody>
                <a:bodyPr rtlCol="0" anchor="ctr"/>
                <a:lstStyle/>
                <a:p>
                  <a:endParaRPr lang="en-GB" dirty="0"/>
                </a:p>
              </p:txBody>
            </p:sp>
            <p:sp>
              <p:nvSpPr>
                <p:cNvPr id="362" name="Freihandform: Form 447">
                  <a:extLst>
                    <a:ext uri="{FF2B5EF4-FFF2-40B4-BE49-F238E27FC236}">
                      <a16:creationId xmlns:a16="http://schemas.microsoft.com/office/drawing/2014/main" id="{62F12283-7C30-4122-81F2-70B2EEC9A1D6}"/>
                    </a:ext>
                  </a:extLst>
                </p:cNvPr>
                <p:cNvSpPr/>
                <p:nvPr/>
              </p:nvSpPr>
              <p:spPr>
                <a:xfrm>
                  <a:off x="1144600" y="1870248"/>
                  <a:ext cx="45700" cy="82462"/>
                </a:xfrm>
                <a:custGeom>
                  <a:avLst/>
                  <a:gdLst>
                    <a:gd name="connsiteX0" fmla="*/ 44192 w 45700"/>
                    <a:gd name="connsiteY0" fmla="*/ 37787 h 82462"/>
                    <a:gd name="connsiteX1" fmla="*/ 8139 w 45700"/>
                    <a:gd name="connsiteY1" fmla="*/ 1282 h 82462"/>
                    <a:gd name="connsiteX2" fmla="*/ 1201 w 45700"/>
                    <a:gd name="connsiteY2" fmla="*/ 1433 h 82462"/>
                    <a:gd name="connsiteX3" fmla="*/ 1301 w 45700"/>
                    <a:gd name="connsiteY3" fmla="*/ 8347 h 82462"/>
                    <a:gd name="connsiteX4" fmla="*/ 34135 w 45700"/>
                    <a:gd name="connsiteY4" fmla="*/ 41282 h 82462"/>
                    <a:gd name="connsiteX5" fmla="*/ 1276 w 45700"/>
                    <a:gd name="connsiteY5" fmla="*/ 74367 h 82462"/>
                    <a:gd name="connsiteX6" fmla="*/ 1326 w 45700"/>
                    <a:gd name="connsiteY6" fmla="*/ 80979 h 82462"/>
                    <a:gd name="connsiteX7" fmla="*/ 4846 w 45700"/>
                    <a:gd name="connsiteY7" fmla="*/ 82463 h 82462"/>
                    <a:gd name="connsiteX8" fmla="*/ 8240 w 45700"/>
                    <a:gd name="connsiteY8" fmla="*/ 80979 h 82462"/>
                    <a:gd name="connsiteX9" fmla="*/ 44167 w 45700"/>
                    <a:gd name="connsiteY9" fmla="*/ 44801 h 82462"/>
                    <a:gd name="connsiteX10" fmla="*/ 45021 w 45700"/>
                    <a:gd name="connsiteY10" fmla="*/ 44198 h 82462"/>
                    <a:gd name="connsiteX11" fmla="*/ 45021 w 45700"/>
                    <a:gd name="connsiteY11" fmla="*/ 43796 h 82462"/>
                    <a:gd name="connsiteX12" fmla="*/ 45700 w 45700"/>
                    <a:gd name="connsiteY12" fmla="*/ 41257 h 82462"/>
                    <a:gd name="connsiteX13" fmla="*/ 44192 w 45700"/>
                    <a:gd name="connsiteY13" fmla="*/ 37787 h 82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700" h="82462">
                      <a:moveTo>
                        <a:pt x="44192" y="37787"/>
                      </a:moveTo>
                      <a:lnTo>
                        <a:pt x="8139" y="1282"/>
                      </a:lnTo>
                      <a:cubicBezTo>
                        <a:pt x="6279" y="-402"/>
                        <a:pt x="3111" y="-503"/>
                        <a:pt x="1201" y="1433"/>
                      </a:cubicBezTo>
                      <a:cubicBezTo>
                        <a:pt x="-408" y="3369"/>
                        <a:pt x="-408" y="6310"/>
                        <a:pt x="1301" y="8347"/>
                      </a:cubicBezTo>
                      <a:lnTo>
                        <a:pt x="34135" y="41282"/>
                      </a:lnTo>
                      <a:lnTo>
                        <a:pt x="1276" y="74367"/>
                      </a:lnTo>
                      <a:cubicBezTo>
                        <a:pt x="-434" y="76253"/>
                        <a:pt x="-434" y="79069"/>
                        <a:pt x="1326" y="80979"/>
                      </a:cubicBezTo>
                      <a:cubicBezTo>
                        <a:pt x="2307" y="81960"/>
                        <a:pt x="3514" y="82463"/>
                        <a:pt x="4846" y="82463"/>
                      </a:cubicBezTo>
                      <a:cubicBezTo>
                        <a:pt x="6178" y="82463"/>
                        <a:pt x="7511" y="81859"/>
                        <a:pt x="8240" y="80979"/>
                      </a:cubicBezTo>
                      <a:lnTo>
                        <a:pt x="44167" y="44801"/>
                      </a:lnTo>
                      <a:lnTo>
                        <a:pt x="45021" y="44198"/>
                      </a:lnTo>
                      <a:lnTo>
                        <a:pt x="45021" y="43796"/>
                      </a:lnTo>
                      <a:cubicBezTo>
                        <a:pt x="45449" y="43067"/>
                        <a:pt x="45700" y="42136"/>
                        <a:pt x="45700" y="41257"/>
                      </a:cubicBezTo>
                      <a:cubicBezTo>
                        <a:pt x="45675" y="40025"/>
                        <a:pt x="45147" y="38742"/>
                        <a:pt x="44192" y="37787"/>
                      </a:cubicBezTo>
                      <a:close/>
                    </a:path>
                  </a:pathLst>
                </a:custGeom>
                <a:grpFill/>
                <a:ln w="2509" cap="flat">
                  <a:noFill/>
                  <a:prstDash val="solid"/>
                  <a:miter/>
                </a:ln>
              </p:spPr>
              <p:txBody>
                <a:bodyPr rtlCol="0" anchor="ctr"/>
                <a:lstStyle/>
                <a:p>
                  <a:endParaRPr lang="en-GB" dirty="0"/>
                </a:p>
              </p:txBody>
            </p:sp>
            <p:sp>
              <p:nvSpPr>
                <p:cNvPr id="363" name="Freihandform: Form 448">
                  <a:extLst>
                    <a:ext uri="{FF2B5EF4-FFF2-40B4-BE49-F238E27FC236}">
                      <a16:creationId xmlns:a16="http://schemas.microsoft.com/office/drawing/2014/main" id="{061A3A1A-8AA2-4851-9DB2-F1BC5DC3E46B}"/>
                    </a:ext>
                  </a:extLst>
                </p:cNvPr>
                <p:cNvSpPr/>
                <p:nvPr/>
              </p:nvSpPr>
              <p:spPr>
                <a:xfrm>
                  <a:off x="1095465" y="1870229"/>
                  <a:ext cx="39860" cy="82507"/>
                </a:xfrm>
                <a:custGeom>
                  <a:avLst/>
                  <a:gdLst>
                    <a:gd name="connsiteX0" fmla="*/ 37061 w 39860"/>
                    <a:gd name="connsiteY0" fmla="*/ 296 h 82507"/>
                    <a:gd name="connsiteX1" fmla="*/ 31404 w 39860"/>
                    <a:gd name="connsiteY1" fmla="*/ 2634 h 82507"/>
                    <a:gd name="connsiteX2" fmla="*/ 305 w 39860"/>
                    <a:gd name="connsiteY2" fmla="*/ 76474 h 82507"/>
                    <a:gd name="connsiteX3" fmla="*/ 2769 w 39860"/>
                    <a:gd name="connsiteY3" fmla="*/ 82306 h 82507"/>
                    <a:gd name="connsiteX4" fmla="*/ 4403 w 39860"/>
                    <a:gd name="connsiteY4" fmla="*/ 82507 h 82507"/>
                    <a:gd name="connsiteX5" fmla="*/ 8375 w 39860"/>
                    <a:gd name="connsiteY5" fmla="*/ 79842 h 82507"/>
                    <a:gd name="connsiteX6" fmla="*/ 39450 w 39860"/>
                    <a:gd name="connsiteY6" fmla="*/ 6104 h 82507"/>
                    <a:gd name="connsiteX7" fmla="*/ 39550 w 39860"/>
                    <a:gd name="connsiteY7" fmla="*/ 2685 h 82507"/>
                    <a:gd name="connsiteX8" fmla="*/ 37061 w 39860"/>
                    <a:gd name="connsiteY8" fmla="*/ 296 h 8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860" h="82507">
                      <a:moveTo>
                        <a:pt x="37061" y="296"/>
                      </a:moveTo>
                      <a:cubicBezTo>
                        <a:pt x="34899" y="-533"/>
                        <a:pt x="32485" y="422"/>
                        <a:pt x="31404" y="2634"/>
                      </a:cubicBezTo>
                      <a:lnTo>
                        <a:pt x="305" y="76474"/>
                      </a:lnTo>
                      <a:cubicBezTo>
                        <a:pt x="-550" y="78686"/>
                        <a:pt x="431" y="81150"/>
                        <a:pt x="2769" y="82306"/>
                      </a:cubicBezTo>
                      <a:cubicBezTo>
                        <a:pt x="3347" y="82507"/>
                        <a:pt x="3900" y="82507"/>
                        <a:pt x="4403" y="82507"/>
                      </a:cubicBezTo>
                      <a:cubicBezTo>
                        <a:pt x="6163" y="82507"/>
                        <a:pt x="7722" y="81451"/>
                        <a:pt x="8375" y="79842"/>
                      </a:cubicBezTo>
                      <a:lnTo>
                        <a:pt x="39450" y="6104"/>
                      </a:lnTo>
                      <a:cubicBezTo>
                        <a:pt x="39952" y="4998"/>
                        <a:pt x="40003" y="3791"/>
                        <a:pt x="39550" y="2685"/>
                      </a:cubicBezTo>
                      <a:cubicBezTo>
                        <a:pt x="39072" y="1578"/>
                        <a:pt x="38218" y="749"/>
                        <a:pt x="37061" y="296"/>
                      </a:cubicBezTo>
                      <a:close/>
                    </a:path>
                  </a:pathLst>
                </a:custGeom>
                <a:grpFill/>
                <a:ln w="2509" cap="flat">
                  <a:noFill/>
                  <a:prstDash val="solid"/>
                  <a:miter/>
                </a:ln>
              </p:spPr>
              <p:txBody>
                <a:bodyPr rtlCol="0" anchor="ctr"/>
                <a:lstStyle/>
                <a:p>
                  <a:endParaRPr lang="en-GB" dirty="0"/>
                </a:p>
              </p:txBody>
            </p:sp>
          </p:grpSp>
          <p:grpSp>
            <p:nvGrpSpPr>
              <p:cNvPr id="358" name="Grafik 32">
                <a:extLst>
                  <a:ext uri="{FF2B5EF4-FFF2-40B4-BE49-F238E27FC236}">
                    <a16:creationId xmlns:a16="http://schemas.microsoft.com/office/drawing/2014/main" id="{44829FBF-2B42-4273-801E-C6C0BE524A04}"/>
                  </a:ext>
                </a:extLst>
              </p:cNvPr>
              <p:cNvGrpSpPr/>
              <p:nvPr/>
            </p:nvGrpSpPr>
            <p:grpSpPr>
              <a:xfrm>
                <a:off x="973811" y="1757189"/>
                <a:ext cx="85730" cy="9855"/>
                <a:chOff x="973811" y="1757189"/>
                <a:chExt cx="85730" cy="9855"/>
              </a:xfrm>
              <a:grpFill/>
            </p:grpSpPr>
            <p:sp>
              <p:nvSpPr>
                <p:cNvPr id="359" name="Freihandform: Form 450">
                  <a:extLst>
                    <a:ext uri="{FF2B5EF4-FFF2-40B4-BE49-F238E27FC236}">
                      <a16:creationId xmlns:a16="http://schemas.microsoft.com/office/drawing/2014/main" id="{DAF499A8-D1D8-49D4-9EF0-D53940B1CD76}"/>
                    </a:ext>
                  </a:extLst>
                </p:cNvPr>
                <p:cNvSpPr/>
                <p:nvPr/>
              </p:nvSpPr>
              <p:spPr>
                <a:xfrm>
                  <a:off x="973811" y="1757189"/>
                  <a:ext cx="35147" cy="9855"/>
                </a:xfrm>
                <a:custGeom>
                  <a:avLst/>
                  <a:gdLst>
                    <a:gd name="connsiteX0" fmla="*/ 30220 w 35147"/>
                    <a:gd name="connsiteY0" fmla="*/ 9855 h 9855"/>
                    <a:gd name="connsiteX1" fmla="*/ 4928 w 35147"/>
                    <a:gd name="connsiteY1" fmla="*/ 9855 h 9855"/>
                    <a:gd name="connsiteX2" fmla="*/ 0 w 35147"/>
                    <a:gd name="connsiteY2" fmla="*/ 4928 h 9855"/>
                    <a:gd name="connsiteX3" fmla="*/ 4928 w 35147"/>
                    <a:gd name="connsiteY3" fmla="*/ 0 h 9855"/>
                    <a:gd name="connsiteX4" fmla="*/ 30220 w 35147"/>
                    <a:gd name="connsiteY4" fmla="*/ 0 h 9855"/>
                    <a:gd name="connsiteX5" fmla="*/ 35147 w 35147"/>
                    <a:gd name="connsiteY5" fmla="*/ 4928 h 9855"/>
                    <a:gd name="connsiteX6" fmla="*/ 30220 w 35147"/>
                    <a:gd name="connsiteY6" fmla="*/ 9855 h 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47" h="9855">
                      <a:moveTo>
                        <a:pt x="30220" y="9855"/>
                      </a:moveTo>
                      <a:lnTo>
                        <a:pt x="4928" y="9855"/>
                      </a:lnTo>
                      <a:cubicBezTo>
                        <a:pt x="2212" y="9855"/>
                        <a:pt x="0" y="7643"/>
                        <a:pt x="0" y="4928"/>
                      </a:cubicBezTo>
                      <a:cubicBezTo>
                        <a:pt x="0" y="2212"/>
                        <a:pt x="2212" y="0"/>
                        <a:pt x="4928" y="0"/>
                      </a:cubicBezTo>
                      <a:lnTo>
                        <a:pt x="30220" y="0"/>
                      </a:lnTo>
                      <a:cubicBezTo>
                        <a:pt x="32935" y="0"/>
                        <a:pt x="35147" y="2212"/>
                        <a:pt x="35147" y="4928"/>
                      </a:cubicBezTo>
                      <a:cubicBezTo>
                        <a:pt x="35147" y="7643"/>
                        <a:pt x="32935" y="9855"/>
                        <a:pt x="30220" y="9855"/>
                      </a:cubicBezTo>
                      <a:close/>
                    </a:path>
                  </a:pathLst>
                </a:custGeom>
                <a:grpFill/>
                <a:ln w="2509" cap="flat">
                  <a:noFill/>
                  <a:prstDash val="solid"/>
                  <a:miter/>
                </a:ln>
              </p:spPr>
              <p:txBody>
                <a:bodyPr rtlCol="0" anchor="ctr"/>
                <a:lstStyle/>
                <a:p>
                  <a:endParaRPr lang="en-GB" dirty="0"/>
                </a:p>
              </p:txBody>
            </p:sp>
            <p:sp>
              <p:nvSpPr>
                <p:cNvPr id="360" name="Freihandform: Form 451">
                  <a:extLst>
                    <a:ext uri="{FF2B5EF4-FFF2-40B4-BE49-F238E27FC236}">
                      <a16:creationId xmlns:a16="http://schemas.microsoft.com/office/drawing/2014/main" id="{EDEF00A7-BDD9-439C-95F8-30E14FDB7C53}"/>
                    </a:ext>
                  </a:extLst>
                </p:cNvPr>
                <p:cNvSpPr/>
                <p:nvPr/>
              </p:nvSpPr>
              <p:spPr>
                <a:xfrm>
                  <a:off x="1024394" y="1757189"/>
                  <a:ext cx="35147" cy="9855"/>
                </a:xfrm>
                <a:custGeom>
                  <a:avLst/>
                  <a:gdLst>
                    <a:gd name="connsiteX0" fmla="*/ 30220 w 35147"/>
                    <a:gd name="connsiteY0" fmla="*/ 9855 h 9855"/>
                    <a:gd name="connsiteX1" fmla="*/ 4928 w 35147"/>
                    <a:gd name="connsiteY1" fmla="*/ 9855 h 9855"/>
                    <a:gd name="connsiteX2" fmla="*/ 0 w 35147"/>
                    <a:gd name="connsiteY2" fmla="*/ 4928 h 9855"/>
                    <a:gd name="connsiteX3" fmla="*/ 4928 w 35147"/>
                    <a:gd name="connsiteY3" fmla="*/ 0 h 9855"/>
                    <a:gd name="connsiteX4" fmla="*/ 30220 w 35147"/>
                    <a:gd name="connsiteY4" fmla="*/ 0 h 9855"/>
                    <a:gd name="connsiteX5" fmla="*/ 35147 w 35147"/>
                    <a:gd name="connsiteY5" fmla="*/ 4928 h 9855"/>
                    <a:gd name="connsiteX6" fmla="*/ 30220 w 35147"/>
                    <a:gd name="connsiteY6" fmla="*/ 9855 h 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47" h="9855">
                      <a:moveTo>
                        <a:pt x="30220" y="9855"/>
                      </a:moveTo>
                      <a:lnTo>
                        <a:pt x="4928" y="9855"/>
                      </a:lnTo>
                      <a:cubicBezTo>
                        <a:pt x="2212" y="9855"/>
                        <a:pt x="0" y="7643"/>
                        <a:pt x="0" y="4928"/>
                      </a:cubicBezTo>
                      <a:cubicBezTo>
                        <a:pt x="0" y="2212"/>
                        <a:pt x="2212" y="0"/>
                        <a:pt x="4928" y="0"/>
                      </a:cubicBezTo>
                      <a:lnTo>
                        <a:pt x="30220" y="0"/>
                      </a:lnTo>
                      <a:cubicBezTo>
                        <a:pt x="32935" y="0"/>
                        <a:pt x="35147" y="2212"/>
                        <a:pt x="35147" y="4928"/>
                      </a:cubicBezTo>
                      <a:cubicBezTo>
                        <a:pt x="35147" y="7643"/>
                        <a:pt x="32935" y="9855"/>
                        <a:pt x="30220" y="9855"/>
                      </a:cubicBezTo>
                      <a:close/>
                    </a:path>
                  </a:pathLst>
                </a:custGeom>
                <a:grpFill/>
                <a:ln w="2509" cap="flat">
                  <a:noFill/>
                  <a:prstDash val="solid"/>
                  <a:miter/>
                </a:ln>
              </p:spPr>
              <p:txBody>
                <a:bodyPr rtlCol="0" anchor="ctr"/>
                <a:lstStyle/>
                <a:p>
                  <a:endParaRPr lang="en-GB" dirty="0"/>
                </a:p>
              </p:txBody>
            </p:sp>
          </p:grpSp>
        </p:grpSp>
      </p:grpSp>
      <p:grpSp>
        <p:nvGrpSpPr>
          <p:cNvPr id="592" name="Group 591">
            <a:extLst>
              <a:ext uri="{FF2B5EF4-FFF2-40B4-BE49-F238E27FC236}">
                <a16:creationId xmlns:a16="http://schemas.microsoft.com/office/drawing/2014/main" id="{40FDE8ED-1242-A22A-B3B6-3E8CFC85F687}"/>
              </a:ext>
            </a:extLst>
          </p:cNvPr>
          <p:cNvGrpSpPr/>
          <p:nvPr/>
        </p:nvGrpSpPr>
        <p:grpSpPr>
          <a:xfrm>
            <a:off x="6961688" y="1585984"/>
            <a:ext cx="675693" cy="432000"/>
            <a:chOff x="6961276" y="1585984"/>
            <a:chExt cx="675693" cy="432000"/>
          </a:xfrm>
        </p:grpSpPr>
        <p:grpSp>
          <p:nvGrpSpPr>
            <p:cNvPr id="373" name="Group 372">
              <a:extLst>
                <a:ext uri="{FF2B5EF4-FFF2-40B4-BE49-F238E27FC236}">
                  <a16:creationId xmlns:a16="http://schemas.microsoft.com/office/drawing/2014/main" id="{B5FCA4BF-AD81-4F87-B2D7-9B18F2F88E47}"/>
                </a:ext>
              </a:extLst>
            </p:cNvPr>
            <p:cNvGrpSpPr/>
            <p:nvPr/>
          </p:nvGrpSpPr>
          <p:grpSpPr>
            <a:xfrm>
              <a:off x="7169603" y="1585984"/>
              <a:ext cx="467366" cy="426553"/>
              <a:chOff x="2594603" y="2505286"/>
              <a:chExt cx="377442" cy="344482"/>
            </a:xfrm>
            <a:solidFill>
              <a:schemeClr val="tx2"/>
            </a:solidFill>
          </p:grpSpPr>
          <p:grpSp>
            <p:nvGrpSpPr>
              <p:cNvPr id="385" name="Grafik 32">
                <a:extLst>
                  <a:ext uri="{FF2B5EF4-FFF2-40B4-BE49-F238E27FC236}">
                    <a16:creationId xmlns:a16="http://schemas.microsoft.com/office/drawing/2014/main" id="{37EA6F4D-E761-4345-8FD1-A9522E602B91}"/>
                  </a:ext>
                </a:extLst>
              </p:cNvPr>
              <p:cNvGrpSpPr/>
              <p:nvPr/>
            </p:nvGrpSpPr>
            <p:grpSpPr>
              <a:xfrm>
                <a:off x="2594603" y="2505286"/>
                <a:ext cx="377442" cy="344482"/>
                <a:chOff x="2594603" y="2505286"/>
                <a:chExt cx="377442" cy="344482"/>
              </a:xfrm>
              <a:grpFill/>
            </p:grpSpPr>
            <p:sp>
              <p:nvSpPr>
                <p:cNvPr id="394" name="Freihandform: Form 415">
                  <a:extLst>
                    <a:ext uri="{FF2B5EF4-FFF2-40B4-BE49-F238E27FC236}">
                      <a16:creationId xmlns:a16="http://schemas.microsoft.com/office/drawing/2014/main" id="{A5E4EC0A-7CD2-4D7A-AA17-520CE3488842}"/>
                    </a:ext>
                  </a:extLst>
                </p:cNvPr>
                <p:cNvSpPr/>
                <p:nvPr/>
              </p:nvSpPr>
              <p:spPr>
                <a:xfrm>
                  <a:off x="2594603" y="2505286"/>
                  <a:ext cx="377417" cy="344482"/>
                </a:xfrm>
                <a:custGeom>
                  <a:avLst/>
                  <a:gdLst>
                    <a:gd name="connsiteX0" fmla="*/ 358813 w 377417"/>
                    <a:gd name="connsiteY0" fmla="*/ 344482 h 344482"/>
                    <a:gd name="connsiteX1" fmla="*/ 18655 w 377417"/>
                    <a:gd name="connsiteY1" fmla="*/ 344482 h 344482"/>
                    <a:gd name="connsiteX2" fmla="*/ 25 w 377417"/>
                    <a:gd name="connsiteY2" fmla="*/ 325853 h 344482"/>
                    <a:gd name="connsiteX3" fmla="*/ 25 w 377417"/>
                    <a:gd name="connsiteY3" fmla="*/ 307123 h 344482"/>
                    <a:gd name="connsiteX4" fmla="*/ 4953 w 377417"/>
                    <a:gd name="connsiteY4" fmla="*/ 302195 h 344482"/>
                    <a:gd name="connsiteX5" fmla="*/ 9880 w 377417"/>
                    <a:gd name="connsiteY5" fmla="*/ 307123 h 344482"/>
                    <a:gd name="connsiteX6" fmla="*/ 9880 w 377417"/>
                    <a:gd name="connsiteY6" fmla="*/ 325853 h 344482"/>
                    <a:gd name="connsiteX7" fmla="*/ 18705 w 377417"/>
                    <a:gd name="connsiteY7" fmla="*/ 334652 h 344482"/>
                    <a:gd name="connsiteX8" fmla="*/ 358838 w 377417"/>
                    <a:gd name="connsiteY8" fmla="*/ 334652 h 344482"/>
                    <a:gd name="connsiteX9" fmla="*/ 367637 w 377417"/>
                    <a:gd name="connsiteY9" fmla="*/ 325853 h 344482"/>
                    <a:gd name="connsiteX10" fmla="*/ 367637 w 377417"/>
                    <a:gd name="connsiteY10" fmla="*/ 18630 h 344482"/>
                    <a:gd name="connsiteX11" fmla="*/ 358813 w 377417"/>
                    <a:gd name="connsiteY11" fmla="*/ 9830 h 344482"/>
                    <a:gd name="connsiteX12" fmla="*/ 18655 w 377417"/>
                    <a:gd name="connsiteY12" fmla="*/ 9830 h 344482"/>
                    <a:gd name="connsiteX13" fmla="*/ 9855 w 377417"/>
                    <a:gd name="connsiteY13" fmla="*/ 18630 h 344482"/>
                    <a:gd name="connsiteX14" fmla="*/ 9855 w 377417"/>
                    <a:gd name="connsiteY14" fmla="*/ 83317 h 344482"/>
                    <a:gd name="connsiteX15" fmla="*/ 4928 w 377417"/>
                    <a:gd name="connsiteY15" fmla="*/ 88245 h 344482"/>
                    <a:gd name="connsiteX16" fmla="*/ 0 w 377417"/>
                    <a:gd name="connsiteY16" fmla="*/ 83317 h 344482"/>
                    <a:gd name="connsiteX17" fmla="*/ 0 w 377417"/>
                    <a:gd name="connsiteY17" fmla="*/ 18630 h 344482"/>
                    <a:gd name="connsiteX18" fmla="*/ 18629 w 377417"/>
                    <a:gd name="connsiteY18" fmla="*/ 0 h 344482"/>
                    <a:gd name="connsiteX19" fmla="*/ 358788 w 377417"/>
                    <a:gd name="connsiteY19" fmla="*/ 0 h 344482"/>
                    <a:gd name="connsiteX20" fmla="*/ 377417 w 377417"/>
                    <a:gd name="connsiteY20" fmla="*/ 18630 h 344482"/>
                    <a:gd name="connsiteX21" fmla="*/ 377417 w 377417"/>
                    <a:gd name="connsiteY21" fmla="*/ 325853 h 344482"/>
                    <a:gd name="connsiteX22" fmla="*/ 358813 w 377417"/>
                    <a:gd name="connsiteY22" fmla="*/ 344482 h 34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7417" h="344482">
                      <a:moveTo>
                        <a:pt x="358813" y="344482"/>
                      </a:moveTo>
                      <a:lnTo>
                        <a:pt x="18655" y="344482"/>
                      </a:lnTo>
                      <a:cubicBezTo>
                        <a:pt x="11163" y="344482"/>
                        <a:pt x="25" y="339530"/>
                        <a:pt x="25" y="325853"/>
                      </a:cubicBezTo>
                      <a:lnTo>
                        <a:pt x="25" y="307123"/>
                      </a:lnTo>
                      <a:cubicBezTo>
                        <a:pt x="25" y="304408"/>
                        <a:pt x="2238" y="302195"/>
                        <a:pt x="4953" y="302195"/>
                      </a:cubicBezTo>
                      <a:cubicBezTo>
                        <a:pt x="7668" y="302195"/>
                        <a:pt x="9880" y="304408"/>
                        <a:pt x="9880" y="307123"/>
                      </a:cubicBezTo>
                      <a:lnTo>
                        <a:pt x="9880" y="325853"/>
                      </a:lnTo>
                      <a:cubicBezTo>
                        <a:pt x="9880" y="333873"/>
                        <a:pt x="16643" y="334602"/>
                        <a:pt x="18705" y="334652"/>
                      </a:cubicBezTo>
                      <a:lnTo>
                        <a:pt x="358838" y="334652"/>
                      </a:lnTo>
                      <a:cubicBezTo>
                        <a:pt x="360874" y="334627"/>
                        <a:pt x="367637" y="333873"/>
                        <a:pt x="367637" y="325853"/>
                      </a:cubicBezTo>
                      <a:lnTo>
                        <a:pt x="367637" y="18630"/>
                      </a:lnTo>
                      <a:cubicBezTo>
                        <a:pt x="367637" y="10610"/>
                        <a:pt x="360874" y="9855"/>
                        <a:pt x="358813" y="9830"/>
                      </a:cubicBezTo>
                      <a:lnTo>
                        <a:pt x="18655" y="9830"/>
                      </a:lnTo>
                      <a:cubicBezTo>
                        <a:pt x="16618" y="9855"/>
                        <a:pt x="9855" y="10610"/>
                        <a:pt x="9855" y="18630"/>
                      </a:cubicBezTo>
                      <a:lnTo>
                        <a:pt x="9855" y="83317"/>
                      </a:lnTo>
                      <a:cubicBezTo>
                        <a:pt x="9855" y="86033"/>
                        <a:pt x="7643" y="88245"/>
                        <a:pt x="4928" y="88245"/>
                      </a:cubicBezTo>
                      <a:cubicBezTo>
                        <a:pt x="2212" y="88245"/>
                        <a:pt x="0" y="86033"/>
                        <a:pt x="0" y="83317"/>
                      </a:cubicBezTo>
                      <a:lnTo>
                        <a:pt x="0" y="18630"/>
                      </a:lnTo>
                      <a:cubicBezTo>
                        <a:pt x="0" y="4953"/>
                        <a:pt x="11137" y="0"/>
                        <a:pt x="18629" y="0"/>
                      </a:cubicBezTo>
                      <a:lnTo>
                        <a:pt x="358788" y="0"/>
                      </a:lnTo>
                      <a:cubicBezTo>
                        <a:pt x="366280" y="0"/>
                        <a:pt x="377417" y="4953"/>
                        <a:pt x="377417" y="18630"/>
                      </a:cubicBezTo>
                      <a:lnTo>
                        <a:pt x="377417" y="325853"/>
                      </a:lnTo>
                      <a:cubicBezTo>
                        <a:pt x="377468" y="339530"/>
                        <a:pt x="366305" y="344482"/>
                        <a:pt x="358813" y="344482"/>
                      </a:cubicBezTo>
                      <a:close/>
                    </a:path>
                  </a:pathLst>
                </a:custGeom>
                <a:grpFill/>
                <a:ln w="2509" cap="flat">
                  <a:noFill/>
                  <a:prstDash val="solid"/>
                  <a:miter/>
                </a:ln>
              </p:spPr>
              <p:txBody>
                <a:bodyPr rtlCol="0" anchor="ctr"/>
                <a:lstStyle/>
                <a:p>
                  <a:endParaRPr lang="en-GB" dirty="0"/>
                </a:p>
              </p:txBody>
            </p:sp>
            <p:sp>
              <p:nvSpPr>
                <p:cNvPr id="395" name="Freihandform: Form 416">
                  <a:extLst>
                    <a:ext uri="{FF2B5EF4-FFF2-40B4-BE49-F238E27FC236}">
                      <a16:creationId xmlns:a16="http://schemas.microsoft.com/office/drawing/2014/main" id="{9D23B061-C294-4DCF-B22A-372A8E911E4C}"/>
                    </a:ext>
                  </a:extLst>
                </p:cNvPr>
                <p:cNvSpPr/>
                <p:nvPr/>
              </p:nvSpPr>
              <p:spPr>
                <a:xfrm>
                  <a:off x="2594628" y="2505286"/>
                  <a:ext cx="377417" cy="64687"/>
                </a:xfrm>
                <a:custGeom>
                  <a:avLst/>
                  <a:gdLst>
                    <a:gd name="connsiteX0" fmla="*/ 372515 w 377417"/>
                    <a:gd name="connsiteY0" fmla="*/ 64688 h 64687"/>
                    <a:gd name="connsiteX1" fmla="*/ 4928 w 377417"/>
                    <a:gd name="connsiteY1" fmla="*/ 64688 h 64687"/>
                    <a:gd name="connsiteX2" fmla="*/ 0 w 377417"/>
                    <a:gd name="connsiteY2" fmla="*/ 59760 h 64687"/>
                    <a:gd name="connsiteX3" fmla="*/ 0 w 377417"/>
                    <a:gd name="connsiteY3" fmla="*/ 18630 h 64687"/>
                    <a:gd name="connsiteX4" fmla="*/ 18629 w 377417"/>
                    <a:gd name="connsiteY4" fmla="*/ 0 h 64687"/>
                    <a:gd name="connsiteX5" fmla="*/ 358788 w 377417"/>
                    <a:gd name="connsiteY5" fmla="*/ 0 h 64687"/>
                    <a:gd name="connsiteX6" fmla="*/ 377417 w 377417"/>
                    <a:gd name="connsiteY6" fmla="*/ 18630 h 64687"/>
                    <a:gd name="connsiteX7" fmla="*/ 377417 w 377417"/>
                    <a:gd name="connsiteY7" fmla="*/ 59760 h 64687"/>
                    <a:gd name="connsiteX8" fmla="*/ 372515 w 377417"/>
                    <a:gd name="connsiteY8" fmla="*/ 64688 h 64687"/>
                    <a:gd name="connsiteX9" fmla="*/ 9830 w 377417"/>
                    <a:gd name="connsiteY9" fmla="*/ 54833 h 64687"/>
                    <a:gd name="connsiteX10" fmla="*/ 367587 w 377417"/>
                    <a:gd name="connsiteY10" fmla="*/ 54833 h 64687"/>
                    <a:gd name="connsiteX11" fmla="*/ 367587 w 377417"/>
                    <a:gd name="connsiteY11" fmla="*/ 18604 h 64687"/>
                    <a:gd name="connsiteX12" fmla="*/ 358763 w 377417"/>
                    <a:gd name="connsiteY12" fmla="*/ 9805 h 64687"/>
                    <a:gd name="connsiteX13" fmla="*/ 18629 w 377417"/>
                    <a:gd name="connsiteY13" fmla="*/ 9805 h 64687"/>
                    <a:gd name="connsiteX14" fmla="*/ 9830 w 377417"/>
                    <a:gd name="connsiteY14" fmla="*/ 18604 h 64687"/>
                    <a:gd name="connsiteX15" fmla="*/ 9830 w 377417"/>
                    <a:gd name="connsiteY15" fmla="*/ 54833 h 6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77417" h="64687">
                      <a:moveTo>
                        <a:pt x="372515" y="64688"/>
                      </a:moveTo>
                      <a:lnTo>
                        <a:pt x="4928" y="64688"/>
                      </a:lnTo>
                      <a:cubicBezTo>
                        <a:pt x="2212" y="64688"/>
                        <a:pt x="0" y="62475"/>
                        <a:pt x="0" y="59760"/>
                      </a:cubicBezTo>
                      <a:lnTo>
                        <a:pt x="0" y="18630"/>
                      </a:lnTo>
                      <a:cubicBezTo>
                        <a:pt x="0" y="4953"/>
                        <a:pt x="11137" y="0"/>
                        <a:pt x="18629" y="0"/>
                      </a:cubicBezTo>
                      <a:lnTo>
                        <a:pt x="358788" y="0"/>
                      </a:lnTo>
                      <a:cubicBezTo>
                        <a:pt x="366280" y="0"/>
                        <a:pt x="377417" y="4953"/>
                        <a:pt x="377417" y="18630"/>
                      </a:cubicBezTo>
                      <a:lnTo>
                        <a:pt x="377417" y="59760"/>
                      </a:lnTo>
                      <a:cubicBezTo>
                        <a:pt x="377442" y="62475"/>
                        <a:pt x="375230" y="64688"/>
                        <a:pt x="372515" y="64688"/>
                      </a:cubicBezTo>
                      <a:close/>
                      <a:moveTo>
                        <a:pt x="9830" y="54833"/>
                      </a:moveTo>
                      <a:lnTo>
                        <a:pt x="367587" y="54833"/>
                      </a:lnTo>
                      <a:lnTo>
                        <a:pt x="367587" y="18604"/>
                      </a:lnTo>
                      <a:cubicBezTo>
                        <a:pt x="367587" y="10584"/>
                        <a:pt x="360824" y="9830"/>
                        <a:pt x="358763" y="9805"/>
                      </a:cubicBezTo>
                      <a:lnTo>
                        <a:pt x="18629" y="9805"/>
                      </a:lnTo>
                      <a:cubicBezTo>
                        <a:pt x="16593" y="9830"/>
                        <a:pt x="9830" y="10584"/>
                        <a:pt x="9830" y="18604"/>
                      </a:cubicBezTo>
                      <a:lnTo>
                        <a:pt x="9830" y="54833"/>
                      </a:lnTo>
                      <a:close/>
                    </a:path>
                  </a:pathLst>
                </a:custGeom>
                <a:grpFill/>
                <a:ln w="2509" cap="flat">
                  <a:noFill/>
                  <a:prstDash val="solid"/>
                  <a:miter/>
                </a:ln>
              </p:spPr>
              <p:txBody>
                <a:bodyPr rtlCol="0" anchor="ctr"/>
                <a:lstStyle/>
                <a:p>
                  <a:endParaRPr lang="en-GB" dirty="0"/>
                </a:p>
              </p:txBody>
            </p:sp>
          </p:grpSp>
          <p:sp>
            <p:nvSpPr>
              <p:cNvPr id="386" name="Freihandform: Form 419">
                <a:extLst>
                  <a:ext uri="{FF2B5EF4-FFF2-40B4-BE49-F238E27FC236}">
                    <a16:creationId xmlns:a16="http://schemas.microsoft.com/office/drawing/2014/main" id="{9328E599-02BD-454C-A129-4AE51BAF358C}"/>
                  </a:ext>
                </a:extLst>
              </p:cNvPr>
              <p:cNvSpPr/>
              <p:nvPr/>
            </p:nvSpPr>
            <p:spPr>
              <a:xfrm>
                <a:off x="2886823" y="2673786"/>
                <a:ext cx="36067" cy="83186"/>
              </a:xfrm>
              <a:custGeom>
                <a:avLst/>
                <a:gdLst>
                  <a:gd name="connsiteX0" fmla="*/ 4922 w 36067"/>
                  <a:gd name="connsiteY0" fmla="*/ 83186 h 83186"/>
                  <a:gd name="connsiteX1" fmla="*/ 3263 w 36067"/>
                  <a:gd name="connsiteY1" fmla="*/ 82910 h 83186"/>
                  <a:gd name="connsiteX2" fmla="*/ 296 w 36067"/>
                  <a:gd name="connsiteY2" fmla="*/ 76625 h 83186"/>
                  <a:gd name="connsiteX3" fmla="*/ 26519 w 36067"/>
                  <a:gd name="connsiteY3" fmla="*/ 3263 h 83186"/>
                  <a:gd name="connsiteX4" fmla="*/ 32804 w 36067"/>
                  <a:gd name="connsiteY4" fmla="*/ 296 h 83186"/>
                  <a:gd name="connsiteX5" fmla="*/ 35771 w 36067"/>
                  <a:gd name="connsiteY5" fmla="*/ 6582 h 83186"/>
                  <a:gd name="connsiteX6" fmla="*/ 9548 w 36067"/>
                  <a:gd name="connsiteY6" fmla="*/ 79943 h 83186"/>
                  <a:gd name="connsiteX7" fmla="*/ 4922 w 36067"/>
                  <a:gd name="connsiteY7" fmla="*/ 83186 h 83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67" h="83186">
                    <a:moveTo>
                      <a:pt x="4922" y="83186"/>
                    </a:moveTo>
                    <a:cubicBezTo>
                      <a:pt x="4369" y="83186"/>
                      <a:pt x="3816" y="83086"/>
                      <a:pt x="3263" y="82910"/>
                    </a:cubicBezTo>
                    <a:cubicBezTo>
                      <a:pt x="699" y="82005"/>
                      <a:pt x="-634" y="79189"/>
                      <a:pt x="296" y="76625"/>
                    </a:cubicBezTo>
                    <a:lnTo>
                      <a:pt x="26519" y="3263"/>
                    </a:lnTo>
                    <a:cubicBezTo>
                      <a:pt x="27424" y="699"/>
                      <a:pt x="30265" y="-634"/>
                      <a:pt x="32804" y="296"/>
                    </a:cubicBezTo>
                    <a:cubicBezTo>
                      <a:pt x="35368" y="1202"/>
                      <a:pt x="36701" y="4017"/>
                      <a:pt x="35771" y="6582"/>
                    </a:cubicBezTo>
                    <a:lnTo>
                      <a:pt x="9548" y="79943"/>
                    </a:lnTo>
                    <a:cubicBezTo>
                      <a:pt x="8819" y="81929"/>
                      <a:pt x="6934" y="83186"/>
                      <a:pt x="4922" y="83186"/>
                    </a:cubicBezTo>
                    <a:close/>
                  </a:path>
                </a:pathLst>
              </a:custGeom>
              <a:grpFill/>
              <a:ln w="2509" cap="flat">
                <a:noFill/>
                <a:prstDash val="solid"/>
                <a:miter/>
              </a:ln>
            </p:spPr>
            <p:txBody>
              <a:bodyPr rtlCol="0" anchor="ctr"/>
              <a:lstStyle/>
              <a:p>
                <a:endParaRPr lang="en-GB" dirty="0"/>
              </a:p>
            </p:txBody>
          </p:sp>
          <p:sp>
            <p:nvSpPr>
              <p:cNvPr id="387" name="Freihandform: Form 420">
                <a:extLst>
                  <a:ext uri="{FF2B5EF4-FFF2-40B4-BE49-F238E27FC236}">
                    <a16:creationId xmlns:a16="http://schemas.microsoft.com/office/drawing/2014/main" id="{DD46F599-9BDD-4D79-9BDF-B1654F79EB7A}"/>
                  </a:ext>
                </a:extLst>
              </p:cNvPr>
              <p:cNvSpPr/>
              <p:nvPr/>
            </p:nvSpPr>
            <p:spPr>
              <a:xfrm>
                <a:off x="2810069" y="2668936"/>
                <a:ext cx="71764" cy="90174"/>
              </a:xfrm>
              <a:custGeom>
                <a:avLst/>
                <a:gdLst>
                  <a:gd name="connsiteX0" fmla="*/ 66868 w 71764"/>
                  <a:gd name="connsiteY0" fmla="*/ 90174 h 90174"/>
                  <a:gd name="connsiteX1" fmla="*/ 62972 w 71764"/>
                  <a:gd name="connsiteY1" fmla="*/ 88263 h 90174"/>
                  <a:gd name="connsiteX2" fmla="*/ 1024 w 71764"/>
                  <a:gd name="connsiteY2" fmla="*/ 7913 h 90174"/>
                  <a:gd name="connsiteX3" fmla="*/ 1904 w 71764"/>
                  <a:gd name="connsiteY3" fmla="*/ 1024 h 90174"/>
                  <a:gd name="connsiteX4" fmla="*/ 8793 w 71764"/>
                  <a:gd name="connsiteY4" fmla="*/ 1904 h 90174"/>
                  <a:gd name="connsiteX5" fmla="*/ 70740 w 71764"/>
                  <a:gd name="connsiteY5" fmla="*/ 82255 h 90174"/>
                  <a:gd name="connsiteX6" fmla="*/ 69860 w 71764"/>
                  <a:gd name="connsiteY6" fmla="*/ 89143 h 90174"/>
                  <a:gd name="connsiteX7" fmla="*/ 66868 w 71764"/>
                  <a:gd name="connsiteY7" fmla="*/ 90174 h 90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64" h="90174">
                    <a:moveTo>
                      <a:pt x="66868" y="90174"/>
                    </a:moveTo>
                    <a:cubicBezTo>
                      <a:pt x="65385" y="90174"/>
                      <a:pt x="63927" y="89521"/>
                      <a:pt x="62972" y="88263"/>
                    </a:cubicBezTo>
                    <a:lnTo>
                      <a:pt x="1024" y="7913"/>
                    </a:lnTo>
                    <a:cubicBezTo>
                      <a:pt x="-635" y="5751"/>
                      <a:pt x="-233" y="2683"/>
                      <a:pt x="1904" y="1024"/>
                    </a:cubicBezTo>
                    <a:cubicBezTo>
                      <a:pt x="4066" y="-635"/>
                      <a:pt x="7158" y="-233"/>
                      <a:pt x="8793" y="1904"/>
                    </a:cubicBezTo>
                    <a:lnTo>
                      <a:pt x="70740" y="82255"/>
                    </a:lnTo>
                    <a:cubicBezTo>
                      <a:pt x="72399" y="84417"/>
                      <a:pt x="71997" y="87484"/>
                      <a:pt x="69860" y="89143"/>
                    </a:cubicBezTo>
                    <a:cubicBezTo>
                      <a:pt x="68980" y="89822"/>
                      <a:pt x="67924" y="90174"/>
                      <a:pt x="66868" y="90174"/>
                    </a:cubicBezTo>
                    <a:close/>
                  </a:path>
                </a:pathLst>
              </a:custGeom>
              <a:grpFill/>
              <a:ln w="2509" cap="flat">
                <a:noFill/>
                <a:prstDash val="solid"/>
                <a:miter/>
              </a:ln>
            </p:spPr>
            <p:txBody>
              <a:bodyPr rtlCol="0" anchor="ctr"/>
              <a:lstStyle/>
              <a:p>
                <a:endParaRPr lang="en-GB" dirty="0"/>
              </a:p>
            </p:txBody>
          </p:sp>
          <p:sp>
            <p:nvSpPr>
              <p:cNvPr id="388" name="Freihandform: Form 421">
                <a:extLst>
                  <a:ext uri="{FF2B5EF4-FFF2-40B4-BE49-F238E27FC236}">
                    <a16:creationId xmlns:a16="http://schemas.microsoft.com/office/drawing/2014/main" id="{DBB26809-8A69-4EC5-ADF5-F670620B8238}"/>
                  </a:ext>
                </a:extLst>
              </p:cNvPr>
              <p:cNvSpPr/>
              <p:nvPr/>
            </p:nvSpPr>
            <p:spPr>
              <a:xfrm>
                <a:off x="2700801" y="2668328"/>
                <a:ext cx="93997" cy="91259"/>
              </a:xfrm>
              <a:custGeom>
                <a:avLst/>
                <a:gdLst>
                  <a:gd name="connsiteX0" fmla="*/ 4925 w 93997"/>
                  <a:gd name="connsiteY0" fmla="*/ 91260 h 91259"/>
                  <a:gd name="connsiteX1" fmla="*/ 1380 w 93997"/>
                  <a:gd name="connsiteY1" fmla="*/ 89751 h 91259"/>
                  <a:gd name="connsiteX2" fmla="*/ 1506 w 93997"/>
                  <a:gd name="connsiteY2" fmla="*/ 82787 h 91259"/>
                  <a:gd name="connsiteX3" fmla="*/ 85653 w 93997"/>
                  <a:gd name="connsiteY3" fmla="*/ 1380 h 91259"/>
                  <a:gd name="connsiteX4" fmla="*/ 92617 w 93997"/>
                  <a:gd name="connsiteY4" fmla="*/ 1506 h 91259"/>
                  <a:gd name="connsiteX5" fmla="*/ 92491 w 93997"/>
                  <a:gd name="connsiteY5" fmla="*/ 8470 h 91259"/>
                  <a:gd name="connsiteX6" fmla="*/ 8344 w 93997"/>
                  <a:gd name="connsiteY6" fmla="*/ 89877 h 91259"/>
                  <a:gd name="connsiteX7" fmla="*/ 4925 w 93997"/>
                  <a:gd name="connsiteY7" fmla="*/ 91260 h 91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997" h="91259">
                    <a:moveTo>
                      <a:pt x="4925" y="91260"/>
                    </a:moveTo>
                    <a:cubicBezTo>
                      <a:pt x="3643" y="91260"/>
                      <a:pt x="2361" y="90757"/>
                      <a:pt x="1380" y="89751"/>
                    </a:cubicBezTo>
                    <a:cubicBezTo>
                      <a:pt x="-505" y="87790"/>
                      <a:pt x="-455" y="84698"/>
                      <a:pt x="1506" y="82787"/>
                    </a:cubicBezTo>
                    <a:lnTo>
                      <a:pt x="85653" y="1380"/>
                    </a:lnTo>
                    <a:cubicBezTo>
                      <a:pt x="87589" y="-505"/>
                      <a:pt x="90707" y="-455"/>
                      <a:pt x="92617" y="1506"/>
                    </a:cubicBezTo>
                    <a:cubicBezTo>
                      <a:pt x="94503" y="3467"/>
                      <a:pt x="94453" y="6559"/>
                      <a:pt x="92491" y="8470"/>
                    </a:cubicBezTo>
                    <a:lnTo>
                      <a:pt x="8344" y="89877"/>
                    </a:lnTo>
                    <a:cubicBezTo>
                      <a:pt x="7389" y="90807"/>
                      <a:pt x="6157" y="91260"/>
                      <a:pt x="4925" y="91260"/>
                    </a:cubicBezTo>
                    <a:close/>
                  </a:path>
                </a:pathLst>
              </a:custGeom>
              <a:grpFill/>
              <a:ln w="2509" cap="flat">
                <a:noFill/>
                <a:prstDash val="solid"/>
                <a:miter/>
              </a:ln>
            </p:spPr>
            <p:txBody>
              <a:bodyPr rtlCol="0" anchor="ctr"/>
              <a:lstStyle/>
              <a:p>
                <a:endParaRPr lang="en-GB" dirty="0"/>
              </a:p>
            </p:txBody>
          </p:sp>
          <p:sp>
            <p:nvSpPr>
              <p:cNvPr id="389" name="Freihandform: Form 423">
                <a:extLst>
                  <a:ext uri="{FF2B5EF4-FFF2-40B4-BE49-F238E27FC236}">
                    <a16:creationId xmlns:a16="http://schemas.microsoft.com/office/drawing/2014/main" id="{6B09F729-5AE4-4590-83B2-EBBB8D51350A}"/>
                  </a:ext>
                </a:extLst>
              </p:cNvPr>
              <p:cNvSpPr/>
              <p:nvPr/>
            </p:nvSpPr>
            <p:spPr>
              <a:xfrm>
                <a:off x="2869973" y="2746489"/>
                <a:ext cx="34267" cy="34292"/>
              </a:xfrm>
              <a:custGeom>
                <a:avLst/>
                <a:gdLst>
                  <a:gd name="connsiteX0" fmla="*/ 17146 w 34267"/>
                  <a:gd name="connsiteY0" fmla="*/ 34292 h 34292"/>
                  <a:gd name="connsiteX1" fmla="*/ 0 w 34267"/>
                  <a:gd name="connsiteY1" fmla="*/ 17146 h 34292"/>
                  <a:gd name="connsiteX2" fmla="*/ 17146 w 34267"/>
                  <a:gd name="connsiteY2" fmla="*/ 0 h 34292"/>
                  <a:gd name="connsiteX3" fmla="*/ 34267 w 34267"/>
                  <a:gd name="connsiteY3" fmla="*/ 17146 h 34292"/>
                  <a:gd name="connsiteX4" fmla="*/ 17146 w 34267"/>
                  <a:gd name="connsiteY4" fmla="*/ 34292 h 34292"/>
                  <a:gd name="connsiteX5" fmla="*/ 17146 w 34267"/>
                  <a:gd name="connsiteY5" fmla="*/ 9855 h 34292"/>
                  <a:gd name="connsiteX6" fmla="*/ 9830 w 34267"/>
                  <a:gd name="connsiteY6" fmla="*/ 17171 h 34292"/>
                  <a:gd name="connsiteX7" fmla="*/ 17146 w 34267"/>
                  <a:gd name="connsiteY7" fmla="*/ 24462 h 34292"/>
                  <a:gd name="connsiteX8" fmla="*/ 24437 w 34267"/>
                  <a:gd name="connsiteY8" fmla="*/ 17171 h 34292"/>
                  <a:gd name="connsiteX9" fmla="*/ 17146 w 34267"/>
                  <a:gd name="connsiteY9" fmla="*/ 9855 h 3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67" h="34292">
                    <a:moveTo>
                      <a:pt x="17146" y="34292"/>
                    </a:moveTo>
                    <a:cubicBezTo>
                      <a:pt x="7693" y="34292"/>
                      <a:pt x="0" y="26599"/>
                      <a:pt x="0" y="17146"/>
                    </a:cubicBezTo>
                    <a:cubicBezTo>
                      <a:pt x="0" y="7693"/>
                      <a:pt x="7693" y="0"/>
                      <a:pt x="17146" y="0"/>
                    </a:cubicBezTo>
                    <a:cubicBezTo>
                      <a:pt x="26599" y="0"/>
                      <a:pt x="34267" y="7693"/>
                      <a:pt x="34267" y="17146"/>
                    </a:cubicBezTo>
                    <a:cubicBezTo>
                      <a:pt x="34267" y="26599"/>
                      <a:pt x="26599" y="34292"/>
                      <a:pt x="17146" y="34292"/>
                    </a:cubicBezTo>
                    <a:close/>
                    <a:moveTo>
                      <a:pt x="17146" y="9855"/>
                    </a:moveTo>
                    <a:cubicBezTo>
                      <a:pt x="13124" y="9855"/>
                      <a:pt x="9830" y="13124"/>
                      <a:pt x="9830" y="17171"/>
                    </a:cubicBezTo>
                    <a:cubicBezTo>
                      <a:pt x="9830" y="21194"/>
                      <a:pt x="13099" y="24462"/>
                      <a:pt x="17146" y="24462"/>
                    </a:cubicBezTo>
                    <a:cubicBezTo>
                      <a:pt x="21169" y="24462"/>
                      <a:pt x="24437" y="21194"/>
                      <a:pt x="24437" y="17171"/>
                    </a:cubicBezTo>
                    <a:cubicBezTo>
                      <a:pt x="24462" y="13124"/>
                      <a:pt x="21194" y="9855"/>
                      <a:pt x="17146" y="9855"/>
                    </a:cubicBezTo>
                    <a:close/>
                  </a:path>
                </a:pathLst>
              </a:custGeom>
              <a:grpFill/>
              <a:ln w="2509" cap="flat">
                <a:noFill/>
                <a:prstDash val="solid"/>
                <a:miter/>
              </a:ln>
            </p:spPr>
            <p:txBody>
              <a:bodyPr rtlCol="0" anchor="ctr"/>
              <a:lstStyle/>
              <a:p>
                <a:endParaRPr lang="en-GB" dirty="0"/>
              </a:p>
            </p:txBody>
          </p:sp>
          <p:sp>
            <p:nvSpPr>
              <p:cNvPr id="390" name="Freihandform: Form 424">
                <a:extLst>
                  <a:ext uri="{FF2B5EF4-FFF2-40B4-BE49-F238E27FC236}">
                    <a16:creationId xmlns:a16="http://schemas.microsoft.com/office/drawing/2014/main" id="{E31351DA-4CEC-429F-8E69-75C67C71C278}"/>
                  </a:ext>
                </a:extLst>
              </p:cNvPr>
              <p:cNvSpPr/>
              <p:nvPr/>
            </p:nvSpPr>
            <p:spPr>
              <a:xfrm>
                <a:off x="2785876" y="2649344"/>
                <a:ext cx="34267" cy="34292"/>
              </a:xfrm>
              <a:custGeom>
                <a:avLst/>
                <a:gdLst>
                  <a:gd name="connsiteX0" fmla="*/ 17146 w 34267"/>
                  <a:gd name="connsiteY0" fmla="*/ 34292 h 34292"/>
                  <a:gd name="connsiteX1" fmla="*/ 0 w 34267"/>
                  <a:gd name="connsiteY1" fmla="*/ 17146 h 34292"/>
                  <a:gd name="connsiteX2" fmla="*/ 17146 w 34267"/>
                  <a:gd name="connsiteY2" fmla="*/ 0 h 34292"/>
                  <a:gd name="connsiteX3" fmla="*/ 34267 w 34267"/>
                  <a:gd name="connsiteY3" fmla="*/ 17146 h 34292"/>
                  <a:gd name="connsiteX4" fmla="*/ 17146 w 34267"/>
                  <a:gd name="connsiteY4" fmla="*/ 34292 h 34292"/>
                  <a:gd name="connsiteX5" fmla="*/ 17146 w 34267"/>
                  <a:gd name="connsiteY5" fmla="*/ 9830 h 34292"/>
                  <a:gd name="connsiteX6" fmla="*/ 9830 w 34267"/>
                  <a:gd name="connsiteY6" fmla="*/ 17146 h 34292"/>
                  <a:gd name="connsiteX7" fmla="*/ 17146 w 34267"/>
                  <a:gd name="connsiteY7" fmla="*/ 24437 h 34292"/>
                  <a:gd name="connsiteX8" fmla="*/ 24437 w 34267"/>
                  <a:gd name="connsiteY8" fmla="*/ 17146 h 34292"/>
                  <a:gd name="connsiteX9" fmla="*/ 17146 w 34267"/>
                  <a:gd name="connsiteY9" fmla="*/ 9830 h 3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67" h="34292">
                    <a:moveTo>
                      <a:pt x="17146" y="34292"/>
                    </a:moveTo>
                    <a:cubicBezTo>
                      <a:pt x="7693" y="34292"/>
                      <a:pt x="0" y="26599"/>
                      <a:pt x="0" y="17146"/>
                    </a:cubicBezTo>
                    <a:cubicBezTo>
                      <a:pt x="0" y="7693"/>
                      <a:pt x="7693" y="0"/>
                      <a:pt x="17146" y="0"/>
                    </a:cubicBezTo>
                    <a:cubicBezTo>
                      <a:pt x="26599" y="0"/>
                      <a:pt x="34267" y="7693"/>
                      <a:pt x="34267" y="17146"/>
                    </a:cubicBezTo>
                    <a:cubicBezTo>
                      <a:pt x="34267" y="26599"/>
                      <a:pt x="26599" y="34292"/>
                      <a:pt x="17146" y="34292"/>
                    </a:cubicBezTo>
                    <a:close/>
                    <a:moveTo>
                      <a:pt x="17146" y="9830"/>
                    </a:moveTo>
                    <a:cubicBezTo>
                      <a:pt x="13124" y="9830"/>
                      <a:pt x="9830" y="13099"/>
                      <a:pt x="9830" y="17146"/>
                    </a:cubicBezTo>
                    <a:cubicBezTo>
                      <a:pt x="9830" y="21194"/>
                      <a:pt x="13098" y="24437"/>
                      <a:pt x="17146" y="24437"/>
                    </a:cubicBezTo>
                    <a:cubicBezTo>
                      <a:pt x="21169" y="24437"/>
                      <a:pt x="24437" y="21169"/>
                      <a:pt x="24437" y="17146"/>
                    </a:cubicBezTo>
                    <a:cubicBezTo>
                      <a:pt x="24437" y="13124"/>
                      <a:pt x="21194" y="9830"/>
                      <a:pt x="17146" y="9830"/>
                    </a:cubicBezTo>
                    <a:close/>
                  </a:path>
                </a:pathLst>
              </a:custGeom>
              <a:grpFill/>
              <a:ln w="2509" cap="flat">
                <a:noFill/>
                <a:prstDash val="solid"/>
                <a:miter/>
              </a:ln>
            </p:spPr>
            <p:txBody>
              <a:bodyPr rtlCol="0" anchor="ctr"/>
              <a:lstStyle/>
              <a:p>
                <a:endParaRPr lang="en-GB" dirty="0"/>
              </a:p>
            </p:txBody>
          </p:sp>
          <p:grpSp>
            <p:nvGrpSpPr>
              <p:cNvPr id="391" name="Grafik 32">
                <a:extLst>
                  <a:ext uri="{FF2B5EF4-FFF2-40B4-BE49-F238E27FC236}">
                    <a16:creationId xmlns:a16="http://schemas.microsoft.com/office/drawing/2014/main" id="{AF4BC1A9-783B-4FA5-BF26-FA83A1B3E6F0}"/>
                  </a:ext>
                </a:extLst>
              </p:cNvPr>
              <p:cNvGrpSpPr/>
              <p:nvPr/>
            </p:nvGrpSpPr>
            <p:grpSpPr>
              <a:xfrm>
                <a:off x="2627563" y="2532840"/>
                <a:ext cx="108207" cy="9855"/>
                <a:chOff x="2627563" y="2532840"/>
                <a:chExt cx="108207" cy="9855"/>
              </a:xfrm>
              <a:grpFill/>
            </p:grpSpPr>
            <p:sp>
              <p:nvSpPr>
                <p:cNvPr id="392" name="Freihandform: Form 432">
                  <a:extLst>
                    <a:ext uri="{FF2B5EF4-FFF2-40B4-BE49-F238E27FC236}">
                      <a16:creationId xmlns:a16="http://schemas.microsoft.com/office/drawing/2014/main" id="{ABFF4830-34CF-4C39-9165-93841FE62E6F}"/>
                    </a:ext>
                  </a:extLst>
                </p:cNvPr>
                <p:cNvSpPr/>
                <p:nvPr/>
              </p:nvSpPr>
              <p:spPr>
                <a:xfrm>
                  <a:off x="2627563" y="2532840"/>
                  <a:ext cx="42639" cy="9855"/>
                </a:xfrm>
                <a:custGeom>
                  <a:avLst/>
                  <a:gdLst>
                    <a:gd name="connsiteX0" fmla="*/ 37712 w 42639"/>
                    <a:gd name="connsiteY0" fmla="*/ 9855 h 9855"/>
                    <a:gd name="connsiteX1" fmla="*/ 4928 w 42639"/>
                    <a:gd name="connsiteY1" fmla="*/ 9855 h 9855"/>
                    <a:gd name="connsiteX2" fmla="*/ 0 w 42639"/>
                    <a:gd name="connsiteY2" fmla="*/ 4928 h 9855"/>
                    <a:gd name="connsiteX3" fmla="*/ 4928 w 42639"/>
                    <a:gd name="connsiteY3" fmla="*/ 0 h 9855"/>
                    <a:gd name="connsiteX4" fmla="*/ 37712 w 42639"/>
                    <a:gd name="connsiteY4" fmla="*/ 0 h 9855"/>
                    <a:gd name="connsiteX5" fmla="*/ 42639 w 42639"/>
                    <a:gd name="connsiteY5" fmla="*/ 4928 h 9855"/>
                    <a:gd name="connsiteX6" fmla="*/ 37712 w 42639"/>
                    <a:gd name="connsiteY6" fmla="*/ 9855 h 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 h="9855">
                      <a:moveTo>
                        <a:pt x="37712" y="9855"/>
                      </a:moveTo>
                      <a:lnTo>
                        <a:pt x="4928" y="9855"/>
                      </a:lnTo>
                      <a:cubicBezTo>
                        <a:pt x="2212" y="9855"/>
                        <a:pt x="0" y="7643"/>
                        <a:pt x="0" y="4928"/>
                      </a:cubicBezTo>
                      <a:cubicBezTo>
                        <a:pt x="0" y="2212"/>
                        <a:pt x="2212" y="0"/>
                        <a:pt x="4928" y="0"/>
                      </a:cubicBezTo>
                      <a:lnTo>
                        <a:pt x="37712" y="0"/>
                      </a:lnTo>
                      <a:cubicBezTo>
                        <a:pt x="40427" y="0"/>
                        <a:pt x="42639" y="2212"/>
                        <a:pt x="42639" y="4928"/>
                      </a:cubicBezTo>
                      <a:cubicBezTo>
                        <a:pt x="42639" y="7668"/>
                        <a:pt x="40427" y="9855"/>
                        <a:pt x="37712" y="9855"/>
                      </a:cubicBezTo>
                      <a:close/>
                    </a:path>
                  </a:pathLst>
                </a:custGeom>
                <a:grpFill/>
                <a:ln w="2509" cap="flat">
                  <a:noFill/>
                  <a:prstDash val="solid"/>
                  <a:miter/>
                </a:ln>
              </p:spPr>
              <p:txBody>
                <a:bodyPr rtlCol="0" anchor="ctr"/>
                <a:lstStyle/>
                <a:p>
                  <a:endParaRPr lang="en-GB" dirty="0"/>
                </a:p>
              </p:txBody>
            </p:sp>
            <p:sp>
              <p:nvSpPr>
                <p:cNvPr id="393" name="Freihandform: Form 433">
                  <a:extLst>
                    <a:ext uri="{FF2B5EF4-FFF2-40B4-BE49-F238E27FC236}">
                      <a16:creationId xmlns:a16="http://schemas.microsoft.com/office/drawing/2014/main" id="{CBA77B36-CC4D-43D6-9372-0C79423BFA68}"/>
                    </a:ext>
                  </a:extLst>
                </p:cNvPr>
                <p:cNvSpPr/>
                <p:nvPr/>
              </p:nvSpPr>
              <p:spPr>
                <a:xfrm>
                  <a:off x="2693131" y="2532840"/>
                  <a:ext cx="42639" cy="9855"/>
                </a:xfrm>
                <a:custGeom>
                  <a:avLst/>
                  <a:gdLst>
                    <a:gd name="connsiteX0" fmla="*/ 37712 w 42639"/>
                    <a:gd name="connsiteY0" fmla="*/ 9855 h 9855"/>
                    <a:gd name="connsiteX1" fmla="*/ 4928 w 42639"/>
                    <a:gd name="connsiteY1" fmla="*/ 9855 h 9855"/>
                    <a:gd name="connsiteX2" fmla="*/ 0 w 42639"/>
                    <a:gd name="connsiteY2" fmla="*/ 4928 h 9855"/>
                    <a:gd name="connsiteX3" fmla="*/ 4928 w 42639"/>
                    <a:gd name="connsiteY3" fmla="*/ 0 h 9855"/>
                    <a:gd name="connsiteX4" fmla="*/ 37712 w 42639"/>
                    <a:gd name="connsiteY4" fmla="*/ 0 h 9855"/>
                    <a:gd name="connsiteX5" fmla="*/ 42639 w 42639"/>
                    <a:gd name="connsiteY5" fmla="*/ 4928 h 9855"/>
                    <a:gd name="connsiteX6" fmla="*/ 37712 w 42639"/>
                    <a:gd name="connsiteY6" fmla="*/ 9855 h 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639" h="9855">
                      <a:moveTo>
                        <a:pt x="37712" y="9855"/>
                      </a:moveTo>
                      <a:lnTo>
                        <a:pt x="4928" y="9855"/>
                      </a:lnTo>
                      <a:cubicBezTo>
                        <a:pt x="2212" y="9855"/>
                        <a:pt x="0" y="7643"/>
                        <a:pt x="0" y="4928"/>
                      </a:cubicBezTo>
                      <a:cubicBezTo>
                        <a:pt x="0" y="2212"/>
                        <a:pt x="2212" y="0"/>
                        <a:pt x="4928" y="0"/>
                      </a:cubicBezTo>
                      <a:lnTo>
                        <a:pt x="37712" y="0"/>
                      </a:lnTo>
                      <a:cubicBezTo>
                        <a:pt x="40427" y="0"/>
                        <a:pt x="42639" y="2212"/>
                        <a:pt x="42639" y="4928"/>
                      </a:cubicBezTo>
                      <a:cubicBezTo>
                        <a:pt x="42639" y="7668"/>
                        <a:pt x="40427" y="9855"/>
                        <a:pt x="37712" y="9855"/>
                      </a:cubicBezTo>
                      <a:close/>
                    </a:path>
                  </a:pathLst>
                </a:custGeom>
                <a:grpFill/>
                <a:ln w="2509" cap="flat">
                  <a:noFill/>
                  <a:prstDash val="solid"/>
                  <a:miter/>
                </a:ln>
              </p:spPr>
              <p:txBody>
                <a:bodyPr rtlCol="0" anchor="ctr"/>
                <a:lstStyle/>
                <a:p>
                  <a:endParaRPr lang="en-GB" dirty="0"/>
                </a:p>
              </p:txBody>
            </p:sp>
          </p:grpSp>
        </p:grpSp>
        <p:grpSp>
          <p:nvGrpSpPr>
            <p:cNvPr id="374" name="Group 373">
              <a:extLst>
                <a:ext uri="{FF2B5EF4-FFF2-40B4-BE49-F238E27FC236}">
                  <a16:creationId xmlns:a16="http://schemas.microsoft.com/office/drawing/2014/main" id="{8B5DF77B-4C7C-4DD0-AA63-641ED54FD5C8}"/>
                </a:ext>
              </a:extLst>
            </p:cNvPr>
            <p:cNvGrpSpPr/>
            <p:nvPr/>
          </p:nvGrpSpPr>
          <p:grpSpPr>
            <a:xfrm>
              <a:off x="6961276" y="1703782"/>
              <a:ext cx="635353" cy="314202"/>
              <a:chOff x="2426359" y="2600419"/>
              <a:chExt cx="513108" cy="253748"/>
            </a:xfrm>
          </p:grpSpPr>
          <p:grpSp>
            <p:nvGrpSpPr>
              <p:cNvPr id="375" name="Group 374">
                <a:extLst>
                  <a:ext uri="{FF2B5EF4-FFF2-40B4-BE49-F238E27FC236}">
                    <a16:creationId xmlns:a16="http://schemas.microsoft.com/office/drawing/2014/main" id="{09905921-8637-40C9-8B05-090EE76B4A9E}"/>
                  </a:ext>
                </a:extLst>
              </p:cNvPr>
              <p:cNvGrpSpPr/>
              <p:nvPr/>
            </p:nvGrpSpPr>
            <p:grpSpPr>
              <a:xfrm>
                <a:off x="2718673" y="2700371"/>
                <a:ext cx="220794" cy="88832"/>
                <a:chOff x="2718673" y="2700371"/>
                <a:chExt cx="220794" cy="88832"/>
              </a:xfrm>
            </p:grpSpPr>
            <p:sp>
              <p:nvSpPr>
                <p:cNvPr id="382" name="Freihandform: Form 417">
                  <a:extLst>
                    <a:ext uri="{FF2B5EF4-FFF2-40B4-BE49-F238E27FC236}">
                      <a16:creationId xmlns:a16="http://schemas.microsoft.com/office/drawing/2014/main" id="{0632181E-ABCA-4A68-9541-4712D8BEA50B}"/>
                    </a:ext>
                  </a:extLst>
                </p:cNvPr>
                <p:cNvSpPr/>
                <p:nvPr/>
              </p:nvSpPr>
              <p:spPr>
                <a:xfrm>
                  <a:off x="2809705" y="2700371"/>
                  <a:ext cx="129762" cy="70831"/>
                </a:xfrm>
                <a:custGeom>
                  <a:avLst/>
                  <a:gdLst>
                    <a:gd name="connsiteX0" fmla="*/ 4932 w 129762"/>
                    <a:gd name="connsiteY0" fmla="*/ 70832 h 70831"/>
                    <a:gd name="connsiteX1" fmla="*/ 533 w 129762"/>
                    <a:gd name="connsiteY1" fmla="*/ 68142 h 70831"/>
                    <a:gd name="connsiteX2" fmla="*/ 2695 w 129762"/>
                    <a:gd name="connsiteY2" fmla="*/ 61529 h 70831"/>
                    <a:gd name="connsiteX3" fmla="*/ 122618 w 129762"/>
                    <a:gd name="connsiteY3" fmla="*/ 537 h 70831"/>
                    <a:gd name="connsiteX4" fmla="*/ 129230 w 129762"/>
                    <a:gd name="connsiteY4" fmla="*/ 2699 h 70831"/>
                    <a:gd name="connsiteX5" fmla="*/ 127067 w 129762"/>
                    <a:gd name="connsiteY5" fmla="*/ 9311 h 70831"/>
                    <a:gd name="connsiteX6" fmla="*/ 7145 w 129762"/>
                    <a:gd name="connsiteY6" fmla="*/ 70304 h 70831"/>
                    <a:gd name="connsiteX7" fmla="*/ 4932 w 129762"/>
                    <a:gd name="connsiteY7" fmla="*/ 70832 h 7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762" h="70831">
                      <a:moveTo>
                        <a:pt x="4932" y="70832"/>
                      </a:moveTo>
                      <a:cubicBezTo>
                        <a:pt x="3147" y="70832"/>
                        <a:pt x="1413" y="69851"/>
                        <a:pt x="533" y="68142"/>
                      </a:cubicBezTo>
                      <a:cubicBezTo>
                        <a:pt x="-699" y="65728"/>
                        <a:pt x="281" y="62761"/>
                        <a:pt x="2695" y="61529"/>
                      </a:cubicBezTo>
                      <a:lnTo>
                        <a:pt x="122618" y="537"/>
                      </a:lnTo>
                      <a:cubicBezTo>
                        <a:pt x="125031" y="-695"/>
                        <a:pt x="127998" y="261"/>
                        <a:pt x="129230" y="2699"/>
                      </a:cubicBezTo>
                      <a:cubicBezTo>
                        <a:pt x="130462" y="5113"/>
                        <a:pt x="129481" y="8080"/>
                        <a:pt x="127067" y="9311"/>
                      </a:cubicBezTo>
                      <a:lnTo>
                        <a:pt x="7145" y="70304"/>
                      </a:lnTo>
                      <a:cubicBezTo>
                        <a:pt x="6441" y="70681"/>
                        <a:pt x="5661" y="70832"/>
                        <a:pt x="4932" y="70832"/>
                      </a:cubicBezTo>
                      <a:close/>
                    </a:path>
                  </a:pathLst>
                </a:custGeom>
                <a:solidFill>
                  <a:schemeClr val="accent1"/>
                </a:solidFill>
                <a:ln w="2509" cap="flat">
                  <a:noFill/>
                  <a:prstDash val="solid"/>
                  <a:miter/>
                </a:ln>
              </p:spPr>
              <p:txBody>
                <a:bodyPr rtlCol="0" anchor="ctr"/>
                <a:lstStyle/>
                <a:p>
                  <a:endParaRPr lang="en-GB" dirty="0"/>
                </a:p>
              </p:txBody>
            </p:sp>
            <p:sp>
              <p:nvSpPr>
                <p:cNvPr id="383" name="Freihandform: Form 418">
                  <a:extLst>
                    <a:ext uri="{FF2B5EF4-FFF2-40B4-BE49-F238E27FC236}">
                      <a16:creationId xmlns:a16="http://schemas.microsoft.com/office/drawing/2014/main" id="{A8A15A8A-2D69-42BE-899E-7F8306F0C034}"/>
                    </a:ext>
                  </a:extLst>
                </p:cNvPr>
                <p:cNvSpPr/>
                <p:nvPr/>
              </p:nvSpPr>
              <p:spPr>
                <a:xfrm>
                  <a:off x="2718673" y="2706933"/>
                  <a:ext cx="79221" cy="63289"/>
                </a:xfrm>
                <a:custGeom>
                  <a:avLst/>
                  <a:gdLst>
                    <a:gd name="connsiteX0" fmla="*/ 74293 w 79221"/>
                    <a:gd name="connsiteY0" fmla="*/ 63289 h 63289"/>
                    <a:gd name="connsiteX1" fmla="*/ 71301 w 79221"/>
                    <a:gd name="connsiteY1" fmla="*/ 62258 h 63289"/>
                    <a:gd name="connsiteX2" fmla="*/ 1912 w 79221"/>
                    <a:gd name="connsiteY2" fmla="*/ 8808 h 63289"/>
                    <a:gd name="connsiteX3" fmla="*/ 1032 w 79221"/>
                    <a:gd name="connsiteY3" fmla="*/ 1920 h 63289"/>
                    <a:gd name="connsiteX4" fmla="*/ 7920 w 79221"/>
                    <a:gd name="connsiteY4" fmla="*/ 1015 h 63289"/>
                    <a:gd name="connsiteX5" fmla="*/ 77310 w 79221"/>
                    <a:gd name="connsiteY5" fmla="*/ 54464 h 63289"/>
                    <a:gd name="connsiteX6" fmla="*/ 78190 w 79221"/>
                    <a:gd name="connsiteY6" fmla="*/ 61353 h 63289"/>
                    <a:gd name="connsiteX7" fmla="*/ 74293 w 79221"/>
                    <a:gd name="connsiteY7" fmla="*/ 63289 h 6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221" h="63289">
                      <a:moveTo>
                        <a:pt x="74293" y="63289"/>
                      </a:moveTo>
                      <a:cubicBezTo>
                        <a:pt x="73237" y="63289"/>
                        <a:pt x="72181" y="62962"/>
                        <a:pt x="71301" y="62258"/>
                      </a:cubicBezTo>
                      <a:lnTo>
                        <a:pt x="1912" y="8808"/>
                      </a:lnTo>
                      <a:cubicBezTo>
                        <a:pt x="-250" y="7149"/>
                        <a:pt x="-628" y="4057"/>
                        <a:pt x="1032" y="1920"/>
                      </a:cubicBezTo>
                      <a:cubicBezTo>
                        <a:pt x="2666" y="-217"/>
                        <a:pt x="5758" y="-645"/>
                        <a:pt x="7920" y="1015"/>
                      </a:cubicBezTo>
                      <a:lnTo>
                        <a:pt x="77310" y="54464"/>
                      </a:lnTo>
                      <a:cubicBezTo>
                        <a:pt x="79472" y="56124"/>
                        <a:pt x="79849" y="59216"/>
                        <a:pt x="78190" y="61353"/>
                      </a:cubicBezTo>
                      <a:cubicBezTo>
                        <a:pt x="77209" y="62610"/>
                        <a:pt x="75776" y="63289"/>
                        <a:pt x="74293" y="63289"/>
                      </a:cubicBezTo>
                      <a:close/>
                    </a:path>
                  </a:pathLst>
                </a:custGeom>
                <a:solidFill>
                  <a:schemeClr val="accent1"/>
                </a:solidFill>
                <a:ln w="2509" cap="flat">
                  <a:noFill/>
                  <a:prstDash val="solid"/>
                  <a:miter/>
                </a:ln>
              </p:spPr>
              <p:txBody>
                <a:bodyPr rtlCol="0" anchor="ctr"/>
                <a:lstStyle/>
                <a:p>
                  <a:endParaRPr lang="en-GB" dirty="0"/>
                </a:p>
              </p:txBody>
            </p:sp>
            <p:sp>
              <p:nvSpPr>
                <p:cNvPr id="384" name="Freihandform: Form 422">
                  <a:extLst>
                    <a:ext uri="{FF2B5EF4-FFF2-40B4-BE49-F238E27FC236}">
                      <a16:creationId xmlns:a16="http://schemas.microsoft.com/office/drawing/2014/main" id="{97637468-D991-482C-8F24-62CA9B3BDEFA}"/>
                    </a:ext>
                  </a:extLst>
                </p:cNvPr>
                <p:cNvSpPr/>
                <p:nvPr/>
              </p:nvSpPr>
              <p:spPr>
                <a:xfrm>
                  <a:off x="2785876" y="2754911"/>
                  <a:ext cx="34292" cy="34292"/>
                </a:xfrm>
                <a:custGeom>
                  <a:avLst/>
                  <a:gdLst>
                    <a:gd name="connsiteX0" fmla="*/ 17146 w 34292"/>
                    <a:gd name="connsiteY0" fmla="*/ 34292 h 34292"/>
                    <a:gd name="connsiteX1" fmla="*/ 0 w 34292"/>
                    <a:gd name="connsiteY1" fmla="*/ 17146 h 34292"/>
                    <a:gd name="connsiteX2" fmla="*/ 17146 w 34292"/>
                    <a:gd name="connsiteY2" fmla="*/ 0 h 34292"/>
                    <a:gd name="connsiteX3" fmla="*/ 34292 w 34292"/>
                    <a:gd name="connsiteY3" fmla="*/ 17146 h 34292"/>
                    <a:gd name="connsiteX4" fmla="*/ 17146 w 34292"/>
                    <a:gd name="connsiteY4" fmla="*/ 34292 h 34292"/>
                    <a:gd name="connsiteX5" fmla="*/ 17146 w 34292"/>
                    <a:gd name="connsiteY5" fmla="*/ 9855 h 34292"/>
                    <a:gd name="connsiteX6" fmla="*/ 9830 w 34292"/>
                    <a:gd name="connsiteY6" fmla="*/ 17171 h 34292"/>
                    <a:gd name="connsiteX7" fmla="*/ 17146 w 34292"/>
                    <a:gd name="connsiteY7" fmla="*/ 24462 h 34292"/>
                    <a:gd name="connsiteX8" fmla="*/ 24462 w 34292"/>
                    <a:gd name="connsiteY8" fmla="*/ 17171 h 34292"/>
                    <a:gd name="connsiteX9" fmla="*/ 17146 w 34292"/>
                    <a:gd name="connsiteY9" fmla="*/ 9855 h 34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292" h="34292">
                      <a:moveTo>
                        <a:pt x="17146" y="34292"/>
                      </a:moveTo>
                      <a:cubicBezTo>
                        <a:pt x="7693" y="34292"/>
                        <a:pt x="0" y="26599"/>
                        <a:pt x="0" y="17146"/>
                      </a:cubicBezTo>
                      <a:cubicBezTo>
                        <a:pt x="0" y="7693"/>
                        <a:pt x="7693" y="0"/>
                        <a:pt x="17146" y="0"/>
                      </a:cubicBezTo>
                      <a:cubicBezTo>
                        <a:pt x="26599" y="0"/>
                        <a:pt x="34292" y="7693"/>
                        <a:pt x="34292" y="17146"/>
                      </a:cubicBezTo>
                      <a:cubicBezTo>
                        <a:pt x="34292" y="26624"/>
                        <a:pt x="26599" y="34292"/>
                        <a:pt x="17146" y="34292"/>
                      </a:cubicBezTo>
                      <a:close/>
                      <a:moveTo>
                        <a:pt x="17146" y="9855"/>
                      </a:moveTo>
                      <a:cubicBezTo>
                        <a:pt x="13124" y="9855"/>
                        <a:pt x="9830" y="13124"/>
                        <a:pt x="9830" y="17171"/>
                      </a:cubicBezTo>
                      <a:cubicBezTo>
                        <a:pt x="9830" y="21194"/>
                        <a:pt x="13098" y="24462"/>
                        <a:pt x="17146" y="24462"/>
                      </a:cubicBezTo>
                      <a:cubicBezTo>
                        <a:pt x="21169" y="24462"/>
                        <a:pt x="24462" y="21194"/>
                        <a:pt x="24462" y="17171"/>
                      </a:cubicBezTo>
                      <a:cubicBezTo>
                        <a:pt x="24462" y="13149"/>
                        <a:pt x="21194" y="9855"/>
                        <a:pt x="17146" y="9855"/>
                      </a:cubicBezTo>
                      <a:close/>
                    </a:path>
                  </a:pathLst>
                </a:custGeom>
                <a:solidFill>
                  <a:schemeClr val="accent1"/>
                </a:solidFill>
                <a:ln w="2509" cap="flat">
                  <a:noFill/>
                  <a:prstDash val="solid"/>
                  <a:miter/>
                </a:ln>
              </p:spPr>
              <p:txBody>
                <a:bodyPr rtlCol="0" anchor="ctr"/>
                <a:lstStyle/>
                <a:p>
                  <a:endParaRPr lang="en-GB" dirty="0"/>
                </a:p>
              </p:txBody>
            </p:sp>
          </p:grpSp>
          <p:grpSp>
            <p:nvGrpSpPr>
              <p:cNvPr id="376" name="Grafik 32">
                <a:extLst>
                  <a:ext uri="{FF2B5EF4-FFF2-40B4-BE49-F238E27FC236}">
                    <a16:creationId xmlns:a16="http://schemas.microsoft.com/office/drawing/2014/main" id="{A4B74D2C-6AAD-462F-860F-FD7C35CCBF2C}"/>
                  </a:ext>
                </a:extLst>
              </p:cNvPr>
              <p:cNvGrpSpPr/>
              <p:nvPr/>
            </p:nvGrpSpPr>
            <p:grpSpPr>
              <a:xfrm>
                <a:off x="2426359" y="2600419"/>
                <a:ext cx="300253" cy="253748"/>
                <a:chOff x="2426359" y="2600419"/>
                <a:chExt cx="300253" cy="253748"/>
              </a:xfrm>
              <a:solidFill>
                <a:schemeClr val="accent1"/>
              </a:solidFill>
            </p:grpSpPr>
            <p:grpSp>
              <p:nvGrpSpPr>
                <p:cNvPr id="377" name="Grafik 32">
                  <a:extLst>
                    <a:ext uri="{FF2B5EF4-FFF2-40B4-BE49-F238E27FC236}">
                      <a16:creationId xmlns:a16="http://schemas.microsoft.com/office/drawing/2014/main" id="{3E6053AF-229C-4E35-9376-4F5C2EA28038}"/>
                    </a:ext>
                  </a:extLst>
                </p:cNvPr>
                <p:cNvGrpSpPr/>
                <p:nvPr/>
              </p:nvGrpSpPr>
              <p:grpSpPr>
                <a:xfrm>
                  <a:off x="2426359" y="2600419"/>
                  <a:ext cx="300253" cy="253748"/>
                  <a:chOff x="2426359" y="2600419"/>
                  <a:chExt cx="300253" cy="253748"/>
                </a:xfrm>
                <a:solidFill>
                  <a:schemeClr val="accent1"/>
                </a:solidFill>
              </p:grpSpPr>
              <p:sp>
                <p:nvSpPr>
                  <p:cNvPr id="379" name="Freihandform: Form 427">
                    <a:extLst>
                      <a:ext uri="{FF2B5EF4-FFF2-40B4-BE49-F238E27FC236}">
                        <a16:creationId xmlns:a16="http://schemas.microsoft.com/office/drawing/2014/main" id="{A8152824-DD95-4F37-8235-47FD393CE9E5}"/>
                      </a:ext>
                    </a:extLst>
                  </p:cNvPr>
                  <p:cNvSpPr/>
                  <p:nvPr/>
                </p:nvSpPr>
                <p:spPr>
                  <a:xfrm>
                    <a:off x="2525900" y="2600419"/>
                    <a:ext cx="200713" cy="200826"/>
                  </a:xfrm>
                  <a:custGeom>
                    <a:avLst/>
                    <a:gdLst>
                      <a:gd name="connsiteX0" fmla="*/ 100456 w 200713"/>
                      <a:gd name="connsiteY0" fmla="*/ 200827 h 200826"/>
                      <a:gd name="connsiteX1" fmla="*/ 19703 w 200713"/>
                      <a:gd name="connsiteY1" fmla="*/ 160199 h 200826"/>
                      <a:gd name="connsiteX2" fmla="*/ 40570 w 200713"/>
                      <a:gd name="connsiteY2" fmla="*/ 19761 h 200826"/>
                      <a:gd name="connsiteX3" fmla="*/ 100280 w 200713"/>
                      <a:gd name="connsiteY3" fmla="*/ 0 h 200826"/>
                      <a:gd name="connsiteX4" fmla="*/ 181008 w 200713"/>
                      <a:gd name="connsiteY4" fmla="*/ 40603 h 200826"/>
                      <a:gd name="connsiteX5" fmla="*/ 160166 w 200713"/>
                      <a:gd name="connsiteY5" fmla="*/ 181041 h 200826"/>
                      <a:gd name="connsiteX6" fmla="*/ 100456 w 200713"/>
                      <a:gd name="connsiteY6" fmla="*/ 200827 h 200826"/>
                      <a:gd name="connsiteX7" fmla="*/ 100280 w 200713"/>
                      <a:gd name="connsiteY7" fmla="*/ 9855 h 200826"/>
                      <a:gd name="connsiteX8" fmla="*/ 46403 w 200713"/>
                      <a:gd name="connsiteY8" fmla="*/ 27680 h 200826"/>
                      <a:gd name="connsiteX9" fmla="*/ 27598 w 200713"/>
                      <a:gd name="connsiteY9" fmla="*/ 154366 h 200826"/>
                      <a:gd name="connsiteX10" fmla="*/ 100456 w 200713"/>
                      <a:gd name="connsiteY10" fmla="*/ 190996 h 200826"/>
                      <a:gd name="connsiteX11" fmla="*/ 154309 w 200713"/>
                      <a:gd name="connsiteY11" fmla="*/ 173171 h 200826"/>
                      <a:gd name="connsiteX12" fmla="*/ 173114 w 200713"/>
                      <a:gd name="connsiteY12" fmla="*/ 46486 h 200826"/>
                      <a:gd name="connsiteX13" fmla="*/ 100280 w 200713"/>
                      <a:gd name="connsiteY13" fmla="*/ 9855 h 200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713" h="200826">
                        <a:moveTo>
                          <a:pt x="100456" y="200827"/>
                        </a:moveTo>
                        <a:cubicBezTo>
                          <a:pt x="68754" y="200827"/>
                          <a:pt x="38559" y="185641"/>
                          <a:pt x="19703" y="160199"/>
                        </a:cubicBezTo>
                        <a:cubicBezTo>
                          <a:pt x="-13256" y="115724"/>
                          <a:pt x="-3904" y="52746"/>
                          <a:pt x="40570" y="19761"/>
                        </a:cubicBezTo>
                        <a:cubicBezTo>
                          <a:pt x="57993" y="6838"/>
                          <a:pt x="78659" y="0"/>
                          <a:pt x="100280" y="0"/>
                        </a:cubicBezTo>
                        <a:cubicBezTo>
                          <a:pt x="131983" y="0"/>
                          <a:pt x="162152" y="15185"/>
                          <a:pt x="181008" y="40603"/>
                        </a:cubicBezTo>
                        <a:cubicBezTo>
                          <a:pt x="213968" y="85077"/>
                          <a:pt x="204616" y="148081"/>
                          <a:pt x="160166" y="181041"/>
                        </a:cubicBezTo>
                        <a:cubicBezTo>
                          <a:pt x="142744" y="193988"/>
                          <a:pt x="122103" y="200827"/>
                          <a:pt x="100456" y="200827"/>
                        </a:cubicBezTo>
                        <a:close/>
                        <a:moveTo>
                          <a:pt x="100280" y="9855"/>
                        </a:moveTo>
                        <a:cubicBezTo>
                          <a:pt x="80771" y="9855"/>
                          <a:pt x="62142" y="16015"/>
                          <a:pt x="46403" y="27680"/>
                        </a:cubicBezTo>
                        <a:cubicBezTo>
                          <a:pt x="6303" y="57422"/>
                          <a:pt x="-2144" y="114266"/>
                          <a:pt x="27598" y="154366"/>
                        </a:cubicBezTo>
                        <a:cubicBezTo>
                          <a:pt x="44618" y="177320"/>
                          <a:pt x="71846" y="190996"/>
                          <a:pt x="100456" y="190996"/>
                        </a:cubicBezTo>
                        <a:cubicBezTo>
                          <a:pt x="119966" y="190996"/>
                          <a:pt x="138595" y="184837"/>
                          <a:pt x="154309" y="173171"/>
                        </a:cubicBezTo>
                        <a:cubicBezTo>
                          <a:pt x="194408" y="143430"/>
                          <a:pt x="202856" y="86586"/>
                          <a:pt x="173114" y="46486"/>
                        </a:cubicBezTo>
                        <a:cubicBezTo>
                          <a:pt x="156119" y="23557"/>
                          <a:pt x="128891" y="9855"/>
                          <a:pt x="100280" y="9855"/>
                        </a:cubicBezTo>
                        <a:close/>
                      </a:path>
                    </a:pathLst>
                  </a:custGeom>
                  <a:solidFill>
                    <a:schemeClr val="accent1"/>
                  </a:solidFill>
                  <a:ln w="2509" cap="flat">
                    <a:noFill/>
                    <a:prstDash val="solid"/>
                    <a:miter/>
                  </a:ln>
                </p:spPr>
                <p:txBody>
                  <a:bodyPr rtlCol="0" anchor="ctr"/>
                  <a:lstStyle/>
                  <a:p>
                    <a:endParaRPr lang="en-GB" dirty="0"/>
                  </a:p>
                </p:txBody>
              </p:sp>
              <p:sp>
                <p:nvSpPr>
                  <p:cNvPr id="380" name="Freihandform: Form 428">
                    <a:extLst>
                      <a:ext uri="{FF2B5EF4-FFF2-40B4-BE49-F238E27FC236}">
                        <a16:creationId xmlns:a16="http://schemas.microsoft.com/office/drawing/2014/main" id="{CD465E47-B2C3-4A19-A0FF-0B9B30B02F05}"/>
                      </a:ext>
                    </a:extLst>
                  </p:cNvPr>
                  <p:cNvSpPr/>
                  <p:nvPr/>
                </p:nvSpPr>
                <p:spPr>
                  <a:xfrm>
                    <a:off x="2518458" y="2754088"/>
                    <a:ext cx="34329" cy="28754"/>
                  </a:xfrm>
                  <a:custGeom>
                    <a:avLst/>
                    <a:gdLst>
                      <a:gd name="connsiteX0" fmla="*/ 4921 w 34329"/>
                      <a:gd name="connsiteY0" fmla="*/ 28755 h 28754"/>
                      <a:gd name="connsiteX1" fmla="*/ 1024 w 34329"/>
                      <a:gd name="connsiteY1" fmla="*/ 26844 h 28754"/>
                      <a:gd name="connsiteX2" fmla="*/ 1904 w 34329"/>
                      <a:gd name="connsiteY2" fmla="*/ 19955 h 28754"/>
                      <a:gd name="connsiteX3" fmla="*/ 26391 w 34329"/>
                      <a:gd name="connsiteY3" fmla="*/ 1024 h 28754"/>
                      <a:gd name="connsiteX4" fmla="*/ 33305 w 34329"/>
                      <a:gd name="connsiteY4" fmla="*/ 1904 h 28754"/>
                      <a:gd name="connsiteX5" fmla="*/ 32425 w 34329"/>
                      <a:gd name="connsiteY5" fmla="*/ 8793 h 28754"/>
                      <a:gd name="connsiteX6" fmla="*/ 7938 w 34329"/>
                      <a:gd name="connsiteY6" fmla="*/ 27724 h 28754"/>
                      <a:gd name="connsiteX7" fmla="*/ 4921 w 34329"/>
                      <a:gd name="connsiteY7" fmla="*/ 28755 h 2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29" h="28754">
                        <a:moveTo>
                          <a:pt x="4921" y="28755"/>
                        </a:moveTo>
                        <a:cubicBezTo>
                          <a:pt x="3438" y="28755"/>
                          <a:pt x="2005" y="28101"/>
                          <a:pt x="1024" y="26844"/>
                        </a:cubicBezTo>
                        <a:cubicBezTo>
                          <a:pt x="-635" y="24682"/>
                          <a:pt x="-233" y="21615"/>
                          <a:pt x="1904" y="19955"/>
                        </a:cubicBezTo>
                        <a:lnTo>
                          <a:pt x="26391" y="1024"/>
                        </a:lnTo>
                        <a:cubicBezTo>
                          <a:pt x="28553" y="-635"/>
                          <a:pt x="31621" y="-233"/>
                          <a:pt x="33305" y="1904"/>
                        </a:cubicBezTo>
                        <a:cubicBezTo>
                          <a:pt x="34964" y="4066"/>
                          <a:pt x="34562" y="7133"/>
                          <a:pt x="32425" y="8793"/>
                        </a:cubicBezTo>
                        <a:lnTo>
                          <a:pt x="7938" y="27724"/>
                        </a:lnTo>
                        <a:cubicBezTo>
                          <a:pt x="7033" y="28403"/>
                          <a:pt x="5977" y="28755"/>
                          <a:pt x="4921" y="28755"/>
                        </a:cubicBezTo>
                        <a:close/>
                      </a:path>
                    </a:pathLst>
                  </a:custGeom>
                  <a:solidFill>
                    <a:schemeClr val="accent1"/>
                  </a:solidFill>
                  <a:ln w="2509" cap="flat">
                    <a:noFill/>
                    <a:prstDash val="solid"/>
                    <a:miter/>
                  </a:ln>
                </p:spPr>
                <p:txBody>
                  <a:bodyPr rtlCol="0" anchor="ctr"/>
                  <a:lstStyle/>
                  <a:p>
                    <a:endParaRPr lang="en-GB" dirty="0"/>
                  </a:p>
                </p:txBody>
              </p:sp>
              <p:sp>
                <p:nvSpPr>
                  <p:cNvPr id="381" name="Freihandform: Form 429">
                    <a:extLst>
                      <a:ext uri="{FF2B5EF4-FFF2-40B4-BE49-F238E27FC236}">
                        <a16:creationId xmlns:a16="http://schemas.microsoft.com/office/drawing/2014/main" id="{8D74F22C-A9E3-4E16-848C-CDDD2C9EBF64}"/>
                      </a:ext>
                    </a:extLst>
                  </p:cNvPr>
                  <p:cNvSpPr/>
                  <p:nvPr/>
                </p:nvSpPr>
                <p:spPr>
                  <a:xfrm>
                    <a:off x="2426359" y="2767658"/>
                    <a:ext cx="102944" cy="86510"/>
                  </a:xfrm>
                  <a:custGeom>
                    <a:avLst/>
                    <a:gdLst>
                      <a:gd name="connsiteX0" fmla="*/ 20138 w 102944"/>
                      <a:gd name="connsiteY0" fmla="*/ 86510 h 86510"/>
                      <a:gd name="connsiteX1" fmla="*/ 3671 w 102944"/>
                      <a:gd name="connsiteY1" fmla="*/ 78691 h 86510"/>
                      <a:gd name="connsiteX2" fmla="*/ 10987 w 102944"/>
                      <a:gd name="connsiteY2" fmla="*/ 46737 h 86510"/>
                      <a:gd name="connsiteX3" fmla="*/ 66523 w 102944"/>
                      <a:gd name="connsiteY3" fmla="*/ 5556 h 86510"/>
                      <a:gd name="connsiteX4" fmla="*/ 82764 w 102944"/>
                      <a:gd name="connsiteY4" fmla="*/ 0 h 86510"/>
                      <a:gd name="connsiteX5" fmla="*/ 99232 w 102944"/>
                      <a:gd name="connsiteY5" fmla="*/ 7819 h 86510"/>
                      <a:gd name="connsiteX6" fmla="*/ 102249 w 102944"/>
                      <a:gd name="connsiteY6" fmla="*/ 24714 h 86510"/>
                      <a:gd name="connsiteX7" fmla="*/ 91891 w 102944"/>
                      <a:gd name="connsiteY7" fmla="*/ 39748 h 86510"/>
                      <a:gd name="connsiteX8" fmla="*/ 36354 w 102944"/>
                      <a:gd name="connsiteY8" fmla="*/ 80954 h 86510"/>
                      <a:gd name="connsiteX9" fmla="*/ 20138 w 102944"/>
                      <a:gd name="connsiteY9" fmla="*/ 86510 h 86510"/>
                      <a:gd name="connsiteX10" fmla="*/ 82739 w 102944"/>
                      <a:gd name="connsiteY10" fmla="*/ 9855 h 86510"/>
                      <a:gd name="connsiteX11" fmla="*/ 72356 w 102944"/>
                      <a:gd name="connsiteY11" fmla="*/ 13476 h 86510"/>
                      <a:gd name="connsiteX12" fmla="*/ 16819 w 102944"/>
                      <a:gd name="connsiteY12" fmla="*/ 54657 h 86510"/>
                      <a:gd name="connsiteX13" fmla="*/ 11540 w 102944"/>
                      <a:gd name="connsiteY13" fmla="*/ 72859 h 86510"/>
                      <a:gd name="connsiteX14" fmla="*/ 30471 w 102944"/>
                      <a:gd name="connsiteY14" fmla="*/ 73060 h 86510"/>
                      <a:gd name="connsiteX15" fmla="*/ 85982 w 102944"/>
                      <a:gd name="connsiteY15" fmla="*/ 31904 h 86510"/>
                      <a:gd name="connsiteX16" fmla="*/ 92645 w 102944"/>
                      <a:gd name="connsiteY16" fmla="*/ 22376 h 86510"/>
                      <a:gd name="connsiteX17" fmla="*/ 91287 w 102944"/>
                      <a:gd name="connsiteY17" fmla="*/ 13727 h 86510"/>
                      <a:gd name="connsiteX18" fmla="*/ 82739 w 102944"/>
                      <a:gd name="connsiteY18" fmla="*/ 9855 h 86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2944" h="86510">
                        <a:moveTo>
                          <a:pt x="20138" y="86510"/>
                        </a:moveTo>
                        <a:cubicBezTo>
                          <a:pt x="13375" y="86510"/>
                          <a:pt x="7366" y="83669"/>
                          <a:pt x="3671" y="78691"/>
                        </a:cubicBezTo>
                        <a:cubicBezTo>
                          <a:pt x="-3319" y="69238"/>
                          <a:pt x="-25" y="54908"/>
                          <a:pt x="10987" y="46737"/>
                        </a:cubicBezTo>
                        <a:lnTo>
                          <a:pt x="66523" y="5556"/>
                        </a:lnTo>
                        <a:cubicBezTo>
                          <a:pt x="71350" y="1986"/>
                          <a:pt x="77108" y="0"/>
                          <a:pt x="82764" y="0"/>
                        </a:cubicBezTo>
                        <a:cubicBezTo>
                          <a:pt x="89552" y="0"/>
                          <a:pt x="95561" y="2841"/>
                          <a:pt x="99232" y="7819"/>
                        </a:cubicBezTo>
                        <a:cubicBezTo>
                          <a:pt x="102726" y="12520"/>
                          <a:pt x="103807" y="18529"/>
                          <a:pt x="102249" y="24714"/>
                        </a:cubicBezTo>
                        <a:cubicBezTo>
                          <a:pt x="100765" y="30546"/>
                          <a:pt x="97095" y="35876"/>
                          <a:pt x="91891" y="39748"/>
                        </a:cubicBezTo>
                        <a:lnTo>
                          <a:pt x="36354" y="80954"/>
                        </a:lnTo>
                        <a:cubicBezTo>
                          <a:pt x="31527" y="84549"/>
                          <a:pt x="25770" y="86510"/>
                          <a:pt x="20138" y="86510"/>
                        </a:cubicBezTo>
                        <a:close/>
                        <a:moveTo>
                          <a:pt x="82739" y="9855"/>
                        </a:moveTo>
                        <a:cubicBezTo>
                          <a:pt x="79194" y="9855"/>
                          <a:pt x="75524" y="11138"/>
                          <a:pt x="72356" y="13476"/>
                        </a:cubicBezTo>
                        <a:lnTo>
                          <a:pt x="16819" y="54657"/>
                        </a:lnTo>
                        <a:cubicBezTo>
                          <a:pt x="10157" y="59609"/>
                          <a:pt x="7794" y="67755"/>
                          <a:pt x="11540" y="72859"/>
                        </a:cubicBezTo>
                        <a:cubicBezTo>
                          <a:pt x="15135" y="77686"/>
                          <a:pt x="24035" y="77837"/>
                          <a:pt x="30471" y="73060"/>
                        </a:cubicBezTo>
                        <a:lnTo>
                          <a:pt x="85982" y="31904"/>
                        </a:lnTo>
                        <a:cubicBezTo>
                          <a:pt x="89351" y="29390"/>
                          <a:pt x="91740" y="25996"/>
                          <a:pt x="92645" y="22376"/>
                        </a:cubicBezTo>
                        <a:cubicBezTo>
                          <a:pt x="93474" y="19107"/>
                          <a:pt x="92997" y="16040"/>
                          <a:pt x="91287" y="13727"/>
                        </a:cubicBezTo>
                        <a:cubicBezTo>
                          <a:pt x="89477" y="11213"/>
                          <a:pt x="86435" y="9855"/>
                          <a:pt x="82739" y="9855"/>
                        </a:cubicBezTo>
                        <a:close/>
                      </a:path>
                    </a:pathLst>
                  </a:custGeom>
                  <a:solidFill>
                    <a:schemeClr val="accent1"/>
                  </a:solidFill>
                  <a:ln w="2509" cap="flat">
                    <a:noFill/>
                    <a:prstDash val="solid"/>
                    <a:miter/>
                  </a:ln>
                </p:spPr>
                <p:txBody>
                  <a:bodyPr rtlCol="0" anchor="ctr"/>
                  <a:lstStyle/>
                  <a:p>
                    <a:endParaRPr lang="en-GB" dirty="0"/>
                  </a:p>
                </p:txBody>
              </p:sp>
            </p:grpSp>
            <p:sp>
              <p:nvSpPr>
                <p:cNvPr id="378" name="Freihandform: Form 430">
                  <a:extLst>
                    <a:ext uri="{FF2B5EF4-FFF2-40B4-BE49-F238E27FC236}">
                      <a16:creationId xmlns:a16="http://schemas.microsoft.com/office/drawing/2014/main" id="{39E42DC3-4C17-4103-8AED-18E60F701FDE}"/>
                    </a:ext>
                  </a:extLst>
                </p:cNvPr>
                <p:cNvSpPr/>
                <p:nvPr/>
              </p:nvSpPr>
              <p:spPr>
                <a:xfrm>
                  <a:off x="2552705" y="2627698"/>
                  <a:ext cx="147577" cy="147653"/>
                </a:xfrm>
                <a:custGeom>
                  <a:avLst/>
                  <a:gdLst>
                    <a:gd name="connsiteX0" fmla="*/ 73852 w 147577"/>
                    <a:gd name="connsiteY0" fmla="*/ 147653 h 147653"/>
                    <a:gd name="connsiteX1" fmla="*/ 14494 w 147577"/>
                    <a:gd name="connsiteY1" fmla="*/ 117786 h 147653"/>
                    <a:gd name="connsiteX2" fmla="*/ 29805 w 147577"/>
                    <a:gd name="connsiteY2" fmla="*/ 14532 h 147653"/>
                    <a:gd name="connsiteX3" fmla="*/ 73727 w 147577"/>
                    <a:gd name="connsiteY3" fmla="*/ 0 h 147653"/>
                    <a:gd name="connsiteX4" fmla="*/ 133085 w 147577"/>
                    <a:gd name="connsiteY4" fmla="*/ 29842 h 147653"/>
                    <a:gd name="connsiteX5" fmla="*/ 117749 w 147577"/>
                    <a:gd name="connsiteY5" fmla="*/ 133097 h 147653"/>
                    <a:gd name="connsiteX6" fmla="*/ 73852 w 147577"/>
                    <a:gd name="connsiteY6" fmla="*/ 147653 h 147653"/>
                    <a:gd name="connsiteX7" fmla="*/ 73727 w 147577"/>
                    <a:gd name="connsiteY7" fmla="*/ 9830 h 147653"/>
                    <a:gd name="connsiteX8" fmla="*/ 35663 w 147577"/>
                    <a:gd name="connsiteY8" fmla="*/ 22426 h 147653"/>
                    <a:gd name="connsiteX9" fmla="*/ 22389 w 147577"/>
                    <a:gd name="connsiteY9" fmla="*/ 111928 h 147653"/>
                    <a:gd name="connsiteX10" fmla="*/ 73852 w 147577"/>
                    <a:gd name="connsiteY10" fmla="*/ 137823 h 147653"/>
                    <a:gd name="connsiteX11" fmla="*/ 111891 w 147577"/>
                    <a:gd name="connsiteY11" fmla="*/ 125227 h 147653"/>
                    <a:gd name="connsiteX12" fmla="*/ 125190 w 147577"/>
                    <a:gd name="connsiteY12" fmla="*/ 35725 h 147653"/>
                    <a:gd name="connsiteX13" fmla="*/ 73727 w 147577"/>
                    <a:gd name="connsiteY13" fmla="*/ 9830 h 14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7577" h="147653">
                      <a:moveTo>
                        <a:pt x="73852" y="147653"/>
                      </a:moveTo>
                      <a:cubicBezTo>
                        <a:pt x="50547" y="147653"/>
                        <a:pt x="28372" y="136491"/>
                        <a:pt x="14494" y="117786"/>
                      </a:cubicBezTo>
                      <a:cubicBezTo>
                        <a:pt x="-9742" y="85102"/>
                        <a:pt x="-2878" y="38793"/>
                        <a:pt x="29805" y="14532"/>
                      </a:cubicBezTo>
                      <a:cubicBezTo>
                        <a:pt x="42627" y="5028"/>
                        <a:pt x="57812" y="0"/>
                        <a:pt x="73727" y="0"/>
                      </a:cubicBezTo>
                      <a:cubicBezTo>
                        <a:pt x="97032" y="0"/>
                        <a:pt x="119207" y="11163"/>
                        <a:pt x="133085" y="29842"/>
                      </a:cubicBezTo>
                      <a:cubicBezTo>
                        <a:pt x="157321" y="62526"/>
                        <a:pt x="150457" y="108861"/>
                        <a:pt x="117749" y="133097"/>
                      </a:cubicBezTo>
                      <a:cubicBezTo>
                        <a:pt x="104927" y="142625"/>
                        <a:pt x="89767" y="147653"/>
                        <a:pt x="73852" y="147653"/>
                      </a:cubicBezTo>
                      <a:close/>
                      <a:moveTo>
                        <a:pt x="73727" y="9830"/>
                      </a:moveTo>
                      <a:cubicBezTo>
                        <a:pt x="59949" y="9830"/>
                        <a:pt x="46775" y="14180"/>
                        <a:pt x="35663" y="22426"/>
                      </a:cubicBezTo>
                      <a:cubicBezTo>
                        <a:pt x="7329" y="43444"/>
                        <a:pt x="1371" y="83594"/>
                        <a:pt x="22389" y="111928"/>
                      </a:cubicBezTo>
                      <a:cubicBezTo>
                        <a:pt x="34406" y="128144"/>
                        <a:pt x="53639" y="137823"/>
                        <a:pt x="73852" y="137823"/>
                      </a:cubicBezTo>
                      <a:cubicBezTo>
                        <a:pt x="87630" y="137823"/>
                        <a:pt x="100804" y="133474"/>
                        <a:pt x="111891" y="125227"/>
                      </a:cubicBezTo>
                      <a:cubicBezTo>
                        <a:pt x="140225" y="104210"/>
                        <a:pt x="146208" y="64059"/>
                        <a:pt x="125190" y="35725"/>
                      </a:cubicBezTo>
                      <a:cubicBezTo>
                        <a:pt x="112972" y="19258"/>
                        <a:pt x="94242" y="9830"/>
                        <a:pt x="73727" y="9830"/>
                      </a:cubicBezTo>
                      <a:close/>
                    </a:path>
                  </a:pathLst>
                </a:custGeom>
                <a:solidFill>
                  <a:schemeClr val="accent1"/>
                </a:solidFill>
                <a:ln w="2509" cap="flat">
                  <a:noFill/>
                  <a:prstDash val="solid"/>
                  <a:miter/>
                </a:ln>
              </p:spPr>
              <p:txBody>
                <a:bodyPr rtlCol="0" anchor="ctr"/>
                <a:lstStyle/>
                <a:p>
                  <a:endParaRPr lang="en-GB" dirty="0"/>
                </a:p>
              </p:txBody>
            </p:sp>
          </p:grpSp>
        </p:grpSp>
      </p:grpSp>
      <p:grpSp>
        <p:nvGrpSpPr>
          <p:cNvPr id="612" name="Group 611">
            <a:extLst>
              <a:ext uri="{FF2B5EF4-FFF2-40B4-BE49-F238E27FC236}">
                <a16:creationId xmlns:a16="http://schemas.microsoft.com/office/drawing/2014/main" id="{71F855D5-2A4B-A578-9310-437E80D7A1AA}"/>
              </a:ext>
            </a:extLst>
          </p:cNvPr>
          <p:cNvGrpSpPr/>
          <p:nvPr/>
        </p:nvGrpSpPr>
        <p:grpSpPr>
          <a:xfrm>
            <a:off x="8146323" y="1585984"/>
            <a:ext cx="392691" cy="432000"/>
            <a:chOff x="8145911" y="1585984"/>
            <a:chExt cx="392691" cy="432000"/>
          </a:xfrm>
        </p:grpSpPr>
        <p:grpSp>
          <p:nvGrpSpPr>
            <p:cNvPr id="397" name="Grafik 32">
              <a:extLst>
                <a:ext uri="{FF2B5EF4-FFF2-40B4-BE49-F238E27FC236}">
                  <a16:creationId xmlns:a16="http://schemas.microsoft.com/office/drawing/2014/main" id="{0B63FE3C-2C5D-427A-B73E-F4C2D6AE71D0}"/>
                </a:ext>
              </a:extLst>
            </p:cNvPr>
            <p:cNvGrpSpPr/>
            <p:nvPr/>
          </p:nvGrpSpPr>
          <p:grpSpPr>
            <a:xfrm>
              <a:off x="8231069" y="1585984"/>
              <a:ext cx="241560" cy="414993"/>
              <a:chOff x="991866" y="4072704"/>
              <a:chExt cx="268170" cy="460709"/>
            </a:xfrm>
            <a:solidFill>
              <a:schemeClr val="tx2"/>
            </a:solidFill>
          </p:grpSpPr>
          <p:grpSp>
            <p:nvGrpSpPr>
              <p:cNvPr id="408" name="Grafik 32">
                <a:extLst>
                  <a:ext uri="{FF2B5EF4-FFF2-40B4-BE49-F238E27FC236}">
                    <a16:creationId xmlns:a16="http://schemas.microsoft.com/office/drawing/2014/main" id="{62EFDF5C-BB55-4DD1-A52C-C6DEB6EF799E}"/>
                  </a:ext>
                </a:extLst>
              </p:cNvPr>
              <p:cNvGrpSpPr/>
              <p:nvPr/>
            </p:nvGrpSpPr>
            <p:grpSpPr>
              <a:xfrm>
                <a:off x="991866" y="4072704"/>
                <a:ext cx="268170" cy="460709"/>
                <a:chOff x="991866" y="4072704"/>
                <a:chExt cx="268170" cy="460709"/>
              </a:xfrm>
              <a:grpFill/>
            </p:grpSpPr>
            <p:sp>
              <p:nvSpPr>
                <p:cNvPr id="410" name="Freihandform: Form 566">
                  <a:extLst>
                    <a:ext uri="{FF2B5EF4-FFF2-40B4-BE49-F238E27FC236}">
                      <a16:creationId xmlns:a16="http://schemas.microsoft.com/office/drawing/2014/main" id="{6DA289AA-17F9-4653-8D86-B29E00A668D0}"/>
                    </a:ext>
                  </a:extLst>
                </p:cNvPr>
                <p:cNvSpPr/>
                <p:nvPr/>
              </p:nvSpPr>
              <p:spPr>
                <a:xfrm>
                  <a:off x="1027857" y="4231006"/>
                  <a:ext cx="59875" cy="150529"/>
                </a:xfrm>
                <a:custGeom>
                  <a:avLst/>
                  <a:gdLst>
                    <a:gd name="connsiteX0" fmla="*/ 4909 w 59875"/>
                    <a:gd name="connsiteY0" fmla="*/ 150530 h 150529"/>
                    <a:gd name="connsiteX1" fmla="*/ 3275 w 59875"/>
                    <a:gd name="connsiteY1" fmla="*/ 150253 h 150529"/>
                    <a:gd name="connsiteX2" fmla="*/ 284 w 59875"/>
                    <a:gd name="connsiteY2" fmla="*/ 143968 h 150529"/>
                    <a:gd name="connsiteX3" fmla="*/ 15594 w 59875"/>
                    <a:gd name="connsiteY3" fmla="*/ 110932 h 150529"/>
                    <a:gd name="connsiteX4" fmla="*/ 16173 w 59875"/>
                    <a:gd name="connsiteY4" fmla="*/ 110153 h 150529"/>
                    <a:gd name="connsiteX5" fmla="*/ 50038 w 59875"/>
                    <a:gd name="connsiteY5" fmla="*/ 4661 h 150529"/>
                    <a:gd name="connsiteX6" fmla="*/ 55217 w 59875"/>
                    <a:gd name="connsiteY6" fmla="*/ 10 h 150529"/>
                    <a:gd name="connsiteX7" fmla="*/ 59868 w 59875"/>
                    <a:gd name="connsiteY7" fmla="*/ 5189 h 150529"/>
                    <a:gd name="connsiteX8" fmla="*/ 23891 w 59875"/>
                    <a:gd name="connsiteY8" fmla="*/ 116288 h 150529"/>
                    <a:gd name="connsiteX9" fmla="*/ 9611 w 59875"/>
                    <a:gd name="connsiteY9" fmla="*/ 147261 h 150529"/>
                    <a:gd name="connsiteX10" fmla="*/ 4909 w 59875"/>
                    <a:gd name="connsiteY10" fmla="*/ 150530 h 15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875" h="150529">
                      <a:moveTo>
                        <a:pt x="4909" y="150530"/>
                      </a:moveTo>
                      <a:cubicBezTo>
                        <a:pt x="4356" y="150530"/>
                        <a:pt x="3803" y="150429"/>
                        <a:pt x="3275" y="150253"/>
                      </a:cubicBezTo>
                      <a:cubicBezTo>
                        <a:pt x="711" y="149348"/>
                        <a:pt x="-622" y="146532"/>
                        <a:pt x="284" y="143968"/>
                      </a:cubicBezTo>
                      <a:cubicBezTo>
                        <a:pt x="4356" y="132479"/>
                        <a:pt x="9510" y="121366"/>
                        <a:pt x="15594" y="110932"/>
                      </a:cubicBezTo>
                      <a:cubicBezTo>
                        <a:pt x="15745" y="110656"/>
                        <a:pt x="15946" y="110379"/>
                        <a:pt x="16173" y="110153"/>
                      </a:cubicBezTo>
                      <a:cubicBezTo>
                        <a:pt x="41037" y="82045"/>
                        <a:pt x="48303" y="37294"/>
                        <a:pt x="50038" y="4661"/>
                      </a:cubicBezTo>
                      <a:cubicBezTo>
                        <a:pt x="50188" y="1946"/>
                        <a:pt x="52426" y="-166"/>
                        <a:pt x="55217" y="10"/>
                      </a:cubicBezTo>
                      <a:cubicBezTo>
                        <a:pt x="57932" y="161"/>
                        <a:pt x="60019" y="2474"/>
                        <a:pt x="59868" y="5189"/>
                      </a:cubicBezTo>
                      <a:cubicBezTo>
                        <a:pt x="58058" y="39230"/>
                        <a:pt x="50364" y="86043"/>
                        <a:pt x="23891" y="116288"/>
                      </a:cubicBezTo>
                      <a:cubicBezTo>
                        <a:pt x="18234" y="126067"/>
                        <a:pt x="13407" y="136476"/>
                        <a:pt x="9611" y="147261"/>
                      </a:cubicBezTo>
                      <a:cubicBezTo>
                        <a:pt x="8831" y="149273"/>
                        <a:pt x="6946" y="150530"/>
                        <a:pt x="4909" y="150530"/>
                      </a:cubicBezTo>
                      <a:close/>
                    </a:path>
                  </a:pathLst>
                </a:custGeom>
                <a:grpFill/>
                <a:ln w="2509" cap="flat">
                  <a:noFill/>
                  <a:prstDash val="solid"/>
                  <a:miter/>
                </a:ln>
              </p:spPr>
              <p:txBody>
                <a:bodyPr rtlCol="0" anchor="ctr"/>
                <a:lstStyle/>
                <a:p>
                  <a:endParaRPr lang="en-GB" dirty="0"/>
                </a:p>
              </p:txBody>
            </p:sp>
            <p:sp>
              <p:nvSpPr>
                <p:cNvPr id="411" name="Freihandform: Form 567">
                  <a:extLst>
                    <a:ext uri="{FF2B5EF4-FFF2-40B4-BE49-F238E27FC236}">
                      <a16:creationId xmlns:a16="http://schemas.microsoft.com/office/drawing/2014/main" id="{E1716A6D-E5CC-40FC-81D6-7D915C804B3C}"/>
                    </a:ext>
                  </a:extLst>
                </p:cNvPr>
                <p:cNvSpPr/>
                <p:nvPr/>
              </p:nvSpPr>
              <p:spPr>
                <a:xfrm>
                  <a:off x="1076222" y="4173243"/>
                  <a:ext cx="99409" cy="34041"/>
                </a:xfrm>
                <a:custGeom>
                  <a:avLst/>
                  <a:gdLst>
                    <a:gd name="connsiteX0" fmla="*/ 92709 w 99409"/>
                    <a:gd name="connsiteY0" fmla="*/ 34041 h 34041"/>
                    <a:gd name="connsiteX1" fmla="*/ 92508 w 99409"/>
                    <a:gd name="connsiteY1" fmla="*/ 34041 h 34041"/>
                    <a:gd name="connsiteX2" fmla="*/ 87781 w 99409"/>
                    <a:gd name="connsiteY2" fmla="*/ 28937 h 34041"/>
                    <a:gd name="connsiteX3" fmla="*/ 89038 w 99409"/>
                    <a:gd name="connsiteY3" fmla="*/ 9805 h 34041"/>
                    <a:gd name="connsiteX4" fmla="*/ 10397 w 99409"/>
                    <a:gd name="connsiteY4" fmla="*/ 9805 h 34041"/>
                    <a:gd name="connsiteX5" fmla="*/ 11579 w 99409"/>
                    <a:gd name="connsiteY5" fmla="*/ 27353 h 34041"/>
                    <a:gd name="connsiteX6" fmla="*/ 6877 w 99409"/>
                    <a:gd name="connsiteY6" fmla="*/ 32482 h 34041"/>
                    <a:gd name="connsiteX7" fmla="*/ 1748 w 99409"/>
                    <a:gd name="connsiteY7" fmla="*/ 27781 h 34041"/>
                    <a:gd name="connsiteX8" fmla="*/ 39 w 99409"/>
                    <a:gd name="connsiteY8" fmla="*/ 5556 h 34041"/>
                    <a:gd name="connsiteX9" fmla="*/ 1220 w 99409"/>
                    <a:gd name="connsiteY9" fmla="*/ 1659 h 34041"/>
                    <a:gd name="connsiteX10" fmla="*/ 4916 w 99409"/>
                    <a:gd name="connsiteY10" fmla="*/ 0 h 34041"/>
                    <a:gd name="connsiteX11" fmla="*/ 94494 w 99409"/>
                    <a:gd name="connsiteY11" fmla="*/ 0 h 34041"/>
                    <a:gd name="connsiteX12" fmla="*/ 98189 w 99409"/>
                    <a:gd name="connsiteY12" fmla="*/ 1684 h 34041"/>
                    <a:gd name="connsiteX13" fmla="*/ 99371 w 99409"/>
                    <a:gd name="connsiteY13" fmla="*/ 5556 h 34041"/>
                    <a:gd name="connsiteX14" fmla="*/ 97586 w 99409"/>
                    <a:gd name="connsiteY14" fmla="*/ 29365 h 34041"/>
                    <a:gd name="connsiteX15" fmla="*/ 92709 w 99409"/>
                    <a:gd name="connsiteY15" fmla="*/ 34041 h 34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409" h="34041">
                      <a:moveTo>
                        <a:pt x="92709" y="34041"/>
                      </a:moveTo>
                      <a:cubicBezTo>
                        <a:pt x="92633" y="34041"/>
                        <a:pt x="92583" y="34041"/>
                        <a:pt x="92508" y="34041"/>
                      </a:cubicBezTo>
                      <a:cubicBezTo>
                        <a:pt x="89792" y="33940"/>
                        <a:pt x="87680" y="31652"/>
                        <a:pt x="87781" y="28937"/>
                      </a:cubicBezTo>
                      <a:cubicBezTo>
                        <a:pt x="88108" y="20691"/>
                        <a:pt x="88611" y="14104"/>
                        <a:pt x="89038" y="9805"/>
                      </a:cubicBezTo>
                      <a:lnTo>
                        <a:pt x="10397" y="9805"/>
                      </a:lnTo>
                      <a:cubicBezTo>
                        <a:pt x="10774" y="13802"/>
                        <a:pt x="11252" y="19836"/>
                        <a:pt x="11579" y="27353"/>
                      </a:cubicBezTo>
                      <a:cubicBezTo>
                        <a:pt x="11704" y="30069"/>
                        <a:pt x="9592" y="32357"/>
                        <a:pt x="6877" y="32482"/>
                      </a:cubicBezTo>
                      <a:cubicBezTo>
                        <a:pt x="3961" y="32709"/>
                        <a:pt x="1874" y="30496"/>
                        <a:pt x="1748" y="27781"/>
                      </a:cubicBezTo>
                      <a:cubicBezTo>
                        <a:pt x="1170" y="14330"/>
                        <a:pt x="39" y="5632"/>
                        <a:pt x="39" y="5556"/>
                      </a:cubicBezTo>
                      <a:cubicBezTo>
                        <a:pt x="-137" y="4148"/>
                        <a:pt x="290" y="2740"/>
                        <a:pt x="1220" y="1659"/>
                      </a:cubicBezTo>
                      <a:cubicBezTo>
                        <a:pt x="2151" y="603"/>
                        <a:pt x="3508" y="0"/>
                        <a:pt x="4916" y="0"/>
                      </a:cubicBezTo>
                      <a:lnTo>
                        <a:pt x="94494" y="0"/>
                      </a:lnTo>
                      <a:cubicBezTo>
                        <a:pt x="95902" y="0"/>
                        <a:pt x="97259" y="603"/>
                        <a:pt x="98189" y="1684"/>
                      </a:cubicBezTo>
                      <a:cubicBezTo>
                        <a:pt x="99120" y="2740"/>
                        <a:pt x="99547" y="4173"/>
                        <a:pt x="99371" y="5556"/>
                      </a:cubicBezTo>
                      <a:cubicBezTo>
                        <a:pt x="99346" y="5657"/>
                        <a:pt x="98139" y="15009"/>
                        <a:pt x="97586" y="29365"/>
                      </a:cubicBezTo>
                      <a:cubicBezTo>
                        <a:pt x="97536" y="31954"/>
                        <a:pt x="95348" y="34041"/>
                        <a:pt x="92709" y="34041"/>
                      </a:cubicBezTo>
                      <a:close/>
                    </a:path>
                  </a:pathLst>
                </a:custGeom>
                <a:grpFill/>
                <a:ln w="2509" cap="flat">
                  <a:noFill/>
                  <a:prstDash val="solid"/>
                  <a:miter/>
                </a:ln>
              </p:spPr>
              <p:txBody>
                <a:bodyPr rtlCol="0" anchor="ctr"/>
                <a:lstStyle/>
                <a:p>
                  <a:endParaRPr lang="en-GB" dirty="0"/>
                </a:p>
              </p:txBody>
            </p:sp>
            <p:sp>
              <p:nvSpPr>
                <p:cNvPr id="412" name="Freihandform: Form 568">
                  <a:extLst>
                    <a:ext uri="{FF2B5EF4-FFF2-40B4-BE49-F238E27FC236}">
                      <a16:creationId xmlns:a16="http://schemas.microsoft.com/office/drawing/2014/main" id="{65B99725-7BC0-4213-B1EE-166CB830B955}"/>
                    </a:ext>
                  </a:extLst>
                </p:cNvPr>
                <p:cNvSpPr/>
                <p:nvPr/>
              </p:nvSpPr>
              <p:spPr>
                <a:xfrm>
                  <a:off x="1164148" y="4229366"/>
                  <a:ext cx="59923" cy="152169"/>
                </a:xfrm>
                <a:custGeom>
                  <a:avLst/>
                  <a:gdLst>
                    <a:gd name="connsiteX0" fmla="*/ 55014 w 59923"/>
                    <a:gd name="connsiteY0" fmla="*/ 152170 h 152169"/>
                    <a:gd name="connsiteX1" fmla="*/ 50388 w 59923"/>
                    <a:gd name="connsiteY1" fmla="*/ 148902 h 152169"/>
                    <a:gd name="connsiteX2" fmla="*/ 36083 w 59923"/>
                    <a:gd name="connsiteY2" fmla="*/ 117928 h 152169"/>
                    <a:gd name="connsiteX3" fmla="*/ 5 w 59923"/>
                    <a:gd name="connsiteY3" fmla="*/ 5170 h 152169"/>
                    <a:gd name="connsiteX4" fmla="*/ 4682 w 59923"/>
                    <a:gd name="connsiteY4" fmla="*/ 16 h 152169"/>
                    <a:gd name="connsiteX5" fmla="*/ 9836 w 59923"/>
                    <a:gd name="connsiteY5" fmla="*/ 4692 h 152169"/>
                    <a:gd name="connsiteX6" fmla="*/ 43776 w 59923"/>
                    <a:gd name="connsiteY6" fmla="*/ 111768 h 152169"/>
                    <a:gd name="connsiteX7" fmla="*/ 44329 w 59923"/>
                    <a:gd name="connsiteY7" fmla="*/ 112547 h 152169"/>
                    <a:gd name="connsiteX8" fmla="*/ 59640 w 59923"/>
                    <a:gd name="connsiteY8" fmla="*/ 145583 h 152169"/>
                    <a:gd name="connsiteX9" fmla="*/ 56648 w 59923"/>
                    <a:gd name="connsiteY9" fmla="*/ 151868 h 152169"/>
                    <a:gd name="connsiteX10" fmla="*/ 55014 w 59923"/>
                    <a:gd name="connsiteY10" fmla="*/ 152170 h 152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23" h="152169">
                      <a:moveTo>
                        <a:pt x="55014" y="152170"/>
                      </a:moveTo>
                      <a:cubicBezTo>
                        <a:pt x="53003" y="152170"/>
                        <a:pt x="51092" y="150913"/>
                        <a:pt x="50388" y="148902"/>
                      </a:cubicBezTo>
                      <a:cubicBezTo>
                        <a:pt x="46541" y="138091"/>
                        <a:pt x="41714" y="127682"/>
                        <a:pt x="36083" y="117928"/>
                      </a:cubicBezTo>
                      <a:cubicBezTo>
                        <a:pt x="9308" y="87331"/>
                        <a:pt x="1690" y="39764"/>
                        <a:pt x="5" y="5170"/>
                      </a:cubicBezTo>
                      <a:cubicBezTo>
                        <a:pt x="-120" y="2455"/>
                        <a:pt x="1966" y="142"/>
                        <a:pt x="4682" y="16"/>
                      </a:cubicBezTo>
                      <a:cubicBezTo>
                        <a:pt x="7347" y="-210"/>
                        <a:pt x="9710" y="1977"/>
                        <a:pt x="9836" y="4692"/>
                      </a:cubicBezTo>
                      <a:cubicBezTo>
                        <a:pt x="11445" y="37853"/>
                        <a:pt x="18610" y="83334"/>
                        <a:pt x="43776" y="111768"/>
                      </a:cubicBezTo>
                      <a:cubicBezTo>
                        <a:pt x="43977" y="112020"/>
                        <a:pt x="44178" y="112271"/>
                        <a:pt x="44329" y="112547"/>
                      </a:cubicBezTo>
                      <a:cubicBezTo>
                        <a:pt x="50388" y="122931"/>
                        <a:pt x="55542" y="134043"/>
                        <a:pt x="59640" y="145583"/>
                      </a:cubicBezTo>
                      <a:cubicBezTo>
                        <a:pt x="60545" y="148147"/>
                        <a:pt x="59213" y="150963"/>
                        <a:pt x="56648" y="151868"/>
                      </a:cubicBezTo>
                      <a:cubicBezTo>
                        <a:pt x="56120" y="152069"/>
                        <a:pt x="55567" y="152170"/>
                        <a:pt x="55014" y="152170"/>
                      </a:cubicBezTo>
                      <a:close/>
                    </a:path>
                  </a:pathLst>
                </a:custGeom>
                <a:grpFill/>
                <a:ln w="2509" cap="flat">
                  <a:noFill/>
                  <a:prstDash val="solid"/>
                  <a:miter/>
                </a:ln>
              </p:spPr>
              <p:txBody>
                <a:bodyPr rtlCol="0" anchor="ctr"/>
                <a:lstStyle/>
                <a:p>
                  <a:endParaRPr lang="en-GB" dirty="0"/>
                </a:p>
              </p:txBody>
            </p:sp>
            <p:sp>
              <p:nvSpPr>
                <p:cNvPr id="413" name="Freihandform: Form 569">
                  <a:extLst>
                    <a:ext uri="{FF2B5EF4-FFF2-40B4-BE49-F238E27FC236}">
                      <a16:creationId xmlns:a16="http://schemas.microsoft.com/office/drawing/2014/main" id="{11C8FEFE-7AA0-4B90-897B-C1D2F06D995F}"/>
                    </a:ext>
                  </a:extLst>
                </p:cNvPr>
                <p:cNvSpPr/>
                <p:nvPr/>
              </p:nvSpPr>
              <p:spPr>
                <a:xfrm>
                  <a:off x="991866" y="4412113"/>
                  <a:ext cx="268170" cy="121300"/>
                </a:xfrm>
                <a:custGeom>
                  <a:avLst/>
                  <a:gdLst>
                    <a:gd name="connsiteX0" fmla="*/ 262569 w 268170"/>
                    <a:gd name="connsiteY0" fmla="*/ 121300 h 121300"/>
                    <a:gd name="connsiteX1" fmla="*/ 5627 w 268170"/>
                    <a:gd name="connsiteY1" fmla="*/ 121300 h 121300"/>
                    <a:gd name="connsiteX2" fmla="*/ 725 w 268170"/>
                    <a:gd name="connsiteY2" fmla="*/ 116850 h 121300"/>
                    <a:gd name="connsiteX3" fmla="*/ 16262 w 268170"/>
                    <a:gd name="connsiteY3" fmla="*/ 71069 h 121300"/>
                    <a:gd name="connsiteX4" fmla="*/ 18499 w 268170"/>
                    <a:gd name="connsiteY4" fmla="*/ 69007 h 121300"/>
                    <a:gd name="connsiteX5" fmla="*/ 7412 w 268170"/>
                    <a:gd name="connsiteY5" fmla="*/ 51132 h 121300"/>
                    <a:gd name="connsiteX6" fmla="*/ 25614 w 268170"/>
                    <a:gd name="connsiteY6" fmla="*/ 26393 h 121300"/>
                    <a:gd name="connsiteX7" fmla="*/ 26545 w 268170"/>
                    <a:gd name="connsiteY7" fmla="*/ 4394 h 121300"/>
                    <a:gd name="connsiteX8" fmla="*/ 31975 w 268170"/>
                    <a:gd name="connsiteY8" fmla="*/ 45 h 121300"/>
                    <a:gd name="connsiteX9" fmla="*/ 36324 w 268170"/>
                    <a:gd name="connsiteY9" fmla="*/ 5475 h 121300"/>
                    <a:gd name="connsiteX10" fmla="*/ 35620 w 268170"/>
                    <a:gd name="connsiteY10" fmla="*/ 30315 h 121300"/>
                    <a:gd name="connsiteX11" fmla="*/ 34363 w 268170"/>
                    <a:gd name="connsiteY11" fmla="*/ 33885 h 121300"/>
                    <a:gd name="connsiteX12" fmla="*/ 30944 w 268170"/>
                    <a:gd name="connsiteY12" fmla="*/ 35494 h 121300"/>
                    <a:gd name="connsiteX13" fmla="*/ 17242 w 268170"/>
                    <a:gd name="connsiteY13" fmla="*/ 50880 h 121300"/>
                    <a:gd name="connsiteX14" fmla="*/ 28606 w 268170"/>
                    <a:gd name="connsiteY14" fmla="*/ 61238 h 121300"/>
                    <a:gd name="connsiteX15" fmla="*/ 33157 w 268170"/>
                    <a:gd name="connsiteY15" fmla="*/ 64280 h 121300"/>
                    <a:gd name="connsiteX16" fmla="*/ 32101 w 268170"/>
                    <a:gd name="connsiteY16" fmla="*/ 69635 h 121300"/>
                    <a:gd name="connsiteX17" fmla="*/ 22899 w 268170"/>
                    <a:gd name="connsiteY17" fmla="*/ 78334 h 121300"/>
                    <a:gd name="connsiteX18" fmla="*/ 10127 w 268170"/>
                    <a:gd name="connsiteY18" fmla="*/ 111445 h 121300"/>
                    <a:gd name="connsiteX19" fmla="*/ 258043 w 268170"/>
                    <a:gd name="connsiteY19" fmla="*/ 111445 h 121300"/>
                    <a:gd name="connsiteX20" fmla="*/ 245272 w 268170"/>
                    <a:gd name="connsiteY20" fmla="*/ 78334 h 121300"/>
                    <a:gd name="connsiteX21" fmla="*/ 236070 w 268170"/>
                    <a:gd name="connsiteY21" fmla="*/ 69635 h 121300"/>
                    <a:gd name="connsiteX22" fmla="*/ 235014 w 268170"/>
                    <a:gd name="connsiteY22" fmla="*/ 64280 h 121300"/>
                    <a:gd name="connsiteX23" fmla="*/ 239565 w 268170"/>
                    <a:gd name="connsiteY23" fmla="*/ 61238 h 121300"/>
                    <a:gd name="connsiteX24" fmla="*/ 250928 w 268170"/>
                    <a:gd name="connsiteY24" fmla="*/ 50880 h 121300"/>
                    <a:gd name="connsiteX25" fmla="*/ 237227 w 268170"/>
                    <a:gd name="connsiteY25" fmla="*/ 35494 h 121300"/>
                    <a:gd name="connsiteX26" fmla="*/ 233807 w 268170"/>
                    <a:gd name="connsiteY26" fmla="*/ 33885 h 121300"/>
                    <a:gd name="connsiteX27" fmla="*/ 232550 w 268170"/>
                    <a:gd name="connsiteY27" fmla="*/ 30315 h 121300"/>
                    <a:gd name="connsiteX28" fmla="*/ 232123 w 268170"/>
                    <a:gd name="connsiteY28" fmla="*/ 8367 h 121300"/>
                    <a:gd name="connsiteX29" fmla="*/ 236548 w 268170"/>
                    <a:gd name="connsiteY29" fmla="*/ 3012 h 121300"/>
                    <a:gd name="connsiteX30" fmla="*/ 241903 w 268170"/>
                    <a:gd name="connsiteY30" fmla="*/ 7462 h 121300"/>
                    <a:gd name="connsiteX31" fmla="*/ 242531 w 268170"/>
                    <a:gd name="connsiteY31" fmla="*/ 26393 h 121300"/>
                    <a:gd name="connsiteX32" fmla="*/ 260733 w 268170"/>
                    <a:gd name="connsiteY32" fmla="*/ 51132 h 121300"/>
                    <a:gd name="connsiteX33" fmla="*/ 249646 w 268170"/>
                    <a:gd name="connsiteY33" fmla="*/ 69032 h 121300"/>
                    <a:gd name="connsiteX34" fmla="*/ 251884 w 268170"/>
                    <a:gd name="connsiteY34" fmla="*/ 71069 h 121300"/>
                    <a:gd name="connsiteX35" fmla="*/ 267446 w 268170"/>
                    <a:gd name="connsiteY35" fmla="*/ 116850 h 121300"/>
                    <a:gd name="connsiteX36" fmla="*/ 262569 w 268170"/>
                    <a:gd name="connsiteY36" fmla="*/ 121300 h 121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68170" h="121300">
                      <a:moveTo>
                        <a:pt x="262569" y="121300"/>
                      </a:moveTo>
                      <a:lnTo>
                        <a:pt x="5627" y="121300"/>
                      </a:lnTo>
                      <a:cubicBezTo>
                        <a:pt x="3088" y="121300"/>
                        <a:pt x="976" y="119390"/>
                        <a:pt x="725" y="116850"/>
                      </a:cubicBezTo>
                      <a:cubicBezTo>
                        <a:pt x="-1940" y="89195"/>
                        <a:pt x="2635" y="83488"/>
                        <a:pt x="16262" y="71069"/>
                      </a:cubicBezTo>
                      <a:cubicBezTo>
                        <a:pt x="16991" y="70415"/>
                        <a:pt x="17720" y="69736"/>
                        <a:pt x="18499" y="69007"/>
                      </a:cubicBezTo>
                      <a:cubicBezTo>
                        <a:pt x="11108" y="65562"/>
                        <a:pt x="7588" y="58322"/>
                        <a:pt x="7412" y="51132"/>
                      </a:cubicBezTo>
                      <a:cubicBezTo>
                        <a:pt x="7161" y="40547"/>
                        <a:pt x="13823" y="29334"/>
                        <a:pt x="25614" y="26393"/>
                      </a:cubicBezTo>
                      <a:cubicBezTo>
                        <a:pt x="25413" y="19152"/>
                        <a:pt x="25740" y="11786"/>
                        <a:pt x="26545" y="4394"/>
                      </a:cubicBezTo>
                      <a:cubicBezTo>
                        <a:pt x="26846" y="1704"/>
                        <a:pt x="29260" y="-332"/>
                        <a:pt x="31975" y="45"/>
                      </a:cubicBezTo>
                      <a:cubicBezTo>
                        <a:pt x="34665" y="347"/>
                        <a:pt x="36626" y="2760"/>
                        <a:pt x="36324" y="5475"/>
                      </a:cubicBezTo>
                      <a:cubicBezTo>
                        <a:pt x="35394" y="13847"/>
                        <a:pt x="35168" y="22194"/>
                        <a:pt x="35620" y="30315"/>
                      </a:cubicBezTo>
                      <a:cubicBezTo>
                        <a:pt x="35696" y="31622"/>
                        <a:pt x="35243" y="32904"/>
                        <a:pt x="34363" y="33885"/>
                      </a:cubicBezTo>
                      <a:cubicBezTo>
                        <a:pt x="33484" y="34865"/>
                        <a:pt x="32252" y="35444"/>
                        <a:pt x="30944" y="35494"/>
                      </a:cubicBezTo>
                      <a:cubicBezTo>
                        <a:pt x="21240" y="35946"/>
                        <a:pt x="17092" y="44771"/>
                        <a:pt x="17242" y="50880"/>
                      </a:cubicBezTo>
                      <a:cubicBezTo>
                        <a:pt x="17318" y="53998"/>
                        <a:pt x="18575" y="61238"/>
                        <a:pt x="28606" y="61238"/>
                      </a:cubicBezTo>
                      <a:cubicBezTo>
                        <a:pt x="30592" y="61238"/>
                        <a:pt x="32377" y="62445"/>
                        <a:pt x="33157" y="64280"/>
                      </a:cubicBezTo>
                      <a:cubicBezTo>
                        <a:pt x="33911" y="66115"/>
                        <a:pt x="33509" y="68228"/>
                        <a:pt x="32101" y="69635"/>
                      </a:cubicBezTo>
                      <a:cubicBezTo>
                        <a:pt x="28656" y="73080"/>
                        <a:pt x="25589" y="75870"/>
                        <a:pt x="22899" y="78334"/>
                      </a:cubicBezTo>
                      <a:cubicBezTo>
                        <a:pt x="12063" y="88215"/>
                        <a:pt x="8619" y="91332"/>
                        <a:pt x="10127" y="111445"/>
                      </a:cubicBezTo>
                      <a:lnTo>
                        <a:pt x="258043" y="111445"/>
                      </a:lnTo>
                      <a:cubicBezTo>
                        <a:pt x="259552" y="91332"/>
                        <a:pt x="256107" y="88215"/>
                        <a:pt x="245272" y="78334"/>
                      </a:cubicBezTo>
                      <a:cubicBezTo>
                        <a:pt x="242582" y="75870"/>
                        <a:pt x="239514" y="73080"/>
                        <a:pt x="236070" y="69635"/>
                      </a:cubicBezTo>
                      <a:cubicBezTo>
                        <a:pt x="234662" y="68228"/>
                        <a:pt x="234235" y="66115"/>
                        <a:pt x="235014" y="64280"/>
                      </a:cubicBezTo>
                      <a:cubicBezTo>
                        <a:pt x="235768" y="62445"/>
                        <a:pt x="237578" y="61238"/>
                        <a:pt x="239565" y="61238"/>
                      </a:cubicBezTo>
                      <a:cubicBezTo>
                        <a:pt x="249596" y="61238"/>
                        <a:pt x="250853" y="53998"/>
                        <a:pt x="250928" y="50880"/>
                      </a:cubicBezTo>
                      <a:cubicBezTo>
                        <a:pt x="251079" y="44771"/>
                        <a:pt x="246931" y="35971"/>
                        <a:pt x="237227" y="35494"/>
                      </a:cubicBezTo>
                      <a:cubicBezTo>
                        <a:pt x="235919" y="35418"/>
                        <a:pt x="234687" y="34840"/>
                        <a:pt x="233807" y="33885"/>
                      </a:cubicBezTo>
                      <a:cubicBezTo>
                        <a:pt x="232927" y="32904"/>
                        <a:pt x="232475" y="31622"/>
                        <a:pt x="232550" y="30315"/>
                      </a:cubicBezTo>
                      <a:cubicBezTo>
                        <a:pt x="232953" y="23049"/>
                        <a:pt x="232802" y="15683"/>
                        <a:pt x="232123" y="8367"/>
                      </a:cubicBezTo>
                      <a:cubicBezTo>
                        <a:pt x="231871" y="5677"/>
                        <a:pt x="233858" y="3263"/>
                        <a:pt x="236548" y="3012"/>
                      </a:cubicBezTo>
                      <a:cubicBezTo>
                        <a:pt x="239263" y="2785"/>
                        <a:pt x="241651" y="4746"/>
                        <a:pt x="241903" y="7462"/>
                      </a:cubicBezTo>
                      <a:cubicBezTo>
                        <a:pt x="242481" y="13747"/>
                        <a:pt x="242707" y="20108"/>
                        <a:pt x="242531" y="26393"/>
                      </a:cubicBezTo>
                      <a:cubicBezTo>
                        <a:pt x="254322" y="29334"/>
                        <a:pt x="260985" y="40547"/>
                        <a:pt x="260733" y="51132"/>
                      </a:cubicBezTo>
                      <a:cubicBezTo>
                        <a:pt x="260557" y="58322"/>
                        <a:pt x="257038" y="65588"/>
                        <a:pt x="249646" y="69032"/>
                      </a:cubicBezTo>
                      <a:cubicBezTo>
                        <a:pt x="250426" y="69736"/>
                        <a:pt x="251180" y="70415"/>
                        <a:pt x="251884" y="71069"/>
                      </a:cubicBezTo>
                      <a:cubicBezTo>
                        <a:pt x="265535" y="83488"/>
                        <a:pt x="270111" y="89195"/>
                        <a:pt x="267446" y="116850"/>
                      </a:cubicBezTo>
                      <a:cubicBezTo>
                        <a:pt x="267220" y="119364"/>
                        <a:pt x="265083" y="121300"/>
                        <a:pt x="262569" y="121300"/>
                      </a:cubicBezTo>
                      <a:close/>
                    </a:path>
                  </a:pathLst>
                </a:custGeom>
                <a:grpFill/>
                <a:ln w="2509" cap="flat">
                  <a:noFill/>
                  <a:prstDash val="solid"/>
                  <a:miter/>
                </a:ln>
              </p:spPr>
              <p:txBody>
                <a:bodyPr rtlCol="0" anchor="ctr"/>
                <a:lstStyle/>
                <a:p>
                  <a:endParaRPr lang="en-GB" dirty="0"/>
                </a:p>
              </p:txBody>
            </p:sp>
            <p:sp>
              <p:nvSpPr>
                <p:cNvPr id="414" name="Freihandform: Form 570">
                  <a:extLst>
                    <a:ext uri="{FF2B5EF4-FFF2-40B4-BE49-F238E27FC236}">
                      <a16:creationId xmlns:a16="http://schemas.microsoft.com/office/drawing/2014/main" id="{0FD52D66-994C-42C5-BB58-5FE2F1017E41}"/>
                    </a:ext>
                  </a:extLst>
                </p:cNvPr>
                <p:cNvSpPr/>
                <p:nvPr/>
              </p:nvSpPr>
              <p:spPr>
                <a:xfrm>
                  <a:off x="1041537" y="4072704"/>
                  <a:ext cx="168853" cy="110268"/>
                </a:xfrm>
                <a:custGeom>
                  <a:avLst/>
                  <a:gdLst>
                    <a:gd name="connsiteX0" fmla="*/ 140869 w 168853"/>
                    <a:gd name="connsiteY0" fmla="*/ 110269 h 110268"/>
                    <a:gd name="connsiteX1" fmla="*/ 27986 w 168853"/>
                    <a:gd name="connsiteY1" fmla="*/ 110269 h 110268"/>
                    <a:gd name="connsiteX2" fmla="*/ 9030 w 168853"/>
                    <a:gd name="connsiteY2" fmla="*/ 102550 h 110268"/>
                    <a:gd name="connsiteX3" fmla="*/ 54 w 168853"/>
                    <a:gd name="connsiteY3" fmla="*/ 72934 h 110268"/>
                    <a:gd name="connsiteX4" fmla="*/ 54 w 168853"/>
                    <a:gd name="connsiteY4" fmla="*/ 4928 h 110268"/>
                    <a:gd name="connsiteX5" fmla="*/ 4982 w 168853"/>
                    <a:gd name="connsiteY5" fmla="*/ 0 h 110268"/>
                    <a:gd name="connsiteX6" fmla="*/ 38420 w 168853"/>
                    <a:gd name="connsiteY6" fmla="*/ 0 h 110268"/>
                    <a:gd name="connsiteX7" fmla="*/ 43347 w 168853"/>
                    <a:gd name="connsiteY7" fmla="*/ 4928 h 110268"/>
                    <a:gd name="connsiteX8" fmla="*/ 43347 w 168853"/>
                    <a:gd name="connsiteY8" fmla="*/ 41860 h 110268"/>
                    <a:gd name="connsiteX9" fmla="*/ 58583 w 168853"/>
                    <a:gd name="connsiteY9" fmla="*/ 41860 h 110268"/>
                    <a:gd name="connsiteX10" fmla="*/ 58583 w 168853"/>
                    <a:gd name="connsiteY10" fmla="*/ 4928 h 110268"/>
                    <a:gd name="connsiteX11" fmla="*/ 63510 w 168853"/>
                    <a:gd name="connsiteY11" fmla="*/ 0 h 110268"/>
                    <a:gd name="connsiteX12" fmla="*/ 105320 w 168853"/>
                    <a:gd name="connsiteY12" fmla="*/ 0 h 110268"/>
                    <a:gd name="connsiteX13" fmla="*/ 110247 w 168853"/>
                    <a:gd name="connsiteY13" fmla="*/ 4928 h 110268"/>
                    <a:gd name="connsiteX14" fmla="*/ 110247 w 168853"/>
                    <a:gd name="connsiteY14" fmla="*/ 41860 h 110268"/>
                    <a:gd name="connsiteX15" fmla="*/ 125508 w 168853"/>
                    <a:gd name="connsiteY15" fmla="*/ 41860 h 110268"/>
                    <a:gd name="connsiteX16" fmla="*/ 125508 w 168853"/>
                    <a:gd name="connsiteY16" fmla="*/ 4928 h 110268"/>
                    <a:gd name="connsiteX17" fmla="*/ 130436 w 168853"/>
                    <a:gd name="connsiteY17" fmla="*/ 0 h 110268"/>
                    <a:gd name="connsiteX18" fmla="*/ 163873 w 168853"/>
                    <a:gd name="connsiteY18" fmla="*/ 0 h 110268"/>
                    <a:gd name="connsiteX19" fmla="*/ 168801 w 168853"/>
                    <a:gd name="connsiteY19" fmla="*/ 4928 h 110268"/>
                    <a:gd name="connsiteX20" fmla="*/ 168801 w 168853"/>
                    <a:gd name="connsiteY20" fmla="*/ 73236 h 110268"/>
                    <a:gd name="connsiteX21" fmla="*/ 159826 w 168853"/>
                    <a:gd name="connsiteY21" fmla="*/ 102525 h 110268"/>
                    <a:gd name="connsiteX22" fmla="*/ 140869 w 168853"/>
                    <a:gd name="connsiteY22" fmla="*/ 110269 h 110268"/>
                    <a:gd name="connsiteX23" fmla="*/ 9884 w 168853"/>
                    <a:gd name="connsiteY23" fmla="*/ 9880 h 110268"/>
                    <a:gd name="connsiteX24" fmla="*/ 9884 w 168853"/>
                    <a:gd name="connsiteY24" fmla="*/ 73286 h 110268"/>
                    <a:gd name="connsiteX25" fmla="*/ 16220 w 168853"/>
                    <a:gd name="connsiteY25" fmla="*/ 95863 h 110268"/>
                    <a:gd name="connsiteX26" fmla="*/ 27961 w 168853"/>
                    <a:gd name="connsiteY26" fmla="*/ 100463 h 110268"/>
                    <a:gd name="connsiteX27" fmla="*/ 140844 w 168853"/>
                    <a:gd name="connsiteY27" fmla="*/ 100463 h 110268"/>
                    <a:gd name="connsiteX28" fmla="*/ 152585 w 168853"/>
                    <a:gd name="connsiteY28" fmla="*/ 95863 h 110268"/>
                    <a:gd name="connsiteX29" fmla="*/ 158946 w 168853"/>
                    <a:gd name="connsiteY29" fmla="*/ 73588 h 110268"/>
                    <a:gd name="connsiteX30" fmla="*/ 158946 w 168853"/>
                    <a:gd name="connsiteY30" fmla="*/ 9880 h 110268"/>
                    <a:gd name="connsiteX31" fmla="*/ 135338 w 168853"/>
                    <a:gd name="connsiteY31" fmla="*/ 9880 h 110268"/>
                    <a:gd name="connsiteX32" fmla="*/ 135338 w 168853"/>
                    <a:gd name="connsiteY32" fmla="*/ 46813 h 110268"/>
                    <a:gd name="connsiteX33" fmla="*/ 130411 w 168853"/>
                    <a:gd name="connsiteY33" fmla="*/ 51740 h 110268"/>
                    <a:gd name="connsiteX34" fmla="*/ 105320 w 168853"/>
                    <a:gd name="connsiteY34" fmla="*/ 51740 h 110268"/>
                    <a:gd name="connsiteX35" fmla="*/ 100392 w 168853"/>
                    <a:gd name="connsiteY35" fmla="*/ 46813 h 110268"/>
                    <a:gd name="connsiteX36" fmla="*/ 100392 w 168853"/>
                    <a:gd name="connsiteY36" fmla="*/ 9880 h 110268"/>
                    <a:gd name="connsiteX37" fmla="*/ 68413 w 168853"/>
                    <a:gd name="connsiteY37" fmla="*/ 9880 h 110268"/>
                    <a:gd name="connsiteX38" fmla="*/ 68413 w 168853"/>
                    <a:gd name="connsiteY38" fmla="*/ 46813 h 110268"/>
                    <a:gd name="connsiteX39" fmla="*/ 63485 w 168853"/>
                    <a:gd name="connsiteY39" fmla="*/ 51740 h 110268"/>
                    <a:gd name="connsiteX40" fmla="*/ 38369 w 168853"/>
                    <a:gd name="connsiteY40" fmla="*/ 51740 h 110268"/>
                    <a:gd name="connsiteX41" fmla="*/ 33442 w 168853"/>
                    <a:gd name="connsiteY41" fmla="*/ 46813 h 110268"/>
                    <a:gd name="connsiteX42" fmla="*/ 33442 w 168853"/>
                    <a:gd name="connsiteY42" fmla="*/ 9880 h 110268"/>
                    <a:gd name="connsiteX43" fmla="*/ 9884 w 168853"/>
                    <a:gd name="connsiteY43" fmla="*/ 9880 h 110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68853" h="110268">
                      <a:moveTo>
                        <a:pt x="140869" y="110269"/>
                      </a:moveTo>
                      <a:lnTo>
                        <a:pt x="27986" y="110269"/>
                      </a:lnTo>
                      <a:cubicBezTo>
                        <a:pt x="20217" y="110269"/>
                        <a:pt x="13832" y="107679"/>
                        <a:pt x="9030" y="102550"/>
                      </a:cubicBezTo>
                      <a:cubicBezTo>
                        <a:pt x="-1052" y="91790"/>
                        <a:pt x="4" y="73714"/>
                        <a:pt x="54" y="72934"/>
                      </a:cubicBezTo>
                      <a:lnTo>
                        <a:pt x="54" y="4928"/>
                      </a:lnTo>
                      <a:cubicBezTo>
                        <a:pt x="54" y="2212"/>
                        <a:pt x="2267" y="0"/>
                        <a:pt x="4982" y="0"/>
                      </a:cubicBezTo>
                      <a:lnTo>
                        <a:pt x="38420" y="0"/>
                      </a:lnTo>
                      <a:cubicBezTo>
                        <a:pt x="41135" y="0"/>
                        <a:pt x="43347" y="2212"/>
                        <a:pt x="43347" y="4928"/>
                      </a:cubicBezTo>
                      <a:lnTo>
                        <a:pt x="43347" y="41860"/>
                      </a:lnTo>
                      <a:lnTo>
                        <a:pt x="58583" y="41860"/>
                      </a:lnTo>
                      <a:lnTo>
                        <a:pt x="58583" y="4928"/>
                      </a:lnTo>
                      <a:cubicBezTo>
                        <a:pt x="58583" y="2212"/>
                        <a:pt x="60795" y="0"/>
                        <a:pt x="63510" y="0"/>
                      </a:cubicBezTo>
                      <a:lnTo>
                        <a:pt x="105320" y="0"/>
                      </a:lnTo>
                      <a:cubicBezTo>
                        <a:pt x="108035" y="0"/>
                        <a:pt x="110247" y="2212"/>
                        <a:pt x="110247" y="4928"/>
                      </a:cubicBezTo>
                      <a:lnTo>
                        <a:pt x="110247" y="41860"/>
                      </a:lnTo>
                      <a:lnTo>
                        <a:pt x="125508" y="41860"/>
                      </a:lnTo>
                      <a:lnTo>
                        <a:pt x="125508" y="4928"/>
                      </a:lnTo>
                      <a:cubicBezTo>
                        <a:pt x="125508" y="2212"/>
                        <a:pt x="127721" y="0"/>
                        <a:pt x="130436" y="0"/>
                      </a:cubicBezTo>
                      <a:lnTo>
                        <a:pt x="163873" y="0"/>
                      </a:lnTo>
                      <a:cubicBezTo>
                        <a:pt x="166589" y="0"/>
                        <a:pt x="168801" y="2212"/>
                        <a:pt x="168801" y="4928"/>
                      </a:cubicBezTo>
                      <a:lnTo>
                        <a:pt x="168801" y="73236"/>
                      </a:lnTo>
                      <a:cubicBezTo>
                        <a:pt x="168851" y="73688"/>
                        <a:pt x="169882" y="91765"/>
                        <a:pt x="159826" y="102525"/>
                      </a:cubicBezTo>
                      <a:cubicBezTo>
                        <a:pt x="154999" y="107679"/>
                        <a:pt x="148638" y="110269"/>
                        <a:pt x="140869" y="110269"/>
                      </a:cubicBezTo>
                      <a:close/>
                      <a:moveTo>
                        <a:pt x="9884" y="9880"/>
                      </a:moveTo>
                      <a:lnTo>
                        <a:pt x="9884" y="73286"/>
                      </a:lnTo>
                      <a:cubicBezTo>
                        <a:pt x="9859" y="73739"/>
                        <a:pt x="9080" y="88245"/>
                        <a:pt x="16220" y="95863"/>
                      </a:cubicBezTo>
                      <a:cubicBezTo>
                        <a:pt x="19136" y="98955"/>
                        <a:pt x="22958" y="100463"/>
                        <a:pt x="27961" y="100463"/>
                      </a:cubicBezTo>
                      <a:lnTo>
                        <a:pt x="140844" y="100463"/>
                      </a:lnTo>
                      <a:cubicBezTo>
                        <a:pt x="145847" y="100463"/>
                        <a:pt x="149694" y="98955"/>
                        <a:pt x="152585" y="95863"/>
                      </a:cubicBezTo>
                      <a:cubicBezTo>
                        <a:pt x="159750" y="88245"/>
                        <a:pt x="158946" y="73739"/>
                        <a:pt x="158946" y="73588"/>
                      </a:cubicBezTo>
                      <a:lnTo>
                        <a:pt x="158946" y="9880"/>
                      </a:lnTo>
                      <a:lnTo>
                        <a:pt x="135338" y="9880"/>
                      </a:lnTo>
                      <a:lnTo>
                        <a:pt x="135338" y="46813"/>
                      </a:lnTo>
                      <a:cubicBezTo>
                        <a:pt x="135338" y="49528"/>
                        <a:pt x="133126" y="51740"/>
                        <a:pt x="130411" y="51740"/>
                      </a:cubicBezTo>
                      <a:lnTo>
                        <a:pt x="105320" y="51740"/>
                      </a:lnTo>
                      <a:cubicBezTo>
                        <a:pt x="102605" y="51740"/>
                        <a:pt x="100392" y="49528"/>
                        <a:pt x="100392" y="46813"/>
                      </a:cubicBezTo>
                      <a:lnTo>
                        <a:pt x="100392" y="9880"/>
                      </a:lnTo>
                      <a:lnTo>
                        <a:pt x="68413" y="9880"/>
                      </a:lnTo>
                      <a:lnTo>
                        <a:pt x="68413" y="46813"/>
                      </a:lnTo>
                      <a:cubicBezTo>
                        <a:pt x="68413" y="49528"/>
                        <a:pt x="66200" y="51740"/>
                        <a:pt x="63485" y="51740"/>
                      </a:cubicBezTo>
                      <a:lnTo>
                        <a:pt x="38369" y="51740"/>
                      </a:lnTo>
                      <a:cubicBezTo>
                        <a:pt x="35654" y="51740"/>
                        <a:pt x="33442" y="49528"/>
                        <a:pt x="33442" y="46813"/>
                      </a:cubicBezTo>
                      <a:lnTo>
                        <a:pt x="33442" y="9880"/>
                      </a:lnTo>
                      <a:lnTo>
                        <a:pt x="9884" y="9880"/>
                      </a:lnTo>
                      <a:close/>
                    </a:path>
                  </a:pathLst>
                </a:custGeom>
                <a:grpFill/>
                <a:ln w="2509" cap="flat">
                  <a:noFill/>
                  <a:prstDash val="solid"/>
                  <a:miter/>
                </a:ln>
              </p:spPr>
              <p:txBody>
                <a:bodyPr rtlCol="0" anchor="ctr"/>
                <a:lstStyle/>
                <a:p>
                  <a:endParaRPr lang="en-GB" dirty="0"/>
                </a:p>
              </p:txBody>
            </p:sp>
          </p:grpSp>
          <p:sp>
            <p:nvSpPr>
              <p:cNvPr id="409" name="Freihandform: Form 571">
                <a:extLst>
                  <a:ext uri="{FF2B5EF4-FFF2-40B4-BE49-F238E27FC236}">
                    <a16:creationId xmlns:a16="http://schemas.microsoft.com/office/drawing/2014/main" id="{259DE450-BE2A-4208-A7D6-151669939597}"/>
                  </a:ext>
                </a:extLst>
              </p:cNvPr>
              <p:cNvSpPr/>
              <p:nvPr/>
            </p:nvSpPr>
            <p:spPr>
              <a:xfrm>
                <a:off x="1015193" y="4473225"/>
                <a:ext cx="228230" cy="9855"/>
              </a:xfrm>
              <a:custGeom>
                <a:avLst/>
                <a:gdLst>
                  <a:gd name="connsiteX0" fmla="*/ 223303 w 228230"/>
                  <a:gd name="connsiteY0" fmla="*/ 9855 h 9855"/>
                  <a:gd name="connsiteX1" fmla="*/ 4928 w 228230"/>
                  <a:gd name="connsiteY1" fmla="*/ 9855 h 9855"/>
                  <a:gd name="connsiteX2" fmla="*/ 0 w 228230"/>
                  <a:gd name="connsiteY2" fmla="*/ 4928 h 9855"/>
                  <a:gd name="connsiteX3" fmla="*/ 4928 w 228230"/>
                  <a:gd name="connsiteY3" fmla="*/ 0 h 9855"/>
                  <a:gd name="connsiteX4" fmla="*/ 223303 w 228230"/>
                  <a:gd name="connsiteY4" fmla="*/ 0 h 9855"/>
                  <a:gd name="connsiteX5" fmla="*/ 228230 w 228230"/>
                  <a:gd name="connsiteY5" fmla="*/ 4928 h 9855"/>
                  <a:gd name="connsiteX6" fmla="*/ 223303 w 228230"/>
                  <a:gd name="connsiteY6" fmla="*/ 9855 h 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8230" h="9855">
                    <a:moveTo>
                      <a:pt x="223303" y="9855"/>
                    </a:moveTo>
                    <a:lnTo>
                      <a:pt x="4928" y="9855"/>
                    </a:lnTo>
                    <a:cubicBezTo>
                      <a:pt x="2212" y="9855"/>
                      <a:pt x="0" y="7643"/>
                      <a:pt x="0" y="4928"/>
                    </a:cubicBezTo>
                    <a:cubicBezTo>
                      <a:pt x="0" y="2212"/>
                      <a:pt x="2212" y="0"/>
                      <a:pt x="4928" y="0"/>
                    </a:cubicBezTo>
                    <a:lnTo>
                      <a:pt x="223303" y="0"/>
                    </a:lnTo>
                    <a:cubicBezTo>
                      <a:pt x="226018" y="0"/>
                      <a:pt x="228230" y="2212"/>
                      <a:pt x="228230" y="4928"/>
                    </a:cubicBezTo>
                    <a:cubicBezTo>
                      <a:pt x="228230" y="7668"/>
                      <a:pt x="226018" y="9855"/>
                      <a:pt x="223303" y="9855"/>
                    </a:cubicBezTo>
                    <a:close/>
                  </a:path>
                </a:pathLst>
              </a:custGeom>
              <a:grpFill/>
              <a:ln w="2509" cap="flat">
                <a:noFill/>
                <a:prstDash val="solid"/>
                <a:miter/>
              </a:ln>
            </p:spPr>
            <p:txBody>
              <a:bodyPr rtlCol="0" anchor="ctr"/>
              <a:lstStyle/>
              <a:p>
                <a:endParaRPr lang="en-GB" dirty="0"/>
              </a:p>
            </p:txBody>
          </p:sp>
        </p:grpSp>
        <p:grpSp>
          <p:nvGrpSpPr>
            <p:cNvPr id="398" name="Group 397">
              <a:extLst>
                <a:ext uri="{FF2B5EF4-FFF2-40B4-BE49-F238E27FC236}">
                  <a16:creationId xmlns:a16="http://schemas.microsoft.com/office/drawing/2014/main" id="{8548B24C-506B-4A62-9324-5E53D90F4FB0}"/>
                </a:ext>
              </a:extLst>
            </p:cNvPr>
            <p:cNvGrpSpPr/>
            <p:nvPr/>
          </p:nvGrpSpPr>
          <p:grpSpPr>
            <a:xfrm>
              <a:off x="8145911" y="1621742"/>
              <a:ext cx="392691" cy="396242"/>
              <a:chOff x="897327" y="4112401"/>
              <a:chExt cx="435950" cy="439892"/>
            </a:xfrm>
          </p:grpSpPr>
          <p:sp>
            <p:nvSpPr>
              <p:cNvPr id="399" name="Freihandform: Form 572">
                <a:extLst>
                  <a:ext uri="{FF2B5EF4-FFF2-40B4-BE49-F238E27FC236}">
                    <a16:creationId xmlns:a16="http://schemas.microsoft.com/office/drawing/2014/main" id="{5557D338-CF83-4A87-BA40-1BD4B258378E}"/>
                  </a:ext>
                </a:extLst>
              </p:cNvPr>
              <p:cNvSpPr/>
              <p:nvPr/>
            </p:nvSpPr>
            <p:spPr>
              <a:xfrm>
                <a:off x="1000611" y="4205046"/>
                <a:ext cx="251159" cy="251133"/>
              </a:xfrm>
              <a:custGeom>
                <a:avLst/>
                <a:gdLst>
                  <a:gd name="connsiteX0" fmla="*/ 125554 w 251159"/>
                  <a:gd name="connsiteY0" fmla="*/ 251134 h 251133"/>
                  <a:gd name="connsiteX1" fmla="*/ 0 w 251159"/>
                  <a:gd name="connsiteY1" fmla="*/ 125554 h 251133"/>
                  <a:gd name="connsiteX2" fmla="*/ 125554 w 251159"/>
                  <a:gd name="connsiteY2" fmla="*/ 0 h 251133"/>
                  <a:gd name="connsiteX3" fmla="*/ 168948 w 251159"/>
                  <a:gd name="connsiteY3" fmla="*/ 7693 h 251133"/>
                  <a:gd name="connsiteX4" fmla="*/ 251159 w 251159"/>
                  <a:gd name="connsiteY4" fmla="*/ 125554 h 251133"/>
                  <a:gd name="connsiteX5" fmla="*/ 125554 w 251159"/>
                  <a:gd name="connsiteY5" fmla="*/ 251134 h 251133"/>
                  <a:gd name="connsiteX6" fmla="*/ 125554 w 251159"/>
                  <a:gd name="connsiteY6" fmla="*/ 9830 h 251133"/>
                  <a:gd name="connsiteX7" fmla="*/ 9830 w 251159"/>
                  <a:gd name="connsiteY7" fmla="*/ 125554 h 251133"/>
                  <a:gd name="connsiteX8" fmla="*/ 125554 w 251159"/>
                  <a:gd name="connsiteY8" fmla="*/ 241304 h 251133"/>
                  <a:gd name="connsiteX9" fmla="*/ 241304 w 251159"/>
                  <a:gd name="connsiteY9" fmla="*/ 125554 h 251133"/>
                  <a:gd name="connsiteX10" fmla="*/ 165529 w 251159"/>
                  <a:gd name="connsiteY10" fmla="*/ 16920 h 251133"/>
                  <a:gd name="connsiteX11" fmla="*/ 125554 w 251159"/>
                  <a:gd name="connsiteY11" fmla="*/ 9830 h 25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159" h="251133">
                    <a:moveTo>
                      <a:pt x="125554" y="251134"/>
                    </a:moveTo>
                    <a:cubicBezTo>
                      <a:pt x="56316" y="251134"/>
                      <a:pt x="0" y="194793"/>
                      <a:pt x="0" y="125554"/>
                    </a:cubicBezTo>
                    <a:cubicBezTo>
                      <a:pt x="0" y="56316"/>
                      <a:pt x="56341" y="0"/>
                      <a:pt x="125554" y="0"/>
                    </a:cubicBezTo>
                    <a:cubicBezTo>
                      <a:pt x="140488" y="0"/>
                      <a:pt x="155070" y="2590"/>
                      <a:pt x="168948" y="7693"/>
                    </a:cubicBezTo>
                    <a:cubicBezTo>
                      <a:pt x="218124" y="25795"/>
                      <a:pt x="251159" y="73160"/>
                      <a:pt x="251159" y="125554"/>
                    </a:cubicBezTo>
                    <a:cubicBezTo>
                      <a:pt x="251159" y="194818"/>
                      <a:pt x="194818" y="251134"/>
                      <a:pt x="125554" y="251134"/>
                    </a:cubicBezTo>
                    <a:close/>
                    <a:moveTo>
                      <a:pt x="125554" y="9830"/>
                    </a:moveTo>
                    <a:cubicBezTo>
                      <a:pt x="61746" y="9830"/>
                      <a:pt x="9830" y="61746"/>
                      <a:pt x="9830" y="125554"/>
                    </a:cubicBezTo>
                    <a:cubicBezTo>
                      <a:pt x="9830" y="189362"/>
                      <a:pt x="61746" y="241304"/>
                      <a:pt x="125554" y="241304"/>
                    </a:cubicBezTo>
                    <a:cubicBezTo>
                      <a:pt x="189387" y="241304"/>
                      <a:pt x="241304" y="189387"/>
                      <a:pt x="241304" y="125554"/>
                    </a:cubicBezTo>
                    <a:cubicBezTo>
                      <a:pt x="241304" y="77258"/>
                      <a:pt x="210858" y="33588"/>
                      <a:pt x="165529" y="16920"/>
                    </a:cubicBezTo>
                    <a:cubicBezTo>
                      <a:pt x="152782" y="12219"/>
                      <a:pt x="139332" y="9830"/>
                      <a:pt x="125554" y="9830"/>
                    </a:cubicBezTo>
                    <a:close/>
                  </a:path>
                </a:pathLst>
              </a:custGeom>
              <a:solidFill>
                <a:schemeClr val="accent1"/>
              </a:solidFill>
              <a:ln w="2509" cap="flat">
                <a:noFill/>
                <a:prstDash val="solid"/>
                <a:miter/>
              </a:ln>
            </p:spPr>
            <p:txBody>
              <a:bodyPr rtlCol="0" anchor="ctr"/>
              <a:lstStyle/>
              <a:p>
                <a:endParaRPr lang="en-GB" dirty="0"/>
              </a:p>
            </p:txBody>
          </p:sp>
          <p:sp>
            <p:nvSpPr>
              <p:cNvPr id="400" name="Freihandform: Form 573">
                <a:extLst>
                  <a:ext uri="{FF2B5EF4-FFF2-40B4-BE49-F238E27FC236}">
                    <a16:creationId xmlns:a16="http://schemas.microsoft.com/office/drawing/2014/main" id="{89FCFBD5-0634-423E-9F81-D898573084B2}"/>
                  </a:ext>
                </a:extLst>
              </p:cNvPr>
              <p:cNvSpPr/>
              <p:nvPr/>
            </p:nvSpPr>
            <p:spPr>
              <a:xfrm>
                <a:off x="1087524" y="4291204"/>
                <a:ext cx="77258" cy="77283"/>
              </a:xfrm>
              <a:custGeom>
                <a:avLst/>
                <a:gdLst>
                  <a:gd name="connsiteX0" fmla="*/ 38642 w 77258"/>
                  <a:gd name="connsiteY0" fmla="*/ 77284 h 77283"/>
                  <a:gd name="connsiteX1" fmla="*/ 0 w 77258"/>
                  <a:gd name="connsiteY1" fmla="*/ 38642 h 77283"/>
                  <a:gd name="connsiteX2" fmla="*/ 38642 w 77258"/>
                  <a:gd name="connsiteY2" fmla="*/ 0 h 77283"/>
                  <a:gd name="connsiteX3" fmla="*/ 77258 w 77258"/>
                  <a:gd name="connsiteY3" fmla="*/ 38642 h 77283"/>
                  <a:gd name="connsiteX4" fmla="*/ 38642 w 77258"/>
                  <a:gd name="connsiteY4" fmla="*/ 77284 h 77283"/>
                  <a:gd name="connsiteX5" fmla="*/ 38642 w 77258"/>
                  <a:gd name="connsiteY5" fmla="*/ 9830 h 77283"/>
                  <a:gd name="connsiteX6" fmla="*/ 9855 w 77258"/>
                  <a:gd name="connsiteY6" fmla="*/ 38642 h 77283"/>
                  <a:gd name="connsiteX7" fmla="*/ 38642 w 77258"/>
                  <a:gd name="connsiteY7" fmla="*/ 67428 h 77283"/>
                  <a:gd name="connsiteX8" fmla="*/ 67428 w 77258"/>
                  <a:gd name="connsiteY8" fmla="*/ 38642 h 77283"/>
                  <a:gd name="connsiteX9" fmla="*/ 38642 w 77258"/>
                  <a:gd name="connsiteY9" fmla="*/ 9830 h 7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258" h="77283">
                    <a:moveTo>
                      <a:pt x="38642" y="77284"/>
                    </a:moveTo>
                    <a:cubicBezTo>
                      <a:pt x="17347" y="77284"/>
                      <a:pt x="0" y="59961"/>
                      <a:pt x="0" y="38642"/>
                    </a:cubicBezTo>
                    <a:cubicBezTo>
                      <a:pt x="0" y="17322"/>
                      <a:pt x="17322" y="0"/>
                      <a:pt x="38642" y="0"/>
                    </a:cubicBezTo>
                    <a:cubicBezTo>
                      <a:pt x="59936" y="0"/>
                      <a:pt x="77258" y="17347"/>
                      <a:pt x="77258" y="38642"/>
                    </a:cubicBezTo>
                    <a:cubicBezTo>
                      <a:pt x="77284" y="59961"/>
                      <a:pt x="59936" y="77284"/>
                      <a:pt x="38642" y="77284"/>
                    </a:cubicBezTo>
                    <a:close/>
                    <a:moveTo>
                      <a:pt x="38642" y="9830"/>
                    </a:moveTo>
                    <a:cubicBezTo>
                      <a:pt x="22753" y="9830"/>
                      <a:pt x="9855" y="22752"/>
                      <a:pt x="9855" y="38642"/>
                    </a:cubicBezTo>
                    <a:cubicBezTo>
                      <a:pt x="9855" y="54531"/>
                      <a:pt x="22778" y="67428"/>
                      <a:pt x="38642" y="67428"/>
                    </a:cubicBezTo>
                    <a:cubicBezTo>
                      <a:pt x="54506" y="67428"/>
                      <a:pt x="67428" y="54506"/>
                      <a:pt x="67428" y="38642"/>
                    </a:cubicBezTo>
                    <a:cubicBezTo>
                      <a:pt x="67428" y="22778"/>
                      <a:pt x="54531" y="9830"/>
                      <a:pt x="38642" y="9830"/>
                    </a:cubicBezTo>
                    <a:close/>
                  </a:path>
                </a:pathLst>
              </a:custGeom>
              <a:solidFill>
                <a:schemeClr val="accent1"/>
              </a:solidFill>
              <a:ln w="2509" cap="flat">
                <a:noFill/>
                <a:prstDash val="solid"/>
                <a:miter/>
              </a:ln>
            </p:spPr>
            <p:txBody>
              <a:bodyPr rtlCol="0" anchor="ctr"/>
              <a:lstStyle/>
              <a:p>
                <a:endParaRPr lang="en-GB" dirty="0"/>
              </a:p>
            </p:txBody>
          </p:sp>
          <p:sp>
            <p:nvSpPr>
              <p:cNvPr id="401" name="Freihandform: Form 574">
                <a:extLst>
                  <a:ext uri="{FF2B5EF4-FFF2-40B4-BE49-F238E27FC236}">
                    <a16:creationId xmlns:a16="http://schemas.microsoft.com/office/drawing/2014/main" id="{78DC4367-2DF8-4100-AADE-025F79BA497E}"/>
                  </a:ext>
                </a:extLst>
              </p:cNvPr>
              <p:cNvSpPr/>
              <p:nvPr/>
            </p:nvSpPr>
            <p:spPr>
              <a:xfrm>
                <a:off x="933824" y="4158750"/>
                <a:ext cx="65882" cy="89286"/>
              </a:xfrm>
              <a:custGeom>
                <a:avLst/>
                <a:gdLst>
                  <a:gd name="connsiteX0" fmla="*/ 60980 w 65882"/>
                  <a:gd name="connsiteY0" fmla="*/ 89287 h 89286"/>
                  <a:gd name="connsiteX1" fmla="*/ 60854 w 65882"/>
                  <a:gd name="connsiteY1" fmla="*/ 89287 h 89286"/>
                  <a:gd name="connsiteX2" fmla="*/ 58063 w 65882"/>
                  <a:gd name="connsiteY2" fmla="*/ 88432 h 89286"/>
                  <a:gd name="connsiteX3" fmla="*/ 2124 w 65882"/>
                  <a:gd name="connsiteY3" fmla="*/ 49966 h 89286"/>
                  <a:gd name="connsiteX4" fmla="*/ 38 w 65882"/>
                  <a:gd name="connsiteY4" fmla="*/ 45290 h 89286"/>
                  <a:gd name="connsiteX5" fmla="*/ 5368 w 65882"/>
                  <a:gd name="connsiteY5" fmla="*/ 4285 h 89286"/>
                  <a:gd name="connsiteX6" fmla="*/ 8209 w 65882"/>
                  <a:gd name="connsiteY6" fmla="*/ 438 h 89286"/>
                  <a:gd name="connsiteX7" fmla="*/ 12985 w 65882"/>
                  <a:gd name="connsiteY7" fmla="*/ 841 h 89286"/>
                  <a:gd name="connsiteX8" fmla="*/ 58968 w 65882"/>
                  <a:gd name="connsiteY8" fmla="*/ 31814 h 89286"/>
                  <a:gd name="connsiteX9" fmla="*/ 61105 w 65882"/>
                  <a:gd name="connsiteY9" fmla="*/ 35435 h 89286"/>
                  <a:gd name="connsiteX10" fmla="*/ 65631 w 65882"/>
                  <a:gd name="connsiteY10" fmla="*/ 82801 h 89286"/>
                  <a:gd name="connsiteX11" fmla="*/ 65882 w 65882"/>
                  <a:gd name="connsiteY11" fmla="*/ 84384 h 89286"/>
                  <a:gd name="connsiteX12" fmla="*/ 60980 w 65882"/>
                  <a:gd name="connsiteY12" fmla="*/ 89287 h 89286"/>
                  <a:gd name="connsiteX13" fmla="*/ 10170 w 65882"/>
                  <a:gd name="connsiteY13" fmla="*/ 43555 h 89286"/>
                  <a:gd name="connsiteX14" fmla="*/ 54946 w 65882"/>
                  <a:gd name="connsiteY14" fmla="*/ 74353 h 89286"/>
                  <a:gd name="connsiteX15" fmla="*/ 51527 w 65882"/>
                  <a:gd name="connsiteY15" fmla="*/ 38678 h 89286"/>
                  <a:gd name="connsiteX16" fmla="*/ 14066 w 65882"/>
                  <a:gd name="connsiteY16" fmla="*/ 13436 h 89286"/>
                  <a:gd name="connsiteX17" fmla="*/ 10170 w 65882"/>
                  <a:gd name="connsiteY17" fmla="*/ 43555 h 89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882" h="89286">
                    <a:moveTo>
                      <a:pt x="60980" y="89287"/>
                    </a:moveTo>
                    <a:cubicBezTo>
                      <a:pt x="60929" y="89287"/>
                      <a:pt x="60904" y="89287"/>
                      <a:pt x="60854" y="89287"/>
                    </a:cubicBezTo>
                    <a:cubicBezTo>
                      <a:pt x="59873" y="89287"/>
                      <a:pt x="58893" y="89010"/>
                      <a:pt x="58063" y="88432"/>
                    </a:cubicBezTo>
                    <a:lnTo>
                      <a:pt x="2124" y="49966"/>
                    </a:lnTo>
                    <a:cubicBezTo>
                      <a:pt x="616" y="48910"/>
                      <a:pt x="-189" y="47100"/>
                      <a:pt x="38" y="45290"/>
                    </a:cubicBezTo>
                    <a:lnTo>
                      <a:pt x="5368" y="4285"/>
                    </a:lnTo>
                    <a:cubicBezTo>
                      <a:pt x="5594" y="2601"/>
                      <a:pt x="6675" y="1142"/>
                      <a:pt x="8209" y="438"/>
                    </a:cubicBezTo>
                    <a:cubicBezTo>
                      <a:pt x="9767" y="-266"/>
                      <a:pt x="11577" y="-115"/>
                      <a:pt x="12985" y="841"/>
                    </a:cubicBezTo>
                    <a:lnTo>
                      <a:pt x="58968" y="31814"/>
                    </a:lnTo>
                    <a:cubicBezTo>
                      <a:pt x="60200" y="32644"/>
                      <a:pt x="60980" y="33951"/>
                      <a:pt x="61105" y="35435"/>
                    </a:cubicBezTo>
                    <a:lnTo>
                      <a:pt x="65631" y="82801"/>
                    </a:lnTo>
                    <a:cubicBezTo>
                      <a:pt x="65807" y="83303"/>
                      <a:pt x="65882" y="83831"/>
                      <a:pt x="65882" y="84384"/>
                    </a:cubicBezTo>
                    <a:cubicBezTo>
                      <a:pt x="65882" y="87074"/>
                      <a:pt x="63695" y="89287"/>
                      <a:pt x="60980" y="89287"/>
                    </a:cubicBezTo>
                    <a:close/>
                    <a:moveTo>
                      <a:pt x="10170" y="43555"/>
                    </a:moveTo>
                    <a:lnTo>
                      <a:pt x="54946" y="74353"/>
                    </a:lnTo>
                    <a:lnTo>
                      <a:pt x="51527" y="38678"/>
                    </a:lnTo>
                    <a:lnTo>
                      <a:pt x="14066" y="13436"/>
                    </a:lnTo>
                    <a:lnTo>
                      <a:pt x="10170" y="43555"/>
                    </a:lnTo>
                    <a:close/>
                  </a:path>
                </a:pathLst>
              </a:custGeom>
              <a:solidFill>
                <a:schemeClr val="accent1"/>
              </a:solidFill>
              <a:ln w="2509" cap="flat">
                <a:noFill/>
                <a:prstDash val="solid"/>
                <a:miter/>
              </a:ln>
            </p:spPr>
            <p:txBody>
              <a:bodyPr rtlCol="0" anchor="ctr"/>
              <a:lstStyle/>
              <a:p>
                <a:endParaRPr lang="en-GB" dirty="0"/>
              </a:p>
            </p:txBody>
          </p:sp>
          <p:sp>
            <p:nvSpPr>
              <p:cNvPr id="402" name="Freihandform: Form 575">
                <a:extLst>
                  <a:ext uri="{FF2B5EF4-FFF2-40B4-BE49-F238E27FC236}">
                    <a16:creationId xmlns:a16="http://schemas.microsoft.com/office/drawing/2014/main" id="{1658D6EF-3BE5-4AFA-B4AA-4EF481D7D68D}"/>
                  </a:ext>
                </a:extLst>
              </p:cNvPr>
              <p:cNvSpPr/>
              <p:nvPr/>
            </p:nvSpPr>
            <p:spPr>
              <a:xfrm>
                <a:off x="897327" y="4200108"/>
                <a:ext cx="103193" cy="60047"/>
              </a:xfrm>
              <a:custGeom>
                <a:avLst/>
                <a:gdLst>
                  <a:gd name="connsiteX0" fmla="*/ 51770 w 103193"/>
                  <a:gd name="connsiteY0" fmla="*/ 60048 h 60047"/>
                  <a:gd name="connsiteX1" fmla="*/ 49080 w 103193"/>
                  <a:gd name="connsiteY1" fmla="*/ 59243 h 60047"/>
                  <a:gd name="connsiteX2" fmla="*/ 2217 w 103193"/>
                  <a:gd name="connsiteY2" fmla="*/ 28571 h 60047"/>
                  <a:gd name="connsiteX3" fmla="*/ 5 w 103193"/>
                  <a:gd name="connsiteY3" fmla="*/ 24247 h 60047"/>
                  <a:gd name="connsiteX4" fmla="*/ 2594 w 103193"/>
                  <a:gd name="connsiteY4" fmla="*/ 20124 h 60047"/>
                  <a:gd name="connsiteX5" fmla="*/ 38873 w 103193"/>
                  <a:gd name="connsiteY5" fmla="*/ 589 h 60047"/>
                  <a:gd name="connsiteX6" fmla="*/ 43901 w 103193"/>
                  <a:gd name="connsiteY6" fmla="*/ 815 h 60047"/>
                  <a:gd name="connsiteX7" fmla="*/ 100971 w 103193"/>
                  <a:gd name="connsiteY7" fmla="*/ 38351 h 60047"/>
                  <a:gd name="connsiteX8" fmla="*/ 103133 w 103193"/>
                  <a:gd name="connsiteY8" fmla="*/ 43228 h 60047"/>
                  <a:gd name="connsiteX9" fmla="*/ 99563 w 103193"/>
                  <a:gd name="connsiteY9" fmla="*/ 47200 h 60047"/>
                  <a:gd name="connsiteX10" fmla="*/ 53052 w 103193"/>
                  <a:gd name="connsiteY10" fmla="*/ 59872 h 60047"/>
                  <a:gd name="connsiteX11" fmla="*/ 51770 w 103193"/>
                  <a:gd name="connsiteY11" fmla="*/ 60048 h 60047"/>
                  <a:gd name="connsiteX12" fmla="*/ 14511 w 103193"/>
                  <a:gd name="connsiteY12" fmla="*/ 24850 h 60047"/>
                  <a:gd name="connsiteX13" fmla="*/ 52600 w 103193"/>
                  <a:gd name="connsiteY13" fmla="*/ 49790 h 60047"/>
                  <a:gd name="connsiteX14" fmla="*/ 86465 w 103193"/>
                  <a:gd name="connsiteY14" fmla="*/ 40563 h 60047"/>
                  <a:gd name="connsiteX15" fmla="*/ 40934 w 103193"/>
                  <a:gd name="connsiteY15" fmla="*/ 10620 h 60047"/>
                  <a:gd name="connsiteX16" fmla="*/ 14511 w 103193"/>
                  <a:gd name="connsiteY16" fmla="*/ 24850 h 60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3193" h="60047">
                    <a:moveTo>
                      <a:pt x="51770" y="60048"/>
                    </a:moveTo>
                    <a:cubicBezTo>
                      <a:pt x="50815" y="60048"/>
                      <a:pt x="49885" y="59771"/>
                      <a:pt x="49080" y="59243"/>
                    </a:cubicBezTo>
                    <a:lnTo>
                      <a:pt x="2217" y="28571"/>
                    </a:lnTo>
                    <a:cubicBezTo>
                      <a:pt x="759" y="27616"/>
                      <a:pt x="-71" y="25982"/>
                      <a:pt x="5" y="24247"/>
                    </a:cubicBezTo>
                    <a:cubicBezTo>
                      <a:pt x="80" y="22512"/>
                      <a:pt x="1061" y="20953"/>
                      <a:pt x="2594" y="20124"/>
                    </a:cubicBezTo>
                    <a:lnTo>
                      <a:pt x="38873" y="589"/>
                    </a:lnTo>
                    <a:cubicBezTo>
                      <a:pt x="40457" y="-266"/>
                      <a:pt x="42393" y="-190"/>
                      <a:pt x="43901" y="815"/>
                    </a:cubicBezTo>
                    <a:lnTo>
                      <a:pt x="100971" y="38351"/>
                    </a:lnTo>
                    <a:cubicBezTo>
                      <a:pt x="102580" y="39407"/>
                      <a:pt x="103435" y="41318"/>
                      <a:pt x="103133" y="43228"/>
                    </a:cubicBezTo>
                    <a:cubicBezTo>
                      <a:pt x="102832" y="45139"/>
                      <a:pt x="101449" y="46698"/>
                      <a:pt x="99563" y="47200"/>
                    </a:cubicBezTo>
                    <a:lnTo>
                      <a:pt x="53052" y="59872"/>
                    </a:lnTo>
                    <a:cubicBezTo>
                      <a:pt x="52650" y="59972"/>
                      <a:pt x="52198" y="60048"/>
                      <a:pt x="51770" y="60048"/>
                    </a:cubicBezTo>
                    <a:close/>
                    <a:moveTo>
                      <a:pt x="14511" y="24850"/>
                    </a:moveTo>
                    <a:lnTo>
                      <a:pt x="52600" y="49790"/>
                    </a:lnTo>
                    <a:lnTo>
                      <a:pt x="86465" y="40563"/>
                    </a:lnTo>
                    <a:lnTo>
                      <a:pt x="40934" y="10620"/>
                    </a:lnTo>
                    <a:lnTo>
                      <a:pt x="14511" y="24850"/>
                    </a:lnTo>
                    <a:close/>
                  </a:path>
                </a:pathLst>
              </a:custGeom>
              <a:solidFill>
                <a:schemeClr val="accent1"/>
              </a:solidFill>
              <a:ln w="2509" cap="flat">
                <a:noFill/>
                <a:prstDash val="solid"/>
                <a:miter/>
              </a:ln>
            </p:spPr>
            <p:txBody>
              <a:bodyPr rtlCol="0" anchor="ctr"/>
              <a:lstStyle/>
              <a:p>
                <a:endParaRPr lang="en-GB" dirty="0"/>
              </a:p>
            </p:txBody>
          </p:sp>
          <p:sp>
            <p:nvSpPr>
              <p:cNvPr id="403" name="Freihandform: Form 576">
                <a:extLst>
                  <a:ext uri="{FF2B5EF4-FFF2-40B4-BE49-F238E27FC236}">
                    <a16:creationId xmlns:a16="http://schemas.microsoft.com/office/drawing/2014/main" id="{A0AFD001-6118-41B4-9F2C-C4653320FA8D}"/>
                  </a:ext>
                </a:extLst>
              </p:cNvPr>
              <p:cNvSpPr/>
              <p:nvPr/>
            </p:nvSpPr>
            <p:spPr>
              <a:xfrm>
                <a:off x="907329" y="4181947"/>
                <a:ext cx="224400" cy="154184"/>
              </a:xfrm>
              <a:custGeom>
                <a:avLst/>
                <a:gdLst>
                  <a:gd name="connsiteX0" fmla="*/ 219490 w 224400"/>
                  <a:gd name="connsiteY0" fmla="*/ 154184 h 154184"/>
                  <a:gd name="connsiteX1" fmla="*/ 216749 w 224400"/>
                  <a:gd name="connsiteY1" fmla="*/ 153354 h 154184"/>
                  <a:gd name="connsiteX2" fmla="*/ 2170 w 224400"/>
                  <a:gd name="connsiteY2" fmla="*/ 8995 h 154184"/>
                  <a:gd name="connsiteX3" fmla="*/ 838 w 224400"/>
                  <a:gd name="connsiteY3" fmla="*/ 2181 h 154184"/>
                  <a:gd name="connsiteX4" fmla="*/ 7651 w 224400"/>
                  <a:gd name="connsiteY4" fmla="*/ 849 h 154184"/>
                  <a:gd name="connsiteX5" fmla="*/ 222230 w 224400"/>
                  <a:gd name="connsiteY5" fmla="*/ 145209 h 154184"/>
                  <a:gd name="connsiteX6" fmla="*/ 223562 w 224400"/>
                  <a:gd name="connsiteY6" fmla="*/ 152022 h 154184"/>
                  <a:gd name="connsiteX7" fmla="*/ 219490 w 224400"/>
                  <a:gd name="connsiteY7" fmla="*/ 154184 h 15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400" h="154184">
                    <a:moveTo>
                      <a:pt x="219490" y="154184"/>
                    </a:moveTo>
                    <a:cubicBezTo>
                      <a:pt x="218534" y="154184"/>
                      <a:pt x="217579" y="153908"/>
                      <a:pt x="216749" y="153354"/>
                    </a:cubicBezTo>
                    <a:lnTo>
                      <a:pt x="2170" y="8995"/>
                    </a:lnTo>
                    <a:cubicBezTo>
                      <a:pt x="-92" y="7486"/>
                      <a:pt x="-671" y="4419"/>
                      <a:pt x="838" y="2181"/>
                    </a:cubicBezTo>
                    <a:cubicBezTo>
                      <a:pt x="2346" y="-81"/>
                      <a:pt x="5414" y="-685"/>
                      <a:pt x="7651" y="849"/>
                    </a:cubicBezTo>
                    <a:lnTo>
                      <a:pt x="222230" y="145209"/>
                    </a:lnTo>
                    <a:cubicBezTo>
                      <a:pt x="224493" y="146717"/>
                      <a:pt x="225071" y="149785"/>
                      <a:pt x="223562" y="152022"/>
                    </a:cubicBezTo>
                    <a:cubicBezTo>
                      <a:pt x="222607" y="153430"/>
                      <a:pt x="221073" y="154184"/>
                      <a:pt x="219490" y="154184"/>
                    </a:cubicBezTo>
                    <a:close/>
                  </a:path>
                </a:pathLst>
              </a:custGeom>
              <a:solidFill>
                <a:schemeClr val="accent1"/>
              </a:solidFill>
              <a:ln w="2509" cap="flat">
                <a:noFill/>
                <a:prstDash val="solid"/>
                <a:miter/>
              </a:ln>
            </p:spPr>
            <p:txBody>
              <a:bodyPr rtlCol="0" anchor="ctr"/>
              <a:lstStyle/>
              <a:p>
                <a:endParaRPr lang="en-GB" dirty="0"/>
              </a:p>
            </p:txBody>
          </p:sp>
          <p:sp>
            <p:nvSpPr>
              <p:cNvPr id="404" name="Freihandform: Form 577">
                <a:extLst>
                  <a:ext uri="{FF2B5EF4-FFF2-40B4-BE49-F238E27FC236}">
                    <a16:creationId xmlns:a16="http://schemas.microsoft.com/office/drawing/2014/main" id="{E142DE85-D728-4311-A7CC-46251122B73D}"/>
                  </a:ext>
                </a:extLst>
              </p:cNvPr>
              <p:cNvSpPr/>
              <p:nvPr/>
            </p:nvSpPr>
            <p:spPr>
              <a:xfrm>
                <a:off x="1121891" y="4112401"/>
                <a:ext cx="9855" cy="49553"/>
              </a:xfrm>
              <a:custGeom>
                <a:avLst/>
                <a:gdLst>
                  <a:gd name="connsiteX0" fmla="*/ 4928 w 9855"/>
                  <a:gd name="connsiteY0" fmla="*/ 49553 h 49553"/>
                  <a:gd name="connsiteX1" fmla="*/ 0 w 9855"/>
                  <a:gd name="connsiteY1" fmla="*/ 44625 h 49553"/>
                  <a:gd name="connsiteX2" fmla="*/ 0 w 9855"/>
                  <a:gd name="connsiteY2" fmla="*/ 4928 h 49553"/>
                  <a:gd name="connsiteX3" fmla="*/ 4928 w 9855"/>
                  <a:gd name="connsiteY3" fmla="*/ 0 h 49553"/>
                  <a:gd name="connsiteX4" fmla="*/ 9855 w 9855"/>
                  <a:gd name="connsiteY4" fmla="*/ 4928 h 49553"/>
                  <a:gd name="connsiteX5" fmla="*/ 9855 w 9855"/>
                  <a:gd name="connsiteY5" fmla="*/ 44625 h 49553"/>
                  <a:gd name="connsiteX6" fmla="*/ 4928 w 9855"/>
                  <a:gd name="connsiteY6" fmla="*/ 49553 h 49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5" h="49553">
                    <a:moveTo>
                      <a:pt x="4928" y="49553"/>
                    </a:moveTo>
                    <a:cubicBezTo>
                      <a:pt x="2212" y="49553"/>
                      <a:pt x="0" y="47341"/>
                      <a:pt x="0" y="44625"/>
                    </a:cubicBezTo>
                    <a:lnTo>
                      <a:pt x="0" y="4928"/>
                    </a:lnTo>
                    <a:cubicBezTo>
                      <a:pt x="0" y="2212"/>
                      <a:pt x="2212" y="0"/>
                      <a:pt x="4928" y="0"/>
                    </a:cubicBezTo>
                    <a:cubicBezTo>
                      <a:pt x="7643" y="0"/>
                      <a:pt x="9855" y="2212"/>
                      <a:pt x="9855" y="4928"/>
                    </a:cubicBezTo>
                    <a:lnTo>
                      <a:pt x="9855" y="44625"/>
                    </a:lnTo>
                    <a:cubicBezTo>
                      <a:pt x="9855" y="47341"/>
                      <a:pt x="7643" y="49553"/>
                      <a:pt x="4928" y="49553"/>
                    </a:cubicBezTo>
                    <a:close/>
                  </a:path>
                </a:pathLst>
              </a:custGeom>
              <a:solidFill>
                <a:schemeClr val="accent1"/>
              </a:solidFill>
              <a:ln w="2509" cap="flat">
                <a:noFill/>
                <a:prstDash val="solid"/>
                <a:miter/>
              </a:ln>
            </p:spPr>
            <p:txBody>
              <a:bodyPr rtlCol="0" anchor="ctr"/>
              <a:lstStyle/>
              <a:p>
                <a:endParaRPr lang="en-GB" dirty="0"/>
              </a:p>
            </p:txBody>
          </p:sp>
          <p:sp>
            <p:nvSpPr>
              <p:cNvPr id="405" name="Freihandform: Form 578">
                <a:extLst>
                  <a:ext uri="{FF2B5EF4-FFF2-40B4-BE49-F238E27FC236}">
                    <a16:creationId xmlns:a16="http://schemas.microsoft.com/office/drawing/2014/main" id="{F616474C-7827-4CF5-8DBC-60D936E58021}"/>
                  </a:ext>
                </a:extLst>
              </p:cNvPr>
              <p:cNvSpPr/>
              <p:nvPr/>
            </p:nvSpPr>
            <p:spPr>
              <a:xfrm>
                <a:off x="1121891" y="4497788"/>
                <a:ext cx="9855" cy="54505"/>
              </a:xfrm>
              <a:custGeom>
                <a:avLst/>
                <a:gdLst>
                  <a:gd name="connsiteX0" fmla="*/ 4928 w 9855"/>
                  <a:gd name="connsiteY0" fmla="*/ 54506 h 54505"/>
                  <a:gd name="connsiteX1" fmla="*/ 0 w 9855"/>
                  <a:gd name="connsiteY1" fmla="*/ 49578 h 54505"/>
                  <a:gd name="connsiteX2" fmla="*/ 0 w 9855"/>
                  <a:gd name="connsiteY2" fmla="*/ 4928 h 54505"/>
                  <a:gd name="connsiteX3" fmla="*/ 4928 w 9855"/>
                  <a:gd name="connsiteY3" fmla="*/ 0 h 54505"/>
                  <a:gd name="connsiteX4" fmla="*/ 9855 w 9855"/>
                  <a:gd name="connsiteY4" fmla="*/ 4928 h 54505"/>
                  <a:gd name="connsiteX5" fmla="*/ 9855 w 9855"/>
                  <a:gd name="connsiteY5" fmla="*/ 49578 h 54505"/>
                  <a:gd name="connsiteX6" fmla="*/ 4928 w 9855"/>
                  <a:gd name="connsiteY6" fmla="*/ 54506 h 54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5" h="54505">
                    <a:moveTo>
                      <a:pt x="4928" y="54506"/>
                    </a:moveTo>
                    <a:cubicBezTo>
                      <a:pt x="2212" y="54506"/>
                      <a:pt x="0" y="52293"/>
                      <a:pt x="0" y="49578"/>
                    </a:cubicBezTo>
                    <a:lnTo>
                      <a:pt x="0" y="4928"/>
                    </a:lnTo>
                    <a:cubicBezTo>
                      <a:pt x="0" y="2212"/>
                      <a:pt x="2212" y="0"/>
                      <a:pt x="4928" y="0"/>
                    </a:cubicBezTo>
                    <a:cubicBezTo>
                      <a:pt x="7643" y="0"/>
                      <a:pt x="9855" y="2212"/>
                      <a:pt x="9855" y="4928"/>
                    </a:cubicBezTo>
                    <a:lnTo>
                      <a:pt x="9855" y="49578"/>
                    </a:lnTo>
                    <a:cubicBezTo>
                      <a:pt x="9855" y="52293"/>
                      <a:pt x="7643" y="54506"/>
                      <a:pt x="4928" y="54506"/>
                    </a:cubicBezTo>
                    <a:close/>
                  </a:path>
                </a:pathLst>
              </a:custGeom>
              <a:solidFill>
                <a:schemeClr val="accent1"/>
              </a:solidFill>
              <a:ln w="2509" cap="flat">
                <a:noFill/>
                <a:prstDash val="solid"/>
                <a:miter/>
              </a:ln>
            </p:spPr>
            <p:txBody>
              <a:bodyPr rtlCol="0" anchor="ctr"/>
              <a:lstStyle/>
              <a:p>
                <a:endParaRPr lang="en-GB" dirty="0"/>
              </a:p>
            </p:txBody>
          </p:sp>
          <p:sp>
            <p:nvSpPr>
              <p:cNvPr id="406" name="Freihandform: Form 579">
                <a:extLst>
                  <a:ext uri="{FF2B5EF4-FFF2-40B4-BE49-F238E27FC236}">
                    <a16:creationId xmlns:a16="http://schemas.microsoft.com/office/drawing/2014/main" id="{01F7E5F3-4F78-4841-9B02-325DDFAE043B}"/>
                  </a:ext>
                </a:extLst>
              </p:cNvPr>
              <p:cNvSpPr/>
              <p:nvPr/>
            </p:nvSpPr>
            <p:spPr>
              <a:xfrm>
                <a:off x="1279400" y="4325095"/>
                <a:ext cx="53877" cy="9855"/>
              </a:xfrm>
              <a:custGeom>
                <a:avLst/>
                <a:gdLst>
                  <a:gd name="connsiteX0" fmla="*/ 48950 w 53877"/>
                  <a:gd name="connsiteY0" fmla="*/ 9855 h 9855"/>
                  <a:gd name="connsiteX1" fmla="*/ 4928 w 53877"/>
                  <a:gd name="connsiteY1" fmla="*/ 9855 h 9855"/>
                  <a:gd name="connsiteX2" fmla="*/ 0 w 53877"/>
                  <a:gd name="connsiteY2" fmla="*/ 4928 h 9855"/>
                  <a:gd name="connsiteX3" fmla="*/ 4928 w 53877"/>
                  <a:gd name="connsiteY3" fmla="*/ 0 h 9855"/>
                  <a:gd name="connsiteX4" fmla="*/ 48950 w 53877"/>
                  <a:gd name="connsiteY4" fmla="*/ 0 h 9855"/>
                  <a:gd name="connsiteX5" fmla="*/ 53877 w 53877"/>
                  <a:gd name="connsiteY5" fmla="*/ 4928 h 9855"/>
                  <a:gd name="connsiteX6" fmla="*/ 48950 w 53877"/>
                  <a:gd name="connsiteY6" fmla="*/ 9855 h 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877" h="9855">
                    <a:moveTo>
                      <a:pt x="48950" y="9855"/>
                    </a:moveTo>
                    <a:lnTo>
                      <a:pt x="4928" y="9855"/>
                    </a:lnTo>
                    <a:cubicBezTo>
                      <a:pt x="2212" y="9855"/>
                      <a:pt x="0" y="7643"/>
                      <a:pt x="0" y="4928"/>
                    </a:cubicBezTo>
                    <a:cubicBezTo>
                      <a:pt x="0" y="2212"/>
                      <a:pt x="2212" y="0"/>
                      <a:pt x="4928" y="0"/>
                    </a:cubicBezTo>
                    <a:lnTo>
                      <a:pt x="48950" y="0"/>
                    </a:lnTo>
                    <a:cubicBezTo>
                      <a:pt x="51665" y="0"/>
                      <a:pt x="53877" y="2212"/>
                      <a:pt x="53877" y="4928"/>
                    </a:cubicBezTo>
                    <a:cubicBezTo>
                      <a:pt x="53877" y="7643"/>
                      <a:pt x="51665" y="9855"/>
                      <a:pt x="48950" y="9855"/>
                    </a:cubicBezTo>
                    <a:close/>
                  </a:path>
                </a:pathLst>
              </a:custGeom>
              <a:solidFill>
                <a:schemeClr val="accent1"/>
              </a:solidFill>
              <a:ln w="2509" cap="flat">
                <a:noFill/>
                <a:prstDash val="solid"/>
                <a:miter/>
              </a:ln>
            </p:spPr>
            <p:txBody>
              <a:bodyPr rtlCol="0" anchor="ctr"/>
              <a:lstStyle/>
              <a:p>
                <a:endParaRPr lang="en-GB" dirty="0"/>
              </a:p>
            </p:txBody>
          </p:sp>
          <p:sp>
            <p:nvSpPr>
              <p:cNvPr id="407" name="Freihandform: Form 580">
                <a:extLst>
                  <a:ext uri="{FF2B5EF4-FFF2-40B4-BE49-F238E27FC236}">
                    <a16:creationId xmlns:a16="http://schemas.microsoft.com/office/drawing/2014/main" id="{CBAFEE3F-8588-4CFB-B48F-E5BD8C385F48}"/>
                  </a:ext>
                </a:extLst>
              </p:cNvPr>
              <p:cNvSpPr/>
              <p:nvPr/>
            </p:nvSpPr>
            <p:spPr>
              <a:xfrm>
                <a:off x="915182" y="4325095"/>
                <a:ext cx="56517" cy="9855"/>
              </a:xfrm>
              <a:custGeom>
                <a:avLst/>
                <a:gdLst>
                  <a:gd name="connsiteX0" fmla="*/ 51615 w 56517"/>
                  <a:gd name="connsiteY0" fmla="*/ 9855 h 9855"/>
                  <a:gd name="connsiteX1" fmla="*/ 4928 w 56517"/>
                  <a:gd name="connsiteY1" fmla="*/ 9855 h 9855"/>
                  <a:gd name="connsiteX2" fmla="*/ 0 w 56517"/>
                  <a:gd name="connsiteY2" fmla="*/ 4928 h 9855"/>
                  <a:gd name="connsiteX3" fmla="*/ 4928 w 56517"/>
                  <a:gd name="connsiteY3" fmla="*/ 0 h 9855"/>
                  <a:gd name="connsiteX4" fmla="*/ 51589 w 56517"/>
                  <a:gd name="connsiteY4" fmla="*/ 0 h 9855"/>
                  <a:gd name="connsiteX5" fmla="*/ 56517 w 56517"/>
                  <a:gd name="connsiteY5" fmla="*/ 4928 h 9855"/>
                  <a:gd name="connsiteX6" fmla="*/ 51615 w 56517"/>
                  <a:gd name="connsiteY6" fmla="*/ 9855 h 9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17" h="9855">
                    <a:moveTo>
                      <a:pt x="51615" y="9855"/>
                    </a:moveTo>
                    <a:lnTo>
                      <a:pt x="4928" y="9855"/>
                    </a:lnTo>
                    <a:cubicBezTo>
                      <a:pt x="2212" y="9855"/>
                      <a:pt x="0" y="7643"/>
                      <a:pt x="0" y="4928"/>
                    </a:cubicBezTo>
                    <a:cubicBezTo>
                      <a:pt x="0" y="2212"/>
                      <a:pt x="2212" y="0"/>
                      <a:pt x="4928" y="0"/>
                    </a:cubicBezTo>
                    <a:lnTo>
                      <a:pt x="51589" y="0"/>
                    </a:lnTo>
                    <a:cubicBezTo>
                      <a:pt x="54305" y="0"/>
                      <a:pt x="56517" y="2212"/>
                      <a:pt x="56517" y="4928"/>
                    </a:cubicBezTo>
                    <a:cubicBezTo>
                      <a:pt x="56517" y="7643"/>
                      <a:pt x="54330" y="9855"/>
                      <a:pt x="51615" y="9855"/>
                    </a:cubicBezTo>
                    <a:close/>
                  </a:path>
                </a:pathLst>
              </a:custGeom>
              <a:solidFill>
                <a:schemeClr val="accent1"/>
              </a:solidFill>
              <a:ln w="2509" cap="flat">
                <a:noFill/>
                <a:prstDash val="solid"/>
                <a:miter/>
              </a:ln>
            </p:spPr>
            <p:txBody>
              <a:bodyPr rtlCol="0" anchor="ctr"/>
              <a:lstStyle/>
              <a:p>
                <a:endParaRPr lang="en-GB" dirty="0"/>
              </a:p>
            </p:txBody>
          </p:sp>
        </p:grpSp>
      </p:grpSp>
      <p:grpSp>
        <p:nvGrpSpPr>
          <p:cNvPr id="615" name="Group 614">
            <a:extLst>
              <a:ext uri="{FF2B5EF4-FFF2-40B4-BE49-F238E27FC236}">
                <a16:creationId xmlns:a16="http://schemas.microsoft.com/office/drawing/2014/main" id="{A685D17A-7862-B806-F7F0-FF245B5130E9}"/>
              </a:ext>
            </a:extLst>
          </p:cNvPr>
          <p:cNvGrpSpPr/>
          <p:nvPr/>
        </p:nvGrpSpPr>
        <p:grpSpPr>
          <a:xfrm>
            <a:off x="5024345" y="2399021"/>
            <a:ext cx="377846" cy="432000"/>
            <a:chOff x="5023933" y="2399021"/>
            <a:chExt cx="377846" cy="432000"/>
          </a:xfrm>
        </p:grpSpPr>
        <p:grpSp>
          <p:nvGrpSpPr>
            <p:cNvPr id="416" name="Grafik 22">
              <a:extLst>
                <a:ext uri="{FF2B5EF4-FFF2-40B4-BE49-F238E27FC236}">
                  <a16:creationId xmlns:a16="http://schemas.microsoft.com/office/drawing/2014/main" id="{3D7FE4C0-447F-4EF6-AA53-D67731047848}"/>
                </a:ext>
              </a:extLst>
            </p:cNvPr>
            <p:cNvGrpSpPr/>
            <p:nvPr/>
          </p:nvGrpSpPr>
          <p:grpSpPr>
            <a:xfrm>
              <a:off x="5175176" y="2399021"/>
              <a:ext cx="226603" cy="190138"/>
              <a:chOff x="5555433" y="1636286"/>
              <a:chExt cx="282667" cy="237181"/>
            </a:xfrm>
            <a:solidFill>
              <a:schemeClr val="accent1"/>
            </a:solidFill>
          </p:grpSpPr>
          <p:sp>
            <p:nvSpPr>
              <p:cNvPr id="432" name="Freihandform: Form 654">
                <a:extLst>
                  <a:ext uri="{FF2B5EF4-FFF2-40B4-BE49-F238E27FC236}">
                    <a16:creationId xmlns:a16="http://schemas.microsoft.com/office/drawing/2014/main" id="{6053D4C6-E7A9-4289-92A6-4EC01C36FE1C}"/>
                  </a:ext>
                </a:extLst>
              </p:cNvPr>
              <p:cNvSpPr/>
              <p:nvPr/>
            </p:nvSpPr>
            <p:spPr>
              <a:xfrm>
                <a:off x="5555433" y="1636286"/>
                <a:ext cx="282667" cy="237181"/>
              </a:xfrm>
              <a:custGeom>
                <a:avLst/>
                <a:gdLst>
                  <a:gd name="connsiteX0" fmla="*/ 167326 w 282667"/>
                  <a:gd name="connsiteY0" fmla="*/ 237181 h 237181"/>
                  <a:gd name="connsiteX1" fmla="*/ 165459 w 282667"/>
                  <a:gd name="connsiteY1" fmla="*/ 236817 h 237181"/>
                  <a:gd name="connsiteX2" fmla="*/ 162453 w 282667"/>
                  <a:gd name="connsiteY2" fmla="*/ 232307 h 237181"/>
                  <a:gd name="connsiteX3" fmla="*/ 162453 w 282667"/>
                  <a:gd name="connsiteY3" fmla="*/ 185196 h 237181"/>
                  <a:gd name="connsiteX4" fmla="*/ 115778 w 282667"/>
                  <a:gd name="connsiteY4" fmla="*/ 185196 h 237181"/>
                  <a:gd name="connsiteX5" fmla="*/ 110904 w 282667"/>
                  <a:gd name="connsiteY5" fmla="*/ 180323 h 237181"/>
                  <a:gd name="connsiteX6" fmla="*/ 115778 w 282667"/>
                  <a:gd name="connsiteY6" fmla="*/ 175449 h 237181"/>
                  <a:gd name="connsiteX7" fmla="*/ 167326 w 282667"/>
                  <a:gd name="connsiteY7" fmla="*/ 175449 h 237181"/>
                  <a:gd name="connsiteX8" fmla="*/ 172200 w 282667"/>
                  <a:gd name="connsiteY8" fmla="*/ 180323 h 237181"/>
                  <a:gd name="connsiteX9" fmla="*/ 172200 w 282667"/>
                  <a:gd name="connsiteY9" fmla="*/ 220548 h 237181"/>
                  <a:gd name="connsiteX10" fmla="*/ 215868 w 282667"/>
                  <a:gd name="connsiteY10" fmla="*/ 176880 h 237181"/>
                  <a:gd name="connsiteX11" fmla="*/ 219311 w 282667"/>
                  <a:gd name="connsiteY11" fmla="*/ 175449 h 237181"/>
                  <a:gd name="connsiteX12" fmla="*/ 258300 w 282667"/>
                  <a:gd name="connsiteY12" fmla="*/ 175449 h 237181"/>
                  <a:gd name="connsiteX13" fmla="*/ 272921 w 282667"/>
                  <a:gd name="connsiteY13" fmla="*/ 160828 h 237181"/>
                  <a:gd name="connsiteX14" fmla="*/ 272921 w 282667"/>
                  <a:gd name="connsiteY14" fmla="*/ 24368 h 237181"/>
                  <a:gd name="connsiteX15" fmla="*/ 258300 w 282667"/>
                  <a:gd name="connsiteY15" fmla="*/ 9747 h 237181"/>
                  <a:gd name="connsiteX16" fmla="*/ 24368 w 282667"/>
                  <a:gd name="connsiteY16" fmla="*/ 9747 h 237181"/>
                  <a:gd name="connsiteX17" fmla="*/ 9747 w 282667"/>
                  <a:gd name="connsiteY17" fmla="*/ 24368 h 237181"/>
                  <a:gd name="connsiteX18" fmla="*/ 9747 w 282667"/>
                  <a:gd name="connsiteY18" fmla="*/ 49972 h 237181"/>
                  <a:gd name="connsiteX19" fmla="*/ 4874 w 282667"/>
                  <a:gd name="connsiteY19" fmla="*/ 54846 h 237181"/>
                  <a:gd name="connsiteX20" fmla="*/ 0 w 282667"/>
                  <a:gd name="connsiteY20" fmla="*/ 49972 h 237181"/>
                  <a:gd name="connsiteX21" fmla="*/ 0 w 282667"/>
                  <a:gd name="connsiteY21" fmla="*/ 24368 h 237181"/>
                  <a:gd name="connsiteX22" fmla="*/ 12439 w 282667"/>
                  <a:gd name="connsiteY22" fmla="*/ 2958 h 237181"/>
                  <a:gd name="connsiteX23" fmla="*/ 24368 w 282667"/>
                  <a:gd name="connsiteY23" fmla="*/ 0 h 237181"/>
                  <a:gd name="connsiteX24" fmla="*/ 24368 w 282667"/>
                  <a:gd name="connsiteY24" fmla="*/ 0 h 237181"/>
                  <a:gd name="connsiteX25" fmla="*/ 258300 w 282667"/>
                  <a:gd name="connsiteY25" fmla="*/ 0 h 237181"/>
                  <a:gd name="connsiteX26" fmla="*/ 282668 w 282667"/>
                  <a:gd name="connsiteY26" fmla="*/ 24368 h 237181"/>
                  <a:gd name="connsiteX27" fmla="*/ 282668 w 282667"/>
                  <a:gd name="connsiteY27" fmla="*/ 160828 h 237181"/>
                  <a:gd name="connsiteX28" fmla="*/ 258300 w 282667"/>
                  <a:gd name="connsiteY28" fmla="*/ 185196 h 237181"/>
                  <a:gd name="connsiteX29" fmla="*/ 221324 w 282667"/>
                  <a:gd name="connsiteY29" fmla="*/ 185196 h 237181"/>
                  <a:gd name="connsiteX30" fmla="*/ 170769 w 282667"/>
                  <a:gd name="connsiteY30" fmla="*/ 235751 h 237181"/>
                  <a:gd name="connsiteX31" fmla="*/ 167326 w 282667"/>
                  <a:gd name="connsiteY31" fmla="*/ 237181 h 23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82667" h="237181">
                    <a:moveTo>
                      <a:pt x="167326" y="237181"/>
                    </a:moveTo>
                    <a:cubicBezTo>
                      <a:pt x="166696" y="237181"/>
                      <a:pt x="166066" y="237060"/>
                      <a:pt x="165459" y="236817"/>
                    </a:cubicBezTo>
                    <a:cubicBezTo>
                      <a:pt x="163641" y="236066"/>
                      <a:pt x="162453" y="234296"/>
                      <a:pt x="162453" y="232307"/>
                    </a:cubicBezTo>
                    <a:lnTo>
                      <a:pt x="162453" y="185196"/>
                    </a:lnTo>
                    <a:lnTo>
                      <a:pt x="115778" y="185196"/>
                    </a:lnTo>
                    <a:cubicBezTo>
                      <a:pt x="113087" y="185196"/>
                      <a:pt x="110904" y="183014"/>
                      <a:pt x="110904" y="180323"/>
                    </a:cubicBezTo>
                    <a:cubicBezTo>
                      <a:pt x="110904" y="177631"/>
                      <a:pt x="113087" y="175449"/>
                      <a:pt x="115778" y="175449"/>
                    </a:cubicBezTo>
                    <a:lnTo>
                      <a:pt x="167326" y="175449"/>
                    </a:lnTo>
                    <a:cubicBezTo>
                      <a:pt x="170018" y="175449"/>
                      <a:pt x="172200" y="177631"/>
                      <a:pt x="172200" y="180323"/>
                    </a:cubicBezTo>
                    <a:lnTo>
                      <a:pt x="172200" y="220548"/>
                    </a:lnTo>
                    <a:lnTo>
                      <a:pt x="215868" y="176880"/>
                    </a:lnTo>
                    <a:cubicBezTo>
                      <a:pt x="216790" y="175958"/>
                      <a:pt x="218026" y="175449"/>
                      <a:pt x="219311" y="175449"/>
                    </a:cubicBezTo>
                    <a:lnTo>
                      <a:pt x="258300" y="175449"/>
                    </a:lnTo>
                    <a:cubicBezTo>
                      <a:pt x="260725" y="175425"/>
                      <a:pt x="272921" y="174576"/>
                      <a:pt x="272921" y="160828"/>
                    </a:cubicBezTo>
                    <a:lnTo>
                      <a:pt x="272921" y="24368"/>
                    </a:lnTo>
                    <a:cubicBezTo>
                      <a:pt x="272921" y="10159"/>
                      <a:pt x="259803" y="9747"/>
                      <a:pt x="258300" y="9747"/>
                    </a:cubicBezTo>
                    <a:lnTo>
                      <a:pt x="24368" y="9747"/>
                    </a:lnTo>
                    <a:cubicBezTo>
                      <a:pt x="21943" y="9771"/>
                      <a:pt x="9747" y="10596"/>
                      <a:pt x="9747" y="24368"/>
                    </a:cubicBezTo>
                    <a:lnTo>
                      <a:pt x="9747" y="49972"/>
                    </a:lnTo>
                    <a:cubicBezTo>
                      <a:pt x="9747" y="52664"/>
                      <a:pt x="7565" y="54846"/>
                      <a:pt x="4874" y="54846"/>
                    </a:cubicBezTo>
                    <a:cubicBezTo>
                      <a:pt x="2182" y="54846"/>
                      <a:pt x="0" y="52664"/>
                      <a:pt x="0" y="49972"/>
                    </a:cubicBezTo>
                    <a:lnTo>
                      <a:pt x="0" y="24368"/>
                    </a:lnTo>
                    <a:cubicBezTo>
                      <a:pt x="0" y="14572"/>
                      <a:pt x="4413" y="6959"/>
                      <a:pt x="12439" y="2958"/>
                    </a:cubicBezTo>
                    <a:cubicBezTo>
                      <a:pt x="18161" y="97"/>
                      <a:pt x="23738" y="0"/>
                      <a:pt x="24368" y="0"/>
                    </a:cubicBezTo>
                    <a:lnTo>
                      <a:pt x="24368" y="0"/>
                    </a:lnTo>
                    <a:lnTo>
                      <a:pt x="258300" y="0"/>
                    </a:lnTo>
                    <a:cubicBezTo>
                      <a:pt x="266738" y="0"/>
                      <a:pt x="282668" y="5092"/>
                      <a:pt x="282668" y="24368"/>
                    </a:cubicBezTo>
                    <a:lnTo>
                      <a:pt x="282668" y="160828"/>
                    </a:lnTo>
                    <a:cubicBezTo>
                      <a:pt x="282668" y="180104"/>
                      <a:pt x="266738" y="185196"/>
                      <a:pt x="258300" y="185196"/>
                    </a:cubicBezTo>
                    <a:lnTo>
                      <a:pt x="221324" y="185196"/>
                    </a:lnTo>
                    <a:lnTo>
                      <a:pt x="170769" y="235751"/>
                    </a:lnTo>
                    <a:cubicBezTo>
                      <a:pt x="169848" y="236672"/>
                      <a:pt x="168587" y="237181"/>
                      <a:pt x="167326" y="237181"/>
                    </a:cubicBezTo>
                    <a:close/>
                  </a:path>
                </a:pathLst>
              </a:custGeom>
              <a:solidFill>
                <a:schemeClr val="accent1"/>
              </a:solidFill>
              <a:ln w="2422" cap="flat">
                <a:noFill/>
                <a:prstDash val="solid"/>
                <a:miter/>
              </a:ln>
            </p:spPr>
            <p:txBody>
              <a:bodyPr rtlCol="0" anchor="ctr"/>
              <a:lstStyle/>
              <a:p>
                <a:endParaRPr lang="en-GB" dirty="0"/>
              </a:p>
            </p:txBody>
          </p:sp>
          <p:grpSp>
            <p:nvGrpSpPr>
              <p:cNvPr id="433" name="Grafik 22">
                <a:extLst>
                  <a:ext uri="{FF2B5EF4-FFF2-40B4-BE49-F238E27FC236}">
                    <a16:creationId xmlns:a16="http://schemas.microsoft.com/office/drawing/2014/main" id="{E9111A80-1A53-453E-BF19-13D463676BEF}"/>
                  </a:ext>
                </a:extLst>
              </p:cNvPr>
              <p:cNvGrpSpPr/>
              <p:nvPr/>
            </p:nvGrpSpPr>
            <p:grpSpPr>
              <a:xfrm>
                <a:off x="5613916" y="1707766"/>
                <a:ext cx="165701" cy="42237"/>
                <a:chOff x="5613916" y="1707766"/>
                <a:chExt cx="165701" cy="42237"/>
              </a:xfrm>
              <a:solidFill>
                <a:schemeClr val="accent1"/>
              </a:solidFill>
            </p:grpSpPr>
            <p:sp>
              <p:nvSpPr>
                <p:cNvPr id="434" name="Freihandform: Form 656">
                  <a:extLst>
                    <a:ext uri="{FF2B5EF4-FFF2-40B4-BE49-F238E27FC236}">
                      <a16:creationId xmlns:a16="http://schemas.microsoft.com/office/drawing/2014/main" id="{9A22531A-4A53-4A6A-A1CC-C1CD7598C3E3}"/>
                    </a:ext>
                  </a:extLst>
                </p:cNvPr>
                <p:cNvSpPr/>
                <p:nvPr/>
              </p:nvSpPr>
              <p:spPr>
                <a:xfrm>
                  <a:off x="5613916" y="1707766"/>
                  <a:ext cx="42237" cy="42237"/>
                </a:xfrm>
                <a:custGeom>
                  <a:avLst/>
                  <a:gdLst>
                    <a:gd name="connsiteX0" fmla="*/ 21119 w 42237"/>
                    <a:gd name="connsiteY0" fmla="*/ 42238 h 42237"/>
                    <a:gd name="connsiteX1" fmla="*/ 0 w 42237"/>
                    <a:gd name="connsiteY1" fmla="*/ 21119 h 42237"/>
                    <a:gd name="connsiteX2" fmla="*/ 21119 w 42237"/>
                    <a:gd name="connsiteY2" fmla="*/ 0 h 42237"/>
                    <a:gd name="connsiteX3" fmla="*/ 42238 w 42237"/>
                    <a:gd name="connsiteY3" fmla="*/ 21119 h 42237"/>
                    <a:gd name="connsiteX4" fmla="*/ 21119 w 42237"/>
                    <a:gd name="connsiteY4" fmla="*/ 42238 h 42237"/>
                    <a:gd name="connsiteX5" fmla="*/ 21119 w 42237"/>
                    <a:gd name="connsiteY5" fmla="*/ 9747 h 42237"/>
                    <a:gd name="connsiteX6" fmla="*/ 9747 w 42237"/>
                    <a:gd name="connsiteY6" fmla="*/ 21119 h 42237"/>
                    <a:gd name="connsiteX7" fmla="*/ 21119 w 42237"/>
                    <a:gd name="connsiteY7" fmla="*/ 32491 h 42237"/>
                    <a:gd name="connsiteX8" fmla="*/ 32491 w 42237"/>
                    <a:gd name="connsiteY8" fmla="*/ 21119 h 42237"/>
                    <a:gd name="connsiteX9" fmla="*/ 21119 w 42237"/>
                    <a:gd name="connsiteY9" fmla="*/ 9747 h 42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37" h="42237">
                      <a:moveTo>
                        <a:pt x="21119" y="42238"/>
                      </a:moveTo>
                      <a:cubicBezTo>
                        <a:pt x="9480" y="42238"/>
                        <a:pt x="0" y="32757"/>
                        <a:pt x="0" y="21119"/>
                      </a:cubicBezTo>
                      <a:cubicBezTo>
                        <a:pt x="0" y="9480"/>
                        <a:pt x="9480" y="0"/>
                        <a:pt x="21119" y="0"/>
                      </a:cubicBezTo>
                      <a:cubicBezTo>
                        <a:pt x="32757" y="0"/>
                        <a:pt x="42238" y="9480"/>
                        <a:pt x="42238" y="21119"/>
                      </a:cubicBezTo>
                      <a:cubicBezTo>
                        <a:pt x="42238" y="32757"/>
                        <a:pt x="32757" y="42238"/>
                        <a:pt x="21119" y="42238"/>
                      </a:cubicBezTo>
                      <a:close/>
                      <a:moveTo>
                        <a:pt x="21119" y="9747"/>
                      </a:moveTo>
                      <a:cubicBezTo>
                        <a:pt x="14839" y="9747"/>
                        <a:pt x="9747" y="14839"/>
                        <a:pt x="9747" y="21119"/>
                      </a:cubicBezTo>
                      <a:cubicBezTo>
                        <a:pt x="9747" y="27399"/>
                        <a:pt x="14839" y="32491"/>
                        <a:pt x="21119" y="32491"/>
                      </a:cubicBezTo>
                      <a:cubicBezTo>
                        <a:pt x="27399" y="32491"/>
                        <a:pt x="32491" y="27399"/>
                        <a:pt x="32491" y="21119"/>
                      </a:cubicBezTo>
                      <a:cubicBezTo>
                        <a:pt x="32491" y="14839"/>
                        <a:pt x="27399" y="9747"/>
                        <a:pt x="21119" y="9747"/>
                      </a:cubicBezTo>
                      <a:close/>
                    </a:path>
                  </a:pathLst>
                </a:custGeom>
                <a:solidFill>
                  <a:schemeClr val="accent1"/>
                </a:solidFill>
                <a:ln w="2422" cap="flat">
                  <a:noFill/>
                  <a:prstDash val="solid"/>
                  <a:miter/>
                </a:ln>
              </p:spPr>
              <p:txBody>
                <a:bodyPr rtlCol="0" anchor="ctr"/>
                <a:lstStyle/>
                <a:p>
                  <a:endParaRPr lang="en-GB" dirty="0"/>
                </a:p>
              </p:txBody>
            </p:sp>
            <p:sp>
              <p:nvSpPr>
                <p:cNvPr id="435" name="Freihandform: Form 657">
                  <a:extLst>
                    <a:ext uri="{FF2B5EF4-FFF2-40B4-BE49-F238E27FC236}">
                      <a16:creationId xmlns:a16="http://schemas.microsoft.com/office/drawing/2014/main" id="{133C567A-3B50-45E2-8F9C-F6236F5DE9AA}"/>
                    </a:ext>
                  </a:extLst>
                </p:cNvPr>
                <p:cNvSpPr/>
                <p:nvPr/>
              </p:nvSpPr>
              <p:spPr>
                <a:xfrm>
                  <a:off x="5678897" y="1707766"/>
                  <a:ext cx="42237" cy="42237"/>
                </a:xfrm>
                <a:custGeom>
                  <a:avLst/>
                  <a:gdLst>
                    <a:gd name="connsiteX0" fmla="*/ 21119 w 42237"/>
                    <a:gd name="connsiteY0" fmla="*/ 42238 h 42237"/>
                    <a:gd name="connsiteX1" fmla="*/ 0 w 42237"/>
                    <a:gd name="connsiteY1" fmla="*/ 21119 h 42237"/>
                    <a:gd name="connsiteX2" fmla="*/ 21119 w 42237"/>
                    <a:gd name="connsiteY2" fmla="*/ 0 h 42237"/>
                    <a:gd name="connsiteX3" fmla="*/ 42238 w 42237"/>
                    <a:gd name="connsiteY3" fmla="*/ 21119 h 42237"/>
                    <a:gd name="connsiteX4" fmla="*/ 21119 w 42237"/>
                    <a:gd name="connsiteY4" fmla="*/ 42238 h 42237"/>
                    <a:gd name="connsiteX5" fmla="*/ 21119 w 42237"/>
                    <a:gd name="connsiteY5" fmla="*/ 9747 h 42237"/>
                    <a:gd name="connsiteX6" fmla="*/ 9747 w 42237"/>
                    <a:gd name="connsiteY6" fmla="*/ 21119 h 42237"/>
                    <a:gd name="connsiteX7" fmla="*/ 21119 w 42237"/>
                    <a:gd name="connsiteY7" fmla="*/ 32491 h 42237"/>
                    <a:gd name="connsiteX8" fmla="*/ 32491 w 42237"/>
                    <a:gd name="connsiteY8" fmla="*/ 21119 h 42237"/>
                    <a:gd name="connsiteX9" fmla="*/ 21119 w 42237"/>
                    <a:gd name="connsiteY9" fmla="*/ 9747 h 42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37" h="42237">
                      <a:moveTo>
                        <a:pt x="21119" y="42238"/>
                      </a:moveTo>
                      <a:cubicBezTo>
                        <a:pt x="9480" y="42238"/>
                        <a:pt x="0" y="32757"/>
                        <a:pt x="0" y="21119"/>
                      </a:cubicBezTo>
                      <a:cubicBezTo>
                        <a:pt x="0" y="9480"/>
                        <a:pt x="9480" y="0"/>
                        <a:pt x="21119" y="0"/>
                      </a:cubicBezTo>
                      <a:cubicBezTo>
                        <a:pt x="32757" y="0"/>
                        <a:pt x="42238" y="9480"/>
                        <a:pt x="42238" y="21119"/>
                      </a:cubicBezTo>
                      <a:cubicBezTo>
                        <a:pt x="42238" y="32757"/>
                        <a:pt x="32757" y="42238"/>
                        <a:pt x="21119" y="42238"/>
                      </a:cubicBezTo>
                      <a:close/>
                      <a:moveTo>
                        <a:pt x="21119" y="9747"/>
                      </a:moveTo>
                      <a:cubicBezTo>
                        <a:pt x="14839" y="9747"/>
                        <a:pt x="9747" y="14839"/>
                        <a:pt x="9747" y="21119"/>
                      </a:cubicBezTo>
                      <a:cubicBezTo>
                        <a:pt x="9747" y="27399"/>
                        <a:pt x="14839" y="32491"/>
                        <a:pt x="21119" y="32491"/>
                      </a:cubicBezTo>
                      <a:cubicBezTo>
                        <a:pt x="27399" y="32491"/>
                        <a:pt x="32491" y="27399"/>
                        <a:pt x="32491" y="21119"/>
                      </a:cubicBezTo>
                      <a:cubicBezTo>
                        <a:pt x="32491" y="14839"/>
                        <a:pt x="27399" y="9747"/>
                        <a:pt x="21119" y="9747"/>
                      </a:cubicBezTo>
                      <a:close/>
                    </a:path>
                  </a:pathLst>
                </a:custGeom>
                <a:solidFill>
                  <a:schemeClr val="accent1"/>
                </a:solidFill>
                <a:ln w="2422" cap="flat">
                  <a:noFill/>
                  <a:prstDash val="solid"/>
                  <a:miter/>
                </a:ln>
              </p:spPr>
              <p:txBody>
                <a:bodyPr rtlCol="0" anchor="ctr"/>
                <a:lstStyle/>
                <a:p>
                  <a:endParaRPr lang="en-GB" dirty="0"/>
                </a:p>
              </p:txBody>
            </p:sp>
            <p:sp>
              <p:nvSpPr>
                <p:cNvPr id="436" name="Freihandform: Form 658">
                  <a:extLst>
                    <a:ext uri="{FF2B5EF4-FFF2-40B4-BE49-F238E27FC236}">
                      <a16:creationId xmlns:a16="http://schemas.microsoft.com/office/drawing/2014/main" id="{AD9B281F-EE7B-4A6D-BE06-C28EF8AA3BBD}"/>
                    </a:ext>
                  </a:extLst>
                </p:cNvPr>
                <p:cNvSpPr/>
                <p:nvPr/>
              </p:nvSpPr>
              <p:spPr>
                <a:xfrm>
                  <a:off x="5737380" y="1707766"/>
                  <a:ext cx="42237" cy="42237"/>
                </a:xfrm>
                <a:custGeom>
                  <a:avLst/>
                  <a:gdLst>
                    <a:gd name="connsiteX0" fmla="*/ 21119 w 42237"/>
                    <a:gd name="connsiteY0" fmla="*/ 42238 h 42237"/>
                    <a:gd name="connsiteX1" fmla="*/ 0 w 42237"/>
                    <a:gd name="connsiteY1" fmla="*/ 21119 h 42237"/>
                    <a:gd name="connsiteX2" fmla="*/ 21119 w 42237"/>
                    <a:gd name="connsiteY2" fmla="*/ 0 h 42237"/>
                    <a:gd name="connsiteX3" fmla="*/ 42238 w 42237"/>
                    <a:gd name="connsiteY3" fmla="*/ 21119 h 42237"/>
                    <a:gd name="connsiteX4" fmla="*/ 21119 w 42237"/>
                    <a:gd name="connsiteY4" fmla="*/ 42238 h 42237"/>
                    <a:gd name="connsiteX5" fmla="*/ 21119 w 42237"/>
                    <a:gd name="connsiteY5" fmla="*/ 9747 h 42237"/>
                    <a:gd name="connsiteX6" fmla="*/ 9747 w 42237"/>
                    <a:gd name="connsiteY6" fmla="*/ 21119 h 42237"/>
                    <a:gd name="connsiteX7" fmla="*/ 21119 w 42237"/>
                    <a:gd name="connsiteY7" fmla="*/ 32491 h 42237"/>
                    <a:gd name="connsiteX8" fmla="*/ 32491 w 42237"/>
                    <a:gd name="connsiteY8" fmla="*/ 21119 h 42237"/>
                    <a:gd name="connsiteX9" fmla="*/ 21119 w 42237"/>
                    <a:gd name="connsiteY9" fmla="*/ 9747 h 42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237" h="42237">
                      <a:moveTo>
                        <a:pt x="21119" y="42238"/>
                      </a:moveTo>
                      <a:cubicBezTo>
                        <a:pt x="9480" y="42238"/>
                        <a:pt x="0" y="32757"/>
                        <a:pt x="0" y="21119"/>
                      </a:cubicBezTo>
                      <a:cubicBezTo>
                        <a:pt x="0" y="9480"/>
                        <a:pt x="9480" y="0"/>
                        <a:pt x="21119" y="0"/>
                      </a:cubicBezTo>
                      <a:cubicBezTo>
                        <a:pt x="32757" y="0"/>
                        <a:pt x="42238" y="9480"/>
                        <a:pt x="42238" y="21119"/>
                      </a:cubicBezTo>
                      <a:cubicBezTo>
                        <a:pt x="42238" y="32757"/>
                        <a:pt x="32757" y="42238"/>
                        <a:pt x="21119" y="42238"/>
                      </a:cubicBezTo>
                      <a:close/>
                      <a:moveTo>
                        <a:pt x="21119" y="9747"/>
                      </a:moveTo>
                      <a:cubicBezTo>
                        <a:pt x="14839" y="9747"/>
                        <a:pt x="9747" y="14839"/>
                        <a:pt x="9747" y="21119"/>
                      </a:cubicBezTo>
                      <a:cubicBezTo>
                        <a:pt x="9747" y="27399"/>
                        <a:pt x="14839" y="32491"/>
                        <a:pt x="21119" y="32491"/>
                      </a:cubicBezTo>
                      <a:cubicBezTo>
                        <a:pt x="27399" y="32491"/>
                        <a:pt x="32491" y="27399"/>
                        <a:pt x="32491" y="21119"/>
                      </a:cubicBezTo>
                      <a:cubicBezTo>
                        <a:pt x="32491" y="14839"/>
                        <a:pt x="27374" y="9747"/>
                        <a:pt x="21119" y="9747"/>
                      </a:cubicBezTo>
                      <a:close/>
                    </a:path>
                  </a:pathLst>
                </a:custGeom>
                <a:solidFill>
                  <a:schemeClr val="accent1"/>
                </a:solidFill>
                <a:ln w="2422" cap="flat">
                  <a:noFill/>
                  <a:prstDash val="solid"/>
                  <a:miter/>
                </a:ln>
              </p:spPr>
              <p:txBody>
                <a:bodyPr rtlCol="0" anchor="ctr"/>
                <a:lstStyle/>
                <a:p>
                  <a:endParaRPr lang="en-GB" dirty="0"/>
                </a:p>
              </p:txBody>
            </p:sp>
          </p:grpSp>
        </p:grpSp>
        <p:grpSp>
          <p:nvGrpSpPr>
            <p:cNvPr id="417" name="Grafik 22">
              <a:extLst>
                <a:ext uri="{FF2B5EF4-FFF2-40B4-BE49-F238E27FC236}">
                  <a16:creationId xmlns:a16="http://schemas.microsoft.com/office/drawing/2014/main" id="{7728C429-862B-46D3-A90C-32F987A12D60}"/>
                </a:ext>
              </a:extLst>
            </p:cNvPr>
            <p:cNvGrpSpPr/>
            <p:nvPr/>
          </p:nvGrpSpPr>
          <p:grpSpPr>
            <a:xfrm>
              <a:off x="5023933" y="2430218"/>
              <a:ext cx="247984" cy="400803"/>
              <a:chOff x="5366770" y="1675202"/>
              <a:chExt cx="309339" cy="499966"/>
            </a:xfrm>
            <a:solidFill>
              <a:schemeClr val="tx2"/>
            </a:solidFill>
          </p:grpSpPr>
          <p:sp>
            <p:nvSpPr>
              <p:cNvPr id="418" name="Freihandform: Form 660">
                <a:extLst>
                  <a:ext uri="{FF2B5EF4-FFF2-40B4-BE49-F238E27FC236}">
                    <a16:creationId xmlns:a16="http://schemas.microsoft.com/office/drawing/2014/main" id="{3280E5AF-A31B-463B-923A-4D366046CA42}"/>
                  </a:ext>
                </a:extLst>
              </p:cNvPr>
              <p:cNvSpPr/>
              <p:nvPr/>
            </p:nvSpPr>
            <p:spPr>
              <a:xfrm>
                <a:off x="5394023" y="2131379"/>
                <a:ext cx="268483" cy="43789"/>
              </a:xfrm>
              <a:custGeom>
                <a:avLst/>
                <a:gdLst>
                  <a:gd name="connsiteX0" fmla="*/ 248068 w 268483"/>
                  <a:gd name="connsiteY0" fmla="*/ 43790 h 43789"/>
                  <a:gd name="connsiteX1" fmla="*/ 20391 w 268483"/>
                  <a:gd name="connsiteY1" fmla="*/ 43790 h 43789"/>
                  <a:gd name="connsiteX2" fmla="*/ 0 w 268483"/>
                  <a:gd name="connsiteY2" fmla="*/ 21895 h 43789"/>
                  <a:gd name="connsiteX3" fmla="*/ 20391 w 268483"/>
                  <a:gd name="connsiteY3" fmla="*/ 0 h 43789"/>
                  <a:gd name="connsiteX4" fmla="*/ 248092 w 268483"/>
                  <a:gd name="connsiteY4" fmla="*/ 0 h 43789"/>
                  <a:gd name="connsiteX5" fmla="*/ 268483 w 268483"/>
                  <a:gd name="connsiteY5" fmla="*/ 21895 h 43789"/>
                  <a:gd name="connsiteX6" fmla="*/ 248068 w 268483"/>
                  <a:gd name="connsiteY6" fmla="*/ 43790 h 43789"/>
                  <a:gd name="connsiteX7" fmla="*/ 20391 w 268483"/>
                  <a:gd name="connsiteY7" fmla="*/ 9747 h 43789"/>
                  <a:gd name="connsiteX8" fmla="*/ 9747 w 268483"/>
                  <a:gd name="connsiteY8" fmla="*/ 21895 h 43789"/>
                  <a:gd name="connsiteX9" fmla="*/ 20391 w 268483"/>
                  <a:gd name="connsiteY9" fmla="*/ 34042 h 43789"/>
                  <a:gd name="connsiteX10" fmla="*/ 248092 w 268483"/>
                  <a:gd name="connsiteY10" fmla="*/ 34042 h 43789"/>
                  <a:gd name="connsiteX11" fmla="*/ 258736 w 268483"/>
                  <a:gd name="connsiteY11" fmla="*/ 21895 h 43789"/>
                  <a:gd name="connsiteX12" fmla="*/ 248092 w 268483"/>
                  <a:gd name="connsiteY12" fmla="*/ 9747 h 43789"/>
                  <a:gd name="connsiteX13" fmla="*/ 20391 w 268483"/>
                  <a:gd name="connsiteY13" fmla="*/ 9747 h 4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8483" h="43789">
                    <a:moveTo>
                      <a:pt x="248068" y="43790"/>
                    </a:moveTo>
                    <a:lnTo>
                      <a:pt x="20391" y="43790"/>
                    </a:lnTo>
                    <a:cubicBezTo>
                      <a:pt x="9141" y="43790"/>
                      <a:pt x="0" y="33970"/>
                      <a:pt x="0" y="21895"/>
                    </a:cubicBezTo>
                    <a:cubicBezTo>
                      <a:pt x="0" y="9820"/>
                      <a:pt x="9141" y="0"/>
                      <a:pt x="20391" y="0"/>
                    </a:cubicBezTo>
                    <a:lnTo>
                      <a:pt x="248092" y="0"/>
                    </a:lnTo>
                    <a:cubicBezTo>
                      <a:pt x="259342" y="0"/>
                      <a:pt x="268483" y="9820"/>
                      <a:pt x="268483" y="21895"/>
                    </a:cubicBezTo>
                    <a:cubicBezTo>
                      <a:pt x="268483" y="33970"/>
                      <a:pt x="259318" y="43790"/>
                      <a:pt x="248068" y="43790"/>
                    </a:cubicBezTo>
                    <a:close/>
                    <a:moveTo>
                      <a:pt x="20391" y="9747"/>
                    </a:moveTo>
                    <a:cubicBezTo>
                      <a:pt x="14524" y="9747"/>
                      <a:pt x="9747" y="15203"/>
                      <a:pt x="9747" y="21895"/>
                    </a:cubicBezTo>
                    <a:cubicBezTo>
                      <a:pt x="9747" y="28587"/>
                      <a:pt x="14524" y="34042"/>
                      <a:pt x="20391" y="34042"/>
                    </a:cubicBezTo>
                    <a:lnTo>
                      <a:pt x="248092" y="34042"/>
                    </a:lnTo>
                    <a:cubicBezTo>
                      <a:pt x="253960" y="34042"/>
                      <a:pt x="258736" y="28587"/>
                      <a:pt x="258736" y="21895"/>
                    </a:cubicBezTo>
                    <a:cubicBezTo>
                      <a:pt x="258736" y="15203"/>
                      <a:pt x="253960" y="9747"/>
                      <a:pt x="248092" y="9747"/>
                    </a:cubicBezTo>
                    <a:lnTo>
                      <a:pt x="20391" y="9747"/>
                    </a:lnTo>
                    <a:close/>
                  </a:path>
                </a:pathLst>
              </a:custGeom>
              <a:grpFill/>
              <a:ln w="2422" cap="flat">
                <a:noFill/>
                <a:prstDash val="solid"/>
                <a:miter/>
              </a:ln>
            </p:spPr>
            <p:txBody>
              <a:bodyPr rtlCol="0" anchor="ctr"/>
              <a:lstStyle/>
              <a:p>
                <a:endParaRPr lang="en-GB" dirty="0"/>
              </a:p>
            </p:txBody>
          </p:sp>
          <p:sp>
            <p:nvSpPr>
              <p:cNvPr id="419" name="Freihandform: Form 661">
                <a:extLst>
                  <a:ext uri="{FF2B5EF4-FFF2-40B4-BE49-F238E27FC236}">
                    <a16:creationId xmlns:a16="http://schemas.microsoft.com/office/drawing/2014/main" id="{406D9F78-89C4-4378-9E46-209233678CD1}"/>
                  </a:ext>
                </a:extLst>
              </p:cNvPr>
              <p:cNvSpPr/>
              <p:nvPr/>
            </p:nvSpPr>
            <p:spPr>
              <a:xfrm>
                <a:off x="5502018" y="2022439"/>
                <a:ext cx="52445" cy="118687"/>
              </a:xfrm>
              <a:custGeom>
                <a:avLst/>
                <a:gdLst>
                  <a:gd name="connsiteX0" fmla="*/ 47572 w 52445"/>
                  <a:gd name="connsiteY0" fmla="*/ 118688 h 118687"/>
                  <a:gd name="connsiteX1" fmla="*/ 4874 w 52445"/>
                  <a:gd name="connsiteY1" fmla="*/ 118688 h 118687"/>
                  <a:gd name="connsiteX2" fmla="*/ 0 w 52445"/>
                  <a:gd name="connsiteY2" fmla="*/ 113814 h 118687"/>
                  <a:gd name="connsiteX3" fmla="*/ 0 w 52445"/>
                  <a:gd name="connsiteY3" fmla="*/ 4874 h 118687"/>
                  <a:gd name="connsiteX4" fmla="*/ 4874 w 52445"/>
                  <a:gd name="connsiteY4" fmla="*/ 0 h 118687"/>
                  <a:gd name="connsiteX5" fmla="*/ 47572 w 52445"/>
                  <a:gd name="connsiteY5" fmla="*/ 0 h 118687"/>
                  <a:gd name="connsiteX6" fmla="*/ 52446 w 52445"/>
                  <a:gd name="connsiteY6" fmla="*/ 4874 h 118687"/>
                  <a:gd name="connsiteX7" fmla="*/ 52446 w 52445"/>
                  <a:gd name="connsiteY7" fmla="*/ 113814 h 118687"/>
                  <a:gd name="connsiteX8" fmla="*/ 47572 w 52445"/>
                  <a:gd name="connsiteY8" fmla="*/ 118688 h 118687"/>
                  <a:gd name="connsiteX9" fmla="*/ 9771 w 52445"/>
                  <a:gd name="connsiteY9" fmla="*/ 108940 h 118687"/>
                  <a:gd name="connsiteX10" fmla="*/ 42723 w 52445"/>
                  <a:gd name="connsiteY10" fmla="*/ 108940 h 118687"/>
                  <a:gd name="connsiteX11" fmla="*/ 42723 w 52445"/>
                  <a:gd name="connsiteY11" fmla="*/ 9747 h 118687"/>
                  <a:gd name="connsiteX12" fmla="*/ 9771 w 52445"/>
                  <a:gd name="connsiteY12" fmla="*/ 9747 h 118687"/>
                  <a:gd name="connsiteX13" fmla="*/ 9771 w 52445"/>
                  <a:gd name="connsiteY13" fmla="*/ 108940 h 118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45" h="118687">
                    <a:moveTo>
                      <a:pt x="47572" y="118688"/>
                    </a:moveTo>
                    <a:lnTo>
                      <a:pt x="4874" y="118688"/>
                    </a:lnTo>
                    <a:cubicBezTo>
                      <a:pt x="2182" y="118688"/>
                      <a:pt x="0" y="116505"/>
                      <a:pt x="0" y="113814"/>
                    </a:cubicBezTo>
                    <a:lnTo>
                      <a:pt x="0" y="4874"/>
                    </a:lnTo>
                    <a:cubicBezTo>
                      <a:pt x="0" y="2182"/>
                      <a:pt x="2182" y="0"/>
                      <a:pt x="4874" y="0"/>
                    </a:cubicBezTo>
                    <a:lnTo>
                      <a:pt x="47572" y="0"/>
                    </a:lnTo>
                    <a:cubicBezTo>
                      <a:pt x="50263" y="0"/>
                      <a:pt x="52446" y="2182"/>
                      <a:pt x="52446" y="4874"/>
                    </a:cubicBezTo>
                    <a:lnTo>
                      <a:pt x="52446" y="113814"/>
                    </a:lnTo>
                    <a:cubicBezTo>
                      <a:pt x="52446" y="116505"/>
                      <a:pt x="50263" y="118688"/>
                      <a:pt x="47572" y="118688"/>
                    </a:cubicBezTo>
                    <a:close/>
                    <a:moveTo>
                      <a:pt x="9771" y="108940"/>
                    </a:moveTo>
                    <a:lnTo>
                      <a:pt x="42723" y="108940"/>
                    </a:lnTo>
                    <a:lnTo>
                      <a:pt x="42723" y="9747"/>
                    </a:lnTo>
                    <a:lnTo>
                      <a:pt x="9771" y="9747"/>
                    </a:lnTo>
                    <a:lnTo>
                      <a:pt x="9771" y="108940"/>
                    </a:lnTo>
                    <a:close/>
                  </a:path>
                </a:pathLst>
              </a:custGeom>
              <a:grpFill/>
              <a:ln w="2422" cap="flat">
                <a:noFill/>
                <a:prstDash val="solid"/>
                <a:miter/>
              </a:ln>
            </p:spPr>
            <p:txBody>
              <a:bodyPr rtlCol="0" anchor="ctr"/>
              <a:lstStyle/>
              <a:p>
                <a:endParaRPr lang="en-GB" dirty="0"/>
              </a:p>
            </p:txBody>
          </p:sp>
          <p:sp>
            <p:nvSpPr>
              <p:cNvPr id="420" name="Freihandform: Form 662">
                <a:extLst>
                  <a:ext uri="{FF2B5EF4-FFF2-40B4-BE49-F238E27FC236}">
                    <a16:creationId xmlns:a16="http://schemas.microsoft.com/office/drawing/2014/main" id="{DA44B840-6FDA-4304-9DAC-BE78250BFF14}"/>
                  </a:ext>
                </a:extLst>
              </p:cNvPr>
              <p:cNvSpPr/>
              <p:nvPr/>
            </p:nvSpPr>
            <p:spPr>
              <a:xfrm>
                <a:off x="5475734" y="1974794"/>
                <a:ext cx="105060" cy="57416"/>
              </a:xfrm>
              <a:custGeom>
                <a:avLst/>
                <a:gdLst>
                  <a:gd name="connsiteX0" fmla="*/ 100187 w 105060"/>
                  <a:gd name="connsiteY0" fmla="*/ 57416 h 57416"/>
                  <a:gd name="connsiteX1" fmla="*/ 4874 w 105060"/>
                  <a:gd name="connsiteY1" fmla="*/ 57416 h 57416"/>
                  <a:gd name="connsiteX2" fmla="*/ 0 w 105060"/>
                  <a:gd name="connsiteY2" fmla="*/ 52543 h 57416"/>
                  <a:gd name="connsiteX3" fmla="*/ 0 w 105060"/>
                  <a:gd name="connsiteY3" fmla="*/ 4874 h 57416"/>
                  <a:gd name="connsiteX4" fmla="*/ 4874 w 105060"/>
                  <a:gd name="connsiteY4" fmla="*/ 0 h 57416"/>
                  <a:gd name="connsiteX5" fmla="*/ 100187 w 105060"/>
                  <a:gd name="connsiteY5" fmla="*/ 0 h 57416"/>
                  <a:gd name="connsiteX6" fmla="*/ 105061 w 105060"/>
                  <a:gd name="connsiteY6" fmla="*/ 4874 h 57416"/>
                  <a:gd name="connsiteX7" fmla="*/ 105061 w 105060"/>
                  <a:gd name="connsiteY7" fmla="*/ 52543 h 57416"/>
                  <a:gd name="connsiteX8" fmla="*/ 100187 w 105060"/>
                  <a:gd name="connsiteY8" fmla="*/ 57416 h 57416"/>
                  <a:gd name="connsiteX9" fmla="*/ 9723 w 105060"/>
                  <a:gd name="connsiteY9" fmla="*/ 47669 h 57416"/>
                  <a:gd name="connsiteX10" fmla="*/ 95289 w 105060"/>
                  <a:gd name="connsiteY10" fmla="*/ 47669 h 57416"/>
                  <a:gd name="connsiteX11" fmla="*/ 95289 w 105060"/>
                  <a:gd name="connsiteY11" fmla="*/ 9747 h 57416"/>
                  <a:gd name="connsiteX12" fmla="*/ 9723 w 105060"/>
                  <a:gd name="connsiteY12" fmla="*/ 9747 h 57416"/>
                  <a:gd name="connsiteX13" fmla="*/ 9723 w 105060"/>
                  <a:gd name="connsiteY13" fmla="*/ 47669 h 5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060" h="57416">
                    <a:moveTo>
                      <a:pt x="100187" y="57416"/>
                    </a:moveTo>
                    <a:lnTo>
                      <a:pt x="4874" y="57416"/>
                    </a:lnTo>
                    <a:cubicBezTo>
                      <a:pt x="2182" y="57416"/>
                      <a:pt x="0" y="55234"/>
                      <a:pt x="0" y="52543"/>
                    </a:cubicBezTo>
                    <a:lnTo>
                      <a:pt x="0" y="4874"/>
                    </a:lnTo>
                    <a:cubicBezTo>
                      <a:pt x="0" y="2182"/>
                      <a:pt x="2182" y="0"/>
                      <a:pt x="4874" y="0"/>
                    </a:cubicBezTo>
                    <a:lnTo>
                      <a:pt x="100187" y="0"/>
                    </a:lnTo>
                    <a:cubicBezTo>
                      <a:pt x="102879" y="0"/>
                      <a:pt x="105061" y="2182"/>
                      <a:pt x="105061" y="4874"/>
                    </a:cubicBezTo>
                    <a:lnTo>
                      <a:pt x="105061" y="52543"/>
                    </a:lnTo>
                    <a:cubicBezTo>
                      <a:pt x="105061" y="55234"/>
                      <a:pt x="102879" y="57416"/>
                      <a:pt x="100187" y="57416"/>
                    </a:cubicBezTo>
                    <a:close/>
                    <a:moveTo>
                      <a:pt x="9723" y="47669"/>
                    </a:moveTo>
                    <a:lnTo>
                      <a:pt x="95289" y="47669"/>
                    </a:lnTo>
                    <a:lnTo>
                      <a:pt x="95289" y="9747"/>
                    </a:lnTo>
                    <a:lnTo>
                      <a:pt x="9723" y="9747"/>
                    </a:lnTo>
                    <a:lnTo>
                      <a:pt x="9723" y="47669"/>
                    </a:lnTo>
                    <a:close/>
                  </a:path>
                </a:pathLst>
              </a:custGeom>
              <a:grpFill/>
              <a:ln w="2422" cap="flat">
                <a:noFill/>
                <a:prstDash val="solid"/>
                <a:miter/>
              </a:ln>
            </p:spPr>
            <p:txBody>
              <a:bodyPr rtlCol="0" anchor="ctr"/>
              <a:lstStyle/>
              <a:p>
                <a:endParaRPr lang="en-GB" dirty="0"/>
              </a:p>
            </p:txBody>
          </p:sp>
          <p:sp>
            <p:nvSpPr>
              <p:cNvPr id="421" name="Freihandform: Form 663">
                <a:extLst>
                  <a:ext uri="{FF2B5EF4-FFF2-40B4-BE49-F238E27FC236}">
                    <a16:creationId xmlns:a16="http://schemas.microsoft.com/office/drawing/2014/main" id="{EEBDC1C8-CE5F-4F12-8466-BB638B4A7836}"/>
                  </a:ext>
                </a:extLst>
              </p:cNvPr>
              <p:cNvSpPr/>
              <p:nvPr/>
            </p:nvSpPr>
            <p:spPr>
              <a:xfrm>
                <a:off x="5448481" y="1675202"/>
                <a:ext cx="159543" cy="275296"/>
              </a:xfrm>
              <a:custGeom>
                <a:avLst/>
                <a:gdLst>
                  <a:gd name="connsiteX0" fmla="*/ 79772 w 159543"/>
                  <a:gd name="connsiteY0" fmla="*/ 275297 h 275296"/>
                  <a:gd name="connsiteX1" fmla="*/ 0 w 159543"/>
                  <a:gd name="connsiteY1" fmla="*/ 197392 h 275296"/>
                  <a:gd name="connsiteX2" fmla="*/ 0 w 159543"/>
                  <a:gd name="connsiteY2" fmla="*/ 77905 h 275296"/>
                  <a:gd name="connsiteX3" fmla="*/ 79772 w 159543"/>
                  <a:gd name="connsiteY3" fmla="*/ 0 h 275296"/>
                  <a:gd name="connsiteX4" fmla="*/ 159543 w 159543"/>
                  <a:gd name="connsiteY4" fmla="*/ 77905 h 275296"/>
                  <a:gd name="connsiteX5" fmla="*/ 159543 w 159543"/>
                  <a:gd name="connsiteY5" fmla="*/ 197392 h 275296"/>
                  <a:gd name="connsiteX6" fmla="*/ 79772 w 159543"/>
                  <a:gd name="connsiteY6" fmla="*/ 275297 h 275296"/>
                  <a:gd name="connsiteX7" fmla="*/ 79772 w 159543"/>
                  <a:gd name="connsiteY7" fmla="*/ 9747 h 275296"/>
                  <a:gd name="connsiteX8" fmla="*/ 9747 w 159543"/>
                  <a:gd name="connsiteY8" fmla="*/ 77905 h 275296"/>
                  <a:gd name="connsiteX9" fmla="*/ 9747 w 159543"/>
                  <a:gd name="connsiteY9" fmla="*/ 197392 h 275296"/>
                  <a:gd name="connsiteX10" fmla="*/ 79772 w 159543"/>
                  <a:gd name="connsiteY10" fmla="*/ 265550 h 275296"/>
                  <a:gd name="connsiteX11" fmla="*/ 149796 w 159543"/>
                  <a:gd name="connsiteY11" fmla="*/ 197392 h 275296"/>
                  <a:gd name="connsiteX12" fmla="*/ 149796 w 159543"/>
                  <a:gd name="connsiteY12" fmla="*/ 77905 h 275296"/>
                  <a:gd name="connsiteX13" fmla="*/ 79772 w 159543"/>
                  <a:gd name="connsiteY13" fmla="*/ 9747 h 275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543" h="275296">
                    <a:moveTo>
                      <a:pt x="79772" y="275297"/>
                    </a:moveTo>
                    <a:cubicBezTo>
                      <a:pt x="35788" y="275297"/>
                      <a:pt x="0" y="240357"/>
                      <a:pt x="0" y="197392"/>
                    </a:cubicBezTo>
                    <a:lnTo>
                      <a:pt x="0" y="77905"/>
                    </a:lnTo>
                    <a:cubicBezTo>
                      <a:pt x="0" y="34964"/>
                      <a:pt x="35788" y="0"/>
                      <a:pt x="79772" y="0"/>
                    </a:cubicBezTo>
                    <a:cubicBezTo>
                      <a:pt x="123755" y="0"/>
                      <a:pt x="159543" y="34939"/>
                      <a:pt x="159543" y="77905"/>
                    </a:cubicBezTo>
                    <a:lnTo>
                      <a:pt x="159543" y="197392"/>
                    </a:lnTo>
                    <a:cubicBezTo>
                      <a:pt x="159543" y="240333"/>
                      <a:pt x="123755" y="275297"/>
                      <a:pt x="79772" y="275297"/>
                    </a:cubicBezTo>
                    <a:close/>
                    <a:moveTo>
                      <a:pt x="79772" y="9747"/>
                    </a:moveTo>
                    <a:cubicBezTo>
                      <a:pt x="41171" y="9747"/>
                      <a:pt x="9747" y="40322"/>
                      <a:pt x="9747" y="77905"/>
                    </a:cubicBezTo>
                    <a:lnTo>
                      <a:pt x="9747" y="197392"/>
                    </a:lnTo>
                    <a:cubicBezTo>
                      <a:pt x="9747" y="234975"/>
                      <a:pt x="41171" y="265550"/>
                      <a:pt x="79772" y="265550"/>
                    </a:cubicBezTo>
                    <a:cubicBezTo>
                      <a:pt x="118372" y="265550"/>
                      <a:pt x="149796" y="234975"/>
                      <a:pt x="149796" y="197392"/>
                    </a:cubicBezTo>
                    <a:lnTo>
                      <a:pt x="149796" y="77905"/>
                    </a:lnTo>
                    <a:cubicBezTo>
                      <a:pt x="149796" y="40322"/>
                      <a:pt x="118372" y="9747"/>
                      <a:pt x="79772" y="9747"/>
                    </a:cubicBezTo>
                    <a:close/>
                  </a:path>
                </a:pathLst>
              </a:custGeom>
              <a:grpFill/>
              <a:ln w="2422" cap="flat">
                <a:noFill/>
                <a:prstDash val="solid"/>
                <a:miter/>
              </a:ln>
            </p:spPr>
            <p:txBody>
              <a:bodyPr rtlCol="0" anchor="ctr"/>
              <a:lstStyle/>
              <a:p>
                <a:endParaRPr lang="en-GB" dirty="0"/>
              </a:p>
            </p:txBody>
          </p:sp>
          <p:sp>
            <p:nvSpPr>
              <p:cNvPr id="422" name="Freihandform: Form 664">
                <a:extLst>
                  <a:ext uri="{FF2B5EF4-FFF2-40B4-BE49-F238E27FC236}">
                    <a16:creationId xmlns:a16="http://schemas.microsoft.com/office/drawing/2014/main" id="{06DDECEB-FDA4-4381-A930-19DB45D33480}"/>
                  </a:ext>
                </a:extLst>
              </p:cNvPr>
              <p:cNvSpPr/>
              <p:nvPr/>
            </p:nvSpPr>
            <p:spPr>
              <a:xfrm>
                <a:off x="5448481" y="1797769"/>
                <a:ext cx="159543" cy="36976"/>
              </a:xfrm>
              <a:custGeom>
                <a:avLst/>
                <a:gdLst>
                  <a:gd name="connsiteX0" fmla="*/ 154670 w 159543"/>
                  <a:gd name="connsiteY0" fmla="*/ 36976 h 36976"/>
                  <a:gd name="connsiteX1" fmla="*/ 4874 w 159543"/>
                  <a:gd name="connsiteY1" fmla="*/ 36976 h 36976"/>
                  <a:gd name="connsiteX2" fmla="*/ 0 w 159543"/>
                  <a:gd name="connsiteY2" fmla="*/ 32103 h 36976"/>
                  <a:gd name="connsiteX3" fmla="*/ 0 w 159543"/>
                  <a:gd name="connsiteY3" fmla="*/ 4874 h 36976"/>
                  <a:gd name="connsiteX4" fmla="*/ 4874 w 159543"/>
                  <a:gd name="connsiteY4" fmla="*/ 0 h 36976"/>
                  <a:gd name="connsiteX5" fmla="*/ 154670 w 159543"/>
                  <a:gd name="connsiteY5" fmla="*/ 0 h 36976"/>
                  <a:gd name="connsiteX6" fmla="*/ 159543 w 159543"/>
                  <a:gd name="connsiteY6" fmla="*/ 4874 h 36976"/>
                  <a:gd name="connsiteX7" fmla="*/ 159543 w 159543"/>
                  <a:gd name="connsiteY7" fmla="*/ 32103 h 36976"/>
                  <a:gd name="connsiteX8" fmla="*/ 154670 w 159543"/>
                  <a:gd name="connsiteY8" fmla="*/ 36976 h 36976"/>
                  <a:gd name="connsiteX9" fmla="*/ 9747 w 159543"/>
                  <a:gd name="connsiteY9" fmla="*/ 27229 h 36976"/>
                  <a:gd name="connsiteX10" fmla="*/ 149796 w 159543"/>
                  <a:gd name="connsiteY10" fmla="*/ 27229 h 36976"/>
                  <a:gd name="connsiteX11" fmla="*/ 149796 w 159543"/>
                  <a:gd name="connsiteY11" fmla="*/ 9747 h 36976"/>
                  <a:gd name="connsiteX12" fmla="*/ 9747 w 159543"/>
                  <a:gd name="connsiteY12" fmla="*/ 9747 h 36976"/>
                  <a:gd name="connsiteX13" fmla="*/ 9747 w 159543"/>
                  <a:gd name="connsiteY13" fmla="*/ 27229 h 36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543" h="36976">
                    <a:moveTo>
                      <a:pt x="154670" y="36976"/>
                    </a:moveTo>
                    <a:lnTo>
                      <a:pt x="4874" y="36976"/>
                    </a:lnTo>
                    <a:cubicBezTo>
                      <a:pt x="2182" y="36976"/>
                      <a:pt x="0" y="34794"/>
                      <a:pt x="0" y="32103"/>
                    </a:cubicBezTo>
                    <a:lnTo>
                      <a:pt x="0" y="4874"/>
                    </a:lnTo>
                    <a:cubicBezTo>
                      <a:pt x="0" y="2182"/>
                      <a:pt x="2182" y="0"/>
                      <a:pt x="4874" y="0"/>
                    </a:cubicBezTo>
                    <a:lnTo>
                      <a:pt x="154670" y="0"/>
                    </a:lnTo>
                    <a:cubicBezTo>
                      <a:pt x="157361" y="0"/>
                      <a:pt x="159543" y="2182"/>
                      <a:pt x="159543" y="4874"/>
                    </a:cubicBezTo>
                    <a:lnTo>
                      <a:pt x="159543" y="32103"/>
                    </a:lnTo>
                    <a:cubicBezTo>
                      <a:pt x="159543" y="34794"/>
                      <a:pt x="157361" y="36976"/>
                      <a:pt x="154670" y="36976"/>
                    </a:cubicBezTo>
                    <a:close/>
                    <a:moveTo>
                      <a:pt x="9747" y="27229"/>
                    </a:moveTo>
                    <a:lnTo>
                      <a:pt x="149796" y="27229"/>
                    </a:lnTo>
                    <a:lnTo>
                      <a:pt x="149796" y="9747"/>
                    </a:lnTo>
                    <a:lnTo>
                      <a:pt x="9747" y="9747"/>
                    </a:lnTo>
                    <a:lnTo>
                      <a:pt x="9747" y="27229"/>
                    </a:lnTo>
                    <a:close/>
                  </a:path>
                </a:pathLst>
              </a:custGeom>
              <a:grpFill/>
              <a:ln w="2422" cap="flat">
                <a:noFill/>
                <a:prstDash val="solid"/>
                <a:miter/>
              </a:ln>
            </p:spPr>
            <p:txBody>
              <a:bodyPr rtlCol="0" anchor="ctr"/>
              <a:lstStyle/>
              <a:p>
                <a:endParaRPr lang="en-GB" dirty="0"/>
              </a:p>
            </p:txBody>
          </p:sp>
          <p:grpSp>
            <p:nvGrpSpPr>
              <p:cNvPr id="423" name="Grafik 22">
                <a:extLst>
                  <a:ext uri="{FF2B5EF4-FFF2-40B4-BE49-F238E27FC236}">
                    <a16:creationId xmlns:a16="http://schemas.microsoft.com/office/drawing/2014/main" id="{F9B4154C-D2C2-49F2-BEF7-BDA79AA9F8B1}"/>
                  </a:ext>
                </a:extLst>
              </p:cNvPr>
              <p:cNvGrpSpPr/>
              <p:nvPr/>
            </p:nvGrpSpPr>
            <p:grpSpPr>
              <a:xfrm>
                <a:off x="5366770" y="1790956"/>
                <a:ext cx="91458" cy="50602"/>
                <a:chOff x="5366770" y="1790956"/>
                <a:chExt cx="91458" cy="50602"/>
              </a:xfrm>
              <a:grpFill/>
            </p:grpSpPr>
            <p:sp>
              <p:nvSpPr>
                <p:cNvPr id="429" name="Freihandform: Form 666">
                  <a:extLst>
                    <a:ext uri="{FF2B5EF4-FFF2-40B4-BE49-F238E27FC236}">
                      <a16:creationId xmlns:a16="http://schemas.microsoft.com/office/drawing/2014/main" id="{5618AA64-384D-4F39-AA87-F130BA5D2069}"/>
                    </a:ext>
                  </a:extLst>
                </p:cNvPr>
                <p:cNvSpPr/>
                <p:nvPr/>
              </p:nvSpPr>
              <p:spPr>
                <a:xfrm>
                  <a:off x="5366770" y="1811372"/>
                  <a:ext cx="23373" cy="9747"/>
                </a:xfrm>
                <a:custGeom>
                  <a:avLst/>
                  <a:gdLst>
                    <a:gd name="connsiteX0" fmla="*/ 18500 w 23373"/>
                    <a:gd name="connsiteY0" fmla="*/ 9747 h 9747"/>
                    <a:gd name="connsiteX1" fmla="*/ 4874 w 23373"/>
                    <a:gd name="connsiteY1" fmla="*/ 9747 h 9747"/>
                    <a:gd name="connsiteX2" fmla="*/ 0 w 23373"/>
                    <a:gd name="connsiteY2" fmla="*/ 4874 h 9747"/>
                    <a:gd name="connsiteX3" fmla="*/ 4874 w 23373"/>
                    <a:gd name="connsiteY3" fmla="*/ 0 h 9747"/>
                    <a:gd name="connsiteX4" fmla="*/ 18500 w 23373"/>
                    <a:gd name="connsiteY4" fmla="*/ 0 h 9747"/>
                    <a:gd name="connsiteX5" fmla="*/ 23374 w 23373"/>
                    <a:gd name="connsiteY5" fmla="*/ 4874 h 9747"/>
                    <a:gd name="connsiteX6" fmla="*/ 18500 w 23373"/>
                    <a:gd name="connsiteY6" fmla="*/ 9747 h 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73" h="9747">
                      <a:moveTo>
                        <a:pt x="18500" y="9747"/>
                      </a:moveTo>
                      <a:lnTo>
                        <a:pt x="4874" y="9747"/>
                      </a:lnTo>
                      <a:cubicBezTo>
                        <a:pt x="2182" y="9747"/>
                        <a:pt x="0" y="7565"/>
                        <a:pt x="0" y="4874"/>
                      </a:cubicBezTo>
                      <a:cubicBezTo>
                        <a:pt x="0" y="2182"/>
                        <a:pt x="2182" y="0"/>
                        <a:pt x="4874" y="0"/>
                      </a:cubicBezTo>
                      <a:lnTo>
                        <a:pt x="18500" y="0"/>
                      </a:lnTo>
                      <a:cubicBezTo>
                        <a:pt x="21192" y="0"/>
                        <a:pt x="23374" y="2182"/>
                        <a:pt x="23374" y="4874"/>
                      </a:cubicBezTo>
                      <a:cubicBezTo>
                        <a:pt x="23374" y="7565"/>
                        <a:pt x="21192" y="9747"/>
                        <a:pt x="18500" y="9747"/>
                      </a:cubicBezTo>
                      <a:close/>
                    </a:path>
                  </a:pathLst>
                </a:custGeom>
                <a:grpFill/>
                <a:ln w="2422" cap="flat">
                  <a:noFill/>
                  <a:prstDash val="solid"/>
                  <a:miter/>
                </a:ln>
              </p:spPr>
              <p:txBody>
                <a:bodyPr rtlCol="0" anchor="ctr"/>
                <a:lstStyle/>
                <a:p>
                  <a:endParaRPr lang="en-GB" dirty="0"/>
                </a:p>
              </p:txBody>
            </p:sp>
            <p:sp>
              <p:nvSpPr>
                <p:cNvPr id="430" name="Freihandform: Form 667">
                  <a:extLst>
                    <a:ext uri="{FF2B5EF4-FFF2-40B4-BE49-F238E27FC236}">
                      <a16:creationId xmlns:a16="http://schemas.microsoft.com/office/drawing/2014/main" id="{E1F7A81B-3089-4440-82AC-D8802BC36F82}"/>
                    </a:ext>
                  </a:extLst>
                </p:cNvPr>
                <p:cNvSpPr/>
                <p:nvPr/>
              </p:nvSpPr>
              <p:spPr>
                <a:xfrm>
                  <a:off x="5421252" y="1811372"/>
                  <a:ext cx="36976" cy="9747"/>
                </a:xfrm>
                <a:custGeom>
                  <a:avLst/>
                  <a:gdLst>
                    <a:gd name="connsiteX0" fmla="*/ 32103 w 36976"/>
                    <a:gd name="connsiteY0" fmla="*/ 9747 h 9747"/>
                    <a:gd name="connsiteX1" fmla="*/ 4874 w 36976"/>
                    <a:gd name="connsiteY1" fmla="*/ 9747 h 9747"/>
                    <a:gd name="connsiteX2" fmla="*/ 0 w 36976"/>
                    <a:gd name="connsiteY2" fmla="*/ 4874 h 9747"/>
                    <a:gd name="connsiteX3" fmla="*/ 4874 w 36976"/>
                    <a:gd name="connsiteY3" fmla="*/ 0 h 9747"/>
                    <a:gd name="connsiteX4" fmla="*/ 32103 w 36976"/>
                    <a:gd name="connsiteY4" fmla="*/ 0 h 9747"/>
                    <a:gd name="connsiteX5" fmla="*/ 36976 w 36976"/>
                    <a:gd name="connsiteY5" fmla="*/ 4874 h 9747"/>
                    <a:gd name="connsiteX6" fmla="*/ 32103 w 36976"/>
                    <a:gd name="connsiteY6" fmla="*/ 9747 h 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76" h="9747">
                      <a:moveTo>
                        <a:pt x="32103" y="9747"/>
                      </a:moveTo>
                      <a:lnTo>
                        <a:pt x="4874" y="9747"/>
                      </a:lnTo>
                      <a:cubicBezTo>
                        <a:pt x="2182" y="9747"/>
                        <a:pt x="0" y="7565"/>
                        <a:pt x="0" y="4874"/>
                      </a:cubicBezTo>
                      <a:cubicBezTo>
                        <a:pt x="0" y="2182"/>
                        <a:pt x="2182" y="0"/>
                        <a:pt x="4874" y="0"/>
                      </a:cubicBezTo>
                      <a:lnTo>
                        <a:pt x="32103" y="0"/>
                      </a:lnTo>
                      <a:cubicBezTo>
                        <a:pt x="34794" y="0"/>
                        <a:pt x="36976" y="2182"/>
                        <a:pt x="36976" y="4874"/>
                      </a:cubicBezTo>
                      <a:cubicBezTo>
                        <a:pt x="36976" y="7565"/>
                        <a:pt x="34794" y="9747"/>
                        <a:pt x="32103" y="9747"/>
                      </a:cubicBezTo>
                      <a:close/>
                    </a:path>
                  </a:pathLst>
                </a:custGeom>
                <a:grpFill/>
                <a:ln w="2422" cap="flat">
                  <a:noFill/>
                  <a:prstDash val="solid"/>
                  <a:miter/>
                </a:ln>
              </p:spPr>
              <p:txBody>
                <a:bodyPr rtlCol="0" anchor="ctr"/>
                <a:lstStyle/>
                <a:p>
                  <a:endParaRPr lang="en-GB" dirty="0"/>
                </a:p>
              </p:txBody>
            </p:sp>
            <p:sp>
              <p:nvSpPr>
                <p:cNvPr id="431" name="Freihandform: Form 668">
                  <a:extLst>
                    <a:ext uri="{FF2B5EF4-FFF2-40B4-BE49-F238E27FC236}">
                      <a16:creationId xmlns:a16="http://schemas.microsoft.com/office/drawing/2014/main" id="{DBF7B9B4-9280-45B5-8FE1-92B6EC00E951}"/>
                    </a:ext>
                  </a:extLst>
                </p:cNvPr>
                <p:cNvSpPr/>
                <p:nvPr/>
              </p:nvSpPr>
              <p:spPr>
                <a:xfrm>
                  <a:off x="5380397" y="1790956"/>
                  <a:ext cx="50602" cy="50602"/>
                </a:xfrm>
                <a:custGeom>
                  <a:avLst/>
                  <a:gdLst>
                    <a:gd name="connsiteX0" fmla="*/ 45729 w 50602"/>
                    <a:gd name="connsiteY0" fmla="*/ 50603 h 50602"/>
                    <a:gd name="connsiteX1" fmla="*/ 4874 w 50602"/>
                    <a:gd name="connsiteY1" fmla="*/ 50603 h 50602"/>
                    <a:gd name="connsiteX2" fmla="*/ 0 w 50602"/>
                    <a:gd name="connsiteY2" fmla="*/ 45729 h 50602"/>
                    <a:gd name="connsiteX3" fmla="*/ 0 w 50602"/>
                    <a:gd name="connsiteY3" fmla="*/ 4874 h 50602"/>
                    <a:gd name="connsiteX4" fmla="*/ 4874 w 50602"/>
                    <a:gd name="connsiteY4" fmla="*/ 0 h 50602"/>
                    <a:gd name="connsiteX5" fmla="*/ 45729 w 50602"/>
                    <a:gd name="connsiteY5" fmla="*/ 0 h 50602"/>
                    <a:gd name="connsiteX6" fmla="*/ 50603 w 50602"/>
                    <a:gd name="connsiteY6" fmla="*/ 4874 h 50602"/>
                    <a:gd name="connsiteX7" fmla="*/ 50603 w 50602"/>
                    <a:gd name="connsiteY7" fmla="*/ 45753 h 50602"/>
                    <a:gd name="connsiteX8" fmla="*/ 45729 w 50602"/>
                    <a:gd name="connsiteY8" fmla="*/ 50603 h 50602"/>
                    <a:gd name="connsiteX9" fmla="*/ 9747 w 50602"/>
                    <a:gd name="connsiteY9" fmla="*/ 40856 h 50602"/>
                    <a:gd name="connsiteX10" fmla="*/ 40856 w 50602"/>
                    <a:gd name="connsiteY10" fmla="*/ 40856 h 50602"/>
                    <a:gd name="connsiteX11" fmla="*/ 40856 w 50602"/>
                    <a:gd name="connsiteY11" fmla="*/ 9747 h 50602"/>
                    <a:gd name="connsiteX12" fmla="*/ 9747 w 50602"/>
                    <a:gd name="connsiteY12" fmla="*/ 9747 h 50602"/>
                    <a:gd name="connsiteX13" fmla="*/ 9747 w 50602"/>
                    <a:gd name="connsiteY13" fmla="*/ 40856 h 5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602" h="50602">
                      <a:moveTo>
                        <a:pt x="45729" y="50603"/>
                      </a:moveTo>
                      <a:lnTo>
                        <a:pt x="4874" y="50603"/>
                      </a:lnTo>
                      <a:cubicBezTo>
                        <a:pt x="2182" y="50603"/>
                        <a:pt x="0" y="48421"/>
                        <a:pt x="0" y="45729"/>
                      </a:cubicBezTo>
                      <a:lnTo>
                        <a:pt x="0" y="4874"/>
                      </a:lnTo>
                      <a:cubicBezTo>
                        <a:pt x="0" y="2182"/>
                        <a:pt x="2182" y="0"/>
                        <a:pt x="4874" y="0"/>
                      </a:cubicBezTo>
                      <a:lnTo>
                        <a:pt x="45729" y="0"/>
                      </a:lnTo>
                      <a:cubicBezTo>
                        <a:pt x="48421" y="0"/>
                        <a:pt x="50603" y="2182"/>
                        <a:pt x="50603" y="4874"/>
                      </a:cubicBezTo>
                      <a:lnTo>
                        <a:pt x="50603" y="45753"/>
                      </a:lnTo>
                      <a:cubicBezTo>
                        <a:pt x="50603" y="48421"/>
                        <a:pt x="48421" y="50603"/>
                        <a:pt x="45729" y="50603"/>
                      </a:cubicBezTo>
                      <a:close/>
                      <a:moveTo>
                        <a:pt x="9747" y="40856"/>
                      </a:moveTo>
                      <a:lnTo>
                        <a:pt x="40856" y="40856"/>
                      </a:lnTo>
                      <a:lnTo>
                        <a:pt x="40856" y="9747"/>
                      </a:lnTo>
                      <a:lnTo>
                        <a:pt x="9747" y="9747"/>
                      </a:lnTo>
                      <a:lnTo>
                        <a:pt x="9747" y="40856"/>
                      </a:lnTo>
                      <a:close/>
                    </a:path>
                  </a:pathLst>
                </a:custGeom>
                <a:grpFill/>
                <a:ln w="2422" cap="flat">
                  <a:noFill/>
                  <a:prstDash val="solid"/>
                  <a:miter/>
                </a:ln>
              </p:spPr>
              <p:txBody>
                <a:bodyPr rtlCol="0" anchor="ctr"/>
                <a:lstStyle/>
                <a:p>
                  <a:endParaRPr lang="en-GB" dirty="0"/>
                </a:p>
              </p:txBody>
            </p:sp>
          </p:grpSp>
          <p:grpSp>
            <p:nvGrpSpPr>
              <p:cNvPr id="424" name="Grafik 22">
                <a:extLst>
                  <a:ext uri="{FF2B5EF4-FFF2-40B4-BE49-F238E27FC236}">
                    <a16:creationId xmlns:a16="http://schemas.microsoft.com/office/drawing/2014/main" id="{8862DBED-BB35-4D6F-A989-4D44FB37B850}"/>
                  </a:ext>
                </a:extLst>
              </p:cNvPr>
              <p:cNvGrpSpPr/>
              <p:nvPr/>
            </p:nvGrpSpPr>
            <p:grpSpPr>
              <a:xfrm>
                <a:off x="5598277" y="1790956"/>
                <a:ext cx="77831" cy="50602"/>
                <a:chOff x="5598277" y="1790956"/>
                <a:chExt cx="77831" cy="50602"/>
              </a:xfrm>
              <a:grpFill/>
            </p:grpSpPr>
            <p:sp>
              <p:nvSpPr>
                <p:cNvPr id="427" name="Freihandform: Form 670">
                  <a:extLst>
                    <a:ext uri="{FF2B5EF4-FFF2-40B4-BE49-F238E27FC236}">
                      <a16:creationId xmlns:a16="http://schemas.microsoft.com/office/drawing/2014/main" id="{2CA1467F-8AB8-4341-99F0-E871B9195B0E}"/>
                    </a:ext>
                  </a:extLst>
                </p:cNvPr>
                <p:cNvSpPr/>
                <p:nvPr/>
              </p:nvSpPr>
              <p:spPr>
                <a:xfrm>
                  <a:off x="5598277" y="1811372"/>
                  <a:ext cx="36976" cy="9747"/>
                </a:xfrm>
                <a:custGeom>
                  <a:avLst/>
                  <a:gdLst>
                    <a:gd name="connsiteX0" fmla="*/ 32103 w 36976"/>
                    <a:gd name="connsiteY0" fmla="*/ 9747 h 9747"/>
                    <a:gd name="connsiteX1" fmla="*/ 4874 w 36976"/>
                    <a:gd name="connsiteY1" fmla="*/ 9747 h 9747"/>
                    <a:gd name="connsiteX2" fmla="*/ 0 w 36976"/>
                    <a:gd name="connsiteY2" fmla="*/ 4874 h 9747"/>
                    <a:gd name="connsiteX3" fmla="*/ 4874 w 36976"/>
                    <a:gd name="connsiteY3" fmla="*/ 0 h 9747"/>
                    <a:gd name="connsiteX4" fmla="*/ 32103 w 36976"/>
                    <a:gd name="connsiteY4" fmla="*/ 0 h 9747"/>
                    <a:gd name="connsiteX5" fmla="*/ 36976 w 36976"/>
                    <a:gd name="connsiteY5" fmla="*/ 4874 h 9747"/>
                    <a:gd name="connsiteX6" fmla="*/ 32103 w 36976"/>
                    <a:gd name="connsiteY6" fmla="*/ 9747 h 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976" h="9747">
                      <a:moveTo>
                        <a:pt x="32103" y="9747"/>
                      </a:moveTo>
                      <a:lnTo>
                        <a:pt x="4874" y="9747"/>
                      </a:lnTo>
                      <a:cubicBezTo>
                        <a:pt x="2182" y="9747"/>
                        <a:pt x="0" y="7565"/>
                        <a:pt x="0" y="4874"/>
                      </a:cubicBezTo>
                      <a:cubicBezTo>
                        <a:pt x="0" y="2182"/>
                        <a:pt x="2182" y="0"/>
                        <a:pt x="4874" y="0"/>
                      </a:cubicBezTo>
                      <a:lnTo>
                        <a:pt x="32103" y="0"/>
                      </a:lnTo>
                      <a:cubicBezTo>
                        <a:pt x="34794" y="0"/>
                        <a:pt x="36976" y="2182"/>
                        <a:pt x="36976" y="4874"/>
                      </a:cubicBezTo>
                      <a:cubicBezTo>
                        <a:pt x="36976" y="7565"/>
                        <a:pt x="34794" y="9747"/>
                        <a:pt x="32103" y="9747"/>
                      </a:cubicBezTo>
                      <a:close/>
                    </a:path>
                  </a:pathLst>
                </a:custGeom>
                <a:grpFill/>
                <a:ln w="2422" cap="flat">
                  <a:noFill/>
                  <a:prstDash val="solid"/>
                  <a:miter/>
                </a:ln>
              </p:spPr>
              <p:txBody>
                <a:bodyPr rtlCol="0" anchor="ctr"/>
                <a:lstStyle/>
                <a:p>
                  <a:endParaRPr lang="en-GB" dirty="0"/>
                </a:p>
              </p:txBody>
            </p:sp>
            <p:sp>
              <p:nvSpPr>
                <p:cNvPr id="428" name="Freihandform: Form 671">
                  <a:extLst>
                    <a:ext uri="{FF2B5EF4-FFF2-40B4-BE49-F238E27FC236}">
                      <a16:creationId xmlns:a16="http://schemas.microsoft.com/office/drawing/2014/main" id="{213EE189-4D68-4328-9FAE-5D2D5B411150}"/>
                    </a:ext>
                  </a:extLst>
                </p:cNvPr>
                <p:cNvSpPr/>
                <p:nvPr/>
              </p:nvSpPr>
              <p:spPr>
                <a:xfrm>
                  <a:off x="5625506" y="1790956"/>
                  <a:ext cx="50602" cy="50602"/>
                </a:xfrm>
                <a:custGeom>
                  <a:avLst/>
                  <a:gdLst>
                    <a:gd name="connsiteX0" fmla="*/ 45729 w 50602"/>
                    <a:gd name="connsiteY0" fmla="*/ 50603 h 50602"/>
                    <a:gd name="connsiteX1" fmla="*/ 4874 w 50602"/>
                    <a:gd name="connsiteY1" fmla="*/ 50603 h 50602"/>
                    <a:gd name="connsiteX2" fmla="*/ 0 w 50602"/>
                    <a:gd name="connsiteY2" fmla="*/ 45729 h 50602"/>
                    <a:gd name="connsiteX3" fmla="*/ 0 w 50602"/>
                    <a:gd name="connsiteY3" fmla="*/ 4874 h 50602"/>
                    <a:gd name="connsiteX4" fmla="*/ 4874 w 50602"/>
                    <a:gd name="connsiteY4" fmla="*/ 0 h 50602"/>
                    <a:gd name="connsiteX5" fmla="*/ 45729 w 50602"/>
                    <a:gd name="connsiteY5" fmla="*/ 0 h 50602"/>
                    <a:gd name="connsiteX6" fmla="*/ 50603 w 50602"/>
                    <a:gd name="connsiteY6" fmla="*/ 4874 h 50602"/>
                    <a:gd name="connsiteX7" fmla="*/ 50603 w 50602"/>
                    <a:gd name="connsiteY7" fmla="*/ 45753 h 50602"/>
                    <a:gd name="connsiteX8" fmla="*/ 45729 w 50602"/>
                    <a:gd name="connsiteY8" fmla="*/ 50603 h 50602"/>
                    <a:gd name="connsiteX9" fmla="*/ 9747 w 50602"/>
                    <a:gd name="connsiteY9" fmla="*/ 40856 h 50602"/>
                    <a:gd name="connsiteX10" fmla="*/ 40856 w 50602"/>
                    <a:gd name="connsiteY10" fmla="*/ 40856 h 50602"/>
                    <a:gd name="connsiteX11" fmla="*/ 40856 w 50602"/>
                    <a:gd name="connsiteY11" fmla="*/ 9747 h 50602"/>
                    <a:gd name="connsiteX12" fmla="*/ 9747 w 50602"/>
                    <a:gd name="connsiteY12" fmla="*/ 9747 h 50602"/>
                    <a:gd name="connsiteX13" fmla="*/ 9747 w 50602"/>
                    <a:gd name="connsiteY13" fmla="*/ 40856 h 50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602" h="50602">
                      <a:moveTo>
                        <a:pt x="45729" y="50603"/>
                      </a:moveTo>
                      <a:lnTo>
                        <a:pt x="4874" y="50603"/>
                      </a:lnTo>
                      <a:cubicBezTo>
                        <a:pt x="2182" y="50603"/>
                        <a:pt x="0" y="48421"/>
                        <a:pt x="0" y="45729"/>
                      </a:cubicBezTo>
                      <a:lnTo>
                        <a:pt x="0" y="4874"/>
                      </a:lnTo>
                      <a:cubicBezTo>
                        <a:pt x="0" y="2182"/>
                        <a:pt x="2182" y="0"/>
                        <a:pt x="4874" y="0"/>
                      </a:cubicBezTo>
                      <a:lnTo>
                        <a:pt x="45729" y="0"/>
                      </a:lnTo>
                      <a:cubicBezTo>
                        <a:pt x="48421" y="0"/>
                        <a:pt x="50603" y="2182"/>
                        <a:pt x="50603" y="4874"/>
                      </a:cubicBezTo>
                      <a:lnTo>
                        <a:pt x="50603" y="45753"/>
                      </a:lnTo>
                      <a:cubicBezTo>
                        <a:pt x="50603" y="48421"/>
                        <a:pt x="48421" y="50603"/>
                        <a:pt x="45729" y="50603"/>
                      </a:cubicBezTo>
                      <a:close/>
                      <a:moveTo>
                        <a:pt x="9747" y="40856"/>
                      </a:moveTo>
                      <a:lnTo>
                        <a:pt x="40856" y="40856"/>
                      </a:lnTo>
                      <a:lnTo>
                        <a:pt x="40856" y="9747"/>
                      </a:lnTo>
                      <a:lnTo>
                        <a:pt x="9747" y="9747"/>
                      </a:lnTo>
                      <a:lnTo>
                        <a:pt x="9747" y="40856"/>
                      </a:lnTo>
                      <a:close/>
                    </a:path>
                  </a:pathLst>
                </a:custGeom>
                <a:grpFill/>
                <a:ln w="2422" cap="flat">
                  <a:noFill/>
                  <a:prstDash val="solid"/>
                  <a:miter/>
                </a:ln>
              </p:spPr>
              <p:txBody>
                <a:bodyPr rtlCol="0" anchor="ctr"/>
                <a:lstStyle/>
                <a:p>
                  <a:endParaRPr lang="en-GB" dirty="0"/>
                </a:p>
              </p:txBody>
            </p:sp>
          </p:grpSp>
          <p:sp>
            <p:nvSpPr>
              <p:cNvPr id="425" name="Freihandform: Form 672">
                <a:extLst>
                  <a:ext uri="{FF2B5EF4-FFF2-40B4-BE49-F238E27FC236}">
                    <a16:creationId xmlns:a16="http://schemas.microsoft.com/office/drawing/2014/main" id="{12D5830C-D78A-4A32-A21F-EB4D92366CEA}"/>
                  </a:ext>
                </a:extLst>
              </p:cNvPr>
              <p:cNvSpPr/>
              <p:nvPr/>
            </p:nvSpPr>
            <p:spPr>
              <a:xfrm>
                <a:off x="5400812" y="1831812"/>
                <a:ext cx="84645" cy="179958"/>
              </a:xfrm>
              <a:custGeom>
                <a:avLst/>
                <a:gdLst>
                  <a:gd name="connsiteX0" fmla="*/ 79772 w 84645"/>
                  <a:gd name="connsiteY0" fmla="*/ 179959 h 179958"/>
                  <a:gd name="connsiteX1" fmla="*/ 0 w 84645"/>
                  <a:gd name="connsiteY1" fmla="*/ 100187 h 179958"/>
                  <a:gd name="connsiteX2" fmla="*/ 0 w 84645"/>
                  <a:gd name="connsiteY2" fmla="*/ 4874 h 179958"/>
                  <a:gd name="connsiteX3" fmla="*/ 4874 w 84645"/>
                  <a:gd name="connsiteY3" fmla="*/ 0 h 179958"/>
                  <a:gd name="connsiteX4" fmla="*/ 9747 w 84645"/>
                  <a:gd name="connsiteY4" fmla="*/ 4874 h 179958"/>
                  <a:gd name="connsiteX5" fmla="*/ 9747 w 84645"/>
                  <a:gd name="connsiteY5" fmla="*/ 100187 h 179958"/>
                  <a:gd name="connsiteX6" fmla="*/ 79772 w 84645"/>
                  <a:gd name="connsiteY6" fmla="*/ 170212 h 179958"/>
                  <a:gd name="connsiteX7" fmla="*/ 84645 w 84645"/>
                  <a:gd name="connsiteY7" fmla="*/ 175085 h 179958"/>
                  <a:gd name="connsiteX8" fmla="*/ 79772 w 84645"/>
                  <a:gd name="connsiteY8" fmla="*/ 179959 h 17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645" h="179958">
                    <a:moveTo>
                      <a:pt x="79772" y="179959"/>
                    </a:moveTo>
                    <a:cubicBezTo>
                      <a:pt x="78971" y="179959"/>
                      <a:pt x="0" y="179038"/>
                      <a:pt x="0" y="100187"/>
                    </a:cubicBezTo>
                    <a:lnTo>
                      <a:pt x="0" y="4874"/>
                    </a:lnTo>
                    <a:cubicBezTo>
                      <a:pt x="0" y="2182"/>
                      <a:pt x="2182" y="0"/>
                      <a:pt x="4874" y="0"/>
                    </a:cubicBezTo>
                    <a:cubicBezTo>
                      <a:pt x="7565" y="0"/>
                      <a:pt x="9747" y="2182"/>
                      <a:pt x="9747" y="4874"/>
                    </a:cubicBezTo>
                    <a:lnTo>
                      <a:pt x="9747" y="100187"/>
                    </a:lnTo>
                    <a:cubicBezTo>
                      <a:pt x="9747" y="169412"/>
                      <a:pt x="76910" y="170212"/>
                      <a:pt x="79772" y="170212"/>
                    </a:cubicBezTo>
                    <a:cubicBezTo>
                      <a:pt x="82463" y="170212"/>
                      <a:pt x="84645" y="172394"/>
                      <a:pt x="84645" y="175085"/>
                    </a:cubicBezTo>
                    <a:cubicBezTo>
                      <a:pt x="84645" y="177777"/>
                      <a:pt x="82463" y="179959"/>
                      <a:pt x="79772" y="179959"/>
                    </a:cubicBezTo>
                    <a:close/>
                  </a:path>
                </a:pathLst>
              </a:custGeom>
              <a:grpFill/>
              <a:ln w="2422" cap="flat">
                <a:noFill/>
                <a:prstDash val="solid"/>
                <a:miter/>
              </a:ln>
            </p:spPr>
            <p:txBody>
              <a:bodyPr rtlCol="0" anchor="ctr"/>
              <a:lstStyle/>
              <a:p>
                <a:endParaRPr lang="en-GB" dirty="0"/>
              </a:p>
            </p:txBody>
          </p:sp>
          <p:sp>
            <p:nvSpPr>
              <p:cNvPr id="426" name="Freihandform: Form 673">
                <a:extLst>
                  <a:ext uri="{FF2B5EF4-FFF2-40B4-BE49-F238E27FC236}">
                    <a16:creationId xmlns:a16="http://schemas.microsoft.com/office/drawing/2014/main" id="{BB029156-09D2-4D58-831E-08082C27BB3B}"/>
                  </a:ext>
                </a:extLst>
              </p:cNvPr>
              <p:cNvSpPr/>
              <p:nvPr/>
            </p:nvSpPr>
            <p:spPr>
              <a:xfrm>
                <a:off x="5571048" y="1831812"/>
                <a:ext cx="84645" cy="179958"/>
              </a:xfrm>
              <a:custGeom>
                <a:avLst/>
                <a:gdLst>
                  <a:gd name="connsiteX0" fmla="*/ 4874 w 84645"/>
                  <a:gd name="connsiteY0" fmla="*/ 179959 h 179958"/>
                  <a:gd name="connsiteX1" fmla="*/ 0 w 84645"/>
                  <a:gd name="connsiteY1" fmla="*/ 175085 h 179958"/>
                  <a:gd name="connsiteX2" fmla="*/ 4874 w 84645"/>
                  <a:gd name="connsiteY2" fmla="*/ 170212 h 179958"/>
                  <a:gd name="connsiteX3" fmla="*/ 74898 w 84645"/>
                  <a:gd name="connsiteY3" fmla="*/ 100187 h 179958"/>
                  <a:gd name="connsiteX4" fmla="*/ 74898 w 84645"/>
                  <a:gd name="connsiteY4" fmla="*/ 4874 h 179958"/>
                  <a:gd name="connsiteX5" fmla="*/ 79772 w 84645"/>
                  <a:gd name="connsiteY5" fmla="*/ 0 h 179958"/>
                  <a:gd name="connsiteX6" fmla="*/ 84645 w 84645"/>
                  <a:gd name="connsiteY6" fmla="*/ 4874 h 179958"/>
                  <a:gd name="connsiteX7" fmla="*/ 84645 w 84645"/>
                  <a:gd name="connsiteY7" fmla="*/ 100187 h 179958"/>
                  <a:gd name="connsiteX8" fmla="*/ 4874 w 84645"/>
                  <a:gd name="connsiteY8" fmla="*/ 179959 h 17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645" h="179958">
                    <a:moveTo>
                      <a:pt x="4874" y="179959"/>
                    </a:moveTo>
                    <a:cubicBezTo>
                      <a:pt x="2182" y="179959"/>
                      <a:pt x="0" y="177777"/>
                      <a:pt x="0" y="175085"/>
                    </a:cubicBezTo>
                    <a:cubicBezTo>
                      <a:pt x="0" y="172394"/>
                      <a:pt x="2182" y="170212"/>
                      <a:pt x="4874" y="170212"/>
                    </a:cubicBezTo>
                    <a:cubicBezTo>
                      <a:pt x="7735" y="170212"/>
                      <a:pt x="74898" y="169218"/>
                      <a:pt x="74898" y="100187"/>
                    </a:cubicBezTo>
                    <a:lnTo>
                      <a:pt x="74898" y="4874"/>
                    </a:lnTo>
                    <a:cubicBezTo>
                      <a:pt x="74898" y="2182"/>
                      <a:pt x="77080" y="0"/>
                      <a:pt x="79772" y="0"/>
                    </a:cubicBezTo>
                    <a:cubicBezTo>
                      <a:pt x="82463" y="0"/>
                      <a:pt x="84645" y="2182"/>
                      <a:pt x="84645" y="4874"/>
                    </a:cubicBezTo>
                    <a:lnTo>
                      <a:pt x="84645" y="100187"/>
                    </a:lnTo>
                    <a:cubicBezTo>
                      <a:pt x="84621" y="179038"/>
                      <a:pt x="5674" y="179959"/>
                      <a:pt x="4874" y="179959"/>
                    </a:cubicBezTo>
                    <a:close/>
                  </a:path>
                </a:pathLst>
              </a:custGeom>
              <a:grpFill/>
              <a:ln w="2422" cap="flat">
                <a:noFill/>
                <a:prstDash val="solid"/>
                <a:miter/>
              </a:ln>
            </p:spPr>
            <p:txBody>
              <a:bodyPr rtlCol="0" anchor="ctr"/>
              <a:lstStyle/>
              <a:p>
                <a:endParaRPr lang="en-GB" dirty="0"/>
              </a:p>
            </p:txBody>
          </p:sp>
        </p:grpSp>
      </p:grpSp>
      <p:grpSp>
        <p:nvGrpSpPr>
          <p:cNvPr id="614" name="Group 613">
            <a:extLst>
              <a:ext uri="{FF2B5EF4-FFF2-40B4-BE49-F238E27FC236}">
                <a16:creationId xmlns:a16="http://schemas.microsoft.com/office/drawing/2014/main" id="{07C264DB-FDD4-F62F-BC56-E0D25A91EC16}"/>
              </a:ext>
            </a:extLst>
          </p:cNvPr>
          <p:cNvGrpSpPr/>
          <p:nvPr/>
        </p:nvGrpSpPr>
        <p:grpSpPr>
          <a:xfrm>
            <a:off x="5896401" y="2418961"/>
            <a:ext cx="720000" cy="392121"/>
            <a:chOff x="5895989" y="2418961"/>
            <a:chExt cx="720000" cy="392121"/>
          </a:xfrm>
        </p:grpSpPr>
        <p:grpSp>
          <p:nvGrpSpPr>
            <p:cNvPr id="438" name="Group 437">
              <a:extLst>
                <a:ext uri="{FF2B5EF4-FFF2-40B4-BE49-F238E27FC236}">
                  <a16:creationId xmlns:a16="http://schemas.microsoft.com/office/drawing/2014/main" id="{C5A3AA7A-F1BD-4898-A0BF-909E73817E5C}"/>
                </a:ext>
              </a:extLst>
            </p:cNvPr>
            <p:cNvGrpSpPr/>
            <p:nvPr/>
          </p:nvGrpSpPr>
          <p:grpSpPr>
            <a:xfrm>
              <a:off x="5895989" y="2569817"/>
              <a:ext cx="720000" cy="166647"/>
              <a:chOff x="7610834" y="4306525"/>
              <a:chExt cx="743990" cy="172199"/>
            </a:xfrm>
          </p:grpSpPr>
          <p:grpSp>
            <p:nvGrpSpPr>
              <p:cNvPr id="446" name="Grafik 22">
                <a:extLst>
                  <a:ext uri="{FF2B5EF4-FFF2-40B4-BE49-F238E27FC236}">
                    <a16:creationId xmlns:a16="http://schemas.microsoft.com/office/drawing/2014/main" id="{6043AA4D-3DA0-482D-B279-25A90FD738B2}"/>
                  </a:ext>
                </a:extLst>
              </p:cNvPr>
              <p:cNvGrpSpPr/>
              <p:nvPr/>
            </p:nvGrpSpPr>
            <p:grpSpPr>
              <a:xfrm>
                <a:off x="7610834" y="4306525"/>
                <a:ext cx="201431" cy="172199"/>
                <a:chOff x="7610834" y="4306525"/>
                <a:chExt cx="201431" cy="172199"/>
              </a:xfrm>
              <a:solidFill>
                <a:schemeClr val="accent1"/>
              </a:solidFill>
            </p:grpSpPr>
            <p:sp>
              <p:nvSpPr>
                <p:cNvPr id="452" name="Freihandform: Form 1202">
                  <a:extLst>
                    <a:ext uri="{FF2B5EF4-FFF2-40B4-BE49-F238E27FC236}">
                      <a16:creationId xmlns:a16="http://schemas.microsoft.com/office/drawing/2014/main" id="{432ED6E4-EACD-4BAF-8617-4611CA1451C5}"/>
                    </a:ext>
                  </a:extLst>
                </p:cNvPr>
                <p:cNvSpPr/>
                <p:nvPr/>
              </p:nvSpPr>
              <p:spPr>
                <a:xfrm>
                  <a:off x="7610834" y="4352012"/>
                  <a:ext cx="139699" cy="126713"/>
                </a:xfrm>
                <a:custGeom>
                  <a:avLst/>
                  <a:gdLst>
                    <a:gd name="connsiteX0" fmla="*/ 134826 w 139699"/>
                    <a:gd name="connsiteY0" fmla="*/ 126713 h 126713"/>
                    <a:gd name="connsiteX1" fmla="*/ 4864 w 139699"/>
                    <a:gd name="connsiteY1" fmla="*/ 126713 h 126713"/>
                    <a:gd name="connsiteX2" fmla="*/ 427 w 139699"/>
                    <a:gd name="connsiteY2" fmla="*/ 123828 h 126713"/>
                    <a:gd name="connsiteX3" fmla="*/ 1227 w 139699"/>
                    <a:gd name="connsiteY3" fmla="*/ 118591 h 126713"/>
                    <a:gd name="connsiteX4" fmla="*/ 50327 w 139699"/>
                    <a:gd name="connsiteY4" fmla="*/ 63357 h 126713"/>
                    <a:gd name="connsiteX5" fmla="*/ 1227 w 139699"/>
                    <a:gd name="connsiteY5" fmla="*/ 8123 h 126713"/>
                    <a:gd name="connsiteX6" fmla="*/ 427 w 139699"/>
                    <a:gd name="connsiteY6" fmla="*/ 2886 h 126713"/>
                    <a:gd name="connsiteX7" fmla="*/ 4864 w 139699"/>
                    <a:gd name="connsiteY7" fmla="*/ 0 h 126713"/>
                    <a:gd name="connsiteX8" fmla="*/ 76610 w 139699"/>
                    <a:gd name="connsiteY8" fmla="*/ 0 h 126713"/>
                    <a:gd name="connsiteX9" fmla="*/ 81483 w 139699"/>
                    <a:gd name="connsiteY9" fmla="*/ 4874 h 126713"/>
                    <a:gd name="connsiteX10" fmla="*/ 76610 w 139699"/>
                    <a:gd name="connsiteY10" fmla="*/ 9747 h 126713"/>
                    <a:gd name="connsiteX11" fmla="*/ 15726 w 139699"/>
                    <a:gd name="connsiteY11" fmla="*/ 9747 h 126713"/>
                    <a:gd name="connsiteX12" fmla="*/ 60510 w 139699"/>
                    <a:gd name="connsiteY12" fmla="*/ 60108 h 126713"/>
                    <a:gd name="connsiteX13" fmla="*/ 60510 w 139699"/>
                    <a:gd name="connsiteY13" fmla="*/ 66582 h 126713"/>
                    <a:gd name="connsiteX14" fmla="*/ 15726 w 139699"/>
                    <a:gd name="connsiteY14" fmla="*/ 116942 h 126713"/>
                    <a:gd name="connsiteX15" fmla="*/ 129953 w 139699"/>
                    <a:gd name="connsiteY15" fmla="*/ 116942 h 126713"/>
                    <a:gd name="connsiteX16" fmla="*/ 129953 w 139699"/>
                    <a:gd name="connsiteY16" fmla="*/ 76401 h 126713"/>
                    <a:gd name="connsiteX17" fmla="*/ 134826 w 139699"/>
                    <a:gd name="connsiteY17" fmla="*/ 71528 h 126713"/>
                    <a:gd name="connsiteX18" fmla="*/ 139700 w 139699"/>
                    <a:gd name="connsiteY18" fmla="*/ 76401 h 126713"/>
                    <a:gd name="connsiteX19" fmla="*/ 139700 w 139699"/>
                    <a:gd name="connsiteY19" fmla="*/ 121815 h 126713"/>
                    <a:gd name="connsiteX20" fmla="*/ 134826 w 139699"/>
                    <a:gd name="connsiteY20" fmla="*/ 126713 h 12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699" h="126713">
                      <a:moveTo>
                        <a:pt x="134826" y="126713"/>
                      </a:moveTo>
                      <a:lnTo>
                        <a:pt x="4864" y="126713"/>
                      </a:lnTo>
                      <a:cubicBezTo>
                        <a:pt x="2949" y="126713"/>
                        <a:pt x="1203" y="125598"/>
                        <a:pt x="427" y="123828"/>
                      </a:cubicBezTo>
                      <a:cubicBezTo>
                        <a:pt x="-349" y="122082"/>
                        <a:pt x="-34" y="120021"/>
                        <a:pt x="1227" y="118591"/>
                      </a:cubicBezTo>
                      <a:lnTo>
                        <a:pt x="50327" y="63357"/>
                      </a:lnTo>
                      <a:lnTo>
                        <a:pt x="1227" y="8123"/>
                      </a:lnTo>
                      <a:cubicBezTo>
                        <a:pt x="-58" y="6692"/>
                        <a:pt x="-349" y="4631"/>
                        <a:pt x="427" y="2886"/>
                      </a:cubicBezTo>
                      <a:cubicBezTo>
                        <a:pt x="1203" y="1140"/>
                        <a:pt x="2949" y="0"/>
                        <a:pt x="4864" y="0"/>
                      </a:cubicBezTo>
                      <a:lnTo>
                        <a:pt x="76610" y="0"/>
                      </a:lnTo>
                      <a:cubicBezTo>
                        <a:pt x="79301" y="0"/>
                        <a:pt x="81483" y="2182"/>
                        <a:pt x="81483" y="4874"/>
                      </a:cubicBezTo>
                      <a:cubicBezTo>
                        <a:pt x="81483" y="7565"/>
                        <a:pt x="79301" y="9747"/>
                        <a:pt x="76610" y="9747"/>
                      </a:cubicBezTo>
                      <a:lnTo>
                        <a:pt x="15726" y="9747"/>
                      </a:lnTo>
                      <a:lnTo>
                        <a:pt x="60510" y="60108"/>
                      </a:lnTo>
                      <a:cubicBezTo>
                        <a:pt x="62159" y="61950"/>
                        <a:pt x="62159" y="64739"/>
                        <a:pt x="60510" y="66582"/>
                      </a:cubicBezTo>
                      <a:lnTo>
                        <a:pt x="15726" y="116942"/>
                      </a:lnTo>
                      <a:lnTo>
                        <a:pt x="129953" y="116942"/>
                      </a:lnTo>
                      <a:lnTo>
                        <a:pt x="129953" y="76401"/>
                      </a:lnTo>
                      <a:cubicBezTo>
                        <a:pt x="129953" y="73710"/>
                        <a:pt x="132135" y="71528"/>
                        <a:pt x="134826" y="71528"/>
                      </a:cubicBezTo>
                      <a:cubicBezTo>
                        <a:pt x="137517" y="71528"/>
                        <a:pt x="139700" y="73710"/>
                        <a:pt x="139700" y="76401"/>
                      </a:cubicBezTo>
                      <a:lnTo>
                        <a:pt x="139700" y="121815"/>
                      </a:lnTo>
                      <a:cubicBezTo>
                        <a:pt x="139700" y="124531"/>
                        <a:pt x="137517" y="126713"/>
                        <a:pt x="134826" y="126713"/>
                      </a:cubicBezTo>
                      <a:close/>
                    </a:path>
                  </a:pathLst>
                </a:custGeom>
                <a:solidFill>
                  <a:schemeClr val="accent1"/>
                </a:solidFill>
                <a:ln w="2422" cap="flat">
                  <a:noFill/>
                  <a:prstDash val="solid"/>
                  <a:miter/>
                </a:ln>
              </p:spPr>
              <p:txBody>
                <a:bodyPr rtlCol="0" anchor="ctr"/>
                <a:lstStyle/>
                <a:p>
                  <a:endParaRPr lang="en-GB" dirty="0"/>
                </a:p>
              </p:txBody>
            </p:sp>
            <p:sp>
              <p:nvSpPr>
                <p:cNvPr id="453" name="Freihandform: Form 1203">
                  <a:extLst>
                    <a:ext uri="{FF2B5EF4-FFF2-40B4-BE49-F238E27FC236}">
                      <a16:creationId xmlns:a16="http://schemas.microsoft.com/office/drawing/2014/main" id="{A87DEDFE-F0D6-4586-A6E3-28CB471D0C36}"/>
                    </a:ext>
                  </a:extLst>
                </p:cNvPr>
                <p:cNvSpPr/>
                <p:nvPr/>
              </p:nvSpPr>
              <p:spPr>
                <a:xfrm>
                  <a:off x="7688826" y="4306525"/>
                  <a:ext cx="123439" cy="126713"/>
                </a:xfrm>
                <a:custGeom>
                  <a:avLst/>
                  <a:gdLst>
                    <a:gd name="connsiteX0" fmla="*/ 118566 w 123439"/>
                    <a:gd name="connsiteY0" fmla="*/ 126713 h 126713"/>
                    <a:gd name="connsiteX1" fmla="*/ 4874 w 123439"/>
                    <a:gd name="connsiteY1" fmla="*/ 126713 h 126713"/>
                    <a:gd name="connsiteX2" fmla="*/ 0 w 123439"/>
                    <a:gd name="connsiteY2" fmla="*/ 121840 h 126713"/>
                    <a:gd name="connsiteX3" fmla="*/ 0 w 123439"/>
                    <a:gd name="connsiteY3" fmla="*/ 4874 h 126713"/>
                    <a:gd name="connsiteX4" fmla="*/ 4874 w 123439"/>
                    <a:gd name="connsiteY4" fmla="*/ 0 h 126713"/>
                    <a:gd name="connsiteX5" fmla="*/ 99363 w 123439"/>
                    <a:gd name="connsiteY5" fmla="*/ 0 h 126713"/>
                    <a:gd name="connsiteX6" fmla="*/ 104237 w 123439"/>
                    <a:gd name="connsiteY6" fmla="*/ 4874 h 126713"/>
                    <a:gd name="connsiteX7" fmla="*/ 99363 w 123439"/>
                    <a:gd name="connsiteY7" fmla="*/ 9747 h 126713"/>
                    <a:gd name="connsiteX8" fmla="*/ 9747 w 123439"/>
                    <a:gd name="connsiteY8" fmla="*/ 9747 h 126713"/>
                    <a:gd name="connsiteX9" fmla="*/ 9747 w 123439"/>
                    <a:gd name="connsiteY9" fmla="*/ 116966 h 126713"/>
                    <a:gd name="connsiteX10" fmla="*/ 118566 w 123439"/>
                    <a:gd name="connsiteY10" fmla="*/ 116966 h 126713"/>
                    <a:gd name="connsiteX11" fmla="*/ 123440 w 123439"/>
                    <a:gd name="connsiteY11" fmla="*/ 121840 h 126713"/>
                    <a:gd name="connsiteX12" fmla="*/ 118566 w 123439"/>
                    <a:gd name="connsiteY12" fmla="*/ 126713 h 12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3439" h="126713">
                      <a:moveTo>
                        <a:pt x="118566" y="126713"/>
                      </a:moveTo>
                      <a:lnTo>
                        <a:pt x="4874" y="126713"/>
                      </a:lnTo>
                      <a:cubicBezTo>
                        <a:pt x="2182" y="126713"/>
                        <a:pt x="0" y="124531"/>
                        <a:pt x="0" y="121840"/>
                      </a:cubicBezTo>
                      <a:lnTo>
                        <a:pt x="0" y="4874"/>
                      </a:lnTo>
                      <a:cubicBezTo>
                        <a:pt x="0" y="2182"/>
                        <a:pt x="2182" y="0"/>
                        <a:pt x="4874" y="0"/>
                      </a:cubicBezTo>
                      <a:lnTo>
                        <a:pt x="99363" y="0"/>
                      </a:lnTo>
                      <a:cubicBezTo>
                        <a:pt x="102054" y="0"/>
                        <a:pt x="104237" y="2182"/>
                        <a:pt x="104237" y="4874"/>
                      </a:cubicBezTo>
                      <a:cubicBezTo>
                        <a:pt x="104237" y="7565"/>
                        <a:pt x="102054" y="9747"/>
                        <a:pt x="99363" y="9747"/>
                      </a:cubicBezTo>
                      <a:lnTo>
                        <a:pt x="9747" y="9747"/>
                      </a:lnTo>
                      <a:lnTo>
                        <a:pt x="9747" y="116966"/>
                      </a:lnTo>
                      <a:lnTo>
                        <a:pt x="118566" y="116966"/>
                      </a:lnTo>
                      <a:cubicBezTo>
                        <a:pt x="121258" y="116966"/>
                        <a:pt x="123440" y="119148"/>
                        <a:pt x="123440" y="121840"/>
                      </a:cubicBezTo>
                      <a:cubicBezTo>
                        <a:pt x="123440" y="124531"/>
                        <a:pt x="121258" y="126713"/>
                        <a:pt x="118566" y="126713"/>
                      </a:cubicBezTo>
                      <a:close/>
                    </a:path>
                  </a:pathLst>
                </a:custGeom>
                <a:solidFill>
                  <a:schemeClr val="accent1"/>
                </a:solidFill>
                <a:ln w="2422" cap="flat">
                  <a:noFill/>
                  <a:prstDash val="solid"/>
                  <a:miter/>
                </a:ln>
              </p:spPr>
              <p:txBody>
                <a:bodyPr rtlCol="0" anchor="ctr"/>
                <a:lstStyle/>
                <a:p>
                  <a:endParaRPr lang="en-GB" dirty="0"/>
                </a:p>
              </p:txBody>
            </p:sp>
            <p:sp>
              <p:nvSpPr>
                <p:cNvPr id="454" name="Freihandform: Form 1204">
                  <a:extLst>
                    <a:ext uri="{FF2B5EF4-FFF2-40B4-BE49-F238E27FC236}">
                      <a16:creationId xmlns:a16="http://schemas.microsoft.com/office/drawing/2014/main" id="{7EB80C77-D7AF-4A4C-91ED-01E68FBC4721}"/>
                    </a:ext>
                  </a:extLst>
                </p:cNvPr>
                <p:cNvSpPr/>
                <p:nvPr/>
              </p:nvSpPr>
              <p:spPr>
                <a:xfrm>
                  <a:off x="7688811" y="4423491"/>
                  <a:ext cx="61722" cy="55234"/>
                </a:xfrm>
                <a:custGeom>
                  <a:avLst/>
                  <a:gdLst>
                    <a:gd name="connsiteX0" fmla="*/ 56849 w 61722"/>
                    <a:gd name="connsiteY0" fmla="*/ 55234 h 55234"/>
                    <a:gd name="connsiteX1" fmla="*/ 53648 w 61722"/>
                    <a:gd name="connsiteY1" fmla="*/ 54022 h 55234"/>
                    <a:gd name="connsiteX2" fmla="*/ 1663 w 61722"/>
                    <a:gd name="connsiteY2" fmla="*/ 8535 h 55234"/>
                    <a:gd name="connsiteX3" fmla="*/ 306 w 61722"/>
                    <a:gd name="connsiteY3" fmla="*/ 3152 h 55234"/>
                    <a:gd name="connsiteX4" fmla="*/ 4864 w 61722"/>
                    <a:gd name="connsiteY4" fmla="*/ 0 h 55234"/>
                    <a:gd name="connsiteX5" fmla="*/ 56849 w 61722"/>
                    <a:gd name="connsiteY5" fmla="*/ 0 h 55234"/>
                    <a:gd name="connsiteX6" fmla="*/ 61722 w 61722"/>
                    <a:gd name="connsiteY6" fmla="*/ 4874 h 55234"/>
                    <a:gd name="connsiteX7" fmla="*/ 61722 w 61722"/>
                    <a:gd name="connsiteY7" fmla="*/ 50360 h 55234"/>
                    <a:gd name="connsiteX8" fmla="*/ 58862 w 61722"/>
                    <a:gd name="connsiteY8" fmla="*/ 54798 h 55234"/>
                    <a:gd name="connsiteX9" fmla="*/ 56849 w 61722"/>
                    <a:gd name="connsiteY9" fmla="*/ 55234 h 55234"/>
                    <a:gd name="connsiteX10" fmla="*/ 17836 w 61722"/>
                    <a:gd name="connsiteY10" fmla="*/ 9747 h 55234"/>
                    <a:gd name="connsiteX11" fmla="*/ 51975 w 61722"/>
                    <a:gd name="connsiteY11" fmla="*/ 39619 h 55234"/>
                    <a:gd name="connsiteX12" fmla="*/ 51975 w 61722"/>
                    <a:gd name="connsiteY12" fmla="*/ 9747 h 55234"/>
                    <a:gd name="connsiteX13" fmla="*/ 17836 w 61722"/>
                    <a:gd name="connsiteY13" fmla="*/ 9747 h 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722" h="55234">
                      <a:moveTo>
                        <a:pt x="56849" y="55234"/>
                      </a:moveTo>
                      <a:cubicBezTo>
                        <a:pt x="55685" y="55234"/>
                        <a:pt x="54546" y="54822"/>
                        <a:pt x="53648" y="54022"/>
                      </a:cubicBezTo>
                      <a:lnTo>
                        <a:pt x="1663" y="8535"/>
                      </a:lnTo>
                      <a:cubicBezTo>
                        <a:pt x="136" y="7201"/>
                        <a:pt x="-398" y="5043"/>
                        <a:pt x="306" y="3152"/>
                      </a:cubicBezTo>
                      <a:cubicBezTo>
                        <a:pt x="1033" y="1237"/>
                        <a:pt x="2827" y="0"/>
                        <a:pt x="4864" y="0"/>
                      </a:cubicBezTo>
                      <a:lnTo>
                        <a:pt x="56849" y="0"/>
                      </a:lnTo>
                      <a:cubicBezTo>
                        <a:pt x="59540" y="0"/>
                        <a:pt x="61722" y="2182"/>
                        <a:pt x="61722" y="4874"/>
                      </a:cubicBezTo>
                      <a:lnTo>
                        <a:pt x="61722" y="50360"/>
                      </a:lnTo>
                      <a:cubicBezTo>
                        <a:pt x="61722" y="52276"/>
                        <a:pt x="60607" y="53997"/>
                        <a:pt x="58862" y="54798"/>
                      </a:cubicBezTo>
                      <a:cubicBezTo>
                        <a:pt x="58231" y="55089"/>
                        <a:pt x="57552" y="55234"/>
                        <a:pt x="56849" y="55234"/>
                      </a:cubicBezTo>
                      <a:close/>
                      <a:moveTo>
                        <a:pt x="17836" y="9747"/>
                      </a:moveTo>
                      <a:lnTo>
                        <a:pt x="51975" y="39619"/>
                      </a:lnTo>
                      <a:lnTo>
                        <a:pt x="51975" y="9747"/>
                      </a:lnTo>
                      <a:lnTo>
                        <a:pt x="17836" y="9747"/>
                      </a:lnTo>
                      <a:close/>
                    </a:path>
                  </a:pathLst>
                </a:custGeom>
                <a:solidFill>
                  <a:schemeClr val="accent1"/>
                </a:solidFill>
                <a:ln w="2422" cap="flat">
                  <a:noFill/>
                  <a:prstDash val="solid"/>
                  <a:miter/>
                </a:ln>
              </p:spPr>
              <p:txBody>
                <a:bodyPr rtlCol="0" anchor="ctr"/>
                <a:lstStyle/>
                <a:p>
                  <a:endParaRPr lang="en-GB" dirty="0"/>
                </a:p>
              </p:txBody>
            </p:sp>
            <p:sp>
              <p:nvSpPr>
                <p:cNvPr id="455" name="Freihandform: Form 1205">
                  <a:extLst>
                    <a:ext uri="{FF2B5EF4-FFF2-40B4-BE49-F238E27FC236}">
                      <a16:creationId xmlns:a16="http://schemas.microsoft.com/office/drawing/2014/main" id="{45D98E4B-1AC2-45D8-875A-B86D12947D20}"/>
                    </a:ext>
                  </a:extLst>
                </p:cNvPr>
                <p:cNvSpPr/>
                <p:nvPr/>
              </p:nvSpPr>
              <p:spPr>
                <a:xfrm>
                  <a:off x="7727790" y="4365008"/>
                  <a:ext cx="61731" cy="9747"/>
                </a:xfrm>
                <a:custGeom>
                  <a:avLst/>
                  <a:gdLst>
                    <a:gd name="connsiteX0" fmla="*/ 56859 w 61731"/>
                    <a:gd name="connsiteY0" fmla="*/ 9747 h 9747"/>
                    <a:gd name="connsiteX1" fmla="*/ 4874 w 61731"/>
                    <a:gd name="connsiteY1" fmla="*/ 9747 h 9747"/>
                    <a:gd name="connsiteX2" fmla="*/ 0 w 61731"/>
                    <a:gd name="connsiteY2" fmla="*/ 4874 h 9747"/>
                    <a:gd name="connsiteX3" fmla="*/ 4874 w 61731"/>
                    <a:gd name="connsiteY3" fmla="*/ 0 h 9747"/>
                    <a:gd name="connsiteX4" fmla="*/ 56859 w 61731"/>
                    <a:gd name="connsiteY4" fmla="*/ 0 h 9747"/>
                    <a:gd name="connsiteX5" fmla="*/ 61732 w 61731"/>
                    <a:gd name="connsiteY5" fmla="*/ 4874 h 9747"/>
                    <a:gd name="connsiteX6" fmla="*/ 56859 w 61731"/>
                    <a:gd name="connsiteY6" fmla="*/ 9747 h 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731" h="9747">
                      <a:moveTo>
                        <a:pt x="56859" y="9747"/>
                      </a:moveTo>
                      <a:lnTo>
                        <a:pt x="4874" y="9747"/>
                      </a:lnTo>
                      <a:cubicBezTo>
                        <a:pt x="2182" y="9747"/>
                        <a:pt x="0" y="7565"/>
                        <a:pt x="0" y="4874"/>
                      </a:cubicBezTo>
                      <a:cubicBezTo>
                        <a:pt x="0" y="2182"/>
                        <a:pt x="2182" y="0"/>
                        <a:pt x="4874" y="0"/>
                      </a:cubicBezTo>
                      <a:lnTo>
                        <a:pt x="56859" y="0"/>
                      </a:lnTo>
                      <a:cubicBezTo>
                        <a:pt x="59550" y="0"/>
                        <a:pt x="61732" y="2182"/>
                        <a:pt x="61732" y="4874"/>
                      </a:cubicBezTo>
                      <a:cubicBezTo>
                        <a:pt x="61732" y="7565"/>
                        <a:pt x="59550" y="9747"/>
                        <a:pt x="56859" y="9747"/>
                      </a:cubicBezTo>
                      <a:close/>
                    </a:path>
                  </a:pathLst>
                </a:custGeom>
                <a:solidFill>
                  <a:schemeClr val="accent1"/>
                </a:solidFill>
                <a:ln w="2422" cap="flat">
                  <a:noFill/>
                  <a:prstDash val="solid"/>
                  <a:miter/>
                </a:ln>
              </p:spPr>
              <p:txBody>
                <a:bodyPr rtlCol="0" anchor="ctr"/>
                <a:lstStyle/>
                <a:p>
                  <a:endParaRPr lang="en-GB" dirty="0"/>
                </a:p>
              </p:txBody>
            </p:sp>
          </p:grpSp>
          <p:grpSp>
            <p:nvGrpSpPr>
              <p:cNvPr id="447" name="Grafik 22">
                <a:extLst>
                  <a:ext uri="{FF2B5EF4-FFF2-40B4-BE49-F238E27FC236}">
                    <a16:creationId xmlns:a16="http://schemas.microsoft.com/office/drawing/2014/main" id="{FE9CDDAF-3A2D-499E-9456-D442911329AE}"/>
                  </a:ext>
                </a:extLst>
              </p:cNvPr>
              <p:cNvGrpSpPr/>
              <p:nvPr/>
            </p:nvGrpSpPr>
            <p:grpSpPr>
              <a:xfrm>
                <a:off x="8155575" y="4306525"/>
                <a:ext cx="199249" cy="172199"/>
                <a:chOff x="8155575" y="4306525"/>
                <a:chExt cx="199249" cy="172199"/>
              </a:xfrm>
              <a:solidFill>
                <a:schemeClr val="accent1"/>
              </a:solidFill>
            </p:grpSpPr>
            <p:sp>
              <p:nvSpPr>
                <p:cNvPr id="448" name="Freihandform: Form 1207">
                  <a:extLst>
                    <a:ext uri="{FF2B5EF4-FFF2-40B4-BE49-F238E27FC236}">
                      <a16:creationId xmlns:a16="http://schemas.microsoft.com/office/drawing/2014/main" id="{565836D6-3091-4214-9290-DF066DFA9534}"/>
                    </a:ext>
                  </a:extLst>
                </p:cNvPr>
                <p:cNvSpPr/>
                <p:nvPr/>
              </p:nvSpPr>
              <p:spPr>
                <a:xfrm>
                  <a:off x="8215124" y="4352036"/>
                  <a:ext cx="139699" cy="126688"/>
                </a:xfrm>
                <a:custGeom>
                  <a:avLst/>
                  <a:gdLst>
                    <a:gd name="connsiteX0" fmla="*/ 134836 w 139699"/>
                    <a:gd name="connsiteY0" fmla="*/ 126689 h 126688"/>
                    <a:gd name="connsiteX1" fmla="*/ 4874 w 139699"/>
                    <a:gd name="connsiteY1" fmla="*/ 126689 h 126688"/>
                    <a:gd name="connsiteX2" fmla="*/ 0 w 139699"/>
                    <a:gd name="connsiteY2" fmla="*/ 121815 h 126688"/>
                    <a:gd name="connsiteX3" fmla="*/ 0 w 139699"/>
                    <a:gd name="connsiteY3" fmla="*/ 76135 h 126688"/>
                    <a:gd name="connsiteX4" fmla="*/ 4874 w 139699"/>
                    <a:gd name="connsiteY4" fmla="*/ 71261 h 126688"/>
                    <a:gd name="connsiteX5" fmla="*/ 9747 w 139699"/>
                    <a:gd name="connsiteY5" fmla="*/ 76135 h 126688"/>
                    <a:gd name="connsiteX6" fmla="*/ 9747 w 139699"/>
                    <a:gd name="connsiteY6" fmla="*/ 116942 h 126688"/>
                    <a:gd name="connsiteX7" fmla="*/ 123973 w 139699"/>
                    <a:gd name="connsiteY7" fmla="*/ 116942 h 126688"/>
                    <a:gd name="connsiteX8" fmla="*/ 79190 w 139699"/>
                    <a:gd name="connsiteY8" fmla="*/ 66581 h 126688"/>
                    <a:gd name="connsiteX9" fmla="*/ 79190 w 139699"/>
                    <a:gd name="connsiteY9" fmla="*/ 60108 h 126688"/>
                    <a:gd name="connsiteX10" fmla="*/ 123973 w 139699"/>
                    <a:gd name="connsiteY10" fmla="*/ 9747 h 126688"/>
                    <a:gd name="connsiteX11" fmla="*/ 56980 w 139699"/>
                    <a:gd name="connsiteY11" fmla="*/ 9747 h 126688"/>
                    <a:gd name="connsiteX12" fmla="*/ 52106 w 139699"/>
                    <a:gd name="connsiteY12" fmla="*/ 4874 h 126688"/>
                    <a:gd name="connsiteX13" fmla="*/ 56980 w 139699"/>
                    <a:gd name="connsiteY13" fmla="*/ 0 h 126688"/>
                    <a:gd name="connsiteX14" fmla="*/ 134836 w 139699"/>
                    <a:gd name="connsiteY14" fmla="*/ 0 h 126688"/>
                    <a:gd name="connsiteX15" fmla="*/ 139273 w 139699"/>
                    <a:gd name="connsiteY15" fmla="*/ 2886 h 126688"/>
                    <a:gd name="connsiteX16" fmla="*/ 138473 w 139699"/>
                    <a:gd name="connsiteY16" fmla="*/ 8123 h 126688"/>
                    <a:gd name="connsiteX17" fmla="*/ 89373 w 139699"/>
                    <a:gd name="connsiteY17" fmla="*/ 63357 h 126688"/>
                    <a:gd name="connsiteX18" fmla="*/ 138473 w 139699"/>
                    <a:gd name="connsiteY18" fmla="*/ 118591 h 126688"/>
                    <a:gd name="connsiteX19" fmla="*/ 139273 w 139699"/>
                    <a:gd name="connsiteY19" fmla="*/ 123828 h 126688"/>
                    <a:gd name="connsiteX20" fmla="*/ 134836 w 139699"/>
                    <a:gd name="connsiteY20" fmla="*/ 126689 h 12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699" h="126688">
                      <a:moveTo>
                        <a:pt x="134836" y="126689"/>
                      </a:moveTo>
                      <a:lnTo>
                        <a:pt x="4874" y="126689"/>
                      </a:lnTo>
                      <a:cubicBezTo>
                        <a:pt x="2182" y="126689"/>
                        <a:pt x="0" y="124507"/>
                        <a:pt x="0" y="121815"/>
                      </a:cubicBezTo>
                      <a:lnTo>
                        <a:pt x="0" y="76135"/>
                      </a:lnTo>
                      <a:cubicBezTo>
                        <a:pt x="0" y="73443"/>
                        <a:pt x="2182" y="71261"/>
                        <a:pt x="4874" y="71261"/>
                      </a:cubicBezTo>
                      <a:cubicBezTo>
                        <a:pt x="7565" y="71261"/>
                        <a:pt x="9747" y="73443"/>
                        <a:pt x="9747" y="76135"/>
                      </a:cubicBezTo>
                      <a:lnTo>
                        <a:pt x="9747" y="116942"/>
                      </a:lnTo>
                      <a:lnTo>
                        <a:pt x="123973" y="116942"/>
                      </a:lnTo>
                      <a:lnTo>
                        <a:pt x="79190" y="66581"/>
                      </a:lnTo>
                      <a:cubicBezTo>
                        <a:pt x="77541" y="64739"/>
                        <a:pt x="77541" y="61950"/>
                        <a:pt x="79190" y="60108"/>
                      </a:cubicBezTo>
                      <a:lnTo>
                        <a:pt x="123973" y="9747"/>
                      </a:lnTo>
                      <a:lnTo>
                        <a:pt x="56980" y="9747"/>
                      </a:lnTo>
                      <a:cubicBezTo>
                        <a:pt x="54288" y="9747"/>
                        <a:pt x="52106" y="7565"/>
                        <a:pt x="52106" y="4874"/>
                      </a:cubicBezTo>
                      <a:cubicBezTo>
                        <a:pt x="52106" y="2182"/>
                        <a:pt x="54288" y="0"/>
                        <a:pt x="56980" y="0"/>
                      </a:cubicBezTo>
                      <a:lnTo>
                        <a:pt x="134836" y="0"/>
                      </a:lnTo>
                      <a:cubicBezTo>
                        <a:pt x="136751" y="0"/>
                        <a:pt x="138497" y="1115"/>
                        <a:pt x="139273" y="2886"/>
                      </a:cubicBezTo>
                      <a:cubicBezTo>
                        <a:pt x="140049" y="4631"/>
                        <a:pt x="139734" y="6692"/>
                        <a:pt x="138473" y="8123"/>
                      </a:cubicBezTo>
                      <a:lnTo>
                        <a:pt x="89373" y="63357"/>
                      </a:lnTo>
                      <a:lnTo>
                        <a:pt x="138473" y="118591"/>
                      </a:lnTo>
                      <a:cubicBezTo>
                        <a:pt x="139758" y="120021"/>
                        <a:pt x="140049" y="122082"/>
                        <a:pt x="139273" y="123828"/>
                      </a:cubicBezTo>
                      <a:cubicBezTo>
                        <a:pt x="138521" y="125549"/>
                        <a:pt x="136776" y="126689"/>
                        <a:pt x="134836" y="126689"/>
                      </a:cubicBezTo>
                      <a:close/>
                    </a:path>
                  </a:pathLst>
                </a:custGeom>
                <a:solidFill>
                  <a:schemeClr val="accent1"/>
                </a:solidFill>
                <a:ln w="2422" cap="flat">
                  <a:noFill/>
                  <a:prstDash val="solid"/>
                  <a:miter/>
                </a:ln>
              </p:spPr>
              <p:txBody>
                <a:bodyPr rtlCol="0" anchor="ctr"/>
                <a:lstStyle/>
                <a:p>
                  <a:endParaRPr lang="en-GB" dirty="0"/>
                </a:p>
              </p:txBody>
            </p:sp>
            <p:sp>
              <p:nvSpPr>
                <p:cNvPr id="449" name="Freihandform: Form 1208">
                  <a:extLst>
                    <a:ext uri="{FF2B5EF4-FFF2-40B4-BE49-F238E27FC236}">
                      <a16:creationId xmlns:a16="http://schemas.microsoft.com/office/drawing/2014/main" id="{662FCE93-1B2D-41F2-8970-34ABA97AF18A}"/>
                    </a:ext>
                  </a:extLst>
                </p:cNvPr>
                <p:cNvSpPr/>
                <p:nvPr/>
              </p:nvSpPr>
              <p:spPr>
                <a:xfrm>
                  <a:off x="8155575" y="4306525"/>
                  <a:ext cx="121305" cy="126713"/>
                </a:xfrm>
                <a:custGeom>
                  <a:avLst/>
                  <a:gdLst>
                    <a:gd name="connsiteX0" fmla="*/ 116433 w 121305"/>
                    <a:gd name="connsiteY0" fmla="*/ 126713 h 126713"/>
                    <a:gd name="connsiteX1" fmla="*/ 4874 w 121305"/>
                    <a:gd name="connsiteY1" fmla="*/ 126713 h 126713"/>
                    <a:gd name="connsiteX2" fmla="*/ 0 w 121305"/>
                    <a:gd name="connsiteY2" fmla="*/ 121840 h 126713"/>
                    <a:gd name="connsiteX3" fmla="*/ 4874 w 121305"/>
                    <a:gd name="connsiteY3" fmla="*/ 116966 h 126713"/>
                    <a:gd name="connsiteX4" fmla="*/ 111559 w 121305"/>
                    <a:gd name="connsiteY4" fmla="*/ 116966 h 126713"/>
                    <a:gd name="connsiteX5" fmla="*/ 111559 w 121305"/>
                    <a:gd name="connsiteY5" fmla="*/ 9747 h 126713"/>
                    <a:gd name="connsiteX6" fmla="*/ 13408 w 121305"/>
                    <a:gd name="connsiteY6" fmla="*/ 9747 h 126713"/>
                    <a:gd name="connsiteX7" fmla="*/ 8535 w 121305"/>
                    <a:gd name="connsiteY7" fmla="*/ 4874 h 126713"/>
                    <a:gd name="connsiteX8" fmla="*/ 13408 w 121305"/>
                    <a:gd name="connsiteY8" fmla="*/ 0 h 126713"/>
                    <a:gd name="connsiteX9" fmla="*/ 116433 w 121305"/>
                    <a:gd name="connsiteY9" fmla="*/ 0 h 126713"/>
                    <a:gd name="connsiteX10" fmla="*/ 121306 w 121305"/>
                    <a:gd name="connsiteY10" fmla="*/ 4874 h 126713"/>
                    <a:gd name="connsiteX11" fmla="*/ 121306 w 121305"/>
                    <a:gd name="connsiteY11" fmla="*/ 121840 h 126713"/>
                    <a:gd name="connsiteX12" fmla="*/ 116433 w 121305"/>
                    <a:gd name="connsiteY12" fmla="*/ 126713 h 126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1305" h="126713">
                      <a:moveTo>
                        <a:pt x="116433" y="126713"/>
                      </a:moveTo>
                      <a:lnTo>
                        <a:pt x="4874" y="126713"/>
                      </a:lnTo>
                      <a:cubicBezTo>
                        <a:pt x="2182" y="126713"/>
                        <a:pt x="0" y="124531"/>
                        <a:pt x="0" y="121840"/>
                      </a:cubicBezTo>
                      <a:cubicBezTo>
                        <a:pt x="0" y="119148"/>
                        <a:pt x="2182" y="116966"/>
                        <a:pt x="4874" y="116966"/>
                      </a:cubicBezTo>
                      <a:lnTo>
                        <a:pt x="111559" y="116966"/>
                      </a:lnTo>
                      <a:lnTo>
                        <a:pt x="111559" y="9747"/>
                      </a:lnTo>
                      <a:lnTo>
                        <a:pt x="13408" y="9747"/>
                      </a:lnTo>
                      <a:cubicBezTo>
                        <a:pt x="10717" y="9747"/>
                        <a:pt x="8535" y="7565"/>
                        <a:pt x="8535" y="4874"/>
                      </a:cubicBezTo>
                      <a:cubicBezTo>
                        <a:pt x="8535" y="2182"/>
                        <a:pt x="10717" y="0"/>
                        <a:pt x="13408" y="0"/>
                      </a:cubicBezTo>
                      <a:lnTo>
                        <a:pt x="116433" y="0"/>
                      </a:lnTo>
                      <a:cubicBezTo>
                        <a:pt x="119124" y="0"/>
                        <a:pt x="121306" y="2182"/>
                        <a:pt x="121306" y="4874"/>
                      </a:cubicBezTo>
                      <a:lnTo>
                        <a:pt x="121306" y="121840"/>
                      </a:lnTo>
                      <a:cubicBezTo>
                        <a:pt x="121306" y="124531"/>
                        <a:pt x="119124" y="126713"/>
                        <a:pt x="116433" y="126713"/>
                      </a:cubicBezTo>
                      <a:close/>
                    </a:path>
                  </a:pathLst>
                </a:custGeom>
                <a:solidFill>
                  <a:schemeClr val="accent1"/>
                </a:solidFill>
                <a:ln w="2422" cap="flat">
                  <a:noFill/>
                  <a:prstDash val="solid"/>
                  <a:miter/>
                </a:ln>
              </p:spPr>
              <p:txBody>
                <a:bodyPr rtlCol="0" anchor="ctr"/>
                <a:lstStyle/>
                <a:p>
                  <a:endParaRPr lang="en-GB" dirty="0"/>
                </a:p>
              </p:txBody>
            </p:sp>
            <p:sp>
              <p:nvSpPr>
                <p:cNvPr id="450" name="Freihandform: Form 1209">
                  <a:extLst>
                    <a:ext uri="{FF2B5EF4-FFF2-40B4-BE49-F238E27FC236}">
                      <a16:creationId xmlns:a16="http://schemas.microsoft.com/office/drawing/2014/main" id="{05ACB5D3-8516-481E-99E7-43AA12951FF8}"/>
                    </a:ext>
                  </a:extLst>
                </p:cNvPr>
                <p:cNvSpPr/>
                <p:nvPr/>
              </p:nvSpPr>
              <p:spPr>
                <a:xfrm>
                  <a:off x="8215149" y="4423491"/>
                  <a:ext cx="61722" cy="55234"/>
                </a:xfrm>
                <a:custGeom>
                  <a:avLst/>
                  <a:gdLst>
                    <a:gd name="connsiteX0" fmla="*/ 4874 w 61722"/>
                    <a:gd name="connsiteY0" fmla="*/ 55234 h 55234"/>
                    <a:gd name="connsiteX1" fmla="*/ 2861 w 61722"/>
                    <a:gd name="connsiteY1" fmla="*/ 54798 h 55234"/>
                    <a:gd name="connsiteX2" fmla="*/ 0 w 61722"/>
                    <a:gd name="connsiteY2" fmla="*/ 50360 h 55234"/>
                    <a:gd name="connsiteX3" fmla="*/ 0 w 61722"/>
                    <a:gd name="connsiteY3" fmla="*/ 4874 h 55234"/>
                    <a:gd name="connsiteX4" fmla="*/ 4874 w 61722"/>
                    <a:gd name="connsiteY4" fmla="*/ 0 h 55234"/>
                    <a:gd name="connsiteX5" fmla="*/ 56859 w 61722"/>
                    <a:gd name="connsiteY5" fmla="*/ 0 h 55234"/>
                    <a:gd name="connsiteX6" fmla="*/ 61417 w 61722"/>
                    <a:gd name="connsiteY6" fmla="*/ 3152 h 55234"/>
                    <a:gd name="connsiteX7" fmla="*/ 60059 w 61722"/>
                    <a:gd name="connsiteY7" fmla="*/ 8535 h 55234"/>
                    <a:gd name="connsiteX8" fmla="*/ 8074 w 61722"/>
                    <a:gd name="connsiteY8" fmla="*/ 54022 h 55234"/>
                    <a:gd name="connsiteX9" fmla="*/ 4874 w 61722"/>
                    <a:gd name="connsiteY9" fmla="*/ 55234 h 55234"/>
                    <a:gd name="connsiteX10" fmla="*/ 9747 w 61722"/>
                    <a:gd name="connsiteY10" fmla="*/ 9747 h 55234"/>
                    <a:gd name="connsiteX11" fmla="*/ 9747 w 61722"/>
                    <a:gd name="connsiteY11" fmla="*/ 39619 h 55234"/>
                    <a:gd name="connsiteX12" fmla="*/ 43886 w 61722"/>
                    <a:gd name="connsiteY12" fmla="*/ 9747 h 55234"/>
                    <a:gd name="connsiteX13" fmla="*/ 9747 w 61722"/>
                    <a:gd name="connsiteY13" fmla="*/ 9747 h 55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722" h="55234">
                      <a:moveTo>
                        <a:pt x="4874" y="55234"/>
                      </a:moveTo>
                      <a:cubicBezTo>
                        <a:pt x="4195" y="55234"/>
                        <a:pt x="3492" y="55089"/>
                        <a:pt x="2861" y="54798"/>
                      </a:cubicBezTo>
                      <a:cubicBezTo>
                        <a:pt x="1115" y="54022"/>
                        <a:pt x="0" y="52276"/>
                        <a:pt x="0" y="50360"/>
                      </a:cubicBezTo>
                      <a:lnTo>
                        <a:pt x="0" y="4874"/>
                      </a:lnTo>
                      <a:cubicBezTo>
                        <a:pt x="0" y="2182"/>
                        <a:pt x="2182" y="0"/>
                        <a:pt x="4874" y="0"/>
                      </a:cubicBezTo>
                      <a:lnTo>
                        <a:pt x="56859" y="0"/>
                      </a:lnTo>
                      <a:cubicBezTo>
                        <a:pt x="58895" y="0"/>
                        <a:pt x="60714" y="1261"/>
                        <a:pt x="61417" y="3152"/>
                      </a:cubicBezTo>
                      <a:cubicBezTo>
                        <a:pt x="62120" y="5043"/>
                        <a:pt x="61587" y="7201"/>
                        <a:pt x="60059" y="8535"/>
                      </a:cubicBezTo>
                      <a:lnTo>
                        <a:pt x="8074" y="54022"/>
                      </a:lnTo>
                      <a:cubicBezTo>
                        <a:pt x="7177" y="54822"/>
                        <a:pt x="6013" y="55234"/>
                        <a:pt x="4874" y="55234"/>
                      </a:cubicBezTo>
                      <a:close/>
                      <a:moveTo>
                        <a:pt x="9747" y="9747"/>
                      </a:moveTo>
                      <a:lnTo>
                        <a:pt x="9747" y="39619"/>
                      </a:lnTo>
                      <a:lnTo>
                        <a:pt x="43886" y="9747"/>
                      </a:lnTo>
                      <a:lnTo>
                        <a:pt x="9747" y="9747"/>
                      </a:lnTo>
                      <a:close/>
                    </a:path>
                  </a:pathLst>
                </a:custGeom>
                <a:solidFill>
                  <a:schemeClr val="accent1"/>
                </a:solidFill>
                <a:ln w="2422" cap="flat">
                  <a:noFill/>
                  <a:prstDash val="solid"/>
                  <a:miter/>
                </a:ln>
              </p:spPr>
              <p:txBody>
                <a:bodyPr rtlCol="0" anchor="ctr"/>
                <a:lstStyle/>
                <a:p>
                  <a:endParaRPr lang="en-GB" dirty="0"/>
                </a:p>
              </p:txBody>
            </p:sp>
            <p:sp>
              <p:nvSpPr>
                <p:cNvPr id="451" name="Freihandform: Form 1210">
                  <a:extLst>
                    <a:ext uri="{FF2B5EF4-FFF2-40B4-BE49-F238E27FC236}">
                      <a16:creationId xmlns:a16="http://schemas.microsoft.com/office/drawing/2014/main" id="{8D0B1221-D5AB-4E9D-869F-90CFBD84C8B0}"/>
                    </a:ext>
                  </a:extLst>
                </p:cNvPr>
                <p:cNvSpPr/>
                <p:nvPr/>
              </p:nvSpPr>
              <p:spPr>
                <a:xfrm>
                  <a:off x="8182658" y="4365008"/>
                  <a:ext cx="55234" cy="9747"/>
                </a:xfrm>
                <a:custGeom>
                  <a:avLst/>
                  <a:gdLst>
                    <a:gd name="connsiteX0" fmla="*/ 50360 w 55234"/>
                    <a:gd name="connsiteY0" fmla="*/ 9747 h 9747"/>
                    <a:gd name="connsiteX1" fmla="*/ 4874 w 55234"/>
                    <a:gd name="connsiteY1" fmla="*/ 9747 h 9747"/>
                    <a:gd name="connsiteX2" fmla="*/ 0 w 55234"/>
                    <a:gd name="connsiteY2" fmla="*/ 4874 h 9747"/>
                    <a:gd name="connsiteX3" fmla="*/ 4874 w 55234"/>
                    <a:gd name="connsiteY3" fmla="*/ 0 h 9747"/>
                    <a:gd name="connsiteX4" fmla="*/ 50360 w 55234"/>
                    <a:gd name="connsiteY4" fmla="*/ 0 h 9747"/>
                    <a:gd name="connsiteX5" fmla="*/ 55234 w 55234"/>
                    <a:gd name="connsiteY5" fmla="*/ 4874 h 9747"/>
                    <a:gd name="connsiteX6" fmla="*/ 50360 w 55234"/>
                    <a:gd name="connsiteY6" fmla="*/ 9747 h 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234" h="9747">
                      <a:moveTo>
                        <a:pt x="50360" y="9747"/>
                      </a:moveTo>
                      <a:lnTo>
                        <a:pt x="4874" y="9747"/>
                      </a:lnTo>
                      <a:cubicBezTo>
                        <a:pt x="2182" y="9747"/>
                        <a:pt x="0" y="7565"/>
                        <a:pt x="0" y="4874"/>
                      </a:cubicBezTo>
                      <a:cubicBezTo>
                        <a:pt x="0" y="2182"/>
                        <a:pt x="2182" y="0"/>
                        <a:pt x="4874" y="0"/>
                      </a:cubicBezTo>
                      <a:lnTo>
                        <a:pt x="50360" y="0"/>
                      </a:lnTo>
                      <a:cubicBezTo>
                        <a:pt x="53052" y="0"/>
                        <a:pt x="55234" y="2182"/>
                        <a:pt x="55234" y="4874"/>
                      </a:cubicBezTo>
                      <a:cubicBezTo>
                        <a:pt x="55234" y="7565"/>
                        <a:pt x="53052" y="9747"/>
                        <a:pt x="50360" y="9747"/>
                      </a:cubicBezTo>
                      <a:close/>
                    </a:path>
                  </a:pathLst>
                </a:custGeom>
                <a:solidFill>
                  <a:schemeClr val="accent1"/>
                </a:solidFill>
                <a:ln w="2422" cap="flat">
                  <a:noFill/>
                  <a:prstDash val="solid"/>
                  <a:miter/>
                </a:ln>
              </p:spPr>
              <p:txBody>
                <a:bodyPr rtlCol="0" anchor="ctr"/>
                <a:lstStyle/>
                <a:p>
                  <a:endParaRPr lang="en-GB" dirty="0"/>
                </a:p>
              </p:txBody>
            </p:sp>
          </p:grpSp>
        </p:grpSp>
        <p:grpSp>
          <p:nvGrpSpPr>
            <p:cNvPr id="439" name="Grafik 22">
              <a:extLst>
                <a:ext uri="{FF2B5EF4-FFF2-40B4-BE49-F238E27FC236}">
                  <a16:creationId xmlns:a16="http://schemas.microsoft.com/office/drawing/2014/main" id="{4486E2D3-EA89-4892-B9E1-C32042F3389C}"/>
                </a:ext>
              </a:extLst>
            </p:cNvPr>
            <p:cNvGrpSpPr/>
            <p:nvPr/>
          </p:nvGrpSpPr>
          <p:grpSpPr>
            <a:xfrm>
              <a:off x="6063519" y="2418961"/>
              <a:ext cx="390994" cy="392121"/>
              <a:chOff x="7783946" y="4150643"/>
              <a:chExt cx="404022" cy="405186"/>
            </a:xfrm>
            <a:solidFill>
              <a:schemeClr val="tx2"/>
            </a:solidFill>
          </p:grpSpPr>
          <p:grpSp>
            <p:nvGrpSpPr>
              <p:cNvPr id="440" name="Grafik 22">
                <a:extLst>
                  <a:ext uri="{FF2B5EF4-FFF2-40B4-BE49-F238E27FC236}">
                    <a16:creationId xmlns:a16="http://schemas.microsoft.com/office/drawing/2014/main" id="{496EC13F-80CC-4442-9E76-D86AEB48AA1B}"/>
                  </a:ext>
                </a:extLst>
              </p:cNvPr>
              <p:cNvGrpSpPr/>
              <p:nvPr/>
            </p:nvGrpSpPr>
            <p:grpSpPr>
              <a:xfrm>
                <a:off x="7783946" y="4150643"/>
                <a:ext cx="404022" cy="405186"/>
                <a:chOff x="7783946" y="4150643"/>
                <a:chExt cx="404022" cy="405186"/>
              </a:xfrm>
              <a:grpFill/>
            </p:grpSpPr>
            <p:sp>
              <p:nvSpPr>
                <p:cNvPr id="444" name="Freihandform: Form 1213">
                  <a:extLst>
                    <a:ext uri="{FF2B5EF4-FFF2-40B4-BE49-F238E27FC236}">
                      <a16:creationId xmlns:a16="http://schemas.microsoft.com/office/drawing/2014/main" id="{EC8DB2A0-A718-4237-829B-884DD4D05335}"/>
                    </a:ext>
                  </a:extLst>
                </p:cNvPr>
                <p:cNvSpPr/>
                <p:nvPr/>
              </p:nvSpPr>
              <p:spPr>
                <a:xfrm>
                  <a:off x="7783946" y="4150643"/>
                  <a:ext cx="404022" cy="405186"/>
                </a:xfrm>
                <a:custGeom>
                  <a:avLst/>
                  <a:gdLst>
                    <a:gd name="connsiteX0" fmla="*/ 232429 w 404022"/>
                    <a:gd name="connsiteY0" fmla="*/ 405186 h 405186"/>
                    <a:gd name="connsiteX1" fmla="*/ 197004 w 404022"/>
                    <a:gd name="connsiteY1" fmla="*/ 384358 h 405186"/>
                    <a:gd name="connsiteX2" fmla="*/ 165096 w 404022"/>
                    <a:gd name="connsiteY2" fmla="*/ 399876 h 405186"/>
                    <a:gd name="connsiteX3" fmla="*/ 125089 w 404022"/>
                    <a:gd name="connsiteY3" fmla="*/ 366610 h 405186"/>
                    <a:gd name="connsiteX4" fmla="*/ 101497 w 404022"/>
                    <a:gd name="connsiteY4" fmla="*/ 374175 h 405186"/>
                    <a:gd name="connsiteX5" fmla="*/ 60835 w 404022"/>
                    <a:gd name="connsiteY5" fmla="*/ 333537 h 405186"/>
                    <a:gd name="connsiteX6" fmla="*/ 61490 w 404022"/>
                    <a:gd name="connsiteY6" fmla="*/ 326360 h 405186"/>
                    <a:gd name="connsiteX7" fmla="*/ 17700 w 404022"/>
                    <a:gd name="connsiteY7" fmla="*/ 285844 h 405186"/>
                    <a:gd name="connsiteX8" fmla="*/ 27399 w 404022"/>
                    <a:gd name="connsiteY8" fmla="*/ 259561 h 405186"/>
                    <a:gd name="connsiteX9" fmla="*/ 0 w 404022"/>
                    <a:gd name="connsiteY9" fmla="*/ 221178 h 405186"/>
                    <a:gd name="connsiteX10" fmla="*/ 19325 w 404022"/>
                    <a:gd name="connsiteY10" fmla="*/ 186602 h 405186"/>
                    <a:gd name="connsiteX11" fmla="*/ 4073 w 404022"/>
                    <a:gd name="connsiteY11" fmla="*/ 154936 h 405186"/>
                    <a:gd name="connsiteX12" fmla="*/ 40783 w 404022"/>
                    <a:gd name="connsiteY12" fmla="*/ 114493 h 405186"/>
                    <a:gd name="connsiteX13" fmla="*/ 36637 w 404022"/>
                    <a:gd name="connsiteY13" fmla="*/ 96623 h 405186"/>
                    <a:gd name="connsiteX14" fmla="*/ 77274 w 404022"/>
                    <a:gd name="connsiteY14" fmla="*/ 56010 h 405186"/>
                    <a:gd name="connsiteX15" fmla="*/ 90440 w 404022"/>
                    <a:gd name="connsiteY15" fmla="*/ 58216 h 405186"/>
                    <a:gd name="connsiteX16" fmla="*/ 131029 w 404022"/>
                    <a:gd name="connsiteY16" fmla="*/ 19688 h 405186"/>
                    <a:gd name="connsiteX17" fmla="*/ 157167 w 404022"/>
                    <a:gd name="connsiteY17" fmla="*/ 29241 h 405186"/>
                    <a:gd name="connsiteX18" fmla="*/ 196107 w 404022"/>
                    <a:gd name="connsiteY18" fmla="*/ 0 h 405186"/>
                    <a:gd name="connsiteX19" fmla="*/ 232041 w 404022"/>
                    <a:gd name="connsiteY19" fmla="*/ 21701 h 405186"/>
                    <a:gd name="connsiteX20" fmla="*/ 262446 w 404022"/>
                    <a:gd name="connsiteY20" fmla="*/ 8025 h 405186"/>
                    <a:gd name="connsiteX21" fmla="*/ 303059 w 404022"/>
                    <a:gd name="connsiteY21" fmla="*/ 48614 h 405186"/>
                    <a:gd name="connsiteX22" fmla="*/ 303035 w 404022"/>
                    <a:gd name="connsiteY22" fmla="*/ 50263 h 405186"/>
                    <a:gd name="connsiteX23" fmla="*/ 317243 w 404022"/>
                    <a:gd name="connsiteY23" fmla="*/ 47717 h 405186"/>
                    <a:gd name="connsiteX24" fmla="*/ 357881 w 404022"/>
                    <a:gd name="connsiteY24" fmla="*/ 88379 h 405186"/>
                    <a:gd name="connsiteX25" fmla="*/ 352619 w 404022"/>
                    <a:gd name="connsiteY25" fmla="*/ 108310 h 405186"/>
                    <a:gd name="connsiteX26" fmla="*/ 391899 w 404022"/>
                    <a:gd name="connsiteY26" fmla="*/ 148923 h 405186"/>
                    <a:gd name="connsiteX27" fmla="*/ 378248 w 404022"/>
                    <a:gd name="connsiteY27" fmla="*/ 179256 h 405186"/>
                    <a:gd name="connsiteX28" fmla="*/ 404022 w 404022"/>
                    <a:gd name="connsiteY28" fmla="*/ 217056 h 405186"/>
                    <a:gd name="connsiteX29" fmla="*/ 371726 w 404022"/>
                    <a:gd name="connsiteY29" fmla="*/ 256821 h 405186"/>
                    <a:gd name="connsiteX30" fmla="*/ 380576 w 404022"/>
                    <a:gd name="connsiteY30" fmla="*/ 282134 h 405186"/>
                    <a:gd name="connsiteX31" fmla="*/ 339914 w 404022"/>
                    <a:gd name="connsiteY31" fmla="*/ 322772 h 405186"/>
                    <a:gd name="connsiteX32" fmla="*/ 333852 w 404022"/>
                    <a:gd name="connsiteY32" fmla="*/ 322311 h 405186"/>
                    <a:gd name="connsiteX33" fmla="*/ 335938 w 404022"/>
                    <a:gd name="connsiteY33" fmla="*/ 335113 h 405186"/>
                    <a:gd name="connsiteX34" fmla="*/ 295300 w 404022"/>
                    <a:gd name="connsiteY34" fmla="*/ 375775 h 405186"/>
                    <a:gd name="connsiteX35" fmla="*/ 272872 w 404022"/>
                    <a:gd name="connsiteY35" fmla="*/ 369034 h 405186"/>
                    <a:gd name="connsiteX36" fmla="*/ 232429 w 404022"/>
                    <a:gd name="connsiteY36" fmla="*/ 405186 h 405186"/>
                    <a:gd name="connsiteX37" fmla="*/ 197877 w 404022"/>
                    <a:gd name="connsiteY37" fmla="*/ 368622 h 405186"/>
                    <a:gd name="connsiteX38" fmla="*/ 198265 w 404022"/>
                    <a:gd name="connsiteY38" fmla="*/ 368646 h 405186"/>
                    <a:gd name="connsiteX39" fmla="*/ 202605 w 404022"/>
                    <a:gd name="connsiteY39" fmla="*/ 372283 h 405186"/>
                    <a:gd name="connsiteX40" fmla="*/ 232453 w 404022"/>
                    <a:gd name="connsiteY40" fmla="*/ 395439 h 405186"/>
                    <a:gd name="connsiteX41" fmla="*/ 263367 w 404022"/>
                    <a:gd name="connsiteY41" fmla="*/ 364525 h 405186"/>
                    <a:gd name="connsiteX42" fmla="*/ 262761 w 404022"/>
                    <a:gd name="connsiteY42" fmla="*/ 358439 h 405186"/>
                    <a:gd name="connsiteX43" fmla="*/ 265525 w 404022"/>
                    <a:gd name="connsiteY43" fmla="*/ 353129 h 405186"/>
                    <a:gd name="connsiteX44" fmla="*/ 271345 w 404022"/>
                    <a:gd name="connsiteY44" fmla="*/ 354486 h 405186"/>
                    <a:gd name="connsiteX45" fmla="*/ 295300 w 404022"/>
                    <a:gd name="connsiteY45" fmla="*/ 365931 h 405186"/>
                    <a:gd name="connsiteX46" fmla="*/ 326191 w 404022"/>
                    <a:gd name="connsiteY46" fmla="*/ 335016 h 405186"/>
                    <a:gd name="connsiteX47" fmla="*/ 320396 w 404022"/>
                    <a:gd name="connsiteY47" fmla="*/ 317098 h 405186"/>
                    <a:gd name="connsiteX48" fmla="*/ 320008 w 404022"/>
                    <a:gd name="connsiteY48" fmla="*/ 312030 h 405186"/>
                    <a:gd name="connsiteX49" fmla="*/ 322554 w 404022"/>
                    <a:gd name="connsiteY49" fmla="*/ 309727 h 405186"/>
                    <a:gd name="connsiteX50" fmla="*/ 326554 w 404022"/>
                    <a:gd name="connsiteY50" fmla="*/ 309848 h 405186"/>
                    <a:gd name="connsiteX51" fmla="*/ 339938 w 404022"/>
                    <a:gd name="connsiteY51" fmla="*/ 312928 h 405186"/>
                    <a:gd name="connsiteX52" fmla="*/ 370853 w 404022"/>
                    <a:gd name="connsiteY52" fmla="*/ 282037 h 405186"/>
                    <a:gd name="connsiteX53" fmla="*/ 357420 w 404022"/>
                    <a:gd name="connsiteY53" fmla="*/ 256554 h 405186"/>
                    <a:gd name="connsiteX54" fmla="*/ 355602 w 404022"/>
                    <a:gd name="connsiteY54" fmla="*/ 250880 h 405186"/>
                    <a:gd name="connsiteX55" fmla="*/ 360645 w 404022"/>
                    <a:gd name="connsiteY55" fmla="*/ 247680 h 405186"/>
                    <a:gd name="connsiteX56" fmla="*/ 363434 w 404022"/>
                    <a:gd name="connsiteY56" fmla="*/ 247825 h 405186"/>
                    <a:gd name="connsiteX57" fmla="*/ 394300 w 404022"/>
                    <a:gd name="connsiteY57" fmla="*/ 216959 h 405186"/>
                    <a:gd name="connsiteX58" fmla="*/ 365882 w 404022"/>
                    <a:gd name="connsiteY58" fmla="*/ 186190 h 405186"/>
                    <a:gd name="connsiteX59" fmla="*/ 361397 w 404022"/>
                    <a:gd name="connsiteY59" fmla="*/ 181341 h 405186"/>
                    <a:gd name="connsiteX60" fmla="*/ 364234 w 404022"/>
                    <a:gd name="connsiteY60" fmla="*/ 176855 h 405186"/>
                    <a:gd name="connsiteX61" fmla="*/ 382176 w 404022"/>
                    <a:gd name="connsiteY61" fmla="*/ 148850 h 405186"/>
                    <a:gd name="connsiteX62" fmla="*/ 351310 w 404022"/>
                    <a:gd name="connsiteY62" fmla="*/ 117960 h 405186"/>
                    <a:gd name="connsiteX63" fmla="*/ 343284 w 404022"/>
                    <a:gd name="connsiteY63" fmla="*/ 119027 h 405186"/>
                    <a:gd name="connsiteX64" fmla="*/ 337950 w 404022"/>
                    <a:gd name="connsiteY64" fmla="*/ 116893 h 405186"/>
                    <a:gd name="connsiteX65" fmla="*/ 337586 w 404022"/>
                    <a:gd name="connsiteY65" fmla="*/ 116287 h 405186"/>
                    <a:gd name="connsiteX66" fmla="*/ 338581 w 404022"/>
                    <a:gd name="connsiteY66" fmla="*/ 110589 h 405186"/>
                    <a:gd name="connsiteX67" fmla="*/ 348182 w 404022"/>
                    <a:gd name="connsiteY67" fmla="*/ 88306 h 405186"/>
                    <a:gd name="connsiteX68" fmla="*/ 317292 w 404022"/>
                    <a:gd name="connsiteY68" fmla="*/ 57392 h 405186"/>
                    <a:gd name="connsiteX69" fmla="*/ 299495 w 404022"/>
                    <a:gd name="connsiteY69" fmla="*/ 63041 h 405186"/>
                    <a:gd name="connsiteX70" fmla="*/ 293821 w 404022"/>
                    <a:gd name="connsiteY70" fmla="*/ 62993 h 405186"/>
                    <a:gd name="connsiteX71" fmla="*/ 292003 w 404022"/>
                    <a:gd name="connsiteY71" fmla="*/ 57634 h 405186"/>
                    <a:gd name="connsiteX72" fmla="*/ 293361 w 404022"/>
                    <a:gd name="connsiteY72" fmla="*/ 48566 h 405186"/>
                    <a:gd name="connsiteX73" fmla="*/ 262495 w 404022"/>
                    <a:gd name="connsiteY73" fmla="*/ 17724 h 405186"/>
                    <a:gd name="connsiteX74" fmla="*/ 235144 w 404022"/>
                    <a:gd name="connsiteY74" fmla="*/ 34261 h 405186"/>
                    <a:gd name="connsiteX75" fmla="*/ 230246 w 404022"/>
                    <a:gd name="connsiteY75" fmla="*/ 36831 h 405186"/>
                    <a:gd name="connsiteX76" fmla="*/ 226100 w 404022"/>
                    <a:gd name="connsiteY76" fmla="*/ 33169 h 405186"/>
                    <a:gd name="connsiteX77" fmla="*/ 196156 w 404022"/>
                    <a:gd name="connsiteY77" fmla="*/ 9723 h 405186"/>
                    <a:gd name="connsiteX78" fmla="*/ 165314 w 404022"/>
                    <a:gd name="connsiteY78" fmla="*/ 40031 h 405186"/>
                    <a:gd name="connsiteX79" fmla="*/ 161847 w 404022"/>
                    <a:gd name="connsiteY79" fmla="*/ 44590 h 405186"/>
                    <a:gd name="connsiteX80" fmla="*/ 156440 w 404022"/>
                    <a:gd name="connsiteY80" fmla="*/ 42723 h 405186"/>
                    <a:gd name="connsiteX81" fmla="*/ 131077 w 404022"/>
                    <a:gd name="connsiteY81" fmla="*/ 29411 h 405186"/>
                    <a:gd name="connsiteX82" fmla="*/ 100187 w 404022"/>
                    <a:gd name="connsiteY82" fmla="*/ 60326 h 405186"/>
                    <a:gd name="connsiteX83" fmla="*/ 100648 w 404022"/>
                    <a:gd name="connsiteY83" fmla="*/ 65248 h 405186"/>
                    <a:gd name="connsiteX84" fmla="*/ 98587 w 404022"/>
                    <a:gd name="connsiteY84" fmla="*/ 70097 h 405186"/>
                    <a:gd name="connsiteX85" fmla="*/ 93325 w 404022"/>
                    <a:gd name="connsiteY85" fmla="*/ 70243 h 405186"/>
                    <a:gd name="connsiteX86" fmla="*/ 77347 w 404022"/>
                    <a:gd name="connsiteY86" fmla="*/ 65757 h 405186"/>
                    <a:gd name="connsiteX87" fmla="*/ 46457 w 404022"/>
                    <a:gd name="connsiteY87" fmla="*/ 96623 h 405186"/>
                    <a:gd name="connsiteX88" fmla="*/ 53658 w 404022"/>
                    <a:gd name="connsiteY88" fmla="*/ 116457 h 405186"/>
                    <a:gd name="connsiteX89" fmla="*/ 54167 w 404022"/>
                    <a:gd name="connsiteY89" fmla="*/ 121961 h 405186"/>
                    <a:gd name="connsiteX90" fmla="*/ 49221 w 404022"/>
                    <a:gd name="connsiteY90" fmla="*/ 124410 h 405186"/>
                    <a:gd name="connsiteX91" fmla="*/ 44832 w 404022"/>
                    <a:gd name="connsiteY91" fmla="*/ 124070 h 405186"/>
                    <a:gd name="connsiteX92" fmla="*/ 13918 w 404022"/>
                    <a:gd name="connsiteY92" fmla="*/ 154936 h 405186"/>
                    <a:gd name="connsiteX93" fmla="*/ 31642 w 404022"/>
                    <a:gd name="connsiteY93" fmla="*/ 182844 h 405186"/>
                    <a:gd name="connsiteX94" fmla="*/ 34430 w 404022"/>
                    <a:gd name="connsiteY94" fmla="*/ 187548 h 405186"/>
                    <a:gd name="connsiteX95" fmla="*/ 31084 w 404022"/>
                    <a:gd name="connsiteY95" fmla="*/ 191888 h 405186"/>
                    <a:gd name="connsiteX96" fmla="*/ 9844 w 404022"/>
                    <a:gd name="connsiteY96" fmla="*/ 221202 h 405186"/>
                    <a:gd name="connsiteX97" fmla="*/ 38067 w 404022"/>
                    <a:gd name="connsiteY97" fmla="*/ 251971 h 405186"/>
                    <a:gd name="connsiteX98" fmla="*/ 42359 w 404022"/>
                    <a:gd name="connsiteY98" fmla="*/ 255536 h 405186"/>
                    <a:gd name="connsiteX99" fmla="*/ 40492 w 404022"/>
                    <a:gd name="connsiteY99" fmla="*/ 260797 h 405186"/>
                    <a:gd name="connsiteX100" fmla="*/ 27544 w 404022"/>
                    <a:gd name="connsiteY100" fmla="*/ 285892 h 405186"/>
                    <a:gd name="connsiteX101" fmla="*/ 58459 w 404022"/>
                    <a:gd name="connsiteY101" fmla="*/ 316807 h 405186"/>
                    <a:gd name="connsiteX102" fmla="*/ 67042 w 404022"/>
                    <a:gd name="connsiteY102" fmla="*/ 315546 h 405186"/>
                    <a:gd name="connsiteX103" fmla="*/ 72037 w 404022"/>
                    <a:gd name="connsiteY103" fmla="*/ 316928 h 405186"/>
                    <a:gd name="connsiteX104" fmla="*/ 72958 w 404022"/>
                    <a:gd name="connsiteY104" fmla="*/ 322020 h 405186"/>
                    <a:gd name="connsiteX105" fmla="*/ 70703 w 404022"/>
                    <a:gd name="connsiteY105" fmla="*/ 333610 h 405186"/>
                    <a:gd name="connsiteX106" fmla="*/ 101618 w 404022"/>
                    <a:gd name="connsiteY106" fmla="*/ 364500 h 405186"/>
                    <a:gd name="connsiteX107" fmla="*/ 125792 w 404022"/>
                    <a:gd name="connsiteY107" fmla="*/ 352789 h 405186"/>
                    <a:gd name="connsiteX108" fmla="*/ 131417 w 404022"/>
                    <a:gd name="connsiteY108" fmla="*/ 351286 h 405186"/>
                    <a:gd name="connsiteX109" fmla="*/ 134472 w 404022"/>
                    <a:gd name="connsiteY109" fmla="*/ 356232 h 405186"/>
                    <a:gd name="connsiteX110" fmla="*/ 134302 w 404022"/>
                    <a:gd name="connsiteY110" fmla="*/ 359287 h 405186"/>
                    <a:gd name="connsiteX111" fmla="*/ 165217 w 404022"/>
                    <a:gd name="connsiteY111" fmla="*/ 390202 h 405186"/>
                    <a:gd name="connsiteX112" fmla="*/ 193513 w 404022"/>
                    <a:gd name="connsiteY112" fmla="*/ 371629 h 405186"/>
                    <a:gd name="connsiteX113" fmla="*/ 197877 w 404022"/>
                    <a:gd name="connsiteY113" fmla="*/ 368622 h 405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404022" h="405186">
                      <a:moveTo>
                        <a:pt x="232429" y="405186"/>
                      </a:moveTo>
                      <a:cubicBezTo>
                        <a:pt x="217493" y="405186"/>
                        <a:pt x="204060" y="396991"/>
                        <a:pt x="197004" y="384358"/>
                      </a:cubicBezTo>
                      <a:cubicBezTo>
                        <a:pt x="189415" y="394009"/>
                        <a:pt x="177728" y="399876"/>
                        <a:pt x="165096" y="399876"/>
                      </a:cubicBezTo>
                      <a:cubicBezTo>
                        <a:pt x="145189" y="399876"/>
                        <a:pt x="128580" y="385498"/>
                        <a:pt x="125089" y="366610"/>
                      </a:cubicBezTo>
                      <a:cubicBezTo>
                        <a:pt x="118275" y="371483"/>
                        <a:pt x="110104" y="374175"/>
                        <a:pt x="101497" y="374175"/>
                      </a:cubicBezTo>
                      <a:cubicBezTo>
                        <a:pt x="79068" y="374175"/>
                        <a:pt x="60835" y="355941"/>
                        <a:pt x="60835" y="333537"/>
                      </a:cubicBezTo>
                      <a:cubicBezTo>
                        <a:pt x="60835" y="331137"/>
                        <a:pt x="61053" y="328736"/>
                        <a:pt x="61490" y="326360"/>
                      </a:cubicBezTo>
                      <a:cubicBezTo>
                        <a:pt x="37995" y="328179"/>
                        <a:pt x="17700" y="309291"/>
                        <a:pt x="17700" y="285844"/>
                      </a:cubicBezTo>
                      <a:cubicBezTo>
                        <a:pt x="17700" y="276146"/>
                        <a:pt x="21216" y="266835"/>
                        <a:pt x="27399" y="259561"/>
                      </a:cubicBezTo>
                      <a:cubicBezTo>
                        <a:pt x="11444" y="253984"/>
                        <a:pt x="0" y="238684"/>
                        <a:pt x="0" y="221178"/>
                      </a:cubicBezTo>
                      <a:cubicBezTo>
                        <a:pt x="0" y="206824"/>
                        <a:pt x="7492" y="193852"/>
                        <a:pt x="19325" y="186602"/>
                      </a:cubicBezTo>
                      <a:cubicBezTo>
                        <a:pt x="9844" y="178989"/>
                        <a:pt x="4073" y="167326"/>
                        <a:pt x="4073" y="154936"/>
                      </a:cubicBezTo>
                      <a:cubicBezTo>
                        <a:pt x="4073" y="133866"/>
                        <a:pt x="20222" y="116505"/>
                        <a:pt x="40783" y="114493"/>
                      </a:cubicBezTo>
                      <a:cubicBezTo>
                        <a:pt x="38091" y="108964"/>
                        <a:pt x="36637" y="102830"/>
                        <a:pt x="36637" y="96623"/>
                      </a:cubicBezTo>
                      <a:cubicBezTo>
                        <a:pt x="36637" y="74219"/>
                        <a:pt x="54870" y="56010"/>
                        <a:pt x="77274" y="56010"/>
                      </a:cubicBezTo>
                      <a:cubicBezTo>
                        <a:pt x="81760" y="56010"/>
                        <a:pt x="86197" y="56761"/>
                        <a:pt x="90440" y="58216"/>
                      </a:cubicBezTo>
                      <a:cubicBezTo>
                        <a:pt x="91555" y="36782"/>
                        <a:pt x="109328" y="19688"/>
                        <a:pt x="131029" y="19688"/>
                      </a:cubicBezTo>
                      <a:cubicBezTo>
                        <a:pt x="140679" y="19688"/>
                        <a:pt x="149917" y="23155"/>
                        <a:pt x="157167" y="29241"/>
                      </a:cubicBezTo>
                      <a:cubicBezTo>
                        <a:pt x="162138" y="12390"/>
                        <a:pt x="177825" y="0"/>
                        <a:pt x="196107" y="0"/>
                      </a:cubicBezTo>
                      <a:cubicBezTo>
                        <a:pt x="211455" y="0"/>
                        <a:pt x="225155" y="8559"/>
                        <a:pt x="232041" y="21701"/>
                      </a:cubicBezTo>
                      <a:cubicBezTo>
                        <a:pt x="239654" y="13093"/>
                        <a:pt x="250662" y="8025"/>
                        <a:pt x="262446" y="8025"/>
                      </a:cubicBezTo>
                      <a:cubicBezTo>
                        <a:pt x="284850" y="8025"/>
                        <a:pt x="303059" y="26235"/>
                        <a:pt x="303059" y="48614"/>
                      </a:cubicBezTo>
                      <a:cubicBezTo>
                        <a:pt x="303059" y="49172"/>
                        <a:pt x="303035" y="49706"/>
                        <a:pt x="303035" y="50263"/>
                      </a:cubicBezTo>
                      <a:cubicBezTo>
                        <a:pt x="307545" y="48566"/>
                        <a:pt x="312346" y="47717"/>
                        <a:pt x="317243" y="47717"/>
                      </a:cubicBezTo>
                      <a:cubicBezTo>
                        <a:pt x="339647" y="47717"/>
                        <a:pt x="357881" y="65951"/>
                        <a:pt x="357881" y="88379"/>
                      </a:cubicBezTo>
                      <a:cubicBezTo>
                        <a:pt x="357881" y="95483"/>
                        <a:pt x="356062" y="102272"/>
                        <a:pt x="352619" y="108310"/>
                      </a:cubicBezTo>
                      <a:cubicBezTo>
                        <a:pt x="374393" y="109037"/>
                        <a:pt x="391899" y="126980"/>
                        <a:pt x="391899" y="148923"/>
                      </a:cubicBezTo>
                      <a:cubicBezTo>
                        <a:pt x="391899" y="160659"/>
                        <a:pt x="386783" y="171666"/>
                        <a:pt x="378248" y="179256"/>
                      </a:cubicBezTo>
                      <a:cubicBezTo>
                        <a:pt x="393354" y="185244"/>
                        <a:pt x="404022" y="200083"/>
                        <a:pt x="404022" y="217056"/>
                      </a:cubicBezTo>
                      <a:cubicBezTo>
                        <a:pt x="404022" y="236599"/>
                        <a:pt x="390153" y="252966"/>
                        <a:pt x="371726" y="256821"/>
                      </a:cubicBezTo>
                      <a:cubicBezTo>
                        <a:pt x="377375" y="263925"/>
                        <a:pt x="380576" y="272823"/>
                        <a:pt x="380576" y="282134"/>
                      </a:cubicBezTo>
                      <a:cubicBezTo>
                        <a:pt x="380576" y="304538"/>
                        <a:pt x="362342" y="322772"/>
                        <a:pt x="339914" y="322772"/>
                      </a:cubicBezTo>
                      <a:cubicBezTo>
                        <a:pt x="337853" y="322772"/>
                        <a:pt x="335841" y="322626"/>
                        <a:pt x="333852" y="322311"/>
                      </a:cubicBezTo>
                      <a:cubicBezTo>
                        <a:pt x="335235" y="326409"/>
                        <a:pt x="335938" y="330701"/>
                        <a:pt x="335938" y="335113"/>
                      </a:cubicBezTo>
                      <a:cubicBezTo>
                        <a:pt x="335938" y="357541"/>
                        <a:pt x="317704" y="375775"/>
                        <a:pt x="295300" y="375775"/>
                      </a:cubicBezTo>
                      <a:cubicBezTo>
                        <a:pt x="287202" y="375775"/>
                        <a:pt x="279419" y="373399"/>
                        <a:pt x="272872" y="369034"/>
                      </a:cubicBezTo>
                      <a:cubicBezTo>
                        <a:pt x="270666" y="389280"/>
                        <a:pt x="253378" y="405186"/>
                        <a:pt x="232429" y="405186"/>
                      </a:cubicBezTo>
                      <a:close/>
                      <a:moveTo>
                        <a:pt x="197877" y="368622"/>
                      </a:moveTo>
                      <a:cubicBezTo>
                        <a:pt x="197998" y="368622"/>
                        <a:pt x="198120" y="368622"/>
                        <a:pt x="198265" y="368646"/>
                      </a:cubicBezTo>
                      <a:cubicBezTo>
                        <a:pt x="200326" y="368816"/>
                        <a:pt x="202072" y="370271"/>
                        <a:pt x="202605" y="372283"/>
                      </a:cubicBezTo>
                      <a:cubicBezTo>
                        <a:pt x="206145" y="385910"/>
                        <a:pt x="218438" y="395439"/>
                        <a:pt x="232453" y="395439"/>
                      </a:cubicBezTo>
                      <a:cubicBezTo>
                        <a:pt x="249498" y="395439"/>
                        <a:pt x="263367" y="381570"/>
                        <a:pt x="263367" y="364525"/>
                      </a:cubicBezTo>
                      <a:cubicBezTo>
                        <a:pt x="263367" y="362633"/>
                        <a:pt x="263174" y="360621"/>
                        <a:pt x="262761" y="358439"/>
                      </a:cubicBezTo>
                      <a:cubicBezTo>
                        <a:pt x="262349" y="356256"/>
                        <a:pt x="263489" y="354050"/>
                        <a:pt x="265525" y="353129"/>
                      </a:cubicBezTo>
                      <a:cubicBezTo>
                        <a:pt x="267538" y="352207"/>
                        <a:pt x="269938" y="352765"/>
                        <a:pt x="271345" y="354486"/>
                      </a:cubicBezTo>
                      <a:cubicBezTo>
                        <a:pt x="277236" y="361760"/>
                        <a:pt x="285965" y="365931"/>
                        <a:pt x="295300" y="365931"/>
                      </a:cubicBezTo>
                      <a:cubicBezTo>
                        <a:pt x="312321" y="365931"/>
                        <a:pt x="326191" y="352062"/>
                        <a:pt x="326191" y="335016"/>
                      </a:cubicBezTo>
                      <a:cubicBezTo>
                        <a:pt x="326191" y="328567"/>
                        <a:pt x="324178" y="322360"/>
                        <a:pt x="320396" y="317098"/>
                      </a:cubicBezTo>
                      <a:cubicBezTo>
                        <a:pt x="319329" y="315619"/>
                        <a:pt x="319183" y="313655"/>
                        <a:pt x="320008" y="312030"/>
                      </a:cubicBezTo>
                      <a:cubicBezTo>
                        <a:pt x="320565" y="310964"/>
                        <a:pt x="321462" y="310163"/>
                        <a:pt x="322554" y="309727"/>
                      </a:cubicBezTo>
                      <a:cubicBezTo>
                        <a:pt x="323814" y="309218"/>
                        <a:pt x="325318" y="309242"/>
                        <a:pt x="326554" y="309848"/>
                      </a:cubicBezTo>
                      <a:cubicBezTo>
                        <a:pt x="330749" y="311885"/>
                        <a:pt x="335259" y="312928"/>
                        <a:pt x="339938" y="312928"/>
                      </a:cubicBezTo>
                      <a:cubicBezTo>
                        <a:pt x="356984" y="312928"/>
                        <a:pt x="370853" y="299083"/>
                        <a:pt x="370853" y="282037"/>
                      </a:cubicBezTo>
                      <a:cubicBezTo>
                        <a:pt x="370853" y="271854"/>
                        <a:pt x="365834" y="262325"/>
                        <a:pt x="357420" y="256554"/>
                      </a:cubicBezTo>
                      <a:cubicBezTo>
                        <a:pt x="355578" y="255293"/>
                        <a:pt x="354826" y="252966"/>
                        <a:pt x="355602" y="250880"/>
                      </a:cubicBezTo>
                      <a:cubicBezTo>
                        <a:pt x="356353" y="248795"/>
                        <a:pt x="358463" y="247510"/>
                        <a:pt x="360645" y="247680"/>
                      </a:cubicBezTo>
                      <a:cubicBezTo>
                        <a:pt x="361566" y="247777"/>
                        <a:pt x="362488" y="247825"/>
                        <a:pt x="363434" y="247825"/>
                      </a:cubicBezTo>
                      <a:cubicBezTo>
                        <a:pt x="380455" y="247825"/>
                        <a:pt x="394300" y="233980"/>
                        <a:pt x="394300" y="216959"/>
                      </a:cubicBezTo>
                      <a:cubicBezTo>
                        <a:pt x="394300" y="200957"/>
                        <a:pt x="381812" y="187427"/>
                        <a:pt x="365882" y="186190"/>
                      </a:cubicBezTo>
                      <a:cubicBezTo>
                        <a:pt x="363336" y="185996"/>
                        <a:pt x="361397" y="183862"/>
                        <a:pt x="361397" y="181341"/>
                      </a:cubicBezTo>
                      <a:cubicBezTo>
                        <a:pt x="361397" y="179425"/>
                        <a:pt x="362512" y="177655"/>
                        <a:pt x="364234" y="176855"/>
                      </a:cubicBezTo>
                      <a:cubicBezTo>
                        <a:pt x="375145" y="171836"/>
                        <a:pt x="382176" y="160828"/>
                        <a:pt x="382176" y="148850"/>
                      </a:cubicBezTo>
                      <a:cubicBezTo>
                        <a:pt x="382176" y="131805"/>
                        <a:pt x="368331" y="117960"/>
                        <a:pt x="351310" y="117960"/>
                      </a:cubicBezTo>
                      <a:cubicBezTo>
                        <a:pt x="348740" y="117960"/>
                        <a:pt x="346121" y="118299"/>
                        <a:pt x="343284" y="119027"/>
                      </a:cubicBezTo>
                      <a:cubicBezTo>
                        <a:pt x="341248" y="119536"/>
                        <a:pt x="339065" y="118687"/>
                        <a:pt x="337950" y="116893"/>
                      </a:cubicBezTo>
                      <a:cubicBezTo>
                        <a:pt x="337877" y="116772"/>
                        <a:pt x="337659" y="116408"/>
                        <a:pt x="337586" y="116287"/>
                      </a:cubicBezTo>
                      <a:cubicBezTo>
                        <a:pt x="336641" y="114371"/>
                        <a:pt x="337029" y="112068"/>
                        <a:pt x="338581" y="110589"/>
                      </a:cubicBezTo>
                      <a:cubicBezTo>
                        <a:pt x="344763" y="104648"/>
                        <a:pt x="348182" y="96744"/>
                        <a:pt x="348182" y="88306"/>
                      </a:cubicBezTo>
                      <a:cubicBezTo>
                        <a:pt x="348182" y="71261"/>
                        <a:pt x="334313" y="57392"/>
                        <a:pt x="317292" y="57392"/>
                      </a:cubicBezTo>
                      <a:cubicBezTo>
                        <a:pt x="310891" y="57392"/>
                        <a:pt x="304732" y="59356"/>
                        <a:pt x="299495" y="63041"/>
                      </a:cubicBezTo>
                      <a:cubicBezTo>
                        <a:pt x="297798" y="64229"/>
                        <a:pt x="295519" y="64229"/>
                        <a:pt x="293821" y="62993"/>
                      </a:cubicBezTo>
                      <a:cubicBezTo>
                        <a:pt x="292124" y="61781"/>
                        <a:pt x="291421" y="59623"/>
                        <a:pt x="292003" y="57634"/>
                      </a:cubicBezTo>
                      <a:cubicBezTo>
                        <a:pt x="292900" y="54652"/>
                        <a:pt x="293361" y="51694"/>
                        <a:pt x="293361" y="48566"/>
                      </a:cubicBezTo>
                      <a:cubicBezTo>
                        <a:pt x="293361" y="31569"/>
                        <a:pt x="279516" y="17724"/>
                        <a:pt x="262495" y="17724"/>
                      </a:cubicBezTo>
                      <a:cubicBezTo>
                        <a:pt x="251002" y="17724"/>
                        <a:pt x="240527" y="24053"/>
                        <a:pt x="235144" y="34261"/>
                      </a:cubicBezTo>
                      <a:cubicBezTo>
                        <a:pt x="234199" y="36055"/>
                        <a:pt x="232283" y="37073"/>
                        <a:pt x="230246" y="36831"/>
                      </a:cubicBezTo>
                      <a:cubicBezTo>
                        <a:pt x="228234" y="36588"/>
                        <a:pt x="226585" y="35133"/>
                        <a:pt x="226100" y="33169"/>
                      </a:cubicBezTo>
                      <a:cubicBezTo>
                        <a:pt x="222657" y="19373"/>
                        <a:pt x="210340" y="9723"/>
                        <a:pt x="196156" y="9723"/>
                      </a:cubicBezTo>
                      <a:cubicBezTo>
                        <a:pt x="179474" y="9723"/>
                        <a:pt x="165629" y="23325"/>
                        <a:pt x="165314" y="40031"/>
                      </a:cubicBezTo>
                      <a:cubicBezTo>
                        <a:pt x="165265" y="42141"/>
                        <a:pt x="163883" y="43984"/>
                        <a:pt x="161847" y="44590"/>
                      </a:cubicBezTo>
                      <a:cubicBezTo>
                        <a:pt x="159810" y="45196"/>
                        <a:pt x="157628" y="44444"/>
                        <a:pt x="156440" y="42723"/>
                      </a:cubicBezTo>
                      <a:cubicBezTo>
                        <a:pt x="150645" y="34382"/>
                        <a:pt x="141140" y="29411"/>
                        <a:pt x="131077" y="29411"/>
                      </a:cubicBezTo>
                      <a:cubicBezTo>
                        <a:pt x="114056" y="29411"/>
                        <a:pt x="100187" y="43280"/>
                        <a:pt x="100187" y="60326"/>
                      </a:cubicBezTo>
                      <a:cubicBezTo>
                        <a:pt x="100187" y="61829"/>
                        <a:pt x="100333" y="63429"/>
                        <a:pt x="100648" y="65248"/>
                      </a:cubicBezTo>
                      <a:cubicBezTo>
                        <a:pt x="100963" y="67115"/>
                        <a:pt x="100163" y="69030"/>
                        <a:pt x="98587" y="70097"/>
                      </a:cubicBezTo>
                      <a:cubicBezTo>
                        <a:pt x="97011" y="71164"/>
                        <a:pt x="94950" y="71212"/>
                        <a:pt x="93325" y="70243"/>
                      </a:cubicBezTo>
                      <a:cubicBezTo>
                        <a:pt x="88500" y="67309"/>
                        <a:pt x="82972" y="65757"/>
                        <a:pt x="77347" y="65757"/>
                      </a:cubicBezTo>
                      <a:cubicBezTo>
                        <a:pt x="60326" y="65757"/>
                        <a:pt x="46457" y="79602"/>
                        <a:pt x="46457" y="96623"/>
                      </a:cubicBezTo>
                      <a:cubicBezTo>
                        <a:pt x="46457" y="103946"/>
                        <a:pt x="48954" y="110783"/>
                        <a:pt x="53658" y="116457"/>
                      </a:cubicBezTo>
                      <a:cubicBezTo>
                        <a:pt x="54943" y="118008"/>
                        <a:pt x="55137" y="120191"/>
                        <a:pt x="54167" y="121961"/>
                      </a:cubicBezTo>
                      <a:cubicBezTo>
                        <a:pt x="53173" y="123706"/>
                        <a:pt x="51233" y="124676"/>
                        <a:pt x="49221" y="124410"/>
                      </a:cubicBezTo>
                      <a:cubicBezTo>
                        <a:pt x="47766" y="124191"/>
                        <a:pt x="46311" y="124070"/>
                        <a:pt x="44832" y="124070"/>
                      </a:cubicBezTo>
                      <a:cubicBezTo>
                        <a:pt x="27787" y="124070"/>
                        <a:pt x="13918" y="137915"/>
                        <a:pt x="13918" y="154936"/>
                      </a:cubicBezTo>
                      <a:cubicBezTo>
                        <a:pt x="13918" y="166793"/>
                        <a:pt x="20876" y="177752"/>
                        <a:pt x="31642" y="182844"/>
                      </a:cubicBezTo>
                      <a:cubicBezTo>
                        <a:pt x="33436" y="183693"/>
                        <a:pt x="34552" y="185560"/>
                        <a:pt x="34430" y="187548"/>
                      </a:cubicBezTo>
                      <a:cubicBezTo>
                        <a:pt x="34309" y="189536"/>
                        <a:pt x="32975" y="191258"/>
                        <a:pt x="31084" y="191888"/>
                      </a:cubicBezTo>
                      <a:cubicBezTo>
                        <a:pt x="18379" y="196059"/>
                        <a:pt x="9844" y="207842"/>
                        <a:pt x="9844" y="221202"/>
                      </a:cubicBezTo>
                      <a:cubicBezTo>
                        <a:pt x="9844" y="237084"/>
                        <a:pt x="22234" y="250589"/>
                        <a:pt x="38067" y="251971"/>
                      </a:cubicBezTo>
                      <a:cubicBezTo>
                        <a:pt x="40104" y="252141"/>
                        <a:pt x="41801" y="253572"/>
                        <a:pt x="42359" y="255536"/>
                      </a:cubicBezTo>
                      <a:cubicBezTo>
                        <a:pt x="42892" y="257500"/>
                        <a:pt x="42141" y="259609"/>
                        <a:pt x="40492" y="260797"/>
                      </a:cubicBezTo>
                      <a:cubicBezTo>
                        <a:pt x="32369" y="266592"/>
                        <a:pt x="27544" y="275976"/>
                        <a:pt x="27544" y="285892"/>
                      </a:cubicBezTo>
                      <a:cubicBezTo>
                        <a:pt x="27544" y="302938"/>
                        <a:pt x="41413" y="316807"/>
                        <a:pt x="58459" y="316807"/>
                      </a:cubicBezTo>
                      <a:cubicBezTo>
                        <a:pt x="61368" y="316807"/>
                        <a:pt x="64181" y="316395"/>
                        <a:pt x="67042" y="315546"/>
                      </a:cubicBezTo>
                      <a:cubicBezTo>
                        <a:pt x="68836" y="314988"/>
                        <a:pt x="70776" y="315546"/>
                        <a:pt x="72037" y="316928"/>
                      </a:cubicBezTo>
                      <a:cubicBezTo>
                        <a:pt x="73298" y="318310"/>
                        <a:pt x="73637" y="320274"/>
                        <a:pt x="72958" y="322020"/>
                      </a:cubicBezTo>
                      <a:cubicBezTo>
                        <a:pt x="71455" y="325778"/>
                        <a:pt x="70703" y="329682"/>
                        <a:pt x="70703" y="333610"/>
                      </a:cubicBezTo>
                      <a:cubicBezTo>
                        <a:pt x="70703" y="350631"/>
                        <a:pt x="84572" y="364500"/>
                        <a:pt x="101618" y="364500"/>
                      </a:cubicBezTo>
                      <a:cubicBezTo>
                        <a:pt x="111074" y="364500"/>
                        <a:pt x="119900" y="360233"/>
                        <a:pt x="125792" y="352789"/>
                      </a:cubicBezTo>
                      <a:cubicBezTo>
                        <a:pt x="127125" y="351092"/>
                        <a:pt x="129405" y="350510"/>
                        <a:pt x="131417" y="351286"/>
                      </a:cubicBezTo>
                      <a:cubicBezTo>
                        <a:pt x="133405" y="352086"/>
                        <a:pt x="134666" y="354074"/>
                        <a:pt x="134472" y="356232"/>
                      </a:cubicBezTo>
                      <a:cubicBezTo>
                        <a:pt x="134375" y="357275"/>
                        <a:pt x="134302" y="358293"/>
                        <a:pt x="134302" y="359287"/>
                      </a:cubicBezTo>
                      <a:cubicBezTo>
                        <a:pt x="134302" y="376333"/>
                        <a:pt x="148171" y="390202"/>
                        <a:pt x="165217" y="390202"/>
                      </a:cubicBezTo>
                      <a:cubicBezTo>
                        <a:pt x="177486" y="390202"/>
                        <a:pt x="188591" y="382928"/>
                        <a:pt x="193513" y="371629"/>
                      </a:cubicBezTo>
                      <a:cubicBezTo>
                        <a:pt x="194192" y="369786"/>
                        <a:pt x="195937" y="368622"/>
                        <a:pt x="197877" y="368622"/>
                      </a:cubicBezTo>
                      <a:close/>
                    </a:path>
                  </a:pathLst>
                </a:custGeom>
                <a:grpFill/>
                <a:ln w="2422" cap="flat">
                  <a:noFill/>
                  <a:prstDash val="solid"/>
                  <a:miter/>
                </a:ln>
              </p:spPr>
              <p:txBody>
                <a:bodyPr rtlCol="0" anchor="ctr"/>
                <a:lstStyle/>
                <a:p>
                  <a:endParaRPr lang="en-GB" dirty="0"/>
                </a:p>
              </p:txBody>
            </p:sp>
            <p:sp>
              <p:nvSpPr>
                <p:cNvPr id="445" name="Freihandform: Form 1214">
                  <a:extLst>
                    <a:ext uri="{FF2B5EF4-FFF2-40B4-BE49-F238E27FC236}">
                      <a16:creationId xmlns:a16="http://schemas.microsoft.com/office/drawing/2014/main" id="{4D3F2514-1D9C-4F85-80BC-A361D9861646}"/>
                    </a:ext>
                  </a:extLst>
                </p:cNvPr>
                <p:cNvSpPr/>
                <p:nvPr/>
              </p:nvSpPr>
              <p:spPr>
                <a:xfrm>
                  <a:off x="7850624" y="4217855"/>
                  <a:ext cx="270665" cy="270689"/>
                </a:xfrm>
                <a:custGeom>
                  <a:avLst/>
                  <a:gdLst>
                    <a:gd name="connsiteX0" fmla="*/ 135345 w 270665"/>
                    <a:gd name="connsiteY0" fmla="*/ 270690 h 270689"/>
                    <a:gd name="connsiteX1" fmla="*/ 0 w 270665"/>
                    <a:gd name="connsiteY1" fmla="*/ 135369 h 270689"/>
                    <a:gd name="connsiteX2" fmla="*/ 135345 w 270665"/>
                    <a:gd name="connsiteY2" fmla="*/ 0 h 270689"/>
                    <a:gd name="connsiteX3" fmla="*/ 270666 w 270665"/>
                    <a:gd name="connsiteY3" fmla="*/ 135369 h 270689"/>
                    <a:gd name="connsiteX4" fmla="*/ 135345 w 270665"/>
                    <a:gd name="connsiteY4" fmla="*/ 270690 h 270689"/>
                    <a:gd name="connsiteX5" fmla="*/ 135345 w 270665"/>
                    <a:gd name="connsiteY5" fmla="*/ 9747 h 270689"/>
                    <a:gd name="connsiteX6" fmla="*/ 9747 w 270665"/>
                    <a:gd name="connsiteY6" fmla="*/ 135369 h 270689"/>
                    <a:gd name="connsiteX7" fmla="*/ 135345 w 270665"/>
                    <a:gd name="connsiteY7" fmla="*/ 260943 h 270689"/>
                    <a:gd name="connsiteX8" fmla="*/ 260918 w 270665"/>
                    <a:gd name="connsiteY8" fmla="*/ 135369 h 270689"/>
                    <a:gd name="connsiteX9" fmla="*/ 135345 w 270665"/>
                    <a:gd name="connsiteY9" fmla="*/ 9747 h 270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0665" h="270689">
                      <a:moveTo>
                        <a:pt x="135345" y="270690"/>
                      </a:moveTo>
                      <a:cubicBezTo>
                        <a:pt x="60714" y="270690"/>
                        <a:pt x="0" y="209976"/>
                        <a:pt x="0" y="135369"/>
                      </a:cubicBezTo>
                      <a:cubicBezTo>
                        <a:pt x="0" y="60738"/>
                        <a:pt x="60714" y="0"/>
                        <a:pt x="135345" y="0"/>
                      </a:cubicBezTo>
                      <a:cubicBezTo>
                        <a:pt x="209976" y="0"/>
                        <a:pt x="270666" y="60714"/>
                        <a:pt x="270666" y="135369"/>
                      </a:cubicBezTo>
                      <a:cubicBezTo>
                        <a:pt x="270690" y="209976"/>
                        <a:pt x="209976" y="270690"/>
                        <a:pt x="135345" y="270690"/>
                      </a:cubicBezTo>
                      <a:close/>
                      <a:moveTo>
                        <a:pt x="135345" y="9747"/>
                      </a:moveTo>
                      <a:cubicBezTo>
                        <a:pt x="66096" y="9747"/>
                        <a:pt x="9747" y="66096"/>
                        <a:pt x="9747" y="135369"/>
                      </a:cubicBezTo>
                      <a:cubicBezTo>
                        <a:pt x="9747" y="204618"/>
                        <a:pt x="66096" y="260943"/>
                        <a:pt x="135345" y="260943"/>
                      </a:cubicBezTo>
                      <a:cubicBezTo>
                        <a:pt x="204594" y="260943"/>
                        <a:pt x="260918" y="204618"/>
                        <a:pt x="260918" y="135369"/>
                      </a:cubicBezTo>
                      <a:cubicBezTo>
                        <a:pt x="260943" y="66096"/>
                        <a:pt x="204594" y="9747"/>
                        <a:pt x="135345" y="9747"/>
                      </a:cubicBezTo>
                      <a:close/>
                    </a:path>
                  </a:pathLst>
                </a:custGeom>
                <a:grpFill/>
                <a:ln w="2422" cap="flat">
                  <a:noFill/>
                  <a:prstDash val="solid"/>
                  <a:miter/>
                </a:ln>
              </p:spPr>
              <p:txBody>
                <a:bodyPr rtlCol="0" anchor="ctr"/>
                <a:lstStyle/>
                <a:p>
                  <a:endParaRPr lang="en-GB" dirty="0"/>
                </a:p>
              </p:txBody>
            </p:sp>
          </p:grpSp>
          <p:grpSp>
            <p:nvGrpSpPr>
              <p:cNvPr id="441" name="Grafik 22">
                <a:extLst>
                  <a:ext uri="{FF2B5EF4-FFF2-40B4-BE49-F238E27FC236}">
                    <a16:creationId xmlns:a16="http://schemas.microsoft.com/office/drawing/2014/main" id="{3294BDB3-4251-46A7-B5BF-E448C643C67D}"/>
                  </a:ext>
                </a:extLst>
              </p:cNvPr>
              <p:cNvGrpSpPr/>
              <p:nvPr/>
            </p:nvGrpSpPr>
            <p:grpSpPr>
              <a:xfrm>
                <a:off x="7899384" y="4250358"/>
                <a:ext cx="172466" cy="164089"/>
                <a:chOff x="7899384" y="4250358"/>
                <a:chExt cx="172466" cy="164089"/>
              </a:xfrm>
              <a:grpFill/>
            </p:grpSpPr>
            <p:sp>
              <p:nvSpPr>
                <p:cNvPr id="442" name="Freihandform: Form 1216">
                  <a:extLst>
                    <a:ext uri="{FF2B5EF4-FFF2-40B4-BE49-F238E27FC236}">
                      <a16:creationId xmlns:a16="http://schemas.microsoft.com/office/drawing/2014/main" id="{07A98734-4BC2-4D36-99AB-8A0268CBD802}"/>
                    </a:ext>
                  </a:extLst>
                </p:cNvPr>
                <p:cNvSpPr/>
                <p:nvPr/>
              </p:nvSpPr>
              <p:spPr>
                <a:xfrm>
                  <a:off x="7956218" y="4250358"/>
                  <a:ext cx="115632" cy="164089"/>
                </a:xfrm>
                <a:custGeom>
                  <a:avLst/>
                  <a:gdLst>
                    <a:gd name="connsiteX0" fmla="*/ 40225 w 115632"/>
                    <a:gd name="connsiteY0" fmla="*/ 164089 h 164089"/>
                    <a:gd name="connsiteX1" fmla="*/ 27132 w 115632"/>
                    <a:gd name="connsiteY1" fmla="*/ 159725 h 164089"/>
                    <a:gd name="connsiteX2" fmla="*/ 23519 w 115632"/>
                    <a:gd name="connsiteY2" fmla="*/ 152136 h 164089"/>
                    <a:gd name="connsiteX3" fmla="*/ 4898 w 115632"/>
                    <a:gd name="connsiteY3" fmla="*/ 152136 h 164089"/>
                    <a:gd name="connsiteX4" fmla="*/ 24 w 115632"/>
                    <a:gd name="connsiteY4" fmla="*/ 147262 h 164089"/>
                    <a:gd name="connsiteX5" fmla="*/ 4898 w 115632"/>
                    <a:gd name="connsiteY5" fmla="*/ 142389 h 164089"/>
                    <a:gd name="connsiteX6" fmla="*/ 28345 w 115632"/>
                    <a:gd name="connsiteY6" fmla="*/ 142389 h 164089"/>
                    <a:gd name="connsiteX7" fmla="*/ 33218 w 115632"/>
                    <a:gd name="connsiteY7" fmla="*/ 147262 h 164089"/>
                    <a:gd name="connsiteX8" fmla="*/ 33194 w 115632"/>
                    <a:gd name="connsiteY8" fmla="*/ 150875 h 164089"/>
                    <a:gd name="connsiteX9" fmla="*/ 33824 w 115632"/>
                    <a:gd name="connsiteY9" fmla="*/ 152621 h 164089"/>
                    <a:gd name="connsiteX10" fmla="*/ 40977 w 115632"/>
                    <a:gd name="connsiteY10" fmla="*/ 154294 h 164089"/>
                    <a:gd name="connsiteX11" fmla="*/ 103412 w 115632"/>
                    <a:gd name="connsiteY11" fmla="*/ 154124 h 164089"/>
                    <a:gd name="connsiteX12" fmla="*/ 105910 w 115632"/>
                    <a:gd name="connsiteY12" fmla="*/ 147626 h 164089"/>
                    <a:gd name="connsiteX13" fmla="*/ 103412 w 115632"/>
                    <a:gd name="connsiteY13" fmla="*/ 141128 h 164089"/>
                    <a:gd name="connsiteX14" fmla="*/ 99193 w 115632"/>
                    <a:gd name="connsiteY14" fmla="*/ 141128 h 164089"/>
                    <a:gd name="connsiteX15" fmla="*/ 94320 w 115632"/>
                    <a:gd name="connsiteY15" fmla="*/ 136254 h 164089"/>
                    <a:gd name="connsiteX16" fmla="*/ 99193 w 115632"/>
                    <a:gd name="connsiteY16" fmla="*/ 130969 h 164089"/>
                    <a:gd name="connsiteX17" fmla="*/ 102297 w 115632"/>
                    <a:gd name="connsiteY17" fmla="*/ 130969 h 164089"/>
                    <a:gd name="connsiteX18" fmla="*/ 105934 w 115632"/>
                    <a:gd name="connsiteY18" fmla="*/ 123064 h 164089"/>
                    <a:gd name="connsiteX19" fmla="*/ 102297 w 115632"/>
                    <a:gd name="connsiteY19" fmla="*/ 115160 h 164089"/>
                    <a:gd name="connsiteX20" fmla="*/ 99193 w 115632"/>
                    <a:gd name="connsiteY20" fmla="*/ 115160 h 164089"/>
                    <a:gd name="connsiteX21" fmla="*/ 94320 w 115632"/>
                    <a:gd name="connsiteY21" fmla="*/ 110286 h 164089"/>
                    <a:gd name="connsiteX22" fmla="*/ 94320 w 115632"/>
                    <a:gd name="connsiteY22" fmla="*/ 109631 h 164089"/>
                    <a:gd name="connsiteX23" fmla="*/ 99193 w 115632"/>
                    <a:gd name="connsiteY23" fmla="*/ 104758 h 164089"/>
                    <a:gd name="connsiteX24" fmla="*/ 102297 w 115632"/>
                    <a:gd name="connsiteY24" fmla="*/ 104758 h 164089"/>
                    <a:gd name="connsiteX25" fmla="*/ 105934 w 115632"/>
                    <a:gd name="connsiteY25" fmla="*/ 97120 h 164089"/>
                    <a:gd name="connsiteX26" fmla="*/ 102297 w 115632"/>
                    <a:gd name="connsiteY26" fmla="*/ 89434 h 164089"/>
                    <a:gd name="connsiteX27" fmla="*/ 99193 w 115632"/>
                    <a:gd name="connsiteY27" fmla="*/ 89434 h 164089"/>
                    <a:gd name="connsiteX28" fmla="*/ 94320 w 115632"/>
                    <a:gd name="connsiteY28" fmla="*/ 84560 h 164089"/>
                    <a:gd name="connsiteX29" fmla="*/ 94320 w 115632"/>
                    <a:gd name="connsiteY29" fmla="*/ 83833 h 164089"/>
                    <a:gd name="connsiteX30" fmla="*/ 99193 w 115632"/>
                    <a:gd name="connsiteY30" fmla="*/ 78959 h 164089"/>
                    <a:gd name="connsiteX31" fmla="*/ 102297 w 115632"/>
                    <a:gd name="connsiteY31" fmla="*/ 78959 h 164089"/>
                    <a:gd name="connsiteX32" fmla="*/ 105934 w 115632"/>
                    <a:gd name="connsiteY32" fmla="*/ 72485 h 164089"/>
                    <a:gd name="connsiteX33" fmla="*/ 102297 w 115632"/>
                    <a:gd name="connsiteY33" fmla="*/ 66012 h 164089"/>
                    <a:gd name="connsiteX34" fmla="*/ 62023 w 115632"/>
                    <a:gd name="connsiteY34" fmla="*/ 66012 h 164089"/>
                    <a:gd name="connsiteX35" fmla="*/ 58095 w 115632"/>
                    <a:gd name="connsiteY35" fmla="*/ 64023 h 164089"/>
                    <a:gd name="connsiteX36" fmla="*/ 57368 w 115632"/>
                    <a:gd name="connsiteY36" fmla="*/ 59683 h 164089"/>
                    <a:gd name="connsiteX37" fmla="*/ 57853 w 115632"/>
                    <a:gd name="connsiteY37" fmla="*/ 58228 h 164089"/>
                    <a:gd name="connsiteX38" fmla="*/ 67333 w 115632"/>
                    <a:gd name="connsiteY38" fmla="*/ 22465 h 164089"/>
                    <a:gd name="connsiteX39" fmla="*/ 67333 w 115632"/>
                    <a:gd name="connsiteY39" fmla="*/ 21737 h 164089"/>
                    <a:gd name="connsiteX40" fmla="*/ 65199 w 115632"/>
                    <a:gd name="connsiteY40" fmla="*/ 10656 h 164089"/>
                    <a:gd name="connsiteX41" fmla="*/ 62387 w 115632"/>
                    <a:gd name="connsiteY41" fmla="*/ 9808 h 164089"/>
                    <a:gd name="connsiteX42" fmla="*/ 58822 w 115632"/>
                    <a:gd name="connsiteY42" fmla="*/ 11772 h 164089"/>
                    <a:gd name="connsiteX43" fmla="*/ 43717 w 115632"/>
                    <a:gd name="connsiteY43" fmla="*/ 46590 h 164089"/>
                    <a:gd name="connsiteX44" fmla="*/ 41850 w 115632"/>
                    <a:gd name="connsiteY44" fmla="*/ 49887 h 164089"/>
                    <a:gd name="connsiteX45" fmla="*/ 33145 w 115632"/>
                    <a:gd name="connsiteY45" fmla="*/ 64751 h 164089"/>
                    <a:gd name="connsiteX46" fmla="*/ 33073 w 115632"/>
                    <a:gd name="connsiteY46" fmla="*/ 68654 h 164089"/>
                    <a:gd name="connsiteX47" fmla="*/ 28199 w 115632"/>
                    <a:gd name="connsiteY47" fmla="*/ 73577 h 164089"/>
                    <a:gd name="connsiteX48" fmla="*/ 4874 w 115632"/>
                    <a:gd name="connsiteY48" fmla="*/ 73577 h 164089"/>
                    <a:gd name="connsiteX49" fmla="*/ 0 w 115632"/>
                    <a:gd name="connsiteY49" fmla="*/ 68703 h 164089"/>
                    <a:gd name="connsiteX50" fmla="*/ 4874 w 115632"/>
                    <a:gd name="connsiteY50" fmla="*/ 63829 h 164089"/>
                    <a:gd name="connsiteX51" fmla="*/ 23422 w 115632"/>
                    <a:gd name="connsiteY51" fmla="*/ 63563 h 164089"/>
                    <a:gd name="connsiteX52" fmla="*/ 24708 w 115632"/>
                    <a:gd name="connsiteY52" fmla="*/ 59853 h 164089"/>
                    <a:gd name="connsiteX53" fmla="*/ 33412 w 115632"/>
                    <a:gd name="connsiteY53" fmla="*/ 44990 h 164089"/>
                    <a:gd name="connsiteX54" fmla="*/ 35230 w 115632"/>
                    <a:gd name="connsiteY54" fmla="*/ 41765 h 164089"/>
                    <a:gd name="connsiteX55" fmla="*/ 49609 w 115632"/>
                    <a:gd name="connsiteY55" fmla="*/ 8547 h 164089"/>
                    <a:gd name="connsiteX56" fmla="*/ 61320 w 115632"/>
                    <a:gd name="connsiteY56" fmla="*/ 85 h 164089"/>
                    <a:gd name="connsiteX57" fmla="*/ 71964 w 115632"/>
                    <a:gd name="connsiteY57" fmla="*/ 3601 h 164089"/>
                    <a:gd name="connsiteX58" fmla="*/ 77056 w 115632"/>
                    <a:gd name="connsiteY58" fmla="*/ 22198 h 164089"/>
                    <a:gd name="connsiteX59" fmla="*/ 68594 w 115632"/>
                    <a:gd name="connsiteY59" fmla="*/ 56240 h 164089"/>
                    <a:gd name="connsiteX60" fmla="*/ 102248 w 115632"/>
                    <a:gd name="connsiteY60" fmla="*/ 56240 h 164089"/>
                    <a:gd name="connsiteX61" fmla="*/ 115633 w 115632"/>
                    <a:gd name="connsiteY61" fmla="*/ 72461 h 164089"/>
                    <a:gd name="connsiteX62" fmla="*/ 111462 w 115632"/>
                    <a:gd name="connsiteY62" fmla="*/ 84342 h 164089"/>
                    <a:gd name="connsiteX63" fmla="*/ 115633 w 115632"/>
                    <a:gd name="connsiteY63" fmla="*/ 97096 h 164089"/>
                    <a:gd name="connsiteX64" fmla="*/ 111341 w 115632"/>
                    <a:gd name="connsiteY64" fmla="*/ 109971 h 164089"/>
                    <a:gd name="connsiteX65" fmla="*/ 115633 w 115632"/>
                    <a:gd name="connsiteY65" fmla="*/ 123040 h 164089"/>
                    <a:gd name="connsiteX66" fmla="*/ 111729 w 115632"/>
                    <a:gd name="connsiteY66" fmla="*/ 135599 h 164089"/>
                    <a:gd name="connsiteX67" fmla="*/ 115633 w 115632"/>
                    <a:gd name="connsiteY67" fmla="*/ 147577 h 164089"/>
                    <a:gd name="connsiteX68" fmla="*/ 103388 w 115632"/>
                    <a:gd name="connsiteY68" fmla="*/ 163823 h 164089"/>
                    <a:gd name="connsiteX69" fmla="*/ 41292 w 115632"/>
                    <a:gd name="connsiteY69" fmla="*/ 163968 h 164089"/>
                    <a:gd name="connsiteX70" fmla="*/ 40225 w 115632"/>
                    <a:gd name="connsiteY70" fmla="*/ 164089 h 164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115632" h="164089">
                      <a:moveTo>
                        <a:pt x="40225" y="164089"/>
                      </a:moveTo>
                      <a:cubicBezTo>
                        <a:pt x="37655" y="164089"/>
                        <a:pt x="31278" y="163653"/>
                        <a:pt x="27132" y="159725"/>
                      </a:cubicBezTo>
                      <a:cubicBezTo>
                        <a:pt x="25023" y="157737"/>
                        <a:pt x="23786" y="155118"/>
                        <a:pt x="23519" y="152136"/>
                      </a:cubicBezTo>
                      <a:lnTo>
                        <a:pt x="4898" y="152136"/>
                      </a:lnTo>
                      <a:cubicBezTo>
                        <a:pt x="2207" y="152136"/>
                        <a:pt x="24" y="149954"/>
                        <a:pt x="24" y="147262"/>
                      </a:cubicBezTo>
                      <a:cubicBezTo>
                        <a:pt x="24" y="144571"/>
                        <a:pt x="2207" y="142389"/>
                        <a:pt x="4898" y="142389"/>
                      </a:cubicBezTo>
                      <a:lnTo>
                        <a:pt x="28345" y="142389"/>
                      </a:lnTo>
                      <a:cubicBezTo>
                        <a:pt x="31036" y="142389"/>
                        <a:pt x="33218" y="144571"/>
                        <a:pt x="33218" y="147262"/>
                      </a:cubicBezTo>
                      <a:lnTo>
                        <a:pt x="33194" y="150875"/>
                      </a:lnTo>
                      <a:cubicBezTo>
                        <a:pt x="33170" y="151869"/>
                        <a:pt x="33485" y="152305"/>
                        <a:pt x="33824" y="152621"/>
                      </a:cubicBezTo>
                      <a:cubicBezTo>
                        <a:pt x="35328" y="154051"/>
                        <a:pt x="39231" y="154415"/>
                        <a:pt x="40977" y="154294"/>
                      </a:cubicBezTo>
                      <a:lnTo>
                        <a:pt x="103412" y="154124"/>
                      </a:lnTo>
                      <a:cubicBezTo>
                        <a:pt x="103994" y="154027"/>
                        <a:pt x="105910" y="151796"/>
                        <a:pt x="105910" y="147626"/>
                      </a:cubicBezTo>
                      <a:cubicBezTo>
                        <a:pt x="105910" y="143431"/>
                        <a:pt x="103994" y="141225"/>
                        <a:pt x="103412" y="141128"/>
                      </a:cubicBezTo>
                      <a:lnTo>
                        <a:pt x="99193" y="141128"/>
                      </a:lnTo>
                      <a:cubicBezTo>
                        <a:pt x="96502" y="141128"/>
                        <a:pt x="94320" y="138945"/>
                        <a:pt x="94320" y="136254"/>
                      </a:cubicBezTo>
                      <a:cubicBezTo>
                        <a:pt x="94320" y="133563"/>
                        <a:pt x="96502" y="130969"/>
                        <a:pt x="99193" y="130969"/>
                      </a:cubicBezTo>
                      <a:lnTo>
                        <a:pt x="102297" y="130969"/>
                      </a:lnTo>
                      <a:cubicBezTo>
                        <a:pt x="103582" y="130969"/>
                        <a:pt x="105934" y="127962"/>
                        <a:pt x="105934" y="123064"/>
                      </a:cubicBezTo>
                      <a:cubicBezTo>
                        <a:pt x="105934" y="118166"/>
                        <a:pt x="103582" y="115160"/>
                        <a:pt x="102297" y="115160"/>
                      </a:cubicBezTo>
                      <a:lnTo>
                        <a:pt x="99193" y="115160"/>
                      </a:lnTo>
                      <a:cubicBezTo>
                        <a:pt x="96502" y="115160"/>
                        <a:pt x="94320" y="112977"/>
                        <a:pt x="94320" y="110286"/>
                      </a:cubicBezTo>
                      <a:lnTo>
                        <a:pt x="94320" y="109631"/>
                      </a:lnTo>
                      <a:cubicBezTo>
                        <a:pt x="94320" y="106940"/>
                        <a:pt x="96502" y="104758"/>
                        <a:pt x="99193" y="104758"/>
                      </a:cubicBezTo>
                      <a:lnTo>
                        <a:pt x="102297" y="104758"/>
                      </a:lnTo>
                      <a:cubicBezTo>
                        <a:pt x="103582" y="104758"/>
                        <a:pt x="105934" y="101848"/>
                        <a:pt x="105934" y="97120"/>
                      </a:cubicBezTo>
                      <a:cubicBezTo>
                        <a:pt x="105934" y="92343"/>
                        <a:pt x="103582" y="89434"/>
                        <a:pt x="102297" y="89434"/>
                      </a:cubicBezTo>
                      <a:lnTo>
                        <a:pt x="99193" y="89434"/>
                      </a:lnTo>
                      <a:cubicBezTo>
                        <a:pt x="96502" y="89434"/>
                        <a:pt x="94320" y="87252"/>
                        <a:pt x="94320" y="84560"/>
                      </a:cubicBezTo>
                      <a:lnTo>
                        <a:pt x="94320" y="83833"/>
                      </a:lnTo>
                      <a:cubicBezTo>
                        <a:pt x="94320" y="81141"/>
                        <a:pt x="96502" y="78959"/>
                        <a:pt x="99193" y="78959"/>
                      </a:cubicBezTo>
                      <a:lnTo>
                        <a:pt x="102297" y="78959"/>
                      </a:lnTo>
                      <a:cubicBezTo>
                        <a:pt x="103776" y="78959"/>
                        <a:pt x="105934" y="76437"/>
                        <a:pt x="105934" y="72485"/>
                      </a:cubicBezTo>
                      <a:cubicBezTo>
                        <a:pt x="105934" y="68533"/>
                        <a:pt x="103776" y="66012"/>
                        <a:pt x="102297" y="66012"/>
                      </a:cubicBezTo>
                      <a:lnTo>
                        <a:pt x="62023" y="66012"/>
                      </a:lnTo>
                      <a:cubicBezTo>
                        <a:pt x="60471" y="66012"/>
                        <a:pt x="59017" y="65284"/>
                        <a:pt x="58095" y="64023"/>
                      </a:cubicBezTo>
                      <a:cubicBezTo>
                        <a:pt x="57174" y="62787"/>
                        <a:pt x="56907" y="61162"/>
                        <a:pt x="57368" y="59683"/>
                      </a:cubicBezTo>
                      <a:cubicBezTo>
                        <a:pt x="57538" y="59126"/>
                        <a:pt x="57683" y="58665"/>
                        <a:pt x="57853" y="58228"/>
                      </a:cubicBezTo>
                      <a:cubicBezTo>
                        <a:pt x="59113" y="54470"/>
                        <a:pt x="67357" y="26611"/>
                        <a:pt x="67333" y="22465"/>
                      </a:cubicBezTo>
                      <a:cubicBezTo>
                        <a:pt x="67333" y="22319"/>
                        <a:pt x="67309" y="21858"/>
                        <a:pt x="67333" y="21737"/>
                      </a:cubicBezTo>
                      <a:cubicBezTo>
                        <a:pt x="67721" y="16451"/>
                        <a:pt x="66921" y="12305"/>
                        <a:pt x="65199" y="10656"/>
                      </a:cubicBezTo>
                      <a:cubicBezTo>
                        <a:pt x="64739" y="10220"/>
                        <a:pt x="63963" y="9662"/>
                        <a:pt x="62387" y="9808"/>
                      </a:cubicBezTo>
                      <a:cubicBezTo>
                        <a:pt x="60496" y="10002"/>
                        <a:pt x="59065" y="11214"/>
                        <a:pt x="58822" y="11772"/>
                      </a:cubicBezTo>
                      <a:cubicBezTo>
                        <a:pt x="54361" y="27799"/>
                        <a:pt x="48202" y="38661"/>
                        <a:pt x="43717" y="46590"/>
                      </a:cubicBezTo>
                      <a:lnTo>
                        <a:pt x="41850" y="49887"/>
                      </a:lnTo>
                      <a:cubicBezTo>
                        <a:pt x="39377" y="54131"/>
                        <a:pt x="36055" y="59829"/>
                        <a:pt x="33145" y="64751"/>
                      </a:cubicBezTo>
                      <a:lnTo>
                        <a:pt x="33073" y="68654"/>
                      </a:lnTo>
                      <a:cubicBezTo>
                        <a:pt x="33024" y="71297"/>
                        <a:pt x="30866" y="73577"/>
                        <a:pt x="28199" y="73577"/>
                      </a:cubicBezTo>
                      <a:lnTo>
                        <a:pt x="4874" y="73577"/>
                      </a:lnTo>
                      <a:cubicBezTo>
                        <a:pt x="2182" y="73577"/>
                        <a:pt x="0" y="71394"/>
                        <a:pt x="0" y="68703"/>
                      </a:cubicBezTo>
                      <a:cubicBezTo>
                        <a:pt x="0" y="66012"/>
                        <a:pt x="2182" y="63829"/>
                        <a:pt x="4874" y="63829"/>
                      </a:cubicBezTo>
                      <a:lnTo>
                        <a:pt x="23422" y="63563"/>
                      </a:lnTo>
                      <a:cubicBezTo>
                        <a:pt x="23495" y="62132"/>
                        <a:pt x="23932" y="60920"/>
                        <a:pt x="24708" y="59853"/>
                      </a:cubicBezTo>
                      <a:cubicBezTo>
                        <a:pt x="27617" y="54931"/>
                        <a:pt x="30963" y="49208"/>
                        <a:pt x="33412" y="44990"/>
                      </a:cubicBezTo>
                      <a:lnTo>
                        <a:pt x="35230" y="41765"/>
                      </a:lnTo>
                      <a:cubicBezTo>
                        <a:pt x="39474" y="34273"/>
                        <a:pt x="45269" y="24016"/>
                        <a:pt x="49609" y="8547"/>
                      </a:cubicBezTo>
                      <a:cubicBezTo>
                        <a:pt x="51548" y="3819"/>
                        <a:pt x="56180" y="643"/>
                        <a:pt x="61320" y="85"/>
                      </a:cubicBezTo>
                      <a:cubicBezTo>
                        <a:pt x="65418" y="-352"/>
                        <a:pt x="69152" y="909"/>
                        <a:pt x="71964" y="3601"/>
                      </a:cubicBezTo>
                      <a:cubicBezTo>
                        <a:pt x="75868" y="7359"/>
                        <a:pt x="77638" y="13784"/>
                        <a:pt x="77056" y="22198"/>
                      </a:cubicBezTo>
                      <a:cubicBezTo>
                        <a:pt x="77056" y="27847"/>
                        <a:pt x="71601" y="46493"/>
                        <a:pt x="68594" y="56240"/>
                      </a:cubicBezTo>
                      <a:lnTo>
                        <a:pt x="102248" y="56240"/>
                      </a:lnTo>
                      <a:cubicBezTo>
                        <a:pt x="109619" y="56240"/>
                        <a:pt x="115633" y="63514"/>
                        <a:pt x="115633" y="72461"/>
                      </a:cubicBezTo>
                      <a:cubicBezTo>
                        <a:pt x="115633" y="77189"/>
                        <a:pt x="114032" y="81408"/>
                        <a:pt x="111462" y="84342"/>
                      </a:cubicBezTo>
                      <a:cubicBezTo>
                        <a:pt x="114056" y="87494"/>
                        <a:pt x="115633" y="92004"/>
                        <a:pt x="115633" y="97096"/>
                      </a:cubicBezTo>
                      <a:cubicBezTo>
                        <a:pt x="115633" y="102260"/>
                        <a:pt x="113984" y="106819"/>
                        <a:pt x="111341" y="109971"/>
                      </a:cubicBezTo>
                      <a:cubicBezTo>
                        <a:pt x="113984" y="113171"/>
                        <a:pt x="115633" y="117802"/>
                        <a:pt x="115633" y="123040"/>
                      </a:cubicBezTo>
                      <a:cubicBezTo>
                        <a:pt x="115633" y="128010"/>
                        <a:pt x="114154" y="132448"/>
                        <a:pt x="111729" y="135599"/>
                      </a:cubicBezTo>
                      <a:cubicBezTo>
                        <a:pt x="114129" y="138557"/>
                        <a:pt x="115633" y="142801"/>
                        <a:pt x="115633" y="147577"/>
                      </a:cubicBezTo>
                      <a:cubicBezTo>
                        <a:pt x="115633" y="156694"/>
                        <a:pt x="110250" y="163823"/>
                        <a:pt x="103388" y="163823"/>
                      </a:cubicBezTo>
                      <a:lnTo>
                        <a:pt x="41292" y="163968"/>
                      </a:lnTo>
                      <a:cubicBezTo>
                        <a:pt x="41195" y="164065"/>
                        <a:pt x="40807" y="164089"/>
                        <a:pt x="40225" y="164089"/>
                      </a:cubicBezTo>
                      <a:close/>
                    </a:path>
                  </a:pathLst>
                </a:custGeom>
                <a:grpFill/>
                <a:ln w="2422" cap="flat">
                  <a:noFill/>
                  <a:prstDash val="solid"/>
                  <a:miter/>
                </a:ln>
              </p:spPr>
              <p:txBody>
                <a:bodyPr rtlCol="0" anchor="ctr"/>
                <a:lstStyle/>
                <a:p>
                  <a:endParaRPr lang="en-GB" dirty="0"/>
                </a:p>
              </p:txBody>
            </p:sp>
            <p:sp>
              <p:nvSpPr>
                <p:cNvPr id="443" name="Freihandform: Form 1217">
                  <a:extLst>
                    <a:ext uri="{FF2B5EF4-FFF2-40B4-BE49-F238E27FC236}">
                      <a16:creationId xmlns:a16="http://schemas.microsoft.com/office/drawing/2014/main" id="{D58E0FDD-D2CF-4290-92E1-C90CBFA5BCFB}"/>
                    </a:ext>
                  </a:extLst>
                </p:cNvPr>
                <p:cNvSpPr/>
                <p:nvPr/>
              </p:nvSpPr>
              <p:spPr>
                <a:xfrm>
                  <a:off x="7899384" y="4302476"/>
                  <a:ext cx="66435" cy="109594"/>
                </a:xfrm>
                <a:custGeom>
                  <a:avLst/>
                  <a:gdLst>
                    <a:gd name="connsiteX0" fmla="*/ 61562 w 66435"/>
                    <a:gd name="connsiteY0" fmla="*/ 109595 h 109594"/>
                    <a:gd name="connsiteX1" fmla="*/ 4874 w 66435"/>
                    <a:gd name="connsiteY1" fmla="*/ 109595 h 109594"/>
                    <a:gd name="connsiteX2" fmla="*/ 0 w 66435"/>
                    <a:gd name="connsiteY2" fmla="*/ 104721 h 109594"/>
                    <a:gd name="connsiteX3" fmla="*/ 0 w 66435"/>
                    <a:gd name="connsiteY3" fmla="*/ 4970 h 109594"/>
                    <a:gd name="connsiteX4" fmla="*/ 4874 w 66435"/>
                    <a:gd name="connsiteY4" fmla="*/ 97 h 109594"/>
                    <a:gd name="connsiteX5" fmla="*/ 61562 w 66435"/>
                    <a:gd name="connsiteY5" fmla="*/ 0 h 109594"/>
                    <a:gd name="connsiteX6" fmla="*/ 61562 w 66435"/>
                    <a:gd name="connsiteY6" fmla="*/ 0 h 109594"/>
                    <a:gd name="connsiteX7" fmla="*/ 65005 w 66435"/>
                    <a:gd name="connsiteY7" fmla="*/ 1430 h 109594"/>
                    <a:gd name="connsiteX8" fmla="*/ 66436 w 66435"/>
                    <a:gd name="connsiteY8" fmla="*/ 4874 h 109594"/>
                    <a:gd name="connsiteX9" fmla="*/ 66436 w 66435"/>
                    <a:gd name="connsiteY9" fmla="*/ 104721 h 109594"/>
                    <a:gd name="connsiteX10" fmla="*/ 61562 w 66435"/>
                    <a:gd name="connsiteY10" fmla="*/ 109595 h 109594"/>
                    <a:gd name="connsiteX11" fmla="*/ 9747 w 66435"/>
                    <a:gd name="connsiteY11" fmla="*/ 99848 h 109594"/>
                    <a:gd name="connsiteX12" fmla="*/ 56689 w 66435"/>
                    <a:gd name="connsiteY12" fmla="*/ 99848 h 109594"/>
                    <a:gd name="connsiteX13" fmla="*/ 56689 w 66435"/>
                    <a:gd name="connsiteY13" fmla="*/ 9771 h 109594"/>
                    <a:gd name="connsiteX14" fmla="*/ 9747 w 66435"/>
                    <a:gd name="connsiteY14" fmla="*/ 9844 h 109594"/>
                    <a:gd name="connsiteX15" fmla="*/ 9747 w 66435"/>
                    <a:gd name="connsiteY15" fmla="*/ 99848 h 10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35" h="109594">
                      <a:moveTo>
                        <a:pt x="61562" y="109595"/>
                      </a:moveTo>
                      <a:lnTo>
                        <a:pt x="4874" y="109595"/>
                      </a:lnTo>
                      <a:cubicBezTo>
                        <a:pt x="2182" y="109595"/>
                        <a:pt x="0" y="107413"/>
                        <a:pt x="0" y="104721"/>
                      </a:cubicBezTo>
                      <a:lnTo>
                        <a:pt x="0" y="4970"/>
                      </a:lnTo>
                      <a:cubicBezTo>
                        <a:pt x="0" y="2279"/>
                        <a:pt x="2182" y="97"/>
                        <a:pt x="4874" y="97"/>
                      </a:cubicBezTo>
                      <a:lnTo>
                        <a:pt x="61562" y="0"/>
                      </a:lnTo>
                      <a:lnTo>
                        <a:pt x="61562" y="0"/>
                      </a:lnTo>
                      <a:cubicBezTo>
                        <a:pt x="62848" y="0"/>
                        <a:pt x="64084" y="509"/>
                        <a:pt x="65005" y="1430"/>
                      </a:cubicBezTo>
                      <a:cubicBezTo>
                        <a:pt x="65927" y="2352"/>
                        <a:pt x="66436" y="3588"/>
                        <a:pt x="66436" y="4874"/>
                      </a:cubicBezTo>
                      <a:lnTo>
                        <a:pt x="66436" y="104721"/>
                      </a:lnTo>
                      <a:cubicBezTo>
                        <a:pt x="66436" y="107413"/>
                        <a:pt x="64254" y="109595"/>
                        <a:pt x="61562" y="109595"/>
                      </a:cubicBezTo>
                      <a:close/>
                      <a:moveTo>
                        <a:pt x="9747" y="99848"/>
                      </a:moveTo>
                      <a:lnTo>
                        <a:pt x="56689" y="99848"/>
                      </a:lnTo>
                      <a:lnTo>
                        <a:pt x="56689" y="9771"/>
                      </a:lnTo>
                      <a:lnTo>
                        <a:pt x="9747" y="9844"/>
                      </a:lnTo>
                      <a:lnTo>
                        <a:pt x="9747" y="99848"/>
                      </a:lnTo>
                      <a:close/>
                    </a:path>
                  </a:pathLst>
                </a:custGeom>
                <a:grpFill/>
                <a:ln w="2422" cap="flat">
                  <a:noFill/>
                  <a:prstDash val="solid"/>
                  <a:miter/>
                </a:ln>
              </p:spPr>
              <p:txBody>
                <a:bodyPr rtlCol="0" anchor="ctr"/>
                <a:lstStyle/>
                <a:p>
                  <a:endParaRPr lang="en-GB" dirty="0"/>
                </a:p>
              </p:txBody>
            </p:sp>
          </p:grpSp>
        </p:grpSp>
      </p:grpSp>
      <p:grpSp>
        <p:nvGrpSpPr>
          <p:cNvPr id="587" name="Group 586">
            <a:extLst>
              <a:ext uri="{FF2B5EF4-FFF2-40B4-BE49-F238E27FC236}">
                <a16:creationId xmlns:a16="http://schemas.microsoft.com/office/drawing/2014/main" id="{C6A4F09A-E4B1-42EA-A188-38CE667B008D}"/>
              </a:ext>
            </a:extLst>
          </p:cNvPr>
          <p:cNvGrpSpPr/>
          <p:nvPr/>
        </p:nvGrpSpPr>
        <p:grpSpPr>
          <a:xfrm>
            <a:off x="7005200" y="2399021"/>
            <a:ext cx="588668" cy="432000"/>
            <a:chOff x="7004788" y="2399021"/>
            <a:chExt cx="588668" cy="432000"/>
          </a:xfrm>
        </p:grpSpPr>
        <p:grpSp>
          <p:nvGrpSpPr>
            <p:cNvPr id="457" name="Group 456">
              <a:extLst>
                <a:ext uri="{FF2B5EF4-FFF2-40B4-BE49-F238E27FC236}">
                  <a16:creationId xmlns:a16="http://schemas.microsoft.com/office/drawing/2014/main" id="{FF493885-5C84-4252-B575-BABEB5C3EA5B}"/>
                </a:ext>
              </a:extLst>
            </p:cNvPr>
            <p:cNvGrpSpPr/>
            <p:nvPr/>
          </p:nvGrpSpPr>
          <p:grpSpPr>
            <a:xfrm>
              <a:off x="7217327" y="2399021"/>
              <a:ext cx="163558" cy="271091"/>
              <a:chOff x="1885275" y="1698134"/>
              <a:chExt cx="159546" cy="264442"/>
            </a:xfrm>
          </p:grpSpPr>
          <p:sp>
            <p:nvSpPr>
              <p:cNvPr id="464" name="Freihandform: Form 395">
                <a:extLst>
                  <a:ext uri="{FF2B5EF4-FFF2-40B4-BE49-F238E27FC236}">
                    <a16:creationId xmlns:a16="http://schemas.microsoft.com/office/drawing/2014/main" id="{093CA841-01D0-41F1-BC7B-1B9A146FD45B}"/>
                  </a:ext>
                </a:extLst>
              </p:cNvPr>
              <p:cNvSpPr/>
              <p:nvPr/>
            </p:nvSpPr>
            <p:spPr>
              <a:xfrm>
                <a:off x="1960172" y="1887859"/>
                <a:ext cx="9778" cy="74717"/>
              </a:xfrm>
              <a:custGeom>
                <a:avLst/>
                <a:gdLst>
                  <a:gd name="connsiteX0" fmla="*/ 4889 w 9778"/>
                  <a:gd name="connsiteY0" fmla="*/ 74718 h 74717"/>
                  <a:gd name="connsiteX1" fmla="*/ 0 w 9778"/>
                  <a:gd name="connsiteY1" fmla="*/ 69829 h 74717"/>
                  <a:gd name="connsiteX2" fmla="*/ 0 w 9778"/>
                  <a:gd name="connsiteY2" fmla="*/ 4889 h 74717"/>
                  <a:gd name="connsiteX3" fmla="*/ 4889 w 9778"/>
                  <a:gd name="connsiteY3" fmla="*/ 0 h 74717"/>
                  <a:gd name="connsiteX4" fmla="*/ 9778 w 9778"/>
                  <a:gd name="connsiteY4" fmla="*/ 4889 h 74717"/>
                  <a:gd name="connsiteX5" fmla="*/ 9778 w 9778"/>
                  <a:gd name="connsiteY5" fmla="*/ 69829 h 74717"/>
                  <a:gd name="connsiteX6" fmla="*/ 4889 w 9778"/>
                  <a:gd name="connsiteY6" fmla="*/ 74718 h 74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8" h="74717">
                    <a:moveTo>
                      <a:pt x="4889" y="74718"/>
                    </a:moveTo>
                    <a:cubicBezTo>
                      <a:pt x="2176" y="74718"/>
                      <a:pt x="0" y="72516"/>
                      <a:pt x="0" y="69829"/>
                    </a:cubicBezTo>
                    <a:lnTo>
                      <a:pt x="0" y="4889"/>
                    </a:lnTo>
                    <a:cubicBezTo>
                      <a:pt x="0" y="2176"/>
                      <a:pt x="2201" y="0"/>
                      <a:pt x="4889" y="0"/>
                    </a:cubicBezTo>
                    <a:cubicBezTo>
                      <a:pt x="7602" y="0"/>
                      <a:pt x="9778" y="2201"/>
                      <a:pt x="9778" y="4889"/>
                    </a:cubicBezTo>
                    <a:lnTo>
                      <a:pt x="9778" y="69829"/>
                    </a:lnTo>
                    <a:cubicBezTo>
                      <a:pt x="9804" y="72516"/>
                      <a:pt x="7602" y="74718"/>
                      <a:pt x="4889" y="74718"/>
                    </a:cubicBezTo>
                    <a:close/>
                  </a:path>
                </a:pathLst>
              </a:custGeom>
              <a:solidFill>
                <a:schemeClr val="accent1"/>
              </a:solidFill>
              <a:ln w="2558" cap="flat">
                <a:noFill/>
                <a:prstDash val="solid"/>
                <a:miter/>
              </a:ln>
            </p:spPr>
            <p:txBody>
              <a:bodyPr rtlCol="0" anchor="ctr"/>
              <a:lstStyle/>
              <a:p>
                <a:endParaRPr lang="en-GB" dirty="0"/>
              </a:p>
            </p:txBody>
          </p:sp>
          <p:sp>
            <p:nvSpPr>
              <p:cNvPr id="465" name="Freihandform: Form 396">
                <a:extLst>
                  <a:ext uri="{FF2B5EF4-FFF2-40B4-BE49-F238E27FC236}">
                    <a16:creationId xmlns:a16="http://schemas.microsoft.com/office/drawing/2014/main" id="{15958B4B-8E49-497E-A140-9F691482B946}"/>
                  </a:ext>
                </a:extLst>
              </p:cNvPr>
              <p:cNvSpPr/>
              <p:nvPr/>
            </p:nvSpPr>
            <p:spPr>
              <a:xfrm>
                <a:off x="1907033" y="1698134"/>
                <a:ext cx="116082" cy="172191"/>
              </a:xfrm>
              <a:custGeom>
                <a:avLst/>
                <a:gdLst>
                  <a:gd name="connsiteX0" fmla="*/ 58029 w 116082"/>
                  <a:gd name="connsiteY0" fmla="*/ 172191 h 172191"/>
                  <a:gd name="connsiteX1" fmla="*/ 0 w 116082"/>
                  <a:gd name="connsiteY1" fmla="*/ 109299 h 172191"/>
                  <a:gd name="connsiteX2" fmla="*/ 0 w 116082"/>
                  <a:gd name="connsiteY2" fmla="*/ 62892 h 172191"/>
                  <a:gd name="connsiteX3" fmla="*/ 58029 w 116082"/>
                  <a:gd name="connsiteY3" fmla="*/ 0 h 172191"/>
                  <a:gd name="connsiteX4" fmla="*/ 116083 w 116082"/>
                  <a:gd name="connsiteY4" fmla="*/ 62892 h 172191"/>
                  <a:gd name="connsiteX5" fmla="*/ 116083 w 116082"/>
                  <a:gd name="connsiteY5" fmla="*/ 109299 h 172191"/>
                  <a:gd name="connsiteX6" fmla="*/ 58029 w 116082"/>
                  <a:gd name="connsiteY6" fmla="*/ 172191 h 172191"/>
                  <a:gd name="connsiteX7" fmla="*/ 58029 w 116082"/>
                  <a:gd name="connsiteY7" fmla="*/ 9829 h 172191"/>
                  <a:gd name="connsiteX8" fmla="*/ 9804 w 116082"/>
                  <a:gd name="connsiteY8" fmla="*/ 62918 h 172191"/>
                  <a:gd name="connsiteX9" fmla="*/ 9804 w 116082"/>
                  <a:gd name="connsiteY9" fmla="*/ 109299 h 172191"/>
                  <a:gd name="connsiteX10" fmla="*/ 58029 w 116082"/>
                  <a:gd name="connsiteY10" fmla="*/ 162388 h 172191"/>
                  <a:gd name="connsiteX11" fmla="*/ 106279 w 116082"/>
                  <a:gd name="connsiteY11" fmla="*/ 109299 h 172191"/>
                  <a:gd name="connsiteX12" fmla="*/ 106279 w 116082"/>
                  <a:gd name="connsiteY12" fmla="*/ 62892 h 172191"/>
                  <a:gd name="connsiteX13" fmla="*/ 58029 w 116082"/>
                  <a:gd name="connsiteY13" fmla="*/ 9829 h 172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082" h="172191">
                    <a:moveTo>
                      <a:pt x="58029" y="172191"/>
                    </a:moveTo>
                    <a:cubicBezTo>
                      <a:pt x="26032" y="172191"/>
                      <a:pt x="0" y="143983"/>
                      <a:pt x="0" y="109299"/>
                    </a:cubicBezTo>
                    <a:lnTo>
                      <a:pt x="0" y="62892"/>
                    </a:lnTo>
                    <a:cubicBezTo>
                      <a:pt x="0" y="28208"/>
                      <a:pt x="26032" y="0"/>
                      <a:pt x="58029" y="0"/>
                    </a:cubicBezTo>
                    <a:cubicBezTo>
                      <a:pt x="90025" y="0"/>
                      <a:pt x="116083" y="28208"/>
                      <a:pt x="116083" y="62892"/>
                    </a:cubicBezTo>
                    <a:lnTo>
                      <a:pt x="116083" y="109299"/>
                    </a:lnTo>
                    <a:cubicBezTo>
                      <a:pt x="116083" y="143983"/>
                      <a:pt x="90050" y="172191"/>
                      <a:pt x="58029" y="172191"/>
                    </a:cubicBezTo>
                    <a:close/>
                    <a:moveTo>
                      <a:pt x="58029" y="9829"/>
                    </a:moveTo>
                    <a:cubicBezTo>
                      <a:pt x="31433" y="9829"/>
                      <a:pt x="9804" y="33635"/>
                      <a:pt x="9804" y="62918"/>
                    </a:cubicBezTo>
                    <a:lnTo>
                      <a:pt x="9804" y="109299"/>
                    </a:lnTo>
                    <a:cubicBezTo>
                      <a:pt x="9804" y="138582"/>
                      <a:pt x="31433" y="162388"/>
                      <a:pt x="58029" y="162388"/>
                    </a:cubicBezTo>
                    <a:cubicBezTo>
                      <a:pt x="84624" y="162388"/>
                      <a:pt x="106279" y="138582"/>
                      <a:pt x="106279" y="109299"/>
                    </a:cubicBezTo>
                    <a:lnTo>
                      <a:pt x="106279" y="62892"/>
                    </a:lnTo>
                    <a:cubicBezTo>
                      <a:pt x="106279" y="33635"/>
                      <a:pt x="84624" y="9829"/>
                      <a:pt x="58029" y="9829"/>
                    </a:cubicBezTo>
                    <a:close/>
                  </a:path>
                </a:pathLst>
              </a:custGeom>
              <a:solidFill>
                <a:schemeClr val="accent1"/>
              </a:solidFill>
              <a:ln w="2558" cap="flat">
                <a:noFill/>
                <a:prstDash val="solid"/>
                <a:miter/>
              </a:ln>
            </p:spPr>
            <p:txBody>
              <a:bodyPr rtlCol="0" anchor="ctr"/>
              <a:lstStyle/>
              <a:p>
                <a:endParaRPr lang="en-GB" dirty="0"/>
              </a:p>
            </p:txBody>
          </p:sp>
          <p:sp>
            <p:nvSpPr>
              <p:cNvPr id="466" name="Freihandform: Form 397">
                <a:extLst>
                  <a:ext uri="{FF2B5EF4-FFF2-40B4-BE49-F238E27FC236}">
                    <a16:creationId xmlns:a16="http://schemas.microsoft.com/office/drawing/2014/main" id="{0D156CDD-D174-4E88-BC89-2F551E47C99C}"/>
                  </a:ext>
                </a:extLst>
              </p:cNvPr>
              <p:cNvSpPr/>
              <p:nvPr/>
            </p:nvSpPr>
            <p:spPr>
              <a:xfrm>
                <a:off x="1885275" y="1780275"/>
                <a:ext cx="159546" cy="117106"/>
              </a:xfrm>
              <a:custGeom>
                <a:avLst/>
                <a:gdLst>
                  <a:gd name="connsiteX0" fmla="*/ 79786 w 159546"/>
                  <a:gd name="connsiteY0" fmla="*/ 117106 h 117106"/>
                  <a:gd name="connsiteX1" fmla="*/ 0 w 159546"/>
                  <a:gd name="connsiteY1" fmla="*/ 38012 h 117106"/>
                  <a:gd name="connsiteX2" fmla="*/ 0 w 159546"/>
                  <a:gd name="connsiteY2" fmla="*/ 4889 h 117106"/>
                  <a:gd name="connsiteX3" fmla="*/ 4889 w 159546"/>
                  <a:gd name="connsiteY3" fmla="*/ 0 h 117106"/>
                  <a:gd name="connsiteX4" fmla="*/ 154657 w 159546"/>
                  <a:gd name="connsiteY4" fmla="*/ 0 h 117106"/>
                  <a:gd name="connsiteX5" fmla="*/ 159546 w 159546"/>
                  <a:gd name="connsiteY5" fmla="*/ 4889 h 117106"/>
                  <a:gd name="connsiteX6" fmla="*/ 159546 w 159546"/>
                  <a:gd name="connsiteY6" fmla="*/ 38012 h 117106"/>
                  <a:gd name="connsiteX7" fmla="*/ 79786 w 159546"/>
                  <a:gd name="connsiteY7" fmla="*/ 117106 h 117106"/>
                  <a:gd name="connsiteX8" fmla="*/ 9804 w 159546"/>
                  <a:gd name="connsiteY8" fmla="*/ 9804 h 117106"/>
                  <a:gd name="connsiteX9" fmla="*/ 9804 w 159546"/>
                  <a:gd name="connsiteY9" fmla="*/ 38037 h 117106"/>
                  <a:gd name="connsiteX10" fmla="*/ 79786 w 159546"/>
                  <a:gd name="connsiteY10" fmla="*/ 107328 h 117106"/>
                  <a:gd name="connsiteX11" fmla="*/ 149768 w 159546"/>
                  <a:gd name="connsiteY11" fmla="*/ 38037 h 117106"/>
                  <a:gd name="connsiteX12" fmla="*/ 149768 w 159546"/>
                  <a:gd name="connsiteY12" fmla="*/ 9804 h 117106"/>
                  <a:gd name="connsiteX13" fmla="*/ 9804 w 159546"/>
                  <a:gd name="connsiteY13" fmla="*/ 9804 h 11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9546" h="117106">
                    <a:moveTo>
                      <a:pt x="79786" y="117106"/>
                    </a:moveTo>
                    <a:cubicBezTo>
                      <a:pt x="35785" y="117106"/>
                      <a:pt x="0" y="81629"/>
                      <a:pt x="0" y="38012"/>
                    </a:cubicBezTo>
                    <a:lnTo>
                      <a:pt x="0" y="4889"/>
                    </a:lnTo>
                    <a:cubicBezTo>
                      <a:pt x="0" y="2176"/>
                      <a:pt x="2201" y="0"/>
                      <a:pt x="4889" y="0"/>
                    </a:cubicBezTo>
                    <a:lnTo>
                      <a:pt x="154657" y="0"/>
                    </a:lnTo>
                    <a:cubicBezTo>
                      <a:pt x="157371" y="0"/>
                      <a:pt x="159546" y="2201"/>
                      <a:pt x="159546" y="4889"/>
                    </a:cubicBezTo>
                    <a:lnTo>
                      <a:pt x="159546" y="38012"/>
                    </a:lnTo>
                    <a:cubicBezTo>
                      <a:pt x="159572" y="81629"/>
                      <a:pt x="123787" y="117106"/>
                      <a:pt x="79786" y="117106"/>
                    </a:cubicBezTo>
                    <a:close/>
                    <a:moveTo>
                      <a:pt x="9804" y="9804"/>
                    </a:moveTo>
                    <a:lnTo>
                      <a:pt x="9804" y="38037"/>
                    </a:lnTo>
                    <a:cubicBezTo>
                      <a:pt x="9804" y="76228"/>
                      <a:pt x="41186" y="107328"/>
                      <a:pt x="79786" y="107328"/>
                    </a:cubicBezTo>
                    <a:cubicBezTo>
                      <a:pt x="118386" y="107328"/>
                      <a:pt x="149768" y="76254"/>
                      <a:pt x="149768" y="38037"/>
                    </a:cubicBezTo>
                    <a:lnTo>
                      <a:pt x="149768" y="9804"/>
                    </a:lnTo>
                    <a:lnTo>
                      <a:pt x="9804" y="9804"/>
                    </a:lnTo>
                    <a:close/>
                  </a:path>
                </a:pathLst>
              </a:custGeom>
              <a:solidFill>
                <a:schemeClr val="accent1"/>
              </a:solidFill>
              <a:ln w="2558" cap="flat">
                <a:noFill/>
                <a:prstDash val="solid"/>
                <a:miter/>
              </a:ln>
            </p:spPr>
            <p:txBody>
              <a:bodyPr rtlCol="0" anchor="ctr"/>
              <a:lstStyle/>
              <a:p>
                <a:endParaRPr lang="en-GB" dirty="0"/>
              </a:p>
            </p:txBody>
          </p:sp>
          <p:sp>
            <p:nvSpPr>
              <p:cNvPr id="467" name="Freihandform: Form 399">
                <a:extLst>
                  <a:ext uri="{FF2B5EF4-FFF2-40B4-BE49-F238E27FC236}">
                    <a16:creationId xmlns:a16="http://schemas.microsoft.com/office/drawing/2014/main" id="{B8ACA2A1-385F-4DB8-BF1C-6E478B9CB566}"/>
                  </a:ext>
                </a:extLst>
              </p:cNvPr>
              <p:cNvSpPr/>
              <p:nvPr/>
            </p:nvSpPr>
            <p:spPr>
              <a:xfrm>
                <a:off x="1993755" y="1725649"/>
                <a:ext cx="21245" cy="9907"/>
              </a:xfrm>
              <a:custGeom>
                <a:avLst/>
                <a:gdLst>
                  <a:gd name="connsiteX0" fmla="*/ 4889 w 21245"/>
                  <a:gd name="connsiteY0" fmla="*/ 9908 h 9907"/>
                  <a:gd name="connsiteX1" fmla="*/ 0 w 21245"/>
                  <a:gd name="connsiteY1" fmla="*/ 5045 h 9907"/>
                  <a:gd name="connsiteX2" fmla="*/ 4864 w 21245"/>
                  <a:gd name="connsiteY2" fmla="*/ 104 h 9907"/>
                  <a:gd name="connsiteX3" fmla="*/ 16306 w 21245"/>
                  <a:gd name="connsiteY3" fmla="*/ 2 h 9907"/>
                  <a:gd name="connsiteX4" fmla="*/ 21246 w 21245"/>
                  <a:gd name="connsiteY4" fmla="*/ 4865 h 9907"/>
                  <a:gd name="connsiteX5" fmla="*/ 16382 w 21245"/>
                  <a:gd name="connsiteY5" fmla="*/ 9806 h 9907"/>
                  <a:gd name="connsiteX6" fmla="*/ 4940 w 21245"/>
                  <a:gd name="connsiteY6" fmla="*/ 9908 h 9907"/>
                  <a:gd name="connsiteX7" fmla="*/ 4889 w 21245"/>
                  <a:gd name="connsiteY7" fmla="*/ 9908 h 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45" h="9907">
                    <a:moveTo>
                      <a:pt x="4889" y="9908"/>
                    </a:moveTo>
                    <a:cubicBezTo>
                      <a:pt x="2202" y="9908"/>
                      <a:pt x="26" y="7732"/>
                      <a:pt x="0" y="5045"/>
                    </a:cubicBezTo>
                    <a:cubicBezTo>
                      <a:pt x="-25" y="2331"/>
                      <a:pt x="2150" y="130"/>
                      <a:pt x="4864" y="104"/>
                    </a:cubicBezTo>
                    <a:lnTo>
                      <a:pt x="16306" y="2"/>
                    </a:lnTo>
                    <a:cubicBezTo>
                      <a:pt x="18916" y="-75"/>
                      <a:pt x="21220" y="2152"/>
                      <a:pt x="21246" y="4865"/>
                    </a:cubicBezTo>
                    <a:cubicBezTo>
                      <a:pt x="21271" y="7579"/>
                      <a:pt x="19096" y="9780"/>
                      <a:pt x="16382" y="9806"/>
                    </a:cubicBezTo>
                    <a:lnTo>
                      <a:pt x="4940" y="9908"/>
                    </a:lnTo>
                    <a:cubicBezTo>
                      <a:pt x="4915" y="9908"/>
                      <a:pt x="4889" y="9908"/>
                      <a:pt x="4889" y="9908"/>
                    </a:cubicBezTo>
                    <a:close/>
                  </a:path>
                </a:pathLst>
              </a:custGeom>
              <a:solidFill>
                <a:schemeClr val="accent1"/>
              </a:solidFill>
              <a:ln w="2558" cap="flat">
                <a:noFill/>
                <a:prstDash val="solid"/>
                <a:miter/>
              </a:ln>
            </p:spPr>
            <p:txBody>
              <a:bodyPr rtlCol="0" anchor="ctr"/>
              <a:lstStyle/>
              <a:p>
                <a:endParaRPr lang="en-GB" dirty="0"/>
              </a:p>
            </p:txBody>
          </p:sp>
          <p:sp>
            <p:nvSpPr>
              <p:cNvPr id="468" name="Freihandform: Form 401">
                <a:extLst>
                  <a:ext uri="{FF2B5EF4-FFF2-40B4-BE49-F238E27FC236}">
                    <a16:creationId xmlns:a16="http://schemas.microsoft.com/office/drawing/2014/main" id="{B78A58C8-C323-4A5B-B10D-ED23C0F996A3}"/>
                  </a:ext>
                </a:extLst>
              </p:cNvPr>
              <p:cNvSpPr/>
              <p:nvPr/>
            </p:nvSpPr>
            <p:spPr>
              <a:xfrm>
                <a:off x="1915045" y="1725779"/>
                <a:ext cx="22039" cy="9778"/>
              </a:xfrm>
              <a:custGeom>
                <a:avLst/>
                <a:gdLst>
                  <a:gd name="connsiteX0" fmla="*/ 17150 w 22039"/>
                  <a:gd name="connsiteY0" fmla="*/ 9778 h 9778"/>
                  <a:gd name="connsiteX1" fmla="*/ 4889 w 22039"/>
                  <a:gd name="connsiteY1" fmla="*/ 9778 h 9778"/>
                  <a:gd name="connsiteX2" fmla="*/ 0 w 22039"/>
                  <a:gd name="connsiteY2" fmla="*/ 4889 h 9778"/>
                  <a:gd name="connsiteX3" fmla="*/ 4889 w 22039"/>
                  <a:gd name="connsiteY3" fmla="*/ 0 h 9778"/>
                  <a:gd name="connsiteX4" fmla="*/ 17150 w 22039"/>
                  <a:gd name="connsiteY4" fmla="*/ 0 h 9778"/>
                  <a:gd name="connsiteX5" fmla="*/ 22039 w 22039"/>
                  <a:gd name="connsiteY5" fmla="*/ 4889 h 9778"/>
                  <a:gd name="connsiteX6" fmla="*/ 17150 w 22039"/>
                  <a:gd name="connsiteY6" fmla="*/ 9778 h 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39" h="9778">
                    <a:moveTo>
                      <a:pt x="17150" y="9778"/>
                    </a:moveTo>
                    <a:lnTo>
                      <a:pt x="4889" y="9778"/>
                    </a:lnTo>
                    <a:cubicBezTo>
                      <a:pt x="2176" y="9778"/>
                      <a:pt x="0" y="7577"/>
                      <a:pt x="0" y="4889"/>
                    </a:cubicBezTo>
                    <a:cubicBezTo>
                      <a:pt x="0" y="2201"/>
                      <a:pt x="2201" y="0"/>
                      <a:pt x="4889" y="0"/>
                    </a:cubicBezTo>
                    <a:lnTo>
                      <a:pt x="17150" y="0"/>
                    </a:lnTo>
                    <a:cubicBezTo>
                      <a:pt x="19863" y="0"/>
                      <a:pt x="22039" y="2201"/>
                      <a:pt x="22039" y="4889"/>
                    </a:cubicBezTo>
                    <a:cubicBezTo>
                      <a:pt x="22039" y="7577"/>
                      <a:pt x="19863" y="9778"/>
                      <a:pt x="17150" y="9778"/>
                    </a:cubicBezTo>
                    <a:close/>
                  </a:path>
                </a:pathLst>
              </a:custGeom>
              <a:solidFill>
                <a:schemeClr val="accent1"/>
              </a:solidFill>
              <a:ln w="2558" cap="flat">
                <a:noFill/>
                <a:prstDash val="solid"/>
                <a:miter/>
              </a:ln>
            </p:spPr>
            <p:txBody>
              <a:bodyPr rtlCol="0" anchor="ctr"/>
              <a:lstStyle/>
              <a:p>
                <a:endParaRPr lang="en-GB" dirty="0"/>
              </a:p>
            </p:txBody>
          </p:sp>
          <p:sp>
            <p:nvSpPr>
              <p:cNvPr id="469" name="Freihandform: Form 405">
                <a:extLst>
                  <a:ext uri="{FF2B5EF4-FFF2-40B4-BE49-F238E27FC236}">
                    <a16:creationId xmlns:a16="http://schemas.microsoft.com/office/drawing/2014/main" id="{A643C197-0633-4272-8B56-085E6BE6F9F4}"/>
                  </a:ext>
                </a:extLst>
              </p:cNvPr>
              <p:cNvSpPr/>
              <p:nvPr/>
            </p:nvSpPr>
            <p:spPr>
              <a:xfrm>
                <a:off x="1994831" y="1749072"/>
                <a:ext cx="28028" cy="9778"/>
              </a:xfrm>
              <a:custGeom>
                <a:avLst/>
                <a:gdLst>
                  <a:gd name="connsiteX0" fmla="*/ 23140 w 28028"/>
                  <a:gd name="connsiteY0" fmla="*/ 9778 h 9778"/>
                  <a:gd name="connsiteX1" fmla="*/ 4889 w 28028"/>
                  <a:gd name="connsiteY1" fmla="*/ 9778 h 9778"/>
                  <a:gd name="connsiteX2" fmla="*/ 0 w 28028"/>
                  <a:gd name="connsiteY2" fmla="*/ 4889 h 9778"/>
                  <a:gd name="connsiteX3" fmla="*/ 4889 w 28028"/>
                  <a:gd name="connsiteY3" fmla="*/ 0 h 9778"/>
                  <a:gd name="connsiteX4" fmla="*/ 23140 w 28028"/>
                  <a:gd name="connsiteY4" fmla="*/ 0 h 9778"/>
                  <a:gd name="connsiteX5" fmla="*/ 28029 w 28028"/>
                  <a:gd name="connsiteY5" fmla="*/ 4889 h 9778"/>
                  <a:gd name="connsiteX6" fmla="*/ 23140 w 28028"/>
                  <a:gd name="connsiteY6" fmla="*/ 9778 h 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28" h="9778">
                    <a:moveTo>
                      <a:pt x="23140" y="9778"/>
                    </a:moveTo>
                    <a:lnTo>
                      <a:pt x="4889" y="9778"/>
                    </a:lnTo>
                    <a:cubicBezTo>
                      <a:pt x="2176" y="9778"/>
                      <a:pt x="0" y="7577"/>
                      <a:pt x="0" y="4889"/>
                    </a:cubicBezTo>
                    <a:cubicBezTo>
                      <a:pt x="0" y="2176"/>
                      <a:pt x="2201" y="0"/>
                      <a:pt x="4889" y="0"/>
                    </a:cubicBezTo>
                    <a:lnTo>
                      <a:pt x="23140" y="0"/>
                    </a:lnTo>
                    <a:cubicBezTo>
                      <a:pt x="25853" y="0"/>
                      <a:pt x="28029" y="2201"/>
                      <a:pt x="28029" y="4889"/>
                    </a:cubicBezTo>
                    <a:cubicBezTo>
                      <a:pt x="28054" y="7602"/>
                      <a:pt x="25853" y="9778"/>
                      <a:pt x="23140" y="9778"/>
                    </a:cubicBezTo>
                    <a:close/>
                  </a:path>
                </a:pathLst>
              </a:custGeom>
              <a:solidFill>
                <a:schemeClr val="accent1"/>
              </a:solidFill>
              <a:ln w="2558" cap="flat">
                <a:noFill/>
                <a:prstDash val="solid"/>
                <a:miter/>
              </a:ln>
            </p:spPr>
            <p:txBody>
              <a:bodyPr rtlCol="0" anchor="ctr"/>
              <a:lstStyle/>
              <a:p>
                <a:endParaRPr lang="en-GB" dirty="0"/>
              </a:p>
            </p:txBody>
          </p:sp>
          <p:sp>
            <p:nvSpPr>
              <p:cNvPr id="470" name="Freihandform: Form 407">
                <a:extLst>
                  <a:ext uri="{FF2B5EF4-FFF2-40B4-BE49-F238E27FC236}">
                    <a16:creationId xmlns:a16="http://schemas.microsoft.com/office/drawing/2014/main" id="{425C1211-9F81-483B-9870-261F082C73FF}"/>
                  </a:ext>
                </a:extLst>
              </p:cNvPr>
              <p:cNvSpPr/>
              <p:nvPr/>
            </p:nvSpPr>
            <p:spPr>
              <a:xfrm>
                <a:off x="1907698" y="1749072"/>
                <a:ext cx="28847" cy="9778"/>
              </a:xfrm>
              <a:custGeom>
                <a:avLst/>
                <a:gdLst>
                  <a:gd name="connsiteX0" fmla="*/ 23959 w 28847"/>
                  <a:gd name="connsiteY0" fmla="*/ 9778 h 9778"/>
                  <a:gd name="connsiteX1" fmla="*/ 4889 w 28847"/>
                  <a:gd name="connsiteY1" fmla="*/ 9778 h 9778"/>
                  <a:gd name="connsiteX2" fmla="*/ 0 w 28847"/>
                  <a:gd name="connsiteY2" fmla="*/ 4889 h 9778"/>
                  <a:gd name="connsiteX3" fmla="*/ 4889 w 28847"/>
                  <a:gd name="connsiteY3" fmla="*/ 0 h 9778"/>
                  <a:gd name="connsiteX4" fmla="*/ 23959 w 28847"/>
                  <a:gd name="connsiteY4" fmla="*/ 0 h 9778"/>
                  <a:gd name="connsiteX5" fmla="*/ 28848 w 28847"/>
                  <a:gd name="connsiteY5" fmla="*/ 4889 h 9778"/>
                  <a:gd name="connsiteX6" fmla="*/ 23959 w 28847"/>
                  <a:gd name="connsiteY6" fmla="*/ 9778 h 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847" h="9778">
                    <a:moveTo>
                      <a:pt x="23959" y="9778"/>
                    </a:moveTo>
                    <a:lnTo>
                      <a:pt x="4889" y="9778"/>
                    </a:lnTo>
                    <a:cubicBezTo>
                      <a:pt x="2176" y="9778"/>
                      <a:pt x="0" y="7577"/>
                      <a:pt x="0" y="4889"/>
                    </a:cubicBezTo>
                    <a:cubicBezTo>
                      <a:pt x="0" y="2176"/>
                      <a:pt x="2201" y="0"/>
                      <a:pt x="4889" y="0"/>
                    </a:cubicBezTo>
                    <a:lnTo>
                      <a:pt x="23959" y="0"/>
                    </a:lnTo>
                    <a:cubicBezTo>
                      <a:pt x="26672" y="0"/>
                      <a:pt x="28848" y="2201"/>
                      <a:pt x="28848" y="4889"/>
                    </a:cubicBezTo>
                    <a:cubicBezTo>
                      <a:pt x="28848" y="7602"/>
                      <a:pt x="26647" y="9778"/>
                      <a:pt x="23959" y="9778"/>
                    </a:cubicBezTo>
                    <a:close/>
                  </a:path>
                </a:pathLst>
              </a:custGeom>
              <a:solidFill>
                <a:schemeClr val="accent1"/>
              </a:solidFill>
              <a:ln w="2558" cap="flat">
                <a:noFill/>
                <a:prstDash val="solid"/>
                <a:miter/>
              </a:ln>
            </p:spPr>
            <p:txBody>
              <a:bodyPr rtlCol="0" anchor="ctr"/>
              <a:lstStyle/>
              <a:p>
                <a:endParaRPr lang="en-GB" dirty="0"/>
              </a:p>
            </p:txBody>
          </p:sp>
          <p:sp>
            <p:nvSpPr>
              <p:cNvPr id="471" name="Freihandform: Form 409">
                <a:extLst>
                  <a:ext uri="{FF2B5EF4-FFF2-40B4-BE49-F238E27FC236}">
                    <a16:creationId xmlns:a16="http://schemas.microsoft.com/office/drawing/2014/main" id="{708C2209-6B31-4E2C-A2C9-364152C6F059}"/>
                  </a:ext>
                </a:extLst>
              </p:cNvPr>
              <p:cNvSpPr/>
              <p:nvPr/>
            </p:nvSpPr>
            <p:spPr>
              <a:xfrm>
                <a:off x="1951137" y="1701846"/>
                <a:ext cx="9778" cy="24189"/>
              </a:xfrm>
              <a:custGeom>
                <a:avLst/>
                <a:gdLst>
                  <a:gd name="connsiteX0" fmla="*/ 4889 w 9778"/>
                  <a:gd name="connsiteY0" fmla="*/ 24189 h 24189"/>
                  <a:gd name="connsiteX1" fmla="*/ 0 w 9778"/>
                  <a:gd name="connsiteY1" fmla="*/ 19300 h 24189"/>
                  <a:gd name="connsiteX2" fmla="*/ 0 w 9778"/>
                  <a:gd name="connsiteY2" fmla="*/ 4889 h 24189"/>
                  <a:gd name="connsiteX3" fmla="*/ 4889 w 9778"/>
                  <a:gd name="connsiteY3" fmla="*/ 0 h 24189"/>
                  <a:gd name="connsiteX4" fmla="*/ 9778 w 9778"/>
                  <a:gd name="connsiteY4" fmla="*/ 4889 h 24189"/>
                  <a:gd name="connsiteX5" fmla="*/ 9778 w 9778"/>
                  <a:gd name="connsiteY5" fmla="*/ 19300 h 24189"/>
                  <a:gd name="connsiteX6" fmla="*/ 4889 w 9778"/>
                  <a:gd name="connsiteY6" fmla="*/ 24189 h 2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8" h="24189">
                    <a:moveTo>
                      <a:pt x="4889" y="24189"/>
                    </a:moveTo>
                    <a:cubicBezTo>
                      <a:pt x="2176" y="24189"/>
                      <a:pt x="0" y="21988"/>
                      <a:pt x="0" y="19300"/>
                    </a:cubicBezTo>
                    <a:lnTo>
                      <a:pt x="0" y="4889"/>
                    </a:lnTo>
                    <a:cubicBezTo>
                      <a:pt x="0" y="2176"/>
                      <a:pt x="2201" y="0"/>
                      <a:pt x="4889" y="0"/>
                    </a:cubicBezTo>
                    <a:cubicBezTo>
                      <a:pt x="7577" y="0"/>
                      <a:pt x="9778" y="2201"/>
                      <a:pt x="9778" y="4889"/>
                    </a:cubicBezTo>
                    <a:lnTo>
                      <a:pt x="9778" y="19300"/>
                    </a:lnTo>
                    <a:cubicBezTo>
                      <a:pt x="9778" y="21988"/>
                      <a:pt x="7602" y="24189"/>
                      <a:pt x="4889" y="24189"/>
                    </a:cubicBezTo>
                    <a:close/>
                  </a:path>
                </a:pathLst>
              </a:custGeom>
              <a:solidFill>
                <a:schemeClr val="accent1"/>
              </a:solidFill>
              <a:ln w="2558" cap="flat">
                <a:noFill/>
                <a:prstDash val="solid"/>
                <a:miter/>
              </a:ln>
            </p:spPr>
            <p:txBody>
              <a:bodyPr rtlCol="0" anchor="ctr"/>
              <a:lstStyle/>
              <a:p>
                <a:endParaRPr lang="en-GB" dirty="0"/>
              </a:p>
            </p:txBody>
          </p:sp>
          <p:sp>
            <p:nvSpPr>
              <p:cNvPr id="472" name="Freihandform: Form 410">
                <a:extLst>
                  <a:ext uri="{FF2B5EF4-FFF2-40B4-BE49-F238E27FC236}">
                    <a16:creationId xmlns:a16="http://schemas.microsoft.com/office/drawing/2014/main" id="{CE7F69BF-EA55-4433-9B02-8F6C3EB673AC}"/>
                  </a:ext>
                </a:extLst>
              </p:cNvPr>
              <p:cNvSpPr/>
              <p:nvPr/>
            </p:nvSpPr>
            <p:spPr>
              <a:xfrm>
                <a:off x="1968287" y="1702153"/>
                <a:ext cx="9778" cy="24189"/>
              </a:xfrm>
              <a:custGeom>
                <a:avLst/>
                <a:gdLst>
                  <a:gd name="connsiteX0" fmla="*/ 4889 w 9778"/>
                  <a:gd name="connsiteY0" fmla="*/ 24189 h 24189"/>
                  <a:gd name="connsiteX1" fmla="*/ 0 w 9778"/>
                  <a:gd name="connsiteY1" fmla="*/ 19300 h 24189"/>
                  <a:gd name="connsiteX2" fmla="*/ 0 w 9778"/>
                  <a:gd name="connsiteY2" fmla="*/ 4889 h 24189"/>
                  <a:gd name="connsiteX3" fmla="*/ 4889 w 9778"/>
                  <a:gd name="connsiteY3" fmla="*/ 0 h 24189"/>
                  <a:gd name="connsiteX4" fmla="*/ 9778 w 9778"/>
                  <a:gd name="connsiteY4" fmla="*/ 4889 h 24189"/>
                  <a:gd name="connsiteX5" fmla="*/ 9778 w 9778"/>
                  <a:gd name="connsiteY5" fmla="*/ 19300 h 24189"/>
                  <a:gd name="connsiteX6" fmla="*/ 4889 w 9778"/>
                  <a:gd name="connsiteY6" fmla="*/ 24189 h 2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8" h="24189">
                    <a:moveTo>
                      <a:pt x="4889" y="24189"/>
                    </a:moveTo>
                    <a:cubicBezTo>
                      <a:pt x="2176" y="24189"/>
                      <a:pt x="0" y="21988"/>
                      <a:pt x="0" y="19300"/>
                    </a:cubicBezTo>
                    <a:lnTo>
                      <a:pt x="0" y="4889"/>
                    </a:lnTo>
                    <a:cubicBezTo>
                      <a:pt x="0" y="2176"/>
                      <a:pt x="2201" y="0"/>
                      <a:pt x="4889" y="0"/>
                    </a:cubicBezTo>
                    <a:cubicBezTo>
                      <a:pt x="7602" y="0"/>
                      <a:pt x="9778" y="2201"/>
                      <a:pt x="9778" y="4889"/>
                    </a:cubicBezTo>
                    <a:lnTo>
                      <a:pt x="9778" y="19300"/>
                    </a:lnTo>
                    <a:cubicBezTo>
                      <a:pt x="9804" y="21988"/>
                      <a:pt x="7602" y="24189"/>
                      <a:pt x="4889" y="24189"/>
                    </a:cubicBezTo>
                    <a:close/>
                  </a:path>
                </a:pathLst>
              </a:custGeom>
              <a:solidFill>
                <a:schemeClr val="accent1"/>
              </a:solidFill>
              <a:ln w="2558" cap="flat">
                <a:noFill/>
                <a:prstDash val="solid"/>
                <a:miter/>
              </a:ln>
            </p:spPr>
            <p:txBody>
              <a:bodyPr rtlCol="0" anchor="ctr"/>
              <a:lstStyle/>
              <a:p>
                <a:endParaRPr lang="en-GB" dirty="0"/>
              </a:p>
            </p:txBody>
          </p:sp>
        </p:grpSp>
        <p:grpSp>
          <p:nvGrpSpPr>
            <p:cNvPr id="458" name="Group 457">
              <a:extLst>
                <a:ext uri="{FF2B5EF4-FFF2-40B4-BE49-F238E27FC236}">
                  <a16:creationId xmlns:a16="http://schemas.microsoft.com/office/drawing/2014/main" id="{5030362A-3723-42AC-B874-98A5E2EE9E7C}"/>
                </a:ext>
              </a:extLst>
            </p:cNvPr>
            <p:cNvGrpSpPr/>
            <p:nvPr/>
          </p:nvGrpSpPr>
          <p:grpSpPr>
            <a:xfrm>
              <a:off x="7004788" y="2427334"/>
              <a:ext cx="588668" cy="403687"/>
              <a:chOff x="1677949" y="1725753"/>
              <a:chExt cx="574229" cy="393785"/>
            </a:xfrm>
          </p:grpSpPr>
          <p:sp>
            <p:nvSpPr>
              <p:cNvPr id="459" name="Freihandform: Form 400">
                <a:extLst>
                  <a:ext uri="{FF2B5EF4-FFF2-40B4-BE49-F238E27FC236}">
                    <a16:creationId xmlns:a16="http://schemas.microsoft.com/office/drawing/2014/main" id="{213C5DAF-5C91-4B18-9E62-182D9544D463}"/>
                  </a:ext>
                </a:extLst>
              </p:cNvPr>
              <p:cNvSpPr/>
              <p:nvPr/>
            </p:nvSpPr>
            <p:spPr>
              <a:xfrm>
                <a:off x="1755012" y="1725753"/>
                <a:ext cx="418383" cy="271431"/>
              </a:xfrm>
              <a:custGeom>
                <a:avLst/>
                <a:gdLst>
                  <a:gd name="connsiteX0" fmla="*/ 413443 w 418383"/>
                  <a:gd name="connsiteY0" fmla="*/ 271431 h 271431"/>
                  <a:gd name="connsiteX1" fmla="*/ 4889 w 418383"/>
                  <a:gd name="connsiteY1" fmla="*/ 271431 h 271431"/>
                  <a:gd name="connsiteX2" fmla="*/ 0 w 418383"/>
                  <a:gd name="connsiteY2" fmla="*/ 266542 h 271431"/>
                  <a:gd name="connsiteX3" fmla="*/ 0 w 418383"/>
                  <a:gd name="connsiteY3" fmla="*/ 10264 h 271431"/>
                  <a:gd name="connsiteX4" fmla="*/ 10264 w 418383"/>
                  <a:gd name="connsiteY4" fmla="*/ 0 h 271431"/>
                  <a:gd name="connsiteX5" fmla="*/ 139069 w 418383"/>
                  <a:gd name="connsiteY5" fmla="*/ 0 h 271431"/>
                  <a:gd name="connsiteX6" fmla="*/ 143958 w 418383"/>
                  <a:gd name="connsiteY6" fmla="*/ 4889 h 271431"/>
                  <a:gd name="connsiteX7" fmla="*/ 139069 w 418383"/>
                  <a:gd name="connsiteY7" fmla="*/ 9778 h 271431"/>
                  <a:gd name="connsiteX8" fmla="*/ 10264 w 418383"/>
                  <a:gd name="connsiteY8" fmla="*/ 9778 h 271431"/>
                  <a:gd name="connsiteX9" fmla="*/ 9727 w 418383"/>
                  <a:gd name="connsiteY9" fmla="*/ 9957 h 271431"/>
                  <a:gd name="connsiteX10" fmla="*/ 9804 w 418383"/>
                  <a:gd name="connsiteY10" fmla="*/ 261602 h 271431"/>
                  <a:gd name="connsiteX11" fmla="*/ 408554 w 418383"/>
                  <a:gd name="connsiteY11" fmla="*/ 261602 h 271431"/>
                  <a:gd name="connsiteX12" fmla="*/ 408554 w 418383"/>
                  <a:gd name="connsiteY12" fmla="*/ 10264 h 271431"/>
                  <a:gd name="connsiteX13" fmla="*/ 407966 w 418383"/>
                  <a:gd name="connsiteY13" fmla="*/ 9804 h 271431"/>
                  <a:gd name="connsiteX14" fmla="*/ 280953 w 418383"/>
                  <a:gd name="connsiteY14" fmla="*/ 9804 h 271431"/>
                  <a:gd name="connsiteX15" fmla="*/ 276064 w 418383"/>
                  <a:gd name="connsiteY15" fmla="*/ 4915 h 271431"/>
                  <a:gd name="connsiteX16" fmla="*/ 280953 w 418383"/>
                  <a:gd name="connsiteY16" fmla="*/ 26 h 271431"/>
                  <a:gd name="connsiteX17" fmla="*/ 408094 w 418383"/>
                  <a:gd name="connsiteY17" fmla="*/ 26 h 271431"/>
                  <a:gd name="connsiteX18" fmla="*/ 418384 w 418383"/>
                  <a:gd name="connsiteY18" fmla="*/ 10290 h 271431"/>
                  <a:gd name="connsiteX19" fmla="*/ 418384 w 418383"/>
                  <a:gd name="connsiteY19" fmla="*/ 266542 h 271431"/>
                  <a:gd name="connsiteX20" fmla="*/ 413443 w 418383"/>
                  <a:gd name="connsiteY20" fmla="*/ 271431 h 27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383" h="271431">
                    <a:moveTo>
                      <a:pt x="413443" y="271431"/>
                    </a:moveTo>
                    <a:lnTo>
                      <a:pt x="4889" y="271431"/>
                    </a:lnTo>
                    <a:cubicBezTo>
                      <a:pt x="2176" y="271431"/>
                      <a:pt x="0" y="269230"/>
                      <a:pt x="0" y="266542"/>
                    </a:cubicBezTo>
                    <a:lnTo>
                      <a:pt x="0" y="10264"/>
                    </a:lnTo>
                    <a:cubicBezTo>
                      <a:pt x="0" y="3584"/>
                      <a:pt x="5299" y="0"/>
                      <a:pt x="10264" y="0"/>
                    </a:cubicBezTo>
                    <a:lnTo>
                      <a:pt x="139069" y="0"/>
                    </a:lnTo>
                    <a:cubicBezTo>
                      <a:pt x="141782" y="0"/>
                      <a:pt x="143958" y="2201"/>
                      <a:pt x="143958" y="4889"/>
                    </a:cubicBezTo>
                    <a:cubicBezTo>
                      <a:pt x="143958" y="7577"/>
                      <a:pt x="141756" y="9778"/>
                      <a:pt x="139069" y="9778"/>
                    </a:cubicBezTo>
                    <a:lnTo>
                      <a:pt x="10264" y="9778"/>
                    </a:lnTo>
                    <a:cubicBezTo>
                      <a:pt x="10162" y="9778"/>
                      <a:pt x="9829" y="9880"/>
                      <a:pt x="9727" y="9957"/>
                    </a:cubicBezTo>
                    <a:lnTo>
                      <a:pt x="9804" y="261602"/>
                    </a:lnTo>
                    <a:lnTo>
                      <a:pt x="408554" y="261602"/>
                    </a:lnTo>
                    <a:lnTo>
                      <a:pt x="408554" y="10264"/>
                    </a:lnTo>
                    <a:cubicBezTo>
                      <a:pt x="408503" y="9906"/>
                      <a:pt x="408170" y="9804"/>
                      <a:pt x="407966" y="9804"/>
                    </a:cubicBezTo>
                    <a:lnTo>
                      <a:pt x="280953" y="9804"/>
                    </a:lnTo>
                    <a:cubicBezTo>
                      <a:pt x="278240" y="9804"/>
                      <a:pt x="276064" y="7602"/>
                      <a:pt x="276064" y="4915"/>
                    </a:cubicBezTo>
                    <a:cubicBezTo>
                      <a:pt x="276064" y="2227"/>
                      <a:pt x="278265" y="26"/>
                      <a:pt x="280953" y="26"/>
                    </a:cubicBezTo>
                    <a:lnTo>
                      <a:pt x="408094" y="26"/>
                    </a:lnTo>
                    <a:cubicBezTo>
                      <a:pt x="413085" y="26"/>
                      <a:pt x="418384" y="3635"/>
                      <a:pt x="418384" y="10290"/>
                    </a:cubicBezTo>
                    <a:lnTo>
                      <a:pt x="418384" y="266542"/>
                    </a:lnTo>
                    <a:cubicBezTo>
                      <a:pt x="418358" y="269230"/>
                      <a:pt x="416157" y="271431"/>
                      <a:pt x="413443" y="271431"/>
                    </a:cubicBezTo>
                    <a:close/>
                  </a:path>
                </a:pathLst>
              </a:custGeom>
              <a:solidFill>
                <a:schemeClr val="tx2"/>
              </a:solidFill>
              <a:ln w="2558" cap="flat">
                <a:noFill/>
                <a:prstDash val="solid"/>
                <a:miter/>
              </a:ln>
            </p:spPr>
            <p:txBody>
              <a:bodyPr rtlCol="0" anchor="ctr"/>
              <a:lstStyle/>
              <a:p>
                <a:endParaRPr lang="en-GB" dirty="0"/>
              </a:p>
            </p:txBody>
          </p:sp>
          <p:sp>
            <p:nvSpPr>
              <p:cNvPr id="460" name="Freihandform: Form 402">
                <a:extLst>
                  <a:ext uri="{FF2B5EF4-FFF2-40B4-BE49-F238E27FC236}">
                    <a16:creationId xmlns:a16="http://schemas.microsoft.com/office/drawing/2014/main" id="{850690DE-2E68-48FB-8B0A-FA5448F280E7}"/>
                  </a:ext>
                </a:extLst>
              </p:cNvPr>
              <p:cNvSpPr/>
              <p:nvPr/>
            </p:nvSpPr>
            <p:spPr>
              <a:xfrm>
                <a:off x="1677965" y="2082346"/>
                <a:ext cx="574193" cy="37192"/>
              </a:xfrm>
              <a:custGeom>
                <a:avLst/>
                <a:gdLst>
                  <a:gd name="connsiteX0" fmla="*/ 569329 w 574193"/>
                  <a:gd name="connsiteY0" fmla="*/ 37193 h 37192"/>
                  <a:gd name="connsiteX1" fmla="*/ 4889 w 574193"/>
                  <a:gd name="connsiteY1" fmla="*/ 37193 h 37192"/>
                  <a:gd name="connsiteX2" fmla="*/ 0 w 574193"/>
                  <a:gd name="connsiteY2" fmla="*/ 32303 h 37192"/>
                  <a:gd name="connsiteX3" fmla="*/ 0 w 574193"/>
                  <a:gd name="connsiteY3" fmla="*/ 4889 h 37192"/>
                  <a:gd name="connsiteX4" fmla="*/ 4889 w 574193"/>
                  <a:gd name="connsiteY4" fmla="*/ 0 h 37192"/>
                  <a:gd name="connsiteX5" fmla="*/ 9778 w 574193"/>
                  <a:gd name="connsiteY5" fmla="*/ 4889 h 37192"/>
                  <a:gd name="connsiteX6" fmla="*/ 9778 w 574193"/>
                  <a:gd name="connsiteY6" fmla="*/ 27414 h 37192"/>
                  <a:gd name="connsiteX7" fmla="*/ 564415 w 574193"/>
                  <a:gd name="connsiteY7" fmla="*/ 27414 h 37192"/>
                  <a:gd name="connsiteX8" fmla="*/ 564415 w 574193"/>
                  <a:gd name="connsiteY8" fmla="*/ 4889 h 37192"/>
                  <a:gd name="connsiteX9" fmla="*/ 569304 w 574193"/>
                  <a:gd name="connsiteY9" fmla="*/ 0 h 37192"/>
                  <a:gd name="connsiteX10" fmla="*/ 574193 w 574193"/>
                  <a:gd name="connsiteY10" fmla="*/ 4889 h 37192"/>
                  <a:gd name="connsiteX11" fmla="*/ 574193 w 574193"/>
                  <a:gd name="connsiteY11" fmla="*/ 32303 h 37192"/>
                  <a:gd name="connsiteX12" fmla="*/ 569329 w 574193"/>
                  <a:gd name="connsiteY12" fmla="*/ 37193 h 37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4193" h="37192">
                    <a:moveTo>
                      <a:pt x="569329" y="37193"/>
                    </a:moveTo>
                    <a:lnTo>
                      <a:pt x="4889" y="37193"/>
                    </a:lnTo>
                    <a:cubicBezTo>
                      <a:pt x="2176" y="37193"/>
                      <a:pt x="0" y="34991"/>
                      <a:pt x="0" y="32303"/>
                    </a:cubicBezTo>
                    <a:lnTo>
                      <a:pt x="0" y="4889"/>
                    </a:lnTo>
                    <a:cubicBezTo>
                      <a:pt x="0" y="2176"/>
                      <a:pt x="2201" y="0"/>
                      <a:pt x="4889" y="0"/>
                    </a:cubicBezTo>
                    <a:cubicBezTo>
                      <a:pt x="7602" y="0"/>
                      <a:pt x="9778" y="2201"/>
                      <a:pt x="9778" y="4889"/>
                    </a:cubicBezTo>
                    <a:lnTo>
                      <a:pt x="9778" y="27414"/>
                    </a:lnTo>
                    <a:lnTo>
                      <a:pt x="564415" y="27414"/>
                    </a:lnTo>
                    <a:lnTo>
                      <a:pt x="564415" y="4889"/>
                    </a:lnTo>
                    <a:cubicBezTo>
                      <a:pt x="564415" y="2176"/>
                      <a:pt x="566616" y="0"/>
                      <a:pt x="569304" y="0"/>
                    </a:cubicBezTo>
                    <a:cubicBezTo>
                      <a:pt x="572017" y="0"/>
                      <a:pt x="574193" y="2201"/>
                      <a:pt x="574193" y="4889"/>
                    </a:cubicBezTo>
                    <a:lnTo>
                      <a:pt x="574193" y="32303"/>
                    </a:lnTo>
                    <a:cubicBezTo>
                      <a:pt x="574219" y="35017"/>
                      <a:pt x="572043" y="37193"/>
                      <a:pt x="569329" y="37193"/>
                    </a:cubicBezTo>
                    <a:close/>
                  </a:path>
                </a:pathLst>
              </a:custGeom>
              <a:solidFill>
                <a:schemeClr val="tx2"/>
              </a:solidFill>
              <a:ln w="2558" cap="flat">
                <a:noFill/>
                <a:prstDash val="solid"/>
                <a:miter/>
              </a:ln>
            </p:spPr>
            <p:txBody>
              <a:bodyPr rtlCol="0" anchor="ctr"/>
              <a:lstStyle/>
              <a:p>
                <a:endParaRPr lang="en-GB" dirty="0"/>
              </a:p>
            </p:txBody>
          </p:sp>
          <p:sp>
            <p:nvSpPr>
              <p:cNvPr id="461" name="Freihandform: Form 403">
                <a:extLst>
                  <a:ext uri="{FF2B5EF4-FFF2-40B4-BE49-F238E27FC236}">
                    <a16:creationId xmlns:a16="http://schemas.microsoft.com/office/drawing/2014/main" id="{6C3D15B7-89F2-4936-9E42-F5DC08E7E660}"/>
                  </a:ext>
                </a:extLst>
              </p:cNvPr>
              <p:cNvSpPr/>
              <p:nvPr/>
            </p:nvSpPr>
            <p:spPr>
              <a:xfrm>
                <a:off x="1677949" y="1987381"/>
                <a:ext cx="574229" cy="104768"/>
              </a:xfrm>
              <a:custGeom>
                <a:avLst/>
                <a:gdLst>
                  <a:gd name="connsiteX0" fmla="*/ 569346 w 574229"/>
                  <a:gd name="connsiteY0" fmla="*/ 104769 h 104768"/>
                  <a:gd name="connsiteX1" fmla="*/ 4905 w 574229"/>
                  <a:gd name="connsiteY1" fmla="*/ 104769 h 104768"/>
                  <a:gd name="connsiteX2" fmla="*/ 477 w 574229"/>
                  <a:gd name="connsiteY2" fmla="*/ 101979 h 104768"/>
                  <a:gd name="connsiteX3" fmla="*/ 1091 w 574229"/>
                  <a:gd name="connsiteY3" fmla="*/ 96782 h 104768"/>
                  <a:gd name="connsiteX4" fmla="*/ 78138 w 574229"/>
                  <a:gd name="connsiteY4" fmla="*/ 1817 h 104768"/>
                  <a:gd name="connsiteX5" fmla="*/ 81952 w 574229"/>
                  <a:gd name="connsiteY5" fmla="*/ 0 h 104768"/>
                  <a:gd name="connsiteX6" fmla="*/ 490507 w 574229"/>
                  <a:gd name="connsiteY6" fmla="*/ 0 h 104768"/>
                  <a:gd name="connsiteX7" fmla="*/ 494270 w 574229"/>
                  <a:gd name="connsiteY7" fmla="*/ 1766 h 104768"/>
                  <a:gd name="connsiteX8" fmla="*/ 573108 w 574229"/>
                  <a:gd name="connsiteY8" fmla="*/ 96731 h 104768"/>
                  <a:gd name="connsiteX9" fmla="*/ 573774 w 574229"/>
                  <a:gd name="connsiteY9" fmla="*/ 101953 h 104768"/>
                  <a:gd name="connsiteX10" fmla="*/ 569346 w 574229"/>
                  <a:gd name="connsiteY10" fmla="*/ 104769 h 104768"/>
                  <a:gd name="connsiteX11" fmla="*/ 15195 w 574229"/>
                  <a:gd name="connsiteY11" fmla="*/ 94965 h 104768"/>
                  <a:gd name="connsiteX12" fmla="*/ 558902 w 574229"/>
                  <a:gd name="connsiteY12" fmla="*/ 94965 h 104768"/>
                  <a:gd name="connsiteX13" fmla="*/ 488203 w 574229"/>
                  <a:gd name="connsiteY13" fmla="*/ 9804 h 104768"/>
                  <a:gd name="connsiteX14" fmla="*/ 84282 w 574229"/>
                  <a:gd name="connsiteY14" fmla="*/ 9804 h 104768"/>
                  <a:gd name="connsiteX15" fmla="*/ 15195 w 574229"/>
                  <a:gd name="connsiteY15" fmla="*/ 94965 h 10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4229" h="104768">
                    <a:moveTo>
                      <a:pt x="569346" y="104769"/>
                    </a:moveTo>
                    <a:lnTo>
                      <a:pt x="4905" y="104769"/>
                    </a:lnTo>
                    <a:cubicBezTo>
                      <a:pt x="3011" y="104769"/>
                      <a:pt x="1296" y="103668"/>
                      <a:pt x="477" y="101979"/>
                    </a:cubicBezTo>
                    <a:cubicBezTo>
                      <a:pt x="-342" y="100264"/>
                      <a:pt x="-86" y="98241"/>
                      <a:pt x="1091" y="96782"/>
                    </a:cubicBezTo>
                    <a:lnTo>
                      <a:pt x="78138" y="1817"/>
                    </a:lnTo>
                    <a:cubicBezTo>
                      <a:pt x="79060" y="666"/>
                      <a:pt x="80468" y="0"/>
                      <a:pt x="81952" y="0"/>
                    </a:cubicBezTo>
                    <a:lnTo>
                      <a:pt x="490507" y="0"/>
                    </a:lnTo>
                    <a:cubicBezTo>
                      <a:pt x="491966" y="0"/>
                      <a:pt x="493348" y="640"/>
                      <a:pt x="494270" y="1766"/>
                    </a:cubicBezTo>
                    <a:lnTo>
                      <a:pt x="573108" y="96731"/>
                    </a:lnTo>
                    <a:cubicBezTo>
                      <a:pt x="574311" y="98190"/>
                      <a:pt x="574568" y="100212"/>
                      <a:pt x="573774" y="101953"/>
                    </a:cubicBezTo>
                    <a:cubicBezTo>
                      <a:pt x="572980" y="103668"/>
                      <a:pt x="571240" y="104769"/>
                      <a:pt x="569346" y="104769"/>
                    </a:cubicBezTo>
                    <a:close/>
                    <a:moveTo>
                      <a:pt x="15195" y="94965"/>
                    </a:moveTo>
                    <a:lnTo>
                      <a:pt x="558902" y="94965"/>
                    </a:lnTo>
                    <a:lnTo>
                      <a:pt x="488203" y="9804"/>
                    </a:lnTo>
                    <a:lnTo>
                      <a:pt x="84282" y="9804"/>
                    </a:lnTo>
                    <a:lnTo>
                      <a:pt x="15195" y="94965"/>
                    </a:lnTo>
                    <a:close/>
                  </a:path>
                </a:pathLst>
              </a:custGeom>
              <a:solidFill>
                <a:schemeClr val="tx2"/>
              </a:solidFill>
              <a:ln w="2558" cap="flat">
                <a:noFill/>
                <a:prstDash val="solid"/>
                <a:miter/>
              </a:ln>
            </p:spPr>
            <p:txBody>
              <a:bodyPr rtlCol="0" anchor="ctr"/>
              <a:lstStyle/>
              <a:p>
                <a:endParaRPr lang="en-GB" dirty="0"/>
              </a:p>
            </p:txBody>
          </p:sp>
          <p:sp>
            <p:nvSpPr>
              <p:cNvPr id="462" name="Freihandform: Form 406">
                <a:extLst>
                  <a:ext uri="{FF2B5EF4-FFF2-40B4-BE49-F238E27FC236}">
                    <a16:creationId xmlns:a16="http://schemas.microsoft.com/office/drawing/2014/main" id="{DF3193CF-6961-4BF4-994D-D707AAB5AE32}"/>
                  </a:ext>
                </a:extLst>
              </p:cNvPr>
              <p:cNvSpPr/>
              <p:nvPr/>
            </p:nvSpPr>
            <p:spPr>
              <a:xfrm>
                <a:off x="1778305" y="1749072"/>
                <a:ext cx="369979" cy="219443"/>
              </a:xfrm>
              <a:custGeom>
                <a:avLst/>
                <a:gdLst>
                  <a:gd name="connsiteX0" fmla="*/ 365065 w 369979"/>
                  <a:gd name="connsiteY0" fmla="*/ 219443 h 219443"/>
                  <a:gd name="connsiteX1" fmla="*/ 4889 w 369979"/>
                  <a:gd name="connsiteY1" fmla="*/ 219443 h 219443"/>
                  <a:gd name="connsiteX2" fmla="*/ 0 w 369979"/>
                  <a:gd name="connsiteY2" fmla="*/ 214554 h 219443"/>
                  <a:gd name="connsiteX3" fmla="*/ 0 w 369979"/>
                  <a:gd name="connsiteY3" fmla="*/ 4889 h 219443"/>
                  <a:gd name="connsiteX4" fmla="*/ 4889 w 369979"/>
                  <a:gd name="connsiteY4" fmla="*/ 0 h 219443"/>
                  <a:gd name="connsiteX5" fmla="*/ 116057 w 369979"/>
                  <a:gd name="connsiteY5" fmla="*/ 0 h 219443"/>
                  <a:gd name="connsiteX6" fmla="*/ 120946 w 369979"/>
                  <a:gd name="connsiteY6" fmla="*/ 4889 h 219443"/>
                  <a:gd name="connsiteX7" fmla="*/ 116057 w 369979"/>
                  <a:gd name="connsiteY7" fmla="*/ 9778 h 219443"/>
                  <a:gd name="connsiteX8" fmla="*/ 9804 w 369979"/>
                  <a:gd name="connsiteY8" fmla="*/ 9778 h 219443"/>
                  <a:gd name="connsiteX9" fmla="*/ 9804 w 369979"/>
                  <a:gd name="connsiteY9" fmla="*/ 209640 h 219443"/>
                  <a:gd name="connsiteX10" fmla="*/ 360176 w 369979"/>
                  <a:gd name="connsiteY10" fmla="*/ 209640 h 219443"/>
                  <a:gd name="connsiteX11" fmla="*/ 360176 w 369979"/>
                  <a:gd name="connsiteY11" fmla="*/ 9778 h 219443"/>
                  <a:gd name="connsiteX12" fmla="*/ 260936 w 369979"/>
                  <a:gd name="connsiteY12" fmla="*/ 9778 h 219443"/>
                  <a:gd name="connsiteX13" fmla="*/ 256047 w 369979"/>
                  <a:gd name="connsiteY13" fmla="*/ 4889 h 219443"/>
                  <a:gd name="connsiteX14" fmla="*/ 260936 w 369979"/>
                  <a:gd name="connsiteY14" fmla="*/ 0 h 219443"/>
                  <a:gd name="connsiteX15" fmla="*/ 365091 w 369979"/>
                  <a:gd name="connsiteY15" fmla="*/ 0 h 219443"/>
                  <a:gd name="connsiteX16" fmla="*/ 369980 w 369979"/>
                  <a:gd name="connsiteY16" fmla="*/ 4889 h 219443"/>
                  <a:gd name="connsiteX17" fmla="*/ 369980 w 369979"/>
                  <a:gd name="connsiteY17" fmla="*/ 214554 h 219443"/>
                  <a:gd name="connsiteX18" fmla="*/ 365065 w 369979"/>
                  <a:gd name="connsiteY18" fmla="*/ 219443 h 219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9979" h="219443">
                    <a:moveTo>
                      <a:pt x="365065" y="219443"/>
                    </a:moveTo>
                    <a:lnTo>
                      <a:pt x="4889" y="219443"/>
                    </a:lnTo>
                    <a:cubicBezTo>
                      <a:pt x="2176" y="219443"/>
                      <a:pt x="0" y="217242"/>
                      <a:pt x="0" y="214554"/>
                    </a:cubicBezTo>
                    <a:lnTo>
                      <a:pt x="0" y="4889"/>
                    </a:lnTo>
                    <a:cubicBezTo>
                      <a:pt x="0" y="2176"/>
                      <a:pt x="2201" y="0"/>
                      <a:pt x="4889" y="0"/>
                    </a:cubicBezTo>
                    <a:lnTo>
                      <a:pt x="116057" y="0"/>
                    </a:lnTo>
                    <a:cubicBezTo>
                      <a:pt x="118770" y="0"/>
                      <a:pt x="120946" y="2201"/>
                      <a:pt x="120946" y="4889"/>
                    </a:cubicBezTo>
                    <a:cubicBezTo>
                      <a:pt x="120946" y="7602"/>
                      <a:pt x="118745" y="9778"/>
                      <a:pt x="116057" y="9778"/>
                    </a:cubicBezTo>
                    <a:lnTo>
                      <a:pt x="9804" y="9778"/>
                    </a:lnTo>
                    <a:lnTo>
                      <a:pt x="9804" y="209640"/>
                    </a:lnTo>
                    <a:lnTo>
                      <a:pt x="360176" y="209640"/>
                    </a:lnTo>
                    <a:lnTo>
                      <a:pt x="360176" y="9778"/>
                    </a:lnTo>
                    <a:lnTo>
                      <a:pt x="260936" y="9778"/>
                    </a:lnTo>
                    <a:cubicBezTo>
                      <a:pt x="258223" y="9778"/>
                      <a:pt x="256047" y="7577"/>
                      <a:pt x="256047" y="4889"/>
                    </a:cubicBezTo>
                    <a:cubicBezTo>
                      <a:pt x="256047" y="2176"/>
                      <a:pt x="258249" y="0"/>
                      <a:pt x="260936" y="0"/>
                    </a:cubicBezTo>
                    <a:lnTo>
                      <a:pt x="365091" y="0"/>
                    </a:lnTo>
                    <a:cubicBezTo>
                      <a:pt x="367804" y="0"/>
                      <a:pt x="369980" y="2201"/>
                      <a:pt x="369980" y="4889"/>
                    </a:cubicBezTo>
                    <a:lnTo>
                      <a:pt x="369980" y="214554"/>
                    </a:lnTo>
                    <a:cubicBezTo>
                      <a:pt x="369954" y="217242"/>
                      <a:pt x="367778" y="219443"/>
                      <a:pt x="365065" y="219443"/>
                    </a:cubicBezTo>
                    <a:close/>
                  </a:path>
                </a:pathLst>
              </a:custGeom>
              <a:solidFill>
                <a:schemeClr val="tx2"/>
              </a:solidFill>
              <a:ln w="2558" cap="flat">
                <a:noFill/>
                <a:prstDash val="solid"/>
                <a:miter/>
              </a:ln>
            </p:spPr>
            <p:txBody>
              <a:bodyPr rtlCol="0" anchor="ctr"/>
              <a:lstStyle/>
              <a:p>
                <a:endParaRPr lang="en-GB" dirty="0"/>
              </a:p>
            </p:txBody>
          </p:sp>
          <p:sp>
            <p:nvSpPr>
              <p:cNvPr id="463" name="Freihandform: Form 408">
                <a:extLst>
                  <a:ext uri="{FF2B5EF4-FFF2-40B4-BE49-F238E27FC236}">
                    <a16:creationId xmlns:a16="http://schemas.microsoft.com/office/drawing/2014/main" id="{C1A1DF53-E69C-4E2A-86CA-A03317BBA0DC}"/>
                  </a:ext>
                </a:extLst>
              </p:cNvPr>
              <p:cNvSpPr/>
              <p:nvPr/>
            </p:nvSpPr>
            <p:spPr>
              <a:xfrm>
                <a:off x="1764406" y="2038012"/>
                <a:ext cx="402001" cy="9778"/>
              </a:xfrm>
              <a:custGeom>
                <a:avLst/>
                <a:gdLst>
                  <a:gd name="connsiteX0" fmla="*/ 397112 w 402001"/>
                  <a:gd name="connsiteY0" fmla="*/ 9778 h 9778"/>
                  <a:gd name="connsiteX1" fmla="*/ 4889 w 402001"/>
                  <a:gd name="connsiteY1" fmla="*/ 9778 h 9778"/>
                  <a:gd name="connsiteX2" fmla="*/ 0 w 402001"/>
                  <a:gd name="connsiteY2" fmla="*/ 4889 h 9778"/>
                  <a:gd name="connsiteX3" fmla="*/ 4889 w 402001"/>
                  <a:gd name="connsiteY3" fmla="*/ 0 h 9778"/>
                  <a:gd name="connsiteX4" fmla="*/ 397112 w 402001"/>
                  <a:gd name="connsiteY4" fmla="*/ 0 h 9778"/>
                  <a:gd name="connsiteX5" fmla="*/ 402002 w 402001"/>
                  <a:gd name="connsiteY5" fmla="*/ 4889 h 9778"/>
                  <a:gd name="connsiteX6" fmla="*/ 397112 w 402001"/>
                  <a:gd name="connsiteY6" fmla="*/ 9778 h 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2001" h="9778">
                    <a:moveTo>
                      <a:pt x="397112" y="9778"/>
                    </a:moveTo>
                    <a:lnTo>
                      <a:pt x="4889" y="9778"/>
                    </a:lnTo>
                    <a:cubicBezTo>
                      <a:pt x="2176" y="9778"/>
                      <a:pt x="0" y="7577"/>
                      <a:pt x="0" y="4889"/>
                    </a:cubicBezTo>
                    <a:cubicBezTo>
                      <a:pt x="0" y="2176"/>
                      <a:pt x="2201" y="0"/>
                      <a:pt x="4889" y="0"/>
                    </a:cubicBezTo>
                    <a:lnTo>
                      <a:pt x="397112" y="0"/>
                    </a:lnTo>
                    <a:cubicBezTo>
                      <a:pt x="399826" y="0"/>
                      <a:pt x="402002" y="2201"/>
                      <a:pt x="402002" y="4889"/>
                    </a:cubicBezTo>
                    <a:cubicBezTo>
                      <a:pt x="402002" y="7577"/>
                      <a:pt x="399826" y="9778"/>
                      <a:pt x="397112" y="9778"/>
                    </a:cubicBezTo>
                    <a:close/>
                  </a:path>
                </a:pathLst>
              </a:custGeom>
              <a:solidFill>
                <a:schemeClr val="tx2"/>
              </a:solidFill>
              <a:ln w="2558" cap="flat">
                <a:noFill/>
                <a:prstDash val="solid"/>
                <a:miter/>
              </a:ln>
            </p:spPr>
            <p:txBody>
              <a:bodyPr rtlCol="0" anchor="ctr"/>
              <a:lstStyle/>
              <a:p>
                <a:endParaRPr lang="en-GB" dirty="0"/>
              </a:p>
            </p:txBody>
          </p:sp>
        </p:grpSp>
      </p:grpSp>
      <p:grpSp>
        <p:nvGrpSpPr>
          <p:cNvPr id="613" name="Group 612">
            <a:extLst>
              <a:ext uri="{FF2B5EF4-FFF2-40B4-BE49-F238E27FC236}">
                <a16:creationId xmlns:a16="http://schemas.microsoft.com/office/drawing/2014/main" id="{B03F53E1-FF64-5BEF-AF8C-33A47EE19173}"/>
              </a:ext>
            </a:extLst>
          </p:cNvPr>
          <p:cNvGrpSpPr/>
          <p:nvPr/>
        </p:nvGrpSpPr>
        <p:grpSpPr>
          <a:xfrm>
            <a:off x="8103276" y="2399021"/>
            <a:ext cx="478785" cy="432000"/>
            <a:chOff x="8102864" y="2399021"/>
            <a:chExt cx="478785" cy="432000"/>
          </a:xfrm>
        </p:grpSpPr>
        <p:grpSp>
          <p:nvGrpSpPr>
            <p:cNvPr id="474" name="Grafik 41">
              <a:extLst>
                <a:ext uri="{FF2B5EF4-FFF2-40B4-BE49-F238E27FC236}">
                  <a16:creationId xmlns:a16="http://schemas.microsoft.com/office/drawing/2014/main" id="{1EEE109F-5F55-45A1-8656-64D701BE8596}"/>
                </a:ext>
              </a:extLst>
            </p:cNvPr>
            <p:cNvGrpSpPr/>
            <p:nvPr/>
          </p:nvGrpSpPr>
          <p:grpSpPr>
            <a:xfrm>
              <a:off x="8115534" y="2399021"/>
              <a:ext cx="466115" cy="432000"/>
              <a:chOff x="1817110" y="4165910"/>
              <a:chExt cx="451019" cy="418009"/>
            </a:xfrm>
            <a:solidFill>
              <a:schemeClr val="accent1"/>
            </a:solidFill>
          </p:grpSpPr>
          <p:sp>
            <p:nvSpPr>
              <p:cNvPr id="489" name="Freihandform: Form 568">
                <a:extLst>
                  <a:ext uri="{FF2B5EF4-FFF2-40B4-BE49-F238E27FC236}">
                    <a16:creationId xmlns:a16="http://schemas.microsoft.com/office/drawing/2014/main" id="{ED0C33C5-72DE-4A49-B5EB-10ABBE515152}"/>
                  </a:ext>
                </a:extLst>
              </p:cNvPr>
              <p:cNvSpPr/>
              <p:nvPr/>
            </p:nvSpPr>
            <p:spPr>
              <a:xfrm>
                <a:off x="1817110" y="4166073"/>
                <a:ext cx="87977" cy="60101"/>
              </a:xfrm>
              <a:custGeom>
                <a:avLst/>
                <a:gdLst>
                  <a:gd name="connsiteX0" fmla="*/ 83088 w 87977"/>
                  <a:gd name="connsiteY0" fmla="*/ 60102 h 60101"/>
                  <a:gd name="connsiteX1" fmla="*/ 9113 w 87977"/>
                  <a:gd name="connsiteY1" fmla="*/ 60102 h 60101"/>
                  <a:gd name="connsiteX2" fmla="*/ 4812 w 87977"/>
                  <a:gd name="connsiteY2" fmla="*/ 57568 h 60101"/>
                  <a:gd name="connsiteX3" fmla="*/ 0 w 87977"/>
                  <a:gd name="connsiteY3" fmla="*/ 38882 h 60101"/>
                  <a:gd name="connsiteX4" fmla="*/ 38882 w 87977"/>
                  <a:gd name="connsiteY4" fmla="*/ 0 h 60101"/>
                  <a:gd name="connsiteX5" fmla="*/ 74846 w 87977"/>
                  <a:gd name="connsiteY5" fmla="*/ 0 h 60101"/>
                  <a:gd name="connsiteX6" fmla="*/ 79735 w 87977"/>
                  <a:gd name="connsiteY6" fmla="*/ 4889 h 60101"/>
                  <a:gd name="connsiteX7" fmla="*/ 74846 w 87977"/>
                  <a:gd name="connsiteY7" fmla="*/ 9778 h 60101"/>
                  <a:gd name="connsiteX8" fmla="*/ 38882 w 87977"/>
                  <a:gd name="connsiteY8" fmla="*/ 9778 h 60101"/>
                  <a:gd name="connsiteX9" fmla="*/ 9804 w 87977"/>
                  <a:gd name="connsiteY9" fmla="*/ 38856 h 60101"/>
                  <a:gd name="connsiteX10" fmla="*/ 12159 w 87977"/>
                  <a:gd name="connsiteY10" fmla="*/ 50273 h 60101"/>
                  <a:gd name="connsiteX11" fmla="*/ 83088 w 87977"/>
                  <a:gd name="connsiteY11" fmla="*/ 50273 h 60101"/>
                  <a:gd name="connsiteX12" fmla="*/ 87977 w 87977"/>
                  <a:gd name="connsiteY12" fmla="*/ 55162 h 60101"/>
                  <a:gd name="connsiteX13" fmla="*/ 83088 w 87977"/>
                  <a:gd name="connsiteY13" fmla="*/ 60102 h 6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977" h="60101">
                    <a:moveTo>
                      <a:pt x="83088" y="60102"/>
                    </a:moveTo>
                    <a:lnTo>
                      <a:pt x="9113" y="60102"/>
                    </a:lnTo>
                    <a:cubicBezTo>
                      <a:pt x="7321" y="60102"/>
                      <a:pt x="5683" y="59129"/>
                      <a:pt x="4812" y="57568"/>
                    </a:cubicBezTo>
                    <a:cubicBezTo>
                      <a:pt x="1664" y="51885"/>
                      <a:pt x="0" y="45409"/>
                      <a:pt x="0" y="38882"/>
                    </a:cubicBezTo>
                    <a:cubicBezTo>
                      <a:pt x="0" y="17432"/>
                      <a:pt x="17432" y="0"/>
                      <a:pt x="38882" y="0"/>
                    </a:cubicBezTo>
                    <a:lnTo>
                      <a:pt x="74846" y="0"/>
                    </a:lnTo>
                    <a:cubicBezTo>
                      <a:pt x="77559" y="0"/>
                      <a:pt x="79735" y="2201"/>
                      <a:pt x="79735" y="4889"/>
                    </a:cubicBezTo>
                    <a:cubicBezTo>
                      <a:pt x="79735" y="7602"/>
                      <a:pt x="77533" y="9778"/>
                      <a:pt x="74846" y="9778"/>
                    </a:cubicBezTo>
                    <a:lnTo>
                      <a:pt x="38882" y="9778"/>
                    </a:lnTo>
                    <a:cubicBezTo>
                      <a:pt x="22858" y="9778"/>
                      <a:pt x="9804" y="22833"/>
                      <a:pt x="9804" y="38856"/>
                    </a:cubicBezTo>
                    <a:cubicBezTo>
                      <a:pt x="9804" y="42798"/>
                      <a:pt x="10597" y="46689"/>
                      <a:pt x="12159" y="50273"/>
                    </a:cubicBezTo>
                    <a:lnTo>
                      <a:pt x="83088" y="50273"/>
                    </a:lnTo>
                    <a:cubicBezTo>
                      <a:pt x="85801" y="50273"/>
                      <a:pt x="87977" y="52474"/>
                      <a:pt x="87977" y="55162"/>
                    </a:cubicBezTo>
                    <a:cubicBezTo>
                      <a:pt x="87977" y="57901"/>
                      <a:pt x="85801" y="60102"/>
                      <a:pt x="83088" y="60102"/>
                    </a:cubicBezTo>
                    <a:close/>
                  </a:path>
                </a:pathLst>
              </a:custGeom>
              <a:solidFill>
                <a:schemeClr val="accent1"/>
              </a:solidFill>
              <a:ln w="2558" cap="flat">
                <a:noFill/>
                <a:prstDash val="solid"/>
                <a:miter/>
              </a:ln>
            </p:spPr>
            <p:txBody>
              <a:bodyPr rtlCol="0" anchor="ctr"/>
              <a:lstStyle/>
              <a:p>
                <a:endParaRPr lang="en-GB" dirty="0"/>
              </a:p>
            </p:txBody>
          </p:sp>
          <p:sp>
            <p:nvSpPr>
              <p:cNvPr id="490" name="Freihandform: Form 569">
                <a:extLst>
                  <a:ext uri="{FF2B5EF4-FFF2-40B4-BE49-F238E27FC236}">
                    <a16:creationId xmlns:a16="http://schemas.microsoft.com/office/drawing/2014/main" id="{556920DB-0E64-4C9B-982A-56899949B1BA}"/>
                  </a:ext>
                </a:extLst>
              </p:cNvPr>
              <p:cNvSpPr/>
              <p:nvPr/>
            </p:nvSpPr>
            <p:spPr>
              <a:xfrm>
                <a:off x="1895565" y="4485525"/>
                <a:ext cx="51615" cy="98394"/>
              </a:xfrm>
              <a:custGeom>
                <a:avLst/>
                <a:gdLst>
                  <a:gd name="connsiteX0" fmla="*/ 43080 w 51615"/>
                  <a:gd name="connsiteY0" fmla="*/ 98395 h 98394"/>
                  <a:gd name="connsiteX1" fmla="*/ 13925 w 51615"/>
                  <a:gd name="connsiteY1" fmla="*/ 88259 h 98394"/>
                  <a:gd name="connsiteX2" fmla="*/ 0 w 51615"/>
                  <a:gd name="connsiteY2" fmla="*/ 51501 h 98394"/>
                  <a:gd name="connsiteX3" fmla="*/ 0 w 51615"/>
                  <a:gd name="connsiteY3" fmla="*/ 4889 h 98394"/>
                  <a:gd name="connsiteX4" fmla="*/ 4889 w 51615"/>
                  <a:gd name="connsiteY4" fmla="*/ 0 h 98394"/>
                  <a:gd name="connsiteX5" fmla="*/ 9778 w 51615"/>
                  <a:gd name="connsiteY5" fmla="*/ 4889 h 98394"/>
                  <a:gd name="connsiteX6" fmla="*/ 9778 w 51615"/>
                  <a:gd name="connsiteY6" fmla="*/ 51501 h 98394"/>
                  <a:gd name="connsiteX7" fmla="*/ 20324 w 51615"/>
                  <a:gd name="connsiteY7" fmla="*/ 80861 h 98394"/>
                  <a:gd name="connsiteX8" fmla="*/ 46126 w 51615"/>
                  <a:gd name="connsiteY8" fmla="*/ 88463 h 98394"/>
                  <a:gd name="connsiteX9" fmla="*/ 51578 w 51615"/>
                  <a:gd name="connsiteY9" fmla="*/ 92738 h 98394"/>
                  <a:gd name="connsiteX10" fmla="*/ 47329 w 51615"/>
                  <a:gd name="connsiteY10" fmla="*/ 98190 h 98394"/>
                  <a:gd name="connsiteX11" fmla="*/ 43080 w 51615"/>
                  <a:gd name="connsiteY11" fmla="*/ 98395 h 98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615" h="98394">
                    <a:moveTo>
                      <a:pt x="43080" y="98395"/>
                    </a:moveTo>
                    <a:cubicBezTo>
                      <a:pt x="36578" y="98395"/>
                      <a:pt x="23959" y="97115"/>
                      <a:pt x="13925" y="88259"/>
                    </a:cubicBezTo>
                    <a:cubicBezTo>
                      <a:pt x="4684" y="80119"/>
                      <a:pt x="0" y="67730"/>
                      <a:pt x="0" y="51501"/>
                    </a:cubicBezTo>
                    <a:lnTo>
                      <a:pt x="0" y="4889"/>
                    </a:lnTo>
                    <a:cubicBezTo>
                      <a:pt x="0" y="2176"/>
                      <a:pt x="2201" y="0"/>
                      <a:pt x="4889" y="0"/>
                    </a:cubicBezTo>
                    <a:cubicBezTo>
                      <a:pt x="7602" y="0"/>
                      <a:pt x="9778" y="2201"/>
                      <a:pt x="9778" y="4889"/>
                    </a:cubicBezTo>
                    <a:lnTo>
                      <a:pt x="9778" y="51501"/>
                    </a:lnTo>
                    <a:cubicBezTo>
                      <a:pt x="9778" y="64786"/>
                      <a:pt x="13336" y="74641"/>
                      <a:pt x="20324" y="80861"/>
                    </a:cubicBezTo>
                    <a:cubicBezTo>
                      <a:pt x="30793" y="90153"/>
                      <a:pt x="45972" y="88463"/>
                      <a:pt x="46126" y="88463"/>
                    </a:cubicBezTo>
                    <a:cubicBezTo>
                      <a:pt x="48814" y="88105"/>
                      <a:pt x="51245" y="90050"/>
                      <a:pt x="51578" y="92738"/>
                    </a:cubicBezTo>
                    <a:cubicBezTo>
                      <a:pt x="51911" y="95426"/>
                      <a:pt x="50017" y="97857"/>
                      <a:pt x="47329" y="98190"/>
                    </a:cubicBezTo>
                    <a:cubicBezTo>
                      <a:pt x="47124" y="98190"/>
                      <a:pt x="45537" y="98395"/>
                      <a:pt x="43080" y="98395"/>
                    </a:cubicBezTo>
                    <a:close/>
                  </a:path>
                </a:pathLst>
              </a:custGeom>
              <a:solidFill>
                <a:schemeClr val="accent1"/>
              </a:solidFill>
              <a:ln w="2558" cap="flat">
                <a:noFill/>
                <a:prstDash val="solid"/>
                <a:miter/>
              </a:ln>
            </p:spPr>
            <p:txBody>
              <a:bodyPr rtlCol="0" anchor="ctr"/>
              <a:lstStyle/>
              <a:p>
                <a:endParaRPr lang="en-GB" dirty="0"/>
              </a:p>
            </p:txBody>
          </p:sp>
          <p:sp>
            <p:nvSpPr>
              <p:cNvPr id="491" name="Freihandform: Form 570">
                <a:extLst>
                  <a:ext uri="{FF2B5EF4-FFF2-40B4-BE49-F238E27FC236}">
                    <a16:creationId xmlns:a16="http://schemas.microsoft.com/office/drawing/2014/main" id="{1CD46E5C-9B82-4012-94E3-62B29D8C7882}"/>
                  </a:ext>
                </a:extLst>
              </p:cNvPr>
              <p:cNvSpPr/>
              <p:nvPr/>
            </p:nvSpPr>
            <p:spPr>
              <a:xfrm>
                <a:off x="1853782" y="4165910"/>
                <a:ext cx="344442" cy="362335"/>
              </a:xfrm>
              <a:custGeom>
                <a:avLst/>
                <a:gdLst>
                  <a:gd name="connsiteX0" fmla="*/ 339528 w 344442"/>
                  <a:gd name="connsiteY0" fmla="*/ 362336 h 362335"/>
                  <a:gd name="connsiteX1" fmla="*/ 334639 w 344442"/>
                  <a:gd name="connsiteY1" fmla="*/ 357447 h 362335"/>
                  <a:gd name="connsiteX2" fmla="*/ 334639 w 344442"/>
                  <a:gd name="connsiteY2" fmla="*/ 46878 h 362335"/>
                  <a:gd name="connsiteX3" fmla="*/ 297677 w 344442"/>
                  <a:gd name="connsiteY3" fmla="*/ 9967 h 362335"/>
                  <a:gd name="connsiteX4" fmla="*/ 34693 w 344442"/>
                  <a:gd name="connsiteY4" fmla="*/ 9967 h 362335"/>
                  <a:gd name="connsiteX5" fmla="*/ 34872 w 344442"/>
                  <a:gd name="connsiteY5" fmla="*/ 10120 h 362335"/>
                  <a:gd name="connsiteX6" fmla="*/ 51587 w 344442"/>
                  <a:gd name="connsiteY6" fmla="*/ 57347 h 362335"/>
                  <a:gd name="connsiteX7" fmla="*/ 51587 w 344442"/>
                  <a:gd name="connsiteY7" fmla="*/ 100120 h 362335"/>
                  <a:gd name="connsiteX8" fmla="*/ 46698 w 344442"/>
                  <a:gd name="connsiteY8" fmla="*/ 105009 h 362335"/>
                  <a:gd name="connsiteX9" fmla="*/ 41809 w 344442"/>
                  <a:gd name="connsiteY9" fmla="*/ 100120 h 362335"/>
                  <a:gd name="connsiteX10" fmla="*/ 41809 w 344442"/>
                  <a:gd name="connsiteY10" fmla="*/ 57347 h 362335"/>
                  <a:gd name="connsiteX11" fmla="*/ 28524 w 344442"/>
                  <a:gd name="connsiteY11" fmla="*/ 17544 h 362335"/>
                  <a:gd name="connsiteX12" fmla="*/ 10171 w 344442"/>
                  <a:gd name="connsiteY12" fmla="*/ 9941 h 362335"/>
                  <a:gd name="connsiteX13" fmla="*/ 4898 w 344442"/>
                  <a:gd name="connsiteY13" fmla="*/ 9941 h 362335"/>
                  <a:gd name="connsiteX14" fmla="*/ 9 w 344442"/>
                  <a:gd name="connsiteY14" fmla="*/ 5334 h 362335"/>
                  <a:gd name="connsiteX15" fmla="*/ 4283 w 344442"/>
                  <a:gd name="connsiteY15" fmla="*/ 163 h 362335"/>
                  <a:gd name="connsiteX16" fmla="*/ 10708 w 344442"/>
                  <a:gd name="connsiteY16" fmla="*/ 112 h 362335"/>
                  <a:gd name="connsiteX17" fmla="*/ 297702 w 344442"/>
                  <a:gd name="connsiteY17" fmla="*/ 112 h 362335"/>
                  <a:gd name="connsiteX18" fmla="*/ 344443 w 344442"/>
                  <a:gd name="connsiteY18" fmla="*/ 46827 h 362335"/>
                  <a:gd name="connsiteX19" fmla="*/ 344443 w 344442"/>
                  <a:gd name="connsiteY19" fmla="*/ 357396 h 362335"/>
                  <a:gd name="connsiteX20" fmla="*/ 339528 w 344442"/>
                  <a:gd name="connsiteY20" fmla="*/ 362336 h 36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44442" h="362335">
                    <a:moveTo>
                      <a:pt x="339528" y="362336"/>
                    </a:moveTo>
                    <a:cubicBezTo>
                      <a:pt x="336815" y="362336"/>
                      <a:pt x="334639" y="360134"/>
                      <a:pt x="334639" y="357447"/>
                    </a:cubicBezTo>
                    <a:lnTo>
                      <a:pt x="334639" y="46878"/>
                    </a:lnTo>
                    <a:cubicBezTo>
                      <a:pt x="334639" y="10556"/>
                      <a:pt x="299187" y="9967"/>
                      <a:pt x="297677" y="9967"/>
                    </a:cubicBezTo>
                    <a:lnTo>
                      <a:pt x="34693" y="9967"/>
                    </a:lnTo>
                    <a:cubicBezTo>
                      <a:pt x="34744" y="10018"/>
                      <a:pt x="34821" y="10069"/>
                      <a:pt x="34872" y="10120"/>
                    </a:cubicBezTo>
                    <a:cubicBezTo>
                      <a:pt x="45955" y="19924"/>
                      <a:pt x="51587" y="35820"/>
                      <a:pt x="51587" y="57347"/>
                    </a:cubicBezTo>
                    <a:lnTo>
                      <a:pt x="51587" y="100120"/>
                    </a:lnTo>
                    <a:cubicBezTo>
                      <a:pt x="51587" y="102833"/>
                      <a:pt x="49386" y="105009"/>
                      <a:pt x="46698" y="105009"/>
                    </a:cubicBezTo>
                    <a:cubicBezTo>
                      <a:pt x="43985" y="105009"/>
                      <a:pt x="41809" y="102807"/>
                      <a:pt x="41809" y="100120"/>
                    </a:cubicBezTo>
                    <a:lnTo>
                      <a:pt x="41809" y="57347"/>
                    </a:lnTo>
                    <a:cubicBezTo>
                      <a:pt x="41809" y="38815"/>
                      <a:pt x="37329" y="25427"/>
                      <a:pt x="28524" y="17544"/>
                    </a:cubicBezTo>
                    <a:cubicBezTo>
                      <a:pt x="22201" y="11912"/>
                      <a:pt x="14855" y="10325"/>
                      <a:pt x="10171" y="9941"/>
                    </a:cubicBezTo>
                    <a:lnTo>
                      <a:pt x="4898" y="9941"/>
                    </a:lnTo>
                    <a:cubicBezTo>
                      <a:pt x="2313" y="9941"/>
                      <a:pt x="162" y="7919"/>
                      <a:pt x="9" y="5334"/>
                    </a:cubicBezTo>
                    <a:cubicBezTo>
                      <a:pt x="-145" y="2748"/>
                      <a:pt x="1724" y="470"/>
                      <a:pt x="4283" y="163"/>
                    </a:cubicBezTo>
                    <a:cubicBezTo>
                      <a:pt x="4539" y="112"/>
                      <a:pt x="7022" y="-144"/>
                      <a:pt x="10708" y="112"/>
                    </a:cubicBezTo>
                    <a:lnTo>
                      <a:pt x="297702" y="112"/>
                    </a:lnTo>
                    <a:cubicBezTo>
                      <a:pt x="313880" y="112"/>
                      <a:pt x="344443" y="9864"/>
                      <a:pt x="344443" y="46827"/>
                    </a:cubicBezTo>
                    <a:lnTo>
                      <a:pt x="344443" y="357396"/>
                    </a:lnTo>
                    <a:cubicBezTo>
                      <a:pt x="344443" y="360134"/>
                      <a:pt x="342241" y="362336"/>
                      <a:pt x="339528" y="362336"/>
                    </a:cubicBezTo>
                    <a:close/>
                  </a:path>
                </a:pathLst>
              </a:custGeom>
              <a:solidFill>
                <a:schemeClr val="accent1"/>
              </a:solidFill>
              <a:ln w="2558" cap="flat">
                <a:noFill/>
                <a:prstDash val="solid"/>
                <a:miter/>
              </a:ln>
            </p:spPr>
            <p:txBody>
              <a:bodyPr rtlCol="0" anchor="ctr"/>
              <a:lstStyle/>
              <a:p>
                <a:endParaRPr lang="en-GB" dirty="0"/>
              </a:p>
            </p:txBody>
          </p:sp>
          <p:sp>
            <p:nvSpPr>
              <p:cNvPr id="492" name="Freihandform: Form 571">
                <a:extLst>
                  <a:ext uri="{FF2B5EF4-FFF2-40B4-BE49-F238E27FC236}">
                    <a16:creationId xmlns:a16="http://schemas.microsoft.com/office/drawing/2014/main" id="{1EACD96C-BD16-45E2-9D12-9292407408A3}"/>
                  </a:ext>
                </a:extLst>
              </p:cNvPr>
              <p:cNvSpPr/>
              <p:nvPr/>
            </p:nvSpPr>
            <p:spPr>
              <a:xfrm>
                <a:off x="1930224" y="4523818"/>
                <a:ext cx="337906" cy="60101"/>
              </a:xfrm>
              <a:custGeom>
                <a:avLst/>
                <a:gdLst>
                  <a:gd name="connsiteX0" fmla="*/ 299025 w 337906"/>
                  <a:gd name="connsiteY0" fmla="*/ 60102 h 60101"/>
                  <a:gd name="connsiteX1" fmla="*/ 4889 w 337906"/>
                  <a:gd name="connsiteY1" fmla="*/ 60102 h 60101"/>
                  <a:gd name="connsiteX2" fmla="*/ 0 w 337906"/>
                  <a:gd name="connsiteY2" fmla="*/ 55213 h 60101"/>
                  <a:gd name="connsiteX3" fmla="*/ 4889 w 337906"/>
                  <a:gd name="connsiteY3" fmla="*/ 50324 h 60101"/>
                  <a:gd name="connsiteX4" fmla="*/ 33967 w 337906"/>
                  <a:gd name="connsiteY4" fmla="*/ 21246 h 60101"/>
                  <a:gd name="connsiteX5" fmla="*/ 30409 w 337906"/>
                  <a:gd name="connsiteY5" fmla="*/ 7244 h 60101"/>
                  <a:gd name="connsiteX6" fmla="*/ 30486 w 337906"/>
                  <a:gd name="connsiteY6" fmla="*/ 2406 h 60101"/>
                  <a:gd name="connsiteX7" fmla="*/ 34710 w 337906"/>
                  <a:gd name="connsiteY7" fmla="*/ 0 h 60101"/>
                  <a:gd name="connsiteX8" fmla="*/ 328820 w 337906"/>
                  <a:gd name="connsiteY8" fmla="*/ 0 h 60101"/>
                  <a:gd name="connsiteX9" fmla="*/ 333120 w 337906"/>
                  <a:gd name="connsiteY9" fmla="*/ 2534 h 60101"/>
                  <a:gd name="connsiteX10" fmla="*/ 337907 w 337906"/>
                  <a:gd name="connsiteY10" fmla="*/ 21246 h 60101"/>
                  <a:gd name="connsiteX11" fmla="*/ 299025 w 337906"/>
                  <a:gd name="connsiteY11" fmla="*/ 60102 h 60101"/>
                  <a:gd name="connsiteX12" fmla="*/ 30665 w 337906"/>
                  <a:gd name="connsiteY12" fmla="*/ 50298 h 60101"/>
                  <a:gd name="connsiteX13" fmla="*/ 299025 w 337906"/>
                  <a:gd name="connsiteY13" fmla="*/ 50298 h 60101"/>
                  <a:gd name="connsiteX14" fmla="*/ 328103 w 337906"/>
                  <a:gd name="connsiteY14" fmla="*/ 21220 h 60101"/>
                  <a:gd name="connsiteX15" fmla="*/ 325774 w 337906"/>
                  <a:gd name="connsiteY15" fmla="*/ 9778 h 60101"/>
                  <a:gd name="connsiteX16" fmla="*/ 42056 w 337906"/>
                  <a:gd name="connsiteY16" fmla="*/ 9778 h 60101"/>
                  <a:gd name="connsiteX17" fmla="*/ 43771 w 337906"/>
                  <a:gd name="connsiteY17" fmla="*/ 21220 h 60101"/>
                  <a:gd name="connsiteX18" fmla="*/ 30665 w 337906"/>
                  <a:gd name="connsiteY18" fmla="*/ 50298 h 60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37906" h="60101">
                    <a:moveTo>
                      <a:pt x="299025" y="60102"/>
                    </a:moveTo>
                    <a:lnTo>
                      <a:pt x="4889" y="60102"/>
                    </a:lnTo>
                    <a:cubicBezTo>
                      <a:pt x="2176" y="60102"/>
                      <a:pt x="0" y="57901"/>
                      <a:pt x="0" y="55213"/>
                    </a:cubicBezTo>
                    <a:cubicBezTo>
                      <a:pt x="0" y="52500"/>
                      <a:pt x="2201" y="50324"/>
                      <a:pt x="4889" y="50324"/>
                    </a:cubicBezTo>
                    <a:cubicBezTo>
                      <a:pt x="20913" y="50324"/>
                      <a:pt x="33967" y="37269"/>
                      <a:pt x="33967" y="21246"/>
                    </a:cubicBezTo>
                    <a:cubicBezTo>
                      <a:pt x="33967" y="16280"/>
                      <a:pt x="32764" y="11570"/>
                      <a:pt x="30409" y="7244"/>
                    </a:cubicBezTo>
                    <a:cubicBezTo>
                      <a:pt x="29565" y="5734"/>
                      <a:pt x="29616" y="3891"/>
                      <a:pt x="30486" y="2406"/>
                    </a:cubicBezTo>
                    <a:cubicBezTo>
                      <a:pt x="31382" y="921"/>
                      <a:pt x="32969" y="0"/>
                      <a:pt x="34710" y="0"/>
                    </a:cubicBezTo>
                    <a:lnTo>
                      <a:pt x="328820" y="0"/>
                    </a:lnTo>
                    <a:cubicBezTo>
                      <a:pt x="330612" y="0"/>
                      <a:pt x="332250" y="973"/>
                      <a:pt x="333120" y="2534"/>
                    </a:cubicBezTo>
                    <a:cubicBezTo>
                      <a:pt x="336243" y="8217"/>
                      <a:pt x="337907" y="14693"/>
                      <a:pt x="337907" y="21246"/>
                    </a:cubicBezTo>
                    <a:cubicBezTo>
                      <a:pt x="337907" y="42670"/>
                      <a:pt x="320475" y="60102"/>
                      <a:pt x="299025" y="60102"/>
                    </a:cubicBezTo>
                    <a:close/>
                    <a:moveTo>
                      <a:pt x="30665" y="50298"/>
                    </a:moveTo>
                    <a:lnTo>
                      <a:pt x="299025" y="50298"/>
                    </a:lnTo>
                    <a:cubicBezTo>
                      <a:pt x="315048" y="50298"/>
                      <a:pt x="328103" y="37244"/>
                      <a:pt x="328103" y="21220"/>
                    </a:cubicBezTo>
                    <a:cubicBezTo>
                      <a:pt x="328103" y="17201"/>
                      <a:pt x="327309" y="13362"/>
                      <a:pt x="325774" y="9778"/>
                    </a:cubicBezTo>
                    <a:lnTo>
                      <a:pt x="42056" y="9778"/>
                    </a:lnTo>
                    <a:cubicBezTo>
                      <a:pt x="43182" y="13464"/>
                      <a:pt x="43771" y="17329"/>
                      <a:pt x="43771" y="21220"/>
                    </a:cubicBezTo>
                    <a:cubicBezTo>
                      <a:pt x="43771" y="32764"/>
                      <a:pt x="38703" y="43182"/>
                      <a:pt x="30665" y="50298"/>
                    </a:cubicBezTo>
                    <a:close/>
                  </a:path>
                </a:pathLst>
              </a:custGeom>
              <a:solidFill>
                <a:schemeClr val="accent1"/>
              </a:solidFill>
              <a:ln w="2558" cap="flat">
                <a:noFill/>
                <a:prstDash val="solid"/>
                <a:miter/>
              </a:ln>
            </p:spPr>
            <p:txBody>
              <a:bodyPr rtlCol="0" anchor="ctr"/>
              <a:lstStyle/>
              <a:p>
                <a:endParaRPr lang="en-GB" dirty="0"/>
              </a:p>
            </p:txBody>
          </p:sp>
        </p:grpSp>
        <p:grpSp>
          <p:nvGrpSpPr>
            <p:cNvPr id="475" name="Group 474">
              <a:extLst>
                <a:ext uri="{FF2B5EF4-FFF2-40B4-BE49-F238E27FC236}">
                  <a16:creationId xmlns:a16="http://schemas.microsoft.com/office/drawing/2014/main" id="{F71A3600-D935-4DD1-BAA4-6B7068EBCDC8}"/>
                </a:ext>
              </a:extLst>
            </p:cNvPr>
            <p:cNvGrpSpPr/>
            <p:nvPr/>
          </p:nvGrpSpPr>
          <p:grpSpPr>
            <a:xfrm>
              <a:off x="8102864" y="2481302"/>
              <a:ext cx="358739" cy="233852"/>
              <a:chOff x="1804850" y="4245526"/>
              <a:chExt cx="347121" cy="226278"/>
            </a:xfrm>
            <a:solidFill>
              <a:schemeClr val="tx2"/>
            </a:solidFill>
          </p:grpSpPr>
          <p:grpSp>
            <p:nvGrpSpPr>
              <p:cNvPr id="476" name="Grafik 41">
                <a:extLst>
                  <a:ext uri="{FF2B5EF4-FFF2-40B4-BE49-F238E27FC236}">
                    <a16:creationId xmlns:a16="http://schemas.microsoft.com/office/drawing/2014/main" id="{51A55556-E4E3-4134-A1ED-7AF37926599A}"/>
                  </a:ext>
                </a:extLst>
              </p:cNvPr>
              <p:cNvGrpSpPr/>
              <p:nvPr/>
            </p:nvGrpSpPr>
            <p:grpSpPr>
              <a:xfrm>
                <a:off x="1804850" y="4283359"/>
                <a:ext cx="188445" cy="188445"/>
                <a:chOff x="1804850" y="4283359"/>
                <a:chExt cx="188445" cy="188445"/>
              </a:xfrm>
              <a:grpFill/>
            </p:grpSpPr>
            <p:sp>
              <p:nvSpPr>
                <p:cNvPr id="482" name="Freihandform: Form 560">
                  <a:extLst>
                    <a:ext uri="{FF2B5EF4-FFF2-40B4-BE49-F238E27FC236}">
                      <a16:creationId xmlns:a16="http://schemas.microsoft.com/office/drawing/2014/main" id="{D444A877-651E-44D6-93AC-5338C7649DE8}"/>
                    </a:ext>
                  </a:extLst>
                </p:cNvPr>
                <p:cNvSpPr/>
                <p:nvPr/>
              </p:nvSpPr>
              <p:spPr>
                <a:xfrm>
                  <a:off x="1804850" y="4283359"/>
                  <a:ext cx="188445" cy="188445"/>
                </a:xfrm>
                <a:custGeom>
                  <a:avLst/>
                  <a:gdLst>
                    <a:gd name="connsiteX0" fmla="*/ 94223 w 188445"/>
                    <a:gd name="connsiteY0" fmla="*/ 188445 h 188445"/>
                    <a:gd name="connsiteX1" fmla="*/ 0 w 188445"/>
                    <a:gd name="connsiteY1" fmla="*/ 94223 h 188445"/>
                    <a:gd name="connsiteX2" fmla="*/ 94223 w 188445"/>
                    <a:gd name="connsiteY2" fmla="*/ 0 h 188445"/>
                    <a:gd name="connsiteX3" fmla="*/ 188445 w 188445"/>
                    <a:gd name="connsiteY3" fmla="*/ 94223 h 188445"/>
                    <a:gd name="connsiteX4" fmla="*/ 94223 w 188445"/>
                    <a:gd name="connsiteY4" fmla="*/ 188445 h 188445"/>
                    <a:gd name="connsiteX5" fmla="*/ 94223 w 188445"/>
                    <a:gd name="connsiteY5" fmla="*/ 9829 h 188445"/>
                    <a:gd name="connsiteX6" fmla="*/ 9804 w 188445"/>
                    <a:gd name="connsiteY6" fmla="*/ 94249 h 188445"/>
                    <a:gd name="connsiteX7" fmla="*/ 94223 w 188445"/>
                    <a:gd name="connsiteY7" fmla="*/ 178668 h 188445"/>
                    <a:gd name="connsiteX8" fmla="*/ 178642 w 188445"/>
                    <a:gd name="connsiteY8" fmla="*/ 94249 h 188445"/>
                    <a:gd name="connsiteX9" fmla="*/ 94223 w 188445"/>
                    <a:gd name="connsiteY9" fmla="*/ 9829 h 188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445" h="188445">
                      <a:moveTo>
                        <a:pt x="94223" y="188445"/>
                      </a:moveTo>
                      <a:cubicBezTo>
                        <a:pt x="42261" y="188445"/>
                        <a:pt x="0" y="146185"/>
                        <a:pt x="0" y="94223"/>
                      </a:cubicBezTo>
                      <a:cubicBezTo>
                        <a:pt x="0" y="42261"/>
                        <a:pt x="42261" y="0"/>
                        <a:pt x="94223" y="0"/>
                      </a:cubicBezTo>
                      <a:cubicBezTo>
                        <a:pt x="146185" y="0"/>
                        <a:pt x="188445" y="42261"/>
                        <a:pt x="188445" y="94223"/>
                      </a:cubicBezTo>
                      <a:cubicBezTo>
                        <a:pt x="188445" y="146185"/>
                        <a:pt x="146185" y="188445"/>
                        <a:pt x="94223" y="188445"/>
                      </a:cubicBezTo>
                      <a:close/>
                      <a:moveTo>
                        <a:pt x="94223" y="9829"/>
                      </a:moveTo>
                      <a:cubicBezTo>
                        <a:pt x="47687" y="9829"/>
                        <a:pt x="9804" y="47713"/>
                        <a:pt x="9804" y="94249"/>
                      </a:cubicBezTo>
                      <a:cubicBezTo>
                        <a:pt x="9804" y="140784"/>
                        <a:pt x="47662" y="178668"/>
                        <a:pt x="94223" y="178668"/>
                      </a:cubicBezTo>
                      <a:cubicBezTo>
                        <a:pt x="140784" y="178668"/>
                        <a:pt x="178642" y="140809"/>
                        <a:pt x="178642" y="94249"/>
                      </a:cubicBezTo>
                      <a:cubicBezTo>
                        <a:pt x="178642" y="47687"/>
                        <a:pt x="140758" y="9829"/>
                        <a:pt x="94223" y="9829"/>
                      </a:cubicBezTo>
                      <a:close/>
                    </a:path>
                  </a:pathLst>
                </a:custGeom>
                <a:grpFill/>
                <a:ln w="2558" cap="flat">
                  <a:noFill/>
                  <a:prstDash val="solid"/>
                  <a:miter/>
                </a:ln>
              </p:spPr>
              <p:txBody>
                <a:bodyPr rtlCol="0" anchor="ctr"/>
                <a:lstStyle/>
                <a:p>
                  <a:endParaRPr lang="en-GB" dirty="0"/>
                </a:p>
              </p:txBody>
            </p:sp>
            <p:sp>
              <p:nvSpPr>
                <p:cNvPr id="483" name="Freihandform: Form 561">
                  <a:extLst>
                    <a:ext uri="{FF2B5EF4-FFF2-40B4-BE49-F238E27FC236}">
                      <a16:creationId xmlns:a16="http://schemas.microsoft.com/office/drawing/2014/main" id="{02D4C811-DB74-4506-BC68-9A66D903655E}"/>
                    </a:ext>
                  </a:extLst>
                </p:cNvPr>
                <p:cNvSpPr/>
                <p:nvPr/>
              </p:nvSpPr>
              <p:spPr>
                <a:xfrm>
                  <a:off x="1806718" y="4372718"/>
                  <a:ext cx="186576" cy="9778"/>
                </a:xfrm>
                <a:custGeom>
                  <a:avLst/>
                  <a:gdLst>
                    <a:gd name="connsiteX0" fmla="*/ 181662 w 186576"/>
                    <a:gd name="connsiteY0" fmla="*/ 9778 h 9778"/>
                    <a:gd name="connsiteX1" fmla="*/ 4889 w 186576"/>
                    <a:gd name="connsiteY1" fmla="*/ 9778 h 9778"/>
                    <a:gd name="connsiteX2" fmla="*/ 0 w 186576"/>
                    <a:gd name="connsiteY2" fmla="*/ 4889 h 9778"/>
                    <a:gd name="connsiteX3" fmla="*/ 4889 w 186576"/>
                    <a:gd name="connsiteY3" fmla="*/ 0 h 9778"/>
                    <a:gd name="connsiteX4" fmla="*/ 181688 w 186576"/>
                    <a:gd name="connsiteY4" fmla="*/ 0 h 9778"/>
                    <a:gd name="connsiteX5" fmla="*/ 186577 w 186576"/>
                    <a:gd name="connsiteY5" fmla="*/ 4889 h 9778"/>
                    <a:gd name="connsiteX6" fmla="*/ 181662 w 186576"/>
                    <a:gd name="connsiteY6" fmla="*/ 9778 h 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576" h="9778">
                      <a:moveTo>
                        <a:pt x="181662" y="9778"/>
                      </a:moveTo>
                      <a:lnTo>
                        <a:pt x="4889" y="9778"/>
                      </a:lnTo>
                      <a:cubicBezTo>
                        <a:pt x="2176" y="9778"/>
                        <a:pt x="0" y="7577"/>
                        <a:pt x="0" y="4889"/>
                      </a:cubicBezTo>
                      <a:cubicBezTo>
                        <a:pt x="0" y="2176"/>
                        <a:pt x="2201" y="0"/>
                        <a:pt x="4889" y="0"/>
                      </a:cubicBezTo>
                      <a:lnTo>
                        <a:pt x="181688" y="0"/>
                      </a:lnTo>
                      <a:cubicBezTo>
                        <a:pt x="184401" y="0"/>
                        <a:pt x="186577" y="2201"/>
                        <a:pt x="186577" y="4889"/>
                      </a:cubicBezTo>
                      <a:cubicBezTo>
                        <a:pt x="186577" y="7577"/>
                        <a:pt x="184376" y="9778"/>
                        <a:pt x="181662" y="9778"/>
                      </a:cubicBezTo>
                      <a:close/>
                    </a:path>
                  </a:pathLst>
                </a:custGeom>
                <a:grpFill/>
                <a:ln w="2558" cap="flat">
                  <a:noFill/>
                  <a:prstDash val="solid"/>
                  <a:miter/>
                </a:ln>
              </p:spPr>
              <p:txBody>
                <a:bodyPr rtlCol="0" anchor="ctr"/>
                <a:lstStyle/>
                <a:p>
                  <a:endParaRPr lang="en-GB" dirty="0"/>
                </a:p>
              </p:txBody>
            </p:sp>
            <p:sp>
              <p:nvSpPr>
                <p:cNvPr id="484" name="Freihandform: Form 562">
                  <a:extLst>
                    <a:ext uri="{FF2B5EF4-FFF2-40B4-BE49-F238E27FC236}">
                      <a16:creationId xmlns:a16="http://schemas.microsoft.com/office/drawing/2014/main" id="{801AD5B1-1DB8-40B0-A71A-3EC051E11228}"/>
                    </a:ext>
                  </a:extLst>
                </p:cNvPr>
                <p:cNvSpPr/>
                <p:nvPr/>
              </p:nvSpPr>
              <p:spPr>
                <a:xfrm>
                  <a:off x="1895105" y="4284306"/>
                  <a:ext cx="9778" cy="186576"/>
                </a:xfrm>
                <a:custGeom>
                  <a:avLst/>
                  <a:gdLst>
                    <a:gd name="connsiteX0" fmla="*/ 4889 w 9778"/>
                    <a:gd name="connsiteY0" fmla="*/ 186577 h 186576"/>
                    <a:gd name="connsiteX1" fmla="*/ 0 w 9778"/>
                    <a:gd name="connsiteY1" fmla="*/ 181688 h 186576"/>
                    <a:gd name="connsiteX2" fmla="*/ 0 w 9778"/>
                    <a:gd name="connsiteY2" fmla="*/ 4889 h 186576"/>
                    <a:gd name="connsiteX3" fmla="*/ 4889 w 9778"/>
                    <a:gd name="connsiteY3" fmla="*/ 0 h 186576"/>
                    <a:gd name="connsiteX4" fmla="*/ 9778 w 9778"/>
                    <a:gd name="connsiteY4" fmla="*/ 4889 h 186576"/>
                    <a:gd name="connsiteX5" fmla="*/ 9778 w 9778"/>
                    <a:gd name="connsiteY5" fmla="*/ 181688 h 186576"/>
                    <a:gd name="connsiteX6" fmla="*/ 4889 w 9778"/>
                    <a:gd name="connsiteY6" fmla="*/ 186577 h 186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8" h="186576">
                      <a:moveTo>
                        <a:pt x="4889" y="186577"/>
                      </a:moveTo>
                      <a:cubicBezTo>
                        <a:pt x="2176" y="186577"/>
                        <a:pt x="0" y="184376"/>
                        <a:pt x="0" y="181688"/>
                      </a:cubicBezTo>
                      <a:lnTo>
                        <a:pt x="0" y="4889"/>
                      </a:lnTo>
                      <a:cubicBezTo>
                        <a:pt x="0" y="2176"/>
                        <a:pt x="2201" y="0"/>
                        <a:pt x="4889" y="0"/>
                      </a:cubicBezTo>
                      <a:cubicBezTo>
                        <a:pt x="7602" y="0"/>
                        <a:pt x="9778" y="2202"/>
                        <a:pt x="9778" y="4889"/>
                      </a:cubicBezTo>
                      <a:lnTo>
                        <a:pt x="9778" y="181688"/>
                      </a:lnTo>
                      <a:cubicBezTo>
                        <a:pt x="9804" y="184401"/>
                        <a:pt x="7602" y="186577"/>
                        <a:pt x="4889" y="186577"/>
                      </a:cubicBezTo>
                      <a:close/>
                    </a:path>
                  </a:pathLst>
                </a:custGeom>
                <a:grpFill/>
                <a:ln w="2558" cap="flat">
                  <a:noFill/>
                  <a:prstDash val="solid"/>
                  <a:miter/>
                </a:ln>
              </p:spPr>
              <p:txBody>
                <a:bodyPr rtlCol="0" anchor="ctr"/>
                <a:lstStyle/>
                <a:p>
                  <a:endParaRPr lang="en-GB" dirty="0"/>
                </a:p>
              </p:txBody>
            </p:sp>
            <p:sp>
              <p:nvSpPr>
                <p:cNvPr id="485" name="Freihandform: Form 563">
                  <a:extLst>
                    <a:ext uri="{FF2B5EF4-FFF2-40B4-BE49-F238E27FC236}">
                      <a16:creationId xmlns:a16="http://schemas.microsoft.com/office/drawing/2014/main" id="{37E91A80-DBC5-42A4-BA26-7D95794A4806}"/>
                    </a:ext>
                  </a:extLst>
                </p:cNvPr>
                <p:cNvSpPr/>
                <p:nvPr/>
              </p:nvSpPr>
              <p:spPr>
                <a:xfrm>
                  <a:off x="1825106" y="4317432"/>
                  <a:ext cx="149755" cy="27973"/>
                </a:xfrm>
                <a:custGeom>
                  <a:avLst/>
                  <a:gdLst>
                    <a:gd name="connsiteX0" fmla="*/ 77268 w 149755"/>
                    <a:gd name="connsiteY0" fmla="*/ 27974 h 27973"/>
                    <a:gd name="connsiteX1" fmla="*/ 2448 w 149755"/>
                    <a:gd name="connsiteY1" fmla="*/ 9160 h 27973"/>
                    <a:gd name="connsiteX2" fmla="*/ 656 w 149755"/>
                    <a:gd name="connsiteY2" fmla="*/ 2453 h 27973"/>
                    <a:gd name="connsiteX3" fmla="*/ 7337 w 149755"/>
                    <a:gd name="connsiteY3" fmla="*/ 662 h 27973"/>
                    <a:gd name="connsiteX4" fmla="*/ 142387 w 149755"/>
                    <a:gd name="connsiteY4" fmla="*/ 662 h 27973"/>
                    <a:gd name="connsiteX5" fmla="*/ 149093 w 149755"/>
                    <a:gd name="connsiteY5" fmla="*/ 2453 h 27973"/>
                    <a:gd name="connsiteX6" fmla="*/ 147302 w 149755"/>
                    <a:gd name="connsiteY6" fmla="*/ 9160 h 27973"/>
                    <a:gd name="connsiteX7" fmla="*/ 77268 w 149755"/>
                    <a:gd name="connsiteY7" fmla="*/ 27974 h 27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755" h="27973">
                      <a:moveTo>
                        <a:pt x="77268" y="27974"/>
                      </a:moveTo>
                      <a:cubicBezTo>
                        <a:pt x="35647" y="27974"/>
                        <a:pt x="4393" y="10286"/>
                        <a:pt x="2448" y="9160"/>
                      </a:cubicBezTo>
                      <a:cubicBezTo>
                        <a:pt x="119" y="7803"/>
                        <a:pt x="-700" y="4809"/>
                        <a:pt x="656" y="2453"/>
                      </a:cubicBezTo>
                      <a:cubicBezTo>
                        <a:pt x="2013" y="99"/>
                        <a:pt x="5008" y="-695"/>
                        <a:pt x="7337" y="662"/>
                      </a:cubicBezTo>
                      <a:cubicBezTo>
                        <a:pt x="8003" y="1046"/>
                        <a:pt x="75784" y="39236"/>
                        <a:pt x="142387" y="662"/>
                      </a:cubicBezTo>
                      <a:cubicBezTo>
                        <a:pt x="144742" y="-669"/>
                        <a:pt x="147737" y="99"/>
                        <a:pt x="149093" y="2453"/>
                      </a:cubicBezTo>
                      <a:cubicBezTo>
                        <a:pt x="150450" y="4809"/>
                        <a:pt x="149657" y="7803"/>
                        <a:pt x="147302" y="9160"/>
                      </a:cubicBezTo>
                      <a:cubicBezTo>
                        <a:pt x="122959" y="23264"/>
                        <a:pt x="98744" y="27974"/>
                        <a:pt x="77268" y="27974"/>
                      </a:cubicBezTo>
                      <a:close/>
                    </a:path>
                  </a:pathLst>
                </a:custGeom>
                <a:grpFill/>
                <a:ln w="2558" cap="flat">
                  <a:noFill/>
                  <a:prstDash val="solid"/>
                  <a:miter/>
                </a:ln>
              </p:spPr>
              <p:txBody>
                <a:bodyPr rtlCol="0" anchor="ctr"/>
                <a:lstStyle/>
                <a:p>
                  <a:endParaRPr lang="en-GB" dirty="0"/>
                </a:p>
              </p:txBody>
            </p:sp>
            <p:sp>
              <p:nvSpPr>
                <p:cNvPr id="486" name="Freihandform: Form 564">
                  <a:extLst>
                    <a:ext uri="{FF2B5EF4-FFF2-40B4-BE49-F238E27FC236}">
                      <a16:creationId xmlns:a16="http://schemas.microsoft.com/office/drawing/2014/main" id="{4F5457AF-E840-4A4C-95EB-0EC8D252E462}"/>
                    </a:ext>
                  </a:extLst>
                </p:cNvPr>
                <p:cNvSpPr/>
                <p:nvPr/>
              </p:nvSpPr>
              <p:spPr>
                <a:xfrm>
                  <a:off x="1851077" y="4287712"/>
                  <a:ext cx="31329" cy="179766"/>
                </a:xfrm>
                <a:custGeom>
                  <a:avLst/>
                  <a:gdLst>
                    <a:gd name="connsiteX0" fmla="*/ 26416 w 31329"/>
                    <a:gd name="connsiteY0" fmla="*/ 179767 h 179766"/>
                    <a:gd name="connsiteX1" fmla="*/ 22219 w 31329"/>
                    <a:gd name="connsiteY1" fmla="*/ 177386 h 179766"/>
                    <a:gd name="connsiteX2" fmla="*/ 22142 w 31329"/>
                    <a:gd name="connsiteY2" fmla="*/ 2533 h 179766"/>
                    <a:gd name="connsiteX3" fmla="*/ 28797 w 31329"/>
                    <a:gd name="connsiteY3" fmla="*/ 613 h 179766"/>
                    <a:gd name="connsiteX4" fmla="*/ 30717 w 31329"/>
                    <a:gd name="connsiteY4" fmla="*/ 7268 h 179766"/>
                    <a:gd name="connsiteX5" fmla="*/ 30640 w 31329"/>
                    <a:gd name="connsiteY5" fmla="*/ 172369 h 179766"/>
                    <a:gd name="connsiteX6" fmla="*/ 28951 w 31329"/>
                    <a:gd name="connsiteY6" fmla="*/ 179101 h 179766"/>
                    <a:gd name="connsiteX7" fmla="*/ 26416 w 31329"/>
                    <a:gd name="connsiteY7" fmla="*/ 179767 h 179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29" h="179766">
                      <a:moveTo>
                        <a:pt x="26416" y="179767"/>
                      </a:moveTo>
                      <a:cubicBezTo>
                        <a:pt x="24753" y="179767"/>
                        <a:pt x="23114" y="178922"/>
                        <a:pt x="22219" y="177386"/>
                      </a:cubicBezTo>
                      <a:cubicBezTo>
                        <a:pt x="21707" y="176541"/>
                        <a:pt x="-27465" y="92353"/>
                        <a:pt x="22142" y="2533"/>
                      </a:cubicBezTo>
                      <a:cubicBezTo>
                        <a:pt x="23447" y="152"/>
                        <a:pt x="26442" y="-693"/>
                        <a:pt x="28797" y="613"/>
                      </a:cubicBezTo>
                      <a:cubicBezTo>
                        <a:pt x="31177" y="1918"/>
                        <a:pt x="32022" y="4913"/>
                        <a:pt x="30717" y="7268"/>
                      </a:cubicBezTo>
                      <a:cubicBezTo>
                        <a:pt x="-16075" y="92045"/>
                        <a:pt x="30154" y="171576"/>
                        <a:pt x="30640" y="172369"/>
                      </a:cubicBezTo>
                      <a:cubicBezTo>
                        <a:pt x="32022" y="174698"/>
                        <a:pt x="31254" y="177693"/>
                        <a:pt x="28951" y="179101"/>
                      </a:cubicBezTo>
                      <a:cubicBezTo>
                        <a:pt x="28131" y="179536"/>
                        <a:pt x="27261" y="179767"/>
                        <a:pt x="26416" y="179767"/>
                      </a:cubicBezTo>
                      <a:close/>
                    </a:path>
                  </a:pathLst>
                </a:custGeom>
                <a:grpFill/>
                <a:ln w="2558" cap="flat">
                  <a:noFill/>
                  <a:prstDash val="solid"/>
                  <a:miter/>
                </a:ln>
              </p:spPr>
              <p:txBody>
                <a:bodyPr rtlCol="0" anchor="ctr"/>
                <a:lstStyle/>
                <a:p>
                  <a:endParaRPr lang="en-GB" dirty="0"/>
                </a:p>
              </p:txBody>
            </p:sp>
            <p:sp>
              <p:nvSpPr>
                <p:cNvPr id="487" name="Freihandform: Form 565">
                  <a:extLst>
                    <a:ext uri="{FF2B5EF4-FFF2-40B4-BE49-F238E27FC236}">
                      <a16:creationId xmlns:a16="http://schemas.microsoft.com/office/drawing/2014/main" id="{50C93D8C-4EA7-4253-A5BA-90F56CDAACFC}"/>
                    </a:ext>
                  </a:extLst>
                </p:cNvPr>
                <p:cNvSpPr/>
                <p:nvPr/>
              </p:nvSpPr>
              <p:spPr>
                <a:xfrm>
                  <a:off x="1917601" y="4287692"/>
                  <a:ext cx="31317" cy="179786"/>
                </a:xfrm>
                <a:custGeom>
                  <a:avLst/>
                  <a:gdLst>
                    <a:gd name="connsiteX0" fmla="*/ 4892 w 31317"/>
                    <a:gd name="connsiteY0" fmla="*/ 179787 h 179786"/>
                    <a:gd name="connsiteX1" fmla="*/ 2384 w 31317"/>
                    <a:gd name="connsiteY1" fmla="*/ 179096 h 179786"/>
                    <a:gd name="connsiteX2" fmla="*/ 694 w 31317"/>
                    <a:gd name="connsiteY2" fmla="*/ 172364 h 179786"/>
                    <a:gd name="connsiteX3" fmla="*/ 617 w 31317"/>
                    <a:gd name="connsiteY3" fmla="*/ 7263 h 179786"/>
                    <a:gd name="connsiteX4" fmla="*/ 2537 w 31317"/>
                    <a:gd name="connsiteY4" fmla="*/ 608 h 179786"/>
                    <a:gd name="connsiteX5" fmla="*/ 9192 w 31317"/>
                    <a:gd name="connsiteY5" fmla="*/ 2527 h 179786"/>
                    <a:gd name="connsiteX6" fmla="*/ 9116 w 31317"/>
                    <a:gd name="connsiteY6" fmla="*/ 177381 h 179786"/>
                    <a:gd name="connsiteX7" fmla="*/ 4892 w 31317"/>
                    <a:gd name="connsiteY7" fmla="*/ 179787 h 179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17" h="179786">
                      <a:moveTo>
                        <a:pt x="4892" y="179787"/>
                      </a:moveTo>
                      <a:cubicBezTo>
                        <a:pt x="4047" y="179787"/>
                        <a:pt x="3177" y="179557"/>
                        <a:pt x="2384" y="179096"/>
                      </a:cubicBezTo>
                      <a:cubicBezTo>
                        <a:pt x="54" y="177713"/>
                        <a:pt x="-688" y="174693"/>
                        <a:pt x="694" y="172364"/>
                      </a:cubicBezTo>
                      <a:cubicBezTo>
                        <a:pt x="1155" y="171570"/>
                        <a:pt x="47409" y="92040"/>
                        <a:pt x="617" y="7263"/>
                      </a:cubicBezTo>
                      <a:cubicBezTo>
                        <a:pt x="-688" y="4882"/>
                        <a:pt x="182" y="1913"/>
                        <a:pt x="2537" y="608"/>
                      </a:cubicBezTo>
                      <a:cubicBezTo>
                        <a:pt x="4918" y="-698"/>
                        <a:pt x="7887" y="172"/>
                        <a:pt x="9192" y="2527"/>
                      </a:cubicBezTo>
                      <a:cubicBezTo>
                        <a:pt x="58774" y="92347"/>
                        <a:pt x="9602" y="176536"/>
                        <a:pt x="9116" y="177381"/>
                      </a:cubicBezTo>
                      <a:cubicBezTo>
                        <a:pt x="8194" y="178942"/>
                        <a:pt x="6582" y="179787"/>
                        <a:pt x="4892" y="179787"/>
                      </a:cubicBezTo>
                      <a:close/>
                    </a:path>
                  </a:pathLst>
                </a:custGeom>
                <a:grpFill/>
                <a:ln w="2558" cap="flat">
                  <a:noFill/>
                  <a:prstDash val="solid"/>
                  <a:miter/>
                </a:ln>
              </p:spPr>
              <p:txBody>
                <a:bodyPr rtlCol="0" anchor="ctr"/>
                <a:lstStyle/>
                <a:p>
                  <a:endParaRPr lang="en-GB" dirty="0"/>
                </a:p>
              </p:txBody>
            </p:sp>
            <p:sp>
              <p:nvSpPr>
                <p:cNvPr id="488" name="Freihandform: Form 566">
                  <a:extLst>
                    <a:ext uri="{FF2B5EF4-FFF2-40B4-BE49-F238E27FC236}">
                      <a16:creationId xmlns:a16="http://schemas.microsoft.com/office/drawing/2014/main" id="{362547A2-6E05-4A56-AB7F-81019AE8A505}"/>
                    </a:ext>
                  </a:extLst>
                </p:cNvPr>
                <p:cNvSpPr/>
                <p:nvPr/>
              </p:nvSpPr>
              <p:spPr>
                <a:xfrm>
                  <a:off x="1825100" y="4409791"/>
                  <a:ext cx="149780" cy="27965"/>
                </a:xfrm>
                <a:custGeom>
                  <a:avLst/>
                  <a:gdLst>
                    <a:gd name="connsiteX0" fmla="*/ 4911 w 149780"/>
                    <a:gd name="connsiteY0" fmla="*/ 27944 h 27965"/>
                    <a:gd name="connsiteX1" fmla="*/ 662 w 149780"/>
                    <a:gd name="connsiteY1" fmla="*/ 25512 h 27965"/>
                    <a:gd name="connsiteX2" fmla="*/ 2454 w 149780"/>
                    <a:gd name="connsiteY2" fmla="*/ 18806 h 27965"/>
                    <a:gd name="connsiteX3" fmla="*/ 147333 w 149780"/>
                    <a:gd name="connsiteY3" fmla="*/ 18806 h 27965"/>
                    <a:gd name="connsiteX4" fmla="*/ 149125 w 149780"/>
                    <a:gd name="connsiteY4" fmla="*/ 25512 h 27965"/>
                    <a:gd name="connsiteX5" fmla="*/ 142444 w 149780"/>
                    <a:gd name="connsiteY5" fmla="*/ 27304 h 27965"/>
                    <a:gd name="connsiteX6" fmla="*/ 7394 w 149780"/>
                    <a:gd name="connsiteY6" fmla="*/ 27304 h 27965"/>
                    <a:gd name="connsiteX7" fmla="*/ 4911 w 149780"/>
                    <a:gd name="connsiteY7" fmla="*/ 27944 h 27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780" h="27965">
                      <a:moveTo>
                        <a:pt x="4911" y="27944"/>
                      </a:moveTo>
                      <a:cubicBezTo>
                        <a:pt x="3221" y="27944"/>
                        <a:pt x="1583" y="27073"/>
                        <a:pt x="662" y="25512"/>
                      </a:cubicBezTo>
                      <a:cubicBezTo>
                        <a:pt x="-695" y="23157"/>
                        <a:pt x="99" y="20162"/>
                        <a:pt x="2454" y="18806"/>
                      </a:cubicBezTo>
                      <a:cubicBezTo>
                        <a:pt x="74074" y="-22636"/>
                        <a:pt x="144364" y="17091"/>
                        <a:pt x="147333" y="18806"/>
                      </a:cubicBezTo>
                      <a:cubicBezTo>
                        <a:pt x="149662" y="20162"/>
                        <a:pt x="150481" y="23157"/>
                        <a:pt x="149125" y="25512"/>
                      </a:cubicBezTo>
                      <a:cubicBezTo>
                        <a:pt x="147768" y="27867"/>
                        <a:pt x="144773" y="28660"/>
                        <a:pt x="142444" y="27304"/>
                      </a:cubicBezTo>
                      <a:cubicBezTo>
                        <a:pt x="141778" y="26920"/>
                        <a:pt x="73997" y="-11271"/>
                        <a:pt x="7394" y="27304"/>
                      </a:cubicBezTo>
                      <a:cubicBezTo>
                        <a:pt x="6600" y="27739"/>
                        <a:pt x="5756" y="27944"/>
                        <a:pt x="4911" y="27944"/>
                      </a:cubicBezTo>
                      <a:close/>
                    </a:path>
                  </a:pathLst>
                </a:custGeom>
                <a:grpFill/>
                <a:ln w="2558" cap="flat">
                  <a:noFill/>
                  <a:prstDash val="solid"/>
                  <a:miter/>
                </a:ln>
              </p:spPr>
              <p:txBody>
                <a:bodyPr rtlCol="0" anchor="ctr"/>
                <a:lstStyle/>
                <a:p>
                  <a:endParaRPr lang="en-GB" dirty="0"/>
                </a:p>
              </p:txBody>
            </p:sp>
          </p:grpSp>
          <p:grpSp>
            <p:nvGrpSpPr>
              <p:cNvPr id="477" name="Grafik 41">
                <a:extLst>
                  <a:ext uri="{FF2B5EF4-FFF2-40B4-BE49-F238E27FC236}">
                    <a16:creationId xmlns:a16="http://schemas.microsoft.com/office/drawing/2014/main" id="{487475F3-6D11-4EBA-8461-03AC9D187B87}"/>
                  </a:ext>
                </a:extLst>
              </p:cNvPr>
              <p:cNvGrpSpPr/>
              <p:nvPr/>
            </p:nvGrpSpPr>
            <p:grpSpPr>
              <a:xfrm>
                <a:off x="1987766" y="4336115"/>
                <a:ext cx="164205" cy="133002"/>
                <a:chOff x="1987766" y="4336115"/>
                <a:chExt cx="164205" cy="133002"/>
              </a:xfrm>
              <a:grpFill/>
            </p:grpSpPr>
            <p:sp>
              <p:nvSpPr>
                <p:cNvPr id="479" name="Freihandform: Form 573">
                  <a:extLst>
                    <a:ext uri="{FF2B5EF4-FFF2-40B4-BE49-F238E27FC236}">
                      <a16:creationId xmlns:a16="http://schemas.microsoft.com/office/drawing/2014/main" id="{D84E6532-ED46-427A-9376-AC815EDF2FB8}"/>
                    </a:ext>
                  </a:extLst>
                </p:cNvPr>
                <p:cNvSpPr/>
                <p:nvPr/>
              </p:nvSpPr>
              <p:spPr>
                <a:xfrm>
                  <a:off x="2011725" y="4336115"/>
                  <a:ext cx="140246" cy="9777"/>
                </a:xfrm>
                <a:custGeom>
                  <a:avLst/>
                  <a:gdLst>
                    <a:gd name="connsiteX0" fmla="*/ 135357 w 140246"/>
                    <a:gd name="connsiteY0" fmla="*/ 9778 h 9777"/>
                    <a:gd name="connsiteX1" fmla="*/ 4889 w 140246"/>
                    <a:gd name="connsiteY1" fmla="*/ 9778 h 9777"/>
                    <a:gd name="connsiteX2" fmla="*/ 0 w 140246"/>
                    <a:gd name="connsiteY2" fmla="*/ 4889 h 9777"/>
                    <a:gd name="connsiteX3" fmla="*/ 4889 w 140246"/>
                    <a:gd name="connsiteY3" fmla="*/ 0 h 9777"/>
                    <a:gd name="connsiteX4" fmla="*/ 135357 w 140246"/>
                    <a:gd name="connsiteY4" fmla="*/ 0 h 9777"/>
                    <a:gd name="connsiteX5" fmla="*/ 140246 w 140246"/>
                    <a:gd name="connsiteY5" fmla="*/ 4889 h 9777"/>
                    <a:gd name="connsiteX6" fmla="*/ 135357 w 140246"/>
                    <a:gd name="connsiteY6" fmla="*/ 9778 h 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246" h="9777">
                      <a:moveTo>
                        <a:pt x="135357" y="9778"/>
                      </a:moveTo>
                      <a:lnTo>
                        <a:pt x="4889" y="9778"/>
                      </a:lnTo>
                      <a:cubicBezTo>
                        <a:pt x="2176" y="9778"/>
                        <a:pt x="0" y="7577"/>
                        <a:pt x="0" y="4889"/>
                      </a:cubicBezTo>
                      <a:cubicBezTo>
                        <a:pt x="0" y="2176"/>
                        <a:pt x="2201" y="0"/>
                        <a:pt x="4889" y="0"/>
                      </a:cubicBezTo>
                      <a:lnTo>
                        <a:pt x="135357" y="0"/>
                      </a:lnTo>
                      <a:cubicBezTo>
                        <a:pt x="138071" y="0"/>
                        <a:pt x="140246" y="2201"/>
                        <a:pt x="140246" y="4889"/>
                      </a:cubicBezTo>
                      <a:cubicBezTo>
                        <a:pt x="140272" y="7602"/>
                        <a:pt x="138071" y="9778"/>
                        <a:pt x="135357" y="9778"/>
                      </a:cubicBezTo>
                      <a:close/>
                    </a:path>
                  </a:pathLst>
                </a:custGeom>
                <a:grpFill/>
                <a:ln w="2558" cap="flat">
                  <a:noFill/>
                  <a:prstDash val="solid"/>
                  <a:miter/>
                </a:ln>
              </p:spPr>
              <p:txBody>
                <a:bodyPr rtlCol="0" anchor="ctr"/>
                <a:lstStyle/>
                <a:p>
                  <a:endParaRPr lang="en-GB" dirty="0"/>
                </a:p>
              </p:txBody>
            </p:sp>
            <p:sp>
              <p:nvSpPr>
                <p:cNvPr id="480" name="Freihandform: Form 574">
                  <a:extLst>
                    <a:ext uri="{FF2B5EF4-FFF2-40B4-BE49-F238E27FC236}">
                      <a16:creationId xmlns:a16="http://schemas.microsoft.com/office/drawing/2014/main" id="{339E2225-3A25-482D-B707-B587D63AB4D8}"/>
                    </a:ext>
                  </a:extLst>
                </p:cNvPr>
                <p:cNvSpPr/>
                <p:nvPr/>
              </p:nvSpPr>
              <p:spPr>
                <a:xfrm>
                  <a:off x="2010624" y="4393989"/>
                  <a:ext cx="141347" cy="9777"/>
                </a:xfrm>
                <a:custGeom>
                  <a:avLst/>
                  <a:gdLst>
                    <a:gd name="connsiteX0" fmla="*/ 136458 w 141347"/>
                    <a:gd name="connsiteY0" fmla="*/ 9778 h 9777"/>
                    <a:gd name="connsiteX1" fmla="*/ 4889 w 141347"/>
                    <a:gd name="connsiteY1" fmla="*/ 9778 h 9777"/>
                    <a:gd name="connsiteX2" fmla="*/ 0 w 141347"/>
                    <a:gd name="connsiteY2" fmla="*/ 4889 h 9777"/>
                    <a:gd name="connsiteX3" fmla="*/ 4889 w 141347"/>
                    <a:gd name="connsiteY3" fmla="*/ 0 h 9777"/>
                    <a:gd name="connsiteX4" fmla="*/ 136458 w 141347"/>
                    <a:gd name="connsiteY4" fmla="*/ 0 h 9777"/>
                    <a:gd name="connsiteX5" fmla="*/ 141347 w 141347"/>
                    <a:gd name="connsiteY5" fmla="*/ 4889 h 9777"/>
                    <a:gd name="connsiteX6" fmla="*/ 136458 w 141347"/>
                    <a:gd name="connsiteY6" fmla="*/ 9778 h 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347" h="9777">
                      <a:moveTo>
                        <a:pt x="136458" y="9778"/>
                      </a:moveTo>
                      <a:lnTo>
                        <a:pt x="4889" y="9778"/>
                      </a:lnTo>
                      <a:cubicBezTo>
                        <a:pt x="2176" y="9778"/>
                        <a:pt x="0" y="7577"/>
                        <a:pt x="0" y="4889"/>
                      </a:cubicBezTo>
                      <a:cubicBezTo>
                        <a:pt x="0" y="2176"/>
                        <a:pt x="2201" y="0"/>
                        <a:pt x="4889" y="0"/>
                      </a:cubicBezTo>
                      <a:lnTo>
                        <a:pt x="136458" y="0"/>
                      </a:lnTo>
                      <a:cubicBezTo>
                        <a:pt x="139171" y="0"/>
                        <a:pt x="141347" y="2201"/>
                        <a:pt x="141347" y="4889"/>
                      </a:cubicBezTo>
                      <a:cubicBezTo>
                        <a:pt x="141373" y="7577"/>
                        <a:pt x="139171" y="9778"/>
                        <a:pt x="136458" y="9778"/>
                      </a:cubicBezTo>
                      <a:close/>
                    </a:path>
                  </a:pathLst>
                </a:custGeom>
                <a:grpFill/>
                <a:ln w="2558" cap="flat">
                  <a:noFill/>
                  <a:prstDash val="solid"/>
                  <a:miter/>
                </a:ln>
              </p:spPr>
              <p:txBody>
                <a:bodyPr rtlCol="0" anchor="ctr"/>
                <a:lstStyle/>
                <a:p>
                  <a:endParaRPr lang="en-GB" dirty="0"/>
                </a:p>
              </p:txBody>
            </p:sp>
            <p:sp>
              <p:nvSpPr>
                <p:cNvPr id="481" name="Freihandform: Form 575">
                  <a:extLst>
                    <a:ext uri="{FF2B5EF4-FFF2-40B4-BE49-F238E27FC236}">
                      <a16:creationId xmlns:a16="http://schemas.microsoft.com/office/drawing/2014/main" id="{28D0F1AF-5AE2-4D71-9048-45D0F896B895}"/>
                    </a:ext>
                  </a:extLst>
                </p:cNvPr>
                <p:cNvSpPr/>
                <p:nvPr/>
              </p:nvSpPr>
              <p:spPr>
                <a:xfrm>
                  <a:off x="1987766" y="4459338"/>
                  <a:ext cx="164205" cy="9778"/>
                </a:xfrm>
                <a:custGeom>
                  <a:avLst/>
                  <a:gdLst>
                    <a:gd name="connsiteX0" fmla="*/ 159316 w 164205"/>
                    <a:gd name="connsiteY0" fmla="*/ 9778 h 9778"/>
                    <a:gd name="connsiteX1" fmla="*/ 4889 w 164205"/>
                    <a:gd name="connsiteY1" fmla="*/ 9778 h 9778"/>
                    <a:gd name="connsiteX2" fmla="*/ 0 w 164205"/>
                    <a:gd name="connsiteY2" fmla="*/ 4889 h 9778"/>
                    <a:gd name="connsiteX3" fmla="*/ 4889 w 164205"/>
                    <a:gd name="connsiteY3" fmla="*/ 0 h 9778"/>
                    <a:gd name="connsiteX4" fmla="*/ 159316 w 164205"/>
                    <a:gd name="connsiteY4" fmla="*/ 0 h 9778"/>
                    <a:gd name="connsiteX5" fmla="*/ 164205 w 164205"/>
                    <a:gd name="connsiteY5" fmla="*/ 4889 h 9778"/>
                    <a:gd name="connsiteX6" fmla="*/ 159316 w 164205"/>
                    <a:gd name="connsiteY6" fmla="*/ 9778 h 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205" h="9778">
                      <a:moveTo>
                        <a:pt x="159316" y="9778"/>
                      </a:moveTo>
                      <a:lnTo>
                        <a:pt x="4889" y="9778"/>
                      </a:lnTo>
                      <a:cubicBezTo>
                        <a:pt x="2176" y="9778"/>
                        <a:pt x="0" y="7577"/>
                        <a:pt x="0" y="4889"/>
                      </a:cubicBezTo>
                      <a:cubicBezTo>
                        <a:pt x="0" y="2176"/>
                        <a:pt x="2201" y="0"/>
                        <a:pt x="4889" y="0"/>
                      </a:cubicBezTo>
                      <a:lnTo>
                        <a:pt x="159316" y="0"/>
                      </a:lnTo>
                      <a:cubicBezTo>
                        <a:pt x="162029" y="0"/>
                        <a:pt x="164205" y="2202"/>
                        <a:pt x="164205" y="4889"/>
                      </a:cubicBezTo>
                      <a:cubicBezTo>
                        <a:pt x="164231" y="7577"/>
                        <a:pt x="162029" y="9778"/>
                        <a:pt x="159316" y="9778"/>
                      </a:cubicBezTo>
                      <a:close/>
                    </a:path>
                  </a:pathLst>
                </a:custGeom>
                <a:grpFill/>
                <a:ln w="2558" cap="flat">
                  <a:noFill/>
                  <a:prstDash val="solid"/>
                  <a:miter/>
                </a:ln>
              </p:spPr>
              <p:txBody>
                <a:bodyPr rtlCol="0" anchor="ctr"/>
                <a:lstStyle/>
                <a:p>
                  <a:endParaRPr lang="en-GB" dirty="0"/>
                </a:p>
              </p:txBody>
            </p:sp>
          </p:grpSp>
          <p:sp>
            <p:nvSpPr>
              <p:cNvPr id="478" name="Freihandform: Form 576">
                <a:extLst>
                  <a:ext uri="{FF2B5EF4-FFF2-40B4-BE49-F238E27FC236}">
                    <a16:creationId xmlns:a16="http://schemas.microsoft.com/office/drawing/2014/main" id="{FD94E600-2067-4DFA-9E6C-1CE8B03902F4}"/>
                  </a:ext>
                </a:extLst>
              </p:cNvPr>
              <p:cNvSpPr/>
              <p:nvPr/>
            </p:nvSpPr>
            <p:spPr>
              <a:xfrm>
                <a:off x="2001921" y="4245526"/>
                <a:ext cx="91458" cy="9778"/>
              </a:xfrm>
              <a:custGeom>
                <a:avLst/>
                <a:gdLst>
                  <a:gd name="connsiteX0" fmla="*/ 86569 w 91458"/>
                  <a:gd name="connsiteY0" fmla="*/ 9778 h 9778"/>
                  <a:gd name="connsiteX1" fmla="*/ 4889 w 91458"/>
                  <a:gd name="connsiteY1" fmla="*/ 9778 h 9778"/>
                  <a:gd name="connsiteX2" fmla="*/ 0 w 91458"/>
                  <a:gd name="connsiteY2" fmla="*/ 4889 h 9778"/>
                  <a:gd name="connsiteX3" fmla="*/ 4889 w 91458"/>
                  <a:gd name="connsiteY3" fmla="*/ 0 h 9778"/>
                  <a:gd name="connsiteX4" fmla="*/ 86569 w 91458"/>
                  <a:gd name="connsiteY4" fmla="*/ 0 h 9778"/>
                  <a:gd name="connsiteX5" fmla="*/ 91458 w 91458"/>
                  <a:gd name="connsiteY5" fmla="*/ 4889 h 9778"/>
                  <a:gd name="connsiteX6" fmla="*/ 86569 w 91458"/>
                  <a:gd name="connsiteY6" fmla="*/ 9778 h 9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58" h="9778">
                    <a:moveTo>
                      <a:pt x="86569" y="9778"/>
                    </a:moveTo>
                    <a:lnTo>
                      <a:pt x="4889" y="9778"/>
                    </a:lnTo>
                    <a:cubicBezTo>
                      <a:pt x="2176" y="9778"/>
                      <a:pt x="0" y="7577"/>
                      <a:pt x="0" y="4889"/>
                    </a:cubicBezTo>
                    <a:cubicBezTo>
                      <a:pt x="0" y="2176"/>
                      <a:pt x="2201" y="0"/>
                      <a:pt x="4889" y="0"/>
                    </a:cubicBezTo>
                    <a:lnTo>
                      <a:pt x="86569" y="0"/>
                    </a:lnTo>
                    <a:cubicBezTo>
                      <a:pt x="89283" y="0"/>
                      <a:pt x="91458" y="2201"/>
                      <a:pt x="91458" y="4889"/>
                    </a:cubicBezTo>
                    <a:cubicBezTo>
                      <a:pt x="91484" y="7577"/>
                      <a:pt x="89283" y="9778"/>
                      <a:pt x="86569" y="9778"/>
                    </a:cubicBezTo>
                    <a:close/>
                  </a:path>
                </a:pathLst>
              </a:custGeom>
              <a:grpFill/>
              <a:ln w="2558" cap="flat">
                <a:noFill/>
                <a:prstDash val="solid"/>
                <a:miter/>
              </a:ln>
            </p:spPr>
            <p:txBody>
              <a:bodyPr rtlCol="0" anchor="ctr"/>
              <a:lstStyle/>
              <a:p>
                <a:endParaRPr lang="en-GB" dirty="0"/>
              </a:p>
            </p:txBody>
          </p:sp>
        </p:grpSp>
      </p:grpSp>
      <p:grpSp>
        <p:nvGrpSpPr>
          <p:cNvPr id="632" name="Group 631">
            <a:extLst>
              <a:ext uri="{FF2B5EF4-FFF2-40B4-BE49-F238E27FC236}">
                <a16:creationId xmlns:a16="http://schemas.microsoft.com/office/drawing/2014/main" id="{3A69A270-48A2-6C9E-C9EE-9B8C59E2677D}"/>
              </a:ext>
            </a:extLst>
          </p:cNvPr>
          <p:cNvGrpSpPr/>
          <p:nvPr/>
        </p:nvGrpSpPr>
        <p:grpSpPr>
          <a:xfrm>
            <a:off x="4965624" y="4057929"/>
            <a:ext cx="495288" cy="381324"/>
            <a:chOff x="4965212" y="4057929"/>
            <a:chExt cx="495288" cy="381324"/>
          </a:xfrm>
        </p:grpSpPr>
        <p:grpSp>
          <p:nvGrpSpPr>
            <p:cNvPr id="593" name="Grafik 34">
              <a:extLst>
                <a:ext uri="{FF2B5EF4-FFF2-40B4-BE49-F238E27FC236}">
                  <a16:creationId xmlns:a16="http://schemas.microsoft.com/office/drawing/2014/main" id="{EA198618-84C5-4B42-8711-6C900BAD801A}"/>
                </a:ext>
              </a:extLst>
            </p:cNvPr>
            <p:cNvGrpSpPr/>
            <p:nvPr/>
          </p:nvGrpSpPr>
          <p:grpSpPr>
            <a:xfrm>
              <a:off x="4965212" y="4204341"/>
              <a:ext cx="373601" cy="234912"/>
              <a:chOff x="3273059" y="3487814"/>
              <a:chExt cx="471005" cy="296157"/>
            </a:xfrm>
            <a:solidFill>
              <a:schemeClr val="tx2"/>
            </a:solidFill>
          </p:grpSpPr>
          <p:sp>
            <p:nvSpPr>
              <p:cNvPr id="599" name="Freihandform: Form 522">
                <a:extLst>
                  <a:ext uri="{FF2B5EF4-FFF2-40B4-BE49-F238E27FC236}">
                    <a16:creationId xmlns:a16="http://schemas.microsoft.com/office/drawing/2014/main" id="{CE517241-C15F-491A-97B0-931B06A6149D}"/>
                  </a:ext>
                </a:extLst>
              </p:cNvPr>
              <p:cNvSpPr/>
              <p:nvPr/>
            </p:nvSpPr>
            <p:spPr>
              <a:xfrm>
                <a:off x="3355234" y="3695401"/>
                <a:ext cx="51023" cy="88570"/>
              </a:xfrm>
              <a:custGeom>
                <a:avLst/>
                <a:gdLst>
                  <a:gd name="connsiteX0" fmla="*/ 46113 w 51023"/>
                  <a:gd name="connsiteY0" fmla="*/ 88571 h 88570"/>
                  <a:gd name="connsiteX1" fmla="*/ 4940 w 51023"/>
                  <a:gd name="connsiteY1" fmla="*/ 88571 h 88570"/>
                  <a:gd name="connsiteX2" fmla="*/ 0 w 51023"/>
                  <a:gd name="connsiteY2" fmla="*/ 83631 h 88570"/>
                  <a:gd name="connsiteX3" fmla="*/ 0 w 51023"/>
                  <a:gd name="connsiteY3" fmla="*/ 4940 h 88570"/>
                  <a:gd name="connsiteX4" fmla="*/ 4940 w 51023"/>
                  <a:gd name="connsiteY4" fmla="*/ 0 h 88570"/>
                  <a:gd name="connsiteX5" fmla="*/ 9879 w 51023"/>
                  <a:gd name="connsiteY5" fmla="*/ 4940 h 88570"/>
                  <a:gd name="connsiteX6" fmla="*/ 9879 w 51023"/>
                  <a:gd name="connsiteY6" fmla="*/ 78691 h 88570"/>
                  <a:gd name="connsiteX7" fmla="*/ 41145 w 51023"/>
                  <a:gd name="connsiteY7" fmla="*/ 78691 h 88570"/>
                  <a:gd name="connsiteX8" fmla="*/ 41145 w 51023"/>
                  <a:gd name="connsiteY8" fmla="*/ 4940 h 88570"/>
                  <a:gd name="connsiteX9" fmla="*/ 46084 w 51023"/>
                  <a:gd name="connsiteY9" fmla="*/ 0 h 88570"/>
                  <a:gd name="connsiteX10" fmla="*/ 51024 w 51023"/>
                  <a:gd name="connsiteY10" fmla="*/ 4940 h 88570"/>
                  <a:gd name="connsiteX11" fmla="*/ 51024 w 51023"/>
                  <a:gd name="connsiteY11" fmla="*/ 83631 h 88570"/>
                  <a:gd name="connsiteX12" fmla="*/ 46113 w 51023"/>
                  <a:gd name="connsiteY12" fmla="*/ 88571 h 88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023" h="88570">
                    <a:moveTo>
                      <a:pt x="46113" y="88571"/>
                    </a:moveTo>
                    <a:lnTo>
                      <a:pt x="4940" y="88571"/>
                    </a:lnTo>
                    <a:cubicBezTo>
                      <a:pt x="2199" y="88571"/>
                      <a:pt x="0" y="86343"/>
                      <a:pt x="0" y="83631"/>
                    </a:cubicBezTo>
                    <a:lnTo>
                      <a:pt x="0" y="4940"/>
                    </a:lnTo>
                    <a:cubicBezTo>
                      <a:pt x="0" y="2199"/>
                      <a:pt x="2227" y="0"/>
                      <a:pt x="4940" y="0"/>
                    </a:cubicBezTo>
                    <a:cubicBezTo>
                      <a:pt x="7681" y="0"/>
                      <a:pt x="9879" y="2227"/>
                      <a:pt x="9879" y="4940"/>
                    </a:cubicBezTo>
                    <a:lnTo>
                      <a:pt x="9879" y="78691"/>
                    </a:lnTo>
                    <a:lnTo>
                      <a:pt x="41145" y="78691"/>
                    </a:lnTo>
                    <a:lnTo>
                      <a:pt x="41145" y="4940"/>
                    </a:lnTo>
                    <a:cubicBezTo>
                      <a:pt x="41145" y="2199"/>
                      <a:pt x="43372" y="0"/>
                      <a:pt x="46084" y="0"/>
                    </a:cubicBezTo>
                    <a:cubicBezTo>
                      <a:pt x="48825" y="0"/>
                      <a:pt x="51024" y="2227"/>
                      <a:pt x="51024" y="4940"/>
                    </a:cubicBezTo>
                    <a:lnTo>
                      <a:pt x="51024" y="83631"/>
                    </a:lnTo>
                    <a:cubicBezTo>
                      <a:pt x="51052" y="86372"/>
                      <a:pt x="48854" y="88571"/>
                      <a:pt x="46113" y="88571"/>
                    </a:cubicBezTo>
                    <a:close/>
                  </a:path>
                </a:pathLst>
              </a:custGeom>
              <a:grpFill/>
              <a:ln w="2851" cap="flat">
                <a:noFill/>
                <a:prstDash val="solid"/>
                <a:miter/>
              </a:ln>
            </p:spPr>
            <p:txBody>
              <a:bodyPr rtlCol="0" anchor="ctr"/>
              <a:lstStyle/>
              <a:p>
                <a:endParaRPr lang="en-GB" dirty="0"/>
              </a:p>
            </p:txBody>
          </p:sp>
          <p:sp>
            <p:nvSpPr>
              <p:cNvPr id="600" name="Freihandform: Form 523">
                <a:extLst>
                  <a:ext uri="{FF2B5EF4-FFF2-40B4-BE49-F238E27FC236}">
                    <a16:creationId xmlns:a16="http://schemas.microsoft.com/office/drawing/2014/main" id="{F7491A2A-E751-402E-9F33-DEE868642D07}"/>
                  </a:ext>
                </a:extLst>
              </p:cNvPr>
              <p:cNvSpPr/>
              <p:nvPr/>
            </p:nvSpPr>
            <p:spPr>
              <a:xfrm>
                <a:off x="3273059" y="3539877"/>
                <a:ext cx="35059" cy="130254"/>
              </a:xfrm>
              <a:custGeom>
                <a:avLst/>
                <a:gdLst>
                  <a:gd name="connsiteX0" fmla="*/ 30094 w 35059"/>
                  <a:gd name="connsiteY0" fmla="*/ 130255 h 130254"/>
                  <a:gd name="connsiteX1" fmla="*/ 27953 w 35059"/>
                  <a:gd name="connsiteY1" fmla="*/ 129769 h 130254"/>
                  <a:gd name="connsiteX2" fmla="*/ 2798 w 35059"/>
                  <a:gd name="connsiteY2" fmla="*/ 117720 h 130254"/>
                  <a:gd name="connsiteX3" fmla="*/ 0 w 35059"/>
                  <a:gd name="connsiteY3" fmla="*/ 113266 h 130254"/>
                  <a:gd name="connsiteX4" fmla="*/ 0 w 35059"/>
                  <a:gd name="connsiteY4" fmla="*/ 16957 h 130254"/>
                  <a:gd name="connsiteX5" fmla="*/ 2827 w 35059"/>
                  <a:gd name="connsiteY5" fmla="*/ 12503 h 130254"/>
                  <a:gd name="connsiteX6" fmla="*/ 27982 w 35059"/>
                  <a:gd name="connsiteY6" fmla="*/ 483 h 130254"/>
                  <a:gd name="connsiteX7" fmla="*/ 34577 w 35059"/>
                  <a:gd name="connsiteY7" fmla="*/ 2824 h 130254"/>
                  <a:gd name="connsiteX8" fmla="*/ 32236 w 35059"/>
                  <a:gd name="connsiteY8" fmla="*/ 9420 h 130254"/>
                  <a:gd name="connsiteX9" fmla="*/ 9879 w 35059"/>
                  <a:gd name="connsiteY9" fmla="*/ 20098 h 130254"/>
                  <a:gd name="connsiteX10" fmla="*/ 9879 w 35059"/>
                  <a:gd name="connsiteY10" fmla="*/ 110153 h 130254"/>
                  <a:gd name="connsiteX11" fmla="*/ 32236 w 35059"/>
                  <a:gd name="connsiteY11" fmla="*/ 120861 h 130254"/>
                  <a:gd name="connsiteX12" fmla="*/ 34549 w 35059"/>
                  <a:gd name="connsiteY12" fmla="*/ 127456 h 130254"/>
                  <a:gd name="connsiteX13" fmla="*/ 30094 w 35059"/>
                  <a:gd name="connsiteY13" fmla="*/ 130255 h 13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059" h="130254">
                    <a:moveTo>
                      <a:pt x="30094" y="130255"/>
                    </a:moveTo>
                    <a:cubicBezTo>
                      <a:pt x="29381" y="130255"/>
                      <a:pt x="28638" y="130112"/>
                      <a:pt x="27953" y="129769"/>
                    </a:cubicBezTo>
                    <a:lnTo>
                      <a:pt x="2798" y="117720"/>
                    </a:lnTo>
                    <a:cubicBezTo>
                      <a:pt x="1085" y="116892"/>
                      <a:pt x="0" y="115150"/>
                      <a:pt x="0" y="113266"/>
                    </a:cubicBezTo>
                    <a:lnTo>
                      <a:pt x="0" y="16957"/>
                    </a:lnTo>
                    <a:cubicBezTo>
                      <a:pt x="0" y="15044"/>
                      <a:pt x="1085" y="13303"/>
                      <a:pt x="2827" y="12503"/>
                    </a:cubicBezTo>
                    <a:lnTo>
                      <a:pt x="27982" y="483"/>
                    </a:lnTo>
                    <a:cubicBezTo>
                      <a:pt x="30466" y="-688"/>
                      <a:pt x="33407" y="340"/>
                      <a:pt x="34577" y="2824"/>
                    </a:cubicBezTo>
                    <a:cubicBezTo>
                      <a:pt x="35748" y="5279"/>
                      <a:pt x="34720" y="8249"/>
                      <a:pt x="32236" y="9420"/>
                    </a:cubicBezTo>
                    <a:lnTo>
                      <a:pt x="9879" y="20098"/>
                    </a:lnTo>
                    <a:lnTo>
                      <a:pt x="9879" y="110153"/>
                    </a:lnTo>
                    <a:lnTo>
                      <a:pt x="32236" y="120861"/>
                    </a:lnTo>
                    <a:cubicBezTo>
                      <a:pt x="34691" y="122031"/>
                      <a:pt x="35748" y="125001"/>
                      <a:pt x="34549" y="127456"/>
                    </a:cubicBezTo>
                    <a:cubicBezTo>
                      <a:pt x="33721" y="129198"/>
                      <a:pt x="31950" y="130255"/>
                      <a:pt x="30094" y="130255"/>
                    </a:cubicBezTo>
                    <a:close/>
                  </a:path>
                </a:pathLst>
              </a:custGeom>
              <a:grpFill/>
              <a:ln w="2851" cap="flat">
                <a:noFill/>
                <a:prstDash val="solid"/>
                <a:miter/>
              </a:ln>
            </p:spPr>
            <p:txBody>
              <a:bodyPr rtlCol="0" anchor="ctr"/>
              <a:lstStyle/>
              <a:p>
                <a:endParaRPr lang="en-GB" dirty="0"/>
              </a:p>
            </p:txBody>
          </p:sp>
          <p:sp>
            <p:nvSpPr>
              <p:cNvPr id="601" name="Freihandform: Form 524">
                <a:extLst>
                  <a:ext uri="{FF2B5EF4-FFF2-40B4-BE49-F238E27FC236}">
                    <a16:creationId xmlns:a16="http://schemas.microsoft.com/office/drawing/2014/main" id="{D3B4C06D-E002-4055-A206-F01462473CC4}"/>
                  </a:ext>
                </a:extLst>
              </p:cNvPr>
              <p:cNvSpPr/>
              <p:nvPr/>
            </p:nvSpPr>
            <p:spPr>
              <a:xfrm>
                <a:off x="3721520" y="3552594"/>
                <a:ext cx="22544" cy="108058"/>
              </a:xfrm>
              <a:custGeom>
                <a:avLst/>
                <a:gdLst>
                  <a:gd name="connsiteX0" fmla="*/ 4956 w 22544"/>
                  <a:gd name="connsiteY0" fmla="*/ 108059 h 108058"/>
                  <a:gd name="connsiteX1" fmla="*/ 616 w 22544"/>
                  <a:gd name="connsiteY1" fmla="*/ 105518 h 108058"/>
                  <a:gd name="connsiteX2" fmla="*/ 2529 w 22544"/>
                  <a:gd name="connsiteY2" fmla="*/ 98779 h 108058"/>
                  <a:gd name="connsiteX3" fmla="*/ 12637 w 22544"/>
                  <a:gd name="connsiteY3" fmla="*/ 93154 h 108058"/>
                  <a:gd name="connsiteX4" fmla="*/ 12637 w 22544"/>
                  <a:gd name="connsiteY4" fmla="*/ 14891 h 108058"/>
                  <a:gd name="connsiteX5" fmla="*/ 2557 w 22544"/>
                  <a:gd name="connsiteY5" fmla="*/ 9295 h 108058"/>
                  <a:gd name="connsiteX6" fmla="*/ 616 w 22544"/>
                  <a:gd name="connsiteY6" fmla="*/ 2557 h 108058"/>
                  <a:gd name="connsiteX7" fmla="*/ 7354 w 22544"/>
                  <a:gd name="connsiteY7" fmla="*/ 615 h 108058"/>
                  <a:gd name="connsiteX8" fmla="*/ 20003 w 22544"/>
                  <a:gd name="connsiteY8" fmla="*/ 7639 h 108058"/>
                  <a:gd name="connsiteX9" fmla="*/ 22544 w 22544"/>
                  <a:gd name="connsiteY9" fmla="*/ 11979 h 108058"/>
                  <a:gd name="connsiteX10" fmla="*/ 22544 w 22544"/>
                  <a:gd name="connsiteY10" fmla="*/ 96067 h 108058"/>
                  <a:gd name="connsiteX11" fmla="*/ 20003 w 22544"/>
                  <a:gd name="connsiteY11" fmla="*/ 100378 h 108058"/>
                  <a:gd name="connsiteX12" fmla="*/ 7354 w 22544"/>
                  <a:gd name="connsiteY12" fmla="*/ 107402 h 108058"/>
                  <a:gd name="connsiteX13" fmla="*/ 4956 w 22544"/>
                  <a:gd name="connsiteY13" fmla="*/ 108059 h 10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2544" h="108058">
                    <a:moveTo>
                      <a:pt x="4956" y="108059"/>
                    </a:moveTo>
                    <a:cubicBezTo>
                      <a:pt x="3214" y="108059"/>
                      <a:pt x="1529" y="107145"/>
                      <a:pt x="616" y="105518"/>
                    </a:cubicBezTo>
                    <a:cubicBezTo>
                      <a:pt x="-698" y="103119"/>
                      <a:pt x="159" y="100121"/>
                      <a:pt x="2529" y="98779"/>
                    </a:cubicBezTo>
                    <a:lnTo>
                      <a:pt x="12637" y="93154"/>
                    </a:lnTo>
                    <a:lnTo>
                      <a:pt x="12637" y="14891"/>
                    </a:lnTo>
                    <a:lnTo>
                      <a:pt x="2557" y="9295"/>
                    </a:lnTo>
                    <a:cubicBezTo>
                      <a:pt x="159" y="7982"/>
                      <a:pt x="-698" y="4955"/>
                      <a:pt x="616" y="2557"/>
                    </a:cubicBezTo>
                    <a:cubicBezTo>
                      <a:pt x="1958" y="158"/>
                      <a:pt x="4956" y="-699"/>
                      <a:pt x="7354" y="615"/>
                    </a:cubicBezTo>
                    <a:lnTo>
                      <a:pt x="20003" y="7639"/>
                    </a:lnTo>
                    <a:cubicBezTo>
                      <a:pt x="21574" y="8524"/>
                      <a:pt x="22544" y="10180"/>
                      <a:pt x="22544" y="11979"/>
                    </a:cubicBezTo>
                    <a:lnTo>
                      <a:pt x="22544" y="96067"/>
                    </a:lnTo>
                    <a:cubicBezTo>
                      <a:pt x="22544" y="97865"/>
                      <a:pt x="21574" y="99522"/>
                      <a:pt x="20003" y="100378"/>
                    </a:cubicBezTo>
                    <a:lnTo>
                      <a:pt x="7354" y="107402"/>
                    </a:lnTo>
                    <a:cubicBezTo>
                      <a:pt x="6583" y="107859"/>
                      <a:pt x="5755" y="108059"/>
                      <a:pt x="4956" y="108059"/>
                    </a:cubicBezTo>
                    <a:close/>
                  </a:path>
                </a:pathLst>
              </a:custGeom>
              <a:grpFill/>
              <a:ln w="2851" cap="flat">
                <a:noFill/>
                <a:prstDash val="solid"/>
                <a:miter/>
              </a:ln>
            </p:spPr>
            <p:txBody>
              <a:bodyPr rtlCol="0" anchor="ctr"/>
              <a:lstStyle/>
              <a:p>
                <a:endParaRPr lang="en-GB" dirty="0"/>
              </a:p>
            </p:txBody>
          </p:sp>
          <p:sp>
            <p:nvSpPr>
              <p:cNvPr id="602" name="Freihandform: Form 525">
                <a:extLst>
                  <a:ext uri="{FF2B5EF4-FFF2-40B4-BE49-F238E27FC236}">
                    <a16:creationId xmlns:a16="http://schemas.microsoft.com/office/drawing/2014/main" id="{039DD7DA-5290-4B5E-9284-0790B7EFD8FC}"/>
                  </a:ext>
                </a:extLst>
              </p:cNvPr>
              <p:cNvSpPr/>
              <p:nvPr/>
            </p:nvSpPr>
            <p:spPr>
              <a:xfrm>
                <a:off x="3436278" y="3487814"/>
                <a:ext cx="181430" cy="59141"/>
              </a:xfrm>
              <a:custGeom>
                <a:avLst/>
                <a:gdLst>
                  <a:gd name="connsiteX0" fmla="*/ 4957 w 181430"/>
                  <a:gd name="connsiteY0" fmla="*/ 59142 h 59141"/>
                  <a:gd name="connsiteX1" fmla="*/ 189 w 181430"/>
                  <a:gd name="connsiteY1" fmla="*/ 55573 h 59141"/>
                  <a:gd name="connsiteX2" fmla="*/ 3586 w 181430"/>
                  <a:gd name="connsiteY2" fmla="*/ 49462 h 59141"/>
                  <a:gd name="connsiteX3" fmla="*/ 175131 w 181430"/>
                  <a:gd name="connsiteY3" fmla="*/ 209 h 59141"/>
                  <a:gd name="connsiteX4" fmla="*/ 181241 w 181430"/>
                  <a:gd name="connsiteY4" fmla="*/ 3607 h 59141"/>
                  <a:gd name="connsiteX5" fmla="*/ 177844 w 181430"/>
                  <a:gd name="connsiteY5" fmla="*/ 9717 h 59141"/>
                  <a:gd name="connsiteX6" fmla="*/ 6299 w 181430"/>
                  <a:gd name="connsiteY6" fmla="*/ 58971 h 59141"/>
                  <a:gd name="connsiteX7" fmla="*/ 4957 w 181430"/>
                  <a:gd name="connsiteY7" fmla="*/ 59142 h 59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30" h="59141">
                    <a:moveTo>
                      <a:pt x="4957" y="59142"/>
                    </a:moveTo>
                    <a:cubicBezTo>
                      <a:pt x="2815" y="59142"/>
                      <a:pt x="817" y="57743"/>
                      <a:pt x="189" y="55573"/>
                    </a:cubicBezTo>
                    <a:cubicBezTo>
                      <a:pt x="-554" y="52946"/>
                      <a:pt x="960" y="50205"/>
                      <a:pt x="3586" y="49462"/>
                    </a:cubicBezTo>
                    <a:lnTo>
                      <a:pt x="175131" y="209"/>
                    </a:lnTo>
                    <a:cubicBezTo>
                      <a:pt x="177758" y="-590"/>
                      <a:pt x="180499" y="980"/>
                      <a:pt x="181241" y="3607"/>
                    </a:cubicBezTo>
                    <a:cubicBezTo>
                      <a:pt x="181984" y="6234"/>
                      <a:pt x="180470" y="8975"/>
                      <a:pt x="177844" y="9717"/>
                    </a:cubicBezTo>
                    <a:lnTo>
                      <a:pt x="6299" y="58971"/>
                    </a:lnTo>
                    <a:cubicBezTo>
                      <a:pt x="5871" y="59085"/>
                      <a:pt x="5414" y="59142"/>
                      <a:pt x="4957" y="59142"/>
                    </a:cubicBezTo>
                    <a:close/>
                  </a:path>
                </a:pathLst>
              </a:custGeom>
              <a:grpFill/>
              <a:ln w="2851" cap="flat">
                <a:noFill/>
                <a:prstDash val="solid"/>
                <a:miter/>
              </a:ln>
            </p:spPr>
            <p:txBody>
              <a:bodyPr rtlCol="0" anchor="ctr"/>
              <a:lstStyle/>
              <a:p>
                <a:endParaRPr lang="en-GB" dirty="0"/>
              </a:p>
            </p:txBody>
          </p:sp>
          <p:sp>
            <p:nvSpPr>
              <p:cNvPr id="603" name="Freihandform: Form 526">
                <a:extLst>
                  <a:ext uri="{FF2B5EF4-FFF2-40B4-BE49-F238E27FC236}">
                    <a16:creationId xmlns:a16="http://schemas.microsoft.com/office/drawing/2014/main" id="{9D72EB19-4546-4479-A4C8-870A6F2CEA94}"/>
                  </a:ext>
                </a:extLst>
              </p:cNvPr>
              <p:cNvSpPr/>
              <p:nvPr/>
            </p:nvSpPr>
            <p:spPr>
              <a:xfrm>
                <a:off x="3432992" y="3579620"/>
                <a:ext cx="251340" cy="164577"/>
              </a:xfrm>
              <a:custGeom>
                <a:avLst/>
                <a:gdLst>
                  <a:gd name="connsiteX0" fmla="*/ 246429 w 251340"/>
                  <a:gd name="connsiteY0" fmla="*/ 164578 h 164577"/>
                  <a:gd name="connsiteX1" fmla="*/ 245030 w 251340"/>
                  <a:gd name="connsiteY1" fmla="*/ 164378 h 164577"/>
                  <a:gd name="connsiteX2" fmla="*/ 3560 w 251340"/>
                  <a:gd name="connsiteY2" fmla="*/ 93596 h 164577"/>
                  <a:gd name="connsiteX3" fmla="*/ 191 w 251340"/>
                  <a:gd name="connsiteY3" fmla="*/ 87457 h 164577"/>
                  <a:gd name="connsiteX4" fmla="*/ 6330 w 251340"/>
                  <a:gd name="connsiteY4" fmla="*/ 84088 h 164577"/>
                  <a:gd name="connsiteX5" fmla="*/ 241461 w 251340"/>
                  <a:gd name="connsiteY5" fmla="*/ 153014 h 164577"/>
                  <a:gd name="connsiteX6" fmla="*/ 241461 w 251340"/>
                  <a:gd name="connsiteY6" fmla="*/ 4940 h 164577"/>
                  <a:gd name="connsiteX7" fmla="*/ 246401 w 251340"/>
                  <a:gd name="connsiteY7" fmla="*/ 0 h 164577"/>
                  <a:gd name="connsiteX8" fmla="*/ 251340 w 251340"/>
                  <a:gd name="connsiteY8" fmla="*/ 4940 h 164577"/>
                  <a:gd name="connsiteX9" fmla="*/ 251340 w 251340"/>
                  <a:gd name="connsiteY9" fmla="*/ 159638 h 164577"/>
                  <a:gd name="connsiteX10" fmla="*/ 249342 w 251340"/>
                  <a:gd name="connsiteY10" fmla="*/ 163607 h 164577"/>
                  <a:gd name="connsiteX11" fmla="*/ 246429 w 251340"/>
                  <a:gd name="connsiteY11" fmla="*/ 164578 h 16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1340" h="164577">
                    <a:moveTo>
                      <a:pt x="246429" y="164578"/>
                    </a:moveTo>
                    <a:cubicBezTo>
                      <a:pt x="245973" y="164578"/>
                      <a:pt x="245487" y="164521"/>
                      <a:pt x="245030" y="164378"/>
                    </a:cubicBezTo>
                    <a:lnTo>
                      <a:pt x="3560" y="93596"/>
                    </a:lnTo>
                    <a:cubicBezTo>
                      <a:pt x="933" y="92825"/>
                      <a:pt x="-551" y="90084"/>
                      <a:pt x="191" y="87457"/>
                    </a:cubicBezTo>
                    <a:cubicBezTo>
                      <a:pt x="962" y="84830"/>
                      <a:pt x="3703" y="83317"/>
                      <a:pt x="6330" y="84088"/>
                    </a:cubicBezTo>
                    <a:lnTo>
                      <a:pt x="241461" y="153014"/>
                    </a:lnTo>
                    <a:lnTo>
                      <a:pt x="241461" y="4940"/>
                    </a:lnTo>
                    <a:cubicBezTo>
                      <a:pt x="241461" y="2198"/>
                      <a:pt x="243688" y="0"/>
                      <a:pt x="246401" y="0"/>
                    </a:cubicBezTo>
                    <a:cubicBezTo>
                      <a:pt x="249142" y="0"/>
                      <a:pt x="251340" y="2227"/>
                      <a:pt x="251340" y="4940"/>
                    </a:cubicBezTo>
                    <a:lnTo>
                      <a:pt x="251340" y="159638"/>
                    </a:lnTo>
                    <a:cubicBezTo>
                      <a:pt x="251340" y="161208"/>
                      <a:pt x="250598" y="162665"/>
                      <a:pt x="249342" y="163607"/>
                    </a:cubicBezTo>
                    <a:cubicBezTo>
                      <a:pt x="248514" y="164235"/>
                      <a:pt x="247486" y="164578"/>
                      <a:pt x="246429" y="164578"/>
                    </a:cubicBezTo>
                    <a:close/>
                  </a:path>
                </a:pathLst>
              </a:custGeom>
              <a:grpFill/>
              <a:ln w="2851" cap="flat">
                <a:noFill/>
                <a:prstDash val="solid"/>
                <a:miter/>
              </a:ln>
            </p:spPr>
            <p:txBody>
              <a:bodyPr rtlCol="0" anchor="ctr"/>
              <a:lstStyle/>
              <a:p>
                <a:endParaRPr lang="en-GB" dirty="0"/>
              </a:p>
            </p:txBody>
          </p:sp>
          <p:sp>
            <p:nvSpPr>
              <p:cNvPr id="604" name="Freihandform: Form 527">
                <a:extLst>
                  <a:ext uri="{FF2B5EF4-FFF2-40B4-BE49-F238E27FC236}">
                    <a16:creationId xmlns:a16="http://schemas.microsoft.com/office/drawing/2014/main" id="{FCA7C6BF-1621-4D02-9B28-32A0FFDD1043}"/>
                  </a:ext>
                </a:extLst>
              </p:cNvPr>
              <p:cNvSpPr/>
              <p:nvPr/>
            </p:nvSpPr>
            <p:spPr>
              <a:xfrm>
                <a:off x="3674453" y="3551010"/>
                <a:ext cx="37889" cy="206550"/>
              </a:xfrm>
              <a:custGeom>
                <a:avLst/>
                <a:gdLst>
                  <a:gd name="connsiteX0" fmla="*/ 18959 w 37889"/>
                  <a:gd name="connsiteY0" fmla="*/ 206550 h 206550"/>
                  <a:gd name="connsiteX1" fmla="*/ 0 w 37889"/>
                  <a:gd name="connsiteY1" fmla="*/ 191075 h 206550"/>
                  <a:gd name="connsiteX2" fmla="*/ 4940 w 37889"/>
                  <a:gd name="connsiteY2" fmla="*/ 186135 h 206550"/>
                  <a:gd name="connsiteX3" fmla="*/ 9879 w 37889"/>
                  <a:gd name="connsiteY3" fmla="*/ 191075 h 206550"/>
                  <a:gd name="connsiteX4" fmla="*/ 18930 w 37889"/>
                  <a:gd name="connsiteY4" fmla="*/ 196642 h 206550"/>
                  <a:gd name="connsiteX5" fmla="*/ 28010 w 37889"/>
                  <a:gd name="connsiteY5" fmla="*/ 191075 h 206550"/>
                  <a:gd name="connsiteX6" fmla="*/ 27896 w 37889"/>
                  <a:gd name="connsiteY6" fmla="*/ 4940 h 206550"/>
                  <a:gd name="connsiteX7" fmla="*/ 32836 w 37889"/>
                  <a:gd name="connsiteY7" fmla="*/ 0 h 206550"/>
                  <a:gd name="connsiteX8" fmla="*/ 32836 w 37889"/>
                  <a:gd name="connsiteY8" fmla="*/ 0 h 206550"/>
                  <a:gd name="connsiteX9" fmla="*/ 37775 w 37889"/>
                  <a:gd name="connsiteY9" fmla="*/ 4940 h 206550"/>
                  <a:gd name="connsiteX10" fmla="*/ 37889 w 37889"/>
                  <a:gd name="connsiteY10" fmla="*/ 191075 h 206550"/>
                  <a:gd name="connsiteX11" fmla="*/ 18959 w 37889"/>
                  <a:gd name="connsiteY11" fmla="*/ 206550 h 206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7889" h="206550">
                    <a:moveTo>
                      <a:pt x="18959" y="206550"/>
                    </a:moveTo>
                    <a:cubicBezTo>
                      <a:pt x="8337" y="206550"/>
                      <a:pt x="0" y="199755"/>
                      <a:pt x="0" y="191075"/>
                    </a:cubicBezTo>
                    <a:cubicBezTo>
                      <a:pt x="0" y="188334"/>
                      <a:pt x="2227" y="186135"/>
                      <a:pt x="4940" y="186135"/>
                    </a:cubicBezTo>
                    <a:cubicBezTo>
                      <a:pt x="7681" y="186135"/>
                      <a:pt x="9879" y="188362"/>
                      <a:pt x="9879" y="191075"/>
                    </a:cubicBezTo>
                    <a:cubicBezTo>
                      <a:pt x="9879" y="193702"/>
                      <a:pt x="13591" y="196642"/>
                      <a:pt x="18930" y="196642"/>
                    </a:cubicBezTo>
                    <a:cubicBezTo>
                      <a:pt x="24298" y="196642"/>
                      <a:pt x="28010" y="193702"/>
                      <a:pt x="28010" y="191075"/>
                    </a:cubicBezTo>
                    <a:lnTo>
                      <a:pt x="27896" y="4940"/>
                    </a:lnTo>
                    <a:cubicBezTo>
                      <a:pt x="27896" y="2199"/>
                      <a:pt x="30094" y="0"/>
                      <a:pt x="32836" y="0"/>
                    </a:cubicBezTo>
                    <a:lnTo>
                      <a:pt x="32836" y="0"/>
                    </a:lnTo>
                    <a:cubicBezTo>
                      <a:pt x="35577" y="0"/>
                      <a:pt x="37775" y="2227"/>
                      <a:pt x="37775" y="4940"/>
                    </a:cubicBezTo>
                    <a:lnTo>
                      <a:pt x="37889" y="191075"/>
                    </a:lnTo>
                    <a:cubicBezTo>
                      <a:pt x="37946" y="199755"/>
                      <a:pt x="29609" y="206550"/>
                      <a:pt x="18959" y="206550"/>
                    </a:cubicBezTo>
                    <a:close/>
                  </a:path>
                </a:pathLst>
              </a:custGeom>
              <a:grpFill/>
              <a:ln w="2851" cap="flat">
                <a:noFill/>
                <a:prstDash val="solid"/>
                <a:miter/>
              </a:ln>
            </p:spPr>
            <p:txBody>
              <a:bodyPr rtlCol="0" anchor="ctr"/>
              <a:lstStyle/>
              <a:p>
                <a:endParaRPr lang="en-GB" dirty="0"/>
              </a:p>
            </p:txBody>
          </p:sp>
          <p:sp>
            <p:nvSpPr>
              <p:cNvPr id="605" name="Freihandform: Form 528">
                <a:extLst>
                  <a:ext uri="{FF2B5EF4-FFF2-40B4-BE49-F238E27FC236}">
                    <a16:creationId xmlns:a16="http://schemas.microsoft.com/office/drawing/2014/main" id="{3DE61A79-DD7B-43EC-83AC-B4C4476F5FEE}"/>
                  </a:ext>
                </a:extLst>
              </p:cNvPr>
              <p:cNvSpPr/>
              <p:nvPr/>
            </p:nvSpPr>
            <p:spPr>
              <a:xfrm>
                <a:off x="3301069" y="3523885"/>
                <a:ext cx="141821" cy="162379"/>
              </a:xfrm>
              <a:custGeom>
                <a:avLst/>
                <a:gdLst>
                  <a:gd name="connsiteX0" fmla="*/ 136882 w 141821"/>
                  <a:gd name="connsiteY0" fmla="*/ 162379 h 162379"/>
                  <a:gd name="connsiteX1" fmla="*/ 4940 w 141821"/>
                  <a:gd name="connsiteY1" fmla="*/ 162379 h 162379"/>
                  <a:gd name="connsiteX2" fmla="*/ 0 w 141821"/>
                  <a:gd name="connsiteY2" fmla="*/ 157440 h 162379"/>
                  <a:gd name="connsiteX3" fmla="*/ 0 w 141821"/>
                  <a:gd name="connsiteY3" fmla="*/ 4940 h 162379"/>
                  <a:gd name="connsiteX4" fmla="*/ 4940 w 141821"/>
                  <a:gd name="connsiteY4" fmla="*/ 0 h 162379"/>
                  <a:gd name="connsiteX5" fmla="*/ 136882 w 141821"/>
                  <a:gd name="connsiteY5" fmla="*/ 0 h 162379"/>
                  <a:gd name="connsiteX6" fmla="*/ 141821 w 141821"/>
                  <a:gd name="connsiteY6" fmla="*/ 4940 h 162379"/>
                  <a:gd name="connsiteX7" fmla="*/ 141821 w 141821"/>
                  <a:gd name="connsiteY7" fmla="*/ 157440 h 162379"/>
                  <a:gd name="connsiteX8" fmla="*/ 136882 w 141821"/>
                  <a:gd name="connsiteY8" fmla="*/ 162379 h 162379"/>
                  <a:gd name="connsiteX9" fmla="*/ 9879 w 141821"/>
                  <a:gd name="connsiteY9" fmla="*/ 152472 h 162379"/>
                  <a:gd name="connsiteX10" fmla="*/ 131942 w 141821"/>
                  <a:gd name="connsiteY10" fmla="*/ 152472 h 162379"/>
                  <a:gd name="connsiteX11" fmla="*/ 131942 w 141821"/>
                  <a:gd name="connsiteY11" fmla="*/ 9851 h 162379"/>
                  <a:gd name="connsiteX12" fmla="*/ 9879 w 141821"/>
                  <a:gd name="connsiteY12" fmla="*/ 9851 h 162379"/>
                  <a:gd name="connsiteX13" fmla="*/ 9879 w 141821"/>
                  <a:gd name="connsiteY13" fmla="*/ 152472 h 16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821" h="162379">
                    <a:moveTo>
                      <a:pt x="136882" y="162379"/>
                    </a:moveTo>
                    <a:lnTo>
                      <a:pt x="4940" y="162379"/>
                    </a:lnTo>
                    <a:cubicBezTo>
                      <a:pt x="2199" y="162379"/>
                      <a:pt x="0" y="160152"/>
                      <a:pt x="0" y="157440"/>
                    </a:cubicBezTo>
                    <a:lnTo>
                      <a:pt x="0" y="4940"/>
                    </a:lnTo>
                    <a:cubicBezTo>
                      <a:pt x="0" y="2199"/>
                      <a:pt x="2227" y="0"/>
                      <a:pt x="4940" y="0"/>
                    </a:cubicBezTo>
                    <a:lnTo>
                      <a:pt x="136882" y="0"/>
                    </a:lnTo>
                    <a:cubicBezTo>
                      <a:pt x="139623" y="0"/>
                      <a:pt x="141821" y="2227"/>
                      <a:pt x="141821" y="4940"/>
                    </a:cubicBezTo>
                    <a:lnTo>
                      <a:pt x="141821" y="157440"/>
                    </a:lnTo>
                    <a:cubicBezTo>
                      <a:pt x="141821" y="160152"/>
                      <a:pt x="139623" y="162379"/>
                      <a:pt x="136882" y="162379"/>
                    </a:cubicBezTo>
                    <a:close/>
                    <a:moveTo>
                      <a:pt x="9879" y="152472"/>
                    </a:moveTo>
                    <a:lnTo>
                      <a:pt x="131942" y="152472"/>
                    </a:lnTo>
                    <a:lnTo>
                      <a:pt x="131942" y="9851"/>
                    </a:lnTo>
                    <a:lnTo>
                      <a:pt x="9879" y="9851"/>
                    </a:lnTo>
                    <a:lnTo>
                      <a:pt x="9879" y="152472"/>
                    </a:lnTo>
                    <a:close/>
                  </a:path>
                </a:pathLst>
              </a:custGeom>
              <a:grpFill/>
              <a:ln w="2851" cap="flat">
                <a:noFill/>
                <a:prstDash val="solid"/>
                <a:miter/>
              </a:ln>
            </p:spPr>
            <p:txBody>
              <a:bodyPr rtlCol="0" anchor="ctr"/>
              <a:lstStyle/>
              <a:p>
                <a:endParaRPr lang="en-GB" dirty="0"/>
              </a:p>
            </p:txBody>
          </p:sp>
        </p:grpSp>
        <p:grpSp>
          <p:nvGrpSpPr>
            <p:cNvPr id="594" name="Group 593">
              <a:extLst>
                <a:ext uri="{FF2B5EF4-FFF2-40B4-BE49-F238E27FC236}">
                  <a16:creationId xmlns:a16="http://schemas.microsoft.com/office/drawing/2014/main" id="{A21A50AF-3D10-4363-A333-8B1FB4E2D3F9}"/>
                </a:ext>
              </a:extLst>
            </p:cNvPr>
            <p:cNvGrpSpPr/>
            <p:nvPr/>
          </p:nvGrpSpPr>
          <p:grpSpPr>
            <a:xfrm>
              <a:off x="5248448" y="4057929"/>
              <a:ext cx="212052" cy="207433"/>
              <a:chOff x="3630139" y="3303230"/>
              <a:chExt cx="267338" cy="261514"/>
            </a:xfrm>
          </p:grpSpPr>
          <p:sp>
            <p:nvSpPr>
              <p:cNvPr id="595" name="Freihandform: Form 529">
                <a:extLst>
                  <a:ext uri="{FF2B5EF4-FFF2-40B4-BE49-F238E27FC236}">
                    <a16:creationId xmlns:a16="http://schemas.microsoft.com/office/drawing/2014/main" id="{B1B2A210-116F-4DF0-BB7D-400538693370}"/>
                  </a:ext>
                </a:extLst>
              </p:cNvPr>
              <p:cNvSpPr/>
              <p:nvPr/>
            </p:nvSpPr>
            <p:spPr>
              <a:xfrm>
                <a:off x="3630139" y="3303230"/>
                <a:ext cx="267338" cy="261514"/>
              </a:xfrm>
              <a:custGeom>
                <a:avLst/>
                <a:gdLst>
                  <a:gd name="connsiteX0" fmla="*/ 47083 w 267338"/>
                  <a:gd name="connsiteY0" fmla="*/ 261514 h 261514"/>
                  <a:gd name="connsiteX1" fmla="*/ 45285 w 267338"/>
                  <a:gd name="connsiteY1" fmla="*/ 261172 h 261514"/>
                  <a:gd name="connsiteX2" fmla="*/ 42115 w 267338"/>
                  <a:gd name="connsiteY2" fmla="*/ 256546 h 261514"/>
                  <a:gd name="connsiteX3" fmla="*/ 42115 w 267338"/>
                  <a:gd name="connsiteY3" fmla="*/ 204866 h 261514"/>
                  <a:gd name="connsiteX4" fmla="*/ 4940 w 267338"/>
                  <a:gd name="connsiteY4" fmla="*/ 204866 h 261514"/>
                  <a:gd name="connsiteX5" fmla="*/ 0 w 267338"/>
                  <a:gd name="connsiteY5" fmla="*/ 199926 h 261514"/>
                  <a:gd name="connsiteX6" fmla="*/ 0 w 267338"/>
                  <a:gd name="connsiteY6" fmla="*/ 4940 h 261514"/>
                  <a:gd name="connsiteX7" fmla="*/ 4940 w 267338"/>
                  <a:gd name="connsiteY7" fmla="*/ 0 h 261514"/>
                  <a:gd name="connsiteX8" fmla="*/ 262399 w 267338"/>
                  <a:gd name="connsiteY8" fmla="*/ 0 h 261514"/>
                  <a:gd name="connsiteX9" fmla="*/ 267339 w 267338"/>
                  <a:gd name="connsiteY9" fmla="*/ 4940 h 261514"/>
                  <a:gd name="connsiteX10" fmla="*/ 267339 w 267338"/>
                  <a:gd name="connsiteY10" fmla="*/ 199926 h 261514"/>
                  <a:gd name="connsiteX11" fmla="*/ 262399 w 267338"/>
                  <a:gd name="connsiteY11" fmla="*/ 204866 h 261514"/>
                  <a:gd name="connsiteX12" fmla="*/ 100677 w 267338"/>
                  <a:gd name="connsiteY12" fmla="*/ 204866 h 261514"/>
                  <a:gd name="connsiteX13" fmla="*/ 50738 w 267338"/>
                  <a:gd name="connsiteY13" fmla="*/ 259915 h 261514"/>
                  <a:gd name="connsiteX14" fmla="*/ 47083 w 267338"/>
                  <a:gd name="connsiteY14" fmla="*/ 261514 h 261514"/>
                  <a:gd name="connsiteX15" fmla="*/ 9879 w 267338"/>
                  <a:gd name="connsiteY15" fmla="*/ 194958 h 261514"/>
                  <a:gd name="connsiteX16" fmla="*/ 47055 w 267338"/>
                  <a:gd name="connsiteY16" fmla="*/ 194958 h 261514"/>
                  <a:gd name="connsiteX17" fmla="*/ 51995 w 267338"/>
                  <a:gd name="connsiteY17" fmla="*/ 199897 h 261514"/>
                  <a:gd name="connsiteX18" fmla="*/ 51995 w 267338"/>
                  <a:gd name="connsiteY18" fmla="*/ 243754 h 261514"/>
                  <a:gd name="connsiteX19" fmla="*/ 94795 w 267338"/>
                  <a:gd name="connsiteY19" fmla="*/ 196585 h 261514"/>
                  <a:gd name="connsiteX20" fmla="*/ 98450 w 267338"/>
                  <a:gd name="connsiteY20" fmla="*/ 194958 h 261514"/>
                  <a:gd name="connsiteX21" fmla="*/ 257403 w 267338"/>
                  <a:gd name="connsiteY21" fmla="*/ 194958 h 261514"/>
                  <a:gd name="connsiteX22" fmla="*/ 257403 w 267338"/>
                  <a:gd name="connsiteY22" fmla="*/ 9879 h 261514"/>
                  <a:gd name="connsiteX23" fmla="*/ 9851 w 267338"/>
                  <a:gd name="connsiteY23" fmla="*/ 9879 h 261514"/>
                  <a:gd name="connsiteX24" fmla="*/ 9851 w 267338"/>
                  <a:gd name="connsiteY24" fmla="*/ 194958 h 261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7338" h="261514">
                    <a:moveTo>
                      <a:pt x="47083" y="261514"/>
                    </a:moveTo>
                    <a:cubicBezTo>
                      <a:pt x="46484" y="261514"/>
                      <a:pt x="45884" y="261400"/>
                      <a:pt x="45285" y="261172"/>
                    </a:cubicBezTo>
                    <a:cubicBezTo>
                      <a:pt x="43372" y="260429"/>
                      <a:pt x="42115" y="258602"/>
                      <a:pt x="42115" y="256546"/>
                    </a:cubicBezTo>
                    <a:lnTo>
                      <a:pt x="42115" y="204866"/>
                    </a:lnTo>
                    <a:lnTo>
                      <a:pt x="4940" y="204866"/>
                    </a:lnTo>
                    <a:cubicBezTo>
                      <a:pt x="2199" y="204866"/>
                      <a:pt x="0" y="202638"/>
                      <a:pt x="0" y="199926"/>
                    </a:cubicBezTo>
                    <a:lnTo>
                      <a:pt x="0" y="4940"/>
                    </a:lnTo>
                    <a:cubicBezTo>
                      <a:pt x="0" y="2198"/>
                      <a:pt x="2227" y="0"/>
                      <a:pt x="4940" y="0"/>
                    </a:cubicBezTo>
                    <a:lnTo>
                      <a:pt x="262399" y="0"/>
                    </a:lnTo>
                    <a:cubicBezTo>
                      <a:pt x="265141" y="0"/>
                      <a:pt x="267339" y="2227"/>
                      <a:pt x="267339" y="4940"/>
                    </a:cubicBezTo>
                    <a:lnTo>
                      <a:pt x="267339" y="199926"/>
                    </a:lnTo>
                    <a:cubicBezTo>
                      <a:pt x="267339" y="202667"/>
                      <a:pt x="265112" y="204866"/>
                      <a:pt x="262399" y="204866"/>
                    </a:cubicBezTo>
                    <a:lnTo>
                      <a:pt x="100677" y="204866"/>
                    </a:lnTo>
                    <a:lnTo>
                      <a:pt x="50738" y="259915"/>
                    </a:lnTo>
                    <a:cubicBezTo>
                      <a:pt x="49767" y="260972"/>
                      <a:pt x="48454" y="261514"/>
                      <a:pt x="47083" y="261514"/>
                    </a:cubicBezTo>
                    <a:close/>
                    <a:moveTo>
                      <a:pt x="9879" y="194958"/>
                    </a:moveTo>
                    <a:lnTo>
                      <a:pt x="47055" y="194958"/>
                    </a:lnTo>
                    <a:cubicBezTo>
                      <a:pt x="49796" y="194958"/>
                      <a:pt x="51995" y="197185"/>
                      <a:pt x="51995" y="199897"/>
                    </a:cubicBezTo>
                    <a:lnTo>
                      <a:pt x="51995" y="243754"/>
                    </a:lnTo>
                    <a:lnTo>
                      <a:pt x="94795" y="196585"/>
                    </a:lnTo>
                    <a:cubicBezTo>
                      <a:pt x="95737" y="195557"/>
                      <a:pt x="97051" y="194958"/>
                      <a:pt x="98450" y="194958"/>
                    </a:cubicBezTo>
                    <a:lnTo>
                      <a:pt x="257403" y="194958"/>
                    </a:lnTo>
                    <a:lnTo>
                      <a:pt x="257403" y="9879"/>
                    </a:lnTo>
                    <a:lnTo>
                      <a:pt x="9851" y="9879"/>
                    </a:lnTo>
                    <a:lnTo>
                      <a:pt x="9851" y="194958"/>
                    </a:lnTo>
                    <a:close/>
                  </a:path>
                </a:pathLst>
              </a:custGeom>
              <a:solidFill>
                <a:schemeClr val="accent1"/>
              </a:solidFill>
              <a:ln w="2851" cap="flat">
                <a:noFill/>
                <a:prstDash val="solid"/>
                <a:miter/>
              </a:ln>
            </p:spPr>
            <p:txBody>
              <a:bodyPr rtlCol="0" anchor="ctr"/>
              <a:lstStyle/>
              <a:p>
                <a:endParaRPr lang="en-GB" dirty="0"/>
              </a:p>
            </p:txBody>
          </p:sp>
          <p:sp>
            <p:nvSpPr>
              <p:cNvPr id="596" name="Freihandform: Form 530">
                <a:extLst>
                  <a:ext uri="{FF2B5EF4-FFF2-40B4-BE49-F238E27FC236}">
                    <a16:creationId xmlns:a16="http://schemas.microsoft.com/office/drawing/2014/main" id="{5E96F855-8214-4A40-9CF2-6852DA7B28D6}"/>
                  </a:ext>
                </a:extLst>
              </p:cNvPr>
              <p:cNvSpPr/>
              <p:nvPr/>
            </p:nvSpPr>
            <p:spPr>
              <a:xfrm>
                <a:off x="3729874" y="3353111"/>
                <a:ext cx="75864" cy="9879"/>
              </a:xfrm>
              <a:custGeom>
                <a:avLst/>
                <a:gdLst>
                  <a:gd name="connsiteX0" fmla="*/ 70925 w 75864"/>
                  <a:gd name="connsiteY0" fmla="*/ 9879 h 9879"/>
                  <a:gd name="connsiteX1" fmla="*/ 4940 w 75864"/>
                  <a:gd name="connsiteY1" fmla="*/ 9879 h 9879"/>
                  <a:gd name="connsiteX2" fmla="*/ 0 w 75864"/>
                  <a:gd name="connsiteY2" fmla="*/ 4940 h 9879"/>
                  <a:gd name="connsiteX3" fmla="*/ 4940 w 75864"/>
                  <a:gd name="connsiteY3" fmla="*/ 0 h 9879"/>
                  <a:gd name="connsiteX4" fmla="*/ 70925 w 75864"/>
                  <a:gd name="connsiteY4" fmla="*/ 0 h 9879"/>
                  <a:gd name="connsiteX5" fmla="*/ 75864 w 75864"/>
                  <a:gd name="connsiteY5" fmla="*/ 4940 h 9879"/>
                  <a:gd name="connsiteX6" fmla="*/ 70925 w 75864"/>
                  <a:gd name="connsiteY6" fmla="*/ 9879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864" h="9879">
                    <a:moveTo>
                      <a:pt x="70925" y="9879"/>
                    </a:moveTo>
                    <a:lnTo>
                      <a:pt x="4940" y="9879"/>
                    </a:lnTo>
                    <a:cubicBezTo>
                      <a:pt x="2199" y="9879"/>
                      <a:pt x="0" y="7652"/>
                      <a:pt x="0" y="4940"/>
                    </a:cubicBezTo>
                    <a:cubicBezTo>
                      <a:pt x="0" y="2199"/>
                      <a:pt x="2227" y="0"/>
                      <a:pt x="4940" y="0"/>
                    </a:cubicBezTo>
                    <a:lnTo>
                      <a:pt x="70925" y="0"/>
                    </a:lnTo>
                    <a:cubicBezTo>
                      <a:pt x="73666" y="0"/>
                      <a:pt x="75864" y="2227"/>
                      <a:pt x="75864" y="4940"/>
                    </a:cubicBezTo>
                    <a:cubicBezTo>
                      <a:pt x="75893" y="7652"/>
                      <a:pt x="73666" y="9879"/>
                      <a:pt x="70925" y="9879"/>
                    </a:cubicBezTo>
                    <a:close/>
                  </a:path>
                </a:pathLst>
              </a:custGeom>
              <a:solidFill>
                <a:schemeClr val="accent1"/>
              </a:solidFill>
              <a:ln w="2851" cap="flat">
                <a:noFill/>
                <a:prstDash val="solid"/>
                <a:miter/>
              </a:ln>
            </p:spPr>
            <p:txBody>
              <a:bodyPr rtlCol="0" anchor="ctr"/>
              <a:lstStyle/>
              <a:p>
                <a:endParaRPr lang="en-GB" dirty="0"/>
              </a:p>
            </p:txBody>
          </p:sp>
          <p:sp>
            <p:nvSpPr>
              <p:cNvPr id="597" name="Freihandform: Form 531">
                <a:extLst>
                  <a:ext uri="{FF2B5EF4-FFF2-40B4-BE49-F238E27FC236}">
                    <a16:creationId xmlns:a16="http://schemas.microsoft.com/office/drawing/2014/main" id="{FCE0746F-7FEF-479C-9582-5136EE8A0871}"/>
                  </a:ext>
                </a:extLst>
              </p:cNvPr>
              <p:cNvSpPr/>
              <p:nvPr/>
            </p:nvSpPr>
            <p:spPr>
              <a:xfrm>
                <a:off x="3670513" y="3405876"/>
                <a:ext cx="188019" cy="9879"/>
              </a:xfrm>
              <a:custGeom>
                <a:avLst/>
                <a:gdLst>
                  <a:gd name="connsiteX0" fmla="*/ 183080 w 188019"/>
                  <a:gd name="connsiteY0" fmla="*/ 9879 h 9879"/>
                  <a:gd name="connsiteX1" fmla="*/ 4940 w 188019"/>
                  <a:gd name="connsiteY1" fmla="*/ 9879 h 9879"/>
                  <a:gd name="connsiteX2" fmla="*/ 0 w 188019"/>
                  <a:gd name="connsiteY2" fmla="*/ 4940 h 9879"/>
                  <a:gd name="connsiteX3" fmla="*/ 4940 w 188019"/>
                  <a:gd name="connsiteY3" fmla="*/ 0 h 9879"/>
                  <a:gd name="connsiteX4" fmla="*/ 183080 w 188019"/>
                  <a:gd name="connsiteY4" fmla="*/ 0 h 9879"/>
                  <a:gd name="connsiteX5" fmla="*/ 188020 w 188019"/>
                  <a:gd name="connsiteY5" fmla="*/ 4940 h 9879"/>
                  <a:gd name="connsiteX6" fmla="*/ 183080 w 188019"/>
                  <a:gd name="connsiteY6" fmla="*/ 9879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019" h="9879">
                    <a:moveTo>
                      <a:pt x="183080" y="9879"/>
                    </a:moveTo>
                    <a:lnTo>
                      <a:pt x="4940" y="9879"/>
                    </a:lnTo>
                    <a:cubicBezTo>
                      <a:pt x="2198" y="9879"/>
                      <a:pt x="0" y="7652"/>
                      <a:pt x="0" y="4940"/>
                    </a:cubicBezTo>
                    <a:cubicBezTo>
                      <a:pt x="0" y="2199"/>
                      <a:pt x="2227" y="0"/>
                      <a:pt x="4940" y="0"/>
                    </a:cubicBezTo>
                    <a:lnTo>
                      <a:pt x="183080" y="0"/>
                    </a:lnTo>
                    <a:cubicBezTo>
                      <a:pt x="185821" y="0"/>
                      <a:pt x="188020" y="2227"/>
                      <a:pt x="188020" y="4940"/>
                    </a:cubicBezTo>
                    <a:cubicBezTo>
                      <a:pt x="188020" y="7681"/>
                      <a:pt x="185792" y="9879"/>
                      <a:pt x="183080" y="9879"/>
                    </a:cubicBezTo>
                    <a:close/>
                  </a:path>
                </a:pathLst>
              </a:custGeom>
              <a:solidFill>
                <a:schemeClr val="accent1"/>
              </a:solidFill>
              <a:ln w="2851" cap="flat">
                <a:noFill/>
                <a:prstDash val="solid"/>
                <a:miter/>
              </a:ln>
            </p:spPr>
            <p:txBody>
              <a:bodyPr rtlCol="0" anchor="ctr"/>
              <a:lstStyle/>
              <a:p>
                <a:endParaRPr lang="en-GB" dirty="0"/>
              </a:p>
            </p:txBody>
          </p:sp>
          <p:sp>
            <p:nvSpPr>
              <p:cNvPr id="598" name="Freihandform: Form 532">
                <a:extLst>
                  <a:ext uri="{FF2B5EF4-FFF2-40B4-BE49-F238E27FC236}">
                    <a16:creationId xmlns:a16="http://schemas.microsoft.com/office/drawing/2014/main" id="{B5FC13D8-66EF-453B-B2C1-E6EC366C0199}"/>
                  </a:ext>
                </a:extLst>
              </p:cNvPr>
              <p:cNvSpPr/>
              <p:nvPr/>
            </p:nvSpPr>
            <p:spPr>
              <a:xfrm>
                <a:off x="3670513" y="3452075"/>
                <a:ext cx="188019" cy="9879"/>
              </a:xfrm>
              <a:custGeom>
                <a:avLst/>
                <a:gdLst>
                  <a:gd name="connsiteX0" fmla="*/ 183080 w 188019"/>
                  <a:gd name="connsiteY0" fmla="*/ 9879 h 9879"/>
                  <a:gd name="connsiteX1" fmla="*/ 4940 w 188019"/>
                  <a:gd name="connsiteY1" fmla="*/ 9879 h 9879"/>
                  <a:gd name="connsiteX2" fmla="*/ 0 w 188019"/>
                  <a:gd name="connsiteY2" fmla="*/ 4940 h 9879"/>
                  <a:gd name="connsiteX3" fmla="*/ 4940 w 188019"/>
                  <a:gd name="connsiteY3" fmla="*/ 0 h 9879"/>
                  <a:gd name="connsiteX4" fmla="*/ 183080 w 188019"/>
                  <a:gd name="connsiteY4" fmla="*/ 0 h 9879"/>
                  <a:gd name="connsiteX5" fmla="*/ 188020 w 188019"/>
                  <a:gd name="connsiteY5" fmla="*/ 4940 h 9879"/>
                  <a:gd name="connsiteX6" fmla="*/ 183080 w 188019"/>
                  <a:gd name="connsiteY6" fmla="*/ 9879 h 9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019" h="9879">
                    <a:moveTo>
                      <a:pt x="183080" y="9879"/>
                    </a:moveTo>
                    <a:lnTo>
                      <a:pt x="4940" y="9879"/>
                    </a:lnTo>
                    <a:cubicBezTo>
                      <a:pt x="2198" y="9879"/>
                      <a:pt x="0" y="7652"/>
                      <a:pt x="0" y="4940"/>
                    </a:cubicBezTo>
                    <a:cubicBezTo>
                      <a:pt x="0" y="2227"/>
                      <a:pt x="2227" y="0"/>
                      <a:pt x="4940" y="0"/>
                    </a:cubicBezTo>
                    <a:lnTo>
                      <a:pt x="183080" y="0"/>
                    </a:lnTo>
                    <a:cubicBezTo>
                      <a:pt x="185821" y="0"/>
                      <a:pt x="188020" y="2227"/>
                      <a:pt x="188020" y="4940"/>
                    </a:cubicBezTo>
                    <a:cubicBezTo>
                      <a:pt x="188020" y="7652"/>
                      <a:pt x="185792" y="9879"/>
                      <a:pt x="183080" y="9879"/>
                    </a:cubicBezTo>
                    <a:close/>
                  </a:path>
                </a:pathLst>
              </a:custGeom>
              <a:solidFill>
                <a:schemeClr val="accent1"/>
              </a:solidFill>
              <a:ln w="2851" cap="flat">
                <a:noFill/>
                <a:prstDash val="solid"/>
                <a:miter/>
              </a:ln>
            </p:spPr>
            <p:txBody>
              <a:bodyPr rtlCol="0" anchor="ctr"/>
              <a:lstStyle/>
              <a:p>
                <a:endParaRPr lang="en-GB" dirty="0"/>
              </a:p>
            </p:txBody>
          </p:sp>
        </p:grpSp>
      </p:grpSp>
      <p:grpSp>
        <p:nvGrpSpPr>
          <p:cNvPr id="619" name="Group 618">
            <a:extLst>
              <a:ext uri="{FF2B5EF4-FFF2-40B4-BE49-F238E27FC236}">
                <a16:creationId xmlns:a16="http://schemas.microsoft.com/office/drawing/2014/main" id="{912242E6-2022-BB43-AB20-9EF1A04ADE35}"/>
              </a:ext>
            </a:extLst>
          </p:cNvPr>
          <p:cNvGrpSpPr/>
          <p:nvPr/>
        </p:nvGrpSpPr>
        <p:grpSpPr>
          <a:xfrm>
            <a:off x="5951333" y="4040335"/>
            <a:ext cx="610136" cy="416512"/>
            <a:chOff x="5950921" y="4040335"/>
            <a:chExt cx="610136" cy="416512"/>
          </a:xfrm>
        </p:grpSpPr>
        <p:grpSp>
          <p:nvGrpSpPr>
            <p:cNvPr id="620" name="Group 619">
              <a:extLst>
                <a:ext uri="{FF2B5EF4-FFF2-40B4-BE49-F238E27FC236}">
                  <a16:creationId xmlns:a16="http://schemas.microsoft.com/office/drawing/2014/main" id="{6B1713A5-28F6-405D-B6A3-A69EC1040DD8}"/>
                </a:ext>
              </a:extLst>
            </p:cNvPr>
            <p:cNvGrpSpPr/>
            <p:nvPr/>
          </p:nvGrpSpPr>
          <p:grpSpPr>
            <a:xfrm>
              <a:off x="5950921" y="4040335"/>
              <a:ext cx="610136" cy="378798"/>
              <a:chOff x="5296816" y="1796985"/>
              <a:chExt cx="526317" cy="326760"/>
            </a:xfrm>
            <a:solidFill>
              <a:schemeClr val="tx2"/>
            </a:solidFill>
          </p:grpSpPr>
          <p:sp>
            <p:nvSpPr>
              <p:cNvPr id="625" name="Freihandform: Form 910">
                <a:extLst>
                  <a:ext uri="{FF2B5EF4-FFF2-40B4-BE49-F238E27FC236}">
                    <a16:creationId xmlns:a16="http://schemas.microsoft.com/office/drawing/2014/main" id="{2EA415DA-9039-473F-9E30-6C420EC63BB2}"/>
                  </a:ext>
                </a:extLst>
              </p:cNvPr>
              <p:cNvSpPr/>
              <p:nvPr/>
            </p:nvSpPr>
            <p:spPr>
              <a:xfrm>
                <a:off x="5296816" y="1796985"/>
                <a:ext cx="245504" cy="243064"/>
              </a:xfrm>
              <a:custGeom>
                <a:avLst/>
                <a:gdLst>
                  <a:gd name="connsiteX0" fmla="*/ 154887 w 245504"/>
                  <a:gd name="connsiteY0" fmla="*/ 243065 h 243064"/>
                  <a:gd name="connsiteX1" fmla="*/ 150364 w 245504"/>
                  <a:gd name="connsiteY1" fmla="*/ 240007 h 243064"/>
                  <a:gd name="connsiteX2" fmla="*/ 139956 w 245504"/>
                  <a:gd name="connsiteY2" fmla="*/ 214361 h 243064"/>
                  <a:gd name="connsiteX3" fmla="*/ 102438 w 245504"/>
                  <a:gd name="connsiteY3" fmla="*/ 213744 h 243064"/>
                  <a:gd name="connsiteX4" fmla="*/ 91183 w 245504"/>
                  <a:gd name="connsiteY4" fmla="*/ 238979 h 243064"/>
                  <a:gd name="connsiteX5" fmla="*/ 84733 w 245504"/>
                  <a:gd name="connsiteY5" fmla="*/ 241446 h 243064"/>
                  <a:gd name="connsiteX6" fmla="*/ 58907 w 245504"/>
                  <a:gd name="connsiteY6" fmla="*/ 229985 h 243064"/>
                  <a:gd name="connsiteX7" fmla="*/ 56337 w 245504"/>
                  <a:gd name="connsiteY7" fmla="*/ 227261 h 243064"/>
                  <a:gd name="connsiteX8" fmla="*/ 56440 w 245504"/>
                  <a:gd name="connsiteY8" fmla="*/ 223535 h 243064"/>
                  <a:gd name="connsiteX9" fmla="*/ 67695 w 245504"/>
                  <a:gd name="connsiteY9" fmla="*/ 198248 h 243064"/>
                  <a:gd name="connsiteX10" fmla="*/ 42178 w 245504"/>
                  <a:gd name="connsiteY10" fmla="*/ 170726 h 243064"/>
                  <a:gd name="connsiteX11" fmla="*/ 16121 w 245504"/>
                  <a:gd name="connsiteY11" fmla="*/ 180055 h 243064"/>
                  <a:gd name="connsiteX12" fmla="*/ 9876 w 245504"/>
                  <a:gd name="connsiteY12" fmla="*/ 177099 h 243064"/>
                  <a:gd name="connsiteX13" fmla="*/ 291 w 245504"/>
                  <a:gd name="connsiteY13" fmla="*/ 150477 h 243064"/>
                  <a:gd name="connsiteX14" fmla="*/ 471 w 245504"/>
                  <a:gd name="connsiteY14" fmla="*/ 146751 h 243064"/>
                  <a:gd name="connsiteX15" fmla="*/ 3246 w 245504"/>
                  <a:gd name="connsiteY15" fmla="*/ 144232 h 243064"/>
                  <a:gd name="connsiteX16" fmla="*/ 29329 w 245504"/>
                  <a:gd name="connsiteY16" fmla="*/ 134879 h 243064"/>
                  <a:gd name="connsiteX17" fmla="*/ 30588 w 245504"/>
                  <a:gd name="connsiteY17" fmla="*/ 101189 h 243064"/>
                  <a:gd name="connsiteX18" fmla="*/ 5328 w 245504"/>
                  <a:gd name="connsiteY18" fmla="*/ 89908 h 243064"/>
                  <a:gd name="connsiteX19" fmla="*/ 2861 w 245504"/>
                  <a:gd name="connsiteY19" fmla="*/ 83458 h 243064"/>
                  <a:gd name="connsiteX20" fmla="*/ 14373 w 245504"/>
                  <a:gd name="connsiteY20" fmla="*/ 57632 h 243064"/>
                  <a:gd name="connsiteX21" fmla="*/ 17097 w 245504"/>
                  <a:gd name="connsiteY21" fmla="*/ 55062 h 243064"/>
                  <a:gd name="connsiteX22" fmla="*/ 20823 w 245504"/>
                  <a:gd name="connsiteY22" fmla="*/ 55165 h 243064"/>
                  <a:gd name="connsiteX23" fmla="*/ 46084 w 245504"/>
                  <a:gd name="connsiteY23" fmla="*/ 66446 h 243064"/>
                  <a:gd name="connsiteX24" fmla="*/ 70368 w 245504"/>
                  <a:gd name="connsiteY24" fmla="*/ 43010 h 243064"/>
                  <a:gd name="connsiteX25" fmla="*/ 59909 w 245504"/>
                  <a:gd name="connsiteY25" fmla="*/ 17339 h 243064"/>
                  <a:gd name="connsiteX26" fmla="*/ 59935 w 245504"/>
                  <a:gd name="connsiteY26" fmla="*/ 13587 h 243064"/>
                  <a:gd name="connsiteX27" fmla="*/ 62607 w 245504"/>
                  <a:gd name="connsiteY27" fmla="*/ 10966 h 243064"/>
                  <a:gd name="connsiteX28" fmla="*/ 88819 w 245504"/>
                  <a:gd name="connsiteY28" fmla="*/ 352 h 243064"/>
                  <a:gd name="connsiteX29" fmla="*/ 95166 w 245504"/>
                  <a:gd name="connsiteY29" fmla="*/ 3051 h 243064"/>
                  <a:gd name="connsiteX30" fmla="*/ 105573 w 245504"/>
                  <a:gd name="connsiteY30" fmla="*/ 28697 h 243064"/>
                  <a:gd name="connsiteX31" fmla="*/ 143092 w 245504"/>
                  <a:gd name="connsiteY31" fmla="*/ 29314 h 243064"/>
                  <a:gd name="connsiteX32" fmla="*/ 154398 w 245504"/>
                  <a:gd name="connsiteY32" fmla="*/ 4053 h 243064"/>
                  <a:gd name="connsiteX33" fmla="*/ 160848 w 245504"/>
                  <a:gd name="connsiteY33" fmla="*/ 1586 h 243064"/>
                  <a:gd name="connsiteX34" fmla="*/ 186649 w 245504"/>
                  <a:gd name="connsiteY34" fmla="*/ 13098 h 243064"/>
                  <a:gd name="connsiteX35" fmla="*/ 189218 w 245504"/>
                  <a:gd name="connsiteY35" fmla="*/ 15822 h 243064"/>
                  <a:gd name="connsiteX36" fmla="*/ 189116 w 245504"/>
                  <a:gd name="connsiteY36" fmla="*/ 19548 h 243064"/>
                  <a:gd name="connsiteX37" fmla="*/ 177835 w 245504"/>
                  <a:gd name="connsiteY37" fmla="*/ 44835 h 243064"/>
                  <a:gd name="connsiteX38" fmla="*/ 203326 w 245504"/>
                  <a:gd name="connsiteY38" fmla="*/ 72357 h 243064"/>
                  <a:gd name="connsiteX39" fmla="*/ 229384 w 245504"/>
                  <a:gd name="connsiteY39" fmla="*/ 63054 h 243064"/>
                  <a:gd name="connsiteX40" fmla="*/ 235628 w 245504"/>
                  <a:gd name="connsiteY40" fmla="*/ 65984 h 243064"/>
                  <a:gd name="connsiteX41" fmla="*/ 245213 w 245504"/>
                  <a:gd name="connsiteY41" fmla="*/ 92581 h 243064"/>
                  <a:gd name="connsiteX42" fmla="*/ 245033 w 245504"/>
                  <a:gd name="connsiteY42" fmla="*/ 96307 h 243064"/>
                  <a:gd name="connsiteX43" fmla="*/ 242258 w 245504"/>
                  <a:gd name="connsiteY43" fmla="*/ 98825 h 243064"/>
                  <a:gd name="connsiteX44" fmla="*/ 216175 w 245504"/>
                  <a:gd name="connsiteY44" fmla="*/ 108179 h 243064"/>
                  <a:gd name="connsiteX45" fmla="*/ 214916 w 245504"/>
                  <a:gd name="connsiteY45" fmla="*/ 141868 h 243064"/>
                  <a:gd name="connsiteX46" fmla="*/ 240202 w 245504"/>
                  <a:gd name="connsiteY46" fmla="*/ 153149 h 243064"/>
                  <a:gd name="connsiteX47" fmla="*/ 242772 w 245504"/>
                  <a:gd name="connsiteY47" fmla="*/ 155873 h 243064"/>
                  <a:gd name="connsiteX48" fmla="*/ 242669 w 245504"/>
                  <a:gd name="connsiteY48" fmla="*/ 159600 h 243064"/>
                  <a:gd name="connsiteX49" fmla="*/ 231105 w 245504"/>
                  <a:gd name="connsiteY49" fmla="*/ 185451 h 243064"/>
                  <a:gd name="connsiteX50" fmla="*/ 224655 w 245504"/>
                  <a:gd name="connsiteY50" fmla="*/ 187918 h 243064"/>
                  <a:gd name="connsiteX51" fmla="*/ 199395 w 245504"/>
                  <a:gd name="connsiteY51" fmla="*/ 176637 h 243064"/>
                  <a:gd name="connsiteX52" fmla="*/ 175162 w 245504"/>
                  <a:gd name="connsiteY52" fmla="*/ 200047 h 243064"/>
                  <a:gd name="connsiteX53" fmla="*/ 185595 w 245504"/>
                  <a:gd name="connsiteY53" fmla="*/ 225719 h 243064"/>
                  <a:gd name="connsiteX54" fmla="*/ 185569 w 245504"/>
                  <a:gd name="connsiteY54" fmla="*/ 229445 h 243064"/>
                  <a:gd name="connsiteX55" fmla="*/ 182897 w 245504"/>
                  <a:gd name="connsiteY55" fmla="*/ 232066 h 243064"/>
                  <a:gd name="connsiteX56" fmla="*/ 156660 w 245504"/>
                  <a:gd name="connsiteY56" fmla="*/ 242705 h 243064"/>
                  <a:gd name="connsiteX57" fmla="*/ 154887 w 245504"/>
                  <a:gd name="connsiteY57" fmla="*/ 243065 h 243064"/>
                  <a:gd name="connsiteX58" fmla="*/ 142937 w 245504"/>
                  <a:gd name="connsiteY58" fmla="*/ 203851 h 243064"/>
                  <a:gd name="connsiteX59" fmla="*/ 147460 w 245504"/>
                  <a:gd name="connsiteY59" fmla="*/ 206908 h 243064"/>
                  <a:gd name="connsiteX60" fmla="*/ 157559 w 245504"/>
                  <a:gd name="connsiteY60" fmla="*/ 231809 h 243064"/>
                  <a:gd name="connsiteX61" fmla="*/ 174725 w 245504"/>
                  <a:gd name="connsiteY61" fmla="*/ 224845 h 243064"/>
                  <a:gd name="connsiteX62" fmla="*/ 164600 w 245504"/>
                  <a:gd name="connsiteY62" fmla="*/ 199919 h 243064"/>
                  <a:gd name="connsiteX63" fmla="*/ 166605 w 245504"/>
                  <a:gd name="connsiteY63" fmla="*/ 193906 h 243064"/>
                  <a:gd name="connsiteX64" fmla="*/ 193613 w 245504"/>
                  <a:gd name="connsiteY64" fmla="*/ 167823 h 243064"/>
                  <a:gd name="connsiteX65" fmla="*/ 199703 w 245504"/>
                  <a:gd name="connsiteY65" fmla="*/ 166024 h 243064"/>
                  <a:gd name="connsiteX66" fmla="*/ 224218 w 245504"/>
                  <a:gd name="connsiteY66" fmla="*/ 176971 h 243064"/>
                  <a:gd name="connsiteX67" fmla="*/ 231799 w 245504"/>
                  <a:gd name="connsiteY67" fmla="*/ 160036 h 243064"/>
                  <a:gd name="connsiteX68" fmla="*/ 207258 w 245504"/>
                  <a:gd name="connsiteY68" fmla="*/ 149089 h 243064"/>
                  <a:gd name="connsiteX69" fmla="*/ 204534 w 245504"/>
                  <a:gd name="connsiteY69" fmla="*/ 143359 h 243064"/>
                  <a:gd name="connsiteX70" fmla="*/ 205922 w 245504"/>
                  <a:gd name="connsiteY70" fmla="*/ 105840 h 243064"/>
                  <a:gd name="connsiteX71" fmla="*/ 209057 w 245504"/>
                  <a:gd name="connsiteY71" fmla="*/ 100316 h 243064"/>
                  <a:gd name="connsiteX72" fmla="*/ 234369 w 245504"/>
                  <a:gd name="connsiteY72" fmla="*/ 91219 h 243064"/>
                  <a:gd name="connsiteX73" fmla="*/ 228099 w 245504"/>
                  <a:gd name="connsiteY73" fmla="*/ 73821 h 243064"/>
                  <a:gd name="connsiteX74" fmla="*/ 202787 w 245504"/>
                  <a:gd name="connsiteY74" fmla="*/ 82867 h 243064"/>
                  <a:gd name="connsiteX75" fmla="*/ 196876 w 245504"/>
                  <a:gd name="connsiteY75" fmla="*/ 80631 h 243064"/>
                  <a:gd name="connsiteX76" fmla="*/ 169072 w 245504"/>
                  <a:gd name="connsiteY76" fmla="*/ 50617 h 243064"/>
                  <a:gd name="connsiteX77" fmla="*/ 167273 w 245504"/>
                  <a:gd name="connsiteY77" fmla="*/ 44526 h 243064"/>
                  <a:gd name="connsiteX78" fmla="*/ 178220 w 245504"/>
                  <a:gd name="connsiteY78" fmla="*/ 19985 h 243064"/>
                  <a:gd name="connsiteX79" fmla="*/ 161337 w 245504"/>
                  <a:gd name="connsiteY79" fmla="*/ 12456 h 243064"/>
                  <a:gd name="connsiteX80" fmla="*/ 150364 w 245504"/>
                  <a:gd name="connsiteY80" fmla="*/ 36971 h 243064"/>
                  <a:gd name="connsiteX81" fmla="*/ 144659 w 245504"/>
                  <a:gd name="connsiteY81" fmla="*/ 39695 h 243064"/>
                  <a:gd name="connsiteX82" fmla="*/ 103723 w 245504"/>
                  <a:gd name="connsiteY82" fmla="*/ 39027 h 243064"/>
                  <a:gd name="connsiteX83" fmla="*/ 98095 w 245504"/>
                  <a:gd name="connsiteY83" fmla="*/ 36098 h 243064"/>
                  <a:gd name="connsiteX84" fmla="*/ 87971 w 245504"/>
                  <a:gd name="connsiteY84" fmla="*/ 11197 h 243064"/>
                  <a:gd name="connsiteX85" fmla="*/ 70805 w 245504"/>
                  <a:gd name="connsiteY85" fmla="*/ 18135 h 243064"/>
                  <a:gd name="connsiteX86" fmla="*/ 80955 w 245504"/>
                  <a:gd name="connsiteY86" fmla="*/ 43062 h 243064"/>
                  <a:gd name="connsiteX87" fmla="*/ 78951 w 245504"/>
                  <a:gd name="connsiteY87" fmla="*/ 49075 h 243064"/>
                  <a:gd name="connsiteX88" fmla="*/ 51917 w 245504"/>
                  <a:gd name="connsiteY88" fmla="*/ 75158 h 243064"/>
                  <a:gd name="connsiteX89" fmla="*/ 45827 w 245504"/>
                  <a:gd name="connsiteY89" fmla="*/ 76957 h 243064"/>
                  <a:gd name="connsiteX90" fmla="*/ 21311 w 245504"/>
                  <a:gd name="connsiteY90" fmla="*/ 66009 h 243064"/>
                  <a:gd name="connsiteX91" fmla="*/ 13756 w 245504"/>
                  <a:gd name="connsiteY91" fmla="*/ 82918 h 243064"/>
                  <a:gd name="connsiteX92" fmla="*/ 38272 w 245504"/>
                  <a:gd name="connsiteY92" fmla="*/ 93891 h 243064"/>
                  <a:gd name="connsiteX93" fmla="*/ 40996 w 245504"/>
                  <a:gd name="connsiteY93" fmla="*/ 99622 h 243064"/>
                  <a:gd name="connsiteX94" fmla="*/ 39608 w 245504"/>
                  <a:gd name="connsiteY94" fmla="*/ 137114 h 243064"/>
                  <a:gd name="connsiteX95" fmla="*/ 36473 w 245504"/>
                  <a:gd name="connsiteY95" fmla="*/ 142639 h 243064"/>
                  <a:gd name="connsiteX96" fmla="*/ 11161 w 245504"/>
                  <a:gd name="connsiteY96" fmla="*/ 151710 h 243064"/>
                  <a:gd name="connsiteX97" fmla="*/ 17431 w 245504"/>
                  <a:gd name="connsiteY97" fmla="*/ 169159 h 243064"/>
                  <a:gd name="connsiteX98" fmla="*/ 42743 w 245504"/>
                  <a:gd name="connsiteY98" fmla="*/ 160113 h 243064"/>
                  <a:gd name="connsiteX99" fmla="*/ 48653 w 245504"/>
                  <a:gd name="connsiteY99" fmla="*/ 162349 h 243064"/>
                  <a:gd name="connsiteX100" fmla="*/ 76484 w 245504"/>
                  <a:gd name="connsiteY100" fmla="*/ 192389 h 243064"/>
                  <a:gd name="connsiteX101" fmla="*/ 78283 w 245504"/>
                  <a:gd name="connsiteY101" fmla="*/ 198454 h 243064"/>
                  <a:gd name="connsiteX102" fmla="*/ 67361 w 245504"/>
                  <a:gd name="connsiteY102" fmla="*/ 222969 h 243064"/>
                  <a:gd name="connsiteX103" fmla="*/ 84244 w 245504"/>
                  <a:gd name="connsiteY103" fmla="*/ 230473 h 243064"/>
                  <a:gd name="connsiteX104" fmla="*/ 95192 w 245504"/>
                  <a:gd name="connsiteY104" fmla="*/ 205983 h 243064"/>
                  <a:gd name="connsiteX105" fmla="*/ 100896 w 245504"/>
                  <a:gd name="connsiteY105" fmla="*/ 203259 h 243064"/>
                  <a:gd name="connsiteX106" fmla="*/ 141858 w 245504"/>
                  <a:gd name="connsiteY106" fmla="*/ 203928 h 243064"/>
                  <a:gd name="connsiteX107" fmla="*/ 142937 w 245504"/>
                  <a:gd name="connsiteY107" fmla="*/ 203851 h 243064"/>
                  <a:gd name="connsiteX108" fmla="*/ 122765 w 245504"/>
                  <a:gd name="connsiteY108" fmla="*/ 174067 h 243064"/>
                  <a:gd name="connsiteX109" fmla="*/ 110790 w 245504"/>
                  <a:gd name="connsiteY109" fmla="*/ 172680 h 243064"/>
                  <a:gd name="connsiteX110" fmla="*/ 110790 w 245504"/>
                  <a:gd name="connsiteY110" fmla="*/ 172680 h 243064"/>
                  <a:gd name="connsiteX111" fmla="*/ 71678 w 245504"/>
                  <a:gd name="connsiteY111" fmla="*/ 109541 h 243064"/>
                  <a:gd name="connsiteX112" fmla="*/ 95114 w 245504"/>
                  <a:gd name="connsiteY112" fmla="*/ 76879 h 243064"/>
                  <a:gd name="connsiteX113" fmla="*/ 134766 w 245504"/>
                  <a:gd name="connsiteY113" fmla="*/ 70378 h 243064"/>
                  <a:gd name="connsiteX114" fmla="*/ 167427 w 245504"/>
                  <a:gd name="connsiteY114" fmla="*/ 93840 h 243064"/>
                  <a:gd name="connsiteX115" fmla="*/ 173929 w 245504"/>
                  <a:gd name="connsiteY115" fmla="*/ 133517 h 243064"/>
                  <a:gd name="connsiteX116" fmla="*/ 122765 w 245504"/>
                  <a:gd name="connsiteY116" fmla="*/ 174067 h 243064"/>
                  <a:gd name="connsiteX117" fmla="*/ 113000 w 245504"/>
                  <a:gd name="connsiteY117" fmla="*/ 163171 h 243064"/>
                  <a:gd name="connsiteX118" fmla="*/ 145302 w 245504"/>
                  <a:gd name="connsiteY118" fmla="*/ 157852 h 243064"/>
                  <a:gd name="connsiteX119" fmla="*/ 164420 w 245504"/>
                  <a:gd name="connsiteY119" fmla="*/ 131255 h 243064"/>
                  <a:gd name="connsiteX120" fmla="*/ 159127 w 245504"/>
                  <a:gd name="connsiteY120" fmla="*/ 98954 h 243064"/>
                  <a:gd name="connsiteX121" fmla="*/ 132530 w 245504"/>
                  <a:gd name="connsiteY121" fmla="*/ 79860 h 243064"/>
                  <a:gd name="connsiteX122" fmla="*/ 100254 w 245504"/>
                  <a:gd name="connsiteY122" fmla="*/ 85154 h 243064"/>
                  <a:gd name="connsiteX123" fmla="*/ 81186 w 245504"/>
                  <a:gd name="connsiteY123" fmla="*/ 111751 h 243064"/>
                  <a:gd name="connsiteX124" fmla="*/ 113000 w 245504"/>
                  <a:gd name="connsiteY124" fmla="*/ 163171 h 243064"/>
                  <a:gd name="connsiteX125" fmla="*/ 113000 w 245504"/>
                  <a:gd name="connsiteY125" fmla="*/ 163171 h 24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245504" h="243064">
                    <a:moveTo>
                      <a:pt x="154887" y="243065"/>
                    </a:moveTo>
                    <a:cubicBezTo>
                      <a:pt x="152959" y="243065"/>
                      <a:pt x="151135" y="241908"/>
                      <a:pt x="150364" y="240007"/>
                    </a:cubicBezTo>
                    <a:lnTo>
                      <a:pt x="139956" y="214361"/>
                    </a:lnTo>
                    <a:cubicBezTo>
                      <a:pt x="127596" y="216648"/>
                      <a:pt x="114799" y="216442"/>
                      <a:pt x="102438" y="213744"/>
                    </a:cubicBezTo>
                    <a:lnTo>
                      <a:pt x="91183" y="238979"/>
                    </a:lnTo>
                    <a:cubicBezTo>
                      <a:pt x="90078" y="241446"/>
                      <a:pt x="87200" y="242551"/>
                      <a:pt x="84733" y="241446"/>
                    </a:cubicBezTo>
                    <a:lnTo>
                      <a:pt x="58907" y="229985"/>
                    </a:lnTo>
                    <a:cubicBezTo>
                      <a:pt x="57725" y="229445"/>
                      <a:pt x="56800" y="228469"/>
                      <a:pt x="56337" y="227261"/>
                    </a:cubicBezTo>
                    <a:cubicBezTo>
                      <a:pt x="55874" y="226053"/>
                      <a:pt x="55900" y="224717"/>
                      <a:pt x="56440" y="223535"/>
                    </a:cubicBezTo>
                    <a:lnTo>
                      <a:pt x="67695" y="198248"/>
                    </a:lnTo>
                    <a:cubicBezTo>
                      <a:pt x="57493" y="190899"/>
                      <a:pt x="48782" y="181494"/>
                      <a:pt x="42178" y="170726"/>
                    </a:cubicBezTo>
                    <a:lnTo>
                      <a:pt x="16121" y="180055"/>
                    </a:lnTo>
                    <a:cubicBezTo>
                      <a:pt x="13576" y="180954"/>
                      <a:pt x="10801" y="179643"/>
                      <a:pt x="9876" y="177099"/>
                    </a:cubicBezTo>
                    <a:lnTo>
                      <a:pt x="291" y="150477"/>
                    </a:lnTo>
                    <a:cubicBezTo>
                      <a:pt x="-146" y="149243"/>
                      <a:pt x="-95" y="147907"/>
                      <a:pt x="471" y="146751"/>
                    </a:cubicBezTo>
                    <a:cubicBezTo>
                      <a:pt x="1036" y="145569"/>
                      <a:pt x="2013" y="144669"/>
                      <a:pt x="3246" y="144232"/>
                    </a:cubicBezTo>
                    <a:lnTo>
                      <a:pt x="29329" y="134879"/>
                    </a:lnTo>
                    <a:cubicBezTo>
                      <a:pt x="27710" y="123726"/>
                      <a:pt x="28147" y="112239"/>
                      <a:pt x="30588" y="101189"/>
                    </a:cubicBezTo>
                    <a:lnTo>
                      <a:pt x="5328" y="89908"/>
                    </a:lnTo>
                    <a:cubicBezTo>
                      <a:pt x="2861" y="88803"/>
                      <a:pt x="1756" y="85925"/>
                      <a:pt x="2861" y="83458"/>
                    </a:cubicBezTo>
                    <a:lnTo>
                      <a:pt x="14373" y="57632"/>
                    </a:lnTo>
                    <a:cubicBezTo>
                      <a:pt x="14913" y="56450"/>
                      <a:pt x="15889" y="55525"/>
                      <a:pt x="17097" y="55062"/>
                    </a:cubicBezTo>
                    <a:cubicBezTo>
                      <a:pt x="18305" y="54600"/>
                      <a:pt x="19641" y="54625"/>
                      <a:pt x="20823" y="55165"/>
                    </a:cubicBezTo>
                    <a:lnTo>
                      <a:pt x="46084" y="66446"/>
                    </a:lnTo>
                    <a:cubicBezTo>
                      <a:pt x="52688" y="57195"/>
                      <a:pt x="60834" y="49358"/>
                      <a:pt x="70368" y="43010"/>
                    </a:cubicBezTo>
                    <a:lnTo>
                      <a:pt x="59909" y="17339"/>
                    </a:lnTo>
                    <a:cubicBezTo>
                      <a:pt x="59421" y="16131"/>
                      <a:pt x="59421" y="14794"/>
                      <a:pt x="59935" y="13587"/>
                    </a:cubicBezTo>
                    <a:cubicBezTo>
                      <a:pt x="60449" y="12379"/>
                      <a:pt x="61399" y="11454"/>
                      <a:pt x="62607" y="10966"/>
                    </a:cubicBezTo>
                    <a:lnTo>
                      <a:pt x="88819" y="352"/>
                    </a:lnTo>
                    <a:cubicBezTo>
                      <a:pt x="91311" y="-650"/>
                      <a:pt x="94164" y="558"/>
                      <a:pt x="95166" y="3051"/>
                    </a:cubicBezTo>
                    <a:lnTo>
                      <a:pt x="105573" y="28697"/>
                    </a:lnTo>
                    <a:cubicBezTo>
                      <a:pt x="117908" y="26384"/>
                      <a:pt x="130731" y="26615"/>
                      <a:pt x="143092" y="29314"/>
                    </a:cubicBezTo>
                    <a:lnTo>
                      <a:pt x="154398" y="4053"/>
                    </a:lnTo>
                    <a:cubicBezTo>
                      <a:pt x="155503" y="1586"/>
                      <a:pt x="158382" y="507"/>
                      <a:pt x="160848" y="1586"/>
                    </a:cubicBezTo>
                    <a:lnTo>
                      <a:pt x="186649" y="13098"/>
                    </a:lnTo>
                    <a:cubicBezTo>
                      <a:pt x="187831" y="13638"/>
                      <a:pt x="188756" y="14615"/>
                      <a:pt x="189218" y="15822"/>
                    </a:cubicBezTo>
                    <a:cubicBezTo>
                      <a:pt x="189681" y="17030"/>
                      <a:pt x="189655" y="18366"/>
                      <a:pt x="189116" y="19548"/>
                    </a:cubicBezTo>
                    <a:lnTo>
                      <a:pt x="177835" y="44835"/>
                    </a:lnTo>
                    <a:cubicBezTo>
                      <a:pt x="188036" y="52133"/>
                      <a:pt x="196748" y="61538"/>
                      <a:pt x="203326" y="72357"/>
                    </a:cubicBezTo>
                    <a:lnTo>
                      <a:pt x="229384" y="63054"/>
                    </a:lnTo>
                    <a:cubicBezTo>
                      <a:pt x="231902" y="62129"/>
                      <a:pt x="234703" y="63465"/>
                      <a:pt x="235628" y="65984"/>
                    </a:cubicBezTo>
                    <a:lnTo>
                      <a:pt x="245213" y="92581"/>
                    </a:lnTo>
                    <a:cubicBezTo>
                      <a:pt x="245650" y="93814"/>
                      <a:pt x="245599" y="95150"/>
                      <a:pt x="245033" y="96307"/>
                    </a:cubicBezTo>
                    <a:cubicBezTo>
                      <a:pt x="244468" y="97489"/>
                      <a:pt x="243491" y="98388"/>
                      <a:pt x="242258" y="98825"/>
                    </a:cubicBezTo>
                    <a:lnTo>
                      <a:pt x="216175" y="108179"/>
                    </a:lnTo>
                    <a:cubicBezTo>
                      <a:pt x="217794" y="119306"/>
                      <a:pt x="217383" y="130818"/>
                      <a:pt x="214916" y="141868"/>
                    </a:cubicBezTo>
                    <a:lnTo>
                      <a:pt x="240202" y="153149"/>
                    </a:lnTo>
                    <a:cubicBezTo>
                      <a:pt x="241384" y="153689"/>
                      <a:pt x="242309" y="154666"/>
                      <a:pt x="242772" y="155873"/>
                    </a:cubicBezTo>
                    <a:cubicBezTo>
                      <a:pt x="243234" y="157081"/>
                      <a:pt x="243209" y="158417"/>
                      <a:pt x="242669" y="159600"/>
                    </a:cubicBezTo>
                    <a:lnTo>
                      <a:pt x="231105" y="185451"/>
                    </a:lnTo>
                    <a:cubicBezTo>
                      <a:pt x="230000" y="187918"/>
                      <a:pt x="227122" y="189023"/>
                      <a:pt x="224655" y="187918"/>
                    </a:cubicBezTo>
                    <a:lnTo>
                      <a:pt x="199395" y="176637"/>
                    </a:lnTo>
                    <a:cubicBezTo>
                      <a:pt x="192790" y="185811"/>
                      <a:pt x="184516" y="193803"/>
                      <a:pt x="175162" y="200047"/>
                    </a:cubicBezTo>
                    <a:lnTo>
                      <a:pt x="185595" y="225719"/>
                    </a:lnTo>
                    <a:cubicBezTo>
                      <a:pt x="186083" y="226927"/>
                      <a:pt x="186083" y="228263"/>
                      <a:pt x="185569" y="229445"/>
                    </a:cubicBezTo>
                    <a:cubicBezTo>
                      <a:pt x="185055" y="230627"/>
                      <a:pt x="184105" y="231578"/>
                      <a:pt x="182897" y="232066"/>
                    </a:cubicBezTo>
                    <a:lnTo>
                      <a:pt x="156660" y="242705"/>
                    </a:lnTo>
                    <a:cubicBezTo>
                      <a:pt x="156120" y="242936"/>
                      <a:pt x="155503" y="243065"/>
                      <a:pt x="154887" y="243065"/>
                    </a:cubicBezTo>
                    <a:close/>
                    <a:moveTo>
                      <a:pt x="142937" y="203851"/>
                    </a:moveTo>
                    <a:cubicBezTo>
                      <a:pt x="144890" y="203851"/>
                      <a:pt x="146689" y="205033"/>
                      <a:pt x="147460" y="206908"/>
                    </a:cubicBezTo>
                    <a:lnTo>
                      <a:pt x="157559" y="231809"/>
                    </a:lnTo>
                    <a:lnTo>
                      <a:pt x="174725" y="224845"/>
                    </a:lnTo>
                    <a:lnTo>
                      <a:pt x="164600" y="199919"/>
                    </a:lnTo>
                    <a:cubicBezTo>
                      <a:pt x="163701" y="197683"/>
                      <a:pt x="164549" y="195139"/>
                      <a:pt x="166605" y="193906"/>
                    </a:cubicBezTo>
                    <a:cubicBezTo>
                      <a:pt x="177372" y="187404"/>
                      <a:pt x="186726" y="178384"/>
                      <a:pt x="193613" y="167823"/>
                    </a:cubicBezTo>
                    <a:cubicBezTo>
                      <a:pt x="194923" y="165818"/>
                      <a:pt x="197519" y="165047"/>
                      <a:pt x="199703" y="166024"/>
                    </a:cubicBezTo>
                    <a:lnTo>
                      <a:pt x="224218" y="176971"/>
                    </a:lnTo>
                    <a:lnTo>
                      <a:pt x="231799" y="160036"/>
                    </a:lnTo>
                    <a:lnTo>
                      <a:pt x="207258" y="149089"/>
                    </a:lnTo>
                    <a:cubicBezTo>
                      <a:pt x="205074" y="148113"/>
                      <a:pt x="203917" y="145672"/>
                      <a:pt x="204534" y="143359"/>
                    </a:cubicBezTo>
                    <a:cubicBezTo>
                      <a:pt x="207823" y="131127"/>
                      <a:pt x="208286" y="118150"/>
                      <a:pt x="205922" y="105840"/>
                    </a:cubicBezTo>
                    <a:cubicBezTo>
                      <a:pt x="205459" y="103476"/>
                      <a:pt x="206796" y="101138"/>
                      <a:pt x="209057" y="100316"/>
                    </a:cubicBezTo>
                    <a:lnTo>
                      <a:pt x="234369" y="91219"/>
                    </a:lnTo>
                    <a:lnTo>
                      <a:pt x="228099" y="73821"/>
                    </a:lnTo>
                    <a:lnTo>
                      <a:pt x="202787" y="82867"/>
                    </a:lnTo>
                    <a:cubicBezTo>
                      <a:pt x="200525" y="83689"/>
                      <a:pt x="198007" y="82738"/>
                      <a:pt x="196876" y="80631"/>
                    </a:cubicBezTo>
                    <a:cubicBezTo>
                      <a:pt x="190195" y="68476"/>
                      <a:pt x="180584" y="58095"/>
                      <a:pt x="169072" y="50617"/>
                    </a:cubicBezTo>
                    <a:cubicBezTo>
                      <a:pt x="167042" y="49306"/>
                      <a:pt x="166296" y="46736"/>
                      <a:pt x="167273" y="44526"/>
                    </a:cubicBezTo>
                    <a:lnTo>
                      <a:pt x="178220" y="19985"/>
                    </a:lnTo>
                    <a:lnTo>
                      <a:pt x="161337" y="12456"/>
                    </a:lnTo>
                    <a:lnTo>
                      <a:pt x="150364" y="36971"/>
                    </a:lnTo>
                    <a:cubicBezTo>
                      <a:pt x="149387" y="39156"/>
                      <a:pt x="146998" y="40312"/>
                      <a:pt x="144659" y="39695"/>
                    </a:cubicBezTo>
                    <a:cubicBezTo>
                      <a:pt x="131245" y="36123"/>
                      <a:pt x="117086" y="35892"/>
                      <a:pt x="103723" y="39027"/>
                    </a:cubicBezTo>
                    <a:cubicBezTo>
                      <a:pt x="101385" y="39567"/>
                      <a:pt x="98995" y="38333"/>
                      <a:pt x="98095" y="36098"/>
                    </a:cubicBezTo>
                    <a:lnTo>
                      <a:pt x="87971" y="11197"/>
                    </a:lnTo>
                    <a:lnTo>
                      <a:pt x="70805" y="18135"/>
                    </a:lnTo>
                    <a:lnTo>
                      <a:pt x="80955" y="43062"/>
                    </a:lnTo>
                    <a:cubicBezTo>
                      <a:pt x="81855" y="45297"/>
                      <a:pt x="81007" y="47841"/>
                      <a:pt x="78951" y="49075"/>
                    </a:cubicBezTo>
                    <a:cubicBezTo>
                      <a:pt x="67952" y="55730"/>
                      <a:pt x="58855" y="64493"/>
                      <a:pt x="51917" y="75158"/>
                    </a:cubicBezTo>
                    <a:cubicBezTo>
                      <a:pt x="50606" y="77162"/>
                      <a:pt x="48037" y="77933"/>
                      <a:pt x="45827" y="76957"/>
                    </a:cubicBezTo>
                    <a:lnTo>
                      <a:pt x="21311" y="66009"/>
                    </a:lnTo>
                    <a:lnTo>
                      <a:pt x="13756" y="82918"/>
                    </a:lnTo>
                    <a:lnTo>
                      <a:pt x="38272" y="93891"/>
                    </a:lnTo>
                    <a:cubicBezTo>
                      <a:pt x="40456" y="94868"/>
                      <a:pt x="41612" y="97309"/>
                      <a:pt x="40996" y="99622"/>
                    </a:cubicBezTo>
                    <a:cubicBezTo>
                      <a:pt x="37706" y="111802"/>
                      <a:pt x="37244" y="124779"/>
                      <a:pt x="39608" y="137114"/>
                    </a:cubicBezTo>
                    <a:cubicBezTo>
                      <a:pt x="40071" y="139478"/>
                      <a:pt x="38734" y="141817"/>
                      <a:pt x="36473" y="142639"/>
                    </a:cubicBezTo>
                    <a:lnTo>
                      <a:pt x="11161" y="151710"/>
                    </a:lnTo>
                    <a:lnTo>
                      <a:pt x="17431" y="169159"/>
                    </a:lnTo>
                    <a:lnTo>
                      <a:pt x="42743" y="160113"/>
                    </a:lnTo>
                    <a:cubicBezTo>
                      <a:pt x="45004" y="159317"/>
                      <a:pt x="47497" y="160242"/>
                      <a:pt x="48653" y="162349"/>
                    </a:cubicBezTo>
                    <a:cubicBezTo>
                      <a:pt x="55335" y="174478"/>
                      <a:pt x="64971" y="184860"/>
                      <a:pt x="76484" y="192389"/>
                    </a:cubicBezTo>
                    <a:cubicBezTo>
                      <a:pt x="78488" y="193700"/>
                      <a:pt x="79259" y="196270"/>
                      <a:pt x="78283" y="198454"/>
                    </a:cubicBezTo>
                    <a:lnTo>
                      <a:pt x="67361" y="222969"/>
                    </a:lnTo>
                    <a:lnTo>
                      <a:pt x="84244" y="230473"/>
                    </a:lnTo>
                    <a:lnTo>
                      <a:pt x="95192" y="205983"/>
                    </a:lnTo>
                    <a:cubicBezTo>
                      <a:pt x="96168" y="203799"/>
                      <a:pt x="98609" y="202643"/>
                      <a:pt x="100896" y="203259"/>
                    </a:cubicBezTo>
                    <a:cubicBezTo>
                      <a:pt x="114310" y="206831"/>
                      <a:pt x="128470" y="207063"/>
                      <a:pt x="141858" y="203928"/>
                    </a:cubicBezTo>
                    <a:cubicBezTo>
                      <a:pt x="142218" y="203902"/>
                      <a:pt x="142578" y="203851"/>
                      <a:pt x="142937" y="203851"/>
                    </a:cubicBezTo>
                    <a:close/>
                    <a:moveTo>
                      <a:pt x="122765" y="174067"/>
                    </a:moveTo>
                    <a:cubicBezTo>
                      <a:pt x="118807" y="174067"/>
                      <a:pt x="114799" y="173605"/>
                      <a:pt x="110790" y="172680"/>
                    </a:cubicBezTo>
                    <a:lnTo>
                      <a:pt x="110790" y="172680"/>
                    </a:lnTo>
                    <a:cubicBezTo>
                      <a:pt x="82600" y="166075"/>
                      <a:pt x="65074" y="137757"/>
                      <a:pt x="71678" y="109541"/>
                    </a:cubicBezTo>
                    <a:cubicBezTo>
                      <a:pt x="74891" y="95870"/>
                      <a:pt x="83191" y="84280"/>
                      <a:pt x="95114" y="76879"/>
                    </a:cubicBezTo>
                    <a:cubicBezTo>
                      <a:pt x="107038" y="69479"/>
                      <a:pt x="121095" y="67166"/>
                      <a:pt x="134766" y="70378"/>
                    </a:cubicBezTo>
                    <a:cubicBezTo>
                      <a:pt x="148437" y="73565"/>
                      <a:pt x="160026" y="81916"/>
                      <a:pt x="167427" y="93840"/>
                    </a:cubicBezTo>
                    <a:cubicBezTo>
                      <a:pt x="174828" y="105763"/>
                      <a:pt x="177141" y="119871"/>
                      <a:pt x="173929" y="133517"/>
                    </a:cubicBezTo>
                    <a:cubicBezTo>
                      <a:pt x="168249" y="157698"/>
                      <a:pt x="146612" y="174067"/>
                      <a:pt x="122765" y="174067"/>
                    </a:cubicBezTo>
                    <a:close/>
                    <a:moveTo>
                      <a:pt x="113000" y="163171"/>
                    </a:moveTo>
                    <a:cubicBezTo>
                      <a:pt x="124127" y="165767"/>
                      <a:pt x="135588" y="163891"/>
                      <a:pt x="145302" y="157852"/>
                    </a:cubicBezTo>
                    <a:cubicBezTo>
                      <a:pt x="155015" y="151813"/>
                      <a:pt x="161799" y="142382"/>
                      <a:pt x="164420" y="131255"/>
                    </a:cubicBezTo>
                    <a:cubicBezTo>
                      <a:pt x="167016" y="120128"/>
                      <a:pt x="165140" y="108667"/>
                      <a:pt x="159127" y="98954"/>
                    </a:cubicBezTo>
                    <a:cubicBezTo>
                      <a:pt x="153088" y="89240"/>
                      <a:pt x="143657" y="82456"/>
                      <a:pt x="132530" y="79860"/>
                    </a:cubicBezTo>
                    <a:cubicBezTo>
                      <a:pt x="121403" y="77265"/>
                      <a:pt x="109942" y="79141"/>
                      <a:pt x="100254" y="85154"/>
                    </a:cubicBezTo>
                    <a:cubicBezTo>
                      <a:pt x="90566" y="91167"/>
                      <a:pt x="83782" y="100624"/>
                      <a:pt x="81186" y="111751"/>
                    </a:cubicBezTo>
                    <a:cubicBezTo>
                      <a:pt x="75790" y="134724"/>
                      <a:pt x="90078" y="157801"/>
                      <a:pt x="113000" y="163171"/>
                    </a:cubicBezTo>
                    <a:lnTo>
                      <a:pt x="113000" y="163171"/>
                    </a:lnTo>
                    <a:close/>
                  </a:path>
                </a:pathLst>
              </a:custGeom>
              <a:grpFill/>
              <a:ln w="2565" cap="flat">
                <a:noFill/>
                <a:prstDash val="solid"/>
                <a:miter/>
              </a:ln>
            </p:spPr>
            <p:txBody>
              <a:bodyPr rtlCol="0" anchor="ctr"/>
              <a:lstStyle/>
              <a:p>
                <a:endParaRPr lang="en-GB" dirty="0"/>
              </a:p>
            </p:txBody>
          </p:sp>
          <p:sp>
            <p:nvSpPr>
              <p:cNvPr id="626" name="Freihandform: Form 911">
                <a:extLst>
                  <a:ext uri="{FF2B5EF4-FFF2-40B4-BE49-F238E27FC236}">
                    <a16:creationId xmlns:a16="http://schemas.microsoft.com/office/drawing/2014/main" id="{DEDC5F7C-7F27-4DFC-B4AF-1AB75DB34488}"/>
                  </a:ext>
                </a:extLst>
              </p:cNvPr>
              <p:cNvSpPr/>
              <p:nvPr/>
            </p:nvSpPr>
            <p:spPr>
              <a:xfrm>
                <a:off x="5559478" y="2113981"/>
                <a:ext cx="263655" cy="9764"/>
              </a:xfrm>
              <a:custGeom>
                <a:avLst/>
                <a:gdLst>
                  <a:gd name="connsiteX0" fmla="*/ 258773 w 263655"/>
                  <a:gd name="connsiteY0" fmla="*/ 9765 h 9764"/>
                  <a:gd name="connsiteX1" fmla="*/ 4883 w 263655"/>
                  <a:gd name="connsiteY1" fmla="*/ 9765 h 9764"/>
                  <a:gd name="connsiteX2" fmla="*/ 0 w 263655"/>
                  <a:gd name="connsiteY2" fmla="*/ 4882 h 9764"/>
                  <a:gd name="connsiteX3" fmla="*/ 4883 w 263655"/>
                  <a:gd name="connsiteY3" fmla="*/ 0 h 9764"/>
                  <a:gd name="connsiteX4" fmla="*/ 258773 w 263655"/>
                  <a:gd name="connsiteY4" fmla="*/ 0 h 9764"/>
                  <a:gd name="connsiteX5" fmla="*/ 263656 w 263655"/>
                  <a:gd name="connsiteY5" fmla="*/ 4882 h 9764"/>
                  <a:gd name="connsiteX6" fmla="*/ 258773 w 263655"/>
                  <a:gd name="connsiteY6" fmla="*/ 9765 h 9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655" h="9764">
                    <a:moveTo>
                      <a:pt x="258773" y="9765"/>
                    </a:moveTo>
                    <a:lnTo>
                      <a:pt x="4883" y="9765"/>
                    </a:lnTo>
                    <a:cubicBezTo>
                      <a:pt x="2184" y="9765"/>
                      <a:pt x="0" y="7581"/>
                      <a:pt x="0" y="4882"/>
                    </a:cubicBezTo>
                    <a:cubicBezTo>
                      <a:pt x="0" y="2184"/>
                      <a:pt x="2184" y="0"/>
                      <a:pt x="4883" y="0"/>
                    </a:cubicBezTo>
                    <a:lnTo>
                      <a:pt x="258773" y="0"/>
                    </a:lnTo>
                    <a:cubicBezTo>
                      <a:pt x="261471" y="0"/>
                      <a:pt x="263656" y="2184"/>
                      <a:pt x="263656" y="4882"/>
                    </a:cubicBezTo>
                    <a:cubicBezTo>
                      <a:pt x="263656" y="7581"/>
                      <a:pt x="261471" y="9765"/>
                      <a:pt x="258773" y="9765"/>
                    </a:cubicBezTo>
                    <a:close/>
                  </a:path>
                </a:pathLst>
              </a:custGeom>
              <a:grpFill/>
              <a:ln w="2565" cap="flat">
                <a:noFill/>
                <a:prstDash val="solid"/>
                <a:miter/>
              </a:ln>
            </p:spPr>
            <p:txBody>
              <a:bodyPr rtlCol="0" anchor="ctr"/>
              <a:lstStyle/>
              <a:p>
                <a:endParaRPr lang="en-GB" dirty="0"/>
              </a:p>
            </p:txBody>
          </p:sp>
          <p:sp>
            <p:nvSpPr>
              <p:cNvPr id="627" name="Freihandform: Form 912">
                <a:extLst>
                  <a:ext uri="{FF2B5EF4-FFF2-40B4-BE49-F238E27FC236}">
                    <a16:creationId xmlns:a16="http://schemas.microsoft.com/office/drawing/2014/main" id="{2DF7029A-1CFE-4CCC-9A74-DDB644D6CF91}"/>
                  </a:ext>
                </a:extLst>
              </p:cNvPr>
              <p:cNvSpPr/>
              <p:nvPr/>
            </p:nvSpPr>
            <p:spPr>
              <a:xfrm>
                <a:off x="5318616" y="2113981"/>
                <a:ext cx="185535" cy="9764"/>
              </a:xfrm>
              <a:custGeom>
                <a:avLst/>
                <a:gdLst>
                  <a:gd name="connsiteX0" fmla="*/ 180653 w 185535"/>
                  <a:gd name="connsiteY0" fmla="*/ 9765 h 9764"/>
                  <a:gd name="connsiteX1" fmla="*/ 4883 w 185535"/>
                  <a:gd name="connsiteY1" fmla="*/ 9765 h 9764"/>
                  <a:gd name="connsiteX2" fmla="*/ 0 w 185535"/>
                  <a:gd name="connsiteY2" fmla="*/ 4882 h 9764"/>
                  <a:gd name="connsiteX3" fmla="*/ 4883 w 185535"/>
                  <a:gd name="connsiteY3" fmla="*/ 0 h 9764"/>
                  <a:gd name="connsiteX4" fmla="*/ 180653 w 185535"/>
                  <a:gd name="connsiteY4" fmla="*/ 0 h 9764"/>
                  <a:gd name="connsiteX5" fmla="*/ 185536 w 185535"/>
                  <a:gd name="connsiteY5" fmla="*/ 4882 h 9764"/>
                  <a:gd name="connsiteX6" fmla="*/ 180653 w 185535"/>
                  <a:gd name="connsiteY6" fmla="*/ 9765 h 9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5535" h="9764">
                    <a:moveTo>
                      <a:pt x="180653" y="9765"/>
                    </a:moveTo>
                    <a:lnTo>
                      <a:pt x="4883" y="9765"/>
                    </a:lnTo>
                    <a:cubicBezTo>
                      <a:pt x="2184" y="9765"/>
                      <a:pt x="0" y="7581"/>
                      <a:pt x="0" y="4882"/>
                    </a:cubicBezTo>
                    <a:cubicBezTo>
                      <a:pt x="0" y="2184"/>
                      <a:pt x="2184" y="0"/>
                      <a:pt x="4883" y="0"/>
                    </a:cubicBezTo>
                    <a:lnTo>
                      <a:pt x="180653" y="0"/>
                    </a:lnTo>
                    <a:cubicBezTo>
                      <a:pt x="183351" y="0"/>
                      <a:pt x="185536" y="2184"/>
                      <a:pt x="185536" y="4882"/>
                    </a:cubicBezTo>
                    <a:cubicBezTo>
                      <a:pt x="185536" y="7581"/>
                      <a:pt x="183351" y="9765"/>
                      <a:pt x="180653" y="9765"/>
                    </a:cubicBezTo>
                    <a:close/>
                  </a:path>
                </a:pathLst>
              </a:custGeom>
              <a:grpFill/>
              <a:ln w="2565" cap="flat">
                <a:noFill/>
                <a:prstDash val="solid"/>
                <a:miter/>
              </a:ln>
            </p:spPr>
            <p:txBody>
              <a:bodyPr rtlCol="0" anchor="ctr"/>
              <a:lstStyle/>
              <a:p>
                <a:endParaRPr lang="en-GB" dirty="0"/>
              </a:p>
            </p:txBody>
          </p:sp>
          <p:sp>
            <p:nvSpPr>
              <p:cNvPr id="628" name="Freihandform: Form 914">
                <a:extLst>
                  <a:ext uri="{FF2B5EF4-FFF2-40B4-BE49-F238E27FC236}">
                    <a16:creationId xmlns:a16="http://schemas.microsoft.com/office/drawing/2014/main" id="{D3237244-0863-47A8-A6D9-3FEEC9BE557D}"/>
                  </a:ext>
                </a:extLst>
              </p:cNvPr>
              <p:cNvSpPr/>
              <p:nvPr/>
            </p:nvSpPr>
            <p:spPr>
              <a:xfrm>
                <a:off x="5572506" y="1840560"/>
                <a:ext cx="152976" cy="9765"/>
              </a:xfrm>
              <a:custGeom>
                <a:avLst/>
                <a:gdLst>
                  <a:gd name="connsiteX0" fmla="*/ 148094 w 152976"/>
                  <a:gd name="connsiteY0" fmla="*/ 9765 h 9765"/>
                  <a:gd name="connsiteX1" fmla="*/ 4882 w 152976"/>
                  <a:gd name="connsiteY1" fmla="*/ 9765 h 9765"/>
                  <a:gd name="connsiteX2" fmla="*/ 0 w 152976"/>
                  <a:gd name="connsiteY2" fmla="*/ 4883 h 9765"/>
                  <a:gd name="connsiteX3" fmla="*/ 4882 w 152976"/>
                  <a:gd name="connsiteY3" fmla="*/ 0 h 9765"/>
                  <a:gd name="connsiteX4" fmla="*/ 148094 w 152976"/>
                  <a:gd name="connsiteY4" fmla="*/ 0 h 9765"/>
                  <a:gd name="connsiteX5" fmla="*/ 152977 w 152976"/>
                  <a:gd name="connsiteY5" fmla="*/ 4883 h 9765"/>
                  <a:gd name="connsiteX6" fmla="*/ 148094 w 152976"/>
                  <a:gd name="connsiteY6" fmla="*/ 9765 h 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976" h="9765">
                    <a:moveTo>
                      <a:pt x="148094" y="9765"/>
                    </a:moveTo>
                    <a:lnTo>
                      <a:pt x="4882" y="9765"/>
                    </a:lnTo>
                    <a:cubicBezTo>
                      <a:pt x="2184" y="9765"/>
                      <a:pt x="0" y="7581"/>
                      <a:pt x="0" y="4883"/>
                    </a:cubicBezTo>
                    <a:cubicBezTo>
                      <a:pt x="0" y="2184"/>
                      <a:pt x="2184" y="0"/>
                      <a:pt x="4882" y="0"/>
                    </a:cubicBezTo>
                    <a:lnTo>
                      <a:pt x="148094" y="0"/>
                    </a:lnTo>
                    <a:cubicBezTo>
                      <a:pt x="150793" y="0"/>
                      <a:pt x="152977" y="2184"/>
                      <a:pt x="152977" y="4883"/>
                    </a:cubicBezTo>
                    <a:cubicBezTo>
                      <a:pt x="152977" y="7555"/>
                      <a:pt x="150793" y="9765"/>
                      <a:pt x="148094" y="9765"/>
                    </a:cubicBezTo>
                    <a:close/>
                  </a:path>
                </a:pathLst>
              </a:custGeom>
              <a:grpFill/>
              <a:ln w="2565" cap="flat">
                <a:noFill/>
                <a:prstDash val="solid"/>
                <a:miter/>
              </a:ln>
            </p:spPr>
            <p:txBody>
              <a:bodyPr rtlCol="0" anchor="ctr"/>
              <a:lstStyle/>
              <a:p>
                <a:endParaRPr lang="en-GB" dirty="0"/>
              </a:p>
            </p:txBody>
          </p:sp>
          <p:sp>
            <p:nvSpPr>
              <p:cNvPr id="629" name="Freihandform: Form 915">
                <a:extLst>
                  <a:ext uri="{FF2B5EF4-FFF2-40B4-BE49-F238E27FC236}">
                    <a16:creationId xmlns:a16="http://schemas.microsoft.com/office/drawing/2014/main" id="{02DB22F9-847B-4B23-BC9B-0ED85C295C2E}"/>
                  </a:ext>
                </a:extLst>
              </p:cNvPr>
              <p:cNvSpPr/>
              <p:nvPr/>
            </p:nvSpPr>
            <p:spPr>
              <a:xfrm>
                <a:off x="5676658" y="1977270"/>
                <a:ext cx="146475" cy="9765"/>
              </a:xfrm>
              <a:custGeom>
                <a:avLst/>
                <a:gdLst>
                  <a:gd name="connsiteX0" fmla="*/ 141593 w 146475"/>
                  <a:gd name="connsiteY0" fmla="*/ 9765 h 9765"/>
                  <a:gd name="connsiteX1" fmla="*/ 4882 w 146475"/>
                  <a:gd name="connsiteY1" fmla="*/ 9765 h 9765"/>
                  <a:gd name="connsiteX2" fmla="*/ 0 w 146475"/>
                  <a:gd name="connsiteY2" fmla="*/ 4883 h 9765"/>
                  <a:gd name="connsiteX3" fmla="*/ 4882 w 146475"/>
                  <a:gd name="connsiteY3" fmla="*/ 0 h 9765"/>
                  <a:gd name="connsiteX4" fmla="*/ 141593 w 146475"/>
                  <a:gd name="connsiteY4" fmla="*/ 0 h 9765"/>
                  <a:gd name="connsiteX5" fmla="*/ 146475 w 146475"/>
                  <a:gd name="connsiteY5" fmla="*/ 4883 h 9765"/>
                  <a:gd name="connsiteX6" fmla="*/ 141593 w 146475"/>
                  <a:gd name="connsiteY6" fmla="*/ 9765 h 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475" h="9765">
                    <a:moveTo>
                      <a:pt x="141593" y="9765"/>
                    </a:moveTo>
                    <a:lnTo>
                      <a:pt x="4882" y="9765"/>
                    </a:lnTo>
                    <a:cubicBezTo>
                      <a:pt x="2184" y="9765"/>
                      <a:pt x="0" y="7581"/>
                      <a:pt x="0" y="4883"/>
                    </a:cubicBezTo>
                    <a:cubicBezTo>
                      <a:pt x="0" y="2184"/>
                      <a:pt x="2184" y="0"/>
                      <a:pt x="4882" y="0"/>
                    </a:cubicBezTo>
                    <a:lnTo>
                      <a:pt x="141593" y="0"/>
                    </a:lnTo>
                    <a:cubicBezTo>
                      <a:pt x="144291" y="0"/>
                      <a:pt x="146475" y="2184"/>
                      <a:pt x="146475" y="4883"/>
                    </a:cubicBezTo>
                    <a:cubicBezTo>
                      <a:pt x="146475" y="7555"/>
                      <a:pt x="144291" y="9765"/>
                      <a:pt x="141593" y="9765"/>
                    </a:cubicBezTo>
                    <a:close/>
                  </a:path>
                </a:pathLst>
              </a:custGeom>
              <a:grpFill/>
              <a:ln w="2565" cap="flat">
                <a:noFill/>
                <a:prstDash val="solid"/>
                <a:miter/>
              </a:ln>
            </p:spPr>
            <p:txBody>
              <a:bodyPr rtlCol="0" anchor="ctr"/>
              <a:lstStyle/>
              <a:p>
                <a:endParaRPr lang="en-GB" dirty="0"/>
              </a:p>
            </p:txBody>
          </p:sp>
          <p:sp>
            <p:nvSpPr>
              <p:cNvPr id="630" name="Freihandform: Form 916">
                <a:extLst>
                  <a:ext uri="{FF2B5EF4-FFF2-40B4-BE49-F238E27FC236}">
                    <a16:creationId xmlns:a16="http://schemas.microsoft.com/office/drawing/2014/main" id="{F7D89ED8-5F9D-473A-87F7-291B4DBEC4A4}"/>
                  </a:ext>
                </a:extLst>
              </p:cNvPr>
              <p:cNvSpPr/>
              <p:nvPr/>
            </p:nvSpPr>
            <p:spPr>
              <a:xfrm>
                <a:off x="5572506" y="1977270"/>
                <a:ext cx="48825" cy="9765"/>
              </a:xfrm>
              <a:custGeom>
                <a:avLst/>
                <a:gdLst>
                  <a:gd name="connsiteX0" fmla="*/ 43943 w 48825"/>
                  <a:gd name="connsiteY0" fmla="*/ 9765 h 9765"/>
                  <a:gd name="connsiteX1" fmla="*/ 4882 w 48825"/>
                  <a:gd name="connsiteY1" fmla="*/ 9765 h 9765"/>
                  <a:gd name="connsiteX2" fmla="*/ 0 w 48825"/>
                  <a:gd name="connsiteY2" fmla="*/ 4883 h 9765"/>
                  <a:gd name="connsiteX3" fmla="*/ 4882 w 48825"/>
                  <a:gd name="connsiteY3" fmla="*/ 0 h 9765"/>
                  <a:gd name="connsiteX4" fmla="*/ 43943 w 48825"/>
                  <a:gd name="connsiteY4" fmla="*/ 0 h 9765"/>
                  <a:gd name="connsiteX5" fmla="*/ 48825 w 48825"/>
                  <a:gd name="connsiteY5" fmla="*/ 4883 h 9765"/>
                  <a:gd name="connsiteX6" fmla="*/ 43943 w 48825"/>
                  <a:gd name="connsiteY6" fmla="*/ 9765 h 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825" h="9765">
                    <a:moveTo>
                      <a:pt x="43943" y="9765"/>
                    </a:moveTo>
                    <a:lnTo>
                      <a:pt x="4882" y="9765"/>
                    </a:lnTo>
                    <a:cubicBezTo>
                      <a:pt x="2184" y="9765"/>
                      <a:pt x="0" y="7581"/>
                      <a:pt x="0" y="4883"/>
                    </a:cubicBezTo>
                    <a:cubicBezTo>
                      <a:pt x="0" y="2184"/>
                      <a:pt x="2184" y="0"/>
                      <a:pt x="4882" y="0"/>
                    </a:cubicBezTo>
                    <a:lnTo>
                      <a:pt x="43943" y="0"/>
                    </a:lnTo>
                    <a:cubicBezTo>
                      <a:pt x="46641" y="0"/>
                      <a:pt x="48825" y="2184"/>
                      <a:pt x="48825" y="4883"/>
                    </a:cubicBezTo>
                    <a:cubicBezTo>
                      <a:pt x="48825" y="7555"/>
                      <a:pt x="46641" y="9765"/>
                      <a:pt x="43943" y="9765"/>
                    </a:cubicBezTo>
                    <a:close/>
                  </a:path>
                </a:pathLst>
              </a:custGeom>
              <a:grpFill/>
              <a:ln w="2565" cap="flat">
                <a:noFill/>
                <a:prstDash val="solid"/>
                <a:miter/>
              </a:ln>
            </p:spPr>
            <p:txBody>
              <a:bodyPr rtlCol="0" anchor="ctr"/>
              <a:lstStyle/>
              <a:p>
                <a:endParaRPr lang="en-GB" dirty="0"/>
              </a:p>
            </p:txBody>
          </p:sp>
          <p:sp>
            <p:nvSpPr>
              <p:cNvPr id="631" name="Freihandform: Form 913">
                <a:extLst>
                  <a:ext uri="{FF2B5EF4-FFF2-40B4-BE49-F238E27FC236}">
                    <a16:creationId xmlns:a16="http://schemas.microsoft.com/office/drawing/2014/main" id="{CF5D2E01-2392-46FE-94E9-8F8A2406188A}"/>
                  </a:ext>
                </a:extLst>
              </p:cNvPr>
              <p:cNvSpPr/>
              <p:nvPr/>
            </p:nvSpPr>
            <p:spPr>
              <a:xfrm>
                <a:off x="5780810" y="1840560"/>
                <a:ext cx="42323" cy="9765"/>
              </a:xfrm>
              <a:custGeom>
                <a:avLst/>
                <a:gdLst>
                  <a:gd name="connsiteX0" fmla="*/ 37441 w 42323"/>
                  <a:gd name="connsiteY0" fmla="*/ 9765 h 9765"/>
                  <a:gd name="connsiteX1" fmla="*/ 4882 w 42323"/>
                  <a:gd name="connsiteY1" fmla="*/ 9765 h 9765"/>
                  <a:gd name="connsiteX2" fmla="*/ 0 w 42323"/>
                  <a:gd name="connsiteY2" fmla="*/ 4883 h 9765"/>
                  <a:gd name="connsiteX3" fmla="*/ 4882 w 42323"/>
                  <a:gd name="connsiteY3" fmla="*/ 0 h 9765"/>
                  <a:gd name="connsiteX4" fmla="*/ 37441 w 42323"/>
                  <a:gd name="connsiteY4" fmla="*/ 0 h 9765"/>
                  <a:gd name="connsiteX5" fmla="*/ 42324 w 42323"/>
                  <a:gd name="connsiteY5" fmla="*/ 4883 h 9765"/>
                  <a:gd name="connsiteX6" fmla="*/ 37441 w 42323"/>
                  <a:gd name="connsiteY6" fmla="*/ 9765 h 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23" h="9765">
                    <a:moveTo>
                      <a:pt x="37441" y="9765"/>
                    </a:moveTo>
                    <a:lnTo>
                      <a:pt x="4882" y="9765"/>
                    </a:lnTo>
                    <a:cubicBezTo>
                      <a:pt x="2184" y="9765"/>
                      <a:pt x="0" y="7581"/>
                      <a:pt x="0" y="4883"/>
                    </a:cubicBezTo>
                    <a:cubicBezTo>
                      <a:pt x="0" y="2184"/>
                      <a:pt x="2184" y="0"/>
                      <a:pt x="4882" y="0"/>
                    </a:cubicBezTo>
                    <a:lnTo>
                      <a:pt x="37441" y="0"/>
                    </a:lnTo>
                    <a:cubicBezTo>
                      <a:pt x="40139" y="0"/>
                      <a:pt x="42324" y="2184"/>
                      <a:pt x="42324" y="4883"/>
                    </a:cubicBezTo>
                    <a:cubicBezTo>
                      <a:pt x="42324" y="7555"/>
                      <a:pt x="40139" y="9765"/>
                      <a:pt x="37441" y="9765"/>
                    </a:cubicBezTo>
                    <a:close/>
                  </a:path>
                </a:pathLst>
              </a:custGeom>
              <a:grpFill/>
              <a:ln w="2565" cap="flat">
                <a:noFill/>
                <a:prstDash val="solid"/>
                <a:miter/>
              </a:ln>
            </p:spPr>
            <p:txBody>
              <a:bodyPr rtlCol="0" anchor="ctr"/>
              <a:lstStyle/>
              <a:p>
                <a:endParaRPr lang="en-GB" dirty="0"/>
              </a:p>
            </p:txBody>
          </p:sp>
        </p:grpSp>
        <p:grpSp>
          <p:nvGrpSpPr>
            <p:cNvPr id="621" name="Group 620">
              <a:extLst>
                <a:ext uri="{FF2B5EF4-FFF2-40B4-BE49-F238E27FC236}">
                  <a16:creationId xmlns:a16="http://schemas.microsoft.com/office/drawing/2014/main" id="{FA22EBFD-83A7-424A-88E2-07ACE6E6B6C9}"/>
                </a:ext>
              </a:extLst>
            </p:cNvPr>
            <p:cNvGrpSpPr/>
            <p:nvPr/>
          </p:nvGrpSpPr>
          <p:grpSpPr>
            <a:xfrm>
              <a:off x="6179955" y="4053107"/>
              <a:ext cx="343358" cy="403740"/>
              <a:chOff x="5494386" y="1808002"/>
              <a:chExt cx="296188" cy="348276"/>
            </a:xfrm>
          </p:grpSpPr>
          <p:sp>
            <p:nvSpPr>
              <p:cNvPr id="622" name="Freihandform: Form 917">
                <a:extLst>
                  <a:ext uri="{FF2B5EF4-FFF2-40B4-BE49-F238E27FC236}">
                    <a16:creationId xmlns:a16="http://schemas.microsoft.com/office/drawing/2014/main" id="{DB1CCE71-0388-4585-A4DC-1359A57358AE}"/>
                  </a:ext>
                </a:extLst>
              </p:cNvPr>
              <p:cNvSpPr/>
              <p:nvPr/>
            </p:nvSpPr>
            <p:spPr>
              <a:xfrm>
                <a:off x="5715718" y="1808002"/>
                <a:ext cx="74856" cy="74856"/>
              </a:xfrm>
              <a:custGeom>
                <a:avLst/>
                <a:gdLst>
                  <a:gd name="connsiteX0" fmla="*/ 60800 w 74856"/>
                  <a:gd name="connsiteY0" fmla="*/ 74857 h 74856"/>
                  <a:gd name="connsiteX1" fmla="*/ 14057 w 74856"/>
                  <a:gd name="connsiteY1" fmla="*/ 74857 h 74856"/>
                  <a:gd name="connsiteX2" fmla="*/ 0 w 74856"/>
                  <a:gd name="connsiteY2" fmla="*/ 60800 h 74856"/>
                  <a:gd name="connsiteX3" fmla="*/ 0 w 74856"/>
                  <a:gd name="connsiteY3" fmla="*/ 14057 h 74856"/>
                  <a:gd name="connsiteX4" fmla="*/ 14057 w 74856"/>
                  <a:gd name="connsiteY4" fmla="*/ 0 h 74856"/>
                  <a:gd name="connsiteX5" fmla="*/ 60800 w 74856"/>
                  <a:gd name="connsiteY5" fmla="*/ 0 h 74856"/>
                  <a:gd name="connsiteX6" fmla="*/ 74857 w 74856"/>
                  <a:gd name="connsiteY6" fmla="*/ 14057 h 74856"/>
                  <a:gd name="connsiteX7" fmla="*/ 74857 w 74856"/>
                  <a:gd name="connsiteY7" fmla="*/ 60800 h 74856"/>
                  <a:gd name="connsiteX8" fmla="*/ 60800 w 74856"/>
                  <a:gd name="connsiteY8" fmla="*/ 74857 h 74856"/>
                  <a:gd name="connsiteX9" fmla="*/ 14082 w 74856"/>
                  <a:gd name="connsiteY9" fmla="*/ 9765 h 74856"/>
                  <a:gd name="connsiteX10" fmla="*/ 9791 w 74856"/>
                  <a:gd name="connsiteY10" fmla="*/ 14057 h 74856"/>
                  <a:gd name="connsiteX11" fmla="*/ 9791 w 74856"/>
                  <a:gd name="connsiteY11" fmla="*/ 60800 h 74856"/>
                  <a:gd name="connsiteX12" fmla="*/ 14082 w 74856"/>
                  <a:gd name="connsiteY12" fmla="*/ 65092 h 74856"/>
                  <a:gd name="connsiteX13" fmla="*/ 60826 w 74856"/>
                  <a:gd name="connsiteY13" fmla="*/ 65092 h 74856"/>
                  <a:gd name="connsiteX14" fmla="*/ 65117 w 74856"/>
                  <a:gd name="connsiteY14" fmla="*/ 60800 h 74856"/>
                  <a:gd name="connsiteX15" fmla="*/ 65117 w 74856"/>
                  <a:gd name="connsiteY15" fmla="*/ 14057 h 74856"/>
                  <a:gd name="connsiteX16" fmla="*/ 60826 w 74856"/>
                  <a:gd name="connsiteY16" fmla="*/ 9765 h 74856"/>
                  <a:gd name="connsiteX17" fmla="*/ 14082 w 74856"/>
                  <a:gd name="connsiteY17" fmla="*/ 9765 h 7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856" h="74856">
                    <a:moveTo>
                      <a:pt x="60800" y="74857"/>
                    </a:moveTo>
                    <a:lnTo>
                      <a:pt x="14057" y="74857"/>
                    </a:lnTo>
                    <a:cubicBezTo>
                      <a:pt x="6296" y="74857"/>
                      <a:pt x="0" y="68535"/>
                      <a:pt x="0" y="60800"/>
                    </a:cubicBezTo>
                    <a:lnTo>
                      <a:pt x="0" y="14057"/>
                    </a:lnTo>
                    <a:cubicBezTo>
                      <a:pt x="0" y="6296"/>
                      <a:pt x="6322" y="0"/>
                      <a:pt x="14057" y="0"/>
                    </a:cubicBezTo>
                    <a:lnTo>
                      <a:pt x="60800" y="0"/>
                    </a:lnTo>
                    <a:cubicBezTo>
                      <a:pt x="68561" y="0"/>
                      <a:pt x="74857" y="6322"/>
                      <a:pt x="74857" y="14057"/>
                    </a:cubicBezTo>
                    <a:lnTo>
                      <a:pt x="74857" y="60800"/>
                    </a:lnTo>
                    <a:cubicBezTo>
                      <a:pt x="74882" y="68561"/>
                      <a:pt x="68561" y="74857"/>
                      <a:pt x="60800" y="74857"/>
                    </a:cubicBezTo>
                    <a:close/>
                    <a:moveTo>
                      <a:pt x="14082" y="9765"/>
                    </a:moveTo>
                    <a:cubicBezTo>
                      <a:pt x="11718" y="9765"/>
                      <a:pt x="9791" y="11692"/>
                      <a:pt x="9791" y="14057"/>
                    </a:cubicBezTo>
                    <a:lnTo>
                      <a:pt x="9791" y="60800"/>
                    </a:lnTo>
                    <a:cubicBezTo>
                      <a:pt x="9791" y="63164"/>
                      <a:pt x="11718" y="65092"/>
                      <a:pt x="14082" y="65092"/>
                    </a:cubicBezTo>
                    <a:lnTo>
                      <a:pt x="60826" y="65092"/>
                    </a:lnTo>
                    <a:cubicBezTo>
                      <a:pt x="63190" y="65092"/>
                      <a:pt x="65117" y="63164"/>
                      <a:pt x="65117" y="60800"/>
                    </a:cubicBezTo>
                    <a:lnTo>
                      <a:pt x="65117" y="14057"/>
                    </a:lnTo>
                    <a:cubicBezTo>
                      <a:pt x="65117" y="11692"/>
                      <a:pt x="63190" y="9765"/>
                      <a:pt x="60826" y="9765"/>
                    </a:cubicBezTo>
                    <a:lnTo>
                      <a:pt x="14082" y="9765"/>
                    </a:lnTo>
                    <a:close/>
                  </a:path>
                </a:pathLst>
              </a:custGeom>
              <a:solidFill>
                <a:schemeClr val="accent1"/>
              </a:solidFill>
              <a:ln w="2565" cap="flat">
                <a:noFill/>
                <a:prstDash val="solid"/>
                <a:miter/>
              </a:ln>
            </p:spPr>
            <p:txBody>
              <a:bodyPr rtlCol="0" anchor="ctr"/>
              <a:lstStyle/>
              <a:p>
                <a:endParaRPr lang="en-GB" dirty="0"/>
              </a:p>
            </p:txBody>
          </p:sp>
          <p:sp>
            <p:nvSpPr>
              <p:cNvPr id="623" name="Freihandform: Form 918">
                <a:extLst>
                  <a:ext uri="{FF2B5EF4-FFF2-40B4-BE49-F238E27FC236}">
                    <a16:creationId xmlns:a16="http://schemas.microsoft.com/office/drawing/2014/main" id="{473B7B70-37BA-4CC4-8DAA-A936CD9484AC}"/>
                  </a:ext>
                </a:extLst>
              </p:cNvPr>
              <p:cNvSpPr/>
              <p:nvPr/>
            </p:nvSpPr>
            <p:spPr>
              <a:xfrm>
                <a:off x="5611566" y="1944712"/>
                <a:ext cx="74856" cy="74856"/>
              </a:xfrm>
              <a:custGeom>
                <a:avLst/>
                <a:gdLst>
                  <a:gd name="connsiteX0" fmla="*/ 60800 w 74856"/>
                  <a:gd name="connsiteY0" fmla="*/ 74857 h 74856"/>
                  <a:gd name="connsiteX1" fmla="*/ 14057 w 74856"/>
                  <a:gd name="connsiteY1" fmla="*/ 74857 h 74856"/>
                  <a:gd name="connsiteX2" fmla="*/ 0 w 74856"/>
                  <a:gd name="connsiteY2" fmla="*/ 60800 h 74856"/>
                  <a:gd name="connsiteX3" fmla="*/ 0 w 74856"/>
                  <a:gd name="connsiteY3" fmla="*/ 14056 h 74856"/>
                  <a:gd name="connsiteX4" fmla="*/ 14057 w 74856"/>
                  <a:gd name="connsiteY4" fmla="*/ 0 h 74856"/>
                  <a:gd name="connsiteX5" fmla="*/ 60800 w 74856"/>
                  <a:gd name="connsiteY5" fmla="*/ 0 h 74856"/>
                  <a:gd name="connsiteX6" fmla="*/ 74857 w 74856"/>
                  <a:gd name="connsiteY6" fmla="*/ 14056 h 74856"/>
                  <a:gd name="connsiteX7" fmla="*/ 74857 w 74856"/>
                  <a:gd name="connsiteY7" fmla="*/ 60800 h 74856"/>
                  <a:gd name="connsiteX8" fmla="*/ 60800 w 74856"/>
                  <a:gd name="connsiteY8" fmla="*/ 74857 h 74856"/>
                  <a:gd name="connsiteX9" fmla="*/ 14057 w 74856"/>
                  <a:gd name="connsiteY9" fmla="*/ 9765 h 74856"/>
                  <a:gd name="connsiteX10" fmla="*/ 9765 w 74856"/>
                  <a:gd name="connsiteY10" fmla="*/ 14056 h 74856"/>
                  <a:gd name="connsiteX11" fmla="*/ 9765 w 74856"/>
                  <a:gd name="connsiteY11" fmla="*/ 60800 h 74856"/>
                  <a:gd name="connsiteX12" fmla="*/ 14057 w 74856"/>
                  <a:gd name="connsiteY12" fmla="*/ 65092 h 74856"/>
                  <a:gd name="connsiteX13" fmla="*/ 60800 w 74856"/>
                  <a:gd name="connsiteY13" fmla="*/ 65092 h 74856"/>
                  <a:gd name="connsiteX14" fmla="*/ 65092 w 74856"/>
                  <a:gd name="connsiteY14" fmla="*/ 60800 h 74856"/>
                  <a:gd name="connsiteX15" fmla="*/ 65092 w 74856"/>
                  <a:gd name="connsiteY15" fmla="*/ 14056 h 74856"/>
                  <a:gd name="connsiteX16" fmla="*/ 60800 w 74856"/>
                  <a:gd name="connsiteY16" fmla="*/ 9765 h 74856"/>
                  <a:gd name="connsiteX17" fmla="*/ 14057 w 74856"/>
                  <a:gd name="connsiteY17" fmla="*/ 9765 h 7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856" h="74856">
                    <a:moveTo>
                      <a:pt x="60800" y="74857"/>
                    </a:moveTo>
                    <a:lnTo>
                      <a:pt x="14057" y="74857"/>
                    </a:lnTo>
                    <a:cubicBezTo>
                      <a:pt x="6296" y="74857"/>
                      <a:pt x="0" y="68535"/>
                      <a:pt x="0" y="60800"/>
                    </a:cubicBezTo>
                    <a:lnTo>
                      <a:pt x="0" y="14056"/>
                    </a:lnTo>
                    <a:cubicBezTo>
                      <a:pt x="0" y="6296"/>
                      <a:pt x="6322" y="0"/>
                      <a:pt x="14057" y="0"/>
                    </a:cubicBezTo>
                    <a:lnTo>
                      <a:pt x="60800" y="0"/>
                    </a:lnTo>
                    <a:cubicBezTo>
                      <a:pt x="68561" y="0"/>
                      <a:pt x="74857" y="6322"/>
                      <a:pt x="74857" y="14056"/>
                    </a:cubicBezTo>
                    <a:lnTo>
                      <a:pt x="74857" y="60800"/>
                    </a:lnTo>
                    <a:cubicBezTo>
                      <a:pt x="74857" y="68561"/>
                      <a:pt x="68561" y="74857"/>
                      <a:pt x="60800" y="74857"/>
                    </a:cubicBezTo>
                    <a:close/>
                    <a:moveTo>
                      <a:pt x="14057" y="9765"/>
                    </a:moveTo>
                    <a:cubicBezTo>
                      <a:pt x="11692" y="9765"/>
                      <a:pt x="9765" y="11692"/>
                      <a:pt x="9765" y="14056"/>
                    </a:cubicBezTo>
                    <a:lnTo>
                      <a:pt x="9765" y="60800"/>
                    </a:lnTo>
                    <a:cubicBezTo>
                      <a:pt x="9765" y="63164"/>
                      <a:pt x="11692" y="65092"/>
                      <a:pt x="14057" y="65092"/>
                    </a:cubicBezTo>
                    <a:lnTo>
                      <a:pt x="60800" y="65092"/>
                    </a:lnTo>
                    <a:cubicBezTo>
                      <a:pt x="63164" y="65092"/>
                      <a:pt x="65092" y="63164"/>
                      <a:pt x="65092" y="60800"/>
                    </a:cubicBezTo>
                    <a:lnTo>
                      <a:pt x="65092" y="14056"/>
                    </a:lnTo>
                    <a:cubicBezTo>
                      <a:pt x="65092" y="11692"/>
                      <a:pt x="63164" y="9765"/>
                      <a:pt x="60800" y="9765"/>
                    </a:cubicBezTo>
                    <a:lnTo>
                      <a:pt x="14057" y="9765"/>
                    </a:lnTo>
                    <a:close/>
                  </a:path>
                </a:pathLst>
              </a:custGeom>
              <a:solidFill>
                <a:schemeClr val="accent1"/>
              </a:solidFill>
              <a:ln w="2565" cap="flat">
                <a:noFill/>
                <a:prstDash val="solid"/>
                <a:miter/>
              </a:ln>
            </p:spPr>
            <p:txBody>
              <a:bodyPr rtlCol="0" anchor="ctr"/>
              <a:lstStyle/>
              <a:p>
                <a:endParaRPr lang="en-GB" dirty="0"/>
              </a:p>
            </p:txBody>
          </p:sp>
          <p:sp>
            <p:nvSpPr>
              <p:cNvPr id="624" name="Freihandform: Form 919">
                <a:extLst>
                  <a:ext uri="{FF2B5EF4-FFF2-40B4-BE49-F238E27FC236}">
                    <a16:creationId xmlns:a16="http://schemas.microsoft.com/office/drawing/2014/main" id="{E8D2D44E-9543-4DDB-897B-2AD99BFFF91B}"/>
                  </a:ext>
                </a:extLst>
              </p:cNvPr>
              <p:cNvSpPr/>
              <p:nvPr/>
            </p:nvSpPr>
            <p:spPr>
              <a:xfrm>
                <a:off x="5494386" y="2081422"/>
                <a:ext cx="74856" cy="74856"/>
              </a:xfrm>
              <a:custGeom>
                <a:avLst/>
                <a:gdLst>
                  <a:gd name="connsiteX0" fmla="*/ 60800 w 74856"/>
                  <a:gd name="connsiteY0" fmla="*/ 74857 h 74856"/>
                  <a:gd name="connsiteX1" fmla="*/ 14057 w 74856"/>
                  <a:gd name="connsiteY1" fmla="*/ 74857 h 74856"/>
                  <a:gd name="connsiteX2" fmla="*/ 0 w 74856"/>
                  <a:gd name="connsiteY2" fmla="*/ 60800 h 74856"/>
                  <a:gd name="connsiteX3" fmla="*/ 0 w 74856"/>
                  <a:gd name="connsiteY3" fmla="*/ 14057 h 74856"/>
                  <a:gd name="connsiteX4" fmla="*/ 14057 w 74856"/>
                  <a:gd name="connsiteY4" fmla="*/ 0 h 74856"/>
                  <a:gd name="connsiteX5" fmla="*/ 60800 w 74856"/>
                  <a:gd name="connsiteY5" fmla="*/ 0 h 74856"/>
                  <a:gd name="connsiteX6" fmla="*/ 74857 w 74856"/>
                  <a:gd name="connsiteY6" fmla="*/ 14057 h 74856"/>
                  <a:gd name="connsiteX7" fmla="*/ 74857 w 74856"/>
                  <a:gd name="connsiteY7" fmla="*/ 60800 h 74856"/>
                  <a:gd name="connsiteX8" fmla="*/ 60800 w 74856"/>
                  <a:gd name="connsiteY8" fmla="*/ 74857 h 74856"/>
                  <a:gd name="connsiteX9" fmla="*/ 14057 w 74856"/>
                  <a:gd name="connsiteY9" fmla="*/ 9765 h 74856"/>
                  <a:gd name="connsiteX10" fmla="*/ 9765 w 74856"/>
                  <a:gd name="connsiteY10" fmla="*/ 14057 h 74856"/>
                  <a:gd name="connsiteX11" fmla="*/ 9765 w 74856"/>
                  <a:gd name="connsiteY11" fmla="*/ 60800 h 74856"/>
                  <a:gd name="connsiteX12" fmla="*/ 14057 w 74856"/>
                  <a:gd name="connsiteY12" fmla="*/ 65092 h 74856"/>
                  <a:gd name="connsiteX13" fmla="*/ 60800 w 74856"/>
                  <a:gd name="connsiteY13" fmla="*/ 65092 h 74856"/>
                  <a:gd name="connsiteX14" fmla="*/ 65092 w 74856"/>
                  <a:gd name="connsiteY14" fmla="*/ 60800 h 74856"/>
                  <a:gd name="connsiteX15" fmla="*/ 65092 w 74856"/>
                  <a:gd name="connsiteY15" fmla="*/ 14057 h 74856"/>
                  <a:gd name="connsiteX16" fmla="*/ 60800 w 74856"/>
                  <a:gd name="connsiteY16" fmla="*/ 9765 h 74856"/>
                  <a:gd name="connsiteX17" fmla="*/ 14057 w 74856"/>
                  <a:gd name="connsiteY17" fmla="*/ 9765 h 7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4856" h="74856">
                    <a:moveTo>
                      <a:pt x="60800" y="74857"/>
                    </a:moveTo>
                    <a:lnTo>
                      <a:pt x="14057" y="74857"/>
                    </a:lnTo>
                    <a:cubicBezTo>
                      <a:pt x="6296" y="74857"/>
                      <a:pt x="0" y="68535"/>
                      <a:pt x="0" y="60800"/>
                    </a:cubicBezTo>
                    <a:lnTo>
                      <a:pt x="0" y="14057"/>
                    </a:lnTo>
                    <a:cubicBezTo>
                      <a:pt x="0" y="6296"/>
                      <a:pt x="6322" y="0"/>
                      <a:pt x="14057" y="0"/>
                    </a:cubicBezTo>
                    <a:lnTo>
                      <a:pt x="60800" y="0"/>
                    </a:lnTo>
                    <a:cubicBezTo>
                      <a:pt x="68561" y="0"/>
                      <a:pt x="74857" y="6322"/>
                      <a:pt x="74857" y="14057"/>
                    </a:cubicBezTo>
                    <a:lnTo>
                      <a:pt x="74857" y="60800"/>
                    </a:lnTo>
                    <a:cubicBezTo>
                      <a:pt x="74857" y="68561"/>
                      <a:pt x="68561" y="74857"/>
                      <a:pt x="60800" y="74857"/>
                    </a:cubicBezTo>
                    <a:close/>
                    <a:moveTo>
                      <a:pt x="14057" y="9765"/>
                    </a:moveTo>
                    <a:cubicBezTo>
                      <a:pt x="11692" y="9765"/>
                      <a:pt x="9765" y="11692"/>
                      <a:pt x="9765" y="14057"/>
                    </a:cubicBezTo>
                    <a:lnTo>
                      <a:pt x="9765" y="60800"/>
                    </a:lnTo>
                    <a:cubicBezTo>
                      <a:pt x="9765" y="63164"/>
                      <a:pt x="11692" y="65092"/>
                      <a:pt x="14057" y="65092"/>
                    </a:cubicBezTo>
                    <a:lnTo>
                      <a:pt x="60800" y="65092"/>
                    </a:lnTo>
                    <a:cubicBezTo>
                      <a:pt x="63164" y="65092"/>
                      <a:pt x="65092" y="63164"/>
                      <a:pt x="65092" y="60800"/>
                    </a:cubicBezTo>
                    <a:lnTo>
                      <a:pt x="65092" y="14057"/>
                    </a:lnTo>
                    <a:cubicBezTo>
                      <a:pt x="65092" y="11692"/>
                      <a:pt x="63164" y="9765"/>
                      <a:pt x="60800" y="9765"/>
                    </a:cubicBezTo>
                    <a:lnTo>
                      <a:pt x="14057" y="9765"/>
                    </a:lnTo>
                    <a:close/>
                  </a:path>
                </a:pathLst>
              </a:custGeom>
              <a:solidFill>
                <a:schemeClr val="accent1"/>
              </a:solidFill>
              <a:ln w="2565" cap="flat">
                <a:noFill/>
                <a:prstDash val="solid"/>
                <a:miter/>
              </a:ln>
            </p:spPr>
            <p:txBody>
              <a:bodyPr rtlCol="0" anchor="ctr"/>
              <a:lstStyle/>
              <a:p>
                <a:endParaRPr lang="en-GB" dirty="0"/>
              </a:p>
            </p:txBody>
          </p:sp>
        </p:grpSp>
      </p:grpSp>
      <p:grpSp>
        <p:nvGrpSpPr>
          <p:cNvPr id="618" name="Group 617">
            <a:extLst>
              <a:ext uri="{FF2B5EF4-FFF2-40B4-BE49-F238E27FC236}">
                <a16:creationId xmlns:a16="http://schemas.microsoft.com/office/drawing/2014/main" id="{54C32F02-579B-A791-1A0C-3AF4486E10CF}"/>
              </a:ext>
            </a:extLst>
          </p:cNvPr>
          <p:cNvGrpSpPr/>
          <p:nvPr/>
        </p:nvGrpSpPr>
        <p:grpSpPr>
          <a:xfrm>
            <a:off x="7086076" y="4032591"/>
            <a:ext cx="426917" cy="432000"/>
            <a:chOff x="7085664" y="4032591"/>
            <a:chExt cx="426917" cy="432000"/>
          </a:xfrm>
        </p:grpSpPr>
        <p:grpSp>
          <p:nvGrpSpPr>
            <p:cNvPr id="633" name="Group 632">
              <a:extLst>
                <a:ext uri="{FF2B5EF4-FFF2-40B4-BE49-F238E27FC236}">
                  <a16:creationId xmlns:a16="http://schemas.microsoft.com/office/drawing/2014/main" id="{63E46FAD-7944-4235-9E62-2BBA525451FC}"/>
                </a:ext>
              </a:extLst>
            </p:cNvPr>
            <p:cNvGrpSpPr/>
            <p:nvPr/>
          </p:nvGrpSpPr>
          <p:grpSpPr>
            <a:xfrm>
              <a:off x="7212146" y="4032591"/>
              <a:ext cx="177316" cy="223093"/>
              <a:chOff x="7080471" y="1626758"/>
              <a:chExt cx="215498" cy="271132"/>
            </a:xfrm>
          </p:grpSpPr>
          <p:grpSp>
            <p:nvGrpSpPr>
              <p:cNvPr id="640" name="Grafik 22">
                <a:extLst>
                  <a:ext uri="{FF2B5EF4-FFF2-40B4-BE49-F238E27FC236}">
                    <a16:creationId xmlns:a16="http://schemas.microsoft.com/office/drawing/2014/main" id="{00B2E752-5C91-4867-8AA1-363FD5A0F66D}"/>
                  </a:ext>
                </a:extLst>
              </p:cNvPr>
              <p:cNvGrpSpPr/>
              <p:nvPr/>
            </p:nvGrpSpPr>
            <p:grpSpPr>
              <a:xfrm>
                <a:off x="7113685" y="1691335"/>
                <a:ext cx="149070" cy="206555"/>
                <a:chOff x="7113685" y="1691335"/>
                <a:chExt cx="149070" cy="206555"/>
              </a:xfrm>
              <a:solidFill>
                <a:schemeClr val="accent1"/>
              </a:solidFill>
            </p:grpSpPr>
            <p:sp>
              <p:nvSpPr>
                <p:cNvPr id="645" name="Freihandform: Form 945">
                  <a:extLst>
                    <a:ext uri="{FF2B5EF4-FFF2-40B4-BE49-F238E27FC236}">
                      <a16:creationId xmlns:a16="http://schemas.microsoft.com/office/drawing/2014/main" id="{ECA844C3-06CF-4BD3-85B5-8E8B34645BC4}"/>
                    </a:ext>
                  </a:extLst>
                </p:cNvPr>
                <p:cNvSpPr/>
                <p:nvPr/>
              </p:nvSpPr>
              <p:spPr>
                <a:xfrm>
                  <a:off x="7113685" y="1691335"/>
                  <a:ext cx="149070" cy="167675"/>
                </a:xfrm>
                <a:custGeom>
                  <a:avLst/>
                  <a:gdLst>
                    <a:gd name="connsiteX0" fmla="*/ 107621 w 149070"/>
                    <a:gd name="connsiteY0" fmla="*/ 167676 h 167675"/>
                    <a:gd name="connsiteX1" fmla="*/ 41424 w 149070"/>
                    <a:gd name="connsiteY1" fmla="*/ 167676 h 167675"/>
                    <a:gd name="connsiteX2" fmla="*/ 36542 w 149070"/>
                    <a:gd name="connsiteY2" fmla="*/ 162793 h 167675"/>
                    <a:gd name="connsiteX3" fmla="*/ 36542 w 149070"/>
                    <a:gd name="connsiteY3" fmla="*/ 139486 h 167675"/>
                    <a:gd name="connsiteX4" fmla="*/ 31351 w 149070"/>
                    <a:gd name="connsiteY4" fmla="*/ 135271 h 167675"/>
                    <a:gd name="connsiteX5" fmla="*/ 0 w 149070"/>
                    <a:gd name="connsiteY5" fmla="*/ 74523 h 167675"/>
                    <a:gd name="connsiteX6" fmla="*/ 74548 w 149070"/>
                    <a:gd name="connsiteY6" fmla="*/ 0 h 167675"/>
                    <a:gd name="connsiteX7" fmla="*/ 149071 w 149070"/>
                    <a:gd name="connsiteY7" fmla="*/ 74523 h 167675"/>
                    <a:gd name="connsiteX8" fmla="*/ 117052 w 149070"/>
                    <a:gd name="connsiteY8" fmla="*/ 135760 h 167675"/>
                    <a:gd name="connsiteX9" fmla="*/ 112503 w 149070"/>
                    <a:gd name="connsiteY9" fmla="*/ 144471 h 167675"/>
                    <a:gd name="connsiteX10" fmla="*/ 112529 w 149070"/>
                    <a:gd name="connsiteY10" fmla="*/ 162819 h 167675"/>
                    <a:gd name="connsiteX11" fmla="*/ 107621 w 149070"/>
                    <a:gd name="connsiteY11" fmla="*/ 167676 h 167675"/>
                    <a:gd name="connsiteX12" fmla="*/ 46281 w 149070"/>
                    <a:gd name="connsiteY12" fmla="*/ 157911 h 167675"/>
                    <a:gd name="connsiteX13" fmla="*/ 102713 w 149070"/>
                    <a:gd name="connsiteY13" fmla="*/ 157911 h 167675"/>
                    <a:gd name="connsiteX14" fmla="*/ 102713 w 149070"/>
                    <a:gd name="connsiteY14" fmla="*/ 144856 h 167675"/>
                    <a:gd name="connsiteX15" fmla="*/ 111784 w 149070"/>
                    <a:gd name="connsiteY15" fmla="*/ 127485 h 167675"/>
                    <a:gd name="connsiteX16" fmla="*/ 139254 w 149070"/>
                    <a:gd name="connsiteY16" fmla="*/ 74523 h 167675"/>
                    <a:gd name="connsiteX17" fmla="*/ 74497 w 149070"/>
                    <a:gd name="connsiteY17" fmla="*/ 9765 h 167675"/>
                    <a:gd name="connsiteX18" fmla="*/ 9714 w 149070"/>
                    <a:gd name="connsiteY18" fmla="*/ 74523 h 167675"/>
                    <a:gd name="connsiteX19" fmla="*/ 36850 w 149070"/>
                    <a:gd name="connsiteY19" fmla="*/ 127228 h 167675"/>
                    <a:gd name="connsiteX20" fmla="*/ 45921 w 149070"/>
                    <a:gd name="connsiteY20" fmla="*/ 136145 h 167675"/>
                    <a:gd name="connsiteX21" fmla="*/ 46281 w 149070"/>
                    <a:gd name="connsiteY21" fmla="*/ 137970 h 167675"/>
                    <a:gd name="connsiteX22" fmla="*/ 46281 w 149070"/>
                    <a:gd name="connsiteY22" fmla="*/ 157911 h 16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9070" h="167675">
                      <a:moveTo>
                        <a:pt x="107621" y="167676"/>
                      </a:moveTo>
                      <a:lnTo>
                        <a:pt x="41424" y="167676"/>
                      </a:lnTo>
                      <a:cubicBezTo>
                        <a:pt x="38726" y="167676"/>
                        <a:pt x="36542" y="165491"/>
                        <a:pt x="36542" y="162793"/>
                      </a:cubicBezTo>
                      <a:lnTo>
                        <a:pt x="36542" y="139486"/>
                      </a:lnTo>
                      <a:cubicBezTo>
                        <a:pt x="35925" y="138843"/>
                        <a:pt x="34383" y="137378"/>
                        <a:pt x="31351" y="135271"/>
                      </a:cubicBezTo>
                      <a:cubicBezTo>
                        <a:pt x="11718" y="121729"/>
                        <a:pt x="0" y="99012"/>
                        <a:pt x="0" y="74523"/>
                      </a:cubicBezTo>
                      <a:cubicBezTo>
                        <a:pt x="0" y="33432"/>
                        <a:pt x="33432" y="0"/>
                        <a:pt x="74548" y="0"/>
                      </a:cubicBezTo>
                      <a:cubicBezTo>
                        <a:pt x="115638" y="0"/>
                        <a:pt x="149071" y="33432"/>
                        <a:pt x="149071" y="74523"/>
                      </a:cubicBezTo>
                      <a:cubicBezTo>
                        <a:pt x="149071" y="99783"/>
                        <a:pt x="136813" y="123245"/>
                        <a:pt x="117052" y="135760"/>
                      </a:cubicBezTo>
                      <a:cubicBezTo>
                        <a:pt x="112195" y="138818"/>
                        <a:pt x="112503" y="144420"/>
                        <a:pt x="112503" y="144471"/>
                      </a:cubicBezTo>
                      <a:lnTo>
                        <a:pt x="112529" y="162819"/>
                      </a:lnTo>
                      <a:cubicBezTo>
                        <a:pt x="112503" y="165491"/>
                        <a:pt x="110319" y="167676"/>
                        <a:pt x="107621" y="167676"/>
                      </a:cubicBezTo>
                      <a:close/>
                      <a:moveTo>
                        <a:pt x="46281" y="157911"/>
                      </a:moveTo>
                      <a:lnTo>
                        <a:pt x="102713" y="157911"/>
                      </a:lnTo>
                      <a:lnTo>
                        <a:pt x="102713" y="144856"/>
                      </a:lnTo>
                      <a:cubicBezTo>
                        <a:pt x="102687" y="144779"/>
                        <a:pt x="101916" y="133729"/>
                        <a:pt x="111784" y="127485"/>
                      </a:cubicBezTo>
                      <a:cubicBezTo>
                        <a:pt x="128718" y="116743"/>
                        <a:pt x="139254" y="96442"/>
                        <a:pt x="139254" y="74523"/>
                      </a:cubicBezTo>
                      <a:cubicBezTo>
                        <a:pt x="139254" y="38803"/>
                        <a:pt x="110191" y="9765"/>
                        <a:pt x="74497" y="9765"/>
                      </a:cubicBezTo>
                      <a:cubicBezTo>
                        <a:pt x="38777" y="9765"/>
                        <a:pt x="9714" y="38829"/>
                        <a:pt x="9714" y="74523"/>
                      </a:cubicBezTo>
                      <a:cubicBezTo>
                        <a:pt x="9714" y="95800"/>
                        <a:pt x="19864" y="115510"/>
                        <a:pt x="36850" y="127228"/>
                      </a:cubicBezTo>
                      <a:cubicBezTo>
                        <a:pt x="43454" y="131802"/>
                        <a:pt x="45382" y="134783"/>
                        <a:pt x="45921" y="136145"/>
                      </a:cubicBezTo>
                      <a:cubicBezTo>
                        <a:pt x="46153" y="136710"/>
                        <a:pt x="46281" y="137327"/>
                        <a:pt x="46281" y="137970"/>
                      </a:cubicBezTo>
                      <a:lnTo>
                        <a:pt x="46281" y="157911"/>
                      </a:lnTo>
                      <a:close/>
                    </a:path>
                  </a:pathLst>
                </a:custGeom>
                <a:solidFill>
                  <a:schemeClr val="accent1"/>
                </a:solidFill>
                <a:ln w="2565" cap="flat">
                  <a:noFill/>
                  <a:prstDash val="solid"/>
                  <a:miter/>
                </a:ln>
              </p:spPr>
              <p:txBody>
                <a:bodyPr rtlCol="0" anchor="ctr"/>
                <a:lstStyle/>
                <a:p>
                  <a:endParaRPr lang="en-GB" dirty="0"/>
                </a:p>
              </p:txBody>
            </p:sp>
            <p:sp>
              <p:nvSpPr>
                <p:cNvPr id="646" name="Freihandform: Form 946">
                  <a:extLst>
                    <a:ext uri="{FF2B5EF4-FFF2-40B4-BE49-F238E27FC236}">
                      <a16:creationId xmlns:a16="http://schemas.microsoft.com/office/drawing/2014/main" id="{55BE02F6-AE5D-42B4-82A2-A4F9E38F5E7E}"/>
                    </a:ext>
                  </a:extLst>
                </p:cNvPr>
                <p:cNvSpPr/>
                <p:nvPr/>
              </p:nvSpPr>
              <p:spPr>
                <a:xfrm>
                  <a:off x="7150124" y="1868699"/>
                  <a:ext cx="75344" cy="9765"/>
                </a:xfrm>
                <a:custGeom>
                  <a:avLst/>
                  <a:gdLst>
                    <a:gd name="connsiteX0" fmla="*/ 70462 w 75344"/>
                    <a:gd name="connsiteY0" fmla="*/ 9765 h 9765"/>
                    <a:gd name="connsiteX1" fmla="*/ 4882 w 75344"/>
                    <a:gd name="connsiteY1" fmla="*/ 9765 h 9765"/>
                    <a:gd name="connsiteX2" fmla="*/ 0 w 75344"/>
                    <a:gd name="connsiteY2" fmla="*/ 4883 h 9765"/>
                    <a:gd name="connsiteX3" fmla="*/ 4882 w 75344"/>
                    <a:gd name="connsiteY3" fmla="*/ 0 h 9765"/>
                    <a:gd name="connsiteX4" fmla="*/ 70462 w 75344"/>
                    <a:gd name="connsiteY4" fmla="*/ 0 h 9765"/>
                    <a:gd name="connsiteX5" fmla="*/ 75345 w 75344"/>
                    <a:gd name="connsiteY5" fmla="*/ 4883 h 9765"/>
                    <a:gd name="connsiteX6" fmla="*/ 70462 w 75344"/>
                    <a:gd name="connsiteY6" fmla="*/ 9765 h 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344" h="9765">
                      <a:moveTo>
                        <a:pt x="70462" y="9765"/>
                      </a:moveTo>
                      <a:lnTo>
                        <a:pt x="4882" y="9765"/>
                      </a:lnTo>
                      <a:cubicBezTo>
                        <a:pt x="2184" y="9765"/>
                        <a:pt x="0" y="7581"/>
                        <a:pt x="0" y="4883"/>
                      </a:cubicBezTo>
                      <a:cubicBezTo>
                        <a:pt x="0" y="2184"/>
                        <a:pt x="2184" y="0"/>
                        <a:pt x="4882" y="0"/>
                      </a:cubicBezTo>
                      <a:lnTo>
                        <a:pt x="70462" y="0"/>
                      </a:lnTo>
                      <a:cubicBezTo>
                        <a:pt x="73161" y="0"/>
                        <a:pt x="75345" y="2184"/>
                        <a:pt x="75345" y="4883"/>
                      </a:cubicBezTo>
                      <a:cubicBezTo>
                        <a:pt x="75345" y="7581"/>
                        <a:pt x="73161" y="9765"/>
                        <a:pt x="70462" y="9765"/>
                      </a:cubicBezTo>
                      <a:close/>
                    </a:path>
                  </a:pathLst>
                </a:custGeom>
                <a:solidFill>
                  <a:schemeClr val="accent1"/>
                </a:solidFill>
                <a:ln w="2565" cap="flat">
                  <a:noFill/>
                  <a:prstDash val="solid"/>
                  <a:miter/>
                </a:ln>
              </p:spPr>
              <p:txBody>
                <a:bodyPr rtlCol="0" anchor="ctr"/>
                <a:lstStyle/>
                <a:p>
                  <a:endParaRPr lang="en-GB" dirty="0"/>
                </a:p>
              </p:txBody>
            </p:sp>
            <p:sp>
              <p:nvSpPr>
                <p:cNvPr id="647" name="Freihandform: Form 947">
                  <a:extLst>
                    <a:ext uri="{FF2B5EF4-FFF2-40B4-BE49-F238E27FC236}">
                      <a16:creationId xmlns:a16="http://schemas.microsoft.com/office/drawing/2014/main" id="{73A49B77-9D80-4EC9-A1E6-F7C861F8354B}"/>
                    </a:ext>
                  </a:extLst>
                </p:cNvPr>
                <p:cNvSpPr/>
                <p:nvPr/>
              </p:nvSpPr>
              <p:spPr>
                <a:xfrm>
                  <a:off x="7162253" y="1888126"/>
                  <a:ext cx="51086" cy="9765"/>
                </a:xfrm>
                <a:custGeom>
                  <a:avLst/>
                  <a:gdLst>
                    <a:gd name="connsiteX0" fmla="*/ 46204 w 51086"/>
                    <a:gd name="connsiteY0" fmla="*/ 9765 h 9765"/>
                    <a:gd name="connsiteX1" fmla="*/ 4883 w 51086"/>
                    <a:gd name="connsiteY1" fmla="*/ 9765 h 9765"/>
                    <a:gd name="connsiteX2" fmla="*/ 0 w 51086"/>
                    <a:gd name="connsiteY2" fmla="*/ 4883 h 9765"/>
                    <a:gd name="connsiteX3" fmla="*/ 4883 w 51086"/>
                    <a:gd name="connsiteY3" fmla="*/ 0 h 9765"/>
                    <a:gd name="connsiteX4" fmla="*/ 46204 w 51086"/>
                    <a:gd name="connsiteY4" fmla="*/ 0 h 9765"/>
                    <a:gd name="connsiteX5" fmla="*/ 51087 w 51086"/>
                    <a:gd name="connsiteY5" fmla="*/ 4883 h 9765"/>
                    <a:gd name="connsiteX6" fmla="*/ 46204 w 51086"/>
                    <a:gd name="connsiteY6" fmla="*/ 9765 h 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86" h="9765">
                      <a:moveTo>
                        <a:pt x="46204" y="9765"/>
                      </a:moveTo>
                      <a:lnTo>
                        <a:pt x="4883" y="9765"/>
                      </a:lnTo>
                      <a:cubicBezTo>
                        <a:pt x="2184" y="9765"/>
                        <a:pt x="0" y="7581"/>
                        <a:pt x="0" y="4883"/>
                      </a:cubicBezTo>
                      <a:cubicBezTo>
                        <a:pt x="0" y="2184"/>
                        <a:pt x="2184" y="0"/>
                        <a:pt x="4883" y="0"/>
                      </a:cubicBezTo>
                      <a:lnTo>
                        <a:pt x="46204" y="0"/>
                      </a:lnTo>
                      <a:cubicBezTo>
                        <a:pt x="48902" y="0"/>
                        <a:pt x="51087" y="2184"/>
                        <a:pt x="51087" y="4883"/>
                      </a:cubicBezTo>
                      <a:cubicBezTo>
                        <a:pt x="51087" y="7581"/>
                        <a:pt x="48877" y="9765"/>
                        <a:pt x="46204" y="9765"/>
                      </a:cubicBezTo>
                      <a:close/>
                    </a:path>
                  </a:pathLst>
                </a:custGeom>
                <a:solidFill>
                  <a:schemeClr val="accent1"/>
                </a:solidFill>
                <a:ln w="2565" cap="flat">
                  <a:noFill/>
                  <a:prstDash val="solid"/>
                  <a:miter/>
                </a:ln>
              </p:spPr>
              <p:txBody>
                <a:bodyPr rtlCol="0" anchor="ctr"/>
                <a:lstStyle/>
                <a:p>
                  <a:endParaRPr lang="en-GB" dirty="0"/>
                </a:p>
              </p:txBody>
            </p:sp>
          </p:grpSp>
          <p:grpSp>
            <p:nvGrpSpPr>
              <p:cNvPr id="641" name="Grafik 22">
                <a:extLst>
                  <a:ext uri="{FF2B5EF4-FFF2-40B4-BE49-F238E27FC236}">
                    <a16:creationId xmlns:a16="http://schemas.microsoft.com/office/drawing/2014/main" id="{16ABD3DF-B5F7-4D0F-98ED-AEEAC944D595}"/>
                  </a:ext>
                </a:extLst>
              </p:cNvPr>
              <p:cNvGrpSpPr/>
              <p:nvPr/>
            </p:nvGrpSpPr>
            <p:grpSpPr>
              <a:xfrm>
                <a:off x="7080471" y="1626758"/>
                <a:ext cx="215498" cy="77092"/>
                <a:chOff x="7080471" y="1626758"/>
                <a:chExt cx="215498" cy="77092"/>
              </a:xfrm>
              <a:solidFill>
                <a:schemeClr val="accent1"/>
              </a:solidFill>
            </p:grpSpPr>
            <p:sp>
              <p:nvSpPr>
                <p:cNvPr id="642" name="Freihandform: Form 949">
                  <a:extLst>
                    <a:ext uri="{FF2B5EF4-FFF2-40B4-BE49-F238E27FC236}">
                      <a16:creationId xmlns:a16="http://schemas.microsoft.com/office/drawing/2014/main" id="{C83A7BB3-9DA3-4408-A312-97D833A19C19}"/>
                    </a:ext>
                  </a:extLst>
                </p:cNvPr>
                <p:cNvSpPr/>
                <p:nvPr/>
              </p:nvSpPr>
              <p:spPr>
                <a:xfrm>
                  <a:off x="7181629" y="1626758"/>
                  <a:ext cx="9764" cy="52808"/>
                </a:xfrm>
                <a:custGeom>
                  <a:avLst/>
                  <a:gdLst>
                    <a:gd name="connsiteX0" fmla="*/ 4882 w 9764"/>
                    <a:gd name="connsiteY0" fmla="*/ 52808 h 52808"/>
                    <a:gd name="connsiteX1" fmla="*/ 0 w 9764"/>
                    <a:gd name="connsiteY1" fmla="*/ 47926 h 52808"/>
                    <a:gd name="connsiteX2" fmla="*/ 0 w 9764"/>
                    <a:gd name="connsiteY2" fmla="*/ 4883 h 52808"/>
                    <a:gd name="connsiteX3" fmla="*/ 4882 w 9764"/>
                    <a:gd name="connsiteY3" fmla="*/ 0 h 52808"/>
                    <a:gd name="connsiteX4" fmla="*/ 9765 w 9764"/>
                    <a:gd name="connsiteY4" fmla="*/ 4883 h 52808"/>
                    <a:gd name="connsiteX5" fmla="*/ 9765 w 9764"/>
                    <a:gd name="connsiteY5" fmla="*/ 47926 h 52808"/>
                    <a:gd name="connsiteX6" fmla="*/ 4882 w 9764"/>
                    <a:gd name="connsiteY6" fmla="*/ 52808 h 52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4" h="52808">
                      <a:moveTo>
                        <a:pt x="4882" y="52808"/>
                      </a:moveTo>
                      <a:cubicBezTo>
                        <a:pt x="2184" y="52808"/>
                        <a:pt x="0" y="50624"/>
                        <a:pt x="0" y="47926"/>
                      </a:cubicBezTo>
                      <a:lnTo>
                        <a:pt x="0" y="4883"/>
                      </a:lnTo>
                      <a:cubicBezTo>
                        <a:pt x="0" y="2184"/>
                        <a:pt x="2184" y="0"/>
                        <a:pt x="4882" y="0"/>
                      </a:cubicBezTo>
                      <a:cubicBezTo>
                        <a:pt x="7581" y="0"/>
                        <a:pt x="9765" y="2184"/>
                        <a:pt x="9765" y="4883"/>
                      </a:cubicBezTo>
                      <a:lnTo>
                        <a:pt x="9765" y="47926"/>
                      </a:lnTo>
                      <a:cubicBezTo>
                        <a:pt x="9765" y="50624"/>
                        <a:pt x="7581" y="52808"/>
                        <a:pt x="4882" y="52808"/>
                      </a:cubicBezTo>
                      <a:close/>
                    </a:path>
                  </a:pathLst>
                </a:custGeom>
                <a:solidFill>
                  <a:schemeClr val="accent1"/>
                </a:solidFill>
                <a:ln w="2565" cap="flat">
                  <a:noFill/>
                  <a:prstDash val="solid"/>
                  <a:miter/>
                </a:ln>
              </p:spPr>
              <p:txBody>
                <a:bodyPr rtlCol="0" anchor="ctr"/>
                <a:lstStyle/>
                <a:p>
                  <a:endParaRPr lang="en-GB" dirty="0"/>
                </a:p>
              </p:txBody>
            </p:sp>
            <p:sp>
              <p:nvSpPr>
                <p:cNvPr id="643" name="Freihandform: Form 950">
                  <a:extLst>
                    <a:ext uri="{FF2B5EF4-FFF2-40B4-BE49-F238E27FC236}">
                      <a16:creationId xmlns:a16="http://schemas.microsoft.com/office/drawing/2014/main" id="{DCE12654-2625-4F42-9DDE-F4F6C6FE0451}"/>
                    </a:ext>
                  </a:extLst>
                </p:cNvPr>
                <p:cNvSpPr/>
                <p:nvPr/>
              </p:nvSpPr>
              <p:spPr>
                <a:xfrm>
                  <a:off x="7080471" y="1663646"/>
                  <a:ext cx="40216" cy="40203"/>
                </a:xfrm>
                <a:custGeom>
                  <a:avLst/>
                  <a:gdLst>
                    <a:gd name="connsiteX0" fmla="*/ 35321 w 40216"/>
                    <a:gd name="connsiteY0" fmla="*/ 40204 h 40203"/>
                    <a:gd name="connsiteX1" fmla="*/ 31878 w 40216"/>
                    <a:gd name="connsiteY1" fmla="*/ 38765 h 40203"/>
                    <a:gd name="connsiteX2" fmla="*/ 1426 w 40216"/>
                    <a:gd name="connsiteY2" fmla="*/ 8339 h 40203"/>
                    <a:gd name="connsiteX3" fmla="*/ 1426 w 40216"/>
                    <a:gd name="connsiteY3" fmla="*/ 1426 h 40203"/>
                    <a:gd name="connsiteX4" fmla="*/ 8339 w 40216"/>
                    <a:gd name="connsiteY4" fmla="*/ 1426 h 40203"/>
                    <a:gd name="connsiteX5" fmla="*/ 38790 w 40216"/>
                    <a:gd name="connsiteY5" fmla="*/ 31878 h 40203"/>
                    <a:gd name="connsiteX6" fmla="*/ 38790 w 40216"/>
                    <a:gd name="connsiteY6" fmla="*/ 38790 h 40203"/>
                    <a:gd name="connsiteX7" fmla="*/ 35321 w 40216"/>
                    <a:gd name="connsiteY7" fmla="*/ 40204 h 4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16" h="40203">
                      <a:moveTo>
                        <a:pt x="35321" y="40204"/>
                      </a:moveTo>
                      <a:cubicBezTo>
                        <a:pt x="34062" y="40204"/>
                        <a:pt x="32829" y="39715"/>
                        <a:pt x="31878" y="38765"/>
                      </a:cubicBezTo>
                      <a:lnTo>
                        <a:pt x="1426" y="8339"/>
                      </a:lnTo>
                      <a:cubicBezTo>
                        <a:pt x="-475" y="6437"/>
                        <a:pt x="-475" y="3354"/>
                        <a:pt x="1426" y="1426"/>
                      </a:cubicBezTo>
                      <a:cubicBezTo>
                        <a:pt x="3328" y="-475"/>
                        <a:pt x="6412" y="-475"/>
                        <a:pt x="8339" y="1426"/>
                      </a:cubicBezTo>
                      <a:lnTo>
                        <a:pt x="38790" y="31878"/>
                      </a:lnTo>
                      <a:cubicBezTo>
                        <a:pt x="40692" y="33779"/>
                        <a:pt x="40692" y="36863"/>
                        <a:pt x="38790" y="38790"/>
                      </a:cubicBezTo>
                      <a:cubicBezTo>
                        <a:pt x="37814" y="39741"/>
                        <a:pt x="36555" y="40204"/>
                        <a:pt x="35321" y="40204"/>
                      </a:cubicBezTo>
                      <a:close/>
                    </a:path>
                  </a:pathLst>
                </a:custGeom>
                <a:solidFill>
                  <a:schemeClr val="accent1"/>
                </a:solidFill>
                <a:ln w="2565" cap="flat">
                  <a:noFill/>
                  <a:prstDash val="solid"/>
                  <a:miter/>
                </a:ln>
              </p:spPr>
              <p:txBody>
                <a:bodyPr rtlCol="0" anchor="ctr"/>
                <a:lstStyle/>
                <a:p>
                  <a:endParaRPr lang="en-GB" dirty="0"/>
                </a:p>
              </p:txBody>
            </p:sp>
            <p:sp>
              <p:nvSpPr>
                <p:cNvPr id="644" name="Freihandform: Form 951">
                  <a:extLst>
                    <a:ext uri="{FF2B5EF4-FFF2-40B4-BE49-F238E27FC236}">
                      <a16:creationId xmlns:a16="http://schemas.microsoft.com/office/drawing/2014/main" id="{FE125AB5-B639-49D3-BB7E-D1A8940E31B0}"/>
                    </a:ext>
                  </a:extLst>
                </p:cNvPr>
                <p:cNvSpPr/>
                <p:nvPr/>
              </p:nvSpPr>
              <p:spPr>
                <a:xfrm>
                  <a:off x="7255753" y="1663620"/>
                  <a:ext cx="40216" cy="40229"/>
                </a:xfrm>
                <a:custGeom>
                  <a:avLst/>
                  <a:gdLst>
                    <a:gd name="connsiteX0" fmla="*/ 4870 w 40216"/>
                    <a:gd name="connsiteY0" fmla="*/ 40229 h 40229"/>
                    <a:gd name="connsiteX1" fmla="*/ 1426 w 40216"/>
                    <a:gd name="connsiteY1" fmla="*/ 38790 h 40229"/>
                    <a:gd name="connsiteX2" fmla="*/ 1426 w 40216"/>
                    <a:gd name="connsiteY2" fmla="*/ 31878 h 40229"/>
                    <a:gd name="connsiteX3" fmla="*/ 31878 w 40216"/>
                    <a:gd name="connsiteY3" fmla="*/ 1426 h 40229"/>
                    <a:gd name="connsiteX4" fmla="*/ 38790 w 40216"/>
                    <a:gd name="connsiteY4" fmla="*/ 1426 h 40229"/>
                    <a:gd name="connsiteX5" fmla="*/ 38790 w 40216"/>
                    <a:gd name="connsiteY5" fmla="*/ 8339 h 40229"/>
                    <a:gd name="connsiteX6" fmla="*/ 8339 w 40216"/>
                    <a:gd name="connsiteY6" fmla="*/ 38790 h 40229"/>
                    <a:gd name="connsiteX7" fmla="*/ 4870 w 40216"/>
                    <a:gd name="connsiteY7" fmla="*/ 40229 h 40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16" h="40229">
                      <a:moveTo>
                        <a:pt x="4870" y="40229"/>
                      </a:moveTo>
                      <a:cubicBezTo>
                        <a:pt x="3611" y="40229"/>
                        <a:pt x="2377" y="39741"/>
                        <a:pt x="1426" y="38790"/>
                      </a:cubicBezTo>
                      <a:cubicBezTo>
                        <a:pt x="-475" y="36889"/>
                        <a:pt x="-475" y="33805"/>
                        <a:pt x="1426" y="31878"/>
                      </a:cubicBezTo>
                      <a:lnTo>
                        <a:pt x="31878" y="1426"/>
                      </a:lnTo>
                      <a:cubicBezTo>
                        <a:pt x="33779" y="-475"/>
                        <a:pt x="36863" y="-475"/>
                        <a:pt x="38790" y="1426"/>
                      </a:cubicBezTo>
                      <a:cubicBezTo>
                        <a:pt x="40692" y="3328"/>
                        <a:pt x="40692" y="6412"/>
                        <a:pt x="38790" y="8339"/>
                      </a:cubicBezTo>
                      <a:lnTo>
                        <a:pt x="8339" y="38790"/>
                      </a:lnTo>
                      <a:cubicBezTo>
                        <a:pt x="7362" y="39767"/>
                        <a:pt x="6103" y="40229"/>
                        <a:pt x="4870" y="40229"/>
                      </a:cubicBezTo>
                      <a:close/>
                    </a:path>
                  </a:pathLst>
                </a:custGeom>
                <a:solidFill>
                  <a:schemeClr val="accent1"/>
                </a:solidFill>
                <a:ln w="2565" cap="flat">
                  <a:noFill/>
                  <a:prstDash val="solid"/>
                  <a:miter/>
                </a:ln>
              </p:spPr>
              <p:txBody>
                <a:bodyPr rtlCol="0" anchor="ctr"/>
                <a:lstStyle/>
                <a:p>
                  <a:endParaRPr lang="en-GB" dirty="0"/>
                </a:p>
              </p:txBody>
            </p:sp>
          </p:grpSp>
        </p:grpSp>
        <p:grpSp>
          <p:nvGrpSpPr>
            <p:cNvPr id="634" name="Group 633">
              <a:extLst>
                <a:ext uri="{FF2B5EF4-FFF2-40B4-BE49-F238E27FC236}">
                  <a16:creationId xmlns:a16="http://schemas.microsoft.com/office/drawing/2014/main" id="{D7E3049B-1F2D-47E2-84B4-8ECBA63CD3CD}"/>
                </a:ext>
              </a:extLst>
            </p:cNvPr>
            <p:cNvGrpSpPr/>
            <p:nvPr/>
          </p:nvGrpSpPr>
          <p:grpSpPr>
            <a:xfrm>
              <a:off x="7085664" y="4269069"/>
              <a:ext cx="426917" cy="195522"/>
              <a:chOff x="6926753" y="1914158"/>
              <a:chExt cx="518847" cy="237624"/>
            </a:xfrm>
            <a:solidFill>
              <a:schemeClr val="tx2"/>
            </a:solidFill>
          </p:grpSpPr>
          <p:sp>
            <p:nvSpPr>
              <p:cNvPr id="635" name="Freihandform: Form 941">
                <a:extLst>
                  <a:ext uri="{FF2B5EF4-FFF2-40B4-BE49-F238E27FC236}">
                    <a16:creationId xmlns:a16="http://schemas.microsoft.com/office/drawing/2014/main" id="{9089EAA5-377E-4719-833D-94D2B95468B3}"/>
                  </a:ext>
                </a:extLst>
              </p:cNvPr>
              <p:cNvSpPr/>
              <p:nvPr/>
            </p:nvSpPr>
            <p:spPr>
              <a:xfrm>
                <a:off x="6926753" y="2026177"/>
                <a:ext cx="126833" cy="125605"/>
              </a:xfrm>
              <a:custGeom>
                <a:avLst/>
                <a:gdLst>
                  <a:gd name="connsiteX0" fmla="*/ 79362 w 126833"/>
                  <a:gd name="connsiteY0" fmla="*/ 125605 h 125605"/>
                  <a:gd name="connsiteX1" fmla="*/ 74839 w 126833"/>
                  <a:gd name="connsiteY1" fmla="*/ 122547 h 125605"/>
                  <a:gd name="connsiteX2" fmla="*/ 70419 w 126833"/>
                  <a:gd name="connsiteY2" fmla="*/ 111626 h 125605"/>
                  <a:gd name="connsiteX3" fmla="*/ 54770 w 126833"/>
                  <a:gd name="connsiteY3" fmla="*/ 111369 h 125605"/>
                  <a:gd name="connsiteX4" fmla="*/ 49964 w 126833"/>
                  <a:gd name="connsiteY4" fmla="*/ 122110 h 125605"/>
                  <a:gd name="connsiteX5" fmla="*/ 43514 w 126833"/>
                  <a:gd name="connsiteY5" fmla="*/ 124577 h 125605"/>
                  <a:gd name="connsiteX6" fmla="*/ 30691 w 126833"/>
                  <a:gd name="connsiteY6" fmla="*/ 118872 h 125605"/>
                  <a:gd name="connsiteX7" fmla="*/ 28121 w 126833"/>
                  <a:gd name="connsiteY7" fmla="*/ 116149 h 125605"/>
                  <a:gd name="connsiteX8" fmla="*/ 28224 w 126833"/>
                  <a:gd name="connsiteY8" fmla="*/ 112422 h 125605"/>
                  <a:gd name="connsiteX9" fmla="*/ 33029 w 126833"/>
                  <a:gd name="connsiteY9" fmla="*/ 101655 h 125605"/>
                  <a:gd name="connsiteX10" fmla="*/ 22391 w 126833"/>
                  <a:gd name="connsiteY10" fmla="*/ 90168 h 125605"/>
                  <a:gd name="connsiteX11" fmla="*/ 11289 w 126833"/>
                  <a:gd name="connsiteY11" fmla="*/ 94152 h 125605"/>
                  <a:gd name="connsiteX12" fmla="*/ 5045 w 126833"/>
                  <a:gd name="connsiteY12" fmla="*/ 91196 h 125605"/>
                  <a:gd name="connsiteX13" fmla="*/ 291 w 126833"/>
                  <a:gd name="connsiteY13" fmla="*/ 77988 h 125605"/>
                  <a:gd name="connsiteX14" fmla="*/ 471 w 126833"/>
                  <a:gd name="connsiteY14" fmla="*/ 74262 h 125605"/>
                  <a:gd name="connsiteX15" fmla="*/ 3246 w 126833"/>
                  <a:gd name="connsiteY15" fmla="*/ 71743 h 125605"/>
                  <a:gd name="connsiteX16" fmla="*/ 14347 w 126833"/>
                  <a:gd name="connsiteY16" fmla="*/ 67760 h 125605"/>
                  <a:gd name="connsiteX17" fmla="*/ 14861 w 126833"/>
                  <a:gd name="connsiteY17" fmla="*/ 54141 h 125605"/>
                  <a:gd name="connsiteX18" fmla="*/ 4120 w 126833"/>
                  <a:gd name="connsiteY18" fmla="*/ 49335 h 125605"/>
                  <a:gd name="connsiteX19" fmla="*/ 1653 w 126833"/>
                  <a:gd name="connsiteY19" fmla="*/ 42885 h 125605"/>
                  <a:gd name="connsiteX20" fmla="*/ 7383 w 126833"/>
                  <a:gd name="connsiteY20" fmla="*/ 30062 h 125605"/>
                  <a:gd name="connsiteX21" fmla="*/ 10082 w 126833"/>
                  <a:gd name="connsiteY21" fmla="*/ 27492 h 125605"/>
                  <a:gd name="connsiteX22" fmla="*/ 13808 w 126833"/>
                  <a:gd name="connsiteY22" fmla="*/ 27595 h 125605"/>
                  <a:gd name="connsiteX23" fmla="*/ 24549 w 126833"/>
                  <a:gd name="connsiteY23" fmla="*/ 32401 h 125605"/>
                  <a:gd name="connsiteX24" fmla="*/ 34391 w 126833"/>
                  <a:gd name="connsiteY24" fmla="*/ 22918 h 125605"/>
                  <a:gd name="connsiteX25" fmla="*/ 29946 w 126833"/>
                  <a:gd name="connsiteY25" fmla="*/ 11997 h 125605"/>
                  <a:gd name="connsiteX26" fmla="*/ 29971 w 126833"/>
                  <a:gd name="connsiteY26" fmla="*/ 8245 h 125605"/>
                  <a:gd name="connsiteX27" fmla="*/ 32644 w 126833"/>
                  <a:gd name="connsiteY27" fmla="*/ 5624 h 125605"/>
                  <a:gd name="connsiteX28" fmla="*/ 45647 w 126833"/>
                  <a:gd name="connsiteY28" fmla="*/ 356 h 125605"/>
                  <a:gd name="connsiteX29" fmla="*/ 51994 w 126833"/>
                  <a:gd name="connsiteY29" fmla="*/ 3054 h 125605"/>
                  <a:gd name="connsiteX30" fmla="*/ 56440 w 126833"/>
                  <a:gd name="connsiteY30" fmla="*/ 13975 h 125605"/>
                  <a:gd name="connsiteX31" fmla="*/ 72090 w 126833"/>
                  <a:gd name="connsiteY31" fmla="*/ 14232 h 125605"/>
                  <a:gd name="connsiteX32" fmla="*/ 76895 w 126833"/>
                  <a:gd name="connsiteY32" fmla="*/ 3465 h 125605"/>
                  <a:gd name="connsiteX33" fmla="*/ 83345 w 126833"/>
                  <a:gd name="connsiteY33" fmla="*/ 998 h 125605"/>
                  <a:gd name="connsiteX34" fmla="*/ 96142 w 126833"/>
                  <a:gd name="connsiteY34" fmla="*/ 6729 h 125605"/>
                  <a:gd name="connsiteX35" fmla="*/ 98609 w 126833"/>
                  <a:gd name="connsiteY35" fmla="*/ 13179 h 125605"/>
                  <a:gd name="connsiteX36" fmla="*/ 93804 w 126833"/>
                  <a:gd name="connsiteY36" fmla="*/ 23946 h 125605"/>
                  <a:gd name="connsiteX37" fmla="*/ 104443 w 126833"/>
                  <a:gd name="connsiteY37" fmla="*/ 35433 h 125605"/>
                  <a:gd name="connsiteX38" fmla="*/ 115544 w 126833"/>
                  <a:gd name="connsiteY38" fmla="*/ 31475 h 125605"/>
                  <a:gd name="connsiteX39" fmla="*/ 121788 w 126833"/>
                  <a:gd name="connsiteY39" fmla="*/ 34405 h 125605"/>
                  <a:gd name="connsiteX40" fmla="*/ 126542 w 126833"/>
                  <a:gd name="connsiteY40" fmla="*/ 47613 h 125605"/>
                  <a:gd name="connsiteX41" fmla="*/ 126363 w 126833"/>
                  <a:gd name="connsiteY41" fmla="*/ 51340 h 125605"/>
                  <a:gd name="connsiteX42" fmla="*/ 123587 w 126833"/>
                  <a:gd name="connsiteY42" fmla="*/ 53858 h 125605"/>
                  <a:gd name="connsiteX43" fmla="*/ 112512 w 126833"/>
                  <a:gd name="connsiteY43" fmla="*/ 57841 h 125605"/>
                  <a:gd name="connsiteX44" fmla="*/ 111998 w 126833"/>
                  <a:gd name="connsiteY44" fmla="*/ 71486 h 125605"/>
                  <a:gd name="connsiteX45" fmla="*/ 122765 w 126833"/>
                  <a:gd name="connsiteY45" fmla="*/ 76292 h 125605"/>
                  <a:gd name="connsiteX46" fmla="*/ 125335 w 126833"/>
                  <a:gd name="connsiteY46" fmla="*/ 79016 h 125605"/>
                  <a:gd name="connsiteX47" fmla="*/ 125232 w 126833"/>
                  <a:gd name="connsiteY47" fmla="*/ 82742 h 125605"/>
                  <a:gd name="connsiteX48" fmla="*/ 119476 w 126833"/>
                  <a:gd name="connsiteY48" fmla="*/ 95565 h 125605"/>
                  <a:gd name="connsiteX49" fmla="*/ 113026 w 126833"/>
                  <a:gd name="connsiteY49" fmla="*/ 98032 h 125605"/>
                  <a:gd name="connsiteX50" fmla="*/ 102284 w 126833"/>
                  <a:gd name="connsiteY50" fmla="*/ 93226 h 125605"/>
                  <a:gd name="connsiteX51" fmla="*/ 92468 w 126833"/>
                  <a:gd name="connsiteY51" fmla="*/ 102709 h 125605"/>
                  <a:gd name="connsiteX52" fmla="*/ 96913 w 126833"/>
                  <a:gd name="connsiteY52" fmla="*/ 113630 h 125605"/>
                  <a:gd name="connsiteX53" fmla="*/ 96888 w 126833"/>
                  <a:gd name="connsiteY53" fmla="*/ 117382 h 125605"/>
                  <a:gd name="connsiteX54" fmla="*/ 94241 w 126833"/>
                  <a:gd name="connsiteY54" fmla="*/ 120003 h 125605"/>
                  <a:gd name="connsiteX55" fmla="*/ 81212 w 126833"/>
                  <a:gd name="connsiteY55" fmla="*/ 125297 h 125605"/>
                  <a:gd name="connsiteX56" fmla="*/ 79362 w 126833"/>
                  <a:gd name="connsiteY56" fmla="*/ 125605 h 125605"/>
                  <a:gd name="connsiteX57" fmla="*/ 73426 w 126833"/>
                  <a:gd name="connsiteY57" fmla="*/ 101218 h 125605"/>
                  <a:gd name="connsiteX58" fmla="*/ 77949 w 126833"/>
                  <a:gd name="connsiteY58" fmla="*/ 104276 h 125605"/>
                  <a:gd name="connsiteX59" fmla="*/ 82035 w 126833"/>
                  <a:gd name="connsiteY59" fmla="*/ 114350 h 125605"/>
                  <a:gd name="connsiteX60" fmla="*/ 86018 w 126833"/>
                  <a:gd name="connsiteY60" fmla="*/ 112731 h 125605"/>
                  <a:gd name="connsiteX61" fmla="*/ 81906 w 126833"/>
                  <a:gd name="connsiteY61" fmla="*/ 102657 h 125605"/>
                  <a:gd name="connsiteX62" fmla="*/ 83910 w 126833"/>
                  <a:gd name="connsiteY62" fmla="*/ 96644 h 125605"/>
                  <a:gd name="connsiteX63" fmla="*/ 96528 w 126833"/>
                  <a:gd name="connsiteY63" fmla="*/ 84464 h 125605"/>
                  <a:gd name="connsiteX64" fmla="*/ 102618 w 126833"/>
                  <a:gd name="connsiteY64" fmla="*/ 82665 h 125605"/>
                  <a:gd name="connsiteX65" fmla="*/ 112537 w 126833"/>
                  <a:gd name="connsiteY65" fmla="*/ 87110 h 125605"/>
                  <a:gd name="connsiteX66" fmla="*/ 114285 w 126833"/>
                  <a:gd name="connsiteY66" fmla="*/ 83204 h 125605"/>
                  <a:gd name="connsiteX67" fmla="*/ 104340 w 126833"/>
                  <a:gd name="connsiteY67" fmla="*/ 78784 h 125605"/>
                  <a:gd name="connsiteX68" fmla="*/ 101616 w 126833"/>
                  <a:gd name="connsiteY68" fmla="*/ 73054 h 125605"/>
                  <a:gd name="connsiteX69" fmla="*/ 102258 w 126833"/>
                  <a:gd name="connsiteY69" fmla="*/ 55528 h 125605"/>
                  <a:gd name="connsiteX70" fmla="*/ 105393 w 126833"/>
                  <a:gd name="connsiteY70" fmla="*/ 50003 h 125605"/>
                  <a:gd name="connsiteX71" fmla="*/ 115647 w 126833"/>
                  <a:gd name="connsiteY71" fmla="*/ 46329 h 125605"/>
                  <a:gd name="connsiteX72" fmla="*/ 114208 w 126833"/>
                  <a:gd name="connsiteY72" fmla="*/ 42320 h 125605"/>
                  <a:gd name="connsiteX73" fmla="*/ 103954 w 126833"/>
                  <a:gd name="connsiteY73" fmla="*/ 45995 h 125605"/>
                  <a:gd name="connsiteX74" fmla="*/ 98044 w 126833"/>
                  <a:gd name="connsiteY74" fmla="*/ 43759 h 125605"/>
                  <a:gd name="connsiteX75" fmla="*/ 85067 w 126833"/>
                  <a:gd name="connsiteY75" fmla="*/ 29728 h 125605"/>
                  <a:gd name="connsiteX76" fmla="*/ 83268 w 126833"/>
                  <a:gd name="connsiteY76" fmla="*/ 23638 h 125605"/>
                  <a:gd name="connsiteX77" fmla="*/ 87714 w 126833"/>
                  <a:gd name="connsiteY77" fmla="*/ 13693 h 125605"/>
                  <a:gd name="connsiteX78" fmla="*/ 83833 w 126833"/>
                  <a:gd name="connsiteY78" fmla="*/ 11945 h 125605"/>
                  <a:gd name="connsiteX79" fmla="*/ 79388 w 126833"/>
                  <a:gd name="connsiteY79" fmla="*/ 21890 h 125605"/>
                  <a:gd name="connsiteX80" fmla="*/ 73683 w 126833"/>
                  <a:gd name="connsiteY80" fmla="*/ 24614 h 125605"/>
                  <a:gd name="connsiteX81" fmla="*/ 54564 w 126833"/>
                  <a:gd name="connsiteY81" fmla="*/ 24306 h 125605"/>
                  <a:gd name="connsiteX82" fmla="*/ 48936 w 126833"/>
                  <a:gd name="connsiteY82" fmla="*/ 21376 h 125605"/>
                  <a:gd name="connsiteX83" fmla="*/ 44825 w 126833"/>
                  <a:gd name="connsiteY83" fmla="*/ 11277 h 125605"/>
                  <a:gd name="connsiteX84" fmla="*/ 40867 w 126833"/>
                  <a:gd name="connsiteY84" fmla="*/ 12871 h 125605"/>
                  <a:gd name="connsiteX85" fmla="*/ 44979 w 126833"/>
                  <a:gd name="connsiteY85" fmla="*/ 22970 h 125605"/>
                  <a:gd name="connsiteX86" fmla="*/ 42974 w 126833"/>
                  <a:gd name="connsiteY86" fmla="*/ 28983 h 125605"/>
                  <a:gd name="connsiteX87" fmla="*/ 30331 w 126833"/>
                  <a:gd name="connsiteY87" fmla="*/ 41189 h 125605"/>
                  <a:gd name="connsiteX88" fmla="*/ 24241 w 126833"/>
                  <a:gd name="connsiteY88" fmla="*/ 42988 h 125605"/>
                  <a:gd name="connsiteX89" fmla="*/ 14322 w 126833"/>
                  <a:gd name="connsiteY89" fmla="*/ 38568 h 125605"/>
                  <a:gd name="connsiteX90" fmla="*/ 12574 w 126833"/>
                  <a:gd name="connsiteY90" fmla="*/ 42474 h 125605"/>
                  <a:gd name="connsiteX91" fmla="*/ 22519 w 126833"/>
                  <a:gd name="connsiteY91" fmla="*/ 46920 h 125605"/>
                  <a:gd name="connsiteX92" fmla="*/ 25243 w 126833"/>
                  <a:gd name="connsiteY92" fmla="*/ 52650 h 125605"/>
                  <a:gd name="connsiteX93" fmla="*/ 24601 w 126833"/>
                  <a:gd name="connsiteY93" fmla="*/ 70150 h 125605"/>
                  <a:gd name="connsiteX94" fmla="*/ 21466 w 126833"/>
                  <a:gd name="connsiteY94" fmla="*/ 75675 h 125605"/>
                  <a:gd name="connsiteX95" fmla="*/ 11212 w 126833"/>
                  <a:gd name="connsiteY95" fmla="*/ 79350 h 125605"/>
                  <a:gd name="connsiteX96" fmla="*/ 12651 w 126833"/>
                  <a:gd name="connsiteY96" fmla="*/ 83384 h 125605"/>
                  <a:gd name="connsiteX97" fmla="*/ 22905 w 126833"/>
                  <a:gd name="connsiteY97" fmla="*/ 79710 h 125605"/>
                  <a:gd name="connsiteX98" fmla="*/ 28815 w 126833"/>
                  <a:gd name="connsiteY98" fmla="*/ 81945 h 125605"/>
                  <a:gd name="connsiteX99" fmla="*/ 41818 w 126833"/>
                  <a:gd name="connsiteY99" fmla="*/ 95976 h 125605"/>
                  <a:gd name="connsiteX100" fmla="*/ 43617 w 126833"/>
                  <a:gd name="connsiteY100" fmla="*/ 102066 h 125605"/>
                  <a:gd name="connsiteX101" fmla="*/ 39197 w 126833"/>
                  <a:gd name="connsiteY101" fmla="*/ 111986 h 125605"/>
                  <a:gd name="connsiteX102" fmla="*/ 43103 w 126833"/>
                  <a:gd name="connsiteY102" fmla="*/ 113707 h 125605"/>
                  <a:gd name="connsiteX103" fmla="*/ 47523 w 126833"/>
                  <a:gd name="connsiteY103" fmla="*/ 103788 h 125605"/>
                  <a:gd name="connsiteX104" fmla="*/ 53228 w 126833"/>
                  <a:gd name="connsiteY104" fmla="*/ 101064 h 125605"/>
                  <a:gd name="connsiteX105" fmla="*/ 72372 w 126833"/>
                  <a:gd name="connsiteY105" fmla="*/ 101372 h 125605"/>
                  <a:gd name="connsiteX106" fmla="*/ 73426 w 126833"/>
                  <a:gd name="connsiteY106" fmla="*/ 101218 h 12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126833" h="125605">
                    <a:moveTo>
                      <a:pt x="79362" y="125605"/>
                    </a:moveTo>
                    <a:cubicBezTo>
                      <a:pt x="77435" y="125605"/>
                      <a:pt x="75610" y="124449"/>
                      <a:pt x="74839" y="122547"/>
                    </a:cubicBezTo>
                    <a:lnTo>
                      <a:pt x="70419" y="111626"/>
                    </a:lnTo>
                    <a:cubicBezTo>
                      <a:pt x="65228" y="112371"/>
                      <a:pt x="59935" y="112268"/>
                      <a:pt x="54770" y="111369"/>
                    </a:cubicBezTo>
                    <a:lnTo>
                      <a:pt x="49964" y="122110"/>
                    </a:lnTo>
                    <a:cubicBezTo>
                      <a:pt x="48859" y="124577"/>
                      <a:pt x="45955" y="125657"/>
                      <a:pt x="43514" y="124577"/>
                    </a:cubicBezTo>
                    <a:lnTo>
                      <a:pt x="30691" y="118872"/>
                    </a:lnTo>
                    <a:cubicBezTo>
                      <a:pt x="29509" y="118333"/>
                      <a:pt x="28584" y="117382"/>
                      <a:pt x="28121" y="116149"/>
                    </a:cubicBezTo>
                    <a:cubicBezTo>
                      <a:pt x="27659" y="114941"/>
                      <a:pt x="27684" y="113604"/>
                      <a:pt x="28224" y="112422"/>
                    </a:cubicBezTo>
                    <a:lnTo>
                      <a:pt x="33029" y="101655"/>
                    </a:lnTo>
                    <a:cubicBezTo>
                      <a:pt x="28918" y="98443"/>
                      <a:pt x="25320" y="94537"/>
                      <a:pt x="22391" y="90168"/>
                    </a:cubicBezTo>
                    <a:lnTo>
                      <a:pt x="11289" y="94152"/>
                    </a:lnTo>
                    <a:cubicBezTo>
                      <a:pt x="8745" y="95051"/>
                      <a:pt x="5970" y="93740"/>
                      <a:pt x="5045" y="91196"/>
                    </a:cubicBezTo>
                    <a:lnTo>
                      <a:pt x="291" y="77988"/>
                    </a:lnTo>
                    <a:cubicBezTo>
                      <a:pt x="-146" y="76754"/>
                      <a:pt x="-95" y="75418"/>
                      <a:pt x="471" y="74262"/>
                    </a:cubicBezTo>
                    <a:cubicBezTo>
                      <a:pt x="1036" y="73080"/>
                      <a:pt x="2013" y="72180"/>
                      <a:pt x="3246" y="71743"/>
                    </a:cubicBezTo>
                    <a:lnTo>
                      <a:pt x="14347" y="67760"/>
                    </a:lnTo>
                    <a:cubicBezTo>
                      <a:pt x="13885" y="63237"/>
                      <a:pt x="14065" y="58612"/>
                      <a:pt x="14861" y="54141"/>
                    </a:cubicBezTo>
                    <a:lnTo>
                      <a:pt x="4120" y="49335"/>
                    </a:lnTo>
                    <a:cubicBezTo>
                      <a:pt x="1653" y="48230"/>
                      <a:pt x="548" y="45352"/>
                      <a:pt x="1653" y="42885"/>
                    </a:cubicBezTo>
                    <a:lnTo>
                      <a:pt x="7383" y="30062"/>
                    </a:lnTo>
                    <a:cubicBezTo>
                      <a:pt x="7923" y="28880"/>
                      <a:pt x="8874" y="27955"/>
                      <a:pt x="10082" y="27492"/>
                    </a:cubicBezTo>
                    <a:cubicBezTo>
                      <a:pt x="11289" y="27030"/>
                      <a:pt x="12626" y="27056"/>
                      <a:pt x="13808" y="27595"/>
                    </a:cubicBezTo>
                    <a:lnTo>
                      <a:pt x="24549" y="32401"/>
                    </a:lnTo>
                    <a:cubicBezTo>
                      <a:pt x="27376" y="28777"/>
                      <a:pt x="30665" y="25616"/>
                      <a:pt x="34391" y="22918"/>
                    </a:cubicBezTo>
                    <a:lnTo>
                      <a:pt x="29946" y="11997"/>
                    </a:lnTo>
                    <a:cubicBezTo>
                      <a:pt x="29457" y="10789"/>
                      <a:pt x="29457" y="9453"/>
                      <a:pt x="29971" y="8245"/>
                    </a:cubicBezTo>
                    <a:cubicBezTo>
                      <a:pt x="30485" y="7063"/>
                      <a:pt x="31436" y="6112"/>
                      <a:pt x="32644" y="5624"/>
                    </a:cubicBezTo>
                    <a:lnTo>
                      <a:pt x="45647" y="356"/>
                    </a:lnTo>
                    <a:cubicBezTo>
                      <a:pt x="48114" y="-646"/>
                      <a:pt x="50992" y="536"/>
                      <a:pt x="51994" y="3054"/>
                    </a:cubicBezTo>
                    <a:lnTo>
                      <a:pt x="56440" y="13975"/>
                    </a:lnTo>
                    <a:cubicBezTo>
                      <a:pt x="61605" y="13230"/>
                      <a:pt x="66899" y="13307"/>
                      <a:pt x="72090" y="14232"/>
                    </a:cubicBezTo>
                    <a:lnTo>
                      <a:pt x="76895" y="3465"/>
                    </a:lnTo>
                    <a:cubicBezTo>
                      <a:pt x="78000" y="998"/>
                      <a:pt x="80878" y="-81"/>
                      <a:pt x="83345" y="998"/>
                    </a:cubicBezTo>
                    <a:lnTo>
                      <a:pt x="96142" y="6729"/>
                    </a:lnTo>
                    <a:cubicBezTo>
                      <a:pt x="98609" y="7834"/>
                      <a:pt x="99714" y="10712"/>
                      <a:pt x="98609" y="13179"/>
                    </a:cubicBezTo>
                    <a:lnTo>
                      <a:pt x="93804" y="23946"/>
                    </a:lnTo>
                    <a:cubicBezTo>
                      <a:pt x="97916" y="27158"/>
                      <a:pt x="101513" y="31039"/>
                      <a:pt x="104443" y="35433"/>
                    </a:cubicBezTo>
                    <a:lnTo>
                      <a:pt x="115544" y="31475"/>
                    </a:lnTo>
                    <a:cubicBezTo>
                      <a:pt x="118062" y="30576"/>
                      <a:pt x="120863" y="31887"/>
                      <a:pt x="121788" y="34405"/>
                    </a:cubicBezTo>
                    <a:lnTo>
                      <a:pt x="126542" y="47613"/>
                    </a:lnTo>
                    <a:cubicBezTo>
                      <a:pt x="126979" y="48847"/>
                      <a:pt x="126928" y="50183"/>
                      <a:pt x="126363" y="51340"/>
                    </a:cubicBezTo>
                    <a:cubicBezTo>
                      <a:pt x="125797" y="52522"/>
                      <a:pt x="124821" y="53421"/>
                      <a:pt x="123587" y="53858"/>
                    </a:cubicBezTo>
                    <a:lnTo>
                      <a:pt x="112512" y="57841"/>
                    </a:lnTo>
                    <a:cubicBezTo>
                      <a:pt x="112974" y="62364"/>
                      <a:pt x="112794" y="66989"/>
                      <a:pt x="111998" y="71486"/>
                    </a:cubicBezTo>
                    <a:lnTo>
                      <a:pt x="122765" y="76292"/>
                    </a:lnTo>
                    <a:cubicBezTo>
                      <a:pt x="123947" y="76831"/>
                      <a:pt x="124872" y="77808"/>
                      <a:pt x="125335" y="79016"/>
                    </a:cubicBezTo>
                    <a:cubicBezTo>
                      <a:pt x="125797" y="80223"/>
                      <a:pt x="125771" y="81560"/>
                      <a:pt x="125232" y="82742"/>
                    </a:cubicBezTo>
                    <a:lnTo>
                      <a:pt x="119476" y="95565"/>
                    </a:lnTo>
                    <a:cubicBezTo>
                      <a:pt x="118371" y="98032"/>
                      <a:pt x="115467" y="99111"/>
                      <a:pt x="113026" y="98032"/>
                    </a:cubicBezTo>
                    <a:lnTo>
                      <a:pt x="102284" y="93226"/>
                    </a:lnTo>
                    <a:cubicBezTo>
                      <a:pt x="99457" y="96824"/>
                      <a:pt x="96168" y="100011"/>
                      <a:pt x="92468" y="102709"/>
                    </a:cubicBezTo>
                    <a:lnTo>
                      <a:pt x="96913" y="113630"/>
                    </a:lnTo>
                    <a:cubicBezTo>
                      <a:pt x="97402" y="114838"/>
                      <a:pt x="97402" y="116174"/>
                      <a:pt x="96888" y="117382"/>
                    </a:cubicBezTo>
                    <a:cubicBezTo>
                      <a:pt x="96374" y="118564"/>
                      <a:pt x="95423" y="119515"/>
                      <a:pt x="94241" y="120003"/>
                    </a:cubicBezTo>
                    <a:lnTo>
                      <a:pt x="81212" y="125297"/>
                    </a:lnTo>
                    <a:cubicBezTo>
                      <a:pt x="80595" y="125477"/>
                      <a:pt x="79953" y="125605"/>
                      <a:pt x="79362" y="125605"/>
                    </a:cubicBezTo>
                    <a:close/>
                    <a:moveTo>
                      <a:pt x="73426" y="101218"/>
                    </a:moveTo>
                    <a:cubicBezTo>
                      <a:pt x="75379" y="101218"/>
                      <a:pt x="77178" y="102400"/>
                      <a:pt x="77949" y="104276"/>
                    </a:cubicBezTo>
                    <a:lnTo>
                      <a:pt x="82035" y="114350"/>
                    </a:lnTo>
                    <a:lnTo>
                      <a:pt x="86018" y="112731"/>
                    </a:lnTo>
                    <a:lnTo>
                      <a:pt x="81906" y="102657"/>
                    </a:lnTo>
                    <a:cubicBezTo>
                      <a:pt x="81007" y="100422"/>
                      <a:pt x="81855" y="97878"/>
                      <a:pt x="83910" y="96644"/>
                    </a:cubicBezTo>
                    <a:cubicBezTo>
                      <a:pt x="88947" y="93612"/>
                      <a:pt x="93316" y="89397"/>
                      <a:pt x="96528" y="84464"/>
                    </a:cubicBezTo>
                    <a:cubicBezTo>
                      <a:pt x="97838" y="82433"/>
                      <a:pt x="100434" y="81688"/>
                      <a:pt x="102618" y="82665"/>
                    </a:cubicBezTo>
                    <a:lnTo>
                      <a:pt x="112537" y="87110"/>
                    </a:lnTo>
                    <a:lnTo>
                      <a:pt x="114285" y="83204"/>
                    </a:lnTo>
                    <a:lnTo>
                      <a:pt x="104340" y="78784"/>
                    </a:lnTo>
                    <a:cubicBezTo>
                      <a:pt x="102155" y="77808"/>
                      <a:pt x="100999" y="75367"/>
                      <a:pt x="101616" y="73054"/>
                    </a:cubicBezTo>
                    <a:cubicBezTo>
                      <a:pt x="103158" y="67349"/>
                      <a:pt x="103389" y="61284"/>
                      <a:pt x="102258" y="55528"/>
                    </a:cubicBezTo>
                    <a:cubicBezTo>
                      <a:pt x="101796" y="53164"/>
                      <a:pt x="103132" y="50826"/>
                      <a:pt x="105393" y="50003"/>
                    </a:cubicBezTo>
                    <a:lnTo>
                      <a:pt x="115647" y="46329"/>
                    </a:lnTo>
                    <a:lnTo>
                      <a:pt x="114208" y="42320"/>
                    </a:lnTo>
                    <a:lnTo>
                      <a:pt x="103954" y="45995"/>
                    </a:lnTo>
                    <a:cubicBezTo>
                      <a:pt x="101693" y="46791"/>
                      <a:pt x="99175" y="45840"/>
                      <a:pt x="98044" y="43759"/>
                    </a:cubicBezTo>
                    <a:cubicBezTo>
                      <a:pt x="94935" y="38080"/>
                      <a:pt x="90437" y="33223"/>
                      <a:pt x="85067" y="29728"/>
                    </a:cubicBezTo>
                    <a:cubicBezTo>
                      <a:pt x="83062" y="28417"/>
                      <a:pt x="82291" y="25848"/>
                      <a:pt x="83268" y="23638"/>
                    </a:cubicBezTo>
                    <a:lnTo>
                      <a:pt x="87714" y="13693"/>
                    </a:lnTo>
                    <a:lnTo>
                      <a:pt x="83833" y="11945"/>
                    </a:lnTo>
                    <a:lnTo>
                      <a:pt x="79388" y="21890"/>
                    </a:lnTo>
                    <a:cubicBezTo>
                      <a:pt x="78411" y="24075"/>
                      <a:pt x="76021" y="25231"/>
                      <a:pt x="73683" y="24614"/>
                    </a:cubicBezTo>
                    <a:cubicBezTo>
                      <a:pt x="67413" y="22944"/>
                      <a:pt x="60808" y="22841"/>
                      <a:pt x="54564" y="24306"/>
                    </a:cubicBezTo>
                    <a:cubicBezTo>
                      <a:pt x="52225" y="24871"/>
                      <a:pt x="49836" y="23612"/>
                      <a:pt x="48936" y="21376"/>
                    </a:cubicBezTo>
                    <a:lnTo>
                      <a:pt x="44825" y="11277"/>
                    </a:lnTo>
                    <a:lnTo>
                      <a:pt x="40867" y="12871"/>
                    </a:lnTo>
                    <a:lnTo>
                      <a:pt x="44979" y="22970"/>
                    </a:lnTo>
                    <a:cubicBezTo>
                      <a:pt x="45878" y="25205"/>
                      <a:pt x="45030" y="27749"/>
                      <a:pt x="42974" y="28983"/>
                    </a:cubicBezTo>
                    <a:cubicBezTo>
                      <a:pt x="37835" y="32092"/>
                      <a:pt x="33595" y="36178"/>
                      <a:pt x="30331" y="41189"/>
                    </a:cubicBezTo>
                    <a:cubicBezTo>
                      <a:pt x="29021" y="43194"/>
                      <a:pt x="26451" y="43964"/>
                      <a:pt x="24241" y="42988"/>
                    </a:cubicBezTo>
                    <a:lnTo>
                      <a:pt x="14322" y="38568"/>
                    </a:lnTo>
                    <a:lnTo>
                      <a:pt x="12574" y="42474"/>
                    </a:lnTo>
                    <a:lnTo>
                      <a:pt x="22519" y="46920"/>
                    </a:lnTo>
                    <a:cubicBezTo>
                      <a:pt x="24704" y="47896"/>
                      <a:pt x="25860" y="50337"/>
                      <a:pt x="25243" y="52650"/>
                    </a:cubicBezTo>
                    <a:cubicBezTo>
                      <a:pt x="23701" y="58329"/>
                      <a:pt x="23470" y="64394"/>
                      <a:pt x="24601" y="70150"/>
                    </a:cubicBezTo>
                    <a:cubicBezTo>
                      <a:pt x="25063" y="72514"/>
                      <a:pt x="23727" y="74853"/>
                      <a:pt x="21466" y="75675"/>
                    </a:cubicBezTo>
                    <a:lnTo>
                      <a:pt x="11212" y="79350"/>
                    </a:lnTo>
                    <a:lnTo>
                      <a:pt x="12651" y="83384"/>
                    </a:lnTo>
                    <a:lnTo>
                      <a:pt x="22905" y="79710"/>
                    </a:lnTo>
                    <a:cubicBezTo>
                      <a:pt x="25166" y="78913"/>
                      <a:pt x="27659" y="79838"/>
                      <a:pt x="28815" y="81945"/>
                    </a:cubicBezTo>
                    <a:cubicBezTo>
                      <a:pt x="31950" y="87624"/>
                      <a:pt x="36447" y="92481"/>
                      <a:pt x="41818" y="95976"/>
                    </a:cubicBezTo>
                    <a:cubicBezTo>
                      <a:pt x="43822" y="97287"/>
                      <a:pt x="44593" y="99856"/>
                      <a:pt x="43617" y="102066"/>
                    </a:cubicBezTo>
                    <a:lnTo>
                      <a:pt x="39197" y="111986"/>
                    </a:lnTo>
                    <a:lnTo>
                      <a:pt x="43103" y="113707"/>
                    </a:lnTo>
                    <a:lnTo>
                      <a:pt x="47523" y="103788"/>
                    </a:lnTo>
                    <a:cubicBezTo>
                      <a:pt x="48499" y="101604"/>
                      <a:pt x="50915" y="100447"/>
                      <a:pt x="53228" y="101064"/>
                    </a:cubicBezTo>
                    <a:cubicBezTo>
                      <a:pt x="59472" y="102734"/>
                      <a:pt x="66102" y="102837"/>
                      <a:pt x="72372" y="101372"/>
                    </a:cubicBezTo>
                    <a:cubicBezTo>
                      <a:pt x="72681" y="101270"/>
                      <a:pt x="73066" y="101218"/>
                      <a:pt x="73426" y="101218"/>
                    </a:cubicBezTo>
                    <a:close/>
                  </a:path>
                </a:pathLst>
              </a:custGeom>
              <a:grpFill/>
              <a:ln w="2565" cap="flat">
                <a:noFill/>
                <a:prstDash val="solid"/>
                <a:miter/>
              </a:ln>
            </p:spPr>
            <p:txBody>
              <a:bodyPr rtlCol="0" anchor="ctr"/>
              <a:lstStyle/>
              <a:p>
                <a:endParaRPr lang="en-GB" dirty="0"/>
              </a:p>
            </p:txBody>
          </p:sp>
          <p:sp>
            <p:nvSpPr>
              <p:cNvPr id="636" name="Freihandform: Form 942">
                <a:extLst>
                  <a:ext uri="{FF2B5EF4-FFF2-40B4-BE49-F238E27FC236}">
                    <a16:creationId xmlns:a16="http://schemas.microsoft.com/office/drawing/2014/main" id="{BF55C934-13DC-4E4E-B4C7-904A59E4BEC3}"/>
                  </a:ext>
                </a:extLst>
              </p:cNvPr>
              <p:cNvSpPr/>
              <p:nvPr/>
            </p:nvSpPr>
            <p:spPr>
              <a:xfrm>
                <a:off x="7318793" y="2026177"/>
                <a:ext cx="126807" cy="125605"/>
              </a:xfrm>
              <a:custGeom>
                <a:avLst/>
                <a:gdLst>
                  <a:gd name="connsiteX0" fmla="*/ 79362 w 126807"/>
                  <a:gd name="connsiteY0" fmla="*/ 125605 h 125605"/>
                  <a:gd name="connsiteX1" fmla="*/ 77460 w 126807"/>
                  <a:gd name="connsiteY1" fmla="*/ 125220 h 125605"/>
                  <a:gd name="connsiteX2" fmla="*/ 74839 w 126807"/>
                  <a:gd name="connsiteY2" fmla="*/ 122547 h 125605"/>
                  <a:gd name="connsiteX3" fmla="*/ 70419 w 126807"/>
                  <a:gd name="connsiteY3" fmla="*/ 111626 h 125605"/>
                  <a:gd name="connsiteX4" fmla="*/ 54770 w 126807"/>
                  <a:gd name="connsiteY4" fmla="*/ 111369 h 125605"/>
                  <a:gd name="connsiteX5" fmla="*/ 49964 w 126807"/>
                  <a:gd name="connsiteY5" fmla="*/ 122110 h 125605"/>
                  <a:gd name="connsiteX6" fmla="*/ 43514 w 126807"/>
                  <a:gd name="connsiteY6" fmla="*/ 124577 h 125605"/>
                  <a:gd name="connsiteX7" fmla="*/ 30691 w 126807"/>
                  <a:gd name="connsiteY7" fmla="*/ 118872 h 125605"/>
                  <a:gd name="connsiteX8" fmla="*/ 28121 w 126807"/>
                  <a:gd name="connsiteY8" fmla="*/ 116149 h 125605"/>
                  <a:gd name="connsiteX9" fmla="*/ 28224 w 126807"/>
                  <a:gd name="connsiteY9" fmla="*/ 112422 h 125605"/>
                  <a:gd name="connsiteX10" fmla="*/ 33029 w 126807"/>
                  <a:gd name="connsiteY10" fmla="*/ 101655 h 125605"/>
                  <a:gd name="connsiteX11" fmla="*/ 22391 w 126807"/>
                  <a:gd name="connsiteY11" fmla="*/ 90168 h 125605"/>
                  <a:gd name="connsiteX12" fmla="*/ 11289 w 126807"/>
                  <a:gd name="connsiteY12" fmla="*/ 94152 h 125605"/>
                  <a:gd name="connsiteX13" fmla="*/ 5045 w 126807"/>
                  <a:gd name="connsiteY13" fmla="*/ 91196 h 125605"/>
                  <a:gd name="connsiteX14" fmla="*/ 291 w 126807"/>
                  <a:gd name="connsiteY14" fmla="*/ 77988 h 125605"/>
                  <a:gd name="connsiteX15" fmla="*/ 471 w 126807"/>
                  <a:gd name="connsiteY15" fmla="*/ 74262 h 125605"/>
                  <a:gd name="connsiteX16" fmla="*/ 3246 w 126807"/>
                  <a:gd name="connsiteY16" fmla="*/ 71743 h 125605"/>
                  <a:gd name="connsiteX17" fmla="*/ 14347 w 126807"/>
                  <a:gd name="connsiteY17" fmla="*/ 67760 h 125605"/>
                  <a:gd name="connsiteX18" fmla="*/ 14861 w 126807"/>
                  <a:gd name="connsiteY18" fmla="*/ 54141 h 125605"/>
                  <a:gd name="connsiteX19" fmla="*/ 4120 w 126807"/>
                  <a:gd name="connsiteY19" fmla="*/ 49335 h 125605"/>
                  <a:gd name="connsiteX20" fmla="*/ 1653 w 126807"/>
                  <a:gd name="connsiteY20" fmla="*/ 42885 h 125605"/>
                  <a:gd name="connsiteX21" fmla="*/ 7383 w 126807"/>
                  <a:gd name="connsiteY21" fmla="*/ 30062 h 125605"/>
                  <a:gd name="connsiteX22" fmla="*/ 10082 w 126807"/>
                  <a:gd name="connsiteY22" fmla="*/ 27492 h 125605"/>
                  <a:gd name="connsiteX23" fmla="*/ 13808 w 126807"/>
                  <a:gd name="connsiteY23" fmla="*/ 27595 h 125605"/>
                  <a:gd name="connsiteX24" fmla="*/ 24549 w 126807"/>
                  <a:gd name="connsiteY24" fmla="*/ 32401 h 125605"/>
                  <a:gd name="connsiteX25" fmla="*/ 34366 w 126807"/>
                  <a:gd name="connsiteY25" fmla="*/ 22918 h 125605"/>
                  <a:gd name="connsiteX26" fmla="*/ 29920 w 126807"/>
                  <a:gd name="connsiteY26" fmla="*/ 11997 h 125605"/>
                  <a:gd name="connsiteX27" fmla="*/ 29946 w 126807"/>
                  <a:gd name="connsiteY27" fmla="*/ 8245 h 125605"/>
                  <a:gd name="connsiteX28" fmla="*/ 32618 w 126807"/>
                  <a:gd name="connsiteY28" fmla="*/ 5624 h 125605"/>
                  <a:gd name="connsiteX29" fmla="*/ 45621 w 126807"/>
                  <a:gd name="connsiteY29" fmla="*/ 356 h 125605"/>
                  <a:gd name="connsiteX30" fmla="*/ 51968 w 126807"/>
                  <a:gd name="connsiteY30" fmla="*/ 3054 h 125605"/>
                  <a:gd name="connsiteX31" fmla="*/ 56414 w 126807"/>
                  <a:gd name="connsiteY31" fmla="*/ 13975 h 125605"/>
                  <a:gd name="connsiteX32" fmla="*/ 72064 w 126807"/>
                  <a:gd name="connsiteY32" fmla="*/ 14232 h 125605"/>
                  <a:gd name="connsiteX33" fmla="*/ 76869 w 126807"/>
                  <a:gd name="connsiteY33" fmla="*/ 3465 h 125605"/>
                  <a:gd name="connsiteX34" fmla="*/ 83319 w 126807"/>
                  <a:gd name="connsiteY34" fmla="*/ 998 h 125605"/>
                  <a:gd name="connsiteX35" fmla="*/ 96117 w 126807"/>
                  <a:gd name="connsiteY35" fmla="*/ 6729 h 125605"/>
                  <a:gd name="connsiteX36" fmla="*/ 98584 w 126807"/>
                  <a:gd name="connsiteY36" fmla="*/ 13179 h 125605"/>
                  <a:gd name="connsiteX37" fmla="*/ 93778 w 126807"/>
                  <a:gd name="connsiteY37" fmla="*/ 23946 h 125605"/>
                  <a:gd name="connsiteX38" fmla="*/ 104417 w 126807"/>
                  <a:gd name="connsiteY38" fmla="*/ 35433 h 125605"/>
                  <a:gd name="connsiteX39" fmla="*/ 115518 w 126807"/>
                  <a:gd name="connsiteY39" fmla="*/ 31475 h 125605"/>
                  <a:gd name="connsiteX40" fmla="*/ 121763 w 126807"/>
                  <a:gd name="connsiteY40" fmla="*/ 34405 h 125605"/>
                  <a:gd name="connsiteX41" fmla="*/ 126517 w 126807"/>
                  <a:gd name="connsiteY41" fmla="*/ 47613 h 125605"/>
                  <a:gd name="connsiteX42" fmla="*/ 126337 w 126807"/>
                  <a:gd name="connsiteY42" fmla="*/ 51340 h 125605"/>
                  <a:gd name="connsiteX43" fmla="*/ 123561 w 126807"/>
                  <a:gd name="connsiteY43" fmla="*/ 53858 h 125605"/>
                  <a:gd name="connsiteX44" fmla="*/ 112460 w 126807"/>
                  <a:gd name="connsiteY44" fmla="*/ 57841 h 125605"/>
                  <a:gd name="connsiteX45" fmla="*/ 111946 w 126807"/>
                  <a:gd name="connsiteY45" fmla="*/ 71486 h 125605"/>
                  <a:gd name="connsiteX46" fmla="*/ 122714 w 126807"/>
                  <a:gd name="connsiteY46" fmla="*/ 76292 h 125605"/>
                  <a:gd name="connsiteX47" fmla="*/ 125283 w 126807"/>
                  <a:gd name="connsiteY47" fmla="*/ 79016 h 125605"/>
                  <a:gd name="connsiteX48" fmla="*/ 125180 w 126807"/>
                  <a:gd name="connsiteY48" fmla="*/ 82742 h 125605"/>
                  <a:gd name="connsiteX49" fmla="*/ 119450 w 126807"/>
                  <a:gd name="connsiteY49" fmla="*/ 95565 h 125605"/>
                  <a:gd name="connsiteX50" fmla="*/ 113000 w 126807"/>
                  <a:gd name="connsiteY50" fmla="*/ 98032 h 125605"/>
                  <a:gd name="connsiteX51" fmla="*/ 102258 w 126807"/>
                  <a:gd name="connsiteY51" fmla="*/ 93226 h 125605"/>
                  <a:gd name="connsiteX52" fmla="*/ 92442 w 126807"/>
                  <a:gd name="connsiteY52" fmla="*/ 102709 h 125605"/>
                  <a:gd name="connsiteX53" fmla="*/ 96888 w 126807"/>
                  <a:gd name="connsiteY53" fmla="*/ 113630 h 125605"/>
                  <a:gd name="connsiteX54" fmla="*/ 96862 w 126807"/>
                  <a:gd name="connsiteY54" fmla="*/ 117356 h 125605"/>
                  <a:gd name="connsiteX55" fmla="*/ 94215 w 126807"/>
                  <a:gd name="connsiteY55" fmla="*/ 119977 h 125605"/>
                  <a:gd name="connsiteX56" fmla="*/ 81186 w 126807"/>
                  <a:gd name="connsiteY56" fmla="*/ 125271 h 125605"/>
                  <a:gd name="connsiteX57" fmla="*/ 79362 w 126807"/>
                  <a:gd name="connsiteY57" fmla="*/ 125605 h 125605"/>
                  <a:gd name="connsiteX58" fmla="*/ 73451 w 126807"/>
                  <a:gd name="connsiteY58" fmla="*/ 101218 h 125605"/>
                  <a:gd name="connsiteX59" fmla="*/ 77974 w 126807"/>
                  <a:gd name="connsiteY59" fmla="*/ 104276 h 125605"/>
                  <a:gd name="connsiteX60" fmla="*/ 82060 w 126807"/>
                  <a:gd name="connsiteY60" fmla="*/ 114350 h 125605"/>
                  <a:gd name="connsiteX61" fmla="*/ 86018 w 126807"/>
                  <a:gd name="connsiteY61" fmla="*/ 112731 h 125605"/>
                  <a:gd name="connsiteX62" fmla="*/ 81906 w 126807"/>
                  <a:gd name="connsiteY62" fmla="*/ 102632 h 125605"/>
                  <a:gd name="connsiteX63" fmla="*/ 83910 w 126807"/>
                  <a:gd name="connsiteY63" fmla="*/ 96618 h 125605"/>
                  <a:gd name="connsiteX64" fmla="*/ 96528 w 126807"/>
                  <a:gd name="connsiteY64" fmla="*/ 84438 h 125605"/>
                  <a:gd name="connsiteX65" fmla="*/ 102618 w 126807"/>
                  <a:gd name="connsiteY65" fmla="*/ 82639 h 125605"/>
                  <a:gd name="connsiteX66" fmla="*/ 112537 w 126807"/>
                  <a:gd name="connsiteY66" fmla="*/ 87085 h 125605"/>
                  <a:gd name="connsiteX67" fmla="*/ 114285 w 126807"/>
                  <a:gd name="connsiteY67" fmla="*/ 83179 h 125605"/>
                  <a:gd name="connsiteX68" fmla="*/ 104340 w 126807"/>
                  <a:gd name="connsiteY68" fmla="*/ 78759 h 125605"/>
                  <a:gd name="connsiteX69" fmla="*/ 101616 w 126807"/>
                  <a:gd name="connsiteY69" fmla="*/ 73028 h 125605"/>
                  <a:gd name="connsiteX70" fmla="*/ 102258 w 126807"/>
                  <a:gd name="connsiteY70" fmla="*/ 55503 h 125605"/>
                  <a:gd name="connsiteX71" fmla="*/ 105393 w 126807"/>
                  <a:gd name="connsiteY71" fmla="*/ 49978 h 125605"/>
                  <a:gd name="connsiteX72" fmla="*/ 115647 w 126807"/>
                  <a:gd name="connsiteY72" fmla="*/ 46303 h 125605"/>
                  <a:gd name="connsiteX73" fmla="*/ 114208 w 126807"/>
                  <a:gd name="connsiteY73" fmla="*/ 42294 h 125605"/>
                  <a:gd name="connsiteX74" fmla="*/ 103954 w 126807"/>
                  <a:gd name="connsiteY74" fmla="*/ 45969 h 125605"/>
                  <a:gd name="connsiteX75" fmla="*/ 98044 w 126807"/>
                  <a:gd name="connsiteY75" fmla="*/ 43733 h 125605"/>
                  <a:gd name="connsiteX76" fmla="*/ 85067 w 126807"/>
                  <a:gd name="connsiteY76" fmla="*/ 29702 h 125605"/>
                  <a:gd name="connsiteX77" fmla="*/ 83268 w 126807"/>
                  <a:gd name="connsiteY77" fmla="*/ 23612 h 125605"/>
                  <a:gd name="connsiteX78" fmla="*/ 87714 w 126807"/>
                  <a:gd name="connsiteY78" fmla="*/ 13667 h 125605"/>
                  <a:gd name="connsiteX79" fmla="*/ 83833 w 126807"/>
                  <a:gd name="connsiteY79" fmla="*/ 11920 h 125605"/>
                  <a:gd name="connsiteX80" fmla="*/ 79388 w 126807"/>
                  <a:gd name="connsiteY80" fmla="*/ 21865 h 125605"/>
                  <a:gd name="connsiteX81" fmla="*/ 73683 w 126807"/>
                  <a:gd name="connsiteY81" fmla="*/ 24589 h 125605"/>
                  <a:gd name="connsiteX82" fmla="*/ 54564 w 126807"/>
                  <a:gd name="connsiteY82" fmla="*/ 24280 h 125605"/>
                  <a:gd name="connsiteX83" fmla="*/ 48936 w 126807"/>
                  <a:gd name="connsiteY83" fmla="*/ 21351 h 125605"/>
                  <a:gd name="connsiteX84" fmla="*/ 44825 w 126807"/>
                  <a:gd name="connsiteY84" fmla="*/ 11252 h 125605"/>
                  <a:gd name="connsiteX85" fmla="*/ 40867 w 126807"/>
                  <a:gd name="connsiteY85" fmla="*/ 12845 h 125605"/>
                  <a:gd name="connsiteX86" fmla="*/ 44979 w 126807"/>
                  <a:gd name="connsiteY86" fmla="*/ 22944 h 125605"/>
                  <a:gd name="connsiteX87" fmla="*/ 42974 w 126807"/>
                  <a:gd name="connsiteY87" fmla="*/ 28957 h 125605"/>
                  <a:gd name="connsiteX88" fmla="*/ 30331 w 126807"/>
                  <a:gd name="connsiteY88" fmla="*/ 41163 h 125605"/>
                  <a:gd name="connsiteX89" fmla="*/ 24241 w 126807"/>
                  <a:gd name="connsiteY89" fmla="*/ 42962 h 125605"/>
                  <a:gd name="connsiteX90" fmla="*/ 14322 w 126807"/>
                  <a:gd name="connsiteY90" fmla="*/ 38542 h 125605"/>
                  <a:gd name="connsiteX91" fmla="*/ 12574 w 126807"/>
                  <a:gd name="connsiteY91" fmla="*/ 42448 h 125605"/>
                  <a:gd name="connsiteX92" fmla="*/ 22519 w 126807"/>
                  <a:gd name="connsiteY92" fmla="*/ 46894 h 125605"/>
                  <a:gd name="connsiteX93" fmla="*/ 25243 w 126807"/>
                  <a:gd name="connsiteY93" fmla="*/ 52624 h 125605"/>
                  <a:gd name="connsiteX94" fmla="*/ 24601 w 126807"/>
                  <a:gd name="connsiteY94" fmla="*/ 70124 h 125605"/>
                  <a:gd name="connsiteX95" fmla="*/ 21466 w 126807"/>
                  <a:gd name="connsiteY95" fmla="*/ 75649 h 125605"/>
                  <a:gd name="connsiteX96" fmla="*/ 11212 w 126807"/>
                  <a:gd name="connsiteY96" fmla="*/ 79324 h 125605"/>
                  <a:gd name="connsiteX97" fmla="*/ 12651 w 126807"/>
                  <a:gd name="connsiteY97" fmla="*/ 83359 h 125605"/>
                  <a:gd name="connsiteX98" fmla="*/ 22905 w 126807"/>
                  <a:gd name="connsiteY98" fmla="*/ 79684 h 125605"/>
                  <a:gd name="connsiteX99" fmla="*/ 28815 w 126807"/>
                  <a:gd name="connsiteY99" fmla="*/ 81920 h 125605"/>
                  <a:gd name="connsiteX100" fmla="*/ 41818 w 126807"/>
                  <a:gd name="connsiteY100" fmla="*/ 95950 h 125605"/>
                  <a:gd name="connsiteX101" fmla="*/ 43617 w 126807"/>
                  <a:gd name="connsiteY101" fmla="*/ 102041 h 125605"/>
                  <a:gd name="connsiteX102" fmla="*/ 39197 w 126807"/>
                  <a:gd name="connsiteY102" fmla="*/ 111960 h 125605"/>
                  <a:gd name="connsiteX103" fmla="*/ 43077 w 126807"/>
                  <a:gd name="connsiteY103" fmla="*/ 113682 h 125605"/>
                  <a:gd name="connsiteX104" fmla="*/ 47523 w 126807"/>
                  <a:gd name="connsiteY104" fmla="*/ 103762 h 125605"/>
                  <a:gd name="connsiteX105" fmla="*/ 53228 w 126807"/>
                  <a:gd name="connsiteY105" fmla="*/ 101038 h 125605"/>
                  <a:gd name="connsiteX106" fmla="*/ 72372 w 126807"/>
                  <a:gd name="connsiteY106" fmla="*/ 101347 h 125605"/>
                  <a:gd name="connsiteX107" fmla="*/ 73451 w 126807"/>
                  <a:gd name="connsiteY107" fmla="*/ 101218 h 12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26807" h="125605">
                    <a:moveTo>
                      <a:pt x="79362" y="125605"/>
                    </a:moveTo>
                    <a:cubicBezTo>
                      <a:pt x="78719" y="125605"/>
                      <a:pt x="78077" y="125477"/>
                      <a:pt x="77460" y="125220"/>
                    </a:cubicBezTo>
                    <a:cubicBezTo>
                      <a:pt x="76253" y="124706"/>
                      <a:pt x="75328" y="123755"/>
                      <a:pt x="74839" y="122547"/>
                    </a:cubicBezTo>
                    <a:lnTo>
                      <a:pt x="70419" y="111626"/>
                    </a:lnTo>
                    <a:cubicBezTo>
                      <a:pt x="65228" y="112371"/>
                      <a:pt x="59935" y="112268"/>
                      <a:pt x="54770" y="111369"/>
                    </a:cubicBezTo>
                    <a:lnTo>
                      <a:pt x="49964" y="122110"/>
                    </a:lnTo>
                    <a:cubicBezTo>
                      <a:pt x="48859" y="124577"/>
                      <a:pt x="45955" y="125657"/>
                      <a:pt x="43514" y="124577"/>
                    </a:cubicBezTo>
                    <a:lnTo>
                      <a:pt x="30691" y="118872"/>
                    </a:lnTo>
                    <a:cubicBezTo>
                      <a:pt x="29509" y="118333"/>
                      <a:pt x="28584" y="117382"/>
                      <a:pt x="28121" y="116149"/>
                    </a:cubicBezTo>
                    <a:cubicBezTo>
                      <a:pt x="27659" y="114941"/>
                      <a:pt x="27684" y="113604"/>
                      <a:pt x="28224" y="112422"/>
                    </a:cubicBezTo>
                    <a:lnTo>
                      <a:pt x="33029" y="101655"/>
                    </a:lnTo>
                    <a:cubicBezTo>
                      <a:pt x="28918" y="98443"/>
                      <a:pt x="25320" y="94537"/>
                      <a:pt x="22391" y="90168"/>
                    </a:cubicBezTo>
                    <a:lnTo>
                      <a:pt x="11289" y="94152"/>
                    </a:lnTo>
                    <a:cubicBezTo>
                      <a:pt x="8745" y="95051"/>
                      <a:pt x="5970" y="93740"/>
                      <a:pt x="5045" y="91196"/>
                    </a:cubicBezTo>
                    <a:lnTo>
                      <a:pt x="291" y="77988"/>
                    </a:lnTo>
                    <a:cubicBezTo>
                      <a:pt x="-146" y="76754"/>
                      <a:pt x="-95" y="75418"/>
                      <a:pt x="471" y="74262"/>
                    </a:cubicBezTo>
                    <a:cubicBezTo>
                      <a:pt x="1036" y="73080"/>
                      <a:pt x="2013" y="72180"/>
                      <a:pt x="3246" y="71743"/>
                    </a:cubicBezTo>
                    <a:lnTo>
                      <a:pt x="14347" y="67760"/>
                    </a:lnTo>
                    <a:cubicBezTo>
                      <a:pt x="13885" y="63237"/>
                      <a:pt x="14065" y="58612"/>
                      <a:pt x="14861" y="54141"/>
                    </a:cubicBezTo>
                    <a:lnTo>
                      <a:pt x="4120" y="49335"/>
                    </a:lnTo>
                    <a:cubicBezTo>
                      <a:pt x="1653" y="48230"/>
                      <a:pt x="548" y="45352"/>
                      <a:pt x="1653" y="42885"/>
                    </a:cubicBezTo>
                    <a:lnTo>
                      <a:pt x="7383" y="30062"/>
                    </a:lnTo>
                    <a:cubicBezTo>
                      <a:pt x="7923" y="28880"/>
                      <a:pt x="8874" y="27955"/>
                      <a:pt x="10082" y="27492"/>
                    </a:cubicBezTo>
                    <a:cubicBezTo>
                      <a:pt x="11289" y="27030"/>
                      <a:pt x="12651" y="27056"/>
                      <a:pt x="13808" y="27595"/>
                    </a:cubicBezTo>
                    <a:lnTo>
                      <a:pt x="24549" y="32401"/>
                    </a:lnTo>
                    <a:cubicBezTo>
                      <a:pt x="27350" y="28803"/>
                      <a:pt x="30665" y="25616"/>
                      <a:pt x="34366" y="22918"/>
                    </a:cubicBezTo>
                    <a:lnTo>
                      <a:pt x="29920" y="11997"/>
                    </a:lnTo>
                    <a:cubicBezTo>
                      <a:pt x="29432" y="10789"/>
                      <a:pt x="29432" y="9453"/>
                      <a:pt x="29946" y="8245"/>
                    </a:cubicBezTo>
                    <a:cubicBezTo>
                      <a:pt x="30460" y="7037"/>
                      <a:pt x="31411" y="6112"/>
                      <a:pt x="32618" y="5624"/>
                    </a:cubicBezTo>
                    <a:lnTo>
                      <a:pt x="45621" y="356"/>
                    </a:lnTo>
                    <a:cubicBezTo>
                      <a:pt x="48088" y="-646"/>
                      <a:pt x="50966" y="536"/>
                      <a:pt x="51968" y="3054"/>
                    </a:cubicBezTo>
                    <a:lnTo>
                      <a:pt x="56414" y="13975"/>
                    </a:lnTo>
                    <a:cubicBezTo>
                      <a:pt x="61605" y="13230"/>
                      <a:pt x="66899" y="13333"/>
                      <a:pt x="72064" y="14232"/>
                    </a:cubicBezTo>
                    <a:lnTo>
                      <a:pt x="76869" y="3465"/>
                    </a:lnTo>
                    <a:cubicBezTo>
                      <a:pt x="77974" y="998"/>
                      <a:pt x="80852" y="-81"/>
                      <a:pt x="83319" y="998"/>
                    </a:cubicBezTo>
                    <a:lnTo>
                      <a:pt x="96117" y="6729"/>
                    </a:lnTo>
                    <a:cubicBezTo>
                      <a:pt x="98584" y="7834"/>
                      <a:pt x="99689" y="10712"/>
                      <a:pt x="98584" y="13179"/>
                    </a:cubicBezTo>
                    <a:lnTo>
                      <a:pt x="93778" y="23946"/>
                    </a:lnTo>
                    <a:cubicBezTo>
                      <a:pt x="97890" y="27158"/>
                      <a:pt x="101487" y="31039"/>
                      <a:pt x="104417" y="35433"/>
                    </a:cubicBezTo>
                    <a:lnTo>
                      <a:pt x="115518" y="31475"/>
                    </a:lnTo>
                    <a:cubicBezTo>
                      <a:pt x="118037" y="30576"/>
                      <a:pt x="120838" y="31887"/>
                      <a:pt x="121763" y="34405"/>
                    </a:cubicBezTo>
                    <a:lnTo>
                      <a:pt x="126517" y="47613"/>
                    </a:lnTo>
                    <a:cubicBezTo>
                      <a:pt x="126954" y="48847"/>
                      <a:pt x="126902" y="50183"/>
                      <a:pt x="126337" y="51340"/>
                    </a:cubicBezTo>
                    <a:cubicBezTo>
                      <a:pt x="125771" y="52522"/>
                      <a:pt x="124795" y="53421"/>
                      <a:pt x="123561" y="53858"/>
                    </a:cubicBezTo>
                    <a:lnTo>
                      <a:pt x="112460" y="57841"/>
                    </a:lnTo>
                    <a:cubicBezTo>
                      <a:pt x="112923" y="62364"/>
                      <a:pt x="112769" y="66989"/>
                      <a:pt x="111946" y="71486"/>
                    </a:cubicBezTo>
                    <a:lnTo>
                      <a:pt x="122714" y="76292"/>
                    </a:lnTo>
                    <a:cubicBezTo>
                      <a:pt x="123896" y="76831"/>
                      <a:pt x="124821" y="77808"/>
                      <a:pt x="125283" y="79016"/>
                    </a:cubicBezTo>
                    <a:cubicBezTo>
                      <a:pt x="125746" y="80223"/>
                      <a:pt x="125720" y="81560"/>
                      <a:pt x="125180" y="82742"/>
                    </a:cubicBezTo>
                    <a:lnTo>
                      <a:pt x="119450" y="95565"/>
                    </a:lnTo>
                    <a:cubicBezTo>
                      <a:pt x="118345" y="98032"/>
                      <a:pt x="115441" y="99111"/>
                      <a:pt x="113000" y="98032"/>
                    </a:cubicBezTo>
                    <a:lnTo>
                      <a:pt x="102258" y="93226"/>
                    </a:lnTo>
                    <a:cubicBezTo>
                      <a:pt x="99432" y="96824"/>
                      <a:pt x="96142" y="100011"/>
                      <a:pt x="92442" y="102709"/>
                    </a:cubicBezTo>
                    <a:lnTo>
                      <a:pt x="96888" y="113630"/>
                    </a:lnTo>
                    <a:cubicBezTo>
                      <a:pt x="97376" y="114838"/>
                      <a:pt x="97376" y="116174"/>
                      <a:pt x="96862" y="117356"/>
                    </a:cubicBezTo>
                    <a:cubicBezTo>
                      <a:pt x="96348" y="118538"/>
                      <a:pt x="95397" y="119489"/>
                      <a:pt x="94215" y="119977"/>
                    </a:cubicBezTo>
                    <a:lnTo>
                      <a:pt x="81186" y="125271"/>
                    </a:lnTo>
                    <a:cubicBezTo>
                      <a:pt x="80621" y="125477"/>
                      <a:pt x="80004" y="125605"/>
                      <a:pt x="79362" y="125605"/>
                    </a:cubicBezTo>
                    <a:close/>
                    <a:moveTo>
                      <a:pt x="73451" y="101218"/>
                    </a:moveTo>
                    <a:cubicBezTo>
                      <a:pt x="75405" y="101218"/>
                      <a:pt x="77203" y="102400"/>
                      <a:pt x="77974" y="104276"/>
                    </a:cubicBezTo>
                    <a:lnTo>
                      <a:pt x="82060" y="114350"/>
                    </a:lnTo>
                    <a:lnTo>
                      <a:pt x="86018" y="112731"/>
                    </a:lnTo>
                    <a:lnTo>
                      <a:pt x="81906" y="102632"/>
                    </a:lnTo>
                    <a:cubicBezTo>
                      <a:pt x="81007" y="100396"/>
                      <a:pt x="81855" y="97852"/>
                      <a:pt x="83910" y="96618"/>
                    </a:cubicBezTo>
                    <a:cubicBezTo>
                      <a:pt x="88947" y="93586"/>
                      <a:pt x="93316" y="89372"/>
                      <a:pt x="96528" y="84438"/>
                    </a:cubicBezTo>
                    <a:cubicBezTo>
                      <a:pt x="97838" y="82408"/>
                      <a:pt x="100434" y="81663"/>
                      <a:pt x="102618" y="82639"/>
                    </a:cubicBezTo>
                    <a:lnTo>
                      <a:pt x="112537" y="87085"/>
                    </a:lnTo>
                    <a:lnTo>
                      <a:pt x="114285" y="83179"/>
                    </a:lnTo>
                    <a:lnTo>
                      <a:pt x="104340" y="78759"/>
                    </a:lnTo>
                    <a:cubicBezTo>
                      <a:pt x="102156" y="77782"/>
                      <a:pt x="100999" y="75341"/>
                      <a:pt x="101616" y="73028"/>
                    </a:cubicBezTo>
                    <a:cubicBezTo>
                      <a:pt x="103158" y="67323"/>
                      <a:pt x="103389" y="61259"/>
                      <a:pt x="102258" y="55503"/>
                    </a:cubicBezTo>
                    <a:cubicBezTo>
                      <a:pt x="101796" y="53138"/>
                      <a:pt x="103132" y="50800"/>
                      <a:pt x="105393" y="49978"/>
                    </a:cubicBezTo>
                    <a:lnTo>
                      <a:pt x="115647" y="46303"/>
                    </a:lnTo>
                    <a:lnTo>
                      <a:pt x="114208" y="42294"/>
                    </a:lnTo>
                    <a:lnTo>
                      <a:pt x="103954" y="45969"/>
                    </a:lnTo>
                    <a:cubicBezTo>
                      <a:pt x="101693" y="46765"/>
                      <a:pt x="99175" y="45815"/>
                      <a:pt x="98044" y="43733"/>
                    </a:cubicBezTo>
                    <a:cubicBezTo>
                      <a:pt x="94935" y="38054"/>
                      <a:pt x="90437" y="33197"/>
                      <a:pt x="85067" y="29702"/>
                    </a:cubicBezTo>
                    <a:cubicBezTo>
                      <a:pt x="83062" y="28392"/>
                      <a:pt x="82291" y="25822"/>
                      <a:pt x="83268" y="23612"/>
                    </a:cubicBezTo>
                    <a:lnTo>
                      <a:pt x="87714" y="13667"/>
                    </a:lnTo>
                    <a:lnTo>
                      <a:pt x="83833" y="11920"/>
                    </a:lnTo>
                    <a:lnTo>
                      <a:pt x="79388" y="21865"/>
                    </a:lnTo>
                    <a:cubicBezTo>
                      <a:pt x="78411" y="24049"/>
                      <a:pt x="76021" y="25205"/>
                      <a:pt x="73683" y="24589"/>
                    </a:cubicBezTo>
                    <a:cubicBezTo>
                      <a:pt x="67438" y="22918"/>
                      <a:pt x="60808" y="22815"/>
                      <a:pt x="54564" y="24280"/>
                    </a:cubicBezTo>
                    <a:cubicBezTo>
                      <a:pt x="52200" y="24846"/>
                      <a:pt x="49836" y="23586"/>
                      <a:pt x="48936" y="21351"/>
                    </a:cubicBezTo>
                    <a:lnTo>
                      <a:pt x="44825" y="11252"/>
                    </a:lnTo>
                    <a:lnTo>
                      <a:pt x="40867" y="12845"/>
                    </a:lnTo>
                    <a:lnTo>
                      <a:pt x="44979" y="22944"/>
                    </a:lnTo>
                    <a:cubicBezTo>
                      <a:pt x="45878" y="25180"/>
                      <a:pt x="45030" y="27724"/>
                      <a:pt x="42974" y="28957"/>
                    </a:cubicBezTo>
                    <a:cubicBezTo>
                      <a:pt x="37835" y="32067"/>
                      <a:pt x="33569" y="36178"/>
                      <a:pt x="30331" y="41163"/>
                    </a:cubicBezTo>
                    <a:cubicBezTo>
                      <a:pt x="29021" y="43168"/>
                      <a:pt x="26425" y="43939"/>
                      <a:pt x="24241" y="42962"/>
                    </a:cubicBezTo>
                    <a:lnTo>
                      <a:pt x="14322" y="38542"/>
                    </a:lnTo>
                    <a:lnTo>
                      <a:pt x="12574" y="42448"/>
                    </a:lnTo>
                    <a:lnTo>
                      <a:pt x="22519" y="46894"/>
                    </a:lnTo>
                    <a:cubicBezTo>
                      <a:pt x="24704" y="47870"/>
                      <a:pt x="25860" y="50312"/>
                      <a:pt x="25243" y="52624"/>
                    </a:cubicBezTo>
                    <a:cubicBezTo>
                      <a:pt x="23701" y="58304"/>
                      <a:pt x="23470" y="64368"/>
                      <a:pt x="24601" y="70124"/>
                    </a:cubicBezTo>
                    <a:cubicBezTo>
                      <a:pt x="25063" y="72489"/>
                      <a:pt x="23727" y="74827"/>
                      <a:pt x="21466" y="75649"/>
                    </a:cubicBezTo>
                    <a:lnTo>
                      <a:pt x="11212" y="79324"/>
                    </a:lnTo>
                    <a:lnTo>
                      <a:pt x="12651" y="83359"/>
                    </a:lnTo>
                    <a:lnTo>
                      <a:pt x="22905" y="79684"/>
                    </a:lnTo>
                    <a:cubicBezTo>
                      <a:pt x="25166" y="78887"/>
                      <a:pt x="27684" y="79812"/>
                      <a:pt x="28815" y="81920"/>
                    </a:cubicBezTo>
                    <a:cubicBezTo>
                      <a:pt x="31950" y="87599"/>
                      <a:pt x="36447" y="92455"/>
                      <a:pt x="41818" y="95950"/>
                    </a:cubicBezTo>
                    <a:cubicBezTo>
                      <a:pt x="43822" y="97261"/>
                      <a:pt x="44593" y="99831"/>
                      <a:pt x="43617" y="102041"/>
                    </a:cubicBezTo>
                    <a:lnTo>
                      <a:pt x="39197" y="111960"/>
                    </a:lnTo>
                    <a:lnTo>
                      <a:pt x="43077" y="113682"/>
                    </a:lnTo>
                    <a:lnTo>
                      <a:pt x="47523" y="103762"/>
                    </a:lnTo>
                    <a:cubicBezTo>
                      <a:pt x="48499" y="101578"/>
                      <a:pt x="50915" y="100422"/>
                      <a:pt x="53228" y="101038"/>
                    </a:cubicBezTo>
                    <a:cubicBezTo>
                      <a:pt x="59472" y="102709"/>
                      <a:pt x="66102" y="102812"/>
                      <a:pt x="72372" y="101347"/>
                    </a:cubicBezTo>
                    <a:cubicBezTo>
                      <a:pt x="72706" y="101270"/>
                      <a:pt x="73066" y="101218"/>
                      <a:pt x="73451" y="101218"/>
                    </a:cubicBezTo>
                    <a:close/>
                  </a:path>
                </a:pathLst>
              </a:custGeom>
              <a:grpFill/>
              <a:ln w="2565" cap="flat">
                <a:noFill/>
                <a:prstDash val="solid"/>
                <a:miter/>
              </a:ln>
            </p:spPr>
            <p:txBody>
              <a:bodyPr rtlCol="0" anchor="ctr"/>
              <a:lstStyle/>
              <a:p>
                <a:endParaRPr lang="en-GB" dirty="0"/>
              </a:p>
            </p:txBody>
          </p:sp>
          <p:sp>
            <p:nvSpPr>
              <p:cNvPr id="637" name="Freihandform: Form 952">
                <a:extLst>
                  <a:ext uri="{FF2B5EF4-FFF2-40B4-BE49-F238E27FC236}">
                    <a16:creationId xmlns:a16="http://schemas.microsoft.com/office/drawing/2014/main" id="{8FD2539C-F7E7-4DFE-B3AE-39EDB0D031FC}"/>
                  </a:ext>
                </a:extLst>
              </p:cNvPr>
              <p:cNvSpPr/>
              <p:nvPr/>
            </p:nvSpPr>
            <p:spPr>
              <a:xfrm>
                <a:off x="6985223" y="1940189"/>
                <a:ext cx="400366" cy="81383"/>
              </a:xfrm>
              <a:custGeom>
                <a:avLst/>
                <a:gdLst>
                  <a:gd name="connsiteX0" fmla="*/ 395484 w 400366"/>
                  <a:gd name="connsiteY0" fmla="*/ 81384 h 81383"/>
                  <a:gd name="connsiteX1" fmla="*/ 390601 w 400366"/>
                  <a:gd name="connsiteY1" fmla="*/ 76501 h 81383"/>
                  <a:gd name="connsiteX2" fmla="*/ 390601 w 400366"/>
                  <a:gd name="connsiteY2" fmla="*/ 9765 h 81383"/>
                  <a:gd name="connsiteX3" fmla="*/ 9765 w 400366"/>
                  <a:gd name="connsiteY3" fmla="*/ 9765 h 81383"/>
                  <a:gd name="connsiteX4" fmla="*/ 9765 w 400366"/>
                  <a:gd name="connsiteY4" fmla="*/ 76501 h 81383"/>
                  <a:gd name="connsiteX5" fmla="*/ 4883 w 400366"/>
                  <a:gd name="connsiteY5" fmla="*/ 81384 h 81383"/>
                  <a:gd name="connsiteX6" fmla="*/ 0 w 400366"/>
                  <a:gd name="connsiteY6" fmla="*/ 76501 h 81383"/>
                  <a:gd name="connsiteX7" fmla="*/ 0 w 400366"/>
                  <a:gd name="connsiteY7" fmla="*/ 4883 h 81383"/>
                  <a:gd name="connsiteX8" fmla="*/ 4883 w 400366"/>
                  <a:gd name="connsiteY8" fmla="*/ 0 h 81383"/>
                  <a:gd name="connsiteX9" fmla="*/ 395484 w 400366"/>
                  <a:gd name="connsiteY9" fmla="*/ 0 h 81383"/>
                  <a:gd name="connsiteX10" fmla="*/ 400366 w 400366"/>
                  <a:gd name="connsiteY10" fmla="*/ 4883 h 81383"/>
                  <a:gd name="connsiteX11" fmla="*/ 400366 w 400366"/>
                  <a:gd name="connsiteY11" fmla="*/ 76501 h 81383"/>
                  <a:gd name="connsiteX12" fmla="*/ 395484 w 400366"/>
                  <a:gd name="connsiteY12" fmla="*/ 81384 h 81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366" h="81383">
                    <a:moveTo>
                      <a:pt x="395484" y="81384"/>
                    </a:moveTo>
                    <a:cubicBezTo>
                      <a:pt x="392785" y="81384"/>
                      <a:pt x="390601" y="79199"/>
                      <a:pt x="390601" y="76501"/>
                    </a:cubicBezTo>
                    <a:lnTo>
                      <a:pt x="390601" y="9765"/>
                    </a:lnTo>
                    <a:lnTo>
                      <a:pt x="9765" y="9765"/>
                    </a:lnTo>
                    <a:lnTo>
                      <a:pt x="9765" y="76501"/>
                    </a:lnTo>
                    <a:cubicBezTo>
                      <a:pt x="9765" y="79199"/>
                      <a:pt x="7581" y="81384"/>
                      <a:pt x="4883" y="81384"/>
                    </a:cubicBezTo>
                    <a:cubicBezTo>
                      <a:pt x="2184" y="81384"/>
                      <a:pt x="0" y="79199"/>
                      <a:pt x="0" y="76501"/>
                    </a:cubicBezTo>
                    <a:lnTo>
                      <a:pt x="0" y="4883"/>
                    </a:lnTo>
                    <a:cubicBezTo>
                      <a:pt x="0" y="2184"/>
                      <a:pt x="2184" y="0"/>
                      <a:pt x="4883" y="0"/>
                    </a:cubicBezTo>
                    <a:lnTo>
                      <a:pt x="395484" y="0"/>
                    </a:lnTo>
                    <a:cubicBezTo>
                      <a:pt x="398182" y="0"/>
                      <a:pt x="400366" y="2184"/>
                      <a:pt x="400366" y="4883"/>
                    </a:cubicBezTo>
                    <a:lnTo>
                      <a:pt x="400366" y="76501"/>
                    </a:lnTo>
                    <a:cubicBezTo>
                      <a:pt x="400366" y="79199"/>
                      <a:pt x="398182" y="81384"/>
                      <a:pt x="395484" y="81384"/>
                    </a:cubicBezTo>
                    <a:close/>
                  </a:path>
                </a:pathLst>
              </a:custGeom>
              <a:grpFill/>
              <a:ln w="2565" cap="flat">
                <a:noFill/>
                <a:prstDash val="solid"/>
                <a:miter/>
              </a:ln>
            </p:spPr>
            <p:txBody>
              <a:bodyPr rtlCol="0" anchor="ctr"/>
              <a:lstStyle/>
              <a:p>
                <a:endParaRPr lang="en-GB" dirty="0"/>
              </a:p>
            </p:txBody>
          </p:sp>
          <p:sp>
            <p:nvSpPr>
              <p:cNvPr id="638" name="Freihandform: Form 953">
                <a:extLst>
                  <a:ext uri="{FF2B5EF4-FFF2-40B4-BE49-F238E27FC236}">
                    <a16:creationId xmlns:a16="http://schemas.microsoft.com/office/drawing/2014/main" id="{E39A5BFD-5BBC-4A29-9090-B88593598B36}"/>
                  </a:ext>
                </a:extLst>
              </p:cNvPr>
              <p:cNvSpPr/>
              <p:nvPr/>
            </p:nvSpPr>
            <p:spPr>
              <a:xfrm>
                <a:off x="7180523" y="1914158"/>
                <a:ext cx="9765" cy="74856"/>
              </a:xfrm>
              <a:custGeom>
                <a:avLst/>
                <a:gdLst>
                  <a:gd name="connsiteX0" fmla="*/ 4883 w 9765"/>
                  <a:gd name="connsiteY0" fmla="*/ 74857 h 74856"/>
                  <a:gd name="connsiteX1" fmla="*/ 0 w 9765"/>
                  <a:gd name="connsiteY1" fmla="*/ 69974 h 74856"/>
                  <a:gd name="connsiteX2" fmla="*/ 0 w 9765"/>
                  <a:gd name="connsiteY2" fmla="*/ 4883 h 74856"/>
                  <a:gd name="connsiteX3" fmla="*/ 4883 w 9765"/>
                  <a:gd name="connsiteY3" fmla="*/ 0 h 74856"/>
                  <a:gd name="connsiteX4" fmla="*/ 9765 w 9765"/>
                  <a:gd name="connsiteY4" fmla="*/ 4883 h 74856"/>
                  <a:gd name="connsiteX5" fmla="*/ 9765 w 9765"/>
                  <a:gd name="connsiteY5" fmla="*/ 69974 h 74856"/>
                  <a:gd name="connsiteX6" fmla="*/ 4883 w 9765"/>
                  <a:gd name="connsiteY6" fmla="*/ 74857 h 74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5" h="74856">
                    <a:moveTo>
                      <a:pt x="4883" y="74857"/>
                    </a:moveTo>
                    <a:cubicBezTo>
                      <a:pt x="2184" y="74857"/>
                      <a:pt x="0" y="72672"/>
                      <a:pt x="0" y="69974"/>
                    </a:cubicBezTo>
                    <a:lnTo>
                      <a:pt x="0" y="4883"/>
                    </a:lnTo>
                    <a:cubicBezTo>
                      <a:pt x="0" y="2184"/>
                      <a:pt x="2184" y="0"/>
                      <a:pt x="4883" y="0"/>
                    </a:cubicBezTo>
                    <a:cubicBezTo>
                      <a:pt x="7581" y="0"/>
                      <a:pt x="9765" y="2184"/>
                      <a:pt x="9765" y="4883"/>
                    </a:cubicBezTo>
                    <a:lnTo>
                      <a:pt x="9765" y="69974"/>
                    </a:lnTo>
                    <a:cubicBezTo>
                      <a:pt x="9765" y="72672"/>
                      <a:pt x="7555" y="74857"/>
                      <a:pt x="4883" y="74857"/>
                    </a:cubicBezTo>
                    <a:close/>
                  </a:path>
                </a:pathLst>
              </a:custGeom>
              <a:grpFill/>
              <a:ln w="2565" cap="flat">
                <a:noFill/>
                <a:prstDash val="solid"/>
                <a:miter/>
              </a:ln>
            </p:spPr>
            <p:txBody>
              <a:bodyPr rtlCol="0" anchor="ctr"/>
              <a:lstStyle/>
              <a:p>
                <a:endParaRPr lang="en-GB" dirty="0"/>
              </a:p>
            </p:txBody>
          </p:sp>
          <p:sp>
            <p:nvSpPr>
              <p:cNvPr id="639" name="Freihandform: Form 955">
                <a:extLst>
                  <a:ext uri="{FF2B5EF4-FFF2-40B4-BE49-F238E27FC236}">
                    <a16:creationId xmlns:a16="http://schemas.microsoft.com/office/drawing/2014/main" id="{B7BB591C-F597-4FCA-9233-9CDCAC9B67C6}"/>
                  </a:ext>
                </a:extLst>
              </p:cNvPr>
              <p:cNvSpPr/>
              <p:nvPr/>
            </p:nvSpPr>
            <p:spPr>
              <a:xfrm>
                <a:off x="7124084" y="2025020"/>
                <a:ext cx="126781" cy="125605"/>
              </a:xfrm>
              <a:custGeom>
                <a:avLst/>
                <a:gdLst>
                  <a:gd name="connsiteX0" fmla="*/ 79362 w 126781"/>
                  <a:gd name="connsiteY0" fmla="*/ 125605 h 125605"/>
                  <a:gd name="connsiteX1" fmla="*/ 77460 w 126781"/>
                  <a:gd name="connsiteY1" fmla="*/ 125220 h 125605"/>
                  <a:gd name="connsiteX2" fmla="*/ 74839 w 126781"/>
                  <a:gd name="connsiteY2" fmla="*/ 122547 h 125605"/>
                  <a:gd name="connsiteX3" fmla="*/ 70419 w 126781"/>
                  <a:gd name="connsiteY3" fmla="*/ 111626 h 125605"/>
                  <a:gd name="connsiteX4" fmla="*/ 54769 w 126781"/>
                  <a:gd name="connsiteY4" fmla="*/ 111369 h 125605"/>
                  <a:gd name="connsiteX5" fmla="*/ 49964 w 126781"/>
                  <a:gd name="connsiteY5" fmla="*/ 122110 h 125605"/>
                  <a:gd name="connsiteX6" fmla="*/ 43514 w 126781"/>
                  <a:gd name="connsiteY6" fmla="*/ 124577 h 125605"/>
                  <a:gd name="connsiteX7" fmla="*/ 30691 w 126781"/>
                  <a:gd name="connsiteY7" fmla="*/ 118872 h 125605"/>
                  <a:gd name="connsiteX8" fmla="*/ 28121 w 126781"/>
                  <a:gd name="connsiteY8" fmla="*/ 116148 h 125605"/>
                  <a:gd name="connsiteX9" fmla="*/ 28224 w 126781"/>
                  <a:gd name="connsiteY9" fmla="*/ 112422 h 125605"/>
                  <a:gd name="connsiteX10" fmla="*/ 33029 w 126781"/>
                  <a:gd name="connsiteY10" fmla="*/ 101655 h 125605"/>
                  <a:gd name="connsiteX11" fmla="*/ 22391 w 126781"/>
                  <a:gd name="connsiteY11" fmla="*/ 90168 h 125605"/>
                  <a:gd name="connsiteX12" fmla="*/ 11289 w 126781"/>
                  <a:gd name="connsiteY12" fmla="*/ 94152 h 125605"/>
                  <a:gd name="connsiteX13" fmla="*/ 5045 w 126781"/>
                  <a:gd name="connsiteY13" fmla="*/ 91196 h 125605"/>
                  <a:gd name="connsiteX14" fmla="*/ 291 w 126781"/>
                  <a:gd name="connsiteY14" fmla="*/ 77988 h 125605"/>
                  <a:gd name="connsiteX15" fmla="*/ 471 w 126781"/>
                  <a:gd name="connsiteY15" fmla="*/ 74262 h 125605"/>
                  <a:gd name="connsiteX16" fmla="*/ 3246 w 126781"/>
                  <a:gd name="connsiteY16" fmla="*/ 71743 h 125605"/>
                  <a:gd name="connsiteX17" fmla="*/ 14322 w 126781"/>
                  <a:gd name="connsiteY17" fmla="*/ 67760 h 125605"/>
                  <a:gd name="connsiteX18" fmla="*/ 14836 w 126781"/>
                  <a:gd name="connsiteY18" fmla="*/ 54141 h 125605"/>
                  <a:gd name="connsiteX19" fmla="*/ 4094 w 126781"/>
                  <a:gd name="connsiteY19" fmla="*/ 49335 h 125605"/>
                  <a:gd name="connsiteX20" fmla="*/ 1627 w 126781"/>
                  <a:gd name="connsiteY20" fmla="*/ 42885 h 125605"/>
                  <a:gd name="connsiteX21" fmla="*/ 7358 w 126781"/>
                  <a:gd name="connsiteY21" fmla="*/ 30062 h 125605"/>
                  <a:gd name="connsiteX22" fmla="*/ 10056 w 126781"/>
                  <a:gd name="connsiteY22" fmla="*/ 27492 h 125605"/>
                  <a:gd name="connsiteX23" fmla="*/ 13782 w 126781"/>
                  <a:gd name="connsiteY23" fmla="*/ 27595 h 125605"/>
                  <a:gd name="connsiteX24" fmla="*/ 24524 w 126781"/>
                  <a:gd name="connsiteY24" fmla="*/ 32401 h 125605"/>
                  <a:gd name="connsiteX25" fmla="*/ 34340 w 126781"/>
                  <a:gd name="connsiteY25" fmla="*/ 22918 h 125605"/>
                  <a:gd name="connsiteX26" fmla="*/ 29894 w 126781"/>
                  <a:gd name="connsiteY26" fmla="*/ 11997 h 125605"/>
                  <a:gd name="connsiteX27" fmla="*/ 29920 w 126781"/>
                  <a:gd name="connsiteY27" fmla="*/ 8245 h 125605"/>
                  <a:gd name="connsiteX28" fmla="*/ 32593 w 126781"/>
                  <a:gd name="connsiteY28" fmla="*/ 5624 h 125605"/>
                  <a:gd name="connsiteX29" fmla="*/ 45621 w 126781"/>
                  <a:gd name="connsiteY29" fmla="*/ 356 h 125605"/>
                  <a:gd name="connsiteX30" fmla="*/ 51968 w 126781"/>
                  <a:gd name="connsiteY30" fmla="*/ 3054 h 125605"/>
                  <a:gd name="connsiteX31" fmla="*/ 56414 w 126781"/>
                  <a:gd name="connsiteY31" fmla="*/ 13976 h 125605"/>
                  <a:gd name="connsiteX32" fmla="*/ 72064 w 126781"/>
                  <a:gd name="connsiteY32" fmla="*/ 14233 h 125605"/>
                  <a:gd name="connsiteX33" fmla="*/ 76869 w 126781"/>
                  <a:gd name="connsiteY33" fmla="*/ 3465 h 125605"/>
                  <a:gd name="connsiteX34" fmla="*/ 83319 w 126781"/>
                  <a:gd name="connsiteY34" fmla="*/ 998 h 125605"/>
                  <a:gd name="connsiteX35" fmla="*/ 96117 w 126781"/>
                  <a:gd name="connsiteY35" fmla="*/ 6729 h 125605"/>
                  <a:gd name="connsiteX36" fmla="*/ 98584 w 126781"/>
                  <a:gd name="connsiteY36" fmla="*/ 13179 h 125605"/>
                  <a:gd name="connsiteX37" fmla="*/ 93778 w 126781"/>
                  <a:gd name="connsiteY37" fmla="*/ 23946 h 125605"/>
                  <a:gd name="connsiteX38" fmla="*/ 104417 w 126781"/>
                  <a:gd name="connsiteY38" fmla="*/ 35433 h 125605"/>
                  <a:gd name="connsiteX39" fmla="*/ 115493 w 126781"/>
                  <a:gd name="connsiteY39" fmla="*/ 31475 h 125605"/>
                  <a:gd name="connsiteX40" fmla="*/ 121737 w 126781"/>
                  <a:gd name="connsiteY40" fmla="*/ 34405 h 125605"/>
                  <a:gd name="connsiteX41" fmla="*/ 126491 w 126781"/>
                  <a:gd name="connsiteY41" fmla="*/ 47613 h 125605"/>
                  <a:gd name="connsiteX42" fmla="*/ 126311 w 126781"/>
                  <a:gd name="connsiteY42" fmla="*/ 51340 h 125605"/>
                  <a:gd name="connsiteX43" fmla="*/ 123536 w 126781"/>
                  <a:gd name="connsiteY43" fmla="*/ 53858 h 125605"/>
                  <a:gd name="connsiteX44" fmla="*/ 112435 w 126781"/>
                  <a:gd name="connsiteY44" fmla="*/ 57841 h 125605"/>
                  <a:gd name="connsiteX45" fmla="*/ 111921 w 126781"/>
                  <a:gd name="connsiteY45" fmla="*/ 71486 h 125605"/>
                  <a:gd name="connsiteX46" fmla="*/ 122688 w 126781"/>
                  <a:gd name="connsiteY46" fmla="*/ 76292 h 125605"/>
                  <a:gd name="connsiteX47" fmla="*/ 125258 w 126781"/>
                  <a:gd name="connsiteY47" fmla="*/ 79016 h 125605"/>
                  <a:gd name="connsiteX48" fmla="*/ 125155 w 126781"/>
                  <a:gd name="connsiteY48" fmla="*/ 82742 h 125605"/>
                  <a:gd name="connsiteX49" fmla="*/ 119424 w 126781"/>
                  <a:gd name="connsiteY49" fmla="*/ 95565 h 125605"/>
                  <a:gd name="connsiteX50" fmla="*/ 112974 w 126781"/>
                  <a:gd name="connsiteY50" fmla="*/ 98032 h 125605"/>
                  <a:gd name="connsiteX51" fmla="*/ 102233 w 126781"/>
                  <a:gd name="connsiteY51" fmla="*/ 93226 h 125605"/>
                  <a:gd name="connsiteX52" fmla="*/ 92416 w 126781"/>
                  <a:gd name="connsiteY52" fmla="*/ 102709 h 125605"/>
                  <a:gd name="connsiteX53" fmla="*/ 96862 w 126781"/>
                  <a:gd name="connsiteY53" fmla="*/ 113630 h 125605"/>
                  <a:gd name="connsiteX54" fmla="*/ 96836 w 126781"/>
                  <a:gd name="connsiteY54" fmla="*/ 117356 h 125605"/>
                  <a:gd name="connsiteX55" fmla="*/ 94189 w 126781"/>
                  <a:gd name="connsiteY55" fmla="*/ 119977 h 125605"/>
                  <a:gd name="connsiteX56" fmla="*/ 81161 w 126781"/>
                  <a:gd name="connsiteY56" fmla="*/ 125271 h 125605"/>
                  <a:gd name="connsiteX57" fmla="*/ 79362 w 126781"/>
                  <a:gd name="connsiteY57" fmla="*/ 125605 h 125605"/>
                  <a:gd name="connsiteX58" fmla="*/ 73452 w 126781"/>
                  <a:gd name="connsiteY58" fmla="*/ 101244 h 125605"/>
                  <a:gd name="connsiteX59" fmla="*/ 77974 w 126781"/>
                  <a:gd name="connsiteY59" fmla="*/ 104302 h 125605"/>
                  <a:gd name="connsiteX60" fmla="*/ 82060 w 126781"/>
                  <a:gd name="connsiteY60" fmla="*/ 114375 h 125605"/>
                  <a:gd name="connsiteX61" fmla="*/ 86018 w 126781"/>
                  <a:gd name="connsiteY61" fmla="*/ 112756 h 125605"/>
                  <a:gd name="connsiteX62" fmla="*/ 81906 w 126781"/>
                  <a:gd name="connsiteY62" fmla="*/ 102657 h 125605"/>
                  <a:gd name="connsiteX63" fmla="*/ 83910 w 126781"/>
                  <a:gd name="connsiteY63" fmla="*/ 96644 h 125605"/>
                  <a:gd name="connsiteX64" fmla="*/ 96528 w 126781"/>
                  <a:gd name="connsiteY64" fmla="*/ 84464 h 125605"/>
                  <a:gd name="connsiteX65" fmla="*/ 102618 w 126781"/>
                  <a:gd name="connsiteY65" fmla="*/ 82665 h 125605"/>
                  <a:gd name="connsiteX66" fmla="*/ 112537 w 126781"/>
                  <a:gd name="connsiteY66" fmla="*/ 87085 h 125605"/>
                  <a:gd name="connsiteX67" fmla="*/ 114285 w 126781"/>
                  <a:gd name="connsiteY67" fmla="*/ 83179 h 125605"/>
                  <a:gd name="connsiteX68" fmla="*/ 104340 w 126781"/>
                  <a:gd name="connsiteY68" fmla="*/ 78759 h 125605"/>
                  <a:gd name="connsiteX69" fmla="*/ 101616 w 126781"/>
                  <a:gd name="connsiteY69" fmla="*/ 73028 h 125605"/>
                  <a:gd name="connsiteX70" fmla="*/ 102258 w 126781"/>
                  <a:gd name="connsiteY70" fmla="*/ 55503 h 125605"/>
                  <a:gd name="connsiteX71" fmla="*/ 105393 w 126781"/>
                  <a:gd name="connsiteY71" fmla="*/ 49978 h 125605"/>
                  <a:gd name="connsiteX72" fmla="*/ 115647 w 126781"/>
                  <a:gd name="connsiteY72" fmla="*/ 46303 h 125605"/>
                  <a:gd name="connsiteX73" fmla="*/ 114208 w 126781"/>
                  <a:gd name="connsiteY73" fmla="*/ 42294 h 125605"/>
                  <a:gd name="connsiteX74" fmla="*/ 103954 w 126781"/>
                  <a:gd name="connsiteY74" fmla="*/ 45969 h 125605"/>
                  <a:gd name="connsiteX75" fmla="*/ 98018 w 126781"/>
                  <a:gd name="connsiteY75" fmla="*/ 43733 h 125605"/>
                  <a:gd name="connsiteX76" fmla="*/ 85041 w 126781"/>
                  <a:gd name="connsiteY76" fmla="*/ 29702 h 125605"/>
                  <a:gd name="connsiteX77" fmla="*/ 83242 w 126781"/>
                  <a:gd name="connsiteY77" fmla="*/ 23612 h 125605"/>
                  <a:gd name="connsiteX78" fmla="*/ 87688 w 126781"/>
                  <a:gd name="connsiteY78" fmla="*/ 13667 h 125605"/>
                  <a:gd name="connsiteX79" fmla="*/ 83808 w 126781"/>
                  <a:gd name="connsiteY79" fmla="*/ 11920 h 125605"/>
                  <a:gd name="connsiteX80" fmla="*/ 79362 w 126781"/>
                  <a:gd name="connsiteY80" fmla="*/ 21865 h 125605"/>
                  <a:gd name="connsiteX81" fmla="*/ 73657 w 126781"/>
                  <a:gd name="connsiteY81" fmla="*/ 24589 h 125605"/>
                  <a:gd name="connsiteX82" fmla="*/ 54538 w 126781"/>
                  <a:gd name="connsiteY82" fmla="*/ 24280 h 125605"/>
                  <a:gd name="connsiteX83" fmla="*/ 48910 w 126781"/>
                  <a:gd name="connsiteY83" fmla="*/ 21351 h 125605"/>
                  <a:gd name="connsiteX84" fmla="*/ 44799 w 126781"/>
                  <a:gd name="connsiteY84" fmla="*/ 11252 h 125605"/>
                  <a:gd name="connsiteX85" fmla="*/ 40842 w 126781"/>
                  <a:gd name="connsiteY85" fmla="*/ 12845 h 125605"/>
                  <a:gd name="connsiteX86" fmla="*/ 44953 w 126781"/>
                  <a:gd name="connsiteY86" fmla="*/ 22944 h 125605"/>
                  <a:gd name="connsiteX87" fmla="*/ 42949 w 126781"/>
                  <a:gd name="connsiteY87" fmla="*/ 28957 h 125605"/>
                  <a:gd name="connsiteX88" fmla="*/ 30305 w 126781"/>
                  <a:gd name="connsiteY88" fmla="*/ 41163 h 125605"/>
                  <a:gd name="connsiteX89" fmla="*/ 24215 w 126781"/>
                  <a:gd name="connsiteY89" fmla="*/ 42962 h 125605"/>
                  <a:gd name="connsiteX90" fmla="*/ 14296 w 126781"/>
                  <a:gd name="connsiteY90" fmla="*/ 38542 h 125605"/>
                  <a:gd name="connsiteX91" fmla="*/ 12549 w 126781"/>
                  <a:gd name="connsiteY91" fmla="*/ 42448 h 125605"/>
                  <a:gd name="connsiteX92" fmla="*/ 22468 w 126781"/>
                  <a:gd name="connsiteY92" fmla="*/ 46894 h 125605"/>
                  <a:gd name="connsiteX93" fmla="*/ 25192 w 126781"/>
                  <a:gd name="connsiteY93" fmla="*/ 52624 h 125605"/>
                  <a:gd name="connsiteX94" fmla="*/ 24549 w 126781"/>
                  <a:gd name="connsiteY94" fmla="*/ 70150 h 125605"/>
                  <a:gd name="connsiteX95" fmla="*/ 21414 w 126781"/>
                  <a:gd name="connsiteY95" fmla="*/ 75675 h 125605"/>
                  <a:gd name="connsiteX96" fmla="*/ 11161 w 126781"/>
                  <a:gd name="connsiteY96" fmla="*/ 79350 h 125605"/>
                  <a:gd name="connsiteX97" fmla="*/ 12600 w 126781"/>
                  <a:gd name="connsiteY97" fmla="*/ 83384 h 125605"/>
                  <a:gd name="connsiteX98" fmla="*/ 22853 w 126781"/>
                  <a:gd name="connsiteY98" fmla="*/ 79710 h 125605"/>
                  <a:gd name="connsiteX99" fmla="*/ 28764 w 126781"/>
                  <a:gd name="connsiteY99" fmla="*/ 81945 h 125605"/>
                  <a:gd name="connsiteX100" fmla="*/ 41767 w 126781"/>
                  <a:gd name="connsiteY100" fmla="*/ 95976 h 125605"/>
                  <a:gd name="connsiteX101" fmla="*/ 43565 w 126781"/>
                  <a:gd name="connsiteY101" fmla="*/ 102041 h 125605"/>
                  <a:gd name="connsiteX102" fmla="*/ 39145 w 126781"/>
                  <a:gd name="connsiteY102" fmla="*/ 111960 h 125605"/>
                  <a:gd name="connsiteX103" fmla="*/ 43051 w 126781"/>
                  <a:gd name="connsiteY103" fmla="*/ 113682 h 125605"/>
                  <a:gd name="connsiteX104" fmla="*/ 47471 w 126781"/>
                  <a:gd name="connsiteY104" fmla="*/ 103762 h 125605"/>
                  <a:gd name="connsiteX105" fmla="*/ 53176 w 126781"/>
                  <a:gd name="connsiteY105" fmla="*/ 101038 h 125605"/>
                  <a:gd name="connsiteX106" fmla="*/ 72321 w 126781"/>
                  <a:gd name="connsiteY106" fmla="*/ 101347 h 125605"/>
                  <a:gd name="connsiteX107" fmla="*/ 73452 w 126781"/>
                  <a:gd name="connsiteY107" fmla="*/ 101244 h 12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126781" h="125605">
                    <a:moveTo>
                      <a:pt x="79362" y="125605"/>
                    </a:moveTo>
                    <a:cubicBezTo>
                      <a:pt x="78720" y="125605"/>
                      <a:pt x="78077" y="125477"/>
                      <a:pt x="77460" y="125220"/>
                    </a:cubicBezTo>
                    <a:cubicBezTo>
                      <a:pt x="76253" y="124706"/>
                      <a:pt x="75327" y="123755"/>
                      <a:pt x="74839" y="122547"/>
                    </a:cubicBezTo>
                    <a:lnTo>
                      <a:pt x="70419" y="111626"/>
                    </a:lnTo>
                    <a:cubicBezTo>
                      <a:pt x="65254" y="112371"/>
                      <a:pt x="59935" y="112268"/>
                      <a:pt x="54769" y="111369"/>
                    </a:cubicBezTo>
                    <a:lnTo>
                      <a:pt x="49964" y="122110"/>
                    </a:lnTo>
                    <a:cubicBezTo>
                      <a:pt x="48859" y="124577"/>
                      <a:pt x="45955" y="125657"/>
                      <a:pt x="43514" y="124577"/>
                    </a:cubicBezTo>
                    <a:lnTo>
                      <a:pt x="30691" y="118872"/>
                    </a:lnTo>
                    <a:cubicBezTo>
                      <a:pt x="29509" y="118333"/>
                      <a:pt x="28584" y="117356"/>
                      <a:pt x="28121" y="116148"/>
                    </a:cubicBezTo>
                    <a:cubicBezTo>
                      <a:pt x="27659" y="114941"/>
                      <a:pt x="27684" y="113604"/>
                      <a:pt x="28224" y="112422"/>
                    </a:cubicBezTo>
                    <a:lnTo>
                      <a:pt x="33029" y="101655"/>
                    </a:lnTo>
                    <a:cubicBezTo>
                      <a:pt x="28918" y="98443"/>
                      <a:pt x="25320" y="94537"/>
                      <a:pt x="22391" y="90168"/>
                    </a:cubicBezTo>
                    <a:lnTo>
                      <a:pt x="11289" y="94152"/>
                    </a:lnTo>
                    <a:cubicBezTo>
                      <a:pt x="8745" y="95051"/>
                      <a:pt x="5970" y="93740"/>
                      <a:pt x="5045" y="91196"/>
                    </a:cubicBezTo>
                    <a:lnTo>
                      <a:pt x="291" y="77988"/>
                    </a:lnTo>
                    <a:cubicBezTo>
                      <a:pt x="-146" y="76754"/>
                      <a:pt x="-95" y="75418"/>
                      <a:pt x="471" y="74262"/>
                    </a:cubicBezTo>
                    <a:cubicBezTo>
                      <a:pt x="1036" y="73080"/>
                      <a:pt x="2013" y="72180"/>
                      <a:pt x="3246" y="71743"/>
                    </a:cubicBezTo>
                    <a:lnTo>
                      <a:pt x="14322" y="67760"/>
                    </a:lnTo>
                    <a:cubicBezTo>
                      <a:pt x="13859" y="63237"/>
                      <a:pt x="14039" y="58638"/>
                      <a:pt x="14836" y="54141"/>
                    </a:cubicBezTo>
                    <a:lnTo>
                      <a:pt x="4094" y="49335"/>
                    </a:lnTo>
                    <a:cubicBezTo>
                      <a:pt x="1627" y="48230"/>
                      <a:pt x="522" y="45352"/>
                      <a:pt x="1627" y="42885"/>
                    </a:cubicBezTo>
                    <a:lnTo>
                      <a:pt x="7358" y="30062"/>
                    </a:lnTo>
                    <a:cubicBezTo>
                      <a:pt x="7897" y="28880"/>
                      <a:pt x="8848" y="27955"/>
                      <a:pt x="10056" y="27492"/>
                    </a:cubicBezTo>
                    <a:cubicBezTo>
                      <a:pt x="11264" y="27030"/>
                      <a:pt x="12600" y="27055"/>
                      <a:pt x="13782" y="27595"/>
                    </a:cubicBezTo>
                    <a:lnTo>
                      <a:pt x="24524" y="32401"/>
                    </a:lnTo>
                    <a:cubicBezTo>
                      <a:pt x="27325" y="28803"/>
                      <a:pt x="30614" y="25616"/>
                      <a:pt x="34340" y="22918"/>
                    </a:cubicBezTo>
                    <a:lnTo>
                      <a:pt x="29894" y="11997"/>
                    </a:lnTo>
                    <a:cubicBezTo>
                      <a:pt x="29406" y="10789"/>
                      <a:pt x="29406" y="9453"/>
                      <a:pt x="29920" y="8245"/>
                    </a:cubicBezTo>
                    <a:cubicBezTo>
                      <a:pt x="30434" y="7037"/>
                      <a:pt x="31385" y="6112"/>
                      <a:pt x="32593" y="5624"/>
                    </a:cubicBezTo>
                    <a:lnTo>
                      <a:pt x="45621" y="356"/>
                    </a:lnTo>
                    <a:cubicBezTo>
                      <a:pt x="48088" y="-646"/>
                      <a:pt x="50966" y="536"/>
                      <a:pt x="51968" y="3054"/>
                    </a:cubicBezTo>
                    <a:lnTo>
                      <a:pt x="56414" y="13976"/>
                    </a:lnTo>
                    <a:cubicBezTo>
                      <a:pt x="61579" y="13230"/>
                      <a:pt x="66873" y="13333"/>
                      <a:pt x="72064" y="14233"/>
                    </a:cubicBezTo>
                    <a:lnTo>
                      <a:pt x="76869" y="3465"/>
                    </a:lnTo>
                    <a:cubicBezTo>
                      <a:pt x="77974" y="998"/>
                      <a:pt x="80852" y="-107"/>
                      <a:pt x="83319" y="998"/>
                    </a:cubicBezTo>
                    <a:lnTo>
                      <a:pt x="96117" y="6729"/>
                    </a:lnTo>
                    <a:cubicBezTo>
                      <a:pt x="98584" y="7834"/>
                      <a:pt x="99689" y="10712"/>
                      <a:pt x="98584" y="13179"/>
                    </a:cubicBezTo>
                    <a:lnTo>
                      <a:pt x="93778" y="23946"/>
                    </a:lnTo>
                    <a:cubicBezTo>
                      <a:pt x="97890" y="27158"/>
                      <a:pt x="101487" y="31039"/>
                      <a:pt x="104417" y="35433"/>
                    </a:cubicBezTo>
                    <a:lnTo>
                      <a:pt x="115493" y="31475"/>
                    </a:lnTo>
                    <a:cubicBezTo>
                      <a:pt x="118037" y="30576"/>
                      <a:pt x="120812" y="31887"/>
                      <a:pt x="121737" y="34405"/>
                    </a:cubicBezTo>
                    <a:lnTo>
                      <a:pt x="126491" y="47613"/>
                    </a:lnTo>
                    <a:cubicBezTo>
                      <a:pt x="126928" y="48821"/>
                      <a:pt x="126877" y="50183"/>
                      <a:pt x="126311" y="51340"/>
                    </a:cubicBezTo>
                    <a:cubicBezTo>
                      <a:pt x="125746" y="52522"/>
                      <a:pt x="124769" y="53421"/>
                      <a:pt x="123536" y="53858"/>
                    </a:cubicBezTo>
                    <a:lnTo>
                      <a:pt x="112435" y="57841"/>
                    </a:lnTo>
                    <a:cubicBezTo>
                      <a:pt x="112897" y="62364"/>
                      <a:pt x="112717" y="66989"/>
                      <a:pt x="111921" y="71486"/>
                    </a:cubicBezTo>
                    <a:lnTo>
                      <a:pt x="122688" y="76292"/>
                    </a:lnTo>
                    <a:cubicBezTo>
                      <a:pt x="123870" y="76831"/>
                      <a:pt x="124795" y="77808"/>
                      <a:pt x="125258" y="79016"/>
                    </a:cubicBezTo>
                    <a:cubicBezTo>
                      <a:pt x="125720" y="80223"/>
                      <a:pt x="125694" y="81560"/>
                      <a:pt x="125155" y="82742"/>
                    </a:cubicBezTo>
                    <a:lnTo>
                      <a:pt x="119424" y="95565"/>
                    </a:lnTo>
                    <a:cubicBezTo>
                      <a:pt x="118319" y="98032"/>
                      <a:pt x="115441" y="99137"/>
                      <a:pt x="112974" y="98032"/>
                    </a:cubicBezTo>
                    <a:lnTo>
                      <a:pt x="102233" y="93226"/>
                    </a:lnTo>
                    <a:cubicBezTo>
                      <a:pt x="99432" y="96824"/>
                      <a:pt x="96117" y="100011"/>
                      <a:pt x="92416" y="102709"/>
                    </a:cubicBezTo>
                    <a:lnTo>
                      <a:pt x="96862" y="113630"/>
                    </a:lnTo>
                    <a:cubicBezTo>
                      <a:pt x="97350" y="114838"/>
                      <a:pt x="97350" y="116174"/>
                      <a:pt x="96836" y="117356"/>
                    </a:cubicBezTo>
                    <a:cubicBezTo>
                      <a:pt x="96322" y="118538"/>
                      <a:pt x="95371" y="119489"/>
                      <a:pt x="94189" y="119977"/>
                    </a:cubicBezTo>
                    <a:lnTo>
                      <a:pt x="81161" y="125271"/>
                    </a:lnTo>
                    <a:cubicBezTo>
                      <a:pt x="80621" y="125477"/>
                      <a:pt x="80004" y="125605"/>
                      <a:pt x="79362" y="125605"/>
                    </a:cubicBezTo>
                    <a:close/>
                    <a:moveTo>
                      <a:pt x="73452" y="101244"/>
                    </a:moveTo>
                    <a:cubicBezTo>
                      <a:pt x="75404" y="101244"/>
                      <a:pt x="77203" y="102426"/>
                      <a:pt x="77974" y="104302"/>
                    </a:cubicBezTo>
                    <a:lnTo>
                      <a:pt x="82060" y="114375"/>
                    </a:lnTo>
                    <a:lnTo>
                      <a:pt x="86018" y="112756"/>
                    </a:lnTo>
                    <a:lnTo>
                      <a:pt x="81906" y="102657"/>
                    </a:lnTo>
                    <a:cubicBezTo>
                      <a:pt x="81007" y="100422"/>
                      <a:pt x="81855" y="97878"/>
                      <a:pt x="83910" y="96644"/>
                    </a:cubicBezTo>
                    <a:cubicBezTo>
                      <a:pt x="88947" y="93612"/>
                      <a:pt x="93316" y="89398"/>
                      <a:pt x="96528" y="84464"/>
                    </a:cubicBezTo>
                    <a:cubicBezTo>
                      <a:pt x="97838" y="82459"/>
                      <a:pt x="100434" y="81688"/>
                      <a:pt x="102618" y="82665"/>
                    </a:cubicBezTo>
                    <a:lnTo>
                      <a:pt x="112537" y="87085"/>
                    </a:lnTo>
                    <a:lnTo>
                      <a:pt x="114285" y="83179"/>
                    </a:lnTo>
                    <a:lnTo>
                      <a:pt x="104340" y="78759"/>
                    </a:lnTo>
                    <a:cubicBezTo>
                      <a:pt x="102156" y="77782"/>
                      <a:pt x="100999" y="75341"/>
                      <a:pt x="101616" y="73028"/>
                    </a:cubicBezTo>
                    <a:cubicBezTo>
                      <a:pt x="103158" y="67323"/>
                      <a:pt x="103363" y="61259"/>
                      <a:pt x="102258" y="55503"/>
                    </a:cubicBezTo>
                    <a:cubicBezTo>
                      <a:pt x="101796" y="53138"/>
                      <a:pt x="103132" y="50800"/>
                      <a:pt x="105393" y="49978"/>
                    </a:cubicBezTo>
                    <a:lnTo>
                      <a:pt x="115647" y="46303"/>
                    </a:lnTo>
                    <a:lnTo>
                      <a:pt x="114208" y="42294"/>
                    </a:lnTo>
                    <a:lnTo>
                      <a:pt x="103954" y="45969"/>
                    </a:lnTo>
                    <a:cubicBezTo>
                      <a:pt x="101719" y="46791"/>
                      <a:pt x="99175" y="45815"/>
                      <a:pt x="98018" y="43733"/>
                    </a:cubicBezTo>
                    <a:cubicBezTo>
                      <a:pt x="94883" y="38054"/>
                      <a:pt x="90386" y="33197"/>
                      <a:pt x="85041" y="29702"/>
                    </a:cubicBezTo>
                    <a:cubicBezTo>
                      <a:pt x="83037" y="28392"/>
                      <a:pt x="82266" y="25822"/>
                      <a:pt x="83242" y="23612"/>
                    </a:cubicBezTo>
                    <a:lnTo>
                      <a:pt x="87688" y="13667"/>
                    </a:lnTo>
                    <a:lnTo>
                      <a:pt x="83808" y="11920"/>
                    </a:lnTo>
                    <a:lnTo>
                      <a:pt x="79362" y="21865"/>
                    </a:lnTo>
                    <a:cubicBezTo>
                      <a:pt x="78385" y="24049"/>
                      <a:pt x="75996" y="25205"/>
                      <a:pt x="73657" y="24589"/>
                    </a:cubicBezTo>
                    <a:cubicBezTo>
                      <a:pt x="67413" y="22918"/>
                      <a:pt x="60783" y="22790"/>
                      <a:pt x="54538" y="24280"/>
                    </a:cubicBezTo>
                    <a:cubicBezTo>
                      <a:pt x="52225" y="24820"/>
                      <a:pt x="49810" y="23586"/>
                      <a:pt x="48910" y="21351"/>
                    </a:cubicBezTo>
                    <a:lnTo>
                      <a:pt x="44799" y="11252"/>
                    </a:lnTo>
                    <a:lnTo>
                      <a:pt x="40842" y="12845"/>
                    </a:lnTo>
                    <a:lnTo>
                      <a:pt x="44953" y="22944"/>
                    </a:lnTo>
                    <a:cubicBezTo>
                      <a:pt x="45852" y="25180"/>
                      <a:pt x="45005" y="27724"/>
                      <a:pt x="42949" y="28957"/>
                    </a:cubicBezTo>
                    <a:cubicBezTo>
                      <a:pt x="37809" y="32067"/>
                      <a:pt x="33543" y="36178"/>
                      <a:pt x="30305" y="41163"/>
                    </a:cubicBezTo>
                    <a:cubicBezTo>
                      <a:pt x="28995" y="43168"/>
                      <a:pt x="26400" y="43939"/>
                      <a:pt x="24215" y="42962"/>
                    </a:cubicBezTo>
                    <a:lnTo>
                      <a:pt x="14296" y="38542"/>
                    </a:lnTo>
                    <a:lnTo>
                      <a:pt x="12549" y="42448"/>
                    </a:lnTo>
                    <a:lnTo>
                      <a:pt x="22468" y="46894"/>
                    </a:lnTo>
                    <a:cubicBezTo>
                      <a:pt x="24652" y="47870"/>
                      <a:pt x="25808" y="50312"/>
                      <a:pt x="25192" y="52624"/>
                    </a:cubicBezTo>
                    <a:cubicBezTo>
                      <a:pt x="23650" y="58329"/>
                      <a:pt x="23419" y="64368"/>
                      <a:pt x="24549" y="70150"/>
                    </a:cubicBezTo>
                    <a:cubicBezTo>
                      <a:pt x="25012" y="72514"/>
                      <a:pt x="23676" y="74853"/>
                      <a:pt x="21414" y="75675"/>
                    </a:cubicBezTo>
                    <a:lnTo>
                      <a:pt x="11161" y="79350"/>
                    </a:lnTo>
                    <a:lnTo>
                      <a:pt x="12600" y="83384"/>
                    </a:lnTo>
                    <a:lnTo>
                      <a:pt x="22853" y="79710"/>
                    </a:lnTo>
                    <a:cubicBezTo>
                      <a:pt x="25115" y="78913"/>
                      <a:pt x="27633" y="79838"/>
                      <a:pt x="28764" y="81945"/>
                    </a:cubicBezTo>
                    <a:cubicBezTo>
                      <a:pt x="31899" y="87624"/>
                      <a:pt x="36396" y="92481"/>
                      <a:pt x="41767" y="95976"/>
                    </a:cubicBezTo>
                    <a:cubicBezTo>
                      <a:pt x="43771" y="97287"/>
                      <a:pt x="44542" y="99856"/>
                      <a:pt x="43565" y="102041"/>
                    </a:cubicBezTo>
                    <a:lnTo>
                      <a:pt x="39145" y="111960"/>
                    </a:lnTo>
                    <a:lnTo>
                      <a:pt x="43051" y="113682"/>
                    </a:lnTo>
                    <a:lnTo>
                      <a:pt x="47471" y="103762"/>
                    </a:lnTo>
                    <a:cubicBezTo>
                      <a:pt x="48448" y="101578"/>
                      <a:pt x="50838" y="100422"/>
                      <a:pt x="53176" y="101038"/>
                    </a:cubicBezTo>
                    <a:cubicBezTo>
                      <a:pt x="59421" y="102709"/>
                      <a:pt x="66051" y="102812"/>
                      <a:pt x="72321" y="101347"/>
                    </a:cubicBezTo>
                    <a:cubicBezTo>
                      <a:pt x="72706" y="101270"/>
                      <a:pt x="73092" y="101244"/>
                      <a:pt x="73452" y="101244"/>
                    </a:cubicBezTo>
                    <a:close/>
                  </a:path>
                </a:pathLst>
              </a:custGeom>
              <a:grpFill/>
              <a:ln w="2565" cap="flat">
                <a:noFill/>
                <a:prstDash val="solid"/>
                <a:miter/>
              </a:ln>
            </p:spPr>
            <p:txBody>
              <a:bodyPr rtlCol="0" anchor="ctr"/>
              <a:lstStyle/>
              <a:p>
                <a:endParaRPr lang="en-GB" dirty="0"/>
              </a:p>
            </p:txBody>
          </p:sp>
        </p:grpSp>
      </p:grpSp>
      <p:grpSp>
        <p:nvGrpSpPr>
          <p:cNvPr id="608" name="Group 607">
            <a:extLst>
              <a:ext uri="{FF2B5EF4-FFF2-40B4-BE49-F238E27FC236}">
                <a16:creationId xmlns:a16="http://schemas.microsoft.com/office/drawing/2014/main" id="{52106F9E-4EF0-4788-ABF8-D3947C2CF08A}"/>
              </a:ext>
            </a:extLst>
          </p:cNvPr>
          <p:cNvGrpSpPr/>
          <p:nvPr/>
        </p:nvGrpSpPr>
        <p:grpSpPr>
          <a:xfrm>
            <a:off x="7982668" y="4079371"/>
            <a:ext cx="720000" cy="338441"/>
            <a:chOff x="7982256" y="4079371"/>
            <a:chExt cx="720000" cy="338441"/>
          </a:xfrm>
        </p:grpSpPr>
        <p:grpSp>
          <p:nvGrpSpPr>
            <p:cNvPr id="649" name="Group 648">
              <a:extLst>
                <a:ext uri="{FF2B5EF4-FFF2-40B4-BE49-F238E27FC236}">
                  <a16:creationId xmlns:a16="http://schemas.microsoft.com/office/drawing/2014/main" id="{866F39EC-59E7-4FD7-AD44-C0E7B2A0D64A}"/>
                </a:ext>
              </a:extLst>
            </p:cNvPr>
            <p:cNvGrpSpPr/>
            <p:nvPr/>
          </p:nvGrpSpPr>
          <p:grpSpPr>
            <a:xfrm>
              <a:off x="8189189" y="4079371"/>
              <a:ext cx="304603" cy="338441"/>
              <a:chOff x="7863053" y="1843710"/>
              <a:chExt cx="277616" cy="308456"/>
            </a:xfrm>
            <a:solidFill>
              <a:schemeClr val="accent1"/>
            </a:solidFill>
          </p:grpSpPr>
          <p:grpSp>
            <p:nvGrpSpPr>
              <p:cNvPr id="661" name="Grafik 22">
                <a:extLst>
                  <a:ext uri="{FF2B5EF4-FFF2-40B4-BE49-F238E27FC236}">
                    <a16:creationId xmlns:a16="http://schemas.microsoft.com/office/drawing/2014/main" id="{393345CF-110B-4281-98F4-DE9648F863FC}"/>
                  </a:ext>
                </a:extLst>
              </p:cNvPr>
              <p:cNvGrpSpPr/>
              <p:nvPr/>
            </p:nvGrpSpPr>
            <p:grpSpPr>
              <a:xfrm>
                <a:off x="7863053" y="1843710"/>
                <a:ext cx="277616" cy="308456"/>
                <a:chOff x="7863053" y="1843710"/>
                <a:chExt cx="277616" cy="308456"/>
              </a:xfrm>
              <a:solidFill>
                <a:schemeClr val="accent1"/>
              </a:solidFill>
            </p:grpSpPr>
            <p:sp>
              <p:nvSpPr>
                <p:cNvPr id="663" name="Freihandform: Form 960">
                  <a:extLst>
                    <a:ext uri="{FF2B5EF4-FFF2-40B4-BE49-F238E27FC236}">
                      <a16:creationId xmlns:a16="http://schemas.microsoft.com/office/drawing/2014/main" id="{39B1EADC-728A-4402-9387-8AAEF8E1E3BE}"/>
                    </a:ext>
                  </a:extLst>
                </p:cNvPr>
                <p:cNvSpPr/>
                <p:nvPr/>
              </p:nvSpPr>
              <p:spPr>
                <a:xfrm>
                  <a:off x="7965580" y="1846137"/>
                  <a:ext cx="72620" cy="80998"/>
                </a:xfrm>
                <a:custGeom>
                  <a:avLst/>
                  <a:gdLst>
                    <a:gd name="connsiteX0" fmla="*/ 36310 w 72620"/>
                    <a:gd name="connsiteY0" fmla="*/ 80998 h 80998"/>
                    <a:gd name="connsiteX1" fmla="*/ 0 w 72620"/>
                    <a:gd name="connsiteY1" fmla="*/ 40499 h 80998"/>
                    <a:gd name="connsiteX2" fmla="*/ 36310 w 72620"/>
                    <a:gd name="connsiteY2" fmla="*/ 0 h 80998"/>
                    <a:gd name="connsiteX3" fmla="*/ 72621 w 72620"/>
                    <a:gd name="connsiteY3" fmla="*/ 40499 h 80998"/>
                    <a:gd name="connsiteX4" fmla="*/ 36310 w 72620"/>
                    <a:gd name="connsiteY4" fmla="*/ 80998 h 80998"/>
                    <a:gd name="connsiteX5" fmla="*/ 36310 w 72620"/>
                    <a:gd name="connsiteY5" fmla="*/ 9765 h 80998"/>
                    <a:gd name="connsiteX6" fmla="*/ 9765 w 72620"/>
                    <a:gd name="connsiteY6" fmla="*/ 40499 h 80998"/>
                    <a:gd name="connsiteX7" fmla="*/ 36310 w 72620"/>
                    <a:gd name="connsiteY7" fmla="*/ 71233 h 80998"/>
                    <a:gd name="connsiteX8" fmla="*/ 62856 w 72620"/>
                    <a:gd name="connsiteY8" fmla="*/ 40499 h 80998"/>
                    <a:gd name="connsiteX9" fmla="*/ 36310 w 72620"/>
                    <a:gd name="connsiteY9" fmla="*/ 9765 h 8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620" h="80998">
                      <a:moveTo>
                        <a:pt x="36310" y="80998"/>
                      </a:moveTo>
                      <a:cubicBezTo>
                        <a:pt x="16292" y="80998"/>
                        <a:pt x="0" y="62830"/>
                        <a:pt x="0" y="40499"/>
                      </a:cubicBezTo>
                      <a:cubicBezTo>
                        <a:pt x="0" y="18168"/>
                        <a:pt x="16292" y="0"/>
                        <a:pt x="36310" y="0"/>
                      </a:cubicBezTo>
                      <a:cubicBezTo>
                        <a:pt x="56329" y="0"/>
                        <a:pt x="72621" y="18168"/>
                        <a:pt x="72621" y="40499"/>
                      </a:cubicBezTo>
                      <a:cubicBezTo>
                        <a:pt x="72621" y="62830"/>
                        <a:pt x="56329" y="80998"/>
                        <a:pt x="36310" y="80998"/>
                      </a:cubicBezTo>
                      <a:close/>
                      <a:moveTo>
                        <a:pt x="36310" y="9765"/>
                      </a:moveTo>
                      <a:cubicBezTo>
                        <a:pt x="21663" y="9765"/>
                        <a:pt x="9765" y="23539"/>
                        <a:pt x="9765" y="40499"/>
                      </a:cubicBezTo>
                      <a:cubicBezTo>
                        <a:pt x="9765" y="57459"/>
                        <a:pt x="21663" y="71233"/>
                        <a:pt x="36310" y="71233"/>
                      </a:cubicBezTo>
                      <a:cubicBezTo>
                        <a:pt x="50958" y="71233"/>
                        <a:pt x="62856" y="57434"/>
                        <a:pt x="62856" y="40499"/>
                      </a:cubicBezTo>
                      <a:cubicBezTo>
                        <a:pt x="62856" y="23539"/>
                        <a:pt x="50958" y="9765"/>
                        <a:pt x="36310" y="9765"/>
                      </a:cubicBezTo>
                      <a:close/>
                    </a:path>
                  </a:pathLst>
                </a:custGeom>
                <a:solidFill>
                  <a:schemeClr val="accent1"/>
                </a:solidFill>
                <a:ln w="2565" cap="flat">
                  <a:noFill/>
                  <a:prstDash val="solid"/>
                  <a:miter/>
                </a:ln>
              </p:spPr>
              <p:txBody>
                <a:bodyPr rtlCol="0" anchor="ctr"/>
                <a:lstStyle/>
                <a:p>
                  <a:endParaRPr lang="en-GB" dirty="0"/>
                </a:p>
              </p:txBody>
            </p:sp>
            <p:grpSp>
              <p:nvGrpSpPr>
                <p:cNvPr id="664" name="Grafik 22">
                  <a:extLst>
                    <a:ext uri="{FF2B5EF4-FFF2-40B4-BE49-F238E27FC236}">
                      <a16:creationId xmlns:a16="http://schemas.microsoft.com/office/drawing/2014/main" id="{6302D48D-B250-4874-8081-B5CE2DB55F83}"/>
                    </a:ext>
                  </a:extLst>
                </p:cNvPr>
                <p:cNvGrpSpPr/>
                <p:nvPr/>
              </p:nvGrpSpPr>
              <p:grpSpPr>
                <a:xfrm>
                  <a:off x="7863053" y="1843710"/>
                  <a:ext cx="277616" cy="308456"/>
                  <a:chOff x="7863053" y="1843710"/>
                  <a:chExt cx="277616" cy="308456"/>
                </a:xfrm>
                <a:solidFill>
                  <a:schemeClr val="accent1"/>
                </a:solidFill>
              </p:grpSpPr>
              <p:sp>
                <p:nvSpPr>
                  <p:cNvPr id="665" name="Freihandform: Form 962">
                    <a:extLst>
                      <a:ext uri="{FF2B5EF4-FFF2-40B4-BE49-F238E27FC236}">
                        <a16:creationId xmlns:a16="http://schemas.microsoft.com/office/drawing/2014/main" id="{716B0903-5BDB-4E6F-8C5B-A883BD53E421}"/>
                      </a:ext>
                    </a:extLst>
                  </p:cNvPr>
                  <p:cNvSpPr/>
                  <p:nvPr/>
                </p:nvSpPr>
                <p:spPr>
                  <a:xfrm>
                    <a:off x="7863053" y="1843738"/>
                    <a:ext cx="127300" cy="308428"/>
                  </a:xfrm>
                  <a:custGeom>
                    <a:avLst/>
                    <a:gdLst>
                      <a:gd name="connsiteX0" fmla="*/ 87212 w 127300"/>
                      <a:gd name="connsiteY0" fmla="*/ 308377 h 308428"/>
                      <a:gd name="connsiteX1" fmla="*/ 82329 w 127300"/>
                      <a:gd name="connsiteY1" fmla="*/ 303546 h 308428"/>
                      <a:gd name="connsiteX2" fmla="*/ 80505 w 127300"/>
                      <a:gd name="connsiteY2" fmla="*/ 129600 h 308428"/>
                      <a:gd name="connsiteX3" fmla="*/ 3721 w 127300"/>
                      <a:gd name="connsiteY3" fmla="*/ 28430 h 308428"/>
                      <a:gd name="connsiteX4" fmla="*/ 6548 w 127300"/>
                      <a:gd name="connsiteY4" fmla="*/ 4094 h 308428"/>
                      <a:gd name="connsiteX5" fmla="*/ 31115 w 127300"/>
                      <a:gd name="connsiteY5" fmla="*/ 6124 h 308428"/>
                      <a:gd name="connsiteX6" fmla="*/ 102502 w 127300"/>
                      <a:gd name="connsiteY6" fmla="*/ 91594 h 308428"/>
                      <a:gd name="connsiteX7" fmla="*/ 115042 w 127300"/>
                      <a:gd name="connsiteY7" fmla="*/ 91594 h 308428"/>
                      <a:gd name="connsiteX8" fmla="*/ 117535 w 127300"/>
                      <a:gd name="connsiteY8" fmla="*/ 90181 h 308428"/>
                      <a:gd name="connsiteX9" fmla="*/ 122495 w 127300"/>
                      <a:gd name="connsiteY9" fmla="*/ 85375 h 308428"/>
                      <a:gd name="connsiteX10" fmla="*/ 127300 w 127300"/>
                      <a:gd name="connsiteY10" fmla="*/ 90335 h 308428"/>
                      <a:gd name="connsiteX11" fmla="*/ 115531 w 127300"/>
                      <a:gd name="connsiteY11" fmla="*/ 101333 h 308428"/>
                      <a:gd name="connsiteX12" fmla="*/ 100523 w 127300"/>
                      <a:gd name="connsiteY12" fmla="*/ 101359 h 308428"/>
                      <a:gd name="connsiteX13" fmla="*/ 98724 w 127300"/>
                      <a:gd name="connsiteY13" fmla="*/ 101025 h 308428"/>
                      <a:gd name="connsiteX14" fmla="*/ 96335 w 127300"/>
                      <a:gd name="connsiteY14" fmla="*/ 99457 h 308428"/>
                      <a:gd name="connsiteX15" fmla="*/ 23611 w 127300"/>
                      <a:gd name="connsiteY15" fmla="*/ 12394 h 308428"/>
                      <a:gd name="connsiteX16" fmla="*/ 12767 w 127300"/>
                      <a:gd name="connsiteY16" fmla="*/ 11675 h 308428"/>
                      <a:gd name="connsiteX17" fmla="*/ 11379 w 127300"/>
                      <a:gd name="connsiteY17" fmla="*/ 22416 h 308428"/>
                      <a:gd name="connsiteX18" fmla="*/ 88831 w 127300"/>
                      <a:gd name="connsiteY18" fmla="*/ 124487 h 308428"/>
                      <a:gd name="connsiteX19" fmla="*/ 89576 w 127300"/>
                      <a:gd name="connsiteY19" fmla="*/ 125900 h 308428"/>
                      <a:gd name="connsiteX20" fmla="*/ 89987 w 127300"/>
                      <a:gd name="connsiteY20" fmla="*/ 127159 h 308428"/>
                      <a:gd name="connsiteX21" fmla="*/ 90244 w 127300"/>
                      <a:gd name="connsiteY21" fmla="*/ 128650 h 308428"/>
                      <a:gd name="connsiteX22" fmla="*/ 92069 w 127300"/>
                      <a:gd name="connsiteY22" fmla="*/ 303495 h 308428"/>
                      <a:gd name="connsiteX23" fmla="*/ 87238 w 127300"/>
                      <a:gd name="connsiteY23" fmla="*/ 308429 h 308428"/>
                      <a:gd name="connsiteX24" fmla="*/ 87212 w 127300"/>
                      <a:gd name="connsiteY24" fmla="*/ 308377 h 30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7300" h="308428">
                        <a:moveTo>
                          <a:pt x="87212" y="308377"/>
                        </a:moveTo>
                        <a:cubicBezTo>
                          <a:pt x="84539" y="308377"/>
                          <a:pt x="82355" y="306219"/>
                          <a:pt x="82329" y="303546"/>
                        </a:cubicBezTo>
                        <a:lnTo>
                          <a:pt x="80505" y="129600"/>
                        </a:lnTo>
                        <a:lnTo>
                          <a:pt x="3721" y="28430"/>
                        </a:lnTo>
                        <a:cubicBezTo>
                          <a:pt x="-2164" y="21260"/>
                          <a:pt x="-956" y="10287"/>
                          <a:pt x="6548" y="4094"/>
                        </a:cubicBezTo>
                        <a:cubicBezTo>
                          <a:pt x="14077" y="-2073"/>
                          <a:pt x="25075" y="-1174"/>
                          <a:pt x="31115" y="6124"/>
                        </a:cubicBezTo>
                        <a:lnTo>
                          <a:pt x="102502" y="91594"/>
                        </a:lnTo>
                        <a:lnTo>
                          <a:pt x="115042" y="91594"/>
                        </a:lnTo>
                        <a:cubicBezTo>
                          <a:pt x="115556" y="91491"/>
                          <a:pt x="117509" y="90849"/>
                          <a:pt x="117535" y="90181"/>
                        </a:cubicBezTo>
                        <a:cubicBezTo>
                          <a:pt x="117586" y="87482"/>
                          <a:pt x="120053" y="85375"/>
                          <a:pt x="122495" y="85375"/>
                        </a:cubicBezTo>
                        <a:cubicBezTo>
                          <a:pt x="125193" y="85427"/>
                          <a:pt x="127351" y="87637"/>
                          <a:pt x="127300" y="90335"/>
                        </a:cubicBezTo>
                        <a:cubicBezTo>
                          <a:pt x="127197" y="97093"/>
                          <a:pt x="121132" y="100768"/>
                          <a:pt x="115531" y="101333"/>
                        </a:cubicBezTo>
                        <a:lnTo>
                          <a:pt x="100523" y="101359"/>
                        </a:lnTo>
                        <a:cubicBezTo>
                          <a:pt x="99906" y="101359"/>
                          <a:pt x="99290" y="101230"/>
                          <a:pt x="98724" y="101025"/>
                        </a:cubicBezTo>
                        <a:cubicBezTo>
                          <a:pt x="97953" y="100716"/>
                          <a:pt x="96874" y="100074"/>
                          <a:pt x="96335" y="99457"/>
                        </a:cubicBezTo>
                        <a:lnTo>
                          <a:pt x="23611" y="12394"/>
                        </a:lnTo>
                        <a:cubicBezTo>
                          <a:pt x="20990" y="9208"/>
                          <a:pt x="16133" y="8900"/>
                          <a:pt x="12767" y="11675"/>
                        </a:cubicBezTo>
                        <a:cubicBezTo>
                          <a:pt x="9400" y="14450"/>
                          <a:pt x="8783" y="19256"/>
                          <a:pt x="11379" y="22416"/>
                        </a:cubicBezTo>
                        <a:lnTo>
                          <a:pt x="88831" y="124487"/>
                        </a:lnTo>
                        <a:cubicBezTo>
                          <a:pt x="89165" y="124923"/>
                          <a:pt x="89396" y="125386"/>
                          <a:pt x="89576" y="125900"/>
                        </a:cubicBezTo>
                        <a:lnTo>
                          <a:pt x="89987" y="127159"/>
                        </a:lnTo>
                        <a:cubicBezTo>
                          <a:pt x="90142" y="127647"/>
                          <a:pt x="90219" y="128136"/>
                          <a:pt x="90244" y="128650"/>
                        </a:cubicBezTo>
                        <a:lnTo>
                          <a:pt x="92069" y="303495"/>
                        </a:lnTo>
                        <a:cubicBezTo>
                          <a:pt x="92095" y="306193"/>
                          <a:pt x="89936" y="308403"/>
                          <a:pt x="87238" y="308429"/>
                        </a:cubicBezTo>
                        <a:cubicBezTo>
                          <a:pt x="87263" y="308377"/>
                          <a:pt x="87238" y="308377"/>
                          <a:pt x="87212" y="308377"/>
                        </a:cubicBezTo>
                        <a:close/>
                      </a:path>
                    </a:pathLst>
                  </a:custGeom>
                  <a:solidFill>
                    <a:schemeClr val="accent1"/>
                  </a:solidFill>
                  <a:ln w="2565" cap="flat">
                    <a:noFill/>
                    <a:prstDash val="solid"/>
                    <a:miter/>
                  </a:ln>
                </p:spPr>
                <p:txBody>
                  <a:bodyPr rtlCol="0" anchor="ctr"/>
                  <a:lstStyle/>
                  <a:p>
                    <a:endParaRPr lang="en-GB" dirty="0"/>
                  </a:p>
                </p:txBody>
              </p:sp>
              <p:sp>
                <p:nvSpPr>
                  <p:cNvPr id="666" name="Freihandform: Form 963">
                    <a:extLst>
                      <a:ext uri="{FF2B5EF4-FFF2-40B4-BE49-F238E27FC236}">
                        <a16:creationId xmlns:a16="http://schemas.microsoft.com/office/drawing/2014/main" id="{C3588D9A-1136-4425-94D6-6143F7A6E9BA}"/>
                      </a:ext>
                    </a:extLst>
                  </p:cNvPr>
                  <p:cNvSpPr/>
                  <p:nvPr/>
                </p:nvSpPr>
                <p:spPr>
                  <a:xfrm>
                    <a:off x="8013428" y="1843710"/>
                    <a:ext cx="127240" cy="308405"/>
                  </a:xfrm>
                  <a:custGeom>
                    <a:avLst/>
                    <a:gdLst>
                      <a:gd name="connsiteX0" fmla="*/ 40089 w 127240"/>
                      <a:gd name="connsiteY0" fmla="*/ 308405 h 308405"/>
                      <a:gd name="connsiteX1" fmla="*/ 40038 w 127240"/>
                      <a:gd name="connsiteY1" fmla="*/ 308405 h 308405"/>
                      <a:gd name="connsiteX2" fmla="*/ 35207 w 127240"/>
                      <a:gd name="connsiteY2" fmla="*/ 303472 h 308405"/>
                      <a:gd name="connsiteX3" fmla="*/ 37031 w 127240"/>
                      <a:gd name="connsiteY3" fmla="*/ 128626 h 308405"/>
                      <a:gd name="connsiteX4" fmla="*/ 37288 w 127240"/>
                      <a:gd name="connsiteY4" fmla="*/ 127136 h 308405"/>
                      <a:gd name="connsiteX5" fmla="*/ 37699 w 127240"/>
                      <a:gd name="connsiteY5" fmla="*/ 125877 h 308405"/>
                      <a:gd name="connsiteX6" fmla="*/ 38444 w 127240"/>
                      <a:gd name="connsiteY6" fmla="*/ 124463 h 308405"/>
                      <a:gd name="connsiteX7" fmla="*/ 115768 w 127240"/>
                      <a:gd name="connsiteY7" fmla="*/ 22547 h 308405"/>
                      <a:gd name="connsiteX8" fmla="*/ 114509 w 127240"/>
                      <a:gd name="connsiteY8" fmla="*/ 11651 h 308405"/>
                      <a:gd name="connsiteX9" fmla="*/ 103716 w 127240"/>
                      <a:gd name="connsiteY9" fmla="*/ 12345 h 308405"/>
                      <a:gd name="connsiteX10" fmla="*/ 30966 w 127240"/>
                      <a:gd name="connsiteY10" fmla="*/ 99434 h 308405"/>
                      <a:gd name="connsiteX11" fmla="*/ 29013 w 127240"/>
                      <a:gd name="connsiteY11" fmla="*/ 100847 h 308405"/>
                      <a:gd name="connsiteX12" fmla="*/ 26803 w 127240"/>
                      <a:gd name="connsiteY12" fmla="*/ 101361 h 308405"/>
                      <a:gd name="connsiteX13" fmla="*/ 12259 w 127240"/>
                      <a:gd name="connsiteY13" fmla="*/ 101361 h 308405"/>
                      <a:gd name="connsiteX14" fmla="*/ 1 w 127240"/>
                      <a:gd name="connsiteY14" fmla="*/ 90337 h 308405"/>
                      <a:gd name="connsiteX15" fmla="*/ 4806 w 127240"/>
                      <a:gd name="connsiteY15" fmla="*/ 85377 h 308405"/>
                      <a:gd name="connsiteX16" fmla="*/ 9766 w 127240"/>
                      <a:gd name="connsiteY16" fmla="*/ 90183 h 308405"/>
                      <a:gd name="connsiteX17" fmla="*/ 12773 w 127240"/>
                      <a:gd name="connsiteY17" fmla="*/ 91622 h 308405"/>
                      <a:gd name="connsiteX18" fmla="*/ 24773 w 127240"/>
                      <a:gd name="connsiteY18" fmla="*/ 91596 h 308405"/>
                      <a:gd name="connsiteX19" fmla="*/ 96187 w 127240"/>
                      <a:gd name="connsiteY19" fmla="*/ 6101 h 308405"/>
                      <a:gd name="connsiteX20" fmla="*/ 120702 w 127240"/>
                      <a:gd name="connsiteY20" fmla="*/ 4096 h 308405"/>
                      <a:gd name="connsiteX21" fmla="*/ 123426 w 127240"/>
                      <a:gd name="connsiteY21" fmla="*/ 28586 h 308405"/>
                      <a:gd name="connsiteX22" fmla="*/ 46770 w 127240"/>
                      <a:gd name="connsiteY22" fmla="*/ 129603 h 308405"/>
                      <a:gd name="connsiteX23" fmla="*/ 44971 w 127240"/>
                      <a:gd name="connsiteY23" fmla="*/ 303549 h 308405"/>
                      <a:gd name="connsiteX24" fmla="*/ 40089 w 127240"/>
                      <a:gd name="connsiteY24" fmla="*/ 308405 h 30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7240" h="308405">
                        <a:moveTo>
                          <a:pt x="40089" y="308405"/>
                        </a:moveTo>
                        <a:cubicBezTo>
                          <a:pt x="40063" y="308405"/>
                          <a:pt x="40063" y="308405"/>
                          <a:pt x="40038" y="308405"/>
                        </a:cubicBezTo>
                        <a:cubicBezTo>
                          <a:pt x="37339" y="308380"/>
                          <a:pt x="35181" y="306170"/>
                          <a:pt x="35207" y="303472"/>
                        </a:cubicBezTo>
                        <a:lnTo>
                          <a:pt x="37031" y="128626"/>
                        </a:lnTo>
                        <a:cubicBezTo>
                          <a:pt x="37031" y="128112"/>
                          <a:pt x="37108" y="127624"/>
                          <a:pt x="37288" y="127136"/>
                        </a:cubicBezTo>
                        <a:lnTo>
                          <a:pt x="37699" y="125877"/>
                        </a:lnTo>
                        <a:cubicBezTo>
                          <a:pt x="37879" y="125363"/>
                          <a:pt x="38110" y="124900"/>
                          <a:pt x="38444" y="124463"/>
                        </a:cubicBezTo>
                        <a:lnTo>
                          <a:pt x="115768" y="22547"/>
                        </a:lnTo>
                        <a:cubicBezTo>
                          <a:pt x="118492" y="19232"/>
                          <a:pt x="117875" y="14427"/>
                          <a:pt x="114509" y="11651"/>
                        </a:cubicBezTo>
                        <a:cubicBezTo>
                          <a:pt x="111168" y="8902"/>
                          <a:pt x="106311" y="9185"/>
                          <a:pt x="103716" y="12345"/>
                        </a:cubicBezTo>
                        <a:lnTo>
                          <a:pt x="30966" y="99434"/>
                        </a:lnTo>
                        <a:cubicBezTo>
                          <a:pt x="30452" y="100051"/>
                          <a:pt x="29784" y="100539"/>
                          <a:pt x="29013" y="100847"/>
                        </a:cubicBezTo>
                        <a:cubicBezTo>
                          <a:pt x="28448" y="101079"/>
                          <a:pt x="27420" y="101361"/>
                          <a:pt x="26803" y="101361"/>
                        </a:cubicBezTo>
                        <a:lnTo>
                          <a:pt x="12259" y="101361"/>
                        </a:lnTo>
                        <a:cubicBezTo>
                          <a:pt x="6168" y="100770"/>
                          <a:pt x="104" y="97095"/>
                          <a:pt x="1" y="90337"/>
                        </a:cubicBezTo>
                        <a:cubicBezTo>
                          <a:pt x="-51" y="87639"/>
                          <a:pt x="2108" y="85429"/>
                          <a:pt x="4806" y="85377"/>
                        </a:cubicBezTo>
                        <a:cubicBezTo>
                          <a:pt x="7248" y="85300"/>
                          <a:pt x="9715" y="87485"/>
                          <a:pt x="9766" y="90183"/>
                        </a:cubicBezTo>
                        <a:cubicBezTo>
                          <a:pt x="9792" y="90851"/>
                          <a:pt x="11745" y="91493"/>
                          <a:pt x="12773" y="91622"/>
                        </a:cubicBezTo>
                        <a:lnTo>
                          <a:pt x="24773" y="91596"/>
                        </a:lnTo>
                        <a:lnTo>
                          <a:pt x="96187" y="6101"/>
                        </a:lnTo>
                        <a:cubicBezTo>
                          <a:pt x="102174" y="-1172"/>
                          <a:pt x="113198" y="-2071"/>
                          <a:pt x="120702" y="4096"/>
                        </a:cubicBezTo>
                        <a:cubicBezTo>
                          <a:pt x="128205" y="10289"/>
                          <a:pt x="129439" y="21288"/>
                          <a:pt x="123426" y="28586"/>
                        </a:cubicBezTo>
                        <a:lnTo>
                          <a:pt x="46770" y="129603"/>
                        </a:lnTo>
                        <a:lnTo>
                          <a:pt x="44971" y="303549"/>
                        </a:lnTo>
                        <a:cubicBezTo>
                          <a:pt x="44946" y="306273"/>
                          <a:pt x="42787" y="308405"/>
                          <a:pt x="40089" y="308405"/>
                        </a:cubicBezTo>
                        <a:close/>
                      </a:path>
                    </a:pathLst>
                  </a:custGeom>
                  <a:solidFill>
                    <a:schemeClr val="accent1"/>
                  </a:solidFill>
                  <a:ln w="2565" cap="flat">
                    <a:noFill/>
                    <a:prstDash val="solid"/>
                    <a:miter/>
                  </a:ln>
                </p:spPr>
                <p:txBody>
                  <a:bodyPr rtlCol="0" anchor="ctr"/>
                  <a:lstStyle/>
                  <a:p>
                    <a:endParaRPr lang="en-GB" dirty="0"/>
                  </a:p>
                </p:txBody>
              </p:sp>
            </p:grpSp>
          </p:grpSp>
          <p:sp>
            <p:nvSpPr>
              <p:cNvPr id="662" name="Freihandform: Form 964">
                <a:extLst>
                  <a:ext uri="{FF2B5EF4-FFF2-40B4-BE49-F238E27FC236}">
                    <a16:creationId xmlns:a16="http://schemas.microsoft.com/office/drawing/2014/main" id="{C10D76E7-3736-4CED-8B40-1397838BF30F}"/>
                  </a:ext>
                </a:extLst>
              </p:cNvPr>
              <p:cNvSpPr/>
              <p:nvPr/>
            </p:nvSpPr>
            <p:spPr>
              <a:xfrm>
                <a:off x="7997008" y="2098614"/>
                <a:ext cx="9765" cy="52808"/>
              </a:xfrm>
              <a:custGeom>
                <a:avLst/>
                <a:gdLst>
                  <a:gd name="connsiteX0" fmla="*/ 4883 w 9765"/>
                  <a:gd name="connsiteY0" fmla="*/ 52808 h 52808"/>
                  <a:gd name="connsiteX1" fmla="*/ 0 w 9765"/>
                  <a:gd name="connsiteY1" fmla="*/ 47926 h 52808"/>
                  <a:gd name="connsiteX2" fmla="*/ 0 w 9765"/>
                  <a:gd name="connsiteY2" fmla="*/ 4883 h 52808"/>
                  <a:gd name="connsiteX3" fmla="*/ 4883 w 9765"/>
                  <a:gd name="connsiteY3" fmla="*/ 0 h 52808"/>
                  <a:gd name="connsiteX4" fmla="*/ 9765 w 9765"/>
                  <a:gd name="connsiteY4" fmla="*/ 4883 h 52808"/>
                  <a:gd name="connsiteX5" fmla="*/ 9765 w 9765"/>
                  <a:gd name="connsiteY5" fmla="*/ 47926 h 52808"/>
                  <a:gd name="connsiteX6" fmla="*/ 4883 w 9765"/>
                  <a:gd name="connsiteY6" fmla="*/ 52808 h 52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5" h="52808">
                    <a:moveTo>
                      <a:pt x="4883" y="52808"/>
                    </a:moveTo>
                    <a:cubicBezTo>
                      <a:pt x="2185" y="52808"/>
                      <a:pt x="0" y="50624"/>
                      <a:pt x="0" y="47926"/>
                    </a:cubicBezTo>
                    <a:lnTo>
                      <a:pt x="0" y="4883"/>
                    </a:lnTo>
                    <a:cubicBezTo>
                      <a:pt x="0" y="2184"/>
                      <a:pt x="2185" y="0"/>
                      <a:pt x="4883" y="0"/>
                    </a:cubicBezTo>
                    <a:cubicBezTo>
                      <a:pt x="7581" y="0"/>
                      <a:pt x="9765" y="2184"/>
                      <a:pt x="9765" y="4883"/>
                    </a:cubicBezTo>
                    <a:lnTo>
                      <a:pt x="9765" y="47926"/>
                    </a:lnTo>
                    <a:cubicBezTo>
                      <a:pt x="9765" y="50624"/>
                      <a:pt x="7555" y="52808"/>
                      <a:pt x="4883" y="52808"/>
                    </a:cubicBezTo>
                    <a:close/>
                  </a:path>
                </a:pathLst>
              </a:custGeom>
              <a:solidFill>
                <a:schemeClr val="accent1"/>
              </a:solidFill>
              <a:ln w="2565" cap="flat">
                <a:noFill/>
                <a:prstDash val="solid"/>
                <a:miter/>
              </a:ln>
            </p:spPr>
            <p:txBody>
              <a:bodyPr rtlCol="0" anchor="ctr"/>
              <a:lstStyle/>
              <a:p>
                <a:endParaRPr lang="en-GB" dirty="0"/>
              </a:p>
            </p:txBody>
          </p:sp>
        </p:grpSp>
        <p:grpSp>
          <p:nvGrpSpPr>
            <p:cNvPr id="650" name="Group 649">
              <a:extLst>
                <a:ext uri="{FF2B5EF4-FFF2-40B4-BE49-F238E27FC236}">
                  <a16:creationId xmlns:a16="http://schemas.microsoft.com/office/drawing/2014/main" id="{BAFEB67E-8BF1-457E-AF46-5502EF2A4A18}"/>
                </a:ext>
              </a:extLst>
            </p:cNvPr>
            <p:cNvGrpSpPr/>
            <p:nvPr/>
          </p:nvGrpSpPr>
          <p:grpSpPr>
            <a:xfrm>
              <a:off x="7982256" y="4114232"/>
              <a:ext cx="720000" cy="303526"/>
              <a:chOff x="7674454" y="1875482"/>
              <a:chExt cx="656210" cy="276634"/>
            </a:xfrm>
          </p:grpSpPr>
          <p:sp>
            <p:nvSpPr>
              <p:cNvPr id="651" name="Freihandform: Form 965">
                <a:extLst>
                  <a:ext uri="{FF2B5EF4-FFF2-40B4-BE49-F238E27FC236}">
                    <a16:creationId xmlns:a16="http://schemas.microsoft.com/office/drawing/2014/main" id="{E11A9A5C-DDDF-487A-AE94-5D40CF521C1F}"/>
                  </a:ext>
                </a:extLst>
              </p:cNvPr>
              <p:cNvSpPr/>
              <p:nvPr/>
            </p:nvSpPr>
            <p:spPr>
              <a:xfrm>
                <a:off x="7706987" y="1876922"/>
                <a:ext cx="64963" cy="72338"/>
              </a:xfrm>
              <a:custGeom>
                <a:avLst/>
                <a:gdLst>
                  <a:gd name="connsiteX0" fmla="*/ 32481 w 64963"/>
                  <a:gd name="connsiteY0" fmla="*/ 72338 h 72338"/>
                  <a:gd name="connsiteX1" fmla="*/ 0 w 64963"/>
                  <a:gd name="connsiteY1" fmla="*/ 36156 h 72338"/>
                  <a:gd name="connsiteX2" fmla="*/ 32481 w 64963"/>
                  <a:gd name="connsiteY2" fmla="*/ 0 h 72338"/>
                  <a:gd name="connsiteX3" fmla="*/ 64963 w 64963"/>
                  <a:gd name="connsiteY3" fmla="*/ 36156 h 72338"/>
                  <a:gd name="connsiteX4" fmla="*/ 32481 w 64963"/>
                  <a:gd name="connsiteY4" fmla="*/ 72338 h 72338"/>
                  <a:gd name="connsiteX5" fmla="*/ 32481 w 64963"/>
                  <a:gd name="connsiteY5" fmla="*/ 9765 h 72338"/>
                  <a:gd name="connsiteX6" fmla="*/ 9765 w 64963"/>
                  <a:gd name="connsiteY6" fmla="*/ 36156 h 72338"/>
                  <a:gd name="connsiteX7" fmla="*/ 32481 w 64963"/>
                  <a:gd name="connsiteY7" fmla="*/ 62573 h 72338"/>
                  <a:gd name="connsiteX8" fmla="*/ 55198 w 64963"/>
                  <a:gd name="connsiteY8" fmla="*/ 36156 h 72338"/>
                  <a:gd name="connsiteX9" fmla="*/ 32481 w 64963"/>
                  <a:gd name="connsiteY9" fmla="*/ 9765 h 7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963" h="72338">
                    <a:moveTo>
                      <a:pt x="32481" y="72338"/>
                    </a:moveTo>
                    <a:cubicBezTo>
                      <a:pt x="14570" y="72338"/>
                      <a:pt x="0" y="56123"/>
                      <a:pt x="0" y="36156"/>
                    </a:cubicBezTo>
                    <a:cubicBezTo>
                      <a:pt x="0" y="16215"/>
                      <a:pt x="14570" y="0"/>
                      <a:pt x="32481" y="0"/>
                    </a:cubicBezTo>
                    <a:cubicBezTo>
                      <a:pt x="50393" y="0"/>
                      <a:pt x="64963" y="16215"/>
                      <a:pt x="64963" y="36156"/>
                    </a:cubicBezTo>
                    <a:cubicBezTo>
                      <a:pt x="64963" y="56098"/>
                      <a:pt x="50393" y="72338"/>
                      <a:pt x="32481" y="72338"/>
                    </a:cubicBezTo>
                    <a:close/>
                    <a:moveTo>
                      <a:pt x="32481" y="9765"/>
                    </a:moveTo>
                    <a:cubicBezTo>
                      <a:pt x="19941" y="9765"/>
                      <a:pt x="9765" y="21612"/>
                      <a:pt x="9765" y="36156"/>
                    </a:cubicBezTo>
                    <a:cubicBezTo>
                      <a:pt x="9765" y="50727"/>
                      <a:pt x="19967" y="62573"/>
                      <a:pt x="32481" y="62573"/>
                    </a:cubicBezTo>
                    <a:cubicBezTo>
                      <a:pt x="44996" y="62573"/>
                      <a:pt x="55198" y="50727"/>
                      <a:pt x="55198" y="36156"/>
                    </a:cubicBezTo>
                    <a:cubicBezTo>
                      <a:pt x="55198" y="21612"/>
                      <a:pt x="44996" y="9765"/>
                      <a:pt x="32481" y="9765"/>
                    </a:cubicBezTo>
                    <a:close/>
                  </a:path>
                </a:pathLst>
              </a:custGeom>
              <a:solidFill>
                <a:schemeClr val="tx2"/>
              </a:solidFill>
              <a:ln w="2565" cap="flat">
                <a:noFill/>
                <a:prstDash val="solid"/>
                <a:miter/>
              </a:ln>
            </p:spPr>
            <p:txBody>
              <a:bodyPr rtlCol="0" anchor="ctr"/>
              <a:lstStyle/>
              <a:p>
                <a:endParaRPr lang="en-GB" dirty="0"/>
              </a:p>
            </p:txBody>
          </p:sp>
          <p:sp>
            <p:nvSpPr>
              <p:cNvPr id="652" name="Freihandform: Form 966">
                <a:extLst>
                  <a:ext uri="{FF2B5EF4-FFF2-40B4-BE49-F238E27FC236}">
                    <a16:creationId xmlns:a16="http://schemas.microsoft.com/office/drawing/2014/main" id="{9DFF7C5A-DD92-412B-A0C5-6C98F246A495}"/>
                  </a:ext>
                </a:extLst>
              </p:cNvPr>
              <p:cNvSpPr/>
              <p:nvPr/>
            </p:nvSpPr>
            <p:spPr>
              <a:xfrm>
                <a:off x="7736051" y="2089440"/>
                <a:ext cx="9764" cy="62676"/>
              </a:xfrm>
              <a:custGeom>
                <a:avLst/>
                <a:gdLst>
                  <a:gd name="connsiteX0" fmla="*/ 4882 w 9764"/>
                  <a:gd name="connsiteY0" fmla="*/ 62676 h 62676"/>
                  <a:gd name="connsiteX1" fmla="*/ 0 w 9764"/>
                  <a:gd name="connsiteY1" fmla="*/ 57794 h 62676"/>
                  <a:gd name="connsiteX2" fmla="*/ 0 w 9764"/>
                  <a:gd name="connsiteY2" fmla="*/ 4882 h 62676"/>
                  <a:gd name="connsiteX3" fmla="*/ 4882 w 9764"/>
                  <a:gd name="connsiteY3" fmla="*/ 0 h 62676"/>
                  <a:gd name="connsiteX4" fmla="*/ 9765 w 9764"/>
                  <a:gd name="connsiteY4" fmla="*/ 4882 h 62676"/>
                  <a:gd name="connsiteX5" fmla="*/ 9765 w 9764"/>
                  <a:gd name="connsiteY5" fmla="*/ 57794 h 62676"/>
                  <a:gd name="connsiteX6" fmla="*/ 4882 w 9764"/>
                  <a:gd name="connsiteY6" fmla="*/ 62676 h 62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4" h="62676">
                    <a:moveTo>
                      <a:pt x="4882" y="62676"/>
                    </a:moveTo>
                    <a:cubicBezTo>
                      <a:pt x="2184" y="62676"/>
                      <a:pt x="0" y="60492"/>
                      <a:pt x="0" y="57794"/>
                    </a:cubicBezTo>
                    <a:lnTo>
                      <a:pt x="0" y="4882"/>
                    </a:lnTo>
                    <a:cubicBezTo>
                      <a:pt x="0" y="2184"/>
                      <a:pt x="2184" y="0"/>
                      <a:pt x="4882" y="0"/>
                    </a:cubicBezTo>
                    <a:cubicBezTo>
                      <a:pt x="7581" y="0"/>
                      <a:pt x="9765" y="2184"/>
                      <a:pt x="9765" y="4882"/>
                    </a:cubicBezTo>
                    <a:lnTo>
                      <a:pt x="9765" y="57794"/>
                    </a:lnTo>
                    <a:cubicBezTo>
                      <a:pt x="9765" y="60492"/>
                      <a:pt x="7581" y="62676"/>
                      <a:pt x="4882" y="62676"/>
                    </a:cubicBezTo>
                    <a:close/>
                  </a:path>
                </a:pathLst>
              </a:custGeom>
              <a:solidFill>
                <a:schemeClr val="tx2"/>
              </a:solidFill>
              <a:ln w="2565" cap="flat">
                <a:noFill/>
                <a:prstDash val="solid"/>
                <a:miter/>
              </a:ln>
            </p:spPr>
            <p:txBody>
              <a:bodyPr rtlCol="0" anchor="ctr"/>
              <a:lstStyle/>
              <a:p>
                <a:endParaRPr lang="en-GB" dirty="0"/>
              </a:p>
            </p:txBody>
          </p:sp>
          <p:sp>
            <p:nvSpPr>
              <p:cNvPr id="653" name="Freihandform: Form 967">
                <a:extLst>
                  <a:ext uri="{FF2B5EF4-FFF2-40B4-BE49-F238E27FC236}">
                    <a16:creationId xmlns:a16="http://schemas.microsoft.com/office/drawing/2014/main" id="{20F6AEFE-553C-4BF9-B4DD-17A5C382459C}"/>
                  </a:ext>
                </a:extLst>
              </p:cNvPr>
              <p:cNvSpPr/>
              <p:nvPr/>
            </p:nvSpPr>
            <p:spPr>
              <a:xfrm>
                <a:off x="7749001" y="1875482"/>
                <a:ext cx="112959" cy="276299"/>
              </a:xfrm>
              <a:custGeom>
                <a:avLst/>
                <a:gdLst>
                  <a:gd name="connsiteX0" fmla="*/ 35875 w 112959"/>
                  <a:gd name="connsiteY0" fmla="*/ 276300 h 276299"/>
                  <a:gd name="connsiteX1" fmla="*/ 35823 w 112959"/>
                  <a:gd name="connsiteY1" fmla="*/ 276300 h 276299"/>
                  <a:gd name="connsiteX2" fmla="*/ 30992 w 112959"/>
                  <a:gd name="connsiteY2" fmla="*/ 271366 h 276299"/>
                  <a:gd name="connsiteX3" fmla="*/ 32534 w 112959"/>
                  <a:gd name="connsiteY3" fmla="*/ 113584 h 276299"/>
                  <a:gd name="connsiteX4" fmla="*/ 32791 w 112959"/>
                  <a:gd name="connsiteY4" fmla="*/ 112093 h 276299"/>
                  <a:gd name="connsiteX5" fmla="*/ 33151 w 112959"/>
                  <a:gd name="connsiteY5" fmla="*/ 110988 h 276299"/>
                  <a:gd name="connsiteX6" fmla="*/ 33896 w 112959"/>
                  <a:gd name="connsiteY6" fmla="*/ 109575 h 276299"/>
                  <a:gd name="connsiteX7" fmla="*/ 101814 w 112959"/>
                  <a:gd name="connsiteY7" fmla="*/ 20071 h 276299"/>
                  <a:gd name="connsiteX8" fmla="*/ 100812 w 112959"/>
                  <a:gd name="connsiteY8" fmla="*/ 11308 h 276299"/>
                  <a:gd name="connsiteX9" fmla="*/ 92152 w 112959"/>
                  <a:gd name="connsiteY9" fmla="*/ 11847 h 276299"/>
                  <a:gd name="connsiteX10" fmla="*/ 28242 w 112959"/>
                  <a:gd name="connsiteY10" fmla="*/ 88349 h 276299"/>
                  <a:gd name="connsiteX11" fmla="*/ 26341 w 112959"/>
                  <a:gd name="connsiteY11" fmla="*/ 89736 h 276299"/>
                  <a:gd name="connsiteX12" fmla="*/ 24131 w 112959"/>
                  <a:gd name="connsiteY12" fmla="*/ 90250 h 276299"/>
                  <a:gd name="connsiteX13" fmla="*/ 11359 w 112959"/>
                  <a:gd name="connsiteY13" fmla="*/ 90250 h 276299"/>
                  <a:gd name="connsiteX14" fmla="*/ 1 w 112959"/>
                  <a:gd name="connsiteY14" fmla="*/ 79971 h 276299"/>
                  <a:gd name="connsiteX15" fmla="*/ 4806 w 112959"/>
                  <a:gd name="connsiteY15" fmla="*/ 75012 h 276299"/>
                  <a:gd name="connsiteX16" fmla="*/ 9766 w 112959"/>
                  <a:gd name="connsiteY16" fmla="*/ 79817 h 276299"/>
                  <a:gd name="connsiteX17" fmla="*/ 4883 w 112959"/>
                  <a:gd name="connsiteY17" fmla="*/ 79894 h 276299"/>
                  <a:gd name="connsiteX18" fmla="*/ 9766 w 112959"/>
                  <a:gd name="connsiteY18" fmla="*/ 79843 h 276299"/>
                  <a:gd name="connsiteX19" fmla="*/ 11847 w 112959"/>
                  <a:gd name="connsiteY19" fmla="*/ 80485 h 276299"/>
                  <a:gd name="connsiteX20" fmla="*/ 22075 w 112959"/>
                  <a:gd name="connsiteY20" fmla="*/ 80460 h 276299"/>
                  <a:gd name="connsiteX21" fmla="*/ 84623 w 112959"/>
                  <a:gd name="connsiteY21" fmla="*/ 5577 h 276299"/>
                  <a:gd name="connsiteX22" fmla="*/ 107005 w 112959"/>
                  <a:gd name="connsiteY22" fmla="*/ 3727 h 276299"/>
                  <a:gd name="connsiteX23" fmla="*/ 109472 w 112959"/>
                  <a:gd name="connsiteY23" fmla="*/ 26084 h 276299"/>
                  <a:gd name="connsiteX24" fmla="*/ 42273 w 112959"/>
                  <a:gd name="connsiteY24" fmla="*/ 114637 h 276299"/>
                  <a:gd name="connsiteX25" fmla="*/ 40757 w 112959"/>
                  <a:gd name="connsiteY25" fmla="*/ 271417 h 276299"/>
                  <a:gd name="connsiteX26" fmla="*/ 35875 w 112959"/>
                  <a:gd name="connsiteY26" fmla="*/ 276300 h 276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2959" h="276299">
                    <a:moveTo>
                      <a:pt x="35875" y="276300"/>
                    </a:moveTo>
                    <a:cubicBezTo>
                      <a:pt x="35875" y="276300"/>
                      <a:pt x="35849" y="276300"/>
                      <a:pt x="35823" y="276300"/>
                    </a:cubicBezTo>
                    <a:cubicBezTo>
                      <a:pt x="33125" y="276274"/>
                      <a:pt x="30966" y="274064"/>
                      <a:pt x="30992" y="271366"/>
                    </a:cubicBezTo>
                    <a:lnTo>
                      <a:pt x="32534" y="113584"/>
                    </a:lnTo>
                    <a:cubicBezTo>
                      <a:pt x="32534" y="113070"/>
                      <a:pt x="32611" y="112581"/>
                      <a:pt x="32791" y="112093"/>
                    </a:cubicBezTo>
                    <a:lnTo>
                      <a:pt x="33151" y="110988"/>
                    </a:lnTo>
                    <a:cubicBezTo>
                      <a:pt x="33330" y="110474"/>
                      <a:pt x="33562" y="110012"/>
                      <a:pt x="33896" y="109575"/>
                    </a:cubicBezTo>
                    <a:lnTo>
                      <a:pt x="101814" y="20071"/>
                    </a:lnTo>
                    <a:cubicBezTo>
                      <a:pt x="103999" y="17398"/>
                      <a:pt x="103510" y="13544"/>
                      <a:pt x="100812" y="11308"/>
                    </a:cubicBezTo>
                    <a:cubicBezTo>
                      <a:pt x="98114" y="9098"/>
                      <a:pt x="94233" y="9329"/>
                      <a:pt x="92152" y="11847"/>
                    </a:cubicBezTo>
                    <a:lnTo>
                      <a:pt x="28242" y="88349"/>
                    </a:lnTo>
                    <a:cubicBezTo>
                      <a:pt x="27728" y="88965"/>
                      <a:pt x="27060" y="89454"/>
                      <a:pt x="26341" y="89736"/>
                    </a:cubicBezTo>
                    <a:cubicBezTo>
                      <a:pt x="25775" y="89968"/>
                      <a:pt x="24773" y="90250"/>
                      <a:pt x="24131" y="90250"/>
                    </a:cubicBezTo>
                    <a:lnTo>
                      <a:pt x="11359" y="90250"/>
                    </a:lnTo>
                    <a:cubicBezTo>
                      <a:pt x="5706" y="89711"/>
                      <a:pt x="104" y="86267"/>
                      <a:pt x="1" y="79971"/>
                    </a:cubicBezTo>
                    <a:cubicBezTo>
                      <a:pt x="-51" y="77273"/>
                      <a:pt x="2108" y="75063"/>
                      <a:pt x="4806" y="75012"/>
                    </a:cubicBezTo>
                    <a:cubicBezTo>
                      <a:pt x="7479" y="75063"/>
                      <a:pt x="9714" y="77119"/>
                      <a:pt x="9766" y="79817"/>
                    </a:cubicBezTo>
                    <a:lnTo>
                      <a:pt x="4883" y="79894"/>
                    </a:lnTo>
                    <a:lnTo>
                      <a:pt x="9766" y="79843"/>
                    </a:lnTo>
                    <a:cubicBezTo>
                      <a:pt x="9972" y="79997"/>
                      <a:pt x="11231" y="80434"/>
                      <a:pt x="11847" y="80485"/>
                    </a:cubicBezTo>
                    <a:lnTo>
                      <a:pt x="22075" y="80460"/>
                    </a:lnTo>
                    <a:lnTo>
                      <a:pt x="84623" y="5577"/>
                    </a:lnTo>
                    <a:cubicBezTo>
                      <a:pt x="90096" y="-1053"/>
                      <a:pt x="100144" y="-1901"/>
                      <a:pt x="107005" y="3727"/>
                    </a:cubicBezTo>
                    <a:cubicBezTo>
                      <a:pt x="113866" y="9381"/>
                      <a:pt x="114946" y="19403"/>
                      <a:pt x="109472" y="26084"/>
                    </a:cubicBezTo>
                    <a:lnTo>
                      <a:pt x="42273" y="114637"/>
                    </a:lnTo>
                    <a:lnTo>
                      <a:pt x="40757" y="271417"/>
                    </a:lnTo>
                    <a:cubicBezTo>
                      <a:pt x="40731" y="274141"/>
                      <a:pt x="38547" y="276300"/>
                      <a:pt x="35875" y="276300"/>
                    </a:cubicBezTo>
                    <a:close/>
                  </a:path>
                </a:pathLst>
              </a:custGeom>
              <a:solidFill>
                <a:schemeClr val="tx2"/>
              </a:solidFill>
              <a:ln w="2565" cap="flat">
                <a:noFill/>
                <a:prstDash val="solid"/>
                <a:miter/>
              </a:ln>
            </p:spPr>
            <p:txBody>
              <a:bodyPr rtlCol="0" anchor="ctr"/>
              <a:lstStyle/>
              <a:p>
                <a:endParaRPr lang="en-GB" dirty="0"/>
              </a:p>
            </p:txBody>
          </p:sp>
          <p:sp>
            <p:nvSpPr>
              <p:cNvPr id="654" name="Freihandform: Form 968">
                <a:extLst>
                  <a:ext uri="{FF2B5EF4-FFF2-40B4-BE49-F238E27FC236}">
                    <a16:creationId xmlns:a16="http://schemas.microsoft.com/office/drawing/2014/main" id="{A154B385-9F28-458F-A737-110AA3A4761A}"/>
                  </a:ext>
                </a:extLst>
              </p:cNvPr>
              <p:cNvSpPr/>
              <p:nvPr/>
            </p:nvSpPr>
            <p:spPr>
              <a:xfrm>
                <a:off x="7674454" y="1950622"/>
                <a:ext cx="57074" cy="161868"/>
              </a:xfrm>
              <a:custGeom>
                <a:avLst/>
                <a:gdLst>
                  <a:gd name="connsiteX0" fmla="*/ 16755 w 57074"/>
                  <a:gd name="connsiteY0" fmla="*/ 161868 h 161868"/>
                  <a:gd name="connsiteX1" fmla="*/ 0 w 57074"/>
                  <a:gd name="connsiteY1" fmla="*/ 145113 h 161868"/>
                  <a:gd name="connsiteX2" fmla="*/ 0 w 57074"/>
                  <a:gd name="connsiteY2" fmla="*/ 29681 h 161868"/>
                  <a:gd name="connsiteX3" fmla="*/ 27034 w 57074"/>
                  <a:gd name="connsiteY3" fmla="*/ 5808 h 161868"/>
                  <a:gd name="connsiteX4" fmla="*/ 45279 w 57074"/>
                  <a:gd name="connsiteY4" fmla="*/ 5808 h 161868"/>
                  <a:gd name="connsiteX5" fmla="*/ 47309 w 57074"/>
                  <a:gd name="connsiteY5" fmla="*/ 4831 h 161868"/>
                  <a:gd name="connsiteX6" fmla="*/ 52269 w 57074"/>
                  <a:gd name="connsiteY6" fmla="*/ 0 h 161868"/>
                  <a:gd name="connsiteX7" fmla="*/ 57074 w 57074"/>
                  <a:gd name="connsiteY7" fmla="*/ 4934 h 161868"/>
                  <a:gd name="connsiteX8" fmla="*/ 45767 w 57074"/>
                  <a:gd name="connsiteY8" fmla="*/ 15547 h 161868"/>
                  <a:gd name="connsiteX9" fmla="*/ 27034 w 57074"/>
                  <a:gd name="connsiteY9" fmla="*/ 15573 h 161868"/>
                  <a:gd name="connsiteX10" fmla="*/ 9765 w 57074"/>
                  <a:gd name="connsiteY10" fmla="*/ 29681 h 161868"/>
                  <a:gd name="connsiteX11" fmla="*/ 9765 w 57074"/>
                  <a:gd name="connsiteY11" fmla="*/ 145113 h 161868"/>
                  <a:gd name="connsiteX12" fmla="*/ 16755 w 57074"/>
                  <a:gd name="connsiteY12" fmla="*/ 152103 h 161868"/>
                  <a:gd name="connsiteX13" fmla="*/ 23744 w 57074"/>
                  <a:gd name="connsiteY13" fmla="*/ 145113 h 161868"/>
                  <a:gd name="connsiteX14" fmla="*/ 23744 w 57074"/>
                  <a:gd name="connsiteY14" fmla="*/ 52037 h 161868"/>
                  <a:gd name="connsiteX15" fmla="*/ 28627 w 57074"/>
                  <a:gd name="connsiteY15" fmla="*/ 47155 h 161868"/>
                  <a:gd name="connsiteX16" fmla="*/ 33509 w 57074"/>
                  <a:gd name="connsiteY16" fmla="*/ 52037 h 161868"/>
                  <a:gd name="connsiteX17" fmla="*/ 33509 w 57074"/>
                  <a:gd name="connsiteY17" fmla="*/ 145113 h 161868"/>
                  <a:gd name="connsiteX18" fmla="*/ 16755 w 57074"/>
                  <a:gd name="connsiteY18" fmla="*/ 161868 h 16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7074" h="161868">
                    <a:moveTo>
                      <a:pt x="16755" y="161868"/>
                    </a:moveTo>
                    <a:cubicBezTo>
                      <a:pt x="7529" y="161868"/>
                      <a:pt x="0" y="154365"/>
                      <a:pt x="0" y="145113"/>
                    </a:cubicBezTo>
                    <a:lnTo>
                      <a:pt x="0" y="29681"/>
                    </a:lnTo>
                    <a:cubicBezTo>
                      <a:pt x="0" y="10793"/>
                      <a:pt x="17680" y="5808"/>
                      <a:pt x="27034" y="5808"/>
                    </a:cubicBezTo>
                    <a:lnTo>
                      <a:pt x="45279" y="5808"/>
                    </a:lnTo>
                    <a:cubicBezTo>
                      <a:pt x="45844" y="5705"/>
                      <a:pt x="47078" y="5165"/>
                      <a:pt x="47309" y="4831"/>
                    </a:cubicBezTo>
                    <a:cubicBezTo>
                      <a:pt x="47360" y="2133"/>
                      <a:pt x="49596" y="283"/>
                      <a:pt x="52269" y="0"/>
                    </a:cubicBezTo>
                    <a:cubicBezTo>
                      <a:pt x="54967" y="51"/>
                      <a:pt x="57125" y="2236"/>
                      <a:pt x="57074" y="4934"/>
                    </a:cubicBezTo>
                    <a:cubicBezTo>
                      <a:pt x="56971" y="11461"/>
                      <a:pt x="51138" y="15007"/>
                      <a:pt x="45767" y="15547"/>
                    </a:cubicBezTo>
                    <a:lnTo>
                      <a:pt x="27034" y="15573"/>
                    </a:lnTo>
                    <a:cubicBezTo>
                      <a:pt x="25286" y="15598"/>
                      <a:pt x="9765" y="16087"/>
                      <a:pt x="9765" y="29681"/>
                    </a:cubicBezTo>
                    <a:lnTo>
                      <a:pt x="9765" y="145113"/>
                    </a:lnTo>
                    <a:cubicBezTo>
                      <a:pt x="9765" y="148968"/>
                      <a:pt x="12900" y="152103"/>
                      <a:pt x="16755" y="152103"/>
                    </a:cubicBezTo>
                    <a:cubicBezTo>
                      <a:pt x="20609" y="152103"/>
                      <a:pt x="23744" y="148968"/>
                      <a:pt x="23744" y="145113"/>
                    </a:cubicBezTo>
                    <a:lnTo>
                      <a:pt x="23744" y="52037"/>
                    </a:lnTo>
                    <a:cubicBezTo>
                      <a:pt x="23744" y="49339"/>
                      <a:pt x="25929" y="47155"/>
                      <a:pt x="28627" y="47155"/>
                    </a:cubicBezTo>
                    <a:cubicBezTo>
                      <a:pt x="31325" y="47155"/>
                      <a:pt x="33509" y="49339"/>
                      <a:pt x="33509" y="52037"/>
                    </a:cubicBezTo>
                    <a:lnTo>
                      <a:pt x="33509" y="145113"/>
                    </a:lnTo>
                    <a:cubicBezTo>
                      <a:pt x="33509" y="154365"/>
                      <a:pt x="26006" y="161868"/>
                      <a:pt x="16755" y="161868"/>
                    </a:cubicBezTo>
                    <a:close/>
                  </a:path>
                </a:pathLst>
              </a:custGeom>
              <a:solidFill>
                <a:schemeClr val="tx2"/>
              </a:solidFill>
              <a:ln w="2565" cap="flat">
                <a:noFill/>
                <a:prstDash val="solid"/>
                <a:miter/>
              </a:ln>
            </p:spPr>
            <p:txBody>
              <a:bodyPr rtlCol="0" anchor="ctr"/>
              <a:lstStyle/>
              <a:p>
                <a:endParaRPr lang="en-GB" dirty="0"/>
              </a:p>
            </p:txBody>
          </p:sp>
          <p:sp>
            <p:nvSpPr>
              <p:cNvPr id="655" name="Freihandform: Form 969">
                <a:extLst>
                  <a:ext uri="{FF2B5EF4-FFF2-40B4-BE49-F238E27FC236}">
                    <a16:creationId xmlns:a16="http://schemas.microsoft.com/office/drawing/2014/main" id="{B78F8FE6-508E-40E0-A132-4FFD1A237CE9}"/>
                  </a:ext>
                </a:extLst>
              </p:cNvPr>
              <p:cNvSpPr/>
              <p:nvPr/>
            </p:nvSpPr>
            <p:spPr>
              <a:xfrm>
                <a:off x="7698198" y="2021958"/>
                <a:ext cx="9790" cy="130157"/>
              </a:xfrm>
              <a:custGeom>
                <a:avLst/>
                <a:gdLst>
                  <a:gd name="connsiteX0" fmla="*/ 4908 w 9790"/>
                  <a:gd name="connsiteY0" fmla="*/ 130158 h 130157"/>
                  <a:gd name="connsiteX1" fmla="*/ 26 w 9790"/>
                  <a:gd name="connsiteY1" fmla="*/ 125275 h 130157"/>
                  <a:gd name="connsiteX2" fmla="*/ 0 w 9790"/>
                  <a:gd name="connsiteY2" fmla="*/ 4883 h 130157"/>
                  <a:gd name="connsiteX3" fmla="*/ 4883 w 9790"/>
                  <a:gd name="connsiteY3" fmla="*/ 0 h 130157"/>
                  <a:gd name="connsiteX4" fmla="*/ 9765 w 9790"/>
                  <a:gd name="connsiteY4" fmla="*/ 4883 h 130157"/>
                  <a:gd name="connsiteX5" fmla="*/ 9791 w 9790"/>
                  <a:gd name="connsiteY5" fmla="*/ 125275 h 130157"/>
                  <a:gd name="connsiteX6" fmla="*/ 4908 w 9790"/>
                  <a:gd name="connsiteY6" fmla="*/ 130158 h 13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0" h="130157">
                    <a:moveTo>
                      <a:pt x="4908" y="130158"/>
                    </a:moveTo>
                    <a:cubicBezTo>
                      <a:pt x="2210" y="130158"/>
                      <a:pt x="26" y="127973"/>
                      <a:pt x="26" y="125275"/>
                    </a:cubicBezTo>
                    <a:lnTo>
                      <a:pt x="0" y="4883"/>
                    </a:lnTo>
                    <a:cubicBezTo>
                      <a:pt x="0" y="2184"/>
                      <a:pt x="2184" y="0"/>
                      <a:pt x="4883" y="0"/>
                    </a:cubicBezTo>
                    <a:cubicBezTo>
                      <a:pt x="7581" y="0"/>
                      <a:pt x="9765" y="2184"/>
                      <a:pt x="9765" y="4883"/>
                    </a:cubicBezTo>
                    <a:lnTo>
                      <a:pt x="9791" y="125275"/>
                    </a:lnTo>
                    <a:cubicBezTo>
                      <a:pt x="9791" y="127973"/>
                      <a:pt x="7606" y="130158"/>
                      <a:pt x="4908" y="130158"/>
                    </a:cubicBezTo>
                    <a:close/>
                  </a:path>
                </a:pathLst>
              </a:custGeom>
              <a:solidFill>
                <a:schemeClr val="tx2"/>
              </a:solidFill>
              <a:ln w="2565" cap="flat">
                <a:noFill/>
                <a:prstDash val="solid"/>
                <a:miter/>
              </a:ln>
            </p:spPr>
            <p:txBody>
              <a:bodyPr rtlCol="0" anchor="ctr"/>
              <a:lstStyle/>
              <a:p>
                <a:endParaRPr lang="en-GB" dirty="0"/>
              </a:p>
            </p:txBody>
          </p:sp>
          <p:sp>
            <p:nvSpPr>
              <p:cNvPr id="656" name="Freihandform: Form 970">
                <a:extLst>
                  <a:ext uri="{FF2B5EF4-FFF2-40B4-BE49-F238E27FC236}">
                    <a16:creationId xmlns:a16="http://schemas.microsoft.com/office/drawing/2014/main" id="{1C2517EC-822D-494D-AD26-E3CF1A78BF30}"/>
                  </a:ext>
                </a:extLst>
              </p:cNvPr>
              <p:cNvSpPr/>
              <p:nvPr/>
            </p:nvSpPr>
            <p:spPr>
              <a:xfrm>
                <a:off x="8233219" y="1876922"/>
                <a:ext cx="64963" cy="72338"/>
              </a:xfrm>
              <a:custGeom>
                <a:avLst/>
                <a:gdLst>
                  <a:gd name="connsiteX0" fmla="*/ 32482 w 64963"/>
                  <a:gd name="connsiteY0" fmla="*/ 72338 h 72338"/>
                  <a:gd name="connsiteX1" fmla="*/ 0 w 64963"/>
                  <a:gd name="connsiteY1" fmla="*/ 36156 h 72338"/>
                  <a:gd name="connsiteX2" fmla="*/ 32482 w 64963"/>
                  <a:gd name="connsiteY2" fmla="*/ 0 h 72338"/>
                  <a:gd name="connsiteX3" fmla="*/ 64963 w 64963"/>
                  <a:gd name="connsiteY3" fmla="*/ 36156 h 72338"/>
                  <a:gd name="connsiteX4" fmla="*/ 32482 w 64963"/>
                  <a:gd name="connsiteY4" fmla="*/ 72338 h 72338"/>
                  <a:gd name="connsiteX5" fmla="*/ 32482 w 64963"/>
                  <a:gd name="connsiteY5" fmla="*/ 9765 h 72338"/>
                  <a:gd name="connsiteX6" fmla="*/ 9765 w 64963"/>
                  <a:gd name="connsiteY6" fmla="*/ 36156 h 72338"/>
                  <a:gd name="connsiteX7" fmla="*/ 32482 w 64963"/>
                  <a:gd name="connsiteY7" fmla="*/ 62573 h 72338"/>
                  <a:gd name="connsiteX8" fmla="*/ 55198 w 64963"/>
                  <a:gd name="connsiteY8" fmla="*/ 36156 h 72338"/>
                  <a:gd name="connsiteX9" fmla="*/ 32482 w 64963"/>
                  <a:gd name="connsiteY9" fmla="*/ 9765 h 7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963" h="72338">
                    <a:moveTo>
                      <a:pt x="32482" y="72338"/>
                    </a:moveTo>
                    <a:cubicBezTo>
                      <a:pt x="14571" y="72338"/>
                      <a:pt x="0" y="56123"/>
                      <a:pt x="0" y="36156"/>
                    </a:cubicBezTo>
                    <a:cubicBezTo>
                      <a:pt x="0" y="16215"/>
                      <a:pt x="14571" y="0"/>
                      <a:pt x="32482" y="0"/>
                    </a:cubicBezTo>
                    <a:cubicBezTo>
                      <a:pt x="50393" y="0"/>
                      <a:pt x="64963" y="16215"/>
                      <a:pt x="64963" y="36156"/>
                    </a:cubicBezTo>
                    <a:cubicBezTo>
                      <a:pt x="64963" y="56098"/>
                      <a:pt x="50393" y="72338"/>
                      <a:pt x="32482" y="72338"/>
                    </a:cubicBezTo>
                    <a:close/>
                    <a:moveTo>
                      <a:pt x="32482" y="9765"/>
                    </a:moveTo>
                    <a:cubicBezTo>
                      <a:pt x="19967" y="9765"/>
                      <a:pt x="9765" y="21612"/>
                      <a:pt x="9765" y="36156"/>
                    </a:cubicBezTo>
                    <a:cubicBezTo>
                      <a:pt x="9765" y="50727"/>
                      <a:pt x="19967" y="62573"/>
                      <a:pt x="32482" y="62573"/>
                    </a:cubicBezTo>
                    <a:cubicBezTo>
                      <a:pt x="45022" y="62573"/>
                      <a:pt x="55198" y="50727"/>
                      <a:pt x="55198" y="36156"/>
                    </a:cubicBezTo>
                    <a:cubicBezTo>
                      <a:pt x="55198" y="21612"/>
                      <a:pt x="45022" y="9765"/>
                      <a:pt x="32482" y="9765"/>
                    </a:cubicBezTo>
                    <a:close/>
                  </a:path>
                </a:pathLst>
              </a:custGeom>
              <a:solidFill>
                <a:schemeClr val="tx2"/>
              </a:solidFill>
              <a:ln w="2565" cap="flat">
                <a:noFill/>
                <a:prstDash val="solid"/>
                <a:miter/>
              </a:ln>
            </p:spPr>
            <p:txBody>
              <a:bodyPr rtlCol="0" anchor="ctr"/>
              <a:lstStyle/>
              <a:p>
                <a:endParaRPr lang="en-GB" dirty="0"/>
              </a:p>
            </p:txBody>
          </p:sp>
          <p:sp>
            <p:nvSpPr>
              <p:cNvPr id="657" name="Freihandform: Form 971">
                <a:extLst>
                  <a:ext uri="{FF2B5EF4-FFF2-40B4-BE49-F238E27FC236}">
                    <a16:creationId xmlns:a16="http://schemas.microsoft.com/office/drawing/2014/main" id="{486EBDBF-A75D-4DA7-A80D-A26365AC4B9B}"/>
                  </a:ext>
                </a:extLst>
              </p:cNvPr>
              <p:cNvSpPr/>
              <p:nvPr/>
            </p:nvSpPr>
            <p:spPr>
              <a:xfrm>
                <a:off x="8259354" y="2089440"/>
                <a:ext cx="9764" cy="62676"/>
              </a:xfrm>
              <a:custGeom>
                <a:avLst/>
                <a:gdLst>
                  <a:gd name="connsiteX0" fmla="*/ 4882 w 9764"/>
                  <a:gd name="connsiteY0" fmla="*/ 62676 h 62676"/>
                  <a:gd name="connsiteX1" fmla="*/ 0 w 9764"/>
                  <a:gd name="connsiteY1" fmla="*/ 57794 h 62676"/>
                  <a:gd name="connsiteX2" fmla="*/ 0 w 9764"/>
                  <a:gd name="connsiteY2" fmla="*/ 4882 h 62676"/>
                  <a:gd name="connsiteX3" fmla="*/ 4882 w 9764"/>
                  <a:gd name="connsiteY3" fmla="*/ 0 h 62676"/>
                  <a:gd name="connsiteX4" fmla="*/ 9765 w 9764"/>
                  <a:gd name="connsiteY4" fmla="*/ 4882 h 62676"/>
                  <a:gd name="connsiteX5" fmla="*/ 9765 w 9764"/>
                  <a:gd name="connsiteY5" fmla="*/ 57794 h 62676"/>
                  <a:gd name="connsiteX6" fmla="*/ 4882 w 9764"/>
                  <a:gd name="connsiteY6" fmla="*/ 62676 h 62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4" h="62676">
                    <a:moveTo>
                      <a:pt x="4882" y="62676"/>
                    </a:moveTo>
                    <a:cubicBezTo>
                      <a:pt x="2184" y="62676"/>
                      <a:pt x="0" y="60492"/>
                      <a:pt x="0" y="57794"/>
                    </a:cubicBezTo>
                    <a:lnTo>
                      <a:pt x="0" y="4882"/>
                    </a:lnTo>
                    <a:cubicBezTo>
                      <a:pt x="0" y="2184"/>
                      <a:pt x="2184" y="0"/>
                      <a:pt x="4882" y="0"/>
                    </a:cubicBezTo>
                    <a:cubicBezTo>
                      <a:pt x="7581" y="0"/>
                      <a:pt x="9765" y="2184"/>
                      <a:pt x="9765" y="4882"/>
                    </a:cubicBezTo>
                    <a:lnTo>
                      <a:pt x="9765" y="57794"/>
                    </a:lnTo>
                    <a:cubicBezTo>
                      <a:pt x="9765" y="60492"/>
                      <a:pt x="7581" y="62676"/>
                      <a:pt x="4882" y="62676"/>
                    </a:cubicBezTo>
                    <a:close/>
                  </a:path>
                </a:pathLst>
              </a:custGeom>
              <a:solidFill>
                <a:schemeClr val="tx2"/>
              </a:solidFill>
              <a:ln w="2565" cap="flat">
                <a:noFill/>
                <a:prstDash val="solid"/>
                <a:miter/>
              </a:ln>
            </p:spPr>
            <p:txBody>
              <a:bodyPr rtlCol="0" anchor="ctr"/>
              <a:lstStyle/>
              <a:p>
                <a:endParaRPr lang="en-GB" dirty="0"/>
              </a:p>
            </p:txBody>
          </p:sp>
          <p:sp>
            <p:nvSpPr>
              <p:cNvPr id="658" name="Freihandform: Form 972">
                <a:extLst>
                  <a:ext uri="{FF2B5EF4-FFF2-40B4-BE49-F238E27FC236}">
                    <a16:creationId xmlns:a16="http://schemas.microsoft.com/office/drawing/2014/main" id="{1739CF0B-09F3-4542-813A-E39A20657C53}"/>
                  </a:ext>
                </a:extLst>
              </p:cNvPr>
              <p:cNvSpPr/>
              <p:nvPr/>
            </p:nvSpPr>
            <p:spPr>
              <a:xfrm>
                <a:off x="8143197" y="1875525"/>
                <a:ext cx="112995" cy="276282"/>
              </a:xfrm>
              <a:custGeom>
                <a:avLst/>
                <a:gdLst>
                  <a:gd name="connsiteX0" fmla="*/ 77096 w 112995"/>
                  <a:gd name="connsiteY0" fmla="*/ 276257 h 276282"/>
                  <a:gd name="connsiteX1" fmla="*/ 72214 w 112995"/>
                  <a:gd name="connsiteY1" fmla="*/ 271426 h 276282"/>
                  <a:gd name="connsiteX2" fmla="*/ 70697 w 112995"/>
                  <a:gd name="connsiteY2" fmla="*/ 114646 h 276282"/>
                  <a:gd name="connsiteX3" fmla="*/ 3396 w 112995"/>
                  <a:gd name="connsiteY3" fmla="*/ 25938 h 276282"/>
                  <a:gd name="connsiteX4" fmla="*/ 5966 w 112995"/>
                  <a:gd name="connsiteY4" fmla="*/ 3736 h 276282"/>
                  <a:gd name="connsiteX5" fmla="*/ 28374 w 112995"/>
                  <a:gd name="connsiteY5" fmla="*/ 5586 h 276282"/>
                  <a:gd name="connsiteX6" fmla="*/ 90896 w 112995"/>
                  <a:gd name="connsiteY6" fmla="*/ 80442 h 276282"/>
                  <a:gd name="connsiteX7" fmla="*/ 101637 w 112995"/>
                  <a:gd name="connsiteY7" fmla="*/ 80442 h 276282"/>
                  <a:gd name="connsiteX8" fmla="*/ 103308 w 112995"/>
                  <a:gd name="connsiteY8" fmla="*/ 79646 h 276282"/>
                  <a:gd name="connsiteX9" fmla="*/ 108216 w 112995"/>
                  <a:gd name="connsiteY9" fmla="*/ 74917 h 276282"/>
                  <a:gd name="connsiteX10" fmla="*/ 112996 w 112995"/>
                  <a:gd name="connsiteY10" fmla="*/ 79954 h 276282"/>
                  <a:gd name="connsiteX11" fmla="*/ 102125 w 112995"/>
                  <a:gd name="connsiteY11" fmla="*/ 90207 h 276282"/>
                  <a:gd name="connsiteX12" fmla="*/ 88866 w 112995"/>
                  <a:gd name="connsiteY12" fmla="*/ 90233 h 276282"/>
                  <a:gd name="connsiteX13" fmla="*/ 87067 w 112995"/>
                  <a:gd name="connsiteY13" fmla="*/ 89899 h 276282"/>
                  <a:gd name="connsiteX14" fmla="*/ 84754 w 112995"/>
                  <a:gd name="connsiteY14" fmla="*/ 88357 h 276282"/>
                  <a:gd name="connsiteX15" fmla="*/ 20870 w 112995"/>
                  <a:gd name="connsiteY15" fmla="*/ 11882 h 276282"/>
                  <a:gd name="connsiteX16" fmla="*/ 12184 w 112995"/>
                  <a:gd name="connsiteY16" fmla="*/ 11316 h 276282"/>
                  <a:gd name="connsiteX17" fmla="*/ 11054 w 112995"/>
                  <a:gd name="connsiteY17" fmla="*/ 19899 h 276282"/>
                  <a:gd name="connsiteX18" fmla="*/ 79101 w 112995"/>
                  <a:gd name="connsiteY18" fmla="*/ 109558 h 276282"/>
                  <a:gd name="connsiteX19" fmla="*/ 79846 w 112995"/>
                  <a:gd name="connsiteY19" fmla="*/ 110971 h 276282"/>
                  <a:gd name="connsiteX20" fmla="*/ 80206 w 112995"/>
                  <a:gd name="connsiteY20" fmla="*/ 112076 h 276282"/>
                  <a:gd name="connsiteX21" fmla="*/ 80463 w 112995"/>
                  <a:gd name="connsiteY21" fmla="*/ 113566 h 276282"/>
                  <a:gd name="connsiteX22" fmla="*/ 82004 w 112995"/>
                  <a:gd name="connsiteY22" fmla="*/ 271349 h 276282"/>
                  <a:gd name="connsiteX23" fmla="*/ 77173 w 112995"/>
                  <a:gd name="connsiteY23" fmla="*/ 276283 h 276282"/>
                  <a:gd name="connsiteX24" fmla="*/ 77096 w 112995"/>
                  <a:gd name="connsiteY24" fmla="*/ 276257 h 27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2995" h="276282">
                    <a:moveTo>
                      <a:pt x="77096" y="276257"/>
                    </a:moveTo>
                    <a:cubicBezTo>
                      <a:pt x="74424" y="276257"/>
                      <a:pt x="72239" y="274098"/>
                      <a:pt x="72214" y="271426"/>
                    </a:cubicBezTo>
                    <a:lnTo>
                      <a:pt x="70697" y="114646"/>
                    </a:lnTo>
                    <a:lnTo>
                      <a:pt x="3396" y="25938"/>
                    </a:lnTo>
                    <a:cubicBezTo>
                      <a:pt x="-1975" y="19411"/>
                      <a:pt x="-870" y="9389"/>
                      <a:pt x="5966" y="3736"/>
                    </a:cubicBezTo>
                    <a:cubicBezTo>
                      <a:pt x="12827" y="-1892"/>
                      <a:pt x="22875" y="-1070"/>
                      <a:pt x="28374" y="5586"/>
                    </a:cubicBezTo>
                    <a:lnTo>
                      <a:pt x="90896" y="80442"/>
                    </a:lnTo>
                    <a:lnTo>
                      <a:pt x="101637" y="80442"/>
                    </a:lnTo>
                    <a:cubicBezTo>
                      <a:pt x="101920" y="80365"/>
                      <a:pt x="103050" y="79954"/>
                      <a:pt x="103308" y="79646"/>
                    </a:cubicBezTo>
                    <a:cubicBezTo>
                      <a:pt x="103333" y="76948"/>
                      <a:pt x="105389" y="75046"/>
                      <a:pt x="108216" y="74917"/>
                    </a:cubicBezTo>
                    <a:cubicBezTo>
                      <a:pt x="110914" y="74969"/>
                      <a:pt x="113021" y="77256"/>
                      <a:pt x="112996" y="79954"/>
                    </a:cubicBezTo>
                    <a:cubicBezTo>
                      <a:pt x="112918" y="86250"/>
                      <a:pt x="107291" y="89694"/>
                      <a:pt x="102125" y="90207"/>
                    </a:cubicBezTo>
                    <a:lnTo>
                      <a:pt x="88866" y="90233"/>
                    </a:lnTo>
                    <a:cubicBezTo>
                      <a:pt x="88249" y="90233"/>
                      <a:pt x="87632" y="90105"/>
                      <a:pt x="87067" y="89899"/>
                    </a:cubicBezTo>
                    <a:cubicBezTo>
                      <a:pt x="86322" y="89591"/>
                      <a:pt x="85268" y="88974"/>
                      <a:pt x="84754" y="88357"/>
                    </a:cubicBezTo>
                    <a:lnTo>
                      <a:pt x="20870" y="11882"/>
                    </a:lnTo>
                    <a:cubicBezTo>
                      <a:pt x="18763" y="9338"/>
                      <a:pt x="14883" y="9106"/>
                      <a:pt x="12184" y="11316"/>
                    </a:cubicBezTo>
                    <a:cubicBezTo>
                      <a:pt x="9486" y="13526"/>
                      <a:pt x="8998" y="17407"/>
                      <a:pt x="11054" y="19899"/>
                    </a:cubicBezTo>
                    <a:lnTo>
                      <a:pt x="79101" y="109558"/>
                    </a:lnTo>
                    <a:cubicBezTo>
                      <a:pt x="79435" y="109994"/>
                      <a:pt x="79666" y="110457"/>
                      <a:pt x="79846" y="110971"/>
                    </a:cubicBezTo>
                    <a:lnTo>
                      <a:pt x="80206" y="112076"/>
                    </a:lnTo>
                    <a:cubicBezTo>
                      <a:pt x="80360" y="112564"/>
                      <a:pt x="80437" y="113052"/>
                      <a:pt x="80463" y="113566"/>
                    </a:cubicBezTo>
                    <a:lnTo>
                      <a:pt x="82004" y="271349"/>
                    </a:lnTo>
                    <a:cubicBezTo>
                      <a:pt x="82030" y="274047"/>
                      <a:pt x="79872" y="276257"/>
                      <a:pt x="77173" y="276283"/>
                    </a:cubicBezTo>
                    <a:cubicBezTo>
                      <a:pt x="77122" y="276257"/>
                      <a:pt x="77096" y="276257"/>
                      <a:pt x="77096" y="276257"/>
                    </a:cubicBezTo>
                    <a:close/>
                  </a:path>
                </a:pathLst>
              </a:custGeom>
              <a:solidFill>
                <a:schemeClr val="tx2"/>
              </a:solidFill>
              <a:ln w="2565" cap="flat">
                <a:noFill/>
                <a:prstDash val="solid"/>
                <a:miter/>
              </a:ln>
            </p:spPr>
            <p:txBody>
              <a:bodyPr rtlCol="0" anchor="ctr"/>
              <a:lstStyle/>
              <a:p>
                <a:endParaRPr lang="en-GB" dirty="0"/>
              </a:p>
            </p:txBody>
          </p:sp>
          <p:sp>
            <p:nvSpPr>
              <p:cNvPr id="659" name="Freihandform: Form 973">
                <a:extLst>
                  <a:ext uri="{FF2B5EF4-FFF2-40B4-BE49-F238E27FC236}">
                    <a16:creationId xmlns:a16="http://schemas.microsoft.com/office/drawing/2014/main" id="{B7C72E17-1691-4AC5-9E36-35D5839F8A76}"/>
                  </a:ext>
                </a:extLst>
              </p:cNvPr>
              <p:cNvSpPr/>
              <p:nvPr/>
            </p:nvSpPr>
            <p:spPr>
              <a:xfrm>
                <a:off x="8273615" y="1950596"/>
                <a:ext cx="57049" cy="161894"/>
              </a:xfrm>
              <a:custGeom>
                <a:avLst/>
                <a:gdLst>
                  <a:gd name="connsiteX0" fmla="*/ 40320 w 57049"/>
                  <a:gd name="connsiteY0" fmla="*/ 161895 h 161894"/>
                  <a:gd name="connsiteX1" fmla="*/ 23566 w 57049"/>
                  <a:gd name="connsiteY1" fmla="*/ 145140 h 161894"/>
                  <a:gd name="connsiteX2" fmla="*/ 23566 w 57049"/>
                  <a:gd name="connsiteY2" fmla="*/ 52064 h 161894"/>
                  <a:gd name="connsiteX3" fmla="*/ 28448 w 57049"/>
                  <a:gd name="connsiteY3" fmla="*/ 47181 h 161894"/>
                  <a:gd name="connsiteX4" fmla="*/ 33331 w 57049"/>
                  <a:gd name="connsiteY4" fmla="*/ 52064 h 161894"/>
                  <a:gd name="connsiteX5" fmla="*/ 33331 w 57049"/>
                  <a:gd name="connsiteY5" fmla="*/ 145140 h 161894"/>
                  <a:gd name="connsiteX6" fmla="*/ 40320 w 57049"/>
                  <a:gd name="connsiteY6" fmla="*/ 152130 h 161894"/>
                  <a:gd name="connsiteX7" fmla="*/ 47310 w 57049"/>
                  <a:gd name="connsiteY7" fmla="*/ 145140 h 161894"/>
                  <a:gd name="connsiteX8" fmla="*/ 47310 w 57049"/>
                  <a:gd name="connsiteY8" fmla="*/ 29707 h 161894"/>
                  <a:gd name="connsiteX9" fmla="*/ 30041 w 57049"/>
                  <a:gd name="connsiteY9" fmla="*/ 15599 h 161894"/>
                  <a:gd name="connsiteX10" fmla="*/ 11796 w 57049"/>
                  <a:gd name="connsiteY10" fmla="*/ 15599 h 161894"/>
                  <a:gd name="connsiteX11" fmla="*/ 1 w 57049"/>
                  <a:gd name="connsiteY11" fmla="*/ 4961 h 161894"/>
                  <a:gd name="connsiteX12" fmla="*/ 4806 w 57049"/>
                  <a:gd name="connsiteY12" fmla="*/ 1 h 161894"/>
                  <a:gd name="connsiteX13" fmla="*/ 9766 w 57049"/>
                  <a:gd name="connsiteY13" fmla="*/ 4806 h 161894"/>
                  <a:gd name="connsiteX14" fmla="*/ 9766 w 57049"/>
                  <a:gd name="connsiteY14" fmla="*/ 4883 h 161894"/>
                  <a:gd name="connsiteX15" fmla="*/ 12310 w 57049"/>
                  <a:gd name="connsiteY15" fmla="*/ 5860 h 161894"/>
                  <a:gd name="connsiteX16" fmla="*/ 30016 w 57049"/>
                  <a:gd name="connsiteY16" fmla="*/ 5834 h 161894"/>
                  <a:gd name="connsiteX17" fmla="*/ 57049 w 57049"/>
                  <a:gd name="connsiteY17" fmla="*/ 29707 h 161894"/>
                  <a:gd name="connsiteX18" fmla="*/ 57049 w 57049"/>
                  <a:gd name="connsiteY18" fmla="*/ 145140 h 161894"/>
                  <a:gd name="connsiteX19" fmla="*/ 40320 w 57049"/>
                  <a:gd name="connsiteY19" fmla="*/ 161895 h 161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7049" h="161894">
                    <a:moveTo>
                      <a:pt x="40320" y="161895"/>
                    </a:moveTo>
                    <a:cubicBezTo>
                      <a:pt x="31095" y="161895"/>
                      <a:pt x="23566" y="154391"/>
                      <a:pt x="23566" y="145140"/>
                    </a:cubicBezTo>
                    <a:lnTo>
                      <a:pt x="23566" y="52064"/>
                    </a:lnTo>
                    <a:cubicBezTo>
                      <a:pt x="23566" y="49366"/>
                      <a:pt x="25750" y="47181"/>
                      <a:pt x="28448" y="47181"/>
                    </a:cubicBezTo>
                    <a:cubicBezTo>
                      <a:pt x="31146" y="47181"/>
                      <a:pt x="33331" y="49366"/>
                      <a:pt x="33331" y="52064"/>
                    </a:cubicBezTo>
                    <a:lnTo>
                      <a:pt x="33331" y="145140"/>
                    </a:lnTo>
                    <a:cubicBezTo>
                      <a:pt x="33331" y="148995"/>
                      <a:pt x="36466" y="152130"/>
                      <a:pt x="40320" y="152130"/>
                    </a:cubicBezTo>
                    <a:cubicBezTo>
                      <a:pt x="44175" y="152130"/>
                      <a:pt x="47310" y="148995"/>
                      <a:pt x="47310" y="145140"/>
                    </a:cubicBezTo>
                    <a:lnTo>
                      <a:pt x="47310" y="29707"/>
                    </a:lnTo>
                    <a:cubicBezTo>
                      <a:pt x="47310" y="15779"/>
                      <a:pt x="30761" y="15599"/>
                      <a:pt x="30041" y="15599"/>
                    </a:cubicBezTo>
                    <a:lnTo>
                      <a:pt x="11796" y="15599"/>
                    </a:lnTo>
                    <a:cubicBezTo>
                      <a:pt x="5937" y="15034"/>
                      <a:pt x="130" y="11488"/>
                      <a:pt x="1" y="4961"/>
                    </a:cubicBezTo>
                    <a:cubicBezTo>
                      <a:pt x="-51" y="2262"/>
                      <a:pt x="2108" y="52"/>
                      <a:pt x="4806" y="1"/>
                    </a:cubicBezTo>
                    <a:cubicBezTo>
                      <a:pt x="7222" y="-50"/>
                      <a:pt x="9715" y="2108"/>
                      <a:pt x="9766" y="4806"/>
                    </a:cubicBezTo>
                    <a:cubicBezTo>
                      <a:pt x="9766" y="4858"/>
                      <a:pt x="9766" y="4883"/>
                      <a:pt x="9766" y="4883"/>
                    </a:cubicBezTo>
                    <a:cubicBezTo>
                      <a:pt x="9972" y="5166"/>
                      <a:pt x="11231" y="5731"/>
                      <a:pt x="12310" y="5860"/>
                    </a:cubicBezTo>
                    <a:lnTo>
                      <a:pt x="30016" y="5834"/>
                    </a:lnTo>
                    <a:cubicBezTo>
                      <a:pt x="39370" y="5834"/>
                      <a:pt x="57049" y="10820"/>
                      <a:pt x="57049" y="29707"/>
                    </a:cubicBezTo>
                    <a:lnTo>
                      <a:pt x="57049" y="145140"/>
                    </a:lnTo>
                    <a:cubicBezTo>
                      <a:pt x="57075" y="154391"/>
                      <a:pt x="49571" y="161895"/>
                      <a:pt x="40320" y="161895"/>
                    </a:cubicBezTo>
                    <a:close/>
                  </a:path>
                </a:pathLst>
              </a:custGeom>
              <a:solidFill>
                <a:schemeClr val="tx2"/>
              </a:solidFill>
              <a:ln w="2565" cap="flat">
                <a:noFill/>
                <a:prstDash val="solid"/>
                <a:miter/>
              </a:ln>
            </p:spPr>
            <p:txBody>
              <a:bodyPr rtlCol="0" anchor="ctr"/>
              <a:lstStyle/>
              <a:p>
                <a:endParaRPr lang="en-GB" dirty="0"/>
              </a:p>
            </p:txBody>
          </p:sp>
          <p:sp>
            <p:nvSpPr>
              <p:cNvPr id="660" name="Freihandform: Form 974">
                <a:extLst>
                  <a:ext uri="{FF2B5EF4-FFF2-40B4-BE49-F238E27FC236}">
                    <a16:creationId xmlns:a16="http://schemas.microsoft.com/office/drawing/2014/main" id="{8411CFC8-472A-4711-AD5F-25594B822900}"/>
                  </a:ext>
                </a:extLst>
              </p:cNvPr>
              <p:cNvSpPr/>
              <p:nvPr/>
            </p:nvSpPr>
            <p:spPr>
              <a:xfrm>
                <a:off x="8297180" y="2021958"/>
                <a:ext cx="9790" cy="130157"/>
              </a:xfrm>
              <a:custGeom>
                <a:avLst/>
                <a:gdLst>
                  <a:gd name="connsiteX0" fmla="*/ 4883 w 9790"/>
                  <a:gd name="connsiteY0" fmla="*/ 130158 h 130157"/>
                  <a:gd name="connsiteX1" fmla="*/ 4883 w 9790"/>
                  <a:gd name="connsiteY1" fmla="*/ 130158 h 130157"/>
                  <a:gd name="connsiteX2" fmla="*/ 0 w 9790"/>
                  <a:gd name="connsiteY2" fmla="*/ 125275 h 130157"/>
                  <a:gd name="connsiteX3" fmla="*/ 26 w 9790"/>
                  <a:gd name="connsiteY3" fmla="*/ 4883 h 130157"/>
                  <a:gd name="connsiteX4" fmla="*/ 4908 w 9790"/>
                  <a:gd name="connsiteY4" fmla="*/ 0 h 130157"/>
                  <a:gd name="connsiteX5" fmla="*/ 9791 w 9790"/>
                  <a:gd name="connsiteY5" fmla="*/ 4883 h 130157"/>
                  <a:gd name="connsiteX6" fmla="*/ 9765 w 9790"/>
                  <a:gd name="connsiteY6" fmla="*/ 125301 h 130157"/>
                  <a:gd name="connsiteX7" fmla="*/ 4883 w 9790"/>
                  <a:gd name="connsiteY7" fmla="*/ 130158 h 130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90" h="130157">
                    <a:moveTo>
                      <a:pt x="4883" y="130158"/>
                    </a:moveTo>
                    <a:lnTo>
                      <a:pt x="4883" y="130158"/>
                    </a:lnTo>
                    <a:cubicBezTo>
                      <a:pt x="2184" y="130158"/>
                      <a:pt x="0" y="127973"/>
                      <a:pt x="0" y="125275"/>
                    </a:cubicBezTo>
                    <a:lnTo>
                      <a:pt x="26" y="4883"/>
                    </a:lnTo>
                    <a:cubicBezTo>
                      <a:pt x="26" y="2184"/>
                      <a:pt x="2210" y="0"/>
                      <a:pt x="4908" y="0"/>
                    </a:cubicBezTo>
                    <a:cubicBezTo>
                      <a:pt x="7606" y="0"/>
                      <a:pt x="9791" y="2184"/>
                      <a:pt x="9791" y="4883"/>
                    </a:cubicBezTo>
                    <a:lnTo>
                      <a:pt x="9765" y="125301"/>
                    </a:lnTo>
                    <a:cubicBezTo>
                      <a:pt x="9765" y="127999"/>
                      <a:pt x="7555" y="130158"/>
                      <a:pt x="4883" y="130158"/>
                    </a:cubicBezTo>
                    <a:close/>
                  </a:path>
                </a:pathLst>
              </a:custGeom>
              <a:solidFill>
                <a:schemeClr val="tx2"/>
              </a:solidFill>
              <a:ln w="2565" cap="flat">
                <a:noFill/>
                <a:prstDash val="solid"/>
                <a:miter/>
              </a:ln>
            </p:spPr>
            <p:txBody>
              <a:bodyPr rtlCol="0" anchor="ctr"/>
              <a:lstStyle/>
              <a:p>
                <a:endParaRPr lang="en-GB" dirty="0"/>
              </a:p>
            </p:txBody>
          </p:sp>
        </p:grpSp>
      </p:grpSp>
      <p:grpSp>
        <p:nvGrpSpPr>
          <p:cNvPr id="590" name="Group 589">
            <a:extLst>
              <a:ext uri="{FF2B5EF4-FFF2-40B4-BE49-F238E27FC236}">
                <a16:creationId xmlns:a16="http://schemas.microsoft.com/office/drawing/2014/main" id="{3031D24D-AA11-4843-9656-24DCFB371E0C}"/>
              </a:ext>
            </a:extLst>
          </p:cNvPr>
          <p:cNvGrpSpPr/>
          <p:nvPr/>
        </p:nvGrpSpPr>
        <p:grpSpPr>
          <a:xfrm>
            <a:off x="4919424" y="3212058"/>
            <a:ext cx="587688" cy="432000"/>
            <a:chOff x="4919012" y="3212058"/>
            <a:chExt cx="587688" cy="432000"/>
          </a:xfrm>
        </p:grpSpPr>
        <p:grpSp>
          <p:nvGrpSpPr>
            <p:cNvPr id="494" name="Group 493">
              <a:extLst>
                <a:ext uri="{FF2B5EF4-FFF2-40B4-BE49-F238E27FC236}">
                  <a16:creationId xmlns:a16="http://schemas.microsoft.com/office/drawing/2014/main" id="{AE2C19D5-C3CA-47B6-97CB-39CD401244A6}"/>
                </a:ext>
              </a:extLst>
            </p:cNvPr>
            <p:cNvGrpSpPr/>
            <p:nvPr/>
          </p:nvGrpSpPr>
          <p:grpSpPr>
            <a:xfrm>
              <a:off x="4957915" y="3212058"/>
              <a:ext cx="509827" cy="326368"/>
              <a:chOff x="1667050" y="2416268"/>
              <a:chExt cx="533317" cy="341405"/>
            </a:xfrm>
          </p:grpSpPr>
          <p:sp>
            <p:nvSpPr>
              <p:cNvPr id="501" name="Freihandform: Form 387">
                <a:extLst>
                  <a:ext uri="{FF2B5EF4-FFF2-40B4-BE49-F238E27FC236}">
                    <a16:creationId xmlns:a16="http://schemas.microsoft.com/office/drawing/2014/main" id="{DACEC28E-0782-4DAA-A494-59CBC739E505}"/>
                  </a:ext>
                </a:extLst>
              </p:cNvPr>
              <p:cNvSpPr/>
              <p:nvPr/>
            </p:nvSpPr>
            <p:spPr>
              <a:xfrm>
                <a:off x="1736867" y="2550038"/>
                <a:ext cx="399566" cy="190189"/>
              </a:xfrm>
              <a:custGeom>
                <a:avLst/>
                <a:gdLst>
                  <a:gd name="connsiteX0" fmla="*/ 394598 w 399566"/>
                  <a:gd name="connsiteY0" fmla="*/ 190190 h 190189"/>
                  <a:gd name="connsiteX1" fmla="*/ 389659 w 399566"/>
                  <a:gd name="connsiteY1" fmla="*/ 185250 h 190189"/>
                  <a:gd name="connsiteX2" fmla="*/ 389659 w 399566"/>
                  <a:gd name="connsiteY2" fmla="*/ 9908 h 190189"/>
                  <a:gd name="connsiteX3" fmla="*/ 9879 w 399566"/>
                  <a:gd name="connsiteY3" fmla="*/ 9908 h 190189"/>
                  <a:gd name="connsiteX4" fmla="*/ 9879 w 399566"/>
                  <a:gd name="connsiteY4" fmla="*/ 185250 h 190189"/>
                  <a:gd name="connsiteX5" fmla="*/ 4940 w 399566"/>
                  <a:gd name="connsiteY5" fmla="*/ 190190 h 190189"/>
                  <a:gd name="connsiteX6" fmla="*/ 0 w 399566"/>
                  <a:gd name="connsiteY6" fmla="*/ 185250 h 190189"/>
                  <a:gd name="connsiteX7" fmla="*/ 0 w 399566"/>
                  <a:gd name="connsiteY7" fmla="*/ 4940 h 190189"/>
                  <a:gd name="connsiteX8" fmla="*/ 4940 w 399566"/>
                  <a:gd name="connsiteY8" fmla="*/ 0 h 190189"/>
                  <a:gd name="connsiteX9" fmla="*/ 394627 w 399566"/>
                  <a:gd name="connsiteY9" fmla="*/ 0 h 190189"/>
                  <a:gd name="connsiteX10" fmla="*/ 399567 w 399566"/>
                  <a:gd name="connsiteY10" fmla="*/ 4940 h 190189"/>
                  <a:gd name="connsiteX11" fmla="*/ 399567 w 399566"/>
                  <a:gd name="connsiteY11" fmla="*/ 185250 h 190189"/>
                  <a:gd name="connsiteX12" fmla="*/ 394598 w 399566"/>
                  <a:gd name="connsiteY12" fmla="*/ 190190 h 190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9566" h="190189">
                    <a:moveTo>
                      <a:pt x="394598" y="190190"/>
                    </a:moveTo>
                    <a:cubicBezTo>
                      <a:pt x="391857" y="190190"/>
                      <a:pt x="389659" y="187963"/>
                      <a:pt x="389659" y="185250"/>
                    </a:cubicBezTo>
                    <a:lnTo>
                      <a:pt x="389659" y="9908"/>
                    </a:lnTo>
                    <a:lnTo>
                      <a:pt x="9879" y="9908"/>
                    </a:lnTo>
                    <a:lnTo>
                      <a:pt x="9879" y="185250"/>
                    </a:lnTo>
                    <a:cubicBezTo>
                      <a:pt x="9879" y="187991"/>
                      <a:pt x="7652" y="190190"/>
                      <a:pt x="4940" y="190190"/>
                    </a:cubicBezTo>
                    <a:cubicBezTo>
                      <a:pt x="2199" y="190190"/>
                      <a:pt x="0" y="187963"/>
                      <a:pt x="0" y="185250"/>
                    </a:cubicBezTo>
                    <a:lnTo>
                      <a:pt x="0" y="4940"/>
                    </a:lnTo>
                    <a:cubicBezTo>
                      <a:pt x="0" y="2199"/>
                      <a:pt x="2227" y="0"/>
                      <a:pt x="4940" y="0"/>
                    </a:cubicBezTo>
                    <a:lnTo>
                      <a:pt x="394627" y="0"/>
                    </a:lnTo>
                    <a:cubicBezTo>
                      <a:pt x="397368" y="0"/>
                      <a:pt x="399567" y="2227"/>
                      <a:pt x="399567" y="4940"/>
                    </a:cubicBezTo>
                    <a:lnTo>
                      <a:pt x="399567" y="185250"/>
                    </a:lnTo>
                    <a:cubicBezTo>
                      <a:pt x="399567" y="187963"/>
                      <a:pt x="397339" y="190190"/>
                      <a:pt x="394598" y="190190"/>
                    </a:cubicBezTo>
                    <a:close/>
                  </a:path>
                </a:pathLst>
              </a:custGeom>
              <a:solidFill>
                <a:schemeClr val="tx2"/>
              </a:solidFill>
              <a:ln w="2851" cap="flat">
                <a:noFill/>
                <a:prstDash val="solid"/>
                <a:miter/>
              </a:ln>
            </p:spPr>
            <p:txBody>
              <a:bodyPr rtlCol="0" anchor="ctr"/>
              <a:lstStyle/>
              <a:p>
                <a:endParaRPr lang="en-GB" dirty="0"/>
              </a:p>
            </p:txBody>
          </p:sp>
          <p:sp>
            <p:nvSpPr>
              <p:cNvPr id="502" name="Freihandform: Form 388">
                <a:extLst>
                  <a:ext uri="{FF2B5EF4-FFF2-40B4-BE49-F238E27FC236}">
                    <a16:creationId xmlns:a16="http://schemas.microsoft.com/office/drawing/2014/main" id="{E68B438C-3394-40FE-AA24-622AA7936BBB}"/>
                  </a:ext>
                </a:extLst>
              </p:cNvPr>
              <p:cNvSpPr/>
              <p:nvPr/>
            </p:nvSpPr>
            <p:spPr>
              <a:xfrm>
                <a:off x="1934594" y="2456956"/>
                <a:ext cx="9879" cy="56420"/>
              </a:xfrm>
              <a:custGeom>
                <a:avLst/>
                <a:gdLst>
                  <a:gd name="connsiteX0" fmla="*/ 4940 w 9879"/>
                  <a:gd name="connsiteY0" fmla="*/ 56420 h 56420"/>
                  <a:gd name="connsiteX1" fmla="*/ 0 w 9879"/>
                  <a:gd name="connsiteY1" fmla="*/ 51481 h 56420"/>
                  <a:gd name="connsiteX2" fmla="*/ 0 w 9879"/>
                  <a:gd name="connsiteY2" fmla="*/ 4940 h 56420"/>
                  <a:gd name="connsiteX3" fmla="*/ 4940 w 9879"/>
                  <a:gd name="connsiteY3" fmla="*/ 0 h 56420"/>
                  <a:gd name="connsiteX4" fmla="*/ 9879 w 9879"/>
                  <a:gd name="connsiteY4" fmla="*/ 4940 h 56420"/>
                  <a:gd name="connsiteX5" fmla="*/ 9879 w 9879"/>
                  <a:gd name="connsiteY5" fmla="*/ 51481 h 56420"/>
                  <a:gd name="connsiteX6" fmla="*/ 4940 w 9879"/>
                  <a:gd name="connsiteY6" fmla="*/ 56420 h 56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56420">
                    <a:moveTo>
                      <a:pt x="4940" y="56420"/>
                    </a:moveTo>
                    <a:cubicBezTo>
                      <a:pt x="2199" y="56420"/>
                      <a:pt x="0" y="54193"/>
                      <a:pt x="0" y="51481"/>
                    </a:cubicBezTo>
                    <a:lnTo>
                      <a:pt x="0" y="4940"/>
                    </a:lnTo>
                    <a:cubicBezTo>
                      <a:pt x="0" y="2199"/>
                      <a:pt x="2227" y="0"/>
                      <a:pt x="4940" y="0"/>
                    </a:cubicBezTo>
                    <a:cubicBezTo>
                      <a:pt x="7681" y="0"/>
                      <a:pt x="9879" y="2227"/>
                      <a:pt x="9879" y="4940"/>
                    </a:cubicBezTo>
                    <a:lnTo>
                      <a:pt x="9879" y="51481"/>
                    </a:lnTo>
                    <a:cubicBezTo>
                      <a:pt x="9908" y="54222"/>
                      <a:pt x="7681" y="56420"/>
                      <a:pt x="4940" y="56420"/>
                    </a:cubicBezTo>
                    <a:close/>
                  </a:path>
                </a:pathLst>
              </a:custGeom>
              <a:solidFill>
                <a:schemeClr val="tx2"/>
              </a:solidFill>
              <a:ln w="2851" cap="flat">
                <a:noFill/>
                <a:prstDash val="solid"/>
                <a:miter/>
              </a:ln>
            </p:spPr>
            <p:txBody>
              <a:bodyPr rtlCol="0" anchor="ctr"/>
              <a:lstStyle/>
              <a:p>
                <a:endParaRPr lang="en-GB" dirty="0"/>
              </a:p>
            </p:txBody>
          </p:sp>
          <p:sp>
            <p:nvSpPr>
              <p:cNvPr id="503" name="Freihandform: Form 389">
                <a:extLst>
                  <a:ext uri="{FF2B5EF4-FFF2-40B4-BE49-F238E27FC236}">
                    <a16:creationId xmlns:a16="http://schemas.microsoft.com/office/drawing/2014/main" id="{37B246D2-89D1-4FD5-9FD7-963188BFD7CC}"/>
                  </a:ext>
                </a:extLst>
              </p:cNvPr>
              <p:cNvSpPr/>
              <p:nvPr/>
            </p:nvSpPr>
            <p:spPr>
              <a:xfrm>
                <a:off x="1934594" y="2416268"/>
                <a:ext cx="9879" cy="27324"/>
              </a:xfrm>
              <a:custGeom>
                <a:avLst/>
                <a:gdLst>
                  <a:gd name="connsiteX0" fmla="*/ 4940 w 9879"/>
                  <a:gd name="connsiteY0" fmla="*/ 27325 h 27324"/>
                  <a:gd name="connsiteX1" fmla="*/ 0 w 9879"/>
                  <a:gd name="connsiteY1" fmla="*/ 22385 h 27324"/>
                  <a:gd name="connsiteX2" fmla="*/ 0 w 9879"/>
                  <a:gd name="connsiteY2" fmla="*/ 4940 h 27324"/>
                  <a:gd name="connsiteX3" fmla="*/ 4940 w 9879"/>
                  <a:gd name="connsiteY3" fmla="*/ 0 h 27324"/>
                  <a:gd name="connsiteX4" fmla="*/ 9879 w 9879"/>
                  <a:gd name="connsiteY4" fmla="*/ 4940 h 27324"/>
                  <a:gd name="connsiteX5" fmla="*/ 9879 w 9879"/>
                  <a:gd name="connsiteY5" fmla="*/ 22385 h 27324"/>
                  <a:gd name="connsiteX6" fmla="*/ 4940 w 9879"/>
                  <a:gd name="connsiteY6" fmla="*/ 27325 h 27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7324">
                    <a:moveTo>
                      <a:pt x="4940" y="27325"/>
                    </a:moveTo>
                    <a:cubicBezTo>
                      <a:pt x="2199" y="27325"/>
                      <a:pt x="0" y="25098"/>
                      <a:pt x="0" y="22385"/>
                    </a:cubicBezTo>
                    <a:lnTo>
                      <a:pt x="0" y="4940"/>
                    </a:lnTo>
                    <a:cubicBezTo>
                      <a:pt x="0" y="2199"/>
                      <a:pt x="2227" y="0"/>
                      <a:pt x="4940" y="0"/>
                    </a:cubicBezTo>
                    <a:cubicBezTo>
                      <a:pt x="7681" y="0"/>
                      <a:pt x="9879" y="2227"/>
                      <a:pt x="9879" y="4940"/>
                    </a:cubicBezTo>
                    <a:lnTo>
                      <a:pt x="9879" y="22385"/>
                    </a:lnTo>
                    <a:cubicBezTo>
                      <a:pt x="9908" y="25098"/>
                      <a:pt x="7681" y="27325"/>
                      <a:pt x="4940" y="27325"/>
                    </a:cubicBezTo>
                    <a:close/>
                  </a:path>
                </a:pathLst>
              </a:custGeom>
              <a:solidFill>
                <a:schemeClr val="tx2"/>
              </a:solidFill>
              <a:ln w="2851" cap="flat">
                <a:noFill/>
                <a:prstDash val="solid"/>
                <a:miter/>
              </a:ln>
            </p:spPr>
            <p:txBody>
              <a:bodyPr rtlCol="0" anchor="ctr"/>
              <a:lstStyle/>
              <a:p>
                <a:endParaRPr lang="en-GB" dirty="0"/>
              </a:p>
            </p:txBody>
          </p:sp>
          <p:sp>
            <p:nvSpPr>
              <p:cNvPr id="504" name="Freihandform: Form 390">
                <a:extLst>
                  <a:ext uri="{FF2B5EF4-FFF2-40B4-BE49-F238E27FC236}">
                    <a16:creationId xmlns:a16="http://schemas.microsoft.com/office/drawing/2014/main" id="{ABDB17AB-F2BD-47B6-99FC-CA8980C3DADE}"/>
                  </a:ext>
                </a:extLst>
              </p:cNvPr>
              <p:cNvSpPr/>
              <p:nvPr/>
            </p:nvSpPr>
            <p:spPr>
              <a:xfrm>
                <a:off x="1667050" y="2456979"/>
                <a:ext cx="56430" cy="68046"/>
              </a:xfrm>
              <a:custGeom>
                <a:avLst/>
                <a:gdLst>
                  <a:gd name="connsiteX0" fmla="*/ 51486 w 56430"/>
                  <a:gd name="connsiteY0" fmla="*/ 68046 h 68046"/>
                  <a:gd name="connsiteX1" fmla="*/ 47631 w 56430"/>
                  <a:gd name="connsiteY1" fmla="*/ 66190 h 68046"/>
                  <a:gd name="connsiteX2" fmla="*/ 1090 w 56430"/>
                  <a:gd name="connsiteY2" fmla="*/ 8028 h 68046"/>
                  <a:gd name="connsiteX3" fmla="*/ 1861 w 56430"/>
                  <a:gd name="connsiteY3" fmla="*/ 1090 h 68046"/>
                  <a:gd name="connsiteX4" fmla="*/ 8799 w 56430"/>
                  <a:gd name="connsiteY4" fmla="*/ 1861 h 68046"/>
                  <a:gd name="connsiteX5" fmla="*/ 55340 w 56430"/>
                  <a:gd name="connsiteY5" fmla="*/ 60023 h 68046"/>
                  <a:gd name="connsiteX6" fmla="*/ 54569 w 56430"/>
                  <a:gd name="connsiteY6" fmla="*/ 66961 h 68046"/>
                  <a:gd name="connsiteX7" fmla="*/ 51486 w 56430"/>
                  <a:gd name="connsiteY7" fmla="*/ 68046 h 6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30" h="68046">
                    <a:moveTo>
                      <a:pt x="51486" y="68046"/>
                    </a:moveTo>
                    <a:cubicBezTo>
                      <a:pt x="50029" y="68046"/>
                      <a:pt x="48602" y="67418"/>
                      <a:pt x="47631" y="66190"/>
                    </a:cubicBezTo>
                    <a:lnTo>
                      <a:pt x="1090" y="8028"/>
                    </a:lnTo>
                    <a:cubicBezTo>
                      <a:pt x="-623" y="5887"/>
                      <a:pt x="-280" y="2775"/>
                      <a:pt x="1861" y="1090"/>
                    </a:cubicBezTo>
                    <a:cubicBezTo>
                      <a:pt x="4002" y="-623"/>
                      <a:pt x="7115" y="-280"/>
                      <a:pt x="8799" y="1861"/>
                    </a:cubicBezTo>
                    <a:lnTo>
                      <a:pt x="55340" y="60023"/>
                    </a:lnTo>
                    <a:cubicBezTo>
                      <a:pt x="57053" y="62164"/>
                      <a:pt x="56711" y="65277"/>
                      <a:pt x="54569" y="66961"/>
                    </a:cubicBezTo>
                    <a:cubicBezTo>
                      <a:pt x="53656" y="67675"/>
                      <a:pt x="52571" y="68046"/>
                      <a:pt x="51486" y="68046"/>
                    </a:cubicBezTo>
                    <a:close/>
                  </a:path>
                </a:pathLst>
              </a:custGeom>
              <a:solidFill>
                <a:schemeClr val="tx2"/>
              </a:solidFill>
              <a:ln w="2851" cap="flat">
                <a:noFill/>
                <a:prstDash val="solid"/>
                <a:miter/>
              </a:ln>
            </p:spPr>
            <p:txBody>
              <a:bodyPr rtlCol="0" anchor="ctr"/>
              <a:lstStyle/>
              <a:p>
                <a:endParaRPr lang="en-GB" dirty="0"/>
              </a:p>
            </p:txBody>
          </p:sp>
          <p:sp>
            <p:nvSpPr>
              <p:cNvPr id="505" name="Freihandform: Form 391">
                <a:extLst>
                  <a:ext uri="{FF2B5EF4-FFF2-40B4-BE49-F238E27FC236}">
                    <a16:creationId xmlns:a16="http://schemas.microsoft.com/office/drawing/2014/main" id="{16A246D1-6ACA-46D0-9175-BA6967140A83}"/>
                  </a:ext>
                </a:extLst>
              </p:cNvPr>
              <p:cNvSpPr/>
              <p:nvPr/>
            </p:nvSpPr>
            <p:spPr>
              <a:xfrm>
                <a:off x="2143966" y="2456979"/>
                <a:ext cx="56401" cy="68046"/>
              </a:xfrm>
              <a:custGeom>
                <a:avLst/>
                <a:gdLst>
                  <a:gd name="connsiteX0" fmla="*/ 4945 w 56401"/>
                  <a:gd name="connsiteY0" fmla="*/ 68046 h 68046"/>
                  <a:gd name="connsiteX1" fmla="*/ 1861 w 56401"/>
                  <a:gd name="connsiteY1" fmla="*/ 66961 h 68046"/>
                  <a:gd name="connsiteX2" fmla="*/ 1090 w 56401"/>
                  <a:gd name="connsiteY2" fmla="*/ 60023 h 68046"/>
                  <a:gd name="connsiteX3" fmla="*/ 47602 w 56401"/>
                  <a:gd name="connsiteY3" fmla="*/ 1861 h 68046"/>
                  <a:gd name="connsiteX4" fmla="*/ 54541 w 56401"/>
                  <a:gd name="connsiteY4" fmla="*/ 1090 h 68046"/>
                  <a:gd name="connsiteX5" fmla="*/ 55312 w 56401"/>
                  <a:gd name="connsiteY5" fmla="*/ 8028 h 68046"/>
                  <a:gd name="connsiteX6" fmla="*/ 8799 w 56401"/>
                  <a:gd name="connsiteY6" fmla="*/ 66190 h 68046"/>
                  <a:gd name="connsiteX7" fmla="*/ 4945 w 56401"/>
                  <a:gd name="connsiteY7" fmla="*/ 68046 h 6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401" h="68046">
                    <a:moveTo>
                      <a:pt x="4945" y="68046"/>
                    </a:moveTo>
                    <a:cubicBezTo>
                      <a:pt x="3860" y="68046"/>
                      <a:pt x="2775" y="67704"/>
                      <a:pt x="1861" y="66961"/>
                    </a:cubicBezTo>
                    <a:cubicBezTo>
                      <a:pt x="-280" y="65248"/>
                      <a:pt x="-623" y="62136"/>
                      <a:pt x="1090" y="60023"/>
                    </a:cubicBezTo>
                    <a:lnTo>
                      <a:pt x="47602" y="1861"/>
                    </a:lnTo>
                    <a:cubicBezTo>
                      <a:pt x="49316" y="-280"/>
                      <a:pt x="52428" y="-623"/>
                      <a:pt x="54541" y="1090"/>
                    </a:cubicBezTo>
                    <a:cubicBezTo>
                      <a:pt x="56682" y="2803"/>
                      <a:pt x="57025" y="5915"/>
                      <a:pt x="55312" y="8028"/>
                    </a:cubicBezTo>
                    <a:lnTo>
                      <a:pt x="8799" y="66190"/>
                    </a:lnTo>
                    <a:cubicBezTo>
                      <a:pt x="7857" y="67418"/>
                      <a:pt x="6401" y="68046"/>
                      <a:pt x="4945" y="68046"/>
                    </a:cubicBezTo>
                    <a:close/>
                  </a:path>
                </a:pathLst>
              </a:custGeom>
              <a:solidFill>
                <a:schemeClr val="tx2"/>
              </a:solidFill>
              <a:ln w="2851" cap="flat">
                <a:noFill/>
                <a:prstDash val="solid"/>
                <a:miter/>
              </a:ln>
            </p:spPr>
            <p:txBody>
              <a:bodyPr rtlCol="0" anchor="ctr"/>
              <a:lstStyle/>
              <a:p>
                <a:endParaRPr lang="en-GB" dirty="0"/>
              </a:p>
            </p:txBody>
          </p:sp>
          <p:sp>
            <p:nvSpPr>
              <p:cNvPr id="506" name="Freihandform: Form 392">
                <a:extLst>
                  <a:ext uri="{FF2B5EF4-FFF2-40B4-BE49-F238E27FC236}">
                    <a16:creationId xmlns:a16="http://schemas.microsoft.com/office/drawing/2014/main" id="{58B206BF-5D38-4429-9B47-C30E962D83D7}"/>
                  </a:ext>
                </a:extLst>
              </p:cNvPr>
              <p:cNvSpPr/>
              <p:nvPr/>
            </p:nvSpPr>
            <p:spPr>
              <a:xfrm>
                <a:off x="1771758" y="2590754"/>
                <a:ext cx="329755" cy="166919"/>
              </a:xfrm>
              <a:custGeom>
                <a:avLst/>
                <a:gdLst>
                  <a:gd name="connsiteX0" fmla="*/ 324816 w 329755"/>
                  <a:gd name="connsiteY0" fmla="*/ 166919 h 166919"/>
                  <a:gd name="connsiteX1" fmla="*/ 319876 w 329755"/>
                  <a:gd name="connsiteY1" fmla="*/ 161980 h 166919"/>
                  <a:gd name="connsiteX2" fmla="*/ 319876 w 329755"/>
                  <a:gd name="connsiteY2" fmla="*/ 9879 h 166919"/>
                  <a:gd name="connsiteX3" fmla="*/ 9879 w 329755"/>
                  <a:gd name="connsiteY3" fmla="*/ 9879 h 166919"/>
                  <a:gd name="connsiteX4" fmla="*/ 9879 w 329755"/>
                  <a:gd name="connsiteY4" fmla="*/ 161980 h 166919"/>
                  <a:gd name="connsiteX5" fmla="*/ 4940 w 329755"/>
                  <a:gd name="connsiteY5" fmla="*/ 166919 h 166919"/>
                  <a:gd name="connsiteX6" fmla="*/ 0 w 329755"/>
                  <a:gd name="connsiteY6" fmla="*/ 161980 h 166919"/>
                  <a:gd name="connsiteX7" fmla="*/ 0 w 329755"/>
                  <a:gd name="connsiteY7" fmla="*/ 4940 h 166919"/>
                  <a:gd name="connsiteX8" fmla="*/ 4940 w 329755"/>
                  <a:gd name="connsiteY8" fmla="*/ 0 h 166919"/>
                  <a:gd name="connsiteX9" fmla="*/ 324816 w 329755"/>
                  <a:gd name="connsiteY9" fmla="*/ 0 h 166919"/>
                  <a:gd name="connsiteX10" fmla="*/ 329755 w 329755"/>
                  <a:gd name="connsiteY10" fmla="*/ 4940 h 166919"/>
                  <a:gd name="connsiteX11" fmla="*/ 329755 w 329755"/>
                  <a:gd name="connsiteY11" fmla="*/ 161980 h 166919"/>
                  <a:gd name="connsiteX12" fmla="*/ 324816 w 329755"/>
                  <a:gd name="connsiteY12" fmla="*/ 166919 h 16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9755" h="166919">
                    <a:moveTo>
                      <a:pt x="324816" y="166919"/>
                    </a:moveTo>
                    <a:cubicBezTo>
                      <a:pt x="322075" y="166919"/>
                      <a:pt x="319876" y="164692"/>
                      <a:pt x="319876" y="161980"/>
                    </a:cubicBezTo>
                    <a:lnTo>
                      <a:pt x="319876" y="9879"/>
                    </a:lnTo>
                    <a:lnTo>
                      <a:pt x="9879" y="9879"/>
                    </a:lnTo>
                    <a:lnTo>
                      <a:pt x="9879" y="161980"/>
                    </a:lnTo>
                    <a:cubicBezTo>
                      <a:pt x="9879" y="164721"/>
                      <a:pt x="7652" y="166919"/>
                      <a:pt x="4940" y="166919"/>
                    </a:cubicBezTo>
                    <a:cubicBezTo>
                      <a:pt x="2199" y="166919"/>
                      <a:pt x="0" y="164692"/>
                      <a:pt x="0" y="161980"/>
                    </a:cubicBezTo>
                    <a:lnTo>
                      <a:pt x="0" y="4940"/>
                    </a:lnTo>
                    <a:cubicBezTo>
                      <a:pt x="0" y="2199"/>
                      <a:pt x="2227" y="0"/>
                      <a:pt x="4940" y="0"/>
                    </a:cubicBezTo>
                    <a:lnTo>
                      <a:pt x="324816" y="0"/>
                    </a:lnTo>
                    <a:cubicBezTo>
                      <a:pt x="327557" y="0"/>
                      <a:pt x="329755" y="2227"/>
                      <a:pt x="329755" y="4940"/>
                    </a:cubicBezTo>
                    <a:lnTo>
                      <a:pt x="329755" y="161980"/>
                    </a:lnTo>
                    <a:cubicBezTo>
                      <a:pt x="329755" y="164692"/>
                      <a:pt x="327557" y="166919"/>
                      <a:pt x="324816" y="166919"/>
                    </a:cubicBezTo>
                    <a:close/>
                  </a:path>
                </a:pathLst>
              </a:custGeom>
              <a:solidFill>
                <a:schemeClr val="tx2"/>
              </a:solidFill>
              <a:ln w="2851" cap="flat">
                <a:noFill/>
                <a:prstDash val="solid"/>
                <a:miter/>
              </a:ln>
            </p:spPr>
            <p:txBody>
              <a:bodyPr rtlCol="0" anchor="ctr"/>
              <a:lstStyle/>
              <a:p>
                <a:endParaRPr lang="en-GB" dirty="0"/>
              </a:p>
            </p:txBody>
          </p:sp>
        </p:grpSp>
        <p:grpSp>
          <p:nvGrpSpPr>
            <p:cNvPr id="495" name="Group 494">
              <a:extLst>
                <a:ext uri="{FF2B5EF4-FFF2-40B4-BE49-F238E27FC236}">
                  <a16:creationId xmlns:a16="http://schemas.microsoft.com/office/drawing/2014/main" id="{D0C9479F-A335-4775-9637-842CAF863A24}"/>
                </a:ext>
              </a:extLst>
            </p:cNvPr>
            <p:cNvGrpSpPr/>
            <p:nvPr/>
          </p:nvGrpSpPr>
          <p:grpSpPr>
            <a:xfrm>
              <a:off x="4919012" y="3528982"/>
              <a:ext cx="587688" cy="115076"/>
              <a:chOff x="1626355" y="2747794"/>
              <a:chExt cx="614765" cy="120378"/>
            </a:xfrm>
            <a:solidFill>
              <a:schemeClr val="accent1"/>
            </a:solidFill>
          </p:grpSpPr>
          <p:sp>
            <p:nvSpPr>
              <p:cNvPr id="496" name="Freihandform: Form 393">
                <a:extLst>
                  <a:ext uri="{FF2B5EF4-FFF2-40B4-BE49-F238E27FC236}">
                    <a16:creationId xmlns:a16="http://schemas.microsoft.com/office/drawing/2014/main" id="{81737845-124A-43DC-A8A3-D35F363E8898}"/>
                  </a:ext>
                </a:extLst>
              </p:cNvPr>
              <p:cNvSpPr/>
              <p:nvPr/>
            </p:nvSpPr>
            <p:spPr>
              <a:xfrm>
                <a:off x="1701947" y="2747794"/>
                <a:ext cx="463524" cy="79662"/>
              </a:xfrm>
              <a:custGeom>
                <a:avLst/>
                <a:gdLst>
                  <a:gd name="connsiteX0" fmla="*/ 458614 w 463524"/>
                  <a:gd name="connsiteY0" fmla="*/ 79662 h 79662"/>
                  <a:gd name="connsiteX1" fmla="*/ 4940 w 463524"/>
                  <a:gd name="connsiteY1" fmla="*/ 79662 h 79662"/>
                  <a:gd name="connsiteX2" fmla="*/ 0 w 463524"/>
                  <a:gd name="connsiteY2" fmla="*/ 74722 h 79662"/>
                  <a:gd name="connsiteX3" fmla="*/ 0 w 463524"/>
                  <a:gd name="connsiteY3" fmla="*/ 4940 h 79662"/>
                  <a:gd name="connsiteX4" fmla="*/ 4940 w 463524"/>
                  <a:gd name="connsiteY4" fmla="*/ 0 h 79662"/>
                  <a:gd name="connsiteX5" fmla="*/ 458585 w 463524"/>
                  <a:gd name="connsiteY5" fmla="*/ 0 h 79662"/>
                  <a:gd name="connsiteX6" fmla="*/ 463525 w 463524"/>
                  <a:gd name="connsiteY6" fmla="*/ 4940 h 79662"/>
                  <a:gd name="connsiteX7" fmla="*/ 463525 w 463524"/>
                  <a:gd name="connsiteY7" fmla="*/ 74722 h 79662"/>
                  <a:gd name="connsiteX8" fmla="*/ 458614 w 463524"/>
                  <a:gd name="connsiteY8" fmla="*/ 79662 h 79662"/>
                  <a:gd name="connsiteX9" fmla="*/ 9908 w 463524"/>
                  <a:gd name="connsiteY9" fmla="*/ 69783 h 79662"/>
                  <a:gd name="connsiteX10" fmla="*/ 453674 w 463524"/>
                  <a:gd name="connsiteY10" fmla="*/ 69783 h 79662"/>
                  <a:gd name="connsiteX11" fmla="*/ 453674 w 463524"/>
                  <a:gd name="connsiteY11" fmla="*/ 9879 h 79662"/>
                  <a:gd name="connsiteX12" fmla="*/ 9908 w 463524"/>
                  <a:gd name="connsiteY12" fmla="*/ 9879 h 79662"/>
                  <a:gd name="connsiteX13" fmla="*/ 9908 w 463524"/>
                  <a:gd name="connsiteY13" fmla="*/ 69783 h 79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3524" h="79662">
                    <a:moveTo>
                      <a:pt x="458614" y="79662"/>
                    </a:moveTo>
                    <a:lnTo>
                      <a:pt x="4940" y="79662"/>
                    </a:lnTo>
                    <a:cubicBezTo>
                      <a:pt x="2199" y="79662"/>
                      <a:pt x="0" y="77435"/>
                      <a:pt x="0" y="74722"/>
                    </a:cubicBezTo>
                    <a:lnTo>
                      <a:pt x="0" y="4940"/>
                    </a:lnTo>
                    <a:cubicBezTo>
                      <a:pt x="0" y="2199"/>
                      <a:pt x="2227" y="0"/>
                      <a:pt x="4940" y="0"/>
                    </a:cubicBezTo>
                    <a:lnTo>
                      <a:pt x="458585" y="0"/>
                    </a:lnTo>
                    <a:cubicBezTo>
                      <a:pt x="461326" y="0"/>
                      <a:pt x="463525" y="2227"/>
                      <a:pt x="463525" y="4940"/>
                    </a:cubicBezTo>
                    <a:lnTo>
                      <a:pt x="463525" y="74722"/>
                    </a:lnTo>
                    <a:cubicBezTo>
                      <a:pt x="463553" y="77464"/>
                      <a:pt x="461326" y="79662"/>
                      <a:pt x="458614" y="79662"/>
                    </a:cubicBezTo>
                    <a:close/>
                    <a:moveTo>
                      <a:pt x="9908" y="69783"/>
                    </a:moveTo>
                    <a:lnTo>
                      <a:pt x="453674" y="69783"/>
                    </a:lnTo>
                    <a:lnTo>
                      <a:pt x="453674" y="9879"/>
                    </a:lnTo>
                    <a:lnTo>
                      <a:pt x="9908" y="9879"/>
                    </a:lnTo>
                    <a:lnTo>
                      <a:pt x="9908" y="69783"/>
                    </a:lnTo>
                    <a:close/>
                  </a:path>
                </a:pathLst>
              </a:custGeom>
              <a:solidFill>
                <a:schemeClr val="accent1"/>
              </a:solidFill>
              <a:ln w="2851" cap="flat">
                <a:noFill/>
                <a:prstDash val="solid"/>
                <a:miter/>
              </a:ln>
            </p:spPr>
            <p:txBody>
              <a:bodyPr rtlCol="0" anchor="ctr"/>
              <a:lstStyle/>
              <a:p>
                <a:endParaRPr lang="en-GB" dirty="0"/>
              </a:p>
            </p:txBody>
          </p:sp>
          <p:sp>
            <p:nvSpPr>
              <p:cNvPr id="497" name="Freihandform: Form 395">
                <a:extLst>
                  <a:ext uri="{FF2B5EF4-FFF2-40B4-BE49-F238E27FC236}">
                    <a16:creationId xmlns:a16="http://schemas.microsoft.com/office/drawing/2014/main" id="{D869E4B1-24E1-47EC-A4A5-7E4D92F9015B}"/>
                  </a:ext>
                </a:extLst>
              </p:cNvPr>
              <p:cNvSpPr/>
              <p:nvPr/>
            </p:nvSpPr>
            <p:spPr>
              <a:xfrm>
                <a:off x="1626355" y="2788453"/>
                <a:ext cx="137836" cy="79719"/>
              </a:xfrm>
              <a:custGeom>
                <a:avLst/>
                <a:gdLst>
                  <a:gd name="connsiteX0" fmla="*/ 132897 w 137836"/>
                  <a:gd name="connsiteY0" fmla="*/ 79719 h 79719"/>
                  <a:gd name="connsiteX1" fmla="*/ 4953 w 137836"/>
                  <a:gd name="connsiteY1" fmla="*/ 79719 h 79719"/>
                  <a:gd name="connsiteX2" fmla="*/ 584 w 137836"/>
                  <a:gd name="connsiteY2" fmla="*/ 77092 h 79719"/>
                  <a:gd name="connsiteX3" fmla="*/ 841 w 137836"/>
                  <a:gd name="connsiteY3" fmla="*/ 72010 h 79719"/>
                  <a:gd name="connsiteX4" fmla="*/ 22284 w 137836"/>
                  <a:gd name="connsiteY4" fmla="*/ 39860 h 79719"/>
                  <a:gd name="connsiteX5" fmla="*/ 841 w 137836"/>
                  <a:gd name="connsiteY5" fmla="*/ 7709 h 79719"/>
                  <a:gd name="connsiteX6" fmla="*/ 584 w 137836"/>
                  <a:gd name="connsiteY6" fmla="*/ 2627 h 79719"/>
                  <a:gd name="connsiteX7" fmla="*/ 4953 w 137836"/>
                  <a:gd name="connsiteY7" fmla="*/ 0 h 79719"/>
                  <a:gd name="connsiteX8" fmla="*/ 80560 w 137836"/>
                  <a:gd name="connsiteY8" fmla="*/ 0 h 79719"/>
                  <a:gd name="connsiteX9" fmla="*/ 85500 w 137836"/>
                  <a:gd name="connsiteY9" fmla="*/ 4940 h 79719"/>
                  <a:gd name="connsiteX10" fmla="*/ 80560 w 137836"/>
                  <a:gd name="connsiteY10" fmla="*/ 9879 h 79719"/>
                  <a:gd name="connsiteX11" fmla="*/ 14204 w 137836"/>
                  <a:gd name="connsiteY11" fmla="*/ 9879 h 79719"/>
                  <a:gd name="connsiteX12" fmla="*/ 32335 w 137836"/>
                  <a:gd name="connsiteY12" fmla="*/ 37090 h 79719"/>
                  <a:gd name="connsiteX13" fmla="*/ 32335 w 137836"/>
                  <a:gd name="connsiteY13" fmla="*/ 42572 h 79719"/>
                  <a:gd name="connsiteX14" fmla="*/ 14204 w 137836"/>
                  <a:gd name="connsiteY14" fmla="*/ 69783 h 79719"/>
                  <a:gd name="connsiteX15" fmla="*/ 127958 w 137836"/>
                  <a:gd name="connsiteY15" fmla="*/ 69783 h 79719"/>
                  <a:gd name="connsiteX16" fmla="*/ 127958 w 137836"/>
                  <a:gd name="connsiteY16" fmla="*/ 34006 h 79719"/>
                  <a:gd name="connsiteX17" fmla="*/ 132897 w 137836"/>
                  <a:gd name="connsiteY17" fmla="*/ 29067 h 79719"/>
                  <a:gd name="connsiteX18" fmla="*/ 137837 w 137836"/>
                  <a:gd name="connsiteY18" fmla="*/ 34006 h 79719"/>
                  <a:gd name="connsiteX19" fmla="*/ 137837 w 137836"/>
                  <a:gd name="connsiteY19" fmla="*/ 74722 h 79719"/>
                  <a:gd name="connsiteX20" fmla="*/ 132897 w 137836"/>
                  <a:gd name="connsiteY20" fmla="*/ 79719 h 79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7836" h="79719">
                    <a:moveTo>
                      <a:pt x="132897" y="79719"/>
                    </a:moveTo>
                    <a:lnTo>
                      <a:pt x="4953" y="79719"/>
                    </a:lnTo>
                    <a:cubicBezTo>
                      <a:pt x="3125" y="79719"/>
                      <a:pt x="1441" y="78720"/>
                      <a:pt x="584" y="77092"/>
                    </a:cubicBezTo>
                    <a:cubicBezTo>
                      <a:pt x="-273" y="75493"/>
                      <a:pt x="-187" y="73523"/>
                      <a:pt x="841" y="72010"/>
                    </a:cubicBezTo>
                    <a:lnTo>
                      <a:pt x="22284" y="39860"/>
                    </a:lnTo>
                    <a:lnTo>
                      <a:pt x="841" y="7709"/>
                    </a:lnTo>
                    <a:cubicBezTo>
                      <a:pt x="-158" y="6196"/>
                      <a:pt x="-273" y="4226"/>
                      <a:pt x="584" y="2627"/>
                    </a:cubicBezTo>
                    <a:cubicBezTo>
                      <a:pt x="1441" y="1028"/>
                      <a:pt x="3125" y="0"/>
                      <a:pt x="4953" y="0"/>
                    </a:cubicBezTo>
                    <a:lnTo>
                      <a:pt x="80560" y="0"/>
                    </a:lnTo>
                    <a:cubicBezTo>
                      <a:pt x="83301" y="0"/>
                      <a:pt x="85500" y="2227"/>
                      <a:pt x="85500" y="4940"/>
                    </a:cubicBezTo>
                    <a:cubicBezTo>
                      <a:pt x="85500" y="7681"/>
                      <a:pt x="83273" y="9879"/>
                      <a:pt x="80560" y="9879"/>
                    </a:cubicBezTo>
                    <a:lnTo>
                      <a:pt x="14204" y="9879"/>
                    </a:lnTo>
                    <a:lnTo>
                      <a:pt x="32335" y="37090"/>
                    </a:lnTo>
                    <a:cubicBezTo>
                      <a:pt x="33448" y="38746"/>
                      <a:pt x="33448" y="40916"/>
                      <a:pt x="32335" y="42572"/>
                    </a:cubicBezTo>
                    <a:lnTo>
                      <a:pt x="14204" y="69783"/>
                    </a:lnTo>
                    <a:lnTo>
                      <a:pt x="127958" y="69783"/>
                    </a:lnTo>
                    <a:lnTo>
                      <a:pt x="127958" y="34006"/>
                    </a:lnTo>
                    <a:cubicBezTo>
                      <a:pt x="127958" y="31265"/>
                      <a:pt x="130185" y="29067"/>
                      <a:pt x="132897" y="29067"/>
                    </a:cubicBezTo>
                    <a:cubicBezTo>
                      <a:pt x="135638" y="29067"/>
                      <a:pt x="137837" y="31294"/>
                      <a:pt x="137837" y="34006"/>
                    </a:cubicBezTo>
                    <a:lnTo>
                      <a:pt x="137837" y="74722"/>
                    </a:lnTo>
                    <a:cubicBezTo>
                      <a:pt x="137837" y="77521"/>
                      <a:pt x="135610" y="79719"/>
                      <a:pt x="132897" y="79719"/>
                    </a:cubicBezTo>
                    <a:close/>
                  </a:path>
                </a:pathLst>
              </a:custGeom>
              <a:solidFill>
                <a:schemeClr val="accent1"/>
              </a:solidFill>
              <a:ln w="2851" cap="flat">
                <a:noFill/>
                <a:prstDash val="solid"/>
                <a:miter/>
              </a:ln>
            </p:spPr>
            <p:txBody>
              <a:bodyPr rtlCol="0" anchor="ctr"/>
              <a:lstStyle/>
              <a:p>
                <a:endParaRPr lang="en-GB" dirty="0"/>
              </a:p>
            </p:txBody>
          </p:sp>
          <p:sp>
            <p:nvSpPr>
              <p:cNvPr id="498" name="Freihandform: Form 396">
                <a:extLst>
                  <a:ext uri="{FF2B5EF4-FFF2-40B4-BE49-F238E27FC236}">
                    <a16:creationId xmlns:a16="http://schemas.microsoft.com/office/drawing/2014/main" id="{0D0485A5-78C2-4660-832E-79B851D18D0D}"/>
                  </a:ext>
                </a:extLst>
              </p:cNvPr>
              <p:cNvSpPr/>
              <p:nvPr/>
            </p:nvSpPr>
            <p:spPr>
              <a:xfrm>
                <a:off x="1701950" y="2817551"/>
                <a:ext cx="62239" cy="50621"/>
              </a:xfrm>
              <a:custGeom>
                <a:avLst/>
                <a:gdLst>
                  <a:gd name="connsiteX0" fmla="*/ 57274 w 62239"/>
                  <a:gd name="connsiteY0" fmla="*/ 50621 h 50621"/>
                  <a:gd name="connsiteX1" fmla="*/ 54247 w 62239"/>
                  <a:gd name="connsiteY1" fmla="*/ 49565 h 50621"/>
                  <a:gd name="connsiteX2" fmla="*/ 1910 w 62239"/>
                  <a:gd name="connsiteY2" fmla="*/ 8849 h 50621"/>
                  <a:gd name="connsiteX3" fmla="*/ 1054 w 62239"/>
                  <a:gd name="connsiteY3" fmla="*/ 1910 h 50621"/>
                  <a:gd name="connsiteX4" fmla="*/ 7992 w 62239"/>
                  <a:gd name="connsiteY4" fmla="*/ 1054 h 50621"/>
                  <a:gd name="connsiteX5" fmla="*/ 60329 w 62239"/>
                  <a:gd name="connsiteY5" fmla="*/ 41770 h 50621"/>
                  <a:gd name="connsiteX6" fmla="*/ 61186 w 62239"/>
                  <a:gd name="connsiteY6" fmla="*/ 48708 h 50621"/>
                  <a:gd name="connsiteX7" fmla="*/ 57274 w 62239"/>
                  <a:gd name="connsiteY7" fmla="*/ 50621 h 5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9" h="50621">
                    <a:moveTo>
                      <a:pt x="57274" y="50621"/>
                    </a:moveTo>
                    <a:cubicBezTo>
                      <a:pt x="56218" y="50621"/>
                      <a:pt x="55133" y="50279"/>
                      <a:pt x="54247" y="49565"/>
                    </a:cubicBezTo>
                    <a:lnTo>
                      <a:pt x="1910" y="8849"/>
                    </a:lnTo>
                    <a:cubicBezTo>
                      <a:pt x="-260" y="7164"/>
                      <a:pt x="-631" y="4052"/>
                      <a:pt x="1054" y="1910"/>
                    </a:cubicBezTo>
                    <a:cubicBezTo>
                      <a:pt x="2710" y="-260"/>
                      <a:pt x="5851" y="-631"/>
                      <a:pt x="7992" y="1054"/>
                    </a:cubicBezTo>
                    <a:lnTo>
                      <a:pt x="60329" y="41770"/>
                    </a:lnTo>
                    <a:cubicBezTo>
                      <a:pt x="62499" y="43454"/>
                      <a:pt x="62870" y="46567"/>
                      <a:pt x="61186" y="48708"/>
                    </a:cubicBezTo>
                    <a:cubicBezTo>
                      <a:pt x="60215" y="49964"/>
                      <a:pt x="58759" y="50621"/>
                      <a:pt x="57274" y="50621"/>
                    </a:cubicBezTo>
                    <a:close/>
                  </a:path>
                </a:pathLst>
              </a:custGeom>
              <a:solidFill>
                <a:schemeClr val="accent1"/>
              </a:solidFill>
              <a:ln w="2851" cap="flat">
                <a:noFill/>
                <a:prstDash val="solid"/>
                <a:miter/>
              </a:ln>
            </p:spPr>
            <p:txBody>
              <a:bodyPr rtlCol="0" anchor="ctr"/>
              <a:lstStyle/>
              <a:p>
                <a:endParaRPr lang="en-GB" dirty="0"/>
              </a:p>
            </p:txBody>
          </p:sp>
          <p:sp>
            <p:nvSpPr>
              <p:cNvPr id="499" name="Freihandform: Form 398">
                <a:extLst>
                  <a:ext uri="{FF2B5EF4-FFF2-40B4-BE49-F238E27FC236}">
                    <a16:creationId xmlns:a16="http://schemas.microsoft.com/office/drawing/2014/main" id="{FBA643B7-35CC-47F8-A36B-8122DBD88256}"/>
                  </a:ext>
                </a:extLst>
              </p:cNvPr>
              <p:cNvSpPr/>
              <p:nvPr/>
            </p:nvSpPr>
            <p:spPr>
              <a:xfrm>
                <a:off x="2103284" y="2788510"/>
                <a:ext cx="137836" cy="79662"/>
              </a:xfrm>
              <a:custGeom>
                <a:avLst/>
                <a:gdLst>
                  <a:gd name="connsiteX0" fmla="*/ 132884 w 137836"/>
                  <a:gd name="connsiteY0" fmla="*/ 79662 h 79662"/>
                  <a:gd name="connsiteX1" fmla="*/ 4940 w 137836"/>
                  <a:gd name="connsiteY1" fmla="*/ 79662 h 79662"/>
                  <a:gd name="connsiteX2" fmla="*/ 0 w 137836"/>
                  <a:gd name="connsiteY2" fmla="*/ 74722 h 79662"/>
                  <a:gd name="connsiteX3" fmla="*/ 0 w 137836"/>
                  <a:gd name="connsiteY3" fmla="*/ 34006 h 79662"/>
                  <a:gd name="connsiteX4" fmla="*/ 4940 w 137836"/>
                  <a:gd name="connsiteY4" fmla="*/ 29067 h 79662"/>
                  <a:gd name="connsiteX5" fmla="*/ 9879 w 137836"/>
                  <a:gd name="connsiteY5" fmla="*/ 34006 h 79662"/>
                  <a:gd name="connsiteX6" fmla="*/ 9879 w 137836"/>
                  <a:gd name="connsiteY6" fmla="*/ 69783 h 79662"/>
                  <a:gd name="connsiteX7" fmla="*/ 123633 w 137836"/>
                  <a:gd name="connsiteY7" fmla="*/ 69783 h 79662"/>
                  <a:gd name="connsiteX8" fmla="*/ 105502 w 137836"/>
                  <a:gd name="connsiteY8" fmla="*/ 42572 h 79662"/>
                  <a:gd name="connsiteX9" fmla="*/ 105502 w 137836"/>
                  <a:gd name="connsiteY9" fmla="*/ 37090 h 79662"/>
                  <a:gd name="connsiteX10" fmla="*/ 123633 w 137836"/>
                  <a:gd name="connsiteY10" fmla="*/ 9879 h 79662"/>
                  <a:gd name="connsiteX11" fmla="*/ 57277 w 137836"/>
                  <a:gd name="connsiteY11" fmla="*/ 9879 h 79662"/>
                  <a:gd name="connsiteX12" fmla="*/ 52337 w 137836"/>
                  <a:gd name="connsiteY12" fmla="*/ 4940 h 79662"/>
                  <a:gd name="connsiteX13" fmla="*/ 57277 w 137836"/>
                  <a:gd name="connsiteY13" fmla="*/ 0 h 79662"/>
                  <a:gd name="connsiteX14" fmla="*/ 132884 w 137836"/>
                  <a:gd name="connsiteY14" fmla="*/ 0 h 79662"/>
                  <a:gd name="connsiteX15" fmla="*/ 137253 w 137836"/>
                  <a:gd name="connsiteY15" fmla="*/ 2627 h 79662"/>
                  <a:gd name="connsiteX16" fmla="*/ 136996 w 137836"/>
                  <a:gd name="connsiteY16" fmla="*/ 7709 h 79662"/>
                  <a:gd name="connsiteX17" fmla="*/ 115553 w 137836"/>
                  <a:gd name="connsiteY17" fmla="*/ 39860 h 79662"/>
                  <a:gd name="connsiteX18" fmla="*/ 136996 w 137836"/>
                  <a:gd name="connsiteY18" fmla="*/ 72010 h 79662"/>
                  <a:gd name="connsiteX19" fmla="*/ 137253 w 137836"/>
                  <a:gd name="connsiteY19" fmla="*/ 77092 h 79662"/>
                  <a:gd name="connsiteX20" fmla="*/ 132884 w 137836"/>
                  <a:gd name="connsiteY20" fmla="*/ 79662 h 796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7836" h="79662">
                    <a:moveTo>
                      <a:pt x="132884" y="79662"/>
                    </a:moveTo>
                    <a:lnTo>
                      <a:pt x="4940" y="79662"/>
                    </a:lnTo>
                    <a:cubicBezTo>
                      <a:pt x="2199" y="79662"/>
                      <a:pt x="0" y="77435"/>
                      <a:pt x="0" y="74722"/>
                    </a:cubicBezTo>
                    <a:lnTo>
                      <a:pt x="0" y="34006"/>
                    </a:lnTo>
                    <a:cubicBezTo>
                      <a:pt x="0" y="31265"/>
                      <a:pt x="2227" y="29067"/>
                      <a:pt x="4940" y="29067"/>
                    </a:cubicBezTo>
                    <a:cubicBezTo>
                      <a:pt x="7681" y="29067"/>
                      <a:pt x="9879" y="31294"/>
                      <a:pt x="9879" y="34006"/>
                    </a:cubicBezTo>
                    <a:lnTo>
                      <a:pt x="9879" y="69783"/>
                    </a:lnTo>
                    <a:lnTo>
                      <a:pt x="123633" y="69783"/>
                    </a:lnTo>
                    <a:lnTo>
                      <a:pt x="105502" y="42572"/>
                    </a:lnTo>
                    <a:cubicBezTo>
                      <a:pt x="104389" y="40916"/>
                      <a:pt x="104389" y="38746"/>
                      <a:pt x="105502" y="37090"/>
                    </a:cubicBezTo>
                    <a:lnTo>
                      <a:pt x="123633" y="9879"/>
                    </a:lnTo>
                    <a:lnTo>
                      <a:pt x="57277" y="9879"/>
                    </a:lnTo>
                    <a:cubicBezTo>
                      <a:pt x="54536" y="9879"/>
                      <a:pt x="52337" y="7652"/>
                      <a:pt x="52337" y="4940"/>
                    </a:cubicBezTo>
                    <a:cubicBezTo>
                      <a:pt x="52337" y="2199"/>
                      <a:pt x="54564" y="0"/>
                      <a:pt x="57277" y="0"/>
                    </a:cubicBezTo>
                    <a:lnTo>
                      <a:pt x="132884" y="0"/>
                    </a:lnTo>
                    <a:cubicBezTo>
                      <a:pt x="134712" y="0"/>
                      <a:pt x="136396" y="999"/>
                      <a:pt x="137253" y="2627"/>
                    </a:cubicBezTo>
                    <a:cubicBezTo>
                      <a:pt x="138109" y="4226"/>
                      <a:pt x="138024" y="6196"/>
                      <a:pt x="136996" y="7709"/>
                    </a:cubicBezTo>
                    <a:lnTo>
                      <a:pt x="115553" y="39860"/>
                    </a:lnTo>
                    <a:lnTo>
                      <a:pt x="136996" y="72010"/>
                    </a:lnTo>
                    <a:cubicBezTo>
                      <a:pt x="137995" y="73523"/>
                      <a:pt x="138109" y="75493"/>
                      <a:pt x="137253" y="77092"/>
                    </a:cubicBezTo>
                    <a:cubicBezTo>
                      <a:pt x="136396" y="78663"/>
                      <a:pt x="134712" y="79662"/>
                      <a:pt x="132884" y="79662"/>
                    </a:cubicBezTo>
                    <a:close/>
                  </a:path>
                </a:pathLst>
              </a:custGeom>
              <a:solidFill>
                <a:schemeClr val="accent1"/>
              </a:solidFill>
              <a:ln w="2851" cap="flat">
                <a:noFill/>
                <a:prstDash val="solid"/>
                <a:miter/>
              </a:ln>
            </p:spPr>
            <p:txBody>
              <a:bodyPr rtlCol="0" anchor="ctr"/>
              <a:lstStyle/>
              <a:p>
                <a:endParaRPr lang="en-GB" dirty="0"/>
              </a:p>
            </p:txBody>
          </p:sp>
          <p:sp>
            <p:nvSpPr>
              <p:cNvPr id="500" name="Freihandform: Form 399">
                <a:extLst>
                  <a:ext uri="{FF2B5EF4-FFF2-40B4-BE49-F238E27FC236}">
                    <a16:creationId xmlns:a16="http://schemas.microsoft.com/office/drawing/2014/main" id="{1545E916-5E53-4386-B3DD-111C5AF6046D}"/>
                  </a:ext>
                </a:extLst>
              </p:cNvPr>
              <p:cNvSpPr/>
              <p:nvPr/>
            </p:nvSpPr>
            <p:spPr>
              <a:xfrm>
                <a:off x="2103267" y="2817560"/>
                <a:ext cx="62221" cy="50612"/>
              </a:xfrm>
              <a:custGeom>
                <a:avLst/>
                <a:gdLst>
                  <a:gd name="connsiteX0" fmla="*/ 4957 w 62221"/>
                  <a:gd name="connsiteY0" fmla="*/ 50612 h 50612"/>
                  <a:gd name="connsiteX1" fmla="*/ 1045 w 62221"/>
                  <a:gd name="connsiteY1" fmla="*/ 48699 h 50612"/>
                  <a:gd name="connsiteX2" fmla="*/ 1902 w 62221"/>
                  <a:gd name="connsiteY2" fmla="*/ 41761 h 50612"/>
                  <a:gd name="connsiteX3" fmla="*/ 54239 w 62221"/>
                  <a:gd name="connsiteY3" fmla="*/ 1045 h 50612"/>
                  <a:gd name="connsiteX4" fmla="*/ 61177 w 62221"/>
                  <a:gd name="connsiteY4" fmla="*/ 1902 h 50612"/>
                  <a:gd name="connsiteX5" fmla="*/ 60320 w 62221"/>
                  <a:gd name="connsiteY5" fmla="*/ 8840 h 50612"/>
                  <a:gd name="connsiteX6" fmla="*/ 7983 w 62221"/>
                  <a:gd name="connsiteY6" fmla="*/ 49556 h 50612"/>
                  <a:gd name="connsiteX7" fmla="*/ 4957 w 62221"/>
                  <a:gd name="connsiteY7" fmla="*/ 50612 h 50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21" h="50612">
                    <a:moveTo>
                      <a:pt x="4957" y="50612"/>
                    </a:moveTo>
                    <a:cubicBezTo>
                      <a:pt x="3472" y="50612"/>
                      <a:pt x="2016" y="49956"/>
                      <a:pt x="1045" y="48699"/>
                    </a:cubicBezTo>
                    <a:cubicBezTo>
                      <a:pt x="-640" y="46529"/>
                      <a:pt x="-240" y="43446"/>
                      <a:pt x="1902" y="41761"/>
                    </a:cubicBezTo>
                    <a:lnTo>
                      <a:pt x="54239" y="1045"/>
                    </a:lnTo>
                    <a:cubicBezTo>
                      <a:pt x="56380" y="-640"/>
                      <a:pt x="59492" y="-240"/>
                      <a:pt x="61177" y="1902"/>
                    </a:cubicBezTo>
                    <a:cubicBezTo>
                      <a:pt x="62862" y="4072"/>
                      <a:pt x="62462" y="7155"/>
                      <a:pt x="60320" y="8840"/>
                    </a:cubicBezTo>
                    <a:lnTo>
                      <a:pt x="7983" y="49556"/>
                    </a:lnTo>
                    <a:cubicBezTo>
                      <a:pt x="7070" y="50270"/>
                      <a:pt x="6013" y="50612"/>
                      <a:pt x="4957" y="50612"/>
                    </a:cubicBezTo>
                    <a:close/>
                  </a:path>
                </a:pathLst>
              </a:custGeom>
              <a:solidFill>
                <a:schemeClr val="accent1"/>
              </a:solidFill>
              <a:ln w="2851" cap="flat">
                <a:noFill/>
                <a:prstDash val="solid"/>
                <a:miter/>
              </a:ln>
            </p:spPr>
            <p:txBody>
              <a:bodyPr rtlCol="0" anchor="ctr"/>
              <a:lstStyle/>
              <a:p>
                <a:endParaRPr lang="en-GB" dirty="0"/>
              </a:p>
            </p:txBody>
          </p:sp>
        </p:grpSp>
      </p:grpSp>
      <p:grpSp>
        <p:nvGrpSpPr>
          <p:cNvPr id="616" name="Group 615">
            <a:extLst>
              <a:ext uri="{FF2B5EF4-FFF2-40B4-BE49-F238E27FC236}">
                <a16:creationId xmlns:a16="http://schemas.microsoft.com/office/drawing/2014/main" id="{3818322F-445A-7697-ADC8-0366F1F7C1A0}"/>
              </a:ext>
            </a:extLst>
          </p:cNvPr>
          <p:cNvGrpSpPr/>
          <p:nvPr/>
        </p:nvGrpSpPr>
        <p:grpSpPr>
          <a:xfrm>
            <a:off x="6001610" y="3212058"/>
            <a:ext cx="509583" cy="432000"/>
            <a:chOff x="6001198" y="3212058"/>
            <a:chExt cx="509583" cy="432000"/>
          </a:xfrm>
        </p:grpSpPr>
        <p:grpSp>
          <p:nvGrpSpPr>
            <p:cNvPr id="508" name="Group 507">
              <a:extLst>
                <a:ext uri="{FF2B5EF4-FFF2-40B4-BE49-F238E27FC236}">
                  <a16:creationId xmlns:a16="http://schemas.microsoft.com/office/drawing/2014/main" id="{1F1D7E6E-AE73-409B-9939-AC870DB4ACDA}"/>
                </a:ext>
              </a:extLst>
            </p:cNvPr>
            <p:cNvGrpSpPr/>
            <p:nvPr/>
          </p:nvGrpSpPr>
          <p:grpSpPr>
            <a:xfrm>
              <a:off x="6159745" y="3329339"/>
              <a:ext cx="193990" cy="193990"/>
              <a:chOff x="2619174" y="2539416"/>
              <a:chExt cx="247380" cy="247380"/>
            </a:xfrm>
            <a:solidFill>
              <a:schemeClr val="accent1"/>
            </a:solidFill>
          </p:grpSpPr>
          <p:grpSp>
            <p:nvGrpSpPr>
              <p:cNvPr id="546" name="Grafik 34">
                <a:extLst>
                  <a:ext uri="{FF2B5EF4-FFF2-40B4-BE49-F238E27FC236}">
                    <a16:creationId xmlns:a16="http://schemas.microsoft.com/office/drawing/2014/main" id="{60D8D2A1-8CA5-493F-A4E7-F7B57C9CE3A3}"/>
                  </a:ext>
                </a:extLst>
              </p:cNvPr>
              <p:cNvGrpSpPr/>
              <p:nvPr/>
            </p:nvGrpSpPr>
            <p:grpSpPr>
              <a:xfrm>
                <a:off x="2661946" y="2580960"/>
                <a:ext cx="161836" cy="195072"/>
                <a:chOff x="2661946" y="2580960"/>
                <a:chExt cx="161836" cy="195072"/>
              </a:xfrm>
              <a:solidFill>
                <a:schemeClr val="accent1"/>
              </a:solidFill>
            </p:grpSpPr>
            <p:grpSp>
              <p:nvGrpSpPr>
                <p:cNvPr id="548" name="Grafik 34">
                  <a:extLst>
                    <a:ext uri="{FF2B5EF4-FFF2-40B4-BE49-F238E27FC236}">
                      <a16:creationId xmlns:a16="http://schemas.microsoft.com/office/drawing/2014/main" id="{A947901C-B728-4FC0-9AD0-2C6FF45E9D2C}"/>
                    </a:ext>
                  </a:extLst>
                </p:cNvPr>
                <p:cNvGrpSpPr/>
                <p:nvPr/>
              </p:nvGrpSpPr>
              <p:grpSpPr>
                <a:xfrm>
                  <a:off x="2661946" y="2682008"/>
                  <a:ext cx="161836" cy="94024"/>
                  <a:chOff x="2661946" y="2682008"/>
                  <a:chExt cx="161836" cy="94024"/>
                </a:xfrm>
                <a:solidFill>
                  <a:schemeClr val="accent1"/>
                </a:solidFill>
              </p:grpSpPr>
              <p:sp>
                <p:nvSpPr>
                  <p:cNvPr id="550" name="Freihandform: Form 404">
                    <a:extLst>
                      <a:ext uri="{FF2B5EF4-FFF2-40B4-BE49-F238E27FC236}">
                        <a16:creationId xmlns:a16="http://schemas.microsoft.com/office/drawing/2014/main" id="{4A2D79DC-F255-4C40-ABEC-C2BD0BE670AF}"/>
                      </a:ext>
                    </a:extLst>
                  </p:cNvPr>
                  <p:cNvSpPr/>
                  <p:nvPr/>
                </p:nvSpPr>
                <p:spPr>
                  <a:xfrm>
                    <a:off x="2691184" y="2740142"/>
                    <a:ext cx="9879" cy="32064"/>
                  </a:xfrm>
                  <a:custGeom>
                    <a:avLst/>
                    <a:gdLst>
                      <a:gd name="connsiteX0" fmla="*/ 4940 w 9879"/>
                      <a:gd name="connsiteY0" fmla="*/ 32065 h 32064"/>
                      <a:gd name="connsiteX1" fmla="*/ 0 w 9879"/>
                      <a:gd name="connsiteY1" fmla="*/ 27125 h 32064"/>
                      <a:gd name="connsiteX2" fmla="*/ 0 w 9879"/>
                      <a:gd name="connsiteY2" fmla="*/ 4940 h 32064"/>
                      <a:gd name="connsiteX3" fmla="*/ 4940 w 9879"/>
                      <a:gd name="connsiteY3" fmla="*/ 0 h 32064"/>
                      <a:gd name="connsiteX4" fmla="*/ 9879 w 9879"/>
                      <a:gd name="connsiteY4" fmla="*/ 4940 h 32064"/>
                      <a:gd name="connsiteX5" fmla="*/ 9879 w 9879"/>
                      <a:gd name="connsiteY5" fmla="*/ 27125 h 32064"/>
                      <a:gd name="connsiteX6" fmla="*/ 4940 w 9879"/>
                      <a:gd name="connsiteY6" fmla="*/ 32065 h 32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32064">
                        <a:moveTo>
                          <a:pt x="4940" y="32065"/>
                        </a:moveTo>
                        <a:cubicBezTo>
                          <a:pt x="2199" y="32065"/>
                          <a:pt x="0" y="29838"/>
                          <a:pt x="0" y="27125"/>
                        </a:cubicBezTo>
                        <a:lnTo>
                          <a:pt x="0" y="4940"/>
                        </a:lnTo>
                        <a:cubicBezTo>
                          <a:pt x="0" y="2199"/>
                          <a:pt x="2227" y="0"/>
                          <a:pt x="4940" y="0"/>
                        </a:cubicBezTo>
                        <a:cubicBezTo>
                          <a:pt x="7681" y="0"/>
                          <a:pt x="9879" y="2227"/>
                          <a:pt x="9879" y="4940"/>
                        </a:cubicBezTo>
                        <a:lnTo>
                          <a:pt x="9879" y="27125"/>
                        </a:lnTo>
                        <a:cubicBezTo>
                          <a:pt x="9879" y="29866"/>
                          <a:pt x="7681" y="32065"/>
                          <a:pt x="4940" y="32065"/>
                        </a:cubicBezTo>
                        <a:close/>
                      </a:path>
                    </a:pathLst>
                  </a:custGeom>
                  <a:solidFill>
                    <a:schemeClr val="accent1"/>
                  </a:solidFill>
                  <a:ln w="2851" cap="flat">
                    <a:noFill/>
                    <a:prstDash val="solid"/>
                    <a:miter/>
                  </a:ln>
                </p:spPr>
                <p:txBody>
                  <a:bodyPr rtlCol="0" anchor="ctr"/>
                  <a:lstStyle/>
                  <a:p>
                    <a:endParaRPr lang="en-GB" dirty="0"/>
                  </a:p>
                </p:txBody>
              </p:sp>
              <p:sp>
                <p:nvSpPr>
                  <p:cNvPr id="551" name="Freihandform: Form 405">
                    <a:extLst>
                      <a:ext uri="{FF2B5EF4-FFF2-40B4-BE49-F238E27FC236}">
                        <a16:creationId xmlns:a16="http://schemas.microsoft.com/office/drawing/2014/main" id="{41C29F94-79DD-4309-8C02-7893529B4E62}"/>
                      </a:ext>
                    </a:extLst>
                  </p:cNvPr>
                  <p:cNvSpPr/>
                  <p:nvPr/>
                </p:nvSpPr>
                <p:spPr>
                  <a:xfrm>
                    <a:off x="2661946" y="2682037"/>
                    <a:ext cx="68155" cy="73094"/>
                  </a:xfrm>
                  <a:custGeom>
                    <a:avLst/>
                    <a:gdLst>
                      <a:gd name="connsiteX0" fmla="*/ 4940 w 68155"/>
                      <a:gd name="connsiteY0" fmla="*/ 73095 h 73094"/>
                      <a:gd name="connsiteX1" fmla="*/ 0 w 68155"/>
                      <a:gd name="connsiteY1" fmla="*/ 68155 h 73094"/>
                      <a:gd name="connsiteX2" fmla="*/ 0 w 68155"/>
                      <a:gd name="connsiteY2" fmla="*/ 35520 h 73094"/>
                      <a:gd name="connsiteX3" fmla="*/ 32236 w 68155"/>
                      <a:gd name="connsiteY3" fmla="*/ 7195 h 73094"/>
                      <a:gd name="connsiteX4" fmla="*/ 54650 w 68155"/>
                      <a:gd name="connsiteY4" fmla="*/ 7195 h 73094"/>
                      <a:gd name="connsiteX5" fmla="*/ 58248 w 68155"/>
                      <a:gd name="connsiteY5" fmla="*/ 4882 h 73094"/>
                      <a:gd name="connsiteX6" fmla="*/ 63273 w 68155"/>
                      <a:gd name="connsiteY6" fmla="*/ 0 h 73094"/>
                      <a:gd name="connsiteX7" fmla="*/ 68155 w 68155"/>
                      <a:gd name="connsiteY7" fmla="*/ 5025 h 73094"/>
                      <a:gd name="connsiteX8" fmla="*/ 55192 w 68155"/>
                      <a:gd name="connsiteY8" fmla="*/ 17046 h 73094"/>
                      <a:gd name="connsiteX9" fmla="*/ 32236 w 68155"/>
                      <a:gd name="connsiteY9" fmla="*/ 17075 h 73094"/>
                      <a:gd name="connsiteX10" fmla="*/ 9908 w 68155"/>
                      <a:gd name="connsiteY10" fmla="*/ 35520 h 73094"/>
                      <a:gd name="connsiteX11" fmla="*/ 9908 w 68155"/>
                      <a:gd name="connsiteY11" fmla="*/ 68155 h 73094"/>
                      <a:gd name="connsiteX12" fmla="*/ 4940 w 68155"/>
                      <a:gd name="connsiteY12" fmla="*/ 73095 h 73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8155" h="73094">
                        <a:moveTo>
                          <a:pt x="4940" y="73095"/>
                        </a:moveTo>
                        <a:cubicBezTo>
                          <a:pt x="2199" y="73095"/>
                          <a:pt x="0" y="70868"/>
                          <a:pt x="0" y="68155"/>
                        </a:cubicBezTo>
                        <a:lnTo>
                          <a:pt x="0" y="35520"/>
                        </a:lnTo>
                        <a:cubicBezTo>
                          <a:pt x="0" y="13106"/>
                          <a:pt x="21100" y="7195"/>
                          <a:pt x="32236" y="7195"/>
                        </a:cubicBezTo>
                        <a:lnTo>
                          <a:pt x="54650" y="7195"/>
                        </a:lnTo>
                        <a:cubicBezTo>
                          <a:pt x="54479" y="7167"/>
                          <a:pt x="58219" y="6510"/>
                          <a:pt x="58248" y="4882"/>
                        </a:cubicBezTo>
                        <a:cubicBezTo>
                          <a:pt x="58305" y="2141"/>
                          <a:pt x="60760" y="0"/>
                          <a:pt x="63273" y="0"/>
                        </a:cubicBezTo>
                        <a:cubicBezTo>
                          <a:pt x="66014" y="29"/>
                          <a:pt x="68184" y="2284"/>
                          <a:pt x="68155" y="5025"/>
                        </a:cubicBezTo>
                        <a:cubicBezTo>
                          <a:pt x="68041" y="12392"/>
                          <a:pt x="61360" y="16418"/>
                          <a:pt x="55192" y="17046"/>
                        </a:cubicBezTo>
                        <a:lnTo>
                          <a:pt x="32236" y="17075"/>
                        </a:lnTo>
                        <a:cubicBezTo>
                          <a:pt x="29952" y="17075"/>
                          <a:pt x="9908" y="17731"/>
                          <a:pt x="9908" y="35520"/>
                        </a:cubicBezTo>
                        <a:lnTo>
                          <a:pt x="9908" y="68155"/>
                        </a:lnTo>
                        <a:cubicBezTo>
                          <a:pt x="9879" y="70868"/>
                          <a:pt x="7681" y="73095"/>
                          <a:pt x="4940" y="73095"/>
                        </a:cubicBezTo>
                        <a:close/>
                      </a:path>
                    </a:pathLst>
                  </a:custGeom>
                  <a:solidFill>
                    <a:schemeClr val="accent1"/>
                  </a:solidFill>
                  <a:ln w="2851" cap="flat">
                    <a:noFill/>
                    <a:prstDash val="solid"/>
                    <a:miter/>
                  </a:ln>
                </p:spPr>
                <p:txBody>
                  <a:bodyPr rtlCol="0" anchor="ctr"/>
                  <a:lstStyle/>
                  <a:p>
                    <a:endParaRPr lang="en-GB" dirty="0"/>
                  </a:p>
                </p:txBody>
              </p:sp>
              <p:sp>
                <p:nvSpPr>
                  <p:cNvPr id="552" name="Freihandform: Form 406">
                    <a:extLst>
                      <a:ext uri="{FF2B5EF4-FFF2-40B4-BE49-F238E27FC236}">
                        <a16:creationId xmlns:a16="http://schemas.microsoft.com/office/drawing/2014/main" id="{215452DC-0EC8-4720-B260-0D6DB086D1B6}"/>
                      </a:ext>
                    </a:extLst>
                  </p:cNvPr>
                  <p:cNvSpPr/>
                  <p:nvPr/>
                </p:nvSpPr>
                <p:spPr>
                  <a:xfrm>
                    <a:off x="2784694" y="2740627"/>
                    <a:ext cx="9879" cy="35405"/>
                  </a:xfrm>
                  <a:custGeom>
                    <a:avLst/>
                    <a:gdLst>
                      <a:gd name="connsiteX0" fmla="*/ 4940 w 9879"/>
                      <a:gd name="connsiteY0" fmla="*/ 35405 h 35405"/>
                      <a:gd name="connsiteX1" fmla="*/ 0 w 9879"/>
                      <a:gd name="connsiteY1" fmla="*/ 30466 h 35405"/>
                      <a:gd name="connsiteX2" fmla="*/ 0 w 9879"/>
                      <a:gd name="connsiteY2" fmla="*/ 4940 h 35405"/>
                      <a:gd name="connsiteX3" fmla="*/ 4940 w 9879"/>
                      <a:gd name="connsiteY3" fmla="*/ 0 h 35405"/>
                      <a:gd name="connsiteX4" fmla="*/ 9879 w 9879"/>
                      <a:gd name="connsiteY4" fmla="*/ 4940 h 35405"/>
                      <a:gd name="connsiteX5" fmla="*/ 9879 w 9879"/>
                      <a:gd name="connsiteY5" fmla="*/ 30466 h 35405"/>
                      <a:gd name="connsiteX6" fmla="*/ 4940 w 9879"/>
                      <a:gd name="connsiteY6" fmla="*/ 35405 h 3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35405">
                        <a:moveTo>
                          <a:pt x="4940" y="35405"/>
                        </a:moveTo>
                        <a:cubicBezTo>
                          <a:pt x="2199" y="35405"/>
                          <a:pt x="0" y="33178"/>
                          <a:pt x="0" y="30466"/>
                        </a:cubicBezTo>
                        <a:lnTo>
                          <a:pt x="0" y="4940"/>
                        </a:lnTo>
                        <a:cubicBezTo>
                          <a:pt x="0" y="2199"/>
                          <a:pt x="2227" y="0"/>
                          <a:pt x="4940" y="0"/>
                        </a:cubicBezTo>
                        <a:cubicBezTo>
                          <a:pt x="7681" y="0"/>
                          <a:pt x="9879" y="2227"/>
                          <a:pt x="9879" y="4940"/>
                        </a:cubicBezTo>
                        <a:lnTo>
                          <a:pt x="9879" y="30466"/>
                        </a:lnTo>
                        <a:cubicBezTo>
                          <a:pt x="9879" y="33178"/>
                          <a:pt x="7681" y="35405"/>
                          <a:pt x="4940" y="35405"/>
                        </a:cubicBezTo>
                        <a:close/>
                      </a:path>
                    </a:pathLst>
                  </a:custGeom>
                  <a:solidFill>
                    <a:schemeClr val="accent1"/>
                  </a:solidFill>
                  <a:ln w="2851" cap="flat">
                    <a:noFill/>
                    <a:prstDash val="solid"/>
                    <a:miter/>
                  </a:ln>
                </p:spPr>
                <p:txBody>
                  <a:bodyPr rtlCol="0" anchor="ctr"/>
                  <a:lstStyle/>
                  <a:p>
                    <a:endParaRPr lang="en-GB" dirty="0"/>
                  </a:p>
                </p:txBody>
              </p:sp>
              <p:sp>
                <p:nvSpPr>
                  <p:cNvPr id="553" name="Freihandform: Form 407">
                    <a:extLst>
                      <a:ext uri="{FF2B5EF4-FFF2-40B4-BE49-F238E27FC236}">
                        <a16:creationId xmlns:a16="http://schemas.microsoft.com/office/drawing/2014/main" id="{758533C0-E10F-41F8-8EF7-BBAA1D702BB4}"/>
                      </a:ext>
                    </a:extLst>
                  </p:cNvPr>
                  <p:cNvSpPr/>
                  <p:nvPr/>
                </p:nvSpPr>
                <p:spPr>
                  <a:xfrm>
                    <a:off x="2757512" y="2682008"/>
                    <a:ext cx="66270" cy="72152"/>
                  </a:xfrm>
                  <a:custGeom>
                    <a:avLst/>
                    <a:gdLst>
                      <a:gd name="connsiteX0" fmla="*/ 61331 w 66270"/>
                      <a:gd name="connsiteY0" fmla="*/ 72153 h 72152"/>
                      <a:gd name="connsiteX1" fmla="*/ 56392 w 66270"/>
                      <a:gd name="connsiteY1" fmla="*/ 67213 h 72152"/>
                      <a:gd name="connsiteX2" fmla="*/ 56392 w 66270"/>
                      <a:gd name="connsiteY2" fmla="*/ 35520 h 72152"/>
                      <a:gd name="connsiteX3" fmla="*/ 34063 w 66270"/>
                      <a:gd name="connsiteY3" fmla="*/ 17075 h 72152"/>
                      <a:gd name="connsiteX4" fmla="*/ 11621 w 66270"/>
                      <a:gd name="connsiteY4" fmla="*/ 17075 h 72152"/>
                      <a:gd name="connsiteX5" fmla="*/ 3512 w 66270"/>
                      <a:gd name="connsiteY5" fmla="*/ 13905 h 72152"/>
                      <a:gd name="connsiteX6" fmla="*/ 0 w 66270"/>
                      <a:gd name="connsiteY6" fmla="*/ 4968 h 72152"/>
                      <a:gd name="connsiteX7" fmla="*/ 4911 w 66270"/>
                      <a:gd name="connsiteY7" fmla="*/ 0 h 72152"/>
                      <a:gd name="connsiteX8" fmla="*/ 4940 w 66270"/>
                      <a:gd name="connsiteY8" fmla="*/ 0 h 72152"/>
                      <a:gd name="connsiteX9" fmla="*/ 9879 w 66270"/>
                      <a:gd name="connsiteY9" fmla="*/ 4911 h 72152"/>
                      <a:gd name="connsiteX10" fmla="*/ 10336 w 66270"/>
                      <a:gd name="connsiteY10" fmla="*/ 6767 h 72152"/>
                      <a:gd name="connsiteX11" fmla="*/ 11421 w 66270"/>
                      <a:gd name="connsiteY11" fmla="*/ 7167 h 72152"/>
                      <a:gd name="connsiteX12" fmla="*/ 11421 w 66270"/>
                      <a:gd name="connsiteY12" fmla="*/ 7167 h 72152"/>
                      <a:gd name="connsiteX13" fmla="*/ 34063 w 66270"/>
                      <a:gd name="connsiteY13" fmla="*/ 7167 h 72152"/>
                      <a:gd name="connsiteX14" fmla="*/ 66271 w 66270"/>
                      <a:gd name="connsiteY14" fmla="*/ 35491 h 72152"/>
                      <a:gd name="connsiteX15" fmla="*/ 66271 w 66270"/>
                      <a:gd name="connsiteY15" fmla="*/ 67185 h 72152"/>
                      <a:gd name="connsiteX16" fmla="*/ 61331 w 66270"/>
                      <a:gd name="connsiteY16" fmla="*/ 72153 h 7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270" h="72152">
                        <a:moveTo>
                          <a:pt x="61331" y="72153"/>
                        </a:moveTo>
                        <a:cubicBezTo>
                          <a:pt x="58590" y="72153"/>
                          <a:pt x="56392" y="69926"/>
                          <a:pt x="56392" y="67213"/>
                        </a:cubicBezTo>
                        <a:lnTo>
                          <a:pt x="56392" y="35520"/>
                        </a:lnTo>
                        <a:cubicBezTo>
                          <a:pt x="56392" y="17731"/>
                          <a:pt x="36348" y="17103"/>
                          <a:pt x="34063" y="17075"/>
                        </a:cubicBezTo>
                        <a:lnTo>
                          <a:pt x="11621" y="17075"/>
                        </a:lnTo>
                        <a:cubicBezTo>
                          <a:pt x="11021" y="17132"/>
                          <a:pt x="6824" y="17103"/>
                          <a:pt x="3512" y="13905"/>
                        </a:cubicBezTo>
                        <a:cubicBezTo>
                          <a:pt x="1942" y="12392"/>
                          <a:pt x="29" y="9594"/>
                          <a:pt x="0" y="4968"/>
                        </a:cubicBezTo>
                        <a:cubicBezTo>
                          <a:pt x="0" y="2227"/>
                          <a:pt x="2198" y="0"/>
                          <a:pt x="4911" y="0"/>
                        </a:cubicBezTo>
                        <a:cubicBezTo>
                          <a:pt x="4911" y="0"/>
                          <a:pt x="4940" y="0"/>
                          <a:pt x="4940" y="0"/>
                        </a:cubicBezTo>
                        <a:cubicBezTo>
                          <a:pt x="7652" y="0"/>
                          <a:pt x="9879" y="2199"/>
                          <a:pt x="9879" y="4911"/>
                        </a:cubicBezTo>
                        <a:cubicBezTo>
                          <a:pt x="9879" y="5796"/>
                          <a:pt x="10050" y="6482"/>
                          <a:pt x="10336" y="6767"/>
                        </a:cubicBezTo>
                        <a:cubicBezTo>
                          <a:pt x="10679" y="7081"/>
                          <a:pt x="11393" y="7167"/>
                          <a:pt x="11421" y="7167"/>
                        </a:cubicBezTo>
                        <a:lnTo>
                          <a:pt x="11421" y="7167"/>
                        </a:lnTo>
                        <a:lnTo>
                          <a:pt x="34063" y="7167"/>
                        </a:lnTo>
                        <a:cubicBezTo>
                          <a:pt x="45199" y="7167"/>
                          <a:pt x="66271" y="13077"/>
                          <a:pt x="66271" y="35491"/>
                        </a:cubicBezTo>
                        <a:lnTo>
                          <a:pt x="66271" y="67185"/>
                        </a:lnTo>
                        <a:cubicBezTo>
                          <a:pt x="66299" y="69954"/>
                          <a:pt x="64072" y="72153"/>
                          <a:pt x="61331" y="72153"/>
                        </a:cubicBezTo>
                        <a:close/>
                      </a:path>
                    </a:pathLst>
                  </a:custGeom>
                  <a:solidFill>
                    <a:schemeClr val="accent1"/>
                  </a:solidFill>
                  <a:ln w="2851" cap="flat">
                    <a:noFill/>
                    <a:prstDash val="solid"/>
                    <a:miter/>
                  </a:ln>
                </p:spPr>
                <p:txBody>
                  <a:bodyPr rtlCol="0" anchor="ctr"/>
                  <a:lstStyle/>
                  <a:p>
                    <a:endParaRPr lang="en-GB" dirty="0"/>
                  </a:p>
                </p:txBody>
              </p:sp>
            </p:grpSp>
            <p:sp>
              <p:nvSpPr>
                <p:cNvPr id="549" name="Freihandform: Form 408">
                  <a:extLst>
                    <a:ext uri="{FF2B5EF4-FFF2-40B4-BE49-F238E27FC236}">
                      <a16:creationId xmlns:a16="http://schemas.microsoft.com/office/drawing/2014/main" id="{354A9F70-C7AB-463E-9236-C747C70A0AE5}"/>
                    </a:ext>
                  </a:extLst>
                </p:cNvPr>
                <p:cNvSpPr/>
                <p:nvPr/>
              </p:nvSpPr>
              <p:spPr>
                <a:xfrm>
                  <a:off x="2699664" y="2580960"/>
                  <a:ext cx="86429" cy="96679"/>
                </a:xfrm>
                <a:custGeom>
                  <a:avLst/>
                  <a:gdLst>
                    <a:gd name="connsiteX0" fmla="*/ 43200 w 86429"/>
                    <a:gd name="connsiteY0" fmla="*/ 96679 h 96679"/>
                    <a:gd name="connsiteX1" fmla="*/ 0 w 86429"/>
                    <a:gd name="connsiteY1" fmla="*/ 48340 h 96679"/>
                    <a:gd name="connsiteX2" fmla="*/ 43200 w 86429"/>
                    <a:gd name="connsiteY2" fmla="*/ 0 h 96679"/>
                    <a:gd name="connsiteX3" fmla="*/ 86429 w 86429"/>
                    <a:gd name="connsiteY3" fmla="*/ 48340 h 96679"/>
                    <a:gd name="connsiteX4" fmla="*/ 43200 w 86429"/>
                    <a:gd name="connsiteY4" fmla="*/ 96679 h 96679"/>
                    <a:gd name="connsiteX5" fmla="*/ 43200 w 86429"/>
                    <a:gd name="connsiteY5" fmla="*/ 9908 h 96679"/>
                    <a:gd name="connsiteX6" fmla="*/ 9879 w 86429"/>
                    <a:gd name="connsiteY6" fmla="*/ 48340 h 96679"/>
                    <a:gd name="connsiteX7" fmla="*/ 43200 w 86429"/>
                    <a:gd name="connsiteY7" fmla="*/ 86772 h 96679"/>
                    <a:gd name="connsiteX8" fmla="*/ 76521 w 86429"/>
                    <a:gd name="connsiteY8" fmla="*/ 48340 h 96679"/>
                    <a:gd name="connsiteX9" fmla="*/ 43200 w 86429"/>
                    <a:gd name="connsiteY9" fmla="*/ 9908 h 96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429" h="96679">
                      <a:moveTo>
                        <a:pt x="43200" y="96679"/>
                      </a:moveTo>
                      <a:cubicBezTo>
                        <a:pt x="19387" y="96679"/>
                        <a:pt x="0" y="75008"/>
                        <a:pt x="0" y="48340"/>
                      </a:cubicBezTo>
                      <a:cubicBezTo>
                        <a:pt x="0" y="21700"/>
                        <a:pt x="19387" y="0"/>
                        <a:pt x="43200" y="0"/>
                      </a:cubicBezTo>
                      <a:cubicBezTo>
                        <a:pt x="67042" y="0"/>
                        <a:pt x="86429" y="21671"/>
                        <a:pt x="86429" y="48340"/>
                      </a:cubicBezTo>
                      <a:cubicBezTo>
                        <a:pt x="86429" y="74979"/>
                        <a:pt x="67042" y="96679"/>
                        <a:pt x="43200" y="96679"/>
                      </a:cubicBezTo>
                      <a:close/>
                      <a:moveTo>
                        <a:pt x="43200" y="9908"/>
                      </a:moveTo>
                      <a:cubicBezTo>
                        <a:pt x="24841" y="9908"/>
                        <a:pt x="9879" y="27154"/>
                        <a:pt x="9879" y="48340"/>
                      </a:cubicBezTo>
                      <a:cubicBezTo>
                        <a:pt x="9879" y="69526"/>
                        <a:pt x="24841" y="86772"/>
                        <a:pt x="43200" y="86772"/>
                      </a:cubicBezTo>
                      <a:cubicBezTo>
                        <a:pt x="61588" y="86772"/>
                        <a:pt x="76521" y="69526"/>
                        <a:pt x="76521" y="48340"/>
                      </a:cubicBezTo>
                      <a:cubicBezTo>
                        <a:pt x="76521" y="27154"/>
                        <a:pt x="61588" y="9908"/>
                        <a:pt x="43200" y="9908"/>
                      </a:cubicBezTo>
                      <a:close/>
                    </a:path>
                  </a:pathLst>
                </a:custGeom>
                <a:solidFill>
                  <a:schemeClr val="accent1"/>
                </a:solidFill>
                <a:ln w="2851" cap="flat">
                  <a:noFill/>
                  <a:prstDash val="solid"/>
                  <a:miter/>
                </a:ln>
              </p:spPr>
              <p:txBody>
                <a:bodyPr rtlCol="0" anchor="ctr"/>
                <a:lstStyle/>
                <a:p>
                  <a:endParaRPr lang="en-GB" dirty="0"/>
                </a:p>
              </p:txBody>
            </p:sp>
          </p:grpSp>
          <p:sp>
            <p:nvSpPr>
              <p:cNvPr id="547" name="Freihandform: Form 409">
                <a:extLst>
                  <a:ext uri="{FF2B5EF4-FFF2-40B4-BE49-F238E27FC236}">
                    <a16:creationId xmlns:a16="http://schemas.microsoft.com/office/drawing/2014/main" id="{57A2D83A-D2AE-4243-932B-CCC2A045D8B4}"/>
                  </a:ext>
                </a:extLst>
              </p:cNvPr>
              <p:cNvSpPr/>
              <p:nvPr/>
            </p:nvSpPr>
            <p:spPr>
              <a:xfrm>
                <a:off x="2619174" y="2539416"/>
                <a:ext cx="247380" cy="247380"/>
              </a:xfrm>
              <a:custGeom>
                <a:avLst/>
                <a:gdLst>
                  <a:gd name="connsiteX0" fmla="*/ 123690 w 247380"/>
                  <a:gd name="connsiteY0" fmla="*/ 247381 h 247380"/>
                  <a:gd name="connsiteX1" fmla="*/ 0 w 247380"/>
                  <a:gd name="connsiteY1" fmla="*/ 123690 h 247380"/>
                  <a:gd name="connsiteX2" fmla="*/ 123690 w 247380"/>
                  <a:gd name="connsiteY2" fmla="*/ 0 h 247380"/>
                  <a:gd name="connsiteX3" fmla="*/ 247381 w 247380"/>
                  <a:gd name="connsiteY3" fmla="*/ 123690 h 247380"/>
                  <a:gd name="connsiteX4" fmla="*/ 123690 w 247380"/>
                  <a:gd name="connsiteY4" fmla="*/ 247381 h 247380"/>
                  <a:gd name="connsiteX5" fmla="*/ 123690 w 247380"/>
                  <a:gd name="connsiteY5" fmla="*/ 9879 h 247380"/>
                  <a:gd name="connsiteX6" fmla="*/ 9879 w 247380"/>
                  <a:gd name="connsiteY6" fmla="*/ 123690 h 247380"/>
                  <a:gd name="connsiteX7" fmla="*/ 123690 w 247380"/>
                  <a:gd name="connsiteY7" fmla="*/ 237501 h 247380"/>
                  <a:gd name="connsiteX8" fmla="*/ 237501 w 247380"/>
                  <a:gd name="connsiteY8" fmla="*/ 123690 h 247380"/>
                  <a:gd name="connsiteX9" fmla="*/ 123690 w 247380"/>
                  <a:gd name="connsiteY9" fmla="*/ 9879 h 24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7380" h="247380">
                    <a:moveTo>
                      <a:pt x="123690" y="247381"/>
                    </a:moveTo>
                    <a:cubicBezTo>
                      <a:pt x="55478" y="247381"/>
                      <a:pt x="0" y="191903"/>
                      <a:pt x="0" y="123690"/>
                    </a:cubicBezTo>
                    <a:cubicBezTo>
                      <a:pt x="0" y="55478"/>
                      <a:pt x="55478" y="0"/>
                      <a:pt x="123690" y="0"/>
                    </a:cubicBezTo>
                    <a:cubicBezTo>
                      <a:pt x="191903" y="0"/>
                      <a:pt x="247381" y="55478"/>
                      <a:pt x="247381" y="123690"/>
                    </a:cubicBezTo>
                    <a:cubicBezTo>
                      <a:pt x="247409" y="191903"/>
                      <a:pt x="191903" y="247381"/>
                      <a:pt x="123690" y="247381"/>
                    </a:cubicBezTo>
                    <a:close/>
                    <a:moveTo>
                      <a:pt x="123690" y="9879"/>
                    </a:moveTo>
                    <a:cubicBezTo>
                      <a:pt x="60932" y="9879"/>
                      <a:pt x="9879" y="60931"/>
                      <a:pt x="9879" y="123690"/>
                    </a:cubicBezTo>
                    <a:cubicBezTo>
                      <a:pt x="9879" y="186449"/>
                      <a:pt x="60932" y="237501"/>
                      <a:pt x="123690" y="237501"/>
                    </a:cubicBezTo>
                    <a:cubicBezTo>
                      <a:pt x="186449" y="237501"/>
                      <a:pt x="237501" y="186449"/>
                      <a:pt x="237501" y="123690"/>
                    </a:cubicBezTo>
                    <a:cubicBezTo>
                      <a:pt x="237501" y="60931"/>
                      <a:pt x="186449" y="9879"/>
                      <a:pt x="123690" y="9879"/>
                    </a:cubicBezTo>
                    <a:close/>
                  </a:path>
                </a:pathLst>
              </a:custGeom>
              <a:solidFill>
                <a:schemeClr val="accent1"/>
              </a:solidFill>
              <a:ln w="2851" cap="flat">
                <a:noFill/>
                <a:prstDash val="solid"/>
                <a:miter/>
              </a:ln>
            </p:spPr>
            <p:txBody>
              <a:bodyPr rtlCol="0" anchor="ctr"/>
              <a:lstStyle/>
              <a:p>
                <a:endParaRPr lang="en-GB" dirty="0"/>
              </a:p>
            </p:txBody>
          </p:sp>
        </p:grpSp>
        <p:grpSp>
          <p:nvGrpSpPr>
            <p:cNvPr id="509" name="Group 508">
              <a:extLst>
                <a:ext uri="{FF2B5EF4-FFF2-40B4-BE49-F238E27FC236}">
                  <a16:creationId xmlns:a16="http://schemas.microsoft.com/office/drawing/2014/main" id="{5D409086-7CEA-42D6-B219-D35A0D5FDC97}"/>
                </a:ext>
              </a:extLst>
            </p:cNvPr>
            <p:cNvGrpSpPr/>
            <p:nvPr/>
          </p:nvGrpSpPr>
          <p:grpSpPr>
            <a:xfrm>
              <a:off x="6001198" y="3212058"/>
              <a:ext cx="509583" cy="432000"/>
              <a:chOff x="2416992" y="2389857"/>
              <a:chExt cx="649830" cy="550895"/>
            </a:xfrm>
            <a:solidFill>
              <a:schemeClr val="tx2"/>
            </a:solidFill>
          </p:grpSpPr>
          <p:grpSp>
            <p:nvGrpSpPr>
              <p:cNvPr id="510" name="Grafik 34">
                <a:extLst>
                  <a:ext uri="{FF2B5EF4-FFF2-40B4-BE49-F238E27FC236}">
                    <a16:creationId xmlns:a16="http://schemas.microsoft.com/office/drawing/2014/main" id="{89D52EF6-3C06-49C9-9CEA-B32120F6D81C}"/>
                  </a:ext>
                </a:extLst>
              </p:cNvPr>
              <p:cNvGrpSpPr/>
              <p:nvPr/>
            </p:nvGrpSpPr>
            <p:grpSpPr>
              <a:xfrm>
                <a:off x="2447886" y="2419895"/>
                <a:ext cx="119607" cy="143591"/>
                <a:chOff x="2447886" y="2419895"/>
                <a:chExt cx="119607" cy="143591"/>
              </a:xfrm>
              <a:grpFill/>
            </p:grpSpPr>
            <p:grpSp>
              <p:nvGrpSpPr>
                <p:cNvPr id="540" name="Grafik 34">
                  <a:extLst>
                    <a:ext uri="{FF2B5EF4-FFF2-40B4-BE49-F238E27FC236}">
                      <a16:creationId xmlns:a16="http://schemas.microsoft.com/office/drawing/2014/main" id="{7969BDCA-2339-44B4-94B6-14400A0F3FC5}"/>
                    </a:ext>
                  </a:extLst>
                </p:cNvPr>
                <p:cNvGrpSpPr/>
                <p:nvPr/>
              </p:nvGrpSpPr>
              <p:grpSpPr>
                <a:xfrm>
                  <a:off x="2447886" y="2492733"/>
                  <a:ext cx="119607" cy="70753"/>
                  <a:chOff x="2447886" y="2492733"/>
                  <a:chExt cx="119607" cy="70753"/>
                </a:xfrm>
                <a:grpFill/>
              </p:grpSpPr>
              <p:sp>
                <p:nvSpPr>
                  <p:cNvPr id="542" name="Freihandform: Form 413">
                    <a:extLst>
                      <a:ext uri="{FF2B5EF4-FFF2-40B4-BE49-F238E27FC236}">
                        <a16:creationId xmlns:a16="http://schemas.microsoft.com/office/drawing/2014/main" id="{41916B6F-D286-46CA-BB5E-9E864F163FED}"/>
                      </a:ext>
                    </a:extLst>
                  </p:cNvPr>
                  <p:cNvSpPr/>
                  <p:nvPr/>
                </p:nvSpPr>
                <p:spPr>
                  <a:xfrm>
                    <a:off x="2469015" y="2534819"/>
                    <a:ext cx="9879" cy="25925"/>
                  </a:xfrm>
                  <a:custGeom>
                    <a:avLst/>
                    <a:gdLst>
                      <a:gd name="connsiteX0" fmla="*/ 4940 w 9879"/>
                      <a:gd name="connsiteY0" fmla="*/ 25926 h 25925"/>
                      <a:gd name="connsiteX1" fmla="*/ 0 w 9879"/>
                      <a:gd name="connsiteY1" fmla="*/ 20986 h 25925"/>
                      <a:gd name="connsiteX2" fmla="*/ 0 w 9879"/>
                      <a:gd name="connsiteY2" fmla="*/ 4940 h 25925"/>
                      <a:gd name="connsiteX3" fmla="*/ 4940 w 9879"/>
                      <a:gd name="connsiteY3" fmla="*/ 0 h 25925"/>
                      <a:gd name="connsiteX4" fmla="*/ 9879 w 9879"/>
                      <a:gd name="connsiteY4" fmla="*/ 4940 h 25925"/>
                      <a:gd name="connsiteX5" fmla="*/ 9879 w 9879"/>
                      <a:gd name="connsiteY5" fmla="*/ 20986 h 25925"/>
                      <a:gd name="connsiteX6" fmla="*/ 4940 w 9879"/>
                      <a:gd name="connsiteY6" fmla="*/ 25926 h 2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5925">
                        <a:moveTo>
                          <a:pt x="4940" y="25926"/>
                        </a:moveTo>
                        <a:cubicBezTo>
                          <a:pt x="2199" y="25926"/>
                          <a:pt x="0" y="23699"/>
                          <a:pt x="0" y="20986"/>
                        </a:cubicBezTo>
                        <a:lnTo>
                          <a:pt x="0" y="4940"/>
                        </a:lnTo>
                        <a:cubicBezTo>
                          <a:pt x="0" y="2199"/>
                          <a:pt x="2227" y="0"/>
                          <a:pt x="4940" y="0"/>
                        </a:cubicBezTo>
                        <a:cubicBezTo>
                          <a:pt x="7681" y="0"/>
                          <a:pt x="9879" y="2227"/>
                          <a:pt x="9879" y="4940"/>
                        </a:cubicBezTo>
                        <a:lnTo>
                          <a:pt x="9879" y="20986"/>
                        </a:lnTo>
                        <a:cubicBezTo>
                          <a:pt x="9879" y="23727"/>
                          <a:pt x="7652" y="25926"/>
                          <a:pt x="4940" y="25926"/>
                        </a:cubicBezTo>
                        <a:close/>
                      </a:path>
                    </a:pathLst>
                  </a:custGeom>
                  <a:grpFill/>
                  <a:ln w="2851" cap="flat">
                    <a:noFill/>
                    <a:prstDash val="solid"/>
                    <a:miter/>
                  </a:ln>
                </p:spPr>
                <p:txBody>
                  <a:bodyPr rtlCol="0" anchor="ctr"/>
                  <a:lstStyle/>
                  <a:p>
                    <a:endParaRPr lang="en-GB" dirty="0"/>
                  </a:p>
                </p:txBody>
              </p:sp>
              <p:sp>
                <p:nvSpPr>
                  <p:cNvPr id="543" name="Freihandform: Form 414">
                    <a:extLst>
                      <a:ext uri="{FF2B5EF4-FFF2-40B4-BE49-F238E27FC236}">
                        <a16:creationId xmlns:a16="http://schemas.microsoft.com/office/drawing/2014/main" id="{27EC2A84-398E-4DBF-A054-F260039DDB42}"/>
                      </a:ext>
                    </a:extLst>
                  </p:cNvPr>
                  <p:cNvSpPr/>
                  <p:nvPr/>
                </p:nvSpPr>
                <p:spPr>
                  <a:xfrm>
                    <a:off x="2447886" y="2492733"/>
                    <a:ext cx="51966" cy="55677"/>
                  </a:xfrm>
                  <a:custGeom>
                    <a:avLst/>
                    <a:gdLst>
                      <a:gd name="connsiteX0" fmla="*/ 4940 w 51966"/>
                      <a:gd name="connsiteY0" fmla="*/ 55678 h 55677"/>
                      <a:gd name="connsiteX1" fmla="*/ 0 w 51966"/>
                      <a:gd name="connsiteY1" fmla="*/ 50738 h 55677"/>
                      <a:gd name="connsiteX2" fmla="*/ 0 w 51966"/>
                      <a:gd name="connsiteY2" fmla="*/ 27182 h 55677"/>
                      <a:gd name="connsiteX3" fmla="*/ 24641 w 51966"/>
                      <a:gd name="connsiteY3" fmla="*/ 5339 h 55677"/>
                      <a:gd name="connsiteX4" fmla="*/ 40859 w 51966"/>
                      <a:gd name="connsiteY4" fmla="*/ 5339 h 55677"/>
                      <a:gd name="connsiteX5" fmla="*/ 42201 w 51966"/>
                      <a:gd name="connsiteY5" fmla="*/ 4683 h 55677"/>
                      <a:gd name="connsiteX6" fmla="*/ 47169 w 51966"/>
                      <a:gd name="connsiteY6" fmla="*/ 0 h 55677"/>
                      <a:gd name="connsiteX7" fmla="*/ 51966 w 51966"/>
                      <a:gd name="connsiteY7" fmla="*/ 5197 h 55677"/>
                      <a:gd name="connsiteX8" fmla="*/ 41373 w 51966"/>
                      <a:gd name="connsiteY8" fmla="*/ 15219 h 55677"/>
                      <a:gd name="connsiteX9" fmla="*/ 24670 w 51966"/>
                      <a:gd name="connsiteY9" fmla="*/ 15247 h 55677"/>
                      <a:gd name="connsiteX10" fmla="*/ 9908 w 51966"/>
                      <a:gd name="connsiteY10" fmla="*/ 27182 h 55677"/>
                      <a:gd name="connsiteX11" fmla="*/ 9908 w 51966"/>
                      <a:gd name="connsiteY11" fmla="*/ 50738 h 55677"/>
                      <a:gd name="connsiteX12" fmla="*/ 4940 w 51966"/>
                      <a:gd name="connsiteY12" fmla="*/ 55678 h 5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66" h="55677">
                        <a:moveTo>
                          <a:pt x="4940" y="55678"/>
                        </a:moveTo>
                        <a:cubicBezTo>
                          <a:pt x="2199" y="55678"/>
                          <a:pt x="0" y="53451"/>
                          <a:pt x="0" y="50738"/>
                        </a:cubicBezTo>
                        <a:lnTo>
                          <a:pt x="0" y="27182"/>
                        </a:lnTo>
                        <a:cubicBezTo>
                          <a:pt x="0" y="9908"/>
                          <a:pt x="16132" y="5339"/>
                          <a:pt x="24641" y="5339"/>
                        </a:cubicBezTo>
                        <a:lnTo>
                          <a:pt x="40859" y="5339"/>
                        </a:lnTo>
                        <a:cubicBezTo>
                          <a:pt x="41002" y="5282"/>
                          <a:pt x="41973" y="4940"/>
                          <a:pt x="42201" y="4683"/>
                        </a:cubicBezTo>
                        <a:cubicBezTo>
                          <a:pt x="42258" y="1942"/>
                          <a:pt x="44457" y="57"/>
                          <a:pt x="47169" y="0"/>
                        </a:cubicBezTo>
                        <a:cubicBezTo>
                          <a:pt x="49910" y="57"/>
                          <a:pt x="51994" y="2484"/>
                          <a:pt x="51966" y="5197"/>
                        </a:cubicBezTo>
                        <a:cubicBezTo>
                          <a:pt x="51852" y="11364"/>
                          <a:pt x="46398" y="14705"/>
                          <a:pt x="41373" y="15219"/>
                        </a:cubicBezTo>
                        <a:lnTo>
                          <a:pt x="24670" y="15247"/>
                        </a:lnTo>
                        <a:cubicBezTo>
                          <a:pt x="23185" y="15247"/>
                          <a:pt x="9908" y="15704"/>
                          <a:pt x="9908" y="27182"/>
                        </a:cubicBezTo>
                        <a:lnTo>
                          <a:pt x="9908" y="50738"/>
                        </a:lnTo>
                        <a:cubicBezTo>
                          <a:pt x="9879" y="53451"/>
                          <a:pt x="7681" y="55678"/>
                          <a:pt x="4940" y="55678"/>
                        </a:cubicBezTo>
                        <a:close/>
                      </a:path>
                    </a:pathLst>
                  </a:custGeom>
                  <a:grpFill/>
                  <a:ln w="2851" cap="flat">
                    <a:noFill/>
                    <a:prstDash val="solid"/>
                    <a:miter/>
                  </a:ln>
                </p:spPr>
                <p:txBody>
                  <a:bodyPr rtlCol="0" anchor="ctr"/>
                  <a:lstStyle/>
                  <a:p>
                    <a:endParaRPr lang="en-GB" dirty="0"/>
                  </a:p>
                </p:txBody>
              </p:sp>
              <p:sp>
                <p:nvSpPr>
                  <p:cNvPr id="544" name="Freihandform: Form 415">
                    <a:extLst>
                      <a:ext uri="{FF2B5EF4-FFF2-40B4-BE49-F238E27FC236}">
                        <a16:creationId xmlns:a16="http://schemas.microsoft.com/office/drawing/2014/main" id="{AFCF0631-0350-45EE-ABFD-0F9A0BE65F67}"/>
                      </a:ext>
                    </a:extLst>
                  </p:cNvPr>
                  <p:cNvSpPr/>
                  <p:nvPr/>
                </p:nvSpPr>
                <p:spPr>
                  <a:xfrm>
                    <a:off x="2536542" y="2535190"/>
                    <a:ext cx="9879" cy="28295"/>
                  </a:xfrm>
                  <a:custGeom>
                    <a:avLst/>
                    <a:gdLst>
                      <a:gd name="connsiteX0" fmla="*/ 4940 w 9879"/>
                      <a:gd name="connsiteY0" fmla="*/ 28296 h 28295"/>
                      <a:gd name="connsiteX1" fmla="*/ 0 w 9879"/>
                      <a:gd name="connsiteY1" fmla="*/ 23356 h 28295"/>
                      <a:gd name="connsiteX2" fmla="*/ 0 w 9879"/>
                      <a:gd name="connsiteY2" fmla="*/ 4940 h 28295"/>
                      <a:gd name="connsiteX3" fmla="*/ 4940 w 9879"/>
                      <a:gd name="connsiteY3" fmla="*/ 0 h 28295"/>
                      <a:gd name="connsiteX4" fmla="*/ 9879 w 9879"/>
                      <a:gd name="connsiteY4" fmla="*/ 4940 h 28295"/>
                      <a:gd name="connsiteX5" fmla="*/ 9879 w 9879"/>
                      <a:gd name="connsiteY5" fmla="*/ 23356 h 28295"/>
                      <a:gd name="connsiteX6" fmla="*/ 4940 w 9879"/>
                      <a:gd name="connsiteY6" fmla="*/ 28296 h 2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8295">
                        <a:moveTo>
                          <a:pt x="4940" y="28296"/>
                        </a:moveTo>
                        <a:cubicBezTo>
                          <a:pt x="2199" y="28296"/>
                          <a:pt x="0" y="26069"/>
                          <a:pt x="0" y="23356"/>
                        </a:cubicBezTo>
                        <a:lnTo>
                          <a:pt x="0" y="4940"/>
                        </a:lnTo>
                        <a:cubicBezTo>
                          <a:pt x="0" y="2199"/>
                          <a:pt x="2227" y="0"/>
                          <a:pt x="4940" y="0"/>
                        </a:cubicBezTo>
                        <a:cubicBezTo>
                          <a:pt x="7681" y="0"/>
                          <a:pt x="9879" y="2227"/>
                          <a:pt x="9879" y="4940"/>
                        </a:cubicBezTo>
                        <a:lnTo>
                          <a:pt x="9879" y="23356"/>
                        </a:lnTo>
                        <a:cubicBezTo>
                          <a:pt x="9879" y="26097"/>
                          <a:pt x="7652" y="28296"/>
                          <a:pt x="4940" y="28296"/>
                        </a:cubicBezTo>
                        <a:close/>
                      </a:path>
                    </a:pathLst>
                  </a:custGeom>
                  <a:grpFill/>
                  <a:ln w="2851" cap="flat">
                    <a:noFill/>
                    <a:prstDash val="solid"/>
                    <a:miter/>
                  </a:ln>
                </p:spPr>
                <p:txBody>
                  <a:bodyPr rtlCol="0" anchor="ctr"/>
                  <a:lstStyle/>
                  <a:p>
                    <a:endParaRPr lang="en-GB" dirty="0"/>
                  </a:p>
                </p:txBody>
              </p:sp>
              <p:sp>
                <p:nvSpPr>
                  <p:cNvPr id="545" name="Freihandform: Form 416">
                    <a:extLst>
                      <a:ext uri="{FF2B5EF4-FFF2-40B4-BE49-F238E27FC236}">
                        <a16:creationId xmlns:a16="http://schemas.microsoft.com/office/drawing/2014/main" id="{23B4F43B-F3B1-4750-90C3-F1759396914D}"/>
                      </a:ext>
                    </a:extLst>
                  </p:cNvPr>
                  <p:cNvSpPr/>
                  <p:nvPr/>
                </p:nvSpPr>
                <p:spPr>
                  <a:xfrm>
                    <a:off x="2516898" y="2492904"/>
                    <a:ext cx="50595" cy="54821"/>
                  </a:xfrm>
                  <a:custGeom>
                    <a:avLst/>
                    <a:gdLst>
                      <a:gd name="connsiteX0" fmla="*/ 45684 w 50595"/>
                      <a:gd name="connsiteY0" fmla="*/ 54821 h 54821"/>
                      <a:gd name="connsiteX1" fmla="*/ 40745 w 50595"/>
                      <a:gd name="connsiteY1" fmla="*/ 49882 h 54821"/>
                      <a:gd name="connsiteX2" fmla="*/ 40745 w 50595"/>
                      <a:gd name="connsiteY2" fmla="*/ 27011 h 54821"/>
                      <a:gd name="connsiteX3" fmla="*/ 25983 w 50595"/>
                      <a:gd name="connsiteY3" fmla="*/ 15076 h 54821"/>
                      <a:gd name="connsiteX4" fmla="*/ 9765 w 50595"/>
                      <a:gd name="connsiteY4" fmla="*/ 15076 h 54821"/>
                      <a:gd name="connsiteX5" fmla="*/ 2941 w 50595"/>
                      <a:gd name="connsiteY5" fmla="*/ 12420 h 54821"/>
                      <a:gd name="connsiteX6" fmla="*/ 0 w 50595"/>
                      <a:gd name="connsiteY6" fmla="*/ 4968 h 54821"/>
                      <a:gd name="connsiteX7" fmla="*/ 4911 w 50595"/>
                      <a:gd name="connsiteY7" fmla="*/ 0 h 54821"/>
                      <a:gd name="connsiteX8" fmla="*/ 4940 w 50595"/>
                      <a:gd name="connsiteY8" fmla="*/ 0 h 54821"/>
                      <a:gd name="connsiteX9" fmla="*/ 9879 w 50595"/>
                      <a:gd name="connsiteY9" fmla="*/ 4940 h 54821"/>
                      <a:gd name="connsiteX10" fmla="*/ 9936 w 50595"/>
                      <a:gd name="connsiteY10" fmla="*/ 5511 h 54821"/>
                      <a:gd name="connsiteX11" fmla="*/ 25954 w 50595"/>
                      <a:gd name="connsiteY11" fmla="*/ 5197 h 54821"/>
                      <a:gd name="connsiteX12" fmla="*/ 50595 w 50595"/>
                      <a:gd name="connsiteY12" fmla="*/ 27039 h 54821"/>
                      <a:gd name="connsiteX13" fmla="*/ 50595 w 50595"/>
                      <a:gd name="connsiteY13" fmla="*/ 49910 h 54821"/>
                      <a:gd name="connsiteX14" fmla="*/ 45684 w 50595"/>
                      <a:gd name="connsiteY14" fmla="*/ 54821 h 5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595" h="54821">
                        <a:moveTo>
                          <a:pt x="45684" y="54821"/>
                        </a:moveTo>
                        <a:cubicBezTo>
                          <a:pt x="42943" y="54821"/>
                          <a:pt x="40745" y="52594"/>
                          <a:pt x="40745" y="49882"/>
                        </a:cubicBezTo>
                        <a:lnTo>
                          <a:pt x="40745" y="27011"/>
                        </a:lnTo>
                        <a:cubicBezTo>
                          <a:pt x="40745" y="15219"/>
                          <a:pt x="26583" y="15076"/>
                          <a:pt x="25983" y="15076"/>
                        </a:cubicBezTo>
                        <a:lnTo>
                          <a:pt x="9765" y="15076"/>
                        </a:lnTo>
                        <a:cubicBezTo>
                          <a:pt x="9251" y="15104"/>
                          <a:pt x="5739" y="15076"/>
                          <a:pt x="2941" y="12420"/>
                        </a:cubicBezTo>
                        <a:cubicBezTo>
                          <a:pt x="1599" y="11136"/>
                          <a:pt x="29" y="8823"/>
                          <a:pt x="0" y="4968"/>
                        </a:cubicBezTo>
                        <a:cubicBezTo>
                          <a:pt x="0" y="2227"/>
                          <a:pt x="2199" y="0"/>
                          <a:pt x="4911" y="0"/>
                        </a:cubicBezTo>
                        <a:cubicBezTo>
                          <a:pt x="4911" y="0"/>
                          <a:pt x="4940" y="0"/>
                          <a:pt x="4940" y="0"/>
                        </a:cubicBezTo>
                        <a:cubicBezTo>
                          <a:pt x="7652" y="0"/>
                          <a:pt x="9879" y="2199"/>
                          <a:pt x="9879" y="4940"/>
                        </a:cubicBezTo>
                        <a:cubicBezTo>
                          <a:pt x="9879" y="5339"/>
                          <a:pt x="9936" y="5511"/>
                          <a:pt x="9936" y="5511"/>
                        </a:cubicBezTo>
                        <a:lnTo>
                          <a:pt x="25954" y="5197"/>
                        </a:lnTo>
                        <a:cubicBezTo>
                          <a:pt x="34492" y="5197"/>
                          <a:pt x="50595" y="9765"/>
                          <a:pt x="50595" y="27039"/>
                        </a:cubicBezTo>
                        <a:lnTo>
                          <a:pt x="50595" y="49910"/>
                        </a:lnTo>
                        <a:cubicBezTo>
                          <a:pt x="50624" y="52594"/>
                          <a:pt x="48425" y="54821"/>
                          <a:pt x="45684" y="54821"/>
                        </a:cubicBezTo>
                        <a:close/>
                      </a:path>
                    </a:pathLst>
                  </a:custGeom>
                  <a:grpFill/>
                  <a:ln w="2851" cap="flat">
                    <a:noFill/>
                    <a:prstDash val="solid"/>
                    <a:miter/>
                  </a:ln>
                </p:spPr>
                <p:txBody>
                  <a:bodyPr rtlCol="0" anchor="ctr"/>
                  <a:lstStyle/>
                  <a:p>
                    <a:endParaRPr lang="en-GB" dirty="0"/>
                  </a:p>
                </p:txBody>
              </p:sp>
            </p:grpSp>
            <p:sp>
              <p:nvSpPr>
                <p:cNvPr id="541" name="Freihandform: Form 417">
                  <a:extLst>
                    <a:ext uri="{FF2B5EF4-FFF2-40B4-BE49-F238E27FC236}">
                      <a16:creationId xmlns:a16="http://schemas.microsoft.com/office/drawing/2014/main" id="{452CB647-1749-44DD-80AF-F037D92DC6AF}"/>
                    </a:ext>
                  </a:extLst>
                </p:cNvPr>
                <p:cNvSpPr/>
                <p:nvPr/>
              </p:nvSpPr>
              <p:spPr>
                <a:xfrm>
                  <a:off x="2475125" y="2419895"/>
                  <a:ext cx="65157" cy="72552"/>
                </a:xfrm>
                <a:custGeom>
                  <a:avLst/>
                  <a:gdLst>
                    <a:gd name="connsiteX0" fmla="*/ 32579 w 65157"/>
                    <a:gd name="connsiteY0" fmla="*/ 72552 h 72552"/>
                    <a:gd name="connsiteX1" fmla="*/ 0 w 65157"/>
                    <a:gd name="connsiteY1" fmla="*/ 36262 h 72552"/>
                    <a:gd name="connsiteX2" fmla="*/ 32579 w 65157"/>
                    <a:gd name="connsiteY2" fmla="*/ 0 h 72552"/>
                    <a:gd name="connsiteX3" fmla="*/ 65157 w 65157"/>
                    <a:gd name="connsiteY3" fmla="*/ 36262 h 72552"/>
                    <a:gd name="connsiteX4" fmla="*/ 32579 w 65157"/>
                    <a:gd name="connsiteY4" fmla="*/ 72552 h 72552"/>
                    <a:gd name="connsiteX5" fmla="*/ 32579 w 65157"/>
                    <a:gd name="connsiteY5" fmla="*/ 9879 h 72552"/>
                    <a:gd name="connsiteX6" fmla="*/ 9879 w 65157"/>
                    <a:gd name="connsiteY6" fmla="*/ 36262 h 72552"/>
                    <a:gd name="connsiteX7" fmla="*/ 32579 w 65157"/>
                    <a:gd name="connsiteY7" fmla="*/ 62645 h 72552"/>
                    <a:gd name="connsiteX8" fmla="*/ 55278 w 65157"/>
                    <a:gd name="connsiteY8" fmla="*/ 36262 h 72552"/>
                    <a:gd name="connsiteX9" fmla="*/ 32579 w 65157"/>
                    <a:gd name="connsiteY9" fmla="*/ 9879 h 7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57" h="72552">
                      <a:moveTo>
                        <a:pt x="32579" y="72552"/>
                      </a:moveTo>
                      <a:cubicBezTo>
                        <a:pt x="14619" y="72552"/>
                        <a:pt x="0" y="56277"/>
                        <a:pt x="0" y="36262"/>
                      </a:cubicBezTo>
                      <a:cubicBezTo>
                        <a:pt x="0" y="16246"/>
                        <a:pt x="14619" y="0"/>
                        <a:pt x="32579" y="0"/>
                      </a:cubicBezTo>
                      <a:cubicBezTo>
                        <a:pt x="50538" y="0"/>
                        <a:pt x="65157" y="16275"/>
                        <a:pt x="65157" y="36262"/>
                      </a:cubicBezTo>
                      <a:cubicBezTo>
                        <a:pt x="65157" y="56277"/>
                        <a:pt x="50538" y="72552"/>
                        <a:pt x="32579" y="72552"/>
                      </a:cubicBezTo>
                      <a:close/>
                      <a:moveTo>
                        <a:pt x="32579" y="9879"/>
                      </a:moveTo>
                      <a:cubicBezTo>
                        <a:pt x="20073" y="9879"/>
                        <a:pt x="9879" y="21729"/>
                        <a:pt x="9879" y="36262"/>
                      </a:cubicBezTo>
                      <a:cubicBezTo>
                        <a:pt x="9879" y="50824"/>
                        <a:pt x="20073" y="62645"/>
                        <a:pt x="32579" y="62645"/>
                      </a:cubicBezTo>
                      <a:cubicBezTo>
                        <a:pt x="45085" y="62645"/>
                        <a:pt x="55278" y="50795"/>
                        <a:pt x="55278" y="36262"/>
                      </a:cubicBezTo>
                      <a:cubicBezTo>
                        <a:pt x="55278" y="21729"/>
                        <a:pt x="45085" y="9879"/>
                        <a:pt x="32579" y="9879"/>
                      </a:cubicBezTo>
                      <a:close/>
                    </a:path>
                  </a:pathLst>
                </a:custGeom>
                <a:grpFill/>
                <a:ln w="2851" cap="flat">
                  <a:noFill/>
                  <a:prstDash val="solid"/>
                  <a:miter/>
                </a:ln>
              </p:spPr>
              <p:txBody>
                <a:bodyPr rtlCol="0" anchor="ctr"/>
                <a:lstStyle/>
                <a:p>
                  <a:endParaRPr lang="en-GB" dirty="0"/>
                </a:p>
              </p:txBody>
            </p:sp>
          </p:grpSp>
          <p:sp>
            <p:nvSpPr>
              <p:cNvPr id="511" name="Freihandform: Form 418">
                <a:extLst>
                  <a:ext uri="{FF2B5EF4-FFF2-40B4-BE49-F238E27FC236}">
                    <a16:creationId xmlns:a16="http://schemas.microsoft.com/office/drawing/2014/main" id="{6403ED2E-E8AB-46FF-A45E-8DE8EABBD8F6}"/>
                  </a:ext>
                </a:extLst>
              </p:cNvPr>
              <p:cNvSpPr/>
              <p:nvPr/>
            </p:nvSpPr>
            <p:spPr>
              <a:xfrm>
                <a:off x="2416992" y="2389857"/>
                <a:ext cx="181423" cy="181423"/>
              </a:xfrm>
              <a:custGeom>
                <a:avLst/>
                <a:gdLst>
                  <a:gd name="connsiteX0" fmla="*/ 90712 w 181423"/>
                  <a:gd name="connsiteY0" fmla="*/ 181424 h 181423"/>
                  <a:gd name="connsiteX1" fmla="*/ 0 w 181423"/>
                  <a:gd name="connsiteY1" fmla="*/ 90712 h 181423"/>
                  <a:gd name="connsiteX2" fmla="*/ 90712 w 181423"/>
                  <a:gd name="connsiteY2" fmla="*/ 0 h 181423"/>
                  <a:gd name="connsiteX3" fmla="*/ 181424 w 181423"/>
                  <a:gd name="connsiteY3" fmla="*/ 90712 h 181423"/>
                  <a:gd name="connsiteX4" fmla="*/ 90712 w 181423"/>
                  <a:gd name="connsiteY4" fmla="*/ 181424 h 181423"/>
                  <a:gd name="connsiteX5" fmla="*/ 90712 w 181423"/>
                  <a:gd name="connsiteY5" fmla="*/ 9908 h 181423"/>
                  <a:gd name="connsiteX6" fmla="*/ 9879 w 181423"/>
                  <a:gd name="connsiteY6" fmla="*/ 90740 h 181423"/>
                  <a:gd name="connsiteX7" fmla="*/ 90712 w 181423"/>
                  <a:gd name="connsiteY7" fmla="*/ 171573 h 181423"/>
                  <a:gd name="connsiteX8" fmla="*/ 171545 w 181423"/>
                  <a:gd name="connsiteY8" fmla="*/ 90740 h 181423"/>
                  <a:gd name="connsiteX9" fmla="*/ 90712 w 181423"/>
                  <a:gd name="connsiteY9" fmla="*/ 9908 h 18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423" h="181423">
                    <a:moveTo>
                      <a:pt x="90712" y="181424"/>
                    </a:moveTo>
                    <a:cubicBezTo>
                      <a:pt x="40688" y="181424"/>
                      <a:pt x="0" y="140736"/>
                      <a:pt x="0" y="90712"/>
                    </a:cubicBezTo>
                    <a:cubicBezTo>
                      <a:pt x="0" y="40688"/>
                      <a:pt x="40688" y="0"/>
                      <a:pt x="90712" y="0"/>
                    </a:cubicBezTo>
                    <a:cubicBezTo>
                      <a:pt x="140736" y="0"/>
                      <a:pt x="181424" y="40688"/>
                      <a:pt x="181424" y="90712"/>
                    </a:cubicBezTo>
                    <a:cubicBezTo>
                      <a:pt x="181424" y="140736"/>
                      <a:pt x="140736" y="181424"/>
                      <a:pt x="90712" y="181424"/>
                    </a:cubicBezTo>
                    <a:close/>
                    <a:moveTo>
                      <a:pt x="90712" y="9908"/>
                    </a:moveTo>
                    <a:cubicBezTo>
                      <a:pt x="46141" y="9908"/>
                      <a:pt x="9879" y="46170"/>
                      <a:pt x="9879" y="90740"/>
                    </a:cubicBezTo>
                    <a:cubicBezTo>
                      <a:pt x="9879" y="135311"/>
                      <a:pt x="46141" y="171573"/>
                      <a:pt x="90712" y="171573"/>
                    </a:cubicBezTo>
                    <a:cubicBezTo>
                      <a:pt x="135283" y="171573"/>
                      <a:pt x="171545" y="135311"/>
                      <a:pt x="171545" y="90740"/>
                    </a:cubicBezTo>
                    <a:cubicBezTo>
                      <a:pt x="171545" y="46141"/>
                      <a:pt x="135283" y="9908"/>
                      <a:pt x="90712" y="9908"/>
                    </a:cubicBezTo>
                    <a:close/>
                  </a:path>
                </a:pathLst>
              </a:custGeom>
              <a:grpFill/>
              <a:ln w="2851" cap="flat">
                <a:noFill/>
                <a:prstDash val="solid"/>
                <a:miter/>
              </a:ln>
            </p:spPr>
            <p:txBody>
              <a:bodyPr rtlCol="0" anchor="ctr"/>
              <a:lstStyle/>
              <a:p>
                <a:endParaRPr lang="en-GB" dirty="0"/>
              </a:p>
            </p:txBody>
          </p:sp>
          <p:grpSp>
            <p:nvGrpSpPr>
              <p:cNvPr id="512" name="Grafik 34">
                <a:extLst>
                  <a:ext uri="{FF2B5EF4-FFF2-40B4-BE49-F238E27FC236}">
                    <a16:creationId xmlns:a16="http://schemas.microsoft.com/office/drawing/2014/main" id="{B04652C8-8097-4A5B-B50D-793164432C69}"/>
                  </a:ext>
                </a:extLst>
              </p:cNvPr>
              <p:cNvGrpSpPr/>
              <p:nvPr/>
            </p:nvGrpSpPr>
            <p:grpSpPr>
              <a:xfrm>
                <a:off x="2916322" y="2419895"/>
                <a:ext cx="119579" cy="143591"/>
                <a:chOff x="2916322" y="2419895"/>
                <a:chExt cx="119579" cy="143591"/>
              </a:xfrm>
              <a:grpFill/>
            </p:grpSpPr>
            <p:grpSp>
              <p:nvGrpSpPr>
                <p:cNvPr id="534" name="Grafik 34">
                  <a:extLst>
                    <a:ext uri="{FF2B5EF4-FFF2-40B4-BE49-F238E27FC236}">
                      <a16:creationId xmlns:a16="http://schemas.microsoft.com/office/drawing/2014/main" id="{476A51E0-E979-4044-825E-968C47F72DE3}"/>
                    </a:ext>
                  </a:extLst>
                </p:cNvPr>
                <p:cNvGrpSpPr/>
                <p:nvPr/>
              </p:nvGrpSpPr>
              <p:grpSpPr>
                <a:xfrm>
                  <a:off x="2916322" y="2492733"/>
                  <a:ext cx="119579" cy="70753"/>
                  <a:chOff x="2916322" y="2492733"/>
                  <a:chExt cx="119579" cy="70753"/>
                </a:xfrm>
                <a:grpFill/>
              </p:grpSpPr>
              <p:sp>
                <p:nvSpPr>
                  <p:cNvPr id="536" name="Freihandform: Form 422">
                    <a:extLst>
                      <a:ext uri="{FF2B5EF4-FFF2-40B4-BE49-F238E27FC236}">
                        <a16:creationId xmlns:a16="http://schemas.microsoft.com/office/drawing/2014/main" id="{45708867-C0E4-4F87-B542-8677D447861D}"/>
                      </a:ext>
                    </a:extLst>
                  </p:cNvPr>
                  <p:cNvSpPr/>
                  <p:nvPr/>
                </p:nvSpPr>
                <p:spPr>
                  <a:xfrm>
                    <a:off x="2937422" y="2534819"/>
                    <a:ext cx="9879" cy="25925"/>
                  </a:xfrm>
                  <a:custGeom>
                    <a:avLst/>
                    <a:gdLst>
                      <a:gd name="connsiteX0" fmla="*/ 4940 w 9879"/>
                      <a:gd name="connsiteY0" fmla="*/ 25926 h 25925"/>
                      <a:gd name="connsiteX1" fmla="*/ 0 w 9879"/>
                      <a:gd name="connsiteY1" fmla="*/ 20986 h 25925"/>
                      <a:gd name="connsiteX2" fmla="*/ 0 w 9879"/>
                      <a:gd name="connsiteY2" fmla="*/ 4940 h 25925"/>
                      <a:gd name="connsiteX3" fmla="*/ 4940 w 9879"/>
                      <a:gd name="connsiteY3" fmla="*/ 0 h 25925"/>
                      <a:gd name="connsiteX4" fmla="*/ 9879 w 9879"/>
                      <a:gd name="connsiteY4" fmla="*/ 4940 h 25925"/>
                      <a:gd name="connsiteX5" fmla="*/ 9879 w 9879"/>
                      <a:gd name="connsiteY5" fmla="*/ 20986 h 25925"/>
                      <a:gd name="connsiteX6" fmla="*/ 4940 w 9879"/>
                      <a:gd name="connsiteY6" fmla="*/ 25926 h 2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5925">
                        <a:moveTo>
                          <a:pt x="4940" y="25926"/>
                        </a:moveTo>
                        <a:cubicBezTo>
                          <a:pt x="2198" y="25926"/>
                          <a:pt x="0" y="23699"/>
                          <a:pt x="0" y="20986"/>
                        </a:cubicBezTo>
                        <a:lnTo>
                          <a:pt x="0" y="4940"/>
                        </a:lnTo>
                        <a:cubicBezTo>
                          <a:pt x="0" y="2199"/>
                          <a:pt x="2227" y="0"/>
                          <a:pt x="4940" y="0"/>
                        </a:cubicBezTo>
                        <a:cubicBezTo>
                          <a:pt x="7681" y="0"/>
                          <a:pt x="9879" y="2227"/>
                          <a:pt x="9879" y="4940"/>
                        </a:cubicBezTo>
                        <a:lnTo>
                          <a:pt x="9879" y="20986"/>
                        </a:lnTo>
                        <a:cubicBezTo>
                          <a:pt x="9879" y="23727"/>
                          <a:pt x="7681" y="25926"/>
                          <a:pt x="4940" y="25926"/>
                        </a:cubicBezTo>
                        <a:close/>
                      </a:path>
                    </a:pathLst>
                  </a:custGeom>
                  <a:grpFill/>
                  <a:ln w="2851" cap="flat">
                    <a:noFill/>
                    <a:prstDash val="solid"/>
                    <a:miter/>
                  </a:ln>
                </p:spPr>
                <p:txBody>
                  <a:bodyPr rtlCol="0" anchor="ctr"/>
                  <a:lstStyle/>
                  <a:p>
                    <a:endParaRPr lang="en-GB" dirty="0"/>
                  </a:p>
                </p:txBody>
              </p:sp>
              <p:sp>
                <p:nvSpPr>
                  <p:cNvPr id="537" name="Freihandform: Form 423">
                    <a:extLst>
                      <a:ext uri="{FF2B5EF4-FFF2-40B4-BE49-F238E27FC236}">
                        <a16:creationId xmlns:a16="http://schemas.microsoft.com/office/drawing/2014/main" id="{815FDB06-BD59-49F9-921B-6FC4CD8C1285}"/>
                      </a:ext>
                    </a:extLst>
                  </p:cNvPr>
                  <p:cNvSpPr/>
                  <p:nvPr/>
                </p:nvSpPr>
                <p:spPr>
                  <a:xfrm>
                    <a:off x="2916322" y="2492733"/>
                    <a:ext cx="51966" cy="55677"/>
                  </a:xfrm>
                  <a:custGeom>
                    <a:avLst/>
                    <a:gdLst>
                      <a:gd name="connsiteX0" fmla="*/ 4940 w 51966"/>
                      <a:gd name="connsiteY0" fmla="*/ 55678 h 55677"/>
                      <a:gd name="connsiteX1" fmla="*/ 0 w 51966"/>
                      <a:gd name="connsiteY1" fmla="*/ 50738 h 55677"/>
                      <a:gd name="connsiteX2" fmla="*/ 0 w 51966"/>
                      <a:gd name="connsiteY2" fmla="*/ 27182 h 55677"/>
                      <a:gd name="connsiteX3" fmla="*/ 24641 w 51966"/>
                      <a:gd name="connsiteY3" fmla="*/ 5339 h 55677"/>
                      <a:gd name="connsiteX4" fmla="*/ 40859 w 51966"/>
                      <a:gd name="connsiteY4" fmla="*/ 5339 h 55677"/>
                      <a:gd name="connsiteX5" fmla="*/ 42201 w 51966"/>
                      <a:gd name="connsiteY5" fmla="*/ 4683 h 55677"/>
                      <a:gd name="connsiteX6" fmla="*/ 47169 w 51966"/>
                      <a:gd name="connsiteY6" fmla="*/ 0 h 55677"/>
                      <a:gd name="connsiteX7" fmla="*/ 51966 w 51966"/>
                      <a:gd name="connsiteY7" fmla="*/ 5197 h 55677"/>
                      <a:gd name="connsiteX8" fmla="*/ 41373 w 51966"/>
                      <a:gd name="connsiteY8" fmla="*/ 15219 h 55677"/>
                      <a:gd name="connsiteX9" fmla="*/ 24670 w 51966"/>
                      <a:gd name="connsiteY9" fmla="*/ 15247 h 55677"/>
                      <a:gd name="connsiteX10" fmla="*/ 9908 w 51966"/>
                      <a:gd name="connsiteY10" fmla="*/ 27182 h 55677"/>
                      <a:gd name="connsiteX11" fmla="*/ 9908 w 51966"/>
                      <a:gd name="connsiteY11" fmla="*/ 50738 h 55677"/>
                      <a:gd name="connsiteX12" fmla="*/ 4940 w 51966"/>
                      <a:gd name="connsiteY12" fmla="*/ 55678 h 5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66" h="55677">
                        <a:moveTo>
                          <a:pt x="4940" y="55678"/>
                        </a:moveTo>
                        <a:cubicBezTo>
                          <a:pt x="2199" y="55678"/>
                          <a:pt x="0" y="53451"/>
                          <a:pt x="0" y="50738"/>
                        </a:cubicBezTo>
                        <a:lnTo>
                          <a:pt x="0" y="27182"/>
                        </a:lnTo>
                        <a:cubicBezTo>
                          <a:pt x="0" y="9908"/>
                          <a:pt x="16132" y="5339"/>
                          <a:pt x="24641" y="5339"/>
                        </a:cubicBezTo>
                        <a:lnTo>
                          <a:pt x="40859" y="5339"/>
                        </a:lnTo>
                        <a:cubicBezTo>
                          <a:pt x="41002" y="5282"/>
                          <a:pt x="41973" y="4940"/>
                          <a:pt x="42201" y="4683"/>
                        </a:cubicBezTo>
                        <a:cubicBezTo>
                          <a:pt x="42258" y="1942"/>
                          <a:pt x="44514" y="57"/>
                          <a:pt x="47169" y="0"/>
                        </a:cubicBezTo>
                        <a:cubicBezTo>
                          <a:pt x="49910" y="57"/>
                          <a:pt x="51995" y="2484"/>
                          <a:pt x="51966" y="5197"/>
                        </a:cubicBezTo>
                        <a:cubicBezTo>
                          <a:pt x="51852" y="11364"/>
                          <a:pt x="46398" y="14705"/>
                          <a:pt x="41373" y="15219"/>
                        </a:cubicBezTo>
                        <a:lnTo>
                          <a:pt x="24670" y="15247"/>
                        </a:lnTo>
                        <a:cubicBezTo>
                          <a:pt x="23185" y="15247"/>
                          <a:pt x="9908" y="15704"/>
                          <a:pt x="9908" y="27182"/>
                        </a:cubicBezTo>
                        <a:lnTo>
                          <a:pt x="9908" y="50738"/>
                        </a:lnTo>
                        <a:cubicBezTo>
                          <a:pt x="9879" y="53451"/>
                          <a:pt x="7652" y="55678"/>
                          <a:pt x="4940" y="55678"/>
                        </a:cubicBezTo>
                        <a:close/>
                      </a:path>
                    </a:pathLst>
                  </a:custGeom>
                  <a:grpFill/>
                  <a:ln w="2851" cap="flat">
                    <a:noFill/>
                    <a:prstDash val="solid"/>
                    <a:miter/>
                  </a:ln>
                </p:spPr>
                <p:txBody>
                  <a:bodyPr rtlCol="0" anchor="ctr"/>
                  <a:lstStyle/>
                  <a:p>
                    <a:endParaRPr lang="en-GB" dirty="0"/>
                  </a:p>
                </p:txBody>
              </p:sp>
              <p:sp>
                <p:nvSpPr>
                  <p:cNvPr id="538" name="Freihandform: Form 424">
                    <a:extLst>
                      <a:ext uri="{FF2B5EF4-FFF2-40B4-BE49-F238E27FC236}">
                        <a16:creationId xmlns:a16="http://schemas.microsoft.com/office/drawing/2014/main" id="{9B631FCA-4630-458A-BD3D-CD26A48F3F89}"/>
                      </a:ext>
                    </a:extLst>
                  </p:cNvPr>
                  <p:cNvSpPr/>
                  <p:nvPr/>
                </p:nvSpPr>
                <p:spPr>
                  <a:xfrm>
                    <a:off x="3004949" y="2535190"/>
                    <a:ext cx="9879" cy="28295"/>
                  </a:xfrm>
                  <a:custGeom>
                    <a:avLst/>
                    <a:gdLst>
                      <a:gd name="connsiteX0" fmla="*/ 4940 w 9879"/>
                      <a:gd name="connsiteY0" fmla="*/ 28296 h 28295"/>
                      <a:gd name="connsiteX1" fmla="*/ 0 w 9879"/>
                      <a:gd name="connsiteY1" fmla="*/ 23356 h 28295"/>
                      <a:gd name="connsiteX2" fmla="*/ 0 w 9879"/>
                      <a:gd name="connsiteY2" fmla="*/ 4940 h 28295"/>
                      <a:gd name="connsiteX3" fmla="*/ 4940 w 9879"/>
                      <a:gd name="connsiteY3" fmla="*/ 0 h 28295"/>
                      <a:gd name="connsiteX4" fmla="*/ 9879 w 9879"/>
                      <a:gd name="connsiteY4" fmla="*/ 4940 h 28295"/>
                      <a:gd name="connsiteX5" fmla="*/ 9879 w 9879"/>
                      <a:gd name="connsiteY5" fmla="*/ 23356 h 28295"/>
                      <a:gd name="connsiteX6" fmla="*/ 4940 w 9879"/>
                      <a:gd name="connsiteY6" fmla="*/ 28296 h 2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8295">
                        <a:moveTo>
                          <a:pt x="4940" y="28296"/>
                        </a:moveTo>
                        <a:cubicBezTo>
                          <a:pt x="2199" y="28296"/>
                          <a:pt x="0" y="26069"/>
                          <a:pt x="0" y="23356"/>
                        </a:cubicBezTo>
                        <a:lnTo>
                          <a:pt x="0" y="4940"/>
                        </a:lnTo>
                        <a:cubicBezTo>
                          <a:pt x="0" y="2199"/>
                          <a:pt x="2227" y="0"/>
                          <a:pt x="4940" y="0"/>
                        </a:cubicBezTo>
                        <a:cubicBezTo>
                          <a:pt x="7681" y="0"/>
                          <a:pt x="9879" y="2227"/>
                          <a:pt x="9879" y="4940"/>
                        </a:cubicBezTo>
                        <a:lnTo>
                          <a:pt x="9879" y="23356"/>
                        </a:lnTo>
                        <a:cubicBezTo>
                          <a:pt x="9879" y="26097"/>
                          <a:pt x="7681" y="28296"/>
                          <a:pt x="4940" y="28296"/>
                        </a:cubicBezTo>
                        <a:close/>
                      </a:path>
                    </a:pathLst>
                  </a:custGeom>
                  <a:grpFill/>
                  <a:ln w="2851" cap="flat">
                    <a:noFill/>
                    <a:prstDash val="solid"/>
                    <a:miter/>
                  </a:ln>
                </p:spPr>
                <p:txBody>
                  <a:bodyPr rtlCol="0" anchor="ctr"/>
                  <a:lstStyle/>
                  <a:p>
                    <a:endParaRPr lang="en-GB" dirty="0"/>
                  </a:p>
                </p:txBody>
              </p:sp>
              <p:sp>
                <p:nvSpPr>
                  <p:cNvPr id="539" name="Freihandform: Form 425">
                    <a:extLst>
                      <a:ext uri="{FF2B5EF4-FFF2-40B4-BE49-F238E27FC236}">
                        <a16:creationId xmlns:a16="http://schemas.microsoft.com/office/drawing/2014/main" id="{6C4F8B7B-12DD-4246-AE82-04E999B946D7}"/>
                      </a:ext>
                    </a:extLst>
                  </p:cNvPr>
                  <p:cNvSpPr/>
                  <p:nvPr/>
                </p:nvSpPr>
                <p:spPr>
                  <a:xfrm>
                    <a:off x="2985305" y="2492904"/>
                    <a:ext cx="50596" cy="54821"/>
                  </a:xfrm>
                  <a:custGeom>
                    <a:avLst/>
                    <a:gdLst>
                      <a:gd name="connsiteX0" fmla="*/ 45684 w 50596"/>
                      <a:gd name="connsiteY0" fmla="*/ 54821 h 54821"/>
                      <a:gd name="connsiteX1" fmla="*/ 40745 w 50596"/>
                      <a:gd name="connsiteY1" fmla="*/ 49882 h 54821"/>
                      <a:gd name="connsiteX2" fmla="*/ 40745 w 50596"/>
                      <a:gd name="connsiteY2" fmla="*/ 27011 h 54821"/>
                      <a:gd name="connsiteX3" fmla="*/ 25983 w 50596"/>
                      <a:gd name="connsiteY3" fmla="*/ 15076 h 54821"/>
                      <a:gd name="connsiteX4" fmla="*/ 9765 w 50596"/>
                      <a:gd name="connsiteY4" fmla="*/ 15076 h 54821"/>
                      <a:gd name="connsiteX5" fmla="*/ 2941 w 50596"/>
                      <a:gd name="connsiteY5" fmla="*/ 12420 h 54821"/>
                      <a:gd name="connsiteX6" fmla="*/ 0 w 50596"/>
                      <a:gd name="connsiteY6" fmla="*/ 4968 h 54821"/>
                      <a:gd name="connsiteX7" fmla="*/ 4911 w 50596"/>
                      <a:gd name="connsiteY7" fmla="*/ 0 h 54821"/>
                      <a:gd name="connsiteX8" fmla="*/ 4940 w 50596"/>
                      <a:gd name="connsiteY8" fmla="*/ 0 h 54821"/>
                      <a:gd name="connsiteX9" fmla="*/ 9879 w 50596"/>
                      <a:gd name="connsiteY9" fmla="*/ 4940 h 54821"/>
                      <a:gd name="connsiteX10" fmla="*/ 9936 w 50596"/>
                      <a:gd name="connsiteY10" fmla="*/ 5511 h 54821"/>
                      <a:gd name="connsiteX11" fmla="*/ 25954 w 50596"/>
                      <a:gd name="connsiteY11" fmla="*/ 5197 h 54821"/>
                      <a:gd name="connsiteX12" fmla="*/ 50595 w 50596"/>
                      <a:gd name="connsiteY12" fmla="*/ 27039 h 54821"/>
                      <a:gd name="connsiteX13" fmla="*/ 50595 w 50596"/>
                      <a:gd name="connsiteY13" fmla="*/ 49910 h 54821"/>
                      <a:gd name="connsiteX14" fmla="*/ 45684 w 50596"/>
                      <a:gd name="connsiteY14" fmla="*/ 54821 h 54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596" h="54821">
                        <a:moveTo>
                          <a:pt x="45684" y="54821"/>
                        </a:moveTo>
                        <a:cubicBezTo>
                          <a:pt x="42943" y="54821"/>
                          <a:pt x="40745" y="52594"/>
                          <a:pt x="40745" y="49882"/>
                        </a:cubicBezTo>
                        <a:lnTo>
                          <a:pt x="40745" y="27011"/>
                        </a:lnTo>
                        <a:cubicBezTo>
                          <a:pt x="40745" y="15219"/>
                          <a:pt x="26583" y="15076"/>
                          <a:pt x="25983" y="15076"/>
                        </a:cubicBezTo>
                        <a:lnTo>
                          <a:pt x="9765" y="15076"/>
                        </a:lnTo>
                        <a:cubicBezTo>
                          <a:pt x="9251" y="15104"/>
                          <a:pt x="5739" y="15076"/>
                          <a:pt x="2941" y="12420"/>
                        </a:cubicBezTo>
                        <a:cubicBezTo>
                          <a:pt x="1599" y="11136"/>
                          <a:pt x="29" y="8823"/>
                          <a:pt x="0" y="4968"/>
                        </a:cubicBezTo>
                        <a:cubicBezTo>
                          <a:pt x="0" y="2227"/>
                          <a:pt x="2199" y="0"/>
                          <a:pt x="4911" y="0"/>
                        </a:cubicBezTo>
                        <a:cubicBezTo>
                          <a:pt x="4911" y="0"/>
                          <a:pt x="4940" y="0"/>
                          <a:pt x="4940" y="0"/>
                        </a:cubicBezTo>
                        <a:cubicBezTo>
                          <a:pt x="7652" y="0"/>
                          <a:pt x="9879" y="2199"/>
                          <a:pt x="9879" y="4940"/>
                        </a:cubicBezTo>
                        <a:cubicBezTo>
                          <a:pt x="9879" y="5339"/>
                          <a:pt x="9936" y="5511"/>
                          <a:pt x="9936" y="5511"/>
                        </a:cubicBezTo>
                        <a:lnTo>
                          <a:pt x="25954" y="5197"/>
                        </a:lnTo>
                        <a:cubicBezTo>
                          <a:pt x="34492" y="5197"/>
                          <a:pt x="50595" y="9765"/>
                          <a:pt x="50595" y="27039"/>
                        </a:cubicBezTo>
                        <a:lnTo>
                          <a:pt x="50595" y="49910"/>
                        </a:lnTo>
                        <a:cubicBezTo>
                          <a:pt x="50652" y="52594"/>
                          <a:pt x="48425" y="54821"/>
                          <a:pt x="45684" y="54821"/>
                        </a:cubicBezTo>
                        <a:close/>
                      </a:path>
                    </a:pathLst>
                  </a:custGeom>
                  <a:grpFill/>
                  <a:ln w="2851" cap="flat">
                    <a:noFill/>
                    <a:prstDash val="solid"/>
                    <a:miter/>
                  </a:ln>
                </p:spPr>
                <p:txBody>
                  <a:bodyPr rtlCol="0" anchor="ctr"/>
                  <a:lstStyle/>
                  <a:p>
                    <a:endParaRPr lang="en-GB" dirty="0"/>
                  </a:p>
                </p:txBody>
              </p:sp>
            </p:grpSp>
            <p:sp>
              <p:nvSpPr>
                <p:cNvPr id="535" name="Freihandform: Form 426">
                  <a:extLst>
                    <a:ext uri="{FF2B5EF4-FFF2-40B4-BE49-F238E27FC236}">
                      <a16:creationId xmlns:a16="http://schemas.microsoft.com/office/drawing/2014/main" id="{756C1D59-1EAC-4630-8511-AEDC37FD99C6}"/>
                    </a:ext>
                  </a:extLst>
                </p:cNvPr>
                <p:cNvSpPr/>
                <p:nvPr/>
              </p:nvSpPr>
              <p:spPr>
                <a:xfrm>
                  <a:off x="2943532" y="2419895"/>
                  <a:ext cx="65157" cy="72552"/>
                </a:xfrm>
                <a:custGeom>
                  <a:avLst/>
                  <a:gdLst>
                    <a:gd name="connsiteX0" fmla="*/ 32579 w 65157"/>
                    <a:gd name="connsiteY0" fmla="*/ 72552 h 72552"/>
                    <a:gd name="connsiteX1" fmla="*/ 0 w 65157"/>
                    <a:gd name="connsiteY1" fmla="*/ 36262 h 72552"/>
                    <a:gd name="connsiteX2" fmla="*/ 32579 w 65157"/>
                    <a:gd name="connsiteY2" fmla="*/ 0 h 72552"/>
                    <a:gd name="connsiteX3" fmla="*/ 65157 w 65157"/>
                    <a:gd name="connsiteY3" fmla="*/ 36262 h 72552"/>
                    <a:gd name="connsiteX4" fmla="*/ 32579 w 65157"/>
                    <a:gd name="connsiteY4" fmla="*/ 72552 h 72552"/>
                    <a:gd name="connsiteX5" fmla="*/ 32579 w 65157"/>
                    <a:gd name="connsiteY5" fmla="*/ 9879 h 72552"/>
                    <a:gd name="connsiteX6" fmla="*/ 9879 w 65157"/>
                    <a:gd name="connsiteY6" fmla="*/ 36262 h 72552"/>
                    <a:gd name="connsiteX7" fmla="*/ 32579 w 65157"/>
                    <a:gd name="connsiteY7" fmla="*/ 62645 h 72552"/>
                    <a:gd name="connsiteX8" fmla="*/ 55278 w 65157"/>
                    <a:gd name="connsiteY8" fmla="*/ 36262 h 72552"/>
                    <a:gd name="connsiteX9" fmla="*/ 32579 w 65157"/>
                    <a:gd name="connsiteY9" fmla="*/ 9879 h 7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57" h="72552">
                      <a:moveTo>
                        <a:pt x="32579" y="72552"/>
                      </a:moveTo>
                      <a:cubicBezTo>
                        <a:pt x="14619" y="72552"/>
                        <a:pt x="0" y="56277"/>
                        <a:pt x="0" y="36262"/>
                      </a:cubicBezTo>
                      <a:cubicBezTo>
                        <a:pt x="0" y="16246"/>
                        <a:pt x="14619" y="0"/>
                        <a:pt x="32579" y="0"/>
                      </a:cubicBezTo>
                      <a:cubicBezTo>
                        <a:pt x="50538" y="0"/>
                        <a:pt x="65157" y="16275"/>
                        <a:pt x="65157" y="36262"/>
                      </a:cubicBezTo>
                      <a:cubicBezTo>
                        <a:pt x="65186" y="56277"/>
                        <a:pt x="50567" y="72552"/>
                        <a:pt x="32579" y="72552"/>
                      </a:cubicBezTo>
                      <a:close/>
                      <a:moveTo>
                        <a:pt x="32579" y="9879"/>
                      </a:moveTo>
                      <a:cubicBezTo>
                        <a:pt x="20073" y="9879"/>
                        <a:pt x="9879" y="21729"/>
                        <a:pt x="9879" y="36262"/>
                      </a:cubicBezTo>
                      <a:cubicBezTo>
                        <a:pt x="9879" y="50824"/>
                        <a:pt x="20073" y="62645"/>
                        <a:pt x="32579" y="62645"/>
                      </a:cubicBezTo>
                      <a:cubicBezTo>
                        <a:pt x="45085" y="62645"/>
                        <a:pt x="55278" y="50795"/>
                        <a:pt x="55278" y="36262"/>
                      </a:cubicBezTo>
                      <a:cubicBezTo>
                        <a:pt x="55278" y="21729"/>
                        <a:pt x="45113" y="9879"/>
                        <a:pt x="32579" y="9879"/>
                      </a:cubicBezTo>
                      <a:close/>
                    </a:path>
                  </a:pathLst>
                </a:custGeom>
                <a:grpFill/>
                <a:ln w="2851" cap="flat">
                  <a:noFill/>
                  <a:prstDash val="solid"/>
                  <a:miter/>
                </a:ln>
              </p:spPr>
              <p:txBody>
                <a:bodyPr rtlCol="0" anchor="ctr"/>
                <a:lstStyle/>
                <a:p>
                  <a:endParaRPr lang="en-GB" dirty="0"/>
                </a:p>
              </p:txBody>
            </p:sp>
          </p:grpSp>
          <p:sp>
            <p:nvSpPr>
              <p:cNvPr id="513" name="Freihandform: Form 427">
                <a:extLst>
                  <a:ext uri="{FF2B5EF4-FFF2-40B4-BE49-F238E27FC236}">
                    <a16:creationId xmlns:a16="http://schemas.microsoft.com/office/drawing/2014/main" id="{DF05F8A9-7E4F-427A-BF1B-505D75548B33}"/>
                  </a:ext>
                </a:extLst>
              </p:cNvPr>
              <p:cNvSpPr/>
              <p:nvPr/>
            </p:nvSpPr>
            <p:spPr>
              <a:xfrm>
                <a:off x="2885399" y="2389857"/>
                <a:ext cx="181423" cy="181423"/>
              </a:xfrm>
              <a:custGeom>
                <a:avLst/>
                <a:gdLst>
                  <a:gd name="connsiteX0" fmla="*/ 90712 w 181423"/>
                  <a:gd name="connsiteY0" fmla="*/ 181424 h 181423"/>
                  <a:gd name="connsiteX1" fmla="*/ 0 w 181423"/>
                  <a:gd name="connsiteY1" fmla="*/ 90712 h 181423"/>
                  <a:gd name="connsiteX2" fmla="*/ 90712 w 181423"/>
                  <a:gd name="connsiteY2" fmla="*/ 0 h 181423"/>
                  <a:gd name="connsiteX3" fmla="*/ 181424 w 181423"/>
                  <a:gd name="connsiteY3" fmla="*/ 90712 h 181423"/>
                  <a:gd name="connsiteX4" fmla="*/ 90712 w 181423"/>
                  <a:gd name="connsiteY4" fmla="*/ 181424 h 181423"/>
                  <a:gd name="connsiteX5" fmla="*/ 90712 w 181423"/>
                  <a:gd name="connsiteY5" fmla="*/ 9908 h 181423"/>
                  <a:gd name="connsiteX6" fmla="*/ 9879 w 181423"/>
                  <a:gd name="connsiteY6" fmla="*/ 90740 h 181423"/>
                  <a:gd name="connsiteX7" fmla="*/ 90712 w 181423"/>
                  <a:gd name="connsiteY7" fmla="*/ 171573 h 181423"/>
                  <a:gd name="connsiteX8" fmla="*/ 171545 w 181423"/>
                  <a:gd name="connsiteY8" fmla="*/ 90740 h 181423"/>
                  <a:gd name="connsiteX9" fmla="*/ 90712 w 181423"/>
                  <a:gd name="connsiteY9" fmla="*/ 9908 h 18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423" h="181423">
                    <a:moveTo>
                      <a:pt x="90712" y="181424"/>
                    </a:moveTo>
                    <a:cubicBezTo>
                      <a:pt x="40688" y="181424"/>
                      <a:pt x="0" y="140736"/>
                      <a:pt x="0" y="90712"/>
                    </a:cubicBezTo>
                    <a:cubicBezTo>
                      <a:pt x="0" y="40688"/>
                      <a:pt x="40688" y="0"/>
                      <a:pt x="90712" y="0"/>
                    </a:cubicBezTo>
                    <a:cubicBezTo>
                      <a:pt x="140736" y="0"/>
                      <a:pt x="181424" y="40688"/>
                      <a:pt x="181424" y="90712"/>
                    </a:cubicBezTo>
                    <a:cubicBezTo>
                      <a:pt x="181424" y="140736"/>
                      <a:pt x="140736" y="181424"/>
                      <a:pt x="90712" y="181424"/>
                    </a:cubicBezTo>
                    <a:close/>
                    <a:moveTo>
                      <a:pt x="90712" y="9908"/>
                    </a:moveTo>
                    <a:cubicBezTo>
                      <a:pt x="46141" y="9908"/>
                      <a:pt x="9879" y="46170"/>
                      <a:pt x="9879" y="90740"/>
                    </a:cubicBezTo>
                    <a:cubicBezTo>
                      <a:pt x="9879" y="135311"/>
                      <a:pt x="46141" y="171573"/>
                      <a:pt x="90712" y="171573"/>
                    </a:cubicBezTo>
                    <a:cubicBezTo>
                      <a:pt x="135283" y="171573"/>
                      <a:pt x="171545" y="135311"/>
                      <a:pt x="171545" y="90740"/>
                    </a:cubicBezTo>
                    <a:cubicBezTo>
                      <a:pt x="171545" y="46141"/>
                      <a:pt x="135283" y="9908"/>
                      <a:pt x="90712" y="9908"/>
                    </a:cubicBezTo>
                    <a:close/>
                  </a:path>
                </a:pathLst>
              </a:custGeom>
              <a:grpFill/>
              <a:ln w="2851" cap="flat">
                <a:noFill/>
                <a:prstDash val="solid"/>
                <a:miter/>
              </a:ln>
            </p:spPr>
            <p:txBody>
              <a:bodyPr rtlCol="0" anchor="ctr"/>
              <a:lstStyle/>
              <a:p>
                <a:endParaRPr lang="en-GB" dirty="0"/>
              </a:p>
            </p:txBody>
          </p:sp>
          <p:grpSp>
            <p:nvGrpSpPr>
              <p:cNvPr id="514" name="Grafik 34">
                <a:extLst>
                  <a:ext uri="{FF2B5EF4-FFF2-40B4-BE49-F238E27FC236}">
                    <a16:creationId xmlns:a16="http://schemas.microsoft.com/office/drawing/2014/main" id="{DE9ADA5D-E9AF-4F6B-8226-08DA88DAC6AC}"/>
                  </a:ext>
                </a:extLst>
              </p:cNvPr>
              <p:cNvGrpSpPr/>
              <p:nvPr/>
            </p:nvGrpSpPr>
            <p:grpSpPr>
              <a:xfrm>
                <a:off x="2447886" y="2789338"/>
                <a:ext cx="119607" cy="143620"/>
                <a:chOff x="2447886" y="2789338"/>
                <a:chExt cx="119607" cy="143620"/>
              </a:xfrm>
              <a:grpFill/>
            </p:grpSpPr>
            <p:grpSp>
              <p:nvGrpSpPr>
                <p:cNvPr id="528" name="Grafik 34">
                  <a:extLst>
                    <a:ext uri="{FF2B5EF4-FFF2-40B4-BE49-F238E27FC236}">
                      <a16:creationId xmlns:a16="http://schemas.microsoft.com/office/drawing/2014/main" id="{8BC81CF8-4310-42FD-BB1E-F447187CDD2D}"/>
                    </a:ext>
                  </a:extLst>
                </p:cNvPr>
                <p:cNvGrpSpPr/>
                <p:nvPr/>
              </p:nvGrpSpPr>
              <p:grpSpPr>
                <a:xfrm>
                  <a:off x="2447886" y="2862176"/>
                  <a:ext cx="119607" cy="70782"/>
                  <a:chOff x="2447886" y="2862176"/>
                  <a:chExt cx="119607" cy="70782"/>
                </a:xfrm>
                <a:grpFill/>
              </p:grpSpPr>
              <p:sp>
                <p:nvSpPr>
                  <p:cNvPr id="530" name="Freihandform: Form 431">
                    <a:extLst>
                      <a:ext uri="{FF2B5EF4-FFF2-40B4-BE49-F238E27FC236}">
                        <a16:creationId xmlns:a16="http://schemas.microsoft.com/office/drawing/2014/main" id="{43CECB7A-B1DC-451B-AED1-6913DE0202A3}"/>
                      </a:ext>
                    </a:extLst>
                  </p:cNvPr>
                  <p:cNvSpPr/>
                  <p:nvPr/>
                </p:nvSpPr>
                <p:spPr>
                  <a:xfrm>
                    <a:off x="2469015" y="2904291"/>
                    <a:ext cx="9879" cy="25925"/>
                  </a:xfrm>
                  <a:custGeom>
                    <a:avLst/>
                    <a:gdLst>
                      <a:gd name="connsiteX0" fmla="*/ 4940 w 9879"/>
                      <a:gd name="connsiteY0" fmla="*/ 25926 h 25925"/>
                      <a:gd name="connsiteX1" fmla="*/ 0 w 9879"/>
                      <a:gd name="connsiteY1" fmla="*/ 20986 h 25925"/>
                      <a:gd name="connsiteX2" fmla="*/ 0 w 9879"/>
                      <a:gd name="connsiteY2" fmla="*/ 4940 h 25925"/>
                      <a:gd name="connsiteX3" fmla="*/ 4940 w 9879"/>
                      <a:gd name="connsiteY3" fmla="*/ 0 h 25925"/>
                      <a:gd name="connsiteX4" fmla="*/ 9879 w 9879"/>
                      <a:gd name="connsiteY4" fmla="*/ 4940 h 25925"/>
                      <a:gd name="connsiteX5" fmla="*/ 9879 w 9879"/>
                      <a:gd name="connsiteY5" fmla="*/ 20986 h 25925"/>
                      <a:gd name="connsiteX6" fmla="*/ 4940 w 9879"/>
                      <a:gd name="connsiteY6" fmla="*/ 25926 h 2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5925">
                        <a:moveTo>
                          <a:pt x="4940" y="25926"/>
                        </a:moveTo>
                        <a:cubicBezTo>
                          <a:pt x="2199" y="25926"/>
                          <a:pt x="0" y="23699"/>
                          <a:pt x="0" y="20986"/>
                        </a:cubicBezTo>
                        <a:lnTo>
                          <a:pt x="0" y="4940"/>
                        </a:lnTo>
                        <a:cubicBezTo>
                          <a:pt x="0" y="2199"/>
                          <a:pt x="2227" y="0"/>
                          <a:pt x="4940" y="0"/>
                        </a:cubicBezTo>
                        <a:cubicBezTo>
                          <a:pt x="7681" y="0"/>
                          <a:pt x="9879" y="2227"/>
                          <a:pt x="9879" y="4940"/>
                        </a:cubicBezTo>
                        <a:lnTo>
                          <a:pt x="9879" y="20986"/>
                        </a:lnTo>
                        <a:cubicBezTo>
                          <a:pt x="9879" y="23699"/>
                          <a:pt x="7652" y="25926"/>
                          <a:pt x="4940" y="25926"/>
                        </a:cubicBezTo>
                        <a:close/>
                      </a:path>
                    </a:pathLst>
                  </a:custGeom>
                  <a:grpFill/>
                  <a:ln w="2851" cap="flat">
                    <a:noFill/>
                    <a:prstDash val="solid"/>
                    <a:miter/>
                  </a:ln>
                </p:spPr>
                <p:txBody>
                  <a:bodyPr rtlCol="0" anchor="ctr"/>
                  <a:lstStyle/>
                  <a:p>
                    <a:endParaRPr lang="en-GB" dirty="0"/>
                  </a:p>
                </p:txBody>
              </p:sp>
              <p:sp>
                <p:nvSpPr>
                  <p:cNvPr id="531" name="Freihandform: Form 432">
                    <a:extLst>
                      <a:ext uri="{FF2B5EF4-FFF2-40B4-BE49-F238E27FC236}">
                        <a16:creationId xmlns:a16="http://schemas.microsoft.com/office/drawing/2014/main" id="{0AAE9BD4-F8B1-49D1-B991-6E416B5A4A50}"/>
                      </a:ext>
                    </a:extLst>
                  </p:cNvPr>
                  <p:cNvSpPr/>
                  <p:nvPr/>
                </p:nvSpPr>
                <p:spPr>
                  <a:xfrm>
                    <a:off x="2447886" y="2862176"/>
                    <a:ext cx="51966" cy="55677"/>
                  </a:xfrm>
                  <a:custGeom>
                    <a:avLst/>
                    <a:gdLst>
                      <a:gd name="connsiteX0" fmla="*/ 4940 w 51966"/>
                      <a:gd name="connsiteY0" fmla="*/ 55678 h 55677"/>
                      <a:gd name="connsiteX1" fmla="*/ 0 w 51966"/>
                      <a:gd name="connsiteY1" fmla="*/ 50738 h 55677"/>
                      <a:gd name="connsiteX2" fmla="*/ 0 w 51966"/>
                      <a:gd name="connsiteY2" fmla="*/ 27182 h 55677"/>
                      <a:gd name="connsiteX3" fmla="*/ 24641 w 51966"/>
                      <a:gd name="connsiteY3" fmla="*/ 5339 h 55677"/>
                      <a:gd name="connsiteX4" fmla="*/ 40859 w 51966"/>
                      <a:gd name="connsiteY4" fmla="*/ 5339 h 55677"/>
                      <a:gd name="connsiteX5" fmla="*/ 42201 w 51966"/>
                      <a:gd name="connsiteY5" fmla="*/ 4683 h 55677"/>
                      <a:gd name="connsiteX6" fmla="*/ 47169 w 51966"/>
                      <a:gd name="connsiteY6" fmla="*/ 0 h 55677"/>
                      <a:gd name="connsiteX7" fmla="*/ 51966 w 51966"/>
                      <a:gd name="connsiteY7" fmla="*/ 5197 h 55677"/>
                      <a:gd name="connsiteX8" fmla="*/ 41373 w 51966"/>
                      <a:gd name="connsiteY8" fmla="*/ 15219 h 55677"/>
                      <a:gd name="connsiteX9" fmla="*/ 24670 w 51966"/>
                      <a:gd name="connsiteY9" fmla="*/ 15247 h 55677"/>
                      <a:gd name="connsiteX10" fmla="*/ 9908 w 51966"/>
                      <a:gd name="connsiteY10" fmla="*/ 27182 h 55677"/>
                      <a:gd name="connsiteX11" fmla="*/ 9908 w 51966"/>
                      <a:gd name="connsiteY11" fmla="*/ 50738 h 55677"/>
                      <a:gd name="connsiteX12" fmla="*/ 4940 w 51966"/>
                      <a:gd name="connsiteY12" fmla="*/ 55678 h 5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66" h="55677">
                        <a:moveTo>
                          <a:pt x="4940" y="55678"/>
                        </a:moveTo>
                        <a:cubicBezTo>
                          <a:pt x="2199" y="55678"/>
                          <a:pt x="0" y="53451"/>
                          <a:pt x="0" y="50738"/>
                        </a:cubicBezTo>
                        <a:lnTo>
                          <a:pt x="0" y="27182"/>
                        </a:lnTo>
                        <a:cubicBezTo>
                          <a:pt x="0" y="9908"/>
                          <a:pt x="16132" y="5339"/>
                          <a:pt x="24641" y="5339"/>
                        </a:cubicBezTo>
                        <a:lnTo>
                          <a:pt x="40859" y="5339"/>
                        </a:lnTo>
                        <a:cubicBezTo>
                          <a:pt x="41002" y="5282"/>
                          <a:pt x="41973" y="4940"/>
                          <a:pt x="42201" y="4683"/>
                        </a:cubicBezTo>
                        <a:cubicBezTo>
                          <a:pt x="42258" y="1942"/>
                          <a:pt x="44457" y="86"/>
                          <a:pt x="47169" y="0"/>
                        </a:cubicBezTo>
                        <a:cubicBezTo>
                          <a:pt x="49910" y="57"/>
                          <a:pt x="51994" y="2484"/>
                          <a:pt x="51966" y="5197"/>
                        </a:cubicBezTo>
                        <a:cubicBezTo>
                          <a:pt x="51852" y="11364"/>
                          <a:pt x="46398" y="14705"/>
                          <a:pt x="41373" y="15219"/>
                        </a:cubicBezTo>
                        <a:lnTo>
                          <a:pt x="24670" y="15247"/>
                        </a:lnTo>
                        <a:cubicBezTo>
                          <a:pt x="23185" y="15247"/>
                          <a:pt x="9908" y="15704"/>
                          <a:pt x="9908" y="27182"/>
                        </a:cubicBezTo>
                        <a:lnTo>
                          <a:pt x="9908" y="50738"/>
                        </a:lnTo>
                        <a:cubicBezTo>
                          <a:pt x="9879" y="53479"/>
                          <a:pt x="7681" y="55678"/>
                          <a:pt x="4940" y="55678"/>
                        </a:cubicBezTo>
                        <a:close/>
                      </a:path>
                    </a:pathLst>
                  </a:custGeom>
                  <a:grpFill/>
                  <a:ln w="2851" cap="flat">
                    <a:noFill/>
                    <a:prstDash val="solid"/>
                    <a:miter/>
                  </a:ln>
                </p:spPr>
                <p:txBody>
                  <a:bodyPr rtlCol="0" anchor="ctr"/>
                  <a:lstStyle/>
                  <a:p>
                    <a:endParaRPr lang="en-GB" dirty="0"/>
                  </a:p>
                </p:txBody>
              </p:sp>
              <p:sp>
                <p:nvSpPr>
                  <p:cNvPr id="532" name="Freihandform: Form 433">
                    <a:extLst>
                      <a:ext uri="{FF2B5EF4-FFF2-40B4-BE49-F238E27FC236}">
                        <a16:creationId xmlns:a16="http://schemas.microsoft.com/office/drawing/2014/main" id="{07B3D69C-BE0F-4C36-B530-A74C1A328217}"/>
                      </a:ext>
                    </a:extLst>
                  </p:cNvPr>
                  <p:cNvSpPr/>
                  <p:nvPr/>
                </p:nvSpPr>
                <p:spPr>
                  <a:xfrm>
                    <a:off x="2536542" y="2904662"/>
                    <a:ext cx="9879" cy="28295"/>
                  </a:xfrm>
                  <a:custGeom>
                    <a:avLst/>
                    <a:gdLst>
                      <a:gd name="connsiteX0" fmla="*/ 4940 w 9879"/>
                      <a:gd name="connsiteY0" fmla="*/ 28296 h 28295"/>
                      <a:gd name="connsiteX1" fmla="*/ 0 w 9879"/>
                      <a:gd name="connsiteY1" fmla="*/ 23356 h 28295"/>
                      <a:gd name="connsiteX2" fmla="*/ 0 w 9879"/>
                      <a:gd name="connsiteY2" fmla="*/ 4940 h 28295"/>
                      <a:gd name="connsiteX3" fmla="*/ 4940 w 9879"/>
                      <a:gd name="connsiteY3" fmla="*/ 0 h 28295"/>
                      <a:gd name="connsiteX4" fmla="*/ 9879 w 9879"/>
                      <a:gd name="connsiteY4" fmla="*/ 4940 h 28295"/>
                      <a:gd name="connsiteX5" fmla="*/ 9879 w 9879"/>
                      <a:gd name="connsiteY5" fmla="*/ 23356 h 28295"/>
                      <a:gd name="connsiteX6" fmla="*/ 4940 w 9879"/>
                      <a:gd name="connsiteY6" fmla="*/ 28296 h 2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8295">
                        <a:moveTo>
                          <a:pt x="4940" y="28296"/>
                        </a:moveTo>
                        <a:cubicBezTo>
                          <a:pt x="2199" y="28296"/>
                          <a:pt x="0" y="26069"/>
                          <a:pt x="0" y="23356"/>
                        </a:cubicBezTo>
                        <a:lnTo>
                          <a:pt x="0" y="4940"/>
                        </a:lnTo>
                        <a:cubicBezTo>
                          <a:pt x="0" y="2199"/>
                          <a:pt x="2227" y="0"/>
                          <a:pt x="4940" y="0"/>
                        </a:cubicBezTo>
                        <a:cubicBezTo>
                          <a:pt x="7681" y="0"/>
                          <a:pt x="9879" y="2227"/>
                          <a:pt x="9879" y="4940"/>
                        </a:cubicBezTo>
                        <a:lnTo>
                          <a:pt x="9879" y="23356"/>
                        </a:lnTo>
                        <a:cubicBezTo>
                          <a:pt x="9879" y="26069"/>
                          <a:pt x="7652" y="28296"/>
                          <a:pt x="4940" y="28296"/>
                        </a:cubicBezTo>
                        <a:close/>
                      </a:path>
                    </a:pathLst>
                  </a:custGeom>
                  <a:grpFill/>
                  <a:ln w="2851" cap="flat">
                    <a:noFill/>
                    <a:prstDash val="solid"/>
                    <a:miter/>
                  </a:ln>
                </p:spPr>
                <p:txBody>
                  <a:bodyPr rtlCol="0" anchor="ctr"/>
                  <a:lstStyle/>
                  <a:p>
                    <a:endParaRPr lang="en-GB" dirty="0"/>
                  </a:p>
                </p:txBody>
              </p:sp>
              <p:sp>
                <p:nvSpPr>
                  <p:cNvPr id="533" name="Freihandform: Form 434">
                    <a:extLst>
                      <a:ext uri="{FF2B5EF4-FFF2-40B4-BE49-F238E27FC236}">
                        <a16:creationId xmlns:a16="http://schemas.microsoft.com/office/drawing/2014/main" id="{6731CA98-0006-4F38-BB55-5A0A28193D33}"/>
                      </a:ext>
                    </a:extLst>
                  </p:cNvPr>
                  <p:cNvSpPr/>
                  <p:nvPr/>
                </p:nvSpPr>
                <p:spPr>
                  <a:xfrm>
                    <a:off x="2516898" y="2862376"/>
                    <a:ext cx="50595" cy="54792"/>
                  </a:xfrm>
                  <a:custGeom>
                    <a:avLst/>
                    <a:gdLst>
                      <a:gd name="connsiteX0" fmla="*/ 45684 w 50595"/>
                      <a:gd name="connsiteY0" fmla="*/ 54793 h 54792"/>
                      <a:gd name="connsiteX1" fmla="*/ 40745 w 50595"/>
                      <a:gd name="connsiteY1" fmla="*/ 49853 h 54792"/>
                      <a:gd name="connsiteX2" fmla="*/ 40745 w 50595"/>
                      <a:gd name="connsiteY2" fmla="*/ 26982 h 54792"/>
                      <a:gd name="connsiteX3" fmla="*/ 25983 w 50595"/>
                      <a:gd name="connsiteY3" fmla="*/ 15047 h 54792"/>
                      <a:gd name="connsiteX4" fmla="*/ 9765 w 50595"/>
                      <a:gd name="connsiteY4" fmla="*/ 15047 h 54792"/>
                      <a:gd name="connsiteX5" fmla="*/ 2941 w 50595"/>
                      <a:gd name="connsiteY5" fmla="*/ 12392 h 54792"/>
                      <a:gd name="connsiteX6" fmla="*/ 0 w 50595"/>
                      <a:gd name="connsiteY6" fmla="*/ 4968 h 54792"/>
                      <a:gd name="connsiteX7" fmla="*/ 4911 w 50595"/>
                      <a:gd name="connsiteY7" fmla="*/ 0 h 54792"/>
                      <a:gd name="connsiteX8" fmla="*/ 4940 w 50595"/>
                      <a:gd name="connsiteY8" fmla="*/ 0 h 54792"/>
                      <a:gd name="connsiteX9" fmla="*/ 9879 w 50595"/>
                      <a:gd name="connsiteY9" fmla="*/ 4940 h 54792"/>
                      <a:gd name="connsiteX10" fmla="*/ 9936 w 50595"/>
                      <a:gd name="connsiteY10" fmla="*/ 5511 h 54792"/>
                      <a:gd name="connsiteX11" fmla="*/ 25954 w 50595"/>
                      <a:gd name="connsiteY11" fmla="*/ 5197 h 54792"/>
                      <a:gd name="connsiteX12" fmla="*/ 50595 w 50595"/>
                      <a:gd name="connsiteY12" fmla="*/ 27039 h 54792"/>
                      <a:gd name="connsiteX13" fmla="*/ 50595 w 50595"/>
                      <a:gd name="connsiteY13" fmla="*/ 49910 h 54792"/>
                      <a:gd name="connsiteX14" fmla="*/ 45684 w 50595"/>
                      <a:gd name="connsiteY14" fmla="*/ 54793 h 5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595" h="54792">
                        <a:moveTo>
                          <a:pt x="45684" y="54793"/>
                        </a:moveTo>
                        <a:cubicBezTo>
                          <a:pt x="42943" y="54793"/>
                          <a:pt x="40745" y="52566"/>
                          <a:pt x="40745" y="49853"/>
                        </a:cubicBezTo>
                        <a:lnTo>
                          <a:pt x="40745" y="26982"/>
                        </a:lnTo>
                        <a:cubicBezTo>
                          <a:pt x="40745" y="15190"/>
                          <a:pt x="26583" y="15047"/>
                          <a:pt x="25983" y="15047"/>
                        </a:cubicBezTo>
                        <a:lnTo>
                          <a:pt x="9765" y="15047"/>
                        </a:lnTo>
                        <a:cubicBezTo>
                          <a:pt x="9251" y="15076"/>
                          <a:pt x="5739" y="15047"/>
                          <a:pt x="2941" y="12392"/>
                        </a:cubicBezTo>
                        <a:cubicBezTo>
                          <a:pt x="1599" y="11107"/>
                          <a:pt x="29" y="8794"/>
                          <a:pt x="0" y="4968"/>
                        </a:cubicBezTo>
                        <a:cubicBezTo>
                          <a:pt x="0" y="2227"/>
                          <a:pt x="2199" y="0"/>
                          <a:pt x="4911" y="0"/>
                        </a:cubicBezTo>
                        <a:cubicBezTo>
                          <a:pt x="4911" y="0"/>
                          <a:pt x="4940" y="0"/>
                          <a:pt x="4940" y="0"/>
                        </a:cubicBezTo>
                        <a:cubicBezTo>
                          <a:pt x="7652" y="0"/>
                          <a:pt x="9879" y="2199"/>
                          <a:pt x="9879" y="4940"/>
                        </a:cubicBezTo>
                        <a:cubicBezTo>
                          <a:pt x="9879" y="5339"/>
                          <a:pt x="9936" y="5511"/>
                          <a:pt x="9936" y="5511"/>
                        </a:cubicBezTo>
                        <a:lnTo>
                          <a:pt x="25954" y="5197"/>
                        </a:lnTo>
                        <a:cubicBezTo>
                          <a:pt x="34492" y="5197"/>
                          <a:pt x="50595" y="9765"/>
                          <a:pt x="50595" y="27039"/>
                        </a:cubicBezTo>
                        <a:lnTo>
                          <a:pt x="50595" y="49910"/>
                        </a:lnTo>
                        <a:cubicBezTo>
                          <a:pt x="50624" y="52594"/>
                          <a:pt x="48425" y="54793"/>
                          <a:pt x="45684" y="54793"/>
                        </a:cubicBezTo>
                        <a:close/>
                      </a:path>
                    </a:pathLst>
                  </a:custGeom>
                  <a:grpFill/>
                  <a:ln w="2851" cap="flat">
                    <a:noFill/>
                    <a:prstDash val="solid"/>
                    <a:miter/>
                  </a:ln>
                </p:spPr>
                <p:txBody>
                  <a:bodyPr rtlCol="0" anchor="ctr"/>
                  <a:lstStyle/>
                  <a:p>
                    <a:endParaRPr lang="en-GB" dirty="0"/>
                  </a:p>
                </p:txBody>
              </p:sp>
            </p:grpSp>
            <p:sp>
              <p:nvSpPr>
                <p:cNvPr id="529" name="Freihandform: Form 435">
                  <a:extLst>
                    <a:ext uri="{FF2B5EF4-FFF2-40B4-BE49-F238E27FC236}">
                      <a16:creationId xmlns:a16="http://schemas.microsoft.com/office/drawing/2014/main" id="{93BE0F06-1A75-40BB-A4FF-5FB66BDF089F}"/>
                    </a:ext>
                  </a:extLst>
                </p:cNvPr>
                <p:cNvSpPr/>
                <p:nvPr/>
              </p:nvSpPr>
              <p:spPr>
                <a:xfrm>
                  <a:off x="2475125" y="2789338"/>
                  <a:ext cx="65157" cy="72552"/>
                </a:xfrm>
                <a:custGeom>
                  <a:avLst/>
                  <a:gdLst>
                    <a:gd name="connsiteX0" fmla="*/ 32579 w 65157"/>
                    <a:gd name="connsiteY0" fmla="*/ 72552 h 72552"/>
                    <a:gd name="connsiteX1" fmla="*/ 0 w 65157"/>
                    <a:gd name="connsiteY1" fmla="*/ 36262 h 72552"/>
                    <a:gd name="connsiteX2" fmla="*/ 32579 w 65157"/>
                    <a:gd name="connsiteY2" fmla="*/ 0 h 72552"/>
                    <a:gd name="connsiteX3" fmla="*/ 65157 w 65157"/>
                    <a:gd name="connsiteY3" fmla="*/ 36262 h 72552"/>
                    <a:gd name="connsiteX4" fmla="*/ 32579 w 65157"/>
                    <a:gd name="connsiteY4" fmla="*/ 72552 h 72552"/>
                    <a:gd name="connsiteX5" fmla="*/ 32579 w 65157"/>
                    <a:gd name="connsiteY5" fmla="*/ 9908 h 72552"/>
                    <a:gd name="connsiteX6" fmla="*/ 9879 w 65157"/>
                    <a:gd name="connsiteY6" fmla="*/ 36290 h 72552"/>
                    <a:gd name="connsiteX7" fmla="*/ 32579 w 65157"/>
                    <a:gd name="connsiteY7" fmla="*/ 62673 h 72552"/>
                    <a:gd name="connsiteX8" fmla="*/ 55278 w 65157"/>
                    <a:gd name="connsiteY8" fmla="*/ 36290 h 72552"/>
                    <a:gd name="connsiteX9" fmla="*/ 32579 w 65157"/>
                    <a:gd name="connsiteY9" fmla="*/ 9908 h 7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57" h="72552">
                      <a:moveTo>
                        <a:pt x="32579" y="72552"/>
                      </a:moveTo>
                      <a:cubicBezTo>
                        <a:pt x="14619" y="72552"/>
                        <a:pt x="0" y="56277"/>
                        <a:pt x="0" y="36262"/>
                      </a:cubicBezTo>
                      <a:cubicBezTo>
                        <a:pt x="0" y="16246"/>
                        <a:pt x="14619" y="0"/>
                        <a:pt x="32579" y="0"/>
                      </a:cubicBezTo>
                      <a:cubicBezTo>
                        <a:pt x="50538" y="0"/>
                        <a:pt x="65157" y="16275"/>
                        <a:pt x="65157" y="36262"/>
                      </a:cubicBezTo>
                      <a:cubicBezTo>
                        <a:pt x="65157" y="56277"/>
                        <a:pt x="50538" y="72552"/>
                        <a:pt x="32579" y="72552"/>
                      </a:cubicBezTo>
                      <a:close/>
                      <a:moveTo>
                        <a:pt x="32579" y="9908"/>
                      </a:moveTo>
                      <a:cubicBezTo>
                        <a:pt x="20073" y="9908"/>
                        <a:pt x="9879" y="21757"/>
                        <a:pt x="9879" y="36290"/>
                      </a:cubicBezTo>
                      <a:cubicBezTo>
                        <a:pt x="9879" y="50852"/>
                        <a:pt x="20073" y="62673"/>
                        <a:pt x="32579" y="62673"/>
                      </a:cubicBezTo>
                      <a:cubicBezTo>
                        <a:pt x="45085" y="62673"/>
                        <a:pt x="55278" y="50824"/>
                        <a:pt x="55278" y="36290"/>
                      </a:cubicBezTo>
                      <a:cubicBezTo>
                        <a:pt x="55278" y="21729"/>
                        <a:pt x="45085" y="9908"/>
                        <a:pt x="32579" y="9908"/>
                      </a:cubicBezTo>
                      <a:close/>
                    </a:path>
                  </a:pathLst>
                </a:custGeom>
                <a:grpFill/>
                <a:ln w="2851" cap="flat">
                  <a:noFill/>
                  <a:prstDash val="solid"/>
                  <a:miter/>
                </a:ln>
              </p:spPr>
              <p:txBody>
                <a:bodyPr rtlCol="0" anchor="ctr"/>
                <a:lstStyle/>
                <a:p>
                  <a:endParaRPr lang="en-GB" dirty="0"/>
                </a:p>
              </p:txBody>
            </p:sp>
          </p:grpSp>
          <p:sp>
            <p:nvSpPr>
              <p:cNvPr id="515" name="Freihandform: Form 436">
                <a:extLst>
                  <a:ext uri="{FF2B5EF4-FFF2-40B4-BE49-F238E27FC236}">
                    <a16:creationId xmlns:a16="http://schemas.microsoft.com/office/drawing/2014/main" id="{92F913F1-8F48-4ABD-8BCA-E2F7308B59A5}"/>
                  </a:ext>
                </a:extLst>
              </p:cNvPr>
              <p:cNvSpPr/>
              <p:nvPr/>
            </p:nvSpPr>
            <p:spPr>
              <a:xfrm>
                <a:off x="2416992" y="2759329"/>
                <a:ext cx="181423" cy="181423"/>
              </a:xfrm>
              <a:custGeom>
                <a:avLst/>
                <a:gdLst>
                  <a:gd name="connsiteX0" fmla="*/ 90712 w 181423"/>
                  <a:gd name="connsiteY0" fmla="*/ 181424 h 181423"/>
                  <a:gd name="connsiteX1" fmla="*/ 0 w 181423"/>
                  <a:gd name="connsiteY1" fmla="*/ 90712 h 181423"/>
                  <a:gd name="connsiteX2" fmla="*/ 90712 w 181423"/>
                  <a:gd name="connsiteY2" fmla="*/ 0 h 181423"/>
                  <a:gd name="connsiteX3" fmla="*/ 181424 w 181423"/>
                  <a:gd name="connsiteY3" fmla="*/ 90712 h 181423"/>
                  <a:gd name="connsiteX4" fmla="*/ 90712 w 181423"/>
                  <a:gd name="connsiteY4" fmla="*/ 181424 h 181423"/>
                  <a:gd name="connsiteX5" fmla="*/ 90712 w 181423"/>
                  <a:gd name="connsiteY5" fmla="*/ 9879 h 181423"/>
                  <a:gd name="connsiteX6" fmla="*/ 9879 w 181423"/>
                  <a:gd name="connsiteY6" fmla="*/ 90712 h 181423"/>
                  <a:gd name="connsiteX7" fmla="*/ 90712 w 181423"/>
                  <a:gd name="connsiteY7" fmla="*/ 171545 h 181423"/>
                  <a:gd name="connsiteX8" fmla="*/ 171545 w 181423"/>
                  <a:gd name="connsiteY8" fmla="*/ 90712 h 181423"/>
                  <a:gd name="connsiteX9" fmla="*/ 90712 w 181423"/>
                  <a:gd name="connsiteY9" fmla="*/ 9879 h 18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423" h="181423">
                    <a:moveTo>
                      <a:pt x="90712" y="181424"/>
                    </a:moveTo>
                    <a:cubicBezTo>
                      <a:pt x="40688" y="181424"/>
                      <a:pt x="0" y="140736"/>
                      <a:pt x="0" y="90712"/>
                    </a:cubicBezTo>
                    <a:cubicBezTo>
                      <a:pt x="0" y="40688"/>
                      <a:pt x="40688" y="0"/>
                      <a:pt x="90712" y="0"/>
                    </a:cubicBezTo>
                    <a:cubicBezTo>
                      <a:pt x="140736" y="0"/>
                      <a:pt x="181424" y="40688"/>
                      <a:pt x="181424" y="90712"/>
                    </a:cubicBezTo>
                    <a:cubicBezTo>
                      <a:pt x="181424" y="140736"/>
                      <a:pt x="140736" y="181424"/>
                      <a:pt x="90712" y="181424"/>
                    </a:cubicBezTo>
                    <a:close/>
                    <a:moveTo>
                      <a:pt x="90712" y="9879"/>
                    </a:moveTo>
                    <a:cubicBezTo>
                      <a:pt x="46141" y="9879"/>
                      <a:pt x="9879" y="46141"/>
                      <a:pt x="9879" y="90712"/>
                    </a:cubicBezTo>
                    <a:cubicBezTo>
                      <a:pt x="9879" y="135283"/>
                      <a:pt x="46141" y="171545"/>
                      <a:pt x="90712" y="171545"/>
                    </a:cubicBezTo>
                    <a:cubicBezTo>
                      <a:pt x="135283" y="171545"/>
                      <a:pt x="171545" y="135283"/>
                      <a:pt x="171545" y="90712"/>
                    </a:cubicBezTo>
                    <a:cubicBezTo>
                      <a:pt x="171545" y="46141"/>
                      <a:pt x="135283" y="9879"/>
                      <a:pt x="90712" y="9879"/>
                    </a:cubicBezTo>
                    <a:close/>
                  </a:path>
                </a:pathLst>
              </a:custGeom>
              <a:grpFill/>
              <a:ln w="2851" cap="flat">
                <a:noFill/>
                <a:prstDash val="solid"/>
                <a:miter/>
              </a:ln>
            </p:spPr>
            <p:txBody>
              <a:bodyPr rtlCol="0" anchor="ctr"/>
              <a:lstStyle/>
              <a:p>
                <a:endParaRPr lang="en-GB" dirty="0"/>
              </a:p>
            </p:txBody>
          </p:sp>
          <p:grpSp>
            <p:nvGrpSpPr>
              <p:cNvPr id="516" name="Grafik 34">
                <a:extLst>
                  <a:ext uri="{FF2B5EF4-FFF2-40B4-BE49-F238E27FC236}">
                    <a16:creationId xmlns:a16="http://schemas.microsoft.com/office/drawing/2014/main" id="{46D93E37-4B02-4988-AF91-341A61EEB524}"/>
                  </a:ext>
                </a:extLst>
              </p:cNvPr>
              <p:cNvGrpSpPr/>
              <p:nvPr/>
            </p:nvGrpSpPr>
            <p:grpSpPr>
              <a:xfrm>
                <a:off x="2916322" y="2789338"/>
                <a:ext cx="119579" cy="143620"/>
                <a:chOff x="2916322" y="2789338"/>
                <a:chExt cx="119579" cy="143620"/>
              </a:xfrm>
              <a:grpFill/>
            </p:grpSpPr>
            <p:grpSp>
              <p:nvGrpSpPr>
                <p:cNvPr id="522" name="Grafik 34">
                  <a:extLst>
                    <a:ext uri="{FF2B5EF4-FFF2-40B4-BE49-F238E27FC236}">
                      <a16:creationId xmlns:a16="http://schemas.microsoft.com/office/drawing/2014/main" id="{969253DE-A740-4A5A-8B0E-C626D1C5B417}"/>
                    </a:ext>
                  </a:extLst>
                </p:cNvPr>
                <p:cNvGrpSpPr/>
                <p:nvPr/>
              </p:nvGrpSpPr>
              <p:grpSpPr>
                <a:xfrm>
                  <a:off x="2916322" y="2862176"/>
                  <a:ext cx="119579" cy="70782"/>
                  <a:chOff x="2916322" y="2862176"/>
                  <a:chExt cx="119579" cy="70782"/>
                </a:xfrm>
                <a:grpFill/>
              </p:grpSpPr>
              <p:sp>
                <p:nvSpPr>
                  <p:cNvPr id="524" name="Freihandform: Form 440">
                    <a:extLst>
                      <a:ext uri="{FF2B5EF4-FFF2-40B4-BE49-F238E27FC236}">
                        <a16:creationId xmlns:a16="http://schemas.microsoft.com/office/drawing/2014/main" id="{8938109A-0B06-4C7D-8EB3-DD1DAFA77545}"/>
                      </a:ext>
                    </a:extLst>
                  </p:cNvPr>
                  <p:cNvSpPr/>
                  <p:nvPr/>
                </p:nvSpPr>
                <p:spPr>
                  <a:xfrm>
                    <a:off x="2937422" y="2904291"/>
                    <a:ext cx="9879" cy="25925"/>
                  </a:xfrm>
                  <a:custGeom>
                    <a:avLst/>
                    <a:gdLst>
                      <a:gd name="connsiteX0" fmla="*/ 4940 w 9879"/>
                      <a:gd name="connsiteY0" fmla="*/ 25926 h 25925"/>
                      <a:gd name="connsiteX1" fmla="*/ 0 w 9879"/>
                      <a:gd name="connsiteY1" fmla="*/ 20986 h 25925"/>
                      <a:gd name="connsiteX2" fmla="*/ 0 w 9879"/>
                      <a:gd name="connsiteY2" fmla="*/ 4940 h 25925"/>
                      <a:gd name="connsiteX3" fmla="*/ 4940 w 9879"/>
                      <a:gd name="connsiteY3" fmla="*/ 0 h 25925"/>
                      <a:gd name="connsiteX4" fmla="*/ 9879 w 9879"/>
                      <a:gd name="connsiteY4" fmla="*/ 4940 h 25925"/>
                      <a:gd name="connsiteX5" fmla="*/ 9879 w 9879"/>
                      <a:gd name="connsiteY5" fmla="*/ 20986 h 25925"/>
                      <a:gd name="connsiteX6" fmla="*/ 4940 w 9879"/>
                      <a:gd name="connsiteY6" fmla="*/ 25926 h 2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5925">
                        <a:moveTo>
                          <a:pt x="4940" y="25926"/>
                        </a:moveTo>
                        <a:cubicBezTo>
                          <a:pt x="2198" y="25926"/>
                          <a:pt x="0" y="23699"/>
                          <a:pt x="0" y="20986"/>
                        </a:cubicBezTo>
                        <a:lnTo>
                          <a:pt x="0" y="4940"/>
                        </a:lnTo>
                        <a:cubicBezTo>
                          <a:pt x="0" y="2199"/>
                          <a:pt x="2227" y="0"/>
                          <a:pt x="4940" y="0"/>
                        </a:cubicBezTo>
                        <a:cubicBezTo>
                          <a:pt x="7681" y="0"/>
                          <a:pt x="9879" y="2227"/>
                          <a:pt x="9879" y="4940"/>
                        </a:cubicBezTo>
                        <a:lnTo>
                          <a:pt x="9879" y="20986"/>
                        </a:lnTo>
                        <a:cubicBezTo>
                          <a:pt x="9879" y="23699"/>
                          <a:pt x="7681" y="25926"/>
                          <a:pt x="4940" y="25926"/>
                        </a:cubicBezTo>
                        <a:close/>
                      </a:path>
                    </a:pathLst>
                  </a:custGeom>
                  <a:grpFill/>
                  <a:ln w="2851" cap="flat">
                    <a:noFill/>
                    <a:prstDash val="solid"/>
                    <a:miter/>
                  </a:ln>
                </p:spPr>
                <p:txBody>
                  <a:bodyPr rtlCol="0" anchor="ctr"/>
                  <a:lstStyle/>
                  <a:p>
                    <a:endParaRPr lang="en-GB" dirty="0"/>
                  </a:p>
                </p:txBody>
              </p:sp>
              <p:sp>
                <p:nvSpPr>
                  <p:cNvPr id="525" name="Freihandform: Form 441">
                    <a:extLst>
                      <a:ext uri="{FF2B5EF4-FFF2-40B4-BE49-F238E27FC236}">
                        <a16:creationId xmlns:a16="http://schemas.microsoft.com/office/drawing/2014/main" id="{374F821B-10F6-4A32-80E5-6C1D39D8FDB1}"/>
                      </a:ext>
                    </a:extLst>
                  </p:cNvPr>
                  <p:cNvSpPr/>
                  <p:nvPr/>
                </p:nvSpPr>
                <p:spPr>
                  <a:xfrm>
                    <a:off x="2916322" y="2862176"/>
                    <a:ext cx="51966" cy="55677"/>
                  </a:xfrm>
                  <a:custGeom>
                    <a:avLst/>
                    <a:gdLst>
                      <a:gd name="connsiteX0" fmla="*/ 4940 w 51966"/>
                      <a:gd name="connsiteY0" fmla="*/ 55678 h 55677"/>
                      <a:gd name="connsiteX1" fmla="*/ 0 w 51966"/>
                      <a:gd name="connsiteY1" fmla="*/ 50738 h 55677"/>
                      <a:gd name="connsiteX2" fmla="*/ 0 w 51966"/>
                      <a:gd name="connsiteY2" fmla="*/ 27182 h 55677"/>
                      <a:gd name="connsiteX3" fmla="*/ 24641 w 51966"/>
                      <a:gd name="connsiteY3" fmla="*/ 5339 h 55677"/>
                      <a:gd name="connsiteX4" fmla="*/ 40859 w 51966"/>
                      <a:gd name="connsiteY4" fmla="*/ 5339 h 55677"/>
                      <a:gd name="connsiteX5" fmla="*/ 42201 w 51966"/>
                      <a:gd name="connsiteY5" fmla="*/ 4683 h 55677"/>
                      <a:gd name="connsiteX6" fmla="*/ 47169 w 51966"/>
                      <a:gd name="connsiteY6" fmla="*/ 0 h 55677"/>
                      <a:gd name="connsiteX7" fmla="*/ 51966 w 51966"/>
                      <a:gd name="connsiteY7" fmla="*/ 5197 h 55677"/>
                      <a:gd name="connsiteX8" fmla="*/ 41373 w 51966"/>
                      <a:gd name="connsiteY8" fmla="*/ 15219 h 55677"/>
                      <a:gd name="connsiteX9" fmla="*/ 24670 w 51966"/>
                      <a:gd name="connsiteY9" fmla="*/ 15247 h 55677"/>
                      <a:gd name="connsiteX10" fmla="*/ 9908 w 51966"/>
                      <a:gd name="connsiteY10" fmla="*/ 27182 h 55677"/>
                      <a:gd name="connsiteX11" fmla="*/ 9908 w 51966"/>
                      <a:gd name="connsiteY11" fmla="*/ 50738 h 55677"/>
                      <a:gd name="connsiteX12" fmla="*/ 4940 w 51966"/>
                      <a:gd name="connsiteY12" fmla="*/ 55678 h 5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66" h="55677">
                        <a:moveTo>
                          <a:pt x="4940" y="55678"/>
                        </a:moveTo>
                        <a:cubicBezTo>
                          <a:pt x="2199" y="55678"/>
                          <a:pt x="0" y="53451"/>
                          <a:pt x="0" y="50738"/>
                        </a:cubicBezTo>
                        <a:lnTo>
                          <a:pt x="0" y="27182"/>
                        </a:lnTo>
                        <a:cubicBezTo>
                          <a:pt x="0" y="9908"/>
                          <a:pt x="16132" y="5339"/>
                          <a:pt x="24641" y="5339"/>
                        </a:cubicBezTo>
                        <a:lnTo>
                          <a:pt x="40859" y="5339"/>
                        </a:lnTo>
                        <a:cubicBezTo>
                          <a:pt x="41002" y="5282"/>
                          <a:pt x="41973" y="4940"/>
                          <a:pt x="42201" y="4683"/>
                        </a:cubicBezTo>
                        <a:cubicBezTo>
                          <a:pt x="42258" y="1942"/>
                          <a:pt x="44514" y="86"/>
                          <a:pt x="47169" y="0"/>
                        </a:cubicBezTo>
                        <a:cubicBezTo>
                          <a:pt x="49910" y="57"/>
                          <a:pt x="51995" y="2484"/>
                          <a:pt x="51966" y="5197"/>
                        </a:cubicBezTo>
                        <a:cubicBezTo>
                          <a:pt x="51852" y="11364"/>
                          <a:pt x="46398" y="14705"/>
                          <a:pt x="41373" y="15219"/>
                        </a:cubicBezTo>
                        <a:lnTo>
                          <a:pt x="24670" y="15247"/>
                        </a:lnTo>
                        <a:cubicBezTo>
                          <a:pt x="23185" y="15247"/>
                          <a:pt x="9908" y="15704"/>
                          <a:pt x="9908" y="27182"/>
                        </a:cubicBezTo>
                        <a:lnTo>
                          <a:pt x="9908" y="50738"/>
                        </a:lnTo>
                        <a:cubicBezTo>
                          <a:pt x="9879" y="53479"/>
                          <a:pt x="7652" y="55678"/>
                          <a:pt x="4940" y="55678"/>
                        </a:cubicBezTo>
                        <a:close/>
                      </a:path>
                    </a:pathLst>
                  </a:custGeom>
                  <a:grpFill/>
                  <a:ln w="2851" cap="flat">
                    <a:noFill/>
                    <a:prstDash val="solid"/>
                    <a:miter/>
                  </a:ln>
                </p:spPr>
                <p:txBody>
                  <a:bodyPr rtlCol="0" anchor="ctr"/>
                  <a:lstStyle/>
                  <a:p>
                    <a:endParaRPr lang="en-GB" dirty="0"/>
                  </a:p>
                </p:txBody>
              </p:sp>
              <p:sp>
                <p:nvSpPr>
                  <p:cNvPr id="526" name="Freihandform: Form 442">
                    <a:extLst>
                      <a:ext uri="{FF2B5EF4-FFF2-40B4-BE49-F238E27FC236}">
                        <a16:creationId xmlns:a16="http://schemas.microsoft.com/office/drawing/2014/main" id="{CB873128-3C41-430C-97A7-1DA729AA279F}"/>
                      </a:ext>
                    </a:extLst>
                  </p:cNvPr>
                  <p:cNvSpPr/>
                  <p:nvPr/>
                </p:nvSpPr>
                <p:spPr>
                  <a:xfrm>
                    <a:off x="3004949" y="2904662"/>
                    <a:ext cx="9879" cy="28295"/>
                  </a:xfrm>
                  <a:custGeom>
                    <a:avLst/>
                    <a:gdLst>
                      <a:gd name="connsiteX0" fmla="*/ 4940 w 9879"/>
                      <a:gd name="connsiteY0" fmla="*/ 28296 h 28295"/>
                      <a:gd name="connsiteX1" fmla="*/ 0 w 9879"/>
                      <a:gd name="connsiteY1" fmla="*/ 23356 h 28295"/>
                      <a:gd name="connsiteX2" fmla="*/ 0 w 9879"/>
                      <a:gd name="connsiteY2" fmla="*/ 4940 h 28295"/>
                      <a:gd name="connsiteX3" fmla="*/ 4940 w 9879"/>
                      <a:gd name="connsiteY3" fmla="*/ 0 h 28295"/>
                      <a:gd name="connsiteX4" fmla="*/ 9879 w 9879"/>
                      <a:gd name="connsiteY4" fmla="*/ 4940 h 28295"/>
                      <a:gd name="connsiteX5" fmla="*/ 9879 w 9879"/>
                      <a:gd name="connsiteY5" fmla="*/ 23356 h 28295"/>
                      <a:gd name="connsiteX6" fmla="*/ 4940 w 9879"/>
                      <a:gd name="connsiteY6" fmla="*/ 28296 h 28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8295">
                        <a:moveTo>
                          <a:pt x="4940" y="28296"/>
                        </a:moveTo>
                        <a:cubicBezTo>
                          <a:pt x="2199" y="28296"/>
                          <a:pt x="0" y="26069"/>
                          <a:pt x="0" y="23356"/>
                        </a:cubicBezTo>
                        <a:lnTo>
                          <a:pt x="0" y="4940"/>
                        </a:lnTo>
                        <a:cubicBezTo>
                          <a:pt x="0" y="2199"/>
                          <a:pt x="2227" y="0"/>
                          <a:pt x="4940" y="0"/>
                        </a:cubicBezTo>
                        <a:cubicBezTo>
                          <a:pt x="7681" y="0"/>
                          <a:pt x="9879" y="2227"/>
                          <a:pt x="9879" y="4940"/>
                        </a:cubicBezTo>
                        <a:lnTo>
                          <a:pt x="9879" y="23356"/>
                        </a:lnTo>
                        <a:cubicBezTo>
                          <a:pt x="9879" y="26069"/>
                          <a:pt x="7681" y="28296"/>
                          <a:pt x="4940" y="28296"/>
                        </a:cubicBezTo>
                        <a:close/>
                      </a:path>
                    </a:pathLst>
                  </a:custGeom>
                  <a:grpFill/>
                  <a:ln w="2851" cap="flat">
                    <a:noFill/>
                    <a:prstDash val="solid"/>
                    <a:miter/>
                  </a:ln>
                </p:spPr>
                <p:txBody>
                  <a:bodyPr rtlCol="0" anchor="ctr"/>
                  <a:lstStyle/>
                  <a:p>
                    <a:endParaRPr lang="en-GB" dirty="0"/>
                  </a:p>
                </p:txBody>
              </p:sp>
              <p:sp>
                <p:nvSpPr>
                  <p:cNvPr id="527" name="Freihandform: Form 443">
                    <a:extLst>
                      <a:ext uri="{FF2B5EF4-FFF2-40B4-BE49-F238E27FC236}">
                        <a16:creationId xmlns:a16="http://schemas.microsoft.com/office/drawing/2014/main" id="{D3FD9A11-D3CA-4319-AFFD-8A5AEC43CB4B}"/>
                      </a:ext>
                    </a:extLst>
                  </p:cNvPr>
                  <p:cNvSpPr/>
                  <p:nvPr/>
                </p:nvSpPr>
                <p:spPr>
                  <a:xfrm>
                    <a:off x="2985305" y="2862376"/>
                    <a:ext cx="50596" cy="54792"/>
                  </a:xfrm>
                  <a:custGeom>
                    <a:avLst/>
                    <a:gdLst>
                      <a:gd name="connsiteX0" fmla="*/ 45684 w 50596"/>
                      <a:gd name="connsiteY0" fmla="*/ 54793 h 54792"/>
                      <a:gd name="connsiteX1" fmla="*/ 40745 w 50596"/>
                      <a:gd name="connsiteY1" fmla="*/ 49853 h 54792"/>
                      <a:gd name="connsiteX2" fmla="*/ 40745 w 50596"/>
                      <a:gd name="connsiteY2" fmla="*/ 26982 h 54792"/>
                      <a:gd name="connsiteX3" fmla="*/ 25983 w 50596"/>
                      <a:gd name="connsiteY3" fmla="*/ 15047 h 54792"/>
                      <a:gd name="connsiteX4" fmla="*/ 9765 w 50596"/>
                      <a:gd name="connsiteY4" fmla="*/ 15047 h 54792"/>
                      <a:gd name="connsiteX5" fmla="*/ 2941 w 50596"/>
                      <a:gd name="connsiteY5" fmla="*/ 12392 h 54792"/>
                      <a:gd name="connsiteX6" fmla="*/ 0 w 50596"/>
                      <a:gd name="connsiteY6" fmla="*/ 4968 h 54792"/>
                      <a:gd name="connsiteX7" fmla="*/ 4911 w 50596"/>
                      <a:gd name="connsiteY7" fmla="*/ 0 h 54792"/>
                      <a:gd name="connsiteX8" fmla="*/ 4940 w 50596"/>
                      <a:gd name="connsiteY8" fmla="*/ 0 h 54792"/>
                      <a:gd name="connsiteX9" fmla="*/ 9879 w 50596"/>
                      <a:gd name="connsiteY9" fmla="*/ 4940 h 54792"/>
                      <a:gd name="connsiteX10" fmla="*/ 9936 w 50596"/>
                      <a:gd name="connsiteY10" fmla="*/ 5511 h 54792"/>
                      <a:gd name="connsiteX11" fmla="*/ 25954 w 50596"/>
                      <a:gd name="connsiteY11" fmla="*/ 5197 h 54792"/>
                      <a:gd name="connsiteX12" fmla="*/ 50595 w 50596"/>
                      <a:gd name="connsiteY12" fmla="*/ 27039 h 54792"/>
                      <a:gd name="connsiteX13" fmla="*/ 50595 w 50596"/>
                      <a:gd name="connsiteY13" fmla="*/ 49910 h 54792"/>
                      <a:gd name="connsiteX14" fmla="*/ 45684 w 50596"/>
                      <a:gd name="connsiteY14" fmla="*/ 54793 h 5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596" h="54792">
                        <a:moveTo>
                          <a:pt x="45684" y="54793"/>
                        </a:moveTo>
                        <a:cubicBezTo>
                          <a:pt x="42943" y="54793"/>
                          <a:pt x="40745" y="52566"/>
                          <a:pt x="40745" y="49853"/>
                        </a:cubicBezTo>
                        <a:lnTo>
                          <a:pt x="40745" y="26982"/>
                        </a:lnTo>
                        <a:cubicBezTo>
                          <a:pt x="40745" y="15190"/>
                          <a:pt x="26583" y="15047"/>
                          <a:pt x="25983" y="15047"/>
                        </a:cubicBezTo>
                        <a:lnTo>
                          <a:pt x="9765" y="15047"/>
                        </a:lnTo>
                        <a:cubicBezTo>
                          <a:pt x="9251" y="15076"/>
                          <a:pt x="5739" y="15047"/>
                          <a:pt x="2941" y="12392"/>
                        </a:cubicBezTo>
                        <a:cubicBezTo>
                          <a:pt x="1599" y="11107"/>
                          <a:pt x="29" y="8794"/>
                          <a:pt x="0" y="4968"/>
                        </a:cubicBezTo>
                        <a:cubicBezTo>
                          <a:pt x="0" y="2227"/>
                          <a:pt x="2199" y="0"/>
                          <a:pt x="4911" y="0"/>
                        </a:cubicBezTo>
                        <a:cubicBezTo>
                          <a:pt x="4911" y="0"/>
                          <a:pt x="4940" y="0"/>
                          <a:pt x="4940" y="0"/>
                        </a:cubicBezTo>
                        <a:cubicBezTo>
                          <a:pt x="7652" y="0"/>
                          <a:pt x="9879" y="2199"/>
                          <a:pt x="9879" y="4940"/>
                        </a:cubicBezTo>
                        <a:cubicBezTo>
                          <a:pt x="9879" y="5339"/>
                          <a:pt x="9936" y="5511"/>
                          <a:pt x="9936" y="5511"/>
                        </a:cubicBezTo>
                        <a:lnTo>
                          <a:pt x="25954" y="5197"/>
                        </a:lnTo>
                        <a:cubicBezTo>
                          <a:pt x="34492" y="5197"/>
                          <a:pt x="50595" y="9765"/>
                          <a:pt x="50595" y="27039"/>
                        </a:cubicBezTo>
                        <a:lnTo>
                          <a:pt x="50595" y="49910"/>
                        </a:lnTo>
                        <a:cubicBezTo>
                          <a:pt x="50652" y="52594"/>
                          <a:pt x="48425" y="54793"/>
                          <a:pt x="45684" y="54793"/>
                        </a:cubicBezTo>
                        <a:close/>
                      </a:path>
                    </a:pathLst>
                  </a:custGeom>
                  <a:grpFill/>
                  <a:ln w="2851" cap="flat">
                    <a:noFill/>
                    <a:prstDash val="solid"/>
                    <a:miter/>
                  </a:ln>
                </p:spPr>
                <p:txBody>
                  <a:bodyPr rtlCol="0" anchor="ctr"/>
                  <a:lstStyle/>
                  <a:p>
                    <a:endParaRPr lang="en-GB" dirty="0"/>
                  </a:p>
                </p:txBody>
              </p:sp>
            </p:grpSp>
            <p:sp>
              <p:nvSpPr>
                <p:cNvPr id="523" name="Freihandform: Form 444">
                  <a:extLst>
                    <a:ext uri="{FF2B5EF4-FFF2-40B4-BE49-F238E27FC236}">
                      <a16:creationId xmlns:a16="http://schemas.microsoft.com/office/drawing/2014/main" id="{41CA6794-AB06-4E07-97FE-ED1ECC3520B2}"/>
                    </a:ext>
                  </a:extLst>
                </p:cNvPr>
                <p:cNvSpPr/>
                <p:nvPr/>
              </p:nvSpPr>
              <p:spPr>
                <a:xfrm>
                  <a:off x="2943532" y="2789338"/>
                  <a:ext cx="65157" cy="72552"/>
                </a:xfrm>
                <a:custGeom>
                  <a:avLst/>
                  <a:gdLst>
                    <a:gd name="connsiteX0" fmla="*/ 32579 w 65157"/>
                    <a:gd name="connsiteY0" fmla="*/ 72552 h 72552"/>
                    <a:gd name="connsiteX1" fmla="*/ 0 w 65157"/>
                    <a:gd name="connsiteY1" fmla="*/ 36262 h 72552"/>
                    <a:gd name="connsiteX2" fmla="*/ 32579 w 65157"/>
                    <a:gd name="connsiteY2" fmla="*/ 0 h 72552"/>
                    <a:gd name="connsiteX3" fmla="*/ 65157 w 65157"/>
                    <a:gd name="connsiteY3" fmla="*/ 36262 h 72552"/>
                    <a:gd name="connsiteX4" fmla="*/ 32579 w 65157"/>
                    <a:gd name="connsiteY4" fmla="*/ 72552 h 72552"/>
                    <a:gd name="connsiteX5" fmla="*/ 32579 w 65157"/>
                    <a:gd name="connsiteY5" fmla="*/ 9908 h 72552"/>
                    <a:gd name="connsiteX6" fmla="*/ 9879 w 65157"/>
                    <a:gd name="connsiteY6" fmla="*/ 36290 h 72552"/>
                    <a:gd name="connsiteX7" fmla="*/ 32579 w 65157"/>
                    <a:gd name="connsiteY7" fmla="*/ 62673 h 72552"/>
                    <a:gd name="connsiteX8" fmla="*/ 55278 w 65157"/>
                    <a:gd name="connsiteY8" fmla="*/ 36290 h 72552"/>
                    <a:gd name="connsiteX9" fmla="*/ 32579 w 65157"/>
                    <a:gd name="connsiteY9" fmla="*/ 9908 h 7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57" h="72552">
                      <a:moveTo>
                        <a:pt x="32579" y="72552"/>
                      </a:moveTo>
                      <a:cubicBezTo>
                        <a:pt x="14619" y="72552"/>
                        <a:pt x="0" y="56277"/>
                        <a:pt x="0" y="36262"/>
                      </a:cubicBezTo>
                      <a:cubicBezTo>
                        <a:pt x="0" y="16246"/>
                        <a:pt x="14619" y="0"/>
                        <a:pt x="32579" y="0"/>
                      </a:cubicBezTo>
                      <a:cubicBezTo>
                        <a:pt x="50538" y="0"/>
                        <a:pt x="65157" y="16275"/>
                        <a:pt x="65157" y="36262"/>
                      </a:cubicBezTo>
                      <a:cubicBezTo>
                        <a:pt x="65186" y="56277"/>
                        <a:pt x="50567" y="72552"/>
                        <a:pt x="32579" y="72552"/>
                      </a:cubicBezTo>
                      <a:close/>
                      <a:moveTo>
                        <a:pt x="32579" y="9908"/>
                      </a:moveTo>
                      <a:cubicBezTo>
                        <a:pt x="20073" y="9908"/>
                        <a:pt x="9879" y="21757"/>
                        <a:pt x="9879" y="36290"/>
                      </a:cubicBezTo>
                      <a:cubicBezTo>
                        <a:pt x="9879" y="50852"/>
                        <a:pt x="20073" y="62673"/>
                        <a:pt x="32579" y="62673"/>
                      </a:cubicBezTo>
                      <a:cubicBezTo>
                        <a:pt x="45085" y="62673"/>
                        <a:pt x="55278" y="50824"/>
                        <a:pt x="55278" y="36290"/>
                      </a:cubicBezTo>
                      <a:cubicBezTo>
                        <a:pt x="55278" y="21729"/>
                        <a:pt x="45113" y="9908"/>
                        <a:pt x="32579" y="9908"/>
                      </a:cubicBezTo>
                      <a:close/>
                    </a:path>
                  </a:pathLst>
                </a:custGeom>
                <a:grpFill/>
                <a:ln w="2851" cap="flat">
                  <a:noFill/>
                  <a:prstDash val="solid"/>
                  <a:miter/>
                </a:ln>
              </p:spPr>
              <p:txBody>
                <a:bodyPr rtlCol="0" anchor="ctr"/>
                <a:lstStyle/>
                <a:p>
                  <a:endParaRPr lang="en-GB" dirty="0"/>
                </a:p>
              </p:txBody>
            </p:sp>
          </p:grpSp>
          <p:sp>
            <p:nvSpPr>
              <p:cNvPr id="517" name="Freihandform: Form 445">
                <a:extLst>
                  <a:ext uri="{FF2B5EF4-FFF2-40B4-BE49-F238E27FC236}">
                    <a16:creationId xmlns:a16="http://schemas.microsoft.com/office/drawing/2014/main" id="{327B07B9-331A-4640-AF41-5A02307C6D16}"/>
                  </a:ext>
                </a:extLst>
              </p:cNvPr>
              <p:cNvSpPr/>
              <p:nvPr/>
            </p:nvSpPr>
            <p:spPr>
              <a:xfrm>
                <a:off x="2885399" y="2759329"/>
                <a:ext cx="181423" cy="181423"/>
              </a:xfrm>
              <a:custGeom>
                <a:avLst/>
                <a:gdLst>
                  <a:gd name="connsiteX0" fmla="*/ 90712 w 181423"/>
                  <a:gd name="connsiteY0" fmla="*/ 181424 h 181423"/>
                  <a:gd name="connsiteX1" fmla="*/ 0 w 181423"/>
                  <a:gd name="connsiteY1" fmla="*/ 90712 h 181423"/>
                  <a:gd name="connsiteX2" fmla="*/ 90712 w 181423"/>
                  <a:gd name="connsiteY2" fmla="*/ 0 h 181423"/>
                  <a:gd name="connsiteX3" fmla="*/ 181424 w 181423"/>
                  <a:gd name="connsiteY3" fmla="*/ 90712 h 181423"/>
                  <a:gd name="connsiteX4" fmla="*/ 90712 w 181423"/>
                  <a:gd name="connsiteY4" fmla="*/ 181424 h 181423"/>
                  <a:gd name="connsiteX5" fmla="*/ 90712 w 181423"/>
                  <a:gd name="connsiteY5" fmla="*/ 9879 h 181423"/>
                  <a:gd name="connsiteX6" fmla="*/ 9879 w 181423"/>
                  <a:gd name="connsiteY6" fmla="*/ 90712 h 181423"/>
                  <a:gd name="connsiteX7" fmla="*/ 90712 w 181423"/>
                  <a:gd name="connsiteY7" fmla="*/ 171545 h 181423"/>
                  <a:gd name="connsiteX8" fmla="*/ 171545 w 181423"/>
                  <a:gd name="connsiteY8" fmla="*/ 90712 h 181423"/>
                  <a:gd name="connsiteX9" fmla="*/ 90712 w 181423"/>
                  <a:gd name="connsiteY9" fmla="*/ 9879 h 18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423" h="181423">
                    <a:moveTo>
                      <a:pt x="90712" y="181424"/>
                    </a:moveTo>
                    <a:cubicBezTo>
                      <a:pt x="40688" y="181424"/>
                      <a:pt x="0" y="140736"/>
                      <a:pt x="0" y="90712"/>
                    </a:cubicBezTo>
                    <a:cubicBezTo>
                      <a:pt x="0" y="40688"/>
                      <a:pt x="40688" y="0"/>
                      <a:pt x="90712" y="0"/>
                    </a:cubicBezTo>
                    <a:cubicBezTo>
                      <a:pt x="140736" y="0"/>
                      <a:pt x="181424" y="40688"/>
                      <a:pt x="181424" y="90712"/>
                    </a:cubicBezTo>
                    <a:cubicBezTo>
                      <a:pt x="181452" y="140736"/>
                      <a:pt x="140736" y="181424"/>
                      <a:pt x="90712" y="181424"/>
                    </a:cubicBezTo>
                    <a:close/>
                    <a:moveTo>
                      <a:pt x="90712" y="9879"/>
                    </a:moveTo>
                    <a:cubicBezTo>
                      <a:pt x="46141" y="9879"/>
                      <a:pt x="9879" y="46141"/>
                      <a:pt x="9879" y="90712"/>
                    </a:cubicBezTo>
                    <a:cubicBezTo>
                      <a:pt x="9879" y="135283"/>
                      <a:pt x="46141" y="171545"/>
                      <a:pt x="90712" y="171545"/>
                    </a:cubicBezTo>
                    <a:cubicBezTo>
                      <a:pt x="135283" y="171545"/>
                      <a:pt x="171545" y="135283"/>
                      <a:pt x="171545" y="90712"/>
                    </a:cubicBezTo>
                    <a:cubicBezTo>
                      <a:pt x="171545" y="46141"/>
                      <a:pt x="135283" y="9879"/>
                      <a:pt x="90712" y="9879"/>
                    </a:cubicBezTo>
                    <a:close/>
                  </a:path>
                </a:pathLst>
              </a:custGeom>
              <a:grpFill/>
              <a:ln w="2851" cap="flat">
                <a:noFill/>
                <a:prstDash val="solid"/>
                <a:miter/>
              </a:ln>
            </p:spPr>
            <p:txBody>
              <a:bodyPr rtlCol="0" anchor="ctr"/>
              <a:lstStyle/>
              <a:p>
                <a:endParaRPr lang="en-GB" dirty="0"/>
              </a:p>
            </p:txBody>
          </p:sp>
          <p:sp>
            <p:nvSpPr>
              <p:cNvPr id="518" name="Freihandform: Form 446">
                <a:extLst>
                  <a:ext uri="{FF2B5EF4-FFF2-40B4-BE49-F238E27FC236}">
                    <a16:creationId xmlns:a16="http://schemas.microsoft.com/office/drawing/2014/main" id="{B77A085A-4D19-455B-9C0E-E3A28DD8D310}"/>
                  </a:ext>
                </a:extLst>
              </p:cNvPr>
              <p:cNvSpPr/>
              <p:nvPr/>
            </p:nvSpPr>
            <p:spPr>
              <a:xfrm>
                <a:off x="2844478" y="2525489"/>
                <a:ext cx="66480" cy="55128"/>
              </a:xfrm>
              <a:custGeom>
                <a:avLst/>
                <a:gdLst>
                  <a:gd name="connsiteX0" fmla="*/ 4945 w 66480"/>
                  <a:gd name="connsiteY0" fmla="*/ 55128 h 55128"/>
                  <a:gd name="connsiteX1" fmla="*/ 1090 w 66480"/>
                  <a:gd name="connsiteY1" fmla="*/ 53272 h 55128"/>
                  <a:gd name="connsiteX2" fmla="*/ 1861 w 66480"/>
                  <a:gd name="connsiteY2" fmla="*/ 46306 h 55128"/>
                  <a:gd name="connsiteX3" fmla="*/ 22476 w 66480"/>
                  <a:gd name="connsiteY3" fmla="*/ 29831 h 55128"/>
                  <a:gd name="connsiteX4" fmla="*/ 29414 w 66480"/>
                  <a:gd name="connsiteY4" fmla="*/ 30602 h 55128"/>
                  <a:gd name="connsiteX5" fmla="*/ 28643 w 66480"/>
                  <a:gd name="connsiteY5" fmla="*/ 37568 h 55128"/>
                  <a:gd name="connsiteX6" fmla="*/ 8028 w 66480"/>
                  <a:gd name="connsiteY6" fmla="*/ 54043 h 55128"/>
                  <a:gd name="connsiteX7" fmla="*/ 4945 w 66480"/>
                  <a:gd name="connsiteY7" fmla="*/ 55128 h 55128"/>
                  <a:gd name="connsiteX8" fmla="*/ 46175 w 66480"/>
                  <a:gd name="connsiteY8" fmla="*/ 22179 h 55128"/>
                  <a:gd name="connsiteX9" fmla="*/ 42320 w 66480"/>
                  <a:gd name="connsiteY9" fmla="*/ 20323 h 55128"/>
                  <a:gd name="connsiteX10" fmla="*/ 43091 w 66480"/>
                  <a:gd name="connsiteY10" fmla="*/ 13356 h 55128"/>
                  <a:gd name="connsiteX11" fmla="*/ 58452 w 66480"/>
                  <a:gd name="connsiteY11" fmla="*/ 1078 h 55128"/>
                  <a:gd name="connsiteX12" fmla="*/ 65391 w 66480"/>
                  <a:gd name="connsiteY12" fmla="*/ 1849 h 55128"/>
                  <a:gd name="connsiteX13" fmla="*/ 64620 w 66480"/>
                  <a:gd name="connsiteY13" fmla="*/ 8816 h 55128"/>
                  <a:gd name="connsiteX14" fmla="*/ 49258 w 66480"/>
                  <a:gd name="connsiteY14" fmla="*/ 21094 h 55128"/>
                  <a:gd name="connsiteX15" fmla="*/ 46175 w 66480"/>
                  <a:gd name="connsiteY15" fmla="*/ 22179 h 55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480" h="55128">
                    <a:moveTo>
                      <a:pt x="4945" y="55128"/>
                    </a:moveTo>
                    <a:cubicBezTo>
                      <a:pt x="3489" y="55128"/>
                      <a:pt x="2061" y="54500"/>
                      <a:pt x="1090" y="53272"/>
                    </a:cubicBezTo>
                    <a:cubicBezTo>
                      <a:pt x="-623" y="51131"/>
                      <a:pt x="-280" y="48019"/>
                      <a:pt x="1861" y="46306"/>
                    </a:cubicBezTo>
                    <a:lnTo>
                      <a:pt x="22476" y="29831"/>
                    </a:lnTo>
                    <a:cubicBezTo>
                      <a:pt x="24589" y="28146"/>
                      <a:pt x="27701" y="28460"/>
                      <a:pt x="29414" y="30602"/>
                    </a:cubicBezTo>
                    <a:cubicBezTo>
                      <a:pt x="31128" y="32743"/>
                      <a:pt x="30785" y="35855"/>
                      <a:pt x="28643" y="37568"/>
                    </a:cubicBezTo>
                    <a:lnTo>
                      <a:pt x="8028" y="54043"/>
                    </a:lnTo>
                    <a:cubicBezTo>
                      <a:pt x="7115" y="54786"/>
                      <a:pt x="6030" y="55128"/>
                      <a:pt x="4945" y="55128"/>
                    </a:cubicBezTo>
                    <a:close/>
                    <a:moveTo>
                      <a:pt x="46175" y="22179"/>
                    </a:moveTo>
                    <a:cubicBezTo>
                      <a:pt x="44719" y="22179"/>
                      <a:pt x="43291" y="21550"/>
                      <a:pt x="42320" y="20323"/>
                    </a:cubicBezTo>
                    <a:cubicBezTo>
                      <a:pt x="40607" y="18181"/>
                      <a:pt x="40950" y="15069"/>
                      <a:pt x="43091" y="13356"/>
                    </a:cubicBezTo>
                    <a:lnTo>
                      <a:pt x="58452" y="1078"/>
                    </a:lnTo>
                    <a:cubicBezTo>
                      <a:pt x="60565" y="-607"/>
                      <a:pt x="63706" y="-292"/>
                      <a:pt x="65391" y="1849"/>
                    </a:cubicBezTo>
                    <a:cubicBezTo>
                      <a:pt x="67104" y="3990"/>
                      <a:pt x="66761" y="7103"/>
                      <a:pt x="64620" y="8816"/>
                    </a:cubicBezTo>
                    <a:lnTo>
                      <a:pt x="49258" y="21094"/>
                    </a:lnTo>
                    <a:cubicBezTo>
                      <a:pt x="48345" y="21836"/>
                      <a:pt x="47260" y="22179"/>
                      <a:pt x="46175" y="22179"/>
                    </a:cubicBezTo>
                    <a:close/>
                  </a:path>
                </a:pathLst>
              </a:custGeom>
              <a:grpFill/>
              <a:ln w="2851" cap="flat">
                <a:noFill/>
                <a:prstDash val="solid"/>
                <a:miter/>
              </a:ln>
            </p:spPr>
            <p:txBody>
              <a:bodyPr rtlCol="0" anchor="ctr"/>
              <a:lstStyle/>
              <a:p>
                <a:endParaRPr lang="en-GB" dirty="0"/>
              </a:p>
            </p:txBody>
          </p:sp>
          <p:sp>
            <p:nvSpPr>
              <p:cNvPr id="519" name="Freihandform: Form 447">
                <a:extLst>
                  <a:ext uri="{FF2B5EF4-FFF2-40B4-BE49-F238E27FC236}">
                    <a16:creationId xmlns:a16="http://schemas.microsoft.com/office/drawing/2014/main" id="{9BA74C68-4977-423B-BCA7-80772B164FE1}"/>
                  </a:ext>
                </a:extLst>
              </p:cNvPr>
              <p:cNvSpPr/>
              <p:nvPr/>
            </p:nvSpPr>
            <p:spPr>
              <a:xfrm>
                <a:off x="2569570" y="2744874"/>
                <a:ext cx="66770" cy="55685"/>
              </a:xfrm>
              <a:custGeom>
                <a:avLst/>
                <a:gdLst>
                  <a:gd name="connsiteX0" fmla="*/ 4947 w 66770"/>
                  <a:gd name="connsiteY0" fmla="*/ 55685 h 55685"/>
                  <a:gd name="connsiteX1" fmla="*/ 1092 w 66770"/>
                  <a:gd name="connsiteY1" fmla="*/ 53829 h 55685"/>
                  <a:gd name="connsiteX2" fmla="*/ 1835 w 66770"/>
                  <a:gd name="connsiteY2" fmla="*/ 46862 h 55685"/>
                  <a:gd name="connsiteX3" fmla="*/ 22393 w 66770"/>
                  <a:gd name="connsiteY3" fmla="*/ 30330 h 55685"/>
                  <a:gd name="connsiteX4" fmla="*/ 29331 w 66770"/>
                  <a:gd name="connsiteY4" fmla="*/ 31073 h 55685"/>
                  <a:gd name="connsiteX5" fmla="*/ 28589 w 66770"/>
                  <a:gd name="connsiteY5" fmla="*/ 38040 h 55685"/>
                  <a:gd name="connsiteX6" fmla="*/ 8031 w 66770"/>
                  <a:gd name="connsiteY6" fmla="*/ 54572 h 55685"/>
                  <a:gd name="connsiteX7" fmla="*/ 4947 w 66770"/>
                  <a:gd name="connsiteY7" fmla="*/ 55685 h 55685"/>
                  <a:gd name="connsiteX8" fmla="*/ 46063 w 66770"/>
                  <a:gd name="connsiteY8" fmla="*/ 22593 h 55685"/>
                  <a:gd name="connsiteX9" fmla="*/ 42208 w 66770"/>
                  <a:gd name="connsiteY9" fmla="*/ 20737 h 55685"/>
                  <a:gd name="connsiteX10" fmla="*/ 42951 w 66770"/>
                  <a:gd name="connsiteY10" fmla="*/ 13770 h 55685"/>
                  <a:gd name="connsiteX11" fmla="*/ 58740 w 66770"/>
                  <a:gd name="connsiteY11" fmla="*/ 1092 h 55685"/>
                  <a:gd name="connsiteX12" fmla="*/ 65679 w 66770"/>
                  <a:gd name="connsiteY12" fmla="*/ 1835 h 55685"/>
                  <a:gd name="connsiteX13" fmla="*/ 64936 w 66770"/>
                  <a:gd name="connsiteY13" fmla="*/ 8802 h 55685"/>
                  <a:gd name="connsiteX14" fmla="*/ 49147 w 66770"/>
                  <a:gd name="connsiteY14" fmla="*/ 21479 h 55685"/>
                  <a:gd name="connsiteX15" fmla="*/ 46063 w 66770"/>
                  <a:gd name="connsiteY15" fmla="*/ 22593 h 55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770" h="55685">
                    <a:moveTo>
                      <a:pt x="4947" y="55685"/>
                    </a:moveTo>
                    <a:cubicBezTo>
                      <a:pt x="3491" y="55685"/>
                      <a:pt x="2063" y="55057"/>
                      <a:pt x="1092" y="53829"/>
                    </a:cubicBezTo>
                    <a:cubicBezTo>
                      <a:pt x="-621" y="51688"/>
                      <a:pt x="-278" y="48575"/>
                      <a:pt x="1835" y="46862"/>
                    </a:cubicBezTo>
                    <a:lnTo>
                      <a:pt x="22393" y="30330"/>
                    </a:lnTo>
                    <a:cubicBezTo>
                      <a:pt x="24506" y="28617"/>
                      <a:pt x="27646" y="28960"/>
                      <a:pt x="29331" y="31073"/>
                    </a:cubicBezTo>
                    <a:cubicBezTo>
                      <a:pt x="31044" y="33214"/>
                      <a:pt x="30701" y="36326"/>
                      <a:pt x="28589" y="38040"/>
                    </a:cubicBezTo>
                    <a:lnTo>
                      <a:pt x="8031" y="54572"/>
                    </a:lnTo>
                    <a:cubicBezTo>
                      <a:pt x="7117" y="55314"/>
                      <a:pt x="6032" y="55685"/>
                      <a:pt x="4947" y="55685"/>
                    </a:cubicBezTo>
                    <a:close/>
                    <a:moveTo>
                      <a:pt x="46063" y="22593"/>
                    </a:moveTo>
                    <a:cubicBezTo>
                      <a:pt x="44607" y="22593"/>
                      <a:pt x="43179" y="21964"/>
                      <a:pt x="42208" y="20737"/>
                    </a:cubicBezTo>
                    <a:cubicBezTo>
                      <a:pt x="40495" y="18595"/>
                      <a:pt x="40838" y="15483"/>
                      <a:pt x="42951" y="13770"/>
                    </a:cubicBezTo>
                    <a:lnTo>
                      <a:pt x="58740" y="1092"/>
                    </a:lnTo>
                    <a:cubicBezTo>
                      <a:pt x="60853" y="-621"/>
                      <a:pt x="63994" y="-278"/>
                      <a:pt x="65679" y="1835"/>
                    </a:cubicBezTo>
                    <a:cubicBezTo>
                      <a:pt x="67392" y="3976"/>
                      <a:pt x="67049" y="7088"/>
                      <a:pt x="64936" y="8802"/>
                    </a:cubicBezTo>
                    <a:lnTo>
                      <a:pt x="49147" y="21479"/>
                    </a:lnTo>
                    <a:cubicBezTo>
                      <a:pt x="48261" y="22250"/>
                      <a:pt x="47148" y="22593"/>
                      <a:pt x="46063" y="22593"/>
                    </a:cubicBezTo>
                    <a:close/>
                  </a:path>
                </a:pathLst>
              </a:custGeom>
              <a:grpFill/>
              <a:ln w="2851" cap="flat">
                <a:noFill/>
                <a:prstDash val="solid"/>
                <a:miter/>
              </a:ln>
            </p:spPr>
            <p:txBody>
              <a:bodyPr rtlCol="0" anchor="ctr"/>
              <a:lstStyle/>
              <a:p>
                <a:endParaRPr lang="en-GB" dirty="0"/>
              </a:p>
            </p:txBody>
          </p:sp>
          <p:sp>
            <p:nvSpPr>
              <p:cNvPr id="520" name="Freihandform: Form 448">
                <a:extLst>
                  <a:ext uri="{FF2B5EF4-FFF2-40B4-BE49-F238E27FC236}">
                    <a16:creationId xmlns:a16="http://schemas.microsoft.com/office/drawing/2014/main" id="{AD2A241B-A5B0-4A59-BFC7-9E4039DD8E3F}"/>
                  </a:ext>
                </a:extLst>
              </p:cNvPr>
              <p:cNvSpPr/>
              <p:nvPr/>
            </p:nvSpPr>
            <p:spPr>
              <a:xfrm>
                <a:off x="2570743" y="2530074"/>
                <a:ext cx="63882" cy="52998"/>
              </a:xfrm>
              <a:custGeom>
                <a:avLst/>
                <a:gdLst>
                  <a:gd name="connsiteX0" fmla="*/ 58938 w 63882"/>
                  <a:gd name="connsiteY0" fmla="*/ 52999 h 52998"/>
                  <a:gd name="connsiteX1" fmla="*/ 55854 w 63882"/>
                  <a:gd name="connsiteY1" fmla="*/ 51914 h 52998"/>
                  <a:gd name="connsiteX2" fmla="*/ 35239 w 63882"/>
                  <a:gd name="connsiteY2" fmla="*/ 35439 h 52998"/>
                  <a:gd name="connsiteX3" fmla="*/ 34468 w 63882"/>
                  <a:gd name="connsiteY3" fmla="*/ 28472 h 52998"/>
                  <a:gd name="connsiteX4" fmla="*/ 41406 w 63882"/>
                  <a:gd name="connsiteY4" fmla="*/ 27701 h 52998"/>
                  <a:gd name="connsiteX5" fmla="*/ 62022 w 63882"/>
                  <a:gd name="connsiteY5" fmla="*/ 44176 h 52998"/>
                  <a:gd name="connsiteX6" fmla="*/ 62793 w 63882"/>
                  <a:gd name="connsiteY6" fmla="*/ 51143 h 52998"/>
                  <a:gd name="connsiteX7" fmla="*/ 58938 w 63882"/>
                  <a:gd name="connsiteY7" fmla="*/ 52999 h 52998"/>
                  <a:gd name="connsiteX8" fmla="*/ 17679 w 63882"/>
                  <a:gd name="connsiteY8" fmla="*/ 20078 h 52998"/>
                  <a:gd name="connsiteX9" fmla="*/ 14596 w 63882"/>
                  <a:gd name="connsiteY9" fmla="*/ 18993 h 52998"/>
                  <a:gd name="connsiteX10" fmla="*/ 1861 w 63882"/>
                  <a:gd name="connsiteY10" fmla="*/ 8828 h 52998"/>
                  <a:gd name="connsiteX11" fmla="*/ 1090 w 63882"/>
                  <a:gd name="connsiteY11" fmla="*/ 1861 h 52998"/>
                  <a:gd name="connsiteX12" fmla="*/ 8028 w 63882"/>
                  <a:gd name="connsiteY12" fmla="*/ 1090 h 52998"/>
                  <a:gd name="connsiteX13" fmla="*/ 20763 w 63882"/>
                  <a:gd name="connsiteY13" fmla="*/ 11255 h 52998"/>
                  <a:gd name="connsiteX14" fmla="*/ 21534 w 63882"/>
                  <a:gd name="connsiteY14" fmla="*/ 18222 h 52998"/>
                  <a:gd name="connsiteX15" fmla="*/ 17679 w 63882"/>
                  <a:gd name="connsiteY15" fmla="*/ 20078 h 52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882" h="52998">
                    <a:moveTo>
                      <a:pt x="58938" y="52999"/>
                    </a:moveTo>
                    <a:cubicBezTo>
                      <a:pt x="57853" y="52999"/>
                      <a:pt x="56768" y="52656"/>
                      <a:pt x="55854" y="51914"/>
                    </a:cubicBezTo>
                    <a:lnTo>
                      <a:pt x="35239" y="35439"/>
                    </a:lnTo>
                    <a:cubicBezTo>
                      <a:pt x="33098" y="33726"/>
                      <a:pt x="32755" y="30614"/>
                      <a:pt x="34468" y="28472"/>
                    </a:cubicBezTo>
                    <a:cubicBezTo>
                      <a:pt x="36181" y="26331"/>
                      <a:pt x="39294" y="25988"/>
                      <a:pt x="41406" y="27701"/>
                    </a:cubicBezTo>
                    <a:lnTo>
                      <a:pt x="62022" y="44176"/>
                    </a:lnTo>
                    <a:cubicBezTo>
                      <a:pt x="64163" y="45889"/>
                      <a:pt x="64506" y="49002"/>
                      <a:pt x="62793" y="51143"/>
                    </a:cubicBezTo>
                    <a:cubicBezTo>
                      <a:pt x="61822" y="52371"/>
                      <a:pt x="60394" y="52999"/>
                      <a:pt x="58938" y="52999"/>
                    </a:cubicBezTo>
                    <a:close/>
                    <a:moveTo>
                      <a:pt x="17679" y="20078"/>
                    </a:moveTo>
                    <a:cubicBezTo>
                      <a:pt x="16594" y="20078"/>
                      <a:pt x="15509" y="19735"/>
                      <a:pt x="14596" y="18993"/>
                    </a:cubicBezTo>
                    <a:lnTo>
                      <a:pt x="1861" y="8828"/>
                    </a:lnTo>
                    <a:cubicBezTo>
                      <a:pt x="-280" y="7115"/>
                      <a:pt x="-623" y="4002"/>
                      <a:pt x="1090" y="1861"/>
                    </a:cubicBezTo>
                    <a:cubicBezTo>
                      <a:pt x="2803" y="-280"/>
                      <a:pt x="5915" y="-623"/>
                      <a:pt x="8028" y="1090"/>
                    </a:cubicBezTo>
                    <a:lnTo>
                      <a:pt x="20763" y="11255"/>
                    </a:lnTo>
                    <a:cubicBezTo>
                      <a:pt x="22904" y="12968"/>
                      <a:pt x="23247" y="16080"/>
                      <a:pt x="21534" y="18222"/>
                    </a:cubicBezTo>
                    <a:cubicBezTo>
                      <a:pt x="20563" y="19421"/>
                      <a:pt x="19135" y="20078"/>
                      <a:pt x="17679" y="20078"/>
                    </a:cubicBezTo>
                    <a:close/>
                  </a:path>
                </a:pathLst>
              </a:custGeom>
              <a:grpFill/>
              <a:ln w="2851" cap="flat">
                <a:noFill/>
                <a:prstDash val="solid"/>
                <a:miter/>
              </a:ln>
            </p:spPr>
            <p:txBody>
              <a:bodyPr rtlCol="0" anchor="ctr"/>
              <a:lstStyle/>
              <a:p>
                <a:endParaRPr lang="en-GB" dirty="0"/>
              </a:p>
            </p:txBody>
          </p:sp>
          <p:sp>
            <p:nvSpPr>
              <p:cNvPr id="521" name="Freihandform: Form 449">
                <a:extLst>
                  <a:ext uri="{FF2B5EF4-FFF2-40B4-BE49-F238E27FC236}">
                    <a16:creationId xmlns:a16="http://schemas.microsoft.com/office/drawing/2014/main" id="{2375C213-8144-4EB9-91DC-9236AB3E673B}"/>
                  </a:ext>
                </a:extLst>
              </p:cNvPr>
              <p:cNvSpPr/>
              <p:nvPr/>
            </p:nvSpPr>
            <p:spPr>
              <a:xfrm>
                <a:off x="2844906" y="2749086"/>
                <a:ext cx="67223" cy="55699"/>
              </a:xfrm>
              <a:custGeom>
                <a:avLst/>
                <a:gdLst>
                  <a:gd name="connsiteX0" fmla="*/ 62278 w 67223"/>
                  <a:gd name="connsiteY0" fmla="*/ 55699 h 55699"/>
                  <a:gd name="connsiteX1" fmla="*/ 59195 w 67223"/>
                  <a:gd name="connsiteY1" fmla="*/ 54614 h 55699"/>
                  <a:gd name="connsiteX2" fmla="*/ 38580 w 67223"/>
                  <a:gd name="connsiteY2" fmla="*/ 38139 h 55699"/>
                  <a:gd name="connsiteX3" fmla="*/ 37809 w 67223"/>
                  <a:gd name="connsiteY3" fmla="*/ 31173 h 55699"/>
                  <a:gd name="connsiteX4" fmla="*/ 44747 w 67223"/>
                  <a:gd name="connsiteY4" fmla="*/ 30402 h 55699"/>
                  <a:gd name="connsiteX5" fmla="*/ 65362 w 67223"/>
                  <a:gd name="connsiteY5" fmla="*/ 46877 h 55699"/>
                  <a:gd name="connsiteX6" fmla="*/ 66133 w 67223"/>
                  <a:gd name="connsiteY6" fmla="*/ 53843 h 55699"/>
                  <a:gd name="connsiteX7" fmla="*/ 62278 w 67223"/>
                  <a:gd name="connsiteY7" fmla="*/ 55699 h 55699"/>
                  <a:gd name="connsiteX8" fmla="*/ 21020 w 67223"/>
                  <a:gd name="connsiteY8" fmla="*/ 22750 h 55699"/>
                  <a:gd name="connsiteX9" fmla="*/ 17936 w 67223"/>
                  <a:gd name="connsiteY9" fmla="*/ 21665 h 55699"/>
                  <a:gd name="connsiteX10" fmla="*/ 1861 w 67223"/>
                  <a:gd name="connsiteY10" fmla="*/ 8816 h 55699"/>
                  <a:gd name="connsiteX11" fmla="*/ 1090 w 67223"/>
                  <a:gd name="connsiteY11" fmla="*/ 1849 h 55699"/>
                  <a:gd name="connsiteX12" fmla="*/ 8028 w 67223"/>
                  <a:gd name="connsiteY12" fmla="*/ 1078 h 55699"/>
                  <a:gd name="connsiteX13" fmla="*/ 24104 w 67223"/>
                  <a:gd name="connsiteY13" fmla="*/ 13927 h 55699"/>
                  <a:gd name="connsiteX14" fmla="*/ 24874 w 67223"/>
                  <a:gd name="connsiteY14" fmla="*/ 20894 h 55699"/>
                  <a:gd name="connsiteX15" fmla="*/ 21020 w 67223"/>
                  <a:gd name="connsiteY15" fmla="*/ 22750 h 5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223" h="55699">
                    <a:moveTo>
                      <a:pt x="62278" y="55699"/>
                    </a:moveTo>
                    <a:cubicBezTo>
                      <a:pt x="61193" y="55699"/>
                      <a:pt x="60108" y="55357"/>
                      <a:pt x="59195" y="54614"/>
                    </a:cubicBezTo>
                    <a:lnTo>
                      <a:pt x="38580" y="38139"/>
                    </a:lnTo>
                    <a:cubicBezTo>
                      <a:pt x="36438" y="36426"/>
                      <a:pt x="36096" y="33314"/>
                      <a:pt x="37809" y="31173"/>
                    </a:cubicBezTo>
                    <a:cubicBezTo>
                      <a:pt x="39522" y="29031"/>
                      <a:pt x="42634" y="28689"/>
                      <a:pt x="44747" y="30402"/>
                    </a:cubicBezTo>
                    <a:lnTo>
                      <a:pt x="65362" y="46877"/>
                    </a:lnTo>
                    <a:cubicBezTo>
                      <a:pt x="67504" y="48590"/>
                      <a:pt x="67846" y="51702"/>
                      <a:pt x="66133" y="53843"/>
                    </a:cubicBezTo>
                    <a:cubicBezTo>
                      <a:pt x="65162" y="55043"/>
                      <a:pt x="63706" y="55699"/>
                      <a:pt x="62278" y="55699"/>
                    </a:cubicBezTo>
                    <a:close/>
                    <a:moveTo>
                      <a:pt x="21020" y="22750"/>
                    </a:moveTo>
                    <a:cubicBezTo>
                      <a:pt x="19935" y="22750"/>
                      <a:pt x="18850" y="22407"/>
                      <a:pt x="17936" y="21665"/>
                    </a:cubicBezTo>
                    <a:lnTo>
                      <a:pt x="1861" y="8816"/>
                    </a:lnTo>
                    <a:cubicBezTo>
                      <a:pt x="-280" y="7103"/>
                      <a:pt x="-623" y="3990"/>
                      <a:pt x="1090" y="1849"/>
                    </a:cubicBezTo>
                    <a:cubicBezTo>
                      <a:pt x="2803" y="-292"/>
                      <a:pt x="5915" y="-607"/>
                      <a:pt x="8028" y="1078"/>
                    </a:cubicBezTo>
                    <a:lnTo>
                      <a:pt x="24104" y="13927"/>
                    </a:lnTo>
                    <a:cubicBezTo>
                      <a:pt x="26245" y="15640"/>
                      <a:pt x="26588" y="18752"/>
                      <a:pt x="24874" y="20894"/>
                    </a:cubicBezTo>
                    <a:cubicBezTo>
                      <a:pt x="23932" y="22121"/>
                      <a:pt x="22476" y="22750"/>
                      <a:pt x="21020" y="22750"/>
                    </a:cubicBezTo>
                    <a:close/>
                  </a:path>
                </a:pathLst>
              </a:custGeom>
              <a:grpFill/>
              <a:ln w="2851" cap="flat">
                <a:noFill/>
                <a:prstDash val="solid"/>
                <a:miter/>
              </a:ln>
            </p:spPr>
            <p:txBody>
              <a:bodyPr rtlCol="0" anchor="ctr"/>
              <a:lstStyle/>
              <a:p>
                <a:endParaRPr lang="en-GB" dirty="0"/>
              </a:p>
            </p:txBody>
          </p:sp>
        </p:grpSp>
      </p:grpSp>
      <p:grpSp>
        <p:nvGrpSpPr>
          <p:cNvPr id="606" name="Group 605">
            <a:extLst>
              <a:ext uri="{FF2B5EF4-FFF2-40B4-BE49-F238E27FC236}">
                <a16:creationId xmlns:a16="http://schemas.microsoft.com/office/drawing/2014/main" id="{E069F378-A337-4E21-A069-5728012A9B53}"/>
              </a:ext>
            </a:extLst>
          </p:cNvPr>
          <p:cNvGrpSpPr/>
          <p:nvPr/>
        </p:nvGrpSpPr>
        <p:grpSpPr>
          <a:xfrm>
            <a:off x="7005004" y="3212058"/>
            <a:ext cx="589060" cy="432000"/>
            <a:chOff x="7004592" y="3212058"/>
            <a:chExt cx="589060" cy="432000"/>
          </a:xfrm>
        </p:grpSpPr>
        <p:grpSp>
          <p:nvGrpSpPr>
            <p:cNvPr id="555" name="Group 554">
              <a:extLst>
                <a:ext uri="{FF2B5EF4-FFF2-40B4-BE49-F238E27FC236}">
                  <a16:creationId xmlns:a16="http://schemas.microsoft.com/office/drawing/2014/main" id="{D59CE1FE-73BC-4308-AAB7-0D44CB39B472}"/>
                </a:ext>
              </a:extLst>
            </p:cNvPr>
            <p:cNvGrpSpPr/>
            <p:nvPr/>
          </p:nvGrpSpPr>
          <p:grpSpPr>
            <a:xfrm>
              <a:off x="7125808" y="3371772"/>
              <a:ext cx="346684" cy="172287"/>
              <a:chOff x="3405467" y="2643491"/>
              <a:chExt cx="339330" cy="168632"/>
            </a:xfrm>
            <a:solidFill>
              <a:schemeClr val="accent1"/>
            </a:solidFill>
          </p:grpSpPr>
          <p:grpSp>
            <p:nvGrpSpPr>
              <p:cNvPr id="570" name="Grafik 34">
                <a:extLst>
                  <a:ext uri="{FF2B5EF4-FFF2-40B4-BE49-F238E27FC236}">
                    <a16:creationId xmlns:a16="http://schemas.microsoft.com/office/drawing/2014/main" id="{5B622D68-3864-48D7-BE67-17F50382C177}"/>
                  </a:ext>
                </a:extLst>
              </p:cNvPr>
              <p:cNvGrpSpPr/>
              <p:nvPr/>
            </p:nvGrpSpPr>
            <p:grpSpPr>
              <a:xfrm>
                <a:off x="3405467" y="2643491"/>
                <a:ext cx="232895" cy="168632"/>
                <a:chOff x="3405467" y="2643491"/>
                <a:chExt cx="232895" cy="168632"/>
              </a:xfrm>
              <a:solidFill>
                <a:schemeClr val="accent1"/>
              </a:solidFill>
            </p:grpSpPr>
            <p:sp>
              <p:nvSpPr>
                <p:cNvPr id="575" name="Freihandform: Form 453">
                  <a:extLst>
                    <a:ext uri="{FF2B5EF4-FFF2-40B4-BE49-F238E27FC236}">
                      <a16:creationId xmlns:a16="http://schemas.microsoft.com/office/drawing/2014/main" id="{CDA1BA52-ED04-4549-8A23-2664D855A496}"/>
                    </a:ext>
                  </a:extLst>
                </p:cNvPr>
                <p:cNvSpPr/>
                <p:nvPr/>
              </p:nvSpPr>
              <p:spPr>
                <a:xfrm>
                  <a:off x="3469730" y="2643491"/>
                  <a:ext cx="168632" cy="168632"/>
                </a:xfrm>
                <a:custGeom>
                  <a:avLst/>
                  <a:gdLst>
                    <a:gd name="connsiteX0" fmla="*/ 163693 w 168632"/>
                    <a:gd name="connsiteY0" fmla="*/ 168632 h 168632"/>
                    <a:gd name="connsiteX1" fmla="*/ 160181 w 168632"/>
                    <a:gd name="connsiteY1" fmla="*/ 167176 h 168632"/>
                    <a:gd name="connsiteX2" fmla="*/ 1456 w 168632"/>
                    <a:gd name="connsiteY2" fmla="*/ 8452 h 168632"/>
                    <a:gd name="connsiteX3" fmla="*/ 1456 w 168632"/>
                    <a:gd name="connsiteY3" fmla="*/ 1456 h 168632"/>
                    <a:gd name="connsiteX4" fmla="*/ 8452 w 168632"/>
                    <a:gd name="connsiteY4" fmla="*/ 1456 h 168632"/>
                    <a:gd name="connsiteX5" fmla="*/ 167176 w 168632"/>
                    <a:gd name="connsiteY5" fmla="*/ 160181 h 168632"/>
                    <a:gd name="connsiteX6" fmla="*/ 167176 w 168632"/>
                    <a:gd name="connsiteY6" fmla="*/ 167176 h 168632"/>
                    <a:gd name="connsiteX7" fmla="*/ 163693 w 168632"/>
                    <a:gd name="connsiteY7" fmla="*/ 168632 h 16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632" h="168632">
                      <a:moveTo>
                        <a:pt x="163693" y="168632"/>
                      </a:moveTo>
                      <a:cubicBezTo>
                        <a:pt x="162436" y="168632"/>
                        <a:pt x="161152" y="168147"/>
                        <a:pt x="160181" y="167176"/>
                      </a:cubicBezTo>
                      <a:lnTo>
                        <a:pt x="1456" y="8452"/>
                      </a:lnTo>
                      <a:cubicBezTo>
                        <a:pt x="-485" y="6510"/>
                        <a:pt x="-485" y="3398"/>
                        <a:pt x="1456" y="1456"/>
                      </a:cubicBezTo>
                      <a:cubicBezTo>
                        <a:pt x="3398" y="-485"/>
                        <a:pt x="6510" y="-485"/>
                        <a:pt x="8452" y="1456"/>
                      </a:cubicBezTo>
                      <a:lnTo>
                        <a:pt x="167176" y="160181"/>
                      </a:lnTo>
                      <a:cubicBezTo>
                        <a:pt x="169118" y="162122"/>
                        <a:pt x="169118" y="165234"/>
                        <a:pt x="167176" y="167176"/>
                      </a:cubicBezTo>
                      <a:cubicBezTo>
                        <a:pt x="166234" y="168147"/>
                        <a:pt x="164949" y="168632"/>
                        <a:pt x="163693" y="168632"/>
                      </a:cubicBezTo>
                      <a:close/>
                    </a:path>
                  </a:pathLst>
                </a:custGeom>
                <a:solidFill>
                  <a:schemeClr val="accent1"/>
                </a:solidFill>
                <a:ln w="2851" cap="flat">
                  <a:noFill/>
                  <a:prstDash val="solid"/>
                  <a:miter/>
                </a:ln>
              </p:spPr>
              <p:txBody>
                <a:bodyPr rtlCol="0" anchor="ctr"/>
                <a:lstStyle/>
                <a:p>
                  <a:endParaRPr lang="en-GB" dirty="0"/>
                </a:p>
              </p:txBody>
            </p:sp>
            <p:sp>
              <p:nvSpPr>
                <p:cNvPr id="576" name="Freihandform: Form 454">
                  <a:extLst>
                    <a:ext uri="{FF2B5EF4-FFF2-40B4-BE49-F238E27FC236}">
                      <a16:creationId xmlns:a16="http://schemas.microsoft.com/office/drawing/2014/main" id="{C87F0A31-F17E-4BA0-B926-BED4C8B99B80}"/>
                    </a:ext>
                  </a:extLst>
                </p:cNvPr>
                <p:cNvSpPr/>
                <p:nvPr/>
              </p:nvSpPr>
              <p:spPr>
                <a:xfrm>
                  <a:off x="3405467" y="2714930"/>
                  <a:ext cx="102752" cy="88484"/>
                </a:xfrm>
                <a:custGeom>
                  <a:avLst/>
                  <a:gdLst>
                    <a:gd name="connsiteX0" fmla="*/ 47817 w 102752"/>
                    <a:gd name="connsiteY0" fmla="*/ 88485 h 88484"/>
                    <a:gd name="connsiteX1" fmla="*/ 46675 w 102752"/>
                    <a:gd name="connsiteY1" fmla="*/ 88342 h 88484"/>
                    <a:gd name="connsiteX2" fmla="*/ 43105 w 102752"/>
                    <a:gd name="connsiteY2" fmla="*/ 85087 h 88484"/>
                    <a:gd name="connsiteX3" fmla="*/ 33169 w 102752"/>
                    <a:gd name="connsiteY3" fmla="*/ 55278 h 88484"/>
                    <a:gd name="connsiteX4" fmla="*/ 3389 w 102752"/>
                    <a:gd name="connsiteY4" fmla="*/ 45370 h 88484"/>
                    <a:gd name="connsiteX5" fmla="*/ 134 w 102752"/>
                    <a:gd name="connsiteY5" fmla="*/ 41801 h 88484"/>
                    <a:gd name="connsiteX6" fmla="*/ 1447 w 102752"/>
                    <a:gd name="connsiteY6" fmla="*/ 37176 h 88484"/>
                    <a:gd name="connsiteX7" fmla="*/ 37167 w 102752"/>
                    <a:gd name="connsiteY7" fmla="*/ 1456 h 88484"/>
                    <a:gd name="connsiteX8" fmla="*/ 44162 w 102752"/>
                    <a:gd name="connsiteY8" fmla="*/ 1456 h 88484"/>
                    <a:gd name="connsiteX9" fmla="*/ 44162 w 102752"/>
                    <a:gd name="connsiteY9" fmla="*/ 8452 h 88484"/>
                    <a:gd name="connsiteX10" fmla="*/ 14096 w 102752"/>
                    <a:gd name="connsiteY10" fmla="*/ 38518 h 88484"/>
                    <a:gd name="connsiteX11" fmla="*/ 38623 w 102752"/>
                    <a:gd name="connsiteY11" fmla="*/ 46684 h 88484"/>
                    <a:gd name="connsiteX12" fmla="*/ 41764 w 102752"/>
                    <a:gd name="connsiteY12" fmla="*/ 49824 h 88484"/>
                    <a:gd name="connsiteX13" fmla="*/ 49958 w 102752"/>
                    <a:gd name="connsiteY13" fmla="*/ 74380 h 88484"/>
                    <a:gd name="connsiteX14" fmla="*/ 90789 w 102752"/>
                    <a:gd name="connsiteY14" fmla="*/ 33549 h 88484"/>
                    <a:gd name="connsiteX15" fmla="*/ 79996 w 102752"/>
                    <a:gd name="connsiteY15" fmla="*/ 22756 h 88484"/>
                    <a:gd name="connsiteX16" fmla="*/ 79996 w 102752"/>
                    <a:gd name="connsiteY16" fmla="*/ 15761 h 88484"/>
                    <a:gd name="connsiteX17" fmla="*/ 86991 w 102752"/>
                    <a:gd name="connsiteY17" fmla="*/ 15761 h 88484"/>
                    <a:gd name="connsiteX18" fmla="*/ 101296 w 102752"/>
                    <a:gd name="connsiteY18" fmla="*/ 30066 h 88484"/>
                    <a:gd name="connsiteX19" fmla="*/ 102752 w 102752"/>
                    <a:gd name="connsiteY19" fmla="*/ 33578 h 88484"/>
                    <a:gd name="connsiteX20" fmla="*/ 101296 w 102752"/>
                    <a:gd name="connsiteY20" fmla="*/ 37090 h 88484"/>
                    <a:gd name="connsiteX21" fmla="*/ 51300 w 102752"/>
                    <a:gd name="connsiteY21" fmla="*/ 87086 h 88484"/>
                    <a:gd name="connsiteX22" fmla="*/ 47817 w 102752"/>
                    <a:gd name="connsiteY22" fmla="*/ 88485 h 8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2752" h="88484">
                      <a:moveTo>
                        <a:pt x="47817" y="88485"/>
                      </a:moveTo>
                      <a:cubicBezTo>
                        <a:pt x="47446" y="88485"/>
                        <a:pt x="47046" y="88456"/>
                        <a:pt x="46675" y="88342"/>
                      </a:cubicBezTo>
                      <a:cubicBezTo>
                        <a:pt x="45019" y="87942"/>
                        <a:pt x="43648" y="86715"/>
                        <a:pt x="43105" y="85087"/>
                      </a:cubicBezTo>
                      <a:lnTo>
                        <a:pt x="33169" y="55278"/>
                      </a:lnTo>
                      <a:lnTo>
                        <a:pt x="3389" y="45370"/>
                      </a:lnTo>
                      <a:cubicBezTo>
                        <a:pt x="1761" y="44828"/>
                        <a:pt x="533" y="43486"/>
                        <a:pt x="134" y="41801"/>
                      </a:cubicBezTo>
                      <a:cubicBezTo>
                        <a:pt x="-266" y="40145"/>
                        <a:pt x="248" y="38375"/>
                        <a:pt x="1447" y="37176"/>
                      </a:cubicBezTo>
                      <a:lnTo>
                        <a:pt x="37167" y="1456"/>
                      </a:lnTo>
                      <a:cubicBezTo>
                        <a:pt x="39108" y="-485"/>
                        <a:pt x="42220" y="-485"/>
                        <a:pt x="44162" y="1456"/>
                      </a:cubicBezTo>
                      <a:cubicBezTo>
                        <a:pt x="46104" y="3398"/>
                        <a:pt x="46104" y="6510"/>
                        <a:pt x="44162" y="8452"/>
                      </a:cubicBezTo>
                      <a:lnTo>
                        <a:pt x="14096" y="38518"/>
                      </a:lnTo>
                      <a:lnTo>
                        <a:pt x="38623" y="46684"/>
                      </a:lnTo>
                      <a:cubicBezTo>
                        <a:pt x="40107" y="47169"/>
                        <a:pt x="41250" y="48340"/>
                        <a:pt x="41764" y="49824"/>
                      </a:cubicBezTo>
                      <a:lnTo>
                        <a:pt x="49958" y="74380"/>
                      </a:lnTo>
                      <a:lnTo>
                        <a:pt x="90789" y="33549"/>
                      </a:lnTo>
                      <a:lnTo>
                        <a:pt x="79996" y="22756"/>
                      </a:lnTo>
                      <a:cubicBezTo>
                        <a:pt x="78054" y="20815"/>
                        <a:pt x="78054" y="17703"/>
                        <a:pt x="79996" y="15761"/>
                      </a:cubicBezTo>
                      <a:cubicBezTo>
                        <a:pt x="81937" y="13820"/>
                        <a:pt x="85049" y="13820"/>
                        <a:pt x="86991" y="15761"/>
                      </a:cubicBezTo>
                      <a:lnTo>
                        <a:pt x="101296" y="30066"/>
                      </a:lnTo>
                      <a:cubicBezTo>
                        <a:pt x="102238" y="30980"/>
                        <a:pt x="102752" y="32265"/>
                        <a:pt x="102752" y="33578"/>
                      </a:cubicBezTo>
                      <a:cubicBezTo>
                        <a:pt x="102752" y="34891"/>
                        <a:pt x="102238" y="36148"/>
                        <a:pt x="101296" y="37090"/>
                      </a:cubicBezTo>
                      <a:lnTo>
                        <a:pt x="51300" y="87086"/>
                      </a:lnTo>
                      <a:cubicBezTo>
                        <a:pt x="50358" y="87971"/>
                        <a:pt x="49102" y="88485"/>
                        <a:pt x="47817" y="88485"/>
                      </a:cubicBezTo>
                      <a:close/>
                    </a:path>
                  </a:pathLst>
                </a:custGeom>
                <a:solidFill>
                  <a:schemeClr val="accent1"/>
                </a:solidFill>
                <a:ln w="2851" cap="flat">
                  <a:noFill/>
                  <a:prstDash val="solid"/>
                  <a:miter/>
                </a:ln>
              </p:spPr>
              <p:txBody>
                <a:bodyPr rtlCol="0" anchor="ctr"/>
                <a:lstStyle/>
                <a:p>
                  <a:endParaRPr lang="en-GB" dirty="0"/>
                </a:p>
              </p:txBody>
            </p:sp>
            <p:sp>
              <p:nvSpPr>
                <p:cNvPr id="577" name="Freihandform: Form 455">
                  <a:extLst>
                    <a:ext uri="{FF2B5EF4-FFF2-40B4-BE49-F238E27FC236}">
                      <a16:creationId xmlns:a16="http://schemas.microsoft.com/office/drawing/2014/main" id="{0F903D01-D121-466E-9F71-9729C4BA1FD4}"/>
                    </a:ext>
                  </a:extLst>
                </p:cNvPr>
                <p:cNvSpPr/>
                <p:nvPr/>
              </p:nvSpPr>
              <p:spPr>
                <a:xfrm>
                  <a:off x="3426873" y="2650629"/>
                  <a:ext cx="102761" cy="102761"/>
                </a:xfrm>
                <a:custGeom>
                  <a:avLst/>
                  <a:gdLst>
                    <a:gd name="connsiteX0" fmla="*/ 47826 w 102761"/>
                    <a:gd name="connsiteY0" fmla="*/ 102761 h 102761"/>
                    <a:gd name="connsiteX1" fmla="*/ 44314 w 102761"/>
                    <a:gd name="connsiteY1" fmla="*/ 101305 h 102761"/>
                    <a:gd name="connsiteX2" fmla="*/ 1456 w 102761"/>
                    <a:gd name="connsiteY2" fmla="*/ 58447 h 102761"/>
                    <a:gd name="connsiteX3" fmla="*/ 1456 w 102761"/>
                    <a:gd name="connsiteY3" fmla="*/ 51452 h 102761"/>
                    <a:gd name="connsiteX4" fmla="*/ 51452 w 102761"/>
                    <a:gd name="connsiteY4" fmla="*/ 1456 h 102761"/>
                    <a:gd name="connsiteX5" fmla="*/ 58447 w 102761"/>
                    <a:gd name="connsiteY5" fmla="*/ 1456 h 102761"/>
                    <a:gd name="connsiteX6" fmla="*/ 101305 w 102761"/>
                    <a:gd name="connsiteY6" fmla="*/ 44314 h 102761"/>
                    <a:gd name="connsiteX7" fmla="*/ 101305 w 102761"/>
                    <a:gd name="connsiteY7" fmla="*/ 51309 h 102761"/>
                    <a:gd name="connsiteX8" fmla="*/ 51309 w 102761"/>
                    <a:gd name="connsiteY8" fmla="*/ 101305 h 102761"/>
                    <a:gd name="connsiteX9" fmla="*/ 47826 w 102761"/>
                    <a:gd name="connsiteY9" fmla="*/ 102761 h 102761"/>
                    <a:gd name="connsiteX10" fmla="*/ 11964 w 102761"/>
                    <a:gd name="connsiteY10" fmla="*/ 54964 h 102761"/>
                    <a:gd name="connsiteX11" fmla="*/ 47826 w 102761"/>
                    <a:gd name="connsiteY11" fmla="*/ 90826 h 102761"/>
                    <a:gd name="connsiteX12" fmla="*/ 90826 w 102761"/>
                    <a:gd name="connsiteY12" fmla="*/ 47826 h 102761"/>
                    <a:gd name="connsiteX13" fmla="*/ 54964 w 102761"/>
                    <a:gd name="connsiteY13" fmla="*/ 11964 h 102761"/>
                    <a:gd name="connsiteX14" fmla="*/ 11964 w 102761"/>
                    <a:gd name="connsiteY14" fmla="*/ 54964 h 10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61" h="102761">
                      <a:moveTo>
                        <a:pt x="47826" y="102761"/>
                      </a:moveTo>
                      <a:cubicBezTo>
                        <a:pt x="46569" y="102761"/>
                        <a:pt x="45285" y="102276"/>
                        <a:pt x="44314" y="101305"/>
                      </a:cubicBezTo>
                      <a:lnTo>
                        <a:pt x="1456" y="58447"/>
                      </a:lnTo>
                      <a:cubicBezTo>
                        <a:pt x="-485" y="56506"/>
                        <a:pt x="-485" y="53394"/>
                        <a:pt x="1456" y="51452"/>
                      </a:cubicBezTo>
                      <a:lnTo>
                        <a:pt x="51452" y="1456"/>
                      </a:lnTo>
                      <a:cubicBezTo>
                        <a:pt x="53394" y="-485"/>
                        <a:pt x="56506" y="-485"/>
                        <a:pt x="58447" y="1456"/>
                      </a:cubicBezTo>
                      <a:lnTo>
                        <a:pt x="101305" y="44314"/>
                      </a:lnTo>
                      <a:cubicBezTo>
                        <a:pt x="103246" y="46255"/>
                        <a:pt x="103246" y="49368"/>
                        <a:pt x="101305" y="51309"/>
                      </a:cubicBezTo>
                      <a:lnTo>
                        <a:pt x="51309" y="101305"/>
                      </a:lnTo>
                      <a:cubicBezTo>
                        <a:pt x="50367" y="102276"/>
                        <a:pt x="49082" y="102761"/>
                        <a:pt x="47826" y="102761"/>
                      </a:cubicBezTo>
                      <a:close/>
                      <a:moveTo>
                        <a:pt x="11964" y="54964"/>
                      </a:moveTo>
                      <a:lnTo>
                        <a:pt x="47826" y="90826"/>
                      </a:lnTo>
                      <a:lnTo>
                        <a:pt x="90826" y="47826"/>
                      </a:lnTo>
                      <a:lnTo>
                        <a:pt x="54964" y="11964"/>
                      </a:lnTo>
                      <a:lnTo>
                        <a:pt x="11964" y="54964"/>
                      </a:lnTo>
                      <a:close/>
                    </a:path>
                  </a:pathLst>
                </a:custGeom>
                <a:solidFill>
                  <a:schemeClr val="accent1"/>
                </a:solidFill>
                <a:ln w="2851" cap="flat">
                  <a:noFill/>
                  <a:prstDash val="solid"/>
                  <a:miter/>
                </a:ln>
              </p:spPr>
              <p:txBody>
                <a:bodyPr rtlCol="0" anchor="ctr"/>
                <a:lstStyle/>
                <a:p>
                  <a:endParaRPr lang="en-GB" dirty="0"/>
                </a:p>
              </p:txBody>
            </p:sp>
          </p:grpSp>
          <p:grpSp>
            <p:nvGrpSpPr>
              <p:cNvPr id="571" name="Grafik 34">
                <a:extLst>
                  <a:ext uri="{FF2B5EF4-FFF2-40B4-BE49-F238E27FC236}">
                    <a16:creationId xmlns:a16="http://schemas.microsoft.com/office/drawing/2014/main" id="{93E17B55-5903-4D38-94E6-1CA8D66D3327}"/>
                  </a:ext>
                </a:extLst>
              </p:cNvPr>
              <p:cNvGrpSpPr/>
              <p:nvPr/>
            </p:nvGrpSpPr>
            <p:grpSpPr>
              <a:xfrm>
                <a:off x="3511817" y="2643491"/>
                <a:ext cx="232980" cy="168632"/>
                <a:chOff x="3511817" y="2643491"/>
                <a:chExt cx="232980" cy="168632"/>
              </a:xfrm>
              <a:solidFill>
                <a:schemeClr val="accent1"/>
              </a:solidFill>
            </p:grpSpPr>
            <p:sp>
              <p:nvSpPr>
                <p:cNvPr id="572" name="Freihandform: Form 457">
                  <a:extLst>
                    <a:ext uri="{FF2B5EF4-FFF2-40B4-BE49-F238E27FC236}">
                      <a16:creationId xmlns:a16="http://schemas.microsoft.com/office/drawing/2014/main" id="{338FD565-7DBF-476D-AAFA-825AF36528F3}"/>
                    </a:ext>
                  </a:extLst>
                </p:cNvPr>
                <p:cNvSpPr/>
                <p:nvPr/>
              </p:nvSpPr>
              <p:spPr>
                <a:xfrm>
                  <a:off x="3511817" y="2643491"/>
                  <a:ext cx="168632" cy="168632"/>
                </a:xfrm>
                <a:custGeom>
                  <a:avLst/>
                  <a:gdLst>
                    <a:gd name="connsiteX0" fmla="*/ 4968 w 168632"/>
                    <a:gd name="connsiteY0" fmla="*/ 168632 h 168632"/>
                    <a:gd name="connsiteX1" fmla="*/ 1456 w 168632"/>
                    <a:gd name="connsiteY1" fmla="*/ 167176 h 168632"/>
                    <a:gd name="connsiteX2" fmla="*/ 1456 w 168632"/>
                    <a:gd name="connsiteY2" fmla="*/ 160181 h 168632"/>
                    <a:gd name="connsiteX3" fmla="*/ 160181 w 168632"/>
                    <a:gd name="connsiteY3" fmla="*/ 1456 h 168632"/>
                    <a:gd name="connsiteX4" fmla="*/ 167176 w 168632"/>
                    <a:gd name="connsiteY4" fmla="*/ 1456 h 168632"/>
                    <a:gd name="connsiteX5" fmla="*/ 167176 w 168632"/>
                    <a:gd name="connsiteY5" fmla="*/ 8452 h 168632"/>
                    <a:gd name="connsiteX6" fmla="*/ 8452 w 168632"/>
                    <a:gd name="connsiteY6" fmla="*/ 167176 h 168632"/>
                    <a:gd name="connsiteX7" fmla="*/ 4968 w 168632"/>
                    <a:gd name="connsiteY7" fmla="*/ 168632 h 16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632" h="168632">
                      <a:moveTo>
                        <a:pt x="4968" y="168632"/>
                      </a:moveTo>
                      <a:cubicBezTo>
                        <a:pt x="3712" y="168632"/>
                        <a:pt x="2427" y="168147"/>
                        <a:pt x="1456" y="167176"/>
                      </a:cubicBezTo>
                      <a:cubicBezTo>
                        <a:pt x="-485" y="165234"/>
                        <a:pt x="-485" y="162122"/>
                        <a:pt x="1456" y="160181"/>
                      </a:cubicBezTo>
                      <a:lnTo>
                        <a:pt x="160181" y="1456"/>
                      </a:lnTo>
                      <a:cubicBezTo>
                        <a:pt x="162122" y="-485"/>
                        <a:pt x="165234" y="-485"/>
                        <a:pt x="167176" y="1456"/>
                      </a:cubicBezTo>
                      <a:cubicBezTo>
                        <a:pt x="169118" y="3398"/>
                        <a:pt x="169118" y="6510"/>
                        <a:pt x="167176" y="8452"/>
                      </a:cubicBezTo>
                      <a:lnTo>
                        <a:pt x="8452" y="167176"/>
                      </a:lnTo>
                      <a:cubicBezTo>
                        <a:pt x="7509" y="168147"/>
                        <a:pt x="6253" y="168632"/>
                        <a:pt x="4968" y="168632"/>
                      </a:cubicBezTo>
                      <a:close/>
                    </a:path>
                  </a:pathLst>
                </a:custGeom>
                <a:solidFill>
                  <a:schemeClr val="accent1"/>
                </a:solidFill>
                <a:ln w="2851" cap="flat">
                  <a:noFill/>
                  <a:prstDash val="solid"/>
                  <a:miter/>
                </a:ln>
              </p:spPr>
              <p:txBody>
                <a:bodyPr rtlCol="0" anchor="ctr"/>
                <a:lstStyle/>
                <a:p>
                  <a:endParaRPr lang="en-GB" dirty="0"/>
                </a:p>
              </p:txBody>
            </p:sp>
            <p:sp>
              <p:nvSpPr>
                <p:cNvPr id="573" name="Freihandform: Form 458">
                  <a:extLst>
                    <a:ext uri="{FF2B5EF4-FFF2-40B4-BE49-F238E27FC236}">
                      <a16:creationId xmlns:a16="http://schemas.microsoft.com/office/drawing/2014/main" id="{48165C7E-C525-4C1E-87BE-CD2FE2E8B1B2}"/>
                    </a:ext>
                  </a:extLst>
                </p:cNvPr>
                <p:cNvSpPr/>
                <p:nvPr/>
              </p:nvSpPr>
              <p:spPr>
                <a:xfrm>
                  <a:off x="3641989" y="2714873"/>
                  <a:ext cx="102809" cy="88541"/>
                </a:xfrm>
                <a:custGeom>
                  <a:avLst/>
                  <a:gdLst>
                    <a:gd name="connsiteX0" fmla="*/ 54964 w 102809"/>
                    <a:gd name="connsiteY0" fmla="*/ 88542 h 88541"/>
                    <a:gd name="connsiteX1" fmla="*/ 51452 w 102809"/>
                    <a:gd name="connsiteY1" fmla="*/ 87086 h 88541"/>
                    <a:gd name="connsiteX2" fmla="*/ 1456 w 102809"/>
                    <a:gd name="connsiteY2" fmla="*/ 37090 h 88541"/>
                    <a:gd name="connsiteX3" fmla="*/ 0 w 102809"/>
                    <a:gd name="connsiteY3" fmla="*/ 33578 h 88541"/>
                    <a:gd name="connsiteX4" fmla="*/ 1456 w 102809"/>
                    <a:gd name="connsiteY4" fmla="*/ 30066 h 88541"/>
                    <a:gd name="connsiteX5" fmla="*/ 15761 w 102809"/>
                    <a:gd name="connsiteY5" fmla="*/ 15761 h 88541"/>
                    <a:gd name="connsiteX6" fmla="*/ 22757 w 102809"/>
                    <a:gd name="connsiteY6" fmla="*/ 15761 h 88541"/>
                    <a:gd name="connsiteX7" fmla="*/ 22757 w 102809"/>
                    <a:gd name="connsiteY7" fmla="*/ 22756 h 88541"/>
                    <a:gd name="connsiteX8" fmla="*/ 11964 w 102809"/>
                    <a:gd name="connsiteY8" fmla="*/ 33549 h 88541"/>
                    <a:gd name="connsiteX9" fmla="*/ 52794 w 102809"/>
                    <a:gd name="connsiteY9" fmla="*/ 74380 h 88541"/>
                    <a:gd name="connsiteX10" fmla="*/ 60989 w 102809"/>
                    <a:gd name="connsiteY10" fmla="*/ 49824 h 88541"/>
                    <a:gd name="connsiteX11" fmla="*/ 64129 w 102809"/>
                    <a:gd name="connsiteY11" fmla="*/ 46684 h 88541"/>
                    <a:gd name="connsiteX12" fmla="*/ 88685 w 102809"/>
                    <a:gd name="connsiteY12" fmla="*/ 38518 h 88541"/>
                    <a:gd name="connsiteX13" fmla="*/ 58647 w 102809"/>
                    <a:gd name="connsiteY13" fmla="*/ 8452 h 88541"/>
                    <a:gd name="connsiteX14" fmla="*/ 58647 w 102809"/>
                    <a:gd name="connsiteY14" fmla="*/ 1456 h 88541"/>
                    <a:gd name="connsiteX15" fmla="*/ 65643 w 102809"/>
                    <a:gd name="connsiteY15" fmla="*/ 1456 h 88541"/>
                    <a:gd name="connsiteX16" fmla="*/ 101362 w 102809"/>
                    <a:gd name="connsiteY16" fmla="*/ 37176 h 88541"/>
                    <a:gd name="connsiteX17" fmla="*/ 102676 w 102809"/>
                    <a:gd name="connsiteY17" fmla="*/ 41801 h 88541"/>
                    <a:gd name="connsiteX18" fmla="*/ 99421 w 102809"/>
                    <a:gd name="connsiteY18" fmla="*/ 45370 h 88541"/>
                    <a:gd name="connsiteX19" fmla="*/ 69640 w 102809"/>
                    <a:gd name="connsiteY19" fmla="*/ 55307 h 88541"/>
                    <a:gd name="connsiteX20" fmla="*/ 59704 w 102809"/>
                    <a:gd name="connsiteY20" fmla="*/ 85116 h 88541"/>
                    <a:gd name="connsiteX21" fmla="*/ 56135 w 102809"/>
                    <a:gd name="connsiteY21" fmla="*/ 88371 h 88541"/>
                    <a:gd name="connsiteX22" fmla="*/ 54964 w 102809"/>
                    <a:gd name="connsiteY22" fmla="*/ 88542 h 88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2809" h="88541">
                      <a:moveTo>
                        <a:pt x="54964" y="88542"/>
                      </a:moveTo>
                      <a:cubicBezTo>
                        <a:pt x="53679" y="88542"/>
                        <a:pt x="52394" y="88028"/>
                        <a:pt x="51452" y="87086"/>
                      </a:cubicBezTo>
                      <a:lnTo>
                        <a:pt x="1456" y="37090"/>
                      </a:lnTo>
                      <a:cubicBezTo>
                        <a:pt x="543" y="36148"/>
                        <a:pt x="0" y="34891"/>
                        <a:pt x="0" y="33578"/>
                      </a:cubicBezTo>
                      <a:cubicBezTo>
                        <a:pt x="0" y="32265"/>
                        <a:pt x="514" y="31008"/>
                        <a:pt x="1456" y="30066"/>
                      </a:cubicBezTo>
                      <a:lnTo>
                        <a:pt x="15761" y="15761"/>
                      </a:lnTo>
                      <a:cubicBezTo>
                        <a:pt x="17703" y="13819"/>
                        <a:pt x="20844" y="13848"/>
                        <a:pt x="22757" y="15761"/>
                      </a:cubicBezTo>
                      <a:cubicBezTo>
                        <a:pt x="24698" y="17703"/>
                        <a:pt x="24698" y="20815"/>
                        <a:pt x="22757" y="22756"/>
                      </a:cubicBezTo>
                      <a:lnTo>
                        <a:pt x="11964" y="33549"/>
                      </a:lnTo>
                      <a:lnTo>
                        <a:pt x="52794" y="74380"/>
                      </a:lnTo>
                      <a:lnTo>
                        <a:pt x="60989" y="49824"/>
                      </a:lnTo>
                      <a:cubicBezTo>
                        <a:pt x="61474" y="48340"/>
                        <a:pt x="62645" y="47198"/>
                        <a:pt x="64129" y="46684"/>
                      </a:cubicBezTo>
                      <a:lnTo>
                        <a:pt x="88685" y="38518"/>
                      </a:lnTo>
                      <a:lnTo>
                        <a:pt x="58647" y="8452"/>
                      </a:lnTo>
                      <a:cubicBezTo>
                        <a:pt x="56706" y="6510"/>
                        <a:pt x="56706" y="3398"/>
                        <a:pt x="58647" y="1456"/>
                      </a:cubicBezTo>
                      <a:cubicBezTo>
                        <a:pt x="60589" y="-485"/>
                        <a:pt x="63701" y="-485"/>
                        <a:pt x="65643" y="1456"/>
                      </a:cubicBezTo>
                      <a:lnTo>
                        <a:pt x="101362" y="37176"/>
                      </a:lnTo>
                      <a:cubicBezTo>
                        <a:pt x="102561" y="38375"/>
                        <a:pt x="103075" y="40145"/>
                        <a:pt x="102676" y="41801"/>
                      </a:cubicBezTo>
                      <a:cubicBezTo>
                        <a:pt x="102276" y="43457"/>
                        <a:pt x="101048" y="44828"/>
                        <a:pt x="99421" y="45370"/>
                      </a:cubicBezTo>
                      <a:lnTo>
                        <a:pt x="69640" y="55307"/>
                      </a:lnTo>
                      <a:lnTo>
                        <a:pt x="59704" y="85116"/>
                      </a:lnTo>
                      <a:cubicBezTo>
                        <a:pt x="59161" y="86743"/>
                        <a:pt x="57819" y="87971"/>
                        <a:pt x="56135" y="88371"/>
                      </a:cubicBezTo>
                      <a:cubicBezTo>
                        <a:pt x="55706" y="88485"/>
                        <a:pt x="55335" y="88542"/>
                        <a:pt x="54964" y="88542"/>
                      </a:cubicBezTo>
                      <a:close/>
                    </a:path>
                  </a:pathLst>
                </a:custGeom>
                <a:solidFill>
                  <a:schemeClr val="accent1"/>
                </a:solidFill>
                <a:ln w="2851" cap="flat">
                  <a:noFill/>
                  <a:prstDash val="solid"/>
                  <a:miter/>
                </a:ln>
              </p:spPr>
              <p:txBody>
                <a:bodyPr rtlCol="0" anchor="ctr"/>
                <a:lstStyle/>
                <a:p>
                  <a:endParaRPr lang="en-GB" dirty="0"/>
                </a:p>
              </p:txBody>
            </p:sp>
            <p:sp>
              <p:nvSpPr>
                <p:cNvPr id="574" name="Freihandform: Form 459">
                  <a:extLst>
                    <a:ext uri="{FF2B5EF4-FFF2-40B4-BE49-F238E27FC236}">
                      <a16:creationId xmlns:a16="http://schemas.microsoft.com/office/drawing/2014/main" id="{BB0150EF-4661-4C0A-8BBC-7CDE4AE1AC7B}"/>
                    </a:ext>
                  </a:extLst>
                </p:cNvPr>
                <p:cNvSpPr/>
                <p:nvPr/>
              </p:nvSpPr>
              <p:spPr>
                <a:xfrm>
                  <a:off x="3620546" y="2650629"/>
                  <a:ext cx="102761" cy="102761"/>
                </a:xfrm>
                <a:custGeom>
                  <a:avLst/>
                  <a:gdLst>
                    <a:gd name="connsiteX0" fmla="*/ 54964 w 102761"/>
                    <a:gd name="connsiteY0" fmla="*/ 102761 h 102761"/>
                    <a:gd name="connsiteX1" fmla="*/ 51452 w 102761"/>
                    <a:gd name="connsiteY1" fmla="*/ 101305 h 102761"/>
                    <a:gd name="connsiteX2" fmla="*/ 1456 w 102761"/>
                    <a:gd name="connsiteY2" fmla="*/ 51309 h 102761"/>
                    <a:gd name="connsiteX3" fmla="*/ 1456 w 102761"/>
                    <a:gd name="connsiteY3" fmla="*/ 44314 h 102761"/>
                    <a:gd name="connsiteX4" fmla="*/ 44314 w 102761"/>
                    <a:gd name="connsiteY4" fmla="*/ 1456 h 102761"/>
                    <a:gd name="connsiteX5" fmla="*/ 51309 w 102761"/>
                    <a:gd name="connsiteY5" fmla="*/ 1456 h 102761"/>
                    <a:gd name="connsiteX6" fmla="*/ 101305 w 102761"/>
                    <a:gd name="connsiteY6" fmla="*/ 51452 h 102761"/>
                    <a:gd name="connsiteX7" fmla="*/ 101305 w 102761"/>
                    <a:gd name="connsiteY7" fmla="*/ 58447 h 102761"/>
                    <a:gd name="connsiteX8" fmla="*/ 58447 w 102761"/>
                    <a:gd name="connsiteY8" fmla="*/ 101305 h 102761"/>
                    <a:gd name="connsiteX9" fmla="*/ 54964 w 102761"/>
                    <a:gd name="connsiteY9" fmla="*/ 102761 h 102761"/>
                    <a:gd name="connsiteX10" fmla="*/ 11964 w 102761"/>
                    <a:gd name="connsiteY10" fmla="*/ 47826 h 102761"/>
                    <a:gd name="connsiteX11" fmla="*/ 54964 w 102761"/>
                    <a:gd name="connsiteY11" fmla="*/ 90826 h 102761"/>
                    <a:gd name="connsiteX12" fmla="*/ 90826 w 102761"/>
                    <a:gd name="connsiteY12" fmla="*/ 54964 h 102761"/>
                    <a:gd name="connsiteX13" fmla="*/ 47826 w 102761"/>
                    <a:gd name="connsiteY13" fmla="*/ 11964 h 102761"/>
                    <a:gd name="connsiteX14" fmla="*/ 11964 w 102761"/>
                    <a:gd name="connsiteY14" fmla="*/ 47826 h 102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2761" h="102761">
                      <a:moveTo>
                        <a:pt x="54964" y="102761"/>
                      </a:moveTo>
                      <a:cubicBezTo>
                        <a:pt x="53708" y="102761"/>
                        <a:pt x="52423" y="102276"/>
                        <a:pt x="51452" y="101305"/>
                      </a:cubicBezTo>
                      <a:lnTo>
                        <a:pt x="1456" y="51309"/>
                      </a:lnTo>
                      <a:cubicBezTo>
                        <a:pt x="-485" y="49368"/>
                        <a:pt x="-485" y="46255"/>
                        <a:pt x="1456" y="44314"/>
                      </a:cubicBezTo>
                      <a:lnTo>
                        <a:pt x="44314" y="1456"/>
                      </a:lnTo>
                      <a:cubicBezTo>
                        <a:pt x="46255" y="-485"/>
                        <a:pt x="49368" y="-485"/>
                        <a:pt x="51309" y="1456"/>
                      </a:cubicBezTo>
                      <a:lnTo>
                        <a:pt x="101305" y="51452"/>
                      </a:lnTo>
                      <a:cubicBezTo>
                        <a:pt x="103247" y="53394"/>
                        <a:pt x="103247" y="56506"/>
                        <a:pt x="101305" y="58447"/>
                      </a:cubicBezTo>
                      <a:lnTo>
                        <a:pt x="58447" y="101305"/>
                      </a:lnTo>
                      <a:cubicBezTo>
                        <a:pt x="57505" y="102276"/>
                        <a:pt x="56249" y="102761"/>
                        <a:pt x="54964" y="102761"/>
                      </a:cubicBezTo>
                      <a:close/>
                      <a:moveTo>
                        <a:pt x="11964" y="47826"/>
                      </a:moveTo>
                      <a:lnTo>
                        <a:pt x="54964" y="90826"/>
                      </a:lnTo>
                      <a:lnTo>
                        <a:pt x="90826" y="54964"/>
                      </a:lnTo>
                      <a:lnTo>
                        <a:pt x="47826" y="11964"/>
                      </a:lnTo>
                      <a:lnTo>
                        <a:pt x="11964" y="47826"/>
                      </a:lnTo>
                      <a:close/>
                    </a:path>
                  </a:pathLst>
                </a:custGeom>
                <a:solidFill>
                  <a:schemeClr val="accent1"/>
                </a:solidFill>
                <a:ln w="2851" cap="flat">
                  <a:noFill/>
                  <a:prstDash val="solid"/>
                  <a:miter/>
                </a:ln>
              </p:spPr>
              <p:txBody>
                <a:bodyPr rtlCol="0" anchor="ctr"/>
                <a:lstStyle/>
                <a:p>
                  <a:endParaRPr lang="en-GB" dirty="0"/>
                </a:p>
              </p:txBody>
            </p:sp>
          </p:grpSp>
        </p:grpSp>
        <p:grpSp>
          <p:nvGrpSpPr>
            <p:cNvPr id="556" name="Group 555">
              <a:extLst>
                <a:ext uri="{FF2B5EF4-FFF2-40B4-BE49-F238E27FC236}">
                  <a16:creationId xmlns:a16="http://schemas.microsoft.com/office/drawing/2014/main" id="{954A36A8-46E9-463E-A355-1BBA80298DC5}"/>
                </a:ext>
              </a:extLst>
            </p:cNvPr>
            <p:cNvGrpSpPr/>
            <p:nvPr/>
          </p:nvGrpSpPr>
          <p:grpSpPr>
            <a:xfrm>
              <a:off x="7004592" y="3212058"/>
              <a:ext cx="589060" cy="432000"/>
              <a:chOff x="3286822" y="2487165"/>
              <a:chExt cx="576564" cy="422836"/>
            </a:xfrm>
          </p:grpSpPr>
          <p:sp>
            <p:nvSpPr>
              <p:cNvPr id="557" name="Freihandform: Form 461">
                <a:extLst>
                  <a:ext uri="{FF2B5EF4-FFF2-40B4-BE49-F238E27FC236}">
                    <a16:creationId xmlns:a16="http://schemas.microsoft.com/office/drawing/2014/main" id="{21C21776-72BA-4BE4-89D8-7AEA56AD736B}"/>
                  </a:ext>
                </a:extLst>
              </p:cNvPr>
              <p:cNvSpPr/>
              <p:nvPr/>
            </p:nvSpPr>
            <p:spPr>
              <a:xfrm>
                <a:off x="3286822" y="2854124"/>
                <a:ext cx="576564" cy="55877"/>
              </a:xfrm>
              <a:custGeom>
                <a:avLst/>
                <a:gdLst>
                  <a:gd name="connsiteX0" fmla="*/ 526883 w 576564"/>
                  <a:gd name="connsiteY0" fmla="*/ 55878 h 55877"/>
                  <a:gd name="connsiteX1" fmla="*/ 38289 w 576564"/>
                  <a:gd name="connsiteY1" fmla="*/ 55592 h 55877"/>
                  <a:gd name="connsiteX2" fmla="*/ 29 w 576564"/>
                  <a:gd name="connsiteY2" fmla="*/ 14847 h 55877"/>
                  <a:gd name="connsiteX3" fmla="*/ 0 w 576564"/>
                  <a:gd name="connsiteY3" fmla="*/ 4968 h 55877"/>
                  <a:gd name="connsiteX4" fmla="*/ 1456 w 576564"/>
                  <a:gd name="connsiteY4" fmla="*/ 1456 h 55877"/>
                  <a:gd name="connsiteX5" fmla="*/ 4968 w 576564"/>
                  <a:gd name="connsiteY5" fmla="*/ 0 h 55877"/>
                  <a:gd name="connsiteX6" fmla="*/ 4968 w 576564"/>
                  <a:gd name="connsiteY6" fmla="*/ 0 h 55877"/>
                  <a:gd name="connsiteX7" fmla="*/ 571597 w 576564"/>
                  <a:gd name="connsiteY7" fmla="*/ 286 h 55877"/>
                  <a:gd name="connsiteX8" fmla="*/ 575109 w 576564"/>
                  <a:gd name="connsiteY8" fmla="*/ 1742 h 55877"/>
                  <a:gd name="connsiteX9" fmla="*/ 576565 w 576564"/>
                  <a:gd name="connsiteY9" fmla="*/ 5254 h 55877"/>
                  <a:gd name="connsiteX10" fmla="*/ 576508 w 576564"/>
                  <a:gd name="connsiteY10" fmla="*/ 15104 h 55877"/>
                  <a:gd name="connsiteX11" fmla="*/ 538247 w 576564"/>
                  <a:gd name="connsiteY11" fmla="*/ 55821 h 55877"/>
                  <a:gd name="connsiteX12" fmla="*/ 526883 w 576564"/>
                  <a:gd name="connsiteY12" fmla="*/ 55878 h 55877"/>
                  <a:gd name="connsiteX13" fmla="*/ 9936 w 576564"/>
                  <a:gd name="connsiteY13" fmla="*/ 9908 h 55877"/>
                  <a:gd name="connsiteX14" fmla="*/ 9965 w 576564"/>
                  <a:gd name="connsiteY14" fmla="*/ 14733 h 55877"/>
                  <a:gd name="connsiteX15" fmla="*/ 38403 w 576564"/>
                  <a:gd name="connsiteY15" fmla="*/ 45684 h 55877"/>
                  <a:gd name="connsiteX16" fmla="*/ 538190 w 576564"/>
                  <a:gd name="connsiteY16" fmla="*/ 45941 h 55877"/>
                  <a:gd name="connsiteX17" fmla="*/ 566628 w 576564"/>
                  <a:gd name="connsiteY17" fmla="*/ 15019 h 55877"/>
                  <a:gd name="connsiteX18" fmla="*/ 566657 w 576564"/>
                  <a:gd name="connsiteY18" fmla="*/ 10165 h 55877"/>
                  <a:gd name="connsiteX19" fmla="*/ 9936 w 576564"/>
                  <a:gd name="connsiteY19" fmla="*/ 9908 h 55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76564" h="55877">
                    <a:moveTo>
                      <a:pt x="526883" y="55878"/>
                    </a:moveTo>
                    <a:cubicBezTo>
                      <a:pt x="452760" y="55878"/>
                      <a:pt x="43571" y="55649"/>
                      <a:pt x="38289" y="55592"/>
                    </a:cubicBezTo>
                    <a:cubicBezTo>
                      <a:pt x="3226" y="55307"/>
                      <a:pt x="257" y="37747"/>
                      <a:pt x="29" y="14847"/>
                    </a:cubicBezTo>
                    <a:cubicBezTo>
                      <a:pt x="29" y="13277"/>
                      <a:pt x="0" y="9879"/>
                      <a:pt x="0" y="4968"/>
                    </a:cubicBezTo>
                    <a:cubicBezTo>
                      <a:pt x="0" y="3655"/>
                      <a:pt x="514" y="2399"/>
                      <a:pt x="1456" y="1456"/>
                    </a:cubicBezTo>
                    <a:cubicBezTo>
                      <a:pt x="2370" y="543"/>
                      <a:pt x="3655" y="0"/>
                      <a:pt x="4968" y="0"/>
                    </a:cubicBezTo>
                    <a:lnTo>
                      <a:pt x="4968" y="0"/>
                    </a:lnTo>
                    <a:lnTo>
                      <a:pt x="571597" y="286"/>
                    </a:lnTo>
                    <a:cubicBezTo>
                      <a:pt x="572910" y="286"/>
                      <a:pt x="574166" y="800"/>
                      <a:pt x="575109" y="1742"/>
                    </a:cubicBezTo>
                    <a:cubicBezTo>
                      <a:pt x="576051" y="2655"/>
                      <a:pt x="576565" y="3940"/>
                      <a:pt x="576565" y="5254"/>
                    </a:cubicBezTo>
                    <a:lnTo>
                      <a:pt x="576508" y="15104"/>
                    </a:lnTo>
                    <a:cubicBezTo>
                      <a:pt x="576308" y="38004"/>
                      <a:pt x="573367" y="55535"/>
                      <a:pt x="538247" y="55821"/>
                    </a:cubicBezTo>
                    <a:cubicBezTo>
                      <a:pt x="537562" y="55878"/>
                      <a:pt x="533593" y="55878"/>
                      <a:pt x="526883" y="55878"/>
                    </a:cubicBezTo>
                    <a:close/>
                    <a:moveTo>
                      <a:pt x="9936" y="9908"/>
                    </a:moveTo>
                    <a:cubicBezTo>
                      <a:pt x="9936" y="12163"/>
                      <a:pt x="9936" y="13791"/>
                      <a:pt x="9965" y="14733"/>
                    </a:cubicBezTo>
                    <a:cubicBezTo>
                      <a:pt x="10193" y="37461"/>
                      <a:pt x="12563" y="45456"/>
                      <a:pt x="38403" y="45684"/>
                    </a:cubicBezTo>
                    <a:cubicBezTo>
                      <a:pt x="44171" y="45741"/>
                      <a:pt x="529881" y="45998"/>
                      <a:pt x="538190" y="45941"/>
                    </a:cubicBezTo>
                    <a:cubicBezTo>
                      <a:pt x="564059" y="45741"/>
                      <a:pt x="566428" y="37747"/>
                      <a:pt x="566628" y="15019"/>
                    </a:cubicBezTo>
                    <a:lnTo>
                      <a:pt x="566657" y="10165"/>
                    </a:lnTo>
                    <a:lnTo>
                      <a:pt x="9936" y="9908"/>
                    </a:lnTo>
                    <a:close/>
                  </a:path>
                </a:pathLst>
              </a:custGeom>
              <a:solidFill>
                <a:schemeClr val="tx2"/>
              </a:solidFill>
              <a:ln w="2851" cap="flat">
                <a:noFill/>
                <a:prstDash val="solid"/>
                <a:miter/>
              </a:ln>
            </p:spPr>
            <p:txBody>
              <a:bodyPr rtlCol="0" anchor="ctr"/>
              <a:lstStyle/>
              <a:p>
                <a:endParaRPr lang="en-GB" dirty="0"/>
              </a:p>
            </p:txBody>
          </p:sp>
          <p:sp>
            <p:nvSpPr>
              <p:cNvPr id="558" name="Freihandform: Form 462">
                <a:extLst>
                  <a:ext uri="{FF2B5EF4-FFF2-40B4-BE49-F238E27FC236}">
                    <a16:creationId xmlns:a16="http://schemas.microsoft.com/office/drawing/2014/main" id="{A8528B20-9C7F-44F1-A45C-60DBE1509CEA}"/>
                  </a:ext>
                </a:extLst>
              </p:cNvPr>
              <p:cNvSpPr/>
              <p:nvPr/>
            </p:nvSpPr>
            <p:spPr>
              <a:xfrm>
                <a:off x="3355776" y="2621876"/>
                <a:ext cx="9879" cy="235445"/>
              </a:xfrm>
              <a:custGeom>
                <a:avLst/>
                <a:gdLst>
                  <a:gd name="connsiteX0" fmla="*/ 4940 w 9879"/>
                  <a:gd name="connsiteY0" fmla="*/ 235446 h 235445"/>
                  <a:gd name="connsiteX1" fmla="*/ 0 w 9879"/>
                  <a:gd name="connsiteY1" fmla="*/ 230506 h 235445"/>
                  <a:gd name="connsiteX2" fmla="*/ 0 w 9879"/>
                  <a:gd name="connsiteY2" fmla="*/ 4940 h 235445"/>
                  <a:gd name="connsiteX3" fmla="*/ 4940 w 9879"/>
                  <a:gd name="connsiteY3" fmla="*/ 0 h 235445"/>
                  <a:gd name="connsiteX4" fmla="*/ 9879 w 9879"/>
                  <a:gd name="connsiteY4" fmla="*/ 4940 h 235445"/>
                  <a:gd name="connsiteX5" fmla="*/ 9879 w 9879"/>
                  <a:gd name="connsiteY5" fmla="*/ 230506 h 235445"/>
                  <a:gd name="connsiteX6" fmla="*/ 4940 w 9879"/>
                  <a:gd name="connsiteY6" fmla="*/ 235446 h 235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35445">
                    <a:moveTo>
                      <a:pt x="4940" y="235446"/>
                    </a:moveTo>
                    <a:cubicBezTo>
                      <a:pt x="2199" y="235446"/>
                      <a:pt x="0" y="233219"/>
                      <a:pt x="0" y="230506"/>
                    </a:cubicBezTo>
                    <a:lnTo>
                      <a:pt x="0" y="4940"/>
                    </a:lnTo>
                    <a:cubicBezTo>
                      <a:pt x="0" y="2199"/>
                      <a:pt x="2227" y="0"/>
                      <a:pt x="4940" y="0"/>
                    </a:cubicBezTo>
                    <a:cubicBezTo>
                      <a:pt x="7681" y="0"/>
                      <a:pt x="9879" y="2227"/>
                      <a:pt x="9879" y="4940"/>
                    </a:cubicBezTo>
                    <a:lnTo>
                      <a:pt x="9879" y="230506"/>
                    </a:lnTo>
                    <a:cubicBezTo>
                      <a:pt x="9879" y="233219"/>
                      <a:pt x="7652" y="235446"/>
                      <a:pt x="4940" y="235446"/>
                    </a:cubicBezTo>
                    <a:close/>
                  </a:path>
                </a:pathLst>
              </a:custGeom>
              <a:solidFill>
                <a:schemeClr val="tx2"/>
              </a:solidFill>
              <a:ln w="2851" cap="flat">
                <a:noFill/>
                <a:prstDash val="solid"/>
                <a:miter/>
              </a:ln>
            </p:spPr>
            <p:txBody>
              <a:bodyPr rtlCol="0" anchor="ctr"/>
              <a:lstStyle/>
              <a:p>
                <a:endParaRPr lang="en-GB" dirty="0"/>
              </a:p>
            </p:txBody>
          </p:sp>
          <p:sp>
            <p:nvSpPr>
              <p:cNvPr id="559" name="Freihandform: Form 463">
                <a:extLst>
                  <a:ext uri="{FF2B5EF4-FFF2-40B4-BE49-F238E27FC236}">
                    <a16:creationId xmlns:a16="http://schemas.microsoft.com/office/drawing/2014/main" id="{1944D1F6-07E8-4C4D-881D-A8654ABC4D83}"/>
                  </a:ext>
                </a:extLst>
              </p:cNvPr>
              <p:cNvSpPr/>
              <p:nvPr/>
            </p:nvSpPr>
            <p:spPr>
              <a:xfrm>
                <a:off x="3784581" y="2623532"/>
                <a:ext cx="9879" cy="233789"/>
              </a:xfrm>
              <a:custGeom>
                <a:avLst/>
                <a:gdLst>
                  <a:gd name="connsiteX0" fmla="*/ 4940 w 9879"/>
                  <a:gd name="connsiteY0" fmla="*/ 233790 h 233789"/>
                  <a:gd name="connsiteX1" fmla="*/ 0 w 9879"/>
                  <a:gd name="connsiteY1" fmla="*/ 228850 h 233789"/>
                  <a:gd name="connsiteX2" fmla="*/ 0 w 9879"/>
                  <a:gd name="connsiteY2" fmla="*/ 4940 h 233789"/>
                  <a:gd name="connsiteX3" fmla="*/ 4940 w 9879"/>
                  <a:gd name="connsiteY3" fmla="*/ 0 h 233789"/>
                  <a:gd name="connsiteX4" fmla="*/ 9879 w 9879"/>
                  <a:gd name="connsiteY4" fmla="*/ 4940 h 233789"/>
                  <a:gd name="connsiteX5" fmla="*/ 9879 w 9879"/>
                  <a:gd name="connsiteY5" fmla="*/ 228850 h 233789"/>
                  <a:gd name="connsiteX6" fmla="*/ 4940 w 9879"/>
                  <a:gd name="connsiteY6" fmla="*/ 233790 h 233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9" h="233789">
                    <a:moveTo>
                      <a:pt x="4940" y="233790"/>
                    </a:moveTo>
                    <a:cubicBezTo>
                      <a:pt x="2199" y="233790"/>
                      <a:pt x="0" y="231562"/>
                      <a:pt x="0" y="228850"/>
                    </a:cubicBezTo>
                    <a:lnTo>
                      <a:pt x="0" y="4940"/>
                    </a:lnTo>
                    <a:cubicBezTo>
                      <a:pt x="0" y="2199"/>
                      <a:pt x="2227" y="0"/>
                      <a:pt x="4940" y="0"/>
                    </a:cubicBezTo>
                    <a:cubicBezTo>
                      <a:pt x="7681" y="0"/>
                      <a:pt x="9879" y="2227"/>
                      <a:pt x="9879" y="4940"/>
                    </a:cubicBezTo>
                    <a:lnTo>
                      <a:pt x="9879" y="228850"/>
                    </a:lnTo>
                    <a:cubicBezTo>
                      <a:pt x="9879" y="231562"/>
                      <a:pt x="7652" y="233790"/>
                      <a:pt x="4940" y="233790"/>
                    </a:cubicBezTo>
                    <a:close/>
                  </a:path>
                </a:pathLst>
              </a:custGeom>
              <a:solidFill>
                <a:schemeClr val="tx2"/>
              </a:solidFill>
              <a:ln w="2851" cap="flat">
                <a:noFill/>
                <a:prstDash val="solid"/>
                <a:miter/>
              </a:ln>
            </p:spPr>
            <p:txBody>
              <a:bodyPr rtlCol="0" anchor="ctr"/>
              <a:lstStyle/>
              <a:p>
                <a:endParaRPr lang="en-GB" dirty="0"/>
              </a:p>
            </p:txBody>
          </p:sp>
          <p:sp>
            <p:nvSpPr>
              <p:cNvPr id="560" name="Freihandform: Form 465">
                <a:extLst>
                  <a:ext uri="{FF2B5EF4-FFF2-40B4-BE49-F238E27FC236}">
                    <a16:creationId xmlns:a16="http://schemas.microsoft.com/office/drawing/2014/main" id="{6A159F88-EDA4-4428-AE33-997CEB78FA78}"/>
                  </a:ext>
                </a:extLst>
              </p:cNvPr>
              <p:cNvSpPr/>
              <p:nvPr/>
            </p:nvSpPr>
            <p:spPr>
              <a:xfrm>
                <a:off x="3339616" y="2546012"/>
                <a:ext cx="102247" cy="69811"/>
              </a:xfrm>
              <a:custGeom>
                <a:avLst/>
                <a:gdLst>
                  <a:gd name="connsiteX0" fmla="*/ 51138 w 102247"/>
                  <a:gd name="connsiteY0" fmla="*/ 69811 h 69811"/>
                  <a:gd name="connsiteX1" fmla="*/ 0 w 102247"/>
                  <a:gd name="connsiteY1" fmla="*/ 4940 h 69811"/>
                  <a:gd name="connsiteX2" fmla="*/ 4940 w 102247"/>
                  <a:gd name="connsiteY2" fmla="*/ 0 h 69811"/>
                  <a:gd name="connsiteX3" fmla="*/ 97308 w 102247"/>
                  <a:gd name="connsiteY3" fmla="*/ 0 h 69811"/>
                  <a:gd name="connsiteX4" fmla="*/ 102247 w 102247"/>
                  <a:gd name="connsiteY4" fmla="*/ 4940 h 69811"/>
                  <a:gd name="connsiteX5" fmla="*/ 51138 w 102247"/>
                  <a:gd name="connsiteY5" fmla="*/ 69811 h 69811"/>
                  <a:gd name="connsiteX6" fmla="*/ 10051 w 102247"/>
                  <a:gd name="connsiteY6" fmla="*/ 9879 h 69811"/>
                  <a:gd name="connsiteX7" fmla="*/ 51109 w 102247"/>
                  <a:gd name="connsiteY7" fmla="*/ 59904 h 69811"/>
                  <a:gd name="connsiteX8" fmla="*/ 92168 w 102247"/>
                  <a:gd name="connsiteY8" fmla="*/ 9879 h 69811"/>
                  <a:gd name="connsiteX9" fmla="*/ 10051 w 102247"/>
                  <a:gd name="connsiteY9" fmla="*/ 9879 h 6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247" h="69811">
                    <a:moveTo>
                      <a:pt x="51138" y="69811"/>
                    </a:moveTo>
                    <a:cubicBezTo>
                      <a:pt x="22956" y="69811"/>
                      <a:pt x="0" y="40716"/>
                      <a:pt x="0" y="4940"/>
                    </a:cubicBezTo>
                    <a:cubicBezTo>
                      <a:pt x="0" y="2199"/>
                      <a:pt x="2227" y="0"/>
                      <a:pt x="4940" y="0"/>
                    </a:cubicBezTo>
                    <a:lnTo>
                      <a:pt x="97308" y="0"/>
                    </a:lnTo>
                    <a:cubicBezTo>
                      <a:pt x="100049" y="0"/>
                      <a:pt x="102247" y="2227"/>
                      <a:pt x="102247" y="4940"/>
                    </a:cubicBezTo>
                    <a:cubicBezTo>
                      <a:pt x="102247" y="40716"/>
                      <a:pt x="79319" y="69811"/>
                      <a:pt x="51138" y="69811"/>
                    </a:cubicBezTo>
                    <a:close/>
                    <a:moveTo>
                      <a:pt x="10051" y="9879"/>
                    </a:moveTo>
                    <a:cubicBezTo>
                      <a:pt x="11935" y="37889"/>
                      <a:pt x="29638" y="59904"/>
                      <a:pt x="51109" y="59904"/>
                    </a:cubicBezTo>
                    <a:cubicBezTo>
                      <a:pt x="72610" y="59904"/>
                      <a:pt x="90284" y="37889"/>
                      <a:pt x="92168" y="9879"/>
                    </a:cubicBezTo>
                    <a:lnTo>
                      <a:pt x="10051" y="9879"/>
                    </a:lnTo>
                    <a:close/>
                  </a:path>
                </a:pathLst>
              </a:custGeom>
              <a:solidFill>
                <a:schemeClr val="tx2"/>
              </a:solidFill>
              <a:ln w="2851" cap="flat">
                <a:noFill/>
                <a:prstDash val="solid"/>
                <a:miter/>
              </a:ln>
            </p:spPr>
            <p:txBody>
              <a:bodyPr rtlCol="0" anchor="ctr"/>
              <a:lstStyle/>
              <a:p>
                <a:endParaRPr lang="en-GB" dirty="0"/>
              </a:p>
            </p:txBody>
          </p:sp>
          <p:sp>
            <p:nvSpPr>
              <p:cNvPr id="561" name="Freihandform: Form 466">
                <a:extLst>
                  <a:ext uri="{FF2B5EF4-FFF2-40B4-BE49-F238E27FC236}">
                    <a16:creationId xmlns:a16="http://schemas.microsoft.com/office/drawing/2014/main" id="{420EAEFB-1770-4790-A75D-32A463CAD692}"/>
                  </a:ext>
                </a:extLst>
              </p:cNvPr>
              <p:cNvSpPr/>
              <p:nvPr/>
            </p:nvSpPr>
            <p:spPr>
              <a:xfrm>
                <a:off x="3431984" y="2546012"/>
                <a:ext cx="102247" cy="69811"/>
              </a:xfrm>
              <a:custGeom>
                <a:avLst/>
                <a:gdLst>
                  <a:gd name="connsiteX0" fmla="*/ 51138 w 102247"/>
                  <a:gd name="connsiteY0" fmla="*/ 69811 h 69811"/>
                  <a:gd name="connsiteX1" fmla="*/ 0 w 102247"/>
                  <a:gd name="connsiteY1" fmla="*/ 4940 h 69811"/>
                  <a:gd name="connsiteX2" fmla="*/ 4940 w 102247"/>
                  <a:gd name="connsiteY2" fmla="*/ 0 h 69811"/>
                  <a:gd name="connsiteX3" fmla="*/ 97308 w 102247"/>
                  <a:gd name="connsiteY3" fmla="*/ 0 h 69811"/>
                  <a:gd name="connsiteX4" fmla="*/ 102247 w 102247"/>
                  <a:gd name="connsiteY4" fmla="*/ 4940 h 69811"/>
                  <a:gd name="connsiteX5" fmla="*/ 51138 w 102247"/>
                  <a:gd name="connsiteY5" fmla="*/ 69811 h 69811"/>
                  <a:gd name="connsiteX6" fmla="*/ 10051 w 102247"/>
                  <a:gd name="connsiteY6" fmla="*/ 9879 h 69811"/>
                  <a:gd name="connsiteX7" fmla="*/ 51109 w 102247"/>
                  <a:gd name="connsiteY7" fmla="*/ 59904 h 69811"/>
                  <a:gd name="connsiteX8" fmla="*/ 92168 w 102247"/>
                  <a:gd name="connsiteY8" fmla="*/ 9879 h 69811"/>
                  <a:gd name="connsiteX9" fmla="*/ 10051 w 102247"/>
                  <a:gd name="connsiteY9" fmla="*/ 9879 h 6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247" h="69811">
                    <a:moveTo>
                      <a:pt x="51138" y="69811"/>
                    </a:moveTo>
                    <a:cubicBezTo>
                      <a:pt x="22956" y="69811"/>
                      <a:pt x="0" y="40716"/>
                      <a:pt x="0" y="4940"/>
                    </a:cubicBezTo>
                    <a:cubicBezTo>
                      <a:pt x="0" y="2199"/>
                      <a:pt x="2227" y="0"/>
                      <a:pt x="4940" y="0"/>
                    </a:cubicBezTo>
                    <a:lnTo>
                      <a:pt x="97308" y="0"/>
                    </a:lnTo>
                    <a:cubicBezTo>
                      <a:pt x="100049" y="0"/>
                      <a:pt x="102247" y="2227"/>
                      <a:pt x="102247" y="4940"/>
                    </a:cubicBezTo>
                    <a:cubicBezTo>
                      <a:pt x="102247" y="40716"/>
                      <a:pt x="79319" y="69811"/>
                      <a:pt x="51138" y="69811"/>
                    </a:cubicBezTo>
                    <a:close/>
                    <a:moveTo>
                      <a:pt x="10051" y="9879"/>
                    </a:moveTo>
                    <a:cubicBezTo>
                      <a:pt x="11935" y="37889"/>
                      <a:pt x="29638" y="59904"/>
                      <a:pt x="51109" y="59904"/>
                    </a:cubicBezTo>
                    <a:cubicBezTo>
                      <a:pt x="72610" y="59904"/>
                      <a:pt x="90284" y="37889"/>
                      <a:pt x="92168" y="9879"/>
                    </a:cubicBezTo>
                    <a:lnTo>
                      <a:pt x="10051" y="9879"/>
                    </a:lnTo>
                    <a:close/>
                  </a:path>
                </a:pathLst>
              </a:custGeom>
              <a:solidFill>
                <a:schemeClr val="tx2"/>
              </a:solidFill>
              <a:ln w="2851" cap="flat">
                <a:noFill/>
                <a:prstDash val="solid"/>
                <a:miter/>
              </a:ln>
            </p:spPr>
            <p:txBody>
              <a:bodyPr rtlCol="0" anchor="ctr"/>
              <a:lstStyle/>
              <a:p>
                <a:endParaRPr lang="en-GB" dirty="0"/>
              </a:p>
            </p:txBody>
          </p:sp>
          <p:sp>
            <p:nvSpPr>
              <p:cNvPr id="562" name="Freihandform: Form 467">
                <a:extLst>
                  <a:ext uri="{FF2B5EF4-FFF2-40B4-BE49-F238E27FC236}">
                    <a16:creationId xmlns:a16="http://schemas.microsoft.com/office/drawing/2014/main" id="{D01F33F1-DCEF-4BCD-96CA-6B91376950EE}"/>
                  </a:ext>
                </a:extLst>
              </p:cNvPr>
              <p:cNvSpPr/>
              <p:nvPr/>
            </p:nvSpPr>
            <p:spPr>
              <a:xfrm>
                <a:off x="3524352" y="2546012"/>
                <a:ext cx="102247" cy="69811"/>
              </a:xfrm>
              <a:custGeom>
                <a:avLst/>
                <a:gdLst>
                  <a:gd name="connsiteX0" fmla="*/ 51138 w 102247"/>
                  <a:gd name="connsiteY0" fmla="*/ 69811 h 69811"/>
                  <a:gd name="connsiteX1" fmla="*/ 0 w 102247"/>
                  <a:gd name="connsiteY1" fmla="*/ 4940 h 69811"/>
                  <a:gd name="connsiteX2" fmla="*/ 4940 w 102247"/>
                  <a:gd name="connsiteY2" fmla="*/ 0 h 69811"/>
                  <a:gd name="connsiteX3" fmla="*/ 97307 w 102247"/>
                  <a:gd name="connsiteY3" fmla="*/ 0 h 69811"/>
                  <a:gd name="connsiteX4" fmla="*/ 102247 w 102247"/>
                  <a:gd name="connsiteY4" fmla="*/ 4940 h 69811"/>
                  <a:gd name="connsiteX5" fmla="*/ 51138 w 102247"/>
                  <a:gd name="connsiteY5" fmla="*/ 69811 h 69811"/>
                  <a:gd name="connsiteX6" fmla="*/ 10050 w 102247"/>
                  <a:gd name="connsiteY6" fmla="*/ 9879 h 69811"/>
                  <a:gd name="connsiteX7" fmla="*/ 51109 w 102247"/>
                  <a:gd name="connsiteY7" fmla="*/ 59904 h 69811"/>
                  <a:gd name="connsiteX8" fmla="*/ 92168 w 102247"/>
                  <a:gd name="connsiteY8" fmla="*/ 9879 h 69811"/>
                  <a:gd name="connsiteX9" fmla="*/ 10050 w 102247"/>
                  <a:gd name="connsiteY9" fmla="*/ 9879 h 6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247" h="69811">
                    <a:moveTo>
                      <a:pt x="51138" y="69811"/>
                    </a:moveTo>
                    <a:cubicBezTo>
                      <a:pt x="22956" y="69811"/>
                      <a:pt x="0" y="40716"/>
                      <a:pt x="0" y="4940"/>
                    </a:cubicBezTo>
                    <a:cubicBezTo>
                      <a:pt x="0" y="2199"/>
                      <a:pt x="2227" y="0"/>
                      <a:pt x="4940" y="0"/>
                    </a:cubicBezTo>
                    <a:lnTo>
                      <a:pt x="97307" y="0"/>
                    </a:lnTo>
                    <a:cubicBezTo>
                      <a:pt x="100049" y="0"/>
                      <a:pt x="102247" y="2227"/>
                      <a:pt x="102247" y="4940"/>
                    </a:cubicBezTo>
                    <a:cubicBezTo>
                      <a:pt x="102247" y="40716"/>
                      <a:pt x="79319" y="69811"/>
                      <a:pt x="51138" y="69811"/>
                    </a:cubicBezTo>
                    <a:close/>
                    <a:moveTo>
                      <a:pt x="10050" y="9879"/>
                    </a:moveTo>
                    <a:cubicBezTo>
                      <a:pt x="11935" y="37889"/>
                      <a:pt x="29638" y="59904"/>
                      <a:pt x="51109" y="59904"/>
                    </a:cubicBezTo>
                    <a:cubicBezTo>
                      <a:pt x="72610" y="59904"/>
                      <a:pt x="90284" y="37889"/>
                      <a:pt x="92168" y="9879"/>
                    </a:cubicBezTo>
                    <a:lnTo>
                      <a:pt x="10050" y="9879"/>
                    </a:lnTo>
                    <a:close/>
                  </a:path>
                </a:pathLst>
              </a:custGeom>
              <a:solidFill>
                <a:schemeClr val="tx2"/>
              </a:solidFill>
              <a:ln w="2851" cap="flat">
                <a:noFill/>
                <a:prstDash val="solid"/>
                <a:miter/>
              </a:ln>
            </p:spPr>
            <p:txBody>
              <a:bodyPr rtlCol="0" anchor="ctr"/>
              <a:lstStyle/>
              <a:p>
                <a:endParaRPr lang="en-GB" dirty="0"/>
              </a:p>
            </p:txBody>
          </p:sp>
          <p:sp>
            <p:nvSpPr>
              <p:cNvPr id="563" name="Freihandform: Form 468">
                <a:extLst>
                  <a:ext uri="{FF2B5EF4-FFF2-40B4-BE49-F238E27FC236}">
                    <a16:creationId xmlns:a16="http://schemas.microsoft.com/office/drawing/2014/main" id="{871E3207-CC9B-47A7-AC77-373B95D8C489}"/>
                  </a:ext>
                </a:extLst>
              </p:cNvPr>
              <p:cNvSpPr/>
              <p:nvPr/>
            </p:nvSpPr>
            <p:spPr>
              <a:xfrm>
                <a:off x="3616691" y="2546012"/>
                <a:ext cx="102247" cy="69811"/>
              </a:xfrm>
              <a:custGeom>
                <a:avLst/>
                <a:gdLst>
                  <a:gd name="connsiteX0" fmla="*/ 51138 w 102247"/>
                  <a:gd name="connsiteY0" fmla="*/ 69811 h 69811"/>
                  <a:gd name="connsiteX1" fmla="*/ 0 w 102247"/>
                  <a:gd name="connsiteY1" fmla="*/ 4940 h 69811"/>
                  <a:gd name="connsiteX2" fmla="*/ 4940 w 102247"/>
                  <a:gd name="connsiteY2" fmla="*/ 0 h 69811"/>
                  <a:gd name="connsiteX3" fmla="*/ 97308 w 102247"/>
                  <a:gd name="connsiteY3" fmla="*/ 0 h 69811"/>
                  <a:gd name="connsiteX4" fmla="*/ 102247 w 102247"/>
                  <a:gd name="connsiteY4" fmla="*/ 4940 h 69811"/>
                  <a:gd name="connsiteX5" fmla="*/ 51138 w 102247"/>
                  <a:gd name="connsiteY5" fmla="*/ 69811 h 69811"/>
                  <a:gd name="connsiteX6" fmla="*/ 10079 w 102247"/>
                  <a:gd name="connsiteY6" fmla="*/ 9879 h 69811"/>
                  <a:gd name="connsiteX7" fmla="*/ 51138 w 102247"/>
                  <a:gd name="connsiteY7" fmla="*/ 59904 h 69811"/>
                  <a:gd name="connsiteX8" fmla="*/ 92197 w 102247"/>
                  <a:gd name="connsiteY8" fmla="*/ 9879 h 69811"/>
                  <a:gd name="connsiteX9" fmla="*/ 10079 w 102247"/>
                  <a:gd name="connsiteY9" fmla="*/ 9879 h 6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247" h="69811">
                    <a:moveTo>
                      <a:pt x="51138" y="69811"/>
                    </a:moveTo>
                    <a:cubicBezTo>
                      <a:pt x="22956" y="69811"/>
                      <a:pt x="0" y="40716"/>
                      <a:pt x="0" y="4940"/>
                    </a:cubicBezTo>
                    <a:cubicBezTo>
                      <a:pt x="0" y="2199"/>
                      <a:pt x="2227" y="0"/>
                      <a:pt x="4940" y="0"/>
                    </a:cubicBezTo>
                    <a:lnTo>
                      <a:pt x="97308" y="0"/>
                    </a:lnTo>
                    <a:cubicBezTo>
                      <a:pt x="100049" y="0"/>
                      <a:pt x="102247" y="2227"/>
                      <a:pt x="102247" y="4940"/>
                    </a:cubicBezTo>
                    <a:cubicBezTo>
                      <a:pt x="102276" y="40716"/>
                      <a:pt x="79348" y="69811"/>
                      <a:pt x="51138" y="69811"/>
                    </a:cubicBezTo>
                    <a:close/>
                    <a:moveTo>
                      <a:pt x="10079" y="9879"/>
                    </a:moveTo>
                    <a:cubicBezTo>
                      <a:pt x="11964" y="37889"/>
                      <a:pt x="29666" y="59904"/>
                      <a:pt x="51138" y="59904"/>
                    </a:cubicBezTo>
                    <a:cubicBezTo>
                      <a:pt x="72638" y="59904"/>
                      <a:pt x="90312" y="37889"/>
                      <a:pt x="92197" y="9879"/>
                    </a:cubicBezTo>
                    <a:lnTo>
                      <a:pt x="10079" y="9879"/>
                    </a:lnTo>
                    <a:close/>
                  </a:path>
                </a:pathLst>
              </a:custGeom>
              <a:solidFill>
                <a:schemeClr val="tx2"/>
              </a:solidFill>
              <a:ln w="2851" cap="flat">
                <a:noFill/>
                <a:prstDash val="solid"/>
                <a:miter/>
              </a:ln>
            </p:spPr>
            <p:txBody>
              <a:bodyPr rtlCol="0" anchor="ctr"/>
              <a:lstStyle/>
              <a:p>
                <a:endParaRPr lang="en-GB" dirty="0"/>
              </a:p>
            </p:txBody>
          </p:sp>
          <p:sp>
            <p:nvSpPr>
              <p:cNvPr id="564" name="Freihandform: Form 469">
                <a:extLst>
                  <a:ext uri="{FF2B5EF4-FFF2-40B4-BE49-F238E27FC236}">
                    <a16:creationId xmlns:a16="http://schemas.microsoft.com/office/drawing/2014/main" id="{0C423EA2-6B8F-410E-B2EB-611A6B110AAB}"/>
                  </a:ext>
                </a:extLst>
              </p:cNvPr>
              <p:cNvSpPr/>
              <p:nvPr/>
            </p:nvSpPr>
            <p:spPr>
              <a:xfrm>
                <a:off x="3709059" y="2546012"/>
                <a:ext cx="102247" cy="69811"/>
              </a:xfrm>
              <a:custGeom>
                <a:avLst/>
                <a:gdLst>
                  <a:gd name="connsiteX0" fmla="*/ 51138 w 102247"/>
                  <a:gd name="connsiteY0" fmla="*/ 69811 h 69811"/>
                  <a:gd name="connsiteX1" fmla="*/ 0 w 102247"/>
                  <a:gd name="connsiteY1" fmla="*/ 4940 h 69811"/>
                  <a:gd name="connsiteX2" fmla="*/ 4940 w 102247"/>
                  <a:gd name="connsiteY2" fmla="*/ 0 h 69811"/>
                  <a:gd name="connsiteX3" fmla="*/ 97308 w 102247"/>
                  <a:gd name="connsiteY3" fmla="*/ 0 h 69811"/>
                  <a:gd name="connsiteX4" fmla="*/ 102247 w 102247"/>
                  <a:gd name="connsiteY4" fmla="*/ 4940 h 69811"/>
                  <a:gd name="connsiteX5" fmla="*/ 51138 w 102247"/>
                  <a:gd name="connsiteY5" fmla="*/ 69811 h 69811"/>
                  <a:gd name="connsiteX6" fmla="*/ 10079 w 102247"/>
                  <a:gd name="connsiteY6" fmla="*/ 9879 h 69811"/>
                  <a:gd name="connsiteX7" fmla="*/ 51138 w 102247"/>
                  <a:gd name="connsiteY7" fmla="*/ 59904 h 69811"/>
                  <a:gd name="connsiteX8" fmla="*/ 92197 w 102247"/>
                  <a:gd name="connsiteY8" fmla="*/ 9879 h 69811"/>
                  <a:gd name="connsiteX9" fmla="*/ 10079 w 102247"/>
                  <a:gd name="connsiteY9" fmla="*/ 9879 h 69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247" h="69811">
                    <a:moveTo>
                      <a:pt x="51138" y="69811"/>
                    </a:moveTo>
                    <a:cubicBezTo>
                      <a:pt x="22956" y="69811"/>
                      <a:pt x="0" y="40716"/>
                      <a:pt x="0" y="4940"/>
                    </a:cubicBezTo>
                    <a:cubicBezTo>
                      <a:pt x="0" y="2199"/>
                      <a:pt x="2227" y="0"/>
                      <a:pt x="4940" y="0"/>
                    </a:cubicBezTo>
                    <a:lnTo>
                      <a:pt x="97308" y="0"/>
                    </a:lnTo>
                    <a:cubicBezTo>
                      <a:pt x="100049" y="0"/>
                      <a:pt x="102247" y="2227"/>
                      <a:pt x="102247" y="4940"/>
                    </a:cubicBezTo>
                    <a:cubicBezTo>
                      <a:pt x="102276" y="40716"/>
                      <a:pt x="79348" y="69811"/>
                      <a:pt x="51138" y="69811"/>
                    </a:cubicBezTo>
                    <a:close/>
                    <a:moveTo>
                      <a:pt x="10079" y="9879"/>
                    </a:moveTo>
                    <a:cubicBezTo>
                      <a:pt x="11964" y="37889"/>
                      <a:pt x="29666" y="59904"/>
                      <a:pt x="51138" y="59904"/>
                    </a:cubicBezTo>
                    <a:cubicBezTo>
                      <a:pt x="72638" y="59904"/>
                      <a:pt x="90312" y="37889"/>
                      <a:pt x="92197" y="9879"/>
                    </a:cubicBezTo>
                    <a:lnTo>
                      <a:pt x="10079" y="9879"/>
                    </a:lnTo>
                    <a:close/>
                  </a:path>
                </a:pathLst>
              </a:custGeom>
              <a:solidFill>
                <a:schemeClr val="tx2"/>
              </a:solidFill>
              <a:ln w="2851" cap="flat">
                <a:noFill/>
                <a:prstDash val="solid"/>
                <a:miter/>
              </a:ln>
            </p:spPr>
            <p:txBody>
              <a:bodyPr rtlCol="0" anchor="ctr"/>
              <a:lstStyle/>
              <a:p>
                <a:endParaRPr lang="en-GB" dirty="0"/>
              </a:p>
            </p:txBody>
          </p:sp>
          <p:sp>
            <p:nvSpPr>
              <p:cNvPr id="565" name="Freihandform: Form 470">
                <a:extLst>
                  <a:ext uri="{FF2B5EF4-FFF2-40B4-BE49-F238E27FC236}">
                    <a16:creationId xmlns:a16="http://schemas.microsoft.com/office/drawing/2014/main" id="{2BBFB5DF-5746-4036-B1DB-227E2F53F4AC}"/>
                  </a:ext>
                </a:extLst>
              </p:cNvPr>
              <p:cNvSpPr/>
              <p:nvPr/>
            </p:nvSpPr>
            <p:spPr>
              <a:xfrm>
                <a:off x="3339590" y="2487165"/>
                <a:ext cx="471688" cy="69268"/>
              </a:xfrm>
              <a:custGeom>
                <a:avLst/>
                <a:gdLst>
                  <a:gd name="connsiteX0" fmla="*/ 466805 w 471688"/>
                  <a:gd name="connsiteY0" fmla="*/ 69269 h 69268"/>
                  <a:gd name="connsiteX1" fmla="*/ 4965 w 471688"/>
                  <a:gd name="connsiteY1" fmla="*/ 69269 h 69268"/>
                  <a:gd name="connsiteX2" fmla="*/ 939 w 471688"/>
                  <a:gd name="connsiteY2" fmla="*/ 67213 h 69268"/>
                  <a:gd name="connsiteX3" fmla="*/ 254 w 471688"/>
                  <a:gd name="connsiteY3" fmla="*/ 62759 h 69268"/>
                  <a:gd name="connsiteX4" fmla="*/ 20041 w 471688"/>
                  <a:gd name="connsiteY4" fmla="*/ 3369 h 69268"/>
                  <a:gd name="connsiteX5" fmla="*/ 24723 w 471688"/>
                  <a:gd name="connsiteY5" fmla="*/ 0 h 69268"/>
                  <a:gd name="connsiteX6" fmla="*/ 440365 w 471688"/>
                  <a:gd name="connsiteY6" fmla="*/ 0 h 69268"/>
                  <a:gd name="connsiteX7" fmla="*/ 444876 w 471688"/>
                  <a:gd name="connsiteY7" fmla="*/ 2941 h 69268"/>
                  <a:gd name="connsiteX8" fmla="*/ 471259 w 471688"/>
                  <a:gd name="connsiteY8" fmla="*/ 62331 h 69268"/>
                  <a:gd name="connsiteX9" fmla="*/ 470888 w 471688"/>
                  <a:gd name="connsiteY9" fmla="*/ 67042 h 69268"/>
                  <a:gd name="connsiteX10" fmla="*/ 466805 w 471688"/>
                  <a:gd name="connsiteY10" fmla="*/ 69269 h 69268"/>
                  <a:gd name="connsiteX11" fmla="*/ 11846 w 471688"/>
                  <a:gd name="connsiteY11" fmla="*/ 59390 h 69268"/>
                  <a:gd name="connsiteX12" fmla="*/ 459181 w 471688"/>
                  <a:gd name="connsiteY12" fmla="*/ 59390 h 69268"/>
                  <a:gd name="connsiteX13" fmla="*/ 437196 w 471688"/>
                  <a:gd name="connsiteY13" fmla="*/ 9908 h 69268"/>
                  <a:gd name="connsiteX14" fmla="*/ 28350 w 471688"/>
                  <a:gd name="connsiteY14" fmla="*/ 9908 h 69268"/>
                  <a:gd name="connsiteX15" fmla="*/ 11846 w 471688"/>
                  <a:gd name="connsiteY15" fmla="*/ 59390 h 69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688" h="69268">
                    <a:moveTo>
                      <a:pt x="466805" y="69269"/>
                    </a:moveTo>
                    <a:lnTo>
                      <a:pt x="4965" y="69269"/>
                    </a:lnTo>
                    <a:cubicBezTo>
                      <a:pt x="3366" y="69269"/>
                      <a:pt x="1881" y="68498"/>
                      <a:pt x="939" y="67213"/>
                    </a:cubicBezTo>
                    <a:cubicBezTo>
                      <a:pt x="25" y="65928"/>
                      <a:pt x="-260" y="64272"/>
                      <a:pt x="254" y="62759"/>
                    </a:cubicBezTo>
                    <a:lnTo>
                      <a:pt x="20041" y="3369"/>
                    </a:lnTo>
                    <a:cubicBezTo>
                      <a:pt x="20726" y="1342"/>
                      <a:pt x="22611" y="0"/>
                      <a:pt x="24723" y="0"/>
                    </a:cubicBezTo>
                    <a:lnTo>
                      <a:pt x="440365" y="0"/>
                    </a:lnTo>
                    <a:cubicBezTo>
                      <a:pt x="442335" y="0"/>
                      <a:pt x="444106" y="1142"/>
                      <a:pt x="444876" y="2941"/>
                    </a:cubicBezTo>
                    <a:lnTo>
                      <a:pt x="471259" y="62331"/>
                    </a:lnTo>
                    <a:cubicBezTo>
                      <a:pt x="471944" y="63872"/>
                      <a:pt x="471802" y="65643"/>
                      <a:pt x="470888" y="67042"/>
                    </a:cubicBezTo>
                    <a:cubicBezTo>
                      <a:pt x="470032" y="68441"/>
                      <a:pt x="468461" y="69269"/>
                      <a:pt x="466805" y="69269"/>
                    </a:cubicBezTo>
                    <a:close/>
                    <a:moveTo>
                      <a:pt x="11846" y="59390"/>
                    </a:moveTo>
                    <a:lnTo>
                      <a:pt x="459181" y="59390"/>
                    </a:lnTo>
                    <a:lnTo>
                      <a:pt x="437196" y="9908"/>
                    </a:lnTo>
                    <a:lnTo>
                      <a:pt x="28350" y="9908"/>
                    </a:lnTo>
                    <a:lnTo>
                      <a:pt x="11846" y="59390"/>
                    </a:lnTo>
                    <a:close/>
                  </a:path>
                </a:pathLst>
              </a:custGeom>
              <a:solidFill>
                <a:schemeClr val="tx2"/>
              </a:solidFill>
              <a:ln w="2851" cap="flat">
                <a:noFill/>
                <a:prstDash val="solid"/>
                <a:miter/>
              </a:ln>
            </p:spPr>
            <p:txBody>
              <a:bodyPr rtlCol="0" anchor="ctr"/>
              <a:lstStyle/>
              <a:p>
                <a:endParaRPr lang="en-GB" dirty="0"/>
              </a:p>
            </p:txBody>
          </p:sp>
          <p:sp>
            <p:nvSpPr>
              <p:cNvPr id="566" name="Freihandform: Form 471">
                <a:extLst>
                  <a:ext uri="{FF2B5EF4-FFF2-40B4-BE49-F238E27FC236}">
                    <a16:creationId xmlns:a16="http://schemas.microsoft.com/office/drawing/2014/main" id="{F907065C-E6EC-4617-9F66-D2BDDCB5D63C}"/>
                  </a:ext>
                </a:extLst>
              </p:cNvPr>
              <p:cNvSpPr/>
              <p:nvPr/>
            </p:nvSpPr>
            <p:spPr>
              <a:xfrm>
                <a:off x="3432459" y="2506971"/>
                <a:ext cx="24203" cy="47835"/>
              </a:xfrm>
              <a:custGeom>
                <a:avLst/>
                <a:gdLst>
                  <a:gd name="connsiteX0" fmla="*/ 4949 w 24203"/>
                  <a:gd name="connsiteY0" fmla="*/ 47835 h 47835"/>
                  <a:gd name="connsiteX1" fmla="*/ 3208 w 24203"/>
                  <a:gd name="connsiteY1" fmla="*/ 47521 h 47835"/>
                  <a:gd name="connsiteX2" fmla="*/ 324 w 24203"/>
                  <a:gd name="connsiteY2" fmla="*/ 41154 h 47835"/>
                  <a:gd name="connsiteX3" fmla="*/ 14629 w 24203"/>
                  <a:gd name="connsiteY3" fmla="*/ 3208 h 47835"/>
                  <a:gd name="connsiteX4" fmla="*/ 20996 w 24203"/>
                  <a:gd name="connsiteY4" fmla="*/ 324 h 47835"/>
                  <a:gd name="connsiteX5" fmla="*/ 23880 w 24203"/>
                  <a:gd name="connsiteY5" fmla="*/ 6691 h 47835"/>
                  <a:gd name="connsiteX6" fmla="*/ 9575 w 24203"/>
                  <a:gd name="connsiteY6" fmla="*/ 44638 h 47835"/>
                  <a:gd name="connsiteX7" fmla="*/ 4949 w 24203"/>
                  <a:gd name="connsiteY7" fmla="*/ 47835 h 4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03" h="47835">
                    <a:moveTo>
                      <a:pt x="4949" y="47835"/>
                    </a:moveTo>
                    <a:cubicBezTo>
                      <a:pt x="4378" y="47835"/>
                      <a:pt x="3779" y="47750"/>
                      <a:pt x="3208" y="47521"/>
                    </a:cubicBezTo>
                    <a:cubicBezTo>
                      <a:pt x="638" y="46551"/>
                      <a:pt x="-647" y="43695"/>
                      <a:pt x="324" y="41154"/>
                    </a:cubicBezTo>
                    <a:lnTo>
                      <a:pt x="14629" y="3208"/>
                    </a:lnTo>
                    <a:cubicBezTo>
                      <a:pt x="15599" y="638"/>
                      <a:pt x="18455" y="-647"/>
                      <a:pt x="20996" y="324"/>
                    </a:cubicBezTo>
                    <a:cubicBezTo>
                      <a:pt x="23566" y="1295"/>
                      <a:pt x="24850" y="4150"/>
                      <a:pt x="23880" y="6691"/>
                    </a:cubicBezTo>
                    <a:lnTo>
                      <a:pt x="9575" y="44638"/>
                    </a:lnTo>
                    <a:cubicBezTo>
                      <a:pt x="8832" y="46608"/>
                      <a:pt x="6948" y="47835"/>
                      <a:pt x="4949" y="47835"/>
                    </a:cubicBezTo>
                    <a:close/>
                  </a:path>
                </a:pathLst>
              </a:custGeom>
              <a:solidFill>
                <a:schemeClr val="tx2"/>
              </a:solidFill>
              <a:ln w="2851" cap="flat">
                <a:noFill/>
                <a:prstDash val="solid"/>
                <a:miter/>
              </a:ln>
            </p:spPr>
            <p:txBody>
              <a:bodyPr rtlCol="0" anchor="ctr"/>
              <a:lstStyle/>
              <a:p>
                <a:endParaRPr lang="en-GB" dirty="0"/>
              </a:p>
            </p:txBody>
          </p:sp>
          <p:sp>
            <p:nvSpPr>
              <p:cNvPr id="567" name="Freihandform: Form 472">
                <a:extLst>
                  <a:ext uri="{FF2B5EF4-FFF2-40B4-BE49-F238E27FC236}">
                    <a16:creationId xmlns:a16="http://schemas.microsoft.com/office/drawing/2014/main" id="{94CFF9E7-843A-4E7E-8FDD-4510EB4D9312}"/>
                  </a:ext>
                </a:extLst>
              </p:cNvPr>
              <p:cNvSpPr/>
              <p:nvPr/>
            </p:nvSpPr>
            <p:spPr>
              <a:xfrm>
                <a:off x="3523166" y="2508071"/>
                <a:ext cx="17560" cy="47820"/>
              </a:xfrm>
              <a:custGeom>
                <a:avLst/>
                <a:gdLst>
                  <a:gd name="connsiteX0" fmla="*/ 4954 w 17560"/>
                  <a:gd name="connsiteY0" fmla="*/ 47820 h 47820"/>
                  <a:gd name="connsiteX1" fmla="*/ 3955 w 17560"/>
                  <a:gd name="connsiteY1" fmla="*/ 47734 h 47820"/>
                  <a:gd name="connsiteX2" fmla="*/ 100 w 17560"/>
                  <a:gd name="connsiteY2" fmla="*/ 41910 h 47820"/>
                  <a:gd name="connsiteX3" fmla="*/ 7781 w 17560"/>
                  <a:gd name="connsiteY3" fmla="*/ 3963 h 47820"/>
                  <a:gd name="connsiteX4" fmla="*/ 13606 w 17560"/>
                  <a:gd name="connsiteY4" fmla="*/ 108 h 47820"/>
                  <a:gd name="connsiteX5" fmla="*/ 17460 w 17560"/>
                  <a:gd name="connsiteY5" fmla="*/ 5933 h 47820"/>
                  <a:gd name="connsiteX6" fmla="*/ 9780 w 17560"/>
                  <a:gd name="connsiteY6" fmla="*/ 43880 h 47820"/>
                  <a:gd name="connsiteX7" fmla="*/ 4954 w 17560"/>
                  <a:gd name="connsiteY7" fmla="*/ 47820 h 4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60" h="47820">
                    <a:moveTo>
                      <a:pt x="4954" y="47820"/>
                    </a:moveTo>
                    <a:cubicBezTo>
                      <a:pt x="4611" y="47820"/>
                      <a:pt x="4297" y="47791"/>
                      <a:pt x="3955" y="47734"/>
                    </a:cubicBezTo>
                    <a:cubicBezTo>
                      <a:pt x="1271" y="47192"/>
                      <a:pt x="-442" y="44594"/>
                      <a:pt x="100" y="41910"/>
                    </a:cubicBezTo>
                    <a:lnTo>
                      <a:pt x="7781" y="3963"/>
                    </a:lnTo>
                    <a:cubicBezTo>
                      <a:pt x="8323" y="1279"/>
                      <a:pt x="10922" y="-463"/>
                      <a:pt x="13606" y="108"/>
                    </a:cubicBezTo>
                    <a:cubicBezTo>
                      <a:pt x="16290" y="651"/>
                      <a:pt x="18003" y="3249"/>
                      <a:pt x="17460" y="5933"/>
                    </a:cubicBezTo>
                    <a:lnTo>
                      <a:pt x="9780" y="43880"/>
                    </a:lnTo>
                    <a:cubicBezTo>
                      <a:pt x="9323" y="46221"/>
                      <a:pt x="7267" y="47820"/>
                      <a:pt x="4954" y="47820"/>
                    </a:cubicBezTo>
                    <a:close/>
                  </a:path>
                </a:pathLst>
              </a:custGeom>
              <a:solidFill>
                <a:schemeClr val="tx2"/>
              </a:solidFill>
              <a:ln w="2851" cap="flat">
                <a:noFill/>
                <a:prstDash val="solid"/>
                <a:miter/>
              </a:ln>
            </p:spPr>
            <p:txBody>
              <a:bodyPr rtlCol="0" anchor="ctr"/>
              <a:lstStyle/>
              <a:p>
                <a:endParaRPr lang="en-GB" dirty="0"/>
              </a:p>
            </p:txBody>
          </p:sp>
          <p:sp>
            <p:nvSpPr>
              <p:cNvPr id="568" name="Freihandform: Form 473">
                <a:extLst>
                  <a:ext uri="{FF2B5EF4-FFF2-40B4-BE49-F238E27FC236}">
                    <a16:creationId xmlns:a16="http://schemas.microsoft.com/office/drawing/2014/main" id="{59BD8E0E-FDE2-46D6-8C70-44C42D5B4C95}"/>
                  </a:ext>
                </a:extLst>
              </p:cNvPr>
              <p:cNvSpPr/>
              <p:nvPr/>
            </p:nvSpPr>
            <p:spPr>
              <a:xfrm>
                <a:off x="3691950" y="2504772"/>
                <a:ext cx="24196" cy="47835"/>
              </a:xfrm>
              <a:custGeom>
                <a:avLst/>
                <a:gdLst>
                  <a:gd name="connsiteX0" fmla="*/ 19251 w 24196"/>
                  <a:gd name="connsiteY0" fmla="*/ 47836 h 47835"/>
                  <a:gd name="connsiteX1" fmla="*/ 14625 w 24196"/>
                  <a:gd name="connsiteY1" fmla="*/ 44638 h 47835"/>
                  <a:gd name="connsiteX2" fmla="*/ 320 w 24196"/>
                  <a:gd name="connsiteY2" fmla="*/ 6691 h 47835"/>
                  <a:gd name="connsiteX3" fmla="*/ 3204 w 24196"/>
                  <a:gd name="connsiteY3" fmla="*/ 324 h 47835"/>
                  <a:gd name="connsiteX4" fmla="*/ 9571 w 24196"/>
                  <a:gd name="connsiteY4" fmla="*/ 3208 h 47835"/>
                  <a:gd name="connsiteX5" fmla="*/ 23876 w 24196"/>
                  <a:gd name="connsiteY5" fmla="*/ 41154 h 47835"/>
                  <a:gd name="connsiteX6" fmla="*/ 20993 w 24196"/>
                  <a:gd name="connsiteY6" fmla="*/ 47521 h 47835"/>
                  <a:gd name="connsiteX7" fmla="*/ 19251 w 24196"/>
                  <a:gd name="connsiteY7" fmla="*/ 47836 h 47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196" h="47835">
                    <a:moveTo>
                      <a:pt x="19251" y="47836"/>
                    </a:moveTo>
                    <a:cubicBezTo>
                      <a:pt x="17252" y="47836"/>
                      <a:pt x="15368" y="46608"/>
                      <a:pt x="14625" y="44638"/>
                    </a:cubicBezTo>
                    <a:lnTo>
                      <a:pt x="320" y="6691"/>
                    </a:lnTo>
                    <a:cubicBezTo>
                      <a:pt x="-650" y="4121"/>
                      <a:pt x="663" y="1266"/>
                      <a:pt x="3204" y="324"/>
                    </a:cubicBezTo>
                    <a:cubicBezTo>
                      <a:pt x="5745" y="-647"/>
                      <a:pt x="8629" y="638"/>
                      <a:pt x="9571" y="3208"/>
                    </a:cubicBezTo>
                    <a:lnTo>
                      <a:pt x="23876" y="41154"/>
                    </a:lnTo>
                    <a:cubicBezTo>
                      <a:pt x="24847" y="43724"/>
                      <a:pt x="23534" y="46579"/>
                      <a:pt x="20993" y="47521"/>
                    </a:cubicBezTo>
                    <a:cubicBezTo>
                      <a:pt x="20421" y="47721"/>
                      <a:pt x="19822" y="47836"/>
                      <a:pt x="19251" y="47836"/>
                    </a:cubicBezTo>
                    <a:close/>
                  </a:path>
                </a:pathLst>
              </a:custGeom>
              <a:solidFill>
                <a:schemeClr val="tx2"/>
              </a:solidFill>
              <a:ln w="2851" cap="flat">
                <a:noFill/>
                <a:prstDash val="solid"/>
                <a:miter/>
              </a:ln>
            </p:spPr>
            <p:txBody>
              <a:bodyPr rtlCol="0" anchor="ctr"/>
              <a:lstStyle/>
              <a:p>
                <a:endParaRPr lang="en-GB" dirty="0"/>
              </a:p>
            </p:txBody>
          </p:sp>
          <p:sp>
            <p:nvSpPr>
              <p:cNvPr id="569" name="Freihandform: Form 474">
                <a:extLst>
                  <a:ext uri="{FF2B5EF4-FFF2-40B4-BE49-F238E27FC236}">
                    <a16:creationId xmlns:a16="http://schemas.microsoft.com/office/drawing/2014/main" id="{6BA61656-E3E0-4877-B8FB-D39EFBB1E0B3}"/>
                  </a:ext>
                </a:extLst>
              </p:cNvPr>
              <p:cNvSpPr/>
              <p:nvPr/>
            </p:nvSpPr>
            <p:spPr>
              <a:xfrm>
                <a:off x="3607798" y="2505844"/>
                <a:ext cx="17586" cy="47848"/>
              </a:xfrm>
              <a:custGeom>
                <a:avLst/>
                <a:gdLst>
                  <a:gd name="connsiteX0" fmla="*/ 12662 w 17586"/>
                  <a:gd name="connsiteY0" fmla="*/ 47849 h 47848"/>
                  <a:gd name="connsiteX1" fmla="*/ 7808 w 17586"/>
                  <a:gd name="connsiteY1" fmla="*/ 43880 h 47848"/>
                  <a:gd name="connsiteX2" fmla="*/ 99 w 17586"/>
                  <a:gd name="connsiteY2" fmla="*/ 5933 h 47848"/>
                  <a:gd name="connsiteX3" fmla="*/ 3954 w 17586"/>
                  <a:gd name="connsiteY3" fmla="*/ 108 h 47848"/>
                  <a:gd name="connsiteX4" fmla="*/ 9778 w 17586"/>
                  <a:gd name="connsiteY4" fmla="*/ 3963 h 47848"/>
                  <a:gd name="connsiteX5" fmla="*/ 17488 w 17586"/>
                  <a:gd name="connsiteY5" fmla="*/ 41910 h 47848"/>
                  <a:gd name="connsiteX6" fmla="*/ 13633 w 17586"/>
                  <a:gd name="connsiteY6" fmla="*/ 47734 h 47848"/>
                  <a:gd name="connsiteX7" fmla="*/ 12662 w 17586"/>
                  <a:gd name="connsiteY7" fmla="*/ 47849 h 4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86" h="47848">
                    <a:moveTo>
                      <a:pt x="12662" y="47849"/>
                    </a:moveTo>
                    <a:cubicBezTo>
                      <a:pt x="10349" y="47849"/>
                      <a:pt x="8294" y="46221"/>
                      <a:pt x="7808" y="43880"/>
                    </a:cubicBezTo>
                    <a:lnTo>
                      <a:pt x="99" y="5933"/>
                    </a:lnTo>
                    <a:cubicBezTo>
                      <a:pt x="-443" y="3249"/>
                      <a:pt x="1298" y="651"/>
                      <a:pt x="3954" y="108"/>
                    </a:cubicBezTo>
                    <a:cubicBezTo>
                      <a:pt x="6609" y="-463"/>
                      <a:pt x="9236" y="1279"/>
                      <a:pt x="9778" y="3963"/>
                    </a:cubicBezTo>
                    <a:lnTo>
                      <a:pt x="17488" y="41910"/>
                    </a:lnTo>
                    <a:cubicBezTo>
                      <a:pt x="18030" y="44594"/>
                      <a:pt x="16288" y="47192"/>
                      <a:pt x="13633" y="47734"/>
                    </a:cubicBezTo>
                    <a:cubicBezTo>
                      <a:pt x="13319" y="47820"/>
                      <a:pt x="13005" y="47849"/>
                      <a:pt x="12662" y="47849"/>
                    </a:cubicBezTo>
                    <a:close/>
                  </a:path>
                </a:pathLst>
              </a:custGeom>
              <a:solidFill>
                <a:schemeClr val="tx2"/>
              </a:solidFill>
              <a:ln w="2851" cap="flat">
                <a:noFill/>
                <a:prstDash val="solid"/>
                <a:miter/>
              </a:ln>
            </p:spPr>
            <p:txBody>
              <a:bodyPr rtlCol="0" anchor="ctr"/>
              <a:lstStyle/>
              <a:p>
                <a:endParaRPr lang="en-GB" dirty="0"/>
              </a:p>
            </p:txBody>
          </p:sp>
        </p:grpSp>
      </p:grpSp>
      <p:grpSp>
        <p:nvGrpSpPr>
          <p:cNvPr id="617" name="Group 616">
            <a:extLst>
              <a:ext uri="{FF2B5EF4-FFF2-40B4-BE49-F238E27FC236}">
                <a16:creationId xmlns:a16="http://schemas.microsoft.com/office/drawing/2014/main" id="{95E350A5-4DEC-C76F-78AE-9E92AA5BC55C}"/>
              </a:ext>
            </a:extLst>
          </p:cNvPr>
          <p:cNvGrpSpPr/>
          <p:nvPr/>
        </p:nvGrpSpPr>
        <p:grpSpPr>
          <a:xfrm>
            <a:off x="8147866" y="3212058"/>
            <a:ext cx="389605" cy="432000"/>
            <a:chOff x="8147454" y="3212058"/>
            <a:chExt cx="389605" cy="432000"/>
          </a:xfrm>
        </p:grpSpPr>
        <p:grpSp>
          <p:nvGrpSpPr>
            <p:cNvPr id="726" name="Group 725">
              <a:extLst>
                <a:ext uri="{FF2B5EF4-FFF2-40B4-BE49-F238E27FC236}">
                  <a16:creationId xmlns:a16="http://schemas.microsoft.com/office/drawing/2014/main" id="{3BC2B2D5-1194-4D41-BD94-187B120B6D50}"/>
                </a:ext>
              </a:extLst>
            </p:cNvPr>
            <p:cNvGrpSpPr/>
            <p:nvPr/>
          </p:nvGrpSpPr>
          <p:grpSpPr>
            <a:xfrm>
              <a:off x="8147454" y="3212058"/>
              <a:ext cx="389605" cy="432000"/>
              <a:chOff x="882198" y="2399525"/>
              <a:chExt cx="406221" cy="450424"/>
            </a:xfrm>
            <a:solidFill>
              <a:schemeClr val="tx2"/>
            </a:solidFill>
          </p:grpSpPr>
          <p:sp>
            <p:nvSpPr>
              <p:cNvPr id="735" name="Freihandform: Form 163">
                <a:extLst>
                  <a:ext uri="{FF2B5EF4-FFF2-40B4-BE49-F238E27FC236}">
                    <a16:creationId xmlns:a16="http://schemas.microsoft.com/office/drawing/2014/main" id="{EF1D78C9-6708-48A3-9FC8-6C7B61E32B43}"/>
                  </a:ext>
                </a:extLst>
              </p:cNvPr>
              <p:cNvSpPr/>
              <p:nvPr/>
            </p:nvSpPr>
            <p:spPr>
              <a:xfrm>
                <a:off x="895686" y="2607475"/>
                <a:ext cx="392733" cy="242474"/>
              </a:xfrm>
              <a:custGeom>
                <a:avLst/>
                <a:gdLst>
                  <a:gd name="connsiteX0" fmla="*/ 372284 w 392733"/>
                  <a:gd name="connsiteY0" fmla="*/ 242475 h 242474"/>
                  <a:gd name="connsiteX1" fmla="*/ 20477 w 392733"/>
                  <a:gd name="connsiteY1" fmla="*/ 242475 h 242474"/>
                  <a:gd name="connsiteX2" fmla="*/ 0 w 392733"/>
                  <a:gd name="connsiteY2" fmla="*/ 221998 h 242474"/>
                  <a:gd name="connsiteX3" fmla="*/ 0 w 392733"/>
                  <a:gd name="connsiteY3" fmla="*/ 5112 h 242474"/>
                  <a:gd name="connsiteX4" fmla="*/ 5112 w 392733"/>
                  <a:gd name="connsiteY4" fmla="*/ 0 h 242474"/>
                  <a:gd name="connsiteX5" fmla="*/ 387621 w 392733"/>
                  <a:gd name="connsiteY5" fmla="*/ 0 h 242474"/>
                  <a:gd name="connsiteX6" fmla="*/ 392733 w 392733"/>
                  <a:gd name="connsiteY6" fmla="*/ 5112 h 242474"/>
                  <a:gd name="connsiteX7" fmla="*/ 392733 w 392733"/>
                  <a:gd name="connsiteY7" fmla="*/ 221998 h 242474"/>
                  <a:gd name="connsiteX8" fmla="*/ 372284 w 392733"/>
                  <a:gd name="connsiteY8" fmla="*/ 242475 h 242474"/>
                  <a:gd name="connsiteX9" fmla="*/ 10224 w 392733"/>
                  <a:gd name="connsiteY9" fmla="*/ 10224 h 242474"/>
                  <a:gd name="connsiteX10" fmla="*/ 10224 w 392733"/>
                  <a:gd name="connsiteY10" fmla="*/ 221998 h 242474"/>
                  <a:gd name="connsiteX11" fmla="*/ 20449 w 392733"/>
                  <a:gd name="connsiteY11" fmla="*/ 232222 h 242474"/>
                  <a:gd name="connsiteX12" fmla="*/ 372256 w 392733"/>
                  <a:gd name="connsiteY12" fmla="*/ 232222 h 242474"/>
                  <a:gd name="connsiteX13" fmla="*/ 382481 w 392733"/>
                  <a:gd name="connsiteY13" fmla="*/ 221998 h 242474"/>
                  <a:gd name="connsiteX14" fmla="*/ 382481 w 392733"/>
                  <a:gd name="connsiteY14" fmla="*/ 10224 h 242474"/>
                  <a:gd name="connsiteX15" fmla="*/ 10224 w 392733"/>
                  <a:gd name="connsiteY15" fmla="*/ 10224 h 242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92733" h="242474">
                    <a:moveTo>
                      <a:pt x="372284" y="242475"/>
                    </a:moveTo>
                    <a:lnTo>
                      <a:pt x="20477" y="242475"/>
                    </a:lnTo>
                    <a:cubicBezTo>
                      <a:pt x="9179" y="242475"/>
                      <a:pt x="0" y="233296"/>
                      <a:pt x="0" y="221998"/>
                    </a:cubicBezTo>
                    <a:lnTo>
                      <a:pt x="0" y="5112"/>
                    </a:lnTo>
                    <a:cubicBezTo>
                      <a:pt x="0" y="2288"/>
                      <a:pt x="2288" y="0"/>
                      <a:pt x="5112" y="0"/>
                    </a:cubicBezTo>
                    <a:lnTo>
                      <a:pt x="387621" y="0"/>
                    </a:lnTo>
                    <a:cubicBezTo>
                      <a:pt x="390445" y="0"/>
                      <a:pt x="392733" y="2288"/>
                      <a:pt x="392733" y="5112"/>
                    </a:cubicBezTo>
                    <a:lnTo>
                      <a:pt x="392733" y="221998"/>
                    </a:lnTo>
                    <a:cubicBezTo>
                      <a:pt x="392761" y="233296"/>
                      <a:pt x="383582" y="242475"/>
                      <a:pt x="372284" y="242475"/>
                    </a:cubicBezTo>
                    <a:close/>
                    <a:moveTo>
                      <a:pt x="10224" y="10224"/>
                    </a:moveTo>
                    <a:lnTo>
                      <a:pt x="10224" y="221998"/>
                    </a:lnTo>
                    <a:cubicBezTo>
                      <a:pt x="10224" y="227647"/>
                      <a:pt x="14800" y="232222"/>
                      <a:pt x="20449" y="232222"/>
                    </a:cubicBezTo>
                    <a:lnTo>
                      <a:pt x="372256" y="232222"/>
                    </a:lnTo>
                    <a:cubicBezTo>
                      <a:pt x="377905" y="232222"/>
                      <a:pt x="382481" y="227647"/>
                      <a:pt x="382481" y="221998"/>
                    </a:cubicBezTo>
                    <a:lnTo>
                      <a:pt x="382481" y="10224"/>
                    </a:lnTo>
                    <a:lnTo>
                      <a:pt x="10224" y="10224"/>
                    </a:lnTo>
                    <a:close/>
                  </a:path>
                </a:pathLst>
              </a:custGeom>
              <a:grpFill/>
              <a:ln w="2817" cap="flat">
                <a:noFill/>
                <a:prstDash val="solid"/>
                <a:miter/>
              </a:ln>
            </p:spPr>
            <p:txBody>
              <a:bodyPr rtlCol="0" anchor="ctr"/>
              <a:lstStyle/>
              <a:p>
                <a:endParaRPr lang="en-GB" dirty="0"/>
              </a:p>
            </p:txBody>
          </p:sp>
          <p:grpSp>
            <p:nvGrpSpPr>
              <p:cNvPr id="736" name="Grafik 119">
                <a:extLst>
                  <a:ext uri="{FF2B5EF4-FFF2-40B4-BE49-F238E27FC236}">
                    <a16:creationId xmlns:a16="http://schemas.microsoft.com/office/drawing/2014/main" id="{1AEE8AA9-939C-459F-82A1-54CAE2DC74F7}"/>
                  </a:ext>
                </a:extLst>
              </p:cNvPr>
              <p:cNvGrpSpPr/>
              <p:nvPr/>
            </p:nvGrpSpPr>
            <p:grpSpPr>
              <a:xfrm>
                <a:off x="895686" y="2545988"/>
                <a:ext cx="392733" cy="71711"/>
                <a:chOff x="895686" y="2545988"/>
                <a:chExt cx="392733" cy="71711"/>
              </a:xfrm>
              <a:grpFill/>
            </p:grpSpPr>
            <p:sp>
              <p:nvSpPr>
                <p:cNvPr id="746" name="Freihandform: Form 165">
                  <a:extLst>
                    <a:ext uri="{FF2B5EF4-FFF2-40B4-BE49-F238E27FC236}">
                      <a16:creationId xmlns:a16="http://schemas.microsoft.com/office/drawing/2014/main" id="{F5E4E7D8-177C-4A2D-9BAF-9315F0A59176}"/>
                    </a:ext>
                  </a:extLst>
                </p:cNvPr>
                <p:cNvSpPr/>
                <p:nvPr/>
              </p:nvSpPr>
              <p:spPr>
                <a:xfrm>
                  <a:off x="895686" y="2545988"/>
                  <a:ext cx="392733" cy="71711"/>
                </a:xfrm>
                <a:custGeom>
                  <a:avLst/>
                  <a:gdLst>
                    <a:gd name="connsiteX0" fmla="*/ 387649 w 392733"/>
                    <a:gd name="connsiteY0" fmla="*/ 71712 h 71711"/>
                    <a:gd name="connsiteX1" fmla="*/ 5112 w 392733"/>
                    <a:gd name="connsiteY1" fmla="*/ 71712 h 71711"/>
                    <a:gd name="connsiteX2" fmla="*/ 0 w 392733"/>
                    <a:gd name="connsiteY2" fmla="*/ 66599 h 71711"/>
                    <a:gd name="connsiteX3" fmla="*/ 0 w 392733"/>
                    <a:gd name="connsiteY3" fmla="*/ 5112 h 71711"/>
                    <a:gd name="connsiteX4" fmla="*/ 5112 w 392733"/>
                    <a:gd name="connsiteY4" fmla="*/ 0 h 71711"/>
                    <a:gd name="connsiteX5" fmla="*/ 387621 w 392733"/>
                    <a:gd name="connsiteY5" fmla="*/ 0 h 71711"/>
                    <a:gd name="connsiteX6" fmla="*/ 392733 w 392733"/>
                    <a:gd name="connsiteY6" fmla="*/ 5112 h 71711"/>
                    <a:gd name="connsiteX7" fmla="*/ 392733 w 392733"/>
                    <a:gd name="connsiteY7" fmla="*/ 66599 h 71711"/>
                    <a:gd name="connsiteX8" fmla="*/ 387649 w 392733"/>
                    <a:gd name="connsiteY8" fmla="*/ 71712 h 71711"/>
                    <a:gd name="connsiteX9" fmla="*/ 10224 w 392733"/>
                    <a:gd name="connsiteY9" fmla="*/ 61487 h 71711"/>
                    <a:gd name="connsiteX10" fmla="*/ 382509 w 392733"/>
                    <a:gd name="connsiteY10" fmla="*/ 61487 h 71711"/>
                    <a:gd name="connsiteX11" fmla="*/ 382509 w 392733"/>
                    <a:gd name="connsiteY11" fmla="*/ 10253 h 71711"/>
                    <a:gd name="connsiteX12" fmla="*/ 10224 w 392733"/>
                    <a:gd name="connsiteY12" fmla="*/ 10253 h 71711"/>
                    <a:gd name="connsiteX13" fmla="*/ 10224 w 392733"/>
                    <a:gd name="connsiteY13" fmla="*/ 61487 h 7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733" h="71711">
                      <a:moveTo>
                        <a:pt x="387649" y="71712"/>
                      </a:moveTo>
                      <a:lnTo>
                        <a:pt x="5112" y="71712"/>
                      </a:lnTo>
                      <a:cubicBezTo>
                        <a:pt x="2288" y="71712"/>
                        <a:pt x="0" y="69424"/>
                        <a:pt x="0" y="66599"/>
                      </a:cubicBezTo>
                      <a:lnTo>
                        <a:pt x="0" y="5112"/>
                      </a:lnTo>
                      <a:cubicBezTo>
                        <a:pt x="0" y="2288"/>
                        <a:pt x="2288" y="0"/>
                        <a:pt x="5112" y="0"/>
                      </a:cubicBezTo>
                      <a:lnTo>
                        <a:pt x="387621" y="0"/>
                      </a:lnTo>
                      <a:cubicBezTo>
                        <a:pt x="390445" y="0"/>
                        <a:pt x="392733" y="2288"/>
                        <a:pt x="392733" y="5112"/>
                      </a:cubicBezTo>
                      <a:lnTo>
                        <a:pt x="392733" y="66599"/>
                      </a:lnTo>
                      <a:cubicBezTo>
                        <a:pt x="392761" y="69424"/>
                        <a:pt x="390474" y="71712"/>
                        <a:pt x="387649" y="71712"/>
                      </a:cubicBezTo>
                      <a:close/>
                      <a:moveTo>
                        <a:pt x="10224" y="61487"/>
                      </a:moveTo>
                      <a:lnTo>
                        <a:pt x="382509" y="61487"/>
                      </a:lnTo>
                      <a:lnTo>
                        <a:pt x="382509" y="10253"/>
                      </a:lnTo>
                      <a:lnTo>
                        <a:pt x="10224" y="10253"/>
                      </a:lnTo>
                      <a:lnTo>
                        <a:pt x="10224" y="61487"/>
                      </a:lnTo>
                      <a:close/>
                    </a:path>
                  </a:pathLst>
                </a:custGeom>
                <a:grpFill/>
                <a:ln w="2817" cap="flat">
                  <a:noFill/>
                  <a:prstDash val="solid"/>
                  <a:miter/>
                </a:ln>
              </p:spPr>
              <p:txBody>
                <a:bodyPr rtlCol="0" anchor="ctr"/>
                <a:lstStyle/>
                <a:p>
                  <a:endParaRPr lang="en-GB" dirty="0"/>
                </a:p>
              </p:txBody>
            </p:sp>
            <p:grpSp>
              <p:nvGrpSpPr>
                <p:cNvPr id="747" name="Grafik 119">
                  <a:extLst>
                    <a:ext uri="{FF2B5EF4-FFF2-40B4-BE49-F238E27FC236}">
                      <a16:creationId xmlns:a16="http://schemas.microsoft.com/office/drawing/2014/main" id="{DAF92396-5900-4604-A982-3E02192F9311}"/>
                    </a:ext>
                  </a:extLst>
                </p:cNvPr>
                <p:cNvGrpSpPr/>
                <p:nvPr/>
              </p:nvGrpSpPr>
              <p:grpSpPr>
                <a:xfrm>
                  <a:off x="931889" y="2546320"/>
                  <a:ext cx="327980" cy="70842"/>
                  <a:chOff x="931889" y="2546320"/>
                  <a:chExt cx="327980" cy="70842"/>
                </a:xfrm>
                <a:grpFill/>
              </p:grpSpPr>
              <p:sp>
                <p:nvSpPr>
                  <p:cNvPr id="748" name="Freihandform: Form 167">
                    <a:extLst>
                      <a:ext uri="{FF2B5EF4-FFF2-40B4-BE49-F238E27FC236}">
                        <a16:creationId xmlns:a16="http://schemas.microsoft.com/office/drawing/2014/main" id="{7262F171-8257-4F58-8973-2615A3F26FA6}"/>
                      </a:ext>
                    </a:extLst>
                  </p:cNvPr>
                  <p:cNvSpPr/>
                  <p:nvPr/>
                </p:nvSpPr>
                <p:spPr>
                  <a:xfrm>
                    <a:off x="978992" y="2546555"/>
                    <a:ext cx="44737" cy="69449"/>
                  </a:xfrm>
                  <a:custGeom>
                    <a:avLst/>
                    <a:gdLst>
                      <a:gd name="connsiteX0" fmla="*/ 39640 w 44737"/>
                      <a:gd name="connsiteY0" fmla="*/ 69450 h 69449"/>
                      <a:gd name="connsiteX1" fmla="*/ 35206 w 44737"/>
                      <a:gd name="connsiteY1" fmla="*/ 66908 h 69449"/>
                      <a:gd name="connsiteX2" fmla="*/ 691 w 44737"/>
                      <a:gd name="connsiteY2" fmla="*/ 7709 h 69449"/>
                      <a:gd name="connsiteX3" fmla="*/ 2527 w 44737"/>
                      <a:gd name="connsiteY3" fmla="*/ 704 h 69449"/>
                      <a:gd name="connsiteX4" fmla="*/ 9532 w 44737"/>
                      <a:gd name="connsiteY4" fmla="*/ 2540 h 69449"/>
                      <a:gd name="connsiteX5" fmla="*/ 44046 w 44737"/>
                      <a:gd name="connsiteY5" fmla="*/ 61739 h 69449"/>
                      <a:gd name="connsiteX6" fmla="*/ 42210 w 44737"/>
                      <a:gd name="connsiteY6" fmla="*/ 68744 h 69449"/>
                      <a:gd name="connsiteX7" fmla="*/ 39640 w 44737"/>
                      <a:gd name="connsiteY7" fmla="*/ 69450 h 6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37" h="69449">
                        <a:moveTo>
                          <a:pt x="39640" y="69450"/>
                        </a:moveTo>
                        <a:cubicBezTo>
                          <a:pt x="37889" y="69450"/>
                          <a:pt x="36166" y="68546"/>
                          <a:pt x="35206" y="66908"/>
                        </a:cubicBezTo>
                        <a:lnTo>
                          <a:pt x="691" y="7709"/>
                        </a:lnTo>
                        <a:cubicBezTo>
                          <a:pt x="-721" y="5251"/>
                          <a:pt x="98" y="2116"/>
                          <a:pt x="2527" y="704"/>
                        </a:cubicBezTo>
                        <a:cubicBezTo>
                          <a:pt x="4956" y="-736"/>
                          <a:pt x="8120" y="111"/>
                          <a:pt x="9532" y="2540"/>
                        </a:cubicBezTo>
                        <a:lnTo>
                          <a:pt x="44046" y="61739"/>
                        </a:lnTo>
                        <a:cubicBezTo>
                          <a:pt x="45458" y="64197"/>
                          <a:pt x="44639" y="67332"/>
                          <a:pt x="42210" y="68744"/>
                        </a:cubicBezTo>
                        <a:cubicBezTo>
                          <a:pt x="41419" y="69224"/>
                          <a:pt x="40516" y="69450"/>
                          <a:pt x="39640" y="69450"/>
                        </a:cubicBezTo>
                        <a:close/>
                      </a:path>
                    </a:pathLst>
                  </a:custGeom>
                  <a:grpFill/>
                  <a:ln w="2817" cap="flat">
                    <a:noFill/>
                    <a:prstDash val="solid"/>
                    <a:miter/>
                  </a:ln>
                </p:spPr>
                <p:txBody>
                  <a:bodyPr rtlCol="0" anchor="ctr"/>
                  <a:lstStyle/>
                  <a:p>
                    <a:endParaRPr lang="en-GB" dirty="0"/>
                  </a:p>
                </p:txBody>
              </p:sp>
              <p:sp>
                <p:nvSpPr>
                  <p:cNvPr id="749" name="Freihandform: Form 168">
                    <a:extLst>
                      <a:ext uri="{FF2B5EF4-FFF2-40B4-BE49-F238E27FC236}">
                        <a16:creationId xmlns:a16="http://schemas.microsoft.com/office/drawing/2014/main" id="{B2FE1E37-33FE-401E-8E12-81F0A0C40E44}"/>
                      </a:ext>
                    </a:extLst>
                  </p:cNvPr>
                  <p:cNvSpPr/>
                  <p:nvPr/>
                </p:nvSpPr>
                <p:spPr>
                  <a:xfrm>
                    <a:off x="931889" y="2546971"/>
                    <a:ext cx="44495" cy="69881"/>
                  </a:xfrm>
                  <a:custGeom>
                    <a:avLst/>
                    <a:gdLst>
                      <a:gd name="connsiteX0" fmla="*/ 39349 w 44495"/>
                      <a:gd name="connsiteY0" fmla="*/ 69881 h 69881"/>
                      <a:gd name="connsiteX1" fmla="*/ 34915 w 44495"/>
                      <a:gd name="connsiteY1" fmla="*/ 67311 h 69881"/>
                      <a:gd name="connsiteX2" fmla="*/ 683 w 44495"/>
                      <a:gd name="connsiteY2" fmla="*/ 7688 h 69881"/>
                      <a:gd name="connsiteX3" fmla="*/ 2576 w 44495"/>
                      <a:gd name="connsiteY3" fmla="*/ 683 h 69881"/>
                      <a:gd name="connsiteX4" fmla="*/ 9580 w 44495"/>
                      <a:gd name="connsiteY4" fmla="*/ 2576 h 69881"/>
                      <a:gd name="connsiteX5" fmla="*/ 43812 w 44495"/>
                      <a:gd name="connsiteY5" fmla="*/ 62199 h 69881"/>
                      <a:gd name="connsiteX6" fmla="*/ 41920 w 44495"/>
                      <a:gd name="connsiteY6" fmla="*/ 69203 h 69881"/>
                      <a:gd name="connsiteX7" fmla="*/ 39349 w 44495"/>
                      <a:gd name="connsiteY7" fmla="*/ 69881 h 69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495" h="69881">
                        <a:moveTo>
                          <a:pt x="39349" y="69881"/>
                        </a:moveTo>
                        <a:cubicBezTo>
                          <a:pt x="37570" y="69881"/>
                          <a:pt x="35847" y="68949"/>
                          <a:pt x="34915" y="67311"/>
                        </a:cubicBezTo>
                        <a:lnTo>
                          <a:pt x="683" y="7688"/>
                        </a:lnTo>
                        <a:cubicBezTo>
                          <a:pt x="-729" y="5231"/>
                          <a:pt x="118" y="2095"/>
                          <a:pt x="2576" y="683"/>
                        </a:cubicBezTo>
                        <a:cubicBezTo>
                          <a:pt x="5033" y="-729"/>
                          <a:pt x="8168" y="118"/>
                          <a:pt x="9580" y="2576"/>
                        </a:cubicBezTo>
                        <a:lnTo>
                          <a:pt x="43812" y="62199"/>
                        </a:lnTo>
                        <a:cubicBezTo>
                          <a:pt x="45224" y="64656"/>
                          <a:pt x="44377" y="67791"/>
                          <a:pt x="41920" y="69203"/>
                        </a:cubicBezTo>
                        <a:cubicBezTo>
                          <a:pt x="41100" y="69655"/>
                          <a:pt x="40225" y="69881"/>
                          <a:pt x="39349" y="69881"/>
                        </a:cubicBezTo>
                        <a:close/>
                      </a:path>
                    </a:pathLst>
                  </a:custGeom>
                  <a:grpFill/>
                  <a:ln w="2817" cap="flat">
                    <a:noFill/>
                    <a:prstDash val="solid"/>
                    <a:miter/>
                  </a:ln>
                </p:spPr>
                <p:txBody>
                  <a:bodyPr rtlCol="0" anchor="ctr"/>
                  <a:lstStyle/>
                  <a:p>
                    <a:endParaRPr lang="en-GB" dirty="0"/>
                  </a:p>
                </p:txBody>
              </p:sp>
              <p:sp>
                <p:nvSpPr>
                  <p:cNvPr id="750" name="Freihandform: Form 169">
                    <a:extLst>
                      <a:ext uri="{FF2B5EF4-FFF2-40B4-BE49-F238E27FC236}">
                        <a16:creationId xmlns:a16="http://schemas.microsoft.com/office/drawing/2014/main" id="{EC96857A-744C-4F88-90EC-819B4BBEE4C5}"/>
                      </a:ext>
                    </a:extLst>
                  </p:cNvPr>
                  <p:cNvSpPr/>
                  <p:nvPr/>
                </p:nvSpPr>
                <p:spPr>
                  <a:xfrm>
                    <a:off x="1098471" y="2547703"/>
                    <a:ext cx="43114" cy="68724"/>
                  </a:xfrm>
                  <a:custGeom>
                    <a:avLst/>
                    <a:gdLst>
                      <a:gd name="connsiteX0" fmla="*/ 37995 w 43114"/>
                      <a:gd name="connsiteY0" fmla="*/ 68725 h 68724"/>
                      <a:gd name="connsiteX1" fmla="*/ 33533 w 43114"/>
                      <a:gd name="connsiteY1" fmla="*/ 66126 h 68724"/>
                      <a:gd name="connsiteX2" fmla="*/ 657 w 43114"/>
                      <a:gd name="connsiteY2" fmla="*/ 7633 h 68724"/>
                      <a:gd name="connsiteX3" fmla="*/ 2606 w 43114"/>
                      <a:gd name="connsiteY3" fmla="*/ 657 h 68724"/>
                      <a:gd name="connsiteX4" fmla="*/ 9582 w 43114"/>
                      <a:gd name="connsiteY4" fmla="*/ 2606 h 68724"/>
                      <a:gd name="connsiteX5" fmla="*/ 42458 w 43114"/>
                      <a:gd name="connsiteY5" fmla="*/ 61099 h 68724"/>
                      <a:gd name="connsiteX6" fmla="*/ 40509 w 43114"/>
                      <a:gd name="connsiteY6" fmla="*/ 68075 h 68724"/>
                      <a:gd name="connsiteX7" fmla="*/ 37995 w 43114"/>
                      <a:gd name="connsiteY7" fmla="*/ 68725 h 68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14" h="68724">
                        <a:moveTo>
                          <a:pt x="37995" y="68725"/>
                        </a:moveTo>
                        <a:cubicBezTo>
                          <a:pt x="36216" y="68725"/>
                          <a:pt x="34465" y="67793"/>
                          <a:pt x="33533" y="66126"/>
                        </a:cubicBezTo>
                        <a:lnTo>
                          <a:pt x="657" y="7633"/>
                        </a:lnTo>
                        <a:cubicBezTo>
                          <a:pt x="-727" y="5176"/>
                          <a:pt x="148" y="2041"/>
                          <a:pt x="2606" y="657"/>
                        </a:cubicBezTo>
                        <a:cubicBezTo>
                          <a:pt x="5063" y="-727"/>
                          <a:pt x="8198" y="148"/>
                          <a:pt x="9582" y="2606"/>
                        </a:cubicBezTo>
                        <a:lnTo>
                          <a:pt x="42458" y="61099"/>
                        </a:lnTo>
                        <a:cubicBezTo>
                          <a:pt x="43842" y="63556"/>
                          <a:pt x="42966" y="66691"/>
                          <a:pt x="40509" y="68075"/>
                        </a:cubicBezTo>
                        <a:cubicBezTo>
                          <a:pt x="39718" y="68527"/>
                          <a:pt x="38843" y="68725"/>
                          <a:pt x="37995" y="68725"/>
                        </a:cubicBezTo>
                        <a:close/>
                      </a:path>
                    </a:pathLst>
                  </a:custGeom>
                  <a:grpFill/>
                  <a:ln w="2817" cap="flat">
                    <a:noFill/>
                    <a:prstDash val="solid"/>
                    <a:miter/>
                  </a:ln>
                </p:spPr>
                <p:txBody>
                  <a:bodyPr rtlCol="0" anchor="ctr"/>
                  <a:lstStyle/>
                  <a:p>
                    <a:endParaRPr lang="en-GB" dirty="0"/>
                  </a:p>
                </p:txBody>
              </p:sp>
              <p:sp>
                <p:nvSpPr>
                  <p:cNvPr id="751" name="Freihandform: Form 170">
                    <a:extLst>
                      <a:ext uri="{FF2B5EF4-FFF2-40B4-BE49-F238E27FC236}">
                        <a16:creationId xmlns:a16="http://schemas.microsoft.com/office/drawing/2014/main" id="{69CB8DB4-FB06-43D1-A9BC-60809FE59E97}"/>
                      </a:ext>
                    </a:extLst>
                  </p:cNvPr>
                  <p:cNvSpPr/>
                  <p:nvPr/>
                </p:nvSpPr>
                <p:spPr>
                  <a:xfrm>
                    <a:off x="1050654" y="2547280"/>
                    <a:ext cx="43114" cy="68724"/>
                  </a:xfrm>
                  <a:custGeom>
                    <a:avLst/>
                    <a:gdLst>
                      <a:gd name="connsiteX0" fmla="*/ 37995 w 43114"/>
                      <a:gd name="connsiteY0" fmla="*/ 68725 h 68724"/>
                      <a:gd name="connsiteX1" fmla="*/ 33533 w 43114"/>
                      <a:gd name="connsiteY1" fmla="*/ 66126 h 68724"/>
                      <a:gd name="connsiteX2" fmla="*/ 657 w 43114"/>
                      <a:gd name="connsiteY2" fmla="*/ 7633 h 68724"/>
                      <a:gd name="connsiteX3" fmla="*/ 2606 w 43114"/>
                      <a:gd name="connsiteY3" fmla="*/ 657 h 68724"/>
                      <a:gd name="connsiteX4" fmla="*/ 9582 w 43114"/>
                      <a:gd name="connsiteY4" fmla="*/ 2606 h 68724"/>
                      <a:gd name="connsiteX5" fmla="*/ 42458 w 43114"/>
                      <a:gd name="connsiteY5" fmla="*/ 61099 h 68724"/>
                      <a:gd name="connsiteX6" fmla="*/ 40509 w 43114"/>
                      <a:gd name="connsiteY6" fmla="*/ 68075 h 68724"/>
                      <a:gd name="connsiteX7" fmla="*/ 37995 w 43114"/>
                      <a:gd name="connsiteY7" fmla="*/ 68725 h 68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114" h="68724">
                        <a:moveTo>
                          <a:pt x="37995" y="68725"/>
                        </a:moveTo>
                        <a:cubicBezTo>
                          <a:pt x="36216" y="68725"/>
                          <a:pt x="34465" y="67793"/>
                          <a:pt x="33533" y="66126"/>
                        </a:cubicBezTo>
                        <a:lnTo>
                          <a:pt x="657" y="7633"/>
                        </a:lnTo>
                        <a:cubicBezTo>
                          <a:pt x="-727" y="5176"/>
                          <a:pt x="148" y="2041"/>
                          <a:pt x="2606" y="657"/>
                        </a:cubicBezTo>
                        <a:cubicBezTo>
                          <a:pt x="5063" y="-727"/>
                          <a:pt x="8198" y="148"/>
                          <a:pt x="9582" y="2606"/>
                        </a:cubicBezTo>
                        <a:lnTo>
                          <a:pt x="42458" y="61099"/>
                        </a:lnTo>
                        <a:cubicBezTo>
                          <a:pt x="43842" y="63556"/>
                          <a:pt x="42966" y="66691"/>
                          <a:pt x="40509" y="68075"/>
                        </a:cubicBezTo>
                        <a:cubicBezTo>
                          <a:pt x="39718" y="68499"/>
                          <a:pt x="38843" y="68725"/>
                          <a:pt x="37995" y="68725"/>
                        </a:cubicBezTo>
                        <a:close/>
                      </a:path>
                    </a:pathLst>
                  </a:custGeom>
                  <a:grpFill/>
                  <a:ln w="2817" cap="flat">
                    <a:noFill/>
                    <a:prstDash val="solid"/>
                    <a:miter/>
                  </a:ln>
                </p:spPr>
                <p:txBody>
                  <a:bodyPr rtlCol="0" anchor="ctr"/>
                  <a:lstStyle/>
                  <a:p>
                    <a:endParaRPr lang="en-GB" dirty="0"/>
                  </a:p>
                </p:txBody>
              </p:sp>
              <p:sp>
                <p:nvSpPr>
                  <p:cNvPr id="752" name="Freihandform: Form 171">
                    <a:extLst>
                      <a:ext uri="{FF2B5EF4-FFF2-40B4-BE49-F238E27FC236}">
                        <a16:creationId xmlns:a16="http://schemas.microsoft.com/office/drawing/2014/main" id="{CA564530-756D-4701-ACD0-44604284A5D6}"/>
                      </a:ext>
                    </a:extLst>
                  </p:cNvPr>
                  <p:cNvSpPr/>
                  <p:nvPr/>
                </p:nvSpPr>
                <p:spPr>
                  <a:xfrm>
                    <a:off x="1168178" y="2546320"/>
                    <a:ext cx="45175" cy="70842"/>
                  </a:xfrm>
                  <a:custGeom>
                    <a:avLst/>
                    <a:gdLst>
                      <a:gd name="connsiteX0" fmla="*/ 40085 w 45175"/>
                      <a:gd name="connsiteY0" fmla="*/ 70842 h 70842"/>
                      <a:gd name="connsiteX1" fmla="*/ 35650 w 45175"/>
                      <a:gd name="connsiteY1" fmla="*/ 68272 h 70842"/>
                      <a:gd name="connsiteX2" fmla="*/ 684 w 45175"/>
                      <a:gd name="connsiteY2" fmla="*/ 7689 h 70842"/>
                      <a:gd name="connsiteX3" fmla="*/ 2548 w 45175"/>
                      <a:gd name="connsiteY3" fmla="*/ 684 h 70842"/>
                      <a:gd name="connsiteX4" fmla="*/ 9553 w 45175"/>
                      <a:gd name="connsiteY4" fmla="*/ 2548 h 70842"/>
                      <a:gd name="connsiteX5" fmla="*/ 44491 w 45175"/>
                      <a:gd name="connsiteY5" fmla="*/ 63160 h 70842"/>
                      <a:gd name="connsiteX6" fmla="*/ 42627 w 45175"/>
                      <a:gd name="connsiteY6" fmla="*/ 70165 h 70842"/>
                      <a:gd name="connsiteX7" fmla="*/ 40085 w 45175"/>
                      <a:gd name="connsiteY7" fmla="*/ 70842 h 7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175" h="70842">
                        <a:moveTo>
                          <a:pt x="40085" y="70842"/>
                        </a:moveTo>
                        <a:cubicBezTo>
                          <a:pt x="38305" y="70842"/>
                          <a:pt x="36582" y="69939"/>
                          <a:pt x="35650" y="68272"/>
                        </a:cubicBezTo>
                        <a:lnTo>
                          <a:pt x="684" y="7689"/>
                        </a:lnTo>
                        <a:cubicBezTo>
                          <a:pt x="-728" y="5232"/>
                          <a:pt x="119" y="2096"/>
                          <a:pt x="2548" y="684"/>
                        </a:cubicBezTo>
                        <a:cubicBezTo>
                          <a:pt x="5006" y="-728"/>
                          <a:pt x="8141" y="119"/>
                          <a:pt x="9553" y="2548"/>
                        </a:cubicBezTo>
                        <a:lnTo>
                          <a:pt x="44491" y="63160"/>
                        </a:lnTo>
                        <a:cubicBezTo>
                          <a:pt x="45903" y="65617"/>
                          <a:pt x="45056" y="68752"/>
                          <a:pt x="42627" y="70165"/>
                        </a:cubicBezTo>
                        <a:cubicBezTo>
                          <a:pt x="41836" y="70616"/>
                          <a:pt x="40932" y="70842"/>
                          <a:pt x="40085" y="70842"/>
                        </a:cubicBezTo>
                        <a:close/>
                      </a:path>
                    </a:pathLst>
                  </a:custGeom>
                  <a:grpFill/>
                  <a:ln w="2817" cap="flat">
                    <a:noFill/>
                    <a:prstDash val="solid"/>
                    <a:miter/>
                  </a:ln>
                </p:spPr>
                <p:txBody>
                  <a:bodyPr rtlCol="0" anchor="ctr"/>
                  <a:lstStyle/>
                  <a:p>
                    <a:endParaRPr lang="en-GB" dirty="0"/>
                  </a:p>
                </p:txBody>
              </p:sp>
              <p:sp>
                <p:nvSpPr>
                  <p:cNvPr id="753" name="Freihandform: Form 172">
                    <a:extLst>
                      <a:ext uri="{FF2B5EF4-FFF2-40B4-BE49-F238E27FC236}">
                        <a16:creationId xmlns:a16="http://schemas.microsoft.com/office/drawing/2014/main" id="{2B607686-7E54-42C0-AB13-C1CBECD6F8E2}"/>
                      </a:ext>
                    </a:extLst>
                  </p:cNvPr>
                  <p:cNvSpPr/>
                  <p:nvPr/>
                </p:nvSpPr>
                <p:spPr>
                  <a:xfrm>
                    <a:off x="1216306" y="2547677"/>
                    <a:ext cx="43563" cy="68327"/>
                  </a:xfrm>
                  <a:custGeom>
                    <a:avLst/>
                    <a:gdLst>
                      <a:gd name="connsiteX0" fmla="*/ 38417 w 43563"/>
                      <a:gd name="connsiteY0" fmla="*/ 68328 h 68327"/>
                      <a:gd name="connsiteX1" fmla="*/ 33983 w 43563"/>
                      <a:gd name="connsiteY1" fmla="*/ 65758 h 68327"/>
                      <a:gd name="connsiteX2" fmla="*/ 683 w 43563"/>
                      <a:gd name="connsiteY2" fmla="*/ 7688 h 68327"/>
                      <a:gd name="connsiteX3" fmla="*/ 2576 w 43563"/>
                      <a:gd name="connsiteY3" fmla="*/ 683 h 68327"/>
                      <a:gd name="connsiteX4" fmla="*/ 9580 w 43563"/>
                      <a:gd name="connsiteY4" fmla="*/ 2576 h 68327"/>
                      <a:gd name="connsiteX5" fmla="*/ 42880 w 43563"/>
                      <a:gd name="connsiteY5" fmla="*/ 60645 h 68327"/>
                      <a:gd name="connsiteX6" fmla="*/ 40987 w 43563"/>
                      <a:gd name="connsiteY6" fmla="*/ 67650 h 68327"/>
                      <a:gd name="connsiteX7" fmla="*/ 38417 w 43563"/>
                      <a:gd name="connsiteY7" fmla="*/ 68328 h 6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563" h="68327">
                        <a:moveTo>
                          <a:pt x="38417" y="68328"/>
                        </a:moveTo>
                        <a:cubicBezTo>
                          <a:pt x="36638" y="68328"/>
                          <a:pt x="34915" y="67396"/>
                          <a:pt x="33983" y="65758"/>
                        </a:cubicBezTo>
                        <a:lnTo>
                          <a:pt x="683" y="7688"/>
                        </a:lnTo>
                        <a:cubicBezTo>
                          <a:pt x="-729" y="5231"/>
                          <a:pt x="118" y="2095"/>
                          <a:pt x="2576" y="683"/>
                        </a:cubicBezTo>
                        <a:cubicBezTo>
                          <a:pt x="5033" y="-729"/>
                          <a:pt x="8168" y="118"/>
                          <a:pt x="9580" y="2576"/>
                        </a:cubicBezTo>
                        <a:lnTo>
                          <a:pt x="42880" y="60645"/>
                        </a:lnTo>
                        <a:cubicBezTo>
                          <a:pt x="44292" y="63103"/>
                          <a:pt x="43445" y="66238"/>
                          <a:pt x="40987" y="67650"/>
                        </a:cubicBezTo>
                        <a:cubicBezTo>
                          <a:pt x="40168" y="68102"/>
                          <a:pt x="39293" y="68328"/>
                          <a:pt x="38417" y="68328"/>
                        </a:cubicBezTo>
                        <a:close/>
                      </a:path>
                    </a:pathLst>
                  </a:custGeom>
                  <a:grpFill/>
                  <a:ln w="2817" cap="flat">
                    <a:noFill/>
                    <a:prstDash val="solid"/>
                    <a:miter/>
                  </a:ln>
                </p:spPr>
                <p:txBody>
                  <a:bodyPr rtlCol="0" anchor="ctr"/>
                  <a:lstStyle/>
                  <a:p>
                    <a:endParaRPr lang="en-GB" dirty="0"/>
                  </a:p>
                </p:txBody>
              </p:sp>
            </p:grpSp>
          </p:grpSp>
          <p:grpSp>
            <p:nvGrpSpPr>
              <p:cNvPr id="737" name="Grafik 119">
                <a:extLst>
                  <a:ext uri="{FF2B5EF4-FFF2-40B4-BE49-F238E27FC236}">
                    <a16:creationId xmlns:a16="http://schemas.microsoft.com/office/drawing/2014/main" id="{8731D49E-B95B-40A1-BEE7-70F785DDD3BB}"/>
                  </a:ext>
                </a:extLst>
              </p:cNvPr>
              <p:cNvGrpSpPr/>
              <p:nvPr/>
            </p:nvGrpSpPr>
            <p:grpSpPr>
              <a:xfrm>
                <a:off x="882198" y="2399525"/>
                <a:ext cx="396802" cy="156235"/>
                <a:chOff x="882198" y="2399525"/>
                <a:chExt cx="396802" cy="156235"/>
              </a:xfrm>
              <a:grpFill/>
            </p:grpSpPr>
            <p:sp>
              <p:nvSpPr>
                <p:cNvPr id="738" name="Freihandform: Form 174">
                  <a:extLst>
                    <a:ext uri="{FF2B5EF4-FFF2-40B4-BE49-F238E27FC236}">
                      <a16:creationId xmlns:a16="http://schemas.microsoft.com/office/drawing/2014/main" id="{BE2A1BC0-CFB8-4798-BF30-5F8421BA1AD9}"/>
                    </a:ext>
                  </a:extLst>
                </p:cNvPr>
                <p:cNvSpPr/>
                <p:nvPr/>
              </p:nvSpPr>
              <p:spPr>
                <a:xfrm>
                  <a:off x="882198" y="2399525"/>
                  <a:ext cx="396802" cy="156235"/>
                </a:xfrm>
                <a:custGeom>
                  <a:avLst/>
                  <a:gdLst>
                    <a:gd name="connsiteX0" fmla="*/ 18967 w 396802"/>
                    <a:gd name="connsiteY0" fmla="*/ 156235 h 156235"/>
                    <a:gd name="connsiteX1" fmla="*/ 16256 w 396802"/>
                    <a:gd name="connsiteY1" fmla="*/ 155445 h 156235"/>
                    <a:gd name="connsiteX2" fmla="*/ 13968 w 396802"/>
                    <a:gd name="connsiteY2" fmla="*/ 152253 h 156235"/>
                    <a:gd name="connsiteX3" fmla="*/ 128 w 396802"/>
                    <a:gd name="connsiteY3" fmla="*/ 92347 h 156235"/>
                    <a:gd name="connsiteX4" fmla="*/ 3969 w 396802"/>
                    <a:gd name="connsiteY4" fmla="*/ 86190 h 156235"/>
                    <a:gd name="connsiteX5" fmla="*/ 376678 w 396802"/>
                    <a:gd name="connsiteY5" fmla="*/ 131 h 156235"/>
                    <a:gd name="connsiteX6" fmla="*/ 380547 w 396802"/>
                    <a:gd name="connsiteY6" fmla="*/ 780 h 156235"/>
                    <a:gd name="connsiteX7" fmla="*/ 382835 w 396802"/>
                    <a:gd name="connsiteY7" fmla="*/ 3972 h 156235"/>
                    <a:gd name="connsiteX8" fmla="*/ 396674 w 396802"/>
                    <a:gd name="connsiteY8" fmla="*/ 63877 h 156235"/>
                    <a:gd name="connsiteX9" fmla="*/ 392833 w 396802"/>
                    <a:gd name="connsiteY9" fmla="*/ 70035 h 156235"/>
                    <a:gd name="connsiteX10" fmla="*/ 20125 w 396802"/>
                    <a:gd name="connsiteY10" fmla="*/ 156094 h 156235"/>
                    <a:gd name="connsiteX11" fmla="*/ 18967 w 396802"/>
                    <a:gd name="connsiteY11" fmla="*/ 156235 h 156235"/>
                    <a:gd name="connsiteX12" fmla="*/ 11285 w 396802"/>
                    <a:gd name="connsiteY12" fmla="*/ 95059 h 156235"/>
                    <a:gd name="connsiteX13" fmla="*/ 22808 w 396802"/>
                    <a:gd name="connsiteY13" fmla="*/ 144966 h 156235"/>
                    <a:gd name="connsiteX14" fmla="*/ 385546 w 396802"/>
                    <a:gd name="connsiteY14" fmla="*/ 61222 h 156235"/>
                    <a:gd name="connsiteX15" fmla="*/ 374023 w 396802"/>
                    <a:gd name="connsiteY15" fmla="*/ 11315 h 156235"/>
                    <a:gd name="connsiteX16" fmla="*/ 11285 w 396802"/>
                    <a:gd name="connsiteY16" fmla="*/ 95059 h 156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6802" h="156235">
                      <a:moveTo>
                        <a:pt x="18967" y="156235"/>
                      </a:moveTo>
                      <a:cubicBezTo>
                        <a:pt x="18007" y="156235"/>
                        <a:pt x="17075" y="155981"/>
                        <a:pt x="16256" y="155445"/>
                      </a:cubicBezTo>
                      <a:cubicBezTo>
                        <a:pt x="15098" y="154710"/>
                        <a:pt x="14278" y="153580"/>
                        <a:pt x="13968" y="152253"/>
                      </a:cubicBezTo>
                      <a:lnTo>
                        <a:pt x="128" y="92347"/>
                      </a:lnTo>
                      <a:cubicBezTo>
                        <a:pt x="-493" y="89579"/>
                        <a:pt x="1201" y="86840"/>
                        <a:pt x="3969" y="86190"/>
                      </a:cubicBezTo>
                      <a:lnTo>
                        <a:pt x="376678" y="131"/>
                      </a:lnTo>
                      <a:cubicBezTo>
                        <a:pt x="378005" y="-180"/>
                        <a:pt x="379389" y="74"/>
                        <a:pt x="380547" y="780"/>
                      </a:cubicBezTo>
                      <a:cubicBezTo>
                        <a:pt x="381705" y="1515"/>
                        <a:pt x="382524" y="2644"/>
                        <a:pt x="382835" y="3972"/>
                      </a:cubicBezTo>
                      <a:lnTo>
                        <a:pt x="396674" y="63877"/>
                      </a:lnTo>
                      <a:cubicBezTo>
                        <a:pt x="397296" y="66645"/>
                        <a:pt x="395601" y="69385"/>
                        <a:pt x="392833" y="70035"/>
                      </a:cubicBezTo>
                      <a:lnTo>
                        <a:pt x="20125" y="156094"/>
                      </a:lnTo>
                      <a:cubicBezTo>
                        <a:pt x="19730" y="156179"/>
                        <a:pt x="19362" y="156235"/>
                        <a:pt x="18967" y="156235"/>
                      </a:cubicBezTo>
                      <a:close/>
                      <a:moveTo>
                        <a:pt x="11285" y="95059"/>
                      </a:moveTo>
                      <a:lnTo>
                        <a:pt x="22808" y="144966"/>
                      </a:lnTo>
                      <a:lnTo>
                        <a:pt x="385546" y="61222"/>
                      </a:lnTo>
                      <a:lnTo>
                        <a:pt x="374023" y="11315"/>
                      </a:lnTo>
                      <a:lnTo>
                        <a:pt x="11285" y="95059"/>
                      </a:lnTo>
                      <a:close/>
                    </a:path>
                  </a:pathLst>
                </a:custGeom>
                <a:grpFill/>
                <a:ln w="2817" cap="flat">
                  <a:noFill/>
                  <a:prstDash val="solid"/>
                  <a:miter/>
                </a:ln>
              </p:spPr>
              <p:txBody>
                <a:bodyPr rtlCol="0" anchor="ctr"/>
                <a:lstStyle/>
                <a:p>
                  <a:endParaRPr lang="en-GB" dirty="0"/>
                </a:p>
              </p:txBody>
            </p:sp>
            <p:grpSp>
              <p:nvGrpSpPr>
                <p:cNvPr id="739" name="Grafik 119">
                  <a:extLst>
                    <a:ext uri="{FF2B5EF4-FFF2-40B4-BE49-F238E27FC236}">
                      <a16:creationId xmlns:a16="http://schemas.microsoft.com/office/drawing/2014/main" id="{39640B42-A342-4FFE-A621-B9AD52976E8F}"/>
                    </a:ext>
                  </a:extLst>
                </p:cNvPr>
                <p:cNvGrpSpPr/>
                <p:nvPr/>
              </p:nvGrpSpPr>
              <p:grpSpPr>
                <a:xfrm>
                  <a:off x="931108" y="2407663"/>
                  <a:ext cx="306551" cy="138973"/>
                  <a:chOff x="931108" y="2407663"/>
                  <a:chExt cx="306551" cy="138973"/>
                </a:xfrm>
                <a:grpFill/>
              </p:grpSpPr>
              <p:sp>
                <p:nvSpPr>
                  <p:cNvPr id="740" name="Freihandform: Form 176">
                    <a:extLst>
                      <a:ext uri="{FF2B5EF4-FFF2-40B4-BE49-F238E27FC236}">
                        <a16:creationId xmlns:a16="http://schemas.microsoft.com/office/drawing/2014/main" id="{F9E5E6C3-F296-47C5-AF4E-5DDA48A29D9B}"/>
                      </a:ext>
                    </a:extLst>
                  </p:cNvPr>
                  <p:cNvSpPr/>
                  <p:nvPr/>
                </p:nvSpPr>
                <p:spPr>
                  <a:xfrm>
                    <a:off x="977074" y="2460764"/>
                    <a:ext cx="30581" cy="75676"/>
                  </a:xfrm>
                  <a:custGeom>
                    <a:avLst/>
                    <a:gdLst>
                      <a:gd name="connsiteX0" fmla="*/ 5123 w 30581"/>
                      <a:gd name="connsiteY0" fmla="*/ 75677 h 75676"/>
                      <a:gd name="connsiteX1" fmla="*/ 3598 w 30581"/>
                      <a:gd name="connsiteY1" fmla="*/ 75451 h 75676"/>
                      <a:gd name="connsiteX2" fmla="*/ 237 w 30581"/>
                      <a:gd name="connsiteY2" fmla="*/ 69039 h 75676"/>
                      <a:gd name="connsiteX3" fmla="*/ 20573 w 30581"/>
                      <a:gd name="connsiteY3" fmla="*/ 3598 h 75676"/>
                      <a:gd name="connsiteX4" fmla="*/ 26984 w 30581"/>
                      <a:gd name="connsiteY4" fmla="*/ 237 h 75676"/>
                      <a:gd name="connsiteX5" fmla="*/ 30345 w 30581"/>
                      <a:gd name="connsiteY5" fmla="*/ 6648 h 75676"/>
                      <a:gd name="connsiteX6" fmla="*/ 10009 w 30581"/>
                      <a:gd name="connsiteY6" fmla="*/ 72090 h 75676"/>
                      <a:gd name="connsiteX7" fmla="*/ 5123 w 30581"/>
                      <a:gd name="connsiteY7" fmla="*/ 75677 h 7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81" h="75676">
                        <a:moveTo>
                          <a:pt x="5123" y="75677"/>
                        </a:moveTo>
                        <a:cubicBezTo>
                          <a:pt x="4615" y="75677"/>
                          <a:pt x="4106" y="75592"/>
                          <a:pt x="3598" y="75451"/>
                        </a:cubicBezTo>
                        <a:cubicBezTo>
                          <a:pt x="886" y="74603"/>
                          <a:pt x="-610" y="71751"/>
                          <a:pt x="237" y="69039"/>
                        </a:cubicBezTo>
                        <a:lnTo>
                          <a:pt x="20573" y="3598"/>
                        </a:lnTo>
                        <a:cubicBezTo>
                          <a:pt x="21420" y="886"/>
                          <a:pt x="24244" y="-610"/>
                          <a:pt x="26984" y="237"/>
                        </a:cubicBezTo>
                        <a:cubicBezTo>
                          <a:pt x="29695" y="1084"/>
                          <a:pt x="31192" y="3937"/>
                          <a:pt x="30345" y="6648"/>
                        </a:cubicBezTo>
                        <a:lnTo>
                          <a:pt x="10009" y="72090"/>
                        </a:lnTo>
                        <a:cubicBezTo>
                          <a:pt x="9331" y="74264"/>
                          <a:pt x="7326" y="75677"/>
                          <a:pt x="5123" y="75677"/>
                        </a:cubicBezTo>
                        <a:close/>
                      </a:path>
                    </a:pathLst>
                  </a:custGeom>
                  <a:grpFill/>
                  <a:ln w="2817" cap="flat">
                    <a:noFill/>
                    <a:prstDash val="solid"/>
                    <a:miter/>
                  </a:ln>
                </p:spPr>
                <p:txBody>
                  <a:bodyPr rtlCol="0" anchor="ctr"/>
                  <a:lstStyle/>
                  <a:p>
                    <a:endParaRPr lang="en-GB" dirty="0"/>
                  </a:p>
                </p:txBody>
              </p:sp>
              <p:sp>
                <p:nvSpPr>
                  <p:cNvPr id="741" name="Freihandform: Form 177">
                    <a:extLst>
                      <a:ext uri="{FF2B5EF4-FFF2-40B4-BE49-F238E27FC236}">
                        <a16:creationId xmlns:a16="http://schemas.microsoft.com/office/drawing/2014/main" id="{84BAD08D-009E-412C-97B9-783BF8CFA42B}"/>
                      </a:ext>
                    </a:extLst>
                  </p:cNvPr>
                  <p:cNvSpPr/>
                  <p:nvPr/>
                </p:nvSpPr>
                <p:spPr>
                  <a:xfrm>
                    <a:off x="931108" y="2470609"/>
                    <a:ext cx="30183" cy="76028"/>
                  </a:xfrm>
                  <a:custGeom>
                    <a:avLst/>
                    <a:gdLst>
                      <a:gd name="connsiteX0" fmla="*/ 5136 w 30183"/>
                      <a:gd name="connsiteY0" fmla="*/ 76028 h 76028"/>
                      <a:gd name="connsiteX1" fmla="*/ 3639 w 30183"/>
                      <a:gd name="connsiteY1" fmla="*/ 75802 h 76028"/>
                      <a:gd name="connsiteX2" fmla="*/ 221 w 30183"/>
                      <a:gd name="connsiteY2" fmla="*/ 69419 h 76028"/>
                      <a:gd name="connsiteX3" fmla="*/ 20162 w 30183"/>
                      <a:gd name="connsiteY3" fmla="*/ 3639 h 76028"/>
                      <a:gd name="connsiteX4" fmla="*/ 26545 w 30183"/>
                      <a:gd name="connsiteY4" fmla="*/ 221 h 76028"/>
                      <a:gd name="connsiteX5" fmla="*/ 29962 w 30183"/>
                      <a:gd name="connsiteY5" fmla="*/ 6604 h 76028"/>
                      <a:gd name="connsiteX6" fmla="*/ 10022 w 30183"/>
                      <a:gd name="connsiteY6" fmla="*/ 72385 h 76028"/>
                      <a:gd name="connsiteX7" fmla="*/ 5136 w 30183"/>
                      <a:gd name="connsiteY7" fmla="*/ 76028 h 7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83" h="76028">
                        <a:moveTo>
                          <a:pt x="5136" y="76028"/>
                        </a:moveTo>
                        <a:cubicBezTo>
                          <a:pt x="4656" y="76028"/>
                          <a:pt x="4147" y="75972"/>
                          <a:pt x="3639" y="75802"/>
                        </a:cubicBezTo>
                        <a:cubicBezTo>
                          <a:pt x="927" y="74983"/>
                          <a:pt x="-598" y="72131"/>
                          <a:pt x="221" y="69419"/>
                        </a:cubicBezTo>
                        <a:lnTo>
                          <a:pt x="20162" y="3639"/>
                        </a:lnTo>
                        <a:cubicBezTo>
                          <a:pt x="20981" y="927"/>
                          <a:pt x="23861" y="-598"/>
                          <a:pt x="26545" y="221"/>
                        </a:cubicBezTo>
                        <a:cubicBezTo>
                          <a:pt x="29256" y="1040"/>
                          <a:pt x="30781" y="3893"/>
                          <a:pt x="29962" y="6604"/>
                        </a:cubicBezTo>
                        <a:lnTo>
                          <a:pt x="10022" y="72385"/>
                        </a:lnTo>
                        <a:cubicBezTo>
                          <a:pt x="9372" y="74588"/>
                          <a:pt x="7339" y="76028"/>
                          <a:pt x="5136" y="76028"/>
                        </a:cubicBezTo>
                        <a:close/>
                      </a:path>
                    </a:pathLst>
                  </a:custGeom>
                  <a:grpFill/>
                  <a:ln w="2817" cap="flat">
                    <a:noFill/>
                    <a:prstDash val="solid"/>
                    <a:miter/>
                  </a:ln>
                </p:spPr>
                <p:txBody>
                  <a:bodyPr rtlCol="0" anchor="ctr"/>
                  <a:lstStyle/>
                  <a:p>
                    <a:endParaRPr lang="en-GB" dirty="0"/>
                  </a:p>
                </p:txBody>
              </p:sp>
              <p:sp>
                <p:nvSpPr>
                  <p:cNvPr id="742" name="Freihandform: Form 178">
                    <a:extLst>
                      <a:ext uri="{FF2B5EF4-FFF2-40B4-BE49-F238E27FC236}">
                        <a16:creationId xmlns:a16="http://schemas.microsoft.com/office/drawing/2014/main" id="{45492FEC-8E4B-4B3A-959A-7CB57ACBC468}"/>
                      </a:ext>
                    </a:extLst>
                  </p:cNvPr>
                  <p:cNvSpPr/>
                  <p:nvPr/>
                </p:nvSpPr>
                <p:spPr>
                  <a:xfrm>
                    <a:off x="1093244" y="2433879"/>
                    <a:ext cx="29108" cy="74600"/>
                  </a:xfrm>
                  <a:custGeom>
                    <a:avLst/>
                    <a:gdLst>
                      <a:gd name="connsiteX0" fmla="*/ 5121 w 29108"/>
                      <a:gd name="connsiteY0" fmla="*/ 74601 h 74600"/>
                      <a:gd name="connsiteX1" fmla="*/ 3680 w 29108"/>
                      <a:gd name="connsiteY1" fmla="*/ 74403 h 74600"/>
                      <a:gd name="connsiteX2" fmla="*/ 206 w 29108"/>
                      <a:gd name="connsiteY2" fmla="*/ 68048 h 74600"/>
                      <a:gd name="connsiteX3" fmla="*/ 19073 w 29108"/>
                      <a:gd name="connsiteY3" fmla="*/ 3680 h 74600"/>
                      <a:gd name="connsiteX4" fmla="*/ 25428 w 29108"/>
                      <a:gd name="connsiteY4" fmla="*/ 206 h 74600"/>
                      <a:gd name="connsiteX5" fmla="*/ 28902 w 29108"/>
                      <a:gd name="connsiteY5" fmla="*/ 6561 h 74600"/>
                      <a:gd name="connsiteX6" fmla="*/ 10035 w 29108"/>
                      <a:gd name="connsiteY6" fmla="*/ 70929 h 74600"/>
                      <a:gd name="connsiteX7" fmla="*/ 5121 w 29108"/>
                      <a:gd name="connsiteY7" fmla="*/ 74601 h 74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108" h="74600">
                        <a:moveTo>
                          <a:pt x="5121" y="74601"/>
                        </a:moveTo>
                        <a:cubicBezTo>
                          <a:pt x="4640" y="74601"/>
                          <a:pt x="4160" y="74544"/>
                          <a:pt x="3680" y="74403"/>
                        </a:cubicBezTo>
                        <a:cubicBezTo>
                          <a:pt x="969" y="73612"/>
                          <a:pt x="-585" y="70760"/>
                          <a:pt x="206" y="68048"/>
                        </a:cubicBezTo>
                        <a:lnTo>
                          <a:pt x="19073" y="3680"/>
                        </a:lnTo>
                        <a:cubicBezTo>
                          <a:pt x="19864" y="969"/>
                          <a:pt x="22745" y="-585"/>
                          <a:pt x="25428" y="206"/>
                        </a:cubicBezTo>
                        <a:cubicBezTo>
                          <a:pt x="28140" y="997"/>
                          <a:pt x="29693" y="3850"/>
                          <a:pt x="28902" y="6561"/>
                        </a:cubicBezTo>
                        <a:lnTo>
                          <a:pt x="10035" y="70929"/>
                        </a:lnTo>
                        <a:cubicBezTo>
                          <a:pt x="9385" y="73161"/>
                          <a:pt x="7352" y="74601"/>
                          <a:pt x="5121" y="74601"/>
                        </a:cubicBezTo>
                        <a:close/>
                      </a:path>
                    </a:pathLst>
                  </a:custGeom>
                  <a:grpFill/>
                  <a:ln w="2817" cap="flat">
                    <a:noFill/>
                    <a:prstDash val="solid"/>
                    <a:miter/>
                  </a:ln>
                </p:spPr>
                <p:txBody>
                  <a:bodyPr rtlCol="0" anchor="ctr"/>
                  <a:lstStyle/>
                  <a:p>
                    <a:endParaRPr lang="en-GB" dirty="0"/>
                  </a:p>
                </p:txBody>
              </p:sp>
              <p:sp>
                <p:nvSpPr>
                  <p:cNvPr id="743" name="Freihandform: Form 179">
                    <a:extLst>
                      <a:ext uri="{FF2B5EF4-FFF2-40B4-BE49-F238E27FC236}">
                        <a16:creationId xmlns:a16="http://schemas.microsoft.com/office/drawing/2014/main" id="{D3A80720-B37F-4F52-95B5-6AE5AD34384A}"/>
                      </a:ext>
                    </a:extLst>
                  </p:cNvPr>
                  <p:cNvSpPr/>
                  <p:nvPr/>
                </p:nvSpPr>
                <p:spPr>
                  <a:xfrm>
                    <a:off x="1046755" y="2445007"/>
                    <a:ext cx="29108" cy="74629"/>
                  </a:xfrm>
                  <a:custGeom>
                    <a:avLst/>
                    <a:gdLst>
                      <a:gd name="connsiteX0" fmla="*/ 5121 w 29108"/>
                      <a:gd name="connsiteY0" fmla="*/ 74629 h 74629"/>
                      <a:gd name="connsiteX1" fmla="*/ 3680 w 29108"/>
                      <a:gd name="connsiteY1" fmla="*/ 74431 h 74629"/>
                      <a:gd name="connsiteX2" fmla="*/ 206 w 29108"/>
                      <a:gd name="connsiteY2" fmla="*/ 68077 h 74629"/>
                      <a:gd name="connsiteX3" fmla="*/ 19073 w 29108"/>
                      <a:gd name="connsiteY3" fmla="*/ 3680 h 74629"/>
                      <a:gd name="connsiteX4" fmla="*/ 25428 w 29108"/>
                      <a:gd name="connsiteY4" fmla="*/ 206 h 74629"/>
                      <a:gd name="connsiteX5" fmla="*/ 28902 w 29108"/>
                      <a:gd name="connsiteY5" fmla="*/ 6561 h 74629"/>
                      <a:gd name="connsiteX6" fmla="*/ 10035 w 29108"/>
                      <a:gd name="connsiteY6" fmla="*/ 70957 h 74629"/>
                      <a:gd name="connsiteX7" fmla="*/ 5121 w 29108"/>
                      <a:gd name="connsiteY7" fmla="*/ 74629 h 7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108" h="74629">
                        <a:moveTo>
                          <a:pt x="5121" y="74629"/>
                        </a:moveTo>
                        <a:cubicBezTo>
                          <a:pt x="4640" y="74629"/>
                          <a:pt x="4160" y="74573"/>
                          <a:pt x="3680" y="74431"/>
                        </a:cubicBezTo>
                        <a:cubicBezTo>
                          <a:pt x="969" y="73641"/>
                          <a:pt x="-585" y="70788"/>
                          <a:pt x="206" y="68077"/>
                        </a:cubicBezTo>
                        <a:lnTo>
                          <a:pt x="19073" y="3680"/>
                        </a:lnTo>
                        <a:cubicBezTo>
                          <a:pt x="19864" y="969"/>
                          <a:pt x="22717" y="-585"/>
                          <a:pt x="25428" y="206"/>
                        </a:cubicBezTo>
                        <a:cubicBezTo>
                          <a:pt x="28140" y="997"/>
                          <a:pt x="29693" y="3850"/>
                          <a:pt x="28902" y="6561"/>
                        </a:cubicBezTo>
                        <a:lnTo>
                          <a:pt x="10035" y="70957"/>
                        </a:lnTo>
                        <a:cubicBezTo>
                          <a:pt x="9385" y="73189"/>
                          <a:pt x="7352" y="74629"/>
                          <a:pt x="5121" y="74629"/>
                        </a:cubicBezTo>
                        <a:close/>
                      </a:path>
                    </a:pathLst>
                  </a:custGeom>
                  <a:grpFill/>
                  <a:ln w="2817" cap="flat">
                    <a:noFill/>
                    <a:prstDash val="solid"/>
                    <a:miter/>
                  </a:ln>
                </p:spPr>
                <p:txBody>
                  <a:bodyPr rtlCol="0" anchor="ctr"/>
                  <a:lstStyle/>
                  <a:p>
                    <a:endParaRPr lang="en-GB" dirty="0"/>
                  </a:p>
                </p:txBody>
              </p:sp>
              <p:sp>
                <p:nvSpPr>
                  <p:cNvPr id="744" name="Freihandform: Form 180">
                    <a:extLst>
                      <a:ext uri="{FF2B5EF4-FFF2-40B4-BE49-F238E27FC236}">
                        <a16:creationId xmlns:a16="http://schemas.microsoft.com/office/drawing/2014/main" id="{82050801-4AC4-440C-9862-96F347914371}"/>
                      </a:ext>
                    </a:extLst>
                  </p:cNvPr>
                  <p:cNvSpPr/>
                  <p:nvPr/>
                </p:nvSpPr>
                <p:spPr>
                  <a:xfrm>
                    <a:off x="1161454" y="2416989"/>
                    <a:ext cx="30717" cy="77114"/>
                  </a:xfrm>
                  <a:custGeom>
                    <a:avLst/>
                    <a:gdLst>
                      <a:gd name="connsiteX0" fmla="*/ 5120 w 30717"/>
                      <a:gd name="connsiteY0" fmla="*/ 77114 h 77114"/>
                      <a:gd name="connsiteX1" fmla="*/ 3624 w 30717"/>
                      <a:gd name="connsiteY1" fmla="*/ 76889 h 77114"/>
                      <a:gd name="connsiteX2" fmla="*/ 234 w 30717"/>
                      <a:gd name="connsiteY2" fmla="*/ 70505 h 77114"/>
                      <a:gd name="connsiteX3" fmla="*/ 20683 w 30717"/>
                      <a:gd name="connsiteY3" fmla="*/ 3624 h 77114"/>
                      <a:gd name="connsiteX4" fmla="*/ 27094 w 30717"/>
                      <a:gd name="connsiteY4" fmla="*/ 234 h 77114"/>
                      <a:gd name="connsiteX5" fmla="*/ 30484 w 30717"/>
                      <a:gd name="connsiteY5" fmla="*/ 6617 h 77114"/>
                      <a:gd name="connsiteX6" fmla="*/ 10035 w 30717"/>
                      <a:gd name="connsiteY6" fmla="*/ 73499 h 77114"/>
                      <a:gd name="connsiteX7" fmla="*/ 5120 w 30717"/>
                      <a:gd name="connsiteY7" fmla="*/ 77114 h 7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17" h="77114">
                        <a:moveTo>
                          <a:pt x="5120" y="77114"/>
                        </a:moveTo>
                        <a:cubicBezTo>
                          <a:pt x="4612" y="77114"/>
                          <a:pt x="4132" y="77058"/>
                          <a:pt x="3624" y="76889"/>
                        </a:cubicBezTo>
                        <a:cubicBezTo>
                          <a:pt x="912" y="76069"/>
                          <a:pt x="-613" y="73189"/>
                          <a:pt x="234" y="70505"/>
                        </a:cubicBezTo>
                        <a:lnTo>
                          <a:pt x="20683" y="3624"/>
                        </a:lnTo>
                        <a:cubicBezTo>
                          <a:pt x="21502" y="912"/>
                          <a:pt x="24383" y="-613"/>
                          <a:pt x="27094" y="234"/>
                        </a:cubicBezTo>
                        <a:cubicBezTo>
                          <a:pt x="29806" y="1053"/>
                          <a:pt x="31331" y="3934"/>
                          <a:pt x="30484" y="6617"/>
                        </a:cubicBezTo>
                        <a:lnTo>
                          <a:pt x="10035" y="73499"/>
                        </a:lnTo>
                        <a:cubicBezTo>
                          <a:pt x="9357" y="75702"/>
                          <a:pt x="7323" y="77114"/>
                          <a:pt x="5120" y="77114"/>
                        </a:cubicBezTo>
                        <a:close/>
                      </a:path>
                    </a:pathLst>
                  </a:custGeom>
                  <a:grpFill/>
                  <a:ln w="2817" cap="flat">
                    <a:noFill/>
                    <a:prstDash val="solid"/>
                    <a:miter/>
                  </a:ln>
                </p:spPr>
                <p:txBody>
                  <a:bodyPr rtlCol="0" anchor="ctr"/>
                  <a:lstStyle/>
                  <a:p>
                    <a:endParaRPr lang="en-GB" dirty="0"/>
                  </a:p>
                </p:txBody>
              </p:sp>
              <p:sp>
                <p:nvSpPr>
                  <p:cNvPr id="745" name="Freihandform: Form 181">
                    <a:extLst>
                      <a:ext uri="{FF2B5EF4-FFF2-40B4-BE49-F238E27FC236}">
                        <a16:creationId xmlns:a16="http://schemas.microsoft.com/office/drawing/2014/main" id="{08A1B24C-D2DE-4599-94F0-9226B9A40A72}"/>
                      </a:ext>
                    </a:extLst>
                  </p:cNvPr>
                  <p:cNvSpPr/>
                  <p:nvPr/>
                </p:nvSpPr>
                <p:spPr>
                  <a:xfrm>
                    <a:off x="1208041" y="2407663"/>
                    <a:ext cx="29618" cy="74295"/>
                  </a:xfrm>
                  <a:custGeom>
                    <a:avLst/>
                    <a:gdLst>
                      <a:gd name="connsiteX0" fmla="*/ 5136 w 29618"/>
                      <a:gd name="connsiteY0" fmla="*/ 74295 h 74295"/>
                      <a:gd name="connsiteX1" fmla="*/ 3639 w 29618"/>
                      <a:gd name="connsiteY1" fmla="*/ 74069 h 74295"/>
                      <a:gd name="connsiteX2" fmla="*/ 221 w 29618"/>
                      <a:gd name="connsiteY2" fmla="*/ 67686 h 74295"/>
                      <a:gd name="connsiteX3" fmla="*/ 19597 w 29618"/>
                      <a:gd name="connsiteY3" fmla="*/ 3628 h 74295"/>
                      <a:gd name="connsiteX4" fmla="*/ 25980 w 29618"/>
                      <a:gd name="connsiteY4" fmla="*/ 211 h 74295"/>
                      <a:gd name="connsiteX5" fmla="*/ 29397 w 29618"/>
                      <a:gd name="connsiteY5" fmla="*/ 6594 h 74295"/>
                      <a:gd name="connsiteX6" fmla="*/ 10022 w 29618"/>
                      <a:gd name="connsiteY6" fmla="*/ 70652 h 74295"/>
                      <a:gd name="connsiteX7" fmla="*/ 5136 w 29618"/>
                      <a:gd name="connsiteY7" fmla="*/ 74295 h 74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8" h="74295">
                        <a:moveTo>
                          <a:pt x="5136" y="74295"/>
                        </a:moveTo>
                        <a:cubicBezTo>
                          <a:pt x="4656" y="74295"/>
                          <a:pt x="4147" y="74239"/>
                          <a:pt x="3639" y="74069"/>
                        </a:cubicBezTo>
                        <a:cubicBezTo>
                          <a:pt x="927" y="73250"/>
                          <a:pt x="-598" y="70397"/>
                          <a:pt x="221" y="67686"/>
                        </a:cubicBezTo>
                        <a:lnTo>
                          <a:pt x="19597" y="3628"/>
                        </a:lnTo>
                        <a:cubicBezTo>
                          <a:pt x="20416" y="917"/>
                          <a:pt x="23297" y="-580"/>
                          <a:pt x="25980" y="211"/>
                        </a:cubicBezTo>
                        <a:cubicBezTo>
                          <a:pt x="28691" y="1030"/>
                          <a:pt x="30216" y="3883"/>
                          <a:pt x="29397" y="6594"/>
                        </a:cubicBezTo>
                        <a:lnTo>
                          <a:pt x="10022" y="70652"/>
                        </a:lnTo>
                        <a:cubicBezTo>
                          <a:pt x="9372" y="72883"/>
                          <a:pt x="7339" y="74295"/>
                          <a:pt x="5136" y="74295"/>
                        </a:cubicBezTo>
                        <a:close/>
                      </a:path>
                    </a:pathLst>
                  </a:custGeom>
                  <a:grpFill/>
                  <a:ln w="2817" cap="flat">
                    <a:noFill/>
                    <a:prstDash val="solid"/>
                    <a:miter/>
                  </a:ln>
                </p:spPr>
                <p:txBody>
                  <a:bodyPr rtlCol="0" anchor="ctr"/>
                  <a:lstStyle/>
                  <a:p>
                    <a:endParaRPr lang="en-GB" dirty="0"/>
                  </a:p>
                </p:txBody>
              </p:sp>
            </p:grpSp>
          </p:grpSp>
        </p:grpSp>
        <p:grpSp>
          <p:nvGrpSpPr>
            <p:cNvPr id="727" name="Group 726">
              <a:extLst>
                <a:ext uri="{FF2B5EF4-FFF2-40B4-BE49-F238E27FC236}">
                  <a16:creationId xmlns:a16="http://schemas.microsoft.com/office/drawing/2014/main" id="{44800207-39A3-4CF4-AD97-5F06B2DC40E0}"/>
                </a:ext>
              </a:extLst>
            </p:cNvPr>
            <p:cNvGrpSpPr/>
            <p:nvPr/>
          </p:nvGrpSpPr>
          <p:grpSpPr>
            <a:xfrm>
              <a:off x="8193141" y="3450808"/>
              <a:ext cx="311168" cy="153945"/>
              <a:chOff x="929833" y="2648457"/>
              <a:chExt cx="324439" cy="160510"/>
            </a:xfrm>
            <a:solidFill>
              <a:schemeClr val="accent1"/>
            </a:solidFill>
          </p:grpSpPr>
          <p:sp>
            <p:nvSpPr>
              <p:cNvPr id="728" name="Freihandform: Form 182">
                <a:extLst>
                  <a:ext uri="{FF2B5EF4-FFF2-40B4-BE49-F238E27FC236}">
                    <a16:creationId xmlns:a16="http://schemas.microsoft.com/office/drawing/2014/main" id="{F3078599-8967-4C1F-86DA-E73F41ABADD8}"/>
                  </a:ext>
                </a:extLst>
              </p:cNvPr>
              <p:cNvSpPr/>
              <p:nvPr/>
            </p:nvSpPr>
            <p:spPr>
              <a:xfrm>
                <a:off x="1025467" y="2648457"/>
                <a:ext cx="10224" cy="71711"/>
              </a:xfrm>
              <a:custGeom>
                <a:avLst/>
                <a:gdLst>
                  <a:gd name="connsiteX0" fmla="*/ 5112 w 10224"/>
                  <a:gd name="connsiteY0" fmla="*/ 71712 h 71711"/>
                  <a:gd name="connsiteX1" fmla="*/ 0 w 10224"/>
                  <a:gd name="connsiteY1" fmla="*/ 66599 h 71711"/>
                  <a:gd name="connsiteX2" fmla="*/ 0 w 10224"/>
                  <a:gd name="connsiteY2" fmla="*/ 5112 h 71711"/>
                  <a:gd name="connsiteX3" fmla="*/ 5112 w 10224"/>
                  <a:gd name="connsiteY3" fmla="*/ 0 h 71711"/>
                  <a:gd name="connsiteX4" fmla="*/ 10224 w 10224"/>
                  <a:gd name="connsiteY4" fmla="*/ 5112 h 71711"/>
                  <a:gd name="connsiteX5" fmla="*/ 10224 w 10224"/>
                  <a:gd name="connsiteY5" fmla="*/ 66599 h 71711"/>
                  <a:gd name="connsiteX6" fmla="*/ 5112 w 10224"/>
                  <a:gd name="connsiteY6" fmla="*/ 71712 h 7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24" h="71711">
                    <a:moveTo>
                      <a:pt x="5112" y="71712"/>
                    </a:moveTo>
                    <a:cubicBezTo>
                      <a:pt x="2288" y="71712"/>
                      <a:pt x="0" y="69424"/>
                      <a:pt x="0" y="66599"/>
                    </a:cubicBezTo>
                    <a:lnTo>
                      <a:pt x="0" y="5112"/>
                    </a:lnTo>
                    <a:cubicBezTo>
                      <a:pt x="0" y="2288"/>
                      <a:pt x="2288" y="0"/>
                      <a:pt x="5112" y="0"/>
                    </a:cubicBezTo>
                    <a:cubicBezTo>
                      <a:pt x="7937" y="0"/>
                      <a:pt x="10224" y="2288"/>
                      <a:pt x="10224" y="5112"/>
                    </a:cubicBezTo>
                    <a:lnTo>
                      <a:pt x="10224" y="66599"/>
                    </a:lnTo>
                    <a:cubicBezTo>
                      <a:pt x="10253" y="69424"/>
                      <a:pt x="7937" y="71712"/>
                      <a:pt x="5112" y="71712"/>
                    </a:cubicBezTo>
                    <a:close/>
                  </a:path>
                </a:pathLst>
              </a:custGeom>
              <a:solidFill>
                <a:schemeClr val="accent1"/>
              </a:solidFill>
              <a:ln w="2817" cap="flat">
                <a:noFill/>
                <a:prstDash val="solid"/>
                <a:miter/>
              </a:ln>
            </p:spPr>
            <p:txBody>
              <a:bodyPr rtlCol="0" anchor="ctr"/>
              <a:lstStyle/>
              <a:p>
                <a:endParaRPr lang="en-GB" dirty="0"/>
              </a:p>
            </p:txBody>
          </p:sp>
          <p:grpSp>
            <p:nvGrpSpPr>
              <p:cNvPr id="729" name="Grafik 119">
                <a:extLst>
                  <a:ext uri="{FF2B5EF4-FFF2-40B4-BE49-F238E27FC236}">
                    <a16:creationId xmlns:a16="http://schemas.microsoft.com/office/drawing/2014/main" id="{BD017ECE-80CA-40BE-8F00-C91D291E36D8}"/>
                  </a:ext>
                </a:extLst>
              </p:cNvPr>
              <p:cNvGrpSpPr/>
              <p:nvPr/>
            </p:nvGrpSpPr>
            <p:grpSpPr>
              <a:xfrm>
                <a:off x="929833" y="2648457"/>
                <a:ext cx="324439" cy="160510"/>
                <a:chOff x="929833" y="2648457"/>
                <a:chExt cx="324439" cy="160510"/>
              </a:xfrm>
              <a:solidFill>
                <a:schemeClr val="accent1"/>
              </a:solidFill>
            </p:grpSpPr>
            <p:sp>
              <p:nvSpPr>
                <p:cNvPr id="730" name="Freihandform: Form 184">
                  <a:extLst>
                    <a:ext uri="{FF2B5EF4-FFF2-40B4-BE49-F238E27FC236}">
                      <a16:creationId xmlns:a16="http://schemas.microsoft.com/office/drawing/2014/main" id="{8F4654A1-12BF-42D3-B6E8-C34D5B3063D2}"/>
                    </a:ext>
                  </a:extLst>
                </p:cNvPr>
                <p:cNvSpPr/>
                <p:nvPr/>
              </p:nvSpPr>
              <p:spPr>
                <a:xfrm>
                  <a:off x="929833" y="2709944"/>
                  <a:ext cx="324439" cy="10224"/>
                </a:xfrm>
                <a:custGeom>
                  <a:avLst/>
                  <a:gdLst>
                    <a:gd name="connsiteX0" fmla="*/ 319327 w 324439"/>
                    <a:gd name="connsiteY0" fmla="*/ 10224 h 10224"/>
                    <a:gd name="connsiteX1" fmla="*/ 5112 w 324439"/>
                    <a:gd name="connsiteY1" fmla="*/ 10224 h 10224"/>
                    <a:gd name="connsiteX2" fmla="*/ 0 w 324439"/>
                    <a:gd name="connsiteY2" fmla="*/ 5112 h 10224"/>
                    <a:gd name="connsiteX3" fmla="*/ 5112 w 324439"/>
                    <a:gd name="connsiteY3" fmla="*/ 0 h 10224"/>
                    <a:gd name="connsiteX4" fmla="*/ 319327 w 324439"/>
                    <a:gd name="connsiteY4" fmla="*/ 0 h 10224"/>
                    <a:gd name="connsiteX5" fmla="*/ 324439 w 324439"/>
                    <a:gd name="connsiteY5" fmla="*/ 5112 h 10224"/>
                    <a:gd name="connsiteX6" fmla="*/ 319327 w 324439"/>
                    <a:gd name="connsiteY6" fmla="*/ 10224 h 10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439" h="10224">
                      <a:moveTo>
                        <a:pt x="319327" y="10224"/>
                      </a:moveTo>
                      <a:lnTo>
                        <a:pt x="5112" y="10224"/>
                      </a:lnTo>
                      <a:cubicBezTo>
                        <a:pt x="2288" y="10224"/>
                        <a:pt x="0" y="7937"/>
                        <a:pt x="0" y="5112"/>
                      </a:cubicBezTo>
                      <a:cubicBezTo>
                        <a:pt x="0" y="2288"/>
                        <a:pt x="2288" y="0"/>
                        <a:pt x="5112" y="0"/>
                      </a:cubicBezTo>
                      <a:lnTo>
                        <a:pt x="319327" y="0"/>
                      </a:lnTo>
                      <a:cubicBezTo>
                        <a:pt x="322151" y="0"/>
                        <a:pt x="324439" y="2288"/>
                        <a:pt x="324439" y="5112"/>
                      </a:cubicBezTo>
                      <a:cubicBezTo>
                        <a:pt x="324439" y="7937"/>
                        <a:pt x="322151" y="10224"/>
                        <a:pt x="319327" y="10224"/>
                      </a:cubicBezTo>
                      <a:close/>
                    </a:path>
                  </a:pathLst>
                </a:custGeom>
                <a:solidFill>
                  <a:schemeClr val="accent1"/>
                </a:solidFill>
                <a:ln w="2817" cap="flat">
                  <a:noFill/>
                  <a:prstDash val="solid"/>
                  <a:miter/>
                </a:ln>
              </p:spPr>
              <p:txBody>
                <a:bodyPr rtlCol="0" anchor="ctr"/>
                <a:lstStyle/>
                <a:p>
                  <a:endParaRPr lang="en-GB" dirty="0"/>
                </a:p>
              </p:txBody>
            </p:sp>
            <p:sp>
              <p:nvSpPr>
                <p:cNvPr id="731" name="Freihandform: Form 185">
                  <a:extLst>
                    <a:ext uri="{FF2B5EF4-FFF2-40B4-BE49-F238E27FC236}">
                      <a16:creationId xmlns:a16="http://schemas.microsoft.com/office/drawing/2014/main" id="{53B6CEAA-8523-45B1-896F-914AF3E07B3A}"/>
                    </a:ext>
                  </a:extLst>
                </p:cNvPr>
                <p:cNvSpPr/>
                <p:nvPr/>
              </p:nvSpPr>
              <p:spPr>
                <a:xfrm>
                  <a:off x="929833" y="2757761"/>
                  <a:ext cx="324439" cy="10224"/>
                </a:xfrm>
                <a:custGeom>
                  <a:avLst/>
                  <a:gdLst>
                    <a:gd name="connsiteX0" fmla="*/ 319327 w 324439"/>
                    <a:gd name="connsiteY0" fmla="*/ 10224 h 10224"/>
                    <a:gd name="connsiteX1" fmla="*/ 5112 w 324439"/>
                    <a:gd name="connsiteY1" fmla="*/ 10224 h 10224"/>
                    <a:gd name="connsiteX2" fmla="*/ 0 w 324439"/>
                    <a:gd name="connsiteY2" fmla="*/ 5112 h 10224"/>
                    <a:gd name="connsiteX3" fmla="*/ 5112 w 324439"/>
                    <a:gd name="connsiteY3" fmla="*/ 0 h 10224"/>
                    <a:gd name="connsiteX4" fmla="*/ 319327 w 324439"/>
                    <a:gd name="connsiteY4" fmla="*/ 0 h 10224"/>
                    <a:gd name="connsiteX5" fmla="*/ 324439 w 324439"/>
                    <a:gd name="connsiteY5" fmla="*/ 5112 h 10224"/>
                    <a:gd name="connsiteX6" fmla="*/ 319327 w 324439"/>
                    <a:gd name="connsiteY6" fmla="*/ 10224 h 10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439" h="10224">
                      <a:moveTo>
                        <a:pt x="319327" y="10224"/>
                      </a:moveTo>
                      <a:lnTo>
                        <a:pt x="5112" y="10224"/>
                      </a:lnTo>
                      <a:cubicBezTo>
                        <a:pt x="2288" y="10224"/>
                        <a:pt x="0" y="7937"/>
                        <a:pt x="0" y="5112"/>
                      </a:cubicBezTo>
                      <a:cubicBezTo>
                        <a:pt x="0" y="2288"/>
                        <a:pt x="2288" y="0"/>
                        <a:pt x="5112" y="0"/>
                      </a:cubicBezTo>
                      <a:lnTo>
                        <a:pt x="319327" y="0"/>
                      </a:lnTo>
                      <a:cubicBezTo>
                        <a:pt x="322151" y="0"/>
                        <a:pt x="324439" y="2288"/>
                        <a:pt x="324439" y="5112"/>
                      </a:cubicBezTo>
                      <a:cubicBezTo>
                        <a:pt x="324439" y="7937"/>
                        <a:pt x="322151" y="10224"/>
                        <a:pt x="319327" y="10224"/>
                      </a:cubicBezTo>
                      <a:close/>
                    </a:path>
                  </a:pathLst>
                </a:custGeom>
                <a:solidFill>
                  <a:schemeClr val="accent1"/>
                </a:solidFill>
                <a:ln w="2817" cap="flat">
                  <a:noFill/>
                  <a:prstDash val="solid"/>
                  <a:miter/>
                </a:ln>
              </p:spPr>
              <p:txBody>
                <a:bodyPr rtlCol="0" anchor="ctr"/>
                <a:lstStyle/>
                <a:p>
                  <a:endParaRPr lang="en-GB" dirty="0"/>
                </a:p>
              </p:txBody>
            </p:sp>
            <p:sp>
              <p:nvSpPr>
                <p:cNvPr id="732" name="Freihandform: Form 186">
                  <a:extLst>
                    <a:ext uri="{FF2B5EF4-FFF2-40B4-BE49-F238E27FC236}">
                      <a16:creationId xmlns:a16="http://schemas.microsoft.com/office/drawing/2014/main" id="{9E675D06-56AC-47B2-B23D-97B77E587DA7}"/>
                    </a:ext>
                  </a:extLst>
                </p:cNvPr>
                <p:cNvSpPr/>
                <p:nvPr/>
              </p:nvSpPr>
              <p:spPr>
                <a:xfrm>
                  <a:off x="929833" y="2798743"/>
                  <a:ext cx="324439" cy="10224"/>
                </a:xfrm>
                <a:custGeom>
                  <a:avLst/>
                  <a:gdLst>
                    <a:gd name="connsiteX0" fmla="*/ 319327 w 324439"/>
                    <a:gd name="connsiteY0" fmla="*/ 10224 h 10224"/>
                    <a:gd name="connsiteX1" fmla="*/ 5112 w 324439"/>
                    <a:gd name="connsiteY1" fmla="*/ 10224 h 10224"/>
                    <a:gd name="connsiteX2" fmla="*/ 0 w 324439"/>
                    <a:gd name="connsiteY2" fmla="*/ 5112 h 10224"/>
                    <a:gd name="connsiteX3" fmla="*/ 5112 w 324439"/>
                    <a:gd name="connsiteY3" fmla="*/ 0 h 10224"/>
                    <a:gd name="connsiteX4" fmla="*/ 319327 w 324439"/>
                    <a:gd name="connsiteY4" fmla="*/ 0 h 10224"/>
                    <a:gd name="connsiteX5" fmla="*/ 324439 w 324439"/>
                    <a:gd name="connsiteY5" fmla="*/ 5112 h 10224"/>
                    <a:gd name="connsiteX6" fmla="*/ 319327 w 324439"/>
                    <a:gd name="connsiteY6" fmla="*/ 10224 h 10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439" h="10224">
                      <a:moveTo>
                        <a:pt x="319327" y="10224"/>
                      </a:moveTo>
                      <a:lnTo>
                        <a:pt x="5112" y="10224"/>
                      </a:lnTo>
                      <a:cubicBezTo>
                        <a:pt x="2288" y="10224"/>
                        <a:pt x="0" y="7937"/>
                        <a:pt x="0" y="5112"/>
                      </a:cubicBezTo>
                      <a:cubicBezTo>
                        <a:pt x="0" y="2288"/>
                        <a:pt x="2288" y="0"/>
                        <a:pt x="5112" y="0"/>
                      </a:cubicBezTo>
                      <a:lnTo>
                        <a:pt x="319327" y="0"/>
                      </a:lnTo>
                      <a:cubicBezTo>
                        <a:pt x="322151" y="0"/>
                        <a:pt x="324439" y="2288"/>
                        <a:pt x="324439" y="5112"/>
                      </a:cubicBezTo>
                      <a:cubicBezTo>
                        <a:pt x="324439" y="7937"/>
                        <a:pt x="322151" y="10224"/>
                        <a:pt x="319327" y="10224"/>
                      </a:cubicBezTo>
                      <a:close/>
                    </a:path>
                  </a:pathLst>
                </a:custGeom>
                <a:solidFill>
                  <a:schemeClr val="accent1"/>
                </a:solidFill>
                <a:ln w="2817" cap="flat">
                  <a:noFill/>
                  <a:prstDash val="solid"/>
                  <a:miter/>
                </a:ln>
              </p:spPr>
              <p:txBody>
                <a:bodyPr rtlCol="0" anchor="ctr"/>
                <a:lstStyle/>
                <a:p>
                  <a:endParaRPr lang="en-GB" dirty="0"/>
                </a:p>
              </p:txBody>
            </p:sp>
            <p:sp>
              <p:nvSpPr>
                <p:cNvPr id="733" name="Freihandform: Form 187">
                  <a:extLst>
                    <a:ext uri="{FF2B5EF4-FFF2-40B4-BE49-F238E27FC236}">
                      <a16:creationId xmlns:a16="http://schemas.microsoft.com/office/drawing/2014/main" id="{99A5FA65-D06B-44C8-B00A-AFFE179BD092}"/>
                    </a:ext>
                  </a:extLst>
                </p:cNvPr>
                <p:cNvSpPr/>
                <p:nvPr/>
              </p:nvSpPr>
              <p:spPr>
                <a:xfrm>
                  <a:off x="929833" y="2648457"/>
                  <a:ext cx="324439" cy="10224"/>
                </a:xfrm>
                <a:custGeom>
                  <a:avLst/>
                  <a:gdLst>
                    <a:gd name="connsiteX0" fmla="*/ 319327 w 324439"/>
                    <a:gd name="connsiteY0" fmla="*/ 10224 h 10224"/>
                    <a:gd name="connsiteX1" fmla="*/ 5112 w 324439"/>
                    <a:gd name="connsiteY1" fmla="*/ 10224 h 10224"/>
                    <a:gd name="connsiteX2" fmla="*/ 0 w 324439"/>
                    <a:gd name="connsiteY2" fmla="*/ 5112 h 10224"/>
                    <a:gd name="connsiteX3" fmla="*/ 5112 w 324439"/>
                    <a:gd name="connsiteY3" fmla="*/ 0 h 10224"/>
                    <a:gd name="connsiteX4" fmla="*/ 319327 w 324439"/>
                    <a:gd name="connsiteY4" fmla="*/ 0 h 10224"/>
                    <a:gd name="connsiteX5" fmla="*/ 324439 w 324439"/>
                    <a:gd name="connsiteY5" fmla="*/ 5112 h 10224"/>
                    <a:gd name="connsiteX6" fmla="*/ 319327 w 324439"/>
                    <a:gd name="connsiteY6" fmla="*/ 10224 h 10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439" h="10224">
                      <a:moveTo>
                        <a:pt x="319327" y="10224"/>
                      </a:moveTo>
                      <a:lnTo>
                        <a:pt x="5112" y="10224"/>
                      </a:lnTo>
                      <a:cubicBezTo>
                        <a:pt x="2288" y="10224"/>
                        <a:pt x="0" y="7937"/>
                        <a:pt x="0" y="5112"/>
                      </a:cubicBezTo>
                      <a:cubicBezTo>
                        <a:pt x="0" y="2288"/>
                        <a:pt x="2288" y="0"/>
                        <a:pt x="5112" y="0"/>
                      </a:cubicBezTo>
                      <a:lnTo>
                        <a:pt x="319327" y="0"/>
                      </a:lnTo>
                      <a:cubicBezTo>
                        <a:pt x="322151" y="0"/>
                        <a:pt x="324439" y="2288"/>
                        <a:pt x="324439" y="5112"/>
                      </a:cubicBezTo>
                      <a:cubicBezTo>
                        <a:pt x="324467" y="7937"/>
                        <a:pt x="322151" y="10224"/>
                        <a:pt x="319327" y="10224"/>
                      </a:cubicBezTo>
                      <a:close/>
                    </a:path>
                  </a:pathLst>
                </a:custGeom>
                <a:solidFill>
                  <a:schemeClr val="accent1"/>
                </a:solidFill>
                <a:ln w="2817" cap="flat">
                  <a:noFill/>
                  <a:prstDash val="solid"/>
                  <a:miter/>
                </a:ln>
              </p:spPr>
              <p:txBody>
                <a:bodyPr rtlCol="0" anchor="ctr"/>
                <a:lstStyle/>
                <a:p>
                  <a:endParaRPr lang="en-GB" dirty="0"/>
                </a:p>
              </p:txBody>
            </p:sp>
            <p:sp>
              <p:nvSpPr>
                <p:cNvPr id="734" name="Freihandform: Form 188">
                  <a:extLst>
                    <a:ext uri="{FF2B5EF4-FFF2-40B4-BE49-F238E27FC236}">
                      <a16:creationId xmlns:a16="http://schemas.microsoft.com/office/drawing/2014/main" id="{F55ECD18-6A99-468B-A785-514BB5AB4710}"/>
                    </a:ext>
                  </a:extLst>
                </p:cNvPr>
                <p:cNvSpPr/>
                <p:nvPr/>
              </p:nvSpPr>
              <p:spPr>
                <a:xfrm>
                  <a:off x="1148413" y="2648457"/>
                  <a:ext cx="10224" cy="71711"/>
                </a:xfrm>
                <a:custGeom>
                  <a:avLst/>
                  <a:gdLst>
                    <a:gd name="connsiteX0" fmla="*/ 5112 w 10224"/>
                    <a:gd name="connsiteY0" fmla="*/ 71712 h 71711"/>
                    <a:gd name="connsiteX1" fmla="*/ 0 w 10224"/>
                    <a:gd name="connsiteY1" fmla="*/ 66599 h 71711"/>
                    <a:gd name="connsiteX2" fmla="*/ 0 w 10224"/>
                    <a:gd name="connsiteY2" fmla="*/ 5112 h 71711"/>
                    <a:gd name="connsiteX3" fmla="*/ 5112 w 10224"/>
                    <a:gd name="connsiteY3" fmla="*/ 0 h 71711"/>
                    <a:gd name="connsiteX4" fmla="*/ 10224 w 10224"/>
                    <a:gd name="connsiteY4" fmla="*/ 5112 h 71711"/>
                    <a:gd name="connsiteX5" fmla="*/ 10224 w 10224"/>
                    <a:gd name="connsiteY5" fmla="*/ 66599 h 71711"/>
                    <a:gd name="connsiteX6" fmla="*/ 5112 w 10224"/>
                    <a:gd name="connsiteY6" fmla="*/ 71712 h 7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24" h="71711">
                      <a:moveTo>
                        <a:pt x="5112" y="71712"/>
                      </a:moveTo>
                      <a:cubicBezTo>
                        <a:pt x="2288" y="71712"/>
                        <a:pt x="0" y="69424"/>
                        <a:pt x="0" y="66599"/>
                      </a:cubicBezTo>
                      <a:lnTo>
                        <a:pt x="0" y="5112"/>
                      </a:lnTo>
                      <a:cubicBezTo>
                        <a:pt x="0" y="2288"/>
                        <a:pt x="2288" y="0"/>
                        <a:pt x="5112" y="0"/>
                      </a:cubicBezTo>
                      <a:cubicBezTo>
                        <a:pt x="7937" y="0"/>
                        <a:pt x="10224" y="2288"/>
                        <a:pt x="10224" y="5112"/>
                      </a:cubicBezTo>
                      <a:lnTo>
                        <a:pt x="10224" y="66599"/>
                      </a:lnTo>
                      <a:cubicBezTo>
                        <a:pt x="10253" y="69424"/>
                        <a:pt x="7965" y="71712"/>
                        <a:pt x="5112" y="71712"/>
                      </a:cubicBezTo>
                      <a:close/>
                    </a:path>
                  </a:pathLst>
                </a:custGeom>
                <a:solidFill>
                  <a:schemeClr val="accent1"/>
                </a:solidFill>
                <a:ln w="2817" cap="flat">
                  <a:noFill/>
                  <a:prstDash val="solid"/>
                  <a:miter/>
                </a:ln>
              </p:spPr>
              <p:txBody>
                <a:bodyPr rtlCol="0" anchor="ctr"/>
                <a:lstStyle/>
                <a:p>
                  <a:endParaRPr lang="en-GB" dirty="0"/>
                </a:p>
              </p:txBody>
            </p:sp>
          </p:grpSp>
        </p:grpSp>
      </p:grpSp>
    </p:spTree>
    <p:extLst>
      <p:ext uri="{BB962C8B-B14F-4D97-AF65-F5344CB8AC3E}">
        <p14:creationId xmlns:p14="http://schemas.microsoft.com/office/powerpoint/2010/main" val="66286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a:extLst>
              <a:ext uri="{FF2B5EF4-FFF2-40B4-BE49-F238E27FC236}">
                <a16:creationId xmlns:a16="http://schemas.microsoft.com/office/drawing/2014/main" id="{3F9016D6-9CD2-4380-B7AE-B59A30218F30}"/>
              </a:ext>
            </a:extLst>
          </p:cNvPr>
          <p:cNvGraphicFramePr>
            <a:graphicFrameLocks noChangeAspect="1"/>
          </p:cNvGraphicFramePr>
          <p:nvPr>
            <p:custDataLst>
              <p:tags r:id="rId1"/>
            </p:custDataLst>
            <p:extLst>
              <p:ext uri="{D42A27DB-BD31-4B8C-83A1-F6EECF244321}">
                <p14:modId xmlns:p14="http://schemas.microsoft.com/office/powerpoint/2010/main" val="1517938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21" name="Objekt 20" hidden="1">
                        <a:extLst>
                          <a:ext uri="{FF2B5EF4-FFF2-40B4-BE49-F238E27FC236}">
                            <a16:creationId xmlns:a16="http://schemas.microsoft.com/office/drawing/2014/main" id="{3F9016D6-9CD2-4380-B7AE-B59A30218F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A77AFE9-5475-4FEF-BB3A-5EA6DD79304C}"/>
              </a:ext>
            </a:extLst>
          </p:cNvPr>
          <p:cNvSpPr>
            <a:spLocks noGrp="1"/>
          </p:cNvSpPr>
          <p:nvPr>
            <p:ph type="sldNum" sz="quarter" idx="11"/>
          </p:nvPr>
        </p:nvSpPr>
        <p:spPr/>
        <p:txBody>
          <a:bodyPr/>
          <a:lstStyle/>
          <a:p>
            <a:fld id="{D56DB8AA-803C-49D2-90AA-1140CE72DCD7}" type="slidenum">
              <a:rPr lang="en-GB" smtClean="0"/>
              <a:pPr/>
              <a:t>26</a:t>
            </a:fld>
            <a:endParaRPr lang="en-GB" dirty="0"/>
          </a:p>
        </p:txBody>
      </p:sp>
      <p:sp>
        <p:nvSpPr>
          <p:cNvPr id="695" name="Title 2">
            <a:extLst>
              <a:ext uri="{FF2B5EF4-FFF2-40B4-BE49-F238E27FC236}">
                <a16:creationId xmlns:a16="http://schemas.microsoft.com/office/drawing/2014/main" id="{0C2F9289-98EA-63C3-6F17-8B041595AB27}"/>
              </a:ext>
            </a:extLst>
          </p:cNvPr>
          <p:cNvSpPr>
            <a:spLocks noGrp="1"/>
          </p:cNvSpPr>
          <p:nvPr>
            <p:ph type="title"/>
          </p:nvPr>
        </p:nvSpPr>
        <p:spPr>
          <a:xfrm>
            <a:off x="252000" y="252000"/>
            <a:ext cx="6748875" cy="576000"/>
          </a:xfrm>
        </p:spPr>
        <p:txBody>
          <a:bodyPr vert="horz"/>
          <a:lstStyle/>
          <a:p>
            <a:r>
              <a:rPr lang="en-US" dirty="0"/>
              <a:t>Marketing/Brand 2/4</a:t>
            </a:r>
            <a:br>
              <a:rPr lang="en-US" dirty="0"/>
            </a:br>
            <a:endParaRPr lang="en-US" dirty="0"/>
          </a:p>
        </p:txBody>
      </p:sp>
      <p:grpSp>
        <p:nvGrpSpPr>
          <p:cNvPr id="7" name="Group 6">
            <a:extLst>
              <a:ext uri="{FF2B5EF4-FFF2-40B4-BE49-F238E27FC236}">
                <a16:creationId xmlns:a16="http://schemas.microsoft.com/office/drawing/2014/main" id="{3EE16020-943A-0EBC-59F1-F996F77271A9}"/>
              </a:ext>
            </a:extLst>
          </p:cNvPr>
          <p:cNvGrpSpPr/>
          <p:nvPr/>
        </p:nvGrpSpPr>
        <p:grpSpPr>
          <a:xfrm>
            <a:off x="540337" y="1626716"/>
            <a:ext cx="507427" cy="432000"/>
            <a:chOff x="540337" y="1626716"/>
            <a:chExt cx="507427" cy="432000"/>
          </a:xfrm>
        </p:grpSpPr>
        <p:grpSp>
          <p:nvGrpSpPr>
            <p:cNvPr id="398" name="Grafik 348">
              <a:extLst>
                <a:ext uri="{FF2B5EF4-FFF2-40B4-BE49-F238E27FC236}">
                  <a16:creationId xmlns:a16="http://schemas.microsoft.com/office/drawing/2014/main" id="{F13670ED-0095-4062-9C92-76B789C5EFC1}"/>
                </a:ext>
              </a:extLst>
            </p:cNvPr>
            <p:cNvGrpSpPr/>
            <p:nvPr/>
          </p:nvGrpSpPr>
          <p:grpSpPr>
            <a:xfrm>
              <a:off x="663764" y="1626716"/>
              <a:ext cx="260571" cy="337456"/>
              <a:chOff x="964855" y="1646757"/>
              <a:chExt cx="253342" cy="328094"/>
            </a:xfrm>
            <a:solidFill>
              <a:schemeClr val="accent1"/>
            </a:solidFill>
          </p:grpSpPr>
          <p:sp>
            <p:nvSpPr>
              <p:cNvPr id="406" name="Freihandform: Form 405">
                <a:extLst>
                  <a:ext uri="{FF2B5EF4-FFF2-40B4-BE49-F238E27FC236}">
                    <a16:creationId xmlns:a16="http://schemas.microsoft.com/office/drawing/2014/main" id="{59FFF688-41BE-42B2-B0E2-DC6658E92C80}"/>
                  </a:ext>
                </a:extLst>
              </p:cNvPr>
              <p:cNvSpPr/>
              <p:nvPr/>
            </p:nvSpPr>
            <p:spPr>
              <a:xfrm>
                <a:off x="964855" y="1646757"/>
                <a:ext cx="253340" cy="66670"/>
              </a:xfrm>
              <a:custGeom>
                <a:avLst/>
                <a:gdLst>
                  <a:gd name="connsiteX0" fmla="*/ 126670 w 253340"/>
                  <a:gd name="connsiteY0" fmla="*/ 66670 h 66670"/>
                  <a:gd name="connsiteX1" fmla="*/ 0 w 253340"/>
                  <a:gd name="connsiteY1" fmla="*/ 33335 h 66670"/>
                  <a:gd name="connsiteX2" fmla="*/ 126670 w 253340"/>
                  <a:gd name="connsiteY2" fmla="*/ 0 h 66670"/>
                  <a:gd name="connsiteX3" fmla="*/ 253340 w 253340"/>
                  <a:gd name="connsiteY3" fmla="*/ 33335 h 66670"/>
                  <a:gd name="connsiteX4" fmla="*/ 126670 w 253340"/>
                  <a:gd name="connsiteY4" fmla="*/ 66670 h 66670"/>
                  <a:gd name="connsiteX5" fmla="*/ 126670 w 253340"/>
                  <a:gd name="connsiteY5" fmla="*/ 13335 h 66670"/>
                  <a:gd name="connsiteX6" fmla="*/ 13321 w 253340"/>
                  <a:gd name="connsiteY6" fmla="*/ 33452 h 66670"/>
                  <a:gd name="connsiteX7" fmla="*/ 126670 w 253340"/>
                  <a:gd name="connsiteY7" fmla="*/ 53335 h 66670"/>
                  <a:gd name="connsiteX8" fmla="*/ 239984 w 253340"/>
                  <a:gd name="connsiteY8" fmla="*/ 33335 h 66670"/>
                  <a:gd name="connsiteX9" fmla="*/ 126670 w 253340"/>
                  <a:gd name="connsiteY9" fmla="*/ 13335 h 66670"/>
                  <a:gd name="connsiteX10" fmla="*/ 240021 w 253340"/>
                  <a:gd name="connsiteY10" fmla="*/ 33455 h 66670"/>
                  <a:gd name="connsiteX11" fmla="*/ 240087 w 253340"/>
                  <a:gd name="connsiteY11" fmla="*/ 33455 h 66670"/>
                  <a:gd name="connsiteX12" fmla="*/ 240021 w 253340"/>
                  <a:gd name="connsiteY12" fmla="*/ 33455 h 6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340" h="66670">
                    <a:moveTo>
                      <a:pt x="126670" y="66670"/>
                    </a:moveTo>
                    <a:cubicBezTo>
                      <a:pt x="79621" y="66670"/>
                      <a:pt x="0" y="59648"/>
                      <a:pt x="0" y="33335"/>
                    </a:cubicBezTo>
                    <a:cubicBezTo>
                      <a:pt x="0" y="7022"/>
                      <a:pt x="79621" y="0"/>
                      <a:pt x="126670" y="0"/>
                    </a:cubicBezTo>
                    <a:cubicBezTo>
                      <a:pt x="173719" y="0"/>
                      <a:pt x="253340" y="7022"/>
                      <a:pt x="253340" y="33335"/>
                    </a:cubicBezTo>
                    <a:cubicBezTo>
                      <a:pt x="253340" y="59648"/>
                      <a:pt x="173719" y="66670"/>
                      <a:pt x="126670" y="66670"/>
                    </a:cubicBezTo>
                    <a:close/>
                    <a:moveTo>
                      <a:pt x="126670" y="13335"/>
                    </a:moveTo>
                    <a:cubicBezTo>
                      <a:pt x="55967" y="13335"/>
                      <a:pt x="15297" y="26432"/>
                      <a:pt x="13321" y="33452"/>
                    </a:cubicBezTo>
                    <a:cubicBezTo>
                      <a:pt x="15297" y="40240"/>
                      <a:pt x="55969" y="53335"/>
                      <a:pt x="126670" y="53335"/>
                    </a:cubicBezTo>
                    <a:cubicBezTo>
                      <a:pt x="196984" y="53335"/>
                      <a:pt x="237595" y="40382"/>
                      <a:pt x="239984" y="33335"/>
                    </a:cubicBezTo>
                    <a:cubicBezTo>
                      <a:pt x="237595" y="26288"/>
                      <a:pt x="196987" y="13335"/>
                      <a:pt x="126670" y="13335"/>
                    </a:cubicBezTo>
                    <a:close/>
                    <a:moveTo>
                      <a:pt x="240021" y="33455"/>
                    </a:moveTo>
                    <a:lnTo>
                      <a:pt x="240087" y="33455"/>
                    </a:lnTo>
                    <a:lnTo>
                      <a:pt x="240021" y="33455"/>
                    </a:lnTo>
                    <a:close/>
                  </a:path>
                </a:pathLst>
              </a:custGeom>
              <a:solidFill>
                <a:schemeClr val="accent1"/>
              </a:solidFill>
              <a:ln w="205" cap="flat">
                <a:noFill/>
                <a:prstDash val="solid"/>
                <a:miter/>
              </a:ln>
            </p:spPr>
            <p:txBody>
              <a:bodyPr rtlCol="0" anchor="ctr"/>
              <a:lstStyle/>
              <a:p>
                <a:endParaRPr lang="en-GB" dirty="0"/>
              </a:p>
            </p:txBody>
          </p:sp>
          <p:sp>
            <p:nvSpPr>
              <p:cNvPr id="407" name="Freihandform: Form 406">
                <a:extLst>
                  <a:ext uri="{FF2B5EF4-FFF2-40B4-BE49-F238E27FC236}">
                    <a16:creationId xmlns:a16="http://schemas.microsoft.com/office/drawing/2014/main" id="{07B186FB-1A65-41B1-8E55-D0307E166C62}"/>
                  </a:ext>
                </a:extLst>
              </p:cNvPr>
              <p:cNvSpPr/>
              <p:nvPr/>
            </p:nvSpPr>
            <p:spPr>
              <a:xfrm>
                <a:off x="1151528" y="1853372"/>
                <a:ext cx="66667" cy="35570"/>
              </a:xfrm>
              <a:custGeom>
                <a:avLst/>
                <a:gdLst>
                  <a:gd name="connsiteX0" fmla="*/ 6660 w 66667"/>
                  <a:gd name="connsiteY0" fmla="*/ 35570 h 35570"/>
                  <a:gd name="connsiteX1" fmla="*/ 73 w 66667"/>
                  <a:gd name="connsiteY1" fmla="*/ 29883 h 35570"/>
                  <a:gd name="connsiteX2" fmla="*/ 5689 w 66667"/>
                  <a:gd name="connsiteY2" fmla="*/ 22307 h 35570"/>
                  <a:gd name="connsiteX3" fmla="*/ 53347 w 66667"/>
                  <a:gd name="connsiteY3" fmla="*/ 6609 h 35570"/>
                  <a:gd name="connsiteX4" fmla="*/ 60007 w 66667"/>
                  <a:gd name="connsiteY4" fmla="*/ 0 h 35570"/>
                  <a:gd name="connsiteX5" fmla="*/ 66668 w 66667"/>
                  <a:gd name="connsiteY5" fmla="*/ 6726 h 35570"/>
                  <a:gd name="connsiteX6" fmla="*/ 7649 w 66667"/>
                  <a:gd name="connsiteY6" fmla="*/ 35496 h 35570"/>
                  <a:gd name="connsiteX7" fmla="*/ 6660 w 66667"/>
                  <a:gd name="connsiteY7" fmla="*/ 35570 h 3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67" h="35570">
                    <a:moveTo>
                      <a:pt x="6660" y="35570"/>
                    </a:moveTo>
                    <a:cubicBezTo>
                      <a:pt x="3415" y="35570"/>
                      <a:pt x="567" y="33193"/>
                      <a:pt x="73" y="29883"/>
                    </a:cubicBezTo>
                    <a:cubicBezTo>
                      <a:pt x="-468" y="26241"/>
                      <a:pt x="2045" y="22852"/>
                      <a:pt x="5689" y="22307"/>
                    </a:cubicBezTo>
                    <a:cubicBezTo>
                      <a:pt x="43158" y="16737"/>
                      <a:pt x="52812" y="8507"/>
                      <a:pt x="53347" y="6609"/>
                    </a:cubicBezTo>
                    <a:cubicBezTo>
                      <a:pt x="53347" y="2928"/>
                      <a:pt x="56326" y="0"/>
                      <a:pt x="60007" y="0"/>
                    </a:cubicBezTo>
                    <a:cubicBezTo>
                      <a:pt x="63688" y="0"/>
                      <a:pt x="66668" y="3043"/>
                      <a:pt x="66668" y="6726"/>
                    </a:cubicBezTo>
                    <a:cubicBezTo>
                      <a:pt x="66668" y="19992"/>
                      <a:pt x="46810" y="29673"/>
                      <a:pt x="7649" y="35496"/>
                    </a:cubicBezTo>
                    <a:cubicBezTo>
                      <a:pt x="7318" y="35548"/>
                      <a:pt x="6989" y="35570"/>
                      <a:pt x="6660" y="35570"/>
                    </a:cubicBezTo>
                    <a:close/>
                  </a:path>
                </a:pathLst>
              </a:custGeom>
              <a:solidFill>
                <a:schemeClr val="accent1"/>
              </a:solidFill>
              <a:ln w="205" cap="flat">
                <a:noFill/>
                <a:prstDash val="solid"/>
                <a:miter/>
              </a:ln>
            </p:spPr>
            <p:txBody>
              <a:bodyPr rtlCol="0" anchor="ctr"/>
              <a:lstStyle/>
              <a:p>
                <a:endParaRPr lang="en-GB" dirty="0"/>
              </a:p>
            </p:txBody>
          </p:sp>
          <p:sp>
            <p:nvSpPr>
              <p:cNvPr id="408" name="Freihandform: Form 407">
                <a:extLst>
                  <a:ext uri="{FF2B5EF4-FFF2-40B4-BE49-F238E27FC236}">
                    <a16:creationId xmlns:a16="http://schemas.microsoft.com/office/drawing/2014/main" id="{CDB72075-30D2-497B-8ADB-D9068A0E19AB}"/>
                  </a:ext>
                </a:extLst>
              </p:cNvPr>
              <p:cNvSpPr/>
              <p:nvPr/>
            </p:nvSpPr>
            <p:spPr>
              <a:xfrm>
                <a:off x="964855" y="1853433"/>
                <a:ext cx="66667" cy="35508"/>
              </a:xfrm>
              <a:custGeom>
                <a:avLst/>
                <a:gdLst>
                  <a:gd name="connsiteX0" fmla="*/ 60008 w 66667"/>
                  <a:gd name="connsiteY0" fmla="*/ 35509 h 35508"/>
                  <a:gd name="connsiteX1" fmla="*/ 59019 w 66667"/>
                  <a:gd name="connsiteY1" fmla="*/ 35437 h 35508"/>
                  <a:gd name="connsiteX2" fmla="*/ 0 w 66667"/>
                  <a:gd name="connsiteY2" fmla="*/ 6667 h 35508"/>
                  <a:gd name="connsiteX3" fmla="*/ 6667 w 66667"/>
                  <a:gd name="connsiteY3" fmla="*/ 0 h 35508"/>
                  <a:gd name="connsiteX4" fmla="*/ 13333 w 66667"/>
                  <a:gd name="connsiteY4" fmla="*/ 6589 h 35508"/>
                  <a:gd name="connsiteX5" fmla="*/ 60979 w 66667"/>
                  <a:gd name="connsiteY5" fmla="*/ 22247 h 35508"/>
                  <a:gd name="connsiteX6" fmla="*/ 66594 w 66667"/>
                  <a:gd name="connsiteY6" fmla="*/ 29823 h 35508"/>
                  <a:gd name="connsiteX7" fmla="*/ 60008 w 66667"/>
                  <a:gd name="connsiteY7" fmla="*/ 35509 h 35508"/>
                  <a:gd name="connsiteX8" fmla="*/ 13335 w 66667"/>
                  <a:gd name="connsiteY8" fmla="*/ 6667 h 35508"/>
                  <a:gd name="connsiteX9" fmla="*/ 13401 w 66667"/>
                  <a:gd name="connsiteY9" fmla="*/ 6667 h 35508"/>
                  <a:gd name="connsiteX10" fmla="*/ 13335 w 66667"/>
                  <a:gd name="connsiteY10" fmla="*/ 6667 h 3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667" h="35508">
                    <a:moveTo>
                      <a:pt x="60008" y="35509"/>
                    </a:moveTo>
                    <a:cubicBezTo>
                      <a:pt x="59679" y="35509"/>
                      <a:pt x="59350" y="35486"/>
                      <a:pt x="59019" y="35437"/>
                    </a:cubicBezTo>
                    <a:cubicBezTo>
                      <a:pt x="19858" y="29613"/>
                      <a:pt x="0" y="19932"/>
                      <a:pt x="0" y="6667"/>
                    </a:cubicBezTo>
                    <a:cubicBezTo>
                      <a:pt x="0" y="2986"/>
                      <a:pt x="2986" y="0"/>
                      <a:pt x="6667" y="0"/>
                    </a:cubicBezTo>
                    <a:cubicBezTo>
                      <a:pt x="10323" y="0"/>
                      <a:pt x="13292" y="2943"/>
                      <a:pt x="13333" y="6589"/>
                    </a:cubicBezTo>
                    <a:cubicBezTo>
                      <a:pt x="13985" y="8558"/>
                      <a:pt x="23757" y="16712"/>
                      <a:pt x="60979" y="22247"/>
                    </a:cubicBezTo>
                    <a:cubicBezTo>
                      <a:pt x="64620" y="22790"/>
                      <a:pt x="67135" y="26179"/>
                      <a:pt x="66594" y="29823"/>
                    </a:cubicBezTo>
                    <a:cubicBezTo>
                      <a:pt x="66103" y="33132"/>
                      <a:pt x="63255" y="35509"/>
                      <a:pt x="60008" y="35509"/>
                    </a:cubicBezTo>
                    <a:close/>
                    <a:moveTo>
                      <a:pt x="13335" y="6667"/>
                    </a:moveTo>
                    <a:lnTo>
                      <a:pt x="13401" y="6667"/>
                    </a:lnTo>
                    <a:lnTo>
                      <a:pt x="13335" y="6667"/>
                    </a:lnTo>
                    <a:close/>
                  </a:path>
                </a:pathLst>
              </a:custGeom>
              <a:solidFill>
                <a:schemeClr val="accent1"/>
              </a:solidFill>
              <a:ln w="205" cap="flat">
                <a:noFill/>
                <a:prstDash val="solid"/>
                <a:miter/>
              </a:ln>
            </p:spPr>
            <p:txBody>
              <a:bodyPr rtlCol="0" anchor="ctr"/>
              <a:lstStyle/>
              <a:p>
                <a:endParaRPr lang="en-GB" dirty="0"/>
              </a:p>
            </p:txBody>
          </p:sp>
          <p:sp>
            <p:nvSpPr>
              <p:cNvPr id="409" name="Freihandform: Form 408">
                <a:extLst>
                  <a:ext uri="{FF2B5EF4-FFF2-40B4-BE49-F238E27FC236}">
                    <a16:creationId xmlns:a16="http://schemas.microsoft.com/office/drawing/2014/main" id="{B4AEDA30-68DF-447E-8282-B29A2C1B276F}"/>
                  </a:ext>
                </a:extLst>
              </p:cNvPr>
              <p:cNvSpPr/>
              <p:nvPr/>
            </p:nvSpPr>
            <p:spPr>
              <a:xfrm>
                <a:off x="964855" y="1762262"/>
                <a:ext cx="253340" cy="40059"/>
              </a:xfrm>
              <a:custGeom>
                <a:avLst/>
                <a:gdLst>
                  <a:gd name="connsiteX0" fmla="*/ 126670 w 253340"/>
                  <a:gd name="connsiteY0" fmla="*/ 40059 h 40059"/>
                  <a:gd name="connsiteX1" fmla="*/ 0 w 253340"/>
                  <a:gd name="connsiteY1" fmla="*/ 6724 h 40059"/>
                  <a:gd name="connsiteX2" fmla="*/ 6667 w 253340"/>
                  <a:gd name="connsiteY2" fmla="*/ 58 h 40059"/>
                  <a:gd name="connsiteX3" fmla="*/ 13333 w 253340"/>
                  <a:gd name="connsiteY3" fmla="*/ 6650 h 40059"/>
                  <a:gd name="connsiteX4" fmla="*/ 126670 w 253340"/>
                  <a:gd name="connsiteY4" fmla="*/ 26726 h 40059"/>
                  <a:gd name="connsiteX5" fmla="*/ 240019 w 253340"/>
                  <a:gd name="connsiteY5" fmla="*/ 6609 h 40059"/>
                  <a:gd name="connsiteX6" fmla="*/ 246680 w 253340"/>
                  <a:gd name="connsiteY6" fmla="*/ 0 h 40059"/>
                  <a:gd name="connsiteX7" fmla="*/ 253340 w 253340"/>
                  <a:gd name="connsiteY7" fmla="*/ 6726 h 40059"/>
                  <a:gd name="connsiteX8" fmla="*/ 126670 w 253340"/>
                  <a:gd name="connsiteY8" fmla="*/ 40059 h 40059"/>
                  <a:gd name="connsiteX9" fmla="*/ 13335 w 253340"/>
                  <a:gd name="connsiteY9" fmla="*/ 6724 h 40059"/>
                  <a:gd name="connsiteX10" fmla="*/ 13401 w 253340"/>
                  <a:gd name="connsiteY10" fmla="*/ 6724 h 40059"/>
                  <a:gd name="connsiteX11" fmla="*/ 13335 w 253340"/>
                  <a:gd name="connsiteY11" fmla="*/ 6724 h 40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3340" h="40059">
                    <a:moveTo>
                      <a:pt x="126670" y="40059"/>
                    </a:moveTo>
                    <a:cubicBezTo>
                      <a:pt x="79621" y="40059"/>
                      <a:pt x="0" y="33037"/>
                      <a:pt x="0" y="6724"/>
                    </a:cubicBezTo>
                    <a:cubicBezTo>
                      <a:pt x="0" y="3043"/>
                      <a:pt x="2986" y="58"/>
                      <a:pt x="6667" y="58"/>
                    </a:cubicBezTo>
                    <a:cubicBezTo>
                      <a:pt x="10323" y="58"/>
                      <a:pt x="13292" y="3000"/>
                      <a:pt x="13333" y="6650"/>
                    </a:cubicBezTo>
                    <a:cubicBezTo>
                      <a:pt x="15453" y="13679"/>
                      <a:pt x="56101" y="26726"/>
                      <a:pt x="126670" y="26726"/>
                    </a:cubicBezTo>
                    <a:cubicBezTo>
                      <a:pt x="197373" y="26726"/>
                      <a:pt x="238043" y="13629"/>
                      <a:pt x="240019" y="6609"/>
                    </a:cubicBezTo>
                    <a:cubicBezTo>
                      <a:pt x="240019" y="2928"/>
                      <a:pt x="242999" y="0"/>
                      <a:pt x="246680" y="0"/>
                    </a:cubicBezTo>
                    <a:cubicBezTo>
                      <a:pt x="250361" y="0"/>
                      <a:pt x="253340" y="3043"/>
                      <a:pt x="253340" y="6726"/>
                    </a:cubicBezTo>
                    <a:cubicBezTo>
                      <a:pt x="253342" y="33037"/>
                      <a:pt x="173719" y="40059"/>
                      <a:pt x="126670" y="40059"/>
                    </a:cubicBezTo>
                    <a:close/>
                    <a:moveTo>
                      <a:pt x="13335" y="6724"/>
                    </a:moveTo>
                    <a:lnTo>
                      <a:pt x="13401" y="6724"/>
                    </a:lnTo>
                    <a:lnTo>
                      <a:pt x="13335" y="6724"/>
                    </a:lnTo>
                    <a:close/>
                  </a:path>
                </a:pathLst>
              </a:custGeom>
              <a:solidFill>
                <a:schemeClr val="accent1"/>
              </a:solidFill>
              <a:ln w="205" cap="flat">
                <a:noFill/>
                <a:prstDash val="solid"/>
                <a:miter/>
              </a:ln>
            </p:spPr>
            <p:txBody>
              <a:bodyPr rtlCol="0" anchor="ctr"/>
              <a:lstStyle/>
              <a:p>
                <a:endParaRPr lang="en-GB" dirty="0"/>
              </a:p>
            </p:txBody>
          </p:sp>
          <p:sp>
            <p:nvSpPr>
              <p:cNvPr id="410" name="Freihandform: Form 409">
                <a:extLst>
                  <a:ext uri="{FF2B5EF4-FFF2-40B4-BE49-F238E27FC236}">
                    <a16:creationId xmlns:a16="http://schemas.microsoft.com/office/drawing/2014/main" id="{46D25C21-DA8B-4808-AA9D-DACBD2163C32}"/>
                  </a:ext>
                </a:extLst>
              </p:cNvPr>
              <p:cNvSpPr/>
              <p:nvPr/>
            </p:nvSpPr>
            <p:spPr>
              <a:xfrm>
                <a:off x="964857" y="1673428"/>
                <a:ext cx="33325" cy="301421"/>
              </a:xfrm>
              <a:custGeom>
                <a:avLst/>
                <a:gdLst>
                  <a:gd name="connsiteX0" fmla="*/ 26656 w 33325"/>
                  <a:gd name="connsiteY0" fmla="*/ 301422 h 301421"/>
                  <a:gd name="connsiteX1" fmla="*/ 24544 w 33325"/>
                  <a:gd name="connsiteY1" fmla="*/ 301074 h 301421"/>
                  <a:gd name="connsiteX2" fmla="*/ 0 w 33325"/>
                  <a:gd name="connsiteY2" fmla="*/ 280009 h 301421"/>
                  <a:gd name="connsiteX3" fmla="*/ 0 w 33325"/>
                  <a:gd name="connsiteY3" fmla="*/ 6667 h 301421"/>
                  <a:gd name="connsiteX4" fmla="*/ 6667 w 33325"/>
                  <a:gd name="connsiteY4" fmla="*/ 0 h 301421"/>
                  <a:gd name="connsiteX5" fmla="*/ 13333 w 33325"/>
                  <a:gd name="connsiteY5" fmla="*/ 6667 h 301421"/>
                  <a:gd name="connsiteX6" fmla="*/ 13333 w 33325"/>
                  <a:gd name="connsiteY6" fmla="*/ 280009 h 301421"/>
                  <a:gd name="connsiteX7" fmla="*/ 13333 w 33325"/>
                  <a:gd name="connsiteY7" fmla="*/ 280009 h 301421"/>
                  <a:gd name="connsiteX8" fmla="*/ 28770 w 33325"/>
                  <a:gd name="connsiteY8" fmla="*/ 288430 h 301421"/>
                  <a:gd name="connsiteX9" fmla="*/ 32979 w 33325"/>
                  <a:gd name="connsiteY9" fmla="*/ 296865 h 301421"/>
                  <a:gd name="connsiteX10" fmla="*/ 26656 w 33325"/>
                  <a:gd name="connsiteY10" fmla="*/ 301422 h 301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325" h="301421">
                    <a:moveTo>
                      <a:pt x="26656" y="301422"/>
                    </a:moveTo>
                    <a:cubicBezTo>
                      <a:pt x="25957" y="301422"/>
                      <a:pt x="25244" y="301308"/>
                      <a:pt x="24544" y="301074"/>
                    </a:cubicBezTo>
                    <a:cubicBezTo>
                      <a:pt x="8028" y="295553"/>
                      <a:pt x="0" y="288664"/>
                      <a:pt x="0" y="280009"/>
                    </a:cubicBezTo>
                    <a:lnTo>
                      <a:pt x="0" y="6667"/>
                    </a:lnTo>
                    <a:cubicBezTo>
                      <a:pt x="0" y="2986"/>
                      <a:pt x="2986" y="0"/>
                      <a:pt x="6667" y="0"/>
                    </a:cubicBezTo>
                    <a:cubicBezTo>
                      <a:pt x="10347" y="0"/>
                      <a:pt x="13333" y="2986"/>
                      <a:pt x="13333" y="6667"/>
                    </a:cubicBezTo>
                    <a:lnTo>
                      <a:pt x="13333" y="280009"/>
                    </a:lnTo>
                    <a:lnTo>
                      <a:pt x="13333" y="280009"/>
                    </a:lnTo>
                    <a:cubicBezTo>
                      <a:pt x="13362" y="280009"/>
                      <a:pt x="14898" y="283793"/>
                      <a:pt x="28770" y="288430"/>
                    </a:cubicBezTo>
                    <a:cubicBezTo>
                      <a:pt x="32264" y="289596"/>
                      <a:pt x="34147" y="293375"/>
                      <a:pt x="32979" y="296865"/>
                    </a:cubicBezTo>
                    <a:cubicBezTo>
                      <a:pt x="32048" y="299657"/>
                      <a:pt x="29447" y="301422"/>
                      <a:pt x="26656" y="301422"/>
                    </a:cubicBezTo>
                    <a:close/>
                  </a:path>
                </a:pathLst>
              </a:custGeom>
              <a:solidFill>
                <a:schemeClr val="accent1"/>
              </a:solidFill>
              <a:ln w="205" cap="flat">
                <a:noFill/>
                <a:prstDash val="solid"/>
                <a:miter/>
              </a:ln>
            </p:spPr>
            <p:txBody>
              <a:bodyPr rtlCol="0" anchor="ctr"/>
              <a:lstStyle/>
              <a:p>
                <a:endParaRPr lang="en-GB" dirty="0"/>
              </a:p>
            </p:txBody>
          </p:sp>
          <p:sp>
            <p:nvSpPr>
              <p:cNvPr id="411" name="Freihandform: Form 410">
                <a:extLst>
                  <a:ext uri="{FF2B5EF4-FFF2-40B4-BE49-F238E27FC236}">
                    <a16:creationId xmlns:a16="http://schemas.microsoft.com/office/drawing/2014/main" id="{EAA43E6F-4D77-4FA2-B5E8-C92E6AA361F4}"/>
                  </a:ext>
                </a:extLst>
              </p:cNvPr>
              <p:cNvSpPr/>
              <p:nvPr/>
            </p:nvSpPr>
            <p:spPr>
              <a:xfrm>
                <a:off x="1184866" y="1673426"/>
                <a:ext cx="33331" cy="301425"/>
              </a:xfrm>
              <a:custGeom>
                <a:avLst/>
                <a:gdLst>
                  <a:gd name="connsiteX0" fmla="*/ 6667 w 33331"/>
                  <a:gd name="connsiteY0" fmla="*/ 301426 h 301425"/>
                  <a:gd name="connsiteX1" fmla="*/ 346 w 33331"/>
                  <a:gd name="connsiteY1" fmla="*/ 296871 h 301425"/>
                  <a:gd name="connsiteX2" fmla="*/ 4551 w 33331"/>
                  <a:gd name="connsiteY2" fmla="*/ 288434 h 301425"/>
                  <a:gd name="connsiteX3" fmla="*/ 20011 w 33331"/>
                  <a:gd name="connsiteY3" fmla="*/ 279892 h 301425"/>
                  <a:gd name="connsiteX4" fmla="*/ 19999 w 33331"/>
                  <a:gd name="connsiteY4" fmla="*/ 6667 h 301425"/>
                  <a:gd name="connsiteX5" fmla="*/ 26665 w 33331"/>
                  <a:gd name="connsiteY5" fmla="*/ 0 h 301425"/>
                  <a:gd name="connsiteX6" fmla="*/ 33332 w 33331"/>
                  <a:gd name="connsiteY6" fmla="*/ 6667 h 301425"/>
                  <a:gd name="connsiteX7" fmla="*/ 33332 w 33331"/>
                  <a:gd name="connsiteY7" fmla="*/ 280009 h 301425"/>
                  <a:gd name="connsiteX8" fmla="*/ 8783 w 33331"/>
                  <a:gd name="connsiteY8" fmla="*/ 301078 h 301425"/>
                  <a:gd name="connsiteX9" fmla="*/ 6667 w 33331"/>
                  <a:gd name="connsiteY9" fmla="*/ 301426 h 30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31" h="301425">
                    <a:moveTo>
                      <a:pt x="6667" y="301426"/>
                    </a:moveTo>
                    <a:cubicBezTo>
                      <a:pt x="3877" y="301426"/>
                      <a:pt x="1276" y="299661"/>
                      <a:pt x="346" y="296871"/>
                    </a:cubicBezTo>
                    <a:cubicBezTo>
                      <a:pt x="-822" y="293377"/>
                      <a:pt x="1062" y="289602"/>
                      <a:pt x="4551" y="288434"/>
                    </a:cubicBezTo>
                    <a:cubicBezTo>
                      <a:pt x="18571" y="283743"/>
                      <a:pt x="20001" y="279931"/>
                      <a:pt x="20011" y="279892"/>
                    </a:cubicBezTo>
                    <a:lnTo>
                      <a:pt x="19999" y="6667"/>
                    </a:lnTo>
                    <a:cubicBezTo>
                      <a:pt x="19999" y="2986"/>
                      <a:pt x="22984" y="0"/>
                      <a:pt x="26665" y="0"/>
                    </a:cubicBezTo>
                    <a:cubicBezTo>
                      <a:pt x="30346" y="0"/>
                      <a:pt x="33332" y="2986"/>
                      <a:pt x="33332" y="6667"/>
                    </a:cubicBezTo>
                    <a:lnTo>
                      <a:pt x="33332" y="280009"/>
                    </a:lnTo>
                    <a:cubicBezTo>
                      <a:pt x="33332" y="288662"/>
                      <a:pt x="25302" y="295553"/>
                      <a:pt x="8783" y="301078"/>
                    </a:cubicBezTo>
                    <a:cubicBezTo>
                      <a:pt x="8080" y="301313"/>
                      <a:pt x="7367" y="301426"/>
                      <a:pt x="6667" y="301426"/>
                    </a:cubicBezTo>
                    <a:close/>
                  </a:path>
                </a:pathLst>
              </a:custGeom>
              <a:solidFill>
                <a:schemeClr val="accent1"/>
              </a:solidFill>
              <a:ln w="205" cap="flat">
                <a:noFill/>
                <a:prstDash val="solid"/>
                <a:miter/>
              </a:ln>
            </p:spPr>
            <p:txBody>
              <a:bodyPr rtlCol="0" anchor="ctr"/>
              <a:lstStyle/>
              <a:p>
                <a:endParaRPr lang="en-GB" dirty="0"/>
              </a:p>
            </p:txBody>
          </p:sp>
        </p:grpSp>
        <p:grpSp>
          <p:nvGrpSpPr>
            <p:cNvPr id="399" name="Grafik 348">
              <a:extLst>
                <a:ext uri="{FF2B5EF4-FFF2-40B4-BE49-F238E27FC236}">
                  <a16:creationId xmlns:a16="http://schemas.microsoft.com/office/drawing/2014/main" id="{BF2E0ECD-7B7A-45EA-99FE-2F611516F415}"/>
                </a:ext>
              </a:extLst>
            </p:cNvPr>
            <p:cNvGrpSpPr/>
            <p:nvPr/>
          </p:nvGrpSpPr>
          <p:grpSpPr>
            <a:xfrm>
              <a:off x="540337" y="1818724"/>
              <a:ext cx="507427" cy="239992"/>
              <a:chOff x="844852" y="1833438"/>
              <a:chExt cx="493349" cy="233334"/>
            </a:xfrm>
            <a:solidFill>
              <a:schemeClr val="tx2"/>
            </a:solidFill>
          </p:grpSpPr>
          <p:sp>
            <p:nvSpPr>
              <p:cNvPr id="400" name="Freihandform: Form 399">
                <a:extLst>
                  <a:ext uri="{FF2B5EF4-FFF2-40B4-BE49-F238E27FC236}">
                    <a16:creationId xmlns:a16="http://schemas.microsoft.com/office/drawing/2014/main" id="{55586AEA-3327-42B1-B8E0-7EAA881E44D3}"/>
                  </a:ext>
                </a:extLst>
              </p:cNvPr>
              <p:cNvSpPr/>
              <p:nvPr/>
            </p:nvSpPr>
            <p:spPr>
              <a:xfrm>
                <a:off x="984857" y="1953443"/>
                <a:ext cx="213338" cy="113326"/>
              </a:xfrm>
              <a:custGeom>
                <a:avLst/>
                <a:gdLst>
                  <a:gd name="connsiteX0" fmla="*/ 213338 w 213338"/>
                  <a:gd name="connsiteY0" fmla="*/ 113327 h 113326"/>
                  <a:gd name="connsiteX1" fmla="*/ 0 w 213338"/>
                  <a:gd name="connsiteY1" fmla="*/ 113327 h 113326"/>
                  <a:gd name="connsiteX2" fmla="*/ 0 w 213338"/>
                  <a:gd name="connsiteY2" fmla="*/ 86668 h 113326"/>
                  <a:gd name="connsiteX3" fmla="*/ 80002 w 213338"/>
                  <a:gd name="connsiteY3" fmla="*/ 0 h 113326"/>
                  <a:gd name="connsiteX4" fmla="*/ 133337 w 213338"/>
                  <a:gd name="connsiteY4" fmla="*/ 0 h 113326"/>
                  <a:gd name="connsiteX5" fmla="*/ 213338 w 213338"/>
                  <a:gd name="connsiteY5" fmla="*/ 86668 h 113326"/>
                  <a:gd name="connsiteX6" fmla="*/ 213338 w 213338"/>
                  <a:gd name="connsiteY6" fmla="*/ 113327 h 113326"/>
                  <a:gd name="connsiteX7" fmla="*/ 13333 w 213338"/>
                  <a:gd name="connsiteY7" fmla="*/ 99991 h 113326"/>
                  <a:gd name="connsiteX8" fmla="*/ 200005 w 213338"/>
                  <a:gd name="connsiteY8" fmla="*/ 99991 h 113326"/>
                  <a:gd name="connsiteX9" fmla="*/ 200005 w 213338"/>
                  <a:gd name="connsiteY9" fmla="*/ 86668 h 113326"/>
                  <a:gd name="connsiteX10" fmla="*/ 133337 w 213338"/>
                  <a:gd name="connsiteY10" fmla="*/ 13333 h 113326"/>
                  <a:gd name="connsiteX11" fmla="*/ 80002 w 213338"/>
                  <a:gd name="connsiteY11" fmla="*/ 13333 h 113326"/>
                  <a:gd name="connsiteX12" fmla="*/ 13333 w 213338"/>
                  <a:gd name="connsiteY12" fmla="*/ 86668 h 113326"/>
                  <a:gd name="connsiteX13" fmla="*/ 13333 w 213338"/>
                  <a:gd name="connsiteY13" fmla="*/ 99991 h 113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3338" h="113326">
                    <a:moveTo>
                      <a:pt x="213338" y="113327"/>
                    </a:moveTo>
                    <a:lnTo>
                      <a:pt x="0" y="113327"/>
                    </a:lnTo>
                    <a:lnTo>
                      <a:pt x="0" y="86668"/>
                    </a:lnTo>
                    <a:cubicBezTo>
                      <a:pt x="0" y="37259"/>
                      <a:pt x="34392" y="0"/>
                      <a:pt x="80002" y="0"/>
                    </a:cubicBezTo>
                    <a:lnTo>
                      <a:pt x="133337" y="0"/>
                    </a:lnTo>
                    <a:cubicBezTo>
                      <a:pt x="178946" y="0"/>
                      <a:pt x="213338" y="37261"/>
                      <a:pt x="213338" y="86668"/>
                    </a:cubicBezTo>
                    <a:lnTo>
                      <a:pt x="213338" y="113327"/>
                    </a:lnTo>
                    <a:close/>
                    <a:moveTo>
                      <a:pt x="13333" y="99991"/>
                    </a:moveTo>
                    <a:lnTo>
                      <a:pt x="200005" y="99991"/>
                    </a:lnTo>
                    <a:lnTo>
                      <a:pt x="200005" y="86668"/>
                    </a:lnTo>
                    <a:cubicBezTo>
                      <a:pt x="200005" y="44174"/>
                      <a:pt x="171967" y="13333"/>
                      <a:pt x="133337" y="13333"/>
                    </a:cubicBezTo>
                    <a:lnTo>
                      <a:pt x="80002" y="13333"/>
                    </a:lnTo>
                    <a:cubicBezTo>
                      <a:pt x="41371" y="13333"/>
                      <a:pt x="13333" y="44174"/>
                      <a:pt x="13333" y="86668"/>
                    </a:cubicBezTo>
                    <a:lnTo>
                      <a:pt x="13333" y="99991"/>
                    </a:lnTo>
                    <a:close/>
                  </a:path>
                </a:pathLst>
              </a:custGeom>
              <a:grpFill/>
              <a:ln w="205" cap="flat">
                <a:noFill/>
                <a:prstDash val="solid"/>
                <a:miter/>
              </a:ln>
            </p:spPr>
            <p:txBody>
              <a:bodyPr rtlCol="0" anchor="ctr"/>
              <a:lstStyle/>
              <a:p>
                <a:endParaRPr lang="en-GB" dirty="0"/>
              </a:p>
            </p:txBody>
          </p:sp>
          <p:sp>
            <p:nvSpPr>
              <p:cNvPr id="401" name="Freihandform: Form 400">
                <a:extLst>
                  <a:ext uri="{FF2B5EF4-FFF2-40B4-BE49-F238E27FC236}">
                    <a16:creationId xmlns:a16="http://schemas.microsoft.com/office/drawing/2014/main" id="{9029D9A4-E483-4512-93FE-4E13CF253EFB}"/>
                  </a:ext>
                </a:extLst>
              </p:cNvPr>
              <p:cNvSpPr/>
              <p:nvPr/>
            </p:nvSpPr>
            <p:spPr>
              <a:xfrm>
                <a:off x="1044857" y="1833438"/>
                <a:ext cx="93336" cy="106670"/>
              </a:xfrm>
              <a:custGeom>
                <a:avLst/>
                <a:gdLst>
                  <a:gd name="connsiteX0" fmla="*/ 46669 w 93336"/>
                  <a:gd name="connsiteY0" fmla="*/ 106670 h 106670"/>
                  <a:gd name="connsiteX1" fmla="*/ 0 w 93336"/>
                  <a:gd name="connsiteY1" fmla="*/ 53335 h 106670"/>
                  <a:gd name="connsiteX2" fmla="*/ 46669 w 93336"/>
                  <a:gd name="connsiteY2" fmla="*/ 0 h 106670"/>
                  <a:gd name="connsiteX3" fmla="*/ 93337 w 93336"/>
                  <a:gd name="connsiteY3" fmla="*/ 53335 h 106670"/>
                  <a:gd name="connsiteX4" fmla="*/ 46669 w 93336"/>
                  <a:gd name="connsiteY4" fmla="*/ 106670 h 106670"/>
                  <a:gd name="connsiteX5" fmla="*/ 46669 w 93336"/>
                  <a:gd name="connsiteY5" fmla="*/ 13335 h 106670"/>
                  <a:gd name="connsiteX6" fmla="*/ 13333 w 93336"/>
                  <a:gd name="connsiteY6" fmla="*/ 53337 h 106670"/>
                  <a:gd name="connsiteX7" fmla="*/ 46669 w 93336"/>
                  <a:gd name="connsiteY7" fmla="*/ 93339 h 106670"/>
                  <a:gd name="connsiteX8" fmla="*/ 80004 w 93336"/>
                  <a:gd name="connsiteY8" fmla="*/ 53337 h 106670"/>
                  <a:gd name="connsiteX9" fmla="*/ 46669 w 93336"/>
                  <a:gd name="connsiteY9" fmla="*/ 13335 h 10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36" h="106670">
                    <a:moveTo>
                      <a:pt x="46669" y="106670"/>
                    </a:moveTo>
                    <a:cubicBezTo>
                      <a:pt x="18754" y="106670"/>
                      <a:pt x="0" y="85237"/>
                      <a:pt x="0" y="53335"/>
                    </a:cubicBezTo>
                    <a:cubicBezTo>
                      <a:pt x="0" y="21433"/>
                      <a:pt x="18754" y="0"/>
                      <a:pt x="46669" y="0"/>
                    </a:cubicBezTo>
                    <a:cubicBezTo>
                      <a:pt x="74583" y="0"/>
                      <a:pt x="93337" y="21433"/>
                      <a:pt x="93337" y="53335"/>
                    </a:cubicBezTo>
                    <a:cubicBezTo>
                      <a:pt x="93337" y="85237"/>
                      <a:pt x="74583" y="106670"/>
                      <a:pt x="46669" y="106670"/>
                    </a:cubicBezTo>
                    <a:close/>
                    <a:moveTo>
                      <a:pt x="46669" y="13335"/>
                    </a:moveTo>
                    <a:cubicBezTo>
                      <a:pt x="22064" y="13335"/>
                      <a:pt x="13333" y="34882"/>
                      <a:pt x="13333" y="53337"/>
                    </a:cubicBezTo>
                    <a:cubicBezTo>
                      <a:pt x="13333" y="71791"/>
                      <a:pt x="22064" y="93339"/>
                      <a:pt x="46669" y="93339"/>
                    </a:cubicBezTo>
                    <a:cubicBezTo>
                      <a:pt x="71273" y="93339"/>
                      <a:pt x="80004" y="71793"/>
                      <a:pt x="80004" y="53337"/>
                    </a:cubicBezTo>
                    <a:cubicBezTo>
                      <a:pt x="80004" y="34882"/>
                      <a:pt x="71273" y="13335"/>
                      <a:pt x="46669" y="13335"/>
                    </a:cubicBezTo>
                    <a:close/>
                  </a:path>
                </a:pathLst>
              </a:custGeom>
              <a:grpFill/>
              <a:ln w="205" cap="flat">
                <a:noFill/>
                <a:prstDash val="solid"/>
                <a:miter/>
              </a:ln>
            </p:spPr>
            <p:txBody>
              <a:bodyPr rtlCol="0" anchor="ctr"/>
              <a:lstStyle/>
              <a:p>
                <a:endParaRPr lang="en-GB" dirty="0"/>
              </a:p>
            </p:txBody>
          </p:sp>
          <p:sp>
            <p:nvSpPr>
              <p:cNvPr id="402" name="Freihandform: Form 401">
                <a:extLst>
                  <a:ext uri="{FF2B5EF4-FFF2-40B4-BE49-F238E27FC236}">
                    <a16:creationId xmlns:a16="http://schemas.microsoft.com/office/drawing/2014/main" id="{92747FC8-CC9C-4691-9CA7-B5C7B0953D6D}"/>
                  </a:ext>
                </a:extLst>
              </p:cNvPr>
              <p:cNvSpPr/>
              <p:nvPr/>
            </p:nvSpPr>
            <p:spPr>
              <a:xfrm>
                <a:off x="1184862" y="1986776"/>
                <a:ext cx="153338" cy="79995"/>
              </a:xfrm>
              <a:custGeom>
                <a:avLst/>
                <a:gdLst>
                  <a:gd name="connsiteX0" fmla="*/ 153339 w 153338"/>
                  <a:gd name="connsiteY0" fmla="*/ 79996 h 79995"/>
                  <a:gd name="connsiteX1" fmla="*/ 6667 w 153338"/>
                  <a:gd name="connsiteY1" fmla="*/ 79996 h 79995"/>
                  <a:gd name="connsiteX2" fmla="*/ 0 w 153338"/>
                  <a:gd name="connsiteY2" fmla="*/ 73329 h 79995"/>
                  <a:gd name="connsiteX3" fmla="*/ 6667 w 153338"/>
                  <a:gd name="connsiteY3" fmla="*/ 66662 h 79995"/>
                  <a:gd name="connsiteX4" fmla="*/ 139623 w 153338"/>
                  <a:gd name="connsiteY4" fmla="*/ 66662 h 79995"/>
                  <a:gd name="connsiteX5" fmla="*/ 80867 w 153338"/>
                  <a:gd name="connsiteY5" fmla="*/ 13333 h 79995"/>
                  <a:gd name="connsiteX6" fmla="*/ 39136 w 153338"/>
                  <a:gd name="connsiteY6" fmla="*/ 13333 h 79995"/>
                  <a:gd name="connsiteX7" fmla="*/ 25256 w 153338"/>
                  <a:gd name="connsiteY7" fmla="*/ 15550 h 79995"/>
                  <a:gd name="connsiteX8" fmla="*/ 16952 w 153338"/>
                  <a:gd name="connsiteY8" fmla="*/ 11088 h 79995"/>
                  <a:gd name="connsiteX9" fmla="*/ 21415 w 153338"/>
                  <a:gd name="connsiteY9" fmla="*/ 2784 h 79995"/>
                  <a:gd name="connsiteX10" fmla="*/ 39136 w 153338"/>
                  <a:gd name="connsiteY10" fmla="*/ 0 h 79995"/>
                  <a:gd name="connsiteX11" fmla="*/ 80869 w 153338"/>
                  <a:gd name="connsiteY11" fmla="*/ 0 h 79995"/>
                  <a:gd name="connsiteX12" fmla="*/ 153339 w 153338"/>
                  <a:gd name="connsiteY12" fmla="*/ 73329 h 79995"/>
                  <a:gd name="connsiteX13" fmla="*/ 153339 w 153338"/>
                  <a:gd name="connsiteY13" fmla="*/ 79996 h 7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338" h="79995">
                    <a:moveTo>
                      <a:pt x="153339" y="79996"/>
                    </a:moveTo>
                    <a:lnTo>
                      <a:pt x="6667" y="79996"/>
                    </a:lnTo>
                    <a:cubicBezTo>
                      <a:pt x="2986" y="79996"/>
                      <a:pt x="0" y="77010"/>
                      <a:pt x="0" y="73329"/>
                    </a:cubicBezTo>
                    <a:cubicBezTo>
                      <a:pt x="0" y="69648"/>
                      <a:pt x="2986" y="66662"/>
                      <a:pt x="6667" y="66662"/>
                    </a:cubicBezTo>
                    <a:lnTo>
                      <a:pt x="139623" y="66662"/>
                    </a:lnTo>
                    <a:cubicBezTo>
                      <a:pt x="136234" y="37139"/>
                      <a:pt x="110707" y="13333"/>
                      <a:pt x="80867" y="13333"/>
                    </a:cubicBezTo>
                    <a:lnTo>
                      <a:pt x="39136" y="13333"/>
                    </a:lnTo>
                    <a:cubicBezTo>
                      <a:pt x="33128" y="13333"/>
                      <a:pt x="30822" y="13874"/>
                      <a:pt x="25256" y="15550"/>
                    </a:cubicBezTo>
                    <a:cubicBezTo>
                      <a:pt x="21731" y="16595"/>
                      <a:pt x="18016" y="14616"/>
                      <a:pt x="16952" y="11088"/>
                    </a:cubicBezTo>
                    <a:cubicBezTo>
                      <a:pt x="15891" y="7563"/>
                      <a:pt x="17890" y="3845"/>
                      <a:pt x="21415" y="2784"/>
                    </a:cubicBezTo>
                    <a:cubicBezTo>
                      <a:pt x="27845" y="847"/>
                      <a:pt x="31464" y="0"/>
                      <a:pt x="39136" y="0"/>
                    </a:cubicBezTo>
                    <a:lnTo>
                      <a:pt x="80869" y="0"/>
                    </a:lnTo>
                    <a:cubicBezTo>
                      <a:pt x="120152" y="0"/>
                      <a:pt x="153339" y="33582"/>
                      <a:pt x="153339" y="73329"/>
                    </a:cubicBezTo>
                    <a:lnTo>
                      <a:pt x="153339" y="79996"/>
                    </a:lnTo>
                    <a:close/>
                  </a:path>
                </a:pathLst>
              </a:custGeom>
              <a:grpFill/>
              <a:ln w="205" cap="flat">
                <a:noFill/>
                <a:prstDash val="solid"/>
                <a:miter/>
              </a:ln>
            </p:spPr>
            <p:txBody>
              <a:bodyPr rtlCol="0" anchor="ctr"/>
              <a:lstStyle/>
              <a:p>
                <a:endParaRPr lang="en-GB" dirty="0"/>
              </a:p>
            </p:txBody>
          </p:sp>
          <p:sp>
            <p:nvSpPr>
              <p:cNvPr id="403" name="Freihandform: Form 402">
                <a:extLst>
                  <a:ext uri="{FF2B5EF4-FFF2-40B4-BE49-F238E27FC236}">
                    <a16:creationId xmlns:a16="http://schemas.microsoft.com/office/drawing/2014/main" id="{B18B9582-6A8B-4EDD-A785-3148A079DCF9}"/>
                  </a:ext>
                </a:extLst>
              </p:cNvPr>
              <p:cNvSpPr/>
              <p:nvPr/>
            </p:nvSpPr>
            <p:spPr>
              <a:xfrm>
                <a:off x="1204862" y="1880106"/>
                <a:ext cx="80003" cy="93336"/>
              </a:xfrm>
              <a:custGeom>
                <a:avLst/>
                <a:gdLst>
                  <a:gd name="connsiteX0" fmla="*/ 40002 w 80003"/>
                  <a:gd name="connsiteY0" fmla="*/ 93337 h 93336"/>
                  <a:gd name="connsiteX1" fmla="*/ 0 w 80003"/>
                  <a:gd name="connsiteY1" fmla="*/ 46668 h 93336"/>
                  <a:gd name="connsiteX2" fmla="*/ 40002 w 80003"/>
                  <a:gd name="connsiteY2" fmla="*/ 0 h 93336"/>
                  <a:gd name="connsiteX3" fmla="*/ 80004 w 80003"/>
                  <a:gd name="connsiteY3" fmla="*/ 46668 h 93336"/>
                  <a:gd name="connsiteX4" fmla="*/ 40002 w 80003"/>
                  <a:gd name="connsiteY4" fmla="*/ 93337 h 93336"/>
                  <a:gd name="connsiteX5" fmla="*/ 40002 w 80003"/>
                  <a:gd name="connsiteY5" fmla="*/ 13335 h 93336"/>
                  <a:gd name="connsiteX6" fmla="*/ 13335 w 80003"/>
                  <a:gd name="connsiteY6" fmla="*/ 46671 h 93336"/>
                  <a:gd name="connsiteX7" fmla="*/ 40002 w 80003"/>
                  <a:gd name="connsiteY7" fmla="*/ 80006 h 93336"/>
                  <a:gd name="connsiteX8" fmla="*/ 66668 w 80003"/>
                  <a:gd name="connsiteY8" fmla="*/ 46671 h 93336"/>
                  <a:gd name="connsiteX9" fmla="*/ 40002 w 80003"/>
                  <a:gd name="connsiteY9" fmla="*/ 13335 h 9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03" h="93336">
                    <a:moveTo>
                      <a:pt x="40002" y="93337"/>
                    </a:moveTo>
                    <a:cubicBezTo>
                      <a:pt x="16074" y="93337"/>
                      <a:pt x="0" y="74583"/>
                      <a:pt x="0" y="46668"/>
                    </a:cubicBezTo>
                    <a:cubicBezTo>
                      <a:pt x="0" y="18754"/>
                      <a:pt x="16074" y="0"/>
                      <a:pt x="40002" y="0"/>
                    </a:cubicBezTo>
                    <a:cubicBezTo>
                      <a:pt x="63929" y="0"/>
                      <a:pt x="80004" y="18754"/>
                      <a:pt x="80004" y="46668"/>
                    </a:cubicBezTo>
                    <a:cubicBezTo>
                      <a:pt x="80004" y="74583"/>
                      <a:pt x="63929" y="93337"/>
                      <a:pt x="40002" y="93337"/>
                    </a:cubicBezTo>
                    <a:close/>
                    <a:moveTo>
                      <a:pt x="40002" y="13335"/>
                    </a:moveTo>
                    <a:cubicBezTo>
                      <a:pt x="20339" y="13335"/>
                      <a:pt x="13335" y="30555"/>
                      <a:pt x="13335" y="46671"/>
                    </a:cubicBezTo>
                    <a:cubicBezTo>
                      <a:pt x="13335" y="62784"/>
                      <a:pt x="20341" y="80006"/>
                      <a:pt x="40002" y="80006"/>
                    </a:cubicBezTo>
                    <a:cubicBezTo>
                      <a:pt x="59665" y="80006"/>
                      <a:pt x="66668" y="62786"/>
                      <a:pt x="66668" y="46671"/>
                    </a:cubicBezTo>
                    <a:cubicBezTo>
                      <a:pt x="66668" y="30555"/>
                      <a:pt x="59665" y="13335"/>
                      <a:pt x="40002" y="13335"/>
                    </a:cubicBezTo>
                    <a:close/>
                  </a:path>
                </a:pathLst>
              </a:custGeom>
              <a:grpFill/>
              <a:ln w="205" cap="flat">
                <a:noFill/>
                <a:prstDash val="solid"/>
                <a:miter/>
              </a:ln>
            </p:spPr>
            <p:txBody>
              <a:bodyPr rtlCol="0" anchor="ctr"/>
              <a:lstStyle/>
              <a:p>
                <a:endParaRPr lang="en-GB" dirty="0"/>
              </a:p>
            </p:txBody>
          </p:sp>
          <p:sp>
            <p:nvSpPr>
              <p:cNvPr id="404" name="Freihandform: Form 403">
                <a:extLst>
                  <a:ext uri="{FF2B5EF4-FFF2-40B4-BE49-F238E27FC236}">
                    <a16:creationId xmlns:a16="http://schemas.microsoft.com/office/drawing/2014/main" id="{B291D512-D555-4A10-BCCA-6A8379F574A9}"/>
                  </a:ext>
                </a:extLst>
              </p:cNvPr>
              <p:cNvSpPr/>
              <p:nvPr/>
            </p:nvSpPr>
            <p:spPr>
              <a:xfrm>
                <a:off x="844852" y="1986776"/>
                <a:ext cx="160003" cy="79995"/>
              </a:xfrm>
              <a:custGeom>
                <a:avLst/>
                <a:gdLst>
                  <a:gd name="connsiteX0" fmla="*/ 153339 w 160003"/>
                  <a:gd name="connsiteY0" fmla="*/ 79996 h 79995"/>
                  <a:gd name="connsiteX1" fmla="*/ 0 w 160003"/>
                  <a:gd name="connsiteY1" fmla="*/ 79996 h 79995"/>
                  <a:gd name="connsiteX2" fmla="*/ 0 w 160003"/>
                  <a:gd name="connsiteY2" fmla="*/ 73329 h 79995"/>
                  <a:gd name="connsiteX3" fmla="*/ 72469 w 160003"/>
                  <a:gd name="connsiteY3" fmla="*/ 0 h 79995"/>
                  <a:gd name="connsiteX4" fmla="*/ 114203 w 160003"/>
                  <a:gd name="connsiteY4" fmla="*/ 0 h 79995"/>
                  <a:gd name="connsiteX5" fmla="*/ 129841 w 160003"/>
                  <a:gd name="connsiteY5" fmla="*/ 2367 h 79995"/>
                  <a:gd name="connsiteX6" fmla="*/ 134303 w 160003"/>
                  <a:gd name="connsiteY6" fmla="*/ 10670 h 79995"/>
                  <a:gd name="connsiteX7" fmla="*/ 126000 w 160003"/>
                  <a:gd name="connsiteY7" fmla="*/ 15133 h 79995"/>
                  <a:gd name="connsiteX8" fmla="*/ 114203 w 160003"/>
                  <a:gd name="connsiteY8" fmla="*/ 13333 h 79995"/>
                  <a:gd name="connsiteX9" fmla="*/ 72469 w 160003"/>
                  <a:gd name="connsiteY9" fmla="*/ 13333 h 79995"/>
                  <a:gd name="connsiteX10" fmla="*/ 13714 w 160003"/>
                  <a:gd name="connsiteY10" fmla="*/ 66662 h 79995"/>
                  <a:gd name="connsiteX11" fmla="*/ 153337 w 160003"/>
                  <a:gd name="connsiteY11" fmla="*/ 66662 h 79995"/>
                  <a:gd name="connsiteX12" fmla="*/ 160003 w 160003"/>
                  <a:gd name="connsiteY12" fmla="*/ 73329 h 79995"/>
                  <a:gd name="connsiteX13" fmla="*/ 153339 w 160003"/>
                  <a:gd name="connsiteY13" fmla="*/ 79996 h 7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0003" h="79995">
                    <a:moveTo>
                      <a:pt x="153339" y="79996"/>
                    </a:moveTo>
                    <a:lnTo>
                      <a:pt x="0" y="79996"/>
                    </a:lnTo>
                    <a:lnTo>
                      <a:pt x="0" y="73329"/>
                    </a:lnTo>
                    <a:cubicBezTo>
                      <a:pt x="0" y="33582"/>
                      <a:pt x="33187" y="0"/>
                      <a:pt x="72469" y="0"/>
                    </a:cubicBezTo>
                    <a:lnTo>
                      <a:pt x="114203" y="0"/>
                    </a:lnTo>
                    <a:cubicBezTo>
                      <a:pt x="121719" y="0"/>
                      <a:pt x="123353" y="413"/>
                      <a:pt x="129841" y="2367"/>
                    </a:cubicBezTo>
                    <a:cubicBezTo>
                      <a:pt x="133366" y="3428"/>
                      <a:pt x="135364" y="7146"/>
                      <a:pt x="134303" y="10670"/>
                    </a:cubicBezTo>
                    <a:cubicBezTo>
                      <a:pt x="133242" y="14203"/>
                      <a:pt x="129528" y="16187"/>
                      <a:pt x="126000" y="15133"/>
                    </a:cubicBezTo>
                    <a:cubicBezTo>
                      <a:pt x="120242" y="13401"/>
                      <a:pt x="120016" y="13333"/>
                      <a:pt x="114203" y="13333"/>
                    </a:cubicBezTo>
                    <a:lnTo>
                      <a:pt x="72469" y="13333"/>
                    </a:lnTo>
                    <a:cubicBezTo>
                      <a:pt x="42632" y="13333"/>
                      <a:pt x="17103" y="37139"/>
                      <a:pt x="13714" y="66662"/>
                    </a:cubicBezTo>
                    <a:lnTo>
                      <a:pt x="153337" y="66662"/>
                    </a:lnTo>
                    <a:cubicBezTo>
                      <a:pt x="157018" y="66662"/>
                      <a:pt x="160003" y="69648"/>
                      <a:pt x="160003" y="73329"/>
                    </a:cubicBezTo>
                    <a:cubicBezTo>
                      <a:pt x="160003" y="77010"/>
                      <a:pt x="157020" y="79996"/>
                      <a:pt x="153339" y="79996"/>
                    </a:cubicBezTo>
                    <a:close/>
                  </a:path>
                </a:pathLst>
              </a:custGeom>
              <a:grpFill/>
              <a:ln w="205" cap="flat">
                <a:noFill/>
                <a:prstDash val="solid"/>
                <a:miter/>
              </a:ln>
            </p:spPr>
            <p:txBody>
              <a:bodyPr rtlCol="0" anchor="ctr"/>
              <a:lstStyle/>
              <a:p>
                <a:endParaRPr lang="en-GB" dirty="0"/>
              </a:p>
            </p:txBody>
          </p:sp>
          <p:sp>
            <p:nvSpPr>
              <p:cNvPr id="405" name="Freihandform: Form 404">
                <a:extLst>
                  <a:ext uri="{FF2B5EF4-FFF2-40B4-BE49-F238E27FC236}">
                    <a16:creationId xmlns:a16="http://schemas.microsoft.com/office/drawing/2014/main" id="{28575FE4-BCCC-4DEB-8D8D-35B425ED4D70}"/>
                  </a:ext>
                </a:extLst>
              </p:cNvPr>
              <p:cNvSpPr/>
              <p:nvPr/>
            </p:nvSpPr>
            <p:spPr>
              <a:xfrm>
                <a:off x="898187" y="1880106"/>
                <a:ext cx="80003" cy="93336"/>
              </a:xfrm>
              <a:custGeom>
                <a:avLst/>
                <a:gdLst>
                  <a:gd name="connsiteX0" fmla="*/ 40002 w 80003"/>
                  <a:gd name="connsiteY0" fmla="*/ 93337 h 93336"/>
                  <a:gd name="connsiteX1" fmla="*/ 0 w 80003"/>
                  <a:gd name="connsiteY1" fmla="*/ 46668 h 93336"/>
                  <a:gd name="connsiteX2" fmla="*/ 40002 w 80003"/>
                  <a:gd name="connsiteY2" fmla="*/ 0 h 93336"/>
                  <a:gd name="connsiteX3" fmla="*/ 80004 w 80003"/>
                  <a:gd name="connsiteY3" fmla="*/ 46668 h 93336"/>
                  <a:gd name="connsiteX4" fmla="*/ 40002 w 80003"/>
                  <a:gd name="connsiteY4" fmla="*/ 93337 h 93336"/>
                  <a:gd name="connsiteX5" fmla="*/ 40002 w 80003"/>
                  <a:gd name="connsiteY5" fmla="*/ 13335 h 93336"/>
                  <a:gd name="connsiteX6" fmla="*/ 13335 w 80003"/>
                  <a:gd name="connsiteY6" fmla="*/ 46671 h 93336"/>
                  <a:gd name="connsiteX7" fmla="*/ 40002 w 80003"/>
                  <a:gd name="connsiteY7" fmla="*/ 80006 h 93336"/>
                  <a:gd name="connsiteX8" fmla="*/ 66668 w 80003"/>
                  <a:gd name="connsiteY8" fmla="*/ 46671 h 93336"/>
                  <a:gd name="connsiteX9" fmla="*/ 40002 w 80003"/>
                  <a:gd name="connsiteY9" fmla="*/ 13335 h 9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03" h="93336">
                    <a:moveTo>
                      <a:pt x="40002" y="93337"/>
                    </a:moveTo>
                    <a:cubicBezTo>
                      <a:pt x="16074" y="93337"/>
                      <a:pt x="0" y="74583"/>
                      <a:pt x="0" y="46668"/>
                    </a:cubicBezTo>
                    <a:cubicBezTo>
                      <a:pt x="0" y="18754"/>
                      <a:pt x="16074" y="0"/>
                      <a:pt x="40002" y="0"/>
                    </a:cubicBezTo>
                    <a:cubicBezTo>
                      <a:pt x="63929" y="0"/>
                      <a:pt x="80004" y="18754"/>
                      <a:pt x="80004" y="46668"/>
                    </a:cubicBezTo>
                    <a:cubicBezTo>
                      <a:pt x="80004" y="74583"/>
                      <a:pt x="63927" y="93337"/>
                      <a:pt x="40002" y="93337"/>
                    </a:cubicBezTo>
                    <a:close/>
                    <a:moveTo>
                      <a:pt x="40002" y="13335"/>
                    </a:moveTo>
                    <a:cubicBezTo>
                      <a:pt x="20339" y="13335"/>
                      <a:pt x="13335" y="30555"/>
                      <a:pt x="13335" y="46671"/>
                    </a:cubicBezTo>
                    <a:cubicBezTo>
                      <a:pt x="13335" y="62784"/>
                      <a:pt x="20341" y="80006"/>
                      <a:pt x="40002" y="80006"/>
                    </a:cubicBezTo>
                    <a:cubicBezTo>
                      <a:pt x="59662" y="80006"/>
                      <a:pt x="66668" y="62786"/>
                      <a:pt x="66668" y="46671"/>
                    </a:cubicBezTo>
                    <a:cubicBezTo>
                      <a:pt x="66668" y="30555"/>
                      <a:pt x="59665" y="13335"/>
                      <a:pt x="40002" y="13335"/>
                    </a:cubicBezTo>
                    <a:close/>
                  </a:path>
                </a:pathLst>
              </a:custGeom>
              <a:grpFill/>
              <a:ln w="205" cap="flat">
                <a:noFill/>
                <a:prstDash val="solid"/>
                <a:miter/>
              </a:ln>
            </p:spPr>
            <p:txBody>
              <a:bodyPr rtlCol="0" anchor="ctr"/>
              <a:lstStyle/>
              <a:p>
                <a:endParaRPr lang="en-GB" dirty="0"/>
              </a:p>
            </p:txBody>
          </p:sp>
        </p:grpSp>
      </p:grpSp>
      <p:sp>
        <p:nvSpPr>
          <p:cNvPr id="412" name="TextBox 1397">
            <a:extLst>
              <a:ext uri="{FF2B5EF4-FFF2-40B4-BE49-F238E27FC236}">
                <a16:creationId xmlns:a16="http://schemas.microsoft.com/office/drawing/2014/main" id="{65DDC44C-C76F-48B3-AEA8-0CE13BD1E4DE}"/>
              </a:ext>
            </a:extLst>
          </p:cNvPr>
          <p:cNvSpPr txBox="1"/>
          <p:nvPr/>
        </p:nvSpPr>
        <p:spPr>
          <a:xfrm>
            <a:off x="562417" y="2077494"/>
            <a:ext cx="463267" cy="215444"/>
          </a:xfrm>
          <a:prstGeom prst="rect">
            <a:avLst/>
          </a:prstGeom>
          <a:noFill/>
          <a:effectLst/>
        </p:spPr>
        <p:txBody>
          <a:bodyPr wrap="none" lIns="0" tIns="0" rIns="0" bIns="0" rtlCol="0" anchor="t">
            <a:spAutoFit/>
          </a:bodyPr>
          <a:lstStyle/>
          <a:p>
            <a:pPr algn="ctr"/>
            <a:r>
              <a:rPr lang="en-GB" sz="700" dirty="0">
                <a:solidFill>
                  <a:schemeClr val="tx2"/>
                </a:solidFill>
              </a:rPr>
              <a:t>Aggregated</a:t>
            </a:r>
            <a:br>
              <a:rPr lang="en-GB" sz="700" dirty="0">
                <a:solidFill>
                  <a:schemeClr val="tx2"/>
                </a:solidFill>
              </a:rPr>
            </a:br>
            <a:r>
              <a:rPr lang="en-GB" sz="700" dirty="0">
                <a:solidFill>
                  <a:schemeClr val="tx2"/>
                </a:solidFill>
              </a:rPr>
              <a:t>marketing</a:t>
            </a:r>
          </a:p>
        </p:txBody>
      </p:sp>
      <p:grpSp>
        <p:nvGrpSpPr>
          <p:cNvPr id="40" name="Group 39">
            <a:extLst>
              <a:ext uri="{FF2B5EF4-FFF2-40B4-BE49-F238E27FC236}">
                <a16:creationId xmlns:a16="http://schemas.microsoft.com/office/drawing/2014/main" id="{9189C63E-E5E4-C941-E2F0-FA286FE88B9A}"/>
              </a:ext>
            </a:extLst>
          </p:cNvPr>
          <p:cNvGrpSpPr/>
          <p:nvPr/>
        </p:nvGrpSpPr>
        <p:grpSpPr>
          <a:xfrm>
            <a:off x="3688177" y="1626716"/>
            <a:ext cx="484348" cy="432000"/>
            <a:chOff x="3688177" y="1626716"/>
            <a:chExt cx="484348" cy="432000"/>
          </a:xfrm>
        </p:grpSpPr>
        <p:grpSp>
          <p:nvGrpSpPr>
            <p:cNvPr id="414" name="Grafik 348">
              <a:extLst>
                <a:ext uri="{FF2B5EF4-FFF2-40B4-BE49-F238E27FC236}">
                  <a16:creationId xmlns:a16="http://schemas.microsoft.com/office/drawing/2014/main" id="{DFF56C88-6183-45E9-88C4-9BADE602FA4A}"/>
                </a:ext>
              </a:extLst>
            </p:cNvPr>
            <p:cNvGrpSpPr/>
            <p:nvPr/>
          </p:nvGrpSpPr>
          <p:grpSpPr>
            <a:xfrm>
              <a:off x="3740527" y="1626716"/>
              <a:ext cx="431998" cy="432000"/>
              <a:chOff x="3404926" y="1626760"/>
              <a:chExt cx="440014" cy="440016"/>
            </a:xfrm>
            <a:solidFill>
              <a:schemeClr val="tx2"/>
            </a:solidFill>
          </p:grpSpPr>
          <p:sp>
            <p:nvSpPr>
              <p:cNvPr id="426" name="Freihandform: Form 425">
                <a:extLst>
                  <a:ext uri="{FF2B5EF4-FFF2-40B4-BE49-F238E27FC236}">
                    <a16:creationId xmlns:a16="http://schemas.microsoft.com/office/drawing/2014/main" id="{484A056D-B4D0-412A-AE58-A0C526098C64}"/>
                  </a:ext>
                </a:extLst>
              </p:cNvPr>
              <p:cNvSpPr/>
              <p:nvPr/>
            </p:nvSpPr>
            <p:spPr>
              <a:xfrm>
                <a:off x="3591600" y="1693428"/>
                <a:ext cx="93337" cy="13333"/>
              </a:xfrm>
              <a:custGeom>
                <a:avLst/>
                <a:gdLst>
                  <a:gd name="connsiteX0" fmla="*/ 86674 w 93337"/>
                  <a:gd name="connsiteY0" fmla="*/ 13333 h 13333"/>
                  <a:gd name="connsiteX1" fmla="*/ 6663 w 93337"/>
                  <a:gd name="connsiteY1" fmla="*/ 13333 h 13333"/>
                  <a:gd name="connsiteX2" fmla="*/ 0 w 93337"/>
                  <a:gd name="connsiteY2" fmla="*/ 6667 h 13333"/>
                  <a:gd name="connsiteX3" fmla="*/ 6663 w 93337"/>
                  <a:gd name="connsiteY3" fmla="*/ 0 h 13333"/>
                  <a:gd name="connsiteX4" fmla="*/ 86674 w 93337"/>
                  <a:gd name="connsiteY4" fmla="*/ 0 h 13333"/>
                  <a:gd name="connsiteX5" fmla="*/ 93337 w 93337"/>
                  <a:gd name="connsiteY5" fmla="*/ 6667 h 13333"/>
                  <a:gd name="connsiteX6" fmla="*/ 86674 w 93337"/>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337" h="13333">
                    <a:moveTo>
                      <a:pt x="86674" y="13333"/>
                    </a:moveTo>
                    <a:lnTo>
                      <a:pt x="6663" y="13333"/>
                    </a:lnTo>
                    <a:cubicBezTo>
                      <a:pt x="2982" y="13333"/>
                      <a:pt x="0" y="10347"/>
                      <a:pt x="0" y="6667"/>
                    </a:cubicBezTo>
                    <a:cubicBezTo>
                      <a:pt x="0" y="2986"/>
                      <a:pt x="2982" y="0"/>
                      <a:pt x="6663" y="0"/>
                    </a:cubicBezTo>
                    <a:lnTo>
                      <a:pt x="86674" y="0"/>
                    </a:lnTo>
                    <a:cubicBezTo>
                      <a:pt x="90355" y="0"/>
                      <a:pt x="93337" y="2986"/>
                      <a:pt x="93337" y="6667"/>
                    </a:cubicBezTo>
                    <a:cubicBezTo>
                      <a:pt x="93337" y="10350"/>
                      <a:pt x="90355" y="13333"/>
                      <a:pt x="86674" y="13333"/>
                    </a:cubicBezTo>
                    <a:close/>
                  </a:path>
                </a:pathLst>
              </a:custGeom>
              <a:grpFill/>
              <a:ln w="205" cap="flat">
                <a:noFill/>
                <a:prstDash val="solid"/>
                <a:miter/>
              </a:ln>
            </p:spPr>
            <p:txBody>
              <a:bodyPr rtlCol="0" anchor="ctr"/>
              <a:lstStyle/>
              <a:p>
                <a:endParaRPr lang="en-GB" dirty="0"/>
              </a:p>
            </p:txBody>
          </p:sp>
          <p:sp>
            <p:nvSpPr>
              <p:cNvPr id="427" name="Freihandform: Form 426">
                <a:extLst>
                  <a:ext uri="{FF2B5EF4-FFF2-40B4-BE49-F238E27FC236}">
                    <a16:creationId xmlns:a16="http://schemas.microsoft.com/office/drawing/2014/main" id="{568C7DA7-C7AA-4AEF-8DAA-2340BDCC81E2}"/>
                  </a:ext>
                </a:extLst>
              </p:cNvPr>
              <p:cNvSpPr/>
              <p:nvPr/>
            </p:nvSpPr>
            <p:spPr>
              <a:xfrm>
                <a:off x="3631595" y="1733430"/>
                <a:ext cx="53341" cy="13333"/>
              </a:xfrm>
              <a:custGeom>
                <a:avLst/>
                <a:gdLst>
                  <a:gd name="connsiteX0" fmla="*/ 46679 w 53341"/>
                  <a:gd name="connsiteY0" fmla="*/ 13333 h 13333"/>
                  <a:gd name="connsiteX1" fmla="*/ 6663 w 53341"/>
                  <a:gd name="connsiteY1" fmla="*/ 13333 h 13333"/>
                  <a:gd name="connsiteX2" fmla="*/ 0 w 53341"/>
                  <a:gd name="connsiteY2" fmla="*/ 6667 h 13333"/>
                  <a:gd name="connsiteX3" fmla="*/ 6663 w 53341"/>
                  <a:gd name="connsiteY3" fmla="*/ 0 h 13333"/>
                  <a:gd name="connsiteX4" fmla="*/ 46679 w 53341"/>
                  <a:gd name="connsiteY4" fmla="*/ 0 h 13333"/>
                  <a:gd name="connsiteX5" fmla="*/ 53341 w 53341"/>
                  <a:gd name="connsiteY5" fmla="*/ 6667 h 13333"/>
                  <a:gd name="connsiteX6" fmla="*/ 46679 w 53341"/>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1" h="13333">
                    <a:moveTo>
                      <a:pt x="46679" y="13333"/>
                    </a:moveTo>
                    <a:lnTo>
                      <a:pt x="6663" y="13333"/>
                    </a:lnTo>
                    <a:cubicBezTo>
                      <a:pt x="2982" y="13333"/>
                      <a:pt x="0" y="10347"/>
                      <a:pt x="0" y="6667"/>
                    </a:cubicBezTo>
                    <a:cubicBezTo>
                      <a:pt x="0" y="2986"/>
                      <a:pt x="2982" y="0"/>
                      <a:pt x="6663" y="0"/>
                    </a:cubicBezTo>
                    <a:lnTo>
                      <a:pt x="46679" y="0"/>
                    </a:lnTo>
                    <a:cubicBezTo>
                      <a:pt x="50360" y="0"/>
                      <a:pt x="53341" y="2986"/>
                      <a:pt x="53341" y="6667"/>
                    </a:cubicBezTo>
                    <a:cubicBezTo>
                      <a:pt x="53341" y="10347"/>
                      <a:pt x="50360" y="13333"/>
                      <a:pt x="46679" y="13333"/>
                    </a:cubicBezTo>
                    <a:close/>
                  </a:path>
                </a:pathLst>
              </a:custGeom>
              <a:grpFill/>
              <a:ln w="205" cap="flat">
                <a:noFill/>
                <a:prstDash val="solid"/>
                <a:miter/>
              </a:ln>
            </p:spPr>
            <p:txBody>
              <a:bodyPr rtlCol="0" anchor="ctr"/>
              <a:lstStyle/>
              <a:p>
                <a:endParaRPr lang="en-GB" dirty="0"/>
              </a:p>
            </p:txBody>
          </p:sp>
          <p:sp>
            <p:nvSpPr>
              <p:cNvPr id="428" name="Freihandform: Form 427">
                <a:extLst>
                  <a:ext uri="{FF2B5EF4-FFF2-40B4-BE49-F238E27FC236}">
                    <a16:creationId xmlns:a16="http://schemas.microsoft.com/office/drawing/2014/main" id="{5BCE239F-C724-4A11-B6DC-A683D7177A1E}"/>
                  </a:ext>
                </a:extLst>
              </p:cNvPr>
              <p:cNvSpPr/>
              <p:nvPr/>
            </p:nvSpPr>
            <p:spPr>
              <a:xfrm>
                <a:off x="3631595" y="1773432"/>
                <a:ext cx="53341" cy="13333"/>
              </a:xfrm>
              <a:custGeom>
                <a:avLst/>
                <a:gdLst>
                  <a:gd name="connsiteX0" fmla="*/ 46679 w 53341"/>
                  <a:gd name="connsiteY0" fmla="*/ 13333 h 13333"/>
                  <a:gd name="connsiteX1" fmla="*/ 6663 w 53341"/>
                  <a:gd name="connsiteY1" fmla="*/ 13333 h 13333"/>
                  <a:gd name="connsiteX2" fmla="*/ 0 w 53341"/>
                  <a:gd name="connsiteY2" fmla="*/ 6667 h 13333"/>
                  <a:gd name="connsiteX3" fmla="*/ 6663 w 53341"/>
                  <a:gd name="connsiteY3" fmla="*/ 0 h 13333"/>
                  <a:gd name="connsiteX4" fmla="*/ 46679 w 53341"/>
                  <a:gd name="connsiteY4" fmla="*/ 0 h 13333"/>
                  <a:gd name="connsiteX5" fmla="*/ 53341 w 53341"/>
                  <a:gd name="connsiteY5" fmla="*/ 6667 h 13333"/>
                  <a:gd name="connsiteX6" fmla="*/ 46679 w 53341"/>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341" h="13333">
                    <a:moveTo>
                      <a:pt x="46679" y="13333"/>
                    </a:moveTo>
                    <a:lnTo>
                      <a:pt x="6663" y="13333"/>
                    </a:lnTo>
                    <a:cubicBezTo>
                      <a:pt x="2982" y="13333"/>
                      <a:pt x="0" y="10347"/>
                      <a:pt x="0" y="6667"/>
                    </a:cubicBezTo>
                    <a:cubicBezTo>
                      <a:pt x="0" y="2986"/>
                      <a:pt x="2982" y="0"/>
                      <a:pt x="6663" y="0"/>
                    </a:cubicBezTo>
                    <a:lnTo>
                      <a:pt x="46679" y="0"/>
                    </a:lnTo>
                    <a:cubicBezTo>
                      <a:pt x="50360" y="0"/>
                      <a:pt x="53341" y="2986"/>
                      <a:pt x="53341" y="6667"/>
                    </a:cubicBezTo>
                    <a:cubicBezTo>
                      <a:pt x="53341" y="10347"/>
                      <a:pt x="50360" y="13333"/>
                      <a:pt x="46679" y="13333"/>
                    </a:cubicBezTo>
                    <a:close/>
                  </a:path>
                </a:pathLst>
              </a:custGeom>
              <a:grpFill/>
              <a:ln w="205" cap="flat">
                <a:noFill/>
                <a:prstDash val="solid"/>
                <a:miter/>
              </a:ln>
            </p:spPr>
            <p:txBody>
              <a:bodyPr rtlCol="0" anchor="ctr"/>
              <a:lstStyle/>
              <a:p>
                <a:endParaRPr lang="en-GB" dirty="0"/>
              </a:p>
            </p:txBody>
          </p:sp>
          <p:grpSp>
            <p:nvGrpSpPr>
              <p:cNvPr id="429" name="Grafik 348">
                <a:extLst>
                  <a:ext uri="{FF2B5EF4-FFF2-40B4-BE49-F238E27FC236}">
                    <a16:creationId xmlns:a16="http://schemas.microsoft.com/office/drawing/2014/main" id="{81F0B26E-820E-4A6E-B086-9D8B5BF79329}"/>
                  </a:ext>
                </a:extLst>
              </p:cNvPr>
              <p:cNvGrpSpPr/>
              <p:nvPr/>
            </p:nvGrpSpPr>
            <p:grpSpPr>
              <a:xfrm>
                <a:off x="3404926" y="1626760"/>
                <a:ext cx="440014" cy="440016"/>
                <a:chOff x="3404926" y="1626760"/>
                <a:chExt cx="440014" cy="440016"/>
              </a:xfrm>
              <a:grpFill/>
            </p:grpSpPr>
            <p:sp>
              <p:nvSpPr>
                <p:cNvPr id="430" name="Freihandform: Form 429">
                  <a:extLst>
                    <a:ext uri="{FF2B5EF4-FFF2-40B4-BE49-F238E27FC236}">
                      <a16:creationId xmlns:a16="http://schemas.microsoft.com/office/drawing/2014/main" id="{FB18D053-0244-4AF8-BC92-78EAE3FE1C42}"/>
                    </a:ext>
                  </a:extLst>
                </p:cNvPr>
                <p:cNvSpPr/>
                <p:nvPr/>
              </p:nvSpPr>
              <p:spPr>
                <a:xfrm>
                  <a:off x="3458267" y="1980104"/>
                  <a:ext cx="226669" cy="13333"/>
                </a:xfrm>
                <a:custGeom>
                  <a:avLst/>
                  <a:gdLst>
                    <a:gd name="connsiteX0" fmla="*/ 220007 w 226669"/>
                    <a:gd name="connsiteY0" fmla="*/ 13333 h 13333"/>
                    <a:gd name="connsiteX1" fmla="*/ 6662 w 226669"/>
                    <a:gd name="connsiteY1" fmla="*/ 13333 h 13333"/>
                    <a:gd name="connsiteX2" fmla="*/ 0 w 226669"/>
                    <a:gd name="connsiteY2" fmla="*/ 6667 h 13333"/>
                    <a:gd name="connsiteX3" fmla="*/ 6662 w 226669"/>
                    <a:gd name="connsiteY3" fmla="*/ 0 h 13333"/>
                    <a:gd name="connsiteX4" fmla="*/ 220007 w 226669"/>
                    <a:gd name="connsiteY4" fmla="*/ 0 h 13333"/>
                    <a:gd name="connsiteX5" fmla="*/ 226670 w 226669"/>
                    <a:gd name="connsiteY5" fmla="*/ 6667 h 13333"/>
                    <a:gd name="connsiteX6" fmla="*/ 220007 w 226669"/>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669" h="13333">
                      <a:moveTo>
                        <a:pt x="220007" y="13333"/>
                      </a:moveTo>
                      <a:lnTo>
                        <a:pt x="6662" y="13333"/>
                      </a:lnTo>
                      <a:cubicBezTo>
                        <a:pt x="2982" y="13333"/>
                        <a:pt x="0" y="10347"/>
                        <a:pt x="0" y="6667"/>
                      </a:cubicBezTo>
                      <a:cubicBezTo>
                        <a:pt x="0" y="2986"/>
                        <a:pt x="2982" y="0"/>
                        <a:pt x="6662" y="0"/>
                      </a:cubicBezTo>
                      <a:lnTo>
                        <a:pt x="220007" y="0"/>
                      </a:lnTo>
                      <a:cubicBezTo>
                        <a:pt x="223688" y="0"/>
                        <a:pt x="226670" y="2986"/>
                        <a:pt x="226670" y="6667"/>
                      </a:cubicBezTo>
                      <a:cubicBezTo>
                        <a:pt x="226670" y="10347"/>
                        <a:pt x="223688" y="13333"/>
                        <a:pt x="220007" y="13333"/>
                      </a:cubicBezTo>
                      <a:close/>
                    </a:path>
                  </a:pathLst>
                </a:custGeom>
                <a:grpFill/>
                <a:ln w="205" cap="flat">
                  <a:noFill/>
                  <a:prstDash val="solid"/>
                  <a:miter/>
                </a:ln>
              </p:spPr>
              <p:txBody>
                <a:bodyPr rtlCol="0" anchor="ctr"/>
                <a:lstStyle/>
                <a:p>
                  <a:endParaRPr lang="en-GB" dirty="0"/>
                </a:p>
              </p:txBody>
            </p:sp>
            <p:sp>
              <p:nvSpPr>
                <p:cNvPr id="431" name="Freihandform: Form 430">
                  <a:extLst>
                    <a:ext uri="{FF2B5EF4-FFF2-40B4-BE49-F238E27FC236}">
                      <a16:creationId xmlns:a16="http://schemas.microsoft.com/office/drawing/2014/main" id="{EC6FAB43-EAB3-4CF2-8354-DFA1C29FCCE4}"/>
                    </a:ext>
                  </a:extLst>
                </p:cNvPr>
                <p:cNvSpPr/>
                <p:nvPr/>
              </p:nvSpPr>
              <p:spPr>
                <a:xfrm>
                  <a:off x="3404926" y="1626760"/>
                  <a:ext cx="440014" cy="440016"/>
                </a:xfrm>
                <a:custGeom>
                  <a:avLst/>
                  <a:gdLst>
                    <a:gd name="connsiteX0" fmla="*/ 380072 w 440014"/>
                    <a:gd name="connsiteY0" fmla="*/ 440016 h 440016"/>
                    <a:gd name="connsiteX1" fmla="*/ 376042 w 440014"/>
                    <a:gd name="connsiteY1" fmla="*/ 439887 h 440016"/>
                    <a:gd name="connsiteX2" fmla="*/ 320007 w 440014"/>
                    <a:gd name="connsiteY2" fmla="*/ 378187 h 440016"/>
                    <a:gd name="connsiteX3" fmla="*/ 320007 w 440014"/>
                    <a:gd name="connsiteY3" fmla="*/ 20000 h 440016"/>
                    <a:gd name="connsiteX4" fmla="*/ 313344 w 440014"/>
                    <a:gd name="connsiteY4" fmla="*/ 13333 h 440016"/>
                    <a:gd name="connsiteX5" fmla="*/ 20008 w 440014"/>
                    <a:gd name="connsiteY5" fmla="*/ 13333 h 440016"/>
                    <a:gd name="connsiteX6" fmla="*/ 13346 w 440014"/>
                    <a:gd name="connsiteY6" fmla="*/ 20000 h 440016"/>
                    <a:gd name="connsiteX7" fmla="*/ 13346 w 440014"/>
                    <a:gd name="connsiteY7" fmla="*/ 106668 h 440016"/>
                    <a:gd name="connsiteX8" fmla="*/ 6663 w 440014"/>
                    <a:gd name="connsiteY8" fmla="*/ 113335 h 440016"/>
                    <a:gd name="connsiteX9" fmla="*/ 0 w 440014"/>
                    <a:gd name="connsiteY9" fmla="*/ 106668 h 440016"/>
                    <a:gd name="connsiteX10" fmla="*/ 0 w 440014"/>
                    <a:gd name="connsiteY10" fmla="*/ 20000 h 440016"/>
                    <a:gd name="connsiteX11" fmla="*/ 20008 w 440014"/>
                    <a:gd name="connsiteY11" fmla="*/ 0 h 440016"/>
                    <a:gd name="connsiteX12" fmla="*/ 313344 w 440014"/>
                    <a:gd name="connsiteY12" fmla="*/ 0 h 440016"/>
                    <a:gd name="connsiteX13" fmla="*/ 333352 w 440014"/>
                    <a:gd name="connsiteY13" fmla="*/ 20000 h 440016"/>
                    <a:gd name="connsiteX14" fmla="*/ 333352 w 440014"/>
                    <a:gd name="connsiteY14" fmla="*/ 378185 h 440016"/>
                    <a:gd name="connsiteX15" fmla="*/ 376885 w 440014"/>
                    <a:gd name="connsiteY15" fmla="*/ 426578 h 440016"/>
                    <a:gd name="connsiteX16" fmla="*/ 411925 w 440014"/>
                    <a:gd name="connsiteY16" fmla="*/ 414066 h 440016"/>
                    <a:gd name="connsiteX17" fmla="*/ 426689 w 440014"/>
                    <a:gd name="connsiteY17" fmla="*/ 380013 h 440016"/>
                    <a:gd name="connsiteX18" fmla="*/ 426689 w 440014"/>
                    <a:gd name="connsiteY18" fmla="*/ 233343 h 440016"/>
                    <a:gd name="connsiteX19" fmla="*/ 420006 w 440014"/>
                    <a:gd name="connsiteY19" fmla="*/ 226676 h 440016"/>
                    <a:gd name="connsiteX20" fmla="*/ 404460 w 440014"/>
                    <a:gd name="connsiteY20" fmla="*/ 226676 h 440016"/>
                    <a:gd name="connsiteX21" fmla="*/ 397798 w 440014"/>
                    <a:gd name="connsiteY21" fmla="*/ 220009 h 440016"/>
                    <a:gd name="connsiteX22" fmla="*/ 404460 w 440014"/>
                    <a:gd name="connsiteY22" fmla="*/ 213343 h 440016"/>
                    <a:gd name="connsiteX23" fmla="*/ 420006 w 440014"/>
                    <a:gd name="connsiteY23" fmla="*/ 213343 h 440016"/>
                    <a:gd name="connsiteX24" fmla="*/ 440014 w 440014"/>
                    <a:gd name="connsiteY24" fmla="*/ 233343 h 440016"/>
                    <a:gd name="connsiteX25" fmla="*/ 440014 w 440014"/>
                    <a:gd name="connsiteY25" fmla="*/ 380013 h 440016"/>
                    <a:gd name="connsiteX26" fmla="*/ 421034 w 440014"/>
                    <a:gd name="connsiteY26" fmla="*/ 423796 h 440016"/>
                    <a:gd name="connsiteX27" fmla="*/ 380072 w 440014"/>
                    <a:gd name="connsiteY27" fmla="*/ 440016 h 44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0014" h="440016">
                      <a:moveTo>
                        <a:pt x="380072" y="440016"/>
                      </a:moveTo>
                      <a:cubicBezTo>
                        <a:pt x="378736" y="440016"/>
                        <a:pt x="377378" y="439973"/>
                        <a:pt x="376042" y="439887"/>
                      </a:cubicBezTo>
                      <a:cubicBezTo>
                        <a:pt x="344621" y="437853"/>
                        <a:pt x="320007" y="410749"/>
                        <a:pt x="320007" y="378187"/>
                      </a:cubicBezTo>
                      <a:lnTo>
                        <a:pt x="320007" y="20000"/>
                      </a:lnTo>
                      <a:cubicBezTo>
                        <a:pt x="320007" y="16325"/>
                        <a:pt x="317025" y="13333"/>
                        <a:pt x="313344" y="13333"/>
                      </a:cubicBezTo>
                      <a:lnTo>
                        <a:pt x="20008" y="13333"/>
                      </a:lnTo>
                      <a:cubicBezTo>
                        <a:pt x="16327" y="13333"/>
                        <a:pt x="13346" y="16325"/>
                        <a:pt x="13346" y="20000"/>
                      </a:cubicBezTo>
                      <a:lnTo>
                        <a:pt x="13346" y="106668"/>
                      </a:lnTo>
                      <a:cubicBezTo>
                        <a:pt x="13346" y="110349"/>
                        <a:pt x="10364" y="113335"/>
                        <a:pt x="6663" y="113335"/>
                      </a:cubicBezTo>
                      <a:cubicBezTo>
                        <a:pt x="2982" y="113335"/>
                        <a:pt x="0" y="110349"/>
                        <a:pt x="0" y="106668"/>
                      </a:cubicBezTo>
                      <a:lnTo>
                        <a:pt x="0" y="20000"/>
                      </a:lnTo>
                      <a:cubicBezTo>
                        <a:pt x="0" y="8972"/>
                        <a:pt x="8966" y="0"/>
                        <a:pt x="20008" y="0"/>
                      </a:cubicBezTo>
                      <a:lnTo>
                        <a:pt x="313344" y="0"/>
                      </a:lnTo>
                      <a:cubicBezTo>
                        <a:pt x="324366" y="0"/>
                        <a:pt x="333352" y="8972"/>
                        <a:pt x="333352" y="20000"/>
                      </a:cubicBezTo>
                      <a:lnTo>
                        <a:pt x="333352" y="378185"/>
                      </a:lnTo>
                      <a:cubicBezTo>
                        <a:pt x="333352" y="403739"/>
                        <a:pt x="352476" y="424995"/>
                        <a:pt x="376885" y="426578"/>
                      </a:cubicBezTo>
                      <a:cubicBezTo>
                        <a:pt x="390004" y="427444"/>
                        <a:pt x="402425" y="422982"/>
                        <a:pt x="411925" y="414066"/>
                      </a:cubicBezTo>
                      <a:cubicBezTo>
                        <a:pt x="421446" y="405145"/>
                        <a:pt x="426689" y="393050"/>
                        <a:pt x="426689" y="380013"/>
                      </a:cubicBezTo>
                      <a:lnTo>
                        <a:pt x="426689" y="233343"/>
                      </a:lnTo>
                      <a:cubicBezTo>
                        <a:pt x="426689" y="229668"/>
                        <a:pt x="423687" y="226676"/>
                        <a:pt x="420006" y="226676"/>
                      </a:cubicBezTo>
                      <a:lnTo>
                        <a:pt x="404460" y="226676"/>
                      </a:lnTo>
                      <a:cubicBezTo>
                        <a:pt x="400779" y="226676"/>
                        <a:pt x="397798" y="223690"/>
                        <a:pt x="397798" y="220009"/>
                      </a:cubicBezTo>
                      <a:cubicBezTo>
                        <a:pt x="397798" y="216328"/>
                        <a:pt x="400779" y="213343"/>
                        <a:pt x="404460" y="213343"/>
                      </a:cubicBezTo>
                      <a:lnTo>
                        <a:pt x="420006" y="213343"/>
                      </a:lnTo>
                      <a:cubicBezTo>
                        <a:pt x="431049" y="213343"/>
                        <a:pt x="440014" y="222314"/>
                        <a:pt x="440014" y="233343"/>
                      </a:cubicBezTo>
                      <a:lnTo>
                        <a:pt x="440014" y="380013"/>
                      </a:lnTo>
                      <a:cubicBezTo>
                        <a:pt x="440014" y="396533"/>
                        <a:pt x="433105" y="412490"/>
                        <a:pt x="421034" y="423796"/>
                      </a:cubicBezTo>
                      <a:cubicBezTo>
                        <a:pt x="409807" y="434335"/>
                        <a:pt x="395371" y="440016"/>
                        <a:pt x="380072" y="440016"/>
                      </a:cubicBezTo>
                      <a:close/>
                    </a:path>
                  </a:pathLst>
                </a:custGeom>
                <a:grpFill/>
                <a:ln w="205" cap="flat">
                  <a:noFill/>
                  <a:prstDash val="solid"/>
                  <a:miter/>
                </a:ln>
              </p:spPr>
              <p:txBody>
                <a:bodyPr rtlCol="0" anchor="ctr"/>
                <a:lstStyle/>
                <a:p>
                  <a:endParaRPr lang="en-GB" dirty="0"/>
                </a:p>
              </p:txBody>
            </p:sp>
            <p:sp>
              <p:nvSpPr>
                <p:cNvPr id="432" name="Freihandform: Form 431">
                  <a:extLst>
                    <a:ext uri="{FF2B5EF4-FFF2-40B4-BE49-F238E27FC236}">
                      <a16:creationId xmlns:a16="http://schemas.microsoft.com/office/drawing/2014/main" id="{1D1C69D1-6C2F-42C7-A6A2-5CA63D209FCE}"/>
                    </a:ext>
                  </a:extLst>
                </p:cNvPr>
                <p:cNvSpPr/>
                <p:nvPr/>
              </p:nvSpPr>
              <p:spPr>
                <a:xfrm>
                  <a:off x="3404926" y="1906766"/>
                  <a:ext cx="386673" cy="160005"/>
                </a:xfrm>
                <a:custGeom>
                  <a:avLst/>
                  <a:gdLst>
                    <a:gd name="connsiteX0" fmla="*/ 380011 w 386673"/>
                    <a:gd name="connsiteY0" fmla="*/ 160005 h 160005"/>
                    <a:gd name="connsiteX1" fmla="*/ 60004 w 386673"/>
                    <a:gd name="connsiteY1" fmla="*/ 160005 h 160005"/>
                    <a:gd name="connsiteX2" fmla="*/ 0 w 386673"/>
                    <a:gd name="connsiteY2" fmla="*/ 100004 h 160005"/>
                    <a:gd name="connsiteX3" fmla="*/ 0 w 386673"/>
                    <a:gd name="connsiteY3" fmla="*/ 6667 h 160005"/>
                    <a:gd name="connsiteX4" fmla="*/ 6663 w 386673"/>
                    <a:gd name="connsiteY4" fmla="*/ 0 h 160005"/>
                    <a:gd name="connsiteX5" fmla="*/ 13346 w 386673"/>
                    <a:gd name="connsiteY5" fmla="*/ 6667 h 160005"/>
                    <a:gd name="connsiteX6" fmla="*/ 13346 w 386673"/>
                    <a:gd name="connsiteY6" fmla="*/ 100004 h 160005"/>
                    <a:gd name="connsiteX7" fmla="*/ 60004 w 386673"/>
                    <a:gd name="connsiteY7" fmla="*/ 146672 h 160005"/>
                    <a:gd name="connsiteX8" fmla="*/ 380011 w 386673"/>
                    <a:gd name="connsiteY8" fmla="*/ 146672 h 160005"/>
                    <a:gd name="connsiteX9" fmla="*/ 386673 w 386673"/>
                    <a:gd name="connsiteY9" fmla="*/ 153339 h 160005"/>
                    <a:gd name="connsiteX10" fmla="*/ 380011 w 386673"/>
                    <a:gd name="connsiteY10" fmla="*/ 160005 h 160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6673" h="160005">
                      <a:moveTo>
                        <a:pt x="380011" y="160005"/>
                      </a:moveTo>
                      <a:lnTo>
                        <a:pt x="60004" y="160005"/>
                      </a:lnTo>
                      <a:cubicBezTo>
                        <a:pt x="26917" y="160005"/>
                        <a:pt x="0" y="133088"/>
                        <a:pt x="0" y="100004"/>
                      </a:cubicBezTo>
                      <a:lnTo>
                        <a:pt x="0" y="6667"/>
                      </a:lnTo>
                      <a:cubicBezTo>
                        <a:pt x="0" y="2986"/>
                        <a:pt x="2982" y="0"/>
                        <a:pt x="6663" y="0"/>
                      </a:cubicBezTo>
                      <a:cubicBezTo>
                        <a:pt x="10364" y="0"/>
                        <a:pt x="13346" y="2986"/>
                        <a:pt x="13346" y="6667"/>
                      </a:cubicBezTo>
                      <a:lnTo>
                        <a:pt x="13346" y="100004"/>
                      </a:lnTo>
                      <a:cubicBezTo>
                        <a:pt x="13346" y="125737"/>
                        <a:pt x="34279" y="146672"/>
                        <a:pt x="60004" y="146672"/>
                      </a:cubicBezTo>
                      <a:lnTo>
                        <a:pt x="380011" y="146672"/>
                      </a:lnTo>
                      <a:cubicBezTo>
                        <a:pt x="383691" y="146672"/>
                        <a:pt x="386673" y="149658"/>
                        <a:pt x="386673" y="153339"/>
                      </a:cubicBezTo>
                      <a:cubicBezTo>
                        <a:pt x="386673" y="157020"/>
                        <a:pt x="383691" y="160005"/>
                        <a:pt x="380011" y="160005"/>
                      </a:cubicBezTo>
                      <a:close/>
                    </a:path>
                  </a:pathLst>
                </a:custGeom>
                <a:grpFill/>
                <a:ln w="205" cap="flat">
                  <a:noFill/>
                  <a:prstDash val="solid"/>
                  <a:miter/>
                </a:ln>
              </p:spPr>
              <p:txBody>
                <a:bodyPr rtlCol="0" anchor="ctr"/>
                <a:lstStyle/>
                <a:p>
                  <a:endParaRPr lang="en-GB" dirty="0"/>
                </a:p>
              </p:txBody>
            </p:sp>
            <p:sp>
              <p:nvSpPr>
                <p:cNvPr id="433" name="Freihandform: Form 432">
                  <a:extLst>
                    <a:ext uri="{FF2B5EF4-FFF2-40B4-BE49-F238E27FC236}">
                      <a16:creationId xmlns:a16="http://schemas.microsoft.com/office/drawing/2014/main" id="{5B638DA7-0F11-4F4B-85DD-50F6F08191D0}"/>
                    </a:ext>
                  </a:extLst>
                </p:cNvPr>
                <p:cNvSpPr/>
                <p:nvPr/>
              </p:nvSpPr>
              <p:spPr>
                <a:xfrm>
                  <a:off x="3749382" y="1745283"/>
                  <a:ext cx="42216" cy="268154"/>
                </a:xfrm>
                <a:custGeom>
                  <a:avLst/>
                  <a:gdLst>
                    <a:gd name="connsiteX0" fmla="*/ 35554 w 42216"/>
                    <a:gd name="connsiteY0" fmla="*/ 268154 h 268154"/>
                    <a:gd name="connsiteX1" fmla="*/ 28891 w 42216"/>
                    <a:gd name="connsiteY1" fmla="*/ 261488 h 268154"/>
                    <a:gd name="connsiteX2" fmla="*/ 28891 w 42216"/>
                    <a:gd name="connsiteY2" fmla="*/ 20000 h 268154"/>
                    <a:gd name="connsiteX3" fmla="*/ 22229 w 42216"/>
                    <a:gd name="connsiteY3" fmla="*/ 13333 h 268154"/>
                    <a:gd name="connsiteX4" fmla="*/ 6662 w 42216"/>
                    <a:gd name="connsiteY4" fmla="*/ 13333 h 268154"/>
                    <a:gd name="connsiteX5" fmla="*/ 0 w 42216"/>
                    <a:gd name="connsiteY5" fmla="*/ 6667 h 268154"/>
                    <a:gd name="connsiteX6" fmla="*/ 6662 w 42216"/>
                    <a:gd name="connsiteY6" fmla="*/ 0 h 268154"/>
                    <a:gd name="connsiteX7" fmla="*/ 22229 w 42216"/>
                    <a:gd name="connsiteY7" fmla="*/ 0 h 268154"/>
                    <a:gd name="connsiteX8" fmla="*/ 42216 w 42216"/>
                    <a:gd name="connsiteY8" fmla="*/ 20000 h 268154"/>
                    <a:gd name="connsiteX9" fmla="*/ 42216 w 42216"/>
                    <a:gd name="connsiteY9" fmla="*/ 261488 h 268154"/>
                    <a:gd name="connsiteX10" fmla="*/ 35554 w 42216"/>
                    <a:gd name="connsiteY10" fmla="*/ 268154 h 26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16" h="268154">
                      <a:moveTo>
                        <a:pt x="35554" y="268154"/>
                      </a:moveTo>
                      <a:cubicBezTo>
                        <a:pt x="31873" y="268154"/>
                        <a:pt x="28891" y="265168"/>
                        <a:pt x="28891" y="261488"/>
                      </a:cubicBezTo>
                      <a:lnTo>
                        <a:pt x="28891" y="20000"/>
                      </a:lnTo>
                      <a:cubicBezTo>
                        <a:pt x="28891" y="16325"/>
                        <a:pt x="25910" y="13333"/>
                        <a:pt x="22229" y="13333"/>
                      </a:cubicBezTo>
                      <a:lnTo>
                        <a:pt x="6662" y="13333"/>
                      </a:lnTo>
                      <a:cubicBezTo>
                        <a:pt x="2982" y="13333"/>
                        <a:pt x="0" y="10347"/>
                        <a:pt x="0" y="6667"/>
                      </a:cubicBezTo>
                      <a:cubicBezTo>
                        <a:pt x="0" y="2986"/>
                        <a:pt x="2982" y="0"/>
                        <a:pt x="6662" y="0"/>
                      </a:cubicBezTo>
                      <a:lnTo>
                        <a:pt x="22229" y="0"/>
                      </a:lnTo>
                      <a:cubicBezTo>
                        <a:pt x="33251" y="0"/>
                        <a:pt x="42216" y="8972"/>
                        <a:pt x="42216" y="20000"/>
                      </a:cubicBezTo>
                      <a:lnTo>
                        <a:pt x="42216" y="261488"/>
                      </a:lnTo>
                      <a:cubicBezTo>
                        <a:pt x="42216" y="265170"/>
                        <a:pt x="39235" y="268154"/>
                        <a:pt x="35554" y="268154"/>
                      </a:cubicBezTo>
                      <a:close/>
                    </a:path>
                  </a:pathLst>
                </a:custGeom>
                <a:grpFill/>
                <a:ln w="205" cap="flat">
                  <a:noFill/>
                  <a:prstDash val="solid"/>
                  <a:miter/>
                </a:ln>
              </p:spPr>
              <p:txBody>
                <a:bodyPr rtlCol="0" anchor="ctr"/>
                <a:lstStyle/>
                <a:p>
                  <a:endParaRPr lang="en-GB" dirty="0"/>
                </a:p>
              </p:txBody>
            </p:sp>
            <p:sp>
              <p:nvSpPr>
                <p:cNvPr id="434" name="Freihandform: Form 433">
                  <a:extLst>
                    <a:ext uri="{FF2B5EF4-FFF2-40B4-BE49-F238E27FC236}">
                      <a16:creationId xmlns:a16="http://schemas.microsoft.com/office/drawing/2014/main" id="{52DB4ADB-CAC3-4406-8890-AC9CAFE92C6A}"/>
                    </a:ext>
                  </a:extLst>
                </p:cNvPr>
                <p:cNvSpPr/>
                <p:nvPr/>
              </p:nvSpPr>
              <p:spPr>
                <a:xfrm>
                  <a:off x="3458267" y="1820098"/>
                  <a:ext cx="226669" cy="133336"/>
                </a:xfrm>
                <a:custGeom>
                  <a:avLst/>
                  <a:gdLst>
                    <a:gd name="connsiteX0" fmla="*/ 220007 w 226669"/>
                    <a:gd name="connsiteY0" fmla="*/ 133337 h 133336"/>
                    <a:gd name="connsiteX1" fmla="*/ 6662 w 226669"/>
                    <a:gd name="connsiteY1" fmla="*/ 133337 h 133336"/>
                    <a:gd name="connsiteX2" fmla="*/ 0 w 226669"/>
                    <a:gd name="connsiteY2" fmla="*/ 126670 h 133336"/>
                    <a:gd name="connsiteX3" fmla="*/ 0 w 226669"/>
                    <a:gd name="connsiteY3" fmla="*/ 53335 h 133336"/>
                    <a:gd name="connsiteX4" fmla="*/ 6662 w 226669"/>
                    <a:gd name="connsiteY4" fmla="*/ 46669 h 133336"/>
                    <a:gd name="connsiteX5" fmla="*/ 13325 w 226669"/>
                    <a:gd name="connsiteY5" fmla="*/ 53335 h 133336"/>
                    <a:gd name="connsiteX6" fmla="*/ 13325 w 226669"/>
                    <a:gd name="connsiteY6" fmla="*/ 120004 h 133336"/>
                    <a:gd name="connsiteX7" fmla="*/ 213345 w 226669"/>
                    <a:gd name="connsiteY7" fmla="*/ 120004 h 133336"/>
                    <a:gd name="connsiteX8" fmla="*/ 213345 w 226669"/>
                    <a:gd name="connsiteY8" fmla="*/ 13333 h 133336"/>
                    <a:gd name="connsiteX9" fmla="*/ 160003 w 226669"/>
                    <a:gd name="connsiteY9" fmla="*/ 13333 h 133336"/>
                    <a:gd name="connsiteX10" fmla="*/ 153341 w 226669"/>
                    <a:gd name="connsiteY10" fmla="*/ 6667 h 133336"/>
                    <a:gd name="connsiteX11" fmla="*/ 160003 w 226669"/>
                    <a:gd name="connsiteY11" fmla="*/ 0 h 133336"/>
                    <a:gd name="connsiteX12" fmla="*/ 220007 w 226669"/>
                    <a:gd name="connsiteY12" fmla="*/ 0 h 133336"/>
                    <a:gd name="connsiteX13" fmla="*/ 226670 w 226669"/>
                    <a:gd name="connsiteY13" fmla="*/ 6667 h 133336"/>
                    <a:gd name="connsiteX14" fmla="*/ 226670 w 226669"/>
                    <a:gd name="connsiteY14" fmla="*/ 126670 h 133336"/>
                    <a:gd name="connsiteX15" fmla="*/ 220007 w 226669"/>
                    <a:gd name="connsiteY15" fmla="*/ 133337 h 13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26669" h="133336">
                      <a:moveTo>
                        <a:pt x="220007" y="133337"/>
                      </a:moveTo>
                      <a:lnTo>
                        <a:pt x="6662" y="133337"/>
                      </a:lnTo>
                      <a:cubicBezTo>
                        <a:pt x="2982" y="133337"/>
                        <a:pt x="0" y="130351"/>
                        <a:pt x="0" y="126670"/>
                      </a:cubicBezTo>
                      <a:lnTo>
                        <a:pt x="0" y="53335"/>
                      </a:lnTo>
                      <a:cubicBezTo>
                        <a:pt x="0" y="49654"/>
                        <a:pt x="2982" y="46669"/>
                        <a:pt x="6662" y="46669"/>
                      </a:cubicBezTo>
                      <a:cubicBezTo>
                        <a:pt x="10343" y="46669"/>
                        <a:pt x="13325" y="49654"/>
                        <a:pt x="13325" y="53335"/>
                      </a:cubicBezTo>
                      <a:lnTo>
                        <a:pt x="13325" y="120004"/>
                      </a:lnTo>
                      <a:lnTo>
                        <a:pt x="213345" y="120004"/>
                      </a:lnTo>
                      <a:lnTo>
                        <a:pt x="213345" y="13333"/>
                      </a:lnTo>
                      <a:lnTo>
                        <a:pt x="160003" y="13333"/>
                      </a:lnTo>
                      <a:cubicBezTo>
                        <a:pt x="156323" y="13333"/>
                        <a:pt x="153341" y="10347"/>
                        <a:pt x="153341" y="6667"/>
                      </a:cubicBezTo>
                      <a:cubicBezTo>
                        <a:pt x="153341" y="2986"/>
                        <a:pt x="156323" y="0"/>
                        <a:pt x="160003" y="0"/>
                      </a:cubicBezTo>
                      <a:lnTo>
                        <a:pt x="220007" y="0"/>
                      </a:lnTo>
                      <a:cubicBezTo>
                        <a:pt x="223688" y="0"/>
                        <a:pt x="226670" y="2986"/>
                        <a:pt x="226670" y="6667"/>
                      </a:cubicBezTo>
                      <a:lnTo>
                        <a:pt x="226670" y="126670"/>
                      </a:lnTo>
                      <a:cubicBezTo>
                        <a:pt x="226670" y="130353"/>
                        <a:pt x="223688" y="133337"/>
                        <a:pt x="220007" y="133337"/>
                      </a:cubicBezTo>
                      <a:close/>
                    </a:path>
                  </a:pathLst>
                </a:custGeom>
                <a:grpFill/>
                <a:ln w="205" cap="flat">
                  <a:noFill/>
                  <a:prstDash val="solid"/>
                  <a:miter/>
                </a:ln>
              </p:spPr>
              <p:txBody>
                <a:bodyPr rtlCol="0" anchor="ctr"/>
                <a:lstStyle/>
                <a:p>
                  <a:endParaRPr lang="en-GB" dirty="0"/>
                </a:p>
              </p:txBody>
            </p:sp>
          </p:grpSp>
        </p:grpSp>
        <p:grpSp>
          <p:nvGrpSpPr>
            <p:cNvPr id="415" name="Grafik 348">
              <a:extLst>
                <a:ext uri="{FF2B5EF4-FFF2-40B4-BE49-F238E27FC236}">
                  <a16:creationId xmlns:a16="http://schemas.microsoft.com/office/drawing/2014/main" id="{A3B4411E-068C-42D6-BA1E-4B189202AA49}"/>
                </a:ext>
              </a:extLst>
            </p:cNvPr>
            <p:cNvGrpSpPr/>
            <p:nvPr/>
          </p:nvGrpSpPr>
          <p:grpSpPr>
            <a:xfrm>
              <a:off x="3688177" y="1711809"/>
              <a:ext cx="248725" cy="175612"/>
              <a:chOff x="3351605" y="1713432"/>
              <a:chExt cx="253340" cy="178871"/>
            </a:xfrm>
            <a:solidFill>
              <a:schemeClr val="accent1"/>
            </a:solidFill>
          </p:grpSpPr>
          <p:grpSp>
            <p:nvGrpSpPr>
              <p:cNvPr id="416" name="Grafik 348">
                <a:extLst>
                  <a:ext uri="{FF2B5EF4-FFF2-40B4-BE49-F238E27FC236}">
                    <a16:creationId xmlns:a16="http://schemas.microsoft.com/office/drawing/2014/main" id="{EB6EB9E8-5E0D-447F-A35D-A337656C955F}"/>
                  </a:ext>
                </a:extLst>
              </p:cNvPr>
              <p:cNvGrpSpPr/>
              <p:nvPr/>
            </p:nvGrpSpPr>
            <p:grpSpPr>
              <a:xfrm>
                <a:off x="3351605" y="1713432"/>
                <a:ext cx="246667" cy="178871"/>
                <a:chOff x="3351605" y="1713432"/>
                <a:chExt cx="246667" cy="178871"/>
              </a:xfrm>
              <a:solidFill>
                <a:schemeClr val="accent1"/>
              </a:solidFill>
            </p:grpSpPr>
            <p:sp>
              <p:nvSpPr>
                <p:cNvPr id="418" name="Freihandform: Form 417">
                  <a:extLst>
                    <a:ext uri="{FF2B5EF4-FFF2-40B4-BE49-F238E27FC236}">
                      <a16:creationId xmlns:a16="http://schemas.microsoft.com/office/drawing/2014/main" id="{7B62BB19-F563-4125-9F29-692C8D91FB45}"/>
                    </a:ext>
                  </a:extLst>
                </p:cNvPr>
                <p:cNvSpPr/>
                <p:nvPr/>
              </p:nvSpPr>
              <p:spPr>
                <a:xfrm>
                  <a:off x="3351605" y="1766763"/>
                  <a:ext cx="13325" cy="60001"/>
                </a:xfrm>
                <a:custGeom>
                  <a:avLst/>
                  <a:gdLst>
                    <a:gd name="connsiteX0" fmla="*/ 6663 w 13325"/>
                    <a:gd name="connsiteY0" fmla="*/ 60002 h 60001"/>
                    <a:gd name="connsiteX1" fmla="*/ 0 w 13325"/>
                    <a:gd name="connsiteY1" fmla="*/ 53335 h 60001"/>
                    <a:gd name="connsiteX2" fmla="*/ 0 w 13325"/>
                    <a:gd name="connsiteY2" fmla="*/ 6667 h 60001"/>
                    <a:gd name="connsiteX3" fmla="*/ 6663 w 13325"/>
                    <a:gd name="connsiteY3" fmla="*/ 0 h 60001"/>
                    <a:gd name="connsiteX4" fmla="*/ 13325 w 13325"/>
                    <a:gd name="connsiteY4" fmla="*/ 6667 h 60001"/>
                    <a:gd name="connsiteX5" fmla="*/ 13325 w 13325"/>
                    <a:gd name="connsiteY5" fmla="*/ 53335 h 60001"/>
                    <a:gd name="connsiteX6" fmla="*/ 6663 w 13325"/>
                    <a:gd name="connsiteY6" fmla="*/ 60002 h 6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5" h="60001">
                      <a:moveTo>
                        <a:pt x="6663" y="60002"/>
                      </a:moveTo>
                      <a:cubicBezTo>
                        <a:pt x="2982" y="60002"/>
                        <a:pt x="0" y="57016"/>
                        <a:pt x="0" y="53335"/>
                      </a:cubicBezTo>
                      <a:lnTo>
                        <a:pt x="0" y="6667"/>
                      </a:lnTo>
                      <a:cubicBezTo>
                        <a:pt x="0" y="2986"/>
                        <a:pt x="2982" y="0"/>
                        <a:pt x="6663" y="0"/>
                      </a:cubicBezTo>
                      <a:cubicBezTo>
                        <a:pt x="10343" y="0"/>
                        <a:pt x="13325" y="2986"/>
                        <a:pt x="13325" y="6667"/>
                      </a:cubicBezTo>
                      <a:lnTo>
                        <a:pt x="13325" y="53335"/>
                      </a:lnTo>
                      <a:cubicBezTo>
                        <a:pt x="13325" y="57018"/>
                        <a:pt x="10343" y="60002"/>
                        <a:pt x="6663" y="60002"/>
                      </a:cubicBezTo>
                      <a:close/>
                    </a:path>
                  </a:pathLst>
                </a:custGeom>
                <a:solidFill>
                  <a:schemeClr val="accent1"/>
                </a:solidFill>
                <a:ln w="205" cap="flat">
                  <a:noFill/>
                  <a:prstDash val="solid"/>
                  <a:miter/>
                </a:ln>
              </p:spPr>
              <p:txBody>
                <a:bodyPr rtlCol="0" anchor="ctr"/>
                <a:lstStyle/>
                <a:p>
                  <a:endParaRPr lang="en-GB" dirty="0"/>
                </a:p>
              </p:txBody>
            </p:sp>
            <p:grpSp>
              <p:nvGrpSpPr>
                <p:cNvPr id="419" name="Grafik 348">
                  <a:extLst>
                    <a:ext uri="{FF2B5EF4-FFF2-40B4-BE49-F238E27FC236}">
                      <a16:creationId xmlns:a16="http://schemas.microsoft.com/office/drawing/2014/main" id="{5438EE20-1D39-46E8-AB26-FA68F439F819}"/>
                    </a:ext>
                  </a:extLst>
                </p:cNvPr>
                <p:cNvGrpSpPr/>
                <p:nvPr/>
              </p:nvGrpSpPr>
              <p:grpSpPr>
                <a:xfrm>
                  <a:off x="3378255" y="1713432"/>
                  <a:ext cx="220017" cy="178871"/>
                  <a:chOff x="3378255" y="1713432"/>
                  <a:chExt cx="220017" cy="178871"/>
                </a:xfrm>
                <a:solidFill>
                  <a:schemeClr val="accent1"/>
                </a:solidFill>
              </p:grpSpPr>
              <p:sp>
                <p:nvSpPr>
                  <p:cNvPr id="420" name="Freihandform: Form 419">
                    <a:extLst>
                      <a:ext uri="{FF2B5EF4-FFF2-40B4-BE49-F238E27FC236}">
                        <a16:creationId xmlns:a16="http://schemas.microsoft.com/office/drawing/2014/main" id="{49D86199-1D1A-4A47-B36B-BEE85F6AF01D}"/>
                      </a:ext>
                    </a:extLst>
                  </p:cNvPr>
                  <p:cNvSpPr/>
                  <p:nvPr/>
                </p:nvSpPr>
                <p:spPr>
                  <a:xfrm>
                    <a:off x="3378255" y="1753430"/>
                    <a:ext cx="67078" cy="86668"/>
                  </a:xfrm>
                  <a:custGeom>
                    <a:avLst/>
                    <a:gdLst>
                      <a:gd name="connsiteX0" fmla="*/ 59778 w 67078"/>
                      <a:gd name="connsiteY0" fmla="*/ 86668 h 86668"/>
                      <a:gd name="connsiteX1" fmla="*/ 59757 w 67078"/>
                      <a:gd name="connsiteY1" fmla="*/ 86668 h 86668"/>
                      <a:gd name="connsiteX2" fmla="*/ 6642 w 67078"/>
                      <a:gd name="connsiteY2" fmla="*/ 86483 h 86668"/>
                      <a:gd name="connsiteX3" fmla="*/ 0 w 67078"/>
                      <a:gd name="connsiteY3" fmla="*/ 79817 h 86668"/>
                      <a:gd name="connsiteX4" fmla="*/ 0 w 67078"/>
                      <a:gd name="connsiteY4" fmla="*/ 6667 h 86668"/>
                      <a:gd name="connsiteX5" fmla="*/ 6663 w 67078"/>
                      <a:gd name="connsiteY5" fmla="*/ 0 h 86668"/>
                      <a:gd name="connsiteX6" fmla="*/ 60415 w 67078"/>
                      <a:gd name="connsiteY6" fmla="*/ 0 h 86668"/>
                      <a:gd name="connsiteX7" fmla="*/ 65145 w 67078"/>
                      <a:gd name="connsiteY7" fmla="*/ 1972 h 86668"/>
                      <a:gd name="connsiteX8" fmla="*/ 67078 w 67078"/>
                      <a:gd name="connsiteY8" fmla="*/ 6724 h 86668"/>
                      <a:gd name="connsiteX9" fmla="*/ 66461 w 67078"/>
                      <a:gd name="connsiteY9" fmla="*/ 80059 h 86668"/>
                      <a:gd name="connsiteX10" fmla="*/ 59778 w 67078"/>
                      <a:gd name="connsiteY10" fmla="*/ 86668 h 86668"/>
                      <a:gd name="connsiteX11" fmla="*/ 13346 w 67078"/>
                      <a:gd name="connsiteY11" fmla="*/ 73173 h 86668"/>
                      <a:gd name="connsiteX12" fmla="*/ 53177 w 67078"/>
                      <a:gd name="connsiteY12" fmla="*/ 73312 h 86668"/>
                      <a:gd name="connsiteX13" fmla="*/ 53691 w 67078"/>
                      <a:gd name="connsiteY13" fmla="*/ 13333 h 86668"/>
                      <a:gd name="connsiteX14" fmla="*/ 13346 w 67078"/>
                      <a:gd name="connsiteY14" fmla="*/ 13333 h 86668"/>
                      <a:gd name="connsiteX15" fmla="*/ 13346 w 67078"/>
                      <a:gd name="connsiteY15" fmla="*/ 73173 h 8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078" h="86668">
                        <a:moveTo>
                          <a:pt x="59778" y="86668"/>
                        </a:moveTo>
                        <a:cubicBezTo>
                          <a:pt x="59778" y="86668"/>
                          <a:pt x="59778" y="86668"/>
                          <a:pt x="59757" y="86668"/>
                        </a:cubicBezTo>
                        <a:lnTo>
                          <a:pt x="6642" y="86483"/>
                        </a:lnTo>
                        <a:cubicBezTo>
                          <a:pt x="2982" y="86471"/>
                          <a:pt x="0" y="83489"/>
                          <a:pt x="0" y="79817"/>
                        </a:cubicBezTo>
                        <a:lnTo>
                          <a:pt x="0" y="6667"/>
                        </a:lnTo>
                        <a:cubicBezTo>
                          <a:pt x="0" y="2986"/>
                          <a:pt x="2982" y="0"/>
                          <a:pt x="6663" y="0"/>
                        </a:cubicBezTo>
                        <a:lnTo>
                          <a:pt x="60415" y="0"/>
                        </a:lnTo>
                        <a:cubicBezTo>
                          <a:pt x="62184" y="0"/>
                          <a:pt x="63890" y="709"/>
                          <a:pt x="65145" y="1972"/>
                        </a:cubicBezTo>
                        <a:cubicBezTo>
                          <a:pt x="66399" y="3235"/>
                          <a:pt x="67098" y="4943"/>
                          <a:pt x="67078" y="6724"/>
                        </a:cubicBezTo>
                        <a:lnTo>
                          <a:pt x="66461" y="80059"/>
                        </a:lnTo>
                        <a:cubicBezTo>
                          <a:pt x="66420" y="83720"/>
                          <a:pt x="63438" y="86668"/>
                          <a:pt x="59778" y="86668"/>
                        </a:cubicBezTo>
                        <a:close/>
                        <a:moveTo>
                          <a:pt x="13346" y="73173"/>
                        </a:moveTo>
                        <a:lnTo>
                          <a:pt x="53177" y="73312"/>
                        </a:lnTo>
                        <a:lnTo>
                          <a:pt x="53691" y="13333"/>
                        </a:lnTo>
                        <a:lnTo>
                          <a:pt x="13346" y="13333"/>
                        </a:lnTo>
                        <a:lnTo>
                          <a:pt x="13346" y="73173"/>
                        </a:lnTo>
                        <a:close/>
                      </a:path>
                    </a:pathLst>
                  </a:custGeom>
                  <a:solidFill>
                    <a:schemeClr val="accent1"/>
                  </a:solidFill>
                  <a:ln w="205" cap="flat">
                    <a:noFill/>
                    <a:prstDash val="solid"/>
                    <a:miter/>
                  </a:ln>
                </p:spPr>
                <p:txBody>
                  <a:bodyPr rtlCol="0" anchor="ctr"/>
                  <a:lstStyle/>
                  <a:p>
                    <a:endParaRPr lang="en-GB" dirty="0"/>
                  </a:p>
                </p:txBody>
              </p:sp>
              <p:sp>
                <p:nvSpPr>
                  <p:cNvPr id="421" name="Freihandform: Form 420">
                    <a:extLst>
                      <a:ext uri="{FF2B5EF4-FFF2-40B4-BE49-F238E27FC236}">
                        <a16:creationId xmlns:a16="http://schemas.microsoft.com/office/drawing/2014/main" id="{6FD8344A-3407-47AE-BA3C-586D3AF21000}"/>
                      </a:ext>
                    </a:extLst>
                  </p:cNvPr>
                  <p:cNvSpPr/>
                  <p:nvPr/>
                </p:nvSpPr>
                <p:spPr>
                  <a:xfrm>
                    <a:off x="3431370" y="1713432"/>
                    <a:ext cx="120233" cy="160001"/>
                  </a:xfrm>
                  <a:custGeom>
                    <a:avLst/>
                    <a:gdLst>
                      <a:gd name="connsiteX0" fmla="*/ 113571 w 120233"/>
                      <a:gd name="connsiteY0" fmla="*/ 160001 h 160001"/>
                      <a:gd name="connsiteX1" fmla="*/ 111597 w 120233"/>
                      <a:gd name="connsiteY1" fmla="*/ 159705 h 160001"/>
                      <a:gd name="connsiteX2" fmla="*/ 4709 w 120233"/>
                      <a:gd name="connsiteY2" fmla="*/ 126641 h 160001"/>
                      <a:gd name="connsiteX3" fmla="*/ 0 w 120233"/>
                      <a:gd name="connsiteY3" fmla="*/ 120211 h 160001"/>
                      <a:gd name="connsiteX4" fmla="*/ 638 w 120233"/>
                      <a:gd name="connsiteY4" fmla="*/ 46588 h 160001"/>
                      <a:gd name="connsiteX5" fmla="*/ 4956 w 120233"/>
                      <a:gd name="connsiteY5" fmla="*/ 40407 h 160001"/>
                      <a:gd name="connsiteX6" fmla="*/ 111207 w 120233"/>
                      <a:gd name="connsiteY6" fmla="*/ 421 h 160001"/>
                      <a:gd name="connsiteX7" fmla="*/ 117355 w 120233"/>
                      <a:gd name="connsiteY7" fmla="*/ 1180 h 160001"/>
                      <a:gd name="connsiteX8" fmla="*/ 120234 w 120233"/>
                      <a:gd name="connsiteY8" fmla="*/ 6662 h 160001"/>
                      <a:gd name="connsiteX9" fmla="*/ 120234 w 120233"/>
                      <a:gd name="connsiteY9" fmla="*/ 153332 h 160001"/>
                      <a:gd name="connsiteX10" fmla="*/ 117520 w 120233"/>
                      <a:gd name="connsiteY10" fmla="*/ 158697 h 160001"/>
                      <a:gd name="connsiteX11" fmla="*/ 113571 w 120233"/>
                      <a:gd name="connsiteY11" fmla="*/ 160001 h 160001"/>
                      <a:gd name="connsiteX12" fmla="*/ 13387 w 120233"/>
                      <a:gd name="connsiteY12" fmla="*/ 115368 h 160001"/>
                      <a:gd name="connsiteX13" fmla="*/ 106888 w 120233"/>
                      <a:gd name="connsiteY13" fmla="*/ 144295 h 160001"/>
                      <a:gd name="connsiteX14" fmla="*/ 106888 w 120233"/>
                      <a:gd name="connsiteY14" fmla="*/ 16296 h 160001"/>
                      <a:gd name="connsiteX15" fmla="*/ 13921 w 120233"/>
                      <a:gd name="connsiteY15" fmla="*/ 51279 h 160001"/>
                      <a:gd name="connsiteX16" fmla="*/ 13387 w 120233"/>
                      <a:gd name="connsiteY16" fmla="*/ 115368 h 16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233" h="160001">
                        <a:moveTo>
                          <a:pt x="113571" y="160001"/>
                        </a:moveTo>
                        <a:cubicBezTo>
                          <a:pt x="112913" y="160001"/>
                          <a:pt x="112235" y="159904"/>
                          <a:pt x="111597" y="159705"/>
                        </a:cubicBezTo>
                        <a:lnTo>
                          <a:pt x="4709" y="126641"/>
                        </a:lnTo>
                        <a:cubicBezTo>
                          <a:pt x="1892" y="125769"/>
                          <a:pt x="-21" y="123158"/>
                          <a:pt x="0" y="120211"/>
                        </a:cubicBezTo>
                        <a:lnTo>
                          <a:pt x="638" y="46588"/>
                        </a:lnTo>
                        <a:cubicBezTo>
                          <a:pt x="658" y="43835"/>
                          <a:pt x="2385" y="41377"/>
                          <a:pt x="4956" y="40407"/>
                        </a:cubicBezTo>
                        <a:lnTo>
                          <a:pt x="111207" y="421"/>
                        </a:lnTo>
                        <a:cubicBezTo>
                          <a:pt x="113263" y="-340"/>
                          <a:pt x="115545" y="-60"/>
                          <a:pt x="117355" y="1180"/>
                        </a:cubicBezTo>
                        <a:cubicBezTo>
                          <a:pt x="119165" y="2426"/>
                          <a:pt x="120234" y="4474"/>
                          <a:pt x="120234" y="6662"/>
                        </a:cubicBezTo>
                        <a:lnTo>
                          <a:pt x="120234" y="153332"/>
                        </a:lnTo>
                        <a:cubicBezTo>
                          <a:pt x="120234" y="155448"/>
                          <a:pt x="119226" y="157441"/>
                          <a:pt x="117520" y="158697"/>
                        </a:cubicBezTo>
                        <a:cubicBezTo>
                          <a:pt x="116368" y="159555"/>
                          <a:pt x="114970" y="160001"/>
                          <a:pt x="113571" y="160001"/>
                        </a:cubicBezTo>
                        <a:close/>
                        <a:moveTo>
                          <a:pt x="13387" y="115368"/>
                        </a:moveTo>
                        <a:lnTo>
                          <a:pt x="106888" y="144295"/>
                        </a:lnTo>
                        <a:lnTo>
                          <a:pt x="106888" y="16296"/>
                        </a:lnTo>
                        <a:lnTo>
                          <a:pt x="13921" y="51279"/>
                        </a:lnTo>
                        <a:lnTo>
                          <a:pt x="13387" y="115368"/>
                        </a:lnTo>
                        <a:close/>
                      </a:path>
                    </a:pathLst>
                  </a:custGeom>
                  <a:solidFill>
                    <a:schemeClr val="accent1"/>
                  </a:solidFill>
                  <a:ln w="205" cap="flat">
                    <a:noFill/>
                    <a:prstDash val="solid"/>
                    <a:miter/>
                  </a:ln>
                </p:spPr>
                <p:txBody>
                  <a:bodyPr rtlCol="0" anchor="ctr"/>
                  <a:lstStyle/>
                  <a:p>
                    <a:endParaRPr lang="en-GB" dirty="0"/>
                  </a:p>
                </p:txBody>
              </p:sp>
              <p:sp>
                <p:nvSpPr>
                  <p:cNvPr id="422" name="Freihandform: Form 421">
                    <a:extLst>
                      <a:ext uri="{FF2B5EF4-FFF2-40B4-BE49-F238E27FC236}">
                        <a16:creationId xmlns:a16="http://schemas.microsoft.com/office/drawing/2014/main" id="{7F512144-E067-4088-AEA3-BAD2B976E03B}"/>
                      </a:ext>
                    </a:extLst>
                  </p:cNvPr>
                  <p:cNvSpPr/>
                  <p:nvPr/>
                </p:nvSpPr>
                <p:spPr>
                  <a:xfrm>
                    <a:off x="3387426" y="1833144"/>
                    <a:ext cx="46649" cy="59160"/>
                  </a:xfrm>
                  <a:custGeom>
                    <a:avLst/>
                    <a:gdLst>
                      <a:gd name="connsiteX0" fmla="*/ 15772 w 46649"/>
                      <a:gd name="connsiteY0" fmla="*/ 59161 h 59160"/>
                      <a:gd name="connsiteX1" fmla="*/ 9212 w 46649"/>
                      <a:gd name="connsiteY1" fmla="*/ 53672 h 59160"/>
                      <a:gd name="connsiteX2" fmla="*/ 0 w 46649"/>
                      <a:gd name="connsiteY2" fmla="*/ 2357 h 59160"/>
                      <a:gd name="connsiteX3" fmla="*/ 13119 w 46649"/>
                      <a:gd name="connsiteY3" fmla="*/ 0 h 59160"/>
                      <a:gd name="connsiteX4" fmla="*/ 21160 w 46649"/>
                      <a:gd name="connsiteY4" fmla="*/ 44832 h 59160"/>
                      <a:gd name="connsiteX5" fmla="*/ 32387 w 46649"/>
                      <a:gd name="connsiteY5" fmla="*/ 42955 h 59160"/>
                      <a:gd name="connsiteX6" fmla="*/ 28233 w 46649"/>
                      <a:gd name="connsiteY6" fmla="*/ 15881 h 59160"/>
                      <a:gd name="connsiteX7" fmla="*/ 41414 w 46649"/>
                      <a:gd name="connsiteY7" fmla="*/ 13856 h 59160"/>
                      <a:gd name="connsiteX8" fmla="*/ 46576 w 46649"/>
                      <a:gd name="connsiteY8" fmla="*/ 47431 h 59160"/>
                      <a:gd name="connsiteX9" fmla="*/ 41086 w 46649"/>
                      <a:gd name="connsiteY9" fmla="*/ 55019 h 59160"/>
                      <a:gd name="connsiteX10" fmla="*/ 16862 w 46649"/>
                      <a:gd name="connsiteY10" fmla="*/ 59072 h 59160"/>
                      <a:gd name="connsiteX11" fmla="*/ 15772 w 46649"/>
                      <a:gd name="connsiteY11" fmla="*/ 59161 h 5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649" h="59160">
                        <a:moveTo>
                          <a:pt x="15772" y="59161"/>
                        </a:moveTo>
                        <a:cubicBezTo>
                          <a:pt x="12585" y="59161"/>
                          <a:pt x="9788" y="56895"/>
                          <a:pt x="9212" y="53672"/>
                        </a:cubicBezTo>
                        <a:lnTo>
                          <a:pt x="0" y="2357"/>
                        </a:lnTo>
                        <a:lnTo>
                          <a:pt x="13119" y="0"/>
                        </a:lnTo>
                        <a:lnTo>
                          <a:pt x="21160" y="44832"/>
                        </a:lnTo>
                        <a:lnTo>
                          <a:pt x="32387" y="42955"/>
                        </a:lnTo>
                        <a:lnTo>
                          <a:pt x="28233" y="15881"/>
                        </a:lnTo>
                        <a:lnTo>
                          <a:pt x="41414" y="13856"/>
                        </a:lnTo>
                        <a:lnTo>
                          <a:pt x="46576" y="47431"/>
                        </a:lnTo>
                        <a:cubicBezTo>
                          <a:pt x="47111" y="51034"/>
                          <a:pt x="44684" y="54417"/>
                          <a:pt x="41086" y="55019"/>
                        </a:cubicBezTo>
                        <a:lnTo>
                          <a:pt x="16862" y="59072"/>
                        </a:lnTo>
                        <a:cubicBezTo>
                          <a:pt x="16492" y="59132"/>
                          <a:pt x="16122" y="59161"/>
                          <a:pt x="15772" y="59161"/>
                        </a:cubicBezTo>
                        <a:close/>
                      </a:path>
                    </a:pathLst>
                  </a:custGeom>
                  <a:solidFill>
                    <a:schemeClr val="accent1"/>
                  </a:solidFill>
                  <a:ln w="205" cap="flat">
                    <a:noFill/>
                    <a:prstDash val="solid"/>
                    <a:miter/>
                  </a:ln>
                </p:spPr>
                <p:txBody>
                  <a:bodyPr rtlCol="0" anchor="ctr"/>
                  <a:lstStyle/>
                  <a:p>
                    <a:endParaRPr lang="en-GB" dirty="0"/>
                  </a:p>
                </p:txBody>
              </p:sp>
              <p:grpSp>
                <p:nvGrpSpPr>
                  <p:cNvPr id="423" name="Grafik 348">
                    <a:extLst>
                      <a:ext uri="{FF2B5EF4-FFF2-40B4-BE49-F238E27FC236}">
                        <a16:creationId xmlns:a16="http://schemas.microsoft.com/office/drawing/2014/main" id="{A6F1CBF7-F772-4DAC-B8E8-1E94F8DB077A}"/>
                      </a:ext>
                    </a:extLst>
                  </p:cNvPr>
                  <p:cNvGrpSpPr/>
                  <p:nvPr/>
                </p:nvGrpSpPr>
                <p:grpSpPr>
                  <a:xfrm>
                    <a:off x="3563325" y="1733902"/>
                    <a:ext cx="34947" cy="125091"/>
                    <a:chOff x="3563325" y="1733902"/>
                    <a:chExt cx="34947" cy="125091"/>
                  </a:xfrm>
                  <a:solidFill>
                    <a:schemeClr val="accent1"/>
                  </a:solidFill>
                </p:grpSpPr>
                <p:sp>
                  <p:nvSpPr>
                    <p:cNvPr id="424" name="Freihandform: Form 423">
                      <a:extLst>
                        <a:ext uri="{FF2B5EF4-FFF2-40B4-BE49-F238E27FC236}">
                          <a16:creationId xmlns:a16="http://schemas.microsoft.com/office/drawing/2014/main" id="{1EDEDB95-0547-47B1-A32E-75093C88B1A0}"/>
                        </a:ext>
                      </a:extLst>
                    </p:cNvPr>
                    <p:cNvSpPr/>
                    <p:nvPr/>
                  </p:nvSpPr>
                  <p:spPr>
                    <a:xfrm>
                      <a:off x="3565069" y="1733902"/>
                      <a:ext cx="33203" cy="25958"/>
                    </a:xfrm>
                    <a:custGeom>
                      <a:avLst/>
                      <a:gdLst>
                        <a:gd name="connsiteX0" fmla="*/ 6687 w 33203"/>
                        <a:gd name="connsiteY0" fmla="*/ 25958 h 25958"/>
                        <a:gd name="connsiteX1" fmla="*/ 1053 w 33203"/>
                        <a:gd name="connsiteY1" fmla="*/ 22870 h 25958"/>
                        <a:gd name="connsiteX2" fmla="*/ 3109 w 33203"/>
                        <a:gd name="connsiteY2" fmla="*/ 13667 h 25958"/>
                        <a:gd name="connsiteX3" fmla="*/ 22953 w 33203"/>
                        <a:gd name="connsiteY3" fmla="*/ 1044 h 25958"/>
                        <a:gd name="connsiteX4" fmla="*/ 32165 w 33203"/>
                        <a:gd name="connsiteY4" fmla="*/ 3092 h 25958"/>
                        <a:gd name="connsiteX5" fmla="*/ 30109 w 33203"/>
                        <a:gd name="connsiteY5" fmla="*/ 12294 h 25958"/>
                        <a:gd name="connsiteX6" fmla="*/ 10244 w 33203"/>
                        <a:gd name="connsiteY6" fmla="*/ 24918 h 25958"/>
                        <a:gd name="connsiteX7" fmla="*/ 6687 w 33203"/>
                        <a:gd name="connsiteY7" fmla="*/ 25958 h 25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03" h="25958">
                          <a:moveTo>
                            <a:pt x="6687" y="25958"/>
                          </a:moveTo>
                          <a:cubicBezTo>
                            <a:pt x="4466" y="25958"/>
                            <a:pt x="2328" y="24868"/>
                            <a:pt x="1053" y="22870"/>
                          </a:cubicBezTo>
                          <a:cubicBezTo>
                            <a:pt x="-942" y="19760"/>
                            <a:pt x="-17" y="15644"/>
                            <a:pt x="3109" y="13667"/>
                          </a:cubicBezTo>
                          <a:lnTo>
                            <a:pt x="22953" y="1044"/>
                          </a:lnTo>
                          <a:cubicBezTo>
                            <a:pt x="26058" y="-935"/>
                            <a:pt x="30191" y="-17"/>
                            <a:pt x="32165" y="3092"/>
                          </a:cubicBezTo>
                          <a:cubicBezTo>
                            <a:pt x="34139" y="6201"/>
                            <a:pt x="33214" y="10318"/>
                            <a:pt x="30109" y="12294"/>
                          </a:cubicBezTo>
                          <a:lnTo>
                            <a:pt x="10244" y="24918"/>
                          </a:lnTo>
                          <a:cubicBezTo>
                            <a:pt x="9134" y="25623"/>
                            <a:pt x="7900" y="25958"/>
                            <a:pt x="6687" y="25958"/>
                          </a:cubicBezTo>
                          <a:close/>
                        </a:path>
                      </a:pathLst>
                    </a:custGeom>
                    <a:solidFill>
                      <a:schemeClr val="accent1"/>
                    </a:solidFill>
                    <a:ln w="205" cap="flat">
                      <a:noFill/>
                      <a:prstDash val="solid"/>
                      <a:miter/>
                    </a:ln>
                  </p:spPr>
                  <p:txBody>
                    <a:bodyPr rtlCol="0" anchor="ctr"/>
                    <a:lstStyle/>
                    <a:p>
                      <a:endParaRPr lang="en-GB" dirty="0"/>
                    </a:p>
                  </p:txBody>
                </p:sp>
                <p:sp>
                  <p:nvSpPr>
                    <p:cNvPr id="425" name="Freihandform: Form 424">
                      <a:extLst>
                        <a:ext uri="{FF2B5EF4-FFF2-40B4-BE49-F238E27FC236}">
                          <a16:creationId xmlns:a16="http://schemas.microsoft.com/office/drawing/2014/main" id="{1F35D652-3F60-4292-A530-16794A6104B3}"/>
                        </a:ext>
                      </a:extLst>
                    </p:cNvPr>
                    <p:cNvSpPr/>
                    <p:nvPr/>
                  </p:nvSpPr>
                  <p:spPr>
                    <a:xfrm>
                      <a:off x="3563325" y="1832640"/>
                      <a:ext cx="32943" cy="26353"/>
                    </a:xfrm>
                    <a:custGeom>
                      <a:avLst/>
                      <a:gdLst>
                        <a:gd name="connsiteX0" fmla="*/ 26260 w 32943"/>
                        <a:gd name="connsiteY0" fmla="*/ 26354 h 26353"/>
                        <a:gd name="connsiteX1" fmla="*/ 22579 w 32943"/>
                        <a:gd name="connsiteY1" fmla="*/ 25241 h 26353"/>
                        <a:gd name="connsiteX2" fmla="*/ 2982 w 32943"/>
                        <a:gd name="connsiteY2" fmla="*/ 12220 h 26353"/>
                        <a:gd name="connsiteX3" fmla="*/ 1111 w 32943"/>
                        <a:gd name="connsiteY3" fmla="*/ 2979 h 26353"/>
                        <a:gd name="connsiteX4" fmla="*/ 10364 w 32943"/>
                        <a:gd name="connsiteY4" fmla="*/ 1114 h 26353"/>
                        <a:gd name="connsiteX5" fmla="*/ 29961 w 32943"/>
                        <a:gd name="connsiteY5" fmla="*/ 14135 h 26353"/>
                        <a:gd name="connsiteX6" fmla="*/ 31832 w 32943"/>
                        <a:gd name="connsiteY6" fmla="*/ 23376 h 26353"/>
                        <a:gd name="connsiteX7" fmla="*/ 26260 w 32943"/>
                        <a:gd name="connsiteY7" fmla="*/ 26354 h 26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43" h="26353">
                          <a:moveTo>
                            <a:pt x="26260" y="26354"/>
                          </a:moveTo>
                          <a:cubicBezTo>
                            <a:pt x="25005" y="26354"/>
                            <a:pt x="23710" y="25992"/>
                            <a:pt x="22579" y="25241"/>
                          </a:cubicBezTo>
                          <a:lnTo>
                            <a:pt x="2982" y="12220"/>
                          </a:lnTo>
                          <a:cubicBezTo>
                            <a:pt x="-82" y="10183"/>
                            <a:pt x="-925" y="6045"/>
                            <a:pt x="1111" y="2979"/>
                          </a:cubicBezTo>
                          <a:cubicBezTo>
                            <a:pt x="3147" y="-91"/>
                            <a:pt x="7280" y="-922"/>
                            <a:pt x="10364" y="1114"/>
                          </a:cubicBezTo>
                          <a:lnTo>
                            <a:pt x="29961" y="14135"/>
                          </a:lnTo>
                          <a:cubicBezTo>
                            <a:pt x="33025" y="16173"/>
                            <a:pt x="33868" y="20310"/>
                            <a:pt x="31832" y="23376"/>
                          </a:cubicBezTo>
                          <a:cubicBezTo>
                            <a:pt x="30537" y="25307"/>
                            <a:pt x="28419" y="26354"/>
                            <a:pt x="26260" y="26354"/>
                          </a:cubicBezTo>
                          <a:close/>
                        </a:path>
                      </a:pathLst>
                    </a:custGeom>
                    <a:solidFill>
                      <a:schemeClr val="accent1"/>
                    </a:solidFill>
                    <a:ln w="205" cap="flat">
                      <a:noFill/>
                      <a:prstDash val="solid"/>
                      <a:miter/>
                    </a:ln>
                  </p:spPr>
                  <p:txBody>
                    <a:bodyPr rtlCol="0" anchor="ctr"/>
                    <a:lstStyle/>
                    <a:p>
                      <a:endParaRPr lang="en-GB" dirty="0"/>
                    </a:p>
                  </p:txBody>
                </p:sp>
              </p:grpSp>
            </p:grpSp>
          </p:grpSp>
          <p:sp>
            <p:nvSpPr>
              <p:cNvPr id="417" name="Freihandform: Form 416">
                <a:extLst>
                  <a:ext uri="{FF2B5EF4-FFF2-40B4-BE49-F238E27FC236}">
                    <a16:creationId xmlns:a16="http://schemas.microsoft.com/office/drawing/2014/main" id="{0875D73D-4060-4AAC-9CCF-EE4F1994F9AF}"/>
                  </a:ext>
                </a:extLst>
              </p:cNvPr>
              <p:cNvSpPr/>
              <p:nvPr/>
            </p:nvSpPr>
            <p:spPr>
              <a:xfrm>
                <a:off x="3564929" y="1786765"/>
                <a:ext cx="40016" cy="13333"/>
              </a:xfrm>
              <a:custGeom>
                <a:avLst/>
                <a:gdLst>
                  <a:gd name="connsiteX0" fmla="*/ 33333 w 40016"/>
                  <a:gd name="connsiteY0" fmla="*/ 13333 h 13333"/>
                  <a:gd name="connsiteX1" fmla="*/ 6662 w 40016"/>
                  <a:gd name="connsiteY1" fmla="*/ 13333 h 13333"/>
                  <a:gd name="connsiteX2" fmla="*/ 0 w 40016"/>
                  <a:gd name="connsiteY2" fmla="*/ 6667 h 13333"/>
                  <a:gd name="connsiteX3" fmla="*/ 6662 w 40016"/>
                  <a:gd name="connsiteY3" fmla="*/ 0 h 13333"/>
                  <a:gd name="connsiteX4" fmla="*/ 33333 w 40016"/>
                  <a:gd name="connsiteY4" fmla="*/ 0 h 13333"/>
                  <a:gd name="connsiteX5" fmla="*/ 40016 w 40016"/>
                  <a:gd name="connsiteY5" fmla="*/ 6667 h 13333"/>
                  <a:gd name="connsiteX6" fmla="*/ 33333 w 40016"/>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16" h="13333">
                    <a:moveTo>
                      <a:pt x="33333" y="13333"/>
                    </a:moveTo>
                    <a:lnTo>
                      <a:pt x="6662" y="13333"/>
                    </a:lnTo>
                    <a:cubicBezTo>
                      <a:pt x="2982" y="13333"/>
                      <a:pt x="0" y="10347"/>
                      <a:pt x="0" y="6667"/>
                    </a:cubicBezTo>
                    <a:cubicBezTo>
                      <a:pt x="0" y="2986"/>
                      <a:pt x="2982" y="0"/>
                      <a:pt x="6662" y="0"/>
                    </a:cubicBezTo>
                    <a:lnTo>
                      <a:pt x="33333" y="0"/>
                    </a:lnTo>
                    <a:cubicBezTo>
                      <a:pt x="37034" y="0"/>
                      <a:pt x="40016" y="2986"/>
                      <a:pt x="40016" y="6667"/>
                    </a:cubicBezTo>
                    <a:cubicBezTo>
                      <a:pt x="40016" y="10347"/>
                      <a:pt x="37034" y="13333"/>
                      <a:pt x="33333" y="13333"/>
                    </a:cubicBezTo>
                    <a:close/>
                  </a:path>
                </a:pathLst>
              </a:custGeom>
              <a:solidFill>
                <a:schemeClr val="accent1"/>
              </a:solidFill>
              <a:ln w="205" cap="flat">
                <a:noFill/>
                <a:prstDash val="solid"/>
                <a:miter/>
              </a:ln>
            </p:spPr>
            <p:txBody>
              <a:bodyPr rtlCol="0" anchor="ctr"/>
              <a:lstStyle/>
              <a:p>
                <a:endParaRPr lang="en-GB" dirty="0"/>
              </a:p>
            </p:txBody>
          </p:sp>
        </p:grpSp>
      </p:grpSp>
      <p:sp>
        <p:nvSpPr>
          <p:cNvPr id="435" name="TextBox 1398">
            <a:extLst>
              <a:ext uri="{FF2B5EF4-FFF2-40B4-BE49-F238E27FC236}">
                <a16:creationId xmlns:a16="http://schemas.microsoft.com/office/drawing/2014/main" id="{754D46E2-934F-4D3D-A967-9434CFF2B848}"/>
              </a:ext>
            </a:extLst>
          </p:cNvPr>
          <p:cNvSpPr txBox="1"/>
          <p:nvPr/>
        </p:nvSpPr>
        <p:spPr>
          <a:xfrm>
            <a:off x="3716351" y="2077494"/>
            <a:ext cx="428001" cy="107722"/>
          </a:xfrm>
          <a:prstGeom prst="rect">
            <a:avLst/>
          </a:prstGeom>
          <a:noFill/>
          <a:effectLst/>
        </p:spPr>
        <p:txBody>
          <a:bodyPr wrap="none" lIns="0" tIns="0" rIns="0" bIns="0" rtlCol="0" anchor="t">
            <a:spAutoFit/>
          </a:bodyPr>
          <a:lstStyle/>
          <a:p>
            <a:pPr algn="ctr"/>
            <a:r>
              <a:rPr lang="en-GB" sz="700" dirty="0">
                <a:solidFill>
                  <a:schemeClr val="tx2"/>
                </a:solidFill>
              </a:rPr>
              <a:t>Advertorial</a:t>
            </a:r>
          </a:p>
        </p:txBody>
      </p:sp>
      <p:grpSp>
        <p:nvGrpSpPr>
          <p:cNvPr id="39" name="Group 38">
            <a:extLst>
              <a:ext uri="{FF2B5EF4-FFF2-40B4-BE49-F238E27FC236}">
                <a16:creationId xmlns:a16="http://schemas.microsoft.com/office/drawing/2014/main" id="{5D562171-82BB-99F0-BAD1-A68DF58DFB4D}"/>
              </a:ext>
            </a:extLst>
          </p:cNvPr>
          <p:cNvGrpSpPr/>
          <p:nvPr/>
        </p:nvGrpSpPr>
        <p:grpSpPr>
          <a:xfrm>
            <a:off x="2665594" y="1626716"/>
            <a:ext cx="438648" cy="432000"/>
            <a:chOff x="2665594" y="1626716"/>
            <a:chExt cx="438648" cy="432000"/>
          </a:xfrm>
        </p:grpSpPr>
        <p:grpSp>
          <p:nvGrpSpPr>
            <p:cNvPr id="437" name="Grafik 348">
              <a:extLst>
                <a:ext uri="{FF2B5EF4-FFF2-40B4-BE49-F238E27FC236}">
                  <a16:creationId xmlns:a16="http://schemas.microsoft.com/office/drawing/2014/main" id="{AD4F578E-85CE-4A76-89A9-63633273DA8F}"/>
                </a:ext>
              </a:extLst>
            </p:cNvPr>
            <p:cNvGrpSpPr/>
            <p:nvPr/>
          </p:nvGrpSpPr>
          <p:grpSpPr>
            <a:xfrm>
              <a:off x="2742621" y="1820616"/>
              <a:ext cx="315090" cy="238100"/>
              <a:chOff x="2642172" y="1821260"/>
              <a:chExt cx="316076" cy="238845"/>
            </a:xfrm>
            <a:solidFill>
              <a:schemeClr val="tx2"/>
            </a:solidFill>
          </p:grpSpPr>
          <p:grpSp>
            <p:nvGrpSpPr>
              <p:cNvPr id="439" name="Grafik 348">
                <a:extLst>
                  <a:ext uri="{FF2B5EF4-FFF2-40B4-BE49-F238E27FC236}">
                    <a16:creationId xmlns:a16="http://schemas.microsoft.com/office/drawing/2014/main" id="{89F783B2-175B-46F7-9756-1F77BFBB7C56}"/>
                  </a:ext>
                </a:extLst>
              </p:cNvPr>
              <p:cNvGrpSpPr/>
              <p:nvPr/>
            </p:nvGrpSpPr>
            <p:grpSpPr>
              <a:xfrm>
                <a:off x="2786962" y="1821260"/>
                <a:ext cx="171286" cy="238845"/>
                <a:chOff x="2786962" y="1821260"/>
                <a:chExt cx="171286" cy="238845"/>
              </a:xfrm>
              <a:grpFill/>
            </p:grpSpPr>
            <p:grpSp>
              <p:nvGrpSpPr>
                <p:cNvPr id="442" name="Grafik 348">
                  <a:extLst>
                    <a:ext uri="{FF2B5EF4-FFF2-40B4-BE49-F238E27FC236}">
                      <a16:creationId xmlns:a16="http://schemas.microsoft.com/office/drawing/2014/main" id="{EC64FA4E-5F72-40C0-8724-95102148A6F6}"/>
                    </a:ext>
                  </a:extLst>
                </p:cNvPr>
                <p:cNvGrpSpPr/>
                <p:nvPr/>
              </p:nvGrpSpPr>
              <p:grpSpPr>
                <a:xfrm>
                  <a:off x="2799050" y="1944465"/>
                  <a:ext cx="159198" cy="115639"/>
                  <a:chOff x="2799050" y="1944465"/>
                  <a:chExt cx="159198" cy="115639"/>
                </a:xfrm>
                <a:grpFill/>
              </p:grpSpPr>
              <p:sp>
                <p:nvSpPr>
                  <p:cNvPr id="453" name="Freihandform: Form 452">
                    <a:extLst>
                      <a:ext uri="{FF2B5EF4-FFF2-40B4-BE49-F238E27FC236}">
                        <a16:creationId xmlns:a16="http://schemas.microsoft.com/office/drawing/2014/main" id="{E55C6289-86AF-413F-8D9F-6E86765E5E68}"/>
                      </a:ext>
                    </a:extLst>
                  </p:cNvPr>
                  <p:cNvSpPr/>
                  <p:nvPr/>
                </p:nvSpPr>
                <p:spPr>
                  <a:xfrm>
                    <a:off x="2819163" y="1984465"/>
                    <a:ext cx="139085" cy="41023"/>
                  </a:xfrm>
                  <a:custGeom>
                    <a:avLst/>
                    <a:gdLst>
                      <a:gd name="connsiteX0" fmla="*/ 53439 w 139085"/>
                      <a:gd name="connsiteY0" fmla="*/ 41024 h 41023"/>
                      <a:gd name="connsiteX1" fmla="*/ 5001 w 139085"/>
                      <a:gd name="connsiteY1" fmla="*/ 35435 h 41023"/>
                      <a:gd name="connsiteX2" fmla="*/ 215 w 139085"/>
                      <a:gd name="connsiteY2" fmla="*/ 27312 h 41023"/>
                      <a:gd name="connsiteX3" fmla="*/ 8334 w 139085"/>
                      <a:gd name="connsiteY3" fmla="*/ 22523 h 41023"/>
                      <a:gd name="connsiteX4" fmla="*/ 53439 w 139085"/>
                      <a:gd name="connsiteY4" fmla="*/ 27689 h 41023"/>
                      <a:gd name="connsiteX5" fmla="*/ 125761 w 139085"/>
                      <a:gd name="connsiteY5" fmla="*/ 6667 h 41023"/>
                      <a:gd name="connsiteX6" fmla="*/ 132423 w 139085"/>
                      <a:gd name="connsiteY6" fmla="*/ 0 h 41023"/>
                      <a:gd name="connsiteX7" fmla="*/ 139086 w 139085"/>
                      <a:gd name="connsiteY7" fmla="*/ 6667 h 41023"/>
                      <a:gd name="connsiteX8" fmla="*/ 53439 w 139085"/>
                      <a:gd name="connsiteY8" fmla="*/ 41024 h 41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085" h="41023">
                        <a:moveTo>
                          <a:pt x="53439" y="41024"/>
                        </a:moveTo>
                        <a:cubicBezTo>
                          <a:pt x="35907" y="41024"/>
                          <a:pt x="19154" y="39091"/>
                          <a:pt x="5001" y="35435"/>
                        </a:cubicBezTo>
                        <a:cubicBezTo>
                          <a:pt x="1433" y="34514"/>
                          <a:pt x="-710" y="30878"/>
                          <a:pt x="215" y="27312"/>
                        </a:cubicBezTo>
                        <a:cubicBezTo>
                          <a:pt x="1133" y="23740"/>
                          <a:pt x="4778" y="21608"/>
                          <a:pt x="8334" y="22523"/>
                        </a:cubicBezTo>
                        <a:cubicBezTo>
                          <a:pt x="21420" y="25902"/>
                          <a:pt x="37013" y="27689"/>
                          <a:pt x="53439" y="27689"/>
                        </a:cubicBezTo>
                        <a:cubicBezTo>
                          <a:pt x="96910" y="27689"/>
                          <a:pt x="125761" y="15036"/>
                          <a:pt x="125761" y="6667"/>
                        </a:cubicBezTo>
                        <a:cubicBezTo>
                          <a:pt x="125761" y="2986"/>
                          <a:pt x="128742" y="0"/>
                          <a:pt x="132423" y="0"/>
                        </a:cubicBezTo>
                        <a:cubicBezTo>
                          <a:pt x="136104" y="0"/>
                          <a:pt x="139086" y="2986"/>
                          <a:pt x="139086" y="6667"/>
                        </a:cubicBezTo>
                        <a:cubicBezTo>
                          <a:pt x="139086" y="29223"/>
                          <a:pt x="96006" y="41024"/>
                          <a:pt x="53439" y="41024"/>
                        </a:cubicBezTo>
                        <a:close/>
                      </a:path>
                    </a:pathLst>
                  </a:custGeom>
                  <a:grpFill/>
                  <a:ln w="205" cap="flat">
                    <a:noFill/>
                    <a:prstDash val="solid"/>
                    <a:miter/>
                  </a:ln>
                </p:spPr>
                <p:txBody>
                  <a:bodyPr rtlCol="0" anchor="ctr"/>
                  <a:lstStyle/>
                  <a:p>
                    <a:endParaRPr lang="en-GB" dirty="0"/>
                  </a:p>
                </p:txBody>
              </p:sp>
              <p:sp>
                <p:nvSpPr>
                  <p:cNvPr id="454" name="Freihandform: Form 453">
                    <a:extLst>
                      <a:ext uri="{FF2B5EF4-FFF2-40B4-BE49-F238E27FC236}">
                        <a16:creationId xmlns:a16="http://schemas.microsoft.com/office/drawing/2014/main" id="{B0A8822C-35C0-40E0-9BA5-8955E57DF083}"/>
                      </a:ext>
                    </a:extLst>
                  </p:cNvPr>
                  <p:cNvSpPr/>
                  <p:nvPr/>
                </p:nvSpPr>
                <p:spPr>
                  <a:xfrm>
                    <a:off x="2799050" y="1944465"/>
                    <a:ext cx="159198" cy="115639"/>
                  </a:xfrm>
                  <a:custGeom>
                    <a:avLst/>
                    <a:gdLst>
                      <a:gd name="connsiteX0" fmla="*/ 73552 w 159198"/>
                      <a:gd name="connsiteY0" fmla="*/ 115640 h 115639"/>
                      <a:gd name="connsiteX1" fmla="*/ 3427 w 159198"/>
                      <a:gd name="connsiteY1" fmla="*/ 101838 h 115639"/>
                      <a:gd name="connsiteX2" fmla="*/ 842 w 159198"/>
                      <a:gd name="connsiteY2" fmla="*/ 92769 h 115639"/>
                      <a:gd name="connsiteX3" fmla="*/ 9911 w 159198"/>
                      <a:gd name="connsiteY3" fmla="*/ 90191 h 115639"/>
                      <a:gd name="connsiteX4" fmla="*/ 73552 w 159198"/>
                      <a:gd name="connsiteY4" fmla="*/ 102307 h 115639"/>
                      <a:gd name="connsiteX5" fmla="*/ 145873 w 159198"/>
                      <a:gd name="connsiteY5" fmla="*/ 81281 h 115639"/>
                      <a:gd name="connsiteX6" fmla="*/ 145873 w 159198"/>
                      <a:gd name="connsiteY6" fmla="*/ 6667 h 115639"/>
                      <a:gd name="connsiteX7" fmla="*/ 152536 w 159198"/>
                      <a:gd name="connsiteY7" fmla="*/ 0 h 115639"/>
                      <a:gd name="connsiteX8" fmla="*/ 159198 w 159198"/>
                      <a:gd name="connsiteY8" fmla="*/ 6667 h 115639"/>
                      <a:gd name="connsiteX9" fmla="*/ 159198 w 159198"/>
                      <a:gd name="connsiteY9" fmla="*/ 81281 h 115639"/>
                      <a:gd name="connsiteX10" fmla="*/ 73552 w 159198"/>
                      <a:gd name="connsiteY10" fmla="*/ 115640 h 115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198" h="115639">
                        <a:moveTo>
                          <a:pt x="73552" y="115640"/>
                        </a:moveTo>
                        <a:cubicBezTo>
                          <a:pt x="45158" y="115640"/>
                          <a:pt x="18940" y="110481"/>
                          <a:pt x="3427" y="101838"/>
                        </a:cubicBezTo>
                        <a:cubicBezTo>
                          <a:pt x="211" y="100047"/>
                          <a:pt x="-949" y="95986"/>
                          <a:pt x="842" y="92769"/>
                        </a:cubicBezTo>
                        <a:cubicBezTo>
                          <a:pt x="2639" y="89547"/>
                          <a:pt x="6709" y="88402"/>
                          <a:pt x="9911" y="90191"/>
                        </a:cubicBezTo>
                        <a:cubicBezTo>
                          <a:pt x="23328" y="97666"/>
                          <a:pt x="47718" y="102307"/>
                          <a:pt x="73552" y="102307"/>
                        </a:cubicBezTo>
                        <a:cubicBezTo>
                          <a:pt x="117023" y="102307"/>
                          <a:pt x="145873" y="89650"/>
                          <a:pt x="145873" y="81281"/>
                        </a:cubicBezTo>
                        <a:lnTo>
                          <a:pt x="145873" y="6667"/>
                        </a:lnTo>
                        <a:cubicBezTo>
                          <a:pt x="145873" y="2986"/>
                          <a:pt x="148855" y="0"/>
                          <a:pt x="152536" y="0"/>
                        </a:cubicBezTo>
                        <a:cubicBezTo>
                          <a:pt x="156217" y="0"/>
                          <a:pt x="159198" y="2986"/>
                          <a:pt x="159198" y="6667"/>
                        </a:cubicBezTo>
                        <a:lnTo>
                          <a:pt x="159198" y="81281"/>
                        </a:lnTo>
                        <a:cubicBezTo>
                          <a:pt x="159198" y="103837"/>
                          <a:pt x="116118" y="115640"/>
                          <a:pt x="73552" y="115640"/>
                        </a:cubicBezTo>
                        <a:close/>
                      </a:path>
                    </a:pathLst>
                  </a:custGeom>
                  <a:grpFill/>
                  <a:ln w="205" cap="flat">
                    <a:noFill/>
                    <a:prstDash val="solid"/>
                    <a:miter/>
                  </a:ln>
                </p:spPr>
                <p:txBody>
                  <a:bodyPr rtlCol="0" anchor="ctr"/>
                  <a:lstStyle/>
                  <a:p>
                    <a:endParaRPr lang="en-GB" dirty="0"/>
                  </a:p>
                </p:txBody>
              </p:sp>
            </p:grpSp>
            <p:grpSp>
              <p:nvGrpSpPr>
                <p:cNvPr id="443" name="Grafik 348">
                  <a:extLst>
                    <a:ext uri="{FF2B5EF4-FFF2-40B4-BE49-F238E27FC236}">
                      <a16:creationId xmlns:a16="http://schemas.microsoft.com/office/drawing/2014/main" id="{66A5D603-B237-4D96-AE36-7032C421F80A}"/>
                    </a:ext>
                  </a:extLst>
                </p:cNvPr>
                <p:cNvGrpSpPr/>
                <p:nvPr/>
              </p:nvGrpSpPr>
              <p:grpSpPr>
                <a:xfrm>
                  <a:off x="2827449" y="1916962"/>
                  <a:ext cx="130799" cy="75644"/>
                  <a:chOff x="2827449" y="1916962"/>
                  <a:chExt cx="130799" cy="75644"/>
                </a:xfrm>
                <a:grpFill/>
              </p:grpSpPr>
              <p:sp>
                <p:nvSpPr>
                  <p:cNvPr id="451" name="Freihandform: Form 450">
                    <a:extLst>
                      <a:ext uri="{FF2B5EF4-FFF2-40B4-BE49-F238E27FC236}">
                        <a16:creationId xmlns:a16="http://schemas.microsoft.com/office/drawing/2014/main" id="{2519EDC3-A36F-4507-A7D4-C8B72CCF194A}"/>
                      </a:ext>
                    </a:extLst>
                  </p:cNvPr>
                  <p:cNvSpPr/>
                  <p:nvPr/>
                </p:nvSpPr>
                <p:spPr>
                  <a:xfrm>
                    <a:off x="2832669" y="1916962"/>
                    <a:ext cx="125579" cy="41027"/>
                  </a:xfrm>
                  <a:custGeom>
                    <a:avLst/>
                    <a:gdLst>
                      <a:gd name="connsiteX0" fmla="*/ 39933 w 125579"/>
                      <a:gd name="connsiteY0" fmla="*/ 41028 h 41027"/>
                      <a:gd name="connsiteX1" fmla="*/ 5597 w 125579"/>
                      <a:gd name="connsiteY1" fmla="*/ 38371 h 41027"/>
                      <a:gd name="connsiteX2" fmla="*/ 88 w 125579"/>
                      <a:gd name="connsiteY2" fmla="*/ 30722 h 41027"/>
                      <a:gd name="connsiteX3" fmla="*/ 7743 w 125579"/>
                      <a:gd name="connsiteY3" fmla="*/ 25213 h 41027"/>
                      <a:gd name="connsiteX4" fmla="*/ 39933 w 125579"/>
                      <a:gd name="connsiteY4" fmla="*/ 27693 h 41027"/>
                      <a:gd name="connsiteX5" fmla="*/ 112255 w 125579"/>
                      <a:gd name="connsiteY5" fmla="*/ 6667 h 41027"/>
                      <a:gd name="connsiteX6" fmla="*/ 118917 w 125579"/>
                      <a:gd name="connsiteY6" fmla="*/ 0 h 41027"/>
                      <a:gd name="connsiteX7" fmla="*/ 125580 w 125579"/>
                      <a:gd name="connsiteY7" fmla="*/ 6667 h 41027"/>
                      <a:gd name="connsiteX8" fmla="*/ 39933 w 125579"/>
                      <a:gd name="connsiteY8" fmla="*/ 41028 h 41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579" h="41027">
                        <a:moveTo>
                          <a:pt x="39933" y="41028"/>
                        </a:moveTo>
                        <a:cubicBezTo>
                          <a:pt x="27968" y="41028"/>
                          <a:pt x="16411" y="40136"/>
                          <a:pt x="5597" y="38371"/>
                        </a:cubicBezTo>
                        <a:cubicBezTo>
                          <a:pt x="1963" y="37779"/>
                          <a:pt x="-504" y="34353"/>
                          <a:pt x="88" y="30722"/>
                        </a:cubicBezTo>
                        <a:cubicBezTo>
                          <a:pt x="680" y="27092"/>
                          <a:pt x="4040" y="24579"/>
                          <a:pt x="7743" y="25213"/>
                        </a:cubicBezTo>
                        <a:cubicBezTo>
                          <a:pt x="17848" y="26860"/>
                          <a:pt x="28681" y="27693"/>
                          <a:pt x="39933" y="27693"/>
                        </a:cubicBezTo>
                        <a:cubicBezTo>
                          <a:pt x="83404" y="27693"/>
                          <a:pt x="112255" y="15036"/>
                          <a:pt x="112255" y="6667"/>
                        </a:cubicBezTo>
                        <a:cubicBezTo>
                          <a:pt x="112255" y="2986"/>
                          <a:pt x="115236" y="0"/>
                          <a:pt x="118917" y="0"/>
                        </a:cubicBezTo>
                        <a:cubicBezTo>
                          <a:pt x="122598" y="0"/>
                          <a:pt x="125580" y="2986"/>
                          <a:pt x="125580" y="6667"/>
                        </a:cubicBezTo>
                        <a:cubicBezTo>
                          <a:pt x="125580" y="29225"/>
                          <a:pt x="82499" y="41028"/>
                          <a:pt x="39933" y="41028"/>
                        </a:cubicBezTo>
                        <a:close/>
                      </a:path>
                    </a:pathLst>
                  </a:custGeom>
                  <a:grpFill/>
                  <a:ln w="205" cap="flat">
                    <a:noFill/>
                    <a:prstDash val="solid"/>
                    <a:miter/>
                  </a:ln>
                </p:spPr>
                <p:txBody>
                  <a:bodyPr rtlCol="0" anchor="ctr"/>
                  <a:lstStyle/>
                  <a:p>
                    <a:endParaRPr lang="en-GB" dirty="0"/>
                  </a:p>
                </p:txBody>
              </p:sp>
              <p:sp>
                <p:nvSpPr>
                  <p:cNvPr id="452" name="Freihandform: Form 451">
                    <a:extLst>
                      <a:ext uri="{FF2B5EF4-FFF2-40B4-BE49-F238E27FC236}">
                        <a16:creationId xmlns:a16="http://schemas.microsoft.com/office/drawing/2014/main" id="{C3D5F48E-F2BE-4E84-B5E3-231AE0B7B3E7}"/>
                      </a:ext>
                    </a:extLst>
                  </p:cNvPr>
                  <p:cNvSpPr/>
                  <p:nvPr/>
                </p:nvSpPr>
                <p:spPr>
                  <a:xfrm>
                    <a:off x="2827449" y="1916964"/>
                    <a:ext cx="130799" cy="75642"/>
                  </a:xfrm>
                  <a:custGeom>
                    <a:avLst/>
                    <a:gdLst>
                      <a:gd name="connsiteX0" fmla="*/ 45154 w 130799"/>
                      <a:gd name="connsiteY0" fmla="*/ 75642 h 75642"/>
                      <a:gd name="connsiteX1" fmla="*/ 5386 w 130799"/>
                      <a:gd name="connsiteY1" fmla="*/ 72013 h 75642"/>
                      <a:gd name="connsiteX2" fmla="*/ 126 w 130799"/>
                      <a:gd name="connsiteY2" fmla="*/ 64186 h 75642"/>
                      <a:gd name="connsiteX3" fmla="*/ 7953 w 130799"/>
                      <a:gd name="connsiteY3" fmla="*/ 58926 h 75642"/>
                      <a:gd name="connsiteX4" fmla="*/ 45154 w 130799"/>
                      <a:gd name="connsiteY4" fmla="*/ 62309 h 75642"/>
                      <a:gd name="connsiteX5" fmla="*/ 117475 w 130799"/>
                      <a:gd name="connsiteY5" fmla="*/ 41283 h 75642"/>
                      <a:gd name="connsiteX6" fmla="*/ 117475 w 130799"/>
                      <a:gd name="connsiteY6" fmla="*/ 6667 h 75642"/>
                      <a:gd name="connsiteX7" fmla="*/ 124137 w 130799"/>
                      <a:gd name="connsiteY7" fmla="*/ 0 h 75642"/>
                      <a:gd name="connsiteX8" fmla="*/ 130800 w 130799"/>
                      <a:gd name="connsiteY8" fmla="*/ 6667 h 75642"/>
                      <a:gd name="connsiteX9" fmla="*/ 130800 w 130799"/>
                      <a:gd name="connsiteY9" fmla="*/ 41283 h 75642"/>
                      <a:gd name="connsiteX10" fmla="*/ 45154 w 130799"/>
                      <a:gd name="connsiteY10" fmla="*/ 75642 h 7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0799" h="75642">
                        <a:moveTo>
                          <a:pt x="45154" y="75642"/>
                        </a:moveTo>
                        <a:cubicBezTo>
                          <a:pt x="31253" y="75642"/>
                          <a:pt x="17496" y="74386"/>
                          <a:pt x="5386" y="72013"/>
                        </a:cubicBezTo>
                        <a:cubicBezTo>
                          <a:pt x="1773" y="71303"/>
                          <a:pt x="-583" y="67801"/>
                          <a:pt x="126" y="64186"/>
                        </a:cubicBezTo>
                        <a:cubicBezTo>
                          <a:pt x="836" y="60575"/>
                          <a:pt x="4340" y="58200"/>
                          <a:pt x="7953" y="58926"/>
                        </a:cubicBezTo>
                        <a:cubicBezTo>
                          <a:pt x="19236" y="61141"/>
                          <a:pt x="32100" y="62309"/>
                          <a:pt x="45154" y="62309"/>
                        </a:cubicBezTo>
                        <a:cubicBezTo>
                          <a:pt x="88625" y="62309"/>
                          <a:pt x="117475" y="49652"/>
                          <a:pt x="117475" y="41283"/>
                        </a:cubicBezTo>
                        <a:lnTo>
                          <a:pt x="117475" y="6667"/>
                        </a:lnTo>
                        <a:cubicBezTo>
                          <a:pt x="117475" y="2986"/>
                          <a:pt x="120457" y="0"/>
                          <a:pt x="124137" y="0"/>
                        </a:cubicBezTo>
                        <a:cubicBezTo>
                          <a:pt x="127818" y="0"/>
                          <a:pt x="130800" y="2986"/>
                          <a:pt x="130800" y="6667"/>
                        </a:cubicBezTo>
                        <a:lnTo>
                          <a:pt x="130800" y="41283"/>
                        </a:lnTo>
                        <a:cubicBezTo>
                          <a:pt x="130800" y="63839"/>
                          <a:pt x="87720" y="75642"/>
                          <a:pt x="45154" y="75642"/>
                        </a:cubicBezTo>
                        <a:close/>
                      </a:path>
                    </a:pathLst>
                  </a:custGeom>
                  <a:grpFill/>
                  <a:ln w="205" cap="flat">
                    <a:noFill/>
                    <a:prstDash val="solid"/>
                    <a:miter/>
                  </a:ln>
                </p:spPr>
                <p:txBody>
                  <a:bodyPr rtlCol="0" anchor="ctr"/>
                  <a:lstStyle/>
                  <a:p>
                    <a:endParaRPr lang="en-GB" dirty="0"/>
                  </a:p>
                </p:txBody>
              </p:sp>
            </p:grpSp>
            <p:grpSp>
              <p:nvGrpSpPr>
                <p:cNvPr id="444" name="Grafik 348">
                  <a:extLst>
                    <a:ext uri="{FF2B5EF4-FFF2-40B4-BE49-F238E27FC236}">
                      <a16:creationId xmlns:a16="http://schemas.microsoft.com/office/drawing/2014/main" id="{F08AC220-C59D-4D3A-91F1-D01A47F52460}"/>
                    </a:ext>
                  </a:extLst>
                </p:cNvPr>
                <p:cNvGrpSpPr/>
                <p:nvPr/>
              </p:nvGrpSpPr>
              <p:grpSpPr>
                <a:xfrm>
                  <a:off x="2786962" y="1821260"/>
                  <a:ext cx="171286" cy="137085"/>
                  <a:chOff x="2786962" y="1821260"/>
                  <a:chExt cx="171286" cy="137085"/>
                </a:xfrm>
                <a:grpFill/>
              </p:grpSpPr>
              <p:grpSp>
                <p:nvGrpSpPr>
                  <p:cNvPr id="445" name="Grafik 348">
                    <a:extLst>
                      <a:ext uri="{FF2B5EF4-FFF2-40B4-BE49-F238E27FC236}">
                        <a16:creationId xmlns:a16="http://schemas.microsoft.com/office/drawing/2014/main" id="{B1F07452-5A7A-49D4-9030-9FB9B15736C0}"/>
                      </a:ext>
                    </a:extLst>
                  </p:cNvPr>
                  <p:cNvGrpSpPr/>
                  <p:nvPr/>
                </p:nvGrpSpPr>
                <p:grpSpPr>
                  <a:xfrm>
                    <a:off x="2786962" y="1882701"/>
                    <a:ext cx="171286" cy="75644"/>
                    <a:chOff x="2786962" y="1882701"/>
                    <a:chExt cx="171286" cy="75644"/>
                  </a:xfrm>
                  <a:grpFill/>
                </p:grpSpPr>
                <p:sp>
                  <p:nvSpPr>
                    <p:cNvPr id="449" name="Freihandform: Form 448">
                      <a:extLst>
                        <a:ext uri="{FF2B5EF4-FFF2-40B4-BE49-F238E27FC236}">
                          <a16:creationId xmlns:a16="http://schemas.microsoft.com/office/drawing/2014/main" id="{5C34F8B2-75B2-414E-B6F9-96D487555596}"/>
                        </a:ext>
                      </a:extLst>
                    </p:cNvPr>
                    <p:cNvSpPr/>
                    <p:nvPr/>
                  </p:nvSpPr>
                  <p:spPr>
                    <a:xfrm>
                      <a:off x="2786962" y="1882701"/>
                      <a:ext cx="171286" cy="41025"/>
                    </a:xfrm>
                    <a:custGeom>
                      <a:avLst/>
                      <a:gdLst>
                        <a:gd name="connsiteX0" fmla="*/ 85640 w 171286"/>
                        <a:gd name="connsiteY0" fmla="*/ 41026 h 41025"/>
                        <a:gd name="connsiteX1" fmla="*/ 0 w 171286"/>
                        <a:gd name="connsiteY1" fmla="*/ 6667 h 41025"/>
                        <a:gd name="connsiteX2" fmla="*/ 6667 w 171286"/>
                        <a:gd name="connsiteY2" fmla="*/ 0 h 41025"/>
                        <a:gd name="connsiteX3" fmla="*/ 13333 w 171286"/>
                        <a:gd name="connsiteY3" fmla="*/ 6667 h 41025"/>
                        <a:gd name="connsiteX4" fmla="*/ 85640 w 171286"/>
                        <a:gd name="connsiteY4" fmla="*/ 27693 h 41025"/>
                        <a:gd name="connsiteX5" fmla="*/ 157961 w 171286"/>
                        <a:gd name="connsiteY5" fmla="*/ 6667 h 41025"/>
                        <a:gd name="connsiteX6" fmla="*/ 164624 w 171286"/>
                        <a:gd name="connsiteY6" fmla="*/ 0 h 41025"/>
                        <a:gd name="connsiteX7" fmla="*/ 171286 w 171286"/>
                        <a:gd name="connsiteY7" fmla="*/ 6667 h 41025"/>
                        <a:gd name="connsiteX8" fmla="*/ 85640 w 171286"/>
                        <a:gd name="connsiteY8" fmla="*/ 41026 h 4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286" h="41025">
                          <a:moveTo>
                            <a:pt x="85640" y="41026"/>
                          </a:moveTo>
                          <a:cubicBezTo>
                            <a:pt x="43086" y="41026"/>
                            <a:pt x="0" y="29223"/>
                            <a:pt x="0" y="6667"/>
                          </a:cubicBezTo>
                          <a:cubicBezTo>
                            <a:pt x="0" y="2986"/>
                            <a:pt x="2982" y="0"/>
                            <a:pt x="6667" y="0"/>
                          </a:cubicBezTo>
                          <a:cubicBezTo>
                            <a:pt x="10352" y="0"/>
                            <a:pt x="13333" y="2986"/>
                            <a:pt x="13333" y="6667"/>
                          </a:cubicBezTo>
                          <a:cubicBezTo>
                            <a:pt x="13333" y="15036"/>
                            <a:pt x="42176" y="27693"/>
                            <a:pt x="85640" y="27693"/>
                          </a:cubicBezTo>
                          <a:cubicBezTo>
                            <a:pt x="129111" y="27693"/>
                            <a:pt x="157961" y="15036"/>
                            <a:pt x="157961" y="6667"/>
                          </a:cubicBezTo>
                          <a:cubicBezTo>
                            <a:pt x="157961" y="2986"/>
                            <a:pt x="160943" y="0"/>
                            <a:pt x="164624" y="0"/>
                          </a:cubicBezTo>
                          <a:cubicBezTo>
                            <a:pt x="168305" y="0"/>
                            <a:pt x="171286" y="2986"/>
                            <a:pt x="171286" y="6667"/>
                          </a:cubicBezTo>
                          <a:cubicBezTo>
                            <a:pt x="171286" y="29223"/>
                            <a:pt x="128206" y="41026"/>
                            <a:pt x="85640" y="41026"/>
                          </a:cubicBezTo>
                          <a:close/>
                        </a:path>
                      </a:pathLst>
                    </a:custGeom>
                    <a:grpFill/>
                    <a:ln w="205" cap="flat">
                      <a:noFill/>
                      <a:prstDash val="solid"/>
                      <a:miter/>
                    </a:ln>
                  </p:spPr>
                  <p:txBody>
                    <a:bodyPr rtlCol="0" anchor="ctr"/>
                    <a:lstStyle/>
                    <a:p>
                      <a:endParaRPr lang="en-GB" dirty="0"/>
                    </a:p>
                  </p:txBody>
                </p:sp>
                <p:sp>
                  <p:nvSpPr>
                    <p:cNvPr id="450" name="Freihandform: Form 449">
                      <a:extLst>
                        <a:ext uri="{FF2B5EF4-FFF2-40B4-BE49-F238E27FC236}">
                          <a16:creationId xmlns:a16="http://schemas.microsoft.com/office/drawing/2014/main" id="{6C163818-3EC8-44A1-AB74-28A8C4726490}"/>
                        </a:ext>
                      </a:extLst>
                    </p:cNvPr>
                    <p:cNvSpPr/>
                    <p:nvPr/>
                  </p:nvSpPr>
                  <p:spPr>
                    <a:xfrm>
                      <a:off x="2830124" y="1882703"/>
                      <a:ext cx="128124" cy="75642"/>
                    </a:xfrm>
                    <a:custGeom>
                      <a:avLst/>
                      <a:gdLst>
                        <a:gd name="connsiteX0" fmla="*/ 42478 w 128124"/>
                        <a:gd name="connsiteY0" fmla="*/ 75642 h 75642"/>
                        <a:gd name="connsiteX1" fmla="*/ 5497 w 128124"/>
                        <a:gd name="connsiteY1" fmla="*/ 72533 h 75642"/>
                        <a:gd name="connsiteX2" fmla="*/ 106 w 128124"/>
                        <a:gd name="connsiteY2" fmla="*/ 64799 h 75642"/>
                        <a:gd name="connsiteX3" fmla="*/ 7840 w 128124"/>
                        <a:gd name="connsiteY3" fmla="*/ 59407 h 75642"/>
                        <a:gd name="connsiteX4" fmla="*/ 42478 w 128124"/>
                        <a:gd name="connsiteY4" fmla="*/ 62309 h 75642"/>
                        <a:gd name="connsiteX5" fmla="*/ 114800 w 128124"/>
                        <a:gd name="connsiteY5" fmla="*/ 41283 h 75642"/>
                        <a:gd name="connsiteX6" fmla="*/ 114800 w 128124"/>
                        <a:gd name="connsiteY6" fmla="*/ 6667 h 75642"/>
                        <a:gd name="connsiteX7" fmla="*/ 121462 w 128124"/>
                        <a:gd name="connsiteY7" fmla="*/ 0 h 75642"/>
                        <a:gd name="connsiteX8" fmla="*/ 128125 w 128124"/>
                        <a:gd name="connsiteY8" fmla="*/ 6667 h 75642"/>
                        <a:gd name="connsiteX9" fmla="*/ 128125 w 128124"/>
                        <a:gd name="connsiteY9" fmla="*/ 41283 h 75642"/>
                        <a:gd name="connsiteX10" fmla="*/ 42478 w 128124"/>
                        <a:gd name="connsiteY10" fmla="*/ 75642 h 75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8124" h="75642">
                          <a:moveTo>
                            <a:pt x="42478" y="75642"/>
                          </a:moveTo>
                          <a:cubicBezTo>
                            <a:pt x="29483" y="75642"/>
                            <a:pt x="17042" y="74598"/>
                            <a:pt x="5497" y="72533"/>
                          </a:cubicBezTo>
                          <a:cubicBezTo>
                            <a:pt x="1870" y="71885"/>
                            <a:pt x="-544" y="68422"/>
                            <a:pt x="106" y="64799"/>
                          </a:cubicBezTo>
                          <a:cubicBezTo>
                            <a:pt x="758" y="61172"/>
                            <a:pt x="4202" y="58735"/>
                            <a:pt x="7840" y="59407"/>
                          </a:cubicBezTo>
                          <a:cubicBezTo>
                            <a:pt x="18615" y="61332"/>
                            <a:pt x="30268" y="62309"/>
                            <a:pt x="42478" y="62309"/>
                          </a:cubicBezTo>
                          <a:cubicBezTo>
                            <a:pt x="85949" y="62309"/>
                            <a:pt x="114800" y="49652"/>
                            <a:pt x="114800" y="41283"/>
                          </a:cubicBezTo>
                          <a:lnTo>
                            <a:pt x="114800" y="6667"/>
                          </a:lnTo>
                          <a:cubicBezTo>
                            <a:pt x="114800" y="2986"/>
                            <a:pt x="117781" y="0"/>
                            <a:pt x="121462" y="0"/>
                          </a:cubicBezTo>
                          <a:cubicBezTo>
                            <a:pt x="125143" y="0"/>
                            <a:pt x="128125" y="2986"/>
                            <a:pt x="128125" y="6667"/>
                          </a:cubicBezTo>
                          <a:lnTo>
                            <a:pt x="128125" y="41283"/>
                          </a:lnTo>
                          <a:cubicBezTo>
                            <a:pt x="128125" y="63837"/>
                            <a:pt x="85045" y="75642"/>
                            <a:pt x="42478" y="75642"/>
                          </a:cubicBezTo>
                          <a:close/>
                        </a:path>
                      </a:pathLst>
                    </a:custGeom>
                    <a:grpFill/>
                    <a:ln w="205" cap="flat">
                      <a:noFill/>
                      <a:prstDash val="solid"/>
                      <a:miter/>
                    </a:ln>
                  </p:spPr>
                  <p:txBody>
                    <a:bodyPr rtlCol="0" anchor="ctr"/>
                    <a:lstStyle/>
                    <a:p>
                      <a:endParaRPr lang="en-GB" dirty="0"/>
                    </a:p>
                  </p:txBody>
                </p:sp>
              </p:grpSp>
              <p:grpSp>
                <p:nvGrpSpPr>
                  <p:cNvPr id="446" name="Grafik 348">
                    <a:extLst>
                      <a:ext uri="{FF2B5EF4-FFF2-40B4-BE49-F238E27FC236}">
                        <a16:creationId xmlns:a16="http://schemas.microsoft.com/office/drawing/2014/main" id="{38562DF5-9F9C-463B-A119-947856BC8CCE}"/>
                      </a:ext>
                    </a:extLst>
                  </p:cNvPr>
                  <p:cNvGrpSpPr/>
                  <p:nvPr/>
                </p:nvGrpSpPr>
                <p:grpSpPr>
                  <a:xfrm>
                    <a:off x="2786962" y="1821260"/>
                    <a:ext cx="171286" cy="103332"/>
                    <a:chOff x="2786962" y="1821260"/>
                    <a:chExt cx="171286" cy="103332"/>
                  </a:xfrm>
                  <a:grpFill/>
                </p:grpSpPr>
                <p:sp>
                  <p:nvSpPr>
                    <p:cNvPr id="447" name="Freihandform: Form 446">
                      <a:extLst>
                        <a:ext uri="{FF2B5EF4-FFF2-40B4-BE49-F238E27FC236}">
                          <a16:creationId xmlns:a16="http://schemas.microsoft.com/office/drawing/2014/main" id="{84821D76-C36D-44BD-B480-8808C6571756}"/>
                        </a:ext>
                      </a:extLst>
                    </p:cNvPr>
                    <p:cNvSpPr/>
                    <p:nvPr/>
                  </p:nvSpPr>
                  <p:spPr>
                    <a:xfrm>
                      <a:off x="2786962" y="1821260"/>
                      <a:ext cx="171286" cy="68716"/>
                    </a:xfrm>
                    <a:custGeom>
                      <a:avLst/>
                      <a:gdLst>
                        <a:gd name="connsiteX0" fmla="*/ 85640 w 171286"/>
                        <a:gd name="connsiteY0" fmla="*/ 68717 h 68716"/>
                        <a:gd name="connsiteX1" fmla="*/ 0 w 171286"/>
                        <a:gd name="connsiteY1" fmla="*/ 34359 h 68716"/>
                        <a:gd name="connsiteX2" fmla="*/ 85640 w 171286"/>
                        <a:gd name="connsiteY2" fmla="*/ 0 h 68716"/>
                        <a:gd name="connsiteX3" fmla="*/ 171286 w 171286"/>
                        <a:gd name="connsiteY3" fmla="*/ 34359 h 68716"/>
                        <a:gd name="connsiteX4" fmla="*/ 85640 w 171286"/>
                        <a:gd name="connsiteY4" fmla="*/ 68717 h 68716"/>
                        <a:gd name="connsiteX5" fmla="*/ 85640 w 171286"/>
                        <a:gd name="connsiteY5" fmla="*/ 13335 h 68716"/>
                        <a:gd name="connsiteX6" fmla="*/ 13333 w 171286"/>
                        <a:gd name="connsiteY6" fmla="*/ 34361 h 68716"/>
                        <a:gd name="connsiteX7" fmla="*/ 85640 w 171286"/>
                        <a:gd name="connsiteY7" fmla="*/ 55383 h 68716"/>
                        <a:gd name="connsiteX8" fmla="*/ 157961 w 171286"/>
                        <a:gd name="connsiteY8" fmla="*/ 34361 h 68716"/>
                        <a:gd name="connsiteX9" fmla="*/ 85640 w 171286"/>
                        <a:gd name="connsiteY9" fmla="*/ 13335 h 6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286" h="68716">
                          <a:moveTo>
                            <a:pt x="85640" y="68717"/>
                          </a:moveTo>
                          <a:cubicBezTo>
                            <a:pt x="43086" y="68717"/>
                            <a:pt x="0" y="56915"/>
                            <a:pt x="0" y="34359"/>
                          </a:cubicBezTo>
                          <a:cubicBezTo>
                            <a:pt x="0" y="11803"/>
                            <a:pt x="43086" y="0"/>
                            <a:pt x="85640" y="0"/>
                          </a:cubicBezTo>
                          <a:cubicBezTo>
                            <a:pt x="128206" y="0"/>
                            <a:pt x="171286" y="11803"/>
                            <a:pt x="171286" y="34359"/>
                          </a:cubicBezTo>
                          <a:cubicBezTo>
                            <a:pt x="171286" y="56917"/>
                            <a:pt x="128206" y="68717"/>
                            <a:pt x="85640" y="68717"/>
                          </a:cubicBezTo>
                          <a:close/>
                          <a:moveTo>
                            <a:pt x="85640" y="13335"/>
                          </a:moveTo>
                          <a:cubicBezTo>
                            <a:pt x="42176" y="13335"/>
                            <a:pt x="13333" y="25992"/>
                            <a:pt x="13333" y="34361"/>
                          </a:cubicBezTo>
                          <a:cubicBezTo>
                            <a:pt x="13333" y="42731"/>
                            <a:pt x="42176" y="55383"/>
                            <a:pt x="85640" y="55383"/>
                          </a:cubicBezTo>
                          <a:cubicBezTo>
                            <a:pt x="129111" y="55383"/>
                            <a:pt x="157961" y="42731"/>
                            <a:pt x="157961" y="34361"/>
                          </a:cubicBezTo>
                          <a:cubicBezTo>
                            <a:pt x="157961" y="25990"/>
                            <a:pt x="129111" y="13335"/>
                            <a:pt x="85640" y="13335"/>
                          </a:cubicBezTo>
                          <a:close/>
                        </a:path>
                      </a:pathLst>
                    </a:custGeom>
                    <a:grpFill/>
                    <a:ln w="205" cap="flat">
                      <a:noFill/>
                      <a:prstDash val="solid"/>
                      <a:miter/>
                    </a:ln>
                  </p:spPr>
                  <p:txBody>
                    <a:bodyPr rtlCol="0" anchor="ctr"/>
                    <a:lstStyle/>
                    <a:p>
                      <a:endParaRPr lang="en-GB" dirty="0"/>
                    </a:p>
                  </p:txBody>
                </p:sp>
                <p:sp>
                  <p:nvSpPr>
                    <p:cNvPr id="448" name="Freihandform: Form 447">
                      <a:extLst>
                        <a:ext uri="{FF2B5EF4-FFF2-40B4-BE49-F238E27FC236}">
                          <a16:creationId xmlns:a16="http://schemas.microsoft.com/office/drawing/2014/main" id="{CD3BD070-7494-420D-9040-10FCE9FCAC7A}"/>
                        </a:ext>
                      </a:extLst>
                    </p:cNvPr>
                    <p:cNvSpPr/>
                    <p:nvPr/>
                  </p:nvSpPr>
                  <p:spPr>
                    <a:xfrm>
                      <a:off x="2786962" y="1848953"/>
                      <a:ext cx="171286" cy="75640"/>
                    </a:xfrm>
                    <a:custGeom>
                      <a:avLst/>
                      <a:gdLst>
                        <a:gd name="connsiteX0" fmla="*/ 85640 w 171286"/>
                        <a:gd name="connsiteY0" fmla="*/ 75640 h 75640"/>
                        <a:gd name="connsiteX1" fmla="*/ 0 w 171286"/>
                        <a:gd name="connsiteY1" fmla="*/ 41281 h 75640"/>
                        <a:gd name="connsiteX2" fmla="*/ 0 w 171286"/>
                        <a:gd name="connsiteY2" fmla="*/ 6667 h 75640"/>
                        <a:gd name="connsiteX3" fmla="*/ 6667 w 171286"/>
                        <a:gd name="connsiteY3" fmla="*/ 0 h 75640"/>
                        <a:gd name="connsiteX4" fmla="*/ 13333 w 171286"/>
                        <a:gd name="connsiteY4" fmla="*/ 6667 h 75640"/>
                        <a:gd name="connsiteX5" fmla="*/ 13333 w 171286"/>
                        <a:gd name="connsiteY5" fmla="*/ 41281 h 75640"/>
                        <a:gd name="connsiteX6" fmla="*/ 85640 w 171286"/>
                        <a:gd name="connsiteY6" fmla="*/ 62307 h 75640"/>
                        <a:gd name="connsiteX7" fmla="*/ 157961 w 171286"/>
                        <a:gd name="connsiteY7" fmla="*/ 41281 h 75640"/>
                        <a:gd name="connsiteX8" fmla="*/ 157961 w 171286"/>
                        <a:gd name="connsiteY8" fmla="*/ 6667 h 75640"/>
                        <a:gd name="connsiteX9" fmla="*/ 164624 w 171286"/>
                        <a:gd name="connsiteY9" fmla="*/ 0 h 75640"/>
                        <a:gd name="connsiteX10" fmla="*/ 171286 w 171286"/>
                        <a:gd name="connsiteY10" fmla="*/ 6667 h 75640"/>
                        <a:gd name="connsiteX11" fmla="*/ 171286 w 171286"/>
                        <a:gd name="connsiteY11" fmla="*/ 41281 h 75640"/>
                        <a:gd name="connsiteX12" fmla="*/ 85640 w 171286"/>
                        <a:gd name="connsiteY12" fmla="*/ 75640 h 75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286" h="75640">
                          <a:moveTo>
                            <a:pt x="85640" y="75640"/>
                          </a:moveTo>
                          <a:cubicBezTo>
                            <a:pt x="43086" y="75640"/>
                            <a:pt x="0" y="63837"/>
                            <a:pt x="0" y="41281"/>
                          </a:cubicBezTo>
                          <a:lnTo>
                            <a:pt x="0" y="6667"/>
                          </a:lnTo>
                          <a:cubicBezTo>
                            <a:pt x="0" y="2986"/>
                            <a:pt x="2982" y="0"/>
                            <a:pt x="6667" y="0"/>
                          </a:cubicBezTo>
                          <a:cubicBezTo>
                            <a:pt x="10352" y="0"/>
                            <a:pt x="13333" y="2986"/>
                            <a:pt x="13333" y="6667"/>
                          </a:cubicBezTo>
                          <a:lnTo>
                            <a:pt x="13333" y="41281"/>
                          </a:lnTo>
                          <a:cubicBezTo>
                            <a:pt x="13333" y="49650"/>
                            <a:pt x="42176" y="62307"/>
                            <a:pt x="85640" y="62307"/>
                          </a:cubicBezTo>
                          <a:cubicBezTo>
                            <a:pt x="129111" y="62307"/>
                            <a:pt x="157961" y="49650"/>
                            <a:pt x="157961" y="41281"/>
                          </a:cubicBezTo>
                          <a:lnTo>
                            <a:pt x="157961" y="6667"/>
                          </a:lnTo>
                          <a:cubicBezTo>
                            <a:pt x="157961" y="2986"/>
                            <a:pt x="160943" y="0"/>
                            <a:pt x="164624" y="0"/>
                          </a:cubicBezTo>
                          <a:cubicBezTo>
                            <a:pt x="168305" y="0"/>
                            <a:pt x="171286" y="2986"/>
                            <a:pt x="171286" y="6667"/>
                          </a:cubicBezTo>
                          <a:lnTo>
                            <a:pt x="171286" y="41281"/>
                          </a:lnTo>
                          <a:cubicBezTo>
                            <a:pt x="171286" y="63837"/>
                            <a:pt x="128206" y="75640"/>
                            <a:pt x="85640" y="75640"/>
                          </a:cubicBezTo>
                          <a:close/>
                        </a:path>
                      </a:pathLst>
                    </a:custGeom>
                    <a:grpFill/>
                    <a:ln w="205" cap="flat">
                      <a:noFill/>
                      <a:prstDash val="solid"/>
                      <a:miter/>
                    </a:ln>
                  </p:spPr>
                  <p:txBody>
                    <a:bodyPr rtlCol="0" anchor="ctr"/>
                    <a:lstStyle/>
                    <a:p>
                      <a:endParaRPr lang="en-GB" dirty="0"/>
                    </a:p>
                  </p:txBody>
                </p:sp>
              </p:grpSp>
            </p:grpSp>
          </p:grpSp>
          <p:sp>
            <p:nvSpPr>
              <p:cNvPr id="440" name="Freihandform: Form 439">
                <a:extLst>
                  <a:ext uri="{FF2B5EF4-FFF2-40B4-BE49-F238E27FC236}">
                    <a16:creationId xmlns:a16="http://schemas.microsoft.com/office/drawing/2014/main" id="{13915005-99B7-422A-BA4C-39C66D1A0ED5}"/>
                  </a:ext>
                </a:extLst>
              </p:cNvPr>
              <p:cNvSpPr/>
              <p:nvPr/>
            </p:nvSpPr>
            <p:spPr>
              <a:xfrm>
                <a:off x="2642172" y="1887710"/>
                <a:ext cx="172380" cy="172384"/>
              </a:xfrm>
              <a:custGeom>
                <a:avLst/>
                <a:gdLst>
                  <a:gd name="connsiteX0" fmla="*/ 86193 w 172380"/>
                  <a:gd name="connsiteY0" fmla="*/ 172385 h 172384"/>
                  <a:gd name="connsiteX1" fmla="*/ 0 w 172380"/>
                  <a:gd name="connsiteY1" fmla="*/ 86191 h 172384"/>
                  <a:gd name="connsiteX2" fmla="*/ 86193 w 172380"/>
                  <a:gd name="connsiteY2" fmla="*/ 0 h 172384"/>
                  <a:gd name="connsiteX3" fmla="*/ 172380 w 172380"/>
                  <a:gd name="connsiteY3" fmla="*/ 86191 h 172384"/>
                  <a:gd name="connsiteX4" fmla="*/ 86193 w 172380"/>
                  <a:gd name="connsiteY4" fmla="*/ 172385 h 172384"/>
                  <a:gd name="connsiteX5" fmla="*/ 86193 w 172380"/>
                  <a:gd name="connsiteY5" fmla="*/ 13335 h 172384"/>
                  <a:gd name="connsiteX6" fmla="*/ 13333 w 172380"/>
                  <a:gd name="connsiteY6" fmla="*/ 86193 h 172384"/>
                  <a:gd name="connsiteX7" fmla="*/ 86193 w 172380"/>
                  <a:gd name="connsiteY7" fmla="*/ 159053 h 172384"/>
                  <a:gd name="connsiteX8" fmla="*/ 159047 w 172380"/>
                  <a:gd name="connsiteY8" fmla="*/ 86193 h 172384"/>
                  <a:gd name="connsiteX9" fmla="*/ 86193 w 172380"/>
                  <a:gd name="connsiteY9" fmla="*/ 13335 h 17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2380" h="172384">
                    <a:moveTo>
                      <a:pt x="86193" y="172385"/>
                    </a:moveTo>
                    <a:cubicBezTo>
                      <a:pt x="38665" y="172385"/>
                      <a:pt x="0" y="133717"/>
                      <a:pt x="0" y="86191"/>
                    </a:cubicBezTo>
                    <a:cubicBezTo>
                      <a:pt x="0" y="38667"/>
                      <a:pt x="38667" y="0"/>
                      <a:pt x="86193" y="0"/>
                    </a:cubicBezTo>
                    <a:cubicBezTo>
                      <a:pt x="133715" y="0"/>
                      <a:pt x="172380" y="38667"/>
                      <a:pt x="172380" y="86191"/>
                    </a:cubicBezTo>
                    <a:cubicBezTo>
                      <a:pt x="172380" y="133719"/>
                      <a:pt x="133715" y="172385"/>
                      <a:pt x="86193" y="172385"/>
                    </a:cubicBezTo>
                    <a:close/>
                    <a:moveTo>
                      <a:pt x="86193" y="13335"/>
                    </a:moveTo>
                    <a:cubicBezTo>
                      <a:pt x="46017" y="13335"/>
                      <a:pt x="13333" y="46019"/>
                      <a:pt x="13333" y="86193"/>
                    </a:cubicBezTo>
                    <a:cubicBezTo>
                      <a:pt x="13333" y="126368"/>
                      <a:pt x="46017" y="159053"/>
                      <a:pt x="86193" y="159053"/>
                    </a:cubicBezTo>
                    <a:cubicBezTo>
                      <a:pt x="126364" y="159053"/>
                      <a:pt x="159047" y="126366"/>
                      <a:pt x="159047" y="86193"/>
                    </a:cubicBezTo>
                    <a:cubicBezTo>
                      <a:pt x="159047" y="46019"/>
                      <a:pt x="126364" y="13335"/>
                      <a:pt x="86193" y="13335"/>
                    </a:cubicBezTo>
                    <a:close/>
                  </a:path>
                </a:pathLst>
              </a:custGeom>
              <a:grpFill/>
              <a:ln w="205" cap="flat">
                <a:noFill/>
                <a:prstDash val="solid"/>
                <a:miter/>
              </a:ln>
            </p:spPr>
            <p:txBody>
              <a:bodyPr rtlCol="0" anchor="ctr"/>
              <a:lstStyle/>
              <a:p>
                <a:endParaRPr lang="en-GB" dirty="0"/>
              </a:p>
            </p:txBody>
          </p:sp>
          <p:sp>
            <p:nvSpPr>
              <p:cNvPr id="441" name="Freihandform: Form 440">
                <a:extLst>
                  <a:ext uri="{FF2B5EF4-FFF2-40B4-BE49-F238E27FC236}">
                    <a16:creationId xmlns:a16="http://schemas.microsoft.com/office/drawing/2014/main" id="{D58595BB-EF15-4BA8-BAE4-1EFD795D7F5D}"/>
                  </a:ext>
                </a:extLst>
              </p:cNvPr>
              <p:cNvSpPr/>
              <p:nvPr/>
            </p:nvSpPr>
            <p:spPr>
              <a:xfrm>
                <a:off x="2668363" y="1913900"/>
                <a:ext cx="120003" cy="120003"/>
              </a:xfrm>
              <a:custGeom>
                <a:avLst/>
                <a:gdLst>
                  <a:gd name="connsiteX0" fmla="*/ 60002 w 120003"/>
                  <a:gd name="connsiteY0" fmla="*/ 120004 h 120003"/>
                  <a:gd name="connsiteX1" fmla="*/ 0 w 120003"/>
                  <a:gd name="connsiteY1" fmla="*/ 60002 h 120003"/>
                  <a:gd name="connsiteX2" fmla="*/ 60002 w 120003"/>
                  <a:gd name="connsiteY2" fmla="*/ 0 h 120003"/>
                  <a:gd name="connsiteX3" fmla="*/ 120004 w 120003"/>
                  <a:gd name="connsiteY3" fmla="*/ 60002 h 120003"/>
                  <a:gd name="connsiteX4" fmla="*/ 60002 w 120003"/>
                  <a:gd name="connsiteY4" fmla="*/ 120004 h 120003"/>
                  <a:gd name="connsiteX5" fmla="*/ 60002 w 120003"/>
                  <a:gd name="connsiteY5" fmla="*/ 13333 h 120003"/>
                  <a:gd name="connsiteX6" fmla="*/ 13333 w 120003"/>
                  <a:gd name="connsiteY6" fmla="*/ 60002 h 120003"/>
                  <a:gd name="connsiteX7" fmla="*/ 60002 w 120003"/>
                  <a:gd name="connsiteY7" fmla="*/ 106670 h 120003"/>
                  <a:gd name="connsiteX8" fmla="*/ 106670 w 120003"/>
                  <a:gd name="connsiteY8" fmla="*/ 60002 h 120003"/>
                  <a:gd name="connsiteX9" fmla="*/ 60002 w 120003"/>
                  <a:gd name="connsiteY9" fmla="*/ 13333 h 12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003" h="120003">
                    <a:moveTo>
                      <a:pt x="60002" y="120004"/>
                    </a:moveTo>
                    <a:cubicBezTo>
                      <a:pt x="26915" y="120004"/>
                      <a:pt x="0" y="93086"/>
                      <a:pt x="0" y="60002"/>
                    </a:cubicBezTo>
                    <a:cubicBezTo>
                      <a:pt x="0" y="26917"/>
                      <a:pt x="26915" y="0"/>
                      <a:pt x="60002" y="0"/>
                    </a:cubicBezTo>
                    <a:cubicBezTo>
                      <a:pt x="93088" y="0"/>
                      <a:pt x="120004" y="26917"/>
                      <a:pt x="120004" y="60002"/>
                    </a:cubicBezTo>
                    <a:cubicBezTo>
                      <a:pt x="120004" y="93086"/>
                      <a:pt x="93088" y="120004"/>
                      <a:pt x="60002" y="120004"/>
                    </a:cubicBezTo>
                    <a:close/>
                    <a:moveTo>
                      <a:pt x="60002" y="13333"/>
                    </a:moveTo>
                    <a:cubicBezTo>
                      <a:pt x="34271" y="13333"/>
                      <a:pt x="13333" y="34269"/>
                      <a:pt x="13333" y="60002"/>
                    </a:cubicBezTo>
                    <a:cubicBezTo>
                      <a:pt x="13333" y="85735"/>
                      <a:pt x="34271" y="106670"/>
                      <a:pt x="60002" y="106670"/>
                    </a:cubicBezTo>
                    <a:cubicBezTo>
                      <a:pt x="85733" y="106670"/>
                      <a:pt x="106670" y="85735"/>
                      <a:pt x="106670" y="60002"/>
                    </a:cubicBezTo>
                    <a:cubicBezTo>
                      <a:pt x="106670" y="34269"/>
                      <a:pt x="85733" y="13333"/>
                      <a:pt x="60002" y="13333"/>
                    </a:cubicBezTo>
                    <a:close/>
                  </a:path>
                </a:pathLst>
              </a:custGeom>
              <a:grpFill/>
              <a:ln w="205" cap="flat">
                <a:noFill/>
                <a:prstDash val="solid"/>
                <a:miter/>
              </a:ln>
            </p:spPr>
            <p:txBody>
              <a:bodyPr rtlCol="0" anchor="ctr"/>
              <a:lstStyle/>
              <a:p>
                <a:endParaRPr lang="en-GB" dirty="0"/>
              </a:p>
            </p:txBody>
          </p:sp>
        </p:grpSp>
        <p:sp>
          <p:nvSpPr>
            <p:cNvPr id="438" name="Freihandform: Form 437">
              <a:extLst>
                <a:ext uri="{FF2B5EF4-FFF2-40B4-BE49-F238E27FC236}">
                  <a16:creationId xmlns:a16="http://schemas.microsoft.com/office/drawing/2014/main" id="{E9F5200C-7560-4274-93CF-A623F82564CB}"/>
                </a:ext>
              </a:extLst>
            </p:cNvPr>
            <p:cNvSpPr/>
            <p:nvPr/>
          </p:nvSpPr>
          <p:spPr>
            <a:xfrm>
              <a:off x="2665594" y="1626716"/>
              <a:ext cx="438648" cy="241540"/>
            </a:xfrm>
            <a:custGeom>
              <a:avLst/>
              <a:gdLst>
                <a:gd name="connsiteX0" fmla="*/ 6666 w 440020"/>
                <a:gd name="connsiteY0" fmla="*/ 242295 h 242295"/>
                <a:gd name="connsiteX1" fmla="*/ 1953 w 440020"/>
                <a:gd name="connsiteY1" fmla="*/ 240342 h 242295"/>
                <a:gd name="connsiteX2" fmla="*/ 1953 w 440020"/>
                <a:gd name="connsiteY2" fmla="*/ 230913 h 242295"/>
                <a:gd name="connsiteX3" fmla="*/ 43581 w 440020"/>
                <a:gd name="connsiteY3" fmla="*/ 189285 h 242295"/>
                <a:gd name="connsiteX4" fmla="*/ 53009 w 440020"/>
                <a:gd name="connsiteY4" fmla="*/ 189285 h 242295"/>
                <a:gd name="connsiteX5" fmla="*/ 88890 w 440020"/>
                <a:gd name="connsiteY5" fmla="*/ 225162 h 242295"/>
                <a:gd name="connsiteX6" fmla="*/ 126001 w 440020"/>
                <a:gd name="connsiteY6" fmla="*/ 169486 h 242295"/>
                <a:gd name="connsiteX7" fmla="*/ 133163 w 440020"/>
                <a:gd name="connsiteY7" fmla="*/ 166717 h 242295"/>
                <a:gd name="connsiteX8" fmla="*/ 170000 w 440020"/>
                <a:gd name="connsiteY8" fmla="*/ 175925 h 242295"/>
                <a:gd name="connsiteX9" fmla="*/ 229905 w 440020"/>
                <a:gd name="connsiteY9" fmla="*/ 76094 h 242295"/>
                <a:gd name="connsiteX10" fmla="*/ 235172 w 440020"/>
                <a:gd name="connsiteY10" fmla="*/ 72874 h 242295"/>
                <a:gd name="connsiteX11" fmla="*/ 240829 w 440020"/>
                <a:gd name="connsiteY11" fmla="*/ 75360 h 242295"/>
                <a:gd name="connsiteX12" fmla="*/ 276187 w 440020"/>
                <a:gd name="connsiteY12" fmla="*/ 119567 h 242295"/>
                <a:gd name="connsiteX13" fmla="*/ 333835 w 440020"/>
                <a:gd name="connsiteY13" fmla="*/ 13886 h 242295"/>
                <a:gd name="connsiteX14" fmla="*/ 339037 w 440020"/>
                <a:gd name="connsiteY14" fmla="*/ 10445 h 242295"/>
                <a:gd name="connsiteX15" fmla="*/ 344815 w 440020"/>
                <a:gd name="connsiteY15" fmla="*/ 12812 h 242295"/>
                <a:gd name="connsiteX16" fmla="*/ 390692 w 440020"/>
                <a:gd name="connsiteY16" fmla="*/ 67879 h 242295"/>
                <a:gd name="connsiteX17" fmla="*/ 427562 w 440020"/>
                <a:gd name="connsiteY17" fmla="*/ 3361 h 242295"/>
                <a:gd name="connsiteX18" fmla="*/ 436651 w 440020"/>
                <a:gd name="connsiteY18" fmla="*/ 881 h 242295"/>
                <a:gd name="connsiteX19" fmla="*/ 439139 w 440020"/>
                <a:gd name="connsiteY19" fmla="*/ 9977 h 242295"/>
                <a:gd name="connsiteX20" fmla="*/ 397499 w 440020"/>
                <a:gd name="connsiteY20" fmla="*/ 82830 h 242295"/>
                <a:gd name="connsiteX21" fmla="*/ 392296 w 440020"/>
                <a:gd name="connsiteY21" fmla="*/ 86164 h 242295"/>
                <a:gd name="connsiteX22" fmla="*/ 386600 w 440020"/>
                <a:gd name="connsiteY22" fmla="*/ 83791 h 242295"/>
                <a:gd name="connsiteX23" fmla="*/ 340847 w 440020"/>
                <a:gd name="connsiteY23" fmla="*/ 28883 h 242295"/>
                <a:gd name="connsiteX24" fmla="*/ 283095 w 440020"/>
                <a:gd name="connsiteY24" fmla="*/ 134749 h 242295"/>
                <a:gd name="connsiteX25" fmla="*/ 277828 w 440020"/>
                <a:gd name="connsiteY25" fmla="*/ 138195 h 242295"/>
                <a:gd name="connsiteX26" fmla="*/ 272034 w 440020"/>
                <a:gd name="connsiteY26" fmla="*/ 135717 h 242295"/>
                <a:gd name="connsiteX27" fmla="*/ 236401 w 440020"/>
                <a:gd name="connsiteY27" fmla="*/ 91171 h 242295"/>
                <a:gd name="connsiteX28" fmla="*/ 178894 w 440020"/>
                <a:gd name="connsiteY28" fmla="*/ 187017 h 242295"/>
                <a:gd name="connsiteX29" fmla="*/ 171563 w 440020"/>
                <a:gd name="connsiteY29" fmla="*/ 190054 h 242295"/>
                <a:gd name="connsiteX30" fmla="*/ 134491 w 440020"/>
                <a:gd name="connsiteY30" fmla="*/ 180786 h 242295"/>
                <a:gd name="connsiteX31" fmla="*/ 95473 w 440020"/>
                <a:gd name="connsiteY31" fmla="*/ 239320 h 242295"/>
                <a:gd name="connsiteX32" fmla="*/ 90583 w 440020"/>
                <a:gd name="connsiteY32" fmla="*/ 242256 h 242295"/>
                <a:gd name="connsiteX33" fmla="*/ 85211 w 440020"/>
                <a:gd name="connsiteY33" fmla="*/ 240335 h 242295"/>
                <a:gd name="connsiteX34" fmla="*/ 48296 w 440020"/>
                <a:gd name="connsiteY34" fmla="*/ 203420 h 242295"/>
                <a:gd name="connsiteX35" fmla="*/ 11381 w 440020"/>
                <a:gd name="connsiteY35" fmla="*/ 240335 h 242295"/>
                <a:gd name="connsiteX36" fmla="*/ 6666 w 440020"/>
                <a:gd name="connsiteY36" fmla="*/ 242295 h 24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40020" h="242295">
                  <a:moveTo>
                    <a:pt x="6666" y="242295"/>
                  </a:moveTo>
                  <a:cubicBezTo>
                    <a:pt x="4961" y="242295"/>
                    <a:pt x="3254" y="241643"/>
                    <a:pt x="1953" y="240342"/>
                  </a:cubicBezTo>
                  <a:cubicBezTo>
                    <a:pt x="-651" y="237738"/>
                    <a:pt x="-651" y="233519"/>
                    <a:pt x="1953" y="230913"/>
                  </a:cubicBezTo>
                  <a:lnTo>
                    <a:pt x="43581" y="189285"/>
                  </a:lnTo>
                  <a:cubicBezTo>
                    <a:pt x="46184" y="186681"/>
                    <a:pt x="50404" y="186681"/>
                    <a:pt x="53009" y="189285"/>
                  </a:cubicBezTo>
                  <a:lnTo>
                    <a:pt x="88890" y="225162"/>
                  </a:lnTo>
                  <a:lnTo>
                    <a:pt x="126001" y="169486"/>
                  </a:lnTo>
                  <a:cubicBezTo>
                    <a:pt x="127564" y="167142"/>
                    <a:pt x="130440" y="166036"/>
                    <a:pt x="133163" y="166717"/>
                  </a:cubicBezTo>
                  <a:lnTo>
                    <a:pt x="170000" y="175925"/>
                  </a:lnTo>
                  <a:lnTo>
                    <a:pt x="229905" y="76094"/>
                  </a:lnTo>
                  <a:cubicBezTo>
                    <a:pt x="231026" y="74223"/>
                    <a:pt x="232998" y="73022"/>
                    <a:pt x="235172" y="72874"/>
                  </a:cubicBezTo>
                  <a:cubicBezTo>
                    <a:pt x="237339" y="72744"/>
                    <a:pt x="239469" y="73659"/>
                    <a:pt x="240829" y="75360"/>
                  </a:cubicBezTo>
                  <a:lnTo>
                    <a:pt x="276187" y="119567"/>
                  </a:lnTo>
                  <a:lnTo>
                    <a:pt x="333835" y="13886"/>
                  </a:lnTo>
                  <a:cubicBezTo>
                    <a:pt x="334883" y="11949"/>
                    <a:pt x="336837" y="10659"/>
                    <a:pt x="339037" y="10445"/>
                  </a:cubicBezTo>
                  <a:cubicBezTo>
                    <a:pt x="341299" y="10211"/>
                    <a:pt x="343397" y="11114"/>
                    <a:pt x="344815" y="12812"/>
                  </a:cubicBezTo>
                  <a:lnTo>
                    <a:pt x="390692" y="67879"/>
                  </a:lnTo>
                  <a:lnTo>
                    <a:pt x="427562" y="3361"/>
                  </a:lnTo>
                  <a:cubicBezTo>
                    <a:pt x="429372" y="164"/>
                    <a:pt x="433443" y="-949"/>
                    <a:pt x="436651" y="881"/>
                  </a:cubicBezTo>
                  <a:cubicBezTo>
                    <a:pt x="439859" y="2707"/>
                    <a:pt x="440970" y="6779"/>
                    <a:pt x="439139" y="9977"/>
                  </a:cubicBezTo>
                  <a:lnTo>
                    <a:pt x="397499" y="82830"/>
                  </a:lnTo>
                  <a:cubicBezTo>
                    <a:pt x="396429" y="84728"/>
                    <a:pt x="394476" y="85973"/>
                    <a:pt x="392296" y="86164"/>
                  </a:cubicBezTo>
                  <a:cubicBezTo>
                    <a:pt x="390116" y="86339"/>
                    <a:pt x="387998" y="85467"/>
                    <a:pt x="386600" y="83791"/>
                  </a:cubicBezTo>
                  <a:lnTo>
                    <a:pt x="340847" y="28883"/>
                  </a:lnTo>
                  <a:lnTo>
                    <a:pt x="283095" y="134749"/>
                  </a:lnTo>
                  <a:cubicBezTo>
                    <a:pt x="282027" y="136704"/>
                    <a:pt x="280047" y="138000"/>
                    <a:pt x="277828" y="138195"/>
                  </a:cubicBezTo>
                  <a:cubicBezTo>
                    <a:pt x="275640" y="138409"/>
                    <a:pt x="273434" y="137465"/>
                    <a:pt x="272034" y="135717"/>
                  </a:cubicBezTo>
                  <a:lnTo>
                    <a:pt x="236401" y="91171"/>
                  </a:lnTo>
                  <a:lnTo>
                    <a:pt x="178894" y="187017"/>
                  </a:lnTo>
                  <a:cubicBezTo>
                    <a:pt x="177391" y="189529"/>
                    <a:pt x="174401" y="190753"/>
                    <a:pt x="171563" y="190054"/>
                  </a:cubicBezTo>
                  <a:lnTo>
                    <a:pt x="134491" y="180786"/>
                  </a:lnTo>
                  <a:lnTo>
                    <a:pt x="95473" y="239320"/>
                  </a:lnTo>
                  <a:cubicBezTo>
                    <a:pt x="94366" y="240979"/>
                    <a:pt x="92569" y="242061"/>
                    <a:pt x="90583" y="242256"/>
                  </a:cubicBezTo>
                  <a:cubicBezTo>
                    <a:pt x="88565" y="242468"/>
                    <a:pt x="86624" y="241744"/>
                    <a:pt x="85211" y="240335"/>
                  </a:cubicBezTo>
                  <a:lnTo>
                    <a:pt x="48296" y="203420"/>
                  </a:lnTo>
                  <a:lnTo>
                    <a:pt x="11381" y="240335"/>
                  </a:lnTo>
                  <a:cubicBezTo>
                    <a:pt x="10077" y="241643"/>
                    <a:pt x="8372" y="242295"/>
                    <a:pt x="6666" y="242295"/>
                  </a:cubicBezTo>
                  <a:close/>
                </a:path>
              </a:pathLst>
            </a:custGeom>
            <a:solidFill>
              <a:schemeClr val="accent1"/>
            </a:solidFill>
            <a:ln w="205" cap="flat">
              <a:noFill/>
              <a:prstDash val="solid"/>
              <a:miter/>
            </a:ln>
          </p:spPr>
          <p:txBody>
            <a:bodyPr rtlCol="0" anchor="ctr"/>
            <a:lstStyle/>
            <a:p>
              <a:endParaRPr lang="en-GB" dirty="0"/>
            </a:p>
          </p:txBody>
        </p:sp>
      </p:grpSp>
      <p:sp>
        <p:nvSpPr>
          <p:cNvPr id="455" name="TextBox 1399">
            <a:extLst>
              <a:ext uri="{FF2B5EF4-FFF2-40B4-BE49-F238E27FC236}">
                <a16:creationId xmlns:a16="http://schemas.microsoft.com/office/drawing/2014/main" id="{731C9596-DC71-458D-939F-162EFFB7E5F1}"/>
              </a:ext>
            </a:extLst>
          </p:cNvPr>
          <p:cNvSpPr txBox="1"/>
          <p:nvPr/>
        </p:nvSpPr>
        <p:spPr>
          <a:xfrm>
            <a:off x="2665307" y="2077494"/>
            <a:ext cx="439223" cy="215444"/>
          </a:xfrm>
          <a:prstGeom prst="rect">
            <a:avLst/>
          </a:prstGeom>
          <a:noFill/>
          <a:effectLst/>
        </p:spPr>
        <p:txBody>
          <a:bodyPr wrap="none" lIns="0" tIns="0" rIns="0" bIns="0" rtlCol="0" anchor="t">
            <a:spAutoFit/>
          </a:bodyPr>
          <a:lstStyle/>
          <a:p>
            <a:pPr algn="ctr"/>
            <a:r>
              <a:rPr lang="en-GB" sz="700" dirty="0">
                <a:solidFill>
                  <a:schemeClr val="tx2"/>
                </a:solidFill>
              </a:rPr>
              <a:t>Price</a:t>
            </a:r>
            <a:br>
              <a:rPr lang="en-GB" sz="700" dirty="0">
                <a:solidFill>
                  <a:schemeClr val="tx2"/>
                </a:solidFill>
              </a:rPr>
            </a:br>
            <a:r>
              <a:rPr lang="en-GB" sz="700" dirty="0">
                <a:solidFill>
                  <a:schemeClr val="tx2"/>
                </a:solidFill>
              </a:rPr>
              <a:t>adjustment</a:t>
            </a:r>
          </a:p>
        </p:txBody>
      </p:sp>
      <p:grpSp>
        <p:nvGrpSpPr>
          <p:cNvPr id="37" name="Group 36">
            <a:extLst>
              <a:ext uri="{FF2B5EF4-FFF2-40B4-BE49-F238E27FC236}">
                <a16:creationId xmlns:a16="http://schemas.microsoft.com/office/drawing/2014/main" id="{8629CCF9-5ACE-991A-69D2-11CF2D76272A}"/>
              </a:ext>
            </a:extLst>
          </p:cNvPr>
          <p:cNvGrpSpPr/>
          <p:nvPr/>
        </p:nvGrpSpPr>
        <p:grpSpPr>
          <a:xfrm>
            <a:off x="1620805" y="1626716"/>
            <a:ext cx="437358" cy="432000"/>
            <a:chOff x="1620805" y="1626716"/>
            <a:chExt cx="437358" cy="432000"/>
          </a:xfrm>
        </p:grpSpPr>
        <p:grpSp>
          <p:nvGrpSpPr>
            <p:cNvPr id="457" name="Grafik 348">
              <a:extLst>
                <a:ext uri="{FF2B5EF4-FFF2-40B4-BE49-F238E27FC236}">
                  <a16:creationId xmlns:a16="http://schemas.microsoft.com/office/drawing/2014/main" id="{6BE198E2-326C-44D1-8374-C962500446C7}"/>
                </a:ext>
              </a:extLst>
            </p:cNvPr>
            <p:cNvGrpSpPr/>
            <p:nvPr/>
          </p:nvGrpSpPr>
          <p:grpSpPr>
            <a:xfrm>
              <a:off x="1620805" y="1659718"/>
              <a:ext cx="395715" cy="334210"/>
              <a:chOff x="1717100" y="1664536"/>
              <a:chExt cx="397235" cy="335493"/>
            </a:xfrm>
            <a:solidFill>
              <a:schemeClr val="accent1"/>
            </a:solidFill>
          </p:grpSpPr>
          <p:grpSp>
            <p:nvGrpSpPr>
              <p:cNvPr id="468" name="Grafik 348">
                <a:extLst>
                  <a:ext uri="{FF2B5EF4-FFF2-40B4-BE49-F238E27FC236}">
                    <a16:creationId xmlns:a16="http://schemas.microsoft.com/office/drawing/2014/main" id="{849F0400-781B-4A17-8EBC-337DBF5DE608}"/>
                  </a:ext>
                </a:extLst>
              </p:cNvPr>
              <p:cNvGrpSpPr/>
              <p:nvPr/>
            </p:nvGrpSpPr>
            <p:grpSpPr>
              <a:xfrm>
                <a:off x="1717100" y="1682973"/>
                <a:ext cx="311640" cy="317056"/>
                <a:chOff x="1717100" y="1682973"/>
                <a:chExt cx="311640" cy="317056"/>
              </a:xfrm>
              <a:solidFill>
                <a:schemeClr val="accent1"/>
              </a:solidFill>
            </p:grpSpPr>
            <p:sp>
              <p:nvSpPr>
                <p:cNvPr id="472" name="Freihandform: Form 471">
                  <a:extLst>
                    <a:ext uri="{FF2B5EF4-FFF2-40B4-BE49-F238E27FC236}">
                      <a16:creationId xmlns:a16="http://schemas.microsoft.com/office/drawing/2014/main" id="{C3AB1D53-F0D3-4A7E-9F7A-42ED29AE1E42}"/>
                    </a:ext>
                  </a:extLst>
                </p:cNvPr>
                <p:cNvSpPr/>
                <p:nvPr/>
              </p:nvSpPr>
              <p:spPr>
                <a:xfrm>
                  <a:off x="1717100" y="1837217"/>
                  <a:ext cx="34838" cy="84581"/>
                </a:xfrm>
                <a:custGeom>
                  <a:avLst/>
                  <a:gdLst>
                    <a:gd name="connsiteX0" fmla="*/ 28167 w 34838"/>
                    <a:gd name="connsiteY0" fmla="*/ 84582 h 84581"/>
                    <a:gd name="connsiteX1" fmla="*/ 21786 w 34838"/>
                    <a:gd name="connsiteY1" fmla="*/ 79838 h 84581"/>
                    <a:gd name="connsiteX2" fmla="*/ 285 w 34838"/>
                    <a:gd name="connsiteY2" fmla="*/ 8590 h 84581"/>
                    <a:gd name="connsiteX3" fmla="*/ 4741 w 34838"/>
                    <a:gd name="connsiteY3" fmla="*/ 278 h 84581"/>
                    <a:gd name="connsiteX4" fmla="*/ 13053 w 34838"/>
                    <a:gd name="connsiteY4" fmla="*/ 4734 h 84581"/>
                    <a:gd name="connsiteX5" fmla="*/ 34554 w 34838"/>
                    <a:gd name="connsiteY5" fmla="*/ 75982 h 84581"/>
                    <a:gd name="connsiteX6" fmla="*/ 30098 w 34838"/>
                    <a:gd name="connsiteY6" fmla="*/ 84294 h 84581"/>
                    <a:gd name="connsiteX7" fmla="*/ 28167 w 34838"/>
                    <a:gd name="connsiteY7" fmla="*/ 84582 h 8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38" h="84581">
                      <a:moveTo>
                        <a:pt x="28167" y="84582"/>
                      </a:moveTo>
                      <a:cubicBezTo>
                        <a:pt x="25304" y="84582"/>
                        <a:pt x="22658" y="82721"/>
                        <a:pt x="21786" y="79838"/>
                      </a:cubicBezTo>
                      <a:lnTo>
                        <a:pt x="285" y="8590"/>
                      </a:lnTo>
                      <a:cubicBezTo>
                        <a:pt x="-776" y="5065"/>
                        <a:pt x="1217" y="1343"/>
                        <a:pt x="4741" y="278"/>
                      </a:cubicBezTo>
                      <a:cubicBezTo>
                        <a:pt x="8280" y="-764"/>
                        <a:pt x="11988" y="1212"/>
                        <a:pt x="13053" y="4734"/>
                      </a:cubicBezTo>
                      <a:lnTo>
                        <a:pt x="34554" y="75982"/>
                      </a:lnTo>
                      <a:cubicBezTo>
                        <a:pt x="35615" y="79507"/>
                        <a:pt x="33622" y="83229"/>
                        <a:pt x="30098" y="84294"/>
                      </a:cubicBezTo>
                      <a:cubicBezTo>
                        <a:pt x="29452" y="84487"/>
                        <a:pt x="28804" y="84582"/>
                        <a:pt x="28167" y="84582"/>
                      </a:cubicBezTo>
                      <a:close/>
                    </a:path>
                  </a:pathLst>
                </a:custGeom>
                <a:solidFill>
                  <a:schemeClr val="accent1"/>
                </a:solidFill>
                <a:ln w="205" cap="flat">
                  <a:noFill/>
                  <a:prstDash val="solid"/>
                  <a:miter/>
                </a:ln>
              </p:spPr>
              <p:txBody>
                <a:bodyPr rtlCol="0" anchor="ctr"/>
                <a:lstStyle/>
                <a:p>
                  <a:endParaRPr lang="en-GB" dirty="0"/>
                </a:p>
              </p:txBody>
            </p:sp>
            <p:sp>
              <p:nvSpPr>
                <p:cNvPr id="473" name="Freihandform: Form 472">
                  <a:extLst>
                    <a:ext uri="{FF2B5EF4-FFF2-40B4-BE49-F238E27FC236}">
                      <a16:creationId xmlns:a16="http://schemas.microsoft.com/office/drawing/2014/main" id="{B8C8F431-FEC1-4F9C-B08B-A1A89B54D742}"/>
                    </a:ext>
                  </a:extLst>
                </p:cNvPr>
                <p:cNvSpPr/>
                <p:nvPr/>
              </p:nvSpPr>
              <p:spPr>
                <a:xfrm>
                  <a:off x="1735473" y="1788937"/>
                  <a:ext cx="122773" cy="143503"/>
                </a:xfrm>
                <a:custGeom>
                  <a:avLst/>
                  <a:gdLst>
                    <a:gd name="connsiteX0" fmla="*/ 38922 w 122773"/>
                    <a:gd name="connsiteY0" fmla="*/ 143503 h 143503"/>
                    <a:gd name="connsiteX1" fmla="*/ 35771 w 122773"/>
                    <a:gd name="connsiteY1" fmla="*/ 142711 h 143503"/>
                    <a:gd name="connsiteX2" fmla="*/ 32539 w 122773"/>
                    <a:gd name="connsiteY2" fmla="*/ 138763 h 143503"/>
                    <a:gd name="connsiteX3" fmla="*/ 285 w 122773"/>
                    <a:gd name="connsiteY3" fmla="*/ 31891 h 143503"/>
                    <a:gd name="connsiteX4" fmla="*/ 4741 w 122773"/>
                    <a:gd name="connsiteY4" fmla="*/ 23580 h 143503"/>
                    <a:gd name="connsiteX5" fmla="*/ 81924 w 122773"/>
                    <a:gd name="connsiteY5" fmla="*/ 286 h 143503"/>
                    <a:gd name="connsiteX6" fmla="*/ 87003 w 122773"/>
                    <a:gd name="connsiteY6" fmla="*/ 793 h 143503"/>
                    <a:gd name="connsiteX7" fmla="*/ 90235 w 122773"/>
                    <a:gd name="connsiteY7" fmla="*/ 4742 h 143503"/>
                    <a:gd name="connsiteX8" fmla="*/ 122489 w 122773"/>
                    <a:gd name="connsiteY8" fmla="*/ 111613 h 143503"/>
                    <a:gd name="connsiteX9" fmla="*/ 118033 w 122773"/>
                    <a:gd name="connsiteY9" fmla="*/ 119925 h 143503"/>
                    <a:gd name="connsiteX10" fmla="*/ 40850 w 122773"/>
                    <a:gd name="connsiteY10" fmla="*/ 143219 h 143503"/>
                    <a:gd name="connsiteX11" fmla="*/ 38922 w 122773"/>
                    <a:gd name="connsiteY11" fmla="*/ 143503 h 143503"/>
                    <a:gd name="connsiteX12" fmla="*/ 14976 w 122773"/>
                    <a:gd name="connsiteY12" fmla="*/ 34421 h 143503"/>
                    <a:gd name="connsiteX13" fmla="*/ 43378 w 122773"/>
                    <a:gd name="connsiteY13" fmla="*/ 128529 h 143503"/>
                    <a:gd name="connsiteX14" fmla="*/ 107796 w 122773"/>
                    <a:gd name="connsiteY14" fmla="*/ 109084 h 143503"/>
                    <a:gd name="connsiteX15" fmla="*/ 79394 w 122773"/>
                    <a:gd name="connsiteY15" fmla="*/ 14976 h 143503"/>
                    <a:gd name="connsiteX16" fmla="*/ 14976 w 122773"/>
                    <a:gd name="connsiteY16" fmla="*/ 34421 h 143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2773" h="143503">
                      <a:moveTo>
                        <a:pt x="38922" y="143503"/>
                      </a:moveTo>
                      <a:cubicBezTo>
                        <a:pt x="37832" y="143503"/>
                        <a:pt x="36746" y="143236"/>
                        <a:pt x="35771" y="142711"/>
                      </a:cubicBezTo>
                      <a:cubicBezTo>
                        <a:pt x="34212" y="141874"/>
                        <a:pt x="33051" y="140456"/>
                        <a:pt x="32539" y="138763"/>
                      </a:cubicBezTo>
                      <a:lnTo>
                        <a:pt x="285" y="31891"/>
                      </a:lnTo>
                      <a:cubicBezTo>
                        <a:pt x="-776" y="28367"/>
                        <a:pt x="1217" y="24645"/>
                        <a:pt x="4741" y="23580"/>
                      </a:cubicBezTo>
                      <a:lnTo>
                        <a:pt x="81924" y="286"/>
                      </a:lnTo>
                      <a:cubicBezTo>
                        <a:pt x="83616" y="-226"/>
                        <a:pt x="85440" y="-46"/>
                        <a:pt x="87003" y="793"/>
                      </a:cubicBezTo>
                      <a:cubicBezTo>
                        <a:pt x="88561" y="1630"/>
                        <a:pt x="89723" y="3049"/>
                        <a:pt x="90235" y="4742"/>
                      </a:cubicBezTo>
                      <a:lnTo>
                        <a:pt x="122489" y="111613"/>
                      </a:lnTo>
                      <a:cubicBezTo>
                        <a:pt x="123550" y="115138"/>
                        <a:pt x="121557" y="118860"/>
                        <a:pt x="118033" y="119925"/>
                      </a:cubicBezTo>
                      <a:lnTo>
                        <a:pt x="40850" y="143219"/>
                      </a:lnTo>
                      <a:cubicBezTo>
                        <a:pt x="40217" y="143408"/>
                        <a:pt x="39569" y="143503"/>
                        <a:pt x="38922" y="143503"/>
                      </a:cubicBezTo>
                      <a:close/>
                      <a:moveTo>
                        <a:pt x="14976" y="34421"/>
                      </a:moveTo>
                      <a:lnTo>
                        <a:pt x="43378" y="128529"/>
                      </a:lnTo>
                      <a:lnTo>
                        <a:pt x="107796" y="109084"/>
                      </a:lnTo>
                      <a:lnTo>
                        <a:pt x="79394" y="14976"/>
                      </a:lnTo>
                      <a:lnTo>
                        <a:pt x="14976" y="34421"/>
                      </a:lnTo>
                      <a:close/>
                    </a:path>
                  </a:pathLst>
                </a:custGeom>
                <a:solidFill>
                  <a:schemeClr val="accent1"/>
                </a:solidFill>
                <a:ln w="205" cap="flat">
                  <a:noFill/>
                  <a:prstDash val="solid"/>
                  <a:miter/>
                </a:ln>
              </p:spPr>
              <p:txBody>
                <a:bodyPr rtlCol="0" anchor="ctr"/>
                <a:lstStyle/>
                <a:p>
                  <a:endParaRPr lang="en-GB" dirty="0"/>
                </a:p>
              </p:txBody>
            </p:sp>
            <p:sp>
              <p:nvSpPr>
                <p:cNvPr id="474" name="Freihandform: Form 473">
                  <a:extLst>
                    <a:ext uri="{FF2B5EF4-FFF2-40B4-BE49-F238E27FC236}">
                      <a16:creationId xmlns:a16="http://schemas.microsoft.com/office/drawing/2014/main" id="{4CAA5B0B-1A6E-4CBB-B67E-BA8565966FF4}"/>
                    </a:ext>
                  </a:extLst>
                </p:cNvPr>
                <p:cNvSpPr/>
                <p:nvPr/>
              </p:nvSpPr>
              <p:spPr>
                <a:xfrm>
                  <a:off x="1812656" y="1682973"/>
                  <a:ext cx="216084" cy="233016"/>
                </a:xfrm>
                <a:custGeom>
                  <a:avLst/>
                  <a:gdLst>
                    <a:gd name="connsiteX0" fmla="*/ 209418 w 216084"/>
                    <a:gd name="connsiteY0" fmla="*/ 233017 h 233016"/>
                    <a:gd name="connsiteX1" fmla="*/ 209151 w 216084"/>
                    <a:gd name="connsiteY1" fmla="*/ 233010 h 233016"/>
                    <a:gd name="connsiteX2" fmla="*/ 38654 w 216084"/>
                    <a:gd name="connsiteY2" fmla="*/ 226165 h 233016"/>
                    <a:gd name="connsiteX3" fmla="*/ 32537 w 216084"/>
                    <a:gd name="connsiteY3" fmla="*/ 221431 h 233016"/>
                    <a:gd name="connsiteX4" fmla="*/ 283 w 216084"/>
                    <a:gd name="connsiteY4" fmla="*/ 114559 h 233016"/>
                    <a:gd name="connsiteX5" fmla="*/ 2578 w 216084"/>
                    <a:gd name="connsiteY5" fmla="*/ 107364 h 233016"/>
                    <a:gd name="connsiteX6" fmla="*/ 139028 w 216084"/>
                    <a:gd name="connsiteY6" fmla="*/ 1403 h 233016"/>
                    <a:gd name="connsiteX7" fmla="*/ 145141 w 216084"/>
                    <a:gd name="connsiteY7" fmla="*/ 320 h 233016"/>
                    <a:gd name="connsiteX8" fmla="*/ 149501 w 216084"/>
                    <a:gd name="connsiteY8" fmla="*/ 4743 h 233016"/>
                    <a:gd name="connsiteX9" fmla="*/ 215801 w 216084"/>
                    <a:gd name="connsiteY9" fmla="*/ 224421 h 233016"/>
                    <a:gd name="connsiteX10" fmla="*/ 214689 w 216084"/>
                    <a:gd name="connsiteY10" fmla="*/ 230430 h 233016"/>
                    <a:gd name="connsiteX11" fmla="*/ 209418 w 216084"/>
                    <a:gd name="connsiteY11" fmla="*/ 233017 h 233016"/>
                    <a:gd name="connsiteX12" fmla="*/ 43933 w 216084"/>
                    <a:gd name="connsiteY12" fmla="*/ 213033 h 233016"/>
                    <a:gd name="connsiteX13" fmla="*/ 200331 w 216084"/>
                    <a:gd name="connsiteY13" fmla="*/ 219313 h 233016"/>
                    <a:gd name="connsiteX14" fmla="*/ 139542 w 216084"/>
                    <a:gd name="connsiteY14" fmla="*/ 17891 h 233016"/>
                    <a:gd name="connsiteX15" fmla="*/ 14375 w 216084"/>
                    <a:gd name="connsiteY15" fmla="*/ 115092 h 233016"/>
                    <a:gd name="connsiteX16" fmla="*/ 43933 w 216084"/>
                    <a:gd name="connsiteY16" fmla="*/ 213033 h 233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6084" h="233016">
                      <a:moveTo>
                        <a:pt x="209418" y="233017"/>
                      </a:moveTo>
                      <a:cubicBezTo>
                        <a:pt x="209330" y="233017"/>
                        <a:pt x="209239" y="233012"/>
                        <a:pt x="209151" y="233010"/>
                      </a:cubicBezTo>
                      <a:lnTo>
                        <a:pt x="38654" y="226165"/>
                      </a:lnTo>
                      <a:cubicBezTo>
                        <a:pt x="35816" y="226052"/>
                        <a:pt x="33361" y="224150"/>
                        <a:pt x="32537" y="221431"/>
                      </a:cubicBezTo>
                      <a:lnTo>
                        <a:pt x="283" y="114559"/>
                      </a:lnTo>
                      <a:cubicBezTo>
                        <a:pt x="-511" y="111917"/>
                        <a:pt x="400" y="109059"/>
                        <a:pt x="2578" y="107364"/>
                      </a:cubicBezTo>
                      <a:lnTo>
                        <a:pt x="139028" y="1403"/>
                      </a:lnTo>
                      <a:cubicBezTo>
                        <a:pt x="140763" y="52"/>
                        <a:pt x="143042" y="-355"/>
                        <a:pt x="145141" y="320"/>
                      </a:cubicBezTo>
                      <a:cubicBezTo>
                        <a:pt x="147235" y="988"/>
                        <a:pt x="148865" y="2641"/>
                        <a:pt x="149501" y="4743"/>
                      </a:cubicBezTo>
                      <a:lnTo>
                        <a:pt x="215801" y="224421"/>
                      </a:lnTo>
                      <a:cubicBezTo>
                        <a:pt x="216422" y="226486"/>
                        <a:pt x="216009" y="228725"/>
                        <a:pt x="214689" y="230430"/>
                      </a:cubicBezTo>
                      <a:cubicBezTo>
                        <a:pt x="213426" y="232067"/>
                        <a:pt x="211477" y="233017"/>
                        <a:pt x="209418" y="233017"/>
                      </a:cubicBezTo>
                      <a:close/>
                      <a:moveTo>
                        <a:pt x="43933" y="213033"/>
                      </a:moveTo>
                      <a:lnTo>
                        <a:pt x="200331" y="219313"/>
                      </a:lnTo>
                      <a:lnTo>
                        <a:pt x="139542" y="17891"/>
                      </a:lnTo>
                      <a:lnTo>
                        <a:pt x="14375" y="115092"/>
                      </a:lnTo>
                      <a:lnTo>
                        <a:pt x="43933" y="213033"/>
                      </a:lnTo>
                      <a:close/>
                    </a:path>
                  </a:pathLst>
                </a:custGeom>
                <a:solidFill>
                  <a:schemeClr val="accent1"/>
                </a:solidFill>
                <a:ln w="205" cap="flat">
                  <a:noFill/>
                  <a:prstDash val="solid"/>
                  <a:miter/>
                </a:ln>
              </p:spPr>
              <p:txBody>
                <a:bodyPr rtlCol="0" anchor="ctr"/>
                <a:lstStyle/>
                <a:p>
                  <a:endParaRPr lang="en-GB" dirty="0"/>
                </a:p>
              </p:txBody>
            </p:sp>
            <p:sp>
              <p:nvSpPr>
                <p:cNvPr id="475" name="Freihandform: Form 474">
                  <a:extLst>
                    <a:ext uri="{FF2B5EF4-FFF2-40B4-BE49-F238E27FC236}">
                      <a16:creationId xmlns:a16="http://schemas.microsoft.com/office/drawing/2014/main" id="{55988DAA-AC0F-4F72-9995-109490A72B05}"/>
                    </a:ext>
                  </a:extLst>
                </p:cNvPr>
                <p:cNvSpPr/>
                <p:nvPr/>
              </p:nvSpPr>
              <p:spPr>
                <a:xfrm>
                  <a:off x="1781409" y="1916553"/>
                  <a:ext cx="83007" cy="83476"/>
                </a:xfrm>
                <a:custGeom>
                  <a:avLst/>
                  <a:gdLst>
                    <a:gd name="connsiteX0" fmla="*/ 43134 w 83007"/>
                    <a:gd name="connsiteY0" fmla="*/ 83477 h 83476"/>
                    <a:gd name="connsiteX1" fmla="*/ 37212 w 83007"/>
                    <a:gd name="connsiteY1" fmla="*/ 79886 h 83476"/>
                    <a:gd name="connsiteX2" fmla="*/ 753 w 83007"/>
                    <a:gd name="connsiteY2" fmla="*/ 9745 h 83476"/>
                    <a:gd name="connsiteX3" fmla="*/ 3591 w 83007"/>
                    <a:gd name="connsiteY3" fmla="*/ 754 h 83476"/>
                    <a:gd name="connsiteX4" fmla="*/ 12581 w 83007"/>
                    <a:gd name="connsiteY4" fmla="*/ 3592 h 83476"/>
                    <a:gd name="connsiteX5" fmla="*/ 46003 w 83007"/>
                    <a:gd name="connsiteY5" fmla="*/ 67887 h 83476"/>
                    <a:gd name="connsiteX6" fmla="*/ 67465 w 83007"/>
                    <a:gd name="connsiteY6" fmla="*/ 57051 h 83476"/>
                    <a:gd name="connsiteX7" fmla="*/ 47761 w 83007"/>
                    <a:gd name="connsiteY7" fmla="*/ 16674 h 83476"/>
                    <a:gd name="connsiteX8" fmla="*/ 50827 w 83007"/>
                    <a:gd name="connsiteY8" fmla="*/ 7762 h 83476"/>
                    <a:gd name="connsiteX9" fmla="*/ 59739 w 83007"/>
                    <a:gd name="connsiteY9" fmla="*/ 10828 h 83476"/>
                    <a:gd name="connsiteX10" fmla="*/ 82330 w 83007"/>
                    <a:gd name="connsiteY10" fmla="*/ 57112 h 83476"/>
                    <a:gd name="connsiteX11" fmla="*/ 79344 w 83007"/>
                    <a:gd name="connsiteY11" fmla="*/ 65985 h 83476"/>
                    <a:gd name="connsiteX12" fmla="*/ 46126 w 83007"/>
                    <a:gd name="connsiteY12" fmla="*/ 82761 h 83476"/>
                    <a:gd name="connsiteX13" fmla="*/ 43134 w 83007"/>
                    <a:gd name="connsiteY13" fmla="*/ 83477 h 83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007" h="83476">
                      <a:moveTo>
                        <a:pt x="43134" y="83477"/>
                      </a:moveTo>
                      <a:cubicBezTo>
                        <a:pt x="40722" y="83477"/>
                        <a:pt x="38398" y="82169"/>
                        <a:pt x="37212" y="79886"/>
                      </a:cubicBezTo>
                      <a:lnTo>
                        <a:pt x="753" y="9745"/>
                      </a:lnTo>
                      <a:cubicBezTo>
                        <a:pt x="-946" y="6477"/>
                        <a:pt x="327" y="2449"/>
                        <a:pt x="3591" y="754"/>
                      </a:cubicBezTo>
                      <a:cubicBezTo>
                        <a:pt x="6858" y="-948"/>
                        <a:pt x="10887" y="331"/>
                        <a:pt x="12581" y="3592"/>
                      </a:cubicBezTo>
                      <a:lnTo>
                        <a:pt x="46003" y="67887"/>
                      </a:lnTo>
                      <a:lnTo>
                        <a:pt x="67465" y="57051"/>
                      </a:lnTo>
                      <a:lnTo>
                        <a:pt x="47761" y="16674"/>
                      </a:lnTo>
                      <a:cubicBezTo>
                        <a:pt x="46142" y="13368"/>
                        <a:pt x="47516" y="9377"/>
                        <a:pt x="50827" y="7762"/>
                      </a:cubicBezTo>
                      <a:cubicBezTo>
                        <a:pt x="54142" y="6134"/>
                        <a:pt x="58129" y="7518"/>
                        <a:pt x="59739" y="10828"/>
                      </a:cubicBezTo>
                      <a:lnTo>
                        <a:pt x="82330" y="57112"/>
                      </a:lnTo>
                      <a:cubicBezTo>
                        <a:pt x="83932" y="60388"/>
                        <a:pt x="82599" y="64342"/>
                        <a:pt x="79344" y="65985"/>
                      </a:cubicBezTo>
                      <a:lnTo>
                        <a:pt x="46126" y="82761"/>
                      </a:lnTo>
                      <a:cubicBezTo>
                        <a:pt x="45170" y="83248"/>
                        <a:pt x="44144" y="83477"/>
                        <a:pt x="43134" y="83477"/>
                      </a:cubicBezTo>
                      <a:close/>
                    </a:path>
                  </a:pathLst>
                </a:custGeom>
                <a:solidFill>
                  <a:schemeClr val="accent1"/>
                </a:solidFill>
                <a:ln w="205" cap="flat">
                  <a:noFill/>
                  <a:prstDash val="solid"/>
                  <a:miter/>
                </a:ln>
              </p:spPr>
              <p:txBody>
                <a:bodyPr rtlCol="0" anchor="ctr"/>
                <a:lstStyle/>
                <a:p>
                  <a:endParaRPr lang="en-GB" dirty="0"/>
                </a:p>
              </p:txBody>
            </p:sp>
          </p:grpSp>
          <p:sp>
            <p:nvSpPr>
              <p:cNvPr id="469" name="Freihandform: Form 468">
                <a:extLst>
                  <a:ext uri="{FF2B5EF4-FFF2-40B4-BE49-F238E27FC236}">
                    <a16:creationId xmlns:a16="http://schemas.microsoft.com/office/drawing/2014/main" id="{E4128789-820D-4650-88D0-F75F84A31E8B}"/>
                  </a:ext>
                </a:extLst>
              </p:cNvPr>
              <p:cNvSpPr/>
              <p:nvPr/>
            </p:nvSpPr>
            <p:spPr>
              <a:xfrm>
                <a:off x="2008187" y="1664536"/>
                <a:ext cx="48642" cy="66013"/>
              </a:xfrm>
              <a:custGeom>
                <a:avLst/>
                <a:gdLst>
                  <a:gd name="connsiteX0" fmla="*/ 6662 w 48642"/>
                  <a:gd name="connsiteY0" fmla="*/ 66013 h 66013"/>
                  <a:gd name="connsiteX1" fmla="*/ 2956 w 48642"/>
                  <a:gd name="connsiteY1" fmla="*/ 64884 h 66013"/>
                  <a:gd name="connsiteX2" fmla="*/ 1130 w 48642"/>
                  <a:gd name="connsiteY2" fmla="*/ 55637 h 66013"/>
                  <a:gd name="connsiteX3" fmla="*/ 36439 w 48642"/>
                  <a:gd name="connsiteY3" fmla="*/ 2960 h 66013"/>
                  <a:gd name="connsiteX4" fmla="*/ 45687 w 48642"/>
                  <a:gd name="connsiteY4" fmla="*/ 1134 h 66013"/>
                  <a:gd name="connsiteX5" fmla="*/ 47513 w 48642"/>
                  <a:gd name="connsiteY5" fmla="*/ 10381 h 66013"/>
                  <a:gd name="connsiteX6" fmla="*/ 12201 w 48642"/>
                  <a:gd name="connsiteY6" fmla="*/ 63058 h 66013"/>
                  <a:gd name="connsiteX7" fmla="*/ 6662 w 48642"/>
                  <a:gd name="connsiteY7" fmla="*/ 66013 h 6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642" h="66013">
                    <a:moveTo>
                      <a:pt x="6662" y="66013"/>
                    </a:moveTo>
                    <a:cubicBezTo>
                      <a:pt x="5385" y="66013"/>
                      <a:pt x="4097" y="65649"/>
                      <a:pt x="2956" y="64884"/>
                    </a:cubicBezTo>
                    <a:cubicBezTo>
                      <a:pt x="-104" y="62834"/>
                      <a:pt x="-920" y="58692"/>
                      <a:pt x="1130" y="55637"/>
                    </a:cubicBezTo>
                    <a:lnTo>
                      <a:pt x="36439" y="2960"/>
                    </a:lnTo>
                    <a:cubicBezTo>
                      <a:pt x="38487" y="-100"/>
                      <a:pt x="42627" y="-925"/>
                      <a:pt x="45687" y="1134"/>
                    </a:cubicBezTo>
                    <a:cubicBezTo>
                      <a:pt x="48746" y="3184"/>
                      <a:pt x="49563" y="7325"/>
                      <a:pt x="47513" y="10381"/>
                    </a:cubicBezTo>
                    <a:lnTo>
                      <a:pt x="12201" y="63058"/>
                    </a:lnTo>
                    <a:cubicBezTo>
                      <a:pt x="10920" y="64977"/>
                      <a:pt x="8810" y="66013"/>
                      <a:pt x="6662" y="66013"/>
                    </a:cubicBezTo>
                    <a:close/>
                  </a:path>
                </a:pathLst>
              </a:custGeom>
              <a:solidFill>
                <a:schemeClr val="accent1"/>
              </a:solidFill>
              <a:ln w="205" cap="flat">
                <a:noFill/>
                <a:prstDash val="solid"/>
                <a:miter/>
              </a:ln>
            </p:spPr>
            <p:txBody>
              <a:bodyPr rtlCol="0" anchor="ctr"/>
              <a:lstStyle/>
              <a:p>
                <a:endParaRPr lang="en-GB" dirty="0"/>
              </a:p>
            </p:txBody>
          </p:sp>
          <p:sp>
            <p:nvSpPr>
              <p:cNvPr id="470" name="Freihandform: Form 469">
                <a:extLst>
                  <a:ext uri="{FF2B5EF4-FFF2-40B4-BE49-F238E27FC236}">
                    <a16:creationId xmlns:a16="http://schemas.microsoft.com/office/drawing/2014/main" id="{3C04B028-9F8D-423C-A1A1-2756FBAFD636}"/>
                  </a:ext>
                </a:extLst>
              </p:cNvPr>
              <p:cNvSpPr/>
              <p:nvPr/>
            </p:nvSpPr>
            <p:spPr>
              <a:xfrm>
                <a:off x="2026280" y="1762870"/>
                <a:ext cx="59720" cy="27631"/>
              </a:xfrm>
              <a:custGeom>
                <a:avLst/>
                <a:gdLst>
                  <a:gd name="connsiteX0" fmla="*/ 6664 w 59720"/>
                  <a:gd name="connsiteY0" fmla="*/ 27632 h 27631"/>
                  <a:gd name="connsiteX1" fmla="*/ 297 w 59720"/>
                  <a:gd name="connsiteY1" fmla="*/ 22925 h 27631"/>
                  <a:gd name="connsiteX2" fmla="*/ 4704 w 59720"/>
                  <a:gd name="connsiteY2" fmla="*/ 14590 h 27631"/>
                  <a:gd name="connsiteX3" fmla="*/ 51089 w 59720"/>
                  <a:gd name="connsiteY3" fmla="*/ 299 h 27631"/>
                  <a:gd name="connsiteX4" fmla="*/ 59423 w 59720"/>
                  <a:gd name="connsiteY4" fmla="*/ 4706 h 27631"/>
                  <a:gd name="connsiteX5" fmla="*/ 55016 w 59720"/>
                  <a:gd name="connsiteY5" fmla="*/ 13040 h 27631"/>
                  <a:gd name="connsiteX6" fmla="*/ 8632 w 59720"/>
                  <a:gd name="connsiteY6" fmla="*/ 27332 h 27631"/>
                  <a:gd name="connsiteX7" fmla="*/ 6664 w 59720"/>
                  <a:gd name="connsiteY7" fmla="*/ 27632 h 2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20" h="27631">
                    <a:moveTo>
                      <a:pt x="6664" y="27632"/>
                    </a:moveTo>
                    <a:cubicBezTo>
                      <a:pt x="3816" y="27632"/>
                      <a:pt x="1179" y="25789"/>
                      <a:pt x="297" y="22925"/>
                    </a:cubicBezTo>
                    <a:cubicBezTo>
                      <a:pt x="-786" y="19406"/>
                      <a:pt x="1186" y="15676"/>
                      <a:pt x="4704" y="14590"/>
                    </a:cubicBezTo>
                    <a:lnTo>
                      <a:pt x="51089" y="299"/>
                    </a:lnTo>
                    <a:cubicBezTo>
                      <a:pt x="54591" y="-789"/>
                      <a:pt x="58335" y="1185"/>
                      <a:pt x="59423" y="4706"/>
                    </a:cubicBezTo>
                    <a:cubicBezTo>
                      <a:pt x="60507" y="8224"/>
                      <a:pt x="58535" y="11954"/>
                      <a:pt x="55016" y="13040"/>
                    </a:cubicBezTo>
                    <a:lnTo>
                      <a:pt x="8632" y="27332"/>
                    </a:lnTo>
                    <a:cubicBezTo>
                      <a:pt x="7976" y="27533"/>
                      <a:pt x="7316" y="27632"/>
                      <a:pt x="6664" y="27632"/>
                    </a:cubicBezTo>
                    <a:close/>
                  </a:path>
                </a:pathLst>
              </a:custGeom>
              <a:solidFill>
                <a:schemeClr val="accent1"/>
              </a:solidFill>
              <a:ln w="205" cap="flat">
                <a:noFill/>
                <a:prstDash val="solid"/>
                <a:miter/>
              </a:ln>
            </p:spPr>
            <p:txBody>
              <a:bodyPr rtlCol="0" anchor="ctr"/>
              <a:lstStyle/>
              <a:p>
                <a:endParaRPr lang="en-GB" dirty="0"/>
              </a:p>
            </p:txBody>
          </p:sp>
          <p:sp>
            <p:nvSpPr>
              <p:cNvPr id="471" name="Freihandform: Form 470">
                <a:extLst>
                  <a:ext uri="{FF2B5EF4-FFF2-40B4-BE49-F238E27FC236}">
                    <a16:creationId xmlns:a16="http://schemas.microsoft.com/office/drawing/2014/main" id="{2EB1884B-3269-440C-AE72-1D96D33B0591}"/>
                  </a:ext>
                </a:extLst>
              </p:cNvPr>
              <p:cNvSpPr/>
              <p:nvPr/>
            </p:nvSpPr>
            <p:spPr>
              <a:xfrm>
                <a:off x="2045541" y="1840989"/>
                <a:ext cx="68794" cy="36889"/>
              </a:xfrm>
              <a:custGeom>
                <a:avLst/>
                <a:gdLst>
                  <a:gd name="connsiteX0" fmla="*/ 62122 w 68794"/>
                  <a:gd name="connsiteY0" fmla="*/ 36890 h 36889"/>
                  <a:gd name="connsiteX1" fmla="*/ 59518 w 68794"/>
                  <a:gd name="connsiteY1" fmla="*/ 36355 h 36889"/>
                  <a:gd name="connsiteX2" fmla="*/ 4061 w 68794"/>
                  <a:gd name="connsiteY2" fmla="*/ 12804 h 36889"/>
                  <a:gd name="connsiteX3" fmla="*/ 532 w 68794"/>
                  <a:gd name="connsiteY3" fmla="*/ 4061 h 36889"/>
                  <a:gd name="connsiteX4" fmla="*/ 9276 w 68794"/>
                  <a:gd name="connsiteY4" fmla="*/ 532 h 36889"/>
                  <a:gd name="connsiteX5" fmla="*/ 64733 w 68794"/>
                  <a:gd name="connsiteY5" fmla="*/ 24083 h 36889"/>
                  <a:gd name="connsiteX6" fmla="*/ 68262 w 68794"/>
                  <a:gd name="connsiteY6" fmla="*/ 32827 h 36889"/>
                  <a:gd name="connsiteX7" fmla="*/ 62122 w 68794"/>
                  <a:gd name="connsiteY7" fmla="*/ 36890 h 36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794" h="36889">
                    <a:moveTo>
                      <a:pt x="62122" y="36890"/>
                    </a:moveTo>
                    <a:cubicBezTo>
                      <a:pt x="61252" y="36890"/>
                      <a:pt x="60370" y="36717"/>
                      <a:pt x="59518" y="36355"/>
                    </a:cubicBezTo>
                    <a:lnTo>
                      <a:pt x="4061" y="12804"/>
                    </a:lnTo>
                    <a:cubicBezTo>
                      <a:pt x="672" y="11365"/>
                      <a:pt x="-907" y="7451"/>
                      <a:pt x="532" y="4061"/>
                    </a:cubicBezTo>
                    <a:cubicBezTo>
                      <a:pt x="1972" y="676"/>
                      <a:pt x="5877" y="-908"/>
                      <a:pt x="9276" y="532"/>
                    </a:cubicBezTo>
                    <a:lnTo>
                      <a:pt x="64733" y="24083"/>
                    </a:lnTo>
                    <a:cubicBezTo>
                      <a:pt x="68122" y="25523"/>
                      <a:pt x="69701" y="29436"/>
                      <a:pt x="68262" y="32827"/>
                    </a:cubicBezTo>
                    <a:cubicBezTo>
                      <a:pt x="67184" y="35364"/>
                      <a:pt x="64717" y="36890"/>
                      <a:pt x="62122" y="36890"/>
                    </a:cubicBezTo>
                    <a:close/>
                  </a:path>
                </a:pathLst>
              </a:custGeom>
              <a:solidFill>
                <a:schemeClr val="accent1"/>
              </a:solidFill>
              <a:ln w="205" cap="flat">
                <a:noFill/>
                <a:prstDash val="solid"/>
                <a:miter/>
              </a:ln>
            </p:spPr>
            <p:txBody>
              <a:bodyPr rtlCol="0" anchor="ctr"/>
              <a:lstStyle/>
              <a:p>
                <a:endParaRPr lang="en-GB" dirty="0"/>
              </a:p>
            </p:txBody>
          </p:sp>
        </p:grpSp>
        <p:grpSp>
          <p:nvGrpSpPr>
            <p:cNvPr id="458" name="Gruppieren 457">
              <a:extLst>
                <a:ext uri="{FF2B5EF4-FFF2-40B4-BE49-F238E27FC236}">
                  <a16:creationId xmlns:a16="http://schemas.microsoft.com/office/drawing/2014/main" id="{FBCA8AF3-E426-4DA9-92E7-A9000AF61A5E}"/>
                </a:ext>
              </a:extLst>
            </p:cNvPr>
            <p:cNvGrpSpPr/>
            <p:nvPr/>
          </p:nvGrpSpPr>
          <p:grpSpPr>
            <a:xfrm>
              <a:off x="1648475" y="1626716"/>
              <a:ext cx="409688" cy="432000"/>
              <a:chOff x="1744876" y="1631407"/>
              <a:chExt cx="411262" cy="433659"/>
            </a:xfrm>
            <a:solidFill>
              <a:schemeClr val="tx2"/>
            </a:solidFill>
          </p:grpSpPr>
          <p:sp>
            <p:nvSpPr>
              <p:cNvPr id="459" name="Freihandform: Form 458">
                <a:extLst>
                  <a:ext uri="{FF2B5EF4-FFF2-40B4-BE49-F238E27FC236}">
                    <a16:creationId xmlns:a16="http://schemas.microsoft.com/office/drawing/2014/main" id="{39573CD5-1D14-4F99-8DE9-B101961A7401}"/>
                  </a:ext>
                </a:extLst>
              </p:cNvPr>
              <p:cNvSpPr/>
              <p:nvPr/>
            </p:nvSpPr>
            <p:spPr>
              <a:xfrm>
                <a:off x="1744876" y="1671938"/>
                <a:ext cx="83273" cy="83720"/>
              </a:xfrm>
              <a:custGeom>
                <a:avLst/>
                <a:gdLst>
                  <a:gd name="connsiteX0" fmla="*/ 37559 w 83273"/>
                  <a:gd name="connsiteY0" fmla="*/ 83721 h 83720"/>
                  <a:gd name="connsiteX1" fmla="*/ 35634 w 83273"/>
                  <a:gd name="connsiteY1" fmla="*/ 83546 h 83720"/>
                  <a:gd name="connsiteX2" fmla="*/ 27366 w 83273"/>
                  <a:gd name="connsiteY2" fmla="*/ 76049 h 83720"/>
                  <a:gd name="connsiteX3" fmla="*/ 22832 w 83273"/>
                  <a:gd name="connsiteY3" fmla="*/ 60203 h 83720"/>
                  <a:gd name="connsiteX4" fmla="*/ 7210 w 83273"/>
                  <a:gd name="connsiteY4" fmla="*/ 54953 h 83720"/>
                  <a:gd name="connsiteX5" fmla="*/ 97 w 83273"/>
                  <a:gd name="connsiteY5" fmla="*/ 46345 h 83720"/>
                  <a:gd name="connsiteX6" fmla="*/ 4674 w 83273"/>
                  <a:gd name="connsiteY6" fmla="*/ 36166 h 83720"/>
                  <a:gd name="connsiteX7" fmla="*/ 18343 w 83273"/>
                  <a:gd name="connsiteY7" fmla="*/ 26960 h 83720"/>
                  <a:gd name="connsiteX8" fmla="*/ 18509 w 83273"/>
                  <a:gd name="connsiteY8" fmla="*/ 10472 h 83720"/>
                  <a:gd name="connsiteX9" fmla="*/ 24493 w 83273"/>
                  <a:gd name="connsiteY9" fmla="*/ 1058 h 83720"/>
                  <a:gd name="connsiteX10" fmla="*/ 35591 w 83273"/>
                  <a:gd name="connsiteY10" fmla="*/ 2253 h 83720"/>
                  <a:gd name="connsiteX11" fmla="*/ 35595 w 83273"/>
                  <a:gd name="connsiteY11" fmla="*/ 2257 h 83720"/>
                  <a:gd name="connsiteX12" fmla="*/ 48577 w 83273"/>
                  <a:gd name="connsiteY12" fmla="*/ 12413 h 83720"/>
                  <a:gd name="connsiteX13" fmla="*/ 64304 w 83273"/>
                  <a:gd name="connsiteY13" fmla="*/ 7478 h 83720"/>
                  <a:gd name="connsiteX14" fmla="*/ 75118 w 83273"/>
                  <a:gd name="connsiteY14" fmla="*/ 10269 h 83720"/>
                  <a:gd name="connsiteX15" fmla="*/ 77400 w 83273"/>
                  <a:gd name="connsiteY15" fmla="*/ 21190 h 83720"/>
                  <a:gd name="connsiteX16" fmla="*/ 71752 w 83273"/>
                  <a:gd name="connsiteY16" fmla="*/ 36672 h 83720"/>
                  <a:gd name="connsiteX17" fmla="*/ 81305 w 83273"/>
                  <a:gd name="connsiteY17" fmla="*/ 50106 h 83720"/>
                  <a:gd name="connsiteX18" fmla="*/ 81996 w 83273"/>
                  <a:gd name="connsiteY18" fmla="*/ 61249 h 83720"/>
                  <a:gd name="connsiteX19" fmla="*/ 72311 w 83273"/>
                  <a:gd name="connsiteY19" fmla="*/ 66797 h 83720"/>
                  <a:gd name="connsiteX20" fmla="*/ 55840 w 83273"/>
                  <a:gd name="connsiteY20" fmla="*/ 66211 h 83720"/>
                  <a:gd name="connsiteX21" fmla="*/ 46019 w 83273"/>
                  <a:gd name="connsiteY21" fmla="*/ 79448 h 83720"/>
                  <a:gd name="connsiteX22" fmla="*/ 37559 w 83273"/>
                  <a:gd name="connsiteY22" fmla="*/ 83721 h 83720"/>
                  <a:gd name="connsiteX23" fmla="*/ 16765 w 83273"/>
                  <a:gd name="connsiteY23" fmla="*/ 44097 h 83720"/>
                  <a:gd name="connsiteX24" fmla="*/ 30401 w 83273"/>
                  <a:gd name="connsiteY24" fmla="*/ 48681 h 83720"/>
                  <a:gd name="connsiteX25" fmla="*/ 34688 w 83273"/>
                  <a:gd name="connsiteY25" fmla="*/ 53166 h 83720"/>
                  <a:gd name="connsiteX26" fmla="*/ 38647 w 83273"/>
                  <a:gd name="connsiteY26" fmla="*/ 67001 h 83720"/>
                  <a:gd name="connsiteX27" fmla="*/ 47218 w 83273"/>
                  <a:gd name="connsiteY27" fmla="*/ 55448 h 83720"/>
                  <a:gd name="connsiteX28" fmla="*/ 52811 w 83273"/>
                  <a:gd name="connsiteY28" fmla="*/ 52757 h 83720"/>
                  <a:gd name="connsiteX29" fmla="*/ 67193 w 83273"/>
                  <a:gd name="connsiteY29" fmla="*/ 53269 h 83720"/>
                  <a:gd name="connsiteX30" fmla="*/ 58852 w 83273"/>
                  <a:gd name="connsiteY30" fmla="*/ 41543 h 83720"/>
                  <a:gd name="connsiteX31" fmla="*/ 58022 w 83273"/>
                  <a:gd name="connsiteY31" fmla="*/ 35395 h 83720"/>
                  <a:gd name="connsiteX32" fmla="*/ 62953 w 83273"/>
                  <a:gd name="connsiteY32" fmla="*/ 21877 h 83720"/>
                  <a:gd name="connsiteX33" fmla="*/ 49223 w 83273"/>
                  <a:gd name="connsiteY33" fmla="*/ 26187 h 83720"/>
                  <a:gd name="connsiteX34" fmla="*/ 43119 w 83273"/>
                  <a:gd name="connsiteY34" fmla="*/ 25076 h 83720"/>
                  <a:gd name="connsiteX35" fmla="*/ 31787 w 83273"/>
                  <a:gd name="connsiteY35" fmla="*/ 16209 h 83720"/>
                  <a:gd name="connsiteX36" fmla="*/ 31641 w 83273"/>
                  <a:gd name="connsiteY36" fmla="*/ 30602 h 83720"/>
                  <a:gd name="connsiteX37" fmla="*/ 28698 w 83273"/>
                  <a:gd name="connsiteY37" fmla="*/ 36063 h 83720"/>
                  <a:gd name="connsiteX38" fmla="*/ 16765 w 83273"/>
                  <a:gd name="connsiteY38" fmla="*/ 44097 h 83720"/>
                  <a:gd name="connsiteX39" fmla="*/ 27380 w 83273"/>
                  <a:gd name="connsiteY39" fmla="*/ 12759 h 83720"/>
                  <a:gd name="connsiteX40" fmla="*/ 27384 w 83273"/>
                  <a:gd name="connsiteY40" fmla="*/ 12759 h 83720"/>
                  <a:gd name="connsiteX41" fmla="*/ 27380 w 83273"/>
                  <a:gd name="connsiteY41" fmla="*/ 12759 h 8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83273" h="83720">
                    <a:moveTo>
                      <a:pt x="37559" y="83721"/>
                    </a:moveTo>
                    <a:cubicBezTo>
                      <a:pt x="36922" y="83721"/>
                      <a:pt x="36280" y="83663"/>
                      <a:pt x="35634" y="83546"/>
                    </a:cubicBezTo>
                    <a:cubicBezTo>
                      <a:pt x="31647" y="82820"/>
                      <a:pt x="28478" y="79950"/>
                      <a:pt x="27366" y="76049"/>
                    </a:cubicBezTo>
                    <a:lnTo>
                      <a:pt x="22832" y="60203"/>
                    </a:lnTo>
                    <a:lnTo>
                      <a:pt x="7210" y="54953"/>
                    </a:lnTo>
                    <a:cubicBezTo>
                      <a:pt x="3364" y="53661"/>
                      <a:pt x="640" y="50363"/>
                      <a:pt x="97" y="46345"/>
                    </a:cubicBezTo>
                    <a:cubicBezTo>
                      <a:pt x="-444" y="42327"/>
                      <a:pt x="1310" y="38428"/>
                      <a:pt x="4674" y="36166"/>
                    </a:cubicBezTo>
                    <a:lnTo>
                      <a:pt x="18343" y="26960"/>
                    </a:lnTo>
                    <a:lnTo>
                      <a:pt x="18509" y="10472"/>
                    </a:lnTo>
                    <a:cubicBezTo>
                      <a:pt x="18552" y="6423"/>
                      <a:pt x="20843" y="2816"/>
                      <a:pt x="24493" y="1058"/>
                    </a:cubicBezTo>
                    <a:cubicBezTo>
                      <a:pt x="28145" y="-702"/>
                      <a:pt x="32400" y="-241"/>
                      <a:pt x="35591" y="2253"/>
                    </a:cubicBezTo>
                    <a:cubicBezTo>
                      <a:pt x="35591" y="2257"/>
                      <a:pt x="35595" y="2257"/>
                      <a:pt x="35595" y="2257"/>
                    </a:cubicBezTo>
                    <a:lnTo>
                      <a:pt x="48577" y="12413"/>
                    </a:lnTo>
                    <a:lnTo>
                      <a:pt x="64304" y="7478"/>
                    </a:lnTo>
                    <a:cubicBezTo>
                      <a:pt x="68163" y="6271"/>
                      <a:pt x="72319" y="7334"/>
                      <a:pt x="75118" y="10269"/>
                    </a:cubicBezTo>
                    <a:cubicBezTo>
                      <a:pt x="77915" y="13201"/>
                      <a:pt x="78791" y="17386"/>
                      <a:pt x="77400" y="21190"/>
                    </a:cubicBezTo>
                    <a:lnTo>
                      <a:pt x="71752" y="36672"/>
                    </a:lnTo>
                    <a:lnTo>
                      <a:pt x="81305" y="50106"/>
                    </a:lnTo>
                    <a:cubicBezTo>
                      <a:pt x="83656" y="53411"/>
                      <a:pt x="83919" y="57682"/>
                      <a:pt x="81996" y="61249"/>
                    </a:cubicBezTo>
                    <a:cubicBezTo>
                      <a:pt x="80070" y="64817"/>
                      <a:pt x="76309" y="66937"/>
                      <a:pt x="72311" y="66797"/>
                    </a:cubicBezTo>
                    <a:lnTo>
                      <a:pt x="55840" y="66211"/>
                    </a:lnTo>
                    <a:lnTo>
                      <a:pt x="46019" y="79448"/>
                    </a:lnTo>
                    <a:cubicBezTo>
                      <a:pt x="43991" y="82175"/>
                      <a:pt x="40868" y="83721"/>
                      <a:pt x="37559" y="83721"/>
                    </a:cubicBezTo>
                    <a:close/>
                    <a:moveTo>
                      <a:pt x="16765" y="44097"/>
                    </a:moveTo>
                    <a:lnTo>
                      <a:pt x="30401" y="48681"/>
                    </a:lnTo>
                    <a:cubicBezTo>
                      <a:pt x="32482" y="49378"/>
                      <a:pt x="34086" y="51058"/>
                      <a:pt x="34688" y="53166"/>
                    </a:cubicBezTo>
                    <a:lnTo>
                      <a:pt x="38647" y="67001"/>
                    </a:lnTo>
                    <a:lnTo>
                      <a:pt x="47218" y="55448"/>
                    </a:lnTo>
                    <a:cubicBezTo>
                      <a:pt x="48523" y="53684"/>
                      <a:pt x="50534" y="52635"/>
                      <a:pt x="52811" y="52757"/>
                    </a:cubicBezTo>
                    <a:lnTo>
                      <a:pt x="67193" y="53269"/>
                    </a:lnTo>
                    <a:lnTo>
                      <a:pt x="58852" y="41543"/>
                    </a:lnTo>
                    <a:cubicBezTo>
                      <a:pt x="57580" y="39756"/>
                      <a:pt x="57271" y="37455"/>
                      <a:pt x="58022" y="35395"/>
                    </a:cubicBezTo>
                    <a:lnTo>
                      <a:pt x="62953" y="21877"/>
                    </a:lnTo>
                    <a:lnTo>
                      <a:pt x="49223" y="26187"/>
                    </a:lnTo>
                    <a:cubicBezTo>
                      <a:pt x="47127" y="26839"/>
                      <a:pt x="44845" y="26427"/>
                      <a:pt x="43119" y="25076"/>
                    </a:cubicBezTo>
                    <a:lnTo>
                      <a:pt x="31787" y="16209"/>
                    </a:lnTo>
                    <a:lnTo>
                      <a:pt x="31641" y="30602"/>
                    </a:lnTo>
                    <a:cubicBezTo>
                      <a:pt x="31618" y="32796"/>
                      <a:pt x="30518" y="34838"/>
                      <a:pt x="28698" y="36063"/>
                    </a:cubicBezTo>
                    <a:lnTo>
                      <a:pt x="16765" y="44097"/>
                    </a:lnTo>
                    <a:close/>
                    <a:moveTo>
                      <a:pt x="27380" y="12759"/>
                    </a:moveTo>
                    <a:cubicBezTo>
                      <a:pt x="27380" y="12759"/>
                      <a:pt x="27380" y="12759"/>
                      <a:pt x="27384" y="12759"/>
                    </a:cubicBezTo>
                    <a:lnTo>
                      <a:pt x="27380" y="12759"/>
                    </a:lnTo>
                    <a:close/>
                  </a:path>
                </a:pathLst>
              </a:custGeom>
              <a:grpFill/>
              <a:ln w="205" cap="flat">
                <a:noFill/>
                <a:prstDash val="solid"/>
                <a:miter/>
              </a:ln>
            </p:spPr>
            <p:txBody>
              <a:bodyPr rtlCol="0" anchor="ctr"/>
              <a:lstStyle/>
              <a:p>
                <a:endParaRPr lang="en-GB" dirty="0"/>
              </a:p>
            </p:txBody>
          </p:sp>
          <p:sp>
            <p:nvSpPr>
              <p:cNvPr id="460" name="Freihandform: Form 459">
                <a:extLst>
                  <a:ext uri="{FF2B5EF4-FFF2-40B4-BE49-F238E27FC236}">
                    <a16:creationId xmlns:a16="http://schemas.microsoft.com/office/drawing/2014/main" id="{4E5B8390-CEDA-4433-B439-0861F15B243E}"/>
                  </a:ext>
                </a:extLst>
              </p:cNvPr>
              <p:cNvSpPr/>
              <p:nvPr/>
            </p:nvSpPr>
            <p:spPr>
              <a:xfrm>
                <a:off x="2074654" y="1631407"/>
                <a:ext cx="81484" cy="84285"/>
              </a:xfrm>
              <a:custGeom>
                <a:avLst/>
                <a:gdLst>
                  <a:gd name="connsiteX0" fmla="*/ 47473 w 81484"/>
                  <a:gd name="connsiteY0" fmla="*/ 84285 h 84285"/>
                  <a:gd name="connsiteX1" fmla="*/ 39823 w 81484"/>
                  <a:gd name="connsiteY1" fmla="*/ 80970 h 84285"/>
                  <a:gd name="connsiteX2" fmla="*/ 28499 w 81484"/>
                  <a:gd name="connsiteY2" fmla="*/ 68994 h 84285"/>
                  <a:gd name="connsiteX3" fmla="*/ 12213 w 81484"/>
                  <a:gd name="connsiteY3" fmla="*/ 71534 h 84285"/>
                  <a:gd name="connsiteX4" fmla="*/ 1936 w 81484"/>
                  <a:gd name="connsiteY4" fmla="*/ 67172 h 84285"/>
                  <a:gd name="connsiteX5" fmla="*/ 1300 w 81484"/>
                  <a:gd name="connsiteY5" fmla="*/ 56033 h 84285"/>
                  <a:gd name="connsiteX6" fmla="*/ 9188 w 81484"/>
                  <a:gd name="connsiteY6" fmla="*/ 41561 h 84285"/>
                  <a:gd name="connsiteX7" fmla="*/ 1740 w 81484"/>
                  <a:gd name="connsiteY7" fmla="*/ 26854 h 84285"/>
                  <a:gd name="connsiteX8" fmla="*/ 2711 w 81484"/>
                  <a:gd name="connsiteY8" fmla="*/ 15737 h 84285"/>
                  <a:gd name="connsiteX9" fmla="*/ 13108 w 81484"/>
                  <a:gd name="connsiteY9" fmla="*/ 11688 h 84285"/>
                  <a:gd name="connsiteX10" fmla="*/ 29316 w 81484"/>
                  <a:gd name="connsiteY10" fmla="*/ 14721 h 84285"/>
                  <a:gd name="connsiteX11" fmla="*/ 41000 w 81484"/>
                  <a:gd name="connsiteY11" fmla="*/ 3093 h 84285"/>
                  <a:gd name="connsiteX12" fmla="*/ 51876 w 81484"/>
                  <a:gd name="connsiteY12" fmla="*/ 580 h 84285"/>
                  <a:gd name="connsiteX13" fmla="*/ 58939 w 81484"/>
                  <a:gd name="connsiteY13" fmla="*/ 9219 h 84285"/>
                  <a:gd name="connsiteX14" fmla="*/ 58939 w 81484"/>
                  <a:gd name="connsiteY14" fmla="*/ 9219 h 84285"/>
                  <a:gd name="connsiteX15" fmla="*/ 61061 w 81484"/>
                  <a:gd name="connsiteY15" fmla="*/ 25567 h 84285"/>
                  <a:gd name="connsiteX16" fmla="*/ 75733 w 81484"/>
                  <a:gd name="connsiteY16" fmla="*/ 33082 h 84285"/>
                  <a:gd name="connsiteX17" fmla="*/ 81483 w 81484"/>
                  <a:gd name="connsiteY17" fmla="*/ 42646 h 84285"/>
                  <a:gd name="connsiteX18" fmla="*/ 75452 w 81484"/>
                  <a:gd name="connsiteY18" fmla="*/ 52038 h 84285"/>
                  <a:gd name="connsiteX19" fmla="*/ 60558 w 81484"/>
                  <a:gd name="connsiteY19" fmla="*/ 59107 h 84285"/>
                  <a:gd name="connsiteX20" fmla="*/ 57940 w 81484"/>
                  <a:gd name="connsiteY20" fmla="*/ 75383 h 84285"/>
                  <a:gd name="connsiteX21" fmla="*/ 50615 w 81484"/>
                  <a:gd name="connsiteY21" fmla="*/ 83808 h 84285"/>
                  <a:gd name="connsiteX22" fmla="*/ 47473 w 81484"/>
                  <a:gd name="connsiteY22" fmla="*/ 84285 h 84285"/>
                  <a:gd name="connsiteX23" fmla="*/ 30932 w 81484"/>
                  <a:gd name="connsiteY23" fmla="*/ 55198 h 84285"/>
                  <a:gd name="connsiteX24" fmla="*/ 35777 w 81484"/>
                  <a:gd name="connsiteY24" fmla="*/ 57285 h 84285"/>
                  <a:gd name="connsiteX25" fmla="*/ 45664 w 81484"/>
                  <a:gd name="connsiteY25" fmla="*/ 67742 h 84285"/>
                  <a:gd name="connsiteX26" fmla="*/ 47948 w 81484"/>
                  <a:gd name="connsiteY26" fmla="*/ 53533 h 84285"/>
                  <a:gd name="connsiteX27" fmla="*/ 51672 w 81484"/>
                  <a:gd name="connsiteY27" fmla="*/ 48569 h 84285"/>
                  <a:gd name="connsiteX28" fmla="*/ 64668 w 81484"/>
                  <a:gd name="connsiteY28" fmla="*/ 42398 h 84285"/>
                  <a:gd name="connsiteX29" fmla="*/ 51861 w 81484"/>
                  <a:gd name="connsiteY29" fmla="*/ 35836 h 84285"/>
                  <a:gd name="connsiteX30" fmla="*/ 48289 w 81484"/>
                  <a:gd name="connsiteY30" fmla="*/ 30761 h 84285"/>
                  <a:gd name="connsiteX31" fmla="*/ 46437 w 81484"/>
                  <a:gd name="connsiteY31" fmla="*/ 16492 h 84285"/>
                  <a:gd name="connsiteX32" fmla="*/ 36237 w 81484"/>
                  <a:gd name="connsiteY32" fmla="*/ 26642 h 84285"/>
                  <a:gd name="connsiteX33" fmla="*/ 30307 w 81484"/>
                  <a:gd name="connsiteY33" fmla="*/ 28472 h 84285"/>
                  <a:gd name="connsiteX34" fmla="*/ 16163 w 81484"/>
                  <a:gd name="connsiteY34" fmla="*/ 25826 h 84285"/>
                  <a:gd name="connsiteX35" fmla="*/ 22668 w 81484"/>
                  <a:gd name="connsiteY35" fmla="*/ 38665 h 84285"/>
                  <a:gd name="connsiteX36" fmla="*/ 22573 w 81484"/>
                  <a:gd name="connsiteY36" fmla="*/ 44867 h 84285"/>
                  <a:gd name="connsiteX37" fmla="*/ 15684 w 81484"/>
                  <a:gd name="connsiteY37" fmla="*/ 57501 h 84285"/>
                  <a:gd name="connsiteX38" fmla="*/ 29904 w 81484"/>
                  <a:gd name="connsiteY38" fmla="*/ 55285 h 84285"/>
                  <a:gd name="connsiteX39" fmla="*/ 30932 w 81484"/>
                  <a:gd name="connsiteY39" fmla="*/ 55198 h 8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81484" h="84285">
                    <a:moveTo>
                      <a:pt x="47473" y="84285"/>
                    </a:moveTo>
                    <a:cubicBezTo>
                      <a:pt x="44621" y="84285"/>
                      <a:pt x="41861" y="83125"/>
                      <a:pt x="39823" y="80970"/>
                    </a:cubicBezTo>
                    <a:lnTo>
                      <a:pt x="28499" y="68994"/>
                    </a:lnTo>
                    <a:lnTo>
                      <a:pt x="12213" y="71534"/>
                    </a:lnTo>
                    <a:cubicBezTo>
                      <a:pt x="8220" y="72182"/>
                      <a:pt x="4269" y="70489"/>
                      <a:pt x="1936" y="67172"/>
                    </a:cubicBezTo>
                    <a:cubicBezTo>
                      <a:pt x="-394" y="63858"/>
                      <a:pt x="-639" y="59591"/>
                      <a:pt x="1300" y="56033"/>
                    </a:cubicBezTo>
                    <a:lnTo>
                      <a:pt x="9188" y="41561"/>
                    </a:lnTo>
                    <a:lnTo>
                      <a:pt x="1740" y="26854"/>
                    </a:lnTo>
                    <a:cubicBezTo>
                      <a:pt x="-90" y="23241"/>
                      <a:pt x="282" y="18980"/>
                      <a:pt x="2711" y="15737"/>
                    </a:cubicBezTo>
                    <a:cubicBezTo>
                      <a:pt x="5146" y="12494"/>
                      <a:pt x="9160" y="10940"/>
                      <a:pt x="13108" y="11688"/>
                    </a:cubicBezTo>
                    <a:lnTo>
                      <a:pt x="29316" y="14721"/>
                    </a:lnTo>
                    <a:lnTo>
                      <a:pt x="41000" y="3093"/>
                    </a:lnTo>
                    <a:cubicBezTo>
                      <a:pt x="43868" y="228"/>
                      <a:pt x="48028" y="-738"/>
                      <a:pt x="51876" y="580"/>
                    </a:cubicBezTo>
                    <a:cubicBezTo>
                      <a:pt x="55711" y="1892"/>
                      <a:pt x="58415" y="5203"/>
                      <a:pt x="58939" y="9219"/>
                    </a:cubicBezTo>
                    <a:lnTo>
                      <a:pt x="58939" y="9219"/>
                    </a:lnTo>
                    <a:lnTo>
                      <a:pt x="61061" y="25567"/>
                    </a:lnTo>
                    <a:lnTo>
                      <a:pt x="75733" y="33082"/>
                    </a:lnTo>
                    <a:cubicBezTo>
                      <a:pt x="79340" y="34929"/>
                      <a:pt x="81544" y="38593"/>
                      <a:pt x="81483" y="42646"/>
                    </a:cubicBezTo>
                    <a:cubicBezTo>
                      <a:pt x="81423" y="46699"/>
                      <a:pt x="79110" y="50300"/>
                      <a:pt x="75452" y="52038"/>
                    </a:cubicBezTo>
                    <a:lnTo>
                      <a:pt x="60558" y="59107"/>
                    </a:lnTo>
                    <a:lnTo>
                      <a:pt x="57940" y="75383"/>
                    </a:lnTo>
                    <a:cubicBezTo>
                      <a:pt x="57296" y="79387"/>
                      <a:pt x="54489" y="82613"/>
                      <a:pt x="50615" y="83808"/>
                    </a:cubicBezTo>
                    <a:cubicBezTo>
                      <a:pt x="49575" y="84129"/>
                      <a:pt x="48518" y="84285"/>
                      <a:pt x="47473" y="84285"/>
                    </a:cubicBezTo>
                    <a:close/>
                    <a:moveTo>
                      <a:pt x="30932" y="55198"/>
                    </a:moveTo>
                    <a:cubicBezTo>
                      <a:pt x="32752" y="55198"/>
                      <a:pt x="34506" y="55945"/>
                      <a:pt x="35777" y="57285"/>
                    </a:cubicBezTo>
                    <a:lnTo>
                      <a:pt x="45664" y="67742"/>
                    </a:lnTo>
                    <a:lnTo>
                      <a:pt x="47948" y="53533"/>
                    </a:lnTo>
                    <a:cubicBezTo>
                      <a:pt x="48296" y="51365"/>
                      <a:pt x="49690" y="49508"/>
                      <a:pt x="51672" y="48569"/>
                    </a:cubicBezTo>
                    <a:lnTo>
                      <a:pt x="64668" y="42398"/>
                    </a:lnTo>
                    <a:lnTo>
                      <a:pt x="51861" y="35836"/>
                    </a:lnTo>
                    <a:cubicBezTo>
                      <a:pt x="49908" y="34832"/>
                      <a:pt x="48573" y="32934"/>
                      <a:pt x="48289" y="30761"/>
                    </a:cubicBezTo>
                    <a:lnTo>
                      <a:pt x="46437" y="16492"/>
                    </a:lnTo>
                    <a:lnTo>
                      <a:pt x="36237" y="26642"/>
                    </a:lnTo>
                    <a:cubicBezTo>
                      <a:pt x="34681" y="28192"/>
                      <a:pt x="32474" y="28871"/>
                      <a:pt x="30307" y="28472"/>
                    </a:cubicBezTo>
                    <a:lnTo>
                      <a:pt x="16163" y="25826"/>
                    </a:lnTo>
                    <a:lnTo>
                      <a:pt x="22668" y="38665"/>
                    </a:lnTo>
                    <a:cubicBezTo>
                      <a:pt x="23661" y="40621"/>
                      <a:pt x="23624" y="42940"/>
                      <a:pt x="22573" y="44867"/>
                    </a:cubicBezTo>
                    <a:lnTo>
                      <a:pt x="15684" y="57501"/>
                    </a:lnTo>
                    <a:lnTo>
                      <a:pt x="29904" y="55285"/>
                    </a:lnTo>
                    <a:cubicBezTo>
                      <a:pt x="30249" y="55225"/>
                      <a:pt x="30591" y="55198"/>
                      <a:pt x="30932" y="55198"/>
                    </a:cubicBezTo>
                    <a:close/>
                  </a:path>
                </a:pathLst>
              </a:custGeom>
              <a:grpFill/>
              <a:ln w="205" cap="flat">
                <a:noFill/>
                <a:prstDash val="solid"/>
                <a:miter/>
              </a:ln>
            </p:spPr>
            <p:txBody>
              <a:bodyPr rtlCol="0" anchor="ctr"/>
              <a:lstStyle/>
              <a:p>
                <a:endParaRPr lang="en-GB" dirty="0"/>
              </a:p>
            </p:txBody>
          </p:sp>
          <p:grpSp>
            <p:nvGrpSpPr>
              <p:cNvPr id="461" name="Grafik 348">
                <a:extLst>
                  <a:ext uri="{FF2B5EF4-FFF2-40B4-BE49-F238E27FC236}">
                    <a16:creationId xmlns:a16="http://schemas.microsoft.com/office/drawing/2014/main" id="{25F56B85-4336-47E6-8CD4-6F63397C71B2}"/>
                  </a:ext>
                </a:extLst>
              </p:cNvPr>
              <p:cNvGrpSpPr/>
              <p:nvPr/>
            </p:nvGrpSpPr>
            <p:grpSpPr>
              <a:xfrm>
                <a:off x="1977274" y="1971109"/>
                <a:ext cx="177729" cy="93957"/>
                <a:chOff x="1977274" y="1971109"/>
                <a:chExt cx="177729" cy="93957"/>
              </a:xfrm>
              <a:grpFill/>
            </p:grpSpPr>
            <p:sp>
              <p:nvSpPr>
                <p:cNvPr id="465" name="Freihandform: Form 464">
                  <a:extLst>
                    <a:ext uri="{FF2B5EF4-FFF2-40B4-BE49-F238E27FC236}">
                      <a16:creationId xmlns:a16="http://schemas.microsoft.com/office/drawing/2014/main" id="{E5EF9936-2F5B-49C5-9316-E22885991704}"/>
                    </a:ext>
                  </a:extLst>
                </p:cNvPr>
                <p:cNvSpPr/>
                <p:nvPr/>
              </p:nvSpPr>
              <p:spPr>
                <a:xfrm>
                  <a:off x="1981553" y="1975156"/>
                  <a:ext cx="63639" cy="68455"/>
                </a:xfrm>
                <a:custGeom>
                  <a:avLst/>
                  <a:gdLst>
                    <a:gd name="connsiteX0" fmla="*/ 45421 w 63639"/>
                    <a:gd name="connsiteY0" fmla="*/ 68455 h 68455"/>
                    <a:gd name="connsiteX1" fmla="*/ 40464 w 63639"/>
                    <a:gd name="connsiteY1" fmla="*/ 66249 h 68455"/>
                    <a:gd name="connsiteX2" fmla="*/ 27361 w 63639"/>
                    <a:gd name="connsiteY2" fmla="*/ 51682 h 68455"/>
                    <a:gd name="connsiteX3" fmla="*/ 8876 w 63639"/>
                    <a:gd name="connsiteY3" fmla="*/ 58173 h 68455"/>
                    <a:gd name="connsiteX4" fmla="*/ 2164 w 63639"/>
                    <a:gd name="connsiteY4" fmla="*/ 56800 h 68455"/>
                    <a:gd name="connsiteX5" fmla="*/ 209 w 63639"/>
                    <a:gd name="connsiteY5" fmla="*/ 50234 h 68455"/>
                    <a:gd name="connsiteX6" fmla="*/ 11761 w 63639"/>
                    <a:gd name="connsiteY6" fmla="*/ 5021 h 68455"/>
                    <a:gd name="connsiteX7" fmla="*/ 19869 w 63639"/>
                    <a:gd name="connsiteY7" fmla="*/ 214 h 68455"/>
                    <a:gd name="connsiteX8" fmla="*/ 58623 w 63639"/>
                    <a:gd name="connsiteY8" fmla="*/ 10117 h 68455"/>
                    <a:gd name="connsiteX9" fmla="*/ 63431 w 63639"/>
                    <a:gd name="connsiteY9" fmla="*/ 18225 h 68455"/>
                    <a:gd name="connsiteX10" fmla="*/ 51878 w 63639"/>
                    <a:gd name="connsiteY10" fmla="*/ 63442 h 68455"/>
                    <a:gd name="connsiteX11" fmla="*/ 47011 w 63639"/>
                    <a:gd name="connsiteY11" fmla="*/ 68266 h 68455"/>
                    <a:gd name="connsiteX12" fmla="*/ 45421 w 63639"/>
                    <a:gd name="connsiteY12" fmla="*/ 68455 h 68455"/>
                    <a:gd name="connsiteX13" fmla="*/ 29343 w 63639"/>
                    <a:gd name="connsiteY13" fmla="*/ 37250 h 68455"/>
                    <a:gd name="connsiteX14" fmla="*/ 34301 w 63639"/>
                    <a:gd name="connsiteY14" fmla="*/ 39457 h 68455"/>
                    <a:gd name="connsiteX15" fmla="*/ 42045 w 63639"/>
                    <a:gd name="connsiteY15" fmla="*/ 48067 h 68455"/>
                    <a:gd name="connsiteX16" fmla="*/ 48866 w 63639"/>
                    <a:gd name="connsiteY16" fmla="*/ 21379 h 68455"/>
                    <a:gd name="connsiteX17" fmla="*/ 23028 w 63639"/>
                    <a:gd name="connsiteY17" fmla="*/ 14779 h 68455"/>
                    <a:gd name="connsiteX18" fmla="*/ 16211 w 63639"/>
                    <a:gd name="connsiteY18" fmla="*/ 41466 h 68455"/>
                    <a:gd name="connsiteX19" fmla="*/ 27132 w 63639"/>
                    <a:gd name="connsiteY19" fmla="*/ 37629 h 68455"/>
                    <a:gd name="connsiteX20" fmla="*/ 29343 w 63639"/>
                    <a:gd name="connsiteY20" fmla="*/ 37250 h 6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3639" h="68455">
                      <a:moveTo>
                        <a:pt x="45421" y="68455"/>
                      </a:moveTo>
                      <a:cubicBezTo>
                        <a:pt x="43556" y="68455"/>
                        <a:pt x="41747" y="67670"/>
                        <a:pt x="40464" y="66249"/>
                      </a:cubicBezTo>
                      <a:lnTo>
                        <a:pt x="27361" y="51682"/>
                      </a:lnTo>
                      <a:lnTo>
                        <a:pt x="8876" y="58173"/>
                      </a:lnTo>
                      <a:cubicBezTo>
                        <a:pt x="6555" y="58984"/>
                        <a:pt x="3974" y="58463"/>
                        <a:pt x="2164" y="56800"/>
                      </a:cubicBezTo>
                      <a:cubicBezTo>
                        <a:pt x="351" y="55140"/>
                        <a:pt x="-402" y="52617"/>
                        <a:pt x="209" y="50234"/>
                      </a:cubicBezTo>
                      <a:lnTo>
                        <a:pt x="11761" y="5021"/>
                      </a:lnTo>
                      <a:cubicBezTo>
                        <a:pt x="12670" y="1458"/>
                        <a:pt x="16295" y="-712"/>
                        <a:pt x="19869" y="214"/>
                      </a:cubicBezTo>
                      <a:lnTo>
                        <a:pt x="58623" y="10117"/>
                      </a:lnTo>
                      <a:cubicBezTo>
                        <a:pt x="62191" y="11028"/>
                        <a:pt x="64342" y="14657"/>
                        <a:pt x="63431" y="18225"/>
                      </a:cubicBezTo>
                      <a:lnTo>
                        <a:pt x="51878" y="63442"/>
                      </a:lnTo>
                      <a:cubicBezTo>
                        <a:pt x="51270" y="65825"/>
                        <a:pt x="49400" y="67678"/>
                        <a:pt x="47011" y="68266"/>
                      </a:cubicBezTo>
                      <a:cubicBezTo>
                        <a:pt x="46487" y="68393"/>
                        <a:pt x="45952" y="68455"/>
                        <a:pt x="45421" y="68455"/>
                      </a:cubicBezTo>
                      <a:close/>
                      <a:moveTo>
                        <a:pt x="29343" y="37250"/>
                      </a:moveTo>
                      <a:cubicBezTo>
                        <a:pt x="31198" y="37250"/>
                        <a:pt x="33011" y="38027"/>
                        <a:pt x="34301" y="39457"/>
                      </a:cubicBezTo>
                      <a:lnTo>
                        <a:pt x="42045" y="48067"/>
                      </a:lnTo>
                      <a:lnTo>
                        <a:pt x="48866" y="21379"/>
                      </a:lnTo>
                      <a:lnTo>
                        <a:pt x="23028" y="14779"/>
                      </a:lnTo>
                      <a:lnTo>
                        <a:pt x="16211" y="41466"/>
                      </a:lnTo>
                      <a:lnTo>
                        <a:pt x="27132" y="37629"/>
                      </a:lnTo>
                      <a:cubicBezTo>
                        <a:pt x="27856" y="37374"/>
                        <a:pt x="28605" y="37250"/>
                        <a:pt x="29343" y="37250"/>
                      </a:cubicBezTo>
                      <a:close/>
                    </a:path>
                  </a:pathLst>
                </a:custGeom>
                <a:grpFill/>
                <a:ln w="205" cap="flat">
                  <a:noFill/>
                  <a:prstDash val="solid"/>
                  <a:miter/>
                </a:ln>
              </p:spPr>
              <p:txBody>
                <a:bodyPr rtlCol="0" anchor="ctr"/>
                <a:lstStyle/>
                <a:p>
                  <a:endParaRPr lang="en-GB" dirty="0"/>
                </a:p>
              </p:txBody>
            </p:sp>
            <p:sp>
              <p:nvSpPr>
                <p:cNvPr id="466" name="Freihandform: Form 465">
                  <a:extLst>
                    <a:ext uri="{FF2B5EF4-FFF2-40B4-BE49-F238E27FC236}">
                      <a16:creationId xmlns:a16="http://schemas.microsoft.com/office/drawing/2014/main" id="{83FA44E6-1B20-4FC7-8A66-C719B04719B0}"/>
                    </a:ext>
                  </a:extLst>
                </p:cNvPr>
                <p:cNvSpPr/>
                <p:nvPr/>
              </p:nvSpPr>
              <p:spPr>
                <a:xfrm>
                  <a:off x="2065526" y="1996615"/>
                  <a:ext cx="63638" cy="68451"/>
                </a:xfrm>
                <a:custGeom>
                  <a:avLst/>
                  <a:gdLst>
                    <a:gd name="connsiteX0" fmla="*/ 45418 w 63638"/>
                    <a:gd name="connsiteY0" fmla="*/ 68452 h 68451"/>
                    <a:gd name="connsiteX1" fmla="*/ 40461 w 63638"/>
                    <a:gd name="connsiteY1" fmla="*/ 66245 h 68451"/>
                    <a:gd name="connsiteX2" fmla="*/ 27362 w 63638"/>
                    <a:gd name="connsiteY2" fmla="*/ 51680 h 68451"/>
                    <a:gd name="connsiteX3" fmla="*/ 8875 w 63638"/>
                    <a:gd name="connsiteY3" fmla="*/ 58172 h 68451"/>
                    <a:gd name="connsiteX4" fmla="*/ 2163 w 63638"/>
                    <a:gd name="connsiteY4" fmla="*/ 56798 h 68451"/>
                    <a:gd name="connsiteX5" fmla="*/ 208 w 63638"/>
                    <a:gd name="connsiteY5" fmla="*/ 50233 h 68451"/>
                    <a:gd name="connsiteX6" fmla="*/ 11760 w 63638"/>
                    <a:gd name="connsiteY6" fmla="*/ 5016 h 68451"/>
                    <a:gd name="connsiteX7" fmla="*/ 14816 w 63638"/>
                    <a:gd name="connsiteY7" fmla="*/ 930 h 68451"/>
                    <a:gd name="connsiteX8" fmla="*/ 19869 w 63638"/>
                    <a:gd name="connsiteY8" fmla="*/ 208 h 68451"/>
                    <a:gd name="connsiteX9" fmla="*/ 58622 w 63638"/>
                    <a:gd name="connsiteY9" fmla="*/ 10114 h 68451"/>
                    <a:gd name="connsiteX10" fmla="*/ 63430 w 63638"/>
                    <a:gd name="connsiteY10" fmla="*/ 18222 h 68451"/>
                    <a:gd name="connsiteX11" fmla="*/ 51877 w 63638"/>
                    <a:gd name="connsiteY11" fmla="*/ 63434 h 68451"/>
                    <a:gd name="connsiteX12" fmla="*/ 47010 w 63638"/>
                    <a:gd name="connsiteY12" fmla="*/ 68258 h 68451"/>
                    <a:gd name="connsiteX13" fmla="*/ 45418 w 63638"/>
                    <a:gd name="connsiteY13" fmla="*/ 68452 h 68451"/>
                    <a:gd name="connsiteX14" fmla="*/ 29344 w 63638"/>
                    <a:gd name="connsiteY14" fmla="*/ 37249 h 68451"/>
                    <a:gd name="connsiteX15" fmla="*/ 34302 w 63638"/>
                    <a:gd name="connsiteY15" fmla="*/ 39455 h 68451"/>
                    <a:gd name="connsiteX16" fmla="*/ 42044 w 63638"/>
                    <a:gd name="connsiteY16" fmla="*/ 48063 h 68451"/>
                    <a:gd name="connsiteX17" fmla="*/ 48863 w 63638"/>
                    <a:gd name="connsiteY17" fmla="*/ 21380 h 68451"/>
                    <a:gd name="connsiteX18" fmla="*/ 23025 w 63638"/>
                    <a:gd name="connsiteY18" fmla="*/ 14775 h 68451"/>
                    <a:gd name="connsiteX19" fmla="*/ 16204 w 63638"/>
                    <a:gd name="connsiteY19" fmla="*/ 41466 h 68451"/>
                    <a:gd name="connsiteX20" fmla="*/ 27131 w 63638"/>
                    <a:gd name="connsiteY20" fmla="*/ 37629 h 68451"/>
                    <a:gd name="connsiteX21" fmla="*/ 29344 w 63638"/>
                    <a:gd name="connsiteY21" fmla="*/ 37249 h 68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3638" h="68451">
                      <a:moveTo>
                        <a:pt x="45418" y="68452"/>
                      </a:moveTo>
                      <a:cubicBezTo>
                        <a:pt x="43553" y="68452"/>
                        <a:pt x="41744" y="67666"/>
                        <a:pt x="40461" y="66245"/>
                      </a:cubicBezTo>
                      <a:lnTo>
                        <a:pt x="27362" y="51680"/>
                      </a:lnTo>
                      <a:lnTo>
                        <a:pt x="8875" y="58172"/>
                      </a:lnTo>
                      <a:cubicBezTo>
                        <a:pt x="6560" y="58988"/>
                        <a:pt x="3969" y="58464"/>
                        <a:pt x="2163" y="56798"/>
                      </a:cubicBezTo>
                      <a:cubicBezTo>
                        <a:pt x="350" y="55139"/>
                        <a:pt x="-401" y="52616"/>
                        <a:pt x="208" y="50233"/>
                      </a:cubicBezTo>
                      <a:lnTo>
                        <a:pt x="11760" y="5016"/>
                      </a:lnTo>
                      <a:cubicBezTo>
                        <a:pt x="12196" y="3303"/>
                        <a:pt x="13297" y="1833"/>
                        <a:pt x="14816" y="930"/>
                      </a:cubicBezTo>
                      <a:cubicBezTo>
                        <a:pt x="16340" y="29"/>
                        <a:pt x="18162" y="-230"/>
                        <a:pt x="19869" y="208"/>
                      </a:cubicBezTo>
                      <a:lnTo>
                        <a:pt x="58622" y="10114"/>
                      </a:lnTo>
                      <a:cubicBezTo>
                        <a:pt x="62190" y="11024"/>
                        <a:pt x="64341" y="14654"/>
                        <a:pt x="63430" y="18222"/>
                      </a:cubicBezTo>
                      <a:lnTo>
                        <a:pt x="51877" y="63434"/>
                      </a:lnTo>
                      <a:cubicBezTo>
                        <a:pt x="51269" y="65818"/>
                        <a:pt x="49400" y="67670"/>
                        <a:pt x="47010" y="68258"/>
                      </a:cubicBezTo>
                      <a:cubicBezTo>
                        <a:pt x="46484" y="68390"/>
                        <a:pt x="45949" y="68452"/>
                        <a:pt x="45418" y="68452"/>
                      </a:cubicBezTo>
                      <a:close/>
                      <a:moveTo>
                        <a:pt x="29344" y="37249"/>
                      </a:moveTo>
                      <a:cubicBezTo>
                        <a:pt x="31199" y="37249"/>
                        <a:pt x="33013" y="38026"/>
                        <a:pt x="34302" y="39455"/>
                      </a:cubicBezTo>
                      <a:lnTo>
                        <a:pt x="42044" y="48063"/>
                      </a:lnTo>
                      <a:lnTo>
                        <a:pt x="48863" y="21380"/>
                      </a:lnTo>
                      <a:lnTo>
                        <a:pt x="23025" y="14775"/>
                      </a:lnTo>
                      <a:lnTo>
                        <a:pt x="16204" y="41466"/>
                      </a:lnTo>
                      <a:lnTo>
                        <a:pt x="27131" y="37629"/>
                      </a:lnTo>
                      <a:cubicBezTo>
                        <a:pt x="27855" y="37372"/>
                        <a:pt x="28604" y="37249"/>
                        <a:pt x="29344" y="37249"/>
                      </a:cubicBezTo>
                      <a:close/>
                    </a:path>
                  </a:pathLst>
                </a:custGeom>
                <a:grpFill/>
                <a:ln w="205" cap="flat">
                  <a:noFill/>
                  <a:prstDash val="solid"/>
                  <a:miter/>
                </a:ln>
              </p:spPr>
              <p:txBody>
                <a:bodyPr rtlCol="0" anchor="ctr"/>
                <a:lstStyle/>
                <a:p>
                  <a:endParaRPr lang="en-GB" dirty="0"/>
                </a:p>
              </p:txBody>
            </p:sp>
            <p:sp>
              <p:nvSpPr>
                <p:cNvPr id="467" name="Freihandform: Form 466">
                  <a:extLst>
                    <a:ext uri="{FF2B5EF4-FFF2-40B4-BE49-F238E27FC236}">
                      <a16:creationId xmlns:a16="http://schemas.microsoft.com/office/drawing/2014/main" id="{E9A7C4AC-BF85-457E-B52F-F04E190B4D22}"/>
                    </a:ext>
                  </a:extLst>
                </p:cNvPr>
                <p:cNvSpPr/>
                <p:nvPr/>
              </p:nvSpPr>
              <p:spPr>
                <a:xfrm>
                  <a:off x="1977274" y="1971109"/>
                  <a:ext cx="177729" cy="55345"/>
                </a:xfrm>
                <a:custGeom>
                  <a:avLst/>
                  <a:gdLst>
                    <a:gd name="connsiteX0" fmla="*/ 171066 w 177729"/>
                    <a:gd name="connsiteY0" fmla="*/ 55346 h 55345"/>
                    <a:gd name="connsiteX1" fmla="*/ 169412 w 177729"/>
                    <a:gd name="connsiteY1" fmla="*/ 55138 h 55345"/>
                    <a:gd name="connsiteX2" fmla="*/ 5017 w 177729"/>
                    <a:gd name="connsiteY2" fmla="*/ 13129 h 55345"/>
                    <a:gd name="connsiteX3" fmla="*/ 209 w 177729"/>
                    <a:gd name="connsiteY3" fmla="*/ 5021 h 55345"/>
                    <a:gd name="connsiteX4" fmla="*/ 8317 w 177729"/>
                    <a:gd name="connsiteY4" fmla="*/ 214 h 55345"/>
                    <a:gd name="connsiteX5" fmla="*/ 172713 w 177729"/>
                    <a:gd name="connsiteY5" fmla="*/ 42222 h 55345"/>
                    <a:gd name="connsiteX6" fmla="*/ 177521 w 177729"/>
                    <a:gd name="connsiteY6" fmla="*/ 50331 h 55345"/>
                    <a:gd name="connsiteX7" fmla="*/ 171066 w 177729"/>
                    <a:gd name="connsiteY7" fmla="*/ 55346 h 5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729" h="55345">
                      <a:moveTo>
                        <a:pt x="171066" y="55346"/>
                      </a:moveTo>
                      <a:cubicBezTo>
                        <a:pt x="170523" y="55346"/>
                        <a:pt x="169966" y="55280"/>
                        <a:pt x="169412" y="55138"/>
                      </a:cubicBezTo>
                      <a:lnTo>
                        <a:pt x="5017" y="13129"/>
                      </a:lnTo>
                      <a:cubicBezTo>
                        <a:pt x="1449" y="12218"/>
                        <a:pt x="-702" y="8589"/>
                        <a:pt x="209" y="5021"/>
                      </a:cubicBezTo>
                      <a:cubicBezTo>
                        <a:pt x="1120" y="1458"/>
                        <a:pt x="4731" y="-712"/>
                        <a:pt x="8317" y="214"/>
                      </a:cubicBezTo>
                      <a:lnTo>
                        <a:pt x="172713" y="42222"/>
                      </a:lnTo>
                      <a:cubicBezTo>
                        <a:pt x="176281" y="43133"/>
                        <a:pt x="178432" y="46763"/>
                        <a:pt x="177521" y="50331"/>
                      </a:cubicBezTo>
                      <a:cubicBezTo>
                        <a:pt x="176752" y="53343"/>
                        <a:pt x="174041" y="55346"/>
                        <a:pt x="171066" y="55346"/>
                      </a:cubicBezTo>
                      <a:close/>
                    </a:path>
                  </a:pathLst>
                </a:custGeom>
                <a:grpFill/>
                <a:ln w="205" cap="flat">
                  <a:noFill/>
                  <a:prstDash val="solid"/>
                  <a:miter/>
                </a:ln>
              </p:spPr>
              <p:txBody>
                <a:bodyPr rtlCol="0" anchor="ctr"/>
                <a:lstStyle/>
                <a:p>
                  <a:endParaRPr lang="en-GB" dirty="0"/>
                </a:p>
              </p:txBody>
            </p:sp>
          </p:grpSp>
          <p:sp>
            <p:nvSpPr>
              <p:cNvPr id="462" name="Freihandform: Form 461">
                <a:extLst>
                  <a:ext uri="{FF2B5EF4-FFF2-40B4-BE49-F238E27FC236}">
                    <a16:creationId xmlns:a16="http://schemas.microsoft.com/office/drawing/2014/main" id="{E8494696-C216-433D-B854-9F29DFF84BF9}"/>
                  </a:ext>
                </a:extLst>
              </p:cNvPr>
              <p:cNvSpPr/>
              <p:nvPr/>
            </p:nvSpPr>
            <p:spPr>
              <a:xfrm>
                <a:off x="1924171" y="1915215"/>
                <a:ext cx="223811" cy="48178"/>
              </a:xfrm>
              <a:custGeom>
                <a:avLst/>
                <a:gdLst>
                  <a:gd name="connsiteX0" fmla="*/ 6662 w 223811"/>
                  <a:gd name="connsiteY0" fmla="*/ 48178 h 48178"/>
                  <a:gd name="connsiteX1" fmla="*/ 90 w 223811"/>
                  <a:gd name="connsiteY1" fmla="*/ 42599 h 48178"/>
                  <a:gd name="connsiteX2" fmla="*/ 5578 w 223811"/>
                  <a:gd name="connsiteY2" fmla="*/ 34936 h 48178"/>
                  <a:gd name="connsiteX3" fmla="*/ 216056 w 223811"/>
                  <a:gd name="connsiteY3" fmla="*/ 91 h 48178"/>
                  <a:gd name="connsiteX4" fmla="*/ 223722 w 223811"/>
                  <a:gd name="connsiteY4" fmla="*/ 5579 h 48178"/>
                  <a:gd name="connsiteX5" fmla="*/ 218234 w 223811"/>
                  <a:gd name="connsiteY5" fmla="*/ 13243 h 48178"/>
                  <a:gd name="connsiteX6" fmla="*/ 7756 w 223811"/>
                  <a:gd name="connsiteY6" fmla="*/ 48088 h 48178"/>
                  <a:gd name="connsiteX7" fmla="*/ 6662 w 223811"/>
                  <a:gd name="connsiteY7" fmla="*/ 48178 h 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811" h="48178">
                    <a:moveTo>
                      <a:pt x="6662" y="48178"/>
                    </a:moveTo>
                    <a:cubicBezTo>
                      <a:pt x="3458" y="48178"/>
                      <a:pt x="633" y="45863"/>
                      <a:pt x="90" y="42599"/>
                    </a:cubicBezTo>
                    <a:cubicBezTo>
                      <a:pt x="-509" y="38970"/>
                      <a:pt x="1949" y="35536"/>
                      <a:pt x="5578" y="34936"/>
                    </a:cubicBezTo>
                    <a:lnTo>
                      <a:pt x="216056" y="91"/>
                    </a:lnTo>
                    <a:cubicBezTo>
                      <a:pt x="219690" y="-512"/>
                      <a:pt x="223118" y="1944"/>
                      <a:pt x="223722" y="5579"/>
                    </a:cubicBezTo>
                    <a:cubicBezTo>
                      <a:pt x="224321" y="9209"/>
                      <a:pt x="221863" y="12643"/>
                      <a:pt x="218234" y="13243"/>
                    </a:cubicBezTo>
                    <a:lnTo>
                      <a:pt x="7756" y="48088"/>
                    </a:lnTo>
                    <a:cubicBezTo>
                      <a:pt x="7388" y="48150"/>
                      <a:pt x="7022" y="48178"/>
                      <a:pt x="6662" y="48178"/>
                    </a:cubicBezTo>
                    <a:close/>
                  </a:path>
                </a:pathLst>
              </a:custGeom>
              <a:grpFill/>
              <a:ln w="205" cap="flat">
                <a:noFill/>
                <a:prstDash val="solid"/>
                <a:miter/>
              </a:ln>
            </p:spPr>
            <p:txBody>
              <a:bodyPr rtlCol="0" anchor="ctr"/>
              <a:lstStyle/>
              <a:p>
                <a:endParaRPr lang="en-GB" dirty="0"/>
              </a:p>
            </p:txBody>
          </p:sp>
          <p:sp>
            <p:nvSpPr>
              <p:cNvPr id="463" name="Freihandform: Form 462">
                <a:extLst>
                  <a:ext uri="{FF2B5EF4-FFF2-40B4-BE49-F238E27FC236}">
                    <a16:creationId xmlns:a16="http://schemas.microsoft.com/office/drawing/2014/main" id="{CA4EBA35-365D-49AE-B367-BC469D04CC5C}"/>
                  </a:ext>
                </a:extLst>
              </p:cNvPr>
              <p:cNvSpPr/>
              <p:nvPr/>
            </p:nvSpPr>
            <p:spPr>
              <a:xfrm>
                <a:off x="2060181" y="1921044"/>
                <a:ext cx="60420" cy="65911"/>
              </a:xfrm>
              <a:custGeom>
                <a:avLst/>
                <a:gdLst>
                  <a:gd name="connsiteX0" fmla="*/ 14291 w 60420"/>
                  <a:gd name="connsiteY0" fmla="*/ 65912 h 65911"/>
                  <a:gd name="connsiteX1" fmla="*/ 12148 w 60420"/>
                  <a:gd name="connsiteY1" fmla="*/ 65556 h 65911"/>
                  <a:gd name="connsiteX2" fmla="*/ 7715 w 60420"/>
                  <a:gd name="connsiteY2" fmla="*/ 60335 h 65911"/>
                  <a:gd name="connsiteX3" fmla="*/ 90 w 60420"/>
                  <a:gd name="connsiteY3" fmla="*/ 14295 h 65911"/>
                  <a:gd name="connsiteX4" fmla="*/ 1246 w 60420"/>
                  <a:gd name="connsiteY4" fmla="*/ 9325 h 65911"/>
                  <a:gd name="connsiteX5" fmla="*/ 5578 w 60420"/>
                  <a:gd name="connsiteY5" fmla="*/ 6629 h 65911"/>
                  <a:gd name="connsiteX6" fmla="*/ 45039 w 60420"/>
                  <a:gd name="connsiteY6" fmla="*/ 96 h 65911"/>
                  <a:gd name="connsiteX7" fmla="*/ 52705 w 60420"/>
                  <a:gd name="connsiteY7" fmla="*/ 5581 h 65911"/>
                  <a:gd name="connsiteX8" fmla="*/ 60330 w 60420"/>
                  <a:gd name="connsiteY8" fmla="*/ 51620 h 65911"/>
                  <a:gd name="connsiteX9" fmla="*/ 57817 w 60420"/>
                  <a:gd name="connsiteY9" fmla="*/ 57997 h 65911"/>
                  <a:gd name="connsiteX10" fmla="*/ 51013 w 60420"/>
                  <a:gd name="connsiteY10" fmla="*/ 58788 h 65911"/>
                  <a:gd name="connsiteX11" fmla="*/ 33152 w 60420"/>
                  <a:gd name="connsiteY11" fmla="*/ 50728 h 65911"/>
                  <a:gd name="connsiteX12" fmla="*/ 18844 w 60420"/>
                  <a:gd name="connsiteY12" fmla="*/ 64114 h 65911"/>
                  <a:gd name="connsiteX13" fmla="*/ 14291 w 60420"/>
                  <a:gd name="connsiteY13" fmla="*/ 65912 h 65911"/>
                  <a:gd name="connsiteX14" fmla="*/ 14334 w 60420"/>
                  <a:gd name="connsiteY14" fmla="*/ 18694 h 65911"/>
                  <a:gd name="connsiteX15" fmla="*/ 18833 w 60420"/>
                  <a:gd name="connsiteY15" fmla="*/ 45866 h 65911"/>
                  <a:gd name="connsiteX16" fmla="*/ 27291 w 60420"/>
                  <a:gd name="connsiteY16" fmla="*/ 37956 h 65911"/>
                  <a:gd name="connsiteX17" fmla="*/ 34587 w 60420"/>
                  <a:gd name="connsiteY17" fmla="*/ 36749 h 65911"/>
                  <a:gd name="connsiteX18" fmla="*/ 45144 w 60420"/>
                  <a:gd name="connsiteY18" fmla="*/ 41511 h 65911"/>
                  <a:gd name="connsiteX19" fmla="*/ 40645 w 60420"/>
                  <a:gd name="connsiteY19" fmla="*/ 14339 h 65911"/>
                  <a:gd name="connsiteX20" fmla="*/ 14334 w 60420"/>
                  <a:gd name="connsiteY20" fmla="*/ 18694 h 6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420" h="65911">
                    <a:moveTo>
                      <a:pt x="14291" y="65912"/>
                    </a:moveTo>
                    <a:cubicBezTo>
                      <a:pt x="13571" y="65912"/>
                      <a:pt x="12850" y="65794"/>
                      <a:pt x="12148" y="65556"/>
                    </a:cubicBezTo>
                    <a:cubicBezTo>
                      <a:pt x="9819" y="64764"/>
                      <a:pt x="8116" y="62759"/>
                      <a:pt x="7715" y="60335"/>
                    </a:cubicBezTo>
                    <a:lnTo>
                      <a:pt x="90" y="14295"/>
                    </a:lnTo>
                    <a:cubicBezTo>
                      <a:pt x="-200" y="12552"/>
                      <a:pt x="218" y="10763"/>
                      <a:pt x="1246" y="9325"/>
                    </a:cubicBezTo>
                    <a:cubicBezTo>
                      <a:pt x="2274" y="7886"/>
                      <a:pt x="3833" y="6917"/>
                      <a:pt x="5578" y="6629"/>
                    </a:cubicBezTo>
                    <a:lnTo>
                      <a:pt x="45039" y="96"/>
                    </a:lnTo>
                    <a:cubicBezTo>
                      <a:pt x="48706" y="-529"/>
                      <a:pt x="52103" y="1951"/>
                      <a:pt x="52705" y="5581"/>
                    </a:cubicBezTo>
                    <a:lnTo>
                      <a:pt x="60330" y="51620"/>
                    </a:lnTo>
                    <a:cubicBezTo>
                      <a:pt x="60733" y="54049"/>
                      <a:pt x="59767" y="56496"/>
                      <a:pt x="57817" y="57997"/>
                    </a:cubicBezTo>
                    <a:cubicBezTo>
                      <a:pt x="55870" y="59494"/>
                      <a:pt x="53256" y="59796"/>
                      <a:pt x="51013" y="58788"/>
                    </a:cubicBezTo>
                    <a:lnTo>
                      <a:pt x="33152" y="50728"/>
                    </a:lnTo>
                    <a:lnTo>
                      <a:pt x="18844" y="64114"/>
                    </a:lnTo>
                    <a:cubicBezTo>
                      <a:pt x="17594" y="65286"/>
                      <a:pt x="15955" y="65912"/>
                      <a:pt x="14291" y="65912"/>
                    </a:cubicBezTo>
                    <a:close/>
                    <a:moveTo>
                      <a:pt x="14334" y="18694"/>
                    </a:moveTo>
                    <a:lnTo>
                      <a:pt x="18833" y="45866"/>
                    </a:lnTo>
                    <a:lnTo>
                      <a:pt x="27291" y="37956"/>
                    </a:lnTo>
                    <a:cubicBezTo>
                      <a:pt x="29261" y="36119"/>
                      <a:pt x="32138" y="35644"/>
                      <a:pt x="34587" y="36749"/>
                    </a:cubicBezTo>
                    <a:lnTo>
                      <a:pt x="45144" y="41511"/>
                    </a:lnTo>
                    <a:lnTo>
                      <a:pt x="40645" y="14339"/>
                    </a:lnTo>
                    <a:lnTo>
                      <a:pt x="14334" y="18694"/>
                    </a:lnTo>
                    <a:close/>
                  </a:path>
                </a:pathLst>
              </a:custGeom>
              <a:grpFill/>
              <a:ln w="205" cap="flat">
                <a:noFill/>
                <a:prstDash val="solid"/>
                <a:miter/>
              </a:ln>
            </p:spPr>
            <p:txBody>
              <a:bodyPr rtlCol="0" anchor="ctr"/>
              <a:lstStyle/>
              <a:p>
                <a:endParaRPr lang="en-GB" dirty="0"/>
              </a:p>
            </p:txBody>
          </p:sp>
          <p:sp>
            <p:nvSpPr>
              <p:cNvPr id="464" name="Freihandform: Form 463">
                <a:extLst>
                  <a:ext uri="{FF2B5EF4-FFF2-40B4-BE49-F238E27FC236}">
                    <a16:creationId xmlns:a16="http://schemas.microsoft.com/office/drawing/2014/main" id="{36160601-FA61-45F5-BB1C-C00EAE28BA4D}"/>
                  </a:ext>
                </a:extLst>
              </p:cNvPr>
              <p:cNvSpPr/>
              <p:nvPr/>
            </p:nvSpPr>
            <p:spPr>
              <a:xfrm>
                <a:off x="1950481" y="1939166"/>
                <a:ext cx="58538" cy="65916"/>
              </a:xfrm>
              <a:custGeom>
                <a:avLst/>
                <a:gdLst>
                  <a:gd name="connsiteX0" fmla="*/ 14291 w 58538"/>
                  <a:gd name="connsiteY0" fmla="*/ 65916 h 65916"/>
                  <a:gd name="connsiteX1" fmla="*/ 12387 w 58538"/>
                  <a:gd name="connsiteY1" fmla="*/ 65638 h 65916"/>
                  <a:gd name="connsiteX2" fmla="*/ 7715 w 58538"/>
                  <a:gd name="connsiteY2" fmla="*/ 60339 h 65916"/>
                  <a:gd name="connsiteX3" fmla="*/ 90 w 58538"/>
                  <a:gd name="connsiteY3" fmla="*/ 14296 h 65916"/>
                  <a:gd name="connsiteX4" fmla="*/ 1246 w 58538"/>
                  <a:gd name="connsiteY4" fmla="*/ 9326 h 65916"/>
                  <a:gd name="connsiteX5" fmla="*/ 5574 w 58538"/>
                  <a:gd name="connsiteY5" fmla="*/ 6630 h 65916"/>
                  <a:gd name="connsiteX6" fmla="*/ 45041 w 58538"/>
                  <a:gd name="connsiteY6" fmla="*/ 97 h 65916"/>
                  <a:gd name="connsiteX7" fmla="*/ 50010 w 58538"/>
                  <a:gd name="connsiteY7" fmla="*/ 1253 h 65916"/>
                  <a:gd name="connsiteX8" fmla="*/ 52707 w 58538"/>
                  <a:gd name="connsiteY8" fmla="*/ 5585 h 65916"/>
                  <a:gd name="connsiteX9" fmla="*/ 58449 w 58538"/>
                  <a:gd name="connsiteY9" fmla="*/ 40274 h 65916"/>
                  <a:gd name="connsiteX10" fmla="*/ 52956 w 58538"/>
                  <a:gd name="connsiteY10" fmla="*/ 47940 h 65916"/>
                  <a:gd name="connsiteX11" fmla="*/ 45290 w 58538"/>
                  <a:gd name="connsiteY11" fmla="*/ 42447 h 65916"/>
                  <a:gd name="connsiteX12" fmla="*/ 40639 w 58538"/>
                  <a:gd name="connsiteY12" fmla="*/ 14337 h 65916"/>
                  <a:gd name="connsiteX13" fmla="*/ 14332 w 58538"/>
                  <a:gd name="connsiteY13" fmla="*/ 18694 h 65916"/>
                  <a:gd name="connsiteX14" fmla="*/ 18636 w 58538"/>
                  <a:gd name="connsiteY14" fmla="*/ 44682 h 65916"/>
                  <a:gd name="connsiteX15" fmla="*/ 27900 w 58538"/>
                  <a:gd name="connsiteY15" fmla="*/ 34617 h 65916"/>
                  <a:gd name="connsiteX16" fmla="*/ 37320 w 58538"/>
                  <a:gd name="connsiteY16" fmla="*/ 34226 h 65916"/>
                  <a:gd name="connsiteX17" fmla="*/ 37711 w 58538"/>
                  <a:gd name="connsiteY17" fmla="*/ 43646 h 65916"/>
                  <a:gd name="connsiteX18" fmla="*/ 19195 w 58538"/>
                  <a:gd name="connsiteY18" fmla="*/ 63763 h 65916"/>
                  <a:gd name="connsiteX19" fmla="*/ 14291 w 58538"/>
                  <a:gd name="connsiteY19" fmla="*/ 65916 h 6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538" h="65916">
                    <a:moveTo>
                      <a:pt x="14291" y="65916"/>
                    </a:moveTo>
                    <a:cubicBezTo>
                      <a:pt x="13654" y="65916"/>
                      <a:pt x="13012" y="65826"/>
                      <a:pt x="12387" y="65638"/>
                    </a:cubicBezTo>
                    <a:cubicBezTo>
                      <a:pt x="9942" y="64908"/>
                      <a:pt x="8128" y="62852"/>
                      <a:pt x="7715" y="60339"/>
                    </a:cubicBezTo>
                    <a:lnTo>
                      <a:pt x="90" y="14296"/>
                    </a:lnTo>
                    <a:cubicBezTo>
                      <a:pt x="-200" y="12550"/>
                      <a:pt x="217" y="10763"/>
                      <a:pt x="1246" y="9326"/>
                    </a:cubicBezTo>
                    <a:cubicBezTo>
                      <a:pt x="2274" y="7886"/>
                      <a:pt x="3835" y="6918"/>
                      <a:pt x="5574" y="6630"/>
                    </a:cubicBezTo>
                    <a:lnTo>
                      <a:pt x="45041" y="97"/>
                    </a:lnTo>
                    <a:cubicBezTo>
                      <a:pt x="46783" y="-210"/>
                      <a:pt x="48574" y="220"/>
                      <a:pt x="50010" y="1253"/>
                    </a:cubicBezTo>
                    <a:cubicBezTo>
                      <a:pt x="51449" y="2281"/>
                      <a:pt x="52417" y="3841"/>
                      <a:pt x="52707" y="5585"/>
                    </a:cubicBezTo>
                    <a:lnTo>
                      <a:pt x="58449" y="40274"/>
                    </a:lnTo>
                    <a:cubicBezTo>
                      <a:pt x="59047" y="43903"/>
                      <a:pt x="56590" y="47337"/>
                      <a:pt x="52956" y="47940"/>
                    </a:cubicBezTo>
                    <a:cubicBezTo>
                      <a:pt x="49315" y="48499"/>
                      <a:pt x="45889" y="46081"/>
                      <a:pt x="45290" y="42447"/>
                    </a:cubicBezTo>
                    <a:lnTo>
                      <a:pt x="40639" y="14337"/>
                    </a:lnTo>
                    <a:lnTo>
                      <a:pt x="14332" y="18694"/>
                    </a:lnTo>
                    <a:lnTo>
                      <a:pt x="18636" y="44682"/>
                    </a:lnTo>
                    <a:lnTo>
                      <a:pt x="27900" y="34617"/>
                    </a:lnTo>
                    <a:cubicBezTo>
                      <a:pt x="30390" y="31910"/>
                      <a:pt x="34603" y="31732"/>
                      <a:pt x="37320" y="34226"/>
                    </a:cubicBezTo>
                    <a:cubicBezTo>
                      <a:pt x="40028" y="36720"/>
                      <a:pt x="40205" y="40938"/>
                      <a:pt x="37711" y="43646"/>
                    </a:cubicBezTo>
                    <a:lnTo>
                      <a:pt x="19195" y="63763"/>
                    </a:lnTo>
                    <a:cubicBezTo>
                      <a:pt x="17914" y="65157"/>
                      <a:pt x="16127" y="65916"/>
                      <a:pt x="14291" y="65916"/>
                    </a:cubicBezTo>
                    <a:close/>
                  </a:path>
                </a:pathLst>
              </a:custGeom>
              <a:grpFill/>
              <a:ln w="205" cap="flat">
                <a:noFill/>
                <a:prstDash val="solid"/>
                <a:miter/>
              </a:ln>
            </p:spPr>
            <p:txBody>
              <a:bodyPr rtlCol="0" anchor="ctr"/>
              <a:lstStyle/>
              <a:p>
                <a:endParaRPr lang="en-GB" dirty="0"/>
              </a:p>
            </p:txBody>
          </p:sp>
        </p:grpSp>
      </p:grpSp>
      <p:sp>
        <p:nvSpPr>
          <p:cNvPr id="476" name="TextBox 1400">
            <a:extLst>
              <a:ext uri="{FF2B5EF4-FFF2-40B4-BE49-F238E27FC236}">
                <a16:creationId xmlns:a16="http://schemas.microsoft.com/office/drawing/2014/main" id="{0D519209-7FD1-436B-80E2-8637EC504AF6}"/>
              </a:ext>
            </a:extLst>
          </p:cNvPr>
          <p:cNvSpPr txBox="1"/>
          <p:nvPr/>
        </p:nvSpPr>
        <p:spPr>
          <a:xfrm>
            <a:off x="1639911" y="2077494"/>
            <a:ext cx="399147" cy="215444"/>
          </a:xfrm>
          <a:prstGeom prst="rect">
            <a:avLst/>
          </a:prstGeom>
          <a:noFill/>
          <a:effectLst/>
        </p:spPr>
        <p:txBody>
          <a:bodyPr wrap="none" lIns="0" tIns="0" rIns="0" bIns="0" rtlCol="0" anchor="t">
            <a:spAutoFit/>
          </a:bodyPr>
          <a:lstStyle/>
          <a:p>
            <a:pPr algn="ctr"/>
            <a:r>
              <a:rPr lang="en-GB" sz="700" dirty="0">
                <a:solidFill>
                  <a:schemeClr val="tx2"/>
                </a:solidFill>
              </a:rPr>
              <a:t>Event</a:t>
            </a:r>
            <a:br>
              <a:rPr lang="en-GB" sz="700" dirty="0">
                <a:solidFill>
                  <a:schemeClr val="tx2"/>
                </a:solidFill>
              </a:rPr>
            </a:br>
            <a:r>
              <a:rPr lang="en-GB" sz="700" dirty="0">
                <a:solidFill>
                  <a:schemeClr val="tx2"/>
                </a:solidFill>
              </a:rPr>
              <a:t>promotion</a:t>
            </a:r>
          </a:p>
        </p:txBody>
      </p:sp>
      <p:grpSp>
        <p:nvGrpSpPr>
          <p:cNvPr id="12" name="Group 11">
            <a:extLst>
              <a:ext uri="{FF2B5EF4-FFF2-40B4-BE49-F238E27FC236}">
                <a16:creationId xmlns:a16="http://schemas.microsoft.com/office/drawing/2014/main" id="{82B91785-95A0-4EA6-9339-228ACE76CC27}"/>
              </a:ext>
            </a:extLst>
          </p:cNvPr>
          <p:cNvGrpSpPr/>
          <p:nvPr/>
        </p:nvGrpSpPr>
        <p:grpSpPr>
          <a:xfrm>
            <a:off x="556769" y="2449341"/>
            <a:ext cx="474562" cy="432000"/>
            <a:chOff x="556769" y="2449341"/>
            <a:chExt cx="474562" cy="432000"/>
          </a:xfrm>
        </p:grpSpPr>
        <p:grpSp>
          <p:nvGrpSpPr>
            <p:cNvPr id="478" name="Gruppieren 477">
              <a:extLst>
                <a:ext uri="{FF2B5EF4-FFF2-40B4-BE49-F238E27FC236}">
                  <a16:creationId xmlns:a16="http://schemas.microsoft.com/office/drawing/2014/main" id="{F2A60ACF-4646-450C-9B43-5E9D05600A63}"/>
                </a:ext>
              </a:extLst>
            </p:cNvPr>
            <p:cNvGrpSpPr/>
            <p:nvPr/>
          </p:nvGrpSpPr>
          <p:grpSpPr>
            <a:xfrm>
              <a:off x="622565" y="2449341"/>
              <a:ext cx="341105" cy="432000"/>
              <a:chOff x="933186" y="2493451"/>
              <a:chExt cx="315847" cy="400012"/>
            </a:xfrm>
          </p:grpSpPr>
          <p:sp>
            <p:nvSpPr>
              <p:cNvPr id="483" name="Freihandform: Form 482">
                <a:extLst>
                  <a:ext uri="{FF2B5EF4-FFF2-40B4-BE49-F238E27FC236}">
                    <a16:creationId xmlns:a16="http://schemas.microsoft.com/office/drawing/2014/main" id="{224B2BBF-818B-456B-8DFD-FA1243FC0FA3}"/>
                  </a:ext>
                </a:extLst>
              </p:cNvPr>
              <p:cNvSpPr/>
              <p:nvPr/>
            </p:nvSpPr>
            <p:spPr>
              <a:xfrm>
                <a:off x="1022436" y="2639545"/>
                <a:ext cx="137060" cy="119695"/>
              </a:xfrm>
              <a:custGeom>
                <a:avLst/>
                <a:gdLst>
                  <a:gd name="connsiteX0" fmla="*/ 69276 w 137060"/>
                  <a:gd name="connsiteY0" fmla="*/ 119695 h 119695"/>
                  <a:gd name="connsiteX1" fmla="*/ 62153 w 137060"/>
                  <a:gd name="connsiteY1" fmla="*/ 115313 h 119695"/>
                  <a:gd name="connsiteX2" fmla="*/ 33165 w 137060"/>
                  <a:gd name="connsiteY2" fmla="*/ 90029 h 119695"/>
                  <a:gd name="connsiteX3" fmla="*/ 26313 w 137060"/>
                  <a:gd name="connsiteY3" fmla="*/ 86083 h 119695"/>
                  <a:gd name="connsiteX4" fmla="*/ 4775 w 137060"/>
                  <a:gd name="connsiteY4" fmla="*/ 61583 h 119695"/>
                  <a:gd name="connsiteX5" fmla="*/ 4311 w 137060"/>
                  <a:gd name="connsiteY5" fmla="*/ 60685 h 119695"/>
                  <a:gd name="connsiteX6" fmla="*/ 402 w 137060"/>
                  <a:gd name="connsiteY6" fmla="*/ 34789 h 119695"/>
                  <a:gd name="connsiteX7" fmla="*/ 430 w 137060"/>
                  <a:gd name="connsiteY7" fmla="*/ 34590 h 119695"/>
                  <a:gd name="connsiteX8" fmla="*/ 25240 w 137060"/>
                  <a:gd name="connsiteY8" fmla="*/ 3922 h 119695"/>
                  <a:gd name="connsiteX9" fmla="*/ 57903 w 137060"/>
                  <a:gd name="connsiteY9" fmla="*/ 3759 h 119695"/>
                  <a:gd name="connsiteX10" fmla="*/ 68460 w 137060"/>
                  <a:gd name="connsiteY10" fmla="*/ 11977 h 119695"/>
                  <a:gd name="connsiteX11" fmla="*/ 78587 w 137060"/>
                  <a:gd name="connsiteY11" fmla="*/ 3642 h 119695"/>
                  <a:gd name="connsiteX12" fmla="*/ 111176 w 137060"/>
                  <a:gd name="connsiteY12" fmla="*/ 3190 h 119695"/>
                  <a:gd name="connsiteX13" fmla="*/ 136531 w 137060"/>
                  <a:gd name="connsiteY13" fmla="*/ 33422 h 119695"/>
                  <a:gd name="connsiteX14" fmla="*/ 133099 w 137060"/>
                  <a:gd name="connsiteY14" fmla="*/ 59574 h 119695"/>
                  <a:gd name="connsiteX15" fmla="*/ 132663 w 137060"/>
                  <a:gd name="connsiteY15" fmla="*/ 60452 h 119695"/>
                  <a:gd name="connsiteX16" fmla="*/ 111285 w 137060"/>
                  <a:gd name="connsiteY16" fmla="*/ 85527 h 119695"/>
                  <a:gd name="connsiteX17" fmla="*/ 104814 w 137060"/>
                  <a:gd name="connsiteY17" fmla="*/ 89395 h 119695"/>
                  <a:gd name="connsiteX18" fmla="*/ 76445 w 137060"/>
                  <a:gd name="connsiteY18" fmla="*/ 115017 h 119695"/>
                  <a:gd name="connsiteX19" fmla="*/ 69996 w 137060"/>
                  <a:gd name="connsiteY19" fmla="*/ 119658 h 119695"/>
                  <a:gd name="connsiteX20" fmla="*/ 69276 w 137060"/>
                  <a:gd name="connsiteY20" fmla="*/ 119695 h 119695"/>
                  <a:gd name="connsiteX21" fmla="*/ 63983 w 137060"/>
                  <a:gd name="connsiteY21" fmla="*/ 110337 h 119695"/>
                  <a:gd name="connsiteX22" fmla="*/ 63977 w 137060"/>
                  <a:gd name="connsiteY22" fmla="*/ 110354 h 119695"/>
                  <a:gd name="connsiteX23" fmla="*/ 63983 w 137060"/>
                  <a:gd name="connsiteY23" fmla="*/ 110337 h 119695"/>
                  <a:gd name="connsiteX24" fmla="*/ 73891 w 137060"/>
                  <a:gd name="connsiteY24" fmla="*/ 108992 h 119695"/>
                  <a:gd name="connsiteX25" fmla="*/ 73987 w 137060"/>
                  <a:gd name="connsiteY25" fmla="*/ 109175 h 119695"/>
                  <a:gd name="connsiteX26" fmla="*/ 73891 w 137060"/>
                  <a:gd name="connsiteY26" fmla="*/ 108992 h 119695"/>
                  <a:gd name="connsiteX27" fmla="*/ 13616 w 137060"/>
                  <a:gd name="connsiteY27" fmla="*/ 36560 h 119695"/>
                  <a:gd name="connsiteX28" fmla="*/ 16464 w 137060"/>
                  <a:gd name="connsiteY28" fmla="*/ 55213 h 119695"/>
                  <a:gd name="connsiteX29" fmla="*/ 33687 w 137060"/>
                  <a:gd name="connsiteY29" fmla="*/ 74983 h 119695"/>
                  <a:gd name="connsiteX30" fmla="*/ 39427 w 137060"/>
                  <a:gd name="connsiteY30" fmla="*/ 78260 h 119695"/>
                  <a:gd name="connsiteX31" fmla="*/ 69135 w 137060"/>
                  <a:gd name="connsiteY31" fmla="*/ 101524 h 119695"/>
                  <a:gd name="connsiteX32" fmla="*/ 98324 w 137060"/>
                  <a:gd name="connsiteY32" fmla="*/ 77750 h 119695"/>
                  <a:gd name="connsiteX33" fmla="*/ 103716 w 137060"/>
                  <a:gd name="connsiteY33" fmla="*/ 74557 h 119695"/>
                  <a:gd name="connsiteX34" fmla="*/ 120810 w 137060"/>
                  <a:gd name="connsiteY34" fmla="*/ 54351 h 119695"/>
                  <a:gd name="connsiteX35" fmla="*/ 123360 w 137060"/>
                  <a:gd name="connsiteY35" fmla="*/ 35503 h 119695"/>
                  <a:gd name="connsiteX36" fmla="*/ 106772 w 137060"/>
                  <a:gd name="connsiteY36" fmla="*/ 15779 h 119695"/>
                  <a:gd name="connsiteX37" fmla="*/ 84851 w 137060"/>
                  <a:gd name="connsiteY37" fmla="*/ 15417 h 119695"/>
                  <a:gd name="connsiteX38" fmla="*/ 75065 w 137060"/>
                  <a:gd name="connsiteY38" fmla="*/ 27035 h 119695"/>
                  <a:gd name="connsiteX39" fmla="*/ 68740 w 137060"/>
                  <a:gd name="connsiteY39" fmla="*/ 31793 h 119695"/>
                  <a:gd name="connsiteX40" fmla="*/ 62326 w 137060"/>
                  <a:gd name="connsiteY40" fmla="*/ 27206 h 119695"/>
                  <a:gd name="connsiteX41" fmla="*/ 51942 w 137060"/>
                  <a:gd name="connsiteY41" fmla="*/ 15692 h 119695"/>
                  <a:gd name="connsiteX42" fmla="*/ 29861 w 137060"/>
                  <a:gd name="connsiteY42" fmla="*/ 16430 h 119695"/>
                  <a:gd name="connsiteX43" fmla="*/ 13616 w 137060"/>
                  <a:gd name="connsiteY43" fmla="*/ 36560 h 119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7060" h="119695">
                    <a:moveTo>
                      <a:pt x="69276" y="119695"/>
                    </a:moveTo>
                    <a:cubicBezTo>
                      <a:pt x="66272" y="119695"/>
                      <a:pt x="63531" y="118028"/>
                      <a:pt x="62153" y="115313"/>
                    </a:cubicBezTo>
                    <a:cubicBezTo>
                      <a:pt x="54857" y="101567"/>
                      <a:pt x="41804" y="94623"/>
                      <a:pt x="33165" y="90029"/>
                    </a:cubicBezTo>
                    <a:cubicBezTo>
                      <a:pt x="30459" y="88589"/>
                      <a:pt x="28123" y="87347"/>
                      <a:pt x="26313" y="86083"/>
                    </a:cubicBezTo>
                    <a:cubicBezTo>
                      <a:pt x="13690" y="78131"/>
                      <a:pt x="7442" y="66535"/>
                      <a:pt x="4775" y="61583"/>
                    </a:cubicBezTo>
                    <a:cubicBezTo>
                      <a:pt x="4701" y="61446"/>
                      <a:pt x="4374" y="60829"/>
                      <a:pt x="4311" y="60685"/>
                    </a:cubicBezTo>
                    <a:cubicBezTo>
                      <a:pt x="541" y="52318"/>
                      <a:pt x="-738" y="43848"/>
                      <a:pt x="402" y="34789"/>
                    </a:cubicBezTo>
                    <a:cubicBezTo>
                      <a:pt x="412" y="34724"/>
                      <a:pt x="418" y="34660"/>
                      <a:pt x="430" y="34590"/>
                    </a:cubicBezTo>
                    <a:cubicBezTo>
                      <a:pt x="3357" y="15888"/>
                      <a:pt x="19330" y="6110"/>
                      <a:pt x="25240" y="3922"/>
                    </a:cubicBezTo>
                    <a:cubicBezTo>
                      <a:pt x="37697" y="-674"/>
                      <a:pt x="48674" y="-719"/>
                      <a:pt x="57903" y="3759"/>
                    </a:cubicBezTo>
                    <a:cubicBezTo>
                      <a:pt x="62435" y="5960"/>
                      <a:pt x="65886" y="8978"/>
                      <a:pt x="68460" y="11977"/>
                    </a:cubicBezTo>
                    <a:cubicBezTo>
                      <a:pt x="70905" y="8960"/>
                      <a:pt x="74210" y="5912"/>
                      <a:pt x="78587" y="3642"/>
                    </a:cubicBezTo>
                    <a:cubicBezTo>
                      <a:pt x="87650" y="-1059"/>
                      <a:pt x="98608" y="-1209"/>
                      <a:pt x="111176" y="3190"/>
                    </a:cubicBezTo>
                    <a:cubicBezTo>
                      <a:pt x="117129" y="5273"/>
                      <a:pt x="133290" y="14765"/>
                      <a:pt x="136531" y="33422"/>
                    </a:cubicBezTo>
                    <a:cubicBezTo>
                      <a:pt x="137847" y="42690"/>
                      <a:pt x="136714" y="51176"/>
                      <a:pt x="133099" y="59574"/>
                    </a:cubicBezTo>
                    <a:cubicBezTo>
                      <a:pt x="133037" y="59714"/>
                      <a:pt x="132735" y="60317"/>
                      <a:pt x="132663" y="60452"/>
                    </a:cubicBezTo>
                    <a:cubicBezTo>
                      <a:pt x="130084" y="65456"/>
                      <a:pt x="124047" y="77175"/>
                      <a:pt x="111285" y="85527"/>
                    </a:cubicBezTo>
                    <a:cubicBezTo>
                      <a:pt x="109768" y="86634"/>
                      <a:pt x="107473" y="87913"/>
                      <a:pt x="104814" y="89395"/>
                    </a:cubicBezTo>
                    <a:cubicBezTo>
                      <a:pt x="96354" y="94106"/>
                      <a:pt x="83597" y="101209"/>
                      <a:pt x="76445" y="115017"/>
                    </a:cubicBezTo>
                    <a:cubicBezTo>
                      <a:pt x="75332" y="117614"/>
                      <a:pt x="72883" y="119406"/>
                      <a:pt x="69996" y="119658"/>
                    </a:cubicBezTo>
                    <a:cubicBezTo>
                      <a:pt x="69753" y="119683"/>
                      <a:pt x="69513" y="119695"/>
                      <a:pt x="69276" y="119695"/>
                    </a:cubicBezTo>
                    <a:close/>
                    <a:moveTo>
                      <a:pt x="63983" y="110337"/>
                    </a:moveTo>
                    <a:cubicBezTo>
                      <a:pt x="63979" y="110343"/>
                      <a:pt x="63979" y="110347"/>
                      <a:pt x="63977" y="110354"/>
                    </a:cubicBezTo>
                    <a:cubicBezTo>
                      <a:pt x="63979" y="110347"/>
                      <a:pt x="63979" y="110343"/>
                      <a:pt x="63983" y="110337"/>
                    </a:cubicBezTo>
                    <a:close/>
                    <a:moveTo>
                      <a:pt x="73891" y="108992"/>
                    </a:moveTo>
                    <a:cubicBezTo>
                      <a:pt x="73924" y="109052"/>
                      <a:pt x="73957" y="109114"/>
                      <a:pt x="73987" y="109175"/>
                    </a:cubicBezTo>
                    <a:cubicBezTo>
                      <a:pt x="73957" y="109114"/>
                      <a:pt x="73924" y="109052"/>
                      <a:pt x="73891" y="108992"/>
                    </a:cubicBezTo>
                    <a:close/>
                    <a:moveTo>
                      <a:pt x="13616" y="36560"/>
                    </a:moveTo>
                    <a:cubicBezTo>
                      <a:pt x="12801" y="43165"/>
                      <a:pt x="13706" y="49093"/>
                      <a:pt x="16464" y="55213"/>
                    </a:cubicBezTo>
                    <a:cubicBezTo>
                      <a:pt x="18865" y="59634"/>
                      <a:pt x="23762" y="68723"/>
                      <a:pt x="33687" y="74983"/>
                    </a:cubicBezTo>
                    <a:cubicBezTo>
                      <a:pt x="35256" y="76070"/>
                      <a:pt x="37165" y="77055"/>
                      <a:pt x="39427" y="78260"/>
                    </a:cubicBezTo>
                    <a:cubicBezTo>
                      <a:pt x="47387" y="82492"/>
                      <a:pt x="59856" y="89126"/>
                      <a:pt x="69135" y="101524"/>
                    </a:cubicBezTo>
                    <a:cubicBezTo>
                      <a:pt x="78178" y="88968"/>
                      <a:pt x="90477" y="82118"/>
                      <a:pt x="98324" y="77750"/>
                    </a:cubicBezTo>
                    <a:cubicBezTo>
                      <a:pt x="100547" y="76512"/>
                      <a:pt x="102427" y="75495"/>
                      <a:pt x="103716" y="74557"/>
                    </a:cubicBezTo>
                    <a:cubicBezTo>
                      <a:pt x="113804" y="67948"/>
                      <a:pt x="118538" y="58766"/>
                      <a:pt x="120810" y="54351"/>
                    </a:cubicBezTo>
                    <a:cubicBezTo>
                      <a:pt x="123506" y="48137"/>
                      <a:pt x="124304" y="42163"/>
                      <a:pt x="123360" y="35503"/>
                    </a:cubicBezTo>
                    <a:cubicBezTo>
                      <a:pt x="121439" y="24467"/>
                      <a:pt x="111162" y="17315"/>
                      <a:pt x="106772" y="15779"/>
                    </a:cubicBezTo>
                    <a:cubicBezTo>
                      <a:pt x="97882" y="12663"/>
                      <a:pt x="90502" y="12546"/>
                      <a:pt x="84851" y="15417"/>
                    </a:cubicBezTo>
                    <a:cubicBezTo>
                      <a:pt x="77533" y="19135"/>
                      <a:pt x="75088" y="26957"/>
                      <a:pt x="75065" y="27035"/>
                    </a:cubicBezTo>
                    <a:cubicBezTo>
                      <a:pt x="74218" y="29821"/>
                      <a:pt x="71649" y="31765"/>
                      <a:pt x="68740" y="31793"/>
                    </a:cubicBezTo>
                    <a:cubicBezTo>
                      <a:pt x="65602" y="31633"/>
                      <a:pt x="63225" y="29984"/>
                      <a:pt x="62326" y="27206"/>
                    </a:cubicBezTo>
                    <a:cubicBezTo>
                      <a:pt x="62314" y="27177"/>
                      <a:pt x="59550" y="19307"/>
                      <a:pt x="51942" y="15692"/>
                    </a:cubicBezTo>
                    <a:cubicBezTo>
                      <a:pt x="46130" y="12933"/>
                      <a:pt x="38699" y="13169"/>
                      <a:pt x="29861" y="16430"/>
                    </a:cubicBezTo>
                    <a:cubicBezTo>
                      <a:pt x="25528" y="18036"/>
                      <a:pt x="15427" y="25334"/>
                      <a:pt x="13616" y="36560"/>
                    </a:cubicBezTo>
                    <a:close/>
                  </a:path>
                </a:pathLst>
              </a:custGeom>
              <a:solidFill>
                <a:schemeClr val="accent1"/>
              </a:solidFill>
              <a:ln w="205" cap="flat">
                <a:noFill/>
                <a:prstDash val="solid"/>
                <a:miter/>
              </a:ln>
            </p:spPr>
            <p:txBody>
              <a:bodyPr rtlCol="0" anchor="ctr"/>
              <a:lstStyle/>
              <a:p>
                <a:endParaRPr lang="en-GB" dirty="0"/>
              </a:p>
            </p:txBody>
          </p:sp>
          <p:grpSp>
            <p:nvGrpSpPr>
              <p:cNvPr id="484" name="Grafik 348">
                <a:extLst>
                  <a:ext uri="{FF2B5EF4-FFF2-40B4-BE49-F238E27FC236}">
                    <a16:creationId xmlns:a16="http://schemas.microsoft.com/office/drawing/2014/main" id="{77F03C9E-1794-44AA-BEBB-5A57B2132777}"/>
                  </a:ext>
                </a:extLst>
              </p:cNvPr>
              <p:cNvGrpSpPr/>
              <p:nvPr/>
            </p:nvGrpSpPr>
            <p:grpSpPr>
              <a:xfrm>
                <a:off x="933186" y="2493451"/>
                <a:ext cx="315847" cy="80003"/>
                <a:chOff x="933186" y="2493451"/>
                <a:chExt cx="315847" cy="80003"/>
              </a:xfrm>
              <a:solidFill>
                <a:schemeClr val="accent1"/>
              </a:solidFill>
            </p:grpSpPr>
            <p:sp>
              <p:nvSpPr>
                <p:cNvPr id="489" name="Freihandform: Form 488">
                  <a:extLst>
                    <a:ext uri="{FF2B5EF4-FFF2-40B4-BE49-F238E27FC236}">
                      <a16:creationId xmlns:a16="http://schemas.microsoft.com/office/drawing/2014/main" id="{D7BD7084-0FAF-45D3-A710-30CE7A3DB11D}"/>
                    </a:ext>
                  </a:extLst>
                </p:cNvPr>
                <p:cNvSpPr/>
                <p:nvPr/>
              </p:nvSpPr>
              <p:spPr>
                <a:xfrm>
                  <a:off x="1084859" y="2493451"/>
                  <a:ext cx="13333" cy="46668"/>
                </a:xfrm>
                <a:custGeom>
                  <a:avLst/>
                  <a:gdLst>
                    <a:gd name="connsiteX0" fmla="*/ 6667 w 13333"/>
                    <a:gd name="connsiteY0" fmla="*/ 46669 h 46668"/>
                    <a:gd name="connsiteX1" fmla="*/ 0 w 13333"/>
                    <a:gd name="connsiteY1" fmla="*/ 40002 h 46668"/>
                    <a:gd name="connsiteX2" fmla="*/ 0 w 13333"/>
                    <a:gd name="connsiteY2" fmla="*/ 6667 h 46668"/>
                    <a:gd name="connsiteX3" fmla="*/ 6667 w 13333"/>
                    <a:gd name="connsiteY3" fmla="*/ 0 h 46668"/>
                    <a:gd name="connsiteX4" fmla="*/ 13333 w 13333"/>
                    <a:gd name="connsiteY4" fmla="*/ 6667 h 46668"/>
                    <a:gd name="connsiteX5" fmla="*/ 13333 w 13333"/>
                    <a:gd name="connsiteY5" fmla="*/ 40002 h 46668"/>
                    <a:gd name="connsiteX6" fmla="*/ 6667 w 13333"/>
                    <a:gd name="connsiteY6" fmla="*/ 46669 h 4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3" h="46668">
                      <a:moveTo>
                        <a:pt x="6667" y="46669"/>
                      </a:moveTo>
                      <a:cubicBezTo>
                        <a:pt x="2986" y="46669"/>
                        <a:pt x="0" y="43683"/>
                        <a:pt x="0" y="40002"/>
                      </a:cubicBezTo>
                      <a:lnTo>
                        <a:pt x="0" y="6667"/>
                      </a:lnTo>
                      <a:cubicBezTo>
                        <a:pt x="0" y="2986"/>
                        <a:pt x="2986" y="0"/>
                        <a:pt x="6667" y="0"/>
                      </a:cubicBezTo>
                      <a:cubicBezTo>
                        <a:pt x="10347" y="0"/>
                        <a:pt x="13333" y="2986"/>
                        <a:pt x="13333" y="6667"/>
                      </a:cubicBezTo>
                      <a:lnTo>
                        <a:pt x="13333" y="40002"/>
                      </a:lnTo>
                      <a:cubicBezTo>
                        <a:pt x="13335" y="43685"/>
                        <a:pt x="10350" y="46669"/>
                        <a:pt x="6667" y="46669"/>
                      </a:cubicBezTo>
                      <a:close/>
                    </a:path>
                  </a:pathLst>
                </a:custGeom>
                <a:solidFill>
                  <a:schemeClr val="accent1"/>
                </a:solidFill>
                <a:ln w="205" cap="flat">
                  <a:noFill/>
                  <a:prstDash val="solid"/>
                  <a:miter/>
                </a:ln>
              </p:spPr>
              <p:txBody>
                <a:bodyPr rtlCol="0" anchor="ctr"/>
                <a:lstStyle/>
                <a:p>
                  <a:endParaRPr lang="en-GB" dirty="0"/>
                </a:p>
              </p:txBody>
            </p:sp>
            <p:sp>
              <p:nvSpPr>
                <p:cNvPr id="490" name="Freihandform: Form 489">
                  <a:extLst>
                    <a:ext uri="{FF2B5EF4-FFF2-40B4-BE49-F238E27FC236}">
                      <a16:creationId xmlns:a16="http://schemas.microsoft.com/office/drawing/2014/main" id="{6EB58EFA-9B0B-4002-AAF2-EA2A15A5BCA7}"/>
                    </a:ext>
                  </a:extLst>
                </p:cNvPr>
                <p:cNvSpPr/>
                <p:nvPr/>
              </p:nvSpPr>
              <p:spPr>
                <a:xfrm>
                  <a:off x="1211532" y="2535951"/>
                  <a:ext cx="37501" cy="37503"/>
                </a:xfrm>
                <a:custGeom>
                  <a:avLst/>
                  <a:gdLst>
                    <a:gd name="connsiteX0" fmla="*/ 6666 w 37501"/>
                    <a:gd name="connsiteY0" fmla="*/ 37504 h 37503"/>
                    <a:gd name="connsiteX1" fmla="*/ 1952 w 37501"/>
                    <a:gd name="connsiteY1" fmla="*/ 35550 h 37503"/>
                    <a:gd name="connsiteX2" fmla="*/ 1952 w 37501"/>
                    <a:gd name="connsiteY2" fmla="*/ 26122 h 37503"/>
                    <a:gd name="connsiteX3" fmla="*/ 26121 w 37501"/>
                    <a:gd name="connsiteY3" fmla="*/ 1954 h 37503"/>
                    <a:gd name="connsiteX4" fmla="*/ 35549 w 37501"/>
                    <a:gd name="connsiteY4" fmla="*/ 1954 h 37503"/>
                    <a:gd name="connsiteX5" fmla="*/ 35549 w 37501"/>
                    <a:gd name="connsiteY5" fmla="*/ 11382 h 37503"/>
                    <a:gd name="connsiteX6" fmla="*/ 11381 w 37501"/>
                    <a:gd name="connsiteY6" fmla="*/ 35550 h 37503"/>
                    <a:gd name="connsiteX7" fmla="*/ 6666 w 37501"/>
                    <a:gd name="connsiteY7" fmla="*/ 37504 h 37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01" h="37503">
                      <a:moveTo>
                        <a:pt x="6666" y="37504"/>
                      </a:moveTo>
                      <a:cubicBezTo>
                        <a:pt x="4959" y="37504"/>
                        <a:pt x="3254" y="36852"/>
                        <a:pt x="1952" y="35550"/>
                      </a:cubicBezTo>
                      <a:cubicBezTo>
                        <a:pt x="-651" y="32947"/>
                        <a:pt x="-651" y="28728"/>
                        <a:pt x="1952" y="26122"/>
                      </a:cubicBezTo>
                      <a:lnTo>
                        <a:pt x="26121" y="1954"/>
                      </a:lnTo>
                      <a:cubicBezTo>
                        <a:pt x="28724" y="-651"/>
                        <a:pt x="32943" y="-651"/>
                        <a:pt x="35549" y="1954"/>
                      </a:cubicBezTo>
                      <a:cubicBezTo>
                        <a:pt x="38152" y="4557"/>
                        <a:pt x="38152" y="8777"/>
                        <a:pt x="35549" y="11382"/>
                      </a:cubicBezTo>
                      <a:lnTo>
                        <a:pt x="11381" y="35550"/>
                      </a:lnTo>
                      <a:cubicBezTo>
                        <a:pt x="10077" y="36852"/>
                        <a:pt x="8370" y="37504"/>
                        <a:pt x="6666" y="37504"/>
                      </a:cubicBezTo>
                      <a:close/>
                    </a:path>
                  </a:pathLst>
                </a:custGeom>
                <a:solidFill>
                  <a:schemeClr val="accent1"/>
                </a:solidFill>
                <a:ln w="205" cap="flat">
                  <a:noFill/>
                  <a:prstDash val="solid"/>
                  <a:miter/>
                </a:ln>
              </p:spPr>
              <p:txBody>
                <a:bodyPr rtlCol="0" anchor="ctr"/>
                <a:lstStyle/>
                <a:p>
                  <a:endParaRPr lang="en-GB" dirty="0"/>
                </a:p>
              </p:txBody>
            </p:sp>
            <p:sp>
              <p:nvSpPr>
                <p:cNvPr id="491" name="Freihandform: Form 490">
                  <a:extLst>
                    <a:ext uri="{FF2B5EF4-FFF2-40B4-BE49-F238E27FC236}">
                      <a16:creationId xmlns:a16="http://schemas.microsoft.com/office/drawing/2014/main" id="{D2A75708-357A-4A02-ABF0-20B58869571E}"/>
                    </a:ext>
                  </a:extLst>
                </p:cNvPr>
                <p:cNvSpPr/>
                <p:nvPr/>
              </p:nvSpPr>
              <p:spPr>
                <a:xfrm>
                  <a:off x="933186" y="2535951"/>
                  <a:ext cx="38335" cy="37503"/>
                </a:xfrm>
                <a:custGeom>
                  <a:avLst/>
                  <a:gdLst>
                    <a:gd name="connsiteX0" fmla="*/ 31669 w 38335"/>
                    <a:gd name="connsiteY0" fmla="*/ 37504 h 37503"/>
                    <a:gd name="connsiteX1" fmla="*/ 27036 w 38335"/>
                    <a:gd name="connsiteY1" fmla="*/ 35628 h 37503"/>
                    <a:gd name="connsiteX2" fmla="*/ 2035 w 38335"/>
                    <a:gd name="connsiteY2" fmla="*/ 11460 h 37503"/>
                    <a:gd name="connsiteX3" fmla="*/ 1875 w 38335"/>
                    <a:gd name="connsiteY3" fmla="*/ 2036 h 37503"/>
                    <a:gd name="connsiteX4" fmla="*/ 11299 w 38335"/>
                    <a:gd name="connsiteY4" fmla="*/ 1875 h 37503"/>
                    <a:gd name="connsiteX5" fmla="*/ 36300 w 38335"/>
                    <a:gd name="connsiteY5" fmla="*/ 26044 h 37503"/>
                    <a:gd name="connsiteX6" fmla="*/ 36460 w 38335"/>
                    <a:gd name="connsiteY6" fmla="*/ 35468 h 37503"/>
                    <a:gd name="connsiteX7" fmla="*/ 31669 w 38335"/>
                    <a:gd name="connsiteY7" fmla="*/ 37504 h 37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335" h="37503">
                      <a:moveTo>
                        <a:pt x="31669" y="37504"/>
                      </a:moveTo>
                      <a:cubicBezTo>
                        <a:pt x="29999" y="37504"/>
                        <a:pt x="28330" y="36883"/>
                        <a:pt x="27036" y="35628"/>
                      </a:cubicBezTo>
                      <a:lnTo>
                        <a:pt x="2035" y="11460"/>
                      </a:lnTo>
                      <a:cubicBezTo>
                        <a:pt x="-615" y="8902"/>
                        <a:pt x="-685" y="4682"/>
                        <a:pt x="1875" y="2036"/>
                      </a:cubicBezTo>
                      <a:cubicBezTo>
                        <a:pt x="4427" y="-617"/>
                        <a:pt x="8652" y="-685"/>
                        <a:pt x="11299" y="1875"/>
                      </a:cubicBezTo>
                      <a:lnTo>
                        <a:pt x="36300" y="26044"/>
                      </a:lnTo>
                      <a:cubicBezTo>
                        <a:pt x="38950" y="28602"/>
                        <a:pt x="39020" y="32821"/>
                        <a:pt x="36460" y="35468"/>
                      </a:cubicBezTo>
                      <a:cubicBezTo>
                        <a:pt x="35157" y="36823"/>
                        <a:pt x="33415" y="37504"/>
                        <a:pt x="31669" y="37504"/>
                      </a:cubicBezTo>
                      <a:close/>
                    </a:path>
                  </a:pathLst>
                </a:custGeom>
                <a:solidFill>
                  <a:schemeClr val="accent1"/>
                </a:solidFill>
                <a:ln w="205" cap="flat">
                  <a:noFill/>
                  <a:prstDash val="solid"/>
                  <a:miter/>
                </a:ln>
              </p:spPr>
              <p:txBody>
                <a:bodyPr rtlCol="0" anchor="ctr"/>
                <a:lstStyle/>
                <a:p>
                  <a:endParaRPr lang="en-GB" dirty="0"/>
                </a:p>
              </p:txBody>
            </p:sp>
          </p:grpSp>
          <p:grpSp>
            <p:nvGrpSpPr>
              <p:cNvPr id="485" name="Grafik 348">
                <a:extLst>
                  <a:ext uri="{FF2B5EF4-FFF2-40B4-BE49-F238E27FC236}">
                    <a16:creationId xmlns:a16="http://schemas.microsoft.com/office/drawing/2014/main" id="{E7ABCEF8-2C2A-4EB6-A9F3-E775BFD06D57}"/>
                  </a:ext>
                </a:extLst>
              </p:cNvPr>
              <p:cNvGrpSpPr/>
              <p:nvPr/>
            </p:nvGrpSpPr>
            <p:grpSpPr>
              <a:xfrm>
                <a:off x="934021" y="2813459"/>
                <a:ext cx="315010" cy="80004"/>
                <a:chOff x="934021" y="2813459"/>
                <a:chExt cx="315010" cy="80004"/>
              </a:xfrm>
              <a:solidFill>
                <a:schemeClr val="accent1"/>
              </a:solidFill>
            </p:grpSpPr>
            <p:sp>
              <p:nvSpPr>
                <p:cNvPr id="486" name="Freihandform: Form 485">
                  <a:extLst>
                    <a:ext uri="{FF2B5EF4-FFF2-40B4-BE49-F238E27FC236}">
                      <a16:creationId xmlns:a16="http://schemas.microsoft.com/office/drawing/2014/main" id="{5A41376A-8349-4409-876F-2AC87BE7A681}"/>
                    </a:ext>
                  </a:extLst>
                </p:cNvPr>
                <p:cNvSpPr/>
                <p:nvPr/>
              </p:nvSpPr>
              <p:spPr>
                <a:xfrm>
                  <a:off x="1084859" y="2846797"/>
                  <a:ext cx="13333" cy="46666"/>
                </a:xfrm>
                <a:custGeom>
                  <a:avLst/>
                  <a:gdLst>
                    <a:gd name="connsiteX0" fmla="*/ 6667 w 13333"/>
                    <a:gd name="connsiteY0" fmla="*/ 46666 h 46666"/>
                    <a:gd name="connsiteX1" fmla="*/ 0 w 13333"/>
                    <a:gd name="connsiteY1" fmla="*/ 40000 h 46666"/>
                    <a:gd name="connsiteX2" fmla="*/ 0 w 13333"/>
                    <a:gd name="connsiteY2" fmla="*/ 6667 h 46666"/>
                    <a:gd name="connsiteX3" fmla="*/ 6667 w 13333"/>
                    <a:gd name="connsiteY3" fmla="*/ 0 h 46666"/>
                    <a:gd name="connsiteX4" fmla="*/ 13333 w 13333"/>
                    <a:gd name="connsiteY4" fmla="*/ 6667 h 46666"/>
                    <a:gd name="connsiteX5" fmla="*/ 13333 w 13333"/>
                    <a:gd name="connsiteY5" fmla="*/ 40002 h 46666"/>
                    <a:gd name="connsiteX6" fmla="*/ 6667 w 13333"/>
                    <a:gd name="connsiteY6" fmla="*/ 46666 h 46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3" h="46666">
                      <a:moveTo>
                        <a:pt x="6667" y="46666"/>
                      </a:moveTo>
                      <a:cubicBezTo>
                        <a:pt x="2986" y="46666"/>
                        <a:pt x="0" y="43681"/>
                        <a:pt x="0" y="40000"/>
                      </a:cubicBezTo>
                      <a:lnTo>
                        <a:pt x="0" y="6667"/>
                      </a:lnTo>
                      <a:cubicBezTo>
                        <a:pt x="0" y="2986"/>
                        <a:pt x="2986" y="0"/>
                        <a:pt x="6667" y="0"/>
                      </a:cubicBezTo>
                      <a:cubicBezTo>
                        <a:pt x="10347" y="0"/>
                        <a:pt x="13333" y="2986"/>
                        <a:pt x="13333" y="6667"/>
                      </a:cubicBezTo>
                      <a:lnTo>
                        <a:pt x="13333" y="40002"/>
                      </a:lnTo>
                      <a:cubicBezTo>
                        <a:pt x="13335" y="43683"/>
                        <a:pt x="10350" y="46666"/>
                        <a:pt x="6667" y="46666"/>
                      </a:cubicBezTo>
                      <a:close/>
                    </a:path>
                  </a:pathLst>
                </a:custGeom>
                <a:solidFill>
                  <a:schemeClr val="accent1"/>
                </a:solidFill>
                <a:ln w="205" cap="flat">
                  <a:noFill/>
                  <a:prstDash val="solid"/>
                  <a:miter/>
                </a:ln>
              </p:spPr>
              <p:txBody>
                <a:bodyPr rtlCol="0" anchor="ctr"/>
                <a:lstStyle/>
                <a:p>
                  <a:endParaRPr lang="en-GB" dirty="0"/>
                </a:p>
              </p:txBody>
            </p:sp>
            <p:sp>
              <p:nvSpPr>
                <p:cNvPr id="487" name="Freihandform: Form 486">
                  <a:extLst>
                    <a:ext uri="{FF2B5EF4-FFF2-40B4-BE49-F238E27FC236}">
                      <a16:creationId xmlns:a16="http://schemas.microsoft.com/office/drawing/2014/main" id="{DFEA8AA0-5378-45AE-A21E-923F212348F1}"/>
                    </a:ext>
                  </a:extLst>
                </p:cNvPr>
                <p:cNvSpPr/>
                <p:nvPr/>
              </p:nvSpPr>
              <p:spPr>
                <a:xfrm>
                  <a:off x="1211530" y="2813461"/>
                  <a:ext cx="37501" cy="37502"/>
                </a:xfrm>
                <a:custGeom>
                  <a:avLst/>
                  <a:gdLst>
                    <a:gd name="connsiteX0" fmla="*/ 30834 w 37501"/>
                    <a:gd name="connsiteY0" fmla="*/ 37502 h 37502"/>
                    <a:gd name="connsiteX1" fmla="*/ 26121 w 37501"/>
                    <a:gd name="connsiteY1" fmla="*/ 35549 h 37502"/>
                    <a:gd name="connsiteX2" fmla="*/ 1952 w 37501"/>
                    <a:gd name="connsiteY2" fmla="*/ 11381 h 37502"/>
                    <a:gd name="connsiteX3" fmla="*/ 1952 w 37501"/>
                    <a:gd name="connsiteY3" fmla="*/ 1953 h 37502"/>
                    <a:gd name="connsiteX4" fmla="*/ 11381 w 37501"/>
                    <a:gd name="connsiteY4" fmla="*/ 1953 h 37502"/>
                    <a:gd name="connsiteX5" fmla="*/ 35549 w 37501"/>
                    <a:gd name="connsiteY5" fmla="*/ 26121 h 37502"/>
                    <a:gd name="connsiteX6" fmla="*/ 35549 w 37501"/>
                    <a:gd name="connsiteY6" fmla="*/ 35549 h 37502"/>
                    <a:gd name="connsiteX7" fmla="*/ 30834 w 37501"/>
                    <a:gd name="connsiteY7" fmla="*/ 37502 h 37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01" h="37502">
                      <a:moveTo>
                        <a:pt x="30834" y="37502"/>
                      </a:moveTo>
                      <a:cubicBezTo>
                        <a:pt x="29127" y="37502"/>
                        <a:pt x="27422" y="36851"/>
                        <a:pt x="26121" y="35549"/>
                      </a:cubicBezTo>
                      <a:lnTo>
                        <a:pt x="1952" y="11381"/>
                      </a:lnTo>
                      <a:cubicBezTo>
                        <a:pt x="-651" y="8777"/>
                        <a:pt x="-651" y="4558"/>
                        <a:pt x="1952" y="1953"/>
                      </a:cubicBezTo>
                      <a:cubicBezTo>
                        <a:pt x="4556" y="-651"/>
                        <a:pt x="8775" y="-651"/>
                        <a:pt x="11381" y="1953"/>
                      </a:cubicBezTo>
                      <a:lnTo>
                        <a:pt x="35549" y="26121"/>
                      </a:lnTo>
                      <a:cubicBezTo>
                        <a:pt x="38152" y="28724"/>
                        <a:pt x="38152" y="32944"/>
                        <a:pt x="35549" y="35549"/>
                      </a:cubicBezTo>
                      <a:cubicBezTo>
                        <a:pt x="34245" y="36851"/>
                        <a:pt x="32540" y="37502"/>
                        <a:pt x="30834" y="37502"/>
                      </a:cubicBezTo>
                      <a:close/>
                    </a:path>
                  </a:pathLst>
                </a:custGeom>
                <a:solidFill>
                  <a:schemeClr val="accent1"/>
                </a:solidFill>
                <a:ln w="205" cap="flat">
                  <a:noFill/>
                  <a:prstDash val="solid"/>
                  <a:miter/>
                </a:ln>
              </p:spPr>
              <p:txBody>
                <a:bodyPr rtlCol="0" anchor="ctr"/>
                <a:lstStyle/>
                <a:p>
                  <a:endParaRPr lang="en-GB" dirty="0"/>
                </a:p>
              </p:txBody>
            </p:sp>
            <p:sp>
              <p:nvSpPr>
                <p:cNvPr id="488" name="Freihandform: Form 487">
                  <a:extLst>
                    <a:ext uri="{FF2B5EF4-FFF2-40B4-BE49-F238E27FC236}">
                      <a16:creationId xmlns:a16="http://schemas.microsoft.com/office/drawing/2014/main" id="{EBAB42AD-D226-4780-BFCE-CAD42D068D3B}"/>
                    </a:ext>
                  </a:extLst>
                </p:cNvPr>
                <p:cNvSpPr/>
                <p:nvPr/>
              </p:nvSpPr>
              <p:spPr>
                <a:xfrm>
                  <a:off x="934021" y="2813459"/>
                  <a:ext cx="37502" cy="38337"/>
                </a:xfrm>
                <a:custGeom>
                  <a:avLst/>
                  <a:gdLst>
                    <a:gd name="connsiteX0" fmla="*/ 6668 w 37502"/>
                    <a:gd name="connsiteY0" fmla="*/ 38337 h 38337"/>
                    <a:gd name="connsiteX1" fmla="*/ 2035 w 37502"/>
                    <a:gd name="connsiteY1" fmla="*/ 36462 h 38337"/>
                    <a:gd name="connsiteX2" fmla="*/ 1875 w 37502"/>
                    <a:gd name="connsiteY2" fmla="*/ 27038 h 38337"/>
                    <a:gd name="connsiteX3" fmla="*/ 26043 w 37502"/>
                    <a:gd name="connsiteY3" fmla="*/ 2037 h 38337"/>
                    <a:gd name="connsiteX4" fmla="*/ 35467 w 37502"/>
                    <a:gd name="connsiteY4" fmla="*/ 1876 h 38337"/>
                    <a:gd name="connsiteX5" fmla="*/ 35627 w 37502"/>
                    <a:gd name="connsiteY5" fmla="*/ 11301 h 38337"/>
                    <a:gd name="connsiteX6" fmla="*/ 11459 w 37502"/>
                    <a:gd name="connsiteY6" fmla="*/ 36304 h 38337"/>
                    <a:gd name="connsiteX7" fmla="*/ 6668 w 37502"/>
                    <a:gd name="connsiteY7" fmla="*/ 38337 h 38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502" h="38337">
                      <a:moveTo>
                        <a:pt x="6668" y="38337"/>
                      </a:moveTo>
                      <a:cubicBezTo>
                        <a:pt x="4998" y="38337"/>
                        <a:pt x="3329" y="37716"/>
                        <a:pt x="2035" y="36462"/>
                      </a:cubicBezTo>
                      <a:cubicBezTo>
                        <a:pt x="-615" y="33904"/>
                        <a:pt x="-685" y="29684"/>
                        <a:pt x="1875" y="27038"/>
                      </a:cubicBezTo>
                      <a:lnTo>
                        <a:pt x="26043" y="2037"/>
                      </a:lnTo>
                      <a:cubicBezTo>
                        <a:pt x="28595" y="-614"/>
                        <a:pt x="32825" y="-688"/>
                        <a:pt x="35467" y="1876"/>
                      </a:cubicBezTo>
                      <a:cubicBezTo>
                        <a:pt x="38118" y="4434"/>
                        <a:pt x="38188" y="8654"/>
                        <a:pt x="35627" y="11301"/>
                      </a:cubicBezTo>
                      <a:lnTo>
                        <a:pt x="11459" y="36304"/>
                      </a:lnTo>
                      <a:cubicBezTo>
                        <a:pt x="10154" y="37657"/>
                        <a:pt x="8412" y="38337"/>
                        <a:pt x="6668" y="38337"/>
                      </a:cubicBezTo>
                      <a:close/>
                    </a:path>
                  </a:pathLst>
                </a:custGeom>
                <a:solidFill>
                  <a:schemeClr val="accent1"/>
                </a:solidFill>
                <a:ln w="205" cap="flat">
                  <a:noFill/>
                  <a:prstDash val="solid"/>
                  <a:miter/>
                </a:ln>
              </p:spPr>
              <p:txBody>
                <a:bodyPr rtlCol="0" anchor="ctr"/>
                <a:lstStyle/>
                <a:p>
                  <a:endParaRPr lang="en-GB" dirty="0"/>
                </a:p>
              </p:txBody>
            </p:sp>
          </p:grpSp>
        </p:grpSp>
        <p:grpSp>
          <p:nvGrpSpPr>
            <p:cNvPr id="479" name="Gruppieren 478">
              <a:extLst>
                <a:ext uri="{FF2B5EF4-FFF2-40B4-BE49-F238E27FC236}">
                  <a16:creationId xmlns:a16="http://schemas.microsoft.com/office/drawing/2014/main" id="{D2317998-2F9E-4C65-83AD-F20091B2A67E}"/>
                </a:ext>
              </a:extLst>
            </p:cNvPr>
            <p:cNvGrpSpPr/>
            <p:nvPr/>
          </p:nvGrpSpPr>
          <p:grpSpPr>
            <a:xfrm>
              <a:off x="556769" y="2552331"/>
              <a:ext cx="474562" cy="221062"/>
              <a:chOff x="872262" y="2588815"/>
              <a:chExt cx="439422" cy="204693"/>
            </a:xfrm>
          </p:grpSpPr>
          <p:sp>
            <p:nvSpPr>
              <p:cNvPr id="480" name="Freihandform: Form 479">
                <a:extLst>
                  <a:ext uri="{FF2B5EF4-FFF2-40B4-BE49-F238E27FC236}">
                    <a16:creationId xmlns:a16="http://schemas.microsoft.com/office/drawing/2014/main" id="{020D8769-E4DA-45DC-A487-2B8694437008}"/>
                  </a:ext>
                </a:extLst>
              </p:cNvPr>
              <p:cNvSpPr/>
              <p:nvPr/>
            </p:nvSpPr>
            <p:spPr>
              <a:xfrm>
                <a:off x="872262" y="2588815"/>
                <a:ext cx="439422" cy="204693"/>
              </a:xfrm>
              <a:custGeom>
                <a:avLst/>
                <a:gdLst>
                  <a:gd name="connsiteX0" fmla="*/ 219818 w 439422"/>
                  <a:gd name="connsiteY0" fmla="*/ 204694 h 204693"/>
                  <a:gd name="connsiteX1" fmla="*/ 11271 w 439422"/>
                  <a:gd name="connsiteY1" fmla="*/ 116691 h 204693"/>
                  <a:gd name="connsiteX2" fmla="*/ 2647 w 439422"/>
                  <a:gd name="connsiteY2" fmla="*/ 110080 h 204693"/>
                  <a:gd name="connsiteX3" fmla="*/ 11 w 439422"/>
                  <a:gd name="connsiteY3" fmla="*/ 105134 h 204693"/>
                  <a:gd name="connsiteX4" fmla="*/ 2075 w 439422"/>
                  <a:gd name="connsiteY4" fmla="*/ 99926 h 204693"/>
                  <a:gd name="connsiteX5" fmla="*/ 219576 w 439422"/>
                  <a:gd name="connsiteY5" fmla="*/ 0 h 204693"/>
                  <a:gd name="connsiteX6" fmla="*/ 219829 w 439422"/>
                  <a:gd name="connsiteY6" fmla="*/ 0 h 204693"/>
                  <a:gd name="connsiteX7" fmla="*/ 437348 w 439422"/>
                  <a:gd name="connsiteY7" fmla="*/ 99928 h 204693"/>
                  <a:gd name="connsiteX8" fmla="*/ 439412 w 439422"/>
                  <a:gd name="connsiteY8" fmla="*/ 105136 h 204693"/>
                  <a:gd name="connsiteX9" fmla="*/ 436772 w 439422"/>
                  <a:gd name="connsiteY9" fmla="*/ 110078 h 204693"/>
                  <a:gd name="connsiteX10" fmla="*/ 428094 w 439422"/>
                  <a:gd name="connsiteY10" fmla="*/ 116732 h 204693"/>
                  <a:gd name="connsiteX11" fmla="*/ 219818 w 439422"/>
                  <a:gd name="connsiteY11" fmla="*/ 204694 h 204693"/>
                  <a:gd name="connsiteX12" fmla="*/ 16973 w 439422"/>
                  <a:gd name="connsiteY12" fmla="*/ 104248 h 204693"/>
                  <a:gd name="connsiteX13" fmla="*/ 19414 w 439422"/>
                  <a:gd name="connsiteY13" fmla="*/ 106134 h 204693"/>
                  <a:gd name="connsiteX14" fmla="*/ 219816 w 439422"/>
                  <a:gd name="connsiteY14" fmla="*/ 191360 h 204693"/>
                  <a:gd name="connsiteX15" fmla="*/ 419947 w 439422"/>
                  <a:gd name="connsiteY15" fmla="*/ 106173 h 204693"/>
                  <a:gd name="connsiteX16" fmla="*/ 422448 w 439422"/>
                  <a:gd name="connsiteY16" fmla="*/ 104248 h 204693"/>
                  <a:gd name="connsiteX17" fmla="*/ 219701 w 439422"/>
                  <a:gd name="connsiteY17" fmla="*/ 13333 h 204693"/>
                  <a:gd name="connsiteX18" fmla="*/ 16973 w 439422"/>
                  <a:gd name="connsiteY18" fmla="*/ 104248 h 204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9422" h="204693">
                    <a:moveTo>
                      <a:pt x="219818" y="204694"/>
                    </a:moveTo>
                    <a:cubicBezTo>
                      <a:pt x="123142" y="203001"/>
                      <a:pt x="50366" y="146853"/>
                      <a:pt x="11271" y="116691"/>
                    </a:cubicBezTo>
                    <a:cubicBezTo>
                      <a:pt x="8152" y="114285"/>
                      <a:pt x="5279" y="112064"/>
                      <a:pt x="2647" y="110080"/>
                    </a:cubicBezTo>
                    <a:cubicBezTo>
                      <a:pt x="1084" y="108897"/>
                      <a:pt x="122" y="107092"/>
                      <a:pt x="11" y="105134"/>
                    </a:cubicBezTo>
                    <a:cubicBezTo>
                      <a:pt x="-100" y="103181"/>
                      <a:pt x="654" y="101277"/>
                      <a:pt x="2075" y="99926"/>
                    </a:cubicBezTo>
                    <a:cubicBezTo>
                      <a:pt x="70319" y="35073"/>
                      <a:pt x="143496" y="1456"/>
                      <a:pt x="219576" y="0"/>
                    </a:cubicBezTo>
                    <a:cubicBezTo>
                      <a:pt x="219660" y="0"/>
                      <a:pt x="219744" y="0"/>
                      <a:pt x="219829" y="0"/>
                    </a:cubicBezTo>
                    <a:cubicBezTo>
                      <a:pt x="295942" y="1456"/>
                      <a:pt x="369123" y="35073"/>
                      <a:pt x="437348" y="99928"/>
                    </a:cubicBezTo>
                    <a:cubicBezTo>
                      <a:pt x="438767" y="101274"/>
                      <a:pt x="439521" y="103179"/>
                      <a:pt x="439412" y="105136"/>
                    </a:cubicBezTo>
                    <a:cubicBezTo>
                      <a:pt x="439301" y="107090"/>
                      <a:pt x="438335" y="108899"/>
                      <a:pt x="436772" y="110078"/>
                    </a:cubicBezTo>
                    <a:cubicBezTo>
                      <a:pt x="434130" y="112076"/>
                      <a:pt x="431232" y="114310"/>
                      <a:pt x="428094" y="116732"/>
                    </a:cubicBezTo>
                    <a:cubicBezTo>
                      <a:pt x="388993" y="146884"/>
                      <a:pt x="316213" y="203001"/>
                      <a:pt x="219818" y="204694"/>
                    </a:cubicBezTo>
                    <a:close/>
                    <a:moveTo>
                      <a:pt x="16973" y="104248"/>
                    </a:moveTo>
                    <a:cubicBezTo>
                      <a:pt x="17771" y="104863"/>
                      <a:pt x="18586" y="105492"/>
                      <a:pt x="19414" y="106134"/>
                    </a:cubicBezTo>
                    <a:cubicBezTo>
                      <a:pt x="57290" y="135356"/>
                      <a:pt x="127789" y="189746"/>
                      <a:pt x="219816" y="191360"/>
                    </a:cubicBezTo>
                    <a:cubicBezTo>
                      <a:pt x="311568" y="189748"/>
                      <a:pt x="382071" y="135383"/>
                      <a:pt x="419947" y="106173"/>
                    </a:cubicBezTo>
                    <a:cubicBezTo>
                      <a:pt x="420800" y="105519"/>
                      <a:pt x="421633" y="104873"/>
                      <a:pt x="422448" y="104248"/>
                    </a:cubicBezTo>
                    <a:cubicBezTo>
                      <a:pt x="358409" y="45297"/>
                      <a:pt x="290227" y="14717"/>
                      <a:pt x="219701" y="13333"/>
                    </a:cubicBezTo>
                    <a:cubicBezTo>
                      <a:pt x="149206" y="14717"/>
                      <a:pt x="81028" y="45301"/>
                      <a:pt x="16973" y="104248"/>
                    </a:cubicBezTo>
                    <a:close/>
                  </a:path>
                </a:pathLst>
              </a:custGeom>
              <a:solidFill>
                <a:schemeClr val="tx2"/>
              </a:solidFill>
              <a:ln w="205" cap="flat">
                <a:noFill/>
                <a:prstDash val="solid"/>
                <a:miter/>
              </a:ln>
            </p:spPr>
            <p:txBody>
              <a:bodyPr rtlCol="0" anchor="ctr"/>
              <a:lstStyle/>
              <a:p>
                <a:endParaRPr lang="en-GB" dirty="0"/>
              </a:p>
            </p:txBody>
          </p:sp>
          <p:sp>
            <p:nvSpPr>
              <p:cNvPr id="481" name="Freihandform: Form 480">
                <a:extLst>
                  <a:ext uri="{FF2B5EF4-FFF2-40B4-BE49-F238E27FC236}">
                    <a16:creationId xmlns:a16="http://schemas.microsoft.com/office/drawing/2014/main" id="{196272DC-71B8-445A-B464-A8CF6439ACD9}"/>
                  </a:ext>
                </a:extLst>
              </p:cNvPr>
              <p:cNvSpPr/>
              <p:nvPr/>
            </p:nvSpPr>
            <p:spPr>
              <a:xfrm>
                <a:off x="987356" y="2640295"/>
                <a:ext cx="108432" cy="153166"/>
              </a:xfrm>
              <a:custGeom>
                <a:avLst/>
                <a:gdLst>
                  <a:gd name="connsiteX0" fmla="*/ 101768 w 108432"/>
                  <a:gd name="connsiteY0" fmla="*/ 153166 h 153166"/>
                  <a:gd name="connsiteX1" fmla="*/ 17384 w 108432"/>
                  <a:gd name="connsiteY1" fmla="*/ 108301 h 153166"/>
                  <a:gd name="connsiteX2" fmla="*/ 0 w 108432"/>
                  <a:gd name="connsiteY2" fmla="*/ 51398 h 153166"/>
                  <a:gd name="connsiteX3" fmla="*/ 11941 w 108432"/>
                  <a:gd name="connsiteY3" fmla="*/ 3529 h 153166"/>
                  <a:gd name="connsiteX4" fmla="*/ 20964 w 108432"/>
                  <a:gd name="connsiteY4" fmla="*/ 788 h 153166"/>
                  <a:gd name="connsiteX5" fmla="*/ 23705 w 108432"/>
                  <a:gd name="connsiteY5" fmla="*/ 9811 h 153166"/>
                  <a:gd name="connsiteX6" fmla="*/ 13333 w 108432"/>
                  <a:gd name="connsiteY6" fmla="*/ 51398 h 153166"/>
                  <a:gd name="connsiteX7" fmla="*/ 28431 w 108432"/>
                  <a:gd name="connsiteY7" fmla="*/ 100837 h 153166"/>
                  <a:gd name="connsiteX8" fmla="*/ 101766 w 108432"/>
                  <a:gd name="connsiteY8" fmla="*/ 139831 h 153166"/>
                  <a:gd name="connsiteX9" fmla="*/ 108433 w 108432"/>
                  <a:gd name="connsiteY9" fmla="*/ 146498 h 153166"/>
                  <a:gd name="connsiteX10" fmla="*/ 101768 w 108432"/>
                  <a:gd name="connsiteY10" fmla="*/ 153166 h 153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432" h="153166">
                    <a:moveTo>
                      <a:pt x="101768" y="153166"/>
                    </a:moveTo>
                    <a:cubicBezTo>
                      <a:pt x="67906" y="153166"/>
                      <a:pt x="36362" y="136395"/>
                      <a:pt x="17384" y="108301"/>
                    </a:cubicBezTo>
                    <a:cubicBezTo>
                      <a:pt x="6013" y="91472"/>
                      <a:pt x="0" y="71797"/>
                      <a:pt x="0" y="51398"/>
                    </a:cubicBezTo>
                    <a:cubicBezTo>
                      <a:pt x="0" y="34711"/>
                      <a:pt x="4131" y="18158"/>
                      <a:pt x="11941" y="3529"/>
                    </a:cubicBezTo>
                    <a:cubicBezTo>
                      <a:pt x="13673" y="284"/>
                      <a:pt x="17709" y="-950"/>
                      <a:pt x="20964" y="788"/>
                    </a:cubicBezTo>
                    <a:cubicBezTo>
                      <a:pt x="24213" y="2523"/>
                      <a:pt x="25437" y="6562"/>
                      <a:pt x="23705" y="9811"/>
                    </a:cubicBezTo>
                    <a:cubicBezTo>
                      <a:pt x="16922" y="22513"/>
                      <a:pt x="13333" y="36893"/>
                      <a:pt x="13333" y="51398"/>
                    </a:cubicBezTo>
                    <a:cubicBezTo>
                      <a:pt x="13333" y="69124"/>
                      <a:pt x="18554" y="86220"/>
                      <a:pt x="28431" y="100837"/>
                    </a:cubicBezTo>
                    <a:cubicBezTo>
                      <a:pt x="44925" y="125256"/>
                      <a:pt x="72342" y="139831"/>
                      <a:pt x="101766" y="139831"/>
                    </a:cubicBezTo>
                    <a:cubicBezTo>
                      <a:pt x="105447" y="139831"/>
                      <a:pt x="108433" y="142817"/>
                      <a:pt x="108433" y="146498"/>
                    </a:cubicBezTo>
                    <a:cubicBezTo>
                      <a:pt x="108435" y="150181"/>
                      <a:pt x="105451" y="153166"/>
                      <a:pt x="101768" y="153166"/>
                    </a:cubicBezTo>
                    <a:close/>
                  </a:path>
                </a:pathLst>
              </a:custGeom>
              <a:solidFill>
                <a:schemeClr val="tx2"/>
              </a:solidFill>
              <a:ln w="205" cap="flat">
                <a:noFill/>
                <a:prstDash val="solid"/>
                <a:miter/>
              </a:ln>
            </p:spPr>
            <p:txBody>
              <a:bodyPr rtlCol="0" anchor="ctr"/>
              <a:lstStyle/>
              <a:p>
                <a:endParaRPr lang="en-GB" dirty="0"/>
              </a:p>
            </p:txBody>
          </p:sp>
          <p:sp>
            <p:nvSpPr>
              <p:cNvPr id="482" name="Freihandform: Form 481">
                <a:extLst>
                  <a:ext uri="{FF2B5EF4-FFF2-40B4-BE49-F238E27FC236}">
                    <a16:creationId xmlns:a16="http://schemas.microsoft.com/office/drawing/2014/main" id="{D9A9EAB1-4831-4EC1-9ED3-B63CF41E188D}"/>
                  </a:ext>
                </a:extLst>
              </p:cNvPr>
              <p:cNvSpPr/>
              <p:nvPr/>
            </p:nvSpPr>
            <p:spPr>
              <a:xfrm>
                <a:off x="1082459" y="2589930"/>
                <a:ext cx="108432" cy="153392"/>
              </a:xfrm>
              <a:custGeom>
                <a:avLst/>
                <a:gdLst>
                  <a:gd name="connsiteX0" fmla="*/ 90477 w 108432"/>
                  <a:gd name="connsiteY0" fmla="*/ 153392 h 153392"/>
                  <a:gd name="connsiteX1" fmla="*/ 87326 w 108432"/>
                  <a:gd name="connsiteY1" fmla="*/ 152598 h 153392"/>
                  <a:gd name="connsiteX2" fmla="*/ 84612 w 108432"/>
                  <a:gd name="connsiteY2" fmla="*/ 143569 h 153392"/>
                  <a:gd name="connsiteX3" fmla="*/ 95097 w 108432"/>
                  <a:gd name="connsiteY3" fmla="*/ 101764 h 153392"/>
                  <a:gd name="connsiteX4" fmla="*/ 80000 w 108432"/>
                  <a:gd name="connsiteY4" fmla="*/ 52330 h 153392"/>
                  <a:gd name="connsiteX5" fmla="*/ 6667 w 108432"/>
                  <a:gd name="connsiteY5" fmla="*/ 13333 h 153392"/>
                  <a:gd name="connsiteX6" fmla="*/ 0 w 108432"/>
                  <a:gd name="connsiteY6" fmla="*/ 6667 h 153392"/>
                  <a:gd name="connsiteX7" fmla="*/ 6667 w 108432"/>
                  <a:gd name="connsiteY7" fmla="*/ 0 h 153392"/>
                  <a:gd name="connsiteX8" fmla="*/ 91048 w 108432"/>
                  <a:gd name="connsiteY8" fmla="*/ 44865 h 153392"/>
                  <a:gd name="connsiteX9" fmla="*/ 108433 w 108432"/>
                  <a:gd name="connsiteY9" fmla="*/ 101764 h 153392"/>
                  <a:gd name="connsiteX10" fmla="*/ 96358 w 108432"/>
                  <a:gd name="connsiteY10" fmla="*/ 149884 h 153392"/>
                  <a:gd name="connsiteX11" fmla="*/ 90477 w 108432"/>
                  <a:gd name="connsiteY11" fmla="*/ 153392 h 153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8432" h="153392">
                    <a:moveTo>
                      <a:pt x="90477" y="153392"/>
                    </a:moveTo>
                    <a:cubicBezTo>
                      <a:pt x="89411" y="153392"/>
                      <a:pt x="88332" y="153139"/>
                      <a:pt x="87326" y="152598"/>
                    </a:cubicBezTo>
                    <a:cubicBezTo>
                      <a:pt x="84083" y="150855"/>
                      <a:pt x="82870" y="146810"/>
                      <a:pt x="84612" y="143569"/>
                    </a:cubicBezTo>
                    <a:cubicBezTo>
                      <a:pt x="91472" y="130812"/>
                      <a:pt x="95097" y="116358"/>
                      <a:pt x="95097" y="101764"/>
                    </a:cubicBezTo>
                    <a:cubicBezTo>
                      <a:pt x="95097" y="84042"/>
                      <a:pt x="89876" y="66946"/>
                      <a:pt x="80000" y="52330"/>
                    </a:cubicBezTo>
                    <a:cubicBezTo>
                      <a:pt x="63506" y="27911"/>
                      <a:pt x="36089" y="13333"/>
                      <a:pt x="6667" y="13333"/>
                    </a:cubicBezTo>
                    <a:cubicBezTo>
                      <a:pt x="2986" y="13333"/>
                      <a:pt x="0" y="10347"/>
                      <a:pt x="0" y="6667"/>
                    </a:cubicBezTo>
                    <a:cubicBezTo>
                      <a:pt x="0" y="2986"/>
                      <a:pt x="2986" y="0"/>
                      <a:pt x="6667" y="0"/>
                    </a:cubicBezTo>
                    <a:cubicBezTo>
                      <a:pt x="40524" y="0"/>
                      <a:pt x="72068" y="16771"/>
                      <a:pt x="91048" y="44865"/>
                    </a:cubicBezTo>
                    <a:cubicBezTo>
                      <a:pt x="102420" y="61694"/>
                      <a:pt x="108433" y="81369"/>
                      <a:pt x="108433" y="101764"/>
                    </a:cubicBezTo>
                    <a:cubicBezTo>
                      <a:pt x="108433" y="118552"/>
                      <a:pt x="104256" y="135192"/>
                      <a:pt x="96358" y="149884"/>
                    </a:cubicBezTo>
                    <a:cubicBezTo>
                      <a:pt x="95151" y="152123"/>
                      <a:pt x="92852" y="153392"/>
                      <a:pt x="90477" y="153392"/>
                    </a:cubicBezTo>
                    <a:close/>
                  </a:path>
                </a:pathLst>
              </a:custGeom>
              <a:solidFill>
                <a:schemeClr val="tx2"/>
              </a:solidFill>
              <a:ln w="205" cap="flat">
                <a:noFill/>
                <a:prstDash val="solid"/>
                <a:miter/>
              </a:ln>
            </p:spPr>
            <p:txBody>
              <a:bodyPr rtlCol="0" anchor="ctr"/>
              <a:lstStyle/>
              <a:p>
                <a:endParaRPr lang="en-GB" dirty="0"/>
              </a:p>
            </p:txBody>
          </p:sp>
        </p:grpSp>
      </p:grpSp>
      <p:sp>
        <p:nvSpPr>
          <p:cNvPr id="492" name="TextBox 1401">
            <a:extLst>
              <a:ext uri="{FF2B5EF4-FFF2-40B4-BE49-F238E27FC236}">
                <a16:creationId xmlns:a16="http://schemas.microsoft.com/office/drawing/2014/main" id="{A217FF01-1539-4BE3-A6CD-F0AAEFF6F5C1}"/>
              </a:ext>
            </a:extLst>
          </p:cNvPr>
          <p:cNvSpPr txBox="1"/>
          <p:nvPr/>
        </p:nvSpPr>
        <p:spPr>
          <a:xfrm>
            <a:off x="689855" y="2899619"/>
            <a:ext cx="208390" cy="107722"/>
          </a:xfrm>
          <a:prstGeom prst="rect">
            <a:avLst/>
          </a:prstGeom>
          <a:noFill/>
          <a:effectLst/>
        </p:spPr>
        <p:txBody>
          <a:bodyPr wrap="none" lIns="0" tIns="0" rIns="0" bIns="0" rtlCol="0" anchor="t">
            <a:spAutoFit/>
          </a:bodyPr>
          <a:lstStyle/>
          <a:p>
            <a:pPr algn="ctr"/>
            <a:r>
              <a:rPr lang="en-GB" sz="700" dirty="0">
                <a:solidFill>
                  <a:schemeClr val="tx2"/>
                </a:solidFill>
              </a:rPr>
              <a:t>AIDA</a:t>
            </a:r>
          </a:p>
        </p:txBody>
      </p:sp>
      <p:sp>
        <p:nvSpPr>
          <p:cNvPr id="512" name="TextBox 1402">
            <a:extLst>
              <a:ext uri="{FF2B5EF4-FFF2-40B4-BE49-F238E27FC236}">
                <a16:creationId xmlns:a16="http://schemas.microsoft.com/office/drawing/2014/main" id="{7B5AC023-70F6-45A4-BBD9-A8B5147A76EE}"/>
              </a:ext>
            </a:extLst>
          </p:cNvPr>
          <p:cNvSpPr txBox="1"/>
          <p:nvPr/>
        </p:nvSpPr>
        <p:spPr>
          <a:xfrm>
            <a:off x="3678680" y="2899619"/>
            <a:ext cx="503343" cy="107722"/>
          </a:xfrm>
          <a:prstGeom prst="rect">
            <a:avLst/>
          </a:prstGeom>
          <a:noFill/>
          <a:effectLst/>
        </p:spPr>
        <p:txBody>
          <a:bodyPr wrap="none" lIns="0" tIns="0" rIns="0" bIns="0" rtlCol="0" anchor="t">
            <a:spAutoFit/>
          </a:bodyPr>
          <a:lstStyle/>
          <a:p>
            <a:pPr algn="ctr"/>
            <a:r>
              <a:rPr lang="en-GB" sz="700" dirty="0">
                <a:solidFill>
                  <a:schemeClr val="tx2"/>
                </a:solidFill>
              </a:rPr>
              <a:t>Ambassador</a:t>
            </a:r>
          </a:p>
        </p:txBody>
      </p:sp>
      <p:grpSp>
        <p:nvGrpSpPr>
          <p:cNvPr id="10" name="Group 9">
            <a:extLst>
              <a:ext uri="{FF2B5EF4-FFF2-40B4-BE49-F238E27FC236}">
                <a16:creationId xmlns:a16="http://schemas.microsoft.com/office/drawing/2014/main" id="{256107CF-BA27-47A8-AEAF-05B5B17A3006}"/>
              </a:ext>
            </a:extLst>
          </p:cNvPr>
          <p:cNvGrpSpPr/>
          <p:nvPr/>
        </p:nvGrpSpPr>
        <p:grpSpPr>
          <a:xfrm>
            <a:off x="2627116" y="2449341"/>
            <a:ext cx="515605" cy="432000"/>
            <a:chOff x="2627116" y="2449341"/>
            <a:chExt cx="515605" cy="432000"/>
          </a:xfrm>
        </p:grpSpPr>
        <p:grpSp>
          <p:nvGrpSpPr>
            <p:cNvPr id="514" name="Gruppieren 513">
              <a:extLst>
                <a:ext uri="{FF2B5EF4-FFF2-40B4-BE49-F238E27FC236}">
                  <a16:creationId xmlns:a16="http://schemas.microsoft.com/office/drawing/2014/main" id="{7A95326A-B6B8-4C6B-9ADC-C3C41BDCC6E9}"/>
                </a:ext>
              </a:extLst>
            </p:cNvPr>
            <p:cNvGrpSpPr/>
            <p:nvPr/>
          </p:nvGrpSpPr>
          <p:grpSpPr>
            <a:xfrm>
              <a:off x="2627116" y="2449341"/>
              <a:ext cx="515605" cy="243865"/>
              <a:chOff x="2538237" y="2473451"/>
              <a:chExt cx="493340" cy="233334"/>
            </a:xfrm>
          </p:grpSpPr>
          <p:sp>
            <p:nvSpPr>
              <p:cNvPr id="523" name="Freihandform: Form 522">
                <a:extLst>
                  <a:ext uri="{FF2B5EF4-FFF2-40B4-BE49-F238E27FC236}">
                    <a16:creationId xmlns:a16="http://schemas.microsoft.com/office/drawing/2014/main" id="{6B56F77E-6E4D-4637-B399-B00AC7940F3B}"/>
                  </a:ext>
                </a:extLst>
              </p:cNvPr>
              <p:cNvSpPr/>
              <p:nvPr/>
            </p:nvSpPr>
            <p:spPr>
              <a:xfrm>
                <a:off x="2678242" y="2593457"/>
                <a:ext cx="213340" cy="113328"/>
              </a:xfrm>
              <a:custGeom>
                <a:avLst/>
                <a:gdLst>
                  <a:gd name="connsiteX0" fmla="*/ 206678 w 213340"/>
                  <a:gd name="connsiteY0" fmla="*/ 113329 h 113328"/>
                  <a:gd name="connsiteX1" fmla="*/ 199995 w 213340"/>
                  <a:gd name="connsiteY1" fmla="*/ 106662 h 113328"/>
                  <a:gd name="connsiteX2" fmla="*/ 199995 w 213340"/>
                  <a:gd name="connsiteY2" fmla="*/ 86668 h 113328"/>
                  <a:gd name="connsiteX3" fmla="*/ 133337 w 213340"/>
                  <a:gd name="connsiteY3" fmla="*/ 13333 h 113328"/>
                  <a:gd name="connsiteX4" fmla="*/ 80002 w 213340"/>
                  <a:gd name="connsiteY4" fmla="*/ 13333 h 113328"/>
                  <a:gd name="connsiteX5" fmla="*/ 13333 w 213340"/>
                  <a:gd name="connsiteY5" fmla="*/ 86668 h 113328"/>
                  <a:gd name="connsiteX6" fmla="*/ 13333 w 213340"/>
                  <a:gd name="connsiteY6" fmla="*/ 106662 h 113328"/>
                  <a:gd name="connsiteX7" fmla="*/ 6667 w 213340"/>
                  <a:gd name="connsiteY7" fmla="*/ 113329 h 113328"/>
                  <a:gd name="connsiteX8" fmla="*/ 0 w 213340"/>
                  <a:gd name="connsiteY8" fmla="*/ 106662 h 113328"/>
                  <a:gd name="connsiteX9" fmla="*/ 0 w 213340"/>
                  <a:gd name="connsiteY9" fmla="*/ 86668 h 113328"/>
                  <a:gd name="connsiteX10" fmla="*/ 80002 w 213340"/>
                  <a:gd name="connsiteY10" fmla="*/ 0 h 113328"/>
                  <a:gd name="connsiteX11" fmla="*/ 133337 w 213340"/>
                  <a:gd name="connsiteY11" fmla="*/ 0 h 113328"/>
                  <a:gd name="connsiteX12" fmla="*/ 213341 w 213340"/>
                  <a:gd name="connsiteY12" fmla="*/ 86668 h 113328"/>
                  <a:gd name="connsiteX13" fmla="*/ 213341 w 213340"/>
                  <a:gd name="connsiteY13" fmla="*/ 106662 h 113328"/>
                  <a:gd name="connsiteX14" fmla="*/ 206678 w 213340"/>
                  <a:gd name="connsiteY14" fmla="*/ 113329 h 113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3340" h="113328">
                    <a:moveTo>
                      <a:pt x="206678" y="113329"/>
                    </a:moveTo>
                    <a:cubicBezTo>
                      <a:pt x="202977" y="113329"/>
                      <a:pt x="199995" y="110343"/>
                      <a:pt x="199995" y="106662"/>
                    </a:cubicBezTo>
                    <a:lnTo>
                      <a:pt x="199995" y="86668"/>
                    </a:lnTo>
                    <a:cubicBezTo>
                      <a:pt x="199995" y="44174"/>
                      <a:pt x="171963" y="13333"/>
                      <a:pt x="133337" y="13333"/>
                    </a:cubicBezTo>
                    <a:lnTo>
                      <a:pt x="80002" y="13333"/>
                    </a:lnTo>
                    <a:cubicBezTo>
                      <a:pt x="41373" y="13333"/>
                      <a:pt x="13333" y="44174"/>
                      <a:pt x="13333" y="86668"/>
                    </a:cubicBezTo>
                    <a:lnTo>
                      <a:pt x="13333" y="106662"/>
                    </a:lnTo>
                    <a:cubicBezTo>
                      <a:pt x="13333" y="110343"/>
                      <a:pt x="10352" y="113329"/>
                      <a:pt x="6667" y="113329"/>
                    </a:cubicBezTo>
                    <a:cubicBezTo>
                      <a:pt x="2982" y="113329"/>
                      <a:pt x="0" y="110343"/>
                      <a:pt x="0" y="106662"/>
                    </a:cubicBezTo>
                    <a:lnTo>
                      <a:pt x="0" y="86668"/>
                    </a:lnTo>
                    <a:cubicBezTo>
                      <a:pt x="0" y="37259"/>
                      <a:pt x="34396" y="0"/>
                      <a:pt x="80002" y="0"/>
                    </a:cubicBezTo>
                    <a:lnTo>
                      <a:pt x="133337" y="0"/>
                    </a:lnTo>
                    <a:cubicBezTo>
                      <a:pt x="178944" y="0"/>
                      <a:pt x="213341" y="37261"/>
                      <a:pt x="213341" y="86668"/>
                    </a:cubicBezTo>
                    <a:lnTo>
                      <a:pt x="213341" y="106662"/>
                    </a:lnTo>
                    <a:cubicBezTo>
                      <a:pt x="213341" y="110343"/>
                      <a:pt x="210359" y="113329"/>
                      <a:pt x="206678" y="113329"/>
                    </a:cubicBezTo>
                    <a:close/>
                  </a:path>
                </a:pathLst>
              </a:custGeom>
              <a:solidFill>
                <a:schemeClr val="tx2"/>
              </a:solidFill>
              <a:ln w="205" cap="flat">
                <a:noFill/>
                <a:prstDash val="solid"/>
                <a:miter/>
              </a:ln>
            </p:spPr>
            <p:txBody>
              <a:bodyPr rtlCol="0" anchor="ctr"/>
              <a:lstStyle/>
              <a:p>
                <a:endParaRPr lang="en-GB" dirty="0"/>
              </a:p>
            </p:txBody>
          </p:sp>
          <p:sp>
            <p:nvSpPr>
              <p:cNvPr id="524" name="Freihandform: Form 523">
                <a:extLst>
                  <a:ext uri="{FF2B5EF4-FFF2-40B4-BE49-F238E27FC236}">
                    <a16:creationId xmlns:a16="http://schemas.microsoft.com/office/drawing/2014/main" id="{ABE157E5-BF68-4F74-84F4-3E8ECAEB3E5B}"/>
                  </a:ext>
                </a:extLst>
              </p:cNvPr>
              <p:cNvSpPr/>
              <p:nvPr/>
            </p:nvSpPr>
            <p:spPr>
              <a:xfrm>
                <a:off x="2738242" y="2473451"/>
                <a:ext cx="93336" cy="106670"/>
              </a:xfrm>
              <a:custGeom>
                <a:avLst/>
                <a:gdLst>
                  <a:gd name="connsiteX0" fmla="*/ 46669 w 93336"/>
                  <a:gd name="connsiteY0" fmla="*/ 106670 h 106670"/>
                  <a:gd name="connsiteX1" fmla="*/ 0 w 93336"/>
                  <a:gd name="connsiteY1" fmla="*/ 53335 h 106670"/>
                  <a:gd name="connsiteX2" fmla="*/ 46669 w 93336"/>
                  <a:gd name="connsiteY2" fmla="*/ 0 h 106670"/>
                  <a:gd name="connsiteX3" fmla="*/ 93337 w 93336"/>
                  <a:gd name="connsiteY3" fmla="*/ 53335 h 106670"/>
                  <a:gd name="connsiteX4" fmla="*/ 46669 w 93336"/>
                  <a:gd name="connsiteY4" fmla="*/ 106670 h 106670"/>
                  <a:gd name="connsiteX5" fmla="*/ 46669 w 93336"/>
                  <a:gd name="connsiteY5" fmla="*/ 13333 h 106670"/>
                  <a:gd name="connsiteX6" fmla="*/ 13333 w 93336"/>
                  <a:gd name="connsiteY6" fmla="*/ 53335 h 106670"/>
                  <a:gd name="connsiteX7" fmla="*/ 46669 w 93336"/>
                  <a:gd name="connsiteY7" fmla="*/ 93337 h 106670"/>
                  <a:gd name="connsiteX8" fmla="*/ 80004 w 93336"/>
                  <a:gd name="connsiteY8" fmla="*/ 53335 h 106670"/>
                  <a:gd name="connsiteX9" fmla="*/ 46669 w 93336"/>
                  <a:gd name="connsiteY9" fmla="*/ 13333 h 106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36" h="106670">
                    <a:moveTo>
                      <a:pt x="46669" y="106670"/>
                    </a:moveTo>
                    <a:cubicBezTo>
                      <a:pt x="18758" y="106670"/>
                      <a:pt x="0" y="85237"/>
                      <a:pt x="0" y="53335"/>
                    </a:cubicBezTo>
                    <a:cubicBezTo>
                      <a:pt x="0" y="21433"/>
                      <a:pt x="18758" y="0"/>
                      <a:pt x="46669" y="0"/>
                    </a:cubicBezTo>
                    <a:cubicBezTo>
                      <a:pt x="74579" y="0"/>
                      <a:pt x="93337" y="21433"/>
                      <a:pt x="93337" y="53335"/>
                    </a:cubicBezTo>
                    <a:cubicBezTo>
                      <a:pt x="93337" y="85237"/>
                      <a:pt x="74579" y="106670"/>
                      <a:pt x="46669" y="106670"/>
                    </a:cubicBezTo>
                    <a:close/>
                    <a:moveTo>
                      <a:pt x="46669" y="13333"/>
                    </a:moveTo>
                    <a:cubicBezTo>
                      <a:pt x="22064" y="13333"/>
                      <a:pt x="13333" y="34879"/>
                      <a:pt x="13333" y="53335"/>
                    </a:cubicBezTo>
                    <a:cubicBezTo>
                      <a:pt x="13333" y="71791"/>
                      <a:pt x="22064" y="93337"/>
                      <a:pt x="46669" y="93337"/>
                    </a:cubicBezTo>
                    <a:cubicBezTo>
                      <a:pt x="71272" y="93337"/>
                      <a:pt x="80004" y="71791"/>
                      <a:pt x="80004" y="53335"/>
                    </a:cubicBezTo>
                    <a:cubicBezTo>
                      <a:pt x="80004" y="34879"/>
                      <a:pt x="71272" y="13333"/>
                      <a:pt x="46669" y="13333"/>
                    </a:cubicBezTo>
                    <a:close/>
                  </a:path>
                </a:pathLst>
              </a:custGeom>
              <a:solidFill>
                <a:schemeClr val="tx2"/>
              </a:solidFill>
              <a:ln w="205" cap="flat">
                <a:noFill/>
                <a:prstDash val="solid"/>
                <a:miter/>
              </a:ln>
            </p:spPr>
            <p:txBody>
              <a:bodyPr rtlCol="0" anchor="ctr"/>
              <a:lstStyle/>
              <a:p>
                <a:endParaRPr lang="en-GB" dirty="0"/>
              </a:p>
            </p:txBody>
          </p:sp>
          <p:sp>
            <p:nvSpPr>
              <p:cNvPr id="525" name="Freihandform: Form 524">
                <a:extLst>
                  <a:ext uri="{FF2B5EF4-FFF2-40B4-BE49-F238E27FC236}">
                    <a16:creationId xmlns:a16="http://schemas.microsoft.com/office/drawing/2014/main" id="{D8638599-2F56-48E4-9AD5-74EEE745D928}"/>
                  </a:ext>
                </a:extLst>
              </p:cNvPr>
              <p:cNvSpPr/>
              <p:nvPr/>
            </p:nvSpPr>
            <p:spPr>
              <a:xfrm>
                <a:off x="2894913" y="2626790"/>
                <a:ext cx="136664" cy="79995"/>
              </a:xfrm>
              <a:custGeom>
                <a:avLst/>
                <a:gdLst>
                  <a:gd name="connsiteX0" fmla="*/ 136665 w 136664"/>
                  <a:gd name="connsiteY0" fmla="*/ 79996 h 79995"/>
                  <a:gd name="connsiteX1" fmla="*/ 16678 w 136664"/>
                  <a:gd name="connsiteY1" fmla="*/ 79996 h 79995"/>
                  <a:gd name="connsiteX2" fmla="*/ 9994 w 136664"/>
                  <a:gd name="connsiteY2" fmla="*/ 73329 h 79995"/>
                  <a:gd name="connsiteX3" fmla="*/ 16678 w 136664"/>
                  <a:gd name="connsiteY3" fmla="*/ 66662 h 79995"/>
                  <a:gd name="connsiteX4" fmla="*/ 122949 w 136664"/>
                  <a:gd name="connsiteY4" fmla="*/ 66662 h 79995"/>
                  <a:gd name="connsiteX5" fmla="*/ 64199 w 136664"/>
                  <a:gd name="connsiteY5" fmla="*/ 13333 h 79995"/>
                  <a:gd name="connsiteX6" fmla="*/ 22476 w 136664"/>
                  <a:gd name="connsiteY6" fmla="*/ 13333 h 79995"/>
                  <a:gd name="connsiteX7" fmla="*/ 8596 w 136664"/>
                  <a:gd name="connsiteY7" fmla="*/ 15550 h 79995"/>
                  <a:gd name="connsiteX8" fmla="*/ 289 w 136664"/>
                  <a:gd name="connsiteY8" fmla="*/ 11088 h 79995"/>
                  <a:gd name="connsiteX9" fmla="*/ 4751 w 136664"/>
                  <a:gd name="connsiteY9" fmla="*/ 2784 h 79995"/>
                  <a:gd name="connsiteX10" fmla="*/ 22476 w 136664"/>
                  <a:gd name="connsiteY10" fmla="*/ 0 h 79995"/>
                  <a:gd name="connsiteX11" fmla="*/ 64199 w 136664"/>
                  <a:gd name="connsiteY11" fmla="*/ 0 h 79995"/>
                  <a:gd name="connsiteX12" fmla="*/ 136665 w 136664"/>
                  <a:gd name="connsiteY12" fmla="*/ 73329 h 79995"/>
                  <a:gd name="connsiteX13" fmla="*/ 136665 w 136664"/>
                  <a:gd name="connsiteY13" fmla="*/ 79996 h 7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6664" h="79995">
                    <a:moveTo>
                      <a:pt x="136665" y="79996"/>
                    </a:moveTo>
                    <a:lnTo>
                      <a:pt x="16678" y="79996"/>
                    </a:lnTo>
                    <a:cubicBezTo>
                      <a:pt x="12976" y="79996"/>
                      <a:pt x="9994" y="77010"/>
                      <a:pt x="9994" y="73329"/>
                    </a:cubicBezTo>
                    <a:cubicBezTo>
                      <a:pt x="9994" y="69648"/>
                      <a:pt x="12976" y="66662"/>
                      <a:pt x="16678" y="66662"/>
                    </a:cubicBezTo>
                    <a:lnTo>
                      <a:pt x="122949" y="66662"/>
                    </a:lnTo>
                    <a:cubicBezTo>
                      <a:pt x="119576" y="37139"/>
                      <a:pt x="94037" y="13333"/>
                      <a:pt x="64199" y="13333"/>
                    </a:cubicBezTo>
                    <a:lnTo>
                      <a:pt x="22476" y="13333"/>
                    </a:lnTo>
                    <a:cubicBezTo>
                      <a:pt x="16451" y="13333"/>
                      <a:pt x="14148" y="13874"/>
                      <a:pt x="8596" y="15550"/>
                    </a:cubicBezTo>
                    <a:cubicBezTo>
                      <a:pt x="5039" y="16605"/>
                      <a:pt x="1337" y="14608"/>
                      <a:pt x="289" y="11088"/>
                    </a:cubicBezTo>
                    <a:cubicBezTo>
                      <a:pt x="-781" y="7563"/>
                      <a:pt x="1214" y="3845"/>
                      <a:pt x="4751" y="2784"/>
                    </a:cubicBezTo>
                    <a:cubicBezTo>
                      <a:pt x="11167" y="847"/>
                      <a:pt x="14786" y="0"/>
                      <a:pt x="22476" y="0"/>
                    </a:cubicBezTo>
                    <a:lnTo>
                      <a:pt x="64199" y="0"/>
                    </a:lnTo>
                    <a:cubicBezTo>
                      <a:pt x="103475" y="0"/>
                      <a:pt x="136665" y="33582"/>
                      <a:pt x="136665" y="73329"/>
                    </a:cubicBezTo>
                    <a:lnTo>
                      <a:pt x="136665" y="79996"/>
                    </a:lnTo>
                    <a:close/>
                  </a:path>
                </a:pathLst>
              </a:custGeom>
              <a:solidFill>
                <a:schemeClr val="tx2"/>
              </a:solidFill>
              <a:ln w="205" cap="flat">
                <a:noFill/>
                <a:prstDash val="solid"/>
                <a:miter/>
              </a:ln>
            </p:spPr>
            <p:txBody>
              <a:bodyPr rtlCol="0" anchor="ctr"/>
              <a:lstStyle/>
              <a:p>
                <a:endParaRPr lang="en-GB" dirty="0"/>
              </a:p>
            </p:txBody>
          </p:sp>
          <p:sp>
            <p:nvSpPr>
              <p:cNvPr id="526" name="Freihandform: Form 525">
                <a:extLst>
                  <a:ext uri="{FF2B5EF4-FFF2-40B4-BE49-F238E27FC236}">
                    <a16:creationId xmlns:a16="http://schemas.microsoft.com/office/drawing/2014/main" id="{74577AA9-E2BE-4474-B3BD-49396D9F638A}"/>
                  </a:ext>
                </a:extLst>
              </p:cNvPr>
              <p:cNvSpPr/>
              <p:nvPr/>
            </p:nvSpPr>
            <p:spPr>
              <a:xfrm>
                <a:off x="2898245" y="2520118"/>
                <a:ext cx="80012" cy="93336"/>
              </a:xfrm>
              <a:custGeom>
                <a:avLst/>
                <a:gdLst>
                  <a:gd name="connsiteX0" fmla="*/ 39996 w 80012"/>
                  <a:gd name="connsiteY0" fmla="*/ 93337 h 93336"/>
                  <a:gd name="connsiteX1" fmla="*/ 0 w 80012"/>
                  <a:gd name="connsiteY1" fmla="*/ 46668 h 93336"/>
                  <a:gd name="connsiteX2" fmla="*/ 39996 w 80012"/>
                  <a:gd name="connsiteY2" fmla="*/ 0 h 93336"/>
                  <a:gd name="connsiteX3" fmla="*/ 80012 w 80012"/>
                  <a:gd name="connsiteY3" fmla="*/ 46668 h 93336"/>
                  <a:gd name="connsiteX4" fmla="*/ 39996 w 80012"/>
                  <a:gd name="connsiteY4" fmla="*/ 93337 h 93336"/>
                  <a:gd name="connsiteX5" fmla="*/ 39996 w 80012"/>
                  <a:gd name="connsiteY5" fmla="*/ 13335 h 93336"/>
                  <a:gd name="connsiteX6" fmla="*/ 13346 w 80012"/>
                  <a:gd name="connsiteY6" fmla="*/ 46671 h 93336"/>
                  <a:gd name="connsiteX7" fmla="*/ 39996 w 80012"/>
                  <a:gd name="connsiteY7" fmla="*/ 80006 h 93336"/>
                  <a:gd name="connsiteX8" fmla="*/ 66666 w 80012"/>
                  <a:gd name="connsiteY8" fmla="*/ 46671 h 93336"/>
                  <a:gd name="connsiteX9" fmla="*/ 39996 w 80012"/>
                  <a:gd name="connsiteY9" fmla="*/ 13335 h 9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12" h="93336">
                    <a:moveTo>
                      <a:pt x="39996" y="93337"/>
                    </a:moveTo>
                    <a:cubicBezTo>
                      <a:pt x="16081" y="93337"/>
                      <a:pt x="0" y="74583"/>
                      <a:pt x="0" y="46668"/>
                    </a:cubicBezTo>
                    <a:cubicBezTo>
                      <a:pt x="0" y="18754"/>
                      <a:pt x="16081" y="0"/>
                      <a:pt x="39996" y="0"/>
                    </a:cubicBezTo>
                    <a:cubicBezTo>
                      <a:pt x="63932" y="0"/>
                      <a:pt x="80012" y="18754"/>
                      <a:pt x="80012" y="46668"/>
                    </a:cubicBezTo>
                    <a:cubicBezTo>
                      <a:pt x="80012" y="74583"/>
                      <a:pt x="63932" y="93337"/>
                      <a:pt x="39996" y="93337"/>
                    </a:cubicBezTo>
                    <a:close/>
                    <a:moveTo>
                      <a:pt x="39996" y="13335"/>
                    </a:moveTo>
                    <a:cubicBezTo>
                      <a:pt x="20337" y="13335"/>
                      <a:pt x="13346" y="30555"/>
                      <a:pt x="13346" y="46671"/>
                    </a:cubicBezTo>
                    <a:cubicBezTo>
                      <a:pt x="13346" y="62784"/>
                      <a:pt x="20337" y="80006"/>
                      <a:pt x="39996" y="80006"/>
                    </a:cubicBezTo>
                    <a:cubicBezTo>
                      <a:pt x="59654" y="80006"/>
                      <a:pt x="66666" y="62786"/>
                      <a:pt x="66666" y="46671"/>
                    </a:cubicBezTo>
                    <a:cubicBezTo>
                      <a:pt x="66666" y="30557"/>
                      <a:pt x="59675" y="13335"/>
                      <a:pt x="39996" y="13335"/>
                    </a:cubicBezTo>
                    <a:close/>
                  </a:path>
                </a:pathLst>
              </a:custGeom>
              <a:solidFill>
                <a:schemeClr val="tx2"/>
              </a:solidFill>
              <a:ln w="205" cap="flat">
                <a:noFill/>
                <a:prstDash val="solid"/>
                <a:miter/>
              </a:ln>
            </p:spPr>
            <p:txBody>
              <a:bodyPr rtlCol="0" anchor="ctr"/>
              <a:lstStyle/>
              <a:p>
                <a:endParaRPr lang="en-GB" dirty="0"/>
              </a:p>
            </p:txBody>
          </p:sp>
          <p:sp>
            <p:nvSpPr>
              <p:cNvPr id="527" name="Freihandform: Form 526">
                <a:extLst>
                  <a:ext uri="{FF2B5EF4-FFF2-40B4-BE49-F238E27FC236}">
                    <a16:creationId xmlns:a16="http://schemas.microsoft.com/office/drawing/2014/main" id="{E1216F7B-1F68-401C-AFA4-6015DE7DDC08}"/>
                  </a:ext>
                </a:extLst>
              </p:cNvPr>
              <p:cNvSpPr/>
              <p:nvPr/>
            </p:nvSpPr>
            <p:spPr>
              <a:xfrm>
                <a:off x="2538237" y="2626790"/>
                <a:ext cx="134591" cy="79995"/>
              </a:xfrm>
              <a:custGeom>
                <a:avLst/>
                <a:gdLst>
                  <a:gd name="connsiteX0" fmla="*/ 113337 w 134591"/>
                  <a:gd name="connsiteY0" fmla="*/ 79996 h 79995"/>
                  <a:gd name="connsiteX1" fmla="*/ 0 w 134591"/>
                  <a:gd name="connsiteY1" fmla="*/ 79996 h 79995"/>
                  <a:gd name="connsiteX2" fmla="*/ 0 w 134591"/>
                  <a:gd name="connsiteY2" fmla="*/ 73329 h 79995"/>
                  <a:gd name="connsiteX3" fmla="*/ 72469 w 134591"/>
                  <a:gd name="connsiteY3" fmla="*/ 0 h 79995"/>
                  <a:gd name="connsiteX4" fmla="*/ 114203 w 134591"/>
                  <a:gd name="connsiteY4" fmla="*/ 0 h 79995"/>
                  <a:gd name="connsiteX5" fmla="*/ 129841 w 134591"/>
                  <a:gd name="connsiteY5" fmla="*/ 2367 h 79995"/>
                  <a:gd name="connsiteX6" fmla="*/ 134307 w 134591"/>
                  <a:gd name="connsiteY6" fmla="*/ 10670 h 79995"/>
                  <a:gd name="connsiteX7" fmla="*/ 126000 w 134591"/>
                  <a:gd name="connsiteY7" fmla="*/ 15133 h 79995"/>
                  <a:gd name="connsiteX8" fmla="*/ 114203 w 134591"/>
                  <a:gd name="connsiteY8" fmla="*/ 13333 h 79995"/>
                  <a:gd name="connsiteX9" fmla="*/ 72469 w 134591"/>
                  <a:gd name="connsiteY9" fmla="*/ 13333 h 79995"/>
                  <a:gd name="connsiteX10" fmla="*/ 13718 w 134591"/>
                  <a:gd name="connsiteY10" fmla="*/ 66662 h 79995"/>
                  <a:gd name="connsiteX11" fmla="*/ 113337 w 134591"/>
                  <a:gd name="connsiteY11" fmla="*/ 66662 h 79995"/>
                  <a:gd name="connsiteX12" fmla="*/ 120004 w 134591"/>
                  <a:gd name="connsiteY12" fmla="*/ 73329 h 79995"/>
                  <a:gd name="connsiteX13" fmla="*/ 113337 w 134591"/>
                  <a:gd name="connsiteY13" fmla="*/ 79996 h 7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4591" h="79995">
                    <a:moveTo>
                      <a:pt x="113337" y="79996"/>
                    </a:moveTo>
                    <a:lnTo>
                      <a:pt x="0" y="79996"/>
                    </a:lnTo>
                    <a:lnTo>
                      <a:pt x="0" y="73329"/>
                    </a:lnTo>
                    <a:cubicBezTo>
                      <a:pt x="0" y="33582"/>
                      <a:pt x="33185" y="0"/>
                      <a:pt x="72469" y="0"/>
                    </a:cubicBezTo>
                    <a:lnTo>
                      <a:pt x="114203" y="0"/>
                    </a:lnTo>
                    <a:cubicBezTo>
                      <a:pt x="121716" y="0"/>
                      <a:pt x="123349" y="413"/>
                      <a:pt x="129841" y="2367"/>
                    </a:cubicBezTo>
                    <a:cubicBezTo>
                      <a:pt x="133370" y="3428"/>
                      <a:pt x="135368" y="7146"/>
                      <a:pt x="134307" y="10670"/>
                    </a:cubicBezTo>
                    <a:cubicBezTo>
                      <a:pt x="133240" y="14193"/>
                      <a:pt x="129535" y="16187"/>
                      <a:pt x="126000" y="15133"/>
                    </a:cubicBezTo>
                    <a:cubicBezTo>
                      <a:pt x="120244" y="13401"/>
                      <a:pt x="120016" y="13333"/>
                      <a:pt x="114203" y="13333"/>
                    </a:cubicBezTo>
                    <a:lnTo>
                      <a:pt x="72469" y="13333"/>
                    </a:lnTo>
                    <a:cubicBezTo>
                      <a:pt x="42632" y="13333"/>
                      <a:pt x="17103" y="37139"/>
                      <a:pt x="13718" y="66662"/>
                    </a:cubicBezTo>
                    <a:lnTo>
                      <a:pt x="113337" y="66662"/>
                    </a:lnTo>
                    <a:cubicBezTo>
                      <a:pt x="117022" y="66662"/>
                      <a:pt x="120004" y="69648"/>
                      <a:pt x="120004" y="73329"/>
                    </a:cubicBezTo>
                    <a:cubicBezTo>
                      <a:pt x="120004" y="77010"/>
                      <a:pt x="117022" y="79996"/>
                      <a:pt x="113337" y="79996"/>
                    </a:cubicBezTo>
                    <a:close/>
                  </a:path>
                </a:pathLst>
              </a:custGeom>
              <a:solidFill>
                <a:schemeClr val="tx2"/>
              </a:solidFill>
              <a:ln w="205" cap="flat">
                <a:noFill/>
                <a:prstDash val="solid"/>
                <a:miter/>
              </a:ln>
            </p:spPr>
            <p:txBody>
              <a:bodyPr rtlCol="0" anchor="ctr"/>
              <a:lstStyle/>
              <a:p>
                <a:endParaRPr lang="en-GB" dirty="0"/>
              </a:p>
            </p:txBody>
          </p:sp>
          <p:sp>
            <p:nvSpPr>
              <p:cNvPr id="528" name="Freihandform: Form 527">
                <a:extLst>
                  <a:ext uri="{FF2B5EF4-FFF2-40B4-BE49-F238E27FC236}">
                    <a16:creationId xmlns:a16="http://schemas.microsoft.com/office/drawing/2014/main" id="{1C3E9708-863B-48A2-8D0F-EB35B1B9540E}"/>
                  </a:ext>
                </a:extLst>
              </p:cNvPr>
              <p:cNvSpPr/>
              <p:nvPr/>
            </p:nvSpPr>
            <p:spPr>
              <a:xfrm>
                <a:off x="2591570" y="2520118"/>
                <a:ext cx="80003" cy="93336"/>
              </a:xfrm>
              <a:custGeom>
                <a:avLst/>
                <a:gdLst>
                  <a:gd name="connsiteX0" fmla="*/ 40002 w 80003"/>
                  <a:gd name="connsiteY0" fmla="*/ 93337 h 93336"/>
                  <a:gd name="connsiteX1" fmla="*/ 0 w 80003"/>
                  <a:gd name="connsiteY1" fmla="*/ 46668 h 93336"/>
                  <a:gd name="connsiteX2" fmla="*/ 40002 w 80003"/>
                  <a:gd name="connsiteY2" fmla="*/ 0 h 93336"/>
                  <a:gd name="connsiteX3" fmla="*/ 80004 w 80003"/>
                  <a:gd name="connsiteY3" fmla="*/ 46668 h 93336"/>
                  <a:gd name="connsiteX4" fmla="*/ 40002 w 80003"/>
                  <a:gd name="connsiteY4" fmla="*/ 93337 h 93336"/>
                  <a:gd name="connsiteX5" fmla="*/ 40002 w 80003"/>
                  <a:gd name="connsiteY5" fmla="*/ 13335 h 93336"/>
                  <a:gd name="connsiteX6" fmla="*/ 13335 w 80003"/>
                  <a:gd name="connsiteY6" fmla="*/ 46671 h 93336"/>
                  <a:gd name="connsiteX7" fmla="*/ 40002 w 80003"/>
                  <a:gd name="connsiteY7" fmla="*/ 80006 h 93336"/>
                  <a:gd name="connsiteX8" fmla="*/ 66668 w 80003"/>
                  <a:gd name="connsiteY8" fmla="*/ 46671 h 93336"/>
                  <a:gd name="connsiteX9" fmla="*/ 40002 w 80003"/>
                  <a:gd name="connsiteY9" fmla="*/ 13335 h 9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03" h="93336">
                    <a:moveTo>
                      <a:pt x="40002" y="93337"/>
                    </a:moveTo>
                    <a:cubicBezTo>
                      <a:pt x="16077" y="93337"/>
                      <a:pt x="0" y="74583"/>
                      <a:pt x="0" y="46668"/>
                    </a:cubicBezTo>
                    <a:cubicBezTo>
                      <a:pt x="0" y="18754"/>
                      <a:pt x="16074" y="0"/>
                      <a:pt x="40002" y="0"/>
                    </a:cubicBezTo>
                    <a:cubicBezTo>
                      <a:pt x="63929" y="0"/>
                      <a:pt x="80004" y="18754"/>
                      <a:pt x="80004" y="46668"/>
                    </a:cubicBezTo>
                    <a:cubicBezTo>
                      <a:pt x="80004" y="74583"/>
                      <a:pt x="63929" y="93337"/>
                      <a:pt x="40002" y="93337"/>
                    </a:cubicBezTo>
                    <a:close/>
                    <a:moveTo>
                      <a:pt x="40002" y="13335"/>
                    </a:moveTo>
                    <a:cubicBezTo>
                      <a:pt x="20339" y="13335"/>
                      <a:pt x="13335" y="30555"/>
                      <a:pt x="13335" y="46671"/>
                    </a:cubicBezTo>
                    <a:cubicBezTo>
                      <a:pt x="13335" y="62784"/>
                      <a:pt x="20341" y="80006"/>
                      <a:pt x="40002" y="80006"/>
                    </a:cubicBezTo>
                    <a:cubicBezTo>
                      <a:pt x="59665" y="80006"/>
                      <a:pt x="66668" y="62786"/>
                      <a:pt x="66668" y="46671"/>
                    </a:cubicBezTo>
                    <a:cubicBezTo>
                      <a:pt x="66671" y="30557"/>
                      <a:pt x="59665" y="13335"/>
                      <a:pt x="40002" y="13335"/>
                    </a:cubicBezTo>
                    <a:close/>
                  </a:path>
                </a:pathLst>
              </a:custGeom>
              <a:solidFill>
                <a:schemeClr val="tx2"/>
              </a:solidFill>
              <a:ln w="205" cap="flat">
                <a:noFill/>
                <a:prstDash val="solid"/>
                <a:miter/>
              </a:ln>
            </p:spPr>
            <p:txBody>
              <a:bodyPr rtlCol="0" anchor="ctr"/>
              <a:lstStyle/>
              <a:p>
                <a:endParaRPr lang="en-GB" dirty="0"/>
              </a:p>
            </p:txBody>
          </p:sp>
        </p:grpSp>
        <p:grpSp>
          <p:nvGrpSpPr>
            <p:cNvPr id="515" name="Grafik 348">
              <a:extLst>
                <a:ext uri="{FF2B5EF4-FFF2-40B4-BE49-F238E27FC236}">
                  <a16:creationId xmlns:a16="http://schemas.microsoft.com/office/drawing/2014/main" id="{D21404C9-E609-4516-837D-5A98574C70C1}"/>
                </a:ext>
              </a:extLst>
            </p:cNvPr>
            <p:cNvGrpSpPr/>
            <p:nvPr/>
          </p:nvGrpSpPr>
          <p:grpSpPr>
            <a:xfrm>
              <a:off x="2703758" y="2622695"/>
              <a:ext cx="309649" cy="258646"/>
              <a:chOff x="2611569" y="2639319"/>
              <a:chExt cx="296278" cy="247477"/>
            </a:xfrm>
            <a:solidFill>
              <a:schemeClr val="accent1"/>
            </a:solidFill>
          </p:grpSpPr>
          <p:sp>
            <p:nvSpPr>
              <p:cNvPr id="516" name="Freihandform: Form 515">
                <a:extLst>
                  <a:ext uri="{FF2B5EF4-FFF2-40B4-BE49-F238E27FC236}">
                    <a16:creationId xmlns:a16="http://schemas.microsoft.com/office/drawing/2014/main" id="{38A89DFB-E815-4D30-8EA3-20C8B73BFE9D}"/>
                  </a:ext>
                </a:extLst>
              </p:cNvPr>
              <p:cNvSpPr/>
              <p:nvPr/>
            </p:nvSpPr>
            <p:spPr>
              <a:xfrm>
                <a:off x="2660375" y="2639319"/>
                <a:ext cx="247473" cy="247477"/>
              </a:xfrm>
              <a:custGeom>
                <a:avLst/>
                <a:gdLst>
                  <a:gd name="connsiteX0" fmla="*/ 123734 w 247473"/>
                  <a:gd name="connsiteY0" fmla="*/ 247478 h 247477"/>
                  <a:gd name="connsiteX1" fmla="*/ 32130 w 247473"/>
                  <a:gd name="connsiteY1" fmla="*/ 206927 h 247477"/>
                  <a:gd name="connsiteX2" fmla="*/ 32578 w 247473"/>
                  <a:gd name="connsiteY2" fmla="*/ 197509 h 247477"/>
                  <a:gd name="connsiteX3" fmla="*/ 41998 w 247473"/>
                  <a:gd name="connsiteY3" fmla="*/ 197961 h 247477"/>
                  <a:gd name="connsiteX4" fmla="*/ 123734 w 247473"/>
                  <a:gd name="connsiteY4" fmla="*/ 234144 h 247477"/>
                  <a:gd name="connsiteX5" fmla="*/ 234149 w 247473"/>
                  <a:gd name="connsiteY5" fmla="*/ 123738 h 247477"/>
                  <a:gd name="connsiteX6" fmla="*/ 123734 w 247473"/>
                  <a:gd name="connsiteY6" fmla="*/ 13333 h 247477"/>
                  <a:gd name="connsiteX7" fmla="*/ 13333 w 247473"/>
                  <a:gd name="connsiteY7" fmla="*/ 123738 h 247477"/>
                  <a:gd name="connsiteX8" fmla="*/ 27956 w 247473"/>
                  <a:gd name="connsiteY8" fmla="*/ 178691 h 247477"/>
                  <a:gd name="connsiteX9" fmla="*/ 25501 w 247473"/>
                  <a:gd name="connsiteY9" fmla="*/ 187793 h 247477"/>
                  <a:gd name="connsiteX10" fmla="*/ 16393 w 247473"/>
                  <a:gd name="connsiteY10" fmla="*/ 185337 h 247477"/>
                  <a:gd name="connsiteX11" fmla="*/ 0 w 247473"/>
                  <a:gd name="connsiteY11" fmla="*/ 123738 h 247477"/>
                  <a:gd name="connsiteX12" fmla="*/ 123734 w 247473"/>
                  <a:gd name="connsiteY12" fmla="*/ 0 h 247477"/>
                  <a:gd name="connsiteX13" fmla="*/ 247474 w 247473"/>
                  <a:gd name="connsiteY13" fmla="*/ 123738 h 247477"/>
                  <a:gd name="connsiteX14" fmla="*/ 123734 w 247473"/>
                  <a:gd name="connsiteY14" fmla="*/ 247478 h 24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7473" h="247477">
                    <a:moveTo>
                      <a:pt x="123734" y="247478"/>
                    </a:moveTo>
                    <a:cubicBezTo>
                      <a:pt x="88940" y="247478"/>
                      <a:pt x="55554" y="232699"/>
                      <a:pt x="32130" y="206927"/>
                    </a:cubicBezTo>
                    <a:cubicBezTo>
                      <a:pt x="29656" y="204202"/>
                      <a:pt x="29858" y="199987"/>
                      <a:pt x="32578" y="197509"/>
                    </a:cubicBezTo>
                    <a:cubicBezTo>
                      <a:pt x="35299" y="195045"/>
                      <a:pt x="39525" y="195230"/>
                      <a:pt x="41998" y="197961"/>
                    </a:cubicBezTo>
                    <a:cubicBezTo>
                      <a:pt x="62897" y="220957"/>
                      <a:pt x="92689" y="234144"/>
                      <a:pt x="123734" y="234144"/>
                    </a:cubicBezTo>
                    <a:cubicBezTo>
                      <a:pt x="184613" y="234144"/>
                      <a:pt x="234149" y="184616"/>
                      <a:pt x="234149" y="123738"/>
                    </a:cubicBezTo>
                    <a:cubicBezTo>
                      <a:pt x="234149" y="62860"/>
                      <a:pt x="184613" y="13333"/>
                      <a:pt x="123734" y="13333"/>
                    </a:cubicBezTo>
                    <a:cubicBezTo>
                      <a:pt x="62860" y="13333"/>
                      <a:pt x="13333" y="62860"/>
                      <a:pt x="13333" y="123738"/>
                    </a:cubicBezTo>
                    <a:cubicBezTo>
                      <a:pt x="13333" y="143057"/>
                      <a:pt x="18392" y="162060"/>
                      <a:pt x="27956" y="178691"/>
                    </a:cubicBezTo>
                    <a:cubicBezTo>
                      <a:pt x="29792" y="181881"/>
                      <a:pt x="28692" y="185956"/>
                      <a:pt x="25501" y="187793"/>
                    </a:cubicBezTo>
                    <a:cubicBezTo>
                      <a:pt x="22297" y="189629"/>
                      <a:pt x="18236" y="188529"/>
                      <a:pt x="16393" y="185337"/>
                    </a:cubicBezTo>
                    <a:cubicBezTo>
                      <a:pt x="5669" y="166689"/>
                      <a:pt x="0" y="145385"/>
                      <a:pt x="0" y="123738"/>
                    </a:cubicBezTo>
                    <a:cubicBezTo>
                      <a:pt x="0" y="55511"/>
                      <a:pt x="55509" y="0"/>
                      <a:pt x="123734" y="0"/>
                    </a:cubicBezTo>
                    <a:cubicBezTo>
                      <a:pt x="191965" y="0"/>
                      <a:pt x="247474" y="55509"/>
                      <a:pt x="247474" y="123738"/>
                    </a:cubicBezTo>
                    <a:cubicBezTo>
                      <a:pt x="247474" y="191969"/>
                      <a:pt x="191965" y="247478"/>
                      <a:pt x="123734" y="247478"/>
                    </a:cubicBezTo>
                    <a:close/>
                  </a:path>
                </a:pathLst>
              </a:custGeom>
              <a:solidFill>
                <a:schemeClr val="accent1"/>
              </a:solidFill>
              <a:ln w="205" cap="flat">
                <a:noFill/>
                <a:prstDash val="solid"/>
                <a:miter/>
              </a:ln>
            </p:spPr>
            <p:txBody>
              <a:bodyPr rtlCol="0" anchor="ctr"/>
              <a:lstStyle/>
              <a:p>
                <a:endParaRPr lang="en-GB" dirty="0"/>
              </a:p>
            </p:txBody>
          </p:sp>
          <p:sp>
            <p:nvSpPr>
              <p:cNvPr id="517" name="Freihandform: Form 516">
                <a:extLst>
                  <a:ext uri="{FF2B5EF4-FFF2-40B4-BE49-F238E27FC236}">
                    <a16:creationId xmlns:a16="http://schemas.microsoft.com/office/drawing/2014/main" id="{566C7F1F-117C-4B3D-8DC4-8C6D40AECEFB}"/>
                  </a:ext>
                </a:extLst>
              </p:cNvPr>
              <p:cNvSpPr/>
              <p:nvPr/>
            </p:nvSpPr>
            <p:spPr>
              <a:xfrm>
                <a:off x="2739979" y="2718928"/>
                <a:ext cx="88257" cy="88259"/>
              </a:xfrm>
              <a:custGeom>
                <a:avLst/>
                <a:gdLst>
                  <a:gd name="connsiteX0" fmla="*/ 44129 w 88257"/>
                  <a:gd name="connsiteY0" fmla="*/ 88260 h 88259"/>
                  <a:gd name="connsiteX1" fmla="*/ 26290 w 88257"/>
                  <a:gd name="connsiteY1" fmla="*/ 84503 h 88259"/>
                  <a:gd name="connsiteX2" fmla="*/ 22891 w 88257"/>
                  <a:gd name="connsiteY2" fmla="*/ 75710 h 88259"/>
                  <a:gd name="connsiteX3" fmla="*/ 31680 w 88257"/>
                  <a:gd name="connsiteY3" fmla="*/ 72309 h 88259"/>
                  <a:gd name="connsiteX4" fmla="*/ 44129 w 88257"/>
                  <a:gd name="connsiteY4" fmla="*/ 74927 h 88259"/>
                  <a:gd name="connsiteX5" fmla="*/ 74924 w 88257"/>
                  <a:gd name="connsiteY5" fmla="*/ 44129 h 88259"/>
                  <a:gd name="connsiteX6" fmla="*/ 44129 w 88257"/>
                  <a:gd name="connsiteY6" fmla="*/ 13333 h 88259"/>
                  <a:gd name="connsiteX7" fmla="*/ 13333 w 88257"/>
                  <a:gd name="connsiteY7" fmla="*/ 44129 h 88259"/>
                  <a:gd name="connsiteX8" fmla="*/ 17051 w 88257"/>
                  <a:gd name="connsiteY8" fmla="*/ 58803 h 88259"/>
                  <a:gd name="connsiteX9" fmla="*/ 14376 w 88257"/>
                  <a:gd name="connsiteY9" fmla="*/ 67847 h 88259"/>
                  <a:gd name="connsiteX10" fmla="*/ 5332 w 88257"/>
                  <a:gd name="connsiteY10" fmla="*/ 65171 h 88259"/>
                  <a:gd name="connsiteX11" fmla="*/ 0 w 88257"/>
                  <a:gd name="connsiteY11" fmla="*/ 44129 h 88259"/>
                  <a:gd name="connsiteX12" fmla="*/ 44129 w 88257"/>
                  <a:gd name="connsiteY12" fmla="*/ 0 h 88259"/>
                  <a:gd name="connsiteX13" fmla="*/ 88258 w 88257"/>
                  <a:gd name="connsiteY13" fmla="*/ 44129 h 88259"/>
                  <a:gd name="connsiteX14" fmla="*/ 44129 w 88257"/>
                  <a:gd name="connsiteY14" fmla="*/ 88260 h 88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8257" h="88259">
                    <a:moveTo>
                      <a:pt x="44129" y="88260"/>
                    </a:moveTo>
                    <a:cubicBezTo>
                      <a:pt x="37925" y="88260"/>
                      <a:pt x="31920" y="86997"/>
                      <a:pt x="26290" y="84503"/>
                    </a:cubicBezTo>
                    <a:cubicBezTo>
                      <a:pt x="22924" y="83012"/>
                      <a:pt x="21400" y="79076"/>
                      <a:pt x="22891" y="75710"/>
                    </a:cubicBezTo>
                    <a:cubicBezTo>
                      <a:pt x="24382" y="72348"/>
                      <a:pt x="28334" y="70826"/>
                      <a:pt x="31680" y="72309"/>
                    </a:cubicBezTo>
                    <a:cubicBezTo>
                      <a:pt x="35605" y="74047"/>
                      <a:pt x="39792" y="74927"/>
                      <a:pt x="44129" y="74927"/>
                    </a:cubicBezTo>
                    <a:cubicBezTo>
                      <a:pt x="61108" y="74927"/>
                      <a:pt x="74924" y="61110"/>
                      <a:pt x="74924" y="44129"/>
                    </a:cubicBezTo>
                    <a:cubicBezTo>
                      <a:pt x="74924" y="27150"/>
                      <a:pt x="61108" y="13333"/>
                      <a:pt x="44129" y="13333"/>
                    </a:cubicBezTo>
                    <a:cubicBezTo>
                      <a:pt x="27150" y="13333"/>
                      <a:pt x="13333" y="27150"/>
                      <a:pt x="13333" y="44129"/>
                    </a:cubicBezTo>
                    <a:cubicBezTo>
                      <a:pt x="13333" y="49255"/>
                      <a:pt x="14616" y="54330"/>
                      <a:pt x="17051" y="58803"/>
                    </a:cubicBezTo>
                    <a:cubicBezTo>
                      <a:pt x="18809" y="62040"/>
                      <a:pt x="17610" y="66089"/>
                      <a:pt x="14376" y="67847"/>
                    </a:cubicBezTo>
                    <a:cubicBezTo>
                      <a:pt x="11147" y="69595"/>
                      <a:pt x="7090" y="68406"/>
                      <a:pt x="5332" y="65171"/>
                    </a:cubicBezTo>
                    <a:cubicBezTo>
                      <a:pt x="1842" y="58745"/>
                      <a:pt x="0" y="51470"/>
                      <a:pt x="0" y="44129"/>
                    </a:cubicBezTo>
                    <a:cubicBezTo>
                      <a:pt x="0" y="19796"/>
                      <a:pt x="19798" y="0"/>
                      <a:pt x="44129" y="0"/>
                    </a:cubicBezTo>
                    <a:cubicBezTo>
                      <a:pt x="68459" y="0"/>
                      <a:pt x="88258" y="19796"/>
                      <a:pt x="88258" y="44129"/>
                    </a:cubicBezTo>
                    <a:cubicBezTo>
                      <a:pt x="88258" y="68462"/>
                      <a:pt x="68459" y="88260"/>
                      <a:pt x="44129" y="88260"/>
                    </a:cubicBezTo>
                    <a:close/>
                  </a:path>
                </a:pathLst>
              </a:custGeom>
              <a:solidFill>
                <a:schemeClr val="accent1"/>
              </a:solidFill>
              <a:ln w="205" cap="flat">
                <a:noFill/>
                <a:prstDash val="solid"/>
                <a:miter/>
              </a:ln>
            </p:spPr>
            <p:txBody>
              <a:bodyPr rtlCol="0" anchor="ctr"/>
              <a:lstStyle/>
              <a:p>
                <a:endParaRPr lang="en-GB" dirty="0"/>
              </a:p>
            </p:txBody>
          </p:sp>
          <p:sp>
            <p:nvSpPr>
              <p:cNvPr id="518" name="Freihandform: Form 517">
                <a:extLst>
                  <a:ext uri="{FF2B5EF4-FFF2-40B4-BE49-F238E27FC236}">
                    <a16:creationId xmlns:a16="http://schemas.microsoft.com/office/drawing/2014/main" id="{5D9A6334-3597-4218-9306-9A65B9DE6BC7}"/>
                  </a:ext>
                </a:extLst>
              </p:cNvPr>
              <p:cNvSpPr/>
              <p:nvPr/>
            </p:nvSpPr>
            <p:spPr>
              <a:xfrm>
                <a:off x="2697835" y="2676781"/>
                <a:ext cx="172551" cy="172553"/>
              </a:xfrm>
              <a:custGeom>
                <a:avLst/>
                <a:gdLst>
                  <a:gd name="connsiteX0" fmla="*/ 86273 w 172551"/>
                  <a:gd name="connsiteY0" fmla="*/ 172553 h 172553"/>
                  <a:gd name="connsiteX1" fmla="*/ 28237 w 172551"/>
                  <a:gd name="connsiteY1" fmla="*/ 150114 h 172553"/>
                  <a:gd name="connsiteX2" fmla="*/ 27789 w 172551"/>
                  <a:gd name="connsiteY2" fmla="*/ 140696 h 172553"/>
                  <a:gd name="connsiteX3" fmla="*/ 37209 w 172551"/>
                  <a:gd name="connsiteY3" fmla="*/ 140250 h 172553"/>
                  <a:gd name="connsiteX4" fmla="*/ 86273 w 172551"/>
                  <a:gd name="connsiteY4" fmla="*/ 159220 h 172553"/>
                  <a:gd name="connsiteX5" fmla="*/ 159218 w 172551"/>
                  <a:gd name="connsiteY5" fmla="*/ 86276 h 172553"/>
                  <a:gd name="connsiteX6" fmla="*/ 86273 w 172551"/>
                  <a:gd name="connsiteY6" fmla="*/ 13333 h 172553"/>
                  <a:gd name="connsiteX7" fmla="*/ 13335 w 172551"/>
                  <a:gd name="connsiteY7" fmla="*/ 86276 h 172553"/>
                  <a:gd name="connsiteX8" fmla="*/ 23134 w 172551"/>
                  <a:gd name="connsiteY8" fmla="*/ 122817 h 172553"/>
                  <a:gd name="connsiteX9" fmla="*/ 20711 w 172551"/>
                  <a:gd name="connsiteY9" fmla="*/ 131932 h 172553"/>
                  <a:gd name="connsiteX10" fmla="*/ 11596 w 172551"/>
                  <a:gd name="connsiteY10" fmla="*/ 129510 h 172553"/>
                  <a:gd name="connsiteX11" fmla="*/ 0 w 172551"/>
                  <a:gd name="connsiteY11" fmla="*/ 86276 h 172553"/>
                  <a:gd name="connsiteX12" fmla="*/ 86271 w 172551"/>
                  <a:gd name="connsiteY12" fmla="*/ 0 h 172553"/>
                  <a:gd name="connsiteX13" fmla="*/ 172551 w 172551"/>
                  <a:gd name="connsiteY13" fmla="*/ 86276 h 172553"/>
                  <a:gd name="connsiteX14" fmla="*/ 86273 w 172551"/>
                  <a:gd name="connsiteY14" fmla="*/ 172553 h 17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551" h="172553">
                    <a:moveTo>
                      <a:pt x="86273" y="172553"/>
                    </a:moveTo>
                    <a:cubicBezTo>
                      <a:pt x="64756" y="172553"/>
                      <a:pt x="44150" y="164585"/>
                      <a:pt x="28237" y="150114"/>
                    </a:cubicBezTo>
                    <a:cubicBezTo>
                      <a:pt x="25517" y="147637"/>
                      <a:pt x="25313" y="143421"/>
                      <a:pt x="27789" y="140696"/>
                    </a:cubicBezTo>
                    <a:cubicBezTo>
                      <a:pt x="30284" y="137976"/>
                      <a:pt x="34495" y="137781"/>
                      <a:pt x="37209" y="140250"/>
                    </a:cubicBezTo>
                    <a:cubicBezTo>
                      <a:pt x="50660" y="152483"/>
                      <a:pt x="68083" y="159220"/>
                      <a:pt x="86273" y="159220"/>
                    </a:cubicBezTo>
                    <a:cubicBezTo>
                      <a:pt x="126495" y="159220"/>
                      <a:pt x="159218" y="126497"/>
                      <a:pt x="159218" y="86276"/>
                    </a:cubicBezTo>
                    <a:cubicBezTo>
                      <a:pt x="159218" y="46056"/>
                      <a:pt x="126495" y="13333"/>
                      <a:pt x="86273" y="13333"/>
                    </a:cubicBezTo>
                    <a:cubicBezTo>
                      <a:pt x="46058" y="13333"/>
                      <a:pt x="13335" y="46056"/>
                      <a:pt x="13335" y="86276"/>
                    </a:cubicBezTo>
                    <a:cubicBezTo>
                      <a:pt x="13335" y="99134"/>
                      <a:pt x="16720" y="111768"/>
                      <a:pt x="23134" y="122817"/>
                    </a:cubicBezTo>
                    <a:cubicBezTo>
                      <a:pt x="24982" y="126004"/>
                      <a:pt x="23895" y="130082"/>
                      <a:pt x="20711" y="131932"/>
                    </a:cubicBezTo>
                    <a:cubicBezTo>
                      <a:pt x="17522" y="133785"/>
                      <a:pt x="13446" y="132697"/>
                      <a:pt x="11596" y="129510"/>
                    </a:cubicBezTo>
                    <a:cubicBezTo>
                      <a:pt x="4010" y="116430"/>
                      <a:pt x="0" y="101482"/>
                      <a:pt x="0" y="86276"/>
                    </a:cubicBezTo>
                    <a:cubicBezTo>
                      <a:pt x="0" y="38702"/>
                      <a:pt x="38700" y="0"/>
                      <a:pt x="86271" y="0"/>
                    </a:cubicBezTo>
                    <a:cubicBezTo>
                      <a:pt x="133843" y="0"/>
                      <a:pt x="172551" y="38702"/>
                      <a:pt x="172551" y="86276"/>
                    </a:cubicBezTo>
                    <a:cubicBezTo>
                      <a:pt x="172553" y="133849"/>
                      <a:pt x="133847" y="172553"/>
                      <a:pt x="86273" y="172553"/>
                    </a:cubicBezTo>
                    <a:close/>
                  </a:path>
                </a:pathLst>
              </a:custGeom>
              <a:solidFill>
                <a:schemeClr val="accent1"/>
              </a:solidFill>
              <a:ln w="205" cap="flat">
                <a:noFill/>
                <a:prstDash val="solid"/>
                <a:miter/>
              </a:ln>
            </p:spPr>
            <p:txBody>
              <a:bodyPr rtlCol="0" anchor="ctr"/>
              <a:lstStyle/>
              <a:p>
                <a:endParaRPr lang="en-GB" dirty="0"/>
              </a:p>
            </p:txBody>
          </p:sp>
          <p:grpSp>
            <p:nvGrpSpPr>
              <p:cNvPr id="519" name="Grafik 348">
                <a:extLst>
                  <a:ext uri="{FF2B5EF4-FFF2-40B4-BE49-F238E27FC236}">
                    <a16:creationId xmlns:a16="http://schemas.microsoft.com/office/drawing/2014/main" id="{DFEEBA5A-7147-41E6-8467-6292488B523F}"/>
                  </a:ext>
                </a:extLst>
              </p:cNvPr>
              <p:cNvGrpSpPr/>
              <p:nvPr/>
            </p:nvGrpSpPr>
            <p:grpSpPr>
              <a:xfrm>
                <a:off x="2611569" y="2756409"/>
                <a:ext cx="179154" cy="122584"/>
                <a:chOff x="2611569" y="2756409"/>
                <a:chExt cx="179154" cy="122584"/>
              </a:xfrm>
              <a:solidFill>
                <a:schemeClr val="accent1"/>
              </a:solidFill>
            </p:grpSpPr>
            <p:sp>
              <p:nvSpPr>
                <p:cNvPr id="520" name="Freihandform: Form 519">
                  <a:extLst>
                    <a:ext uri="{FF2B5EF4-FFF2-40B4-BE49-F238E27FC236}">
                      <a16:creationId xmlns:a16="http://schemas.microsoft.com/office/drawing/2014/main" id="{4258D2A0-F72D-4411-B1D3-D9FEF0C9AE00}"/>
                    </a:ext>
                  </a:extLst>
                </p:cNvPr>
                <p:cNvSpPr/>
                <p:nvPr/>
              </p:nvSpPr>
              <p:spPr>
                <a:xfrm>
                  <a:off x="2611569" y="2808718"/>
                  <a:ext cx="65595" cy="42973"/>
                </a:xfrm>
                <a:custGeom>
                  <a:avLst/>
                  <a:gdLst>
                    <a:gd name="connsiteX0" fmla="*/ 30543 w 65595"/>
                    <a:gd name="connsiteY0" fmla="*/ 42973 h 42973"/>
                    <a:gd name="connsiteX1" fmla="*/ 27306 w 65595"/>
                    <a:gd name="connsiteY1" fmla="*/ 42137 h 42973"/>
                    <a:gd name="connsiteX2" fmla="*/ 3432 w 65595"/>
                    <a:gd name="connsiteY2" fmla="*/ 28883 h 42973"/>
                    <a:gd name="connsiteX3" fmla="*/ 0 w 65595"/>
                    <a:gd name="connsiteY3" fmla="*/ 23109 h 42973"/>
                    <a:gd name="connsiteX4" fmla="*/ 3334 w 65595"/>
                    <a:gd name="connsiteY4" fmla="*/ 17280 h 42973"/>
                    <a:gd name="connsiteX5" fmla="*/ 31719 w 65595"/>
                    <a:gd name="connsiteY5" fmla="*/ 889 h 42973"/>
                    <a:gd name="connsiteX6" fmla="*/ 38289 w 65595"/>
                    <a:gd name="connsiteY6" fmla="*/ 833 h 42973"/>
                    <a:gd name="connsiteX7" fmla="*/ 62163 w 65595"/>
                    <a:gd name="connsiteY7" fmla="*/ 14086 h 42973"/>
                    <a:gd name="connsiteX8" fmla="*/ 65595 w 65595"/>
                    <a:gd name="connsiteY8" fmla="*/ 19860 h 42973"/>
                    <a:gd name="connsiteX9" fmla="*/ 62262 w 65595"/>
                    <a:gd name="connsiteY9" fmla="*/ 25690 h 42973"/>
                    <a:gd name="connsiteX10" fmla="*/ 33876 w 65595"/>
                    <a:gd name="connsiteY10" fmla="*/ 42081 h 42973"/>
                    <a:gd name="connsiteX11" fmla="*/ 30543 w 65595"/>
                    <a:gd name="connsiteY11" fmla="*/ 42973 h 42973"/>
                    <a:gd name="connsiteX12" fmla="*/ 20198 w 65595"/>
                    <a:gd name="connsiteY12" fmla="*/ 22941 h 42973"/>
                    <a:gd name="connsiteX13" fmla="*/ 30477 w 65595"/>
                    <a:gd name="connsiteY13" fmla="*/ 28647 h 42973"/>
                    <a:gd name="connsiteX14" fmla="*/ 45400 w 65595"/>
                    <a:gd name="connsiteY14" fmla="*/ 20031 h 42973"/>
                    <a:gd name="connsiteX15" fmla="*/ 35120 w 65595"/>
                    <a:gd name="connsiteY15" fmla="*/ 14325 h 42973"/>
                    <a:gd name="connsiteX16" fmla="*/ 20198 w 65595"/>
                    <a:gd name="connsiteY16" fmla="*/ 22941 h 4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595" h="42973">
                      <a:moveTo>
                        <a:pt x="30543" y="42973"/>
                      </a:moveTo>
                      <a:cubicBezTo>
                        <a:pt x="29430" y="42973"/>
                        <a:pt x="28316" y="42694"/>
                        <a:pt x="27306" y="42137"/>
                      </a:cubicBezTo>
                      <a:lnTo>
                        <a:pt x="3432" y="28883"/>
                      </a:lnTo>
                      <a:cubicBezTo>
                        <a:pt x="1329" y="27718"/>
                        <a:pt x="21" y="25511"/>
                        <a:pt x="0" y="23109"/>
                      </a:cubicBezTo>
                      <a:cubicBezTo>
                        <a:pt x="-20" y="20708"/>
                        <a:pt x="1250" y="18481"/>
                        <a:pt x="3334" y="17280"/>
                      </a:cubicBezTo>
                      <a:lnTo>
                        <a:pt x="31719" y="889"/>
                      </a:lnTo>
                      <a:cubicBezTo>
                        <a:pt x="33738" y="-277"/>
                        <a:pt x="36231" y="-296"/>
                        <a:pt x="38289" y="833"/>
                      </a:cubicBezTo>
                      <a:lnTo>
                        <a:pt x="62163" y="14086"/>
                      </a:lnTo>
                      <a:cubicBezTo>
                        <a:pt x="64267" y="15252"/>
                        <a:pt x="65575" y="17458"/>
                        <a:pt x="65595" y="19860"/>
                      </a:cubicBezTo>
                      <a:cubicBezTo>
                        <a:pt x="65614" y="22262"/>
                        <a:pt x="64345" y="24489"/>
                        <a:pt x="62262" y="25690"/>
                      </a:cubicBezTo>
                      <a:lnTo>
                        <a:pt x="33876" y="42081"/>
                      </a:lnTo>
                      <a:cubicBezTo>
                        <a:pt x="32848" y="42675"/>
                        <a:pt x="31697" y="42973"/>
                        <a:pt x="30543" y="42973"/>
                      </a:cubicBezTo>
                      <a:close/>
                      <a:moveTo>
                        <a:pt x="20198" y="22941"/>
                      </a:moveTo>
                      <a:lnTo>
                        <a:pt x="30477" y="28647"/>
                      </a:lnTo>
                      <a:lnTo>
                        <a:pt x="45400" y="20031"/>
                      </a:lnTo>
                      <a:lnTo>
                        <a:pt x="35120" y="14325"/>
                      </a:lnTo>
                      <a:lnTo>
                        <a:pt x="20198" y="22941"/>
                      </a:lnTo>
                      <a:close/>
                    </a:path>
                  </a:pathLst>
                </a:custGeom>
                <a:solidFill>
                  <a:schemeClr val="accent1"/>
                </a:solidFill>
                <a:ln w="205" cap="flat">
                  <a:noFill/>
                  <a:prstDash val="solid"/>
                  <a:miter/>
                </a:ln>
              </p:spPr>
              <p:txBody>
                <a:bodyPr rtlCol="0" anchor="ctr"/>
                <a:lstStyle/>
                <a:p>
                  <a:endParaRPr lang="en-GB" dirty="0"/>
                </a:p>
              </p:txBody>
            </p:sp>
            <p:sp>
              <p:nvSpPr>
                <p:cNvPr id="521" name="Freihandform: Form 520">
                  <a:extLst>
                    <a:ext uri="{FF2B5EF4-FFF2-40B4-BE49-F238E27FC236}">
                      <a16:creationId xmlns:a16="http://schemas.microsoft.com/office/drawing/2014/main" id="{1C5390F0-413C-4B91-92BF-5B98088652B1}"/>
                    </a:ext>
                  </a:extLst>
                </p:cNvPr>
                <p:cNvSpPr/>
                <p:nvPr/>
              </p:nvSpPr>
              <p:spPr>
                <a:xfrm>
                  <a:off x="2634982" y="2821966"/>
                  <a:ext cx="42183" cy="57026"/>
                </a:xfrm>
                <a:custGeom>
                  <a:avLst/>
                  <a:gdLst>
                    <a:gd name="connsiteX0" fmla="*/ 6667 w 42183"/>
                    <a:gd name="connsiteY0" fmla="*/ 57027 h 57026"/>
                    <a:gd name="connsiteX1" fmla="*/ 3283 w 42183"/>
                    <a:gd name="connsiteY1" fmla="*/ 56106 h 57026"/>
                    <a:gd name="connsiteX2" fmla="*/ 1 w 42183"/>
                    <a:gd name="connsiteY2" fmla="*/ 50245 h 57026"/>
                    <a:gd name="connsiteX3" fmla="*/ 464 w 42183"/>
                    <a:gd name="connsiteY3" fmla="*/ 22943 h 57026"/>
                    <a:gd name="connsiteX4" fmla="*/ 3797 w 42183"/>
                    <a:gd name="connsiteY4" fmla="*/ 17282 h 57026"/>
                    <a:gd name="connsiteX5" fmla="*/ 32183 w 42183"/>
                    <a:gd name="connsiteY5" fmla="*/ 891 h 57026"/>
                    <a:gd name="connsiteX6" fmla="*/ 38895 w 42183"/>
                    <a:gd name="connsiteY6" fmla="*/ 920 h 57026"/>
                    <a:gd name="connsiteX7" fmla="*/ 42182 w 42183"/>
                    <a:gd name="connsiteY7" fmla="*/ 6776 h 57026"/>
                    <a:gd name="connsiteX8" fmla="*/ 41726 w 42183"/>
                    <a:gd name="connsiteY8" fmla="*/ 34078 h 57026"/>
                    <a:gd name="connsiteX9" fmla="*/ 38393 w 42183"/>
                    <a:gd name="connsiteY9" fmla="*/ 39741 h 57026"/>
                    <a:gd name="connsiteX10" fmla="*/ 10001 w 42183"/>
                    <a:gd name="connsiteY10" fmla="*/ 56132 h 57026"/>
                    <a:gd name="connsiteX11" fmla="*/ 6667 w 42183"/>
                    <a:gd name="connsiteY11" fmla="*/ 57027 h 57026"/>
                    <a:gd name="connsiteX12" fmla="*/ 13733 w 42183"/>
                    <a:gd name="connsiteY12" fmla="*/ 26945 h 57026"/>
                    <a:gd name="connsiteX13" fmla="*/ 13532 w 42183"/>
                    <a:gd name="connsiteY13" fmla="*/ 38701 h 57026"/>
                    <a:gd name="connsiteX14" fmla="*/ 28461 w 42183"/>
                    <a:gd name="connsiteY14" fmla="*/ 30085 h 57026"/>
                    <a:gd name="connsiteX15" fmla="*/ 28656 w 42183"/>
                    <a:gd name="connsiteY15" fmla="*/ 18331 h 57026"/>
                    <a:gd name="connsiteX16" fmla="*/ 13733 w 42183"/>
                    <a:gd name="connsiteY16" fmla="*/ 26945 h 5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183" h="57026">
                      <a:moveTo>
                        <a:pt x="6667" y="57027"/>
                      </a:moveTo>
                      <a:cubicBezTo>
                        <a:pt x="5495" y="57027"/>
                        <a:pt x="4329" y="56721"/>
                        <a:pt x="3283" y="56106"/>
                      </a:cubicBezTo>
                      <a:cubicBezTo>
                        <a:pt x="1218" y="54888"/>
                        <a:pt x="-38" y="52649"/>
                        <a:pt x="1" y="50245"/>
                      </a:cubicBezTo>
                      <a:lnTo>
                        <a:pt x="464" y="22943"/>
                      </a:lnTo>
                      <a:cubicBezTo>
                        <a:pt x="503" y="20603"/>
                        <a:pt x="1771" y="18454"/>
                        <a:pt x="3797" y="17282"/>
                      </a:cubicBezTo>
                      <a:lnTo>
                        <a:pt x="32183" y="891"/>
                      </a:lnTo>
                      <a:cubicBezTo>
                        <a:pt x="34260" y="-310"/>
                        <a:pt x="36838" y="-293"/>
                        <a:pt x="38895" y="920"/>
                      </a:cubicBezTo>
                      <a:cubicBezTo>
                        <a:pt x="40965" y="2137"/>
                        <a:pt x="42222" y="4374"/>
                        <a:pt x="42182" y="6776"/>
                      </a:cubicBezTo>
                      <a:lnTo>
                        <a:pt x="41726" y="34078"/>
                      </a:lnTo>
                      <a:cubicBezTo>
                        <a:pt x="41687" y="36422"/>
                        <a:pt x="40424" y="38571"/>
                        <a:pt x="38393" y="39741"/>
                      </a:cubicBezTo>
                      <a:lnTo>
                        <a:pt x="10001" y="56132"/>
                      </a:lnTo>
                      <a:cubicBezTo>
                        <a:pt x="8973" y="56731"/>
                        <a:pt x="7821" y="57027"/>
                        <a:pt x="6667" y="57027"/>
                      </a:cubicBezTo>
                      <a:close/>
                      <a:moveTo>
                        <a:pt x="13733" y="26945"/>
                      </a:moveTo>
                      <a:lnTo>
                        <a:pt x="13532" y="38701"/>
                      </a:lnTo>
                      <a:lnTo>
                        <a:pt x="28461" y="30085"/>
                      </a:lnTo>
                      <a:lnTo>
                        <a:pt x="28656" y="18331"/>
                      </a:lnTo>
                      <a:lnTo>
                        <a:pt x="13733" y="26945"/>
                      </a:lnTo>
                      <a:close/>
                    </a:path>
                  </a:pathLst>
                </a:custGeom>
                <a:solidFill>
                  <a:schemeClr val="accent1"/>
                </a:solidFill>
                <a:ln w="205" cap="flat">
                  <a:noFill/>
                  <a:prstDash val="solid"/>
                  <a:miter/>
                </a:ln>
              </p:spPr>
              <p:txBody>
                <a:bodyPr rtlCol="0" anchor="ctr"/>
                <a:lstStyle/>
                <a:p>
                  <a:endParaRPr lang="en-GB" dirty="0"/>
                </a:p>
              </p:txBody>
            </p:sp>
            <p:sp>
              <p:nvSpPr>
                <p:cNvPr id="522" name="Freihandform: Form 521">
                  <a:extLst>
                    <a:ext uri="{FF2B5EF4-FFF2-40B4-BE49-F238E27FC236}">
                      <a16:creationId xmlns:a16="http://schemas.microsoft.com/office/drawing/2014/main" id="{FFF10C83-79D6-4729-B62D-CB7A348F8781}"/>
                    </a:ext>
                  </a:extLst>
                </p:cNvPr>
                <p:cNvSpPr/>
                <p:nvPr/>
              </p:nvSpPr>
              <p:spPr>
                <a:xfrm>
                  <a:off x="2623274" y="2756409"/>
                  <a:ext cx="167450" cy="102308"/>
                </a:xfrm>
                <a:custGeom>
                  <a:avLst/>
                  <a:gdLst>
                    <a:gd name="connsiteX0" fmla="*/ 6677 w 167450"/>
                    <a:gd name="connsiteY0" fmla="*/ 102309 h 102308"/>
                    <a:gd name="connsiteX1" fmla="*/ 895 w 167450"/>
                    <a:gd name="connsiteY1" fmla="*/ 98975 h 102308"/>
                    <a:gd name="connsiteX2" fmla="*/ 3336 w 167450"/>
                    <a:gd name="connsiteY2" fmla="*/ 89868 h 102308"/>
                    <a:gd name="connsiteX3" fmla="*/ 157448 w 167450"/>
                    <a:gd name="connsiteY3" fmla="*/ 894 h 102308"/>
                    <a:gd name="connsiteX4" fmla="*/ 166555 w 167450"/>
                    <a:gd name="connsiteY4" fmla="*/ 3335 h 102308"/>
                    <a:gd name="connsiteX5" fmla="*/ 164114 w 167450"/>
                    <a:gd name="connsiteY5" fmla="*/ 12443 h 102308"/>
                    <a:gd name="connsiteX6" fmla="*/ 10002 w 167450"/>
                    <a:gd name="connsiteY6" fmla="*/ 101416 h 102308"/>
                    <a:gd name="connsiteX7" fmla="*/ 6677 w 167450"/>
                    <a:gd name="connsiteY7" fmla="*/ 102309 h 10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7450" h="102308">
                      <a:moveTo>
                        <a:pt x="6677" y="102309"/>
                      </a:moveTo>
                      <a:cubicBezTo>
                        <a:pt x="4372" y="102309"/>
                        <a:pt x="2133" y="101114"/>
                        <a:pt x="895" y="98975"/>
                      </a:cubicBezTo>
                      <a:cubicBezTo>
                        <a:pt x="-948" y="95786"/>
                        <a:pt x="146" y="91710"/>
                        <a:pt x="3336" y="89868"/>
                      </a:cubicBezTo>
                      <a:lnTo>
                        <a:pt x="157448" y="894"/>
                      </a:lnTo>
                      <a:cubicBezTo>
                        <a:pt x="160619" y="-944"/>
                        <a:pt x="164707" y="140"/>
                        <a:pt x="166555" y="3335"/>
                      </a:cubicBezTo>
                      <a:cubicBezTo>
                        <a:pt x="168398" y="6525"/>
                        <a:pt x="167304" y="10600"/>
                        <a:pt x="164114" y="12443"/>
                      </a:cubicBezTo>
                      <a:lnTo>
                        <a:pt x="10002" y="101416"/>
                      </a:lnTo>
                      <a:cubicBezTo>
                        <a:pt x="8956" y="102021"/>
                        <a:pt x="7810" y="102309"/>
                        <a:pt x="6677" y="102309"/>
                      </a:cubicBezTo>
                      <a:close/>
                    </a:path>
                  </a:pathLst>
                </a:custGeom>
                <a:solidFill>
                  <a:schemeClr val="accent1"/>
                </a:solidFill>
                <a:ln w="205" cap="flat">
                  <a:noFill/>
                  <a:prstDash val="solid"/>
                  <a:miter/>
                </a:ln>
              </p:spPr>
              <p:txBody>
                <a:bodyPr rtlCol="0" anchor="ctr"/>
                <a:lstStyle/>
                <a:p>
                  <a:endParaRPr lang="en-GB" dirty="0"/>
                </a:p>
              </p:txBody>
            </p:sp>
          </p:grpSp>
        </p:grpSp>
      </p:grpSp>
      <p:sp>
        <p:nvSpPr>
          <p:cNvPr id="529" name="TextBox 1403">
            <a:extLst>
              <a:ext uri="{FF2B5EF4-FFF2-40B4-BE49-F238E27FC236}">
                <a16:creationId xmlns:a16="http://schemas.microsoft.com/office/drawing/2014/main" id="{88C40438-68FB-4887-9E4A-849390D29691}"/>
              </a:ext>
            </a:extLst>
          </p:cNvPr>
          <p:cNvSpPr txBox="1"/>
          <p:nvPr/>
        </p:nvSpPr>
        <p:spPr>
          <a:xfrm>
            <a:off x="2740648" y="2899619"/>
            <a:ext cx="288541" cy="215444"/>
          </a:xfrm>
          <a:prstGeom prst="rect">
            <a:avLst/>
          </a:prstGeom>
          <a:noFill/>
          <a:effectLst/>
        </p:spPr>
        <p:txBody>
          <a:bodyPr wrap="none" lIns="0" tIns="0" rIns="0" bIns="0" rtlCol="0" anchor="t">
            <a:spAutoFit/>
          </a:bodyPr>
          <a:lstStyle/>
          <a:p>
            <a:pPr algn="ctr"/>
            <a:r>
              <a:rPr lang="en-GB" sz="700" dirty="0">
                <a:solidFill>
                  <a:schemeClr val="tx2"/>
                </a:solidFill>
              </a:rPr>
              <a:t>Access</a:t>
            </a:r>
            <a:br>
              <a:rPr lang="en-GB" sz="700" dirty="0">
                <a:solidFill>
                  <a:schemeClr val="tx2"/>
                </a:solidFill>
              </a:rPr>
            </a:br>
            <a:r>
              <a:rPr lang="en-GB" sz="700" dirty="0">
                <a:solidFill>
                  <a:schemeClr val="tx2"/>
                </a:solidFill>
              </a:rPr>
              <a:t>panel</a:t>
            </a:r>
          </a:p>
        </p:txBody>
      </p:sp>
      <p:grpSp>
        <p:nvGrpSpPr>
          <p:cNvPr id="11" name="Group 10">
            <a:extLst>
              <a:ext uri="{FF2B5EF4-FFF2-40B4-BE49-F238E27FC236}">
                <a16:creationId xmlns:a16="http://schemas.microsoft.com/office/drawing/2014/main" id="{4FD7835C-A68D-4770-AD70-5512E3C49DBF}"/>
              </a:ext>
            </a:extLst>
          </p:cNvPr>
          <p:cNvGrpSpPr/>
          <p:nvPr/>
        </p:nvGrpSpPr>
        <p:grpSpPr>
          <a:xfrm>
            <a:off x="1640240" y="2449341"/>
            <a:ext cx="398488" cy="432000"/>
            <a:chOff x="1640240" y="2449341"/>
            <a:chExt cx="398488" cy="432000"/>
          </a:xfrm>
        </p:grpSpPr>
        <p:grpSp>
          <p:nvGrpSpPr>
            <p:cNvPr id="531" name="Gruppieren 530">
              <a:extLst>
                <a:ext uri="{FF2B5EF4-FFF2-40B4-BE49-F238E27FC236}">
                  <a16:creationId xmlns:a16="http://schemas.microsoft.com/office/drawing/2014/main" id="{42ED4E57-F6A1-4D3F-B0F2-1AF9A9ABBD30}"/>
                </a:ext>
              </a:extLst>
            </p:cNvPr>
            <p:cNvGrpSpPr/>
            <p:nvPr/>
          </p:nvGrpSpPr>
          <p:grpSpPr>
            <a:xfrm>
              <a:off x="1759185" y="2477127"/>
              <a:ext cx="155486" cy="155486"/>
              <a:chOff x="1859363" y="2501752"/>
              <a:chExt cx="158370" cy="158370"/>
            </a:xfrm>
          </p:grpSpPr>
          <p:sp>
            <p:nvSpPr>
              <p:cNvPr id="536" name="Freihandform: Form 535">
                <a:extLst>
                  <a:ext uri="{FF2B5EF4-FFF2-40B4-BE49-F238E27FC236}">
                    <a16:creationId xmlns:a16="http://schemas.microsoft.com/office/drawing/2014/main" id="{AEB3EB93-18C7-4F7D-8E95-3CBEC0E21AFC}"/>
                  </a:ext>
                </a:extLst>
              </p:cNvPr>
              <p:cNvSpPr/>
              <p:nvPr/>
            </p:nvSpPr>
            <p:spPr>
              <a:xfrm>
                <a:off x="1859363" y="2501752"/>
                <a:ext cx="158370" cy="158370"/>
              </a:xfrm>
              <a:custGeom>
                <a:avLst/>
                <a:gdLst>
                  <a:gd name="connsiteX0" fmla="*/ 79185 w 158370"/>
                  <a:gd name="connsiteY0" fmla="*/ 158371 h 158370"/>
                  <a:gd name="connsiteX1" fmla="*/ 0 w 158370"/>
                  <a:gd name="connsiteY1" fmla="*/ 79185 h 158370"/>
                  <a:gd name="connsiteX2" fmla="*/ 79185 w 158370"/>
                  <a:gd name="connsiteY2" fmla="*/ 0 h 158370"/>
                  <a:gd name="connsiteX3" fmla="*/ 158371 w 158370"/>
                  <a:gd name="connsiteY3" fmla="*/ 79185 h 158370"/>
                  <a:gd name="connsiteX4" fmla="*/ 79185 w 158370"/>
                  <a:gd name="connsiteY4" fmla="*/ 158371 h 158370"/>
                  <a:gd name="connsiteX5" fmla="*/ 79185 w 158370"/>
                  <a:gd name="connsiteY5" fmla="*/ 13335 h 158370"/>
                  <a:gd name="connsiteX6" fmla="*/ 13333 w 158370"/>
                  <a:gd name="connsiteY6" fmla="*/ 79187 h 158370"/>
                  <a:gd name="connsiteX7" fmla="*/ 79185 w 158370"/>
                  <a:gd name="connsiteY7" fmla="*/ 145039 h 158370"/>
                  <a:gd name="connsiteX8" fmla="*/ 145037 w 158370"/>
                  <a:gd name="connsiteY8" fmla="*/ 79187 h 158370"/>
                  <a:gd name="connsiteX9" fmla="*/ 79185 w 158370"/>
                  <a:gd name="connsiteY9" fmla="*/ 13335 h 15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370" h="158370">
                    <a:moveTo>
                      <a:pt x="79185" y="158371"/>
                    </a:moveTo>
                    <a:cubicBezTo>
                      <a:pt x="35521" y="158371"/>
                      <a:pt x="0" y="122850"/>
                      <a:pt x="0" y="79185"/>
                    </a:cubicBezTo>
                    <a:cubicBezTo>
                      <a:pt x="0" y="35521"/>
                      <a:pt x="35521" y="0"/>
                      <a:pt x="79185" y="0"/>
                    </a:cubicBezTo>
                    <a:cubicBezTo>
                      <a:pt x="122849" y="0"/>
                      <a:pt x="158371" y="35521"/>
                      <a:pt x="158371" y="79185"/>
                    </a:cubicBezTo>
                    <a:cubicBezTo>
                      <a:pt x="158371" y="122850"/>
                      <a:pt x="122847" y="158371"/>
                      <a:pt x="79185" y="158371"/>
                    </a:cubicBezTo>
                    <a:close/>
                    <a:moveTo>
                      <a:pt x="79185" y="13335"/>
                    </a:moveTo>
                    <a:cubicBezTo>
                      <a:pt x="42877" y="13335"/>
                      <a:pt x="13333" y="42877"/>
                      <a:pt x="13333" y="79187"/>
                    </a:cubicBezTo>
                    <a:cubicBezTo>
                      <a:pt x="13333" y="115498"/>
                      <a:pt x="42875" y="145039"/>
                      <a:pt x="79185" y="145039"/>
                    </a:cubicBezTo>
                    <a:cubicBezTo>
                      <a:pt x="115496" y="145039"/>
                      <a:pt x="145037" y="115498"/>
                      <a:pt x="145037" y="79187"/>
                    </a:cubicBezTo>
                    <a:cubicBezTo>
                      <a:pt x="145035" y="42877"/>
                      <a:pt x="115494" y="13335"/>
                      <a:pt x="79185" y="13335"/>
                    </a:cubicBezTo>
                    <a:close/>
                  </a:path>
                </a:pathLst>
              </a:custGeom>
              <a:solidFill>
                <a:schemeClr val="accent1"/>
              </a:solidFill>
              <a:ln w="205" cap="flat">
                <a:noFill/>
                <a:prstDash val="solid"/>
                <a:miter/>
              </a:ln>
            </p:spPr>
            <p:txBody>
              <a:bodyPr rtlCol="0" anchor="ctr"/>
              <a:lstStyle/>
              <a:p>
                <a:endParaRPr lang="en-GB" dirty="0"/>
              </a:p>
            </p:txBody>
          </p:sp>
          <p:sp>
            <p:nvSpPr>
              <p:cNvPr id="537" name="Freihandform: Form 536">
                <a:extLst>
                  <a:ext uri="{FF2B5EF4-FFF2-40B4-BE49-F238E27FC236}">
                    <a16:creationId xmlns:a16="http://schemas.microsoft.com/office/drawing/2014/main" id="{E95B3BED-A52D-4F96-9138-D858D5164361}"/>
                  </a:ext>
                </a:extLst>
              </p:cNvPr>
              <p:cNvSpPr/>
              <p:nvPr/>
            </p:nvSpPr>
            <p:spPr>
              <a:xfrm>
                <a:off x="1891063" y="2560121"/>
                <a:ext cx="93334" cy="39999"/>
              </a:xfrm>
              <a:custGeom>
                <a:avLst/>
                <a:gdLst>
                  <a:gd name="connsiteX0" fmla="*/ 86668 w 93334"/>
                  <a:gd name="connsiteY0" fmla="*/ 40000 h 39999"/>
                  <a:gd name="connsiteX1" fmla="*/ 6667 w 93334"/>
                  <a:gd name="connsiteY1" fmla="*/ 40000 h 39999"/>
                  <a:gd name="connsiteX2" fmla="*/ 0 w 93334"/>
                  <a:gd name="connsiteY2" fmla="*/ 33333 h 39999"/>
                  <a:gd name="connsiteX3" fmla="*/ 0 w 93334"/>
                  <a:gd name="connsiteY3" fmla="*/ 6667 h 39999"/>
                  <a:gd name="connsiteX4" fmla="*/ 6667 w 93334"/>
                  <a:gd name="connsiteY4" fmla="*/ 0 h 39999"/>
                  <a:gd name="connsiteX5" fmla="*/ 86668 w 93334"/>
                  <a:gd name="connsiteY5" fmla="*/ 0 h 39999"/>
                  <a:gd name="connsiteX6" fmla="*/ 93335 w 93334"/>
                  <a:gd name="connsiteY6" fmla="*/ 6667 h 39999"/>
                  <a:gd name="connsiteX7" fmla="*/ 93335 w 93334"/>
                  <a:gd name="connsiteY7" fmla="*/ 33333 h 39999"/>
                  <a:gd name="connsiteX8" fmla="*/ 86668 w 93334"/>
                  <a:gd name="connsiteY8" fmla="*/ 40000 h 39999"/>
                  <a:gd name="connsiteX9" fmla="*/ 13333 w 93334"/>
                  <a:gd name="connsiteY9" fmla="*/ 26666 h 39999"/>
                  <a:gd name="connsiteX10" fmla="*/ 80002 w 93334"/>
                  <a:gd name="connsiteY10" fmla="*/ 26666 h 39999"/>
                  <a:gd name="connsiteX11" fmla="*/ 80002 w 93334"/>
                  <a:gd name="connsiteY11" fmla="*/ 13333 h 39999"/>
                  <a:gd name="connsiteX12" fmla="*/ 13333 w 93334"/>
                  <a:gd name="connsiteY12" fmla="*/ 13333 h 39999"/>
                  <a:gd name="connsiteX13" fmla="*/ 13333 w 93334"/>
                  <a:gd name="connsiteY13" fmla="*/ 26666 h 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334" h="39999">
                    <a:moveTo>
                      <a:pt x="86668" y="40000"/>
                    </a:moveTo>
                    <a:lnTo>
                      <a:pt x="6667" y="40000"/>
                    </a:lnTo>
                    <a:cubicBezTo>
                      <a:pt x="2986" y="40000"/>
                      <a:pt x="0" y="37014"/>
                      <a:pt x="0" y="33333"/>
                    </a:cubicBezTo>
                    <a:lnTo>
                      <a:pt x="0" y="6667"/>
                    </a:lnTo>
                    <a:cubicBezTo>
                      <a:pt x="0" y="2986"/>
                      <a:pt x="2986" y="0"/>
                      <a:pt x="6667" y="0"/>
                    </a:cubicBezTo>
                    <a:lnTo>
                      <a:pt x="86668" y="0"/>
                    </a:lnTo>
                    <a:cubicBezTo>
                      <a:pt x="90349" y="0"/>
                      <a:pt x="93335" y="2986"/>
                      <a:pt x="93335" y="6667"/>
                    </a:cubicBezTo>
                    <a:lnTo>
                      <a:pt x="93335" y="33333"/>
                    </a:lnTo>
                    <a:cubicBezTo>
                      <a:pt x="93335" y="37016"/>
                      <a:pt x="90349" y="40000"/>
                      <a:pt x="86668" y="40000"/>
                    </a:cubicBezTo>
                    <a:close/>
                    <a:moveTo>
                      <a:pt x="13333" y="26666"/>
                    </a:moveTo>
                    <a:lnTo>
                      <a:pt x="80002" y="26666"/>
                    </a:lnTo>
                    <a:lnTo>
                      <a:pt x="80002" y="13333"/>
                    </a:lnTo>
                    <a:lnTo>
                      <a:pt x="13333" y="13333"/>
                    </a:lnTo>
                    <a:lnTo>
                      <a:pt x="13333" y="26666"/>
                    </a:lnTo>
                    <a:close/>
                  </a:path>
                </a:pathLst>
              </a:custGeom>
              <a:solidFill>
                <a:schemeClr val="accent1"/>
              </a:solidFill>
              <a:ln w="205" cap="flat">
                <a:noFill/>
                <a:prstDash val="solid"/>
                <a:miter/>
              </a:ln>
            </p:spPr>
            <p:txBody>
              <a:bodyPr rtlCol="0" anchor="ctr"/>
              <a:lstStyle/>
              <a:p>
                <a:endParaRPr lang="en-GB" dirty="0"/>
              </a:p>
            </p:txBody>
          </p:sp>
        </p:grpSp>
        <p:grpSp>
          <p:nvGrpSpPr>
            <p:cNvPr id="532" name="Gruppieren 531">
              <a:extLst>
                <a:ext uri="{FF2B5EF4-FFF2-40B4-BE49-F238E27FC236}">
                  <a16:creationId xmlns:a16="http://schemas.microsoft.com/office/drawing/2014/main" id="{21037F51-8527-41D5-A556-6323ECFFC854}"/>
                </a:ext>
              </a:extLst>
            </p:cNvPr>
            <p:cNvGrpSpPr/>
            <p:nvPr/>
          </p:nvGrpSpPr>
          <p:grpSpPr>
            <a:xfrm>
              <a:off x="1640240" y="2449341"/>
              <a:ext cx="398488" cy="432000"/>
              <a:chOff x="1738212" y="2473451"/>
              <a:chExt cx="405880" cy="440014"/>
            </a:xfrm>
          </p:grpSpPr>
          <p:sp>
            <p:nvSpPr>
              <p:cNvPr id="533" name="Freihandform: Form 532">
                <a:extLst>
                  <a:ext uri="{FF2B5EF4-FFF2-40B4-BE49-F238E27FC236}">
                    <a16:creationId xmlns:a16="http://schemas.microsoft.com/office/drawing/2014/main" id="{CBC833B0-350B-4AC9-80D7-7D4A61BC7F8A}"/>
                  </a:ext>
                </a:extLst>
              </p:cNvPr>
              <p:cNvSpPr/>
              <p:nvPr/>
            </p:nvSpPr>
            <p:spPr>
              <a:xfrm>
                <a:off x="1738212" y="2473451"/>
                <a:ext cx="405880" cy="213340"/>
              </a:xfrm>
              <a:custGeom>
                <a:avLst/>
                <a:gdLst>
                  <a:gd name="connsiteX0" fmla="*/ 202940 w 405880"/>
                  <a:gd name="connsiteY0" fmla="*/ 213341 h 213340"/>
                  <a:gd name="connsiteX1" fmla="*/ 1092 w 405880"/>
                  <a:gd name="connsiteY1" fmla="*/ 110326 h 213340"/>
                  <a:gd name="connsiteX2" fmla="*/ 1092 w 405880"/>
                  <a:gd name="connsiteY2" fmla="*/ 103014 h 213340"/>
                  <a:gd name="connsiteX3" fmla="*/ 202940 w 405880"/>
                  <a:gd name="connsiteY3" fmla="*/ 0 h 213340"/>
                  <a:gd name="connsiteX4" fmla="*/ 404787 w 405880"/>
                  <a:gd name="connsiteY4" fmla="*/ 103014 h 213340"/>
                  <a:gd name="connsiteX5" fmla="*/ 404787 w 405880"/>
                  <a:gd name="connsiteY5" fmla="*/ 110326 h 213340"/>
                  <a:gd name="connsiteX6" fmla="*/ 202940 w 405880"/>
                  <a:gd name="connsiteY6" fmla="*/ 213341 h 213340"/>
                  <a:gd name="connsiteX7" fmla="*/ 14701 w 405880"/>
                  <a:gd name="connsiteY7" fmla="*/ 106670 h 213340"/>
                  <a:gd name="connsiteX8" fmla="*/ 202940 w 405880"/>
                  <a:gd name="connsiteY8" fmla="*/ 200007 h 213340"/>
                  <a:gd name="connsiteX9" fmla="*/ 391181 w 405880"/>
                  <a:gd name="connsiteY9" fmla="*/ 106670 h 213340"/>
                  <a:gd name="connsiteX10" fmla="*/ 202940 w 405880"/>
                  <a:gd name="connsiteY10" fmla="*/ 13333 h 213340"/>
                  <a:gd name="connsiteX11" fmla="*/ 14701 w 405880"/>
                  <a:gd name="connsiteY11" fmla="*/ 106670 h 21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880" h="213340">
                    <a:moveTo>
                      <a:pt x="202940" y="213341"/>
                    </a:moveTo>
                    <a:cubicBezTo>
                      <a:pt x="120113" y="213341"/>
                      <a:pt x="42766" y="173867"/>
                      <a:pt x="1092" y="110326"/>
                    </a:cubicBezTo>
                    <a:cubicBezTo>
                      <a:pt x="-364" y="108106"/>
                      <a:pt x="-364" y="105235"/>
                      <a:pt x="1092" y="103014"/>
                    </a:cubicBezTo>
                    <a:cubicBezTo>
                      <a:pt x="42766" y="39473"/>
                      <a:pt x="120113" y="0"/>
                      <a:pt x="202940" y="0"/>
                    </a:cubicBezTo>
                    <a:cubicBezTo>
                      <a:pt x="285767" y="0"/>
                      <a:pt x="363114" y="39473"/>
                      <a:pt x="404787" y="103014"/>
                    </a:cubicBezTo>
                    <a:cubicBezTo>
                      <a:pt x="406245" y="105235"/>
                      <a:pt x="406245" y="108106"/>
                      <a:pt x="404787" y="110326"/>
                    </a:cubicBezTo>
                    <a:cubicBezTo>
                      <a:pt x="363114" y="173865"/>
                      <a:pt x="285767" y="213341"/>
                      <a:pt x="202940" y="213341"/>
                    </a:cubicBezTo>
                    <a:close/>
                    <a:moveTo>
                      <a:pt x="14701" y="106670"/>
                    </a:moveTo>
                    <a:cubicBezTo>
                      <a:pt x="54481" y="164355"/>
                      <a:pt x="126158" y="200007"/>
                      <a:pt x="202940" y="200007"/>
                    </a:cubicBezTo>
                    <a:cubicBezTo>
                      <a:pt x="279719" y="200007"/>
                      <a:pt x="351395" y="164355"/>
                      <a:pt x="391181" y="106670"/>
                    </a:cubicBezTo>
                    <a:cubicBezTo>
                      <a:pt x="351395" y="48986"/>
                      <a:pt x="279719" y="13333"/>
                      <a:pt x="202940" y="13333"/>
                    </a:cubicBezTo>
                    <a:cubicBezTo>
                      <a:pt x="126160" y="13333"/>
                      <a:pt x="54481" y="48986"/>
                      <a:pt x="14701" y="106670"/>
                    </a:cubicBezTo>
                    <a:close/>
                  </a:path>
                </a:pathLst>
              </a:custGeom>
              <a:solidFill>
                <a:schemeClr val="tx2"/>
              </a:solidFill>
              <a:ln w="205" cap="flat">
                <a:noFill/>
                <a:prstDash val="solid"/>
                <a:miter/>
              </a:ln>
            </p:spPr>
            <p:txBody>
              <a:bodyPr rtlCol="0" anchor="ctr"/>
              <a:lstStyle/>
              <a:p>
                <a:endParaRPr lang="en-GB" dirty="0"/>
              </a:p>
            </p:txBody>
          </p:sp>
          <p:sp>
            <p:nvSpPr>
              <p:cNvPr id="534" name="Freihandform: Form 533">
                <a:extLst>
                  <a:ext uri="{FF2B5EF4-FFF2-40B4-BE49-F238E27FC236}">
                    <a16:creationId xmlns:a16="http://schemas.microsoft.com/office/drawing/2014/main" id="{1C2CFC66-FFBA-4571-9535-3519C7D6EEFB}"/>
                  </a:ext>
                </a:extLst>
              </p:cNvPr>
              <p:cNvSpPr/>
              <p:nvPr/>
            </p:nvSpPr>
            <p:spPr>
              <a:xfrm>
                <a:off x="1904396" y="2773462"/>
                <a:ext cx="66668" cy="140003"/>
              </a:xfrm>
              <a:custGeom>
                <a:avLst/>
                <a:gdLst>
                  <a:gd name="connsiteX0" fmla="*/ 53335 w 66668"/>
                  <a:gd name="connsiteY0" fmla="*/ 140003 h 140003"/>
                  <a:gd name="connsiteX1" fmla="*/ 13333 w 66668"/>
                  <a:gd name="connsiteY1" fmla="*/ 140003 h 140003"/>
                  <a:gd name="connsiteX2" fmla="*/ 0 w 66668"/>
                  <a:gd name="connsiteY2" fmla="*/ 126670 h 140003"/>
                  <a:gd name="connsiteX3" fmla="*/ 0 w 66668"/>
                  <a:gd name="connsiteY3" fmla="*/ 13333 h 140003"/>
                  <a:gd name="connsiteX4" fmla="*/ 13333 w 66668"/>
                  <a:gd name="connsiteY4" fmla="*/ 0 h 140003"/>
                  <a:gd name="connsiteX5" fmla="*/ 53335 w 66668"/>
                  <a:gd name="connsiteY5" fmla="*/ 0 h 140003"/>
                  <a:gd name="connsiteX6" fmla="*/ 66668 w 66668"/>
                  <a:gd name="connsiteY6" fmla="*/ 13333 h 140003"/>
                  <a:gd name="connsiteX7" fmla="*/ 66668 w 66668"/>
                  <a:gd name="connsiteY7" fmla="*/ 126670 h 140003"/>
                  <a:gd name="connsiteX8" fmla="*/ 53335 w 66668"/>
                  <a:gd name="connsiteY8" fmla="*/ 140003 h 140003"/>
                  <a:gd name="connsiteX9" fmla="*/ 13333 w 66668"/>
                  <a:gd name="connsiteY9" fmla="*/ 13331 h 140003"/>
                  <a:gd name="connsiteX10" fmla="*/ 13333 w 66668"/>
                  <a:gd name="connsiteY10" fmla="*/ 126668 h 140003"/>
                  <a:gd name="connsiteX11" fmla="*/ 53335 w 66668"/>
                  <a:gd name="connsiteY11" fmla="*/ 126668 h 140003"/>
                  <a:gd name="connsiteX12" fmla="*/ 53335 w 66668"/>
                  <a:gd name="connsiteY12" fmla="*/ 13331 h 140003"/>
                  <a:gd name="connsiteX13" fmla="*/ 13333 w 66668"/>
                  <a:gd name="connsiteY13" fmla="*/ 13331 h 14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 h="140003">
                    <a:moveTo>
                      <a:pt x="53335" y="140003"/>
                    </a:moveTo>
                    <a:lnTo>
                      <a:pt x="13333" y="140003"/>
                    </a:lnTo>
                    <a:cubicBezTo>
                      <a:pt x="5980" y="140003"/>
                      <a:pt x="0" y="134024"/>
                      <a:pt x="0" y="126670"/>
                    </a:cubicBezTo>
                    <a:lnTo>
                      <a:pt x="0" y="13333"/>
                    </a:lnTo>
                    <a:cubicBezTo>
                      <a:pt x="0" y="5980"/>
                      <a:pt x="5980" y="0"/>
                      <a:pt x="13333" y="0"/>
                    </a:cubicBezTo>
                    <a:lnTo>
                      <a:pt x="53335" y="0"/>
                    </a:lnTo>
                    <a:cubicBezTo>
                      <a:pt x="60689" y="0"/>
                      <a:pt x="66668" y="5980"/>
                      <a:pt x="66668" y="13333"/>
                    </a:cubicBezTo>
                    <a:lnTo>
                      <a:pt x="66668" y="126670"/>
                    </a:lnTo>
                    <a:cubicBezTo>
                      <a:pt x="66668" y="134022"/>
                      <a:pt x="60689" y="140003"/>
                      <a:pt x="53335" y="140003"/>
                    </a:cubicBezTo>
                    <a:close/>
                    <a:moveTo>
                      <a:pt x="13333" y="13331"/>
                    </a:moveTo>
                    <a:lnTo>
                      <a:pt x="13333" y="126668"/>
                    </a:lnTo>
                    <a:lnTo>
                      <a:pt x="53335" y="126668"/>
                    </a:lnTo>
                    <a:lnTo>
                      <a:pt x="53335" y="13331"/>
                    </a:lnTo>
                    <a:lnTo>
                      <a:pt x="13333" y="13331"/>
                    </a:lnTo>
                    <a:close/>
                  </a:path>
                </a:pathLst>
              </a:custGeom>
              <a:solidFill>
                <a:schemeClr val="tx2"/>
              </a:solidFill>
              <a:ln w="205" cap="flat">
                <a:noFill/>
                <a:prstDash val="solid"/>
                <a:miter/>
              </a:ln>
            </p:spPr>
            <p:txBody>
              <a:bodyPr rtlCol="0" anchor="ctr"/>
              <a:lstStyle/>
              <a:p>
                <a:endParaRPr lang="en-GB" dirty="0"/>
              </a:p>
            </p:txBody>
          </p:sp>
          <p:sp>
            <p:nvSpPr>
              <p:cNvPr id="535" name="Freihandform: Form 534">
                <a:extLst>
                  <a:ext uri="{FF2B5EF4-FFF2-40B4-BE49-F238E27FC236}">
                    <a16:creationId xmlns:a16="http://schemas.microsoft.com/office/drawing/2014/main" id="{94375645-18C1-49AF-987A-5E14DDBE7A64}"/>
                  </a:ext>
                </a:extLst>
              </p:cNvPr>
              <p:cNvSpPr/>
              <p:nvPr/>
            </p:nvSpPr>
            <p:spPr>
              <a:xfrm>
                <a:off x="1917730" y="2706791"/>
                <a:ext cx="39999" cy="80001"/>
              </a:xfrm>
              <a:custGeom>
                <a:avLst/>
                <a:gdLst>
                  <a:gd name="connsiteX0" fmla="*/ 33333 w 39999"/>
                  <a:gd name="connsiteY0" fmla="*/ 80002 h 80001"/>
                  <a:gd name="connsiteX1" fmla="*/ 6667 w 39999"/>
                  <a:gd name="connsiteY1" fmla="*/ 80002 h 80001"/>
                  <a:gd name="connsiteX2" fmla="*/ 0 w 39999"/>
                  <a:gd name="connsiteY2" fmla="*/ 73335 h 80001"/>
                  <a:gd name="connsiteX3" fmla="*/ 0 w 39999"/>
                  <a:gd name="connsiteY3" fmla="*/ 0 h 80001"/>
                  <a:gd name="connsiteX4" fmla="*/ 13333 w 39999"/>
                  <a:gd name="connsiteY4" fmla="*/ 0 h 80001"/>
                  <a:gd name="connsiteX5" fmla="*/ 13333 w 39999"/>
                  <a:gd name="connsiteY5" fmla="*/ 66668 h 80001"/>
                  <a:gd name="connsiteX6" fmla="*/ 26667 w 39999"/>
                  <a:gd name="connsiteY6" fmla="*/ 66668 h 80001"/>
                  <a:gd name="connsiteX7" fmla="*/ 26667 w 39999"/>
                  <a:gd name="connsiteY7" fmla="*/ 0 h 80001"/>
                  <a:gd name="connsiteX8" fmla="*/ 40000 w 39999"/>
                  <a:gd name="connsiteY8" fmla="*/ 0 h 80001"/>
                  <a:gd name="connsiteX9" fmla="*/ 40000 w 39999"/>
                  <a:gd name="connsiteY9" fmla="*/ 73335 h 80001"/>
                  <a:gd name="connsiteX10" fmla="*/ 33333 w 39999"/>
                  <a:gd name="connsiteY10" fmla="*/ 80002 h 8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999" h="80001">
                    <a:moveTo>
                      <a:pt x="33333" y="80002"/>
                    </a:moveTo>
                    <a:lnTo>
                      <a:pt x="6667" y="80002"/>
                    </a:lnTo>
                    <a:cubicBezTo>
                      <a:pt x="2986" y="80002"/>
                      <a:pt x="0" y="77016"/>
                      <a:pt x="0" y="73335"/>
                    </a:cubicBezTo>
                    <a:lnTo>
                      <a:pt x="0" y="0"/>
                    </a:lnTo>
                    <a:lnTo>
                      <a:pt x="13333" y="0"/>
                    </a:lnTo>
                    <a:lnTo>
                      <a:pt x="13333" y="66668"/>
                    </a:lnTo>
                    <a:lnTo>
                      <a:pt x="26667" y="66668"/>
                    </a:lnTo>
                    <a:lnTo>
                      <a:pt x="26667" y="0"/>
                    </a:lnTo>
                    <a:lnTo>
                      <a:pt x="40000" y="0"/>
                    </a:lnTo>
                    <a:lnTo>
                      <a:pt x="40000" y="73335"/>
                    </a:lnTo>
                    <a:cubicBezTo>
                      <a:pt x="40002" y="77018"/>
                      <a:pt x="37016" y="80002"/>
                      <a:pt x="33333" y="80002"/>
                    </a:cubicBezTo>
                    <a:close/>
                  </a:path>
                </a:pathLst>
              </a:custGeom>
              <a:solidFill>
                <a:schemeClr val="tx2"/>
              </a:solidFill>
              <a:ln w="205" cap="flat">
                <a:noFill/>
                <a:prstDash val="solid"/>
                <a:miter/>
              </a:ln>
            </p:spPr>
            <p:txBody>
              <a:bodyPr rtlCol="0" anchor="ctr"/>
              <a:lstStyle/>
              <a:p>
                <a:endParaRPr lang="en-GB" dirty="0"/>
              </a:p>
            </p:txBody>
          </p:sp>
        </p:grpSp>
      </p:grpSp>
      <p:sp>
        <p:nvSpPr>
          <p:cNvPr id="538" name="TextBox 1404">
            <a:extLst>
              <a:ext uri="{FF2B5EF4-FFF2-40B4-BE49-F238E27FC236}">
                <a16:creationId xmlns:a16="http://schemas.microsoft.com/office/drawing/2014/main" id="{9AC7402C-0F52-4163-AF31-FC070260B407}"/>
              </a:ext>
            </a:extLst>
          </p:cNvPr>
          <p:cNvSpPr txBox="1"/>
          <p:nvPr/>
        </p:nvSpPr>
        <p:spPr>
          <a:xfrm>
            <a:off x="1597431" y="2899619"/>
            <a:ext cx="484107" cy="107722"/>
          </a:xfrm>
          <a:prstGeom prst="rect">
            <a:avLst/>
          </a:prstGeom>
          <a:noFill/>
          <a:effectLst/>
        </p:spPr>
        <p:txBody>
          <a:bodyPr wrap="none" lIns="0" tIns="0" rIns="0" bIns="0" rtlCol="0" anchor="t">
            <a:spAutoFit/>
          </a:bodyPr>
          <a:lstStyle/>
          <a:p>
            <a:pPr algn="ctr"/>
            <a:r>
              <a:rPr lang="en-GB" sz="700" dirty="0">
                <a:solidFill>
                  <a:schemeClr val="tx2"/>
                </a:solidFill>
              </a:rPr>
              <a:t>Eye-stopper</a:t>
            </a:r>
          </a:p>
        </p:txBody>
      </p:sp>
      <p:grpSp>
        <p:nvGrpSpPr>
          <p:cNvPr id="47" name="Group 46">
            <a:extLst>
              <a:ext uri="{FF2B5EF4-FFF2-40B4-BE49-F238E27FC236}">
                <a16:creationId xmlns:a16="http://schemas.microsoft.com/office/drawing/2014/main" id="{A9BFAAFE-F7F5-6097-8C6D-F8BE2A08AB14}"/>
              </a:ext>
            </a:extLst>
          </p:cNvPr>
          <p:cNvGrpSpPr/>
          <p:nvPr/>
        </p:nvGrpSpPr>
        <p:grpSpPr>
          <a:xfrm>
            <a:off x="577875" y="4097454"/>
            <a:ext cx="432351" cy="432000"/>
            <a:chOff x="577875" y="4097454"/>
            <a:chExt cx="432351" cy="432000"/>
          </a:xfrm>
        </p:grpSpPr>
        <p:grpSp>
          <p:nvGrpSpPr>
            <p:cNvPr id="540" name="Gruppieren 539">
              <a:extLst>
                <a:ext uri="{FF2B5EF4-FFF2-40B4-BE49-F238E27FC236}">
                  <a16:creationId xmlns:a16="http://schemas.microsoft.com/office/drawing/2014/main" id="{B51106BA-7BEC-4D6C-8EA7-EB7C9663CEE9}"/>
                </a:ext>
              </a:extLst>
            </p:cNvPr>
            <p:cNvGrpSpPr/>
            <p:nvPr/>
          </p:nvGrpSpPr>
          <p:grpSpPr>
            <a:xfrm>
              <a:off x="577875" y="4097454"/>
              <a:ext cx="432351" cy="327349"/>
              <a:chOff x="871520" y="4173137"/>
              <a:chExt cx="440742" cy="333702"/>
            </a:xfrm>
            <a:solidFill>
              <a:schemeClr val="tx2"/>
            </a:solidFill>
          </p:grpSpPr>
          <p:grpSp>
            <p:nvGrpSpPr>
              <p:cNvPr id="545" name="Grafik 348">
                <a:extLst>
                  <a:ext uri="{FF2B5EF4-FFF2-40B4-BE49-F238E27FC236}">
                    <a16:creationId xmlns:a16="http://schemas.microsoft.com/office/drawing/2014/main" id="{7FBE0F10-7262-45EA-A6EA-0633366B63C7}"/>
                  </a:ext>
                </a:extLst>
              </p:cNvPr>
              <p:cNvGrpSpPr/>
              <p:nvPr/>
            </p:nvGrpSpPr>
            <p:grpSpPr>
              <a:xfrm>
                <a:off x="871520" y="4173137"/>
                <a:ext cx="440742" cy="187044"/>
                <a:chOff x="871520" y="4173137"/>
                <a:chExt cx="440742" cy="187044"/>
              </a:xfrm>
              <a:grpFill/>
            </p:grpSpPr>
            <p:grpSp>
              <p:nvGrpSpPr>
                <p:cNvPr id="550" name="Grafik 348">
                  <a:extLst>
                    <a:ext uri="{FF2B5EF4-FFF2-40B4-BE49-F238E27FC236}">
                      <a16:creationId xmlns:a16="http://schemas.microsoft.com/office/drawing/2014/main" id="{8D0C7AD1-61D5-433E-BE36-17EA94016998}"/>
                    </a:ext>
                  </a:extLst>
                </p:cNvPr>
                <p:cNvGrpSpPr/>
                <p:nvPr/>
              </p:nvGrpSpPr>
              <p:grpSpPr>
                <a:xfrm>
                  <a:off x="871520" y="4173137"/>
                  <a:ext cx="440742" cy="187044"/>
                  <a:chOff x="871520" y="4173137"/>
                  <a:chExt cx="440742" cy="187044"/>
                </a:xfrm>
                <a:grpFill/>
              </p:grpSpPr>
              <p:sp>
                <p:nvSpPr>
                  <p:cNvPr id="552" name="Freihandform: Form 551">
                    <a:extLst>
                      <a:ext uri="{FF2B5EF4-FFF2-40B4-BE49-F238E27FC236}">
                        <a16:creationId xmlns:a16="http://schemas.microsoft.com/office/drawing/2014/main" id="{ADC28D20-912E-4262-8DE6-A94FF198C8BC}"/>
                      </a:ext>
                    </a:extLst>
                  </p:cNvPr>
                  <p:cNvSpPr/>
                  <p:nvPr/>
                </p:nvSpPr>
                <p:spPr>
                  <a:xfrm>
                    <a:off x="871520" y="4173137"/>
                    <a:ext cx="440742" cy="187044"/>
                  </a:xfrm>
                  <a:custGeom>
                    <a:avLst/>
                    <a:gdLst>
                      <a:gd name="connsiteX0" fmla="*/ 434076 w 440742"/>
                      <a:gd name="connsiteY0" fmla="*/ 187044 h 187044"/>
                      <a:gd name="connsiteX1" fmla="*/ 427409 w 440742"/>
                      <a:gd name="connsiteY1" fmla="*/ 180382 h 187044"/>
                      <a:gd name="connsiteX2" fmla="*/ 220371 w 440742"/>
                      <a:gd name="connsiteY2" fmla="*/ 13346 h 187044"/>
                      <a:gd name="connsiteX3" fmla="*/ 13333 w 440742"/>
                      <a:gd name="connsiteY3" fmla="*/ 180382 h 187044"/>
                      <a:gd name="connsiteX4" fmla="*/ 6667 w 440742"/>
                      <a:gd name="connsiteY4" fmla="*/ 187044 h 187044"/>
                      <a:gd name="connsiteX5" fmla="*/ 0 w 440742"/>
                      <a:gd name="connsiteY5" fmla="*/ 180382 h 187044"/>
                      <a:gd name="connsiteX6" fmla="*/ 220371 w 440742"/>
                      <a:gd name="connsiteY6" fmla="*/ 0 h 187044"/>
                      <a:gd name="connsiteX7" fmla="*/ 440742 w 440742"/>
                      <a:gd name="connsiteY7" fmla="*/ 180382 h 187044"/>
                      <a:gd name="connsiteX8" fmla="*/ 434076 w 440742"/>
                      <a:gd name="connsiteY8" fmla="*/ 187044 h 187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0742" h="187044">
                        <a:moveTo>
                          <a:pt x="434076" y="187044"/>
                        </a:moveTo>
                        <a:cubicBezTo>
                          <a:pt x="430395" y="187044"/>
                          <a:pt x="427409" y="184063"/>
                          <a:pt x="427409" y="180382"/>
                        </a:cubicBezTo>
                        <a:cubicBezTo>
                          <a:pt x="427409" y="88258"/>
                          <a:pt x="334533" y="13346"/>
                          <a:pt x="220371" y="13346"/>
                        </a:cubicBezTo>
                        <a:cubicBezTo>
                          <a:pt x="106210" y="13346"/>
                          <a:pt x="13333" y="88258"/>
                          <a:pt x="13333" y="180382"/>
                        </a:cubicBezTo>
                        <a:cubicBezTo>
                          <a:pt x="13333" y="184063"/>
                          <a:pt x="10347" y="187044"/>
                          <a:pt x="6667" y="187044"/>
                        </a:cubicBezTo>
                        <a:cubicBezTo>
                          <a:pt x="2986" y="187044"/>
                          <a:pt x="0" y="184063"/>
                          <a:pt x="0" y="180382"/>
                        </a:cubicBezTo>
                        <a:cubicBezTo>
                          <a:pt x="0" y="80917"/>
                          <a:pt x="98856" y="0"/>
                          <a:pt x="220371" y="0"/>
                        </a:cubicBezTo>
                        <a:cubicBezTo>
                          <a:pt x="341886" y="0"/>
                          <a:pt x="440742" y="80917"/>
                          <a:pt x="440742" y="180382"/>
                        </a:cubicBezTo>
                        <a:cubicBezTo>
                          <a:pt x="440742" y="184063"/>
                          <a:pt x="437756" y="187044"/>
                          <a:pt x="434076" y="187044"/>
                        </a:cubicBezTo>
                        <a:close/>
                      </a:path>
                    </a:pathLst>
                  </a:custGeom>
                  <a:grpFill/>
                  <a:ln w="205" cap="flat">
                    <a:noFill/>
                    <a:prstDash val="solid"/>
                    <a:miter/>
                  </a:ln>
                </p:spPr>
                <p:txBody>
                  <a:bodyPr rtlCol="0" anchor="ctr"/>
                  <a:lstStyle/>
                  <a:p>
                    <a:endParaRPr lang="en-GB" dirty="0"/>
                  </a:p>
                </p:txBody>
              </p:sp>
              <p:sp>
                <p:nvSpPr>
                  <p:cNvPr id="553" name="Freihandform: Form 552">
                    <a:extLst>
                      <a:ext uri="{FF2B5EF4-FFF2-40B4-BE49-F238E27FC236}">
                        <a16:creationId xmlns:a16="http://schemas.microsoft.com/office/drawing/2014/main" id="{4D99A641-35C8-4875-A83A-8B9953F11942}"/>
                      </a:ext>
                    </a:extLst>
                  </p:cNvPr>
                  <p:cNvSpPr/>
                  <p:nvPr/>
                </p:nvSpPr>
                <p:spPr>
                  <a:xfrm>
                    <a:off x="871642" y="4313420"/>
                    <a:ext cx="440335" cy="46761"/>
                  </a:xfrm>
                  <a:custGeom>
                    <a:avLst/>
                    <a:gdLst>
                      <a:gd name="connsiteX0" fmla="*/ 6669 w 440335"/>
                      <a:gd name="connsiteY0" fmla="*/ 46761 h 46761"/>
                      <a:gd name="connsiteX1" fmla="*/ 6496 w 440335"/>
                      <a:gd name="connsiteY1" fmla="*/ 46761 h 46761"/>
                      <a:gd name="connsiteX2" fmla="*/ 2 w 440335"/>
                      <a:gd name="connsiteY2" fmla="*/ 39914 h 46761"/>
                      <a:gd name="connsiteX3" fmla="*/ 77832 w 440335"/>
                      <a:gd name="connsiteY3" fmla="*/ 0 h 46761"/>
                      <a:gd name="connsiteX4" fmla="*/ 148766 w 440335"/>
                      <a:gd name="connsiteY4" fmla="*/ 23401 h 46761"/>
                      <a:gd name="connsiteX5" fmla="*/ 219826 w 440335"/>
                      <a:gd name="connsiteY5" fmla="*/ 0 h 46761"/>
                      <a:gd name="connsiteX6" fmla="*/ 290842 w 440335"/>
                      <a:gd name="connsiteY6" fmla="*/ 24306 h 46761"/>
                      <a:gd name="connsiteX7" fmla="*/ 292824 w 440335"/>
                      <a:gd name="connsiteY7" fmla="*/ 22106 h 46761"/>
                      <a:gd name="connsiteX8" fmla="*/ 362501 w 440335"/>
                      <a:gd name="connsiteY8" fmla="*/ 0 h 46761"/>
                      <a:gd name="connsiteX9" fmla="*/ 431933 w 440335"/>
                      <a:gd name="connsiteY9" fmla="*/ 21962 h 46761"/>
                      <a:gd name="connsiteX10" fmla="*/ 440335 w 440335"/>
                      <a:gd name="connsiteY10" fmla="*/ 40140 h 46761"/>
                      <a:gd name="connsiteX11" fmla="*/ 433669 w 440335"/>
                      <a:gd name="connsiteY11" fmla="*/ 46761 h 46761"/>
                      <a:gd name="connsiteX12" fmla="*/ 433623 w 440335"/>
                      <a:gd name="connsiteY12" fmla="*/ 46761 h 46761"/>
                      <a:gd name="connsiteX13" fmla="*/ 427002 w 440335"/>
                      <a:gd name="connsiteY13" fmla="*/ 40037 h 46761"/>
                      <a:gd name="connsiteX14" fmla="*/ 422470 w 440335"/>
                      <a:gd name="connsiteY14" fmla="*/ 31359 h 46761"/>
                      <a:gd name="connsiteX15" fmla="*/ 362501 w 440335"/>
                      <a:gd name="connsiteY15" fmla="*/ 13346 h 46761"/>
                      <a:gd name="connsiteX16" fmla="*/ 302347 w 440335"/>
                      <a:gd name="connsiteY16" fmla="*/ 31441 h 46761"/>
                      <a:gd name="connsiteX17" fmla="*/ 298004 w 440335"/>
                      <a:gd name="connsiteY17" fmla="*/ 39955 h 46761"/>
                      <a:gd name="connsiteX18" fmla="*/ 296096 w 440335"/>
                      <a:gd name="connsiteY18" fmla="*/ 44746 h 46761"/>
                      <a:gd name="connsiteX19" fmla="*/ 291337 w 440335"/>
                      <a:gd name="connsiteY19" fmla="*/ 46761 h 46761"/>
                      <a:gd name="connsiteX20" fmla="*/ 284332 w 440335"/>
                      <a:gd name="connsiteY20" fmla="*/ 40304 h 46761"/>
                      <a:gd name="connsiteX21" fmla="*/ 219828 w 440335"/>
                      <a:gd name="connsiteY21" fmla="*/ 13346 h 46761"/>
                      <a:gd name="connsiteX22" fmla="*/ 155484 w 440335"/>
                      <a:gd name="connsiteY22" fmla="*/ 37857 h 46761"/>
                      <a:gd name="connsiteX23" fmla="*/ 148986 w 440335"/>
                      <a:gd name="connsiteY23" fmla="*/ 44026 h 46761"/>
                      <a:gd name="connsiteX24" fmla="*/ 142212 w 440335"/>
                      <a:gd name="connsiteY24" fmla="*/ 38145 h 46761"/>
                      <a:gd name="connsiteX25" fmla="*/ 77834 w 440335"/>
                      <a:gd name="connsiteY25" fmla="*/ 13346 h 46761"/>
                      <a:gd name="connsiteX26" fmla="*/ 13331 w 440335"/>
                      <a:gd name="connsiteY26" fmla="*/ 40263 h 46761"/>
                      <a:gd name="connsiteX27" fmla="*/ 6669 w 440335"/>
                      <a:gd name="connsiteY27" fmla="*/ 46761 h 4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0335" h="46761">
                        <a:moveTo>
                          <a:pt x="6669" y="46761"/>
                        </a:moveTo>
                        <a:cubicBezTo>
                          <a:pt x="6611" y="46761"/>
                          <a:pt x="6552" y="46761"/>
                          <a:pt x="6496" y="46761"/>
                        </a:cubicBezTo>
                        <a:cubicBezTo>
                          <a:pt x="2815" y="46658"/>
                          <a:pt x="-92" y="43594"/>
                          <a:pt x="2" y="39914"/>
                        </a:cubicBezTo>
                        <a:cubicBezTo>
                          <a:pt x="566" y="17911"/>
                          <a:pt x="35478" y="0"/>
                          <a:pt x="77832" y="0"/>
                        </a:cubicBezTo>
                        <a:cubicBezTo>
                          <a:pt x="108295" y="0"/>
                          <a:pt x="136304" y="9850"/>
                          <a:pt x="148766" y="23401"/>
                        </a:cubicBezTo>
                        <a:cubicBezTo>
                          <a:pt x="161184" y="9973"/>
                          <a:pt x="189450" y="0"/>
                          <a:pt x="219826" y="0"/>
                        </a:cubicBezTo>
                        <a:cubicBezTo>
                          <a:pt x="250778" y="0"/>
                          <a:pt x="278477" y="10158"/>
                          <a:pt x="290842" y="24306"/>
                        </a:cubicBezTo>
                        <a:cubicBezTo>
                          <a:pt x="291461" y="23566"/>
                          <a:pt x="292121" y="22825"/>
                          <a:pt x="292824" y="22106"/>
                        </a:cubicBezTo>
                        <a:cubicBezTo>
                          <a:pt x="305999" y="8678"/>
                          <a:pt x="333346" y="0"/>
                          <a:pt x="362501" y="0"/>
                        </a:cubicBezTo>
                        <a:cubicBezTo>
                          <a:pt x="391432" y="0"/>
                          <a:pt x="418684" y="8616"/>
                          <a:pt x="431933" y="21962"/>
                        </a:cubicBezTo>
                        <a:cubicBezTo>
                          <a:pt x="437473" y="27534"/>
                          <a:pt x="440376" y="33827"/>
                          <a:pt x="440335" y="40140"/>
                        </a:cubicBezTo>
                        <a:cubicBezTo>
                          <a:pt x="440309" y="43800"/>
                          <a:pt x="437331" y="46761"/>
                          <a:pt x="433669" y="46761"/>
                        </a:cubicBezTo>
                        <a:cubicBezTo>
                          <a:pt x="433656" y="46761"/>
                          <a:pt x="433640" y="46761"/>
                          <a:pt x="433623" y="46761"/>
                        </a:cubicBezTo>
                        <a:cubicBezTo>
                          <a:pt x="429943" y="46720"/>
                          <a:pt x="426975" y="43738"/>
                          <a:pt x="427002" y="40037"/>
                        </a:cubicBezTo>
                        <a:cubicBezTo>
                          <a:pt x="427025" y="36664"/>
                          <a:pt x="424551" y="33457"/>
                          <a:pt x="422470" y="31359"/>
                        </a:cubicBezTo>
                        <a:cubicBezTo>
                          <a:pt x="413564" y="22394"/>
                          <a:pt x="391563" y="13346"/>
                          <a:pt x="362501" y="13346"/>
                        </a:cubicBezTo>
                        <a:cubicBezTo>
                          <a:pt x="333217" y="13346"/>
                          <a:pt x="311187" y="22435"/>
                          <a:pt x="302347" y="31441"/>
                        </a:cubicBezTo>
                        <a:cubicBezTo>
                          <a:pt x="300330" y="33498"/>
                          <a:pt x="297940" y="36644"/>
                          <a:pt x="298004" y="39955"/>
                        </a:cubicBezTo>
                        <a:cubicBezTo>
                          <a:pt x="298037" y="41744"/>
                          <a:pt x="297350" y="43471"/>
                          <a:pt x="296096" y="44746"/>
                        </a:cubicBezTo>
                        <a:cubicBezTo>
                          <a:pt x="294844" y="46041"/>
                          <a:pt x="293126" y="46761"/>
                          <a:pt x="291337" y="46761"/>
                        </a:cubicBezTo>
                        <a:cubicBezTo>
                          <a:pt x="287741" y="46761"/>
                          <a:pt x="284449" y="43903"/>
                          <a:pt x="284332" y="40304"/>
                        </a:cubicBezTo>
                        <a:cubicBezTo>
                          <a:pt x="283980" y="29570"/>
                          <a:pt x="258074" y="13346"/>
                          <a:pt x="219828" y="13346"/>
                        </a:cubicBezTo>
                        <a:cubicBezTo>
                          <a:pt x="181634" y="13346"/>
                          <a:pt x="156096" y="29426"/>
                          <a:pt x="155484" y="37857"/>
                        </a:cubicBezTo>
                        <a:cubicBezTo>
                          <a:pt x="155233" y="41271"/>
                          <a:pt x="152420" y="43944"/>
                          <a:pt x="148986" y="44026"/>
                        </a:cubicBezTo>
                        <a:cubicBezTo>
                          <a:pt x="145508" y="43903"/>
                          <a:pt x="142621" y="41559"/>
                          <a:pt x="142212" y="38145"/>
                        </a:cubicBezTo>
                        <a:cubicBezTo>
                          <a:pt x="141170" y="29406"/>
                          <a:pt x="115936" y="13346"/>
                          <a:pt x="77834" y="13346"/>
                        </a:cubicBezTo>
                        <a:cubicBezTo>
                          <a:pt x="38881" y="13346"/>
                          <a:pt x="13613" y="29282"/>
                          <a:pt x="13331" y="40263"/>
                        </a:cubicBezTo>
                        <a:cubicBezTo>
                          <a:pt x="13239" y="43882"/>
                          <a:pt x="10272" y="46761"/>
                          <a:pt x="6669" y="46761"/>
                        </a:cubicBezTo>
                        <a:close/>
                      </a:path>
                    </a:pathLst>
                  </a:custGeom>
                  <a:grpFill/>
                  <a:ln w="205" cap="flat">
                    <a:noFill/>
                    <a:prstDash val="solid"/>
                    <a:miter/>
                  </a:ln>
                </p:spPr>
                <p:txBody>
                  <a:bodyPr rtlCol="0" anchor="ctr"/>
                  <a:lstStyle/>
                  <a:p>
                    <a:endParaRPr lang="en-GB" dirty="0"/>
                  </a:p>
                </p:txBody>
              </p:sp>
            </p:grpSp>
            <p:sp>
              <p:nvSpPr>
                <p:cNvPr id="551" name="Freihandform: Form 550">
                  <a:extLst>
                    <a:ext uri="{FF2B5EF4-FFF2-40B4-BE49-F238E27FC236}">
                      <a16:creationId xmlns:a16="http://schemas.microsoft.com/office/drawing/2014/main" id="{F3F9F5B5-C1A3-4A03-AC84-8916EF17F088}"/>
                    </a:ext>
                  </a:extLst>
                </p:cNvPr>
                <p:cNvSpPr/>
                <p:nvPr/>
              </p:nvSpPr>
              <p:spPr>
                <a:xfrm>
                  <a:off x="1014796" y="4183449"/>
                  <a:ext cx="151025" cy="34022"/>
                </a:xfrm>
                <a:custGeom>
                  <a:avLst/>
                  <a:gdLst>
                    <a:gd name="connsiteX0" fmla="*/ 77095 w 151025"/>
                    <a:gd name="connsiteY0" fmla="*/ 34022 h 34022"/>
                    <a:gd name="connsiteX1" fmla="*/ 2253 w 151025"/>
                    <a:gd name="connsiteY1" fmla="*/ 11670 h 34022"/>
                    <a:gd name="connsiteX2" fmla="*/ 1673 w 151025"/>
                    <a:gd name="connsiteY2" fmla="*/ 2252 h 34022"/>
                    <a:gd name="connsiteX3" fmla="*/ 11081 w 151025"/>
                    <a:gd name="connsiteY3" fmla="*/ 1676 h 34022"/>
                    <a:gd name="connsiteX4" fmla="*/ 77095 w 151025"/>
                    <a:gd name="connsiteY4" fmla="*/ 20697 h 34022"/>
                    <a:gd name="connsiteX5" fmla="*/ 140356 w 151025"/>
                    <a:gd name="connsiteY5" fmla="*/ 3917 h 34022"/>
                    <a:gd name="connsiteX6" fmla="*/ 149690 w 151025"/>
                    <a:gd name="connsiteY6" fmla="*/ 5233 h 34022"/>
                    <a:gd name="connsiteX7" fmla="*/ 148360 w 151025"/>
                    <a:gd name="connsiteY7" fmla="*/ 14569 h 34022"/>
                    <a:gd name="connsiteX8" fmla="*/ 77095 w 151025"/>
                    <a:gd name="connsiteY8" fmla="*/ 34022 h 34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1025" h="34022">
                      <a:moveTo>
                        <a:pt x="77095" y="34022"/>
                      </a:moveTo>
                      <a:cubicBezTo>
                        <a:pt x="46069" y="34022"/>
                        <a:pt x="18089" y="25673"/>
                        <a:pt x="2253" y="11670"/>
                      </a:cubicBezTo>
                      <a:cubicBezTo>
                        <a:pt x="-507" y="9223"/>
                        <a:pt x="-768" y="5007"/>
                        <a:pt x="1673" y="2252"/>
                      </a:cubicBezTo>
                      <a:cubicBezTo>
                        <a:pt x="4106" y="-504"/>
                        <a:pt x="8327" y="-771"/>
                        <a:pt x="11081" y="1676"/>
                      </a:cubicBezTo>
                      <a:cubicBezTo>
                        <a:pt x="24352" y="13397"/>
                        <a:pt x="49647" y="20697"/>
                        <a:pt x="77095" y="20697"/>
                      </a:cubicBezTo>
                      <a:cubicBezTo>
                        <a:pt x="102692" y="20697"/>
                        <a:pt x="126342" y="14405"/>
                        <a:pt x="140356" y="3917"/>
                      </a:cubicBezTo>
                      <a:cubicBezTo>
                        <a:pt x="143311" y="1696"/>
                        <a:pt x="147486" y="2293"/>
                        <a:pt x="149690" y="5233"/>
                      </a:cubicBezTo>
                      <a:cubicBezTo>
                        <a:pt x="151901" y="8174"/>
                        <a:pt x="151304" y="12369"/>
                        <a:pt x="148360" y="14569"/>
                      </a:cubicBezTo>
                      <a:cubicBezTo>
                        <a:pt x="132112" y="26743"/>
                        <a:pt x="105475" y="34022"/>
                        <a:pt x="77095" y="34022"/>
                      </a:cubicBezTo>
                      <a:close/>
                    </a:path>
                  </a:pathLst>
                </a:custGeom>
                <a:grpFill/>
                <a:ln w="205" cap="flat">
                  <a:noFill/>
                  <a:prstDash val="solid"/>
                  <a:miter/>
                </a:ln>
              </p:spPr>
              <p:txBody>
                <a:bodyPr rtlCol="0" anchor="ctr"/>
                <a:lstStyle/>
                <a:p>
                  <a:endParaRPr lang="en-GB" dirty="0"/>
                </a:p>
              </p:txBody>
            </p:sp>
          </p:grpSp>
          <p:sp>
            <p:nvSpPr>
              <p:cNvPr id="546" name="Freihandform: Form 545">
                <a:extLst>
                  <a:ext uri="{FF2B5EF4-FFF2-40B4-BE49-F238E27FC236}">
                    <a16:creationId xmlns:a16="http://schemas.microsoft.com/office/drawing/2014/main" id="{416D4AC9-CE23-439C-AF0C-0A44FD4BEEBE}"/>
                  </a:ext>
                </a:extLst>
              </p:cNvPr>
              <p:cNvSpPr/>
              <p:nvPr/>
            </p:nvSpPr>
            <p:spPr>
              <a:xfrm>
                <a:off x="871520" y="4346847"/>
                <a:ext cx="173339" cy="159991"/>
              </a:xfrm>
              <a:custGeom>
                <a:avLst/>
                <a:gdLst>
                  <a:gd name="connsiteX0" fmla="*/ 166669 w 173339"/>
                  <a:gd name="connsiteY0" fmla="*/ 159992 h 159991"/>
                  <a:gd name="connsiteX1" fmla="*/ 162167 w 173339"/>
                  <a:gd name="connsiteY1" fmla="*/ 158244 h 159991"/>
                  <a:gd name="connsiteX2" fmla="*/ 2162 w 173339"/>
                  <a:gd name="connsiteY2" fmla="*/ 11586 h 159991"/>
                  <a:gd name="connsiteX3" fmla="*/ 1753 w 173339"/>
                  <a:gd name="connsiteY3" fmla="*/ 2148 h 159991"/>
                  <a:gd name="connsiteX4" fmla="*/ 11173 w 173339"/>
                  <a:gd name="connsiteY4" fmla="*/ 1736 h 159991"/>
                  <a:gd name="connsiteX5" fmla="*/ 171178 w 173339"/>
                  <a:gd name="connsiteY5" fmla="*/ 148415 h 159991"/>
                  <a:gd name="connsiteX6" fmla="*/ 171587 w 173339"/>
                  <a:gd name="connsiteY6" fmla="*/ 157833 h 159991"/>
                  <a:gd name="connsiteX7" fmla="*/ 166669 w 173339"/>
                  <a:gd name="connsiteY7" fmla="*/ 159992 h 15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339" h="159991">
                    <a:moveTo>
                      <a:pt x="166669" y="159992"/>
                    </a:moveTo>
                    <a:cubicBezTo>
                      <a:pt x="165061" y="159992"/>
                      <a:pt x="163446" y="159416"/>
                      <a:pt x="162167" y="158244"/>
                    </a:cubicBezTo>
                    <a:lnTo>
                      <a:pt x="2162" y="11586"/>
                    </a:lnTo>
                    <a:cubicBezTo>
                      <a:pt x="-552" y="9098"/>
                      <a:pt x="-736" y="4862"/>
                      <a:pt x="1753" y="2148"/>
                    </a:cubicBezTo>
                    <a:cubicBezTo>
                      <a:pt x="4239" y="-546"/>
                      <a:pt x="8458" y="-731"/>
                      <a:pt x="11173" y="1736"/>
                    </a:cubicBezTo>
                    <a:lnTo>
                      <a:pt x="171178" y="148415"/>
                    </a:lnTo>
                    <a:cubicBezTo>
                      <a:pt x="173892" y="150903"/>
                      <a:pt x="174075" y="155118"/>
                      <a:pt x="171587" y="157833"/>
                    </a:cubicBezTo>
                    <a:cubicBezTo>
                      <a:pt x="170271" y="159272"/>
                      <a:pt x="168472" y="159992"/>
                      <a:pt x="166669" y="159992"/>
                    </a:cubicBezTo>
                    <a:close/>
                  </a:path>
                </a:pathLst>
              </a:custGeom>
              <a:grpFill/>
              <a:ln w="205" cap="flat">
                <a:noFill/>
                <a:prstDash val="solid"/>
                <a:miter/>
              </a:ln>
            </p:spPr>
            <p:txBody>
              <a:bodyPr rtlCol="0" anchor="ctr"/>
              <a:lstStyle/>
              <a:p>
                <a:endParaRPr lang="en-GB" dirty="0"/>
              </a:p>
            </p:txBody>
          </p:sp>
          <p:sp>
            <p:nvSpPr>
              <p:cNvPr id="547" name="Freihandform: Form 546">
                <a:extLst>
                  <a:ext uri="{FF2B5EF4-FFF2-40B4-BE49-F238E27FC236}">
                    <a16:creationId xmlns:a16="http://schemas.microsoft.com/office/drawing/2014/main" id="{9672E4DF-94E8-4274-9FA6-36B09E3A86C9}"/>
                  </a:ext>
                </a:extLst>
              </p:cNvPr>
              <p:cNvSpPr/>
              <p:nvPr/>
            </p:nvSpPr>
            <p:spPr>
              <a:xfrm>
                <a:off x="1138194" y="4346839"/>
                <a:ext cx="173338" cy="160000"/>
              </a:xfrm>
              <a:custGeom>
                <a:avLst/>
                <a:gdLst>
                  <a:gd name="connsiteX0" fmla="*/ 6671 w 173338"/>
                  <a:gd name="connsiteY0" fmla="*/ 160000 h 160000"/>
                  <a:gd name="connsiteX1" fmla="*/ 1752 w 173338"/>
                  <a:gd name="connsiteY1" fmla="*/ 157841 h 160000"/>
                  <a:gd name="connsiteX2" fmla="*/ 2161 w 173338"/>
                  <a:gd name="connsiteY2" fmla="*/ 148423 h 160000"/>
                  <a:gd name="connsiteX3" fmla="*/ 162166 w 173338"/>
                  <a:gd name="connsiteY3" fmla="*/ 1744 h 160000"/>
                  <a:gd name="connsiteX4" fmla="*/ 171587 w 173338"/>
                  <a:gd name="connsiteY4" fmla="*/ 2156 h 160000"/>
                  <a:gd name="connsiteX5" fmla="*/ 171177 w 173338"/>
                  <a:gd name="connsiteY5" fmla="*/ 11594 h 160000"/>
                  <a:gd name="connsiteX6" fmla="*/ 11172 w 173338"/>
                  <a:gd name="connsiteY6" fmla="*/ 158252 h 160000"/>
                  <a:gd name="connsiteX7" fmla="*/ 6671 w 173338"/>
                  <a:gd name="connsiteY7" fmla="*/ 160000 h 1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338" h="160000">
                    <a:moveTo>
                      <a:pt x="6671" y="160000"/>
                    </a:moveTo>
                    <a:cubicBezTo>
                      <a:pt x="4863" y="160000"/>
                      <a:pt x="3068" y="159280"/>
                      <a:pt x="1752" y="157841"/>
                    </a:cubicBezTo>
                    <a:cubicBezTo>
                      <a:pt x="-734" y="155126"/>
                      <a:pt x="-553" y="150911"/>
                      <a:pt x="2161" y="148423"/>
                    </a:cubicBezTo>
                    <a:lnTo>
                      <a:pt x="162166" y="1744"/>
                    </a:lnTo>
                    <a:cubicBezTo>
                      <a:pt x="164881" y="-744"/>
                      <a:pt x="169100" y="-538"/>
                      <a:pt x="171587" y="2156"/>
                    </a:cubicBezTo>
                    <a:cubicBezTo>
                      <a:pt x="174073" y="4870"/>
                      <a:pt x="173892" y="9106"/>
                      <a:pt x="171177" y="11594"/>
                    </a:cubicBezTo>
                    <a:lnTo>
                      <a:pt x="11172" y="158252"/>
                    </a:lnTo>
                    <a:cubicBezTo>
                      <a:pt x="9893" y="159424"/>
                      <a:pt x="8279" y="160000"/>
                      <a:pt x="6671" y="160000"/>
                    </a:cubicBezTo>
                    <a:close/>
                  </a:path>
                </a:pathLst>
              </a:custGeom>
              <a:grpFill/>
              <a:ln w="205" cap="flat">
                <a:noFill/>
                <a:prstDash val="solid"/>
                <a:miter/>
              </a:ln>
            </p:spPr>
            <p:txBody>
              <a:bodyPr rtlCol="0" anchor="ctr"/>
              <a:lstStyle/>
              <a:p>
                <a:endParaRPr lang="en-GB" dirty="0"/>
              </a:p>
            </p:txBody>
          </p:sp>
          <p:sp>
            <p:nvSpPr>
              <p:cNvPr id="548" name="Freihandform: Form 547">
                <a:extLst>
                  <a:ext uri="{FF2B5EF4-FFF2-40B4-BE49-F238E27FC236}">
                    <a16:creationId xmlns:a16="http://schemas.microsoft.com/office/drawing/2014/main" id="{4BCBB73F-AAAC-4407-8382-EA24C06A1FB1}"/>
                  </a:ext>
                </a:extLst>
              </p:cNvPr>
              <p:cNvSpPr/>
              <p:nvPr/>
            </p:nvSpPr>
            <p:spPr>
              <a:xfrm>
                <a:off x="1013190" y="4343084"/>
                <a:ext cx="45003" cy="137104"/>
              </a:xfrm>
              <a:custGeom>
                <a:avLst/>
                <a:gdLst>
                  <a:gd name="connsiteX0" fmla="*/ 38331 w 45003"/>
                  <a:gd name="connsiteY0" fmla="*/ 137104 h 137104"/>
                  <a:gd name="connsiteX1" fmla="*/ 31877 w 45003"/>
                  <a:gd name="connsiteY1" fmla="*/ 132087 h 137104"/>
                  <a:gd name="connsiteX2" fmla="*/ 209 w 45003"/>
                  <a:gd name="connsiteY2" fmla="*/ 8316 h 137104"/>
                  <a:gd name="connsiteX3" fmla="*/ 5015 w 45003"/>
                  <a:gd name="connsiteY3" fmla="*/ 214 h 137104"/>
                  <a:gd name="connsiteX4" fmla="*/ 13127 w 45003"/>
                  <a:gd name="connsiteY4" fmla="*/ 5026 h 137104"/>
                  <a:gd name="connsiteX5" fmla="*/ 44794 w 45003"/>
                  <a:gd name="connsiteY5" fmla="*/ 128776 h 137104"/>
                  <a:gd name="connsiteX6" fmla="*/ 39989 w 45003"/>
                  <a:gd name="connsiteY6" fmla="*/ 136878 h 137104"/>
                  <a:gd name="connsiteX7" fmla="*/ 38331 w 45003"/>
                  <a:gd name="connsiteY7" fmla="*/ 137104 h 13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03" h="137104">
                    <a:moveTo>
                      <a:pt x="38331" y="137104"/>
                    </a:moveTo>
                    <a:cubicBezTo>
                      <a:pt x="35356" y="137104"/>
                      <a:pt x="32648" y="135089"/>
                      <a:pt x="31877" y="132087"/>
                    </a:cubicBezTo>
                    <a:lnTo>
                      <a:pt x="209" y="8316"/>
                    </a:lnTo>
                    <a:cubicBezTo>
                      <a:pt x="-702" y="4759"/>
                      <a:pt x="1449" y="1119"/>
                      <a:pt x="5015" y="214"/>
                    </a:cubicBezTo>
                    <a:cubicBezTo>
                      <a:pt x="8599" y="-711"/>
                      <a:pt x="12212" y="1448"/>
                      <a:pt x="13127" y="5026"/>
                    </a:cubicBezTo>
                    <a:lnTo>
                      <a:pt x="44794" y="128776"/>
                    </a:lnTo>
                    <a:cubicBezTo>
                      <a:pt x="45705" y="132334"/>
                      <a:pt x="43555" y="135973"/>
                      <a:pt x="39989" y="136878"/>
                    </a:cubicBezTo>
                    <a:cubicBezTo>
                      <a:pt x="39432" y="137022"/>
                      <a:pt x="38878" y="137104"/>
                      <a:pt x="38331" y="137104"/>
                    </a:cubicBezTo>
                    <a:close/>
                  </a:path>
                </a:pathLst>
              </a:custGeom>
              <a:grpFill/>
              <a:ln w="205" cap="flat">
                <a:noFill/>
                <a:prstDash val="solid"/>
                <a:miter/>
              </a:ln>
            </p:spPr>
            <p:txBody>
              <a:bodyPr rtlCol="0" anchor="ctr"/>
              <a:lstStyle/>
              <a:p>
                <a:endParaRPr lang="en-GB" dirty="0"/>
              </a:p>
            </p:txBody>
          </p:sp>
          <p:sp>
            <p:nvSpPr>
              <p:cNvPr id="549" name="Freihandform: Form 548">
                <a:extLst>
                  <a:ext uri="{FF2B5EF4-FFF2-40B4-BE49-F238E27FC236}">
                    <a16:creationId xmlns:a16="http://schemas.microsoft.com/office/drawing/2014/main" id="{D5C8D611-33A1-48D3-93E3-D1162A5A9314}"/>
                  </a:ext>
                </a:extLst>
              </p:cNvPr>
              <p:cNvSpPr/>
              <p:nvPr/>
            </p:nvSpPr>
            <p:spPr>
              <a:xfrm>
                <a:off x="1124860" y="4343077"/>
                <a:ext cx="45003" cy="137111"/>
              </a:xfrm>
              <a:custGeom>
                <a:avLst/>
                <a:gdLst>
                  <a:gd name="connsiteX0" fmla="*/ 6672 w 45003"/>
                  <a:gd name="connsiteY0" fmla="*/ 137111 h 137111"/>
                  <a:gd name="connsiteX1" fmla="*/ 5015 w 45003"/>
                  <a:gd name="connsiteY1" fmla="*/ 136885 h 137111"/>
                  <a:gd name="connsiteX2" fmla="*/ 209 w 45003"/>
                  <a:gd name="connsiteY2" fmla="*/ 128783 h 137111"/>
                  <a:gd name="connsiteX3" fmla="*/ 31876 w 45003"/>
                  <a:gd name="connsiteY3" fmla="*/ 5033 h 137111"/>
                  <a:gd name="connsiteX4" fmla="*/ 39989 w 45003"/>
                  <a:gd name="connsiteY4" fmla="*/ 221 h 137111"/>
                  <a:gd name="connsiteX5" fmla="*/ 44794 w 45003"/>
                  <a:gd name="connsiteY5" fmla="*/ 8323 h 137111"/>
                  <a:gd name="connsiteX6" fmla="*/ 13127 w 45003"/>
                  <a:gd name="connsiteY6" fmla="*/ 132094 h 137111"/>
                  <a:gd name="connsiteX7" fmla="*/ 6672 w 45003"/>
                  <a:gd name="connsiteY7" fmla="*/ 137111 h 13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03" h="137111">
                    <a:moveTo>
                      <a:pt x="6672" y="137111"/>
                    </a:moveTo>
                    <a:cubicBezTo>
                      <a:pt x="6125" y="137111"/>
                      <a:pt x="5572" y="137029"/>
                      <a:pt x="5015" y="136885"/>
                    </a:cubicBezTo>
                    <a:cubicBezTo>
                      <a:pt x="1451" y="135980"/>
                      <a:pt x="-702" y="132341"/>
                      <a:pt x="209" y="128783"/>
                    </a:cubicBezTo>
                    <a:lnTo>
                      <a:pt x="31876" y="5033"/>
                    </a:lnTo>
                    <a:cubicBezTo>
                      <a:pt x="32787" y="1455"/>
                      <a:pt x="36386" y="-725"/>
                      <a:pt x="39989" y="221"/>
                    </a:cubicBezTo>
                    <a:cubicBezTo>
                      <a:pt x="43552" y="1126"/>
                      <a:pt x="45705" y="4766"/>
                      <a:pt x="44794" y="8323"/>
                    </a:cubicBezTo>
                    <a:lnTo>
                      <a:pt x="13127" y="132094"/>
                    </a:lnTo>
                    <a:cubicBezTo>
                      <a:pt x="12356" y="135096"/>
                      <a:pt x="9647" y="137111"/>
                      <a:pt x="6672" y="137111"/>
                    </a:cubicBezTo>
                    <a:close/>
                  </a:path>
                </a:pathLst>
              </a:custGeom>
              <a:grpFill/>
              <a:ln w="205" cap="flat">
                <a:noFill/>
                <a:prstDash val="solid"/>
                <a:miter/>
              </a:ln>
            </p:spPr>
            <p:txBody>
              <a:bodyPr rtlCol="0" anchor="ctr"/>
              <a:lstStyle/>
              <a:p>
                <a:endParaRPr lang="en-GB" dirty="0"/>
              </a:p>
            </p:txBody>
          </p:sp>
        </p:grpSp>
        <p:grpSp>
          <p:nvGrpSpPr>
            <p:cNvPr id="541" name="Grafik 348">
              <a:extLst>
                <a:ext uri="{FF2B5EF4-FFF2-40B4-BE49-F238E27FC236}">
                  <a16:creationId xmlns:a16="http://schemas.microsoft.com/office/drawing/2014/main" id="{D45B666E-C72C-4EB0-ACE0-0E2C8A7CB1D9}"/>
                </a:ext>
              </a:extLst>
            </p:cNvPr>
            <p:cNvGrpSpPr/>
            <p:nvPr/>
          </p:nvGrpSpPr>
          <p:grpSpPr>
            <a:xfrm>
              <a:off x="734833" y="4385568"/>
              <a:ext cx="117718" cy="143886"/>
              <a:chOff x="1031524" y="4466843"/>
              <a:chExt cx="120003" cy="146678"/>
            </a:xfrm>
            <a:solidFill>
              <a:schemeClr val="accent1"/>
            </a:solidFill>
          </p:grpSpPr>
          <p:sp>
            <p:nvSpPr>
              <p:cNvPr id="542" name="Freihandform: Form 541">
                <a:extLst>
                  <a:ext uri="{FF2B5EF4-FFF2-40B4-BE49-F238E27FC236}">
                    <a16:creationId xmlns:a16="http://schemas.microsoft.com/office/drawing/2014/main" id="{1A028173-3A54-4B92-89BD-1CE6585AB043}"/>
                  </a:ext>
                </a:extLst>
              </p:cNvPr>
              <p:cNvSpPr/>
              <p:nvPr/>
            </p:nvSpPr>
            <p:spPr>
              <a:xfrm>
                <a:off x="1031524" y="4493513"/>
                <a:ext cx="120003" cy="120007"/>
              </a:xfrm>
              <a:custGeom>
                <a:avLst/>
                <a:gdLst>
                  <a:gd name="connsiteX0" fmla="*/ 113337 w 120003"/>
                  <a:gd name="connsiteY0" fmla="*/ 120008 h 120007"/>
                  <a:gd name="connsiteX1" fmla="*/ 6667 w 120003"/>
                  <a:gd name="connsiteY1" fmla="*/ 120008 h 120007"/>
                  <a:gd name="connsiteX2" fmla="*/ 0 w 120003"/>
                  <a:gd name="connsiteY2" fmla="*/ 113345 h 120007"/>
                  <a:gd name="connsiteX3" fmla="*/ 0 w 120003"/>
                  <a:gd name="connsiteY3" fmla="*/ 6663 h 120007"/>
                  <a:gd name="connsiteX4" fmla="*/ 6667 w 120003"/>
                  <a:gd name="connsiteY4" fmla="*/ 0 h 120007"/>
                  <a:gd name="connsiteX5" fmla="*/ 113337 w 120003"/>
                  <a:gd name="connsiteY5" fmla="*/ 0 h 120007"/>
                  <a:gd name="connsiteX6" fmla="*/ 120004 w 120003"/>
                  <a:gd name="connsiteY6" fmla="*/ 6663 h 120007"/>
                  <a:gd name="connsiteX7" fmla="*/ 120004 w 120003"/>
                  <a:gd name="connsiteY7" fmla="*/ 113345 h 120007"/>
                  <a:gd name="connsiteX8" fmla="*/ 113337 w 120003"/>
                  <a:gd name="connsiteY8" fmla="*/ 120008 h 120007"/>
                  <a:gd name="connsiteX9" fmla="*/ 13335 w 120003"/>
                  <a:gd name="connsiteY9" fmla="*/ 106662 h 120007"/>
                  <a:gd name="connsiteX10" fmla="*/ 106672 w 120003"/>
                  <a:gd name="connsiteY10" fmla="*/ 106662 h 120007"/>
                  <a:gd name="connsiteX11" fmla="*/ 106672 w 120003"/>
                  <a:gd name="connsiteY11" fmla="*/ 13325 h 120007"/>
                  <a:gd name="connsiteX12" fmla="*/ 13335 w 120003"/>
                  <a:gd name="connsiteY12" fmla="*/ 13325 h 120007"/>
                  <a:gd name="connsiteX13" fmla="*/ 13335 w 120003"/>
                  <a:gd name="connsiteY13" fmla="*/ 106662 h 12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0003" h="120007">
                    <a:moveTo>
                      <a:pt x="113337" y="120008"/>
                    </a:moveTo>
                    <a:lnTo>
                      <a:pt x="6667" y="120008"/>
                    </a:lnTo>
                    <a:cubicBezTo>
                      <a:pt x="2986" y="120008"/>
                      <a:pt x="0" y="117026"/>
                      <a:pt x="0" y="113345"/>
                    </a:cubicBezTo>
                    <a:lnTo>
                      <a:pt x="0" y="6663"/>
                    </a:lnTo>
                    <a:cubicBezTo>
                      <a:pt x="0" y="2982"/>
                      <a:pt x="2986" y="0"/>
                      <a:pt x="6667" y="0"/>
                    </a:cubicBezTo>
                    <a:lnTo>
                      <a:pt x="113337" y="0"/>
                    </a:lnTo>
                    <a:cubicBezTo>
                      <a:pt x="117018" y="0"/>
                      <a:pt x="120004" y="2982"/>
                      <a:pt x="120004" y="6663"/>
                    </a:cubicBezTo>
                    <a:lnTo>
                      <a:pt x="120004" y="113345"/>
                    </a:lnTo>
                    <a:cubicBezTo>
                      <a:pt x="120004" y="117026"/>
                      <a:pt x="117020" y="120008"/>
                      <a:pt x="113337" y="120008"/>
                    </a:cubicBezTo>
                    <a:close/>
                    <a:moveTo>
                      <a:pt x="13335" y="106662"/>
                    </a:moveTo>
                    <a:lnTo>
                      <a:pt x="106672" y="106662"/>
                    </a:lnTo>
                    <a:lnTo>
                      <a:pt x="106672" y="13325"/>
                    </a:lnTo>
                    <a:lnTo>
                      <a:pt x="13335" y="13325"/>
                    </a:lnTo>
                    <a:lnTo>
                      <a:pt x="13335" y="106662"/>
                    </a:lnTo>
                    <a:close/>
                  </a:path>
                </a:pathLst>
              </a:custGeom>
              <a:solidFill>
                <a:schemeClr val="accent1"/>
              </a:solidFill>
              <a:ln w="205" cap="flat">
                <a:noFill/>
                <a:prstDash val="solid"/>
                <a:miter/>
              </a:ln>
            </p:spPr>
            <p:txBody>
              <a:bodyPr rtlCol="0" anchor="ctr"/>
              <a:lstStyle/>
              <a:p>
                <a:endParaRPr lang="en-GB" dirty="0"/>
              </a:p>
            </p:txBody>
          </p:sp>
          <p:sp>
            <p:nvSpPr>
              <p:cNvPr id="543" name="Freihandform: Form 542">
                <a:extLst>
                  <a:ext uri="{FF2B5EF4-FFF2-40B4-BE49-F238E27FC236}">
                    <a16:creationId xmlns:a16="http://schemas.microsoft.com/office/drawing/2014/main" id="{046B7F09-B4E2-4E30-9C31-3E5C7EA7BCCB}"/>
                  </a:ext>
                </a:extLst>
              </p:cNvPr>
              <p:cNvSpPr/>
              <p:nvPr/>
            </p:nvSpPr>
            <p:spPr>
              <a:xfrm>
                <a:off x="1071528" y="4520184"/>
                <a:ext cx="39999" cy="13325"/>
              </a:xfrm>
              <a:custGeom>
                <a:avLst/>
                <a:gdLst>
                  <a:gd name="connsiteX0" fmla="*/ 33333 w 39999"/>
                  <a:gd name="connsiteY0" fmla="*/ 13325 h 13325"/>
                  <a:gd name="connsiteX1" fmla="*/ 6667 w 39999"/>
                  <a:gd name="connsiteY1" fmla="*/ 13325 h 13325"/>
                  <a:gd name="connsiteX2" fmla="*/ 0 w 39999"/>
                  <a:gd name="connsiteY2" fmla="*/ 6663 h 13325"/>
                  <a:gd name="connsiteX3" fmla="*/ 6667 w 39999"/>
                  <a:gd name="connsiteY3" fmla="*/ 0 h 13325"/>
                  <a:gd name="connsiteX4" fmla="*/ 33333 w 39999"/>
                  <a:gd name="connsiteY4" fmla="*/ 0 h 13325"/>
                  <a:gd name="connsiteX5" fmla="*/ 40000 w 39999"/>
                  <a:gd name="connsiteY5" fmla="*/ 6663 h 13325"/>
                  <a:gd name="connsiteX6" fmla="*/ 33333 w 39999"/>
                  <a:gd name="connsiteY6" fmla="*/ 13325 h 1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99" h="13325">
                    <a:moveTo>
                      <a:pt x="33333" y="13325"/>
                    </a:moveTo>
                    <a:lnTo>
                      <a:pt x="6667" y="13325"/>
                    </a:lnTo>
                    <a:cubicBezTo>
                      <a:pt x="2986" y="13325"/>
                      <a:pt x="0" y="10343"/>
                      <a:pt x="0" y="6663"/>
                    </a:cubicBezTo>
                    <a:cubicBezTo>
                      <a:pt x="0" y="2982"/>
                      <a:pt x="2986" y="0"/>
                      <a:pt x="6667" y="0"/>
                    </a:cubicBezTo>
                    <a:lnTo>
                      <a:pt x="33333" y="0"/>
                    </a:lnTo>
                    <a:cubicBezTo>
                      <a:pt x="37014" y="0"/>
                      <a:pt x="40000" y="2982"/>
                      <a:pt x="40000" y="6663"/>
                    </a:cubicBezTo>
                    <a:cubicBezTo>
                      <a:pt x="40000" y="10343"/>
                      <a:pt x="37014" y="13325"/>
                      <a:pt x="33333" y="13325"/>
                    </a:cubicBezTo>
                    <a:close/>
                  </a:path>
                </a:pathLst>
              </a:custGeom>
              <a:solidFill>
                <a:schemeClr val="accent1"/>
              </a:solidFill>
              <a:ln w="205" cap="flat">
                <a:noFill/>
                <a:prstDash val="solid"/>
                <a:miter/>
              </a:ln>
            </p:spPr>
            <p:txBody>
              <a:bodyPr rtlCol="0" anchor="ctr"/>
              <a:lstStyle/>
              <a:p>
                <a:endParaRPr lang="en-GB" dirty="0"/>
              </a:p>
            </p:txBody>
          </p:sp>
          <p:sp>
            <p:nvSpPr>
              <p:cNvPr id="544" name="Freihandform: Form 543">
                <a:extLst>
                  <a:ext uri="{FF2B5EF4-FFF2-40B4-BE49-F238E27FC236}">
                    <a16:creationId xmlns:a16="http://schemas.microsoft.com/office/drawing/2014/main" id="{4A16B52D-4716-43D5-A061-087C43C0E48A}"/>
                  </a:ext>
                </a:extLst>
              </p:cNvPr>
              <p:cNvSpPr/>
              <p:nvPr/>
            </p:nvSpPr>
            <p:spPr>
              <a:xfrm>
                <a:off x="1031524" y="4466843"/>
                <a:ext cx="120000" cy="39995"/>
              </a:xfrm>
              <a:custGeom>
                <a:avLst/>
                <a:gdLst>
                  <a:gd name="connsiteX0" fmla="*/ 113336 w 120000"/>
                  <a:gd name="connsiteY0" fmla="*/ 39996 h 39995"/>
                  <a:gd name="connsiteX1" fmla="*/ 6666 w 120000"/>
                  <a:gd name="connsiteY1" fmla="*/ 39996 h 39995"/>
                  <a:gd name="connsiteX2" fmla="*/ 995 w 120000"/>
                  <a:gd name="connsiteY2" fmla="*/ 36829 h 39995"/>
                  <a:gd name="connsiteX3" fmla="*/ 703 w 120000"/>
                  <a:gd name="connsiteY3" fmla="*/ 30351 h 39995"/>
                  <a:gd name="connsiteX4" fmla="*/ 14036 w 120000"/>
                  <a:gd name="connsiteY4" fmla="*/ 3681 h 39995"/>
                  <a:gd name="connsiteX5" fmla="*/ 19999 w 120000"/>
                  <a:gd name="connsiteY5" fmla="*/ 0 h 39995"/>
                  <a:gd name="connsiteX6" fmla="*/ 100001 w 120000"/>
                  <a:gd name="connsiteY6" fmla="*/ 0 h 39995"/>
                  <a:gd name="connsiteX7" fmla="*/ 105965 w 120000"/>
                  <a:gd name="connsiteY7" fmla="*/ 3681 h 39995"/>
                  <a:gd name="connsiteX8" fmla="*/ 119298 w 120000"/>
                  <a:gd name="connsiteY8" fmla="*/ 30351 h 39995"/>
                  <a:gd name="connsiteX9" fmla="*/ 119006 w 120000"/>
                  <a:gd name="connsiteY9" fmla="*/ 36829 h 39995"/>
                  <a:gd name="connsiteX10" fmla="*/ 113336 w 120000"/>
                  <a:gd name="connsiteY10" fmla="*/ 39996 h 39995"/>
                  <a:gd name="connsiteX11" fmla="*/ 17456 w 120000"/>
                  <a:gd name="connsiteY11" fmla="*/ 26670 h 39995"/>
                  <a:gd name="connsiteX12" fmla="*/ 102549 w 120000"/>
                  <a:gd name="connsiteY12" fmla="*/ 26670 h 39995"/>
                  <a:gd name="connsiteX13" fmla="*/ 95882 w 120000"/>
                  <a:gd name="connsiteY13" fmla="*/ 13345 h 39995"/>
                  <a:gd name="connsiteX14" fmla="*/ 24122 w 120000"/>
                  <a:gd name="connsiteY14" fmla="*/ 13345 h 39995"/>
                  <a:gd name="connsiteX15" fmla="*/ 17456 w 120000"/>
                  <a:gd name="connsiteY15" fmla="*/ 26670 h 3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0000" h="39995">
                    <a:moveTo>
                      <a:pt x="113336" y="39996"/>
                    </a:moveTo>
                    <a:lnTo>
                      <a:pt x="6666" y="39996"/>
                    </a:lnTo>
                    <a:cubicBezTo>
                      <a:pt x="4355" y="39996"/>
                      <a:pt x="2210" y="38803"/>
                      <a:pt x="995" y="36829"/>
                    </a:cubicBezTo>
                    <a:cubicBezTo>
                      <a:pt x="-218" y="34875"/>
                      <a:pt x="-329" y="32408"/>
                      <a:pt x="703" y="30351"/>
                    </a:cubicBezTo>
                    <a:lnTo>
                      <a:pt x="14036" y="3681"/>
                    </a:lnTo>
                    <a:cubicBezTo>
                      <a:pt x="15165" y="1419"/>
                      <a:pt x="17474" y="0"/>
                      <a:pt x="19999" y="0"/>
                    </a:cubicBezTo>
                    <a:lnTo>
                      <a:pt x="100001" y="0"/>
                    </a:lnTo>
                    <a:cubicBezTo>
                      <a:pt x="102526" y="0"/>
                      <a:pt x="104836" y="1419"/>
                      <a:pt x="105965" y="3681"/>
                    </a:cubicBezTo>
                    <a:lnTo>
                      <a:pt x="119298" y="30351"/>
                    </a:lnTo>
                    <a:cubicBezTo>
                      <a:pt x="120330" y="32408"/>
                      <a:pt x="120219" y="34875"/>
                      <a:pt x="119006" y="36829"/>
                    </a:cubicBezTo>
                    <a:cubicBezTo>
                      <a:pt x="117795" y="38803"/>
                      <a:pt x="115648" y="39996"/>
                      <a:pt x="113336" y="39996"/>
                    </a:cubicBezTo>
                    <a:close/>
                    <a:moveTo>
                      <a:pt x="17456" y="26670"/>
                    </a:moveTo>
                    <a:lnTo>
                      <a:pt x="102549" y="26670"/>
                    </a:lnTo>
                    <a:lnTo>
                      <a:pt x="95882" y="13345"/>
                    </a:lnTo>
                    <a:lnTo>
                      <a:pt x="24122" y="13345"/>
                    </a:lnTo>
                    <a:lnTo>
                      <a:pt x="17456" y="26670"/>
                    </a:lnTo>
                    <a:close/>
                  </a:path>
                </a:pathLst>
              </a:custGeom>
              <a:solidFill>
                <a:schemeClr val="accent1"/>
              </a:solidFill>
              <a:ln w="205" cap="flat">
                <a:noFill/>
                <a:prstDash val="solid"/>
                <a:miter/>
              </a:ln>
            </p:spPr>
            <p:txBody>
              <a:bodyPr rtlCol="0" anchor="ctr"/>
              <a:lstStyle/>
              <a:p>
                <a:endParaRPr lang="en-GB" dirty="0"/>
              </a:p>
            </p:txBody>
          </p:sp>
        </p:grpSp>
      </p:grpSp>
      <p:sp>
        <p:nvSpPr>
          <p:cNvPr id="554" name="TextBox 1407">
            <a:extLst>
              <a:ext uri="{FF2B5EF4-FFF2-40B4-BE49-F238E27FC236}">
                <a16:creationId xmlns:a16="http://schemas.microsoft.com/office/drawing/2014/main" id="{7AD44086-FF84-44EA-881B-637A73A23444}"/>
              </a:ext>
            </a:extLst>
          </p:cNvPr>
          <p:cNvSpPr txBox="1"/>
          <p:nvPr/>
        </p:nvSpPr>
        <p:spPr>
          <a:xfrm>
            <a:off x="515929" y="4547732"/>
            <a:ext cx="556243" cy="107722"/>
          </a:xfrm>
          <a:prstGeom prst="rect">
            <a:avLst/>
          </a:prstGeom>
          <a:noFill/>
          <a:effectLst/>
        </p:spPr>
        <p:txBody>
          <a:bodyPr wrap="none" lIns="0" tIns="0" rIns="0" bIns="0" rtlCol="0" anchor="t">
            <a:spAutoFit/>
          </a:bodyPr>
          <a:lstStyle/>
          <a:p>
            <a:pPr algn="ctr"/>
            <a:r>
              <a:rPr lang="en-GB" sz="700" dirty="0">
                <a:solidFill>
                  <a:schemeClr val="tx2"/>
                </a:solidFill>
              </a:rPr>
              <a:t>Drop-shipping</a:t>
            </a:r>
          </a:p>
        </p:txBody>
      </p:sp>
      <p:grpSp>
        <p:nvGrpSpPr>
          <p:cNvPr id="44" name="Group 43">
            <a:extLst>
              <a:ext uri="{FF2B5EF4-FFF2-40B4-BE49-F238E27FC236}">
                <a16:creationId xmlns:a16="http://schemas.microsoft.com/office/drawing/2014/main" id="{7E2A31DE-A825-D000-5897-B8CACA01044D}"/>
              </a:ext>
            </a:extLst>
          </p:cNvPr>
          <p:cNvGrpSpPr/>
          <p:nvPr/>
        </p:nvGrpSpPr>
        <p:grpSpPr>
          <a:xfrm>
            <a:off x="3606351" y="4234785"/>
            <a:ext cx="648000" cy="294669"/>
            <a:chOff x="3606351" y="4234785"/>
            <a:chExt cx="648000" cy="294669"/>
          </a:xfrm>
        </p:grpSpPr>
        <p:grpSp>
          <p:nvGrpSpPr>
            <p:cNvPr id="556" name="Gruppieren 555">
              <a:extLst>
                <a:ext uri="{FF2B5EF4-FFF2-40B4-BE49-F238E27FC236}">
                  <a16:creationId xmlns:a16="http://schemas.microsoft.com/office/drawing/2014/main" id="{EAD911FA-B061-454D-9ED2-F0C33FB3A7F0}"/>
                </a:ext>
              </a:extLst>
            </p:cNvPr>
            <p:cNvGrpSpPr/>
            <p:nvPr/>
          </p:nvGrpSpPr>
          <p:grpSpPr>
            <a:xfrm>
              <a:off x="3606351" y="4250954"/>
              <a:ext cx="574918" cy="278500"/>
              <a:chOff x="3390425" y="4312503"/>
              <a:chExt cx="438740" cy="212533"/>
            </a:xfrm>
          </p:grpSpPr>
          <p:sp>
            <p:nvSpPr>
              <p:cNvPr id="566" name="Freihandform: Form 565">
                <a:extLst>
                  <a:ext uri="{FF2B5EF4-FFF2-40B4-BE49-F238E27FC236}">
                    <a16:creationId xmlns:a16="http://schemas.microsoft.com/office/drawing/2014/main" id="{235E9813-5F6B-4745-8200-7A35808A6331}"/>
                  </a:ext>
                </a:extLst>
              </p:cNvPr>
              <p:cNvSpPr/>
              <p:nvPr/>
            </p:nvSpPr>
            <p:spPr>
              <a:xfrm>
                <a:off x="3390429" y="4329315"/>
                <a:ext cx="107525" cy="13325"/>
              </a:xfrm>
              <a:custGeom>
                <a:avLst/>
                <a:gdLst>
                  <a:gd name="connsiteX0" fmla="*/ 100863 w 107525"/>
                  <a:gd name="connsiteY0" fmla="*/ 13325 h 13325"/>
                  <a:gd name="connsiteX1" fmla="*/ 6663 w 107525"/>
                  <a:gd name="connsiteY1" fmla="*/ 13325 h 13325"/>
                  <a:gd name="connsiteX2" fmla="*/ 0 w 107525"/>
                  <a:gd name="connsiteY2" fmla="*/ 6663 h 13325"/>
                  <a:gd name="connsiteX3" fmla="*/ 6663 w 107525"/>
                  <a:gd name="connsiteY3" fmla="*/ 0 h 13325"/>
                  <a:gd name="connsiteX4" fmla="*/ 100863 w 107525"/>
                  <a:gd name="connsiteY4" fmla="*/ 0 h 13325"/>
                  <a:gd name="connsiteX5" fmla="*/ 107526 w 107525"/>
                  <a:gd name="connsiteY5" fmla="*/ 6663 h 13325"/>
                  <a:gd name="connsiteX6" fmla="*/ 100863 w 107525"/>
                  <a:gd name="connsiteY6" fmla="*/ 13325 h 1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525" h="13325">
                    <a:moveTo>
                      <a:pt x="100863" y="13325"/>
                    </a:moveTo>
                    <a:lnTo>
                      <a:pt x="6663" y="13325"/>
                    </a:lnTo>
                    <a:cubicBezTo>
                      <a:pt x="2982" y="13325"/>
                      <a:pt x="0" y="10344"/>
                      <a:pt x="0" y="6663"/>
                    </a:cubicBezTo>
                    <a:cubicBezTo>
                      <a:pt x="0" y="2982"/>
                      <a:pt x="2982" y="0"/>
                      <a:pt x="6663" y="0"/>
                    </a:cubicBezTo>
                    <a:lnTo>
                      <a:pt x="100863" y="0"/>
                    </a:lnTo>
                    <a:cubicBezTo>
                      <a:pt x="104544" y="0"/>
                      <a:pt x="107526" y="2982"/>
                      <a:pt x="107526" y="6663"/>
                    </a:cubicBezTo>
                    <a:cubicBezTo>
                      <a:pt x="107526" y="10344"/>
                      <a:pt x="104544" y="13325"/>
                      <a:pt x="100863" y="13325"/>
                    </a:cubicBezTo>
                    <a:close/>
                  </a:path>
                </a:pathLst>
              </a:custGeom>
              <a:solidFill>
                <a:schemeClr val="accent1"/>
              </a:solidFill>
              <a:ln w="205" cap="flat">
                <a:noFill/>
                <a:prstDash val="solid"/>
                <a:miter/>
              </a:ln>
            </p:spPr>
            <p:txBody>
              <a:bodyPr rtlCol="0" anchor="ctr"/>
              <a:lstStyle/>
              <a:p>
                <a:endParaRPr lang="en-GB" dirty="0"/>
              </a:p>
            </p:txBody>
          </p:sp>
          <p:sp>
            <p:nvSpPr>
              <p:cNvPr id="567" name="Freihandform: Form 566">
                <a:extLst>
                  <a:ext uri="{FF2B5EF4-FFF2-40B4-BE49-F238E27FC236}">
                    <a16:creationId xmlns:a16="http://schemas.microsoft.com/office/drawing/2014/main" id="{5710CFD1-EA68-47C1-A91A-6D6428912FAD}"/>
                  </a:ext>
                </a:extLst>
              </p:cNvPr>
              <p:cNvSpPr/>
              <p:nvPr/>
            </p:nvSpPr>
            <p:spPr>
              <a:xfrm>
                <a:off x="3533919" y="4312503"/>
                <a:ext cx="295246" cy="212533"/>
              </a:xfrm>
              <a:custGeom>
                <a:avLst/>
                <a:gdLst>
                  <a:gd name="connsiteX0" fmla="*/ 148879 w 295246"/>
                  <a:gd name="connsiteY0" fmla="*/ 212534 h 212533"/>
                  <a:gd name="connsiteX1" fmla="*/ 146144 w 295246"/>
                  <a:gd name="connsiteY1" fmla="*/ 212369 h 212533"/>
                  <a:gd name="connsiteX2" fmla="*/ 130639 w 295246"/>
                  <a:gd name="connsiteY2" fmla="*/ 204000 h 212533"/>
                  <a:gd name="connsiteX3" fmla="*/ 64096 w 295246"/>
                  <a:gd name="connsiteY3" fmla="*/ 140233 h 212533"/>
                  <a:gd name="connsiteX4" fmla="*/ 50113 w 295246"/>
                  <a:gd name="connsiteY4" fmla="*/ 140233 h 212533"/>
                  <a:gd name="connsiteX5" fmla="*/ 43430 w 295246"/>
                  <a:gd name="connsiteY5" fmla="*/ 133571 h 212533"/>
                  <a:gd name="connsiteX6" fmla="*/ 50113 w 295246"/>
                  <a:gd name="connsiteY6" fmla="*/ 126908 h 212533"/>
                  <a:gd name="connsiteX7" fmla="*/ 66769 w 295246"/>
                  <a:gd name="connsiteY7" fmla="*/ 126908 h 212533"/>
                  <a:gd name="connsiteX8" fmla="*/ 71396 w 295246"/>
                  <a:gd name="connsiteY8" fmla="*/ 128759 h 212533"/>
                  <a:gd name="connsiteX9" fmla="*/ 140160 w 295246"/>
                  <a:gd name="connsiteY9" fmla="*/ 194664 h 212533"/>
                  <a:gd name="connsiteX10" fmla="*/ 140777 w 295246"/>
                  <a:gd name="connsiteY10" fmla="*/ 195343 h 212533"/>
                  <a:gd name="connsiteX11" fmla="*/ 147666 w 295246"/>
                  <a:gd name="connsiteY11" fmla="*/ 199127 h 212533"/>
                  <a:gd name="connsiteX12" fmla="*/ 155233 w 295246"/>
                  <a:gd name="connsiteY12" fmla="*/ 196967 h 212533"/>
                  <a:gd name="connsiteX13" fmla="*/ 157289 w 295246"/>
                  <a:gd name="connsiteY13" fmla="*/ 195343 h 212533"/>
                  <a:gd name="connsiteX14" fmla="*/ 162204 w 295246"/>
                  <a:gd name="connsiteY14" fmla="*/ 185185 h 212533"/>
                  <a:gd name="connsiteX15" fmla="*/ 166090 w 295246"/>
                  <a:gd name="connsiteY15" fmla="*/ 179859 h 212533"/>
                  <a:gd name="connsiteX16" fmla="*/ 172629 w 295246"/>
                  <a:gd name="connsiteY16" fmla="*/ 180434 h 212533"/>
                  <a:gd name="connsiteX17" fmla="*/ 184926 w 295246"/>
                  <a:gd name="connsiteY17" fmla="*/ 180085 h 212533"/>
                  <a:gd name="connsiteX18" fmla="*/ 186983 w 295246"/>
                  <a:gd name="connsiteY18" fmla="*/ 178440 h 212533"/>
                  <a:gd name="connsiteX19" fmla="*/ 193028 w 295246"/>
                  <a:gd name="connsiteY19" fmla="*/ 168179 h 212533"/>
                  <a:gd name="connsiteX20" fmla="*/ 198272 w 295246"/>
                  <a:gd name="connsiteY20" fmla="*/ 164189 h 212533"/>
                  <a:gd name="connsiteX21" fmla="*/ 204379 w 295246"/>
                  <a:gd name="connsiteY21" fmla="*/ 166657 h 212533"/>
                  <a:gd name="connsiteX22" fmla="*/ 205942 w 295246"/>
                  <a:gd name="connsiteY22" fmla="*/ 168611 h 212533"/>
                  <a:gd name="connsiteX23" fmla="*/ 220377 w 295246"/>
                  <a:gd name="connsiteY23" fmla="*/ 170256 h 212533"/>
                  <a:gd name="connsiteX24" fmla="*/ 222434 w 295246"/>
                  <a:gd name="connsiteY24" fmla="*/ 168611 h 212533"/>
                  <a:gd name="connsiteX25" fmla="*/ 225292 w 295246"/>
                  <a:gd name="connsiteY25" fmla="*/ 156108 h 212533"/>
                  <a:gd name="connsiteX26" fmla="*/ 227349 w 295246"/>
                  <a:gd name="connsiteY26" fmla="*/ 147862 h 212533"/>
                  <a:gd name="connsiteX27" fmla="*/ 235841 w 295246"/>
                  <a:gd name="connsiteY27" fmla="*/ 148376 h 212533"/>
                  <a:gd name="connsiteX28" fmla="*/ 256240 w 295246"/>
                  <a:gd name="connsiteY28" fmla="*/ 167480 h 212533"/>
                  <a:gd name="connsiteX29" fmla="*/ 277276 w 295246"/>
                  <a:gd name="connsiteY29" fmla="*/ 167356 h 212533"/>
                  <a:gd name="connsiteX30" fmla="*/ 278448 w 295246"/>
                  <a:gd name="connsiteY30" fmla="*/ 146587 h 212533"/>
                  <a:gd name="connsiteX31" fmla="*/ 204646 w 295246"/>
                  <a:gd name="connsiteY31" fmla="*/ 57424 h 212533"/>
                  <a:gd name="connsiteX32" fmla="*/ 203968 w 295246"/>
                  <a:gd name="connsiteY32" fmla="*/ 49919 h 212533"/>
                  <a:gd name="connsiteX33" fmla="*/ 209212 w 295246"/>
                  <a:gd name="connsiteY33" fmla="*/ 40542 h 212533"/>
                  <a:gd name="connsiteX34" fmla="*/ 207649 w 295246"/>
                  <a:gd name="connsiteY34" fmla="*/ 20328 h 212533"/>
                  <a:gd name="connsiteX35" fmla="*/ 190602 w 295246"/>
                  <a:gd name="connsiteY35" fmla="*/ 13542 h 212533"/>
                  <a:gd name="connsiteX36" fmla="*/ 78511 w 295246"/>
                  <a:gd name="connsiteY36" fmla="*/ 30055 h 212533"/>
                  <a:gd name="connsiteX37" fmla="*/ 77586 w 295246"/>
                  <a:gd name="connsiteY37" fmla="*/ 30137 h 212533"/>
                  <a:gd name="connsiteX38" fmla="*/ 6704 w 295246"/>
                  <a:gd name="connsiteY38" fmla="*/ 30610 h 212533"/>
                  <a:gd name="connsiteX39" fmla="*/ 6663 w 295246"/>
                  <a:gd name="connsiteY39" fmla="*/ 30610 h 212533"/>
                  <a:gd name="connsiteX40" fmla="*/ 0 w 295246"/>
                  <a:gd name="connsiteY40" fmla="*/ 23989 h 212533"/>
                  <a:gd name="connsiteX41" fmla="*/ 6622 w 295246"/>
                  <a:gd name="connsiteY41" fmla="*/ 17285 h 212533"/>
                  <a:gd name="connsiteX42" fmla="*/ 77030 w 295246"/>
                  <a:gd name="connsiteY42" fmla="*/ 16812 h 212533"/>
                  <a:gd name="connsiteX43" fmla="*/ 188669 w 295246"/>
                  <a:gd name="connsiteY43" fmla="*/ 341 h 212533"/>
                  <a:gd name="connsiteX44" fmla="*/ 218136 w 295246"/>
                  <a:gd name="connsiteY44" fmla="*/ 12082 h 212533"/>
                  <a:gd name="connsiteX45" fmla="*/ 220850 w 295246"/>
                  <a:gd name="connsiteY45" fmla="*/ 47081 h 212533"/>
                  <a:gd name="connsiteX46" fmla="*/ 217828 w 295246"/>
                  <a:gd name="connsiteY46" fmla="*/ 52448 h 212533"/>
                  <a:gd name="connsiteX47" fmla="*/ 288730 w 295246"/>
                  <a:gd name="connsiteY47" fmla="*/ 138095 h 212533"/>
                  <a:gd name="connsiteX48" fmla="*/ 286509 w 295246"/>
                  <a:gd name="connsiteY48" fmla="*/ 176959 h 212533"/>
                  <a:gd name="connsiteX49" fmla="*/ 247110 w 295246"/>
                  <a:gd name="connsiteY49" fmla="*/ 177206 h 212533"/>
                  <a:gd name="connsiteX50" fmla="*/ 238124 w 295246"/>
                  <a:gd name="connsiteY50" fmla="*/ 168775 h 212533"/>
                  <a:gd name="connsiteX51" fmla="*/ 230741 w 295246"/>
                  <a:gd name="connsiteY51" fmla="*/ 179057 h 212533"/>
                  <a:gd name="connsiteX52" fmla="*/ 228685 w 295246"/>
                  <a:gd name="connsiteY52" fmla="*/ 180702 h 212533"/>
                  <a:gd name="connsiteX53" fmla="*/ 200945 w 295246"/>
                  <a:gd name="connsiteY53" fmla="*/ 181895 h 212533"/>
                  <a:gd name="connsiteX54" fmla="*/ 195290 w 295246"/>
                  <a:gd name="connsiteY54" fmla="*/ 188886 h 212533"/>
                  <a:gd name="connsiteX55" fmla="*/ 193234 w 295246"/>
                  <a:gd name="connsiteY55" fmla="*/ 190510 h 212533"/>
                  <a:gd name="connsiteX56" fmla="*/ 173246 w 295246"/>
                  <a:gd name="connsiteY56" fmla="*/ 195014 h 212533"/>
                  <a:gd name="connsiteX57" fmla="*/ 165658 w 295246"/>
                  <a:gd name="connsiteY57" fmla="*/ 205727 h 212533"/>
                  <a:gd name="connsiteX58" fmla="*/ 163520 w 295246"/>
                  <a:gd name="connsiteY58" fmla="*/ 207414 h 212533"/>
                  <a:gd name="connsiteX59" fmla="*/ 148879 w 295246"/>
                  <a:gd name="connsiteY59" fmla="*/ 212534 h 212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95246" h="212533">
                    <a:moveTo>
                      <a:pt x="148879" y="212534"/>
                    </a:moveTo>
                    <a:cubicBezTo>
                      <a:pt x="147974" y="212534"/>
                      <a:pt x="147069" y="212472"/>
                      <a:pt x="146144" y="212369"/>
                    </a:cubicBezTo>
                    <a:cubicBezTo>
                      <a:pt x="140036" y="211670"/>
                      <a:pt x="134546" y="208709"/>
                      <a:pt x="130639" y="204000"/>
                    </a:cubicBezTo>
                    <a:lnTo>
                      <a:pt x="64096" y="140233"/>
                    </a:lnTo>
                    <a:lnTo>
                      <a:pt x="50113" y="140233"/>
                    </a:lnTo>
                    <a:cubicBezTo>
                      <a:pt x="46412" y="140233"/>
                      <a:pt x="43430" y="137251"/>
                      <a:pt x="43430" y="133571"/>
                    </a:cubicBezTo>
                    <a:cubicBezTo>
                      <a:pt x="43430" y="129890"/>
                      <a:pt x="46412" y="126908"/>
                      <a:pt x="50113" y="126908"/>
                    </a:cubicBezTo>
                    <a:lnTo>
                      <a:pt x="66769" y="126908"/>
                    </a:lnTo>
                    <a:cubicBezTo>
                      <a:pt x="68497" y="126908"/>
                      <a:pt x="70142" y="127566"/>
                      <a:pt x="71396" y="128759"/>
                    </a:cubicBezTo>
                    <a:lnTo>
                      <a:pt x="140160" y="194664"/>
                    </a:lnTo>
                    <a:cubicBezTo>
                      <a:pt x="140386" y="194870"/>
                      <a:pt x="140592" y="195096"/>
                      <a:pt x="140777" y="195343"/>
                    </a:cubicBezTo>
                    <a:cubicBezTo>
                      <a:pt x="142463" y="197461"/>
                      <a:pt x="144910" y="198818"/>
                      <a:pt x="147666" y="199127"/>
                    </a:cubicBezTo>
                    <a:cubicBezTo>
                      <a:pt x="150359" y="199435"/>
                      <a:pt x="153094" y="198674"/>
                      <a:pt x="155233" y="196967"/>
                    </a:cubicBezTo>
                    <a:lnTo>
                      <a:pt x="157289" y="195343"/>
                    </a:lnTo>
                    <a:cubicBezTo>
                      <a:pt x="160641" y="192588"/>
                      <a:pt x="161978" y="187076"/>
                      <a:pt x="162204" y="185185"/>
                    </a:cubicBezTo>
                    <a:cubicBezTo>
                      <a:pt x="162471" y="182861"/>
                      <a:pt x="163952" y="180825"/>
                      <a:pt x="166090" y="179859"/>
                    </a:cubicBezTo>
                    <a:cubicBezTo>
                      <a:pt x="168229" y="178892"/>
                      <a:pt x="170717" y="179119"/>
                      <a:pt x="172629" y="180434"/>
                    </a:cubicBezTo>
                    <a:cubicBezTo>
                      <a:pt x="176351" y="183046"/>
                      <a:pt x="181410" y="182882"/>
                      <a:pt x="184926" y="180085"/>
                    </a:cubicBezTo>
                    <a:lnTo>
                      <a:pt x="186983" y="178440"/>
                    </a:lnTo>
                    <a:cubicBezTo>
                      <a:pt x="188401" y="177309"/>
                      <a:pt x="191342" y="172086"/>
                      <a:pt x="193028" y="168179"/>
                    </a:cubicBezTo>
                    <a:cubicBezTo>
                      <a:pt x="193954" y="166020"/>
                      <a:pt x="195928" y="164498"/>
                      <a:pt x="198272" y="164189"/>
                    </a:cubicBezTo>
                    <a:cubicBezTo>
                      <a:pt x="200637" y="163860"/>
                      <a:pt x="202919" y="164806"/>
                      <a:pt x="204379" y="166657"/>
                    </a:cubicBezTo>
                    <a:lnTo>
                      <a:pt x="205942" y="168611"/>
                    </a:lnTo>
                    <a:cubicBezTo>
                      <a:pt x="209458" y="173052"/>
                      <a:pt x="215915" y="173793"/>
                      <a:pt x="220377" y="170256"/>
                    </a:cubicBezTo>
                    <a:lnTo>
                      <a:pt x="222434" y="168611"/>
                    </a:lnTo>
                    <a:cubicBezTo>
                      <a:pt x="226135" y="165670"/>
                      <a:pt x="227349" y="160406"/>
                      <a:pt x="225292" y="156108"/>
                    </a:cubicBezTo>
                    <a:cubicBezTo>
                      <a:pt x="223894" y="153229"/>
                      <a:pt x="224757" y="149754"/>
                      <a:pt x="227349" y="147862"/>
                    </a:cubicBezTo>
                    <a:cubicBezTo>
                      <a:pt x="229939" y="145950"/>
                      <a:pt x="233518" y="146155"/>
                      <a:pt x="235841" y="148376"/>
                    </a:cubicBezTo>
                    <a:lnTo>
                      <a:pt x="256240" y="167480"/>
                    </a:lnTo>
                    <a:cubicBezTo>
                      <a:pt x="262162" y="173032"/>
                      <a:pt x="271416" y="172970"/>
                      <a:pt x="277276" y="167356"/>
                    </a:cubicBezTo>
                    <a:cubicBezTo>
                      <a:pt x="282993" y="161825"/>
                      <a:pt x="283507" y="152715"/>
                      <a:pt x="278448" y="146587"/>
                    </a:cubicBezTo>
                    <a:lnTo>
                      <a:pt x="204646" y="57424"/>
                    </a:lnTo>
                    <a:cubicBezTo>
                      <a:pt x="202878" y="55307"/>
                      <a:pt x="202611" y="52325"/>
                      <a:pt x="203968" y="49919"/>
                    </a:cubicBezTo>
                    <a:lnTo>
                      <a:pt x="209212" y="40542"/>
                    </a:lnTo>
                    <a:cubicBezTo>
                      <a:pt x="212831" y="34085"/>
                      <a:pt x="212234" y="26148"/>
                      <a:pt x="207649" y="20328"/>
                    </a:cubicBezTo>
                    <a:cubicBezTo>
                      <a:pt x="203598" y="15188"/>
                      <a:pt x="197079" y="12576"/>
                      <a:pt x="190602" y="13542"/>
                    </a:cubicBezTo>
                    <a:lnTo>
                      <a:pt x="78511" y="30055"/>
                    </a:lnTo>
                    <a:cubicBezTo>
                      <a:pt x="78203" y="30116"/>
                      <a:pt x="77915" y="30137"/>
                      <a:pt x="77586" y="30137"/>
                    </a:cubicBezTo>
                    <a:lnTo>
                      <a:pt x="6704" y="30610"/>
                    </a:lnTo>
                    <a:cubicBezTo>
                      <a:pt x="6704" y="30610"/>
                      <a:pt x="6683" y="30610"/>
                      <a:pt x="6663" y="30610"/>
                    </a:cubicBezTo>
                    <a:cubicBezTo>
                      <a:pt x="3002" y="30610"/>
                      <a:pt x="21" y="27669"/>
                      <a:pt x="0" y="23989"/>
                    </a:cubicBezTo>
                    <a:cubicBezTo>
                      <a:pt x="-20" y="20308"/>
                      <a:pt x="2941" y="17305"/>
                      <a:pt x="6622" y="17285"/>
                    </a:cubicBezTo>
                    <a:lnTo>
                      <a:pt x="77030" y="16812"/>
                    </a:lnTo>
                    <a:lnTo>
                      <a:pt x="188669" y="341"/>
                    </a:lnTo>
                    <a:cubicBezTo>
                      <a:pt x="199855" y="-1325"/>
                      <a:pt x="211145" y="3199"/>
                      <a:pt x="218136" y="12082"/>
                    </a:cubicBezTo>
                    <a:cubicBezTo>
                      <a:pt x="226053" y="22158"/>
                      <a:pt x="227102" y="35915"/>
                      <a:pt x="220850" y="47081"/>
                    </a:cubicBezTo>
                    <a:lnTo>
                      <a:pt x="217828" y="52448"/>
                    </a:lnTo>
                    <a:lnTo>
                      <a:pt x="288730" y="138095"/>
                    </a:lnTo>
                    <a:cubicBezTo>
                      <a:pt x="298210" y="149569"/>
                      <a:pt x="297243" y="166637"/>
                      <a:pt x="286509" y="176959"/>
                    </a:cubicBezTo>
                    <a:cubicBezTo>
                      <a:pt x="275528" y="187508"/>
                      <a:pt x="258214" y="187611"/>
                      <a:pt x="247110" y="177206"/>
                    </a:cubicBezTo>
                    <a:lnTo>
                      <a:pt x="238124" y="168775"/>
                    </a:lnTo>
                    <a:cubicBezTo>
                      <a:pt x="236684" y="172723"/>
                      <a:pt x="234176" y="176322"/>
                      <a:pt x="230741" y="179057"/>
                    </a:cubicBezTo>
                    <a:lnTo>
                      <a:pt x="228685" y="180702"/>
                    </a:lnTo>
                    <a:cubicBezTo>
                      <a:pt x="220480" y="187200"/>
                      <a:pt x="209253" y="187385"/>
                      <a:pt x="200945" y="181895"/>
                    </a:cubicBezTo>
                    <a:cubicBezTo>
                      <a:pt x="199300" y="184588"/>
                      <a:pt x="197367" y="187241"/>
                      <a:pt x="195290" y="188886"/>
                    </a:cubicBezTo>
                    <a:lnTo>
                      <a:pt x="193234" y="190510"/>
                    </a:lnTo>
                    <a:cubicBezTo>
                      <a:pt x="187558" y="195034"/>
                      <a:pt x="180135" y="196556"/>
                      <a:pt x="173246" y="195014"/>
                    </a:cubicBezTo>
                    <a:cubicBezTo>
                      <a:pt x="171807" y="198571"/>
                      <a:pt x="169463" y="202602"/>
                      <a:pt x="165658" y="205727"/>
                    </a:cubicBezTo>
                    <a:lnTo>
                      <a:pt x="163520" y="207414"/>
                    </a:lnTo>
                    <a:cubicBezTo>
                      <a:pt x="159304" y="210765"/>
                      <a:pt x="154205" y="212534"/>
                      <a:pt x="148879" y="212534"/>
                    </a:cubicBezTo>
                    <a:close/>
                  </a:path>
                </a:pathLst>
              </a:custGeom>
              <a:solidFill>
                <a:schemeClr val="accent1"/>
              </a:solidFill>
              <a:ln w="205" cap="flat">
                <a:noFill/>
                <a:prstDash val="solid"/>
                <a:miter/>
              </a:ln>
            </p:spPr>
            <p:txBody>
              <a:bodyPr rtlCol="0" anchor="ctr"/>
              <a:lstStyle/>
              <a:p>
                <a:endParaRPr lang="en-GB" dirty="0"/>
              </a:p>
            </p:txBody>
          </p:sp>
          <p:sp>
            <p:nvSpPr>
              <p:cNvPr id="568" name="Freihandform: Form 567">
                <a:extLst>
                  <a:ext uri="{FF2B5EF4-FFF2-40B4-BE49-F238E27FC236}">
                    <a16:creationId xmlns:a16="http://schemas.microsoft.com/office/drawing/2014/main" id="{709B7C97-7D5B-4C4C-9817-5D355108EAE9}"/>
                  </a:ext>
                </a:extLst>
              </p:cNvPr>
              <p:cNvSpPr/>
              <p:nvPr/>
            </p:nvSpPr>
            <p:spPr>
              <a:xfrm>
                <a:off x="3390425" y="4439397"/>
                <a:ext cx="41690" cy="14408"/>
              </a:xfrm>
              <a:custGeom>
                <a:avLst/>
                <a:gdLst>
                  <a:gd name="connsiteX0" fmla="*/ 35044 w 41690"/>
                  <a:gd name="connsiteY0" fmla="*/ 14409 h 14408"/>
                  <a:gd name="connsiteX1" fmla="*/ 34777 w 41690"/>
                  <a:gd name="connsiteY1" fmla="*/ 14409 h 14408"/>
                  <a:gd name="connsiteX2" fmla="*/ 6420 w 41690"/>
                  <a:gd name="connsiteY2" fmla="*/ 13339 h 14408"/>
                  <a:gd name="connsiteX3" fmla="*/ 4 w 41690"/>
                  <a:gd name="connsiteY3" fmla="*/ 6430 h 14408"/>
                  <a:gd name="connsiteX4" fmla="*/ 6913 w 41690"/>
                  <a:gd name="connsiteY4" fmla="*/ 14 h 14408"/>
                  <a:gd name="connsiteX5" fmla="*/ 35270 w 41690"/>
                  <a:gd name="connsiteY5" fmla="*/ 1084 h 14408"/>
                  <a:gd name="connsiteX6" fmla="*/ 41686 w 41690"/>
                  <a:gd name="connsiteY6" fmla="*/ 7993 h 14408"/>
                  <a:gd name="connsiteX7" fmla="*/ 35044 w 41690"/>
                  <a:gd name="connsiteY7" fmla="*/ 14409 h 14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90" h="14408">
                    <a:moveTo>
                      <a:pt x="35044" y="14409"/>
                    </a:moveTo>
                    <a:cubicBezTo>
                      <a:pt x="34962" y="14409"/>
                      <a:pt x="34859" y="14409"/>
                      <a:pt x="34777" y="14409"/>
                    </a:cubicBezTo>
                    <a:lnTo>
                      <a:pt x="6420" y="13339"/>
                    </a:lnTo>
                    <a:cubicBezTo>
                      <a:pt x="2739" y="13195"/>
                      <a:pt x="-119" y="10111"/>
                      <a:pt x="4" y="6430"/>
                    </a:cubicBezTo>
                    <a:cubicBezTo>
                      <a:pt x="148" y="2749"/>
                      <a:pt x="3191" y="-233"/>
                      <a:pt x="6913" y="14"/>
                    </a:cubicBezTo>
                    <a:lnTo>
                      <a:pt x="35270" y="1084"/>
                    </a:lnTo>
                    <a:cubicBezTo>
                      <a:pt x="38951" y="1207"/>
                      <a:pt x="41830" y="4312"/>
                      <a:pt x="41686" y="7993"/>
                    </a:cubicBezTo>
                    <a:cubicBezTo>
                      <a:pt x="41562" y="11591"/>
                      <a:pt x="38601" y="14409"/>
                      <a:pt x="35044" y="14409"/>
                    </a:cubicBezTo>
                    <a:close/>
                  </a:path>
                </a:pathLst>
              </a:custGeom>
              <a:solidFill>
                <a:schemeClr val="accent1"/>
              </a:solidFill>
              <a:ln w="205" cap="flat">
                <a:noFill/>
                <a:prstDash val="solid"/>
                <a:miter/>
              </a:ln>
            </p:spPr>
            <p:txBody>
              <a:bodyPr rtlCol="0" anchor="ctr"/>
              <a:lstStyle/>
              <a:p>
                <a:endParaRPr lang="en-GB" dirty="0"/>
              </a:p>
            </p:txBody>
          </p:sp>
        </p:grpSp>
        <p:grpSp>
          <p:nvGrpSpPr>
            <p:cNvPr id="557" name="Gruppieren 556">
              <a:extLst>
                <a:ext uri="{FF2B5EF4-FFF2-40B4-BE49-F238E27FC236}">
                  <a16:creationId xmlns:a16="http://schemas.microsoft.com/office/drawing/2014/main" id="{158A58B8-78B7-4BCE-B933-AD7C9A38859D}"/>
                </a:ext>
              </a:extLst>
            </p:cNvPr>
            <p:cNvGrpSpPr/>
            <p:nvPr/>
          </p:nvGrpSpPr>
          <p:grpSpPr>
            <a:xfrm>
              <a:off x="3635354" y="4234785"/>
              <a:ext cx="618997" cy="259020"/>
              <a:chOff x="3412558" y="4300164"/>
              <a:chExt cx="472378" cy="197667"/>
            </a:xfrm>
            <a:solidFill>
              <a:schemeClr val="tx2"/>
            </a:solidFill>
          </p:grpSpPr>
          <p:sp>
            <p:nvSpPr>
              <p:cNvPr id="558" name="Freihandform: Form 557">
                <a:extLst>
                  <a:ext uri="{FF2B5EF4-FFF2-40B4-BE49-F238E27FC236}">
                    <a16:creationId xmlns:a16="http://schemas.microsoft.com/office/drawing/2014/main" id="{E614AEB7-C5C0-4780-88AD-843A2B2ABD00}"/>
                  </a:ext>
                </a:extLst>
              </p:cNvPr>
              <p:cNvSpPr/>
              <p:nvPr/>
            </p:nvSpPr>
            <p:spPr>
              <a:xfrm>
                <a:off x="3817137" y="4450160"/>
                <a:ext cx="67799" cy="21987"/>
              </a:xfrm>
              <a:custGeom>
                <a:avLst/>
                <a:gdLst>
                  <a:gd name="connsiteX0" fmla="*/ 6664 w 67799"/>
                  <a:gd name="connsiteY0" fmla="*/ 21988 h 21987"/>
                  <a:gd name="connsiteX1" fmla="*/ 83 w 67799"/>
                  <a:gd name="connsiteY1" fmla="*/ 16353 h 21987"/>
                  <a:gd name="connsiteX2" fmla="*/ 5615 w 67799"/>
                  <a:gd name="connsiteY2" fmla="*/ 8724 h 21987"/>
                  <a:gd name="connsiteX3" fmla="*/ 60087 w 67799"/>
                  <a:gd name="connsiteY3" fmla="*/ 88 h 21987"/>
                  <a:gd name="connsiteX4" fmla="*/ 67716 w 67799"/>
                  <a:gd name="connsiteY4" fmla="*/ 5640 h 21987"/>
                  <a:gd name="connsiteX5" fmla="*/ 62185 w 67799"/>
                  <a:gd name="connsiteY5" fmla="*/ 13269 h 21987"/>
                  <a:gd name="connsiteX6" fmla="*/ 7712 w 67799"/>
                  <a:gd name="connsiteY6" fmla="*/ 21905 h 21987"/>
                  <a:gd name="connsiteX7" fmla="*/ 6664 w 67799"/>
                  <a:gd name="connsiteY7" fmla="*/ 21988 h 21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799" h="21987">
                    <a:moveTo>
                      <a:pt x="6664" y="21988"/>
                    </a:moveTo>
                    <a:cubicBezTo>
                      <a:pt x="3435" y="21988"/>
                      <a:pt x="597" y="19643"/>
                      <a:pt x="83" y="16353"/>
                    </a:cubicBezTo>
                    <a:cubicBezTo>
                      <a:pt x="-492" y="12734"/>
                      <a:pt x="1975" y="9300"/>
                      <a:pt x="5615" y="8724"/>
                    </a:cubicBezTo>
                    <a:lnTo>
                      <a:pt x="60087" y="88"/>
                    </a:lnTo>
                    <a:cubicBezTo>
                      <a:pt x="63748" y="-509"/>
                      <a:pt x="67141" y="2000"/>
                      <a:pt x="67716" y="5640"/>
                    </a:cubicBezTo>
                    <a:cubicBezTo>
                      <a:pt x="68292" y="9259"/>
                      <a:pt x="65824" y="12693"/>
                      <a:pt x="62185" y="13269"/>
                    </a:cubicBezTo>
                    <a:lnTo>
                      <a:pt x="7712" y="21905"/>
                    </a:lnTo>
                    <a:cubicBezTo>
                      <a:pt x="7363" y="21947"/>
                      <a:pt x="7013" y="21988"/>
                      <a:pt x="6664" y="21988"/>
                    </a:cubicBezTo>
                    <a:close/>
                  </a:path>
                </a:pathLst>
              </a:custGeom>
              <a:grpFill/>
              <a:ln w="205" cap="flat">
                <a:noFill/>
                <a:prstDash val="solid"/>
                <a:miter/>
              </a:ln>
            </p:spPr>
            <p:txBody>
              <a:bodyPr rtlCol="0" anchor="ctr"/>
              <a:lstStyle/>
              <a:p>
                <a:endParaRPr lang="en-GB" dirty="0"/>
              </a:p>
            </p:txBody>
          </p:sp>
          <p:sp>
            <p:nvSpPr>
              <p:cNvPr id="559" name="Freihandform: Form 558">
                <a:extLst>
                  <a:ext uri="{FF2B5EF4-FFF2-40B4-BE49-F238E27FC236}">
                    <a16:creationId xmlns:a16="http://schemas.microsoft.com/office/drawing/2014/main" id="{2E257CE2-E55B-4877-B893-BA5ECCD6B9D6}"/>
                  </a:ext>
                </a:extLst>
              </p:cNvPr>
              <p:cNvSpPr/>
              <p:nvPr/>
            </p:nvSpPr>
            <p:spPr>
              <a:xfrm>
                <a:off x="3747969" y="4321763"/>
                <a:ext cx="119624" cy="20383"/>
              </a:xfrm>
              <a:custGeom>
                <a:avLst/>
                <a:gdLst>
                  <a:gd name="connsiteX0" fmla="*/ 6657 w 119624"/>
                  <a:gd name="connsiteY0" fmla="*/ 20384 h 20383"/>
                  <a:gd name="connsiteX1" fmla="*/ 15 w 119624"/>
                  <a:gd name="connsiteY1" fmla="*/ 14153 h 20383"/>
                  <a:gd name="connsiteX2" fmla="*/ 6225 w 119624"/>
                  <a:gd name="connsiteY2" fmla="*/ 7059 h 20383"/>
                  <a:gd name="connsiteX3" fmla="*/ 112517 w 119624"/>
                  <a:gd name="connsiteY3" fmla="*/ 6 h 20383"/>
                  <a:gd name="connsiteX4" fmla="*/ 119612 w 119624"/>
                  <a:gd name="connsiteY4" fmla="*/ 6216 h 20383"/>
                  <a:gd name="connsiteX5" fmla="*/ 113402 w 119624"/>
                  <a:gd name="connsiteY5" fmla="*/ 13310 h 20383"/>
                  <a:gd name="connsiteX6" fmla="*/ 7110 w 119624"/>
                  <a:gd name="connsiteY6" fmla="*/ 20363 h 20383"/>
                  <a:gd name="connsiteX7" fmla="*/ 6657 w 119624"/>
                  <a:gd name="connsiteY7" fmla="*/ 20384 h 20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624" h="20383">
                    <a:moveTo>
                      <a:pt x="6657" y="20384"/>
                    </a:moveTo>
                    <a:cubicBezTo>
                      <a:pt x="3182" y="20384"/>
                      <a:pt x="242" y="17669"/>
                      <a:pt x="15" y="14153"/>
                    </a:cubicBezTo>
                    <a:cubicBezTo>
                      <a:pt x="-231" y="10472"/>
                      <a:pt x="2545" y="7306"/>
                      <a:pt x="6225" y="7059"/>
                    </a:cubicBezTo>
                    <a:lnTo>
                      <a:pt x="112517" y="6"/>
                    </a:lnTo>
                    <a:cubicBezTo>
                      <a:pt x="116136" y="-138"/>
                      <a:pt x="119365" y="2535"/>
                      <a:pt x="119612" y="6216"/>
                    </a:cubicBezTo>
                    <a:cubicBezTo>
                      <a:pt x="119838" y="9876"/>
                      <a:pt x="117062" y="13063"/>
                      <a:pt x="113402" y="13310"/>
                    </a:cubicBezTo>
                    <a:lnTo>
                      <a:pt x="7110" y="20363"/>
                    </a:lnTo>
                    <a:cubicBezTo>
                      <a:pt x="6966" y="20363"/>
                      <a:pt x="6801" y="20384"/>
                      <a:pt x="6657" y="20384"/>
                    </a:cubicBezTo>
                    <a:close/>
                  </a:path>
                </a:pathLst>
              </a:custGeom>
              <a:grpFill/>
              <a:ln w="205" cap="flat">
                <a:noFill/>
                <a:prstDash val="solid"/>
                <a:miter/>
              </a:ln>
            </p:spPr>
            <p:txBody>
              <a:bodyPr rtlCol="0" anchor="ctr"/>
              <a:lstStyle/>
              <a:p>
                <a:endParaRPr lang="en-GB" dirty="0"/>
              </a:p>
            </p:txBody>
          </p:sp>
          <p:sp>
            <p:nvSpPr>
              <p:cNvPr id="560" name="Freihandform: Form 559">
                <a:extLst>
                  <a:ext uri="{FF2B5EF4-FFF2-40B4-BE49-F238E27FC236}">
                    <a16:creationId xmlns:a16="http://schemas.microsoft.com/office/drawing/2014/main" id="{3E680AAE-F4D9-4699-A0DD-5936646C3425}"/>
                  </a:ext>
                </a:extLst>
              </p:cNvPr>
              <p:cNvSpPr/>
              <p:nvPr/>
            </p:nvSpPr>
            <p:spPr>
              <a:xfrm>
                <a:off x="3484003" y="4300164"/>
                <a:ext cx="63352" cy="65795"/>
              </a:xfrm>
              <a:custGeom>
                <a:avLst/>
                <a:gdLst>
                  <a:gd name="connsiteX0" fmla="*/ 26762 w 63352"/>
                  <a:gd name="connsiteY0" fmla="*/ 65795 h 65795"/>
                  <a:gd name="connsiteX1" fmla="*/ 10044 w 63352"/>
                  <a:gd name="connsiteY1" fmla="*/ 59955 h 65795"/>
                  <a:gd name="connsiteX2" fmla="*/ 5849 w 63352"/>
                  <a:gd name="connsiteY2" fmla="*/ 22283 h 65795"/>
                  <a:gd name="connsiteX3" fmla="*/ 15637 w 63352"/>
                  <a:gd name="connsiteY3" fmla="*/ 10048 h 65795"/>
                  <a:gd name="connsiteX4" fmla="*/ 33609 w 63352"/>
                  <a:gd name="connsiteY4" fmla="*/ 178 h 65795"/>
                  <a:gd name="connsiteX5" fmla="*/ 53309 w 63352"/>
                  <a:gd name="connsiteY5" fmla="*/ 5853 h 65795"/>
                  <a:gd name="connsiteX6" fmla="*/ 57504 w 63352"/>
                  <a:gd name="connsiteY6" fmla="*/ 43525 h 65795"/>
                  <a:gd name="connsiteX7" fmla="*/ 47716 w 63352"/>
                  <a:gd name="connsiteY7" fmla="*/ 55760 h 65795"/>
                  <a:gd name="connsiteX8" fmla="*/ 26762 w 63352"/>
                  <a:gd name="connsiteY8" fmla="*/ 65795 h 65795"/>
                  <a:gd name="connsiteX9" fmla="*/ 36612 w 63352"/>
                  <a:gd name="connsiteY9" fmla="*/ 13338 h 65795"/>
                  <a:gd name="connsiteX10" fmla="*/ 35070 w 63352"/>
                  <a:gd name="connsiteY10" fmla="*/ 13420 h 65795"/>
                  <a:gd name="connsiteX11" fmla="*/ 26042 w 63352"/>
                  <a:gd name="connsiteY11" fmla="*/ 18376 h 65795"/>
                  <a:gd name="connsiteX12" fmla="*/ 16275 w 63352"/>
                  <a:gd name="connsiteY12" fmla="*/ 30611 h 65795"/>
                  <a:gd name="connsiteX13" fmla="*/ 13416 w 63352"/>
                  <a:gd name="connsiteY13" fmla="*/ 40502 h 65795"/>
                  <a:gd name="connsiteX14" fmla="*/ 18372 w 63352"/>
                  <a:gd name="connsiteY14" fmla="*/ 49530 h 65795"/>
                  <a:gd name="connsiteX15" fmla="*/ 37290 w 63352"/>
                  <a:gd name="connsiteY15" fmla="*/ 47412 h 65795"/>
                  <a:gd name="connsiteX16" fmla="*/ 47078 w 63352"/>
                  <a:gd name="connsiteY16" fmla="*/ 35197 h 65795"/>
                  <a:gd name="connsiteX17" fmla="*/ 49916 w 63352"/>
                  <a:gd name="connsiteY17" fmla="*/ 25306 h 65795"/>
                  <a:gd name="connsiteX18" fmla="*/ 44960 w 63352"/>
                  <a:gd name="connsiteY18" fmla="*/ 16279 h 65795"/>
                  <a:gd name="connsiteX19" fmla="*/ 36612 w 63352"/>
                  <a:gd name="connsiteY19" fmla="*/ 13338 h 65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352" h="65795">
                    <a:moveTo>
                      <a:pt x="26762" y="65795"/>
                    </a:moveTo>
                    <a:cubicBezTo>
                      <a:pt x="20881" y="65795"/>
                      <a:pt x="14979" y="63883"/>
                      <a:pt x="10044" y="59955"/>
                    </a:cubicBezTo>
                    <a:cubicBezTo>
                      <a:pt x="-1492" y="50722"/>
                      <a:pt x="-3363" y="33819"/>
                      <a:pt x="5849" y="22283"/>
                    </a:cubicBezTo>
                    <a:lnTo>
                      <a:pt x="15637" y="10048"/>
                    </a:lnTo>
                    <a:cubicBezTo>
                      <a:pt x="20079" y="4475"/>
                      <a:pt x="26474" y="980"/>
                      <a:pt x="33609" y="178"/>
                    </a:cubicBezTo>
                    <a:cubicBezTo>
                      <a:pt x="40745" y="-645"/>
                      <a:pt x="47736" y="1412"/>
                      <a:pt x="53309" y="5853"/>
                    </a:cubicBezTo>
                    <a:cubicBezTo>
                      <a:pt x="64845" y="15086"/>
                      <a:pt x="66716" y="31989"/>
                      <a:pt x="57504" y="43525"/>
                    </a:cubicBezTo>
                    <a:lnTo>
                      <a:pt x="47716" y="55760"/>
                    </a:lnTo>
                    <a:cubicBezTo>
                      <a:pt x="42431" y="62361"/>
                      <a:pt x="34638" y="65795"/>
                      <a:pt x="26762" y="65795"/>
                    </a:cubicBezTo>
                    <a:close/>
                    <a:moveTo>
                      <a:pt x="36612" y="13338"/>
                    </a:moveTo>
                    <a:cubicBezTo>
                      <a:pt x="36098" y="13338"/>
                      <a:pt x="35584" y="13359"/>
                      <a:pt x="35070" y="13420"/>
                    </a:cubicBezTo>
                    <a:cubicBezTo>
                      <a:pt x="31491" y="13832"/>
                      <a:pt x="28284" y="15580"/>
                      <a:pt x="26042" y="18376"/>
                    </a:cubicBezTo>
                    <a:lnTo>
                      <a:pt x="16275" y="30611"/>
                    </a:lnTo>
                    <a:cubicBezTo>
                      <a:pt x="14033" y="33388"/>
                      <a:pt x="13026" y="36904"/>
                      <a:pt x="13416" y="40502"/>
                    </a:cubicBezTo>
                    <a:cubicBezTo>
                      <a:pt x="13827" y="44101"/>
                      <a:pt x="15575" y="47288"/>
                      <a:pt x="18372" y="49530"/>
                    </a:cubicBezTo>
                    <a:cubicBezTo>
                      <a:pt x="24171" y="54156"/>
                      <a:pt x="32664" y="53231"/>
                      <a:pt x="37290" y="47412"/>
                    </a:cubicBezTo>
                    <a:lnTo>
                      <a:pt x="47078" y="35197"/>
                    </a:lnTo>
                    <a:cubicBezTo>
                      <a:pt x="49320" y="32401"/>
                      <a:pt x="50327" y="28884"/>
                      <a:pt x="49916" y="25306"/>
                    </a:cubicBezTo>
                    <a:cubicBezTo>
                      <a:pt x="49526" y="21708"/>
                      <a:pt x="47757" y="18500"/>
                      <a:pt x="44960" y="16279"/>
                    </a:cubicBezTo>
                    <a:cubicBezTo>
                      <a:pt x="42575" y="14366"/>
                      <a:pt x="39655" y="13338"/>
                      <a:pt x="36612" y="13338"/>
                    </a:cubicBezTo>
                    <a:close/>
                  </a:path>
                </a:pathLst>
              </a:custGeom>
              <a:grpFill/>
              <a:ln w="205" cap="flat">
                <a:noFill/>
                <a:prstDash val="solid"/>
                <a:miter/>
              </a:ln>
            </p:spPr>
            <p:txBody>
              <a:bodyPr rtlCol="0" anchor="ctr"/>
              <a:lstStyle/>
              <a:p>
                <a:endParaRPr lang="en-GB" dirty="0"/>
              </a:p>
            </p:txBody>
          </p:sp>
          <p:grpSp>
            <p:nvGrpSpPr>
              <p:cNvPr id="561" name="Grafik 348">
                <a:extLst>
                  <a:ext uri="{FF2B5EF4-FFF2-40B4-BE49-F238E27FC236}">
                    <a16:creationId xmlns:a16="http://schemas.microsoft.com/office/drawing/2014/main" id="{522DD983-A008-40A8-BA15-6CBD37AFCFD0}"/>
                  </a:ext>
                </a:extLst>
              </p:cNvPr>
              <p:cNvGrpSpPr/>
              <p:nvPr/>
            </p:nvGrpSpPr>
            <p:grpSpPr>
              <a:xfrm>
                <a:off x="3412558" y="4405896"/>
                <a:ext cx="179061" cy="91935"/>
                <a:chOff x="3412558" y="4405896"/>
                <a:chExt cx="179061" cy="91935"/>
              </a:xfrm>
              <a:grpFill/>
            </p:grpSpPr>
            <p:sp>
              <p:nvSpPr>
                <p:cNvPr id="562" name="Freihandform: Form 561">
                  <a:extLst>
                    <a:ext uri="{FF2B5EF4-FFF2-40B4-BE49-F238E27FC236}">
                      <a16:creationId xmlns:a16="http://schemas.microsoft.com/office/drawing/2014/main" id="{DEDFAE1C-AAB6-4E9F-B99A-6A996D941E69}"/>
                    </a:ext>
                  </a:extLst>
                </p:cNvPr>
                <p:cNvSpPr/>
                <p:nvPr/>
              </p:nvSpPr>
              <p:spPr>
                <a:xfrm>
                  <a:off x="3412558" y="4405896"/>
                  <a:ext cx="66125" cy="88049"/>
                </a:xfrm>
                <a:custGeom>
                  <a:avLst/>
                  <a:gdLst>
                    <a:gd name="connsiteX0" fmla="*/ 28148 w 66125"/>
                    <a:gd name="connsiteY0" fmla="*/ 88049 h 88049"/>
                    <a:gd name="connsiteX1" fmla="*/ 20458 w 66125"/>
                    <a:gd name="connsiteY1" fmla="*/ 86589 h 88049"/>
                    <a:gd name="connsiteX2" fmla="*/ 13487 w 66125"/>
                    <a:gd name="connsiteY2" fmla="*/ 83854 h 88049"/>
                    <a:gd name="connsiteX3" fmla="*/ 1457 w 66125"/>
                    <a:gd name="connsiteY3" fmla="*/ 56423 h 88049"/>
                    <a:gd name="connsiteX4" fmla="*/ 18237 w 66125"/>
                    <a:gd name="connsiteY4" fmla="*/ 13466 h 88049"/>
                    <a:gd name="connsiteX5" fmla="*/ 29485 w 66125"/>
                    <a:gd name="connsiteY5" fmla="*/ 1807 h 88049"/>
                    <a:gd name="connsiteX6" fmla="*/ 45668 w 66125"/>
                    <a:gd name="connsiteY6" fmla="*/ 1457 h 88049"/>
                    <a:gd name="connsiteX7" fmla="*/ 52660 w 66125"/>
                    <a:gd name="connsiteY7" fmla="*/ 4171 h 88049"/>
                    <a:gd name="connsiteX8" fmla="*/ 52660 w 66125"/>
                    <a:gd name="connsiteY8" fmla="*/ 4171 h 88049"/>
                    <a:gd name="connsiteX9" fmla="*/ 64669 w 66125"/>
                    <a:gd name="connsiteY9" fmla="*/ 31624 h 88049"/>
                    <a:gd name="connsiteX10" fmla="*/ 47889 w 66125"/>
                    <a:gd name="connsiteY10" fmla="*/ 74580 h 88049"/>
                    <a:gd name="connsiteX11" fmla="*/ 28148 w 66125"/>
                    <a:gd name="connsiteY11" fmla="*/ 88049 h 88049"/>
                    <a:gd name="connsiteX12" fmla="*/ 37998 w 66125"/>
                    <a:gd name="connsiteY12" fmla="*/ 13343 h 88049"/>
                    <a:gd name="connsiteX13" fmla="*/ 34811 w 66125"/>
                    <a:gd name="connsiteY13" fmla="*/ 14021 h 88049"/>
                    <a:gd name="connsiteX14" fmla="*/ 30657 w 66125"/>
                    <a:gd name="connsiteY14" fmla="*/ 18319 h 88049"/>
                    <a:gd name="connsiteX15" fmla="*/ 13877 w 66125"/>
                    <a:gd name="connsiteY15" fmla="*/ 61276 h 88049"/>
                    <a:gd name="connsiteX16" fmla="*/ 14021 w 66125"/>
                    <a:gd name="connsiteY16" fmla="*/ 67280 h 88049"/>
                    <a:gd name="connsiteX17" fmla="*/ 18319 w 66125"/>
                    <a:gd name="connsiteY17" fmla="*/ 71434 h 88049"/>
                    <a:gd name="connsiteX18" fmla="*/ 25310 w 66125"/>
                    <a:gd name="connsiteY18" fmla="*/ 74169 h 88049"/>
                    <a:gd name="connsiteX19" fmla="*/ 35469 w 66125"/>
                    <a:gd name="connsiteY19" fmla="*/ 69727 h 88049"/>
                    <a:gd name="connsiteX20" fmla="*/ 52248 w 66125"/>
                    <a:gd name="connsiteY20" fmla="*/ 26771 h 88049"/>
                    <a:gd name="connsiteX21" fmla="*/ 47807 w 66125"/>
                    <a:gd name="connsiteY21" fmla="*/ 16612 h 88049"/>
                    <a:gd name="connsiteX22" fmla="*/ 40815 w 66125"/>
                    <a:gd name="connsiteY22" fmla="*/ 13877 h 88049"/>
                    <a:gd name="connsiteX23" fmla="*/ 37998 w 66125"/>
                    <a:gd name="connsiteY23" fmla="*/ 13343 h 8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6125" h="88049">
                      <a:moveTo>
                        <a:pt x="28148" y="88049"/>
                      </a:moveTo>
                      <a:cubicBezTo>
                        <a:pt x="25578" y="88049"/>
                        <a:pt x="22987" y="87577"/>
                        <a:pt x="20458" y="86589"/>
                      </a:cubicBezTo>
                      <a:lnTo>
                        <a:pt x="13487" y="83854"/>
                      </a:lnTo>
                      <a:cubicBezTo>
                        <a:pt x="2588" y="79618"/>
                        <a:pt x="-2800" y="67301"/>
                        <a:pt x="1457" y="56423"/>
                      </a:cubicBezTo>
                      <a:lnTo>
                        <a:pt x="18237" y="13466"/>
                      </a:lnTo>
                      <a:cubicBezTo>
                        <a:pt x="20293" y="8222"/>
                        <a:pt x="24282" y="4069"/>
                        <a:pt x="29485" y="1807"/>
                      </a:cubicBezTo>
                      <a:cubicBezTo>
                        <a:pt x="34667" y="-476"/>
                        <a:pt x="40404" y="-599"/>
                        <a:pt x="45668" y="1457"/>
                      </a:cubicBezTo>
                      <a:lnTo>
                        <a:pt x="52660" y="4171"/>
                      </a:lnTo>
                      <a:cubicBezTo>
                        <a:pt x="52660" y="4171"/>
                        <a:pt x="52660" y="4171"/>
                        <a:pt x="52660" y="4171"/>
                      </a:cubicBezTo>
                      <a:cubicBezTo>
                        <a:pt x="63538" y="8428"/>
                        <a:pt x="68925" y="20746"/>
                        <a:pt x="64669" y="31624"/>
                      </a:cubicBezTo>
                      <a:lnTo>
                        <a:pt x="47889" y="74580"/>
                      </a:lnTo>
                      <a:cubicBezTo>
                        <a:pt x="44640" y="82929"/>
                        <a:pt x="36620" y="88049"/>
                        <a:pt x="28148" y="88049"/>
                      </a:cubicBezTo>
                      <a:close/>
                      <a:moveTo>
                        <a:pt x="37998" y="13343"/>
                      </a:moveTo>
                      <a:cubicBezTo>
                        <a:pt x="36908" y="13343"/>
                        <a:pt x="35839" y="13569"/>
                        <a:pt x="34811" y="14021"/>
                      </a:cubicBezTo>
                      <a:cubicBezTo>
                        <a:pt x="32898" y="14864"/>
                        <a:pt x="31418" y="16386"/>
                        <a:pt x="30657" y="18319"/>
                      </a:cubicBezTo>
                      <a:lnTo>
                        <a:pt x="13877" y="61276"/>
                      </a:lnTo>
                      <a:cubicBezTo>
                        <a:pt x="13116" y="63229"/>
                        <a:pt x="13158" y="65347"/>
                        <a:pt x="14021" y="67280"/>
                      </a:cubicBezTo>
                      <a:cubicBezTo>
                        <a:pt x="14864" y="69213"/>
                        <a:pt x="16386" y="70694"/>
                        <a:pt x="18319" y="71434"/>
                      </a:cubicBezTo>
                      <a:lnTo>
                        <a:pt x="25310" y="74169"/>
                      </a:lnTo>
                      <a:cubicBezTo>
                        <a:pt x="29361" y="75732"/>
                        <a:pt x="33906" y="73758"/>
                        <a:pt x="35469" y="69727"/>
                      </a:cubicBezTo>
                      <a:lnTo>
                        <a:pt x="52248" y="26771"/>
                      </a:lnTo>
                      <a:cubicBezTo>
                        <a:pt x="53832" y="22740"/>
                        <a:pt x="51837" y="18175"/>
                        <a:pt x="47807" y="16612"/>
                      </a:cubicBezTo>
                      <a:lnTo>
                        <a:pt x="40815" y="13877"/>
                      </a:lnTo>
                      <a:cubicBezTo>
                        <a:pt x="39910" y="13528"/>
                        <a:pt x="38944" y="13343"/>
                        <a:pt x="37998" y="13343"/>
                      </a:cubicBezTo>
                      <a:close/>
                    </a:path>
                  </a:pathLst>
                </a:custGeom>
                <a:grpFill/>
                <a:ln w="205" cap="flat">
                  <a:noFill/>
                  <a:prstDash val="solid"/>
                  <a:miter/>
                </a:ln>
              </p:spPr>
              <p:txBody>
                <a:bodyPr rtlCol="0" anchor="ctr"/>
                <a:lstStyle/>
                <a:p>
                  <a:endParaRPr lang="en-GB" dirty="0"/>
                </a:p>
              </p:txBody>
            </p:sp>
            <p:sp>
              <p:nvSpPr>
                <p:cNvPr id="563" name="Freihandform: Form 562">
                  <a:extLst>
                    <a:ext uri="{FF2B5EF4-FFF2-40B4-BE49-F238E27FC236}">
                      <a16:creationId xmlns:a16="http://schemas.microsoft.com/office/drawing/2014/main" id="{C54D94B0-94E2-4624-8A3D-D0787CE3DDD4}"/>
                    </a:ext>
                  </a:extLst>
                </p:cNvPr>
                <p:cNvSpPr/>
                <p:nvPr/>
              </p:nvSpPr>
              <p:spPr>
                <a:xfrm>
                  <a:off x="3449839" y="4409780"/>
                  <a:ext cx="66128" cy="88051"/>
                </a:xfrm>
                <a:custGeom>
                  <a:avLst/>
                  <a:gdLst>
                    <a:gd name="connsiteX0" fmla="*/ 28148 w 66128"/>
                    <a:gd name="connsiteY0" fmla="*/ 88051 h 88051"/>
                    <a:gd name="connsiteX1" fmla="*/ 20458 w 66128"/>
                    <a:gd name="connsiteY1" fmla="*/ 86592 h 88051"/>
                    <a:gd name="connsiteX2" fmla="*/ 13466 w 66128"/>
                    <a:gd name="connsiteY2" fmla="*/ 83857 h 88051"/>
                    <a:gd name="connsiteX3" fmla="*/ 1807 w 66128"/>
                    <a:gd name="connsiteY3" fmla="*/ 72629 h 88051"/>
                    <a:gd name="connsiteX4" fmla="*/ 1457 w 66128"/>
                    <a:gd name="connsiteY4" fmla="*/ 56425 h 88051"/>
                    <a:gd name="connsiteX5" fmla="*/ 18237 w 66128"/>
                    <a:gd name="connsiteY5" fmla="*/ 13468 h 88051"/>
                    <a:gd name="connsiteX6" fmla="*/ 29464 w 66128"/>
                    <a:gd name="connsiteY6" fmla="*/ 1788 h 88051"/>
                    <a:gd name="connsiteX7" fmla="*/ 45668 w 66128"/>
                    <a:gd name="connsiteY7" fmla="*/ 1459 h 88051"/>
                    <a:gd name="connsiteX8" fmla="*/ 52660 w 66128"/>
                    <a:gd name="connsiteY8" fmla="*/ 4194 h 88051"/>
                    <a:gd name="connsiteX9" fmla="*/ 52660 w 66128"/>
                    <a:gd name="connsiteY9" fmla="*/ 4194 h 88051"/>
                    <a:gd name="connsiteX10" fmla="*/ 64340 w 66128"/>
                    <a:gd name="connsiteY10" fmla="*/ 15422 h 88051"/>
                    <a:gd name="connsiteX11" fmla="*/ 64669 w 66128"/>
                    <a:gd name="connsiteY11" fmla="*/ 31605 h 88051"/>
                    <a:gd name="connsiteX12" fmla="*/ 47910 w 66128"/>
                    <a:gd name="connsiteY12" fmla="*/ 74562 h 88051"/>
                    <a:gd name="connsiteX13" fmla="*/ 36662 w 66128"/>
                    <a:gd name="connsiteY13" fmla="*/ 86242 h 88051"/>
                    <a:gd name="connsiteX14" fmla="*/ 28148 w 66128"/>
                    <a:gd name="connsiteY14" fmla="*/ 88051 h 88051"/>
                    <a:gd name="connsiteX15" fmla="*/ 37998 w 66128"/>
                    <a:gd name="connsiteY15" fmla="*/ 13345 h 88051"/>
                    <a:gd name="connsiteX16" fmla="*/ 34811 w 66128"/>
                    <a:gd name="connsiteY16" fmla="*/ 14003 h 88051"/>
                    <a:gd name="connsiteX17" fmla="*/ 30657 w 66128"/>
                    <a:gd name="connsiteY17" fmla="*/ 18321 h 88051"/>
                    <a:gd name="connsiteX18" fmla="*/ 13877 w 66128"/>
                    <a:gd name="connsiteY18" fmla="*/ 61299 h 88051"/>
                    <a:gd name="connsiteX19" fmla="*/ 14021 w 66128"/>
                    <a:gd name="connsiteY19" fmla="*/ 67283 h 88051"/>
                    <a:gd name="connsiteX20" fmla="*/ 18319 w 66128"/>
                    <a:gd name="connsiteY20" fmla="*/ 71436 h 88051"/>
                    <a:gd name="connsiteX21" fmla="*/ 25311 w 66128"/>
                    <a:gd name="connsiteY21" fmla="*/ 74171 h 88051"/>
                    <a:gd name="connsiteX22" fmla="*/ 35469 w 66128"/>
                    <a:gd name="connsiteY22" fmla="*/ 69730 h 88051"/>
                    <a:gd name="connsiteX23" fmla="*/ 52249 w 66128"/>
                    <a:gd name="connsiteY23" fmla="*/ 26752 h 88051"/>
                    <a:gd name="connsiteX24" fmla="*/ 52125 w 66128"/>
                    <a:gd name="connsiteY24" fmla="*/ 20768 h 88051"/>
                    <a:gd name="connsiteX25" fmla="*/ 47807 w 66128"/>
                    <a:gd name="connsiteY25" fmla="*/ 16615 h 88051"/>
                    <a:gd name="connsiteX26" fmla="*/ 40815 w 66128"/>
                    <a:gd name="connsiteY26" fmla="*/ 13880 h 88051"/>
                    <a:gd name="connsiteX27" fmla="*/ 37998 w 66128"/>
                    <a:gd name="connsiteY27" fmla="*/ 13345 h 88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6128" h="88051">
                      <a:moveTo>
                        <a:pt x="28148" y="88051"/>
                      </a:moveTo>
                      <a:cubicBezTo>
                        <a:pt x="25557" y="88051"/>
                        <a:pt x="22946" y="87558"/>
                        <a:pt x="20458" y="86592"/>
                      </a:cubicBezTo>
                      <a:lnTo>
                        <a:pt x="13466" y="83857"/>
                      </a:lnTo>
                      <a:cubicBezTo>
                        <a:pt x="8222" y="81821"/>
                        <a:pt x="4069" y="77811"/>
                        <a:pt x="1807" y="72629"/>
                      </a:cubicBezTo>
                      <a:cubicBezTo>
                        <a:pt x="-476" y="67426"/>
                        <a:pt x="-599" y="61689"/>
                        <a:pt x="1457" y="56425"/>
                      </a:cubicBezTo>
                      <a:lnTo>
                        <a:pt x="18237" y="13468"/>
                      </a:lnTo>
                      <a:cubicBezTo>
                        <a:pt x="20293" y="8204"/>
                        <a:pt x="24282" y="4071"/>
                        <a:pt x="29464" y="1788"/>
                      </a:cubicBezTo>
                      <a:cubicBezTo>
                        <a:pt x="34646" y="-474"/>
                        <a:pt x="40404" y="-597"/>
                        <a:pt x="45668" y="1459"/>
                      </a:cubicBezTo>
                      <a:lnTo>
                        <a:pt x="52660" y="4194"/>
                      </a:lnTo>
                      <a:lnTo>
                        <a:pt x="52660" y="4194"/>
                      </a:lnTo>
                      <a:cubicBezTo>
                        <a:pt x="57903" y="6251"/>
                        <a:pt x="62057" y="10219"/>
                        <a:pt x="64340" y="15422"/>
                      </a:cubicBezTo>
                      <a:cubicBezTo>
                        <a:pt x="66602" y="20604"/>
                        <a:pt x="66725" y="26361"/>
                        <a:pt x="64669" y="31605"/>
                      </a:cubicBezTo>
                      <a:lnTo>
                        <a:pt x="47910" y="74562"/>
                      </a:lnTo>
                      <a:cubicBezTo>
                        <a:pt x="45853" y="79826"/>
                        <a:pt x="41864" y="83980"/>
                        <a:pt x="36662" y="86242"/>
                      </a:cubicBezTo>
                      <a:cubicBezTo>
                        <a:pt x="33927" y="87455"/>
                        <a:pt x="31027" y="88051"/>
                        <a:pt x="28148" y="88051"/>
                      </a:cubicBezTo>
                      <a:close/>
                      <a:moveTo>
                        <a:pt x="37998" y="13345"/>
                      </a:moveTo>
                      <a:cubicBezTo>
                        <a:pt x="36908" y="13345"/>
                        <a:pt x="35839" y="13551"/>
                        <a:pt x="34811" y="14003"/>
                      </a:cubicBezTo>
                      <a:cubicBezTo>
                        <a:pt x="32898" y="14867"/>
                        <a:pt x="31418" y="16388"/>
                        <a:pt x="30657" y="18321"/>
                      </a:cubicBezTo>
                      <a:lnTo>
                        <a:pt x="13877" y="61299"/>
                      </a:lnTo>
                      <a:cubicBezTo>
                        <a:pt x="13117" y="63211"/>
                        <a:pt x="13158" y="65350"/>
                        <a:pt x="14021" y="67283"/>
                      </a:cubicBezTo>
                      <a:cubicBezTo>
                        <a:pt x="14864" y="69216"/>
                        <a:pt x="16386" y="70675"/>
                        <a:pt x="18319" y="71436"/>
                      </a:cubicBezTo>
                      <a:lnTo>
                        <a:pt x="25311" y="74171"/>
                      </a:lnTo>
                      <a:cubicBezTo>
                        <a:pt x="29320" y="75734"/>
                        <a:pt x="33906" y="73760"/>
                        <a:pt x="35469" y="69730"/>
                      </a:cubicBezTo>
                      <a:lnTo>
                        <a:pt x="52249" y="26752"/>
                      </a:lnTo>
                      <a:cubicBezTo>
                        <a:pt x="53009" y="24819"/>
                        <a:pt x="52968" y="22701"/>
                        <a:pt x="52125" y="20768"/>
                      </a:cubicBezTo>
                      <a:cubicBezTo>
                        <a:pt x="51262" y="18835"/>
                        <a:pt x="49740" y="17355"/>
                        <a:pt x="47807" y="16615"/>
                      </a:cubicBezTo>
                      <a:lnTo>
                        <a:pt x="40815" y="13880"/>
                      </a:lnTo>
                      <a:cubicBezTo>
                        <a:pt x="39890" y="13509"/>
                        <a:pt x="38944" y="13345"/>
                        <a:pt x="37998" y="13345"/>
                      </a:cubicBezTo>
                      <a:close/>
                    </a:path>
                  </a:pathLst>
                </a:custGeom>
                <a:grpFill/>
                <a:ln w="205" cap="flat">
                  <a:noFill/>
                  <a:prstDash val="solid"/>
                  <a:miter/>
                </a:ln>
              </p:spPr>
              <p:txBody>
                <a:bodyPr rtlCol="0" anchor="ctr"/>
                <a:lstStyle/>
                <a:p>
                  <a:endParaRPr lang="en-GB" dirty="0"/>
                </a:p>
              </p:txBody>
            </p:sp>
            <p:sp>
              <p:nvSpPr>
                <p:cNvPr id="564" name="Freihandform: Form 563">
                  <a:extLst>
                    <a:ext uri="{FF2B5EF4-FFF2-40B4-BE49-F238E27FC236}">
                      <a16:creationId xmlns:a16="http://schemas.microsoft.com/office/drawing/2014/main" id="{A63920DF-D16B-407A-9489-E039F9E00479}"/>
                    </a:ext>
                  </a:extLst>
                </p:cNvPr>
                <p:cNvSpPr/>
                <p:nvPr/>
              </p:nvSpPr>
              <p:spPr>
                <a:xfrm>
                  <a:off x="3488678" y="4409001"/>
                  <a:ext cx="66120" cy="88049"/>
                </a:xfrm>
                <a:custGeom>
                  <a:avLst/>
                  <a:gdLst>
                    <a:gd name="connsiteX0" fmla="*/ 28133 w 66120"/>
                    <a:gd name="connsiteY0" fmla="*/ 88049 h 88049"/>
                    <a:gd name="connsiteX1" fmla="*/ 20463 w 66120"/>
                    <a:gd name="connsiteY1" fmla="*/ 86589 h 88049"/>
                    <a:gd name="connsiteX2" fmla="*/ 13471 w 66120"/>
                    <a:gd name="connsiteY2" fmla="*/ 83875 h 88049"/>
                    <a:gd name="connsiteX3" fmla="*/ 1791 w 66120"/>
                    <a:gd name="connsiteY3" fmla="*/ 72627 h 88049"/>
                    <a:gd name="connsiteX4" fmla="*/ 1442 w 66120"/>
                    <a:gd name="connsiteY4" fmla="*/ 56443 h 88049"/>
                    <a:gd name="connsiteX5" fmla="*/ 18242 w 66120"/>
                    <a:gd name="connsiteY5" fmla="*/ 13466 h 88049"/>
                    <a:gd name="connsiteX6" fmla="*/ 29470 w 66120"/>
                    <a:gd name="connsiteY6" fmla="*/ 1807 h 88049"/>
                    <a:gd name="connsiteX7" fmla="*/ 45653 w 66120"/>
                    <a:gd name="connsiteY7" fmla="*/ 1457 h 88049"/>
                    <a:gd name="connsiteX8" fmla="*/ 52665 w 66120"/>
                    <a:gd name="connsiteY8" fmla="*/ 4192 h 88049"/>
                    <a:gd name="connsiteX9" fmla="*/ 52665 w 66120"/>
                    <a:gd name="connsiteY9" fmla="*/ 4192 h 88049"/>
                    <a:gd name="connsiteX10" fmla="*/ 64674 w 66120"/>
                    <a:gd name="connsiteY10" fmla="*/ 31624 h 88049"/>
                    <a:gd name="connsiteX11" fmla="*/ 47894 w 66120"/>
                    <a:gd name="connsiteY11" fmla="*/ 74580 h 88049"/>
                    <a:gd name="connsiteX12" fmla="*/ 28133 w 66120"/>
                    <a:gd name="connsiteY12" fmla="*/ 88049 h 88049"/>
                    <a:gd name="connsiteX13" fmla="*/ 37983 w 66120"/>
                    <a:gd name="connsiteY13" fmla="*/ 13343 h 88049"/>
                    <a:gd name="connsiteX14" fmla="*/ 34816 w 66120"/>
                    <a:gd name="connsiteY14" fmla="*/ 14021 h 88049"/>
                    <a:gd name="connsiteX15" fmla="*/ 30662 w 66120"/>
                    <a:gd name="connsiteY15" fmla="*/ 18340 h 88049"/>
                    <a:gd name="connsiteX16" fmla="*/ 13862 w 66120"/>
                    <a:gd name="connsiteY16" fmla="*/ 61296 h 88049"/>
                    <a:gd name="connsiteX17" fmla="*/ 14006 w 66120"/>
                    <a:gd name="connsiteY17" fmla="*/ 67280 h 88049"/>
                    <a:gd name="connsiteX18" fmla="*/ 18324 w 66120"/>
                    <a:gd name="connsiteY18" fmla="*/ 71434 h 88049"/>
                    <a:gd name="connsiteX19" fmla="*/ 25316 w 66120"/>
                    <a:gd name="connsiteY19" fmla="*/ 74169 h 88049"/>
                    <a:gd name="connsiteX20" fmla="*/ 35474 w 66120"/>
                    <a:gd name="connsiteY20" fmla="*/ 69727 h 88049"/>
                    <a:gd name="connsiteX21" fmla="*/ 52254 w 66120"/>
                    <a:gd name="connsiteY21" fmla="*/ 26771 h 88049"/>
                    <a:gd name="connsiteX22" fmla="*/ 47812 w 66120"/>
                    <a:gd name="connsiteY22" fmla="*/ 16612 h 88049"/>
                    <a:gd name="connsiteX23" fmla="*/ 40800 w 66120"/>
                    <a:gd name="connsiteY23" fmla="*/ 13877 h 88049"/>
                    <a:gd name="connsiteX24" fmla="*/ 37983 w 66120"/>
                    <a:gd name="connsiteY24" fmla="*/ 13343 h 8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6120" h="88049">
                      <a:moveTo>
                        <a:pt x="28133" y="88049"/>
                      </a:moveTo>
                      <a:cubicBezTo>
                        <a:pt x="25583" y="88049"/>
                        <a:pt x="22992" y="87576"/>
                        <a:pt x="20463" y="86589"/>
                      </a:cubicBezTo>
                      <a:lnTo>
                        <a:pt x="13471" y="83875"/>
                      </a:lnTo>
                      <a:cubicBezTo>
                        <a:pt x="8207" y="81819"/>
                        <a:pt x="4074" y="77829"/>
                        <a:pt x="1791" y="72627"/>
                      </a:cubicBezTo>
                      <a:cubicBezTo>
                        <a:pt x="-471" y="67445"/>
                        <a:pt x="-594" y="61687"/>
                        <a:pt x="1442" y="56443"/>
                      </a:cubicBezTo>
                      <a:lnTo>
                        <a:pt x="18242" y="13466"/>
                      </a:lnTo>
                      <a:cubicBezTo>
                        <a:pt x="20278" y="8222"/>
                        <a:pt x="24267" y="4069"/>
                        <a:pt x="29470" y="1807"/>
                      </a:cubicBezTo>
                      <a:cubicBezTo>
                        <a:pt x="34651" y="-476"/>
                        <a:pt x="40409" y="-599"/>
                        <a:pt x="45653" y="1457"/>
                      </a:cubicBezTo>
                      <a:lnTo>
                        <a:pt x="52665" y="4192"/>
                      </a:lnTo>
                      <a:lnTo>
                        <a:pt x="52665" y="4192"/>
                      </a:lnTo>
                      <a:cubicBezTo>
                        <a:pt x="63522" y="8449"/>
                        <a:pt x="68910" y="20746"/>
                        <a:pt x="64674" y="31624"/>
                      </a:cubicBezTo>
                      <a:lnTo>
                        <a:pt x="47894" y="74580"/>
                      </a:lnTo>
                      <a:cubicBezTo>
                        <a:pt x="44625" y="82929"/>
                        <a:pt x="36605" y="88049"/>
                        <a:pt x="28133" y="88049"/>
                      </a:cubicBezTo>
                      <a:close/>
                      <a:moveTo>
                        <a:pt x="37983" y="13343"/>
                      </a:moveTo>
                      <a:cubicBezTo>
                        <a:pt x="36913" y="13343"/>
                        <a:pt x="35844" y="13569"/>
                        <a:pt x="34816" y="14021"/>
                      </a:cubicBezTo>
                      <a:cubicBezTo>
                        <a:pt x="32883" y="14864"/>
                        <a:pt x="31403" y="16386"/>
                        <a:pt x="30662" y="18340"/>
                      </a:cubicBezTo>
                      <a:lnTo>
                        <a:pt x="13862" y="61296"/>
                      </a:lnTo>
                      <a:cubicBezTo>
                        <a:pt x="13122" y="63229"/>
                        <a:pt x="13163" y="65347"/>
                        <a:pt x="14006" y="67280"/>
                      </a:cubicBezTo>
                      <a:cubicBezTo>
                        <a:pt x="14849" y="69213"/>
                        <a:pt x="16391" y="70694"/>
                        <a:pt x="18324" y="71434"/>
                      </a:cubicBezTo>
                      <a:lnTo>
                        <a:pt x="25316" y="74169"/>
                      </a:lnTo>
                      <a:cubicBezTo>
                        <a:pt x="29346" y="75732"/>
                        <a:pt x="33891" y="73737"/>
                        <a:pt x="35474" y="69727"/>
                      </a:cubicBezTo>
                      <a:lnTo>
                        <a:pt x="52254" y="26771"/>
                      </a:lnTo>
                      <a:cubicBezTo>
                        <a:pt x="53817" y="22740"/>
                        <a:pt x="51822" y="18175"/>
                        <a:pt x="47812" y="16612"/>
                      </a:cubicBezTo>
                      <a:lnTo>
                        <a:pt x="40800" y="13877"/>
                      </a:lnTo>
                      <a:cubicBezTo>
                        <a:pt x="39895" y="13528"/>
                        <a:pt x="38949" y="13343"/>
                        <a:pt x="37983" y="13343"/>
                      </a:cubicBezTo>
                      <a:close/>
                    </a:path>
                  </a:pathLst>
                </a:custGeom>
                <a:grpFill/>
                <a:ln w="205" cap="flat">
                  <a:noFill/>
                  <a:prstDash val="solid"/>
                  <a:miter/>
                </a:ln>
              </p:spPr>
              <p:txBody>
                <a:bodyPr rtlCol="0" anchor="ctr"/>
                <a:lstStyle/>
                <a:p>
                  <a:endParaRPr lang="en-GB" dirty="0"/>
                </a:p>
              </p:txBody>
            </p:sp>
            <p:sp>
              <p:nvSpPr>
                <p:cNvPr id="565" name="Freihandform: Form 564">
                  <a:extLst>
                    <a:ext uri="{FF2B5EF4-FFF2-40B4-BE49-F238E27FC236}">
                      <a16:creationId xmlns:a16="http://schemas.microsoft.com/office/drawing/2014/main" id="{F138E5A3-CBE4-462A-8EE7-BE6E7244BA16}"/>
                    </a:ext>
                  </a:extLst>
                </p:cNvPr>
                <p:cNvSpPr/>
                <p:nvPr/>
              </p:nvSpPr>
              <p:spPr>
                <a:xfrm>
                  <a:off x="3528780" y="4415688"/>
                  <a:ext cx="62839" cy="78668"/>
                </a:xfrm>
                <a:custGeom>
                  <a:avLst/>
                  <a:gdLst>
                    <a:gd name="connsiteX0" fmla="*/ 29034 w 62839"/>
                    <a:gd name="connsiteY0" fmla="*/ 78669 h 78668"/>
                    <a:gd name="connsiteX1" fmla="*/ 21734 w 62839"/>
                    <a:gd name="connsiteY1" fmla="*/ 77291 h 78668"/>
                    <a:gd name="connsiteX2" fmla="*/ 12810 w 62839"/>
                    <a:gd name="connsiteY2" fmla="*/ 73795 h 78668"/>
                    <a:gd name="connsiteX3" fmla="*/ 1377 w 62839"/>
                    <a:gd name="connsiteY3" fmla="*/ 47721 h 78668"/>
                    <a:gd name="connsiteX4" fmla="*/ 15010 w 62839"/>
                    <a:gd name="connsiteY4" fmla="*/ 12805 h 78668"/>
                    <a:gd name="connsiteX5" fmla="*/ 25703 w 62839"/>
                    <a:gd name="connsiteY5" fmla="*/ 1700 h 78668"/>
                    <a:gd name="connsiteX6" fmla="*/ 41105 w 62839"/>
                    <a:gd name="connsiteY6" fmla="*/ 1392 h 78668"/>
                    <a:gd name="connsiteX7" fmla="*/ 50030 w 62839"/>
                    <a:gd name="connsiteY7" fmla="*/ 4867 h 78668"/>
                    <a:gd name="connsiteX8" fmla="*/ 50030 w 62839"/>
                    <a:gd name="connsiteY8" fmla="*/ 4867 h 78668"/>
                    <a:gd name="connsiteX9" fmla="*/ 61463 w 62839"/>
                    <a:gd name="connsiteY9" fmla="*/ 30962 h 78668"/>
                    <a:gd name="connsiteX10" fmla="*/ 47829 w 62839"/>
                    <a:gd name="connsiteY10" fmla="*/ 65858 h 78668"/>
                    <a:gd name="connsiteX11" fmla="*/ 29034 w 62839"/>
                    <a:gd name="connsiteY11" fmla="*/ 78669 h 78668"/>
                    <a:gd name="connsiteX12" fmla="*/ 33805 w 62839"/>
                    <a:gd name="connsiteY12" fmla="*/ 13339 h 78668"/>
                    <a:gd name="connsiteX13" fmla="*/ 31049 w 62839"/>
                    <a:gd name="connsiteY13" fmla="*/ 13915 h 78668"/>
                    <a:gd name="connsiteX14" fmla="*/ 27430 w 62839"/>
                    <a:gd name="connsiteY14" fmla="*/ 17657 h 78668"/>
                    <a:gd name="connsiteX15" fmla="*/ 13797 w 62839"/>
                    <a:gd name="connsiteY15" fmla="*/ 52574 h 78668"/>
                    <a:gd name="connsiteX16" fmla="*/ 17663 w 62839"/>
                    <a:gd name="connsiteY16" fmla="*/ 61375 h 78668"/>
                    <a:gd name="connsiteX17" fmla="*/ 26587 w 62839"/>
                    <a:gd name="connsiteY17" fmla="*/ 64871 h 78668"/>
                    <a:gd name="connsiteX18" fmla="*/ 35409 w 62839"/>
                    <a:gd name="connsiteY18" fmla="*/ 61005 h 78668"/>
                    <a:gd name="connsiteX19" fmla="*/ 49042 w 62839"/>
                    <a:gd name="connsiteY19" fmla="*/ 26109 h 78668"/>
                    <a:gd name="connsiteX20" fmla="*/ 45177 w 62839"/>
                    <a:gd name="connsiteY20" fmla="*/ 17287 h 78668"/>
                    <a:gd name="connsiteX21" fmla="*/ 36252 w 62839"/>
                    <a:gd name="connsiteY21" fmla="*/ 13812 h 78668"/>
                    <a:gd name="connsiteX22" fmla="*/ 33805 w 62839"/>
                    <a:gd name="connsiteY22" fmla="*/ 13339 h 78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39" h="78668">
                      <a:moveTo>
                        <a:pt x="29034" y="78669"/>
                      </a:moveTo>
                      <a:cubicBezTo>
                        <a:pt x="26608" y="78669"/>
                        <a:pt x="24140" y="78237"/>
                        <a:pt x="21734" y="77291"/>
                      </a:cubicBezTo>
                      <a:lnTo>
                        <a:pt x="12810" y="73795"/>
                      </a:lnTo>
                      <a:cubicBezTo>
                        <a:pt x="2466" y="69765"/>
                        <a:pt x="-2654" y="58064"/>
                        <a:pt x="1377" y="47721"/>
                      </a:cubicBezTo>
                      <a:lnTo>
                        <a:pt x="15010" y="12805"/>
                      </a:lnTo>
                      <a:cubicBezTo>
                        <a:pt x="16964" y="7807"/>
                        <a:pt x="20768" y="3880"/>
                        <a:pt x="25703" y="1700"/>
                      </a:cubicBezTo>
                      <a:cubicBezTo>
                        <a:pt x="30638" y="-459"/>
                        <a:pt x="36108" y="-562"/>
                        <a:pt x="41105" y="1392"/>
                      </a:cubicBezTo>
                      <a:lnTo>
                        <a:pt x="50030" y="4867"/>
                      </a:lnTo>
                      <a:cubicBezTo>
                        <a:pt x="50030" y="4867"/>
                        <a:pt x="50030" y="4867"/>
                        <a:pt x="50030" y="4867"/>
                      </a:cubicBezTo>
                      <a:cubicBezTo>
                        <a:pt x="60373" y="8918"/>
                        <a:pt x="65493" y="20619"/>
                        <a:pt x="61463" y="30962"/>
                      </a:cubicBezTo>
                      <a:lnTo>
                        <a:pt x="47829" y="65858"/>
                      </a:lnTo>
                      <a:cubicBezTo>
                        <a:pt x="44704" y="73795"/>
                        <a:pt x="37095" y="78669"/>
                        <a:pt x="29034" y="78669"/>
                      </a:cubicBezTo>
                      <a:close/>
                      <a:moveTo>
                        <a:pt x="33805" y="13339"/>
                      </a:moveTo>
                      <a:cubicBezTo>
                        <a:pt x="32859" y="13339"/>
                        <a:pt x="31934" y="13545"/>
                        <a:pt x="31049" y="13915"/>
                      </a:cubicBezTo>
                      <a:cubicBezTo>
                        <a:pt x="29384" y="14655"/>
                        <a:pt x="28088" y="15992"/>
                        <a:pt x="27430" y="17657"/>
                      </a:cubicBezTo>
                      <a:lnTo>
                        <a:pt x="13797" y="52574"/>
                      </a:lnTo>
                      <a:cubicBezTo>
                        <a:pt x="12419" y="56070"/>
                        <a:pt x="14167" y="60018"/>
                        <a:pt x="17663" y="61375"/>
                      </a:cubicBezTo>
                      <a:lnTo>
                        <a:pt x="26587" y="64871"/>
                      </a:lnTo>
                      <a:cubicBezTo>
                        <a:pt x="30042" y="66249"/>
                        <a:pt x="34031" y="64501"/>
                        <a:pt x="35409" y="61005"/>
                      </a:cubicBezTo>
                      <a:lnTo>
                        <a:pt x="49042" y="26109"/>
                      </a:lnTo>
                      <a:cubicBezTo>
                        <a:pt x="50400" y="22613"/>
                        <a:pt x="48672" y="18665"/>
                        <a:pt x="45177" y="17287"/>
                      </a:cubicBezTo>
                      <a:lnTo>
                        <a:pt x="36252" y="13812"/>
                      </a:lnTo>
                      <a:cubicBezTo>
                        <a:pt x="35450" y="13504"/>
                        <a:pt x="34628" y="13339"/>
                        <a:pt x="33805" y="13339"/>
                      </a:cubicBezTo>
                      <a:close/>
                    </a:path>
                  </a:pathLst>
                </a:custGeom>
                <a:grpFill/>
                <a:ln w="205" cap="flat">
                  <a:noFill/>
                  <a:prstDash val="solid"/>
                  <a:miter/>
                </a:ln>
              </p:spPr>
              <p:txBody>
                <a:bodyPr rtlCol="0" anchor="ctr"/>
                <a:lstStyle/>
                <a:p>
                  <a:endParaRPr lang="en-GB" dirty="0"/>
                </a:p>
              </p:txBody>
            </p:sp>
          </p:grpSp>
        </p:grpSp>
      </p:grpSp>
      <p:sp>
        <p:nvSpPr>
          <p:cNvPr id="569" name="TextBox 1408">
            <a:extLst>
              <a:ext uri="{FF2B5EF4-FFF2-40B4-BE49-F238E27FC236}">
                <a16:creationId xmlns:a16="http://schemas.microsoft.com/office/drawing/2014/main" id="{C67642E9-644A-43C5-BF36-ACEC3D4E534E}"/>
              </a:ext>
            </a:extLst>
          </p:cNvPr>
          <p:cNvSpPr txBox="1"/>
          <p:nvPr/>
        </p:nvSpPr>
        <p:spPr>
          <a:xfrm>
            <a:off x="3745205" y="4547732"/>
            <a:ext cx="370293" cy="107722"/>
          </a:xfrm>
          <a:prstGeom prst="rect">
            <a:avLst/>
          </a:prstGeom>
          <a:noFill/>
          <a:effectLst/>
        </p:spPr>
        <p:txBody>
          <a:bodyPr wrap="none" lIns="0" tIns="0" rIns="0" bIns="0" rtlCol="0" anchor="t">
            <a:spAutoFit/>
          </a:bodyPr>
          <a:lstStyle/>
          <a:p>
            <a:pPr algn="ctr"/>
            <a:r>
              <a:rPr lang="en-GB" sz="700" dirty="0">
                <a:solidFill>
                  <a:schemeClr val="tx2"/>
                </a:solidFill>
              </a:rPr>
              <a:t>Outreach</a:t>
            </a:r>
          </a:p>
        </p:txBody>
      </p:sp>
      <p:grpSp>
        <p:nvGrpSpPr>
          <p:cNvPr id="45" name="Group 44">
            <a:extLst>
              <a:ext uri="{FF2B5EF4-FFF2-40B4-BE49-F238E27FC236}">
                <a16:creationId xmlns:a16="http://schemas.microsoft.com/office/drawing/2014/main" id="{963F9C77-2BC7-3998-C1BB-B75522F2786D}"/>
              </a:ext>
            </a:extLst>
          </p:cNvPr>
          <p:cNvGrpSpPr/>
          <p:nvPr/>
        </p:nvGrpSpPr>
        <p:grpSpPr>
          <a:xfrm>
            <a:off x="2668924" y="4097454"/>
            <a:ext cx="431989" cy="432000"/>
            <a:chOff x="2668924" y="4097454"/>
            <a:chExt cx="431989" cy="432000"/>
          </a:xfrm>
        </p:grpSpPr>
        <p:grpSp>
          <p:nvGrpSpPr>
            <p:cNvPr id="571" name="Gruppieren 570">
              <a:extLst>
                <a:ext uri="{FF2B5EF4-FFF2-40B4-BE49-F238E27FC236}">
                  <a16:creationId xmlns:a16="http://schemas.microsoft.com/office/drawing/2014/main" id="{72BF15AC-956E-495B-A03E-B78DF89CBC2D}"/>
                </a:ext>
              </a:extLst>
            </p:cNvPr>
            <p:cNvGrpSpPr/>
            <p:nvPr/>
          </p:nvGrpSpPr>
          <p:grpSpPr>
            <a:xfrm>
              <a:off x="2668924" y="4097454"/>
              <a:ext cx="431989" cy="432000"/>
              <a:chOff x="2564905" y="4173507"/>
              <a:chExt cx="440002" cy="440013"/>
            </a:xfrm>
            <a:solidFill>
              <a:schemeClr val="tx2"/>
            </a:solidFill>
          </p:grpSpPr>
          <p:sp>
            <p:nvSpPr>
              <p:cNvPr id="581" name="Freihandform: Form 580">
                <a:extLst>
                  <a:ext uri="{FF2B5EF4-FFF2-40B4-BE49-F238E27FC236}">
                    <a16:creationId xmlns:a16="http://schemas.microsoft.com/office/drawing/2014/main" id="{89CEE76F-BFD3-4297-B842-A8B20C61E56D}"/>
                  </a:ext>
                </a:extLst>
              </p:cNvPr>
              <p:cNvSpPr/>
              <p:nvPr/>
            </p:nvSpPr>
            <p:spPr>
              <a:xfrm>
                <a:off x="2751575" y="4473505"/>
                <a:ext cx="66668" cy="140015"/>
              </a:xfrm>
              <a:custGeom>
                <a:avLst/>
                <a:gdLst>
                  <a:gd name="connsiteX0" fmla="*/ 60002 w 66668"/>
                  <a:gd name="connsiteY0" fmla="*/ 140016 h 140015"/>
                  <a:gd name="connsiteX1" fmla="*/ 53335 w 66668"/>
                  <a:gd name="connsiteY1" fmla="*/ 133353 h 140015"/>
                  <a:gd name="connsiteX2" fmla="*/ 53335 w 66668"/>
                  <a:gd name="connsiteY2" fmla="*/ 13346 h 140015"/>
                  <a:gd name="connsiteX3" fmla="*/ 13333 w 66668"/>
                  <a:gd name="connsiteY3" fmla="*/ 13346 h 140015"/>
                  <a:gd name="connsiteX4" fmla="*/ 13333 w 66668"/>
                  <a:gd name="connsiteY4" fmla="*/ 133353 h 140015"/>
                  <a:gd name="connsiteX5" fmla="*/ 6667 w 66668"/>
                  <a:gd name="connsiteY5" fmla="*/ 140016 h 140015"/>
                  <a:gd name="connsiteX6" fmla="*/ 0 w 66668"/>
                  <a:gd name="connsiteY6" fmla="*/ 133353 h 140015"/>
                  <a:gd name="connsiteX7" fmla="*/ 0 w 66668"/>
                  <a:gd name="connsiteY7" fmla="*/ 6683 h 140015"/>
                  <a:gd name="connsiteX8" fmla="*/ 6667 w 66668"/>
                  <a:gd name="connsiteY8" fmla="*/ 0 h 140015"/>
                  <a:gd name="connsiteX9" fmla="*/ 60002 w 66668"/>
                  <a:gd name="connsiteY9" fmla="*/ 0 h 140015"/>
                  <a:gd name="connsiteX10" fmla="*/ 66668 w 66668"/>
                  <a:gd name="connsiteY10" fmla="*/ 6683 h 140015"/>
                  <a:gd name="connsiteX11" fmla="*/ 66668 w 66668"/>
                  <a:gd name="connsiteY11" fmla="*/ 133353 h 140015"/>
                  <a:gd name="connsiteX12" fmla="*/ 60002 w 66668"/>
                  <a:gd name="connsiteY12" fmla="*/ 140016 h 14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68" h="140015">
                    <a:moveTo>
                      <a:pt x="60002" y="140016"/>
                    </a:moveTo>
                    <a:cubicBezTo>
                      <a:pt x="56317" y="140016"/>
                      <a:pt x="53335" y="137034"/>
                      <a:pt x="53335" y="133353"/>
                    </a:cubicBezTo>
                    <a:lnTo>
                      <a:pt x="53335" y="13346"/>
                    </a:lnTo>
                    <a:lnTo>
                      <a:pt x="13333" y="13346"/>
                    </a:lnTo>
                    <a:lnTo>
                      <a:pt x="13333" y="133353"/>
                    </a:lnTo>
                    <a:cubicBezTo>
                      <a:pt x="13333" y="137034"/>
                      <a:pt x="10352" y="140016"/>
                      <a:pt x="6667" y="140016"/>
                    </a:cubicBezTo>
                    <a:cubicBezTo>
                      <a:pt x="2982" y="140016"/>
                      <a:pt x="0" y="137034"/>
                      <a:pt x="0" y="133353"/>
                    </a:cubicBezTo>
                    <a:lnTo>
                      <a:pt x="0" y="6683"/>
                    </a:lnTo>
                    <a:cubicBezTo>
                      <a:pt x="0" y="2982"/>
                      <a:pt x="2982" y="0"/>
                      <a:pt x="6667" y="0"/>
                    </a:cubicBezTo>
                    <a:lnTo>
                      <a:pt x="60002" y="0"/>
                    </a:lnTo>
                    <a:cubicBezTo>
                      <a:pt x="63687" y="0"/>
                      <a:pt x="66668" y="2982"/>
                      <a:pt x="66668" y="6683"/>
                    </a:cubicBezTo>
                    <a:lnTo>
                      <a:pt x="66668" y="133353"/>
                    </a:lnTo>
                    <a:cubicBezTo>
                      <a:pt x="66668" y="137034"/>
                      <a:pt x="63687" y="140016"/>
                      <a:pt x="60002" y="140016"/>
                    </a:cubicBezTo>
                    <a:close/>
                  </a:path>
                </a:pathLst>
              </a:custGeom>
              <a:grpFill/>
              <a:ln w="205" cap="flat">
                <a:noFill/>
                <a:prstDash val="solid"/>
                <a:miter/>
              </a:ln>
            </p:spPr>
            <p:txBody>
              <a:bodyPr rtlCol="0" anchor="ctr"/>
              <a:lstStyle/>
              <a:p>
                <a:endParaRPr lang="en-GB" dirty="0"/>
              </a:p>
            </p:txBody>
          </p:sp>
          <p:grpSp>
            <p:nvGrpSpPr>
              <p:cNvPr id="582" name="Grafik 348">
                <a:extLst>
                  <a:ext uri="{FF2B5EF4-FFF2-40B4-BE49-F238E27FC236}">
                    <a16:creationId xmlns:a16="http://schemas.microsoft.com/office/drawing/2014/main" id="{BBB72144-CBD8-480E-9235-A7031D3ADD64}"/>
                  </a:ext>
                </a:extLst>
              </p:cNvPr>
              <p:cNvGrpSpPr/>
              <p:nvPr/>
            </p:nvGrpSpPr>
            <p:grpSpPr>
              <a:xfrm>
                <a:off x="2624907" y="4173507"/>
                <a:ext cx="86670" cy="99999"/>
                <a:chOff x="2624907" y="4173507"/>
                <a:chExt cx="86670" cy="99999"/>
              </a:xfrm>
              <a:grpFill/>
            </p:grpSpPr>
            <p:sp>
              <p:nvSpPr>
                <p:cNvPr id="587" name="Freihandform: Form 586">
                  <a:extLst>
                    <a:ext uri="{FF2B5EF4-FFF2-40B4-BE49-F238E27FC236}">
                      <a16:creationId xmlns:a16="http://schemas.microsoft.com/office/drawing/2014/main" id="{15F58B3C-1741-4DD3-B11B-58E426C75E3C}"/>
                    </a:ext>
                  </a:extLst>
                </p:cNvPr>
                <p:cNvSpPr/>
                <p:nvPr/>
              </p:nvSpPr>
              <p:spPr>
                <a:xfrm>
                  <a:off x="2624907" y="4173507"/>
                  <a:ext cx="53333" cy="73328"/>
                </a:xfrm>
                <a:custGeom>
                  <a:avLst/>
                  <a:gdLst>
                    <a:gd name="connsiteX0" fmla="*/ 46667 w 53333"/>
                    <a:gd name="connsiteY0" fmla="*/ 73329 h 73328"/>
                    <a:gd name="connsiteX1" fmla="*/ 40000 w 53333"/>
                    <a:gd name="connsiteY1" fmla="*/ 66666 h 73328"/>
                    <a:gd name="connsiteX2" fmla="*/ 40000 w 53333"/>
                    <a:gd name="connsiteY2" fmla="*/ 26670 h 73328"/>
                    <a:gd name="connsiteX3" fmla="*/ 26667 w 53333"/>
                    <a:gd name="connsiteY3" fmla="*/ 13325 h 73328"/>
                    <a:gd name="connsiteX4" fmla="*/ 13333 w 53333"/>
                    <a:gd name="connsiteY4" fmla="*/ 26670 h 73328"/>
                    <a:gd name="connsiteX5" fmla="*/ 13333 w 53333"/>
                    <a:gd name="connsiteY5" fmla="*/ 39996 h 73328"/>
                    <a:gd name="connsiteX6" fmla="*/ 6667 w 53333"/>
                    <a:gd name="connsiteY6" fmla="*/ 46658 h 73328"/>
                    <a:gd name="connsiteX7" fmla="*/ 0 w 53333"/>
                    <a:gd name="connsiteY7" fmla="*/ 39996 h 73328"/>
                    <a:gd name="connsiteX8" fmla="*/ 0 w 53333"/>
                    <a:gd name="connsiteY8" fmla="*/ 26670 h 73328"/>
                    <a:gd name="connsiteX9" fmla="*/ 26667 w 53333"/>
                    <a:gd name="connsiteY9" fmla="*/ 0 h 73328"/>
                    <a:gd name="connsiteX10" fmla="*/ 53333 w 53333"/>
                    <a:gd name="connsiteY10" fmla="*/ 26670 h 73328"/>
                    <a:gd name="connsiteX11" fmla="*/ 53333 w 53333"/>
                    <a:gd name="connsiteY11" fmla="*/ 66666 h 73328"/>
                    <a:gd name="connsiteX12" fmla="*/ 46667 w 53333"/>
                    <a:gd name="connsiteY12" fmla="*/ 73329 h 73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333" h="73328">
                      <a:moveTo>
                        <a:pt x="46667" y="73329"/>
                      </a:moveTo>
                      <a:cubicBezTo>
                        <a:pt x="42982" y="73329"/>
                        <a:pt x="40000" y="70347"/>
                        <a:pt x="40000" y="66666"/>
                      </a:cubicBezTo>
                      <a:lnTo>
                        <a:pt x="40000" y="26670"/>
                      </a:lnTo>
                      <a:cubicBezTo>
                        <a:pt x="40000" y="19309"/>
                        <a:pt x="34016" y="13325"/>
                        <a:pt x="26667" y="13325"/>
                      </a:cubicBezTo>
                      <a:cubicBezTo>
                        <a:pt x="19315" y="13325"/>
                        <a:pt x="13333" y="19309"/>
                        <a:pt x="13333" y="26670"/>
                      </a:cubicBezTo>
                      <a:lnTo>
                        <a:pt x="13333" y="39996"/>
                      </a:lnTo>
                      <a:cubicBezTo>
                        <a:pt x="13333" y="43676"/>
                        <a:pt x="10352" y="46658"/>
                        <a:pt x="6667" y="46658"/>
                      </a:cubicBezTo>
                      <a:cubicBezTo>
                        <a:pt x="2982" y="46658"/>
                        <a:pt x="0" y="43676"/>
                        <a:pt x="0" y="39996"/>
                      </a:cubicBezTo>
                      <a:lnTo>
                        <a:pt x="0" y="26670"/>
                      </a:lnTo>
                      <a:cubicBezTo>
                        <a:pt x="0" y="11947"/>
                        <a:pt x="11960" y="0"/>
                        <a:pt x="26667" y="0"/>
                      </a:cubicBezTo>
                      <a:cubicBezTo>
                        <a:pt x="41373" y="0"/>
                        <a:pt x="53333" y="11947"/>
                        <a:pt x="53333" y="26670"/>
                      </a:cubicBezTo>
                      <a:lnTo>
                        <a:pt x="53333" y="66666"/>
                      </a:lnTo>
                      <a:cubicBezTo>
                        <a:pt x="53333" y="70347"/>
                        <a:pt x="50351" y="73329"/>
                        <a:pt x="46667" y="73329"/>
                      </a:cubicBezTo>
                      <a:close/>
                    </a:path>
                  </a:pathLst>
                </a:custGeom>
                <a:grpFill/>
                <a:ln w="205" cap="flat">
                  <a:noFill/>
                  <a:prstDash val="solid"/>
                  <a:miter/>
                </a:ln>
              </p:spPr>
              <p:txBody>
                <a:bodyPr rtlCol="0" anchor="ctr"/>
                <a:lstStyle/>
                <a:p>
                  <a:endParaRPr lang="en-GB" dirty="0"/>
                </a:p>
              </p:txBody>
            </p:sp>
            <p:sp>
              <p:nvSpPr>
                <p:cNvPr id="588" name="Freihandform: Form 587">
                  <a:extLst>
                    <a:ext uri="{FF2B5EF4-FFF2-40B4-BE49-F238E27FC236}">
                      <a16:creationId xmlns:a16="http://schemas.microsoft.com/office/drawing/2014/main" id="{E319F2E0-4E2A-4C6E-B1BD-A688C737AAF9}"/>
                    </a:ext>
                  </a:extLst>
                </p:cNvPr>
                <p:cNvSpPr/>
                <p:nvPr/>
              </p:nvSpPr>
              <p:spPr>
                <a:xfrm>
                  <a:off x="2631574" y="4233511"/>
                  <a:ext cx="80003" cy="39995"/>
                </a:xfrm>
                <a:custGeom>
                  <a:avLst/>
                  <a:gdLst>
                    <a:gd name="connsiteX0" fmla="*/ 73335 w 80003"/>
                    <a:gd name="connsiteY0" fmla="*/ 39996 h 39995"/>
                    <a:gd name="connsiteX1" fmla="*/ 6667 w 80003"/>
                    <a:gd name="connsiteY1" fmla="*/ 39996 h 39995"/>
                    <a:gd name="connsiteX2" fmla="*/ 0 w 80003"/>
                    <a:gd name="connsiteY2" fmla="*/ 33333 h 39995"/>
                    <a:gd name="connsiteX3" fmla="*/ 33335 w 80003"/>
                    <a:gd name="connsiteY3" fmla="*/ 0 h 39995"/>
                    <a:gd name="connsiteX4" fmla="*/ 46669 w 80003"/>
                    <a:gd name="connsiteY4" fmla="*/ 0 h 39995"/>
                    <a:gd name="connsiteX5" fmla="*/ 80004 w 80003"/>
                    <a:gd name="connsiteY5" fmla="*/ 33333 h 39995"/>
                    <a:gd name="connsiteX6" fmla="*/ 73335 w 80003"/>
                    <a:gd name="connsiteY6" fmla="*/ 39996 h 39995"/>
                    <a:gd name="connsiteX7" fmla="*/ 14472 w 80003"/>
                    <a:gd name="connsiteY7" fmla="*/ 26650 h 39995"/>
                    <a:gd name="connsiteX8" fmla="*/ 65529 w 80003"/>
                    <a:gd name="connsiteY8" fmla="*/ 26650 h 39995"/>
                    <a:gd name="connsiteX9" fmla="*/ 46669 w 80003"/>
                    <a:gd name="connsiteY9" fmla="*/ 13325 h 39995"/>
                    <a:gd name="connsiteX10" fmla="*/ 33335 w 80003"/>
                    <a:gd name="connsiteY10" fmla="*/ 13325 h 39995"/>
                    <a:gd name="connsiteX11" fmla="*/ 14472 w 80003"/>
                    <a:gd name="connsiteY11" fmla="*/ 26650 h 3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003" h="39995">
                      <a:moveTo>
                        <a:pt x="73335" y="39996"/>
                      </a:moveTo>
                      <a:lnTo>
                        <a:pt x="6667" y="39996"/>
                      </a:lnTo>
                      <a:cubicBezTo>
                        <a:pt x="2982" y="39996"/>
                        <a:pt x="0" y="37014"/>
                        <a:pt x="0" y="33333"/>
                      </a:cubicBezTo>
                      <a:cubicBezTo>
                        <a:pt x="0" y="14950"/>
                        <a:pt x="14956" y="0"/>
                        <a:pt x="33335" y="0"/>
                      </a:cubicBezTo>
                      <a:lnTo>
                        <a:pt x="46669" y="0"/>
                      </a:lnTo>
                      <a:cubicBezTo>
                        <a:pt x="65048" y="0"/>
                        <a:pt x="80004" y="14950"/>
                        <a:pt x="80004" y="33333"/>
                      </a:cubicBezTo>
                      <a:cubicBezTo>
                        <a:pt x="80002" y="37014"/>
                        <a:pt x="77020" y="39996"/>
                        <a:pt x="73335" y="39996"/>
                      </a:cubicBezTo>
                      <a:close/>
                      <a:moveTo>
                        <a:pt x="14472" y="26650"/>
                      </a:moveTo>
                      <a:lnTo>
                        <a:pt x="65529" y="26650"/>
                      </a:lnTo>
                      <a:cubicBezTo>
                        <a:pt x="62776" y="18898"/>
                        <a:pt x="55359" y="13325"/>
                        <a:pt x="46669" y="13325"/>
                      </a:cubicBezTo>
                      <a:lnTo>
                        <a:pt x="33335" y="13325"/>
                      </a:lnTo>
                      <a:cubicBezTo>
                        <a:pt x="24641" y="13325"/>
                        <a:pt x="17226" y="18898"/>
                        <a:pt x="14472" y="26650"/>
                      </a:cubicBezTo>
                      <a:close/>
                    </a:path>
                  </a:pathLst>
                </a:custGeom>
                <a:grpFill/>
                <a:ln w="205" cap="flat">
                  <a:noFill/>
                  <a:prstDash val="solid"/>
                  <a:miter/>
                </a:ln>
              </p:spPr>
              <p:txBody>
                <a:bodyPr rtlCol="0" anchor="ctr"/>
                <a:lstStyle/>
                <a:p>
                  <a:endParaRPr lang="en-GB" dirty="0"/>
                </a:p>
              </p:txBody>
            </p:sp>
          </p:grpSp>
          <p:grpSp>
            <p:nvGrpSpPr>
              <p:cNvPr id="583" name="Grafik 348">
                <a:extLst>
                  <a:ext uri="{FF2B5EF4-FFF2-40B4-BE49-F238E27FC236}">
                    <a16:creationId xmlns:a16="http://schemas.microsoft.com/office/drawing/2014/main" id="{F230DFC6-B162-409B-8933-777E686D9CA2}"/>
                  </a:ext>
                </a:extLst>
              </p:cNvPr>
              <p:cNvGrpSpPr/>
              <p:nvPr/>
            </p:nvGrpSpPr>
            <p:grpSpPr>
              <a:xfrm>
                <a:off x="2858245" y="4173507"/>
                <a:ext cx="86678" cy="99999"/>
                <a:chOff x="2858245" y="4173507"/>
                <a:chExt cx="86678" cy="99999"/>
              </a:xfrm>
              <a:grpFill/>
            </p:grpSpPr>
            <p:sp>
              <p:nvSpPr>
                <p:cNvPr id="585" name="Freihandform: Form 584">
                  <a:extLst>
                    <a:ext uri="{FF2B5EF4-FFF2-40B4-BE49-F238E27FC236}">
                      <a16:creationId xmlns:a16="http://schemas.microsoft.com/office/drawing/2014/main" id="{64C4877D-F0BC-4063-A43D-97E1769E93DA}"/>
                    </a:ext>
                  </a:extLst>
                </p:cNvPr>
                <p:cNvSpPr/>
                <p:nvPr/>
              </p:nvSpPr>
              <p:spPr>
                <a:xfrm>
                  <a:off x="2891583" y="4173507"/>
                  <a:ext cx="53341" cy="73328"/>
                </a:xfrm>
                <a:custGeom>
                  <a:avLst/>
                  <a:gdLst>
                    <a:gd name="connsiteX0" fmla="*/ 6662 w 53341"/>
                    <a:gd name="connsiteY0" fmla="*/ 73329 h 73328"/>
                    <a:gd name="connsiteX1" fmla="*/ 0 w 53341"/>
                    <a:gd name="connsiteY1" fmla="*/ 66666 h 73328"/>
                    <a:gd name="connsiteX2" fmla="*/ 0 w 53341"/>
                    <a:gd name="connsiteY2" fmla="*/ 26670 h 73328"/>
                    <a:gd name="connsiteX3" fmla="*/ 26670 w 53341"/>
                    <a:gd name="connsiteY3" fmla="*/ 0 h 73328"/>
                    <a:gd name="connsiteX4" fmla="*/ 53341 w 53341"/>
                    <a:gd name="connsiteY4" fmla="*/ 26670 h 73328"/>
                    <a:gd name="connsiteX5" fmla="*/ 53341 w 53341"/>
                    <a:gd name="connsiteY5" fmla="*/ 39996 h 73328"/>
                    <a:gd name="connsiteX6" fmla="*/ 46658 w 53341"/>
                    <a:gd name="connsiteY6" fmla="*/ 46658 h 73328"/>
                    <a:gd name="connsiteX7" fmla="*/ 39996 w 53341"/>
                    <a:gd name="connsiteY7" fmla="*/ 39996 h 73328"/>
                    <a:gd name="connsiteX8" fmla="*/ 39996 w 53341"/>
                    <a:gd name="connsiteY8" fmla="*/ 26670 h 73328"/>
                    <a:gd name="connsiteX9" fmla="*/ 26670 w 53341"/>
                    <a:gd name="connsiteY9" fmla="*/ 13325 h 73328"/>
                    <a:gd name="connsiteX10" fmla="*/ 13325 w 53341"/>
                    <a:gd name="connsiteY10" fmla="*/ 26670 h 73328"/>
                    <a:gd name="connsiteX11" fmla="*/ 13325 w 53341"/>
                    <a:gd name="connsiteY11" fmla="*/ 66666 h 73328"/>
                    <a:gd name="connsiteX12" fmla="*/ 6662 w 53341"/>
                    <a:gd name="connsiteY12" fmla="*/ 73329 h 73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341" h="73328">
                      <a:moveTo>
                        <a:pt x="6662" y="73329"/>
                      </a:moveTo>
                      <a:cubicBezTo>
                        <a:pt x="2982" y="73329"/>
                        <a:pt x="0" y="70347"/>
                        <a:pt x="0" y="66666"/>
                      </a:cubicBezTo>
                      <a:lnTo>
                        <a:pt x="0" y="26670"/>
                      </a:lnTo>
                      <a:cubicBezTo>
                        <a:pt x="0" y="11947"/>
                        <a:pt x="11947" y="0"/>
                        <a:pt x="26670" y="0"/>
                      </a:cubicBezTo>
                      <a:cubicBezTo>
                        <a:pt x="41373" y="0"/>
                        <a:pt x="53341" y="11947"/>
                        <a:pt x="53341" y="26670"/>
                      </a:cubicBezTo>
                      <a:lnTo>
                        <a:pt x="53341" y="39996"/>
                      </a:lnTo>
                      <a:cubicBezTo>
                        <a:pt x="53341" y="43676"/>
                        <a:pt x="50359" y="46658"/>
                        <a:pt x="46658" y="46658"/>
                      </a:cubicBezTo>
                      <a:cubicBezTo>
                        <a:pt x="42977" y="46658"/>
                        <a:pt x="39996" y="43676"/>
                        <a:pt x="39996" y="39996"/>
                      </a:cubicBezTo>
                      <a:lnTo>
                        <a:pt x="39996" y="26670"/>
                      </a:lnTo>
                      <a:cubicBezTo>
                        <a:pt x="39996" y="19309"/>
                        <a:pt x="34012" y="13325"/>
                        <a:pt x="26670" y="13325"/>
                      </a:cubicBezTo>
                      <a:cubicBezTo>
                        <a:pt x="19309" y="13325"/>
                        <a:pt x="13325" y="19309"/>
                        <a:pt x="13325" y="26670"/>
                      </a:cubicBezTo>
                      <a:lnTo>
                        <a:pt x="13325" y="66666"/>
                      </a:lnTo>
                      <a:cubicBezTo>
                        <a:pt x="13325" y="70347"/>
                        <a:pt x="10343" y="73329"/>
                        <a:pt x="6662" y="73329"/>
                      </a:cubicBezTo>
                      <a:close/>
                    </a:path>
                  </a:pathLst>
                </a:custGeom>
                <a:grpFill/>
                <a:ln w="205" cap="flat">
                  <a:noFill/>
                  <a:prstDash val="solid"/>
                  <a:miter/>
                </a:ln>
              </p:spPr>
              <p:txBody>
                <a:bodyPr rtlCol="0" anchor="ctr"/>
                <a:lstStyle/>
                <a:p>
                  <a:endParaRPr lang="en-GB" dirty="0"/>
                </a:p>
              </p:txBody>
            </p:sp>
            <p:sp>
              <p:nvSpPr>
                <p:cNvPr id="586" name="Freihandform: Form 585">
                  <a:extLst>
                    <a:ext uri="{FF2B5EF4-FFF2-40B4-BE49-F238E27FC236}">
                      <a16:creationId xmlns:a16="http://schemas.microsoft.com/office/drawing/2014/main" id="{DBA3D140-F779-419C-B1EA-2256C4E344FE}"/>
                    </a:ext>
                  </a:extLst>
                </p:cNvPr>
                <p:cNvSpPr/>
                <p:nvPr/>
              </p:nvSpPr>
              <p:spPr>
                <a:xfrm>
                  <a:off x="2858245" y="4233511"/>
                  <a:ext cx="79995" cy="39995"/>
                </a:xfrm>
                <a:custGeom>
                  <a:avLst/>
                  <a:gdLst>
                    <a:gd name="connsiteX0" fmla="*/ 73333 w 79995"/>
                    <a:gd name="connsiteY0" fmla="*/ 39996 h 39995"/>
                    <a:gd name="connsiteX1" fmla="*/ 6667 w 79995"/>
                    <a:gd name="connsiteY1" fmla="*/ 39996 h 39995"/>
                    <a:gd name="connsiteX2" fmla="*/ 0 w 79995"/>
                    <a:gd name="connsiteY2" fmla="*/ 33333 h 39995"/>
                    <a:gd name="connsiteX3" fmla="*/ 33337 w 79995"/>
                    <a:gd name="connsiteY3" fmla="*/ 0 h 39995"/>
                    <a:gd name="connsiteX4" fmla="*/ 46662 w 79995"/>
                    <a:gd name="connsiteY4" fmla="*/ 0 h 39995"/>
                    <a:gd name="connsiteX5" fmla="*/ 79995 w 79995"/>
                    <a:gd name="connsiteY5" fmla="*/ 33333 h 39995"/>
                    <a:gd name="connsiteX6" fmla="*/ 73333 w 79995"/>
                    <a:gd name="connsiteY6" fmla="*/ 39996 h 39995"/>
                    <a:gd name="connsiteX7" fmla="*/ 14481 w 79995"/>
                    <a:gd name="connsiteY7" fmla="*/ 26650 h 39995"/>
                    <a:gd name="connsiteX8" fmla="*/ 65539 w 79995"/>
                    <a:gd name="connsiteY8" fmla="*/ 26650 h 39995"/>
                    <a:gd name="connsiteX9" fmla="*/ 46662 w 79995"/>
                    <a:gd name="connsiteY9" fmla="*/ 13325 h 39995"/>
                    <a:gd name="connsiteX10" fmla="*/ 33337 w 79995"/>
                    <a:gd name="connsiteY10" fmla="*/ 13325 h 39995"/>
                    <a:gd name="connsiteX11" fmla="*/ 14481 w 79995"/>
                    <a:gd name="connsiteY11" fmla="*/ 26650 h 3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995" h="39995">
                      <a:moveTo>
                        <a:pt x="73333" y="39996"/>
                      </a:moveTo>
                      <a:lnTo>
                        <a:pt x="6667" y="39996"/>
                      </a:lnTo>
                      <a:cubicBezTo>
                        <a:pt x="2982" y="39996"/>
                        <a:pt x="0" y="37014"/>
                        <a:pt x="0" y="33333"/>
                      </a:cubicBezTo>
                      <a:cubicBezTo>
                        <a:pt x="0" y="14950"/>
                        <a:pt x="14954" y="0"/>
                        <a:pt x="33337" y="0"/>
                      </a:cubicBezTo>
                      <a:lnTo>
                        <a:pt x="46662" y="0"/>
                      </a:lnTo>
                      <a:cubicBezTo>
                        <a:pt x="65046" y="0"/>
                        <a:pt x="79995" y="14950"/>
                        <a:pt x="79995" y="33333"/>
                      </a:cubicBezTo>
                      <a:cubicBezTo>
                        <a:pt x="79995" y="37014"/>
                        <a:pt x="77014" y="39996"/>
                        <a:pt x="73333" y="39996"/>
                      </a:cubicBezTo>
                      <a:close/>
                      <a:moveTo>
                        <a:pt x="14481" y="26650"/>
                      </a:moveTo>
                      <a:lnTo>
                        <a:pt x="65539" y="26650"/>
                      </a:lnTo>
                      <a:cubicBezTo>
                        <a:pt x="62784" y="18898"/>
                        <a:pt x="55361" y="13325"/>
                        <a:pt x="46662" y="13325"/>
                      </a:cubicBezTo>
                      <a:lnTo>
                        <a:pt x="33337" y="13325"/>
                      </a:lnTo>
                      <a:cubicBezTo>
                        <a:pt x="24639" y="13325"/>
                        <a:pt x="17236" y="18898"/>
                        <a:pt x="14481" y="26650"/>
                      </a:cubicBezTo>
                      <a:close/>
                    </a:path>
                  </a:pathLst>
                </a:custGeom>
                <a:grpFill/>
                <a:ln w="205" cap="flat">
                  <a:noFill/>
                  <a:prstDash val="solid"/>
                  <a:miter/>
                </a:ln>
              </p:spPr>
              <p:txBody>
                <a:bodyPr rtlCol="0" anchor="ctr"/>
                <a:lstStyle/>
                <a:p>
                  <a:endParaRPr lang="en-GB" dirty="0"/>
                </a:p>
              </p:txBody>
            </p:sp>
          </p:grpSp>
          <p:sp>
            <p:nvSpPr>
              <p:cNvPr id="584" name="Freihandform: Form 583">
                <a:extLst>
                  <a:ext uri="{FF2B5EF4-FFF2-40B4-BE49-F238E27FC236}">
                    <a16:creationId xmlns:a16="http://schemas.microsoft.com/office/drawing/2014/main" id="{D85D5DD4-C1C6-461C-A192-BB7D3EE77EFC}"/>
                  </a:ext>
                </a:extLst>
              </p:cNvPr>
              <p:cNvSpPr/>
              <p:nvPr/>
            </p:nvSpPr>
            <p:spPr>
              <a:xfrm>
                <a:off x="2564905" y="4206840"/>
                <a:ext cx="440002" cy="280011"/>
              </a:xfrm>
              <a:custGeom>
                <a:avLst/>
                <a:gdLst>
                  <a:gd name="connsiteX0" fmla="*/ 420014 w 440002"/>
                  <a:gd name="connsiteY0" fmla="*/ 280011 h 280011"/>
                  <a:gd name="connsiteX1" fmla="*/ 20000 w 440002"/>
                  <a:gd name="connsiteY1" fmla="*/ 280011 h 280011"/>
                  <a:gd name="connsiteX2" fmla="*/ 0 w 440002"/>
                  <a:gd name="connsiteY2" fmla="*/ 260003 h 280011"/>
                  <a:gd name="connsiteX3" fmla="*/ 0 w 440002"/>
                  <a:gd name="connsiteY3" fmla="*/ 20008 h 280011"/>
                  <a:gd name="connsiteX4" fmla="*/ 20000 w 440002"/>
                  <a:gd name="connsiteY4" fmla="*/ 0 h 280011"/>
                  <a:gd name="connsiteX5" fmla="*/ 420014 w 440002"/>
                  <a:gd name="connsiteY5" fmla="*/ 0 h 280011"/>
                  <a:gd name="connsiteX6" fmla="*/ 440002 w 440002"/>
                  <a:gd name="connsiteY6" fmla="*/ 20008 h 280011"/>
                  <a:gd name="connsiteX7" fmla="*/ 440002 w 440002"/>
                  <a:gd name="connsiteY7" fmla="*/ 260003 h 280011"/>
                  <a:gd name="connsiteX8" fmla="*/ 420014 w 440002"/>
                  <a:gd name="connsiteY8" fmla="*/ 280011 h 280011"/>
                  <a:gd name="connsiteX9" fmla="*/ 20000 w 440002"/>
                  <a:gd name="connsiteY9" fmla="*/ 13325 h 280011"/>
                  <a:gd name="connsiteX10" fmla="*/ 13333 w 440002"/>
                  <a:gd name="connsiteY10" fmla="*/ 20008 h 280011"/>
                  <a:gd name="connsiteX11" fmla="*/ 13333 w 440002"/>
                  <a:gd name="connsiteY11" fmla="*/ 260003 h 280011"/>
                  <a:gd name="connsiteX12" fmla="*/ 20000 w 440002"/>
                  <a:gd name="connsiteY12" fmla="*/ 266665 h 280011"/>
                  <a:gd name="connsiteX13" fmla="*/ 420014 w 440002"/>
                  <a:gd name="connsiteY13" fmla="*/ 266665 h 280011"/>
                  <a:gd name="connsiteX14" fmla="*/ 426677 w 440002"/>
                  <a:gd name="connsiteY14" fmla="*/ 260003 h 280011"/>
                  <a:gd name="connsiteX15" fmla="*/ 426677 w 440002"/>
                  <a:gd name="connsiteY15" fmla="*/ 20008 h 280011"/>
                  <a:gd name="connsiteX16" fmla="*/ 420014 w 440002"/>
                  <a:gd name="connsiteY16" fmla="*/ 13325 h 280011"/>
                  <a:gd name="connsiteX17" fmla="*/ 20000 w 440002"/>
                  <a:gd name="connsiteY17" fmla="*/ 13325 h 280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0002" h="280011">
                    <a:moveTo>
                      <a:pt x="420014" y="280011"/>
                    </a:moveTo>
                    <a:lnTo>
                      <a:pt x="20000" y="280011"/>
                    </a:lnTo>
                    <a:cubicBezTo>
                      <a:pt x="8972" y="280011"/>
                      <a:pt x="0" y="271025"/>
                      <a:pt x="0" y="260003"/>
                    </a:cubicBezTo>
                    <a:lnTo>
                      <a:pt x="0" y="20008"/>
                    </a:lnTo>
                    <a:cubicBezTo>
                      <a:pt x="0" y="8966"/>
                      <a:pt x="8972" y="0"/>
                      <a:pt x="20000" y="0"/>
                    </a:cubicBezTo>
                    <a:lnTo>
                      <a:pt x="420014" y="0"/>
                    </a:lnTo>
                    <a:cubicBezTo>
                      <a:pt x="431037" y="0"/>
                      <a:pt x="440002" y="8966"/>
                      <a:pt x="440002" y="20008"/>
                    </a:cubicBezTo>
                    <a:lnTo>
                      <a:pt x="440002" y="260003"/>
                    </a:lnTo>
                    <a:cubicBezTo>
                      <a:pt x="440002" y="271025"/>
                      <a:pt x="431037" y="280011"/>
                      <a:pt x="420014" y="280011"/>
                    </a:cubicBezTo>
                    <a:close/>
                    <a:moveTo>
                      <a:pt x="20000" y="13325"/>
                    </a:moveTo>
                    <a:cubicBezTo>
                      <a:pt x="16321" y="13325"/>
                      <a:pt x="13333" y="16327"/>
                      <a:pt x="13333" y="20008"/>
                    </a:cubicBezTo>
                    <a:lnTo>
                      <a:pt x="13333" y="260003"/>
                    </a:lnTo>
                    <a:cubicBezTo>
                      <a:pt x="13333" y="263684"/>
                      <a:pt x="16321" y="266665"/>
                      <a:pt x="20000" y="266665"/>
                    </a:cubicBezTo>
                    <a:lnTo>
                      <a:pt x="420014" y="266665"/>
                    </a:lnTo>
                    <a:cubicBezTo>
                      <a:pt x="423695" y="266665"/>
                      <a:pt x="426677" y="263684"/>
                      <a:pt x="426677" y="260003"/>
                    </a:cubicBezTo>
                    <a:lnTo>
                      <a:pt x="426677" y="20008"/>
                    </a:lnTo>
                    <a:cubicBezTo>
                      <a:pt x="426677" y="16327"/>
                      <a:pt x="423695" y="13325"/>
                      <a:pt x="420014" y="13325"/>
                    </a:cubicBezTo>
                    <a:lnTo>
                      <a:pt x="20000" y="13325"/>
                    </a:lnTo>
                    <a:close/>
                  </a:path>
                </a:pathLst>
              </a:custGeom>
              <a:grpFill/>
              <a:ln w="205" cap="flat">
                <a:noFill/>
                <a:prstDash val="solid"/>
                <a:miter/>
              </a:ln>
            </p:spPr>
            <p:txBody>
              <a:bodyPr rtlCol="0" anchor="ctr"/>
              <a:lstStyle/>
              <a:p>
                <a:endParaRPr lang="en-GB" dirty="0"/>
              </a:p>
            </p:txBody>
          </p:sp>
        </p:grpSp>
        <p:grpSp>
          <p:nvGrpSpPr>
            <p:cNvPr id="572" name="Grafik 348">
              <a:extLst>
                <a:ext uri="{FF2B5EF4-FFF2-40B4-BE49-F238E27FC236}">
                  <a16:creationId xmlns:a16="http://schemas.microsoft.com/office/drawing/2014/main" id="{F0573804-7369-4C85-B2F5-98F7AC5F2FA0}"/>
                </a:ext>
              </a:extLst>
            </p:cNvPr>
            <p:cNvGrpSpPr/>
            <p:nvPr/>
          </p:nvGrpSpPr>
          <p:grpSpPr>
            <a:xfrm>
              <a:off x="2773649" y="4182550"/>
              <a:ext cx="222543" cy="170174"/>
              <a:chOff x="2671573" y="4260181"/>
              <a:chExt cx="226671" cy="173330"/>
            </a:xfrm>
            <a:solidFill>
              <a:schemeClr val="accent1"/>
            </a:solidFill>
          </p:grpSpPr>
          <p:sp>
            <p:nvSpPr>
              <p:cNvPr id="573" name="Freihandform: Form 572">
                <a:extLst>
                  <a:ext uri="{FF2B5EF4-FFF2-40B4-BE49-F238E27FC236}">
                    <a16:creationId xmlns:a16="http://schemas.microsoft.com/office/drawing/2014/main" id="{5C0B4E3C-C6D5-4089-BB79-F760FFE6CBEE}"/>
                  </a:ext>
                </a:extLst>
              </p:cNvPr>
              <p:cNvSpPr/>
              <p:nvPr/>
            </p:nvSpPr>
            <p:spPr>
              <a:xfrm>
                <a:off x="2718244" y="4306408"/>
                <a:ext cx="132962" cy="127103"/>
              </a:xfrm>
              <a:custGeom>
                <a:avLst/>
                <a:gdLst>
                  <a:gd name="connsiteX0" fmla="*/ 103452 w 132962"/>
                  <a:gd name="connsiteY0" fmla="*/ 127102 h 127103"/>
                  <a:gd name="connsiteX1" fmla="*/ 100353 w 132962"/>
                  <a:gd name="connsiteY1" fmla="*/ 126341 h 127103"/>
                  <a:gd name="connsiteX2" fmla="*/ 66486 w 132962"/>
                  <a:gd name="connsiteY2" fmla="*/ 108533 h 127103"/>
                  <a:gd name="connsiteX3" fmla="*/ 32612 w 132962"/>
                  <a:gd name="connsiteY3" fmla="*/ 126341 h 127103"/>
                  <a:gd name="connsiteX4" fmla="*/ 25593 w 132962"/>
                  <a:gd name="connsiteY4" fmla="*/ 125827 h 127103"/>
                  <a:gd name="connsiteX5" fmla="*/ 22943 w 132962"/>
                  <a:gd name="connsiteY5" fmla="*/ 119309 h 127103"/>
                  <a:gd name="connsiteX6" fmla="*/ 29414 w 132962"/>
                  <a:gd name="connsiteY6" fmla="*/ 81595 h 127103"/>
                  <a:gd name="connsiteX7" fmla="*/ 2011 w 132962"/>
                  <a:gd name="connsiteY7" fmla="*/ 54883 h 127103"/>
                  <a:gd name="connsiteX8" fmla="*/ 325 w 132962"/>
                  <a:gd name="connsiteY8" fmla="*/ 48057 h 127103"/>
                  <a:gd name="connsiteX9" fmla="*/ 5709 w 132962"/>
                  <a:gd name="connsiteY9" fmla="*/ 43512 h 127103"/>
                  <a:gd name="connsiteX10" fmla="*/ 43568 w 132962"/>
                  <a:gd name="connsiteY10" fmla="*/ 38021 h 127103"/>
                  <a:gd name="connsiteX11" fmla="*/ 60508 w 132962"/>
                  <a:gd name="connsiteY11" fmla="*/ 3701 h 127103"/>
                  <a:gd name="connsiteX12" fmla="*/ 66486 w 132962"/>
                  <a:gd name="connsiteY12" fmla="*/ 0 h 127103"/>
                  <a:gd name="connsiteX13" fmla="*/ 66486 w 132962"/>
                  <a:gd name="connsiteY13" fmla="*/ 0 h 127103"/>
                  <a:gd name="connsiteX14" fmla="*/ 72461 w 132962"/>
                  <a:gd name="connsiteY14" fmla="*/ 3701 h 127103"/>
                  <a:gd name="connsiteX15" fmla="*/ 89395 w 132962"/>
                  <a:gd name="connsiteY15" fmla="*/ 38021 h 127103"/>
                  <a:gd name="connsiteX16" fmla="*/ 127254 w 132962"/>
                  <a:gd name="connsiteY16" fmla="*/ 43512 h 127103"/>
                  <a:gd name="connsiteX17" fmla="*/ 132638 w 132962"/>
                  <a:gd name="connsiteY17" fmla="*/ 48057 h 127103"/>
                  <a:gd name="connsiteX18" fmla="*/ 130952 w 132962"/>
                  <a:gd name="connsiteY18" fmla="*/ 54883 h 127103"/>
                  <a:gd name="connsiteX19" fmla="*/ 103549 w 132962"/>
                  <a:gd name="connsiteY19" fmla="*/ 81595 h 127103"/>
                  <a:gd name="connsiteX20" fmla="*/ 110020 w 132962"/>
                  <a:gd name="connsiteY20" fmla="*/ 119309 h 127103"/>
                  <a:gd name="connsiteX21" fmla="*/ 107370 w 132962"/>
                  <a:gd name="connsiteY21" fmla="*/ 125827 h 127103"/>
                  <a:gd name="connsiteX22" fmla="*/ 103452 w 132962"/>
                  <a:gd name="connsiteY22" fmla="*/ 127102 h 127103"/>
                  <a:gd name="connsiteX23" fmla="*/ 20993 w 132962"/>
                  <a:gd name="connsiteY23" fmla="*/ 54760 h 127103"/>
                  <a:gd name="connsiteX24" fmla="*/ 41228 w 132962"/>
                  <a:gd name="connsiteY24" fmla="*/ 74501 h 127103"/>
                  <a:gd name="connsiteX25" fmla="*/ 43142 w 132962"/>
                  <a:gd name="connsiteY25" fmla="*/ 80403 h 127103"/>
                  <a:gd name="connsiteX26" fmla="*/ 38363 w 132962"/>
                  <a:gd name="connsiteY26" fmla="*/ 108245 h 127103"/>
                  <a:gd name="connsiteX27" fmla="*/ 63383 w 132962"/>
                  <a:gd name="connsiteY27" fmla="*/ 95105 h 127103"/>
                  <a:gd name="connsiteX28" fmla="*/ 69580 w 132962"/>
                  <a:gd name="connsiteY28" fmla="*/ 95105 h 127103"/>
                  <a:gd name="connsiteX29" fmla="*/ 94594 w 132962"/>
                  <a:gd name="connsiteY29" fmla="*/ 108245 h 127103"/>
                  <a:gd name="connsiteX30" fmla="*/ 89815 w 132962"/>
                  <a:gd name="connsiteY30" fmla="*/ 80403 h 127103"/>
                  <a:gd name="connsiteX31" fmla="*/ 91729 w 132962"/>
                  <a:gd name="connsiteY31" fmla="*/ 74501 h 127103"/>
                  <a:gd name="connsiteX32" fmla="*/ 111963 w 132962"/>
                  <a:gd name="connsiteY32" fmla="*/ 54760 h 127103"/>
                  <a:gd name="connsiteX33" fmla="*/ 84008 w 132962"/>
                  <a:gd name="connsiteY33" fmla="*/ 50709 h 127103"/>
                  <a:gd name="connsiteX34" fmla="*/ 78988 w 132962"/>
                  <a:gd name="connsiteY34" fmla="*/ 47049 h 127103"/>
                  <a:gd name="connsiteX35" fmla="*/ 66481 w 132962"/>
                  <a:gd name="connsiteY35" fmla="*/ 21715 h 127103"/>
                  <a:gd name="connsiteX36" fmla="*/ 53969 w 132962"/>
                  <a:gd name="connsiteY36" fmla="*/ 47049 h 127103"/>
                  <a:gd name="connsiteX37" fmla="*/ 48949 w 132962"/>
                  <a:gd name="connsiteY37" fmla="*/ 50709 h 127103"/>
                  <a:gd name="connsiteX38" fmla="*/ 20993 w 132962"/>
                  <a:gd name="connsiteY38" fmla="*/ 54760 h 127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32962" h="127103">
                    <a:moveTo>
                      <a:pt x="103452" y="127102"/>
                    </a:moveTo>
                    <a:cubicBezTo>
                      <a:pt x="102391" y="127102"/>
                      <a:pt x="101324" y="126855"/>
                      <a:pt x="100353" y="126341"/>
                    </a:cubicBezTo>
                    <a:lnTo>
                      <a:pt x="66486" y="108533"/>
                    </a:lnTo>
                    <a:lnTo>
                      <a:pt x="32612" y="126341"/>
                    </a:lnTo>
                    <a:cubicBezTo>
                      <a:pt x="30385" y="127513"/>
                      <a:pt x="27650" y="127328"/>
                      <a:pt x="25593" y="125827"/>
                    </a:cubicBezTo>
                    <a:cubicBezTo>
                      <a:pt x="23543" y="124326"/>
                      <a:pt x="22513" y="121797"/>
                      <a:pt x="22943" y="119309"/>
                    </a:cubicBezTo>
                    <a:lnTo>
                      <a:pt x="29414" y="81595"/>
                    </a:lnTo>
                    <a:lnTo>
                      <a:pt x="2011" y="54883"/>
                    </a:lnTo>
                    <a:cubicBezTo>
                      <a:pt x="196" y="53115"/>
                      <a:pt x="-456" y="50462"/>
                      <a:pt x="325" y="48057"/>
                    </a:cubicBezTo>
                    <a:cubicBezTo>
                      <a:pt x="1113" y="45651"/>
                      <a:pt x="3196" y="43882"/>
                      <a:pt x="5709" y="43512"/>
                    </a:cubicBezTo>
                    <a:lnTo>
                      <a:pt x="43568" y="38021"/>
                    </a:lnTo>
                    <a:lnTo>
                      <a:pt x="60508" y="3701"/>
                    </a:lnTo>
                    <a:cubicBezTo>
                      <a:pt x="61629" y="1439"/>
                      <a:pt x="63946" y="0"/>
                      <a:pt x="66486" y="0"/>
                    </a:cubicBezTo>
                    <a:lnTo>
                      <a:pt x="66486" y="0"/>
                    </a:lnTo>
                    <a:cubicBezTo>
                      <a:pt x="69025" y="0"/>
                      <a:pt x="71343" y="1439"/>
                      <a:pt x="72461" y="3701"/>
                    </a:cubicBezTo>
                    <a:lnTo>
                      <a:pt x="89395" y="38021"/>
                    </a:lnTo>
                    <a:lnTo>
                      <a:pt x="127254" y="43512"/>
                    </a:lnTo>
                    <a:cubicBezTo>
                      <a:pt x="129767" y="43882"/>
                      <a:pt x="131850" y="45651"/>
                      <a:pt x="132638" y="48057"/>
                    </a:cubicBezTo>
                    <a:cubicBezTo>
                      <a:pt x="133419" y="50462"/>
                      <a:pt x="132767" y="53115"/>
                      <a:pt x="130952" y="54883"/>
                    </a:cubicBezTo>
                    <a:lnTo>
                      <a:pt x="103549" y="81595"/>
                    </a:lnTo>
                    <a:lnTo>
                      <a:pt x="110020" y="119309"/>
                    </a:lnTo>
                    <a:cubicBezTo>
                      <a:pt x="110450" y="121817"/>
                      <a:pt x="109422" y="124326"/>
                      <a:pt x="107370" y="125827"/>
                    </a:cubicBezTo>
                    <a:cubicBezTo>
                      <a:pt x="106212" y="126670"/>
                      <a:pt x="104832" y="127102"/>
                      <a:pt x="103452" y="127102"/>
                    </a:cubicBezTo>
                    <a:close/>
                    <a:moveTo>
                      <a:pt x="20993" y="54760"/>
                    </a:moveTo>
                    <a:lnTo>
                      <a:pt x="41228" y="74501"/>
                    </a:lnTo>
                    <a:cubicBezTo>
                      <a:pt x="42797" y="76023"/>
                      <a:pt x="43512" y="78223"/>
                      <a:pt x="43142" y="80403"/>
                    </a:cubicBezTo>
                    <a:lnTo>
                      <a:pt x="38363" y="108245"/>
                    </a:lnTo>
                    <a:lnTo>
                      <a:pt x="63383" y="95105"/>
                    </a:lnTo>
                    <a:cubicBezTo>
                      <a:pt x="65324" y="94077"/>
                      <a:pt x="67641" y="94077"/>
                      <a:pt x="69580" y="95105"/>
                    </a:cubicBezTo>
                    <a:lnTo>
                      <a:pt x="94594" y="108245"/>
                    </a:lnTo>
                    <a:lnTo>
                      <a:pt x="89815" y="80403"/>
                    </a:lnTo>
                    <a:cubicBezTo>
                      <a:pt x="89445" y="78223"/>
                      <a:pt x="90160" y="76023"/>
                      <a:pt x="91729" y="74501"/>
                    </a:cubicBezTo>
                    <a:lnTo>
                      <a:pt x="111963" y="54760"/>
                    </a:lnTo>
                    <a:lnTo>
                      <a:pt x="84008" y="50709"/>
                    </a:lnTo>
                    <a:cubicBezTo>
                      <a:pt x="81834" y="50401"/>
                      <a:pt x="79959" y="49023"/>
                      <a:pt x="78988" y="47049"/>
                    </a:cubicBezTo>
                    <a:lnTo>
                      <a:pt x="66481" y="21715"/>
                    </a:lnTo>
                    <a:lnTo>
                      <a:pt x="53969" y="47049"/>
                    </a:lnTo>
                    <a:cubicBezTo>
                      <a:pt x="52998" y="49023"/>
                      <a:pt x="51125" y="50401"/>
                      <a:pt x="48949" y="50709"/>
                    </a:cubicBezTo>
                    <a:lnTo>
                      <a:pt x="20993" y="54760"/>
                    </a:lnTo>
                    <a:close/>
                  </a:path>
                </a:pathLst>
              </a:custGeom>
              <a:solidFill>
                <a:schemeClr val="accent1"/>
              </a:solidFill>
              <a:ln w="205" cap="flat">
                <a:noFill/>
                <a:prstDash val="solid"/>
                <a:miter/>
              </a:ln>
            </p:spPr>
            <p:txBody>
              <a:bodyPr rtlCol="0" anchor="ctr"/>
              <a:lstStyle/>
              <a:p>
                <a:endParaRPr lang="en-GB" dirty="0"/>
              </a:p>
            </p:txBody>
          </p:sp>
          <p:grpSp>
            <p:nvGrpSpPr>
              <p:cNvPr id="574" name="Grafik 348">
                <a:extLst>
                  <a:ext uri="{FF2B5EF4-FFF2-40B4-BE49-F238E27FC236}">
                    <a16:creationId xmlns:a16="http://schemas.microsoft.com/office/drawing/2014/main" id="{FEDEE1EA-5C09-4903-82E5-F8752001F571}"/>
                  </a:ext>
                </a:extLst>
              </p:cNvPr>
              <p:cNvGrpSpPr/>
              <p:nvPr/>
            </p:nvGrpSpPr>
            <p:grpSpPr>
              <a:xfrm>
                <a:off x="2831579" y="4303503"/>
                <a:ext cx="66665" cy="63340"/>
                <a:chOff x="2831579" y="4303503"/>
                <a:chExt cx="66665" cy="63340"/>
              </a:xfrm>
              <a:solidFill>
                <a:schemeClr val="accent1"/>
              </a:solidFill>
            </p:grpSpPr>
            <p:sp>
              <p:nvSpPr>
                <p:cNvPr id="579" name="Freihandform: Form 578">
                  <a:extLst>
                    <a:ext uri="{FF2B5EF4-FFF2-40B4-BE49-F238E27FC236}">
                      <a16:creationId xmlns:a16="http://schemas.microsoft.com/office/drawing/2014/main" id="{902BFB37-1CBA-4EA9-8142-7C795D014437}"/>
                    </a:ext>
                  </a:extLst>
                </p:cNvPr>
                <p:cNvSpPr/>
                <p:nvPr/>
              </p:nvSpPr>
              <p:spPr>
                <a:xfrm>
                  <a:off x="2831579" y="4303503"/>
                  <a:ext cx="22777" cy="23344"/>
                </a:xfrm>
                <a:custGeom>
                  <a:avLst/>
                  <a:gdLst>
                    <a:gd name="connsiteX0" fmla="*/ 6666 w 22777"/>
                    <a:gd name="connsiteY0" fmla="*/ 23345 h 23344"/>
                    <a:gd name="connsiteX1" fmla="*/ 2089 w 22777"/>
                    <a:gd name="connsiteY1" fmla="*/ 21515 h 23344"/>
                    <a:gd name="connsiteX2" fmla="*/ 1822 w 22777"/>
                    <a:gd name="connsiteY2" fmla="*/ 12097 h 23344"/>
                    <a:gd name="connsiteX3" fmla="*/ 11268 w 22777"/>
                    <a:gd name="connsiteY3" fmla="*/ 2103 h 23344"/>
                    <a:gd name="connsiteX4" fmla="*/ 20688 w 22777"/>
                    <a:gd name="connsiteY4" fmla="*/ 1835 h 23344"/>
                    <a:gd name="connsiteX5" fmla="*/ 20956 w 22777"/>
                    <a:gd name="connsiteY5" fmla="*/ 11253 h 23344"/>
                    <a:gd name="connsiteX6" fmla="*/ 11509 w 22777"/>
                    <a:gd name="connsiteY6" fmla="*/ 21247 h 23344"/>
                    <a:gd name="connsiteX7" fmla="*/ 6666 w 22777"/>
                    <a:gd name="connsiteY7" fmla="*/ 23345 h 2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77" h="23344">
                      <a:moveTo>
                        <a:pt x="6666" y="23345"/>
                      </a:moveTo>
                      <a:cubicBezTo>
                        <a:pt x="5019" y="23345"/>
                        <a:pt x="3378" y="22728"/>
                        <a:pt x="2089" y="21515"/>
                      </a:cubicBezTo>
                      <a:cubicBezTo>
                        <a:pt x="-586" y="18985"/>
                        <a:pt x="-710" y="14770"/>
                        <a:pt x="1822" y="12097"/>
                      </a:cubicBezTo>
                      <a:lnTo>
                        <a:pt x="11268" y="2103"/>
                      </a:lnTo>
                      <a:cubicBezTo>
                        <a:pt x="13796" y="-591"/>
                        <a:pt x="18013" y="-714"/>
                        <a:pt x="20688" y="1835"/>
                      </a:cubicBezTo>
                      <a:cubicBezTo>
                        <a:pt x="23364" y="4344"/>
                        <a:pt x="23487" y="8580"/>
                        <a:pt x="20956" y="11253"/>
                      </a:cubicBezTo>
                      <a:lnTo>
                        <a:pt x="11509" y="21247"/>
                      </a:lnTo>
                      <a:cubicBezTo>
                        <a:pt x="10201" y="22625"/>
                        <a:pt x="8437" y="23345"/>
                        <a:pt x="6666" y="23345"/>
                      </a:cubicBezTo>
                      <a:close/>
                    </a:path>
                  </a:pathLst>
                </a:custGeom>
                <a:solidFill>
                  <a:schemeClr val="accent1"/>
                </a:solidFill>
                <a:ln w="205" cap="flat">
                  <a:noFill/>
                  <a:prstDash val="solid"/>
                  <a:miter/>
                </a:ln>
              </p:spPr>
              <p:txBody>
                <a:bodyPr rtlCol="0" anchor="ctr"/>
                <a:lstStyle/>
                <a:p>
                  <a:endParaRPr lang="en-GB" dirty="0"/>
                </a:p>
              </p:txBody>
            </p:sp>
            <p:sp>
              <p:nvSpPr>
                <p:cNvPr id="580" name="Freihandform: Form 579">
                  <a:extLst>
                    <a:ext uri="{FF2B5EF4-FFF2-40B4-BE49-F238E27FC236}">
                      <a16:creationId xmlns:a16="http://schemas.microsoft.com/office/drawing/2014/main" id="{AB7C3A2C-81F2-4E03-93B2-E4CCEE7F985F}"/>
                    </a:ext>
                  </a:extLst>
                </p:cNvPr>
                <p:cNvSpPr/>
                <p:nvPr/>
              </p:nvSpPr>
              <p:spPr>
                <a:xfrm>
                  <a:off x="2871581" y="4353518"/>
                  <a:ext cx="26664" cy="13325"/>
                </a:xfrm>
                <a:custGeom>
                  <a:avLst/>
                  <a:gdLst>
                    <a:gd name="connsiteX0" fmla="*/ 20002 w 26664"/>
                    <a:gd name="connsiteY0" fmla="*/ 13325 h 13325"/>
                    <a:gd name="connsiteX1" fmla="*/ 6656 w 26664"/>
                    <a:gd name="connsiteY1" fmla="*/ 13325 h 13325"/>
                    <a:gd name="connsiteX2" fmla="*/ 0 w 26664"/>
                    <a:gd name="connsiteY2" fmla="*/ 6663 h 13325"/>
                    <a:gd name="connsiteX3" fmla="*/ 6656 w 26664"/>
                    <a:gd name="connsiteY3" fmla="*/ 0 h 13325"/>
                    <a:gd name="connsiteX4" fmla="*/ 20002 w 26664"/>
                    <a:gd name="connsiteY4" fmla="*/ 0 h 13325"/>
                    <a:gd name="connsiteX5" fmla="*/ 26664 w 26664"/>
                    <a:gd name="connsiteY5" fmla="*/ 6663 h 13325"/>
                    <a:gd name="connsiteX6" fmla="*/ 20002 w 26664"/>
                    <a:gd name="connsiteY6" fmla="*/ 13325 h 1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64" h="13325">
                      <a:moveTo>
                        <a:pt x="20002" y="13325"/>
                      </a:moveTo>
                      <a:lnTo>
                        <a:pt x="6656" y="13325"/>
                      </a:lnTo>
                      <a:cubicBezTo>
                        <a:pt x="2975" y="13325"/>
                        <a:pt x="0" y="10343"/>
                        <a:pt x="0" y="6663"/>
                      </a:cubicBezTo>
                      <a:cubicBezTo>
                        <a:pt x="0" y="2982"/>
                        <a:pt x="2975" y="0"/>
                        <a:pt x="6656" y="0"/>
                      </a:cubicBezTo>
                      <a:lnTo>
                        <a:pt x="20002" y="0"/>
                      </a:lnTo>
                      <a:cubicBezTo>
                        <a:pt x="23683" y="0"/>
                        <a:pt x="26664" y="2982"/>
                        <a:pt x="26664" y="6663"/>
                      </a:cubicBezTo>
                      <a:cubicBezTo>
                        <a:pt x="26664" y="10343"/>
                        <a:pt x="23683" y="13325"/>
                        <a:pt x="20002" y="13325"/>
                      </a:cubicBezTo>
                      <a:close/>
                    </a:path>
                  </a:pathLst>
                </a:custGeom>
                <a:solidFill>
                  <a:schemeClr val="accent1"/>
                </a:solidFill>
                <a:ln w="205" cap="flat">
                  <a:noFill/>
                  <a:prstDash val="solid"/>
                  <a:miter/>
                </a:ln>
              </p:spPr>
              <p:txBody>
                <a:bodyPr rtlCol="0" anchor="ctr"/>
                <a:lstStyle/>
                <a:p>
                  <a:endParaRPr lang="en-GB" dirty="0"/>
                </a:p>
              </p:txBody>
            </p:sp>
          </p:grpSp>
          <p:grpSp>
            <p:nvGrpSpPr>
              <p:cNvPr id="575" name="Grafik 348">
                <a:extLst>
                  <a:ext uri="{FF2B5EF4-FFF2-40B4-BE49-F238E27FC236}">
                    <a16:creationId xmlns:a16="http://schemas.microsoft.com/office/drawing/2014/main" id="{8CC9EA7A-00B0-498F-9360-4BD665B7ABF8}"/>
                  </a:ext>
                </a:extLst>
              </p:cNvPr>
              <p:cNvGrpSpPr/>
              <p:nvPr/>
            </p:nvGrpSpPr>
            <p:grpSpPr>
              <a:xfrm>
                <a:off x="2671573" y="4302953"/>
                <a:ext cx="66669" cy="63889"/>
                <a:chOff x="2671573" y="4302953"/>
                <a:chExt cx="66669" cy="63889"/>
              </a:xfrm>
              <a:solidFill>
                <a:schemeClr val="accent1"/>
              </a:solidFill>
            </p:grpSpPr>
            <p:sp>
              <p:nvSpPr>
                <p:cNvPr id="577" name="Freihandform: Form 576">
                  <a:extLst>
                    <a:ext uri="{FF2B5EF4-FFF2-40B4-BE49-F238E27FC236}">
                      <a16:creationId xmlns:a16="http://schemas.microsoft.com/office/drawing/2014/main" id="{D1E92651-CE9D-4F6A-B53C-9662E68C7E23}"/>
                    </a:ext>
                  </a:extLst>
                </p:cNvPr>
                <p:cNvSpPr/>
                <p:nvPr/>
              </p:nvSpPr>
              <p:spPr>
                <a:xfrm>
                  <a:off x="2714910" y="4302953"/>
                  <a:ext cx="23332" cy="23894"/>
                </a:xfrm>
                <a:custGeom>
                  <a:avLst/>
                  <a:gdLst>
                    <a:gd name="connsiteX0" fmla="*/ 16666 w 23332"/>
                    <a:gd name="connsiteY0" fmla="*/ 23894 h 23894"/>
                    <a:gd name="connsiteX1" fmla="*/ 11829 w 23332"/>
                    <a:gd name="connsiteY1" fmla="*/ 21797 h 23894"/>
                    <a:gd name="connsiteX2" fmla="*/ 1829 w 23332"/>
                    <a:gd name="connsiteY2" fmla="*/ 11248 h 23894"/>
                    <a:gd name="connsiteX3" fmla="*/ 2084 w 23332"/>
                    <a:gd name="connsiteY3" fmla="*/ 1830 h 23894"/>
                    <a:gd name="connsiteX4" fmla="*/ 11504 w 23332"/>
                    <a:gd name="connsiteY4" fmla="*/ 2077 h 23894"/>
                    <a:gd name="connsiteX5" fmla="*/ 21504 w 23332"/>
                    <a:gd name="connsiteY5" fmla="*/ 12625 h 23894"/>
                    <a:gd name="connsiteX6" fmla="*/ 21249 w 23332"/>
                    <a:gd name="connsiteY6" fmla="*/ 22064 h 23894"/>
                    <a:gd name="connsiteX7" fmla="*/ 16666 w 23332"/>
                    <a:gd name="connsiteY7" fmla="*/ 23894 h 23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32" h="23894">
                      <a:moveTo>
                        <a:pt x="16666" y="23894"/>
                      </a:moveTo>
                      <a:cubicBezTo>
                        <a:pt x="14901" y="23894"/>
                        <a:pt x="13137" y="23195"/>
                        <a:pt x="11829" y="21797"/>
                      </a:cubicBezTo>
                      <a:lnTo>
                        <a:pt x="1829" y="11248"/>
                      </a:lnTo>
                      <a:cubicBezTo>
                        <a:pt x="-704" y="8574"/>
                        <a:pt x="-593" y="4359"/>
                        <a:pt x="2084" y="1830"/>
                      </a:cubicBezTo>
                      <a:cubicBezTo>
                        <a:pt x="4753" y="-700"/>
                        <a:pt x="8979" y="-597"/>
                        <a:pt x="11504" y="2077"/>
                      </a:cubicBezTo>
                      <a:lnTo>
                        <a:pt x="21504" y="12625"/>
                      </a:lnTo>
                      <a:cubicBezTo>
                        <a:pt x="24037" y="15299"/>
                        <a:pt x="23926" y="19514"/>
                        <a:pt x="21249" y="22064"/>
                      </a:cubicBezTo>
                      <a:cubicBezTo>
                        <a:pt x="19960" y="23277"/>
                        <a:pt x="18313" y="23894"/>
                        <a:pt x="16666" y="23894"/>
                      </a:cubicBezTo>
                      <a:close/>
                    </a:path>
                  </a:pathLst>
                </a:custGeom>
                <a:solidFill>
                  <a:schemeClr val="accent1"/>
                </a:solidFill>
                <a:ln w="205" cap="flat">
                  <a:noFill/>
                  <a:prstDash val="solid"/>
                  <a:miter/>
                </a:ln>
              </p:spPr>
              <p:txBody>
                <a:bodyPr rtlCol="0" anchor="ctr"/>
                <a:lstStyle/>
                <a:p>
                  <a:endParaRPr lang="en-GB" dirty="0"/>
                </a:p>
              </p:txBody>
            </p:sp>
            <p:sp>
              <p:nvSpPr>
                <p:cNvPr id="578" name="Freihandform: Form 577">
                  <a:extLst>
                    <a:ext uri="{FF2B5EF4-FFF2-40B4-BE49-F238E27FC236}">
                      <a16:creationId xmlns:a16="http://schemas.microsoft.com/office/drawing/2014/main" id="{94DBA66F-47FE-4B71-8072-1C619CB911F9}"/>
                    </a:ext>
                  </a:extLst>
                </p:cNvPr>
                <p:cNvSpPr/>
                <p:nvPr/>
              </p:nvSpPr>
              <p:spPr>
                <a:xfrm>
                  <a:off x="2671573" y="4353518"/>
                  <a:ext cx="26666" cy="13325"/>
                </a:xfrm>
                <a:custGeom>
                  <a:avLst/>
                  <a:gdLst>
                    <a:gd name="connsiteX0" fmla="*/ 20000 w 26666"/>
                    <a:gd name="connsiteY0" fmla="*/ 13325 h 13325"/>
                    <a:gd name="connsiteX1" fmla="*/ 6667 w 26666"/>
                    <a:gd name="connsiteY1" fmla="*/ 13325 h 13325"/>
                    <a:gd name="connsiteX2" fmla="*/ 0 w 26666"/>
                    <a:gd name="connsiteY2" fmla="*/ 6663 h 13325"/>
                    <a:gd name="connsiteX3" fmla="*/ 6667 w 26666"/>
                    <a:gd name="connsiteY3" fmla="*/ 0 h 13325"/>
                    <a:gd name="connsiteX4" fmla="*/ 20000 w 26666"/>
                    <a:gd name="connsiteY4" fmla="*/ 0 h 13325"/>
                    <a:gd name="connsiteX5" fmla="*/ 26666 w 26666"/>
                    <a:gd name="connsiteY5" fmla="*/ 6663 h 13325"/>
                    <a:gd name="connsiteX6" fmla="*/ 20000 w 26666"/>
                    <a:gd name="connsiteY6" fmla="*/ 13325 h 1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66" h="13325">
                      <a:moveTo>
                        <a:pt x="20000" y="13325"/>
                      </a:moveTo>
                      <a:lnTo>
                        <a:pt x="6667" y="13325"/>
                      </a:lnTo>
                      <a:cubicBezTo>
                        <a:pt x="2982" y="13325"/>
                        <a:pt x="0" y="10343"/>
                        <a:pt x="0" y="6663"/>
                      </a:cubicBezTo>
                      <a:cubicBezTo>
                        <a:pt x="0" y="2982"/>
                        <a:pt x="2982" y="0"/>
                        <a:pt x="6667" y="0"/>
                      </a:cubicBezTo>
                      <a:lnTo>
                        <a:pt x="20000" y="0"/>
                      </a:lnTo>
                      <a:cubicBezTo>
                        <a:pt x="23685" y="0"/>
                        <a:pt x="26666" y="2982"/>
                        <a:pt x="26666" y="6663"/>
                      </a:cubicBezTo>
                      <a:cubicBezTo>
                        <a:pt x="26666" y="10343"/>
                        <a:pt x="23685" y="13325"/>
                        <a:pt x="20000" y="13325"/>
                      </a:cubicBezTo>
                      <a:close/>
                    </a:path>
                  </a:pathLst>
                </a:custGeom>
                <a:solidFill>
                  <a:schemeClr val="accent1"/>
                </a:solidFill>
                <a:ln w="205" cap="flat">
                  <a:noFill/>
                  <a:prstDash val="solid"/>
                  <a:miter/>
                </a:ln>
              </p:spPr>
              <p:txBody>
                <a:bodyPr rtlCol="0" anchor="ctr"/>
                <a:lstStyle/>
                <a:p>
                  <a:endParaRPr lang="en-GB" dirty="0"/>
                </a:p>
              </p:txBody>
            </p:sp>
          </p:grpSp>
          <p:sp>
            <p:nvSpPr>
              <p:cNvPr id="576" name="Freihandform: Form 575">
                <a:extLst>
                  <a:ext uri="{FF2B5EF4-FFF2-40B4-BE49-F238E27FC236}">
                    <a16:creationId xmlns:a16="http://schemas.microsoft.com/office/drawing/2014/main" id="{A07ED6D2-28C2-4A2C-8454-AAF7C8F36B44}"/>
                  </a:ext>
                </a:extLst>
              </p:cNvPr>
              <p:cNvSpPr/>
              <p:nvPr/>
            </p:nvSpPr>
            <p:spPr>
              <a:xfrm>
                <a:off x="2778244" y="4260181"/>
                <a:ext cx="13333" cy="26650"/>
              </a:xfrm>
              <a:custGeom>
                <a:avLst/>
                <a:gdLst>
                  <a:gd name="connsiteX0" fmla="*/ 6667 w 13333"/>
                  <a:gd name="connsiteY0" fmla="*/ 26650 h 26650"/>
                  <a:gd name="connsiteX1" fmla="*/ 0 w 13333"/>
                  <a:gd name="connsiteY1" fmla="*/ 19987 h 26650"/>
                  <a:gd name="connsiteX2" fmla="*/ 0 w 13333"/>
                  <a:gd name="connsiteY2" fmla="*/ 6662 h 26650"/>
                  <a:gd name="connsiteX3" fmla="*/ 6667 w 13333"/>
                  <a:gd name="connsiteY3" fmla="*/ 0 h 26650"/>
                  <a:gd name="connsiteX4" fmla="*/ 13333 w 13333"/>
                  <a:gd name="connsiteY4" fmla="*/ 6662 h 26650"/>
                  <a:gd name="connsiteX5" fmla="*/ 13333 w 13333"/>
                  <a:gd name="connsiteY5" fmla="*/ 19987 h 26650"/>
                  <a:gd name="connsiteX6" fmla="*/ 6667 w 13333"/>
                  <a:gd name="connsiteY6" fmla="*/ 26650 h 2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33" h="26650">
                    <a:moveTo>
                      <a:pt x="6667" y="26650"/>
                    </a:moveTo>
                    <a:cubicBezTo>
                      <a:pt x="2982" y="26650"/>
                      <a:pt x="0" y="23668"/>
                      <a:pt x="0" y="19987"/>
                    </a:cubicBezTo>
                    <a:lnTo>
                      <a:pt x="0" y="6662"/>
                    </a:lnTo>
                    <a:cubicBezTo>
                      <a:pt x="0" y="2982"/>
                      <a:pt x="2982" y="0"/>
                      <a:pt x="6667" y="0"/>
                    </a:cubicBezTo>
                    <a:cubicBezTo>
                      <a:pt x="10352" y="0"/>
                      <a:pt x="13333" y="2982"/>
                      <a:pt x="13333" y="6662"/>
                    </a:cubicBezTo>
                    <a:lnTo>
                      <a:pt x="13333" y="19987"/>
                    </a:lnTo>
                    <a:cubicBezTo>
                      <a:pt x="13333" y="23668"/>
                      <a:pt x="10352" y="26650"/>
                      <a:pt x="6667" y="26650"/>
                    </a:cubicBezTo>
                    <a:close/>
                  </a:path>
                </a:pathLst>
              </a:custGeom>
              <a:solidFill>
                <a:schemeClr val="accent1"/>
              </a:solidFill>
              <a:ln w="205" cap="flat">
                <a:noFill/>
                <a:prstDash val="solid"/>
                <a:miter/>
              </a:ln>
            </p:spPr>
            <p:txBody>
              <a:bodyPr rtlCol="0" anchor="ctr"/>
              <a:lstStyle/>
              <a:p>
                <a:endParaRPr lang="en-GB" dirty="0"/>
              </a:p>
            </p:txBody>
          </p:sp>
        </p:grpSp>
      </p:grpSp>
      <p:sp>
        <p:nvSpPr>
          <p:cNvPr id="589" name="TextBox 1409">
            <a:extLst>
              <a:ext uri="{FF2B5EF4-FFF2-40B4-BE49-F238E27FC236}">
                <a16:creationId xmlns:a16="http://schemas.microsoft.com/office/drawing/2014/main" id="{5ED6653E-8E82-4412-9388-15992457C03F}"/>
              </a:ext>
            </a:extLst>
          </p:cNvPr>
          <p:cNvSpPr txBox="1"/>
          <p:nvPr/>
        </p:nvSpPr>
        <p:spPr>
          <a:xfrm>
            <a:off x="2722214" y="4547732"/>
            <a:ext cx="325409" cy="107722"/>
          </a:xfrm>
          <a:prstGeom prst="rect">
            <a:avLst/>
          </a:prstGeom>
          <a:noFill/>
          <a:effectLst/>
        </p:spPr>
        <p:txBody>
          <a:bodyPr wrap="none" lIns="0" tIns="0" rIns="0" bIns="0" rtlCol="0" anchor="t">
            <a:spAutoFit/>
          </a:bodyPr>
          <a:lstStyle/>
          <a:p>
            <a:pPr algn="ctr"/>
            <a:r>
              <a:rPr lang="en-GB" sz="700" dirty="0">
                <a:solidFill>
                  <a:schemeClr val="tx2"/>
                </a:solidFill>
              </a:rPr>
              <a:t>Outdoor</a:t>
            </a:r>
          </a:p>
        </p:txBody>
      </p:sp>
      <p:grpSp>
        <p:nvGrpSpPr>
          <p:cNvPr id="46" name="Group 45">
            <a:extLst>
              <a:ext uri="{FF2B5EF4-FFF2-40B4-BE49-F238E27FC236}">
                <a16:creationId xmlns:a16="http://schemas.microsoft.com/office/drawing/2014/main" id="{B5C91307-6C9A-EB09-0744-4A119E044BCE}"/>
              </a:ext>
            </a:extLst>
          </p:cNvPr>
          <p:cNvGrpSpPr/>
          <p:nvPr/>
        </p:nvGrpSpPr>
        <p:grpSpPr>
          <a:xfrm>
            <a:off x="1623485" y="4097454"/>
            <a:ext cx="431998" cy="432000"/>
            <a:chOff x="1623485" y="4097454"/>
            <a:chExt cx="431998" cy="432000"/>
          </a:xfrm>
        </p:grpSpPr>
        <p:grpSp>
          <p:nvGrpSpPr>
            <p:cNvPr id="591" name="Grafik 348">
              <a:extLst>
                <a:ext uri="{FF2B5EF4-FFF2-40B4-BE49-F238E27FC236}">
                  <a16:creationId xmlns:a16="http://schemas.microsoft.com/office/drawing/2014/main" id="{2B4802B0-630A-4C57-B992-2E1CC16B8FD4}"/>
                </a:ext>
              </a:extLst>
            </p:cNvPr>
            <p:cNvGrpSpPr/>
            <p:nvPr/>
          </p:nvGrpSpPr>
          <p:grpSpPr>
            <a:xfrm>
              <a:off x="1734758" y="4287269"/>
              <a:ext cx="268362" cy="183274"/>
              <a:chOff x="1831549" y="4366843"/>
              <a:chExt cx="273340" cy="186674"/>
            </a:xfrm>
            <a:solidFill>
              <a:schemeClr val="accent1"/>
            </a:solidFill>
          </p:grpSpPr>
          <p:sp>
            <p:nvSpPr>
              <p:cNvPr id="601" name="Freihandform: Form 600">
                <a:extLst>
                  <a:ext uri="{FF2B5EF4-FFF2-40B4-BE49-F238E27FC236}">
                    <a16:creationId xmlns:a16="http://schemas.microsoft.com/office/drawing/2014/main" id="{7EF74D19-9A70-47E6-B9C9-88CD19468871}"/>
                  </a:ext>
                </a:extLst>
              </p:cNvPr>
              <p:cNvSpPr/>
              <p:nvPr/>
            </p:nvSpPr>
            <p:spPr>
              <a:xfrm>
                <a:off x="1831549" y="4433510"/>
                <a:ext cx="180005" cy="120007"/>
              </a:xfrm>
              <a:custGeom>
                <a:avLst/>
                <a:gdLst>
                  <a:gd name="connsiteX0" fmla="*/ 173339 w 180005"/>
                  <a:gd name="connsiteY0" fmla="*/ 120008 h 120007"/>
                  <a:gd name="connsiteX1" fmla="*/ 6667 w 180005"/>
                  <a:gd name="connsiteY1" fmla="*/ 120008 h 120007"/>
                  <a:gd name="connsiteX2" fmla="*/ 0 w 180005"/>
                  <a:gd name="connsiteY2" fmla="*/ 113345 h 120007"/>
                  <a:gd name="connsiteX3" fmla="*/ 0 w 180005"/>
                  <a:gd name="connsiteY3" fmla="*/ 6663 h 120007"/>
                  <a:gd name="connsiteX4" fmla="*/ 6667 w 180005"/>
                  <a:gd name="connsiteY4" fmla="*/ 0 h 120007"/>
                  <a:gd name="connsiteX5" fmla="*/ 173339 w 180005"/>
                  <a:gd name="connsiteY5" fmla="*/ 0 h 120007"/>
                  <a:gd name="connsiteX6" fmla="*/ 180005 w 180005"/>
                  <a:gd name="connsiteY6" fmla="*/ 6663 h 120007"/>
                  <a:gd name="connsiteX7" fmla="*/ 180005 w 180005"/>
                  <a:gd name="connsiteY7" fmla="*/ 113345 h 120007"/>
                  <a:gd name="connsiteX8" fmla="*/ 173339 w 180005"/>
                  <a:gd name="connsiteY8" fmla="*/ 120008 h 120007"/>
                  <a:gd name="connsiteX9" fmla="*/ 13333 w 180005"/>
                  <a:gd name="connsiteY9" fmla="*/ 106662 h 120007"/>
                  <a:gd name="connsiteX10" fmla="*/ 166672 w 180005"/>
                  <a:gd name="connsiteY10" fmla="*/ 106662 h 120007"/>
                  <a:gd name="connsiteX11" fmla="*/ 166672 w 180005"/>
                  <a:gd name="connsiteY11" fmla="*/ 13325 h 120007"/>
                  <a:gd name="connsiteX12" fmla="*/ 13333 w 180005"/>
                  <a:gd name="connsiteY12" fmla="*/ 13325 h 120007"/>
                  <a:gd name="connsiteX13" fmla="*/ 13333 w 180005"/>
                  <a:gd name="connsiteY13" fmla="*/ 106662 h 12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0005" h="120007">
                    <a:moveTo>
                      <a:pt x="173339" y="120008"/>
                    </a:moveTo>
                    <a:lnTo>
                      <a:pt x="6667" y="120008"/>
                    </a:lnTo>
                    <a:cubicBezTo>
                      <a:pt x="2986" y="120008"/>
                      <a:pt x="0" y="117026"/>
                      <a:pt x="0" y="113345"/>
                    </a:cubicBezTo>
                    <a:lnTo>
                      <a:pt x="0" y="6663"/>
                    </a:lnTo>
                    <a:cubicBezTo>
                      <a:pt x="0" y="2982"/>
                      <a:pt x="2986" y="0"/>
                      <a:pt x="6667" y="0"/>
                    </a:cubicBezTo>
                    <a:lnTo>
                      <a:pt x="173339" y="0"/>
                    </a:lnTo>
                    <a:cubicBezTo>
                      <a:pt x="177019" y="0"/>
                      <a:pt x="180005" y="2982"/>
                      <a:pt x="180005" y="6663"/>
                    </a:cubicBezTo>
                    <a:lnTo>
                      <a:pt x="180005" y="113345"/>
                    </a:lnTo>
                    <a:cubicBezTo>
                      <a:pt x="180005" y="117026"/>
                      <a:pt x="177019" y="120008"/>
                      <a:pt x="173339" y="120008"/>
                    </a:cubicBezTo>
                    <a:close/>
                    <a:moveTo>
                      <a:pt x="13333" y="106662"/>
                    </a:moveTo>
                    <a:lnTo>
                      <a:pt x="166672" y="106662"/>
                    </a:lnTo>
                    <a:lnTo>
                      <a:pt x="166672" y="13325"/>
                    </a:lnTo>
                    <a:lnTo>
                      <a:pt x="13333" y="13325"/>
                    </a:lnTo>
                    <a:lnTo>
                      <a:pt x="13333" y="106662"/>
                    </a:lnTo>
                    <a:close/>
                  </a:path>
                </a:pathLst>
              </a:custGeom>
              <a:solidFill>
                <a:schemeClr val="accent1"/>
              </a:solidFill>
              <a:ln w="205" cap="flat">
                <a:noFill/>
                <a:prstDash val="solid"/>
                <a:miter/>
              </a:ln>
            </p:spPr>
            <p:txBody>
              <a:bodyPr rtlCol="0" anchor="ctr"/>
              <a:lstStyle/>
              <a:p>
                <a:endParaRPr lang="en-GB" dirty="0"/>
              </a:p>
            </p:txBody>
          </p:sp>
          <p:sp>
            <p:nvSpPr>
              <p:cNvPr id="602" name="Freihandform: Form 601">
                <a:extLst>
                  <a:ext uri="{FF2B5EF4-FFF2-40B4-BE49-F238E27FC236}">
                    <a16:creationId xmlns:a16="http://schemas.microsoft.com/office/drawing/2014/main" id="{6A7DDA1D-0C0E-4BE5-BC35-5E3D6F754087}"/>
                  </a:ext>
                </a:extLst>
              </p:cNvPr>
              <p:cNvSpPr/>
              <p:nvPr/>
            </p:nvSpPr>
            <p:spPr>
              <a:xfrm>
                <a:off x="1831549" y="4366843"/>
                <a:ext cx="80003" cy="79991"/>
              </a:xfrm>
              <a:custGeom>
                <a:avLst/>
                <a:gdLst>
                  <a:gd name="connsiteX0" fmla="*/ 40002 w 80003"/>
                  <a:gd name="connsiteY0" fmla="*/ 79991 h 79991"/>
                  <a:gd name="connsiteX1" fmla="*/ 0 w 80003"/>
                  <a:gd name="connsiteY1" fmla="*/ 39996 h 79991"/>
                  <a:gd name="connsiteX2" fmla="*/ 40002 w 80003"/>
                  <a:gd name="connsiteY2" fmla="*/ 0 h 79991"/>
                  <a:gd name="connsiteX3" fmla="*/ 80004 w 80003"/>
                  <a:gd name="connsiteY3" fmla="*/ 39996 h 79991"/>
                  <a:gd name="connsiteX4" fmla="*/ 40002 w 80003"/>
                  <a:gd name="connsiteY4" fmla="*/ 79991 h 79991"/>
                  <a:gd name="connsiteX5" fmla="*/ 40002 w 80003"/>
                  <a:gd name="connsiteY5" fmla="*/ 13325 h 79991"/>
                  <a:gd name="connsiteX6" fmla="*/ 13335 w 80003"/>
                  <a:gd name="connsiteY6" fmla="*/ 39996 h 79991"/>
                  <a:gd name="connsiteX7" fmla="*/ 40002 w 80003"/>
                  <a:gd name="connsiteY7" fmla="*/ 66666 h 79991"/>
                  <a:gd name="connsiteX8" fmla="*/ 66668 w 80003"/>
                  <a:gd name="connsiteY8" fmla="*/ 39996 h 79991"/>
                  <a:gd name="connsiteX9" fmla="*/ 40002 w 80003"/>
                  <a:gd name="connsiteY9" fmla="*/ 13325 h 7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03" h="79991">
                    <a:moveTo>
                      <a:pt x="40002" y="79991"/>
                    </a:moveTo>
                    <a:cubicBezTo>
                      <a:pt x="17944" y="79991"/>
                      <a:pt x="0" y="62060"/>
                      <a:pt x="0" y="39996"/>
                    </a:cubicBezTo>
                    <a:cubicBezTo>
                      <a:pt x="0" y="17931"/>
                      <a:pt x="17944" y="0"/>
                      <a:pt x="40002" y="0"/>
                    </a:cubicBezTo>
                    <a:cubicBezTo>
                      <a:pt x="62060" y="0"/>
                      <a:pt x="80004" y="17931"/>
                      <a:pt x="80004" y="39996"/>
                    </a:cubicBezTo>
                    <a:cubicBezTo>
                      <a:pt x="80002" y="62060"/>
                      <a:pt x="62058" y="79991"/>
                      <a:pt x="40002" y="79991"/>
                    </a:cubicBezTo>
                    <a:close/>
                    <a:moveTo>
                      <a:pt x="40002" y="13325"/>
                    </a:moveTo>
                    <a:cubicBezTo>
                      <a:pt x="25297" y="13325"/>
                      <a:pt x="13335" y="25293"/>
                      <a:pt x="13335" y="39996"/>
                    </a:cubicBezTo>
                    <a:cubicBezTo>
                      <a:pt x="13335" y="54698"/>
                      <a:pt x="25299" y="66666"/>
                      <a:pt x="40002" y="66666"/>
                    </a:cubicBezTo>
                    <a:cubicBezTo>
                      <a:pt x="54707" y="66666"/>
                      <a:pt x="66668" y="54698"/>
                      <a:pt x="66668" y="39996"/>
                    </a:cubicBezTo>
                    <a:cubicBezTo>
                      <a:pt x="66668" y="25293"/>
                      <a:pt x="54705" y="13325"/>
                      <a:pt x="40002" y="13325"/>
                    </a:cubicBezTo>
                    <a:close/>
                  </a:path>
                </a:pathLst>
              </a:custGeom>
              <a:solidFill>
                <a:schemeClr val="accent1"/>
              </a:solidFill>
              <a:ln w="205" cap="flat">
                <a:noFill/>
                <a:prstDash val="solid"/>
                <a:miter/>
              </a:ln>
            </p:spPr>
            <p:txBody>
              <a:bodyPr rtlCol="0" anchor="ctr"/>
              <a:lstStyle/>
              <a:p>
                <a:endParaRPr lang="en-GB" dirty="0"/>
              </a:p>
            </p:txBody>
          </p:sp>
          <p:sp>
            <p:nvSpPr>
              <p:cNvPr id="603" name="Freihandform: Form 602">
                <a:extLst>
                  <a:ext uri="{FF2B5EF4-FFF2-40B4-BE49-F238E27FC236}">
                    <a16:creationId xmlns:a16="http://schemas.microsoft.com/office/drawing/2014/main" id="{586D908B-B080-49E0-999D-7D7F9C23A69C}"/>
                  </a:ext>
                </a:extLst>
              </p:cNvPr>
              <p:cNvSpPr/>
              <p:nvPr/>
            </p:nvSpPr>
            <p:spPr>
              <a:xfrm>
                <a:off x="1924884" y="4366843"/>
                <a:ext cx="80003" cy="79991"/>
              </a:xfrm>
              <a:custGeom>
                <a:avLst/>
                <a:gdLst>
                  <a:gd name="connsiteX0" fmla="*/ 40002 w 80003"/>
                  <a:gd name="connsiteY0" fmla="*/ 79991 h 79991"/>
                  <a:gd name="connsiteX1" fmla="*/ 0 w 80003"/>
                  <a:gd name="connsiteY1" fmla="*/ 39996 h 79991"/>
                  <a:gd name="connsiteX2" fmla="*/ 40002 w 80003"/>
                  <a:gd name="connsiteY2" fmla="*/ 0 h 79991"/>
                  <a:gd name="connsiteX3" fmla="*/ 80004 w 80003"/>
                  <a:gd name="connsiteY3" fmla="*/ 39996 h 79991"/>
                  <a:gd name="connsiteX4" fmla="*/ 40002 w 80003"/>
                  <a:gd name="connsiteY4" fmla="*/ 79991 h 79991"/>
                  <a:gd name="connsiteX5" fmla="*/ 40002 w 80003"/>
                  <a:gd name="connsiteY5" fmla="*/ 13325 h 79991"/>
                  <a:gd name="connsiteX6" fmla="*/ 13335 w 80003"/>
                  <a:gd name="connsiteY6" fmla="*/ 39996 h 79991"/>
                  <a:gd name="connsiteX7" fmla="*/ 40002 w 80003"/>
                  <a:gd name="connsiteY7" fmla="*/ 66666 h 79991"/>
                  <a:gd name="connsiteX8" fmla="*/ 66668 w 80003"/>
                  <a:gd name="connsiteY8" fmla="*/ 39996 h 79991"/>
                  <a:gd name="connsiteX9" fmla="*/ 40002 w 80003"/>
                  <a:gd name="connsiteY9" fmla="*/ 13325 h 7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03" h="79991">
                    <a:moveTo>
                      <a:pt x="40002" y="79991"/>
                    </a:moveTo>
                    <a:cubicBezTo>
                      <a:pt x="17944" y="79991"/>
                      <a:pt x="0" y="62060"/>
                      <a:pt x="0" y="39996"/>
                    </a:cubicBezTo>
                    <a:cubicBezTo>
                      <a:pt x="0" y="17931"/>
                      <a:pt x="17944" y="0"/>
                      <a:pt x="40002" y="0"/>
                    </a:cubicBezTo>
                    <a:cubicBezTo>
                      <a:pt x="62060" y="0"/>
                      <a:pt x="80004" y="17931"/>
                      <a:pt x="80004" y="39996"/>
                    </a:cubicBezTo>
                    <a:cubicBezTo>
                      <a:pt x="80004" y="62060"/>
                      <a:pt x="62060" y="79991"/>
                      <a:pt x="40002" y="79991"/>
                    </a:cubicBezTo>
                    <a:close/>
                    <a:moveTo>
                      <a:pt x="40002" y="13325"/>
                    </a:moveTo>
                    <a:cubicBezTo>
                      <a:pt x="25297" y="13325"/>
                      <a:pt x="13335" y="25293"/>
                      <a:pt x="13335" y="39996"/>
                    </a:cubicBezTo>
                    <a:cubicBezTo>
                      <a:pt x="13335" y="54698"/>
                      <a:pt x="25299" y="66666"/>
                      <a:pt x="40002" y="66666"/>
                    </a:cubicBezTo>
                    <a:cubicBezTo>
                      <a:pt x="54707" y="66666"/>
                      <a:pt x="66668" y="54698"/>
                      <a:pt x="66668" y="39996"/>
                    </a:cubicBezTo>
                    <a:cubicBezTo>
                      <a:pt x="66671" y="25293"/>
                      <a:pt x="54707" y="13325"/>
                      <a:pt x="40002" y="13325"/>
                    </a:cubicBezTo>
                    <a:close/>
                  </a:path>
                </a:pathLst>
              </a:custGeom>
              <a:solidFill>
                <a:schemeClr val="accent1"/>
              </a:solidFill>
              <a:ln w="205" cap="flat">
                <a:noFill/>
                <a:prstDash val="solid"/>
                <a:miter/>
              </a:ln>
            </p:spPr>
            <p:txBody>
              <a:bodyPr rtlCol="0" anchor="ctr"/>
              <a:lstStyle/>
              <a:p>
                <a:endParaRPr lang="en-GB" dirty="0"/>
              </a:p>
            </p:txBody>
          </p:sp>
          <p:sp>
            <p:nvSpPr>
              <p:cNvPr id="604" name="Freihandform: Form 603">
                <a:extLst>
                  <a:ext uri="{FF2B5EF4-FFF2-40B4-BE49-F238E27FC236}">
                    <a16:creationId xmlns:a16="http://schemas.microsoft.com/office/drawing/2014/main" id="{1D3642EA-A117-4CD9-8725-1CB45C42819F}"/>
                  </a:ext>
                </a:extLst>
              </p:cNvPr>
              <p:cNvSpPr/>
              <p:nvPr/>
            </p:nvSpPr>
            <p:spPr>
              <a:xfrm>
                <a:off x="1998219" y="4436957"/>
                <a:ext cx="106670" cy="113126"/>
              </a:xfrm>
              <a:custGeom>
                <a:avLst/>
                <a:gdLst>
                  <a:gd name="connsiteX0" fmla="*/ 93343 w 106670"/>
                  <a:gd name="connsiteY0" fmla="*/ 113127 h 113126"/>
                  <a:gd name="connsiteX1" fmla="*/ 88083 w 106670"/>
                  <a:gd name="connsiteY1" fmla="*/ 112037 h 113126"/>
                  <a:gd name="connsiteX2" fmla="*/ 4041 w 106670"/>
                  <a:gd name="connsiteY2" fmla="*/ 76010 h 113126"/>
                  <a:gd name="connsiteX3" fmla="*/ 0 w 106670"/>
                  <a:gd name="connsiteY3" fmla="*/ 69882 h 113126"/>
                  <a:gd name="connsiteX4" fmla="*/ 0 w 106670"/>
                  <a:gd name="connsiteY4" fmla="*/ 43232 h 113126"/>
                  <a:gd name="connsiteX5" fmla="*/ 4041 w 106670"/>
                  <a:gd name="connsiteY5" fmla="*/ 37104 h 113126"/>
                  <a:gd name="connsiteX6" fmla="*/ 88083 w 106670"/>
                  <a:gd name="connsiteY6" fmla="*/ 1077 h 113126"/>
                  <a:gd name="connsiteX7" fmla="*/ 100674 w 106670"/>
                  <a:gd name="connsiteY7" fmla="*/ 2208 h 113126"/>
                  <a:gd name="connsiteX8" fmla="*/ 106670 w 106670"/>
                  <a:gd name="connsiteY8" fmla="*/ 13333 h 113126"/>
                  <a:gd name="connsiteX9" fmla="*/ 106670 w 106670"/>
                  <a:gd name="connsiteY9" fmla="*/ 99781 h 113126"/>
                  <a:gd name="connsiteX10" fmla="*/ 100674 w 106670"/>
                  <a:gd name="connsiteY10" fmla="*/ 110906 h 113126"/>
                  <a:gd name="connsiteX11" fmla="*/ 93343 w 106670"/>
                  <a:gd name="connsiteY11" fmla="*/ 113127 h 113126"/>
                  <a:gd name="connsiteX12" fmla="*/ 13335 w 106670"/>
                  <a:gd name="connsiteY12" fmla="*/ 65502 h 113126"/>
                  <a:gd name="connsiteX13" fmla="*/ 93337 w 106670"/>
                  <a:gd name="connsiteY13" fmla="*/ 99781 h 113126"/>
                  <a:gd name="connsiteX14" fmla="*/ 93337 w 106670"/>
                  <a:gd name="connsiteY14" fmla="*/ 13333 h 113126"/>
                  <a:gd name="connsiteX15" fmla="*/ 93337 w 106670"/>
                  <a:gd name="connsiteY15" fmla="*/ 13333 h 113126"/>
                  <a:gd name="connsiteX16" fmla="*/ 13335 w 106670"/>
                  <a:gd name="connsiteY16" fmla="*/ 47612 h 113126"/>
                  <a:gd name="connsiteX17" fmla="*/ 13335 w 106670"/>
                  <a:gd name="connsiteY17" fmla="*/ 65502 h 113126"/>
                  <a:gd name="connsiteX18" fmla="*/ 90711 w 106670"/>
                  <a:gd name="connsiteY18" fmla="*/ 7205 h 113126"/>
                  <a:gd name="connsiteX19" fmla="*/ 90777 w 106670"/>
                  <a:gd name="connsiteY19" fmla="*/ 7205 h 113126"/>
                  <a:gd name="connsiteX20" fmla="*/ 90711 w 106670"/>
                  <a:gd name="connsiteY20" fmla="*/ 7205 h 113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6670" h="113126">
                    <a:moveTo>
                      <a:pt x="93343" y="113127"/>
                    </a:moveTo>
                    <a:cubicBezTo>
                      <a:pt x="91562" y="113127"/>
                      <a:pt x="89775" y="112757"/>
                      <a:pt x="88083" y="112037"/>
                    </a:cubicBezTo>
                    <a:lnTo>
                      <a:pt x="4041" y="76010"/>
                    </a:lnTo>
                    <a:cubicBezTo>
                      <a:pt x="1590" y="74961"/>
                      <a:pt x="0" y="72555"/>
                      <a:pt x="0" y="69882"/>
                    </a:cubicBezTo>
                    <a:lnTo>
                      <a:pt x="0" y="43232"/>
                    </a:lnTo>
                    <a:cubicBezTo>
                      <a:pt x="0" y="40559"/>
                      <a:pt x="1590" y="38132"/>
                      <a:pt x="4041" y="37104"/>
                    </a:cubicBezTo>
                    <a:lnTo>
                      <a:pt x="88083" y="1077"/>
                    </a:lnTo>
                    <a:cubicBezTo>
                      <a:pt x="92220" y="-691"/>
                      <a:pt x="96925" y="-260"/>
                      <a:pt x="100674" y="2208"/>
                    </a:cubicBezTo>
                    <a:cubicBezTo>
                      <a:pt x="104427" y="4676"/>
                      <a:pt x="106670" y="8829"/>
                      <a:pt x="106670" y="13333"/>
                    </a:cubicBezTo>
                    <a:lnTo>
                      <a:pt x="106670" y="99781"/>
                    </a:lnTo>
                    <a:cubicBezTo>
                      <a:pt x="106670" y="104284"/>
                      <a:pt x="104427" y="108438"/>
                      <a:pt x="100674" y="110906"/>
                    </a:cubicBezTo>
                    <a:cubicBezTo>
                      <a:pt x="98461" y="112366"/>
                      <a:pt x="95912" y="113127"/>
                      <a:pt x="93343" y="113127"/>
                    </a:cubicBezTo>
                    <a:close/>
                    <a:moveTo>
                      <a:pt x="13335" y="65502"/>
                    </a:moveTo>
                    <a:lnTo>
                      <a:pt x="93337" y="99781"/>
                    </a:lnTo>
                    <a:lnTo>
                      <a:pt x="93337" y="13333"/>
                    </a:lnTo>
                    <a:lnTo>
                      <a:pt x="93337" y="13333"/>
                    </a:lnTo>
                    <a:lnTo>
                      <a:pt x="13335" y="47612"/>
                    </a:lnTo>
                    <a:lnTo>
                      <a:pt x="13335" y="65502"/>
                    </a:lnTo>
                    <a:close/>
                    <a:moveTo>
                      <a:pt x="90711" y="7205"/>
                    </a:moveTo>
                    <a:lnTo>
                      <a:pt x="90777" y="7205"/>
                    </a:lnTo>
                    <a:lnTo>
                      <a:pt x="90711" y="7205"/>
                    </a:lnTo>
                    <a:close/>
                  </a:path>
                </a:pathLst>
              </a:custGeom>
              <a:solidFill>
                <a:schemeClr val="accent1"/>
              </a:solidFill>
              <a:ln w="205" cap="flat">
                <a:noFill/>
                <a:prstDash val="solid"/>
                <a:miter/>
              </a:ln>
            </p:spPr>
            <p:txBody>
              <a:bodyPr rtlCol="0" anchor="ctr"/>
              <a:lstStyle/>
              <a:p>
                <a:endParaRPr lang="en-GB" dirty="0"/>
              </a:p>
            </p:txBody>
          </p:sp>
          <p:sp>
            <p:nvSpPr>
              <p:cNvPr id="605" name="Freihandform: Form 604">
                <a:extLst>
                  <a:ext uri="{FF2B5EF4-FFF2-40B4-BE49-F238E27FC236}">
                    <a16:creationId xmlns:a16="http://schemas.microsoft.com/office/drawing/2014/main" id="{8325BB0E-6726-4297-AEA7-411F5BD835B0}"/>
                  </a:ext>
                </a:extLst>
              </p:cNvPr>
              <p:cNvSpPr/>
              <p:nvPr/>
            </p:nvSpPr>
            <p:spPr>
              <a:xfrm>
                <a:off x="1864882" y="4366843"/>
                <a:ext cx="106670" cy="13325"/>
              </a:xfrm>
              <a:custGeom>
                <a:avLst/>
                <a:gdLst>
                  <a:gd name="connsiteX0" fmla="*/ 100004 w 106670"/>
                  <a:gd name="connsiteY0" fmla="*/ 13325 h 13325"/>
                  <a:gd name="connsiteX1" fmla="*/ 6667 w 106670"/>
                  <a:gd name="connsiteY1" fmla="*/ 13325 h 13325"/>
                  <a:gd name="connsiteX2" fmla="*/ 0 w 106670"/>
                  <a:gd name="connsiteY2" fmla="*/ 6663 h 13325"/>
                  <a:gd name="connsiteX3" fmla="*/ 6667 w 106670"/>
                  <a:gd name="connsiteY3" fmla="*/ 0 h 13325"/>
                  <a:gd name="connsiteX4" fmla="*/ 100004 w 106670"/>
                  <a:gd name="connsiteY4" fmla="*/ 0 h 13325"/>
                  <a:gd name="connsiteX5" fmla="*/ 106670 w 106670"/>
                  <a:gd name="connsiteY5" fmla="*/ 6663 h 13325"/>
                  <a:gd name="connsiteX6" fmla="*/ 100004 w 106670"/>
                  <a:gd name="connsiteY6" fmla="*/ 13325 h 1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70" h="13325">
                    <a:moveTo>
                      <a:pt x="100004" y="13325"/>
                    </a:moveTo>
                    <a:lnTo>
                      <a:pt x="6667" y="13325"/>
                    </a:lnTo>
                    <a:cubicBezTo>
                      <a:pt x="2986" y="13325"/>
                      <a:pt x="0" y="10344"/>
                      <a:pt x="0" y="6663"/>
                    </a:cubicBezTo>
                    <a:cubicBezTo>
                      <a:pt x="0" y="2982"/>
                      <a:pt x="2986" y="0"/>
                      <a:pt x="6667" y="0"/>
                    </a:cubicBezTo>
                    <a:lnTo>
                      <a:pt x="100004" y="0"/>
                    </a:lnTo>
                    <a:cubicBezTo>
                      <a:pt x="103685" y="0"/>
                      <a:pt x="106670" y="2982"/>
                      <a:pt x="106670" y="6663"/>
                    </a:cubicBezTo>
                    <a:cubicBezTo>
                      <a:pt x="106670" y="10344"/>
                      <a:pt x="103687" y="13325"/>
                      <a:pt x="100004" y="13325"/>
                    </a:cubicBezTo>
                    <a:close/>
                  </a:path>
                </a:pathLst>
              </a:custGeom>
              <a:solidFill>
                <a:schemeClr val="accent1"/>
              </a:solidFill>
              <a:ln w="205" cap="flat">
                <a:noFill/>
                <a:prstDash val="solid"/>
                <a:miter/>
              </a:ln>
            </p:spPr>
            <p:txBody>
              <a:bodyPr rtlCol="0" anchor="ctr"/>
              <a:lstStyle/>
              <a:p>
                <a:endParaRPr lang="en-GB" dirty="0"/>
              </a:p>
            </p:txBody>
          </p:sp>
          <p:sp>
            <p:nvSpPr>
              <p:cNvPr id="606" name="Freihandform: Form 605">
                <a:extLst>
                  <a:ext uri="{FF2B5EF4-FFF2-40B4-BE49-F238E27FC236}">
                    <a16:creationId xmlns:a16="http://schemas.microsoft.com/office/drawing/2014/main" id="{1663B117-FC64-4948-8ED9-EBB89076C904}"/>
                  </a:ext>
                </a:extLst>
              </p:cNvPr>
              <p:cNvSpPr/>
              <p:nvPr/>
            </p:nvSpPr>
            <p:spPr>
              <a:xfrm>
                <a:off x="1871549" y="4486851"/>
                <a:ext cx="106670" cy="13325"/>
              </a:xfrm>
              <a:custGeom>
                <a:avLst/>
                <a:gdLst>
                  <a:gd name="connsiteX0" fmla="*/ 100004 w 106670"/>
                  <a:gd name="connsiteY0" fmla="*/ 13325 h 13325"/>
                  <a:gd name="connsiteX1" fmla="*/ 6667 w 106670"/>
                  <a:gd name="connsiteY1" fmla="*/ 13325 h 13325"/>
                  <a:gd name="connsiteX2" fmla="*/ 0 w 106670"/>
                  <a:gd name="connsiteY2" fmla="*/ 6662 h 13325"/>
                  <a:gd name="connsiteX3" fmla="*/ 6667 w 106670"/>
                  <a:gd name="connsiteY3" fmla="*/ 0 h 13325"/>
                  <a:gd name="connsiteX4" fmla="*/ 100004 w 106670"/>
                  <a:gd name="connsiteY4" fmla="*/ 0 h 13325"/>
                  <a:gd name="connsiteX5" fmla="*/ 106670 w 106670"/>
                  <a:gd name="connsiteY5" fmla="*/ 6662 h 13325"/>
                  <a:gd name="connsiteX6" fmla="*/ 100004 w 106670"/>
                  <a:gd name="connsiteY6" fmla="*/ 13325 h 1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670" h="13325">
                    <a:moveTo>
                      <a:pt x="100004" y="13325"/>
                    </a:moveTo>
                    <a:lnTo>
                      <a:pt x="6667" y="13325"/>
                    </a:lnTo>
                    <a:cubicBezTo>
                      <a:pt x="2986" y="13325"/>
                      <a:pt x="0" y="10343"/>
                      <a:pt x="0" y="6662"/>
                    </a:cubicBezTo>
                    <a:cubicBezTo>
                      <a:pt x="0" y="2982"/>
                      <a:pt x="2986" y="0"/>
                      <a:pt x="6667" y="0"/>
                    </a:cubicBezTo>
                    <a:lnTo>
                      <a:pt x="100004" y="0"/>
                    </a:lnTo>
                    <a:cubicBezTo>
                      <a:pt x="103684" y="0"/>
                      <a:pt x="106670" y="2982"/>
                      <a:pt x="106670" y="6662"/>
                    </a:cubicBezTo>
                    <a:cubicBezTo>
                      <a:pt x="106670" y="10343"/>
                      <a:pt x="103687" y="13325"/>
                      <a:pt x="100004" y="13325"/>
                    </a:cubicBezTo>
                    <a:close/>
                  </a:path>
                </a:pathLst>
              </a:custGeom>
              <a:solidFill>
                <a:schemeClr val="accent1"/>
              </a:solidFill>
              <a:ln w="205" cap="flat">
                <a:noFill/>
                <a:prstDash val="solid"/>
                <a:miter/>
              </a:ln>
            </p:spPr>
            <p:txBody>
              <a:bodyPr rtlCol="0" anchor="ctr"/>
              <a:lstStyle/>
              <a:p>
                <a:endParaRPr lang="en-GB" dirty="0"/>
              </a:p>
            </p:txBody>
          </p:sp>
        </p:grpSp>
        <p:grpSp>
          <p:nvGrpSpPr>
            <p:cNvPr id="592" name="Gruppieren 591">
              <a:extLst>
                <a:ext uri="{FF2B5EF4-FFF2-40B4-BE49-F238E27FC236}">
                  <a16:creationId xmlns:a16="http://schemas.microsoft.com/office/drawing/2014/main" id="{49A5A6BC-060A-4D68-A5EA-D590832BD4A8}"/>
                </a:ext>
              </a:extLst>
            </p:cNvPr>
            <p:cNvGrpSpPr/>
            <p:nvPr/>
          </p:nvGrpSpPr>
          <p:grpSpPr>
            <a:xfrm>
              <a:off x="1623485" y="4097454"/>
              <a:ext cx="431998" cy="432000"/>
              <a:chOff x="1718212" y="4173507"/>
              <a:chExt cx="440012" cy="440014"/>
            </a:xfrm>
            <a:solidFill>
              <a:schemeClr val="tx2"/>
            </a:solidFill>
          </p:grpSpPr>
          <p:grpSp>
            <p:nvGrpSpPr>
              <p:cNvPr id="593" name="Grafik 348">
                <a:extLst>
                  <a:ext uri="{FF2B5EF4-FFF2-40B4-BE49-F238E27FC236}">
                    <a16:creationId xmlns:a16="http://schemas.microsoft.com/office/drawing/2014/main" id="{7705CF57-7FEE-4A39-AB2D-D7E5A86B98EE}"/>
                  </a:ext>
                </a:extLst>
              </p:cNvPr>
              <p:cNvGrpSpPr/>
              <p:nvPr/>
            </p:nvGrpSpPr>
            <p:grpSpPr>
              <a:xfrm>
                <a:off x="1718212" y="4173507"/>
                <a:ext cx="440012" cy="440014"/>
                <a:chOff x="1718212" y="4173507"/>
                <a:chExt cx="440012" cy="440014"/>
              </a:xfrm>
              <a:grpFill/>
            </p:grpSpPr>
            <p:sp>
              <p:nvSpPr>
                <p:cNvPr id="598" name="Freihandform: Form 597">
                  <a:extLst>
                    <a:ext uri="{FF2B5EF4-FFF2-40B4-BE49-F238E27FC236}">
                      <a16:creationId xmlns:a16="http://schemas.microsoft.com/office/drawing/2014/main" id="{DCF1A4F1-2812-4C1C-8888-62D1CBD9C361}"/>
                    </a:ext>
                  </a:extLst>
                </p:cNvPr>
                <p:cNvSpPr/>
                <p:nvPr/>
              </p:nvSpPr>
              <p:spPr>
                <a:xfrm>
                  <a:off x="2038220" y="4386851"/>
                  <a:ext cx="120003" cy="226669"/>
                </a:xfrm>
                <a:custGeom>
                  <a:avLst/>
                  <a:gdLst>
                    <a:gd name="connsiteX0" fmla="*/ 60057 w 120003"/>
                    <a:gd name="connsiteY0" fmla="*/ 226670 h 226669"/>
                    <a:gd name="connsiteX1" fmla="*/ 56021 w 120003"/>
                    <a:gd name="connsiteY1" fmla="*/ 226526 h 226669"/>
                    <a:gd name="connsiteX2" fmla="*/ 0 w 120003"/>
                    <a:gd name="connsiteY2" fmla="*/ 164836 h 226669"/>
                    <a:gd name="connsiteX3" fmla="*/ 6667 w 120003"/>
                    <a:gd name="connsiteY3" fmla="*/ 158173 h 226669"/>
                    <a:gd name="connsiteX4" fmla="*/ 13333 w 120003"/>
                    <a:gd name="connsiteY4" fmla="*/ 164836 h 226669"/>
                    <a:gd name="connsiteX5" fmla="*/ 56880 w 120003"/>
                    <a:gd name="connsiteY5" fmla="*/ 213221 h 226669"/>
                    <a:gd name="connsiteX6" fmla="*/ 91910 w 120003"/>
                    <a:gd name="connsiteY6" fmla="*/ 200719 h 226669"/>
                    <a:gd name="connsiteX7" fmla="*/ 106670 w 120003"/>
                    <a:gd name="connsiteY7" fmla="*/ 166666 h 226669"/>
                    <a:gd name="connsiteX8" fmla="*/ 106670 w 120003"/>
                    <a:gd name="connsiteY8" fmla="*/ 19987 h 226669"/>
                    <a:gd name="connsiteX9" fmla="*/ 100004 w 120003"/>
                    <a:gd name="connsiteY9" fmla="*/ 13325 h 226669"/>
                    <a:gd name="connsiteX10" fmla="*/ 84447 w 120003"/>
                    <a:gd name="connsiteY10" fmla="*/ 13325 h 226669"/>
                    <a:gd name="connsiteX11" fmla="*/ 77781 w 120003"/>
                    <a:gd name="connsiteY11" fmla="*/ 6662 h 226669"/>
                    <a:gd name="connsiteX12" fmla="*/ 84447 w 120003"/>
                    <a:gd name="connsiteY12" fmla="*/ 0 h 226669"/>
                    <a:gd name="connsiteX13" fmla="*/ 100004 w 120003"/>
                    <a:gd name="connsiteY13" fmla="*/ 0 h 226669"/>
                    <a:gd name="connsiteX14" fmla="*/ 120004 w 120003"/>
                    <a:gd name="connsiteY14" fmla="*/ 19987 h 226669"/>
                    <a:gd name="connsiteX15" fmla="*/ 120004 w 120003"/>
                    <a:gd name="connsiteY15" fmla="*/ 166666 h 226669"/>
                    <a:gd name="connsiteX16" fmla="*/ 101028 w 120003"/>
                    <a:gd name="connsiteY16" fmla="*/ 210445 h 226669"/>
                    <a:gd name="connsiteX17" fmla="*/ 60057 w 120003"/>
                    <a:gd name="connsiteY17" fmla="*/ 226670 h 22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003" h="226669">
                      <a:moveTo>
                        <a:pt x="60057" y="226670"/>
                      </a:moveTo>
                      <a:cubicBezTo>
                        <a:pt x="58717" y="226670"/>
                        <a:pt x="57372" y="226629"/>
                        <a:pt x="56021" y="226526"/>
                      </a:cubicBezTo>
                      <a:cubicBezTo>
                        <a:pt x="24606" y="224490"/>
                        <a:pt x="0" y="197408"/>
                        <a:pt x="0" y="164836"/>
                      </a:cubicBezTo>
                      <a:cubicBezTo>
                        <a:pt x="0" y="161155"/>
                        <a:pt x="2986" y="158173"/>
                        <a:pt x="6667" y="158173"/>
                      </a:cubicBezTo>
                      <a:cubicBezTo>
                        <a:pt x="10347" y="158173"/>
                        <a:pt x="13333" y="161155"/>
                        <a:pt x="13333" y="164836"/>
                      </a:cubicBezTo>
                      <a:cubicBezTo>
                        <a:pt x="13333" y="190396"/>
                        <a:pt x="32461" y="211638"/>
                        <a:pt x="56880" y="213221"/>
                      </a:cubicBezTo>
                      <a:cubicBezTo>
                        <a:pt x="69996" y="214105"/>
                        <a:pt x="82401" y="209623"/>
                        <a:pt x="91910" y="200719"/>
                      </a:cubicBezTo>
                      <a:cubicBezTo>
                        <a:pt x="101429" y="191794"/>
                        <a:pt x="106670" y="179703"/>
                        <a:pt x="106670" y="166666"/>
                      </a:cubicBezTo>
                      <a:lnTo>
                        <a:pt x="106670" y="19987"/>
                      </a:lnTo>
                      <a:cubicBezTo>
                        <a:pt x="106670" y="16307"/>
                        <a:pt x="103678" y="13325"/>
                        <a:pt x="100004" y="13325"/>
                      </a:cubicBezTo>
                      <a:lnTo>
                        <a:pt x="84447" y="13325"/>
                      </a:lnTo>
                      <a:cubicBezTo>
                        <a:pt x="80767" y="13325"/>
                        <a:pt x="77781" y="10343"/>
                        <a:pt x="77781" y="6662"/>
                      </a:cubicBezTo>
                      <a:cubicBezTo>
                        <a:pt x="77781" y="2982"/>
                        <a:pt x="80767" y="0"/>
                        <a:pt x="84447" y="0"/>
                      </a:cubicBezTo>
                      <a:lnTo>
                        <a:pt x="100004" y="0"/>
                      </a:lnTo>
                      <a:cubicBezTo>
                        <a:pt x="111032" y="0"/>
                        <a:pt x="120004" y="8966"/>
                        <a:pt x="120004" y="19987"/>
                      </a:cubicBezTo>
                      <a:lnTo>
                        <a:pt x="120004" y="166666"/>
                      </a:lnTo>
                      <a:cubicBezTo>
                        <a:pt x="120004" y="183199"/>
                        <a:pt x="113090" y="199135"/>
                        <a:pt x="101028" y="210445"/>
                      </a:cubicBezTo>
                      <a:cubicBezTo>
                        <a:pt x="89786" y="220994"/>
                        <a:pt x="75365" y="226670"/>
                        <a:pt x="60057" y="226670"/>
                      </a:cubicBezTo>
                      <a:close/>
                    </a:path>
                  </a:pathLst>
                </a:custGeom>
                <a:grpFill/>
                <a:ln w="205" cap="flat">
                  <a:noFill/>
                  <a:prstDash val="solid"/>
                  <a:miter/>
                </a:ln>
              </p:spPr>
              <p:txBody>
                <a:bodyPr rtlCol="0" anchor="ctr"/>
                <a:lstStyle/>
                <a:p>
                  <a:endParaRPr lang="en-GB" dirty="0"/>
                </a:p>
              </p:txBody>
            </p:sp>
            <p:sp>
              <p:nvSpPr>
                <p:cNvPr id="599" name="Freihandform: Form 598">
                  <a:extLst>
                    <a:ext uri="{FF2B5EF4-FFF2-40B4-BE49-F238E27FC236}">
                      <a16:creationId xmlns:a16="http://schemas.microsoft.com/office/drawing/2014/main" id="{7D9C271C-2727-461B-88DB-05A53CB4D2F3}"/>
                    </a:ext>
                  </a:extLst>
                </p:cNvPr>
                <p:cNvSpPr/>
                <p:nvPr/>
              </p:nvSpPr>
              <p:spPr>
                <a:xfrm>
                  <a:off x="1718212" y="4173507"/>
                  <a:ext cx="386677" cy="440014"/>
                </a:xfrm>
                <a:custGeom>
                  <a:avLst/>
                  <a:gdLst>
                    <a:gd name="connsiteX0" fmla="*/ 380011 w 386677"/>
                    <a:gd name="connsiteY0" fmla="*/ 440014 h 440014"/>
                    <a:gd name="connsiteX1" fmla="*/ 60002 w 386677"/>
                    <a:gd name="connsiteY1" fmla="*/ 440014 h 440014"/>
                    <a:gd name="connsiteX2" fmla="*/ 0 w 386677"/>
                    <a:gd name="connsiteY2" fmla="*/ 380011 h 440014"/>
                    <a:gd name="connsiteX3" fmla="*/ 0 w 386677"/>
                    <a:gd name="connsiteY3" fmla="*/ 19987 h 440014"/>
                    <a:gd name="connsiteX4" fmla="*/ 20000 w 386677"/>
                    <a:gd name="connsiteY4" fmla="*/ 0 h 440014"/>
                    <a:gd name="connsiteX5" fmla="*/ 313342 w 386677"/>
                    <a:gd name="connsiteY5" fmla="*/ 0 h 440014"/>
                    <a:gd name="connsiteX6" fmla="*/ 333342 w 386677"/>
                    <a:gd name="connsiteY6" fmla="*/ 19987 h 440014"/>
                    <a:gd name="connsiteX7" fmla="*/ 333342 w 386677"/>
                    <a:gd name="connsiteY7" fmla="*/ 260003 h 440014"/>
                    <a:gd name="connsiteX8" fmla="*/ 326675 w 386677"/>
                    <a:gd name="connsiteY8" fmla="*/ 266665 h 440014"/>
                    <a:gd name="connsiteX9" fmla="*/ 320009 w 386677"/>
                    <a:gd name="connsiteY9" fmla="*/ 260003 h 440014"/>
                    <a:gd name="connsiteX10" fmla="*/ 320009 w 386677"/>
                    <a:gd name="connsiteY10" fmla="*/ 19987 h 440014"/>
                    <a:gd name="connsiteX11" fmla="*/ 313342 w 386677"/>
                    <a:gd name="connsiteY11" fmla="*/ 13325 h 440014"/>
                    <a:gd name="connsiteX12" fmla="*/ 20000 w 386677"/>
                    <a:gd name="connsiteY12" fmla="*/ 13325 h 440014"/>
                    <a:gd name="connsiteX13" fmla="*/ 13333 w 386677"/>
                    <a:gd name="connsiteY13" fmla="*/ 19987 h 440014"/>
                    <a:gd name="connsiteX14" fmla="*/ 13333 w 386677"/>
                    <a:gd name="connsiteY14" fmla="*/ 380011 h 440014"/>
                    <a:gd name="connsiteX15" fmla="*/ 60002 w 386677"/>
                    <a:gd name="connsiteY15" fmla="*/ 426669 h 440014"/>
                    <a:gd name="connsiteX16" fmla="*/ 380011 w 386677"/>
                    <a:gd name="connsiteY16" fmla="*/ 426669 h 440014"/>
                    <a:gd name="connsiteX17" fmla="*/ 386677 w 386677"/>
                    <a:gd name="connsiteY17" fmla="*/ 433352 h 440014"/>
                    <a:gd name="connsiteX18" fmla="*/ 380011 w 386677"/>
                    <a:gd name="connsiteY18" fmla="*/ 440014 h 44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6677" h="440014">
                      <a:moveTo>
                        <a:pt x="380011" y="440014"/>
                      </a:moveTo>
                      <a:lnTo>
                        <a:pt x="60002" y="440014"/>
                      </a:lnTo>
                      <a:cubicBezTo>
                        <a:pt x="26917" y="440014"/>
                        <a:pt x="0" y="413097"/>
                        <a:pt x="0" y="380011"/>
                      </a:cubicBezTo>
                      <a:lnTo>
                        <a:pt x="0" y="19987"/>
                      </a:lnTo>
                      <a:cubicBezTo>
                        <a:pt x="0" y="8966"/>
                        <a:pt x="8972" y="0"/>
                        <a:pt x="20000" y="0"/>
                      </a:cubicBezTo>
                      <a:lnTo>
                        <a:pt x="313342" y="0"/>
                      </a:lnTo>
                      <a:cubicBezTo>
                        <a:pt x="324370" y="0"/>
                        <a:pt x="333342" y="8966"/>
                        <a:pt x="333342" y="19987"/>
                      </a:cubicBezTo>
                      <a:lnTo>
                        <a:pt x="333342" y="260003"/>
                      </a:lnTo>
                      <a:cubicBezTo>
                        <a:pt x="333342" y="263684"/>
                        <a:pt x="330356" y="266665"/>
                        <a:pt x="326675" y="266665"/>
                      </a:cubicBezTo>
                      <a:cubicBezTo>
                        <a:pt x="322995" y="266665"/>
                        <a:pt x="320009" y="263684"/>
                        <a:pt x="320009" y="260003"/>
                      </a:cubicBezTo>
                      <a:lnTo>
                        <a:pt x="320009" y="19987"/>
                      </a:lnTo>
                      <a:cubicBezTo>
                        <a:pt x="320009" y="16327"/>
                        <a:pt x="317017" y="13325"/>
                        <a:pt x="313342" y="13325"/>
                      </a:cubicBezTo>
                      <a:lnTo>
                        <a:pt x="20000" y="13325"/>
                      </a:lnTo>
                      <a:cubicBezTo>
                        <a:pt x="16325" y="13325"/>
                        <a:pt x="13333" y="16327"/>
                        <a:pt x="13333" y="19987"/>
                      </a:cubicBezTo>
                      <a:lnTo>
                        <a:pt x="13333" y="380011"/>
                      </a:lnTo>
                      <a:cubicBezTo>
                        <a:pt x="13333" y="405735"/>
                        <a:pt x="34269" y="426669"/>
                        <a:pt x="60002" y="426669"/>
                      </a:cubicBezTo>
                      <a:lnTo>
                        <a:pt x="380011" y="426669"/>
                      </a:lnTo>
                      <a:cubicBezTo>
                        <a:pt x="383691" y="426669"/>
                        <a:pt x="386677" y="429650"/>
                        <a:pt x="386677" y="433352"/>
                      </a:cubicBezTo>
                      <a:cubicBezTo>
                        <a:pt x="386677" y="437033"/>
                        <a:pt x="383693" y="440014"/>
                        <a:pt x="380011" y="440014"/>
                      </a:cubicBezTo>
                      <a:close/>
                    </a:path>
                  </a:pathLst>
                </a:custGeom>
                <a:grpFill/>
                <a:ln w="205" cap="flat">
                  <a:noFill/>
                  <a:prstDash val="solid"/>
                  <a:miter/>
                </a:ln>
              </p:spPr>
              <p:txBody>
                <a:bodyPr rtlCol="0" anchor="ctr"/>
                <a:lstStyle/>
                <a:p>
                  <a:endParaRPr lang="en-GB" dirty="0"/>
                </a:p>
              </p:txBody>
            </p:sp>
            <p:sp>
              <p:nvSpPr>
                <p:cNvPr id="600" name="Freihandform: Form 599">
                  <a:extLst>
                    <a:ext uri="{FF2B5EF4-FFF2-40B4-BE49-F238E27FC236}">
                      <a16:creationId xmlns:a16="http://schemas.microsoft.com/office/drawing/2014/main" id="{D8C183BC-B998-463F-9F59-07AB2C28042B}"/>
                    </a:ext>
                  </a:extLst>
                </p:cNvPr>
                <p:cNvSpPr/>
                <p:nvPr/>
              </p:nvSpPr>
              <p:spPr>
                <a:xfrm>
                  <a:off x="2062666" y="4292013"/>
                  <a:ext cx="42222" cy="128171"/>
                </a:xfrm>
                <a:custGeom>
                  <a:avLst/>
                  <a:gdLst>
                    <a:gd name="connsiteX0" fmla="*/ 35556 w 42222"/>
                    <a:gd name="connsiteY0" fmla="*/ 128171 h 128171"/>
                    <a:gd name="connsiteX1" fmla="*/ 28889 w 42222"/>
                    <a:gd name="connsiteY1" fmla="*/ 121488 h 128171"/>
                    <a:gd name="connsiteX2" fmla="*/ 28889 w 42222"/>
                    <a:gd name="connsiteY2" fmla="*/ 20008 h 128171"/>
                    <a:gd name="connsiteX3" fmla="*/ 22223 w 42222"/>
                    <a:gd name="connsiteY3" fmla="*/ 13345 h 128171"/>
                    <a:gd name="connsiteX4" fmla="*/ 6667 w 42222"/>
                    <a:gd name="connsiteY4" fmla="*/ 13345 h 128171"/>
                    <a:gd name="connsiteX5" fmla="*/ 0 w 42222"/>
                    <a:gd name="connsiteY5" fmla="*/ 6683 h 128171"/>
                    <a:gd name="connsiteX6" fmla="*/ 6667 w 42222"/>
                    <a:gd name="connsiteY6" fmla="*/ 0 h 128171"/>
                    <a:gd name="connsiteX7" fmla="*/ 22223 w 42222"/>
                    <a:gd name="connsiteY7" fmla="*/ 0 h 128171"/>
                    <a:gd name="connsiteX8" fmla="*/ 42223 w 42222"/>
                    <a:gd name="connsiteY8" fmla="*/ 20008 h 128171"/>
                    <a:gd name="connsiteX9" fmla="*/ 42223 w 42222"/>
                    <a:gd name="connsiteY9" fmla="*/ 121488 h 128171"/>
                    <a:gd name="connsiteX10" fmla="*/ 35556 w 42222"/>
                    <a:gd name="connsiteY10" fmla="*/ 128171 h 12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22" h="128171">
                      <a:moveTo>
                        <a:pt x="35556" y="128171"/>
                      </a:moveTo>
                      <a:cubicBezTo>
                        <a:pt x="31875" y="128171"/>
                        <a:pt x="28889" y="125190"/>
                        <a:pt x="28889" y="121488"/>
                      </a:cubicBezTo>
                      <a:lnTo>
                        <a:pt x="28889" y="20008"/>
                      </a:lnTo>
                      <a:cubicBezTo>
                        <a:pt x="28889" y="16327"/>
                        <a:pt x="25897" y="13345"/>
                        <a:pt x="22223" y="13345"/>
                      </a:cubicBezTo>
                      <a:lnTo>
                        <a:pt x="6667" y="13345"/>
                      </a:lnTo>
                      <a:cubicBezTo>
                        <a:pt x="2986" y="13345"/>
                        <a:pt x="0" y="10364"/>
                        <a:pt x="0" y="6683"/>
                      </a:cubicBezTo>
                      <a:cubicBezTo>
                        <a:pt x="0" y="2982"/>
                        <a:pt x="2986" y="0"/>
                        <a:pt x="6667" y="0"/>
                      </a:cubicBezTo>
                      <a:lnTo>
                        <a:pt x="22223" y="0"/>
                      </a:lnTo>
                      <a:cubicBezTo>
                        <a:pt x="33251" y="0"/>
                        <a:pt x="42223" y="8986"/>
                        <a:pt x="42223" y="20008"/>
                      </a:cubicBezTo>
                      <a:lnTo>
                        <a:pt x="42223" y="121488"/>
                      </a:lnTo>
                      <a:cubicBezTo>
                        <a:pt x="42223" y="125190"/>
                        <a:pt x="39239" y="128171"/>
                        <a:pt x="35556" y="128171"/>
                      </a:cubicBezTo>
                      <a:close/>
                    </a:path>
                  </a:pathLst>
                </a:custGeom>
                <a:grpFill/>
                <a:ln w="205" cap="flat">
                  <a:noFill/>
                  <a:prstDash val="solid"/>
                  <a:miter/>
                </a:ln>
              </p:spPr>
              <p:txBody>
                <a:bodyPr rtlCol="0" anchor="ctr"/>
                <a:lstStyle/>
                <a:p>
                  <a:endParaRPr lang="en-GB" dirty="0"/>
                </a:p>
              </p:txBody>
            </p:sp>
          </p:grpSp>
          <p:sp>
            <p:nvSpPr>
              <p:cNvPr id="594" name="Freihandform: Form 593">
                <a:extLst>
                  <a:ext uri="{FF2B5EF4-FFF2-40B4-BE49-F238E27FC236}">
                    <a16:creationId xmlns:a16="http://schemas.microsoft.com/office/drawing/2014/main" id="{BD54CD13-EF79-4BC4-82A1-C74F2E5BFEDA}"/>
                  </a:ext>
                </a:extLst>
              </p:cNvPr>
              <p:cNvSpPr/>
              <p:nvPr/>
            </p:nvSpPr>
            <p:spPr>
              <a:xfrm>
                <a:off x="1771547" y="4226848"/>
                <a:ext cx="226673" cy="59983"/>
              </a:xfrm>
              <a:custGeom>
                <a:avLst/>
                <a:gdLst>
                  <a:gd name="connsiteX0" fmla="*/ 226674 w 226673"/>
                  <a:gd name="connsiteY0" fmla="*/ 59983 h 59983"/>
                  <a:gd name="connsiteX1" fmla="*/ 0 w 226673"/>
                  <a:gd name="connsiteY1" fmla="*/ 59983 h 59983"/>
                  <a:gd name="connsiteX2" fmla="*/ 0 w 226673"/>
                  <a:gd name="connsiteY2" fmla="*/ 0 h 59983"/>
                  <a:gd name="connsiteX3" fmla="*/ 226674 w 226673"/>
                  <a:gd name="connsiteY3" fmla="*/ 0 h 59983"/>
                  <a:gd name="connsiteX4" fmla="*/ 226674 w 226673"/>
                  <a:gd name="connsiteY4" fmla="*/ 59983 h 59983"/>
                  <a:gd name="connsiteX5" fmla="*/ 13333 w 226673"/>
                  <a:gd name="connsiteY5" fmla="*/ 46658 h 59983"/>
                  <a:gd name="connsiteX6" fmla="*/ 213338 w 226673"/>
                  <a:gd name="connsiteY6" fmla="*/ 46658 h 59983"/>
                  <a:gd name="connsiteX7" fmla="*/ 213338 w 226673"/>
                  <a:gd name="connsiteY7" fmla="*/ 13325 h 59983"/>
                  <a:gd name="connsiteX8" fmla="*/ 13333 w 226673"/>
                  <a:gd name="connsiteY8" fmla="*/ 13325 h 59983"/>
                  <a:gd name="connsiteX9" fmla="*/ 13333 w 226673"/>
                  <a:gd name="connsiteY9" fmla="*/ 46658 h 59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673" h="59983">
                    <a:moveTo>
                      <a:pt x="226674" y="59983"/>
                    </a:moveTo>
                    <a:lnTo>
                      <a:pt x="0" y="59983"/>
                    </a:lnTo>
                    <a:lnTo>
                      <a:pt x="0" y="0"/>
                    </a:lnTo>
                    <a:lnTo>
                      <a:pt x="226674" y="0"/>
                    </a:lnTo>
                    <a:lnTo>
                      <a:pt x="226674" y="59983"/>
                    </a:lnTo>
                    <a:close/>
                    <a:moveTo>
                      <a:pt x="13333" y="46658"/>
                    </a:moveTo>
                    <a:lnTo>
                      <a:pt x="213338" y="46658"/>
                    </a:lnTo>
                    <a:lnTo>
                      <a:pt x="213338" y="13325"/>
                    </a:lnTo>
                    <a:lnTo>
                      <a:pt x="13333" y="13325"/>
                    </a:lnTo>
                    <a:lnTo>
                      <a:pt x="13333" y="46658"/>
                    </a:lnTo>
                    <a:close/>
                  </a:path>
                </a:pathLst>
              </a:custGeom>
              <a:grpFill/>
              <a:ln w="205" cap="flat">
                <a:noFill/>
                <a:prstDash val="solid"/>
                <a:miter/>
              </a:ln>
            </p:spPr>
            <p:txBody>
              <a:bodyPr rtlCol="0" anchor="ctr"/>
              <a:lstStyle/>
              <a:p>
                <a:endParaRPr lang="en-GB" dirty="0"/>
              </a:p>
            </p:txBody>
          </p:sp>
          <p:sp>
            <p:nvSpPr>
              <p:cNvPr id="595" name="Freihandform: Form 594">
                <a:extLst>
                  <a:ext uri="{FF2B5EF4-FFF2-40B4-BE49-F238E27FC236}">
                    <a16:creationId xmlns:a16="http://schemas.microsoft.com/office/drawing/2014/main" id="{946861C7-5037-42D6-A5CE-3A18916C1E53}"/>
                  </a:ext>
                </a:extLst>
              </p:cNvPr>
              <p:cNvSpPr/>
              <p:nvPr/>
            </p:nvSpPr>
            <p:spPr>
              <a:xfrm>
                <a:off x="1771547" y="4320164"/>
                <a:ext cx="226673" cy="13345"/>
              </a:xfrm>
              <a:custGeom>
                <a:avLst/>
                <a:gdLst>
                  <a:gd name="connsiteX0" fmla="*/ 220007 w 226673"/>
                  <a:gd name="connsiteY0" fmla="*/ 13346 h 13345"/>
                  <a:gd name="connsiteX1" fmla="*/ 6667 w 226673"/>
                  <a:gd name="connsiteY1" fmla="*/ 13346 h 13345"/>
                  <a:gd name="connsiteX2" fmla="*/ 0 w 226673"/>
                  <a:gd name="connsiteY2" fmla="*/ 6683 h 13345"/>
                  <a:gd name="connsiteX3" fmla="*/ 6667 w 226673"/>
                  <a:gd name="connsiteY3" fmla="*/ 0 h 13345"/>
                  <a:gd name="connsiteX4" fmla="*/ 220007 w 226673"/>
                  <a:gd name="connsiteY4" fmla="*/ 0 h 13345"/>
                  <a:gd name="connsiteX5" fmla="*/ 226674 w 226673"/>
                  <a:gd name="connsiteY5" fmla="*/ 6683 h 13345"/>
                  <a:gd name="connsiteX6" fmla="*/ 220007 w 226673"/>
                  <a:gd name="connsiteY6" fmla="*/ 13346 h 1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673" h="13345">
                    <a:moveTo>
                      <a:pt x="220007" y="13346"/>
                    </a:moveTo>
                    <a:lnTo>
                      <a:pt x="6667" y="13346"/>
                    </a:lnTo>
                    <a:cubicBezTo>
                      <a:pt x="2986" y="13346"/>
                      <a:pt x="0" y="10364"/>
                      <a:pt x="0" y="6683"/>
                    </a:cubicBezTo>
                    <a:cubicBezTo>
                      <a:pt x="0" y="2982"/>
                      <a:pt x="2986" y="0"/>
                      <a:pt x="6667" y="0"/>
                    </a:cubicBezTo>
                    <a:lnTo>
                      <a:pt x="220007" y="0"/>
                    </a:lnTo>
                    <a:cubicBezTo>
                      <a:pt x="223688" y="0"/>
                      <a:pt x="226674" y="2982"/>
                      <a:pt x="226674" y="6683"/>
                    </a:cubicBezTo>
                    <a:cubicBezTo>
                      <a:pt x="226674" y="10364"/>
                      <a:pt x="223688" y="13346"/>
                      <a:pt x="220007" y="13346"/>
                    </a:cubicBezTo>
                    <a:close/>
                  </a:path>
                </a:pathLst>
              </a:custGeom>
              <a:grpFill/>
              <a:ln w="205" cap="flat">
                <a:noFill/>
                <a:prstDash val="solid"/>
                <a:miter/>
              </a:ln>
            </p:spPr>
            <p:txBody>
              <a:bodyPr rtlCol="0" anchor="ctr"/>
              <a:lstStyle/>
              <a:p>
                <a:endParaRPr lang="en-GB" dirty="0"/>
              </a:p>
            </p:txBody>
          </p:sp>
          <p:sp>
            <p:nvSpPr>
              <p:cNvPr id="596" name="Freihandform: Form 595">
                <a:extLst>
                  <a:ext uri="{FF2B5EF4-FFF2-40B4-BE49-F238E27FC236}">
                    <a16:creationId xmlns:a16="http://schemas.microsoft.com/office/drawing/2014/main" id="{63AFF6AC-A96B-4F80-87A4-F2D227FB5B03}"/>
                  </a:ext>
                </a:extLst>
              </p:cNvPr>
              <p:cNvSpPr/>
              <p:nvPr/>
            </p:nvSpPr>
            <p:spPr>
              <a:xfrm>
                <a:off x="1771547" y="4480188"/>
                <a:ext cx="39999" cy="13325"/>
              </a:xfrm>
              <a:custGeom>
                <a:avLst/>
                <a:gdLst>
                  <a:gd name="connsiteX0" fmla="*/ 33333 w 39999"/>
                  <a:gd name="connsiteY0" fmla="*/ 13325 h 13325"/>
                  <a:gd name="connsiteX1" fmla="*/ 6667 w 39999"/>
                  <a:gd name="connsiteY1" fmla="*/ 13325 h 13325"/>
                  <a:gd name="connsiteX2" fmla="*/ 0 w 39999"/>
                  <a:gd name="connsiteY2" fmla="*/ 6663 h 13325"/>
                  <a:gd name="connsiteX3" fmla="*/ 6667 w 39999"/>
                  <a:gd name="connsiteY3" fmla="*/ 0 h 13325"/>
                  <a:gd name="connsiteX4" fmla="*/ 33333 w 39999"/>
                  <a:gd name="connsiteY4" fmla="*/ 0 h 13325"/>
                  <a:gd name="connsiteX5" fmla="*/ 40000 w 39999"/>
                  <a:gd name="connsiteY5" fmla="*/ 6663 h 13325"/>
                  <a:gd name="connsiteX6" fmla="*/ 33333 w 39999"/>
                  <a:gd name="connsiteY6" fmla="*/ 13325 h 1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99" h="13325">
                    <a:moveTo>
                      <a:pt x="33333" y="13325"/>
                    </a:moveTo>
                    <a:lnTo>
                      <a:pt x="6667" y="13325"/>
                    </a:lnTo>
                    <a:cubicBezTo>
                      <a:pt x="2986" y="13325"/>
                      <a:pt x="0" y="10343"/>
                      <a:pt x="0" y="6663"/>
                    </a:cubicBezTo>
                    <a:cubicBezTo>
                      <a:pt x="0" y="2982"/>
                      <a:pt x="2986" y="0"/>
                      <a:pt x="6667" y="0"/>
                    </a:cubicBezTo>
                    <a:lnTo>
                      <a:pt x="33333" y="0"/>
                    </a:lnTo>
                    <a:cubicBezTo>
                      <a:pt x="37014" y="0"/>
                      <a:pt x="40000" y="2982"/>
                      <a:pt x="40000" y="6663"/>
                    </a:cubicBezTo>
                    <a:cubicBezTo>
                      <a:pt x="40000" y="10343"/>
                      <a:pt x="37016" y="13325"/>
                      <a:pt x="33333" y="13325"/>
                    </a:cubicBezTo>
                    <a:close/>
                  </a:path>
                </a:pathLst>
              </a:custGeom>
              <a:grpFill/>
              <a:ln w="205" cap="flat">
                <a:noFill/>
                <a:prstDash val="solid"/>
                <a:miter/>
              </a:ln>
            </p:spPr>
            <p:txBody>
              <a:bodyPr rtlCol="0" anchor="ctr"/>
              <a:lstStyle/>
              <a:p>
                <a:endParaRPr lang="en-GB" dirty="0"/>
              </a:p>
            </p:txBody>
          </p:sp>
          <p:sp>
            <p:nvSpPr>
              <p:cNvPr id="597" name="Freihandform: Form 596">
                <a:extLst>
                  <a:ext uri="{FF2B5EF4-FFF2-40B4-BE49-F238E27FC236}">
                    <a16:creationId xmlns:a16="http://schemas.microsoft.com/office/drawing/2014/main" id="{4C612A95-0505-49F7-B392-E00DC4DD923E}"/>
                  </a:ext>
                </a:extLst>
              </p:cNvPr>
              <p:cNvSpPr/>
              <p:nvPr/>
            </p:nvSpPr>
            <p:spPr>
              <a:xfrm>
                <a:off x="1771547" y="4433510"/>
                <a:ext cx="39999" cy="13325"/>
              </a:xfrm>
              <a:custGeom>
                <a:avLst/>
                <a:gdLst>
                  <a:gd name="connsiteX0" fmla="*/ 33333 w 39999"/>
                  <a:gd name="connsiteY0" fmla="*/ 13325 h 13325"/>
                  <a:gd name="connsiteX1" fmla="*/ 6667 w 39999"/>
                  <a:gd name="connsiteY1" fmla="*/ 13325 h 13325"/>
                  <a:gd name="connsiteX2" fmla="*/ 0 w 39999"/>
                  <a:gd name="connsiteY2" fmla="*/ 6663 h 13325"/>
                  <a:gd name="connsiteX3" fmla="*/ 6667 w 39999"/>
                  <a:gd name="connsiteY3" fmla="*/ 0 h 13325"/>
                  <a:gd name="connsiteX4" fmla="*/ 33333 w 39999"/>
                  <a:gd name="connsiteY4" fmla="*/ 0 h 13325"/>
                  <a:gd name="connsiteX5" fmla="*/ 40000 w 39999"/>
                  <a:gd name="connsiteY5" fmla="*/ 6663 h 13325"/>
                  <a:gd name="connsiteX6" fmla="*/ 33333 w 39999"/>
                  <a:gd name="connsiteY6" fmla="*/ 13325 h 13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99" h="13325">
                    <a:moveTo>
                      <a:pt x="33333" y="13325"/>
                    </a:moveTo>
                    <a:lnTo>
                      <a:pt x="6667" y="13325"/>
                    </a:lnTo>
                    <a:cubicBezTo>
                      <a:pt x="2986" y="13325"/>
                      <a:pt x="0" y="10343"/>
                      <a:pt x="0" y="6663"/>
                    </a:cubicBezTo>
                    <a:cubicBezTo>
                      <a:pt x="0" y="2982"/>
                      <a:pt x="2986" y="0"/>
                      <a:pt x="6667" y="0"/>
                    </a:cubicBezTo>
                    <a:lnTo>
                      <a:pt x="33333" y="0"/>
                    </a:lnTo>
                    <a:cubicBezTo>
                      <a:pt x="37014" y="0"/>
                      <a:pt x="40000" y="2982"/>
                      <a:pt x="40000" y="6663"/>
                    </a:cubicBezTo>
                    <a:cubicBezTo>
                      <a:pt x="40002" y="10343"/>
                      <a:pt x="37016" y="13325"/>
                      <a:pt x="33333" y="13325"/>
                    </a:cubicBezTo>
                    <a:close/>
                  </a:path>
                </a:pathLst>
              </a:custGeom>
              <a:grpFill/>
              <a:ln w="205" cap="flat">
                <a:noFill/>
                <a:prstDash val="solid"/>
                <a:miter/>
              </a:ln>
            </p:spPr>
            <p:txBody>
              <a:bodyPr rtlCol="0" anchor="ctr"/>
              <a:lstStyle/>
              <a:p>
                <a:endParaRPr lang="en-GB" dirty="0"/>
              </a:p>
            </p:txBody>
          </p:sp>
        </p:grpSp>
      </p:grpSp>
      <p:sp>
        <p:nvSpPr>
          <p:cNvPr id="607" name="TextBox 1410">
            <a:extLst>
              <a:ext uri="{FF2B5EF4-FFF2-40B4-BE49-F238E27FC236}">
                <a16:creationId xmlns:a16="http://schemas.microsoft.com/office/drawing/2014/main" id="{2D9617D4-5F90-4B29-B117-38B1E77DE3E3}"/>
              </a:ext>
            </a:extLst>
          </p:cNvPr>
          <p:cNvSpPr txBox="1"/>
          <p:nvPr/>
        </p:nvSpPr>
        <p:spPr>
          <a:xfrm>
            <a:off x="1757731" y="4547732"/>
            <a:ext cx="163506" cy="107722"/>
          </a:xfrm>
          <a:prstGeom prst="rect">
            <a:avLst/>
          </a:prstGeom>
          <a:noFill/>
          <a:effectLst/>
        </p:spPr>
        <p:txBody>
          <a:bodyPr wrap="none" lIns="0" tIns="0" rIns="0" bIns="0" rtlCol="0" anchor="t">
            <a:spAutoFit/>
          </a:bodyPr>
          <a:lstStyle/>
          <a:p>
            <a:pPr algn="ctr"/>
            <a:r>
              <a:rPr lang="en-GB" sz="700" dirty="0">
                <a:solidFill>
                  <a:schemeClr val="tx2"/>
                </a:solidFill>
              </a:rPr>
              <a:t>ATL</a:t>
            </a:r>
          </a:p>
        </p:txBody>
      </p:sp>
      <p:grpSp>
        <p:nvGrpSpPr>
          <p:cNvPr id="13" name="Group 12">
            <a:extLst>
              <a:ext uri="{FF2B5EF4-FFF2-40B4-BE49-F238E27FC236}">
                <a16:creationId xmlns:a16="http://schemas.microsoft.com/office/drawing/2014/main" id="{9E51BCCA-356D-4EB6-8B0B-FE0624615E7E}"/>
              </a:ext>
            </a:extLst>
          </p:cNvPr>
          <p:cNvGrpSpPr/>
          <p:nvPr/>
        </p:nvGrpSpPr>
        <p:grpSpPr>
          <a:xfrm>
            <a:off x="598480" y="3273397"/>
            <a:ext cx="391140" cy="432000"/>
            <a:chOff x="598480" y="3273397"/>
            <a:chExt cx="391140" cy="432000"/>
          </a:xfrm>
        </p:grpSpPr>
        <p:grpSp>
          <p:nvGrpSpPr>
            <p:cNvPr id="609" name="Gruppieren 608">
              <a:extLst>
                <a:ext uri="{FF2B5EF4-FFF2-40B4-BE49-F238E27FC236}">
                  <a16:creationId xmlns:a16="http://schemas.microsoft.com/office/drawing/2014/main" id="{2DB3020D-F388-4512-863F-A4B17326AC8D}"/>
                </a:ext>
              </a:extLst>
            </p:cNvPr>
            <p:cNvGrpSpPr/>
            <p:nvPr/>
          </p:nvGrpSpPr>
          <p:grpSpPr>
            <a:xfrm>
              <a:off x="598480" y="3273397"/>
              <a:ext cx="391140" cy="432000"/>
              <a:chOff x="872597" y="3322176"/>
              <a:chExt cx="398274" cy="439879"/>
            </a:xfrm>
          </p:grpSpPr>
          <p:sp>
            <p:nvSpPr>
              <p:cNvPr id="613" name="Freihandform: Form 612">
                <a:extLst>
                  <a:ext uri="{FF2B5EF4-FFF2-40B4-BE49-F238E27FC236}">
                    <a16:creationId xmlns:a16="http://schemas.microsoft.com/office/drawing/2014/main" id="{D05FE175-E8B7-4251-9BA7-2BA35D4006C3}"/>
                  </a:ext>
                </a:extLst>
              </p:cNvPr>
              <p:cNvSpPr/>
              <p:nvPr/>
            </p:nvSpPr>
            <p:spPr>
              <a:xfrm>
                <a:off x="1139917" y="3324089"/>
                <a:ext cx="23666" cy="17799"/>
              </a:xfrm>
              <a:custGeom>
                <a:avLst/>
                <a:gdLst>
                  <a:gd name="connsiteX0" fmla="*/ 19681 w 23666"/>
                  <a:gd name="connsiteY0" fmla="*/ 17800 h 17799"/>
                  <a:gd name="connsiteX1" fmla="*/ 0 w 23666"/>
                  <a:gd name="connsiteY1" fmla="*/ 13165 h 17799"/>
                  <a:gd name="connsiteX2" fmla="*/ 2110 w 23666"/>
                  <a:gd name="connsiteY2" fmla="*/ 0 h 17799"/>
                  <a:gd name="connsiteX3" fmla="*/ 23666 w 23666"/>
                  <a:gd name="connsiteY3" fmla="*/ 5079 h 17799"/>
                  <a:gd name="connsiteX4" fmla="*/ 19681 w 23666"/>
                  <a:gd name="connsiteY4" fmla="*/ 17800 h 177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66" h="17799">
                    <a:moveTo>
                      <a:pt x="19681" y="17800"/>
                    </a:moveTo>
                    <a:cubicBezTo>
                      <a:pt x="13249" y="15789"/>
                      <a:pt x="6628" y="14226"/>
                      <a:pt x="0" y="13165"/>
                    </a:cubicBezTo>
                    <a:lnTo>
                      <a:pt x="2110" y="0"/>
                    </a:lnTo>
                    <a:cubicBezTo>
                      <a:pt x="9373" y="1166"/>
                      <a:pt x="16621" y="2871"/>
                      <a:pt x="23666" y="5079"/>
                    </a:cubicBezTo>
                    <a:lnTo>
                      <a:pt x="19681" y="17800"/>
                    </a:lnTo>
                    <a:close/>
                  </a:path>
                </a:pathLst>
              </a:custGeom>
              <a:solidFill>
                <a:schemeClr val="tx2"/>
              </a:solidFill>
              <a:ln w="205" cap="flat">
                <a:noFill/>
                <a:prstDash val="solid"/>
                <a:miter/>
              </a:ln>
            </p:spPr>
            <p:txBody>
              <a:bodyPr rtlCol="0" anchor="ctr"/>
              <a:lstStyle/>
              <a:p>
                <a:endParaRPr lang="en-GB" dirty="0"/>
              </a:p>
            </p:txBody>
          </p:sp>
          <p:sp>
            <p:nvSpPr>
              <p:cNvPr id="614" name="Freihandform: Form 613">
                <a:extLst>
                  <a:ext uri="{FF2B5EF4-FFF2-40B4-BE49-F238E27FC236}">
                    <a16:creationId xmlns:a16="http://schemas.microsoft.com/office/drawing/2014/main" id="{ED348CC0-F4E9-409C-BD58-3A580816CF41}"/>
                  </a:ext>
                </a:extLst>
              </p:cNvPr>
              <p:cNvSpPr/>
              <p:nvPr/>
            </p:nvSpPr>
            <p:spPr>
              <a:xfrm>
                <a:off x="1180137" y="3338257"/>
                <a:ext cx="35802" cy="29792"/>
              </a:xfrm>
              <a:custGeom>
                <a:avLst/>
                <a:gdLst>
                  <a:gd name="connsiteX0" fmla="*/ 27253 w 35802"/>
                  <a:gd name="connsiteY0" fmla="*/ 29792 h 29792"/>
                  <a:gd name="connsiteX1" fmla="*/ 0 w 35802"/>
                  <a:gd name="connsiteY1" fmla="*/ 11927 h 29792"/>
                  <a:gd name="connsiteX2" fmla="*/ 5957 w 35802"/>
                  <a:gd name="connsiteY2" fmla="*/ 0 h 29792"/>
                  <a:gd name="connsiteX3" fmla="*/ 35803 w 35802"/>
                  <a:gd name="connsiteY3" fmla="*/ 19558 h 29792"/>
                  <a:gd name="connsiteX4" fmla="*/ 27253 w 35802"/>
                  <a:gd name="connsiteY4" fmla="*/ 29792 h 297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802" h="29792">
                    <a:moveTo>
                      <a:pt x="27253" y="29792"/>
                    </a:moveTo>
                    <a:cubicBezTo>
                      <a:pt x="18861" y="22780"/>
                      <a:pt x="9689" y="16772"/>
                      <a:pt x="0" y="11927"/>
                    </a:cubicBezTo>
                    <a:lnTo>
                      <a:pt x="5957" y="0"/>
                    </a:lnTo>
                    <a:cubicBezTo>
                      <a:pt x="16576" y="5306"/>
                      <a:pt x="26615" y="11882"/>
                      <a:pt x="35803" y="19558"/>
                    </a:cubicBezTo>
                    <a:lnTo>
                      <a:pt x="27253" y="29792"/>
                    </a:lnTo>
                    <a:close/>
                  </a:path>
                </a:pathLst>
              </a:custGeom>
              <a:solidFill>
                <a:schemeClr val="tx2"/>
              </a:solidFill>
              <a:ln w="205" cap="flat">
                <a:noFill/>
                <a:prstDash val="solid"/>
                <a:miter/>
              </a:ln>
            </p:spPr>
            <p:txBody>
              <a:bodyPr rtlCol="0" anchor="ctr"/>
              <a:lstStyle/>
              <a:p>
                <a:endParaRPr lang="en-GB" dirty="0"/>
              </a:p>
            </p:txBody>
          </p:sp>
          <p:sp>
            <p:nvSpPr>
              <p:cNvPr id="615" name="Freihandform: Form 614">
                <a:extLst>
                  <a:ext uri="{FF2B5EF4-FFF2-40B4-BE49-F238E27FC236}">
                    <a16:creationId xmlns:a16="http://schemas.microsoft.com/office/drawing/2014/main" id="{E5CECF34-430D-4ED8-9510-3F44987DE88A}"/>
                  </a:ext>
                </a:extLst>
              </p:cNvPr>
              <p:cNvSpPr/>
              <p:nvPr/>
            </p:nvSpPr>
            <p:spPr>
              <a:xfrm>
                <a:off x="1223631" y="3375267"/>
                <a:ext cx="20830" cy="21486"/>
              </a:xfrm>
              <a:custGeom>
                <a:avLst/>
                <a:gdLst>
                  <a:gd name="connsiteX0" fmla="*/ 9815 w 20830"/>
                  <a:gd name="connsiteY0" fmla="*/ 21487 h 21486"/>
                  <a:gd name="connsiteX1" fmla="*/ 0 w 20830"/>
                  <a:gd name="connsiteY1" fmla="*/ 8725 h 21486"/>
                  <a:gd name="connsiteX2" fmla="*/ 10084 w 20830"/>
                  <a:gd name="connsiteY2" fmla="*/ 0 h 21486"/>
                  <a:gd name="connsiteX3" fmla="*/ 20831 w 20830"/>
                  <a:gd name="connsiteY3" fmla="*/ 13973 h 21486"/>
                  <a:gd name="connsiteX4" fmla="*/ 9815 w 20830"/>
                  <a:gd name="connsiteY4" fmla="*/ 21487 h 214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30" h="21486">
                    <a:moveTo>
                      <a:pt x="9815" y="21487"/>
                    </a:moveTo>
                    <a:cubicBezTo>
                      <a:pt x="6800" y="17059"/>
                      <a:pt x="3496" y="12770"/>
                      <a:pt x="0" y="8725"/>
                    </a:cubicBezTo>
                    <a:lnTo>
                      <a:pt x="10084" y="0"/>
                    </a:lnTo>
                    <a:cubicBezTo>
                      <a:pt x="13915" y="4427"/>
                      <a:pt x="17528" y="9128"/>
                      <a:pt x="20831" y="13973"/>
                    </a:cubicBezTo>
                    <a:lnTo>
                      <a:pt x="9815" y="21487"/>
                    </a:lnTo>
                    <a:close/>
                  </a:path>
                </a:pathLst>
              </a:custGeom>
              <a:solidFill>
                <a:schemeClr val="tx2"/>
              </a:solidFill>
              <a:ln w="205" cap="flat">
                <a:noFill/>
                <a:prstDash val="solid"/>
                <a:miter/>
              </a:ln>
            </p:spPr>
            <p:txBody>
              <a:bodyPr rtlCol="0" anchor="ctr"/>
              <a:lstStyle/>
              <a:p>
                <a:endParaRPr lang="en-GB" dirty="0"/>
              </a:p>
            </p:txBody>
          </p:sp>
          <p:sp>
            <p:nvSpPr>
              <p:cNvPr id="616" name="Freihandform: Form 615">
                <a:extLst>
                  <a:ext uri="{FF2B5EF4-FFF2-40B4-BE49-F238E27FC236}">
                    <a16:creationId xmlns:a16="http://schemas.microsoft.com/office/drawing/2014/main" id="{27355972-FD46-4D2D-8AA2-D63CAAE6FBED}"/>
                  </a:ext>
                </a:extLst>
              </p:cNvPr>
              <p:cNvSpPr/>
              <p:nvPr/>
            </p:nvSpPr>
            <p:spPr>
              <a:xfrm>
                <a:off x="964356" y="3322176"/>
                <a:ext cx="306515" cy="306609"/>
              </a:xfrm>
              <a:custGeom>
                <a:avLst/>
                <a:gdLst>
                  <a:gd name="connsiteX0" fmla="*/ 153153 w 306515"/>
                  <a:gd name="connsiteY0" fmla="*/ 306610 h 306609"/>
                  <a:gd name="connsiteX1" fmla="*/ 54973 w 306515"/>
                  <a:gd name="connsiteY1" fmla="*/ 271023 h 306609"/>
                  <a:gd name="connsiteX2" fmla="*/ 35588 w 306515"/>
                  <a:gd name="connsiteY2" fmla="*/ 55027 h 306609"/>
                  <a:gd name="connsiteX3" fmla="*/ 150969 w 306515"/>
                  <a:gd name="connsiteY3" fmla="*/ 0 h 306609"/>
                  <a:gd name="connsiteX4" fmla="*/ 151177 w 306515"/>
                  <a:gd name="connsiteY4" fmla="*/ 13333 h 306609"/>
                  <a:gd name="connsiteX5" fmla="*/ 45823 w 306515"/>
                  <a:gd name="connsiteY5" fmla="*/ 63576 h 306609"/>
                  <a:gd name="connsiteX6" fmla="*/ 63521 w 306515"/>
                  <a:gd name="connsiteY6" fmla="*/ 260788 h 306609"/>
                  <a:gd name="connsiteX7" fmla="*/ 260734 w 306515"/>
                  <a:gd name="connsiteY7" fmla="*/ 243091 h 306609"/>
                  <a:gd name="connsiteX8" fmla="*/ 280461 w 306515"/>
                  <a:gd name="connsiteY8" fmla="*/ 94708 h 306609"/>
                  <a:gd name="connsiteX9" fmla="*/ 292576 w 306515"/>
                  <a:gd name="connsiteY9" fmla="*/ 89136 h 306609"/>
                  <a:gd name="connsiteX10" fmla="*/ 270969 w 306515"/>
                  <a:gd name="connsiteY10" fmla="*/ 251633 h 306609"/>
                  <a:gd name="connsiteX11" fmla="*/ 153153 w 306515"/>
                  <a:gd name="connsiteY11" fmla="*/ 306610 h 30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6515" h="306609">
                    <a:moveTo>
                      <a:pt x="153153" y="306610"/>
                    </a:moveTo>
                    <a:cubicBezTo>
                      <a:pt x="118471" y="306610"/>
                      <a:pt x="83610" y="294942"/>
                      <a:pt x="54973" y="271023"/>
                    </a:cubicBezTo>
                    <a:cubicBezTo>
                      <a:pt x="-9918" y="216816"/>
                      <a:pt x="-18617" y="119917"/>
                      <a:pt x="35588" y="55027"/>
                    </a:cubicBezTo>
                    <a:cubicBezTo>
                      <a:pt x="64223" y="20748"/>
                      <a:pt x="106277" y="689"/>
                      <a:pt x="150969" y="0"/>
                    </a:cubicBezTo>
                    <a:lnTo>
                      <a:pt x="151177" y="13333"/>
                    </a:lnTo>
                    <a:cubicBezTo>
                      <a:pt x="110365" y="13964"/>
                      <a:pt x="71965" y="32278"/>
                      <a:pt x="45823" y="63576"/>
                    </a:cubicBezTo>
                    <a:cubicBezTo>
                      <a:pt x="-3667" y="122823"/>
                      <a:pt x="4272" y="211294"/>
                      <a:pt x="63521" y="260788"/>
                    </a:cubicBezTo>
                    <a:cubicBezTo>
                      <a:pt x="122777" y="310282"/>
                      <a:pt x="211246" y="302339"/>
                      <a:pt x="260734" y="243091"/>
                    </a:cubicBezTo>
                    <a:cubicBezTo>
                      <a:pt x="295204" y="201821"/>
                      <a:pt x="302947" y="143577"/>
                      <a:pt x="280461" y="94708"/>
                    </a:cubicBezTo>
                    <a:lnTo>
                      <a:pt x="292576" y="89136"/>
                    </a:lnTo>
                    <a:cubicBezTo>
                      <a:pt x="317199" y="142660"/>
                      <a:pt x="308717" y="206444"/>
                      <a:pt x="270969" y="251633"/>
                    </a:cubicBezTo>
                    <a:cubicBezTo>
                      <a:pt x="240683" y="287891"/>
                      <a:pt x="197064" y="306603"/>
                      <a:pt x="153153" y="306610"/>
                    </a:cubicBezTo>
                    <a:close/>
                  </a:path>
                </a:pathLst>
              </a:custGeom>
              <a:solidFill>
                <a:schemeClr val="tx2"/>
              </a:solidFill>
              <a:ln w="205" cap="flat">
                <a:noFill/>
                <a:prstDash val="solid"/>
                <a:miter/>
              </a:ln>
            </p:spPr>
            <p:txBody>
              <a:bodyPr rtlCol="0" anchor="ctr"/>
              <a:lstStyle/>
              <a:p>
                <a:endParaRPr lang="en-GB" dirty="0"/>
              </a:p>
            </p:txBody>
          </p:sp>
          <p:sp>
            <p:nvSpPr>
              <p:cNvPr id="617" name="Freihandform: Form 616">
                <a:extLst>
                  <a:ext uri="{FF2B5EF4-FFF2-40B4-BE49-F238E27FC236}">
                    <a16:creationId xmlns:a16="http://schemas.microsoft.com/office/drawing/2014/main" id="{362E896C-B1A9-4904-86A9-F7358121DE8F}"/>
                  </a:ext>
                </a:extLst>
              </p:cNvPr>
              <p:cNvSpPr/>
              <p:nvPr/>
            </p:nvSpPr>
            <p:spPr>
              <a:xfrm>
                <a:off x="872597" y="3627821"/>
                <a:ext cx="125381" cy="134234"/>
              </a:xfrm>
              <a:custGeom>
                <a:avLst/>
                <a:gdLst>
                  <a:gd name="connsiteX0" fmla="*/ 34558 w 125381"/>
                  <a:gd name="connsiteY0" fmla="*/ 134234 h 134234"/>
                  <a:gd name="connsiteX1" fmla="*/ 12405 w 125381"/>
                  <a:gd name="connsiteY1" fmla="*/ 126194 h 134234"/>
                  <a:gd name="connsiteX2" fmla="*/ 8029 w 125381"/>
                  <a:gd name="connsiteY2" fmla="*/ 77459 h 134234"/>
                  <a:gd name="connsiteX3" fmla="*/ 8029 w 125381"/>
                  <a:gd name="connsiteY3" fmla="*/ 77459 h 134234"/>
                  <a:gd name="connsiteX4" fmla="*/ 70712 w 125381"/>
                  <a:gd name="connsiteY4" fmla="*/ 2403 h 134234"/>
                  <a:gd name="connsiteX5" fmla="*/ 75234 w 125381"/>
                  <a:gd name="connsiteY5" fmla="*/ 34 h 134234"/>
                  <a:gd name="connsiteX6" fmla="*/ 80103 w 125381"/>
                  <a:gd name="connsiteY6" fmla="*/ 1557 h 134234"/>
                  <a:gd name="connsiteX7" fmla="*/ 122988 w 125381"/>
                  <a:gd name="connsiteY7" fmla="*/ 37379 h 134234"/>
                  <a:gd name="connsiteX8" fmla="*/ 123831 w 125381"/>
                  <a:gd name="connsiteY8" fmla="*/ 46768 h 134234"/>
                  <a:gd name="connsiteX9" fmla="*/ 61148 w 125381"/>
                  <a:gd name="connsiteY9" fmla="*/ 121814 h 134234"/>
                  <a:gd name="connsiteX10" fmla="*/ 34558 w 125381"/>
                  <a:gd name="connsiteY10" fmla="*/ 134234 h 134234"/>
                  <a:gd name="connsiteX11" fmla="*/ 18265 w 125381"/>
                  <a:gd name="connsiteY11" fmla="*/ 85993 h 134234"/>
                  <a:gd name="connsiteX12" fmla="*/ 20955 w 125381"/>
                  <a:gd name="connsiteY12" fmla="*/ 115953 h 134234"/>
                  <a:gd name="connsiteX13" fmla="*/ 50918 w 125381"/>
                  <a:gd name="connsiteY13" fmla="*/ 113280 h 134234"/>
                  <a:gd name="connsiteX14" fmla="*/ 109328 w 125381"/>
                  <a:gd name="connsiteY14" fmla="*/ 43334 h 134234"/>
                  <a:gd name="connsiteX15" fmla="*/ 76676 w 125381"/>
                  <a:gd name="connsiteY15" fmla="*/ 16063 h 134234"/>
                  <a:gd name="connsiteX16" fmla="*/ 18265 w 125381"/>
                  <a:gd name="connsiteY16" fmla="*/ 85993 h 13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381" h="134234">
                    <a:moveTo>
                      <a:pt x="34558" y="134234"/>
                    </a:moveTo>
                    <a:cubicBezTo>
                      <a:pt x="26735" y="134234"/>
                      <a:pt x="18868" y="131602"/>
                      <a:pt x="12405" y="126194"/>
                    </a:cubicBezTo>
                    <a:cubicBezTo>
                      <a:pt x="-2238" y="113959"/>
                      <a:pt x="-4200" y="92100"/>
                      <a:pt x="8029" y="77459"/>
                    </a:cubicBezTo>
                    <a:lnTo>
                      <a:pt x="8029" y="77459"/>
                    </a:lnTo>
                    <a:lnTo>
                      <a:pt x="70712" y="2403"/>
                    </a:lnTo>
                    <a:cubicBezTo>
                      <a:pt x="71845" y="1041"/>
                      <a:pt x="73472" y="190"/>
                      <a:pt x="75234" y="34"/>
                    </a:cubicBezTo>
                    <a:cubicBezTo>
                      <a:pt x="76986" y="-149"/>
                      <a:pt x="78746" y="424"/>
                      <a:pt x="80103" y="1557"/>
                    </a:cubicBezTo>
                    <a:lnTo>
                      <a:pt x="122988" y="37379"/>
                    </a:lnTo>
                    <a:cubicBezTo>
                      <a:pt x="125814" y="39741"/>
                      <a:pt x="126192" y="43942"/>
                      <a:pt x="123831" y="46768"/>
                    </a:cubicBezTo>
                    <a:lnTo>
                      <a:pt x="61148" y="121814"/>
                    </a:lnTo>
                    <a:cubicBezTo>
                      <a:pt x="54315" y="129998"/>
                      <a:pt x="44471" y="134234"/>
                      <a:pt x="34558" y="134234"/>
                    </a:cubicBezTo>
                    <a:close/>
                    <a:moveTo>
                      <a:pt x="18265" y="85993"/>
                    </a:moveTo>
                    <a:cubicBezTo>
                      <a:pt x="10745" y="94999"/>
                      <a:pt x="11952" y="108448"/>
                      <a:pt x="20955" y="115953"/>
                    </a:cubicBezTo>
                    <a:cubicBezTo>
                      <a:pt x="29960" y="123479"/>
                      <a:pt x="43400" y="122266"/>
                      <a:pt x="50918" y="113280"/>
                    </a:cubicBezTo>
                    <a:lnTo>
                      <a:pt x="109328" y="43334"/>
                    </a:lnTo>
                    <a:lnTo>
                      <a:pt x="76676" y="16063"/>
                    </a:lnTo>
                    <a:lnTo>
                      <a:pt x="18265" y="85993"/>
                    </a:lnTo>
                    <a:close/>
                  </a:path>
                </a:pathLst>
              </a:custGeom>
              <a:solidFill>
                <a:schemeClr val="tx2"/>
              </a:solidFill>
              <a:ln w="205" cap="flat">
                <a:noFill/>
                <a:prstDash val="solid"/>
                <a:miter/>
              </a:ln>
            </p:spPr>
            <p:txBody>
              <a:bodyPr rtlCol="0" anchor="ctr"/>
              <a:lstStyle/>
              <a:p>
                <a:endParaRPr lang="en-GB" dirty="0"/>
              </a:p>
            </p:txBody>
          </p:sp>
          <p:sp>
            <p:nvSpPr>
              <p:cNvPr id="618" name="Freihandform: Form 617">
                <a:extLst>
                  <a:ext uri="{FF2B5EF4-FFF2-40B4-BE49-F238E27FC236}">
                    <a16:creationId xmlns:a16="http://schemas.microsoft.com/office/drawing/2014/main" id="{D99BDA2D-196B-4044-8C47-82CA8BD3212A}"/>
                  </a:ext>
                </a:extLst>
              </p:cNvPr>
              <p:cNvSpPr/>
              <p:nvPr/>
            </p:nvSpPr>
            <p:spPr>
              <a:xfrm>
                <a:off x="949762" y="3574852"/>
                <a:ext cx="89682" cy="95901"/>
              </a:xfrm>
              <a:custGeom>
                <a:avLst/>
                <a:gdLst>
                  <a:gd name="connsiteX0" fmla="*/ 31676 w 89682"/>
                  <a:gd name="connsiteY0" fmla="*/ 95901 h 95901"/>
                  <a:gd name="connsiteX1" fmla="*/ 0 w 89682"/>
                  <a:gd name="connsiteY1" fmla="*/ 69440 h 95901"/>
                  <a:gd name="connsiteX2" fmla="*/ 58005 w 89682"/>
                  <a:gd name="connsiteY2" fmla="*/ 0 h 95901"/>
                  <a:gd name="connsiteX3" fmla="*/ 68239 w 89682"/>
                  <a:gd name="connsiteY3" fmla="*/ 8542 h 95901"/>
                  <a:gd name="connsiteX4" fmla="*/ 18783 w 89682"/>
                  <a:gd name="connsiteY4" fmla="*/ 67762 h 95901"/>
                  <a:gd name="connsiteX5" fmla="*/ 29990 w 89682"/>
                  <a:gd name="connsiteY5" fmla="*/ 77123 h 95901"/>
                  <a:gd name="connsiteX6" fmla="*/ 79449 w 89682"/>
                  <a:gd name="connsiteY6" fmla="*/ 17911 h 95901"/>
                  <a:gd name="connsiteX7" fmla="*/ 89683 w 89682"/>
                  <a:gd name="connsiteY7" fmla="*/ 26451 h 95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682" h="95901">
                    <a:moveTo>
                      <a:pt x="31676" y="95901"/>
                    </a:moveTo>
                    <a:lnTo>
                      <a:pt x="0" y="69440"/>
                    </a:lnTo>
                    <a:lnTo>
                      <a:pt x="58005" y="0"/>
                    </a:lnTo>
                    <a:lnTo>
                      <a:pt x="68239" y="8542"/>
                    </a:lnTo>
                    <a:lnTo>
                      <a:pt x="18783" y="67762"/>
                    </a:lnTo>
                    <a:lnTo>
                      <a:pt x="29990" y="77123"/>
                    </a:lnTo>
                    <a:lnTo>
                      <a:pt x="79449" y="17911"/>
                    </a:lnTo>
                    <a:lnTo>
                      <a:pt x="89683" y="26451"/>
                    </a:lnTo>
                    <a:close/>
                  </a:path>
                </a:pathLst>
              </a:custGeom>
              <a:solidFill>
                <a:schemeClr val="tx2"/>
              </a:solidFill>
              <a:ln w="205" cap="flat">
                <a:noFill/>
                <a:prstDash val="solid"/>
                <a:miter/>
              </a:ln>
            </p:spPr>
            <p:txBody>
              <a:bodyPr rtlCol="0" anchor="ctr"/>
              <a:lstStyle/>
              <a:p>
                <a:endParaRPr lang="en-GB" dirty="0"/>
              </a:p>
            </p:txBody>
          </p:sp>
          <p:sp>
            <p:nvSpPr>
              <p:cNvPr id="619" name="Freihandform: Form 618">
                <a:extLst>
                  <a:ext uri="{FF2B5EF4-FFF2-40B4-BE49-F238E27FC236}">
                    <a16:creationId xmlns:a16="http://schemas.microsoft.com/office/drawing/2014/main" id="{088D56C2-8F3B-4F60-AB95-455CBDDF7175}"/>
                  </a:ext>
                </a:extLst>
              </p:cNvPr>
              <p:cNvSpPr/>
              <p:nvPr/>
            </p:nvSpPr>
            <p:spPr>
              <a:xfrm>
                <a:off x="968629" y="3595664"/>
                <a:ext cx="56219" cy="49156"/>
              </a:xfrm>
              <a:custGeom>
                <a:avLst/>
                <a:gdLst>
                  <a:gd name="connsiteX0" fmla="*/ 49549 w 56219"/>
                  <a:gd name="connsiteY0" fmla="*/ 49157 h 49156"/>
                  <a:gd name="connsiteX1" fmla="*/ 45278 w 56219"/>
                  <a:gd name="connsiteY1" fmla="*/ 47606 h 49156"/>
                  <a:gd name="connsiteX2" fmla="*/ 2393 w 56219"/>
                  <a:gd name="connsiteY2" fmla="*/ 11785 h 49156"/>
                  <a:gd name="connsiteX3" fmla="*/ 1550 w 56219"/>
                  <a:gd name="connsiteY3" fmla="*/ 2396 h 49156"/>
                  <a:gd name="connsiteX4" fmla="*/ 10941 w 56219"/>
                  <a:gd name="connsiteY4" fmla="*/ 1549 h 49156"/>
                  <a:gd name="connsiteX5" fmla="*/ 53826 w 56219"/>
                  <a:gd name="connsiteY5" fmla="*/ 37370 h 49156"/>
                  <a:gd name="connsiteX6" fmla="*/ 54669 w 56219"/>
                  <a:gd name="connsiteY6" fmla="*/ 46759 h 49156"/>
                  <a:gd name="connsiteX7" fmla="*/ 49549 w 56219"/>
                  <a:gd name="connsiteY7" fmla="*/ 49157 h 49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19" h="49156">
                    <a:moveTo>
                      <a:pt x="49549" y="49157"/>
                    </a:moveTo>
                    <a:cubicBezTo>
                      <a:pt x="48042" y="49157"/>
                      <a:pt x="46524" y="48649"/>
                      <a:pt x="45278" y="47606"/>
                    </a:cubicBezTo>
                    <a:lnTo>
                      <a:pt x="2393" y="11785"/>
                    </a:lnTo>
                    <a:cubicBezTo>
                      <a:pt x="-432" y="9422"/>
                      <a:pt x="-811" y="5221"/>
                      <a:pt x="1550" y="2396"/>
                    </a:cubicBezTo>
                    <a:cubicBezTo>
                      <a:pt x="3911" y="-436"/>
                      <a:pt x="8112" y="-808"/>
                      <a:pt x="10941" y="1549"/>
                    </a:cubicBezTo>
                    <a:lnTo>
                      <a:pt x="53826" y="37370"/>
                    </a:lnTo>
                    <a:cubicBezTo>
                      <a:pt x="56652" y="39733"/>
                      <a:pt x="57030" y="43932"/>
                      <a:pt x="54669" y="46759"/>
                    </a:cubicBezTo>
                    <a:cubicBezTo>
                      <a:pt x="53351" y="48343"/>
                      <a:pt x="51457" y="49157"/>
                      <a:pt x="49549" y="49157"/>
                    </a:cubicBezTo>
                    <a:close/>
                  </a:path>
                </a:pathLst>
              </a:custGeom>
              <a:solidFill>
                <a:schemeClr val="tx2"/>
              </a:solidFill>
              <a:ln w="205" cap="flat">
                <a:noFill/>
                <a:prstDash val="solid"/>
                <a:miter/>
              </a:ln>
            </p:spPr>
            <p:txBody>
              <a:bodyPr rtlCol="0" anchor="ctr"/>
              <a:lstStyle/>
              <a:p>
                <a:endParaRPr lang="en-GB" dirty="0"/>
              </a:p>
            </p:txBody>
          </p:sp>
        </p:grpSp>
        <p:grpSp>
          <p:nvGrpSpPr>
            <p:cNvPr id="610" name="Grafik 348">
              <a:extLst>
                <a:ext uri="{FF2B5EF4-FFF2-40B4-BE49-F238E27FC236}">
                  <a16:creationId xmlns:a16="http://schemas.microsoft.com/office/drawing/2014/main" id="{69674379-420B-4F72-A8E4-05919088E46B}"/>
                </a:ext>
              </a:extLst>
            </p:cNvPr>
            <p:cNvGrpSpPr/>
            <p:nvPr/>
          </p:nvGrpSpPr>
          <p:grpSpPr>
            <a:xfrm>
              <a:off x="734406" y="3318058"/>
              <a:ext cx="208876" cy="208865"/>
              <a:chOff x="1011002" y="3367652"/>
              <a:chExt cx="212686" cy="212674"/>
            </a:xfrm>
            <a:solidFill>
              <a:schemeClr val="accent1"/>
            </a:solidFill>
          </p:grpSpPr>
          <p:sp>
            <p:nvSpPr>
              <p:cNvPr id="611" name="Freihandform: Form 610">
                <a:extLst>
                  <a:ext uri="{FF2B5EF4-FFF2-40B4-BE49-F238E27FC236}">
                    <a16:creationId xmlns:a16="http://schemas.microsoft.com/office/drawing/2014/main" id="{962A5DD6-FCE9-4A09-98CA-B201BD770971}"/>
                  </a:ext>
                </a:extLst>
              </p:cNvPr>
              <p:cNvSpPr/>
              <p:nvPr/>
            </p:nvSpPr>
            <p:spPr>
              <a:xfrm>
                <a:off x="1110946" y="3367652"/>
                <a:ext cx="112742" cy="184229"/>
              </a:xfrm>
              <a:custGeom>
                <a:avLst/>
                <a:gdLst>
                  <a:gd name="connsiteX0" fmla="*/ 74744 w 112742"/>
                  <a:gd name="connsiteY0" fmla="*/ 184229 h 184229"/>
                  <a:gd name="connsiteX1" fmla="*/ 70234 w 112742"/>
                  <a:gd name="connsiteY1" fmla="*/ 182491 h 184229"/>
                  <a:gd name="connsiteX2" fmla="*/ 1960 w 112742"/>
                  <a:gd name="connsiteY2" fmla="*/ 114221 h 184229"/>
                  <a:gd name="connsiteX3" fmla="*/ 6 w 112742"/>
                  <a:gd name="connsiteY3" fmla="*/ 109520 h 184229"/>
                  <a:gd name="connsiteX4" fmla="*/ 0 w 112742"/>
                  <a:gd name="connsiteY4" fmla="*/ 6667 h 184229"/>
                  <a:gd name="connsiteX5" fmla="*/ 6667 w 112742"/>
                  <a:gd name="connsiteY5" fmla="*/ 0 h 184229"/>
                  <a:gd name="connsiteX6" fmla="*/ 6702 w 112742"/>
                  <a:gd name="connsiteY6" fmla="*/ 0 h 184229"/>
                  <a:gd name="connsiteX7" fmla="*/ 112743 w 112742"/>
                  <a:gd name="connsiteY7" fmla="*/ 105745 h 184229"/>
                  <a:gd name="connsiteX8" fmla="*/ 80639 w 112742"/>
                  <a:gd name="connsiteY8" fmla="*/ 181640 h 184229"/>
                  <a:gd name="connsiteX9" fmla="*/ 79730 w 112742"/>
                  <a:gd name="connsiteY9" fmla="*/ 182454 h 184229"/>
                  <a:gd name="connsiteX10" fmla="*/ 74744 w 112742"/>
                  <a:gd name="connsiteY10" fmla="*/ 184229 h 184229"/>
                  <a:gd name="connsiteX11" fmla="*/ 13335 w 112742"/>
                  <a:gd name="connsiteY11" fmla="*/ 106740 h 184229"/>
                  <a:gd name="connsiteX12" fmla="*/ 74949 w 112742"/>
                  <a:gd name="connsiteY12" fmla="*/ 168350 h 184229"/>
                  <a:gd name="connsiteX13" fmla="*/ 99413 w 112742"/>
                  <a:gd name="connsiteY13" fmla="*/ 105745 h 184229"/>
                  <a:gd name="connsiteX14" fmla="*/ 13337 w 112742"/>
                  <a:gd name="connsiteY14" fmla="*/ 13529 h 184229"/>
                  <a:gd name="connsiteX15" fmla="*/ 13337 w 112742"/>
                  <a:gd name="connsiteY15" fmla="*/ 106740 h 18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2742" h="184229">
                    <a:moveTo>
                      <a:pt x="74744" y="184229"/>
                    </a:moveTo>
                    <a:cubicBezTo>
                      <a:pt x="73064" y="184229"/>
                      <a:pt x="71421" y="183676"/>
                      <a:pt x="70234" y="182491"/>
                    </a:cubicBezTo>
                    <a:lnTo>
                      <a:pt x="1960" y="114221"/>
                    </a:lnTo>
                    <a:cubicBezTo>
                      <a:pt x="714" y="112971"/>
                      <a:pt x="10" y="111285"/>
                      <a:pt x="6" y="109520"/>
                    </a:cubicBezTo>
                    <a:lnTo>
                      <a:pt x="0" y="6667"/>
                    </a:lnTo>
                    <a:cubicBezTo>
                      <a:pt x="0" y="2982"/>
                      <a:pt x="2986" y="0"/>
                      <a:pt x="6667" y="0"/>
                    </a:cubicBezTo>
                    <a:cubicBezTo>
                      <a:pt x="6677" y="0"/>
                      <a:pt x="6693" y="0"/>
                      <a:pt x="6702" y="0"/>
                    </a:cubicBezTo>
                    <a:cubicBezTo>
                      <a:pt x="65324" y="0"/>
                      <a:pt x="112743" y="47436"/>
                      <a:pt x="112743" y="105745"/>
                    </a:cubicBezTo>
                    <a:cubicBezTo>
                      <a:pt x="112743" y="134587"/>
                      <a:pt x="101342" y="161542"/>
                      <a:pt x="80639" y="181640"/>
                    </a:cubicBezTo>
                    <a:cubicBezTo>
                      <a:pt x="80349" y="181920"/>
                      <a:pt x="80041" y="182187"/>
                      <a:pt x="79730" y="182454"/>
                    </a:cubicBezTo>
                    <a:cubicBezTo>
                      <a:pt x="78367" y="183604"/>
                      <a:pt x="76535" y="184229"/>
                      <a:pt x="74744" y="184229"/>
                    </a:cubicBezTo>
                    <a:close/>
                    <a:moveTo>
                      <a:pt x="13335" y="106740"/>
                    </a:moveTo>
                    <a:lnTo>
                      <a:pt x="74949" y="168350"/>
                    </a:lnTo>
                    <a:cubicBezTo>
                      <a:pt x="90828" y="151116"/>
                      <a:pt x="99413" y="129144"/>
                      <a:pt x="99413" y="105745"/>
                    </a:cubicBezTo>
                    <a:cubicBezTo>
                      <a:pt x="99413" y="56909"/>
                      <a:pt x="61353" y="16796"/>
                      <a:pt x="13337" y="13529"/>
                    </a:cubicBezTo>
                    <a:lnTo>
                      <a:pt x="13337" y="106740"/>
                    </a:lnTo>
                    <a:close/>
                  </a:path>
                </a:pathLst>
              </a:custGeom>
              <a:solidFill>
                <a:schemeClr val="accent1"/>
              </a:solidFill>
              <a:ln w="205" cap="flat">
                <a:noFill/>
                <a:prstDash val="solid"/>
                <a:miter/>
              </a:ln>
            </p:spPr>
            <p:txBody>
              <a:bodyPr rtlCol="0" anchor="ctr"/>
              <a:lstStyle/>
              <a:p>
                <a:endParaRPr lang="en-GB" dirty="0"/>
              </a:p>
            </p:txBody>
          </p:sp>
          <p:sp>
            <p:nvSpPr>
              <p:cNvPr id="612" name="Freihandform: Form 611">
                <a:extLst>
                  <a:ext uri="{FF2B5EF4-FFF2-40B4-BE49-F238E27FC236}">
                    <a16:creationId xmlns:a16="http://schemas.microsoft.com/office/drawing/2014/main" id="{C8FC8ADA-517B-4D04-9AEA-F9FB19854E31}"/>
                  </a:ext>
                </a:extLst>
              </p:cNvPr>
              <p:cNvSpPr/>
              <p:nvPr/>
            </p:nvSpPr>
            <p:spPr>
              <a:xfrm>
                <a:off x="1011002" y="3371707"/>
                <a:ext cx="157600" cy="208619"/>
              </a:xfrm>
              <a:custGeom>
                <a:avLst/>
                <a:gdLst>
                  <a:gd name="connsiteX0" fmla="*/ 106343 w 157600"/>
                  <a:gd name="connsiteY0" fmla="*/ 208619 h 208619"/>
                  <a:gd name="connsiteX1" fmla="*/ 0 w 157600"/>
                  <a:gd name="connsiteY1" fmla="*/ 102274 h 208619"/>
                  <a:gd name="connsiteX2" fmla="*/ 76128 w 157600"/>
                  <a:gd name="connsiteY2" fmla="*/ 279 h 208619"/>
                  <a:gd name="connsiteX3" fmla="*/ 84412 w 157600"/>
                  <a:gd name="connsiteY3" fmla="*/ 4779 h 208619"/>
                  <a:gd name="connsiteX4" fmla="*/ 79911 w 157600"/>
                  <a:gd name="connsiteY4" fmla="*/ 13068 h 208619"/>
                  <a:gd name="connsiteX5" fmla="*/ 13333 w 157600"/>
                  <a:gd name="connsiteY5" fmla="*/ 102276 h 208619"/>
                  <a:gd name="connsiteX6" fmla="*/ 106343 w 157600"/>
                  <a:gd name="connsiteY6" fmla="*/ 195286 h 208619"/>
                  <a:gd name="connsiteX7" fmla="*/ 147943 w 157600"/>
                  <a:gd name="connsiteY7" fmla="*/ 185487 h 208619"/>
                  <a:gd name="connsiteX8" fmla="*/ 156892 w 157600"/>
                  <a:gd name="connsiteY8" fmla="*/ 188457 h 208619"/>
                  <a:gd name="connsiteX9" fmla="*/ 153921 w 157600"/>
                  <a:gd name="connsiteY9" fmla="*/ 197402 h 208619"/>
                  <a:gd name="connsiteX10" fmla="*/ 106343 w 157600"/>
                  <a:gd name="connsiteY10" fmla="*/ 208619 h 20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7600" h="208619">
                    <a:moveTo>
                      <a:pt x="106343" y="208619"/>
                    </a:moveTo>
                    <a:cubicBezTo>
                      <a:pt x="47705" y="208619"/>
                      <a:pt x="0" y="160916"/>
                      <a:pt x="0" y="102274"/>
                    </a:cubicBezTo>
                    <a:cubicBezTo>
                      <a:pt x="0" y="55488"/>
                      <a:pt x="31306" y="13541"/>
                      <a:pt x="76128" y="279"/>
                    </a:cubicBezTo>
                    <a:cubicBezTo>
                      <a:pt x="79652" y="-775"/>
                      <a:pt x="83364" y="1250"/>
                      <a:pt x="84412" y="4779"/>
                    </a:cubicBezTo>
                    <a:cubicBezTo>
                      <a:pt x="85457" y="8314"/>
                      <a:pt x="83442" y="12019"/>
                      <a:pt x="79911" y="13068"/>
                    </a:cubicBezTo>
                    <a:cubicBezTo>
                      <a:pt x="40711" y="24670"/>
                      <a:pt x="13333" y="61351"/>
                      <a:pt x="13333" y="102276"/>
                    </a:cubicBezTo>
                    <a:cubicBezTo>
                      <a:pt x="13333" y="153561"/>
                      <a:pt x="55056" y="195286"/>
                      <a:pt x="106343" y="195286"/>
                    </a:cubicBezTo>
                    <a:cubicBezTo>
                      <a:pt x="120976" y="195286"/>
                      <a:pt x="134970" y="191991"/>
                      <a:pt x="147943" y="185487"/>
                    </a:cubicBezTo>
                    <a:cubicBezTo>
                      <a:pt x="151241" y="183828"/>
                      <a:pt x="155241" y="185169"/>
                      <a:pt x="156892" y="188457"/>
                    </a:cubicBezTo>
                    <a:cubicBezTo>
                      <a:pt x="158543" y="191751"/>
                      <a:pt x="157211" y="195755"/>
                      <a:pt x="153921" y="197402"/>
                    </a:cubicBezTo>
                    <a:cubicBezTo>
                      <a:pt x="139074" y="204844"/>
                      <a:pt x="123067" y="208619"/>
                      <a:pt x="106343" y="208619"/>
                    </a:cubicBezTo>
                    <a:close/>
                  </a:path>
                </a:pathLst>
              </a:custGeom>
              <a:solidFill>
                <a:schemeClr val="accent1"/>
              </a:solidFill>
              <a:ln w="205" cap="flat">
                <a:noFill/>
                <a:prstDash val="solid"/>
                <a:miter/>
              </a:ln>
            </p:spPr>
            <p:txBody>
              <a:bodyPr rtlCol="0" anchor="ctr"/>
              <a:lstStyle/>
              <a:p>
                <a:endParaRPr lang="en-GB" dirty="0"/>
              </a:p>
            </p:txBody>
          </p:sp>
        </p:grpSp>
      </p:grpSp>
      <p:sp>
        <p:nvSpPr>
          <p:cNvPr id="620" name="TextBox 1405">
            <a:extLst>
              <a:ext uri="{FF2B5EF4-FFF2-40B4-BE49-F238E27FC236}">
                <a16:creationId xmlns:a16="http://schemas.microsoft.com/office/drawing/2014/main" id="{A5C2351B-66E1-4DE9-ABCB-1911333A2AE0}"/>
              </a:ext>
            </a:extLst>
          </p:cNvPr>
          <p:cNvSpPr txBox="1"/>
          <p:nvPr/>
        </p:nvSpPr>
        <p:spPr>
          <a:xfrm>
            <a:off x="596881" y="3723675"/>
            <a:ext cx="394339" cy="215444"/>
          </a:xfrm>
          <a:prstGeom prst="rect">
            <a:avLst/>
          </a:prstGeom>
          <a:noFill/>
          <a:effectLst/>
        </p:spPr>
        <p:txBody>
          <a:bodyPr wrap="none" lIns="0" tIns="0" rIns="0" bIns="0" rtlCol="0" anchor="t">
            <a:spAutoFit/>
          </a:bodyPr>
          <a:lstStyle/>
          <a:p>
            <a:pPr algn="ctr"/>
            <a:r>
              <a:rPr lang="en-GB" sz="700" dirty="0">
                <a:solidFill>
                  <a:schemeClr val="tx2"/>
                </a:solidFill>
              </a:rPr>
              <a:t>Marketing</a:t>
            </a:r>
            <a:br>
              <a:rPr lang="en-GB" sz="700" dirty="0">
                <a:solidFill>
                  <a:schemeClr val="tx2"/>
                </a:solidFill>
              </a:rPr>
            </a:br>
            <a:r>
              <a:rPr lang="en-GB" sz="700" dirty="0">
                <a:solidFill>
                  <a:schemeClr val="tx2"/>
                </a:solidFill>
              </a:rPr>
              <a:t>analysis</a:t>
            </a:r>
          </a:p>
        </p:txBody>
      </p:sp>
      <p:grpSp>
        <p:nvGrpSpPr>
          <p:cNvPr id="43" name="Group 42">
            <a:extLst>
              <a:ext uri="{FF2B5EF4-FFF2-40B4-BE49-F238E27FC236}">
                <a16:creationId xmlns:a16="http://schemas.microsoft.com/office/drawing/2014/main" id="{4F1559F0-B9FE-6FDC-9613-0325612D295D}"/>
              </a:ext>
            </a:extLst>
          </p:cNvPr>
          <p:cNvGrpSpPr/>
          <p:nvPr/>
        </p:nvGrpSpPr>
        <p:grpSpPr>
          <a:xfrm>
            <a:off x="3680110" y="3273397"/>
            <a:ext cx="500483" cy="432000"/>
            <a:chOff x="3680110" y="3273397"/>
            <a:chExt cx="500483" cy="432000"/>
          </a:xfrm>
        </p:grpSpPr>
        <p:grpSp>
          <p:nvGrpSpPr>
            <p:cNvPr id="622" name="Grafik 348">
              <a:extLst>
                <a:ext uri="{FF2B5EF4-FFF2-40B4-BE49-F238E27FC236}">
                  <a16:creationId xmlns:a16="http://schemas.microsoft.com/office/drawing/2014/main" id="{AC7A0159-80F5-4684-AE31-E965C159F9D5}"/>
                </a:ext>
              </a:extLst>
            </p:cNvPr>
            <p:cNvGrpSpPr/>
            <p:nvPr/>
          </p:nvGrpSpPr>
          <p:grpSpPr>
            <a:xfrm>
              <a:off x="3680110" y="3273397"/>
              <a:ext cx="356570" cy="432000"/>
              <a:chOff x="3384659" y="3340165"/>
              <a:chExt cx="346680" cy="420018"/>
            </a:xfrm>
            <a:solidFill>
              <a:schemeClr val="accent1"/>
            </a:solidFill>
          </p:grpSpPr>
          <p:grpSp>
            <p:nvGrpSpPr>
              <p:cNvPr id="629" name="Grafik 348">
                <a:extLst>
                  <a:ext uri="{FF2B5EF4-FFF2-40B4-BE49-F238E27FC236}">
                    <a16:creationId xmlns:a16="http://schemas.microsoft.com/office/drawing/2014/main" id="{DCEF1A6A-1C08-4314-B6DE-091F388E29CB}"/>
                  </a:ext>
                </a:extLst>
              </p:cNvPr>
              <p:cNvGrpSpPr/>
              <p:nvPr/>
            </p:nvGrpSpPr>
            <p:grpSpPr>
              <a:xfrm>
                <a:off x="3384659" y="3340165"/>
                <a:ext cx="346680" cy="420018"/>
                <a:chOff x="3384659" y="3340165"/>
                <a:chExt cx="346680" cy="420018"/>
              </a:xfrm>
              <a:solidFill>
                <a:schemeClr val="accent1"/>
              </a:solidFill>
            </p:grpSpPr>
            <p:sp>
              <p:nvSpPr>
                <p:cNvPr id="631" name="Freihandform: Form 630">
                  <a:extLst>
                    <a:ext uri="{FF2B5EF4-FFF2-40B4-BE49-F238E27FC236}">
                      <a16:creationId xmlns:a16="http://schemas.microsoft.com/office/drawing/2014/main" id="{5F808953-2D6C-4A4A-BD95-FBF24CD2B093}"/>
                    </a:ext>
                  </a:extLst>
                </p:cNvPr>
                <p:cNvSpPr/>
                <p:nvPr/>
              </p:nvSpPr>
              <p:spPr>
                <a:xfrm>
                  <a:off x="3404658" y="3573505"/>
                  <a:ext cx="80011" cy="146661"/>
                </a:xfrm>
                <a:custGeom>
                  <a:avLst/>
                  <a:gdLst>
                    <a:gd name="connsiteX0" fmla="*/ 13346 w 80011"/>
                    <a:gd name="connsiteY0" fmla="*/ 146662 h 146661"/>
                    <a:gd name="connsiteX1" fmla="*/ 6663 w 80011"/>
                    <a:gd name="connsiteY1" fmla="*/ 146662 h 146661"/>
                    <a:gd name="connsiteX2" fmla="*/ 0 w 80011"/>
                    <a:gd name="connsiteY2" fmla="*/ 139999 h 146661"/>
                    <a:gd name="connsiteX3" fmla="*/ 0 w 80011"/>
                    <a:gd name="connsiteY3" fmla="*/ 6667 h 146661"/>
                    <a:gd name="connsiteX4" fmla="*/ 6663 w 80011"/>
                    <a:gd name="connsiteY4" fmla="*/ 0 h 146661"/>
                    <a:gd name="connsiteX5" fmla="*/ 73349 w 80011"/>
                    <a:gd name="connsiteY5" fmla="*/ 0 h 146661"/>
                    <a:gd name="connsiteX6" fmla="*/ 80012 w 80011"/>
                    <a:gd name="connsiteY6" fmla="*/ 6667 h 146661"/>
                    <a:gd name="connsiteX7" fmla="*/ 73349 w 80011"/>
                    <a:gd name="connsiteY7" fmla="*/ 13333 h 146661"/>
                    <a:gd name="connsiteX8" fmla="*/ 13346 w 80011"/>
                    <a:gd name="connsiteY8" fmla="*/ 13333 h 146661"/>
                    <a:gd name="connsiteX9" fmla="*/ 13346 w 80011"/>
                    <a:gd name="connsiteY9" fmla="*/ 133337 h 146661"/>
                    <a:gd name="connsiteX10" fmla="*/ 20008 w 80011"/>
                    <a:gd name="connsiteY10" fmla="*/ 139999 h 146661"/>
                    <a:gd name="connsiteX11" fmla="*/ 13346 w 80011"/>
                    <a:gd name="connsiteY11" fmla="*/ 146662 h 14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011" h="146661">
                      <a:moveTo>
                        <a:pt x="13346" y="146662"/>
                      </a:moveTo>
                      <a:lnTo>
                        <a:pt x="6663" y="146662"/>
                      </a:lnTo>
                      <a:cubicBezTo>
                        <a:pt x="2982" y="146662"/>
                        <a:pt x="0" y="143680"/>
                        <a:pt x="0" y="139999"/>
                      </a:cubicBezTo>
                      <a:lnTo>
                        <a:pt x="0" y="6667"/>
                      </a:lnTo>
                      <a:cubicBezTo>
                        <a:pt x="0" y="2982"/>
                        <a:pt x="2982" y="0"/>
                        <a:pt x="6663" y="0"/>
                      </a:cubicBezTo>
                      <a:lnTo>
                        <a:pt x="73349" y="0"/>
                      </a:lnTo>
                      <a:cubicBezTo>
                        <a:pt x="77030" y="0"/>
                        <a:pt x="80012" y="2982"/>
                        <a:pt x="80012" y="6667"/>
                      </a:cubicBezTo>
                      <a:cubicBezTo>
                        <a:pt x="80012" y="10352"/>
                        <a:pt x="77030" y="13333"/>
                        <a:pt x="73349" y="13333"/>
                      </a:cubicBezTo>
                      <a:lnTo>
                        <a:pt x="13346" y="13333"/>
                      </a:lnTo>
                      <a:lnTo>
                        <a:pt x="13346" y="133337"/>
                      </a:lnTo>
                      <a:cubicBezTo>
                        <a:pt x="17026" y="133337"/>
                        <a:pt x="20008" y="136318"/>
                        <a:pt x="20008" y="139999"/>
                      </a:cubicBezTo>
                      <a:cubicBezTo>
                        <a:pt x="20008" y="143680"/>
                        <a:pt x="17026" y="146662"/>
                        <a:pt x="13346" y="146662"/>
                      </a:cubicBezTo>
                      <a:close/>
                    </a:path>
                  </a:pathLst>
                </a:custGeom>
                <a:solidFill>
                  <a:schemeClr val="accent1"/>
                </a:solidFill>
                <a:ln w="205" cap="flat">
                  <a:noFill/>
                  <a:prstDash val="solid"/>
                  <a:miter/>
                </a:ln>
              </p:spPr>
              <p:txBody>
                <a:bodyPr rtlCol="0" anchor="ctr"/>
                <a:lstStyle/>
                <a:p>
                  <a:endParaRPr lang="en-GB" dirty="0"/>
                </a:p>
              </p:txBody>
            </p:sp>
            <p:sp>
              <p:nvSpPr>
                <p:cNvPr id="632" name="Freihandform: Form 631">
                  <a:extLst>
                    <a:ext uri="{FF2B5EF4-FFF2-40B4-BE49-F238E27FC236}">
                      <a16:creationId xmlns:a16="http://schemas.microsoft.com/office/drawing/2014/main" id="{D365F323-336A-4F8A-8FCE-B908989E6BB3}"/>
                    </a:ext>
                  </a:extLst>
                </p:cNvPr>
                <p:cNvSpPr/>
                <p:nvPr/>
              </p:nvSpPr>
              <p:spPr>
                <a:xfrm>
                  <a:off x="3624666" y="3573503"/>
                  <a:ext cx="20008" cy="13333"/>
                </a:xfrm>
                <a:custGeom>
                  <a:avLst/>
                  <a:gdLst>
                    <a:gd name="connsiteX0" fmla="*/ 13345 w 20008"/>
                    <a:gd name="connsiteY0" fmla="*/ 13333 h 13333"/>
                    <a:gd name="connsiteX1" fmla="*/ 6662 w 20008"/>
                    <a:gd name="connsiteY1" fmla="*/ 13333 h 13333"/>
                    <a:gd name="connsiteX2" fmla="*/ 0 w 20008"/>
                    <a:gd name="connsiteY2" fmla="*/ 6667 h 13333"/>
                    <a:gd name="connsiteX3" fmla="*/ 6662 w 20008"/>
                    <a:gd name="connsiteY3" fmla="*/ 0 h 13333"/>
                    <a:gd name="connsiteX4" fmla="*/ 13345 w 20008"/>
                    <a:gd name="connsiteY4" fmla="*/ 0 h 13333"/>
                    <a:gd name="connsiteX5" fmla="*/ 20008 w 20008"/>
                    <a:gd name="connsiteY5" fmla="*/ 6667 h 13333"/>
                    <a:gd name="connsiteX6" fmla="*/ 13345 w 20008"/>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08" h="13333">
                      <a:moveTo>
                        <a:pt x="13345" y="13333"/>
                      </a:moveTo>
                      <a:lnTo>
                        <a:pt x="6662" y="13333"/>
                      </a:lnTo>
                      <a:cubicBezTo>
                        <a:pt x="2982" y="13333"/>
                        <a:pt x="0" y="10352"/>
                        <a:pt x="0" y="6667"/>
                      </a:cubicBezTo>
                      <a:cubicBezTo>
                        <a:pt x="0" y="2982"/>
                        <a:pt x="2982" y="0"/>
                        <a:pt x="6662" y="0"/>
                      </a:cubicBezTo>
                      <a:lnTo>
                        <a:pt x="13345" y="0"/>
                      </a:lnTo>
                      <a:cubicBezTo>
                        <a:pt x="17026" y="0"/>
                        <a:pt x="20008" y="2982"/>
                        <a:pt x="20008" y="6667"/>
                      </a:cubicBezTo>
                      <a:cubicBezTo>
                        <a:pt x="20008" y="10352"/>
                        <a:pt x="17026" y="13333"/>
                        <a:pt x="13345" y="13333"/>
                      </a:cubicBezTo>
                      <a:close/>
                    </a:path>
                  </a:pathLst>
                </a:custGeom>
                <a:solidFill>
                  <a:schemeClr val="accent1"/>
                </a:solidFill>
                <a:ln w="205" cap="flat">
                  <a:noFill/>
                  <a:prstDash val="solid"/>
                  <a:miter/>
                </a:ln>
              </p:spPr>
              <p:txBody>
                <a:bodyPr rtlCol="0" anchor="ctr"/>
                <a:lstStyle/>
                <a:p>
                  <a:endParaRPr lang="en-GB" dirty="0"/>
                </a:p>
              </p:txBody>
            </p:sp>
            <p:sp>
              <p:nvSpPr>
                <p:cNvPr id="633" name="Freihandform: Form 632">
                  <a:extLst>
                    <a:ext uri="{FF2B5EF4-FFF2-40B4-BE49-F238E27FC236}">
                      <a16:creationId xmlns:a16="http://schemas.microsoft.com/office/drawing/2014/main" id="{638A4312-CCE0-48B1-89E6-20D0F83F042C}"/>
                    </a:ext>
                  </a:extLst>
                </p:cNvPr>
                <p:cNvSpPr/>
                <p:nvPr/>
              </p:nvSpPr>
              <p:spPr>
                <a:xfrm>
                  <a:off x="3671324" y="3600172"/>
                  <a:ext cx="40016" cy="119995"/>
                </a:xfrm>
                <a:custGeom>
                  <a:avLst/>
                  <a:gdLst>
                    <a:gd name="connsiteX0" fmla="*/ 33354 w 40016"/>
                    <a:gd name="connsiteY0" fmla="*/ 119995 h 119995"/>
                    <a:gd name="connsiteX1" fmla="*/ 6683 w 40016"/>
                    <a:gd name="connsiteY1" fmla="*/ 119995 h 119995"/>
                    <a:gd name="connsiteX2" fmla="*/ 0 w 40016"/>
                    <a:gd name="connsiteY2" fmla="*/ 113333 h 119995"/>
                    <a:gd name="connsiteX3" fmla="*/ 6683 w 40016"/>
                    <a:gd name="connsiteY3" fmla="*/ 106670 h 119995"/>
                    <a:gd name="connsiteX4" fmla="*/ 26671 w 40016"/>
                    <a:gd name="connsiteY4" fmla="*/ 106670 h 119995"/>
                    <a:gd name="connsiteX5" fmla="*/ 26671 w 40016"/>
                    <a:gd name="connsiteY5" fmla="*/ 6667 h 119995"/>
                    <a:gd name="connsiteX6" fmla="*/ 33354 w 40016"/>
                    <a:gd name="connsiteY6" fmla="*/ 0 h 119995"/>
                    <a:gd name="connsiteX7" fmla="*/ 40016 w 40016"/>
                    <a:gd name="connsiteY7" fmla="*/ 6667 h 119995"/>
                    <a:gd name="connsiteX8" fmla="*/ 40016 w 40016"/>
                    <a:gd name="connsiteY8" fmla="*/ 113333 h 119995"/>
                    <a:gd name="connsiteX9" fmla="*/ 33354 w 40016"/>
                    <a:gd name="connsiteY9" fmla="*/ 119995 h 11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16" h="119995">
                      <a:moveTo>
                        <a:pt x="33354" y="119995"/>
                      </a:moveTo>
                      <a:lnTo>
                        <a:pt x="6683" y="119995"/>
                      </a:lnTo>
                      <a:cubicBezTo>
                        <a:pt x="2982" y="119995"/>
                        <a:pt x="0" y="117014"/>
                        <a:pt x="0" y="113333"/>
                      </a:cubicBezTo>
                      <a:cubicBezTo>
                        <a:pt x="0" y="109652"/>
                        <a:pt x="2982" y="106670"/>
                        <a:pt x="6683" y="106670"/>
                      </a:cubicBezTo>
                      <a:lnTo>
                        <a:pt x="26671" y="106670"/>
                      </a:lnTo>
                      <a:lnTo>
                        <a:pt x="26671" y="6667"/>
                      </a:lnTo>
                      <a:cubicBezTo>
                        <a:pt x="26671" y="2982"/>
                        <a:pt x="29652" y="0"/>
                        <a:pt x="33354" y="0"/>
                      </a:cubicBezTo>
                      <a:cubicBezTo>
                        <a:pt x="37035" y="0"/>
                        <a:pt x="40016" y="2982"/>
                        <a:pt x="40016" y="6667"/>
                      </a:cubicBezTo>
                      <a:lnTo>
                        <a:pt x="40016" y="113333"/>
                      </a:lnTo>
                      <a:cubicBezTo>
                        <a:pt x="40016" y="117014"/>
                        <a:pt x="37035" y="119995"/>
                        <a:pt x="33354" y="119995"/>
                      </a:cubicBezTo>
                      <a:close/>
                    </a:path>
                  </a:pathLst>
                </a:custGeom>
                <a:solidFill>
                  <a:schemeClr val="accent1"/>
                </a:solidFill>
                <a:ln w="205" cap="flat">
                  <a:noFill/>
                  <a:prstDash val="solid"/>
                  <a:miter/>
                </a:ln>
              </p:spPr>
              <p:txBody>
                <a:bodyPr rtlCol="0" anchor="ctr"/>
                <a:lstStyle/>
                <a:p>
                  <a:endParaRPr lang="en-GB" dirty="0"/>
                </a:p>
              </p:txBody>
            </p:sp>
            <p:sp>
              <p:nvSpPr>
                <p:cNvPr id="634" name="Freihandform: Form 633">
                  <a:extLst>
                    <a:ext uri="{FF2B5EF4-FFF2-40B4-BE49-F238E27FC236}">
                      <a16:creationId xmlns:a16="http://schemas.microsoft.com/office/drawing/2014/main" id="{84660626-66CA-4C10-A301-E76C61AB7A7F}"/>
                    </a:ext>
                  </a:extLst>
                </p:cNvPr>
                <p:cNvSpPr/>
                <p:nvPr/>
              </p:nvSpPr>
              <p:spPr>
                <a:xfrm>
                  <a:off x="3518004" y="3706842"/>
                  <a:ext cx="60001" cy="13333"/>
                </a:xfrm>
                <a:custGeom>
                  <a:avLst/>
                  <a:gdLst>
                    <a:gd name="connsiteX0" fmla="*/ 0 w 60001"/>
                    <a:gd name="connsiteY0" fmla="*/ 0 h 13333"/>
                    <a:gd name="connsiteX1" fmla="*/ 60002 w 60001"/>
                    <a:gd name="connsiteY1" fmla="*/ 0 h 13333"/>
                    <a:gd name="connsiteX2" fmla="*/ 60002 w 60001"/>
                    <a:gd name="connsiteY2" fmla="*/ 13333 h 13333"/>
                    <a:gd name="connsiteX3" fmla="*/ 0 w 60001"/>
                    <a:gd name="connsiteY3" fmla="*/ 13333 h 13333"/>
                  </a:gdLst>
                  <a:ahLst/>
                  <a:cxnLst>
                    <a:cxn ang="0">
                      <a:pos x="connsiteX0" y="connsiteY0"/>
                    </a:cxn>
                    <a:cxn ang="0">
                      <a:pos x="connsiteX1" y="connsiteY1"/>
                    </a:cxn>
                    <a:cxn ang="0">
                      <a:pos x="connsiteX2" y="connsiteY2"/>
                    </a:cxn>
                    <a:cxn ang="0">
                      <a:pos x="connsiteX3" y="connsiteY3"/>
                    </a:cxn>
                  </a:cxnLst>
                  <a:rect l="l" t="t" r="r" b="b"/>
                  <a:pathLst>
                    <a:path w="60001" h="13333">
                      <a:moveTo>
                        <a:pt x="0" y="0"/>
                      </a:moveTo>
                      <a:lnTo>
                        <a:pt x="60002" y="0"/>
                      </a:lnTo>
                      <a:lnTo>
                        <a:pt x="60002" y="13333"/>
                      </a:lnTo>
                      <a:lnTo>
                        <a:pt x="0" y="13333"/>
                      </a:lnTo>
                      <a:close/>
                    </a:path>
                  </a:pathLst>
                </a:custGeom>
                <a:solidFill>
                  <a:schemeClr val="accent1"/>
                </a:solidFill>
                <a:ln w="205" cap="flat">
                  <a:noFill/>
                  <a:prstDash val="solid"/>
                  <a:miter/>
                </a:ln>
              </p:spPr>
              <p:txBody>
                <a:bodyPr rtlCol="0" anchor="ctr"/>
                <a:lstStyle/>
                <a:p>
                  <a:endParaRPr lang="en-GB" dirty="0"/>
                </a:p>
              </p:txBody>
            </p:sp>
            <p:sp>
              <p:nvSpPr>
                <p:cNvPr id="635" name="Freihandform: Form 634">
                  <a:extLst>
                    <a:ext uri="{FF2B5EF4-FFF2-40B4-BE49-F238E27FC236}">
                      <a16:creationId xmlns:a16="http://schemas.microsoft.com/office/drawing/2014/main" id="{10A8E18F-36EB-45AD-923B-09FC986B7091}"/>
                    </a:ext>
                  </a:extLst>
                </p:cNvPr>
                <p:cNvSpPr/>
                <p:nvPr/>
              </p:nvSpPr>
              <p:spPr>
                <a:xfrm>
                  <a:off x="3431329" y="3666838"/>
                  <a:ext cx="93336" cy="93345"/>
                </a:xfrm>
                <a:custGeom>
                  <a:avLst/>
                  <a:gdLst>
                    <a:gd name="connsiteX0" fmla="*/ 46679 w 93336"/>
                    <a:gd name="connsiteY0" fmla="*/ 93345 h 93345"/>
                    <a:gd name="connsiteX1" fmla="*/ 0 w 93336"/>
                    <a:gd name="connsiteY1" fmla="*/ 46667 h 93345"/>
                    <a:gd name="connsiteX2" fmla="*/ 46679 w 93336"/>
                    <a:gd name="connsiteY2" fmla="*/ 0 h 93345"/>
                    <a:gd name="connsiteX3" fmla="*/ 93337 w 93336"/>
                    <a:gd name="connsiteY3" fmla="*/ 46667 h 93345"/>
                    <a:gd name="connsiteX4" fmla="*/ 46679 w 93336"/>
                    <a:gd name="connsiteY4" fmla="*/ 93345 h 93345"/>
                    <a:gd name="connsiteX5" fmla="*/ 46679 w 93336"/>
                    <a:gd name="connsiteY5" fmla="*/ 13335 h 93345"/>
                    <a:gd name="connsiteX6" fmla="*/ 13325 w 93336"/>
                    <a:gd name="connsiteY6" fmla="*/ 46667 h 93345"/>
                    <a:gd name="connsiteX7" fmla="*/ 46679 w 93336"/>
                    <a:gd name="connsiteY7" fmla="*/ 80000 h 93345"/>
                    <a:gd name="connsiteX8" fmla="*/ 80012 w 93336"/>
                    <a:gd name="connsiteY8" fmla="*/ 46667 h 93345"/>
                    <a:gd name="connsiteX9" fmla="*/ 46679 w 93336"/>
                    <a:gd name="connsiteY9" fmla="*/ 13335 h 9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36" h="93345">
                      <a:moveTo>
                        <a:pt x="46679" y="93345"/>
                      </a:moveTo>
                      <a:cubicBezTo>
                        <a:pt x="20933" y="93345"/>
                        <a:pt x="0" y="72391"/>
                        <a:pt x="0" y="46667"/>
                      </a:cubicBezTo>
                      <a:cubicBezTo>
                        <a:pt x="0" y="20942"/>
                        <a:pt x="20933" y="0"/>
                        <a:pt x="46679" y="0"/>
                      </a:cubicBezTo>
                      <a:cubicBezTo>
                        <a:pt x="72403" y="0"/>
                        <a:pt x="93337" y="20942"/>
                        <a:pt x="93337" y="46667"/>
                      </a:cubicBezTo>
                      <a:cubicBezTo>
                        <a:pt x="93337" y="72391"/>
                        <a:pt x="72403" y="93345"/>
                        <a:pt x="46679" y="93345"/>
                      </a:cubicBezTo>
                      <a:close/>
                      <a:moveTo>
                        <a:pt x="46679" y="13335"/>
                      </a:moveTo>
                      <a:cubicBezTo>
                        <a:pt x="28295" y="13335"/>
                        <a:pt x="13325" y="28283"/>
                        <a:pt x="13325" y="46667"/>
                      </a:cubicBezTo>
                      <a:cubicBezTo>
                        <a:pt x="13325" y="65050"/>
                        <a:pt x="28295" y="80000"/>
                        <a:pt x="46679" y="80000"/>
                      </a:cubicBezTo>
                      <a:cubicBezTo>
                        <a:pt x="65042" y="80000"/>
                        <a:pt x="80012" y="65050"/>
                        <a:pt x="80012" y="46667"/>
                      </a:cubicBezTo>
                      <a:cubicBezTo>
                        <a:pt x="80012" y="28283"/>
                        <a:pt x="65042" y="13335"/>
                        <a:pt x="46679" y="13335"/>
                      </a:cubicBezTo>
                      <a:close/>
                    </a:path>
                  </a:pathLst>
                </a:custGeom>
                <a:solidFill>
                  <a:schemeClr val="accent1"/>
                </a:solidFill>
                <a:ln w="205" cap="flat">
                  <a:noFill/>
                  <a:prstDash val="solid"/>
                  <a:miter/>
                </a:ln>
              </p:spPr>
              <p:txBody>
                <a:bodyPr rtlCol="0" anchor="ctr"/>
                <a:lstStyle/>
                <a:p>
                  <a:endParaRPr lang="en-GB" dirty="0"/>
                </a:p>
              </p:txBody>
            </p:sp>
            <p:sp>
              <p:nvSpPr>
                <p:cNvPr id="636" name="Freihandform: Form 635">
                  <a:extLst>
                    <a:ext uri="{FF2B5EF4-FFF2-40B4-BE49-F238E27FC236}">
                      <a16:creationId xmlns:a16="http://schemas.microsoft.com/office/drawing/2014/main" id="{9C26487E-A5DF-430F-86E9-69EC164781A0}"/>
                    </a:ext>
                  </a:extLst>
                </p:cNvPr>
                <p:cNvSpPr/>
                <p:nvPr/>
              </p:nvSpPr>
              <p:spPr>
                <a:xfrm>
                  <a:off x="3591332" y="3666838"/>
                  <a:ext cx="93337" cy="93345"/>
                </a:xfrm>
                <a:custGeom>
                  <a:avLst/>
                  <a:gdLst>
                    <a:gd name="connsiteX0" fmla="*/ 46679 w 93337"/>
                    <a:gd name="connsiteY0" fmla="*/ 93345 h 93345"/>
                    <a:gd name="connsiteX1" fmla="*/ 0 w 93337"/>
                    <a:gd name="connsiteY1" fmla="*/ 46667 h 93345"/>
                    <a:gd name="connsiteX2" fmla="*/ 46679 w 93337"/>
                    <a:gd name="connsiteY2" fmla="*/ 0 h 93345"/>
                    <a:gd name="connsiteX3" fmla="*/ 93337 w 93337"/>
                    <a:gd name="connsiteY3" fmla="*/ 46667 h 93345"/>
                    <a:gd name="connsiteX4" fmla="*/ 46679 w 93337"/>
                    <a:gd name="connsiteY4" fmla="*/ 93345 h 93345"/>
                    <a:gd name="connsiteX5" fmla="*/ 46679 w 93337"/>
                    <a:gd name="connsiteY5" fmla="*/ 13335 h 93345"/>
                    <a:gd name="connsiteX6" fmla="*/ 13325 w 93337"/>
                    <a:gd name="connsiteY6" fmla="*/ 46667 h 93345"/>
                    <a:gd name="connsiteX7" fmla="*/ 46679 w 93337"/>
                    <a:gd name="connsiteY7" fmla="*/ 80000 h 93345"/>
                    <a:gd name="connsiteX8" fmla="*/ 80012 w 93337"/>
                    <a:gd name="connsiteY8" fmla="*/ 46667 h 93345"/>
                    <a:gd name="connsiteX9" fmla="*/ 46679 w 93337"/>
                    <a:gd name="connsiteY9" fmla="*/ 13335 h 93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337" h="93345">
                      <a:moveTo>
                        <a:pt x="46679" y="93345"/>
                      </a:moveTo>
                      <a:cubicBezTo>
                        <a:pt x="20933" y="93345"/>
                        <a:pt x="0" y="72391"/>
                        <a:pt x="0" y="46667"/>
                      </a:cubicBezTo>
                      <a:cubicBezTo>
                        <a:pt x="0" y="20942"/>
                        <a:pt x="20933" y="0"/>
                        <a:pt x="46679" y="0"/>
                      </a:cubicBezTo>
                      <a:cubicBezTo>
                        <a:pt x="72404" y="0"/>
                        <a:pt x="93337" y="20942"/>
                        <a:pt x="93337" y="46667"/>
                      </a:cubicBezTo>
                      <a:cubicBezTo>
                        <a:pt x="93337" y="72391"/>
                        <a:pt x="72404" y="93345"/>
                        <a:pt x="46679" y="93345"/>
                      </a:cubicBezTo>
                      <a:close/>
                      <a:moveTo>
                        <a:pt x="46679" y="13335"/>
                      </a:moveTo>
                      <a:cubicBezTo>
                        <a:pt x="28295" y="13335"/>
                        <a:pt x="13325" y="28283"/>
                        <a:pt x="13325" y="46667"/>
                      </a:cubicBezTo>
                      <a:cubicBezTo>
                        <a:pt x="13325" y="65050"/>
                        <a:pt x="28295" y="80000"/>
                        <a:pt x="46679" y="80000"/>
                      </a:cubicBezTo>
                      <a:cubicBezTo>
                        <a:pt x="65042" y="80000"/>
                        <a:pt x="80012" y="65050"/>
                        <a:pt x="80012" y="46667"/>
                      </a:cubicBezTo>
                      <a:cubicBezTo>
                        <a:pt x="80012" y="28283"/>
                        <a:pt x="65042" y="13335"/>
                        <a:pt x="46679" y="13335"/>
                      </a:cubicBezTo>
                      <a:close/>
                    </a:path>
                  </a:pathLst>
                </a:custGeom>
                <a:solidFill>
                  <a:schemeClr val="accent1"/>
                </a:solidFill>
                <a:ln w="205" cap="flat">
                  <a:noFill/>
                  <a:prstDash val="solid"/>
                  <a:miter/>
                </a:ln>
              </p:spPr>
              <p:txBody>
                <a:bodyPr rtlCol="0" anchor="ctr"/>
                <a:lstStyle/>
                <a:p>
                  <a:endParaRPr lang="en-GB" dirty="0"/>
                </a:p>
              </p:txBody>
            </p:sp>
            <p:sp>
              <p:nvSpPr>
                <p:cNvPr id="637" name="Freihandform: Form 636">
                  <a:extLst>
                    <a:ext uri="{FF2B5EF4-FFF2-40B4-BE49-F238E27FC236}">
                      <a16:creationId xmlns:a16="http://schemas.microsoft.com/office/drawing/2014/main" id="{68ABED0B-9E77-4649-A669-AFCBBF25706A}"/>
                    </a:ext>
                  </a:extLst>
                </p:cNvPr>
                <p:cNvSpPr/>
                <p:nvPr/>
              </p:nvSpPr>
              <p:spPr>
                <a:xfrm>
                  <a:off x="3391333" y="3573503"/>
                  <a:ext cx="93336" cy="13333"/>
                </a:xfrm>
                <a:custGeom>
                  <a:avLst/>
                  <a:gdLst>
                    <a:gd name="connsiteX0" fmla="*/ 86674 w 93336"/>
                    <a:gd name="connsiteY0" fmla="*/ 13333 h 13333"/>
                    <a:gd name="connsiteX1" fmla="*/ 6662 w 93336"/>
                    <a:gd name="connsiteY1" fmla="*/ 13333 h 13333"/>
                    <a:gd name="connsiteX2" fmla="*/ 0 w 93336"/>
                    <a:gd name="connsiteY2" fmla="*/ 6667 h 13333"/>
                    <a:gd name="connsiteX3" fmla="*/ 6662 w 93336"/>
                    <a:gd name="connsiteY3" fmla="*/ 0 h 13333"/>
                    <a:gd name="connsiteX4" fmla="*/ 86674 w 93336"/>
                    <a:gd name="connsiteY4" fmla="*/ 0 h 13333"/>
                    <a:gd name="connsiteX5" fmla="*/ 93337 w 93336"/>
                    <a:gd name="connsiteY5" fmla="*/ 6667 h 13333"/>
                    <a:gd name="connsiteX6" fmla="*/ 86674 w 93336"/>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336" h="13333">
                      <a:moveTo>
                        <a:pt x="86674" y="13333"/>
                      </a:moveTo>
                      <a:lnTo>
                        <a:pt x="6662" y="13333"/>
                      </a:lnTo>
                      <a:cubicBezTo>
                        <a:pt x="2982" y="13333"/>
                        <a:pt x="0" y="10352"/>
                        <a:pt x="0" y="6667"/>
                      </a:cubicBezTo>
                      <a:cubicBezTo>
                        <a:pt x="0" y="2982"/>
                        <a:pt x="2982" y="0"/>
                        <a:pt x="6662" y="0"/>
                      </a:cubicBezTo>
                      <a:lnTo>
                        <a:pt x="86674" y="0"/>
                      </a:lnTo>
                      <a:cubicBezTo>
                        <a:pt x="90355" y="0"/>
                        <a:pt x="93337" y="2982"/>
                        <a:pt x="93337" y="6667"/>
                      </a:cubicBezTo>
                      <a:cubicBezTo>
                        <a:pt x="93337" y="10352"/>
                        <a:pt x="90355" y="13333"/>
                        <a:pt x="86674" y="13333"/>
                      </a:cubicBezTo>
                      <a:close/>
                    </a:path>
                  </a:pathLst>
                </a:custGeom>
                <a:solidFill>
                  <a:schemeClr val="accent1"/>
                </a:solidFill>
                <a:ln w="205" cap="flat">
                  <a:noFill/>
                  <a:prstDash val="solid"/>
                  <a:miter/>
                </a:ln>
              </p:spPr>
              <p:txBody>
                <a:bodyPr rtlCol="0" anchor="ctr"/>
                <a:lstStyle/>
                <a:p>
                  <a:endParaRPr lang="en-GB" dirty="0"/>
                </a:p>
              </p:txBody>
            </p:sp>
            <p:grpSp>
              <p:nvGrpSpPr>
                <p:cNvPr id="638" name="Grafik 348">
                  <a:extLst>
                    <a:ext uri="{FF2B5EF4-FFF2-40B4-BE49-F238E27FC236}">
                      <a16:creationId xmlns:a16="http://schemas.microsoft.com/office/drawing/2014/main" id="{6BBA430A-D9D0-4B33-975E-70F7D3150902}"/>
                    </a:ext>
                  </a:extLst>
                </p:cNvPr>
                <p:cNvGrpSpPr/>
                <p:nvPr/>
              </p:nvGrpSpPr>
              <p:grpSpPr>
                <a:xfrm>
                  <a:off x="3404658" y="3466835"/>
                  <a:ext cx="306681" cy="93335"/>
                  <a:chOff x="3404658" y="3466835"/>
                  <a:chExt cx="306681" cy="93335"/>
                </a:xfrm>
                <a:solidFill>
                  <a:schemeClr val="accent1"/>
                </a:solidFill>
              </p:grpSpPr>
              <p:sp>
                <p:nvSpPr>
                  <p:cNvPr id="646" name="Freihandform: Form 645">
                    <a:extLst>
                      <a:ext uri="{FF2B5EF4-FFF2-40B4-BE49-F238E27FC236}">
                        <a16:creationId xmlns:a16="http://schemas.microsoft.com/office/drawing/2014/main" id="{C5FD885D-8865-4947-82E6-3B8FEB26C1FA}"/>
                      </a:ext>
                    </a:extLst>
                  </p:cNvPr>
                  <p:cNvSpPr/>
                  <p:nvPr/>
                </p:nvSpPr>
                <p:spPr>
                  <a:xfrm>
                    <a:off x="3404658" y="3466835"/>
                    <a:ext cx="13345" cy="93335"/>
                  </a:xfrm>
                  <a:custGeom>
                    <a:avLst/>
                    <a:gdLst>
                      <a:gd name="connsiteX0" fmla="*/ 6663 w 13345"/>
                      <a:gd name="connsiteY0" fmla="*/ 93335 h 93335"/>
                      <a:gd name="connsiteX1" fmla="*/ 0 w 13345"/>
                      <a:gd name="connsiteY1" fmla="*/ 86668 h 93335"/>
                      <a:gd name="connsiteX2" fmla="*/ 0 w 13345"/>
                      <a:gd name="connsiteY2" fmla="*/ 6667 h 93335"/>
                      <a:gd name="connsiteX3" fmla="*/ 6663 w 13345"/>
                      <a:gd name="connsiteY3" fmla="*/ 0 h 93335"/>
                      <a:gd name="connsiteX4" fmla="*/ 13346 w 13345"/>
                      <a:gd name="connsiteY4" fmla="*/ 6667 h 93335"/>
                      <a:gd name="connsiteX5" fmla="*/ 13346 w 13345"/>
                      <a:gd name="connsiteY5" fmla="*/ 86668 h 93335"/>
                      <a:gd name="connsiteX6" fmla="*/ 6663 w 13345"/>
                      <a:gd name="connsiteY6" fmla="*/ 93335 h 9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5" h="93335">
                        <a:moveTo>
                          <a:pt x="6663" y="93335"/>
                        </a:moveTo>
                        <a:cubicBezTo>
                          <a:pt x="2982" y="93335"/>
                          <a:pt x="0" y="90353"/>
                          <a:pt x="0" y="86668"/>
                        </a:cubicBezTo>
                        <a:lnTo>
                          <a:pt x="0" y="6667"/>
                        </a:lnTo>
                        <a:cubicBezTo>
                          <a:pt x="0" y="2982"/>
                          <a:pt x="2982" y="0"/>
                          <a:pt x="6663" y="0"/>
                        </a:cubicBezTo>
                        <a:cubicBezTo>
                          <a:pt x="10364" y="0"/>
                          <a:pt x="13346" y="2982"/>
                          <a:pt x="13346" y="6667"/>
                        </a:cubicBezTo>
                        <a:lnTo>
                          <a:pt x="13346" y="86668"/>
                        </a:lnTo>
                        <a:cubicBezTo>
                          <a:pt x="13346" y="90353"/>
                          <a:pt x="10364" y="93335"/>
                          <a:pt x="6663" y="93335"/>
                        </a:cubicBezTo>
                        <a:close/>
                      </a:path>
                    </a:pathLst>
                  </a:custGeom>
                  <a:solidFill>
                    <a:schemeClr val="accent1"/>
                  </a:solidFill>
                  <a:ln w="205" cap="flat">
                    <a:noFill/>
                    <a:prstDash val="solid"/>
                    <a:miter/>
                  </a:ln>
                </p:spPr>
                <p:txBody>
                  <a:bodyPr rtlCol="0" anchor="ctr"/>
                  <a:lstStyle/>
                  <a:p>
                    <a:endParaRPr lang="en-GB" dirty="0"/>
                  </a:p>
                </p:txBody>
              </p:sp>
              <p:sp>
                <p:nvSpPr>
                  <p:cNvPr id="647" name="Freihandform: Form 646">
                    <a:extLst>
                      <a:ext uri="{FF2B5EF4-FFF2-40B4-BE49-F238E27FC236}">
                        <a16:creationId xmlns:a16="http://schemas.microsoft.com/office/drawing/2014/main" id="{EEDB44D5-4221-4EDA-BA2C-50A197323A13}"/>
                      </a:ext>
                    </a:extLst>
                  </p:cNvPr>
                  <p:cNvSpPr/>
                  <p:nvPr/>
                </p:nvSpPr>
                <p:spPr>
                  <a:xfrm>
                    <a:off x="3697994" y="3466835"/>
                    <a:ext cx="13345" cy="39999"/>
                  </a:xfrm>
                  <a:custGeom>
                    <a:avLst/>
                    <a:gdLst>
                      <a:gd name="connsiteX0" fmla="*/ 6683 w 13345"/>
                      <a:gd name="connsiteY0" fmla="*/ 40000 h 39999"/>
                      <a:gd name="connsiteX1" fmla="*/ 0 w 13345"/>
                      <a:gd name="connsiteY1" fmla="*/ 33333 h 39999"/>
                      <a:gd name="connsiteX2" fmla="*/ 0 w 13345"/>
                      <a:gd name="connsiteY2" fmla="*/ 6667 h 39999"/>
                      <a:gd name="connsiteX3" fmla="*/ 6683 w 13345"/>
                      <a:gd name="connsiteY3" fmla="*/ 0 h 39999"/>
                      <a:gd name="connsiteX4" fmla="*/ 13346 w 13345"/>
                      <a:gd name="connsiteY4" fmla="*/ 6667 h 39999"/>
                      <a:gd name="connsiteX5" fmla="*/ 13346 w 13345"/>
                      <a:gd name="connsiteY5" fmla="*/ 33333 h 39999"/>
                      <a:gd name="connsiteX6" fmla="*/ 6683 w 13345"/>
                      <a:gd name="connsiteY6" fmla="*/ 40000 h 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5" h="39999">
                        <a:moveTo>
                          <a:pt x="6683" y="40000"/>
                        </a:moveTo>
                        <a:cubicBezTo>
                          <a:pt x="2982" y="40000"/>
                          <a:pt x="0" y="37018"/>
                          <a:pt x="0" y="33333"/>
                        </a:cubicBezTo>
                        <a:lnTo>
                          <a:pt x="0" y="6667"/>
                        </a:lnTo>
                        <a:cubicBezTo>
                          <a:pt x="0" y="2982"/>
                          <a:pt x="2982" y="0"/>
                          <a:pt x="6683" y="0"/>
                        </a:cubicBezTo>
                        <a:cubicBezTo>
                          <a:pt x="10364" y="0"/>
                          <a:pt x="13346" y="2982"/>
                          <a:pt x="13346" y="6667"/>
                        </a:cubicBezTo>
                        <a:lnTo>
                          <a:pt x="13346" y="33333"/>
                        </a:lnTo>
                        <a:cubicBezTo>
                          <a:pt x="13346" y="37018"/>
                          <a:pt x="10364" y="40000"/>
                          <a:pt x="6683" y="40000"/>
                        </a:cubicBezTo>
                        <a:close/>
                      </a:path>
                    </a:pathLst>
                  </a:custGeom>
                  <a:solidFill>
                    <a:schemeClr val="accent1"/>
                  </a:solidFill>
                  <a:ln w="205" cap="flat">
                    <a:noFill/>
                    <a:prstDash val="solid"/>
                    <a:miter/>
                  </a:ln>
                </p:spPr>
                <p:txBody>
                  <a:bodyPr rtlCol="0" anchor="ctr"/>
                  <a:lstStyle/>
                  <a:p>
                    <a:endParaRPr lang="en-GB" dirty="0"/>
                  </a:p>
                </p:txBody>
              </p:sp>
            </p:grpSp>
            <p:grpSp>
              <p:nvGrpSpPr>
                <p:cNvPr id="639" name="Grafik 348">
                  <a:extLst>
                    <a:ext uri="{FF2B5EF4-FFF2-40B4-BE49-F238E27FC236}">
                      <a16:creationId xmlns:a16="http://schemas.microsoft.com/office/drawing/2014/main" id="{3B43F66D-3B4F-4E7F-842A-28943C8327D3}"/>
                    </a:ext>
                  </a:extLst>
                </p:cNvPr>
                <p:cNvGrpSpPr/>
                <p:nvPr/>
              </p:nvGrpSpPr>
              <p:grpSpPr>
                <a:xfrm>
                  <a:off x="3384659" y="3340165"/>
                  <a:ext cx="346680" cy="140003"/>
                  <a:chOff x="3384659" y="3340165"/>
                  <a:chExt cx="346680" cy="140003"/>
                </a:xfrm>
                <a:solidFill>
                  <a:schemeClr val="accent1"/>
                </a:solidFill>
              </p:grpSpPr>
              <p:sp>
                <p:nvSpPr>
                  <p:cNvPr id="640" name="Freihandform: Form 639">
                    <a:extLst>
                      <a:ext uri="{FF2B5EF4-FFF2-40B4-BE49-F238E27FC236}">
                        <a16:creationId xmlns:a16="http://schemas.microsoft.com/office/drawing/2014/main" id="{82EC01F2-DAA4-4A74-9627-4F2620C52E0F}"/>
                      </a:ext>
                    </a:extLst>
                  </p:cNvPr>
                  <p:cNvSpPr/>
                  <p:nvPr/>
                </p:nvSpPr>
                <p:spPr>
                  <a:xfrm>
                    <a:off x="3384671" y="3413500"/>
                    <a:ext cx="79991" cy="66668"/>
                  </a:xfrm>
                  <a:custGeom>
                    <a:avLst/>
                    <a:gdLst>
                      <a:gd name="connsiteX0" fmla="*/ 39996 w 79991"/>
                      <a:gd name="connsiteY0" fmla="*/ 66668 h 66668"/>
                      <a:gd name="connsiteX1" fmla="*/ 0 w 79991"/>
                      <a:gd name="connsiteY1" fmla="*/ 33333 h 66668"/>
                      <a:gd name="connsiteX2" fmla="*/ 0 w 79991"/>
                      <a:gd name="connsiteY2" fmla="*/ 6667 h 66668"/>
                      <a:gd name="connsiteX3" fmla="*/ 6663 w 79991"/>
                      <a:gd name="connsiteY3" fmla="*/ 0 h 66668"/>
                      <a:gd name="connsiteX4" fmla="*/ 73329 w 79991"/>
                      <a:gd name="connsiteY4" fmla="*/ 0 h 66668"/>
                      <a:gd name="connsiteX5" fmla="*/ 79991 w 79991"/>
                      <a:gd name="connsiteY5" fmla="*/ 6667 h 66668"/>
                      <a:gd name="connsiteX6" fmla="*/ 79991 w 79991"/>
                      <a:gd name="connsiteY6" fmla="*/ 33333 h 66668"/>
                      <a:gd name="connsiteX7" fmla="*/ 39996 w 79991"/>
                      <a:gd name="connsiteY7" fmla="*/ 66668 h 66668"/>
                      <a:gd name="connsiteX8" fmla="*/ 13325 w 79991"/>
                      <a:gd name="connsiteY8" fmla="*/ 13333 h 66668"/>
                      <a:gd name="connsiteX9" fmla="*/ 13325 w 79991"/>
                      <a:gd name="connsiteY9" fmla="*/ 33333 h 66668"/>
                      <a:gd name="connsiteX10" fmla="*/ 39996 w 79991"/>
                      <a:gd name="connsiteY10" fmla="*/ 53333 h 66668"/>
                      <a:gd name="connsiteX11" fmla="*/ 66666 w 79991"/>
                      <a:gd name="connsiteY11" fmla="*/ 33333 h 66668"/>
                      <a:gd name="connsiteX12" fmla="*/ 66666 w 79991"/>
                      <a:gd name="connsiteY12" fmla="*/ 13333 h 66668"/>
                      <a:gd name="connsiteX13" fmla="*/ 13325 w 79991"/>
                      <a:gd name="connsiteY13" fmla="*/ 13333 h 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91" h="66668">
                        <a:moveTo>
                          <a:pt x="39996" y="66668"/>
                        </a:moveTo>
                        <a:cubicBezTo>
                          <a:pt x="15690" y="66668"/>
                          <a:pt x="0" y="53582"/>
                          <a:pt x="0" y="33333"/>
                        </a:cubicBezTo>
                        <a:lnTo>
                          <a:pt x="0" y="6667"/>
                        </a:lnTo>
                        <a:cubicBezTo>
                          <a:pt x="0" y="2982"/>
                          <a:pt x="2982" y="0"/>
                          <a:pt x="6663" y="0"/>
                        </a:cubicBezTo>
                        <a:lnTo>
                          <a:pt x="73329" y="0"/>
                        </a:lnTo>
                        <a:cubicBezTo>
                          <a:pt x="77010" y="0"/>
                          <a:pt x="79991" y="2982"/>
                          <a:pt x="79991" y="6667"/>
                        </a:cubicBezTo>
                        <a:lnTo>
                          <a:pt x="79991" y="33333"/>
                        </a:lnTo>
                        <a:cubicBezTo>
                          <a:pt x="79991" y="53582"/>
                          <a:pt x="64281" y="66668"/>
                          <a:pt x="39996" y="66668"/>
                        </a:cubicBezTo>
                        <a:close/>
                        <a:moveTo>
                          <a:pt x="13325" y="13333"/>
                        </a:moveTo>
                        <a:lnTo>
                          <a:pt x="13325" y="33333"/>
                        </a:lnTo>
                        <a:cubicBezTo>
                          <a:pt x="13325" y="51388"/>
                          <a:pt x="31976" y="53333"/>
                          <a:pt x="39996" y="53333"/>
                        </a:cubicBezTo>
                        <a:cubicBezTo>
                          <a:pt x="48015" y="53333"/>
                          <a:pt x="66666" y="51386"/>
                          <a:pt x="66666" y="33333"/>
                        </a:cubicBezTo>
                        <a:lnTo>
                          <a:pt x="66666" y="13333"/>
                        </a:lnTo>
                        <a:lnTo>
                          <a:pt x="13325" y="13333"/>
                        </a:lnTo>
                        <a:close/>
                      </a:path>
                    </a:pathLst>
                  </a:custGeom>
                  <a:solidFill>
                    <a:schemeClr val="accent1"/>
                  </a:solidFill>
                  <a:ln w="205" cap="flat">
                    <a:noFill/>
                    <a:prstDash val="solid"/>
                    <a:miter/>
                  </a:ln>
                </p:spPr>
                <p:txBody>
                  <a:bodyPr rtlCol="0" anchor="ctr"/>
                  <a:lstStyle/>
                  <a:p>
                    <a:endParaRPr lang="en-GB" dirty="0"/>
                  </a:p>
                </p:txBody>
              </p:sp>
              <p:sp>
                <p:nvSpPr>
                  <p:cNvPr id="641" name="Freihandform: Form 640">
                    <a:extLst>
                      <a:ext uri="{FF2B5EF4-FFF2-40B4-BE49-F238E27FC236}">
                        <a16:creationId xmlns:a16="http://schemas.microsoft.com/office/drawing/2014/main" id="{E8FDF427-F90A-4487-8493-856018471ACE}"/>
                      </a:ext>
                    </a:extLst>
                  </p:cNvPr>
                  <p:cNvSpPr/>
                  <p:nvPr/>
                </p:nvSpPr>
                <p:spPr>
                  <a:xfrm>
                    <a:off x="3651336" y="3413500"/>
                    <a:ext cx="79991" cy="66668"/>
                  </a:xfrm>
                  <a:custGeom>
                    <a:avLst/>
                    <a:gdLst>
                      <a:gd name="connsiteX0" fmla="*/ 39996 w 79991"/>
                      <a:gd name="connsiteY0" fmla="*/ 66668 h 66668"/>
                      <a:gd name="connsiteX1" fmla="*/ 0 w 79991"/>
                      <a:gd name="connsiteY1" fmla="*/ 33333 h 66668"/>
                      <a:gd name="connsiteX2" fmla="*/ 0 w 79991"/>
                      <a:gd name="connsiteY2" fmla="*/ 6667 h 66668"/>
                      <a:gd name="connsiteX3" fmla="*/ 6663 w 79991"/>
                      <a:gd name="connsiteY3" fmla="*/ 0 h 66668"/>
                      <a:gd name="connsiteX4" fmla="*/ 73329 w 79991"/>
                      <a:gd name="connsiteY4" fmla="*/ 0 h 66668"/>
                      <a:gd name="connsiteX5" fmla="*/ 79991 w 79991"/>
                      <a:gd name="connsiteY5" fmla="*/ 6667 h 66668"/>
                      <a:gd name="connsiteX6" fmla="*/ 79991 w 79991"/>
                      <a:gd name="connsiteY6" fmla="*/ 33333 h 66668"/>
                      <a:gd name="connsiteX7" fmla="*/ 39996 w 79991"/>
                      <a:gd name="connsiteY7" fmla="*/ 66668 h 66668"/>
                      <a:gd name="connsiteX8" fmla="*/ 13325 w 79991"/>
                      <a:gd name="connsiteY8" fmla="*/ 13333 h 66668"/>
                      <a:gd name="connsiteX9" fmla="*/ 13325 w 79991"/>
                      <a:gd name="connsiteY9" fmla="*/ 33333 h 66668"/>
                      <a:gd name="connsiteX10" fmla="*/ 39996 w 79991"/>
                      <a:gd name="connsiteY10" fmla="*/ 53333 h 66668"/>
                      <a:gd name="connsiteX11" fmla="*/ 66666 w 79991"/>
                      <a:gd name="connsiteY11" fmla="*/ 33333 h 66668"/>
                      <a:gd name="connsiteX12" fmla="*/ 66666 w 79991"/>
                      <a:gd name="connsiteY12" fmla="*/ 13333 h 66668"/>
                      <a:gd name="connsiteX13" fmla="*/ 13325 w 79991"/>
                      <a:gd name="connsiteY13" fmla="*/ 13333 h 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91" h="66668">
                        <a:moveTo>
                          <a:pt x="39996" y="66668"/>
                        </a:moveTo>
                        <a:cubicBezTo>
                          <a:pt x="15710" y="66668"/>
                          <a:pt x="0" y="53582"/>
                          <a:pt x="0" y="33333"/>
                        </a:cubicBezTo>
                        <a:lnTo>
                          <a:pt x="0" y="6667"/>
                        </a:lnTo>
                        <a:cubicBezTo>
                          <a:pt x="0" y="2982"/>
                          <a:pt x="2982" y="0"/>
                          <a:pt x="6663" y="0"/>
                        </a:cubicBezTo>
                        <a:lnTo>
                          <a:pt x="73329" y="0"/>
                        </a:lnTo>
                        <a:cubicBezTo>
                          <a:pt x="77010" y="0"/>
                          <a:pt x="79991" y="2982"/>
                          <a:pt x="79991" y="6667"/>
                        </a:cubicBezTo>
                        <a:lnTo>
                          <a:pt x="79991" y="33333"/>
                        </a:lnTo>
                        <a:cubicBezTo>
                          <a:pt x="80012" y="53582"/>
                          <a:pt x="64302" y="66668"/>
                          <a:pt x="39996" y="66668"/>
                        </a:cubicBezTo>
                        <a:close/>
                        <a:moveTo>
                          <a:pt x="13325" y="13333"/>
                        </a:moveTo>
                        <a:lnTo>
                          <a:pt x="13325" y="33333"/>
                        </a:lnTo>
                        <a:cubicBezTo>
                          <a:pt x="13325" y="51388"/>
                          <a:pt x="31976" y="53333"/>
                          <a:pt x="39996" y="53333"/>
                        </a:cubicBezTo>
                        <a:cubicBezTo>
                          <a:pt x="48015" y="53333"/>
                          <a:pt x="66666" y="51386"/>
                          <a:pt x="66666" y="33333"/>
                        </a:cubicBezTo>
                        <a:lnTo>
                          <a:pt x="66666" y="13333"/>
                        </a:lnTo>
                        <a:lnTo>
                          <a:pt x="13325" y="13333"/>
                        </a:lnTo>
                        <a:close/>
                      </a:path>
                    </a:pathLst>
                  </a:custGeom>
                  <a:solidFill>
                    <a:schemeClr val="accent1"/>
                  </a:solidFill>
                  <a:ln w="205" cap="flat">
                    <a:noFill/>
                    <a:prstDash val="solid"/>
                    <a:miter/>
                  </a:ln>
                </p:spPr>
                <p:txBody>
                  <a:bodyPr rtlCol="0" anchor="ctr"/>
                  <a:lstStyle/>
                  <a:p>
                    <a:endParaRPr lang="en-GB" dirty="0"/>
                  </a:p>
                </p:txBody>
              </p:sp>
              <p:sp>
                <p:nvSpPr>
                  <p:cNvPr id="642" name="Freihandform: Form 641">
                    <a:extLst>
                      <a:ext uri="{FF2B5EF4-FFF2-40B4-BE49-F238E27FC236}">
                        <a16:creationId xmlns:a16="http://schemas.microsoft.com/office/drawing/2014/main" id="{383E12FB-BE11-4C0B-90C9-E4D295613139}"/>
                      </a:ext>
                    </a:extLst>
                  </p:cNvPr>
                  <p:cNvSpPr/>
                  <p:nvPr/>
                </p:nvSpPr>
                <p:spPr>
                  <a:xfrm>
                    <a:off x="3584670" y="3413500"/>
                    <a:ext cx="79991" cy="66668"/>
                  </a:xfrm>
                  <a:custGeom>
                    <a:avLst/>
                    <a:gdLst>
                      <a:gd name="connsiteX0" fmla="*/ 39996 w 79991"/>
                      <a:gd name="connsiteY0" fmla="*/ 66668 h 66668"/>
                      <a:gd name="connsiteX1" fmla="*/ 0 w 79991"/>
                      <a:gd name="connsiteY1" fmla="*/ 33333 h 66668"/>
                      <a:gd name="connsiteX2" fmla="*/ 0 w 79991"/>
                      <a:gd name="connsiteY2" fmla="*/ 6667 h 66668"/>
                      <a:gd name="connsiteX3" fmla="*/ 6662 w 79991"/>
                      <a:gd name="connsiteY3" fmla="*/ 0 h 66668"/>
                      <a:gd name="connsiteX4" fmla="*/ 73329 w 79991"/>
                      <a:gd name="connsiteY4" fmla="*/ 0 h 66668"/>
                      <a:gd name="connsiteX5" fmla="*/ 79991 w 79991"/>
                      <a:gd name="connsiteY5" fmla="*/ 6667 h 66668"/>
                      <a:gd name="connsiteX6" fmla="*/ 79991 w 79991"/>
                      <a:gd name="connsiteY6" fmla="*/ 33333 h 66668"/>
                      <a:gd name="connsiteX7" fmla="*/ 39996 w 79991"/>
                      <a:gd name="connsiteY7" fmla="*/ 66668 h 66668"/>
                      <a:gd name="connsiteX8" fmla="*/ 13325 w 79991"/>
                      <a:gd name="connsiteY8" fmla="*/ 13333 h 66668"/>
                      <a:gd name="connsiteX9" fmla="*/ 13325 w 79991"/>
                      <a:gd name="connsiteY9" fmla="*/ 33333 h 66668"/>
                      <a:gd name="connsiteX10" fmla="*/ 39996 w 79991"/>
                      <a:gd name="connsiteY10" fmla="*/ 53333 h 66668"/>
                      <a:gd name="connsiteX11" fmla="*/ 66666 w 79991"/>
                      <a:gd name="connsiteY11" fmla="*/ 33333 h 66668"/>
                      <a:gd name="connsiteX12" fmla="*/ 66666 w 79991"/>
                      <a:gd name="connsiteY12" fmla="*/ 13333 h 66668"/>
                      <a:gd name="connsiteX13" fmla="*/ 13325 w 79991"/>
                      <a:gd name="connsiteY13" fmla="*/ 13333 h 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91" h="66668">
                        <a:moveTo>
                          <a:pt x="39996" y="66668"/>
                        </a:moveTo>
                        <a:cubicBezTo>
                          <a:pt x="15710" y="66668"/>
                          <a:pt x="0" y="53582"/>
                          <a:pt x="0" y="33333"/>
                        </a:cubicBezTo>
                        <a:lnTo>
                          <a:pt x="0" y="6667"/>
                        </a:lnTo>
                        <a:cubicBezTo>
                          <a:pt x="0" y="2982"/>
                          <a:pt x="2982" y="0"/>
                          <a:pt x="6662" y="0"/>
                        </a:cubicBezTo>
                        <a:lnTo>
                          <a:pt x="73329" y="0"/>
                        </a:lnTo>
                        <a:cubicBezTo>
                          <a:pt x="77010" y="0"/>
                          <a:pt x="79991" y="2982"/>
                          <a:pt x="79991" y="6667"/>
                        </a:cubicBezTo>
                        <a:lnTo>
                          <a:pt x="79991" y="33333"/>
                        </a:lnTo>
                        <a:cubicBezTo>
                          <a:pt x="79991" y="53582"/>
                          <a:pt x="64301" y="66668"/>
                          <a:pt x="39996" y="66668"/>
                        </a:cubicBezTo>
                        <a:close/>
                        <a:moveTo>
                          <a:pt x="13325" y="13333"/>
                        </a:moveTo>
                        <a:lnTo>
                          <a:pt x="13325" y="33333"/>
                        </a:lnTo>
                        <a:cubicBezTo>
                          <a:pt x="13325" y="51388"/>
                          <a:pt x="31976" y="53333"/>
                          <a:pt x="39996" y="53333"/>
                        </a:cubicBezTo>
                        <a:cubicBezTo>
                          <a:pt x="48015" y="53333"/>
                          <a:pt x="66666" y="51386"/>
                          <a:pt x="66666" y="33333"/>
                        </a:cubicBezTo>
                        <a:lnTo>
                          <a:pt x="66666" y="13333"/>
                        </a:lnTo>
                        <a:lnTo>
                          <a:pt x="13325" y="13333"/>
                        </a:lnTo>
                        <a:close/>
                      </a:path>
                    </a:pathLst>
                  </a:custGeom>
                  <a:solidFill>
                    <a:schemeClr val="accent1"/>
                  </a:solidFill>
                  <a:ln w="205" cap="flat">
                    <a:noFill/>
                    <a:prstDash val="solid"/>
                    <a:miter/>
                  </a:ln>
                </p:spPr>
                <p:txBody>
                  <a:bodyPr rtlCol="0" anchor="ctr"/>
                  <a:lstStyle/>
                  <a:p>
                    <a:endParaRPr lang="en-GB" dirty="0"/>
                  </a:p>
                </p:txBody>
              </p:sp>
              <p:sp>
                <p:nvSpPr>
                  <p:cNvPr id="643" name="Freihandform: Form 642">
                    <a:extLst>
                      <a:ext uri="{FF2B5EF4-FFF2-40B4-BE49-F238E27FC236}">
                        <a16:creationId xmlns:a16="http://schemas.microsoft.com/office/drawing/2014/main" id="{63560FBC-BEAB-4B72-B754-42FA0D44E461}"/>
                      </a:ext>
                    </a:extLst>
                  </p:cNvPr>
                  <p:cNvSpPr/>
                  <p:nvPr/>
                </p:nvSpPr>
                <p:spPr>
                  <a:xfrm>
                    <a:off x="3518004" y="3413500"/>
                    <a:ext cx="79991" cy="66668"/>
                  </a:xfrm>
                  <a:custGeom>
                    <a:avLst/>
                    <a:gdLst>
                      <a:gd name="connsiteX0" fmla="*/ 39996 w 79991"/>
                      <a:gd name="connsiteY0" fmla="*/ 66668 h 66668"/>
                      <a:gd name="connsiteX1" fmla="*/ 0 w 79991"/>
                      <a:gd name="connsiteY1" fmla="*/ 33333 h 66668"/>
                      <a:gd name="connsiteX2" fmla="*/ 0 w 79991"/>
                      <a:gd name="connsiteY2" fmla="*/ 6667 h 66668"/>
                      <a:gd name="connsiteX3" fmla="*/ 6662 w 79991"/>
                      <a:gd name="connsiteY3" fmla="*/ 0 h 66668"/>
                      <a:gd name="connsiteX4" fmla="*/ 73329 w 79991"/>
                      <a:gd name="connsiteY4" fmla="*/ 0 h 66668"/>
                      <a:gd name="connsiteX5" fmla="*/ 79991 w 79991"/>
                      <a:gd name="connsiteY5" fmla="*/ 6667 h 66668"/>
                      <a:gd name="connsiteX6" fmla="*/ 79991 w 79991"/>
                      <a:gd name="connsiteY6" fmla="*/ 33333 h 66668"/>
                      <a:gd name="connsiteX7" fmla="*/ 39996 w 79991"/>
                      <a:gd name="connsiteY7" fmla="*/ 66668 h 66668"/>
                      <a:gd name="connsiteX8" fmla="*/ 13325 w 79991"/>
                      <a:gd name="connsiteY8" fmla="*/ 13333 h 66668"/>
                      <a:gd name="connsiteX9" fmla="*/ 13325 w 79991"/>
                      <a:gd name="connsiteY9" fmla="*/ 33333 h 66668"/>
                      <a:gd name="connsiteX10" fmla="*/ 39996 w 79991"/>
                      <a:gd name="connsiteY10" fmla="*/ 53333 h 66668"/>
                      <a:gd name="connsiteX11" fmla="*/ 66666 w 79991"/>
                      <a:gd name="connsiteY11" fmla="*/ 33333 h 66668"/>
                      <a:gd name="connsiteX12" fmla="*/ 66666 w 79991"/>
                      <a:gd name="connsiteY12" fmla="*/ 13333 h 66668"/>
                      <a:gd name="connsiteX13" fmla="*/ 13325 w 79991"/>
                      <a:gd name="connsiteY13" fmla="*/ 13333 h 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91" h="66668">
                        <a:moveTo>
                          <a:pt x="39996" y="66668"/>
                        </a:moveTo>
                        <a:cubicBezTo>
                          <a:pt x="15690" y="66668"/>
                          <a:pt x="0" y="53582"/>
                          <a:pt x="0" y="33333"/>
                        </a:cubicBezTo>
                        <a:lnTo>
                          <a:pt x="0" y="6667"/>
                        </a:lnTo>
                        <a:cubicBezTo>
                          <a:pt x="0" y="2982"/>
                          <a:pt x="2982" y="0"/>
                          <a:pt x="6662" y="0"/>
                        </a:cubicBezTo>
                        <a:lnTo>
                          <a:pt x="73329" y="0"/>
                        </a:lnTo>
                        <a:cubicBezTo>
                          <a:pt x="77010" y="0"/>
                          <a:pt x="79991" y="2982"/>
                          <a:pt x="79991" y="6667"/>
                        </a:cubicBezTo>
                        <a:lnTo>
                          <a:pt x="79991" y="33333"/>
                        </a:lnTo>
                        <a:cubicBezTo>
                          <a:pt x="79991" y="53582"/>
                          <a:pt x="64302" y="66668"/>
                          <a:pt x="39996" y="66668"/>
                        </a:cubicBezTo>
                        <a:close/>
                        <a:moveTo>
                          <a:pt x="13325" y="13333"/>
                        </a:moveTo>
                        <a:lnTo>
                          <a:pt x="13325" y="33333"/>
                        </a:lnTo>
                        <a:cubicBezTo>
                          <a:pt x="13325" y="51388"/>
                          <a:pt x="31976" y="53333"/>
                          <a:pt x="39996" y="53333"/>
                        </a:cubicBezTo>
                        <a:cubicBezTo>
                          <a:pt x="48015" y="53333"/>
                          <a:pt x="66666" y="51386"/>
                          <a:pt x="66666" y="33333"/>
                        </a:cubicBezTo>
                        <a:lnTo>
                          <a:pt x="66666" y="13333"/>
                        </a:lnTo>
                        <a:lnTo>
                          <a:pt x="13325" y="13333"/>
                        </a:lnTo>
                        <a:close/>
                      </a:path>
                    </a:pathLst>
                  </a:custGeom>
                  <a:solidFill>
                    <a:schemeClr val="accent1"/>
                  </a:solidFill>
                  <a:ln w="205" cap="flat">
                    <a:noFill/>
                    <a:prstDash val="solid"/>
                    <a:miter/>
                  </a:ln>
                </p:spPr>
                <p:txBody>
                  <a:bodyPr rtlCol="0" anchor="ctr"/>
                  <a:lstStyle/>
                  <a:p>
                    <a:endParaRPr lang="en-GB" dirty="0"/>
                  </a:p>
                </p:txBody>
              </p:sp>
              <p:sp>
                <p:nvSpPr>
                  <p:cNvPr id="644" name="Freihandform: Form 643">
                    <a:extLst>
                      <a:ext uri="{FF2B5EF4-FFF2-40B4-BE49-F238E27FC236}">
                        <a16:creationId xmlns:a16="http://schemas.microsoft.com/office/drawing/2014/main" id="{2FC4AE43-84A3-4E00-8AAD-30E20C834290}"/>
                      </a:ext>
                    </a:extLst>
                  </p:cNvPr>
                  <p:cNvSpPr/>
                  <p:nvPr/>
                </p:nvSpPr>
                <p:spPr>
                  <a:xfrm>
                    <a:off x="3451337" y="3413500"/>
                    <a:ext cx="79991" cy="66668"/>
                  </a:xfrm>
                  <a:custGeom>
                    <a:avLst/>
                    <a:gdLst>
                      <a:gd name="connsiteX0" fmla="*/ 39996 w 79991"/>
                      <a:gd name="connsiteY0" fmla="*/ 66668 h 66668"/>
                      <a:gd name="connsiteX1" fmla="*/ 0 w 79991"/>
                      <a:gd name="connsiteY1" fmla="*/ 33333 h 66668"/>
                      <a:gd name="connsiteX2" fmla="*/ 0 w 79991"/>
                      <a:gd name="connsiteY2" fmla="*/ 6667 h 66668"/>
                      <a:gd name="connsiteX3" fmla="*/ 6663 w 79991"/>
                      <a:gd name="connsiteY3" fmla="*/ 0 h 66668"/>
                      <a:gd name="connsiteX4" fmla="*/ 73329 w 79991"/>
                      <a:gd name="connsiteY4" fmla="*/ 0 h 66668"/>
                      <a:gd name="connsiteX5" fmla="*/ 79991 w 79991"/>
                      <a:gd name="connsiteY5" fmla="*/ 6667 h 66668"/>
                      <a:gd name="connsiteX6" fmla="*/ 79991 w 79991"/>
                      <a:gd name="connsiteY6" fmla="*/ 33333 h 66668"/>
                      <a:gd name="connsiteX7" fmla="*/ 39996 w 79991"/>
                      <a:gd name="connsiteY7" fmla="*/ 66668 h 66668"/>
                      <a:gd name="connsiteX8" fmla="*/ 13325 w 79991"/>
                      <a:gd name="connsiteY8" fmla="*/ 13333 h 66668"/>
                      <a:gd name="connsiteX9" fmla="*/ 13325 w 79991"/>
                      <a:gd name="connsiteY9" fmla="*/ 33333 h 66668"/>
                      <a:gd name="connsiteX10" fmla="*/ 39996 w 79991"/>
                      <a:gd name="connsiteY10" fmla="*/ 53333 h 66668"/>
                      <a:gd name="connsiteX11" fmla="*/ 66666 w 79991"/>
                      <a:gd name="connsiteY11" fmla="*/ 33333 h 66668"/>
                      <a:gd name="connsiteX12" fmla="*/ 66666 w 79991"/>
                      <a:gd name="connsiteY12" fmla="*/ 13333 h 66668"/>
                      <a:gd name="connsiteX13" fmla="*/ 13325 w 79991"/>
                      <a:gd name="connsiteY13" fmla="*/ 13333 h 6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91" h="66668">
                        <a:moveTo>
                          <a:pt x="39996" y="66668"/>
                        </a:moveTo>
                        <a:cubicBezTo>
                          <a:pt x="15690" y="66668"/>
                          <a:pt x="0" y="53582"/>
                          <a:pt x="0" y="33333"/>
                        </a:cubicBezTo>
                        <a:lnTo>
                          <a:pt x="0" y="6667"/>
                        </a:lnTo>
                        <a:cubicBezTo>
                          <a:pt x="0" y="2982"/>
                          <a:pt x="2982" y="0"/>
                          <a:pt x="6663" y="0"/>
                        </a:cubicBezTo>
                        <a:lnTo>
                          <a:pt x="73329" y="0"/>
                        </a:lnTo>
                        <a:cubicBezTo>
                          <a:pt x="77010" y="0"/>
                          <a:pt x="79991" y="2982"/>
                          <a:pt x="79991" y="6667"/>
                        </a:cubicBezTo>
                        <a:lnTo>
                          <a:pt x="79991" y="33333"/>
                        </a:lnTo>
                        <a:cubicBezTo>
                          <a:pt x="79991" y="53582"/>
                          <a:pt x="64302" y="66668"/>
                          <a:pt x="39996" y="66668"/>
                        </a:cubicBezTo>
                        <a:close/>
                        <a:moveTo>
                          <a:pt x="13325" y="13333"/>
                        </a:moveTo>
                        <a:lnTo>
                          <a:pt x="13325" y="33333"/>
                        </a:lnTo>
                        <a:cubicBezTo>
                          <a:pt x="13325" y="51388"/>
                          <a:pt x="31976" y="53333"/>
                          <a:pt x="39996" y="53333"/>
                        </a:cubicBezTo>
                        <a:cubicBezTo>
                          <a:pt x="48015" y="53333"/>
                          <a:pt x="66666" y="51386"/>
                          <a:pt x="66666" y="33333"/>
                        </a:cubicBezTo>
                        <a:lnTo>
                          <a:pt x="66666" y="13333"/>
                        </a:lnTo>
                        <a:lnTo>
                          <a:pt x="13325" y="13333"/>
                        </a:lnTo>
                        <a:close/>
                      </a:path>
                    </a:pathLst>
                  </a:custGeom>
                  <a:solidFill>
                    <a:schemeClr val="accent1"/>
                  </a:solidFill>
                  <a:ln w="205" cap="flat">
                    <a:noFill/>
                    <a:prstDash val="solid"/>
                    <a:miter/>
                  </a:ln>
                </p:spPr>
                <p:txBody>
                  <a:bodyPr rtlCol="0" anchor="ctr"/>
                  <a:lstStyle/>
                  <a:p>
                    <a:endParaRPr lang="en-GB" dirty="0"/>
                  </a:p>
                </p:txBody>
              </p:sp>
              <p:sp>
                <p:nvSpPr>
                  <p:cNvPr id="645" name="Freihandform: Form 644">
                    <a:extLst>
                      <a:ext uri="{FF2B5EF4-FFF2-40B4-BE49-F238E27FC236}">
                        <a16:creationId xmlns:a16="http://schemas.microsoft.com/office/drawing/2014/main" id="{1B852D83-BDC3-440C-BDFE-3DD400D0BDB2}"/>
                      </a:ext>
                    </a:extLst>
                  </p:cNvPr>
                  <p:cNvSpPr/>
                  <p:nvPr/>
                </p:nvSpPr>
                <p:spPr>
                  <a:xfrm>
                    <a:off x="3384659" y="3340165"/>
                    <a:ext cx="346680" cy="86668"/>
                  </a:xfrm>
                  <a:custGeom>
                    <a:avLst/>
                    <a:gdLst>
                      <a:gd name="connsiteX0" fmla="*/ 340006 w 346680"/>
                      <a:gd name="connsiteY0" fmla="*/ 86668 h 86668"/>
                      <a:gd name="connsiteX1" fmla="*/ 6674 w 346680"/>
                      <a:gd name="connsiteY1" fmla="*/ 86668 h 86668"/>
                      <a:gd name="connsiteX2" fmla="*/ 1369 w 346680"/>
                      <a:gd name="connsiteY2" fmla="*/ 84051 h 86668"/>
                      <a:gd name="connsiteX3" fmla="*/ 238 w 346680"/>
                      <a:gd name="connsiteY3" fmla="*/ 78250 h 86668"/>
                      <a:gd name="connsiteX4" fmla="*/ 20246 w 346680"/>
                      <a:gd name="connsiteY4" fmla="*/ 4915 h 86668"/>
                      <a:gd name="connsiteX5" fmla="*/ 26662 w 346680"/>
                      <a:gd name="connsiteY5" fmla="*/ 0 h 86668"/>
                      <a:gd name="connsiteX6" fmla="*/ 320018 w 346680"/>
                      <a:gd name="connsiteY6" fmla="*/ 0 h 86668"/>
                      <a:gd name="connsiteX7" fmla="*/ 326434 w 346680"/>
                      <a:gd name="connsiteY7" fmla="*/ 4915 h 86668"/>
                      <a:gd name="connsiteX8" fmla="*/ 346442 w 346680"/>
                      <a:gd name="connsiteY8" fmla="*/ 78250 h 86668"/>
                      <a:gd name="connsiteX9" fmla="*/ 345311 w 346680"/>
                      <a:gd name="connsiteY9" fmla="*/ 84051 h 86668"/>
                      <a:gd name="connsiteX10" fmla="*/ 340006 w 346680"/>
                      <a:gd name="connsiteY10" fmla="*/ 86668 h 86668"/>
                      <a:gd name="connsiteX11" fmla="*/ 15393 w 346680"/>
                      <a:gd name="connsiteY11" fmla="*/ 73333 h 86668"/>
                      <a:gd name="connsiteX12" fmla="*/ 331287 w 346680"/>
                      <a:gd name="connsiteY12" fmla="*/ 73333 h 86668"/>
                      <a:gd name="connsiteX13" fmla="*/ 314919 w 346680"/>
                      <a:gd name="connsiteY13" fmla="*/ 13331 h 86668"/>
                      <a:gd name="connsiteX14" fmla="*/ 31762 w 346680"/>
                      <a:gd name="connsiteY14" fmla="*/ 13331 h 86668"/>
                      <a:gd name="connsiteX15" fmla="*/ 15393 w 346680"/>
                      <a:gd name="connsiteY15" fmla="*/ 73333 h 86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46680" h="86668">
                        <a:moveTo>
                          <a:pt x="340006" y="86668"/>
                        </a:moveTo>
                        <a:lnTo>
                          <a:pt x="6674" y="86668"/>
                        </a:lnTo>
                        <a:cubicBezTo>
                          <a:pt x="4597" y="86668"/>
                          <a:pt x="2623" y="85698"/>
                          <a:pt x="1369" y="84051"/>
                        </a:cubicBezTo>
                        <a:cubicBezTo>
                          <a:pt x="115" y="82397"/>
                          <a:pt x="-317" y="80248"/>
                          <a:pt x="238" y="78250"/>
                        </a:cubicBezTo>
                        <a:lnTo>
                          <a:pt x="20246" y="4915"/>
                        </a:lnTo>
                        <a:cubicBezTo>
                          <a:pt x="21028" y="2011"/>
                          <a:pt x="23660" y="0"/>
                          <a:pt x="26662" y="0"/>
                        </a:cubicBezTo>
                        <a:lnTo>
                          <a:pt x="320018" y="0"/>
                        </a:lnTo>
                        <a:cubicBezTo>
                          <a:pt x="323021" y="0"/>
                          <a:pt x="325653" y="2011"/>
                          <a:pt x="326434" y="4915"/>
                        </a:cubicBezTo>
                        <a:lnTo>
                          <a:pt x="346442" y="78250"/>
                        </a:lnTo>
                        <a:cubicBezTo>
                          <a:pt x="346998" y="80248"/>
                          <a:pt x="346566" y="82397"/>
                          <a:pt x="345311" y="84051"/>
                        </a:cubicBezTo>
                        <a:cubicBezTo>
                          <a:pt x="344057" y="85698"/>
                          <a:pt x="342083" y="86668"/>
                          <a:pt x="340006" y="86668"/>
                        </a:cubicBezTo>
                        <a:close/>
                        <a:moveTo>
                          <a:pt x="15393" y="73333"/>
                        </a:moveTo>
                        <a:lnTo>
                          <a:pt x="331287" y="73333"/>
                        </a:lnTo>
                        <a:lnTo>
                          <a:pt x="314919" y="13331"/>
                        </a:lnTo>
                        <a:lnTo>
                          <a:pt x="31762" y="13331"/>
                        </a:lnTo>
                        <a:lnTo>
                          <a:pt x="15393" y="73333"/>
                        </a:lnTo>
                        <a:close/>
                      </a:path>
                    </a:pathLst>
                  </a:custGeom>
                  <a:solidFill>
                    <a:schemeClr val="accent1"/>
                  </a:solidFill>
                  <a:ln w="205" cap="flat">
                    <a:noFill/>
                    <a:prstDash val="solid"/>
                    <a:miter/>
                  </a:ln>
                </p:spPr>
                <p:txBody>
                  <a:bodyPr rtlCol="0" anchor="ctr"/>
                  <a:lstStyle/>
                  <a:p>
                    <a:endParaRPr lang="en-GB" dirty="0"/>
                  </a:p>
                </p:txBody>
              </p:sp>
            </p:grpSp>
          </p:grpSp>
          <p:sp>
            <p:nvSpPr>
              <p:cNvPr id="630" name="Freihandform: Form 629">
                <a:extLst>
                  <a:ext uri="{FF2B5EF4-FFF2-40B4-BE49-F238E27FC236}">
                    <a16:creationId xmlns:a16="http://schemas.microsoft.com/office/drawing/2014/main" id="{5610AEB4-0DF1-4F2A-B2BE-D1A27317C3CB}"/>
                  </a:ext>
                </a:extLst>
              </p:cNvPr>
              <p:cNvSpPr/>
              <p:nvPr/>
            </p:nvSpPr>
            <p:spPr>
              <a:xfrm>
                <a:off x="3489156" y="3510695"/>
                <a:ext cx="137068" cy="119692"/>
              </a:xfrm>
              <a:custGeom>
                <a:avLst/>
                <a:gdLst>
                  <a:gd name="connsiteX0" fmla="*/ 69275 w 137068"/>
                  <a:gd name="connsiteY0" fmla="*/ 119692 h 119692"/>
                  <a:gd name="connsiteX1" fmla="*/ 62161 w 137068"/>
                  <a:gd name="connsiteY1" fmla="*/ 115284 h 119692"/>
                  <a:gd name="connsiteX2" fmla="*/ 33166 w 137068"/>
                  <a:gd name="connsiteY2" fmla="*/ 90015 h 119692"/>
                  <a:gd name="connsiteX3" fmla="*/ 26319 w 137068"/>
                  <a:gd name="connsiteY3" fmla="*/ 86084 h 119692"/>
                  <a:gd name="connsiteX4" fmla="*/ 4789 w 137068"/>
                  <a:gd name="connsiteY4" fmla="*/ 61585 h 119692"/>
                  <a:gd name="connsiteX5" fmla="*/ 4316 w 137068"/>
                  <a:gd name="connsiteY5" fmla="*/ 60674 h 119692"/>
                  <a:gd name="connsiteX6" fmla="*/ 409 w 137068"/>
                  <a:gd name="connsiteY6" fmla="*/ 34786 h 119692"/>
                  <a:gd name="connsiteX7" fmla="*/ 429 w 137068"/>
                  <a:gd name="connsiteY7" fmla="*/ 34591 h 119692"/>
                  <a:gd name="connsiteX8" fmla="*/ 25249 w 137068"/>
                  <a:gd name="connsiteY8" fmla="*/ 3913 h 119692"/>
                  <a:gd name="connsiteX9" fmla="*/ 57904 w 137068"/>
                  <a:gd name="connsiteY9" fmla="*/ 3756 h 119692"/>
                  <a:gd name="connsiteX10" fmla="*/ 68453 w 137068"/>
                  <a:gd name="connsiteY10" fmla="*/ 11973 h 119692"/>
                  <a:gd name="connsiteX11" fmla="*/ 78590 w 137068"/>
                  <a:gd name="connsiteY11" fmla="*/ 3633 h 119692"/>
                  <a:gd name="connsiteX12" fmla="*/ 111183 w 137068"/>
                  <a:gd name="connsiteY12" fmla="*/ 3176 h 119692"/>
                  <a:gd name="connsiteX13" fmla="*/ 136538 w 137068"/>
                  <a:gd name="connsiteY13" fmla="*/ 33419 h 119692"/>
                  <a:gd name="connsiteX14" fmla="*/ 133104 w 137068"/>
                  <a:gd name="connsiteY14" fmla="*/ 59571 h 119692"/>
                  <a:gd name="connsiteX15" fmla="*/ 132652 w 137068"/>
                  <a:gd name="connsiteY15" fmla="*/ 60476 h 119692"/>
                  <a:gd name="connsiteX16" fmla="*/ 111286 w 137068"/>
                  <a:gd name="connsiteY16" fmla="*/ 85522 h 119692"/>
                  <a:gd name="connsiteX17" fmla="*/ 104829 w 137068"/>
                  <a:gd name="connsiteY17" fmla="*/ 89382 h 119692"/>
                  <a:gd name="connsiteX18" fmla="*/ 76452 w 137068"/>
                  <a:gd name="connsiteY18" fmla="*/ 115008 h 119692"/>
                  <a:gd name="connsiteX19" fmla="*/ 69995 w 137068"/>
                  <a:gd name="connsiteY19" fmla="*/ 119657 h 119692"/>
                  <a:gd name="connsiteX20" fmla="*/ 69275 w 137068"/>
                  <a:gd name="connsiteY20" fmla="*/ 119692 h 119692"/>
                  <a:gd name="connsiteX21" fmla="*/ 63991 w 137068"/>
                  <a:gd name="connsiteY21" fmla="*/ 110336 h 119692"/>
                  <a:gd name="connsiteX22" fmla="*/ 63970 w 137068"/>
                  <a:gd name="connsiteY22" fmla="*/ 110348 h 119692"/>
                  <a:gd name="connsiteX23" fmla="*/ 63991 w 137068"/>
                  <a:gd name="connsiteY23" fmla="*/ 110336 h 119692"/>
                  <a:gd name="connsiteX24" fmla="*/ 73882 w 137068"/>
                  <a:gd name="connsiteY24" fmla="*/ 108962 h 119692"/>
                  <a:gd name="connsiteX25" fmla="*/ 74005 w 137068"/>
                  <a:gd name="connsiteY25" fmla="*/ 109164 h 119692"/>
                  <a:gd name="connsiteX26" fmla="*/ 73882 w 137068"/>
                  <a:gd name="connsiteY26" fmla="*/ 108962 h 119692"/>
                  <a:gd name="connsiteX27" fmla="*/ 13631 w 137068"/>
                  <a:gd name="connsiteY27" fmla="*/ 36557 h 119692"/>
                  <a:gd name="connsiteX28" fmla="*/ 16469 w 137068"/>
                  <a:gd name="connsiteY28" fmla="*/ 55204 h 119692"/>
                  <a:gd name="connsiteX29" fmla="*/ 33701 w 137068"/>
                  <a:gd name="connsiteY29" fmla="*/ 74977 h 119692"/>
                  <a:gd name="connsiteX30" fmla="*/ 39417 w 137068"/>
                  <a:gd name="connsiteY30" fmla="*/ 78245 h 119692"/>
                  <a:gd name="connsiteX31" fmla="*/ 69152 w 137068"/>
                  <a:gd name="connsiteY31" fmla="*/ 101514 h 119692"/>
                  <a:gd name="connsiteX32" fmla="*/ 98352 w 137068"/>
                  <a:gd name="connsiteY32" fmla="*/ 77737 h 119692"/>
                  <a:gd name="connsiteX33" fmla="*/ 103719 w 137068"/>
                  <a:gd name="connsiteY33" fmla="*/ 74548 h 119692"/>
                  <a:gd name="connsiteX34" fmla="*/ 120807 w 137068"/>
                  <a:gd name="connsiteY34" fmla="*/ 54359 h 119692"/>
                  <a:gd name="connsiteX35" fmla="*/ 123357 w 137068"/>
                  <a:gd name="connsiteY35" fmla="*/ 35498 h 119692"/>
                  <a:gd name="connsiteX36" fmla="*/ 106783 w 137068"/>
                  <a:gd name="connsiteY36" fmla="*/ 15765 h 119692"/>
                  <a:gd name="connsiteX37" fmla="*/ 84719 w 137068"/>
                  <a:gd name="connsiteY37" fmla="*/ 15479 h 119692"/>
                  <a:gd name="connsiteX38" fmla="*/ 75074 w 137068"/>
                  <a:gd name="connsiteY38" fmla="*/ 26976 h 119692"/>
                  <a:gd name="connsiteX39" fmla="*/ 68782 w 137068"/>
                  <a:gd name="connsiteY39" fmla="*/ 31813 h 119692"/>
                  <a:gd name="connsiteX40" fmla="*/ 62325 w 137068"/>
                  <a:gd name="connsiteY40" fmla="*/ 27203 h 119692"/>
                  <a:gd name="connsiteX41" fmla="*/ 51940 w 137068"/>
                  <a:gd name="connsiteY41" fmla="*/ 15685 h 119692"/>
                  <a:gd name="connsiteX42" fmla="*/ 29876 w 137068"/>
                  <a:gd name="connsiteY42" fmla="*/ 16421 h 119692"/>
                  <a:gd name="connsiteX43" fmla="*/ 13631 w 137068"/>
                  <a:gd name="connsiteY43" fmla="*/ 36557 h 119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7068" h="119692">
                    <a:moveTo>
                      <a:pt x="69275" y="119692"/>
                    </a:moveTo>
                    <a:cubicBezTo>
                      <a:pt x="66273" y="119692"/>
                      <a:pt x="63518" y="118018"/>
                      <a:pt x="62161" y="115284"/>
                    </a:cubicBezTo>
                    <a:cubicBezTo>
                      <a:pt x="54861" y="101554"/>
                      <a:pt x="41803" y="94613"/>
                      <a:pt x="33166" y="90015"/>
                    </a:cubicBezTo>
                    <a:cubicBezTo>
                      <a:pt x="30452" y="88582"/>
                      <a:pt x="28128" y="87340"/>
                      <a:pt x="26319" y="86084"/>
                    </a:cubicBezTo>
                    <a:cubicBezTo>
                      <a:pt x="13693" y="78128"/>
                      <a:pt x="7462" y="66538"/>
                      <a:pt x="4789" y="61585"/>
                    </a:cubicBezTo>
                    <a:cubicBezTo>
                      <a:pt x="4706" y="61447"/>
                      <a:pt x="4378" y="60824"/>
                      <a:pt x="4316" y="60674"/>
                    </a:cubicBezTo>
                    <a:cubicBezTo>
                      <a:pt x="532" y="52308"/>
                      <a:pt x="-743" y="43844"/>
                      <a:pt x="409" y="34786"/>
                    </a:cubicBezTo>
                    <a:cubicBezTo>
                      <a:pt x="409" y="34721"/>
                      <a:pt x="429" y="34657"/>
                      <a:pt x="429" y="34591"/>
                    </a:cubicBezTo>
                    <a:cubicBezTo>
                      <a:pt x="3349" y="15899"/>
                      <a:pt x="19327" y="6107"/>
                      <a:pt x="25249" y="3913"/>
                    </a:cubicBezTo>
                    <a:cubicBezTo>
                      <a:pt x="37690" y="-671"/>
                      <a:pt x="48671" y="-737"/>
                      <a:pt x="57904" y="3756"/>
                    </a:cubicBezTo>
                    <a:cubicBezTo>
                      <a:pt x="62428" y="5956"/>
                      <a:pt x="65882" y="8971"/>
                      <a:pt x="68453" y="11973"/>
                    </a:cubicBezTo>
                    <a:cubicBezTo>
                      <a:pt x="70920" y="8953"/>
                      <a:pt x="74211" y="5905"/>
                      <a:pt x="78590" y="3633"/>
                    </a:cubicBezTo>
                    <a:cubicBezTo>
                      <a:pt x="87638" y="-1047"/>
                      <a:pt x="98599" y="-1212"/>
                      <a:pt x="111183" y="3176"/>
                    </a:cubicBezTo>
                    <a:cubicBezTo>
                      <a:pt x="117126" y="5266"/>
                      <a:pt x="133289" y="14766"/>
                      <a:pt x="136538" y="33419"/>
                    </a:cubicBezTo>
                    <a:cubicBezTo>
                      <a:pt x="137854" y="42676"/>
                      <a:pt x="136723" y="51167"/>
                      <a:pt x="133104" y="59571"/>
                    </a:cubicBezTo>
                    <a:cubicBezTo>
                      <a:pt x="133042" y="59715"/>
                      <a:pt x="132734" y="60340"/>
                      <a:pt x="132652" y="60476"/>
                    </a:cubicBezTo>
                    <a:cubicBezTo>
                      <a:pt x="130081" y="65477"/>
                      <a:pt x="124035" y="77182"/>
                      <a:pt x="111286" y="85522"/>
                    </a:cubicBezTo>
                    <a:cubicBezTo>
                      <a:pt x="109765" y="86629"/>
                      <a:pt x="107482" y="87906"/>
                      <a:pt x="104829" y="89382"/>
                    </a:cubicBezTo>
                    <a:cubicBezTo>
                      <a:pt x="96357" y="94095"/>
                      <a:pt x="83608" y="101198"/>
                      <a:pt x="76452" y="115008"/>
                    </a:cubicBezTo>
                    <a:cubicBezTo>
                      <a:pt x="75342" y="117611"/>
                      <a:pt x="72874" y="119402"/>
                      <a:pt x="69995" y="119657"/>
                    </a:cubicBezTo>
                    <a:cubicBezTo>
                      <a:pt x="69748" y="119678"/>
                      <a:pt x="69522" y="119692"/>
                      <a:pt x="69275" y="119692"/>
                    </a:cubicBezTo>
                    <a:close/>
                    <a:moveTo>
                      <a:pt x="63991" y="110336"/>
                    </a:moveTo>
                    <a:cubicBezTo>
                      <a:pt x="63991" y="110342"/>
                      <a:pt x="63991" y="110342"/>
                      <a:pt x="63970" y="110348"/>
                    </a:cubicBezTo>
                    <a:cubicBezTo>
                      <a:pt x="63991" y="110342"/>
                      <a:pt x="63991" y="110342"/>
                      <a:pt x="63991" y="110336"/>
                    </a:cubicBezTo>
                    <a:close/>
                    <a:moveTo>
                      <a:pt x="73882" y="108962"/>
                    </a:moveTo>
                    <a:cubicBezTo>
                      <a:pt x="73923" y="109028"/>
                      <a:pt x="73964" y="109100"/>
                      <a:pt x="74005" y="109164"/>
                    </a:cubicBezTo>
                    <a:cubicBezTo>
                      <a:pt x="73964" y="109092"/>
                      <a:pt x="73923" y="109026"/>
                      <a:pt x="73882" y="108962"/>
                    </a:cubicBezTo>
                    <a:close/>
                    <a:moveTo>
                      <a:pt x="13631" y="36557"/>
                    </a:moveTo>
                    <a:cubicBezTo>
                      <a:pt x="12808" y="43152"/>
                      <a:pt x="13713" y="49076"/>
                      <a:pt x="16469" y="55204"/>
                    </a:cubicBezTo>
                    <a:cubicBezTo>
                      <a:pt x="18875" y="59631"/>
                      <a:pt x="23769" y="68720"/>
                      <a:pt x="33701" y="74977"/>
                    </a:cubicBezTo>
                    <a:cubicBezTo>
                      <a:pt x="35264" y="76059"/>
                      <a:pt x="37155" y="77048"/>
                      <a:pt x="39417" y="78245"/>
                    </a:cubicBezTo>
                    <a:cubicBezTo>
                      <a:pt x="47375" y="82477"/>
                      <a:pt x="59857" y="89111"/>
                      <a:pt x="69152" y="101514"/>
                    </a:cubicBezTo>
                    <a:cubicBezTo>
                      <a:pt x="78200" y="88954"/>
                      <a:pt x="90497" y="82107"/>
                      <a:pt x="98352" y="77737"/>
                    </a:cubicBezTo>
                    <a:cubicBezTo>
                      <a:pt x="100573" y="76499"/>
                      <a:pt x="102444" y="75477"/>
                      <a:pt x="103719" y="74548"/>
                    </a:cubicBezTo>
                    <a:cubicBezTo>
                      <a:pt x="113795" y="67953"/>
                      <a:pt x="118525" y="58774"/>
                      <a:pt x="120807" y="54359"/>
                    </a:cubicBezTo>
                    <a:cubicBezTo>
                      <a:pt x="123501" y="48128"/>
                      <a:pt x="124303" y="42152"/>
                      <a:pt x="123357" y="35498"/>
                    </a:cubicBezTo>
                    <a:cubicBezTo>
                      <a:pt x="121445" y="24461"/>
                      <a:pt x="111163" y="17307"/>
                      <a:pt x="106783" y="15765"/>
                    </a:cubicBezTo>
                    <a:cubicBezTo>
                      <a:pt x="97797" y="12634"/>
                      <a:pt x="90394" y="12528"/>
                      <a:pt x="84719" y="15479"/>
                    </a:cubicBezTo>
                    <a:cubicBezTo>
                      <a:pt x="77460" y="19243"/>
                      <a:pt x="75115" y="26898"/>
                      <a:pt x="75074" y="26976"/>
                    </a:cubicBezTo>
                    <a:cubicBezTo>
                      <a:pt x="74272" y="29796"/>
                      <a:pt x="71722" y="31761"/>
                      <a:pt x="68782" y="31813"/>
                    </a:cubicBezTo>
                    <a:cubicBezTo>
                      <a:pt x="65882" y="31675"/>
                      <a:pt x="63230" y="29989"/>
                      <a:pt x="62325" y="27203"/>
                    </a:cubicBezTo>
                    <a:cubicBezTo>
                      <a:pt x="62325" y="27170"/>
                      <a:pt x="59549" y="19304"/>
                      <a:pt x="51940" y="15685"/>
                    </a:cubicBezTo>
                    <a:cubicBezTo>
                      <a:pt x="46121" y="12917"/>
                      <a:pt x="38698" y="13158"/>
                      <a:pt x="29876" y="16421"/>
                    </a:cubicBezTo>
                    <a:cubicBezTo>
                      <a:pt x="26956" y="17501"/>
                      <a:pt x="15626" y="24110"/>
                      <a:pt x="13631" y="36557"/>
                    </a:cubicBezTo>
                    <a:close/>
                  </a:path>
                </a:pathLst>
              </a:custGeom>
              <a:solidFill>
                <a:schemeClr val="accent1"/>
              </a:solidFill>
              <a:ln w="205" cap="flat">
                <a:noFill/>
                <a:prstDash val="solid"/>
                <a:miter/>
              </a:ln>
            </p:spPr>
            <p:txBody>
              <a:bodyPr rtlCol="0" anchor="ctr"/>
              <a:lstStyle/>
              <a:p>
                <a:endParaRPr lang="en-GB" dirty="0"/>
              </a:p>
            </p:txBody>
          </p:sp>
        </p:grpSp>
        <p:grpSp>
          <p:nvGrpSpPr>
            <p:cNvPr id="623" name="Grafik 348">
              <a:extLst>
                <a:ext uri="{FF2B5EF4-FFF2-40B4-BE49-F238E27FC236}">
                  <a16:creationId xmlns:a16="http://schemas.microsoft.com/office/drawing/2014/main" id="{9CE0A192-6114-4340-9749-AD0C2BA6E100}"/>
                </a:ext>
              </a:extLst>
            </p:cNvPr>
            <p:cNvGrpSpPr/>
            <p:nvPr/>
          </p:nvGrpSpPr>
          <p:grpSpPr>
            <a:xfrm>
              <a:off x="3952403" y="3290444"/>
              <a:ext cx="228190" cy="413092"/>
              <a:chOff x="3649400" y="3356739"/>
              <a:chExt cx="221861" cy="401634"/>
            </a:xfrm>
            <a:solidFill>
              <a:schemeClr val="tx2"/>
            </a:solidFill>
          </p:grpSpPr>
          <p:sp>
            <p:nvSpPr>
              <p:cNvPr id="624" name="Freihandform: Form 623">
                <a:extLst>
                  <a:ext uri="{FF2B5EF4-FFF2-40B4-BE49-F238E27FC236}">
                    <a16:creationId xmlns:a16="http://schemas.microsoft.com/office/drawing/2014/main" id="{D2E82137-84B3-406C-8017-BD0344ED5524}"/>
                  </a:ext>
                </a:extLst>
              </p:cNvPr>
              <p:cNvSpPr/>
              <p:nvPr/>
            </p:nvSpPr>
            <p:spPr>
              <a:xfrm>
                <a:off x="3735893" y="3534246"/>
                <a:ext cx="13325" cy="224127"/>
              </a:xfrm>
              <a:custGeom>
                <a:avLst/>
                <a:gdLst>
                  <a:gd name="connsiteX0" fmla="*/ 6663 w 13325"/>
                  <a:gd name="connsiteY0" fmla="*/ 224128 h 224127"/>
                  <a:gd name="connsiteX1" fmla="*/ 0 w 13325"/>
                  <a:gd name="connsiteY1" fmla="*/ 217445 h 224127"/>
                  <a:gd name="connsiteX2" fmla="*/ 0 w 13325"/>
                  <a:gd name="connsiteY2" fmla="*/ 6667 h 224127"/>
                  <a:gd name="connsiteX3" fmla="*/ 6663 w 13325"/>
                  <a:gd name="connsiteY3" fmla="*/ 0 h 224127"/>
                  <a:gd name="connsiteX4" fmla="*/ 13325 w 13325"/>
                  <a:gd name="connsiteY4" fmla="*/ 6667 h 224127"/>
                  <a:gd name="connsiteX5" fmla="*/ 13325 w 13325"/>
                  <a:gd name="connsiteY5" fmla="*/ 217445 h 224127"/>
                  <a:gd name="connsiteX6" fmla="*/ 6663 w 13325"/>
                  <a:gd name="connsiteY6" fmla="*/ 224128 h 22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5" h="224127">
                    <a:moveTo>
                      <a:pt x="6663" y="224128"/>
                    </a:moveTo>
                    <a:cubicBezTo>
                      <a:pt x="2982" y="224128"/>
                      <a:pt x="0" y="221146"/>
                      <a:pt x="0" y="217445"/>
                    </a:cubicBezTo>
                    <a:lnTo>
                      <a:pt x="0" y="6667"/>
                    </a:lnTo>
                    <a:cubicBezTo>
                      <a:pt x="0" y="2982"/>
                      <a:pt x="2982" y="0"/>
                      <a:pt x="6663" y="0"/>
                    </a:cubicBezTo>
                    <a:cubicBezTo>
                      <a:pt x="10343" y="0"/>
                      <a:pt x="13325" y="2982"/>
                      <a:pt x="13325" y="6667"/>
                    </a:cubicBezTo>
                    <a:lnTo>
                      <a:pt x="13325" y="217445"/>
                    </a:lnTo>
                    <a:cubicBezTo>
                      <a:pt x="13325" y="221146"/>
                      <a:pt x="10343" y="224128"/>
                      <a:pt x="6663" y="224128"/>
                    </a:cubicBezTo>
                    <a:close/>
                  </a:path>
                </a:pathLst>
              </a:custGeom>
              <a:grpFill/>
              <a:ln w="205" cap="flat">
                <a:noFill/>
                <a:prstDash val="solid"/>
                <a:miter/>
              </a:ln>
            </p:spPr>
            <p:txBody>
              <a:bodyPr rtlCol="0" anchor="ctr"/>
              <a:lstStyle/>
              <a:p>
                <a:endParaRPr lang="en-GB" dirty="0"/>
              </a:p>
            </p:txBody>
          </p:sp>
          <p:sp>
            <p:nvSpPr>
              <p:cNvPr id="625" name="Freihandform: Form 624">
                <a:extLst>
                  <a:ext uri="{FF2B5EF4-FFF2-40B4-BE49-F238E27FC236}">
                    <a16:creationId xmlns:a16="http://schemas.microsoft.com/office/drawing/2014/main" id="{34AE762B-E214-494F-B019-8C8738B50408}"/>
                  </a:ext>
                </a:extLst>
              </p:cNvPr>
              <p:cNvSpPr/>
              <p:nvPr/>
            </p:nvSpPr>
            <p:spPr>
              <a:xfrm>
                <a:off x="3824644" y="3534246"/>
                <a:ext cx="18877" cy="224127"/>
              </a:xfrm>
              <a:custGeom>
                <a:avLst/>
                <a:gdLst>
                  <a:gd name="connsiteX0" fmla="*/ 6662 w 18877"/>
                  <a:gd name="connsiteY0" fmla="*/ 224128 h 224127"/>
                  <a:gd name="connsiteX1" fmla="*/ 0 w 18877"/>
                  <a:gd name="connsiteY1" fmla="*/ 217445 h 224127"/>
                  <a:gd name="connsiteX2" fmla="*/ 0 w 18877"/>
                  <a:gd name="connsiteY2" fmla="*/ 6667 h 224127"/>
                  <a:gd name="connsiteX3" fmla="*/ 6662 w 18877"/>
                  <a:gd name="connsiteY3" fmla="*/ 0 h 224127"/>
                  <a:gd name="connsiteX4" fmla="*/ 12215 w 18877"/>
                  <a:gd name="connsiteY4" fmla="*/ 0 h 224127"/>
                  <a:gd name="connsiteX5" fmla="*/ 18877 w 18877"/>
                  <a:gd name="connsiteY5" fmla="*/ 6667 h 224127"/>
                  <a:gd name="connsiteX6" fmla="*/ 13345 w 18877"/>
                  <a:gd name="connsiteY6" fmla="*/ 13243 h 224127"/>
                  <a:gd name="connsiteX7" fmla="*/ 13345 w 18877"/>
                  <a:gd name="connsiteY7" fmla="*/ 217466 h 224127"/>
                  <a:gd name="connsiteX8" fmla="*/ 6662 w 18877"/>
                  <a:gd name="connsiteY8" fmla="*/ 224128 h 224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77" h="224127">
                    <a:moveTo>
                      <a:pt x="6662" y="224128"/>
                    </a:moveTo>
                    <a:cubicBezTo>
                      <a:pt x="2982" y="224128"/>
                      <a:pt x="0" y="221146"/>
                      <a:pt x="0" y="217445"/>
                    </a:cubicBezTo>
                    <a:lnTo>
                      <a:pt x="0" y="6667"/>
                    </a:lnTo>
                    <a:cubicBezTo>
                      <a:pt x="0" y="2982"/>
                      <a:pt x="2982" y="0"/>
                      <a:pt x="6662" y="0"/>
                    </a:cubicBezTo>
                    <a:lnTo>
                      <a:pt x="12215" y="0"/>
                    </a:lnTo>
                    <a:cubicBezTo>
                      <a:pt x="15895" y="0"/>
                      <a:pt x="18877" y="2982"/>
                      <a:pt x="18877" y="6667"/>
                    </a:cubicBezTo>
                    <a:cubicBezTo>
                      <a:pt x="18877" y="9967"/>
                      <a:pt x="16492" y="12708"/>
                      <a:pt x="13345" y="13243"/>
                    </a:cubicBezTo>
                    <a:lnTo>
                      <a:pt x="13345" y="217466"/>
                    </a:lnTo>
                    <a:cubicBezTo>
                      <a:pt x="13345" y="221146"/>
                      <a:pt x="10364" y="224128"/>
                      <a:pt x="6662" y="224128"/>
                    </a:cubicBezTo>
                    <a:close/>
                  </a:path>
                </a:pathLst>
              </a:custGeom>
              <a:grpFill/>
              <a:ln w="205" cap="flat">
                <a:noFill/>
                <a:prstDash val="solid"/>
                <a:miter/>
              </a:ln>
            </p:spPr>
            <p:txBody>
              <a:bodyPr rtlCol="0" anchor="ctr"/>
              <a:lstStyle/>
              <a:p>
                <a:endParaRPr lang="en-GB" dirty="0"/>
              </a:p>
            </p:txBody>
          </p:sp>
          <p:sp>
            <p:nvSpPr>
              <p:cNvPr id="626" name="Freihandform: Form 625">
                <a:extLst>
                  <a:ext uri="{FF2B5EF4-FFF2-40B4-BE49-F238E27FC236}">
                    <a16:creationId xmlns:a16="http://schemas.microsoft.com/office/drawing/2014/main" id="{33660C82-6964-4AB5-81DD-5E6CF8D77C08}"/>
                  </a:ext>
                </a:extLst>
              </p:cNvPr>
              <p:cNvSpPr/>
              <p:nvPr/>
            </p:nvSpPr>
            <p:spPr>
              <a:xfrm>
                <a:off x="3774716" y="3622997"/>
                <a:ext cx="13345" cy="135376"/>
              </a:xfrm>
              <a:custGeom>
                <a:avLst/>
                <a:gdLst>
                  <a:gd name="connsiteX0" fmla="*/ 6683 w 13345"/>
                  <a:gd name="connsiteY0" fmla="*/ 135377 h 135376"/>
                  <a:gd name="connsiteX1" fmla="*/ 0 w 13345"/>
                  <a:gd name="connsiteY1" fmla="*/ 128694 h 135376"/>
                  <a:gd name="connsiteX2" fmla="*/ 0 w 13345"/>
                  <a:gd name="connsiteY2" fmla="*/ 6667 h 135376"/>
                  <a:gd name="connsiteX3" fmla="*/ 6683 w 13345"/>
                  <a:gd name="connsiteY3" fmla="*/ 0 h 135376"/>
                  <a:gd name="connsiteX4" fmla="*/ 13346 w 13345"/>
                  <a:gd name="connsiteY4" fmla="*/ 6667 h 135376"/>
                  <a:gd name="connsiteX5" fmla="*/ 13346 w 13345"/>
                  <a:gd name="connsiteY5" fmla="*/ 128694 h 135376"/>
                  <a:gd name="connsiteX6" fmla="*/ 6683 w 13345"/>
                  <a:gd name="connsiteY6" fmla="*/ 135377 h 135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5" h="135376">
                    <a:moveTo>
                      <a:pt x="6683" y="135377"/>
                    </a:moveTo>
                    <a:cubicBezTo>
                      <a:pt x="2982" y="135377"/>
                      <a:pt x="0" y="132395"/>
                      <a:pt x="0" y="128694"/>
                    </a:cubicBezTo>
                    <a:lnTo>
                      <a:pt x="0" y="6667"/>
                    </a:lnTo>
                    <a:cubicBezTo>
                      <a:pt x="0" y="2982"/>
                      <a:pt x="2982" y="0"/>
                      <a:pt x="6683" y="0"/>
                    </a:cubicBezTo>
                    <a:cubicBezTo>
                      <a:pt x="10364" y="0"/>
                      <a:pt x="13346" y="2982"/>
                      <a:pt x="13346" y="6667"/>
                    </a:cubicBezTo>
                    <a:lnTo>
                      <a:pt x="13346" y="128694"/>
                    </a:lnTo>
                    <a:cubicBezTo>
                      <a:pt x="13346" y="132395"/>
                      <a:pt x="10364" y="135377"/>
                      <a:pt x="6683" y="135377"/>
                    </a:cubicBezTo>
                    <a:close/>
                  </a:path>
                </a:pathLst>
              </a:custGeom>
              <a:grpFill/>
              <a:ln w="205" cap="flat">
                <a:noFill/>
                <a:prstDash val="solid"/>
                <a:miter/>
              </a:ln>
            </p:spPr>
            <p:txBody>
              <a:bodyPr rtlCol="0" anchor="ctr"/>
              <a:lstStyle/>
              <a:p>
                <a:endParaRPr lang="en-GB" dirty="0"/>
              </a:p>
            </p:txBody>
          </p:sp>
          <p:sp>
            <p:nvSpPr>
              <p:cNvPr id="627" name="Freihandform: Form 626">
                <a:extLst>
                  <a:ext uri="{FF2B5EF4-FFF2-40B4-BE49-F238E27FC236}">
                    <a16:creationId xmlns:a16="http://schemas.microsoft.com/office/drawing/2014/main" id="{AB698CD6-0555-4B4D-A0CA-A6DB5223A47A}"/>
                  </a:ext>
                </a:extLst>
              </p:cNvPr>
              <p:cNvSpPr/>
              <p:nvPr/>
            </p:nvSpPr>
            <p:spPr>
              <a:xfrm>
                <a:off x="3649400" y="3456593"/>
                <a:ext cx="221861" cy="178619"/>
              </a:xfrm>
              <a:custGeom>
                <a:avLst/>
                <a:gdLst>
                  <a:gd name="connsiteX0" fmla="*/ 201216 w 221861"/>
                  <a:gd name="connsiteY0" fmla="*/ 178619 h 178619"/>
                  <a:gd name="connsiteX1" fmla="*/ 187459 w 221861"/>
                  <a:gd name="connsiteY1" fmla="*/ 178619 h 178619"/>
                  <a:gd name="connsiteX2" fmla="*/ 180796 w 221861"/>
                  <a:gd name="connsiteY2" fmla="*/ 171953 h 178619"/>
                  <a:gd name="connsiteX3" fmla="*/ 187459 w 221861"/>
                  <a:gd name="connsiteY3" fmla="*/ 165286 h 178619"/>
                  <a:gd name="connsiteX4" fmla="*/ 201216 w 221861"/>
                  <a:gd name="connsiteY4" fmla="*/ 165286 h 178619"/>
                  <a:gd name="connsiteX5" fmla="*/ 208536 w 221861"/>
                  <a:gd name="connsiteY5" fmla="*/ 157968 h 178619"/>
                  <a:gd name="connsiteX6" fmla="*/ 208536 w 221861"/>
                  <a:gd name="connsiteY6" fmla="*/ 73226 h 178619"/>
                  <a:gd name="connsiteX7" fmla="*/ 148635 w 221861"/>
                  <a:gd name="connsiteY7" fmla="*/ 13329 h 178619"/>
                  <a:gd name="connsiteX8" fmla="*/ 126838 w 221861"/>
                  <a:gd name="connsiteY8" fmla="*/ 13329 h 178619"/>
                  <a:gd name="connsiteX9" fmla="*/ 80159 w 221861"/>
                  <a:gd name="connsiteY9" fmla="*/ 55681 h 178619"/>
                  <a:gd name="connsiteX10" fmla="*/ 73271 w 221861"/>
                  <a:gd name="connsiteY10" fmla="*/ 68957 h 178619"/>
                  <a:gd name="connsiteX11" fmla="*/ 21245 w 221861"/>
                  <a:gd name="connsiteY11" fmla="*/ 100267 h 178619"/>
                  <a:gd name="connsiteX12" fmla="*/ 13328 w 221861"/>
                  <a:gd name="connsiteY12" fmla="*/ 108496 h 178619"/>
                  <a:gd name="connsiteX13" fmla="*/ 15734 w 221861"/>
                  <a:gd name="connsiteY13" fmla="*/ 114486 h 178619"/>
                  <a:gd name="connsiteX14" fmla="*/ 21883 w 221861"/>
                  <a:gd name="connsiteY14" fmla="*/ 117038 h 178619"/>
                  <a:gd name="connsiteX15" fmla="*/ 21903 w 221861"/>
                  <a:gd name="connsiteY15" fmla="*/ 117038 h 178619"/>
                  <a:gd name="connsiteX16" fmla="*/ 66382 w 221861"/>
                  <a:gd name="connsiteY16" fmla="*/ 110795 h 178619"/>
                  <a:gd name="connsiteX17" fmla="*/ 86513 w 221861"/>
                  <a:gd name="connsiteY17" fmla="*/ 83660 h 178619"/>
                  <a:gd name="connsiteX18" fmla="*/ 93813 w 221861"/>
                  <a:gd name="connsiteY18" fmla="*/ 77690 h 178619"/>
                  <a:gd name="connsiteX19" fmla="*/ 99797 w 221861"/>
                  <a:gd name="connsiteY19" fmla="*/ 84988 h 178619"/>
                  <a:gd name="connsiteX20" fmla="*/ 70865 w 221861"/>
                  <a:gd name="connsiteY20" fmla="*/ 123349 h 178619"/>
                  <a:gd name="connsiteX21" fmla="*/ 21945 w 221861"/>
                  <a:gd name="connsiteY21" fmla="*/ 130374 h 178619"/>
                  <a:gd name="connsiteX22" fmla="*/ 21883 w 221861"/>
                  <a:gd name="connsiteY22" fmla="*/ 130374 h 178619"/>
                  <a:gd name="connsiteX23" fmla="*/ 6255 w 221861"/>
                  <a:gd name="connsiteY23" fmla="*/ 123857 h 178619"/>
                  <a:gd name="connsiteX24" fmla="*/ 3 w 221861"/>
                  <a:gd name="connsiteY24" fmla="*/ 108291 h 178619"/>
                  <a:gd name="connsiteX25" fmla="*/ 20382 w 221861"/>
                  <a:gd name="connsiteY25" fmla="*/ 86962 h 178619"/>
                  <a:gd name="connsiteX26" fmla="*/ 61755 w 221861"/>
                  <a:gd name="connsiteY26" fmla="*/ 62241 h 178619"/>
                  <a:gd name="connsiteX27" fmla="*/ 68191 w 221861"/>
                  <a:gd name="connsiteY27" fmla="*/ 49819 h 178619"/>
                  <a:gd name="connsiteX28" fmla="*/ 125666 w 221861"/>
                  <a:gd name="connsiteY28" fmla="*/ 45 h 178619"/>
                  <a:gd name="connsiteX29" fmla="*/ 126447 w 221861"/>
                  <a:gd name="connsiteY29" fmla="*/ 0 h 178619"/>
                  <a:gd name="connsiteX30" fmla="*/ 148635 w 221861"/>
                  <a:gd name="connsiteY30" fmla="*/ 0 h 178619"/>
                  <a:gd name="connsiteX31" fmla="*/ 221861 w 221861"/>
                  <a:gd name="connsiteY31" fmla="*/ 73232 h 178619"/>
                  <a:gd name="connsiteX32" fmla="*/ 221861 w 221861"/>
                  <a:gd name="connsiteY32" fmla="*/ 157974 h 178619"/>
                  <a:gd name="connsiteX33" fmla="*/ 201216 w 221861"/>
                  <a:gd name="connsiteY33" fmla="*/ 178619 h 17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21861" h="178619">
                    <a:moveTo>
                      <a:pt x="201216" y="178619"/>
                    </a:moveTo>
                    <a:lnTo>
                      <a:pt x="187459" y="178619"/>
                    </a:lnTo>
                    <a:cubicBezTo>
                      <a:pt x="183778" y="178619"/>
                      <a:pt x="180796" y="175638"/>
                      <a:pt x="180796" y="171953"/>
                    </a:cubicBezTo>
                    <a:cubicBezTo>
                      <a:pt x="180796" y="168268"/>
                      <a:pt x="183778" y="165286"/>
                      <a:pt x="187459" y="165286"/>
                    </a:cubicBezTo>
                    <a:lnTo>
                      <a:pt x="201216" y="165286"/>
                    </a:lnTo>
                    <a:cubicBezTo>
                      <a:pt x="205246" y="165286"/>
                      <a:pt x="208536" y="162004"/>
                      <a:pt x="208536" y="157968"/>
                    </a:cubicBezTo>
                    <a:lnTo>
                      <a:pt x="208536" y="73226"/>
                    </a:lnTo>
                    <a:cubicBezTo>
                      <a:pt x="208536" y="40197"/>
                      <a:pt x="181660" y="13329"/>
                      <a:pt x="148635" y="13329"/>
                    </a:cubicBezTo>
                    <a:lnTo>
                      <a:pt x="126838" y="13329"/>
                    </a:lnTo>
                    <a:cubicBezTo>
                      <a:pt x="99201" y="16792"/>
                      <a:pt x="89516" y="36560"/>
                      <a:pt x="80159" y="55681"/>
                    </a:cubicBezTo>
                    <a:cubicBezTo>
                      <a:pt x="77856" y="60376"/>
                      <a:pt x="75677" y="64809"/>
                      <a:pt x="73271" y="68957"/>
                    </a:cubicBezTo>
                    <a:cubicBezTo>
                      <a:pt x="62187" y="87949"/>
                      <a:pt x="44194" y="98776"/>
                      <a:pt x="21245" y="100267"/>
                    </a:cubicBezTo>
                    <a:cubicBezTo>
                      <a:pt x="16804" y="100553"/>
                      <a:pt x="13390" y="104087"/>
                      <a:pt x="13328" y="108496"/>
                    </a:cubicBezTo>
                    <a:cubicBezTo>
                      <a:pt x="13287" y="110750"/>
                      <a:pt x="14151" y="112878"/>
                      <a:pt x="15734" y="114486"/>
                    </a:cubicBezTo>
                    <a:cubicBezTo>
                      <a:pt x="17359" y="116133"/>
                      <a:pt x="19539" y="117038"/>
                      <a:pt x="21883" y="117038"/>
                    </a:cubicBezTo>
                    <a:cubicBezTo>
                      <a:pt x="21883" y="117038"/>
                      <a:pt x="21903" y="117038"/>
                      <a:pt x="21903" y="117038"/>
                    </a:cubicBezTo>
                    <a:cubicBezTo>
                      <a:pt x="38950" y="116993"/>
                      <a:pt x="55586" y="114661"/>
                      <a:pt x="66382" y="110795"/>
                    </a:cubicBezTo>
                    <a:cubicBezTo>
                      <a:pt x="84457" y="104318"/>
                      <a:pt x="85423" y="94748"/>
                      <a:pt x="86513" y="83660"/>
                    </a:cubicBezTo>
                    <a:cubicBezTo>
                      <a:pt x="86884" y="80002"/>
                      <a:pt x="90091" y="77396"/>
                      <a:pt x="93813" y="77690"/>
                    </a:cubicBezTo>
                    <a:cubicBezTo>
                      <a:pt x="97474" y="78054"/>
                      <a:pt x="100147" y="81324"/>
                      <a:pt x="99797" y="84988"/>
                    </a:cubicBezTo>
                    <a:cubicBezTo>
                      <a:pt x="98563" y="97242"/>
                      <a:pt x="96898" y="114026"/>
                      <a:pt x="70865" y="123349"/>
                    </a:cubicBezTo>
                    <a:cubicBezTo>
                      <a:pt x="58527" y="127764"/>
                      <a:pt x="40698" y="130328"/>
                      <a:pt x="21945" y="130374"/>
                    </a:cubicBezTo>
                    <a:cubicBezTo>
                      <a:pt x="21924" y="130374"/>
                      <a:pt x="21903" y="130374"/>
                      <a:pt x="21883" y="130374"/>
                    </a:cubicBezTo>
                    <a:cubicBezTo>
                      <a:pt x="15940" y="130374"/>
                      <a:pt x="10408" y="128062"/>
                      <a:pt x="6255" y="123857"/>
                    </a:cubicBezTo>
                    <a:cubicBezTo>
                      <a:pt x="2121" y="119676"/>
                      <a:pt x="-99" y="114149"/>
                      <a:pt x="3" y="108291"/>
                    </a:cubicBezTo>
                    <a:cubicBezTo>
                      <a:pt x="188" y="96872"/>
                      <a:pt x="8948" y="87705"/>
                      <a:pt x="20382" y="86962"/>
                    </a:cubicBezTo>
                    <a:cubicBezTo>
                      <a:pt x="38971" y="85757"/>
                      <a:pt x="52872" y="77437"/>
                      <a:pt x="61755" y="62241"/>
                    </a:cubicBezTo>
                    <a:cubicBezTo>
                      <a:pt x="63914" y="58517"/>
                      <a:pt x="65991" y="54291"/>
                      <a:pt x="68191" y="49819"/>
                    </a:cubicBezTo>
                    <a:cubicBezTo>
                      <a:pt x="78123" y="29506"/>
                      <a:pt x="90503" y="4232"/>
                      <a:pt x="125666" y="45"/>
                    </a:cubicBezTo>
                    <a:cubicBezTo>
                      <a:pt x="125913" y="12"/>
                      <a:pt x="126180" y="0"/>
                      <a:pt x="126447" y="0"/>
                    </a:cubicBezTo>
                    <a:lnTo>
                      <a:pt x="148635" y="0"/>
                    </a:lnTo>
                    <a:cubicBezTo>
                      <a:pt x="189001" y="0"/>
                      <a:pt x="221861" y="32852"/>
                      <a:pt x="221861" y="73232"/>
                    </a:cubicBezTo>
                    <a:lnTo>
                      <a:pt x="221861" y="157974"/>
                    </a:lnTo>
                    <a:cubicBezTo>
                      <a:pt x="221861" y="169353"/>
                      <a:pt x="212608" y="178619"/>
                      <a:pt x="201216" y="178619"/>
                    </a:cubicBezTo>
                    <a:close/>
                  </a:path>
                </a:pathLst>
              </a:custGeom>
              <a:grpFill/>
              <a:ln w="205" cap="flat">
                <a:noFill/>
                <a:prstDash val="solid"/>
                <a:miter/>
              </a:ln>
            </p:spPr>
            <p:txBody>
              <a:bodyPr rtlCol="0" anchor="ctr"/>
              <a:lstStyle/>
              <a:p>
                <a:endParaRPr lang="en-GB" dirty="0"/>
              </a:p>
            </p:txBody>
          </p:sp>
          <p:sp>
            <p:nvSpPr>
              <p:cNvPr id="628" name="Freihandform: Form 627">
                <a:extLst>
                  <a:ext uri="{FF2B5EF4-FFF2-40B4-BE49-F238E27FC236}">
                    <a16:creationId xmlns:a16="http://schemas.microsoft.com/office/drawing/2014/main" id="{14058A37-A2ED-461E-9DBF-BF37C168780A}"/>
                  </a:ext>
                </a:extLst>
              </p:cNvPr>
              <p:cNvSpPr/>
              <p:nvPr/>
            </p:nvSpPr>
            <p:spPr>
              <a:xfrm>
                <a:off x="3746976" y="3356739"/>
                <a:ext cx="79909" cy="90992"/>
              </a:xfrm>
              <a:custGeom>
                <a:avLst/>
                <a:gdLst>
                  <a:gd name="connsiteX0" fmla="*/ 39955 w 79909"/>
                  <a:gd name="connsiteY0" fmla="*/ 90993 h 90992"/>
                  <a:gd name="connsiteX1" fmla="*/ 0 w 79909"/>
                  <a:gd name="connsiteY1" fmla="*/ 45496 h 90992"/>
                  <a:gd name="connsiteX2" fmla="*/ 39955 w 79909"/>
                  <a:gd name="connsiteY2" fmla="*/ 0 h 90992"/>
                  <a:gd name="connsiteX3" fmla="*/ 79909 w 79909"/>
                  <a:gd name="connsiteY3" fmla="*/ 45496 h 90992"/>
                  <a:gd name="connsiteX4" fmla="*/ 39955 w 79909"/>
                  <a:gd name="connsiteY4" fmla="*/ 90993 h 90992"/>
                  <a:gd name="connsiteX5" fmla="*/ 39955 w 79909"/>
                  <a:gd name="connsiteY5" fmla="*/ 13333 h 90992"/>
                  <a:gd name="connsiteX6" fmla="*/ 13345 w 79909"/>
                  <a:gd name="connsiteY6" fmla="*/ 45496 h 90992"/>
                  <a:gd name="connsiteX7" fmla="*/ 39955 w 79909"/>
                  <a:gd name="connsiteY7" fmla="*/ 77659 h 90992"/>
                  <a:gd name="connsiteX8" fmla="*/ 66584 w 79909"/>
                  <a:gd name="connsiteY8" fmla="*/ 45496 h 90992"/>
                  <a:gd name="connsiteX9" fmla="*/ 39955 w 79909"/>
                  <a:gd name="connsiteY9" fmla="*/ 13333 h 90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909" h="90992">
                    <a:moveTo>
                      <a:pt x="39955" y="90993"/>
                    </a:moveTo>
                    <a:cubicBezTo>
                      <a:pt x="16451" y="90993"/>
                      <a:pt x="0" y="72280"/>
                      <a:pt x="0" y="45496"/>
                    </a:cubicBezTo>
                    <a:cubicBezTo>
                      <a:pt x="0" y="18713"/>
                      <a:pt x="16451" y="0"/>
                      <a:pt x="39955" y="0"/>
                    </a:cubicBezTo>
                    <a:cubicBezTo>
                      <a:pt x="63479" y="0"/>
                      <a:pt x="79909" y="18713"/>
                      <a:pt x="79909" y="45496"/>
                    </a:cubicBezTo>
                    <a:cubicBezTo>
                      <a:pt x="79909" y="72280"/>
                      <a:pt x="63479" y="90993"/>
                      <a:pt x="39955" y="90993"/>
                    </a:cubicBezTo>
                    <a:close/>
                    <a:moveTo>
                      <a:pt x="39955" y="13333"/>
                    </a:moveTo>
                    <a:cubicBezTo>
                      <a:pt x="20317" y="13333"/>
                      <a:pt x="13345" y="30658"/>
                      <a:pt x="13345" y="45496"/>
                    </a:cubicBezTo>
                    <a:cubicBezTo>
                      <a:pt x="13345" y="60335"/>
                      <a:pt x="20317" y="77659"/>
                      <a:pt x="39955" y="77659"/>
                    </a:cubicBezTo>
                    <a:cubicBezTo>
                      <a:pt x="59613" y="77659"/>
                      <a:pt x="66584" y="60335"/>
                      <a:pt x="66584" y="45496"/>
                    </a:cubicBezTo>
                    <a:cubicBezTo>
                      <a:pt x="66584" y="30658"/>
                      <a:pt x="59613" y="13333"/>
                      <a:pt x="39955" y="13333"/>
                    </a:cubicBezTo>
                    <a:close/>
                  </a:path>
                </a:pathLst>
              </a:custGeom>
              <a:grpFill/>
              <a:ln w="205" cap="flat">
                <a:noFill/>
                <a:prstDash val="solid"/>
                <a:miter/>
              </a:ln>
            </p:spPr>
            <p:txBody>
              <a:bodyPr rtlCol="0" anchor="ctr"/>
              <a:lstStyle/>
              <a:p>
                <a:endParaRPr lang="en-GB" dirty="0"/>
              </a:p>
            </p:txBody>
          </p:sp>
        </p:grpSp>
      </p:grpSp>
      <p:sp>
        <p:nvSpPr>
          <p:cNvPr id="648" name="TextBox 1406">
            <a:extLst>
              <a:ext uri="{FF2B5EF4-FFF2-40B4-BE49-F238E27FC236}">
                <a16:creationId xmlns:a16="http://schemas.microsoft.com/office/drawing/2014/main" id="{45B4FEC5-D4B7-4D66-8D1F-FE4E3E776961}"/>
              </a:ext>
            </a:extLst>
          </p:cNvPr>
          <p:cNvSpPr txBox="1"/>
          <p:nvPr/>
        </p:nvSpPr>
        <p:spPr>
          <a:xfrm>
            <a:off x="3786081" y="3723675"/>
            <a:ext cx="288541" cy="107722"/>
          </a:xfrm>
          <a:prstGeom prst="rect">
            <a:avLst/>
          </a:prstGeom>
          <a:noFill/>
          <a:effectLst/>
        </p:spPr>
        <p:txBody>
          <a:bodyPr wrap="none" lIns="0" tIns="0" rIns="0" bIns="0" rtlCol="0" anchor="t">
            <a:spAutoFit/>
          </a:bodyPr>
          <a:lstStyle/>
          <a:p>
            <a:pPr algn="ctr"/>
            <a:r>
              <a:rPr lang="en-GB" sz="700" dirty="0">
                <a:solidFill>
                  <a:schemeClr val="tx2"/>
                </a:solidFill>
              </a:rPr>
              <a:t>Vendor</a:t>
            </a:r>
          </a:p>
        </p:txBody>
      </p:sp>
      <p:grpSp>
        <p:nvGrpSpPr>
          <p:cNvPr id="42" name="Group 41">
            <a:extLst>
              <a:ext uri="{FF2B5EF4-FFF2-40B4-BE49-F238E27FC236}">
                <a16:creationId xmlns:a16="http://schemas.microsoft.com/office/drawing/2014/main" id="{09657ACE-DC1D-59DF-4E64-6CF3C0D2F2E8}"/>
              </a:ext>
            </a:extLst>
          </p:cNvPr>
          <p:cNvGrpSpPr/>
          <p:nvPr/>
        </p:nvGrpSpPr>
        <p:grpSpPr>
          <a:xfrm>
            <a:off x="2654982" y="3273397"/>
            <a:ext cx="459872" cy="432000"/>
            <a:chOff x="2654982" y="3273397"/>
            <a:chExt cx="459872" cy="432000"/>
          </a:xfrm>
        </p:grpSpPr>
        <p:grpSp>
          <p:nvGrpSpPr>
            <p:cNvPr id="650" name="Grafik 348">
              <a:extLst>
                <a:ext uri="{FF2B5EF4-FFF2-40B4-BE49-F238E27FC236}">
                  <a16:creationId xmlns:a16="http://schemas.microsoft.com/office/drawing/2014/main" id="{4D528C8F-703C-4B9B-963F-8207F9E60B4B}"/>
                </a:ext>
              </a:extLst>
            </p:cNvPr>
            <p:cNvGrpSpPr/>
            <p:nvPr/>
          </p:nvGrpSpPr>
          <p:grpSpPr>
            <a:xfrm>
              <a:off x="2773889" y="3273397"/>
              <a:ext cx="340965" cy="202072"/>
              <a:chOff x="2678674" y="3340138"/>
              <a:chExt cx="326238" cy="193344"/>
            </a:xfrm>
            <a:solidFill>
              <a:schemeClr val="accent1"/>
            </a:solidFill>
          </p:grpSpPr>
          <p:sp>
            <p:nvSpPr>
              <p:cNvPr id="660" name="Freihandform: Form 659">
                <a:extLst>
                  <a:ext uri="{FF2B5EF4-FFF2-40B4-BE49-F238E27FC236}">
                    <a16:creationId xmlns:a16="http://schemas.microsoft.com/office/drawing/2014/main" id="{27E97CF9-7656-4521-9A52-6EA949185362}"/>
                  </a:ext>
                </a:extLst>
              </p:cNvPr>
              <p:cNvSpPr/>
              <p:nvPr/>
            </p:nvSpPr>
            <p:spPr>
              <a:xfrm>
                <a:off x="2678674" y="3340140"/>
                <a:ext cx="326238" cy="193342"/>
              </a:xfrm>
              <a:custGeom>
                <a:avLst/>
                <a:gdLst>
                  <a:gd name="connsiteX0" fmla="*/ 6662 w 326238"/>
                  <a:gd name="connsiteY0" fmla="*/ 193343 h 193342"/>
                  <a:gd name="connsiteX1" fmla="*/ 2580 w 326238"/>
                  <a:gd name="connsiteY1" fmla="*/ 191943 h 193342"/>
                  <a:gd name="connsiteX2" fmla="*/ 1402 w 326238"/>
                  <a:gd name="connsiteY2" fmla="*/ 182586 h 193342"/>
                  <a:gd name="connsiteX3" fmla="*/ 48546 w 326238"/>
                  <a:gd name="connsiteY3" fmla="*/ 121914 h 193342"/>
                  <a:gd name="connsiteX4" fmla="*/ 55864 w 326238"/>
                  <a:gd name="connsiteY4" fmla="*/ 119662 h 193342"/>
                  <a:gd name="connsiteX5" fmla="*/ 114315 w 326238"/>
                  <a:gd name="connsiteY5" fmla="*/ 138550 h 193342"/>
                  <a:gd name="connsiteX6" fmla="*/ 174597 w 326238"/>
                  <a:gd name="connsiteY6" fmla="*/ 72961 h 193342"/>
                  <a:gd name="connsiteX7" fmla="*/ 182943 w 326238"/>
                  <a:gd name="connsiteY7" fmla="*/ 71762 h 193342"/>
                  <a:gd name="connsiteX8" fmla="*/ 220681 w 326238"/>
                  <a:gd name="connsiteY8" fmla="*/ 94491 h 193342"/>
                  <a:gd name="connsiteX9" fmla="*/ 314903 w 326238"/>
                  <a:gd name="connsiteY9" fmla="*/ 1917 h 193342"/>
                  <a:gd name="connsiteX10" fmla="*/ 324321 w 326238"/>
                  <a:gd name="connsiteY10" fmla="*/ 1995 h 193342"/>
                  <a:gd name="connsiteX11" fmla="*/ 324238 w 326238"/>
                  <a:gd name="connsiteY11" fmla="*/ 11421 h 193342"/>
                  <a:gd name="connsiteX12" fmla="*/ 226336 w 326238"/>
                  <a:gd name="connsiteY12" fmla="*/ 107623 h 193342"/>
                  <a:gd name="connsiteX13" fmla="*/ 218214 w 326238"/>
                  <a:gd name="connsiteY13" fmla="*/ 108579 h 193342"/>
                  <a:gd name="connsiteX14" fmla="*/ 180733 w 326238"/>
                  <a:gd name="connsiteY14" fmla="*/ 85994 h 193342"/>
                  <a:gd name="connsiteX15" fmla="*/ 121245 w 326238"/>
                  <a:gd name="connsiteY15" fmla="*/ 150717 h 193342"/>
                  <a:gd name="connsiteX16" fmla="*/ 114285 w 326238"/>
                  <a:gd name="connsiteY16" fmla="*/ 152547 h 193342"/>
                  <a:gd name="connsiteX17" fmla="*/ 56210 w 326238"/>
                  <a:gd name="connsiteY17" fmla="*/ 133783 h 193342"/>
                  <a:gd name="connsiteX18" fmla="*/ 11937 w 326238"/>
                  <a:gd name="connsiteY18" fmla="*/ 190764 h 193342"/>
                  <a:gd name="connsiteX19" fmla="*/ 6662 w 326238"/>
                  <a:gd name="connsiteY19" fmla="*/ 193343 h 19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6238" h="193342">
                    <a:moveTo>
                      <a:pt x="6662" y="193343"/>
                    </a:moveTo>
                    <a:cubicBezTo>
                      <a:pt x="5237" y="193343"/>
                      <a:pt x="3798" y="192887"/>
                      <a:pt x="2580" y="191943"/>
                    </a:cubicBezTo>
                    <a:cubicBezTo>
                      <a:pt x="-329" y="189683"/>
                      <a:pt x="-858" y="185490"/>
                      <a:pt x="1402" y="182586"/>
                    </a:cubicBezTo>
                    <a:lnTo>
                      <a:pt x="48546" y="121914"/>
                    </a:lnTo>
                    <a:cubicBezTo>
                      <a:pt x="50271" y="119693"/>
                      <a:pt x="53187" y="118776"/>
                      <a:pt x="55864" y="119662"/>
                    </a:cubicBezTo>
                    <a:lnTo>
                      <a:pt x="114315" y="138550"/>
                    </a:lnTo>
                    <a:lnTo>
                      <a:pt x="174597" y="72961"/>
                    </a:lnTo>
                    <a:cubicBezTo>
                      <a:pt x="176746" y="70623"/>
                      <a:pt x="180241" y="70129"/>
                      <a:pt x="182943" y="71762"/>
                    </a:cubicBezTo>
                    <a:lnTo>
                      <a:pt x="220681" y="94491"/>
                    </a:lnTo>
                    <a:lnTo>
                      <a:pt x="314903" y="1917"/>
                    </a:lnTo>
                    <a:cubicBezTo>
                      <a:pt x="317535" y="-668"/>
                      <a:pt x="321750" y="-635"/>
                      <a:pt x="324321" y="1995"/>
                    </a:cubicBezTo>
                    <a:cubicBezTo>
                      <a:pt x="326912" y="4625"/>
                      <a:pt x="326870" y="8845"/>
                      <a:pt x="324238" y="11421"/>
                    </a:cubicBezTo>
                    <a:lnTo>
                      <a:pt x="226336" y="107623"/>
                    </a:lnTo>
                    <a:cubicBezTo>
                      <a:pt x="224156" y="109765"/>
                      <a:pt x="220825" y="110148"/>
                      <a:pt x="218214" y="108579"/>
                    </a:cubicBezTo>
                    <a:lnTo>
                      <a:pt x="180733" y="85994"/>
                    </a:lnTo>
                    <a:lnTo>
                      <a:pt x="121245" y="150717"/>
                    </a:lnTo>
                    <a:cubicBezTo>
                      <a:pt x="119487" y="152632"/>
                      <a:pt x="116785" y="153368"/>
                      <a:pt x="114285" y="152547"/>
                    </a:cubicBezTo>
                    <a:lnTo>
                      <a:pt x="56210" y="133783"/>
                    </a:lnTo>
                    <a:lnTo>
                      <a:pt x="11937" y="190764"/>
                    </a:lnTo>
                    <a:cubicBezTo>
                      <a:pt x="10621" y="192457"/>
                      <a:pt x="8655" y="193343"/>
                      <a:pt x="6662" y="193343"/>
                    </a:cubicBezTo>
                    <a:close/>
                  </a:path>
                </a:pathLst>
              </a:custGeom>
              <a:solidFill>
                <a:schemeClr val="accent1"/>
              </a:solidFill>
              <a:ln w="205" cap="flat">
                <a:noFill/>
                <a:prstDash val="solid"/>
                <a:miter/>
              </a:ln>
            </p:spPr>
            <p:txBody>
              <a:bodyPr rtlCol="0" anchor="ctr"/>
              <a:lstStyle/>
              <a:p>
                <a:endParaRPr lang="en-GB" dirty="0"/>
              </a:p>
            </p:txBody>
          </p:sp>
          <p:sp>
            <p:nvSpPr>
              <p:cNvPr id="661" name="Freihandform: Form 660">
                <a:extLst>
                  <a:ext uri="{FF2B5EF4-FFF2-40B4-BE49-F238E27FC236}">
                    <a16:creationId xmlns:a16="http://schemas.microsoft.com/office/drawing/2014/main" id="{9899FDEC-6B11-495B-82A5-83D70C2EDB0F}"/>
                  </a:ext>
                </a:extLst>
              </p:cNvPr>
              <p:cNvSpPr/>
              <p:nvPr/>
            </p:nvSpPr>
            <p:spPr>
              <a:xfrm>
                <a:off x="2961251" y="3340138"/>
                <a:ext cx="43655" cy="43672"/>
              </a:xfrm>
              <a:custGeom>
                <a:avLst/>
                <a:gdLst>
                  <a:gd name="connsiteX0" fmla="*/ 36993 w 43655"/>
                  <a:gd name="connsiteY0" fmla="*/ 43672 h 43672"/>
                  <a:gd name="connsiteX1" fmla="*/ 30331 w 43655"/>
                  <a:gd name="connsiteY1" fmla="*/ 37006 h 43672"/>
                  <a:gd name="connsiteX2" fmla="*/ 30331 w 43655"/>
                  <a:gd name="connsiteY2" fmla="*/ 13333 h 43672"/>
                  <a:gd name="connsiteX3" fmla="*/ 6662 w 43655"/>
                  <a:gd name="connsiteY3" fmla="*/ 13333 h 43672"/>
                  <a:gd name="connsiteX4" fmla="*/ 0 w 43655"/>
                  <a:gd name="connsiteY4" fmla="*/ 6667 h 43672"/>
                  <a:gd name="connsiteX5" fmla="*/ 6662 w 43655"/>
                  <a:gd name="connsiteY5" fmla="*/ 0 h 43672"/>
                  <a:gd name="connsiteX6" fmla="*/ 36993 w 43655"/>
                  <a:gd name="connsiteY6" fmla="*/ 0 h 43672"/>
                  <a:gd name="connsiteX7" fmla="*/ 43656 w 43655"/>
                  <a:gd name="connsiteY7" fmla="*/ 6667 h 43672"/>
                  <a:gd name="connsiteX8" fmla="*/ 43656 w 43655"/>
                  <a:gd name="connsiteY8" fmla="*/ 37006 h 43672"/>
                  <a:gd name="connsiteX9" fmla="*/ 36993 w 43655"/>
                  <a:gd name="connsiteY9" fmla="*/ 43672 h 4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655" h="43672">
                    <a:moveTo>
                      <a:pt x="36993" y="43672"/>
                    </a:moveTo>
                    <a:cubicBezTo>
                      <a:pt x="33313" y="43672"/>
                      <a:pt x="30331" y="40691"/>
                      <a:pt x="30331" y="37006"/>
                    </a:cubicBezTo>
                    <a:lnTo>
                      <a:pt x="30331" y="13333"/>
                    </a:lnTo>
                    <a:lnTo>
                      <a:pt x="6662" y="13333"/>
                    </a:lnTo>
                    <a:cubicBezTo>
                      <a:pt x="2982" y="13333"/>
                      <a:pt x="0" y="10352"/>
                      <a:pt x="0" y="6667"/>
                    </a:cubicBezTo>
                    <a:cubicBezTo>
                      <a:pt x="0" y="2982"/>
                      <a:pt x="2982" y="0"/>
                      <a:pt x="6662" y="0"/>
                    </a:cubicBezTo>
                    <a:lnTo>
                      <a:pt x="36993" y="0"/>
                    </a:lnTo>
                    <a:cubicBezTo>
                      <a:pt x="40674" y="0"/>
                      <a:pt x="43656" y="2982"/>
                      <a:pt x="43656" y="6667"/>
                    </a:cubicBezTo>
                    <a:lnTo>
                      <a:pt x="43656" y="37006"/>
                    </a:lnTo>
                    <a:cubicBezTo>
                      <a:pt x="43656" y="40691"/>
                      <a:pt x="40674" y="43672"/>
                      <a:pt x="36993" y="43672"/>
                    </a:cubicBezTo>
                    <a:close/>
                  </a:path>
                </a:pathLst>
              </a:custGeom>
              <a:solidFill>
                <a:schemeClr val="accent1"/>
              </a:solidFill>
              <a:ln w="205" cap="flat">
                <a:noFill/>
                <a:prstDash val="solid"/>
                <a:miter/>
              </a:ln>
            </p:spPr>
            <p:txBody>
              <a:bodyPr rtlCol="0" anchor="ctr"/>
              <a:lstStyle/>
              <a:p>
                <a:endParaRPr lang="en-GB" dirty="0"/>
              </a:p>
            </p:txBody>
          </p:sp>
        </p:grpSp>
        <p:grpSp>
          <p:nvGrpSpPr>
            <p:cNvPr id="651" name="Grafik 348">
              <a:extLst>
                <a:ext uri="{FF2B5EF4-FFF2-40B4-BE49-F238E27FC236}">
                  <a16:creationId xmlns:a16="http://schemas.microsoft.com/office/drawing/2014/main" id="{44F63A08-5ED3-4D3E-9025-514BDDD5B3CB}"/>
                </a:ext>
              </a:extLst>
            </p:cNvPr>
            <p:cNvGrpSpPr/>
            <p:nvPr/>
          </p:nvGrpSpPr>
          <p:grpSpPr>
            <a:xfrm>
              <a:off x="2654982" y="3357017"/>
              <a:ext cx="404139" cy="348380"/>
              <a:chOff x="2564903" y="3420146"/>
              <a:chExt cx="386683" cy="333333"/>
            </a:xfrm>
            <a:solidFill>
              <a:schemeClr val="tx2"/>
            </a:solidFill>
          </p:grpSpPr>
          <p:grpSp>
            <p:nvGrpSpPr>
              <p:cNvPr id="652" name="Grafik 348">
                <a:extLst>
                  <a:ext uri="{FF2B5EF4-FFF2-40B4-BE49-F238E27FC236}">
                    <a16:creationId xmlns:a16="http://schemas.microsoft.com/office/drawing/2014/main" id="{891853E4-9F2A-4BCB-A966-B4413181A9B0}"/>
                  </a:ext>
                </a:extLst>
              </p:cNvPr>
              <p:cNvGrpSpPr/>
              <p:nvPr/>
            </p:nvGrpSpPr>
            <p:grpSpPr>
              <a:xfrm>
                <a:off x="2564903" y="3420146"/>
                <a:ext cx="386683" cy="333333"/>
                <a:chOff x="2564903" y="3420146"/>
                <a:chExt cx="386683" cy="333333"/>
              </a:xfrm>
              <a:grpFill/>
            </p:grpSpPr>
            <p:sp>
              <p:nvSpPr>
                <p:cNvPr id="656" name="Freihandform: Form 655">
                  <a:extLst>
                    <a:ext uri="{FF2B5EF4-FFF2-40B4-BE49-F238E27FC236}">
                      <a16:creationId xmlns:a16="http://schemas.microsoft.com/office/drawing/2014/main" id="{7D50F558-45F7-4CC2-8D54-FCA9EC6C94B6}"/>
                    </a:ext>
                  </a:extLst>
                </p:cNvPr>
                <p:cNvSpPr/>
                <p:nvPr/>
              </p:nvSpPr>
              <p:spPr>
                <a:xfrm>
                  <a:off x="2564903" y="3420146"/>
                  <a:ext cx="380020" cy="240007"/>
                </a:xfrm>
                <a:custGeom>
                  <a:avLst/>
                  <a:gdLst>
                    <a:gd name="connsiteX0" fmla="*/ 373338 w 380020"/>
                    <a:gd name="connsiteY0" fmla="*/ 240007 h 240007"/>
                    <a:gd name="connsiteX1" fmla="*/ 106670 w 380020"/>
                    <a:gd name="connsiteY1" fmla="*/ 240007 h 240007"/>
                    <a:gd name="connsiteX2" fmla="*/ 100139 w 380020"/>
                    <a:gd name="connsiteY2" fmla="*/ 234681 h 240007"/>
                    <a:gd name="connsiteX3" fmla="*/ 54565 w 380020"/>
                    <a:gd name="connsiteY3" fmla="*/ 13333 h 240007"/>
                    <a:gd name="connsiteX4" fmla="*/ 6667 w 380020"/>
                    <a:gd name="connsiteY4" fmla="*/ 13333 h 240007"/>
                    <a:gd name="connsiteX5" fmla="*/ 0 w 380020"/>
                    <a:gd name="connsiteY5" fmla="*/ 6667 h 240007"/>
                    <a:gd name="connsiteX6" fmla="*/ 6667 w 380020"/>
                    <a:gd name="connsiteY6" fmla="*/ 0 h 240007"/>
                    <a:gd name="connsiteX7" fmla="*/ 60002 w 380020"/>
                    <a:gd name="connsiteY7" fmla="*/ 0 h 240007"/>
                    <a:gd name="connsiteX8" fmla="*/ 66533 w 380020"/>
                    <a:gd name="connsiteY8" fmla="*/ 5326 h 240007"/>
                    <a:gd name="connsiteX9" fmla="*/ 112107 w 380020"/>
                    <a:gd name="connsiteY9" fmla="*/ 226674 h 240007"/>
                    <a:gd name="connsiteX10" fmla="*/ 373338 w 380020"/>
                    <a:gd name="connsiteY10" fmla="*/ 226674 h 240007"/>
                    <a:gd name="connsiteX11" fmla="*/ 380021 w 380020"/>
                    <a:gd name="connsiteY11" fmla="*/ 233341 h 240007"/>
                    <a:gd name="connsiteX12" fmla="*/ 373338 w 380020"/>
                    <a:gd name="connsiteY12" fmla="*/ 240007 h 240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0020" h="240007">
                      <a:moveTo>
                        <a:pt x="373338" y="240007"/>
                      </a:moveTo>
                      <a:lnTo>
                        <a:pt x="106670" y="240007"/>
                      </a:lnTo>
                      <a:cubicBezTo>
                        <a:pt x="103505" y="240007"/>
                        <a:pt x="100779" y="237780"/>
                        <a:pt x="100139" y="234681"/>
                      </a:cubicBezTo>
                      <a:lnTo>
                        <a:pt x="54565" y="13333"/>
                      </a:lnTo>
                      <a:lnTo>
                        <a:pt x="6667" y="13333"/>
                      </a:lnTo>
                      <a:cubicBezTo>
                        <a:pt x="2982" y="13333"/>
                        <a:pt x="0" y="10352"/>
                        <a:pt x="0" y="6667"/>
                      </a:cubicBezTo>
                      <a:cubicBezTo>
                        <a:pt x="0" y="2982"/>
                        <a:pt x="2982" y="0"/>
                        <a:pt x="6667" y="0"/>
                      </a:cubicBezTo>
                      <a:lnTo>
                        <a:pt x="60002" y="0"/>
                      </a:lnTo>
                      <a:cubicBezTo>
                        <a:pt x="63166" y="0"/>
                        <a:pt x="65893" y="2227"/>
                        <a:pt x="66533" y="5326"/>
                      </a:cubicBezTo>
                      <a:lnTo>
                        <a:pt x="112107" y="226674"/>
                      </a:lnTo>
                      <a:lnTo>
                        <a:pt x="373338" y="226674"/>
                      </a:lnTo>
                      <a:cubicBezTo>
                        <a:pt x="377039" y="226674"/>
                        <a:pt x="380021" y="229656"/>
                        <a:pt x="380021" y="233341"/>
                      </a:cubicBezTo>
                      <a:cubicBezTo>
                        <a:pt x="380021" y="237025"/>
                        <a:pt x="377039" y="240007"/>
                        <a:pt x="373338" y="240007"/>
                      </a:cubicBezTo>
                      <a:close/>
                    </a:path>
                  </a:pathLst>
                </a:custGeom>
                <a:grpFill/>
                <a:ln w="205" cap="flat">
                  <a:noFill/>
                  <a:prstDash val="solid"/>
                  <a:miter/>
                </a:ln>
              </p:spPr>
              <p:txBody>
                <a:bodyPr rtlCol="0" anchor="ctr"/>
                <a:lstStyle/>
                <a:p>
                  <a:endParaRPr lang="en-GB" dirty="0"/>
                </a:p>
              </p:txBody>
            </p:sp>
            <p:sp>
              <p:nvSpPr>
                <p:cNvPr id="657" name="Freihandform: Form 656">
                  <a:extLst>
                    <a:ext uri="{FF2B5EF4-FFF2-40B4-BE49-F238E27FC236}">
                      <a16:creationId xmlns:a16="http://schemas.microsoft.com/office/drawing/2014/main" id="{515C309E-2AA7-492D-8DCA-67F332E512D2}"/>
                    </a:ext>
                  </a:extLst>
                </p:cNvPr>
                <p:cNvSpPr/>
                <p:nvPr/>
              </p:nvSpPr>
              <p:spPr>
                <a:xfrm>
                  <a:off x="2658240" y="3606818"/>
                  <a:ext cx="293346" cy="13333"/>
                </a:xfrm>
                <a:custGeom>
                  <a:avLst/>
                  <a:gdLst>
                    <a:gd name="connsiteX0" fmla="*/ 286684 w 293346"/>
                    <a:gd name="connsiteY0" fmla="*/ 13333 h 13333"/>
                    <a:gd name="connsiteX1" fmla="*/ 6667 w 293346"/>
                    <a:gd name="connsiteY1" fmla="*/ 13333 h 13333"/>
                    <a:gd name="connsiteX2" fmla="*/ 0 w 293346"/>
                    <a:gd name="connsiteY2" fmla="*/ 6667 h 13333"/>
                    <a:gd name="connsiteX3" fmla="*/ 6667 w 293346"/>
                    <a:gd name="connsiteY3" fmla="*/ 0 h 13333"/>
                    <a:gd name="connsiteX4" fmla="*/ 286684 w 293346"/>
                    <a:gd name="connsiteY4" fmla="*/ 0 h 13333"/>
                    <a:gd name="connsiteX5" fmla="*/ 293346 w 293346"/>
                    <a:gd name="connsiteY5" fmla="*/ 6667 h 13333"/>
                    <a:gd name="connsiteX6" fmla="*/ 286684 w 293346"/>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346" h="13333">
                      <a:moveTo>
                        <a:pt x="286684" y="13333"/>
                      </a:moveTo>
                      <a:lnTo>
                        <a:pt x="6667" y="13333"/>
                      </a:lnTo>
                      <a:cubicBezTo>
                        <a:pt x="2982" y="13333"/>
                        <a:pt x="0" y="10352"/>
                        <a:pt x="0" y="6667"/>
                      </a:cubicBezTo>
                      <a:cubicBezTo>
                        <a:pt x="0" y="2982"/>
                        <a:pt x="2982" y="0"/>
                        <a:pt x="6667" y="0"/>
                      </a:cubicBezTo>
                      <a:lnTo>
                        <a:pt x="286684" y="0"/>
                      </a:lnTo>
                      <a:cubicBezTo>
                        <a:pt x="290365" y="0"/>
                        <a:pt x="293346" y="2982"/>
                        <a:pt x="293346" y="6667"/>
                      </a:cubicBezTo>
                      <a:cubicBezTo>
                        <a:pt x="293346" y="10352"/>
                        <a:pt x="290365" y="13333"/>
                        <a:pt x="286684" y="13333"/>
                      </a:cubicBezTo>
                      <a:close/>
                    </a:path>
                  </a:pathLst>
                </a:custGeom>
                <a:grpFill/>
                <a:ln w="205" cap="flat">
                  <a:noFill/>
                  <a:prstDash val="solid"/>
                  <a:miter/>
                </a:ln>
              </p:spPr>
              <p:txBody>
                <a:bodyPr rtlCol="0" anchor="ctr"/>
                <a:lstStyle/>
                <a:p>
                  <a:endParaRPr lang="en-GB" dirty="0"/>
                </a:p>
              </p:txBody>
            </p:sp>
            <p:sp>
              <p:nvSpPr>
                <p:cNvPr id="658" name="Freihandform: Form 657">
                  <a:extLst>
                    <a:ext uri="{FF2B5EF4-FFF2-40B4-BE49-F238E27FC236}">
                      <a16:creationId xmlns:a16="http://schemas.microsoft.com/office/drawing/2014/main" id="{602058E8-D48F-4D45-B946-525DF8BD58DB}"/>
                    </a:ext>
                  </a:extLst>
                </p:cNvPr>
                <p:cNvSpPr/>
                <p:nvPr/>
              </p:nvSpPr>
              <p:spPr>
                <a:xfrm>
                  <a:off x="2684907" y="3673486"/>
                  <a:ext cx="80003" cy="79993"/>
                </a:xfrm>
                <a:custGeom>
                  <a:avLst/>
                  <a:gdLst>
                    <a:gd name="connsiteX0" fmla="*/ 40002 w 80003"/>
                    <a:gd name="connsiteY0" fmla="*/ 79993 h 79993"/>
                    <a:gd name="connsiteX1" fmla="*/ 0 w 80003"/>
                    <a:gd name="connsiteY1" fmla="*/ 39998 h 79993"/>
                    <a:gd name="connsiteX2" fmla="*/ 40002 w 80003"/>
                    <a:gd name="connsiteY2" fmla="*/ 0 h 79993"/>
                    <a:gd name="connsiteX3" fmla="*/ 80004 w 80003"/>
                    <a:gd name="connsiteY3" fmla="*/ 39998 h 79993"/>
                    <a:gd name="connsiteX4" fmla="*/ 40002 w 80003"/>
                    <a:gd name="connsiteY4" fmla="*/ 79993 h 79993"/>
                    <a:gd name="connsiteX5" fmla="*/ 40002 w 80003"/>
                    <a:gd name="connsiteY5" fmla="*/ 13327 h 79993"/>
                    <a:gd name="connsiteX6" fmla="*/ 13335 w 80003"/>
                    <a:gd name="connsiteY6" fmla="*/ 39998 h 79993"/>
                    <a:gd name="connsiteX7" fmla="*/ 40002 w 80003"/>
                    <a:gd name="connsiteY7" fmla="*/ 66668 h 79993"/>
                    <a:gd name="connsiteX8" fmla="*/ 66668 w 80003"/>
                    <a:gd name="connsiteY8" fmla="*/ 39998 h 79993"/>
                    <a:gd name="connsiteX9" fmla="*/ 40002 w 80003"/>
                    <a:gd name="connsiteY9" fmla="*/ 13327 h 7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03" h="79993">
                      <a:moveTo>
                        <a:pt x="40002" y="79993"/>
                      </a:moveTo>
                      <a:cubicBezTo>
                        <a:pt x="17944" y="79993"/>
                        <a:pt x="0" y="62062"/>
                        <a:pt x="0" y="39998"/>
                      </a:cubicBezTo>
                      <a:cubicBezTo>
                        <a:pt x="0" y="17933"/>
                        <a:pt x="17944" y="0"/>
                        <a:pt x="40002" y="0"/>
                      </a:cubicBezTo>
                      <a:cubicBezTo>
                        <a:pt x="62060" y="0"/>
                        <a:pt x="80004" y="17933"/>
                        <a:pt x="80004" y="39998"/>
                      </a:cubicBezTo>
                      <a:cubicBezTo>
                        <a:pt x="80004" y="62062"/>
                        <a:pt x="62060" y="79993"/>
                        <a:pt x="40002" y="79993"/>
                      </a:cubicBezTo>
                      <a:close/>
                      <a:moveTo>
                        <a:pt x="40002" y="13327"/>
                      </a:moveTo>
                      <a:cubicBezTo>
                        <a:pt x="25295" y="13327"/>
                        <a:pt x="13335" y="25295"/>
                        <a:pt x="13335" y="39998"/>
                      </a:cubicBezTo>
                      <a:cubicBezTo>
                        <a:pt x="13335" y="54700"/>
                        <a:pt x="25295" y="66668"/>
                        <a:pt x="40002" y="66668"/>
                      </a:cubicBezTo>
                      <a:cubicBezTo>
                        <a:pt x="54709" y="66668"/>
                        <a:pt x="66668" y="54700"/>
                        <a:pt x="66668" y="39998"/>
                      </a:cubicBezTo>
                      <a:cubicBezTo>
                        <a:pt x="66668" y="25295"/>
                        <a:pt x="54709" y="13327"/>
                        <a:pt x="40002" y="13327"/>
                      </a:cubicBezTo>
                      <a:close/>
                    </a:path>
                  </a:pathLst>
                </a:custGeom>
                <a:grpFill/>
                <a:ln w="205" cap="flat">
                  <a:noFill/>
                  <a:prstDash val="solid"/>
                  <a:miter/>
                </a:ln>
              </p:spPr>
              <p:txBody>
                <a:bodyPr rtlCol="0" anchor="ctr"/>
                <a:lstStyle/>
                <a:p>
                  <a:endParaRPr lang="en-GB" dirty="0"/>
                </a:p>
              </p:txBody>
            </p:sp>
            <p:sp>
              <p:nvSpPr>
                <p:cNvPr id="659" name="Freihandform: Form 658">
                  <a:extLst>
                    <a:ext uri="{FF2B5EF4-FFF2-40B4-BE49-F238E27FC236}">
                      <a16:creationId xmlns:a16="http://schemas.microsoft.com/office/drawing/2014/main" id="{CECF6586-EE9F-4945-9544-E6E4B69F62FC}"/>
                    </a:ext>
                  </a:extLst>
                </p:cNvPr>
                <p:cNvSpPr/>
                <p:nvPr/>
              </p:nvSpPr>
              <p:spPr>
                <a:xfrm>
                  <a:off x="2844912" y="3673486"/>
                  <a:ext cx="80003" cy="79993"/>
                </a:xfrm>
                <a:custGeom>
                  <a:avLst/>
                  <a:gdLst>
                    <a:gd name="connsiteX0" fmla="*/ 40008 w 80003"/>
                    <a:gd name="connsiteY0" fmla="*/ 79993 h 79993"/>
                    <a:gd name="connsiteX1" fmla="*/ 0 w 80003"/>
                    <a:gd name="connsiteY1" fmla="*/ 39998 h 79993"/>
                    <a:gd name="connsiteX2" fmla="*/ 40008 w 80003"/>
                    <a:gd name="connsiteY2" fmla="*/ 0 h 79993"/>
                    <a:gd name="connsiteX3" fmla="*/ 80004 w 80003"/>
                    <a:gd name="connsiteY3" fmla="*/ 39998 h 79993"/>
                    <a:gd name="connsiteX4" fmla="*/ 40008 w 80003"/>
                    <a:gd name="connsiteY4" fmla="*/ 79993 h 79993"/>
                    <a:gd name="connsiteX5" fmla="*/ 40008 w 80003"/>
                    <a:gd name="connsiteY5" fmla="*/ 13327 h 79993"/>
                    <a:gd name="connsiteX6" fmla="*/ 13335 w 80003"/>
                    <a:gd name="connsiteY6" fmla="*/ 39998 h 79993"/>
                    <a:gd name="connsiteX7" fmla="*/ 40008 w 80003"/>
                    <a:gd name="connsiteY7" fmla="*/ 66668 h 79993"/>
                    <a:gd name="connsiteX8" fmla="*/ 66679 w 80003"/>
                    <a:gd name="connsiteY8" fmla="*/ 39998 h 79993"/>
                    <a:gd name="connsiteX9" fmla="*/ 40008 w 80003"/>
                    <a:gd name="connsiteY9" fmla="*/ 13327 h 7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03" h="79993">
                      <a:moveTo>
                        <a:pt x="40008" y="79993"/>
                      </a:moveTo>
                      <a:cubicBezTo>
                        <a:pt x="17944" y="79993"/>
                        <a:pt x="0" y="62062"/>
                        <a:pt x="0" y="39998"/>
                      </a:cubicBezTo>
                      <a:cubicBezTo>
                        <a:pt x="0" y="17933"/>
                        <a:pt x="17944" y="0"/>
                        <a:pt x="40008" y="0"/>
                      </a:cubicBezTo>
                      <a:cubicBezTo>
                        <a:pt x="62052" y="0"/>
                        <a:pt x="80004" y="17933"/>
                        <a:pt x="80004" y="39998"/>
                      </a:cubicBezTo>
                      <a:cubicBezTo>
                        <a:pt x="80004" y="62062"/>
                        <a:pt x="62052" y="79993"/>
                        <a:pt x="40008" y="79993"/>
                      </a:cubicBezTo>
                      <a:close/>
                      <a:moveTo>
                        <a:pt x="40008" y="13327"/>
                      </a:moveTo>
                      <a:cubicBezTo>
                        <a:pt x="25295" y="13327"/>
                        <a:pt x="13335" y="25295"/>
                        <a:pt x="13335" y="39998"/>
                      </a:cubicBezTo>
                      <a:cubicBezTo>
                        <a:pt x="13335" y="54700"/>
                        <a:pt x="25295" y="66668"/>
                        <a:pt x="40008" y="66668"/>
                      </a:cubicBezTo>
                      <a:cubicBezTo>
                        <a:pt x="54711" y="66668"/>
                        <a:pt x="66679" y="54700"/>
                        <a:pt x="66679" y="39998"/>
                      </a:cubicBezTo>
                      <a:cubicBezTo>
                        <a:pt x="66679" y="25295"/>
                        <a:pt x="54711" y="13327"/>
                        <a:pt x="40008" y="13327"/>
                      </a:cubicBezTo>
                      <a:close/>
                    </a:path>
                  </a:pathLst>
                </a:custGeom>
                <a:grpFill/>
                <a:ln w="205" cap="flat">
                  <a:noFill/>
                  <a:prstDash val="solid"/>
                  <a:miter/>
                </a:ln>
              </p:spPr>
              <p:txBody>
                <a:bodyPr rtlCol="0" anchor="ctr"/>
                <a:lstStyle/>
                <a:p>
                  <a:endParaRPr lang="en-GB" dirty="0"/>
                </a:p>
              </p:txBody>
            </p:sp>
          </p:grpSp>
          <p:sp>
            <p:nvSpPr>
              <p:cNvPr id="653" name="Freihandform: Form 652">
                <a:extLst>
                  <a:ext uri="{FF2B5EF4-FFF2-40B4-BE49-F238E27FC236}">
                    <a16:creationId xmlns:a16="http://schemas.microsoft.com/office/drawing/2014/main" id="{2C1C823E-7E8F-4E5E-9D62-F587F2965358}"/>
                  </a:ext>
                </a:extLst>
              </p:cNvPr>
              <p:cNvSpPr/>
              <p:nvPr/>
            </p:nvSpPr>
            <p:spPr>
              <a:xfrm>
                <a:off x="2684907" y="3566818"/>
                <a:ext cx="66668" cy="53333"/>
              </a:xfrm>
              <a:custGeom>
                <a:avLst/>
                <a:gdLst>
                  <a:gd name="connsiteX0" fmla="*/ 60002 w 66668"/>
                  <a:gd name="connsiteY0" fmla="*/ 53333 h 53333"/>
                  <a:gd name="connsiteX1" fmla="*/ 6667 w 66668"/>
                  <a:gd name="connsiteY1" fmla="*/ 53333 h 53333"/>
                  <a:gd name="connsiteX2" fmla="*/ 0 w 66668"/>
                  <a:gd name="connsiteY2" fmla="*/ 46667 h 53333"/>
                  <a:gd name="connsiteX3" fmla="*/ 0 w 66668"/>
                  <a:gd name="connsiteY3" fmla="*/ 13333 h 53333"/>
                  <a:gd name="connsiteX4" fmla="*/ 13333 w 66668"/>
                  <a:gd name="connsiteY4" fmla="*/ 0 h 53333"/>
                  <a:gd name="connsiteX5" fmla="*/ 53335 w 66668"/>
                  <a:gd name="connsiteY5" fmla="*/ 0 h 53333"/>
                  <a:gd name="connsiteX6" fmla="*/ 66668 w 66668"/>
                  <a:gd name="connsiteY6" fmla="*/ 13333 h 53333"/>
                  <a:gd name="connsiteX7" fmla="*/ 66668 w 66668"/>
                  <a:gd name="connsiteY7" fmla="*/ 46669 h 53333"/>
                  <a:gd name="connsiteX8" fmla="*/ 60002 w 66668"/>
                  <a:gd name="connsiteY8" fmla="*/ 53333 h 53333"/>
                  <a:gd name="connsiteX9" fmla="*/ 13333 w 66668"/>
                  <a:gd name="connsiteY9" fmla="*/ 40000 h 53333"/>
                  <a:gd name="connsiteX10" fmla="*/ 53335 w 66668"/>
                  <a:gd name="connsiteY10" fmla="*/ 40000 h 53333"/>
                  <a:gd name="connsiteX11" fmla="*/ 53335 w 66668"/>
                  <a:gd name="connsiteY11" fmla="*/ 13333 h 53333"/>
                  <a:gd name="connsiteX12" fmla="*/ 13333 w 66668"/>
                  <a:gd name="connsiteY12" fmla="*/ 13333 h 53333"/>
                  <a:gd name="connsiteX13" fmla="*/ 13333 w 66668"/>
                  <a:gd name="connsiteY13" fmla="*/ 40000 h 5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 h="53333">
                    <a:moveTo>
                      <a:pt x="60002" y="53333"/>
                    </a:moveTo>
                    <a:lnTo>
                      <a:pt x="6667" y="53333"/>
                    </a:lnTo>
                    <a:cubicBezTo>
                      <a:pt x="2982" y="53333"/>
                      <a:pt x="0" y="50351"/>
                      <a:pt x="0" y="46667"/>
                    </a:cubicBezTo>
                    <a:lnTo>
                      <a:pt x="0" y="13333"/>
                    </a:lnTo>
                    <a:cubicBezTo>
                      <a:pt x="0" y="5982"/>
                      <a:pt x="5984" y="0"/>
                      <a:pt x="13333" y="0"/>
                    </a:cubicBezTo>
                    <a:lnTo>
                      <a:pt x="53335" y="0"/>
                    </a:lnTo>
                    <a:cubicBezTo>
                      <a:pt x="60687" y="0"/>
                      <a:pt x="66668" y="5984"/>
                      <a:pt x="66668" y="13333"/>
                    </a:cubicBezTo>
                    <a:lnTo>
                      <a:pt x="66668" y="46669"/>
                    </a:lnTo>
                    <a:cubicBezTo>
                      <a:pt x="66668" y="50351"/>
                      <a:pt x="63687" y="53333"/>
                      <a:pt x="60002" y="53333"/>
                    </a:cubicBezTo>
                    <a:close/>
                    <a:moveTo>
                      <a:pt x="13333" y="40000"/>
                    </a:moveTo>
                    <a:lnTo>
                      <a:pt x="53335" y="40000"/>
                    </a:lnTo>
                    <a:lnTo>
                      <a:pt x="53335" y="13333"/>
                    </a:lnTo>
                    <a:lnTo>
                      <a:pt x="13333" y="13333"/>
                    </a:lnTo>
                    <a:lnTo>
                      <a:pt x="13333" y="40000"/>
                    </a:lnTo>
                    <a:close/>
                  </a:path>
                </a:pathLst>
              </a:custGeom>
              <a:grpFill/>
              <a:ln w="205" cap="flat">
                <a:noFill/>
                <a:prstDash val="solid"/>
                <a:miter/>
              </a:ln>
            </p:spPr>
            <p:txBody>
              <a:bodyPr rtlCol="0" anchor="ctr"/>
              <a:lstStyle/>
              <a:p>
                <a:endParaRPr lang="en-GB" dirty="0"/>
              </a:p>
            </p:txBody>
          </p:sp>
          <p:sp>
            <p:nvSpPr>
              <p:cNvPr id="654" name="Freihandform: Form 653">
                <a:extLst>
                  <a:ext uri="{FF2B5EF4-FFF2-40B4-BE49-F238E27FC236}">
                    <a16:creationId xmlns:a16="http://schemas.microsoft.com/office/drawing/2014/main" id="{D2B8A228-385B-48D6-A374-27FD75F9A0EA}"/>
                  </a:ext>
                </a:extLst>
              </p:cNvPr>
              <p:cNvSpPr/>
              <p:nvPr/>
            </p:nvSpPr>
            <p:spPr>
              <a:xfrm>
                <a:off x="2784910" y="3526816"/>
                <a:ext cx="66668" cy="93334"/>
              </a:xfrm>
              <a:custGeom>
                <a:avLst/>
                <a:gdLst>
                  <a:gd name="connsiteX0" fmla="*/ 60002 w 66668"/>
                  <a:gd name="connsiteY0" fmla="*/ 93335 h 93334"/>
                  <a:gd name="connsiteX1" fmla="*/ 6667 w 66668"/>
                  <a:gd name="connsiteY1" fmla="*/ 93335 h 93334"/>
                  <a:gd name="connsiteX2" fmla="*/ 0 w 66668"/>
                  <a:gd name="connsiteY2" fmla="*/ 86668 h 93334"/>
                  <a:gd name="connsiteX3" fmla="*/ 0 w 66668"/>
                  <a:gd name="connsiteY3" fmla="*/ 13333 h 93334"/>
                  <a:gd name="connsiteX4" fmla="*/ 13333 w 66668"/>
                  <a:gd name="connsiteY4" fmla="*/ 0 h 93334"/>
                  <a:gd name="connsiteX5" fmla="*/ 53335 w 66668"/>
                  <a:gd name="connsiteY5" fmla="*/ 0 h 93334"/>
                  <a:gd name="connsiteX6" fmla="*/ 66668 w 66668"/>
                  <a:gd name="connsiteY6" fmla="*/ 13333 h 93334"/>
                  <a:gd name="connsiteX7" fmla="*/ 66668 w 66668"/>
                  <a:gd name="connsiteY7" fmla="*/ 86668 h 93334"/>
                  <a:gd name="connsiteX8" fmla="*/ 60002 w 66668"/>
                  <a:gd name="connsiteY8" fmla="*/ 93335 h 93334"/>
                  <a:gd name="connsiteX9" fmla="*/ 13333 w 66668"/>
                  <a:gd name="connsiteY9" fmla="*/ 80002 h 93334"/>
                  <a:gd name="connsiteX10" fmla="*/ 53335 w 66668"/>
                  <a:gd name="connsiteY10" fmla="*/ 80002 h 93334"/>
                  <a:gd name="connsiteX11" fmla="*/ 53335 w 66668"/>
                  <a:gd name="connsiteY11" fmla="*/ 13333 h 93334"/>
                  <a:gd name="connsiteX12" fmla="*/ 13333 w 66668"/>
                  <a:gd name="connsiteY12" fmla="*/ 13333 h 93334"/>
                  <a:gd name="connsiteX13" fmla="*/ 13333 w 66668"/>
                  <a:gd name="connsiteY13" fmla="*/ 80002 h 9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8" h="93334">
                    <a:moveTo>
                      <a:pt x="60002" y="93335"/>
                    </a:moveTo>
                    <a:lnTo>
                      <a:pt x="6667" y="93335"/>
                    </a:lnTo>
                    <a:cubicBezTo>
                      <a:pt x="2982" y="93335"/>
                      <a:pt x="0" y="90353"/>
                      <a:pt x="0" y="86668"/>
                    </a:cubicBezTo>
                    <a:lnTo>
                      <a:pt x="0" y="13333"/>
                    </a:lnTo>
                    <a:cubicBezTo>
                      <a:pt x="0" y="5982"/>
                      <a:pt x="5984" y="0"/>
                      <a:pt x="13333" y="0"/>
                    </a:cubicBezTo>
                    <a:lnTo>
                      <a:pt x="53335" y="0"/>
                    </a:lnTo>
                    <a:cubicBezTo>
                      <a:pt x="60686" y="0"/>
                      <a:pt x="66668" y="5984"/>
                      <a:pt x="66668" y="13333"/>
                    </a:cubicBezTo>
                    <a:lnTo>
                      <a:pt x="66668" y="86668"/>
                    </a:lnTo>
                    <a:cubicBezTo>
                      <a:pt x="66668" y="90353"/>
                      <a:pt x="63687" y="93335"/>
                      <a:pt x="60002" y="93335"/>
                    </a:cubicBezTo>
                    <a:close/>
                    <a:moveTo>
                      <a:pt x="13333" y="80002"/>
                    </a:moveTo>
                    <a:lnTo>
                      <a:pt x="53335" y="80002"/>
                    </a:lnTo>
                    <a:lnTo>
                      <a:pt x="53335" y="13333"/>
                    </a:lnTo>
                    <a:lnTo>
                      <a:pt x="13333" y="13333"/>
                    </a:lnTo>
                    <a:lnTo>
                      <a:pt x="13333" y="80002"/>
                    </a:lnTo>
                    <a:close/>
                  </a:path>
                </a:pathLst>
              </a:custGeom>
              <a:grpFill/>
              <a:ln w="205" cap="flat">
                <a:noFill/>
                <a:prstDash val="solid"/>
                <a:miter/>
              </a:ln>
            </p:spPr>
            <p:txBody>
              <a:bodyPr rtlCol="0" anchor="ctr"/>
              <a:lstStyle/>
              <a:p>
                <a:endParaRPr lang="en-GB" dirty="0"/>
              </a:p>
            </p:txBody>
          </p:sp>
          <p:sp>
            <p:nvSpPr>
              <p:cNvPr id="655" name="Freihandform: Form 654">
                <a:extLst>
                  <a:ext uri="{FF2B5EF4-FFF2-40B4-BE49-F238E27FC236}">
                    <a16:creationId xmlns:a16="http://schemas.microsoft.com/office/drawing/2014/main" id="{1DEF29E0-C226-47C7-A34E-938EFFF06AB5}"/>
                  </a:ext>
                </a:extLst>
              </p:cNvPr>
              <p:cNvSpPr/>
              <p:nvPr/>
            </p:nvSpPr>
            <p:spPr>
              <a:xfrm>
                <a:off x="2884920" y="3486815"/>
                <a:ext cx="66666" cy="133336"/>
              </a:xfrm>
              <a:custGeom>
                <a:avLst/>
                <a:gdLst>
                  <a:gd name="connsiteX0" fmla="*/ 60004 w 66666"/>
                  <a:gd name="connsiteY0" fmla="*/ 133337 h 133336"/>
                  <a:gd name="connsiteX1" fmla="*/ 6663 w 66666"/>
                  <a:gd name="connsiteY1" fmla="*/ 133337 h 133336"/>
                  <a:gd name="connsiteX2" fmla="*/ 0 w 66666"/>
                  <a:gd name="connsiteY2" fmla="*/ 126670 h 133336"/>
                  <a:gd name="connsiteX3" fmla="*/ 0 w 66666"/>
                  <a:gd name="connsiteY3" fmla="*/ 13333 h 133336"/>
                  <a:gd name="connsiteX4" fmla="*/ 13325 w 66666"/>
                  <a:gd name="connsiteY4" fmla="*/ 0 h 133336"/>
                  <a:gd name="connsiteX5" fmla="*/ 53321 w 66666"/>
                  <a:gd name="connsiteY5" fmla="*/ 0 h 133336"/>
                  <a:gd name="connsiteX6" fmla="*/ 66666 w 66666"/>
                  <a:gd name="connsiteY6" fmla="*/ 13333 h 133336"/>
                  <a:gd name="connsiteX7" fmla="*/ 66666 w 66666"/>
                  <a:gd name="connsiteY7" fmla="*/ 126670 h 133336"/>
                  <a:gd name="connsiteX8" fmla="*/ 60004 w 66666"/>
                  <a:gd name="connsiteY8" fmla="*/ 133337 h 133336"/>
                  <a:gd name="connsiteX9" fmla="*/ 13325 w 66666"/>
                  <a:gd name="connsiteY9" fmla="*/ 120004 h 133336"/>
                  <a:gd name="connsiteX10" fmla="*/ 53321 w 66666"/>
                  <a:gd name="connsiteY10" fmla="*/ 120004 h 133336"/>
                  <a:gd name="connsiteX11" fmla="*/ 53321 w 66666"/>
                  <a:gd name="connsiteY11" fmla="*/ 13333 h 133336"/>
                  <a:gd name="connsiteX12" fmla="*/ 13325 w 66666"/>
                  <a:gd name="connsiteY12" fmla="*/ 13333 h 133336"/>
                  <a:gd name="connsiteX13" fmla="*/ 13325 w 66666"/>
                  <a:gd name="connsiteY13" fmla="*/ 120004 h 133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666" h="133336">
                    <a:moveTo>
                      <a:pt x="60004" y="133337"/>
                    </a:moveTo>
                    <a:lnTo>
                      <a:pt x="6663" y="133337"/>
                    </a:lnTo>
                    <a:cubicBezTo>
                      <a:pt x="2982" y="133337"/>
                      <a:pt x="0" y="130355"/>
                      <a:pt x="0" y="126670"/>
                    </a:cubicBezTo>
                    <a:lnTo>
                      <a:pt x="0" y="13333"/>
                    </a:lnTo>
                    <a:cubicBezTo>
                      <a:pt x="0" y="5982"/>
                      <a:pt x="5984" y="0"/>
                      <a:pt x="13325" y="0"/>
                    </a:cubicBezTo>
                    <a:lnTo>
                      <a:pt x="53321" y="0"/>
                    </a:lnTo>
                    <a:cubicBezTo>
                      <a:pt x="60682" y="0"/>
                      <a:pt x="66666" y="5984"/>
                      <a:pt x="66666" y="13333"/>
                    </a:cubicBezTo>
                    <a:lnTo>
                      <a:pt x="66666" y="126670"/>
                    </a:lnTo>
                    <a:cubicBezTo>
                      <a:pt x="66666" y="130355"/>
                      <a:pt x="63685" y="133337"/>
                      <a:pt x="60004" y="133337"/>
                    </a:cubicBezTo>
                    <a:close/>
                    <a:moveTo>
                      <a:pt x="13325" y="120004"/>
                    </a:moveTo>
                    <a:lnTo>
                      <a:pt x="53321" y="120004"/>
                    </a:lnTo>
                    <a:lnTo>
                      <a:pt x="53321" y="13333"/>
                    </a:lnTo>
                    <a:lnTo>
                      <a:pt x="13325" y="13333"/>
                    </a:lnTo>
                    <a:lnTo>
                      <a:pt x="13325" y="120004"/>
                    </a:lnTo>
                    <a:close/>
                  </a:path>
                </a:pathLst>
              </a:custGeom>
              <a:grpFill/>
              <a:ln w="205" cap="flat">
                <a:noFill/>
                <a:prstDash val="solid"/>
                <a:miter/>
              </a:ln>
            </p:spPr>
            <p:txBody>
              <a:bodyPr rtlCol="0" anchor="ctr"/>
              <a:lstStyle/>
              <a:p>
                <a:endParaRPr lang="en-GB" dirty="0"/>
              </a:p>
            </p:txBody>
          </p:sp>
        </p:grpSp>
      </p:grpSp>
      <p:sp>
        <p:nvSpPr>
          <p:cNvPr id="662" name="TextBox 1411">
            <a:extLst>
              <a:ext uri="{FF2B5EF4-FFF2-40B4-BE49-F238E27FC236}">
                <a16:creationId xmlns:a16="http://schemas.microsoft.com/office/drawing/2014/main" id="{A70AA23E-2D6E-4ADB-9E57-A8154311B466}"/>
              </a:ext>
            </a:extLst>
          </p:cNvPr>
          <p:cNvSpPr txBox="1"/>
          <p:nvPr/>
        </p:nvSpPr>
        <p:spPr>
          <a:xfrm>
            <a:off x="2715802" y="3723675"/>
            <a:ext cx="338233" cy="215444"/>
          </a:xfrm>
          <a:prstGeom prst="rect">
            <a:avLst/>
          </a:prstGeom>
          <a:noFill/>
          <a:effectLst/>
        </p:spPr>
        <p:txBody>
          <a:bodyPr wrap="none" lIns="0" tIns="0" rIns="0" bIns="0" rtlCol="0" anchor="t">
            <a:spAutoFit/>
          </a:bodyPr>
          <a:lstStyle/>
          <a:p>
            <a:pPr algn="ctr"/>
            <a:r>
              <a:rPr lang="en-GB" sz="700" dirty="0">
                <a:solidFill>
                  <a:schemeClr val="tx2"/>
                </a:solidFill>
              </a:rPr>
              <a:t>Demand</a:t>
            </a:r>
            <a:br>
              <a:rPr lang="en-GB" sz="700" dirty="0">
                <a:solidFill>
                  <a:schemeClr val="tx2"/>
                </a:solidFill>
              </a:rPr>
            </a:br>
            <a:r>
              <a:rPr lang="en-GB" sz="700" dirty="0">
                <a:solidFill>
                  <a:schemeClr val="tx2"/>
                </a:solidFill>
              </a:rPr>
              <a:t>analysis</a:t>
            </a:r>
          </a:p>
        </p:txBody>
      </p:sp>
      <p:grpSp>
        <p:nvGrpSpPr>
          <p:cNvPr id="14" name="Group 13">
            <a:extLst>
              <a:ext uri="{FF2B5EF4-FFF2-40B4-BE49-F238E27FC236}">
                <a16:creationId xmlns:a16="http://schemas.microsoft.com/office/drawing/2014/main" id="{2A80D511-FCB2-430F-9171-E421F671200F}"/>
              </a:ext>
            </a:extLst>
          </p:cNvPr>
          <p:cNvGrpSpPr/>
          <p:nvPr/>
        </p:nvGrpSpPr>
        <p:grpSpPr>
          <a:xfrm>
            <a:off x="1603618" y="3273397"/>
            <a:ext cx="471733" cy="432000"/>
            <a:chOff x="1603618" y="3273397"/>
            <a:chExt cx="471733" cy="432000"/>
          </a:xfrm>
        </p:grpSpPr>
        <p:grpSp>
          <p:nvGrpSpPr>
            <p:cNvPr id="664" name="Gruppieren 663">
              <a:extLst>
                <a:ext uri="{FF2B5EF4-FFF2-40B4-BE49-F238E27FC236}">
                  <a16:creationId xmlns:a16="http://schemas.microsoft.com/office/drawing/2014/main" id="{67F734F0-6352-40E5-9A68-46E35BA81525}"/>
                </a:ext>
              </a:extLst>
            </p:cNvPr>
            <p:cNvGrpSpPr/>
            <p:nvPr/>
          </p:nvGrpSpPr>
          <p:grpSpPr>
            <a:xfrm>
              <a:off x="1603618" y="3273397"/>
              <a:ext cx="383853" cy="407123"/>
              <a:chOff x="1718648" y="3356270"/>
              <a:chExt cx="357910" cy="379607"/>
            </a:xfrm>
            <a:solidFill>
              <a:schemeClr val="accent1"/>
            </a:solidFill>
          </p:grpSpPr>
          <p:grpSp>
            <p:nvGrpSpPr>
              <p:cNvPr id="669" name="Grafik 348">
                <a:extLst>
                  <a:ext uri="{FF2B5EF4-FFF2-40B4-BE49-F238E27FC236}">
                    <a16:creationId xmlns:a16="http://schemas.microsoft.com/office/drawing/2014/main" id="{67781553-1365-4567-B116-7C4E5F46483D}"/>
                  </a:ext>
                </a:extLst>
              </p:cNvPr>
              <p:cNvGrpSpPr/>
              <p:nvPr/>
            </p:nvGrpSpPr>
            <p:grpSpPr>
              <a:xfrm>
                <a:off x="1718648" y="3594655"/>
                <a:ext cx="122961" cy="124093"/>
                <a:chOff x="1718648" y="3594655"/>
                <a:chExt cx="122961" cy="124093"/>
              </a:xfrm>
              <a:solidFill>
                <a:schemeClr val="accent1"/>
              </a:solidFill>
            </p:grpSpPr>
            <p:sp>
              <p:nvSpPr>
                <p:cNvPr id="689" name="Freihandform: Form 688">
                  <a:extLst>
                    <a:ext uri="{FF2B5EF4-FFF2-40B4-BE49-F238E27FC236}">
                      <a16:creationId xmlns:a16="http://schemas.microsoft.com/office/drawing/2014/main" id="{C2851F5F-8169-4330-A615-8A824312004A}"/>
                    </a:ext>
                  </a:extLst>
                </p:cNvPr>
                <p:cNvSpPr/>
                <p:nvPr/>
              </p:nvSpPr>
              <p:spPr>
                <a:xfrm>
                  <a:off x="1718648" y="3649651"/>
                  <a:ext cx="122961" cy="69097"/>
                </a:xfrm>
                <a:custGeom>
                  <a:avLst/>
                  <a:gdLst>
                    <a:gd name="connsiteX0" fmla="*/ 79726 w 122961"/>
                    <a:gd name="connsiteY0" fmla="*/ 69097 h 69097"/>
                    <a:gd name="connsiteX1" fmla="*/ 0 w 122961"/>
                    <a:gd name="connsiteY1" fmla="*/ 37656 h 69097"/>
                    <a:gd name="connsiteX2" fmla="*/ 0 w 122961"/>
                    <a:gd name="connsiteY2" fmla="*/ 6667 h 69097"/>
                    <a:gd name="connsiteX3" fmla="*/ 6667 w 122961"/>
                    <a:gd name="connsiteY3" fmla="*/ 0 h 69097"/>
                    <a:gd name="connsiteX4" fmla="*/ 13333 w 122961"/>
                    <a:gd name="connsiteY4" fmla="*/ 6667 h 69097"/>
                    <a:gd name="connsiteX5" fmla="*/ 13333 w 122961"/>
                    <a:gd name="connsiteY5" fmla="*/ 37656 h 69097"/>
                    <a:gd name="connsiteX6" fmla="*/ 79726 w 122961"/>
                    <a:gd name="connsiteY6" fmla="*/ 55772 h 69097"/>
                    <a:gd name="connsiteX7" fmla="*/ 114957 w 122961"/>
                    <a:gd name="connsiteY7" fmla="*/ 52420 h 69097"/>
                    <a:gd name="connsiteX8" fmla="*/ 122825 w 122961"/>
                    <a:gd name="connsiteY8" fmla="*/ 57602 h 69097"/>
                    <a:gd name="connsiteX9" fmla="*/ 117633 w 122961"/>
                    <a:gd name="connsiteY9" fmla="*/ 65478 h 69097"/>
                    <a:gd name="connsiteX10" fmla="*/ 79726 w 122961"/>
                    <a:gd name="connsiteY10" fmla="*/ 69097 h 6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961" h="69097">
                      <a:moveTo>
                        <a:pt x="79726" y="69097"/>
                      </a:moveTo>
                      <a:cubicBezTo>
                        <a:pt x="40109" y="69097"/>
                        <a:pt x="0" y="58301"/>
                        <a:pt x="0" y="37656"/>
                      </a:cubicBezTo>
                      <a:lnTo>
                        <a:pt x="0" y="6667"/>
                      </a:lnTo>
                      <a:cubicBezTo>
                        <a:pt x="0" y="2982"/>
                        <a:pt x="2986" y="0"/>
                        <a:pt x="6667" y="0"/>
                      </a:cubicBezTo>
                      <a:cubicBezTo>
                        <a:pt x="10347" y="0"/>
                        <a:pt x="13333" y="2982"/>
                        <a:pt x="13333" y="6667"/>
                      </a:cubicBezTo>
                      <a:lnTo>
                        <a:pt x="13333" y="37656"/>
                      </a:lnTo>
                      <a:cubicBezTo>
                        <a:pt x="13333" y="44030"/>
                        <a:pt x="38540" y="55772"/>
                        <a:pt x="79726" y="55772"/>
                      </a:cubicBezTo>
                      <a:cubicBezTo>
                        <a:pt x="92438" y="55772"/>
                        <a:pt x="103962" y="54682"/>
                        <a:pt x="114957" y="52420"/>
                      </a:cubicBezTo>
                      <a:cubicBezTo>
                        <a:pt x="118580" y="51700"/>
                        <a:pt x="122087" y="54003"/>
                        <a:pt x="122825" y="57602"/>
                      </a:cubicBezTo>
                      <a:cubicBezTo>
                        <a:pt x="123563" y="61221"/>
                        <a:pt x="121239" y="64758"/>
                        <a:pt x="117633" y="65478"/>
                      </a:cubicBezTo>
                      <a:cubicBezTo>
                        <a:pt x="105745" y="67925"/>
                        <a:pt x="93345" y="69097"/>
                        <a:pt x="79726" y="69097"/>
                      </a:cubicBezTo>
                      <a:close/>
                    </a:path>
                  </a:pathLst>
                </a:custGeom>
                <a:solidFill>
                  <a:schemeClr val="accent1"/>
                </a:solidFill>
                <a:ln w="205" cap="flat">
                  <a:noFill/>
                  <a:prstDash val="solid"/>
                  <a:miter/>
                </a:ln>
              </p:spPr>
              <p:txBody>
                <a:bodyPr rtlCol="0" anchor="ctr"/>
                <a:lstStyle/>
                <a:p>
                  <a:endParaRPr lang="en-GB" dirty="0"/>
                </a:p>
              </p:txBody>
            </p:sp>
            <p:grpSp>
              <p:nvGrpSpPr>
                <p:cNvPr id="690" name="Grafik 348">
                  <a:extLst>
                    <a:ext uri="{FF2B5EF4-FFF2-40B4-BE49-F238E27FC236}">
                      <a16:creationId xmlns:a16="http://schemas.microsoft.com/office/drawing/2014/main" id="{D01E6456-C089-4720-ADB8-99A9D3E7A00F}"/>
                    </a:ext>
                  </a:extLst>
                </p:cNvPr>
                <p:cNvGrpSpPr/>
                <p:nvPr/>
              </p:nvGrpSpPr>
              <p:grpSpPr>
                <a:xfrm>
                  <a:off x="1718648" y="3594655"/>
                  <a:ext cx="122817" cy="93886"/>
                  <a:chOff x="1718648" y="3594655"/>
                  <a:chExt cx="122817" cy="93886"/>
                </a:xfrm>
                <a:solidFill>
                  <a:schemeClr val="accent1"/>
                </a:solidFill>
              </p:grpSpPr>
              <p:sp>
                <p:nvSpPr>
                  <p:cNvPr id="691" name="Freihandform: Form 690">
                    <a:extLst>
                      <a:ext uri="{FF2B5EF4-FFF2-40B4-BE49-F238E27FC236}">
                        <a16:creationId xmlns:a16="http://schemas.microsoft.com/office/drawing/2014/main" id="{C1B136F8-1B47-4042-9961-12CBF4493C6E}"/>
                      </a:ext>
                    </a:extLst>
                  </p:cNvPr>
                  <p:cNvSpPr/>
                  <p:nvPr/>
                </p:nvSpPr>
                <p:spPr>
                  <a:xfrm>
                    <a:off x="1718648" y="3594655"/>
                    <a:ext cx="122817" cy="62907"/>
                  </a:xfrm>
                  <a:custGeom>
                    <a:avLst/>
                    <a:gdLst>
                      <a:gd name="connsiteX0" fmla="*/ 79726 w 122817"/>
                      <a:gd name="connsiteY0" fmla="*/ 62907 h 62907"/>
                      <a:gd name="connsiteX1" fmla="*/ 0 w 122817"/>
                      <a:gd name="connsiteY1" fmla="*/ 31454 h 62907"/>
                      <a:gd name="connsiteX2" fmla="*/ 79726 w 122817"/>
                      <a:gd name="connsiteY2" fmla="*/ 0 h 62907"/>
                      <a:gd name="connsiteX3" fmla="*/ 117462 w 122817"/>
                      <a:gd name="connsiteY3" fmla="*/ 3418 h 62907"/>
                      <a:gd name="connsiteX4" fmla="*/ 122687 w 122817"/>
                      <a:gd name="connsiteY4" fmla="*/ 11263 h 62907"/>
                      <a:gd name="connsiteX5" fmla="*/ 114838 w 122817"/>
                      <a:gd name="connsiteY5" fmla="*/ 16490 h 62907"/>
                      <a:gd name="connsiteX6" fmla="*/ 79726 w 122817"/>
                      <a:gd name="connsiteY6" fmla="*/ 13331 h 62907"/>
                      <a:gd name="connsiteX7" fmla="*/ 13333 w 122817"/>
                      <a:gd name="connsiteY7" fmla="*/ 31450 h 62907"/>
                      <a:gd name="connsiteX8" fmla="*/ 79726 w 122817"/>
                      <a:gd name="connsiteY8" fmla="*/ 49568 h 62907"/>
                      <a:gd name="connsiteX9" fmla="*/ 114219 w 122817"/>
                      <a:gd name="connsiteY9" fmla="*/ 46521 h 62907"/>
                      <a:gd name="connsiteX10" fmla="*/ 122019 w 122817"/>
                      <a:gd name="connsiteY10" fmla="*/ 51820 h 62907"/>
                      <a:gd name="connsiteX11" fmla="*/ 116720 w 122817"/>
                      <a:gd name="connsiteY11" fmla="*/ 59619 h 62907"/>
                      <a:gd name="connsiteX12" fmla="*/ 79726 w 122817"/>
                      <a:gd name="connsiteY12" fmla="*/ 62907 h 6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817" h="62907">
                        <a:moveTo>
                          <a:pt x="79726" y="62907"/>
                        </a:moveTo>
                        <a:cubicBezTo>
                          <a:pt x="40109" y="62907"/>
                          <a:pt x="0" y="52106"/>
                          <a:pt x="0" y="31454"/>
                        </a:cubicBezTo>
                        <a:cubicBezTo>
                          <a:pt x="0" y="10802"/>
                          <a:pt x="40109" y="0"/>
                          <a:pt x="79726" y="0"/>
                        </a:cubicBezTo>
                        <a:cubicBezTo>
                          <a:pt x="93650" y="0"/>
                          <a:pt x="105994" y="1121"/>
                          <a:pt x="117462" y="3418"/>
                        </a:cubicBezTo>
                        <a:cubicBezTo>
                          <a:pt x="121073" y="4139"/>
                          <a:pt x="123409" y="7656"/>
                          <a:pt x="122687" y="11263"/>
                        </a:cubicBezTo>
                        <a:cubicBezTo>
                          <a:pt x="121965" y="14875"/>
                          <a:pt x="118465" y="17226"/>
                          <a:pt x="114838" y="16490"/>
                        </a:cubicBezTo>
                        <a:cubicBezTo>
                          <a:pt x="104242" y="14368"/>
                          <a:pt x="92757" y="13331"/>
                          <a:pt x="79726" y="13331"/>
                        </a:cubicBezTo>
                        <a:cubicBezTo>
                          <a:pt x="38540" y="13331"/>
                          <a:pt x="13333" y="25063"/>
                          <a:pt x="13333" y="31450"/>
                        </a:cubicBezTo>
                        <a:cubicBezTo>
                          <a:pt x="13333" y="37837"/>
                          <a:pt x="38540" y="49568"/>
                          <a:pt x="79726" y="49568"/>
                        </a:cubicBezTo>
                        <a:cubicBezTo>
                          <a:pt x="91858" y="49568"/>
                          <a:pt x="103785" y="48513"/>
                          <a:pt x="114219" y="46521"/>
                        </a:cubicBezTo>
                        <a:cubicBezTo>
                          <a:pt x="117861" y="45856"/>
                          <a:pt x="121326" y="48207"/>
                          <a:pt x="122019" y="51820"/>
                        </a:cubicBezTo>
                        <a:cubicBezTo>
                          <a:pt x="122710" y="55433"/>
                          <a:pt x="120337" y="58928"/>
                          <a:pt x="116720" y="59619"/>
                        </a:cubicBezTo>
                        <a:cubicBezTo>
                          <a:pt x="105475" y="61774"/>
                          <a:pt x="92685" y="62907"/>
                          <a:pt x="79726" y="62907"/>
                        </a:cubicBezTo>
                        <a:close/>
                      </a:path>
                    </a:pathLst>
                  </a:custGeom>
                  <a:solidFill>
                    <a:schemeClr val="accent1"/>
                  </a:solidFill>
                  <a:ln w="205" cap="flat">
                    <a:noFill/>
                    <a:prstDash val="solid"/>
                    <a:miter/>
                  </a:ln>
                </p:spPr>
                <p:txBody>
                  <a:bodyPr rtlCol="0" anchor="ctr"/>
                  <a:lstStyle/>
                  <a:p>
                    <a:endParaRPr lang="en-GB" dirty="0"/>
                  </a:p>
                </p:txBody>
              </p:sp>
              <p:sp>
                <p:nvSpPr>
                  <p:cNvPr id="692" name="Freihandform: Form 691">
                    <a:extLst>
                      <a:ext uri="{FF2B5EF4-FFF2-40B4-BE49-F238E27FC236}">
                        <a16:creationId xmlns:a16="http://schemas.microsoft.com/office/drawing/2014/main" id="{8D9BD066-9424-4ADE-901C-EFCC9A82032E}"/>
                      </a:ext>
                    </a:extLst>
                  </p:cNvPr>
                  <p:cNvSpPr/>
                  <p:nvPr/>
                </p:nvSpPr>
                <p:spPr>
                  <a:xfrm>
                    <a:off x="1718648" y="3619442"/>
                    <a:ext cx="122333" cy="69099"/>
                  </a:xfrm>
                  <a:custGeom>
                    <a:avLst/>
                    <a:gdLst>
                      <a:gd name="connsiteX0" fmla="*/ 79726 w 122333"/>
                      <a:gd name="connsiteY0" fmla="*/ 69099 h 69099"/>
                      <a:gd name="connsiteX1" fmla="*/ 0 w 122333"/>
                      <a:gd name="connsiteY1" fmla="*/ 37652 h 69099"/>
                      <a:gd name="connsiteX2" fmla="*/ 0 w 122333"/>
                      <a:gd name="connsiteY2" fmla="*/ 6667 h 69099"/>
                      <a:gd name="connsiteX3" fmla="*/ 6667 w 122333"/>
                      <a:gd name="connsiteY3" fmla="*/ 0 h 69099"/>
                      <a:gd name="connsiteX4" fmla="*/ 13333 w 122333"/>
                      <a:gd name="connsiteY4" fmla="*/ 6667 h 69099"/>
                      <a:gd name="connsiteX5" fmla="*/ 13333 w 122333"/>
                      <a:gd name="connsiteY5" fmla="*/ 37652 h 69099"/>
                      <a:gd name="connsiteX6" fmla="*/ 79726 w 122333"/>
                      <a:gd name="connsiteY6" fmla="*/ 55770 h 69099"/>
                      <a:gd name="connsiteX7" fmla="*/ 114408 w 122333"/>
                      <a:gd name="connsiteY7" fmla="*/ 52683 h 69099"/>
                      <a:gd name="connsiteX8" fmla="*/ 122212 w 122333"/>
                      <a:gd name="connsiteY8" fmla="*/ 57976 h 69099"/>
                      <a:gd name="connsiteX9" fmla="*/ 116923 w 122333"/>
                      <a:gd name="connsiteY9" fmla="*/ 65788 h 69099"/>
                      <a:gd name="connsiteX10" fmla="*/ 79726 w 122333"/>
                      <a:gd name="connsiteY10" fmla="*/ 69099 h 69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333" h="69099">
                        <a:moveTo>
                          <a:pt x="79726" y="69099"/>
                        </a:moveTo>
                        <a:cubicBezTo>
                          <a:pt x="40109" y="69099"/>
                          <a:pt x="0" y="58303"/>
                          <a:pt x="0" y="37652"/>
                        </a:cubicBezTo>
                        <a:lnTo>
                          <a:pt x="0" y="6667"/>
                        </a:lnTo>
                        <a:cubicBezTo>
                          <a:pt x="0" y="2982"/>
                          <a:pt x="2986" y="0"/>
                          <a:pt x="6667" y="0"/>
                        </a:cubicBezTo>
                        <a:cubicBezTo>
                          <a:pt x="10347" y="0"/>
                          <a:pt x="13333" y="2982"/>
                          <a:pt x="13333" y="6667"/>
                        </a:cubicBezTo>
                        <a:lnTo>
                          <a:pt x="13333" y="37652"/>
                        </a:lnTo>
                        <a:cubicBezTo>
                          <a:pt x="13333" y="44038"/>
                          <a:pt x="38540" y="55770"/>
                          <a:pt x="79726" y="55770"/>
                        </a:cubicBezTo>
                        <a:cubicBezTo>
                          <a:pt x="91910" y="55770"/>
                          <a:pt x="103902" y="54703"/>
                          <a:pt x="114408" y="52683"/>
                        </a:cubicBezTo>
                        <a:cubicBezTo>
                          <a:pt x="118025" y="52019"/>
                          <a:pt x="121517" y="54363"/>
                          <a:pt x="122212" y="57976"/>
                        </a:cubicBezTo>
                        <a:cubicBezTo>
                          <a:pt x="122909" y="61589"/>
                          <a:pt x="120538" y="65089"/>
                          <a:pt x="116923" y="65788"/>
                        </a:cubicBezTo>
                        <a:cubicBezTo>
                          <a:pt x="105603" y="67968"/>
                          <a:pt x="92741" y="69099"/>
                          <a:pt x="79726" y="69099"/>
                        </a:cubicBezTo>
                        <a:close/>
                      </a:path>
                    </a:pathLst>
                  </a:custGeom>
                  <a:solidFill>
                    <a:schemeClr val="accent1"/>
                  </a:solidFill>
                  <a:ln w="205" cap="flat">
                    <a:noFill/>
                    <a:prstDash val="solid"/>
                    <a:miter/>
                  </a:ln>
                </p:spPr>
                <p:txBody>
                  <a:bodyPr rtlCol="0" anchor="ctr"/>
                  <a:lstStyle/>
                  <a:p>
                    <a:endParaRPr lang="en-GB" dirty="0"/>
                  </a:p>
                </p:txBody>
              </p:sp>
            </p:grpSp>
          </p:grpSp>
          <p:grpSp>
            <p:nvGrpSpPr>
              <p:cNvPr id="670" name="Grafik 348">
                <a:extLst>
                  <a:ext uri="{FF2B5EF4-FFF2-40B4-BE49-F238E27FC236}">
                    <a16:creationId xmlns:a16="http://schemas.microsoft.com/office/drawing/2014/main" id="{15D06A59-651E-42AB-B7AF-7FC803FD0B86}"/>
                  </a:ext>
                </a:extLst>
              </p:cNvPr>
              <p:cNvGrpSpPr/>
              <p:nvPr/>
            </p:nvGrpSpPr>
            <p:grpSpPr>
              <a:xfrm>
                <a:off x="1828458" y="3664938"/>
                <a:ext cx="159452" cy="70939"/>
                <a:chOff x="1828458" y="3664938"/>
                <a:chExt cx="159452" cy="70939"/>
              </a:xfrm>
              <a:solidFill>
                <a:schemeClr val="accent1"/>
              </a:solidFill>
            </p:grpSpPr>
            <p:sp>
              <p:nvSpPr>
                <p:cNvPr id="687" name="Freihandform: Form 686">
                  <a:extLst>
                    <a:ext uri="{FF2B5EF4-FFF2-40B4-BE49-F238E27FC236}">
                      <a16:creationId xmlns:a16="http://schemas.microsoft.com/office/drawing/2014/main" id="{89EA5B39-8274-4B1B-933B-26D345E2071F}"/>
                    </a:ext>
                  </a:extLst>
                </p:cNvPr>
                <p:cNvSpPr/>
                <p:nvPr/>
              </p:nvSpPr>
              <p:spPr>
                <a:xfrm>
                  <a:off x="1828458" y="3664938"/>
                  <a:ext cx="159452" cy="38942"/>
                </a:xfrm>
                <a:custGeom>
                  <a:avLst/>
                  <a:gdLst>
                    <a:gd name="connsiteX0" fmla="*/ 79726 w 159452"/>
                    <a:gd name="connsiteY0" fmla="*/ 38943 h 38942"/>
                    <a:gd name="connsiteX1" fmla="*/ 0 w 159452"/>
                    <a:gd name="connsiteY1" fmla="*/ 6667 h 38942"/>
                    <a:gd name="connsiteX2" fmla="*/ 6667 w 159452"/>
                    <a:gd name="connsiteY2" fmla="*/ 0 h 38942"/>
                    <a:gd name="connsiteX3" fmla="*/ 13333 w 159452"/>
                    <a:gd name="connsiteY3" fmla="*/ 6667 h 38942"/>
                    <a:gd name="connsiteX4" fmla="*/ 79726 w 159452"/>
                    <a:gd name="connsiteY4" fmla="*/ 25597 h 38942"/>
                    <a:gd name="connsiteX5" fmla="*/ 146119 w 159452"/>
                    <a:gd name="connsiteY5" fmla="*/ 6667 h 38942"/>
                    <a:gd name="connsiteX6" fmla="*/ 152786 w 159452"/>
                    <a:gd name="connsiteY6" fmla="*/ 0 h 38942"/>
                    <a:gd name="connsiteX7" fmla="*/ 159452 w 159452"/>
                    <a:gd name="connsiteY7" fmla="*/ 6667 h 38942"/>
                    <a:gd name="connsiteX8" fmla="*/ 79726 w 159452"/>
                    <a:gd name="connsiteY8" fmla="*/ 38943 h 38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452" h="38942">
                      <a:moveTo>
                        <a:pt x="79726" y="38943"/>
                      </a:moveTo>
                      <a:cubicBezTo>
                        <a:pt x="40109" y="38943"/>
                        <a:pt x="0" y="27859"/>
                        <a:pt x="0" y="6667"/>
                      </a:cubicBezTo>
                      <a:cubicBezTo>
                        <a:pt x="0" y="2982"/>
                        <a:pt x="2986" y="0"/>
                        <a:pt x="6667" y="0"/>
                      </a:cubicBezTo>
                      <a:cubicBezTo>
                        <a:pt x="10348" y="0"/>
                        <a:pt x="13333" y="2982"/>
                        <a:pt x="13333" y="6667"/>
                      </a:cubicBezTo>
                      <a:cubicBezTo>
                        <a:pt x="13333" y="13093"/>
                        <a:pt x="36767" y="25597"/>
                        <a:pt x="79726" y="25597"/>
                      </a:cubicBezTo>
                      <a:cubicBezTo>
                        <a:pt x="122685" y="25597"/>
                        <a:pt x="146119" y="13093"/>
                        <a:pt x="146119" y="6667"/>
                      </a:cubicBezTo>
                      <a:cubicBezTo>
                        <a:pt x="146119" y="2982"/>
                        <a:pt x="149105" y="0"/>
                        <a:pt x="152786" y="0"/>
                      </a:cubicBezTo>
                      <a:cubicBezTo>
                        <a:pt x="156466" y="0"/>
                        <a:pt x="159452" y="2982"/>
                        <a:pt x="159452" y="6667"/>
                      </a:cubicBezTo>
                      <a:cubicBezTo>
                        <a:pt x="159452" y="27859"/>
                        <a:pt x="119343" y="38943"/>
                        <a:pt x="79726" y="38943"/>
                      </a:cubicBezTo>
                      <a:close/>
                    </a:path>
                  </a:pathLst>
                </a:custGeom>
                <a:solidFill>
                  <a:schemeClr val="accent1"/>
                </a:solidFill>
                <a:ln w="205" cap="flat">
                  <a:noFill/>
                  <a:prstDash val="solid"/>
                  <a:miter/>
                </a:ln>
              </p:spPr>
              <p:txBody>
                <a:bodyPr rtlCol="0" anchor="ctr"/>
                <a:lstStyle/>
                <a:p>
                  <a:endParaRPr lang="en-GB" dirty="0"/>
                </a:p>
              </p:txBody>
            </p:sp>
            <p:sp>
              <p:nvSpPr>
                <p:cNvPr id="688" name="Freihandform: Form 687">
                  <a:extLst>
                    <a:ext uri="{FF2B5EF4-FFF2-40B4-BE49-F238E27FC236}">
                      <a16:creationId xmlns:a16="http://schemas.microsoft.com/office/drawing/2014/main" id="{B4609982-151A-4944-911D-CAE12C9FAA63}"/>
                    </a:ext>
                  </a:extLst>
                </p:cNvPr>
                <p:cNvSpPr/>
                <p:nvPr/>
              </p:nvSpPr>
              <p:spPr>
                <a:xfrm>
                  <a:off x="1828458" y="3664938"/>
                  <a:ext cx="159452" cy="70939"/>
                </a:xfrm>
                <a:custGeom>
                  <a:avLst/>
                  <a:gdLst>
                    <a:gd name="connsiteX0" fmla="*/ 79726 w 159452"/>
                    <a:gd name="connsiteY0" fmla="*/ 70940 h 70939"/>
                    <a:gd name="connsiteX1" fmla="*/ 0 w 159452"/>
                    <a:gd name="connsiteY1" fmla="*/ 38676 h 70939"/>
                    <a:gd name="connsiteX2" fmla="*/ 0 w 159452"/>
                    <a:gd name="connsiteY2" fmla="*/ 6667 h 70939"/>
                    <a:gd name="connsiteX3" fmla="*/ 6667 w 159452"/>
                    <a:gd name="connsiteY3" fmla="*/ 0 h 70939"/>
                    <a:gd name="connsiteX4" fmla="*/ 13333 w 159452"/>
                    <a:gd name="connsiteY4" fmla="*/ 6667 h 70939"/>
                    <a:gd name="connsiteX5" fmla="*/ 13333 w 159452"/>
                    <a:gd name="connsiteY5" fmla="*/ 38676 h 70939"/>
                    <a:gd name="connsiteX6" fmla="*/ 79726 w 159452"/>
                    <a:gd name="connsiteY6" fmla="*/ 57615 h 70939"/>
                    <a:gd name="connsiteX7" fmla="*/ 146119 w 159452"/>
                    <a:gd name="connsiteY7" fmla="*/ 38676 h 70939"/>
                    <a:gd name="connsiteX8" fmla="*/ 146119 w 159452"/>
                    <a:gd name="connsiteY8" fmla="*/ 6667 h 70939"/>
                    <a:gd name="connsiteX9" fmla="*/ 152786 w 159452"/>
                    <a:gd name="connsiteY9" fmla="*/ 0 h 70939"/>
                    <a:gd name="connsiteX10" fmla="*/ 159452 w 159452"/>
                    <a:gd name="connsiteY10" fmla="*/ 6667 h 70939"/>
                    <a:gd name="connsiteX11" fmla="*/ 159452 w 159452"/>
                    <a:gd name="connsiteY11" fmla="*/ 38676 h 70939"/>
                    <a:gd name="connsiteX12" fmla="*/ 79726 w 159452"/>
                    <a:gd name="connsiteY12" fmla="*/ 70940 h 7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9452" h="70939">
                      <a:moveTo>
                        <a:pt x="79726" y="70940"/>
                      </a:moveTo>
                      <a:cubicBezTo>
                        <a:pt x="40109" y="70940"/>
                        <a:pt x="0" y="59856"/>
                        <a:pt x="0" y="38676"/>
                      </a:cubicBezTo>
                      <a:lnTo>
                        <a:pt x="0" y="6667"/>
                      </a:lnTo>
                      <a:cubicBezTo>
                        <a:pt x="0" y="2982"/>
                        <a:pt x="2986" y="0"/>
                        <a:pt x="6667" y="0"/>
                      </a:cubicBezTo>
                      <a:cubicBezTo>
                        <a:pt x="10348" y="0"/>
                        <a:pt x="13333" y="2982"/>
                        <a:pt x="13333" y="6667"/>
                      </a:cubicBezTo>
                      <a:lnTo>
                        <a:pt x="13333" y="38676"/>
                      </a:lnTo>
                      <a:cubicBezTo>
                        <a:pt x="13333" y="45091"/>
                        <a:pt x="36767" y="57615"/>
                        <a:pt x="79726" y="57615"/>
                      </a:cubicBezTo>
                      <a:cubicBezTo>
                        <a:pt x="122685" y="57615"/>
                        <a:pt x="146119" y="45091"/>
                        <a:pt x="146119" y="38676"/>
                      </a:cubicBezTo>
                      <a:lnTo>
                        <a:pt x="146119" y="6667"/>
                      </a:lnTo>
                      <a:cubicBezTo>
                        <a:pt x="146119" y="2982"/>
                        <a:pt x="149105" y="0"/>
                        <a:pt x="152786" y="0"/>
                      </a:cubicBezTo>
                      <a:cubicBezTo>
                        <a:pt x="156466" y="0"/>
                        <a:pt x="159452" y="2982"/>
                        <a:pt x="159452" y="6667"/>
                      </a:cubicBezTo>
                      <a:lnTo>
                        <a:pt x="159452" y="38676"/>
                      </a:lnTo>
                      <a:cubicBezTo>
                        <a:pt x="159452" y="59856"/>
                        <a:pt x="119343" y="70940"/>
                        <a:pt x="79726" y="70940"/>
                      </a:cubicBezTo>
                      <a:close/>
                    </a:path>
                  </a:pathLst>
                </a:custGeom>
                <a:solidFill>
                  <a:schemeClr val="accent1"/>
                </a:solidFill>
                <a:ln w="205" cap="flat">
                  <a:noFill/>
                  <a:prstDash val="solid"/>
                  <a:miter/>
                </a:ln>
              </p:spPr>
              <p:txBody>
                <a:bodyPr rtlCol="0" anchor="ctr"/>
                <a:lstStyle/>
                <a:p>
                  <a:endParaRPr lang="en-GB" dirty="0"/>
                </a:p>
              </p:txBody>
            </p:sp>
          </p:grpSp>
          <p:sp>
            <p:nvSpPr>
              <p:cNvPr id="671" name="Freihandform: Form 670">
                <a:extLst>
                  <a:ext uri="{FF2B5EF4-FFF2-40B4-BE49-F238E27FC236}">
                    <a16:creationId xmlns:a16="http://schemas.microsoft.com/office/drawing/2014/main" id="{E61FE7F4-07A0-4ADF-A66F-FB6FAC25D91B}"/>
                  </a:ext>
                </a:extLst>
              </p:cNvPr>
              <p:cNvSpPr/>
              <p:nvPr/>
            </p:nvSpPr>
            <p:spPr>
              <a:xfrm>
                <a:off x="1828458" y="3633731"/>
                <a:ext cx="159452" cy="70951"/>
              </a:xfrm>
              <a:custGeom>
                <a:avLst/>
                <a:gdLst>
                  <a:gd name="connsiteX0" fmla="*/ 79726 w 159452"/>
                  <a:gd name="connsiteY0" fmla="*/ 70952 h 70951"/>
                  <a:gd name="connsiteX1" fmla="*/ 0 w 159452"/>
                  <a:gd name="connsiteY1" fmla="*/ 38674 h 70951"/>
                  <a:gd name="connsiteX2" fmla="*/ 0 w 159452"/>
                  <a:gd name="connsiteY2" fmla="*/ 6667 h 70951"/>
                  <a:gd name="connsiteX3" fmla="*/ 6667 w 159452"/>
                  <a:gd name="connsiteY3" fmla="*/ 0 h 70951"/>
                  <a:gd name="connsiteX4" fmla="*/ 13333 w 159452"/>
                  <a:gd name="connsiteY4" fmla="*/ 6667 h 70951"/>
                  <a:gd name="connsiteX5" fmla="*/ 13333 w 159452"/>
                  <a:gd name="connsiteY5" fmla="*/ 38674 h 70951"/>
                  <a:gd name="connsiteX6" fmla="*/ 79726 w 159452"/>
                  <a:gd name="connsiteY6" fmla="*/ 57606 h 70951"/>
                  <a:gd name="connsiteX7" fmla="*/ 138332 w 159452"/>
                  <a:gd name="connsiteY7" fmla="*/ 46485 h 70951"/>
                  <a:gd name="connsiteX8" fmla="*/ 146119 w 159452"/>
                  <a:gd name="connsiteY8" fmla="*/ 38674 h 70951"/>
                  <a:gd name="connsiteX9" fmla="*/ 146119 w 159452"/>
                  <a:gd name="connsiteY9" fmla="*/ 6667 h 70951"/>
                  <a:gd name="connsiteX10" fmla="*/ 152786 w 159452"/>
                  <a:gd name="connsiteY10" fmla="*/ 0 h 70951"/>
                  <a:gd name="connsiteX11" fmla="*/ 159452 w 159452"/>
                  <a:gd name="connsiteY11" fmla="*/ 6667 h 70951"/>
                  <a:gd name="connsiteX12" fmla="*/ 159452 w 159452"/>
                  <a:gd name="connsiteY12" fmla="*/ 38674 h 70951"/>
                  <a:gd name="connsiteX13" fmla="*/ 144813 w 159452"/>
                  <a:gd name="connsiteY13" fmla="*/ 58141 h 70951"/>
                  <a:gd name="connsiteX14" fmla="*/ 79726 w 159452"/>
                  <a:gd name="connsiteY14" fmla="*/ 70952 h 70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9452" h="70951">
                    <a:moveTo>
                      <a:pt x="79726" y="70952"/>
                    </a:moveTo>
                    <a:cubicBezTo>
                      <a:pt x="40109" y="70952"/>
                      <a:pt x="0" y="59868"/>
                      <a:pt x="0" y="38674"/>
                    </a:cubicBezTo>
                    <a:lnTo>
                      <a:pt x="0" y="6667"/>
                    </a:lnTo>
                    <a:cubicBezTo>
                      <a:pt x="0" y="2982"/>
                      <a:pt x="2986" y="0"/>
                      <a:pt x="6667" y="0"/>
                    </a:cubicBezTo>
                    <a:cubicBezTo>
                      <a:pt x="10348" y="0"/>
                      <a:pt x="13333" y="2982"/>
                      <a:pt x="13333" y="6667"/>
                    </a:cubicBezTo>
                    <a:lnTo>
                      <a:pt x="13333" y="38674"/>
                    </a:lnTo>
                    <a:cubicBezTo>
                      <a:pt x="13333" y="45100"/>
                      <a:pt x="36767" y="57606"/>
                      <a:pt x="79726" y="57606"/>
                    </a:cubicBezTo>
                    <a:cubicBezTo>
                      <a:pt x="103522" y="57606"/>
                      <a:pt x="125981" y="53350"/>
                      <a:pt x="138332" y="46485"/>
                    </a:cubicBezTo>
                    <a:cubicBezTo>
                      <a:pt x="144071" y="43288"/>
                      <a:pt x="146119" y="40352"/>
                      <a:pt x="146119" y="38674"/>
                    </a:cubicBezTo>
                    <a:lnTo>
                      <a:pt x="146119" y="6667"/>
                    </a:lnTo>
                    <a:cubicBezTo>
                      <a:pt x="146119" y="2982"/>
                      <a:pt x="149105" y="0"/>
                      <a:pt x="152786" y="0"/>
                    </a:cubicBezTo>
                    <a:cubicBezTo>
                      <a:pt x="156466" y="0"/>
                      <a:pt x="159452" y="2982"/>
                      <a:pt x="159452" y="6667"/>
                    </a:cubicBezTo>
                    <a:lnTo>
                      <a:pt x="159452" y="38674"/>
                    </a:lnTo>
                    <a:cubicBezTo>
                      <a:pt x="159452" y="43837"/>
                      <a:pt x="156913" y="51417"/>
                      <a:pt x="144813" y="58141"/>
                    </a:cubicBezTo>
                    <a:cubicBezTo>
                      <a:pt x="130376" y="66161"/>
                      <a:pt x="106045" y="70952"/>
                      <a:pt x="79726" y="70952"/>
                    </a:cubicBezTo>
                    <a:close/>
                  </a:path>
                </a:pathLst>
              </a:custGeom>
              <a:solidFill>
                <a:schemeClr val="accent1"/>
              </a:solidFill>
              <a:ln w="205" cap="flat">
                <a:noFill/>
                <a:prstDash val="solid"/>
                <a:miter/>
              </a:ln>
            </p:spPr>
            <p:txBody>
              <a:bodyPr rtlCol="0" anchor="ctr"/>
              <a:lstStyle/>
              <a:p>
                <a:endParaRPr lang="en-GB" dirty="0"/>
              </a:p>
            </p:txBody>
          </p:sp>
          <p:grpSp>
            <p:nvGrpSpPr>
              <p:cNvPr id="672" name="Grafik 348">
                <a:extLst>
                  <a:ext uri="{FF2B5EF4-FFF2-40B4-BE49-F238E27FC236}">
                    <a16:creationId xmlns:a16="http://schemas.microsoft.com/office/drawing/2014/main" id="{5ECADDFD-3AD7-4D7D-B5F4-106EF09CAE09}"/>
                  </a:ext>
                </a:extLst>
              </p:cNvPr>
              <p:cNvGrpSpPr/>
              <p:nvPr/>
            </p:nvGrpSpPr>
            <p:grpSpPr>
              <a:xfrm>
                <a:off x="1828458" y="3602526"/>
                <a:ext cx="159452" cy="70902"/>
                <a:chOff x="1828458" y="3602526"/>
                <a:chExt cx="159452" cy="70902"/>
              </a:xfrm>
              <a:solidFill>
                <a:schemeClr val="accent1"/>
              </a:solidFill>
            </p:grpSpPr>
            <p:sp>
              <p:nvSpPr>
                <p:cNvPr id="685" name="Freihandform: Form 684">
                  <a:extLst>
                    <a:ext uri="{FF2B5EF4-FFF2-40B4-BE49-F238E27FC236}">
                      <a16:creationId xmlns:a16="http://schemas.microsoft.com/office/drawing/2014/main" id="{98A01DDF-1FB9-42B1-8A95-95322CBF2F95}"/>
                    </a:ext>
                  </a:extLst>
                </p:cNvPr>
                <p:cNvSpPr/>
                <p:nvPr/>
              </p:nvSpPr>
              <p:spPr>
                <a:xfrm>
                  <a:off x="1828458" y="3602529"/>
                  <a:ext cx="82262" cy="70900"/>
                </a:xfrm>
                <a:custGeom>
                  <a:avLst/>
                  <a:gdLst>
                    <a:gd name="connsiteX0" fmla="*/ 75599 w 82262"/>
                    <a:gd name="connsiteY0" fmla="*/ 70900 h 70900"/>
                    <a:gd name="connsiteX1" fmla="*/ 75465 w 82262"/>
                    <a:gd name="connsiteY1" fmla="*/ 70900 h 70900"/>
                    <a:gd name="connsiteX2" fmla="*/ 0 w 82262"/>
                    <a:gd name="connsiteY2" fmla="*/ 38674 h 70900"/>
                    <a:gd name="connsiteX3" fmla="*/ 0 w 82262"/>
                    <a:gd name="connsiteY3" fmla="*/ 6667 h 70900"/>
                    <a:gd name="connsiteX4" fmla="*/ 6667 w 82262"/>
                    <a:gd name="connsiteY4" fmla="*/ 0 h 70900"/>
                    <a:gd name="connsiteX5" fmla="*/ 13333 w 82262"/>
                    <a:gd name="connsiteY5" fmla="*/ 6667 h 70900"/>
                    <a:gd name="connsiteX6" fmla="*/ 13333 w 82262"/>
                    <a:gd name="connsiteY6" fmla="*/ 38674 h 70900"/>
                    <a:gd name="connsiteX7" fmla="*/ 75724 w 82262"/>
                    <a:gd name="connsiteY7" fmla="*/ 57567 h 70900"/>
                    <a:gd name="connsiteX8" fmla="*/ 82262 w 82262"/>
                    <a:gd name="connsiteY8" fmla="*/ 64363 h 70900"/>
                    <a:gd name="connsiteX9" fmla="*/ 75599 w 82262"/>
                    <a:gd name="connsiteY9" fmla="*/ 70900 h 70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262" h="70900">
                      <a:moveTo>
                        <a:pt x="75599" y="70900"/>
                      </a:moveTo>
                      <a:cubicBezTo>
                        <a:pt x="75554" y="70900"/>
                        <a:pt x="75511" y="70900"/>
                        <a:pt x="75465" y="70900"/>
                      </a:cubicBezTo>
                      <a:cubicBezTo>
                        <a:pt x="39120" y="70191"/>
                        <a:pt x="0" y="59806"/>
                        <a:pt x="0" y="38674"/>
                      </a:cubicBezTo>
                      <a:lnTo>
                        <a:pt x="0" y="6667"/>
                      </a:lnTo>
                      <a:cubicBezTo>
                        <a:pt x="0" y="2982"/>
                        <a:pt x="2986" y="0"/>
                        <a:pt x="6667" y="0"/>
                      </a:cubicBezTo>
                      <a:cubicBezTo>
                        <a:pt x="10348" y="0"/>
                        <a:pt x="13333" y="2982"/>
                        <a:pt x="13333" y="6667"/>
                      </a:cubicBezTo>
                      <a:lnTo>
                        <a:pt x="13333" y="38674"/>
                      </a:lnTo>
                      <a:cubicBezTo>
                        <a:pt x="13333" y="44845"/>
                        <a:pt x="34760" y="56773"/>
                        <a:pt x="75724" y="57567"/>
                      </a:cubicBezTo>
                      <a:cubicBezTo>
                        <a:pt x="79405" y="57639"/>
                        <a:pt x="82334" y="60687"/>
                        <a:pt x="82262" y="64363"/>
                      </a:cubicBezTo>
                      <a:cubicBezTo>
                        <a:pt x="82192" y="68003"/>
                        <a:pt x="79218" y="70900"/>
                        <a:pt x="75599" y="70900"/>
                      </a:cubicBezTo>
                      <a:close/>
                    </a:path>
                  </a:pathLst>
                </a:custGeom>
                <a:solidFill>
                  <a:schemeClr val="accent1"/>
                </a:solidFill>
                <a:ln w="205" cap="flat">
                  <a:noFill/>
                  <a:prstDash val="solid"/>
                  <a:miter/>
                </a:ln>
              </p:spPr>
              <p:txBody>
                <a:bodyPr rtlCol="0" anchor="ctr"/>
                <a:lstStyle/>
                <a:p>
                  <a:endParaRPr lang="en-GB" dirty="0"/>
                </a:p>
              </p:txBody>
            </p:sp>
            <p:sp>
              <p:nvSpPr>
                <p:cNvPr id="686" name="Freihandform: Form 685">
                  <a:extLst>
                    <a:ext uri="{FF2B5EF4-FFF2-40B4-BE49-F238E27FC236}">
                      <a16:creationId xmlns:a16="http://schemas.microsoft.com/office/drawing/2014/main" id="{5A1CA137-DC59-4FD0-9E68-A6E71DF41740}"/>
                    </a:ext>
                  </a:extLst>
                </p:cNvPr>
                <p:cNvSpPr/>
                <p:nvPr/>
              </p:nvSpPr>
              <p:spPr>
                <a:xfrm>
                  <a:off x="1943658" y="3602526"/>
                  <a:ext cx="44252" cy="66259"/>
                </a:xfrm>
                <a:custGeom>
                  <a:avLst/>
                  <a:gdLst>
                    <a:gd name="connsiteX0" fmla="*/ 6663 w 44252"/>
                    <a:gd name="connsiteY0" fmla="*/ 66259 h 66259"/>
                    <a:gd name="connsiteX1" fmla="*/ 198 w 44252"/>
                    <a:gd name="connsiteY1" fmla="*/ 61194 h 66259"/>
                    <a:gd name="connsiteX2" fmla="*/ 5065 w 44252"/>
                    <a:gd name="connsiteY2" fmla="*/ 53121 h 66259"/>
                    <a:gd name="connsiteX3" fmla="*/ 30919 w 44252"/>
                    <a:gd name="connsiteY3" fmla="*/ 38674 h 66259"/>
                    <a:gd name="connsiteX4" fmla="*/ 30919 w 44252"/>
                    <a:gd name="connsiteY4" fmla="*/ 6667 h 66259"/>
                    <a:gd name="connsiteX5" fmla="*/ 37586 w 44252"/>
                    <a:gd name="connsiteY5" fmla="*/ 0 h 66259"/>
                    <a:gd name="connsiteX6" fmla="*/ 44252 w 44252"/>
                    <a:gd name="connsiteY6" fmla="*/ 6667 h 66259"/>
                    <a:gd name="connsiteX7" fmla="*/ 44252 w 44252"/>
                    <a:gd name="connsiteY7" fmla="*/ 38674 h 66259"/>
                    <a:gd name="connsiteX8" fmla="*/ 8275 w 44252"/>
                    <a:gd name="connsiteY8" fmla="*/ 66064 h 66259"/>
                    <a:gd name="connsiteX9" fmla="*/ 6663 w 44252"/>
                    <a:gd name="connsiteY9" fmla="*/ 66259 h 6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252" h="66259">
                      <a:moveTo>
                        <a:pt x="6663" y="66259"/>
                      </a:moveTo>
                      <a:cubicBezTo>
                        <a:pt x="3671" y="66259"/>
                        <a:pt x="950" y="64234"/>
                        <a:pt x="198" y="61194"/>
                      </a:cubicBezTo>
                      <a:cubicBezTo>
                        <a:pt x="-689" y="57621"/>
                        <a:pt x="1489" y="54007"/>
                        <a:pt x="5065" y="53121"/>
                      </a:cubicBezTo>
                      <a:cubicBezTo>
                        <a:pt x="23901" y="48453"/>
                        <a:pt x="30919" y="41781"/>
                        <a:pt x="30919" y="38674"/>
                      </a:cubicBezTo>
                      <a:lnTo>
                        <a:pt x="30919" y="6667"/>
                      </a:lnTo>
                      <a:cubicBezTo>
                        <a:pt x="30919" y="2982"/>
                        <a:pt x="33905" y="0"/>
                        <a:pt x="37586" y="0"/>
                      </a:cubicBezTo>
                      <a:cubicBezTo>
                        <a:pt x="41267" y="0"/>
                        <a:pt x="44252" y="2982"/>
                        <a:pt x="44252" y="6667"/>
                      </a:cubicBezTo>
                      <a:lnTo>
                        <a:pt x="44252" y="38674"/>
                      </a:lnTo>
                      <a:cubicBezTo>
                        <a:pt x="44252" y="50588"/>
                        <a:pt x="31475" y="60314"/>
                        <a:pt x="8275" y="66064"/>
                      </a:cubicBezTo>
                      <a:cubicBezTo>
                        <a:pt x="7734" y="66195"/>
                        <a:pt x="7195" y="66259"/>
                        <a:pt x="6663" y="66259"/>
                      </a:cubicBezTo>
                      <a:close/>
                    </a:path>
                  </a:pathLst>
                </a:custGeom>
                <a:solidFill>
                  <a:schemeClr val="accent1"/>
                </a:solidFill>
                <a:ln w="205" cap="flat">
                  <a:noFill/>
                  <a:prstDash val="solid"/>
                  <a:miter/>
                </a:ln>
              </p:spPr>
              <p:txBody>
                <a:bodyPr rtlCol="0" anchor="ctr"/>
                <a:lstStyle/>
                <a:p>
                  <a:endParaRPr lang="en-GB" dirty="0"/>
                </a:p>
              </p:txBody>
            </p:sp>
          </p:grpSp>
          <p:grpSp>
            <p:nvGrpSpPr>
              <p:cNvPr id="673" name="Grafik 348">
                <a:extLst>
                  <a:ext uri="{FF2B5EF4-FFF2-40B4-BE49-F238E27FC236}">
                    <a16:creationId xmlns:a16="http://schemas.microsoft.com/office/drawing/2014/main" id="{FA6FE621-3DC8-47E1-82B0-866525F5C780}"/>
                  </a:ext>
                </a:extLst>
              </p:cNvPr>
              <p:cNvGrpSpPr/>
              <p:nvPr/>
            </p:nvGrpSpPr>
            <p:grpSpPr>
              <a:xfrm>
                <a:off x="1828458" y="3514126"/>
                <a:ext cx="159454" cy="127668"/>
                <a:chOff x="1828458" y="3514126"/>
                <a:chExt cx="159454" cy="127668"/>
              </a:xfrm>
              <a:solidFill>
                <a:schemeClr val="accent1"/>
              </a:solidFill>
            </p:grpSpPr>
            <p:grpSp>
              <p:nvGrpSpPr>
                <p:cNvPr id="677" name="Grafik 348">
                  <a:extLst>
                    <a:ext uri="{FF2B5EF4-FFF2-40B4-BE49-F238E27FC236}">
                      <a16:creationId xmlns:a16="http://schemas.microsoft.com/office/drawing/2014/main" id="{B67D4997-B774-47A9-B9B4-BCC870D19167}"/>
                    </a:ext>
                  </a:extLst>
                </p:cNvPr>
                <p:cNvGrpSpPr/>
                <p:nvPr/>
              </p:nvGrpSpPr>
              <p:grpSpPr>
                <a:xfrm>
                  <a:off x="1828460" y="3570853"/>
                  <a:ext cx="159452" cy="70941"/>
                  <a:chOff x="1828460" y="3570853"/>
                  <a:chExt cx="159452" cy="70941"/>
                </a:xfrm>
                <a:solidFill>
                  <a:schemeClr val="accent1"/>
                </a:solidFill>
              </p:grpSpPr>
              <p:sp>
                <p:nvSpPr>
                  <p:cNvPr id="683" name="Freihandform: Form 682">
                    <a:extLst>
                      <a:ext uri="{FF2B5EF4-FFF2-40B4-BE49-F238E27FC236}">
                        <a16:creationId xmlns:a16="http://schemas.microsoft.com/office/drawing/2014/main" id="{65F4ECF8-CE3D-4A45-8659-83776F67827C}"/>
                      </a:ext>
                    </a:extLst>
                  </p:cNvPr>
                  <p:cNvSpPr/>
                  <p:nvPr/>
                </p:nvSpPr>
                <p:spPr>
                  <a:xfrm>
                    <a:off x="1828460" y="3570853"/>
                    <a:ext cx="48809" cy="67301"/>
                  </a:xfrm>
                  <a:custGeom>
                    <a:avLst/>
                    <a:gdLst>
                      <a:gd name="connsiteX0" fmla="*/ 42149 w 48809"/>
                      <a:gd name="connsiteY0" fmla="*/ 67302 h 67301"/>
                      <a:gd name="connsiteX1" fmla="*/ 40769 w 48809"/>
                      <a:gd name="connsiteY1" fmla="*/ 67158 h 67301"/>
                      <a:gd name="connsiteX2" fmla="*/ 0 w 48809"/>
                      <a:gd name="connsiteY2" fmla="*/ 38674 h 67301"/>
                      <a:gd name="connsiteX3" fmla="*/ 0 w 48809"/>
                      <a:gd name="connsiteY3" fmla="*/ 6667 h 67301"/>
                      <a:gd name="connsiteX4" fmla="*/ 6667 w 48809"/>
                      <a:gd name="connsiteY4" fmla="*/ 0 h 67301"/>
                      <a:gd name="connsiteX5" fmla="*/ 13333 w 48809"/>
                      <a:gd name="connsiteY5" fmla="*/ 6667 h 67301"/>
                      <a:gd name="connsiteX6" fmla="*/ 13333 w 48809"/>
                      <a:gd name="connsiteY6" fmla="*/ 38674 h 67301"/>
                      <a:gd name="connsiteX7" fmla="*/ 43516 w 48809"/>
                      <a:gd name="connsiteY7" fmla="*/ 54111 h 67301"/>
                      <a:gd name="connsiteX8" fmla="*/ 48665 w 48809"/>
                      <a:gd name="connsiteY8" fmla="*/ 62007 h 67301"/>
                      <a:gd name="connsiteX9" fmla="*/ 42149 w 48809"/>
                      <a:gd name="connsiteY9" fmla="*/ 67302 h 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809" h="67301">
                        <a:moveTo>
                          <a:pt x="42149" y="67302"/>
                        </a:moveTo>
                        <a:cubicBezTo>
                          <a:pt x="41692" y="67302"/>
                          <a:pt x="41232" y="67257"/>
                          <a:pt x="40769" y="67158"/>
                        </a:cubicBezTo>
                        <a:cubicBezTo>
                          <a:pt x="14859" y="61696"/>
                          <a:pt x="0" y="51318"/>
                          <a:pt x="0" y="38674"/>
                        </a:cubicBezTo>
                        <a:lnTo>
                          <a:pt x="0" y="6667"/>
                        </a:lnTo>
                        <a:cubicBezTo>
                          <a:pt x="0" y="2982"/>
                          <a:pt x="2986" y="0"/>
                          <a:pt x="6667" y="0"/>
                        </a:cubicBezTo>
                        <a:cubicBezTo>
                          <a:pt x="10347" y="0"/>
                          <a:pt x="13333" y="2982"/>
                          <a:pt x="13333" y="6667"/>
                        </a:cubicBezTo>
                        <a:lnTo>
                          <a:pt x="13333" y="38674"/>
                        </a:lnTo>
                        <a:cubicBezTo>
                          <a:pt x="13333" y="42184"/>
                          <a:pt x="21528" y="49476"/>
                          <a:pt x="43516" y="54111"/>
                        </a:cubicBezTo>
                        <a:cubicBezTo>
                          <a:pt x="47119" y="54871"/>
                          <a:pt x="49424" y="58408"/>
                          <a:pt x="48665" y="62007"/>
                        </a:cubicBezTo>
                        <a:cubicBezTo>
                          <a:pt x="48005" y="65147"/>
                          <a:pt x="45235" y="67302"/>
                          <a:pt x="42149" y="67302"/>
                        </a:cubicBezTo>
                        <a:close/>
                      </a:path>
                    </a:pathLst>
                  </a:custGeom>
                  <a:solidFill>
                    <a:schemeClr val="accent1"/>
                  </a:solidFill>
                  <a:ln w="205" cap="flat">
                    <a:noFill/>
                    <a:prstDash val="solid"/>
                    <a:miter/>
                  </a:ln>
                </p:spPr>
                <p:txBody>
                  <a:bodyPr rtlCol="0" anchor="ctr"/>
                  <a:lstStyle/>
                  <a:p>
                    <a:endParaRPr lang="en-GB" dirty="0"/>
                  </a:p>
                </p:txBody>
              </p:sp>
              <p:sp>
                <p:nvSpPr>
                  <p:cNvPr id="684" name="Freihandform: Form 683">
                    <a:extLst>
                      <a:ext uri="{FF2B5EF4-FFF2-40B4-BE49-F238E27FC236}">
                        <a16:creationId xmlns:a16="http://schemas.microsoft.com/office/drawing/2014/main" id="{C56CEAF8-7CDF-4487-BF1A-02788689718A}"/>
                      </a:ext>
                    </a:extLst>
                  </p:cNvPr>
                  <p:cNvSpPr/>
                  <p:nvPr/>
                </p:nvSpPr>
                <p:spPr>
                  <a:xfrm>
                    <a:off x="1892286" y="3570855"/>
                    <a:ext cx="95626" cy="70939"/>
                  </a:xfrm>
                  <a:custGeom>
                    <a:avLst/>
                    <a:gdLst>
                      <a:gd name="connsiteX0" fmla="*/ 15898 w 95626"/>
                      <a:gd name="connsiteY0" fmla="*/ 70939 h 70939"/>
                      <a:gd name="connsiteX1" fmla="*/ 6367 w 95626"/>
                      <a:gd name="connsiteY1" fmla="*/ 70732 h 70939"/>
                      <a:gd name="connsiteX2" fmla="*/ 7 w 95626"/>
                      <a:gd name="connsiteY2" fmla="*/ 63771 h 70939"/>
                      <a:gd name="connsiteX3" fmla="*/ 6968 w 95626"/>
                      <a:gd name="connsiteY3" fmla="*/ 57411 h 70939"/>
                      <a:gd name="connsiteX4" fmla="*/ 15900 w 95626"/>
                      <a:gd name="connsiteY4" fmla="*/ 57606 h 70939"/>
                      <a:gd name="connsiteX5" fmla="*/ 82293 w 95626"/>
                      <a:gd name="connsiteY5" fmla="*/ 38673 h 70939"/>
                      <a:gd name="connsiteX6" fmla="*/ 82293 w 95626"/>
                      <a:gd name="connsiteY6" fmla="*/ 6667 h 70939"/>
                      <a:gd name="connsiteX7" fmla="*/ 88960 w 95626"/>
                      <a:gd name="connsiteY7" fmla="*/ 0 h 70939"/>
                      <a:gd name="connsiteX8" fmla="*/ 95626 w 95626"/>
                      <a:gd name="connsiteY8" fmla="*/ 6667 h 70939"/>
                      <a:gd name="connsiteX9" fmla="*/ 95626 w 95626"/>
                      <a:gd name="connsiteY9" fmla="*/ 38673 h 70939"/>
                      <a:gd name="connsiteX10" fmla="*/ 15898 w 95626"/>
                      <a:gd name="connsiteY10" fmla="*/ 70939 h 7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626" h="70939">
                        <a:moveTo>
                          <a:pt x="15898" y="70939"/>
                        </a:moveTo>
                        <a:cubicBezTo>
                          <a:pt x="12670" y="70939"/>
                          <a:pt x="9489" y="70873"/>
                          <a:pt x="6367" y="70732"/>
                        </a:cubicBezTo>
                        <a:cubicBezTo>
                          <a:pt x="2688" y="70563"/>
                          <a:pt x="-160" y="67450"/>
                          <a:pt x="7" y="63771"/>
                        </a:cubicBezTo>
                        <a:cubicBezTo>
                          <a:pt x="174" y="60092"/>
                          <a:pt x="3441" y="57240"/>
                          <a:pt x="6968" y="57411"/>
                        </a:cubicBezTo>
                        <a:cubicBezTo>
                          <a:pt x="9894" y="57540"/>
                          <a:pt x="12873" y="57606"/>
                          <a:pt x="15900" y="57606"/>
                        </a:cubicBezTo>
                        <a:cubicBezTo>
                          <a:pt x="58857" y="57606"/>
                          <a:pt x="82293" y="45099"/>
                          <a:pt x="82293" y="38673"/>
                        </a:cubicBezTo>
                        <a:lnTo>
                          <a:pt x="82293" y="6667"/>
                        </a:lnTo>
                        <a:cubicBezTo>
                          <a:pt x="82293" y="2982"/>
                          <a:pt x="85279" y="0"/>
                          <a:pt x="88960" y="0"/>
                        </a:cubicBezTo>
                        <a:cubicBezTo>
                          <a:pt x="92641" y="0"/>
                          <a:pt x="95626" y="2982"/>
                          <a:pt x="95626" y="6667"/>
                        </a:cubicBezTo>
                        <a:lnTo>
                          <a:pt x="95626" y="38673"/>
                        </a:lnTo>
                        <a:cubicBezTo>
                          <a:pt x="95624" y="59858"/>
                          <a:pt x="55516" y="70939"/>
                          <a:pt x="15898" y="70939"/>
                        </a:cubicBezTo>
                        <a:close/>
                      </a:path>
                    </a:pathLst>
                  </a:custGeom>
                  <a:solidFill>
                    <a:schemeClr val="accent1"/>
                  </a:solidFill>
                  <a:ln w="205" cap="flat">
                    <a:noFill/>
                    <a:prstDash val="solid"/>
                    <a:miter/>
                  </a:ln>
                </p:spPr>
                <p:txBody>
                  <a:bodyPr rtlCol="0" anchor="ctr"/>
                  <a:lstStyle/>
                  <a:p>
                    <a:endParaRPr lang="en-GB" dirty="0"/>
                  </a:p>
                </p:txBody>
              </p:sp>
            </p:grpSp>
            <p:grpSp>
              <p:nvGrpSpPr>
                <p:cNvPr id="678" name="Grafik 348">
                  <a:extLst>
                    <a:ext uri="{FF2B5EF4-FFF2-40B4-BE49-F238E27FC236}">
                      <a16:creationId xmlns:a16="http://schemas.microsoft.com/office/drawing/2014/main" id="{B6F01B98-D1A1-44DC-8B4F-19B1DCDA60AA}"/>
                    </a:ext>
                  </a:extLst>
                </p:cNvPr>
                <p:cNvGrpSpPr/>
                <p:nvPr/>
              </p:nvGrpSpPr>
              <p:grpSpPr>
                <a:xfrm>
                  <a:off x="1828458" y="3514126"/>
                  <a:ext cx="159452" cy="96461"/>
                  <a:chOff x="1828458" y="3514126"/>
                  <a:chExt cx="159452" cy="96461"/>
                </a:xfrm>
                <a:solidFill>
                  <a:schemeClr val="accent1"/>
                </a:solidFill>
              </p:grpSpPr>
              <p:sp>
                <p:nvSpPr>
                  <p:cNvPr id="679" name="Freihandform: Form 678">
                    <a:extLst>
                      <a:ext uri="{FF2B5EF4-FFF2-40B4-BE49-F238E27FC236}">
                        <a16:creationId xmlns:a16="http://schemas.microsoft.com/office/drawing/2014/main" id="{78765320-8781-41E1-B1F8-715AD88AE8EA}"/>
                      </a:ext>
                    </a:extLst>
                  </p:cNvPr>
                  <p:cNvSpPr/>
                  <p:nvPr/>
                </p:nvSpPr>
                <p:spPr>
                  <a:xfrm>
                    <a:off x="1828458" y="3523306"/>
                    <a:ext cx="30158" cy="43425"/>
                  </a:xfrm>
                  <a:custGeom>
                    <a:avLst/>
                    <a:gdLst>
                      <a:gd name="connsiteX0" fmla="*/ 18083 w 30158"/>
                      <a:gd name="connsiteY0" fmla="*/ 43426 h 43425"/>
                      <a:gd name="connsiteX1" fmla="*/ 14880 w 30158"/>
                      <a:gd name="connsiteY1" fmla="*/ 42605 h 43425"/>
                      <a:gd name="connsiteX2" fmla="*/ 0 w 30158"/>
                      <a:gd name="connsiteY2" fmla="*/ 23008 h 43425"/>
                      <a:gd name="connsiteX3" fmla="*/ 20898 w 30158"/>
                      <a:gd name="connsiteY3" fmla="*/ 526 h 43425"/>
                      <a:gd name="connsiteX4" fmla="*/ 29632 w 30158"/>
                      <a:gd name="connsiteY4" fmla="*/ 4076 h 43425"/>
                      <a:gd name="connsiteX5" fmla="*/ 26080 w 30158"/>
                      <a:gd name="connsiteY5" fmla="*/ 12807 h 43425"/>
                      <a:gd name="connsiteX6" fmla="*/ 13333 w 30158"/>
                      <a:gd name="connsiteY6" fmla="*/ 23008 h 43425"/>
                      <a:gd name="connsiteX7" fmla="*/ 21300 w 30158"/>
                      <a:gd name="connsiteY7" fmla="*/ 30913 h 43425"/>
                      <a:gd name="connsiteX8" fmla="*/ 23934 w 30158"/>
                      <a:gd name="connsiteY8" fmla="*/ 39969 h 43425"/>
                      <a:gd name="connsiteX9" fmla="*/ 18083 w 30158"/>
                      <a:gd name="connsiteY9" fmla="*/ 43426 h 4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158" h="43425">
                        <a:moveTo>
                          <a:pt x="18083" y="43426"/>
                        </a:moveTo>
                        <a:cubicBezTo>
                          <a:pt x="17000" y="43426"/>
                          <a:pt x="15900" y="43158"/>
                          <a:pt x="14880" y="42605"/>
                        </a:cubicBezTo>
                        <a:cubicBezTo>
                          <a:pt x="2581" y="35848"/>
                          <a:pt x="0" y="28217"/>
                          <a:pt x="0" y="23008"/>
                        </a:cubicBezTo>
                        <a:cubicBezTo>
                          <a:pt x="0" y="16778"/>
                          <a:pt x="3627" y="7812"/>
                          <a:pt x="20898" y="526"/>
                        </a:cubicBezTo>
                        <a:cubicBezTo>
                          <a:pt x="24304" y="-905"/>
                          <a:pt x="28201" y="683"/>
                          <a:pt x="29632" y="4076"/>
                        </a:cubicBezTo>
                        <a:cubicBezTo>
                          <a:pt x="31065" y="7469"/>
                          <a:pt x="29471" y="11380"/>
                          <a:pt x="26080" y="12807"/>
                        </a:cubicBezTo>
                        <a:cubicBezTo>
                          <a:pt x="17275" y="16525"/>
                          <a:pt x="13333" y="20613"/>
                          <a:pt x="13333" y="23008"/>
                        </a:cubicBezTo>
                        <a:cubicBezTo>
                          <a:pt x="13333" y="24715"/>
                          <a:pt x="15427" y="27689"/>
                          <a:pt x="21300" y="30913"/>
                        </a:cubicBezTo>
                        <a:cubicBezTo>
                          <a:pt x="24526" y="32689"/>
                          <a:pt x="25706" y="36741"/>
                          <a:pt x="23934" y="39969"/>
                        </a:cubicBezTo>
                        <a:cubicBezTo>
                          <a:pt x="22720" y="42175"/>
                          <a:pt x="20438" y="43426"/>
                          <a:pt x="18083" y="43426"/>
                        </a:cubicBezTo>
                        <a:close/>
                      </a:path>
                    </a:pathLst>
                  </a:custGeom>
                  <a:solidFill>
                    <a:schemeClr val="accent1"/>
                  </a:solidFill>
                  <a:ln w="205" cap="flat">
                    <a:noFill/>
                    <a:prstDash val="solid"/>
                    <a:miter/>
                  </a:ln>
                </p:spPr>
                <p:txBody>
                  <a:bodyPr rtlCol="0" anchor="ctr"/>
                  <a:lstStyle/>
                  <a:p>
                    <a:endParaRPr lang="en-GB" dirty="0"/>
                  </a:p>
                </p:txBody>
              </p:sp>
              <p:sp>
                <p:nvSpPr>
                  <p:cNvPr id="680" name="Freihandform: Form 679">
                    <a:extLst>
                      <a:ext uri="{FF2B5EF4-FFF2-40B4-BE49-F238E27FC236}">
                        <a16:creationId xmlns:a16="http://schemas.microsoft.com/office/drawing/2014/main" id="{0ADE7621-A99B-4397-ACC1-B335663FD036}"/>
                      </a:ext>
                    </a:extLst>
                  </p:cNvPr>
                  <p:cNvSpPr/>
                  <p:nvPr/>
                </p:nvSpPr>
                <p:spPr>
                  <a:xfrm>
                    <a:off x="1861410" y="3514126"/>
                    <a:ext cx="126500" cy="64462"/>
                  </a:xfrm>
                  <a:custGeom>
                    <a:avLst/>
                    <a:gdLst>
                      <a:gd name="connsiteX0" fmla="*/ 46774 w 126500"/>
                      <a:gd name="connsiteY0" fmla="*/ 64463 h 64462"/>
                      <a:gd name="connsiteX1" fmla="*/ 5175 w 126500"/>
                      <a:gd name="connsiteY1" fmla="*/ 60093 h 64462"/>
                      <a:gd name="connsiteX2" fmla="*/ 172 w 126500"/>
                      <a:gd name="connsiteY2" fmla="*/ 52098 h 64462"/>
                      <a:gd name="connsiteX3" fmla="*/ 8163 w 126500"/>
                      <a:gd name="connsiteY3" fmla="*/ 47097 h 64462"/>
                      <a:gd name="connsiteX4" fmla="*/ 46774 w 126500"/>
                      <a:gd name="connsiteY4" fmla="*/ 51127 h 64462"/>
                      <a:gd name="connsiteX5" fmla="*/ 113167 w 126500"/>
                      <a:gd name="connsiteY5" fmla="*/ 32188 h 64462"/>
                      <a:gd name="connsiteX6" fmla="*/ 46774 w 126500"/>
                      <a:gd name="connsiteY6" fmla="*/ 13256 h 64462"/>
                      <a:gd name="connsiteX7" fmla="*/ 16914 w 126500"/>
                      <a:gd name="connsiteY7" fmla="*/ 15567 h 64462"/>
                      <a:gd name="connsiteX8" fmla="*/ 9259 w 126500"/>
                      <a:gd name="connsiteY8" fmla="*/ 10058 h 64462"/>
                      <a:gd name="connsiteX9" fmla="*/ 14759 w 126500"/>
                      <a:gd name="connsiteY9" fmla="*/ 2402 h 64462"/>
                      <a:gd name="connsiteX10" fmla="*/ 126500 w 126500"/>
                      <a:gd name="connsiteY10" fmla="*/ 32188 h 64462"/>
                      <a:gd name="connsiteX11" fmla="*/ 46774 w 126500"/>
                      <a:gd name="connsiteY11" fmla="*/ 64463 h 64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500" h="64462">
                        <a:moveTo>
                          <a:pt x="46774" y="64463"/>
                        </a:moveTo>
                        <a:cubicBezTo>
                          <a:pt x="31975" y="64463"/>
                          <a:pt x="17591" y="62951"/>
                          <a:pt x="5175" y="60093"/>
                        </a:cubicBezTo>
                        <a:cubicBezTo>
                          <a:pt x="1584" y="59266"/>
                          <a:pt x="-655" y="55686"/>
                          <a:pt x="172" y="52098"/>
                        </a:cubicBezTo>
                        <a:cubicBezTo>
                          <a:pt x="998" y="48510"/>
                          <a:pt x="4599" y="46264"/>
                          <a:pt x="8163" y="47097"/>
                        </a:cubicBezTo>
                        <a:cubicBezTo>
                          <a:pt x="19614" y="49733"/>
                          <a:pt x="32964" y="51127"/>
                          <a:pt x="46774" y="51127"/>
                        </a:cubicBezTo>
                        <a:cubicBezTo>
                          <a:pt x="89731" y="51127"/>
                          <a:pt x="113167" y="38614"/>
                          <a:pt x="113167" y="32188"/>
                        </a:cubicBezTo>
                        <a:cubicBezTo>
                          <a:pt x="113167" y="25762"/>
                          <a:pt x="89733" y="13256"/>
                          <a:pt x="46774" y="13256"/>
                        </a:cubicBezTo>
                        <a:cubicBezTo>
                          <a:pt x="36324" y="13256"/>
                          <a:pt x="26279" y="14031"/>
                          <a:pt x="16914" y="15567"/>
                        </a:cubicBezTo>
                        <a:cubicBezTo>
                          <a:pt x="13256" y="16159"/>
                          <a:pt x="9851" y="13692"/>
                          <a:pt x="9259" y="10058"/>
                        </a:cubicBezTo>
                        <a:cubicBezTo>
                          <a:pt x="8662" y="6425"/>
                          <a:pt x="11128" y="3001"/>
                          <a:pt x="14759" y="2402"/>
                        </a:cubicBezTo>
                        <a:cubicBezTo>
                          <a:pt x="60570" y="-5105"/>
                          <a:pt x="126498" y="5026"/>
                          <a:pt x="126500" y="32188"/>
                        </a:cubicBezTo>
                        <a:cubicBezTo>
                          <a:pt x="126500" y="53375"/>
                          <a:pt x="86392" y="64463"/>
                          <a:pt x="46774" y="64463"/>
                        </a:cubicBezTo>
                        <a:close/>
                      </a:path>
                    </a:pathLst>
                  </a:custGeom>
                  <a:solidFill>
                    <a:schemeClr val="accent1"/>
                  </a:solidFill>
                  <a:ln w="205" cap="flat">
                    <a:noFill/>
                    <a:prstDash val="solid"/>
                    <a:miter/>
                  </a:ln>
                </p:spPr>
                <p:txBody>
                  <a:bodyPr rtlCol="0" anchor="ctr"/>
                  <a:lstStyle/>
                  <a:p>
                    <a:endParaRPr lang="en-GB" dirty="0"/>
                  </a:p>
                </p:txBody>
              </p:sp>
              <p:sp>
                <p:nvSpPr>
                  <p:cNvPr id="681" name="Freihandform: Form 680">
                    <a:extLst>
                      <a:ext uri="{FF2B5EF4-FFF2-40B4-BE49-F238E27FC236}">
                        <a16:creationId xmlns:a16="http://schemas.microsoft.com/office/drawing/2014/main" id="{87B3A6DC-4CA7-42EE-95AD-249B2569E7E0}"/>
                      </a:ext>
                    </a:extLst>
                  </p:cNvPr>
                  <p:cNvSpPr/>
                  <p:nvPr/>
                </p:nvSpPr>
                <p:spPr>
                  <a:xfrm>
                    <a:off x="1828460" y="3539650"/>
                    <a:ext cx="27662" cy="60567"/>
                  </a:xfrm>
                  <a:custGeom>
                    <a:avLst/>
                    <a:gdLst>
                      <a:gd name="connsiteX0" fmla="*/ 20989 w 27662"/>
                      <a:gd name="connsiteY0" fmla="*/ 60567 h 60567"/>
                      <a:gd name="connsiteX1" fmla="*/ 18141 w 27662"/>
                      <a:gd name="connsiteY1" fmla="*/ 59930 h 60567"/>
                      <a:gd name="connsiteX2" fmla="*/ 0 w 27662"/>
                      <a:gd name="connsiteY2" fmla="*/ 38673 h 60567"/>
                      <a:gd name="connsiteX3" fmla="*/ 0 w 27662"/>
                      <a:gd name="connsiteY3" fmla="*/ 6667 h 60567"/>
                      <a:gd name="connsiteX4" fmla="*/ 6667 w 27662"/>
                      <a:gd name="connsiteY4" fmla="*/ 0 h 60567"/>
                      <a:gd name="connsiteX5" fmla="*/ 13333 w 27662"/>
                      <a:gd name="connsiteY5" fmla="*/ 6667 h 60567"/>
                      <a:gd name="connsiteX6" fmla="*/ 13333 w 27662"/>
                      <a:gd name="connsiteY6" fmla="*/ 38673 h 60567"/>
                      <a:gd name="connsiteX7" fmla="*/ 23845 w 27662"/>
                      <a:gd name="connsiteY7" fmla="*/ 47873 h 60567"/>
                      <a:gd name="connsiteX8" fmla="*/ 27020 w 27662"/>
                      <a:gd name="connsiteY8" fmla="*/ 56755 h 60567"/>
                      <a:gd name="connsiteX9" fmla="*/ 20989 w 27662"/>
                      <a:gd name="connsiteY9" fmla="*/ 60567 h 60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662" h="60567">
                        <a:moveTo>
                          <a:pt x="20989" y="60567"/>
                        </a:moveTo>
                        <a:cubicBezTo>
                          <a:pt x="20033" y="60567"/>
                          <a:pt x="19062" y="60366"/>
                          <a:pt x="18141" y="59930"/>
                        </a:cubicBezTo>
                        <a:cubicBezTo>
                          <a:pt x="3146" y="52833"/>
                          <a:pt x="0" y="44454"/>
                          <a:pt x="0" y="38673"/>
                        </a:cubicBezTo>
                        <a:lnTo>
                          <a:pt x="0" y="6667"/>
                        </a:lnTo>
                        <a:cubicBezTo>
                          <a:pt x="0" y="2982"/>
                          <a:pt x="2986" y="0"/>
                          <a:pt x="6667" y="0"/>
                        </a:cubicBezTo>
                        <a:cubicBezTo>
                          <a:pt x="10347" y="0"/>
                          <a:pt x="13333" y="2982"/>
                          <a:pt x="13333" y="6667"/>
                        </a:cubicBezTo>
                        <a:lnTo>
                          <a:pt x="13333" y="38673"/>
                        </a:lnTo>
                        <a:cubicBezTo>
                          <a:pt x="13333" y="40627"/>
                          <a:pt x="16087" y="44207"/>
                          <a:pt x="23845" y="47873"/>
                        </a:cubicBezTo>
                        <a:cubicBezTo>
                          <a:pt x="27172" y="49449"/>
                          <a:pt x="28595" y="53428"/>
                          <a:pt x="27020" y="56755"/>
                        </a:cubicBezTo>
                        <a:cubicBezTo>
                          <a:pt x="25879" y="59161"/>
                          <a:pt x="23485" y="60567"/>
                          <a:pt x="20989" y="60567"/>
                        </a:cubicBezTo>
                        <a:close/>
                      </a:path>
                    </a:pathLst>
                  </a:custGeom>
                  <a:solidFill>
                    <a:schemeClr val="accent1"/>
                  </a:solidFill>
                  <a:ln w="205" cap="flat">
                    <a:noFill/>
                    <a:prstDash val="solid"/>
                    <a:miter/>
                  </a:ln>
                </p:spPr>
                <p:txBody>
                  <a:bodyPr rtlCol="0" anchor="ctr"/>
                  <a:lstStyle/>
                  <a:p>
                    <a:endParaRPr lang="en-GB" dirty="0"/>
                  </a:p>
                </p:txBody>
              </p:sp>
              <p:sp>
                <p:nvSpPr>
                  <p:cNvPr id="682" name="Freihandform: Form 681">
                    <a:extLst>
                      <a:ext uri="{FF2B5EF4-FFF2-40B4-BE49-F238E27FC236}">
                        <a16:creationId xmlns:a16="http://schemas.microsoft.com/office/drawing/2014/main" id="{6BCDF4A8-3C22-4586-A24E-6BE534FC6BD2}"/>
                      </a:ext>
                    </a:extLst>
                  </p:cNvPr>
                  <p:cNvSpPr/>
                  <p:nvPr/>
                </p:nvSpPr>
                <p:spPr>
                  <a:xfrm>
                    <a:off x="1869200" y="3539646"/>
                    <a:ext cx="118710" cy="70941"/>
                  </a:xfrm>
                  <a:custGeom>
                    <a:avLst/>
                    <a:gdLst>
                      <a:gd name="connsiteX0" fmla="*/ 38984 w 118710"/>
                      <a:gd name="connsiteY0" fmla="*/ 70942 h 70941"/>
                      <a:gd name="connsiteX1" fmla="*/ 5532 w 118710"/>
                      <a:gd name="connsiteY1" fmla="*/ 68213 h 70941"/>
                      <a:gd name="connsiteX2" fmla="*/ 99 w 118710"/>
                      <a:gd name="connsiteY2" fmla="*/ 60504 h 70941"/>
                      <a:gd name="connsiteX3" fmla="*/ 7804 w 118710"/>
                      <a:gd name="connsiteY3" fmla="*/ 55073 h 70941"/>
                      <a:gd name="connsiteX4" fmla="*/ 38984 w 118710"/>
                      <a:gd name="connsiteY4" fmla="*/ 57606 h 70941"/>
                      <a:gd name="connsiteX5" fmla="*/ 105377 w 118710"/>
                      <a:gd name="connsiteY5" fmla="*/ 38674 h 70941"/>
                      <a:gd name="connsiteX6" fmla="*/ 105377 w 118710"/>
                      <a:gd name="connsiteY6" fmla="*/ 6667 h 70941"/>
                      <a:gd name="connsiteX7" fmla="*/ 112044 w 118710"/>
                      <a:gd name="connsiteY7" fmla="*/ 0 h 70941"/>
                      <a:gd name="connsiteX8" fmla="*/ 118710 w 118710"/>
                      <a:gd name="connsiteY8" fmla="*/ 6667 h 70941"/>
                      <a:gd name="connsiteX9" fmla="*/ 118710 w 118710"/>
                      <a:gd name="connsiteY9" fmla="*/ 38674 h 70941"/>
                      <a:gd name="connsiteX10" fmla="*/ 38984 w 118710"/>
                      <a:gd name="connsiteY10" fmla="*/ 70942 h 7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710" h="70941">
                        <a:moveTo>
                          <a:pt x="38984" y="70942"/>
                        </a:moveTo>
                        <a:cubicBezTo>
                          <a:pt x="27247" y="70942"/>
                          <a:pt x="15992" y="70024"/>
                          <a:pt x="5532" y="68213"/>
                        </a:cubicBezTo>
                        <a:cubicBezTo>
                          <a:pt x="1902" y="67588"/>
                          <a:pt x="-530" y="64137"/>
                          <a:pt x="99" y="60504"/>
                        </a:cubicBezTo>
                        <a:cubicBezTo>
                          <a:pt x="728" y="56876"/>
                          <a:pt x="4179" y="54468"/>
                          <a:pt x="7804" y="55073"/>
                        </a:cubicBezTo>
                        <a:cubicBezTo>
                          <a:pt x="17514" y="56753"/>
                          <a:pt x="28006" y="57606"/>
                          <a:pt x="38984" y="57606"/>
                        </a:cubicBezTo>
                        <a:cubicBezTo>
                          <a:pt x="81941" y="57606"/>
                          <a:pt x="105377" y="45100"/>
                          <a:pt x="105377" y="38674"/>
                        </a:cubicBezTo>
                        <a:lnTo>
                          <a:pt x="105377" y="6667"/>
                        </a:lnTo>
                        <a:cubicBezTo>
                          <a:pt x="105377" y="2982"/>
                          <a:pt x="108363" y="0"/>
                          <a:pt x="112044" y="0"/>
                        </a:cubicBezTo>
                        <a:cubicBezTo>
                          <a:pt x="115725" y="0"/>
                          <a:pt x="118710" y="2982"/>
                          <a:pt x="118710" y="6667"/>
                        </a:cubicBezTo>
                        <a:lnTo>
                          <a:pt x="118710" y="38674"/>
                        </a:lnTo>
                        <a:cubicBezTo>
                          <a:pt x="118710" y="59862"/>
                          <a:pt x="78602" y="70942"/>
                          <a:pt x="38984" y="70942"/>
                        </a:cubicBezTo>
                        <a:close/>
                      </a:path>
                    </a:pathLst>
                  </a:custGeom>
                  <a:solidFill>
                    <a:schemeClr val="accent1"/>
                  </a:solidFill>
                  <a:ln w="205" cap="flat">
                    <a:noFill/>
                    <a:prstDash val="solid"/>
                    <a:miter/>
                  </a:ln>
                </p:spPr>
                <p:txBody>
                  <a:bodyPr rtlCol="0" anchor="ctr"/>
                  <a:lstStyle/>
                  <a:p>
                    <a:endParaRPr lang="en-GB" dirty="0"/>
                  </a:p>
                </p:txBody>
              </p:sp>
            </p:grpSp>
          </p:grpSp>
          <p:grpSp>
            <p:nvGrpSpPr>
              <p:cNvPr id="674" name="Grafik 348">
                <a:extLst>
                  <a:ext uri="{FF2B5EF4-FFF2-40B4-BE49-F238E27FC236}">
                    <a16:creationId xmlns:a16="http://schemas.microsoft.com/office/drawing/2014/main" id="{FA62E111-B3A3-4973-B39C-5564DB76C166}"/>
                  </a:ext>
                </a:extLst>
              </p:cNvPr>
              <p:cNvGrpSpPr/>
              <p:nvPr/>
            </p:nvGrpSpPr>
            <p:grpSpPr>
              <a:xfrm>
                <a:off x="1723212" y="3356270"/>
                <a:ext cx="353346" cy="108876"/>
                <a:chOff x="1723212" y="3356270"/>
                <a:chExt cx="353346" cy="108876"/>
              </a:xfrm>
              <a:solidFill>
                <a:schemeClr val="accent1"/>
              </a:solidFill>
            </p:grpSpPr>
            <p:sp>
              <p:nvSpPr>
                <p:cNvPr id="675" name="Freihandform: Form 674">
                  <a:extLst>
                    <a:ext uri="{FF2B5EF4-FFF2-40B4-BE49-F238E27FC236}">
                      <a16:creationId xmlns:a16="http://schemas.microsoft.com/office/drawing/2014/main" id="{54B749E2-E295-46BD-96EA-7C06EAABCBC4}"/>
                    </a:ext>
                  </a:extLst>
                </p:cNvPr>
                <p:cNvSpPr/>
                <p:nvPr/>
              </p:nvSpPr>
              <p:spPr>
                <a:xfrm>
                  <a:off x="1723212" y="3356270"/>
                  <a:ext cx="353346" cy="108876"/>
                </a:xfrm>
                <a:custGeom>
                  <a:avLst/>
                  <a:gdLst>
                    <a:gd name="connsiteX0" fmla="*/ 6674 w 353346"/>
                    <a:gd name="connsiteY0" fmla="*/ 108877 h 108876"/>
                    <a:gd name="connsiteX1" fmla="*/ 1274 w 353346"/>
                    <a:gd name="connsiteY1" fmla="*/ 106129 h 108876"/>
                    <a:gd name="connsiteX2" fmla="*/ 2752 w 353346"/>
                    <a:gd name="connsiteY2" fmla="*/ 96812 h 108876"/>
                    <a:gd name="connsiteX3" fmla="*/ 86922 w 353346"/>
                    <a:gd name="connsiteY3" fmla="*/ 35698 h 108876"/>
                    <a:gd name="connsiteX4" fmla="*/ 94592 w 353346"/>
                    <a:gd name="connsiteY4" fmla="*/ 35587 h 108876"/>
                    <a:gd name="connsiteX5" fmla="*/ 163673 w 353346"/>
                    <a:gd name="connsiteY5" fmla="*/ 82632 h 108876"/>
                    <a:gd name="connsiteX6" fmla="*/ 240730 w 353346"/>
                    <a:gd name="connsiteY6" fmla="*/ 5840 h 108876"/>
                    <a:gd name="connsiteX7" fmla="*/ 249467 w 353346"/>
                    <a:gd name="connsiteY7" fmla="*/ 5248 h 108876"/>
                    <a:gd name="connsiteX8" fmla="*/ 304511 w 353346"/>
                    <a:gd name="connsiteY8" fmla="*/ 47039 h 108876"/>
                    <a:gd name="connsiteX9" fmla="*/ 341550 w 353346"/>
                    <a:gd name="connsiteY9" fmla="*/ 2408 h 108876"/>
                    <a:gd name="connsiteX10" fmla="*/ 350939 w 353346"/>
                    <a:gd name="connsiteY10" fmla="*/ 1536 h 108876"/>
                    <a:gd name="connsiteX11" fmla="*/ 351811 w 353346"/>
                    <a:gd name="connsiteY11" fmla="*/ 10925 h 108876"/>
                    <a:gd name="connsiteX12" fmla="*/ 310696 w 353346"/>
                    <a:gd name="connsiteY12" fmla="*/ 60464 h 108876"/>
                    <a:gd name="connsiteX13" fmla="*/ 301536 w 353346"/>
                    <a:gd name="connsiteY13" fmla="*/ 61519 h 108876"/>
                    <a:gd name="connsiteX14" fmla="*/ 246029 w 353346"/>
                    <a:gd name="connsiteY14" fmla="*/ 19383 h 108876"/>
                    <a:gd name="connsiteX15" fmla="*/ 169184 w 353346"/>
                    <a:gd name="connsiteY15" fmla="*/ 95967 h 108876"/>
                    <a:gd name="connsiteX16" fmla="*/ 160724 w 353346"/>
                    <a:gd name="connsiteY16" fmla="*/ 96755 h 108876"/>
                    <a:gd name="connsiteX17" fmla="*/ 90963 w 353346"/>
                    <a:gd name="connsiteY17" fmla="*/ 49247 h 108876"/>
                    <a:gd name="connsiteX18" fmla="*/ 10587 w 353346"/>
                    <a:gd name="connsiteY18" fmla="*/ 107608 h 108876"/>
                    <a:gd name="connsiteX19" fmla="*/ 6674 w 353346"/>
                    <a:gd name="connsiteY19" fmla="*/ 108877 h 108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3346" h="108876">
                      <a:moveTo>
                        <a:pt x="6674" y="108877"/>
                      </a:moveTo>
                      <a:cubicBezTo>
                        <a:pt x="4609" y="108877"/>
                        <a:pt x="2575" y="107927"/>
                        <a:pt x="1274" y="106129"/>
                      </a:cubicBezTo>
                      <a:cubicBezTo>
                        <a:pt x="-892" y="103148"/>
                        <a:pt x="-229" y="98982"/>
                        <a:pt x="2752" y="96812"/>
                      </a:cubicBezTo>
                      <a:lnTo>
                        <a:pt x="86922" y="35698"/>
                      </a:lnTo>
                      <a:cubicBezTo>
                        <a:pt x="89198" y="34045"/>
                        <a:pt x="92267" y="33999"/>
                        <a:pt x="94592" y="35587"/>
                      </a:cubicBezTo>
                      <a:lnTo>
                        <a:pt x="163673" y="82632"/>
                      </a:lnTo>
                      <a:lnTo>
                        <a:pt x="240730" y="5840"/>
                      </a:lnTo>
                      <a:cubicBezTo>
                        <a:pt x="243090" y="3490"/>
                        <a:pt x="246821" y="3249"/>
                        <a:pt x="249467" y="5248"/>
                      </a:cubicBezTo>
                      <a:lnTo>
                        <a:pt x="304511" y="47039"/>
                      </a:lnTo>
                      <a:lnTo>
                        <a:pt x="341550" y="2408"/>
                      </a:lnTo>
                      <a:cubicBezTo>
                        <a:pt x="343910" y="-424"/>
                        <a:pt x="348116" y="-814"/>
                        <a:pt x="350939" y="1536"/>
                      </a:cubicBezTo>
                      <a:cubicBezTo>
                        <a:pt x="353771" y="3886"/>
                        <a:pt x="354161" y="8092"/>
                        <a:pt x="351811" y="10925"/>
                      </a:cubicBezTo>
                      <a:lnTo>
                        <a:pt x="310696" y="60464"/>
                      </a:lnTo>
                      <a:cubicBezTo>
                        <a:pt x="308414" y="63212"/>
                        <a:pt x="304371" y="63674"/>
                        <a:pt x="301536" y="61519"/>
                      </a:cubicBezTo>
                      <a:lnTo>
                        <a:pt x="246029" y="19383"/>
                      </a:lnTo>
                      <a:lnTo>
                        <a:pt x="169184" y="95967"/>
                      </a:lnTo>
                      <a:cubicBezTo>
                        <a:pt x="166918" y="98239"/>
                        <a:pt x="163372" y="98572"/>
                        <a:pt x="160724" y="96755"/>
                      </a:cubicBezTo>
                      <a:lnTo>
                        <a:pt x="90963" y="49247"/>
                      </a:lnTo>
                      <a:lnTo>
                        <a:pt x="10587" y="107608"/>
                      </a:lnTo>
                      <a:cubicBezTo>
                        <a:pt x="9400" y="108467"/>
                        <a:pt x="8031" y="108877"/>
                        <a:pt x="6674" y="108877"/>
                      </a:cubicBezTo>
                      <a:close/>
                    </a:path>
                  </a:pathLst>
                </a:custGeom>
                <a:solidFill>
                  <a:schemeClr val="accent1"/>
                </a:solidFill>
                <a:ln w="205" cap="flat">
                  <a:noFill/>
                  <a:prstDash val="solid"/>
                  <a:miter/>
                </a:ln>
              </p:spPr>
              <p:txBody>
                <a:bodyPr rtlCol="0" anchor="ctr"/>
                <a:lstStyle/>
                <a:p>
                  <a:endParaRPr lang="en-GB" dirty="0"/>
                </a:p>
              </p:txBody>
            </p:sp>
            <p:sp>
              <p:nvSpPr>
                <p:cNvPr id="676" name="Freihandform: Form 675">
                  <a:extLst>
                    <a:ext uri="{FF2B5EF4-FFF2-40B4-BE49-F238E27FC236}">
                      <a16:creationId xmlns:a16="http://schemas.microsoft.com/office/drawing/2014/main" id="{C905A496-9FEA-4487-A938-1BB82A9DA135}"/>
                    </a:ext>
                  </a:extLst>
                </p:cNvPr>
                <p:cNvSpPr/>
                <p:nvPr/>
              </p:nvSpPr>
              <p:spPr>
                <a:xfrm>
                  <a:off x="2033456" y="3356270"/>
                  <a:ext cx="43100" cy="43100"/>
                </a:xfrm>
                <a:custGeom>
                  <a:avLst/>
                  <a:gdLst>
                    <a:gd name="connsiteX0" fmla="*/ 36432 w 43100"/>
                    <a:gd name="connsiteY0" fmla="*/ 43101 h 43100"/>
                    <a:gd name="connsiteX1" fmla="*/ 29765 w 43100"/>
                    <a:gd name="connsiteY1" fmla="*/ 36434 h 43100"/>
                    <a:gd name="connsiteX2" fmla="*/ 29765 w 43100"/>
                    <a:gd name="connsiteY2" fmla="*/ 13333 h 43100"/>
                    <a:gd name="connsiteX3" fmla="*/ 6667 w 43100"/>
                    <a:gd name="connsiteY3" fmla="*/ 13333 h 43100"/>
                    <a:gd name="connsiteX4" fmla="*/ 0 w 43100"/>
                    <a:gd name="connsiteY4" fmla="*/ 6667 h 43100"/>
                    <a:gd name="connsiteX5" fmla="*/ 6667 w 43100"/>
                    <a:gd name="connsiteY5" fmla="*/ 0 h 43100"/>
                    <a:gd name="connsiteX6" fmla="*/ 36434 w 43100"/>
                    <a:gd name="connsiteY6" fmla="*/ 0 h 43100"/>
                    <a:gd name="connsiteX7" fmla="*/ 43101 w 43100"/>
                    <a:gd name="connsiteY7" fmla="*/ 6667 h 43100"/>
                    <a:gd name="connsiteX8" fmla="*/ 43101 w 43100"/>
                    <a:gd name="connsiteY8" fmla="*/ 36434 h 43100"/>
                    <a:gd name="connsiteX9" fmla="*/ 36432 w 43100"/>
                    <a:gd name="connsiteY9" fmla="*/ 43101 h 43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00" h="43100">
                      <a:moveTo>
                        <a:pt x="36432" y="43101"/>
                      </a:moveTo>
                      <a:cubicBezTo>
                        <a:pt x="32751" y="43101"/>
                        <a:pt x="29765" y="40119"/>
                        <a:pt x="29765" y="36434"/>
                      </a:cubicBezTo>
                      <a:lnTo>
                        <a:pt x="29765" y="13333"/>
                      </a:lnTo>
                      <a:lnTo>
                        <a:pt x="6667" y="13333"/>
                      </a:lnTo>
                      <a:cubicBezTo>
                        <a:pt x="2986" y="13333"/>
                        <a:pt x="0" y="10352"/>
                        <a:pt x="0" y="6667"/>
                      </a:cubicBezTo>
                      <a:cubicBezTo>
                        <a:pt x="0" y="2982"/>
                        <a:pt x="2986" y="0"/>
                        <a:pt x="6667" y="0"/>
                      </a:cubicBezTo>
                      <a:lnTo>
                        <a:pt x="36434" y="0"/>
                      </a:lnTo>
                      <a:cubicBezTo>
                        <a:pt x="40115" y="0"/>
                        <a:pt x="43101" y="2982"/>
                        <a:pt x="43101" y="6667"/>
                      </a:cubicBezTo>
                      <a:lnTo>
                        <a:pt x="43101" y="36434"/>
                      </a:lnTo>
                      <a:cubicBezTo>
                        <a:pt x="43099" y="40119"/>
                        <a:pt x="40115" y="43101"/>
                        <a:pt x="36432" y="43101"/>
                      </a:cubicBezTo>
                      <a:close/>
                    </a:path>
                  </a:pathLst>
                </a:custGeom>
                <a:solidFill>
                  <a:schemeClr val="accent1"/>
                </a:solidFill>
                <a:ln w="205" cap="flat">
                  <a:noFill/>
                  <a:prstDash val="solid"/>
                  <a:miter/>
                </a:ln>
              </p:spPr>
              <p:txBody>
                <a:bodyPr rtlCol="0" anchor="ctr"/>
                <a:lstStyle/>
                <a:p>
                  <a:endParaRPr lang="en-GB" dirty="0"/>
                </a:p>
              </p:txBody>
            </p:sp>
          </p:grpSp>
        </p:grpSp>
        <p:grpSp>
          <p:nvGrpSpPr>
            <p:cNvPr id="665" name="Gruppieren 664">
              <a:extLst>
                <a:ext uri="{FF2B5EF4-FFF2-40B4-BE49-F238E27FC236}">
                  <a16:creationId xmlns:a16="http://schemas.microsoft.com/office/drawing/2014/main" id="{404F93DF-F1F2-4F4B-92D2-0808ABFE6809}"/>
                </a:ext>
              </a:extLst>
            </p:cNvPr>
            <p:cNvGrpSpPr/>
            <p:nvPr/>
          </p:nvGrpSpPr>
          <p:grpSpPr>
            <a:xfrm>
              <a:off x="1756552" y="3376096"/>
              <a:ext cx="318799" cy="329301"/>
              <a:chOff x="1861246" y="3452028"/>
              <a:chExt cx="297253" cy="307045"/>
            </a:xfrm>
          </p:grpSpPr>
          <p:sp>
            <p:nvSpPr>
              <p:cNvPr id="666" name="Freihandform: Form 665">
                <a:extLst>
                  <a:ext uri="{FF2B5EF4-FFF2-40B4-BE49-F238E27FC236}">
                    <a16:creationId xmlns:a16="http://schemas.microsoft.com/office/drawing/2014/main" id="{4BCA0C09-0EB7-4BA9-9FE4-455BC5300EF3}"/>
                  </a:ext>
                </a:extLst>
              </p:cNvPr>
              <p:cNvSpPr/>
              <p:nvPr/>
            </p:nvSpPr>
            <p:spPr>
              <a:xfrm>
                <a:off x="1861246" y="3452028"/>
                <a:ext cx="219213" cy="219213"/>
              </a:xfrm>
              <a:custGeom>
                <a:avLst/>
                <a:gdLst>
                  <a:gd name="connsiteX0" fmla="*/ 109607 w 219213"/>
                  <a:gd name="connsiteY0" fmla="*/ 219213 h 219213"/>
                  <a:gd name="connsiteX1" fmla="*/ 32104 w 219213"/>
                  <a:gd name="connsiteY1" fmla="*/ 187110 h 219213"/>
                  <a:gd name="connsiteX2" fmla="*/ 0 w 219213"/>
                  <a:gd name="connsiteY2" fmla="*/ 109607 h 219213"/>
                  <a:gd name="connsiteX3" fmla="*/ 32104 w 219213"/>
                  <a:gd name="connsiteY3" fmla="*/ 32104 h 219213"/>
                  <a:gd name="connsiteX4" fmla="*/ 109607 w 219213"/>
                  <a:gd name="connsiteY4" fmla="*/ 0 h 219213"/>
                  <a:gd name="connsiteX5" fmla="*/ 187110 w 219213"/>
                  <a:gd name="connsiteY5" fmla="*/ 32104 h 219213"/>
                  <a:gd name="connsiteX6" fmla="*/ 187110 w 219213"/>
                  <a:gd name="connsiteY6" fmla="*/ 32104 h 219213"/>
                  <a:gd name="connsiteX7" fmla="*/ 187110 w 219213"/>
                  <a:gd name="connsiteY7" fmla="*/ 32104 h 219213"/>
                  <a:gd name="connsiteX8" fmla="*/ 219213 w 219213"/>
                  <a:gd name="connsiteY8" fmla="*/ 109607 h 219213"/>
                  <a:gd name="connsiteX9" fmla="*/ 187110 w 219213"/>
                  <a:gd name="connsiteY9" fmla="*/ 187110 h 219213"/>
                  <a:gd name="connsiteX10" fmla="*/ 109607 w 219213"/>
                  <a:gd name="connsiteY10" fmla="*/ 219213 h 219213"/>
                  <a:gd name="connsiteX11" fmla="*/ 109607 w 219213"/>
                  <a:gd name="connsiteY11" fmla="*/ 13335 h 219213"/>
                  <a:gd name="connsiteX12" fmla="*/ 41532 w 219213"/>
                  <a:gd name="connsiteY12" fmla="*/ 41534 h 219213"/>
                  <a:gd name="connsiteX13" fmla="*/ 13335 w 219213"/>
                  <a:gd name="connsiteY13" fmla="*/ 109609 h 219213"/>
                  <a:gd name="connsiteX14" fmla="*/ 41532 w 219213"/>
                  <a:gd name="connsiteY14" fmla="*/ 177684 h 219213"/>
                  <a:gd name="connsiteX15" fmla="*/ 109607 w 219213"/>
                  <a:gd name="connsiteY15" fmla="*/ 205882 h 219213"/>
                  <a:gd name="connsiteX16" fmla="*/ 177682 w 219213"/>
                  <a:gd name="connsiteY16" fmla="*/ 177684 h 219213"/>
                  <a:gd name="connsiteX17" fmla="*/ 205878 w 219213"/>
                  <a:gd name="connsiteY17" fmla="*/ 109609 h 219213"/>
                  <a:gd name="connsiteX18" fmla="*/ 177682 w 219213"/>
                  <a:gd name="connsiteY18" fmla="*/ 41534 h 219213"/>
                  <a:gd name="connsiteX19" fmla="*/ 177682 w 219213"/>
                  <a:gd name="connsiteY19" fmla="*/ 41534 h 219213"/>
                  <a:gd name="connsiteX20" fmla="*/ 109607 w 219213"/>
                  <a:gd name="connsiteY20" fmla="*/ 13335 h 219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9213" h="219213">
                    <a:moveTo>
                      <a:pt x="109607" y="219213"/>
                    </a:moveTo>
                    <a:cubicBezTo>
                      <a:pt x="80329" y="219213"/>
                      <a:pt x="52805" y="207813"/>
                      <a:pt x="32104" y="187110"/>
                    </a:cubicBezTo>
                    <a:cubicBezTo>
                      <a:pt x="11400" y="166407"/>
                      <a:pt x="0" y="138879"/>
                      <a:pt x="0" y="109607"/>
                    </a:cubicBezTo>
                    <a:cubicBezTo>
                      <a:pt x="0" y="80329"/>
                      <a:pt x="11400" y="52800"/>
                      <a:pt x="32104" y="32104"/>
                    </a:cubicBezTo>
                    <a:cubicBezTo>
                      <a:pt x="52805" y="11400"/>
                      <a:pt x="80329" y="0"/>
                      <a:pt x="109607" y="0"/>
                    </a:cubicBezTo>
                    <a:cubicBezTo>
                      <a:pt x="138885" y="0"/>
                      <a:pt x="166409" y="11400"/>
                      <a:pt x="187110" y="32104"/>
                    </a:cubicBezTo>
                    <a:lnTo>
                      <a:pt x="187110" y="32104"/>
                    </a:lnTo>
                    <a:lnTo>
                      <a:pt x="187110" y="32104"/>
                    </a:lnTo>
                    <a:cubicBezTo>
                      <a:pt x="207813" y="52800"/>
                      <a:pt x="219213" y="80327"/>
                      <a:pt x="219213" y="109607"/>
                    </a:cubicBezTo>
                    <a:cubicBezTo>
                      <a:pt x="219213" y="138879"/>
                      <a:pt x="207813" y="166405"/>
                      <a:pt x="187110" y="187110"/>
                    </a:cubicBezTo>
                    <a:cubicBezTo>
                      <a:pt x="166409" y="207813"/>
                      <a:pt x="138885" y="219213"/>
                      <a:pt x="109607" y="219213"/>
                    </a:cubicBezTo>
                    <a:close/>
                    <a:moveTo>
                      <a:pt x="109607" y="13335"/>
                    </a:moveTo>
                    <a:cubicBezTo>
                      <a:pt x="83892" y="13335"/>
                      <a:pt x="59716" y="23350"/>
                      <a:pt x="41532" y="41534"/>
                    </a:cubicBezTo>
                    <a:cubicBezTo>
                      <a:pt x="23348" y="59718"/>
                      <a:pt x="13335" y="83892"/>
                      <a:pt x="13335" y="109609"/>
                    </a:cubicBezTo>
                    <a:cubicBezTo>
                      <a:pt x="13335" y="135319"/>
                      <a:pt x="23348" y="159500"/>
                      <a:pt x="41532" y="177684"/>
                    </a:cubicBezTo>
                    <a:cubicBezTo>
                      <a:pt x="59716" y="195868"/>
                      <a:pt x="83892" y="205882"/>
                      <a:pt x="109607" y="205882"/>
                    </a:cubicBezTo>
                    <a:cubicBezTo>
                      <a:pt x="135321" y="205882"/>
                      <a:pt x="159498" y="195868"/>
                      <a:pt x="177682" y="177684"/>
                    </a:cubicBezTo>
                    <a:cubicBezTo>
                      <a:pt x="195866" y="159500"/>
                      <a:pt x="205878" y="135319"/>
                      <a:pt x="205878" y="109609"/>
                    </a:cubicBezTo>
                    <a:cubicBezTo>
                      <a:pt x="205878" y="83892"/>
                      <a:pt x="195866" y="59718"/>
                      <a:pt x="177682" y="41534"/>
                    </a:cubicBezTo>
                    <a:lnTo>
                      <a:pt x="177682" y="41534"/>
                    </a:lnTo>
                    <a:cubicBezTo>
                      <a:pt x="159498" y="23348"/>
                      <a:pt x="135319" y="13335"/>
                      <a:pt x="109607" y="13335"/>
                    </a:cubicBezTo>
                    <a:close/>
                  </a:path>
                </a:pathLst>
              </a:custGeom>
              <a:solidFill>
                <a:schemeClr val="tx2"/>
              </a:solidFill>
              <a:ln w="205" cap="flat">
                <a:noFill/>
                <a:prstDash val="solid"/>
                <a:miter/>
              </a:ln>
            </p:spPr>
            <p:txBody>
              <a:bodyPr rtlCol="0" anchor="ctr"/>
              <a:lstStyle/>
              <a:p>
                <a:endParaRPr lang="en-GB" dirty="0"/>
              </a:p>
            </p:txBody>
          </p:sp>
          <p:sp>
            <p:nvSpPr>
              <p:cNvPr id="667" name="Freihandform: Form 666">
                <a:extLst>
                  <a:ext uri="{FF2B5EF4-FFF2-40B4-BE49-F238E27FC236}">
                    <a16:creationId xmlns:a16="http://schemas.microsoft.com/office/drawing/2014/main" id="{BA6BFB09-E979-4DFB-9C49-1D182B5FB399}"/>
                  </a:ext>
                </a:extLst>
              </p:cNvPr>
              <p:cNvSpPr/>
              <p:nvPr/>
            </p:nvSpPr>
            <p:spPr>
              <a:xfrm>
                <a:off x="2023605" y="3624187"/>
                <a:ext cx="68793" cy="68795"/>
              </a:xfrm>
              <a:custGeom>
                <a:avLst/>
                <a:gdLst>
                  <a:gd name="connsiteX0" fmla="*/ 41325 w 68793"/>
                  <a:gd name="connsiteY0" fmla="*/ 68795 h 68795"/>
                  <a:gd name="connsiteX1" fmla="*/ 36612 w 68793"/>
                  <a:gd name="connsiteY1" fmla="*/ 66842 h 68795"/>
                  <a:gd name="connsiteX2" fmla="*/ 1952 w 68793"/>
                  <a:gd name="connsiteY2" fmla="*/ 32178 h 68795"/>
                  <a:gd name="connsiteX3" fmla="*/ 1952 w 68793"/>
                  <a:gd name="connsiteY3" fmla="*/ 22750 h 68795"/>
                  <a:gd name="connsiteX4" fmla="*/ 11381 w 68793"/>
                  <a:gd name="connsiteY4" fmla="*/ 22750 h 68795"/>
                  <a:gd name="connsiteX5" fmla="*/ 41327 w 68793"/>
                  <a:gd name="connsiteY5" fmla="*/ 52698 h 68795"/>
                  <a:gd name="connsiteX6" fmla="*/ 52699 w 68793"/>
                  <a:gd name="connsiteY6" fmla="*/ 41331 h 68795"/>
                  <a:gd name="connsiteX7" fmla="*/ 22750 w 68793"/>
                  <a:gd name="connsiteY7" fmla="*/ 11382 h 68795"/>
                  <a:gd name="connsiteX8" fmla="*/ 22750 w 68793"/>
                  <a:gd name="connsiteY8" fmla="*/ 1954 h 68795"/>
                  <a:gd name="connsiteX9" fmla="*/ 32179 w 68793"/>
                  <a:gd name="connsiteY9" fmla="*/ 1954 h 68795"/>
                  <a:gd name="connsiteX10" fmla="*/ 66840 w 68793"/>
                  <a:gd name="connsiteY10" fmla="*/ 36616 h 68795"/>
                  <a:gd name="connsiteX11" fmla="*/ 68794 w 68793"/>
                  <a:gd name="connsiteY11" fmla="*/ 41329 h 68795"/>
                  <a:gd name="connsiteX12" fmla="*/ 66840 w 68793"/>
                  <a:gd name="connsiteY12" fmla="*/ 46042 h 68795"/>
                  <a:gd name="connsiteX13" fmla="*/ 46042 w 68793"/>
                  <a:gd name="connsiteY13" fmla="*/ 66842 h 68795"/>
                  <a:gd name="connsiteX14" fmla="*/ 41325 w 68793"/>
                  <a:gd name="connsiteY14" fmla="*/ 68795 h 68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793" h="68795">
                    <a:moveTo>
                      <a:pt x="41325" y="68795"/>
                    </a:moveTo>
                    <a:cubicBezTo>
                      <a:pt x="39618" y="68795"/>
                      <a:pt x="37914" y="68137"/>
                      <a:pt x="36612" y="66842"/>
                    </a:cubicBezTo>
                    <a:lnTo>
                      <a:pt x="1952" y="32178"/>
                    </a:lnTo>
                    <a:cubicBezTo>
                      <a:pt x="-651" y="29573"/>
                      <a:pt x="-651" y="25355"/>
                      <a:pt x="1952" y="22750"/>
                    </a:cubicBezTo>
                    <a:cubicBezTo>
                      <a:pt x="4556" y="20144"/>
                      <a:pt x="8775" y="20144"/>
                      <a:pt x="11381" y="22750"/>
                    </a:cubicBezTo>
                    <a:lnTo>
                      <a:pt x="41327" y="52698"/>
                    </a:lnTo>
                    <a:lnTo>
                      <a:pt x="52699" y="41331"/>
                    </a:lnTo>
                    <a:lnTo>
                      <a:pt x="22750" y="11382"/>
                    </a:lnTo>
                    <a:cubicBezTo>
                      <a:pt x="20147" y="8777"/>
                      <a:pt x="20147" y="4559"/>
                      <a:pt x="22750" y="1954"/>
                    </a:cubicBezTo>
                    <a:cubicBezTo>
                      <a:pt x="25354" y="-651"/>
                      <a:pt x="29573" y="-651"/>
                      <a:pt x="32179" y="1954"/>
                    </a:cubicBezTo>
                    <a:lnTo>
                      <a:pt x="66840" y="36616"/>
                    </a:lnTo>
                    <a:cubicBezTo>
                      <a:pt x="68090" y="37866"/>
                      <a:pt x="68794" y="39558"/>
                      <a:pt x="68794" y="41329"/>
                    </a:cubicBezTo>
                    <a:cubicBezTo>
                      <a:pt x="68794" y="43099"/>
                      <a:pt x="68090" y="44792"/>
                      <a:pt x="66840" y="46042"/>
                    </a:cubicBezTo>
                    <a:lnTo>
                      <a:pt x="46042" y="66842"/>
                    </a:lnTo>
                    <a:cubicBezTo>
                      <a:pt x="44737" y="68137"/>
                      <a:pt x="43032" y="68795"/>
                      <a:pt x="41325" y="68795"/>
                    </a:cubicBezTo>
                    <a:close/>
                  </a:path>
                </a:pathLst>
              </a:custGeom>
              <a:solidFill>
                <a:schemeClr val="tx2"/>
              </a:solidFill>
              <a:ln w="205" cap="flat">
                <a:noFill/>
                <a:prstDash val="solid"/>
                <a:miter/>
              </a:ln>
            </p:spPr>
            <p:txBody>
              <a:bodyPr rtlCol="0" anchor="ctr"/>
              <a:lstStyle/>
              <a:p>
                <a:endParaRPr lang="en-GB" dirty="0"/>
              </a:p>
            </p:txBody>
          </p:sp>
          <p:sp>
            <p:nvSpPr>
              <p:cNvPr id="668" name="Freihandform: Form 667">
                <a:extLst>
                  <a:ext uri="{FF2B5EF4-FFF2-40B4-BE49-F238E27FC236}">
                    <a16:creationId xmlns:a16="http://schemas.microsoft.com/office/drawing/2014/main" id="{4FDB24D5-E7D9-466D-8D58-2A6996B00BFE}"/>
                  </a:ext>
                </a:extLst>
              </p:cNvPr>
              <p:cNvSpPr/>
              <p:nvPr/>
            </p:nvSpPr>
            <p:spPr>
              <a:xfrm>
                <a:off x="2051333" y="3651996"/>
                <a:ext cx="107166" cy="107077"/>
              </a:xfrm>
              <a:custGeom>
                <a:avLst/>
                <a:gdLst>
                  <a:gd name="connsiteX0" fmla="*/ 75989 w 107166"/>
                  <a:gd name="connsiteY0" fmla="*/ 107077 h 107077"/>
                  <a:gd name="connsiteX1" fmla="*/ 53947 w 107166"/>
                  <a:gd name="connsiteY1" fmla="*/ 97968 h 107077"/>
                  <a:gd name="connsiteX2" fmla="*/ 1953 w 107166"/>
                  <a:gd name="connsiteY2" fmla="*/ 45963 h 107077"/>
                  <a:gd name="connsiteX3" fmla="*/ 1953 w 107166"/>
                  <a:gd name="connsiteY3" fmla="*/ 36545 h 107077"/>
                  <a:gd name="connsiteX4" fmla="*/ 36614 w 107166"/>
                  <a:gd name="connsiteY4" fmla="*/ 1875 h 107077"/>
                  <a:gd name="connsiteX5" fmla="*/ 46042 w 107166"/>
                  <a:gd name="connsiteY5" fmla="*/ 1875 h 107077"/>
                  <a:gd name="connsiteX6" fmla="*/ 98033 w 107166"/>
                  <a:gd name="connsiteY6" fmla="*/ 53880 h 107077"/>
                  <a:gd name="connsiteX7" fmla="*/ 107167 w 107166"/>
                  <a:gd name="connsiteY7" fmla="*/ 75924 h 107077"/>
                  <a:gd name="connsiteX8" fmla="*/ 98033 w 107166"/>
                  <a:gd name="connsiteY8" fmla="*/ 97968 h 107077"/>
                  <a:gd name="connsiteX9" fmla="*/ 98033 w 107166"/>
                  <a:gd name="connsiteY9" fmla="*/ 97968 h 107077"/>
                  <a:gd name="connsiteX10" fmla="*/ 98033 w 107166"/>
                  <a:gd name="connsiteY10" fmla="*/ 97968 h 107077"/>
                  <a:gd name="connsiteX11" fmla="*/ 75989 w 107166"/>
                  <a:gd name="connsiteY11" fmla="*/ 107077 h 107077"/>
                  <a:gd name="connsiteX12" fmla="*/ 16096 w 107166"/>
                  <a:gd name="connsiteY12" fmla="*/ 41254 h 107077"/>
                  <a:gd name="connsiteX13" fmla="*/ 63375 w 107166"/>
                  <a:gd name="connsiteY13" fmla="*/ 88529 h 107077"/>
                  <a:gd name="connsiteX14" fmla="*/ 88606 w 107166"/>
                  <a:gd name="connsiteY14" fmla="*/ 88529 h 107077"/>
                  <a:gd name="connsiteX15" fmla="*/ 88606 w 107166"/>
                  <a:gd name="connsiteY15" fmla="*/ 88529 h 107077"/>
                  <a:gd name="connsiteX16" fmla="*/ 93834 w 107166"/>
                  <a:gd name="connsiteY16" fmla="*/ 75903 h 107077"/>
                  <a:gd name="connsiteX17" fmla="*/ 88606 w 107166"/>
                  <a:gd name="connsiteY17" fmla="*/ 63298 h 107077"/>
                  <a:gd name="connsiteX18" fmla="*/ 41329 w 107166"/>
                  <a:gd name="connsiteY18" fmla="*/ 16015 h 107077"/>
                  <a:gd name="connsiteX19" fmla="*/ 16096 w 107166"/>
                  <a:gd name="connsiteY19" fmla="*/ 41254 h 107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166" h="107077">
                    <a:moveTo>
                      <a:pt x="75989" y="107077"/>
                    </a:moveTo>
                    <a:cubicBezTo>
                      <a:pt x="68006" y="107077"/>
                      <a:pt x="60025" y="104034"/>
                      <a:pt x="53947" y="97968"/>
                    </a:cubicBezTo>
                    <a:lnTo>
                      <a:pt x="1953" y="45963"/>
                    </a:lnTo>
                    <a:cubicBezTo>
                      <a:pt x="-651" y="43352"/>
                      <a:pt x="-651" y="39136"/>
                      <a:pt x="1953" y="36545"/>
                    </a:cubicBezTo>
                    <a:lnTo>
                      <a:pt x="36614" y="1875"/>
                    </a:lnTo>
                    <a:cubicBezTo>
                      <a:pt x="39115" y="-625"/>
                      <a:pt x="43542" y="-625"/>
                      <a:pt x="46042" y="1875"/>
                    </a:cubicBezTo>
                    <a:lnTo>
                      <a:pt x="98033" y="53880"/>
                    </a:lnTo>
                    <a:cubicBezTo>
                      <a:pt x="103922" y="59761"/>
                      <a:pt x="107167" y="67596"/>
                      <a:pt x="107167" y="75924"/>
                    </a:cubicBezTo>
                    <a:cubicBezTo>
                      <a:pt x="107167" y="84252"/>
                      <a:pt x="103922" y="92066"/>
                      <a:pt x="98033" y="97968"/>
                    </a:cubicBezTo>
                    <a:lnTo>
                      <a:pt x="98033" y="97968"/>
                    </a:lnTo>
                    <a:lnTo>
                      <a:pt x="98033" y="97968"/>
                    </a:lnTo>
                    <a:cubicBezTo>
                      <a:pt x="91956" y="104034"/>
                      <a:pt x="83976" y="107077"/>
                      <a:pt x="75989" y="107077"/>
                    </a:cubicBezTo>
                    <a:close/>
                    <a:moveTo>
                      <a:pt x="16096" y="41254"/>
                    </a:moveTo>
                    <a:lnTo>
                      <a:pt x="63375" y="88529"/>
                    </a:lnTo>
                    <a:cubicBezTo>
                      <a:pt x="70332" y="95480"/>
                      <a:pt x="81644" y="95480"/>
                      <a:pt x="88606" y="88529"/>
                    </a:cubicBezTo>
                    <a:lnTo>
                      <a:pt x="88606" y="88529"/>
                    </a:lnTo>
                    <a:cubicBezTo>
                      <a:pt x="91979" y="85157"/>
                      <a:pt x="93834" y="80674"/>
                      <a:pt x="93834" y="75903"/>
                    </a:cubicBezTo>
                    <a:cubicBezTo>
                      <a:pt x="93834" y="71153"/>
                      <a:pt x="91979" y="66670"/>
                      <a:pt x="88606" y="63298"/>
                    </a:cubicBezTo>
                    <a:lnTo>
                      <a:pt x="41329" y="16015"/>
                    </a:lnTo>
                    <a:lnTo>
                      <a:pt x="16096" y="41254"/>
                    </a:lnTo>
                    <a:close/>
                  </a:path>
                </a:pathLst>
              </a:custGeom>
              <a:solidFill>
                <a:schemeClr val="tx2"/>
              </a:solidFill>
              <a:ln w="205" cap="flat">
                <a:noFill/>
                <a:prstDash val="solid"/>
                <a:miter/>
              </a:ln>
            </p:spPr>
            <p:txBody>
              <a:bodyPr rtlCol="0" anchor="ctr"/>
              <a:lstStyle/>
              <a:p>
                <a:endParaRPr lang="en-GB" dirty="0"/>
              </a:p>
            </p:txBody>
          </p:sp>
        </p:grpSp>
      </p:grpSp>
      <p:sp>
        <p:nvSpPr>
          <p:cNvPr id="693" name="TextBox 1412">
            <a:extLst>
              <a:ext uri="{FF2B5EF4-FFF2-40B4-BE49-F238E27FC236}">
                <a16:creationId xmlns:a16="http://schemas.microsoft.com/office/drawing/2014/main" id="{4EB0A592-81F7-4392-8E13-D3AC1141D5EE}"/>
              </a:ext>
            </a:extLst>
          </p:cNvPr>
          <p:cNvSpPr txBox="1"/>
          <p:nvPr/>
        </p:nvSpPr>
        <p:spPr>
          <a:xfrm>
            <a:off x="1583004" y="3723675"/>
            <a:ext cx="512961" cy="215444"/>
          </a:xfrm>
          <a:prstGeom prst="rect">
            <a:avLst/>
          </a:prstGeom>
          <a:noFill/>
          <a:effectLst/>
        </p:spPr>
        <p:txBody>
          <a:bodyPr wrap="none" lIns="0" tIns="0" rIns="0" bIns="0" rtlCol="0" anchor="t">
            <a:spAutoFit/>
          </a:bodyPr>
          <a:lstStyle/>
          <a:p>
            <a:pPr algn="ctr"/>
            <a:r>
              <a:rPr lang="en-GB" sz="700" dirty="0">
                <a:solidFill>
                  <a:schemeClr val="tx2"/>
                </a:solidFill>
              </a:rPr>
              <a:t>Marketing</a:t>
            </a:r>
            <a:br>
              <a:rPr lang="en-GB" sz="700" dirty="0">
                <a:solidFill>
                  <a:schemeClr val="tx2"/>
                </a:solidFill>
              </a:rPr>
            </a:br>
            <a:r>
              <a:rPr lang="en-GB" sz="700" dirty="0">
                <a:solidFill>
                  <a:schemeClr val="tx2"/>
                </a:solidFill>
              </a:rPr>
              <a:t>cost analysis</a:t>
            </a:r>
          </a:p>
        </p:txBody>
      </p:sp>
      <p:grpSp>
        <p:nvGrpSpPr>
          <p:cNvPr id="41" name="Group 40">
            <a:extLst>
              <a:ext uri="{FF2B5EF4-FFF2-40B4-BE49-F238E27FC236}">
                <a16:creationId xmlns:a16="http://schemas.microsoft.com/office/drawing/2014/main" id="{3D959CE8-EBAD-A7F4-7A75-33870E5ED6EF}"/>
              </a:ext>
            </a:extLst>
          </p:cNvPr>
          <p:cNvGrpSpPr/>
          <p:nvPr/>
        </p:nvGrpSpPr>
        <p:grpSpPr>
          <a:xfrm>
            <a:off x="3746532" y="2449341"/>
            <a:ext cx="367638" cy="432000"/>
            <a:chOff x="3746532" y="2449341"/>
            <a:chExt cx="367638" cy="432000"/>
          </a:xfrm>
        </p:grpSpPr>
        <p:grpSp>
          <p:nvGrpSpPr>
            <p:cNvPr id="8" name="Group 7">
              <a:extLst>
                <a:ext uri="{FF2B5EF4-FFF2-40B4-BE49-F238E27FC236}">
                  <a16:creationId xmlns:a16="http://schemas.microsoft.com/office/drawing/2014/main" id="{C685DE33-BE1D-46FF-B3D3-E0E221F14DC7}"/>
                </a:ext>
              </a:extLst>
            </p:cNvPr>
            <p:cNvGrpSpPr/>
            <p:nvPr/>
          </p:nvGrpSpPr>
          <p:grpSpPr>
            <a:xfrm>
              <a:off x="3746532" y="2455984"/>
              <a:ext cx="367638" cy="139571"/>
              <a:chOff x="3746532" y="2455984"/>
              <a:chExt cx="367638" cy="139571"/>
            </a:xfrm>
          </p:grpSpPr>
          <p:grpSp>
            <p:nvGrpSpPr>
              <p:cNvPr id="495" name="Grafik 348">
                <a:extLst>
                  <a:ext uri="{FF2B5EF4-FFF2-40B4-BE49-F238E27FC236}">
                    <a16:creationId xmlns:a16="http://schemas.microsoft.com/office/drawing/2014/main" id="{A63E83E8-0DC2-44E6-881A-331282EAD864}"/>
                  </a:ext>
                </a:extLst>
              </p:cNvPr>
              <p:cNvGrpSpPr/>
              <p:nvPr/>
            </p:nvGrpSpPr>
            <p:grpSpPr>
              <a:xfrm>
                <a:off x="4016755" y="2455984"/>
                <a:ext cx="97415" cy="139571"/>
                <a:chOff x="3711606" y="2480117"/>
                <a:chExt cx="97718" cy="140006"/>
              </a:xfrm>
              <a:solidFill>
                <a:schemeClr val="accent1"/>
              </a:solidFill>
            </p:grpSpPr>
            <p:sp>
              <p:nvSpPr>
                <p:cNvPr id="500" name="Freihandform: Form 499">
                  <a:extLst>
                    <a:ext uri="{FF2B5EF4-FFF2-40B4-BE49-F238E27FC236}">
                      <a16:creationId xmlns:a16="http://schemas.microsoft.com/office/drawing/2014/main" id="{E98D2BF5-7283-4242-A08E-558E966F8367}"/>
                    </a:ext>
                  </a:extLst>
                </p:cNvPr>
                <p:cNvSpPr/>
                <p:nvPr/>
              </p:nvSpPr>
              <p:spPr>
                <a:xfrm>
                  <a:off x="3744935" y="2533454"/>
                  <a:ext cx="40006" cy="40000"/>
                </a:xfrm>
                <a:custGeom>
                  <a:avLst/>
                  <a:gdLst>
                    <a:gd name="connsiteX0" fmla="*/ 6668 w 40006"/>
                    <a:gd name="connsiteY0" fmla="*/ 40001 h 40000"/>
                    <a:gd name="connsiteX1" fmla="*/ 1959 w 40006"/>
                    <a:gd name="connsiteY1" fmla="*/ 38047 h 40000"/>
                    <a:gd name="connsiteX2" fmla="*/ 1959 w 40006"/>
                    <a:gd name="connsiteY2" fmla="*/ 28619 h 40000"/>
                    <a:gd name="connsiteX3" fmla="*/ 28629 w 40006"/>
                    <a:gd name="connsiteY3" fmla="*/ 1952 h 40000"/>
                    <a:gd name="connsiteX4" fmla="*/ 38047 w 40006"/>
                    <a:gd name="connsiteY4" fmla="*/ 1952 h 40000"/>
                    <a:gd name="connsiteX5" fmla="*/ 38047 w 40006"/>
                    <a:gd name="connsiteY5" fmla="*/ 11381 h 40000"/>
                    <a:gd name="connsiteX6" fmla="*/ 11377 w 40006"/>
                    <a:gd name="connsiteY6" fmla="*/ 38047 h 40000"/>
                    <a:gd name="connsiteX7" fmla="*/ 6668 w 40006"/>
                    <a:gd name="connsiteY7" fmla="*/ 40001 h 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06" h="40000">
                      <a:moveTo>
                        <a:pt x="6668" y="40001"/>
                      </a:moveTo>
                      <a:cubicBezTo>
                        <a:pt x="4961" y="40001"/>
                        <a:pt x="3254" y="39349"/>
                        <a:pt x="1959" y="38047"/>
                      </a:cubicBezTo>
                      <a:cubicBezTo>
                        <a:pt x="-653" y="35444"/>
                        <a:pt x="-653" y="31224"/>
                        <a:pt x="1959" y="28619"/>
                      </a:cubicBezTo>
                      <a:lnTo>
                        <a:pt x="28629" y="1952"/>
                      </a:lnTo>
                      <a:cubicBezTo>
                        <a:pt x="31220" y="-651"/>
                        <a:pt x="35456" y="-651"/>
                        <a:pt x="38047" y="1952"/>
                      </a:cubicBezTo>
                      <a:cubicBezTo>
                        <a:pt x="40659" y="4556"/>
                        <a:pt x="40659" y="8775"/>
                        <a:pt x="38047" y="11381"/>
                      </a:cubicBezTo>
                      <a:lnTo>
                        <a:pt x="11377" y="38047"/>
                      </a:lnTo>
                      <a:cubicBezTo>
                        <a:pt x="10081" y="39349"/>
                        <a:pt x="8374" y="40001"/>
                        <a:pt x="6668" y="40001"/>
                      </a:cubicBezTo>
                      <a:close/>
                    </a:path>
                  </a:pathLst>
                </a:custGeom>
                <a:solidFill>
                  <a:schemeClr val="accent1"/>
                </a:solidFill>
                <a:ln w="205" cap="flat">
                  <a:noFill/>
                  <a:prstDash val="solid"/>
                  <a:miter/>
                </a:ln>
              </p:spPr>
              <p:txBody>
                <a:bodyPr rtlCol="0" anchor="ctr"/>
                <a:lstStyle/>
                <a:p>
                  <a:endParaRPr lang="en-GB" dirty="0"/>
                </a:p>
              </p:txBody>
            </p:sp>
            <p:sp>
              <p:nvSpPr>
                <p:cNvPr id="501" name="Freihandform: Form 500">
                  <a:extLst>
                    <a:ext uri="{FF2B5EF4-FFF2-40B4-BE49-F238E27FC236}">
                      <a16:creationId xmlns:a16="http://schemas.microsoft.com/office/drawing/2014/main" id="{7320F4A1-1140-414F-A090-94CE637F1E6C}"/>
                    </a:ext>
                  </a:extLst>
                </p:cNvPr>
                <p:cNvSpPr/>
                <p:nvPr/>
              </p:nvSpPr>
              <p:spPr>
                <a:xfrm>
                  <a:off x="3758266" y="2606790"/>
                  <a:ext cx="51058" cy="13333"/>
                </a:xfrm>
                <a:custGeom>
                  <a:avLst/>
                  <a:gdLst>
                    <a:gd name="connsiteX0" fmla="*/ 44396 w 51058"/>
                    <a:gd name="connsiteY0" fmla="*/ 13333 h 13333"/>
                    <a:gd name="connsiteX1" fmla="*/ 6683 w 51058"/>
                    <a:gd name="connsiteY1" fmla="*/ 13333 h 13333"/>
                    <a:gd name="connsiteX2" fmla="*/ 0 w 51058"/>
                    <a:gd name="connsiteY2" fmla="*/ 6667 h 13333"/>
                    <a:gd name="connsiteX3" fmla="*/ 6683 w 51058"/>
                    <a:gd name="connsiteY3" fmla="*/ 0 h 13333"/>
                    <a:gd name="connsiteX4" fmla="*/ 44396 w 51058"/>
                    <a:gd name="connsiteY4" fmla="*/ 0 h 13333"/>
                    <a:gd name="connsiteX5" fmla="*/ 51059 w 51058"/>
                    <a:gd name="connsiteY5" fmla="*/ 6667 h 13333"/>
                    <a:gd name="connsiteX6" fmla="*/ 44396 w 51058"/>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58" h="13333">
                      <a:moveTo>
                        <a:pt x="44396" y="13333"/>
                      </a:moveTo>
                      <a:lnTo>
                        <a:pt x="6683" y="13333"/>
                      </a:lnTo>
                      <a:cubicBezTo>
                        <a:pt x="2982" y="13333"/>
                        <a:pt x="0" y="10348"/>
                        <a:pt x="0" y="6667"/>
                      </a:cubicBezTo>
                      <a:cubicBezTo>
                        <a:pt x="0" y="2986"/>
                        <a:pt x="2982" y="0"/>
                        <a:pt x="6683" y="0"/>
                      </a:cubicBezTo>
                      <a:lnTo>
                        <a:pt x="44396" y="0"/>
                      </a:lnTo>
                      <a:cubicBezTo>
                        <a:pt x="48077" y="0"/>
                        <a:pt x="51059" y="2986"/>
                        <a:pt x="51059" y="6667"/>
                      </a:cubicBezTo>
                      <a:cubicBezTo>
                        <a:pt x="51059" y="10348"/>
                        <a:pt x="48077" y="13333"/>
                        <a:pt x="44396" y="13333"/>
                      </a:cubicBezTo>
                      <a:close/>
                    </a:path>
                  </a:pathLst>
                </a:custGeom>
                <a:solidFill>
                  <a:schemeClr val="accent1"/>
                </a:solidFill>
                <a:ln w="205" cap="flat">
                  <a:noFill/>
                  <a:prstDash val="solid"/>
                  <a:miter/>
                </a:ln>
              </p:spPr>
              <p:txBody>
                <a:bodyPr rtlCol="0" anchor="ctr"/>
                <a:lstStyle/>
                <a:p>
                  <a:endParaRPr lang="en-GB" dirty="0"/>
                </a:p>
              </p:txBody>
            </p:sp>
            <p:sp>
              <p:nvSpPr>
                <p:cNvPr id="502" name="Freihandform: Form 501">
                  <a:extLst>
                    <a:ext uri="{FF2B5EF4-FFF2-40B4-BE49-F238E27FC236}">
                      <a16:creationId xmlns:a16="http://schemas.microsoft.com/office/drawing/2014/main" id="{CC9ABF31-9F40-42CD-8645-1808E9A275C1}"/>
                    </a:ext>
                  </a:extLst>
                </p:cNvPr>
                <p:cNvSpPr/>
                <p:nvPr/>
              </p:nvSpPr>
              <p:spPr>
                <a:xfrm>
                  <a:off x="3711606" y="2480117"/>
                  <a:ext cx="33721" cy="45057"/>
                </a:xfrm>
                <a:custGeom>
                  <a:avLst/>
                  <a:gdLst>
                    <a:gd name="connsiteX0" fmla="*/ 6664 w 33721"/>
                    <a:gd name="connsiteY0" fmla="*/ 45057 h 45057"/>
                    <a:gd name="connsiteX1" fmla="*/ 3066 w 33721"/>
                    <a:gd name="connsiteY1" fmla="*/ 44000 h 45057"/>
                    <a:gd name="connsiteX2" fmla="*/ 1050 w 33721"/>
                    <a:gd name="connsiteY2" fmla="*/ 34784 h 45057"/>
                    <a:gd name="connsiteX3" fmla="*/ 21449 w 33721"/>
                    <a:gd name="connsiteY3" fmla="*/ 3061 h 45057"/>
                    <a:gd name="connsiteX4" fmla="*/ 30662 w 33721"/>
                    <a:gd name="connsiteY4" fmla="*/ 1058 h 45057"/>
                    <a:gd name="connsiteX5" fmla="*/ 32656 w 33721"/>
                    <a:gd name="connsiteY5" fmla="*/ 10274 h 45057"/>
                    <a:gd name="connsiteX6" fmla="*/ 12257 w 33721"/>
                    <a:gd name="connsiteY6" fmla="*/ 41997 h 45057"/>
                    <a:gd name="connsiteX7" fmla="*/ 6664 w 33721"/>
                    <a:gd name="connsiteY7" fmla="*/ 45057 h 45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21" h="45057">
                      <a:moveTo>
                        <a:pt x="6664" y="45057"/>
                      </a:moveTo>
                      <a:cubicBezTo>
                        <a:pt x="5410" y="45057"/>
                        <a:pt x="4176" y="44716"/>
                        <a:pt x="3066" y="44000"/>
                      </a:cubicBezTo>
                      <a:cubicBezTo>
                        <a:pt x="-39" y="42008"/>
                        <a:pt x="-924" y="37883"/>
                        <a:pt x="1050" y="34784"/>
                      </a:cubicBezTo>
                      <a:lnTo>
                        <a:pt x="21449" y="3061"/>
                      </a:lnTo>
                      <a:cubicBezTo>
                        <a:pt x="23444" y="-34"/>
                        <a:pt x="27557" y="-931"/>
                        <a:pt x="30662" y="1058"/>
                      </a:cubicBezTo>
                      <a:cubicBezTo>
                        <a:pt x="33767" y="3051"/>
                        <a:pt x="34651" y="7175"/>
                        <a:pt x="32656" y="10274"/>
                      </a:cubicBezTo>
                      <a:lnTo>
                        <a:pt x="12257" y="41997"/>
                      </a:lnTo>
                      <a:cubicBezTo>
                        <a:pt x="11003" y="43978"/>
                        <a:pt x="8844" y="45057"/>
                        <a:pt x="6664" y="45057"/>
                      </a:cubicBezTo>
                      <a:close/>
                    </a:path>
                  </a:pathLst>
                </a:custGeom>
                <a:solidFill>
                  <a:schemeClr val="accent1"/>
                </a:solidFill>
                <a:ln w="205" cap="flat">
                  <a:noFill/>
                  <a:prstDash val="solid"/>
                  <a:miter/>
                </a:ln>
              </p:spPr>
              <p:txBody>
                <a:bodyPr rtlCol="0" anchor="ctr"/>
                <a:lstStyle/>
                <a:p>
                  <a:endParaRPr lang="en-GB" dirty="0"/>
                </a:p>
              </p:txBody>
            </p:sp>
          </p:grpSp>
          <p:grpSp>
            <p:nvGrpSpPr>
              <p:cNvPr id="496" name="Grafik 348">
                <a:extLst>
                  <a:ext uri="{FF2B5EF4-FFF2-40B4-BE49-F238E27FC236}">
                    <a16:creationId xmlns:a16="http://schemas.microsoft.com/office/drawing/2014/main" id="{A2B3F971-36F9-419C-9709-4B4B98AEDB0A}"/>
                  </a:ext>
                </a:extLst>
              </p:cNvPr>
              <p:cNvGrpSpPr/>
              <p:nvPr/>
            </p:nvGrpSpPr>
            <p:grpSpPr>
              <a:xfrm>
                <a:off x="3746532" y="2455986"/>
                <a:ext cx="97425" cy="139569"/>
                <a:chOff x="3440541" y="2480119"/>
                <a:chExt cx="97728" cy="140004"/>
              </a:xfrm>
              <a:solidFill>
                <a:schemeClr val="accent1"/>
              </a:solidFill>
            </p:grpSpPr>
            <p:sp>
              <p:nvSpPr>
                <p:cNvPr id="497" name="Freihandform: Form 496">
                  <a:extLst>
                    <a:ext uri="{FF2B5EF4-FFF2-40B4-BE49-F238E27FC236}">
                      <a16:creationId xmlns:a16="http://schemas.microsoft.com/office/drawing/2014/main" id="{46CC1091-6C19-4E26-A2D2-A9A1A410DEE5}"/>
                    </a:ext>
                  </a:extLst>
                </p:cNvPr>
                <p:cNvSpPr/>
                <p:nvPr/>
              </p:nvSpPr>
              <p:spPr>
                <a:xfrm>
                  <a:off x="3464940" y="2533454"/>
                  <a:ext cx="39990" cy="40000"/>
                </a:xfrm>
                <a:custGeom>
                  <a:avLst/>
                  <a:gdLst>
                    <a:gd name="connsiteX0" fmla="*/ 33323 w 39990"/>
                    <a:gd name="connsiteY0" fmla="*/ 40001 h 40000"/>
                    <a:gd name="connsiteX1" fmla="*/ 28614 w 39990"/>
                    <a:gd name="connsiteY1" fmla="*/ 38047 h 40000"/>
                    <a:gd name="connsiteX2" fmla="*/ 1943 w 39990"/>
                    <a:gd name="connsiteY2" fmla="*/ 11381 h 40000"/>
                    <a:gd name="connsiteX3" fmla="*/ 1943 w 39990"/>
                    <a:gd name="connsiteY3" fmla="*/ 1952 h 40000"/>
                    <a:gd name="connsiteX4" fmla="*/ 11382 w 39990"/>
                    <a:gd name="connsiteY4" fmla="*/ 1952 h 40000"/>
                    <a:gd name="connsiteX5" fmla="*/ 38032 w 39990"/>
                    <a:gd name="connsiteY5" fmla="*/ 28619 h 40000"/>
                    <a:gd name="connsiteX6" fmla="*/ 38032 w 39990"/>
                    <a:gd name="connsiteY6" fmla="*/ 38047 h 40000"/>
                    <a:gd name="connsiteX7" fmla="*/ 33323 w 39990"/>
                    <a:gd name="connsiteY7" fmla="*/ 40001 h 4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90" h="40000">
                      <a:moveTo>
                        <a:pt x="33323" y="40001"/>
                      </a:moveTo>
                      <a:cubicBezTo>
                        <a:pt x="31616" y="40001"/>
                        <a:pt x="29909" y="39349"/>
                        <a:pt x="28614" y="38047"/>
                      </a:cubicBezTo>
                      <a:lnTo>
                        <a:pt x="1943" y="11381"/>
                      </a:lnTo>
                      <a:cubicBezTo>
                        <a:pt x="-648" y="8777"/>
                        <a:pt x="-648" y="4558"/>
                        <a:pt x="1943" y="1952"/>
                      </a:cubicBezTo>
                      <a:cubicBezTo>
                        <a:pt x="4555" y="-651"/>
                        <a:pt x="8770" y="-651"/>
                        <a:pt x="11382" y="1952"/>
                      </a:cubicBezTo>
                      <a:lnTo>
                        <a:pt x="38032" y="28619"/>
                      </a:lnTo>
                      <a:cubicBezTo>
                        <a:pt x="40643" y="31222"/>
                        <a:pt x="40643" y="35442"/>
                        <a:pt x="38032" y="38047"/>
                      </a:cubicBezTo>
                      <a:cubicBezTo>
                        <a:pt x="36736" y="39349"/>
                        <a:pt x="35030" y="40001"/>
                        <a:pt x="33323" y="40001"/>
                      </a:cubicBezTo>
                      <a:close/>
                    </a:path>
                  </a:pathLst>
                </a:custGeom>
                <a:solidFill>
                  <a:schemeClr val="accent1"/>
                </a:solidFill>
                <a:ln w="205" cap="flat">
                  <a:noFill/>
                  <a:prstDash val="solid"/>
                  <a:miter/>
                </a:ln>
              </p:spPr>
              <p:txBody>
                <a:bodyPr rtlCol="0" anchor="ctr"/>
                <a:lstStyle/>
                <a:p>
                  <a:endParaRPr lang="en-GB" dirty="0"/>
                </a:p>
              </p:txBody>
            </p:sp>
            <p:sp>
              <p:nvSpPr>
                <p:cNvPr id="498" name="Freihandform: Form 497">
                  <a:extLst>
                    <a:ext uri="{FF2B5EF4-FFF2-40B4-BE49-F238E27FC236}">
                      <a16:creationId xmlns:a16="http://schemas.microsoft.com/office/drawing/2014/main" id="{5FEA73B2-86F2-4BEE-BD70-D2F913D6C5AE}"/>
                    </a:ext>
                  </a:extLst>
                </p:cNvPr>
                <p:cNvSpPr/>
                <p:nvPr/>
              </p:nvSpPr>
              <p:spPr>
                <a:xfrm>
                  <a:off x="3440541" y="2606790"/>
                  <a:ext cx="51058" cy="13333"/>
                </a:xfrm>
                <a:custGeom>
                  <a:avLst/>
                  <a:gdLst>
                    <a:gd name="connsiteX0" fmla="*/ 44396 w 51058"/>
                    <a:gd name="connsiteY0" fmla="*/ 13333 h 13333"/>
                    <a:gd name="connsiteX1" fmla="*/ 6683 w 51058"/>
                    <a:gd name="connsiteY1" fmla="*/ 13333 h 13333"/>
                    <a:gd name="connsiteX2" fmla="*/ 0 w 51058"/>
                    <a:gd name="connsiteY2" fmla="*/ 6667 h 13333"/>
                    <a:gd name="connsiteX3" fmla="*/ 6683 w 51058"/>
                    <a:gd name="connsiteY3" fmla="*/ 0 h 13333"/>
                    <a:gd name="connsiteX4" fmla="*/ 44396 w 51058"/>
                    <a:gd name="connsiteY4" fmla="*/ 0 h 13333"/>
                    <a:gd name="connsiteX5" fmla="*/ 51059 w 51058"/>
                    <a:gd name="connsiteY5" fmla="*/ 6667 h 13333"/>
                    <a:gd name="connsiteX6" fmla="*/ 44396 w 51058"/>
                    <a:gd name="connsiteY6" fmla="*/ 13333 h 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58" h="13333">
                      <a:moveTo>
                        <a:pt x="44396" y="13333"/>
                      </a:moveTo>
                      <a:lnTo>
                        <a:pt x="6683" y="13333"/>
                      </a:lnTo>
                      <a:cubicBezTo>
                        <a:pt x="2982" y="13333"/>
                        <a:pt x="0" y="10348"/>
                        <a:pt x="0" y="6667"/>
                      </a:cubicBezTo>
                      <a:cubicBezTo>
                        <a:pt x="0" y="2986"/>
                        <a:pt x="2982" y="0"/>
                        <a:pt x="6683" y="0"/>
                      </a:cubicBezTo>
                      <a:lnTo>
                        <a:pt x="44396" y="0"/>
                      </a:lnTo>
                      <a:cubicBezTo>
                        <a:pt x="48077" y="0"/>
                        <a:pt x="51059" y="2986"/>
                        <a:pt x="51059" y="6667"/>
                      </a:cubicBezTo>
                      <a:cubicBezTo>
                        <a:pt x="51059" y="10348"/>
                        <a:pt x="48077" y="13333"/>
                        <a:pt x="44396" y="13333"/>
                      </a:cubicBezTo>
                      <a:close/>
                    </a:path>
                  </a:pathLst>
                </a:custGeom>
                <a:solidFill>
                  <a:schemeClr val="accent1"/>
                </a:solidFill>
                <a:ln w="205" cap="flat">
                  <a:noFill/>
                  <a:prstDash val="solid"/>
                  <a:miter/>
                </a:ln>
              </p:spPr>
              <p:txBody>
                <a:bodyPr rtlCol="0" anchor="ctr"/>
                <a:lstStyle/>
                <a:p>
                  <a:endParaRPr lang="en-GB" dirty="0"/>
                </a:p>
              </p:txBody>
            </p:sp>
            <p:sp>
              <p:nvSpPr>
                <p:cNvPr id="499" name="Freihandform: Form 498">
                  <a:extLst>
                    <a:ext uri="{FF2B5EF4-FFF2-40B4-BE49-F238E27FC236}">
                      <a16:creationId xmlns:a16="http://schemas.microsoft.com/office/drawing/2014/main" id="{B34B3E44-67D4-43D6-8D19-E4AD17B8B4B5}"/>
                    </a:ext>
                  </a:extLst>
                </p:cNvPr>
                <p:cNvSpPr/>
                <p:nvPr/>
              </p:nvSpPr>
              <p:spPr>
                <a:xfrm>
                  <a:off x="3504538" y="2480119"/>
                  <a:ext cx="33731" cy="45055"/>
                </a:xfrm>
                <a:custGeom>
                  <a:avLst/>
                  <a:gdLst>
                    <a:gd name="connsiteX0" fmla="*/ 27058 w 33731"/>
                    <a:gd name="connsiteY0" fmla="*/ 45055 h 45055"/>
                    <a:gd name="connsiteX1" fmla="*/ 21464 w 33731"/>
                    <a:gd name="connsiteY1" fmla="*/ 41995 h 45055"/>
                    <a:gd name="connsiteX2" fmla="*/ 1066 w 33731"/>
                    <a:gd name="connsiteY2" fmla="*/ 10272 h 45055"/>
                    <a:gd name="connsiteX3" fmla="*/ 3060 w 33731"/>
                    <a:gd name="connsiteY3" fmla="*/ 1056 h 45055"/>
                    <a:gd name="connsiteX4" fmla="*/ 12273 w 33731"/>
                    <a:gd name="connsiteY4" fmla="*/ 3059 h 45055"/>
                    <a:gd name="connsiteX5" fmla="*/ 32671 w 33731"/>
                    <a:gd name="connsiteY5" fmla="*/ 34782 h 45055"/>
                    <a:gd name="connsiteX6" fmla="*/ 30677 w 33731"/>
                    <a:gd name="connsiteY6" fmla="*/ 43998 h 45055"/>
                    <a:gd name="connsiteX7" fmla="*/ 27058 w 33731"/>
                    <a:gd name="connsiteY7" fmla="*/ 45055 h 4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31" h="45055">
                      <a:moveTo>
                        <a:pt x="27058" y="45055"/>
                      </a:moveTo>
                      <a:cubicBezTo>
                        <a:pt x="24878" y="45055"/>
                        <a:pt x="22719" y="43973"/>
                        <a:pt x="21464" y="41995"/>
                      </a:cubicBezTo>
                      <a:lnTo>
                        <a:pt x="1066" y="10272"/>
                      </a:lnTo>
                      <a:cubicBezTo>
                        <a:pt x="-929" y="7173"/>
                        <a:pt x="-45" y="3048"/>
                        <a:pt x="3060" y="1056"/>
                      </a:cubicBezTo>
                      <a:cubicBezTo>
                        <a:pt x="6165" y="-927"/>
                        <a:pt x="10278" y="-38"/>
                        <a:pt x="12273" y="3059"/>
                      </a:cubicBezTo>
                      <a:lnTo>
                        <a:pt x="32671" y="34782"/>
                      </a:lnTo>
                      <a:cubicBezTo>
                        <a:pt x="34666" y="37880"/>
                        <a:pt x="33761" y="42006"/>
                        <a:pt x="30677" y="43998"/>
                      </a:cubicBezTo>
                      <a:cubicBezTo>
                        <a:pt x="29546" y="44714"/>
                        <a:pt x="28312" y="45055"/>
                        <a:pt x="27058" y="45055"/>
                      </a:cubicBezTo>
                      <a:close/>
                    </a:path>
                  </a:pathLst>
                </a:custGeom>
                <a:solidFill>
                  <a:schemeClr val="accent1"/>
                </a:solidFill>
                <a:ln w="205" cap="flat">
                  <a:noFill/>
                  <a:prstDash val="solid"/>
                  <a:miter/>
                </a:ln>
              </p:spPr>
              <p:txBody>
                <a:bodyPr rtlCol="0" anchor="ctr"/>
                <a:lstStyle/>
                <a:p>
                  <a:endParaRPr lang="en-GB" dirty="0"/>
                </a:p>
              </p:txBody>
            </p:sp>
          </p:grpSp>
        </p:grpSp>
        <p:grpSp>
          <p:nvGrpSpPr>
            <p:cNvPr id="494" name="Grafik 348">
              <a:extLst>
                <a:ext uri="{FF2B5EF4-FFF2-40B4-BE49-F238E27FC236}">
                  <a16:creationId xmlns:a16="http://schemas.microsoft.com/office/drawing/2014/main" id="{4A44C6BE-9371-41E7-ADAC-4F57AB77D6EC}"/>
                </a:ext>
              </a:extLst>
            </p:cNvPr>
            <p:cNvGrpSpPr/>
            <p:nvPr/>
          </p:nvGrpSpPr>
          <p:grpSpPr>
            <a:xfrm>
              <a:off x="3797432" y="2449341"/>
              <a:ext cx="265837" cy="432000"/>
              <a:chOff x="3491600" y="2473453"/>
              <a:chExt cx="266665" cy="433345"/>
            </a:xfrm>
            <a:solidFill>
              <a:schemeClr val="tx2"/>
            </a:solidFill>
          </p:grpSpPr>
          <p:sp>
            <p:nvSpPr>
              <p:cNvPr id="503" name="Freihandform: Form 502">
                <a:extLst>
                  <a:ext uri="{FF2B5EF4-FFF2-40B4-BE49-F238E27FC236}">
                    <a16:creationId xmlns:a16="http://schemas.microsoft.com/office/drawing/2014/main" id="{8E5F5594-D9D0-49C4-9011-B5D089EC5B52}"/>
                  </a:ext>
                </a:extLst>
              </p:cNvPr>
              <p:cNvSpPr/>
              <p:nvPr/>
            </p:nvSpPr>
            <p:spPr>
              <a:xfrm>
                <a:off x="3564931" y="2774470"/>
                <a:ext cx="116754" cy="112327"/>
              </a:xfrm>
              <a:custGeom>
                <a:avLst/>
                <a:gdLst>
                  <a:gd name="connsiteX0" fmla="*/ 86323 w 116754"/>
                  <a:gd name="connsiteY0" fmla="*/ 112327 h 112327"/>
                  <a:gd name="connsiteX1" fmla="*/ 80154 w 116754"/>
                  <a:gd name="connsiteY1" fmla="*/ 110797 h 112327"/>
                  <a:gd name="connsiteX2" fmla="*/ 58377 w 116754"/>
                  <a:gd name="connsiteY2" fmla="*/ 99346 h 112327"/>
                  <a:gd name="connsiteX3" fmla="*/ 36601 w 116754"/>
                  <a:gd name="connsiteY3" fmla="*/ 110797 h 112327"/>
                  <a:gd name="connsiteX4" fmla="*/ 22700 w 116754"/>
                  <a:gd name="connsiteY4" fmla="*/ 109794 h 112327"/>
                  <a:gd name="connsiteX5" fmla="*/ 17456 w 116754"/>
                  <a:gd name="connsiteY5" fmla="*/ 96897 h 112327"/>
                  <a:gd name="connsiteX6" fmla="*/ 21610 w 116754"/>
                  <a:gd name="connsiteY6" fmla="*/ 72638 h 112327"/>
                  <a:gd name="connsiteX7" fmla="*/ 3987 w 116754"/>
                  <a:gd name="connsiteY7" fmla="*/ 55457 h 112327"/>
                  <a:gd name="connsiteX8" fmla="*/ 656 w 116754"/>
                  <a:gd name="connsiteY8" fmla="*/ 41945 h 112327"/>
                  <a:gd name="connsiteX9" fmla="*/ 11308 w 116754"/>
                  <a:gd name="connsiteY9" fmla="*/ 32961 h 112327"/>
                  <a:gd name="connsiteX10" fmla="*/ 35655 w 116754"/>
                  <a:gd name="connsiteY10" fmla="*/ 29422 h 112327"/>
                  <a:gd name="connsiteX11" fmla="*/ 46554 w 116754"/>
                  <a:gd name="connsiteY11" fmla="*/ 7358 h 112327"/>
                  <a:gd name="connsiteX12" fmla="*/ 58377 w 116754"/>
                  <a:gd name="connsiteY12" fmla="*/ 0 h 112327"/>
                  <a:gd name="connsiteX13" fmla="*/ 58377 w 116754"/>
                  <a:gd name="connsiteY13" fmla="*/ 0 h 112327"/>
                  <a:gd name="connsiteX14" fmla="*/ 70201 w 116754"/>
                  <a:gd name="connsiteY14" fmla="*/ 7353 h 112327"/>
                  <a:gd name="connsiteX15" fmla="*/ 70201 w 116754"/>
                  <a:gd name="connsiteY15" fmla="*/ 7358 h 112327"/>
                  <a:gd name="connsiteX16" fmla="*/ 81100 w 116754"/>
                  <a:gd name="connsiteY16" fmla="*/ 29422 h 112327"/>
                  <a:gd name="connsiteX17" fmla="*/ 105447 w 116754"/>
                  <a:gd name="connsiteY17" fmla="*/ 32961 h 112327"/>
                  <a:gd name="connsiteX18" fmla="*/ 116099 w 116754"/>
                  <a:gd name="connsiteY18" fmla="*/ 41939 h 112327"/>
                  <a:gd name="connsiteX19" fmla="*/ 112768 w 116754"/>
                  <a:gd name="connsiteY19" fmla="*/ 55459 h 112327"/>
                  <a:gd name="connsiteX20" fmla="*/ 95124 w 116754"/>
                  <a:gd name="connsiteY20" fmla="*/ 72640 h 112327"/>
                  <a:gd name="connsiteX21" fmla="*/ 99299 w 116754"/>
                  <a:gd name="connsiteY21" fmla="*/ 96894 h 112327"/>
                  <a:gd name="connsiteX22" fmla="*/ 94055 w 116754"/>
                  <a:gd name="connsiteY22" fmla="*/ 109792 h 112327"/>
                  <a:gd name="connsiteX23" fmla="*/ 86323 w 116754"/>
                  <a:gd name="connsiteY23" fmla="*/ 112327 h 112327"/>
                  <a:gd name="connsiteX24" fmla="*/ 58233 w 116754"/>
                  <a:gd name="connsiteY24" fmla="*/ 13237 h 112327"/>
                  <a:gd name="connsiteX25" fmla="*/ 46060 w 116754"/>
                  <a:gd name="connsiteY25" fmla="*/ 38466 h 112327"/>
                  <a:gd name="connsiteX26" fmla="*/ 41043 w 116754"/>
                  <a:gd name="connsiteY26" fmla="*/ 42116 h 112327"/>
                  <a:gd name="connsiteX27" fmla="*/ 13220 w 116754"/>
                  <a:gd name="connsiteY27" fmla="*/ 46158 h 112327"/>
                  <a:gd name="connsiteX28" fmla="*/ 33434 w 116754"/>
                  <a:gd name="connsiteY28" fmla="*/ 65542 h 112327"/>
                  <a:gd name="connsiteX29" fmla="*/ 35347 w 116754"/>
                  <a:gd name="connsiteY29" fmla="*/ 71441 h 112327"/>
                  <a:gd name="connsiteX30" fmla="*/ 30596 w 116754"/>
                  <a:gd name="connsiteY30" fmla="*/ 99150 h 112327"/>
                  <a:gd name="connsiteX31" fmla="*/ 55272 w 116754"/>
                  <a:gd name="connsiteY31" fmla="*/ 85914 h 112327"/>
                  <a:gd name="connsiteX32" fmla="*/ 61483 w 116754"/>
                  <a:gd name="connsiteY32" fmla="*/ 85914 h 112327"/>
                  <a:gd name="connsiteX33" fmla="*/ 86364 w 116754"/>
                  <a:gd name="connsiteY33" fmla="*/ 98996 h 112327"/>
                  <a:gd name="connsiteX34" fmla="*/ 81408 w 116754"/>
                  <a:gd name="connsiteY34" fmla="*/ 71439 h 112327"/>
                  <a:gd name="connsiteX35" fmla="*/ 83321 w 116754"/>
                  <a:gd name="connsiteY35" fmla="*/ 65537 h 112327"/>
                  <a:gd name="connsiteX36" fmla="*/ 103452 w 116754"/>
                  <a:gd name="connsiteY36" fmla="*/ 45912 h 112327"/>
                  <a:gd name="connsiteX37" fmla="*/ 75712 w 116754"/>
                  <a:gd name="connsiteY37" fmla="*/ 42116 h 112327"/>
                  <a:gd name="connsiteX38" fmla="*/ 70695 w 116754"/>
                  <a:gd name="connsiteY38" fmla="*/ 38466 h 112327"/>
                  <a:gd name="connsiteX39" fmla="*/ 58233 w 116754"/>
                  <a:gd name="connsiteY39" fmla="*/ 13237 h 112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16754" h="112327">
                    <a:moveTo>
                      <a:pt x="86323" y="112327"/>
                    </a:moveTo>
                    <a:cubicBezTo>
                      <a:pt x="84226" y="112327"/>
                      <a:pt x="82108" y="111819"/>
                      <a:pt x="80154" y="110797"/>
                    </a:cubicBezTo>
                    <a:lnTo>
                      <a:pt x="58377" y="99346"/>
                    </a:lnTo>
                    <a:lnTo>
                      <a:pt x="36601" y="110797"/>
                    </a:lnTo>
                    <a:cubicBezTo>
                      <a:pt x="32118" y="113144"/>
                      <a:pt x="26792" y="112763"/>
                      <a:pt x="22700" y="109794"/>
                    </a:cubicBezTo>
                    <a:cubicBezTo>
                      <a:pt x="18608" y="106822"/>
                      <a:pt x="16593" y="101881"/>
                      <a:pt x="17456" y="96897"/>
                    </a:cubicBezTo>
                    <a:lnTo>
                      <a:pt x="21610" y="72638"/>
                    </a:lnTo>
                    <a:lnTo>
                      <a:pt x="3987" y="55457"/>
                    </a:lnTo>
                    <a:cubicBezTo>
                      <a:pt x="368" y="51933"/>
                      <a:pt x="-907" y="46753"/>
                      <a:pt x="656" y="41945"/>
                    </a:cubicBezTo>
                    <a:cubicBezTo>
                      <a:pt x="2219" y="37131"/>
                      <a:pt x="6291" y="33689"/>
                      <a:pt x="11308" y="32961"/>
                    </a:cubicBezTo>
                    <a:lnTo>
                      <a:pt x="35655" y="29422"/>
                    </a:lnTo>
                    <a:lnTo>
                      <a:pt x="46554" y="7358"/>
                    </a:lnTo>
                    <a:cubicBezTo>
                      <a:pt x="48795" y="2823"/>
                      <a:pt x="53319" y="4"/>
                      <a:pt x="58377" y="0"/>
                    </a:cubicBezTo>
                    <a:lnTo>
                      <a:pt x="58377" y="0"/>
                    </a:lnTo>
                    <a:cubicBezTo>
                      <a:pt x="63436" y="0"/>
                      <a:pt x="67960" y="2819"/>
                      <a:pt x="70201" y="7353"/>
                    </a:cubicBezTo>
                    <a:cubicBezTo>
                      <a:pt x="70201" y="7353"/>
                      <a:pt x="70201" y="7353"/>
                      <a:pt x="70201" y="7358"/>
                    </a:cubicBezTo>
                    <a:lnTo>
                      <a:pt x="81100" y="29422"/>
                    </a:lnTo>
                    <a:lnTo>
                      <a:pt x="105447" y="32961"/>
                    </a:lnTo>
                    <a:cubicBezTo>
                      <a:pt x="110444" y="33691"/>
                      <a:pt x="114536" y="37127"/>
                      <a:pt x="116099" y="41939"/>
                    </a:cubicBezTo>
                    <a:cubicBezTo>
                      <a:pt x="117662" y="46747"/>
                      <a:pt x="116387" y="51927"/>
                      <a:pt x="112768" y="55459"/>
                    </a:cubicBezTo>
                    <a:lnTo>
                      <a:pt x="95124" y="72640"/>
                    </a:lnTo>
                    <a:lnTo>
                      <a:pt x="99299" y="96894"/>
                    </a:lnTo>
                    <a:cubicBezTo>
                      <a:pt x="100162" y="101875"/>
                      <a:pt x="98147" y="106816"/>
                      <a:pt x="94055" y="109792"/>
                    </a:cubicBezTo>
                    <a:cubicBezTo>
                      <a:pt x="91752" y="111472"/>
                      <a:pt x="89038" y="112327"/>
                      <a:pt x="86323" y="112327"/>
                    </a:cubicBezTo>
                    <a:close/>
                    <a:moveTo>
                      <a:pt x="58233" y="13237"/>
                    </a:moveTo>
                    <a:lnTo>
                      <a:pt x="46060" y="38466"/>
                    </a:lnTo>
                    <a:cubicBezTo>
                      <a:pt x="45094" y="40436"/>
                      <a:pt x="43222" y="41799"/>
                      <a:pt x="41043" y="42116"/>
                    </a:cubicBezTo>
                    <a:lnTo>
                      <a:pt x="13220" y="46158"/>
                    </a:lnTo>
                    <a:lnTo>
                      <a:pt x="33434" y="65542"/>
                    </a:lnTo>
                    <a:cubicBezTo>
                      <a:pt x="34997" y="67071"/>
                      <a:pt x="35717" y="69278"/>
                      <a:pt x="35347" y="71441"/>
                    </a:cubicBezTo>
                    <a:lnTo>
                      <a:pt x="30596" y="99150"/>
                    </a:lnTo>
                    <a:lnTo>
                      <a:pt x="55272" y="85914"/>
                    </a:lnTo>
                    <a:cubicBezTo>
                      <a:pt x="57226" y="84892"/>
                      <a:pt x="59529" y="84892"/>
                      <a:pt x="61483" y="85914"/>
                    </a:cubicBezTo>
                    <a:lnTo>
                      <a:pt x="86364" y="98996"/>
                    </a:lnTo>
                    <a:lnTo>
                      <a:pt x="81408" y="71439"/>
                    </a:lnTo>
                    <a:cubicBezTo>
                      <a:pt x="81038" y="69278"/>
                      <a:pt x="81758" y="67071"/>
                      <a:pt x="83321" y="65537"/>
                    </a:cubicBezTo>
                    <a:lnTo>
                      <a:pt x="103452" y="45912"/>
                    </a:lnTo>
                    <a:lnTo>
                      <a:pt x="75712" y="42116"/>
                    </a:lnTo>
                    <a:cubicBezTo>
                      <a:pt x="73533" y="41799"/>
                      <a:pt x="71662" y="40436"/>
                      <a:pt x="70695" y="38466"/>
                    </a:cubicBezTo>
                    <a:lnTo>
                      <a:pt x="58233" y="13237"/>
                    </a:lnTo>
                    <a:close/>
                  </a:path>
                </a:pathLst>
              </a:custGeom>
              <a:grpFill/>
              <a:ln w="205" cap="flat">
                <a:noFill/>
                <a:prstDash val="solid"/>
                <a:miter/>
              </a:ln>
            </p:spPr>
            <p:txBody>
              <a:bodyPr rtlCol="0" anchor="ctr"/>
              <a:lstStyle/>
              <a:p>
                <a:endParaRPr lang="en-GB" dirty="0"/>
              </a:p>
            </p:txBody>
          </p:sp>
          <p:sp>
            <p:nvSpPr>
              <p:cNvPr id="504" name="Freihandform: Form 503">
                <a:extLst>
                  <a:ext uri="{FF2B5EF4-FFF2-40B4-BE49-F238E27FC236}">
                    <a16:creationId xmlns:a16="http://schemas.microsoft.com/office/drawing/2014/main" id="{FFCB201F-B2CA-4502-B5BB-99EB659E3917}"/>
                  </a:ext>
                </a:extLst>
              </p:cNvPr>
              <p:cNvSpPr/>
              <p:nvPr/>
            </p:nvSpPr>
            <p:spPr>
              <a:xfrm>
                <a:off x="3524933" y="2739658"/>
                <a:ext cx="199998" cy="167140"/>
              </a:xfrm>
              <a:custGeom>
                <a:avLst/>
                <a:gdLst>
                  <a:gd name="connsiteX0" fmla="*/ 199999 w 199998"/>
                  <a:gd name="connsiteY0" fmla="*/ 167139 h 167140"/>
                  <a:gd name="connsiteX1" fmla="*/ 186674 w 199998"/>
                  <a:gd name="connsiteY1" fmla="*/ 167139 h 167140"/>
                  <a:gd name="connsiteX2" fmla="*/ 186674 w 199998"/>
                  <a:gd name="connsiteY2" fmla="*/ 13333 h 167140"/>
                  <a:gd name="connsiteX3" fmla="*/ 13325 w 199998"/>
                  <a:gd name="connsiteY3" fmla="*/ 13333 h 167140"/>
                  <a:gd name="connsiteX4" fmla="*/ 13325 w 199998"/>
                  <a:gd name="connsiteY4" fmla="*/ 167141 h 167140"/>
                  <a:gd name="connsiteX5" fmla="*/ 0 w 199998"/>
                  <a:gd name="connsiteY5" fmla="*/ 167141 h 167140"/>
                  <a:gd name="connsiteX6" fmla="*/ 0 w 199998"/>
                  <a:gd name="connsiteY6" fmla="*/ 6667 h 167140"/>
                  <a:gd name="connsiteX7" fmla="*/ 6662 w 199998"/>
                  <a:gd name="connsiteY7" fmla="*/ 0 h 167140"/>
                  <a:gd name="connsiteX8" fmla="*/ 193336 w 199998"/>
                  <a:gd name="connsiteY8" fmla="*/ 0 h 167140"/>
                  <a:gd name="connsiteX9" fmla="*/ 199999 w 199998"/>
                  <a:gd name="connsiteY9" fmla="*/ 6667 h 167140"/>
                  <a:gd name="connsiteX10" fmla="*/ 199999 w 199998"/>
                  <a:gd name="connsiteY10" fmla="*/ 167139 h 16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9998" h="167140">
                    <a:moveTo>
                      <a:pt x="199999" y="167139"/>
                    </a:moveTo>
                    <a:lnTo>
                      <a:pt x="186674" y="167139"/>
                    </a:lnTo>
                    <a:lnTo>
                      <a:pt x="186674" y="13333"/>
                    </a:lnTo>
                    <a:lnTo>
                      <a:pt x="13325" y="13333"/>
                    </a:lnTo>
                    <a:lnTo>
                      <a:pt x="13325" y="167141"/>
                    </a:lnTo>
                    <a:lnTo>
                      <a:pt x="0" y="167141"/>
                    </a:lnTo>
                    <a:lnTo>
                      <a:pt x="0" y="6667"/>
                    </a:lnTo>
                    <a:cubicBezTo>
                      <a:pt x="0" y="2986"/>
                      <a:pt x="2982" y="0"/>
                      <a:pt x="6662" y="0"/>
                    </a:cubicBezTo>
                    <a:lnTo>
                      <a:pt x="193336" y="0"/>
                    </a:lnTo>
                    <a:cubicBezTo>
                      <a:pt x="197017" y="0"/>
                      <a:pt x="199999" y="2986"/>
                      <a:pt x="199999" y="6667"/>
                    </a:cubicBezTo>
                    <a:lnTo>
                      <a:pt x="199999" y="167139"/>
                    </a:lnTo>
                    <a:close/>
                  </a:path>
                </a:pathLst>
              </a:custGeom>
              <a:grpFill/>
              <a:ln w="205" cap="flat">
                <a:noFill/>
                <a:prstDash val="solid"/>
                <a:miter/>
              </a:ln>
            </p:spPr>
            <p:txBody>
              <a:bodyPr rtlCol="0" anchor="ctr"/>
              <a:lstStyle/>
              <a:p>
                <a:endParaRPr lang="en-GB" dirty="0"/>
              </a:p>
            </p:txBody>
          </p:sp>
          <p:sp>
            <p:nvSpPr>
              <p:cNvPr id="505" name="Freihandform: Form 504">
                <a:extLst>
                  <a:ext uri="{FF2B5EF4-FFF2-40B4-BE49-F238E27FC236}">
                    <a16:creationId xmlns:a16="http://schemas.microsoft.com/office/drawing/2014/main" id="{F7216FC6-0B31-4321-911F-2477811A1C5C}"/>
                  </a:ext>
                </a:extLst>
              </p:cNvPr>
              <p:cNvSpPr/>
              <p:nvPr/>
            </p:nvSpPr>
            <p:spPr>
              <a:xfrm>
                <a:off x="3491600" y="2713460"/>
                <a:ext cx="266665" cy="39999"/>
              </a:xfrm>
              <a:custGeom>
                <a:avLst/>
                <a:gdLst>
                  <a:gd name="connsiteX0" fmla="*/ 260003 w 266665"/>
                  <a:gd name="connsiteY0" fmla="*/ 40000 h 39999"/>
                  <a:gd name="connsiteX1" fmla="*/ 6663 w 266665"/>
                  <a:gd name="connsiteY1" fmla="*/ 40000 h 39999"/>
                  <a:gd name="connsiteX2" fmla="*/ 0 w 266665"/>
                  <a:gd name="connsiteY2" fmla="*/ 33333 h 39999"/>
                  <a:gd name="connsiteX3" fmla="*/ 0 w 266665"/>
                  <a:gd name="connsiteY3" fmla="*/ 6667 h 39999"/>
                  <a:gd name="connsiteX4" fmla="*/ 6663 w 266665"/>
                  <a:gd name="connsiteY4" fmla="*/ 0 h 39999"/>
                  <a:gd name="connsiteX5" fmla="*/ 260003 w 266665"/>
                  <a:gd name="connsiteY5" fmla="*/ 0 h 39999"/>
                  <a:gd name="connsiteX6" fmla="*/ 266665 w 266665"/>
                  <a:gd name="connsiteY6" fmla="*/ 6667 h 39999"/>
                  <a:gd name="connsiteX7" fmla="*/ 266665 w 266665"/>
                  <a:gd name="connsiteY7" fmla="*/ 33333 h 39999"/>
                  <a:gd name="connsiteX8" fmla="*/ 260003 w 266665"/>
                  <a:gd name="connsiteY8" fmla="*/ 40000 h 39999"/>
                  <a:gd name="connsiteX9" fmla="*/ 13325 w 266665"/>
                  <a:gd name="connsiteY9" fmla="*/ 26666 h 39999"/>
                  <a:gd name="connsiteX10" fmla="*/ 253340 w 266665"/>
                  <a:gd name="connsiteY10" fmla="*/ 26666 h 39999"/>
                  <a:gd name="connsiteX11" fmla="*/ 253340 w 266665"/>
                  <a:gd name="connsiteY11" fmla="*/ 13333 h 39999"/>
                  <a:gd name="connsiteX12" fmla="*/ 13325 w 266665"/>
                  <a:gd name="connsiteY12" fmla="*/ 13333 h 39999"/>
                  <a:gd name="connsiteX13" fmla="*/ 13325 w 266665"/>
                  <a:gd name="connsiteY13" fmla="*/ 26666 h 39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6665" h="39999">
                    <a:moveTo>
                      <a:pt x="260003" y="40000"/>
                    </a:moveTo>
                    <a:lnTo>
                      <a:pt x="6663" y="40000"/>
                    </a:lnTo>
                    <a:cubicBezTo>
                      <a:pt x="2982" y="40000"/>
                      <a:pt x="0" y="37014"/>
                      <a:pt x="0" y="33333"/>
                    </a:cubicBezTo>
                    <a:lnTo>
                      <a:pt x="0" y="6667"/>
                    </a:lnTo>
                    <a:cubicBezTo>
                      <a:pt x="0" y="2986"/>
                      <a:pt x="2982" y="0"/>
                      <a:pt x="6663" y="0"/>
                    </a:cubicBezTo>
                    <a:lnTo>
                      <a:pt x="260003" y="0"/>
                    </a:lnTo>
                    <a:cubicBezTo>
                      <a:pt x="263684" y="0"/>
                      <a:pt x="266665" y="2986"/>
                      <a:pt x="266665" y="6667"/>
                    </a:cubicBezTo>
                    <a:lnTo>
                      <a:pt x="266665" y="33333"/>
                    </a:lnTo>
                    <a:cubicBezTo>
                      <a:pt x="266665" y="37014"/>
                      <a:pt x="263684" y="40000"/>
                      <a:pt x="260003" y="40000"/>
                    </a:cubicBezTo>
                    <a:close/>
                    <a:moveTo>
                      <a:pt x="13325" y="26666"/>
                    </a:moveTo>
                    <a:lnTo>
                      <a:pt x="253340" y="26666"/>
                    </a:lnTo>
                    <a:lnTo>
                      <a:pt x="253340" y="13333"/>
                    </a:lnTo>
                    <a:lnTo>
                      <a:pt x="13325" y="13333"/>
                    </a:lnTo>
                    <a:lnTo>
                      <a:pt x="13325" y="26666"/>
                    </a:lnTo>
                    <a:close/>
                  </a:path>
                </a:pathLst>
              </a:custGeom>
              <a:grpFill/>
              <a:ln w="205" cap="flat">
                <a:noFill/>
                <a:prstDash val="solid"/>
                <a:miter/>
              </a:ln>
            </p:spPr>
            <p:txBody>
              <a:bodyPr rtlCol="0" anchor="ctr"/>
              <a:lstStyle/>
              <a:p>
                <a:endParaRPr lang="en-GB" dirty="0"/>
              </a:p>
            </p:txBody>
          </p:sp>
          <p:grpSp>
            <p:nvGrpSpPr>
              <p:cNvPr id="506" name="Grafik 348">
                <a:extLst>
                  <a:ext uri="{FF2B5EF4-FFF2-40B4-BE49-F238E27FC236}">
                    <a16:creationId xmlns:a16="http://schemas.microsoft.com/office/drawing/2014/main" id="{268434A8-EA4B-4637-8E21-337625B2BEDB}"/>
                  </a:ext>
                </a:extLst>
              </p:cNvPr>
              <p:cNvGrpSpPr/>
              <p:nvPr/>
            </p:nvGrpSpPr>
            <p:grpSpPr>
              <a:xfrm>
                <a:off x="3511984" y="2473453"/>
                <a:ext cx="225884" cy="253895"/>
                <a:chOff x="3511984" y="2473453"/>
                <a:chExt cx="225884" cy="253895"/>
              </a:xfrm>
              <a:grpFill/>
            </p:grpSpPr>
            <p:grpSp>
              <p:nvGrpSpPr>
                <p:cNvPr id="507" name="Grafik 348">
                  <a:extLst>
                    <a:ext uri="{FF2B5EF4-FFF2-40B4-BE49-F238E27FC236}">
                      <a16:creationId xmlns:a16="http://schemas.microsoft.com/office/drawing/2014/main" id="{40F3DF7A-4FDD-4D40-A95A-61E7BBFB8BB1}"/>
                    </a:ext>
                  </a:extLst>
                </p:cNvPr>
                <p:cNvGrpSpPr/>
                <p:nvPr/>
              </p:nvGrpSpPr>
              <p:grpSpPr>
                <a:xfrm>
                  <a:off x="3556581" y="2651501"/>
                  <a:ext cx="138238" cy="75759"/>
                  <a:chOff x="3556581" y="2651501"/>
                  <a:chExt cx="138238" cy="75759"/>
                </a:xfrm>
                <a:grpFill/>
              </p:grpSpPr>
              <p:sp>
                <p:nvSpPr>
                  <p:cNvPr id="510" name="Freihandform: Form 509">
                    <a:extLst>
                      <a:ext uri="{FF2B5EF4-FFF2-40B4-BE49-F238E27FC236}">
                        <a16:creationId xmlns:a16="http://schemas.microsoft.com/office/drawing/2014/main" id="{6EAA1C5A-24B2-44A5-8958-AF516E1DFC42}"/>
                      </a:ext>
                    </a:extLst>
                  </p:cNvPr>
                  <p:cNvSpPr/>
                  <p:nvPr/>
                </p:nvSpPr>
                <p:spPr>
                  <a:xfrm>
                    <a:off x="3618168" y="2651501"/>
                    <a:ext cx="76651" cy="75759"/>
                  </a:xfrm>
                  <a:custGeom>
                    <a:avLst/>
                    <a:gdLst>
                      <a:gd name="connsiteX0" fmla="*/ 6663 w 76651"/>
                      <a:gd name="connsiteY0" fmla="*/ 75760 h 75759"/>
                      <a:gd name="connsiteX1" fmla="*/ 0 w 76651"/>
                      <a:gd name="connsiteY1" fmla="*/ 69093 h 75759"/>
                      <a:gd name="connsiteX2" fmla="*/ 0 w 76651"/>
                      <a:gd name="connsiteY2" fmla="*/ 47345 h 75759"/>
                      <a:gd name="connsiteX3" fmla="*/ 17540 w 76651"/>
                      <a:gd name="connsiteY3" fmla="*/ 29805 h 75759"/>
                      <a:gd name="connsiteX4" fmla="*/ 60826 w 76651"/>
                      <a:gd name="connsiteY4" fmla="*/ 29805 h 75759"/>
                      <a:gd name="connsiteX5" fmla="*/ 53999 w 76651"/>
                      <a:gd name="connsiteY5" fmla="*/ 8717 h 75759"/>
                      <a:gd name="connsiteX6" fmla="*/ 58297 w 76651"/>
                      <a:gd name="connsiteY6" fmla="*/ 321 h 75759"/>
                      <a:gd name="connsiteX7" fmla="*/ 66687 w 76651"/>
                      <a:gd name="connsiteY7" fmla="*/ 4615 h 75759"/>
                      <a:gd name="connsiteX8" fmla="*/ 76331 w 76651"/>
                      <a:gd name="connsiteY8" fmla="*/ 34421 h 75759"/>
                      <a:gd name="connsiteX9" fmla="*/ 75365 w 76651"/>
                      <a:gd name="connsiteY9" fmla="*/ 40395 h 75759"/>
                      <a:gd name="connsiteX10" fmla="*/ 69977 w 76651"/>
                      <a:gd name="connsiteY10" fmla="*/ 43140 h 75759"/>
                      <a:gd name="connsiteX11" fmla="*/ 17540 w 76651"/>
                      <a:gd name="connsiteY11" fmla="*/ 43140 h 75759"/>
                      <a:gd name="connsiteX12" fmla="*/ 13346 w 76651"/>
                      <a:gd name="connsiteY12" fmla="*/ 47345 h 75759"/>
                      <a:gd name="connsiteX13" fmla="*/ 13346 w 76651"/>
                      <a:gd name="connsiteY13" fmla="*/ 69093 h 75759"/>
                      <a:gd name="connsiteX14" fmla="*/ 6663 w 76651"/>
                      <a:gd name="connsiteY14" fmla="*/ 75760 h 7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651" h="75759">
                        <a:moveTo>
                          <a:pt x="6663" y="75760"/>
                        </a:moveTo>
                        <a:cubicBezTo>
                          <a:pt x="2982" y="75760"/>
                          <a:pt x="0" y="72774"/>
                          <a:pt x="0" y="69093"/>
                        </a:cubicBezTo>
                        <a:lnTo>
                          <a:pt x="0" y="47345"/>
                        </a:lnTo>
                        <a:cubicBezTo>
                          <a:pt x="0" y="37674"/>
                          <a:pt x="7876" y="29805"/>
                          <a:pt x="17540" y="29805"/>
                        </a:cubicBezTo>
                        <a:lnTo>
                          <a:pt x="60826" y="29805"/>
                        </a:lnTo>
                        <a:lnTo>
                          <a:pt x="53999" y="8717"/>
                        </a:lnTo>
                        <a:cubicBezTo>
                          <a:pt x="52868" y="5211"/>
                          <a:pt x="54801" y="1454"/>
                          <a:pt x="58297" y="321"/>
                        </a:cubicBezTo>
                        <a:cubicBezTo>
                          <a:pt x="61834" y="-802"/>
                          <a:pt x="65556" y="1115"/>
                          <a:pt x="66687" y="4615"/>
                        </a:cubicBezTo>
                        <a:lnTo>
                          <a:pt x="76331" y="34421"/>
                        </a:lnTo>
                        <a:cubicBezTo>
                          <a:pt x="76989" y="36453"/>
                          <a:pt x="76619" y="38672"/>
                          <a:pt x="75365" y="40395"/>
                        </a:cubicBezTo>
                        <a:cubicBezTo>
                          <a:pt x="74110" y="42120"/>
                          <a:pt x="72116" y="43140"/>
                          <a:pt x="69977" y="43140"/>
                        </a:cubicBezTo>
                        <a:lnTo>
                          <a:pt x="17540" y="43140"/>
                        </a:lnTo>
                        <a:cubicBezTo>
                          <a:pt x="15217" y="43140"/>
                          <a:pt x="13346" y="45028"/>
                          <a:pt x="13346" y="47345"/>
                        </a:cubicBezTo>
                        <a:lnTo>
                          <a:pt x="13346" y="69093"/>
                        </a:lnTo>
                        <a:cubicBezTo>
                          <a:pt x="13346" y="72776"/>
                          <a:pt x="10364" y="75760"/>
                          <a:pt x="6663" y="75760"/>
                        </a:cubicBezTo>
                        <a:close/>
                      </a:path>
                    </a:pathLst>
                  </a:custGeom>
                  <a:grpFill/>
                  <a:ln w="205" cap="flat">
                    <a:noFill/>
                    <a:prstDash val="solid"/>
                    <a:miter/>
                  </a:ln>
                </p:spPr>
                <p:txBody>
                  <a:bodyPr rtlCol="0" anchor="ctr"/>
                  <a:lstStyle/>
                  <a:p>
                    <a:endParaRPr lang="en-GB" dirty="0"/>
                  </a:p>
                </p:txBody>
              </p:sp>
              <p:sp>
                <p:nvSpPr>
                  <p:cNvPr id="511" name="Freihandform: Form 510">
                    <a:extLst>
                      <a:ext uri="{FF2B5EF4-FFF2-40B4-BE49-F238E27FC236}">
                        <a16:creationId xmlns:a16="http://schemas.microsoft.com/office/drawing/2014/main" id="{100B0E7D-17D7-4870-B18F-BA860C9E5A3B}"/>
                      </a:ext>
                    </a:extLst>
                  </p:cNvPr>
                  <p:cNvSpPr/>
                  <p:nvPr/>
                </p:nvSpPr>
                <p:spPr>
                  <a:xfrm>
                    <a:off x="3556581" y="2651766"/>
                    <a:ext cx="74932" cy="75494"/>
                  </a:xfrm>
                  <a:custGeom>
                    <a:avLst/>
                    <a:gdLst>
                      <a:gd name="connsiteX0" fmla="*/ 68249 w 74932"/>
                      <a:gd name="connsiteY0" fmla="*/ 75495 h 75494"/>
                      <a:gd name="connsiteX1" fmla="*/ 61586 w 74932"/>
                      <a:gd name="connsiteY1" fmla="*/ 68828 h 75494"/>
                      <a:gd name="connsiteX2" fmla="*/ 61586 w 74932"/>
                      <a:gd name="connsiteY2" fmla="*/ 47080 h 75494"/>
                      <a:gd name="connsiteX3" fmla="*/ 57392 w 74932"/>
                      <a:gd name="connsiteY3" fmla="*/ 42875 h 75494"/>
                      <a:gd name="connsiteX4" fmla="*/ 6662 w 74932"/>
                      <a:gd name="connsiteY4" fmla="*/ 42875 h 75494"/>
                      <a:gd name="connsiteX5" fmla="*/ 1357 w 74932"/>
                      <a:gd name="connsiteY5" fmla="*/ 40222 h 75494"/>
                      <a:gd name="connsiteX6" fmla="*/ 246 w 74932"/>
                      <a:gd name="connsiteY6" fmla="*/ 34378 h 75494"/>
                      <a:gd name="connsiteX7" fmla="*/ 8697 w 74932"/>
                      <a:gd name="connsiteY7" fmla="*/ 4837 h 75494"/>
                      <a:gd name="connsiteX8" fmla="*/ 16943 w 74932"/>
                      <a:gd name="connsiteY8" fmla="*/ 257 h 75494"/>
                      <a:gd name="connsiteX9" fmla="*/ 21509 w 74932"/>
                      <a:gd name="connsiteY9" fmla="*/ 8497 h 75494"/>
                      <a:gd name="connsiteX10" fmla="*/ 15504 w 74932"/>
                      <a:gd name="connsiteY10" fmla="*/ 29544 h 75494"/>
                      <a:gd name="connsiteX11" fmla="*/ 57392 w 74932"/>
                      <a:gd name="connsiteY11" fmla="*/ 29544 h 75494"/>
                      <a:gd name="connsiteX12" fmla="*/ 74932 w 74932"/>
                      <a:gd name="connsiteY12" fmla="*/ 47084 h 75494"/>
                      <a:gd name="connsiteX13" fmla="*/ 74932 w 74932"/>
                      <a:gd name="connsiteY13" fmla="*/ 68832 h 75494"/>
                      <a:gd name="connsiteX14" fmla="*/ 68249 w 74932"/>
                      <a:gd name="connsiteY14" fmla="*/ 75495 h 75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932" h="75494">
                        <a:moveTo>
                          <a:pt x="68249" y="75495"/>
                        </a:moveTo>
                        <a:cubicBezTo>
                          <a:pt x="64568" y="75495"/>
                          <a:pt x="61586" y="72509"/>
                          <a:pt x="61586" y="68828"/>
                        </a:cubicBezTo>
                        <a:lnTo>
                          <a:pt x="61586" y="47080"/>
                        </a:lnTo>
                        <a:cubicBezTo>
                          <a:pt x="61586" y="44763"/>
                          <a:pt x="59695" y="42875"/>
                          <a:pt x="57392" y="42875"/>
                        </a:cubicBezTo>
                        <a:lnTo>
                          <a:pt x="6662" y="42875"/>
                        </a:lnTo>
                        <a:cubicBezTo>
                          <a:pt x="4585" y="42875"/>
                          <a:pt x="2611" y="41892"/>
                          <a:pt x="1357" y="40222"/>
                        </a:cubicBezTo>
                        <a:cubicBezTo>
                          <a:pt x="82" y="38553"/>
                          <a:pt x="-309" y="36387"/>
                          <a:pt x="246" y="34378"/>
                        </a:cubicBezTo>
                        <a:lnTo>
                          <a:pt x="8697" y="4837"/>
                        </a:lnTo>
                        <a:cubicBezTo>
                          <a:pt x="9705" y="1288"/>
                          <a:pt x="13427" y="-750"/>
                          <a:pt x="16943" y="257"/>
                        </a:cubicBezTo>
                        <a:cubicBezTo>
                          <a:pt x="20480" y="1267"/>
                          <a:pt x="22516" y="4958"/>
                          <a:pt x="21509" y="8497"/>
                        </a:cubicBezTo>
                        <a:lnTo>
                          <a:pt x="15504" y="29544"/>
                        </a:lnTo>
                        <a:lnTo>
                          <a:pt x="57392" y="29544"/>
                        </a:lnTo>
                        <a:cubicBezTo>
                          <a:pt x="67056" y="29544"/>
                          <a:pt x="74932" y="37411"/>
                          <a:pt x="74932" y="47084"/>
                        </a:cubicBezTo>
                        <a:lnTo>
                          <a:pt x="74932" y="68832"/>
                        </a:lnTo>
                        <a:cubicBezTo>
                          <a:pt x="74932" y="72511"/>
                          <a:pt x="71950" y="75495"/>
                          <a:pt x="68249" y="75495"/>
                        </a:cubicBezTo>
                        <a:close/>
                      </a:path>
                    </a:pathLst>
                  </a:custGeom>
                  <a:grpFill/>
                  <a:ln w="205" cap="flat">
                    <a:noFill/>
                    <a:prstDash val="solid"/>
                    <a:miter/>
                  </a:ln>
                </p:spPr>
                <p:txBody>
                  <a:bodyPr rtlCol="0" anchor="ctr"/>
                  <a:lstStyle/>
                  <a:p>
                    <a:endParaRPr lang="en-GB" dirty="0"/>
                  </a:p>
                </p:txBody>
              </p:sp>
            </p:grpSp>
            <p:sp>
              <p:nvSpPr>
                <p:cNvPr id="508" name="Freihandform: Form 507">
                  <a:extLst>
                    <a:ext uri="{FF2B5EF4-FFF2-40B4-BE49-F238E27FC236}">
                      <a16:creationId xmlns:a16="http://schemas.microsoft.com/office/drawing/2014/main" id="{6594D325-DEE3-4D52-9853-C8787B17CEB4}"/>
                    </a:ext>
                  </a:extLst>
                </p:cNvPr>
                <p:cNvSpPr/>
                <p:nvPr/>
              </p:nvSpPr>
              <p:spPr>
                <a:xfrm>
                  <a:off x="3580290" y="2473453"/>
                  <a:ext cx="89286" cy="101961"/>
                </a:xfrm>
                <a:custGeom>
                  <a:avLst/>
                  <a:gdLst>
                    <a:gd name="connsiteX0" fmla="*/ 44643 w 89286"/>
                    <a:gd name="connsiteY0" fmla="*/ 101961 h 101961"/>
                    <a:gd name="connsiteX1" fmla="*/ 0 w 89286"/>
                    <a:gd name="connsiteY1" fmla="*/ 50981 h 101961"/>
                    <a:gd name="connsiteX2" fmla="*/ 44643 w 89286"/>
                    <a:gd name="connsiteY2" fmla="*/ 0 h 101961"/>
                    <a:gd name="connsiteX3" fmla="*/ 89286 w 89286"/>
                    <a:gd name="connsiteY3" fmla="*/ 50981 h 101961"/>
                    <a:gd name="connsiteX4" fmla="*/ 44643 w 89286"/>
                    <a:gd name="connsiteY4" fmla="*/ 101961 h 101961"/>
                    <a:gd name="connsiteX5" fmla="*/ 44643 w 89286"/>
                    <a:gd name="connsiteY5" fmla="*/ 13331 h 101961"/>
                    <a:gd name="connsiteX6" fmla="*/ 13325 w 89286"/>
                    <a:gd name="connsiteY6" fmla="*/ 50979 h 101961"/>
                    <a:gd name="connsiteX7" fmla="*/ 44643 w 89286"/>
                    <a:gd name="connsiteY7" fmla="*/ 88626 h 101961"/>
                    <a:gd name="connsiteX8" fmla="*/ 75961 w 89286"/>
                    <a:gd name="connsiteY8" fmla="*/ 50979 h 101961"/>
                    <a:gd name="connsiteX9" fmla="*/ 44643 w 89286"/>
                    <a:gd name="connsiteY9" fmla="*/ 13331 h 10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86" h="101961">
                      <a:moveTo>
                        <a:pt x="44643" y="101961"/>
                      </a:moveTo>
                      <a:cubicBezTo>
                        <a:pt x="18363" y="101961"/>
                        <a:pt x="0" y="80997"/>
                        <a:pt x="0" y="50981"/>
                      </a:cubicBezTo>
                      <a:cubicBezTo>
                        <a:pt x="0" y="20964"/>
                        <a:pt x="18363" y="0"/>
                        <a:pt x="44643" y="0"/>
                      </a:cubicBezTo>
                      <a:cubicBezTo>
                        <a:pt x="70944" y="0"/>
                        <a:pt x="89286" y="20964"/>
                        <a:pt x="89286" y="50981"/>
                      </a:cubicBezTo>
                      <a:cubicBezTo>
                        <a:pt x="89286" y="80997"/>
                        <a:pt x="70944" y="101961"/>
                        <a:pt x="44643" y="101961"/>
                      </a:cubicBezTo>
                      <a:close/>
                      <a:moveTo>
                        <a:pt x="44643" y="13331"/>
                      </a:moveTo>
                      <a:cubicBezTo>
                        <a:pt x="21530" y="13331"/>
                        <a:pt x="13325" y="33613"/>
                        <a:pt x="13325" y="50979"/>
                      </a:cubicBezTo>
                      <a:cubicBezTo>
                        <a:pt x="13325" y="68346"/>
                        <a:pt x="21530" y="88626"/>
                        <a:pt x="44643" y="88626"/>
                      </a:cubicBezTo>
                      <a:cubicBezTo>
                        <a:pt x="67756" y="88626"/>
                        <a:pt x="75961" y="68344"/>
                        <a:pt x="75961" y="50979"/>
                      </a:cubicBezTo>
                      <a:cubicBezTo>
                        <a:pt x="75961" y="33613"/>
                        <a:pt x="67756" y="13331"/>
                        <a:pt x="44643" y="13331"/>
                      </a:cubicBezTo>
                      <a:close/>
                    </a:path>
                  </a:pathLst>
                </a:custGeom>
                <a:grpFill/>
                <a:ln w="205" cap="flat">
                  <a:noFill/>
                  <a:prstDash val="solid"/>
                  <a:miter/>
                </a:ln>
              </p:spPr>
              <p:txBody>
                <a:bodyPr rtlCol="0" anchor="ctr"/>
                <a:lstStyle/>
                <a:p>
                  <a:endParaRPr lang="en-GB" dirty="0"/>
                </a:p>
              </p:txBody>
            </p:sp>
            <p:sp>
              <p:nvSpPr>
                <p:cNvPr id="509" name="Freihandform: Form 508">
                  <a:extLst>
                    <a:ext uri="{FF2B5EF4-FFF2-40B4-BE49-F238E27FC236}">
                      <a16:creationId xmlns:a16="http://schemas.microsoft.com/office/drawing/2014/main" id="{2EC7B423-3589-4E82-924A-A681905A56A1}"/>
                    </a:ext>
                  </a:extLst>
                </p:cNvPr>
                <p:cNvSpPr/>
                <p:nvPr/>
              </p:nvSpPr>
              <p:spPr>
                <a:xfrm>
                  <a:off x="3511984" y="2587403"/>
                  <a:ext cx="225884" cy="139945"/>
                </a:xfrm>
                <a:custGeom>
                  <a:avLst/>
                  <a:gdLst>
                    <a:gd name="connsiteX0" fmla="*/ 201577 w 225884"/>
                    <a:gd name="connsiteY0" fmla="*/ 139946 h 139945"/>
                    <a:gd name="connsiteX1" fmla="*/ 24321 w 225884"/>
                    <a:gd name="connsiteY1" fmla="*/ 139946 h 139945"/>
                    <a:gd name="connsiteX2" fmla="*/ 4848 w 225884"/>
                    <a:gd name="connsiteY2" fmla="*/ 130896 h 139945"/>
                    <a:gd name="connsiteX3" fmla="*/ 2133 w 225884"/>
                    <a:gd name="connsiteY3" fmla="*/ 101597 h 139945"/>
                    <a:gd name="connsiteX4" fmla="*/ 21730 w 225884"/>
                    <a:gd name="connsiteY4" fmla="*/ 40919 h 139945"/>
                    <a:gd name="connsiteX5" fmla="*/ 70445 w 225884"/>
                    <a:gd name="connsiteY5" fmla="*/ 0 h 139945"/>
                    <a:gd name="connsiteX6" fmla="*/ 155454 w 225884"/>
                    <a:gd name="connsiteY6" fmla="*/ 0 h 139945"/>
                    <a:gd name="connsiteX7" fmla="*/ 204106 w 225884"/>
                    <a:gd name="connsiteY7" fmla="*/ 40736 h 139945"/>
                    <a:gd name="connsiteX8" fmla="*/ 223744 w 225884"/>
                    <a:gd name="connsiteY8" fmla="*/ 101554 h 139945"/>
                    <a:gd name="connsiteX9" fmla="*/ 221051 w 225884"/>
                    <a:gd name="connsiteY9" fmla="*/ 130894 h 139945"/>
                    <a:gd name="connsiteX10" fmla="*/ 201577 w 225884"/>
                    <a:gd name="connsiteY10" fmla="*/ 139946 h 139945"/>
                    <a:gd name="connsiteX11" fmla="*/ 70445 w 225884"/>
                    <a:gd name="connsiteY11" fmla="*/ 13333 h 139945"/>
                    <a:gd name="connsiteX12" fmla="*/ 34356 w 225884"/>
                    <a:gd name="connsiteY12" fmla="*/ 45196 h 139945"/>
                    <a:gd name="connsiteX13" fmla="*/ 14841 w 225884"/>
                    <a:gd name="connsiteY13" fmla="*/ 105650 h 139945"/>
                    <a:gd name="connsiteX14" fmla="*/ 15602 w 225884"/>
                    <a:gd name="connsiteY14" fmla="*/ 123010 h 139945"/>
                    <a:gd name="connsiteX15" fmla="*/ 24321 w 225884"/>
                    <a:gd name="connsiteY15" fmla="*/ 126611 h 139945"/>
                    <a:gd name="connsiteX16" fmla="*/ 201577 w 225884"/>
                    <a:gd name="connsiteY16" fmla="*/ 126611 h 139945"/>
                    <a:gd name="connsiteX17" fmla="*/ 210296 w 225884"/>
                    <a:gd name="connsiteY17" fmla="*/ 123010 h 139945"/>
                    <a:gd name="connsiteX18" fmla="*/ 211057 w 225884"/>
                    <a:gd name="connsiteY18" fmla="*/ 105607 h 139945"/>
                    <a:gd name="connsiteX19" fmla="*/ 191480 w 225884"/>
                    <a:gd name="connsiteY19" fmla="*/ 45013 h 139945"/>
                    <a:gd name="connsiteX20" fmla="*/ 155454 w 225884"/>
                    <a:gd name="connsiteY20" fmla="*/ 13333 h 139945"/>
                    <a:gd name="connsiteX21" fmla="*/ 70445 w 225884"/>
                    <a:gd name="connsiteY21" fmla="*/ 13333 h 13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25884" h="139945">
                      <a:moveTo>
                        <a:pt x="201577" y="139946"/>
                      </a:moveTo>
                      <a:lnTo>
                        <a:pt x="24321" y="139946"/>
                      </a:lnTo>
                      <a:cubicBezTo>
                        <a:pt x="13710" y="139946"/>
                        <a:pt x="7870" y="135023"/>
                        <a:pt x="4848" y="130896"/>
                      </a:cubicBezTo>
                      <a:cubicBezTo>
                        <a:pt x="-478" y="123654"/>
                        <a:pt x="-1465" y="112973"/>
                        <a:pt x="2133" y="101597"/>
                      </a:cubicBezTo>
                      <a:lnTo>
                        <a:pt x="21730" y="40919"/>
                      </a:lnTo>
                      <a:cubicBezTo>
                        <a:pt x="31395" y="13705"/>
                        <a:pt x="47763" y="0"/>
                        <a:pt x="70445" y="0"/>
                      </a:cubicBezTo>
                      <a:lnTo>
                        <a:pt x="155454" y="0"/>
                      </a:lnTo>
                      <a:cubicBezTo>
                        <a:pt x="178135" y="0"/>
                        <a:pt x="194503" y="13705"/>
                        <a:pt x="204106" y="40736"/>
                      </a:cubicBezTo>
                      <a:lnTo>
                        <a:pt x="223744" y="101554"/>
                      </a:lnTo>
                      <a:cubicBezTo>
                        <a:pt x="227343" y="112971"/>
                        <a:pt x="226376" y="123651"/>
                        <a:pt x="221051" y="130894"/>
                      </a:cubicBezTo>
                      <a:cubicBezTo>
                        <a:pt x="218028" y="135025"/>
                        <a:pt x="212188" y="139946"/>
                        <a:pt x="201577" y="139946"/>
                      </a:cubicBezTo>
                      <a:close/>
                      <a:moveTo>
                        <a:pt x="70445" y="13333"/>
                      </a:moveTo>
                      <a:cubicBezTo>
                        <a:pt x="53542" y="13333"/>
                        <a:pt x="42067" y="23457"/>
                        <a:pt x="34356" y="45196"/>
                      </a:cubicBezTo>
                      <a:lnTo>
                        <a:pt x="14841" y="105650"/>
                      </a:lnTo>
                      <a:cubicBezTo>
                        <a:pt x="12620" y="112675"/>
                        <a:pt x="12908" y="119341"/>
                        <a:pt x="15602" y="123010"/>
                      </a:cubicBezTo>
                      <a:cubicBezTo>
                        <a:pt x="17371" y="125432"/>
                        <a:pt x="20229" y="126611"/>
                        <a:pt x="24321" y="126611"/>
                      </a:cubicBezTo>
                      <a:lnTo>
                        <a:pt x="201577" y="126611"/>
                      </a:lnTo>
                      <a:cubicBezTo>
                        <a:pt x="205669" y="126611"/>
                        <a:pt x="208527" y="125432"/>
                        <a:pt x="210296" y="123010"/>
                      </a:cubicBezTo>
                      <a:cubicBezTo>
                        <a:pt x="212990" y="119341"/>
                        <a:pt x="213277" y="112675"/>
                        <a:pt x="211057" y="105607"/>
                      </a:cubicBezTo>
                      <a:lnTo>
                        <a:pt x="191480" y="45013"/>
                      </a:lnTo>
                      <a:cubicBezTo>
                        <a:pt x="183831" y="23457"/>
                        <a:pt x="172356" y="13333"/>
                        <a:pt x="155454" y="13333"/>
                      </a:cubicBezTo>
                      <a:lnTo>
                        <a:pt x="70445" y="13333"/>
                      </a:lnTo>
                      <a:close/>
                    </a:path>
                  </a:pathLst>
                </a:custGeom>
                <a:grpFill/>
                <a:ln w="205" cap="flat">
                  <a:noFill/>
                  <a:prstDash val="solid"/>
                  <a:miter/>
                </a:ln>
              </p:spPr>
              <p:txBody>
                <a:bodyPr rtlCol="0" anchor="ctr"/>
                <a:lstStyle/>
                <a:p>
                  <a:endParaRPr lang="en-GB" dirty="0"/>
                </a:p>
              </p:txBody>
            </p:sp>
          </p:grpSp>
        </p:grpSp>
      </p:grpSp>
      <p:sp>
        <p:nvSpPr>
          <p:cNvPr id="694" name="TextBox 1413">
            <a:extLst>
              <a:ext uri="{FF2B5EF4-FFF2-40B4-BE49-F238E27FC236}">
                <a16:creationId xmlns:a16="http://schemas.microsoft.com/office/drawing/2014/main" id="{F1120250-3206-406F-A2EF-270ACDD9F002}"/>
              </a:ext>
            </a:extLst>
          </p:cNvPr>
          <p:cNvSpPr txBox="1"/>
          <p:nvPr/>
        </p:nvSpPr>
        <p:spPr>
          <a:xfrm>
            <a:off x="5068196" y="2077494"/>
            <a:ext cx="290144" cy="107722"/>
          </a:xfrm>
          <a:prstGeom prst="rect">
            <a:avLst/>
          </a:prstGeom>
          <a:noFill/>
          <a:effectLst/>
        </p:spPr>
        <p:txBody>
          <a:bodyPr wrap="none" lIns="0" tIns="0" rIns="0" bIns="0" rtlCol="0" anchor="t">
            <a:spAutoFit/>
          </a:bodyPr>
          <a:lstStyle/>
          <a:p>
            <a:pPr algn="ctr"/>
            <a:r>
              <a:rPr lang="en-GB" sz="700" dirty="0">
                <a:solidFill>
                  <a:schemeClr val="tx2"/>
                </a:solidFill>
              </a:rPr>
              <a:t>Growth</a:t>
            </a:r>
          </a:p>
        </p:txBody>
      </p:sp>
      <p:grpSp>
        <p:nvGrpSpPr>
          <p:cNvPr id="22" name="Group 21">
            <a:extLst>
              <a:ext uri="{FF2B5EF4-FFF2-40B4-BE49-F238E27FC236}">
                <a16:creationId xmlns:a16="http://schemas.microsoft.com/office/drawing/2014/main" id="{7FA23272-AB35-4E13-B206-D75461FB28D3}"/>
              </a:ext>
            </a:extLst>
          </p:cNvPr>
          <p:cNvGrpSpPr/>
          <p:nvPr/>
        </p:nvGrpSpPr>
        <p:grpSpPr>
          <a:xfrm>
            <a:off x="4975608" y="1626716"/>
            <a:ext cx="475320" cy="432000"/>
            <a:chOff x="4975196" y="1626716"/>
            <a:chExt cx="475320" cy="432000"/>
          </a:xfrm>
        </p:grpSpPr>
        <p:grpSp>
          <p:nvGrpSpPr>
            <p:cNvPr id="696" name="Grafik 349">
              <a:extLst>
                <a:ext uri="{FF2B5EF4-FFF2-40B4-BE49-F238E27FC236}">
                  <a16:creationId xmlns:a16="http://schemas.microsoft.com/office/drawing/2014/main" id="{5CA5C0C8-1803-4408-A7EA-0AD88D8BA579}"/>
                </a:ext>
              </a:extLst>
            </p:cNvPr>
            <p:cNvGrpSpPr/>
            <p:nvPr/>
          </p:nvGrpSpPr>
          <p:grpSpPr>
            <a:xfrm>
              <a:off x="5032814" y="1626716"/>
              <a:ext cx="360086" cy="244751"/>
              <a:chOff x="5332296" y="1670430"/>
              <a:chExt cx="328497" cy="223280"/>
            </a:xfrm>
            <a:solidFill>
              <a:schemeClr val="accent1"/>
            </a:solidFill>
          </p:grpSpPr>
          <p:sp>
            <p:nvSpPr>
              <p:cNvPr id="702" name="Freihandform: Form 701">
                <a:extLst>
                  <a:ext uri="{FF2B5EF4-FFF2-40B4-BE49-F238E27FC236}">
                    <a16:creationId xmlns:a16="http://schemas.microsoft.com/office/drawing/2014/main" id="{CD0FCED4-0F72-48F0-BCED-AB363A61001C}"/>
                  </a:ext>
                </a:extLst>
              </p:cNvPr>
              <p:cNvSpPr/>
              <p:nvPr/>
            </p:nvSpPr>
            <p:spPr>
              <a:xfrm>
                <a:off x="5509686" y="1722889"/>
                <a:ext cx="13137" cy="117925"/>
              </a:xfrm>
              <a:custGeom>
                <a:avLst/>
                <a:gdLst>
                  <a:gd name="connsiteX0" fmla="*/ 6569 w 13137"/>
                  <a:gd name="connsiteY0" fmla="*/ 117925 h 117925"/>
                  <a:gd name="connsiteX1" fmla="*/ 0 w 13137"/>
                  <a:gd name="connsiteY1" fmla="*/ 111357 h 117925"/>
                  <a:gd name="connsiteX2" fmla="*/ 0 w 13137"/>
                  <a:gd name="connsiteY2" fmla="*/ 6569 h 117925"/>
                  <a:gd name="connsiteX3" fmla="*/ 6569 w 13137"/>
                  <a:gd name="connsiteY3" fmla="*/ 0 h 117925"/>
                  <a:gd name="connsiteX4" fmla="*/ 13137 w 13137"/>
                  <a:gd name="connsiteY4" fmla="*/ 6569 h 117925"/>
                  <a:gd name="connsiteX5" fmla="*/ 13137 w 13137"/>
                  <a:gd name="connsiteY5" fmla="*/ 111357 h 117925"/>
                  <a:gd name="connsiteX6" fmla="*/ 6569 w 13137"/>
                  <a:gd name="connsiteY6" fmla="*/ 117925 h 117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117925">
                    <a:moveTo>
                      <a:pt x="6569" y="117925"/>
                    </a:moveTo>
                    <a:cubicBezTo>
                      <a:pt x="2939" y="117925"/>
                      <a:pt x="0" y="114983"/>
                      <a:pt x="0" y="111357"/>
                    </a:cubicBezTo>
                    <a:lnTo>
                      <a:pt x="0" y="6569"/>
                    </a:lnTo>
                    <a:cubicBezTo>
                      <a:pt x="0" y="2939"/>
                      <a:pt x="2942" y="0"/>
                      <a:pt x="6569" y="0"/>
                    </a:cubicBezTo>
                    <a:cubicBezTo>
                      <a:pt x="10196" y="0"/>
                      <a:pt x="13137" y="2942"/>
                      <a:pt x="13137" y="6569"/>
                    </a:cubicBezTo>
                    <a:lnTo>
                      <a:pt x="13137" y="111357"/>
                    </a:lnTo>
                    <a:cubicBezTo>
                      <a:pt x="13140" y="114983"/>
                      <a:pt x="10198" y="117925"/>
                      <a:pt x="6569" y="117925"/>
                    </a:cubicBezTo>
                    <a:close/>
                  </a:path>
                </a:pathLst>
              </a:custGeom>
              <a:solidFill>
                <a:schemeClr val="accent1"/>
              </a:solidFill>
              <a:ln w="274" cap="flat">
                <a:noFill/>
                <a:prstDash val="solid"/>
                <a:miter/>
              </a:ln>
            </p:spPr>
            <p:txBody>
              <a:bodyPr rtlCol="0" anchor="ctr"/>
              <a:lstStyle/>
              <a:p>
                <a:endParaRPr lang="en-GB" dirty="0"/>
              </a:p>
            </p:txBody>
          </p:sp>
          <p:grpSp>
            <p:nvGrpSpPr>
              <p:cNvPr id="703" name="Grafik 349">
                <a:extLst>
                  <a:ext uri="{FF2B5EF4-FFF2-40B4-BE49-F238E27FC236}">
                    <a16:creationId xmlns:a16="http://schemas.microsoft.com/office/drawing/2014/main" id="{CFC3D83F-3A25-467A-9F1B-1B6144CEF169}"/>
                  </a:ext>
                </a:extLst>
              </p:cNvPr>
              <p:cNvGrpSpPr/>
              <p:nvPr/>
            </p:nvGrpSpPr>
            <p:grpSpPr>
              <a:xfrm>
                <a:off x="5332296" y="1756777"/>
                <a:ext cx="105115" cy="124726"/>
                <a:chOff x="5332296" y="1756777"/>
                <a:chExt cx="105115" cy="124726"/>
              </a:xfrm>
              <a:solidFill>
                <a:schemeClr val="accent1"/>
              </a:solidFill>
            </p:grpSpPr>
            <p:sp>
              <p:nvSpPr>
                <p:cNvPr id="709" name="Freihandform: Form 708">
                  <a:extLst>
                    <a:ext uri="{FF2B5EF4-FFF2-40B4-BE49-F238E27FC236}">
                      <a16:creationId xmlns:a16="http://schemas.microsoft.com/office/drawing/2014/main" id="{74422849-5F0B-4020-A396-F47C733E07AC}"/>
                    </a:ext>
                  </a:extLst>
                </p:cNvPr>
                <p:cNvSpPr/>
                <p:nvPr/>
              </p:nvSpPr>
              <p:spPr>
                <a:xfrm>
                  <a:off x="5397995" y="1809234"/>
                  <a:ext cx="13137" cy="72269"/>
                </a:xfrm>
                <a:custGeom>
                  <a:avLst/>
                  <a:gdLst>
                    <a:gd name="connsiteX0" fmla="*/ 6569 w 13137"/>
                    <a:gd name="connsiteY0" fmla="*/ 72270 h 72269"/>
                    <a:gd name="connsiteX1" fmla="*/ 0 w 13137"/>
                    <a:gd name="connsiteY1" fmla="*/ 65701 h 72269"/>
                    <a:gd name="connsiteX2" fmla="*/ 0 w 13137"/>
                    <a:gd name="connsiteY2" fmla="*/ 6569 h 72269"/>
                    <a:gd name="connsiteX3" fmla="*/ 6569 w 13137"/>
                    <a:gd name="connsiteY3" fmla="*/ 0 h 72269"/>
                    <a:gd name="connsiteX4" fmla="*/ 13138 w 13137"/>
                    <a:gd name="connsiteY4" fmla="*/ 6569 h 72269"/>
                    <a:gd name="connsiteX5" fmla="*/ 13138 w 13137"/>
                    <a:gd name="connsiteY5" fmla="*/ 65698 h 72269"/>
                    <a:gd name="connsiteX6" fmla="*/ 6569 w 13137"/>
                    <a:gd name="connsiteY6" fmla="*/ 72270 h 72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72269">
                      <a:moveTo>
                        <a:pt x="6569" y="72270"/>
                      </a:moveTo>
                      <a:cubicBezTo>
                        <a:pt x="2939" y="72270"/>
                        <a:pt x="0" y="69328"/>
                        <a:pt x="0" y="65701"/>
                      </a:cubicBezTo>
                      <a:lnTo>
                        <a:pt x="0" y="6569"/>
                      </a:lnTo>
                      <a:cubicBezTo>
                        <a:pt x="0" y="2939"/>
                        <a:pt x="2942" y="0"/>
                        <a:pt x="6569" y="0"/>
                      </a:cubicBezTo>
                      <a:cubicBezTo>
                        <a:pt x="10198" y="0"/>
                        <a:pt x="13138" y="2942"/>
                        <a:pt x="13138" y="6569"/>
                      </a:cubicBezTo>
                      <a:lnTo>
                        <a:pt x="13138" y="65698"/>
                      </a:lnTo>
                      <a:cubicBezTo>
                        <a:pt x="13138" y="69328"/>
                        <a:pt x="10196" y="72270"/>
                        <a:pt x="6569" y="72270"/>
                      </a:cubicBezTo>
                      <a:close/>
                    </a:path>
                  </a:pathLst>
                </a:custGeom>
                <a:solidFill>
                  <a:schemeClr val="accent1"/>
                </a:solidFill>
                <a:ln w="274" cap="flat">
                  <a:noFill/>
                  <a:prstDash val="solid"/>
                  <a:miter/>
                </a:ln>
              </p:spPr>
              <p:txBody>
                <a:bodyPr rtlCol="0" anchor="ctr"/>
                <a:lstStyle/>
                <a:p>
                  <a:endParaRPr lang="en-GB" dirty="0"/>
                </a:p>
              </p:txBody>
            </p:sp>
            <p:sp>
              <p:nvSpPr>
                <p:cNvPr id="710" name="Freihandform: Form 709">
                  <a:extLst>
                    <a:ext uri="{FF2B5EF4-FFF2-40B4-BE49-F238E27FC236}">
                      <a16:creationId xmlns:a16="http://schemas.microsoft.com/office/drawing/2014/main" id="{7DECA160-CD40-4F5D-BF0E-FDEE2ED5D7FC}"/>
                    </a:ext>
                  </a:extLst>
                </p:cNvPr>
                <p:cNvSpPr/>
                <p:nvPr/>
              </p:nvSpPr>
              <p:spPr>
                <a:xfrm>
                  <a:off x="5332296" y="1756777"/>
                  <a:ext cx="105115" cy="77803"/>
                </a:xfrm>
                <a:custGeom>
                  <a:avLst/>
                  <a:gdLst>
                    <a:gd name="connsiteX0" fmla="*/ 32847 w 105115"/>
                    <a:gd name="connsiteY0" fmla="*/ 77803 h 77803"/>
                    <a:gd name="connsiteX1" fmla="*/ 26279 w 105115"/>
                    <a:gd name="connsiteY1" fmla="*/ 71235 h 77803"/>
                    <a:gd name="connsiteX2" fmla="*/ 26279 w 105115"/>
                    <a:gd name="connsiteY2" fmla="*/ 65597 h 77803"/>
                    <a:gd name="connsiteX3" fmla="*/ 6570 w 105115"/>
                    <a:gd name="connsiteY3" fmla="*/ 65597 h 77803"/>
                    <a:gd name="connsiteX4" fmla="*/ 587 w 105115"/>
                    <a:gd name="connsiteY4" fmla="*/ 61740 h 77803"/>
                    <a:gd name="connsiteX5" fmla="*/ 1625 w 105115"/>
                    <a:gd name="connsiteY5" fmla="*/ 54698 h 77803"/>
                    <a:gd name="connsiteX6" fmla="*/ 47615 w 105115"/>
                    <a:gd name="connsiteY6" fmla="*/ 2137 h 77803"/>
                    <a:gd name="connsiteX7" fmla="*/ 57501 w 105115"/>
                    <a:gd name="connsiteY7" fmla="*/ 2137 h 77803"/>
                    <a:gd name="connsiteX8" fmla="*/ 103490 w 105115"/>
                    <a:gd name="connsiteY8" fmla="*/ 54698 h 77803"/>
                    <a:gd name="connsiteX9" fmla="*/ 104528 w 105115"/>
                    <a:gd name="connsiteY9" fmla="*/ 61740 h 77803"/>
                    <a:gd name="connsiteX10" fmla="*/ 98546 w 105115"/>
                    <a:gd name="connsiteY10" fmla="*/ 65597 h 77803"/>
                    <a:gd name="connsiteX11" fmla="*/ 65697 w 105115"/>
                    <a:gd name="connsiteY11" fmla="*/ 65597 h 77803"/>
                    <a:gd name="connsiteX12" fmla="*/ 59128 w 105115"/>
                    <a:gd name="connsiteY12" fmla="*/ 59028 h 77803"/>
                    <a:gd name="connsiteX13" fmla="*/ 65697 w 105115"/>
                    <a:gd name="connsiteY13" fmla="*/ 52460 h 77803"/>
                    <a:gd name="connsiteX14" fmla="*/ 84069 w 105115"/>
                    <a:gd name="connsiteY14" fmla="*/ 52460 h 77803"/>
                    <a:gd name="connsiteX15" fmla="*/ 52556 w 105115"/>
                    <a:gd name="connsiteY15" fmla="*/ 16441 h 77803"/>
                    <a:gd name="connsiteX16" fmla="*/ 21044 w 105115"/>
                    <a:gd name="connsiteY16" fmla="*/ 52454 h 77803"/>
                    <a:gd name="connsiteX17" fmla="*/ 32847 w 105115"/>
                    <a:gd name="connsiteY17" fmla="*/ 52454 h 77803"/>
                    <a:gd name="connsiteX18" fmla="*/ 39416 w 105115"/>
                    <a:gd name="connsiteY18" fmla="*/ 59023 h 77803"/>
                    <a:gd name="connsiteX19" fmla="*/ 39416 w 105115"/>
                    <a:gd name="connsiteY19" fmla="*/ 71229 h 77803"/>
                    <a:gd name="connsiteX20" fmla="*/ 32847 w 105115"/>
                    <a:gd name="connsiteY20" fmla="*/ 77803 h 7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115" h="77803">
                      <a:moveTo>
                        <a:pt x="32847" y="77803"/>
                      </a:moveTo>
                      <a:cubicBezTo>
                        <a:pt x="29218" y="77803"/>
                        <a:pt x="26279" y="74861"/>
                        <a:pt x="26279" y="71235"/>
                      </a:cubicBezTo>
                      <a:lnTo>
                        <a:pt x="26279" y="65597"/>
                      </a:lnTo>
                      <a:lnTo>
                        <a:pt x="6570" y="65597"/>
                      </a:lnTo>
                      <a:cubicBezTo>
                        <a:pt x="3989" y="65597"/>
                        <a:pt x="1653" y="64091"/>
                        <a:pt x="587" y="61740"/>
                      </a:cubicBezTo>
                      <a:cubicBezTo>
                        <a:pt x="-479" y="59395"/>
                        <a:pt x="-70" y="56640"/>
                        <a:pt x="1625" y="54698"/>
                      </a:cubicBezTo>
                      <a:lnTo>
                        <a:pt x="47615" y="2137"/>
                      </a:lnTo>
                      <a:cubicBezTo>
                        <a:pt x="50110" y="-712"/>
                        <a:pt x="55005" y="-712"/>
                        <a:pt x="57501" y="2137"/>
                      </a:cubicBezTo>
                      <a:lnTo>
                        <a:pt x="103490" y="54698"/>
                      </a:lnTo>
                      <a:cubicBezTo>
                        <a:pt x="105188" y="56640"/>
                        <a:pt x="105594" y="59395"/>
                        <a:pt x="104528" y="61740"/>
                      </a:cubicBezTo>
                      <a:cubicBezTo>
                        <a:pt x="103463" y="64088"/>
                        <a:pt x="101123" y="65597"/>
                        <a:pt x="98546" y="65597"/>
                      </a:cubicBezTo>
                      <a:lnTo>
                        <a:pt x="65697" y="65597"/>
                      </a:lnTo>
                      <a:cubicBezTo>
                        <a:pt x="62067" y="65597"/>
                        <a:pt x="59128" y="62655"/>
                        <a:pt x="59128" y="59028"/>
                      </a:cubicBezTo>
                      <a:cubicBezTo>
                        <a:pt x="59128" y="55402"/>
                        <a:pt x="62070" y="52460"/>
                        <a:pt x="65697" y="52460"/>
                      </a:cubicBezTo>
                      <a:lnTo>
                        <a:pt x="84069" y="52460"/>
                      </a:lnTo>
                      <a:lnTo>
                        <a:pt x="52556" y="16441"/>
                      </a:lnTo>
                      <a:lnTo>
                        <a:pt x="21044" y="52454"/>
                      </a:lnTo>
                      <a:lnTo>
                        <a:pt x="32847" y="52454"/>
                      </a:lnTo>
                      <a:cubicBezTo>
                        <a:pt x="36477" y="52454"/>
                        <a:pt x="39416" y="55396"/>
                        <a:pt x="39416" y="59023"/>
                      </a:cubicBezTo>
                      <a:lnTo>
                        <a:pt x="39416" y="71229"/>
                      </a:lnTo>
                      <a:cubicBezTo>
                        <a:pt x="39416" y="74861"/>
                        <a:pt x="36474" y="77803"/>
                        <a:pt x="32847" y="77803"/>
                      </a:cubicBezTo>
                      <a:close/>
                    </a:path>
                  </a:pathLst>
                </a:custGeom>
                <a:solidFill>
                  <a:schemeClr val="accent1"/>
                </a:solidFill>
                <a:ln w="274" cap="flat">
                  <a:noFill/>
                  <a:prstDash val="solid"/>
                  <a:miter/>
                </a:ln>
              </p:spPr>
              <p:txBody>
                <a:bodyPr rtlCol="0" anchor="ctr"/>
                <a:lstStyle/>
                <a:p>
                  <a:endParaRPr lang="en-GB" dirty="0"/>
                </a:p>
              </p:txBody>
            </p:sp>
            <p:sp>
              <p:nvSpPr>
                <p:cNvPr id="711" name="Freihandform: Form 710">
                  <a:extLst>
                    <a:ext uri="{FF2B5EF4-FFF2-40B4-BE49-F238E27FC236}">
                      <a16:creationId xmlns:a16="http://schemas.microsoft.com/office/drawing/2014/main" id="{B551B8E9-680C-43A6-9A74-A627B71DCD7E}"/>
                    </a:ext>
                  </a:extLst>
                </p:cNvPr>
                <p:cNvSpPr/>
                <p:nvPr/>
              </p:nvSpPr>
              <p:spPr>
                <a:xfrm>
                  <a:off x="5358635" y="1847720"/>
                  <a:ext cx="13137" cy="23932"/>
                </a:xfrm>
                <a:custGeom>
                  <a:avLst/>
                  <a:gdLst>
                    <a:gd name="connsiteX0" fmla="*/ 6569 w 13137"/>
                    <a:gd name="connsiteY0" fmla="*/ 23933 h 23932"/>
                    <a:gd name="connsiteX1" fmla="*/ 0 w 13137"/>
                    <a:gd name="connsiteY1" fmla="*/ 17364 h 23932"/>
                    <a:gd name="connsiteX2" fmla="*/ 0 w 13137"/>
                    <a:gd name="connsiteY2" fmla="*/ 6569 h 23932"/>
                    <a:gd name="connsiteX3" fmla="*/ 6569 w 13137"/>
                    <a:gd name="connsiteY3" fmla="*/ 0 h 23932"/>
                    <a:gd name="connsiteX4" fmla="*/ 13138 w 13137"/>
                    <a:gd name="connsiteY4" fmla="*/ 6569 h 23932"/>
                    <a:gd name="connsiteX5" fmla="*/ 13138 w 13137"/>
                    <a:gd name="connsiteY5" fmla="*/ 17364 h 23932"/>
                    <a:gd name="connsiteX6" fmla="*/ 6569 w 13137"/>
                    <a:gd name="connsiteY6" fmla="*/ 23933 h 23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23932">
                      <a:moveTo>
                        <a:pt x="6569" y="23933"/>
                      </a:moveTo>
                      <a:cubicBezTo>
                        <a:pt x="2939" y="23933"/>
                        <a:pt x="0" y="20991"/>
                        <a:pt x="0" y="17364"/>
                      </a:cubicBezTo>
                      <a:lnTo>
                        <a:pt x="0" y="6569"/>
                      </a:lnTo>
                      <a:cubicBezTo>
                        <a:pt x="0" y="2939"/>
                        <a:pt x="2942" y="0"/>
                        <a:pt x="6569" y="0"/>
                      </a:cubicBezTo>
                      <a:cubicBezTo>
                        <a:pt x="10198" y="0"/>
                        <a:pt x="13138" y="2942"/>
                        <a:pt x="13138" y="6569"/>
                      </a:cubicBezTo>
                      <a:lnTo>
                        <a:pt x="13138" y="17364"/>
                      </a:lnTo>
                      <a:cubicBezTo>
                        <a:pt x="13140" y="20991"/>
                        <a:pt x="10198" y="23933"/>
                        <a:pt x="6569" y="23933"/>
                      </a:cubicBezTo>
                      <a:close/>
                    </a:path>
                  </a:pathLst>
                </a:custGeom>
                <a:solidFill>
                  <a:schemeClr val="accent1"/>
                </a:solidFill>
                <a:ln w="274" cap="flat">
                  <a:noFill/>
                  <a:prstDash val="solid"/>
                  <a:miter/>
                </a:ln>
              </p:spPr>
              <p:txBody>
                <a:bodyPr rtlCol="0" anchor="ctr"/>
                <a:lstStyle/>
                <a:p>
                  <a:endParaRPr lang="en-GB" dirty="0"/>
                </a:p>
              </p:txBody>
            </p:sp>
          </p:grpSp>
          <p:grpSp>
            <p:nvGrpSpPr>
              <p:cNvPr id="704" name="Grafik 349">
                <a:extLst>
                  <a:ext uri="{FF2B5EF4-FFF2-40B4-BE49-F238E27FC236}">
                    <a16:creationId xmlns:a16="http://schemas.microsoft.com/office/drawing/2014/main" id="{B6C8BCD3-04C3-42D3-AE22-8E22A4D3E03F}"/>
                  </a:ext>
                </a:extLst>
              </p:cNvPr>
              <p:cNvGrpSpPr/>
              <p:nvPr/>
            </p:nvGrpSpPr>
            <p:grpSpPr>
              <a:xfrm>
                <a:off x="5555677" y="1776483"/>
                <a:ext cx="105115" cy="117226"/>
                <a:chOff x="5555677" y="1776483"/>
                <a:chExt cx="105115" cy="117226"/>
              </a:xfrm>
              <a:solidFill>
                <a:schemeClr val="accent1"/>
              </a:solidFill>
            </p:grpSpPr>
            <p:sp>
              <p:nvSpPr>
                <p:cNvPr id="706" name="Freihandform: Form 705">
                  <a:extLst>
                    <a:ext uri="{FF2B5EF4-FFF2-40B4-BE49-F238E27FC236}">
                      <a16:creationId xmlns:a16="http://schemas.microsoft.com/office/drawing/2014/main" id="{B290BCEE-06F8-40D7-95EA-C897B1F0C072}"/>
                    </a:ext>
                  </a:extLst>
                </p:cNvPr>
                <p:cNvSpPr/>
                <p:nvPr/>
              </p:nvSpPr>
              <p:spPr>
                <a:xfrm>
                  <a:off x="5581959" y="1828943"/>
                  <a:ext cx="13137" cy="64767"/>
                </a:xfrm>
                <a:custGeom>
                  <a:avLst/>
                  <a:gdLst>
                    <a:gd name="connsiteX0" fmla="*/ 6569 w 13137"/>
                    <a:gd name="connsiteY0" fmla="*/ 64767 h 64767"/>
                    <a:gd name="connsiteX1" fmla="*/ 0 w 13137"/>
                    <a:gd name="connsiteY1" fmla="*/ 58198 h 64767"/>
                    <a:gd name="connsiteX2" fmla="*/ 0 w 13137"/>
                    <a:gd name="connsiteY2" fmla="*/ 6569 h 64767"/>
                    <a:gd name="connsiteX3" fmla="*/ 6569 w 13137"/>
                    <a:gd name="connsiteY3" fmla="*/ 0 h 64767"/>
                    <a:gd name="connsiteX4" fmla="*/ 13137 w 13137"/>
                    <a:gd name="connsiteY4" fmla="*/ 6569 h 64767"/>
                    <a:gd name="connsiteX5" fmla="*/ 13137 w 13137"/>
                    <a:gd name="connsiteY5" fmla="*/ 58196 h 64767"/>
                    <a:gd name="connsiteX6" fmla="*/ 6569 w 13137"/>
                    <a:gd name="connsiteY6" fmla="*/ 64767 h 64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64767">
                      <a:moveTo>
                        <a:pt x="6569" y="64767"/>
                      </a:moveTo>
                      <a:cubicBezTo>
                        <a:pt x="2939" y="64767"/>
                        <a:pt x="0" y="61825"/>
                        <a:pt x="0" y="58198"/>
                      </a:cubicBezTo>
                      <a:lnTo>
                        <a:pt x="0" y="6569"/>
                      </a:lnTo>
                      <a:cubicBezTo>
                        <a:pt x="0" y="2939"/>
                        <a:pt x="2942" y="0"/>
                        <a:pt x="6569" y="0"/>
                      </a:cubicBezTo>
                      <a:cubicBezTo>
                        <a:pt x="10198" y="0"/>
                        <a:pt x="13137" y="2942"/>
                        <a:pt x="13137" y="6569"/>
                      </a:cubicBezTo>
                      <a:lnTo>
                        <a:pt x="13137" y="58196"/>
                      </a:lnTo>
                      <a:cubicBezTo>
                        <a:pt x="13137" y="61825"/>
                        <a:pt x="10196" y="64767"/>
                        <a:pt x="6569" y="64767"/>
                      </a:cubicBezTo>
                      <a:close/>
                    </a:path>
                  </a:pathLst>
                </a:custGeom>
                <a:solidFill>
                  <a:schemeClr val="accent1"/>
                </a:solidFill>
                <a:ln w="274" cap="flat">
                  <a:noFill/>
                  <a:prstDash val="solid"/>
                  <a:miter/>
                </a:ln>
              </p:spPr>
              <p:txBody>
                <a:bodyPr rtlCol="0" anchor="ctr"/>
                <a:lstStyle/>
                <a:p>
                  <a:endParaRPr lang="en-GB" dirty="0"/>
                </a:p>
              </p:txBody>
            </p:sp>
            <p:sp>
              <p:nvSpPr>
                <p:cNvPr id="707" name="Freihandform: Form 706">
                  <a:extLst>
                    <a:ext uri="{FF2B5EF4-FFF2-40B4-BE49-F238E27FC236}">
                      <a16:creationId xmlns:a16="http://schemas.microsoft.com/office/drawing/2014/main" id="{74B237DD-E295-430C-98F4-A82AF507E495}"/>
                    </a:ext>
                  </a:extLst>
                </p:cNvPr>
                <p:cNvSpPr/>
                <p:nvPr/>
              </p:nvSpPr>
              <p:spPr>
                <a:xfrm>
                  <a:off x="5555677" y="1776483"/>
                  <a:ext cx="105115" cy="77806"/>
                </a:xfrm>
                <a:custGeom>
                  <a:avLst/>
                  <a:gdLst>
                    <a:gd name="connsiteX0" fmla="*/ 72271 w 105115"/>
                    <a:gd name="connsiteY0" fmla="*/ 77806 h 77806"/>
                    <a:gd name="connsiteX1" fmla="*/ 65702 w 105115"/>
                    <a:gd name="connsiteY1" fmla="*/ 71237 h 77806"/>
                    <a:gd name="connsiteX2" fmla="*/ 65702 w 105115"/>
                    <a:gd name="connsiteY2" fmla="*/ 59031 h 77806"/>
                    <a:gd name="connsiteX3" fmla="*/ 72271 w 105115"/>
                    <a:gd name="connsiteY3" fmla="*/ 52462 h 77806"/>
                    <a:gd name="connsiteX4" fmla="*/ 84074 w 105115"/>
                    <a:gd name="connsiteY4" fmla="*/ 52462 h 77806"/>
                    <a:gd name="connsiteX5" fmla="*/ 52562 w 105115"/>
                    <a:gd name="connsiteY5" fmla="*/ 16449 h 77806"/>
                    <a:gd name="connsiteX6" fmla="*/ 21047 w 105115"/>
                    <a:gd name="connsiteY6" fmla="*/ 52460 h 77806"/>
                    <a:gd name="connsiteX7" fmla="*/ 39419 w 105115"/>
                    <a:gd name="connsiteY7" fmla="*/ 52460 h 77806"/>
                    <a:gd name="connsiteX8" fmla="*/ 45988 w 105115"/>
                    <a:gd name="connsiteY8" fmla="*/ 59028 h 77806"/>
                    <a:gd name="connsiteX9" fmla="*/ 39419 w 105115"/>
                    <a:gd name="connsiteY9" fmla="*/ 65597 h 77806"/>
                    <a:gd name="connsiteX10" fmla="*/ 6570 w 105115"/>
                    <a:gd name="connsiteY10" fmla="*/ 65597 h 77806"/>
                    <a:gd name="connsiteX11" fmla="*/ 587 w 105115"/>
                    <a:gd name="connsiteY11" fmla="*/ 61740 h 77806"/>
                    <a:gd name="connsiteX12" fmla="*/ 1625 w 105115"/>
                    <a:gd name="connsiteY12" fmla="*/ 54698 h 77806"/>
                    <a:gd name="connsiteX13" fmla="*/ 47615 w 105115"/>
                    <a:gd name="connsiteY13" fmla="*/ 2137 h 77806"/>
                    <a:gd name="connsiteX14" fmla="*/ 57501 w 105115"/>
                    <a:gd name="connsiteY14" fmla="*/ 2137 h 77806"/>
                    <a:gd name="connsiteX15" fmla="*/ 103490 w 105115"/>
                    <a:gd name="connsiteY15" fmla="*/ 54698 h 77806"/>
                    <a:gd name="connsiteX16" fmla="*/ 104528 w 105115"/>
                    <a:gd name="connsiteY16" fmla="*/ 61740 h 77806"/>
                    <a:gd name="connsiteX17" fmla="*/ 98546 w 105115"/>
                    <a:gd name="connsiteY17" fmla="*/ 65597 h 77806"/>
                    <a:gd name="connsiteX18" fmla="*/ 78837 w 105115"/>
                    <a:gd name="connsiteY18" fmla="*/ 65597 h 77806"/>
                    <a:gd name="connsiteX19" fmla="*/ 78837 w 105115"/>
                    <a:gd name="connsiteY19" fmla="*/ 71235 h 77806"/>
                    <a:gd name="connsiteX20" fmla="*/ 72271 w 105115"/>
                    <a:gd name="connsiteY20" fmla="*/ 77806 h 77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115" h="77806">
                      <a:moveTo>
                        <a:pt x="72271" y="77806"/>
                      </a:moveTo>
                      <a:cubicBezTo>
                        <a:pt x="68641" y="77806"/>
                        <a:pt x="65702" y="74864"/>
                        <a:pt x="65702" y="71237"/>
                      </a:cubicBezTo>
                      <a:lnTo>
                        <a:pt x="65702" y="59031"/>
                      </a:lnTo>
                      <a:cubicBezTo>
                        <a:pt x="65702" y="55402"/>
                        <a:pt x="68644" y="52462"/>
                        <a:pt x="72271" y="52462"/>
                      </a:cubicBezTo>
                      <a:lnTo>
                        <a:pt x="84074" y="52462"/>
                      </a:lnTo>
                      <a:lnTo>
                        <a:pt x="52562" y="16449"/>
                      </a:lnTo>
                      <a:lnTo>
                        <a:pt x="21047" y="52460"/>
                      </a:lnTo>
                      <a:lnTo>
                        <a:pt x="39419" y="52460"/>
                      </a:lnTo>
                      <a:cubicBezTo>
                        <a:pt x="43048" y="52460"/>
                        <a:pt x="45988" y="55402"/>
                        <a:pt x="45988" y="59028"/>
                      </a:cubicBezTo>
                      <a:cubicBezTo>
                        <a:pt x="45988" y="62655"/>
                        <a:pt x="43046" y="65597"/>
                        <a:pt x="39419" y="65597"/>
                      </a:cubicBezTo>
                      <a:lnTo>
                        <a:pt x="6570" y="65597"/>
                      </a:lnTo>
                      <a:cubicBezTo>
                        <a:pt x="3989" y="65597"/>
                        <a:pt x="1653" y="64091"/>
                        <a:pt x="587" y="61740"/>
                      </a:cubicBezTo>
                      <a:cubicBezTo>
                        <a:pt x="-479" y="59395"/>
                        <a:pt x="-70" y="56640"/>
                        <a:pt x="1625" y="54698"/>
                      </a:cubicBezTo>
                      <a:lnTo>
                        <a:pt x="47615" y="2137"/>
                      </a:lnTo>
                      <a:cubicBezTo>
                        <a:pt x="50110" y="-712"/>
                        <a:pt x="55005" y="-712"/>
                        <a:pt x="57501" y="2137"/>
                      </a:cubicBezTo>
                      <a:lnTo>
                        <a:pt x="103490" y="54698"/>
                      </a:lnTo>
                      <a:cubicBezTo>
                        <a:pt x="105188" y="56640"/>
                        <a:pt x="105594" y="59395"/>
                        <a:pt x="104528" y="61740"/>
                      </a:cubicBezTo>
                      <a:cubicBezTo>
                        <a:pt x="103463" y="64088"/>
                        <a:pt x="101123" y="65597"/>
                        <a:pt x="98546" y="65597"/>
                      </a:cubicBezTo>
                      <a:lnTo>
                        <a:pt x="78837" y="65597"/>
                      </a:lnTo>
                      <a:lnTo>
                        <a:pt x="78837" y="71235"/>
                      </a:lnTo>
                      <a:cubicBezTo>
                        <a:pt x="78839" y="74864"/>
                        <a:pt x="75898" y="77806"/>
                        <a:pt x="72271" y="77806"/>
                      </a:cubicBezTo>
                      <a:close/>
                    </a:path>
                  </a:pathLst>
                </a:custGeom>
                <a:solidFill>
                  <a:schemeClr val="accent1"/>
                </a:solidFill>
                <a:ln w="274" cap="flat">
                  <a:noFill/>
                  <a:prstDash val="solid"/>
                  <a:miter/>
                </a:ln>
              </p:spPr>
              <p:txBody>
                <a:bodyPr rtlCol="0" anchor="ctr"/>
                <a:lstStyle/>
                <a:p>
                  <a:endParaRPr lang="en-GB" dirty="0"/>
                </a:p>
              </p:txBody>
            </p:sp>
            <p:sp>
              <p:nvSpPr>
                <p:cNvPr id="708" name="Freihandform: Form 707">
                  <a:extLst>
                    <a:ext uri="{FF2B5EF4-FFF2-40B4-BE49-F238E27FC236}">
                      <a16:creationId xmlns:a16="http://schemas.microsoft.com/office/drawing/2014/main" id="{65477ACA-CF42-4300-A3C1-327718C30206}"/>
                    </a:ext>
                  </a:extLst>
                </p:cNvPr>
                <p:cNvSpPr/>
                <p:nvPr/>
              </p:nvSpPr>
              <p:spPr>
                <a:xfrm>
                  <a:off x="5621316" y="1867432"/>
                  <a:ext cx="13137" cy="19706"/>
                </a:xfrm>
                <a:custGeom>
                  <a:avLst/>
                  <a:gdLst>
                    <a:gd name="connsiteX0" fmla="*/ 6569 w 13137"/>
                    <a:gd name="connsiteY0" fmla="*/ 19706 h 19706"/>
                    <a:gd name="connsiteX1" fmla="*/ 0 w 13137"/>
                    <a:gd name="connsiteY1" fmla="*/ 13138 h 19706"/>
                    <a:gd name="connsiteX2" fmla="*/ 0 w 13137"/>
                    <a:gd name="connsiteY2" fmla="*/ 6569 h 19706"/>
                    <a:gd name="connsiteX3" fmla="*/ 6569 w 13137"/>
                    <a:gd name="connsiteY3" fmla="*/ 0 h 19706"/>
                    <a:gd name="connsiteX4" fmla="*/ 13137 w 13137"/>
                    <a:gd name="connsiteY4" fmla="*/ 6569 h 19706"/>
                    <a:gd name="connsiteX5" fmla="*/ 13137 w 13137"/>
                    <a:gd name="connsiteY5" fmla="*/ 13138 h 19706"/>
                    <a:gd name="connsiteX6" fmla="*/ 6569 w 13137"/>
                    <a:gd name="connsiteY6" fmla="*/ 19706 h 1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19706">
                      <a:moveTo>
                        <a:pt x="6569" y="19706"/>
                      </a:moveTo>
                      <a:cubicBezTo>
                        <a:pt x="2939" y="19706"/>
                        <a:pt x="0" y="16764"/>
                        <a:pt x="0" y="13138"/>
                      </a:cubicBezTo>
                      <a:lnTo>
                        <a:pt x="0" y="6569"/>
                      </a:lnTo>
                      <a:cubicBezTo>
                        <a:pt x="0" y="2939"/>
                        <a:pt x="2942" y="0"/>
                        <a:pt x="6569" y="0"/>
                      </a:cubicBezTo>
                      <a:cubicBezTo>
                        <a:pt x="10198" y="0"/>
                        <a:pt x="13137" y="2942"/>
                        <a:pt x="13137" y="6569"/>
                      </a:cubicBezTo>
                      <a:lnTo>
                        <a:pt x="13137" y="13138"/>
                      </a:lnTo>
                      <a:cubicBezTo>
                        <a:pt x="13140" y="16767"/>
                        <a:pt x="10198" y="19706"/>
                        <a:pt x="6569" y="19706"/>
                      </a:cubicBezTo>
                      <a:close/>
                    </a:path>
                  </a:pathLst>
                </a:custGeom>
                <a:solidFill>
                  <a:schemeClr val="accent1"/>
                </a:solidFill>
                <a:ln w="274" cap="flat">
                  <a:noFill/>
                  <a:prstDash val="solid"/>
                  <a:miter/>
                </a:ln>
              </p:spPr>
              <p:txBody>
                <a:bodyPr rtlCol="0" anchor="ctr"/>
                <a:lstStyle/>
                <a:p>
                  <a:endParaRPr lang="en-GB" dirty="0"/>
                </a:p>
              </p:txBody>
            </p:sp>
          </p:grpSp>
          <p:sp>
            <p:nvSpPr>
              <p:cNvPr id="705" name="Freihandform: Form 704">
                <a:extLst>
                  <a:ext uri="{FF2B5EF4-FFF2-40B4-BE49-F238E27FC236}">
                    <a16:creationId xmlns:a16="http://schemas.microsoft.com/office/drawing/2014/main" id="{5F7BE3E7-9982-44B3-9978-C9AE7F5AB03A}"/>
                  </a:ext>
                </a:extLst>
              </p:cNvPr>
              <p:cNvSpPr/>
              <p:nvPr/>
            </p:nvSpPr>
            <p:spPr>
              <a:xfrm>
                <a:off x="5443987" y="1670430"/>
                <a:ext cx="105115" cy="170716"/>
              </a:xfrm>
              <a:custGeom>
                <a:avLst/>
                <a:gdLst>
                  <a:gd name="connsiteX0" fmla="*/ 32847 w 105115"/>
                  <a:gd name="connsiteY0" fmla="*/ 170716 h 170716"/>
                  <a:gd name="connsiteX1" fmla="*/ 26279 w 105115"/>
                  <a:gd name="connsiteY1" fmla="*/ 164148 h 170716"/>
                  <a:gd name="connsiteX2" fmla="*/ 26279 w 105115"/>
                  <a:gd name="connsiteY2" fmla="*/ 65597 h 170716"/>
                  <a:gd name="connsiteX3" fmla="*/ 6570 w 105115"/>
                  <a:gd name="connsiteY3" fmla="*/ 65597 h 170716"/>
                  <a:gd name="connsiteX4" fmla="*/ 587 w 105115"/>
                  <a:gd name="connsiteY4" fmla="*/ 61740 h 170716"/>
                  <a:gd name="connsiteX5" fmla="*/ 1625 w 105115"/>
                  <a:gd name="connsiteY5" fmla="*/ 54698 h 170716"/>
                  <a:gd name="connsiteX6" fmla="*/ 47615 w 105115"/>
                  <a:gd name="connsiteY6" fmla="*/ 2137 h 170716"/>
                  <a:gd name="connsiteX7" fmla="*/ 57501 w 105115"/>
                  <a:gd name="connsiteY7" fmla="*/ 2137 h 170716"/>
                  <a:gd name="connsiteX8" fmla="*/ 103490 w 105115"/>
                  <a:gd name="connsiteY8" fmla="*/ 54698 h 170716"/>
                  <a:gd name="connsiteX9" fmla="*/ 104528 w 105115"/>
                  <a:gd name="connsiteY9" fmla="*/ 61740 h 170716"/>
                  <a:gd name="connsiteX10" fmla="*/ 98546 w 105115"/>
                  <a:gd name="connsiteY10" fmla="*/ 65597 h 170716"/>
                  <a:gd name="connsiteX11" fmla="*/ 65699 w 105115"/>
                  <a:gd name="connsiteY11" fmla="*/ 65597 h 170716"/>
                  <a:gd name="connsiteX12" fmla="*/ 59130 w 105115"/>
                  <a:gd name="connsiteY12" fmla="*/ 59028 h 170716"/>
                  <a:gd name="connsiteX13" fmla="*/ 65699 w 105115"/>
                  <a:gd name="connsiteY13" fmla="*/ 52460 h 170716"/>
                  <a:gd name="connsiteX14" fmla="*/ 84071 w 105115"/>
                  <a:gd name="connsiteY14" fmla="*/ 52460 h 170716"/>
                  <a:gd name="connsiteX15" fmla="*/ 52559 w 105115"/>
                  <a:gd name="connsiteY15" fmla="*/ 16444 h 170716"/>
                  <a:gd name="connsiteX16" fmla="*/ 21047 w 105115"/>
                  <a:gd name="connsiteY16" fmla="*/ 52457 h 170716"/>
                  <a:gd name="connsiteX17" fmla="*/ 32850 w 105115"/>
                  <a:gd name="connsiteY17" fmla="*/ 52457 h 170716"/>
                  <a:gd name="connsiteX18" fmla="*/ 39419 w 105115"/>
                  <a:gd name="connsiteY18" fmla="*/ 59026 h 170716"/>
                  <a:gd name="connsiteX19" fmla="*/ 39419 w 105115"/>
                  <a:gd name="connsiteY19" fmla="*/ 164145 h 170716"/>
                  <a:gd name="connsiteX20" fmla="*/ 32847 w 105115"/>
                  <a:gd name="connsiteY20" fmla="*/ 170716 h 17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115" h="170716">
                    <a:moveTo>
                      <a:pt x="32847" y="170716"/>
                    </a:moveTo>
                    <a:cubicBezTo>
                      <a:pt x="29218" y="170716"/>
                      <a:pt x="26279" y="167774"/>
                      <a:pt x="26279" y="164148"/>
                    </a:cubicBezTo>
                    <a:lnTo>
                      <a:pt x="26279" y="65597"/>
                    </a:lnTo>
                    <a:lnTo>
                      <a:pt x="6570" y="65597"/>
                    </a:lnTo>
                    <a:cubicBezTo>
                      <a:pt x="3989" y="65597"/>
                      <a:pt x="1653" y="64091"/>
                      <a:pt x="587" y="61740"/>
                    </a:cubicBezTo>
                    <a:cubicBezTo>
                      <a:pt x="-479" y="59395"/>
                      <a:pt x="-70" y="56640"/>
                      <a:pt x="1625" y="54698"/>
                    </a:cubicBezTo>
                    <a:lnTo>
                      <a:pt x="47615" y="2137"/>
                    </a:lnTo>
                    <a:cubicBezTo>
                      <a:pt x="50110" y="-712"/>
                      <a:pt x="55005" y="-712"/>
                      <a:pt x="57501" y="2137"/>
                    </a:cubicBezTo>
                    <a:lnTo>
                      <a:pt x="103490" y="54698"/>
                    </a:lnTo>
                    <a:cubicBezTo>
                      <a:pt x="105188" y="56640"/>
                      <a:pt x="105594" y="59395"/>
                      <a:pt x="104528" y="61740"/>
                    </a:cubicBezTo>
                    <a:cubicBezTo>
                      <a:pt x="103463" y="64088"/>
                      <a:pt x="101123" y="65597"/>
                      <a:pt x="98546" y="65597"/>
                    </a:cubicBezTo>
                    <a:lnTo>
                      <a:pt x="65699" y="65597"/>
                    </a:lnTo>
                    <a:cubicBezTo>
                      <a:pt x="62070" y="65597"/>
                      <a:pt x="59130" y="62655"/>
                      <a:pt x="59130" y="59028"/>
                    </a:cubicBezTo>
                    <a:cubicBezTo>
                      <a:pt x="59130" y="55402"/>
                      <a:pt x="62072" y="52460"/>
                      <a:pt x="65699" y="52460"/>
                    </a:cubicBezTo>
                    <a:lnTo>
                      <a:pt x="84071" y="52460"/>
                    </a:lnTo>
                    <a:lnTo>
                      <a:pt x="52559" y="16444"/>
                    </a:lnTo>
                    <a:lnTo>
                      <a:pt x="21047" y="52457"/>
                    </a:lnTo>
                    <a:lnTo>
                      <a:pt x="32850" y="52457"/>
                    </a:lnTo>
                    <a:cubicBezTo>
                      <a:pt x="36480" y="52457"/>
                      <a:pt x="39419" y="55399"/>
                      <a:pt x="39419" y="59026"/>
                    </a:cubicBezTo>
                    <a:lnTo>
                      <a:pt x="39419" y="164145"/>
                    </a:lnTo>
                    <a:cubicBezTo>
                      <a:pt x="39419" y="167774"/>
                      <a:pt x="36477" y="170716"/>
                      <a:pt x="32847" y="170716"/>
                    </a:cubicBezTo>
                    <a:close/>
                  </a:path>
                </a:pathLst>
              </a:custGeom>
              <a:solidFill>
                <a:schemeClr val="accent1"/>
              </a:solidFill>
              <a:ln w="274" cap="flat">
                <a:noFill/>
                <a:prstDash val="solid"/>
                <a:miter/>
              </a:ln>
            </p:spPr>
            <p:txBody>
              <a:bodyPr rtlCol="0" anchor="ctr"/>
              <a:lstStyle/>
              <a:p>
                <a:endParaRPr lang="en-GB" dirty="0"/>
              </a:p>
            </p:txBody>
          </p:sp>
        </p:grpSp>
        <p:grpSp>
          <p:nvGrpSpPr>
            <p:cNvPr id="697" name="Gruppieren 696">
              <a:extLst>
                <a:ext uri="{FF2B5EF4-FFF2-40B4-BE49-F238E27FC236}">
                  <a16:creationId xmlns:a16="http://schemas.microsoft.com/office/drawing/2014/main" id="{A5CA1EF5-6E29-4E91-AC6E-48941EA8A932}"/>
                </a:ext>
              </a:extLst>
            </p:cNvPr>
            <p:cNvGrpSpPr/>
            <p:nvPr/>
          </p:nvGrpSpPr>
          <p:grpSpPr>
            <a:xfrm>
              <a:off x="4975196" y="1857063"/>
              <a:ext cx="475320" cy="201653"/>
              <a:chOff x="5279733" y="1880569"/>
              <a:chExt cx="433622" cy="183963"/>
            </a:xfrm>
          </p:grpSpPr>
          <p:sp>
            <p:nvSpPr>
              <p:cNvPr id="698" name="Freihandform: Form 697">
                <a:extLst>
                  <a:ext uri="{FF2B5EF4-FFF2-40B4-BE49-F238E27FC236}">
                    <a16:creationId xmlns:a16="http://schemas.microsoft.com/office/drawing/2014/main" id="{9B537A44-EF76-4972-AF32-5927E83F325C}"/>
                  </a:ext>
                </a:extLst>
              </p:cNvPr>
              <p:cNvSpPr/>
              <p:nvPr/>
            </p:nvSpPr>
            <p:spPr>
              <a:xfrm>
                <a:off x="5319154" y="1985694"/>
                <a:ext cx="78838" cy="78838"/>
              </a:xfrm>
              <a:custGeom>
                <a:avLst/>
                <a:gdLst>
                  <a:gd name="connsiteX0" fmla="*/ 72270 w 78838"/>
                  <a:gd name="connsiteY0" fmla="*/ 78839 h 78838"/>
                  <a:gd name="connsiteX1" fmla="*/ 6569 w 78838"/>
                  <a:gd name="connsiteY1" fmla="*/ 78839 h 78838"/>
                  <a:gd name="connsiteX2" fmla="*/ 0 w 78838"/>
                  <a:gd name="connsiteY2" fmla="*/ 72270 h 78838"/>
                  <a:gd name="connsiteX3" fmla="*/ 0 w 78838"/>
                  <a:gd name="connsiteY3" fmla="*/ 6569 h 78838"/>
                  <a:gd name="connsiteX4" fmla="*/ 6569 w 78838"/>
                  <a:gd name="connsiteY4" fmla="*/ 0 h 78838"/>
                  <a:gd name="connsiteX5" fmla="*/ 72270 w 78838"/>
                  <a:gd name="connsiteY5" fmla="*/ 0 h 78838"/>
                  <a:gd name="connsiteX6" fmla="*/ 78839 w 78838"/>
                  <a:gd name="connsiteY6" fmla="*/ 6569 h 78838"/>
                  <a:gd name="connsiteX7" fmla="*/ 78839 w 78838"/>
                  <a:gd name="connsiteY7" fmla="*/ 72270 h 78838"/>
                  <a:gd name="connsiteX8" fmla="*/ 72270 w 78838"/>
                  <a:gd name="connsiteY8" fmla="*/ 78839 h 78838"/>
                  <a:gd name="connsiteX9" fmla="*/ 13138 w 78838"/>
                  <a:gd name="connsiteY9" fmla="*/ 65699 h 78838"/>
                  <a:gd name="connsiteX10" fmla="*/ 65698 w 78838"/>
                  <a:gd name="connsiteY10" fmla="*/ 65699 h 78838"/>
                  <a:gd name="connsiteX11" fmla="*/ 65698 w 78838"/>
                  <a:gd name="connsiteY11" fmla="*/ 13138 h 78838"/>
                  <a:gd name="connsiteX12" fmla="*/ 13138 w 78838"/>
                  <a:gd name="connsiteY12" fmla="*/ 13138 h 78838"/>
                  <a:gd name="connsiteX13" fmla="*/ 13138 w 78838"/>
                  <a:gd name="connsiteY13" fmla="*/ 65699 h 78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838" h="78838">
                    <a:moveTo>
                      <a:pt x="72270" y="78839"/>
                    </a:moveTo>
                    <a:lnTo>
                      <a:pt x="6569" y="78839"/>
                    </a:lnTo>
                    <a:cubicBezTo>
                      <a:pt x="2939" y="78839"/>
                      <a:pt x="0" y="75897"/>
                      <a:pt x="0" y="72270"/>
                    </a:cubicBezTo>
                    <a:lnTo>
                      <a:pt x="0" y="6569"/>
                    </a:lnTo>
                    <a:cubicBezTo>
                      <a:pt x="0" y="2939"/>
                      <a:pt x="2942" y="0"/>
                      <a:pt x="6569" y="0"/>
                    </a:cubicBezTo>
                    <a:lnTo>
                      <a:pt x="72270" y="0"/>
                    </a:lnTo>
                    <a:cubicBezTo>
                      <a:pt x="75900" y="0"/>
                      <a:pt x="78839" y="2942"/>
                      <a:pt x="78839" y="6569"/>
                    </a:cubicBezTo>
                    <a:lnTo>
                      <a:pt x="78839" y="72270"/>
                    </a:lnTo>
                    <a:cubicBezTo>
                      <a:pt x="78839" y="75897"/>
                      <a:pt x="75897" y="78839"/>
                      <a:pt x="72270" y="78839"/>
                    </a:cubicBezTo>
                    <a:close/>
                    <a:moveTo>
                      <a:pt x="13138" y="65699"/>
                    </a:moveTo>
                    <a:lnTo>
                      <a:pt x="65698" y="65699"/>
                    </a:lnTo>
                    <a:lnTo>
                      <a:pt x="65698" y="13138"/>
                    </a:lnTo>
                    <a:lnTo>
                      <a:pt x="13138" y="13138"/>
                    </a:lnTo>
                    <a:lnTo>
                      <a:pt x="13138" y="65699"/>
                    </a:lnTo>
                    <a:close/>
                  </a:path>
                </a:pathLst>
              </a:custGeom>
              <a:solidFill>
                <a:schemeClr val="tx2"/>
              </a:solidFill>
              <a:ln w="274" cap="flat">
                <a:noFill/>
                <a:prstDash val="solid"/>
                <a:miter/>
              </a:ln>
            </p:spPr>
            <p:txBody>
              <a:bodyPr rtlCol="0" anchor="ctr"/>
              <a:lstStyle/>
              <a:p>
                <a:endParaRPr lang="en-GB" dirty="0"/>
              </a:p>
            </p:txBody>
          </p:sp>
          <p:sp>
            <p:nvSpPr>
              <p:cNvPr id="699" name="Freihandform: Form 698">
                <a:extLst>
                  <a:ext uri="{FF2B5EF4-FFF2-40B4-BE49-F238E27FC236}">
                    <a16:creationId xmlns:a16="http://schemas.microsoft.com/office/drawing/2014/main" id="{17B3BC9F-689B-4652-B574-16B07717EACD}"/>
                  </a:ext>
                </a:extLst>
              </p:cNvPr>
              <p:cNvSpPr/>
              <p:nvPr/>
            </p:nvSpPr>
            <p:spPr>
              <a:xfrm>
                <a:off x="5457125" y="1880569"/>
                <a:ext cx="78838" cy="183963"/>
              </a:xfrm>
              <a:custGeom>
                <a:avLst/>
                <a:gdLst>
                  <a:gd name="connsiteX0" fmla="*/ 72270 w 78838"/>
                  <a:gd name="connsiteY0" fmla="*/ 183963 h 183963"/>
                  <a:gd name="connsiteX1" fmla="*/ 6569 w 78838"/>
                  <a:gd name="connsiteY1" fmla="*/ 183963 h 183963"/>
                  <a:gd name="connsiteX2" fmla="*/ 0 w 78838"/>
                  <a:gd name="connsiteY2" fmla="*/ 177395 h 183963"/>
                  <a:gd name="connsiteX3" fmla="*/ 0 w 78838"/>
                  <a:gd name="connsiteY3" fmla="*/ 6569 h 183963"/>
                  <a:gd name="connsiteX4" fmla="*/ 6569 w 78838"/>
                  <a:gd name="connsiteY4" fmla="*/ 0 h 183963"/>
                  <a:gd name="connsiteX5" fmla="*/ 72270 w 78838"/>
                  <a:gd name="connsiteY5" fmla="*/ 0 h 183963"/>
                  <a:gd name="connsiteX6" fmla="*/ 78839 w 78838"/>
                  <a:gd name="connsiteY6" fmla="*/ 6569 h 183963"/>
                  <a:gd name="connsiteX7" fmla="*/ 78839 w 78838"/>
                  <a:gd name="connsiteY7" fmla="*/ 177392 h 183963"/>
                  <a:gd name="connsiteX8" fmla="*/ 72270 w 78838"/>
                  <a:gd name="connsiteY8" fmla="*/ 183963 h 183963"/>
                  <a:gd name="connsiteX9" fmla="*/ 13140 w 78838"/>
                  <a:gd name="connsiteY9" fmla="*/ 170823 h 183963"/>
                  <a:gd name="connsiteX10" fmla="*/ 65701 w 78838"/>
                  <a:gd name="connsiteY10" fmla="*/ 170823 h 183963"/>
                  <a:gd name="connsiteX11" fmla="*/ 65701 w 78838"/>
                  <a:gd name="connsiteY11" fmla="*/ 13140 h 183963"/>
                  <a:gd name="connsiteX12" fmla="*/ 13140 w 78838"/>
                  <a:gd name="connsiteY12" fmla="*/ 13140 h 183963"/>
                  <a:gd name="connsiteX13" fmla="*/ 13140 w 78838"/>
                  <a:gd name="connsiteY13" fmla="*/ 170823 h 18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838" h="183963">
                    <a:moveTo>
                      <a:pt x="72270" y="183963"/>
                    </a:moveTo>
                    <a:lnTo>
                      <a:pt x="6569" y="183963"/>
                    </a:lnTo>
                    <a:cubicBezTo>
                      <a:pt x="2939" y="183963"/>
                      <a:pt x="0" y="181021"/>
                      <a:pt x="0" y="177395"/>
                    </a:cubicBezTo>
                    <a:lnTo>
                      <a:pt x="0" y="6569"/>
                    </a:lnTo>
                    <a:cubicBezTo>
                      <a:pt x="0" y="2939"/>
                      <a:pt x="2942" y="0"/>
                      <a:pt x="6569" y="0"/>
                    </a:cubicBezTo>
                    <a:lnTo>
                      <a:pt x="72270" y="0"/>
                    </a:lnTo>
                    <a:cubicBezTo>
                      <a:pt x="75900" y="0"/>
                      <a:pt x="78839" y="2942"/>
                      <a:pt x="78839" y="6569"/>
                    </a:cubicBezTo>
                    <a:lnTo>
                      <a:pt x="78839" y="177392"/>
                    </a:lnTo>
                    <a:cubicBezTo>
                      <a:pt x="78841" y="181021"/>
                      <a:pt x="75900" y="183963"/>
                      <a:pt x="72270" y="183963"/>
                    </a:cubicBezTo>
                    <a:close/>
                    <a:moveTo>
                      <a:pt x="13140" y="170823"/>
                    </a:moveTo>
                    <a:lnTo>
                      <a:pt x="65701" y="170823"/>
                    </a:lnTo>
                    <a:lnTo>
                      <a:pt x="65701" y="13140"/>
                    </a:lnTo>
                    <a:lnTo>
                      <a:pt x="13140" y="13140"/>
                    </a:lnTo>
                    <a:lnTo>
                      <a:pt x="13140" y="170823"/>
                    </a:lnTo>
                    <a:close/>
                  </a:path>
                </a:pathLst>
              </a:custGeom>
              <a:solidFill>
                <a:schemeClr val="tx2"/>
              </a:solidFill>
              <a:ln w="274" cap="flat">
                <a:noFill/>
                <a:prstDash val="solid"/>
                <a:miter/>
              </a:ln>
            </p:spPr>
            <p:txBody>
              <a:bodyPr rtlCol="0" anchor="ctr"/>
              <a:lstStyle/>
              <a:p>
                <a:endParaRPr lang="en-GB" dirty="0"/>
              </a:p>
            </p:txBody>
          </p:sp>
          <p:sp>
            <p:nvSpPr>
              <p:cNvPr id="700" name="Freihandform: Form 699">
                <a:extLst>
                  <a:ext uri="{FF2B5EF4-FFF2-40B4-BE49-F238E27FC236}">
                    <a16:creationId xmlns:a16="http://schemas.microsoft.com/office/drawing/2014/main" id="{73FF7FF3-D693-4587-9AF8-3615AC501BAB}"/>
                  </a:ext>
                </a:extLst>
              </p:cNvPr>
              <p:cNvSpPr/>
              <p:nvPr/>
            </p:nvSpPr>
            <p:spPr>
              <a:xfrm>
                <a:off x="5595096" y="1933133"/>
                <a:ext cx="78838" cy="131399"/>
              </a:xfrm>
              <a:custGeom>
                <a:avLst/>
                <a:gdLst>
                  <a:gd name="connsiteX0" fmla="*/ 72270 w 78838"/>
                  <a:gd name="connsiteY0" fmla="*/ 131400 h 131399"/>
                  <a:gd name="connsiteX1" fmla="*/ 6569 w 78838"/>
                  <a:gd name="connsiteY1" fmla="*/ 131400 h 131399"/>
                  <a:gd name="connsiteX2" fmla="*/ 0 w 78838"/>
                  <a:gd name="connsiteY2" fmla="*/ 124831 h 131399"/>
                  <a:gd name="connsiteX3" fmla="*/ 0 w 78838"/>
                  <a:gd name="connsiteY3" fmla="*/ 6569 h 131399"/>
                  <a:gd name="connsiteX4" fmla="*/ 6569 w 78838"/>
                  <a:gd name="connsiteY4" fmla="*/ 0 h 131399"/>
                  <a:gd name="connsiteX5" fmla="*/ 72270 w 78838"/>
                  <a:gd name="connsiteY5" fmla="*/ 0 h 131399"/>
                  <a:gd name="connsiteX6" fmla="*/ 78839 w 78838"/>
                  <a:gd name="connsiteY6" fmla="*/ 6569 h 131399"/>
                  <a:gd name="connsiteX7" fmla="*/ 78839 w 78838"/>
                  <a:gd name="connsiteY7" fmla="*/ 124831 h 131399"/>
                  <a:gd name="connsiteX8" fmla="*/ 72270 w 78838"/>
                  <a:gd name="connsiteY8" fmla="*/ 131400 h 131399"/>
                  <a:gd name="connsiteX9" fmla="*/ 13140 w 78838"/>
                  <a:gd name="connsiteY9" fmla="*/ 118260 h 131399"/>
                  <a:gd name="connsiteX10" fmla="*/ 65701 w 78838"/>
                  <a:gd name="connsiteY10" fmla="*/ 118260 h 131399"/>
                  <a:gd name="connsiteX11" fmla="*/ 65701 w 78838"/>
                  <a:gd name="connsiteY11" fmla="*/ 13138 h 131399"/>
                  <a:gd name="connsiteX12" fmla="*/ 13140 w 78838"/>
                  <a:gd name="connsiteY12" fmla="*/ 13138 h 131399"/>
                  <a:gd name="connsiteX13" fmla="*/ 13140 w 78838"/>
                  <a:gd name="connsiteY13" fmla="*/ 118260 h 13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838" h="131399">
                    <a:moveTo>
                      <a:pt x="72270" y="131400"/>
                    </a:moveTo>
                    <a:lnTo>
                      <a:pt x="6569" y="131400"/>
                    </a:lnTo>
                    <a:cubicBezTo>
                      <a:pt x="2939" y="131400"/>
                      <a:pt x="0" y="128458"/>
                      <a:pt x="0" y="124831"/>
                    </a:cubicBezTo>
                    <a:lnTo>
                      <a:pt x="0" y="6569"/>
                    </a:lnTo>
                    <a:cubicBezTo>
                      <a:pt x="0" y="2939"/>
                      <a:pt x="2942" y="0"/>
                      <a:pt x="6569" y="0"/>
                    </a:cubicBezTo>
                    <a:lnTo>
                      <a:pt x="72270" y="0"/>
                    </a:lnTo>
                    <a:cubicBezTo>
                      <a:pt x="75900" y="0"/>
                      <a:pt x="78839" y="2942"/>
                      <a:pt x="78839" y="6569"/>
                    </a:cubicBezTo>
                    <a:lnTo>
                      <a:pt x="78839" y="124831"/>
                    </a:lnTo>
                    <a:cubicBezTo>
                      <a:pt x="78842" y="128458"/>
                      <a:pt x="75900" y="131400"/>
                      <a:pt x="72270" y="131400"/>
                    </a:cubicBezTo>
                    <a:close/>
                    <a:moveTo>
                      <a:pt x="13140" y="118260"/>
                    </a:moveTo>
                    <a:lnTo>
                      <a:pt x="65701" y="118260"/>
                    </a:lnTo>
                    <a:lnTo>
                      <a:pt x="65701" y="13138"/>
                    </a:lnTo>
                    <a:lnTo>
                      <a:pt x="13140" y="13138"/>
                    </a:lnTo>
                    <a:lnTo>
                      <a:pt x="13140" y="118260"/>
                    </a:lnTo>
                    <a:close/>
                  </a:path>
                </a:pathLst>
              </a:custGeom>
              <a:solidFill>
                <a:schemeClr val="tx2"/>
              </a:solidFill>
              <a:ln w="274" cap="flat">
                <a:noFill/>
                <a:prstDash val="solid"/>
                <a:miter/>
              </a:ln>
            </p:spPr>
            <p:txBody>
              <a:bodyPr rtlCol="0" anchor="ctr"/>
              <a:lstStyle/>
              <a:p>
                <a:endParaRPr lang="en-GB" dirty="0"/>
              </a:p>
            </p:txBody>
          </p:sp>
          <p:sp>
            <p:nvSpPr>
              <p:cNvPr id="701" name="Freihandform: Form 700">
                <a:extLst>
                  <a:ext uri="{FF2B5EF4-FFF2-40B4-BE49-F238E27FC236}">
                    <a16:creationId xmlns:a16="http://schemas.microsoft.com/office/drawing/2014/main" id="{A34A926E-7AF1-4EB7-90DB-6E44BB600549}"/>
                  </a:ext>
                </a:extLst>
              </p:cNvPr>
              <p:cNvSpPr/>
              <p:nvPr/>
            </p:nvSpPr>
            <p:spPr>
              <a:xfrm>
                <a:off x="5279733" y="2051395"/>
                <a:ext cx="433622" cy="13137"/>
              </a:xfrm>
              <a:custGeom>
                <a:avLst/>
                <a:gdLst>
                  <a:gd name="connsiteX0" fmla="*/ 427054 w 433622"/>
                  <a:gd name="connsiteY0" fmla="*/ 13138 h 13137"/>
                  <a:gd name="connsiteX1" fmla="*/ 6569 w 433622"/>
                  <a:gd name="connsiteY1" fmla="*/ 13138 h 13137"/>
                  <a:gd name="connsiteX2" fmla="*/ 0 w 433622"/>
                  <a:gd name="connsiteY2" fmla="*/ 6569 h 13137"/>
                  <a:gd name="connsiteX3" fmla="*/ 6569 w 433622"/>
                  <a:gd name="connsiteY3" fmla="*/ 0 h 13137"/>
                  <a:gd name="connsiteX4" fmla="*/ 427054 w 433622"/>
                  <a:gd name="connsiteY4" fmla="*/ 0 h 13137"/>
                  <a:gd name="connsiteX5" fmla="*/ 433623 w 433622"/>
                  <a:gd name="connsiteY5" fmla="*/ 6569 h 13137"/>
                  <a:gd name="connsiteX6" fmla="*/ 427054 w 433622"/>
                  <a:gd name="connsiteY6" fmla="*/ 13138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622" h="13137">
                    <a:moveTo>
                      <a:pt x="427054" y="13138"/>
                    </a:moveTo>
                    <a:lnTo>
                      <a:pt x="6569" y="13138"/>
                    </a:lnTo>
                    <a:cubicBezTo>
                      <a:pt x="2939" y="13138"/>
                      <a:pt x="0" y="10196"/>
                      <a:pt x="0" y="6569"/>
                    </a:cubicBezTo>
                    <a:cubicBezTo>
                      <a:pt x="0" y="2939"/>
                      <a:pt x="2942" y="0"/>
                      <a:pt x="6569" y="0"/>
                    </a:cubicBezTo>
                    <a:lnTo>
                      <a:pt x="427054" y="0"/>
                    </a:lnTo>
                    <a:cubicBezTo>
                      <a:pt x="430683" y="0"/>
                      <a:pt x="433623" y="2942"/>
                      <a:pt x="433623" y="6569"/>
                    </a:cubicBezTo>
                    <a:cubicBezTo>
                      <a:pt x="433625" y="10196"/>
                      <a:pt x="430683" y="13138"/>
                      <a:pt x="427054" y="13138"/>
                    </a:cubicBezTo>
                    <a:close/>
                  </a:path>
                </a:pathLst>
              </a:custGeom>
              <a:solidFill>
                <a:schemeClr val="tx2"/>
              </a:solidFill>
              <a:ln w="274" cap="flat">
                <a:noFill/>
                <a:prstDash val="solid"/>
                <a:miter/>
              </a:ln>
            </p:spPr>
            <p:txBody>
              <a:bodyPr rtlCol="0" anchor="ctr"/>
              <a:lstStyle/>
              <a:p>
                <a:endParaRPr lang="en-GB" dirty="0"/>
              </a:p>
            </p:txBody>
          </p:sp>
        </p:grpSp>
      </p:grpSp>
      <p:grpSp>
        <p:nvGrpSpPr>
          <p:cNvPr id="29" name="Group 28">
            <a:extLst>
              <a:ext uri="{FF2B5EF4-FFF2-40B4-BE49-F238E27FC236}">
                <a16:creationId xmlns:a16="http://schemas.microsoft.com/office/drawing/2014/main" id="{A4DADFD3-BDED-4F5B-A27C-4ECB4F53CC3A}"/>
              </a:ext>
            </a:extLst>
          </p:cNvPr>
          <p:cNvGrpSpPr/>
          <p:nvPr/>
        </p:nvGrpSpPr>
        <p:grpSpPr>
          <a:xfrm>
            <a:off x="4921776" y="2449341"/>
            <a:ext cx="582985" cy="432000"/>
            <a:chOff x="4921364" y="2449341"/>
            <a:chExt cx="582985" cy="432000"/>
          </a:xfrm>
        </p:grpSpPr>
        <p:grpSp>
          <p:nvGrpSpPr>
            <p:cNvPr id="713" name="Gruppieren 712">
              <a:extLst>
                <a:ext uri="{FF2B5EF4-FFF2-40B4-BE49-F238E27FC236}">
                  <a16:creationId xmlns:a16="http://schemas.microsoft.com/office/drawing/2014/main" id="{950DB964-A41A-462D-BD86-6BFA9A4EA6CE}"/>
                </a:ext>
              </a:extLst>
            </p:cNvPr>
            <p:cNvGrpSpPr/>
            <p:nvPr/>
          </p:nvGrpSpPr>
          <p:grpSpPr>
            <a:xfrm>
              <a:off x="4921364" y="2449341"/>
              <a:ext cx="582985" cy="432000"/>
              <a:chOff x="5280961" y="2522794"/>
              <a:chExt cx="433043" cy="320891"/>
            </a:xfrm>
          </p:grpSpPr>
          <p:sp>
            <p:nvSpPr>
              <p:cNvPr id="722" name="Freihandform: Form 721">
                <a:extLst>
                  <a:ext uri="{FF2B5EF4-FFF2-40B4-BE49-F238E27FC236}">
                    <a16:creationId xmlns:a16="http://schemas.microsoft.com/office/drawing/2014/main" id="{0986BDD8-0489-42F3-8053-433BEE5B4601}"/>
                  </a:ext>
                </a:extLst>
              </p:cNvPr>
              <p:cNvSpPr/>
              <p:nvPr/>
            </p:nvSpPr>
            <p:spPr>
              <a:xfrm>
                <a:off x="5280961" y="2540650"/>
                <a:ext cx="433043" cy="271006"/>
              </a:xfrm>
              <a:custGeom>
                <a:avLst/>
                <a:gdLst>
                  <a:gd name="connsiteX0" fmla="*/ 216672 w 433043"/>
                  <a:gd name="connsiteY0" fmla="*/ 271006 h 271006"/>
                  <a:gd name="connsiteX1" fmla="*/ 112331 w 433043"/>
                  <a:gd name="connsiteY1" fmla="*/ 239020 h 271006"/>
                  <a:gd name="connsiteX2" fmla="*/ 110011 w 433043"/>
                  <a:gd name="connsiteY2" fmla="*/ 230021 h 271006"/>
                  <a:gd name="connsiteX3" fmla="*/ 119009 w 433043"/>
                  <a:gd name="connsiteY3" fmla="*/ 227701 h 271006"/>
                  <a:gd name="connsiteX4" fmla="*/ 216672 w 433043"/>
                  <a:gd name="connsiteY4" fmla="*/ 257874 h 271006"/>
                  <a:gd name="connsiteX5" fmla="*/ 413110 w 433043"/>
                  <a:gd name="connsiteY5" fmla="*/ 143244 h 271006"/>
                  <a:gd name="connsiteX6" fmla="*/ 417803 w 433043"/>
                  <a:gd name="connsiteY6" fmla="*/ 138300 h 271006"/>
                  <a:gd name="connsiteX7" fmla="*/ 216341 w 433043"/>
                  <a:gd name="connsiteY7" fmla="*/ 13132 h 271006"/>
                  <a:gd name="connsiteX8" fmla="*/ 15243 w 433043"/>
                  <a:gd name="connsiteY8" fmla="*/ 138305 h 271006"/>
                  <a:gd name="connsiteX9" fmla="*/ 19856 w 433043"/>
                  <a:gd name="connsiteY9" fmla="*/ 143162 h 271006"/>
                  <a:gd name="connsiteX10" fmla="*/ 58551 w 433043"/>
                  <a:gd name="connsiteY10" fmla="*/ 181909 h 271006"/>
                  <a:gd name="connsiteX11" fmla="*/ 58943 w 433043"/>
                  <a:gd name="connsiteY11" fmla="*/ 191192 h 271006"/>
                  <a:gd name="connsiteX12" fmla="*/ 49659 w 433043"/>
                  <a:gd name="connsiteY12" fmla="*/ 191584 h 271006"/>
                  <a:gd name="connsiteX13" fmla="*/ 10318 w 433043"/>
                  <a:gd name="connsiteY13" fmla="*/ 152202 h 271006"/>
                  <a:gd name="connsiteX14" fmla="*/ 1848 w 433043"/>
                  <a:gd name="connsiteY14" fmla="*/ 143321 h 271006"/>
                  <a:gd name="connsiteX15" fmla="*/ 1363 w 433043"/>
                  <a:gd name="connsiteY15" fmla="*/ 134747 h 271006"/>
                  <a:gd name="connsiteX16" fmla="*/ 216338 w 433043"/>
                  <a:gd name="connsiteY16" fmla="*/ 0 h 271006"/>
                  <a:gd name="connsiteX17" fmla="*/ 431680 w 433043"/>
                  <a:gd name="connsiteY17" fmla="*/ 134747 h 271006"/>
                  <a:gd name="connsiteX18" fmla="*/ 431195 w 433043"/>
                  <a:gd name="connsiteY18" fmla="*/ 143321 h 271006"/>
                  <a:gd name="connsiteX19" fmla="*/ 422643 w 433043"/>
                  <a:gd name="connsiteY19" fmla="*/ 152284 h 271006"/>
                  <a:gd name="connsiteX20" fmla="*/ 216672 w 433043"/>
                  <a:gd name="connsiteY20" fmla="*/ 271006 h 271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33043" h="271006">
                    <a:moveTo>
                      <a:pt x="216672" y="271006"/>
                    </a:moveTo>
                    <a:cubicBezTo>
                      <a:pt x="181917" y="270182"/>
                      <a:pt x="146917" y="259419"/>
                      <a:pt x="112331" y="239020"/>
                    </a:cubicBezTo>
                    <a:cubicBezTo>
                      <a:pt x="109205" y="237176"/>
                      <a:pt x="108167" y="233150"/>
                      <a:pt x="110011" y="230021"/>
                    </a:cubicBezTo>
                    <a:cubicBezTo>
                      <a:pt x="111854" y="226899"/>
                      <a:pt x="115881" y="225860"/>
                      <a:pt x="119009" y="227701"/>
                    </a:cubicBezTo>
                    <a:cubicBezTo>
                      <a:pt x="151639" y="246950"/>
                      <a:pt x="184500" y="257099"/>
                      <a:pt x="216672" y="257874"/>
                    </a:cubicBezTo>
                    <a:cubicBezTo>
                      <a:pt x="306460" y="255713"/>
                      <a:pt x="375837" y="182550"/>
                      <a:pt x="413110" y="143244"/>
                    </a:cubicBezTo>
                    <a:cubicBezTo>
                      <a:pt x="414740" y="141524"/>
                      <a:pt x="416304" y="139872"/>
                      <a:pt x="417803" y="138300"/>
                    </a:cubicBezTo>
                    <a:cubicBezTo>
                      <a:pt x="354068" y="57070"/>
                      <a:pt x="286307" y="14962"/>
                      <a:pt x="216341" y="13132"/>
                    </a:cubicBezTo>
                    <a:cubicBezTo>
                      <a:pt x="146742" y="14962"/>
                      <a:pt x="78994" y="57070"/>
                      <a:pt x="15243" y="138305"/>
                    </a:cubicBezTo>
                    <a:cubicBezTo>
                      <a:pt x="16717" y="139850"/>
                      <a:pt x="18254" y="141475"/>
                      <a:pt x="19856" y="143162"/>
                    </a:cubicBezTo>
                    <a:cubicBezTo>
                      <a:pt x="30257" y="154141"/>
                      <a:pt x="43206" y="167799"/>
                      <a:pt x="58551" y="181909"/>
                    </a:cubicBezTo>
                    <a:cubicBezTo>
                      <a:pt x="61225" y="184366"/>
                      <a:pt x="61397" y="188522"/>
                      <a:pt x="58943" y="191192"/>
                    </a:cubicBezTo>
                    <a:cubicBezTo>
                      <a:pt x="56486" y="193860"/>
                      <a:pt x="52327" y="194030"/>
                      <a:pt x="49659" y="191584"/>
                    </a:cubicBezTo>
                    <a:cubicBezTo>
                      <a:pt x="33977" y="177167"/>
                      <a:pt x="20862" y="163323"/>
                      <a:pt x="10318" y="152202"/>
                    </a:cubicBezTo>
                    <a:cubicBezTo>
                      <a:pt x="7258" y="148975"/>
                      <a:pt x="4431" y="145992"/>
                      <a:pt x="1848" y="143321"/>
                    </a:cubicBezTo>
                    <a:cubicBezTo>
                      <a:pt x="-417" y="140976"/>
                      <a:pt x="-625" y="137328"/>
                      <a:pt x="1363" y="134747"/>
                    </a:cubicBezTo>
                    <a:cubicBezTo>
                      <a:pt x="68656" y="47304"/>
                      <a:pt x="140984" y="1970"/>
                      <a:pt x="216338" y="0"/>
                    </a:cubicBezTo>
                    <a:cubicBezTo>
                      <a:pt x="292071" y="1970"/>
                      <a:pt x="364406" y="47307"/>
                      <a:pt x="431680" y="134747"/>
                    </a:cubicBezTo>
                    <a:cubicBezTo>
                      <a:pt x="433668" y="137330"/>
                      <a:pt x="433460" y="140982"/>
                      <a:pt x="431195" y="143321"/>
                    </a:cubicBezTo>
                    <a:cubicBezTo>
                      <a:pt x="428587" y="146016"/>
                      <a:pt x="425736" y="149024"/>
                      <a:pt x="422643" y="152284"/>
                    </a:cubicBezTo>
                    <a:cubicBezTo>
                      <a:pt x="384058" y="192973"/>
                      <a:pt x="312234" y="268716"/>
                      <a:pt x="216672" y="271006"/>
                    </a:cubicBezTo>
                    <a:close/>
                  </a:path>
                </a:pathLst>
              </a:custGeom>
              <a:solidFill>
                <a:schemeClr val="tx2"/>
              </a:solidFill>
              <a:ln w="274" cap="flat">
                <a:noFill/>
                <a:prstDash val="solid"/>
                <a:miter/>
              </a:ln>
            </p:spPr>
            <p:txBody>
              <a:bodyPr rtlCol="0" anchor="ctr"/>
              <a:lstStyle/>
              <a:p>
                <a:endParaRPr lang="en-GB" dirty="0"/>
              </a:p>
            </p:txBody>
          </p:sp>
          <p:sp>
            <p:nvSpPr>
              <p:cNvPr id="723" name="Freihandform: Form 722">
                <a:extLst>
                  <a:ext uri="{FF2B5EF4-FFF2-40B4-BE49-F238E27FC236}">
                    <a16:creationId xmlns:a16="http://schemas.microsoft.com/office/drawing/2014/main" id="{8D5DEB71-C7E1-44BB-A753-C7A5A653EA2C}"/>
                  </a:ext>
                </a:extLst>
              </p:cNvPr>
              <p:cNvSpPr/>
              <p:nvPr/>
            </p:nvSpPr>
            <p:spPr>
              <a:xfrm>
                <a:off x="5569478" y="2524315"/>
                <a:ext cx="93719" cy="65088"/>
              </a:xfrm>
              <a:custGeom>
                <a:avLst/>
                <a:gdLst>
                  <a:gd name="connsiteX0" fmla="*/ 87145 w 93719"/>
                  <a:gd name="connsiteY0" fmla="*/ 65088 h 65088"/>
                  <a:gd name="connsiteX1" fmla="*/ 82773 w 93719"/>
                  <a:gd name="connsiteY1" fmla="*/ 63420 h 65088"/>
                  <a:gd name="connsiteX2" fmla="*/ 4099 w 93719"/>
                  <a:gd name="connsiteY2" fmla="*/ 12664 h 65088"/>
                  <a:gd name="connsiteX3" fmla="*/ 485 w 93719"/>
                  <a:gd name="connsiteY3" fmla="*/ 4104 h 65088"/>
                  <a:gd name="connsiteX4" fmla="*/ 9046 w 93719"/>
                  <a:gd name="connsiteY4" fmla="*/ 491 h 65088"/>
                  <a:gd name="connsiteX5" fmla="*/ 91525 w 93719"/>
                  <a:gd name="connsiteY5" fmla="*/ 53613 h 65088"/>
                  <a:gd name="connsiteX6" fmla="*/ 92051 w 93719"/>
                  <a:gd name="connsiteY6" fmla="*/ 62891 h 65088"/>
                  <a:gd name="connsiteX7" fmla="*/ 87145 w 93719"/>
                  <a:gd name="connsiteY7" fmla="*/ 65088 h 6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719" h="65088">
                    <a:moveTo>
                      <a:pt x="87145" y="65088"/>
                    </a:moveTo>
                    <a:cubicBezTo>
                      <a:pt x="85589" y="65088"/>
                      <a:pt x="84027" y="64540"/>
                      <a:pt x="82773" y="63420"/>
                    </a:cubicBezTo>
                    <a:cubicBezTo>
                      <a:pt x="57155" y="40552"/>
                      <a:pt x="30686" y="23476"/>
                      <a:pt x="4099" y="12664"/>
                    </a:cubicBezTo>
                    <a:cubicBezTo>
                      <a:pt x="737" y="11297"/>
                      <a:pt x="-881" y="7465"/>
                      <a:pt x="485" y="4104"/>
                    </a:cubicBezTo>
                    <a:cubicBezTo>
                      <a:pt x="1850" y="737"/>
                      <a:pt x="5693" y="-887"/>
                      <a:pt x="9046" y="491"/>
                    </a:cubicBezTo>
                    <a:cubicBezTo>
                      <a:pt x="37033" y="11870"/>
                      <a:pt x="64781" y="29741"/>
                      <a:pt x="91525" y="53613"/>
                    </a:cubicBezTo>
                    <a:cubicBezTo>
                      <a:pt x="94231" y="56029"/>
                      <a:pt x="94467" y="60182"/>
                      <a:pt x="92051" y="62891"/>
                    </a:cubicBezTo>
                    <a:cubicBezTo>
                      <a:pt x="90752" y="64346"/>
                      <a:pt x="88953" y="65088"/>
                      <a:pt x="87145" y="65088"/>
                    </a:cubicBezTo>
                    <a:close/>
                  </a:path>
                </a:pathLst>
              </a:custGeom>
              <a:solidFill>
                <a:schemeClr val="tx2"/>
              </a:solidFill>
              <a:ln w="274" cap="flat">
                <a:noFill/>
                <a:prstDash val="solid"/>
                <a:miter/>
              </a:ln>
            </p:spPr>
            <p:txBody>
              <a:bodyPr rtlCol="0" anchor="ctr"/>
              <a:lstStyle/>
              <a:p>
                <a:endParaRPr lang="en-GB" dirty="0"/>
              </a:p>
            </p:txBody>
          </p:sp>
          <p:sp>
            <p:nvSpPr>
              <p:cNvPr id="724" name="Freihandform: Form 723">
                <a:extLst>
                  <a:ext uri="{FF2B5EF4-FFF2-40B4-BE49-F238E27FC236}">
                    <a16:creationId xmlns:a16="http://schemas.microsoft.com/office/drawing/2014/main" id="{A50A95ED-4E9B-4D17-BF9F-00E2A197F2E6}"/>
                  </a:ext>
                </a:extLst>
              </p:cNvPr>
              <p:cNvSpPr/>
              <p:nvPr/>
            </p:nvSpPr>
            <p:spPr>
              <a:xfrm>
                <a:off x="5378398" y="2796307"/>
                <a:ext cx="232645" cy="47378"/>
              </a:xfrm>
              <a:custGeom>
                <a:avLst/>
                <a:gdLst>
                  <a:gd name="connsiteX0" fmla="*/ 118413 w 232645"/>
                  <a:gd name="connsiteY0" fmla="*/ 47379 h 47378"/>
                  <a:gd name="connsiteX1" fmla="*/ 3129 w 232645"/>
                  <a:gd name="connsiteY1" fmla="*/ 12168 h 47378"/>
                  <a:gd name="connsiteX2" fmla="*/ 973 w 232645"/>
                  <a:gd name="connsiteY2" fmla="*/ 3129 h 47378"/>
                  <a:gd name="connsiteX3" fmla="*/ 10012 w 232645"/>
                  <a:gd name="connsiteY3" fmla="*/ 973 h 47378"/>
                  <a:gd name="connsiteX4" fmla="*/ 118413 w 232645"/>
                  <a:gd name="connsiteY4" fmla="*/ 34247 h 47378"/>
                  <a:gd name="connsiteX5" fmla="*/ 223204 w 232645"/>
                  <a:gd name="connsiteY5" fmla="*/ 7046 h 47378"/>
                  <a:gd name="connsiteX6" fmla="*/ 231983 w 232645"/>
                  <a:gd name="connsiteY6" fmla="*/ 10084 h 47378"/>
                  <a:gd name="connsiteX7" fmla="*/ 228945 w 232645"/>
                  <a:gd name="connsiteY7" fmla="*/ 18863 h 47378"/>
                  <a:gd name="connsiteX8" fmla="*/ 118413 w 232645"/>
                  <a:gd name="connsiteY8" fmla="*/ 47379 h 47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5" h="47378">
                    <a:moveTo>
                      <a:pt x="118413" y="47379"/>
                    </a:moveTo>
                    <a:cubicBezTo>
                      <a:pt x="79384" y="46453"/>
                      <a:pt x="38556" y="33943"/>
                      <a:pt x="3129" y="12168"/>
                    </a:cubicBezTo>
                    <a:cubicBezTo>
                      <a:pt x="39" y="10265"/>
                      <a:pt x="-925" y="6221"/>
                      <a:pt x="973" y="3129"/>
                    </a:cubicBezTo>
                    <a:cubicBezTo>
                      <a:pt x="2874" y="33"/>
                      <a:pt x="6917" y="-923"/>
                      <a:pt x="10012" y="973"/>
                    </a:cubicBezTo>
                    <a:cubicBezTo>
                      <a:pt x="43489" y="21556"/>
                      <a:pt x="81984" y="33370"/>
                      <a:pt x="118413" y="34247"/>
                    </a:cubicBezTo>
                    <a:cubicBezTo>
                      <a:pt x="152386" y="33422"/>
                      <a:pt x="187750" y="24270"/>
                      <a:pt x="223204" y="7046"/>
                    </a:cubicBezTo>
                    <a:cubicBezTo>
                      <a:pt x="226453" y="5468"/>
                      <a:pt x="230400" y="6816"/>
                      <a:pt x="231983" y="10084"/>
                    </a:cubicBezTo>
                    <a:cubicBezTo>
                      <a:pt x="233569" y="13346"/>
                      <a:pt x="232208" y="17280"/>
                      <a:pt x="228945" y="18863"/>
                    </a:cubicBezTo>
                    <a:cubicBezTo>
                      <a:pt x="191787" y="36918"/>
                      <a:pt x="154596" y="46513"/>
                      <a:pt x="118413" y="47379"/>
                    </a:cubicBezTo>
                    <a:close/>
                  </a:path>
                </a:pathLst>
              </a:custGeom>
              <a:solidFill>
                <a:schemeClr val="tx2"/>
              </a:solidFill>
              <a:ln w="274" cap="flat">
                <a:noFill/>
                <a:prstDash val="solid"/>
                <a:miter/>
              </a:ln>
            </p:spPr>
            <p:txBody>
              <a:bodyPr rtlCol="0" anchor="ctr"/>
              <a:lstStyle/>
              <a:p>
                <a:endParaRPr lang="en-GB" dirty="0"/>
              </a:p>
            </p:txBody>
          </p:sp>
          <p:sp>
            <p:nvSpPr>
              <p:cNvPr id="725" name="Freihandform: Form 724">
                <a:extLst>
                  <a:ext uri="{FF2B5EF4-FFF2-40B4-BE49-F238E27FC236}">
                    <a16:creationId xmlns:a16="http://schemas.microsoft.com/office/drawing/2014/main" id="{7DB8E0C8-D69D-4BE0-BFE4-2F10D7CDCBA2}"/>
                  </a:ext>
                </a:extLst>
              </p:cNvPr>
              <p:cNvSpPr/>
              <p:nvPr/>
            </p:nvSpPr>
            <p:spPr>
              <a:xfrm>
                <a:off x="5331788" y="2522794"/>
                <a:ext cx="103436" cy="67650"/>
              </a:xfrm>
              <a:custGeom>
                <a:avLst/>
                <a:gdLst>
                  <a:gd name="connsiteX0" fmla="*/ 6573 w 103436"/>
                  <a:gd name="connsiteY0" fmla="*/ 67650 h 67650"/>
                  <a:gd name="connsiteX1" fmla="*/ 1637 w 103436"/>
                  <a:gd name="connsiteY1" fmla="*/ 65418 h 67650"/>
                  <a:gd name="connsiteX2" fmla="*/ 2234 w 103436"/>
                  <a:gd name="connsiteY2" fmla="*/ 56146 h 67650"/>
                  <a:gd name="connsiteX3" fmla="*/ 94750 w 103436"/>
                  <a:gd name="connsiteY3" fmla="*/ 352 h 67650"/>
                  <a:gd name="connsiteX4" fmla="*/ 103086 w 103436"/>
                  <a:gd name="connsiteY4" fmla="*/ 4458 h 67650"/>
                  <a:gd name="connsiteX5" fmla="*/ 98979 w 103436"/>
                  <a:gd name="connsiteY5" fmla="*/ 12794 h 67650"/>
                  <a:gd name="connsiteX6" fmla="*/ 10909 w 103436"/>
                  <a:gd name="connsiteY6" fmla="*/ 66015 h 67650"/>
                  <a:gd name="connsiteX7" fmla="*/ 6573 w 103436"/>
                  <a:gd name="connsiteY7" fmla="*/ 67650 h 6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436" h="67650">
                    <a:moveTo>
                      <a:pt x="6573" y="67650"/>
                    </a:moveTo>
                    <a:cubicBezTo>
                      <a:pt x="4749" y="67650"/>
                      <a:pt x="2935" y="66897"/>
                      <a:pt x="1637" y="65418"/>
                    </a:cubicBezTo>
                    <a:cubicBezTo>
                      <a:pt x="-760" y="62695"/>
                      <a:pt x="-494" y="58542"/>
                      <a:pt x="2234" y="56146"/>
                    </a:cubicBezTo>
                    <a:cubicBezTo>
                      <a:pt x="32182" y="29813"/>
                      <a:pt x="63309" y="11044"/>
                      <a:pt x="94750" y="352"/>
                    </a:cubicBezTo>
                    <a:cubicBezTo>
                      <a:pt x="98185" y="-817"/>
                      <a:pt x="101913" y="1021"/>
                      <a:pt x="103086" y="4458"/>
                    </a:cubicBezTo>
                    <a:cubicBezTo>
                      <a:pt x="104253" y="7893"/>
                      <a:pt x="102414" y="11624"/>
                      <a:pt x="98979" y="12794"/>
                    </a:cubicBezTo>
                    <a:cubicBezTo>
                      <a:pt x="69182" y="22924"/>
                      <a:pt x="39554" y="40833"/>
                      <a:pt x="10909" y="66015"/>
                    </a:cubicBezTo>
                    <a:cubicBezTo>
                      <a:pt x="9660" y="67114"/>
                      <a:pt x="8113" y="67650"/>
                      <a:pt x="6573" y="67650"/>
                    </a:cubicBezTo>
                    <a:close/>
                  </a:path>
                </a:pathLst>
              </a:custGeom>
              <a:solidFill>
                <a:schemeClr val="tx2"/>
              </a:solidFill>
              <a:ln w="274" cap="flat">
                <a:noFill/>
                <a:prstDash val="solid"/>
                <a:miter/>
              </a:ln>
            </p:spPr>
            <p:txBody>
              <a:bodyPr rtlCol="0" anchor="ctr"/>
              <a:lstStyle/>
              <a:p>
                <a:endParaRPr lang="en-GB" dirty="0"/>
              </a:p>
            </p:txBody>
          </p:sp>
        </p:grpSp>
        <p:grpSp>
          <p:nvGrpSpPr>
            <p:cNvPr id="714" name="Gruppieren 713">
              <a:extLst>
                <a:ext uri="{FF2B5EF4-FFF2-40B4-BE49-F238E27FC236}">
                  <a16:creationId xmlns:a16="http://schemas.microsoft.com/office/drawing/2014/main" id="{87210733-CE1D-4A5D-951D-677CE226F7AB}"/>
                </a:ext>
              </a:extLst>
            </p:cNvPr>
            <p:cNvGrpSpPr/>
            <p:nvPr/>
          </p:nvGrpSpPr>
          <p:grpSpPr>
            <a:xfrm>
              <a:off x="4930217" y="2517622"/>
              <a:ext cx="423695" cy="336085"/>
              <a:chOff x="5287537" y="2573513"/>
              <a:chExt cx="314722" cy="249645"/>
            </a:xfrm>
          </p:grpSpPr>
          <p:grpSp>
            <p:nvGrpSpPr>
              <p:cNvPr id="715" name="Grafik 349">
                <a:extLst>
                  <a:ext uri="{FF2B5EF4-FFF2-40B4-BE49-F238E27FC236}">
                    <a16:creationId xmlns:a16="http://schemas.microsoft.com/office/drawing/2014/main" id="{D2436B17-6366-4F37-B13A-3A4491184BF6}"/>
                  </a:ext>
                </a:extLst>
              </p:cNvPr>
              <p:cNvGrpSpPr/>
              <p:nvPr/>
            </p:nvGrpSpPr>
            <p:grpSpPr>
              <a:xfrm>
                <a:off x="5392654" y="2573513"/>
                <a:ext cx="209605" cy="209586"/>
                <a:chOff x="5392654" y="2573513"/>
                <a:chExt cx="209605" cy="209586"/>
              </a:xfrm>
              <a:solidFill>
                <a:schemeClr val="accent1"/>
              </a:solidFill>
            </p:grpSpPr>
            <p:sp>
              <p:nvSpPr>
                <p:cNvPr id="720" name="Freihandform: Form 719">
                  <a:extLst>
                    <a:ext uri="{FF2B5EF4-FFF2-40B4-BE49-F238E27FC236}">
                      <a16:creationId xmlns:a16="http://schemas.microsoft.com/office/drawing/2014/main" id="{DE295CF6-24F2-4887-81EC-4E2DAB82E8DF}"/>
                    </a:ext>
                  </a:extLst>
                </p:cNvPr>
                <p:cNvSpPr/>
                <p:nvPr/>
              </p:nvSpPr>
              <p:spPr>
                <a:xfrm>
                  <a:off x="5491152" y="2573513"/>
                  <a:ext cx="111107" cy="181552"/>
                </a:xfrm>
                <a:custGeom>
                  <a:avLst/>
                  <a:gdLst>
                    <a:gd name="connsiteX0" fmla="*/ 73648 w 111107"/>
                    <a:gd name="connsiteY0" fmla="*/ 181553 h 181552"/>
                    <a:gd name="connsiteX1" fmla="*/ 69213 w 111107"/>
                    <a:gd name="connsiteY1" fmla="*/ 179846 h 181552"/>
                    <a:gd name="connsiteX2" fmla="*/ 1931 w 111107"/>
                    <a:gd name="connsiteY2" fmla="*/ 112562 h 181552"/>
                    <a:gd name="connsiteX3" fmla="*/ 5 w 111107"/>
                    <a:gd name="connsiteY3" fmla="*/ 107927 h 181552"/>
                    <a:gd name="connsiteX4" fmla="*/ 0 w 111107"/>
                    <a:gd name="connsiteY4" fmla="*/ 6569 h 181552"/>
                    <a:gd name="connsiteX5" fmla="*/ 6569 w 111107"/>
                    <a:gd name="connsiteY5" fmla="*/ 0 h 181552"/>
                    <a:gd name="connsiteX6" fmla="*/ 6599 w 111107"/>
                    <a:gd name="connsiteY6" fmla="*/ 0 h 181552"/>
                    <a:gd name="connsiteX7" fmla="*/ 111107 w 111107"/>
                    <a:gd name="connsiteY7" fmla="*/ 104210 h 181552"/>
                    <a:gd name="connsiteX8" fmla="*/ 79469 w 111107"/>
                    <a:gd name="connsiteY8" fmla="*/ 179003 h 181552"/>
                    <a:gd name="connsiteX9" fmla="*/ 78606 w 111107"/>
                    <a:gd name="connsiteY9" fmla="*/ 179778 h 181552"/>
                    <a:gd name="connsiteX10" fmla="*/ 73648 w 111107"/>
                    <a:gd name="connsiteY10" fmla="*/ 181553 h 181552"/>
                    <a:gd name="connsiteX11" fmla="*/ 13140 w 111107"/>
                    <a:gd name="connsiteY11" fmla="*/ 105190 h 181552"/>
                    <a:gd name="connsiteX12" fmla="*/ 73856 w 111107"/>
                    <a:gd name="connsiteY12" fmla="*/ 165906 h 181552"/>
                    <a:gd name="connsiteX13" fmla="*/ 97967 w 111107"/>
                    <a:gd name="connsiteY13" fmla="*/ 104210 h 181552"/>
                    <a:gd name="connsiteX14" fmla="*/ 13140 w 111107"/>
                    <a:gd name="connsiteY14" fmla="*/ 13335 h 181552"/>
                    <a:gd name="connsiteX15" fmla="*/ 13140 w 111107"/>
                    <a:gd name="connsiteY15" fmla="*/ 105190 h 18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107" h="181552">
                      <a:moveTo>
                        <a:pt x="73648" y="181553"/>
                      </a:moveTo>
                      <a:cubicBezTo>
                        <a:pt x="71996" y="181553"/>
                        <a:pt x="70380" y="181011"/>
                        <a:pt x="69213" y="179846"/>
                      </a:cubicBezTo>
                      <a:lnTo>
                        <a:pt x="1931" y="112562"/>
                      </a:lnTo>
                      <a:cubicBezTo>
                        <a:pt x="701" y="111332"/>
                        <a:pt x="8" y="109664"/>
                        <a:pt x="5" y="107927"/>
                      </a:cubicBezTo>
                      <a:lnTo>
                        <a:pt x="0" y="6569"/>
                      </a:lnTo>
                      <a:cubicBezTo>
                        <a:pt x="0" y="2939"/>
                        <a:pt x="2942" y="0"/>
                        <a:pt x="6569" y="0"/>
                      </a:cubicBezTo>
                      <a:cubicBezTo>
                        <a:pt x="6574" y="0"/>
                        <a:pt x="6591" y="0"/>
                        <a:pt x="6599" y="0"/>
                      </a:cubicBezTo>
                      <a:cubicBezTo>
                        <a:pt x="64375" y="0"/>
                        <a:pt x="111107" y="46748"/>
                        <a:pt x="111107" y="104210"/>
                      </a:cubicBezTo>
                      <a:cubicBezTo>
                        <a:pt x="111107" y="132635"/>
                        <a:pt x="99874" y="159198"/>
                        <a:pt x="79469" y="179003"/>
                      </a:cubicBezTo>
                      <a:cubicBezTo>
                        <a:pt x="79192" y="179271"/>
                        <a:pt x="78902" y="179526"/>
                        <a:pt x="78606" y="179778"/>
                      </a:cubicBezTo>
                      <a:cubicBezTo>
                        <a:pt x="77253" y="180926"/>
                        <a:pt x="75428" y="181553"/>
                        <a:pt x="73648" y="181553"/>
                      </a:cubicBezTo>
                      <a:close/>
                      <a:moveTo>
                        <a:pt x="13140" y="105190"/>
                      </a:moveTo>
                      <a:lnTo>
                        <a:pt x="73856" y="165906"/>
                      </a:lnTo>
                      <a:cubicBezTo>
                        <a:pt x="89508" y="148920"/>
                        <a:pt x="97967" y="127266"/>
                        <a:pt x="97967" y="104210"/>
                      </a:cubicBezTo>
                      <a:cubicBezTo>
                        <a:pt x="97967" y="56086"/>
                        <a:pt x="60458" y="16556"/>
                        <a:pt x="13140" y="13335"/>
                      </a:cubicBezTo>
                      <a:lnTo>
                        <a:pt x="13140" y="105190"/>
                      </a:lnTo>
                      <a:close/>
                    </a:path>
                  </a:pathLst>
                </a:custGeom>
                <a:solidFill>
                  <a:schemeClr val="accent1"/>
                </a:solidFill>
                <a:ln w="274" cap="flat">
                  <a:noFill/>
                  <a:prstDash val="solid"/>
                  <a:miter/>
                </a:ln>
              </p:spPr>
              <p:txBody>
                <a:bodyPr rtlCol="0" anchor="ctr"/>
                <a:lstStyle/>
                <a:p>
                  <a:endParaRPr lang="en-GB" dirty="0"/>
                </a:p>
              </p:txBody>
            </p:sp>
            <p:sp>
              <p:nvSpPr>
                <p:cNvPr id="721" name="Freihandform: Form 720">
                  <a:extLst>
                    <a:ext uri="{FF2B5EF4-FFF2-40B4-BE49-F238E27FC236}">
                      <a16:creationId xmlns:a16="http://schemas.microsoft.com/office/drawing/2014/main" id="{258BAC94-8F39-4F07-BF4E-E3DA3382A96C}"/>
                    </a:ext>
                  </a:extLst>
                </p:cNvPr>
                <p:cNvSpPr/>
                <p:nvPr/>
              </p:nvSpPr>
              <p:spPr>
                <a:xfrm>
                  <a:off x="5392654" y="2577516"/>
                  <a:ext cx="155313" cy="205583"/>
                </a:xfrm>
                <a:custGeom>
                  <a:avLst/>
                  <a:gdLst>
                    <a:gd name="connsiteX0" fmla="*/ 104801 w 155313"/>
                    <a:gd name="connsiteY0" fmla="*/ 205583 h 205583"/>
                    <a:gd name="connsiteX1" fmla="*/ 0 w 155313"/>
                    <a:gd name="connsiteY1" fmla="*/ 100782 h 205583"/>
                    <a:gd name="connsiteX2" fmla="*/ 75023 w 155313"/>
                    <a:gd name="connsiteY2" fmla="*/ 270 h 205583"/>
                    <a:gd name="connsiteX3" fmla="*/ 83189 w 155313"/>
                    <a:gd name="connsiteY3" fmla="*/ 4708 h 205583"/>
                    <a:gd name="connsiteX4" fmla="*/ 78751 w 155313"/>
                    <a:gd name="connsiteY4" fmla="*/ 12873 h 205583"/>
                    <a:gd name="connsiteX5" fmla="*/ 13140 w 155313"/>
                    <a:gd name="connsiteY5" fmla="*/ 100784 h 205583"/>
                    <a:gd name="connsiteX6" fmla="*/ 104801 w 155313"/>
                    <a:gd name="connsiteY6" fmla="*/ 192446 h 205583"/>
                    <a:gd name="connsiteX7" fmla="*/ 145800 w 155313"/>
                    <a:gd name="connsiteY7" fmla="*/ 182790 h 205583"/>
                    <a:gd name="connsiteX8" fmla="*/ 154615 w 155313"/>
                    <a:gd name="connsiteY8" fmla="*/ 185721 h 205583"/>
                    <a:gd name="connsiteX9" fmla="*/ 151684 w 155313"/>
                    <a:gd name="connsiteY9" fmla="*/ 194536 h 205583"/>
                    <a:gd name="connsiteX10" fmla="*/ 104801 w 155313"/>
                    <a:gd name="connsiteY10" fmla="*/ 205583 h 20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313" h="205583">
                      <a:moveTo>
                        <a:pt x="104801" y="205583"/>
                      </a:moveTo>
                      <a:cubicBezTo>
                        <a:pt x="47014" y="205583"/>
                        <a:pt x="0" y="158569"/>
                        <a:pt x="0" y="100782"/>
                      </a:cubicBezTo>
                      <a:cubicBezTo>
                        <a:pt x="0" y="54672"/>
                        <a:pt x="30852" y="13339"/>
                        <a:pt x="75023" y="270"/>
                      </a:cubicBezTo>
                      <a:cubicBezTo>
                        <a:pt x="78513" y="-755"/>
                        <a:pt x="82159" y="1226"/>
                        <a:pt x="83189" y="4708"/>
                      </a:cubicBezTo>
                      <a:cubicBezTo>
                        <a:pt x="84219" y="8189"/>
                        <a:pt x="82233" y="11843"/>
                        <a:pt x="78751" y="12873"/>
                      </a:cubicBezTo>
                      <a:cubicBezTo>
                        <a:pt x="40119" y="24301"/>
                        <a:pt x="13140" y="60452"/>
                        <a:pt x="13140" y="100784"/>
                      </a:cubicBezTo>
                      <a:cubicBezTo>
                        <a:pt x="13140" y="151327"/>
                        <a:pt x="54257" y="192446"/>
                        <a:pt x="104801" y="192446"/>
                      </a:cubicBezTo>
                      <a:cubicBezTo>
                        <a:pt x="119218" y="192446"/>
                        <a:pt x="133013" y="189197"/>
                        <a:pt x="145800" y="182790"/>
                      </a:cubicBezTo>
                      <a:cubicBezTo>
                        <a:pt x="149038" y="181146"/>
                        <a:pt x="152988" y="182475"/>
                        <a:pt x="154615" y="185721"/>
                      </a:cubicBezTo>
                      <a:cubicBezTo>
                        <a:pt x="156242" y="188964"/>
                        <a:pt x="154930" y="192911"/>
                        <a:pt x="151684" y="194536"/>
                      </a:cubicBezTo>
                      <a:cubicBezTo>
                        <a:pt x="137056" y="201863"/>
                        <a:pt x="121281" y="205583"/>
                        <a:pt x="104801" y="205583"/>
                      </a:cubicBezTo>
                      <a:close/>
                    </a:path>
                  </a:pathLst>
                </a:custGeom>
                <a:solidFill>
                  <a:schemeClr val="accent1"/>
                </a:solidFill>
                <a:ln w="274" cap="flat">
                  <a:noFill/>
                  <a:prstDash val="solid"/>
                  <a:miter/>
                </a:ln>
              </p:spPr>
              <p:txBody>
                <a:bodyPr rtlCol="0" anchor="ctr"/>
                <a:lstStyle/>
                <a:p>
                  <a:endParaRPr lang="en-GB" dirty="0"/>
                </a:p>
              </p:txBody>
            </p:sp>
          </p:grpSp>
          <p:grpSp>
            <p:nvGrpSpPr>
              <p:cNvPr id="716" name="Grafik 349">
                <a:extLst>
                  <a:ext uri="{FF2B5EF4-FFF2-40B4-BE49-F238E27FC236}">
                    <a16:creationId xmlns:a16="http://schemas.microsoft.com/office/drawing/2014/main" id="{1FBDF377-5131-494A-ABBA-20CBBCCA3D2F}"/>
                  </a:ext>
                </a:extLst>
              </p:cNvPr>
              <p:cNvGrpSpPr/>
              <p:nvPr/>
            </p:nvGrpSpPr>
            <p:grpSpPr>
              <a:xfrm>
                <a:off x="5287537" y="2675548"/>
                <a:ext cx="217222" cy="147610"/>
                <a:chOff x="5287537" y="2675548"/>
                <a:chExt cx="217222" cy="147610"/>
              </a:xfrm>
              <a:solidFill>
                <a:schemeClr val="accent1"/>
              </a:solidFill>
            </p:grpSpPr>
            <p:sp>
              <p:nvSpPr>
                <p:cNvPr id="717" name="Freihandform: Form 716">
                  <a:extLst>
                    <a:ext uri="{FF2B5EF4-FFF2-40B4-BE49-F238E27FC236}">
                      <a16:creationId xmlns:a16="http://schemas.microsoft.com/office/drawing/2014/main" id="{295E9519-9D94-4811-B6E2-B635744CDB0F}"/>
                    </a:ext>
                  </a:extLst>
                </p:cNvPr>
                <p:cNvSpPr/>
                <p:nvPr/>
              </p:nvSpPr>
              <p:spPr>
                <a:xfrm>
                  <a:off x="5287537" y="2739930"/>
                  <a:ext cx="77464" cy="49626"/>
                </a:xfrm>
                <a:custGeom>
                  <a:avLst/>
                  <a:gdLst>
                    <a:gd name="connsiteX0" fmla="*/ 35950 w 77464"/>
                    <a:gd name="connsiteY0" fmla="*/ 49626 h 49626"/>
                    <a:gd name="connsiteX1" fmla="*/ 32762 w 77464"/>
                    <a:gd name="connsiteY1" fmla="*/ 48802 h 49626"/>
                    <a:gd name="connsiteX2" fmla="*/ 3380 w 77464"/>
                    <a:gd name="connsiteY2" fmla="*/ 32489 h 49626"/>
                    <a:gd name="connsiteX3" fmla="*/ 0 w 77464"/>
                    <a:gd name="connsiteY3" fmla="*/ 26797 h 49626"/>
                    <a:gd name="connsiteX4" fmla="*/ 3285 w 77464"/>
                    <a:gd name="connsiteY4" fmla="*/ 21050 h 49626"/>
                    <a:gd name="connsiteX5" fmla="*/ 38224 w 77464"/>
                    <a:gd name="connsiteY5" fmla="*/ 878 h 49626"/>
                    <a:gd name="connsiteX6" fmla="*/ 44697 w 77464"/>
                    <a:gd name="connsiteY6" fmla="*/ 823 h 49626"/>
                    <a:gd name="connsiteX7" fmla="*/ 74084 w 77464"/>
                    <a:gd name="connsiteY7" fmla="*/ 17136 h 49626"/>
                    <a:gd name="connsiteX8" fmla="*/ 77464 w 77464"/>
                    <a:gd name="connsiteY8" fmla="*/ 22828 h 49626"/>
                    <a:gd name="connsiteX9" fmla="*/ 74179 w 77464"/>
                    <a:gd name="connsiteY9" fmla="*/ 28575 h 49626"/>
                    <a:gd name="connsiteX10" fmla="*/ 39237 w 77464"/>
                    <a:gd name="connsiteY10" fmla="*/ 48747 h 49626"/>
                    <a:gd name="connsiteX11" fmla="*/ 35950 w 77464"/>
                    <a:gd name="connsiteY11" fmla="*/ 49626 h 49626"/>
                    <a:gd name="connsiteX12" fmla="*/ 19898 w 77464"/>
                    <a:gd name="connsiteY12" fmla="*/ 26633 h 49626"/>
                    <a:gd name="connsiteX13" fmla="*/ 35885 w 77464"/>
                    <a:gd name="connsiteY13" fmla="*/ 35511 h 49626"/>
                    <a:gd name="connsiteX14" fmla="*/ 57555 w 77464"/>
                    <a:gd name="connsiteY14" fmla="*/ 23001 h 49626"/>
                    <a:gd name="connsiteX15" fmla="*/ 41569 w 77464"/>
                    <a:gd name="connsiteY15" fmla="*/ 14123 h 49626"/>
                    <a:gd name="connsiteX16" fmla="*/ 19898 w 77464"/>
                    <a:gd name="connsiteY16" fmla="*/ 26633 h 4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464" h="49626">
                      <a:moveTo>
                        <a:pt x="35950" y="49626"/>
                      </a:moveTo>
                      <a:cubicBezTo>
                        <a:pt x="34852" y="49626"/>
                        <a:pt x="33753" y="49349"/>
                        <a:pt x="32762" y="48802"/>
                      </a:cubicBezTo>
                      <a:lnTo>
                        <a:pt x="3380" y="32489"/>
                      </a:lnTo>
                      <a:cubicBezTo>
                        <a:pt x="1312" y="31339"/>
                        <a:pt x="19" y="29167"/>
                        <a:pt x="0" y="26797"/>
                      </a:cubicBezTo>
                      <a:cubicBezTo>
                        <a:pt x="-19" y="24430"/>
                        <a:pt x="1236" y="22236"/>
                        <a:pt x="3285" y="21050"/>
                      </a:cubicBezTo>
                      <a:lnTo>
                        <a:pt x="38224" y="878"/>
                      </a:lnTo>
                      <a:cubicBezTo>
                        <a:pt x="40224" y="-270"/>
                        <a:pt x="42681" y="-297"/>
                        <a:pt x="44697" y="823"/>
                      </a:cubicBezTo>
                      <a:lnTo>
                        <a:pt x="74084" y="17136"/>
                      </a:lnTo>
                      <a:cubicBezTo>
                        <a:pt x="76152" y="18286"/>
                        <a:pt x="77445" y="20459"/>
                        <a:pt x="77464" y="22828"/>
                      </a:cubicBezTo>
                      <a:cubicBezTo>
                        <a:pt x="77483" y="25197"/>
                        <a:pt x="76228" y="27389"/>
                        <a:pt x="74179" y="28575"/>
                      </a:cubicBezTo>
                      <a:lnTo>
                        <a:pt x="39237" y="48747"/>
                      </a:lnTo>
                      <a:cubicBezTo>
                        <a:pt x="38218" y="49330"/>
                        <a:pt x="37084" y="49626"/>
                        <a:pt x="35950" y="49626"/>
                      </a:cubicBezTo>
                      <a:close/>
                      <a:moveTo>
                        <a:pt x="19898" y="26633"/>
                      </a:moveTo>
                      <a:lnTo>
                        <a:pt x="35885" y="35511"/>
                      </a:lnTo>
                      <a:lnTo>
                        <a:pt x="57555" y="23001"/>
                      </a:lnTo>
                      <a:lnTo>
                        <a:pt x="41569" y="14123"/>
                      </a:lnTo>
                      <a:lnTo>
                        <a:pt x="19898" y="26633"/>
                      </a:lnTo>
                      <a:close/>
                    </a:path>
                  </a:pathLst>
                </a:custGeom>
                <a:solidFill>
                  <a:schemeClr val="accent1"/>
                </a:solidFill>
                <a:ln w="274" cap="flat">
                  <a:noFill/>
                  <a:prstDash val="solid"/>
                  <a:miter/>
                </a:ln>
              </p:spPr>
              <p:txBody>
                <a:bodyPr rtlCol="0" anchor="ctr"/>
                <a:lstStyle/>
                <a:p>
                  <a:endParaRPr lang="en-GB" dirty="0"/>
                </a:p>
              </p:txBody>
            </p:sp>
            <p:sp>
              <p:nvSpPr>
                <p:cNvPr id="718" name="Freihandform: Form 717">
                  <a:extLst>
                    <a:ext uri="{FF2B5EF4-FFF2-40B4-BE49-F238E27FC236}">
                      <a16:creationId xmlns:a16="http://schemas.microsoft.com/office/drawing/2014/main" id="{A73CA66B-8C57-4147-93A2-4550E76229E4}"/>
                    </a:ext>
                  </a:extLst>
                </p:cNvPr>
                <p:cNvSpPr/>
                <p:nvPr/>
              </p:nvSpPr>
              <p:spPr>
                <a:xfrm>
                  <a:off x="5316348" y="2756242"/>
                  <a:ext cx="48648" cy="66916"/>
                </a:xfrm>
                <a:custGeom>
                  <a:avLst/>
                  <a:gdLst>
                    <a:gd name="connsiteX0" fmla="*/ 6572 w 48648"/>
                    <a:gd name="connsiteY0" fmla="*/ 66916 h 66916"/>
                    <a:gd name="connsiteX1" fmla="*/ 3239 w 48648"/>
                    <a:gd name="connsiteY1" fmla="*/ 66009 h 66916"/>
                    <a:gd name="connsiteX2" fmla="*/ 1 w 48648"/>
                    <a:gd name="connsiteY2" fmla="*/ 60238 h 66916"/>
                    <a:gd name="connsiteX3" fmla="*/ 565 w 48648"/>
                    <a:gd name="connsiteY3" fmla="*/ 26635 h 66916"/>
                    <a:gd name="connsiteX4" fmla="*/ 3850 w 48648"/>
                    <a:gd name="connsiteY4" fmla="*/ 21053 h 66916"/>
                    <a:gd name="connsiteX5" fmla="*/ 38792 w 48648"/>
                    <a:gd name="connsiteY5" fmla="*/ 881 h 66916"/>
                    <a:gd name="connsiteX6" fmla="*/ 45410 w 48648"/>
                    <a:gd name="connsiteY6" fmla="*/ 911 h 66916"/>
                    <a:gd name="connsiteX7" fmla="*/ 48647 w 48648"/>
                    <a:gd name="connsiteY7" fmla="*/ 6685 h 66916"/>
                    <a:gd name="connsiteX8" fmla="*/ 48080 w 48648"/>
                    <a:gd name="connsiteY8" fmla="*/ 40288 h 66916"/>
                    <a:gd name="connsiteX9" fmla="*/ 44796 w 48648"/>
                    <a:gd name="connsiteY9" fmla="*/ 45868 h 66916"/>
                    <a:gd name="connsiteX10" fmla="*/ 9857 w 48648"/>
                    <a:gd name="connsiteY10" fmla="*/ 66040 h 66916"/>
                    <a:gd name="connsiteX11" fmla="*/ 6572 w 48648"/>
                    <a:gd name="connsiteY11" fmla="*/ 66916 h 66916"/>
                    <a:gd name="connsiteX12" fmla="*/ 13645 w 48648"/>
                    <a:gd name="connsiteY12" fmla="*/ 30574 h 66916"/>
                    <a:gd name="connsiteX13" fmla="*/ 13338 w 48648"/>
                    <a:gd name="connsiteY13" fmla="*/ 48853 h 66916"/>
                    <a:gd name="connsiteX14" fmla="*/ 35009 w 48648"/>
                    <a:gd name="connsiteY14" fmla="*/ 36343 h 66916"/>
                    <a:gd name="connsiteX15" fmla="*/ 35315 w 48648"/>
                    <a:gd name="connsiteY15" fmla="*/ 18064 h 66916"/>
                    <a:gd name="connsiteX16" fmla="*/ 13645 w 48648"/>
                    <a:gd name="connsiteY16" fmla="*/ 30574 h 6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648" h="66916">
                      <a:moveTo>
                        <a:pt x="6572" y="66916"/>
                      </a:moveTo>
                      <a:cubicBezTo>
                        <a:pt x="5422" y="66916"/>
                        <a:pt x="4269" y="66615"/>
                        <a:pt x="3239" y="66009"/>
                      </a:cubicBezTo>
                      <a:cubicBezTo>
                        <a:pt x="1198" y="64810"/>
                        <a:pt x="-37" y="62602"/>
                        <a:pt x="1" y="60238"/>
                      </a:cubicBezTo>
                      <a:lnTo>
                        <a:pt x="565" y="26635"/>
                      </a:lnTo>
                      <a:cubicBezTo>
                        <a:pt x="604" y="24326"/>
                        <a:pt x="1853" y="22209"/>
                        <a:pt x="3850" y="21053"/>
                      </a:cubicBezTo>
                      <a:lnTo>
                        <a:pt x="38792" y="881"/>
                      </a:lnTo>
                      <a:cubicBezTo>
                        <a:pt x="40841" y="-303"/>
                        <a:pt x="43366" y="-294"/>
                        <a:pt x="45410" y="911"/>
                      </a:cubicBezTo>
                      <a:cubicBezTo>
                        <a:pt x="47450" y="2111"/>
                        <a:pt x="48686" y="4319"/>
                        <a:pt x="48647" y="6685"/>
                      </a:cubicBezTo>
                      <a:lnTo>
                        <a:pt x="48080" y="40288"/>
                      </a:lnTo>
                      <a:cubicBezTo>
                        <a:pt x="48042" y="42594"/>
                        <a:pt x="46793" y="44712"/>
                        <a:pt x="44796" y="45868"/>
                      </a:cubicBezTo>
                      <a:lnTo>
                        <a:pt x="9857" y="66040"/>
                      </a:lnTo>
                      <a:cubicBezTo>
                        <a:pt x="8840" y="66623"/>
                        <a:pt x="7709" y="66916"/>
                        <a:pt x="6572" y="66916"/>
                      </a:cubicBezTo>
                      <a:close/>
                      <a:moveTo>
                        <a:pt x="13645" y="30574"/>
                      </a:moveTo>
                      <a:lnTo>
                        <a:pt x="13338" y="48853"/>
                      </a:lnTo>
                      <a:lnTo>
                        <a:pt x="35009" y="36343"/>
                      </a:lnTo>
                      <a:lnTo>
                        <a:pt x="35315" y="18064"/>
                      </a:lnTo>
                      <a:lnTo>
                        <a:pt x="13645" y="30574"/>
                      </a:lnTo>
                      <a:close/>
                    </a:path>
                  </a:pathLst>
                </a:custGeom>
                <a:solidFill>
                  <a:schemeClr val="accent1"/>
                </a:solidFill>
                <a:ln w="274" cap="flat">
                  <a:noFill/>
                  <a:prstDash val="solid"/>
                  <a:miter/>
                </a:ln>
              </p:spPr>
              <p:txBody>
                <a:bodyPr rtlCol="0" anchor="ctr"/>
                <a:lstStyle/>
                <a:p>
                  <a:endParaRPr lang="en-GB" dirty="0"/>
                </a:p>
              </p:txBody>
            </p:sp>
            <p:sp>
              <p:nvSpPr>
                <p:cNvPr id="719" name="Freihandform: Form 718">
                  <a:extLst>
                    <a:ext uri="{FF2B5EF4-FFF2-40B4-BE49-F238E27FC236}">
                      <a16:creationId xmlns:a16="http://schemas.microsoft.com/office/drawing/2014/main" id="{20D16F0A-39B7-4CA4-998B-9CBF8F124D66}"/>
                    </a:ext>
                  </a:extLst>
                </p:cNvPr>
                <p:cNvSpPr/>
                <p:nvPr/>
              </p:nvSpPr>
              <p:spPr>
                <a:xfrm>
                  <a:off x="5301939" y="2675548"/>
                  <a:ext cx="202820" cy="122652"/>
                </a:xfrm>
                <a:custGeom>
                  <a:avLst/>
                  <a:gdLst>
                    <a:gd name="connsiteX0" fmla="*/ 6578 w 202820"/>
                    <a:gd name="connsiteY0" fmla="*/ 122653 h 122652"/>
                    <a:gd name="connsiteX1" fmla="*/ 881 w 202820"/>
                    <a:gd name="connsiteY1" fmla="*/ 119368 h 122652"/>
                    <a:gd name="connsiteX2" fmla="*/ 3286 w 202820"/>
                    <a:gd name="connsiteY2" fmla="*/ 110392 h 122652"/>
                    <a:gd name="connsiteX3" fmla="*/ 192963 w 202820"/>
                    <a:gd name="connsiteY3" fmla="*/ 881 h 122652"/>
                    <a:gd name="connsiteX4" fmla="*/ 201940 w 202820"/>
                    <a:gd name="connsiteY4" fmla="*/ 3286 h 122652"/>
                    <a:gd name="connsiteX5" fmla="*/ 199535 w 202820"/>
                    <a:gd name="connsiteY5" fmla="*/ 12263 h 122652"/>
                    <a:gd name="connsiteX6" fmla="*/ 9857 w 202820"/>
                    <a:gd name="connsiteY6" fmla="*/ 121773 h 122652"/>
                    <a:gd name="connsiteX7" fmla="*/ 6578 w 202820"/>
                    <a:gd name="connsiteY7" fmla="*/ 122653 h 122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820" h="122652">
                      <a:moveTo>
                        <a:pt x="6578" y="122653"/>
                      </a:moveTo>
                      <a:cubicBezTo>
                        <a:pt x="4308" y="122653"/>
                        <a:pt x="2100" y="121475"/>
                        <a:pt x="881" y="119368"/>
                      </a:cubicBezTo>
                      <a:cubicBezTo>
                        <a:pt x="-933" y="116224"/>
                        <a:pt x="144" y="112208"/>
                        <a:pt x="3286" y="110392"/>
                      </a:cubicBezTo>
                      <a:lnTo>
                        <a:pt x="192963" y="881"/>
                      </a:lnTo>
                      <a:cubicBezTo>
                        <a:pt x="196105" y="-935"/>
                        <a:pt x="200124" y="147"/>
                        <a:pt x="201940" y="3286"/>
                      </a:cubicBezTo>
                      <a:cubicBezTo>
                        <a:pt x="203753" y="6431"/>
                        <a:pt x="202677" y="10447"/>
                        <a:pt x="199535" y="12263"/>
                      </a:cubicBezTo>
                      <a:lnTo>
                        <a:pt x="9857" y="121773"/>
                      </a:lnTo>
                      <a:cubicBezTo>
                        <a:pt x="8825" y="122370"/>
                        <a:pt x="7691" y="122653"/>
                        <a:pt x="6578" y="122653"/>
                      </a:cubicBezTo>
                      <a:close/>
                    </a:path>
                  </a:pathLst>
                </a:custGeom>
                <a:solidFill>
                  <a:schemeClr val="accent1"/>
                </a:solidFill>
                <a:ln w="274" cap="flat">
                  <a:noFill/>
                  <a:prstDash val="solid"/>
                  <a:miter/>
                </a:ln>
              </p:spPr>
              <p:txBody>
                <a:bodyPr rtlCol="0" anchor="ctr"/>
                <a:lstStyle/>
                <a:p>
                  <a:endParaRPr lang="en-GB" dirty="0"/>
                </a:p>
              </p:txBody>
            </p:sp>
          </p:grpSp>
        </p:grpSp>
      </p:grpSp>
      <p:sp>
        <p:nvSpPr>
          <p:cNvPr id="726" name="TextBox 1417">
            <a:extLst>
              <a:ext uri="{FF2B5EF4-FFF2-40B4-BE49-F238E27FC236}">
                <a16:creationId xmlns:a16="http://schemas.microsoft.com/office/drawing/2014/main" id="{C12C1D4A-F0B0-4AE0-ACAD-46D4072DE3D2}"/>
              </a:ext>
            </a:extLst>
          </p:cNvPr>
          <p:cNvSpPr txBox="1"/>
          <p:nvPr/>
        </p:nvSpPr>
        <p:spPr>
          <a:xfrm>
            <a:off x="5092242" y="2899619"/>
            <a:ext cx="242053" cy="107722"/>
          </a:xfrm>
          <a:prstGeom prst="rect">
            <a:avLst/>
          </a:prstGeom>
          <a:noFill/>
          <a:effectLst/>
        </p:spPr>
        <p:txBody>
          <a:bodyPr wrap="none" lIns="0" tIns="0" rIns="0" bIns="0" rtlCol="0" anchor="t">
            <a:spAutoFit/>
          </a:bodyPr>
          <a:lstStyle/>
          <a:p>
            <a:pPr algn="ctr"/>
            <a:r>
              <a:rPr lang="en-GB" sz="700" dirty="0">
                <a:solidFill>
                  <a:schemeClr val="tx2"/>
                </a:solidFill>
              </a:rPr>
              <a:t>Vision</a:t>
            </a:r>
          </a:p>
        </p:txBody>
      </p:sp>
      <p:grpSp>
        <p:nvGrpSpPr>
          <p:cNvPr id="58" name="Group 57">
            <a:extLst>
              <a:ext uri="{FF2B5EF4-FFF2-40B4-BE49-F238E27FC236}">
                <a16:creationId xmlns:a16="http://schemas.microsoft.com/office/drawing/2014/main" id="{3EBBA1DA-C3BB-4B03-0F04-753327A9F9AC}"/>
              </a:ext>
            </a:extLst>
          </p:cNvPr>
          <p:cNvGrpSpPr/>
          <p:nvPr/>
        </p:nvGrpSpPr>
        <p:grpSpPr>
          <a:xfrm>
            <a:off x="4997271" y="4097454"/>
            <a:ext cx="431994" cy="432000"/>
            <a:chOff x="4996859" y="4097454"/>
            <a:chExt cx="431994" cy="432000"/>
          </a:xfrm>
        </p:grpSpPr>
        <p:grpSp>
          <p:nvGrpSpPr>
            <p:cNvPr id="728" name="Grafik 349">
              <a:extLst>
                <a:ext uri="{FF2B5EF4-FFF2-40B4-BE49-F238E27FC236}">
                  <a16:creationId xmlns:a16="http://schemas.microsoft.com/office/drawing/2014/main" id="{2AACBF87-5E36-45A3-96B5-7A78FADFFAA2}"/>
                </a:ext>
              </a:extLst>
            </p:cNvPr>
            <p:cNvGrpSpPr/>
            <p:nvPr/>
          </p:nvGrpSpPr>
          <p:grpSpPr>
            <a:xfrm>
              <a:off x="4996859" y="4097454"/>
              <a:ext cx="431994" cy="432000"/>
              <a:chOff x="5279733" y="4094694"/>
              <a:chExt cx="433622" cy="433628"/>
            </a:xfrm>
            <a:solidFill>
              <a:schemeClr val="tx2"/>
            </a:solidFill>
          </p:grpSpPr>
          <p:sp>
            <p:nvSpPr>
              <p:cNvPr id="740" name="Freihandform: Form 739">
                <a:extLst>
                  <a:ext uri="{FF2B5EF4-FFF2-40B4-BE49-F238E27FC236}">
                    <a16:creationId xmlns:a16="http://schemas.microsoft.com/office/drawing/2014/main" id="{38DE7B85-EB16-457D-A55B-9A600F8403EA}"/>
                  </a:ext>
                </a:extLst>
              </p:cNvPr>
              <p:cNvSpPr/>
              <p:nvPr/>
            </p:nvSpPr>
            <p:spPr>
              <a:xfrm>
                <a:off x="5279733" y="4094694"/>
                <a:ext cx="433622" cy="433628"/>
              </a:xfrm>
              <a:custGeom>
                <a:avLst/>
                <a:gdLst>
                  <a:gd name="connsiteX0" fmla="*/ 375953 w 433622"/>
                  <a:gd name="connsiteY0" fmla="*/ 433628 h 433628"/>
                  <a:gd name="connsiteX1" fmla="*/ 59130 w 433622"/>
                  <a:gd name="connsiteY1" fmla="*/ 433628 h 433628"/>
                  <a:gd name="connsiteX2" fmla="*/ 0 w 433622"/>
                  <a:gd name="connsiteY2" fmla="*/ 373830 h 433628"/>
                  <a:gd name="connsiteX3" fmla="*/ 0 w 433622"/>
                  <a:gd name="connsiteY3" fmla="*/ 39421 h 433628"/>
                  <a:gd name="connsiteX4" fmla="*/ 39421 w 433622"/>
                  <a:gd name="connsiteY4" fmla="*/ 0 h 433628"/>
                  <a:gd name="connsiteX5" fmla="*/ 289085 w 433622"/>
                  <a:gd name="connsiteY5" fmla="*/ 0 h 433628"/>
                  <a:gd name="connsiteX6" fmla="*/ 328506 w 433622"/>
                  <a:gd name="connsiteY6" fmla="*/ 39421 h 433628"/>
                  <a:gd name="connsiteX7" fmla="*/ 328506 w 433622"/>
                  <a:gd name="connsiteY7" fmla="*/ 373830 h 433628"/>
                  <a:gd name="connsiteX8" fmla="*/ 374496 w 433622"/>
                  <a:gd name="connsiteY8" fmla="*/ 420480 h 433628"/>
                  <a:gd name="connsiteX9" fmla="*/ 420485 w 433622"/>
                  <a:gd name="connsiteY9" fmla="*/ 373830 h 433628"/>
                  <a:gd name="connsiteX10" fmla="*/ 420485 w 433622"/>
                  <a:gd name="connsiteY10" fmla="*/ 236522 h 433628"/>
                  <a:gd name="connsiteX11" fmla="*/ 405153 w 433622"/>
                  <a:gd name="connsiteY11" fmla="*/ 236522 h 433628"/>
                  <a:gd name="connsiteX12" fmla="*/ 398585 w 433622"/>
                  <a:gd name="connsiteY12" fmla="*/ 229953 h 433628"/>
                  <a:gd name="connsiteX13" fmla="*/ 405153 w 433622"/>
                  <a:gd name="connsiteY13" fmla="*/ 223381 h 433628"/>
                  <a:gd name="connsiteX14" fmla="*/ 427054 w 433622"/>
                  <a:gd name="connsiteY14" fmla="*/ 223381 h 433628"/>
                  <a:gd name="connsiteX15" fmla="*/ 433623 w 433622"/>
                  <a:gd name="connsiteY15" fmla="*/ 229953 h 433628"/>
                  <a:gd name="connsiteX16" fmla="*/ 433623 w 433622"/>
                  <a:gd name="connsiteY16" fmla="*/ 373830 h 433628"/>
                  <a:gd name="connsiteX17" fmla="*/ 376687 w 433622"/>
                  <a:gd name="connsiteY17" fmla="*/ 433573 h 433628"/>
                  <a:gd name="connsiteX18" fmla="*/ 375953 w 433622"/>
                  <a:gd name="connsiteY18" fmla="*/ 433628 h 433628"/>
                  <a:gd name="connsiteX19" fmla="*/ 39418 w 433622"/>
                  <a:gd name="connsiteY19" fmla="*/ 13140 h 433628"/>
                  <a:gd name="connsiteX20" fmla="*/ 13138 w 433622"/>
                  <a:gd name="connsiteY20" fmla="*/ 39421 h 433628"/>
                  <a:gd name="connsiteX21" fmla="*/ 13138 w 433622"/>
                  <a:gd name="connsiteY21" fmla="*/ 373830 h 433628"/>
                  <a:gd name="connsiteX22" fmla="*/ 59127 w 433622"/>
                  <a:gd name="connsiteY22" fmla="*/ 420480 h 433628"/>
                  <a:gd name="connsiteX23" fmla="*/ 337551 w 433622"/>
                  <a:gd name="connsiteY23" fmla="*/ 420480 h 433628"/>
                  <a:gd name="connsiteX24" fmla="*/ 315363 w 433622"/>
                  <a:gd name="connsiteY24" fmla="*/ 373830 h 433628"/>
                  <a:gd name="connsiteX25" fmla="*/ 315363 w 433622"/>
                  <a:gd name="connsiteY25" fmla="*/ 39421 h 433628"/>
                  <a:gd name="connsiteX26" fmla="*/ 289083 w 433622"/>
                  <a:gd name="connsiteY26" fmla="*/ 13140 h 433628"/>
                  <a:gd name="connsiteX27" fmla="*/ 39418 w 433622"/>
                  <a:gd name="connsiteY27" fmla="*/ 13140 h 43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33622" h="433628">
                    <a:moveTo>
                      <a:pt x="375953" y="433628"/>
                    </a:moveTo>
                    <a:lnTo>
                      <a:pt x="59130" y="433628"/>
                    </a:lnTo>
                    <a:cubicBezTo>
                      <a:pt x="26527" y="433628"/>
                      <a:pt x="0" y="406811"/>
                      <a:pt x="0" y="373830"/>
                    </a:cubicBezTo>
                    <a:lnTo>
                      <a:pt x="0" y="39421"/>
                    </a:lnTo>
                    <a:cubicBezTo>
                      <a:pt x="0" y="17682"/>
                      <a:pt x="17682" y="0"/>
                      <a:pt x="39421" y="0"/>
                    </a:cubicBezTo>
                    <a:lnTo>
                      <a:pt x="289085" y="0"/>
                    </a:lnTo>
                    <a:cubicBezTo>
                      <a:pt x="310824" y="0"/>
                      <a:pt x="328506" y="17682"/>
                      <a:pt x="328506" y="39421"/>
                    </a:cubicBezTo>
                    <a:lnTo>
                      <a:pt x="328506" y="373830"/>
                    </a:lnTo>
                    <a:cubicBezTo>
                      <a:pt x="328506" y="399552"/>
                      <a:pt x="349138" y="420480"/>
                      <a:pt x="374496" y="420480"/>
                    </a:cubicBezTo>
                    <a:cubicBezTo>
                      <a:pt x="399856" y="420480"/>
                      <a:pt x="420485" y="399552"/>
                      <a:pt x="420485" y="373830"/>
                    </a:cubicBezTo>
                    <a:lnTo>
                      <a:pt x="420485" y="236522"/>
                    </a:lnTo>
                    <a:lnTo>
                      <a:pt x="405153" y="236522"/>
                    </a:lnTo>
                    <a:cubicBezTo>
                      <a:pt x="401524" y="236522"/>
                      <a:pt x="398585" y="233582"/>
                      <a:pt x="398585" y="229953"/>
                    </a:cubicBezTo>
                    <a:cubicBezTo>
                      <a:pt x="398585" y="226321"/>
                      <a:pt x="401527" y="223381"/>
                      <a:pt x="405153" y="223381"/>
                    </a:cubicBezTo>
                    <a:lnTo>
                      <a:pt x="427054" y="223381"/>
                    </a:lnTo>
                    <a:cubicBezTo>
                      <a:pt x="430683" y="223381"/>
                      <a:pt x="433623" y="226321"/>
                      <a:pt x="433623" y="229953"/>
                    </a:cubicBezTo>
                    <a:lnTo>
                      <a:pt x="433623" y="373830"/>
                    </a:lnTo>
                    <a:cubicBezTo>
                      <a:pt x="433623" y="406044"/>
                      <a:pt x="408279" y="432423"/>
                      <a:pt x="376687" y="433573"/>
                    </a:cubicBezTo>
                    <a:cubicBezTo>
                      <a:pt x="376449" y="433628"/>
                      <a:pt x="376202" y="433628"/>
                      <a:pt x="375953" y="433628"/>
                    </a:cubicBezTo>
                    <a:close/>
                    <a:moveTo>
                      <a:pt x="39418" y="13140"/>
                    </a:moveTo>
                    <a:cubicBezTo>
                      <a:pt x="24927" y="13140"/>
                      <a:pt x="13138" y="24927"/>
                      <a:pt x="13138" y="39421"/>
                    </a:cubicBezTo>
                    <a:lnTo>
                      <a:pt x="13138" y="373830"/>
                    </a:lnTo>
                    <a:cubicBezTo>
                      <a:pt x="13138" y="399552"/>
                      <a:pt x="33770" y="420480"/>
                      <a:pt x="59127" y="420480"/>
                    </a:cubicBezTo>
                    <a:lnTo>
                      <a:pt x="337551" y="420480"/>
                    </a:lnTo>
                    <a:cubicBezTo>
                      <a:pt x="324033" y="409523"/>
                      <a:pt x="315363" y="392676"/>
                      <a:pt x="315363" y="373830"/>
                    </a:cubicBezTo>
                    <a:lnTo>
                      <a:pt x="315363" y="39421"/>
                    </a:lnTo>
                    <a:cubicBezTo>
                      <a:pt x="315363" y="24927"/>
                      <a:pt x="303573" y="13140"/>
                      <a:pt x="289083" y="13140"/>
                    </a:cubicBezTo>
                    <a:lnTo>
                      <a:pt x="39418" y="13140"/>
                    </a:lnTo>
                    <a:close/>
                  </a:path>
                </a:pathLst>
              </a:custGeom>
              <a:grpFill/>
              <a:ln w="274" cap="flat">
                <a:noFill/>
                <a:prstDash val="solid"/>
                <a:miter/>
              </a:ln>
            </p:spPr>
            <p:txBody>
              <a:bodyPr rtlCol="0" anchor="ctr"/>
              <a:lstStyle/>
              <a:p>
                <a:endParaRPr lang="en-GB" dirty="0"/>
              </a:p>
            </p:txBody>
          </p:sp>
          <p:sp>
            <p:nvSpPr>
              <p:cNvPr id="741" name="Freihandform: Form 740">
                <a:extLst>
                  <a:ext uri="{FF2B5EF4-FFF2-40B4-BE49-F238E27FC236}">
                    <a16:creationId xmlns:a16="http://schemas.microsoft.com/office/drawing/2014/main" id="{9B7725F7-EB15-41C8-8AC2-F44F34A36B3B}"/>
                  </a:ext>
                </a:extLst>
              </p:cNvPr>
              <p:cNvSpPr/>
              <p:nvPr/>
            </p:nvSpPr>
            <p:spPr>
              <a:xfrm>
                <a:off x="5625757" y="4212981"/>
                <a:ext cx="35037" cy="262117"/>
              </a:xfrm>
              <a:custGeom>
                <a:avLst/>
                <a:gdLst>
                  <a:gd name="connsiteX0" fmla="*/ 28469 w 35037"/>
                  <a:gd name="connsiteY0" fmla="*/ 262118 h 262117"/>
                  <a:gd name="connsiteX1" fmla="*/ 21900 w 35037"/>
                  <a:gd name="connsiteY1" fmla="*/ 255543 h 262117"/>
                  <a:gd name="connsiteX2" fmla="*/ 21900 w 35037"/>
                  <a:gd name="connsiteY2" fmla="*/ 13140 h 262117"/>
                  <a:gd name="connsiteX3" fmla="*/ 6569 w 35037"/>
                  <a:gd name="connsiteY3" fmla="*/ 13140 h 262117"/>
                  <a:gd name="connsiteX4" fmla="*/ 0 w 35037"/>
                  <a:gd name="connsiteY4" fmla="*/ 6572 h 262117"/>
                  <a:gd name="connsiteX5" fmla="*/ 6569 w 35037"/>
                  <a:gd name="connsiteY5" fmla="*/ 0 h 262117"/>
                  <a:gd name="connsiteX6" fmla="*/ 28469 w 35037"/>
                  <a:gd name="connsiteY6" fmla="*/ 0 h 262117"/>
                  <a:gd name="connsiteX7" fmla="*/ 35038 w 35037"/>
                  <a:gd name="connsiteY7" fmla="*/ 6572 h 262117"/>
                  <a:gd name="connsiteX8" fmla="*/ 35038 w 35037"/>
                  <a:gd name="connsiteY8" fmla="*/ 255543 h 262117"/>
                  <a:gd name="connsiteX9" fmla="*/ 28469 w 35037"/>
                  <a:gd name="connsiteY9" fmla="*/ 262118 h 262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037" h="262117">
                    <a:moveTo>
                      <a:pt x="28469" y="262118"/>
                    </a:moveTo>
                    <a:cubicBezTo>
                      <a:pt x="24840" y="262118"/>
                      <a:pt x="21900" y="259186"/>
                      <a:pt x="21900" y="255543"/>
                    </a:cubicBezTo>
                    <a:lnTo>
                      <a:pt x="21900" y="13140"/>
                    </a:lnTo>
                    <a:lnTo>
                      <a:pt x="6569" y="13140"/>
                    </a:lnTo>
                    <a:cubicBezTo>
                      <a:pt x="2939" y="13140"/>
                      <a:pt x="0" y="10201"/>
                      <a:pt x="0" y="6572"/>
                    </a:cubicBezTo>
                    <a:cubicBezTo>
                      <a:pt x="0" y="2939"/>
                      <a:pt x="2942" y="0"/>
                      <a:pt x="6569" y="0"/>
                    </a:cubicBezTo>
                    <a:lnTo>
                      <a:pt x="28469" y="0"/>
                    </a:lnTo>
                    <a:cubicBezTo>
                      <a:pt x="32099" y="0"/>
                      <a:pt x="35038" y="2939"/>
                      <a:pt x="35038" y="6572"/>
                    </a:cubicBezTo>
                    <a:lnTo>
                      <a:pt x="35038" y="255543"/>
                    </a:lnTo>
                    <a:cubicBezTo>
                      <a:pt x="35041" y="259186"/>
                      <a:pt x="32099" y="262118"/>
                      <a:pt x="28469" y="262118"/>
                    </a:cubicBezTo>
                    <a:close/>
                  </a:path>
                </a:pathLst>
              </a:custGeom>
              <a:grpFill/>
              <a:ln w="274" cap="flat">
                <a:noFill/>
                <a:prstDash val="solid"/>
                <a:miter/>
              </a:ln>
            </p:spPr>
            <p:txBody>
              <a:bodyPr rtlCol="0" anchor="ctr"/>
              <a:lstStyle/>
              <a:p>
                <a:endParaRPr lang="en-GB" dirty="0"/>
              </a:p>
            </p:txBody>
          </p:sp>
          <p:grpSp>
            <p:nvGrpSpPr>
              <p:cNvPr id="742" name="Grafik 349">
                <a:extLst>
                  <a:ext uri="{FF2B5EF4-FFF2-40B4-BE49-F238E27FC236}">
                    <a16:creationId xmlns:a16="http://schemas.microsoft.com/office/drawing/2014/main" id="{2055E5CE-1737-48B7-85B2-7F7B4FDAD005}"/>
                  </a:ext>
                </a:extLst>
              </p:cNvPr>
              <p:cNvGrpSpPr/>
              <p:nvPr/>
            </p:nvGrpSpPr>
            <p:grpSpPr>
              <a:xfrm>
                <a:off x="5326454" y="4403494"/>
                <a:ext cx="235058" cy="59113"/>
                <a:chOff x="5326454" y="4403494"/>
                <a:chExt cx="235058" cy="59113"/>
              </a:xfrm>
              <a:grpFill/>
            </p:grpSpPr>
            <p:sp>
              <p:nvSpPr>
                <p:cNvPr id="743" name="Freihandform: Form 742">
                  <a:extLst>
                    <a:ext uri="{FF2B5EF4-FFF2-40B4-BE49-F238E27FC236}">
                      <a16:creationId xmlns:a16="http://schemas.microsoft.com/office/drawing/2014/main" id="{D08994E2-755D-469B-B178-924982970B7B}"/>
                    </a:ext>
                  </a:extLst>
                </p:cNvPr>
                <p:cNvSpPr/>
                <p:nvPr/>
              </p:nvSpPr>
              <p:spPr>
                <a:xfrm>
                  <a:off x="5326454" y="4449486"/>
                  <a:ext cx="130668" cy="13120"/>
                </a:xfrm>
                <a:custGeom>
                  <a:avLst/>
                  <a:gdLst>
                    <a:gd name="connsiteX0" fmla="*/ 124100 w 130668"/>
                    <a:gd name="connsiteY0" fmla="*/ 13121 h 13120"/>
                    <a:gd name="connsiteX1" fmla="*/ 6569 w 130668"/>
                    <a:gd name="connsiteY1" fmla="*/ 13121 h 13120"/>
                    <a:gd name="connsiteX2" fmla="*/ 0 w 130668"/>
                    <a:gd name="connsiteY2" fmla="*/ 6574 h 13120"/>
                    <a:gd name="connsiteX3" fmla="*/ 6569 w 130668"/>
                    <a:gd name="connsiteY3" fmla="*/ 0 h 13120"/>
                    <a:gd name="connsiteX4" fmla="*/ 124100 w 130668"/>
                    <a:gd name="connsiteY4" fmla="*/ 0 h 13120"/>
                    <a:gd name="connsiteX5" fmla="*/ 130668 w 130668"/>
                    <a:gd name="connsiteY5" fmla="*/ 6574 h 13120"/>
                    <a:gd name="connsiteX6" fmla="*/ 124100 w 130668"/>
                    <a:gd name="connsiteY6" fmla="*/ 13121 h 1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68" h="13120">
                      <a:moveTo>
                        <a:pt x="124100" y="13121"/>
                      </a:moveTo>
                      <a:lnTo>
                        <a:pt x="6569" y="13121"/>
                      </a:lnTo>
                      <a:cubicBezTo>
                        <a:pt x="2939" y="13121"/>
                        <a:pt x="0" y="10190"/>
                        <a:pt x="0" y="6574"/>
                      </a:cubicBezTo>
                      <a:cubicBezTo>
                        <a:pt x="0" y="2931"/>
                        <a:pt x="2942" y="0"/>
                        <a:pt x="6569" y="0"/>
                      </a:cubicBezTo>
                      <a:lnTo>
                        <a:pt x="124100" y="0"/>
                      </a:lnTo>
                      <a:cubicBezTo>
                        <a:pt x="127729" y="0"/>
                        <a:pt x="130668" y="2931"/>
                        <a:pt x="130668" y="6574"/>
                      </a:cubicBezTo>
                      <a:cubicBezTo>
                        <a:pt x="130671" y="10190"/>
                        <a:pt x="127729" y="13121"/>
                        <a:pt x="124100" y="13121"/>
                      </a:cubicBezTo>
                      <a:close/>
                    </a:path>
                  </a:pathLst>
                </a:custGeom>
                <a:grpFill/>
                <a:ln w="274" cap="flat">
                  <a:noFill/>
                  <a:prstDash val="solid"/>
                  <a:miter/>
                </a:ln>
              </p:spPr>
              <p:txBody>
                <a:bodyPr rtlCol="0" anchor="ctr"/>
                <a:lstStyle/>
                <a:p>
                  <a:endParaRPr lang="en-GB" dirty="0"/>
                </a:p>
              </p:txBody>
            </p:sp>
            <p:sp>
              <p:nvSpPr>
                <p:cNvPr id="744" name="Freihandform: Form 743">
                  <a:extLst>
                    <a:ext uri="{FF2B5EF4-FFF2-40B4-BE49-F238E27FC236}">
                      <a16:creationId xmlns:a16="http://schemas.microsoft.com/office/drawing/2014/main" id="{E6C8A92B-9976-4B9B-A798-5778B995D41D}"/>
                    </a:ext>
                  </a:extLst>
                </p:cNvPr>
                <p:cNvSpPr/>
                <p:nvPr/>
              </p:nvSpPr>
              <p:spPr>
                <a:xfrm>
                  <a:off x="5326454" y="4403494"/>
                  <a:ext cx="235058" cy="13148"/>
                </a:xfrm>
                <a:custGeom>
                  <a:avLst/>
                  <a:gdLst>
                    <a:gd name="connsiteX0" fmla="*/ 228490 w 235058"/>
                    <a:gd name="connsiteY0" fmla="*/ 13148 h 13148"/>
                    <a:gd name="connsiteX1" fmla="*/ 6569 w 235058"/>
                    <a:gd name="connsiteY1" fmla="*/ 13148 h 13148"/>
                    <a:gd name="connsiteX2" fmla="*/ 0 w 235058"/>
                    <a:gd name="connsiteY2" fmla="*/ 6574 h 13148"/>
                    <a:gd name="connsiteX3" fmla="*/ 6569 w 235058"/>
                    <a:gd name="connsiteY3" fmla="*/ 0 h 13148"/>
                    <a:gd name="connsiteX4" fmla="*/ 228490 w 235058"/>
                    <a:gd name="connsiteY4" fmla="*/ 0 h 13148"/>
                    <a:gd name="connsiteX5" fmla="*/ 235059 w 235058"/>
                    <a:gd name="connsiteY5" fmla="*/ 6574 h 13148"/>
                    <a:gd name="connsiteX6" fmla="*/ 228490 w 235058"/>
                    <a:gd name="connsiteY6" fmla="*/ 13148 h 13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5058" h="13148">
                      <a:moveTo>
                        <a:pt x="228490" y="13148"/>
                      </a:moveTo>
                      <a:lnTo>
                        <a:pt x="6569" y="13148"/>
                      </a:lnTo>
                      <a:cubicBezTo>
                        <a:pt x="2939" y="13148"/>
                        <a:pt x="0" y="10190"/>
                        <a:pt x="0" y="6574"/>
                      </a:cubicBezTo>
                      <a:cubicBezTo>
                        <a:pt x="0" y="2931"/>
                        <a:pt x="2942" y="0"/>
                        <a:pt x="6569" y="0"/>
                      </a:cubicBezTo>
                      <a:lnTo>
                        <a:pt x="228490" y="0"/>
                      </a:lnTo>
                      <a:cubicBezTo>
                        <a:pt x="232120" y="0"/>
                        <a:pt x="235059" y="2931"/>
                        <a:pt x="235059" y="6574"/>
                      </a:cubicBezTo>
                      <a:cubicBezTo>
                        <a:pt x="235062" y="10190"/>
                        <a:pt x="232120" y="13148"/>
                        <a:pt x="228490" y="13148"/>
                      </a:cubicBezTo>
                      <a:close/>
                    </a:path>
                  </a:pathLst>
                </a:custGeom>
                <a:grpFill/>
                <a:ln w="274" cap="flat">
                  <a:noFill/>
                  <a:prstDash val="solid"/>
                  <a:miter/>
                </a:ln>
              </p:spPr>
              <p:txBody>
                <a:bodyPr rtlCol="0" anchor="ctr"/>
                <a:lstStyle/>
                <a:p>
                  <a:endParaRPr lang="en-GB" dirty="0"/>
                </a:p>
              </p:txBody>
            </p:sp>
          </p:grpSp>
        </p:grpSp>
        <p:grpSp>
          <p:nvGrpSpPr>
            <p:cNvPr id="729" name="Gruppieren 728">
              <a:extLst>
                <a:ext uri="{FF2B5EF4-FFF2-40B4-BE49-F238E27FC236}">
                  <a16:creationId xmlns:a16="http://schemas.microsoft.com/office/drawing/2014/main" id="{35716A93-767F-4EA7-872F-700858A37C9E}"/>
                </a:ext>
              </a:extLst>
            </p:cNvPr>
            <p:cNvGrpSpPr/>
            <p:nvPr/>
          </p:nvGrpSpPr>
          <p:grpSpPr>
            <a:xfrm>
              <a:off x="5049203" y="4169453"/>
              <a:ext cx="222557" cy="196363"/>
              <a:chOff x="5332274" y="4166964"/>
              <a:chExt cx="223396" cy="197103"/>
            </a:xfrm>
          </p:grpSpPr>
          <p:sp>
            <p:nvSpPr>
              <p:cNvPr id="730" name="Freihandform: Form 729">
                <a:extLst>
                  <a:ext uri="{FF2B5EF4-FFF2-40B4-BE49-F238E27FC236}">
                    <a16:creationId xmlns:a16="http://schemas.microsoft.com/office/drawing/2014/main" id="{891779C2-39CD-4F48-A33C-37DA0513174B}"/>
                  </a:ext>
                </a:extLst>
              </p:cNvPr>
              <p:cNvSpPr/>
              <p:nvPr/>
            </p:nvSpPr>
            <p:spPr>
              <a:xfrm>
                <a:off x="5418452" y="4166964"/>
                <a:ext cx="51061" cy="131402"/>
              </a:xfrm>
              <a:custGeom>
                <a:avLst/>
                <a:gdLst>
                  <a:gd name="connsiteX0" fmla="*/ 26242 w 51061"/>
                  <a:gd name="connsiteY0" fmla="*/ 131402 h 131402"/>
                  <a:gd name="connsiteX1" fmla="*/ 24823 w 51061"/>
                  <a:gd name="connsiteY1" fmla="*/ 131402 h 131402"/>
                  <a:gd name="connsiteX2" fmla="*/ 5141 w 51061"/>
                  <a:gd name="connsiteY2" fmla="*/ 112789 h 131402"/>
                  <a:gd name="connsiteX3" fmla="*/ 30 w 51061"/>
                  <a:gd name="connsiteY3" fmla="*/ 20807 h 131402"/>
                  <a:gd name="connsiteX4" fmla="*/ 5393 w 51061"/>
                  <a:gd name="connsiteY4" fmla="*/ 6166 h 131402"/>
                  <a:gd name="connsiteX5" fmla="*/ 19711 w 51061"/>
                  <a:gd name="connsiteY5" fmla="*/ 0 h 131402"/>
                  <a:gd name="connsiteX6" fmla="*/ 31351 w 51061"/>
                  <a:gd name="connsiteY6" fmla="*/ 0 h 131402"/>
                  <a:gd name="connsiteX7" fmla="*/ 45669 w 51061"/>
                  <a:gd name="connsiteY7" fmla="*/ 6166 h 131402"/>
                  <a:gd name="connsiteX8" fmla="*/ 51032 w 51061"/>
                  <a:gd name="connsiteY8" fmla="*/ 20807 h 131402"/>
                  <a:gd name="connsiteX9" fmla="*/ 45921 w 51061"/>
                  <a:gd name="connsiteY9" fmla="*/ 112789 h 131402"/>
                  <a:gd name="connsiteX10" fmla="*/ 26242 w 51061"/>
                  <a:gd name="connsiteY10" fmla="*/ 131402 h 131402"/>
                  <a:gd name="connsiteX11" fmla="*/ 19711 w 51061"/>
                  <a:gd name="connsiteY11" fmla="*/ 13140 h 131402"/>
                  <a:gd name="connsiteX12" fmla="*/ 14942 w 51061"/>
                  <a:gd name="connsiteY12" fmla="*/ 15195 h 131402"/>
                  <a:gd name="connsiteX13" fmla="*/ 13154 w 51061"/>
                  <a:gd name="connsiteY13" fmla="*/ 20079 h 131402"/>
                  <a:gd name="connsiteX14" fmla="*/ 18265 w 51061"/>
                  <a:gd name="connsiteY14" fmla="*/ 112060 h 131402"/>
                  <a:gd name="connsiteX15" fmla="*/ 24826 w 51061"/>
                  <a:gd name="connsiteY15" fmla="*/ 118265 h 131402"/>
                  <a:gd name="connsiteX16" fmla="*/ 26245 w 51061"/>
                  <a:gd name="connsiteY16" fmla="*/ 118265 h 131402"/>
                  <a:gd name="connsiteX17" fmla="*/ 32805 w 51061"/>
                  <a:gd name="connsiteY17" fmla="*/ 112060 h 131402"/>
                  <a:gd name="connsiteX18" fmla="*/ 37917 w 51061"/>
                  <a:gd name="connsiteY18" fmla="*/ 20079 h 131402"/>
                  <a:gd name="connsiteX19" fmla="*/ 36128 w 51061"/>
                  <a:gd name="connsiteY19" fmla="*/ 15195 h 131402"/>
                  <a:gd name="connsiteX20" fmla="*/ 31359 w 51061"/>
                  <a:gd name="connsiteY20" fmla="*/ 13140 h 131402"/>
                  <a:gd name="connsiteX21" fmla="*/ 19711 w 51061"/>
                  <a:gd name="connsiteY21" fmla="*/ 13140 h 131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061" h="131402">
                    <a:moveTo>
                      <a:pt x="26242" y="131402"/>
                    </a:moveTo>
                    <a:lnTo>
                      <a:pt x="24823" y="131402"/>
                    </a:lnTo>
                    <a:cubicBezTo>
                      <a:pt x="14367" y="131402"/>
                      <a:pt x="5725" y="123228"/>
                      <a:pt x="5141" y="112789"/>
                    </a:cubicBezTo>
                    <a:lnTo>
                      <a:pt x="30" y="20807"/>
                    </a:lnTo>
                    <a:cubicBezTo>
                      <a:pt x="-269" y="15419"/>
                      <a:pt x="1687" y="10080"/>
                      <a:pt x="5393" y="6166"/>
                    </a:cubicBezTo>
                    <a:cubicBezTo>
                      <a:pt x="9102" y="2246"/>
                      <a:pt x="14318" y="0"/>
                      <a:pt x="19711" y="0"/>
                    </a:cubicBezTo>
                    <a:lnTo>
                      <a:pt x="31351" y="0"/>
                    </a:lnTo>
                    <a:cubicBezTo>
                      <a:pt x="36744" y="0"/>
                      <a:pt x="41960" y="2246"/>
                      <a:pt x="45669" y="6166"/>
                    </a:cubicBezTo>
                    <a:cubicBezTo>
                      <a:pt x="49375" y="10080"/>
                      <a:pt x="51331" y="15419"/>
                      <a:pt x="51032" y="20807"/>
                    </a:cubicBezTo>
                    <a:lnTo>
                      <a:pt x="45921" y="112789"/>
                    </a:lnTo>
                    <a:cubicBezTo>
                      <a:pt x="45337" y="123228"/>
                      <a:pt x="36695" y="131402"/>
                      <a:pt x="26242" y="131402"/>
                    </a:cubicBezTo>
                    <a:close/>
                    <a:moveTo>
                      <a:pt x="19711" y="13140"/>
                    </a:moveTo>
                    <a:cubicBezTo>
                      <a:pt x="17890" y="13140"/>
                      <a:pt x="16191" y="13872"/>
                      <a:pt x="14942" y="15195"/>
                    </a:cubicBezTo>
                    <a:cubicBezTo>
                      <a:pt x="13685" y="16523"/>
                      <a:pt x="13050" y="18254"/>
                      <a:pt x="13154" y="20079"/>
                    </a:cubicBezTo>
                    <a:lnTo>
                      <a:pt x="18265" y="112060"/>
                    </a:lnTo>
                    <a:cubicBezTo>
                      <a:pt x="18457" y="115539"/>
                      <a:pt x="21341" y="118265"/>
                      <a:pt x="24826" y="118265"/>
                    </a:cubicBezTo>
                    <a:lnTo>
                      <a:pt x="26245" y="118265"/>
                    </a:lnTo>
                    <a:cubicBezTo>
                      <a:pt x="29729" y="118265"/>
                      <a:pt x="32613" y="115539"/>
                      <a:pt x="32805" y="112060"/>
                    </a:cubicBezTo>
                    <a:lnTo>
                      <a:pt x="37917" y="20079"/>
                    </a:lnTo>
                    <a:cubicBezTo>
                      <a:pt x="38018" y="18257"/>
                      <a:pt x="37385" y="16523"/>
                      <a:pt x="36128" y="15195"/>
                    </a:cubicBezTo>
                    <a:cubicBezTo>
                      <a:pt x="34876" y="13874"/>
                      <a:pt x="33180" y="13140"/>
                      <a:pt x="31359" y="13140"/>
                    </a:cubicBezTo>
                    <a:lnTo>
                      <a:pt x="19711" y="13140"/>
                    </a:lnTo>
                    <a:close/>
                  </a:path>
                </a:pathLst>
              </a:custGeom>
              <a:solidFill>
                <a:schemeClr val="accent1"/>
              </a:solidFill>
              <a:ln w="274" cap="flat">
                <a:noFill/>
                <a:prstDash val="solid"/>
                <a:miter/>
              </a:ln>
            </p:spPr>
            <p:txBody>
              <a:bodyPr rtlCol="0" anchor="ctr"/>
              <a:lstStyle/>
              <a:p>
                <a:endParaRPr lang="en-GB" dirty="0"/>
              </a:p>
            </p:txBody>
          </p:sp>
          <p:sp>
            <p:nvSpPr>
              <p:cNvPr id="731" name="Freihandform: Form 730">
                <a:extLst>
                  <a:ext uri="{FF2B5EF4-FFF2-40B4-BE49-F238E27FC236}">
                    <a16:creationId xmlns:a16="http://schemas.microsoft.com/office/drawing/2014/main" id="{D3E0917E-C3AA-41FD-963C-1A5618755C7A}"/>
                  </a:ext>
                </a:extLst>
              </p:cNvPr>
              <p:cNvSpPr/>
              <p:nvPr/>
            </p:nvSpPr>
            <p:spPr>
              <a:xfrm>
                <a:off x="5417704" y="4311507"/>
                <a:ext cx="52560" cy="52560"/>
              </a:xfrm>
              <a:custGeom>
                <a:avLst/>
                <a:gdLst>
                  <a:gd name="connsiteX0" fmla="*/ 26280 w 52560"/>
                  <a:gd name="connsiteY0" fmla="*/ 52561 h 52560"/>
                  <a:gd name="connsiteX1" fmla="*/ 0 w 52560"/>
                  <a:gd name="connsiteY1" fmla="*/ 26280 h 52560"/>
                  <a:gd name="connsiteX2" fmla="*/ 26280 w 52560"/>
                  <a:gd name="connsiteY2" fmla="*/ 0 h 52560"/>
                  <a:gd name="connsiteX3" fmla="*/ 52561 w 52560"/>
                  <a:gd name="connsiteY3" fmla="*/ 26280 h 52560"/>
                  <a:gd name="connsiteX4" fmla="*/ 26280 w 52560"/>
                  <a:gd name="connsiteY4" fmla="*/ 52561 h 52560"/>
                  <a:gd name="connsiteX5" fmla="*/ 26280 w 52560"/>
                  <a:gd name="connsiteY5" fmla="*/ 13140 h 52560"/>
                  <a:gd name="connsiteX6" fmla="*/ 13140 w 52560"/>
                  <a:gd name="connsiteY6" fmla="*/ 26280 h 52560"/>
                  <a:gd name="connsiteX7" fmla="*/ 26280 w 52560"/>
                  <a:gd name="connsiteY7" fmla="*/ 39421 h 52560"/>
                  <a:gd name="connsiteX8" fmla="*/ 39421 w 52560"/>
                  <a:gd name="connsiteY8" fmla="*/ 26280 h 52560"/>
                  <a:gd name="connsiteX9" fmla="*/ 26280 w 52560"/>
                  <a:gd name="connsiteY9" fmla="*/ 13140 h 52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60" h="52560">
                    <a:moveTo>
                      <a:pt x="26280" y="52561"/>
                    </a:moveTo>
                    <a:cubicBezTo>
                      <a:pt x="11790" y="52561"/>
                      <a:pt x="0" y="40774"/>
                      <a:pt x="0" y="26280"/>
                    </a:cubicBezTo>
                    <a:cubicBezTo>
                      <a:pt x="0" y="11787"/>
                      <a:pt x="11790" y="0"/>
                      <a:pt x="26280" y="0"/>
                    </a:cubicBezTo>
                    <a:cubicBezTo>
                      <a:pt x="40771" y="0"/>
                      <a:pt x="52561" y="11787"/>
                      <a:pt x="52561" y="26280"/>
                    </a:cubicBezTo>
                    <a:cubicBezTo>
                      <a:pt x="52561" y="40774"/>
                      <a:pt x="40771" y="52561"/>
                      <a:pt x="26280" y="52561"/>
                    </a:cubicBezTo>
                    <a:close/>
                    <a:moveTo>
                      <a:pt x="26280" y="13140"/>
                    </a:moveTo>
                    <a:cubicBezTo>
                      <a:pt x="19032" y="13140"/>
                      <a:pt x="13140" y="19038"/>
                      <a:pt x="13140" y="26280"/>
                    </a:cubicBezTo>
                    <a:cubicBezTo>
                      <a:pt x="13140" y="33523"/>
                      <a:pt x="19032" y="39421"/>
                      <a:pt x="26280" y="39421"/>
                    </a:cubicBezTo>
                    <a:cubicBezTo>
                      <a:pt x="33529" y="39421"/>
                      <a:pt x="39421" y="33523"/>
                      <a:pt x="39421" y="26280"/>
                    </a:cubicBezTo>
                    <a:cubicBezTo>
                      <a:pt x="39421" y="19038"/>
                      <a:pt x="33526" y="13140"/>
                      <a:pt x="26280" y="13140"/>
                    </a:cubicBezTo>
                    <a:close/>
                  </a:path>
                </a:pathLst>
              </a:custGeom>
              <a:solidFill>
                <a:schemeClr val="accent1"/>
              </a:solidFill>
              <a:ln w="274" cap="flat">
                <a:noFill/>
                <a:prstDash val="solid"/>
                <a:miter/>
              </a:ln>
            </p:spPr>
            <p:txBody>
              <a:bodyPr rtlCol="0" anchor="ctr"/>
              <a:lstStyle/>
              <a:p>
                <a:endParaRPr lang="en-GB" dirty="0"/>
              </a:p>
            </p:txBody>
          </p:sp>
          <p:grpSp>
            <p:nvGrpSpPr>
              <p:cNvPr id="732" name="Grafik 349">
                <a:extLst>
                  <a:ext uri="{FF2B5EF4-FFF2-40B4-BE49-F238E27FC236}">
                    <a16:creationId xmlns:a16="http://schemas.microsoft.com/office/drawing/2014/main" id="{E93BABFD-DEA9-4428-8874-C263386D3705}"/>
                  </a:ext>
                </a:extLst>
              </p:cNvPr>
              <p:cNvGrpSpPr/>
              <p:nvPr/>
            </p:nvGrpSpPr>
            <p:grpSpPr>
              <a:xfrm>
                <a:off x="5332274" y="4180942"/>
                <a:ext cx="59148" cy="153265"/>
                <a:chOff x="5332274" y="4180942"/>
                <a:chExt cx="59148" cy="153265"/>
              </a:xfrm>
              <a:solidFill>
                <a:schemeClr val="accent1"/>
              </a:solidFill>
            </p:grpSpPr>
            <p:sp>
              <p:nvSpPr>
                <p:cNvPr id="737" name="Freihandform: Form 736">
                  <a:extLst>
                    <a:ext uri="{FF2B5EF4-FFF2-40B4-BE49-F238E27FC236}">
                      <a16:creationId xmlns:a16="http://schemas.microsoft.com/office/drawing/2014/main" id="{87F94BCD-DF99-4D79-8FC2-93B9185D7A96}"/>
                    </a:ext>
                  </a:extLst>
                </p:cNvPr>
                <p:cNvSpPr/>
                <p:nvPr/>
              </p:nvSpPr>
              <p:spPr>
                <a:xfrm>
                  <a:off x="5345434" y="4252876"/>
                  <a:ext cx="31622" cy="13140"/>
                </a:xfrm>
                <a:custGeom>
                  <a:avLst/>
                  <a:gdLst>
                    <a:gd name="connsiteX0" fmla="*/ 25053 w 31622"/>
                    <a:gd name="connsiteY0" fmla="*/ 13140 h 13140"/>
                    <a:gd name="connsiteX1" fmla="*/ 6569 w 31622"/>
                    <a:gd name="connsiteY1" fmla="*/ 13140 h 13140"/>
                    <a:gd name="connsiteX2" fmla="*/ 0 w 31622"/>
                    <a:gd name="connsiteY2" fmla="*/ 6572 h 13140"/>
                    <a:gd name="connsiteX3" fmla="*/ 6569 w 31622"/>
                    <a:gd name="connsiteY3" fmla="*/ 0 h 13140"/>
                    <a:gd name="connsiteX4" fmla="*/ 25053 w 31622"/>
                    <a:gd name="connsiteY4" fmla="*/ 0 h 13140"/>
                    <a:gd name="connsiteX5" fmla="*/ 31622 w 31622"/>
                    <a:gd name="connsiteY5" fmla="*/ 6572 h 13140"/>
                    <a:gd name="connsiteX6" fmla="*/ 25053 w 31622"/>
                    <a:gd name="connsiteY6" fmla="*/ 13140 h 1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22" h="13140">
                      <a:moveTo>
                        <a:pt x="25053" y="13140"/>
                      </a:moveTo>
                      <a:lnTo>
                        <a:pt x="6569" y="13140"/>
                      </a:lnTo>
                      <a:cubicBezTo>
                        <a:pt x="2939" y="13140"/>
                        <a:pt x="0" y="10201"/>
                        <a:pt x="0" y="6572"/>
                      </a:cubicBezTo>
                      <a:cubicBezTo>
                        <a:pt x="0" y="2939"/>
                        <a:pt x="2942" y="0"/>
                        <a:pt x="6569" y="0"/>
                      </a:cubicBezTo>
                      <a:lnTo>
                        <a:pt x="25053" y="0"/>
                      </a:lnTo>
                      <a:cubicBezTo>
                        <a:pt x="28683" y="0"/>
                        <a:pt x="31622" y="2939"/>
                        <a:pt x="31622" y="6572"/>
                      </a:cubicBezTo>
                      <a:cubicBezTo>
                        <a:pt x="31622" y="10201"/>
                        <a:pt x="28683" y="13140"/>
                        <a:pt x="25053" y="13140"/>
                      </a:cubicBezTo>
                      <a:close/>
                    </a:path>
                  </a:pathLst>
                </a:custGeom>
                <a:solidFill>
                  <a:schemeClr val="accent1"/>
                </a:solidFill>
                <a:ln w="274" cap="flat">
                  <a:noFill/>
                  <a:prstDash val="solid"/>
                  <a:miter/>
                </a:ln>
              </p:spPr>
              <p:txBody>
                <a:bodyPr rtlCol="0" anchor="ctr"/>
                <a:lstStyle/>
                <a:p>
                  <a:endParaRPr lang="en-GB" dirty="0"/>
                </a:p>
              </p:txBody>
            </p:sp>
            <p:sp>
              <p:nvSpPr>
                <p:cNvPr id="738" name="Freihandform: Form 737">
                  <a:extLst>
                    <a:ext uri="{FF2B5EF4-FFF2-40B4-BE49-F238E27FC236}">
                      <a16:creationId xmlns:a16="http://schemas.microsoft.com/office/drawing/2014/main" id="{F371D93D-DAE9-4F77-AFF8-05B41A2E2383}"/>
                    </a:ext>
                  </a:extLst>
                </p:cNvPr>
                <p:cNvSpPr/>
                <p:nvPr/>
              </p:nvSpPr>
              <p:spPr>
                <a:xfrm>
                  <a:off x="5332289" y="4292288"/>
                  <a:ext cx="57907" cy="41919"/>
                </a:xfrm>
                <a:custGeom>
                  <a:avLst/>
                  <a:gdLst>
                    <a:gd name="connsiteX0" fmla="*/ 6577 w 57907"/>
                    <a:gd name="connsiteY0" fmla="*/ 41920 h 41919"/>
                    <a:gd name="connsiteX1" fmla="*/ 1043 w 57907"/>
                    <a:gd name="connsiteY1" fmla="*/ 38903 h 41919"/>
                    <a:gd name="connsiteX2" fmla="*/ 3018 w 57907"/>
                    <a:gd name="connsiteY2" fmla="*/ 29826 h 41919"/>
                    <a:gd name="connsiteX3" fmla="*/ 47786 w 57907"/>
                    <a:gd name="connsiteY3" fmla="*/ 1050 h 41919"/>
                    <a:gd name="connsiteX4" fmla="*/ 56864 w 57907"/>
                    <a:gd name="connsiteY4" fmla="*/ 3019 h 41919"/>
                    <a:gd name="connsiteX5" fmla="*/ 54889 w 57907"/>
                    <a:gd name="connsiteY5" fmla="*/ 12097 h 41919"/>
                    <a:gd name="connsiteX6" fmla="*/ 10121 w 57907"/>
                    <a:gd name="connsiteY6" fmla="*/ 40873 h 41919"/>
                    <a:gd name="connsiteX7" fmla="*/ 6577 w 57907"/>
                    <a:gd name="connsiteY7" fmla="*/ 41920 h 4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07" h="41919">
                      <a:moveTo>
                        <a:pt x="6577" y="41920"/>
                      </a:moveTo>
                      <a:cubicBezTo>
                        <a:pt x="4415" y="41920"/>
                        <a:pt x="2301" y="40854"/>
                        <a:pt x="1043" y="38903"/>
                      </a:cubicBezTo>
                      <a:cubicBezTo>
                        <a:pt x="-918" y="35849"/>
                        <a:pt x="-33" y="31781"/>
                        <a:pt x="3018" y="29826"/>
                      </a:cubicBezTo>
                      <a:lnTo>
                        <a:pt x="47786" y="1050"/>
                      </a:lnTo>
                      <a:cubicBezTo>
                        <a:pt x="50835" y="-925"/>
                        <a:pt x="54897" y="-27"/>
                        <a:pt x="56864" y="3019"/>
                      </a:cubicBezTo>
                      <a:cubicBezTo>
                        <a:pt x="58825" y="6073"/>
                        <a:pt x="57941" y="10141"/>
                        <a:pt x="54889" y="12097"/>
                      </a:cubicBezTo>
                      <a:lnTo>
                        <a:pt x="10121" y="40873"/>
                      </a:lnTo>
                      <a:cubicBezTo>
                        <a:pt x="9026" y="41585"/>
                        <a:pt x="7793" y="41920"/>
                        <a:pt x="6577" y="41920"/>
                      </a:cubicBezTo>
                      <a:close/>
                    </a:path>
                  </a:pathLst>
                </a:custGeom>
                <a:solidFill>
                  <a:schemeClr val="accent1"/>
                </a:solidFill>
                <a:ln w="274" cap="flat">
                  <a:noFill/>
                  <a:prstDash val="solid"/>
                  <a:miter/>
                </a:ln>
              </p:spPr>
              <p:txBody>
                <a:bodyPr rtlCol="0" anchor="ctr"/>
                <a:lstStyle/>
                <a:p>
                  <a:endParaRPr lang="en-GB" dirty="0"/>
                </a:p>
              </p:txBody>
            </p:sp>
            <p:sp>
              <p:nvSpPr>
                <p:cNvPr id="739" name="Freihandform: Form 738">
                  <a:extLst>
                    <a:ext uri="{FF2B5EF4-FFF2-40B4-BE49-F238E27FC236}">
                      <a16:creationId xmlns:a16="http://schemas.microsoft.com/office/drawing/2014/main" id="{3055D812-7DED-4E75-9DDE-97C374BC6CA2}"/>
                    </a:ext>
                  </a:extLst>
                </p:cNvPr>
                <p:cNvSpPr/>
                <p:nvPr/>
              </p:nvSpPr>
              <p:spPr>
                <a:xfrm>
                  <a:off x="5332274" y="4180942"/>
                  <a:ext cx="59148" cy="39084"/>
                </a:xfrm>
                <a:custGeom>
                  <a:avLst/>
                  <a:gdLst>
                    <a:gd name="connsiteX0" fmla="*/ 52573 w 59148"/>
                    <a:gd name="connsiteY0" fmla="*/ 39084 h 39084"/>
                    <a:gd name="connsiteX1" fmla="*/ 49352 w 59148"/>
                    <a:gd name="connsiteY1" fmla="*/ 38238 h 39084"/>
                    <a:gd name="connsiteX2" fmla="*/ 3343 w 59148"/>
                    <a:gd name="connsiteY2" fmla="*/ 12292 h 39084"/>
                    <a:gd name="connsiteX3" fmla="*/ 848 w 59148"/>
                    <a:gd name="connsiteY3" fmla="*/ 3342 h 39084"/>
                    <a:gd name="connsiteX4" fmla="*/ 9797 w 59148"/>
                    <a:gd name="connsiteY4" fmla="*/ 847 h 39084"/>
                    <a:gd name="connsiteX5" fmla="*/ 55806 w 59148"/>
                    <a:gd name="connsiteY5" fmla="*/ 26793 h 39084"/>
                    <a:gd name="connsiteX6" fmla="*/ 58301 w 59148"/>
                    <a:gd name="connsiteY6" fmla="*/ 35743 h 39084"/>
                    <a:gd name="connsiteX7" fmla="*/ 52573 w 59148"/>
                    <a:gd name="connsiteY7" fmla="*/ 39084 h 3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148" h="39084">
                      <a:moveTo>
                        <a:pt x="52573" y="39084"/>
                      </a:moveTo>
                      <a:cubicBezTo>
                        <a:pt x="51480" y="39084"/>
                        <a:pt x="50374" y="38816"/>
                        <a:pt x="49352" y="38238"/>
                      </a:cubicBezTo>
                      <a:lnTo>
                        <a:pt x="3343" y="12292"/>
                      </a:lnTo>
                      <a:cubicBezTo>
                        <a:pt x="182" y="10508"/>
                        <a:pt x="-933" y="6504"/>
                        <a:pt x="848" y="3342"/>
                      </a:cubicBezTo>
                      <a:cubicBezTo>
                        <a:pt x="2631" y="179"/>
                        <a:pt x="6641" y="-931"/>
                        <a:pt x="9797" y="847"/>
                      </a:cubicBezTo>
                      <a:lnTo>
                        <a:pt x="55806" y="26793"/>
                      </a:lnTo>
                      <a:cubicBezTo>
                        <a:pt x="58967" y="28577"/>
                        <a:pt x="60082" y="32581"/>
                        <a:pt x="58301" y="35743"/>
                      </a:cubicBezTo>
                      <a:cubicBezTo>
                        <a:pt x="57096" y="37885"/>
                        <a:pt x="54866" y="39084"/>
                        <a:pt x="52573" y="39084"/>
                      </a:cubicBezTo>
                      <a:close/>
                    </a:path>
                  </a:pathLst>
                </a:custGeom>
                <a:solidFill>
                  <a:schemeClr val="accent1"/>
                </a:solidFill>
                <a:ln w="274" cap="flat">
                  <a:noFill/>
                  <a:prstDash val="solid"/>
                  <a:miter/>
                </a:ln>
              </p:spPr>
              <p:txBody>
                <a:bodyPr rtlCol="0" anchor="ctr"/>
                <a:lstStyle/>
                <a:p>
                  <a:endParaRPr lang="en-GB" dirty="0"/>
                </a:p>
              </p:txBody>
            </p:sp>
          </p:grpSp>
          <p:grpSp>
            <p:nvGrpSpPr>
              <p:cNvPr id="733" name="Grafik 349">
                <a:extLst>
                  <a:ext uri="{FF2B5EF4-FFF2-40B4-BE49-F238E27FC236}">
                    <a16:creationId xmlns:a16="http://schemas.microsoft.com/office/drawing/2014/main" id="{2F3C0945-6449-4CDF-9130-9531C70773EF}"/>
                  </a:ext>
                </a:extLst>
              </p:cNvPr>
              <p:cNvGrpSpPr/>
              <p:nvPr/>
            </p:nvGrpSpPr>
            <p:grpSpPr>
              <a:xfrm>
                <a:off x="5496523" y="4180942"/>
                <a:ext cx="59147" cy="153265"/>
                <a:chOff x="5496523" y="4180942"/>
                <a:chExt cx="59147" cy="153265"/>
              </a:xfrm>
              <a:solidFill>
                <a:schemeClr val="accent1"/>
              </a:solidFill>
            </p:grpSpPr>
            <p:sp>
              <p:nvSpPr>
                <p:cNvPr id="734" name="Freihandform: Form 733">
                  <a:extLst>
                    <a:ext uri="{FF2B5EF4-FFF2-40B4-BE49-F238E27FC236}">
                      <a16:creationId xmlns:a16="http://schemas.microsoft.com/office/drawing/2014/main" id="{40EC03FA-AEB8-41F0-B68F-6A03AD8AD5B8}"/>
                    </a:ext>
                  </a:extLst>
                </p:cNvPr>
                <p:cNvSpPr/>
                <p:nvPr/>
              </p:nvSpPr>
              <p:spPr>
                <a:xfrm>
                  <a:off x="5510894" y="4252876"/>
                  <a:ext cx="31624" cy="13140"/>
                </a:xfrm>
                <a:custGeom>
                  <a:avLst/>
                  <a:gdLst>
                    <a:gd name="connsiteX0" fmla="*/ 25056 w 31624"/>
                    <a:gd name="connsiteY0" fmla="*/ 13140 h 13140"/>
                    <a:gd name="connsiteX1" fmla="*/ 6569 w 31624"/>
                    <a:gd name="connsiteY1" fmla="*/ 13140 h 13140"/>
                    <a:gd name="connsiteX2" fmla="*/ 0 w 31624"/>
                    <a:gd name="connsiteY2" fmla="*/ 6572 h 13140"/>
                    <a:gd name="connsiteX3" fmla="*/ 6569 w 31624"/>
                    <a:gd name="connsiteY3" fmla="*/ 0 h 13140"/>
                    <a:gd name="connsiteX4" fmla="*/ 25056 w 31624"/>
                    <a:gd name="connsiteY4" fmla="*/ 0 h 13140"/>
                    <a:gd name="connsiteX5" fmla="*/ 31625 w 31624"/>
                    <a:gd name="connsiteY5" fmla="*/ 6572 h 13140"/>
                    <a:gd name="connsiteX6" fmla="*/ 25056 w 31624"/>
                    <a:gd name="connsiteY6" fmla="*/ 13140 h 1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24" h="13140">
                      <a:moveTo>
                        <a:pt x="25056" y="13140"/>
                      </a:moveTo>
                      <a:lnTo>
                        <a:pt x="6569" y="13140"/>
                      </a:lnTo>
                      <a:cubicBezTo>
                        <a:pt x="2939" y="13140"/>
                        <a:pt x="0" y="10201"/>
                        <a:pt x="0" y="6572"/>
                      </a:cubicBezTo>
                      <a:cubicBezTo>
                        <a:pt x="0" y="2939"/>
                        <a:pt x="2942" y="0"/>
                        <a:pt x="6569" y="0"/>
                      </a:cubicBezTo>
                      <a:lnTo>
                        <a:pt x="25056" y="0"/>
                      </a:lnTo>
                      <a:cubicBezTo>
                        <a:pt x="28686" y="0"/>
                        <a:pt x="31625" y="2939"/>
                        <a:pt x="31625" y="6572"/>
                      </a:cubicBezTo>
                      <a:cubicBezTo>
                        <a:pt x="31625" y="10201"/>
                        <a:pt x="28683" y="13140"/>
                        <a:pt x="25056" y="13140"/>
                      </a:cubicBezTo>
                      <a:close/>
                    </a:path>
                  </a:pathLst>
                </a:custGeom>
                <a:solidFill>
                  <a:schemeClr val="accent1"/>
                </a:solidFill>
                <a:ln w="274" cap="flat">
                  <a:noFill/>
                  <a:prstDash val="solid"/>
                  <a:miter/>
                </a:ln>
              </p:spPr>
              <p:txBody>
                <a:bodyPr rtlCol="0" anchor="ctr"/>
                <a:lstStyle/>
                <a:p>
                  <a:endParaRPr lang="en-GB" dirty="0"/>
                </a:p>
              </p:txBody>
            </p:sp>
            <p:sp>
              <p:nvSpPr>
                <p:cNvPr id="735" name="Freihandform: Form 734">
                  <a:extLst>
                    <a:ext uri="{FF2B5EF4-FFF2-40B4-BE49-F238E27FC236}">
                      <a16:creationId xmlns:a16="http://schemas.microsoft.com/office/drawing/2014/main" id="{F3298652-B86F-423F-82DC-39CE30C11733}"/>
                    </a:ext>
                  </a:extLst>
                </p:cNvPr>
                <p:cNvSpPr/>
                <p:nvPr/>
              </p:nvSpPr>
              <p:spPr>
                <a:xfrm>
                  <a:off x="5497751" y="4292287"/>
                  <a:ext cx="57908" cy="41920"/>
                </a:xfrm>
                <a:custGeom>
                  <a:avLst/>
                  <a:gdLst>
                    <a:gd name="connsiteX0" fmla="*/ 51331 w 57908"/>
                    <a:gd name="connsiteY0" fmla="*/ 41920 h 41920"/>
                    <a:gd name="connsiteX1" fmla="*/ 47787 w 57908"/>
                    <a:gd name="connsiteY1" fmla="*/ 40874 h 41920"/>
                    <a:gd name="connsiteX2" fmla="*/ 3019 w 57908"/>
                    <a:gd name="connsiteY2" fmla="*/ 12098 h 41920"/>
                    <a:gd name="connsiteX3" fmla="*/ 1044 w 57908"/>
                    <a:gd name="connsiteY3" fmla="*/ 3020 h 41920"/>
                    <a:gd name="connsiteX4" fmla="*/ 10122 w 57908"/>
                    <a:gd name="connsiteY4" fmla="*/ 1050 h 41920"/>
                    <a:gd name="connsiteX5" fmla="*/ 54890 w 57908"/>
                    <a:gd name="connsiteY5" fmla="*/ 29826 h 41920"/>
                    <a:gd name="connsiteX6" fmla="*/ 56865 w 57908"/>
                    <a:gd name="connsiteY6" fmla="*/ 38904 h 41920"/>
                    <a:gd name="connsiteX7" fmla="*/ 51331 w 57908"/>
                    <a:gd name="connsiteY7" fmla="*/ 41920 h 41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08" h="41920">
                      <a:moveTo>
                        <a:pt x="51331" y="41920"/>
                      </a:moveTo>
                      <a:cubicBezTo>
                        <a:pt x="50115" y="41920"/>
                        <a:pt x="48883" y="41586"/>
                        <a:pt x="47787" y="40874"/>
                      </a:cubicBezTo>
                      <a:lnTo>
                        <a:pt x="3019" y="12098"/>
                      </a:lnTo>
                      <a:cubicBezTo>
                        <a:pt x="-35" y="10142"/>
                        <a:pt x="-917" y="6074"/>
                        <a:pt x="1044" y="3020"/>
                      </a:cubicBezTo>
                      <a:cubicBezTo>
                        <a:pt x="3008" y="-29"/>
                        <a:pt x="7073" y="-925"/>
                        <a:pt x="10122" y="1050"/>
                      </a:cubicBezTo>
                      <a:lnTo>
                        <a:pt x="54890" y="29826"/>
                      </a:lnTo>
                      <a:cubicBezTo>
                        <a:pt x="57944" y="31782"/>
                        <a:pt x="58826" y="35850"/>
                        <a:pt x="56865" y="38904"/>
                      </a:cubicBezTo>
                      <a:cubicBezTo>
                        <a:pt x="55610" y="40855"/>
                        <a:pt x="53495" y="41920"/>
                        <a:pt x="51331" y="41920"/>
                      </a:cubicBezTo>
                      <a:close/>
                    </a:path>
                  </a:pathLst>
                </a:custGeom>
                <a:solidFill>
                  <a:schemeClr val="accent1"/>
                </a:solidFill>
                <a:ln w="274" cap="flat">
                  <a:noFill/>
                  <a:prstDash val="solid"/>
                  <a:miter/>
                </a:ln>
              </p:spPr>
              <p:txBody>
                <a:bodyPr rtlCol="0" anchor="ctr"/>
                <a:lstStyle/>
                <a:p>
                  <a:endParaRPr lang="en-GB" dirty="0"/>
                </a:p>
              </p:txBody>
            </p:sp>
            <p:sp>
              <p:nvSpPr>
                <p:cNvPr id="736" name="Freihandform: Form 735">
                  <a:extLst>
                    <a:ext uri="{FF2B5EF4-FFF2-40B4-BE49-F238E27FC236}">
                      <a16:creationId xmlns:a16="http://schemas.microsoft.com/office/drawing/2014/main" id="{98E3E304-714D-4098-BBD8-C022C4AAE073}"/>
                    </a:ext>
                  </a:extLst>
                </p:cNvPr>
                <p:cNvSpPr/>
                <p:nvPr/>
              </p:nvSpPr>
              <p:spPr>
                <a:xfrm>
                  <a:off x="5496523" y="4180942"/>
                  <a:ext cx="59147" cy="39084"/>
                </a:xfrm>
                <a:custGeom>
                  <a:avLst/>
                  <a:gdLst>
                    <a:gd name="connsiteX0" fmla="*/ 6578 w 59147"/>
                    <a:gd name="connsiteY0" fmla="*/ 39084 h 39084"/>
                    <a:gd name="connsiteX1" fmla="*/ 847 w 59147"/>
                    <a:gd name="connsiteY1" fmla="*/ 35743 h 39084"/>
                    <a:gd name="connsiteX2" fmla="*/ 3343 w 59147"/>
                    <a:gd name="connsiteY2" fmla="*/ 26793 h 39084"/>
                    <a:gd name="connsiteX3" fmla="*/ 49351 w 59147"/>
                    <a:gd name="connsiteY3" fmla="*/ 847 h 39084"/>
                    <a:gd name="connsiteX4" fmla="*/ 58300 w 59147"/>
                    <a:gd name="connsiteY4" fmla="*/ 3342 h 39084"/>
                    <a:gd name="connsiteX5" fmla="*/ 55805 w 59147"/>
                    <a:gd name="connsiteY5" fmla="*/ 12292 h 39084"/>
                    <a:gd name="connsiteX6" fmla="*/ 9796 w 59147"/>
                    <a:gd name="connsiteY6" fmla="*/ 38238 h 39084"/>
                    <a:gd name="connsiteX7" fmla="*/ 6578 w 59147"/>
                    <a:gd name="connsiteY7" fmla="*/ 39084 h 39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147" h="39084">
                      <a:moveTo>
                        <a:pt x="6578" y="39084"/>
                      </a:moveTo>
                      <a:cubicBezTo>
                        <a:pt x="4285" y="39084"/>
                        <a:pt x="2055" y="37885"/>
                        <a:pt x="847" y="35743"/>
                      </a:cubicBezTo>
                      <a:cubicBezTo>
                        <a:pt x="-933" y="32579"/>
                        <a:pt x="184" y="28577"/>
                        <a:pt x="3343" y="26793"/>
                      </a:cubicBezTo>
                      <a:lnTo>
                        <a:pt x="49351" y="847"/>
                      </a:lnTo>
                      <a:cubicBezTo>
                        <a:pt x="52515" y="-931"/>
                        <a:pt x="56525" y="179"/>
                        <a:pt x="58300" y="3342"/>
                      </a:cubicBezTo>
                      <a:cubicBezTo>
                        <a:pt x="60081" y="6506"/>
                        <a:pt x="58963" y="10508"/>
                        <a:pt x="55805" y="12292"/>
                      </a:cubicBezTo>
                      <a:lnTo>
                        <a:pt x="9796" y="38238"/>
                      </a:lnTo>
                      <a:cubicBezTo>
                        <a:pt x="8780" y="38813"/>
                        <a:pt x="7673" y="39084"/>
                        <a:pt x="6578" y="39084"/>
                      </a:cubicBezTo>
                      <a:close/>
                    </a:path>
                  </a:pathLst>
                </a:custGeom>
                <a:solidFill>
                  <a:schemeClr val="accent1"/>
                </a:solidFill>
                <a:ln w="274" cap="flat">
                  <a:noFill/>
                  <a:prstDash val="solid"/>
                  <a:miter/>
                </a:ln>
              </p:spPr>
              <p:txBody>
                <a:bodyPr rtlCol="0" anchor="ctr"/>
                <a:lstStyle/>
                <a:p>
                  <a:endParaRPr lang="en-GB" dirty="0"/>
                </a:p>
              </p:txBody>
            </p:sp>
          </p:grpSp>
        </p:grpSp>
      </p:grpSp>
      <p:sp>
        <p:nvSpPr>
          <p:cNvPr id="745" name="TextBox 1421">
            <a:extLst>
              <a:ext uri="{FF2B5EF4-FFF2-40B4-BE49-F238E27FC236}">
                <a16:creationId xmlns:a16="http://schemas.microsoft.com/office/drawing/2014/main" id="{F0F66689-FDA8-455A-ADBD-36F1CF54C5D7}"/>
              </a:ext>
            </a:extLst>
          </p:cNvPr>
          <p:cNvSpPr txBox="1"/>
          <p:nvPr/>
        </p:nvSpPr>
        <p:spPr>
          <a:xfrm>
            <a:off x="4989650" y="4547732"/>
            <a:ext cx="447237" cy="107722"/>
          </a:xfrm>
          <a:prstGeom prst="rect">
            <a:avLst/>
          </a:prstGeom>
          <a:noFill/>
          <a:effectLst/>
        </p:spPr>
        <p:txBody>
          <a:bodyPr wrap="none" lIns="0" tIns="0" rIns="0" bIns="0" rtlCol="0" anchor="t">
            <a:spAutoFit/>
          </a:bodyPr>
          <a:lstStyle/>
          <a:p>
            <a:pPr algn="ctr"/>
            <a:r>
              <a:rPr lang="en-GB" sz="700" dirty="0">
                <a:solidFill>
                  <a:schemeClr val="tx2"/>
                </a:solidFill>
              </a:rPr>
              <a:t>Newsbreak</a:t>
            </a:r>
          </a:p>
        </p:txBody>
      </p:sp>
      <p:grpSp>
        <p:nvGrpSpPr>
          <p:cNvPr id="30" name="Group 29">
            <a:extLst>
              <a:ext uri="{FF2B5EF4-FFF2-40B4-BE49-F238E27FC236}">
                <a16:creationId xmlns:a16="http://schemas.microsoft.com/office/drawing/2014/main" id="{F39252FD-F6E8-4B8E-B285-FE8EFDFF9E7B}"/>
              </a:ext>
            </a:extLst>
          </p:cNvPr>
          <p:cNvGrpSpPr/>
          <p:nvPr/>
        </p:nvGrpSpPr>
        <p:grpSpPr>
          <a:xfrm>
            <a:off x="5046102" y="3273397"/>
            <a:ext cx="334332" cy="432000"/>
            <a:chOff x="5045690" y="3273397"/>
            <a:chExt cx="334332" cy="432000"/>
          </a:xfrm>
        </p:grpSpPr>
        <p:grpSp>
          <p:nvGrpSpPr>
            <p:cNvPr id="747" name="Grafik 349">
              <a:extLst>
                <a:ext uri="{FF2B5EF4-FFF2-40B4-BE49-F238E27FC236}">
                  <a16:creationId xmlns:a16="http://schemas.microsoft.com/office/drawing/2014/main" id="{D68F38FC-D3A0-4F32-924A-27E113375E8A}"/>
                </a:ext>
              </a:extLst>
            </p:cNvPr>
            <p:cNvGrpSpPr/>
            <p:nvPr/>
          </p:nvGrpSpPr>
          <p:grpSpPr>
            <a:xfrm>
              <a:off x="5127521" y="3384264"/>
              <a:ext cx="170669" cy="138388"/>
              <a:chOff x="5409508" y="3411248"/>
              <a:chExt cx="171178" cy="138801"/>
            </a:xfrm>
            <a:solidFill>
              <a:schemeClr val="accent1"/>
            </a:solidFill>
          </p:grpSpPr>
          <p:sp>
            <p:nvSpPr>
              <p:cNvPr id="753" name="Freihandform: Form 752">
                <a:extLst>
                  <a:ext uri="{FF2B5EF4-FFF2-40B4-BE49-F238E27FC236}">
                    <a16:creationId xmlns:a16="http://schemas.microsoft.com/office/drawing/2014/main" id="{1209520A-9385-405D-B38C-F5D59FEDEC9D}"/>
                  </a:ext>
                </a:extLst>
              </p:cNvPr>
              <p:cNvSpPr/>
              <p:nvPr/>
            </p:nvSpPr>
            <p:spPr>
              <a:xfrm>
                <a:off x="5409508" y="3411248"/>
                <a:ext cx="171178" cy="138801"/>
              </a:xfrm>
              <a:custGeom>
                <a:avLst/>
                <a:gdLst>
                  <a:gd name="connsiteX0" fmla="*/ 85591 w 171178"/>
                  <a:gd name="connsiteY0" fmla="*/ 138801 h 138801"/>
                  <a:gd name="connsiteX1" fmla="*/ 80685 w 171178"/>
                  <a:gd name="connsiteY1" fmla="*/ 136602 h 138801"/>
                  <a:gd name="connsiteX2" fmla="*/ 1666 w 171178"/>
                  <a:gd name="connsiteY2" fmla="*/ 47899 h 138801"/>
                  <a:gd name="connsiteX3" fmla="*/ 1772 w 171178"/>
                  <a:gd name="connsiteY3" fmla="*/ 39037 h 138801"/>
                  <a:gd name="connsiteX4" fmla="*/ 36345 w 171178"/>
                  <a:gd name="connsiteY4" fmla="*/ 2079 h 138801"/>
                  <a:gd name="connsiteX5" fmla="*/ 41144 w 171178"/>
                  <a:gd name="connsiteY5" fmla="*/ 0 h 138801"/>
                  <a:gd name="connsiteX6" fmla="*/ 130038 w 171178"/>
                  <a:gd name="connsiteY6" fmla="*/ 0 h 138801"/>
                  <a:gd name="connsiteX7" fmla="*/ 134838 w 171178"/>
                  <a:gd name="connsiteY7" fmla="*/ 2079 h 138801"/>
                  <a:gd name="connsiteX8" fmla="*/ 169407 w 171178"/>
                  <a:gd name="connsiteY8" fmla="*/ 39037 h 138801"/>
                  <a:gd name="connsiteX9" fmla="*/ 169514 w 171178"/>
                  <a:gd name="connsiteY9" fmla="*/ 47899 h 138801"/>
                  <a:gd name="connsiteX10" fmla="*/ 90497 w 171178"/>
                  <a:gd name="connsiteY10" fmla="*/ 136602 h 138801"/>
                  <a:gd name="connsiteX11" fmla="*/ 85591 w 171178"/>
                  <a:gd name="connsiteY11" fmla="*/ 138801 h 138801"/>
                  <a:gd name="connsiteX12" fmla="*/ 15466 w 171178"/>
                  <a:gd name="connsiteY12" fmla="*/ 43636 h 138801"/>
                  <a:gd name="connsiteX13" fmla="*/ 85591 w 171178"/>
                  <a:gd name="connsiteY13" fmla="*/ 122355 h 138801"/>
                  <a:gd name="connsiteX14" fmla="*/ 155714 w 171178"/>
                  <a:gd name="connsiteY14" fmla="*/ 43636 h 138801"/>
                  <a:gd name="connsiteX15" fmla="*/ 127187 w 171178"/>
                  <a:gd name="connsiteY15" fmla="*/ 13140 h 138801"/>
                  <a:gd name="connsiteX16" fmla="*/ 43995 w 171178"/>
                  <a:gd name="connsiteY16" fmla="*/ 13140 h 138801"/>
                  <a:gd name="connsiteX17" fmla="*/ 15466 w 171178"/>
                  <a:gd name="connsiteY17" fmla="*/ 43636 h 13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178" h="138801">
                    <a:moveTo>
                      <a:pt x="85591" y="138801"/>
                    </a:moveTo>
                    <a:cubicBezTo>
                      <a:pt x="83718" y="138801"/>
                      <a:pt x="81932" y="137999"/>
                      <a:pt x="80685" y="136602"/>
                    </a:cubicBezTo>
                    <a:lnTo>
                      <a:pt x="1666" y="47899"/>
                    </a:lnTo>
                    <a:cubicBezTo>
                      <a:pt x="-597" y="45365"/>
                      <a:pt x="-548" y="41522"/>
                      <a:pt x="1772" y="39037"/>
                    </a:cubicBezTo>
                    <a:lnTo>
                      <a:pt x="36345" y="2079"/>
                    </a:lnTo>
                    <a:cubicBezTo>
                      <a:pt x="37588" y="750"/>
                      <a:pt x="39325" y="0"/>
                      <a:pt x="41144" y="0"/>
                    </a:cubicBezTo>
                    <a:lnTo>
                      <a:pt x="130038" y="0"/>
                    </a:lnTo>
                    <a:cubicBezTo>
                      <a:pt x="131857" y="0"/>
                      <a:pt x="133594" y="750"/>
                      <a:pt x="134838" y="2079"/>
                    </a:cubicBezTo>
                    <a:lnTo>
                      <a:pt x="169407" y="39037"/>
                    </a:lnTo>
                    <a:cubicBezTo>
                      <a:pt x="171727" y="41519"/>
                      <a:pt x="171774" y="45362"/>
                      <a:pt x="169514" y="47899"/>
                    </a:cubicBezTo>
                    <a:lnTo>
                      <a:pt x="90497" y="136602"/>
                    </a:lnTo>
                    <a:cubicBezTo>
                      <a:pt x="89251" y="137999"/>
                      <a:pt x="87462" y="138801"/>
                      <a:pt x="85591" y="138801"/>
                    </a:cubicBezTo>
                    <a:close/>
                    <a:moveTo>
                      <a:pt x="15466" y="43636"/>
                    </a:moveTo>
                    <a:lnTo>
                      <a:pt x="85591" y="122355"/>
                    </a:lnTo>
                    <a:lnTo>
                      <a:pt x="155714" y="43636"/>
                    </a:lnTo>
                    <a:lnTo>
                      <a:pt x="127187" y="13140"/>
                    </a:lnTo>
                    <a:lnTo>
                      <a:pt x="43995" y="13140"/>
                    </a:lnTo>
                    <a:lnTo>
                      <a:pt x="15466" y="43636"/>
                    </a:lnTo>
                    <a:close/>
                  </a:path>
                </a:pathLst>
              </a:custGeom>
              <a:solidFill>
                <a:schemeClr val="accent1"/>
              </a:solidFill>
              <a:ln w="274" cap="flat">
                <a:noFill/>
                <a:prstDash val="solid"/>
                <a:miter/>
              </a:ln>
            </p:spPr>
            <p:txBody>
              <a:bodyPr rtlCol="0" anchor="ctr"/>
              <a:lstStyle/>
              <a:p>
                <a:endParaRPr lang="en-GB" dirty="0"/>
              </a:p>
            </p:txBody>
          </p:sp>
          <p:sp>
            <p:nvSpPr>
              <p:cNvPr id="754" name="Freihandform: Form 753">
                <a:extLst>
                  <a:ext uri="{FF2B5EF4-FFF2-40B4-BE49-F238E27FC236}">
                    <a16:creationId xmlns:a16="http://schemas.microsoft.com/office/drawing/2014/main" id="{099D4FD3-3887-4EEF-9309-44905E470584}"/>
                  </a:ext>
                </a:extLst>
              </p:cNvPr>
              <p:cNvSpPr/>
              <p:nvPr/>
            </p:nvSpPr>
            <p:spPr>
              <a:xfrm>
                <a:off x="5409508" y="3448209"/>
                <a:ext cx="171176" cy="13137"/>
              </a:xfrm>
              <a:custGeom>
                <a:avLst/>
                <a:gdLst>
                  <a:gd name="connsiteX0" fmla="*/ 164608 w 171176"/>
                  <a:gd name="connsiteY0" fmla="*/ 13137 h 13137"/>
                  <a:gd name="connsiteX1" fmla="*/ 6569 w 171176"/>
                  <a:gd name="connsiteY1" fmla="*/ 13137 h 13137"/>
                  <a:gd name="connsiteX2" fmla="*/ 0 w 171176"/>
                  <a:gd name="connsiteY2" fmla="*/ 6569 h 13137"/>
                  <a:gd name="connsiteX3" fmla="*/ 6569 w 171176"/>
                  <a:gd name="connsiteY3" fmla="*/ 0 h 13137"/>
                  <a:gd name="connsiteX4" fmla="*/ 164608 w 171176"/>
                  <a:gd name="connsiteY4" fmla="*/ 0 h 13137"/>
                  <a:gd name="connsiteX5" fmla="*/ 171177 w 171176"/>
                  <a:gd name="connsiteY5" fmla="*/ 6569 h 13137"/>
                  <a:gd name="connsiteX6" fmla="*/ 164608 w 171176"/>
                  <a:gd name="connsiteY6" fmla="*/ 13137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176" h="13137">
                    <a:moveTo>
                      <a:pt x="164608" y="13137"/>
                    </a:moveTo>
                    <a:lnTo>
                      <a:pt x="6569" y="13137"/>
                    </a:lnTo>
                    <a:cubicBezTo>
                      <a:pt x="2939" y="13137"/>
                      <a:pt x="0" y="10198"/>
                      <a:pt x="0" y="6569"/>
                    </a:cubicBezTo>
                    <a:cubicBezTo>
                      <a:pt x="0" y="2937"/>
                      <a:pt x="2942" y="0"/>
                      <a:pt x="6569" y="0"/>
                    </a:cubicBezTo>
                    <a:lnTo>
                      <a:pt x="164608" y="0"/>
                    </a:lnTo>
                    <a:cubicBezTo>
                      <a:pt x="168237" y="0"/>
                      <a:pt x="171177" y="2939"/>
                      <a:pt x="171177" y="6569"/>
                    </a:cubicBezTo>
                    <a:cubicBezTo>
                      <a:pt x="171177" y="10198"/>
                      <a:pt x="168235" y="13137"/>
                      <a:pt x="164608" y="13137"/>
                    </a:cubicBezTo>
                    <a:close/>
                  </a:path>
                </a:pathLst>
              </a:custGeom>
              <a:solidFill>
                <a:schemeClr val="accent1"/>
              </a:solidFill>
              <a:ln w="274" cap="flat">
                <a:noFill/>
                <a:prstDash val="solid"/>
                <a:miter/>
              </a:ln>
            </p:spPr>
            <p:txBody>
              <a:bodyPr rtlCol="0" anchor="ctr"/>
              <a:lstStyle/>
              <a:p>
                <a:endParaRPr lang="en-GB" dirty="0"/>
              </a:p>
            </p:txBody>
          </p:sp>
          <p:sp>
            <p:nvSpPr>
              <p:cNvPr id="755" name="Freihandform: Form 754">
                <a:extLst>
                  <a:ext uri="{FF2B5EF4-FFF2-40B4-BE49-F238E27FC236}">
                    <a16:creationId xmlns:a16="http://schemas.microsoft.com/office/drawing/2014/main" id="{81CAFDB6-CB14-489C-85D1-2377EAB7B7B3}"/>
                  </a:ext>
                </a:extLst>
              </p:cNvPr>
              <p:cNvSpPr/>
              <p:nvPr/>
            </p:nvSpPr>
            <p:spPr>
              <a:xfrm>
                <a:off x="5488527" y="3411252"/>
                <a:ext cx="57590" cy="138797"/>
              </a:xfrm>
              <a:custGeom>
                <a:avLst/>
                <a:gdLst>
                  <a:gd name="connsiteX0" fmla="*/ 6573 w 57590"/>
                  <a:gd name="connsiteY0" fmla="*/ 138797 h 138797"/>
                  <a:gd name="connsiteX1" fmla="*/ 4381 w 57590"/>
                  <a:gd name="connsiteY1" fmla="*/ 138419 h 138797"/>
                  <a:gd name="connsiteX2" fmla="*/ 377 w 57590"/>
                  <a:gd name="connsiteY2" fmla="*/ 130040 h 138797"/>
                  <a:gd name="connsiteX3" fmla="*/ 44824 w 57590"/>
                  <a:gd name="connsiteY3" fmla="*/ 4379 h 138797"/>
                  <a:gd name="connsiteX4" fmla="*/ 53209 w 57590"/>
                  <a:gd name="connsiteY4" fmla="*/ 374 h 138797"/>
                  <a:gd name="connsiteX5" fmla="*/ 57214 w 57590"/>
                  <a:gd name="connsiteY5" fmla="*/ 8754 h 138797"/>
                  <a:gd name="connsiteX6" fmla="*/ 12766 w 57590"/>
                  <a:gd name="connsiteY6" fmla="*/ 134415 h 138797"/>
                  <a:gd name="connsiteX7" fmla="*/ 6573 w 57590"/>
                  <a:gd name="connsiteY7" fmla="*/ 138797 h 138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0" h="138797">
                    <a:moveTo>
                      <a:pt x="6573" y="138797"/>
                    </a:moveTo>
                    <a:cubicBezTo>
                      <a:pt x="5844" y="138797"/>
                      <a:pt x="5107" y="138674"/>
                      <a:pt x="4381" y="138419"/>
                    </a:cubicBezTo>
                    <a:cubicBezTo>
                      <a:pt x="963" y="137214"/>
                      <a:pt x="-831" y="133459"/>
                      <a:pt x="377" y="130040"/>
                    </a:cubicBezTo>
                    <a:lnTo>
                      <a:pt x="44824" y="4379"/>
                    </a:lnTo>
                    <a:cubicBezTo>
                      <a:pt x="46037" y="952"/>
                      <a:pt x="49790" y="-826"/>
                      <a:pt x="53209" y="374"/>
                    </a:cubicBezTo>
                    <a:cubicBezTo>
                      <a:pt x="56627" y="1579"/>
                      <a:pt x="58422" y="5335"/>
                      <a:pt x="57214" y="8754"/>
                    </a:cubicBezTo>
                    <a:lnTo>
                      <a:pt x="12766" y="134415"/>
                    </a:lnTo>
                    <a:cubicBezTo>
                      <a:pt x="11810" y="137116"/>
                      <a:pt x="9277" y="138797"/>
                      <a:pt x="6573" y="138797"/>
                    </a:cubicBezTo>
                    <a:close/>
                  </a:path>
                </a:pathLst>
              </a:custGeom>
              <a:solidFill>
                <a:schemeClr val="accent1"/>
              </a:solidFill>
              <a:ln w="274" cap="flat">
                <a:noFill/>
                <a:prstDash val="solid"/>
                <a:miter/>
              </a:ln>
            </p:spPr>
            <p:txBody>
              <a:bodyPr rtlCol="0" anchor="ctr"/>
              <a:lstStyle/>
              <a:p>
                <a:endParaRPr lang="en-GB" dirty="0"/>
              </a:p>
            </p:txBody>
          </p:sp>
          <p:sp>
            <p:nvSpPr>
              <p:cNvPr id="756" name="Freihandform: Form 755">
                <a:extLst>
                  <a:ext uri="{FF2B5EF4-FFF2-40B4-BE49-F238E27FC236}">
                    <a16:creationId xmlns:a16="http://schemas.microsoft.com/office/drawing/2014/main" id="{939B5177-DAE7-4ABA-B04F-26BFCE7DF785}"/>
                  </a:ext>
                </a:extLst>
              </p:cNvPr>
              <p:cNvSpPr/>
              <p:nvPr/>
            </p:nvSpPr>
            <p:spPr>
              <a:xfrm>
                <a:off x="5444081" y="3411248"/>
                <a:ext cx="57592" cy="138801"/>
              </a:xfrm>
              <a:custGeom>
                <a:avLst/>
                <a:gdLst>
                  <a:gd name="connsiteX0" fmla="*/ 51019 w 57592"/>
                  <a:gd name="connsiteY0" fmla="*/ 138801 h 138801"/>
                  <a:gd name="connsiteX1" fmla="*/ 44825 w 57592"/>
                  <a:gd name="connsiteY1" fmla="*/ 134418 h 138801"/>
                  <a:gd name="connsiteX2" fmla="*/ 378 w 57592"/>
                  <a:gd name="connsiteY2" fmla="*/ 8760 h 138801"/>
                  <a:gd name="connsiteX3" fmla="*/ 4383 w 57592"/>
                  <a:gd name="connsiteY3" fmla="*/ 381 h 138801"/>
                  <a:gd name="connsiteX4" fmla="*/ 12768 w 57592"/>
                  <a:gd name="connsiteY4" fmla="*/ 4385 h 138801"/>
                  <a:gd name="connsiteX5" fmla="*/ 57215 w 57592"/>
                  <a:gd name="connsiteY5" fmla="*/ 130046 h 138801"/>
                  <a:gd name="connsiteX6" fmla="*/ 53210 w 57592"/>
                  <a:gd name="connsiteY6" fmla="*/ 138426 h 138801"/>
                  <a:gd name="connsiteX7" fmla="*/ 51019 w 57592"/>
                  <a:gd name="connsiteY7" fmla="*/ 138801 h 138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92" h="138801">
                    <a:moveTo>
                      <a:pt x="51019" y="138801"/>
                    </a:moveTo>
                    <a:cubicBezTo>
                      <a:pt x="48312" y="138801"/>
                      <a:pt x="45781" y="137119"/>
                      <a:pt x="44825" y="134418"/>
                    </a:cubicBezTo>
                    <a:lnTo>
                      <a:pt x="378" y="8760"/>
                    </a:lnTo>
                    <a:cubicBezTo>
                      <a:pt x="-833" y="5341"/>
                      <a:pt x="961" y="1586"/>
                      <a:pt x="4383" y="381"/>
                    </a:cubicBezTo>
                    <a:cubicBezTo>
                      <a:pt x="7793" y="-833"/>
                      <a:pt x="11551" y="950"/>
                      <a:pt x="12768" y="4385"/>
                    </a:cubicBezTo>
                    <a:lnTo>
                      <a:pt x="57215" y="130046"/>
                    </a:lnTo>
                    <a:cubicBezTo>
                      <a:pt x="58426" y="133465"/>
                      <a:pt x="56632" y="137220"/>
                      <a:pt x="53210" y="138426"/>
                    </a:cubicBezTo>
                    <a:cubicBezTo>
                      <a:pt x="52484" y="138678"/>
                      <a:pt x="51745" y="138801"/>
                      <a:pt x="51019" y="138801"/>
                    </a:cubicBezTo>
                    <a:close/>
                  </a:path>
                </a:pathLst>
              </a:custGeom>
              <a:solidFill>
                <a:schemeClr val="accent1"/>
              </a:solidFill>
              <a:ln w="274" cap="flat">
                <a:noFill/>
                <a:prstDash val="solid"/>
                <a:miter/>
              </a:ln>
            </p:spPr>
            <p:txBody>
              <a:bodyPr rtlCol="0" anchor="ctr"/>
              <a:lstStyle/>
              <a:p>
                <a:endParaRPr lang="en-GB" dirty="0"/>
              </a:p>
            </p:txBody>
          </p:sp>
          <p:sp>
            <p:nvSpPr>
              <p:cNvPr id="757" name="Freihandform: Form 756">
                <a:extLst>
                  <a:ext uri="{FF2B5EF4-FFF2-40B4-BE49-F238E27FC236}">
                    <a16:creationId xmlns:a16="http://schemas.microsoft.com/office/drawing/2014/main" id="{D3E7B0E2-6C1F-4683-B7CA-6AC1C29D6C0F}"/>
                  </a:ext>
                </a:extLst>
              </p:cNvPr>
              <p:cNvSpPr/>
              <p:nvPr/>
            </p:nvSpPr>
            <p:spPr>
              <a:xfrm>
                <a:off x="5456425" y="3411251"/>
                <a:ext cx="77342" cy="50095"/>
              </a:xfrm>
              <a:custGeom>
                <a:avLst/>
                <a:gdLst>
                  <a:gd name="connsiteX0" fmla="*/ 70773 w 77342"/>
                  <a:gd name="connsiteY0" fmla="*/ 50096 h 50095"/>
                  <a:gd name="connsiteX1" fmla="*/ 6570 w 77342"/>
                  <a:gd name="connsiteY1" fmla="*/ 50096 h 50095"/>
                  <a:gd name="connsiteX2" fmla="*/ 593 w 77342"/>
                  <a:gd name="connsiteY2" fmla="*/ 46252 h 50095"/>
                  <a:gd name="connsiteX3" fmla="*/ 1609 w 77342"/>
                  <a:gd name="connsiteY3" fmla="*/ 39215 h 50095"/>
                  <a:gd name="connsiteX4" fmla="*/ 33713 w 77342"/>
                  <a:gd name="connsiteY4" fmla="*/ 2257 h 50095"/>
                  <a:gd name="connsiteX5" fmla="*/ 38674 w 77342"/>
                  <a:gd name="connsiteY5" fmla="*/ 0 h 50095"/>
                  <a:gd name="connsiteX6" fmla="*/ 38674 w 77342"/>
                  <a:gd name="connsiteY6" fmla="*/ 0 h 50095"/>
                  <a:gd name="connsiteX7" fmla="*/ 43635 w 77342"/>
                  <a:gd name="connsiteY7" fmla="*/ 2265 h 50095"/>
                  <a:gd name="connsiteX8" fmla="*/ 75734 w 77342"/>
                  <a:gd name="connsiteY8" fmla="*/ 39223 h 50095"/>
                  <a:gd name="connsiteX9" fmla="*/ 76750 w 77342"/>
                  <a:gd name="connsiteY9" fmla="*/ 46255 h 50095"/>
                  <a:gd name="connsiteX10" fmla="*/ 70773 w 77342"/>
                  <a:gd name="connsiteY10" fmla="*/ 50096 h 50095"/>
                  <a:gd name="connsiteX11" fmla="*/ 20981 w 77342"/>
                  <a:gd name="connsiteY11" fmla="*/ 36955 h 50095"/>
                  <a:gd name="connsiteX12" fmla="*/ 56364 w 77342"/>
                  <a:gd name="connsiteY12" fmla="*/ 36955 h 50095"/>
                  <a:gd name="connsiteX13" fmla="*/ 38674 w 77342"/>
                  <a:gd name="connsiteY13" fmla="*/ 16592 h 50095"/>
                  <a:gd name="connsiteX14" fmla="*/ 20981 w 77342"/>
                  <a:gd name="connsiteY14" fmla="*/ 36955 h 5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342" h="50095">
                    <a:moveTo>
                      <a:pt x="70773" y="50096"/>
                    </a:moveTo>
                    <a:lnTo>
                      <a:pt x="6570" y="50096"/>
                    </a:lnTo>
                    <a:cubicBezTo>
                      <a:pt x="3998" y="50096"/>
                      <a:pt x="1658" y="48595"/>
                      <a:pt x="593" y="46252"/>
                    </a:cubicBezTo>
                    <a:cubicBezTo>
                      <a:pt x="-475" y="43910"/>
                      <a:pt x="-78" y="41157"/>
                      <a:pt x="1609" y="39215"/>
                    </a:cubicBezTo>
                    <a:lnTo>
                      <a:pt x="33713" y="2257"/>
                    </a:lnTo>
                    <a:cubicBezTo>
                      <a:pt x="34962" y="827"/>
                      <a:pt x="36770" y="0"/>
                      <a:pt x="38674" y="0"/>
                    </a:cubicBezTo>
                    <a:lnTo>
                      <a:pt x="38674" y="0"/>
                    </a:lnTo>
                    <a:cubicBezTo>
                      <a:pt x="40575" y="0"/>
                      <a:pt x="42386" y="827"/>
                      <a:pt x="43635" y="2265"/>
                    </a:cubicBezTo>
                    <a:lnTo>
                      <a:pt x="75734" y="39223"/>
                    </a:lnTo>
                    <a:cubicBezTo>
                      <a:pt x="77421" y="41160"/>
                      <a:pt x="77818" y="43913"/>
                      <a:pt x="76750" y="46255"/>
                    </a:cubicBezTo>
                    <a:cubicBezTo>
                      <a:pt x="75684" y="48595"/>
                      <a:pt x="73345" y="50096"/>
                      <a:pt x="70773" y="50096"/>
                    </a:cubicBezTo>
                    <a:close/>
                    <a:moveTo>
                      <a:pt x="20981" y="36955"/>
                    </a:moveTo>
                    <a:lnTo>
                      <a:pt x="56364" y="36955"/>
                    </a:lnTo>
                    <a:lnTo>
                      <a:pt x="38674" y="16592"/>
                    </a:lnTo>
                    <a:lnTo>
                      <a:pt x="20981" y="36955"/>
                    </a:lnTo>
                    <a:close/>
                  </a:path>
                </a:pathLst>
              </a:custGeom>
              <a:solidFill>
                <a:schemeClr val="accent1"/>
              </a:solidFill>
              <a:ln w="274" cap="flat">
                <a:noFill/>
                <a:prstDash val="solid"/>
                <a:miter/>
              </a:ln>
            </p:spPr>
            <p:txBody>
              <a:bodyPr rtlCol="0" anchor="ctr"/>
              <a:lstStyle/>
              <a:p>
                <a:endParaRPr lang="en-GB" dirty="0"/>
              </a:p>
            </p:txBody>
          </p:sp>
        </p:grpSp>
        <p:grpSp>
          <p:nvGrpSpPr>
            <p:cNvPr id="748" name="Gruppieren 747">
              <a:extLst>
                <a:ext uri="{FF2B5EF4-FFF2-40B4-BE49-F238E27FC236}">
                  <a16:creationId xmlns:a16="http://schemas.microsoft.com/office/drawing/2014/main" id="{5EFD8474-39BB-4B0F-9712-3DD23AAC3A02}"/>
                </a:ext>
              </a:extLst>
            </p:cNvPr>
            <p:cNvGrpSpPr/>
            <p:nvPr/>
          </p:nvGrpSpPr>
          <p:grpSpPr>
            <a:xfrm>
              <a:off x="5045690" y="3273397"/>
              <a:ext cx="334332" cy="432000"/>
              <a:chOff x="5327433" y="3300050"/>
              <a:chExt cx="335330" cy="433290"/>
            </a:xfrm>
          </p:grpSpPr>
          <p:sp>
            <p:nvSpPr>
              <p:cNvPr id="749" name="Freihandform: Form 748">
                <a:extLst>
                  <a:ext uri="{FF2B5EF4-FFF2-40B4-BE49-F238E27FC236}">
                    <a16:creationId xmlns:a16="http://schemas.microsoft.com/office/drawing/2014/main" id="{0ACBC36E-DA0A-4A40-A759-62A9878F3AA8}"/>
                  </a:ext>
                </a:extLst>
              </p:cNvPr>
              <p:cNvSpPr/>
              <p:nvPr/>
            </p:nvSpPr>
            <p:spPr>
              <a:xfrm>
                <a:off x="5380220" y="3355159"/>
                <a:ext cx="229758" cy="225134"/>
              </a:xfrm>
              <a:custGeom>
                <a:avLst/>
                <a:gdLst>
                  <a:gd name="connsiteX0" fmla="*/ 114879 w 229758"/>
                  <a:gd name="connsiteY0" fmla="*/ 225135 h 225134"/>
                  <a:gd name="connsiteX1" fmla="*/ 0 w 229758"/>
                  <a:gd name="connsiteY1" fmla="*/ 112565 h 225134"/>
                  <a:gd name="connsiteX2" fmla="*/ 114879 w 229758"/>
                  <a:gd name="connsiteY2" fmla="*/ 0 h 225134"/>
                  <a:gd name="connsiteX3" fmla="*/ 229758 w 229758"/>
                  <a:gd name="connsiteY3" fmla="*/ 112565 h 225134"/>
                  <a:gd name="connsiteX4" fmla="*/ 114879 w 229758"/>
                  <a:gd name="connsiteY4" fmla="*/ 225135 h 225134"/>
                  <a:gd name="connsiteX5" fmla="*/ 114879 w 229758"/>
                  <a:gd name="connsiteY5" fmla="*/ 13140 h 225134"/>
                  <a:gd name="connsiteX6" fmla="*/ 13138 w 229758"/>
                  <a:gd name="connsiteY6" fmla="*/ 112565 h 225134"/>
                  <a:gd name="connsiteX7" fmla="*/ 114879 w 229758"/>
                  <a:gd name="connsiteY7" fmla="*/ 211994 h 225134"/>
                  <a:gd name="connsiteX8" fmla="*/ 216618 w 229758"/>
                  <a:gd name="connsiteY8" fmla="*/ 112565 h 225134"/>
                  <a:gd name="connsiteX9" fmla="*/ 114879 w 229758"/>
                  <a:gd name="connsiteY9" fmla="*/ 13140 h 225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758" h="225134">
                    <a:moveTo>
                      <a:pt x="114879" y="225135"/>
                    </a:moveTo>
                    <a:cubicBezTo>
                      <a:pt x="51534" y="225135"/>
                      <a:pt x="0" y="174634"/>
                      <a:pt x="0" y="112565"/>
                    </a:cubicBezTo>
                    <a:cubicBezTo>
                      <a:pt x="0" y="50496"/>
                      <a:pt x="51534" y="0"/>
                      <a:pt x="114879" y="0"/>
                    </a:cubicBezTo>
                    <a:cubicBezTo>
                      <a:pt x="178225" y="0"/>
                      <a:pt x="229758" y="50496"/>
                      <a:pt x="229758" y="112565"/>
                    </a:cubicBezTo>
                    <a:cubicBezTo>
                      <a:pt x="229758" y="174634"/>
                      <a:pt x="178225" y="225135"/>
                      <a:pt x="114879" y="225135"/>
                    </a:cubicBezTo>
                    <a:close/>
                    <a:moveTo>
                      <a:pt x="114879" y="13140"/>
                    </a:moveTo>
                    <a:cubicBezTo>
                      <a:pt x="58779" y="13140"/>
                      <a:pt x="13138" y="57738"/>
                      <a:pt x="13138" y="112565"/>
                    </a:cubicBezTo>
                    <a:cubicBezTo>
                      <a:pt x="13138" y="167391"/>
                      <a:pt x="58779" y="211994"/>
                      <a:pt x="114879" y="211994"/>
                    </a:cubicBezTo>
                    <a:cubicBezTo>
                      <a:pt x="170979" y="211994"/>
                      <a:pt x="216618" y="167391"/>
                      <a:pt x="216618" y="112565"/>
                    </a:cubicBezTo>
                    <a:cubicBezTo>
                      <a:pt x="216618" y="57738"/>
                      <a:pt x="170977" y="13140"/>
                      <a:pt x="114879" y="13140"/>
                    </a:cubicBezTo>
                    <a:close/>
                  </a:path>
                </a:pathLst>
              </a:custGeom>
              <a:solidFill>
                <a:schemeClr val="tx2"/>
              </a:solidFill>
              <a:ln w="274" cap="flat">
                <a:noFill/>
                <a:prstDash val="solid"/>
                <a:miter/>
              </a:ln>
            </p:spPr>
            <p:txBody>
              <a:bodyPr rtlCol="0" anchor="ctr"/>
              <a:lstStyle/>
              <a:p>
                <a:endParaRPr lang="en-GB" dirty="0"/>
              </a:p>
            </p:txBody>
          </p:sp>
          <p:sp>
            <p:nvSpPr>
              <p:cNvPr id="750" name="Freihandform: Form 749">
                <a:extLst>
                  <a:ext uri="{FF2B5EF4-FFF2-40B4-BE49-F238E27FC236}">
                    <a16:creationId xmlns:a16="http://schemas.microsoft.com/office/drawing/2014/main" id="{14DBB3F8-8C0C-4392-BD7C-117E56C968BB}"/>
                  </a:ext>
                </a:extLst>
              </p:cNvPr>
              <p:cNvSpPr/>
              <p:nvPr/>
            </p:nvSpPr>
            <p:spPr>
              <a:xfrm>
                <a:off x="5327433" y="3300050"/>
                <a:ext cx="335330" cy="335338"/>
              </a:xfrm>
              <a:custGeom>
                <a:avLst/>
                <a:gdLst>
                  <a:gd name="connsiteX0" fmla="*/ 167669 w 335330"/>
                  <a:gd name="connsiteY0" fmla="*/ 335338 h 335338"/>
                  <a:gd name="connsiteX1" fmla="*/ 139342 w 335330"/>
                  <a:gd name="connsiteY1" fmla="*/ 315673 h 335338"/>
                  <a:gd name="connsiteX2" fmla="*/ 138597 w 335330"/>
                  <a:gd name="connsiteY2" fmla="*/ 313613 h 335338"/>
                  <a:gd name="connsiteX3" fmla="*/ 134551 w 335330"/>
                  <a:gd name="connsiteY3" fmla="*/ 310104 h 335338"/>
                  <a:gd name="connsiteX4" fmla="*/ 129152 w 335330"/>
                  <a:gd name="connsiteY4" fmla="*/ 311572 h 335338"/>
                  <a:gd name="connsiteX5" fmla="*/ 127577 w 335330"/>
                  <a:gd name="connsiteY5" fmla="*/ 313112 h 335338"/>
                  <a:gd name="connsiteX6" fmla="*/ 93016 w 335330"/>
                  <a:gd name="connsiteY6" fmla="*/ 318552 h 335338"/>
                  <a:gd name="connsiteX7" fmla="*/ 76558 w 335330"/>
                  <a:gd name="connsiteY7" fmla="*/ 288872 h 335338"/>
                  <a:gd name="connsiteX8" fmla="*/ 76797 w 335330"/>
                  <a:gd name="connsiteY8" fmla="*/ 286702 h 335338"/>
                  <a:gd name="connsiteX9" fmla="*/ 74811 w 335330"/>
                  <a:gd name="connsiteY9" fmla="*/ 281974 h 335338"/>
                  <a:gd name="connsiteX10" fmla="*/ 69239 w 335330"/>
                  <a:gd name="connsiteY10" fmla="*/ 281005 h 335338"/>
                  <a:gd name="connsiteX11" fmla="*/ 67132 w 335330"/>
                  <a:gd name="connsiteY11" fmla="*/ 281722 h 335338"/>
                  <a:gd name="connsiteX12" fmla="*/ 33516 w 335330"/>
                  <a:gd name="connsiteY12" fmla="*/ 271809 h 335338"/>
                  <a:gd name="connsiteX13" fmla="*/ 31867 w 335330"/>
                  <a:gd name="connsiteY13" fmla="*/ 238080 h 335338"/>
                  <a:gd name="connsiteX14" fmla="*/ 33048 w 335330"/>
                  <a:gd name="connsiteY14" fmla="*/ 236226 h 335338"/>
                  <a:gd name="connsiteX15" fmla="*/ 33368 w 335330"/>
                  <a:gd name="connsiteY15" fmla="*/ 231164 h 335338"/>
                  <a:gd name="connsiteX16" fmla="*/ 28857 w 335330"/>
                  <a:gd name="connsiteY16" fmla="*/ 228014 h 335338"/>
                  <a:gd name="connsiteX17" fmla="*/ 26624 w 335330"/>
                  <a:gd name="connsiteY17" fmla="*/ 227756 h 335338"/>
                  <a:gd name="connsiteX18" fmla="*/ 730 w 335330"/>
                  <a:gd name="connsiteY18" fmla="*/ 204760 h 335338"/>
                  <a:gd name="connsiteX19" fmla="*/ 14065 w 335330"/>
                  <a:gd name="connsiteY19" fmla="*/ 173393 h 335338"/>
                  <a:gd name="connsiteX20" fmla="*/ 15944 w 335330"/>
                  <a:gd name="connsiteY20" fmla="*/ 172226 h 335338"/>
                  <a:gd name="connsiteX21" fmla="*/ 18546 w 335330"/>
                  <a:gd name="connsiteY21" fmla="*/ 167670 h 335338"/>
                  <a:gd name="connsiteX22" fmla="*/ 15955 w 335330"/>
                  <a:gd name="connsiteY22" fmla="*/ 163120 h 335338"/>
                  <a:gd name="connsiteX23" fmla="*/ 14057 w 335330"/>
                  <a:gd name="connsiteY23" fmla="*/ 161940 h 335338"/>
                  <a:gd name="connsiteX24" fmla="*/ 730 w 335330"/>
                  <a:gd name="connsiteY24" fmla="*/ 130578 h 335338"/>
                  <a:gd name="connsiteX25" fmla="*/ 26638 w 335330"/>
                  <a:gd name="connsiteY25" fmla="*/ 107582 h 335338"/>
                  <a:gd name="connsiteX26" fmla="*/ 28846 w 335330"/>
                  <a:gd name="connsiteY26" fmla="*/ 107324 h 335338"/>
                  <a:gd name="connsiteX27" fmla="*/ 33368 w 335330"/>
                  <a:gd name="connsiteY27" fmla="*/ 104174 h 335338"/>
                  <a:gd name="connsiteX28" fmla="*/ 33051 w 335330"/>
                  <a:gd name="connsiteY28" fmla="*/ 99112 h 335338"/>
                  <a:gd name="connsiteX29" fmla="*/ 31870 w 335330"/>
                  <a:gd name="connsiteY29" fmla="*/ 97263 h 335338"/>
                  <a:gd name="connsiteX30" fmla="*/ 33519 w 335330"/>
                  <a:gd name="connsiteY30" fmla="*/ 63526 h 335338"/>
                  <a:gd name="connsiteX31" fmla="*/ 67127 w 335330"/>
                  <a:gd name="connsiteY31" fmla="*/ 53613 h 335338"/>
                  <a:gd name="connsiteX32" fmla="*/ 69247 w 335330"/>
                  <a:gd name="connsiteY32" fmla="*/ 54331 h 335338"/>
                  <a:gd name="connsiteX33" fmla="*/ 74813 w 335330"/>
                  <a:gd name="connsiteY33" fmla="*/ 53361 h 335338"/>
                  <a:gd name="connsiteX34" fmla="*/ 76802 w 335330"/>
                  <a:gd name="connsiteY34" fmla="*/ 48638 h 335338"/>
                  <a:gd name="connsiteX35" fmla="*/ 76558 w 335330"/>
                  <a:gd name="connsiteY35" fmla="*/ 46458 h 335338"/>
                  <a:gd name="connsiteX36" fmla="*/ 93021 w 335330"/>
                  <a:gd name="connsiteY36" fmla="*/ 16789 h 335338"/>
                  <a:gd name="connsiteX37" fmla="*/ 127569 w 335330"/>
                  <a:gd name="connsiteY37" fmla="*/ 22218 h 335338"/>
                  <a:gd name="connsiteX38" fmla="*/ 129163 w 335330"/>
                  <a:gd name="connsiteY38" fmla="*/ 23771 h 335338"/>
                  <a:gd name="connsiteX39" fmla="*/ 134557 w 335330"/>
                  <a:gd name="connsiteY39" fmla="*/ 25240 h 335338"/>
                  <a:gd name="connsiteX40" fmla="*/ 138600 w 335330"/>
                  <a:gd name="connsiteY40" fmla="*/ 21731 h 335338"/>
                  <a:gd name="connsiteX41" fmla="*/ 139342 w 335330"/>
                  <a:gd name="connsiteY41" fmla="*/ 19671 h 335338"/>
                  <a:gd name="connsiteX42" fmla="*/ 167669 w 335330"/>
                  <a:gd name="connsiteY42" fmla="*/ 0 h 335338"/>
                  <a:gd name="connsiteX43" fmla="*/ 167672 w 335330"/>
                  <a:gd name="connsiteY43" fmla="*/ 0 h 335338"/>
                  <a:gd name="connsiteX44" fmla="*/ 195990 w 335330"/>
                  <a:gd name="connsiteY44" fmla="*/ 19665 h 335338"/>
                  <a:gd name="connsiteX45" fmla="*/ 196738 w 335330"/>
                  <a:gd name="connsiteY45" fmla="*/ 21731 h 335338"/>
                  <a:gd name="connsiteX46" fmla="*/ 200781 w 335330"/>
                  <a:gd name="connsiteY46" fmla="*/ 25240 h 335338"/>
                  <a:gd name="connsiteX47" fmla="*/ 206180 w 335330"/>
                  <a:gd name="connsiteY47" fmla="*/ 23763 h 335338"/>
                  <a:gd name="connsiteX48" fmla="*/ 207761 w 335330"/>
                  <a:gd name="connsiteY48" fmla="*/ 22215 h 335338"/>
                  <a:gd name="connsiteX49" fmla="*/ 242314 w 335330"/>
                  <a:gd name="connsiteY49" fmla="*/ 16786 h 335338"/>
                  <a:gd name="connsiteX50" fmla="*/ 258774 w 335330"/>
                  <a:gd name="connsiteY50" fmla="*/ 46461 h 335338"/>
                  <a:gd name="connsiteX51" fmla="*/ 258530 w 335330"/>
                  <a:gd name="connsiteY51" fmla="*/ 48636 h 335338"/>
                  <a:gd name="connsiteX52" fmla="*/ 260519 w 335330"/>
                  <a:gd name="connsiteY52" fmla="*/ 53358 h 335338"/>
                  <a:gd name="connsiteX53" fmla="*/ 266093 w 335330"/>
                  <a:gd name="connsiteY53" fmla="*/ 54328 h 335338"/>
                  <a:gd name="connsiteX54" fmla="*/ 268200 w 335330"/>
                  <a:gd name="connsiteY54" fmla="*/ 53610 h 335338"/>
                  <a:gd name="connsiteX55" fmla="*/ 301811 w 335330"/>
                  <a:gd name="connsiteY55" fmla="*/ 63515 h 335338"/>
                  <a:gd name="connsiteX56" fmla="*/ 303465 w 335330"/>
                  <a:gd name="connsiteY56" fmla="*/ 97252 h 335338"/>
                  <a:gd name="connsiteX57" fmla="*/ 302279 w 335330"/>
                  <a:gd name="connsiteY57" fmla="*/ 99112 h 335338"/>
                  <a:gd name="connsiteX58" fmla="*/ 301961 w 335330"/>
                  <a:gd name="connsiteY58" fmla="*/ 104174 h 335338"/>
                  <a:gd name="connsiteX59" fmla="*/ 306473 w 335330"/>
                  <a:gd name="connsiteY59" fmla="*/ 107319 h 335338"/>
                  <a:gd name="connsiteX60" fmla="*/ 308708 w 335330"/>
                  <a:gd name="connsiteY60" fmla="*/ 107576 h 335338"/>
                  <a:gd name="connsiteX61" fmla="*/ 334600 w 335330"/>
                  <a:gd name="connsiteY61" fmla="*/ 130573 h 335338"/>
                  <a:gd name="connsiteX62" fmla="*/ 321268 w 335330"/>
                  <a:gd name="connsiteY62" fmla="*/ 161940 h 335338"/>
                  <a:gd name="connsiteX63" fmla="*/ 319389 w 335330"/>
                  <a:gd name="connsiteY63" fmla="*/ 163107 h 335338"/>
                  <a:gd name="connsiteX64" fmla="*/ 316786 w 335330"/>
                  <a:gd name="connsiteY64" fmla="*/ 167662 h 335338"/>
                  <a:gd name="connsiteX65" fmla="*/ 319378 w 335330"/>
                  <a:gd name="connsiteY65" fmla="*/ 172212 h 335338"/>
                  <a:gd name="connsiteX66" fmla="*/ 321276 w 335330"/>
                  <a:gd name="connsiteY66" fmla="*/ 173393 h 335338"/>
                  <a:gd name="connsiteX67" fmla="*/ 334600 w 335330"/>
                  <a:gd name="connsiteY67" fmla="*/ 204754 h 335338"/>
                  <a:gd name="connsiteX68" fmla="*/ 308694 w 335330"/>
                  <a:gd name="connsiteY68" fmla="*/ 227751 h 335338"/>
                  <a:gd name="connsiteX69" fmla="*/ 306484 w 335330"/>
                  <a:gd name="connsiteY69" fmla="*/ 228008 h 335338"/>
                  <a:gd name="connsiteX70" fmla="*/ 301961 w 335330"/>
                  <a:gd name="connsiteY70" fmla="*/ 231153 h 335338"/>
                  <a:gd name="connsiteX71" fmla="*/ 302282 w 335330"/>
                  <a:gd name="connsiteY71" fmla="*/ 236220 h 335338"/>
                  <a:gd name="connsiteX72" fmla="*/ 303468 w 335330"/>
                  <a:gd name="connsiteY72" fmla="*/ 238080 h 335338"/>
                  <a:gd name="connsiteX73" fmla="*/ 301813 w 335330"/>
                  <a:gd name="connsiteY73" fmla="*/ 271803 h 335338"/>
                  <a:gd name="connsiteX74" fmla="*/ 268205 w 335330"/>
                  <a:gd name="connsiteY74" fmla="*/ 281717 h 335338"/>
                  <a:gd name="connsiteX75" fmla="*/ 266085 w 335330"/>
                  <a:gd name="connsiteY75" fmla="*/ 280999 h 335338"/>
                  <a:gd name="connsiteX76" fmla="*/ 260516 w 335330"/>
                  <a:gd name="connsiteY76" fmla="*/ 281969 h 335338"/>
                  <a:gd name="connsiteX77" fmla="*/ 258528 w 335330"/>
                  <a:gd name="connsiteY77" fmla="*/ 286691 h 335338"/>
                  <a:gd name="connsiteX78" fmla="*/ 258771 w 335330"/>
                  <a:gd name="connsiteY78" fmla="*/ 288866 h 335338"/>
                  <a:gd name="connsiteX79" fmla="*/ 242314 w 335330"/>
                  <a:gd name="connsiteY79" fmla="*/ 318546 h 335338"/>
                  <a:gd name="connsiteX80" fmla="*/ 207764 w 335330"/>
                  <a:gd name="connsiteY80" fmla="*/ 313112 h 335338"/>
                  <a:gd name="connsiteX81" fmla="*/ 206169 w 335330"/>
                  <a:gd name="connsiteY81" fmla="*/ 311564 h 335338"/>
                  <a:gd name="connsiteX82" fmla="*/ 200776 w 335330"/>
                  <a:gd name="connsiteY82" fmla="*/ 310096 h 335338"/>
                  <a:gd name="connsiteX83" fmla="*/ 196733 w 335330"/>
                  <a:gd name="connsiteY83" fmla="*/ 313605 h 335338"/>
                  <a:gd name="connsiteX84" fmla="*/ 195982 w 335330"/>
                  <a:gd name="connsiteY84" fmla="*/ 315670 h 335338"/>
                  <a:gd name="connsiteX85" fmla="*/ 167669 w 335330"/>
                  <a:gd name="connsiteY85" fmla="*/ 335338 h 335338"/>
                  <a:gd name="connsiteX86" fmla="*/ 133176 w 335330"/>
                  <a:gd name="connsiteY86" fmla="*/ 296805 h 335338"/>
                  <a:gd name="connsiteX87" fmla="*/ 137507 w 335330"/>
                  <a:gd name="connsiteY87" fmla="*/ 297298 h 335338"/>
                  <a:gd name="connsiteX88" fmla="*/ 150954 w 335330"/>
                  <a:gd name="connsiteY88" fmla="*/ 309148 h 335338"/>
                  <a:gd name="connsiteX89" fmla="*/ 151699 w 335330"/>
                  <a:gd name="connsiteY89" fmla="*/ 311208 h 335338"/>
                  <a:gd name="connsiteX90" fmla="*/ 167666 w 335330"/>
                  <a:gd name="connsiteY90" fmla="*/ 322198 h 335338"/>
                  <a:gd name="connsiteX91" fmla="*/ 183631 w 335330"/>
                  <a:gd name="connsiteY91" fmla="*/ 311208 h 335338"/>
                  <a:gd name="connsiteX92" fmla="*/ 184381 w 335330"/>
                  <a:gd name="connsiteY92" fmla="*/ 309142 h 335338"/>
                  <a:gd name="connsiteX93" fmla="*/ 197825 w 335330"/>
                  <a:gd name="connsiteY93" fmla="*/ 297298 h 335338"/>
                  <a:gd name="connsiteX94" fmla="*/ 215332 w 335330"/>
                  <a:gd name="connsiteY94" fmla="*/ 302155 h 335338"/>
                  <a:gd name="connsiteX95" fmla="*/ 216926 w 335330"/>
                  <a:gd name="connsiteY95" fmla="*/ 303700 h 335338"/>
                  <a:gd name="connsiteX96" fmla="*/ 236534 w 335330"/>
                  <a:gd name="connsiteY96" fmla="*/ 306748 h 335338"/>
                  <a:gd name="connsiteX97" fmla="*/ 245716 w 335330"/>
                  <a:gd name="connsiteY97" fmla="*/ 290335 h 335338"/>
                  <a:gd name="connsiteX98" fmla="*/ 245472 w 335330"/>
                  <a:gd name="connsiteY98" fmla="*/ 288160 h 335338"/>
                  <a:gd name="connsiteX99" fmla="*/ 252279 w 335330"/>
                  <a:gd name="connsiteY99" fmla="*/ 271740 h 335338"/>
                  <a:gd name="connsiteX100" fmla="*/ 270309 w 335330"/>
                  <a:gd name="connsiteY100" fmla="*/ 268558 h 335338"/>
                  <a:gd name="connsiteX101" fmla="*/ 272429 w 335330"/>
                  <a:gd name="connsiteY101" fmla="*/ 269275 h 335338"/>
                  <a:gd name="connsiteX102" fmla="*/ 291473 w 335330"/>
                  <a:gd name="connsiteY102" fmla="*/ 263706 h 335338"/>
                  <a:gd name="connsiteX103" fmla="*/ 292388 w 335330"/>
                  <a:gd name="connsiteY103" fmla="*/ 245145 h 335338"/>
                  <a:gd name="connsiteX104" fmla="*/ 291202 w 335330"/>
                  <a:gd name="connsiteY104" fmla="*/ 243285 h 335338"/>
                  <a:gd name="connsiteX105" fmla="*/ 290109 w 335330"/>
                  <a:gd name="connsiteY105" fmla="*/ 225499 h 335338"/>
                  <a:gd name="connsiteX106" fmla="*/ 304994 w 335330"/>
                  <a:gd name="connsiteY106" fmla="*/ 214964 h 335338"/>
                  <a:gd name="connsiteX107" fmla="*/ 307204 w 335330"/>
                  <a:gd name="connsiteY107" fmla="*/ 214706 h 335338"/>
                  <a:gd name="connsiteX108" fmla="*/ 321785 w 335330"/>
                  <a:gd name="connsiteY108" fmla="*/ 201887 h 335338"/>
                  <a:gd name="connsiteX109" fmla="*/ 314357 w 335330"/>
                  <a:gd name="connsiteY109" fmla="*/ 184569 h 335338"/>
                  <a:gd name="connsiteX110" fmla="*/ 312458 w 335330"/>
                  <a:gd name="connsiteY110" fmla="*/ 183388 h 335338"/>
                  <a:gd name="connsiteX111" fmla="*/ 303651 w 335330"/>
                  <a:gd name="connsiteY111" fmla="*/ 167668 h 335338"/>
                  <a:gd name="connsiteX112" fmla="*/ 312466 w 335330"/>
                  <a:gd name="connsiteY112" fmla="*/ 151942 h 335338"/>
                  <a:gd name="connsiteX113" fmla="*/ 314346 w 335330"/>
                  <a:gd name="connsiteY113" fmla="*/ 150775 h 335338"/>
                  <a:gd name="connsiteX114" fmla="*/ 321785 w 335330"/>
                  <a:gd name="connsiteY114" fmla="*/ 133451 h 335338"/>
                  <a:gd name="connsiteX115" fmla="*/ 307218 w 335330"/>
                  <a:gd name="connsiteY115" fmla="*/ 120632 h 335338"/>
                  <a:gd name="connsiteX116" fmla="*/ 304983 w 335330"/>
                  <a:gd name="connsiteY116" fmla="*/ 120374 h 335338"/>
                  <a:gd name="connsiteX117" fmla="*/ 290111 w 335330"/>
                  <a:gd name="connsiteY117" fmla="*/ 109839 h 335338"/>
                  <a:gd name="connsiteX118" fmla="*/ 291210 w 335330"/>
                  <a:gd name="connsiteY118" fmla="*/ 92053 h 335338"/>
                  <a:gd name="connsiteX119" fmla="*/ 292396 w 335330"/>
                  <a:gd name="connsiteY119" fmla="*/ 90193 h 335338"/>
                  <a:gd name="connsiteX120" fmla="*/ 291478 w 335330"/>
                  <a:gd name="connsiteY120" fmla="*/ 71632 h 335338"/>
                  <a:gd name="connsiteX121" fmla="*/ 272429 w 335330"/>
                  <a:gd name="connsiteY121" fmla="*/ 66063 h 335338"/>
                  <a:gd name="connsiteX122" fmla="*/ 270323 w 335330"/>
                  <a:gd name="connsiteY122" fmla="*/ 66781 h 335338"/>
                  <a:gd name="connsiteX123" fmla="*/ 252288 w 335330"/>
                  <a:gd name="connsiteY123" fmla="*/ 63598 h 335338"/>
                  <a:gd name="connsiteX124" fmla="*/ 245480 w 335330"/>
                  <a:gd name="connsiteY124" fmla="*/ 47178 h 335338"/>
                  <a:gd name="connsiteX125" fmla="*/ 245724 w 335330"/>
                  <a:gd name="connsiteY125" fmla="*/ 45003 h 335338"/>
                  <a:gd name="connsiteX126" fmla="*/ 236542 w 335330"/>
                  <a:gd name="connsiteY126" fmla="*/ 28590 h 335338"/>
                  <a:gd name="connsiteX127" fmla="*/ 216929 w 335330"/>
                  <a:gd name="connsiteY127" fmla="*/ 31638 h 335338"/>
                  <a:gd name="connsiteX128" fmla="*/ 215349 w 335330"/>
                  <a:gd name="connsiteY128" fmla="*/ 33186 h 335338"/>
                  <a:gd name="connsiteX129" fmla="*/ 197836 w 335330"/>
                  <a:gd name="connsiteY129" fmla="*/ 38043 h 335338"/>
                  <a:gd name="connsiteX130" fmla="*/ 184389 w 335330"/>
                  <a:gd name="connsiteY130" fmla="*/ 26198 h 335338"/>
                  <a:gd name="connsiteX131" fmla="*/ 183642 w 335330"/>
                  <a:gd name="connsiteY131" fmla="*/ 24133 h 335338"/>
                  <a:gd name="connsiteX132" fmla="*/ 183642 w 335330"/>
                  <a:gd name="connsiteY132" fmla="*/ 24133 h 335338"/>
                  <a:gd name="connsiteX133" fmla="*/ 167677 w 335330"/>
                  <a:gd name="connsiteY133" fmla="*/ 13143 h 335338"/>
                  <a:gd name="connsiteX134" fmla="*/ 167677 w 335330"/>
                  <a:gd name="connsiteY134" fmla="*/ 13143 h 335338"/>
                  <a:gd name="connsiteX135" fmla="*/ 151710 w 335330"/>
                  <a:gd name="connsiteY135" fmla="*/ 24133 h 335338"/>
                  <a:gd name="connsiteX136" fmla="*/ 150968 w 335330"/>
                  <a:gd name="connsiteY136" fmla="*/ 26193 h 335338"/>
                  <a:gd name="connsiteX137" fmla="*/ 137515 w 335330"/>
                  <a:gd name="connsiteY137" fmla="*/ 38043 h 335338"/>
                  <a:gd name="connsiteX138" fmla="*/ 120006 w 335330"/>
                  <a:gd name="connsiteY138" fmla="*/ 33186 h 335338"/>
                  <a:gd name="connsiteX139" fmla="*/ 118412 w 335330"/>
                  <a:gd name="connsiteY139" fmla="*/ 31633 h 335338"/>
                  <a:gd name="connsiteX140" fmla="*/ 98807 w 335330"/>
                  <a:gd name="connsiteY140" fmla="*/ 28593 h 335338"/>
                  <a:gd name="connsiteX141" fmla="*/ 89625 w 335330"/>
                  <a:gd name="connsiteY141" fmla="*/ 45006 h 335338"/>
                  <a:gd name="connsiteX142" fmla="*/ 89868 w 335330"/>
                  <a:gd name="connsiteY142" fmla="*/ 47187 h 335338"/>
                  <a:gd name="connsiteX143" fmla="*/ 83059 w 335330"/>
                  <a:gd name="connsiteY143" fmla="*/ 63606 h 335338"/>
                  <a:gd name="connsiteX144" fmla="*/ 65031 w 335330"/>
                  <a:gd name="connsiteY144" fmla="*/ 66781 h 335338"/>
                  <a:gd name="connsiteX145" fmla="*/ 62911 w 335330"/>
                  <a:gd name="connsiteY145" fmla="*/ 66063 h 335338"/>
                  <a:gd name="connsiteX146" fmla="*/ 43865 w 335330"/>
                  <a:gd name="connsiteY146" fmla="*/ 71632 h 335338"/>
                  <a:gd name="connsiteX147" fmla="*/ 42953 w 335330"/>
                  <a:gd name="connsiteY147" fmla="*/ 90201 h 335338"/>
                  <a:gd name="connsiteX148" fmla="*/ 44134 w 335330"/>
                  <a:gd name="connsiteY148" fmla="*/ 92050 h 335338"/>
                  <a:gd name="connsiteX149" fmla="*/ 45235 w 335330"/>
                  <a:gd name="connsiteY149" fmla="*/ 109836 h 335338"/>
                  <a:gd name="connsiteX150" fmla="*/ 30347 w 335330"/>
                  <a:gd name="connsiteY150" fmla="*/ 120377 h 335338"/>
                  <a:gd name="connsiteX151" fmla="*/ 28139 w 335330"/>
                  <a:gd name="connsiteY151" fmla="*/ 120634 h 335338"/>
                  <a:gd name="connsiteX152" fmla="*/ 13558 w 335330"/>
                  <a:gd name="connsiteY152" fmla="*/ 133454 h 335338"/>
                  <a:gd name="connsiteX153" fmla="*/ 20987 w 335330"/>
                  <a:gd name="connsiteY153" fmla="*/ 150772 h 335338"/>
                  <a:gd name="connsiteX154" fmla="*/ 22885 w 335330"/>
                  <a:gd name="connsiteY154" fmla="*/ 151952 h 335338"/>
                  <a:gd name="connsiteX155" fmla="*/ 31692 w 335330"/>
                  <a:gd name="connsiteY155" fmla="*/ 167673 h 335338"/>
                  <a:gd name="connsiteX156" fmla="*/ 22877 w 335330"/>
                  <a:gd name="connsiteY156" fmla="*/ 183399 h 335338"/>
                  <a:gd name="connsiteX157" fmla="*/ 20998 w 335330"/>
                  <a:gd name="connsiteY157" fmla="*/ 184566 h 335338"/>
                  <a:gd name="connsiteX158" fmla="*/ 13558 w 335330"/>
                  <a:gd name="connsiteY158" fmla="*/ 201889 h 335338"/>
                  <a:gd name="connsiteX159" fmla="*/ 28125 w 335330"/>
                  <a:gd name="connsiteY159" fmla="*/ 214709 h 335338"/>
                  <a:gd name="connsiteX160" fmla="*/ 30358 w 335330"/>
                  <a:gd name="connsiteY160" fmla="*/ 214967 h 335338"/>
                  <a:gd name="connsiteX161" fmla="*/ 45235 w 335330"/>
                  <a:gd name="connsiteY161" fmla="*/ 225507 h 335338"/>
                  <a:gd name="connsiteX162" fmla="*/ 44136 w 335330"/>
                  <a:gd name="connsiteY162" fmla="*/ 243285 h 335338"/>
                  <a:gd name="connsiteX163" fmla="*/ 42956 w 335330"/>
                  <a:gd name="connsiteY163" fmla="*/ 245145 h 335338"/>
                  <a:gd name="connsiteX164" fmla="*/ 43862 w 335330"/>
                  <a:gd name="connsiteY164" fmla="*/ 263701 h 335338"/>
                  <a:gd name="connsiteX165" fmla="*/ 62914 w 335330"/>
                  <a:gd name="connsiteY165" fmla="*/ 269275 h 335338"/>
                  <a:gd name="connsiteX166" fmla="*/ 65021 w 335330"/>
                  <a:gd name="connsiteY166" fmla="*/ 268558 h 335338"/>
                  <a:gd name="connsiteX167" fmla="*/ 83053 w 335330"/>
                  <a:gd name="connsiteY167" fmla="*/ 271732 h 335338"/>
                  <a:gd name="connsiteX168" fmla="*/ 89860 w 335330"/>
                  <a:gd name="connsiteY168" fmla="*/ 288157 h 335338"/>
                  <a:gd name="connsiteX169" fmla="*/ 89622 w 335330"/>
                  <a:gd name="connsiteY169" fmla="*/ 290326 h 335338"/>
                  <a:gd name="connsiteX170" fmla="*/ 98801 w 335330"/>
                  <a:gd name="connsiteY170" fmla="*/ 306745 h 335338"/>
                  <a:gd name="connsiteX171" fmla="*/ 118414 w 335330"/>
                  <a:gd name="connsiteY171" fmla="*/ 303697 h 335338"/>
                  <a:gd name="connsiteX172" fmla="*/ 119989 w 335330"/>
                  <a:gd name="connsiteY172" fmla="*/ 302157 h 335338"/>
                  <a:gd name="connsiteX173" fmla="*/ 133176 w 335330"/>
                  <a:gd name="connsiteY173" fmla="*/ 296805 h 33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Lst>
                <a:rect l="l" t="t" r="r" b="b"/>
                <a:pathLst>
                  <a:path w="335330" h="335338">
                    <a:moveTo>
                      <a:pt x="167669" y="335338"/>
                    </a:moveTo>
                    <a:cubicBezTo>
                      <a:pt x="154775" y="335338"/>
                      <a:pt x="143657" y="327619"/>
                      <a:pt x="139342" y="315673"/>
                    </a:cubicBezTo>
                    <a:lnTo>
                      <a:pt x="138597" y="313613"/>
                    </a:lnTo>
                    <a:cubicBezTo>
                      <a:pt x="137679" y="311071"/>
                      <a:pt x="135463" y="310309"/>
                      <a:pt x="134551" y="310104"/>
                    </a:cubicBezTo>
                    <a:cubicBezTo>
                      <a:pt x="133614" y="309874"/>
                      <a:pt x="131193" y="309597"/>
                      <a:pt x="129152" y="311572"/>
                    </a:cubicBezTo>
                    <a:lnTo>
                      <a:pt x="127577" y="313112"/>
                    </a:lnTo>
                    <a:cubicBezTo>
                      <a:pt x="118285" y="322146"/>
                      <a:pt x="104721" y="324288"/>
                      <a:pt x="93016" y="318552"/>
                    </a:cubicBezTo>
                    <a:cubicBezTo>
                      <a:pt x="81626" y="312969"/>
                      <a:pt x="75167" y="301319"/>
                      <a:pt x="76558" y="288872"/>
                    </a:cubicBezTo>
                    <a:lnTo>
                      <a:pt x="76797" y="286702"/>
                    </a:lnTo>
                    <a:cubicBezTo>
                      <a:pt x="77090" y="284111"/>
                      <a:pt x="75504" y="282533"/>
                      <a:pt x="74811" y="281974"/>
                    </a:cubicBezTo>
                    <a:cubicBezTo>
                      <a:pt x="74060" y="281364"/>
                      <a:pt x="72003" y="280062"/>
                      <a:pt x="69239" y="281005"/>
                    </a:cubicBezTo>
                    <a:lnTo>
                      <a:pt x="67132" y="281722"/>
                    </a:lnTo>
                    <a:cubicBezTo>
                      <a:pt x="54737" y="285924"/>
                      <a:pt x="41529" y="282029"/>
                      <a:pt x="33516" y="271809"/>
                    </a:cubicBezTo>
                    <a:cubicBezTo>
                      <a:pt x="25759" y="261915"/>
                      <a:pt x="25112" y="248673"/>
                      <a:pt x="31867" y="238080"/>
                    </a:cubicBezTo>
                    <a:lnTo>
                      <a:pt x="33048" y="236226"/>
                    </a:lnTo>
                    <a:cubicBezTo>
                      <a:pt x="34461" y="234013"/>
                      <a:pt x="33744" y="231947"/>
                      <a:pt x="33368" y="231164"/>
                    </a:cubicBezTo>
                    <a:cubicBezTo>
                      <a:pt x="32971" y="230323"/>
                      <a:pt x="31730" y="228340"/>
                      <a:pt x="28857" y="228014"/>
                    </a:cubicBezTo>
                    <a:lnTo>
                      <a:pt x="26624" y="227756"/>
                    </a:lnTo>
                    <a:cubicBezTo>
                      <a:pt x="13706" y="226293"/>
                      <a:pt x="3535" y="217265"/>
                      <a:pt x="730" y="204760"/>
                    </a:cubicBezTo>
                    <a:cubicBezTo>
                      <a:pt x="-2037" y="192433"/>
                      <a:pt x="3201" y="180123"/>
                      <a:pt x="14065" y="173393"/>
                    </a:cubicBezTo>
                    <a:lnTo>
                      <a:pt x="15944" y="172226"/>
                    </a:lnTo>
                    <a:cubicBezTo>
                      <a:pt x="18291" y="170777"/>
                      <a:pt x="18546" y="168555"/>
                      <a:pt x="18546" y="167670"/>
                    </a:cubicBezTo>
                    <a:cubicBezTo>
                      <a:pt x="18546" y="166786"/>
                      <a:pt x="18291" y="164564"/>
                      <a:pt x="15955" y="163120"/>
                    </a:cubicBezTo>
                    <a:lnTo>
                      <a:pt x="14057" y="161940"/>
                    </a:lnTo>
                    <a:cubicBezTo>
                      <a:pt x="3201" y="155215"/>
                      <a:pt x="-2034" y="142902"/>
                      <a:pt x="730" y="130578"/>
                    </a:cubicBezTo>
                    <a:cubicBezTo>
                      <a:pt x="3538" y="118073"/>
                      <a:pt x="13706" y="109045"/>
                      <a:pt x="26638" y="107582"/>
                    </a:cubicBezTo>
                    <a:lnTo>
                      <a:pt x="28846" y="107324"/>
                    </a:lnTo>
                    <a:cubicBezTo>
                      <a:pt x="31730" y="106998"/>
                      <a:pt x="32971" y="105015"/>
                      <a:pt x="33368" y="104174"/>
                    </a:cubicBezTo>
                    <a:cubicBezTo>
                      <a:pt x="33744" y="103391"/>
                      <a:pt x="34461" y="101325"/>
                      <a:pt x="33051" y="99112"/>
                    </a:cubicBezTo>
                    <a:lnTo>
                      <a:pt x="31870" y="97263"/>
                    </a:lnTo>
                    <a:cubicBezTo>
                      <a:pt x="25109" y="86665"/>
                      <a:pt x="25759" y="73421"/>
                      <a:pt x="33519" y="63526"/>
                    </a:cubicBezTo>
                    <a:cubicBezTo>
                      <a:pt x="41529" y="53306"/>
                      <a:pt x="54707" y="49411"/>
                      <a:pt x="67127" y="53613"/>
                    </a:cubicBezTo>
                    <a:lnTo>
                      <a:pt x="69247" y="54331"/>
                    </a:lnTo>
                    <a:cubicBezTo>
                      <a:pt x="72025" y="55292"/>
                      <a:pt x="74060" y="53972"/>
                      <a:pt x="74813" y="53361"/>
                    </a:cubicBezTo>
                    <a:cubicBezTo>
                      <a:pt x="75506" y="52802"/>
                      <a:pt x="77092" y="51224"/>
                      <a:pt x="76802" y="48638"/>
                    </a:cubicBezTo>
                    <a:lnTo>
                      <a:pt x="76558" y="46458"/>
                    </a:lnTo>
                    <a:cubicBezTo>
                      <a:pt x="75169" y="34016"/>
                      <a:pt x="81631" y="22366"/>
                      <a:pt x="93021" y="16789"/>
                    </a:cubicBezTo>
                    <a:cubicBezTo>
                      <a:pt x="104715" y="11039"/>
                      <a:pt x="118283" y="13184"/>
                      <a:pt x="127569" y="22218"/>
                    </a:cubicBezTo>
                    <a:lnTo>
                      <a:pt x="129163" y="23771"/>
                    </a:lnTo>
                    <a:cubicBezTo>
                      <a:pt x="131193" y="25746"/>
                      <a:pt x="133609" y="25453"/>
                      <a:pt x="134557" y="25240"/>
                    </a:cubicBezTo>
                    <a:cubicBezTo>
                      <a:pt x="135469" y="25029"/>
                      <a:pt x="137682" y="24264"/>
                      <a:pt x="138600" y="21731"/>
                    </a:cubicBezTo>
                    <a:lnTo>
                      <a:pt x="139342" y="19671"/>
                    </a:lnTo>
                    <a:cubicBezTo>
                      <a:pt x="143659" y="7717"/>
                      <a:pt x="154781" y="0"/>
                      <a:pt x="167669" y="0"/>
                    </a:cubicBezTo>
                    <a:cubicBezTo>
                      <a:pt x="167669" y="0"/>
                      <a:pt x="167669" y="0"/>
                      <a:pt x="167672" y="0"/>
                    </a:cubicBezTo>
                    <a:cubicBezTo>
                      <a:pt x="180557" y="0"/>
                      <a:pt x="191673" y="7719"/>
                      <a:pt x="195990" y="19665"/>
                    </a:cubicBezTo>
                    <a:lnTo>
                      <a:pt x="196738" y="21731"/>
                    </a:lnTo>
                    <a:cubicBezTo>
                      <a:pt x="197656" y="24264"/>
                      <a:pt x="199869" y="25029"/>
                      <a:pt x="200781" y="25240"/>
                    </a:cubicBezTo>
                    <a:cubicBezTo>
                      <a:pt x="201723" y="25451"/>
                      <a:pt x="204134" y="25752"/>
                      <a:pt x="206180" y="23763"/>
                    </a:cubicBezTo>
                    <a:lnTo>
                      <a:pt x="207761" y="22215"/>
                    </a:lnTo>
                    <a:cubicBezTo>
                      <a:pt x="217058" y="13195"/>
                      <a:pt x="230614" y="11045"/>
                      <a:pt x="242314" y="16786"/>
                    </a:cubicBezTo>
                    <a:cubicBezTo>
                      <a:pt x="253706" y="22361"/>
                      <a:pt x="260166" y="34014"/>
                      <a:pt x="258774" y="46461"/>
                    </a:cubicBezTo>
                    <a:lnTo>
                      <a:pt x="258530" y="48636"/>
                    </a:lnTo>
                    <a:cubicBezTo>
                      <a:pt x="258243" y="51222"/>
                      <a:pt x="259826" y="52799"/>
                      <a:pt x="260519" y="53358"/>
                    </a:cubicBezTo>
                    <a:cubicBezTo>
                      <a:pt x="261272" y="53969"/>
                      <a:pt x="263319" y="55276"/>
                      <a:pt x="266093" y="54328"/>
                    </a:cubicBezTo>
                    <a:lnTo>
                      <a:pt x="268200" y="53610"/>
                    </a:lnTo>
                    <a:cubicBezTo>
                      <a:pt x="280603" y="49422"/>
                      <a:pt x="293798" y="53303"/>
                      <a:pt x="301811" y="63515"/>
                    </a:cubicBezTo>
                    <a:cubicBezTo>
                      <a:pt x="309571" y="73415"/>
                      <a:pt x="310220" y="86659"/>
                      <a:pt x="303465" y="97252"/>
                    </a:cubicBezTo>
                    <a:lnTo>
                      <a:pt x="302279" y="99112"/>
                    </a:lnTo>
                    <a:cubicBezTo>
                      <a:pt x="300871" y="101325"/>
                      <a:pt x="301589" y="103385"/>
                      <a:pt x="301961" y="104174"/>
                    </a:cubicBezTo>
                    <a:cubicBezTo>
                      <a:pt x="302361" y="105007"/>
                      <a:pt x="303599" y="106990"/>
                      <a:pt x="306473" y="107319"/>
                    </a:cubicBezTo>
                    <a:lnTo>
                      <a:pt x="308708" y="107576"/>
                    </a:lnTo>
                    <a:cubicBezTo>
                      <a:pt x="321626" y="109039"/>
                      <a:pt x="331797" y="118068"/>
                      <a:pt x="334600" y="130573"/>
                    </a:cubicBezTo>
                    <a:cubicBezTo>
                      <a:pt x="337369" y="142899"/>
                      <a:pt x="332132" y="155210"/>
                      <a:pt x="321268" y="161940"/>
                    </a:cubicBezTo>
                    <a:lnTo>
                      <a:pt x="319389" y="163107"/>
                    </a:lnTo>
                    <a:cubicBezTo>
                      <a:pt x="317041" y="164556"/>
                      <a:pt x="316786" y="166777"/>
                      <a:pt x="316786" y="167662"/>
                    </a:cubicBezTo>
                    <a:cubicBezTo>
                      <a:pt x="316786" y="168547"/>
                      <a:pt x="317041" y="170768"/>
                      <a:pt x="319378" y="172212"/>
                    </a:cubicBezTo>
                    <a:lnTo>
                      <a:pt x="321276" y="173393"/>
                    </a:lnTo>
                    <a:cubicBezTo>
                      <a:pt x="332132" y="180118"/>
                      <a:pt x="337366" y="192431"/>
                      <a:pt x="334600" y="204754"/>
                    </a:cubicBezTo>
                    <a:cubicBezTo>
                      <a:pt x="331795" y="217259"/>
                      <a:pt x="321626" y="226288"/>
                      <a:pt x="308694" y="227751"/>
                    </a:cubicBezTo>
                    <a:lnTo>
                      <a:pt x="306484" y="228008"/>
                    </a:lnTo>
                    <a:cubicBezTo>
                      <a:pt x="303599" y="228334"/>
                      <a:pt x="302361" y="230317"/>
                      <a:pt x="301961" y="231153"/>
                    </a:cubicBezTo>
                    <a:cubicBezTo>
                      <a:pt x="301589" y="231942"/>
                      <a:pt x="300871" y="234002"/>
                      <a:pt x="302282" y="236220"/>
                    </a:cubicBezTo>
                    <a:lnTo>
                      <a:pt x="303468" y="238080"/>
                    </a:lnTo>
                    <a:cubicBezTo>
                      <a:pt x="310217" y="248673"/>
                      <a:pt x="309571" y="261909"/>
                      <a:pt x="301813" y="271803"/>
                    </a:cubicBezTo>
                    <a:cubicBezTo>
                      <a:pt x="293793" y="282024"/>
                      <a:pt x="280601" y="285905"/>
                      <a:pt x="268205" y="281717"/>
                    </a:cubicBezTo>
                    <a:lnTo>
                      <a:pt x="266085" y="280999"/>
                    </a:lnTo>
                    <a:cubicBezTo>
                      <a:pt x="263313" y="280049"/>
                      <a:pt x="261270" y="281364"/>
                      <a:pt x="260516" y="281969"/>
                    </a:cubicBezTo>
                    <a:cubicBezTo>
                      <a:pt x="259823" y="282528"/>
                      <a:pt x="258237" y="284106"/>
                      <a:pt x="258528" y="286691"/>
                    </a:cubicBezTo>
                    <a:lnTo>
                      <a:pt x="258771" y="288866"/>
                    </a:lnTo>
                    <a:cubicBezTo>
                      <a:pt x="260163" y="301314"/>
                      <a:pt x="253704" y="312966"/>
                      <a:pt x="242314" y="318546"/>
                    </a:cubicBezTo>
                    <a:cubicBezTo>
                      <a:pt x="230620" y="324282"/>
                      <a:pt x="217047" y="322146"/>
                      <a:pt x="207764" y="313112"/>
                    </a:cubicBezTo>
                    <a:lnTo>
                      <a:pt x="206169" y="311564"/>
                    </a:lnTo>
                    <a:cubicBezTo>
                      <a:pt x="204134" y="309575"/>
                      <a:pt x="201726" y="309871"/>
                      <a:pt x="200776" y="310096"/>
                    </a:cubicBezTo>
                    <a:cubicBezTo>
                      <a:pt x="199869" y="310301"/>
                      <a:pt x="197650" y="311065"/>
                      <a:pt x="196733" y="313605"/>
                    </a:cubicBezTo>
                    <a:lnTo>
                      <a:pt x="195982" y="315670"/>
                    </a:lnTo>
                    <a:cubicBezTo>
                      <a:pt x="191673" y="327621"/>
                      <a:pt x="180557" y="335338"/>
                      <a:pt x="167669" y="335338"/>
                    </a:cubicBezTo>
                    <a:close/>
                    <a:moveTo>
                      <a:pt x="133176" y="296805"/>
                    </a:moveTo>
                    <a:cubicBezTo>
                      <a:pt x="134614" y="296805"/>
                      <a:pt x="136063" y="296966"/>
                      <a:pt x="137507" y="297298"/>
                    </a:cubicBezTo>
                    <a:cubicBezTo>
                      <a:pt x="143769" y="298741"/>
                      <a:pt x="148798" y="303176"/>
                      <a:pt x="150954" y="309148"/>
                    </a:cubicBezTo>
                    <a:lnTo>
                      <a:pt x="151699" y="311208"/>
                    </a:lnTo>
                    <a:cubicBezTo>
                      <a:pt x="154627" y="319311"/>
                      <a:pt x="161864" y="322198"/>
                      <a:pt x="167666" y="322198"/>
                    </a:cubicBezTo>
                    <a:cubicBezTo>
                      <a:pt x="173465" y="322198"/>
                      <a:pt x="180702" y="319311"/>
                      <a:pt x="183631" y="311208"/>
                    </a:cubicBezTo>
                    <a:lnTo>
                      <a:pt x="184381" y="309142"/>
                    </a:lnTo>
                    <a:cubicBezTo>
                      <a:pt x="186534" y="303176"/>
                      <a:pt x="191564" y="298741"/>
                      <a:pt x="197825" y="297298"/>
                    </a:cubicBezTo>
                    <a:cubicBezTo>
                      <a:pt x="204150" y="295835"/>
                      <a:pt x="210700" y="297651"/>
                      <a:pt x="215332" y="302155"/>
                    </a:cubicBezTo>
                    <a:lnTo>
                      <a:pt x="216926" y="303700"/>
                    </a:lnTo>
                    <a:cubicBezTo>
                      <a:pt x="223303" y="309909"/>
                      <a:pt x="231234" y="309353"/>
                      <a:pt x="236534" y="306748"/>
                    </a:cubicBezTo>
                    <a:cubicBezTo>
                      <a:pt x="241582" y="304277"/>
                      <a:pt x="246645" y="298665"/>
                      <a:pt x="245716" y="290335"/>
                    </a:cubicBezTo>
                    <a:lnTo>
                      <a:pt x="245472" y="288160"/>
                    </a:lnTo>
                    <a:cubicBezTo>
                      <a:pt x="244771" y="281873"/>
                      <a:pt x="247313" y="275732"/>
                      <a:pt x="252279" y="271740"/>
                    </a:cubicBezTo>
                    <a:cubicBezTo>
                      <a:pt x="257366" y="267640"/>
                      <a:pt x="264107" y="266459"/>
                      <a:pt x="270309" y="268558"/>
                    </a:cubicBezTo>
                    <a:lnTo>
                      <a:pt x="272429" y="269275"/>
                    </a:lnTo>
                    <a:cubicBezTo>
                      <a:pt x="280970" y="272187"/>
                      <a:pt x="287871" y="268295"/>
                      <a:pt x="291473" y="263706"/>
                    </a:cubicBezTo>
                    <a:cubicBezTo>
                      <a:pt x="294869" y="259370"/>
                      <a:pt x="296894" y="252220"/>
                      <a:pt x="292388" y="245145"/>
                    </a:cubicBezTo>
                    <a:lnTo>
                      <a:pt x="291202" y="243285"/>
                    </a:lnTo>
                    <a:cubicBezTo>
                      <a:pt x="287772" y="237902"/>
                      <a:pt x="287361" y="231254"/>
                      <a:pt x="290109" y="225499"/>
                    </a:cubicBezTo>
                    <a:cubicBezTo>
                      <a:pt x="292905" y="219642"/>
                      <a:pt x="298469" y="215701"/>
                      <a:pt x="304994" y="214964"/>
                    </a:cubicBezTo>
                    <a:lnTo>
                      <a:pt x="307204" y="214706"/>
                    </a:lnTo>
                    <a:cubicBezTo>
                      <a:pt x="316060" y="213698"/>
                      <a:pt x="320539" y="207425"/>
                      <a:pt x="321785" y="201887"/>
                    </a:cubicBezTo>
                    <a:cubicBezTo>
                      <a:pt x="322996" y="196490"/>
                      <a:pt x="321679" y="189105"/>
                      <a:pt x="314357" y="184569"/>
                    </a:cubicBezTo>
                    <a:lnTo>
                      <a:pt x="312458" y="183388"/>
                    </a:lnTo>
                    <a:cubicBezTo>
                      <a:pt x="306947" y="179975"/>
                      <a:pt x="303651" y="174097"/>
                      <a:pt x="303651" y="167668"/>
                    </a:cubicBezTo>
                    <a:cubicBezTo>
                      <a:pt x="303651" y="161239"/>
                      <a:pt x="306947" y="155360"/>
                      <a:pt x="312466" y="151942"/>
                    </a:cubicBezTo>
                    <a:lnTo>
                      <a:pt x="314346" y="150775"/>
                    </a:lnTo>
                    <a:cubicBezTo>
                      <a:pt x="321679" y="146233"/>
                      <a:pt x="322993" y="138848"/>
                      <a:pt x="321785" y="133451"/>
                    </a:cubicBezTo>
                    <a:cubicBezTo>
                      <a:pt x="320542" y="127915"/>
                      <a:pt x="316063" y="121640"/>
                      <a:pt x="307218" y="120632"/>
                    </a:cubicBezTo>
                    <a:lnTo>
                      <a:pt x="304983" y="120374"/>
                    </a:lnTo>
                    <a:cubicBezTo>
                      <a:pt x="298472" y="119637"/>
                      <a:pt x="292908" y="115696"/>
                      <a:pt x="290111" y="109839"/>
                    </a:cubicBezTo>
                    <a:cubicBezTo>
                      <a:pt x="287367" y="104084"/>
                      <a:pt x="287775" y="97436"/>
                      <a:pt x="291210" y="92053"/>
                    </a:cubicBezTo>
                    <a:lnTo>
                      <a:pt x="292396" y="90193"/>
                    </a:lnTo>
                    <a:cubicBezTo>
                      <a:pt x="296902" y="83123"/>
                      <a:pt x="294875" y="75968"/>
                      <a:pt x="291478" y="71632"/>
                    </a:cubicBezTo>
                    <a:cubicBezTo>
                      <a:pt x="287873" y="67043"/>
                      <a:pt x="280973" y="63176"/>
                      <a:pt x="272429" y="66063"/>
                    </a:cubicBezTo>
                    <a:lnTo>
                      <a:pt x="270323" y="66781"/>
                    </a:lnTo>
                    <a:cubicBezTo>
                      <a:pt x="264110" y="68879"/>
                      <a:pt x="257366" y="67685"/>
                      <a:pt x="252288" y="63598"/>
                    </a:cubicBezTo>
                    <a:cubicBezTo>
                      <a:pt x="247321" y="59606"/>
                      <a:pt x="244776" y="53468"/>
                      <a:pt x="245480" y="47178"/>
                    </a:cubicBezTo>
                    <a:lnTo>
                      <a:pt x="245724" y="45003"/>
                    </a:lnTo>
                    <a:cubicBezTo>
                      <a:pt x="246656" y="36676"/>
                      <a:pt x="241593" y="31061"/>
                      <a:pt x="236542" y="28590"/>
                    </a:cubicBezTo>
                    <a:cubicBezTo>
                      <a:pt x="231242" y="25985"/>
                      <a:pt x="223314" y="25434"/>
                      <a:pt x="216929" y="31638"/>
                    </a:cubicBezTo>
                    <a:lnTo>
                      <a:pt x="215349" y="33186"/>
                    </a:lnTo>
                    <a:cubicBezTo>
                      <a:pt x="210714" y="37684"/>
                      <a:pt x="204159" y="39506"/>
                      <a:pt x="197836" y="38043"/>
                    </a:cubicBezTo>
                    <a:cubicBezTo>
                      <a:pt x="191574" y="36599"/>
                      <a:pt x="186548" y="32173"/>
                      <a:pt x="184389" y="26198"/>
                    </a:cubicBezTo>
                    <a:lnTo>
                      <a:pt x="183642" y="24133"/>
                    </a:lnTo>
                    <a:lnTo>
                      <a:pt x="183642" y="24133"/>
                    </a:lnTo>
                    <a:cubicBezTo>
                      <a:pt x="180716" y="16030"/>
                      <a:pt x="173479" y="13143"/>
                      <a:pt x="167677" y="13143"/>
                    </a:cubicBezTo>
                    <a:lnTo>
                      <a:pt x="167677" y="13143"/>
                    </a:lnTo>
                    <a:cubicBezTo>
                      <a:pt x="161878" y="13143"/>
                      <a:pt x="154636" y="16030"/>
                      <a:pt x="151710" y="24133"/>
                    </a:cubicBezTo>
                    <a:lnTo>
                      <a:pt x="150968" y="26193"/>
                    </a:lnTo>
                    <a:cubicBezTo>
                      <a:pt x="148806" y="32173"/>
                      <a:pt x="143777" y="36599"/>
                      <a:pt x="137515" y="38043"/>
                    </a:cubicBezTo>
                    <a:cubicBezTo>
                      <a:pt x="131182" y="39506"/>
                      <a:pt x="124632" y="37684"/>
                      <a:pt x="120006" y="33186"/>
                    </a:cubicBezTo>
                    <a:lnTo>
                      <a:pt x="118412" y="31633"/>
                    </a:lnTo>
                    <a:cubicBezTo>
                      <a:pt x="112034" y="25442"/>
                      <a:pt x="104107" y="25993"/>
                      <a:pt x="98807" y="28593"/>
                    </a:cubicBezTo>
                    <a:cubicBezTo>
                      <a:pt x="93758" y="31063"/>
                      <a:pt x="88696" y="36676"/>
                      <a:pt x="89625" y="45006"/>
                    </a:cubicBezTo>
                    <a:lnTo>
                      <a:pt x="89868" y="47187"/>
                    </a:lnTo>
                    <a:cubicBezTo>
                      <a:pt x="90567" y="53468"/>
                      <a:pt x="88025" y="59609"/>
                      <a:pt x="83059" y="63606"/>
                    </a:cubicBezTo>
                    <a:cubicBezTo>
                      <a:pt x="77977" y="67698"/>
                      <a:pt x="71236" y="68892"/>
                      <a:pt x="65031" y="66781"/>
                    </a:cubicBezTo>
                    <a:lnTo>
                      <a:pt x="62911" y="66063"/>
                    </a:lnTo>
                    <a:cubicBezTo>
                      <a:pt x="54368" y="63137"/>
                      <a:pt x="47467" y="67043"/>
                      <a:pt x="43865" y="71632"/>
                    </a:cubicBezTo>
                    <a:cubicBezTo>
                      <a:pt x="40468" y="75968"/>
                      <a:pt x="38444" y="83123"/>
                      <a:pt x="42953" y="90201"/>
                    </a:cubicBezTo>
                    <a:lnTo>
                      <a:pt x="44134" y="92050"/>
                    </a:lnTo>
                    <a:cubicBezTo>
                      <a:pt x="47569" y="97441"/>
                      <a:pt x="47980" y="104087"/>
                      <a:pt x="45235" y="109836"/>
                    </a:cubicBezTo>
                    <a:cubicBezTo>
                      <a:pt x="42438" y="115701"/>
                      <a:pt x="36872" y="119640"/>
                      <a:pt x="30347" y="120377"/>
                    </a:cubicBezTo>
                    <a:lnTo>
                      <a:pt x="28139" y="120634"/>
                    </a:lnTo>
                    <a:cubicBezTo>
                      <a:pt x="19280" y="121643"/>
                      <a:pt x="14799" y="127915"/>
                      <a:pt x="13558" y="133454"/>
                    </a:cubicBezTo>
                    <a:cubicBezTo>
                      <a:pt x="12344" y="138856"/>
                      <a:pt x="13665" y="146236"/>
                      <a:pt x="20987" y="150772"/>
                    </a:cubicBezTo>
                    <a:lnTo>
                      <a:pt x="22885" y="151952"/>
                    </a:lnTo>
                    <a:cubicBezTo>
                      <a:pt x="28397" y="155366"/>
                      <a:pt x="31692" y="161244"/>
                      <a:pt x="31692" y="167673"/>
                    </a:cubicBezTo>
                    <a:cubicBezTo>
                      <a:pt x="31692" y="174102"/>
                      <a:pt x="28397" y="179978"/>
                      <a:pt x="22877" y="183399"/>
                    </a:cubicBezTo>
                    <a:lnTo>
                      <a:pt x="20998" y="184566"/>
                    </a:lnTo>
                    <a:cubicBezTo>
                      <a:pt x="13665" y="189108"/>
                      <a:pt x="12344" y="196487"/>
                      <a:pt x="13558" y="201889"/>
                    </a:cubicBezTo>
                    <a:cubicBezTo>
                      <a:pt x="14799" y="207425"/>
                      <a:pt x="19280" y="213701"/>
                      <a:pt x="28125" y="214709"/>
                    </a:cubicBezTo>
                    <a:lnTo>
                      <a:pt x="30358" y="214967"/>
                    </a:lnTo>
                    <a:cubicBezTo>
                      <a:pt x="36869" y="215703"/>
                      <a:pt x="42435" y="219645"/>
                      <a:pt x="45235" y="225507"/>
                    </a:cubicBezTo>
                    <a:cubicBezTo>
                      <a:pt x="47980" y="231257"/>
                      <a:pt x="47571" y="237902"/>
                      <a:pt x="44136" y="243285"/>
                    </a:cubicBezTo>
                    <a:lnTo>
                      <a:pt x="42956" y="245145"/>
                    </a:lnTo>
                    <a:cubicBezTo>
                      <a:pt x="38441" y="252223"/>
                      <a:pt x="40466" y="259370"/>
                      <a:pt x="43862" y="263701"/>
                    </a:cubicBezTo>
                    <a:cubicBezTo>
                      <a:pt x="47465" y="268300"/>
                      <a:pt x="54357" y="272176"/>
                      <a:pt x="62914" y="269275"/>
                    </a:cubicBezTo>
                    <a:lnTo>
                      <a:pt x="65021" y="268558"/>
                    </a:lnTo>
                    <a:cubicBezTo>
                      <a:pt x="71241" y="266473"/>
                      <a:pt x="77969" y="267640"/>
                      <a:pt x="83053" y="271732"/>
                    </a:cubicBezTo>
                    <a:cubicBezTo>
                      <a:pt x="88019" y="275729"/>
                      <a:pt x="90564" y="281870"/>
                      <a:pt x="89860" y="288157"/>
                    </a:cubicBezTo>
                    <a:lnTo>
                      <a:pt x="89622" y="290326"/>
                    </a:lnTo>
                    <a:cubicBezTo>
                      <a:pt x="88688" y="298662"/>
                      <a:pt x="93750" y="304275"/>
                      <a:pt x="98801" y="306745"/>
                    </a:cubicBezTo>
                    <a:cubicBezTo>
                      <a:pt x="104099" y="309351"/>
                      <a:pt x="112032" y="309909"/>
                      <a:pt x="118414" y="303697"/>
                    </a:cubicBezTo>
                    <a:lnTo>
                      <a:pt x="119989" y="302157"/>
                    </a:lnTo>
                    <a:cubicBezTo>
                      <a:pt x="123570" y="298678"/>
                      <a:pt x="128292" y="296805"/>
                      <a:pt x="133176" y="296805"/>
                    </a:cubicBezTo>
                    <a:close/>
                  </a:path>
                </a:pathLst>
              </a:custGeom>
              <a:solidFill>
                <a:schemeClr val="tx2"/>
              </a:solidFill>
              <a:ln w="274" cap="flat">
                <a:noFill/>
                <a:prstDash val="solid"/>
                <a:miter/>
              </a:ln>
            </p:spPr>
            <p:txBody>
              <a:bodyPr rtlCol="0" anchor="ctr"/>
              <a:lstStyle/>
              <a:p>
                <a:endParaRPr lang="en-GB" dirty="0"/>
              </a:p>
            </p:txBody>
          </p:sp>
          <p:sp>
            <p:nvSpPr>
              <p:cNvPr id="751" name="Freihandform: Form 750">
                <a:extLst>
                  <a:ext uri="{FF2B5EF4-FFF2-40B4-BE49-F238E27FC236}">
                    <a16:creationId xmlns:a16="http://schemas.microsoft.com/office/drawing/2014/main" id="{EB49A4B4-8D21-46F5-9D71-CBEF63DAFAA9}"/>
                  </a:ext>
                </a:extLst>
              </p:cNvPr>
              <p:cNvSpPr/>
              <p:nvPr/>
            </p:nvSpPr>
            <p:spPr>
              <a:xfrm>
                <a:off x="5442736" y="3609286"/>
                <a:ext cx="108206" cy="124054"/>
              </a:xfrm>
              <a:custGeom>
                <a:avLst/>
                <a:gdLst>
                  <a:gd name="connsiteX0" fmla="*/ 6571 w 108206"/>
                  <a:gd name="connsiteY0" fmla="*/ 124053 h 124054"/>
                  <a:gd name="connsiteX1" fmla="*/ 3180 w 108206"/>
                  <a:gd name="connsiteY1" fmla="*/ 123111 h 124054"/>
                  <a:gd name="connsiteX2" fmla="*/ 0 w 108206"/>
                  <a:gd name="connsiteY2" fmla="*/ 117484 h 124054"/>
                  <a:gd name="connsiteX3" fmla="*/ 0 w 108206"/>
                  <a:gd name="connsiteY3" fmla="*/ 6569 h 124054"/>
                  <a:gd name="connsiteX4" fmla="*/ 6569 w 108206"/>
                  <a:gd name="connsiteY4" fmla="*/ 0 h 124054"/>
                  <a:gd name="connsiteX5" fmla="*/ 13138 w 108206"/>
                  <a:gd name="connsiteY5" fmla="*/ 6569 h 124054"/>
                  <a:gd name="connsiteX6" fmla="*/ 13138 w 108206"/>
                  <a:gd name="connsiteY6" fmla="*/ 106582 h 124054"/>
                  <a:gd name="connsiteX7" fmla="*/ 51035 w 108206"/>
                  <a:gd name="connsiteY7" fmla="*/ 86558 h 124054"/>
                  <a:gd name="connsiteX8" fmla="*/ 57177 w 108206"/>
                  <a:gd name="connsiteY8" fmla="*/ 86558 h 124054"/>
                  <a:gd name="connsiteX9" fmla="*/ 95069 w 108206"/>
                  <a:gd name="connsiteY9" fmla="*/ 106582 h 124054"/>
                  <a:gd name="connsiteX10" fmla="*/ 95069 w 108206"/>
                  <a:gd name="connsiteY10" fmla="*/ 6569 h 124054"/>
                  <a:gd name="connsiteX11" fmla="*/ 101638 w 108206"/>
                  <a:gd name="connsiteY11" fmla="*/ 0 h 124054"/>
                  <a:gd name="connsiteX12" fmla="*/ 108206 w 108206"/>
                  <a:gd name="connsiteY12" fmla="*/ 6569 h 124054"/>
                  <a:gd name="connsiteX13" fmla="*/ 108206 w 108206"/>
                  <a:gd name="connsiteY13" fmla="*/ 117484 h 124054"/>
                  <a:gd name="connsiteX14" fmla="*/ 105026 w 108206"/>
                  <a:gd name="connsiteY14" fmla="*/ 123111 h 124054"/>
                  <a:gd name="connsiteX15" fmla="*/ 98564 w 108206"/>
                  <a:gd name="connsiteY15" fmla="*/ 123291 h 124054"/>
                  <a:gd name="connsiteX16" fmla="*/ 54100 w 108206"/>
                  <a:gd name="connsiteY16" fmla="*/ 99797 h 124054"/>
                  <a:gd name="connsiteX17" fmla="*/ 9634 w 108206"/>
                  <a:gd name="connsiteY17" fmla="*/ 123291 h 124054"/>
                  <a:gd name="connsiteX18" fmla="*/ 6571 w 108206"/>
                  <a:gd name="connsiteY18" fmla="*/ 124053 h 124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206" h="124054">
                    <a:moveTo>
                      <a:pt x="6571" y="124053"/>
                    </a:moveTo>
                    <a:cubicBezTo>
                      <a:pt x="5394" y="124053"/>
                      <a:pt x="4221" y="123738"/>
                      <a:pt x="3180" y="123111"/>
                    </a:cubicBezTo>
                    <a:cubicBezTo>
                      <a:pt x="1208" y="121925"/>
                      <a:pt x="0" y="119788"/>
                      <a:pt x="0" y="117484"/>
                    </a:cubicBezTo>
                    <a:lnTo>
                      <a:pt x="0" y="6569"/>
                    </a:lnTo>
                    <a:cubicBezTo>
                      <a:pt x="0" y="2936"/>
                      <a:pt x="2942" y="0"/>
                      <a:pt x="6569" y="0"/>
                    </a:cubicBezTo>
                    <a:cubicBezTo>
                      <a:pt x="10198" y="0"/>
                      <a:pt x="13138" y="2939"/>
                      <a:pt x="13138" y="6569"/>
                    </a:cubicBezTo>
                    <a:lnTo>
                      <a:pt x="13138" y="106582"/>
                    </a:lnTo>
                    <a:lnTo>
                      <a:pt x="51035" y="86558"/>
                    </a:lnTo>
                    <a:cubicBezTo>
                      <a:pt x="52953" y="85544"/>
                      <a:pt x="55251" y="85544"/>
                      <a:pt x="57177" y="86558"/>
                    </a:cubicBezTo>
                    <a:lnTo>
                      <a:pt x="95069" y="106582"/>
                    </a:lnTo>
                    <a:lnTo>
                      <a:pt x="95069" y="6569"/>
                    </a:lnTo>
                    <a:cubicBezTo>
                      <a:pt x="95069" y="2936"/>
                      <a:pt x="98011" y="0"/>
                      <a:pt x="101638" y="0"/>
                    </a:cubicBezTo>
                    <a:cubicBezTo>
                      <a:pt x="105267" y="0"/>
                      <a:pt x="108206" y="2939"/>
                      <a:pt x="108206" y="6569"/>
                    </a:cubicBezTo>
                    <a:lnTo>
                      <a:pt x="108206" y="117484"/>
                    </a:lnTo>
                    <a:cubicBezTo>
                      <a:pt x="108206" y="119788"/>
                      <a:pt x="107001" y="121925"/>
                      <a:pt x="105026" y="123111"/>
                    </a:cubicBezTo>
                    <a:cubicBezTo>
                      <a:pt x="103057" y="124297"/>
                      <a:pt x="100599" y="124374"/>
                      <a:pt x="98564" y="123291"/>
                    </a:cubicBezTo>
                    <a:lnTo>
                      <a:pt x="54100" y="99797"/>
                    </a:lnTo>
                    <a:lnTo>
                      <a:pt x="9634" y="123291"/>
                    </a:lnTo>
                    <a:cubicBezTo>
                      <a:pt x="8678" y="123801"/>
                      <a:pt x="7623" y="124053"/>
                      <a:pt x="6571" y="124053"/>
                    </a:cubicBezTo>
                    <a:close/>
                  </a:path>
                </a:pathLst>
              </a:custGeom>
              <a:solidFill>
                <a:schemeClr val="tx2"/>
              </a:solidFill>
              <a:ln w="274" cap="flat">
                <a:noFill/>
                <a:prstDash val="solid"/>
                <a:miter/>
              </a:ln>
            </p:spPr>
            <p:txBody>
              <a:bodyPr rtlCol="0" anchor="ctr"/>
              <a:lstStyle/>
              <a:p>
                <a:endParaRPr lang="en-GB" dirty="0"/>
              </a:p>
            </p:txBody>
          </p:sp>
          <p:sp>
            <p:nvSpPr>
              <p:cNvPr id="752" name="Freihandform: Form 751">
                <a:extLst>
                  <a:ext uri="{FF2B5EF4-FFF2-40B4-BE49-F238E27FC236}">
                    <a16:creationId xmlns:a16="http://schemas.microsoft.com/office/drawing/2014/main" id="{1B925D04-075C-45A8-A33E-5E5A8CFCA973}"/>
                  </a:ext>
                </a:extLst>
              </p:cNvPr>
              <p:cNvSpPr/>
              <p:nvPr/>
            </p:nvSpPr>
            <p:spPr>
              <a:xfrm>
                <a:off x="5489977" y="3674212"/>
                <a:ext cx="13137" cy="32846"/>
              </a:xfrm>
              <a:custGeom>
                <a:avLst/>
                <a:gdLst>
                  <a:gd name="connsiteX0" fmla="*/ 6569 w 13137"/>
                  <a:gd name="connsiteY0" fmla="*/ 32846 h 32846"/>
                  <a:gd name="connsiteX1" fmla="*/ 0 w 13137"/>
                  <a:gd name="connsiteY1" fmla="*/ 26278 h 32846"/>
                  <a:gd name="connsiteX2" fmla="*/ 0 w 13137"/>
                  <a:gd name="connsiteY2" fmla="*/ 6569 h 32846"/>
                  <a:gd name="connsiteX3" fmla="*/ 6569 w 13137"/>
                  <a:gd name="connsiteY3" fmla="*/ 0 h 32846"/>
                  <a:gd name="connsiteX4" fmla="*/ 13137 w 13137"/>
                  <a:gd name="connsiteY4" fmla="*/ 6569 h 32846"/>
                  <a:gd name="connsiteX5" fmla="*/ 13137 w 13137"/>
                  <a:gd name="connsiteY5" fmla="*/ 26278 h 32846"/>
                  <a:gd name="connsiteX6" fmla="*/ 6569 w 13137"/>
                  <a:gd name="connsiteY6" fmla="*/ 32846 h 3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32846">
                    <a:moveTo>
                      <a:pt x="6569" y="32846"/>
                    </a:moveTo>
                    <a:cubicBezTo>
                      <a:pt x="2939" y="32846"/>
                      <a:pt x="0" y="29907"/>
                      <a:pt x="0" y="26278"/>
                    </a:cubicBezTo>
                    <a:lnTo>
                      <a:pt x="0" y="6569"/>
                    </a:lnTo>
                    <a:cubicBezTo>
                      <a:pt x="0" y="2936"/>
                      <a:pt x="2942" y="0"/>
                      <a:pt x="6569" y="0"/>
                    </a:cubicBezTo>
                    <a:cubicBezTo>
                      <a:pt x="10196" y="0"/>
                      <a:pt x="13137" y="2939"/>
                      <a:pt x="13137" y="6569"/>
                    </a:cubicBezTo>
                    <a:lnTo>
                      <a:pt x="13137" y="26278"/>
                    </a:lnTo>
                    <a:cubicBezTo>
                      <a:pt x="13137" y="29907"/>
                      <a:pt x="10196" y="32846"/>
                      <a:pt x="6569" y="32846"/>
                    </a:cubicBezTo>
                    <a:close/>
                  </a:path>
                </a:pathLst>
              </a:custGeom>
              <a:solidFill>
                <a:schemeClr val="tx2"/>
              </a:solidFill>
              <a:ln w="274" cap="flat">
                <a:noFill/>
                <a:prstDash val="solid"/>
                <a:miter/>
              </a:ln>
            </p:spPr>
            <p:txBody>
              <a:bodyPr rtlCol="0" anchor="ctr"/>
              <a:lstStyle/>
              <a:p>
                <a:endParaRPr lang="en-GB" dirty="0"/>
              </a:p>
            </p:txBody>
          </p:sp>
        </p:grpSp>
      </p:grpSp>
      <p:sp>
        <p:nvSpPr>
          <p:cNvPr id="758" name="TextBox 1425">
            <a:extLst>
              <a:ext uri="{FF2B5EF4-FFF2-40B4-BE49-F238E27FC236}">
                <a16:creationId xmlns:a16="http://schemas.microsoft.com/office/drawing/2014/main" id="{16058A99-91E6-4D26-AD23-937F19765F83}"/>
              </a:ext>
            </a:extLst>
          </p:cNvPr>
          <p:cNvSpPr txBox="1"/>
          <p:nvPr/>
        </p:nvSpPr>
        <p:spPr>
          <a:xfrm>
            <a:off x="5073807" y="3723675"/>
            <a:ext cx="278923" cy="107722"/>
          </a:xfrm>
          <a:prstGeom prst="rect">
            <a:avLst/>
          </a:prstGeom>
          <a:noFill/>
          <a:effectLst/>
        </p:spPr>
        <p:txBody>
          <a:bodyPr wrap="none" lIns="0" tIns="0" rIns="0" bIns="0" rtlCol="0" anchor="t">
            <a:spAutoFit/>
          </a:bodyPr>
          <a:lstStyle/>
          <a:p>
            <a:pPr algn="ctr"/>
            <a:r>
              <a:rPr lang="en-GB" sz="700" dirty="0">
                <a:solidFill>
                  <a:schemeClr val="tx2"/>
                </a:solidFill>
              </a:rPr>
              <a:t>Quality</a:t>
            </a:r>
          </a:p>
        </p:txBody>
      </p:sp>
      <p:grpSp>
        <p:nvGrpSpPr>
          <p:cNvPr id="50" name="Group 49">
            <a:extLst>
              <a:ext uri="{FF2B5EF4-FFF2-40B4-BE49-F238E27FC236}">
                <a16:creationId xmlns:a16="http://schemas.microsoft.com/office/drawing/2014/main" id="{197D9B43-C8DD-CA76-8211-7C3D443B9695}"/>
              </a:ext>
            </a:extLst>
          </p:cNvPr>
          <p:cNvGrpSpPr/>
          <p:nvPr/>
        </p:nvGrpSpPr>
        <p:grpSpPr>
          <a:xfrm>
            <a:off x="8097295" y="1626716"/>
            <a:ext cx="490747" cy="432000"/>
            <a:chOff x="8096883" y="1626716"/>
            <a:chExt cx="490747" cy="432000"/>
          </a:xfrm>
        </p:grpSpPr>
        <p:grpSp>
          <p:nvGrpSpPr>
            <p:cNvPr id="760" name="Grafik 349">
              <a:extLst>
                <a:ext uri="{FF2B5EF4-FFF2-40B4-BE49-F238E27FC236}">
                  <a16:creationId xmlns:a16="http://schemas.microsoft.com/office/drawing/2014/main" id="{96A1269F-360C-4672-8DB5-5FB909714E9B}"/>
                </a:ext>
              </a:extLst>
            </p:cNvPr>
            <p:cNvGrpSpPr/>
            <p:nvPr/>
          </p:nvGrpSpPr>
          <p:grpSpPr>
            <a:xfrm>
              <a:off x="8096883" y="1875680"/>
              <a:ext cx="490747" cy="183036"/>
              <a:chOff x="7750123" y="1884284"/>
              <a:chExt cx="486503" cy="181453"/>
            </a:xfrm>
            <a:solidFill>
              <a:schemeClr val="tx2"/>
            </a:solidFill>
          </p:grpSpPr>
          <p:grpSp>
            <p:nvGrpSpPr>
              <p:cNvPr id="767" name="Grafik 349">
                <a:extLst>
                  <a:ext uri="{FF2B5EF4-FFF2-40B4-BE49-F238E27FC236}">
                    <a16:creationId xmlns:a16="http://schemas.microsoft.com/office/drawing/2014/main" id="{21A45067-09EF-4FF3-AF10-31B12E2E2020}"/>
                  </a:ext>
                </a:extLst>
              </p:cNvPr>
              <p:cNvGrpSpPr/>
              <p:nvPr/>
            </p:nvGrpSpPr>
            <p:grpSpPr>
              <a:xfrm>
                <a:off x="8009719" y="1884284"/>
                <a:ext cx="226907" cy="181451"/>
                <a:chOff x="8009719" y="1884284"/>
                <a:chExt cx="226907" cy="181451"/>
              </a:xfrm>
              <a:grpFill/>
            </p:grpSpPr>
            <p:sp>
              <p:nvSpPr>
                <p:cNvPr id="776" name="Freihandform: Form 775">
                  <a:extLst>
                    <a:ext uri="{FF2B5EF4-FFF2-40B4-BE49-F238E27FC236}">
                      <a16:creationId xmlns:a16="http://schemas.microsoft.com/office/drawing/2014/main" id="{5CD80EAF-EF51-4A67-A32F-4753813899D7}"/>
                    </a:ext>
                  </a:extLst>
                </p:cNvPr>
                <p:cNvSpPr/>
                <p:nvPr/>
              </p:nvSpPr>
              <p:spPr>
                <a:xfrm>
                  <a:off x="8009719" y="1951164"/>
                  <a:ext cx="17491" cy="48903"/>
                </a:xfrm>
                <a:custGeom>
                  <a:avLst/>
                  <a:gdLst>
                    <a:gd name="connsiteX0" fmla="*/ 10913 w 17491"/>
                    <a:gd name="connsiteY0" fmla="*/ 48904 h 48903"/>
                    <a:gd name="connsiteX1" fmla="*/ 4530 w 17491"/>
                    <a:gd name="connsiteY1" fmla="*/ 43924 h 48903"/>
                    <a:gd name="connsiteX2" fmla="*/ 93 w 17491"/>
                    <a:gd name="connsiteY2" fmla="*/ 6270 h 48903"/>
                    <a:gd name="connsiteX3" fmla="*/ 6968 w 17491"/>
                    <a:gd name="connsiteY3" fmla="*/ 2 h 48903"/>
                    <a:gd name="connsiteX4" fmla="*/ 13213 w 17491"/>
                    <a:gd name="connsiteY4" fmla="*/ 6861 h 48903"/>
                    <a:gd name="connsiteX5" fmla="*/ 17295 w 17491"/>
                    <a:gd name="connsiteY5" fmla="*/ 40741 h 48903"/>
                    <a:gd name="connsiteX6" fmla="*/ 12501 w 17491"/>
                    <a:gd name="connsiteY6" fmla="*/ 48706 h 48903"/>
                    <a:gd name="connsiteX7" fmla="*/ 10913 w 17491"/>
                    <a:gd name="connsiteY7" fmla="*/ 48904 h 4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91" h="48903">
                      <a:moveTo>
                        <a:pt x="10913" y="48904"/>
                      </a:moveTo>
                      <a:cubicBezTo>
                        <a:pt x="7954" y="48904"/>
                        <a:pt x="5297" y="46912"/>
                        <a:pt x="4530" y="43924"/>
                      </a:cubicBezTo>
                      <a:cubicBezTo>
                        <a:pt x="1079" y="30115"/>
                        <a:pt x="-401" y="17449"/>
                        <a:pt x="93" y="6270"/>
                      </a:cubicBezTo>
                      <a:cubicBezTo>
                        <a:pt x="257" y="2637"/>
                        <a:pt x="3325" y="-88"/>
                        <a:pt x="6968" y="2"/>
                      </a:cubicBezTo>
                      <a:cubicBezTo>
                        <a:pt x="10584" y="167"/>
                        <a:pt x="13378" y="3234"/>
                        <a:pt x="13213" y="6861"/>
                      </a:cubicBezTo>
                      <a:cubicBezTo>
                        <a:pt x="12775" y="16766"/>
                        <a:pt x="14145" y="28167"/>
                        <a:pt x="17295" y="40741"/>
                      </a:cubicBezTo>
                      <a:cubicBezTo>
                        <a:pt x="18172" y="44260"/>
                        <a:pt x="16035" y="47827"/>
                        <a:pt x="12501" y="48706"/>
                      </a:cubicBezTo>
                      <a:cubicBezTo>
                        <a:pt x="11981" y="48840"/>
                        <a:pt x="11433" y="48904"/>
                        <a:pt x="10913" y="48904"/>
                      </a:cubicBezTo>
                      <a:close/>
                    </a:path>
                  </a:pathLst>
                </a:custGeom>
                <a:grpFill/>
                <a:ln w="274" cap="flat">
                  <a:noFill/>
                  <a:prstDash val="solid"/>
                  <a:miter/>
                </a:ln>
              </p:spPr>
              <p:txBody>
                <a:bodyPr rtlCol="0" anchor="ctr"/>
                <a:lstStyle/>
                <a:p>
                  <a:endParaRPr lang="en-GB" dirty="0"/>
                </a:p>
              </p:txBody>
            </p:sp>
            <p:sp>
              <p:nvSpPr>
                <p:cNvPr id="777" name="Freihandform: Form 776">
                  <a:extLst>
                    <a:ext uri="{FF2B5EF4-FFF2-40B4-BE49-F238E27FC236}">
                      <a16:creationId xmlns:a16="http://schemas.microsoft.com/office/drawing/2014/main" id="{A95CBDE7-CF28-437D-8178-4E773C687E13}"/>
                    </a:ext>
                  </a:extLst>
                </p:cNvPr>
                <p:cNvSpPr/>
                <p:nvPr/>
              </p:nvSpPr>
              <p:spPr>
                <a:xfrm>
                  <a:off x="8171765" y="1955973"/>
                  <a:ext cx="24797" cy="23259"/>
                </a:xfrm>
                <a:custGeom>
                  <a:avLst/>
                  <a:gdLst>
                    <a:gd name="connsiteX0" fmla="*/ 18208 w 24797"/>
                    <a:gd name="connsiteY0" fmla="*/ 23259 h 23259"/>
                    <a:gd name="connsiteX1" fmla="*/ 14318 w 24797"/>
                    <a:gd name="connsiteY1" fmla="*/ 21972 h 23259"/>
                    <a:gd name="connsiteX2" fmla="*/ 1635 w 24797"/>
                    <a:gd name="connsiteY2" fmla="*/ 10935 h 23259"/>
                    <a:gd name="connsiteX3" fmla="*/ 2211 w 24797"/>
                    <a:gd name="connsiteY3" fmla="*/ 1660 h 23259"/>
                    <a:gd name="connsiteX4" fmla="*/ 11469 w 24797"/>
                    <a:gd name="connsiteY4" fmla="*/ 2197 h 23259"/>
                    <a:gd name="connsiteX5" fmla="*/ 11469 w 24797"/>
                    <a:gd name="connsiteY5" fmla="*/ 2197 h 23259"/>
                    <a:gd name="connsiteX6" fmla="*/ 22125 w 24797"/>
                    <a:gd name="connsiteY6" fmla="*/ 11404 h 23259"/>
                    <a:gd name="connsiteX7" fmla="*/ 23522 w 24797"/>
                    <a:gd name="connsiteY7" fmla="*/ 20591 h 23259"/>
                    <a:gd name="connsiteX8" fmla="*/ 18208 w 24797"/>
                    <a:gd name="connsiteY8" fmla="*/ 23259 h 23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97" h="23259">
                      <a:moveTo>
                        <a:pt x="18208" y="23259"/>
                      </a:moveTo>
                      <a:cubicBezTo>
                        <a:pt x="16866" y="23259"/>
                        <a:pt x="15496" y="22843"/>
                        <a:pt x="14318" y="21972"/>
                      </a:cubicBezTo>
                      <a:cubicBezTo>
                        <a:pt x="6073" y="15882"/>
                        <a:pt x="1827" y="11135"/>
                        <a:pt x="1635" y="10935"/>
                      </a:cubicBezTo>
                      <a:cubicBezTo>
                        <a:pt x="-748" y="8221"/>
                        <a:pt x="-501" y="4071"/>
                        <a:pt x="2211" y="1660"/>
                      </a:cubicBezTo>
                      <a:cubicBezTo>
                        <a:pt x="4895" y="-745"/>
                        <a:pt x="9031" y="-512"/>
                        <a:pt x="11469" y="2197"/>
                      </a:cubicBezTo>
                      <a:lnTo>
                        <a:pt x="11469" y="2197"/>
                      </a:lnTo>
                      <a:cubicBezTo>
                        <a:pt x="11497" y="2235"/>
                        <a:pt x="15085" y="6205"/>
                        <a:pt x="22125" y="11404"/>
                      </a:cubicBezTo>
                      <a:cubicBezTo>
                        <a:pt x="25056" y="13557"/>
                        <a:pt x="25659" y="17671"/>
                        <a:pt x="23522" y="20591"/>
                      </a:cubicBezTo>
                      <a:cubicBezTo>
                        <a:pt x="22235" y="22336"/>
                        <a:pt x="20235" y="23259"/>
                        <a:pt x="18208" y="23259"/>
                      </a:cubicBezTo>
                      <a:close/>
                    </a:path>
                  </a:pathLst>
                </a:custGeom>
                <a:grpFill/>
                <a:ln w="274" cap="flat">
                  <a:noFill/>
                  <a:prstDash val="solid"/>
                  <a:miter/>
                </a:ln>
              </p:spPr>
              <p:txBody>
                <a:bodyPr rtlCol="0" anchor="ctr"/>
                <a:lstStyle/>
                <a:p>
                  <a:endParaRPr lang="en-GB" dirty="0"/>
                </a:p>
              </p:txBody>
            </p:sp>
            <p:sp>
              <p:nvSpPr>
                <p:cNvPr id="778" name="Freihandform: Form 777">
                  <a:extLst>
                    <a:ext uri="{FF2B5EF4-FFF2-40B4-BE49-F238E27FC236}">
                      <a16:creationId xmlns:a16="http://schemas.microsoft.com/office/drawing/2014/main" id="{79D476EF-4995-4B41-B395-B9284092DD99}"/>
                    </a:ext>
                  </a:extLst>
                </p:cNvPr>
                <p:cNvSpPr/>
                <p:nvPr/>
              </p:nvSpPr>
              <p:spPr>
                <a:xfrm>
                  <a:off x="8009987" y="1984401"/>
                  <a:ext cx="68928" cy="81334"/>
                </a:xfrm>
                <a:custGeom>
                  <a:avLst/>
                  <a:gdLst>
                    <a:gd name="connsiteX0" fmla="*/ 46529 w 68928"/>
                    <a:gd name="connsiteY0" fmla="*/ 81334 h 81334"/>
                    <a:gd name="connsiteX1" fmla="*/ 42749 w 68928"/>
                    <a:gd name="connsiteY1" fmla="*/ 80986 h 81334"/>
                    <a:gd name="connsiteX2" fmla="*/ 29710 w 68928"/>
                    <a:gd name="connsiteY2" fmla="*/ 72536 h 81334"/>
                    <a:gd name="connsiteX3" fmla="*/ 4454 w 68928"/>
                    <a:gd name="connsiteY3" fmla="*/ 35695 h 81334"/>
                    <a:gd name="connsiteX4" fmla="*/ 7440 w 68928"/>
                    <a:gd name="connsiteY4" fmla="*/ 4279 h 81334"/>
                    <a:gd name="connsiteX5" fmla="*/ 9631 w 68928"/>
                    <a:gd name="connsiteY5" fmla="*/ 2783 h 81334"/>
                    <a:gd name="connsiteX6" fmla="*/ 39872 w 68928"/>
                    <a:gd name="connsiteY6" fmla="*/ 11088 h 81334"/>
                    <a:gd name="connsiteX7" fmla="*/ 65375 w 68928"/>
                    <a:gd name="connsiteY7" fmla="*/ 48030 h 81334"/>
                    <a:gd name="connsiteX8" fmla="*/ 68580 w 68928"/>
                    <a:gd name="connsiteY8" fmla="*/ 63239 h 81334"/>
                    <a:gd name="connsiteX9" fmla="*/ 60143 w 68928"/>
                    <a:gd name="connsiteY9" fmla="*/ 76280 h 81334"/>
                    <a:gd name="connsiteX10" fmla="*/ 57952 w 68928"/>
                    <a:gd name="connsiteY10" fmla="*/ 77776 h 81334"/>
                    <a:gd name="connsiteX11" fmla="*/ 46529 w 68928"/>
                    <a:gd name="connsiteY11" fmla="*/ 81334 h 81334"/>
                    <a:gd name="connsiteX12" fmla="*/ 17054 w 68928"/>
                    <a:gd name="connsiteY12" fmla="*/ 13614 h 81334"/>
                    <a:gd name="connsiteX13" fmla="*/ 14891 w 68928"/>
                    <a:gd name="connsiteY13" fmla="*/ 15110 h 81334"/>
                    <a:gd name="connsiteX14" fmla="*/ 15301 w 68928"/>
                    <a:gd name="connsiteY14" fmla="*/ 28258 h 81334"/>
                    <a:gd name="connsiteX15" fmla="*/ 40557 w 68928"/>
                    <a:gd name="connsiteY15" fmla="*/ 65099 h 81334"/>
                    <a:gd name="connsiteX16" fmla="*/ 45159 w 68928"/>
                    <a:gd name="connsiteY16" fmla="*/ 68062 h 81334"/>
                    <a:gd name="connsiteX17" fmla="*/ 50528 w 68928"/>
                    <a:gd name="connsiteY17" fmla="*/ 66939 h 81334"/>
                    <a:gd name="connsiteX18" fmla="*/ 52692 w 68928"/>
                    <a:gd name="connsiteY18" fmla="*/ 65444 h 81334"/>
                    <a:gd name="connsiteX19" fmla="*/ 55651 w 68928"/>
                    <a:gd name="connsiteY19" fmla="*/ 60844 h 81334"/>
                    <a:gd name="connsiteX20" fmla="*/ 54528 w 68928"/>
                    <a:gd name="connsiteY20" fmla="*/ 55481 h 81334"/>
                    <a:gd name="connsiteX21" fmla="*/ 29052 w 68928"/>
                    <a:gd name="connsiteY21" fmla="*/ 18539 h 81334"/>
                    <a:gd name="connsiteX22" fmla="*/ 17054 w 68928"/>
                    <a:gd name="connsiteY22" fmla="*/ 13614 h 81334"/>
                    <a:gd name="connsiteX23" fmla="*/ 17054 w 68928"/>
                    <a:gd name="connsiteY23" fmla="*/ 13614 h 81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8928" h="81334">
                      <a:moveTo>
                        <a:pt x="46529" y="81334"/>
                      </a:moveTo>
                      <a:cubicBezTo>
                        <a:pt x="45269" y="81334"/>
                        <a:pt x="44009" y="81219"/>
                        <a:pt x="42749" y="80986"/>
                      </a:cubicBezTo>
                      <a:cubicBezTo>
                        <a:pt x="37407" y="79995"/>
                        <a:pt x="32778" y="76995"/>
                        <a:pt x="29710" y="72536"/>
                      </a:cubicBezTo>
                      <a:lnTo>
                        <a:pt x="4454" y="35695"/>
                      </a:lnTo>
                      <a:cubicBezTo>
                        <a:pt x="-1874" y="26478"/>
                        <a:pt x="-1956" y="10743"/>
                        <a:pt x="7440" y="4279"/>
                      </a:cubicBezTo>
                      <a:lnTo>
                        <a:pt x="9631" y="2783"/>
                      </a:lnTo>
                      <a:cubicBezTo>
                        <a:pt x="19027" y="-3682"/>
                        <a:pt x="33600" y="1956"/>
                        <a:pt x="39872" y="11088"/>
                      </a:cubicBezTo>
                      <a:lnTo>
                        <a:pt x="65375" y="48030"/>
                      </a:lnTo>
                      <a:cubicBezTo>
                        <a:pt x="68443" y="52498"/>
                        <a:pt x="69566" y="57894"/>
                        <a:pt x="68580" y="63239"/>
                      </a:cubicBezTo>
                      <a:cubicBezTo>
                        <a:pt x="67594" y="68586"/>
                        <a:pt x="64581" y="73215"/>
                        <a:pt x="60143" y="76280"/>
                      </a:cubicBezTo>
                      <a:lnTo>
                        <a:pt x="57952" y="77776"/>
                      </a:lnTo>
                      <a:cubicBezTo>
                        <a:pt x="54555" y="80115"/>
                        <a:pt x="50583" y="81334"/>
                        <a:pt x="46529" y="81334"/>
                      </a:cubicBezTo>
                      <a:close/>
                      <a:moveTo>
                        <a:pt x="17054" y="13614"/>
                      </a:moveTo>
                      <a:lnTo>
                        <a:pt x="14891" y="15110"/>
                      </a:lnTo>
                      <a:cubicBezTo>
                        <a:pt x="12562" y="16701"/>
                        <a:pt x="12398" y="24032"/>
                        <a:pt x="15301" y="28258"/>
                      </a:cubicBezTo>
                      <a:lnTo>
                        <a:pt x="40557" y="65099"/>
                      </a:lnTo>
                      <a:cubicBezTo>
                        <a:pt x="41626" y="66657"/>
                        <a:pt x="43269" y="67712"/>
                        <a:pt x="45159" y="68062"/>
                      </a:cubicBezTo>
                      <a:cubicBezTo>
                        <a:pt x="47022" y="68419"/>
                        <a:pt x="48940" y="68021"/>
                        <a:pt x="50528" y="66939"/>
                      </a:cubicBezTo>
                      <a:lnTo>
                        <a:pt x="52692" y="65444"/>
                      </a:lnTo>
                      <a:cubicBezTo>
                        <a:pt x="54254" y="64373"/>
                        <a:pt x="55322" y="62737"/>
                        <a:pt x="55651" y="60844"/>
                      </a:cubicBezTo>
                      <a:cubicBezTo>
                        <a:pt x="56007" y="58952"/>
                        <a:pt x="55623" y="57045"/>
                        <a:pt x="54528" y="55481"/>
                      </a:cubicBezTo>
                      <a:lnTo>
                        <a:pt x="29052" y="18539"/>
                      </a:lnTo>
                      <a:cubicBezTo>
                        <a:pt x="26396" y="14696"/>
                        <a:pt x="19575" y="11902"/>
                        <a:pt x="17054" y="13614"/>
                      </a:cubicBezTo>
                      <a:lnTo>
                        <a:pt x="17054" y="13614"/>
                      </a:lnTo>
                      <a:close/>
                    </a:path>
                  </a:pathLst>
                </a:custGeom>
                <a:grpFill/>
                <a:ln w="274" cap="flat">
                  <a:noFill/>
                  <a:prstDash val="solid"/>
                  <a:miter/>
                </a:ln>
              </p:spPr>
              <p:txBody>
                <a:bodyPr rtlCol="0" anchor="ctr"/>
                <a:lstStyle/>
                <a:p>
                  <a:endParaRPr lang="en-GB" dirty="0"/>
                </a:p>
              </p:txBody>
            </p:sp>
            <p:sp>
              <p:nvSpPr>
                <p:cNvPr id="779" name="Freihandform: Form 778">
                  <a:extLst>
                    <a:ext uri="{FF2B5EF4-FFF2-40B4-BE49-F238E27FC236}">
                      <a16:creationId xmlns:a16="http://schemas.microsoft.com/office/drawing/2014/main" id="{FD78831E-3BD2-4CB7-AB84-1ED36B7F90AE}"/>
                    </a:ext>
                  </a:extLst>
                </p:cNvPr>
                <p:cNvSpPr/>
                <p:nvPr/>
              </p:nvSpPr>
              <p:spPr>
                <a:xfrm>
                  <a:off x="8134433" y="1943402"/>
                  <a:ext cx="51228" cy="104287"/>
                </a:xfrm>
                <a:custGeom>
                  <a:avLst/>
                  <a:gdLst>
                    <a:gd name="connsiteX0" fmla="*/ 26176 w 51228"/>
                    <a:gd name="connsiteY0" fmla="*/ 104287 h 104287"/>
                    <a:gd name="connsiteX1" fmla="*/ 25326 w 51228"/>
                    <a:gd name="connsiteY1" fmla="*/ 104274 h 104287"/>
                    <a:gd name="connsiteX2" fmla="*/ 22176 w 51228"/>
                    <a:gd name="connsiteY2" fmla="*/ 104159 h 104287"/>
                    <a:gd name="connsiteX3" fmla="*/ 16 w 51228"/>
                    <a:gd name="connsiteY3" fmla="*/ 80311 h 104287"/>
                    <a:gd name="connsiteX4" fmla="*/ 1796 w 51228"/>
                    <a:gd name="connsiteY4" fmla="*/ 26029 h 104287"/>
                    <a:gd name="connsiteX5" fmla="*/ 8727 w 51228"/>
                    <a:gd name="connsiteY5" fmla="*/ 8704 h 104287"/>
                    <a:gd name="connsiteX6" fmla="*/ 25956 w 51228"/>
                    <a:gd name="connsiteY6" fmla="*/ 6 h 104287"/>
                    <a:gd name="connsiteX7" fmla="*/ 29134 w 51228"/>
                    <a:gd name="connsiteY7" fmla="*/ 121 h 104287"/>
                    <a:gd name="connsiteX8" fmla="*/ 45515 w 51228"/>
                    <a:gd name="connsiteY8" fmla="*/ 9366 h 104287"/>
                    <a:gd name="connsiteX9" fmla="*/ 51212 w 51228"/>
                    <a:gd name="connsiteY9" fmla="*/ 26731 h 104287"/>
                    <a:gd name="connsiteX10" fmla="*/ 49185 w 51228"/>
                    <a:gd name="connsiteY10" fmla="*/ 82099 h 104287"/>
                    <a:gd name="connsiteX11" fmla="*/ 26176 w 51228"/>
                    <a:gd name="connsiteY11" fmla="*/ 104287 h 104287"/>
                    <a:gd name="connsiteX12" fmla="*/ 25326 w 51228"/>
                    <a:gd name="connsiteY12" fmla="*/ 13138 h 104287"/>
                    <a:gd name="connsiteX13" fmla="*/ 18834 w 51228"/>
                    <a:gd name="connsiteY13" fmla="*/ 17083 h 104287"/>
                    <a:gd name="connsiteX14" fmla="*/ 14917 w 51228"/>
                    <a:gd name="connsiteY14" fmla="*/ 26487 h 104287"/>
                    <a:gd name="connsiteX15" fmla="*/ 13137 w 51228"/>
                    <a:gd name="connsiteY15" fmla="*/ 80768 h 104287"/>
                    <a:gd name="connsiteX16" fmla="*/ 22642 w 51228"/>
                    <a:gd name="connsiteY16" fmla="*/ 91027 h 104287"/>
                    <a:gd name="connsiteX17" fmla="*/ 25819 w 51228"/>
                    <a:gd name="connsiteY17" fmla="*/ 91142 h 104287"/>
                    <a:gd name="connsiteX18" fmla="*/ 36064 w 51228"/>
                    <a:gd name="connsiteY18" fmla="*/ 81617 h 104287"/>
                    <a:gd name="connsiteX19" fmla="*/ 38091 w 51228"/>
                    <a:gd name="connsiteY19" fmla="*/ 26257 h 104287"/>
                    <a:gd name="connsiteX20" fmla="*/ 35023 w 51228"/>
                    <a:gd name="connsiteY20" fmla="*/ 17280 h 104287"/>
                    <a:gd name="connsiteX21" fmla="*/ 28641 w 51228"/>
                    <a:gd name="connsiteY21" fmla="*/ 13256 h 104287"/>
                    <a:gd name="connsiteX22" fmla="*/ 25491 w 51228"/>
                    <a:gd name="connsiteY22" fmla="*/ 13141 h 104287"/>
                    <a:gd name="connsiteX23" fmla="*/ 25326 w 51228"/>
                    <a:gd name="connsiteY23" fmla="*/ 13138 h 10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228" h="104287">
                      <a:moveTo>
                        <a:pt x="26176" y="104287"/>
                      </a:moveTo>
                      <a:cubicBezTo>
                        <a:pt x="25902" y="104287"/>
                        <a:pt x="25628" y="104285"/>
                        <a:pt x="25326" y="104274"/>
                      </a:cubicBezTo>
                      <a:lnTo>
                        <a:pt x="22176" y="104159"/>
                      </a:lnTo>
                      <a:cubicBezTo>
                        <a:pt x="9493" y="103701"/>
                        <a:pt x="-450" y="93002"/>
                        <a:pt x="16" y="80311"/>
                      </a:cubicBezTo>
                      <a:lnTo>
                        <a:pt x="1796" y="26029"/>
                      </a:lnTo>
                      <a:cubicBezTo>
                        <a:pt x="2015" y="20151"/>
                        <a:pt x="4590" y="13681"/>
                        <a:pt x="8727" y="8704"/>
                      </a:cubicBezTo>
                      <a:cubicBezTo>
                        <a:pt x="13493" y="2948"/>
                        <a:pt x="19957" y="-161"/>
                        <a:pt x="25956" y="6"/>
                      </a:cubicBezTo>
                      <a:lnTo>
                        <a:pt x="29134" y="121"/>
                      </a:lnTo>
                      <a:cubicBezTo>
                        <a:pt x="35297" y="346"/>
                        <a:pt x="41269" y="3715"/>
                        <a:pt x="45515" y="9366"/>
                      </a:cubicBezTo>
                      <a:cubicBezTo>
                        <a:pt x="49350" y="14445"/>
                        <a:pt x="51431" y="20776"/>
                        <a:pt x="51212" y="26731"/>
                      </a:cubicBezTo>
                      <a:lnTo>
                        <a:pt x="49185" y="82099"/>
                      </a:lnTo>
                      <a:cubicBezTo>
                        <a:pt x="48720" y="94503"/>
                        <a:pt x="38502" y="104287"/>
                        <a:pt x="26176" y="104287"/>
                      </a:cubicBezTo>
                      <a:close/>
                      <a:moveTo>
                        <a:pt x="25326" y="13138"/>
                      </a:moveTo>
                      <a:cubicBezTo>
                        <a:pt x="23299" y="13138"/>
                        <a:pt x="20889" y="14601"/>
                        <a:pt x="18834" y="17083"/>
                      </a:cubicBezTo>
                      <a:cubicBezTo>
                        <a:pt x="16533" y="19863"/>
                        <a:pt x="15054" y="23468"/>
                        <a:pt x="14917" y="26487"/>
                      </a:cubicBezTo>
                      <a:lnTo>
                        <a:pt x="13137" y="80768"/>
                      </a:lnTo>
                      <a:cubicBezTo>
                        <a:pt x="12945" y="86238"/>
                        <a:pt x="17218" y="90832"/>
                        <a:pt x="22642" y="91027"/>
                      </a:cubicBezTo>
                      <a:lnTo>
                        <a:pt x="25819" y="91142"/>
                      </a:lnTo>
                      <a:cubicBezTo>
                        <a:pt x="31243" y="91459"/>
                        <a:pt x="35845" y="87068"/>
                        <a:pt x="36064" y="81617"/>
                      </a:cubicBezTo>
                      <a:lnTo>
                        <a:pt x="38091" y="26257"/>
                      </a:lnTo>
                      <a:cubicBezTo>
                        <a:pt x="38174" y="23353"/>
                        <a:pt x="37023" y="19910"/>
                        <a:pt x="35023" y="17280"/>
                      </a:cubicBezTo>
                      <a:cubicBezTo>
                        <a:pt x="33161" y="14804"/>
                        <a:pt x="30832" y="13333"/>
                        <a:pt x="28641" y="13256"/>
                      </a:cubicBezTo>
                      <a:lnTo>
                        <a:pt x="25491" y="13141"/>
                      </a:lnTo>
                      <a:cubicBezTo>
                        <a:pt x="25436" y="13138"/>
                        <a:pt x="25381" y="13138"/>
                        <a:pt x="25326" y="13138"/>
                      </a:cubicBezTo>
                      <a:close/>
                    </a:path>
                  </a:pathLst>
                </a:custGeom>
                <a:grpFill/>
                <a:ln w="274" cap="flat">
                  <a:noFill/>
                  <a:prstDash val="solid"/>
                  <a:miter/>
                </a:ln>
              </p:spPr>
              <p:txBody>
                <a:bodyPr rtlCol="0" anchor="ctr"/>
                <a:lstStyle/>
                <a:p>
                  <a:endParaRPr lang="en-GB" dirty="0"/>
                </a:p>
              </p:txBody>
            </p:sp>
            <p:sp>
              <p:nvSpPr>
                <p:cNvPr id="780" name="Freihandform: Form 779">
                  <a:extLst>
                    <a:ext uri="{FF2B5EF4-FFF2-40B4-BE49-F238E27FC236}">
                      <a16:creationId xmlns:a16="http://schemas.microsoft.com/office/drawing/2014/main" id="{D452FADA-61D3-4C56-B7F2-2FCADEDD8ED1}"/>
                    </a:ext>
                  </a:extLst>
                </p:cNvPr>
                <p:cNvSpPr/>
                <p:nvPr/>
              </p:nvSpPr>
              <p:spPr>
                <a:xfrm>
                  <a:off x="8091791" y="1958754"/>
                  <a:ext cx="54874" cy="95490"/>
                </a:xfrm>
                <a:custGeom>
                  <a:avLst/>
                  <a:gdLst>
                    <a:gd name="connsiteX0" fmla="*/ 30522 w 54874"/>
                    <a:gd name="connsiteY0" fmla="*/ 95490 h 95490"/>
                    <a:gd name="connsiteX1" fmla="*/ 9375 w 54874"/>
                    <a:gd name="connsiteY1" fmla="*/ 78005 h 95490"/>
                    <a:gd name="connsiteX2" fmla="*/ 418 w 54874"/>
                    <a:gd name="connsiteY2" fmla="*/ 29041 h 95490"/>
                    <a:gd name="connsiteX3" fmla="*/ 2773 w 54874"/>
                    <a:gd name="connsiteY3" fmla="*/ 12269 h 95490"/>
                    <a:gd name="connsiteX4" fmla="*/ 16497 w 54874"/>
                    <a:gd name="connsiteY4" fmla="*/ 832 h 95490"/>
                    <a:gd name="connsiteX5" fmla="*/ 19319 w 54874"/>
                    <a:gd name="connsiteY5" fmla="*/ 293 h 95490"/>
                    <a:gd name="connsiteX6" fmla="*/ 36631 w 54874"/>
                    <a:gd name="connsiteY6" fmla="*/ 5960 h 95490"/>
                    <a:gd name="connsiteX7" fmla="*/ 45478 w 54874"/>
                    <a:gd name="connsiteY7" fmla="*/ 20969 h 95490"/>
                    <a:gd name="connsiteX8" fmla="*/ 54491 w 54874"/>
                    <a:gd name="connsiteY8" fmla="*/ 69385 h 95490"/>
                    <a:gd name="connsiteX9" fmla="*/ 51149 w 54874"/>
                    <a:gd name="connsiteY9" fmla="*/ 85486 h 95490"/>
                    <a:gd name="connsiteX10" fmla="*/ 37398 w 54874"/>
                    <a:gd name="connsiteY10" fmla="*/ 94559 h 95490"/>
                    <a:gd name="connsiteX11" fmla="*/ 34576 w 54874"/>
                    <a:gd name="connsiteY11" fmla="*/ 95101 h 95490"/>
                    <a:gd name="connsiteX12" fmla="*/ 30522 w 54874"/>
                    <a:gd name="connsiteY12" fmla="*/ 95490 h 95490"/>
                    <a:gd name="connsiteX13" fmla="*/ 22469 w 54874"/>
                    <a:gd name="connsiteY13" fmla="*/ 13137 h 95490"/>
                    <a:gd name="connsiteX14" fmla="*/ 21811 w 54874"/>
                    <a:gd name="connsiteY14" fmla="*/ 13197 h 95490"/>
                    <a:gd name="connsiteX15" fmla="*/ 21784 w 54874"/>
                    <a:gd name="connsiteY15" fmla="*/ 13200 h 95490"/>
                    <a:gd name="connsiteX16" fmla="*/ 18990 w 54874"/>
                    <a:gd name="connsiteY16" fmla="*/ 13740 h 95490"/>
                    <a:gd name="connsiteX17" fmla="*/ 14607 w 54874"/>
                    <a:gd name="connsiteY17" fmla="*/ 17972 h 95490"/>
                    <a:gd name="connsiteX18" fmla="*/ 13347 w 54874"/>
                    <a:gd name="connsiteY18" fmla="*/ 26625 h 95490"/>
                    <a:gd name="connsiteX19" fmla="*/ 22277 w 54874"/>
                    <a:gd name="connsiteY19" fmla="*/ 75589 h 95490"/>
                    <a:gd name="connsiteX20" fmla="*/ 32111 w 54874"/>
                    <a:gd name="connsiteY20" fmla="*/ 82202 h 95490"/>
                    <a:gd name="connsiteX21" fmla="*/ 34905 w 54874"/>
                    <a:gd name="connsiteY21" fmla="*/ 81660 h 95490"/>
                    <a:gd name="connsiteX22" fmla="*/ 40274 w 54874"/>
                    <a:gd name="connsiteY22" fmla="*/ 78115 h 95490"/>
                    <a:gd name="connsiteX23" fmla="*/ 41589 w 54874"/>
                    <a:gd name="connsiteY23" fmla="*/ 71831 h 95490"/>
                    <a:gd name="connsiteX24" fmla="*/ 32576 w 54874"/>
                    <a:gd name="connsiteY24" fmla="*/ 23415 h 95490"/>
                    <a:gd name="connsiteX25" fmla="*/ 22469 w 54874"/>
                    <a:gd name="connsiteY25" fmla="*/ 13137 h 95490"/>
                    <a:gd name="connsiteX26" fmla="*/ 20551 w 54874"/>
                    <a:gd name="connsiteY26" fmla="*/ 6746 h 95490"/>
                    <a:gd name="connsiteX27" fmla="*/ 20633 w 54874"/>
                    <a:gd name="connsiteY27" fmla="*/ 6746 h 95490"/>
                    <a:gd name="connsiteX28" fmla="*/ 20551 w 54874"/>
                    <a:gd name="connsiteY28" fmla="*/ 6746 h 9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4874" h="95490">
                      <a:moveTo>
                        <a:pt x="30522" y="95490"/>
                      </a:moveTo>
                      <a:cubicBezTo>
                        <a:pt x="20387" y="95490"/>
                        <a:pt x="11347" y="88305"/>
                        <a:pt x="9375" y="78005"/>
                      </a:cubicBezTo>
                      <a:lnTo>
                        <a:pt x="418" y="29041"/>
                      </a:lnTo>
                      <a:cubicBezTo>
                        <a:pt x="-596" y="23664"/>
                        <a:pt x="253" y="17531"/>
                        <a:pt x="2773" y="12269"/>
                      </a:cubicBezTo>
                      <a:cubicBezTo>
                        <a:pt x="5786" y="6012"/>
                        <a:pt x="10662" y="1947"/>
                        <a:pt x="16497" y="832"/>
                      </a:cubicBezTo>
                      <a:lnTo>
                        <a:pt x="19319" y="293"/>
                      </a:lnTo>
                      <a:cubicBezTo>
                        <a:pt x="25071" y="-817"/>
                        <a:pt x="31371" y="1262"/>
                        <a:pt x="36631" y="5960"/>
                      </a:cubicBezTo>
                      <a:cubicBezTo>
                        <a:pt x="41151" y="9998"/>
                        <a:pt x="44465" y="15608"/>
                        <a:pt x="45478" y="20969"/>
                      </a:cubicBezTo>
                      <a:lnTo>
                        <a:pt x="54491" y="69385"/>
                      </a:lnTo>
                      <a:cubicBezTo>
                        <a:pt x="55559" y="74984"/>
                        <a:pt x="54381" y="80712"/>
                        <a:pt x="51149" y="85486"/>
                      </a:cubicBezTo>
                      <a:cubicBezTo>
                        <a:pt x="47916" y="90255"/>
                        <a:pt x="43040" y="93480"/>
                        <a:pt x="37398" y="94559"/>
                      </a:cubicBezTo>
                      <a:lnTo>
                        <a:pt x="34576" y="95101"/>
                      </a:lnTo>
                      <a:cubicBezTo>
                        <a:pt x="33207" y="95364"/>
                        <a:pt x="31864" y="95490"/>
                        <a:pt x="30522" y="95490"/>
                      </a:cubicBezTo>
                      <a:close/>
                      <a:moveTo>
                        <a:pt x="22469" y="13137"/>
                      </a:moveTo>
                      <a:cubicBezTo>
                        <a:pt x="22222" y="13137"/>
                        <a:pt x="22003" y="13156"/>
                        <a:pt x="21811" y="13197"/>
                      </a:cubicBezTo>
                      <a:lnTo>
                        <a:pt x="21784" y="13200"/>
                      </a:lnTo>
                      <a:lnTo>
                        <a:pt x="18990" y="13740"/>
                      </a:lnTo>
                      <a:cubicBezTo>
                        <a:pt x="16661" y="14178"/>
                        <a:pt x="15155" y="16846"/>
                        <a:pt x="14607" y="17972"/>
                      </a:cubicBezTo>
                      <a:cubicBezTo>
                        <a:pt x="13319" y="20667"/>
                        <a:pt x="12826" y="23982"/>
                        <a:pt x="13347" y="26625"/>
                      </a:cubicBezTo>
                      <a:lnTo>
                        <a:pt x="22277" y="75589"/>
                      </a:lnTo>
                      <a:cubicBezTo>
                        <a:pt x="23153" y="80082"/>
                        <a:pt x="27564" y="83032"/>
                        <a:pt x="32111" y="82202"/>
                      </a:cubicBezTo>
                      <a:lnTo>
                        <a:pt x="34905" y="81660"/>
                      </a:lnTo>
                      <a:cubicBezTo>
                        <a:pt x="37124" y="81241"/>
                        <a:pt x="39014" y="79980"/>
                        <a:pt x="40274" y="78115"/>
                      </a:cubicBezTo>
                      <a:cubicBezTo>
                        <a:pt x="41534" y="76250"/>
                        <a:pt x="42000" y="74017"/>
                        <a:pt x="41589" y="71831"/>
                      </a:cubicBezTo>
                      <a:lnTo>
                        <a:pt x="32576" y="23415"/>
                      </a:lnTo>
                      <a:cubicBezTo>
                        <a:pt x="31645" y="18525"/>
                        <a:pt x="26194" y="13137"/>
                        <a:pt x="22469" y="13137"/>
                      </a:cubicBezTo>
                      <a:close/>
                      <a:moveTo>
                        <a:pt x="20551" y="6746"/>
                      </a:moveTo>
                      <a:lnTo>
                        <a:pt x="20633" y="6746"/>
                      </a:lnTo>
                      <a:lnTo>
                        <a:pt x="20551" y="6746"/>
                      </a:lnTo>
                      <a:close/>
                    </a:path>
                  </a:pathLst>
                </a:custGeom>
                <a:grpFill/>
                <a:ln w="274" cap="flat">
                  <a:noFill/>
                  <a:prstDash val="solid"/>
                  <a:miter/>
                </a:ln>
              </p:spPr>
              <p:txBody>
                <a:bodyPr rtlCol="0" anchor="ctr"/>
                <a:lstStyle/>
                <a:p>
                  <a:endParaRPr lang="en-GB" dirty="0"/>
                </a:p>
              </p:txBody>
            </p:sp>
            <p:sp>
              <p:nvSpPr>
                <p:cNvPr id="781" name="Freihandform: Form 780">
                  <a:extLst>
                    <a:ext uri="{FF2B5EF4-FFF2-40B4-BE49-F238E27FC236}">
                      <a16:creationId xmlns:a16="http://schemas.microsoft.com/office/drawing/2014/main" id="{C3BD4E6D-7E75-4A42-B18F-FF57743154C7}"/>
                    </a:ext>
                  </a:extLst>
                </p:cNvPr>
                <p:cNvSpPr/>
                <p:nvPr/>
              </p:nvSpPr>
              <p:spPr>
                <a:xfrm>
                  <a:off x="8049931" y="1971323"/>
                  <a:ext cx="64064" cy="93218"/>
                </a:xfrm>
                <a:custGeom>
                  <a:avLst/>
                  <a:gdLst>
                    <a:gd name="connsiteX0" fmla="*/ 39867 w 64064"/>
                    <a:gd name="connsiteY0" fmla="*/ 93218 h 93218"/>
                    <a:gd name="connsiteX1" fmla="*/ 19706 w 64064"/>
                    <a:gd name="connsiteY1" fmla="*/ 79344 h 93218"/>
                    <a:gd name="connsiteX2" fmla="*/ 1490 w 64064"/>
                    <a:gd name="connsiteY2" fmla="*/ 31223 h 93218"/>
                    <a:gd name="connsiteX3" fmla="*/ 13379 w 64064"/>
                    <a:gd name="connsiteY3" fmla="*/ 2105 h 93218"/>
                    <a:gd name="connsiteX4" fmla="*/ 16063 w 64064"/>
                    <a:gd name="connsiteY4" fmla="*/ 1081 h 93218"/>
                    <a:gd name="connsiteX5" fmla="*/ 33923 w 64064"/>
                    <a:gd name="connsiteY5" fmla="*/ 3666 h 93218"/>
                    <a:gd name="connsiteX6" fmla="*/ 44989 w 64064"/>
                    <a:gd name="connsiteY6" fmla="*/ 16851 h 93218"/>
                    <a:gd name="connsiteX7" fmla="*/ 62658 w 64064"/>
                    <a:gd name="connsiteY7" fmla="*/ 62988 h 93218"/>
                    <a:gd name="connsiteX8" fmla="*/ 50194 w 64064"/>
                    <a:gd name="connsiteY8" fmla="*/ 90789 h 93218"/>
                    <a:gd name="connsiteX9" fmla="*/ 47510 w 64064"/>
                    <a:gd name="connsiteY9" fmla="*/ 91808 h 93218"/>
                    <a:gd name="connsiteX10" fmla="*/ 39867 w 64064"/>
                    <a:gd name="connsiteY10" fmla="*/ 93218 h 93218"/>
                    <a:gd name="connsiteX11" fmla="*/ 20720 w 64064"/>
                    <a:gd name="connsiteY11" fmla="*/ 13361 h 93218"/>
                    <a:gd name="connsiteX12" fmla="*/ 18035 w 64064"/>
                    <a:gd name="connsiteY12" fmla="*/ 14385 h 93218"/>
                    <a:gd name="connsiteX13" fmla="*/ 13789 w 64064"/>
                    <a:gd name="connsiteY13" fmla="*/ 26564 h 93218"/>
                    <a:gd name="connsiteX14" fmla="*/ 32005 w 64064"/>
                    <a:gd name="connsiteY14" fmla="*/ 74682 h 93218"/>
                    <a:gd name="connsiteX15" fmla="*/ 42853 w 64064"/>
                    <a:gd name="connsiteY15" fmla="*/ 79536 h 93218"/>
                    <a:gd name="connsiteX16" fmla="*/ 45510 w 64064"/>
                    <a:gd name="connsiteY16" fmla="*/ 78517 h 93218"/>
                    <a:gd name="connsiteX17" fmla="*/ 50386 w 64064"/>
                    <a:gd name="connsiteY17" fmla="*/ 67678 h 93218"/>
                    <a:gd name="connsiteX18" fmla="*/ 32718 w 64064"/>
                    <a:gd name="connsiteY18" fmla="*/ 21540 h 93218"/>
                    <a:gd name="connsiteX19" fmla="*/ 26910 w 64064"/>
                    <a:gd name="connsiteY19" fmla="*/ 14777 h 93218"/>
                    <a:gd name="connsiteX20" fmla="*/ 20720 w 64064"/>
                    <a:gd name="connsiteY20" fmla="*/ 13361 h 9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4064" h="93218">
                      <a:moveTo>
                        <a:pt x="39867" y="93218"/>
                      </a:moveTo>
                      <a:cubicBezTo>
                        <a:pt x="31184" y="93218"/>
                        <a:pt x="22993" y="87929"/>
                        <a:pt x="19706" y="79344"/>
                      </a:cubicBezTo>
                      <a:lnTo>
                        <a:pt x="1490" y="31223"/>
                      </a:lnTo>
                      <a:cubicBezTo>
                        <a:pt x="-2865" y="19776"/>
                        <a:pt x="2695" y="6165"/>
                        <a:pt x="13379" y="2105"/>
                      </a:cubicBezTo>
                      <a:lnTo>
                        <a:pt x="16063" y="1081"/>
                      </a:lnTo>
                      <a:cubicBezTo>
                        <a:pt x="21514" y="-993"/>
                        <a:pt x="28034" y="-56"/>
                        <a:pt x="33923" y="3666"/>
                      </a:cubicBezTo>
                      <a:cubicBezTo>
                        <a:pt x="38991" y="6874"/>
                        <a:pt x="43017" y="11682"/>
                        <a:pt x="44989" y="16851"/>
                      </a:cubicBezTo>
                      <a:lnTo>
                        <a:pt x="62658" y="62988"/>
                      </a:lnTo>
                      <a:cubicBezTo>
                        <a:pt x="66876" y="74101"/>
                        <a:pt x="61288" y="86568"/>
                        <a:pt x="50194" y="90789"/>
                      </a:cubicBezTo>
                      <a:lnTo>
                        <a:pt x="47510" y="91808"/>
                      </a:lnTo>
                      <a:cubicBezTo>
                        <a:pt x="44989" y="92767"/>
                        <a:pt x="42415" y="93218"/>
                        <a:pt x="39867" y="93218"/>
                      </a:cubicBezTo>
                      <a:close/>
                      <a:moveTo>
                        <a:pt x="20720" y="13361"/>
                      </a:moveTo>
                      <a:lnTo>
                        <a:pt x="18035" y="14385"/>
                      </a:lnTo>
                      <a:cubicBezTo>
                        <a:pt x="14118" y="15878"/>
                        <a:pt x="12009" y="21907"/>
                        <a:pt x="13789" y="26564"/>
                      </a:cubicBezTo>
                      <a:lnTo>
                        <a:pt x="32005" y="74682"/>
                      </a:lnTo>
                      <a:cubicBezTo>
                        <a:pt x="33649" y="79004"/>
                        <a:pt x="38525" y="81182"/>
                        <a:pt x="42853" y="79536"/>
                      </a:cubicBezTo>
                      <a:lnTo>
                        <a:pt x="45510" y="78517"/>
                      </a:lnTo>
                      <a:cubicBezTo>
                        <a:pt x="49838" y="76868"/>
                        <a:pt x="52029" y="72006"/>
                        <a:pt x="50386" y="67678"/>
                      </a:cubicBezTo>
                      <a:lnTo>
                        <a:pt x="32718" y="21540"/>
                      </a:lnTo>
                      <a:cubicBezTo>
                        <a:pt x="31759" y="19031"/>
                        <a:pt x="29540" y="16445"/>
                        <a:pt x="26910" y="14777"/>
                      </a:cubicBezTo>
                      <a:cubicBezTo>
                        <a:pt x="24582" y="13306"/>
                        <a:pt x="22281" y="12772"/>
                        <a:pt x="20720" y="13361"/>
                      </a:cubicBezTo>
                      <a:close/>
                    </a:path>
                  </a:pathLst>
                </a:custGeom>
                <a:grpFill/>
                <a:ln w="274" cap="flat">
                  <a:noFill/>
                  <a:prstDash val="solid"/>
                  <a:miter/>
                </a:ln>
              </p:spPr>
              <p:txBody>
                <a:bodyPr rtlCol="0" anchor="ctr"/>
                <a:lstStyle/>
                <a:p>
                  <a:endParaRPr lang="en-GB" dirty="0"/>
                </a:p>
              </p:txBody>
            </p:sp>
            <p:sp>
              <p:nvSpPr>
                <p:cNvPr id="782" name="Freihandform: Form 781">
                  <a:extLst>
                    <a:ext uri="{FF2B5EF4-FFF2-40B4-BE49-F238E27FC236}">
                      <a16:creationId xmlns:a16="http://schemas.microsoft.com/office/drawing/2014/main" id="{53BFFA8F-8674-4975-8567-58C3E6EB0A76}"/>
                    </a:ext>
                  </a:extLst>
                </p:cNvPr>
                <p:cNvSpPr/>
                <p:nvPr/>
              </p:nvSpPr>
              <p:spPr>
                <a:xfrm>
                  <a:off x="8123126" y="1884284"/>
                  <a:ext cx="113500" cy="117286"/>
                </a:xfrm>
                <a:custGeom>
                  <a:avLst/>
                  <a:gdLst>
                    <a:gd name="connsiteX0" fmla="*/ 86241 w 113500"/>
                    <a:gd name="connsiteY0" fmla="*/ 117287 h 117286"/>
                    <a:gd name="connsiteX1" fmla="*/ 78900 w 113500"/>
                    <a:gd name="connsiteY1" fmla="*/ 115473 h 117286"/>
                    <a:gd name="connsiteX2" fmla="*/ 67230 w 113500"/>
                    <a:gd name="connsiteY2" fmla="*/ 105451 h 117286"/>
                    <a:gd name="connsiteX3" fmla="*/ 71860 w 113500"/>
                    <a:gd name="connsiteY3" fmla="*/ 64523 h 117286"/>
                    <a:gd name="connsiteX4" fmla="*/ 81118 w 113500"/>
                    <a:gd name="connsiteY4" fmla="*/ 64052 h 117286"/>
                    <a:gd name="connsiteX5" fmla="*/ 81611 w 113500"/>
                    <a:gd name="connsiteY5" fmla="*/ 73316 h 117286"/>
                    <a:gd name="connsiteX6" fmla="*/ 77475 w 113500"/>
                    <a:gd name="connsiteY6" fmla="*/ 97216 h 117286"/>
                    <a:gd name="connsiteX7" fmla="*/ 85090 w 113500"/>
                    <a:gd name="connsiteY7" fmla="*/ 103878 h 117286"/>
                    <a:gd name="connsiteX8" fmla="*/ 93500 w 113500"/>
                    <a:gd name="connsiteY8" fmla="*/ 100013 h 117286"/>
                    <a:gd name="connsiteX9" fmla="*/ 97581 w 113500"/>
                    <a:gd name="connsiteY9" fmla="*/ 72840 h 117286"/>
                    <a:gd name="connsiteX10" fmla="*/ 96814 w 113500"/>
                    <a:gd name="connsiteY10" fmla="*/ 71421 h 117286"/>
                    <a:gd name="connsiteX11" fmla="*/ 85282 w 113500"/>
                    <a:gd name="connsiteY11" fmla="*/ 57174 h 117286"/>
                    <a:gd name="connsiteX12" fmla="*/ 68107 w 113500"/>
                    <a:gd name="connsiteY12" fmla="*/ 37692 h 117286"/>
                    <a:gd name="connsiteX13" fmla="*/ 7761 w 113500"/>
                    <a:gd name="connsiteY13" fmla="*/ 14225 h 117286"/>
                    <a:gd name="connsiteX14" fmla="*/ 118 w 113500"/>
                    <a:gd name="connsiteY14" fmla="*/ 8963 h 117286"/>
                    <a:gd name="connsiteX15" fmla="*/ 5378 w 113500"/>
                    <a:gd name="connsiteY15" fmla="*/ 1301 h 117286"/>
                    <a:gd name="connsiteX16" fmla="*/ 78023 w 113500"/>
                    <a:gd name="connsiteY16" fmla="*/ 29050 h 117286"/>
                    <a:gd name="connsiteX17" fmla="*/ 95061 w 113500"/>
                    <a:gd name="connsiteY17" fmla="*/ 48411 h 117286"/>
                    <a:gd name="connsiteX18" fmla="*/ 108319 w 113500"/>
                    <a:gd name="connsiteY18" fmla="*/ 65101 h 117286"/>
                    <a:gd name="connsiteX19" fmla="*/ 109031 w 113500"/>
                    <a:gd name="connsiteY19" fmla="*/ 66364 h 117286"/>
                    <a:gd name="connsiteX20" fmla="*/ 102896 w 113500"/>
                    <a:gd name="connsiteY20" fmla="*/ 109179 h 117286"/>
                    <a:gd name="connsiteX21" fmla="*/ 86241 w 113500"/>
                    <a:gd name="connsiteY21" fmla="*/ 117287 h 11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3500" h="117286">
                      <a:moveTo>
                        <a:pt x="86241" y="117287"/>
                      </a:moveTo>
                      <a:cubicBezTo>
                        <a:pt x="83666" y="117287"/>
                        <a:pt x="81201" y="116692"/>
                        <a:pt x="78900" y="115473"/>
                      </a:cubicBezTo>
                      <a:cubicBezTo>
                        <a:pt x="73366" y="112529"/>
                        <a:pt x="67860" y="106168"/>
                        <a:pt x="67230" y="105451"/>
                      </a:cubicBezTo>
                      <a:cubicBezTo>
                        <a:pt x="55506" y="89979"/>
                        <a:pt x="65149" y="71941"/>
                        <a:pt x="71860" y="64523"/>
                      </a:cubicBezTo>
                      <a:cubicBezTo>
                        <a:pt x="74298" y="61830"/>
                        <a:pt x="78434" y="61620"/>
                        <a:pt x="81118" y="64052"/>
                      </a:cubicBezTo>
                      <a:cubicBezTo>
                        <a:pt x="83803" y="66482"/>
                        <a:pt x="84022" y="70621"/>
                        <a:pt x="81611" y="73316"/>
                      </a:cubicBezTo>
                      <a:cubicBezTo>
                        <a:pt x="81091" y="73905"/>
                        <a:pt x="69696" y="86958"/>
                        <a:pt x="77475" y="97216"/>
                      </a:cubicBezTo>
                      <a:cubicBezTo>
                        <a:pt x="78927" y="98887"/>
                        <a:pt x="82570" y="102533"/>
                        <a:pt x="85090" y="103878"/>
                      </a:cubicBezTo>
                      <a:cubicBezTo>
                        <a:pt x="86569" y="104662"/>
                        <a:pt x="90021" y="103566"/>
                        <a:pt x="93500" y="100013"/>
                      </a:cubicBezTo>
                      <a:cubicBezTo>
                        <a:pt x="99417" y="93924"/>
                        <a:pt x="103252" y="82821"/>
                        <a:pt x="97581" y="72840"/>
                      </a:cubicBezTo>
                      <a:lnTo>
                        <a:pt x="96814" y="71421"/>
                      </a:lnTo>
                      <a:cubicBezTo>
                        <a:pt x="95363" y="68799"/>
                        <a:pt x="94897" y="67914"/>
                        <a:pt x="85282" y="57174"/>
                      </a:cubicBezTo>
                      <a:cubicBezTo>
                        <a:pt x="81091" y="52501"/>
                        <a:pt x="75585" y="46241"/>
                        <a:pt x="68107" y="37692"/>
                      </a:cubicBezTo>
                      <a:cubicBezTo>
                        <a:pt x="50850" y="17893"/>
                        <a:pt x="30552" y="9984"/>
                        <a:pt x="7761" y="14225"/>
                      </a:cubicBezTo>
                      <a:cubicBezTo>
                        <a:pt x="4227" y="14874"/>
                        <a:pt x="776" y="12532"/>
                        <a:pt x="118" y="8963"/>
                      </a:cubicBezTo>
                      <a:cubicBezTo>
                        <a:pt x="-566" y="5396"/>
                        <a:pt x="1789" y="1967"/>
                        <a:pt x="5378" y="1301"/>
                      </a:cubicBezTo>
                      <a:cubicBezTo>
                        <a:pt x="24416" y="-2230"/>
                        <a:pt x="52438" y="-274"/>
                        <a:pt x="78023" y="29050"/>
                      </a:cubicBezTo>
                      <a:cubicBezTo>
                        <a:pt x="85419" y="37544"/>
                        <a:pt x="90925" y="43765"/>
                        <a:pt x="95061" y="48411"/>
                      </a:cubicBezTo>
                      <a:cubicBezTo>
                        <a:pt x="105251" y="59806"/>
                        <a:pt x="106238" y="61277"/>
                        <a:pt x="108319" y="65101"/>
                      </a:cubicBezTo>
                      <a:lnTo>
                        <a:pt x="109031" y="66364"/>
                      </a:lnTo>
                      <a:cubicBezTo>
                        <a:pt x="118016" y="82241"/>
                        <a:pt x="112154" y="99690"/>
                        <a:pt x="102896" y="109179"/>
                      </a:cubicBezTo>
                      <a:cubicBezTo>
                        <a:pt x="97718" y="114487"/>
                        <a:pt x="91802" y="117287"/>
                        <a:pt x="86241" y="117287"/>
                      </a:cubicBezTo>
                      <a:close/>
                    </a:path>
                  </a:pathLst>
                </a:custGeom>
                <a:grpFill/>
                <a:ln w="274" cap="flat">
                  <a:noFill/>
                  <a:prstDash val="solid"/>
                  <a:miter/>
                </a:ln>
              </p:spPr>
              <p:txBody>
                <a:bodyPr rtlCol="0" anchor="ctr"/>
                <a:lstStyle/>
                <a:p>
                  <a:endParaRPr lang="en-GB" dirty="0"/>
                </a:p>
              </p:txBody>
            </p:sp>
          </p:grpSp>
          <p:grpSp>
            <p:nvGrpSpPr>
              <p:cNvPr id="768" name="Grafik 349">
                <a:extLst>
                  <a:ext uri="{FF2B5EF4-FFF2-40B4-BE49-F238E27FC236}">
                    <a16:creationId xmlns:a16="http://schemas.microsoft.com/office/drawing/2014/main" id="{53D6A4F7-D939-4383-9512-B8A353CD3A62}"/>
                  </a:ext>
                </a:extLst>
              </p:cNvPr>
              <p:cNvGrpSpPr/>
              <p:nvPr/>
            </p:nvGrpSpPr>
            <p:grpSpPr>
              <a:xfrm>
                <a:off x="7750123" y="1884291"/>
                <a:ext cx="226898" cy="181446"/>
                <a:chOff x="7750123" y="1884291"/>
                <a:chExt cx="226898" cy="181447"/>
              </a:xfrm>
              <a:grpFill/>
            </p:grpSpPr>
            <p:sp>
              <p:nvSpPr>
                <p:cNvPr id="769" name="Freihandform: Form 768">
                  <a:extLst>
                    <a:ext uri="{FF2B5EF4-FFF2-40B4-BE49-F238E27FC236}">
                      <a16:creationId xmlns:a16="http://schemas.microsoft.com/office/drawing/2014/main" id="{FDF08B37-F331-4A03-BDC5-FA2ECD8313D5}"/>
                    </a:ext>
                  </a:extLst>
                </p:cNvPr>
                <p:cNvSpPr/>
                <p:nvPr/>
              </p:nvSpPr>
              <p:spPr>
                <a:xfrm>
                  <a:off x="7959542" y="1951165"/>
                  <a:ext cx="17479" cy="48901"/>
                </a:xfrm>
                <a:custGeom>
                  <a:avLst/>
                  <a:gdLst>
                    <a:gd name="connsiteX0" fmla="*/ 6578 w 17479"/>
                    <a:gd name="connsiteY0" fmla="*/ 48902 h 48901"/>
                    <a:gd name="connsiteX1" fmla="*/ 4981 w 17479"/>
                    <a:gd name="connsiteY1" fmla="*/ 48707 h 48901"/>
                    <a:gd name="connsiteX2" fmla="*/ 195 w 17479"/>
                    <a:gd name="connsiteY2" fmla="*/ 40741 h 48901"/>
                    <a:gd name="connsiteX3" fmla="*/ 4258 w 17479"/>
                    <a:gd name="connsiteY3" fmla="*/ 6862 h 48901"/>
                    <a:gd name="connsiteX4" fmla="*/ 10525 w 17479"/>
                    <a:gd name="connsiteY4" fmla="*/ 3 h 48901"/>
                    <a:gd name="connsiteX5" fmla="*/ 17384 w 17479"/>
                    <a:gd name="connsiteY5" fmla="*/ 6271 h 48901"/>
                    <a:gd name="connsiteX6" fmla="*/ 12950 w 17479"/>
                    <a:gd name="connsiteY6" fmla="*/ 43925 h 48901"/>
                    <a:gd name="connsiteX7" fmla="*/ 6578 w 17479"/>
                    <a:gd name="connsiteY7" fmla="*/ 48902 h 4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79" h="48901">
                      <a:moveTo>
                        <a:pt x="6578" y="48902"/>
                      </a:moveTo>
                      <a:cubicBezTo>
                        <a:pt x="6052" y="48902"/>
                        <a:pt x="5512" y="48841"/>
                        <a:pt x="4981" y="48707"/>
                      </a:cubicBezTo>
                      <a:cubicBezTo>
                        <a:pt x="1458" y="47828"/>
                        <a:pt x="-678" y="44261"/>
                        <a:pt x="195" y="40741"/>
                      </a:cubicBezTo>
                      <a:cubicBezTo>
                        <a:pt x="3340" y="28166"/>
                        <a:pt x="4707" y="16767"/>
                        <a:pt x="4258" y="6862"/>
                      </a:cubicBezTo>
                      <a:cubicBezTo>
                        <a:pt x="4099" y="3238"/>
                        <a:pt x="6901" y="168"/>
                        <a:pt x="10525" y="3"/>
                      </a:cubicBezTo>
                      <a:cubicBezTo>
                        <a:pt x="14081" y="-106"/>
                        <a:pt x="17217" y="2641"/>
                        <a:pt x="17384" y="6271"/>
                      </a:cubicBezTo>
                      <a:cubicBezTo>
                        <a:pt x="17886" y="17447"/>
                        <a:pt x="16396" y="30116"/>
                        <a:pt x="12950" y="43925"/>
                      </a:cubicBezTo>
                      <a:cubicBezTo>
                        <a:pt x="12199" y="46908"/>
                        <a:pt x="9523" y="48902"/>
                        <a:pt x="6578" y="48902"/>
                      </a:cubicBezTo>
                      <a:close/>
                    </a:path>
                  </a:pathLst>
                </a:custGeom>
                <a:grpFill/>
                <a:ln w="274" cap="flat">
                  <a:noFill/>
                  <a:prstDash val="solid"/>
                  <a:miter/>
                </a:ln>
              </p:spPr>
              <p:txBody>
                <a:bodyPr rtlCol="0" anchor="ctr"/>
                <a:lstStyle/>
                <a:p>
                  <a:endParaRPr lang="en-GB" dirty="0"/>
                </a:p>
              </p:txBody>
            </p:sp>
            <p:sp>
              <p:nvSpPr>
                <p:cNvPr id="770" name="Freihandform: Form 769">
                  <a:extLst>
                    <a:ext uri="{FF2B5EF4-FFF2-40B4-BE49-F238E27FC236}">
                      <a16:creationId xmlns:a16="http://schemas.microsoft.com/office/drawing/2014/main" id="{D2C60973-C34C-4A52-94FD-4C827035808A}"/>
                    </a:ext>
                  </a:extLst>
                </p:cNvPr>
                <p:cNvSpPr/>
                <p:nvPr/>
              </p:nvSpPr>
              <p:spPr>
                <a:xfrm>
                  <a:off x="7790183" y="1955989"/>
                  <a:ext cx="24801" cy="23243"/>
                </a:xfrm>
                <a:custGeom>
                  <a:avLst/>
                  <a:gdLst>
                    <a:gd name="connsiteX0" fmla="*/ 6577 w 24801"/>
                    <a:gd name="connsiteY0" fmla="*/ 23244 h 23243"/>
                    <a:gd name="connsiteX1" fmla="*/ 1284 w 24801"/>
                    <a:gd name="connsiteY1" fmla="*/ 20578 h 23243"/>
                    <a:gd name="connsiteX2" fmla="*/ 2670 w 24801"/>
                    <a:gd name="connsiteY2" fmla="*/ 11391 h 23243"/>
                    <a:gd name="connsiteX3" fmla="*/ 13329 w 24801"/>
                    <a:gd name="connsiteY3" fmla="*/ 2187 h 23243"/>
                    <a:gd name="connsiteX4" fmla="*/ 22601 w 24801"/>
                    <a:gd name="connsiteY4" fmla="*/ 1664 h 23243"/>
                    <a:gd name="connsiteX5" fmla="*/ 23146 w 24801"/>
                    <a:gd name="connsiteY5" fmla="*/ 10920 h 23243"/>
                    <a:gd name="connsiteX6" fmla="*/ 10475 w 24801"/>
                    <a:gd name="connsiteY6" fmla="*/ 21959 h 23243"/>
                    <a:gd name="connsiteX7" fmla="*/ 6577 w 24801"/>
                    <a:gd name="connsiteY7" fmla="*/ 23244 h 23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01" h="23243">
                      <a:moveTo>
                        <a:pt x="6577" y="23244"/>
                      </a:moveTo>
                      <a:cubicBezTo>
                        <a:pt x="4563" y="23244"/>
                        <a:pt x="2572" y="22320"/>
                        <a:pt x="1284" y="20578"/>
                      </a:cubicBezTo>
                      <a:cubicBezTo>
                        <a:pt x="-871" y="17658"/>
                        <a:pt x="-250" y="13544"/>
                        <a:pt x="2670" y="11391"/>
                      </a:cubicBezTo>
                      <a:cubicBezTo>
                        <a:pt x="9702" y="6194"/>
                        <a:pt x="13288" y="2225"/>
                        <a:pt x="13329" y="2187"/>
                      </a:cubicBezTo>
                      <a:cubicBezTo>
                        <a:pt x="15734" y="-511"/>
                        <a:pt x="19900" y="-744"/>
                        <a:pt x="22601" y="1664"/>
                      </a:cubicBezTo>
                      <a:cubicBezTo>
                        <a:pt x="25302" y="4074"/>
                        <a:pt x="25554" y="8208"/>
                        <a:pt x="23146" y="10920"/>
                      </a:cubicBezTo>
                      <a:cubicBezTo>
                        <a:pt x="22974" y="11120"/>
                        <a:pt x="18725" y="15869"/>
                        <a:pt x="10475" y="21959"/>
                      </a:cubicBezTo>
                      <a:cubicBezTo>
                        <a:pt x="9297" y="22827"/>
                        <a:pt x="7930" y="23244"/>
                        <a:pt x="6577" y="23244"/>
                      </a:cubicBezTo>
                      <a:close/>
                    </a:path>
                  </a:pathLst>
                </a:custGeom>
                <a:grpFill/>
                <a:ln w="274" cap="flat">
                  <a:noFill/>
                  <a:prstDash val="solid"/>
                  <a:miter/>
                </a:ln>
              </p:spPr>
              <p:txBody>
                <a:bodyPr rtlCol="0" anchor="ctr"/>
                <a:lstStyle/>
                <a:p>
                  <a:endParaRPr lang="en-GB" dirty="0"/>
                </a:p>
              </p:txBody>
            </p:sp>
            <p:sp>
              <p:nvSpPr>
                <p:cNvPr id="771" name="Freihandform: Form 770">
                  <a:extLst>
                    <a:ext uri="{FF2B5EF4-FFF2-40B4-BE49-F238E27FC236}">
                      <a16:creationId xmlns:a16="http://schemas.microsoft.com/office/drawing/2014/main" id="{D3629988-0194-4C89-B93B-BE42617F000D}"/>
                    </a:ext>
                  </a:extLst>
                </p:cNvPr>
                <p:cNvSpPr/>
                <p:nvPr/>
              </p:nvSpPr>
              <p:spPr>
                <a:xfrm>
                  <a:off x="7907827" y="1984410"/>
                  <a:ext cx="68915" cy="81328"/>
                </a:xfrm>
                <a:custGeom>
                  <a:avLst/>
                  <a:gdLst>
                    <a:gd name="connsiteX0" fmla="*/ 22439 w 68915"/>
                    <a:gd name="connsiteY0" fmla="*/ 81328 h 81328"/>
                    <a:gd name="connsiteX1" fmla="*/ 10967 w 68915"/>
                    <a:gd name="connsiteY1" fmla="*/ 77764 h 81328"/>
                    <a:gd name="connsiteX2" fmla="*/ 8797 w 68915"/>
                    <a:gd name="connsiteY2" fmla="*/ 76269 h 81328"/>
                    <a:gd name="connsiteX3" fmla="*/ 347 w 68915"/>
                    <a:gd name="connsiteY3" fmla="*/ 63232 h 81328"/>
                    <a:gd name="connsiteX4" fmla="*/ 3563 w 68915"/>
                    <a:gd name="connsiteY4" fmla="*/ 48032 h 81328"/>
                    <a:gd name="connsiteX5" fmla="*/ 29068 w 68915"/>
                    <a:gd name="connsiteY5" fmla="*/ 11071 h 81328"/>
                    <a:gd name="connsiteX6" fmla="*/ 59307 w 68915"/>
                    <a:gd name="connsiteY6" fmla="*/ 2774 h 81328"/>
                    <a:gd name="connsiteX7" fmla="*/ 59312 w 68915"/>
                    <a:gd name="connsiteY7" fmla="*/ 2780 h 81328"/>
                    <a:gd name="connsiteX8" fmla="*/ 61482 w 68915"/>
                    <a:gd name="connsiteY8" fmla="*/ 4275 h 81328"/>
                    <a:gd name="connsiteX9" fmla="*/ 68911 w 68915"/>
                    <a:gd name="connsiteY9" fmla="*/ 19971 h 81328"/>
                    <a:gd name="connsiteX10" fmla="*/ 64465 w 68915"/>
                    <a:gd name="connsiteY10" fmla="*/ 35692 h 81328"/>
                    <a:gd name="connsiteX11" fmla="*/ 39217 w 68915"/>
                    <a:gd name="connsiteY11" fmla="*/ 72521 h 81328"/>
                    <a:gd name="connsiteX12" fmla="*/ 22439 w 68915"/>
                    <a:gd name="connsiteY12" fmla="*/ 81328 h 81328"/>
                    <a:gd name="connsiteX13" fmla="*/ 49829 w 68915"/>
                    <a:gd name="connsiteY13" fmla="*/ 13087 h 81328"/>
                    <a:gd name="connsiteX14" fmla="*/ 39891 w 68915"/>
                    <a:gd name="connsiteY14" fmla="*/ 18525 h 81328"/>
                    <a:gd name="connsiteX15" fmla="*/ 14386 w 68915"/>
                    <a:gd name="connsiteY15" fmla="*/ 55486 h 81328"/>
                    <a:gd name="connsiteX16" fmla="*/ 13268 w 68915"/>
                    <a:gd name="connsiteY16" fmla="*/ 60841 h 81328"/>
                    <a:gd name="connsiteX17" fmla="*/ 16237 w 68915"/>
                    <a:gd name="connsiteY17" fmla="*/ 65446 h 81328"/>
                    <a:gd name="connsiteX18" fmla="*/ 18407 w 68915"/>
                    <a:gd name="connsiteY18" fmla="*/ 66941 h 81328"/>
                    <a:gd name="connsiteX19" fmla="*/ 28378 w 68915"/>
                    <a:gd name="connsiteY19" fmla="*/ 65090 h 81328"/>
                    <a:gd name="connsiteX20" fmla="*/ 53626 w 68915"/>
                    <a:gd name="connsiteY20" fmla="*/ 28260 h 81328"/>
                    <a:gd name="connsiteX21" fmla="*/ 55767 w 68915"/>
                    <a:gd name="connsiteY21" fmla="*/ 20223 h 81328"/>
                    <a:gd name="connsiteX22" fmla="*/ 54028 w 68915"/>
                    <a:gd name="connsiteY22" fmla="*/ 15104 h 81328"/>
                    <a:gd name="connsiteX23" fmla="*/ 51859 w 68915"/>
                    <a:gd name="connsiteY23" fmla="*/ 13608 h 81328"/>
                    <a:gd name="connsiteX24" fmla="*/ 49829 w 68915"/>
                    <a:gd name="connsiteY24" fmla="*/ 13087 h 81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8915" h="81328">
                      <a:moveTo>
                        <a:pt x="22439" y="81328"/>
                      </a:moveTo>
                      <a:cubicBezTo>
                        <a:pt x="18475" y="81328"/>
                        <a:pt x="14476" y="80172"/>
                        <a:pt x="10967" y="77764"/>
                      </a:cubicBezTo>
                      <a:lnTo>
                        <a:pt x="8797" y="76269"/>
                      </a:lnTo>
                      <a:cubicBezTo>
                        <a:pt x="4338" y="73209"/>
                        <a:pt x="1336" y="68579"/>
                        <a:pt x="347" y="63232"/>
                      </a:cubicBezTo>
                      <a:cubicBezTo>
                        <a:pt x="-642" y="57888"/>
                        <a:pt x="500" y="52492"/>
                        <a:pt x="3563" y="48032"/>
                      </a:cubicBezTo>
                      <a:lnTo>
                        <a:pt x="29068" y="11071"/>
                      </a:lnTo>
                      <a:cubicBezTo>
                        <a:pt x="35344" y="1944"/>
                        <a:pt x="49928" y="-3669"/>
                        <a:pt x="59307" y="2774"/>
                      </a:cubicBezTo>
                      <a:lnTo>
                        <a:pt x="59312" y="2780"/>
                      </a:lnTo>
                      <a:lnTo>
                        <a:pt x="61482" y="4275"/>
                      </a:lnTo>
                      <a:cubicBezTo>
                        <a:pt x="66138" y="7475"/>
                        <a:pt x="68782" y="13052"/>
                        <a:pt x="68911" y="19971"/>
                      </a:cubicBezTo>
                      <a:cubicBezTo>
                        <a:pt x="69020" y="25609"/>
                        <a:pt x="67352" y="31484"/>
                        <a:pt x="64465" y="35692"/>
                      </a:cubicBezTo>
                      <a:lnTo>
                        <a:pt x="39217" y="72521"/>
                      </a:lnTo>
                      <a:cubicBezTo>
                        <a:pt x="35278" y="78249"/>
                        <a:pt x="28915" y="81328"/>
                        <a:pt x="22439" y="81328"/>
                      </a:cubicBezTo>
                      <a:close/>
                      <a:moveTo>
                        <a:pt x="49829" y="13087"/>
                      </a:moveTo>
                      <a:cubicBezTo>
                        <a:pt x="46712" y="13087"/>
                        <a:pt x="41981" y="15482"/>
                        <a:pt x="39891" y="18525"/>
                      </a:cubicBezTo>
                      <a:lnTo>
                        <a:pt x="14386" y="55486"/>
                      </a:lnTo>
                      <a:cubicBezTo>
                        <a:pt x="13315" y="57042"/>
                        <a:pt x="12917" y="58948"/>
                        <a:pt x="13268" y="60841"/>
                      </a:cubicBezTo>
                      <a:cubicBezTo>
                        <a:pt x="13613" y="62734"/>
                        <a:pt x="14673" y="64369"/>
                        <a:pt x="16237" y="65446"/>
                      </a:cubicBezTo>
                      <a:lnTo>
                        <a:pt x="18407" y="66941"/>
                      </a:lnTo>
                      <a:cubicBezTo>
                        <a:pt x="21672" y="69177"/>
                        <a:pt x="26145" y="68352"/>
                        <a:pt x="28378" y="65090"/>
                      </a:cubicBezTo>
                      <a:lnTo>
                        <a:pt x="53626" y="28260"/>
                      </a:lnTo>
                      <a:cubicBezTo>
                        <a:pt x="54987" y="26285"/>
                        <a:pt x="55825" y="23135"/>
                        <a:pt x="55767" y="20223"/>
                      </a:cubicBezTo>
                      <a:cubicBezTo>
                        <a:pt x="55724" y="17807"/>
                        <a:pt x="55042" y="15799"/>
                        <a:pt x="54028" y="15104"/>
                      </a:cubicBezTo>
                      <a:lnTo>
                        <a:pt x="51859" y="13608"/>
                      </a:lnTo>
                      <a:cubicBezTo>
                        <a:pt x="51344" y="13249"/>
                        <a:pt x="50640" y="13087"/>
                        <a:pt x="49829" y="13087"/>
                      </a:cubicBezTo>
                      <a:close/>
                    </a:path>
                  </a:pathLst>
                </a:custGeom>
                <a:grpFill/>
                <a:ln w="274" cap="flat">
                  <a:noFill/>
                  <a:prstDash val="solid"/>
                  <a:miter/>
                </a:ln>
              </p:spPr>
              <p:txBody>
                <a:bodyPr rtlCol="0" anchor="ctr"/>
                <a:lstStyle/>
                <a:p>
                  <a:endParaRPr lang="en-GB" dirty="0"/>
                </a:p>
              </p:txBody>
            </p:sp>
            <p:sp>
              <p:nvSpPr>
                <p:cNvPr id="772" name="Freihandform: Form 771">
                  <a:extLst>
                    <a:ext uri="{FF2B5EF4-FFF2-40B4-BE49-F238E27FC236}">
                      <a16:creationId xmlns:a16="http://schemas.microsoft.com/office/drawing/2014/main" id="{68966223-EAFA-4A19-B039-F9959671D283}"/>
                    </a:ext>
                  </a:extLst>
                </p:cNvPr>
                <p:cNvSpPr/>
                <p:nvPr/>
              </p:nvSpPr>
              <p:spPr>
                <a:xfrm>
                  <a:off x="7801089" y="1943398"/>
                  <a:ext cx="51228" cy="104291"/>
                </a:xfrm>
                <a:custGeom>
                  <a:avLst/>
                  <a:gdLst>
                    <a:gd name="connsiteX0" fmla="*/ 25044 w 51228"/>
                    <a:gd name="connsiteY0" fmla="*/ 104292 h 104291"/>
                    <a:gd name="connsiteX1" fmla="*/ 2037 w 51228"/>
                    <a:gd name="connsiteY1" fmla="*/ 82104 h 104291"/>
                    <a:gd name="connsiteX2" fmla="*/ 16 w 51228"/>
                    <a:gd name="connsiteY2" fmla="*/ 26738 h 104291"/>
                    <a:gd name="connsiteX3" fmla="*/ 5694 w 51228"/>
                    <a:gd name="connsiteY3" fmla="*/ 9368 h 104291"/>
                    <a:gd name="connsiteX4" fmla="*/ 22100 w 51228"/>
                    <a:gd name="connsiteY4" fmla="*/ 123 h 104291"/>
                    <a:gd name="connsiteX5" fmla="*/ 25244 w 51228"/>
                    <a:gd name="connsiteY5" fmla="*/ 8 h 104291"/>
                    <a:gd name="connsiteX6" fmla="*/ 42504 w 51228"/>
                    <a:gd name="connsiteY6" fmla="*/ 8705 h 104291"/>
                    <a:gd name="connsiteX7" fmla="*/ 49421 w 51228"/>
                    <a:gd name="connsiteY7" fmla="*/ 26012 h 104291"/>
                    <a:gd name="connsiteX8" fmla="*/ 51212 w 51228"/>
                    <a:gd name="connsiteY8" fmla="*/ 80334 h 104291"/>
                    <a:gd name="connsiteX9" fmla="*/ 45052 w 51228"/>
                    <a:gd name="connsiteY9" fmla="*/ 96813 h 104291"/>
                    <a:gd name="connsiteX10" fmla="*/ 29038 w 51228"/>
                    <a:gd name="connsiteY10" fmla="*/ 104160 h 104291"/>
                    <a:gd name="connsiteX11" fmla="*/ 25894 w 51228"/>
                    <a:gd name="connsiteY11" fmla="*/ 104275 h 104291"/>
                    <a:gd name="connsiteX12" fmla="*/ 25044 w 51228"/>
                    <a:gd name="connsiteY12" fmla="*/ 104292 h 104291"/>
                    <a:gd name="connsiteX13" fmla="*/ 25880 w 51228"/>
                    <a:gd name="connsiteY13" fmla="*/ 13143 h 104291"/>
                    <a:gd name="connsiteX14" fmla="*/ 25726 w 51228"/>
                    <a:gd name="connsiteY14" fmla="*/ 13145 h 104291"/>
                    <a:gd name="connsiteX15" fmla="*/ 22576 w 51228"/>
                    <a:gd name="connsiteY15" fmla="*/ 13260 h 104291"/>
                    <a:gd name="connsiteX16" fmla="*/ 16191 w 51228"/>
                    <a:gd name="connsiteY16" fmla="*/ 17284 h 104291"/>
                    <a:gd name="connsiteX17" fmla="*/ 13142 w 51228"/>
                    <a:gd name="connsiteY17" fmla="*/ 26264 h 104291"/>
                    <a:gd name="connsiteX18" fmla="*/ 15164 w 51228"/>
                    <a:gd name="connsiteY18" fmla="*/ 81624 h 104291"/>
                    <a:gd name="connsiteX19" fmla="*/ 25411 w 51228"/>
                    <a:gd name="connsiteY19" fmla="*/ 91146 h 104291"/>
                    <a:gd name="connsiteX20" fmla="*/ 28556 w 51228"/>
                    <a:gd name="connsiteY20" fmla="*/ 91031 h 104291"/>
                    <a:gd name="connsiteX21" fmla="*/ 35429 w 51228"/>
                    <a:gd name="connsiteY21" fmla="*/ 87870 h 104291"/>
                    <a:gd name="connsiteX22" fmla="*/ 38086 w 51228"/>
                    <a:gd name="connsiteY22" fmla="*/ 80791 h 104291"/>
                    <a:gd name="connsiteX23" fmla="*/ 36297 w 51228"/>
                    <a:gd name="connsiteY23" fmla="*/ 26466 h 104291"/>
                    <a:gd name="connsiteX24" fmla="*/ 32383 w 51228"/>
                    <a:gd name="connsiteY24" fmla="*/ 17087 h 104291"/>
                    <a:gd name="connsiteX25" fmla="*/ 25880 w 51228"/>
                    <a:gd name="connsiteY25" fmla="*/ 13143 h 104291"/>
                    <a:gd name="connsiteX26" fmla="*/ 22338 w 51228"/>
                    <a:gd name="connsiteY26" fmla="*/ 6694 h 104291"/>
                    <a:gd name="connsiteX27" fmla="*/ 22401 w 51228"/>
                    <a:gd name="connsiteY27" fmla="*/ 6694 h 104291"/>
                    <a:gd name="connsiteX28" fmla="*/ 22338 w 51228"/>
                    <a:gd name="connsiteY28" fmla="*/ 6694 h 10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1228" h="104291">
                      <a:moveTo>
                        <a:pt x="25044" y="104292"/>
                      </a:moveTo>
                      <a:cubicBezTo>
                        <a:pt x="12731" y="104292"/>
                        <a:pt x="2492" y="94507"/>
                        <a:pt x="2037" y="82104"/>
                      </a:cubicBezTo>
                      <a:lnTo>
                        <a:pt x="16" y="26738"/>
                      </a:lnTo>
                      <a:cubicBezTo>
                        <a:pt x="-203" y="20777"/>
                        <a:pt x="1870" y="14447"/>
                        <a:pt x="5694" y="9368"/>
                      </a:cubicBezTo>
                      <a:cubicBezTo>
                        <a:pt x="9962" y="3714"/>
                        <a:pt x="15933" y="348"/>
                        <a:pt x="22100" y="123"/>
                      </a:cubicBezTo>
                      <a:lnTo>
                        <a:pt x="25244" y="8"/>
                      </a:lnTo>
                      <a:cubicBezTo>
                        <a:pt x="31539" y="-178"/>
                        <a:pt x="37735" y="2953"/>
                        <a:pt x="42504" y="8705"/>
                      </a:cubicBezTo>
                      <a:cubicBezTo>
                        <a:pt x="46624" y="13685"/>
                        <a:pt x="49210" y="20152"/>
                        <a:pt x="49421" y="26012"/>
                      </a:cubicBezTo>
                      <a:lnTo>
                        <a:pt x="51212" y="80334"/>
                      </a:lnTo>
                      <a:cubicBezTo>
                        <a:pt x="51443" y="86437"/>
                        <a:pt x="49257" y="92299"/>
                        <a:pt x="45052" y="96813"/>
                      </a:cubicBezTo>
                      <a:cubicBezTo>
                        <a:pt x="40855" y="101330"/>
                        <a:pt x="35166" y="103938"/>
                        <a:pt x="29038" y="104160"/>
                      </a:cubicBezTo>
                      <a:lnTo>
                        <a:pt x="25894" y="104275"/>
                      </a:lnTo>
                      <a:cubicBezTo>
                        <a:pt x="25609" y="104289"/>
                        <a:pt x="25326" y="104292"/>
                        <a:pt x="25044" y="104292"/>
                      </a:cubicBezTo>
                      <a:close/>
                      <a:moveTo>
                        <a:pt x="25880" y="13143"/>
                      </a:moveTo>
                      <a:cubicBezTo>
                        <a:pt x="25828" y="13143"/>
                        <a:pt x="25778" y="13143"/>
                        <a:pt x="25726" y="13145"/>
                      </a:cubicBezTo>
                      <a:lnTo>
                        <a:pt x="22576" y="13260"/>
                      </a:lnTo>
                      <a:cubicBezTo>
                        <a:pt x="20388" y="13337"/>
                        <a:pt x="18059" y="14808"/>
                        <a:pt x="16191" y="17284"/>
                      </a:cubicBezTo>
                      <a:cubicBezTo>
                        <a:pt x="14208" y="19914"/>
                        <a:pt x="13041" y="23357"/>
                        <a:pt x="13142" y="26264"/>
                      </a:cubicBezTo>
                      <a:lnTo>
                        <a:pt x="15164" y="81624"/>
                      </a:lnTo>
                      <a:cubicBezTo>
                        <a:pt x="15369" y="87067"/>
                        <a:pt x="19700" y="91538"/>
                        <a:pt x="25411" y="91146"/>
                      </a:cubicBezTo>
                      <a:lnTo>
                        <a:pt x="28556" y="91031"/>
                      </a:lnTo>
                      <a:cubicBezTo>
                        <a:pt x="31186" y="90938"/>
                        <a:pt x="33624" y="89815"/>
                        <a:pt x="35429" y="87870"/>
                      </a:cubicBezTo>
                      <a:cubicBezTo>
                        <a:pt x="37240" y="85925"/>
                        <a:pt x="38182" y="83413"/>
                        <a:pt x="38086" y="80791"/>
                      </a:cubicBezTo>
                      <a:lnTo>
                        <a:pt x="36297" y="26466"/>
                      </a:lnTo>
                      <a:cubicBezTo>
                        <a:pt x="36188" y="23470"/>
                        <a:pt x="34686" y="19868"/>
                        <a:pt x="32383" y="17087"/>
                      </a:cubicBezTo>
                      <a:cubicBezTo>
                        <a:pt x="30326" y="14605"/>
                        <a:pt x="27907" y="13143"/>
                        <a:pt x="25880" y="13143"/>
                      </a:cubicBezTo>
                      <a:close/>
                      <a:moveTo>
                        <a:pt x="22338" y="6694"/>
                      </a:moveTo>
                      <a:lnTo>
                        <a:pt x="22401" y="6694"/>
                      </a:lnTo>
                      <a:lnTo>
                        <a:pt x="22338" y="6694"/>
                      </a:lnTo>
                      <a:close/>
                    </a:path>
                  </a:pathLst>
                </a:custGeom>
                <a:grpFill/>
                <a:ln w="274" cap="flat">
                  <a:noFill/>
                  <a:prstDash val="solid"/>
                  <a:miter/>
                </a:ln>
              </p:spPr>
              <p:txBody>
                <a:bodyPr rtlCol="0" anchor="ctr"/>
                <a:lstStyle/>
                <a:p>
                  <a:endParaRPr lang="en-GB" dirty="0"/>
                </a:p>
              </p:txBody>
            </p:sp>
            <p:sp>
              <p:nvSpPr>
                <p:cNvPr id="773" name="Freihandform: Form 772">
                  <a:extLst>
                    <a:ext uri="{FF2B5EF4-FFF2-40B4-BE49-F238E27FC236}">
                      <a16:creationId xmlns:a16="http://schemas.microsoft.com/office/drawing/2014/main" id="{C15D227A-756C-4074-8E5E-F0B60AF8349F}"/>
                    </a:ext>
                  </a:extLst>
                </p:cNvPr>
                <p:cNvSpPr/>
                <p:nvPr/>
              </p:nvSpPr>
              <p:spPr>
                <a:xfrm>
                  <a:off x="7840071" y="1958754"/>
                  <a:ext cx="54884" cy="95490"/>
                </a:xfrm>
                <a:custGeom>
                  <a:avLst/>
                  <a:gdLst>
                    <a:gd name="connsiteX0" fmla="*/ 24366 w 54884"/>
                    <a:gd name="connsiteY0" fmla="*/ 95491 h 95490"/>
                    <a:gd name="connsiteX1" fmla="*/ 20303 w 54884"/>
                    <a:gd name="connsiteY1" fmla="*/ 95102 h 95490"/>
                    <a:gd name="connsiteX2" fmla="*/ 17479 w 54884"/>
                    <a:gd name="connsiteY2" fmla="*/ 94559 h 95490"/>
                    <a:gd name="connsiteX3" fmla="*/ 3731 w 54884"/>
                    <a:gd name="connsiteY3" fmla="*/ 85487 h 95490"/>
                    <a:gd name="connsiteX4" fmla="*/ 389 w 54884"/>
                    <a:gd name="connsiteY4" fmla="*/ 69350 h 95490"/>
                    <a:gd name="connsiteX5" fmla="*/ 9390 w 54884"/>
                    <a:gd name="connsiteY5" fmla="*/ 21005 h 95490"/>
                    <a:gd name="connsiteX6" fmla="*/ 18257 w 54884"/>
                    <a:gd name="connsiteY6" fmla="*/ 5963 h 95490"/>
                    <a:gd name="connsiteX7" fmla="*/ 35561 w 54884"/>
                    <a:gd name="connsiteY7" fmla="*/ 296 h 95490"/>
                    <a:gd name="connsiteX8" fmla="*/ 38371 w 54884"/>
                    <a:gd name="connsiteY8" fmla="*/ 833 h 95490"/>
                    <a:gd name="connsiteX9" fmla="*/ 52103 w 54884"/>
                    <a:gd name="connsiteY9" fmla="*/ 12272 h 95490"/>
                    <a:gd name="connsiteX10" fmla="*/ 54451 w 54884"/>
                    <a:gd name="connsiteY10" fmla="*/ 29102 h 95490"/>
                    <a:gd name="connsiteX11" fmla="*/ 45526 w 54884"/>
                    <a:gd name="connsiteY11" fmla="*/ 77951 h 95490"/>
                    <a:gd name="connsiteX12" fmla="*/ 24366 w 54884"/>
                    <a:gd name="connsiteY12" fmla="*/ 95491 h 95490"/>
                    <a:gd name="connsiteX13" fmla="*/ 32457 w 54884"/>
                    <a:gd name="connsiteY13" fmla="*/ 13140 h 95490"/>
                    <a:gd name="connsiteX14" fmla="*/ 27009 w 54884"/>
                    <a:gd name="connsiteY14" fmla="*/ 15764 h 95490"/>
                    <a:gd name="connsiteX15" fmla="*/ 22305 w 54884"/>
                    <a:gd name="connsiteY15" fmla="*/ 23445 h 95490"/>
                    <a:gd name="connsiteX16" fmla="*/ 13304 w 54884"/>
                    <a:gd name="connsiteY16" fmla="*/ 71793 h 95490"/>
                    <a:gd name="connsiteX17" fmla="*/ 14605 w 54884"/>
                    <a:gd name="connsiteY17" fmla="*/ 78113 h 95490"/>
                    <a:gd name="connsiteX18" fmla="*/ 19963 w 54884"/>
                    <a:gd name="connsiteY18" fmla="*/ 81657 h 95490"/>
                    <a:gd name="connsiteX19" fmla="*/ 22788 w 54884"/>
                    <a:gd name="connsiteY19" fmla="*/ 82200 h 95490"/>
                    <a:gd name="connsiteX20" fmla="*/ 32611 w 54884"/>
                    <a:gd name="connsiteY20" fmla="*/ 75530 h 95490"/>
                    <a:gd name="connsiteX21" fmla="*/ 41535 w 54884"/>
                    <a:gd name="connsiteY21" fmla="*/ 26680 h 95490"/>
                    <a:gd name="connsiteX22" fmla="*/ 40264 w 54884"/>
                    <a:gd name="connsiteY22" fmla="*/ 17969 h 95490"/>
                    <a:gd name="connsiteX23" fmla="*/ 35900 w 54884"/>
                    <a:gd name="connsiteY23" fmla="*/ 13735 h 95490"/>
                    <a:gd name="connsiteX24" fmla="*/ 33084 w 54884"/>
                    <a:gd name="connsiteY24" fmla="*/ 13195 h 95490"/>
                    <a:gd name="connsiteX25" fmla="*/ 32457 w 54884"/>
                    <a:gd name="connsiteY25" fmla="*/ 13140 h 95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4884" h="95490">
                      <a:moveTo>
                        <a:pt x="24366" y="95491"/>
                      </a:moveTo>
                      <a:cubicBezTo>
                        <a:pt x="23023" y="95491"/>
                        <a:pt x="21670" y="95365"/>
                        <a:pt x="20303" y="95102"/>
                      </a:cubicBezTo>
                      <a:lnTo>
                        <a:pt x="17479" y="94559"/>
                      </a:lnTo>
                      <a:cubicBezTo>
                        <a:pt x="11852" y="93483"/>
                        <a:pt x="6963" y="90259"/>
                        <a:pt x="3731" y="85487"/>
                      </a:cubicBezTo>
                      <a:cubicBezTo>
                        <a:pt x="495" y="80712"/>
                        <a:pt x="-691" y="74985"/>
                        <a:pt x="389" y="69350"/>
                      </a:cubicBezTo>
                      <a:lnTo>
                        <a:pt x="9390" y="21005"/>
                      </a:lnTo>
                      <a:cubicBezTo>
                        <a:pt x="10423" y="15614"/>
                        <a:pt x="13734" y="10001"/>
                        <a:pt x="18257" y="5963"/>
                      </a:cubicBezTo>
                      <a:cubicBezTo>
                        <a:pt x="23519" y="1263"/>
                        <a:pt x="29819" y="-822"/>
                        <a:pt x="35561" y="296"/>
                      </a:cubicBezTo>
                      <a:lnTo>
                        <a:pt x="38371" y="833"/>
                      </a:lnTo>
                      <a:cubicBezTo>
                        <a:pt x="44217" y="1953"/>
                        <a:pt x="49093" y="6018"/>
                        <a:pt x="52103" y="12272"/>
                      </a:cubicBezTo>
                      <a:cubicBezTo>
                        <a:pt x="54637" y="17534"/>
                        <a:pt x="55492" y="23667"/>
                        <a:pt x="54451" y="29102"/>
                      </a:cubicBezTo>
                      <a:lnTo>
                        <a:pt x="45526" y="77951"/>
                      </a:lnTo>
                      <a:cubicBezTo>
                        <a:pt x="43546" y="88297"/>
                        <a:pt x="34493" y="95491"/>
                        <a:pt x="24366" y="95491"/>
                      </a:cubicBezTo>
                      <a:close/>
                      <a:moveTo>
                        <a:pt x="32457" y="13140"/>
                      </a:moveTo>
                      <a:cubicBezTo>
                        <a:pt x="30893" y="13140"/>
                        <a:pt x="28877" y="14102"/>
                        <a:pt x="27009" y="15764"/>
                      </a:cubicBezTo>
                      <a:cubicBezTo>
                        <a:pt x="24642" y="17885"/>
                        <a:pt x="22793" y="20898"/>
                        <a:pt x="22305" y="23445"/>
                      </a:cubicBezTo>
                      <a:lnTo>
                        <a:pt x="13304" y="71793"/>
                      </a:lnTo>
                      <a:cubicBezTo>
                        <a:pt x="12874" y="74018"/>
                        <a:pt x="13343" y="76247"/>
                        <a:pt x="14605" y="78113"/>
                      </a:cubicBezTo>
                      <a:cubicBezTo>
                        <a:pt x="15868" y="79978"/>
                        <a:pt x="17775" y="81238"/>
                        <a:pt x="19963" y="81657"/>
                      </a:cubicBezTo>
                      <a:lnTo>
                        <a:pt x="22788" y="82200"/>
                      </a:lnTo>
                      <a:cubicBezTo>
                        <a:pt x="27299" y="83095"/>
                        <a:pt x="31737" y="80077"/>
                        <a:pt x="32611" y="75530"/>
                      </a:cubicBezTo>
                      <a:lnTo>
                        <a:pt x="41535" y="26680"/>
                      </a:lnTo>
                      <a:cubicBezTo>
                        <a:pt x="42047" y="23979"/>
                        <a:pt x="41560" y="20665"/>
                        <a:pt x="40264" y="17969"/>
                      </a:cubicBezTo>
                      <a:cubicBezTo>
                        <a:pt x="39724" y="16844"/>
                        <a:pt x="38210" y="14178"/>
                        <a:pt x="35900" y="13735"/>
                      </a:cubicBezTo>
                      <a:lnTo>
                        <a:pt x="33084" y="13195"/>
                      </a:lnTo>
                      <a:cubicBezTo>
                        <a:pt x="32887" y="13159"/>
                        <a:pt x="32676" y="13140"/>
                        <a:pt x="32457" y="13140"/>
                      </a:cubicBezTo>
                      <a:close/>
                    </a:path>
                  </a:pathLst>
                </a:custGeom>
                <a:grpFill/>
                <a:ln w="274" cap="flat">
                  <a:noFill/>
                  <a:prstDash val="solid"/>
                  <a:miter/>
                </a:ln>
              </p:spPr>
              <p:txBody>
                <a:bodyPr rtlCol="0" anchor="ctr"/>
                <a:lstStyle/>
                <a:p>
                  <a:endParaRPr lang="en-GB" dirty="0"/>
                </a:p>
              </p:txBody>
            </p:sp>
            <p:sp>
              <p:nvSpPr>
                <p:cNvPr id="774" name="Freihandform: Form 773">
                  <a:extLst>
                    <a:ext uri="{FF2B5EF4-FFF2-40B4-BE49-F238E27FC236}">
                      <a16:creationId xmlns:a16="http://schemas.microsoft.com/office/drawing/2014/main" id="{3346BA2F-3871-4C98-8E8F-92E5BBE3A5B6}"/>
                    </a:ext>
                  </a:extLst>
                </p:cNvPr>
                <p:cNvSpPr/>
                <p:nvPr/>
              </p:nvSpPr>
              <p:spPr>
                <a:xfrm>
                  <a:off x="7872745" y="1971322"/>
                  <a:ext cx="64060" cy="93222"/>
                </a:xfrm>
                <a:custGeom>
                  <a:avLst/>
                  <a:gdLst>
                    <a:gd name="connsiteX0" fmla="*/ 24190 w 64060"/>
                    <a:gd name="connsiteY0" fmla="*/ 93222 h 93222"/>
                    <a:gd name="connsiteX1" fmla="*/ 16562 w 64060"/>
                    <a:gd name="connsiteY1" fmla="*/ 91814 h 93222"/>
                    <a:gd name="connsiteX2" fmla="*/ 13874 w 64060"/>
                    <a:gd name="connsiteY2" fmla="*/ 90787 h 93222"/>
                    <a:gd name="connsiteX3" fmla="*/ 1408 w 64060"/>
                    <a:gd name="connsiteY3" fmla="*/ 63003 h 93222"/>
                    <a:gd name="connsiteX4" fmla="*/ 19084 w 64060"/>
                    <a:gd name="connsiteY4" fmla="*/ 16838 h 93222"/>
                    <a:gd name="connsiteX5" fmla="*/ 30151 w 64060"/>
                    <a:gd name="connsiteY5" fmla="*/ 3665 h 93222"/>
                    <a:gd name="connsiteX6" fmla="*/ 48014 w 64060"/>
                    <a:gd name="connsiteY6" fmla="*/ 1079 h 93222"/>
                    <a:gd name="connsiteX7" fmla="*/ 50701 w 64060"/>
                    <a:gd name="connsiteY7" fmla="*/ 2106 h 93222"/>
                    <a:gd name="connsiteX8" fmla="*/ 61935 w 64060"/>
                    <a:gd name="connsiteY8" fmla="*/ 13030 h 93222"/>
                    <a:gd name="connsiteX9" fmla="*/ 62556 w 64060"/>
                    <a:gd name="connsiteY9" fmla="*/ 31235 h 93222"/>
                    <a:gd name="connsiteX10" fmla="*/ 44360 w 64060"/>
                    <a:gd name="connsiteY10" fmla="*/ 79331 h 93222"/>
                    <a:gd name="connsiteX11" fmla="*/ 24190 w 64060"/>
                    <a:gd name="connsiteY11" fmla="*/ 93222 h 93222"/>
                    <a:gd name="connsiteX12" fmla="*/ 41952 w 64060"/>
                    <a:gd name="connsiteY12" fmla="*/ 13129 h 93222"/>
                    <a:gd name="connsiteX13" fmla="*/ 37172 w 64060"/>
                    <a:gd name="connsiteY13" fmla="*/ 14775 h 93222"/>
                    <a:gd name="connsiteX14" fmla="*/ 31359 w 64060"/>
                    <a:gd name="connsiteY14" fmla="*/ 21525 h 93222"/>
                    <a:gd name="connsiteX15" fmla="*/ 13682 w 64060"/>
                    <a:gd name="connsiteY15" fmla="*/ 67689 h 93222"/>
                    <a:gd name="connsiteX16" fmla="*/ 18553 w 64060"/>
                    <a:gd name="connsiteY16" fmla="*/ 78512 h 93222"/>
                    <a:gd name="connsiteX17" fmla="*/ 21240 w 64060"/>
                    <a:gd name="connsiteY17" fmla="*/ 79539 h 93222"/>
                    <a:gd name="connsiteX18" fmla="*/ 32077 w 64060"/>
                    <a:gd name="connsiteY18" fmla="*/ 74669 h 93222"/>
                    <a:gd name="connsiteX19" fmla="*/ 50274 w 64060"/>
                    <a:gd name="connsiteY19" fmla="*/ 26573 h 93222"/>
                    <a:gd name="connsiteX20" fmla="*/ 49948 w 64060"/>
                    <a:gd name="connsiteY20" fmla="*/ 18413 h 93222"/>
                    <a:gd name="connsiteX21" fmla="*/ 46028 w 64060"/>
                    <a:gd name="connsiteY21" fmla="*/ 14386 h 93222"/>
                    <a:gd name="connsiteX22" fmla="*/ 43341 w 64060"/>
                    <a:gd name="connsiteY22" fmla="*/ 13362 h 93222"/>
                    <a:gd name="connsiteX23" fmla="*/ 41952 w 64060"/>
                    <a:gd name="connsiteY23" fmla="*/ 13129 h 9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4060" h="93222">
                      <a:moveTo>
                        <a:pt x="24190" y="93222"/>
                      </a:moveTo>
                      <a:cubicBezTo>
                        <a:pt x="21648" y="93222"/>
                        <a:pt x="19071" y="92770"/>
                        <a:pt x="16562" y="91814"/>
                      </a:cubicBezTo>
                      <a:lnTo>
                        <a:pt x="13874" y="90787"/>
                      </a:lnTo>
                      <a:cubicBezTo>
                        <a:pt x="2780" y="86568"/>
                        <a:pt x="-2813" y="74102"/>
                        <a:pt x="1408" y="63003"/>
                      </a:cubicBezTo>
                      <a:lnTo>
                        <a:pt x="19084" y="16838"/>
                      </a:lnTo>
                      <a:cubicBezTo>
                        <a:pt x="21040" y="11680"/>
                        <a:pt x="25078" y="6872"/>
                        <a:pt x="30151" y="3665"/>
                      </a:cubicBezTo>
                      <a:cubicBezTo>
                        <a:pt x="36035" y="-55"/>
                        <a:pt x="42554" y="-992"/>
                        <a:pt x="48014" y="1079"/>
                      </a:cubicBezTo>
                      <a:lnTo>
                        <a:pt x="50701" y="2106"/>
                      </a:lnTo>
                      <a:cubicBezTo>
                        <a:pt x="55623" y="3974"/>
                        <a:pt x="59615" y="7856"/>
                        <a:pt x="61935" y="13030"/>
                      </a:cubicBezTo>
                      <a:cubicBezTo>
                        <a:pt x="64534" y="18821"/>
                        <a:pt x="64759" y="25458"/>
                        <a:pt x="62556" y="31235"/>
                      </a:cubicBezTo>
                      <a:lnTo>
                        <a:pt x="44360" y="79331"/>
                      </a:lnTo>
                      <a:cubicBezTo>
                        <a:pt x="41083" y="87927"/>
                        <a:pt x="32877" y="93222"/>
                        <a:pt x="24190" y="93222"/>
                      </a:cubicBezTo>
                      <a:close/>
                      <a:moveTo>
                        <a:pt x="41952" y="13129"/>
                      </a:moveTo>
                      <a:cubicBezTo>
                        <a:pt x="40566" y="13129"/>
                        <a:pt x="38873" y="13699"/>
                        <a:pt x="37172" y="14775"/>
                      </a:cubicBezTo>
                      <a:cubicBezTo>
                        <a:pt x="34534" y="16443"/>
                        <a:pt x="32309" y="19029"/>
                        <a:pt x="31359" y="21525"/>
                      </a:cubicBezTo>
                      <a:lnTo>
                        <a:pt x="13682" y="67689"/>
                      </a:lnTo>
                      <a:cubicBezTo>
                        <a:pt x="12047" y="72004"/>
                        <a:pt x="14222" y="76869"/>
                        <a:pt x="18553" y="78512"/>
                      </a:cubicBezTo>
                      <a:lnTo>
                        <a:pt x="21240" y="79539"/>
                      </a:lnTo>
                      <a:cubicBezTo>
                        <a:pt x="25565" y="81183"/>
                        <a:pt x="30428" y="78994"/>
                        <a:pt x="32077" y="74669"/>
                      </a:cubicBezTo>
                      <a:lnTo>
                        <a:pt x="50274" y="26573"/>
                      </a:lnTo>
                      <a:cubicBezTo>
                        <a:pt x="51224" y="24086"/>
                        <a:pt x="51095" y="20966"/>
                        <a:pt x="49948" y="18413"/>
                      </a:cubicBezTo>
                      <a:cubicBezTo>
                        <a:pt x="49441" y="17271"/>
                        <a:pt x="48247" y="15230"/>
                        <a:pt x="46028" y="14386"/>
                      </a:cubicBezTo>
                      <a:lnTo>
                        <a:pt x="43341" y="13362"/>
                      </a:lnTo>
                      <a:cubicBezTo>
                        <a:pt x="42927" y="13205"/>
                        <a:pt x="42458" y="13129"/>
                        <a:pt x="41952" y="13129"/>
                      </a:cubicBezTo>
                      <a:close/>
                    </a:path>
                  </a:pathLst>
                </a:custGeom>
                <a:grpFill/>
                <a:ln w="274" cap="flat">
                  <a:noFill/>
                  <a:prstDash val="solid"/>
                  <a:miter/>
                </a:ln>
              </p:spPr>
              <p:txBody>
                <a:bodyPr rtlCol="0" anchor="ctr"/>
                <a:lstStyle/>
                <a:p>
                  <a:endParaRPr lang="en-GB" dirty="0"/>
                </a:p>
              </p:txBody>
            </p:sp>
            <p:sp>
              <p:nvSpPr>
                <p:cNvPr id="775" name="Freihandform: Form 774">
                  <a:extLst>
                    <a:ext uri="{FF2B5EF4-FFF2-40B4-BE49-F238E27FC236}">
                      <a16:creationId xmlns:a16="http://schemas.microsoft.com/office/drawing/2014/main" id="{43B2EEAB-4C26-40D4-BD2F-3FD0D3424197}"/>
                    </a:ext>
                  </a:extLst>
                </p:cNvPr>
                <p:cNvSpPr/>
                <p:nvPr/>
              </p:nvSpPr>
              <p:spPr>
                <a:xfrm>
                  <a:off x="7750123" y="1884291"/>
                  <a:ext cx="112846" cy="117282"/>
                </a:xfrm>
                <a:custGeom>
                  <a:avLst/>
                  <a:gdLst>
                    <a:gd name="connsiteX0" fmla="*/ 27254 w 112846"/>
                    <a:gd name="connsiteY0" fmla="*/ 117282 h 117282"/>
                    <a:gd name="connsiteX1" fmla="*/ 10605 w 112846"/>
                    <a:gd name="connsiteY1" fmla="*/ 109185 h 117282"/>
                    <a:gd name="connsiteX2" fmla="*/ 4472 w 112846"/>
                    <a:gd name="connsiteY2" fmla="*/ 66359 h 117282"/>
                    <a:gd name="connsiteX3" fmla="*/ 5170 w 112846"/>
                    <a:gd name="connsiteY3" fmla="*/ 65099 h 117282"/>
                    <a:gd name="connsiteX4" fmla="*/ 18426 w 112846"/>
                    <a:gd name="connsiteY4" fmla="*/ 48412 h 117282"/>
                    <a:gd name="connsiteX5" fmla="*/ 35481 w 112846"/>
                    <a:gd name="connsiteY5" fmla="*/ 29048 h 117282"/>
                    <a:gd name="connsiteX6" fmla="*/ 107419 w 112846"/>
                    <a:gd name="connsiteY6" fmla="*/ 1170 h 117282"/>
                    <a:gd name="connsiteX7" fmla="*/ 112744 w 112846"/>
                    <a:gd name="connsiteY7" fmla="*/ 8783 h 117282"/>
                    <a:gd name="connsiteX8" fmla="*/ 105134 w 112846"/>
                    <a:gd name="connsiteY8" fmla="*/ 14111 h 117282"/>
                    <a:gd name="connsiteX9" fmla="*/ 45388 w 112846"/>
                    <a:gd name="connsiteY9" fmla="*/ 37685 h 117282"/>
                    <a:gd name="connsiteX10" fmla="*/ 28224 w 112846"/>
                    <a:gd name="connsiteY10" fmla="*/ 57167 h 117282"/>
                    <a:gd name="connsiteX11" fmla="*/ 16695 w 112846"/>
                    <a:gd name="connsiteY11" fmla="*/ 71416 h 117282"/>
                    <a:gd name="connsiteX12" fmla="*/ 15906 w 112846"/>
                    <a:gd name="connsiteY12" fmla="*/ 72830 h 117282"/>
                    <a:gd name="connsiteX13" fmla="*/ 20012 w 112846"/>
                    <a:gd name="connsiteY13" fmla="*/ 100009 h 117282"/>
                    <a:gd name="connsiteX14" fmla="*/ 28397 w 112846"/>
                    <a:gd name="connsiteY14" fmla="*/ 103871 h 117282"/>
                    <a:gd name="connsiteX15" fmla="*/ 36269 w 112846"/>
                    <a:gd name="connsiteY15" fmla="*/ 96897 h 117282"/>
                    <a:gd name="connsiteX16" fmla="*/ 31895 w 112846"/>
                    <a:gd name="connsiteY16" fmla="*/ 73323 h 117282"/>
                    <a:gd name="connsiteX17" fmla="*/ 32369 w 112846"/>
                    <a:gd name="connsiteY17" fmla="*/ 64042 h 117282"/>
                    <a:gd name="connsiteX18" fmla="*/ 41647 w 112846"/>
                    <a:gd name="connsiteY18" fmla="*/ 64513 h 117282"/>
                    <a:gd name="connsiteX19" fmla="*/ 46498 w 112846"/>
                    <a:gd name="connsiteY19" fmla="*/ 105136 h 117282"/>
                    <a:gd name="connsiteX20" fmla="*/ 34576 w 112846"/>
                    <a:gd name="connsiteY20" fmla="*/ 115466 h 117282"/>
                    <a:gd name="connsiteX21" fmla="*/ 27254 w 112846"/>
                    <a:gd name="connsiteY21" fmla="*/ 117282 h 117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2846" h="117282">
                      <a:moveTo>
                        <a:pt x="27254" y="117282"/>
                      </a:moveTo>
                      <a:cubicBezTo>
                        <a:pt x="21705" y="117282"/>
                        <a:pt x="15769" y="114483"/>
                        <a:pt x="10605" y="109185"/>
                      </a:cubicBezTo>
                      <a:cubicBezTo>
                        <a:pt x="1346" y="99694"/>
                        <a:pt x="-4518" y="82244"/>
                        <a:pt x="4472" y="66359"/>
                      </a:cubicBezTo>
                      <a:lnTo>
                        <a:pt x="5170" y="65099"/>
                      </a:lnTo>
                      <a:cubicBezTo>
                        <a:pt x="7269" y="61275"/>
                        <a:pt x="8238" y="59802"/>
                        <a:pt x="18426" y="48412"/>
                      </a:cubicBezTo>
                      <a:cubicBezTo>
                        <a:pt x="22570" y="43766"/>
                        <a:pt x="28068" y="37545"/>
                        <a:pt x="35481" y="29048"/>
                      </a:cubicBezTo>
                      <a:cubicBezTo>
                        <a:pt x="60838" y="-5"/>
                        <a:pt x="88586" y="-2150"/>
                        <a:pt x="107419" y="1170"/>
                      </a:cubicBezTo>
                      <a:cubicBezTo>
                        <a:pt x="110994" y="1803"/>
                        <a:pt x="113380" y="5208"/>
                        <a:pt x="112744" y="8783"/>
                      </a:cubicBezTo>
                      <a:cubicBezTo>
                        <a:pt x="112114" y="12352"/>
                        <a:pt x="108709" y="14724"/>
                        <a:pt x="105134" y="14111"/>
                      </a:cubicBezTo>
                      <a:cubicBezTo>
                        <a:pt x="82577" y="10133"/>
                        <a:pt x="62492" y="18069"/>
                        <a:pt x="45388" y="37685"/>
                      </a:cubicBezTo>
                      <a:cubicBezTo>
                        <a:pt x="37927" y="46234"/>
                        <a:pt x="32402" y="52493"/>
                        <a:pt x="28224" y="57167"/>
                      </a:cubicBezTo>
                      <a:cubicBezTo>
                        <a:pt x="18612" y="67910"/>
                        <a:pt x="18133" y="68795"/>
                        <a:pt x="16695" y="71416"/>
                      </a:cubicBezTo>
                      <a:lnTo>
                        <a:pt x="15906" y="72830"/>
                      </a:lnTo>
                      <a:cubicBezTo>
                        <a:pt x="10254" y="82817"/>
                        <a:pt x="14078" y="93919"/>
                        <a:pt x="20012" y="100009"/>
                      </a:cubicBezTo>
                      <a:cubicBezTo>
                        <a:pt x="23477" y="103567"/>
                        <a:pt x="26934" y="104674"/>
                        <a:pt x="28397" y="103871"/>
                      </a:cubicBezTo>
                      <a:cubicBezTo>
                        <a:pt x="30931" y="102523"/>
                        <a:pt x="34568" y="98880"/>
                        <a:pt x="36269" y="96897"/>
                      </a:cubicBezTo>
                      <a:cubicBezTo>
                        <a:pt x="43884" y="86819"/>
                        <a:pt x="32015" y="73454"/>
                        <a:pt x="31895" y="73323"/>
                      </a:cubicBezTo>
                      <a:cubicBezTo>
                        <a:pt x="29462" y="70627"/>
                        <a:pt x="29676" y="66475"/>
                        <a:pt x="32369" y="64042"/>
                      </a:cubicBezTo>
                      <a:cubicBezTo>
                        <a:pt x="35056" y="61610"/>
                        <a:pt x="39214" y="61823"/>
                        <a:pt x="41647" y="64513"/>
                      </a:cubicBezTo>
                      <a:cubicBezTo>
                        <a:pt x="48344" y="71934"/>
                        <a:pt x="57981" y="89969"/>
                        <a:pt x="46498" y="105136"/>
                      </a:cubicBezTo>
                      <a:cubicBezTo>
                        <a:pt x="45643" y="106155"/>
                        <a:pt x="40112" y="112519"/>
                        <a:pt x="34576" y="115466"/>
                      </a:cubicBezTo>
                      <a:cubicBezTo>
                        <a:pt x="32292" y="116685"/>
                        <a:pt x="29816" y="117282"/>
                        <a:pt x="27254" y="117282"/>
                      </a:cubicBezTo>
                      <a:close/>
                    </a:path>
                  </a:pathLst>
                </a:custGeom>
                <a:grpFill/>
                <a:ln w="274" cap="flat">
                  <a:noFill/>
                  <a:prstDash val="solid"/>
                  <a:miter/>
                </a:ln>
              </p:spPr>
              <p:txBody>
                <a:bodyPr rtlCol="0" anchor="ctr"/>
                <a:lstStyle/>
                <a:p>
                  <a:endParaRPr lang="en-GB" dirty="0"/>
                </a:p>
              </p:txBody>
            </p:sp>
          </p:grpSp>
        </p:grpSp>
        <p:grpSp>
          <p:nvGrpSpPr>
            <p:cNvPr id="761" name="Grafik 349">
              <a:extLst>
                <a:ext uri="{FF2B5EF4-FFF2-40B4-BE49-F238E27FC236}">
                  <a16:creationId xmlns:a16="http://schemas.microsoft.com/office/drawing/2014/main" id="{A9357D74-D848-48AE-A6E4-36A565B9AA2D}"/>
                </a:ext>
              </a:extLst>
            </p:cNvPr>
            <p:cNvGrpSpPr/>
            <p:nvPr/>
          </p:nvGrpSpPr>
          <p:grpSpPr>
            <a:xfrm>
              <a:off x="8219107" y="1626716"/>
              <a:ext cx="243597" cy="330371"/>
              <a:chOff x="7871290" y="1637473"/>
              <a:chExt cx="241490" cy="327514"/>
            </a:xfrm>
            <a:solidFill>
              <a:schemeClr val="accent1"/>
            </a:solidFill>
          </p:grpSpPr>
          <p:grpSp>
            <p:nvGrpSpPr>
              <p:cNvPr id="762" name="Grafik 349">
                <a:extLst>
                  <a:ext uri="{FF2B5EF4-FFF2-40B4-BE49-F238E27FC236}">
                    <a16:creationId xmlns:a16="http://schemas.microsoft.com/office/drawing/2014/main" id="{D0C49B51-E55F-44AD-B172-F347B50DFD96}"/>
                  </a:ext>
                </a:extLst>
              </p:cNvPr>
              <p:cNvGrpSpPr/>
              <p:nvPr/>
            </p:nvGrpSpPr>
            <p:grpSpPr>
              <a:xfrm>
                <a:off x="7871290" y="1637473"/>
                <a:ext cx="241490" cy="327514"/>
                <a:chOff x="7871290" y="1637473"/>
                <a:chExt cx="241490" cy="327514"/>
              </a:xfrm>
              <a:solidFill>
                <a:schemeClr val="accent1"/>
              </a:solidFill>
            </p:grpSpPr>
            <p:sp>
              <p:nvSpPr>
                <p:cNvPr id="764" name="Freihandform: Form 763">
                  <a:extLst>
                    <a:ext uri="{FF2B5EF4-FFF2-40B4-BE49-F238E27FC236}">
                      <a16:creationId xmlns:a16="http://schemas.microsoft.com/office/drawing/2014/main" id="{98D0227A-6920-47C9-BF26-45708AE52301}"/>
                    </a:ext>
                  </a:extLst>
                </p:cNvPr>
                <p:cNvSpPr/>
                <p:nvPr/>
              </p:nvSpPr>
              <p:spPr>
                <a:xfrm>
                  <a:off x="7871290" y="1729157"/>
                  <a:ext cx="241490" cy="235830"/>
                </a:xfrm>
                <a:custGeom>
                  <a:avLst/>
                  <a:gdLst>
                    <a:gd name="connsiteX0" fmla="*/ 121374 w 241490"/>
                    <a:gd name="connsiteY0" fmla="*/ 235831 h 235830"/>
                    <a:gd name="connsiteX1" fmla="*/ 120086 w 241490"/>
                    <a:gd name="connsiteY1" fmla="*/ 235831 h 235830"/>
                    <a:gd name="connsiteX2" fmla="*/ 0 w 241490"/>
                    <a:gd name="connsiteY2" fmla="*/ 137568 h 235830"/>
                    <a:gd name="connsiteX3" fmla="*/ 83063 w 241490"/>
                    <a:gd name="connsiteY3" fmla="*/ 356 h 235830"/>
                    <a:gd name="connsiteX4" fmla="*/ 91385 w 241490"/>
                    <a:gd name="connsiteY4" fmla="*/ 4478 h 235830"/>
                    <a:gd name="connsiteX5" fmla="*/ 87259 w 241490"/>
                    <a:gd name="connsiteY5" fmla="*/ 12803 h 235830"/>
                    <a:gd name="connsiteX6" fmla="*/ 13140 w 241490"/>
                    <a:gd name="connsiteY6" fmla="*/ 137568 h 235830"/>
                    <a:gd name="connsiteX7" fmla="*/ 120086 w 241490"/>
                    <a:gd name="connsiteY7" fmla="*/ 222691 h 235830"/>
                    <a:gd name="connsiteX8" fmla="*/ 121374 w 241490"/>
                    <a:gd name="connsiteY8" fmla="*/ 222691 h 235830"/>
                    <a:gd name="connsiteX9" fmla="*/ 228342 w 241490"/>
                    <a:gd name="connsiteY9" fmla="*/ 137568 h 235830"/>
                    <a:gd name="connsiteX10" fmla="*/ 154218 w 241490"/>
                    <a:gd name="connsiteY10" fmla="*/ 12800 h 235830"/>
                    <a:gd name="connsiteX11" fmla="*/ 150191 w 241490"/>
                    <a:gd name="connsiteY11" fmla="*/ 4421 h 235830"/>
                    <a:gd name="connsiteX12" fmla="*/ 158409 w 241490"/>
                    <a:gd name="connsiteY12" fmla="*/ 356 h 235830"/>
                    <a:gd name="connsiteX13" fmla="*/ 241491 w 241490"/>
                    <a:gd name="connsiteY13" fmla="*/ 137568 h 235830"/>
                    <a:gd name="connsiteX14" fmla="*/ 121374 w 241490"/>
                    <a:gd name="connsiteY14" fmla="*/ 235831 h 23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1490" h="235830">
                      <a:moveTo>
                        <a:pt x="121374" y="235831"/>
                      </a:moveTo>
                      <a:lnTo>
                        <a:pt x="120086" y="235831"/>
                      </a:lnTo>
                      <a:cubicBezTo>
                        <a:pt x="37136" y="235831"/>
                        <a:pt x="0" y="186478"/>
                        <a:pt x="0" y="137568"/>
                      </a:cubicBezTo>
                      <a:cubicBezTo>
                        <a:pt x="0" y="67730"/>
                        <a:pt x="70032" y="4752"/>
                        <a:pt x="83063" y="356"/>
                      </a:cubicBezTo>
                      <a:cubicBezTo>
                        <a:pt x="86481" y="-828"/>
                        <a:pt x="90229" y="1043"/>
                        <a:pt x="91385" y="4478"/>
                      </a:cubicBezTo>
                      <a:cubicBezTo>
                        <a:pt x="92546" y="7916"/>
                        <a:pt x="90697" y="11644"/>
                        <a:pt x="87259" y="12803"/>
                      </a:cubicBezTo>
                      <a:cubicBezTo>
                        <a:pt x="79348" y="15720"/>
                        <a:pt x="13140" y="73927"/>
                        <a:pt x="13140" y="137568"/>
                      </a:cubicBezTo>
                      <a:cubicBezTo>
                        <a:pt x="13140" y="196369"/>
                        <a:pt x="66857" y="222691"/>
                        <a:pt x="120086" y="222691"/>
                      </a:cubicBezTo>
                      <a:lnTo>
                        <a:pt x="121374" y="222691"/>
                      </a:lnTo>
                      <a:cubicBezTo>
                        <a:pt x="174625" y="222691"/>
                        <a:pt x="228342" y="196369"/>
                        <a:pt x="228342" y="137568"/>
                      </a:cubicBezTo>
                      <a:cubicBezTo>
                        <a:pt x="228342" y="73927"/>
                        <a:pt x="162134" y="15720"/>
                        <a:pt x="154218" y="12800"/>
                      </a:cubicBezTo>
                      <a:cubicBezTo>
                        <a:pt x="150849" y="11559"/>
                        <a:pt x="149013" y="7812"/>
                        <a:pt x="150191" y="4421"/>
                      </a:cubicBezTo>
                      <a:cubicBezTo>
                        <a:pt x="151396" y="1032"/>
                        <a:pt x="155040" y="-806"/>
                        <a:pt x="158409" y="356"/>
                      </a:cubicBezTo>
                      <a:cubicBezTo>
                        <a:pt x="171448" y="4749"/>
                        <a:pt x="241491" y="67730"/>
                        <a:pt x="241491" y="137568"/>
                      </a:cubicBezTo>
                      <a:cubicBezTo>
                        <a:pt x="241491" y="186480"/>
                        <a:pt x="204346" y="235831"/>
                        <a:pt x="121374" y="235831"/>
                      </a:cubicBezTo>
                      <a:close/>
                    </a:path>
                  </a:pathLst>
                </a:custGeom>
                <a:solidFill>
                  <a:schemeClr val="accent1"/>
                </a:solidFill>
                <a:ln w="274" cap="flat">
                  <a:noFill/>
                  <a:prstDash val="solid"/>
                  <a:miter/>
                </a:ln>
              </p:spPr>
              <p:txBody>
                <a:bodyPr rtlCol="0" anchor="ctr"/>
                <a:lstStyle/>
                <a:p>
                  <a:endParaRPr lang="en-GB" dirty="0"/>
                </a:p>
              </p:txBody>
            </p:sp>
            <p:sp>
              <p:nvSpPr>
                <p:cNvPr id="765" name="Freihandform: Form 764">
                  <a:extLst>
                    <a:ext uri="{FF2B5EF4-FFF2-40B4-BE49-F238E27FC236}">
                      <a16:creationId xmlns:a16="http://schemas.microsoft.com/office/drawing/2014/main" id="{FADE044D-DDA5-454D-A4B7-5186CA479931}"/>
                    </a:ext>
                  </a:extLst>
                </p:cNvPr>
                <p:cNvSpPr/>
                <p:nvPr/>
              </p:nvSpPr>
              <p:spPr>
                <a:xfrm>
                  <a:off x="7951176" y="1717034"/>
                  <a:ext cx="83014" cy="25273"/>
                </a:xfrm>
                <a:custGeom>
                  <a:avLst/>
                  <a:gdLst>
                    <a:gd name="connsiteX0" fmla="*/ 76441 w 83014"/>
                    <a:gd name="connsiteY0" fmla="*/ 25274 h 25273"/>
                    <a:gd name="connsiteX1" fmla="*/ 6570 w 83014"/>
                    <a:gd name="connsiteY1" fmla="*/ 25274 h 25273"/>
                    <a:gd name="connsiteX2" fmla="*/ 1365 w 83014"/>
                    <a:gd name="connsiteY2" fmla="*/ 22713 h 25273"/>
                    <a:gd name="connsiteX3" fmla="*/ 218 w 83014"/>
                    <a:gd name="connsiteY3" fmla="*/ 17029 h 25273"/>
                    <a:gd name="connsiteX4" fmla="*/ 3412 w 83014"/>
                    <a:gd name="connsiteY4" fmla="*/ 4899 h 25273"/>
                    <a:gd name="connsiteX5" fmla="*/ 11438 w 83014"/>
                    <a:gd name="connsiteY5" fmla="*/ 220 h 25273"/>
                    <a:gd name="connsiteX6" fmla="*/ 16116 w 83014"/>
                    <a:gd name="connsiteY6" fmla="*/ 8246 h 25273"/>
                    <a:gd name="connsiteX7" fmla="*/ 15097 w 83014"/>
                    <a:gd name="connsiteY7" fmla="*/ 12131 h 25273"/>
                    <a:gd name="connsiteX8" fmla="*/ 76441 w 83014"/>
                    <a:gd name="connsiteY8" fmla="*/ 12131 h 25273"/>
                    <a:gd name="connsiteX9" fmla="*/ 83015 w 83014"/>
                    <a:gd name="connsiteY9" fmla="*/ 18699 h 25273"/>
                    <a:gd name="connsiteX10" fmla="*/ 76441 w 83014"/>
                    <a:gd name="connsiteY10" fmla="*/ 25274 h 25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014" h="25273">
                      <a:moveTo>
                        <a:pt x="76441" y="25274"/>
                      </a:moveTo>
                      <a:lnTo>
                        <a:pt x="6570" y="25274"/>
                      </a:lnTo>
                      <a:cubicBezTo>
                        <a:pt x="4529" y="25274"/>
                        <a:pt x="2612" y="24329"/>
                        <a:pt x="1365" y="22713"/>
                      </a:cubicBezTo>
                      <a:cubicBezTo>
                        <a:pt x="122" y="21099"/>
                        <a:pt x="-303" y="19001"/>
                        <a:pt x="218" y="17029"/>
                      </a:cubicBezTo>
                      <a:lnTo>
                        <a:pt x="3412" y="4899"/>
                      </a:lnTo>
                      <a:cubicBezTo>
                        <a:pt x="4335" y="1382"/>
                        <a:pt x="7948" y="-708"/>
                        <a:pt x="11438" y="220"/>
                      </a:cubicBezTo>
                      <a:cubicBezTo>
                        <a:pt x="14947" y="1144"/>
                        <a:pt x="17039" y="4737"/>
                        <a:pt x="16116" y="8246"/>
                      </a:cubicBezTo>
                      <a:lnTo>
                        <a:pt x="15097" y="12131"/>
                      </a:lnTo>
                      <a:lnTo>
                        <a:pt x="76441" y="12131"/>
                      </a:lnTo>
                      <a:cubicBezTo>
                        <a:pt x="80056" y="12131"/>
                        <a:pt x="83015" y="15073"/>
                        <a:pt x="83015" y="18699"/>
                      </a:cubicBezTo>
                      <a:cubicBezTo>
                        <a:pt x="83015" y="22332"/>
                        <a:pt x="80056" y="25274"/>
                        <a:pt x="76441" y="25274"/>
                      </a:cubicBezTo>
                      <a:close/>
                    </a:path>
                  </a:pathLst>
                </a:custGeom>
                <a:solidFill>
                  <a:schemeClr val="accent1"/>
                </a:solidFill>
                <a:ln w="274" cap="flat">
                  <a:noFill/>
                  <a:prstDash val="solid"/>
                  <a:miter/>
                </a:ln>
              </p:spPr>
              <p:txBody>
                <a:bodyPr rtlCol="0" anchor="ctr"/>
                <a:lstStyle/>
                <a:p>
                  <a:endParaRPr lang="en-GB" dirty="0"/>
                </a:p>
              </p:txBody>
            </p:sp>
            <p:sp>
              <p:nvSpPr>
                <p:cNvPr id="766" name="Freihandform: Form 765">
                  <a:extLst>
                    <a:ext uri="{FF2B5EF4-FFF2-40B4-BE49-F238E27FC236}">
                      <a16:creationId xmlns:a16="http://schemas.microsoft.com/office/drawing/2014/main" id="{B3682876-38A7-4A7B-90B4-D8271308E976}"/>
                    </a:ext>
                  </a:extLst>
                </p:cNvPr>
                <p:cNvSpPr/>
                <p:nvPr/>
              </p:nvSpPr>
              <p:spPr>
                <a:xfrm>
                  <a:off x="7942051" y="1637473"/>
                  <a:ext cx="101189" cy="80126"/>
                </a:xfrm>
                <a:custGeom>
                  <a:avLst/>
                  <a:gdLst>
                    <a:gd name="connsiteX0" fmla="*/ 83539 w 101189"/>
                    <a:gd name="connsiteY0" fmla="*/ 80126 h 80126"/>
                    <a:gd name="connsiteX1" fmla="*/ 77157 w 101189"/>
                    <a:gd name="connsiteY1" fmla="*/ 75031 h 80126"/>
                    <a:gd name="connsiteX2" fmla="*/ 75951 w 101189"/>
                    <a:gd name="connsiteY2" fmla="*/ 69901 h 80126"/>
                    <a:gd name="connsiteX3" fmla="*/ 20065 w 101189"/>
                    <a:gd name="connsiteY3" fmla="*/ 69901 h 80126"/>
                    <a:gd name="connsiteX4" fmla="*/ 13770 w 101189"/>
                    <a:gd name="connsiteY4" fmla="*/ 65219 h 80126"/>
                    <a:gd name="connsiteX5" fmla="*/ 668 w 101189"/>
                    <a:gd name="connsiteY5" fmla="*/ 21558 h 80126"/>
                    <a:gd name="connsiteX6" fmla="*/ 3068 w 101189"/>
                    <a:gd name="connsiteY6" fmla="*/ 7859 h 80126"/>
                    <a:gd name="connsiteX7" fmla="*/ 20065 w 101189"/>
                    <a:gd name="connsiteY7" fmla="*/ 0 h 80126"/>
                    <a:gd name="connsiteX8" fmla="*/ 81183 w 101189"/>
                    <a:gd name="connsiteY8" fmla="*/ 0 h 80126"/>
                    <a:gd name="connsiteX9" fmla="*/ 97920 w 101189"/>
                    <a:gd name="connsiteY9" fmla="*/ 7859 h 80126"/>
                    <a:gd name="connsiteX10" fmla="*/ 100632 w 101189"/>
                    <a:gd name="connsiteY10" fmla="*/ 21369 h 80126"/>
                    <a:gd name="connsiteX11" fmla="*/ 87977 w 101189"/>
                    <a:gd name="connsiteY11" fmla="*/ 63551 h 80126"/>
                    <a:gd name="connsiteX12" fmla="*/ 89949 w 101189"/>
                    <a:gd name="connsiteY12" fmla="*/ 72078 h 80126"/>
                    <a:gd name="connsiteX13" fmla="*/ 85018 w 101189"/>
                    <a:gd name="connsiteY13" fmla="*/ 79956 h 80126"/>
                    <a:gd name="connsiteX14" fmla="*/ 83539 w 101189"/>
                    <a:gd name="connsiteY14" fmla="*/ 80126 h 80126"/>
                    <a:gd name="connsiteX15" fmla="*/ 24954 w 101189"/>
                    <a:gd name="connsiteY15" fmla="*/ 56763 h 80126"/>
                    <a:gd name="connsiteX16" fmla="*/ 76307 w 101189"/>
                    <a:gd name="connsiteY16" fmla="*/ 56763 h 80126"/>
                    <a:gd name="connsiteX17" fmla="*/ 88004 w 101189"/>
                    <a:gd name="connsiteY17" fmla="*/ 17781 h 80126"/>
                    <a:gd name="connsiteX18" fmla="*/ 87511 w 101189"/>
                    <a:gd name="connsiteY18" fmla="*/ 15863 h 80126"/>
                    <a:gd name="connsiteX19" fmla="*/ 81183 w 101189"/>
                    <a:gd name="connsiteY19" fmla="*/ 13143 h 80126"/>
                    <a:gd name="connsiteX20" fmla="*/ 20065 w 101189"/>
                    <a:gd name="connsiteY20" fmla="*/ 13143 h 80126"/>
                    <a:gd name="connsiteX21" fmla="*/ 13565 w 101189"/>
                    <a:gd name="connsiteY21" fmla="*/ 15767 h 80126"/>
                    <a:gd name="connsiteX22" fmla="*/ 13277 w 101189"/>
                    <a:gd name="connsiteY22" fmla="*/ 17855 h 80126"/>
                    <a:gd name="connsiteX23" fmla="*/ 24954 w 101189"/>
                    <a:gd name="connsiteY23" fmla="*/ 56763 h 80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1189" h="80126">
                      <a:moveTo>
                        <a:pt x="83539" y="80126"/>
                      </a:moveTo>
                      <a:cubicBezTo>
                        <a:pt x="80553" y="80129"/>
                        <a:pt x="77841" y="78069"/>
                        <a:pt x="77157" y="75031"/>
                      </a:cubicBezTo>
                      <a:lnTo>
                        <a:pt x="75951" y="69901"/>
                      </a:lnTo>
                      <a:lnTo>
                        <a:pt x="20065" y="69901"/>
                      </a:lnTo>
                      <a:cubicBezTo>
                        <a:pt x="17164" y="69901"/>
                        <a:pt x="14605" y="67999"/>
                        <a:pt x="13770" y="65219"/>
                      </a:cubicBezTo>
                      <a:lnTo>
                        <a:pt x="668" y="21558"/>
                      </a:lnTo>
                      <a:cubicBezTo>
                        <a:pt x="-751" y="16630"/>
                        <a:pt x="109" y="11790"/>
                        <a:pt x="3068" y="7859"/>
                      </a:cubicBezTo>
                      <a:cubicBezTo>
                        <a:pt x="6719" y="3010"/>
                        <a:pt x="13230" y="0"/>
                        <a:pt x="20065" y="0"/>
                      </a:cubicBezTo>
                      <a:lnTo>
                        <a:pt x="81183" y="0"/>
                      </a:lnTo>
                      <a:cubicBezTo>
                        <a:pt x="87812" y="0"/>
                        <a:pt x="94222" y="3013"/>
                        <a:pt x="97920" y="7859"/>
                      </a:cubicBezTo>
                      <a:cubicBezTo>
                        <a:pt x="100961" y="11798"/>
                        <a:pt x="101919" y="16597"/>
                        <a:pt x="100632" y="21369"/>
                      </a:cubicBezTo>
                      <a:lnTo>
                        <a:pt x="87977" y="63551"/>
                      </a:lnTo>
                      <a:lnTo>
                        <a:pt x="89949" y="72078"/>
                      </a:lnTo>
                      <a:cubicBezTo>
                        <a:pt x="90771" y="75617"/>
                        <a:pt x="88552" y="79143"/>
                        <a:pt x="85018" y="79956"/>
                      </a:cubicBezTo>
                      <a:cubicBezTo>
                        <a:pt x="84525" y="80071"/>
                        <a:pt x="84032" y="80126"/>
                        <a:pt x="83539" y="80126"/>
                      </a:cubicBezTo>
                      <a:close/>
                      <a:moveTo>
                        <a:pt x="24954" y="56763"/>
                      </a:moveTo>
                      <a:lnTo>
                        <a:pt x="76307" y="56763"/>
                      </a:lnTo>
                      <a:lnTo>
                        <a:pt x="88004" y="17781"/>
                      </a:lnTo>
                      <a:cubicBezTo>
                        <a:pt x="88141" y="17287"/>
                        <a:pt x="88141" y="16663"/>
                        <a:pt x="87511" y="15863"/>
                      </a:cubicBezTo>
                      <a:cubicBezTo>
                        <a:pt x="86306" y="14288"/>
                        <a:pt x="83649" y="13143"/>
                        <a:pt x="81183" y="13143"/>
                      </a:cubicBezTo>
                      <a:lnTo>
                        <a:pt x="20065" y="13143"/>
                      </a:lnTo>
                      <a:cubicBezTo>
                        <a:pt x="17485" y="13143"/>
                        <a:pt x="14696" y="14272"/>
                        <a:pt x="13565" y="15767"/>
                      </a:cubicBezTo>
                      <a:cubicBezTo>
                        <a:pt x="13167" y="16296"/>
                        <a:pt x="12981" y="16830"/>
                        <a:pt x="13277" y="17855"/>
                      </a:cubicBezTo>
                      <a:lnTo>
                        <a:pt x="24954" y="56763"/>
                      </a:lnTo>
                      <a:close/>
                    </a:path>
                  </a:pathLst>
                </a:custGeom>
                <a:solidFill>
                  <a:schemeClr val="accent1"/>
                </a:solidFill>
                <a:ln w="274" cap="flat">
                  <a:noFill/>
                  <a:prstDash val="solid"/>
                  <a:miter/>
                </a:ln>
              </p:spPr>
              <p:txBody>
                <a:bodyPr rtlCol="0" anchor="ctr"/>
                <a:lstStyle/>
                <a:p>
                  <a:endParaRPr lang="en-GB" dirty="0"/>
                </a:p>
              </p:txBody>
            </p:sp>
          </p:grpSp>
          <p:sp>
            <p:nvSpPr>
              <p:cNvPr id="763" name="Freihandform: Form 762">
                <a:extLst>
                  <a:ext uri="{FF2B5EF4-FFF2-40B4-BE49-F238E27FC236}">
                    <a16:creationId xmlns:a16="http://schemas.microsoft.com/office/drawing/2014/main" id="{43B8B1DA-A41C-43B4-B111-7C45C973E836}"/>
                  </a:ext>
                </a:extLst>
              </p:cNvPr>
              <p:cNvSpPr/>
              <p:nvPr/>
            </p:nvSpPr>
            <p:spPr>
              <a:xfrm>
                <a:off x="7986062" y="1666726"/>
                <a:ext cx="49388" cy="13137"/>
              </a:xfrm>
              <a:custGeom>
                <a:avLst/>
                <a:gdLst>
                  <a:gd name="connsiteX0" fmla="*/ 42815 w 49388"/>
                  <a:gd name="connsiteY0" fmla="*/ 13138 h 13137"/>
                  <a:gd name="connsiteX1" fmla="*/ 6574 w 49388"/>
                  <a:gd name="connsiteY1" fmla="*/ 13138 h 13137"/>
                  <a:gd name="connsiteX2" fmla="*/ 0 w 49388"/>
                  <a:gd name="connsiteY2" fmla="*/ 6569 h 13137"/>
                  <a:gd name="connsiteX3" fmla="*/ 6574 w 49388"/>
                  <a:gd name="connsiteY3" fmla="*/ 0 h 13137"/>
                  <a:gd name="connsiteX4" fmla="*/ 42815 w 49388"/>
                  <a:gd name="connsiteY4" fmla="*/ 0 h 13137"/>
                  <a:gd name="connsiteX5" fmla="*/ 49389 w 49388"/>
                  <a:gd name="connsiteY5" fmla="*/ 6569 h 13137"/>
                  <a:gd name="connsiteX6" fmla="*/ 42815 w 49388"/>
                  <a:gd name="connsiteY6" fmla="*/ 13138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388" h="13137">
                    <a:moveTo>
                      <a:pt x="42815" y="13138"/>
                    </a:moveTo>
                    <a:lnTo>
                      <a:pt x="6574" y="13138"/>
                    </a:lnTo>
                    <a:cubicBezTo>
                      <a:pt x="2958" y="13138"/>
                      <a:pt x="0" y="10196"/>
                      <a:pt x="0" y="6569"/>
                    </a:cubicBezTo>
                    <a:cubicBezTo>
                      <a:pt x="0" y="2939"/>
                      <a:pt x="2958" y="0"/>
                      <a:pt x="6574" y="0"/>
                    </a:cubicBezTo>
                    <a:lnTo>
                      <a:pt x="42815" y="0"/>
                    </a:lnTo>
                    <a:cubicBezTo>
                      <a:pt x="46431" y="0"/>
                      <a:pt x="49389" y="2942"/>
                      <a:pt x="49389" y="6569"/>
                    </a:cubicBezTo>
                    <a:cubicBezTo>
                      <a:pt x="49389" y="10196"/>
                      <a:pt x="46431" y="13138"/>
                      <a:pt x="42815" y="13138"/>
                    </a:cubicBezTo>
                    <a:close/>
                  </a:path>
                </a:pathLst>
              </a:custGeom>
              <a:solidFill>
                <a:schemeClr val="accent1"/>
              </a:solidFill>
              <a:ln w="274" cap="flat">
                <a:noFill/>
                <a:prstDash val="solid"/>
                <a:miter/>
              </a:ln>
            </p:spPr>
            <p:txBody>
              <a:bodyPr rtlCol="0" anchor="ctr"/>
              <a:lstStyle/>
              <a:p>
                <a:endParaRPr lang="en-GB" dirty="0"/>
              </a:p>
            </p:txBody>
          </p:sp>
        </p:grpSp>
      </p:grpSp>
      <p:sp>
        <p:nvSpPr>
          <p:cNvPr id="783" name="TextBox 1414">
            <a:extLst>
              <a:ext uri="{FF2B5EF4-FFF2-40B4-BE49-F238E27FC236}">
                <a16:creationId xmlns:a16="http://schemas.microsoft.com/office/drawing/2014/main" id="{23AA94E8-C438-4C98-982A-8ED57694750A}"/>
              </a:ext>
            </a:extLst>
          </p:cNvPr>
          <p:cNvSpPr txBox="1"/>
          <p:nvPr/>
        </p:nvSpPr>
        <p:spPr>
          <a:xfrm>
            <a:off x="8094203" y="2077494"/>
            <a:ext cx="496931" cy="107722"/>
          </a:xfrm>
          <a:prstGeom prst="rect">
            <a:avLst/>
          </a:prstGeom>
          <a:noFill/>
          <a:effectLst/>
        </p:spPr>
        <p:txBody>
          <a:bodyPr wrap="none" lIns="0" tIns="0" rIns="0" bIns="0" rtlCol="0" anchor="t">
            <a:spAutoFit/>
          </a:bodyPr>
          <a:lstStyle/>
          <a:p>
            <a:pPr algn="ctr"/>
            <a:r>
              <a:rPr lang="en-GB" sz="700" dirty="0">
                <a:solidFill>
                  <a:schemeClr val="tx2"/>
                </a:solidFill>
              </a:rPr>
              <a:t>Sponsorship</a:t>
            </a:r>
          </a:p>
        </p:txBody>
      </p:sp>
      <p:grpSp>
        <p:nvGrpSpPr>
          <p:cNvPr id="51" name="Group 50">
            <a:extLst>
              <a:ext uri="{FF2B5EF4-FFF2-40B4-BE49-F238E27FC236}">
                <a16:creationId xmlns:a16="http://schemas.microsoft.com/office/drawing/2014/main" id="{6AF94660-E119-C425-452D-79AAA42F0734}"/>
              </a:ext>
            </a:extLst>
          </p:cNvPr>
          <p:cNvGrpSpPr/>
          <p:nvPr/>
        </p:nvGrpSpPr>
        <p:grpSpPr>
          <a:xfrm>
            <a:off x="8060126" y="2449341"/>
            <a:ext cx="565085" cy="432000"/>
            <a:chOff x="8059714" y="2449341"/>
            <a:chExt cx="565085" cy="432000"/>
          </a:xfrm>
        </p:grpSpPr>
        <p:grpSp>
          <p:nvGrpSpPr>
            <p:cNvPr id="785" name="Gruppieren 784">
              <a:extLst>
                <a:ext uri="{FF2B5EF4-FFF2-40B4-BE49-F238E27FC236}">
                  <a16:creationId xmlns:a16="http://schemas.microsoft.com/office/drawing/2014/main" id="{C3970041-261E-4301-8CDB-77476EAB4BAE}"/>
                </a:ext>
              </a:extLst>
            </p:cNvPr>
            <p:cNvGrpSpPr/>
            <p:nvPr/>
          </p:nvGrpSpPr>
          <p:grpSpPr>
            <a:xfrm>
              <a:off x="8062982" y="2449341"/>
              <a:ext cx="558999" cy="430644"/>
              <a:chOff x="7739751" y="2528753"/>
              <a:chExt cx="479007" cy="369019"/>
            </a:xfrm>
            <a:solidFill>
              <a:schemeClr val="tx2"/>
            </a:solidFill>
          </p:grpSpPr>
          <p:grpSp>
            <p:nvGrpSpPr>
              <p:cNvPr id="789" name="Grafik 349">
                <a:extLst>
                  <a:ext uri="{FF2B5EF4-FFF2-40B4-BE49-F238E27FC236}">
                    <a16:creationId xmlns:a16="http://schemas.microsoft.com/office/drawing/2014/main" id="{685F110D-89DC-4E1B-A3FC-F19D7C345217}"/>
                  </a:ext>
                </a:extLst>
              </p:cNvPr>
              <p:cNvGrpSpPr/>
              <p:nvPr/>
            </p:nvGrpSpPr>
            <p:grpSpPr>
              <a:xfrm>
                <a:off x="7739751" y="2634968"/>
                <a:ext cx="198477" cy="262804"/>
                <a:chOff x="7739751" y="2634968"/>
                <a:chExt cx="198477" cy="262804"/>
              </a:xfrm>
              <a:grpFill/>
            </p:grpSpPr>
            <p:sp>
              <p:nvSpPr>
                <p:cNvPr id="803" name="Freihandform: Form 802">
                  <a:extLst>
                    <a:ext uri="{FF2B5EF4-FFF2-40B4-BE49-F238E27FC236}">
                      <a16:creationId xmlns:a16="http://schemas.microsoft.com/office/drawing/2014/main" id="{0F8DD17F-D9CA-44D3-B2EE-75B79F50F849}"/>
                    </a:ext>
                  </a:extLst>
                </p:cNvPr>
                <p:cNvSpPr/>
                <p:nvPr/>
              </p:nvSpPr>
              <p:spPr>
                <a:xfrm>
                  <a:off x="7843475" y="2753230"/>
                  <a:ext cx="26283" cy="13140"/>
                </a:xfrm>
                <a:custGeom>
                  <a:avLst/>
                  <a:gdLst>
                    <a:gd name="connsiteX0" fmla="*/ 19712 w 26283"/>
                    <a:gd name="connsiteY0" fmla="*/ 13140 h 13140"/>
                    <a:gd name="connsiteX1" fmla="*/ 6572 w 26283"/>
                    <a:gd name="connsiteY1" fmla="*/ 13140 h 13140"/>
                    <a:gd name="connsiteX2" fmla="*/ 0 w 26283"/>
                    <a:gd name="connsiteY2" fmla="*/ 6569 h 13140"/>
                    <a:gd name="connsiteX3" fmla="*/ 6572 w 26283"/>
                    <a:gd name="connsiteY3" fmla="*/ 0 h 13140"/>
                    <a:gd name="connsiteX4" fmla="*/ 19712 w 26283"/>
                    <a:gd name="connsiteY4" fmla="*/ 0 h 13140"/>
                    <a:gd name="connsiteX5" fmla="*/ 26283 w 26283"/>
                    <a:gd name="connsiteY5" fmla="*/ 6569 h 13140"/>
                    <a:gd name="connsiteX6" fmla="*/ 19712 w 26283"/>
                    <a:gd name="connsiteY6" fmla="*/ 13140 h 1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83" h="13140">
                      <a:moveTo>
                        <a:pt x="19712" y="13140"/>
                      </a:moveTo>
                      <a:lnTo>
                        <a:pt x="6572" y="13140"/>
                      </a:lnTo>
                      <a:cubicBezTo>
                        <a:pt x="2939" y="13140"/>
                        <a:pt x="0" y="10198"/>
                        <a:pt x="0" y="6569"/>
                      </a:cubicBezTo>
                      <a:cubicBezTo>
                        <a:pt x="0" y="2939"/>
                        <a:pt x="2939" y="0"/>
                        <a:pt x="6572" y="0"/>
                      </a:cubicBezTo>
                      <a:lnTo>
                        <a:pt x="19712" y="0"/>
                      </a:lnTo>
                      <a:cubicBezTo>
                        <a:pt x="23344" y="0"/>
                        <a:pt x="26283" y="2942"/>
                        <a:pt x="26283" y="6569"/>
                      </a:cubicBezTo>
                      <a:cubicBezTo>
                        <a:pt x="26281" y="10201"/>
                        <a:pt x="23341" y="13140"/>
                        <a:pt x="19712" y="13140"/>
                      </a:cubicBezTo>
                      <a:close/>
                    </a:path>
                  </a:pathLst>
                </a:custGeom>
                <a:grpFill/>
                <a:ln w="274" cap="flat">
                  <a:noFill/>
                  <a:prstDash val="solid"/>
                  <a:miter/>
                </a:ln>
              </p:spPr>
              <p:txBody>
                <a:bodyPr rtlCol="0" anchor="ctr"/>
                <a:lstStyle/>
                <a:p>
                  <a:endParaRPr lang="en-GB" dirty="0"/>
                </a:p>
              </p:txBody>
            </p:sp>
            <p:sp>
              <p:nvSpPr>
                <p:cNvPr id="804" name="Freihandform: Form 803">
                  <a:extLst>
                    <a:ext uri="{FF2B5EF4-FFF2-40B4-BE49-F238E27FC236}">
                      <a16:creationId xmlns:a16="http://schemas.microsoft.com/office/drawing/2014/main" id="{B75F0F8D-5A11-4CB6-B316-F265A000E05B}"/>
                    </a:ext>
                  </a:extLst>
                </p:cNvPr>
                <p:cNvSpPr/>
                <p:nvPr/>
              </p:nvSpPr>
              <p:spPr>
                <a:xfrm>
                  <a:off x="7810626" y="2634968"/>
                  <a:ext cx="91979" cy="105121"/>
                </a:xfrm>
                <a:custGeom>
                  <a:avLst/>
                  <a:gdLst>
                    <a:gd name="connsiteX0" fmla="*/ 45989 w 91979"/>
                    <a:gd name="connsiteY0" fmla="*/ 105122 h 105121"/>
                    <a:gd name="connsiteX1" fmla="*/ 0 w 91979"/>
                    <a:gd name="connsiteY1" fmla="*/ 52561 h 105121"/>
                    <a:gd name="connsiteX2" fmla="*/ 45989 w 91979"/>
                    <a:gd name="connsiteY2" fmla="*/ 0 h 105121"/>
                    <a:gd name="connsiteX3" fmla="*/ 91979 w 91979"/>
                    <a:gd name="connsiteY3" fmla="*/ 52561 h 105121"/>
                    <a:gd name="connsiteX4" fmla="*/ 45989 w 91979"/>
                    <a:gd name="connsiteY4" fmla="*/ 105122 h 105121"/>
                    <a:gd name="connsiteX5" fmla="*/ 45989 w 91979"/>
                    <a:gd name="connsiteY5" fmla="*/ 13143 h 105121"/>
                    <a:gd name="connsiteX6" fmla="*/ 13140 w 91979"/>
                    <a:gd name="connsiteY6" fmla="*/ 52564 h 105121"/>
                    <a:gd name="connsiteX7" fmla="*/ 45989 w 91979"/>
                    <a:gd name="connsiteY7" fmla="*/ 91984 h 105121"/>
                    <a:gd name="connsiteX8" fmla="*/ 78839 w 91979"/>
                    <a:gd name="connsiteY8" fmla="*/ 52564 h 105121"/>
                    <a:gd name="connsiteX9" fmla="*/ 45989 w 91979"/>
                    <a:gd name="connsiteY9" fmla="*/ 13143 h 1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979" h="105121">
                      <a:moveTo>
                        <a:pt x="45989" y="105122"/>
                      </a:moveTo>
                      <a:cubicBezTo>
                        <a:pt x="18485" y="105122"/>
                        <a:pt x="0" y="83999"/>
                        <a:pt x="0" y="52561"/>
                      </a:cubicBezTo>
                      <a:cubicBezTo>
                        <a:pt x="0" y="21122"/>
                        <a:pt x="18485" y="0"/>
                        <a:pt x="45989" y="0"/>
                      </a:cubicBezTo>
                      <a:cubicBezTo>
                        <a:pt x="73494" y="0"/>
                        <a:pt x="91979" y="21122"/>
                        <a:pt x="91979" y="52561"/>
                      </a:cubicBezTo>
                      <a:cubicBezTo>
                        <a:pt x="91982" y="84002"/>
                        <a:pt x="73497" y="105122"/>
                        <a:pt x="45989" y="105122"/>
                      </a:cubicBezTo>
                      <a:close/>
                      <a:moveTo>
                        <a:pt x="45989" y="13143"/>
                      </a:moveTo>
                      <a:cubicBezTo>
                        <a:pt x="21744" y="13143"/>
                        <a:pt x="13140" y="34378"/>
                        <a:pt x="13140" y="52564"/>
                      </a:cubicBezTo>
                      <a:cubicBezTo>
                        <a:pt x="13140" y="70750"/>
                        <a:pt x="21744" y="91984"/>
                        <a:pt x="45989" y="91984"/>
                      </a:cubicBezTo>
                      <a:cubicBezTo>
                        <a:pt x="70235" y="91984"/>
                        <a:pt x="78839" y="70750"/>
                        <a:pt x="78839" y="52564"/>
                      </a:cubicBezTo>
                      <a:cubicBezTo>
                        <a:pt x="78842" y="34375"/>
                        <a:pt x="70237" y="13143"/>
                        <a:pt x="45989" y="13143"/>
                      </a:cubicBezTo>
                      <a:close/>
                    </a:path>
                  </a:pathLst>
                </a:custGeom>
                <a:grpFill/>
                <a:ln w="274" cap="flat">
                  <a:noFill/>
                  <a:prstDash val="solid"/>
                  <a:miter/>
                </a:ln>
              </p:spPr>
              <p:txBody>
                <a:bodyPr rtlCol="0" anchor="ctr"/>
                <a:lstStyle/>
                <a:p>
                  <a:endParaRPr lang="en-GB" dirty="0"/>
                </a:p>
              </p:txBody>
            </p:sp>
            <p:sp>
              <p:nvSpPr>
                <p:cNvPr id="805" name="Freihandform: Form 804">
                  <a:extLst>
                    <a:ext uri="{FF2B5EF4-FFF2-40B4-BE49-F238E27FC236}">
                      <a16:creationId xmlns:a16="http://schemas.microsoft.com/office/drawing/2014/main" id="{21D81E7C-CE4D-4BE5-83F6-608627B07BC8}"/>
                    </a:ext>
                  </a:extLst>
                </p:cNvPr>
                <p:cNvSpPr/>
                <p:nvPr/>
              </p:nvSpPr>
              <p:spPr>
                <a:xfrm>
                  <a:off x="7850047" y="2846925"/>
                  <a:ext cx="46816" cy="50848"/>
                </a:xfrm>
                <a:custGeom>
                  <a:avLst/>
                  <a:gdLst>
                    <a:gd name="connsiteX0" fmla="*/ 18112 w 46816"/>
                    <a:gd name="connsiteY0" fmla="*/ 50848 h 50848"/>
                    <a:gd name="connsiteX1" fmla="*/ 0 w 46816"/>
                    <a:gd name="connsiteY1" fmla="*/ 32736 h 50848"/>
                    <a:gd name="connsiteX2" fmla="*/ 0 w 46816"/>
                    <a:gd name="connsiteY2" fmla="*/ 6946 h 50848"/>
                    <a:gd name="connsiteX3" fmla="*/ 5602 w 46816"/>
                    <a:gd name="connsiteY3" fmla="*/ 446 h 50848"/>
                    <a:gd name="connsiteX4" fmla="*/ 40429 w 46816"/>
                    <a:gd name="connsiteY4" fmla="*/ 341 h 50848"/>
                    <a:gd name="connsiteX5" fmla="*/ 46814 w 46816"/>
                    <a:gd name="connsiteY5" fmla="*/ 7094 h 50848"/>
                    <a:gd name="connsiteX6" fmla="*/ 40059 w 46816"/>
                    <a:gd name="connsiteY6" fmla="*/ 13474 h 50848"/>
                    <a:gd name="connsiteX7" fmla="*/ 13143 w 46816"/>
                    <a:gd name="connsiteY7" fmla="*/ 13189 h 50848"/>
                    <a:gd name="connsiteX8" fmla="*/ 13143 w 46816"/>
                    <a:gd name="connsiteY8" fmla="*/ 32733 h 50848"/>
                    <a:gd name="connsiteX9" fmla="*/ 18115 w 46816"/>
                    <a:gd name="connsiteY9" fmla="*/ 37705 h 50848"/>
                    <a:gd name="connsiteX10" fmla="*/ 24686 w 46816"/>
                    <a:gd name="connsiteY10" fmla="*/ 44274 h 50848"/>
                    <a:gd name="connsiteX11" fmla="*/ 18112 w 46816"/>
                    <a:gd name="connsiteY11" fmla="*/ 50848 h 5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816" h="50848">
                      <a:moveTo>
                        <a:pt x="18112" y="50848"/>
                      </a:moveTo>
                      <a:cubicBezTo>
                        <a:pt x="8122" y="50848"/>
                        <a:pt x="0" y="42721"/>
                        <a:pt x="0" y="32736"/>
                      </a:cubicBezTo>
                      <a:lnTo>
                        <a:pt x="0" y="6946"/>
                      </a:lnTo>
                      <a:cubicBezTo>
                        <a:pt x="0" y="3692"/>
                        <a:pt x="2380" y="928"/>
                        <a:pt x="5602" y="446"/>
                      </a:cubicBezTo>
                      <a:cubicBezTo>
                        <a:pt x="6229" y="355"/>
                        <a:pt x="12562" y="-442"/>
                        <a:pt x="40429" y="341"/>
                      </a:cubicBezTo>
                      <a:cubicBezTo>
                        <a:pt x="44053" y="446"/>
                        <a:pt x="46915" y="3470"/>
                        <a:pt x="46814" y="7094"/>
                      </a:cubicBezTo>
                      <a:cubicBezTo>
                        <a:pt x="46710" y="10723"/>
                        <a:pt x="43554" y="13632"/>
                        <a:pt x="40059" y="13474"/>
                      </a:cubicBezTo>
                      <a:cubicBezTo>
                        <a:pt x="26111" y="13074"/>
                        <a:pt x="17852" y="13079"/>
                        <a:pt x="13143" y="13189"/>
                      </a:cubicBezTo>
                      <a:lnTo>
                        <a:pt x="13143" y="32733"/>
                      </a:lnTo>
                      <a:cubicBezTo>
                        <a:pt x="13143" y="35475"/>
                        <a:pt x="15375" y="37705"/>
                        <a:pt x="18115" y="37705"/>
                      </a:cubicBezTo>
                      <a:cubicBezTo>
                        <a:pt x="21747" y="37705"/>
                        <a:pt x="24686" y="40647"/>
                        <a:pt x="24686" y="44274"/>
                      </a:cubicBezTo>
                      <a:cubicBezTo>
                        <a:pt x="24686" y="47901"/>
                        <a:pt x="21744" y="50848"/>
                        <a:pt x="18112" y="50848"/>
                      </a:cubicBezTo>
                      <a:close/>
                    </a:path>
                  </a:pathLst>
                </a:custGeom>
                <a:grpFill/>
                <a:ln w="274" cap="flat">
                  <a:noFill/>
                  <a:prstDash val="solid"/>
                  <a:miter/>
                </a:ln>
              </p:spPr>
              <p:txBody>
                <a:bodyPr rtlCol="0" anchor="ctr"/>
                <a:lstStyle/>
                <a:p>
                  <a:endParaRPr lang="en-GB" dirty="0"/>
                </a:p>
              </p:txBody>
            </p:sp>
            <p:sp>
              <p:nvSpPr>
                <p:cNvPr id="806" name="Freihandform: Form 805">
                  <a:extLst>
                    <a:ext uri="{FF2B5EF4-FFF2-40B4-BE49-F238E27FC236}">
                      <a16:creationId xmlns:a16="http://schemas.microsoft.com/office/drawing/2014/main" id="{94E8FB4C-84A1-42E0-9EAE-1264176988EE}"/>
                    </a:ext>
                  </a:extLst>
                </p:cNvPr>
                <p:cNvSpPr/>
                <p:nvPr/>
              </p:nvSpPr>
              <p:spPr>
                <a:xfrm>
                  <a:off x="7804920" y="2753233"/>
                  <a:ext cx="133308" cy="27017"/>
                </a:xfrm>
                <a:custGeom>
                  <a:avLst/>
                  <a:gdLst>
                    <a:gd name="connsiteX0" fmla="*/ 126738 w 133308"/>
                    <a:gd name="connsiteY0" fmla="*/ 27017 h 27017"/>
                    <a:gd name="connsiteX1" fmla="*/ 121785 w 133308"/>
                    <a:gd name="connsiteY1" fmla="*/ 24766 h 27017"/>
                    <a:gd name="connsiteX2" fmla="*/ 95812 w 133308"/>
                    <a:gd name="connsiteY2" fmla="*/ 13140 h 27017"/>
                    <a:gd name="connsiteX3" fmla="*/ 9561 w 133308"/>
                    <a:gd name="connsiteY3" fmla="*/ 13140 h 27017"/>
                    <a:gd name="connsiteX4" fmla="*/ 7643 w 133308"/>
                    <a:gd name="connsiteY4" fmla="*/ 13652 h 27017"/>
                    <a:gd name="connsiteX5" fmla="*/ 91 w 133308"/>
                    <a:gd name="connsiteY5" fmla="*/ 8237 h 27017"/>
                    <a:gd name="connsiteX6" fmla="*/ 96 w 133308"/>
                    <a:gd name="connsiteY6" fmla="*/ 6037 h 27017"/>
                    <a:gd name="connsiteX7" fmla="*/ 121 w 133308"/>
                    <a:gd name="connsiteY7" fmla="*/ 5804 h 27017"/>
                    <a:gd name="connsiteX8" fmla="*/ 7577 w 133308"/>
                    <a:gd name="connsiteY8" fmla="*/ 0 h 27017"/>
                    <a:gd name="connsiteX9" fmla="*/ 95812 w 133308"/>
                    <a:gd name="connsiteY9" fmla="*/ 0 h 27017"/>
                    <a:gd name="connsiteX10" fmla="*/ 131691 w 133308"/>
                    <a:gd name="connsiteY10" fmla="*/ 16132 h 27017"/>
                    <a:gd name="connsiteX11" fmla="*/ 131055 w 133308"/>
                    <a:gd name="connsiteY11" fmla="*/ 25404 h 27017"/>
                    <a:gd name="connsiteX12" fmla="*/ 126738 w 133308"/>
                    <a:gd name="connsiteY12" fmla="*/ 27017 h 27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308" h="27017">
                      <a:moveTo>
                        <a:pt x="126738" y="27017"/>
                      </a:moveTo>
                      <a:cubicBezTo>
                        <a:pt x="124908" y="27017"/>
                        <a:pt x="123086" y="26253"/>
                        <a:pt x="121785" y="24766"/>
                      </a:cubicBezTo>
                      <a:cubicBezTo>
                        <a:pt x="114970" y="16942"/>
                        <a:pt x="106470" y="13140"/>
                        <a:pt x="95812" y="13140"/>
                      </a:cubicBezTo>
                      <a:lnTo>
                        <a:pt x="9561" y="13140"/>
                      </a:lnTo>
                      <a:cubicBezTo>
                        <a:pt x="8996" y="13359"/>
                        <a:pt x="8361" y="13535"/>
                        <a:pt x="7643" y="13652"/>
                      </a:cubicBezTo>
                      <a:cubicBezTo>
                        <a:pt x="3992" y="14214"/>
                        <a:pt x="674" y="11814"/>
                        <a:pt x="91" y="8237"/>
                      </a:cubicBezTo>
                      <a:cubicBezTo>
                        <a:pt x="-38" y="7486"/>
                        <a:pt x="-24" y="6744"/>
                        <a:pt x="96" y="6037"/>
                      </a:cubicBezTo>
                      <a:cubicBezTo>
                        <a:pt x="102" y="5961"/>
                        <a:pt x="110" y="5881"/>
                        <a:pt x="121" y="5804"/>
                      </a:cubicBezTo>
                      <a:cubicBezTo>
                        <a:pt x="288" y="4443"/>
                        <a:pt x="1326" y="0"/>
                        <a:pt x="7577" y="0"/>
                      </a:cubicBezTo>
                      <a:lnTo>
                        <a:pt x="95812" y="0"/>
                      </a:lnTo>
                      <a:cubicBezTo>
                        <a:pt x="110294" y="0"/>
                        <a:pt x="122361" y="5429"/>
                        <a:pt x="131691" y="16132"/>
                      </a:cubicBezTo>
                      <a:cubicBezTo>
                        <a:pt x="134076" y="18868"/>
                        <a:pt x="133789" y="23018"/>
                        <a:pt x="131055" y="25404"/>
                      </a:cubicBezTo>
                      <a:cubicBezTo>
                        <a:pt x="129811" y="26483"/>
                        <a:pt x="128272" y="27017"/>
                        <a:pt x="126738" y="27017"/>
                      </a:cubicBezTo>
                      <a:close/>
                    </a:path>
                  </a:pathLst>
                </a:custGeom>
                <a:grpFill/>
                <a:ln w="274" cap="flat">
                  <a:noFill/>
                  <a:prstDash val="solid"/>
                  <a:miter/>
                </a:ln>
              </p:spPr>
              <p:txBody>
                <a:bodyPr rtlCol="0" anchor="ctr"/>
                <a:lstStyle/>
                <a:p>
                  <a:endParaRPr lang="en-GB" dirty="0"/>
                </a:p>
              </p:txBody>
            </p:sp>
            <p:sp>
              <p:nvSpPr>
                <p:cNvPr id="807" name="Freihandform: Form 806">
                  <a:extLst>
                    <a:ext uri="{FF2B5EF4-FFF2-40B4-BE49-F238E27FC236}">
                      <a16:creationId xmlns:a16="http://schemas.microsoft.com/office/drawing/2014/main" id="{BBCD9EF3-D34C-4B5A-8A37-4F198C3A131E}"/>
                    </a:ext>
                  </a:extLst>
                </p:cNvPr>
                <p:cNvSpPr/>
                <p:nvPr/>
              </p:nvSpPr>
              <p:spPr>
                <a:xfrm>
                  <a:off x="7739751" y="2785397"/>
                  <a:ext cx="123433" cy="112375"/>
                </a:xfrm>
                <a:custGeom>
                  <a:avLst/>
                  <a:gdLst>
                    <a:gd name="connsiteX0" fmla="*/ 105322 w 123433"/>
                    <a:gd name="connsiteY0" fmla="*/ 112376 h 112375"/>
                    <a:gd name="connsiteX1" fmla="*/ 24883 w 123433"/>
                    <a:gd name="connsiteY1" fmla="*/ 112376 h 112375"/>
                    <a:gd name="connsiteX2" fmla="*/ 4949 w 123433"/>
                    <a:gd name="connsiteY2" fmla="*/ 103122 h 112375"/>
                    <a:gd name="connsiteX3" fmla="*/ 2197 w 123433"/>
                    <a:gd name="connsiteY3" fmla="*/ 73029 h 112375"/>
                    <a:gd name="connsiteX4" fmla="*/ 22530 w 123433"/>
                    <a:gd name="connsiteY4" fmla="*/ 10061 h 112375"/>
                    <a:gd name="connsiteX5" fmla="*/ 24839 w 123433"/>
                    <a:gd name="connsiteY5" fmla="*/ 4043 h 112375"/>
                    <a:gd name="connsiteX6" fmla="*/ 33429 w 123433"/>
                    <a:gd name="connsiteY6" fmla="*/ 507 h 112375"/>
                    <a:gd name="connsiteX7" fmla="*/ 36966 w 123433"/>
                    <a:gd name="connsiteY7" fmla="*/ 9097 h 112375"/>
                    <a:gd name="connsiteX8" fmla="*/ 34972 w 123433"/>
                    <a:gd name="connsiteY8" fmla="*/ 14274 h 112375"/>
                    <a:gd name="connsiteX9" fmla="*/ 14709 w 123433"/>
                    <a:gd name="connsiteY9" fmla="*/ 77023 h 112375"/>
                    <a:gd name="connsiteX10" fmla="*/ 15550 w 123433"/>
                    <a:gd name="connsiteY10" fmla="*/ 95354 h 112375"/>
                    <a:gd name="connsiteX11" fmla="*/ 24886 w 123433"/>
                    <a:gd name="connsiteY11" fmla="*/ 99233 h 112375"/>
                    <a:gd name="connsiteX12" fmla="*/ 105322 w 123433"/>
                    <a:gd name="connsiteY12" fmla="*/ 99233 h 112375"/>
                    <a:gd name="connsiteX13" fmla="*/ 110293 w 123433"/>
                    <a:gd name="connsiteY13" fmla="*/ 94261 h 112375"/>
                    <a:gd name="connsiteX14" fmla="*/ 110293 w 123433"/>
                    <a:gd name="connsiteY14" fmla="*/ 74990 h 112375"/>
                    <a:gd name="connsiteX15" fmla="*/ 50432 w 123433"/>
                    <a:gd name="connsiteY15" fmla="*/ 75007 h 112375"/>
                    <a:gd name="connsiteX16" fmla="*/ 44973 w 123433"/>
                    <a:gd name="connsiteY16" fmla="*/ 72218 h 112375"/>
                    <a:gd name="connsiteX17" fmla="*/ 44189 w 123433"/>
                    <a:gd name="connsiteY17" fmla="*/ 66134 h 112375"/>
                    <a:gd name="connsiteX18" fmla="*/ 54160 w 123433"/>
                    <a:gd name="connsiteY18" fmla="*/ 39465 h 112375"/>
                    <a:gd name="connsiteX19" fmla="*/ 62616 w 123433"/>
                    <a:gd name="connsiteY19" fmla="*/ 35611 h 112375"/>
                    <a:gd name="connsiteX20" fmla="*/ 66465 w 123433"/>
                    <a:gd name="connsiteY20" fmla="*/ 44064 h 112375"/>
                    <a:gd name="connsiteX21" fmla="*/ 59850 w 123433"/>
                    <a:gd name="connsiteY21" fmla="*/ 61762 h 112375"/>
                    <a:gd name="connsiteX22" fmla="*/ 116941 w 123433"/>
                    <a:gd name="connsiteY22" fmla="*/ 61910 h 112375"/>
                    <a:gd name="connsiteX23" fmla="*/ 123434 w 123433"/>
                    <a:gd name="connsiteY23" fmla="*/ 68479 h 112375"/>
                    <a:gd name="connsiteX24" fmla="*/ 123434 w 123433"/>
                    <a:gd name="connsiteY24" fmla="*/ 94255 h 112375"/>
                    <a:gd name="connsiteX25" fmla="*/ 105322 w 123433"/>
                    <a:gd name="connsiteY25" fmla="*/ 112376 h 11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433" h="112375">
                      <a:moveTo>
                        <a:pt x="105322" y="112376"/>
                      </a:moveTo>
                      <a:lnTo>
                        <a:pt x="24883" y="112376"/>
                      </a:lnTo>
                      <a:cubicBezTo>
                        <a:pt x="14008" y="112376"/>
                        <a:pt x="8039" y="107346"/>
                        <a:pt x="4949" y="103122"/>
                      </a:cubicBezTo>
                      <a:cubicBezTo>
                        <a:pt x="-499" y="95696"/>
                        <a:pt x="-1499" y="84725"/>
                        <a:pt x="2197" y="73029"/>
                      </a:cubicBezTo>
                      <a:lnTo>
                        <a:pt x="22530" y="10061"/>
                      </a:lnTo>
                      <a:cubicBezTo>
                        <a:pt x="23300" y="7870"/>
                        <a:pt x="24058" y="5920"/>
                        <a:pt x="24839" y="4043"/>
                      </a:cubicBezTo>
                      <a:cubicBezTo>
                        <a:pt x="26239" y="693"/>
                        <a:pt x="30101" y="-887"/>
                        <a:pt x="33429" y="507"/>
                      </a:cubicBezTo>
                      <a:cubicBezTo>
                        <a:pt x="36780" y="1901"/>
                        <a:pt x="38363" y="5750"/>
                        <a:pt x="36966" y="9097"/>
                      </a:cubicBezTo>
                      <a:cubicBezTo>
                        <a:pt x="36273" y="10763"/>
                        <a:pt x="35605" y="12488"/>
                        <a:pt x="34972" y="14274"/>
                      </a:cubicBezTo>
                      <a:lnTo>
                        <a:pt x="14709" y="77023"/>
                      </a:lnTo>
                      <a:cubicBezTo>
                        <a:pt x="12381" y="84416"/>
                        <a:pt x="12693" y="91456"/>
                        <a:pt x="15550" y="95354"/>
                      </a:cubicBezTo>
                      <a:cubicBezTo>
                        <a:pt x="17462" y="97962"/>
                        <a:pt x="20517" y="99233"/>
                        <a:pt x="24886" y="99233"/>
                      </a:cubicBezTo>
                      <a:lnTo>
                        <a:pt x="105322" y="99233"/>
                      </a:lnTo>
                      <a:cubicBezTo>
                        <a:pt x="108061" y="99233"/>
                        <a:pt x="110293" y="97003"/>
                        <a:pt x="110293" y="94261"/>
                      </a:cubicBezTo>
                      <a:lnTo>
                        <a:pt x="110293" y="74990"/>
                      </a:lnTo>
                      <a:cubicBezTo>
                        <a:pt x="98219" y="74892"/>
                        <a:pt x="71618" y="74724"/>
                        <a:pt x="50432" y="75007"/>
                      </a:cubicBezTo>
                      <a:cubicBezTo>
                        <a:pt x="48367" y="75031"/>
                        <a:pt x="46222" y="73996"/>
                        <a:pt x="44973" y="72218"/>
                      </a:cubicBezTo>
                      <a:cubicBezTo>
                        <a:pt x="43721" y="70443"/>
                        <a:pt x="43428" y="68167"/>
                        <a:pt x="44189" y="66134"/>
                      </a:cubicBezTo>
                      <a:lnTo>
                        <a:pt x="54160" y="39465"/>
                      </a:lnTo>
                      <a:cubicBezTo>
                        <a:pt x="55431" y="36068"/>
                        <a:pt x="59198" y="34329"/>
                        <a:pt x="62616" y="35611"/>
                      </a:cubicBezTo>
                      <a:cubicBezTo>
                        <a:pt x="66010" y="36882"/>
                        <a:pt x="67736" y="40667"/>
                        <a:pt x="66465" y="44064"/>
                      </a:cubicBezTo>
                      <a:lnTo>
                        <a:pt x="59850" y="61762"/>
                      </a:lnTo>
                      <a:cubicBezTo>
                        <a:pt x="86451" y="61582"/>
                        <a:pt x="116599" y="61907"/>
                        <a:pt x="116941" y="61910"/>
                      </a:cubicBezTo>
                      <a:cubicBezTo>
                        <a:pt x="120541" y="61951"/>
                        <a:pt x="123434" y="64880"/>
                        <a:pt x="123434" y="68479"/>
                      </a:cubicBezTo>
                      <a:lnTo>
                        <a:pt x="123434" y="94255"/>
                      </a:lnTo>
                      <a:cubicBezTo>
                        <a:pt x="123436" y="104251"/>
                        <a:pt x="115312" y="112376"/>
                        <a:pt x="105322" y="112376"/>
                      </a:cubicBezTo>
                      <a:close/>
                    </a:path>
                  </a:pathLst>
                </a:custGeom>
                <a:grpFill/>
                <a:ln w="274" cap="flat">
                  <a:noFill/>
                  <a:prstDash val="solid"/>
                  <a:miter/>
                </a:ln>
              </p:spPr>
              <p:txBody>
                <a:bodyPr rtlCol="0" anchor="ctr"/>
                <a:lstStyle/>
                <a:p>
                  <a:endParaRPr lang="en-GB" dirty="0"/>
                </a:p>
              </p:txBody>
            </p:sp>
          </p:grpSp>
          <p:grpSp>
            <p:nvGrpSpPr>
              <p:cNvPr id="790" name="Grafik 349">
                <a:extLst>
                  <a:ext uri="{FF2B5EF4-FFF2-40B4-BE49-F238E27FC236}">
                    <a16:creationId xmlns:a16="http://schemas.microsoft.com/office/drawing/2014/main" id="{5334CB90-5242-4526-88A3-342B8B07B0C2}"/>
                  </a:ext>
                </a:extLst>
              </p:cNvPr>
              <p:cNvGrpSpPr/>
              <p:nvPr/>
            </p:nvGrpSpPr>
            <p:grpSpPr>
              <a:xfrm>
                <a:off x="8019758" y="2634968"/>
                <a:ext cx="199000" cy="262804"/>
                <a:chOff x="8019758" y="2634968"/>
                <a:chExt cx="199000" cy="262804"/>
              </a:xfrm>
              <a:grpFill/>
            </p:grpSpPr>
            <p:sp>
              <p:nvSpPr>
                <p:cNvPr id="798" name="Freihandform: Form 797">
                  <a:extLst>
                    <a:ext uri="{FF2B5EF4-FFF2-40B4-BE49-F238E27FC236}">
                      <a16:creationId xmlns:a16="http://schemas.microsoft.com/office/drawing/2014/main" id="{EBD5E395-E849-48F8-A5B3-1F5703912F26}"/>
                    </a:ext>
                  </a:extLst>
                </p:cNvPr>
                <p:cNvSpPr/>
                <p:nvPr/>
              </p:nvSpPr>
              <p:spPr>
                <a:xfrm>
                  <a:off x="8088757" y="2753230"/>
                  <a:ext cx="26269" cy="13140"/>
                </a:xfrm>
                <a:custGeom>
                  <a:avLst/>
                  <a:gdLst>
                    <a:gd name="connsiteX0" fmla="*/ 19723 w 26269"/>
                    <a:gd name="connsiteY0" fmla="*/ 13140 h 13140"/>
                    <a:gd name="connsiteX1" fmla="*/ 6574 w 26269"/>
                    <a:gd name="connsiteY1" fmla="*/ 13140 h 13140"/>
                    <a:gd name="connsiteX2" fmla="*/ 0 w 26269"/>
                    <a:gd name="connsiteY2" fmla="*/ 6569 h 13140"/>
                    <a:gd name="connsiteX3" fmla="*/ 6574 w 26269"/>
                    <a:gd name="connsiteY3" fmla="*/ 0 h 13140"/>
                    <a:gd name="connsiteX4" fmla="*/ 19723 w 26269"/>
                    <a:gd name="connsiteY4" fmla="*/ 0 h 13140"/>
                    <a:gd name="connsiteX5" fmla="*/ 26270 w 26269"/>
                    <a:gd name="connsiteY5" fmla="*/ 6569 h 13140"/>
                    <a:gd name="connsiteX6" fmla="*/ 19723 w 26269"/>
                    <a:gd name="connsiteY6" fmla="*/ 13140 h 1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69" h="13140">
                      <a:moveTo>
                        <a:pt x="19723" y="13140"/>
                      </a:moveTo>
                      <a:lnTo>
                        <a:pt x="6574" y="13140"/>
                      </a:lnTo>
                      <a:cubicBezTo>
                        <a:pt x="2931" y="13140"/>
                        <a:pt x="0" y="10198"/>
                        <a:pt x="0" y="6569"/>
                      </a:cubicBezTo>
                      <a:cubicBezTo>
                        <a:pt x="0" y="2939"/>
                        <a:pt x="2931" y="0"/>
                        <a:pt x="6574" y="0"/>
                      </a:cubicBezTo>
                      <a:lnTo>
                        <a:pt x="19723" y="0"/>
                      </a:lnTo>
                      <a:cubicBezTo>
                        <a:pt x="23339" y="0"/>
                        <a:pt x="26270" y="2942"/>
                        <a:pt x="26270" y="6569"/>
                      </a:cubicBezTo>
                      <a:cubicBezTo>
                        <a:pt x="26270" y="10201"/>
                        <a:pt x="23339" y="13140"/>
                        <a:pt x="19723" y="13140"/>
                      </a:cubicBezTo>
                      <a:close/>
                    </a:path>
                  </a:pathLst>
                </a:custGeom>
                <a:grpFill/>
                <a:ln w="274" cap="flat">
                  <a:noFill/>
                  <a:prstDash val="solid"/>
                  <a:miter/>
                </a:ln>
              </p:spPr>
              <p:txBody>
                <a:bodyPr rtlCol="0" anchor="ctr"/>
                <a:lstStyle/>
                <a:p>
                  <a:endParaRPr lang="en-GB" dirty="0"/>
                </a:p>
              </p:txBody>
            </p:sp>
            <p:sp>
              <p:nvSpPr>
                <p:cNvPr id="799" name="Freihandform: Form 798">
                  <a:extLst>
                    <a:ext uri="{FF2B5EF4-FFF2-40B4-BE49-F238E27FC236}">
                      <a16:creationId xmlns:a16="http://schemas.microsoft.com/office/drawing/2014/main" id="{EBC54DA3-30A5-4C23-8DA4-537AC660C965}"/>
                    </a:ext>
                  </a:extLst>
                </p:cNvPr>
                <p:cNvSpPr/>
                <p:nvPr/>
              </p:nvSpPr>
              <p:spPr>
                <a:xfrm>
                  <a:off x="8055914" y="2634968"/>
                  <a:ext cx="91984" cy="105121"/>
                </a:xfrm>
                <a:custGeom>
                  <a:avLst/>
                  <a:gdLst>
                    <a:gd name="connsiteX0" fmla="*/ 45992 w 91984"/>
                    <a:gd name="connsiteY0" fmla="*/ 105122 h 105121"/>
                    <a:gd name="connsiteX1" fmla="*/ 0 w 91984"/>
                    <a:gd name="connsiteY1" fmla="*/ 52561 h 105121"/>
                    <a:gd name="connsiteX2" fmla="*/ 45992 w 91984"/>
                    <a:gd name="connsiteY2" fmla="*/ 0 h 105121"/>
                    <a:gd name="connsiteX3" fmla="*/ 91984 w 91984"/>
                    <a:gd name="connsiteY3" fmla="*/ 52561 h 105121"/>
                    <a:gd name="connsiteX4" fmla="*/ 45992 w 91984"/>
                    <a:gd name="connsiteY4" fmla="*/ 105122 h 105121"/>
                    <a:gd name="connsiteX5" fmla="*/ 45992 w 91984"/>
                    <a:gd name="connsiteY5" fmla="*/ 13143 h 105121"/>
                    <a:gd name="connsiteX6" fmla="*/ 13148 w 91984"/>
                    <a:gd name="connsiteY6" fmla="*/ 52564 h 105121"/>
                    <a:gd name="connsiteX7" fmla="*/ 45992 w 91984"/>
                    <a:gd name="connsiteY7" fmla="*/ 91984 h 105121"/>
                    <a:gd name="connsiteX8" fmla="*/ 78836 w 91984"/>
                    <a:gd name="connsiteY8" fmla="*/ 52564 h 105121"/>
                    <a:gd name="connsiteX9" fmla="*/ 45992 w 91984"/>
                    <a:gd name="connsiteY9" fmla="*/ 13143 h 1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984" h="105121">
                      <a:moveTo>
                        <a:pt x="45992" y="105122"/>
                      </a:moveTo>
                      <a:cubicBezTo>
                        <a:pt x="18490" y="105122"/>
                        <a:pt x="0" y="83999"/>
                        <a:pt x="0" y="52561"/>
                      </a:cubicBezTo>
                      <a:cubicBezTo>
                        <a:pt x="0" y="21122"/>
                        <a:pt x="18490" y="0"/>
                        <a:pt x="45992" y="0"/>
                      </a:cubicBezTo>
                      <a:cubicBezTo>
                        <a:pt x="73494" y="0"/>
                        <a:pt x="91984" y="21122"/>
                        <a:pt x="91984" y="52561"/>
                      </a:cubicBezTo>
                      <a:cubicBezTo>
                        <a:pt x="91984" y="84002"/>
                        <a:pt x="73494" y="105122"/>
                        <a:pt x="45992" y="105122"/>
                      </a:cubicBezTo>
                      <a:close/>
                      <a:moveTo>
                        <a:pt x="45992" y="13143"/>
                      </a:moveTo>
                      <a:cubicBezTo>
                        <a:pt x="21750" y="13143"/>
                        <a:pt x="13148" y="34378"/>
                        <a:pt x="13148" y="52564"/>
                      </a:cubicBezTo>
                      <a:cubicBezTo>
                        <a:pt x="13148" y="70750"/>
                        <a:pt x="21750" y="91984"/>
                        <a:pt x="45992" y="91984"/>
                      </a:cubicBezTo>
                      <a:cubicBezTo>
                        <a:pt x="70235" y="91984"/>
                        <a:pt x="78836" y="70750"/>
                        <a:pt x="78836" y="52564"/>
                      </a:cubicBezTo>
                      <a:cubicBezTo>
                        <a:pt x="78836" y="34375"/>
                        <a:pt x="70235" y="13143"/>
                        <a:pt x="45992" y="13143"/>
                      </a:cubicBezTo>
                      <a:close/>
                    </a:path>
                  </a:pathLst>
                </a:custGeom>
                <a:grpFill/>
                <a:ln w="274" cap="flat">
                  <a:noFill/>
                  <a:prstDash val="solid"/>
                  <a:miter/>
                </a:ln>
              </p:spPr>
              <p:txBody>
                <a:bodyPr rtlCol="0" anchor="ctr"/>
                <a:lstStyle/>
                <a:p>
                  <a:endParaRPr lang="en-GB" dirty="0"/>
                </a:p>
              </p:txBody>
            </p:sp>
            <p:sp>
              <p:nvSpPr>
                <p:cNvPr id="800" name="Freihandform: Form 799">
                  <a:extLst>
                    <a:ext uri="{FF2B5EF4-FFF2-40B4-BE49-F238E27FC236}">
                      <a16:creationId xmlns:a16="http://schemas.microsoft.com/office/drawing/2014/main" id="{F6A2AB5D-1DB9-47FD-B445-8C8357B0BBE6}"/>
                    </a:ext>
                  </a:extLst>
                </p:cNvPr>
                <p:cNvSpPr/>
                <p:nvPr/>
              </p:nvSpPr>
              <p:spPr>
                <a:xfrm>
                  <a:off x="8095331" y="2783587"/>
                  <a:ext cx="123427" cy="114186"/>
                </a:xfrm>
                <a:custGeom>
                  <a:avLst/>
                  <a:gdLst>
                    <a:gd name="connsiteX0" fmla="*/ 98559 w 123427"/>
                    <a:gd name="connsiteY0" fmla="*/ 114186 h 114186"/>
                    <a:gd name="connsiteX1" fmla="*/ 18107 w 123427"/>
                    <a:gd name="connsiteY1" fmla="*/ 114186 h 114186"/>
                    <a:gd name="connsiteX2" fmla="*/ 0 w 123427"/>
                    <a:gd name="connsiteY2" fmla="*/ 96074 h 114186"/>
                    <a:gd name="connsiteX3" fmla="*/ 0 w 123427"/>
                    <a:gd name="connsiteY3" fmla="*/ 70284 h 114186"/>
                    <a:gd name="connsiteX4" fmla="*/ 6437 w 123427"/>
                    <a:gd name="connsiteY4" fmla="*/ 63716 h 114186"/>
                    <a:gd name="connsiteX5" fmla="*/ 63058 w 123427"/>
                    <a:gd name="connsiteY5" fmla="*/ 63466 h 114186"/>
                    <a:gd name="connsiteX6" fmla="*/ 55936 w 123427"/>
                    <a:gd name="connsiteY6" fmla="*/ 46702 h 114186"/>
                    <a:gd name="connsiteX7" fmla="*/ 59415 w 123427"/>
                    <a:gd name="connsiteY7" fmla="*/ 38084 h 114186"/>
                    <a:gd name="connsiteX8" fmla="*/ 68043 w 123427"/>
                    <a:gd name="connsiteY8" fmla="*/ 41560 h 114186"/>
                    <a:gd name="connsiteX9" fmla="*/ 79137 w 123427"/>
                    <a:gd name="connsiteY9" fmla="*/ 67679 h 114186"/>
                    <a:gd name="connsiteX10" fmla="*/ 78507 w 123427"/>
                    <a:gd name="connsiteY10" fmla="*/ 73952 h 114186"/>
                    <a:gd name="connsiteX11" fmla="*/ 72892 w 123427"/>
                    <a:gd name="connsiteY11" fmla="*/ 76817 h 114186"/>
                    <a:gd name="connsiteX12" fmla="*/ 13148 w 123427"/>
                    <a:gd name="connsiteY12" fmla="*/ 76738 h 114186"/>
                    <a:gd name="connsiteX13" fmla="*/ 13148 w 123427"/>
                    <a:gd name="connsiteY13" fmla="*/ 96077 h 114186"/>
                    <a:gd name="connsiteX14" fmla="*/ 18107 w 123427"/>
                    <a:gd name="connsiteY14" fmla="*/ 101049 h 114186"/>
                    <a:gd name="connsiteX15" fmla="*/ 98559 w 123427"/>
                    <a:gd name="connsiteY15" fmla="*/ 101049 h 114186"/>
                    <a:gd name="connsiteX16" fmla="*/ 107872 w 123427"/>
                    <a:gd name="connsiteY16" fmla="*/ 97170 h 114186"/>
                    <a:gd name="connsiteX17" fmla="*/ 108721 w 123427"/>
                    <a:gd name="connsiteY17" fmla="*/ 78801 h 114186"/>
                    <a:gd name="connsiteX18" fmla="*/ 88396 w 123427"/>
                    <a:gd name="connsiteY18" fmla="*/ 15910 h 114186"/>
                    <a:gd name="connsiteX19" fmla="*/ 85739 w 123427"/>
                    <a:gd name="connsiteY19" fmla="*/ 9242 h 114186"/>
                    <a:gd name="connsiteX20" fmla="*/ 89081 w 123427"/>
                    <a:gd name="connsiteY20" fmla="*/ 570 h 114186"/>
                    <a:gd name="connsiteX21" fmla="*/ 97764 w 123427"/>
                    <a:gd name="connsiteY21" fmla="*/ 3904 h 114186"/>
                    <a:gd name="connsiteX22" fmla="*/ 100860 w 123427"/>
                    <a:gd name="connsiteY22" fmla="*/ 11697 h 114186"/>
                    <a:gd name="connsiteX23" fmla="*/ 121212 w 123427"/>
                    <a:gd name="connsiteY23" fmla="*/ 74801 h 114186"/>
                    <a:gd name="connsiteX24" fmla="*/ 118473 w 123427"/>
                    <a:gd name="connsiteY24" fmla="*/ 104933 h 114186"/>
                    <a:gd name="connsiteX25" fmla="*/ 98559 w 123427"/>
                    <a:gd name="connsiteY25" fmla="*/ 114186 h 11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3427" h="114186">
                      <a:moveTo>
                        <a:pt x="98559" y="114186"/>
                      </a:moveTo>
                      <a:lnTo>
                        <a:pt x="18107" y="114186"/>
                      </a:lnTo>
                      <a:cubicBezTo>
                        <a:pt x="8108" y="114186"/>
                        <a:pt x="0" y="106059"/>
                        <a:pt x="0" y="96074"/>
                      </a:cubicBezTo>
                      <a:lnTo>
                        <a:pt x="0" y="70284"/>
                      </a:lnTo>
                      <a:cubicBezTo>
                        <a:pt x="0" y="66709"/>
                        <a:pt x="2849" y="63795"/>
                        <a:pt x="6437" y="63716"/>
                      </a:cubicBezTo>
                      <a:cubicBezTo>
                        <a:pt x="6766" y="63713"/>
                        <a:pt x="36816" y="63072"/>
                        <a:pt x="63058" y="63466"/>
                      </a:cubicBezTo>
                      <a:lnTo>
                        <a:pt x="55936" y="46702"/>
                      </a:lnTo>
                      <a:cubicBezTo>
                        <a:pt x="54511" y="43363"/>
                        <a:pt x="56073" y="39506"/>
                        <a:pt x="59415" y="38084"/>
                      </a:cubicBezTo>
                      <a:cubicBezTo>
                        <a:pt x="62757" y="36676"/>
                        <a:pt x="66619" y="38216"/>
                        <a:pt x="68043" y="41560"/>
                      </a:cubicBezTo>
                      <a:lnTo>
                        <a:pt x="79137" y="67679"/>
                      </a:lnTo>
                      <a:cubicBezTo>
                        <a:pt x="80014" y="69739"/>
                        <a:pt x="79795" y="72103"/>
                        <a:pt x="78507" y="73952"/>
                      </a:cubicBezTo>
                      <a:cubicBezTo>
                        <a:pt x="77247" y="75804"/>
                        <a:pt x="75193" y="76954"/>
                        <a:pt x="72892" y="76817"/>
                      </a:cubicBezTo>
                      <a:cubicBezTo>
                        <a:pt x="52101" y="76234"/>
                        <a:pt x="25256" y="76552"/>
                        <a:pt x="13148" y="76738"/>
                      </a:cubicBezTo>
                      <a:lnTo>
                        <a:pt x="13148" y="96077"/>
                      </a:lnTo>
                      <a:cubicBezTo>
                        <a:pt x="13148" y="98819"/>
                        <a:pt x="15367" y="101049"/>
                        <a:pt x="18107" y="101049"/>
                      </a:cubicBezTo>
                      <a:lnTo>
                        <a:pt x="98559" y="101049"/>
                      </a:lnTo>
                      <a:cubicBezTo>
                        <a:pt x="102914" y="101049"/>
                        <a:pt x="105982" y="99778"/>
                        <a:pt x="107872" y="97170"/>
                      </a:cubicBezTo>
                      <a:cubicBezTo>
                        <a:pt x="110749" y="93272"/>
                        <a:pt x="111050" y="86235"/>
                        <a:pt x="108721" y="78801"/>
                      </a:cubicBezTo>
                      <a:lnTo>
                        <a:pt x="88396" y="15910"/>
                      </a:lnTo>
                      <a:cubicBezTo>
                        <a:pt x="87629" y="13699"/>
                        <a:pt x="86725" y="11415"/>
                        <a:pt x="85739" y="9242"/>
                      </a:cubicBezTo>
                      <a:cubicBezTo>
                        <a:pt x="84287" y="5928"/>
                        <a:pt x="85767" y="2044"/>
                        <a:pt x="89081" y="570"/>
                      </a:cubicBezTo>
                      <a:cubicBezTo>
                        <a:pt x="92396" y="-909"/>
                        <a:pt x="96285" y="592"/>
                        <a:pt x="97764" y="3904"/>
                      </a:cubicBezTo>
                      <a:cubicBezTo>
                        <a:pt x="98860" y="6377"/>
                        <a:pt x="99874" y="8977"/>
                        <a:pt x="100860" y="11697"/>
                      </a:cubicBezTo>
                      <a:lnTo>
                        <a:pt x="121212" y="74801"/>
                      </a:lnTo>
                      <a:cubicBezTo>
                        <a:pt x="124938" y="86536"/>
                        <a:pt x="123924" y="97507"/>
                        <a:pt x="118473" y="104933"/>
                      </a:cubicBezTo>
                      <a:cubicBezTo>
                        <a:pt x="115378" y="109157"/>
                        <a:pt x="109434" y="114186"/>
                        <a:pt x="98559" y="114186"/>
                      </a:cubicBezTo>
                      <a:close/>
                    </a:path>
                  </a:pathLst>
                </a:custGeom>
                <a:grpFill/>
                <a:ln w="274" cap="flat">
                  <a:noFill/>
                  <a:prstDash val="solid"/>
                  <a:miter/>
                </a:ln>
              </p:spPr>
              <p:txBody>
                <a:bodyPr rtlCol="0" anchor="ctr"/>
                <a:lstStyle/>
                <a:p>
                  <a:endParaRPr lang="en-GB" dirty="0"/>
                </a:p>
              </p:txBody>
            </p:sp>
            <p:sp>
              <p:nvSpPr>
                <p:cNvPr id="801" name="Freihandform: Form 800">
                  <a:extLst>
                    <a:ext uri="{FF2B5EF4-FFF2-40B4-BE49-F238E27FC236}">
                      <a16:creationId xmlns:a16="http://schemas.microsoft.com/office/drawing/2014/main" id="{0064A4A3-F638-47E8-B1FB-190E5B5B7025}"/>
                    </a:ext>
                  </a:extLst>
                </p:cNvPr>
                <p:cNvSpPr/>
                <p:nvPr/>
              </p:nvSpPr>
              <p:spPr>
                <a:xfrm>
                  <a:off x="8019758" y="2753230"/>
                  <a:ext cx="132823" cy="27630"/>
                </a:xfrm>
                <a:custGeom>
                  <a:avLst/>
                  <a:gdLst>
                    <a:gd name="connsiteX0" fmla="*/ 6571 w 132823"/>
                    <a:gd name="connsiteY0" fmla="*/ 27631 h 27630"/>
                    <a:gd name="connsiteX1" fmla="*/ 2352 w 132823"/>
                    <a:gd name="connsiteY1" fmla="*/ 26089 h 27630"/>
                    <a:gd name="connsiteX2" fmla="*/ 1558 w 132823"/>
                    <a:gd name="connsiteY2" fmla="*/ 16830 h 27630"/>
                    <a:gd name="connsiteX3" fmla="*/ 38018 w 132823"/>
                    <a:gd name="connsiteY3" fmla="*/ 0 h 27630"/>
                    <a:gd name="connsiteX4" fmla="*/ 126249 w 132823"/>
                    <a:gd name="connsiteY4" fmla="*/ 0 h 27630"/>
                    <a:gd name="connsiteX5" fmla="*/ 132823 w 132823"/>
                    <a:gd name="connsiteY5" fmla="*/ 6569 h 27630"/>
                    <a:gd name="connsiteX6" fmla="*/ 126249 w 132823"/>
                    <a:gd name="connsiteY6" fmla="*/ 13140 h 27630"/>
                    <a:gd name="connsiteX7" fmla="*/ 38018 w 132823"/>
                    <a:gd name="connsiteY7" fmla="*/ 13140 h 27630"/>
                    <a:gd name="connsiteX8" fmla="*/ 11611 w 132823"/>
                    <a:gd name="connsiteY8" fmla="*/ 25292 h 27630"/>
                    <a:gd name="connsiteX9" fmla="*/ 6571 w 132823"/>
                    <a:gd name="connsiteY9" fmla="*/ 27631 h 27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823" h="27630">
                      <a:moveTo>
                        <a:pt x="6571" y="27631"/>
                      </a:moveTo>
                      <a:cubicBezTo>
                        <a:pt x="5092" y="27631"/>
                        <a:pt x="3585" y="27124"/>
                        <a:pt x="2352" y="26089"/>
                      </a:cubicBezTo>
                      <a:cubicBezTo>
                        <a:pt x="-442" y="23749"/>
                        <a:pt x="-798" y="19605"/>
                        <a:pt x="1558" y="16830"/>
                      </a:cubicBezTo>
                      <a:cubicBezTo>
                        <a:pt x="10954" y="5662"/>
                        <a:pt x="23226" y="0"/>
                        <a:pt x="38018" y="0"/>
                      </a:cubicBezTo>
                      <a:lnTo>
                        <a:pt x="126249" y="0"/>
                      </a:lnTo>
                      <a:cubicBezTo>
                        <a:pt x="129893" y="0"/>
                        <a:pt x="132823" y="2942"/>
                        <a:pt x="132823" y="6569"/>
                      </a:cubicBezTo>
                      <a:cubicBezTo>
                        <a:pt x="132823" y="10198"/>
                        <a:pt x="129893" y="13140"/>
                        <a:pt x="126249" y="13140"/>
                      </a:cubicBezTo>
                      <a:lnTo>
                        <a:pt x="38018" y="13140"/>
                      </a:lnTo>
                      <a:cubicBezTo>
                        <a:pt x="27143" y="13140"/>
                        <a:pt x="18487" y="17115"/>
                        <a:pt x="11611" y="25292"/>
                      </a:cubicBezTo>
                      <a:cubicBezTo>
                        <a:pt x="10296" y="26837"/>
                        <a:pt x="8434" y="27631"/>
                        <a:pt x="6571" y="27631"/>
                      </a:cubicBezTo>
                      <a:close/>
                    </a:path>
                  </a:pathLst>
                </a:custGeom>
                <a:grpFill/>
                <a:ln w="274" cap="flat">
                  <a:noFill/>
                  <a:prstDash val="solid"/>
                  <a:miter/>
                </a:ln>
              </p:spPr>
              <p:txBody>
                <a:bodyPr rtlCol="0" anchor="ctr"/>
                <a:lstStyle/>
                <a:p>
                  <a:endParaRPr lang="en-GB" dirty="0"/>
                </a:p>
              </p:txBody>
            </p:sp>
            <p:sp>
              <p:nvSpPr>
                <p:cNvPr id="802" name="Freihandform: Form 801">
                  <a:extLst>
                    <a:ext uri="{FF2B5EF4-FFF2-40B4-BE49-F238E27FC236}">
                      <a16:creationId xmlns:a16="http://schemas.microsoft.com/office/drawing/2014/main" id="{5DA392FC-58A7-4229-924C-01F00F4133B3}"/>
                    </a:ext>
                  </a:extLst>
                </p:cNvPr>
                <p:cNvSpPr/>
                <p:nvPr/>
              </p:nvSpPr>
              <p:spPr>
                <a:xfrm>
                  <a:off x="8061665" y="2847111"/>
                  <a:ext cx="46814" cy="50661"/>
                </a:xfrm>
                <a:custGeom>
                  <a:avLst/>
                  <a:gdLst>
                    <a:gd name="connsiteX0" fmla="*/ 28681 w 46814"/>
                    <a:gd name="connsiteY0" fmla="*/ 50662 h 50661"/>
                    <a:gd name="connsiteX1" fmla="*/ 22134 w 46814"/>
                    <a:gd name="connsiteY1" fmla="*/ 44093 h 50661"/>
                    <a:gd name="connsiteX2" fmla="*/ 28681 w 46814"/>
                    <a:gd name="connsiteY2" fmla="*/ 37524 h 50661"/>
                    <a:gd name="connsiteX3" fmla="*/ 33666 w 46814"/>
                    <a:gd name="connsiteY3" fmla="*/ 32553 h 50661"/>
                    <a:gd name="connsiteX4" fmla="*/ 33666 w 46814"/>
                    <a:gd name="connsiteY4" fmla="*/ 13170 h 50661"/>
                    <a:gd name="connsiteX5" fmla="*/ 6657 w 46814"/>
                    <a:gd name="connsiteY5" fmla="*/ 13298 h 50661"/>
                    <a:gd name="connsiteX6" fmla="*/ 6547 w 46814"/>
                    <a:gd name="connsiteY6" fmla="*/ 13298 h 50661"/>
                    <a:gd name="connsiteX7" fmla="*/ 1 w 46814"/>
                    <a:gd name="connsiteY7" fmla="*/ 6817 h 50661"/>
                    <a:gd name="connsiteX8" fmla="*/ 6465 w 46814"/>
                    <a:gd name="connsiteY8" fmla="*/ 158 h 50661"/>
                    <a:gd name="connsiteX9" fmla="*/ 40788 w 46814"/>
                    <a:gd name="connsiteY9" fmla="*/ 229 h 50661"/>
                    <a:gd name="connsiteX10" fmla="*/ 46815 w 46814"/>
                    <a:gd name="connsiteY10" fmla="*/ 6776 h 50661"/>
                    <a:gd name="connsiteX11" fmla="*/ 46815 w 46814"/>
                    <a:gd name="connsiteY11" fmla="*/ 32553 h 50661"/>
                    <a:gd name="connsiteX12" fmla="*/ 28681 w 46814"/>
                    <a:gd name="connsiteY12" fmla="*/ 50662 h 50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814" h="50661">
                      <a:moveTo>
                        <a:pt x="28681" y="50662"/>
                      </a:moveTo>
                      <a:cubicBezTo>
                        <a:pt x="25065" y="50662"/>
                        <a:pt x="22134" y="47720"/>
                        <a:pt x="22134" y="44093"/>
                      </a:cubicBezTo>
                      <a:cubicBezTo>
                        <a:pt x="22134" y="40466"/>
                        <a:pt x="25065" y="37524"/>
                        <a:pt x="28681" y="37524"/>
                      </a:cubicBezTo>
                      <a:cubicBezTo>
                        <a:pt x="31420" y="37524"/>
                        <a:pt x="33666" y="35295"/>
                        <a:pt x="33666" y="32553"/>
                      </a:cubicBezTo>
                      <a:lnTo>
                        <a:pt x="33666" y="13170"/>
                      </a:lnTo>
                      <a:cubicBezTo>
                        <a:pt x="28900" y="13112"/>
                        <a:pt x="20600" y="13107"/>
                        <a:pt x="6657" y="13298"/>
                      </a:cubicBezTo>
                      <a:cubicBezTo>
                        <a:pt x="6602" y="13298"/>
                        <a:pt x="6575" y="13298"/>
                        <a:pt x="6547" y="13298"/>
                      </a:cubicBezTo>
                      <a:cubicBezTo>
                        <a:pt x="2959" y="13298"/>
                        <a:pt x="28" y="10414"/>
                        <a:pt x="1" y="6817"/>
                      </a:cubicBezTo>
                      <a:cubicBezTo>
                        <a:pt x="-54" y="3188"/>
                        <a:pt x="2849" y="207"/>
                        <a:pt x="6465" y="158"/>
                      </a:cubicBezTo>
                      <a:cubicBezTo>
                        <a:pt x="34598" y="-217"/>
                        <a:pt x="40240" y="188"/>
                        <a:pt x="40788" y="229"/>
                      </a:cubicBezTo>
                      <a:cubicBezTo>
                        <a:pt x="44185" y="522"/>
                        <a:pt x="46815" y="3366"/>
                        <a:pt x="46815" y="6776"/>
                      </a:cubicBezTo>
                      <a:lnTo>
                        <a:pt x="46815" y="32553"/>
                      </a:lnTo>
                      <a:cubicBezTo>
                        <a:pt x="46815" y="42537"/>
                        <a:pt x="38679" y="50662"/>
                        <a:pt x="28681" y="50662"/>
                      </a:cubicBezTo>
                      <a:close/>
                    </a:path>
                  </a:pathLst>
                </a:custGeom>
                <a:grpFill/>
                <a:ln w="274" cap="flat">
                  <a:noFill/>
                  <a:prstDash val="solid"/>
                  <a:miter/>
                </a:ln>
              </p:spPr>
              <p:txBody>
                <a:bodyPr rtlCol="0" anchor="ctr"/>
                <a:lstStyle/>
                <a:p>
                  <a:endParaRPr lang="en-GB" dirty="0"/>
                </a:p>
              </p:txBody>
            </p:sp>
          </p:grpSp>
          <p:sp>
            <p:nvSpPr>
              <p:cNvPr id="791" name="Freihandform: Form 790">
                <a:extLst>
                  <a:ext uri="{FF2B5EF4-FFF2-40B4-BE49-F238E27FC236}">
                    <a16:creationId xmlns:a16="http://schemas.microsoft.com/office/drawing/2014/main" id="{7ED77D22-DBBE-48A7-AE57-6045F8CC6772}"/>
                  </a:ext>
                </a:extLst>
              </p:cNvPr>
              <p:cNvSpPr/>
              <p:nvPr/>
            </p:nvSpPr>
            <p:spPr>
              <a:xfrm>
                <a:off x="7755558" y="2739659"/>
                <a:ext cx="57689" cy="61236"/>
              </a:xfrm>
              <a:custGeom>
                <a:avLst/>
                <a:gdLst>
                  <a:gd name="connsiteX0" fmla="*/ 25862 w 57689"/>
                  <a:gd name="connsiteY0" fmla="*/ 61237 h 61236"/>
                  <a:gd name="connsiteX1" fmla="*/ 16951 w 57689"/>
                  <a:gd name="connsiteY1" fmla="*/ 58361 h 61236"/>
                  <a:gd name="connsiteX2" fmla="*/ 6430 w 57689"/>
                  <a:gd name="connsiteY2" fmla="*/ 50833 h 61236"/>
                  <a:gd name="connsiteX3" fmla="*/ 211 w 57689"/>
                  <a:gd name="connsiteY3" fmla="*/ 40843 h 61236"/>
                  <a:gd name="connsiteX4" fmla="*/ 2879 w 57689"/>
                  <a:gd name="connsiteY4" fmla="*/ 29374 h 61236"/>
                  <a:gd name="connsiteX5" fmla="*/ 19293 w 57689"/>
                  <a:gd name="connsiteY5" fmla="*/ 6433 h 61236"/>
                  <a:gd name="connsiteX6" fmla="*/ 29283 w 57689"/>
                  <a:gd name="connsiteY6" fmla="*/ 212 h 61236"/>
                  <a:gd name="connsiteX7" fmla="*/ 40750 w 57689"/>
                  <a:gd name="connsiteY7" fmla="*/ 2874 h 61236"/>
                  <a:gd name="connsiteX8" fmla="*/ 51271 w 57689"/>
                  <a:gd name="connsiteY8" fmla="*/ 10399 h 61236"/>
                  <a:gd name="connsiteX9" fmla="*/ 54827 w 57689"/>
                  <a:gd name="connsiteY9" fmla="*/ 31858 h 61236"/>
                  <a:gd name="connsiteX10" fmla="*/ 38407 w 57689"/>
                  <a:gd name="connsiteY10" fmla="*/ 54802 h 61236"/>
                  <a:gd name="connsiteX11" fmla="*/ 28417 w 57689"/>
                  <a:gd name="connsiteY11" fmla="*/ 61023 h 61236"/>
                  <a:gd name="connsiteX12" fmla="*/ 25862 w 57689"/>
                  <a:gd name="connsiteY12" fmla="*/ 61237 h 61236"/>
                  <a:gd name="connsiteX13" fmla="*/ 31795 w 57689"/>
                  <a:gd name="connsiteY13" fmla="*/ 13146 h 61236"/>
                  <a:gd name="connsiteX14" fmla="*/ 31431 w 57689"/>
                  <a:gd name="connsiteY14" fmla="*/ 13177 h 61236"/>
                  <a:gd name="connsiteX15" fmla="*/ 29982 w 57689"/>
                  <a:gd name="connsiteY15" fmla="*/ 14083 h 61236"/>
                  <a:gd name="connsiteX16" fmla="*/ 13563 w 57689"/>
                  <a:gd name="connsiteY16" fmla="*/ 37027 h 61236"/>
                  <a:gd name="connsiteX17" fmla="*/ 13171 w 57689"/>
                  <a:gd name="connsiteY17" fmla="*/ 38693 h 61236"/>
                  <a:gd name="connsiteX18" fmla="*/ 14075 w 57689"/>
                  <a:gd name="connsiteY18" fmla="*/ 40150 h 61236"/>
                  <a:gd name="connsiteX19" fmla="*/ 24596 w 57689"/>
                  <a:gd name="connsiteY19" fmla="*/ 47678 h 61236"/>
                  <a:gd name="connsiteX20" fmla="*/ 24596 w 57689"/>
                  <a:gd name="connsiteY20" fmla="*/ 47680 h 61236"/>
                  <a:gd name="connsiteX21" fmla="*/ 26264 w 57689"/>
                  <a:gd name="connsiteY21" fmla="*/ 48067 h 61236"/>
                  <a:gd name="connsiteX22" fmla="*/ 27713 w 57689"/>
                  <a:gd name="connsiteY22" fmla="*/ 47163 h 61236"/>
                  <a:gd name="connsiteX23" fmla="*/ 44133 w 57689"/>
                  <a:gd name="connsiteY23" fmla="*/ 24219 h 61236"/>
                  <a:gd name="connsiteX24" fmla="*/ 43612 w 57689"/>
                  <a:gd name="connsiteY24" fmla="*/ 21093 h 61236"/>
                  <a:gd name="connsiteX25" fmla="*/ 33096 w 57689"/>
                  <a:gd name="connsiteY25" fmla="*/ 13571 h 61236"/>
                  <a:gd name="connsiteX26" fmla="*/ 31795 w 57689"/>
                  <a:gd name="connsiteY26" fmla="*/ 13146 h 6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7689" h="61236">
                    <a:moveTo>
                      <a:pt x="25862" y="61237"/>
                    </a:moveTo>
                    <a:cubicBezTo>
                      <a:pt x="22679" y="61237"/>
                      <a:pt x="19586" y="60248"/>
                      <a:pt x="16951" y="58361"/>
                    </a:cubicBezTo>
                    <a:lnTo>
                      <a:pt x="6430" y="50833"/>
                    </a:lnTo>
                    <a:cubicBezTo>
                      <a:pt x="3093" y="48439"/>
                      <a:pt x="880" y="44894"/>
                      <a:pt x="211" y="40843"/>
                    </a:cubicBezTo>
                    <a:cubicBezTo>
                      <a:pt x="-463" y="36789"/>
                      <a:pt x="488" y="32713"/>
                      <a:pt x="2879" y="29374"/>
                    </a:cubicBezTo>
                    <a:lnTo>
                      <a:pt x="19293" y="6433"/>
                    </a:lnTo>
                    <a:cubicBezTo>
                      <a:pt x="21687" y="3093"/>
                      <a:pt x="25229" y="883"/>
                      <a:pt x="29283" y="212"/>
                    </a:cubicBezTo>
                    <a:cubicBezTo>
                      <a:pt x="33299" y="-462"/>
                      <a:pt x="37400" y="486"/>
                      <a:pt x="40750" y="2874"/>
                    </a:cubicBezTo>
                    <a:lnTo>
                      <a:pt x="51271" y="10399"/>
                    </a:lnTo>
                    <a:cubicBezTo>
                      <a:pt x="58163" y="15341"/>
                      <a:pt x="59755" y="24964"/>
                      <a:pt x="54827" y="31858"/>
                    </a:cubicBezTo>
                    <a:lnTo>
                      <a:pt x="38407" y="54802"/>
                    </a:lnTo>
                    <a:cubicBezTo>
                      <a:pt x="36014" y="58142"/>
                      <a:pt x="32466" y="60352"/>
                      <a:pt x="28417" y="61023"/>
                    </a:cubicBezTo>
                    <a:cubicBezTo>
                      <a:pt x="27560" y="61166"/>
                      <a:pt x="26708" y="61237"/>
                      <a:pt x="25862" y="61237"/>
                    </a:cubicBezTo>
                    <a:close/>
                    <a:moveTo>
                      <a:pt x="31795" y="13146"/>
                    </a:moveTo>
                    <a:cubicBezTo>
                      <a:pt x="31655" y="13146"/>
                      <a:pt x="31526" y="13160"/>
                      <a:pt x="31431" y="13177"/>
                    </a:cubicBezTo>
                    <a:cubicBezTo>
                      <a:pt x="31091" y="13234"/>
                      <a:pt x="30450" y="13426"/>
                      <a:pt x="29982" y="14083"/>
                    </a:cubicBezTo>
                    <a:lnTo>
                      <a:pt x="13563" y="37027"/>
                    </a:lnTo>
                    <a:cubicBezTo>
                      <a:pt x="13089" y="37685"/>
                      <a:pt x="13113" y="38353"/>
                      <a:pt x="13171" y="38693"/>
                    </a:cubicBezTo>
                    <a:cubicBezTo>
                      <a:pt x="13228" y="39035"/>
                      <a:pt x="13420" y="39679"/>
                      <a:pt x="14075" y="40150"/>
                    </a:cubicBezTo>
                    <a:lnTo>
                      <a:pt x="24596" y="47678"/>
                    </a:lnTo>
                    <a:cubicBezTo>
                      <a:pt x="24596" y="47680"/>
                      <a:pt x="24596" y="47680"/>
                      <a:pt x="24596" y="47680"/>
                    </a:cubicBezTo>
                    <a:cubicBezTo>
                      <a:pt x="25251" y="48146"/>
                      <a:pt x="25897" y="48119"/>
                      <a:pt x="26264" y="48067"/>
                    </a:cubicBezTo>
                    <a:cubicBezTo>
                      <a:pt x="26604" y="48012"/>
                      <a:pt x="27245" y="47817"/>
                      <a:pt x="27713" y="47163"/>
                    </a:cubicBezTo>
                    <a:lnTo>
                      <a:pt x="44133" y="24219"/>
                    </a:lnTo>
                    <a:cubicBezTo>
                      <a:pt x="44850" y="23213"/>
                      <a:pt x="44620" y="21814"/>
                      <a:pt x="43612" y="21093"/>
                    </a:cubicBezTo>
                    <a:lnTo>
                      <a:pt x="33096" y="13571"/>
                    </a:lnTo>
                    <a:cubicBezTo>
                      <a:pt x="32630" y="13229"/>
                      <a:pt x="32154" y="13146"/>
                      <a:pt x="31795" y="13146"/>
                    </a:cubicBezTo>
                    <a:close/>
                  </a:path>
                </a:pathLst>
              </a:custGeom>
              <a:grpFill/>
              <a:ln w="274" cap="flat">
                <a:noFill/>
                <a:prstDash val="solid"/>
                <a:miter/>
              </a:ln>
            </p:spPr>
            <p:txBody>
              <a:bodyPr rtlCol="0" anchor="ctr"/>
              <a:lstStyle/>
              <a:p>
                <a:endParaRPr lang="en-GB" dirty="0"/>
              </a:p>
            </p:txBody>
          </p:sp>
          <p:sp>
            <p:nvSpPr>
              <p:cNvPr id="792" name="Freihandform: Form 791">
                <a:extLst>
                  <a:ext uri="{FF2B5EF4-FFF2-40B4-BE49-F238E27FC236}">
                    <a16:creationId xmlns:a16="http://schemas.microsoft.com/office/drawing/2014/main" id="{BF4D1E43-C275-406E-8F52-7A5E277A3DB7}"/>
                  </a:ext>
                </a:extLst>
              </p:cNvPr>
              <p:cNvSpPr/>
              <p:nvPr/>
            </p:nvSpPr>
            <p:spPr>
              <a:xfrm>
                <a:off x="8144264" y="2739659"/>
                <a:ext cx="57669" cy="61228"/>
              </a:xfrm>
              <a:custGeom>
                <a:avLst/>
                <a:gdLst>
                  <a:gd name="connsiteX0" fmla="*/ 31794 w 57669"/>
                  <a:gd name="connsiteY0" fmla="*/ 61229 h 61228"/>
                  <a:gd name="connsiteX1" fmla="*/ 19275 w 57669"/>
                  <a:gd name="connsiteY1" fmla="*/ 54805 h 61228"/>
                  <a:gd name="connsiteX2" fmla="*/ 2867 w 57669"/>
                  <a:gd name="connsiteY2" fmla="*/ 31861 h 61228"/>
                  <a:gd name="connsiteX3" fmla="*/ 6401 w 57669"/>
                  <a:gd name="connsiteY3" fmla="*/ 10404 h 61228"/>
                  <a:gd name="connsiteX4" fmla="*/ 16920 w 57669"/>
                  <a:gd name="connsiteY4" fmla="*/ 2874 h 61228"/>
                  <a:gd name="connsiteX5" fmla="*/ 28397 w 57669"/>
                  <a:gd name="connsiteY5" fmla="*/ 212 h 61228"/>
                  <a:gd name="connsiteX6" fmla="*/ 38396 w 57669"/>
                  <a:gd name="connsiteY6" fmla="*/ 6433 h 61228"/>
                  <a:gd name="connsiteX7" fmla="*/ 54804 w 57669"/>
                  <a:gd name="connsiteY7" fmla="*/ 29377 h 61228"/>
                  <a:gd name="connsiteX8" fmla="*/ 51243 w 57669"/>
                  <a:gd name="connsiteY8" fmla="*/ 50828 h 61228"/>
                  <a:gd name="connsiteX9" fmla="*/ 40724 w 57669"/>
                  <a:gd name="connsiteY9" fmla="*/ 58361 h 61228"/>
                  <a:gd name="connsiteX10" fmla="*/ 40724 w 57669"/>
                  <a:gd name="connsiteY10" fmla="*/ 58361 h 61228"/>
                  <a:gd name="connsiteX11" fmla="*/ 31794 w 57669"/>
                  <a:gd name="connsiteY11" fmla="*/ 61229 h 61228"/>
                  <a:gd name="connsiteX12" fmla="*/ 36916 w 57669"/>
                  <a:gd name="connsiteY12" fmla="*/ 53019 h 61228"/>
                  <a:gd name="connsiteX13" fmla="*/ 36971 w 57669"/>
                  <a:gd name="connsiteY13" fmla="*/ 53019 h 61228"/>
                  <a:gd name="connsiteX14" fmla="*/ 36916 w 57669"/>
                  <a:gd name="connsiteY14" fmla="*/ 53019 h 61228"/>
                  <a:gd name="connsiteX15" fmla="*/ 25877 w 57669"/>
                  <a:gd name="connsiteY15" fmla="*/ 13146 h 61228"/>
                  <a:gd name="connsiteX16" fmla="*/ 24590 w 57669"/>
                  <a:gd name="connsiteY16" fmla="*/ 13566 h 61228"/>
                  <a:gd name="connsiteX17" fmla="*/ 14071 w 57669"/>
                  <a:gd name="connsiteY17" fmla="*/ 21090 h 61228"/>
                  <a:gd name="connsiteX18" fmla="*/ 13550 w 57669"/>
                  <a:gd name="connsiteY18" fmla="*/ 24213 h 61228"/>
                  <a:gd name="connsiteX19" fmla="*/ 29959 w 57669"/>
                  <a:gd name="connsiteY19" fmla="*/ 47157 h 61228"/>
                  <a:gd name="connsiteX20" fmla="*/ 33081 w 57669"/>
                  <a:gd name="connsiteY20" fmla="*/ 47675 h 61228"/>
                  <a:gd name="connsiteX21" fmla="*/ 43600 w 57669"/>
                  <a:gd name="connsiteY21" fmla="*/ 40145 h 61228"/>
                  <a:gd name="connsiteX22" fmla="*/ 44121 w 57669"/>
                  <a:gd name="connsiteY22" fmla="*/ 37027 h 61228"/>
                  <a:gd name="connsiteX23" fmla="*/ 27713 w 57669"/>
                  <a:gd name="connsiteY23" fmla="*/ 14083 h 61228"/>
                  <a:gd name="connsiteX24" fmla="*/ 26260 w 57669"/>
                  <a:gd name="connsiteY24" fmla="*/ 13177 h 61228"/>
                  <a:gd name="connsiteX25" fmla="*/ 25877 w 57669"/>
                  <a:gd name="connsiteY25" fmla="*/ 13146 h 6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7669" h="61228">
                    <a:moveTo>
                      <a:pt x="31794" y="61229"/>
                    </a:moveTo>
                    <a:cubicBezTo>
                      <a:pt x="27000" y="61229"/>
                      <a:pt x="22261" y="58996"/>
                      <a:pt x="19275" y="54805"/>
                    </a:cubicBezTo>
                    <a:lnTo>
                      <a:pt x="2867" y="31861"/>
                    </a:lnTo>
                    <a:cubicBezTo>
                      <a:pt x="-2063" y="24966"/>
                      <a:pt x="-475" y="15343"/>
                      <a:pt x="6401" y="10404"/>
                    </a:cubicBezTo>
                    <a:lnTo>
                      <a:pt x="16920" y="2874"/>
                    </a:lnTo>
                    <a:cubicBezTo>
                      <a:pt x="20289" y="486"/>
                      <a:pt x="24343" y="-462"/>
                      <a:pt x="28397" y="212"/>
                    </a:cubicBezTo>
                    <a:cubicBezTo>
                      <a:pt x="32451" y="883"/>
                      <a:pt x="35985" y="3093"/>
                      <a:pt x="38396" y="6433"/>
                    </a:cubicBezTo>
                    <a:lnTo>
                      <a:pt x="54804" y="29377"/>
                    </a:lnTo>
                    <a:cubicBezTo>
                      <a:pt x="59734" y="36274"/>
                      <a:pt x="58146" y="45894"/>
                      <a:pt x="51243" y="50828"/>
                    </a:cubicBezTo>
                    <a:lnTo>
                      <a:pt x="40724" y="58361"/>
                    </a:lnTo>
                    <a:cubicBezTo>
                      <a:pt x="40724" y="58361"/>
                      <a:pt x="40724" y="58361"/>
                      <a:pt x="40724" y="58361"/>
                    </a:cubicBezTo>
                    <a:cubicBezTo>
                      <a:pt x="38012" y="60297"/>
                      <a:pt x="34889" y="61229"/>
                      <a:pt x="31794" y="61229"/>
                    </a:cubicBezTo>
                    <a:close/>
                    <a:moveTo>
                      <a:pt x="36916" y="53019"/>
                    </a:moveTo>
                    <a:lnTo>
                      <a:pt x="36971" y="53019"/>
                    </a:lnTo>
                    <a:lnTo>
                      <a:pt x="36916" y="53019"/>
                    </a:lnTo>
                    <a:close/>
                    <a:moveTo>
                      <a:pt x="25877" y="13146"/>
                    </a:moveTo>
                    <a:cubicBezTo>
                      <a:pt x="25521" y="13146"/>
                      <a:pt x="25055" y="13229"/>
                      <a:pt x="24590" y="13566"/>
                    </a:cubicBezTo>
                    <a:lnTo>
                      <a:pt x="14071" y="21090"/>
                    </a:lnTo>
                    <a:cubicBezTo>
                      <a:pt x="13057" y="21805"/>
                      <a:pt x="12838" y="23208"/>
                      <a:pt x="13550" y="24213"/>
                    </a:cubicBezTo>
                    <a:lnTo>
                      <a:pt x="29959" y="47157"/>
                    </a:lnTo>
                    <a:cubicBezTo>
                      <a:pt x="30698" y="48154"/>
                      <a:pt x="32068" y="48390"/>
                      <a:pt x="33081" y="47675"/>
                    </a:cubicBezTo>
                    <a:lnTo>
                      <a:pt x="43600" y="40145"/>
                    </a:lnTo>
                    <a:cubicBezTo>
                      <a:pt x="44614" y="39430"/>
                      <a:pt x="44833" y="38030"/>
                      <a:pt x="44121" y="37027"/>
                    </a:cubicBezTo>
                    <a:lnTo>
                      <a:pt x="27713" y="14083"/>
                    </a:lnTo>
                    <a:cubicBezTo>
                      <a:pt x="27247" y="13426"/>
                      <a:pt x="26589" y="13234"/>
                      <a:pt x="26260" y="13177"/>
                    </a:cubicBezTo>
                    <a:cubicBezTo>
                      <a:pt x="26151" y="13157"/>
                      <a:pt x="26014" y="13146"/>
                      <a:pt x="25877" y="13146"/>
                    </a:cubicBezTo>
                    <a:close/>
                  </a:path>
                </a:pathLst>
              </a:custGeom>
              <a:grpFill/>
              <a:ln w="274" cap="flat">
                <a:noFill/>
                <a:prstDash val="solid"/>
                <a:miter/>
              </a:ln>
            </p:spPr>
            <p:txBody>
              <a:bodyPr rtlCol="0" anchor="ctr"/>
              <a:lstStyle/>
              <a:p>
                <a:endParaRPr lang="en-GB" dirty="0"/>
              </a:p>
            </p:txBody>
          </p:sp>
          <p:grpSp>
            <p:nvGrpSpPr>
              <p:cNvPr id="793" name="Grafik 349">
                <a:extLst>
                  <a:ext uri="{FF2B5EF4-FFF2-40B4-BE49-F238E27FC236}">
                    <a16:creationId xmlns:a16="http://schemas.microsoft.com/office/drawing/2014/main" id="{6138A3CD-3CFF-44D4-A5CF-537B94443112}"/>
                  </a:ext>
                </a:extLst>
              </p:cNvPr>
              <p:cNvGrpSpPr/>
              <p:nvPr/>
            </p:nvGrpSpPr>
            <p:grpSpPr>
              <a:xfrm>
                <a:off x="7889128" y="2528753"/>
                <a:ext cx="179302" cy="210243"/>
                <a:chOff x="7889128" y="2528753"/>
                <a:chExt cx="179302" cy="210243"/>
              </a:xfrm>
              <a:grpFill/>
            </p:grpSpPr>
            <p:sp>
              <p:nvSpPr>
                <p:cNvPr id="794" name="Freihandform: Form 793">
                  <a:extLst>
                    <a:ext uri="{FF2B5EF4-FFF2-40B4-BE49-F238E27FC236}">
                      <a16:creationId xmlns:a16="http://schemas.microsoft.com/office/drawing/2014/main" id="{5C012D45-2B01-4C48-B1F6-AD1176B020F8}"/>
                    </a:ext>
                  </a:extLst>
                </p:cNvPr>
                <p:cNvSpPr/>
                <p:nvPr/>
              </p:nvSpPr>
              <p:spPr>
                <a:xfrm>
                  <a:off x="7932789" y="2528753"/>
                  <a:ext cx="91979" cy="105121"/>
                </a:xfrm>
                <a:custGeom>
                  <a:avLst/>
                  <a:gdLst>
                    <a:gd name="connsiteX0" fmla="*/ 45990 w 91979"/>
                    <a:gd name="connsiteY0" fmla="*/ 105122 h 105121"/>
                    <a:gd name="connsiteX1" fmla="*/ 0 w 91979"/>
                    <a:gd name="connsiteY1" fmla="*/ 52561 h 105121"/>
                    <a:gd name="connsiteX2" fmla="*/ 45990 w 91979"/>
                    <a:gd name="connsiteY2" fmla="*/ 0 h 105121"/>
                    <a:gd name="connsiteX3" fmla="*/ 91979 w 91979"/>
                    <a:gd name="connsiteY3" fmla="*/ 52561 h 105121"/>
                    <a:gd name="connsiteX4" fmla="*/ 45990 w 91979"/>
                    <a:gd name="connsiteY4" fmla="*/ 105122 h 105121"/>
                    <a:gd name="connsiteX5" fmla="*/ 45990 w 91979"/>
                    <a:gd name="connsiteY5" fmla="*/ 13140 h 105121"/>
                    <a:gd name="connsiteX6" fmla="*/ 13140 w 91979"/>
                    <a:gd name="connsiteY6" fmla="*/ 52561 h 105121"/>
                    <a:gd name="connsiteX7" fmla="*/ 45990 w 91979"/>
                    <a:gd name="connsiteY7" fmla="*/ 91982 h 105121"/>
                    <a:gd name="connsiteX8" fmla="*/ 78831 w 91979"/>
                    <a:gd name="connsiteY8" fmla="*/ 52561 h 105121"/>
                    <a:gd name="connsiteX9" fmla="*/ 45990 w 91979"/>
                    <a:gd name="connsiteY9" fmla="*/ 13140 h 1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979" h="105121">
                      <a:moveTo>
                        <a:pt x="45990" y="105122"/>
                      </a:moveTo>
                      <a:cubicBezTo>
                        <a:pt x="18485" y="105122"/>
                        <a:pt x="0" y="83999"/>
                        <a:pt x="0" y="52561"/>
                      </a:cubicBezTo>
                      <a:cubicBezTo>
                        <a:pt x="0" y="21122"/>
                        <a:pt x="18485" y="0"/>
                        <a:pt x="45990" y="0"/>
                      </a:cubicBezTo>
                      <a:cubicBezTo>
                        <a:pt x="73489" y="0"/>
                        <a:pt x="91979" y="21122"/>
                        <a:pt x="91979" y="52561"/>
                      </a:cubicBezTo>
                      <a:cubicBezTo>
                        <a:pt x="91979" y="83999"/>
                        <a:pt x="73489" y="105122"/>
                        <a:pt x="45990" y="105122"/>
                      </a:cubicBezTo>
                      <a:close/>
                      <a:moveTo>
                        <a:pt x="45990" y="13140"/>
                      </a:moveTo>
                      <a:cubicBezTo>
                        <a:pt x="21744" y="13140"/>
                        <a:pt x="13140" y="34375"/>
                        <a:pt x="13140" y="52561"/>
                      </a:cubicBezTo>
                      <a:cubicBezTo>
                        <a:pt x="13140" y="70747"/>
                        <a:pt x="21744" y="91982"/>
                        <a:pt x="45990" y="91982"/>
                      </a:cubicBezTo>
                      <a:cubicBezTo>
                        <a:pt x="70229" y="91982"/>
                        <a:pt x="78831" y="70747"/>
                        <a:pt x="78831" y="52561"/>
                      </a:cubicBezTo>
                      <a:cubicBezTo>
                        <a:pt x="78831" y="34375"/>
                        <a:pt x="70229" y="13140"/>
                        <a:pt x="45990" y="13140"/>
                      </a:cubicBezTo>
                      <a:close/>
                    </a:path>
                  </a:pathLst>
                </a:custGeom>
                <a:grpFill/>
                <a:ln w="274" cap="flat">
                  <a:noFill/>
                  <a:prstDash val="solid"/>
                  <a:miter/>
                </a:ln>
              </p:spPr>
              <p:txBody>
                <a:bodyPr rtlCol="0" anchor="ctr"/>
                <a:lstStyle/>
                <a:p>
                  <a:endParaRPr lang="en-GB" dirty="0"/>
                </a:p>
              </p:txBody>
            </p:sp>
            <p:sp>
              <p:nvSpPr>
                <p:cNvPr id="795" name="Freihandform: Form 794">
                  <a:extLst>
                    <a:ext uri="{FF2B5EF4-FFF2-40B4-BE49-F238E27FC236}">
                      <a16:creationId xmlns:a16="http://schemas.microsoft.com/office/drawing/2014/main" id="{32028AA7-FC06-4A0D-9D7D-28C24434839B}"/>
                    </a:ext>
                  </a:extLst>
                </p:cNvPr>
                <p:cNvSpPr/>
                <p:nvPr/>
              </p:nvSpPr>
              <p:spPr>
                <a:xfrm>
                  <a:off x="7889128" y="2647015"/>
                  <a:ext cx="179302" cy="91981"/>
                </a:xfrm>
                <a:custGeom>
                  <a:avLst/>
                  <a:gdLst>
                    <a:gd name="connsiteX0" fmla="*/ 89651 w 179302"/>
                    <a:gd name="connsiteY0" fmla="*/ 91982 h 91981"/>
                    <a:gd name="connsiteX1" fmla="*/ 83772 w 179302"/>
                    <a:gd name="connsiteY1" fmla="*/ 88349 h 91981"/>
                    <a:gd name="connsiteX2" fmla="*/ 46250 w 179302"/>
                    <a:gd name="connsiteY2" fmla="*/ 13305 h 91981"/>
                    <a:gd name="connsiteX3" fmla="*/ 12020 w 179302"/>
                    <a:gd name="connsiteY3" fmla="*/ 33227 h 91981"/>
                    <a:gd name="connsiteX4" fmla="*/ 2895 w 179302"/>
                    <a:gd name="connsiteY4" fmla="*/ 34994 h 91981"/>
                    <a:gd name="connsiteX5" fmla="*/ 1126 w 179302"/>
                    <a:gd name="connsiteY5" fmla="*/ 25872 h 91981"/>
                    <a:gd name="connsiteX6" fmla="*/ 49791 w 179302"/>
                    <a:gd name="connsiteY6" fmla="*/ 0 h 91981"/>
                    <a:gd name="connsiteX7" fmla="*/ 56106 w 179302"/>
                    <a:gd name="connsiteY7" fmla="*/ 3632 h 91981"/>
                    <a:gd name="connsiteX8" fmla="*/ 89648 w 179302"/>
                    <a:gd name="connsiteY8" fmla="*/ 70722 h 91981"/>
                    <a:gd name="connsiteX9" fmla="*/ 123204 w 179302"/>
                    <a:gd name="connsiteY9" fmla="*/ 3632 h 91981"/>
                    <a:gd name="connsiteX10" fmla="*/ 129066 w 179302"/>
                    <a:gd name="connsiteY10" fmla="*/ 0 h 91981"/>
                    <a:gd name="connsiteX11" fmla="*/ 178181 w 179302"/>
                    <a:gd name="connsiteY11" fmla="*/ 25870 h 91981"/>
                    <a:gd name="connsiteX12" fmla="*/ 176400 w 179302"/>
                    <a:gd name="connsiteY12" fmla="*/ 34994 h 91981"/>
                    <a:gd name="connsiteX13" fmla="*/ 167279 w 179302"/>
                    <a:gd name="connsiteY13" fmla="*/ 33230 h 91981"/>
                    <a:gd name="connsiteX14" fmla="*/ 133065 w 179302"/>
                    <a:gd name="connsiteY14" fmla="*/ 13280 h 91981"/>
                    <a:gd name="connsiteX15" fmla="*/ 95537 w 179302"/>
                    <a:gd name="connsiteY15" fmla="*/ 88352 h 91981"/>
                    <a:gd name="connsiteX16" fmla="*/ 89651 w 179302"/>
                    <a:gd name="connsiteY16" fmla="*/ 91982 h 91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9302" h="91981">
                      <a:moveTo>
                        <a:pt x="89651" y="91982"/>
                      </a:moveTo>
                      <a:cubicBezTo>
                        <a:pt x="87160" y="91982"/>
                        <a:pt x="84890" y="90576"/>
                        <a:pt x="83772" y="88349"/>
                      </a:cubicBezTo>
                      <a:lnTo>
                        <a:pt x="46250" y="13305"/>
                      </a:lnTo>
                      <a:cubicBezTo>
                        <a:pt x="32249" y="14466"/>
                        <a:pt x="19783" y="21728"/>
                        <a:pt x="12020" y="33227"/>
                      </a:cubicBezTo>
                      <a:cubicBezTo>
                        <a:pt x="9987" y="36235"/>
                        <a:pt x="5917" y="37035"/>
                        <a:pt x="2895" y="34994"/>
                      </a:cubicBezTo>
                      <a:cubicBezTo>
                        <a:pt x="-115" y="32964"/>
                        <a:pt x="-904" y="28880"/>
                        <a:pt x="1126" y="25872"/>
                      </a:cubicBezTo>
                      <a:cubicBezTo>
                        <a:pt x="12066" y="9672"/>
                        <a:pt x="30255" y="0"/>
                        <a:pt x="49791" y="0"/>
                      </a:cubicBezTo>
                      <a:cubicBezTo>
                        <a:pt x="52282" y="0"/>
                        <a:pt x="54988" y="1405"/>
                        <a:pt x="56106" y="3632"/>
                      </a:cubicBezTo>
                      <a:lnTo>
                        <a:pt x="89648" y="70722"/>
                      </a:lnTo>
                      <a:lnTo>
                        <a:pt x="123204" y="3632"/>
                      </a:lnTo>
                      <a:cubicBezTo>
                        <a:pt x="124299" y="1405"/>
                        <a:pt x="126573" y="0"/>
                        <a:pt x="129066" y="0"/>
                      </a:cubicBezTo>
                      <a:cubicBezTo>
                        <a:pt x="149035" y="0"/>
                        <a:pt x="167224" y="9672"/>
                        <a:pt x="178181" y="25870"/>
                      </a:cubicBezTo>
                      <a:cubicBezTo>
                        <a:pt x="180208" y="28880"/>
                        <a:pt x="179413" y="32962"/>
                        <a:pt x="176400" y="34994"/>
                      </a:cubicBezTo>
                      <a:cubicBezTo>
                        <a:pt x="173415" y="37024"/>
                        <a:pt x="169306" y="36230"/>
                        <a:pt x="167279" y="33230"/>
                      </a:cubicBezTo>
                      <a:cubicBezTo>
                        <a:pt x="159472" y="21640"/>
                        <a:pt x="146871" y="14354"/>
                        <a:pt x="133065" y="13280"/>
                      </a:cubicBezTo>
                      <a:lnTo>
                        <a:pt x="95537" y="88352"/>
                      </a:lnTo>
                      <a:cubicBezTo>
                        <a:pt x="94411" y="90576"/>
                        <a:pt x="92141" y="91982"/>
                        <a:pt x="89651" y="91982"/>
                      </a:cubicBezTo>
                      <a:close/>
                    </a:path>
                  </a:pathLst>
                </a:custGeom>
                <a:grpFill/>
                <a:ln w="274" cap="flat">
                  <a:noFill/>
                  <a:prstDash val="solid"/>
                  <a:miter/>
                </a:ln>
              </p:spPr>
              <p:txBody>
                <a:bodyPr rtlCol="0" anchor="ctr"/>
                <a:lstStyle/>
                <a:p>
                  <a:endParaRPr lang="en-GB" dirty="0"/>
                </a:p>
              </p:txBody>
            </p:sp>
            <p:sp>
              <p:nvSpPr>
                <p:cNvPr id="796" name="Freihandform: Form 795">
                  <a:extLst>
                    <a:ext uri="{FF2B5EF4-FFF2-40B4-BE49-F238E27FC236}">
                      <a16:creationId xmlns:a16="http://schemas.microsoft.com/office/drawing/2014/main" id="{1DE7C56C-42C1-43AF-8962-5926E652EFD6}"/>
                    </a:ext>
                  </a:extLst>
                </p:cNvPr>
                <p:cNvSpPr/>
                <p:nvPr/>
              </p:nvSpPr>
              <p:spPr>
                <a:xfrm>
                  <a:off x="7965638" y="2647018"/>
                  <a:ext cx="26285" cy="13137"/>
                </a:xfrm>
                <a:custGeom>
                  <a:avLst/>
                  <a:gdLst>
                    <a:gd name="connsiteX0" fmla="*/ 19712 w 26285"/>
                    <a:gd name="connsiteY0" fmla="*/ 13137 h 13137"/>
                    <a:gd name="connsiteX1" fmla="*/ 6572 w 26285"/>
                    <a:gd name="connsiteY1" fmla="*/ 13137 h 13137"/>
                    <a:gd name="connsiteX2" fmla="*/ 0 w 26285"/>
                    <a:gd name="connsiteY2" fmla="*/ 6569 h 13137"/>
                    <a:gd name="connsiteX3" fmla="*/ 6572 w 26285"/>
                    <a:gd name="connsiteY3" fmla="*/ 0 h 13137"/>
                    <a:gd name="connsiteX4" fmla="*/ 19712 w 26285"/>
                    <a:gd name="connsiteY4" fmla="*/ 0 h 13137"/>
                    <a:gd name="connsiteX5" fmla="*/ 26286 w 26285"/>
                    <a:gd name="connsiteY5" fmla="*/ 6569 h 13137"/>
                    <a:gd name="connsiteX6" fmla="*/ 19712 w 26285"/>
                    <a:gd name="connsiteY6" fmla="*/ 13137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85" h="13137">
                      <a:moveTo>
                        <a:pt x="19712" y="13137"/>
                      </a:moveTo>
                      <a:lnTo>
                        <a:pt x="6572" y="13137"/>
                      </a:lnTo>
                      <a:cubicBezTo>
                        <a:pt x="2939" y="13137"/>
                        <a:pt x="0" y="10196"/>
                        <a:pt x="0" y="6569"/>
                      </a:cubicBezTo>
                      <a:cubicBezTo>
                        <a:pt x="0" y="2939"/>
                        <a:pt x="2939" y="0"/>
                        <a:pt x="6572" y="0"/>
                      </a:cubicBezTo>
                      <a:lnTo>
                        <a:pt x="19712" y="0"/>
                      </a:lnTo>
                      <a:cubicBezTo>
                        <a:pt x="23355" y="0"/>
                        <a:pt x="26286" y="2942"/>
                        <a:pt x="26286" y="6569"/>
                      </a:cubicBezTo>
                      <a:cubicBezTo>
                        <a:pt x="26286" y="10196"/>
                        <a:pt x="23328" y="13137"/>
                        <a:pt x="19712" y="13137"/>
                      </a:cubicBezTo>
                      <a:close/>
                    </a:path>
                  </a:pathLst>
                </a:custGeom>
                <a:grpFill/>
                <a:ln w="274" cap="flat">
                  <a:noFill/>
                  <a:prstDash val="solid"/>
                  <a:miter/>
                </a:ln>
              </p:spPr>
              <p:txBody>
                <a:bodyPr rtlCol="0" anchor="ctr"/>
                <a:lstStyle/>
                <a:p>
                  <a:endParaRPr lang="en-GB" dirty="0"/>
                </a:p>
              </p:txBody>
            </p:sp>
            <p:sp>
              <p:nvSpPr>
                <p:cNvPr id="797" name="Freihandform: Form 796">
                  <a:extLst>
                    <a:ext uri="{FF2B5EF4-FFF2-40B4-BE49-F238E27FC236}">
                      <a16:creationId xmlns:a16="http://schemas.microsoft.com/office/drawing/2014/main" id="{F15B6985-CBF6-4354-8A8A-176090F878AF}"/>
                    </a:ext>
                  </a:extLst>
                </p:cNvPr>
                <p:cNvSpPr/>
                <p:nvPr/>
              </p:nvSpPr>
              <p:spPr>
                <a:xfrm>
                  <a:off x="7972210" y="2647018"/>
                  <a:ext cx="13140" cy="85410"/>
                </a:xfrm>
                <a:custGeom>
                  <a:avLst/>
                  <a:gdLst>
                    <a:gd name="connsiteX0" fmla="*/ 6569 w 13140"/>
                    <a:gd name="connsiteY0" fmla="*/ 85410 h 85410"/>
                    <a:gd name="connsiteX1" fmla="*/ 0 w 13140"/>
                    <a:gd name="connsiteY1" fmla="*/ 78839 h 85410"/>
                    <a:gd name="connsiteX2" fmla="*/ 0 w 13140"/>
                    <a:gd name="connsiteY2" fmla="*/ 6569 h 85410"/>
                    <a:gd name="connsiteX3" fmla="*/ 6569 w 13140"/>
                    <a:gd name="connsiteY3" fmla="*/ 0 h 85410"/>
                    <a:gd name="connsiteX4" fmla="*/ 13140 w 13140"/>
                    <a:gd name="connsiteY4" fmla="*/ 6569 h 85410"/>
                    <a:gd name="connsiteX5" fmla="*/ 13140 w 13140"/>
                    <a:gd name="connsiteY5" fmla="*/ 78839 h 85410"/>
                    <a:gd name="connsiteX6" fmla="*/ 6569 w 13140"/>
                    <a:gd name="connsiteY6" fmla="*/ 85410 h 85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0" h="85410">
                      <a:moveTo>
                        <a:pt x="6569" y="85410"/>
                      </a:moveTo>
                      <a:cubicBezTo>
                        <a:pt x="2936" y="85410"/>
                        <a:pt x="0" y="82468"/>
                        <a:pt x="0" y="78839"/>
                      </a:cubicBezTo>
                      <a:lnTo>
                        <a:pt x="0" y="6569"/>
                      </a:lnTo>
                      <a:cubicBezTo>
                        <a:pt x="0" y="2939"/>
                        <a:pt x="2939" y="0"/>
                        <a:pt x="6569" y="0"/>
                      </a:cubicBezTo>
                      <a:cubicBezTo>
                        <a:pt x="10201" y="0"/>
                        <a:pt x="13140" y="2942"/>
                        <a:pt x="13140" y="6569"/>
                      </a:cubicBezTo>
                      <a:lnTo>
                        <a:pt x="13140" y="78839"/>
                      </a:lnTo>
                      <a:cubicBezTo>
                        <a:pt x="13140" y="82468"/>
                        <a:pt x="10201" y="85410"/>
                        <a:pt x="6569" y="85410"/>
                      </a:cubicBezTo>
                      <a:close/>
                    </a:path>
                  </a:pathLst>
                </a:custGeom>
                <a:grpFill/>
                <a:ln w="274" cap="flat">
                  <a:noFill/>
                  <a:prstDash val="solid"/>
                  <a:miter/>
                </a:ln>
              </p:spPr>
              <p:txBody>
                <a:bodyPr rtlCol="0" anchor="ctr"/>
                <a:lstStyle/>
                <a:p>
                  <a:endParaRPr lang="en-GB" dirty="0"/>
                </a:p>
              </p:txBody>
            </p:sp>
          </p:grpSp>
        </p:grpSp>
        <p:grpSp>
          <p:nvGrpSpPr>
            <p:cNvPr id="786" name="Gruppieren 785">
              <a:extLst>
                <a:ext uri="{FF2B5EF4-FFF2-40B4-BE49-F238E27FC236}">
                  <a16:creationId xmlns:a16="http://schemas.microsoft.com/office/drawing/2014/main" id="{A833B000-ACDF-4B0C-B688-23565CD93408}"/>
                </a:ext>
              </a:extLst>
            </p:cNvPr>
            <p:cNvGrpSpPr/>
            <p:nvPr/>
          </p:nvGrpSpPr>
          <p:grpSpPr>
            <a:xfrm>
              <a:off x="8059714" y="2758665"/>
              <a:ext cx="565085" cy="122676"/>
              <a:chOff x="7736951" y="2793813"/>
              <a:chExt cx="484222" cy="105121"/>
            </a:xfrm>
          </p:grpSpPr>
          <p:sp>
            <p:nvSpPr>
              <p:cNvPr id="787" name="Freihandform: Form 786">
                <a:extLst>
                  <a:ext uri="{FF2B5EF4-FFF2-40B4-BE49-F238E27FC236}">
                    <a16:creationId xmlns:a16="http://schemas.microsoft.com/office/drawing/2014/main" id="{D2C063F8-0AAE-4D62-841D-8DFD5BCC12AA}"/>
                  </a:ext>
                </a:extLst>
              </p:cNvPr>
              <p:cNvSpPr/>
              <p:nvPr/>
            </p:nvSpPr>
            <p:spPr>
              <a:xfrm>
                <a:off x="7900299" y="2793813"/>
                <a:ext cx="157663" cy="105121"/>
              </a:xfrm>
              <a:custGeom>
                <a:avLst/>
                <a:gdLst>
                  <a:gd name="connsiteX0" fmla="*/ 139096 w 157663"/>
                  <a:gd name="connsiteY0" fmla="*/ 105122 h 105121"/>
                  <a:gd name="connsiteX1" fmla="*/ 18566 w 157663"/>
                  <a:gd name="connsiteY1" fmla="*/ 105122 h 105121"/>
                  <a:gd name="connsiteX2" fmla="*/ 11997 w 157663"/>
                  <a:gd name="connsiteY2" fmla="*/ 98553 h 105121"/>
                  <a:gd name="connsiteX3" fmla="*/ 11997 w 157663"/>
                  <a:gd name="connsiteY3" fmla="*/ 78107 h 105121"/>
                  <a:gd name="connsiteX4" fmla="*/ 276 w 157663"/>
                  <a:gd name="connsiteY4" fmla="*/ 19323 h 105121"/>
                  <a:gd name="connsiteX5" fmla="*/ 3818 w 157663"/>
                  <a:gd name="connsiteY5" fmla="*/ 5662 h 105121"/>
                  <a:gd name="connsiteX6" fmla="*/ 15835 w 157663"/>
                  <a:gd name="connsiteY6" fmla="*/ 0 h 105121"/>
                  <a:gd name="connsiteX7" fmla="*/ 141836 w 157663"/>
                  <a:gd name="connsiteY7" fmla="*/ 0 h 105121"/>
                  <a:gd name="connsiteX8" fmla="*/ 153861 w 157663"/>
                  <a:gd name="connsiteY8" fmla="*/ 5665 h 105121"/>
                  <a:gd name="connsiteX9" fmla="*/ 157395 w 157663"/>
                  <a:gd name="connsiteY9" fmla="*/ 19199 h 105121"/>
                  <a:gd name="connsiteX10" fmla="*/ 145643 w 157663"/>
                  <a:gd name="connsiteY10" fmla="*/ 78105 h 105121"/>
                  <a:gd name="connsiteX11" fmla="*/ 145643 w 157663"/>
                  <a:gd name="connsiteY11" fmla="*/ 98550 h 105121"/>
                  <a:gd name="connsiteX12" fmla="*/ 139096 w 157663"/>
                  <a:gd name="connsiteY12" fmla="*/ 105122 h 105121"/>
                  <a:gd name="connsiteX13" fmla="*/ 25137 w 157663"/>
                  <a:gd name="connsiteY13" fmla="*/ 91982 h 105121"/>
                  <a:gd name="connsiteX14" fmla="*/ 132522 w 157663"/>
                  <a:gd name="connsiteY14" fmla="*/ 91982 h 105121"/>
                  <a:gd name="connsiteX15" fmla="*/ 132522 w 157663"/>
                  <a:gd name="connsiteY15" fmla="*/ 77458 h 105121"/>
                  <a:gd name="connsiteX16" fmla="*/ 132632 w 157663"/>
                  <a:gd name="connsiteY16" fmla="*/ 76171 h 105121"/>
                  <a:gd name="connsiteX17" fmla="*/ 144493 w 157663"/>
                  <a:gd name="connsiteY17" fmla="*/ 16748 h 105121"/>
                  <a:gd name="connsiteX18" fmla="*/ 143780 w 157663"/>
                  <a:gd name="connsiteY18" fmla="*/ 14093 h 105121"/>
                  <a:gd name="connsiteX19" fmla="*/ 141836 w 157663"/>
                  <a:gd name="connsiteY19" fmla="*/ 13137 h 105121"/>
                  <a:gd name="connsiteX20" fmla="*/ 15832 w 157663"/>
                  <a:gd name="connsiteY20" fmla="*/ 13137 h 105121"/>
                  <a:gd name="connsiteX21" fmla="*/ 13887 w 157663"/>
                  <a:gd name="connsiteY21" fmla="*/ 14093 h 105121"/>
                  <a:gd name="connsiteX22" fmla="*/ 13181 w 157663"/>
                  <a:gd name="connsiteY22" fmla="*/ 16879 h 105121"/>
                  <a:gd name="connsiteX23" fmla="*/ 25006 w 157663"/>
                  <a:gd name="connsiteY23" fmla="*/ 76171 h 105121"/>
                  <a:gd name="connsiteX24" fmla="*/ 25135 w 157663"/>
                  <a:gd name="connsiteY24" fmla="*/ 77458 h 105121"/>
                  <a:gd name="connsiteX25" fmla="*/ 25135 w 157663"/>
                  <a:gd name="connsiteY25" fmla="*/ 91982 h 1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7663" h="105121">
                    <a:moveTo>
                      <a:pt x="139096" y="105122"/>
                    </a:moveTo>
                    <a:lnTo>
                      <a:pt x="18566" y="105122"/>
                    </a:lnTo>
                    <a:cubicBezTo>
                      <a:pt x="14934" y="105122"/>
                      <a:pt x="11997" y="102180"/>
                      <a:pt x="11997" y="98553"/>
                    </a:cubicBezTo>
                    <a:lnTo>
                      <a:pt x="11997" y="78107"/>
                    </a:lnTo>
                    <a:lnTo>
                      <a:pt x="276" y="19323"/>
                    </a:lnTo>
                    <a:cubicBezTo>
                      <a:pt x="-617" y="14337"/>
                      <a:pt x="681" y="9407"/>
                      <a:pt x="3818" y="5662"/>
                    </a:cubicBezTo>
                    <a:cubicBezTo>
                      <a:pt x="6828" y="2063"/>
                      <a:pt x="11208" y="0"/>
                      <a:pt x="15835" y="0"/>
                    </a:cubicBezTo>
                    <a:lnTo>
                      <a:pt x="141836" y="0"/>
                    </a:lnTo>
                    <a:cubicBezTo>
                      <a:pt x="146465" y="0"/>
                      <a:pt x="150848" y="2065"/>
                      <a:pt x="153861" y="5665"/>
                    </a:cubicBezTo>
                    <a:cubicBezTo>
                      <a:pt x="156984" y="9412"/>
                      <a:pt x="158271" y="14345"/>
                      <a:pt x="157395" y="19199"/>
                    </a:cubicBezTo>
                    <a:lnTo>
                      <a:pt x="145643" y="78105"/>
                    </a:lnTo>
                    <a:lnTo>
                      <a:pt x="145643" y="98550"/>
                    </a:lnTo>
                    <a:cubicBezTo>
                      <a:pt x="145643" y="102180"/>
                      <a:pt x="142712" y="105122"/>
                      <a:pt x="139096" y="105122"/>
                    </a:cubicBezTo>
                    <a:close/>
                    <a:moveTo>
                      <a:pt x="25137" y="91982"/>
                    </a:moveTo>
                    <a:lnTo>
                      <a:pt x="132522" y="91982"/>
                    </a:lnTo>
                    <a:lnTo>
                      <a:pt x="132522" y="77458"/>
                    </a:lnTo>
                    <a:cubicBezTo>
                      <a:pt x="132522" y="77028"/>
                      <a:pt x="132550" y="76595"/>
                      <a:pt x="132632" y="76171"/>
                    </a:cubicBezTo>
                    <a:lnTo>
                      <a:pt x="144493" y="16748"/>
                    </a:lnTo>
                    <a:cubicBezTo>
                      <a:pt x="144657" y="15860"/>
                      <a:pt x="144410" y="14847"/>
                      <a:pt x="143780" y="14093"/>
                    </a:cubicBezTo>
                    <a:cubicBezTo>
                      <a:pt x="143397" y="13658"/>
                      <a:pt x="142767" y="13137"/>
                      <a:pt x="141836" y="13137"/>
                    </a:cubicBezTo>
                    <a:lnTo>
                      <a:pt x="15832" y="13137"/>
                    </a:lnTo>
                    <a:cubicBezTo>
                      <a:pt x="14890" y="13137"/>
                      <a:pt x="14255" y="13658"/>
                      <a:pt x="13887" y="14093"/>
                    </a:cubicBezTo>
                    <a:cubicBezTo>
                      <a:pt x="13260" y="14847"/>
                      <a:pt x="13003" y="15860"/>
                      <a:pt x="13181" y="16879"/>
                    </a:cubicBezTo>
                    <a:lnTo>
                      <a:pt x="25006" y="76171"/>
                    </a:lnTo>
                    <a:cubicBezTo>
                      <a:pt x="25088" y="76595"/>
                      <a:pt x="25135" y="77028"/>
                      <a:pt x="25135" y="77458"/>
                    </a:cubicBezTo>
                    <a:lnTo>
                      <a:pt x="25135" y="91982"/>
                    </a:lnTo>
                    <a:close/>
                  </a:path>
                </a:pathLst>
              </a:custGeom>
              <a:solidFill>
                <a:schemeClr val="accent1"/>
              </a:solidFill>
              <a:ln w="274" cap="flat">
                <a:noFill/>
                <a:prstDash val="solid"/>
                <a:miter/>
              </a:ln>
            </p:spPr>
            <p:txBody>
              <a:bodyPr rtlCol="0" anchor="ctr"/>
              <a:lstStyle/>
              <a:p>
                <a:endParaRPr lang="en-GB" dirty="0"/>
              </a:p>
            </p:txBody>
          </p:sp>
          <p:sp>
            <p:nvSpPr>
              <p:cNvPr id="788" name="Freihandform: Form 787">
                <a:extLst>
                  <a:ext uri="{FF2B5EF4-FFF2-40B4-BE49-F238E27FC236}">
                    <a16:creationId xmlns:a16="http://schemas.microsoft.com/office/drawing/2014/main" id="{F9FBA2DA-9543-494D-B10B-8F7882E38873}"/>
                  </a:ext>
                </a:extLst>
              </p:cNvPr>
              <p:cNvSpPr/>
              <p:nvPr/>
            </p:nvSpPr>
            <p:spPr>
              <a:xfrm>
                <a:off x="7736951" y="2885731"/>
                <a:ext cx="484222" cy="13137"/>
              </a:xfrm>
              <a:custGeom>
                <a:avLst/>
                <a:gdLst>
                  <a:gd name="connsiteX0" fmla="*/ 477648 w 484222"/>
                  <a:gd name="connsiteY0" fmla="*/ 13138 h 13137"/>
                  <a:gd name="connsiteX1" fmla="*/ 6569 w 484222"/>
                  <a:gd name="connsiteY1" fmla="*/ 13138 h 13137"/>
                  <a:gd name="connsiteX2" fmla="*/ 0 w 484222"/>
                  <a:gd name="connsiteY2" fmla="*/ 6569 h 13137"/>
                  <a:gd name="connsiteX3" fmla="*/ 6569 w 484222"/>
                  <a:gd name="connsiteY3" fmla="*/ 0 h 13137"/>
                  <a:gd name="connsiteX4" fmla="*/ 477648 w 484222"/>
                  <a:gd name="connsiteY4" fmla="*/ 0 h 13137"/>
                  <a:gd name="connsiteX5" fmla="*/ 484222 w 484222"/>
                  <a:gd name="connsiteY5" fmla="*/ 6569 h 13137"/>
                  <a:gd name="connsiteX6" fmla="*/ 477648 w 484222"/>
                  <a:gd name="connsiteY6" fmla="*/ 13138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4222" h="13137">
                    <a:moveTo>
                      <a:pt x="477648" y="13138"/>
                    </a:moveTo>
                    <a:lnTo>
                      <a:pt x="6569" y="13138"/>
                    </a:lnTo>
                    <a:cubicBezTo>
                      <a:pt x="2936" y="13138"/>
                      <a:pt x="0" y="10196"/>
                      <a:pt x="0" y="6569"/>
                    </a:cubicBezTo>
                    <a:cubicBezTo>
                      <a:pt x="0" y="2942"/>
                      <a:pt x="2939" y="0"/>
                      <a:pt x="6569" y="0"/>
                    </a:cubicBezTo>
                    <a:lnTo>
                      <a:pt x="477648" y="0"/>
                    </a:lnTo>
                    <a:cubicBezTo>
                      <a:pt x="481264" y="0"/>
                      <a:pt x="484222" y="2942"/>
                      <a:pt x="484222" y="6569"/>
                    </a:cubicBezTo>
                    <a:cubicBezTo>
                      <a:pt x="484222" y="10196"/>
                      <a:pt x="481264" y="13138"/>
                      <a:pt x="477648" y="13138"/>
                    </a:cubicBezTo>
                    <a:close/>
                  </a:path>
                </a:pathLst>
              </a:custGeom>
              <a:solidFill>
                <a:schemeClr val="accent1"/>
              </a:solidFill>
              <a:ln w="274" cap="flat">
                <a:noFill/>
                <a:prstDash val="solid"/>
                <a:miter/>
              </a:ln>
            </p:spPr>
            <p:txBody>
              <a:bodyPr rtlCol="0" anchor="ctr"/>
              <a:lstStyle/>
              <a:p>
                <a:endParaRPr lang="en-GB" dirty="0"/>
              </a:p>
            </p:txBody>
          </p:sp>
        </p:grpSp>
      </p:grpSp>
      <p:sp>
        <p:nvSpPr>
          <p:cNvPr id="808" name="TextBox 1418">
            <a:extLst>
              <a:ext uri="{FF2B5EF4-FFF2-40B4-BE49-F238E27FC236}">
                <a16:creationId xmlns:a16="http://schemas.microsoft.com/office/drawing/2014/main" id="{47F4AB36-0FB9-41F5-BA86-CD4A27FC7D87}"/>
              </a:ext>
            </a:extLst>
          </p:cNvPr>
          <p:cNvSpPr txBox="1"/>
          <p:nvPr/>
        </p:nvSpPr>
        <p:spPr>
          <a:xfrm>
            <a:off x="8220840" y="2899619"/>
            <a:ext cx="243656" cy="215444"/>
          </a:xfrm>
          <a:prstGeom prst="rect">
            <a:avLst/>
          </a:prstGeom>
          <a:noFill/>
          <a:effectLst/>
        </p:spPr>
        <p:txBody>
          <a:bodyPr wrap="none" lIns="0" tIns="0" rIns="0" bIns="0" rtlCol="0" anchor="t">
            <a:spAutoFit/>
          </a:bodyPr>
          <a:lstStyle/>
          <a:p>
            <a:pPr algn="ctr"/>
            <a:r>
              <a:rPr lang="en-GB" sz="700" dirty="0">
                <a:solidFill>
                  <a:schemeClr val="tx2"/>
                </a:solidFill>
              </a:rPr>
              <a:t>Focus</a:t>
            </a:r>
            <a:br>
              <a:rPr lang="en-GB" sz="700" dirty="0">
                <a:solidFill>
                  <a:schemeClr val="tx2"/>
                </a:solidFill>
              </a:rPr>
            </a:br>
            <a:r>
              <a:rPr lang="en-GB" sz="700" dirty="0">
                <a:solidFill>
                  <a:schemeClr val="tx2"/>
                </a:solidFill>
              </a:rPr>
              <a:t>group</a:t>
            </a:r>
          </a:p>
        </p:txBody>
      </p:sp>
      <p:grpSp>
        <p:nvGrpSpPr>
          <p:cNvPr id="55" name="Group 54">
            <a:extLst>
              <a:ext uri="{FF2B5EF4-FFF2-40B4-BE49-F238E27FC236}">
                <a16:creationId xmlns:a16="http://schemas.microsoft.com/office/drawing/2014/main" id="{37A8832B-B427-9DE3-9E22-3C6D407344EE}"/>
              </a:ext>
            </a:extLst>
          </p:cNvPr>
          <p:cNvGrpSpPr/>
          <p:nvPr/>
        </p:nvGrpSpPr>
        <p:grpSpPr>
          <a:xfrm>
            <a:off x="8018668" y="4176413"/>
            <a:ext cx="648000" cy="353041"/>
            <a:chOff x="8018256" y="4176413"/>
            <a:chExt cx="648000" cy="353041"/>
          </a:xfrm>
        </p:grpSpPr>
        <p:grpSp>
          <p:nvGrpSpPr>
            <p:cNvPr id="810" name="Grafik 349">
              <a:extLst>
                <a:ext uri="{FF2B5EF4-FFF2-40B4-BE49-F238E27FC236}">
                  <a16:creationId xmlns:a16="http://schemas.microsoft.com/office/drawing/2014/main" id="{DAED8FEA-AA25-4CD4-AD06-DFDE7034E21F}"/>
                </a:ext>
              </a:extLst>
            </p:cNvPr>
            <p:cNvGrpSpPr/>
            <p:nvPr/>
          </p:nvGrpSpPr>
          <p:grpSpPr>
            <a:xfrm>
              <a:off x="8018256" y="4176413"/>
              <a:ext cx="479820" cy="352633"/>
              <a:chOff x="7754594" y="4237201"/>
              <a:chExt cx="353556" cy="259838"/>
            </a:xfrm>
            <a:solidFill>
              <a:schemeClr val="tx2"/>
            </a:solidFill>
          </p:grpSpPr>
          <p:sp>
            <p:nvSpPr>
              <p:cNvPr id="835" name="Freihandform: Form 834">
                <a:extLst>
                  <a:ext uri="{FF2B5EF4-FFF2-40B4-BE49-F238E27FC236}">
                    <a16:creationId xmlns:a16="http://schemas.microsoft.com/office/drawing/2014/main" id="{8604DE3A-DC3F-4B26-B5C7-251621EA2E5F}"/>
                  </a:ext>
                </a:extLst>
              </p:cNvPr>
              <p:cNvSpPr/>
              <p:nvPr/>
            </p:nvSpPr>
            <p:spPr>
              <a:xfrm>
                <a:off x="7758136" y="4237201"/>
                <a:ext cx="350015" cy="161636"/>
              </a:xfrm>
              <a:custGeom>
                <a:avLst/>
                <a:gdLst>
                  <a:gd name="connsiteX0" fmla="*/ 120711 w 350015"/>
                  <a:gd name="connsiteY0" fmla="*/ 161636 h 161636"/>
                  <a:gd name="connsiteX1" fmla="*/ 110741 w 350015"/>
                  <a:gd name="connsiteY1" fmla="*/ 159637 h 161636"/>
                  <a:gd name="connsiteX2" fmla="*/ 6865 w 350015"/>
                  <a:gd name="connsiteY2" fmla="*/ 110094 h 161636"/>
                  <a:gd name="connsiteX3" fmla="*/ 0 w 350015"/>
                  <a:gd name="connsiteY3" fmla="*/ 100559 h 161636"/>
                  <a:gd name="connsiteX4" fmla="*/ 6802 w 350015"/>
                  <a:gd name="connsiteY4" fmla="*/ 91344 h 161636"/>
                  <a:gd name="connsiteX5" fmla="*/ 202347 w 350015"/>
                  <a:gd name="connsiteY5" fmla="*/ 2178 h 161636"/>
                  <a:gd name="connsiteX6" fmla="*/ 202352 w 350015"/>
                  <a:gd name="connsiteY6" fmla="*/ 2178 h 161636"/>
                  <a:gd name="connsiteX7" fmla="*/ 222744 w 350015"/>
                  <a:gd name="connsiteY7" fmla="*/ 1190 h 161636"/>
                  <a:gd name="connsiteX8" fmla="*/ 341660 w 350015"/>
                  <a:gd name="connsiteY8" fmla="*/ 37794 h 161636"/>
                  <a:gd name="connsiteX9" fmla="*/ 349988 w 350015"/>
                  <a:gd name="connsiteY9" fmla="*/ 46585 h 161636"/>
                  <a:gd name="connsiteX10" fmla="*/ 343276 w 350015"/>
                  <a:gd name="connsiteY10" fmla="*/ 56413 h 161636"/>
                  <a:gd name="connsiteX11" fmla="*/ 131701 w 350015"/>
                  <a:gd name="connsiteY11" fmla="*/ 159335 h 161636"/>
                  <a:gd name="connsiteX12" fmla="*/ 120711 w 350015"/>
                  <a:gd name="connsiteY12" fmla="*/ 161636 h 161636"/>
                  <a:gd name="connsiteX13" fmla="*/ 17855 w 350015"/>
                  <a:gd name="connsiteY13" fmla="*/ 100745 h 161636"/>
                  <a:gd name="connsiteX14" fmla="*/ 116394 w 350015"/>
                  <a:gd name="connsiteY14" fmla="*/ 147776 h 161636"/>
                  <a:gd name="connsiteX15" fmla="*/ 125949 w 350015"/>
                  <a:gd name="connsiteY15" fmla="*/ 147502 h 161636"/>
                  <a:gd name="connsiteX16" fmla="*/ 330375 w 350015"/>
                  <a:gd name="connsiteY16" fmla="*/ 48069 h 161636"/>
                  <a:gd name="connsiteX17" fmla="*/ 218878 w 350015"/>
                  <a:gd name="connsiteY17" fmla="*/ 13757 h 161636"/>
                  <a:gd name="connsiteX18" fmla="*/ 207793 w 350015"/>
                  <a:gd name="connsiteY18" fmla="*/ 14144 h 161636"/>
                  <a:gd name="connsiteX19" fmla="*/ 17855 w 350015"/>
                  <a:gd name="connsiteY19" fmla="*/ 100745 h 161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0015" h="161636">
                    <a:moveTo>
                      <a:pt x="120711" y="161636"/>
                    </a:moveTo>
                    <a:cubicBezTo>
                      <a:pt x="117112" y="161636"/>
                      <a:pt x="113565" y="160979"/>
                      <a:pt x="110741" y="159637"/>
                    </a:cubicBezTo>
                    <a:lnTo>
                      <a:pt x="6865" y="110094"/>
                    </a:lnTo>
                    <a:cubicBezTo>
                      <a:pt x="622" y="107117"/>
                      <a:pt x="-13" y="102441"/>
                      <a:pt x="0" y="100559"/>
                    </a:cubicBezTo>
                    <a:cubicBezTo>
                      <a:pt x="19" y="98710"/>
                      <a:pt x="713" y="94116"/>
                      <a:pt x="6802" y="91344"/>
                    </a:cubicBezTo>
                    <a:lnTo>
                      <a:pt x="202347" y="2178"/>
                    </a:lnTo>
                    <a:lnTo>
                      <a:pt x="202352" y="2178"/>
                    </a:lnTo>
                    <a:cubicBezTo>
                      <a:pt x="207768" y="-284"/>
                      <a:pt x="216545" y="-723"/>
                      <a:pt x="222744" y="1190"/>
                    </a:cubicBezTo>
                    <a:lnTo>
                      <a:pt x="341660" y="37794"/>
                    </a:lnTo>
                    <a:cubicBezTo>
                      <a:pt x="348755" y="39975"/>
                      <a:pt x="349851" y="44667"/>
                      <a:pt x="349988" y="46585"/>
                    </a:cubicBezTo>
                    <a:cubicBezTo>
                      <a:pt x="350152" y="48483"/>
                      <a:pt x="349769" y="53244"/>
                      <a:pt x="343276" y="56413"/>
                    </a:cubicBezTo>
                    <a:lnTo>
                      <a:pt x="131701" y="159335"/>
                    </a:lnTo>
                    <a:cubicBezTo>
                      <a:pt x="128540" y="160869"/>
                      <a:pt x="124593" y="161636"/>
                      <a:pt x="120711" y="161636"/>
                    </a:cubicBezTo>
                    <a:close/>
                    <a:moveTo>
                      <a:pt x="17855" y="100745"/>
                    </a:moveTo>
                    <a:lnTo>
                      <a:pt x="116394" y="147776"/>
                    </a:lnTo>
                    <a:cubicBezTo>
                      <a:pt x="118684" y="148871"/>
                      <a:pt x="123434" y="148734"/>
                      <a:pt x="125949" y="147502"/>
                    </a:cubicBezTo>
                    <a:lnTo>
                      <a:pt x="330375" y="48069"/>
                    </a:lnTo>
                    <a:lnTo>
                      <a:pt x="218878" y="13757"/>
                    </a:lnTo>
                    <a:cubicBezTo>
                      <a:pt x="215432" y="12692"/>
                      <a:pt x="210093" y="13102"/>
                      <a:pt x="207793" y="14144"/>
                    </a:cubicBezTo>
                    <a:lnTo>
                      <a:pt x="17855" y="100745"/>
                    </a:lnTo>
                    <a:close/>
                  </a:path>
                </a:pathLst>
              </a:custGeom>
              <a:grpFill/>
              <a:ln w="274" cap="flat">
                <a:noFill/>
                <a:prstDash val="solid"/>
                <a:miter/>
              </a:ln>
            </p:spPr>
            <p:txBody>
              <a:bodyPr rtlCol="0" anchor="ctr"/>
              <a:lstStyle/>
              <a:p>
                <a:endParaRPr lang="en-GB" dirty="0"/>
              </a:p>
            </p:txBody>
          </p:sp>
          <p:sp>
            <p:nvSpPr>
              <p:cNvPr id="836" name="Freihandform: Form 835">
                <a:extLst>
                  <a:ext uri="{FF2B5EF4-FFF2-40B4-BE49-F238E27FC236}">
                    <a16:creationId xmlns:a16="http://schemas.microsoft.com/office/drawing/2014/main" id="{58CCF4E5-9119-4F78-8D5C-555CE39A2F18}"/>
                  </a:ext>
                </a:extLst>
              </p:cNvPr>
              <p:cNvSpPr/>
              <p:nvPr/>
            </p:nvSpPr>
            <p:spPr>
              <a:xfrm>
                <a:off x="8008465" y="4318424"/>
                <a:ext cx="86159" cy="48364"/>
              </a:xfrm>
              <a:custGeom>
                <a:avLst/>
                <a:gdLst>
                  <a:gd name="connsiteX0" fmla="*/ 6579 w 86159"/>
                  <a:gd name="connsiteY0" fmla="*/ 48364 h 48364"/>
                  <a:gd name="connsiteX1" fmla="*/ 662 w 86159"/>
                  <a:gd name="connsiteY1" fmla="*/ 44664 h 48364"/>
                  <a:gd name="connsiteX2" fmla="*/ 3703 w 86159"/>
                  <a:gd name="connsiteY2" fmla="*/ 35892 h 48364"/>
                  <a:gd name="connsiteX3" fmla="*/ 76732 w 86159"/>
                  <a:gd name="connsiteY3" fmla="*/ 649 h 48364"/>
                  <a:gd name="connsiteX4" fmla="*/ 85497 w 86159"/>
                  <a:gd name="connsiteY4" fmla="*/ 3709 h 48364"/>
                  <a:gd name="connsiteX5" fmla="*/ 82457 w 86159"/>
                  <a:gd name="connsiteY5" fmla="*/ 12480 h 48364"/>
                  <a:gd name="connsiteX6" fmla="*/ 9428 w 86159"/>
                  <a:gd name="connsiteY6" fmla="*/ 47734 h 48364"/>
                  <a:gd name="connsiteX7" fmla="*/ 6579 w 86159"/>
                  <a:gd name="connsiteY7" fmla="*/ 48364 h 48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59" h="48364">
                    <a:moveTo>
                      <a:pt x="6579" y="48364"/>
                    </a:moveTo>
                    <a:cubicBezTo>
                      <a:pt x="4141" y="48364"/>
                      <a:pt x="1785" y="47011"/>
                      <a:pt x="662" y="44664"/>
                    </a:cubicBezTo>
                    <a:cubicBezTo>
                      <a:pt x="-927" y="41398"/>
                      <a:pt x="443" y="37470"/>
                      <a:pt x="3703" y="35892"/>
                    </a:cubicBezTo>
                    <a:lnTo>
                      <a:pt x="76732" y="649"/>
                    </a:lnTo>
                    <a:cubicBezTo>
                      <a:pt x="79991" y="-918"/>
                      <a:pt x="83936" y="449"/>
                      <a:pt x="85497" y="3709"/>
                    </a:cubicBezTo>
                    <a:cubicBezTo>
                      <a:pt x="87086" y="6974"/>
                      <a:pt x="85717" y="10902"/>
                      <a:pt x="82457" y="12480"/>
                    </a:cubicBezTo>
                    <a:lnTo>
                      <a:pt x="9428" y="47734"/>
                    </a:lnTo>
                    <a:cubicBezTo>
                      <a:pt x="8497" y="48172"/>
                      <a:pt x="7538" y="48364"/>
                      <a:pt x="6579" y="48364"/>
                    </a:cubicBezTo>
                    <a:close/>
                  </a:path>
                </a:pathLst>
              </a:custGeom>
              <a:grpFill/>
              <a:ln w="274" cap="flat">
                <a:noFill/>
                <a:prstDash val="solid"/>
                <a:miter/>
              </a:ln>
            </p:spPr>
            <p:txBody>
              <a:bodyPr rtlCol="0" anchor="ctr"/>
              <a:lstStyle/>
              <a:p>
                <a:endParaRPr lang="en-GB" dirty="0"/>
              </a:p>
            </p:txBody>
          </p:sp>
          <p:sp>
            <p:nvSpPr>
              <p:cNvPr id="837" name="Freihandform: Form 836">
                <a:extLst>
                  <a:ext uri="{FF2B5EF4-FFF2-40B4-BE49-F238E27FC236}">
                    <a16:creationId xmlns:a16="http://schemas.microsoft.com/office/drawing/2014/main" id="{87F98BED-4BAB-46E4-BC4D-4E1D4D099EA5}"/>
                  </a:ext>
                </a:extLst>
              </p:cNvPr>
              <p:cNvSpPr/>
              <p:nvPr/>
            </p:nvSpPr>
            <p:spPr>
              <a:xfrm>
                <a:off x="7754594" y="4361583"/>
                <a:ext cx="207581" cy="70892"/>
              </a:xfrm>
              <a:custGeom>
                <a:avLst/>
                <a:gdLst>
                  <a:gd name="connsiteX0" fmla="*/ 120720 w 207581"/>
                  <a:gd name="connsiteY0" fmla="*/ 70892 h 70892"/>
                  <a:gd name="connsiteX1" fmla="*/ 110735 w 207581"/>
                  <a:gd name="connsiteY1" fmla="*/ 68865 h 70892"/>
                  <a:gd name="connsiteX2" fmla="*/ 6865 w 207581"/>
                  <a:gd name="connsiteY2" fmla="*/ 19340 h 70892"/>
                  <a:gd name="connsiteX3" fmla="*/ 0 w 207581"/>
                  <a:gd name="connsiteY3" fmla="*/ 9807 h 70892"/>
                  <a:gd name="connsiteX4" fmla="*/ 6802 w 207581"/>
                  <a:gd name="connsiteY4" fmla="*/ 597 h 70892"/>
                  <a:gd name="connsiteX5" fmla="*/ 15502 w 207581"/>
                  <a:gd name="connsiteY5" fmla="*/ 3857 h 70892"/>
                  <a:gd name="connsiteX6" fmla="*/ 15650 w 207581"/>
                  <a:gd name="connsiteY6" fmla="*/ 8958 h 70892"/>
                  <a:gd name="connsiteX7" fmla="*/ 116397 w 207581"/>
                  <a:gd name="connsiteY7" fmla="*/ 57004 h 70892"/>
                  <a:gd name="connsiteX8" fmla="*/ 125951 w 207581"/>
                  <a:gd name="connsiteY8" fmla="*/ 56758 h 70892"/>
                  <a:gd name="connsiteX9" fmla="*/ 198134 w 207581"/>
                  <a:gd name="connsiteY9" fmla="*/ 21640 h 70892"/>
                  <a:gd name="connsiteX10" fmla="*/ 206919 w 207581"/>
                  <a:gd name="connsiteY10" fmla="*/ 24681 h 70892"/>
                  <a:gd name="connsiteX11" fmla="*/ 203884 w 207581"/>
                  <a:gd name="connsiteY11" fmla="*/ 33474 h 70892"/>
                  <a:gd name="connsiteX12" fmla="*/ 131701 w 207581"/>
                  <a:gd name="connsiteY12" fmla="*/ 68591 h 70892"/>
                  <a:gd name="connsiteX13" fmla="*/ 120720 w 207581"/>
                  <a:gd name="connsiteY13" fmla="*/ 70892 h 7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7581" h="70892">
                    <a:moveTo>
                      <a:pt x="120720" y="70892"/>
                    </a:moveTo>
                    <a:cubicBezTo>
                      <a:pt x="117115" y="70892"/>
                      <a:pt x="113559" y="70207"/>
                      <a:pt x="110735" y="68865"/>
                    </a:cubicBezTo>
                    <a:lnTo>
                      <a:pt x="6865" y="19340"/>
                    </a:lnTo>
                    <a:cubicBezTo>
                      <a:pt x="622" y="16381"/>
                      <a:pt x="-13" y="11697"/>
                      <a:pt x="0" y="9807"/>
                    </a:cubicBezTo>
                    <a:cubicBezTo>
                      <a:pt x="19" y="7972"/>
                      <a:pt x="712" y="3369"/>
                      <a:pt x="6802" y="597"/>
                    </a:cubicBezTo>
                    <a:cubicBezTo>
                      <a:pt x="10114" y="-923"/>
                      <a:pt x="14000" y="565"/>
                      <a:pt x="15502" y="3857"/>
                    </a:cubicBezTo>
                    <a:cubicBezTo>
                      <a:pt x="16266" y="5534"/>
                      <a:pt x="16266" y="7341"/>
                      <a:pt x="15650" y="8958"/>
                    </a:cubicBezTo>
                    <a:lnTo>
                      <a:pt x="116397" y="57004"/>
                    </a:lnTo>
                    <a:cubicBezTo>
                      <a:pt x="118706" y="58127"/>
                      <a:pt x="123434" y="57990"/>
                      <a:pt x="125951" y="56758"/>
                    </a:cubicBezTo>
                    <a:lnTo>
                      <a:pt x="198134" y="21640"/>
                    </a:lnTo>
                    <a:cubicBezTo>
                      <a:pt x="201399" y="20052"/>
                      <a:pt x="205338" y="21421"/>
                      <a:pt x="206919" y="24681"/>
                    </a:cubicBezTo>
                    <a:cubicBezTo>
                      <a:pt x="208505" y="27941"/>
                      <a:pt x="207149" y="31885"/>
                      <a:pt x="203884" y="33474"/>
                    </a:cubicBezTo>
                    <a:lnTo>
                      <a:pt x="131701" y="68591"/>
                    </a:lnTo>
                    <a:cubicBezTo>
                      <a:pt x="128540" y="70125"/>
                      <a:pt x="124601" y="70892"/>
                      <a:pt x="120720" y="70892"/>
                    </a:cubicBezTo>
                    <a:close/>
                  </a:path>
                </a:pathLst>
              </a:custGeom>
              <a:grpFill/>
              <a:ln w="274" cap="flat">
                <a:noFill/>
                <a:prstDash val="solid"/>
                <a:miter/>
              </a:ln>
            </p:spPr>
            <p:txBody>
              <a:bodyPr rtlCol="0" anchor="ctr"/>
              <a:lstStyle/>
              <a:p>
                <a:endParaRPr lang="en-GB" dirty="0"/>
              </a:p>
            </p:txBody>
          </p:sp>
          <p:sp>
            <p:nvSpPr>
              <p:cNvPr id="838" name="Freihandform: Form 837">
                <a:extLst>
                  <a:ext uri="{FF2B5EF4-FFF2-40B4-BE49-F238E27FC236}">
                    <a16:creationId xmlns:a16="http://schemas.microsoft.com/office/drawing/2014/main" id="{8CF1127E-86A8-4EAF-A720-A4377149C74F}"/>
                  </a:ext>
                </a:extLst>
              </p:cNvPr>
              <p:cNvSpPr/>
              <p:nvPr/>
            </p:nvSpPr>
            <p:spPr>
              <a:xfrm>
                <a:off x="7758136" y="4393852"/>
                <a:ext cx="203817" cy="70892"/>
              </a:xfrm>
              <a:custGeom>
                <a:avLst/>
                <a:gdLst>
                  <a:gd name="connsiteX0" fmla="*/ 120711 w 203817"/>
                  <a:gd name="connsiteY0" fmla="*/ 70892 h 70892"/>
                  <a:gd name="connsiteX1" fmla="*/ 110741 w 203817"/>
                  <a:gd name="connsiteY1" fmla="*/ 68892 h 70892"/>
                  <a:gd name="connsiteX2" fmla="*/ 6865 w 203817"/>
                  <a:gd name="connsiteY2" fmla="*/ 19339 h 70892"/>
                  <a:gd name="connsiteX3" fmla="*/ 0 w 203817"/>
                  <a:gd name="connsiteY3" fmla="*/ 9806 h 70892"/>
                  <a:gd name="connsiteX4" fmla="*/ 6802 w 203817"/>
                  <a:gd name="connsiteY4" fmla="*/ 602 h 70892"/>
                  <a:gd name="connsiteX5" fmla="*/ 15502 w 203817"/>
                  <a:gd name="connsiteY5" fmla="*/ 3862 h 70892"/>
                  <a:gd name="connsiteX6" fmla="*/ 15650 w 203817"/>
                  <a:gd name="connsiteY6" fmla="*/ 8930 h 70892"/>
                  <a:gd name="connsiteX7" fmla="*/ 116394 w 203817"/>
                  <a:gd name="connsiteY7" fmla="*/ 57031 h 70892"/>
                  <a:gd name="connsiteX8" fmla="*/ 125949 w 203817"/>
                  <a:gd name="connsiteY8" fmla="*/ 56757 h 70892"/>
                  <a:gd name="connsiteX9" fmla="*/ 194370 w 203817"/>
                  <a:gd name="connsiteY9" fmla="*/ 23475 h 70892"/>
                  <a:gd name="connsiteX10" fmla="*/ 203155 w 203817"/>
                  <a:gd name="connsiteY10" fmla="*/ 26516 h 70892"/>
                  <a:gd name="connsiteX11" fmla="*/ 200120 w 203817"/>
                  <a:gd name="connsiteY11" fmla="*/ 35309 h 70892"/>
                  <a:gd name="connsiteX12" fmla="*/ 131699 w 203817"/>
                  <a:gd name="connsiteY12" fmla="*/ 68591 h 70892"/>
                  <a:gd name="connsiteX13" fmla="*/ 120711 w 203817"/>
                  <a:gd name="connsiteY13" fmla="*/ 70892 h 7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3817" h="70892">
                    <a:moveTo>
                      <a:pt x="120711" y="70892"/>
                    </a:moveTo>
                    <a:cubicBezTo>
                      <a:pt x="117112" y="70892"/>
                      <a:pt x="113565" y="70234"/>
                      <a:pt x="110741" y="68892"/>
                    </a:cubicBezTo>
                    <a:lnTo>
                      <a:pt x="6865" y="19339"/>
                    </a:lnTo>
                    <a:cubicBezTo>
                      <a:pt x="622" y="16353"/>
                      <a:pt x="-13" y="11696"/>
                      <a:pt x="0" y="9806"/>
                    </a:cubicBezTo>
                    <a:cubicBezTo>
                      <a:pt x="19" y="7971"/>
                      <a:pt x="713" y="3369"/>
                      <a:pt x="6802" y="602"/>
                    </a:cubicBezTo>
                    <a:cubicBezTo>
                      <a:pt x="10114" y="-932"/>
                      <a:pt x="14001" y="575"/>
                      <a:pt x="15502" y="3862"/>
                    </a:cubicBezTo>
                    <a:cubicBezTo>
                      <a:pt x="16266" y="5533"/>
                      <a:pt x="16266" y="7368"/>
                      <a:pt x="15650" y="8930"/>
                    </a:cubicBezTo>
                    <a:lnTo>
                      <a:pt x="116394" y="57031"/>
                    </a:lnTo>
                    <a:cubicBezTo>
                      <a:pt x="118684" y="58100"/>
                      <a:pt x="123434" y="57990"/>
                      <a:pt x="125949" y="56757"/>
                    </a:cubicBezTo>
                    <a:lnTo>
                      <a:pt x="194370" y="23475"/>
                    </a:lnTo>
                    <a:cubicBezTo>
                      <a:pt x="197644" y="21914"/>
                      <a:pt x="201569" y="23256"/>
                      <a:pt x="203155" y="26516"/>
                    </a:cubicBezTo>
                    <a:cubicBezTo>
                      <a:pt x="204741" y="29776"/>
                      <a:pt x="203380" y="33720"/>
                      <a:pt x="200120" y="35309"/>
                    </a:cubicBezTo>
                    <a:lnTo>
                      <a:pt x="131699" y="68591"/>
                    </a:lnTo>
                    <a:cubicBezTo>
                      <a:pt x="128540" y="70125"/>
                      <a:pt x="124593" y="70892"/>
                      <a:pt x="120711" y="70892"/>
                    </a:cubicBezTo>
                    <a:close/>
                  </a:path>
                </a:pathLst>
              </a:custGeom>
              <a:grpFill/>
              <a:ln w="274" cap="flat">
                <a:noFill/>
                <a:prstDash val="solid"/>
                <a:miter/>
              </a:ln>
            </p:spPr>
            <p:txBody>
              <a:bodyPr rtlCol="0" anchor="ctr"/>
              <a:lstStyle/>
              <a:p>
                <a:endParaRPr lang="en-GB" dirty="0"/>
              </a:p>
            </p:txBody>
          </p:sp>
          <p:sp>
            <p:nvSpPr>
              <p:cNvPr id="839" name="Freihandform: Form 838">
                <a:extLst>
                  <a:ext uri="{FF2B5EF4-FFF2-40B4-BE49-F238E27FC236}">
                    <a16:creationId xmlns:a16="http://schemas.microsoft.com/office/drawing/2014/main" id="{291382AE-389E-49F8-970E-5BAECE281E9F}"/>
                  </a:ext>
                </a:extLst>
              </p:cNvPr>
              <p:cNvSpPr/>
              <p:nvPr/>
            </p:nvSpPr>
            <p:spPr>
              <a:xfrm>
                <a:off x="7758139" y="4426156"/>
                <a:ext cx="217524" cy="70884"/>
              </a:xfrm>
              <a:custGeom>
                <a:avLst/>
                <a:gdLst>
                  <a:gd name="connsiteX0" fmla="*/ 120717 w 217524"/>
                  <a:gd name="connsiteY0" fmla="*/ 70884 h 70884"/>
                  <a:gd name="connsiteX1" fmla="*/ 110741 w 217524"/>
                  <a:gd name="connsiteY1" fmla="*/ 68885 h 70884"/>
                  <a:gd name="connsiteX2" fmla="*/ 6865 w 217524"/>
                  <a:gd name="connsiteY2" fmla="*/ 19359 h 70884"/>
                  <a:gd name="connsiteX3" fmla="*/ 0 w 217524"/>
                  <a:gd name="connsiteY3" fmla="*/ 9826 h 70884"/>
                  <a:gd name="connsiteX4" fmla="*/ 6794 w 217524"/>
                  <a:gd name="connsiteY4" fmla="*/ 595 h 70884"/>
                  <a:gd name="connsiteX5" fmla="*/ 15494 w 217524"/>
                  <a:gd name="connsiteY5" fmla="*/ 3855 h 70884"/>
                  <a:gd name="connsiteX6" fmla="*/ 15647 w 217524"/>
                  <a:gd name="connsiteY6" fmla="*/ 8950 h 70884"/>
                  <a:gd name="connsiteX7" fmla="*/ 116392 w 217524"/>
                  <a:gd name="connsiteY7" fmla="*/ 57024 h 70884"/>
                  <a:gd name="connsiteX8" fmla="*/ 125946 w 217524"/>
                  <a:gd name="connsiteY8" fmla="*/ 56777 h 70884"/>
                  <a:gd name="connsiteX9" fmla="*/ 208086 w 217524"/>
                  <a:gd name="connsiteY9" fmla="*/ 16948 h 70884"/>
                  <a:gd name="connsiteX10" fmla="*/ 216862 w 217524"/>
                  <a:gd name="connsiteY10" fmla="*/ 19989 h 70884"/>
                  <a:gd name="connsiteX11" fmla="*/ 213822 w 217524"/>
                  <a:gd name="connsiteY11" fmla="*/ 28755 h 70884"/>
                  <a:gd name="connsiteX12" fmla="*/ 131690 w 217524"/>
                  <a:gd name="connsiteY12" fmla="*/ 68584 h 70884"/>
                  <a:gd name="connsiteX13" fmla="*/ 120717 w 217524"/>
                  <a:gd name="connsiteY13" fmla="*/ 70884 h 70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7524" h="70884">
                    <a:moveTo>
                      <a:pt x="120717" y="70884"/>
                    </a:moveTo>
                    <a:cubicBezTo>
                      <a:pt x="117112" y="70884"/>
                      <a:pt x="113562" y="70227"/>
                      <a:pt x="110741" y="68885"/>
                    </a:cubicBezTo>
                    <a:lnTo>
                      <a:pt x="6865" y="19359"/>
                    </a:lnTo>
                    <a:cubicBezTo>
                      <a:pt x="622" y="16373"/>
                      <a:pt x="-13" y="11689"/>
                      <a:pt x="0" y="9826"/>
                    </a:cubicBezTo>
                    <a:cubicBezTo>
                      <a:pt x="19" y="7963"/>
                      <a:pt x="707" y="3389"/>
                      <a:pt x="6794" y="595"/>
                    </a:cubicBezTo>
                    <a:cubicBezTo>
                      <a:pt x="10078" y="-912"/>
                      <a:pt x="13987" y="540"/>
                      <a:pt x="15494" y="3855"/>
                    </a:cubicBezTo>
                    <a:cubicBezTo>
                      <a:pt x="16263" y="5526"/>
                      <a:pt x="16263" y="7361"/>
                      <a:pt x="15647" y="8950"/>
                    </a:cubicBezTo>
                    <a:lnTo>
                      <a:pt x="116392" y="57024"/>
                    </a:lnTo>
                    <a:cubicBezTo>
                      <a:pt x="118682" y="58119"/>
                      <a:pt x="123432" y="57983"/>
                      <a:pt x="125946" y="56777"/>
                    </a:cubicBezTo>
                    <a:lnTo>
                      <a:pt x="208086" y="16948"/>
                    </a:lnTo>
                    <a:cubicBezTo>
                      <a:pt x="211351" y="15359"/>
                      <a:pt x="215290" y="16729"/>
                      <a:pt x="216862" y="19989"/>
                    </a:cubicBezTo>
                    <a:cubicBezTo>
                      <a:pt x="218448" y="23249"/>
                      <a:pt x="217087" y="27193"/>
                      <a:pt x="213822" y="28755"/>
                    </a:cubicBezTo>
                    <a:lnTo>
                      <a:pt x="131690" y="68584"/>
                    </a:lnTo>
                    <a:cubicBezTo>
                      <a:pt x="128529" y="70117"/>
                      <a:pt x="124590" y="70884"/>
                      <a:pt x="120717" y="70884"/>
                    </a:cubicBezTo>
                    <a:close/>
                  </a:path>
                </a:pathLst>
              </a:custGeom>
              <a:grpFill/>
              <a:ln w="274" cap="flat">
                <a:noFill/>
                <a:prstDash val="solid"/>
                <a:miter/>
              </a:ln>
            </p:spPr>
            <p:txBody>
              <a:bodyPr rtlCol="0" anchor="ctr"/>
              <a:lstStyle/>
              <a:p>
                <a:endParaRPr lang="en-GB" dirty="0"/>
              </a:p>
            </p:txBody>
          </p:sp>
          <p:sp>
            <p:nvSpPr>
              <p:cNvPr id="840" name="Freihandform: Form 839">
                <a:extLst>
                  <a:ext uri="{FF2B5EF4-FFF2-40B4-BE49-F238E27FC236}">
                    <a16:creationId xmlns:a16="http://schemas.microsoft.com/office/drawing/2014/main" id="{B1C82C1C-E366-4115-8E72-828E979665EE}"/>
                  </a:ext>
                </a:extLst>
              </p:cNvPr>
              <p:cNvSpPr/>
              <p:nvPr/>
            </p:nvSpPr>
            <p:spPr>
              <a:xfrm>
                <a:off x="7822835" y="4307360"/>
                <a:ext cx="113884" cy="60633"/>
              </a:xfrm>
              <a:custGeom>
                <a:avLst/>
                <a:gdLst>
                  <a:gd name="connsiteX0" fmla="*/ 45453 w 113884"/>
                  <a:gd name="connsiteY0" fmla="*/ 60634 h 60633"/>
                  <a:gd name="connsiteX1" fmla="*/ 42708 w 113884"/>
                  <a:gd name="connsiteY1" fmla="*/ 60031 h 60633"/>
                  <a:gd name="connsiteX2" fmla="*/ 4205 w 113884"/>
                  <a:gd name="connsiteY2" fmla="*/ 42305 h 60633"/>
                  <a:gd name="connsiteX3" fmla="*/ 381 w 113884"/>
                  <a:gd name="connsiteY3" fmla="*/ 36358 h 60633"/>
                  <a:gd name="connsiteX4" fmla="*/ 4172 w 113884"/>
                  <a:gd name="connsiteY4" fmla="*/ 30384 h 60633"/>
                  <a:gd name="connsiteX5" fmla="*/ 6314 w 113884"/>
                  <a:gd name="connsiteY5" fmla="*/ 29121 h 60633"/>
                  <a:gd name="connsiteX6" fmla="*/ 3901 w 113884"/>
                  <a:gd name="connsiteY6" fmla="*/ 27735 h 60633"/>
                  <a:gd name="connsiteX7" fmla="*/ 0 w 113884"/>
                  <a:gd name="connsiteY7" fmla="*/ 21799 h 60633"/>
                  <a:gd name="connsiteX8" fmla="*/ 3767 w 113884"/>
                  <a:gd name="connsiteY8" fmla="*/ 15786 h 60633"/>
                  <a:gd name="connsiteX9" fmla="*/ 35918 w 113884"/>
                  <a:gd name="connsiteY9" fmla="*/ 633 h 60633"/>
                  <a:gd name="connsiteX10" fmla="*/ 44664 w 113884"/>
                  <a:gd name="connsiteY10" fmla="*/ 3769 h 60633"/>
                  <a:gd name="connsiteX11" fmla="*/ 41527 w 113884"/>
                  <a:gd name="connsiteY11" fmla="*/ 12516 h 60633"/>
                  <a:gd name="connsiteX12" fmla="*/ 18474 w 113884"/>
                  <a:gd name="connsiteY12" fmla="*/ 23385 h 60633"/>
                  <a:gd name="connsiteX13" fmla="*/ 19980 w 113884"/>
                  <a:gd name="connsiteY13" fmla="*/ 29020 h 60633"/>
                  <a:gd name="connsiteX14" fmla="*/ 18666 w 113884"/>
                  <a:gd name="connsiteY14" fmla="*/ 34498 h 60633"/>
                  <a:gd name="connsiteX15" fmla="*/ 45587 w 113884"/>
                  <a:gd name="connsiteY15" fmla="*/ 46893 h 60633"/>
                  <a:gd name="connsiteX16" fmla="*/ 77762 w 113884"/>
                  <a:gd name="connsiteY16" fmla="*/ 46343 h 60633"/>
                  <a:gd name="connsiteX17" fmla="*/ 104530 w 113884"/>
                  <a:gd name="connsiteY17" fmla="*/ 33819 h 60633"/>
                  <a:gd name="connsiteX18" fmla="*/ 113263 w 113884"/>
                  <a:gd name="connsiteY18" fmla="*/ 36983 h 60633"/>
                  <a:gd name="connsiteX19" fmla="*/ 110099 w 113884"/>
                  <a:gd name="connsiteY19" fmla="*/ 45716 h 60633"/>
                  <a:gd name="connsiteX20" fmla="*/ 80811 w 113884"/>
                  <a:gd name="connsiteY20" fmla="*/ 59428 h 60633"/>
                  <a:gd name="connsiteX21" fmla="*/ 75357 w 113884"/>
                  <a:gd name="connsiteY21" fmla="*/ 59483 h 60633"/>
                  <a:gd name="connsiteX22" fmla="*/ 48282 w 113884"/>
                  <a:gd name="connsiteY22" fmla="*/ 59976 h 60633"/>
                  <a:gd name="connsiteX23" fmla="*/ 45453 w 113884"/>
                  <a:gd name="connsiteY23" fmla="*/ 60634 h 6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884" h="60633">
                    <a:moveTo>
                      <a:pt x="45453" y="60634"/>
                    </a:moveTo>
                    <a:cubicBezTo>
                      <a:pt x="44516" y="60634"/>
                      <a:pt x="43579" y="60442"/>
                      <a:pt x="42708" y="60031"/>
                    </a:cubicBezTo>
                    <a:lnTo>
                      <a:pt x="4205" y="42305"/>
                    </a:lnTo>
                    <a:cubicBezTo>
                      <a:pt x="1882" y="41234"/>
                      <a:pt x="387" y="38911"/>
                      <a:pt x="381" y="36358"/>
                    </a:cubicBezTo>
                    <a:cubicBezTo>
                      <a:pt x="376" y="33797"/>
                      <a:pt x="1857" y="31469"/>
                      <a:pt x="4172" y="30384"/>
                    </a:cubicBezTo>
                    <a:cubicBezTo>
                      <a:pt x="5186" y="29915"/>
                      <a:pt x="5873" y="29466"/>
                      <a:pt x="6314" y="29121"/>
                    </a:cubicBezTo>
                    <a:cubicBezTo>
                      <a:pt x="5832" y="28743"/>
                      <a:pt x="5057" y="28247"/>
                      <a:pt x="3901" y="27735"/>
                    </a:cubicBezTo>
                    <a:cubicBezTo>
                      <a:pt x="1553" y="26689"/>
                      <a:pt x="33" y="24374"/>
                      <a:pt x="0" y="21799"/>
                    </a:cubicBezTo>
                    <a:cubicBezTo>
                      <a:pt x="-24" y="19232"/>
                      <a:pt x="1444" y="16885"/>
                      <a:pt x="3767" y="15786"/>
                    </a:cubicBezTo>
                    <a:lnTo>
                      <a:pt x="35918" y="633"/>
                    </a:lnTo>
                    <a:cubicBezTo>
                      <a:pt x="39202" y="-926"/>
                      <a:pt x="43122" y="499"/>
                      <a:pt x="44664" y="3769"/>
                    </a:cubicBezTo>
                    <a:cubicBezTo>
                      <a:pt x="46209" y="7053"/>
                      <a:pt x="44806" y="10968"/>
                      <a:pt x="41527" y="12516"/>
                    </a:cubicBezTo>
                    <a:lnTo>
                      <a:pt x="18474" y="23385"/>
                    </a:lnTo>
                    <a:cubicBezTo>
                      <a:pt x="19668" y="25546"/>
                      <a:pt x="19969" y="27568"/>
                      <a:pt x="19980" y="29020"/>
                    </a:cubicBezTo>
                    <a:cubicBezTo>
                      <a:pt x="19994" y="30425"/>
                      <a:pt x="19742" y="32389"/>
                      <a:pt x="18666" y="34498"/>
                    </a:cubicBezTo>
                    <a:lnTo>
                      <a:pt x="45587" y="46893"/>
                    </a:lnTo>
                    <a:cubicBezTo>
                      <a:pt x="55218" y="43385"/>
                      <a:pt x="68197" y="43174"/>
                      <a:pt x="77762" y="46343"/>
                    </a:cubicBezTo>
                    <a:lnTo>
                      <a:pt x="104530" y="33819"/>
                    </a:lnTo>
                    <a:cubicBezTo>
                      <a:pt x="107809" y="32271"/>
                      <a:pt x="111724" y="33690"/>
                      <a:pt x="113263" y="36983"/>
                    </a:cubicBezTo>
                    <a:cubicBezTo>
                      <a:pt x="114803" y="40267"/>
                      <a:pt x="113384" y="44181"/>
                      <a:pt x="110099" y="45716"/>
                    </a:cubicBezTo>
                    <a:lnTo>
                      <a:pt x="80811" y="59428"/>
                    </a:lnTo>
                    <a:cubicBezTo>
                      <a:pt x="79086" y="60250"/>
                      <a:pt x="77097" y="60250"/>
                      <a:pt x="75357" y="59483"/>
                    </a:cubicBezTo>
                    <a:cubicBezTo>
                      <a:pt x="68191" y="56289"/>
                      <a:pt x="55525" y="56525"/>
                      <a:pt x="48282" y="59976"/>
                    </a:cubicBezTo>
                    <a:cubicBezTo>
                      <a:pt x="47390" y="60415"/>
                      <a:pt x="46423" y="60634"/>
                      <a:pt x="45453" y="60634"/>
                    </a:cubicBezTo>
                    <a:close/>
                  </a:path>
                </a:pathLst>
              </a:custGeom>
              <a:grpFill/>
              <a:ln w="274" cap="flat">
                <a:noFill/>
                <a:prstDash val="solid"/>
                <a:miter/>
              </a:ln>
            </p:spPr>
            <p:txBody>
              <a:bodyPr rtlCol="0" anchor="ctr"/>
              <a:lstStyle/>
              <a:p>
                <a:endParaRPr lang="en-GB" dirty="0"/>
              </a:p>
            </p:txBody>
          </p:sp>
          <p:sp>
            <p:nvSpPr>
              <p:cNvPr id="841" name="Freihandform: Form 840">
                <a:extLst>
                  <a:ext uri="{FF2B5EF4-FFF2-40B4-BE49-F238E27FC236}">
                    <a16:creationId xmlns:a16="http://schemas.microsoft.com/office/drawing/2014/main" id="{913F5F32-9C7E-4788-BB22-68B78606C897}"/>
                  </a:ext>
                </a:extLst>
              </p:cNvPr>
              <p:cNvSpPr/>
              <p:nvPr/>
            </p:nvSpPr>
            <p:spPr>
              <a:xfrm>
                <a:off x="7917000" y="4266155"/>
                <a:ext cx="116107" cy="57727"/>
              </a:xfrm>
              <a:custGeom>
                <a:avLst/>
                <a:gdLst>
                  <a:gd name="connsiteX0" fmla="*/ 74157 w 116107"/>
                  <a:gd name="connsiteY0" fmla="*/ 57727 h 57727"/>
                  <a:gd name="connsiteX1" fmla="*/ 68240 w 116107"/>
                  <a:gd name="connsiteY1" fmla="*/ 54013 h 57727"/>
                  <a:gd name="connsiteX2" fmla="*/ 71308 w 116107"/>
                  <a:gd name="connsiteY2" fmla="*/ 45242 h 57727"/>
                  <a:gd name="connsiteX3" fmla="*/ 96838 w 116107"/>
                  <a:gd name="connsiteY3" fmla="*/ 32937 h 57727"/>
                  <a:gd name="connsiteX4" fmla="*/ 95195 w 116107"/>
                  <a:gd name="connsiteY4" fmla="*/ 27880 h 57727"/>
                  <a:gd name="connsiteX5" fmla="*/ 95907 w 116107"/>
                  <a:gd name="connsiteY5" fmla="*/ 23358 h 57727"/>
                  <a:gd name="connsiteX6" fmla="*/ 65350 w 116107"/>
                  <a:gd name="connsiteY6" fmla="*/ 13568 h 57727"/>
                  <a:gd name="connsiteX7" fmla="*/ 31981 w 116107"/>
                  <a:gd name="connsiteY7" fmla="*/ 15036 h 57727"/>
                  <a:gd name="connsiteX8" fmla="*/ 9324 w 116107"/>
                  <a:gd name="connsiteY8" fmla="*/ 25481 h 57727"/>
                  <a:gd name="connsiteX9" fmla="*/ 605 w 116107"/>
                  <a:gd name="connsiteY9" fmla="*/ 22268 h 57727"/>
                  <a:gd name="connsiteX10" fmla="*/ 3821 w 116107"/>
                  <a:gd name="connsiteY10" fmla="*/ 13549 h 57727"/>
                  <a:gd name="connsiteX11" fmla="*/ 28710 w 116107"/>
                  <a:gd name="connsiteY11" fmla="*/ 2077 h 57727"/>
                  <a:gd name="connsiteX12" fmla="*/ 33542 w 116107"/>
                  <a:gd name="connsiteY12" fmla="*/ 1814 h 57727"/>
                  <a:gd name="connsiteX13" fmla="*/ 62299 w 116107"/>
                  <a:gd name="connsiteY13" fmla="*/ 619 h 57727"/>
                  <a:gd name="connsiteX14" fmla="*/ 67079 w 116107"/>
                  <a:gd name="connsiteY14" fmla="*/ 318 h 57727"/>
                  <a:gd name="connsiteX15" fmla="*/ 110151 w 116107"/>
                  <a:gd name="connsiteY15" fmla="*/ 14127 h 57727"/>
                  <a:gd name="connsiteX16" fmla="*/ 114698 w 116107"/>
                  <a:gd name="connsiteY16" fmla="*/ 19939 h 57727"/>
                  <a:gd name="connsiteX17" fmla="*/ 110973 w 116107"/>
                  <a:gd name="connsiteY17" fmla="*/ 26311 h 57727"/>
                  <a:gd name="connsiteX18" fmla="*/ 109576 w 116107"/>
                  <a:gd name="connsiteY18" fmla="*/ 27056 h 57727"/>
                  <a:gd name="connsiteX19" fmla="*/ 111603 w 116107"/>
                  <a:gd name="connsiteY19" fmla="*/ 27878 h 57727"/>
                  <a:gd name="connsiteX20" fmla="*/ 116095 w 116107"/>
                  <a:gd name="connsiteY20" fmla="*/ 33690 h 57727"/>
                  <a:gd name="connsiteX21" fmla="*/ 112397 w 116107"/>
                  <a:gd name="connsiteY21" fmla="*/ 40024 h 57727"/>
                  <a:gd name="connsiteX22" fmla="*/ 77006 w 116107"/>
                  <a:gd name="connsiteY22" fmla="*/ 57078 h 57727"/>
                  <a:gd name="connsiteX23" fmla="*/ 74157 w 116107"/>
                  <a:gd name="connsiteY23" fmla="*/ 57727 h 5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6107" h="57727">
                    <a:moveTo>
                      <a:pt x="74157" y="57727"/>
                    </a:moveTo>
                    <a:cubicBezTo>
                      <a:pt x="71719" y="57727"/>
                      <a:pt x="69363" y="56360"/>
                      <a:pt x="68240" y="54013"/>
                    </a:cubicBezTo>
                    <a:cubicBezTo>
                      <a:pt x="66668" y="50740"/>
                      <a:pt x="68049" y="46814"/>
                      <a:pt x="71308" y="45242"/>
                    </a:cubicBezTo>
                    <a:lnTo>
                      <a:pt x="96838" y="32937"/>
                    </a:lnTo>
                    <a:cubicBezTo>
                      <a:pt x="95660" y="31031"/>
                      <a:pt x="95304" y="29223"/>
                      <a:pt x="95195" y="27880"/>
                    </a:cubicBezTo>
                    <a:cubicBezTo>
                      <a:pt x="95140" y="26694"/>
                      <a:pt x="95249" y="25108"/>
                      <a:pt x="95907" y="23358"/>
                    </a:cubicBezTo>
                    <a:lnTo>
                      <a:pt x="65350" y="13568"/>
                    </a:lnTo>
                    <a:cubicBezTo>
                      <a:pt x="55862" y="17085"/>
                      <a:pt x="42239" y="17688"/>
                      <a:pt x="31981" y="15036"/>
                    </a:cubicBezTo>
                    <a:lnTo>
                      <a:pt x="9324" y="25481"/>
                    </a:lnTo>
                    <a:cubicBezTo>
                      <a:pt x="6007" y="27009"/>
                      <a:pt x="2120" y="25552"/>
                      <a:pt x="605" y="22268"/>
                    </a:cubicBezTo>
                    <a:cubicBezTo>
                      <a:pt x="-915" y="18970"/>
                      <a:pt x="528" y="15069"/>
                      <a:pt x="3821" y="13549"/>
                    </a:cubicBezTo>
                    <a:lnTo>
                      <a:pt x="28710" y="2077"/>
                    </a:lnTo>
                    <a:cubicBezTo>
                      <a:pt x="30225" y="1384"/>
                      <a:pt x="31964" y="1268"/>
                      <a:pt x="33542" y="1814"/>
                    </a:cubicBezTo>
                    <a:cubicBezTo>
                      <a:pt x="41664" y="4520"/>
                      <a:pt x="55100" y="3964"/>
                      <a:pt x="62299" y="619"/>
                    </a:cubicBezTo>
                    <a:cubicBezTo>
                      <a:pt x="63794" y="-79"/>
                      <a:pt x="65506" y="-197"/>
                      <a:pt x="67079" y="318"/>
                    </a:cubicBezTo>
                    <a:lnTo>
                      <a:pt x="110151" y="14127"/>
                    </a:lnTo>
                    <a:cubicBezTo>
                      <a:pt x="112699" y="14948"/>
                      <a:pt x="114506" y="17252"/>
                      <a:pt x="114698" y="19939"/>
                    </a:cubicBezTo>
                    <a:cubicBezTo>
                      <a:pt x="114863" y="22621"/>
                      <a:pt x="113383" y="25149"/>
                      <a:pt x="110973" y="26311"/>
                    </a:cubicBezTo>
                    <a:cubicBezTo>
                      <a:pt x="110397" y="26579"/>
                      <a:pt x="109959" y="26831"/>
                      <a:pt x="109576" y="27056"/>
                    </a:cubicBezTo>
                    <a:cubicBezTo>
                      <a:pt x="110096" y="27313"/>
                      <a:pt x="110781" y="27596"/>
                      <a:pt x="111603" y="27878"/>
                    </a:cubicBezTo>
                    <a:cubicBezTo>
                      <a:pt x="114150" y="28724"/>
                      <a:pt x="115931" y="31022"/>
                      <a:pt x="116095" y="33690"/>
                    </a:cubicBezTo>
                    <a:cubicBezTo>
                      <a:pt x="116260" y="36359"/>
                      <a:pt x="114808" y="38862"/>
                      <a:pt x="112397" y="40024"/>
                    </a:cubicBezTo>
                    <a:lnTo>
                      <a:pt x="77006" y="57078"/>
                    </a:lnTo>
                    <a:cubicBezTo>
                      <a:pt x="76102" y="57522"/>
                      <a:pt x="75116" y="57727"/>
                      <a:pt x="74157" y="57727"/>
                    </a:cubicBezTo>
                    <a:close/>
                  </a:path>
                </a:pathLst>
              </a:custGeom>
              <a:grpFill/>
              <a:ln w="274" cap="flat">
                <a:noFill/>
                <a:prstDash val="solid"/>
                <a:miter/>
              </a:ln>
            </p:spPr>
            <p:txBody>
              <a:bodyPr rtlCol="0" anchor="ctr"/>
              <a:lstStyle/>
              <a:p>
                <a:endParaRPr lang="en-GB" dirty="0"/>
              </a:p>
            </p:txBody>
          </p:sp>
          <p:sp>
            <p:nvSpPr>
              <p:cNvPr id="842" name="Freihandform: Form 841">
                <a:extLst>
                  <a:ext uri="{FF2B5EF4-FFF2-40B4-BE49-F238E27FC236}">
                    <a16:creationId xmlns:a16="http://schemas.microsoft.com/office/drawing/2014/main" id="{EF02CF8B-657D-4A33-B709-20332712B377}"/>
                  </a:ext>
                </a:extLst>
              </p:cNvPr>
              <p:cNvSpPr/>
              <p:nvPr/>
            </p:nvSpPr>
            <p:spPr>
              <a:xfrm>
                <a:off x="7834674" y="4268861"/>
                <a:ext cx="184806" cy="94565"/>
              </a:xfrm>
              <a:custGeom>
                <a:avLst/>
                <a:gdLst>
                  <a:gd name="connsiteX0" fmla="*/ 122021 w 184806"/>
                  <a:gd name="connsiteY0" fmla="*/ 94566 h 94565"/>
                  <a:gd name="connsiteX1" fmla="*/ 119178 w 184806"/>
                  <a:gd name="connsiteY1" fmla="*/ 93917 h 94565"/>
                  <a:gd name="connsiteX2" fmla="*/ 3720 w 184806"/>
                  <a:gd name="connsiteY2" fmla="*/ 38367 h 94565"/>
                  <a:gd name="connsiteX3" fmla="*/ 1 w 184806"/>
                  <a:gd name="connsiteY3" fmla="*/ 32363 h 94565"/>
                  <a:gd name="connsiteX4" fmla="*/ 3877 w 184806"/>
                  <a:gd name="connsiteY4" fmla="*/ 26454 h 94565"/>
                  <a:gd name="connsiteX5" fmla="*/ 61365 w 184806"/>
                  <a:gd name="connsiteY5" fmla="*/ 579 h 94565"/>
                  <a:gd name="connsiteX6" fmla="*/ 66891 w 184806"/>
                  <a:gd name="connsiteY6" fmla="*/ 642 h 94565"/>
                  <a:gd name="connsiteX7" fmla="*/ 181055 w 184806"/>
                  <a:gd name="connsiteY7" fmla="*/ 55077 h 94565"/>
                  <a:gd name="connsiteX8" fmla="*/ 184150 w 184806"/>
                  <a:gd name="connsiteY8" fmla="*/ 63834 h 94565"/>
                  <a:gd name="connsiteX9" fmla="*/ 175412 w 184806"/>
                  <a:gd name="connsiteY9" fmla="*/ 66932 h 94565"/>
                  <a:gd name="connsiteX10" fmla="*/ 63984 w 184806"/>
                  <a:gd name="connsiteY10" fmla="*/ 13813 h 94565"/>
                  <a:gd name="connsiteX11" fmla="*/ 22139 w 184806"/>
                  <a:gd name="connsiteY11" fmla="*/ 32645 h 94565"/>
                  <a:gd name="connsiteX12" fmla="*/ 124881 w 184806"/>
                  <a:gd name="connsiteY12" fmla="*/ 82075 h 94565"/>
                  <a:gd name="connsiteX13" fmla="*/ 127954 w 184806"/>
                  <a:gd name="connsiteY13" fmla="*/ 90846 h 94565"/>
                  <a:gd name="connsiteX14" fmla="*/ 122021 w 184806"/>
                  <a:gd name="connsiteY14" fmla="*/ 94566 h 94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4806" h="94565">
                    <a:moveTo>
                      <a:pt x="122021" y="94566"/>
                    </a:moveTo>
                    <a:cubicBezTo>
                      <a:pt x="121065" y="94566"/>
                      <a:pt x="120095" y="94361"/>
                      <a:pt x="119178" y="93917"/>
                    </a:cubicBezTo>
                    <a:lnTo>
                      <a:pt x="3720" y="38367"/>
                    </a:lnTo>
                    <a:cubicBezTo>
                      <a:pt x="1417" y="37258"/>
                      <a:pt x="-32" y="34916"/>
                      <a:pt x="1" y="32363"/>
                    </a:cubicBezTo>
                    <a:cubicBezTo>
                      <a:pt x="33" y="29810"/>
                      <a:pt x="1548" y="27506"/>
                      <a:pt x="3877" y="26454"/>
                    </a:cubicBezTo>
                    <a:lnTo>
                      <a:pt x="61365" y="579"/>
                    </a:lnTo>
                    <a:cubicBezTo>
                      <a:pt x="63124" y="-210"/>
                      <a:pt x="65146" y="-196"/>
                      <a:pt x="66891" y="642"/>
                    </a:cubicBezTo>
                    <a:lnTo>
                      <a:pt x="181055" y="55077"/>
                    </a:lnTo>
                    <a:cubicBezTo>
                      <a:pt x="184342" y="56635"/>
                      <a:pt x="185739" y="60555"/>
                      <a:pt x="184150" y="63834"/>
                    </a:cubicBezTo>
                    <a:cubicBezTo>
                      <a:pt x="182616" y="67099"/>
                      <a:pt x="178699" y="68504"/>
                      <a:pt x="175412" y="66932"/>
                    </a:cubicBezTo>
                    <a:lnTo>
                      <a:pt x="63984" y="13813"/>
                    </a:lnTo>
                    <a:lnTo>
                      <a:pt x="22139" y="32645"/>
                    </a:lnTo>
                    <a:lnTo>
                      <a:pt x="124881" y="82075"/>
                    </a:lnTo>
                    <a:cubicBezTo>
                      <a:pt x="128154" y="83647"/>
                      <a:pt x="129527" y="87573"/>
                      <a:pt x="127954" y="90846"/>
                    </a:cubicBezTo>
                    <a:cubicBezTo>
                      <a:pt x="126815" y="93191"/>
                      <a:pt x="124467" y="94566"/>
                      <a:pt x="122021" y="94566"/>
                    </a:cubicBezTo>
                    <a:close/>
                  </a:path>
                </a:pathLst>
              </a:custGeom>
              <a:grpFill/>
              <a:ln w="274" cap="flat">
                <a:noFill/>
                <a:prstDash val="solid"/>
                <a:miter/>
              </a:ln>
            </p:spPr>
            <p:txBody>
              <a:bodyPr rtlCol="0" anchor="ctr"/>
              <a:lstStyle/>
              <a:p>
                <a:endParaRPr lang="en-GB" dirty="0"/>
              </a:p>
            </p:txBody>
          </p:sp>
          <p:sp>
            <p:nvSpPr>
              <p:cNvPr id="843" name="Freihandform: Form 842">
                <a:extLst>
                  <a:ext uri="{FF2B5EF4-FFF2-40B4-BE49-F238E27FC236}">
                    <a16:creationId xmlns:a16="http://schemas.microsoft.com/office/drawing/2014/main" id="{AB5CF932-FFA9-4087-AD34-E1A252086D22}"/>
                  </a:ext>
                </a:extLst>
              </p:cNvPr>
              <p:cNvSpPr/>
              <p:nvPr/>
            </p:nvSpPr>
            <p:spPr>
              <a:xfrm>
                <a:off x="8007784" y="4325943"/>
                <a:ext cx="13450" cy="40031"/>
              </a:xfrm>
              <a:custGeom>
                <a:avLst/>
                <a:gdLst>
                  <a:gd name="connsiteX0" fmla="*/ 6903 w 13450"/>
                  <a:gd name="connsiteY0" fmla="*/ 40032 h 40031"/>
                  <a:gd name="connsiteX1" fmla="*/ 329 w 13450"/>
                  <a:gd name="connsiteY1" fmla="*/ 33539 h 40031"/>
                  <a:gd name="connsiteX2" fmla="*/ 0 w 13450"/>
                  <a:gd name="connsiteY2" fmla="*/ 6648 h 40031"/>
                  <a:gd name="connsiteX3" fmla="*/ 6520 w 13450"/>
                  <a:gd name="connsiteY3" fmla="*/ 0 h 40031"/>
                  <a:gd name="connsiteX4" fmla="*/ 6574 w 13450"/>
                  <a:gd name="connsiteY4" fmla="*/ 0 h 40031"/>
                  <a:gd name="connsiteX5" fmla="*/ 13149 w 13450"/>
                  <a:gd name="connsiteY5" fmla="*/ 6492 h 40031"/>
                  <a:gd name="connsiteX6" fmla="*/ 13450 w 13450"/>
                  <a:gd name="connsiteY6" fmla="*/ 33383 h 40031"/>
                  <a:gd name="connsiteX7" fmla="*/ 6958 w 13450"/>
                  <a:gd name="connsiteY7" fmla="*/ 40032 h 40031"/>
                  <a:gd name="connsiteX8" fmla="*/ 6903 w 13450"/>
                  <a:gd name="connsiteY8" fmla="*/ 40032 h 4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50" h="40031">
                    <a:moveTo>
                      <a:pt x="6903" y="40032"/>
                    </a:moveTo>
                    <a:cubicBezTo>
                      <a:pt x="3287" y="40032"/>
                      <a:pt x="356" y="37139"/>
                      <a:pt x="329" y="33539"/>
                    </a:cubicBezTo>
                    <a:lnTo>
                      <a:pt x="0" y="6648"/>
                    </a:lnTo>
                    <a:cubicBezTo>
                      <a:pt x="-27" y="3016"/>
                      <a:pt x="2876" y="47"/>
                      <a:pt x="6520" y="0"/>
                    </a:cubicBezTo>
                    <a:cubicBezTo>
                      <a:pt x="6520" y="0"/>
                      <a:pt x="6547" y="0"/>
                      <a:pt x="6574" y="0"/>
                    </a:cubicBezTo>
                    <a:cubicBezTo>
                      <a:pt x="10190" y="0"/>
                      <a:pt x="13094" y="2893"/>
                      <a:pt x="13149" y="6492"/>
                    </a:cubicBezTo>
                    <a:lnTo>
                      <a:pt x="13450" y="33383"/>
                    </a:lnTo>
                    <a:cubicBezTo>
                      <a:pt x="13505" y="37016"/>
                      <a:pt x="10601" y="39985"/>
                      <a:pt x="6958" y="40032"/>
                    </a:cubicBezTo>
                    <a:cubicBezTo>
                      <a:pt x="6930" y="40032"/>
                      <a:pt x="6930" y="40032"/>
                      <a:pt x="6903" y="40032"/>
                    </a:cubicBezTo>
                    <a:close/>
                  </a:path>
                </a:pathLst>
              </a:custGeom>
              <a:grpFill/>
              <a:ln w="274" cap="flat">
                <a:noFill/>
                <a:prstDash val="solid"/>
                <a:miter/>
              </a:ln>
            </p:spPr>
            <p:txBody>
              <a:bodyPr rtlCol="0" anchor="ctr"/>
              <a:lstStyle/>
              <a:p>
                <a:endParaRPr lang="en-GB" dirty="0"/>
              </a:p>
            </p:txBody>
          </p:sp>
          <p:sp>
            <p:nvSpPr>
              <p:cNvPr id="844" name="Freihandform: Form 843">
                <a:extLst>
                  <a:ext uri="{FF2B5EF4-FFF2-40B4-BE49-F238E27FC236}">
                    <a16:creationId xmlns:a16="http://schemas.microsoft.com/office/drawing/2014/main" id="{08460B6A-7F7D-48DB-A70E-15F0D4BD6C9D}"/>
                  </a:ext>
                </a:extLst>
              </p:cNvPr>
              <p:cNvSpPr/>
              <p:nvPr/>
            </p:nvSpPr>
            <p:spPr>
              <a:xfrm>
                <a:off x="7949797" y="4350834"/>
                <a:ext cx="13140" cy="109280"/>
              </a:xfrm>
              <a:custGeom>
                <a:avLst/>
                <a:gdLst>
                  <a:gd name="connsiteX0" fmla="*/ 6572 w 13140"/>
                  <a:gd name="connsiteY0" fmla="*/ 109280 h 109280"/>
                  <a:gd name="connsiteX1" fmla="*/ 0 w 13140"/>
                  <a:gd name="connsiteY1" fmla="*/ 102706 h 109280"/>
                  <a:gd name="connsiteX2" fmla="*/ 0 w 13140"/>
                  <a:gd name="connsiteY2" fmla="*/ 6569 h 109280"/>
                  <a:gd name="connsiteX3" fmla="*/ 6572 w 13140"/>
                  <a:gd name="connsiteY3" fmla="*/ 0 h 109280"/>
                  <a:gd name="connsiteX4" fmla="*/ 13140 w 13140"/>
                  <a:gd name="connsiteY4" fmla="*/ 6569 h 109280"/>
                  <a:gd name="connsiteX5" fmla="*/ 13140 w 13140"/>
                  <a:gd name="connsiteY5" fmla="*/ 102706 h 109280"/>
                  <a:gd name="connsiteX6" fmla="*/ 6572 w 13140"/>
                  <a:gd name="connsiteY6" fmla="*/ 109280 h 10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0" h="109280">
                    <a:moveTo>
                      <a:pt x="6572" y="109280"/>
                    </a:moveTo>
                    <a:cubicBezTo>
                      <a:pt x="2939" y="109280"/>
                      <a:pt x="0" y="106349"/>
                      <a:pt x="0" y="102706"/>
                    </a:cubicBezTo>
                    <a:lnTo>
                      <a:pt x="0" y="6569"/>
                    </a:lnTo>
                    <a:cubicBezTo>
                      <a:pt x="0" y="2937"/>
                      <a:pt x="2939" y="0"/>
                      <a:pt x="6572" y="0"/>
                    </a:cubicBezTo>
                    <a:cubicBezTo>
                      <a:pt x="10204" y="0"/>
                      <a:pt x="13140" y="2939"/>
                      <a:pt x="13140" y="6569"/>
                    </a:cubicBezTo>
                    <a:lnTo>
                      <a:pt x="13140" y="102706"/>
                    </a:lnTo>
                    <a:cubicBezTo>
                      <a:pt x="13140" y="106349"/>
                      <a:pt x="10201" y="109280"/>
                      <a:pt x="6572" y="109280"/>
                    </a:cubicBezTo>
                    <a:close/>
                  </a:path>
                </a:pathLst>
              </a:custGeom>
              <a:grpFill/>
              <a:ln w="274" cap="flat">
                <a:noFill/>
                <a:prstDash val="solid"/>
                <a:miter/>
              </a:ln>
            </p:spPr>
            <p:txBody>
              <a:bodyPr rtlCol="0" anchor="ctr"/>
              <a:lstStyle/>
              <a:p>
                <a:endParaRPr lang="en-GB" dirty="0"/>
              </a:p>
            </p:txBody>
          </p:sp>
        </p:grpSp>
        <p:grpSp>
          <p:nvGrpSpPr>
            <p:cNvPr id="811" name="Grafik 349">
              <a:extLst>
                <a:ext uri="{FF2B5EF4-FFF2-40B4-BE49-F238E27FC236}">
                  <a16:creationId xmlns:a16="http://schemas.microsoft.com/office/drawing/2014/main" id="{6A9E7928-14DD-4C23-B2E7-92CA3DA8EFFE}"/>
                </a:ext>
              </a:extLst>
            </p:cNvPr>
            <p:cNvGrpSpPr/>
            <p:nvPr/>
          </p:nvGrpSpPr>
          <p:grpSpPr>
            <a:xfrm>
              <a:off x="8325297" y="4248373"/>
              <a:ext cx="340959" cy="281081"/>
              <a:chOff x="7980838" y="4290225"/>
              <a:chExt cx="251236" cy="207115"/>
            </a:xfrm>
            <a:solidFill>
              <a:schemeClr val="accent1"/>
            </a:solidFill>
          </p:grpSpPr>
          <p:grpSp>
            <p:nvGrpSpPr>
              <p:cNvPr id="812" name="Grafik 349">
                <a:extLst>
                  <a:ext uri="{FF2B5EF4-FFF2-40B4-BE49-F238E27FC236}">
                    <a16:creationId xmlns:a16="http://schemas.microsoft.com/office/drawing/2014/main" id="{BD64919D-DF91-4BEB-B03F-BEB0BA871A55}"/>
                  </a:ext>
                </a:extLst>
              </p:cNvPr>
              <p:cNvGrpSpPr/>
              <p:nvPr/>
            </p:nvGrpSpPr>
            <p:grpSpPr>
              <a:xfrm>
                <a:off x="7980838" y="4365221"/>
                <a:ext cx="115416" cy="116177"/>
                <a:chOff x="7980838" y="4365221"/>
                <a:chExt cx="115416" cy="116177"/>
              </a:xfrm>
              <a:solidFill>
                <a:schemeClr val="accent1"/>
              </a:solidFill>
            </p:grpSpPr>
            <p:sp>
              <p:nvSpPr>
                <p:cNvPr id="831" name="Freihandform: Form 830">
                  <a:extLst>
                    <a:ext uri="{FF2B5EF4-FFF2-40B4-BE49-F238E27FC236}">
                      <a16:creationId xmlns:a16="http://schemas.microsoft.com/office/drawing/2014/main" id="{FAAEE362-BB73-45C5-85FC-6E39C0B8A3C6}"/>
                    </a:ext>
                  </a:extLst>
                </p:cNvPr>
                <p:cNvSpPr/>
                <p:nvPr/>
              </p:nvSpPr>
              <p:spPr>
                <a:xfrm>
                  <a:off x="7980838" y="4416369"/>
                  <a:ext cx="115390" cy="65030"/>
                </a:xfrm>
                <a:custGeom>
                  <a:avLst/>
                  <a:gdLst>
                    <a:gd name="connsiteX0" fmla="*/ 74527 w 115390"/>
                    <a:gd name="connsiteY0" fmla="*/ 65030 h 65030"/>
                    <a:gd name="connsiteX1" fmla="*/ 0 w 115390"/>
                    <a:gd name="connsiteY1" fmla="*/ 35391 h 65030"/>
                    <a:gd name="connsiteX2" fmla="*/ 0 w 115390"/>
                    <a:gd name="connsiteY2" fmla="*/ 6574 h 65030"/>
                    <a:gd name="connsiteX3" fmla="*/ 6566 w 115390"/>
                    <a:gd name="connsiteY3" fmla="*/ 0 h 65030"/>
                    <a:gd name="connsiteX4" fmla="*/ 13140 w 115390"/>
                    <a:gd name="connsiteY4" fmla="*/ 6574 h 65030"/>
                    <a:gd name="connsiteX5" fmla="*/ 13140 w 115390"/>
                    <a:gd name="connsiteY5" fmla="*/ 35391 h 65030"/>
                    <a:gd name="connsiteX6" fmla="*/ 74527 w 115390"/>
                    <a:gd name="connsiteY6" fmla="*/ 51909 h 65030"/>
                    <a:gd name="connsiteX7" fmla="*/ 107481 w 115390"/>
                    <a:gd name="connsiteY7" fmla="*/ 49115 h 65030"/>
                    <a:gd name="connsiteX8" fmla="*/ 115260 w 115390"/>
                    <a:gd name="connsiteY8" fmla="*/ 54237 h 65030"/>
                    <a:gd name="connsiteX9" fmla="*/ 110138 w 115390"/>
                    <a:gd name="connsiteY9" fmla="*/ 61989 h 65030"/>
                    <a:gd name="connsiteX10" fmla="*/ 74527 w 115390"/>
                    <a:gd name="connsiteY10" fmla="*/ 65030 h 65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5390" h="65030">
                      <a:moveTo>
                        <a:pt x="74527" y="65030"/>
                      </a:moveTo>
                      <a:cubicBezTo>
                        <a:pt x="37492" y="65030"/>
                        <a:pt x="0" y="54867"/>
                        <a:pt x="0" y="35391"/>
                      </a:cubicBezTo>
                      <a:lnTo>
                        <a:pt x="0" y="6574"/>
                      </a:lnTo>
                      <a:cubicBezTo>
                        <a:pt x="0" y="2958"/>
                        <a:pt x="2939" y="0"/>
                        <a:pt x="6566" y="0"/>
                      </a:cubicBezTo>
                      <a:cubicBezTo>
                        <a:pt x="10209" y="0"/>
                        <a:pt x="13140" y="2958"/>
                        <a:pt x="13140" y="6574"/>
                      </a:cubicBezTo>
                      <a:lnTo>
                        <a:pt x="13140" y="35391"/>
                      </a:lnTo>
                      <a:cubicBezTo>
                        <a:pt x="13140" y="40349"/>
                        <a:pt x="34041" y="51909"/>
                        <a:pt x="74527" y="51909"/>
                      </a:cubicBezTo>
                      <a:cubicBezTo>
                        <a:pt x="88087" y="51909"/>
                        <a:pt x="98249" y="51032"/>
                        <a:pt x="107481" y="49115"/>
                      </a:cubicBezTo>
                      <a:cubicBezTo>
                        <a:pt x="111014" y="48403"/>
                        <a:pt x="114493" y="50676"/>
                        <a:pt x="115260" y="54237"/>
                      </a:cubicBezTo>
                      <a:cubicBezTo>
                        <a:pt x="115972" y="57771"/>
                        <a:pt x="113699" y="61250"/>
                        <a:pt x="110138" y="61989"/>
                      </a:cubicBezTo>
                      <a:cubicBezTo>
                        <a:pt x="100002" y="64099"/>
                        <a:pt x="89018" y="65030"/>
                        <a:pt x="74527" y="65030"/>
                      </a:cubicBezTo>
                      <a:close/>
                    </a:path>
                  </a:pathLst>
                </a:custGeom>
                <a:solidFill>
                  <a:schemeClr val="accent1"/>
                </a:solidFill>
                <a:ln w="274" cap="flat">
                  <a:noFill/>
                  <a:prstDash val="solid"/>
                  <a:miter/>
                </a:ln>
              </p:spPr>
              <p:txBody>
                <a:bodyPr rtlCol="0" anchor="ctr"/>
                <a:lstStyle/>
                <a:p>
                  <a:endParaRPr lang="en-GB" dirty="0"/>
                </a:p>
              </p:txBody>
            </p:sp>
            <p:grpSp>
              <p:nvGrpSpPr>
                <p:cNvPr id="832" name="Grafik 349">
                  <a:extLst>
                    <a:ext uri="{FF2B5EF4-FFF2-40B4-BE49-F238E27FC236}">
                      <a16:creationId xmlns:a16="http://schemas.microsoft.com/office/drawing/2014/main" id="{AC7998F5-E262-4B5A-B947-7EBCA94BF31B}"/>
                    </a:ext>
                  </a:extLst>
                </p:cNvPr>
                <p:cNvGrpSpPr/>
                <p:nvPr/>
              </p:nvGrpSpPr>
              <p:grpSpPr>
                <a:xfrm>
                  <a:off x="7980838" y="4365221"/>
                  <a:ext cx="115416" cy="88072"/>
                  <a:chOff x="7980838" y="4365221"/>
                  <a:chExt cx="115416" cy="88072"/>
                </a:xfrm>
                <a:solidFill>
                  <a:schemeClr val="accent1"/>
                </a:solidFill>
              </p:grpSpPr>
              <p:sp>
                <p:nvSpPr>
                  <p:cNvPr id="833" name="Freihandform: Form 832">
                    <a:extLst>
                      <a:ext uri="{FF2B5EF4-FFF2-40B4-BE49-F238E27FC236}">
                        <a16:creationId xmlns:a16="http://schemas.microsoft.com/office/drawing/2014/main" id="{1FCCFFA6-FB8A-42D6-ABD1-D9A710A700A2}"/>
                      </a:ext>
                    </a:extLst>
                  </p:cNvPr>
                  <p:cNvSpPr/>
                  <p:nvPr/>
                </p:nvSpPr>
                <p:spPr>
                  <a:xfrm>
                    <a:off x="7980838" y="4365221"/>
                    <a:ext cx="115416" cy="59255"/>
                  </a:xfrm>
                  <a:custGeom>
                    <a:avLst/>
                    <a:gdLst>
                      <a:gd name="connsiteX0" fmla="*/ 74527 w 115416"/>
                      <a:gd name="connsiteY0" fmla="*/ 59256 h 59255"/>
                      <a:gd name="connsiteX1" fmla="*/ 0 w 115416"/>
                      <a:gd name="connsiteY1" fmla="*/ 29644 h 59255"/>
                      <a:gd name="connsiteX2" fmla="*/ 74527 w 115416"/>
                      <a:gd name="connsiteY2" fmla="*/ 0 h 59255"/>
                      <a:gd name="connsiteX3" fmla="*/ 109398 w 115416"/>
                      <a:gd name="connsiteY3" fmla="*/ 3128 h 59255"/>
                      <a:gd name="connsiteX4" fmla="*/ 114603 w 115416"/>
                      <a:gd name="connsiteY4" fmla="*/ 10825 h 59255"/>
                      <a:gd name="connsiteX5" fmla="*/ 106905 w 115416"/>
                      <a:gd name="connsiteY5" fmla="*/ 16030 h 59255"/>
                      <a:gd name="connsiteX6" fmla="*/ 74527 w 115416"/>
                      <a:gd name="connsiteY6" fmla="*/ 13127 h 59255"/>
                      <a:gd name="connsiteX7" fmla="*/ 13140 w 115416"/>
                      <a:gd name="connsiteY7" fmla="*/ 29644 h 59255"/>
                      <a:gd name="connsiteX8" fmla="*/ 74527 w 115416"/>
                      <a:gd name="connsiteY8" fmla="*/ 46135 h 59255"/>
                      <a:gd name="connsiteX9" fmla="*/ 107563 w 115416"/>
                      <a:gd name="connsiteY9" fmla="*/ 43094 h 59255"/>
                      <a:gd name="connsiteX10" fmla="*/ 115287 w 115416"/>
                      <a:gd name="connsiteY10" fmla="*/ 48244 h 59255"/>
                      <a:gd name="connsiteX11" fmla="*/ 110138 w 115416"/>
                      <a:gd name="connsiteY11" fmla="*/ 55969 h 59255"/>
                      <a:gd name="connsiteX12" fmla="*/ 74527 w 115416"/>
                      <a:gd name="connsiteY12" fmla="*/ 59256 h 59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416" h="59255">
                        <a:moveTo>
                          <a:pt x="74527" y="59256"/>
                        </a:moveTo>
                        <a:cubicBezTo>
                          <a:pt x="37492" y="59256"/>
                          <a:pt x="0" y="49093"/>
                          <a:pt x="0" y="29644"/>
                        </a:cubicBezTo>
                        <a:cubicBezTo>
                          <a:pt x="0" y="10168"/>
                          <a:pt x="37492" y="0"/>
                          <a:pt x="74527" y="0"/>
                        </a:cubicBezTo>
                        <a:cubicBezTo>
                          <a:pt x="86772" y="0"/>
                          <a:pt x="98825" y="1074"/>
                          <a:pt x="109398" y="3128"/>
                        </a:cubicBezTo>
                        <a:cubicBezTo>
                          <a:pt x="112959" y="3813"/>
                          <a:pt x="115287" y="7264"/>
                          <a:pt x="114603" y="10825"/>
                        </a:cubicBezTo>
                        <a:cubicBezTo>
                          <a:pt x="113918" y="14386"/>
                          <a:pt x="110521" y="16742"/>
                          <a:pt x="106905" y="16030"/>
                        </a:cubicBezTo>
                        <a:cubicBezTo>
                          <a:pt x="97126" y="14140"/>
                          <a:pt x="85950" y="13127"/>
                          <a:pt x="74527" y="13127"/>
                        </a:cubicBezTo>
                        <a:cubicBezTo>
                          <a:pt x="34013" y="13127"/>
                          <a:pt x="13140" y="24686"/>
                          <a:pt x="13140" y="29644"/>
                        </a:cubicBezTo>
                        <a:cubicBezTo>
                          <a:pt x="13140" y="34575"/>
                          <a:pt x="34013" y="46135"/>
                          <a:pt x="74527" y="46135"/>
                        </a:cubicBezTo>
                        <a:cubicBezTo>
                          <a:pt x="86196" y="46135"/>
                          <a:pt x="97619" y="45066"/>
                          <a:pt x="107563" y="43094"/>
                        </a:cubicBezTo>
                        <a:cubicBezTo>
                          <a:pt x="111096" y="42355"/>
                          <a:pt x="114575" y="44710"/>
                          <a:pt x="115287" y="48244"/>
                        </a:cubicBezTo>
                        <a:cubicBezTo>
                          <a:pt x="116000" y="51805"/>
                          <a:pt x="113699" y="55256"/>
                          <a:pt x="110138" y="55969"/>
                        </a:cubicBezTo>
                        <a:cubicBezTo>
                          <a:pt x="99372" y="58133"/>
                          <a:pt x="87046" y="59256"/>
                          <a:pt x="74527" y="59256"/>
                        </a:cubicBezTo>
                        <a:close/>
                      </a:path>
                    </a:pathLst>
                  </a:custGeom>
                  <a:solidFill>
                    <a:schemeClr val="accent1"/>
                  </a:solidFill>
                  <a:ln w="274" cap="flat">
                    <a:noFill/>
                    <a:prstDash val="solid"/>
                    <a:miter/>
                  </a:ln>
                </p:spPr>
                <p:txBody>
                  <a:bodyPr rtlCol="0" anchor="ctr"/>
                  <a:lstStyle/>
                  <a:p>
                    <a:endParaRPr lang="en-GB" dirty="0"/>
                  </a:p>
                </p:txBody>
              </p:sp>
              <p:sp>
                <p:nvSpPr>
                  <p:cNvPr id="834" name="Freihandform: Form 833">
                    <a:extLst>
                      <a:ext uri="{FF2B5EF4-FFF2-40B4-BE49-F238E27FC236}">
                        <a16:creationId xmlns:a16="http://schemas.microsoft.com/office/drawing/2014/main" id="{30BFD0A7-D614-42B9-B732-70FA4F4FBDA5}"/>
                      </a:ext>
                    </a:extLst>
                  </p:cNvPr>
                  <p:cNvSpPr/>
                  <p:nvPr/>
                </p:nvSpPr>
                <p:spPr>
                  <a:xfrm>
                    <a:off x="7980838" y="4388291"/>
                    <a:ext cx="114694" cy="65002"/>
                  </a:xfrm>
                  <a:custGeom>
                    <a:avLst/>
                    <a:gdLst>
                      <a:gd name="connsiteX0" fmla="*/ 74527 w 114694"/>
                      <a:gd name="connsiteY0" fmla="*/ 65003 h 65002"/>
                      <a:gd name="connsiteX1" fmla="*/ 0 w 114694"/>
                      <a:gd name="connsiteY1" fmla="*/ 35391 h 65002"/>
                      <a:gd name="connsiteX2" fmla="*/ 0 w 114694"/>
                      <a:gd name="connsiteY2" fmla="*/ 6574 h 65002"/>
                      <a:gd name="connsiteX3" fmla="*/ 6566 w 114694"/>
                      <a:gd name="connsiteY3" fmla="*/ 0 h 65002"/>
                      <a:gd name="connsiteX4" fmla="*/ 13140 w 114694"/>
                      <a:gd name="connsiteY4" fmla="*/ 6574 h 65002"/>
                      <a:gd name="connsiteX5" fmla="*/ 13140 w 114694"/>
                      <a:gd name="connsiteY5" fmla="*/ 35391 h 65002"/>
                      <a:gd name="connsiteX6" fmla="*/ 74527 w 114694"/>
                      <a:gd name="connsiteY6" fmla="*/ 51882 h 65002"/>
                      <a:gd name="connsiteX7" fmla="*/ 106878 w 114694"/>
                      <a:gd name="connsiteY7" fmla="*/ 48978 h 65002"/>
                      <a:gd name="connsiteX8" fmla="*/ 114575 w 114694"/>
                      <a:gd name="connsiteY8" fmla="*/ 54183 h 65002"/>
                      <a:gd name="connsiteX9" fmla="*/ 109371 w 114694"/>
                      <a:gd name="connsiteY9" fmla="*/ 61880 h 65002"/>
                      <a:gd name="connsiteX10" fmla="*/ 74527 w 114694"/>
                      <a:gd name="connsiteY10" fmla="*/ 65003 h 6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694" h="65002">
                        <a:moveTo>
                          <a:pt x="74527" y="65003"/>
                        </a:moveTo>
                        <a:cubicBezTo>
                          <a:pt x="37492" y="65003"/>
                          <a:pt x="0" y="54840"/>
                          <a:pt x="0" y="35391"/>
                        </a:cubicBezTo>
                        <a:lnTo>
                          <a:pt x="0" y="6574"/>
                        </a:lnTo>
                        <a:cubicBezTo>
                          <a:pt x="0" y="2931"/>
                          <a:pt x="2939" y="0"/>
                          <a:pt x="6566" y="0"/>
                        </a:cubicBezTo>
                        <a:cubicBezTo>
                          <a:pt x="10209" y="0"/>
                          <a:pt x="13140" y="2931"/>
                          <a:pt x="13140" y="6574"/>
                        </a:cubicBezTo>
                        <a:lnTo>
                          <a:pt x="13140" y="35391"/>
                        </a:lnTo>
                        <a:cubicBezTo>
                          <a:pt x="13140" y="40322"/>
                          <a:pt x="34041" y="51882"/>
                          <a:pt x="74527" y="51882"/>
                        </a:cubicBezTo>
                        <a:cubicBezTo>
                          <a:pt x="85922" y="51882"/>
                          <a:pt x="97099" y="50868"/>
                          <a:pt x="106878" y="48978"/>
                        </a:cubicBezTo>
                        <a:cubicBezTo>
                          <a:pt x="110412" y="48266"/>
                          <a:pt x="113890" y="50622"/>
                          <a:pt x="114575" y="54183"/>
                        </a:cubicBezTo>
                        <a:cubicBezTo>
                          <a:pt x="115260" y="57744"/>
                          <a:pt x="112932" y="61195"/>
                          <a:pt x="109371" y="61880"/>
                        </a:cubicBezTo>
                        <a:cubicBezTo>
                          <a:pt x="98797" y="63935"/>
                          <a:pt x="86744" y="65003"/>
                          <a:pt x="74527" y="65003"/>
                        </a:cubicBezTo>
                        <a:close/>
                      </a:path>
                    </a:pathLst>
                  </a:custGeom>
                  <a:solidFill>
                    <a:schemeClr val="accent1"/>
                  </a:solidFill>
                  <a:ln w="274" cap="flat">
                    <a:noFill/>
                    <a:prstDash val="solid"/>
                    <a:miter/>
                  </a:ln>
                </p:spPr>
                <p:txBody>
                  <a:bodyPr rtlCol="0" anchor="ctr"/>
                  <a:lstStyle/>
                  <a:p>
                    <a:endParaRPr lang="en-GB" dirty="0"/>
                  </a:p>
                </p:txBody>
              </p:sp>
            </p:grpSp>
          </p:grpSp>
          <p:grpSp>
            <p:nvGrpSpPr>
              <p:cNvPr id="813" name="Grafik 349">
                <a:extLst>
                  <a:ext uri="{FF2B5EF4-FFF2-40B4-BE49-F238E27FC236}">
                    <a16:creationId xmlns:a16="http://schemas.microsoft.com/office/drawing/2014/main" id="{02FEC2C6-EEFD-40CB-A32E-B45CDB2E9BC7}"/>
                  </a:ext>
                </a:extLst>
              </p:cNvPr>
              <p:cNvGrpSpPr/>
              <p:nvPr/>
            </p:nvGrpSpPr>
            <p:grpSpPr>
              <a:xfrm>
                <a:off x="8083005" y="4290225"/>
                <a:ext cx="149070" cy="207115"/>
                <a:chOff x="8083005" y="4290225"/>
                <a:chExt cx="149070" cy="207115"/>
              </a:xfrm>
              <a:solidFill>
                <a:schemeClr val="accent1"/>
              </a:solidFill>
            </p:grpSpPr>
            <p:grpSp>
              <p:nvGrpSpPr>
                <p:cNvPr id="814" name="Grafik 349">
                  <a:extLst>
                    <a:ext uri="{FF2B5EF4-FFF2-40B4-BE49-F238E27FC236}">
                      <a16:creationId xmlns:a16="http://schemas.microsoft.com/office/drawing/2014/main" id="{2F19A86E-A33E-4855-AF50-9AA6706F2329}"/>
                    </a:ext>
                  </a:extLst>
                </p:cNvPr>
                <p:cNvGrpSpPr/>
                <p:nvPr/>
              </p:nvGrpSpPr>
              <p:grpSpPr>
                <a:xfrm>
                  <a:off x="8083005" y="4430613"/>
                  <a:ext cx="149070" cy="66728"/>
                  <a:chOff x="8083005" y="4430613"/>
                  <a:chExt cx="149070" cy="66728"/>
                </a:xfrm>
                <a:solidFill>
                  <a:schemeClr val="accent1"/>
                </a:solidFill>
              </p:grpSpPr>
              <p:sp>
                <p:nvSpPr>
                  <p:cNvPr id="829" name="Freihandform: Form 828">
                    <a:extLst>
                      <a:ext uri="{FF2B5EF4-FFF2-40B4-BE49-F238E27FC236}">
                        <a16:creationId xmlns:a16="http://schemas.microsoft.com/office/drawing/2014/main" id="{5B50A822-7693-48F4-833F-07E64E028231}"/>
                      </a:ext>
                    </a:extLst>
                  </p:cNvPr>
                  <p:cNvSpPr/>
                  <p:nvPr/>
                </p:nvSpPr>
                <p:spPr>
                  <a:xfrm>
                    <a:off x="8083005" y="4430613"/>
                    <a:ext cx="149070" cy="36952"/>
                  </a:xfrm>
                  <a:custGeom>
                    <a:avLst/>
                    <a:gdLst>
                      <a:gd name="connsiteX0" fmla="*/ 74536 w 149070"/>
                      <a:gd name="connsiteY0" fmla="*/ 36953 h 36952"/>
                      <a:gd name="connsiteX1" fmla="*/ 0 w 149070"/>
                      <a:gd name="connsiteY1" fmla="*/ 6574 h 36952"/>
                      <a:gd name="connsiteX2" fmla="*/ 6574 w 149070"/>
                      <a:gd name="connsiteY2" fmla="*/ 0 h 36952"/>
                      <a:gd name="connsiteX3" fmla="*/ 13148 w 149070"/>
                      <a:gd name="connsiteY3" fmla="*/ 6574 h 36952"/>
                      <a:gd name="connsiteX4" fmla="*/ 74536 w 149070"/>
                      <a:gd name="connsiteY4" fmla="*/ 23804 h 36952"/>
                      <a:gd name="connsiteX5" fmla="*/ 135922 w 149070"/>
                      <a:gd name="connsiteY5" fmla="*/ 6574 h 36952"/>
                      <a:gd name="connsiteX6" fmla="*/ 142497 w 149070"/>
                      <a:gd name="connsiteY6" fmla="*/ 0 h 36952"/>
                      <a:gd name="connsiteX7" fmla="*/ 149071 w 149070"/>
                      <a:gd name="connsiteY7" fmla="*/ 6574 h 36952"/>
                      <a:gd name="connsiteX8" fmla="*/ 74536 w 149070"/>
                      <a:gd name="connsiteY8" fmla="*/ 36953 h 36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70" h="36952">
                        <a:moveTo>
                          <a:pt x="74536" y="36953"/>
                        </a:moveTo>
                        <a:cubicBezTo>
                          <a:pt x="37501" y="36953"/>
                          <a:pt x="0" y="26516"/>
                          <a:pt x="0" y="6574"/>
                        </a:cubicBezTo>
                        <a:cubicBezTo>
                          <a:pt x="0" y="2931"/>
                          <a:pt x="2931" y="0"/>
                          <a:pt x="6574" y="0"/>
                        </a:cubicBezTo>
                        <a:cubicBezTo>
                          <a:pt x="10190" y="0"/>
                          <a:pt x="13148" y="2931"/>
                          <a:pt x="13148" y="6574"/>
                        </a:cubicBezTo>
                        <a:cubicBezTo>
                          <a:pt x="13148" y="12655"/>
                          <a:pt x="36460" y="23804"/>
                          <a:pt x="74536" y="23804"/>
                        </a:cubicBezTo>
                        <a:cubicBezTo>
                          <a:pt x="112611" y="23804"/>
                          <a:pt x="135922" y="12655"/>
                          <a:pt x="135922" y="6574"/>
                        </a:cubicBezTo>
                        <a:cubicBezTo>
                          <a:pt x="135922" y="2931"/>
                          <a:pt x="138881" y="0"/>
                          <a:pt x="142497" y="0"/>
                        </a:cubicBezTo>
                        <a:cubicBezTo>
                          <a:pt x="146140" y="0"/>
                          <a:pt x="149071" y="2931"/>
                          <a:pt x="149071" y="6574"/>
                        </a:cubicBezTo>
                        <a:cubicBezTo>
                          <a:pt x="149071" y="26516"/>
                          <a:pt x="111570" y="36953"/>
                          <a:pt x="74536" y="36953"/>
                        </a:cubicBezTo>
                        <a:close/>
                      </a:path>
                    </a:pathLst>
                  </a:custGeom>
                  <a:solidFill>
                    <a:schemeClr val="accent1"/>
                  </a:solidFill>
                  <a:ln w="274" cap="flat">
                    <a:noFill/>
                    <a:prstDash val="solid"/>
                    <a:miter/>
                  </a:ln>
                </p:spPr>
                <p:txBody>
                  <a:bodyPr rtlCol="0" anchor="ctr"/>
                  <a:lstStyle/>
                  <a:p>
                    <a:endParaRPr lang="en-GB" dirty="0"/>
                  </a:p>
                </p:txBody>
              </p:sp>
              <p:sp>
                <p:nvSpPr>
                  <p:cNvPr id="830" name="Freihandform: Form 829">
                    <a:extLst>
                      <a:ext uri="{FF2B5EF4-FFF2-40B4-BE49-F238E27FC236}">
                        <a16:creationId xmlns:a16="http://schemas.microsoft.com/office/drawing/2014/main" id="{A0CA75BC-390C-4695-8CAC-015808250649}"/>
                      </a:ext>
                    </a:extLst>
                  </p:cNvPr>
                  <p:cNvSpPr/>
                  <p:nvPr/>
                </p:nvSpPr>
                <p:spPr>
                  <a:xfrm>
                    <a:off x="8083005" y="4430613"/>
                    <a:ext cx="149070" cy="66728"/>
                  </a:xfrm>
                  <a:custGeom>
                    <a:avLst/>
                    <a:gdLst>
                      <a:gd name="connsiteX0" fmla="*/ 74536 w 149070"/>
                      <a:gd name="connsiteY0" fmla="*/ 66729 h 66728"/>
                      <a:gd name="connsiteX1" fmla="*/ 0 w 149070"/>
                      <a:gd name="connsiteY1" fmla="*/ 36350 h 66728"/>
                      <a:gd name="connsiteX2" fmla="*/ 0 w 149070"/>
                      <a:gd name="connsiteY2" fmla="*/ 6547 h 66728"/>
                      <a:gd name="connsiteX3" fmla="*/ 6574 w 149070"/>
                      <a:gd name="connsiteY3" fmla="*/ 0 h 66728"/>
                      <a:gd name="connsiteX4" fmla="*/ 13148 w 149070"/>
                      <a:gd name="connsiteY4" fmla="*/ 6547 h 66728"/>
                      <a:gd name="connsiteX5" fmla="*/ 13148 w 149070"/>
                      <a:gd name="connsiteY5" fmla="*/ 36350 h 66728"/>
                      <a:gd name="connsiteX6" fmla="*/ 74536 w 149070"/>
                      <a:gd name="connsiteY6" fmla="*/ 53580 h 66728"/>
                      <a:gd name="connsiteX7" fmla="*/ 135922 w 149070"/>
                      <a:gd name="connsiteY7" fmla="*/ 36350 h 66728"/>
                      <a:gd name="connsiteX8" fmla="*/ 135922 w 149070"/>
                      <a:gd name="connsiteY8" fmla="*/ 6547 h 66728"/>
                      <a:gd name="connsiteX9" fmla="*/ 142497 w 149070"/>
                      <a:gd name="connsiteY9" fmla="*/ 0 h 66728"/>
                      <a:gd name="connsiteX10" fmla="*/ 149071 w 149070"/>
                      <a:gd name="connsiteY10" fmla="*/ 6547 h 66728"/>
                      <a:gd name="connsiteX11" fmla="*/ 149071 w 149070"/>
                      <a:gd name="connsiteY11" fmla="*/ 36350 h 66728"/>
                      <a:gd name="connsiteX12" fmla="*/ 74536 w 149070"/>
                      <a:gd name="connsiteY12" fmla="*/ 66729 h 6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070" h="66728">
                        <a:moveTo>
                          <a:pt x="74536" y="66729"/>
                        </a:moveTo>
                        <a:cubicBezTo>
                          <a:pt x="37501" y="66729"/>
                          <a:pt x="0" y="56292"/>
                          <a:pt x="0" y="36350"/>
                        </a:cubicBezTo>
                        <a:lnTo>
                          <a:pt x="0" y="6547"/>
                        </a:lnTo>
                        <a:cubicBezTo>
                          <a:pt x="0" y="2931"/>
                          <a:pt x="2931" y="0"/>
                          <a:pt x="6574" y="0"/>
                        </a:cubicBezTo>
                        <a:cubicBezTo>
                          <a:pt x="10190" y="0"/>
                          <a:pt x="13148" y="2931"/>
                          <a:pt x="13148" y="6547"/>
                        </a:cubicBezTo>
                        <a:lnTo>
                          <a:pt x="13148" y="36350"/>
                        </a:lnTo>
                        <a:cubicBezTo>
                          <a:pt x="13148" y="42431"/>
                          <a:pt x="36460" y="53580"/>
                          <a:pt x="74536" y="53580"/>
                        </a:cubicBezTo>
                        <a:cubicBezTo>
                          <a:pt x="112611" y="53580"/>
                          <a:pt x="135922" y="42431"/>
                          <a:pt x="135922" y="36350"/>
                        </a:cubicBezTo>
                        <a:lnTo>
                          <a:pt x="135922" y="6547"/>
                        </a:lnTo>
                        <a:cubicBezTo>
                          <a:pt x="135922" y="2931"/>
                          <a:pt x="138881" y="0"/>
                          <a:pt x="142497" y="0"/>
                        </a:cubicBezTo>
                        <a:cubicBezTo>
                          <a:pt x="146140" y="0"/>
                          <a:pt x="149071" y="2931"/>
                          <a:pt x="149071" y="6547"/>
                        </a:cubicBezTo>
                        <a:lnTo>
                          <a:pt x="149071" y="36350"/>
                        </a:lnTo>
                        <a:cubicBezTo>
                          <a:pt x="149071" y="56292"/>
                          <a:pt x="111570" y="66729"/>
                          <a:pt x="74536" y="66729"/>
                        </a:cubicBezTo>
                        <a:close/>
                      </a:path>
                    </a:pathLst>
                  </a:custGeom>
                  <a:solidFill>
                    <a:schemeClr val="accent1"/>
                  </a:solidFill>
                  <a:ln w="274" cap="flat">
                    <a:noFill/>
                    <a:prstDash val="solid"/>
                    <a:miter/>
                  </a:ln>
                </p:spPr>
                <p:txBody>
                  <a:bodyPr rtlCol="0" anchor="ctr"/>
                  <a:lstStyle/>
                  <a:p>
                    <a:endParaRPr lang="en-GB" dirty="0"/>
                  </a:p>
                </p:txBody>
              </p:sp>
            </p:grpSp>
            <p:grpSp>
              <p:nvGrpSpPr>
                <p:cNvPr id="815" name="Grafik 349">
                  <a:extLst>
                    <a:ext uri="{FF2B5EF4-FFF2-40B4-BE49-F238E27FC236}">
                      <a16:creationId xmlns:a16="http://schemas.microsoft.com/office/drawing/2014/main" id="{94834E0C-653D-40F9-8B2E-9E81B578F534}"/>
                    </a:ext>
                  </a:extLst>
                </p:cNvPr>
                <p:cNvGrpSpPr/>
                <p:nvPr/>
              </p:nvGrpSpPr>
              <p:grpSpPr>
                <a:xfrm>
                  <a:off x="8083005" y="4372540"/>
                  <a:ext cx="149070" cy="95764"/>
                  <a:chOff x="8083005" y="4372540"/>
                  <a:chExt cx="149070" cy="95764"/>
                </a:xfrm>
                <a:solidFill>
                  <a:schemeClr val="accent1"/>
                </a:solidFill>
              </p:grpSpPr>
              <p:grpSp>
                <p:nvGrpSpPr>
                  <p:cNvPr id="823" name="Grafik 349">
                    <a:extLst>
                      <a:ext uri="{FF2B5EF4-FFF2-40B4-BE49-F238E27FC236}">
                        <a16:creationId xmlns:a16="http://schemas.microsoft.com/office/drawing/2014/main" id="{046B2C67-1B36-4202-A27E-467FABBC8ADF}"/>
                      </a:ext>
                    </a:extLst>
                  </p:cNvPr>
                  <p:cNvGrpSpPr/>
                  <p:nvPr/>
                </p:nvGrpSpPr>
                <p:grpSpPr>
                  <a:xfrm>
                    <a:off x="8083005" y="4401577"/>
                    <a:ext cx="149070" cy="66728"/>
                    <a:chOff x="8083005" y="4401577"/>
                    <a:chExt cx="149070" cy="66728"/>
                  </a:xfrm>
                  <a:solidFill>
                    <a:schemeClr val="accent1"/>
                  </a:solidFill>
                </p:grpSpPr>
                <p:sp>
                  <p:nvSpPr>
                    <p:cNvPr id="827" name="Freihandform: Form 826">
                      <a:extLst>
                        <a:ext uri="{FF2B5EF4-FFF2-40B4-BE49-F238E27FC236}">
                          <a16:creationId xmlns:a16="http://schemas.microsoft.com/office/drawing/2014/main" id="{A60DF7BD-9394-458C-9D0D-B7C313D96E27}"/>
                        </a:ext>
                      </a:extLst>
                    </p:cNvPr>
                    <p:cNvSpPr/>
                    <p:nvPr/>
                  </p:nvSpPr>
                  <p:spPr>
                    <a:xfrm>
                      <a:off x="8083005" y="4401577"/>
                      <a:ext cx="149070" cy="36952"/>
                    </a:xfrm>
                    <a:custGeom>
                      <a:avLst/>
                      <a:gdLst>
                        <a:gd name="connsiteX0" fmla="*/ 74536 w 149070"/>
                        <a:gd name="connsiteY0" fmla="*/ 36953 h 36952"/>
                        <a:gd name="connsiteX1" fmla="*/ 0 w 149070"/>
                        <a:gd name="connsiteY1" fmla="*/ 6574 h 36952"/>
                        <a:gd name="connsiteX2" fmla="*/ 6574 w 149070"/>
                        <a:gd name="connsiteY2" fmla="*/ 0 h 36952"/>
                        <a:gd name="connsiteX3" fmla="*/ 13148 w 149070"/>
                        <a:gd name="connsiteY3" fmla="*/ 6574 h 36952"/>
                        <a:gd name="connsiteX4" fmla="*/ 74536 w 149070"/>
                        <a:gd name="connsiteY4" fmla="*/ 23804 h 36952"/>
                        <a:gd name="connsiteX5" fmla="*/ 135922 w 149070"/>
                        <a:gd name="connsiteY5" fmla="*/ 6574 h 36952"/>
                        <a:gd name="connsiteX6" fmla="*/ 142497 w 149070"/>
                        <a:gd name="connsiteY6" fmla="*/ 0 h 36952"/>
                        <a:gd name="connsiteX7" fmla="*/ 149071 w 149070"/>
                        <a:gd name="connsiteY7" fmla="*/ 6574 h 36952"/>
                        <a:gd name="connsiteX8" fmla="*/ 74536 w 149070"/>
                        <a:gd name="connsiteY8" fmla="*/ 36953 h 36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70" h="36952">
                          <a:moveTo>
                            <a:pt x="74536" y="36953"/>
                          </a:moveTo>
                          <a:cubicBezTo>
                            <a:pt x="37501" y="36953"/>
                            <a:pt x="0" y="26516"/>
                            <a:pt x="0" y="6574"/>
                          </a:cubicBezTo>
                          <a:cubicBezTo>
                            <a:pt x="0" y="2931"/>
                            <a:pt x="2931" y="0"/>
                            <a:pt x="6574" y="0"/>
                          </a:cubicBezTo>
                          <a:cubicBezTo>
                            <a:pt x="10190" y="0"/>
                            <a:pt x="13148" y="2931"/>
                            <a:pt x="13148" y="6574"/>
                          </a:cubicBezTo>
                          <a:cubicBezTo>
                            <a:pt x="13148" y="12655"/>
                            <a:pt x="36460" y="23804"/>
                            <a:pt x="74536" y="23804"/>
                          </a:cubicBezTo>
                          <a:cubicBezTo>
                            <a:pt x="112611" y="23804"/>
                            <a:pt x="135922" y="12655"/>
                            <a:pt x="135922" y="6574"/>
                          </a:cubicBezTo>
                          <a:cubicBezTo>
                            <a:pt x="135922" y="2931"/>
                            <a:pt x="138881" y="0"/>
                            <a:pt x="142497" y="0"/>
                          </a:cubicBezTo>
                          <a:cubicBezTo>
                            <a:pt x="146140" y="0"/>
                            <a:pt x="149071" y="2931"/>
                            <a:pt x="149071" y="6574"/>
                          </a:cubicBezTo>
                          <a:cubicBezTo>
                            <a:pt x="149071" y="26516"/>
                            <a:pt x="111570" y="36953"/>
                            <a:pt x="74536" y="36953"/>
                          </a:cubicBezTo>
                          <a:close/>
                        </a:path>
                      </a:pathLst>
                    </a:custGeom>
                    <a:solidFill>
                      <a:schemeClr val="accent1"/>
                    </a:solidFill>
                    <a:ln w="274" cap="flat">
                      <a:noFill/>
                      <a:prstDash val="solid"/>
                      <a:miter/>
                    </a:ln>
                  </p:spPr>
                  <p:txBody>
                    <a:bodyPr rtlCol="0" anchor="ctr"/>
                    <a:lstStyle/>
                    <a:p>
                      <a:endParaRPr lang="en-GB" dirty="0"/>
                    </a:p>
                  </p:txBody>
                </p:sp>
                <p:sp>
                  <p:nvSpPr>
                    <p:cNvPr id="828" name="Freihandform: Form 827">
                      <a:extLst>
                        <a:ext uri="{FF2B5EF4-FFF2-40B4-BE49-F238E27FC236}">
                          <a16:creationId xmlns:a16="http://schemas.microsoft.com/office/drawing/2014/main" id="{6F4EF8E2-409C-4693-AA6C-CC3C23C3F57E}"/>
                        </a:ext>
                      </a:extLst>
                    </p:cNvPr>
                    <p:cNvSpPr/>
                    <p:nvPr/>
                  </p:nvSpPr>
                  <p:spPr>
                    <a:xfrm>
                      <a:off x="8083005" y="4401577"/>
                      <a:ext cx="149070" cy="66728"/>
                    </a:xfrm>
                    <a:custGeom>
                      <a:avLst/>
                      <a:gdLst>
                        <a:gd name="connsiteX0" fmla="*/ 74536 w 149070"/>
                        <a:gd name="connsiteY0" fmla="*/ 66729 h 66728"/>
                        <a:gd name="connsiteX1" fmla="*/ 0 w 149070"/>
                        <a:gd name="connsiteY1" fmla="*/ 36350 h 66728"/>
                        <a:gd name="connsiteX2" fmla="*/ 0 w 149070"/>
                        <a:gd name="connsiteY2" fmla="*/ 6574 h 66728"/>
                        <a:gd name="connsiteX3" fmla="*/ 6574 w 149070"/>
                        <a:gd name="connsiteY3" fmla="*/ 0 h 66728"/>
                        <a:gd name="connsiteX4" fmla="*/ 13148 w 149070"/>
                        <a:gd name="connsiteY4" fmla="*/ 6574 h 66728"/>
                        <a:gd name="connsiteX5" fmla="*/ 13148 w 149070"/>
                        <a:gd name="connsiteY5" fmla="*/ 36350 h 66728"/>
                        <a:gd name="connsiteX6" fmla="*/ 74536 w 149070"/>
                        <a:gd name="connsiteY6" fmla="*/ 53607 h 66728"/>
                        <a:gd name="connsiteX7" fmla="*/ 135922 w 149070"/>
                        <a:gd name="connsiteY7" fmla="*/ 36350 h 66728"/>
                        <a:gd name="connsiteX8" fmla="*/ 135922 w 149070"/>
                        <a:gd name="connsiteY8" fmla="*/ 6574 h 66728"/>
                        <a:gd name="connsiteX9" fmla="*/ 142497 w 149070"/>
                        <a:gd name="connsiteY9" fmla="*/ 0 h 66728"/>
                        <a:gd name="connsiteX10" fmla="*/ 149071 w 149070"/>
                        <a:gd name="connsiteY10" fmla="*/ 6574 h 66728"/>
                        <a:gd name="connsiteX11" fmla="*/ 149071 w 149070"/>
                        <a:gd name="connsiteY11" fmla="*/ 36350 h 66728"/>
                        <a:gd name="connsiteX12" fmla="*/ 74536 w 149070"/>
                        <a:gd name="connsiteY12" fmla="*/ 66729 h 6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070" h="66728">
                          <a:moveTo>
                            <a:pt x="74536" y="66729"/>
                          </a:moveTo>
                          <a:cubicBezTo>
                            <a:pt x="37501" y="66729"/>
                            <a:pt x="0" y="56292"/>
                            <a:pt x="0" y="36350"/>
                          </a:cubicBezTo>
                          <a:lnTo>
                            <a:pt x="0" y="6574"/>
                          </a:lnTo>
                          <a:cubicBezTo>
                            <a:pt x="0" y="2931"/>
                            <a:pt x="2931" y="0"/>
                            <a:pt x="6574" y="0"/>
                          </a:cubicBezTo>
                          <a:cubicBezTo>
                            <a:pt x="10190" y="0"/>
                            <a:pt x="13148" y="2931"/>
                            <a:pt x="13148" y="6574"/>
                          </a:cubicBezTo>
                          <a:lnTo>
                            <a:pt x="13148" y="36350"/>
                          </a:lnTo>
                          <a:cubicBezTo>
                            <a:pt x="13148" y="42431"/>
                            <a:pt x="36460" y="53607"/>
                            <a:pt x="74536" y="53607"/>
                          </a:cubicBezTo>
                          <a:cubicBezTo>
                            <a:pt x="112611" y="53607"/>
                            <a:pt x="135922" y="42431"/>
                            <a:pt x="135922" y="36350"/>
                          </a:cubicBezTo>
                          <a:lnTo>
                            <a:pt x="135922" y="6574"/>
                          </a:lnTo>
                          <a:cubicBezTo>
                            <a:pt x="135922" y="2931"/>
                            <a:pt x="138881" y="0"/>
                            <a:pt x="142497" y="0"/>
                          </a:cubicBezTo>
                          <a:cubicBezTo>
                            <a:pt x="146140" y="0"/>
                            <a:pt x="149071" y="2931"/>
                            <a:pt x="149071" y="6574"/>
                          </a:cubicBezTo>
                          <a:lnTo>
                            <a:pt x="149071" y="36350"/>
                          </a:lnTo>
                          <a:cubicBezTo>
                            <a:pt x="149071" y="56292"/>
                            <a:pt x="111570" y="66729"/>
                            <a:pt x="74536" y="66729"/>
                          </a:cubicBezTo>
                          <a:close/>
                        </a:path>
                      </a:pathLst>
                    </a:custGeom>
                    <a:solidFill>
                      <a:schemeClr val="accent1"/>
                    </a:solidFill>
                    <a:ln w="274" cap="flat">
                      <a:noFill/>
                      <a:prstDash val="solid"/>
                      <a:miter/>
                    </a:ln>
                  </p:spPr>
                  <p:txBody>
                    <a:bodyPr rtlCol="0" anchor="ctr"/>
                    <a:lstStyle/>
                    <a:p>
                      <a:endParaRPr lang="en-GB" dirty="0"/>
                    </a:p>
                  </p:txBody>
                </p:sp>
              </p:grpSp>
              <p:grpSp>
                <p:nvGrpSpPr>
                  <p:cNvPr id="824" name="Grafik 349">
                    <a:extLst>
                      <a:ext uri="{FF2B5EF4-FFF2-40B4-BE49-F238E27FC236}">
                        <a16:creationId xmlns:a16="http://schemas.microsoft.com/office/drawing/2014/main" id="{BD6EB876-8245-4537-BDDC-3012D16B51BE}"/>
                      </a:ext>
                    </a:extLst>
                  </p:cNvPr>
                  <p:cNvGrpSpPr/>
                  <p:nvPr/>
                </p:nvGrpSpPr>
                <p:grpSpPr>
                  <a:xfrm>
                    <a:off x="8083005" y="4372540"/>
                    <a:ext cx="149070" cy="66728"/>
                    <a:chOff x="8083005" y="4372540"/>
                    <a:chExt cx="149070" cy="66728"/>
                  </a:xfrm>
                  <a:solidFill>
                    <a:schemeClr val="accent1"/>
                  </a:solidFill>
                </p:grpSpPr>
                <p:sp>
                  <p:nvSpPr>
                    <p:cNvPr id="825" name="Freihandform: Form 824">
                      <a:extLst>
                        <a:ext uri="{FF2B5EF4-FFF2-40B4-BE49-F238E27FC236}">
                          <a16:creationId xmlns:a16="http://schemas.microsoft.com/office/drawing/2014/main" id="{3F432C03-4F81-4468-AA6C-2C2DF76F95F1}"/>
                        </a:ext>
                      </a:extLst>
                    </p:cNvPr>
                    <p:cNvSpPr/>
                    <p:nvPr/>
                  </p:nvSpPr>
                  <p:spPr>
                    <a:xfrm>
                      <a:off x="8083005" y="4372540"/>
                      <a:ext cx="149070" cy="36980"/>
                    </a:xfrm>
                    <a:custGeom>
                      <a:avLst/>
                      <a:gdLst>
                        <a:gd name="connsiteX0" fmla="*/ 74536 w 149070"/>
                        <a:gd name="connsiteY0" fmla="*/ 36980 h 36980"/>
                        <a:gd name="connsiteX1" fmla="*/ 0 w 149070"/>
                        <a:gd name="connsiteY1" fmla="*/ 6574 h 36980"/>
                        <a:gd name="connsiteX2" fmla="*/ 6574 w 149070"/>
                        <a:gd name="connsiteY2" fmla="*/ 0 h 36980"/>
                        <a:gd name="connsiteX3" fmla="*/ 13148 w 149070"/>
                        <a:gd name="connsiteY3" fmla="*/ 6574 h 36980"/>
                        <a:gd name="connsiteX4" fmla="*/ 74536 w 149070"/>
                        <a:gd name="connsiteY4" fmla="*/ 23832 h 36980"/>
                        <a:gd name="connsiteX5" fmla="*/ 135922 w 149070"/>
                        <a:gd name="connsiteY5" fmla="*/ 6574 h 36980"/>
                        <a:gd name="connsiteX6" fmla="*/ 142497 w 149070"/>
                        <a:gd name="connsiteY6" fmla="*/ 0 h 36980"/>
                        <a:gd name="connsiteX7" fmla="*/ 149071 w 149070"/>
                        <a:gd name="connsiteY7" fmla="*/ 6574 h 36980"/>
                        <a:gd name="connsiteX8" fmla="*/ 74536 w 149070"/>
                        <a:gd name="connsiteY8" fmla="*/ 36980 h 3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70" h="36980">
                          <a:moveTo>
                            <a:pt x="74536" y="36980"/>
                          </a:moveTo>
                          <a:cubicBezTo>
                            <a:pt x="37501" y="36980"/>
                            <a:pt x="0" y="26516"/>
                            <a:pt x="0" y="6574"/>
                          </a:cubicBezTo>
                          <a:cubicBezTo>
                            <a:pt x="0" y="2931"/>
                            <a:pt x="2931" y="0"/>
                            <a:pt x="6574" y="0"/>
                          </a:cubicBezTo>
                          <a:cubicBezTo>
                            <a:pt x="10190" y="0"/>
                            <a:pt x="13148" y="2931"/>
                            <a:pt x="13148" y="6574"/>
                          </a:cubicBezTo>
                          <a:cubicBezTo>
                            <a:pt x="13148" y="12655"/>
                            <a:pt x="36460" y="23832"/>
                            <a:pt x="74536" y="23832"/>
                          </a:cubicBezTo>
                          <a:cubicBezTo>
                            <a:pt x="112611" y="23832"/>
                            <a:pt x="135922" y="12655"/>
                            <a:pt x="135922" y="6574"/>
                          </a:cubicBezTo>
                          <a:cubicBezTo>
                            <a:pt x="135922" y="2931"/>
                            <a:pt x="138881" y="0"/>
                            <a:pt x="142497" y="0"/>
                          </a:cubicBezTo>
                          <a:cubicBezTo>
                            <a:pt x="146140" y="0"/>
                            <a:pt x="149071" y="2931"/>
                            <a:pt x="149071" y="6574"/>
                          </a:cubicBezTo>
                          <a:cubicBezTo>
                            <a:pt x="149071" y="26516"/>
                            <a:pt x="111570" y="36980"/>
                            <a:pt x="74536" y="36980"/>
                          </a:cubicBezTo>
                          <a:close/>
                        </a:path>
                      </a:pathLst>
                    </a:custGeom>
                    <a:solidFill>
                      <a:schemeClr val="accent1"/>
                    </a:solidFill>
                    <a:ln w="274" cap="flat">
                      <a:noFill/>
                      <a:prstDash val="solid"/>
                      <a:miter/>
                    </a:ln>
                  </p:spPr>
                  <p:txBody>
                    <a:bodyPr rtlCol="0" anchor="ctr"/>
                    <a:lstStyle/>
                    <a:p>
                      <a:endParaRPr lang="en-GB" dirty="0"/>
                    </a:p>
                  </p:txBody>
                </p:sp>
                <p:sp>
                  <p:nvSpPr>
                    <p:cNvPr id="826" name="Freihandform: Form 825">
                      <a:extLst>
                        <a:ext uri="{FF2B5EF4-FFF2-40B4-BE49-F238E27FC236}">
                          <a16:creationId xmlns:a16="http://schemas.microsoft.com/office/drawing/2014/main" id="{160915E2-9D7C-4F63-89B8-72B66182FCA9}"/>
                        </a:ext>
                      </a:extLst>
                    </p:cNvPr>
                    <p:cNvSpPr/>
                    <p:nvPr/>
                  </p:nvSpPr>
                  <p:spPr>
                    <a:xfrm>
                      <a:off x="8083005" y="4372540"/>
                      <a:ext cx="149070" cy="66728"/>
                    </a:xfrm>
                    <a:custGeom>
                      <a:avLst/>
                      <a:gdLst>
                        <a:gd name="connsiteX0" fmla="*/ 74536 w 149070"/>
                        <a:gd name="connsiteY0" fmla="*/ 66729 h 66728"/>
                        <a:gd name="connsiteX1" fmla="*/ 0 w 149070"/>
                        <a:gd name="connsiteY1" fmla="*/ 36350 h 66728"/>
                        <a:gd name="connsiteX2" fmla="*/ 0 w 149070"/>
                        <a:gd name="connsiteY2" fmla="*/ 6574 h 66728"/>
                        <a:gd name="connsiteX3" fmla="*/ 6574 w 149070"/>
                        <a:gd name="connsiteY3" fmla="*/ 0 h 66728"/>
                        <a:gd name="connsiteX4" fmla="*/ 13148 w 149070"/>
                        <a:gd name="connsiteY4" fmla="*/ 6574 h 66728"/>
                        <a:gd name="connsiteX5" fmla="*/ 13148 w 149070"/>
                        <a:gd name="connsiteY5" fmla="*/ 36350 h 66728"/>
                        <a:gd name="connsiteX6" fmla="*/ 74536 w 149070"/>
                        <a:gd name="connsiteY6" fmla="*/ 53607 h 66728"/>
                        <a:gd name="connsiteX7" fmla="*/ 135922 w 149070"/>
                        <a:gd name="connsiteY7" fmla="*/ 36350 h 66728"/>
                        <a:gd name="connsiteX8" fmla="*/ 135922 w 149070"/>
                        <a:gd name="connsiteY8" fmla="*/ 6574 h 66728"/>
                        <a:gd name="connsiteX9" fmla="*/ 142497 w 149070"/>
                        <a:gd name="connsiteY9" fmla="*/ 0 h 66728"/>
                        <a:gd name="connsiteX10" fmla="*/ 149071 w 149070"/>
                        <a:gd name="connsiteY10" fmla="*/ 6574 h 66728"/>
                        <a:gd name="connsiteX11" fmla="*/ 149071 w 149070"/>
                        <a:gd name="connsiteY11" fmla="*/ 36350 h 66728"/>
                        <a:gd name="connsiteX12" fmla="*/ 74536 w 149070"/>
                        <a:gd name="connsiteY12" fmla="*/ 66729 h 66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070" h="66728">
                          <a:moveTo>
                            <a:pt x="74536" y="66729"/>
                          </a:moveTo>
                          <a:cubicBezTo>
                            <a:pt x="37501" y="66729"/>
                            <a:pt x="0" y="56292"/>
                            <a:pt x="0" y="36350"/>
                          </a:cubicBezTo>
                          <a:lnTo>
                            <a:pt x="0" y="6574"/>
                          </a:lnTo>
                          <a:cubicBezTo>
                            <a:pt x="0" y="2931"/>
                            <a:pt x="2931" y="0"/>
                            <a:pt x="6574" y="0"/>
                          </a:cubicBezTo>
                          <a:cubicBezTo>
                            <a:pt x="10190" y="0"/>
                            <a:pt x="13148" y="2931"/>
                            <a:pt x="13148" y="6574"/>
                          </a:cubicBezTo>
                          <a:lnTo>
                            <a:pt x="13148" y="36350"/>
                          </a:lnTo>
                          <a:cubicBezTo>
                            <a:pt x="13148" y="42431"/>
                            <a:pt x="36460" y="53607"/>
                            <a:pt x="74536" y="53607"/>
                          </a:cubicBezTo>
                          <a:cubicBezTo>
                            <a:pt x="112611" y="53607"/>
                            <a:pt x="135922" y="42431"/>
                            <a:pt x="135922" y="36350"/>
                          </a:cubicBezTo>
                          <a:lnTo>
                            <a:pt x="135922" y="6574"/>
                          </a:lnTo>
                          <a:cubicBezTo>
                            <a:pt x="135922" y="2931"/>
                            <a:pt x="138881" y="0"/>
                            <a:pt x="142497" y="0"/>
                          </a:cubicBezTo>
                          <a:cubicBezTo>
                            <a:pt x="146140" y="0"/>
                            <a:pt x="149071" y="2931"/>
                            <a:pt x="149071" y="6574"/>
                          </a:cubicBezTo>
                          <a:lnTo>
                            <a:pt x="149071" y="36350"/>
                          </a:lnTo>
                          <a:cubicBezTo>
                            <a:pt x="149071" y="56292"/>
                            <a:pt x="111570" y="66729"/>
                            <a:pt x="74536" y="66729"/>
                          </a:cubicBezTo>
                          <a:close/>
                        </a:path>
                      </a:pathLst>
                    </a:custGeom>
                    <a:solidFill>
                      <a:schemeClr val="accent1"/>
                    </a:solidFill>
                    <a:ln w="274" cap="flat">
                      <a:noFill/>
                      <a:prstDash val="solid"/>
                      <a:miter/>
                    </a:ln>
                  </p:spPr>
                  <p:txBody>
                    <a:bodyPr rtlCol="0" anchor="ctr"/>
                    <a:lstStyle/>
                    <a:p>
                      <a:endParaRPr lang="en-GB" dirty="0"/>
                    </a:p>
                  </p:txBody>
                </p:sp>
              </p:grpSp>
            </p:grpSp>
            <p:grpSp>
              <p:nvGrpSpPr>
                <p:cNvPr id="816" name="Grafik 349">
                  <a:extLst>
                    <a:ext uri="{FF2B5EF4-FFF2-40B4-BE49-F238E27FC236}">
                      <a16:creationId xmlns:a16="http://schemas.microsoft.com/office/drawing/2014/main" id="{9BA2A49C-CDC7-43FD-8ABD-EF67EA754E28}"/>
                    </a:ext>
                  </a:extLst>
                </p:cNvPr>
                <p:cNvGrpSpPr/>
                <p:nvPr/>
              </p:nvGrpSpPr>
              <p:grpSpPr>
                <a:xfrm>
                  <a:off x="8083005" y="4290225"/>
                  <a:ext cx="149070" cy="119568"/>
                  <a:chOff x="8083005" y="4290225"/>
                  <a:chExt cx="149070" cy="119568"/>
                </a:xfrm>
                <a:solidFill>
                  <a:schemeClr val="accent1"/>
                </a:solidFill>
              </p:grpSpPr>
              <p:grpSp>
                <p:nvGrpSpPr>
                  <p:cNvPr id="817" name="Grafik 349">
                    <a:extLst>
                      <a:ext uri="{FF2B5EF4-FFF2-40B4-BE49-F238E27FC236}">
                        <a16:creationId xmlns:a16="http://schemas.microsoft.com/office/drawing/2014/main" id="{EC6FE94D-96A4-4D35-8328-E8A02082C0D3}"/>
                      </a:ext>
                    </a:extLst>
                  </p:cNvPr>
                  <p:cNvGrpSpPr/>
                  <p:nvPr/>
                </p:nvGrpSpPr>
                <p:grpSpPr>
                  <a:xfrm>
                    <a:off x="8083005" y="4343071"/>
                    <a:ext cx="149070" cy="66723"/>
                    <a:chOff x="8083005" y="4343071"/>
                    <a:chExt cx="149070" cy="66723"/>
                  </a:xfrm>
                  <a:solidFill>
                    <a:schemeClr val="accent1"/>
                  </a:solidFill>
                </p:grpSpPr>
                <p:sp>
                  <p:nvSpPr>
                    <p:cNvPr id="821" name="Freihandform: Form 820">
                      <a:extLst>
                        <a:ext uri="{FF2B5EF4-FFF2-40B4-BE49-F238E27FC236}">
                          <a16:creationId xmlns:a16="http://schemas.microsoft.com/office/drawing/2014/main" id="{37EEE0CE-CC7E-43A6-8C22-DCD184D3EF9B}"/>
                        </a:ext>
                      </a:extLst>
                    </p:cNvPr>
                    <p:cNvSpPr/>
                    <p:nvPr/>
                  </p:nvSpPr>
                  <p:spPr>
                    <a:xfrm>
                      <a:off x="8083005" y="4343074"/>
                      <a:ext cx="149070" cy="36971"/>
                    </a:xfrm>
                    <a:custGeom>
                      <a:avLst/>
                      <a:gdLst>
                        <a:gd name="connsiteX0" fmla="*/ 74536 w 149070"/>
                        <a:gd name="connsiteY0" fmla="*/ 36972 h 36971"/>
                        <a:gd name="connsiteX1" fmla="*/ 0 w 149070"/>
                        <a:gd name="connsiteY1" fmla="*/ 6571 h 36971"/>
                        <a:gd name="connsiteX2" fmla="*/ 6574 w 149070"/>
                        <a:gd name="connsiteY2" fmla="*/ 0 h 36971"/>
                        <a:gd name="connsiteX3" fmla="*/ 13148 w 149070"/>
                        <a:gd name="connsiteY3" fmla="*/ 6571 h 36971"/>
                        <a:gd name="connsiteX4" fmla="*/ 74536 w 149070"/>
                        <a:gd name="connsiteY4" fmla="*/ 23823 h 36971"/>
                        <a:gd name="connsiteX5" fmla="*/ 135922 w 149070"/>
                        <a:gd name="connsiteY5" fmla="*/ 6571 h 36971"/>
                        <a:gd name="connsiteX6" fmla="*/ 142497 w 149070"/>
                        <a:gd name="connsiteY6" fmla="*/ 0 h 36971"/>
                        <a:gd name="connsiteX7" fmla="*/ 149071 w 149070"/>
                        <a:gd name="connsiteY7" fmla="*/ 6571 h 36971"/>
                        <a:gd name="connsiteX8" fmla="*/ 74536 w 149070"/>
                        <a:gd name="connsiteY8" fmla="*/ 36972 h 36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9070" h="36971">
                          <a:moveTo>
                            <a:pt x="74536" y="36972"/>
                          </a:moveTo>
                          <a:cubicBezTo>
                            <a:pt x="37501" y="36972"/>
                            <a:pt x="0" y="26535"/>
                            <a:pt x="0" y="6571"/>
                          </a:cubicBezTo>
                          <a:cubicBezTo>
                            <a:pt x="0" y="2939"/>
                            <a:pt x="2931" y="0"/>
                            <a:pt x="6574" y="0"/>
                          </a:cubicBezTo>
                          <a:cubicBezTo>
                            <a:pt x="10190" y="0"/>
                            <a:pt x="13148" y="2939"/>
                            <a:pt x="13148" y="6571"/>
                          </a:cubicBezTo>
                          <a:cubicBezTo>
                            <a:pt x="13148" y="12653"/>
                            <a:pt x="36460" y="23823"/>
                            <a:pt x="74536" y="23823"/>
                          </a:cubicBezTo>
                          <a:cubicBezTo>
                            <a:pt x="112611" y="23823"/>
                            <a:pt x="135922" y="12653"/>
                            <a:pt x="135922" y="6571"/>
                          </a:cubicBezTo>
                          <a:cubicBezTo>
                            <a:pt x="135922" y="2939"/>
                            <a:pt x="138881" y="0"/>
                            <a:pt x="142497" y="0"/>
                          </a:cubicBezTo>
                          <a:cubicBezTo>
                            <a:pt x="146140" y="0"/>
                            <a:pt x="149071" y="2939"/>
                            <a:pt x="149071" y="6571"/>
                          </a:cubicBezTo>
                          <a:cubicBezTo>
                            <a:pt x="149071" y="26535"/>
                            <a:pt x="111570" y="36972"/>
                            <a:pt x="74536" y="36972"/>
                          </a:cubicBezTo>
                          <a:close/>
                        </a:path>
                      </a:pathLst>
                    </a:custGeom>
                    <a:solidFill>
                      <a:schemeClr val="accent1"/>
                    </a:solidFill>
                    <a:ln w="274" cap="flat">
                      <a:noFill/>
                      <a:prstDash val="solid"/>
                      <a:miter/>
                    </a:ln>
                  </p:spPr>
                  <p:txBody>
                    <a:bodyPr rtlCol="0" anchor="ctr"/>
                    <a:lstStyle/>
                    <a:p>
                      <a:endParaRPr lang="en-GB" dirty="0"/>
                    </a:p>
                  </p:txBody>
                </p:sp>
                <p:sp>
                  <p:nvSpPr>
                    <p:cNvPr id="822" name="Freihandform: Form 821">
                      <a:extLst>
                        <a:ext uri="{FF2B5EF4-FFF2-40B4-BE49-F238E27FC236}">
                          <a16:creationId xmlns:a16="http://schemas.microsoft.com/office/drawing/2014/main" id="{29CA5C8D-23C6-4375-AD98-E25D9EFE9E72}"/>
                        </a:ext>
                      </a:extLst>
                    </p:cNvPr>
                    <p:cNvSpPr/>
                    <p:nvPr/>
                  </p:nvSpPr>
                  <p:spPr>
                    <a:xfrm>
                      <a:off x="8083005" y="4343071"/>
                      <a:ext cx="149070" cy="66723"/>
                    </a:xfrm>
                    <a:custGeom>
                      <a:avLst/>
                      <a:gdLst>
                        <a:gd name="connsiteX0" fmla="*/ 74536 w 149070"/>
                        <a:gd name="connsiteY0" fmla="*/ 66723 h 66723"/>
                        <a:gd name="connsiteX1" fmla="*/ 0 w 149070"/>
                        <a:gd name="connsiteY1" fmla="*/ 36345 h 66723"/>
                        <a:gd name="connsiteX2" fmla="*/ 0 w 149070"/>
                        <a:gd name="connsiteY2" fmla="*/ 6572 h 66723"/>
                        <a:gd name="connsiteX3" fmla="*/ 6574 w 149070"/>
                        <a:gd name="connsiteY3" fmla="*/ 0 h 66723"/>
                        <a:gd name="connsiteX4" fmla="*/ 13148 w 149070"/>
                        <a:gd name="connsiteY4" fmla="*/ 6572 h 66723"/>
                        <a:gd name="connsiteX5" fmla="*/ 13148 w 149070"/>
                        <a:gd name="connsiteY5" fmla="*/ 36345 h 66723"/>
                        <a:gd name="connsiteX6" fmla="*/ 74536 w 149070"/>
                        <a:gd name="connsiteY6" fmla="*/ 53602 h 66723"/>
                        <a:gd name="connsiteX7" fmla="*/ 135922 w 149070"/>
                        <a:gd name="connsiteY7" fmla="*/ 36345 h 66723"/>
                        <a:gd name="connsiteX8" fmla="*/ 135922 w 149070"/>
                        <a:gd name="connsiteY8" fmla="*/ 6572 h 66723"/>
                        <a:gd name="connsiteX9" fmla="*/ 142497 w 149070"/>
                        <a:gd name="connsiteY9" fmla="*/ 0 h 66723"/>
                        <a:gd name="connsiteX10" fmla="*/ 149071 w 149070"/>
                        <a:gd name="connsiteY10" fmla="*/ 6572 h 66723"/>
                        <a:gd name="connsiteX11" fmla="*/ 149071 w 149070"/>
                        <a:gd name="connsiteY11" fmla="*/ 36345 h 66723"/>
                        <a:gd name="connsiteX12" fmla="*/ 74536 w 149070"/>
                        <a:gd name="connsiteY12" fmla="*/ 66723 h 66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070" h="66723">
                          <a:moveTo>
                            <a:pt x="74536" y="66723"/>
                          </a:moveTo>
                          <a:cubicBezTo>
                            <a:pt x="37501" y="66723"/>
                            <a:pt x="0" y="56287"/>
                            <a:pt x="0" y="36345"/>
                          </a:cubicBezTo>
                          <a:lnTo>
                            <a:pt x="0" y="6572"/>
                          </a:lnTo>
                          <a:cubicBezTo>
                            <a:pt x="0" y="2939"/>
                            <a:pt x="2931" y="0"/>
                            <a:pt x="6574" y="0"/>
                          </a:cubicBezTo>
                          <a:cubicBezTo>
                            <a:pt x="10190" y="0"/>
                            <a:pt x="13148" y="2939"/>
                            <a:pt x="13148" y="6572"/>
                          </a:cubicBezTo>
                          <a:lnTo>
                            <a:pt x="13148" y="36345"/>
                          </a:lnTo>
                          <a:cubicBezTo>
                            <a:pt x="13148" y="42426"/>
                            <a:pt x="36460" y="53602"/>
                            <a:pt x="74536" y="53602"/>
                          </a:cubicBezTo>
                          <a:cubicBezTo>
                            <a:pt x="112611" y="53602"/>
                            <a:pt x="135922" y="42426"/>
                            <a:pt x="135922" y="36345"/>
                          </a:cubicBezTo>
                          <a:lnTo>
                            <a:pt x="135922" y="6572"/>
                          </a:lnTo>
                          <a:cubicBezTo>
                            <a:pt x="135922" y="2939"/>
                            <a:pt x="138881" y="0"/>
                            <a:pt x="142497" y="0"/>
                          </a:cubicBezTo>
                          <a:cubicBezTo>
                            <a:pt x="146140" y="0"/>
                            <a:pt x="149071" y="2939"/>
                            <a:pt x="149071" y="6572"/>
                          </a:cubicBezTo>
                          <a:lnTo>
                            <a:pt x="149071" y="36345"/>
                          </a:lnTo>
                          <a:cubicBezTo>
                            <a:pt x="149071" y="56287"/>
                            <a:pt x="111570" y="66723"/>
                            <a:pt x="74536" y="66723"/>
                          </a:cubicBezTo>
                          <a:close/>
                        </a:path>
                      </a:pathLst>
                    </a:custGeom>
                    <a:solidFill>
                      <a:schemeClr val="accent1"/>
                    </a:solidFill>
                    <a:ln w="274" cap="flat">
                      <a:noFill/>
                      <a:prstDash val="solid"/>
                      <a:miter/>
                    </a:ln>
                  </p:spPr>
                  <p:txBody>
                    <a:bodyPr rtlCol="0" anchor="ctr"/>
                    <a:lstStyle/>
                    <a:p>
                      <a:endParaRPr lang="en-GB" dirty="0"/>
                    </a:p>
                  </p:txBody>
                </p:sp>
              </p:grpSp>
              <p:grpSp>
                <p:nvGrpSpPr>
                  <p:cNvPr id="818" name="Grafik 349">
                    <a:extLst>
                      <a:ext uri="{FF2B5EF4-FFF2-40B4-BE49-F238E27FC236}">
                        <a16:creationId xmlns:a16="http://schemas.microsoft.com/office/drawing/2014/main" id="{8D9ACF14-6A6D-42D0-A902-D41BA3B5AE28}"/>
                      </a:ext>
                    </a:extLst>
                  </p:cNvPr>
                  <p:cNvGrpSpPr/>
                  <p:nvPr/>
                </p:nvGrpSpPr>
                <p:grpSpPr>
                  <a:xfrm>
                    <a:off x="8083005" y="4290225"/>
                    <a:ext cx="149070" cy="90560"/>
                    <a:chOff x="8083005" y="4290225"/>
                    <a:chExt cx="149070" cy="90560"/>
                  </a:xfrm>
                  <a:solidFill>
                    <a:schemeClr val="accent1"/>
                  </a:solidFill>
                </p:grpSpPr>
                <p:sp>
                  <p:nvSpPr>
                    <p:cNvPr id="819" name="Freihandform: Form 818">
                      <a:extLst>
                        <a:ext uri="{FF2B5EF4-FFF2-40B4-BE49-F238E27FC236}">
                          <a16:creationId xmlns:a16="http://schemas.microsoft.com/office/drawing/2014/main" id="{952BB8C0-0CC4-467D-BE5D-E72FC1B07816}"/>
                        </a:ext>
                      </a:extLst>
                    </p:cNvPr>
                    <p:cNvSpPr/>
                    <p:nvPr/>
                  </p:nvSpPr>
                  <p:spPr>
                    <a:xfrm>
                      <a:off x="8083005" y="4290225"/>
                      <a:ext cx="149070" cy="60778"/>
                    </a:xfrm>
                    <a:custGeom>
                      <a:avLst/>
                      <a:gdLst>
                        <a:gd name="connsiteX0" fmla="*/ 74536 w 149070"/>
                        <a:gd name="connsiteY0" fmla="*/ 60779 h 60778"/>
                        <a:gd name="connsiteX1" fmla="*/ 0 w 149070"/>
                        <a:gd name="connsiteY1" fmla="*/ 30392 h 60778"/>
                        <a:gd name="connsiteX2" fmla="*/ 74536 w 149070"/>
                        <a:gd name="connsiteY2" fmla="*/ 0 h 60778"/>
                        <a:gd name="connsiteX3" fmla="*/ 149071 w 149070"/>
                        <a:gd name="connsiteY3" fmla="*/ 30392 h 60778"/>
                        <a:gd name="connsiteX4" fmla="*/ 74536 w 149070"/>
                        <a:gd name="connsiteY4" fmla="*/ 60779 h 60778"/>
                        <a:gd name="connsiteX5" fmla="*/ 74536 w 149070"/>
                        <a:gd name="connsiteY5" fmla="*/ 13140 h 60778"/>
                        <a:gd name="connsiteX6" fmla="*/ 13148 w 149070"/>
                        <a:gd name="connsiteY6" fmla="*/ 30392 h 60778"/>
                        <a:gd name="connsiteX7" fmla="*/ 74536 w 149070"/>
                        <a:gd name="connsiteY7" fmla="*/ 47639 h 60778"/>
                        <a:gd name="connsiteX8" fmla="*/ 135922 w 149070"/>
                        <a:gd name="connsiteY8" fmla="*/ 30392 h 60778"/>
                        <a:gd name="connsiteX9" fmla="*/ 74536 w 149070"/>
                        <a:gd name="connsiteY9" fmla="*/ 13140 h 6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9070" h="60778">
                          <a:moveTo>
                            <a:pt x="74536" y="60779"/>
                          </a:moveTo>
                          <a:cubicBezTo>
                            <a:pt x="37501" y="60779"/>
                            <a:pt x="0" y="50340"/>
                            <a:pt x="0" y="30392"/>
                          </a:cubicBezTo>
                          <a:cubicBezTo>
                            <a:pt x="0" y="10439"/>
                            <a:pt x="37501" y="0"/>
                            <a:pt x="74536" y="0"/>
                          </a:cubicBezTo>
                          <a:cubicBezTo>
                            <a:pt x="111570" y="0"/>
                            <a:pt x="149071" y="10439"/>
                            <a:pt x="149071" y="30392"/>
                          </a:cubicBezTo>
                          <a:cubicBezTo>
                            <a:pt x="149071" y="50340"/>
                            <a:pt x="111570" y="60779"/>
                            <a:pt x="74536" y="60779"/>
                          </a:cubicBezTo>
                          <a:close/>
                          <a:moveTo>
                            <a:pt x="74536" y="13140"/>
                          </a:moveTo>
                          <a:cubicBezTo>
                            <a:pt x="36460" y="13140"/>
                            <a:pt x="13148" y="24311"/>
                            <a:pt x="13148" y="30392"/>
                          </a:cubicBezTo>
                          <a:cubicBezTo>
                            <a:pt x="13148" y="36473"/>
                            <a:pt x="36460" y="47639"/>
                            <a:pt x="74536" y="47639"/>
                          </a:cubicBezTo>
                          <a:cubicBezTo>
                            <a:pt x="112611" y="47639"/>
                            <a:pt x="135922" y="36476"/>
                            <a:pt x="135922" y="30392"/>
                          </a:cubicBezTo>
                          <a:cubicBezTo>
                            <a:pt x="135922" y="24308"/>
                            <a:pt x="112611" y="13140"/>
                            <a:pt x="74536" y="13140"/>
                          </a:cubicBezTo>
                          <a:close/>
                        </a:path>
                      </a:pathLst>
                    </a:custGeom>
                    <a:solidFill>
                      <a:schemeClr val="accent1"/>
                    </a:solidFill>
                    <a:ln w="274" cap="flat">
                      <a:noFill/>
                      <a:prstDash val="solid"/>
                      <a:miter/>
                    </a:ln>
                  </p:spPr>
                  <p:txBody>
                    <a:bodyPr rtlCol="0" anchor="ctr"/>
                    <a:lstStyle/>
                    <a:p>
                      <a:endParaRPr lang="en-GB" dirty="0"/>
                    </a:p>
                  </p:txBody>
                </p:sp>
                <p:sp>
                  <p:nvSpPr>
                    <p:cNvPr id="820" name="Freihandform: Form 819">
                      <a:extLst>
                        <a:ext uri="{FF2B5EF4-FFF2-40B4-BE49-F238E27FC236}">
                          <a16:creationId xmlns:a16="http://schemas.microsoft.com/office/drawing/2014/main" id="{C4BB03A1-5820-4147-BFAA-04D2843854B2}"/>
                        </a:ext>
                      </a:extLst>
                    </p:cNvPr>
                    <p:cNvSpPr/>
                    <p:nvPr/>
                  </p:nvSpPr>
                  <p:spPr>
                    <a:xfrm>
                      <a:off x="8083005" y="4314049"/>
                      <a:ext cx="149070" cy="66736"/>
                    </a:xfrm>
                    <a:custGeom>
                      <a:avLst/>
                      <a:gdLst>
                        <a:gd name="connsiteX0" fmla="*/ 74536 w 149070"/>
                        <a:gd name="connsiteY0" fmla="*/ 66737 h 66736"/>
                        <a:gd name="connsiteX1" fmla="*/ 0 w 149070"/>
                        <a:gd name="connsiteY1" fmla="*/ 36342 h 66736"/>
                        <a:gd name="connsiteX2" fmla="*/ 0 w 149070"/>
                        <a:gd name="connsiteY2" fmla="*/ 6572 h 66736"/>
                        <a:gd name="connsiteX3" fmla="*/ 6574 w 149070"/>
                        <a:gd name="connsiteY3" fmla="*/ 0 h 66736"/>
                        <a:gd name="connsiteX4" fmla="*/ 13148 w 149070"/>
                        <a:gd name="connsiteY4" fmla="*/ 6572 h 66736"/>
                        <a:gd name="connsiteX5" fmla="*/ 13148 w 149070"/>
                        <a:gd name="connsiteY5" fmla="*/ 36342 h 66736"/>
                        <a:gd name="connsiteX6" fmla="*/ 74536 w 149070"/>
                        <a:gd name="connsiteY6" fmla="*/ 53588 h 66736"/>
                        <a:gd name="connsiteX7" fmla="*/ 135922 w 149070"/>
                        <a:gd name="connsiteY7" fmla="*/ 36342 h 66736"/>
                        <a:gd name="connsiteX8" fmla="*/ 135922 w 149070"/>
                        <a:gd name="connsiteY8" fmla="*/ 6572 h 66736"/>
                        <a:gd name="connsiteX9" fmla="*/ 142497 w 149070"/>
                        <a:gd name="connsiteY9" fmla="*/ 0 h 66736"/>
                        <a:gd name="connsiteX10" fmla="*/ 149071 w 149070"/>
                        <a:gd name="connsiteY10" fmla="*/ 6572 h 66736"/>
                        <a:gd name="connsiteX11" fmla="*/ 149071 w 149070"/>
                        <a:gd name="connsiteY11" fmla="*/ 36342 h 66736"/>
                        <a:gd name="connsiteX12" fmla="*/ 74536 w 149070"/>
                        <a:gd name="connsiteY12" fmla="*/ 66737 h 6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070" h="66736">
                          <a:moveTo>
                            <a:pt x="74536" y="66737"/>
                          </a:moveTo>
                          <a:cubicBezTo>
                            <a:pt x="37501" y="66737"/>
                            <a:pt x="0" y="56300"/>
                            <a:pt x="0" y="36342"/>
                          </a:cubicBezTo>
                          <a:lnTo>
                            <a:pt x="0" y="6572"/>
                          </a:lnTo>
                          <a:cubicBezTo>
                            <a:pt x="0" y="2939"/>
                            <a:pt x="2931" y="0"/>
                            <a:pt x="6574" y="0"/>
                          </a:cubicBezTo>
                          <a:cubicBezTo>
                            <a:pt x="10190" y="0"/>
                            <a:pt x="13148" y="2939"/>
                            <a:pt x="13148" y="6572"/>
                          </a:cubicBezTo>
                          <a:lnTo>
                            <a:pt x="13148" y="36342"/>
                          </a:lnTo>
                          <a:cubicBezTo>
                            <a:pt x="13148" y="42426"/>
                            <a:pt x="36460" y="53588"/>
                            <a:pt x="74536" y="53588"/>
                          </a:cubicBezTo>
                          <a:cubicBezTo>
                            <a:pt x="112611" y="53588"/>
                            <a:pt x="135922" y="42423"/>
                            <a:pt x="135922" y="36342"/>
                          </a:cubicBezTo>
                          <a:lnTo>
                            <a:pt x="135922" y="6572"/>
                          </a:lnTo>
                          <a:cubicBezTo>
                            <a:pt x="135922" y="2939"/>
                            <a:pt x="138881" y="0"/>
                            <a:pt x="142497" y="0"/>
                          </a:cubicBezTo>
                          <a:cubicBezTo>
                            <a:pt x="146140" y="0"/>
                            <a:pt x="149071" y="2939"/>
                            <a:pt x="149071" y="6572"/>
                          </a:cubicBezTo>
                          <a:lnTo>
                            <a:pt x="149071" y="36342"/>
                          </a:lnTo>
                          <a:cubicBezTo>
                            <a:pt x="149071" y="56300"/>
                            <a:pt x="111570" y="66737"/>
                            <a:pt x="74536" y="66737"/>
                          </a:cubicBezTo>
                          <a:close/>
                        </a:path>
                      </a:pathLst>
                    </a:custGeom>
                    <a:solidFill>
                      <a:schemeClr val="accent1"/>
                    </a:solidFill>
                    <a:ln w="274" cap="flat">
                      <a:noFill/>
                      <a:prstDash val="solid"/>
                      <a:miter/>
                    </a:ln>
                  </p:spPr>
                  <p:txBody>
                    <a:bodyPr rtlCol="0" anchor="ctr"/>
                    <a:lstStyle/>
                    <a:p>
                      <a:endParaRPr lang="en-GB" dirty="0"/>
                    </a:p>
                  </p:txBody>
                </p:sp>
              </p:grpSp>
            </p:grpSp>
          </p:grpSp>
        </p:grpSp>
      </p:grpSp>
      <p:sp>
        <p:nvSpPr>
          <p:cNvPr id="845" name="TextBox 1422">
            <a:extLst>
              <a:ext uri="{FF2B5EF4-FFF2-40B4-BE49-F238E27FC236}">
                <a16:creationId xmlns:a16="http://schemas.microsoft.com/office/drawing/2014/main" id="{6F79B832-2CE5-4276-848E-E5356B56B54D}"/>
              </a:ext>
            </a:extLst>
          </p:cNvPr>
          <p:cNvSpPr txBox="1"/>
          <p:nvPr/>
        </p:nvSpPr>
        <p:spPr>
          <a:xfrm>
            <a:off x="8200802" y="4547732"/>
            <a:ext cx="283732" cy="107722"/>
          </a:xfrm>
          <a:prstGeom prst="rect">
            <a:avLst/>
          </a:prstGeom>
          <a:noFill/>
          <a:effectLst/>
        </p:spPr>
        <p:txBody>
          <a:bodyPr wrap="none" lIns="0" tIns="0" rIns="0" bIns="0" rtlCol="0" anchor="t">
            <a:spAutoFit/>
          </a:bodyPr>
          <a:lstStyle/>
          <a:p>
            <a:pPr algn="ctr"/>
            <a:r>
              <a:rPr lang="en-GB" sz="700" dirty="0">
                <a:solidFill>
                  <a:schemeClr val="tx2"/>
                </a:solidFill>
              </a:rPr>
              <a:t>Budget</a:t>
            </a:r>
          </a:p>
        </p:txBody>
      </p:sp>
      <p:grpSp>
        <p:nvGrpSpPr>
          <p:cNvPr id="33" name="Group 32">
            <a:extLst>
              <a:ext uri="{FF2B5EF4-FFF2-40B4-BE49-F238E27FC236}">
                <a16:creationId xmlns:a16="http://schemas.microsoft.com/office/drawing/2014/main" id="{CCDA42CF-ABD6-4299-81B3-A6408FA7CC62}"/>
              </a:ext>
            </a:extLst>
          </p:cNvPr>
          <p:cNvGrpSpPr/>
          <p:nvPr/>
        </p:nvGrpSpPr>
        <p:grpSpPr>
          <a:xfrm>
            <a:off x="8135659" y="3273397"/>
            <a:ext cx="414018" cy="432000"/>
            <a:chOff x="8135247" y="3273397"/>
            <a:chExt cx="414018" cy="432000"/>
          </a:xfrm>
        </p:grpSpPr>
        <p:grpSp>
          <p:nvGrpSpPr>
            <p:cNvPr id="847" name="Gruppieren 846">
              <a:extLst>
                <a:ext uri="{FF2B5EF4-FFF2-40B4-BE49-F238E27FC236}">
                  <a16:creationId xmlns:a16="http://schemas.microsoft.com/office/drawing/2014/main" id="{AE939C3F-F29F-4F75-A870-05B5C1135C48}"/>
                </a:ext>
              </a:extLst>
            </p:cNvPr>
            <p:cNvGrpSpPr/>
            <p:nvPr/>
          </p:nvGrpSpPr>
          <p:grpSpPr>
            <a:xfrm>
              <a:off x="8209391" y="3343288"/>
              <a:ext cx="265284" cy="362109"/>
              <a:chOff x="7851261" y="3369911"/>
              <a:chExt cx="266450" cy="363701"/>
            </a:xfrm>
          </p:grpSpPr>
          <p:sp>
            <p:nvSpPr>
              <p:cNvPr id="871" name="Freihandform: Form 870">
                <a:extLst>
                  <a:ext uri="{FF2B5EF4-FFF2-40B4-BE49-F238E27FC236}">
                    <a16:creationId xmlns:a16="http://schemas.microsoft.com/office/drawing/2014/main" id="{4BB7C93A-4C01-438E-9BED-00B1EB683CFE}"/>
                  </a:ext>
                </a:extLst>
              </p:cNvPr>
              <p:cNvSpPr/>
              <p:nvPr/>
            </p:nvSpPr>
            <p:spPr>
              <a:xfrm>
                <a:off x="7851261" y="3369911"/>
                <a:ext cx="266450" cy="292850"/>
              </a:xfrm>
              <a:custGeom>
                <a:avLst/>
                <a:gdLst>
                  <a:gd name="connsiteX0" fmla="*/ 193230 w 266450"/>
                  <a:gd name="connsiteY0" fmla="*/ 292850 h 292850"/>
                  <a:gd name="connsiteX1" fmla="*/ 192600 w 266450"/>
                  <a:gd name="connsiteY1" fmla="*/ 292817 h 292850"/>
                  <a:gd name="connsiteX2" fmla="*/ 186683 w 266450"/>
                  <a:gd name="connsiteY2" fmla="*/ 285657 h 292850"/>
                  <a:gd name="connsiteX3" fmla="*/ 187450 w 266450"/>
                  <a:gd name="connsiteY3" fmla="*/ 277425 h 292850"/>
                  <a:gd name="connsiteX4" fmla="*/ 218404 w 266450"/>
                  <a:gd name="connsiteY4" fmla="*/ 216351 h 292850"/>
                  <a:gd name="connsiteX5" fmla="*/ 253302 w 266450"/>
                  <a:gd name="connsiteY5" fmla="*/ 132338 h 292850"/>
                  <a:gd name="connsiteX6" fmla="*/ 213610 w 266450"/>
                  <a:gd name="connsiteY6" fmla="*/ 43769 h 292850"/>
                  <a:gd name="connsiteX7" fmla="*/ 119333 w 266450"/>
                  <a:gd name="connsiteY7" fmla="*/ 13903 h 292850"/>
                  <a:gd name="connsiteX8" fmla="*/ 14082 w 266450"/>
                  <a:gd name="connsiteY8" fmla="*/ 117137 h 292850"/>
                  <a:gd name="connsiteX9" fmla="*/ 49917 w 266450"/>
                  <a:gd name="connsiteY9" fmla="*/ 218178 h 292850"/>
                  <a:gd name="connsiteX10" fmla="*/ 79591 w 266450"/>
                  <a:gd name="connsiteY10" fmla="*/ 283378 h 292850"/>
                  <a:gd name="connsiteX11" fmla="*/ 79778 w 266450"/>
                  <a:gd name="connsiteY11" fmla="*/ 285772 h 292850"/>
                  <a:gd name="connsiteX12" fmla="*/ 73735 w 266450"/>
                  <a:gd name="connsiteY12" fmla="*/ 292831 h 292850"/>
                  <a:gd name="connsiteX13" fmla="*/ 66676 w 266450"/>
                  <a:gd name="connsiteY13" fmla="*/ 286788 h 292850"/>
                  <a:gd name="connsiteX14" fmla="*/ 66484 w 266450"/>
                  <a:gd name="connsiteY14" fmla="*/ 284298 h 292850"/>
                  <a:gd name="connsiteX15" fmla="*/ 40833 w 266450"/>
                  <a:gd name="connsiteY15" fmla="*/ 227675 h 292850"/>
                  <a:gd name="connsiteX16" fmla="*/ 1048 w 266450"/>
                  <a:gd name="connsiteY16" fmla="*/ 115521 h 292850"/>
                  <a:gd name="connsiteX17" fmla="*/ 117886 w 266450"/>
                  <a:gd name="connsiteY17" fmla="*/ 839 h 292850"/>
                  <a:gd name="connsiteX18" fmla="*/ 222376 w 266450"/>
                  <a:gd name="connsiteY18" fmla="*/ 33979 h 292850"/>
                  <a:gd name="connsiteX19" fmla="*/ 266450 w 266450"/>
                  <a:gd name="connsiteY19" fmla="*/ 132338 h 292850"/>
                  <a:gd name="connsiteX20" fmla="*/ 227690 w 266450"/>
                  <a:gd name="connsiteY20" fmla="*/ 225648 h 292850"/>
                  <a:gd name="connsiteX21" fmla="*/ 200516 w 266450"/>
                  <a:gd name="connsiteY21" fmla="*/ 278915 h 292850"/>
                  <a:gd name="connsiteX22" fmla="*/ 199749 w 266450"/>
                  <a:gd name="connsiteY22" fmla="*/ 286903 h 292850"/>
                  <a:gd name="connsiteX23" fmla="*/ 193230 w 266450"/>
                  <a:gd name="connsiteY23" fmla="*/ 292850 h 29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6450" h="292850">
                    <a:moveTo>
                      <a:pt x="193230" y="292850"/>
                    </a:moveTo>
                    <a:cubicBezTo>
                      <a:pt x="193011" y="292850"/>
                      <a:pt x="192819" y="292845"/>
                      <a:pt x="192600" y="292817"/>
                    </a:cubicBezTo>
                    <a:cubicBezTo>
                      <a:pt x="188984" y="292478"/>
                      <a:pt x="186327" y="289270"/>
                      <a:pt x="186683" y="285657"/>
                    </a:cubicBezTo>
                    <a:lnTo>
                      <a:pt x="187450" y="277425"/>
                    </a:lnTo>
                    <a:cubicBezTo>
                      <a:pt x="190490" y="254583"/>
                      <a:pt x="201173" y="233551"/>
                      <a:pt x="218404" y="216351"/>
                    </a:cubicBezTo>
                    <a:cubicBezTo>
                      <a:pt x="240893" y="193870"/>
                      <a:pt x="253302" y="164034"/>
                      <a:pt x="253302" y="132338"/>
                    </a:cubicBezTo>
                    <a:cubicBezTo>
                      <a:pt x="253302" y="98634"/>
                      <a:pt x="238838" y="66354"/>
                      <a:pt x="213610" y="43769"/>
                    </a:cubicBezTo>
                    <a:cubicBezTo>
                      <a:pt x="187751" y="20633"/>
                      <a:pt x="154277" y="10013"/>
                      <a:pt x="119333" y="13903"/>
                    </a:cubicBezTo>
                    <a:cubicBezTo>
                      <a:pt x="65032" y="19935"/>
                      <a:pt x="20768" y="63352"/>
                      <a:pt x="14082" y="117137"/>
                    </a:cubicBezTo>
                    <a:cubicBezTo>
                      <a:pt x="9373" y="155071"/>
                      <a:pt x="22428" y="191897"/>
                      <a:pt x="49917" y="218178"/>
                    </a:cubicBezTo>
                    <a:cubicBezTo>
                      <a:pt x="67470" y="234961"/>
                      <a:pt x="78005" y="258119"/>
                      <a:pt x="79591" y="283378"/>
                    </a:cubicBezTo>
                    <a:lnTo>
                      <a:pt x="79778" y="285772"/>
                    </a:lnTo>
                    <a:cubicBezTo>
                      <a:pt x="80060" y="289390"/>
                      <a:pt x="77353" y="292546"/>
                      <a:pt x="73735" y="292831"/>
                    </a:cubicBezTo>
                    <a:cubicBezTo>
                      <a:pt x="70051" y="293094"/>
                      <a:pt x="66961" y="290399"/>
                      <a:pt x="66676" y="286788"/>
                    </a:cubicBezTo>
                    <a:lnTo>
                      <a:pt x="66484" y="284298"/>
                    </a:lnTo>
                    <a:cubicBezTo>
                      <a:pt x="65103" y="262247"/>
                      <a:pt x="55993" y="242177"/>
                      <a:pt x="40833" y="227675"/>
                    </a:cubicBezTo>
                    <a:cubicBezTo>
                      <a:pt x="10318" y="198493"/>
                      <a:pt x="-4181" y="157610"/>
                      <a:pt x="1048" y="115521"/>
                    </a:cubicBezTo>
                    <a:cubicBezTo>
                      <a:pt x="8477" y="55767"/>
                      <a:pt x="57614" y="7537"/>
                      <a:pt x="117886" y="839"/>
                    </a:cubicBezTo>
                    <a:cubicBezTo>
                      <a:pt x="155976" y="-3420"/>
                      <a:pt x="194106" y="8673"/>
                      <a:pt x="222376" y="33979"/>
                    </a:cubicBezTo>
                    <a:cubicBezTo>
                      <a:pt x="250371" y="59054"/>
                      <a:pt x="266450" y="94900"/>
                      <a:pt x="266450" y="132338"/>
                    </a:cubicBezTo>
                    <a:cubicBezTo>
                      <a:pt x="266450" y="167543"/>
                      <a:pt x="252672" y="200682"/>
                      <a:pt x="227690" y="225648"/>
                    </a:cubicBezTo>
                    <a:cubicBezTo>
                      <a:pt x="212514" y="240790"/>
                      <a:pt x="203146" y="259204"/>
                      <a:pt x="200516" y="278915"/>
                    </a:cubicBezTo>
                    <a:lnTo>
                      <a:pt x="199749" y="286903"/>
                    </a:lnTo>
                    <a:cubicBezTo>
                      <a:pt x="199448" y="290303"/>
                      <a:pt x="196572" y="292850"/>
                      <a:pt x="193230" y="292850"/>
                    </a:cubicBezTo>
                    <a:close/>
                  </a:path>
                </a:pathLst>
              </a:custGeom>
              <a:solidFill>
                <a:schemeClr val="tx2"/>
              </a:solidFill>
              <a:ln w="274" cap="flat">
                <a:noFill/>
                <a:prstDash val="solid"/>
                <a:miter/>
              </a:ln>
            </p:spPr>
            <p:txBody>
              <a:bodyPr rtlCol="0" anchor="ctr"/>
              <a:lstStyle/>
              <a:p>
                <a:endParaRPr lang="en-GB" dirty="0"/>
              </a:p>
            </p:txBody>
          </p:sp>
          <p:sp>
            <p:nvSpPr>
              <p:cNvPr id="872" name="Freihandform: Form 871">
                <a:extLst>
                  <a:ext uri="{FF2B5EF4-FFF2-40B4-BE49-F238E27FC236}">
                    <a16:creationId xmlns:a16="http://schemas.microsoft.com/office/drawing/2014/main" id="{D8D51437-B0A2-4AE5-8EA6-3C27DDD727F5}"/>
                  </a:ext>
                </a:extLst>
              </p:cNvPr>
              <p:cNvSpPr/>
              <p:nvPr/>
            </p:nvSpPr>
            <p:spPr>
              <a:xfrm>
                <a:off x="7918471" y="3687349"/>
                <a:ext cx="131416" cy="13137"/>
              </a:xfrm>
              <a:custGeom>
                <a:avLst/>
                <a:gdLst>
                  <a:gd name="connsiteX0" fmla="*/ 124842 w 131416"/>
                  <a:gd name="connsiteY0" fmla="*/ 13137 h 13137"/>
                  <a:gd name="connsiteX1" fmla="*/ 6572 w 131416"/>
                  <a:gd name="connsiteY1" fmla="*/ 13137 h 13137"/>
                  <a:gd name="connsiteX2" fmla="*/ 0 w 131416"/>
                  <a:gd name="connsiteY2" fmla="*/ 6569 h 13137"/>
                  <a:gd name="connsiteX3" fmla="*/ 6572 w 131416"/>
                  <a:gd name="connsiteY3" fmla="*/ 0 h 13137"/>
                  <a:gd name="connsiteX4" fmla="*/ 124842 w 131416"/>
                  <a:gd name="connsiteY4" fmla="*/ 0 h 13137"/>
                  <a:gd name="connsiteX5" fmla="*/ 131416 w 131416"/>
                  <a:gd name="connsiteY5" fmla="*/ 6569 h 13137"/>
                  <a:gd name="connsiteX6" fmla="*/ 124842 w 131416"/>
                  <a:gd name="connsiteY6" fmla="*/ 13137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16" h="13137">
                    <a:moveTo>
                      <a:pt x="124842" y="13137"/>
                    </a:moveTo>
                    <a:lnTo>
                      <a:pt x="6572" y="13137"/>
                    </a:lnTo>
                    <a:cubicBezTo>
                      <a:pt x="2939" y="13137"/>
                      <a:pt x="0" y="10198"/>
                      <a:pt x="0" y="6569"/>
                    </a:cubicBezTo>
                    <a:cubicBezTo>
                      <a:pt x="0" y="2939"/>
                      <a:pt x="2939" y="0"/>
                      <a:pt x="6572" y="0"/>
                    </a:cubicBezTo>
                    <a:lnTo>
                      <a:pt x="124842" y="0"/>
                    </a:lnTo>
                    <a:cubicBezTo>
                      <a:pt x="128458" y="0"/>
                      <a:pt x="131416" y="2939"/>
                      <a:pt x="131416" y="6569"/>
                    </a:cubicBezTo>
                    <a:cubicBezTo>
                      <a:pt x="131416" y="10198"/>
                      <a:pt x="128458" y="13137"/>
                      <a:pt x="124842" y="13137"/>
                    </a:cubicBezTo>
                    <a:close/>
                  </a:path>
                </a:pathLst>
              </a:custGeom>
              <a:solidFill>
                <a:schemeClr val="tx2"/>
              </a:solidFill>
              <a:ln w="274" cap="flat">
                <a:noFill/>
                <a:prstDash val="solid"/>
                <a:miter/>
              </a:ln>
            </p:spPr>
            <p:txBody>
              <a:bodyPr rtlCol="0" anchor="ctr"/>
              <a:lstStyle/>
              <a:p>
                <a:endParaRPr lang="en-GB" dirty="0"/>
              </a:p>
            </p:txBody>
          </p:sp>
          <p:sp>
            <p:nvSpPr>
              <p:cNvPr id="873" name="Freihandform: Form 872">
                <a:extLst>
                  <a:ext uri="{FF2B5EF4-FFF2-40B4-BE49-F238E27FC236}">
                    <a16:creationId xmlns:a16="http://schemas.microsoft.com/office/drawing/2014/main" id="{3EC52373-748B-449C-9F64-712F957B8454}"/>
                  </a:ext>
                </a:extLst>
              </p:cNvPr>
              <p:cNvSpPr/>
              <p:nvPr/>
            </p:nvSpPr>
            <p:spPr>
              <a:xfrm>
                <a:off x="7951323" y="3720475"/>
                <a:ext cx="65693" cy="13137"/>
              </a:xfrm>
              <a:custGeom>
                <a:avLst/>
                <a:gdLst>
                  <a:gd name="connsiteX0" fmla="*/ 59146 w 65693"/>
                  <a:gd name="connsiteY0" fmla="*/ 13137 h 13137"/>
                  <a:gd name="connsiteX1" fmla="*/ 6572 w 65693"/>
                  <a:gd name="connsiteY1" fmla="*/ 13137 h 13137"/>
                  <a:gd name="connsiteX2" fmla="*/ 0 w 65693"/>
                  <a:gd name="connsiteY2" fmla="*/ 6569 h 13137"/>
                  <a:gd name="connsiteX3" fmla="*/ 6572 w 65693"/>
                  <a:gd name="connsiteY3" fmla="*/ 0 h 13137"/>
                  <a:gd name="connsiteX4" fmla="*/ 59146 w 65693"/>
                  <a:gd name="connsiteY4" fmla="*/ 0 h 13137"/>
                  <a:gd name="connsiteX5" fmla="*/ 65693 w 65693"/>
                  <a:gd name="connsiteY5" fmla="*/ 6569 h 13137"/>
                  <a:gd name="connsiteX6" fmla="*/ 59146 w 65693"/>
                  <a:gd name="connsiteY6" fmla="*/ 13137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93" h="13137">
                    <a:moveTo>
                      <a:pt x="59146" y="13137"/>
                    </a:moveTo>
                    <a:lnTo>
                      <a:pt x="6572" y="13137"/>
                    </a:lnTo>
                    <a:cubicBezTo>
                      <a:pt x="2939" y="13137"/>
                      <a:pt x="0" y="10198"/>
                      <a:pt x="0" y="6569"/>
                    </a:cubicBezTo>
                    <a:cubicBezTo>
                      <a:pt x="0" y="2937"/>
                      <a:pt x="2939" y="0"/>
                      <a:pt x="6572" y="0"/>
                    </a:cubicBezTo>
                    <a:lnTo>
                      <a:pt x="59146" y="0"/>
                    </a:lnTo>
                    <a:cubicBezTo>
                      <a:pt x="62762" y="0"/>
                      <a:pt x="65693" y="2939"/>
                      <a:pt x="65693" y="6569"/>
                    </a:cubicBezTo>
                    <a:cubicBezTo>
                      <a:pt x="65693" y="10201"/>
                      <a:pt x="62762" y="13137"/>
                      <a:pt x="59146" y="13137"/>
                    </a:cubicBezTo>
                    <a:close/>
                  </a:path>
                </a:pathLst>
              </a:custGeom>
              <a:solidFill>
                <a:schemeClr val="tx2"/>
              </a:solidFill>
              <a:ln w="274" cap="flat">
                <a:noFill/>
                <a:prstDash val="solid"/>
                <a:miter/>
              </a:ln>
            </p:spPr>
            <p:txBody>
              <a:bodyPr rtlCol="0" anchor="ctr"/>
              <a:lstStyle/>
              <a:p>
                <a:endParaRPr lang="en-GB" dirty="0"/>
              </a:p>
            </p:txBody>
          </p:sp>
        </p:grpSp>
        <p:grpSp>
          <p:nvGrpSpPr>
            <p:cNvPr id="848" name="Gruppieren 847">
              <a:extLst>
                <a:ext uri="{FF2B5EF4-FFF2-40B4-BE49-F238E27FC236}">
                  <a16:creationId xmlns:a16="http://schemas.microsoft.com/office/drawing/2014/main" id="{D58F4E4B-5FC8-41D8-B767-16E05BC9C851}"/>
                </a:ext>
              </a:extLst>
            </p:cNvPr>
            <p:cNvGrpSpPr/>
            <p:nvPr/>
          </p:nvGrpSpPr>
          <p:grpSpPr>
            <a:xfrm>
              <a:off x="8135247" y="3273397"/>
              <a:ext cx="414018" cy="300982"/>
              <a:chOff x="7776791" y="3299713"/>
              <a:chExt cx="415838" cy="302305"/>
            </a:xfrm>
          </p:grpSpPr>
          <p:sp>
            <p:nvSpPr>
              <p:cNvPr id="849" name="Freihandform: Form 848">
                <a:extLst>
                  <a:ext uri="{FF2B5EF4-FFF2-40B4-BE49-F238E27FC236}">
                    <a16:creationId xmlns:a16="http://schemas.microsoft.com/office/drawing/2014/main" id="{E999F5B5-2CD1-4D7C-A806-3B87865D3EC1}"/>
                  </a:ext>
                </a:extLst>
              </p:cNvPr>
              <p:cNvSpPr/>
              <p:nvPr/>
            </p:nvSpPr>
            <p:spPr>
              <a:xfrm>
                <a:off x="7977740" y="3299713"/>
                <a:ext cx="13142" cy="43179"/>
              </a:xfrm>
              <a:custGeom>
                <a:avLst/>
                <a:gdLst>
                  <a:gd name="connsiteX0" fmla="*/ 6569 w 13142"/>
                  <a:gd name="connsiteY0" fmla="*/ 43179 h 43179"/>
                  <a:gd name="connsiteX1" fmla="*/ 0 w 13142"/>
                  <a:gd name="connsiteY1" fmla="*/ 36608 h 43179"/>
                  <a:gd name="connsiteX2" fmla="*/ 0 w 13142"/>
                  <a:gd name="connsiteY2" fmla="*/ 6569 h 43179"/>
                  <a:gd name="connsiteX3" fmla="*/ 6569 w 13142"/>
                  <a:gd name="connsiteY3" fmla="*/ 0 h 43179"/>
                  <a:gd name="connsiteX4" fmla="*/ 13143 w 13142"/>
                  <a:gd name="connsiteY4" fmla="*/ 6569 h 43179"/>
                  <a:gd name="connsiteX5" fmla="*/ 13143 w 13142"/>
                  <a:gd name="connsiteY5" fmla="*/ 36610 h 43179"/>
                  <a:gd name="connsiteX6" fmla="*/ 6569 w 13142"/>
                  <a:gd name="connsiteY6" fmla="*/ 43179 h 43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2" h="43179">
                    <a:moveTo>
                      <a:pt x="6569" y="43179"/>
                    </a:moveTo>
                    <a:cubicBezTo>
                      <a:pt x="2936" y="43179"/>
                      <a:pt x="0" y="40240"/>
                      <a:pt x="0" y="36608"/>
                    </a:cubicBezTo>
                    <a:lnTo>
                      <a:pt x="0" y="6569"/>
                    </a:lnTo>
                    <a:cubicBezTo>
                      <a:pt x="0" y="2937"/>
                      <a:pt x="2939" y="0"/>
                      <a:pt x="6569" y="0"/>
                    </a:cubicBezTo>
                    <a:cubicBezTo>
                      <a:pt x="10212" y="0"/>
                      <a:pt x="13143" y="2939"/>
                      <a:pt x="13143" y="6569"/>
                    </a:cubicBezTo>
                    <a:lnTo>
                      <a:pt x="13143" y="36610"/>
                    </a:lnTo>
                    <a:cubicBezTo>
                      <a:pt x="13143" y="40240"/>
                      <a:pt x="10212" y="43179"/>
                      <a:pt x="6569" y="43179"/>
                    </a:cubicBezTo>
                    <a:close/>
                  </a:path>
                </a:pathLst>
              </a:custGeom>
              <a:solidFill>
                <a:schemeClr val="accent1"/>
              </a:solidFill>
              <a:ln w="274" cap="flat">
                <a:noFill/>
                <a:prstDash val="solid"/>
                <a:miter/>
              </a:ln>
            </p:spPr>
            <p:txBody>
              <a:bodyPr rtlCol="0" anchor="ctr"/>
              <a:lstStyle/>
              <a:p>
                <a:endParaRPr lang="en-GB" dirty="0"/>
              </a:p>
            </p:txBody>
          </p:sp>
          <p:sp>
            <p:nvSpPr>
              <p:cNvPr id="850" name="Freihandform: Form 849">
                <a:extLst>
                  <a:ext uri="{FF2B5EF4-FFF2-40B4-BE49-F238E27FC236}">
                    <a16:creationId xmlns:a16="http://schemas.microsoft.com/office/drawing/2014/main" id="{ECC6F82C-1748-4EA3-91B0-1611A443227C}"/>
                  </a:ext>
                </a:extLst>
              </p:cNvPr>
              <p:cNvSpPr/>
              <p:nvPr/>
            </p:nvSpPr>
            <p:spPr>
              <a:xfrm>
                <a:off x="8153623" y="3526270"/>
                <a:ext cx="39006" cy="13140"/>
              </a:xfrm>
              <a:custGeom>
                <a:avLst/>
                <a:gdLst>
                  <a:gd name="connsiteX0" fmla="*/ 32433 w 39006"/>
                  <a:gd name="connsiteY0" fmla="*/ 13140 h 13140"/>
                  <a:gd name="connsiteX1" fmla="*/ 6574 w 39006"/>
                  <a:gd name="connsiteY1" fmla="*/ 13140 h 13140"/>
                  <a:gd name="connsiteX2" fmla="*/ 0 w 39006"/>
                  <a:gd name="connsiteY2" fmla="*/ 6569 h 13140"/>
                  <a:gd name="connsiteX3" fmla="*/ 6574 w 39006"/>
                  <a:gd name="connsiteY3" fmla="*/ 0 h 13140"/>
                  <a:gd name="connsiteX4" fmla="*/ 32433 w 39006"/>
                  <a:gd name="connsiteY4" fmla="*/ 0 h 13140"/>
                  <a:gd name="connsiteX5" fmla="*/ 39007 w 39006"/>
                  <a:gd name="connsiteY5" fmla="*/ 6569 h 13140"/>
                  <a:gd name="connsiteX6" fmla="*/ 32433 w 39006"/>
                  <a:gd name="connsiteY6" fmla="*/ 13140 h 1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06" h="13140">
                    <a:moveTo>
                      <a:pt x="32433" y="13140"/>
                    </a:moveTo>
                    <a:lnTo>
                      <a:pt x="6574" y="13140"/>
                    </a:lnTo>
                    <a:cubicBezTo>
                      <a:pt x="2931" y="13140"/>
                      <a:pt x="0" y="10201"/>
                      <a:pt x="0" y="6569"/>
                    </a:cubicBezTo>
                    <a:cubicBezTo>
                      <a:pt x="0" y="2936"/>
                      <a:pt x="2931" y="0"/>
                      <a:pt x="6574" y="0"/>
                    </a:cubicBezTo>
                    <a:lnTo>
                      <a:pt x="32433" y="0"/>
                    </a:lnTo>
                    <a:cubicBezTo>
                      <a:pt x="36076" y="0"/>
                      <a:pt x="39007" y="2939"/>
                      <a:pt x="39007" y="6569"/>
                    </a:cubicBezTo>
                    <a:cubicBezTo>
                      <a:pt x="39007" y="10198"/>
                      <a:pt x="36076" y="13140"/>
                      <a:pt x="32433" y="13140"/>
                    </a:cubicBezTo>
                    <a:close/>
                  </a:path>
                </a:pathLst>
              </a:custGeom>
              <a:solidFill>
                <a:schemeClr val="accent1"/>
              </a:solidFill>
              <a:ln w="274" cap="flat">
                <a:noFill/>
                <a:prstDash val="solid"/>
                <a:miter/>
              </a:ln>
            </p:spPr>
            <p:txBody>
              <a:bodyPr rtlCol="0" anchor="ctr"/>
              <a:lstStyle/>
              <a:p>
                <a:endParaRPr lang="en-GB" dirty="0"/>
              </a:p>
            </p:txBody>
          </p:sp>
          <p:sp>
            <p:nvSpPr>
              <p:cNvPr id="851" name="Freihandform: Form 850">
                <a:extLst>
                  <a:ext uri="{FF2B5EF4-FFF2-40B4-BE49-F238E27FC236}">
                    <a16:creationId xmlns:a16="http://schemas.microsoft.com/office/drawing/2014/main" id="{4AE4D303-B52C-4883-A8FB-C737100BFB0A}"/>
                  </a:ext>
                </a:extLst>
              </p:cNvPr>
              <p:cNvSpPr/>
              <p:nvPr/>
            </p:nvSpPr>
            <p:spPr>
              <a:xfrm>
                <a:off x="8126665" y="3377788"/>
                <a:ext cx="34062" cy="32755"/>
              </a:xfrm>
              <a:custGeom>
                <a:avLst/>
                <a:gdLst>
                  <a:gd name="connsiteX0" fmla="*/ 6578 w 34062"/>
                  <a:gd name="connsiteY0" fmla="*/ 32756 h 32755"/>
                  <a:gd name="connsiteX1" fmla="*/ 1784 w 34062"/>
                  <a:gd name="connsiteY1" fmla="*/ 30682 h 32755"/>
                  <a:gd name="connsiteX2" fmla="*/ 2085 w 34062"/>
                  <a:gd name="connsiteY2" fmla="*/ 21391 h 32755"/>
                  <a:gd name="connsiteX3" fmla="*/ 23013 w 34062"/>
                  <a:gd name="connsiteY3" fmla="*/ 1769 h 32755"/>
                  <a:gd name="connsiteX4" fmla="*/ 32299 w 34062"/>
                  <a:gd name="connsiteY4" fmla="*/ 2065 h 32755"/>
                  <a:gd name="connsiteX5" fmla="*/ 31998 w 34062"/>
                  <a:gd name="connsiteY5" fmla="*/ 11357 h 32755"/>
                  <a:gd name="connsiteX6" fmla="*/ 11070 w 34062"/>
                  <a:gd name="connsiteY6" fmla="*/ 30978 h 32755"/>
                  <a:gd name="connsiteX7" fmla="*/ 6578 w 34062"/>
                  <a:gd name="connsiteY7" fmla="*/ 32756 h 32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062" h="32755">
                    <a:moveTo>
                      <a:pt x="6578" y="32756"/>
                    </a:moveTo>
                    <a:cubicBezTo>
                      <a:pt x="4824" y="32756"/>
                      <a:pt x="3071" y="32057"/>
                      <a:pt x="1784" y="30682"/>
                    </a:cubicBezTo>
                    <a:cubicBezTo>
                      <a:pt x="-709" y="28033"/>
                      <a:pt x="-572" y="23875"/>
                      <a:pt x="2085" y="21391"/>
                    </a:cubicBezTo>
                    <a:lnTo>
                      <a:pt x="23013" y="1769"/>
                    </a:lnTo>
                    <a:cubicBezTo>
                      <a:pt x="25643" y="-702"/>
                      <a:pt x="29807" y="-567"/>
                      <a:pt x="32299" y="2065"/>
                    </a:cubicBezTo>
                    <a:cubicBezTo>
                      <a:pt x="34765" y="4714"/>
                      <a:pt x="34628" y="8872"/>
                      <a:pt x="31998" y="11357"/>
                    </a:cubicBezTo>
                    <a:lnTo>
                      <a:pt x="11070" y="30978"/>
                    </a:lnTo>
                    <a:cubicBezTo>
                      <a:pt x="9810" y="32164"/>
                      <a:pt x="8194" y="32756"/>
                      <a:pt x="6578" y="32756"/>
                    </a:cubicBezTo>
                    <a:close/>
                  </a:path>
                </a:pathLst>
              </a:custGeom>
              <a:solidFill>
                <a:schemeClr val="accent1"/>
              </a:solidFill>
              <a:ln w="274" cap="flat">
                <a:noFill/>
                <a:prstDash val="solid"/>
                <a:miter/>
              </a:ln>
            </p:spPr>
            <p:txBody>
              <a:bodyPr rtlCol="0" anchor="ctr"/>
              <a:lstStyle/>
              <a:p>
                <a:endParaRPr lang="en-GB" dirty="0"/>
              </a:p>
            </p:txBody>
          </p:sp>
          <p:sp>
            <p:nvSpPr>
              <p:cNvPr id="852" name="Freihandform: Form 851">
                <a:extLst>
                  <a:ext uri="{FF2B5EF4-FFF2-40B4-BE49-F238E27FC236}">
                    <a16:creationId xmlns:a16="http://schemas.microsoft.com/office/drawing/2014/main" id="{57D106DD-F7DB-41A5-BBC7-CC6C39EC7837}"/>
                  </a:ext>
                </a:extLst>
              </p:cNvPr>
              <p:cNvSpPr/>
              <p:nvPr/>
            </p:nvSpPr>
            <p:spPr>
              <a:xfrm>
                <a:off x="7809004" y="3381221"/>
                <a:ext cx="30722" cy="30465"/>
              </a:xfrm>
              <a:custGeom>
                <a:avLst/>
                <a:gdLst>
                  <a:gd name="connsiteX0" fmla="*/ 24150 w 30722"/>
                  <a:gd name="connsiteY0" fmla="*/ 30465 h 30465"/>
                  <a:gd name="connsiteX1" fmla="*/ 19537 w 30722"/>
                  <a:gd name="connsiteY1" fmla="*/ 28572 h 30465"/>
                  <a:gd name="connsiteX2" fmla="*/ 1957 w 30722"/>
                  <a:gd name="connsiteY2" fmla="*/ 11249 h 30465"/>
                  <a:gd name="connsiteX3" fmla="*/ 1894 w 30722"/>
                  <a:gd name="connsiteY3" fmla="*/ 1958 h 30465"/>
                  <a:gd name="connsiteX4" fmla="*/ 11185 w 30722"/>
                  <a:gd name="connsiteY4" fmla="*/ 1895 h 30465"/>
                  <a:gd name="connsiteX5" fmla="*/ 28766 w 30722"/>
                  <a:gd name="connsiteY5" fmla="*/ 19218 h 30465"/>
                  <a:gd name="connsiteX6" fmla="*/ 28829 w 30722"/>
                  <a:gd name="connsiteY6" fmla="*/ 28509 h 30465"/>
                  <a:gd name="connsiteX7" fmla="*/ 24150 w 30722"/>
                  <a:gd name="connsiteY7" fmla="*/ 30465 h 30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22" h="30465">
                    <a:moveTo>
                      <a:pt x="24150" y="30465"/>
                    </a:moveTo>
                    <a:cubicBezTo>
                      <a:pt x="22482" y="30465"/>
                      <a:pt x="20819" y="29835"/>
                      <a:pt x="19537" y="28572"/>
                    </a:cubicBezTo>
                    <a:lnTo>
                      <a:pt x="1957" y="11249"/>
                    </a:lnTo>
                    <a:cubicBezTo>
                      <a:pt x="-629" y="8702"/>
                      <a:pt x="-654" y="4544"/>
                      <a:pt x="1894" y="1958"/>
                    </a:cubicBezTo>
                    <a:cubicBezTo>
                      <a:pt x="4435" y="-623"/>
                      <a:pt x="8591" y="-661"/>
                      <a:pt x="11185" y="1895"/>
                    </a:cubicBezTo>
                    <a:lnTo>
                      <a:pt x="28766" y="19218"/>
                    </a:lnTo>
                    <a:cubicBezTo>
                      <a:pt x="31352" y="21765"/>
                      <a:pt x="31376" y="25923"/>
                      <a:pt x="28829" y="28509"/>
                    </a:cubicBezTo>
                    <a:cubicBezTo>
                      <a:pt x="27544" y="29811"/>
                      <a:pt x="25849" y="30465"/>
                      <a:pt x="24150" y="30465"/>
                    </a:cubicBezTo>
                    <a:close/>
                  </a:path>
                </a:pathLst>
              </a:custGeom>
              <a:solidFill>
                <a:schemeClr val="accent1"/>
              </a:solidFill>
              <a:ln w="274" cap="flat">
                <a:noFill/>
                <a:prstDash val="solid"/>
                <a:miter/>
              </a:ln>
            </p:spPr>
            <p:txBody>
              <a:bodyPr rtlCol="0" anchor="ctr"/>
              <a:lstStyle/>
              <a:p>
                <a:endParaRPr lang="en-GB" dirty="0"/>
              </a:p>
            </p:txBody>
          </p:sp>
          <p:sp>
            <p:nvSpPr>
              <p:cNvPr id="853" name="Freihandform: Form 852">
                <a:extLst>
                  <a:ext uri="{FF2B5EF4-FFF2-40B4-BE49-F238E27FC236}">
                    <a16:creationId xmlns:a16="http://schemas.microsoft.com/office/drawing/2014/main" id="{95DA5E60-AE19-4654-934F-E46BFEC8D796}"/>
                  </a:ext>
                </a:extLst>
              </p:cNvPr>
              <p:cNvSpPr/>
              <p:nvPr/>
            </p:nvSpPr>
            <p:spPr>
              <a:xfrm>
                <a:off x="7776791" y="3526530"/>
                <a:ext cx="39026" cy="13137"/>
              </a:xfrm>
              <a:custGeom>
                <a:avLst/>
                <a:gdLst>
                  <a:gd name="connsiteX0" fmla="*/ 32455 w 39026"/>
                  <a:gd name="connsiteY0" fmla="*/ 13137 h 13137"/>
                  <a:gd name="connsiteX1" fmla="*/ 6571 w 39026"/>
                  <a:gd name="connsiteY1" fmla="*/ 13137 h 13137"/>
                  <a:gd name="connsiteX2" fmla="*/ 0 w 39026"/>
                  <a:gd name="connsiteY2" fmla="*/ 6569 h 13137"/>
                  <a:gd name="connsiteX3" fmla="*/ 6571 w 39026"/>
                  <a:gd name="connsiteY3" fmla="*/ 0 h 13137"/>
                  <a:gd name="connsiteX4" fmla="*/ 32455 w 39026"/>
                  <a:gd name="connsiteY4" fmla="*/ 0 h 13137"/>
                  <a:gd name="connsiteX5" fmla="*/ 39026 w 39026"/>
                  <a:gd name="connsiteY5" fmla="*/ 6569 h 13137"/>
                  <a:gd name="connsiteX6" fmla="*/ 32455 w 39026"/>
                  <a:gd name="connsiteY6" fmla="*/ 13137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026" h="13137">
                    <a:moveTo>
                      <a:pt x="32455" y="13137"/>
                    </a:moveTo>
                    <a:lnTo>
                      <a:pt x="6571" y="13137"/>
                    </a:lnTo>
                    <a:cubicBezTo>
                      <a:pt x="2939" y="13137"/>
                      <a:pt x="0" y="10198"/>
                      <a:pt x="0" y="6569"/>
                    </a:cubicBezTo>
                    <a:cubicBezTo>
                      <a:pt x="0" y="2939"/>
                      <a:pt x="2939" y="0"/>
                      <a:pt x="6571" y="0"/>
                    </a:cubicBezTo>
                    <a:lnTo>
                      <a:pt x="32455" y="0"/>
                    </a:lnTo>
                    <a:cubicBezTo>
                      <a:pt x="36087" y="0"/>
                      <a:pt x="39026" y="2939"/>
                      <a:pt x="39026" y="6569"/>
                    </a:cubicBezTo>
                    <a:cubicBezTo>
                      <a:pt x="39026" y="10198"/>
                      <a:pt x="36087" y="13137"/>
                      <a:pt x="32455" y="13137"/>
                    </a:cubicBezTo>
                    <a:close/>
                  </a:path>
                </a:pathLst>
              </a:custGeom>
              <a:solidFill>
                <a:schemeClr val="accent1"/>
              </a:solidFill>
              <a:ln w="274" cap="flat">
                <a:noFill/>
                <a:prstDash val="solid"/>
                <a:miter/>
              </a:ln>
            </p:spPr>
            <p:txBody>
              <a:bodyPr rtlCol="0" anchor="ctr"/>
              <a:lstStyle/>
              <a:p>
                <a:endParaRPr lang="en-GB" dirty="0"/>
              </a:p>
            </p:txBody>
          </p:sp>
          <p:grpSp>
            <p:nvGrpSpPr>
              <p:cNvPr id="854" name="Grafik 349">
                <a:extLst>
                  <a:ext uri="{FF2B5EF4-FFF2-40B4-BE49-F238E27FC236}">
                    <a16:creationId xmlns:a16="http://schemas.microsoft.com/office/drawing/2014/main" id="{3CCDB6BC-7395-4334-8FC9-1DF3C4A951A2}"/>
                  </a:ext>
                </a:extLst>
              </p:cNvPr>
              <p:cNvGrpSpPr/>
              <p:nvPr/>
            </p:nvGrpSpPr>
            <p:grpSpPr>
              <a:xfrm>
                <a:off x="7878291" y="3407668"/>
                <a:ext cx="212383" cy="194350"/>
                <a:chOff x="7878291" y="3407668"/>
                <a:chExt cx="212383" cy="194350"/>
              </a:xfrm>
              <a:solidFill>
                <a:schemeClr val="accent1"/>
              </a:solidFill>
            </p:grpSpPr>
            <p:grpSp>
              <p:nvGrpSpPr>
                <p:cNvPr id="855" name="Grafik 349">
                  <a:extLst>
                    <a:ext uri="{FF2B5EF4-FFF2-40B4-BE49-F238E27FC236}">
                      <a16:creationId xmlns:a16="http://schemas.microsoft.com/office/drawing/2014/main" id="{8011FDBA-5CEC-4A2B-9CE7-DA3EAF772C6B}"/>
                    </a:ext>
                  </a:extLst>
                </p:cNvPr>
                <p:cNvGrpSpPr/>
                <p:nvPr/>
              </p:nvGrpSpPr>
              <p:grpSpPr>
                <a:xfrm>
                  <a:off x="7878291" y="3407668"/>
                  <a:ext cx="99429" cy="194350"/>
                  <a:chOff x="7878291" y="3407668"/>
                  <a:chExt cx="99429" cy="194350"/>
                </a:xfrm>
                <a:solidFill>
                  <a:schemeClr val="accent1"/>
                </a:solidFill>
              </p:grpSpPr>
              <p:sp>
                <p:nvSpPr>
                  <p:cNvPr id="864" name="Freihandform: Form 863">
                    <a:extLst>
                      <a:ext uri="{FF2B5EF4-FFF2-40B4-BE49-F238E27FC236}">
                        <a16:creationId xmlns:a16="http://schemas.microsoft.com/office/drawing/2014/main" id="{725C1850-E9EF-4055-947A-7A207D21B26D}"/>
                      </a:ext>
                    </a:extLst>
                  </p:cNvPr>
                  <p:cNvSpPr/>
                  <p:nvPr/>
                </p:nvSpPr>
                <p:spPr>
                  <a:xfrm>
                    <a:off x="7878291" y="3407668"/>
                    <a:ext cx="99429" cy="194350"/>
                  </a:xfrm>
                  <a:custGeom>
                    <a:avLst/>
                    <a:gdLst>
                      <a:gd name="connsiteX0" fmla="*/ 68235 w 99429"/>
                      <a:gd name="connsiteY0" fmla="*/ 194351 h 194350"/>
                      <a:gd name="connsiteX1" fmla="*/ 37079 w 99429"/>
                      <a:gd name="connsiteY1" fmla="*/ 168232 h 194350"/>
                      <a:gd name="connsiteX2" fmla="*/ 15965 w 99429"/>
                      <a:gd name="connsiteY2" fmla="*/ 136837 h 194350"/>
                      <a:gd name="connsiteX3" fmla="*/ 16715 w 99429"/>
                      <a:gd name="connsiteY3" fmla="*/ 130030 h 194350"/>
                      <a:gd name="connsiteX4" fmla="*/ 0 w 99429"/>
                      <a:gd name="connsiteY4" fmla="*/ 95921 h 194350"/>
                      <a:gd name="connsiteX5" fmla="*/ 17972 w 99429"/>
                      <a:gd name="connsiteY5" fmla="*/ 60960 h 194350"/>
                      <a:gd name="connsiteX6" fmla="*/ 17773 w 99429"/>
                      <a:gd name="connsiteY6" fmla="*/ 57514 h 194350"/>
                      <a:gd name="connsiteX7" fmla="*/ 37041 w 99429"/>
                      <a:gd name="connsiteY7" fmla="*/ 27102 h 194350"/>
                      <a:gd name="connsiteX8" fmla="*/ 68235 w 99429"/>
                      <a:gd name="connsiteY8" fmla="*/ 0 h 194350"/>
                      <a:gd name="connsiteX9" fmla="*/ 99430 w 99429"/>
                      <a:gd name="connsiteY9" fmla="*/ 27609 h 194350"/>
                      <a:gd name="connsiteX10" fmla="*/ 99430 w 99429"/>
                      <a:gd name="connsiteY10" fmla="*/ 60305 h 194350"/>
                      <a:gd name="connsiteX11" fmla="*/ 95754 w 99429"/>
                      <a:gd name="connsiteY11" fmla="*/ 72484 h 194350"/>
                      <a:gd name="connsiteX12" fmla="*/ 93560 w 99429"/>
                      <a:gd name="connsiteY12" fmla="*/ 75763 h 194350"/>
                      <a:gd name="connsiteX13" fmla="*/ 93828 w 99429"/>
                      <a:gd name="connsiteY13" fmla="*/ 78817 h 194350"/>
                      <a:gd name="connsiteX14" fmla="*/ 94373 w 99429"/>
                      <a:gd name="connsiteY14" fmla="*/ 79376 h 194350"/>
                      <a:gd name="connsiteX15" fmla="*/ 99430 w 99429"/>
                      <a:gd name="connsiteY15" fmla="*/ 91842 h 194350"/>
                      <a:gd name="connsiteX16" fmla="*/ 99430 w 99429"/>
                      <a:gd name="connsiteY16" fmla="*/ 132912 h 194350"/>
                      <a:gd name="connsiteX17" fmla="*/ 96606 w 99429"/>
                      <a:gd name="connsiteY17" fmla="*/ 142458 h 194350"/>
                      <a:gd name="connsiteX18" fmla="*/ 96477 w 99429"/>
                      <a:gd name="connsiteY18" fmla="*/ 146833 h 194350"/>
                      <a:gd name="connsiteX19" fmla="*/ 97118 w 99429"/>
                      <a:gd name="connsiteY19" fmla="*/ 147950 h 194350"/>
                      <a:gd name="connsiteX20" fmla="*/ 99427 w 99429"/>
                      <a:gd name="connsiteY20" fmla="*/ 156664 h 194350"/>
                      <a:gd name="connsiteX21" fmla="*/ 99427 w 99429"/>
                      <a:gd name="connsiteY21" fmla="*/ 166736 h 194350"/>
                      <a:gd name="connsiteX22" fmla="*/ 68235 w 99429"/>
                      <a:gd name="connsiteY22" fmla="*/ 194351 h 194350"/>
                      <a:gd name="connsiteX23" fmla="*/ 68235 w 99429"/>
                      <a:gd name="connsiteY23" fmla="*/ 13140 h 194350"/>
                      <a:gd name="connsiteX24" fmla="*/ 50175 w 99429"/>
                      <a:gd name="connsiteY24" fmla="*/ 27609 h 194350"/>
                      <a:gd name="connsiteX25" fmla="*/ 50413 w 99429"/>
                      <a:gd name="connsiteY25" fmla="*/ 29798 h 194350"/>
                      <a:gd name="connsiteX26" fmla="*/ 46436 w 99429"/>
                      <a:gd name="connsiteY26" fmla="*/ 37169 h 194350"/>
                      <a:gd name="connsiteX27" fmla="*/ 30915 w 99429"/>
                      <a:gd name="connsiteY27" fmla="*/ 57514 h 194350"/>
                      <a:gd name="connsiteX28" fmla="*/ 31609 w 99429"/>
                      <a:gd name="connsiteY28" fmla="*/ 62455 h 194350"/>
                      <a:gd name="connsiteX29" fmla="*/ 28401 w 99429"/>
                      <a:gd name="connsiteY29" fmla="*/ 69955 h 194350"/>
                      <a:gd name="connsiteX30" fmla="*/ 13143 w 99429"/>
                      <a:gd name="connsiteY30" fmla="*/ 95921 h 194350"/>
                      <a:gd name="connsiteX31" fmla="*/ 27702 w 99429"/>
                      <a:gd name="connsiteY31" fmla="*/ 121533 h 194350"/>
                      <a:gd name="connsiteX32" fmla="*/ 30537 w 99429"/>
                      <a:gd name="connsiteY32" fmla="*/ 129721 h 194350"/>
                      <a:gd name="connsiteX33" fmla="*/ 29108 w 99429"/>
                      <a:gd name="connsiteY33" fmla="*/ 136837 h 194350"/>
                      <a:gd name="connsiteX34" fmla="*/ 46014 w 99429"/>
                      <a:gd name="connsiteY34" fmla="*/ 157721 h 194350"/>
                      <a:gd name="connsiteX35" fmla="*/ 50345 w 99429"/>
                      <a:gd name="connsiteY35" fmla="*/ 164920 h 194350"/>
                      <a:gd name="connsiteX36" fmla="*/ 50178 w 99429"/>
                      <a:gd name="connsiteY36" fmla="*/ 166736 h 194350"/>
                      <a:gd name="connsiteX37" fmla="*/ 68238 w 99429"/>
                      <a:gd name="connsiteY37" fmla="*/ 181211 h 194350"/>
                      <a:gd name="connsiteX38" fmla="*/ 86292 w 99429"/>
                      <a:gd name="connsiteY38" fmla="*/ 166736 h 194350"/>
                      <a:gd name="connsiteX39" fmla="*/ 86292 w 99429"/>
                      <a:gd name="connsiteY39" fmla="*/ 156664 h 194350"/>
                      <a:gd name="connsiteX40" fmla="*/ 85723 w 99429"/>
                      <a:gd name="connsiteY40" fmla="*/ 154483 h 194350"/>
                      <a:gd name="connsiteX41" fmla="*/ 85082 w 99429"/>
                      <a:gd name="connsiteY41" fmla="*/ 153366 h 194350"/>
                      <a:gd name="connsiteX42" fmla="*/ 85594 w 99429"/>
                      <a:gd name="connsiteY42" fmla="*/ 135292 h 194350"/>
                      <a:gd name="connsiteX43" fmla="*/ 86292 w 99429"/>
                      <a:gd name="connsiteY43" fmla="*/ 132912 h 194350"/>
                      <a:gd name="connsiteX44" fmla="*/ 86292 w 99429"/>
                      <a:gd name="connsiteY44" fmla="*/ 91842 h 194350"/>
                      <a:gd name="connsiteX45" fmla="*/ 84978 w 99429"/>
                      <a:gd name="connsiteY45" fmla="*/ 88558 h 194350"/>
                      <a:gd name="connsiteX46" fmla="*/ 84432 w 99429"/>
                      <a:gd name="connsiteY46" fmla="*/ 87999 h 194350"/>
                      <a:gd name="connsiteX47" fmla="*/ 82636 w 99429"/>
                      <a:gd name="connsiteY47" fmla="*/ 68468 h 194350"/>
                      <a:gd name="connsiteX48" fmla="*/ 84830 w 99429"/>
                      <a:gd name="connsiteY48" fmla="*/ 65189 h 194350"/>
                      <a:gd name="connsiteX49" fmla="*/ 86292 w 99429"/>
                      <a:gd name="connsiteY49" fmla="*/ 60305 h 194350"/>
                      <a:gd name="connsiteX50" fmla="*/ 86292 w 99429"/>
                      <a:gd name="connsiteY50" fmla="*/ 27609 h 194350"/>
                      <a:gd name="connsiteX51" fmla="*/ 68235 w 99429"/>
                      <a:gd name="connsiteY51" fmla="*/ 13140 h 19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9429" h="194350">
                        <a:moveTo>
                          <a:pt x="68235" y="194351"/>
                        </a:moveTo>
                        <a:cubicBezTo>
                          <a:pt x="51597" y="194351"/>
                          <a:pt x="37958" y="182764"/>
                          <a:pt x="37079" y="168232"/>
                        </a:cubicBezTo>
                        <a:cubicBezTo>
                          <a:pt x="24106" y="161995"/>
                          <a:pt x="15965" y="150101"/>
                          <a:pt x="15965" y="136837"/>
                        </a:cubicBezTo>
                        <a:cubicBezTo>
                          <a:pt x="15965" y="134553"/>
                          <a:pt x="16214" y="132276"/>
                          <a:pt x="16715" y="130030"/>
                        </a:cubicBezTo>
                        <a:cubicBezTo>
                          <a:pt x="6026" y="122100"/>
                          <a:pt x="0" y="109935"/>
                          <a:pt x="0" y="95921"/>
                        </a:cubicBezTo>
                        <a:cubicBezTo>
                          <a:pt x="0" y="81389"/>
                          <a:pt x="6487" y="68890"/>
                          <a:pt x="17972" y="60960"/>
                        </a:cubicBezTo>
                        <a:cubicBezTo>
                          <a:pt x="17838" y="59804"/>
                          <a:pt x="17773" y="58650"/>
                          <a:pt x="17773" y="57514"/>
                        </a:cubicBezTo>
                        <a:cubicBezTo>
                          <a:pt x="17773" y="45091"/>
                          <a:pt x="25196" y="33589"/>
                          <a:pt x="37041" y="27102"/>
                        </a:cubicBezTo>
                        <a:cubicBezTo>
                          <a:pt x="37342" y="12113"/>
                          <a:pt x="51219" y="0"/>
                          <a:pt x="68235" y="0"/>
                        </a:cubicBezTo>
                        <a:cubicBezTo>
                          <a:pt x="85438" y="0"/>
                          <a:pt x="99430" y="12384"/>
                          <a:pt x="99430" y="27609"/>
                        </a:cubicBezTo>
                        <a:lnTo>
                          <a:pt x="99430" y="60305"/>
                        </a:lnTo>
                        <a:cubicBezTo>
                          <a:pt x="99430" y="64660"/>
                          <a:pt x="98159" y="68871"/>
                          <a:pt x="95754" y="72484"/>
                        </a:cubicBezTo>
                        <a:lnTo>
                          <a:pt x="93560" y="75763"/>
                        </a:lnTo>
                        <a:cubicBezTo>
                          <a:pt x="92938" y="76699"/>
                          <a:pt x="93053" y="78014"/>
                          <a:pt x="93828" y="78817"/>
                        </a:cubicBezTo>
                        <a:lnTo>
                          <a:pt x="94373" y="79376"/>
                        </a:lnTo>
                        <a:cubicBezTo>
                          <a:pt x="97638" y="82718"/>
                          <a:pt x="99430" y="87144"/>
                          <a:pt x="99430" y="91842"/>
                        </a:cubicBezTo>
                        <a:lnTo>
                          <a:pt x="99430" y="132912"/>
                        </a:lnTo>
                        <a:cubicBezTo>
                          <a:pt x="99430" y="136311"/>
                          <a:pt x="98455" y="139609"/>
                          <a:pt x="96606" y="142458"/>
                        </a:cubicBezTo>
                        <a:cubicBezTo>
                          <a:pt x="95751" y="143773"/>
                          <a:pt x="95707" y="145480"/>
                          <a:pt x="96477" y="146833"/>
                        </a:cubicBezTo>
                        <a:lnTo>
                          <a:pt x="97118" y="147950"/>
                        </a:lnTo>
                        <a:cubicBezTo>
                          <a:pt x="98633" y="150594"/>
                          <a:pt x="99427" y="153604"/>
                          <a:pt x="99427" y="156664"/>
                        </a:cubicBezTo>
                        <a:lnTo>
                          <a:pt x="99427" y="166736"/>
                        </a:lnTo>
                        <a:cubicBezTo>
                          <a:pt x="99430" y="181961"/>
                          <a:pt x="85435" y="194351"/>
                          <a:pt x="68235" y="194351"/>
                        </a:cubicBezTo>
                        <a:close/>
                        <a:moveTo>
                          <a:pt x="68235" y="13140"/>
                        </a:moveTo>
                        <a:cubicBezTo>
                          <a:pt x="58278" y="13140"/>
                          <a:pt x="50175" y="19632"/>
                          <a:pt x="50175" y="27609"/>
                        </a:cubicBezTo>
                        <a:cubicBezTo>
                          <a:pt x="50175" y="28360"/>
                          <a:pt x="50271" y="29086"/>
                          <a:pt x="50413" y="29798"/>
                        </a:cubicBezTo>
                        <a:cubicBezTo>
                          <a:pt x="51030" y="32890"/>
                          <a:pt x="49362" y="35988"/>
                          <a:pt x="46436" y="37169"/>
                        </a:cubicBezTo>
                        <a:cubicBezTo>
                          <a:pt x="36862" y="41051"/>
                          <a:pt x="30915" y="48847"/>
                          <a:pt x="30915" y="57514"/>
                        </a:cubicBezTo>
                        <a:cubicBezTo>
                          <a:pt x="30915" y="59105"/>
                          <a:pt x="31145" y="60768"/>
                          <a:pt x="31609" y="62455"/>
                        </a:cubicBezTo>
                        <a:cubicBezTo>
                          <a:pt x="32411" y="65394"/>
                          <a:pt x="31083" y="68498"/>
                          <a:pt x="28401" y="69955"/>
                        </a:cubicBezTo>
                        <a:cubicBezTo>
                          <a:pt x="18564" y="75300"/>
                          <a:pt x="13143" y="84520"/>
                          <a:pt x="13143" y="95921"/>
                        </a:cubicBezTo>
                        <a:cubicBezTo>
                          <a:pt x="13143" y="107097"/>
                          <a:pt x="18315" y="116189"/>
                          <a:pt x="27702" y="121533"/>
                        </a:cubicBezTo>
                        <a:cubicBezTo>
                          <a:pt x="30570" y="123163"/>
                          <a:pt x="31784" y="126666"/>
                          <a:pt x="30537" y="129721"/>
                        </a:cubicBezTo>
                        <a:cubicBezTo>
                          <a:pt x="29587" y="132057"/>
                          <a:pt x="29108" y="134449"/>
                          <a:pt x="29108" y="136837"/>
                        </a:cubicBezTo>
                        <a:cubicBezTo>
                          <a:pt x="29108" y="145943"/>
                          <a:pt x="35742" y="154136"/>
                          <a:pt x="46014" y="157721"/>
                        </a:cubicBezTo>
                        <a:cubicBezTo>
                          <a:pt x="49003" y="158768"/>
                          <a:pt x="50827" y="161789"/>
                          <a:pt x="50345" y="164920"/>
                        </a:cubicBezTo>
                        <a:cubicBezTo>
                          <a:pt x="50255" y="165517"/>
                          <a:pt x="50178" y="166120"/>
                          <a:pt x="50178" y="166736"/>
                        </a:cubicBezTo>
                        <a:cubicBezTo>
                          <a:pt x="50178" y="174718"/>
                          <a:pt x="58281" y="181211"/>
                          <a:pt x="68238" y="181211"/>
                        </a:cubicBezTo>
                        <a:cubicBezTo>
                          <a:pt x="78195" y="181211"/>
                          <a:pt x="86292" y="174718"/>
                          <a:pt x="86292" y="166736"/>
                        </a:cubicBezTo>
                        <a:lnTo>
                          <a:pt x="86292" y="156664"/>
                        </a:lnTo>
                        <a:cubicBezTo>
                          <a:pt x="86292" y="155889"/>
                          <a:pt x="86092" y="155138"/>
                          <a:pt x="85723" y="154483"/>
                        </a:cubicBezTo>
                        <a:lnTo>
                          <a:pt x="85082" y="153366"/>
                        </a:lnTo>
                        <a:cubicBezTo>
                          <a:pt x="81827" y="147682"/>
                          <a:pt x="82033" y="140757"/>
                          <a:pt x="85594" y="135292"/>
                        </a:cubicBezTo>
                        <a:cubicBezTo>
                          <a:pt x="86049" y="134599"/>
                          <a:pt x="86292" y="133766"/>
                          <a:pt x="86292" y="132912"/>
                        </a:cubicBezTo>
                        <a:lnTo>
                          <a:pt x="86292" y="91842"/>
                        </a:lnTo>
                        <a:cubicBezTo>
                          <a:pt x="86292" y="90609"/>
                          <a:pt x="85810" y="89418"/>
                          <a:pt x="84978" y="88558"/>
                        </a:cubicBezTo>
                        <a:lnTo>
                          <a:pt x="84432" y="87999"/>
                        </a:lnTo>
                        <a:cubicBezTo>
                          <a:pt x="79332" y="82764"/>
                          <a:pt x="78576" y="74552"/>
                          <a:pt x="82636" y="68468"/>
                        </a:cubicBezTo>
                        <a:lnTo>
                          <a:pt x="84830" y="65189"/>
                        </a:lnTo>
                        <a:cubicBezTo>
                          <a:pt x="85786" y="63751"/>
                          <a:pt x="86292" y="62058"/>
                          <a:pt x="86292" y="60305"/>
                        </a:cubicBezTo>
                        <a:lnTo>
                          <a:pt x="86292" y="27609"/>
                        </a:lnTo>
                        <a:cubicBezTo>
                          <a:pt x="86290" y="19635"/>
                          <a:pt x="78192" y="13140"/>
                          <a:pt x="68235" y="13140"/>
                        </a:cubicBezTo>
                        <a:close/>
                      </a:path>
                    </a:pathLst>
                  </a:custGeom>
                  <a:solidFill>
                    <a:schemeClr val="accent1"/>
                  </a:solidFill>
                  <a:ln w="274" cap="flat">
                    <a:noFill/>
                    <a:prstDash val="solid"/>
                    <a:miter/>
                  </a:ln>
                </p:spPr>
                <p:txBody>
                  <a:bodyPr rtlCol="0" anchor="ctr"/>
                  <a:lstStyle/>
                  <a:p>
                    <a:endParaRPr lang="en-GB" dirty="0"/>
                  </a:p>
                </p:txBody>
              </p:sp>
              <p:sp>
                <p:nvSpPr>
                  <p:cNvPr id="865" name="Freihandform: Form 864">
                    <a:extLst>
                      <a:ext uri="{FF2B5EF4-FFF2-40B4-BE49-F238E27FC236}">
                        <a16:creationId xmlns:a16="http://schemas.microsoft.com/office/drawing/2014/main" id="{C5558EF2-A341-4899-BD07-0EFC58F7567A}"/>
                      </a:ext>
                    </a:extLst>
                  </p:cNvPr>
                  <p:cNvSpPr/>
                  <p:nvPr/>
                </p:nvSpPr>
                <p:spPr>
                  <a:xfrm>
                    <a:off x="7915691" y="3432179"/>
                    <a:ext cx="18420" cy="25697"/>
                  </a:xfrm>
                  <a:custGeom>
                    <a:avLst/>
                    <a:gdLst>
                      <a:gd name="connsiteX0" fmla="*/ 11850 w 18420"/>
                      <a:gd name="connsiteY0" fmla="*/ 25697 h 25697"/>
                      <a:gd name="connsiteX1" fmla="*/ 6903 w 18420"/>
                      <a:gd name="connsiteY1" fmla="*/ 23451 h 25697"/>
                      <a:gd name="connsiteX2" fmla="*/ 0 w 18420"/>
                      <a:gd name="connsiteY2" fmla="*/ 6569 h 25697"/>
                      <a:gd name="connsiteX3" fmla="*/ 6569 w 18420"/>
                      <a:gd name="connsiteY3" fmla="*/ 0 h 25697"/>
                      <a:gd name="connsiteX4" fmla="*/ 13140 w 18420"/>
                      <a:gd name="connsiteY4" fmla="*/ 6569 h 25697"/>
                      <a:gd name="connsiteX5" fmla="*/ 16797 w 18420"/>
                      <a:gd name="connsiteY5" fmla="*/ 14800 h 25697"/>
                      <a:gd name="connsiteX6" fmla="*/ 16175 w 18420"/>
                      <a:gd name="connsiteY6" fmla="*/ 24073 h 25697"/>
                      <a:gd name="connsiteX7" fmla="*/ 11850 w 18420"/>
                      <a:gd name="connsiteY7" fmla="*/ 25697 h 2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20" h="25697">
                        <a:moveTo>
                          <a:pt x="11850" y="25697"/>
                        </a:moveTo>
                        <a:cubicBezTo>
                          <a:pt x="10020" y="25697"/>
                          <a:pt x="8199" y="24933"/>
                          <a:pt x="6903" y="23451"/>
                        </a:cubicBezTo>
                        <a:cubicBezTo>
                          <a:pt x="2323" y="18208"/>
                          <a:pt x="0" y="12529"/>
                          <a:pt x="0" y="6569"/>
                        </a:cubicBezTo>
                        <a:cubicBezTo>
                          <a:pt x="0" y="2937"/>
                          <a:pt x="2939" y="0"/>
                          <a:pt x="6569" y="0"/>
                        </a:cubicBezTo>
                        <a:cubicBezTo>
                          <a:pt x="10201" y="0"/>
                          <a:pt x="13140" y="2939"/>
                          <a:pt x="13140" y="6569"/>
                        </a:cubicBezTo>
                        <a:cubicBezTo>
                          <a:pt x="13140" y="9289"/>
                          <a:pt x="14335" y="11984"/>
                          <a:pt x="16797" y="14800"/>
                        </a:cubicBezTo>
                        <a:cubicBezTo>
                          <a:pt x="19183" y="17534"/>
                          <a:pt x="18909" y="21684"/>
                          <a:pt x="16175" y="24073"/>
                        </a:cubicBezTo>
                        <a:cubicBezTo>
                          <a:pt x="14929" y="25163"/>
                          <a:pt x="13384" y="25697"/>
                          <a:pt x="11850" y="25697"/>
                        </a:cubicBezTo>
                        <a:close/>
                      </a:path>
                    </a:pathLst>
                  </a:custGeom>
                  <a:solidFill>
                    <a:schemeClr val="accent1"/>
                  </a:solidFill>
                  <a:ln w="274" cap="flat">
                    <a:noFill/>
                    <a:prstDash val="solid"/>
                    <a:miter/>
                  </a:ln>
                </p:spPr>
                <p:txBody>
                  <a:bodyPr rtlCol="0" anchor="ctr"/>
                  <a:lstStyle/>
                  <a:p>
                    <a:endParaRPr lang="en-GB" dirty="0"/>
                  </a:p>
                </p:txBody>
              </p:sp>
              <p:sp>
                <p:nvSpPr>
                  <p:cNvPr id="866" name="Freihandform: Form 865">
                    <a:extLst>
                      <a:ext uri="{FF2B5EF4-FFF2-40B4-BE49-F238E27FC236}">
                        <a16:creationId xmlns:a16="http://schemas.microsoft.com/office/drawing/2014/main" id="{596E0BED-76CF-4839-ADFB-753D9A258DF7}"/>
                      </a:ext>
                    </a:extLst>
                  </p:cNvPr>
                  <p:cNvSpPr/>
                  <p:nvPr/>
                </p:nvSpPr>
                <p:spPr>
                  <a:xfrm>
                    <a:off x="7890069" y="3463143"/>
                    <a:ext cx="44990" cy="20095"/>
                  </a:xfrm>
                  <a:custGeom>
                    <a:avLst/>
                    <a:gdLst>
                      <a:gd name="connsiteX0" fmla="*/ 6578 w 44990"/>
                      <a:gd name="connsiteY0" fmla="*/ 20095 h 20095"/>
                      <a:gd name="connsiteX1" fmla="*/ 1382 w 44990"/>
                      <a:gd name="connsiteY1" fmla="*/ 17556 h 20095"/>
                      <a:gd name="connsiteX2" fmla="*/ 2543 w 44990"/>
                      <a:gd name="connsiteY2" fmla="*/ 8336 h 20095"/>
                      <a:gd name="connsiteX3" fmla="*/ 36280 w 44990"/>
                      <a:gd name="connsiteY3" fmla="*/ 1298 h 20095"/>
                      <a:gd name="connsiteX4" fmla="*/ 40931 w 44990"/>
                      <a:gd name="connsiteY4" fmla="*/ 2876 h 20095"/>
                      <a:gd name="connsiteX5" fmla="*/ 44487 w 44990"/>
                      <a:gd name="connsiteY5" fmla="*/ 11461 h 20095"/>
                      <a:gd name="connsiteX6" fmla="*/ 35902 w 44990"/>
                      <a:gd name="connsiteY6" fmla="*/ 15016 h 20095"/>
                      <a:gd name="connsiteX7" fmla="*/ 32875 w 44990"/>
                      <a:gd name="connsiteY7" fmla="*/ 13989 h 20095"/>
                      <a:gd name="connsiteX8" fmla="*/ 10605 w 44990"/>
                      <a:gd name="connsiteY8" fmla="*/ 18717 h 20095"/>
                      <a:gd name="connsiteX9" fmla="*/ 6578 w 44990"/>
                      <a:gd name="connsiteY9" fmla="*/ 20095 h 20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990" h="20095">
                        <a:moveTo>
                          <a:pt x="6578" y="20095"/>
                        </a:moveTo>
                        <a:cubicBezTo>
                          <a:pt x="4614" y="20095"/>
                          <a:pt x="2677" y="19221"/>
                          <a:pt x="1382" y="17556"/>
                        </a:cubicBezTo>
                        <a:cubicBezTo>
                          <a:pt x="-845" y="14693"/>
                          <a:pt x="-325" y="10563"/>
                          <a:pt x="2543" y="8336"/>
                        </a:cubicBezTo>
                        <a:cubicBezTo>
                          <a:pt x="12443" y="644"/>
                          <a:pt x="24800" y="-1783"/>
                          <a:pt x="36280" y="1298"/>
                        </a:cubicBezTo>
                        <a:cubicBezTo>
                          <a:pt x="37877" y="1728"/>
                          <a:pt x="39436" y="2254"/>
                          <a:pt x="40931" y="2876"/>
                        </a:cubicBezTo>
                        <a:cubicBezTo>
                          <a:pt x="44287" y="4268"/>
                          <a:pt x="45878" y="8111"/>
                          <a:pt x="44487" y="11461"/>
                        </a:cubicBezTo>
                        <a:cubicBezTo>
                          <a:pt x="43101" y="14817"/>
                          <a:pt x="39244" y="16394"/>
                          <a:pt x="35902" y="15016"/>
                        </a:cubicBezTo>
                        <a:cubicBezTo>
                          <a:pt x="34921" y="14611"/>
                          <a:pt x="33913" y="14266"/>
                          <a:pt x="32875" y="13989"/>
                        </a:cubicBezTo>
                        <a:cubicBezTo>
                          <a:pt x="25309" y="11981"/>
                          <a:pt x="17354" y="13477"/>
                          <a:pt x="10605" y="18717"/>
                        </a:cubicBezTo>
                        <a:cubicBezTo>
                          <a:pt x="9400" y="19646"/>
                          <a:pt x="7983" y="20095"/>
                          <a:pt x="6578" y="20095"/>
                        </a:cubicBezTo>
                        <a:close/>
                      </a:path>
                    </a:pathLst>
                  </a:custGeom>
                  <a:solidFill>
                    <a:schemeClr val="accent1"/>
                  </a:solidFill>
                  <a:ln w="274" cap="flat">
                    <a:noFill/>
                    <a:prstDash val="solid"/>
                    <a:miter/>
                  </a:ln>
                </p:spPr>
                <p:txBody>
                  <a:bodyPr rtlCol="0" anchor="ctr"/>
                  <a:lstStyle/>
                  <a:p>
                    <a:endParaRPr lang="en-GB" dirty="0"/>
                  </a:p>
                </p:txBody>
              </p:sp>
              <p:sp>
                <p:nvSpPr>
                  <p:cNvPr id="867" name="Freihandform: Form 866">
                    <a:extLst>
                      <a:ext uri="{FF2B5EF4-FFF2-40B4-BE49-F238E27FC236}">
                        <a16:creationId xmlns:a16="http://schemas.microsoft.com/office/drawing/2014/main" id="{8E3EA7B3-3C08-4836-85D5-2AE4777AD693}"/>
                      </a:ext>
                    </a:extLst>
                  </p:cNvPr>
                  <p:cNvSpPr/>
                  <p:nvPr/>
                </p:nvSpPr>
                <p:spPr>
                  <a:xfrm>
                    <a:off x="7949036" y="3480685"/>
                    <a:ext cx="25028" cy="17065"/>
                  </a:xfrm>
                  <a:custGeom>
                    <a:avLst/>
                    <a:gdLst>
                      <a:gd name="connsiteX0" fmla="*/ 18462 w 25028"/>
                      <a:gd name="connsiteY0" fmla="*/ 17066 h 17065"/>
                      <a:gd name="connsiteX1" fmla="*/ 13764 w 25028"/>
                      <a:gd name="connsiteY1" fmla="*/ 15091 h 17065"/>
                      <a:gd name="connsiteX2" fmla="*/ 7899 w 25028"/>
                      <a:gd name="connsiteY2" fmla="*/ 13256 h 17065"/>
                      <a:gd name="connsiteX3" fmla="*/ 136 w 25028"/>
                      <a:gd name="connsiteY3" fmla="*/ 8150 h 17065"/>
                      <a:gd name="connsiteX4" fmla="*/ 5242 w 25028"/>
                      <a:gd name="connsiteY4" fmla="*/ 387 h 17065"/>
                      <a:gd name="connsiteX5" fmla="*/ 23157 w 25028"/>
                      <a:gd name="connsiteY5" fmla="*/ 5903 h 17065"/>
                      <a:gd name="connsiteX6" fmla="*/ 23053 w 25028"/>
                      <a:gd name="connsiteY6" fmla="*/ 15195 h 17065"/>
                      <a:gd name="connsiteX7" fmla="*/ 18462 w 25028"/>
                      <a:gd name="connsiteY7" fmla="*/ 17066 h 1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28" h="17065">
                        <a:moveTo>
                          <a:pt x="18462" y="17066"/>
                        </a:moveTo>
                        <a:cubicBezTo>
                          <a:pt x="16755" y="17066"/>
                          <a:pt x="15054" y="16406"/>
                          <a:pt x="13764" y="15091"/>
                        </a:cubicBezTo>
                        <a:cubicBezTo>
                          <a:pt x="12219" y="13513"/>
                          <a:pt x="9959" y="12831"/>
                          <a:pt x="7899" y="13256"/>
                        </a:cubicBezTo>
                        <a:cubicBezTo>
                          <a:pt x="4314" y="13973"/>
                          <a:pt x="868" y="11697"/>
                          <a:pt x="136" y="8150"/>
                        </a:cubicBezTo>
                        <a:cubicBezTo>
                          <a:pt x="-595" y="4594"/>
                          <a:pt x="1689" y="1118"/>
                          <a:pt x="5242" y="387"/>
                        </a:cubicBezTo>
                        <a:cubicBezTo>
                          <a:pt x="11690" y="-923"/>
                          <a:pt x="18492" y="1137"/>
                          <a:pt x="23157" y="5903"/>
                        </a:cubicBezTo>
                        <a:cubicBezTo>
                          <a:pt x="25691" y="8495"/>
                          <a:pt x="25647" y="12653"/>
                          <a:pt x="23053" y="15195"/>
                        </a:cubicBezTo>
                        <a:cubicBezTo>
                          <a:pt x="21779" y="16444"/>
                          <a:pt x="20119" y="17066"/>
                          <a:pt x="18462" y="17066"/>
                        </a:cubicBezTo>
                        <a:close/>
                      </a:path>
                    </a:pathLst>
                  </a:custGeom>
                  <a:solidFill>
                    <a:schemeClr val="accent1"/>
                  </a:solidFill>
                  <a:ln w="274" cap="flat">
                    <a:noFill/>
                    <a:prstDash val="solid"/>
                    <a:miter/>
                  </a:ln>
                </p:spPr>
                <p:txBody>
                  <a:bodyPr rtlCol="0" anchor="ctr"/>
                  <a:lstStyle/>
                  <a:p>
                    <a:endParaRPr lang="en-GB" dirty="0"/>
                  </a:p>
                </p:txBody>
              </p:sp>
              <p:sp>
                <p:nvSpPr>
                  <p:cNvPr id="868" name="Freihandform: Form 867">
                    <a:extLst>
                      <a:ext uri="{FF2B5EF4-FFF2-40B4-BE49-F238E27FC236}">
                        <a16:creationId xmlns:a16="http://schemas.microsoft.com/office/drawing/2014/main" id="{F661A83E-A9A2-4E43-A049-75E73C01BB91}"/>
                      </a:ext>
                    </a:extLst>
                  </p:cNvPr>
                  <p:cNvSpPr/>
                  <p:nvPr/>
                </p:nvSpPr>
                <p:spPr>
                  <a:xfrm>
                    <a:off x="7891501" y="3525419"/>
                    <a:ext cx="27744" cy="18143"/>
                  </a:xfrm>
                  <a:custGeom>
                    <a:avLst/>
                    <a:gdLst>
                      <a:gd name="connsiteX0" fmla="*/ 21173 w 27744"/>
                      <a:gd name="connsiteY0" fmla="*/ 18144 h 18143"/>
                      <a:gd name="connsiteX1" fmla="*/ 2555 w 27744"/>
                      <a:gd name="connsiteY1" fmla="*/ 11772 h 18143"/>
                      <a:gd name="connsiteX2" fmla="*/ 1374 w 27744"/>
                      <a:gd name="connsiteY2" fmla="*/ 2557 h 18143"/>
                      <a:gd name="connsiteX3" fmla="*/ 10589 w 27744"/>
                      <a:gd name="connsiteY3" fmla="*/ 1377 h 18143"/>
                      <a:gd name="connsiteX4" fmla="*/ 21176 w 27744"/>
                      <a:gd name="connsiteY4" fmla="*/ 5001 h 18143"/>
                      <a:gd name="connsiteX5" fmla="*/ 27745 w 27744"/>
                      <a:gd name="connsiteY5" fmla="*/ 11570 h 18143"/>
                      <a:gd name="connsiteX6" fmla="*/ 21173 w 27744"/>
                      <a:gd name="connsiteY6" fmla="*/ 18144 h 18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44" h="18143">
                        <a:moveTo>
                          <a:pt x="21173" y="18144"/>
                        </a:moveTo>
                        <a:cubicBezTo>
                          <a:pt x="14385" y="18144"/>
                          <a:pt x="7951" y="15944"/>
                          <a:pt x="2555" y="11772"/>
                        </a:cubicBezTo>
                        <a:cubicBezTo>
                          <a:pt x="-319" y="9559"/>
                          <a:pt x="-848" y="5434"/>
                          <a:pt x="1374" y="2557"/>
                        </a:cubicBezTo>
                        <a:cubicBezTo>
                          <a:pt x="3573" y="-311"/>
                          <a:pt x="7713" y="-856"/>
                          <a:pt x="10589" y="1377"/>
                        </a:cubicBezTo>
                        <a:cubicBezTo>
                          <a:pt x="13662" y="3744"/>
                          <a:pt x="17319" y="5001"/>
                          <a:pt x="21176" y="5001"/>
                        </a:cubicBezTo>
                        <a:cubicBezTo>
                          <a:pt x="24808" y="5001"/>
                          <a:pt x="27745" y="7940"/>
                          <a:pt x="27745" y="11570"/>
                        </a:cubicBezTo>
                        <a:cubicBezTo>
                          <a:pt x="27745" y="15199"/>
                          <a:pt x="24803" y="18144"/>
                          <a:pt x="21173" y="18144"/>
                        </a:cubicBezTo>
                        <a:close/>
                      </a:path>
                    </a:pathLst>
                  </a:custGeom>
                  <a:solidFill>
                    <a:schemeClr val="accent1"/>
                  </a:solidFill>
                  <a:ln w="274" cap="flat">
                    <a:noFill/>
                    <a:prstDash val="solid"/>
                    <a:miter/>
                  </a:ln>
                </p:spPr>
                <p:txBody>
                  <a:bodyPr rtlCol="0" anchor="ctr"/>
                  <a:lstStyle/>
                  <a:p>
                    <a:endParaRPr lang="en-GB" dirty="0"/>
                  </a:p>
                </p:txBody>
              </p:sp>
              <p:sp>
                <p:nvSpPr>
                  <p:cNvPr id="869" name="Freihandform: Form 868">
                    <a:extLst>
                      <a:ext uri="{FF2B5EF4-FFF2-40B4-BE49-F238E27FC236}">
                        <a16:creationId xmlns:a16="http://schemas.microsoft.com/office/drawing/2014/main" id="{2EF202B9-BC86-46D8-BD6C-6ED66CFB61BA}"/>
                      </a:ext>
                    </a:extLst>
                  </p:cNvPr>
                  <p:cNvSpPr/>
                  <p:nvPr/>
                </p:nvSpPr>
                <p:spPr>
                  <a:xfrm>
                    <a:off x="7954608" y="3541415"/>
                    <a:ext cx="20425" cy="19002"/>
                  </a:xfrm>
                  <a:custGeom>
                    <a:avLst/>
                    <a:gdLst>
                      <a:gd name="connsiteX0" fmla="*/ 6571 w 20425"/>
                      <a:gd name="connsiteY0" fmla="*/ 19002 h 19002"/>
                      <a:gd name="connsiteX1" fmla="*/ 482 w 20425"/>
                      <a:gd name="connsiteY1" fmla="*/ 14896 h 19002"/>
                      <a:gd name="connsiteX2" fmla="*/ 4106 w 20425"/>
                      <a:gd name="connsiteY2" fmla="*/ 6344 h 19002"/>
                      <a:gd name="connsiteX3" fmla="*/ 8456 w 20425"/>
                      <a:gd name="connsiteY3" fmla="*/ 2841 h 19002"/>
                      <a:gd name="connsiteX4" fmla="*/ 17591 w 20425"/>
                      <a:gd name="connsiteY4" fmla="*/ 1173 h 19002"/>
                      <a:gd name="connsiteX5" fmla="*/ 19259 w 20425"/>
                      <a:gd name="connsiteY5" fmla="*/ 10308 h 19002"/>
                      <a:gd name="connsiteX6" fmla="*/ 9031 w 20425"/>
                      <a:gd name="connsiteY6" fmla="*/ 18520 h 19002"/>
                      <a:gd name="connsiteX7" fmla="*/ 6571 w 20425"/>
                      <a:gd name="connsiteY7" fmla="*/ 19002 h 19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25" h="19002">
                        <a:moveTo>
                          <a:pt x="6571" y="19002"/>
                        </a:moveTo>
                        <a:cubicBezTo>
                          <a:pt x="3971" y="19002"/>
                          <a:pt x="1514" y="17449"/>
                          <a:pt x="482" y="14896"/>
                        </a:cubicBezTo>
                        <a:cubicBezTo>
                          <a:pt x="-880" y="11535"/>
                          <a:pt x="744" y="7703"/>
                          <a:pt x="4106" y="6344"/>
                        </a:cubicBezTo>
                        <a:cubicBezTo>
                          <a:pt x="5856" y="5632"/>
                          <a:pt x="7360" y="4427"/>
                          <a:pt x="8456" y="2841"/>
                        </a:cubicBezTo>
                        <a:cubicBezTo>
                          <a:pt x="10510" y="-151"/>
                          <a:pt x="14616" y="-901"/>
                          <a:pt x="17591" y="1173"/>
                        </a:cubicBezTo>
                        <a:cubicBezTo>
                          <a:pt x="20574" y="3232"/>
                          <a:pt x="21325" y="7325"/>
                          <a:pt x="19259" y="10308"/>
                        </a:cubicBezTo>
                        <a:cubicBezTo>
                          <a:pt x="16706" y="14009"/>
                          <a:pt x="13164" y="16852"/>
                          <a:pt x="9031" y="18520"/>
                        </a:cubicBezTo>
                        <a:cubicBezTo>
                          <a:pt x="8228" y="18849"/>
                          <a:pt x="7393" y="19002"/>
                          <a:pt x="6571" y="19002"/>
                        </a:cubicBezTo>
                        <a:close/>
                      </a:path>
                    </a:pathLst>
                  </a:custGeom>
                  <a:solidFill>
                    <a:schemeClr val="accent1"/>
                  </a:solidFill>
                  <a:ln w="274" cap="flat">
                    <a:noFill/>
                    <a:prstDash val="solid"/>
                    <a:miter/>
                  </a:ln>
                </p:spPr>
                <p:txBody>
                  <a:bodyPr rtlCol="0" anchor="ctr"/>
                  <a:lstStyle/>
                  <a:p>
                    <a:endParaRPr lang="en-GB" dirty="0"/>
                  </a:p>
                </p:txBody>
              </p:sp>
              <p:sp>
                <p:nvSpPr>
                  <p:cNvPr id="870" name="Freihandform: Form 869">
                    <a:extLst>
                      <a:ext uri="{FF2B5EF4-FFF2-40B4-BE49-F238E27FC236}">
                        <a16:creationId xmlns:a16="http://schemas.microsoft.com/office/drawing/2014/main" id="{DB108BFD-C555-435E-B288-EF49CEB0CA19}"/>
                      </a:ext>
                    </a:extLst>
                  </p:cNvPr>
                  <p:cNvSpPr/>
                  <p:nvPr/>
                </p:nvSpPr>
                <p:spPr>
                  <a:xfrm>
                    <a:off x="7915569" y="3560312"/>
                    <a:ext cx="18530" cy="17853"/>
                  </a:xfrm>
                  <a:custGeom>
                    <a:avLst/>
                    <a:gdLst>
                      <a:gd name="connsiteX0" fmla="*/ 6567 w 18530"/>
                      <a:gd name="connsiteY0" fmla="*/ 17853 h 17853"/>
                      <a:gd name="connsiteX1" fmla="*/ 1620 w 18530"/>
                      <a:gd name="connsiteY1" fmla="*/ 15601 h 17853"/>
                      <a:gd name="connsiteX2" fmla="*/ 2250 w 18530"/>
                      <a:gd name="connsiteY2" fmla="*/ 6337 h 17853"/>
                      <a:gd name="connsiteX3" fmla="*/ 7646 w 18530"/>
                      <a:gd name="connsiteY3" fmla="*/ 1628 h 17853"/>
                      <a:gd name="connsiteX4" fmla="*/ 16911 w 18530"/>
                      <a:gd name="connsiteY4" fmla="*/ 2258 h 17853"/>
                      <a:gd name="connsiteX5" fmla="*/ 16283 w 18530"/>
                      <a:gd name="connsiteY5" fmla="*/ 11523 h 17853"/>
                      <a:gd name="connsiteX6" fmla="*/ 10887 w 18530"/>
                      <a:gd name="connsiteY6" fmla="*/ 16231 h 17853"/>
                      <a:gd name="connsiteX7" fmla="*/ 6567 w 18530"/>
                      <a:gd name="connsiteY7" fmla="*/ 17853 h 17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30" h="17853">
                        <a:moveTo>
                          <a:pt x="6567" y="17853"/>
                        </a:moveTo>
                        <a:cubicBezTo>
                          <a:pt x="4740" y="17853"/>
                          <a:pt x="2916" y="17089"/>
                          <a:pt x="1620" y="15601"/>
                        </a:cubicBezTo>
                        <a:cubicBezTo>
                          <a:pt x="-766" y="12868"/>
                          <a:pt x="-484" y="8718"/>
                          <a:pt x="2250" y="6337"/>
                        </a:cubicBezTo>
                        <a:lnTo>
                          <a:pt x="7646" y="1628"/>
                        </a:lnTo>
                        <a:cubicBezTo>
                          <a:pt x="10367" y="-771"/>
                          <a:pt x="14525" y="-484"/>
                          <a:pt x="16911" y="2258"/>
                        </a:cubicBezTo>
                        <a:cubicBezTo>
                          <a:pt x="19297" y="4992"/>
                          <a:pt x="19014" y="9142"/>
                          <a:pt x="16283" y="11523"/>
                        </a:cubicBezTo>
                        <a:lnTo>
                          <a:pt x="10887" y="16231"/>
                        </a:lnTo>
                        <a:cubicBezTo>
                          <a:pt x="9641" y="17319"/>
                          <a:pt x="8101" y="17853"/>
                          <a:pt x="6567" y="17853"/>
                        </a:cubicBezTo>
                        <a:close/>
                      </a:path>
                    </a:pathLst>
                  </a:custGeom>
                  <a:solidFill>
                    <a:schemeClr val="accent1"/>
                  </a:solidFill>
                  <a:ln w="274" cap="flat">
                    <a:noFill/>
                    <a:prstDash val="solid"/>
                    <a:miter/>
                  </a:ln>
                </p:spPr>
                <p:txBody>
                  <a:bodyPr rtlCol="0" anchor="ctr"/>
                  <a:lstStyle/>
                  <a:p>
                    <a:endParaRPr lang="en-GB" dirty="0"/>
                  </a:p>
                </p:txBody>
              </p:sp>
            </p:grpSp>
            <p:grpSp>
              <p:nvGrpSpPr>
                <p:cNvPr id="856" name="Grafik 349">
                  <a:extLst>
                    <a:ext uri="{FF2B5EF4-FFF2-40B4-BE49-F238E27FC236}">
                      <a16:creationId xmlns:a16="http://schemas.microsoft.com/office/drawing/2014/main" id="{6255932E-2475-447E-B716-3720FC9A8760}"/>
                    </a:ext>
                  </a:extLst>
                </p:cNvPr>
                <p:cNvGrpSpPr/>
                <p:nvPr/>
              </p:nvGrpSpPr>
              <p:grpSpPr>
                <a:xfrm>
                  <a:off x="7991267" y="3407670"/>
                  <a:ext cx="99407" cy="194347"/>
                  <a:chOff x="7991267" y="3407670"/>
                  <a:chExt cx="99407" cy="194347"/>
                </a:xfrm>
                <a:solidFill>
                  <a:schemeClr val="accent1"/>
                </a:solidFill>
              </p:grpSpPr>
              <p:sp>
                <p:nvSpPr>
                  <p:cNvPr id="857" name="Freihandform: Form 856">
                    <a:extLst>
                      <a:ext uri="{FF2B5EF4-FFF2-40B4-BE49-F238E27FC236}">
                        <a16:creationId xmlns:a16="http://schemas.microsoft.com/office/drawing/2014/main" id="{97780A1E-6CED-40FD-829E-4798F4330B10}"/>
                      </a:ext>
                    </a:extLst>
                  </p:cNvPr>
                  <p:cNvSpPr/>
                  <p:nvPr/>
                </p:nvSpPr>
                <p:spPr>
                  <a:xfrm>
                    <a:off x="7991267" y="3407670"/>
                    <a:ext cx="99407" cy="194347"/>
                  </a:xfrm>
                  <a:custGeom>
                    <a:avLst/>
                    <a:gdLst>
                      <a:gd name="connsiteX0" fmla="*/ 31173 w 99407"/>
                      <a:gd name="connsiteY0" fmla="*/ 194348 h 194347"/>
                      <a:gd name="connsiteX1" fmla="*/ 0 w 99407"/>
                      <a:gd name="connsiteY1" fmla="*/ 166733 h 194347"/>
                      <a:gd name="connsiteX2" fmla="*/ 0 w 99407"/>
                      <a:gd name="connsiteY2" fmla="*/ 156661 h 194347"/>
                      <a:gd name="connsiteX3" fmla="*/ 2301 w 99407"/>
                      <a:gd name="connsiteY3" fmla="*/ 147961 h 194347"/>
                      <a:gd name="connsiteX4" fmla="*/ 2931 w 99407"/>
                      <a:gd name="connsiteY4" fmla="*/ 146844 h 194347"/>
                      <a:gd name="connsiteX5" fmla="*/ 2821 w 99407"/>
                      <a:gd name="connsiteY5" fmla="*/ 142474 h 194347"/>
                      <a:gd name="connsiteX6" fmla="*/ 0 w 99407"/>
                      <a:gd name="connsiteY6" fmla="*/ 132909 h 194347"/>
                      <a:gd name="connsiteX7" fmla="*/ 0 w 99407"/>
                      <a:gd name="connsiteY7" fmla="*/ 91839 h 194347"/>
                      <a:gd name="connsiteX8" fmla="*/ 5040 w 99407"/>
                      <a:gd name="connsiteY8" fmla="*/ 79378 h 194347"/>
                      <a:gd name="connsiteX9" fmla="*/ 5588 w 99407"/>
                      <a:gd name="connsiteY9" fmla="*/ 78809 h 194347"/>
                      <a:gd name="connsiteX10" fmla="*/ 5862 w 99407"/>
                      <a:gd name="connsiteY10" fmla="*/ 75754 h 194347"/>
                      <a:gd name="connsiteX11" fmla="*/ 3670 w 99407"/>
                      <a:gd name="connsiteY11" fmla="*/ 72489 h 194347"/>
                      <a:gd name="connsiteX12" fmla="*/ 0 w 99407"/>
                      <a:gd name="connsiteY12" fmla="*/ 60305 h 194347"/>
                      <a:gd name="connsiteX13" fmla="*/ 0 w 99407"/>
                      <a:gd name="connsiteY13" fmla="*/ 27609 h 194347"/>
                      <a:gd name="connsiteX14" fmla="*/ 31173 w 99407"/>
                      <a:gd name="connsiteY14" fmla="*/ 0 h 194347"/>
                      <a:gd name="connsiteX15" fmla="*/ 62373 w 99407"/>
                      <a:gd name="connsiteY15" fmla="*/ 27102 h 194347"/>
                      <a:gd name="connsiteX16" fmla="*/ 81657 w 99407"/>
                      <a:gd name="connsiteY16" fmla="*/ 57514 h 194347"/>
                      <a:gd name="connsiteX17" fmla="*/ 81438 w 99407"/>
                      <a:gd name="connsiteY17" fmla="*/ 60960 h 194347"/>
                      <a:gd name="connsiteX18" fmla="*/ 99408 w 99407"/>
                      <a:gd name="connsiteY18" fmla="*/ 95921 h 194347"/>
                      <a:gd name="connsiteX19" fmla="*/ 82698 w 99407"/>
                      <a:gd name="connsiteY19" fmla="*/ 130030 h 194347"/>
                      <a:gd name="connsiteX20" fmla="*/ 83465 w 99407"/>
                      <a:gd name="connsiteY20" fmla="*/ 136837 h 194347"/>
                      <a:gd name="connsiteX21" fmla="*/ 62346 w 99407"/>
                      <a:gd name="connsiteY21" fmla="*/ 168232 h 194347"/>
                      <a:gd name="connsiteX22" fmla="*/ 31173 w 99407"/>
                      <a:gd name="connsiteY22" fmla="*/ 194348 h 194347"/>
                      <a:gd name="connsiteX23" fmla="*/ 31173 w 99407"/>
                      <a:gd name="connsiteY23" fmla="*/ 13137 h 194347"/>
                      <a:gd name="connsiteX24" fmla="*/ 13121 w 99407"/>
                      <a:gd name="connsiteY24" fmla="*/ 27606 h 194347"/>
                      <a:gd name="connsiteX25" fmla="*/ 13121 w 99407"/>
                      <a:gd name="connsiteY25" fmla="*/ 60302 h 194347"/>
                      <a:gd name="connsiteX26" fmla="*/ 14600 w 99407"/>
                      <a:gd name="connsiteY26" fmla="*/ 65192 h 194347"/>
                      <a:gd name="connsiteX27" fmla="*/ 16764 w 99407"/>
                      <a:gd name="connsiteY27" fmla="*/ 68457 h 194347"/>
                      <a:gd name="connsiteX28" fmla="*/ 14984 w 99407"/>
                      <a:gd name="connsiteY28" fmla="*/ 87988 h 194347"/>
                      <a:gd name="connsiteX29" fmla="*/ 14436 w 99407"/>
                      <a:gd name="connsiteY29" fmla="*/ 88558 h 194347"/>
                      <a:gd name="connsiteX30" fmla="*/ 13121 w 99407"/>
                      <a:gd name="connsiteY30" fmla="*/ 91836 h 194347"/>
                      <a:gd name="connsiteX31" fmla="*/ 13121 w 99407"/>
                      <a:gd name="connsiteY31" fmla="*/ 132906 h 194347"/>
                      <a:gd name="connsiteX32" fmla="*/ 13833 w 99407"/>
                      <a:gd name="connsiteY32" fmla="*/ 135306 h 194347"/>
                      <a:gd name="connsiteX33" fmla="*/ 14354 w 99407"/>
                      <a:gd name="connsiteY33" fmla="*/ 153347 h 194347"/>
                      <a:gd name="connsiteX34" fmla="*/ 13696 w 99407"/>
                      <a:gd name="connsiteY34" fmla="*/ 154464 h 194347"/>
                      <a:gd name="connsiteX35" fmla="*/ 13121 w 99407"/>
                      <a:gd name="connsiteY35" fmla="*/ 156658 h 194347"/>
                      <a:gd name="connsiteX36" fmla="*/ 13121 w 99407"/>
                      <a:gd name="connsiteY36" fmla="*/ 166731 h 194347"/>
                      <a:gd name="connsiteX37" fmla="*/ 31173 w 99407"/>
                      <a:gd name="connsiteY37" fmla="*/ 181205 h 194347"/>
                      <a:gd name="connsiteX38" fmla="*/ 49252 w 99407"/>
                      <a:gd name="connsiteY38" fmla="*/ 166731 h 194347"/>
                      <a:gd name="connsiteX39" fmla="*/ 49060 w 99407"/>
                      <a:gd name="connsiteY39" fmla="*/ 164915 h 194347"/>
                      <a:gd name="connsiteX40" fmla="*/ 53416 w 99407"/>
                      <a:gd name="connsiteY40" fmla="*/ 157716 h 194347"/>
                      <a:gd name="connsiteX41" fmla="*/ 70317 w 99407"/>
                      <a:gd name="connsiteY41" fmla="*/ 136832 h 194347"/>
                      <a:gd name="connsiteX42" fmla="*/ 68892 w 99407"/>
                      <a:gd name="connsiteY42" fmla="*/ 129715 h 194347"/>
                      <a:gd name="connsiteX43" fmla="*/ 71714 w 99407"/>
                      <a:gd name="connsiteY43" fmla="*/ 121527 h 194347"/>
                      <a:gd name="connsiteX44" fmla="*/ 86287 w 99407"/>
                      <a:gd name="connsiteY44" fmla="*/ 95915 h 194347"/>
                      <a:gd name="connsiteX45" fmla="*/ 71002 w 99407"/>
                      <a:gd name="connsiteY45" fmla="*/ 69950 h 194347"/>
                      <a:gd name="connsiteX46" fmla="*/ 67797 w 99407"/>
                      <a:gd name="connsiteY46" fmla="*/ 62450 h 194347"/>
                      <a:gd name="connsiteX47" fmla="*/ 68509 w 99407"/>
                      <a:gd name="connsiteY47" fmla="*/ 57508 h 194347"/>
                      <a:gd name="connsiteX48" fmla="*/ 52977 w 99407"/>
                      <a:gd name="connsiteY48" fmla="*/ 37164 h 194347"/>
                      <a:gd name="connsiteX49" fmla="*/ 49005 w 99407"/>
                      <a:gd name="connsiteY49" fmla="*/ 29792 h 194347"/>
                      <a:gd name="connsiteX50" fmla="*/ 49252 w 99407"/>
                      <a:gd name="connsiteY50" fmla="*/ 27604 h 194347"/>
                      <a:gd name="connsiteX51" fmla="*/ 31173 w 99407"/>
                      <a:gd name="connsiteY51" fmla="*/ 13137 h 194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9407" h="194347">
                        <a:moveTo>
                          <a:pt x="31173" y="194348"/>
                        </a:moveTo>
                        <a:cubicBezTo>
                          <a:pt x="13970" y="194348"/>
                          <a:pt x="0" y="181958"/>
                          <a:pt x="0" y="166733"/>
                        </a:cubicBezTo>
                        <a:lnTo>
                          <a:pt x="0" y="156661"/>
                        </a:lnTo>
                        <a:cubicBezTo>
                          <a:pt x="0" y="153612"/>
                          <a:pt x="794" y="150599"/>
                          <a:pt x="2301" y="147961"/>
                        </a:cubicBezTo>
                        <a:lnTo>
                          <a:pt x="2931" y="146844"/>
                        </a:lnTo>
                        <a:cubicBezTo>
                          <a:pt x="3698" y="145477"/>
                          <a:pt x="3670" y="143770"/>
                          <a:pt x="2821" y="142474"/>
                        </a:cubicBezTo>
                        <a:cubicBezTo>
                          <a:pt x="959" y="139607"/>
                          <a:pt x="0" y="136308"/>
                          <a:pt x="0" y="132909"/>
                        </a:cubicBezTo>
                        <a:lnTo>
                          <a:pt x="0" y="91839"/>
                        </a:lnTo>
                        <a:cubicBezTo>
                          <a:pt x="0" y="87141"/>
                          <a:pt x="1781" y="82715"/>
                          <a:pt x="5040" y="79378"/>
                        </a:cubicBezTo>
                        <a:lnTo>
                          <a:pt x="5588" y="78809"/>
                        </a:lnTo>
                        <a:cubicBezTo>
                          <a:pt x="6355" y="78014"/>
                          <a:pt x="6465" y="76697"/>
                          <a:pt x="5862" y="75754"/>
                        </a:cubicBezTo>
                        <a:lnTo>
                          <a:pt x="3670" y="72489"/>
                        </a:lnTo>
                        <a:cubicBezTo>
                          <a:pt x="1260" y="68871"/>
                          <a:pt x="0" y="64660"/>
                          <a:pt x="0" y="60305"/>
                        </a:cubicBezTo>
                        <a:lnTo>
                          <a:pt x="0" y="27609"/>
                        </a:lnTo>
                        <a:cubicBezTo>
                          <a:pt x="0" y="12384"/>
                          <a:pt x="13970" y="0"/>
                          <a:pt x="31173" y="0"/>
                        </a:cubicBezTo>
                        <a:cubicBezTo>
                          <a:pt x="48211" y="0"/>
                          <a:pt x="62072" y="12113"/>
                          <a:pt x="62373" y="27102"/>
                        </a:cubicBezTo>
                        <a:cubicBezTo>
                          <a:pt x="74234" y="33589"/>
                          <a:pt x="81657" y="45094"/>
                          <a:pt x="81657" y="57514"/>
                        </a:cubicBezTo>
                        <a:cubicBezTo>
                          <a:pt x="81657" y="58650"/>
                          <a:pt x="81575" y="59804"/>
                          <a:pt x="81438" y="60960"/>
                        </a:cubicBezTo>
                        <a:cubicBezTo>
                          <a:pt x="92943" y="68890"/>
                          <a:pt x="99408" y="81389"/>
                          <a:pt x="99408" y="95921"/>
                        </a:cubicBezTo>
                        <a:cubicBezTo>
                          <a:pt x="99408" y="109935"/>
                          <a:pt x="93409" y="122097"/>
                          <a:pt x="82698" y="130030"/>
                        </a:cubicBezTo>
                        <a:cubicBezTo>
                          <a:pt x="83219" y="132276"/>
                          <a:pt x="83465" y="134553"/>
                          <a:pt x="83465" y="136837"/>
                        </a:cubicBezTo>
                        <a:cubicBezTo>
                          <a:pt x="83465" y="150098"/>
                          <a:pt x="75302" y="161995"/>
                          <a:pt x="62346" y="168232"/>
                        </a:cubicBezTo>
                        <a:cubicBezTo>
                          <a:pt x="61469" y="182761"/>
                          <a:pt x="47827" y="194348"/>
                          <a:pt x="31173" y="194348"/>
                        </a:cubicBezTo>
                        <a:close/>
                        <a:moveTo>
                          <a:pt x="31173" y="13137"/>
                        </a:moveTo>
                        <a:cubicBezTo>
                          <a:pt x="21229" y="13137"/>
                          <a:pt x="13121" y="19629"/>
                          <a:pt x="13121" y="27606"/>
                        </a:cubicBezTo>
                        <a:lnTo>
                          <a:pt x="13121" y="60302"/>
                        </a:lnTo>
                        <a:cubicBezTo>
                          <a:pt x="13121" y="62052"/>
                          <a:pt x="13641" y="63748"/>
                          <a:pt x="14600" y="65192"/>
                        </a:cubicBezTo>
                        <a:lnTo>
                          <a:pt x="16764" y="68457"/>
                        </a:lnTo>
                        <a:cubicBezTo>
                          <a:pt x="20846" y="74546"/>
                          <a:pt x="20079" y="82759"/>
                          <a:pt x="14984" y="87988"/>
                        </a:cubicBezTo>
                        <a:lnTo>
                          <a:pt x="14436" y="88558"/>
                        </a:lnTo>
                        <a:cubicBezTo>
                          <a:pt x="13614" y="89412"/>
                          <a:pt x="13121" y="90604"/>
                          <a:pt x="13121" y="91836"/>
                        </a:cubicBezTo>
                        <a:lnTo>
                          <a:pt x="13121" y="132906"/>
                        </a:lnTo>
                        <a:cubicBezTo>
                          <a:pt x="13121" y="133761"/>
                          <a:pt x="13368" y="134594"/>
                          <a:pt x="13833" y="135306"/>
                        </a:cubicBezTo>
                        <a:cubicBezTo>
                          <a:pt x="17394" y="140754"/>
                          <a:pt x="17586" y="147676"/>
                          <a:pt x="14354" y="153347"/>
                        </a:cubicBezTo>
                        <a:lnTo>
                          <a:pt x="13696" y="154464"/>
                        </a:lnTo>
                        <a:cubicBezTo>
                          <a:pt x="13313" y="155138"/>
                          <a:pt x="13121" y="155894"/>
                          <a:pt x="13121" y="156658"/>
                        </a:cubicBezTo>
                        <a:lnTo>
                          <a:pt x="13121" y="166731"/>
                        </a:lnTo>
                        <a:cubicBezTo>
                          <a:pt x="13121" y="174713"/>
                          <a:pt x="21229" y="181205"/>
                          <a:pt x="31173" y="181205"/>
                        </a:cubicBezTo>
                        <a:cubicBezTo>
                          <a:pt x="41144" y="181205"/>
                          <a:pt x="49252" y="174713"/>
                          <a:pt x="49252" y="166731"/>
                        </a:cubicBezTo>
                        <a:cubicBezTo>
                          <a:pt x="49252" y="166114"/>
                          <a:pt x="49170" y="165512"/>
                          <a:pt x="49060" y="164915"/>
                        </a:cubicBezTo>
                        <a:cubicBezTo>
                          <a:pt x="48594" y="161784"/>
                          <a:pt x="50402" y="158762"/>
                          <a:pt x="53416" y="157716"/>
                        </a:cubicBezTo>
                        <a:cubicBezTo>
                          <a:pt x="63688" y="154130"/>
                          <a:pt x="70317" y="145937"/>
                          <a:pt x="70317" y="136832"/>
                        </a:cubicBezTo>
                        <a:cubicBezTo>
                          <a:pt x="70317" y="134446"/>
                          <a:pt x="69824" y="132052"/>
                          <a:pt x="68892" y="129715"/>
                        </a:cubicBezTo>
                        <a:cubicBezTo>
                          <a:pt x="67632" y="126661"/>
                          <a:pt x="68838" y="123157"/>
                          <a:pt x="71714" y="121527"/>
                        </a:cubicBezTo>
                        <a:cubicBezTo>
                          <a:pt x="81109" y="116183"/>
                          <a:pt x="86287" y="107091"/>
                          <a:pt x="86287" y="95915"/>
                        </a:cubicBezTo>
                        <a:cubicBezTo>
                          <a:pt x="86287" y="84514"/>
                          <a:pt x="80863" y="75294"/>
                          <a:pt x="71002" y="69950"/>
                        </a:cubicBezTo>
                        <a:cubicBezTo>
                          <a:pt x="68345" y="68493"/>
                          <a:pt x="67002" y="65389"/>
                          <a:pt x="67797" y="62450"/>
                        </a:cubicBezTo>
                        <a:cubicBezTo>
                          <a:pt x="68263" y="60762"/>
                          <a:pt x="68509" y="59100"/>
                          <a:pt x="68509" y="57508"/>
                        </a:cubicBezTo>
                        <a:cubicBezTo>
                          <a:pt x="68509" y="48841"/>
                          <a:pt x="62565" y="41045"/>
                          <a:pt x="52977" y="37164"/>
                        </a:cubicBezTo>
                        <a:cubicBezTo>
                          <a:pt x="50046" y="35983"/>
                          <a:pt x="48375" y="32885"/>
                          <a:pt x="49005" y="29792"/>
                        </a:cubicBezTo>
                        <a:cubicBezTo>
                          <a:pt x="49142" y="29080"/>
                          <a:pt x="49252" y="28354"/>
                          <a:pt x="49252" y="27604"/>
                        </a:cubicBezTo>
                        <a:cubicBezTo>
                          <a:pt x="49252" y="19632"/>
                          <a:pt x="41144" y="13137"/>
                          <a:pt x="31173" y="13137"/>
                        </a:cubicBezTo>
                        <a:close/>
                      </a:path>
                    </a:pathLst>
                  </a:custGeom>
                  <a:solidFill>
                    <a:schemeClr val="accent1"/>
                  </a:solidFill>
                  <a:ln w="274" cap="flat">
                    <a:noFill/>
                    <a:prstDash val="solid"/>
                    <a:miter/>
                  </a:ln>
                </p:spPr>
                <p:txBody>
                  <a:bodyPr rtlCol="0" anchor="ctr"/>
                  <a:lstStyle/>
                  <a:p>
                    <a:endParaRPr lang="en-GB" dirty="0"/>
                  </a:p>
                </p:txBody>
              </p:sp>
              <p:sp>
                <p:nvSpPr>
                  <p:cNvPr id="858" name="Freihandform: Form 857">
                    <a:extLst>
                      <a:ext uri="{FF2B5EF4-FFF2-40B4-BE49-F238E27FC236}">
                        <a16:creationId xmlns:a16="http://schemas.microsoft.com/office/drawing/2014/main" id="{EADE4351-13E0-4039-94AD-DA631938AFE9}"/>
                      </a:ext>
                    </a:extLst>
                  </p:cNvPr>
                  <p:cNvSpPr/>
                  <p:nvPr/>
                </p:nvSpPr>
                <p:spPr>
                  <a:xfrm>
                    <a:off x="8034858" y="3432179"/>
                    <a:ext cx="18426" cy="25697"/>
                  </a:xfrm>
                  <a:custGeom>
                    <a:avLst/>
                    <a:gdLst>
                      <a:gd name="connsiteX0" fmla="*/ 6565 w 18426"/>
                      <a:gd name="connsiteY0" fmla="*/ 25697 h 25697"/>
                      <a:gd name="connsiteX1" fmla="*/ 2237 w 18426"/>
                      <a:gd name="connsiteY1" fmla="*/ 24073 h 25697"/>
                      <a:gd name="connsiteX2" fmla="*/ 1635 w 18426"/>
                      <a:gd name="connsiteY2" fmla="*/ 14800 h 25697"/>
                      <a:gd name="connsiteX3" fmla="*/ 5278 w 18426"/>
                      <a:gd name="connsiteY3" fmla="*/ 6569 h 25697"/>
                      <a:gd name="connsiteX4" fmla="*/ 11852 w 18426"/>
                      <a:gd name="connsiteY4" fmla="*/ 0 h 25697"/>
                      <a:gd name="connsiteX5" fmla="*/ 18426 w 18426"/>
                      <a:gd name="connsiteY5" fmla="*/ 6569 h 25697"/>
                      <a:gd name="connsiteX6" fmla="*/ 11523 w 18426"/>
                      <a:gd name="connsiteY6" fmla="*/ 23451 h 25697"/>
                      <a:gd name="connsiteX7" fmla="*/ 6565 w 18426"/>
                      <a:gd name="connsiteY7" fmla="*/ 25697 h 2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26" h="25697">
                        <a:moveTo>
                          <a:pt x="6565" y="25697"/>
                        </a:moveTo>
                        <a:cubicBezTo>
                          <a:pt x="5031" y="25697"/>
                          <a:pt x="3497" y="25166"/>
                          <a:pt x="2237" y="24073"/>
                        </a:cubicBezTo>
                        <a:cubicBezTo>
                          <a:pt x="-475" y="21687"/>
                          <a:pt x="-776" y="17534"/>
                          <a:pt x="1635" y="14800"/>
                        </a:cubicBezTo>
                        <a:cubicBezTo>
                          <a:pt x="4100" y="11984"/>
                          <a:pt x="5278" y="9289"/>
                          <a:pt x="5278" y="6569"/>
                        </a:cubicBezTo>
                        <a:cubicBezTo>
                          <a:pt x="5278" y="2937"/>
                          <a:pt x="8209" y="0"/>
                          <a:pt x="11852" y="0"/>
                        </a:cubicBezTo>
                        <a:cubicBezTo>
                          <a:pt x="15495" y="0"/>
                          <a:pt x="18426" y="2939"/>
                          <a:pt x="18426" y="6569"/>
                        </a:cubicBezTo>
                        <a:cubicBezTo>
                          <a:pt x="18426" y="12529"/>
                          <a:pt x="16098" y="18208"/>
                          <a:pt x="11523" y="23451"/>
                        </a:cubicBezTo>
                        <a:cubicBezTo>
                          <a:pt x="10236" y="24933"/>
                          <a:pt x="8401" y="25697"/>
                          <a:pt x="6565" y="25697"/>
                        </a:cubicBezTo>
                        <a:close/>
                      </a:path>
                    </a:pathLst>
                  </a:custGeom>
                  <a:solidFill>
                    <a:schemeClr val="accent1"/>
                  </a:solidFill>
                  <a:ln w="274" cap="flat">
                    <a:noFill/>
                    <a:prstDash val="solid"/>
                    <a:miter/>
                  </a:ln>
                </p:spPr>
                <p:txBody>
                  <a:bodyPr rtlCol="0" anchor="ctr"/>
                  <a:lstStyle/>
                  <a:p>
                    <a:endParaRPr lang="en-GB" dirty="0"/>
                  </a:p>
                </p:txBody>
              </p:sp>
              <p:sp>
                <p:nvSpPr>
                  <p:cNvPr id="859" name="Freihandform: Form 858">
                    <a:extLst>
                      <a:ext uri="{FF2B5EF4-FFF2-40B4-BE49-F238E27FC236}">
                        <a16:creationId xmlns:a16="http://schemas.microsoft.com/office/drawing/2014/main" id="{EFA4F143-2547-43E3-B0AF-E24F02F37689}"/>
                      </a:ext>
                    </a:extLst>
                  </p:cNvPr>
                  <p:cNvSpPr/>
                  <p:nvPr/>
                </p:nvSpPr>
                <p:spPr>
                  <a:xfrm>
                    <a:off x="8033919" y="3463171"/>
                    <a:ext cx="44983" cy="20067"/>
                  </a:xfrm>
                  <a:custGeom>
                    <a:avLst/>
                    <a:gdLst>
                      <a:gd name="connsiteX0" fmla="*/ 38403 w 44983"/>
                      <a:gd name="connsiteY0" fmla="*/ 20068 h 20067"/>
                      <a:gd name="connsiteX1" fmla="*/ 34403 w 44983"/>
                      <a:gd name="connsiteY1" fmla="*/ 18687 h 20067"/>
                      <a:gd name="connsiteX2" fmla="*/ 9065 w 44983"/>
                      <a:gd name="connsiteY2" fmla="*/ 14992 h 20067"/>
                      <a:gd name="connsiteX3" fmla="*/ 491 w 44983"/>
                      <a:gd name="connsiteY3" fmla="*/ 11412 h 20067"/>
                      <a:gd name="connsiteX4" fmla="*/ 4080 w 44983"/>
                      <a:gd name="connsiteY4" fmla="*/ 2841 h 20067"/>
                      <a:gd name="connsiteX5" fmla="*/ 42457 w 44983"/>
                      <a:gd name="connsiteY5" fmla="*/ 8308 h 20067"/>
                      <a:gd name="connsiteX6" fmla="*/ 43607 w 44983"/>
                      <a:gd name="connsiteY6" fmla="*/ 17529 h 20067"/>
                      <a:gd name="connsiteX7" fmla="*/ 38403 w 44983"/>
                      <a:gd name="connsiteY7" fmla="*/ 20068 h 2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83" h="20067">
                        <a:moveTo>
                          <a:pt x="38403" y="20068"/>
                        </a:moveTo>
                        <a:cubicBezTo>
                          <a:pt x="37006" y="20068"/>
                          <a:pt x="35581" y="19619"/>
                          <a:pt x="34403" y="18687"/>
                        </a:cubicBezTo>
                        <a:cubicBezTo>
                          <a:pt x="26679" y="12688"/>
                          <a:pt x="17283" y="11628"/>
                          <a:pt x="9065" y="14992"/>
                        </a:cubicBezTo>
                        <a:cubicBezTo>
                          <a:pt x="5696" y="16392"/>
                          <a:pt x="1861" y="14773"/>
                          <a:pt x="491" y="11412"/>
                        </a:cubicBezTo>
                        <a:cubicBezTo>
                          <a:pt x="-878" y="8051"/>
                          <a:pt x="710" y="4213"/>
                          <a:pt x="4080" y="2841"/>
                        </a:cubicBezTo>
                        <a:cubicBezTo>
                          <a:pt x="16543" y="-2284"/>
                          <a:pt x="31116" y="-482"/>
                          <a:pt x="42457" y="8308"/>
                        </a:cubicBezTo>
                        <a:cubicBezTo>
                          <a:pt x="45306" y="10535"/>
                          <a:pt x="45826" y="14661"/>
                          <a:pt x="43607" y="17529"/>
                        </a:cubicBezTo>
                        <a:cubicBezTo>
                          <a:pt x="42320" y="19194"/>
                          <a:pt x="40375" y="20068"/>
                          <a:pt x="38403" y="20068"/>
                        </a:cubicBezTo>
                        <a:close/>
                      </a:path>
                    </a:pathLst>
                  </a:custGeom>
                  <a:solidFill>
                    <a:schemeClr val="accent1"/>
                  </a:solidFill>
                  <a:ln w="274" cap="flat">
                    <a:noFill/>
                    <a:prstDash val="solid"/>
                    <a:miter/>
                  </a:ln>
                </p:spPr>
                <p:txBody>
                  <a:bodyPr rtlCol="0" anchor="ctr"/>
                  <a:lstStyle/>
                  <a:p>
                    <a:endParaRPr lang="en-GB" dirty="0"/>
                  </a:p>
                </p:txBody>
              </p:sp>
              <p:sp>
                <p:nvSpPr>
                  <p:cNvPr id="860" name="Freihandform: Form 859">
                    <a:extLst>
                      <a:ext uri="{FF2B5EF4-FFF2-40B4-BE49-F238E27FC236}">
                        <a16:creationId xmlns:a16="http://schemas.microsoft.com/office/drawing/2014/main" id="{1FFCD4D3-A00E-40AA-8AC5-6C2CC720E7EE}"/>
                      </a:ext>
                    </a:extLst>
                  </p:cNvPr>
                  <p:cNvSpPr/>
                  <p:nvPr/>
                </p:nvSpPr>
                <p:spPr>
                  <a:xfrm>
                    <a:off x="7994906" y="3480682"/>
                    <a:ext cx="25015" cy="17068"/>
                  </a:xfrm>
                  <a:custGeom>
                    <a:avLst/>
                    <a:gdLst>
                      <a:gd name="connsiteX0" fmla="*/ 6578 w 25015"/>
                      <a:gd name="connsiteY0" fmla="*/ 17069 h 17068"/>
                      <a:gd name="connsiteX1" fmla="*/ 1976 w 25015"/>
                      <a:gd name="connsiteY1" fmla="*/ 15195 h 17068"/>
                      <a:gd name="connsiteX2" fmla="*/ 1866 w 25015"/>
                      <a:gd name="connsiteY2" fmla="*/ 5904 h 17068"/>
                      <a:gd name="connsiteX3" fmla="*/ 19781 w 25015"/>
                      <a:gd name="connsiteY3" fmla="*/ 387 h 17068"/>
                      <a:gd name="connsiteX4" fmla="*/ 24876 w 25015"/>
                      <a:gd name="connsiteY4" fmla="*/ 8150 h 17068"/>
                      <a:gd name="connsiteX5" fmla="*/ 17124 w 25015"/>
                      <a:gd name="connsiteY5" fmla="*/ 13256 h 17068"/>
                      <a:gd name="connsiteX6" fmla="*/ 11262 w 25015"/>
                      <a:gd name="connsiteY6" fmla="*/ 15091 h 17068"/>
                      <a:gd name="connsiteX7" fmla="*/ 6578 w 25015"/>
                      <a:gd name="connsiteY7" fmla="*/ 17069 h 1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015" h="17068">
                        <a:moveTo>
                          <a:pt x="6578" y="17069"/>
                        </a:moveTo>
                        <a:cubicBezTo>
                          <a:pt x="4907" y="17069"/>
                          <a:pt x="3236" y="16447"/>
                          <a:pt x="1976" y="15195"/>
                        </a:cubicBezTo>
                        <a:cubicBezTo>
                          <a:pt x="-626" y="12653"/>
                          <a:pt x="-654" y="8498"/>
                          <a:pt x="1866" y="5904"/>
                        </a:cubicBezTo>
                        <a:cubicBezTo>
                          <a:pt x="6523" y="1137"/>
                          <a:pt x="13344" y="-923"/>
                          <a:pt x="19781" y="387"/>
                        </a:cubicBezTo>
                        <a:cubicBezTo>
                          <a:pt x="23342" y="1118"/>
                          <a:pt x="25616" y="4597"/>
                          <a:pt x="24876" y="8150"/>
                        </a:cubicBezTo>
                        <a:cubicBezTo>
                          <a:pt x="24164" y="11697"/>
                          <a:pt x="20713" y="13976"/>
                          <a:pt x="17124" y="13256"/>
                        </a:cubicBezTo>
                        <a:cubicBezTo>
                          <a:pt x="15070" y="12831"/>
                          <a:pt x="12823" y="13513"/>
                          <a:pt x="11262" y="15091"/>
                        </a:cubicBezTo>
                        <a:cubicBezTo>
                          <a:pt x="9975" y="16409"/>
                          <a:pt x="8276" y="17069"/>
                          <a:pt x="6578" y="17069"/>
                        </a:cubicBezTo>
                        <a:close/>
                      </a:path>
                    </a:pathLst>
                  </a:custGeom>
                  <a:solidFill>
                    <a:schemeClr val="accent1"/>
                  </a:solidFill>
                  <a:ln w="274" cap="flat">
                    <a:noFill/>
                    <a:prstDash val="solid"/>
                    <a:miter/>
                  </a:ln>
                </p:spPr>
                <p:txBody>
                  <a:bodyPr rtlCol="0" anchor="ctr"/>
                  <a:lstStyle/>
                  <a:p>
                    <a:endParaRPr lang="en-GB" dirty="0"/>
                  </a:p>
                </p:txBody>
              </p:sp>
              <p:sp>
                <p:nvSpPr>
                  <p:cNvPr id="861" name="Freihandform: Form 860">
                    <a:extLst>
                      <a:ext uri="{FF2B5EF4-FFF2-40B4-BE49-F238E27FC236}">
                        <a16:creationId xmlns:a16="http://schemas.microsoft.com/office/drawing/2014/main" id="{A2B31826-819B-4DF4-AE5A-DBBC617D0F87}"/>
                      </a:ext>
                    </a:extLst>
                  </p:cNvPr>
                  <p:cNvSpPr/>
                  <p:nvPr/>
                </p:nvSpPr>
                <p:spPr>
                  <a:xfrm>
                    <a:off x="8049723" y="3525427"/>
                    <a:ext cx="27753" cy="18135"/>
                  </a:xfrm>
                  <a:custGeom>
                    <a:avLst/>
                    <a:gdLst>
                      <a:gd name="connsiteX0" fmla="*/ 6574 w 27753"/>
                      <a:gd name="connsiteY0" fmla="*/ 18136 h 18135"/>
                      <a:gd name="connsiteX1" fmla="*/ 0 w 27753"/>
                      <a:gd name="connsiteY1" fmla="*/ 11567 h 18135"/>
                      <a:gd name="connsiteX2" fmla="*/ 6574 w 27753"/>
                      <a:gd name="connsiteY2" fmla="*/ 4998 h 18135"/>
                      <a:gd name="connsiteX3" fmla="*/ 17175 w 27753"/>
                      <a:gd name="connsiteY3" fmla="*/ 1366 h 18135"/>
                      <a:gd name="connsiteX4" fmla="*/ 26379 w 27753"/>
                      <a:gd name="connsiteY4" fmla="*/ 2560 h 18135"/>
                      <a:gd name="connsiteX5" fmla="*/ 25201 w 27753"/>
                      <a:gd name="connsiteY5" fmla="*/ 11775 h 18135"/>
                      <a:gd name="connsiteX6" fmla="*/ 6574 w 27753"/>
                      <a:gd name="connsiteY6" fmla="*/ 18136 h 1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53" h="18135">
                        <a:moveTo>
                          <a:pt x="6574" y="18136"/>
                        </a:moveTo>
                        <a:cubicBezTo>
                          <a:pt x="2931" y="18136"/>
                          <a:pt x="0" y="15197"/>
                          <a:pt x="0" y="11567"/>
                        </a:cubicBezTo>
                        <a:cubicBezTo>
                          <a:pt x="0" y="7938"/>
                          <a:pt x="2959" y="4998"/>
                          <a:pt x="6574" y="4998"/>
                        </a:cubicBezTo>
                        <a:cubicBezTo>
                          <a:pt x="10437" y="4998"/>
                          <a:pt x="14107" y="3741"/>
                          <a:pt x="17175" y="1366"/>
                        </a:cubicBezTo>
                        <a:cubicBezTo>
                          <a:pt x="20051" y="-847"/>
                          <a:pt x="24160" y="-316"/>
                          <a:pt x="26379" y="2560"/>
                        </a:cubicBezTo>
                        <a:cubicBezTo>
                          <a:pt x="28598" y="5428"/>
                          <a:pt x="28077" y="9554"/>
                          <a:pt x="25201" y="11775"/>
                        </a:cubicBezTo>
                        <a:cubicBezTo>
                          <a:pt x="19805" y="15933"/>
                          <a:pt x="13368" y="18136"/>
                          <a:pt x="6574" y="18136"/>
                        </a:cubicBezTo>
                        <a:close/>
                      </a:path>
                    </a:pathLst>
                  </a:custGeom>
                  <a:solidFill>
                    <a:schemeClr val="accent1"/>
                  </a:solidFill>
                  <a:ln w="274" cap="flat">
                    <a:noFill/>
                    <a:prstDash val="solid"/>
                    <a:miter/>
                  </a:ln>
                </p:spPr>
                <p:txBody>
                  <a:bodyPr rtlCol="0" anchor="ctr"/>
                  <a:lstStyle/>
                  <a:p>
                    <a:endParaRPr lang="en-GB" dirty="0"/>
                  </a:p>
                </p:txBody>
              </p:sp>
              <p:sp>
                <p:nvSpPr>
                  <p:cNvPr id="862" name="Freihandform: Form 861">
                    <a:extLst>
                      <a:ext uri="{FF2B5EF4-FFF2-40B4-BE49-F238E27FC236}">
                        <a16:creationId xmlns:a16="http://schemas.microsoft.com/office/drawing/2014/main" id="{FC814D52-1D76-4DA4-92D1-1279546D35B0}"/>
                      </a:ext>
                    </a:extLst>
                  </p:cNvPr>
                  <p:cNvSpPr/>
                  <p:nvPr/>
                </p:nvSpPr>
                <p:spPr>
                  <a:xfrm>
                    <a:off x="7993940" y="3541426"/>
                    <a:ext cx="20424" cy="18991"/>
                  </a:xfrm>
                  <a:custGeom>
                    <a:avLst/>
                    <a:gdLst>
                      <a:gd name="connsiteX0" fmla="*/ 13845 w 20424"/>
                      <a:gd name="connsiteY0" fmla="*/ 18991 h 18991"/>
                      <a:gd name="connsiteX1" fmla="*/ 11379 w 20424"/>
                      <a:gd name="connsiteY1" fmla="*/ 18509 h 18991"/>
                      <a:gd name="connsiteX2" fmla="*/ 1162 w 20424"/>
                      <a:gd name="connsiteY2" fmla="*/ 10291 h 18991"/>
                      <a:gd name="connsiteX3" fmla="*/ 2833 w 20424"/>
                      <a:gd name="connsiteY3" fmla="*/ 1156 h 18991"/>
                      <a:gd name="connsiteX4" fmla="*/ 11982 w 20424"/>
                      <a:gd name="connsiteY4" fmla="*/ 2838 h 18991"/>
                      <a:gd name="connsiteX5" fmla="*/ 16310 w 20424"/>
                      <a:gd name="connsiteY5" fmla="*/ 6336 h 18991"/>
                      <a:gd name="connsiteX6" fmla="*/ 19953 w 20424"/>
                      <a:gd name="connsiteY6" fmla="*/ 14888 h 18991"/>
                      <a:gd name="connsiteX7" fmla="*/ 13845 w 20424"/>
                      <a:gd name="connsiteY7" fmla="*/ 18991 h 1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24" h="18991">
                        <a:moveTo>
                          <a:pt x="13845" y="18991"/>
                        </a:moveTo>
                        <a:cubicBezTo>
                          <a:pt x="13023" y="18991"/>
                          <a:pt x="12201" y="18838"/>
                          <a:pt x="11379" y="18509"/>
                        </a:cubicBezTo>
                        <a:cubicBezTo>
                          <a:pt x="7243" y="16836"/>
                          <a:pt x="3709" y="13992"/>
                          <a:pt x="1162" y="10291"/>
                        </a:cubicBezTo>
                        <a:cubicBezTo>
                          <a:pt x="-893" y="7300"/>
                          <a:pt x="-153" y="3208"/>
                          <a:pt x="2833" y="1156"/>
                        </a:cubicBezTo>
                        <a:cubicBezTo>
                          <a:pt x="5846" y="-898"/>
                          <a:pt x="9927" y="-140"/>
                          <a:pt x="11982" y="2838"/>
                        </a:cubicBezTo>
                        <a:cubicBezTo>
                          <a:pt x="13078" y="4416"/>
                          <a:pt x="14557" y="5624"/>
                          <a:pt x="16310" y="6336"/>
                        </a:cubicBezTo>
                        <a:cubicBezTo>
                          <a:pt x="19679" y="7697"/>
                          <a:pt x="21295" y="11527"/>
                          <a:pt x="19953" y="14888"/>
                        </a:cubicBezTo>
                        <a:cubicBezTo>
                          <a:pt x="18912" y="17438"/>
                          <a:pt x="16447" y="18991"/>
                          <a:pt x="13845" y="18991"/>
                        </a:cubicBezTo>
                        <a:close/>
                      </a:path>
                    </a:pathLst>
                  </a:custGeom>
                  <a:solidFill>
                    <a:schemeClr val="accent1"/>
                  </a:solidFill>
                  <a:ln w="274" cap="flat">
                    <a:noFill/>
                    <a:prstDash val="solid"/>
                    <a:miter/>
                  </a:ln>
                </p:spPr>
                <p:txBody>
                  <a:bodyPr rtlCol="0" anchor="ctr"/>
                  <a:lstStyle/>
                  <a:p>
                    <a:endParaRPr lang="en-GB" dirty="0"/>
                  </a:p>
                </p:txBody>
              </p:sp>
              <p:sp>
                <p:nvSpPr>
                  <p:cNvPr id="863" name="Freihandform: Form 862">
                    <a:extLst>
                      <a:ext uri="{FF2B5EF4-FFF2-40B4-BE49-F238E27FC236}">
                        <a16:creationId xmlns:a16="http://schemas.microsoft.com/office/drawing/2014/main" id="{FF838A00-DE05-4396-890F-224359D7C6C6}"/>
                      </a:ext>
                    </a:extLst>
                  </p:cNvPr>
                  <p:cNvSpPr/>
                  <p:nvPr/>
                </p:nvSpPr>
                <p:spPr>
                  <a:xfrm>
                    <a:off x="8034871" y="3560315"/>
                    <a:ext cx="18526" cy="17849"/>
                  </a:xfrm>
                  <a:custGeom>
                    <a:avLst/>
                    <a:gdLst>
                      <a:gd name="connsiteX0" fmla="*/ 11975 w 18526"/>
                      <a:gd name="connsiteY0" fmla="*/ 17850 h 17849"/>
                      <a:gd name="connsiteX1" fmla="*/ 7647 w 18526"/>
                      <a:gd name="connsiteY1" fmla="*/ 16225 h 17849"/>
                      <a:gd name="connsiteX2" fmla="*/ 2251 w 18526"/>
                      <a:gd name="connsiteY2" fmla="*/ 11517 h 17849"/>
                      <a:gd name="connsiteX3" fmla="*/ 1621 w 18526"/>
                      <a:gd name="connsiteY3" fmla="*/ 2252 h 17849"/>
                      <a:gd name="connsiteX4" fmla="*/ 10880 w 18526"/>
                      <a:gd name="connsiteY4" fmla="*/ 1622 h 17849"/>
                      <a:gd name="connsiteX5" fmla="*/ 16276 w 18526"/>
                      <a:gd name="connsiteY5" fmla="*/ 6331 h 17849"/>
                      <a:gd name="connsiteX6" fmla="*/ 16906 w 18526"/>
                      <a:gd name="connsiteY6" fmla="*/ 15595 h 17849"/>
                      <a:gd name="connsiteX7" fmla="*/ 11975 w 18526"/>
                      <a:gd name="connsiteY7" fmla="*/ 17850 h 1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26" h="17849">
                        <a:moveTo>
                          <a:pt x="11975" y="17850"/>
                        </a:moveTo>
                        <a:cubicBezTo>
                          <a:pt x="10441" y="17850"/>
                          <a:pt x="8880" y="17318"/>
                          <a:pt x="7647" y="16225"/>
                        </a:cubicBezTo>
                        <a:lnTo>
                          <a:pt x="2251" y="11517"/>
                        </a:lnTo>
                        <a:cubicBezTo>
                          <a:pt x="-488" y="9136"/>
                          <a:pt x="-762" y="4986"/>
                          <a:pt x="1621" y="2252"/>
                        </a:cubicBezTo>
                        <a:cubicBezTo>
                          <a:pt x="4004" y="-481"/>
                          <a:pt x="8168" y="-769"/>
                          <a:pt x="10880" y="1622"/>
                        </a:cubicBezTo>
                        <a:lnTo>
                          <a:pt x="16276" y="6331"/>
                        </a:lnTo>
                        <a:cubicBezTo>
                          <a:pt x="19015" y="8712"/>
                          <a:pt x="19289" y="12861"/>
                          <a:pt x="16906" y="15595"/>
                        </a:cubicBezTo>
                        <a:cubicBezTo>
                          <a:pt x="15619" y="17085"/>
                          <a:pt x="13783" y="17850"/>
                          <a:pt x="11975" y="17850"/>
                        </a:cubicBezTo>
                        <a:close/>
                      </a:path>
                    </a:pathLst>
                  </a:custGeom>
                  <a:solidFill>
                    <a:schemeClr val="accent1"/>
                  </a:solidFill>
                  <a:ln w="274" cap="flat">
                    <a:noFill/>
                    <a:prstDash val="solid"/>
                    <a:miter/>
                  </a:ln>
                </p:spPr>
                <p:txBody>
                  <a:bodyPr rtlCol="0" anchor="ctr"/>
                  <a:lstStyle/>
                  <a:p>
                    <a:endParaRPr lang="en-GB" dirty="0"/>
                  </a:p>
                </p:txBody>
              </p:sp>
            </p:grpSp>
          </p:grpSp>
        </p:grpSp>
      </p:grpSp>
      <p:sp>
        <p:nvSpPr>
          <p:cNvPr id="874" name="TextBox 1426">
            <a:extLst>
              <a:ext uri="{FF2B5EF4-FFF2-40B4-BE49-F238E27FC236}">
                <a16:creationId xmlns:a16="http://schemas.microsoft.com/office/drawing/2014/main" id="{EA0B434C-10F1-4BD7-B1CC-CEBC297B1AF5}"/>
              </a:ext>
            </a:extLst>
          </p:cNvPr>
          <p:cNvSpPr txBox="1"/>
          <p:nvPr/>
        </p:nvSpPr>
        <p:spPr>
          <a:xfrm>
            <a:off x="8066150" y="3723675"/>
            <a:ext cx="553037" cy="107722"/>
          </a:xfrm>
          <a:prstGeom prst="rect">
            <a:avLst/>
          </a:prstGeom>
          <a:noFill/>
          <a:effectLst/>
        </p:spPr>
        <p:txBody>
          <a:bodyPr wrap="none" lIns="0" tIns="0" rIns="0" bIns="0" rtlCol="0" anchor="t">
            <a:spAutoFit/>
          </a:bodyPr>
          <a:lstStyle/>
          <a:p>
            <a:pPr algn="ctr"/>
            <a:r>
              <a:rPr lang="en-GB" sz="700" dirty="0">
                <a:solidFill>
                  <a:schemeClr val="tx2"/>
                </a:solidFill>
              </a:rPr>
              <a:t>Brainstorming</a:t>
            </a:r>
          </a:p>
        </p:txBody>
      </p:sp>
      <p:grpSp>
        <p:nvGrpSpPr>
          <p:cNvPr id="49" name="Group 48">
            <a:extLst>
              <a:ext uri="{FF2B5EF4-FFF2-40B4-BE49-F238E27FC236}">
                <a16:creationId xmlns:a16="http://schemas.microsoft.com/office/drawing/2014/main" id="{F1E95A32-495B-88A3-22AA-8ABE627815F5}"/>
              </a:ext>
            </a:extLst>
          </p:cNvPr>
          <p:cNvGrpSpPr/>
          <p:nvPr/>
        </p:nvGrpSpPr>
        <p:grpSpPr>
          <a:xfrm>
            <a:off x="7062095" y="1626716"/>
            <a:ext cx="484082" cy="432000"/>
            <a:chOff x="7061683" y="1626716"/>
            <a:chExt cx="484082" cy="432000"/>
          </a:xfrm>
        </p:grpSpPr>
        <p:grpSp>
          <p:nvGrpSpPr>
            <p:cNvPr id="876" name="Gruppieren 875">
              <a:extLst>
                <a:ext uri="{FF2B5EF4-FFF2-40B4-BE49-F238E27FC236}">
                  <a16:creationId xmlns:a16="http://schemas.microsoft.com/office/drawing/2014/main" id="{A6C4DCC9-C7A8-4D7F-924E-76ED384A0B0B}"/>
                </a:ext>
              </a:extLst>
            </p:cNvPr>
            <p:cNvGrpSpPr/>
            <p:nvPr/>
          </p:nvGrpSpPr>
          <p:grpSpPr>
            <a:xfrm>
              <a:off x="7061683" y="1626716"/>
              <a:ext cx="484082" cy="432000"/>
              <a:chOff x="6916772" y="1631620"/>
              <a:chExt cx="485104" cy="432912"/>
            </a:xfrm>
            <a:solidFill>
              <a:schemeClr val="tx2"/>
            </a:solidFill>
          </p:grpSpPr>
          <p:grpSp>
            <p:nvGrpSpPr>
              <p:cNvPr id="881" name="Grafik 349">
                <a:extLst>
                  <a:ext uri="{FF2B5EF4-FFF2-40B4-BE49-F238E27FC236}">
                    <a16:creationId xmlns:a16="http://schemas.microsoft.com/office/drawing/2014/main" id="{BC048B42-D873-4714-9BAD-327153CA8F8B}"/>
                  </a:ext>
                </a:extLst>
              </p:cNvPr>
              <p:cNvGrpSpPr/>
              <p:nvPr/>
            </p:nvGrpSpPr>
            <p:grpSpPr>
              <a:xfrm>
                <a:off x="6916772" y="1796208"/>
                <a:ext cx="485104" cy="268324"/>
                <a:chOff x="6916772" y="1796208"/>
                <a:chExt cx="485104" cy="268324"/>
              </a:xfrm>
              <a:grpFill/>
            </p:grpSpPr>
            <p:sp>
              <p:nvSpPr>
                <p:cNvPr id="890" name="Freihandform: Form 889">
                  <a:extLst>
                    <a:ext uri="{FF2B5EF4-FFF2-40B4-BE49-F238E27FC236}">
                      <a16:creationId xmlns:a16="http://schemas.microsoft.com/office/drawing/2014/main" id="{0C5D2311-9D9F-48BA-99CC-4CC993F16CE0}"/>
                    </a:ext>
                  </a:extLst>
                </p:cNvPr>
                <p:cNvSpPr/>
                <p:nvPr/>
              </p:nvSpPr>
              <p:spPr>
                <a:xfrm>
                  <a:off x="6989874" y="1982990"/>
                  <a:ext cx="13140" cy="81542"/>
                </a:xfrm>
                <a:custGeom>
                  <a:avLst/>
                  <a:gdLst>
                    <a:gd name="connsiteX0" fmla="*/ 6572 w 13140"/>
                    <a:gd name="connsiteY0" fmla="*/ 81542 h 81542"/>
                    <a:gd name="connsiteX1" fmla="*/ 0 w 13140"/>
                    <a:gd name="connsiteY1" fmla="*/ 74974 h 81542"/>
                    <a:gd name="connsiteX2" fmla="*/ 0 w 13140"/>
                    <a:gd name="connsiteY2" fmla="*/ 6569 h 81542"/>
                    <a:gd name="connsiteX3" fmla="*/ 6572 w 13140"/>
                    <a:gd name="connsiteY3" fmla="*/ 0 h 81542"/>
                    <a:gd name="connsiteX4" fmla="*/ 13140 w 13140"/>
                    <a:gd name="connsiteY4" fmla="*/ 6569 h 81542"/>
                    <a:gd name="connsiteX5" fmla="*/ 13140 w 13140"/>
                    <a:gd name="connsiteY5" fmla="*/ 74974 h 81542"/>
                    <a:gd name="connsiteX6" fmla="*/ 6572 w 13140"/>
                    <a:gd name="connsiteY6" fmla="*/ 81542 h 8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0" h="81542">
                      <a:moveTo>
                        <a:pt x="6572" y="81542"/>
                      </a:moveTo>
                      <a:cubicBezTo>
                        <a:pt x="2939" y="81542"/>
                        <a:pt x="0" y="78600"/>
                        <a:pt x="0" y="74974"/>
                      </a:cubicBezTo>
                      <a:lnTo>
                        <a:pt x="0" y="6569"/>
                      </a:lnTo>
                      <a:cubicBezTo>
                        <a:pt x="0" y="2939"/>
                        <a:pt x="2939" y="0"/>
                        <a:pt x="6572" y="0"/>
                      </a:cubicBezTo>
                      <a:cubicBezTo>
                        <a:pt x="10204" y="0"/>
                        <a:pt x="13140" y="2942"/>
                        <a:pt x="13140" y="6569"/>
                      </a:cubicBezTo>
                      <a:lnTo>
                        <a:pt x="13140" y="74974"/>
                      </a:lnTo>
                      <a:cubicBezTo>
                        <a:pt x="13143" y="78600"/>
                        <a:pt x="10204" y="81542"/>
                        <a:pt x="6572" y="81542"/>
                      </a:cubicBezTo>
                      <a:close/>
                    </a:path>
                  </a:pathLst>
                </a:custGeom>
                <a:grpFill/>
                <a:ln w="274" cap="flat">
                  <a:noFill/>
                  <a:prstDash val="solid"/>
                  <a:miter/>
                </a:ln>
              </p:spPr>
              <p:txBody>
                <a:bodyPr rtlCol="0" anchor="ctr"/>
                <a:lstStyle/>
                <a:p>
                  <a:endParaRPr lang="en-GB" dirty="0"/>
                </a:p>
              </p:txBody>
            </p:sp>
            <p:sp>
              <p:nvSpPr>
                <p:cNvPr id="891" name="Freihandform: Form 890">
                  <a:extLst>
                    <a:ext uri="{FF2B5EF4-FFF2-40B4-BE49-F238E27FC236}">
                      <a16:creationId xmlns:a16="http://schemas.microsoft.com/office/drawing/2014/main" id="{17DD285E-F7B3-42A4-8AB4-88F547DB4AFB}"/>
                    </a:ext>
                  </a:extLst>
                </p:cNvPr>
                <p:cNvSpPr/>
                <p:nvPr/>
              </p:nvSpPr>
              <p:spPr>
                <a:xfrm>
                  <a:off x="6916772" y="1909079"/>
                  <a:ext cx="195895" cy="155453"/>
                </a:xfrm>
                <a:custGeom>
                  <a:avLst/>
                  <a:gdLst>
                    <a:gd name="connsiteX0" fmla="*/ 6569 w 195895"/>
                    <a:gd name="connsiteY0" fmla="*/ 155454 h 155453"/>
                    <a:gd name="connsiteX1" fmla="*/ 0 w 195895"/>
                    <a:gd name="connsiteY1" fmla="*/ 148885 h 155453"/>
                    <a:gd name="connsiteX2" fmla="*/ 0 w 195895"/>
                    <a:gd name="connsiteY2" fmla="*/ 49811 h 155453"/>
                    <a:gd name="connsiteX3" fmla="*/ 33005 w 195895"/>
                    <a:gd name="connsiteY3" fmla="*/ 2964 h 155453"/>
                    <a:gd name="connsiteX4" fmla="*/ 33986 w 195895"/>
                    <a:gd name="connsiteY4" fmla="*/ 2803 h 155453"/>
                    <a:gd name="connsiteX5" fmla="*/ 66389 w 195895"/>
                    <a:gd name="connsiteY5" fmla="*/ 25 h 155453"/>
                    <a:gd name="connsiteX6" fmla="*/ 67819 w 195895"/>
                    <a:gd name="connsiteY6" fmla="*/ 61 h 155453"/>
                    <a:gd name="connsiteX7" fmla="*/ 84038 w 195895"/>
                    <a:gd name="connsiteY7" fmla="*/ 9396 h 155453"/>
                    <a:gd name="connsiteX8" fmla="*/ 124697 w 195895"/>
                    <a:gd name="connsiteY8" fmla="*/ 62664 h 155453"/>
                    <a:gd name="connsiteX9" fmla="*/ 167459 w 195895"/>
                    <a:gd name="connsiteY9" fmla="*/ 62664 h 155453"/>
                    <a:gd name="connsiteX10" fmla="*/ 195896 w 195895"/>
                    <a:gd name="connsiteY10" fmla="*/ 91100 h 155453"/>
                    <a:gd name="connsiteX11" fmla="*/ 195896 w 195895"/>
                    <a:gd name="connsiteY11" fmla="*/ 100564 h 155453"/>
                    <a:gd name="connsiteX12" fmla="*/ 189324 w 195895"/>
                    <a:gd name="connsiteY12" fmla="*/ 107133 h 155453"/>
                    <a:gd name="connsiteX13" fmla="*/ 110458 w 195895"/>
                    <a:gd name="connsiteY13" fmla="*/ 107133 h 155453"/>
                    <a:gd name="connsiteX14" fmla="*/ 88914 w 195895"/>
                    <a:gd name="connsiteY14" fmla="*/ 98211 h 155453"/>
                    <a:gd name="connsiteX15" fmla="*/ 54139 w 195895"/>
                    <a:gd name="connsiteY15" fmla="*/ 63436 h 155453"/>
                    <a:gd name="connsiteX16" fmla="*/ 54139 w 195895"/>
                    <a:gd name="connsiteY16" fmla="*/ 54145 h 155453"/>
                    <a:gd name="connsiteX17" fmla="*/ 63430 w 195895"/>
                    <a:gd name="connsiteY17" fmla="*/ 54145 h 155453"/>
                    <a:gd name="connsiteX18" fmla="*/ 98205 w 195895"/>
                    <a:gd name="connsiteY18" fmla="*/ 88917 h 155453"/>
                    <a:gd name="connsiteX19" fmla="*/ 110461 w 195895"/>
                    <a:gd name="connsiteY19" fmla="*/ 93993 h 155453"/>
                    <a:gd name="connsiteX20" fmla="*/ 182758 w 195895"/>
                    <a:gd name="connsiteY20" fmla="*/ 93993 h 155453"/>
                    <a:gd name="connsiteX21" fmla="*/ 182758 w 195895"/>
                    <a:gd name="connsiteY21" fmla="*/ 91100 h 155453"/>
                    <a:gd name="connsiteX22" fmla="*/ 167462 w 195895"/>
                    <a:gd name="connsiteY22" fmla="*/ 75804 h 155453"/>
                    <a:gd name="connsiteX23" fmla="*/ 121445 w 195895"/>
                    <a:gd name="connsiteY23" fmla="*/ 75804 h 155453"/>
                    <a:gd name="connsiteX24" fmla="*/ 116222 w 195895"/>
                    <a:gd name="connsiteY24" fmla="*/ 73218 h 155453"/>
                    <a:gd name="connsiteX25" fmla="*/ 73259 w 195895"/>
                    <a:gd name="connsiteY25" fmla="*/ 16891 h 155453"/>
                    <a:gd name="connsiteX26" fmla="*/ 67227 w 195895"/>
                    <a:gd name="connsiteY26" fmla="*/ 13193 h 155453"/>
                    <a:gd name="connsiteX27" fmla="*/ 66931 w 195895"/>
                    <a:gd name="connsiteY27" fmla="*/ 13171 h 155453"/>
                    <a:gd name="connsiteX28" fmla="*/ 35627 w 195895"/>
                    <a:gd name="connsiteY28" fmla="*/ 15852 h 155453"/>
                    <a:gd name="connsiteX29" fmla="*/ 13137 w 195895"/>
                    <a:gd name="connsiteY29" fmla="*/ 49814 h 155453"/>
                    <a:gd name="connsiteX30" fmla="*/ 13137 w 195895"/>
                    <a:gd name="connsiteY30" fmla="*/ 148887 h 155453"/>
                    <a:gd name="connsiteX31" fmla="*/ 6569 w 195895"/>
                    <a:gd name="connsiteY31" fmla="*/ 155454 h 155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95895" h="155453">
                      <a:moveTo>
                        <a:pt x="6569" y="155454"/>
                      </a:moveTo>
                      <a:cubicBezTo>
                        <a:pt x="2937" y="155454"/>
                        <a:pt x="0" y="152512"/>
                        <a:pt x="0" y="148885"/>
                      </a:cubicBezTo>
                      <a:lnTo>
                        <a:pt x="0" y="49811"/>
                      </a:lnTo>
                      <a:cubicBezTo>
                        <a:pt x="0" y="26922"/>
                        <a:pt x="13570" y="7657"/>
                        <a:pt x="33005" y="2964"/>
                      </a:cubicBezTo>
                      <a:cubicBezTo>
                        <a:pt x="33326" y="2887"/>
                        <a:pt x="33655" y="2833"/>
                        <a:pt x="33986" y="2803"/>
                      </a:cubicBezTo>
                      <a:lnTo>
                        <a:pt x="66389" y="25"/>
                      </a:lnTo>
                      <a:cubicBezTo>
                        <a:pt x="66863" y="-16"/>
                        <a:pt x="67345" y="-8"/>
                        <a:pt x="67819" y="61"/>
                      </a:cubicBezTo>
                      <a:cubicBezTo>
                        <a:pt x="70706" y="252"/>
                        <a:pt x="78598" y="786"/>
                        <a:pt x="84038" y="9396"/>
                      </a:cubicBezTo>
                      <a:lnTo>
                        <a:pt x="124697" y="62664"/>
                      </a:lnTo>
                      <a:lnTo>
                        <a:pt x="167459" y="62664"/>
                      </a:lnTo>
                      <a:cubicBezTo>
                        <a:pt x="183142" y="62664"/>
                        <a:pt x="195896" y="75418"/>
                        <a:pt x="195896" y="91100"/>
                      </a:cubicBezTo>
                      <a:lnTo>
                        <a:pt x="195896" y="100564"/>
                      </a:lnTo>
                      <a:cubicBezTo>
                        <a:pt x="195896" y="104194"/>
                        <a:pt x="192957" y="107133"/>
                        <a:pt x="189324" y="107133"/>
                      </a:cubicBezTo>
                      <a:lnTo>
                        <a:pt x="110458" y="107133"/>
                      </a:lnTo>
                      <a:cubicBezTo>
                        <a:pt x="102322" y="107133"/>
                        <a:pt x="94674" y="103964"/>
                        <a:pt x="88914" y="98211"/>
                      </a:cubicBezTo>
                      <a:lnTo>
                        <a:pt x="54139" y="63436"/>
                      </a:lnTo>
                      <a:cubicBezTo>
                        <a:pt x="51572" y="60869"/>
                        <a:pt x="51572" y="56711"/>
                        <a:pt x="54139" y="54145"/>
                      </a:cubicBezTo>
                      <a:cubicBezTo>
                        <a:pt x="56706" y="51578"/>
                        <a:pt x="60864" y="51578"/>
                        <a:pt x="63430" y="54145"/>
                      </a:cubicBezTo>
                      <a:lnTo>
                        <a:pt x="98205" y="88917"/>
                      </a:lnTo>
                      <a:cubicBezTo>
                        <a:pt x="101479" y="92190"/>
                        <a:pt x="105834" y="93993"/>
                        <a:pt x="110461" y="93993"/>
                      </a:cubicBezTo>
                      <a:lnTo>
                        <a:pt x="182758" y="93993"/>
                      </a:lnTo>
                      <a:lnTo>
                        <a:pt x="182758" y="91100"/>
                      </a:lnTo>
                      <a:cubicBezTo>
                        <a:pt x="182758" y="82666"/>
                        <a:pt x="175899" y="75804"/>
                        <a:pt x="167462" y="75804"/>
                      </a:cubicBezTo>
                      <a:lnTo>
                        <a:pt x="121445" y="75804"/>
                      </a:lnTo>
                      <a:cubicBezTo>
                        <a:pt x="119399" y="75804"/>
                        <a:pt x="117468" y="74848"/>
                        <a:pt x="116222" y="73218"/>
                      </a:cubicBezTo>
                      <a:lnTo>
                        <a:pt x="73259" y="16891"/>
                      </a:lnTo>
                      <a:cubicBezTo>
                        <a:pt x="71051" y="13447"/>
                        <a:pt x="69024" y="13310"/>
                        <a:pt x="67227" y="13193"/>
                      </a:cubicBezTo>
                      <a:cubicBezTo>
                        <a:pt x="67126" y="13182"/>
                        <a:pt x="67027" y="13176"/>
                        <a:pt x="66931" y="13171"/>
                      </a:cubicBezTo>
                      <a:lnTo>
                        <a:pt x="35627" y="15852"/>
                      </a:lnTo>
                      <a:cubicBezTo>
                        <a:pt x="22363" y="19320"/>
                        <a:pt x="13137" y="33206"/>
                        <a:pt x="13137" y="49814"/>
                      </a:cubicBezTo>
                      <a:lnTo>
                        <a:pt x="13137" y="148887"/>
                      </a:lnTo>
                      <a:cubicBezTo>
                        <a:pt x="13140" y="152512"/>
                        <a:pt x="10201" y="155454"/>
                        <a:pt x="6569" y="155454"/>
                      </a:cubicBezTo>
                      <a:close/>
                    </a:path>
                  </a:pathLst>
                </a:custGeom>
                <a:grpFill/>
                <a:ln w="274" cap="flat">
                  <a:noFill/>
                  <a:prstDash val="solid"/>
                  <a:miter/>
                </a:ln>
              </p:spPr>
              <p:txBody>
                <a:bodyPr rtlCol="0" anchor="ctr"/>
                <a:lstStyle/>
                <a:p>
                  <a:endParaRPr lang="en-GB" dirty="0"/>
                </a:p>
              </p:txBody>
            </p:sp>
            <p:sp>
              <p:nvSpPr>
                <p:cNvPr id="892" name="Freihandform: Form 891">
                  <a:extLst>
                    <a:ext uri="{FF2B5EF4-FFF2-40B4-BE49-F238E27FC236}">
                      <a16:creationId xmlns:a16="http://schemas.microsoft.com/office/drawing/2014/main" id="{5373A725-147B-47CC-B523-E89BB8931840}"/>
                    </a:ext>
                  </a:extLst>
                </p:cNvPr>
                <p:cNvSpPr/>
                <p:nvPr/>
              </p:nvSpPr>
              <p:spPr>
                <a:xfrm>
                  <a:off x="7315628" y="1982990"/>
                  <a:ext cx="13140" cy="81542"/>
                </a:xfrm>
                <a:custGeom>
                  <a:avLst/>
                  <a:gdLst>
                    <a:gd name="connsiteX0" fmla="*/ 6571 w 13140"/>
                    <a:gd name="connsiteY0" fmla="*/ 81542 h 81542"/>
                    <a:gd name="connsiteX1" fmla="*/ 0 w 13140"/>
                    <a:gd name="connsiteY1" fmla="*/ 74974 h 81542"/>
                    <a:gd name="connsiteX2" fmla="*/ 0 w 13140"/>
                    <a:gd name="connsiteY2" fmla="*/ 6569 h 81542"/>
                    <a:gd name="connsiteX3" fmla="*/ 6571 w 13140"/>
                    <a:gd name="connsiteY3" fmla="*/ 0 h 81542"/>
                    <a:gd name="connsiteX4" fmla="*/ 13140 w 13140"/>
                    <a:gd name="connsiteY4" fmla="*/ 6569 h 81542"/>
                    <a:gd name="connsiteX5" fmla="*/ 13140 w 13140"/>
                    <a:gd name="connsiteY5" fmla="*/ 74974 h 81542"/>
                    <a:gd name="connsiteX6" fmla="*/ 6571 w 13140"/>
                    <a:gd name="connsiteY6" fmla="*/ 81542 h 81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0" h="81542">
                      <a:moveTo>
                        <a:pt x="6571" y="81542"/>
                      </a:moveTo>
                      <a:cubicBezTo>
                        <a:pt x="2939" y="81542"/>
                        <a:pt x="0" y="78600"/>
                        <a:pt x="0" y="74974"/>
                      </a:cubicBezTo>
                      <a:lnTo>
                        <a:pt x="0" y="6569"/>
                      </a:lnTo>
                      <a:cubicBezTo>
                        <a:pt x="0" y="2939"/>
                        <a:pt x="2939" y="0"/>
                        <a:pt x="6571" y="0"/>
                      </a:cubicBezTo>
                      <a:cubicBezTo>
                        <a:pt x="10204" y="0"/>
                        <a:pt x="13140" y="2942"/>
                        <a:pt x="13140" y="6569"/>
                      </a:cubicBezTo>
                      <a:lnTo>
                        <a:pt x="13140" y="74974"/>
                      </a:lnTo>
                      <a:cubicBezTo>
                        <a:pt x="13140" y="78600"/>
                        <a:pt x="10204" y="81542"/>
                        <a:pt x="6571" y="81542"/>
                      </a:cubicBezTo>
                      <a:close/>
                    </a:path>
                  </a:pathLst>
                </a:custGeom>
                <a:grpFill/>
                <a:ln w="274" cap="flat">
                  <a:noFill/>
                  <a:prstDash val="solid"/>
                  <a:miter/>
                </a:ln>
              </p:spPr>
              <p:txBody>
                <a:bodyPr rtlCol="0" anchor="ctr"/>
                <a:lstStyle/>
                <a:p>
                  <a:endParaRPr lang="en-GB" dirty="0"/>
                </a:p>
              </p:txBody>
            </p:sp>
            <p:sp>
              <p:nvSpPr>
                <p:cNvPr id="893" name="Freihandform: Form 892">
                  <a:extLst>
                    <a:ext uri="{FF2B5EF4-FFF2-40B4-BE49-F238E27FC236}">
                      <a16:creationId xmlns:a16="http://schemas.microsoft.com/office/drawing/2014/main" id="{092CA74A-F487-4813-A538-0818F412097E}"/>
                    </a:ext>
                  </a:extLst>
                </p:cNvPr>
                <p:cNvSpPr/>
                <p:nvPr/>
              </p:nvSpPr>
              <p:spPr>
                <a:xfrm>
                  <a:off x="7205980" y="1903987"/>
                  <a:ext cx="195895" cy="160545"/>
                </a:xfrm>
                <a:custGeom>
                  <a:avLst/>
                  <a:gdLst>
                    <a:gd name="connsiteX0" fmla="*/ 189324 w 195895"/>
                    <a:gd name="connsiteY0" fmla="*/ 160546 h 160545"/>
                    <a:gd name="connsiteX1" fmla="*/ 182755 w 195895"/>
                    <a:gd name="connsiteY1" fmla="*/ 153977 h 160545"/>
                    <a:gd name="connsiteX2" fmla="*/ 182755 w 195895"/>
                    <a:gd name="connsiteY2" fmla="*/ 54903 h 160545"/>
                    <a:gd name="connsiteX3" fmla="*/ 159606 w 195895"/>
                    <a:gd name="connsiteY3" fmla="*/ 13159 h 160545"/>
                    <a:gd name="connsiteX4" fmla="*/ 132704 w 195895"/>
                    <a:gd name="connsiteY4" fmla="*/ 13685 h 160545"/>
                    <a:gd name="connsiteX5" fmla="*/ 122809 w 195895"/>
                    <a:gd name="connsiteY5" fmla="*/ 21747 h 160545"/>
                    <a:gd name="connsiteX6" fmla="*/ 79666 w 195895"/>
                    <a:gd name="connsiteY6" fmla="*/ 78307 h 160545"/>
                    <a:gd name="connsiteX7" fmla="*/ 74442 w 195895"/>
                    <a:gd name="connsiteY7" fmla="*/ 80893 h 160545"/>
                    <a:gd name="connsiteX8" fmla="*/ 28434 w 195895"/>
                    <a:gd name="connsiteY8" fmla="*/ 80893 h 160545"/>
                    <a:gd name="connsiteX9" fmla="*/ 13137 w 195895"/>
                    <a:gd name="connsiteY9" fmla="*/ 96189 h 160545"/>
                    <a:gd name="connsiteX10" fmla="*/ 13137 w 195895"/>
                    <a:gd name="connsiteY10" fmla="*/ 99082 h 160545"/>
                    <a:gd name="connsiteX11" fmla="*/ 85435 w 195895"/>
                    <a:gd name="connsiteY11" fmla="*/ 99082 h 160545"/>
                    <a:gd name="connsiteX12" fmla="*/ 97690 w 195895"/>
                    <a:gd name="connsiteY12" fmla="*/ 94003 h 160545"/>
                    <a:gd name="connsiteX13" fmla="*/ 132465 w 195895"/>
                    <a:gd name="connsiteY13" fmla="*/ 59234 h 160545"/>
                    <a:gd name="connsiteX14" fmla="*/ 141757 w 195895"/>
                    <a:gd name="connsiteY14" fmla="*/ 59234 h 160545"/>
                    <a:gd name="connsiteX15" fmla="*/ 141757 w 195895"/>
                    <a:gd name="connsiteY15" fmla="*/ 68525 h 160545"/>
                    <a:gd name="connsiteX16" fmla="*/ 106982 w 195895"/>
                    <a:gd name="connsiteY16" fmla="*/ 103298 h 160545"/>
                    <a:gd name="connsiteX17" fmla="*/ 85438 w 195895"/>
                    <a:gd name="connsiteY17" fmla="*/ 112222 h 160545"/>
                    <a:gd name="connsiteX18" fmla="*/ 6572 w 195895"/>
                    <a:gd name="connsiteY18" fmla="*/ 112222 h 160545"/>
                    <a:gd name="connsiteX19" fmla="*/ 0 w 195895"/>
                    <a:gd name="connsiteY19" fmla="*/ 105653 h 160545"/>
                    <a:gd name="connsiteX20" fmla="*/ 0 w 195895"/>
                    <a:gd name="connsiteY20" fmla="*/ 96189 h 160545"/>
                    <a:gd name="connsiteX21" fmla="*/ 28436 w 195895"/>
                    <a:gd name="connsiteY21" fmla="*/ 67753 h 160545"/>
                    <a:gd name="connsiteX22" fmla="*/ 71193 w 195895"/>
                    <a:gd name="connsiteY22" fmla="*/ 67753 h 160545"/>
                    <a:gd name="connsiteX23" fmla="*/ 112192 w 195895"/>
                    <a:gd name="connsiteY23" fmla="*/ 14011 h 160545"/>
                    <a:gd name="connsiteX24" fmla="*/ 131088 w 195895"/>
                    <a:gd name="connsiteY24" fmla="*/ 614 h 160545"/>
                    <a:gd name="connsiteX25" fmla="*/ 131824 w 195895"/>
                    <a:gd name="connsiteY25" fmla="*/ 556 h 160545"/>
                    <a:gd name="connsiteX26" fmla="*/ 160274 w 195895"/>
                    <a:gd name="connsiteY26" fmla="*/ 0 h 160545"/>
                    <a:gd name="connsiteX27" fmla="*/ 161943 w 195895"/>
                    <a:gd name="connsiteY27" fmla="*/ 184 h 160545"/>
                    <a:gd name="connsiteX28" fmla="*/ 195896 w 195895"/>
                    <a:gd name="connsiteY28" fmla="*/ 54900 h 160545"/>
                    <a:gd name="connsiteX29" fmla="*/ 195896 w 195895"/>
                    <a:gd name="connsiteY29" fmla="*/ 153974 h 160545"/>
                    <a:gd name="connsiteX30" fmla="*/ 189324 w 195895"/>
                    <a:gd name="connsiteY30" fmla="*/ 160546 h 160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5895" h="160545">
                      <a:moveTo>
                        <a:pt x="189324" y="160546"/>
                      </a:moveTo>
                      <a:cubicBezTo>
                        <a:pt x="185692" y="160546"/>
                        <a:pt x="182755" y="157604"/>
                        <a:pt x="182755" y="153977"/>
                      </a:cubicBezTo>
                      <a:lnTo>
                        <a:pt x="182755" y="54903"/>
                      </a:lnTo>
                      <a:cubicBezTo>
                        <a:pt x="182755" y="38487"/>
                        <a:pt x="172702" y="17025"/>
                        <a:pt x="159606" y="13159"/>
                      </a:cubicBezTo>
                      <a:lnTo>
                        <a:pt x="132704" y="13685"/>
                      </a:lnTo>
                      <a:cubicBezTo>
                        <a:pt x="131863" y="13981"/>
                        <a:pt x="126924" y="15825"/>
                        <a:pt x="122809" y="21747"/>
                      </a:cubicBezTo>
                      <a:lnTo>
                        <a:pt x="79666" y="78307"/>
                      </a:lnTo>
                      <a:cubicBezTo>
                        <a:pt x="78422" y="79937"/>
                        <a:pt x="76491" y="80893"/>
                        <a:pt x="74442" y="80893"/>
                      </a:cubicBezTo>
                      <a:lnTo>
                        <a:pt x="28434" y="80893"/>
                      </a:lnTo>
                      <a:cubicBezTo>
                        <a:pt x="19997" y="80893"/>
                        <a:pt x="13137" y="87755"/>
                        <a:pt x="13137" y="96189"/>
                      </a:cubicBezTo>
                      <a:lnTo>
                        <a:pt x="13137" y="99082"/>
                      </a:lnTo>
                      <a:lnTo>
                        <a:pt x="85435" y="99082"/>
                      </a:lnTo>
                      <a:cubicBezTo>
                        <a:pt x="90062" y="99082"/>
                        <a:pt x="94417" y="97279"/>
                        <a:pt x="97690" y="94003"/>
                      </a:cubicBezTo>
                      <a:lnTo>
                        <a:pt x="132465" y="59234"/>
                      </a:lnTo>
                      <a:cubicBezTo>
                        <a:pt x="135032" y="56667"/>
                        <a:pt x="139190" y="56667"/>
                        <a:pt x="141757" y="59234"/>
                      </a:cubicBezTo>
                      <a:cubicBezTo>
                        <a:pt x="144324" y="61801"/>
                        <a:pt x="144324" y="65959"/>
                        <a:pt x="141757" y="68525"/>
                      </a:cubicBezTo>
                      <a:lnTo>
                        <a:pt x="106982" y="103298"/>
                      </a:lnTo>
                      <a:cubicBezTo>
                        <a:pt x="101221" y="109053"/>
                        <a:pt x="93573" y="112222"/>
                        <a:pt x="85438" y="112222"/>
                      </a:cubicBezTo>
                      <a:lnTo>
                        <a:pt x="6572" y="112222"/>
                      </a:lnTo>
                      <a:cubicBezTo>
                        <a:pt x="2939" y="112222"/>
                        <a:pt x="0" y="109280"/>
                        <a:pt x="0" y="105653"/>
                      </a:cubicBezTo>
                      <a:lnTo>
                        <a:pt x="0" y="96189"/>
                      </a:lnTo>
                      <a:cubicBezTo>
                        <a:pt x="0" y="80507"/>
                        <a:pt x="12754" y="67753"/>
                        <a:pt x="28436" y="67753"/>
                      </a:cubicBezTo>
                      <a:lnTo>
                        <a:pt x="71193" y="67753"/>
                      </a:lnTo>
                      <a:lnTo>
                        <a:pt x="112192" y="14011"/>
                      </a:lnTo>
                      <a:cubicBezTo>
                        <a:pt x="118985" y="4221"/>
                        <a:pt x="128143" y="1005"/>
                        <a:pt x="131088" y="614"/>
                      </a:cubicBezTo>
                      <a:cubicBezTo>
                        <a:pt x="131331" y="581"/>
                        <a:pt x="131575" y="562"/>
                        <a:pt x="131824" y="556"/>
                      </a:cubicBezTo>
                      <a:lnTo>
                        <a:pt x="160274" y="0"/>
                      </a:lnTo>
                      <a:cubicBezTo>
                        <a:pt x="160839" y="11"/>
                        <a:pt x="161397" y="52"/>
                        <a:pt x="161943" y="184"/>
                      </a:cubicBezTo>
                      <a:cubicBezTo>
                        <a:pt x="182257" y="5092"/>
                        <a:pt x="195896" y="32438"/>
                        <a:pt x="195896" y="54900"/>
                      </a:cubicBezTo>
                      <a:lnTo>
                        <a:pt x="195896" y="153974"/>
                      </a:lnTo>
                      <a:cubicBezTo>
                        <a:pt x="195893" y="157604"/>
                        <a:pt x="192957" y="160546"/>
                        <a:pt x="189324" y="160546"/>
                      </a:cubicBezTo>
                      <a:close/>
                    </a:path>
                  </a:pathLst>
                </a:custGeom>
                <a:grpFill/>
                <a:ln w="274" cap="flat">
                  <a:noFill/>
                  <a:prstDash val="solid"/>
                  <a:miter/>
                </a:ln>
              </p:spPr>
              <p:txBody>
                <a:bodyPr rtlCol="0" anchor="ctr"/>
                <a:lstStyle/>
                <a:p>
                  <a:endParaRPr lang="en-GB" dirty="0"/>
                </a:p>
              </p:txBody>
            </p:sp>
            <p:sp>
              <p:nvSpPr>
                <p:cNvPr id="894" name="Freihandform: Form 893">
                  <a:extLst>
                    <a:ext uri="{FF2B5EF4-FFF2-40B4-BE49-F238E27FC236}">
                      <a16:creationId xmlns:a16="http://schemas.microsoft.com/office/drawing/2014/main" id="{A8F3EE7F-01BC-4459-987F-AB1CFB03FC75}"/>
                    </a:ext>
                  </a:extLst>
                </p:cNvPr>
                <p:cNvSpPr/>
                <p:nvPr/>
              </p:nvSpPr>
              <p:spPr>
                <a:xfrm>
                  <a:off x="7094468" y="2002743"/>
                  <a:ext cx="128690" cy="13137"/>
                </a:xfrm>
                <a:custGeom>
                  <a:avLst/>
                  <a:gdLst>
                    <a:gd name="connsiteX0" fmla="*/ 122122 w 128690"/>
                    <a:gd name="connsiteY0" fmla="*/ 13138 h 13137"/>
                    <a:gd name="connsiteX1" fmla="*/ 6569 w 128690"/>
                    <a:gd name="connsiteY1" fmla="*/ 13138 h 13137"/>
                    <a:gd name="connsiteX2" fmla="*/ 0 w 128690"/>
                    <a:gd name="connsiteY2" fmla="*/ 6569 h 13137"/>
                    <a:gd name="connsiteX3" fmla="*/ 6569 w 128690"/>
                    <a:gd name="connsiteY3" fmla="*/ 0 h 13137"/>
                    <a:gd name="connsiteX4" fmla="*/ 122122 w 128690"/>
                    <a:gd name="connsiteY4" fmla="*/ 0 h 13137"/>
                    <a:gd name="connsiteX5" fmla="*/ 128691 w 128690"/>
                    <a:gd name="connsiteY5" fmla="*/ 6569 h 13137"/>
                    <a:gd name="connsiteX6" fmla="*/ 122122 w 128690"/>
                    <a:gd name="connsiteY6" fmla="*/ 13138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690" h="13137">
                      <a:moveTo>
                        <a:pt x="122122" y="13138"/>
                      </a:moveTo>
                      <a:lnTo>
                        <a:pt x="6569" y="13138"/>
                      </a:lnTo>
                      <a:cubicBezTo>
                        <a:pt x="2936" y="13138"/>
                        <a:pt x="0" y="10196"/>
                        <a:pt x="0" y="6569"/>
                      </a:cubicBezTo>
                      <a:cubicBezTo>
                        <a:pt x="0" y="2939"/>
                        <a:pt x="2939" y="0"/>
                        <a:pt x="6569" y="0"/>
                      </a:cubicBezTo>
                      <a:lnTo>
                        <a:pt x="122122" y="0"/>
                      </a:lnTo>
                      <a:cubicBezTo>
                        <a:pt x="125754" y="0"/>
                        <a:pt x="128691" y="2942"/>
                        <a:pt x="128691" y="6569"/>
                      </a:cubicBezTo>
                      <a:cubicBezTo>
                        <a:pt x="128693" y="10196"/>
                        <a:pt x="125754" y="13138"/>
                        <a:pt x="122122" y="13138"/>
                      </a:cubicBezTo>
                      <a:close/>
                    </a:path>
                  </a:pathLst>
                </a:custGeom>
                <a:grpFill/>
                <a:ln w="274" cap="flat">
                  <a:noFill/>
                  <a:prstDash val="solid"/>
                  <a:miter/>
                </a:ln>
              </p:spPr>
              <p:txBody>
                <a:bodyPr rtlCol="0" anchor="ctr"/>
                <a:lstStyle/>
                <a:p>
                  <a:endParaRPr lang="en-GB" dirty="0"/>
                </a:p>
              </p:txBody>
            </p:sp>
            <p:sp>
              <p:nvSpPr>
                <p:cNvPr id="895" name="Freihandform: Form 894">
                  <a:extLst>
                    <a:ext uri="{FF2B5EF4-FFF2-40B4-BE49-F238E27FC236}">
                      <a16:creationId xmlns:a16="http://schemas.microsoft.com/office/drawing/2014/main" id="{FCF3C70F-A4C2-4855-90DF-3466063CB6FD}"/>
                    </a:ext>
                  </a:extLst>
                </p:cNvPr>
                <p:cNvSpPr/>
                <p:nvPr/>
              </p:nvSpPr>
              <p:spPr>
                <a:xfrm>
                  <a:off x="6921404" y="1796208"/>
                  <a:ext cx="92540" cy="103149"/>
                </a:xfrm>
                <a:custGeom>
                  <a:avLst/>
                  <a:gdLst>
                    <a:gd name="connsiteX0" fmla="*/ 46266 w 92540"/>
                    <a:gd name="connsiteY0" fmla="*/ 103150 h 103149"/>
                    <a:gd name="connsiteX1" fmla="*/ 0 w 92540"/>
                    <a:gd name="connsiteY1" fmla="*/ 51569 h 103149"/>
                    <a:gd name="connsiteX2" fmla="*/ 46266 w 92540"/>
                    <a:gd name="connsiteY2" fmla="*/ 0 h 103149"/>
                    <a:gd name="connsiteX3" fmla="*/ 92541 w 92540"/>
                    <a:gd name="connsiteY3" fmla="*/ 51569 h 103149"/>
                    <a:gd name="connsiteX4" fmla="*/ 46266 w 92540"/>
                    <a:gd name="connsiteY4" fmla="*/ 103150 h 103149"/>
                    <a:gd name="connsiteX5" fmla="*/ 46266 w 92540"/>
                    <a:gd name="connsiteY5" fmla="*/ 13143 h 103149"/>
                    <a:gd name="connsiteX6" fmla="*/ 13140 w 92540"/>
                    <a:gd name="connsiteY6" fmla="*/ 51572 h 103149"/>
                    <a:gd name="connsiteX7" fmla="*/ 46266 w 92540"/>
                    <a:gd name="connsiteY7" fmla="*/ 90012 h 103149"/>
                    <a:gd name="connsiteX8" fmla="*/ 79400 w 92540"/>
                    <a:gd name="connsiteY8" fmla="*/ 51572 h 103149"/>
                    <a:gd name="connsiteX9" fmla="*/ 46266 w 92540"/>
                    <a:gd name="connsiteY9" fmla="*/ 13143 h 10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540" h="103149">
                      <a:moveTo>
                        <a:pt x="46266" y="103150"/>
                      </a:moveTo>
                      <a:cubicBezTo>
                        <a:pt x="20755" y="103150"/>
                        <a:pt x="0" y="80011"/>
                        <a:pt x="0" y="51569"/>
                      </a:cubicBezTo>
                      <a:cubicBezTo>
                        <a:pt x="0" y="23133"/>
                        <a:pt x="20755" y="0"/>
                        <a:pt x="46266" y="0"/>
                      </a:cubicBezTo>
                      <a:cubicBezTo>
                        <a:pt x="71782" y="0"/>
                        <a:pt x="92541" y="23133"/>
                        <a:pt x="92541" y="51569"/>
                      </a:cubicBezTo>
                      <a:cubicBezTo>
                        <a:pt x="92541" y="80011"/>
                        <a:pt x="71782" y="103150"/>
                        <a:pt x="46266" y="103150"/>
                      </a:cubicBezTo>
                      <a:close/>
                      <a:moveTo>
                        <a:pt x="46266" y="13143"/>
                      </a:moveTo>
                      <a:cubicBezTo>
                        <a:pt x="28001" y="13143"/>
                        <a:pt x="13140" y="30384"/>
                        <a:pt x="13140" y="51572"/>
                      </a:cubicBezTo>
                      <a:cubicBezTo>
                        <a:pt x="13140" y="72769"/>
                        <a:pt x="28001" y="90012"/>
                        <a:pt x="46266" y="90012"/>
                      </a:cubicBezTo>
                      <a:cubicBezTo>
                        <a:pt x="64532" y="90012"/>
                        <a:pt x="79400" y="72769"/>
                        <a:pt x="79400" y="51572"/>
                      </a:cubicBezTo>
                      <a:cubicBezTo>
                        <a:pt x="79400" y="30381"/>
                        <a:pt x="64534" y="13143"/>
                        <a:pt x="46266" y="13143"/>
                      </a:cubicBezTo>
                      <a:close/>
                    </a:path>
                  </a:pathLst>
                </a:custGeom>
                <a:grpFill/>
                <a:ln w="274" cap="flat">
                  <a:noFill/>
                  <a:prstDash val="solid"/>
                  <a:miter/>
                </a:ln>
              </p:spPr>
              <p:txBody>
                <a:bodyPr rtlCol="0" anchor="ctr"/>
                <a:lstStyle/>
                <a:p>
                  <a:endParaRPr lang="en-GB" dirty="0"/>
                </a:p>
              </p:txBody>
            </p:sp>
            <p:sp>
              <p:nvSpPr>
                <p:cNvPr id="896" name="Freihandform: Form 895">
                  <a:extLst>
                    <a:ext uri="{FF2B5EF4-FFF2-40B4-BE49-F238E27FC236}">
                      <a16:creationId xmlns:a16="http://schemas.microsoft.com/office/drawing/2014/main" id="{F979B44D-D8FE-4CF0-8C38-0E255D782C34}"/>
                    </a:ext>
                  </a:extLst>
                </p:cNvPr>
                <p:cNvSpPr/>
                <p:nvPr/>
              </p:nvSpPr>
              <p:spPr>
                <a:xfrm>
                  <a:off x="7302854" y="1796208"/>
                  <a:ext cx="92546" cy="103149"/>
                </a:xfrm>
                <a:custGeom>
                  <a:avLst/>
                  <a:gdLst>
                    <a:gd name="connsiteX0" fmla="*/ 46266 w 92546"/>
                    <a:gd name="connsiteY0" fmla="*/ 103150 h 103149"/>
                    <a:gd name="connsiteX1" fmla="*/ 0 w 92546"/>
                    <a:gd name="connsiteY1" fmla="*/ 51569 h 103149"/>
                    <a:gd name="connsiteX2" fmla="*/ 46266 w 92546"/>
                    <a:gd name="connsiteY2" fmla="*/ 0 h 103149"/>
                    <a:gd name="connsiteX3" fmla="*/ 92546 w 92546"/>
                    <a:gd name="connsiteY3" fmla="*/ 51569 h 103149"/>
                    <a:gd name="connsiteX4" fmla="*/ 46266 w 92546"/>
                    <a:gd name="connsiteY4" fmla="*/ 103150 h 103149"/>
                    <a:gd name="connsiteX5" fmla="*/ 46266 w 92546"/>
                    <a:gd name="connsiteY5" fmla="*/ 13143 h 103149"/>
                    <a:gd name="connsiteX6" fmla="*/ 13140 w 92546"/>
                    <a:gd name="connsiteY6" fmla="*/ 51572 h 103149"/>
                    <a:gd name="connsiteX7" fmla="*/ 46266 w 92546"/>
                    <a:gd name="connsiteY7" fmla="*/ 90012 h 103149"/>
                    <a:gd name="connsiteX8" fmla="*/ 79406 w 92546"/>
                    <a:gd name="connsiteY8" fmla="*/ 51572 h 103149"/>
                    <a:gd name="connsiteX9" fmla="*/ 46266 w 92546"/>
                    <a:gd name="connsiteY9" fmla="*/ 13143 h 10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546" h="103149">
                      <a:moveTo>
                        <a:pt x="46266" y="103150"/>
                      </a:moveTo>
                      <a:cubicBezTo>
                        <a:pt x="20755" y="103150"/>
                        <a:pt x="0" y="80011"/>
                        <a:pt x="0" y="51569"/>
                      </a:cubicBezTo>
                      <a:cubicBezTo>
                        <a:pt x="0" y="23133"/>
                        <a:pt x="20755" y="0"/>
                        <a:pt x="46266" y="0"/>
                      </a:cubicBezTo>
                      <a:cubicBezTo>
                        <a:pt x="71782" y="0"/>
                        <a:pt x="92546" y="23133"/>
                        <a:pt x="92546" y="51569"/>
                      </a:cubicBezTo>
                      <a:cubicBezTo>
                        <a:pt x="92546" y="80011"/>
                        <a:pt x="71782" y="103150"/>
                        <a:pt x="46266" y="103150"/>
                      </a:cubicBezTo>
                      <a:close/>
                      <a:moveTo>
                        <a:pt x="46266" y="13143"/>
                      </a:moveTo>
                      <a:cubicBezTo>
                        <a:pt x="28001" y="13143"/>
                        <a:pt x="13140" y="30384"/>
                        <a:pt x="13140" y="51572"/>
                      </a:cubicBezTo>
                      <a:cubicBezTo>
                        <a:pt x="13140" y="72769"/>
                        <a:pt x="28001" y="90012"/>
                        <a:pt x="46266" y="90012"/>
                      </a:cubicBezTo>
                      <a:cubicBezTo>
                        <a:pt x="64540" y="90012"/>
                        <a:pt x="79406" y="72769"/>
                        <a:pt x="79406" y="51572"/>
                      </a:cubicBezTo>
                      <a:cubicBezTo>
                        <a:pt x="79406" y="30381"/>
                        <a:pt x="64540" y="13143"/>
                        <a:pt x="46266" y="13143"/>
                      </a:cubicBezTo>
                      <a:close/>
                    </a:path>
                  </a:pathLst>
                </a:custGeom>
                <a:grpFill/>
                <a:ln w="274" cap="flat">
                  <a:noFill/>
                  <a:prstDash val="solid"/>
                  <a:miter/>
                </a:ln>
              </p:spPr>
              <p:txBody>
                <a:bodyPr rtlCol="0" anchor="ctr"/>
                <a:lstStyle/>
                <a:p>
                  <a:endParaRPr lang="en-GB" dirty="0"/>
                </a:p>
              </p:txBody>
            </p:sp>
          </p:grpSp>
          <p:grpSp>
            <p:nvGrpSpPr>
              <p:cNvPr id="882" name="Grafik 349">
                <a:extLst>
                  <a:ext uri="{FF2B5EF4-FFF2-40B4-BE49-F238E27FC236}">
                    <a16:creationId xmlns:a16="http://schemas.microsoft.com/office/drawing/2014/main" id="{6BFCAF58-AC92-4440-BCDD-6C424C639EE4}"/>
                  </a:ext>
                </a:extLst>
              </p:cNvPr>
              <p:cNvGrpSpPr/>
              <p:nvPr/>
            </p:nvGrpSpPr>
            <p:grpSpPr>
              <a:xfrm>
                <a:off x="6917993" y="1631620"/>
                <a:ext cx="483830" cy="319556"/>
                <a:chOff x="6917993" y="1631620"/>
                <a:chExt cx="483830" cy="319556"/>
              </a:xfrm>
              <a:grpFill/>
            </p:grpSpPr>
            <p:grpSp>
              <p:nvGrpSpPr>
                <p:cNvPr id="883" name="Grafik 349">
                  <a:extLst>
                    <a:ext uri="{FF2B5EF4-FFF2-40B4-BE49-F238E27FC236}">
                      <a16:creationId xmlns:a16="http://schemas.microsoft.com/office/drawing/2014/main" id="{8D031F23-C7CA-4F77-9BB6-493A0D929A91}"/>
                    </a:ext>
                  </a:extLst>
                </p:cNvPr>
                <p:cNvGrpSpPr/>
                <p:nvPr/>
              </p:nvGrpSpPr>
              <p:grpSpPr>
                <a:xfrm>
                  <a:off x="7053875" y="1631620"/>
                  <a:ext cx="347949" cy="285507"/>
                  <a:chOff x="7053875" y="1631620"/>
                  <a:chExt cx="347949" cy="285507"/>
                </a:xfrm>
                <a:grpFill/>
              </p:grpSpPr>
              <p:sp>
                <p:nvSpPr>
                  <p:cNvPr id="887" name="Freihandform: Form 886">
                    <a:extLst>
                      <a:ext uri="{FF2B5EF4-FFF2-40B4-BE49-F238E27FC236}">
                        <a16:creationId xmlns:a16="http://schemas.microsoft.com/office/drawing/2014/main" id="{33FEEDCB-8340-4519-AD76-B83C94A3FD44}"/>
                      </a:ext>
                    </a:extLst>
                  </p:cNvPr>
                  <p:cNvSpPr/>
                  <p:nvPr/>
                </p:nvSpPr>
                <p:spPr>
                  <a:xfrm>
                    <a:off x="7053875" y="1631620"/>
                    <a:ext cx="347949" cy="68289"/>
                  </a:xfrm>
                  <a:custGeom>
                    <a:avLst/>
                    <a:gdLst>
                      <a:gd name="connsiteX0" fmla="*/ 341378 w 347949"/>
                      <a:gd name="connsiteY0" fmla="*/ 68290 h 68289"/>
                      <a:gd name="connsiteX1" fmla="*/ 18950 w 347949"/>
                      <a:gd name="connsiteY1" fmla="*/ 68290 h 68289"/>
                      <a:gd name="connsiteX2" fmla="*/ 12379 w 347949"/>
                      <a:gd name="connsiteY2" fmla="*/ 61721 h 68289"/>
                      <a:gd name="connsiteX3" fmla="*/ 18950 w 347949"/>
                      <a:gd name="connsiteY3" fmla="*/ 55152 h 68289"/>
                      <a:gd name="connsiteX4" fmla="*/ 334809 w 347949"/>
                      <a:gd name="connsiteY4" fmla="*/ 55152 h 68289"/>
                      <a:gd name="connsiteX5" fmla="*/ 334809 w 347949"/>
                      <a:gd name="connsiteY5" fmla="*/ 37651 h 68289"/>
                      <a:gd name="connsiteX6" fmla="*/ 218407 w 347949"/>
                      <a:gd name="connsiteY6" fmla="*/ 37651 h 68289"/>
                      <a:gd name="connsiteX7" fmla="*/ 212633 w 347949"/>
                      <a:gd name="connsiteY7" fmla="*/ 34213 h 68289"/>
                      <a:gd name="connsiteX8" fmla="*/ 201213 w 347949"/>
                      <a:gd name="connsiteY8" fmla="*/ 13138 h 68289"/>
                      <a:gd name="connsiteX9" fmla="*/ 85177 w 347949"/>
                      <a:gd name="connsiteY9" fmla="*/ 13138 h 68289"/>
                      <a:gd name="connsiteX10" fmla="*/ 73757 w 347949"/>
                      <a:gd name="connsiteY10" fmla="*/ 34213 h 68289"/>
                      <a:gd name="connsiteX11" fmla="*/ 67983 w 347949"/>
                      <a:gd name="connsiteY11" fmla="*/ 37651 h 68289"/>
                      <a:gd name="connsiteX12" fmla="*/ 6569 w 347949"/>
                      <a:gd name="connsiteY12" fmla="*/ 37651 h 68289"/>
                      <a:gd name="connsiteX13" fmla="*/ 0 w 347949"/>
                      <a:gd name="connsiteY13" fmla="*/ 31082 h 68289"/>
                      <a:gd name="connsiteX14" fmla="*/ 6569 w 347949"/>
                      <a:gd name="connsiteY14" fmla="*/ 24514 h 68289"/>
                      <a:gd name="connsiteX15" fmla="*/ 64071 w 347949"/>
                      <a:gd name="connsiteY15" fmla="*/ 24514 h 68289"/>
                      <a:gd name="connsiteX16" fmla="*/ 75491 w 347949"/>
                      <a:gd name="connsiteY16" fmla="*/ 3438 h 68289"/>
                      <a:gd name="connsiteX17" fmla="*/ 81266 w 347949"/>
                      <a:gd name="connsiteY17" fmla="*/ 0 h 68289"/>
                      <a:gd name="connsiteX18" fmla="*/ 205130 w 347949"/>
                      <a:gd name="connsiteY18" fmla="*/ 0 h 68289"/>
                      <a:gd name="connsiteX19" fmla="*/ 210904 w 347949"/>
                      <a:gd name="connsiteY19" fmla="*/ 3438 h 68289"/>
                      <a:gd name="connsiteX20" fmla="*/ 222324 w 347949"/>
                      <a:gd name="connsiteY20" fmla="*/ 24514 h 68289"/>
                      <a:gd name="connsiteX21" fmla="*/ 341381 w 347949"/>
                      <a:gd name="connsiteY21" fmla="*/ 24514 h 68289"/>
                      <a:gd name="connsiteX22" fmla="*/ 347949 w 347949"/>
                      <a:gd name="connsiteY22" fmla="*/ 31082 h 68289"/>
                      <a:gd name="connsiteX23" fmla="*/ 347949 w 347949"/>
                      <a:gd name="connsiteY23" fmla="*/ 61724 h 68289"/>
                      <a:gd name="connsiteX24" fmla="*/ 341378 w 347949"/>
                      <a:gd name="connsiteY24" fmla="*/ 68290 h 68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7949" h="68289">
                        <a:moveTo>
                          <a:pt x="341378" y="68290"/>
                        </a:moveTo>
                        <a:lnTo>
                          <a:pt x="18950" y="68290"/>
                        </a:lnTo>
                        <a:cubicBezTo>
                          <a:pt x="15318" y="68290"/>
                          <a:pt x="12379" y="65348"/>
                          <a:pt x="12379" y="61721"/>
                        </a:cubicBezTo>
                        <a:cubicBezTo>
                          <a:pt x="12379" y="58092"/>
                          <a:pt x="15318" y="55152"/>
                          <a:pt x="18950" y="55152"/>
                        </a:cubicBezTo>
                        <a:lnTo>
                          <a:pt x="334809" y="55152"/>
                        </a:lnTo>
                        <a:lnTo>
                          <a:pt x="334809" y="37651"/>
                        </a:lnTo>
                        <a:lnTo>
                          <a:pt x="218407" y="37651"/>
                        </a:lnTo>
                        <a:cubicBezTo>
                          <a:pt x="215994" y="37651"/>
                          <a:pt x="213780" y="36328"/>
                          <a:pt x="212633" y="34213"/>
                        </a:cubicBezTo>
                        <a:lnTo>
                          <a:pt x="201213" y="13138"/>
                        </a:lnTo>
                        <a:lnTo>
                          <a:pt x="85177" y="13138"/>
                        </a:lnTo>
                        <a:lnTo>
                          <a:pt x="73757" y="34213"/>
                        </a:lnTo>
                        <a:cubicBezTo>
                          <a:pt x="72610" y="36331"/>
                          <a:pt x="70396" y="37651"/>
                          <a:pt x="67983" y="37651"/>
                        </a:cubicBezTo>
                        <a:lnTo>
                          <a:pt x="6569" y="37651"/>
                        </a:lnTo>
                        <a:cubicBezTo>
                          <a:pt x="2936" y="37651"/>
                          <a:pt x="0" y="34709"/>
                          <a:pt x="0" y="31082"/>
                        </a:cubicBezTo>
                        <a:cubicBezTo>
                          <a:pt x="0" y="27453"/>
                          <a:pt x="2939" y="24514"/>
                          <a:pt x="6569" y="24514"/>
                        </a:cubicBezTo>
                        <a:lnTo>
                          <a:pt x="64071" y="24514"/>
                        </a:lnTo>
                        <a:lnTo>
                          <a:pt x="75491" y="3438"/>
                        </a:lnTo>
                        <a:cubicBezTo>
                          <a:pt x="76639" y="1320"/>
                          <a:pt x="78852" y="0"/>
                          <a:pt x="81266" y="0"/>
                        </a:cubicBezTo>
                        <a:lnTo>
                          <a:pt x="205130" y="0"/>
                        </a:lnTo>
                        <a:cubicBezTo>
                          <a:pt x="207543" y="0"/>
                          <a:pt x="209756" y="1323"/>
                          <a:pt x="210904" y="3438"/>
                        </a:cubicBezTo>
                        <a:lnTo>
                          <a:pt x="222324" y="24514"/>
                        </a:lnTo>
                        <a:lnTo>
                          <a:pt x="341381" y="24514"/>
                        </a:lnTo>
                        <a:cubicBezTo>
                          <a:pt x="345013" y="24514"/>
                          <a:pt x="347949" y="27456"/>
                          <a:pt x="347949" y="31082"/>
                        </a:cubicBezTo>
                        <a:lnTo>
                          <a:pt x="347949" y="61724"/>
                        </a:lnTo>
                        <a:cubicBezTo>
                          <a:pt x="347949" y="65351"/>
                          <a:pt x="345010" y="68290"/>
                          <a:pt x="341378" y="68290"/>
                        </a:cubicBezTo>
                        <a:close/>
                      </a:path>
                    </a:pathLst>
                  </a:custGeom>
                  <a:grpFill/>
                  <a:ln w="274" cap="flat">
                    <a:noFill/>
                    <a:prstDash val="solid"/>
                    <a:miter/>
                  </a:ln>
                </p:spPr>
                <p:txBody>
                  <a:bodyPr rtlCol="0" anchor="ctr"/>
                  <a:lstStyle/>
                  <a:p>
                    <a:endParaRPr lang="en-GB" dirty="0"/>
                  </a:p>
                </p:txBody>
              </p:sp>
              <p:sp>
                <p:nvSpPr>
                  <p:cNvPr id="888" name="Freihandform: Form 887">
                    <a:extLst>
                      <a:ext uri="{FF2B5EF4-FFF2-40B4-BE49-F238E27FC236}">
                        <a16:creationId xmlns:a16="http://schemas.microsoft.com/office/drawing/2014/main" id="{508618F0-289C-42DD-B13D-46AA931611F4}"/>
                      </a:ext>
                    </a:extLst>
                  </p:cNvPr>
                  <p:cNvSpPr/>
                  <p:nvPr/>
                </p:nvSpPr>
                <p:spPr>
                  <a:xfrm>
                    <a:off x="7370103" y="1687180"/>
                    <a:ext cx="13137" cy="134823"/>
                  </a:xfrm>
                  <a:custGeom>
                    <a:avLst/>
                    <a:gdLst>
                      <a:gd name="connsiteX0" fmla="*/ 6569 w 13137"/>
                      <a:gd name="connsiteY0" fmla="*/ 134824 h 134823"/>
                      <a:gd name="connsiteX1" fmla="*/ 0 w 13137"/>
                      <a:gd name="connsiteY1" fmla="*/ 128255 h 134823"/>
                      <a:gd name="connsiteX2" fmla="*/ 0 w 13137"/>
                      <a:gd name="connsiteY2" fmla="*/ 6569 h 134823"/>
                      <a:gd name="connsiteX3" fmla="*/ 6569 w 13137"/>
                      <a:gd name="connsiteY3" fmla="*/ 0 h 134823"/>
                      <a:gd name="connsiteX4" fmla="*/ 13137 w 13137"/>
                      <a:gd name="connsiteY4" fmla="*/ 6569 h 134823"/>
                      <a:gd name="connsiteX5" fmla="*/ 13137 w 13137"/>
                      <a:gd name="connsiteY5" fmla="*/ 128252 h 134823"/>
                      <a:gd name="connsiteX6" fmla="*/ 6569 w 13137"/>
                      <a:gd name="connsiteY6" fmla="*/ 134824 h 1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134823">
                        <a:moveTo>
                          <a:pt x="6569" y="134824"/>
                        </a:moveTo>
                        <a:cubicBezTo>
                          <a:pt x="2937" y="134824"/>
                          <a:pt x="0" y="131882"/>
                          <a:pt x="0" y="128255"/>
                        </a:cubicBezTo>
                        <a:lnTo>
                          <a:pt x="0" y="6569"/>
                        </a:lnTo>
                        <a:cubicBezTo>
                          <a:pt x="0" y="2939"/>
                          <a:pt x="2939" y="0"/>
                          <a:pt x="6569" y="0"/>
                        </a:cubicBezTo>
                        <a:cubicBezTo>
                          <a:pt x="10198" y="0"/>
                          <a:pt x="13137" y="2942"/>
                          <a:pt x="13137" y="6569"/>
                        </a:cubicBezTo>
                        <a:lnTo>
                          <a:pt x="13137" y="128252"/>
                        </a:lnTo>
                        <a:cubicBezTo>
                          <a:pt x="13137" y="131882"/>
                          <a:pt x="10201" y="134824"/>
                          <a:pt x="6569" y="134824"/>
                        </a:cubicBezTo>
                        <a:close/>
                      </a:path>
                    </a:pathLst>
                  </a:custGeom>
                  <a:grpFill/>
                  <a:ln w="274" cap="flat">
                    <a:noFill/>
                    <a:prstDash val="solid"/>
                    <a:miter/>
                  </a:ln>
                </p:spPr>
                <p:txBody>
                  <a:bodyPr rtlCol="0" anchor="ctr"/>
                  <a:lstStyle/>
                  <a:p>
                    <a:endParaRPr lang="en-GB" dirty="0"/>
                  </a:p>
                </p:txBody>
              </p:sp>
              <p:sp>
                <p:nvSpPr>
                  <p:cNvPr id="889" name="Freihandform: Form 888">
                    <a:extLst>
                      <a:ext uri="{FF2B5EF4-FFF2-40B4-BE49-F238E27FC236}">
                        <a16:creationId xmlns:a16="http://schemas.microsoft.com/office/drawing/2014/main" id="{627EDE82-E78A-4C09-90D2-78B1D13C338F}"/>
                      </a:ext>
                    </a:extLst>
                  </p:cNvPr>
                  <p:cNvSpPr/>
                  <p:nvPr/>
                </p:nvSpPr>
                <p:spPr>
                  <a:xfrm>
                    <a:off x="7054244" y="1903990"/>
                    <a:ext cx="251283" cy="13137"/>
                  </a:xfrm>
                  <a:custGeom>
                    <a:avLst/>
                    <a:gdLst>
                      <a:gd name="connsiteX0" fmla="*/ 244715 w 251283"/>
                      <a:gd name="connsiteY0" fmla="*/ 13138 h 13137"/>
                      <a:gd name="connsiteX1" fmla="*/ 6569 w 251283"/>
                      <a:gd name="connsiteY1" fmla="*/ 13138 h 13137"/>
                      <a:gd name="connsiteX2" fmla="*/ 0 w 251283"/>
                      <a:gd name="connsiteY2" fmla="*/ 6569 h 13137"/>
                      <a:gd name="connsiteX3" fmla="*/ 6569 w 251283"/>
                      <a:gd name="connsiteY3" fmla="*/ 0 h 13137"/>
                      <a:gd name="connsiteX4" fmla="*/ 244715 w 251283"/>
                      <a:gd name="connsiteY4" fmla="*/ 0 h 13137"/>
                      <a:gd name="connsiteX5" fmla="*/ 251284 w 251283"/>
                      <a:gd name="connsiteY5" fmla="*/ 6569 h 13137"/>
                      <a:gd name="connsiteX6" fmla="*/ 244715 w 251283"/>
                      <a:gd name="connsiteY6" fmla="*/ 13138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283" h="13137">
                        <a:moveTo>
                          <a:pt x="244715" y="13138"/>
                        </a:moveTo>
                        <a:lnTo>
                          <a:pt x="6569" y="13138"/>
                        </a:lnTo>
                        <a:cubicBezTo>
                          <a:pt x="2936" y="13138"/>
                          <a:pt x="0" y="10196"/>
                          <a:pt x="0" y="6569"/>
                        </a:cubicBezTo>
                        <a:cubicBezTo>
                          <a:pt x="0" y="2939"/>
                          <a:pt x="2939" y="0"/>
                          <a:pt x="6569" y="0"/>
                        </a:cubicBezTo>
                        <a:lnTo>
                          <a:pt x="244715" y="0"/>
                        </a:lnTo>
                        <a:cubicBezTo>
                          <a:pt x="248347" y="0"/>
                          <a:pt x="251284" y="2942"/>
                          <a:pt x="251284" y="6569"/>
                        </a:cubicBezTo>
                        <a:cubicBezTo>
                          <a:pt x="251286" y="10196"/>
                          <a:pt x="248347" y="13138"/>
                          <a:pt x="244715" y="13138"/>
                        </a:cubicBezTo>
                        <a:close/>
                      </a:path>
                    </a:pathLst>
                  </a:custGeom>
                  <a:grpFill/>
                  <a:ln w="274" cap="flat">
                    <a:noFill/>
                    <a:prstDash val="solid"/>
                    <a:miter/>
                  </a:ln>
                </p:spPr>
                <p:txBody>
                  <a:bodyPr rtlCol="0" anchor="ctr"/>
                  <a:lstStyle/>
                  <a:p>
                    <a:endParaRPr lang="en-GB" dirty="0"/>
                  </a:p>
                </p:txBody>
              </p:sp>
            </p:grpSp>
            <p:grpSp>
              <p:nvGrpSpPr>
                <p:cNvPr id="884" name="Grafik 349">
                  <a:extLst>
                    <a:ext uri="{FF2B5EF4-FFF2-40B4-BE49-F238E27FC236}">
                      <a16:creationId xmlns:a16="http://schemas.microsoft.com/office/drawing/2014/main" id="{0BD1060A-9E63-46F2-9EBE-9B2CE69E4FB0}"/>
                    </a:ext>
                  </a:extLst>
                </p:cNvPr>
                <p:cNvGrpSpPr/>
                <p:nvPr/>
              </p:nvGrpSpPr>
              <p:grpSpPr>
                <a:xfrm>
                  <a:off x="6917993" y="1656131"/>
                  <a:ext cx="267072" cy="295046"/>
                  <a:chOff x="6917993" y="1656131"/>
                  <a:chExt cx="267072" cy="295046"/>
                </a:xfrm>
                <a:grpFill/>
              </p:grpSpPr>
              <p:sp>
                <p:nvSpPr>
                  <p:cNvPr id="885" name="Freihandform: Form 884">
                    <a:extLst>
                      <a:ext uri="{FF2B5EF4-FFF2-40B4-BE49-F238E27FC236}">
                        <a16:creationId xmlns:a16="http://schemas.microsoft.com/office/drawing/2014/main" id="{FA2B749F-2B74-41D8-A574-BD0BA2147AD4}"/>
                      </a:ext>
                    </a:extLst>
                  </p:cNvPr>
                  <p:cNvSpPr/>
                  <p:nvPr/>
                </p:nvSpPr>
                <p:spPr>
                  <a:xfrm>
                    <a:off x="6917993" y="1766438"/>
                    <a:ext cx="267072" cy="184738"/>
                  </a:xfrm>
                  <a:custGeom>
                    <a:avLst/>
                    <a:gdLst>
                      <a:gd name="connsiteX0" fmla="*/ 142820 w 267072"/>
                      <a:gd name="connsiteY0" fmla="*/ 184739 h 184738"/>
                      <a:gd name="connsiteX1" fmla="*/ 136251 w 267072"/>
                      <a:gd name="connsiteY1" fmla="*/ 178170 h 184738"/>
                      <a:gd name="connsiteX2" fmla="*/ 136251 w 267072"/>
                      <a:gd name="connsiteY2" fmla="*/ 55602 h 184738"/>
                      <a:gd name="connsiteX3" fmla="*/ 142149 w 267072"/>
                      <a:gd name="connsiteY3" fmla="*/ 49066 h 184738"/>
                      <a:gd name="connsiteX4" fmla="*/ 242381 w 267072"/>
                      <a:gd name="connsiteY4" fmla="*/ 38725 h 184738"/>
                      <a:gd name="connsiteX5" fmla="*/ 253930 w 267072"/>
                      <a:gd name="connsiteY5" fmla="*/ 25974 h 184738"/>
                      <a:gd name="connsiteX6" fmla="*/ 240885 w 267072"/>
                      <a:gd name="connsiteY6" fmla="*/ 13140 h 184738"/>
                      <a:gd name="connsiteX7" fmla="*/ 87084 w 267072"/>
                      <a:gd name="connsiteY7" fmla="*/ 13140 h 184738"/>
                      <a:gd name="connsiteX8" fmla="*/ 13137 w 267072"/>
                      <a:gd name="connsiteY8" fmla="*/ 80249 h 184738"/>
                      <a:gd name="connsiteX9" fmla="*/ 13137 w 267072"/>
                      <a:gd name="connsiteY9" fmla="*/ 176841 h 184738"/>
                      <a:gd name="connsiteX10" fmla="*/ 6569 w 267072"/>
                      <a:gd name="connsiteY10" fmla="*/ 183410 h 184738"/>
                      <a:gd name="connsiteX11" fmla="*/ 0 w 267072"/>
                      <a:gd name="connsiteY11" fmla="*/ 176841 h 184738"/>
                      <a:gd name="connsiteX12" fmla="*/ 0 w 267072"/>
                      <a:gd name="connsiteY12" fmla="*/ 80112 h 184738"/>
                      <a:gd name="connsiteX13" fmla="*/ 87087 w 267072"/>
                      <a:gd name="connsiteY13" fmla="*/ 0 h 184738"/>
                      <a:gd name="connsiteX14" fmla="*/ 240888 w 267072"/>
                      <a:gd name="connsiteY14" fmla="*/ 0 h 184738"/>
                      <a:gd name="connsiteX15" fmla="*/ 267073 w 267072"/>
                      <a:gd name="connsiteY15" fmla="*/ 25974 h 184738"/>
                      <a:gd name="connsiteX16" fmla="*/ 243775 w 267072"/>
                      <a:gd name="connsiteY16" fmla="*/ 51791 h 184738"/>
                      <a:gd name="connsiteX17" fmla="*/ 149394 w 267072"/>
                      <a:gd name="connsiteY17" fmla="*/ 61527 h 184738"/>
                      <a:gd name="connsiteX18" fmla="*/ 149394 w 267072"/>
                      <a:gd name="connsiteY18" fmla="*/ 178164 h 184738"/>
                      <a:gd name="connsiteX19" fmla="*/ 142820 w 267072"/>
                      <a:gd name="connsiteY19" fmla="*/ 184739 h 184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7072" h="184738">
                        <a:moveTo>
                          <a:pt x="142820" y="184739"/>
                        </a:moveTo>
                        <a:cubicBezTo>
                          <a:pt x="139187" y="184739"/>
                          <a:pt x="136251" y="181797"/>
                          <a:pt x="136251" y="178170"/>
                        </a:cubicBezTo>
                        <a:lnTo>
                          <a:pt x="136251" y="55602"/>
                        </a:lnTo>
                        <a:cubicBezTo>
                          <a:pt x="136251" y="52232"/>
                          <a:pt x="138799" y="49414"/>
                          <a:pt x="142149" y="49066"/>
                        </a:cubicBezTo>
                        <a:lnTo>
                          <a:pt x="242381" y="38725"/>
                        </a:lnTo>
                        <a:cubicBezTo>
                          <a:pt x="248944" y="37999"/>
                          <a:pt x="253930" y="32518"/>
                          <a:pt x="253930" y="25974"/>
                        </a:cubicBezTo>
                        <a:cubicBezTo>
                          <a:pt x="253930" y="18895"/>
                          <a:pt x="248079" y="13140"/>
                          <a:pt x="240885" y="13140"/>
                        </a:cubicBezTo>
                        <a:lnTo>
                          <a:pt x="87084" y="13140"/>
                        </a:lnTo>
                        <a:cubicBezTo>
                          <a:pt x="50975" y="13140"/>
                          <a:pt x="14102" y="33890"/>
                          <a:pt x="13137" y="80249"/>
                        </a:cubicBezTo>
                        <a:lnTo>
                          <a:pt x="13137" y="176841"/>
                        </a:lnTo>
                        <a:cubicBezTo>
                          <a:pt x="13137" y="180471"/>
                          <a:pt x="10198" y="183410"/>
                          <a:pt x="6569" y="183410"/>
                        </a:cubicBezTo>
                        <a:cubicBezTo>
                          <a:pt x="2939" y="183410"/>
                          <a:pt x="0" y="180468"/>
                          <a:pt x="0" y="176841"/>
                        </a:cubicBezTo>
                        <a:lnTo>
                          <a:pt x="0" y="80112"/>
                        </a:lnTo>
                        <a:cubicBezTo>
                          <a:pt x="1156" y="24727"/>
                          <a:pt x="44565" y="0"/>
                          <a:pt x="87087" y="0"/>
                        </a:cubicBezTo>
                        <a:lnTo>
                          <a:pt x="240888" y="0"/>
                        </a:lnTo>
                        <a:cubicBezTo>
                          <a:pt x="255324" y="0"/>
                          <a:pt x="267073" y="11653"/>
                          <a:pt x="267073" y="25974"/>
                        </a:cubicBezTo>
                        <a:cubicBezTo>
                          <a:pt x="267073" y="39229"/>
                          <a:pt x="257058" y="50328"/>
                          <a:pt x="243775" y="51791"/>
                        </a:cubicBezTo>
                        <a:lnTo>
                          <a:pt x="149394" y="61527"/>
                        </a:lnTo>
                        <a:lnTo>
                          <a:pt x="149394" y="178164"/>
                        </a:lnTo>
                        <a:cubicBezTo>
                          <a:pt x="149389" y="181797"/>
                          <a:pt x="146452" y="184739"/>
                          <a:pt x="142820" y="184739"/>
                        </a:cubicBezTo>
                        <a:close/>
                      </a:path>
                    </a:pathLst>
                  </a:custGeom>
                  <a:grpFill/>
                  <a:ln w="274" cap="flat">
                    <a:noFill/>
                    <a:prstDash val="solid"/>
                    <a:miter/>
                  </a:ln>
                </p:spPr>
                <p:txBody>
                  <a:bodyPr rtlCol="0" anchor="ctr"/>
                  <a:lstStyle/>
                  <a:p>
                    <a:endParaRPr lang="en-GB" dirty="0"/>
                  </a:p>
                </p:txBody>
              </p:sp>
              <p:sp>
                <p:nvSpPr>
                  <p:cNvPr id="886" name="Freihandform: Form 885">
                    <a:extLst>
                      <a:ext uri="{FF2B5EF4-FFF2-40B4-BE49-F238E27FC236}">
                        <a16:creationId xmlns:a16="http://schemas.microsoft.com/office/drawing/2014/main" id="{4E19EE6C-F11A-47EA-A010-E2A11E296A25}"/>
                      </a:ext>
                    </a:extLst>
                  </p:cNvPr>
                  <p:cNvSpPr/>
                  <p:nvPr/>
                </p:nvSpPr>
                <p:spPr>
                  <a:xfrm>
                    <a:off x="6967541" y="1656131"/>
                    <a:ext cx="87459" cy="98936"/>
                  </a:xfrm>
                  <a:custGeom>
                    <a:avLst/>
                    <a:gdLst>
                      <a:gd name="connsiteX0" fmla="*/ 43727 w 87459"/>
                      <a:gd name="connsiteY0" fmla="*/ 98937 h 98936"/>
                      <a:gd name="connsiteX1" fmla="*/ 0 w 87459"/>
                      <a:gd name="connsiteY1" fmla="*/ 49468 h 98936"/>
                      <a:gd name="connsiteX2" fmla="*/ 43727 w 87459"/>
                      <a:gd name="connsiteY2" fmla="*/ 0 h 98936"/>
                      <a:gd name="connsiteX3" fmla="*/ 87459 w 87459"/>
                      <a:gd name="connsiteY3" fmla="*/ 49468 h 98936"/>
                      <a:gd name="connsiteX4" fmla="*/ 43727 w 87459"/>
                      <a:gd name="connsiteY4" fmla="*/ 98937 h 98936"/>
                      <a:gd name="connsiteX5" fmla="*/ 43727 w 87459"/>
                      <a:gd name="connsiteY5" fmla="*/ 13140 h 98936"/>
                      <a:gd name="connsiteX6" fmla="*/ 13140 w 87459"/>
                      <a:gd name="connsiteY6" fmla="*/ 49468 h 98936"/>
                      <a:gd name="connsiteX7" fmla="*/ 43727 w 87459"/>
                      <a:gd name="connsiteY7" fmla="*/ 85796 h 98936"/>
                      <a:gd name="connsiteX8" fmla="*/ 74319 w 87459"/>
                      <a:gd name="connsiteY8" fmla="*/ 49468 h 98936"/>
                      <a:gd name="connsiteX9" fmla="*/ 43727 w 87459"/>
                      <a:gd name="connsiteY9" fmla="*/ 13140 h 9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459" h="98936">
                        <a:moveTo>
                          <a:pt x="43727" y="98937"/>
                        </a:moveTo>
                        <a:cubicBezTo>
                          <a:pt x="17978" y="98937"/>
                          <a:pt x="0" y="78595"/>
                          <a:pt x="0" y="49468"/>
                        </a:cubicBezTo>
                        <a:cubicBezTo>
                          <a:pt x="0" y="20342"/>
                          <a:pt x="17978" y="0"/>
                          <a:pt x="43727" y="0"/>
                        </a:cubicBezTo>
                        <a:cubicBezTo>
                          <a:pt x="69476" y="0"/>
                          <a:pt x="87459" y="20342"/>
                          <a:pt x="87459" y="49468"/>
                        </a:cubicBezTo>
                        <a:cubicBezTo>
                          <a:pt x="87459" y="78595"/>
                          <a:pt x="69473" y="98937"/>
                          <a:pt x="43727" y="98937"/>
                        </a:cubicBezTo>
                        <a:close/>
                        <a:moveTo>
                          <a:pt x="43727" y="13140"/>
                        </a:moveTo>
                        <a:cubicBezTo>
                          <a:pt x="21150" y="13140"/>
                          <a:pt x="13140" y="32710"/>
                          <a:pt x="13140" y="49468"/>
                        </a:cubicBezTo>
                        <a:cubicBezTo>
                          <a:pt x="13140" y="66227"/>
                          <a:pt x="21147" y="85796"/>
                          <a:pt x="43727" y="85796"/>
                        </a:cubicBezTo>
                        <a:cubicBezTo>
                          <a:pt x="66306" y="85796"/>
                          <a:pt x="74319" y="66227"/>
                          <a:pt x="74319" y="49468"/>
                        </a:cubicBezTo>
                        <a:cubicBezTo>
                          <a:pt x="74319" y="32710"/>
                          <a:pt x="66304" y="13140"/>
                          <a:pt x="43727" y="13140"/>
                        </a:cubicBezTo>
                        <a:close/>
                      </a:path>
                    </a:pathLst>
                  </a:custGeom>
                  <a:grpFill/>
                  <a:ln w="274" cap="flat">
                    <a:noFill/>
                    <a:prstDash val="solid"/>
                    <a:miter/>
                  </a:ln>
                </p:spPr>
                <p:txBody>
                  <a:bodyPr rtlCol="0" anchor="ctr"/>
                  <a:lstStyle/>
                  <a:p>
                    <a:endParaRPr lang="en-GB" dirty="0"/>
                  </a:p>
                </p:txBody>
              </p:sp>
            </p:grpSp>
          </p:grpSp>
        </p:grpSp>
        <p:grpSp>
          <p:nvGrpSpPr>
            <p:cNvPr id="877" name="Gruppieren 876">
              <a:extLst>
                <a:ext uri="{FF2B5EF4-FFF2-40B4-BE49-F238E27FC236}">
                  <a16:creationId xmlns:a16="http://schemas.microsoft.com/office/drawing/2014/main" id="{9464AE34-3B20-48AF-AE97-CABBAF35A582}"/>
                </a:ext>
              </a:extLst>
            </p:cNvPr>
            <p:cNvGrpSpPr/>
            <p:nvPr/>
          </p:nvGrpSpPr>
          <p:grpSpPr>
            <a:xfrm>
              <a:off x="7245026" y="1728046"/>
              <a:ext cx="236026" cy="137683"/>
              <a:chOff x="7100502" y="1733164"/>
              <a:chExt cx="236524" cy="137974"/>
            </a:xfrm>
          </p:grpSpPr>
          <p:sp>
            <p:nvSpPr>
              <p:cNvPr id="878" name="Freihandform: Form 877">
                <a:extLst>
                  <a:ext uri="{FF2B5EF4-FFF2-40B4-BE49-F238E27FC236}">
                    <a16:creationId xmlns:a16="http://schemas.microsoft.com/office/drawing/2014/main" id="{3A5D8978-A860-473E-869A-6E183D52C3FE}"/>
                  </a:ext>
                </a:extLst>
              </p:cNvPr>
              <p:cNvSpPr/>
              <p:nvPr/>
            </p:nvSpPr>
            <p:spPr>
              <a:xfrm>
                <a:off x="7100502" y="1857998"/>
                <a:ext cx="170823" cy="13140"/>
              </a:xfrm>
              <a:custGeom>
                <a:avLst/>
                <a:gdLst>
                  <a:gd name="connsiteX0" fmla="*/ 0 w 170823"/>
                  <a:gd name="connsiteY0" fmla="*/ 0 h 13140"/>
                  <a:gd name="connsiteX1" fmla="*/ 170823 w 170823"/>
                  <a:gd name="connsiteY1" fmla="*/ 0 h 13140"/>
                  <a:gd name="connsiteX2" fmla="*/ 170823 w 170823"/>
                  <a:gd name="connsiteY2" fmla="*/ 13140 h 13140"/>
                  <a:gd name="connsiteX3" fmla="*/ 0 w 170823"/>
                  <a:gd name="connsiteY3" fmla="*/ 13140 h 13140"/>
                </a:gdLst>
                <a:ahLst/>
                <a:cxnLst>
                  <a:cxn ang="0">
                    <a:pos x="connsiteX0" y="connsiteY0"/>
                  </a:cxn>
                  <a:cxn ang="0">
                    <a:pos x="connsiteX1" y="connsiteY1"/>
                  </a:cxn>
                  <a:cxn ang="0">
                    <a:pos x="connsiteX2" y="connsiteY2"/>
                  </a:cxn>
                  <a:cxn ang="0">
                    <a:pos x="connsiteX3" y="connsiteY3"/>
                  </a:cxn>
                </a:cxnLst>
                <a:rect l="l" t="t" r="r" b="b"/>
                <a:pathLst>
                  <a:path w="170823" h="13140">
                    <a:moveTo>
                      <a:pt x="0" y="0"/>
                    </a:moveTo>
                    <a:lnTo>
                      <a:pt x="170823" y="0"/>
                    </a:lnTo>
                    <a:lnTo>
                      <a:pt x="170823" y="13140"/>
                    </a:lnTo>
                    <a:lnTo>
                      <a:pt x="0" y="13140"/>
                    </a:lnTo>
                    <a:close/>
                  </a:path>
                </a:pathLst>
              </a:custGeom>
              <a:solidFill>
                <a:schemeClr val="accent1"/>
              </a:solidFill>
              <a:ln w="274" cap="flat">
                <a:noFill/>
                <a:prstDash val="solid"/>
                <a:miter/>
              </a:ln>
            </p:spPr>
            <p:txBody>
              <a:bodyPr rtlCol="0" anchor="ctr"/>
              <a:lstStyle/>
              <a:p>
                <a:endParaRPr lang="en-GB" dirty="0"/>
              </a:p>
            </p:txBody>
          </p:sp>
          <p:sp>
            <p:nvSpPr>
              <p:cNvPr id="879" name="Freihandform: Form 878">
                <a:extLst>
                  <a:ext uri="{FF2B5EF4-FFF2-40B4-BE49-F238E27FC236}">
                    <a16:creationId xmlns:a16="http://schemas.microsoft.com/office/drawing/2014/main" id="{43690DE2-EBFB-41AB-B043-DDF010F3E8BB}"/>
                  </a:ext>
                </a:extLst>
              </p:cNvPr>
              <p:cNvSpPr/>
              <p:nvPr/>
            </p:nvSpPr>
            <p:spPr>
              <a:xfrm>
                <a:off x="7100502" y="1733164"/>
                <a:ext cx="236524" cy="13140"/>
              </a:xfrm>
              <a:custGeom>
                <a:avLst/>
                <a:gdLst>
                  <a:gd name="connsiteX0" fmla="*/ 0 w 236524"/>
                  <a:gd name="connsiteY0" fmla="*/ 0 h 13140"/>
                  <a:gd name="connsiteX1" fmla="*/ 236524 w 236524"/>
                  <a:gd name="connsiteY1" fmla="*/ 0 h 13140"/>
                  <a:gd name="connsiteX2" fmla="*/ 236524 w 236524"/>
                  <a:gd name="connsiteY2" fmla="*/ 13140 h 13140"/>
                  <a:gd name="connsiteX3" fmla="*/ 0 w 236524"/>
                  <a:gd name="connsiteY3" fmla="*/ 13140 h 13140"/>
                </a:gdLst>
                <a:ahLst/>
                <a:cxnLst>
                  <a:cxn ang="0">
                    <a:pos x="connsiteX0" y="connsiteY0"/>
                  </a:cxn>
                  <a:cxn ang="0">
                    <a:pos x="connsiteX1" y="connsiteY1"/>
                  </a:cxn>
                  <a:cxn ang="0">
                    <a:pos x="connsiteX2" y="connsiteY2"/>
                  </a:cxn>
                  <a:cxn ang="0">
                    <a:pos x="connsiteX3" y="connsiteY3"/>
                  </a:cxn>
                </a:cxnLst>
                <a:rect l="l" t="t" r="r" b="b"/>
                <a:pathLst>
                  <a:path w="236524" h="13140">
                    <a:moveTo>
                      <a:pt x="0" y="0"/>
                    </a:moveTo>
                    <a:lnTo>
                      <a:pt x="236524" y="0"/>
                    </a:lnTo>
                    <a:lnTo>
                      <a:pt x="236524" y="13140"/>
                    </a:lnTo>
                    <a:lnTo>
                      <a:pt x="0" y="13140"/>
                    </a:lnTo>
                    <a:close/>
                  </a:path>
                </a:pathLst>
              </a:custGeom>
              <a:solidFill>
                <a:schemeClr val="accent1"/>
              </a:solidFill>
              <a:ln w="274" cap="flat">
                <a:noFill/>
                <a:prstDash val="solid"/>
                <a:miter/>
              </a:ln>
            </p:spPr>
            <p:txBody>
              <a:bodyPr rtlCol="0" anchor="ctr"/>
              <a:lstStyle/>
              <a:p>
                <a:endParaRPr lang="en-GB" dirty="0"/>
              </a:p>
            </p:txBody>
          </p:sp>
          <p:sp>
            <p:nvSpPr>
              <p:cNvPr id="880" name="Freihandform: Form 879">
                <a:extLst>
                  <a:ext uri="{FF2B5EF4-FFF2-40B4-BE49-F238E27FC236}">
                    <a16:creationId xmlns:a16="http://schemas.microsoft.com/office/drawing/2014/main" id="{16F30CC4-1465-422D-A46A-6AE2CA69CD77}"/>
                  </a:ext>
                </a:extLst>
              </p:cNvPr>
              <p:cNvSpPr/>
              <p:nvPr/>
            </p:nvSpPr>
            <p:spPr>
              <a:xfrm>
                <a:off x="7205624" y="1792297"/>
                <a:ext cx="91981" cy="13140"/>
              </a:xfrm>
              <a:custGeom>
                <a:avLst/>
                <a:gdLst>
                  <a:gd name="connsiteX0" fmla="*/ 0 w 91981"/>
                  <a:gd name="connsiteY0" fmla="*/ 0 h 13140"/>
                  <a:gd name="connsiteX1" fmla="*/ 91982 w 91981"/>
                  <a:gd name="connsiteY1" fmla="*/ 0 h 13140"/>
                  <a:gd name="connsiteX2" fmla="*/ 91982 w 91981"/>
                  <a:gd name="connsiteY2" fmla="*/ 13140 h 13140"/>
                  <a:gd name="connsiteX3" fmla="*/ 0 w 91981"/>
                  <a:gd name="connsiteY3" fmla="*/ 13140 h 13140"/>
                </a:gdLst>
                <a:ahLst/>
                <a:cxnLst>
                  <a:cxn ang="0">
                    <a:pos x="connsiteX0" y="connsiteY0"/>
                  </a:cxn>
                  <a:cxn ang="0">
                    <a:pos x="connsiteX1" y="connsiteY1"/>
                  </a:cxn>
                  <a:cxn ang="0">
                    <a:pos x="connsiteX2" y="connsiteY2"/>
                  </a:cxn>
                  <a:cxn ang="0">
                    <a:pos x="connsiteX3" y="connsiteY3"/>
                  </a:cxn>
                </a:cxnLst>
                <a:rect l="l" t="t" r="r" b="b"/>
                <a:pathLst>
                  <a:path w="91981" h="13140">
                    <a:moveTo>
                      <a:pt x="0" y="0"/>
                    </a:moveTo>
                    <a:lnTo>
                      <a:pt x="91982" y="0"/>
                    </a:lnTo>
                    <a:lnTo>
                      <a:pt x="91982" y="13140"/>
                    </a:lnTo>
                    <a:lnTo>
                      <a:pt x="0" y="13140"/>
                    </a:lnTo>
                    <a:close/>
                  </a:path>
                </a:pathLst>
              </a:custGeom>
              <a:solidFill>
                <a:schemeClr val="accent1"/>
              </a:solidFill>
              <a:ln w="274" cap="flat">
                <a:noFill/>
                <a:prstDash val="solid"/>
                <a:miter/>
              </a:ln>
            </p:spPr>
            <p:txBody>
              <a:bodyPr rtlCol="0" anchor="ctr"/>
              <a:lstStyle/>
              <a:p>
                <a:endParaRPr lang="en-GB" dirty="0"/>
              </a:p>
            </p:txBody>
          </p:sp>
        </p:grpSp>
      </p:grpSp>
      <p:sp>
        <p:nvSpPr>
          <p:cNvPr id="897" name="TextBox 1415">
            <a:extLst>
              <a:ext uri="{FF2B5EF4-FFF2-40B4-BE49-F238E27FC236}">
                <a16:creationId xmlns:a16="http://schemas.microsoft.com/office/drawing/2014/main" id="{ABE8B34C-E2D9-424C-83E6-EF5E334D668E}"/>
              </a:ext>
            </a:extLst>
          </p:cNvPr>
          <p:cNvSpPr txBox="1"/>
          <p:nvPr/>
        </p:nvSpPr>
        <p:spPr>
          <a:xfrm>
            <a:off x="7211964" y="2077494"/>
            <a:ext cx="184345" cy="107722"/>
          </a:xfrm>
          <a:prstGeom prst="rect">
            <a:avLst/>
          </a:prstGeom>
          <a:noFill/>
          <a:effectLst/>
        </p:spPr>
        <p:txBody>
          <a:bodyPr wrap="none" lIns="0" tIns="0" rIns="0" bIns="0" rtlCol="0" anchor="t">
            <a:spAutoFit/>
          </a:bodyPr>
          <a:lstStyle/>
          <a:p>
            <a:pPr algn="ctr"/>
            <a:r>
              <a:rPr lang="en-GB" sz="700" dirty="0">
                <a:solidFill>
                  <a:schemeClr val="tx2"/>
                </a:solidFill>
              </a:rPr>
              <a:t>Brief</a:t>
            </a:r>
          </a:p>
        </p:txBody>
      </p:sp>
      <p:grpSp>
        <p:nvGrpSpPr>
          <p:cNvPr id="52" name="Group 51">
            <a:extLst>
              <a:ext uri="{FF2B5EF4-FFF2-40B4-BE49-F238E27FC236}">
                <a16:creationId xmlns:a16="http://schemas.microsoft.com/office/drawing/2014/main" id="{D4954129-3FC8-5922-9EC6-09EA5C5AF92B}"/>
              </a:ext>
            </a:extLst>
          </p:cNvPr>
          <p:cNvGrpSpPr/>
          <p:nvPr/>
        </p:nvGrpSpPr>
        <p:grpSpPr>
          <a:xfrm>
            <a:off x="7084257" y="2449341"/>
            <a:ext cx="439758" cy="432000"/>
            <a:chOff x="7083845" y="2449341"/>
            <a:chExt cx="439758" cy="432000"/>
          </a:xfrm>
        </p:grpSpPr>
        <p:grpSp>
          <p:nvGrpSpPr>
            <p:cNvPr id="899" name="Gruppieren 898">
              <a:extLst>
                <a:ext uri="{FF2B5EF4-FFF2-40B4-BE49-F238E27FC236}">
                  <a16:creationId xmlns:a16="http://schemas.microsoft.com/office/drawing/2014/main" id="{1F7F6902-6C40-405E-B6CE-EF78D087073F}"/>
                </a:ext>
              </a:extLst>
            </p:cNvPr>
            <p:cNvGrpSpPr/>
            <p:nvPr/>
          </p:nvGrpSpPr>
          <p:grpSpPr>
            <a:xfrm>
              <a:off x="7083845" y="2449341"/>
              <a:ext cx="425049" cy="425363"/>
              <a:chOff x="6953466" y="2471344"/>
              <a:chExt cx="420710" cy="421021"/>
            </a:xfrm>
            <a:solidFill>
              <a:schemeClr val="tx2"/>
            </a:solidFill>
          </p:grpSpPr>
          <p:sp>
            <p:nvSpPr>
              <p:cNvPr id="903" name="Freihandform: Form 902">
                <a:extLst>
                  <a:ext uri="{FF2B5EF4-FFF2-40B4-BE49-F238E27FC236}">
                    <a16:creationId xmlns:a16="http://schemas.microsoft.com/office/drawing/2014/main" id="{93898775-BB5F-43AE-9A71-6BFC2E718CE2}"/>
                  </a:ext>
                </a:extLst>
              </p:cNvPr>
              <p:cNvSpPr/>
              <p:nvPr/>
            </p:nvSpPr>
            <p:spPr>
              <a:xfrm>
                <a:off x="7157251" y="2754570"/>
                <a:ext cx="216925" cy="137795"/>
              </a:xfrm>
              <a:custGeom>
                <a:avLst/>
                <a:gdLst>
                  <a:gd name="connsiteX0" fmla="*/ 216925 w 216925"/>
                  <a:gd name="connsiteY0" fmla="*/ 137796 h 137795"/>
                  <a:gd name="connsiteX1" fmla="*/ 203785 w 216925"/>
                  <a:gd name="connsiteY1" fmla="*/ 137796 h 137795"/>
                  <a:gd name="connsiteX2" fmla="*/ 203785 w 216925"/>
                  <a:gd name="connsiteY2" fmla="*/ 79570 h 137795"/>
                  <a:gd name="connsiteX3" fmla="*/ 135029 w 216925"/>
                  <a:gd name="connsiteY3" fmla="*/ 13140 h 137795"/>
                  <a:gd name="connsiteX4" fmla="*/ 81896 w 216925"/>
                  <a:gd name="connsiteY4" fmla="*/ 13140 h 137795"/>
                  <a:gd name="connsiteX5" fmla="*/ 13140 w 216925"/>
                  <a:gd name="connsiteY5" fmla="*/ 79570 h 137795"/>
                  <a:gd name="connsiteX6" fmla="*/ 13140 w 216925"/>
                  <a:gd name="connsiteY6" fmla="*/ 137796 h 137795"/>
                  <a:gd name="connsiteX7" fmla="*/ 0 w 216925"/>
                  <a:gd name="connsiteY7" fmla="*/ 137796 h 137795"/>
                  <a:gd name="connsiteX8" fmla="*/ 0 w 216925"/>
                  <a:gd name="connsiteY8" fmla="*/ 79570 h 137795"/>
                  <a:gd name="connsiteX9" fmla="*/ 81896 w 216925"/>
                  <a:gd name="connsiteY9" fmla="*/ 0 h 137795"/>
                  <a:gd name="connsiteX10" fmla="*/ 135027 w 216925"/>
                  <a:gd name="connsiteY10" fmla="*/ 0 h 137795"/>
                  <a:gd name="connsiteX11" fmla="*/ 216922 w 216925"/>
                  <a:gd name="connsiteY11" fmla="*/ 79570 h 137795"/>
                  <a:gd name="connsiteX12" fmla="*/ 216922 w 216925"/>
                  <a:gd name="connsiteY12" fmla="*/ 137796 h 137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925" h="137795">
                    <a:moveTo>
                      <a:pt x="216925" y="137796"/>
                    </a:moveTo>
                    <a:lnTo>
                      <a:pt x="203785" y="137796"/>
                    </a:lnTo>
                    <a:lnTo>
                      <a:pt x="203785" y="79570"/>
                    </a:lnTo>
                    <a:cubicBezTo>
                      <a:pt x="203785" y="40456"/>
                      <a:pt x="175510" y="13140"/>
                      <a:pt x="135029" y="13140"/>
                    </a:cubicBezTo>
                    <a:lnTo>
                      <a:pt x="81896" y="13140"/>
                    </a:lnTo>
                    <a:cubicBezTo>
                      <a:pt x="41418" y="13140"/>
                      <a:pt x="13140" y="40456"/>
                      <a:pt x="13140" y="79570"/>
                    </a:cubicBezTo>
                    <a:lnTo>
                      <a:pt x="13140" y="137796"/>
                    </a:lnTo>
                    <a:lnTo>
                      <a:pt x="0" y="137796"/>
                    </a:lnTo>
                    <a:lnTo>
                      <a:pt x="0" y="79570"/>
                    </a:lnTo>
                    <a:cubicBezTo>
                      <a:pt x="0" y="33463"/>
                      <a:pt x="34441" y="0"/>
                      <a:pt x="81896" y="0"/>
                    </a:cubicBezTo>
                    <a:lnTo>
                      <a:pt x="135027" y="0"/>
                    </a:lnTo>
                    <a:cubicBezTo>
                      <a:pt x="182479" y="0"/>
                      <a:pt x="216922" y="33463"/>
                      <a:pt x="216922" y="79570"/>
                    </a:cubicBezTo>
                    <a:lnTo>
                      <a:pt x="216922" y="137796"/>
                    </a:lnTo>
                    <a:close/>
                  </a:path>
                </a:pathLst>
              </a:custGeom>
              <a:grpFill/>
              <a:ln w="274" cap="flat">
                <a:noFill/>
                <a:prstDash val="solid"/>
                <a:miter/>
              </a:ln>
            </p:spPr>
            <p:txBody>
              <a:bodyPr rtlCol="0" anchor="ctr"/>
              <a:lstStyle/>
              <a:p>
                <a:endParaRPr lang="en-GB" dirty="0"/>
              </a:p>
            </p:txBody>
          </p:sp>
          <p:sp>
            <p:nvSpPr>
              <p:cNvPr id="904" name="Freihandform: Form 903">
                <a:extLst>
                  <a:ext uri="{FF2B5EF4-FFF2-40B4-BE49-F238E27FC236}">
                    <a16:creationId xmlns:a16="http://schemas.microsoft.com/office/drawing/2014/main" id="{B3DA5A61-5C29-473F-A292-AD3A0F18A373}"/>
                  </a:ext>
                </a:extLst>
              </p:cNvPr>
              <p:cNvSpPr/>
              <p:nvPr/>
            </p:nvSpPr>
            <p:spPr>
              <a:xfrm>
                <a:off x="7220811" y="2631065"/>
                <a:ext cx="90203" cy="105768"/>
              </a:xfrm>
              <a:custGeom>
                <a:avLst/>
                <a:gdLst>
                  <a:gd name="connsiteX0" fmla="*/ 45105 w 90203"/>
                  <a:gd name="connsiteY0" fmla="*/ 105768 h 105768"/>
                  <a:gd name="connsiteX1" fmla="*/ 0 w 90203"/>
                  <a:gd name="connsiteY1" fmla="*/ 52884 h 105768"/>
                  <a:gd name="connsiteX2" fmla="*/ 45105 w 90203"/>
                  <a:gd name="connsiteY2" fmla="*/ 0 h 105768"/>
                  <a:gd name="connsiteX3" fmla="*/ 90204 w 90203"/>
                  <a:gd name="connsiteY3" fmla="*/ 52884 h 105768"/>
                  <a:gd name="connsiteX4" fmla="*/ 45105 w 90203"/>
                  <a:gd name="connsiteY4" fmla="*/ 105768 h 105768"/>
                  <a:gd name="connsiteX5" fmla="*/ 45105 w 90203"/>
                  <a:gd name="connsiteY5" fmla="*/ 13137 h 105768"/>
                  <a:gd name="connsiteX6" fmla="*/ 13140 w 90203"/>
                  <a:gd name="connsiteY6" fmla="*/ 52881 h 105768"/>
                  <a:gd name="connsiteX7" fmla="*/ 45105 w 90203"/>
                  <a:gd name="connsiteY7" fmla="*/ 92625 h 105768"/>
                  <a:gd name="connsiteX8" fmla="*/ 77064 w 90203"/>
                  <a:gd name="connsiteY8" fmla="*/ 52881 h 105768"/>
                  <a:gd name="connsiteX9" fmla="*/ 45105 w 90203"/>
                  <a:gd name="connsiteY9" fmla="*/ 13137 h 10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03" h="105768">
                    <a:moveTo>
                      <a:pt x="45105" y="105768"/>
                    </a:moveTo>
                    <a:cubicBezTo>
                      <a:pt x="18126" y="105768"/>
                      <a:pt x="0" y="84515"/>
                      <a:pt x="0" y="52884"/>
                    </a:cubicBezTo>
                    <a:cubicBezTo>
                      <a:pt x="0" y="21254"/>
                      <a:pt x="18126" y="0"/>
                      <a:pt x="45105" y="0"/>
                    </a:cubicBezTo>
                    <a:cubicBezTo>
                      <a:pt x="72078" y="0"/>
                      <a:pt x="90204" y="21254"/>
                      <a:pt x="90204" y="52884"/>
                    </a:cubicBezTo>
                    <a:cubicBezTo>
                      <a:pt x="90204" y="84515"/>
                      <a:pt x="72078" y="105768"/>
                      <a:pt x="45105" y="105768"/>
                    </a:cubicBezTo>
                    <a:close/>
                    <a:moveTo>
                      <a:pt x="45105" y="13137"/>
                    </a:moveTo>
                    <a:cubicBezTo>
                      <a:pt x="21539" y="13137"/>
                      <a:pt x="13140" y="33668"/>
                      <a:pt x="13140" y="52881"/>
                    </a:cubicBezTo>
                    <a:cubicBezTo>
                      <a:pt x="13140" y="72095"/>
                      <a:pt x="21539" y="92625"/>
                      <a:pt x="45105" y="92625"/>
                    </a:cubicBezTo>
                    <a:cubicBezTo>
                      <a:pt x="68665" y="92625"/>
                      <a:pt x="77064" y="72095"/>
                      <a:pt x="77064" y="52881"/>
                    </a:cubicBezTo>
                    <a:cubicBezTo>
                      <a:pt x="77064" y="33668"/>
                      <a:pt x="68665" y="13137"/>
                      <a:pt x="45105" y="13137"/>
                    </a:cubicBezTo>
                    <a:close/>
                  </a:path>
                </a:pathLst>
              </a:custGeom>
              <a:grpFill/>
              <a:ln w="274" cap="flat">
                <a:noFill/>
                <a:prstDash val="solid"/>
                <a:miter/>
              </a:ln>
            </p:spPr>
            <p:txBody>
              <a:bodyPr rtlCol="0" anchor="ctr"/>
              <a:lstStyle/>
              <a:p>
                <a:endParaRPr lang="en-GB" dirty="0"/>
              </a:p>
            </p:txBody>
          </p:sp>
          <p:grpSp>
            <p:nvGrpSpPr>
              <p:cNvPr id="905" name="Grafik 349">
                <a:extLst>
                  <a:ext uri="{FF2B5EF4-FFF2-40B4-BE49-F238E27FC236}">
                    <a16:creationId xmlns:a16="http://schemas.microsoft.com/office/drawing/2014/main" id="{965DE422-290A-4BD4-8B34-C157D92D3BC3}"/>
                  </a:ext>
                </a:extLst>
              </p:cNvPr>
              <p:cNvGrpSpPr/>
              <p:nvPr/>
            </p:nvGrpSpPr>
            <p:grpSpPr>
              <a:xfrm>
                <a:off x="6953466" y="2471344"/>
                <a:ext cx="333372" cy="311539"/>
                <a:chOff x="6953466" y="2471344"/>
                <a:chExt cx="333372" cy="311539"/>
              </a:xfrm>
              <a:grpFill/>
            </p:grpSpPr>
            <p:sp>
              <p:nvSpPr>
                <p:cNvPr id="906" name="Freihandform: Form 905">
                  <a:extLst>
                    <a:ext uri="{FF2B5EF4-FFF2-40B4-BE49-F238E27FC236}">
                      <a16:creationId xmlns:a16="http://schemas.microsoft.com/office/drawing/2014/main" id="{7143BE9A-DD62-4410-8279-06D4E0961F55}"/>
                    </a:ext>
                  </a:extLst>
                </p:cNvPr>
                <p:cNvSpPr/>
                <p:nvPr/>
              </p:nvSpPr>
              <p:spPr>
                <a:xfrm>
                  <a:off x="7135420" y="2718798"/>
                  <a:ext cx="13137" cy="20418"/>
                </a:xfrm>
                <a:custGeom>
                  <a:avLst/>
                  <a:gdLst>
                    <a:gd name="connsiteX0" fmla="*/ 6569 w 13137"/>
                    <a:gd name="connsiteY0" fmla="*/ 20418 h 20418"/>
                    <a:gd name="connsiteX1" fmla="*/ 0 w 13137"/>
                    <a:gd name="connsiteY1" fmla="*/ 13847 h 20418"/>
                    <a:gd name="connsiteX2" fmla="*/ 0 w 13137"/>
                    <a:gd name="connsiteY2" fmla="*/ 6569 h 20418"/>
                    <a:gd name="connsiteX3" fmla="*/ 6569 w 13137"/>
                    <a:gd name="connsiteY3" fmla="*/ 0 h 20418"/>
                    <a:gd name="connsiteX4" fmla="*/ 13137 w 13137"/>
                    <a:gd name="connsiteY4" fmla="*/ 6569 h 20418"/>
                    <a:gd name="connsiteX5" fmla="*/ 13137 w 13137"/>
                    <a:gd name="connsiteY5" fmla="*/ 13847 h 20418"/>
                    <a:gd name="connsiteX6" fmla="*/ 6569 w 13137"/>
                    <a:gd name="connsiteY6" fmla="*/ 20418 h 2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20418">
                      <a:moveTo>
                        <a:pt x="6569" y="20418"/>
                      </a:moveTo>
                      <a:cubicBezTo>
                        <a:pt x="2936" y="20418"/>
                        <a:pt x="0" y="17476"/>
                        <a:pt x="0" y="13847"/>
                      </a:cubicBezTo>
                      <a:lnTo>
                        <a:pt x="0" y="6569"/>
                      </a:lnTo>
                      <a:cubicBezTo>
                        <a:pt x="0" y="2939"/>
                        <a:pt x="2939" y="0"/>
                        <a:pt x="6569" y="0"/>
                      </a:cubicBezTo>
                      <a:cubicBezTo>
                        <a:pt x="10201" y="0"/>
                        <a:pt x="13137" y="2942"/>
                        <a:pt x="13137" y="6569"/>
                      </a:cubicBezTo>
                      <a:lnTo>
                        <a:pt x="13137" y="13847"/>
                      </a:lnTo>
                      <a:cubicBezTo>
                        <a:pt x="13140" y="17476"/>
                        <a:pt x="10201" y="20418"/>
                        <a:pt x="6569" y="20418"/>
                      </a:cubicBezTo>
                      <a:close/>
                    </a:path>
                  </a:pathLst>
                </a:custGeom>
                <a:grpFill/>
                <a:ln w="274" cap="flat">
                  <a:noFill/>
                  <a:prstDash val="solid"/>
                  <a:miter/>
                </a:ln>
              </p:spPr>
              <p:txBody>
                <a:bodyPr rtlCol="0" anchor="ctr"/>
                <a:lstStyle/>
                <a:p>
                  <a:endParaRPr lang="en-GB" dirty="0"/>
                </a:p>
              </p:txBody>
            </p:sp>
            <p:sp>
              <p:nvSpPr>
                <p:cNvPr id="907" name="Freihandform: Form 906">
                  <a:extLst>
                    <a:ext uri="{FF2B5EF4-FFF2-40B4-BE49-F238E27FC236}">
                      <a16:creationId xmlns:a16="http://schemas.microsoft.com/office/drawing/2014/main" id="{1B613B6D-8573-489D-B455-EBA82E4DBCC0}"/>
                    </a:ext>
                  </a:extLst>
                </p:cNvPr>
                <p:cNvSpPr/>
                <p:nvPr/>
              </p:nvSpPr>
              <p:spPr>
                <a:xfrm>
                  <a:off x="7135422" y="2587792"/>
                  <a:ext cx="56806" cy="195090"/>
                </a:xfrm>
                <a:custGeom>
                  <a:avLst/>
                  <a:gdLst>
                    <a:gd name="connsiteX0" fmla="*/ 50235 w 56806"/>
                    <a:gd name="connsiteY0" fmla="*/ 195090 h 195090"/>
                    <a:gd name="connsiteX1" fmla="*/ 43667 w 56806"/>
                    <a:gd name="connsiteY1" fmla="*/ 188522 h 195090"/>
                    <a:gd name="connsiteX2" fmla="*/ 43667 w 56806"/>
                    <a:gd name="connsiteY2" fmla="*/ 13140 h 195090"/>
                    <a:gd name="connsiteX3" fmla="*/ 13137 w 56806"/>
                    <a:gd name="connsiteY3" fmla="*/ 13140 h 195090"/>
                    <a:gd name="connsiteX4" fmla="*/ 13137 w 56806"/>
                    <a:gd name="connsiteY4" fmla="*/ 108458 h 195090"/>
                    <a:gd name="connsiteX5" fmla="*/ 6569 w 56806"/>
                    <a:gd name="connsiteY5" fmla="*/ 115027 h 195090"/>
                    <a:gd name="connsiteX6" fmla="*/ 0 w 56806"/>
                    <a:gd name="connsiteY6" fmla="*/ 108458 h 195090"/>
                    <a:gd name="connsiteX7" fmla="*/ 0 w 56806"/>
                    <a:gd name="connsiteY7" fmla="*/ 0 h 195090"/>
                    <a:gd name="connsiteX8" fmla="*/ 56807 w 56806"/>
                    <a:gd name="connsiteY8" fmla="*/ 0 h 195090"/>
                    <a:gd name="connsiteX9" fmla="*/ 56807 w 56806"/>
                    <a:gd name="connsiteY9" fmla="*/ 188522 h 195090"/>
                    <a:gd name="connsiteX10" fmla="*/ 50235 w 56806"/>
                    <a:gd name="connsiteY10" fmla="*/ 195090 h 195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6" h="195090">
                      <a:moveTo>
                        <a:pt x="50235" y="195090"/>
                      </a:moveTo>
                      <a:cubicBezTo>
                        <a:pt x="46603" y="195090"/>
                        <a:pt x="43667" y="192148"/>
                        <a:pt x="43667" y="188522"/>
                      </a:cubicBezTo>
                      <a:lnTo>
                        <a:pt x="43667" y="13140"/>
                      </a:lnTo>
                      <a:lnTo>
                        <a:pt x="13137" y="13140"/>
                      </a:lnTo>
                      <a:lnTo>
                        <a:pt x="13137" y="108458"/>
                      </a:lnTo>
                      <a:cubicBezTo>
                        <a:pt x="13137" y="112088"/>
                        <a:pt x="10198" y="115027"/>
                        <a:pt x="6569" y="115027"/>
                      </a:cubicBezTo>
                      <a:cubicBezTo>
                        <a:pt x="2937" y="115027"/>
                        <a:pt x="0" y="112085"/>
                        <a:pt x="0" y="108458"/>
                      </a:cubicBezTo>
                      <a:lnTo>
                        <a:pt x="0" y="0"/>
                      </a:lnTo>
                      <a:lnTo>
                        <a:pt x="56807" y="0"/>
                      </a:lnTo>
                      <a:lnTo>
                        <a:pt x="56807" y="188522"/>
                      </a:lnTo>
                      <a:cubicBezTo>
                        <a:pt x="56804" y="192148"/>
                        <a:pt x="53868" y="195090"/>
                        <a:pt x="50235" y="195090"/>
                      </a:cubicBezTo>
                      <a:close/>
                    </a:path>
                  </a:pathLst>
                </a:custGeom>
                <a:grpFill/>
                <a:ln w="274" cap="flat">
                  <a:noFill/>
                  <a:prstDash val="solid"/>
                  <a:miter/>
                </a:ln>
              </p:spPr>
              <p:txBody>
                <a:bodyPr rtlCol="0" anchor="ctr"/>
                <a:lstStyle/>
                <a:p>
                  <a:endParaRPr lang="en-GB" dirty="0"/>
                </a:p>
              </p:txBody>
            </p:sp>
            <p:sp>
              <p:nvSpPr>
                <p:cNvPr id="908" name="Freihandform: Form 907">
                  <a:extLst>
                    <a:ext uri="{FF2B5EF4-FFF2-40B4-BE49-F238E27FC236}">
                      <a16:creationId xmlns:a16="http://schemas.microsoft.com/office/drawing/2014/main" id="{1F130A12-1495-4A35-B39E-6FB3B92F1BE0}"/>
                    </a:ext>
                  </a:extLst>
                </p:cNvPr>
                <p:cNvSpPr/>
                <p:nvPr/>
              </p:nvSpPr>
              <p:spPr>
                <a:xfrm>
                  <a:off x="6989858" y="2471349"/>
                  <a:ext cx="296980" cy="129583"/>
                </a:xfrm>
                <a:custGeom>
                  <a:avLst/>
                  <a:gdLst>
                    <a:gd name="connsiteX0" fmla="*/ 290411 w 296980"/>
                    <a:gd name="connsiteY0" fmla="*/ 129584 h 129583"/>
                    <a:gd name="connsiteX1" fmla="*/ 6569 w 296980"/>
                    <a:gd name="connsiteY1" fmla="*/ 129584 h 129583"/>
                    <a:gd name="connsiteX2" fmla="*/ 0 w 296980"/>
                    <a:gd name="connsiteY2" fmla="*/ 123015 h 129583"/>
                    <a:gd name="connsiteX3" fmla="*/ 6569 w 296980"/>
                    <a:gd name="connsiteY3" fmla="*/ 116446 h 129583"/>
                    <a:gd name="connsiteX4" fmla="*/ 283840 w 296980"/>
                    <a:gd name="connsiteY4" fmla="*/ 116446 h 129583"/>
                    <a:gd name="connsiteX5" fmla="*/ 283840 w 296980"/>
                    <a:gd name="connsiteY5" fmla="*/ 64789 h 129583"/>
                    <a:gd name="connsiteX6" fmla="*/ 232183 w 296980"/>
                    <a:gd name="connsiteY6" fmla="*/ 13137 h 129583"/>
                    <a:gd name="connsiteX7" fmla="*/ 64792 w 296980"/>
                    <a:gd name="connsiteY7" fmla="*/ 13137 h 129583"/>
                    <a:gd name="connsiteX8" fmla="*/ 58223 w 296980"/>
                    <a:gd name="connsiteY8" fmla="*/ 6569 h 129583"/>
                    <a:gd name="connsiteX9" fmla="*/ 64792 w 296980"/>
                    <a:gd name="connsiteY9" fmla="*/ 0 h 129583"/>
                    <a:gd name="connsiteX10" fmla="*/ 232183 w 296980"/>
                    <a:gd name="connsiteY10" fmla="*/ 0 h 129583"/>
                    <a:gd name="connsiteX11" fmla="*/ 296980 w 296980"/>
                    <a:gd name="connsiteY11" fmla="*/ 64792 h 129583"/>
                    <a:gd name="connsiteX12" fmla="*/ 296980 w 296980"/>
                    <a:gd name="connsiteY12" fmla="*/ 123018 h 129583"/>
                    <a:gd name="connsiteX13" fmla="*/ 290411 w 296980"/>
                    <a:gd name="connsiteY13" fmla="*/ 129584 h 12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6980" h="129583">
                      <a:moveTo>
                        <a:pt x="290411" y="129584"/>
                      </a:moveTo>
                      <a:lnTo>
                        <a:pt x="6569" y="129584"/>
                      </a:lnTo>
                      <a:cubicBezTo>
                        <a:pt x="2937" y="129584"/>
                        <a:pt x="0" y="126642"/>
                        <a:pt x="0" y="123015"/>
                      </a:cubicBezTo>
                      <a:cubicBezTo>
                        <a:pt x="0" y="119385"/>
                        <a:pt x="2939" y="116446"/>
                        <a:pt x="6569" y="116446"/>
                      </a:cubicBezTo>
                      <a:lnTo>
                        <a:pt x="283840" y="116446"/>
                      </a:lnTo>
                      <a:lnTo>
                        <a:pt x="283840" y="64789"/>
                      </a:lnTo>
                      <a:cubicBezTo>
                        <a:pt x="283840" y="36309"/>
                        <a:pt x="260666" y="13137"/>
                        <a:pt x="232183" y="13137"/>
                      </a:cubicBezTo>
                      <a:lnTo>
                        <a:pt x="64792" y="13137"/>
                      </a:lnTo>
                      <a:cubicBezTo>
                        <a:pt x="61160" y="13137"/>
                        <a:pt x="58223" y="10196"/>
                        <a:pt x="58223" y="6569"/>
                      </a:cubicBezTo>
                      <a:cubicBezTo>
                        <a:pt x="58223" y="2939"/>
                        <a:pt x="61162" y="0"/>
                        <a:pt x="64792" y="0"/>
                      </a:cubicBezTo>
                      <a:lnTo>
                        <a:pt x="232183" y="0"/>
                      </a:lnTo>
                      <a:cubicBezTo>
                        <a:pt x="267914" y="0"/>
                        <a:pt x="296980" y="29066"/>
                        <a:pt x="296980" y="64792"/>
                      </a:cubicBezTo>
                      <a:lnTo>
                        <a:pt x="296980" y="123018"/>
                      </a:lnTo>
                      <a:cubicBezTo>
                        <a:pt x="296983" y="126642"/>
                        <a:pt x="294043" y="129584"/>
                        <a:pt x="290411" y="129584"/>
                      </a:cubicBezTo>
                      <a:close/>
                    </a:path>
                  </a:pathLst>
                </a:custGeom>
                <a:grpFill/>
                <a:ln w="274" cap="flat">
                  <a:noFill/>
                  <a:prstDash val="solid"/>
                  <a:miter/>
                </a:ln>
              </p:spPr>
              <p:txBody>
                <a:bodyPr rtlCol="0" anchor="ctr"/>
                <a:lstStyle/>
                <a:p>
                  <a:endParaRPr lang="en-GB" dirty="0"/>
                </a:p>
              </p:txBody>
            </p:sp>
            <p:sp>
              <p:nvSpPr>
                <p:cNvPr id="909" name="Freihandform: Form 908">
                  <a:extLst>
                    <a:ext uri="{FF2B5EF4-FFF2-40B4-BE49-F238E27FC236}">
                      <a16:creationId xmlns:a16="http://schemas.microsoft.com/office/drawing/2014/main" id="{2451E9DA-E72A-4209-BE21-BF4AEC8960DD}"/>
                    </a:ext>
                  </a:extLst>
                </p:cNvPr>
                <p:cNvSpPr/>
                <p:nvPr/>
              </p:nvSpPr>
              <p:spPr>
                <a:xfrm>
                  <a:off x="6982574" y="2471344"/>
                  <a:ext cx="129594" cy="129589"/>
                </a:xfrm>
                <a:custGeom>
                  <a:avLst/>
                  <a:gdLst>
                    <a:gd name="connsiteX0" fmla="*/ 129592 w 129594"/>
                    <a:gd name="connsiteY0" fmla="*/ 129589 h 129589"/>
                    <a:gd name="connsiteX1" fmla="*/ 0 w 129594"/>
                    <a:gd name="connsiteY1" fmla="*/ 129589 h 129589"/>
                    <a:gd name="connsiteX2" fmla="*/ 0 w 129594"/>
                    <a:gd name="connsiteY2" fmla="*/ 64792 h 129589"/>
                    <a:gd name="connsiteX3" fmla="*/ 64797 w 129594"/>
                    <a:gd name="connsiteY3" fmla="*/ 0 h 129589"/>
                    <a:gd name="connsiteX4" fmla="*/ 129595 w 129594"/>
                    <a:gd name="connsiteY4" fmla="*/ 64792 h 129589"/>
                    <a:gd name="connsiteX5" fmla="*/ 129595 w 129594"/>
                    <a:gd name="connsiteY5" fmla="*/ 129589 h 129589"/>
                    <a:gd name="connsiteX6" fmla="*/ 13140 w 129594"/>
                    <a:gd name="connsiteY6" fmla="*/ 116449 h 129589"/>
                    <a:gd name="connsiteX7" fmla="*/ 116452 w 129594"/>
                    <a:gd name="connsiteY7" fmla="*/ 116449 h 129589"/>
                    <a:gd name="connsiteX8" fmla="*/ 116452 w 129594"/>
                    <a:gd name="connsiteY8" fmla="*/ 64792 h 129589"/>
                    <a:gd name="connsiteX9" fmla="*/ 64795 w 129594"/>
                    <a:gd name="connsiteY9" fmla="*/ 13140 h 129589"/>
                    <a:gd name="connsiteX10" fmla="*/ 13137 w 129594"/>
                    <a:gd name="connsiteY10" fmla="*/ 64792 h 129589"/>
                    <a:gd name="connsiteX11" fmla="*/ 13137 w 129594"/>
                    <a:gd name="connsiteY11" fmla="*/ 116449 h 129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594" h="129589">
                      <a:moveTo>
                        <a:pt x="129592" y="129589"/>
                      </a:moveTo>
                      <a:lnTo>
                        <a:pt x="0" y="129589"/>
                      </a:lnTo>
                      <a:lnTo>
                        <a:pt x="0" y="64792"/>
                      </a:lnTo>
                      <a:cubicBezTo>
                        <a:pt x="0" y="29064"/>
                        <a:pt x="29064" y="0"/>
                        <a:pt x="64797" y="0"/>
                      </a:cubicBezTo>
                      <a:cubicBezTo>
                        <a:pt x="100528" y="0"/>
                        <a:pt x="129595" y="29066"/>
                        <a:pt x="129595" y="64792"/>
                      </a:cubicBezTo>
                      <a:lnTo>
                        <a:pt x="129595" y="129589"/>
                      </a:lnTo>
                      <a:close/>
                      <a:moveTo>
                        <a:pt x="13140" y="116449"/>
                      </a:moveTo>
                      <a:lnTo>
                        <a:pt x="116452" y="116449"/>
                      </a:lnTo>
                      <a:lnTo>
                        <a:pt x="116452" y="64792"/>
                      </a:lnTo>
                      <a:cubicBezTo>
                        <a:pt x="116452" y="36312"/>
                        <a:pt x="93277" y="13140"/>
                        <a:pt x="64795" y="13140"/>
                      </a:cubicBezTo>
                      <a:cubicBezTo>
                        <a:pt x="36312" y="13140"/>
                        <a:pt x="13137" y="36312"/>
                        <a:pt x="13137" y="64792"/>
                      </a:cubicBezTo>
                      <a:lnTo>
                        <a:pt x="13137" y="116449"/>
                      </a:lnTo>
                      <a:close/>
                    </a:path>
                  </a:pathLst>
                </a:custGeom>
                <a:grpFill/>
                <a:ln w="274" cap="flat">
                  <a:noFill/>
                  <a:prstDash val="solid"/>
                  <a:miter/>
                </a:ln>
              </p:spPr>
              <p:txBody>
                <a:bodyPr rtlCol="0" anchor="ctr"/>
                <a:lstStyle/>
                <a:p>
                  <a:endParaRPr lang="en-GB" dirty="0"/>
                </a:p>
              </p:txBody>
            </p:sp>
            <p:sp>
              <p:nvSpPr>
                <p:cNvPr id="910" name="Freihandform: Form 909">
                  <a:extLst>
                    <a:ext uri="{FF2B5EF4-FFF2-40B4-BE49-F238E27FC236}">
                      <a16:creationId xmlns:a16="http://schemas.microsoft.com/office/drawing/2014/main" id="{3B839228-B278-4790-8284-0215AB0CD301}"/>
                    </a:ext>
                  </a:extLst>
                </p:cNvPr>
                <p:cNvSpPr/>
                <p:nvPr/>
              </p:nvSpPr>
              <p:spPr>
                <a:xfrm>
                  <a:off x="6953466" y="2587787"/>
                  <a:ext cx="158701" cy="64087"/>
                </a:xfrm>
                <a:custGeom>
                  <a:avLst/>
                  <a:gdLst>
                    <a:gd name="connsiteX0" fmla="*/ 123021 w 158701"/>
                    <a:gd name="connsiteY0" fmla="*/ 64088 h 64087"/>
                    <a:gd name="connsiteX1" fmla="*/ 6570 w 158701"/>
                    <a:gd name="connsiteY1" fmla="*/ 64088 h 64087"/>
                    <a:gd name="connsiteX2" fmla="*/ 886 w 158701"/>
                    <a:gd name="connsiteY2" fmla="*/ 60814 h 64087"/>
                    <a:gd name="connsiteX3" fmla="*/ 867 w 158701"/>
                    <a:gd name="connsiteY3" fmla="*/ 54257 h 64087"/>
                    <a:gd name="connsiteX4" fmla="*/ 29977 w 158701"/>
                    <a:gd name="connsiteY4" fmla="*/ 3312 h 64087"/>
                    <a:gd name="connsiteX5" fmla="*/ 35680 w 158701"/>
                    <a:gd name="connsiteY5" fmla="*/ 0 h 64087"/>
                    <a:gd name="connsiteX6" fmla="*/ 152132 w 158701"/>
                    <a:gd name="connsiteY6" fmla="*/ 0 h 64087"/>
                    <a:gd name="connsiteX7" fmla="*/ 157816 w 158701"/>
                    <a:gd name="connsiteY7" fmla="*/ 3273 h 64087"/>
                    <a:gd name="connsiteX8" fmla="*/ 157835 w 158701"/>
                    <a:gd name="connsiteY8" fmla="*/ 9831 h 64087"/>
                    <a:gd name="connsiteX9" fmla="*/ 128725 w 158701"/>
                    <a:gd name="connsiteY9" fmla="*/ 60776 h 64087"/>
                    <a:gd name="connsiteX10" fmla="*/ 123021 w 158701"/>
                    <a:gd name="connsiteY10" fmla="*/ 64088 h 64087"/>
                    <a:gd name="connsiteX11" fmla="*/ 17894 w 158701"/>
                    <a:gd name="connsiteY11" fmla="*/ 50948 h 64087"/>
                    <a:gd name="connsiteX12" fmla="*/ 119211 w 158701"/>
                    <a:gd name="connsiteY12" fmla="*/ 50948 h 64087"/>
                    <a:gd name="connsiteX13" fmla="*/ 140807 w 158701"/>
                    <a:gd name="connsiteY13" fmla="*/ 13143 h 64087"/>
                    <a:gd name="connsiteX14" fmla="*/ 39490 w 158701"/>
                    <a:gd name="connsiteY14" fmla="*/ 13143 h 64087"/>
                    <a:gd name="connsiteX15" fmla="*/ 17894 w 158701"/>
                    <a:gd name="connsiteY15" fmla="*/ 50948 h 64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701" h="64087">
                      <a:moveTo>
                        <a:pt x="123021" y="64088"/>
                      </a:moveTo>
                      <a:lnTo>
                        <a:pt x="6570" y="64088"/>
                      </a:lnTo>
                      <a:cubicBezTo>
                        <a:pt x="4228" y="64088"/>
                        <a:pt x="2066" y="62839"/>
                        <a:pt x="886" y="60814"/>
                      </a:cubicBezTo>
                      <a:cubicBezTo>
                        <a:pt x="-289" y="58790"/>
                        <a:pt x="-295" y="56292"/>
                        <a:pt x="867" y="54257"/>
                      </a:cubicBezTo>
                      <a:lnTo>
                        <a:pt x="29977" y="3312"/>
                      </a:lnTo>
                      <a:cubicBezTo>
                        <a:pt x="31144" y="1266"/>
                        <a:pt x="33327" y="0"/>
                        <a:pt x="35680" y="0"/>
                      </a:cubicBezTo>
                      <a:lnTo>
                        <a:pt x="152132" y="0"/>
                      </a:lnTo>
                      <a:cubicBezTo>
                        <a:pt x="154474" y="0"/>
                        <a:pt x="156635" y="1249"/>
                        <a:pt x="157816" y="3273"/>
                      </a:cubicBezTo>
                      <a:cubicBezTo>
                        <a:pt x="158991" y="5298"/>
                        <a:pt x="158996" y="7796"/>
                        <a:pt x="157835" y="9831"/>
                      </a:cubicBezTo>
                      <a:lnTo>
                        <a:pt x="128725" y="60776"/>
                      </a:lnTo>
                      <a:cubicBezTo>
                        <a:pt x="127558" y="62825"/>
                        <a:pt x="125377" y="64088"/>
                        <a:pt x="123021" y="64088"/>
                      </a:cubicBezTo>
                      <a:close/>
                      <a:moveTo>
                        <a:pt x="17894" y="50948"/>
                      </a:moveTo>
                      <a:lnTo>
                        <a:pt x="119211" y="50948"/>
                      </a:lnTo>
                      <a:lnTo>
                        <a:pt x="140807" y="13143"/>
                      </a:lnTo>
                      <a:lnTo>
                        <a:pt x="39490" y="13143"/>
                      </a:lnTo>
                      <a:lnTo>
                        <a:pt x="17894" y="50948"/>
                      </a:lnTo>
                      <a:close/>
                    </a:path>
                  </a:pathLst>
                </a:custGeom>
                <a:grpFill/>
                <a:ln w="274" cap="flat">
                  <a:noFill/>
                  <a:prstDash val="solid"/>
                  <a:miter/>
                </a:ln>
              </p:spPr>
              <p:txBody>
                <a:bodyPr rtlCol="0" anchor="ctr"/>
                <a:lstStyle/>
                <a:p>
                  <a:endParaRPr lang="en-GB" dirty="0"/>
                </a:p>
              </p:txBody>
            </p:sp>
          </p:grpSp>
        </p:grpSp>
        <p:grpSp>
          <p:nvGrpSpPr>
            <p:cNvPr id="900" name="Gruppieren 899">
              <a:extLst>
                <a:ext uri="{FF2B5EF4-FFF2-40B4-BE49-F238E27FC236}">
                  <a16:creationId xmlns:a16="http://schemas.microsoft.com/office/drawing/2014/main" id="{97A13BA0-32D4-4E8F-A076-D537C4991672}"/>
                </a:ext>
              </a:extLst>
            </p:cNvPr>
            <p:cNvGrpSpPr/>
            <p:nvPr/>
          </p:nvGrpSpPr>
          <p:grpSpPr>
            <a:xfrm>
              <a:off x="7275029" y="2789626"/>
              <a:ext cx="248574" cy="91715"/>
              <a:chOff x="7142698" y="2808155"/>
              <a:chExt cx="246037" cy="90779"/>
            </a:xfrm>
          </p:grpSpPr>
          <p:sp>
            <p:nvSpPr>
              <p:cNvPr id="901" name="Freihandform: Form 900">
                <a:extLst>
                  <a:ext uri="{FF2B5EF4-FFF2-40B4-BE49-F238E27FC236}">
                    <a16:creationId xmlns:a16="http://schemas.microsoft.com/office/drawing/2014/main" id="{F0E0EA36-B0F4-43ED-90B9-24A8AB54E48C}"/>
                  </a:ext>
                </a:extLst>
              </p:cNvPr>
              <p:cNvSpPr/>
              <p:nvPr/>
            </p:nvSpPr>
            <p:spPr>
              <a:xfrm>
                <a:off x="7197562" y="2808155"/>
                <a:ext cx="133844" cy="90327"/>
              </a:xfrm>
              <a:custGeom>
                <a:avLst/>
                <a:gdLst>
                  <a:gd name="connsiteX0" fmla="*/ 127434 w 133844"/>
                  <a:gd name="connsiteY0" fmla="*/ 90327 h 90327"/>
                  <a:gd name="connsiteX1" fmla="*/ 6408 w 133844"/>
                  <a:gd name="connsiteY1" fmla="*/ 90327 h 90327"/>
                  <a:gd name="connsiteX2" fmla="*/ 6408 w 133844"/>
                  <a:gd name="connsiteY2" fmla="*/ 68731 h 90327"/>
                  <a:gd name="connsiteX3" fmla="*/ 127 w 133844"/>
                  <a:gd name="connsiteY3" fmla="*/ 18394 h 90327"/>
                  <a:gd name="connsiteX4" fmla="*/ 4099 w 133844"/>
                  <a:gd name="connsiteY4" fmla="*/ 5531 h 90327"/>
                  <a:gd name="connsiteX5" fmla="*/ 16354 w 133844"/>
                  <a:gd name="connsiteY5" fmla="*/ 0 h 90327"/>
                  <a:gd name="connsiteX6" fmla="*/ 117499 w 133844"/>
                  <a:gd name="connsiteY6" fmla="*/ 0 h 90327"/>
                  <a:gd name="connsiteX7" fmla="*/ 129746 w 133844"/>
                  <a:gd name="connsiteY7" fmla="*/ 5531 h 90327"/>
                  <a:gd name="connsiteX8" fmla="*/ 133718 w 133844"/>
                  <a:gd name="connsiteY8" fmla="*/ 18394 h 90327"/>
                  <a:gd name="connsiteX9" fmla="*/ 127437 w 133844"/>
                  <a:gd name="connsiteY9" fmla="*/ 68731 h 90327"/>
                  <a:gd name="connsiteX10" fmla="*/ 127437 w 133844"/>
                  <a:gd name="connsiteY10" fmla="*/ 90327 h 90327"/>
                  <a:gd name="connsiteX11" fmla="*/ 19548 w 133844"/>
                  <a:gd name="connsiteY11" fmla="*/ 77187 h 90327"/>
                  <a:gd name="connsiteX12" fmla="*/ 114294 w 133844"/>
                  <a:gd name="connsiteY12" fmla="*/ 77187 h 90327"/>
                  <a:gd name="connsiteX13" fmla="*/ 114346 w 133844"/>
                  <a:gd name="connsiteY13" fmla="*/ 67509 h 90327"/>
                  <a:gd name="connsiteX14" fmla="*/ 120679 w 133844"/>
                  <a:gd name="connsiteY14" fmla="*/ 16764 h 90327"/>
                  <a:gd name="connsiteX15" fmla="*/ 119896 w 133844"/>
                  <a:gd name="connsiteY15" fmla="*/ 14225 h 90327"/>
                  <a:gd name="connsiteX16" fmla="*/ 117496 w 133844"/>
                  <a:gd name="connsiteY16" fmla="*/ 13140 h 90327"/>
                  <a:gd name="connsiteX17" fmla="*/ 16351 w 133844"/>
                  <a:gd name="connsiteY17" fmla="*/ 13140 h 90327"/>
                  <a:gd name="connsiteX18" fmla="*/ 13946 w 133844"/>
                  <a:gd name="connsiteY18" fmla="*/ 14228 h 90327"/>
                  <a:gd name="connsiteX19" fmla="*/ 13163 w 133844"/>
                  <a:gd name="connsiteY19" fmla="*/ 16764 h 90327"/>
                  <a:gd name="connsiteX20" fmla="*/ 19548 w 133844"/>
                  <a:gd name="connsiteY20" fmla="*/ 68325 h 90327"/>
                  <a:gd name="connsiteX21" fmla="*/ 19548 w 133844"/>
                  <a:gd name="connsiteY21" fmla="*/ 77187 h 90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33844" h="90327">
                    <a:moveTo>
                      <a:pt x="127434" y="90327"/>
                    </a:moveTo>
                    <a:lnTo>
                      <a:pt x="6408" y="90327"/>
                    </a:lnTo>
                    <a:lnTo>
                      <a:pt x="6408" y="68731"/>
                    </a:lnTo>
                    <a:lnTo>
                      <a:pt x="127" y="18394"/>
                    </a:lnTo>
                    <a:cubicBezTo>
                      <a:pt x="-457" y="13737"/>
                      <a:pt x="992" y="9048"/>
                      <a:pt x="4099" y="5531"/>
                    </a:cubicBezTo>
                    <a:cubicBezTo>
                      <a:pt x="7197" y="2013"/>
                      <a:pt x="11670" y="0"/>
                      <a:pt x="16354" y="0"/>
                    </a:cubicBezTo>
                    <a:lnTo>
                      <a:pt x="117499" y="0"/>
                    </a:lnTo>
                    <a:cubicBezTo>
                      <a:pt x="122183" y="0"/>
                      <a:pt x="126648" y="2013"/>
                      <a:pt x="129746" y="5531"/>
                    </a:cubicBezTo>
                    <a:cubicBezTo>
                      <a:pt x="132852" y="9048"/>
                      <a:pt x="134301" y="13737"/>
                      <a:pt x="133718" y="18394"/>
                    </a:cubicBezTo>
                    <a:lnTo>
                      <a:pt x="127437" y="68731"/>
                    </a:lnTo>
                    <a:lnTo>
                      <a:pt x="127437" y="90327"/>
                    </a:lnTo>
                    <a:close/>
                    <a:moveTo>
                      <a:pt x="19548" y="77187"/>
                    </a:moveTo>
                    <a:lnTo>
                      <a:pt x="114294" y="77187"/>
                    </a:lnTo>
                    <a:lnTo>
                      <a:pt x="114346" y="67509"/>
                    </a:lnTo>
                    <a:lnTo>
                      <a:pt x="120679" y="16764"/>
                    </a:lnTo>
                    <a:cubicBezTo>
                      <a:pt x="120832" y="15504"/>
                      <a:pt x="120254" y="14630"/>
                      <a:pt x="119896" y="14225"/>
                    </a:cubicBezTo>
                    <a:cubicBezTo>
                      <a:pt x="119537" y="13820"/>
                      <a:pt x="118748" y="13140"/>
                      <a:pt x="117496" y="13140"/>
                    </a:cubicBezTo>
                    <a:lnTo>
                      <a:pt x="16351" y="13140"/>
                    </a:lnTo>
                    <a:cubicBezTo>
                      <a:pt x="15094" y="13140"/>
                      <a:pt x="14305" y="13820"/>
                      <a:pt x="13946" y="14228"/>
                    </a:cubicBezTo>
                    <a:cubicBezTo>
                      <a:pt x="13588" y="14636"/>
                      <a:pt x="13010" y="15504"/>
                      <a:pt x="13163" y="16764"/>
                    </a:cubicBezTo>
                    <a:lnTo>
                      <a:pt x="19548" y="68325"/>
                    </a:lnTo>
                    <a:lnTo>
                      <a:pt x="19548" y="77187"/>
                    </a:lnTo>
                    <a:close/>
                  </a:path>
                </a:pathLst>
              </a:custGeom>
              <a:solidFill>
                <a:schemeClr val="accent1"/>
              </a:solidFill>
              <a:ln w="274" cap="flat">
                <a:noFill/>
                <a:prstDash val="solid"/>
                <a:miter/>
              </a:ln>
            </p:spPr>
            <p:txBody>
              <a:bodyPr rtlCol="0" anchor="ctr"/>
              <a:lstStyle/>
              <a:p>
                <a:endParaRPr lang="en-GB" dirty="0"/>
              </a:p>
            </p:txBody>
          </p:sp>
          <p:sp>
            <p:nvSpPr>
              <p:cNvPr id="902" name="Freihandform: Form 901">
                <a:extLst>
                  <a:ext uri="{FF2B5EF4-FFF2-40B4-BE49-F238E27FC236}">
                    <a16:creationId xmlns:a16="http://schemas.microsoft.com/office/drawing/2014/main" id="{5F4B1CD0-F352-48C7-9B74-4D172075D733}"/>
                  </a:ext>
                </a:extLst>
              </p:cNvPr>
              <p:cNvSpPr/>
              <p:nvPr/>
            </p:nvSpPr>
            <p:spPr>
              <a:xfrm>
                <a:off x="7142698" y="2885797"/>
                <a:ext cx="246037" cy="13137"/>
              </a:xfrm>
              <a:custGeom>
                <a:avLst/>
                <a:gdLst>
                  <a:gd name="connsiteX0" fmla="*/ 239466 w 246037"/>
                  <a:gd name="connsiteY0" fmla="*/ 13137 h 13137"/>
                  <a:gd name="connsiteX1" fmla="*/ 6569 w 246037"/>
                  <a:gd name="connsiteY1" fmla="*/ 13137 h 13137"/>
                  <a:gd name="connsiteX2" fmla="*/ 0 w 246037"/>
                  <a:gd name="connsiteY2" fmla="*/ 6569 h 13137"/>
                  <a:gd name="connsiteX3" fmla="*/ 6569 w 246037"/>
                  <a:gd name="connsiteY3" fmla="*/ 0 h 13137"/>
                  <a:gd name="connsiteX4" fmla="*/ 239466 w 246037"/>
                  <a:gd name="connsiteY4" fmla="*/ 0 h 13137"/>
                  <a:gd name="connsiteX5" fmla="*/ 246038 w 246037"/>
                  <a:gd name="connsiteY5" fmla="*/ 6569 h 13137"/>
                  <a:gd name="connsiteX6" fmla="*/ 239466 w 246037"/>
                  <a:gd name="connsiteY6" fmla="*/ 13137 h 1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6037" h="13137">
                    <a:moveTo>
                      <a:pt x="239466" y="13137"/>
                    </a:moveTo>
                    <a:lnTo>
                      <a:pt x="6569" y="13137"/>
                    </a:lnTo>
                    <a:cubicBezTo>
                      <a:pt x="2937" y="13137"/>
                      <a:pt x="0" y="10196"/>
                      <a:pt x="0" y="6569"/>
                    </a:cubicBezTo>
                    <a:cubicBezTo>
                      <a:pt x="0" y="2942"/>
                      <a:pt x="2939" y="0"/>
                      <a:pt x="6569" y="0"/>
                    </a:cubicBezTo>
                    <a:lnTo>
                      <a:pt x="239466" y="0"/>
                    </a:lnTo>
                    <a:cubicBezTo>
                      <a:pt x="243099" y="0"/>
                      <a:pt x="246038" y="2942"/>
                      <a:pt x="246038" y="6569"/>
                    </a:cubicBezTo>
                    <a:cubicBezTo>
                      <a:pt x="246038" y="10196"/>
                      <a:pt x="243099" y="13137"/>
                      <a:pt x="239466" y="13137"/>
                    </a:cubicBezTo>
                    <a:close/>
                  </a:path>
                </a:pathLst>
              </a:custGeom>
              <a:solidFill>
                <a:schemeClr val="accent1"/>
              </a:solidFill>
              <a:ln w="274" cap="flat">
                <a:noFill/>
                <a:prstDash val="solid"/>
                <a:miter/>
              </a:ln>
            </p:spPr>
            <p:txBody>
              <a:bodyPr rtlCol="0" anchor="ctr"/>
              <a:lstStyle/>
              <a:p>
                <a:endParaRPr lang="en-GB" dirty="0"/>
              </a:p>
            </p:txBody>
          </p:sp>
        </p:grpSp>
      </p:grpSp>
      <p:sp>
        <p:nvSpPr>
          <p:cNvPr id="911" name="TextBox 1419">
            <a:extLst>
              <a:ext uri="{FF2B5EF4-FFF2-40B4-BE49-F238E27FC236}">
                <a16:creationId xmlns:a16="http://schemas.microsoft.com/office/drawing/2014/main" id="{8AF20D12-F224-4D85-BE6A-2F3473F08AFF}"/>
              </a:ext>
            </a:extLst>
          </p:cNvPr>
          <p:cNvSpPr txBox="1"/>
          <p:nvPr/>
        </p:nvSpPr>
        <p:spPr>
          <a:xfrm>
            <a:off x="7106966" y="2899619"/>
            <a:ext cx="394339" cy="215444"/>
          </a:xfrm>
          <a:prstGeom prst="rect">
            <a:avLst/>
          </a:prstGeom>
          <a:noFill/>
          <a:effectLst/>
        </p:spPr>
        <p:txBody>
          <a:bodyPr wrap="none" lIns="0" tIns="0" rIns="0" bIns="0" rtlCol="0" anchor="t">
            <a:spAutoFit/>
          </a:bodyPr>
          <a:lstStyle/>
          <a:p>
            <a:pPr algn="ctr"/>
            <a:r>
              <a:rPr lang="en-GB" sz="700" dirty="0">
                <a:solidFill>
                  <a:schemeClr val="tx2"/>
                </a:solidFill>
              </a:rPr>
              <a:t>Direct</a:t>
            </a:r>
            <a:br>
              <a:rPr lang="en-GB" sz="700" dirty="0">
                <a:solidFill>
                  <a:schemeClr val="tx2"/>
                </a:solidFill>
              </a:rPr>
            </a:br>
            <a:r>
              <a:rPr lang="en-GB" sz="700" dirty="0">
                <a:solidFill>
                  <a:schemeClr val="tx2"/>
                </a:solidFill>
              </a:rPr>
              <a:t>marketing</a:t>
            </a:r>
          </a:p>
        </p:txBody>
      </p:sp>
      <p:grpSp>
        <p:nvGrpSpPr>
          <p:cNvPr id="56" name="Group 55">
            <a:extLst>
              <a:ext uri="{FF2B5EF4-FFF2-40B4-BE49-F238E27FC236}">
                <a16:creationId xmlns:a16="http://schemas.microsoft.com/office/drawing/2014/main" id="{C2D1FC3E-89F4-D51C-3C0C-950CE8834F12}"/>
              </a:ext>
            </a:extLst>
          </p:cNvPr>
          <p:cNvGrpSpPr/>
          <p:nvPr/>
        </p:nvGrpSpPr>
        <p:grpSpPr>
          <a:xfrm>
            <a:off x="7017591" y="4097454"/>
            <a:ext cx="573090" cy="432000"/>
            <a:chOff x="7017179" y="4097454"/>
            <a:chExt cx="573090" cy="432000"/>
          </a:xfrm>
        </p:grpSpPr>
        <p:grpSp>
          <p:nvGrpSpPr>
            <p:cNvPr id="913" name="Gruppieren 912">
              <a:extLst>
                <a:ext uri="{FF2B5EF4-FFF2-40B4-BE49-F238E27FC236}">
                  <a16:creationId xmlns:a16="http://schemas.microsoft.com/office/drawing/2014/main" id="{0FCB5107-12FC-47D7-8FCA-BCA37F620B2F}"/>
                </a:ext>
              </a:extLst>
            </p:cNvPr>
            <p:cNvGrpSpPr/>
            <p:nvPr/>
          </p:nvGrpSpPr>
          <p:grpSpPr>
            <a:xfrm>
              <a:off x="7017179" y="4189150"/>
              <a:ext cx="383302" cy="340304"/>
              <a:chOff x="6954371" y="4229582"/>
              <a:chExt cx="284405" cy="252501"/>
            </a:xfrm>
            <a:solidFill>
              <a:schemeClr val="tx2"/>
            </a:solidFill>
          </p:grpSpPr>
          <p:sp>
            <p:nvSpPr>
              <p:cNvPr id="922" name="Freihandform: Form 921">
                <a:extLst>
                  <a:ext uri="{FF2B5EF4-FFF2-40B4-BE49-F238E27FC236}">
                    <a16:creationId xmlns:a16="http://schemas.microsoft.com/office/drawing/2014/main" id="{E4FBE769-CB0E-46B3-BB5D-968583123001}"/>
                  </a:ext>
                </a:extLst>
              </p:cNvPr>
              <p:cNvSpPr/>
              <p:nvPr/>
            </p:nvSpPr>
            <p:spPr>
              <a:xfrm>
                <a:off x="6954371" y="4379991"/>
                <a:ext cx="33155" cy="59086"/>
              </a:xfrm>
              <a:custGeom>
                <a:avLst/>
                <a:gdLst>
                  <a:gd name="connsiteX0" fmla="*/ 26593 w 33155"/>
                  <a:gd name="connsiteY0" fmla="*/ 59086 h 59086"/>
                  <a:gd name="connsiteX1" fmla="*/ 20561 w 33155"/>
                  <a:gd name="connsiteY1" fmla="*/ 55142 h 59086"/>
                  <a:gd name="connsiteX2" fmla="*/ 548 w 33155"/>
                  <a:gd name="connsiteY2" fmla="*/ 9177 h 59086"/>
                  <a:gd name="connsiteX3" fmla="*/ 3947 w 33155"/>
                  <a:gd name="connsiteY3" fmla="*/ 548 h 59086"/>
                  <a:gd name="connsiteX4" fmla="*/ 12595 w 33155"/>
                  <a:gd name="connsiteY4" fmla="*/ 3945 h 59086"/>
                  <a:gd name="connsiteX5" fmla="*/ 32608 w 33155"/>
                  <a:gd name="connsiteY5" fmla="*/ 49882 h 59086"/>
                  <a:gd name="connsiteX6" fmla="*/ 29209 w 33155"/>
                  <a:gd name="connsiteY6" fmla="*/ 58538 h 59086"/>
                  <a:gd name="connsiteX7" fmla="*/ 26593 w 33155"/>
                  <a:gd name="connsiteY7" fmla="*/ 59086 h 5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55" h="59086">
                    <a:moveTo>
                      <a:pt x="26593" y="59086"/>
                    </a:moveTo>
                    <a:cubicBezTo>
                      <a:pt x="24051" y="59086"/>
                      <a:pt x="21640" y="57607"/>
                      <a:pt x="20561" y="55142"/>
                    </a:cubicBezTo>
                    <a:lnTo>
                      <a:pt x="548" y="9177"/>
                    </a:lnTo>
                    <a:cubicBezTo>
                      <a:pt x="-901" y="5862"/>
                      <a:pt x="624" y="2000"/>
                      <a:pt x="3947" y="548"/>
                    </a:cubicBezTo>
                    <a:cubicBezTo>
                      <a:pt x="7284" y="-904"/>
                      <a:pt x="11146" y="630"/>
                      <a:pt x="12595" y="3945"/>
                    </a:cubicBezTo>
                    <a:lnTo>
                      <a:pt x="32608" y="49882"/>
                    </a:lnTo>
                    <a:cubicBezTo>
                      <a:pt x="34057" y="53224"/>
                      <a:pt x="32531" y="57087"/>
                      <a:pt x="29209" y="58538"/>
                    </a:cubicBezTo>
                    <a:cubicBezTo>
                      <a:pt x="28357" y="58894"/>
                      <a:pt x="27467" y="59086"/>
                      <a:pt x="26593" y="59086"/>
                    </a:cubicBezTo>
                    <a:close/>
                  </a:path>
                </a:pathLst>
              </a:custGeom>
              <a:grpFill/>
              <a:ln w="274" cap="flat">
                <a:noFill/>
                <a:prstDash val="solid"/>
                <a:miter/>
              </a:ln>
            </p:spPr>
            <p:txBody>
              <a:bodyPr rtlCol="0" anchor="ctr"/>
              <a:lstStyle/>
              <a:p>
                <a:endParaRPr lang="en-GB" dirty="0"/>
              </a:p>
            </p:txBody>
          </p:sp>
          <p:sp>
            <p:nvSpPr>
              <p:cNvPr id="923" name="Freihandform: Form 922">
                <a:extLst>
                  <a:ext uri="{FF2B5EF4-FFF2-40B4-BE49-F238E27FC236}">
                    <a16:creationId xmlns:a16="http://schemas.microsoft.com/office/drawing/2014/main" id="{924BE0C8-17BD-4B97-9B94-1AD393F05EA2}"/>
                  </a:ext>
                </a:extLst>
              </p:cNvPr>
              <p:cNvSpPr/>
              <p:nvPr/>
            </p:nvSpPr>
            <p:spPr>
              <a:xfrm>
                <a:off x="6982548" y="4339198"/>
                <a:ext cx="86797" cy="95523"/>
              </a:xfrm>
              <a:custGeom>
                <a:avLst/>
                <a:gdLst>
                  <a:gd name="connsiteX0" fmla="*/ 40518 w 86797"/>
                  <a:gd name="connsiteY0" fmla="*/ 95524 h 95523"/>
                  <a:gd name="connsiteX1" fmla="*/ 30996 w 86797"/>
                  <a:gd name="connsiteY1" fmla="*/ 93716 h 95523"/>
                  <a:gd name="connsiteX2" fmla="*/ 16670 w 86797"/>
                  <a:gd name="connsiteY2" fmla="*/ 79910 h 95523"/>
                  <a:gd name="connsiteX3" fmla="*/ 2176 w 86797"/>
                  <a:gd name="connsiteY3" fmla="*/ 46628 h 95523"/>
                  <a:gd name="connsiteX4" fmla="*/ 1818 w 86797"/>
                  <a:gd name="connsiteY4" fmla="*/ 26735 h 95523"/>
                  <a:gd name="connsiteX5" fmla="*/ 15645 w 86797"/>
                  <a:gd name="connsiteY5" fmla="*/ 12414 h 95523"/>
                  <a:gd name="connsiteX6" fmla="*/ 42901 w 86797"/>
                  <a:gd name="connsiteY6" fmla="*/ 551 h 95523"/>
                  <a:gd name="connsiteX7" fmla="*/ 51549 w 86797"/>
                  <a:gd name="connsiteY7" fmla="*/ 3950 h 95523"/>
                  <a:gd name="connsiteX8" fmla="*/ 48149 w 86797"/>
                  <a:gd name="connsiteY8" fmla="*/ 12598 h 95523"/>
                  <a:gd name="connsiteX9" fmla="*/ 20888 w 86797"/>
                  <a:gd name="connsiteY9" fmla="*/ 24462 h 95523"/>
                  <a:gd name="connsiteX10" fmla="*/ 14048 w 86797"/>
                  <a:gd name="connsiteY10" fmla="*/ 31534 h 95523"/>
                  <a:gd name="connsiteX11" fmla="*/ 14229 w 86797"/>
                  <a:gd name="connsiteY11" fmla="*/ 41396 h 95523"/>
                  <a:gd name="connsiteX12" fmla="*/ 28723 w 86797"/>
                  <a:gd name="connsiteY12" fmla="*/ 74650 h 95523"/>
                  <a:gd name="connsiteX13" fmla="*/ 35806 w 86797"/>
                  <a:gd name="connsiteY13" fmla="*/ 81498 h 95523"/>
                  <a:gd name="connsiteX14" fmla="*/ 45649 w 86797"/>
                  <a:gd name="connsiteY14" fmla="*/ 81307 h 95523"/>
                  <a:gd name="connsiteX15" fmla="*/ 77602 w 86797"/>
                  <a:gd name="connsiteY15" fmla="*/ 67391 h 95523"/>
                  <a:gd name="connsiteX16" fmla="*/ 86250 w 86797"/>
                  <a:gd name="connsiteY16" fmla="*/ 70788 h 95523"/>
                  <a:gd name="connsiteX17" fmla="*/ 82850 w 86797"/>
                  <a:gd name="connsiteY17" fmla="*/ 79444 h 95523"/>
                  <a:gd name="connsiteX18" fmla="*/ 50897 w 86797"/>
                  <a:gd name="connsiteY18" fmla="*/ 93360 h 95523"/>
                  <a:gd name="connsiteX19" fmla="*/ 40518 w 86797"/>
                  <a:gd name="connsiteY19" fmla="*/ 95524 h 9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797" h="95523">
                    <a:moveTo>
                      <a:pt x="40518" y="95524"/>
                    </a:moveTo>
                    <a:cubicBezTo>
                      <a:pt x="37305" y="95524"/>
                      <a:pt x="34083" y="94948"/>
                      <a:pt x="30996" y="93716"/>
                    </a:cubicBezTo>
                    <a:cubicBezTo>
                      <a:pt x="24534" y="91168"/>
                      <a:pt x="19447" y="86265"/>
                      <a:pt x="16670" y="79910"/>
                    </a:cubicBezTo>
                    <a:lnTo>
                      <a:pt x="2176" y="46628"/>
                    </a:lnTo>
                    <a:cubicBezTo>
                      <a:pt x="-596" y="40273"/>
                      <a:pt x="-724" y="33205"/>
                      <a:pt x="1818" y="26735"/>
                    </a:cubicBezTo>
                    <a:cubicBezTo>
                      <a:pt x="4365" y="20268"/>
                      <a:pt x="9274" y="15186"/>
                      <a:pt x="15645" y="12414"/>
                    </a:cubicBezTo>
                    <a:lnTo>
                      <a:pt x="42901" y="551"/>
                    </a:lnTo>
                    <a:cubicBezTo>
                      <a:pt x="46237" y="-907"/>
                      <a:pt x="50105" y="633"/>
                      <a:pt x="51549" y="3950"/>
                    </a:cubicBezTo>
                    <a:cubicBezTo>
                      <a:pt x="52998" y="7281"/>
                      <a:pt x="51472" y="11149"/>
                      <a:pt x="48149" y="12598"/>
                    </a:cubicBezTo>
                    <a:lnTo>
                      <a:pt x="20888" y="24462"/>
                    </a:lnTo>
                    <a:cubicBezTo>
                      <a:pt x="17733" y="25834"/>
                      <a:pt x="15306" y="28329"/>
                      <a:pt x="14048" y="31534"/>
                    </a:cubicBezTo>
                    <a:cubicBezTo>
                      <a:pt x="12791" y="34739"/>
                      <a:pt x="12854" y="38246"/>
                      <a:pt x="14229" y="41396"/>
                    </a:cubicBezTo>
                    <a:lnTo>
                      <a:pt x="28723" y="74650"/>
                    </a:lnTo>
                    <a:cubicBezTo>
                      <a:pt x="30095" y="77800"/>
                      <a:pt x="32610" y="80238"/>
                      <a:pt x="35806" y="81498"/>
                    </a:cubicBezTo>
                    <a:cubicBezTo>
                      <a:pt x="39009" y="82731"/>
                      <a:pt x="42493" y="82677"/>
                      <a:pt x="45649" y="81307"/>
                    </a:cubicBezTo>
                    <a:lnTo>
                      <a:pt x="77602" y="67391"/>
                    </a:lnTo>
                    <a:cubicBezTo>
                      <a:pt x="80938" y="65939"/>
                      <a:pt x="84801" y="67474"/>
                      <a:pt x="86250" y="70788"/>
                    </a:cubicBezTo>
                    <a:cubicBezTo>
                      <a:pt x="87699" y="74130"/>
                      <a:pt x="86173" y="77992"/>
                      <a:pt x="82850" y="79444"/>
                    </a:cubicBezTo>
                    <a:lnTo>
                      <a:pt x="50897" y="93360"/>
                    </a:lnTo>
                    <a:cubicBezTo>
                      <a:pt x="47563" y="94811"/>
                      <a:pt x="44041" y="95524"/>
                      <a:pt x="40518" y="95524"/>
                    </a:cubicBezTo>
                    <a:close/>
                  </a:path>
                </a:pathLst>
              </a:custGeom>
              <a:grpFill/>
              <a:ln w="274" cap="flat">
                <a:noFill/>
                <a:prstDash val="solid"/>
                <a:miter/>
              </a:ln>
            </p:spPr>
            <p:txBody>
              <a:bodyPr rtlCol="0" anchor="ctr"/>
              <a:lstStyle/>
              <a:p>
                <a:endParaRPr lang="en-GB" dirty="0"/>
              </a:p>
            </p:txBody>
          </p:sp>
          <p:sp>
            <p:nvSpPr>
              <p:cNvPr id="924" name="Freihandform: Form 923">
                <a:extLst>
                  <a:ext uri="{FF2B5EF4-FFF2-40B4-BE49-F238E27FC236}">
                    <a16:creationId xmlns:a16="http://schemas.microsoft.com/office/drawing/2014/main" id="{7FF6045B-AE4F-497F-8A3D-46BB640AA35F}"/>
                  </a:ext>
                </a:extLst>
              </p:cNvPr>
              <p:cNvSpPr/>
              <p:nvPr/>
            </p:nvSpPr>
            <p:spPr>
              <a:xfrm>
                <a:off x="7015380" y="4414450"/>
                <a:ext cx="63950" cy="67633"/>
              </a:xfrm>
              <a:custGeom>
                <a:avLst/>
                <a:gdLst>
                  <a:gd name="connsiteX0" fmla="*/ 36500 w 63950"/>
                  <a:gd name="connsiteY0" fmla="*/ 67633 h 67633"/>
                  <a:gd name="connsiteX1" fmla="*/ 31060 w 63950"/>
                  <a:gd name="connsiteY1" fmla="*/ 64757 h 67633"/>
                  <a:gd name="connsiteX2" fmla="*/ 1137 w 63950"/>
                  <a:gd name="connsiteY2" fmla="*/ 20764 h 67633"/>
                  <a:gd name="connsiteX3" fmla="*/ 2876 w 63950"/>
                  <a:gd name="connsiteY3" fmla="*/ 11615 h 67633"/>
                  <a:gd name="connsiteX4" fmla="*/ 12006 w 63950"/>
                  <a:gd name="connsiteY4" fmla="*/ 13368 h 67633"/>
                  <a:gd name="connsiteX5" fmla="*/ 38281 w 63950"/>
                  <a:gd name="connsiteY5" fmla="*/ 52020 h 67633"/>
                  <a:gd name="connsiteX6" fmla="*/ 48186 w 63950"/>
                  <a:gd name="connsiteY6" fmla="*/ 45445 h 67633"/>
                  <a:gd name="connsiteX7" fmla="*/ 24067 w 63950"/>
                  <a:gd name="connsiteY7" fmla="*/ 10301 h 67633"/>
                  <a:gd name="connsiteX8" fmla="*/ 25768 w 63950"/>
                  <a:gd name="connsiteY8" fmla="*/ 1151 h 67633"/>
                  <a:gd name="connsiteX9" fmla="*/ 34898 w 63950"/>
                  <a:gd name="connsiteY9" fmla="*/ 2877 h 67633"/>
                  <a:gd name="connsiteX10" fmla="*/ 62795 w 63950"/>
                  <a:gd name="connsiteY10" fmla="*/ 43528 h 67633"/>
                  <a:gd name="connsiteX11" fmla="*/ 63827 w 63950"/>
                  <a:gd name="connsiteY11" fmla="*/ 48486 h 67633"/>
                  <a:gd name="connsiteX12" fmla="*/ 61011 w 63950"/>
                  <a:gd name="connsiteY12" fmla="*/ 52704 h 67633"/>
                  <a:gd name="connsiteX13" fmla="*/ 40127 w 63950"/>
                  <a:gd name="connsiteY13" fmla="*/ 66565 h 67633"/>
                  <a:gd name="connsiteX14" fmla="*/ 36500 w 63950"/>
                  <a:gd name="connsiteY14" fmla="*/ 67633 h 6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950" h="67633">
                    <a:moveTo>
                      <a:pt x="36500" y="67633"/>
                    </a:moveTo>
                    <a:cubicBezTo>
                      <a:pt x="34397" y="67633"/>
                      <a:pt x="32331" y="66620"/>
                      <a:pt x="31060" y="64757"/>
                    </a:cubicBezTo>
                    <a:lnTo>
                      <a:pt x="1137" y="20764"/>
                    </a:lnTo>
                    <a:cubicBezTo>
                      <a:pt x="-904" y="17751"/>
                      <a:pt x="-121" y="13670"/>
                      <a:pt x="2876" y="11615"/>
                    </a:cubicBezTo>
                    <a:cubicBezTo>
                      <a:pt x="5892" y="9588"/>
                      <a:pt x="9965" y="10355"/>
                      <a:pt x="12006" y="13368"/>
                    </a:cubicBezTo>
                    <a:lnTo>
                      <a:pt x="38281" y="52020"/>
                    </a:lnTo>
                    <a:lnTo>
                      <a:pt x="48186" y="45445"/>
                    </a:lnTo>
                    <a:lnTo>
                      <a:pt x="24067" y="10301"/>
                    </a:lnTo>
                    <a:cubicBezTo>
                      <a:pt x="22013" y="7315"/>
                      <a:pt x="22771" y="3206"/>
                      <a:pt x="25768" y="1151"/>
                    </a:cubicBezTo>
                    <a:cubicBezTo>
                      <a:pt x="28765" y="-903"/>
                      <a:pt x="32846" y="-136"/>
                      <a:pt x="34898" y="2877"/>
                    </a:cubicBezTo>
                    <a:lnTo>
                      <a:pt x="62795" y="43528"/>
                    </a:lnTo>
                    <a:cubicBezTo>
                      <a:pt x="63795" y="44980"/>
                      <a:pt x="64167" y="46760"/>
                      <a:pt x="63827" y="48486"/>
                    </a:cubicBezTo>
                    <a:cubicBezTo>
                      <a:pt x="63493" y="50212"/>
                      <a:pt x="62480" y="51746"/>
                      <a:pt x="61011" y="52704"/>
                    </a:cubicBezTo>
                    <a:lnTo>
                      <a:pt x="40127" y="66565"/>
                    </a:lnTo>
                    <a:cubicBezTo>
                      <a:pt x="39010" y="67277"/>
                      <a:pt x="37747" y="67633"/>
                      <a:pt x="36500" y="67633"/>
                    </a:cubicBezTo>
                    <a:close/>
                  </a:path>
                </a:pathLst>
              </a:custGeom>
              <a:grpFill/>
              <a:ln w="274" cap="flat">
                <a:noFill/>
                <a:prstDash val="solid"/>
                <a:miter/>
              </a:ln>
            </p:spPr>
            <p:txBody>
              <a:bodyPr rtlCol="0" anchor="ctr"/>
              <a:lstStyle/>
              <a:p>
                <a:endParaRPr lang="en-GB" dirty="0"/>
              </a:p>
            </p:txBody>
          </p:sp>
          <p:grpSp>
            <p:nvGrpSpPr>
              <p:cNvPr id="925" name="Grafik 349">
                <a:extLst>
                  <a:ext uri="{FF2B5EF4-FFF2-40B4-BE49-F238E27FC236}">
                    <a16:creationId xmlns:a16="http://schemas.microsoft.com/office/drawing/2014/main" id="{F0DE6503-2661-40D0-832F-A0D6DD8409DE}"/>
                  </a:ext>
                </a:extLst>
              </p:cNvPr>
              <p:cNvGrpSpPr/>
              <p:nvPr/>
            </p:nvGrpSpPr>
            <p:grpSpPr>
              <a:xfrm>
                <a:off x="7017273" y="4229582"/>
                <a:ext cx="221503" cy="189252"/>
                <a:chOff x="7017273" y="4229582"/>
                <a:chExt cx="221503" cy="189252"/>
              </a:xfrm>
              <a:grpFill/>
            </p:grpSpPr>
            <p:sp>
              <p:nvSpPr>
                <p:cNvPr id="926" name="Freihandform: Form 925">
                  <a:extLst>
                    <a:ext uri="{FF2B5EF4-FFF2-40B4-BE49-F238E27FC236}">
                      <a16:creationId xmlns:a16="http://schemas.microsoft.com/office/drawing/2014/main" id="{CAF24D9A-4AA8-4ADE-A435-928D536CB62D}"/>
                    </a:ext>
                  </a:extLst>
                </p:cNvPr>
                <p:cNvSpPr/>
                <p:nvPr/>
              </p:nvSpPr>
              <p:spPr>
                <a:xfrm>
                  <a:off x="7140144" y="4229582"/>
                  <a:ext cx="98632" cy="177035"/>
                </a:xfrm>
                <a:custGeom>
                  <a:avLst/>
                  <a:gdLst>
                    <a:gd name="connsiteX0" fmla="*/ 79193 w 98632"/>
                    <a:gd name="connsiteY0" fmla="*/ 177035 h 177035"/>
                    <a:gd name="connsiteX1" fmla="*/ 49557 w 98632"/>
                    <a:gd name="connsiteY1" fmla="*/ 157943 h 177035"/>
                    <a:gd name="connsiteX2" fmla="*/ 16952 w 98632"/>
                    <a:gd name="connsiteY2" fmla="*/ 101963 h 177035"/>
                    <a:gd name="connsiteX3" fmla="*/ 346 w 98632"/>
                    <a:gd name="connsiteY3" fmla="*/ 39354 h 177035"/>
                    <a:gd name="connsiteX4" fmla="*/ 13109 w 98632"/>
                    <a:gd name="connsiteY4" fmla="*/ 1257 h 177035"/>
                    <a:gd name="connsiteX5" fmla="*/ 81711 w 98632"/>
                    <a:gd name="connsiteY5" fmla="*/ 75088 h 177035"/>
                    <a:gd name="connsiteX6" fmla="*/ 85554 w 98632"/>
                    <a:gd name="connsiteY6" fmla="*/ 175803 h 177035"/>
                    <a:gd name="connsiteX7" fmla="*/ 79193 w 98632"/>
                    <a:gd name="connsiteY7" fmla="*/ 177035 h 177035"/>
                    <a:gd name="connsiteX8" fmla="*/ 19554 w 98632"/>
                    <a:gd name="connsiteY8" fmla="*/ 13137 h 177035"/>
                    <a:gd name="connsiteX9" fmla="*/ 18149 w 98632"/>
                    <a:gd name="connsiteY9" fmla="*/ 13394 h 177035"/>
                    <a:gd name="connsiteX10" fmla="*/ 13440 w 98632"/>
                    <a:gd name="connsiteY10" fmla="*/ 38303 h 177035"/>
                    <a:gd name="connsiteX11" fmla="*/ 29089 w 98632"/>
                    <a:gd name="connsiteY11" fmla="*/ 96925 h 177035"/>
                    <a:gd name="connsiteX12" fmla="*/ 29089 w 98632"/>
                    <a:gd name="connsiteY12" fmla="*/ 96931 h 177035"/>
                    <a:gd name="connsiteX13" fmla="*/ 59547 w 98632"/>
                    <a:gd name="connsiteY13" fmla="*/ 149396 h 177035"/>
                    <a:gd name="connsiteX14" fmla="*/ 80508 w 98632"/>
                    <a:gd name="connsiteY14" fmla="*/ 163640 h 177035"/>
                    <a:gd name="connsiteX15" fmla="*/ 69568 w 98632"/>
                    <a:gd name="connsiteY15" fmla="*/ 80126 h 177035"/>
                    <a:gd name="connsiteX16" fmla="*/ 19554 w 98632"/>
                    <a:gd name="connsiteY16" fmla="*/ 13137 h 177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8632" h="177035">
                      <a:moveTo>
                        <a:pt x="79193" y="177035"/>
                      </a:moveTo>
                      <a:cubicBezTo>
                        <a:pt x="72110" y="177035"/>
                        <a:pt x="62262" y="172817"/>
                        <a:pt x="49557" y="157943"/>
                      </a:cubicBezTo>
                      <a:cubicBezTo>
                        <a:pt x="37784" y="144164"/>
                        <a:pt x="26208" y="124272"/>
                        <a:pt x="16952" y="101963"/>
                      </a:cubicBezTo>
                      <a:cubicBezTo>
                        <a:pt x="7693" y="79654"/>
                        <a:pt x="1798" y="57423"/>
                        <a:pt x="346" y="39354"/>
                      </a:cubicBezTo>
                      <a:cubicBezTo>
                        <a:pt x="-1757" y="13118"/>
                        <a:pt x="6126" y="4155"/>
                        <a:pt x="13109" y="1257"/>
                      </a:cubicBezTo>
                      <a:cubicBezTo>
                        <a:pt x="34467" y="-7597"/>
                        <a:pt x="63714" y="31734"/>
                        <a:pt x="81711" y="75088"/>
                      </a:cubicBezTo>
                      <a:cubicBezTo>
                        <a:pt x="99708" y="118456"/>
                        <a:pt x="106811" y="166982"/>
                        <a:pt x="85554" y="175803"/>
                      </a:cubicBezTo>
                      <a:cubicBezTo>
                        <a:pt x="83754" y="176542"/>
                        <a:pt x="81637" y="177035"/>
                        <a:pt x="79193" y="177035"/>
                      </a:cubicBezTo>
                      <a:close/>
                      <a:moveTo>
                        <a:pt x="19554" y="13137"/>
                      </a:moveTo>
                      <a:cubicBezTo>
                        <a:pt x="19028" y="13137"/>
                        <a:pt x="18554" y="13219"/>
                        <a:pt x="18149" y="13394"/>
                      </a:cubicBezTo>
                      <a:cubicBezTo>
                        <a:pt x="15023" y="14690"/>
                        <a:pt x="12221" y="23036"/>
                        <a:pt x="13440" y="38303"/>
                      </a:cubicBezTo>
                      <a:cubicBezTo>
                        <a:pt x="14788" y="55037"/>
                        <a:pt x="20343" y="75855"/>
                        <a:pt x="29089" y="96925"/>
                      </a:cubicBezTo>
                      <a:cubicBezTo>
                        <a:pt x="29089" y="96931"/>
                        <a:pt x="29089" y="96931"/>
                        <a:pt x="29089" y="96931"/>
                      </a:cubicBezTo>
                      <a:cubicBezTo>
                        <a:pt x="37828" y="117996"/>
                        <a:pt x="48645" y="136631"/>
                        <a:pt x="59547" y="149396"/>
                      </a:cubicBezTo>
                      <a:cubicBezTo>
                        <a:pt x="69494" y="161038"/>
                        <a:pt x="77424" y="164955"/>
                        <a:pt x="80508" y="163640"/>
                      </a:cubicBezTo>
                      <a:cubicBezTo>
                        <a:pt x="87381" y="160791"/>
                        <a:pt x="89748" y="128734"/>
                        <a:pt x="69568" y="80126"/>
                      </a:cubicBezTo>
                      <a:cubicBezTo>
                        <a:pt x="50595" y="34407"/>
                        <a:pt x="27901" y="13137"/>
                        <a:pt x="19554" y="13137"/>
                      </a:cubicBezTo>
                      <a:close/>
                    </a:path>
                  </a:pathLst>
                </a:custGeom>
                <a:grpFill/>
                <a:ln w="274" cap="flat">
                  <a:noFill/>
                  <a:prstDash val="solid"/>
                  <a:miter/>
                </a:ln>
              </p:spPr>
              <p:txBody>
                <a:bodyPr rtlCol="0" anchor="ctr"/>
                <a:lstStyle/>
                <a:p>
                  <a:endParaRPr lang="en-GB" dirty="0"/>
                </a:p>
              </p:txBody>
            </p:sp>
            <p:sp>
              <p:nvSpPr>
                <p:cNvPr id="927" name="Freihandform: Form 926">
                  <a:extLst>
                    <a:ext uri="{FF2B5EF4-FFF2-40B4-BE49-F238E27FC236}">
                      <a16:creationId xmlns:a16="http://schemas.microsoft.com/office/drawing/2014/main" id="{BF0E672D-5CE8-4AA0-B87C-A50EA2C3CE0F}"/>
                    </a:ext>
                  </a:extLst>
                </p:cNvPr>
                <p:cNvSpPr/>
                <p:nvPr/>
              </p:nvSpPr>
              <p:spPr>
                <a:xfrm>
                  <a:off x="7093797" y="4271795"/>
                  <a:ext cx="71242" cy="140163"/>
                </a:xfrm>
                <a:custGeom>
                  <a:avLst/>
                  <a:gdLst>
                    <a:gd name="connsiteX0" fmla="*/ 61905 w 71242"/>
                    <a:gd name="connsiteY0" fmla="*/ 140163 h 140163"/>
                    <a:gd name="connsiteX1" fmla="*/ 38076 w 71242"/>
                    <a:gd name="connsiteY1" fmla="*/ 123782 h 140163"/>
                    <a:gd name="connsiteX2" fmla="*/ 13368 w 71242"/>
                    <a:gd name="connsiteY2" fmla="*/ 79825 h 140163"/>
                    <a:gd name="connsiteX3" fmla="*/ 342 w 71242"/>
                    <a:gd name="connsiteY3" fmla="*/ 31455 h 140163"/>
                    <a:gd name="connsiteX4" fmla="*/ 10724 w 71242"/>
                    <a:gd name="connsiteY4" fmla="*/ 499 h 140163"/>
                    <a:gd name="connsiteX5" fmla="*/ 19309 w 71242"/>
                    <a:gd name="connsiteY5" fmla="*/ 4055 h 140163"/>
                    <a:gd name="connsiteX6" fmla="*/ 15753 w 71242"/>
                    <a:gd name="connsiteY6" fmla="*/ 12639 h 140163"/>
                    <a:gd name="connsiteX7" fmla="*/ 13431 w 71242"/>
                    <a:gd name="connsiteY7" fmla="*/ 30277 h 140163"/>
                    <a:gd name="connsiteX8" fmla="*/ 25505 w 71242"/>
                    <a:gd name="connsiteY8" fmla="*/ 74799 h 140163"/>
                    <a:gd name="connsiteX9" fmla="*/ 48359 w 71242"/>
                    <a:gd name="connsiteY9" fmla="*/ 115592 h 140163"/>
                    <a:gd name="connsiteX10" fmla="*/ 62148 w 71242"/>
                    <a:gd name="connsiteY10" fmla="*/ 126987 h 140163"/>
                    <a:gd name="connsiteX11" fmla="*/ 70739 w 71242"/>
                    <a:gd name="connsiteY11" fmla="*/ 130521 h 140163"/>
                    <a:gd name="connsiteX12" fmla="*/ 67191 w 71242"/>
                    <a:gd name="connsiteY12" fmla="*/ 139122 h 140163"/>
                    <a:gd name="connsiteX13" fmla="*/ 61905 w 71242"/>
                    <a:gd name="connsiteY13" fmla="*/ 140163 h 140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242" h="140163">
                      <a:moveTo>
                        <a:pt x="61905" y="140163"/>
                      </a:moveTo>
                      <a:cubicBezTo>
                        <a:pt x="54750" y="140163"/>
                        <a:pt x="46762" y="134685"/>
                        <a:pt x="38076" y="123782"/>
                      </a:cubicBezTo>
                      <a:cubicBezTo>
                        <a:pt x="29370" y="112853"/>
                        <a:pt x="20591" y="97239"/>
                        <a:pt x="13368" y="79825"/>
                      </a:cubicBezTo>
                      <a:cubicBezTo>
                        <a:pt x="6232" y="62636"/>
                        <a:pt x="1608" y="45461"/>
                        <a:pt x="342" y="31455"/>
                      </a:cubicBezTo>
                      <a:cubicBezTo>
                        <a:pt x="-1575" y="10223"/>
                        <a:pt x="4931" y="2904"/>
                        <a:pt x="10724" y="499"/>
                      </a:cubicBezTo>
                      <a:cubicBezTo>
                        <a:pt x="14066" y="-882"/>
                        <a:pt x="17917" y="699"/>
                        <a:pt x="19309" y="4055"/>
                      </a:cubicBezTo>
                      <a:cubicBezTo>
                        <a:pt x="20701" y="7405"/>
                        <a:pt x="19109" y="11248"/>
                        <a:pt x="15753" y="12639"/>
                      </a:cubicBezTo>
                      <a:cubicBezTo>
                        <a:pt x="15003" y="12946"/>
                        <a:pt x="12236" y="17066"/>
                        <a:pt x="13431" y="30277"/>
                      </a:cubicBezTo>
                      <a:cubicBezTo>
                        <a:pt x="14559" y="42807"/>
                        <a:pt x="18961" y="59034"/>
                        <a:pt x="25505" y="74799"/>
                      </a:cubicBezTo>
                      <a:cubicBezTo>
                        <a:pt x="32173" y="90865"/>
                        <a:pt x="40500" y="105731"/>
                        <a:pt x="48359" y="115592"/>
                      </a:cubicBezTo>
                      <a:cubicBezTo>
                        <a:pt x="56777" y="126193"/>
                        <a:pt x="61537" y="127261"/>
                        <a:pt x="62148" y="126987"/>
                      </a:cubicBezTo>
                      <a:cubicBezTo>
                        <a:pt x="65509" y="125617"/>
                        <a:pt x="69347" y="127179"/>
                        <a:pt x="70739" y="130521"/>
                      </a:cubicBezTo>
                      <a:cubicBezTo>
                        <a:pt x="72130" y="133890"/>
                        <a:pt x="70539" y="137725"/>
                        <a:pt x="67191" y="139122"/>
                      </a:cubicBezTo>
                      <a:cubicBezTo>
                        <a:pt x="65485" y="139834"/>
                        <a:pt x="63721" y="140163"/>
                        <a:pt x="61905" y="140163"/>
                      </a:cubicBezTo>
                      <a:close/>
                    </a:path>
                  </a:pathLst>
                </a:custGeom>
                <a:grpFill/>
                <a:ln w="274" cap="flat">
                  <a:noFill/>
                  <a:prstDash val="solid"/>
                  <a:miter/>
                </a:ln>
              </p:spPr>
              <p:txBody>
                <a:bodyPr rtlCol="0" anchor="ctr"/>
                <a:lstStyle/>
                <a:p>
                  <a:endParaRPr lang="en-GB" dirty="0"/>
                </a:p>
              </p:txBody>
            </p:sp>
            <p:sp>
              <p:nvSpPr>
                <p:cNvPr id="928" name="Freihandform: Form 927">
                  <a:extLst>
                    <a:ext uri="{FF2B5EF4-FFF2-40B4-BE49-F238E27FC236}">
                      <a16:creationId xmlns:a16="http://schemas.microsoft.com/office/drawing/2014/main" id="{AAB61A36-FD9F-42C1-B6DE-847CEEC66186}"/>
                    </a:ext>
                  </a:extLst>
                </p:cNvPr>
                <p:cNvSpPr/>
                <p:nvPr/>
              </p:nvSpPr>
              <p:spPr>
                <a:xfrm>
                  <a:off x="7054677" y="4306794"/>
                  <a:ext cx="58917" cy="108889"/>
                </a:xfrm>
                <a:custGeom>
                  <a:avLst/>
                  <a:gdLst>
                    <a:gd name="connsiteX0" fmla="*/ 50027 w 58917"/>
                    <a:gd name="connsiteY0" fmla="*/ 108889 h 108889"/>
                    <a:gd name="connsiteX1" fmla="*/ 10396 w 58917"/>
                    <a:gd name="connsiteY1" fmla="*/ 63363 h 108889"/>
                    <a:gd name="connsiteX2" fmla="*/ 290 w 58917"/>
                    <a:gd name="connsiteY2" fmla="*/ 25892 h 108889"/>
                    <a:gd name="connsiteX3" fmla="*/ 9067 w 58917"/>
                    <a:gd name="connsiteY3" fmla="*/ 497 h 108889"/>
                    <a:gd name="connsiteX4" fmla="*/ 17652 w 58917"/>
                    <a:gd name="connsiteY4" fmla="*/ 4052 h 108889"/>
                    <a:gd name="connsiteX5" fmla="*/ 14359 w 58917"/>
                    <a:gd name="connsiteY5" fmla="*/ 12522 h 108889"/>
                    <a:gd name="connsiteX6" fmla="*/ 22533 w 58917"/>
                    <a:gd name="connsiteY6" fmla="*/ 58334 h 108889"/>
                    <a:gd name="connsiteX7" fmla="*/ 49989 w 58917"/>
                    <a:gd name="connsiteY7" fmla="*/ 95768 h 108889"/>
                    <a:gd name="connsiteX8" fmla="*/ 50014 w 58917"/>
                    <a:gd name="connsiteY8" fmla="*/ 95768 h 108889"/>
                    <a:gd name="connsiteX9" fmla="*/ 58437 w 58917"/>
                    <a:gd name="connsiteY9" fmla="*/ 99357 h 108889"/>
                    <a:gd name="connsiteX10" fmla="*/ 54728 w 58917"/>
                    <a:gd name="connsiteY10" fmla="*/ 107985 h 108889"/>
                    <a:gd name="connsiteX11" fmla="*/ 50027 w 58917"/>
                    <a:gd name="connsiteY11" fmla="*/ 108889 h 10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917" h="108889">
                      <a:moveTo>
                        <a:pt x="50027" y="108889"/>
                      </a:moveTo>
                      <a:cubicBezTo>
                        <a:pt x="36394" y="108917"/>
                        <a:pt x="20314" y="87249"/>
                        <a:pt x="10396" y="63363"/>
                      </a:cubicBezTo>
                      <a:cubicBezTo>
                        <a:pt x="4898" y="50121"/>
                        <a:pt x="1309" y="36814"/>
                        <a:pt x="290" y="25892"/>
                      </a:cubicBezTo>
                      <a:cubicBezTo>
                        <a:pt x="-1334" y="8588"/>
                        <a:pt x="4166" y="2532"/>
                        <a:pt x="9067" y="497"/>
                      </a:cubicBezTo>
                      <a:cubicBezTo>
                        <a:pt x="12403" y="-876"/>
                        <a:pt x="16252" y="688"/>
                        <a:pt x="17652" y="4052"/>
                      </a:cubicBezTo>
                      <a:cubicBezTo>
                        <a:pt x="19005" y="7312"/>
                        <a:pt x="17537" y="11040"/>
                        <a:pt x="14359" y="12522"/>
                      </a:cubicBezTo>
                      <a:cubicBezTo>
                        <a:pt x="11826" y="15710"/>
                        <a:pt x="12384" y="33869"/>
                        <a:pt x="22533" y="58334"/>
                      </a:cubicBezTo>
                      <a:cubicBezTo>
                        <a:pt x="33312" y="84318"/>
                        <a:pt x="46683" y="95768"/>
                        <a:pt x="49989" y="95768"/>
                      </a:cubicBezTo>
                      <a:cubicBezTo>
                        <a:pt x="49994" y="95768"/>
                        <a:pt x="50008" y="95768"/>
                        <a:pt x="50014" y="95768"/>
                      </a:cubicBezTo>
                      <a:cubicBezTo>
                        <a:pt x="53325" y="94371"/>
                        <a:pt x="57045" y="95987"/>
                        <a:pt x="58437" y="99357"/>
                      </a:cubicBezTo>
                      <a:cubicBezTo>
                        <a:pt x="59828" y="102699"/>
                        <a:pt x="58083" y="106588"/>
                        <a:pt x="54728" y="107985"/>
                      </a:cubicBezTo>
                      <a:cubicBezTo>
                        <a:pt x="53210" y="108615"/>
                        <a:pt x="51638" y="108889"/>
                        <a:pt x="50027" y="108889"/>
                      </a:cubicBezTo>
                      <a:close/>
                    </a:path>
                  </a:pathLst>
                </a:custGeom>
                <a:grpFill/>
                <a:ln w="274" cap="flat">
                  <a:noFill/>
                  <a:prstDash val="solid"/>
                  <a:miter/>
                </a:ln>
              </p:spPr>
              <p:txBody>
                <a:bodyPr rtlCol="0" anchor="ctr"/>
                <a:lstStyle/>
                <a:p>
                  <a:endParaRPr lang="en-GB" dirty="0"/>
                </a:p>
              </p:txBody>
            </p:sp>
            <p:sp>
              <p:nvSpPr>
                <p:cNvPr id="929" name="Freihandform: Form 928">
                  <a:extLst>
                    <a:ext uri="{FF2B5EF4-FFF2-40B4-BE49-F238E27FC236}">
                      <a16:creationId xmlns:a16="http://schemas.microsoft.com/office/drawing/2014/main" id="{B2517573-F5A2-48E6-8624-919A2FAAB2F6}"/>
                    </a:ext>
                  </a:extLst>
                </p:cNvPr>
                <p:cNvSpPr/>
                <p:nvPr/>
              </p:nvSpPr>
              <p:spPr>
                <a:xfrm>
                  <a:off x="7017273" y="4234379"/>
                  <a:ext cx="209088" cy="184454"/>
                </a:xfrm>
                <a:custGeom>
                  <a:avLst/>
                  <a:gdLst>
                    <a:gd name="connsiteX0" fmla="*/ 42584 w 209088"/>
                    <a:gd name="connsiteY0" fmla="*/ 184454 h 184454"/>
                    <a:gd name="connsiteX1" fmla="*/ 7360 w 209088"/>
                    <a:gd name="connsiteY1" fmla="*/ 152131 h 184454"/>
                    <a:gd name="connsiteX2" fmla="*/ 12302 w 209088"/>
                    <a:gd name="connsiteY2" fmla="*/ 101682 h 184454"/>
                    <a:gd name="connsiteX3" fmla="*/ 129523 w 209088"/>
                    <a:gd name="connsiteY3" fmla="*/ 1565 h 184454"/>
                    <a:gd name="connsiteX4" fmla="*/ 138787 w 209088"/>
                    <a:gd name="connsiteY4" fmla="*/ 2296 h 184454"/>
                    <a:gd name="connsiteX5" fmla="*/ 138056 w 209088"/>
                    <a:gd name="connsiteY5" fmla="*/ 11560 h 184454"/>
                    <a:gd name="connsiteX6" fmla="*/ 20500 w 209088"/>
                    <a:gd name="connsiteY6" fmla="*/ 111941 h 184454"/>
                    <a:gd name="connsiteX7" fmla="*/ 19501 w 209088"/>
                    <a:gd name="connsiteY7" fmla="*/ 147118 h 184454"/>
                    <a:gd name="connsiteX8" fmla="*/ 45151 w 209088"/>
                    <a:gd name="connsiteY8" fmla="*/ 171224 h 184454"/>
                    <a:gd name="connsiteX9" fmla="*/ 202018 w 209088"/>
                    <a:gd name="connsiteY9" fmla="*/ 159198 h 184454"/>
                    <a:gd name="connsiteX10" fmla="*/ 209069 w 209088"/>
                    <a:gd name="connsiteY10" fmla="*/ 165252 h 184454"/>
                    <a:gd name="connsiteX11" fmla="*/ 203018 w 209088"/>
                    <a:gd name="connsiteY11" fmla="*/ 172292 h 184454"/>
                    <a:gd name="connsiteX12" fmla="*/ 46132 w 209088"/>
                    <a:gd name="connsiteY12" fmla="*/ 184317 h 184454"/>
                    <a:gd name="connsiteX13" fmla="*/ 42584 w 209088"/>
                    <a:gd name="connsiteY13" fmla="*/ 184454 h 184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9088" h="184454">
                      <a:moveTo>
                        <a:pt x="42584" y="184454"/>
                      </a:moveTo>
                      <a:cubicBezTo>
                        <a:pt x="26557" y="184454"/>
                        <a:pt x="17079" y="175552"/>
                        <a:pt x="7360" y="152131"/>
                      </a:cubicBezTo>
                      <a:cubicBezTo>
                        <a:pt x="-3715" y="125440"/>
                        <a:pt x="-2468" y="112710"/>
                        <a:pt x="12302" y="101682"/>
                      </a:cubicBezTo>
                      <a:lnTo>
                        <a:pt x="129523" y="1565"/>
                      </a:lnTo>
                      <a:cubicBezTo>
                        <a:pt x="132276" y="-772"/>
                        <a:pt x="136421" y="-462"/>
                        <a:pt x="138787" y="2296"/>
                      </a:cubicBezTo>
                      <a:cubicBezTo>
                        <a:pt x="141143" y="5055"/>
                        <a:pt x="140814" y="9199"/>
                        <a:pt x="138056" y="11560"/>
                      </a:cubicBezTo>
                      <a:lnTo>
                        <a:pt x="20500" y="111941"/>
                      </a:lnTo>
                      <a:cubicBezTo>
                        <a:pt x="12995" y="117562"/>
                        <a:pt x="9124" y="122112"/>
                        <a:pt x="19501" y="147118"/>
                      </a:cubicBezTo>
                      <a:cubicBezTo>
                        <a:pt x="29973" y="172347"/>
                        <a:pt x="37369" y="171799"/>
                        <a:pt x="45151" y="171224"/>
                      </a:cubicBezTo>
                      <a:lnTo>
                        <a:pt x="202018" y="159198"/>
                      </a:lnTo>
                      <a:cubicBezTo>
                        <a:pt x="205598" y="158897"/>
                        <a:pt x="208792" y="161636"/>
                        <a:pt x="209069" y="165252"/>
                      </a:cubicBezTo>
                      <a:cubicBezTo>
                        <a:pt x="209345" y="168868"/>
                        <a:pt x="206636" y="172018"/>
                        <a:pt x="203018" y="172292"/>
                      </a:cubicBezTo>
                      <a:lnTo>
                        <a:pt x="46132" y="184317"/>
                      </a:lnTo>
                      <a:cubicBezTo>
                        <a:pt x="44913" y="184400"/>
                        <a:pt x="43732" y="184454"/>
                        <a:pt x="42584" y="184454"/>
                      </a:cubicBezTo>
                      <a:close/>
                    </a:path>
                  </a:pathLst>
                </a:custGeom>
                <a:grpFill/>
                <a:ln w="274" cap="flat">
                  <a:noFill/>
                  <a:prstDash val="solid"/>
                  <a:miter/>
                </a:ln>
              </p:spPr>
              <p:txBody>
                <a:bodyPr rtlCol="0" anchor="ctr"/>
                <a:lstStyle/>
                <a:p>
                  <a:endParaRPr lang="en-GB" dirty="0"/>
                </a:p>
              </p:txBody>
            </p:sp>
          </p:grpSp>
        </p:grpSp>
        <p:grpSp>
          <p:nvGrpSpPr>
            <p:cNvPr id="914" name="Gruppieren 913">
              <a:extLst>
                <a:ext uri="{FF2B5EF4-FFF2-40B4-BE49-F238E27FC236}">
                  <a16:creationId xmlns:a16="http://schemas.microsoft.com/office/drawing/2014/main" id="{FC311952-5FFB-4698-B6E3-2413DD62BBC9}"/>
                </a:ext>
              </a:extLst>
            </p:cNvPr>
            <p:cNvGrpSpPr/>
            <p:nvPr/>
          </p:nvGrpSpPr>
          <p:grpSpPr>
            <a:xfrm>
              <a:off x="7325175" y="4097454"/>
              <a:ext cx="265094" cy="340184"/>
              <a:chOff x="7182900" y="4161545"/>
              <a:chExt cx="196696" cy="252412"/>
            </a:xfrm>
          </p:grpSpPr>
          <p:sp>
            <p:nvSpPr>
              <p:cNvPr id="915" name="Freihandform: Form 914">
                <a:extLst>
                  <a:ext uri="{FF2B5EF4-FFF2-40B4-BE49-F238E27FC236}">
                    <a16:creationId xmlns:a16="http://schemas.microsoft.com/office/drawing/2014/main" id="{884D1D33-842B-466A-92F2-BE131B3CBE83}"/>
                  </a:ext>
                </a:extLst>
              </p:cNvPr>
              <p:cNvSpPr/>
              <p:nvPr/>
            </p:nvSpPr>
            <p:spPr>
              <a:xfrm>
                <a:off x="7260363" y="4384645"/>
                <a:ext cx="36834" cy="17123"/>
              </a:xfrm>
              <a:custGeom>
                <a:avLst/>
                <a:gdLst>
                  <a:gd name="connsiteX0" fmla="*/ 30269 w 36834"/>
                  <a:gd name="connsiteY0" fmla="*/ 17124 h 17123"/>
                  <a:gd name="connsiteX1" fmla="*/ 29170 w 36834"/>
                  <a:gd name="connsiteY1" fmla="*/ 17042 h 17123"/>
                  <a:gd name="connsiteX2" fmla="*/ 5481 w 36834"/>
                  <a:gd name="connsiteY2" fmla="*/ 13042 h 17123"/>
                  <a:gd name="connsiteX3" fmla="*/ 93 w 36834"/>
                  <a:gd name="connsiteY3" fmla="*/ 5482 h 17123"/>
                  <a:gd name="connsiteX4" fmla="*/ 7664 w 36834"/>
                  <a:gd name="connsiteY4" fmla="*/ 86 h 17123"/>
                  <a:gd name="connsiteX5" fmla="*/ 31354 w 36834"/>
                  <a:gd name="connsiteY5" fmla="*/ 4057 h 17123"/>
                  <a:gd name="connsiteX6" fmla="*/ 36742 w 36834"/>
                  <a:gd name="connsiteY6" fmla="*/ 11645 h 17123"/>
                  <a:gd name="connsiteX7" fmla="*/ 30269 w 36834"/>
                  <a:gd name="connsiteY7" fmla="*/ 17124 h 1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34" h="17123">
                    <a:moveTo>
                      <a:pt x="30269" y="17124"/>
                    </a:moveTo>
                    <a:cubicBezTo>
                      <a:pt x="29910" y="17124"/>
                      <a:pt x="29537" y="17097"/>
                      <a:pt x="29170" y="17042"/>
                    </a:cubicBezTo>
                    <a:lnTo>
                      <a:pt x="5481" y="13042"/>
                    </a:lnTo>
                    <a:cubicBezTo>
                      <a:pt x="1901" y="12440"/>
                      <a:pt x="-512" y="9043"/>
                      <a:pt x="93" y="5482"/>
                    </a:cubicBezTo>
                    <a:cubicBezTo>
                      <a:pt x="696" y="1894"/>
                      <a:pt x="4090" y="-490"/>
                      <a:pt x="7664" y="86"/>
                    </a:cubicBezTo>
                    <a:lnTo>
                      <a:pt x="31354" y="4057"/>
                    </a:lnTo>
                    <a:cubicBezTo>
                      <a:pt x="34934" y="4660"/>
                      <a:pt x="37347" y="8057"/>
                      <a:pt x="36742" y="11645"/>
                    </a:cubicBezTo>
                    <a:cubicBezTo>
                      <a:pt x="36205" y="14850"/>
                      <a:pt x="33419" y="17124"/>
                      <a:pt x="30269" y="17124"/>
                    </a:cubicBezTo>
                    <a:close/>
                  </a:path>
                </a:pathLst>
              </a:custGeom>
              <a:solidFill>
                <a:schemeClr val="accent1"/>
              </a:solidFill>
              <a:ln w="274" cap="flat">
                <a:noFill/>
                <a:prstDash val="solid"/>
                <a:miter/>
              </a:ln>
            </p:spPr>
            <p:txBody>
              <a:bodyPr rtlCol="0" anchor="ctr"/>
              <a:lstStyle/>
              <a:p>
                <a:endParaRPr lang="en-GB" dirty="0"/>
              </a:p>
            </p:txBody>
          </p:sp>
          <p:sp>
            <p:nvSpPr>
              <p:cNvPr id="916" name="Freihandform: Form 915">
                <a:extLst>
                  <a:ext uri="{FF2B5EF4-FFF2-40B4-BE49-F238E27FC236}">
                    <a16:creationId xmlns:a16="http://schemas.microsoft.com/office/drawing/2014/main" id="{8D001B3A-0AA9-43D6-8E63-7FDCE179FF25}"/>
                  </a:ext>
                </a:extLst>
              </p:cNvPr>
              <p:cNvSpPr/>
              <p:nvPr/>
            </p:nvSpPr>
            <p:spPr>
              <a:xfrm>
                <a:off x="7182900" y="4233438"/>
                <a:ext cx="61725" cy="63594"/>
              </a:xfrm>
              <a:custGeom>
                <a:avLst/>
                <a:gdLst>
                  <a:gd name="connsiteX0" fmla="*/ 6577 w 61725"/>
                  <a:gd name="connsiteY0" fmla="*/ 63595 h 63594"/>
                  <a:gd name="connsiteX1" fmla="*/ 945 w 61725"/>
                  <a:gd name="connsiteY1" fmla="*/ 60420 h 63594"/>
                  <a:gd name="connsiteX2" fmla="*/ 3177 w 61725"/>
                  <a:gd name="connsiteY2" fmla="*/ 51400 h 63594"/>
                  <a:gd name="connsiteX3" fmla="*/ 42297 w 61725"/>
                  <a:gd name="connsiteY3" fmla="*/ 27820 h 63594"/>
                  <a:gd name="connsiteX4" fmla="*/ 46729 w 61725"/>
                  <a:gd name="connsiteY4" fmla="*/ 9966 h 63594"/>
                  <a:gd name="connsiteX5" fmla="*/ 48967 w 61725"/>
                  <a:gd name="connsiteY5" fmla="*/ 951 h 63594"/>
                  <a:gd name="connsiteX6" fmla="*/ 57982 w 61725"/>
                  <a:gd name="connsiteY6" fmla="*/ 3189 h 63594"/>
                  <a:gd name="connsiteX7" fmla="*/ 49082 w 61725"/>
                  <a:gd name="connsiteY7" fmla="*/ 39073 h 63594"/>
                  <a:gd name="connsiteX8" fmla="*/ 9962 w 61725"/>
                  <a:gd name="connsiteY8" fmla="*/ 62653 h 63594"/>
                  <a:gd name="connsiteX9" fmla="*/ 6577 w 61725"/>
                  <a:gd name="connsiteY9" fmla="*/ 63595 h 6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725" h="63594">
                    <a:moveTo>
                      <a:pt x="6577" y="63595"/>
                    </a:moveTo>
                    <a:cubicBezTo>
                      <a:pt x="4350" y="63595"/>
                      <a:pt x="2175" y="62466"/>
                      <a:pt x="945" y="60420"/>
                    </a:cubicBezTo>
                    <a:cubicBezTo>
                      <a:pt x="-929" y="57308"/>
                      <a:pt x="71" y="53273"/>
                      <a:pt x="3177" y="51400"/>
                    </a:cubicBezTo>
                    <a:lnTo>
                      <a:pt x="42297" y="27820"/>
                    </a:lnTo>
                    <a:cubicBezTo>
                      <a:pt x="48444" y="24119"/>
                      <a:pt x="50427" y="16110"/>
                      <a:pt x="46729" y="9966"/>
                    </a:cubicBezTo>
                    <a:cubicBezTo>
                      <a:pt x="44855" y="6859"/>
                      <a:pt x="45855" y="2824"/>
                      <a:pt x="48967" y="951"/>
                    </a:cubicBezTo>
                    <a:cubicBezTo>
                      <a:pt x="52065" y="-937"/>
                      <a:pt x="56108" y="77"/>
                      <a:pt x="57982" y="3189"/>
                    </a:cubicBezTo>
                    <a:cubicBezTo>
                      <a:pt x="65419" y="15535"/>
                      <a:pt x="61428" y="31630"/>
                      <a:pt x="49082" y="39073"/>
                    </a:cubicBezTo>
                    <a:lnTo>
                      <a:pt x="9962" y="62653"/>
                    </a:lnTo>
                    <a:cubicBezTo>
                      <a:pt x="8897" y="63293"/>
                      <a:pt x="7730" y="63595"/>
                      <a:pt x="6577" y="63595"/>
                    </a:cubicBezTo>
                    <a:close/>
                  </a:path>
                </a:pathLst>
              </a:custGeom>
              <a:solidFill>
                <a:schemeClr val="accent1"/>
              </a:solidFill>
              <a:ln w="274" cap="flat">
                <a:noFill/>
                <a:prstDash val="solid"/>
                <a:miter/>
              </a:ln>
            </p:spPr>
            <p:txBody>
              <a:bodyPr rtlCol="0" anchor="ctr"/>
              <a:lstStyle/>
              <a:p>
                <a:endParaRPr lang="en-GB" dirty="0"/>
              </a:p>
            </p:txBody>
          </p:sp>
          <p:sp>
            <p:nvSpPr>
              <p:cNvPr id="917" name="Freihandform: Form 916">
                <a:extLst>
                  <a:ext uri="{FF2B5EF4-FFF2-40B4-BE49-F238E27FC236}">
                    <a16:creationId xmlns:a16="http://schemas.microsoft.com/office/drawing/2014/main" id="{51A5B7F3-EF71-4AA3-9ABA-ECBD5ABF558F}"/>
                  </a:ext>
                </a:extLst>
              </p:cNvPr>
              <p:cNvSpPr/>
              <p:nvPr/>
            </p:nvSpPr>
            <p:spPr>
              <a:xfrm>
                <a:off x="7256272" y="4307049"/>
                <a:ext cx="51901" cy="39424"/>
              </a:xfrm>
              <a:custGeom>
                <a:avLst/>
                <a:gdLst>
                  <a:gd name="connsiteX0" fmla="*/ 44106 w 51901"/>
                  <a:gd name="connsiteY0" fmla="*/ 39424 h 39424"/>
                  <a:gd name="connsiteX1" fmla="*/ 41822 w 51901"/>
                  <a:gd name="connsiteY1" fmla="*/ 39013 h 39424"/>
                  <a:gd name="connsiteX2" fmla="*/ 37946 w 51901"/>
                  <a:gd name="connsiteY2" fmla="*/ 30571 h 39424"/>
                  <a:gd name="connsiteX3" fmla="*/ 37869 w 51901"/>
                  <a:gd name="connsiteY3" fmla="*/ 21337 h 39424"/>
                  <a:gd name="connsiteX4" fmla="*/ 30972 w 51901"/>
                  <a:gd name="connsiteY4" fmla="*/ 14240 h 39424"/>
                  <a:gd name="connsiteX5" fmla="*/ 21086 w 51901"/>
                  <a:gd name="connsiteY5" fmla="*/ 14053 h 39424"/>
                  <a:gd name="connsiteX6" fmla="*/ 8984 w 51901"/>
                  <a:gd name="connsiteY6" fmla="*/ 18833 h 39424"/>
                  <a:gd name="connsiteX7" fmla="*/ 462 w 51901"/>
                  <a:gd name="connsiteY7" fmla="*/ 15138 h 39424"/>
                  <a:gd name="connsiteX8" fmla="*/ 4157 w 51901"/>
                  <a:gd name="connsiteY8" fmla="*/ 6616 h 39424"/>
                  <a:gd name="connsiteX9" fmla="*/ 16251 w 51901"/>
                  <a:gd name="connsiteY9" fmla="*/ 1836 h 39424"/>
                  <a:gd name="connsiteX10" fmla="*/ 50084 w 51901"/>
                  <a:gd name="connsiteY10" fmla="*/ 16497 h 39424"/>
                  <a:gd name="connsiteX11" fmla="*/ 50264 w 51901"/>
                  <a:gd name="connsiteY11" fmla="*/ 35135 h 39424"/>
                  <a:gd name="connsiteX12" fmla="*/ 44106 w 51901"/>
                  <a:gd name="connsiteY12" fmla="*/ 39424 h 39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01" h="39424">
                    <a:moveTo>
                      <a:pt x="44106" y="39424"/>
                    </a:moveTo>
                    <a:cubicBezTo>
                      <a:pt x="43350" y="39424"/>
                      <a:pt x="42573" y="39295"/>
                      <a:pt x="41822" y="39013"/>
                    </a:cubicBezTo>
                    <a:cubicBezTo>
                      <a:pt x="38422" y="37751"/>
                      <a:pt x="36683" y="33971"/>
                      <a:pt x="37946" y="30571"/>
                    </a:cubicBezTo>
                    <a:cubicBezTo>
                      <a:pt x="39064" y="27561"/>
                      <a:pt x="39036" y="24284"/>
                      <a:pt x="37869" y="21337"/>
                    </a:cubicBezTo>
                    <a:cubicBezTo>
                      <a:pt x="36606" y="18140"/>
                      <a:pt x="34155" y="15620"/>
                      <a:pt x="30972" y="14240"/>
                    </a:cubicBezTo>
                    <a:cubicBezTo>
                      <a:pt x="27778" y="12853"/>
                      <a:pt x="24274" y="12790"/>
                      <a:pt x="21086" y="14053"/>
                    </a:cubicBezTo>
                    <a:lnTo>
                      <a:pt x="8984" y="18833"/>
                    </a:lnTo>
                    <a:cubicBezTo>
                      <a:pt x="5642" y="20167"/>
                      <a:pt x="1799" y="18518"/>
                      <a:pt x="462" y="15138"/>
                    </a:cubicBezTo>
                    <a:cubicBezTo>
                      <a:pt x="-872" y="11763"/>
                      <a:pt x="782" y="7953"/>
                      <a:pt x="4157" y="6616"/>
                    </a:cubicBezTo>
                    <a:lnTo>
                      <a:pt x="16251" y="1836"/>
                    </a:lnTo>
                    <a:cubicBezTo>
                      <a:pt x="29583" y="-3470"/>
                      <a:pt x="44789" y="3121"/>
                      <a:pt x="50084" y="16497"/>
                    </a:cubicBezTo>
                    <a:cubicBezTo>
                      <a:pt x="52445" y="22471"/>
                      <a:pt x="52508" y="29086"/>
                      <a:pt x="50264" y="35135"/>
                    </a:cubicBezTo>
                    <a:cubicBezTo>
                      <a:pt x="49284" y="37789"/>
                      <a:pt x="46775" y="39424"/>
                      <a:pt x="44106" y="39424"/>
                    </a:cubicBezTo>
                    <a:close/>
                  </a:path>
                </a:pathLst>
              </a:custGeom>
              <a:solidFill>
                <a:schemeClr val="accent1"/>
              </a:solidFill>
              <a:ln w="274" cap="flat">
                <a:noFill/>
                <a:prstDash val="solid"/>
                <a:miter/>
              </a:ln>
            </p:spPr>
            <p:txBody>
              <a:bodyPr rtlCol="0" anchor="ctr"/>
              <a:lstStyle/>
              <a:p>
                <a:endParaRPr lang="en-GB" dirty="0"/>
              </a:p>
            </p:txBody>
          </p:sp>
          <p:sp>
            <p:nvSpPr>
              <p:cNvPr id="918" name="Freihandform: Form 917">
                <a:extLst>
                  <a:ext uri="{FF2B5EF4-FFF2-40B4-BE49-F238E27FC236}">
                    <a16:creationId xmlns:a16="http://schemas.microsoft.com/office/drawing/2014/main" id="{A07674CB-883B-48AB-AABF-9CC14DF0DD7F}"/>
                  </a:ext>
                </a:extLst>
              </p:cNvPr>
              <p:cNvSpPr/>
              <p:nvPr/>
            </p:nvSpPr>
            <p:spPr>
              <a:xfrm>
                <a:off x="7201275" y="4321656"/>
                <a:ext cx="48904" cy="27275"/>
              </a:xfrm>
              <a:custGeom>
                <a:avLst/>
                <a:gdLst>
                  <a:gd name="connsiteX0" fmla="*/ 6570 w 48904"/>
                  <a:gd name="connsiteY0" fmla="*/ 27275 h 27275"/>
                  <a:gd name="connsiteX1" fmla="*/ 462 w 48904"/>
                  <a:gd name="connsiteY1" fmla="*/ 23117 h 27275"/>
                  <a:gd name="connsiteX2" fmla="*/ 4157 w 48904"/>
                  <a:gd name="connsiteY2" fmla="*/ 14595 h 27275"/>
                  <a:gd name="connsiteX3" fmla="*/ 39921 w 48904"/>
                  <a:gd name="connsiteY3" fmla="*/ 460 h 27275"/>
                  <a:gd name="connsiteX4" fmla="*/ 48443 w 48904"/>
                  <a:gd name="connsiteY4" fmla="*/ 4156 h 27275"/>
                  <a:gd name="connsiteX5" fmla="*/ 44747 w 48904"/>
                  <a:gd name="connsiteY5" fmla="*/ 12677 h 27275"/>
                  <a:gd name="connsiteX6" fmla="*/ 8984 w 48904"/>
                  <a:gd name="connsiteY6" fmla="*/ 26812 h 27275"/>
                  <a:gd name="connsiteX7" fmla="*/ 6570 w 48904"/>
                  <a:gd name="connsiteY7" fmla="*/ 27275 h 2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904" h="27275">
                    <a:moveTo>
                      <a:pt x="6570" y="27275"/>
                    </a:moveTo>
                    <a:cubicBezTo>
                      <a:pt x="3952" y="27275"/>
                      <a:pt x="1484" y="25703"/>
                      <a:pt x="462" y="23117"/>
                    </a:cubicBezTo>
                    <a:cubicBezTo>
                      <a:pt x="-872" y="19742"/>
                      <a:pt x="782" y="15932"/>
                      <a:pt x="4157" y="14595"/>
                    </a:cubicBezTo>
                    <a:lnTo>
                      <a:pt x="39921" y="460"/>
                    </a:lnTo>
                    <a:cubicBezTo>
                      <a:pt x="43263" y="-868"/>
                      <a:pt x="47106" y="775"/>
                      <a:pt x="48443" y="4156"/>
                    </a:cubicBezTo>
                    <a:cubicBezTo>
                      <a:pt x="49777" y="7530"/>
                      <a:pt x="48122" y="11341"/>
                      <a:pt x="44747" y="12677"/>
                    </a:cubicBezTo>
                    <a:lnTo>
                      <a:pt x="8984" y="26812"/>
                    </a:lnTo>
                    <a:cubicBezTo>
                      <a:pt x="8192" y="27130"/>
                      <a:pt x="7378" y="27275"/>
                      <a:pt x="6570" y="27275"/>
                    </a:cubicBezTo>
                    <a:close/>
                  </a:path>
                </a:pathLst>
              </a:custGeom>
              <a:solidFill>
                <a:schemeClr val="accent1"/>
              </a:solidFill>
              <a:ln w="274" cap="flat">
                <a:noFill/>
                <a:prstDash val="solid"/>
                <a:miter/>
              </a:ln>
            </p:spPr>
            <p:txBody>
              <a:bodyPr rtlCol="0" anchor="ctr"/>
              <a:lstStyle/>
              <a:p>
                <a:endParaRPr lang="en-GB" dirty="0"/>
              </a:p>
            </p:txBody>
          </p:sp>
          <p:grpSp>
            <p:nvGrpSpPr>
              <p:cNvPr id="919" name="Gruppieren 918">
                <a:extLst>
                  <a:ext uri="{FF2B5EF4-FFF2-40B4-BE49-F238E27FC236}">
                    <a16:creationId xmlns:a16="http://schemas.microsoft.com/office/drawing/2014/main" id="{9C4C1EB9-44AF-4A44-8FB6-B14E25DB7321}"/>
                  </a:ext>
                </a:extLst>
              </p:cNvPr>
              <p:cNvGrpSpPr/>
              <p:nvPr/>
            </p:nvGrpSpPr>
            <p:grpSpPr>
              <a:xfrm>
                <a:off x="7277747" y="4161545"/>
                <a:ext cx="101849" cy="252412"/>
                <a:chOff x="7277747" y="4161545"/>
                <a:chExt cx="101849" cy="252412"/>
              </a:xfrm>
            </p:grpSpPr>
            <p:sp>
              <p:nvSpPr>
                <p:cNvPr id="920" name="Freihandform: Form 919">
                  <a:extLst>
                    <a:ext uri="{FF2B5EF4-FFF2-40B4-BE49-F238E27FC236}">
                      <a16:creationId xmlns:a16="http://schemas.microsoft.com/office/drawing/2014/main" id="{CBF68B34-30D2-4A03-A5D0-34030CE78FEC}"/>
                    </a:ext>
                  </a:extLst>
                </p:cNvPr>
                <p:cNvSpPr/>
                <p:nvPr/>
              </p:nvSpPr>
              <p:spPr>
                <a:xfrm>
                  <a:off x="7277747" y="4161545"/>
                  <a:ext cx="69577" cy="68033"/>
                </a:xfrm>
                <a:custGeom>
                  <a:avLst/>
                  <a:gdLst>
                    <a:gd name="connsiteX0" fmla="*/ 21007 w 69577"/>
                    <a:gd name="connsiteY0" fmla="*/ 68034 h 68033"/>
                    <a:gd name="connsiteX1" fmla="*/ 15802 w 69577"/>
                    <a:gd name="connsiteY1" fmla="*/ 66500 h 68033"/>
                    <a:gd name="connsiteX2" fmla="*/ 11389 w 69577"/>
                    <a:gd name="connsiteY2" fmla="*/ 57279 h 68033"/>
                    <a:gd name="connsiteX3" fmla="*/ 12775 w 69577"/>
                    <a:gd name="connsiteY3" fmla="*/ 44876 h 68033"/>
                    <a:gd name="connsiteX4" fmla="*/ 3349 w 69577"/>
                    <a:gd name="connsiteY4" fmla="*/ 36716 h 68033"/>
                    <a:gd name="connsiteX5" fmla="*/ 320 w 69577"/>
                    <a:gd name="connsiteY5" fmla="*/ 26945 h 68033"/>
                    <a:gd name="connsiteX6" fmla="*/ 7738 w 69577"/>
                    <a:gd name="connsiteY6" fmla="*/ 19918 h 68033"/>
                    <a:gd name="connsiteX7" fmla="*/ 19941 w 69577"/>
                    <a:gd name="connsiteY7" fmla="*/ 17404 h 68033"/>
                    <a:gd name="connsiteX8" fmla="*/ 24798 w 69577"/>
                    <a:gd name="connsiteY8" fmla="*/ 5913 h 68033"/>
                    <a:gd name="connsiteX9" fmla="*/ 33133 w 69577"/>
                    <a:gd name="connsiteY9" fmla="*/ 23 h 68033"/>
                    <a:gd name="connsiteX10" fmla="*/ 42129 w 69577"/>
                    <a:gd name="connsiteY10" fmla="*/ 4894 h 68033"/>
                    <a:gd name="connsiteX11" fmla="*/ 48295 w 69577"/>
                    <a:gd name="connsiteY11" fmla="*/ 15736 h 68033"/>
                    <a:gd name="connsiteX12" fmla="*/ 60709 w 69577"/>
                    <a:gd name="connsiteY12" fmla="*/ 16796 h 68033"/>
                    <a:gd name="connsiteX13" fmla="*/ 68908 w 69577"/>
                    <a:gd name="connsiteY13" fmla="*/ 22923 h 68033"/>
                    <a:gd name="connsiteX14" fmla="*/ 67034 w 69577"/>
                    <a:gd name="connsiteY14" fmla="*/ 32966 h 68033"/>
                    <a:gd name="connsiteX15" fmla="*/ 58636 w 69577"/>
                    <a:gd name="connsiteY15" fmla="*/ 42180 h 68033"/>
                    <a:gd name="connsiteX16" fmla="*/ 61465 w 69577"/>
                    <a:gd name="connsiteY16" fmla="*/ 54326 h 68033"/>
                    <a:gd name="connsiteX17" fmla="*/ 58181 w 69577"/>
                    <a:gd name="connsiteY17" fmla="*/ 64001 h 68033"/>
                    <a:gd name="connsiteX18" fmla="*/ 48051 w 69577"/>
                    <a:gd name="connsiteY18" fmla="*/ 65335 h 68033"/>
                    <a:gd name="connsiteX19" fmla="*/ 36689 w 69577"/>
                    <a:gd name="connsiteY19" fmla="*/ 60188 h 68033"/>
                    <a:gd name="connsiteX20" fmla="*/ 26011 w 69577"/>
                    <a:gd name="connsiteY20" fmla="*/ 66631 h 68033"/>
                    <a:gd name="connsiteX21" fmla="*/ 21007 w 69577"/>
                    <a:gd name="connsiteY21" fmla="*/ 68034 h 68033"/>
                    <a:gd name="connsiteX22" fmla="*/ 53467 w 69577"/>
                    <a:gd name="connsiteY22" fmla="*/ 53362 h 68033"/>
                    <a:gd name="connsiteX23" fmla="*/ 53467 w 69577"/>
                    <a:gd name="connsiteY23" fmla="*/ 53362 h 68033"/>
                    <a:gd name="connsiteX24" fmla="*/ 53472 w 69577"/>
                    <a:gd name="connsiteY24" fmla="*/ 53362 h 68033"/>
                    <a:gd name="connsiteX25" fmla="*/ 53467 w 69577"/>
                    <a:gd name="connsiteY25" fmla="*/ 53362 h 68033"/>
                    <a:gd name="connsiteX26" fmla="*/ 17254 w 69577"/>
                    <a:gd name="connsiteY26" fmla="*/ 31374 h 68033"/>
                    <a:gd name="connsiteX27" fmla="*/ 23984 w 69577"/>
                    <a:gd name="connsiteY27" fmla="*/ 37206 h 68033"/>
                    <a:gd name="connsiteX28" fmla="*/ 26217 w 69577"/>
                    <a:gd name="connsiteY28" fmla="*/ 42898 h 68033"/>
                    <a:gd name="connsiteX29" fmla="*/ 25228 w 69577"/>
                    <a:gd name="connsiteY29" fmla="*/ 51760 h 68033"/>
                    <a:gd name="connsiteX30" fmla="*/ 32857 w 69577"/>
                    <a:gd name="connsiteY30" fmla="*/ 47152 h 68033"/>
                    <a:gd name="connsiteX31" fmla="*/ 38957 w 69577"/>
                    <a:gd name="connsiteY31" fmla="*/ 46793 h 68033"/>
                    <a:gd name="connsiteX32" fmla="*/ 47079 w 69577"/>
                    <a:gd name="connsiteY32" fmla="*/ 50470 h 68033"/>
                    <a:gd name="connsiteX33" fmla="*/ 45057 w 69577"/>
                    <a:gd name="connsiteY33" fmla="*/ 41794 h 68033"/>
                    <a:gd name="connsiteX34" fmla="*/ 46597 w 69577"/>
                    <a:gd name="connsiteY34" fmla="*/ 35877 h 68033"/>
                    <a:gd name="connsiteX35" fmla="*/ 52601 w 69577"/>
                    <a:gd name="connsiteY35" fmla="*/ 29289 h 68033"/>
                    <a:gd name="connsiteX36" fmla="*/ 43729 w 69577"/>
                    <a:gd name="connsiteY36" fmla="*/ 28534 h 68033"/>
                    <a:gd name="connsiteX37" fmla="*/ 38576 w 69577"/>
                    <a:gd name="connsiteY37" fmla="*/ 25235 h 68033"/>
                    <a:gd name="connsiteX38" fmla="*/ 34169 w 69577"/>
                    <a:gd name="connsiteY38" fmla="*/ 17491 h 68033"/>
                    <a:gd name="connsiteX39" fmla="*/ 30698 w 69577"/>
                    <a:gd name="connsiteY39" fmla="*/ 25704 h 68033"/>
                    <a:gd name="connsiteX40" fmla="*/ 25976 w 69577"/>
                    <a:gd name="connsiteY40" fmla="*/ 29580 h 68033"/>
                    <a:gd name="connsiteX41" fmla="*/ 17254 w 69577"/>
                    <a:gd name="connsiteY41" fmla="*/ 31374 h 6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9577" h="68033">
                      <a:moveTo>
                        <a:pt x="21007" y="68034"/>
                      </a:moveTo>
                      <a:cubicBezTo>
                        <a:pt x="19204" y="68034"/>
                        <a:pt x="17402" y="67521"/>
                        <a:pt x="15802" y="66500"/>
                      </a:cubicBezTo>
                      <a:cubicBezTo>
                        <a:pt x="12671" y="64497"/>
                        <a:pt x="10983" y="60969"/>
                        <a:pt x="11389" y="57279"/>
                      </a:cubicBezTo>
                      <a:lnTo>
                        <a:pt x="12775" y="44876"/>
                      </a:lnTo>
                      <a:lnTo>
                        <a:pt x="3349" y="36716"/>
                      </a:lnTo>
                      <a:cubicBezTo>
                        <a:pt x="539" y="34278"/>
                        <a:pt x="-617" y="30536"/>
                        <a:pt x="320" y="26945"/>
                      </a:cubicBezTo>
                      <a:cubicBezTo>
                        <a:pt x="1262" y="23359"/>
                        <a:pt x="4100" y="20663"/>
                        <a:pt x="7738" y="19918"/>
                      </a:cubicBezTo>
                      <a:lnTo>
                        <a:pt x="19941" y="17404"/>
                      </a:lnTo>
                      <a:lnTo>
                        <a:pt x="24798" y="5913"/>
                      </a:lnTo>
                      <a:cubicBezTo>
                        <a:pt x="26236" y="2500"/>
                        <a:pt x="29430" y="240"/>
                        <a:pt x="33133" y="23"/>
                      </a:cubicBezTo>
                      <a:cubicBezTo>
                        <a:pt x="36842" y="-234"/>
                        <a:pt x="40288" y="1667"/>
                        <a:pt x="42129" y="4894"/>
                      </a:cubicBezTo>
                      <a:lnTo>
                        <a:pt x="48295" y="15736"/>
                      </a:lnTo>
                      <a:lnTo>
                        <a:pt x="60709" y="16796"/>
                      </a:lnTo>
                      <a:cubicBezTo>
                        <a:pt x="64424" y="17116"/>
                        <a:pt x="67555" y="19464"/>
                        <a:pt x="68908" y="22923"/>
                      </a:cubicBezTo>
                      <a:cubicBezTo>
                        <a:pt x="70256" y="26375"/>
                        <a:pt x="69538" y="30226"/>
                        <a:pt x="67034" y="32966"/>
                      </a:cubicBezTo>
                      <a:lnTo>
                        <a:pt x="58636" y="42180"/>
                      </a:lnTo>
                      <a:lnTo>
                        <a:pt x="61465" y="54326"/>
                      </a:lnTo>
                      <a:cubicBezTo>
                        <a:pt x="62306" y="57939"/>
                        <a:pt x="61049" y="61648"/>
                        <a:pt x="58181" y="64001"/>
                      </a:cubicBezTo>
                      <a:cubicBezTo>
                        <a:pt x="55299" y="66357"/>
                        <a:pt x="51426" y="66870"/>
                        <a:pt x="48051" y="65335"/>
                      </a:cubicBezTo>
                      <a:lnTo>
                        <a:pt x="36689" y="60188"/>
                      </a:lnTo>
                      <a:lnTo>
                        <a:pt x="26011" y="66631"/>
                      </a:lnTo>
                      <a:cubicBezTo>
                        <a:pt x="24466" y="67565"/>
                        <a:pt x="22732" y="68034"/>
                        <a:pt x="21007" y="68034"/>
                      </a:cubicBezTo>
                      <a:close/>
                      <a:moveTo>
                        <a:pt x="53467" y="53362"/>
                      </a:moveTo>
                      <a:lnTo>
                        <a:pt x="53467" y="53362"/>
                      </a:lnTo>
                      <a:cubicBezTo>
                        <a:pt x="53472" y="53362"/>
                        <a:pt x="53472" y="53362"/>
                        <a:pt x="53472" y="53362"/>
                      </a:cubicBezTo>
                      <a:cubicBezTo>
                        <a:pt x="53467" y="53362"/>
                        <a:pt x="53467" y="53362"/>
                        <a:pt x="53467" y="53362"/>
                      </a:cubicBezTo>
                      <a:close/>
                      <a:moveTo>
                        <a:pt x="17254" y="31374"/>
                      </a:moveTo>
                      <a:lnTo>
                        <a:pt x="23984" y="37206"/>
                      </a:lnTo>
                      <a:cubicBezTo>
                        <a:pt x="25619" y="38617"/>
                        <a:pt x="26455" y="40748"/>
                        <a:pt x="26217" y="42898"/>
                      </a:cubicBezTo>
                      <a:lnTo>
                        <a:pt x="25228" y="51760"/>
                      </a:lnTo>
                      <a:lnTo>
                        <a:pt x="32857" y="47152"/>
                      </a:lnTo>
                      <a:cubicBezTo>
                        <a:pt x="34711" y="46035"/>
                        <a:pt x="37001" y="45900"/>
                        <a:pt x="38957" y="46793"/>
                      </a:cubicBezTo>
                      <a:lnTo>
                        <a:pt x="47079" y="50470"/>
                      </a:lnTo>
                      <a:lnTo>
                        <a:pt x="45057" y="41794"/>
                      </a:lnTo>
                      <a:cubicBezTo>
                        <a:pt x="44564" y="39690"/>
                        <a:pt x="45139" y="37477"/>
                        <a:pt x="46597" y="35877"/>
                      </a:cubicBezTo>
                      <a:lnTo>
                        <a:pt x="52601" y="29289"/>
                      </a:lnTo>
                      <a:lnTo>
                        <a:pt x="43729" y="28534"/>
                      </a:lnTo>
                      <a:cubicBezTo>
                        <a:pt x="41573" y="28353"/>
                        <a:pt x="39647" y="27114"/>
                        <a:pt x="38576" y="25235"/>
                      </a:cubicBezTo>
                      <a:lnTo>
                        <a:pt x="34169" y="17491"/>
                      </a:lnTo>
                      <a:lnTo>
                        <a:pt x="30698" y="25704"/>
                      </a:lnTo>
                      <a:cubicBezTo>
                        <a:pt x="29857" y="27692"/>
                        <a:pt x="28093" y="29142"/>
                        <a:pt x="25976" y="29580"/>
                      </a:cubicBezTo>
                      <a:lnTo>
                        <a:pt x="17254" y="31374"/>
                      </a:lnTo>
                      <a:close/>
                    </a:path>
                  </a:pathLst>
                </a:custGeom>
                <a:solidFill>
                  <a:schemeClr val="accent1"/>
                </a:solidFill>
                <a:ln w="274" cap="flat">
                  <a:noFill/>
                  <a:prstDash val="solid"/>
                  <a:miter/>
                </a:ln>
              </p:spPr>
              <p:txBody>
                <a:bodyPr rtlCol="0" anchor="ctr"/>
                <a:lstStyle/>
                <a:p>
                  <a:endParaRPr lang="en-GB" dirty="0"/>
                </a:p>
              </p:txBody>
            </p:sp>
            <p:sp>
              <p:nvSpPr>
                <p:cNvPr id="921" name="Freihandform: Form 920">
                  <a:extLst>
                    <a:ext uri="{FF2B5EF4-FFF2-40B4-BE49-F238E27FC236}">
                      <a16:creationId xmlns:a16="http://schemas.microsoft.com/office/drawing/2014/main" id="{97CC4832-40F2-4D62-AF92-4BD45358282B}"/>
                    </a:ext>
                  </a:extLst>
                </p:cNvPr>
                <p:cNvSpPr/>
                <p:nvPr/>
              </p:nvSpPr>
              <p:spPr>
                <a:xfrm>
                  <a:off x="7312036" y="4344321"/>
                  <a:ext cx="67560" cy="69636"/>
                </a:xfrm>
                <a:custGeom>
                  <a:avLst/>
                  <a:gdLst>
                    <a:gd name="connsiteX0" fmla="*/ 28571 w 67560"/>
                    <a:gd name="connsiteY0" fmla="*/ 69637 h 69636"/>
                    <a:gd name="connsiteX1" fmla="*/ 25774 w 67560"/>
                    <a:gd name="connsiteY1" fmla="*/ 69226 h 69636"/>
                    <a:gd name="connsiteX2" fmla="*/ 19000 w 67560"/>
                    <a:gd name="connsiteY2" fmla="*/ 61583 h 69636"/>
                    <a:gd name="connsiteX3" fmla="*/ 16915 w 67560"/>
                    <a:gd name="connsiteY3" fmla="*/ 49284 h 69636"/>
                    <a:gd name="connsiteX4" fmla="*/ 5605 w 67560"/>
                    <a:gd name="connsiteY4" fmla="*/ 44025 h 69636"/>
                    <a:gd name="connsiteX5" fmla="*/ 3 w 67560"/>
                    <a:gd name="connsiteY5" fmla="*/ 35478 h 69636"/>
                    <a:gd name="connsiteX6" fmla="*/ 5188 w 67560"/>
                    <a:gd name="connsiteY6" fmla="*/ 26685 h 69636"/>
                    <a:gd name="connsiteX7" fmla="*/ 16236 w 67560"/>
                    <a:gd name="connsiteY7" fmla="*/ 20894 h 69636"/>
                    <a:gd name="connsiteX8" fmla="*/ 17731 w 67560"/>
                    <a:gd name="connsiteY8" fmla="*/ 8518 h 69636"/>
                    <a:gd name="connsiteX9" fmla="*/ 24122 w 67560"/>
                    <a:gd name="connsiteY9" fmla="*/ 550 h 69636"/>
                    <a:gd name="connsiteX10" fmla="*/ 34107 w 67560"/>
                    <a:gd name="connsiteY10" fmla="*/ 2750 h 69636"/>
                    <a:gd name="connsiteX11" fmla="*/ 43026 w 67560"/>
                    <a:gd name="connsiteY11" fmla="*/ 11474 h 69636"/>
                    <a:gd name="connsiteX12" fmla="*/ 55262 w 67560"/>
                    <a:gd name="connsiteY12" fmla="*/ 9074 h 69636"/>
                    <a:gd name="connsiteX13" fmla="*/ 64817 w 67560"/>
                    <a:gd name="connsiteY13" fmla="*/ 12687 h 69636"/>
                    <a:gd name="connsiteX14" fmla="*/ 65805 w 67560"/>
                    <a:gd name="connsiteY14" fmla="*/ 22878 h 69636"/>
                    <a:gd name="connsiteX15" fmla="*/ 60269 w 67560"/>
                    <a:gd name="connsiteY15" fmla="*/ 34026 h 69636"/>
                    <a:gd name="connsiteX16" fmla="*/ 66332 w 67560"/>
                    <a:gd name="connsiteY16" fmla="*/ 44929 h 69636"/>
                    <a:gd name="connsiteX17" fmla="*/ 65838 w 67560"/>
                    <a:gd name="connsiteY17" fmla="*/ 55146 h 69636"/>
                    <a:gd name="connsiteX18" fmla="*/ 56470 w 67560"/>
                    <a:gd name="connsiteY18" fmla="*/ 59228 h 69636"/>
                    <a:gd name="connsiteX19" fmla="*/ 56465 w 67560"/>
                    <a:gd name="connsiteY19" fmla="*/ 59228 h 69636"/>
                    <a:gd name="connsiteX20" fmla="*/ 44133 w 67560"/>
                    <a:gd name="connsiteY20" fmla="*/ 57420 h 69636"/>
                    <a:gd name="connsiteX21" fmla="*/ 35638 w 67560"/>
                    <a:gd name="connsiteY21" fmla="*/ 66541 h 69636"/>
                    <a:gd name="connsiteX22" fmla="*/ 28571 w 67560"/>
                    <a:gd name="connsiteY22" fmla="*/ 69637 h 69636"/>
                    <a:gd name="connsiteX23" fmla="*/ 17496 w 67560"/>
                    <a:gd name="connsiteY23" fmla="*/ 35067 h 69636"/>
                    <a:gd name="connsiteX24" fmla="*/ 25574 w 67560"/>
                    <a:gd name="connsiteY24" fmla="*/ 38820 h 69636"/>
                    <a:gd name="connsiteX25" fmla="*/ 29288 w 67560"/>
                    <a:gd name="connsiteY25" fmla="*/ 43669 h 69636"/>
                    <a:gd name="connsiteX26" fmla="*/ 30776 w 67560"/>
                    <a:gd name="connsiteY26" fmla="*/ 52462 h 69636"/>
                    <a:gd name="connsiteX27" fmla="*/ 36846 w 67560"/>
                    <a:gd name="connsiteY27" fmla="*/ 45942 h 69636"/>
                    <a:gd name="connsiteX28" fmla="*/ 42615 w 67560"/>
                    <a:gd name="connsiteY28" fmla="*/ 43915 h 69636"/>
                    <a:gd name="connsiteX29" fmla="*/ 51430 w 67560"/>
                    <a:gd name="connsiteY29" fmla="*/ 45203 h 69636"/>
                    <a:gd name="connsiteX30" fmla="*/ 47094 w 67560"/>
                    <a:gd name="connsiteY30" fmla="*/ 37423 h 69636"/>
                    <a:gd name="connsiteX31" fmla="*/ 46951 w 67560"/>
                    <a:gd name="connsiteY31" fmla="*/ 31287 h 69636"/>
                    <a:gd name="connsiteX32" fmla="*/ 50904 w 67560"/>
                    <a:gd name="connsiteY32" fmla="*/ 23316 h 69636"/>
                    <a:gd name="connsiteX33" fmla="*/ 42158 w 67560"/>
                    <a:gd name="connsiteY33" fmla="*/ 25042 h 69636"/>
                    <a:gd name="connsiteX34" fmla="*/ 36298 w 67560"/>
                    <a:gd name="connsiteY34" fmla="*/ 23288 h 69636"/>
                    <a:gd name="connsiteX35" fmla="*/ 29927 w 67560"/>
                    <a:gd name="connsiteY35" fmla="*/ 17059 h 69636"/>
                    <a:gd name="connsiteX36" fmla="*/ 28861 w 67560"/>
                    <a:gd name="connsiteY36" fmla="*/ 25891 h 69636"/>
                    <a:gd name="connsiteX37" fmla="*/ 25382 w 67560"/>
                    <a:gd name="connsiteY37" fmla="*/ 30931 h 69636"/>
                    <a:gd name="connsiteX38" fmla="*/ 17496 w 67560"/>
                    <a:gd name="connsiteY38" fmla="*/ 35067 h 69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7560" h="69636">
                      <a:moveTo>
                        <a:pt x="28571" y="69637"/>
                      </a:moveTo>
                      <a:cubicBezTo>
                        <a:pt x="27639" y="69637"/>
                        <a:pt x="26697" y="69500"/>
                        <a:pt x="25774" y="69226"/>
                      </a:cubicBezTo>
                      <a:cubicBezTo>
                        <a:pt x="22213" y="68157"/>
                        <a:pt x="19622" y="65227"/>
                        <a:pt x="19000" y="61583"/>
                      </a:cubicBezTo>
                      <a:lnTo>
                        <a:pt x="16915" y="49284"/>
                      </a:lnTo>
                      <a:lnTo>
                        <a:pt x="5605" y="44025"/>
                      </a:lnTo>
                      <a:cubicBezTo>
                        <a:pt x="2235" y="42463"/>
                        <a:pt x="93" y="39204"/>
                        <a:pt x="3" y="35478"/>
                      </a:cubicBezTo>
                      <a:cubicBezTo>
                        <a:pt x="-87" y="31780"/>
                        <a:pt x="1901" y="28411"/>
                        <a:pt x="5188" y="26685"/>
                      </a:cubicBezTo>
                      <a:lnTo>
                        <a:pt x="16236" y="20894"/>
                      </a:lnTo>
                      <a:lnTo>
                        <a:pt x="17731" y="8518"/>
                      </a:lnTo>
                      <a:cubicBezTo>
                        <a:pt x="18175" y="4842"/>
                        <a:pt x="20624" y="1788"/>
                        <a:pt x="24122" y="550"/>
                      </a:cubicBezTo>
                      <a:cubicBezTo>
                        <a:pt x="27650" y="-664"/>
                        <a:pt x="31450" y="158"/>
                        <a:pt x="34107" y="2750"/>
                      </a:cubicBezTo>
                      <a:lnTo>
                        <a:pt x="43026" y="11474"/>
                      </a:lnTo>
                      <a:lnTo>
                        <a:pt x="55262" y="9074"/>
                      </a:lnTo>
                      <a:cubicBezTo>
                        <a:pt x="58886" y="8381"/>
                        <a:pt x="62551" y="9735"/>
                        <a:pt x="64817" y="12687"/>
                      </a:cubicBezTo>
                      <a:cubicBezTo>
                        <a:pt x="67068" y="15638"/>
                        <a:pt x="67455" y="19541"/>
                        <a:pt x="65805" y="22878"/>
                      </a:cubicBezTo>
                      <a:lnTo>
                        <a:pt x="60269" y="34026"/>
                      </a:lnTo>
                      <a:lnTo>
                        <a:pt x="66332" y="44929"/>
                      </a:lnTo>
                      <a:cubicBezTo>
                        <a:pt x="68134" y="48188"/>
                        <a:pt x="67942" y="52106"/>
                        <a:pt x="65838" y="55146"/>
                      </a:cubicBezTo>
                      <a:cubicBezTo>
                        <a:pt x="63735" y="58187"/>
                        <a:pt x="60127" y="59775"/>
                        <a:pt x="56470" y="59228"/>
                      </a:cubicBezTo>
                      <a:lnTo>
                        <a:pt x="56465" y="59228"/>
                      </a:lnTo>
                      <a:lnTo>
                        <a:pt x="44133" y="57420"/>
                      </a:lnTo>
                      <a:lnTo>
                        <a:pt x="35638" y="66541"/>
                      </a:lnTo>
                      <a:cubicBezTo>
                        <a:pt x="33762" y="68541"/>
                        <a:pt x="31214" y="69637"/>
                        <a:pt x="28571" y="69637"/>
                      </a:cubicBezTo>
                      <a:close/>
                      <a:moveTo>
                        <a:pt x="17496" y="35067"/>
                      </a:moveTo>
                      <a:lnTo>
                        <a:pt x="25574" y="38820"/>
                      </a:lnTo>
                      <a:cubicBezTo>
                        <a:pt x="27538" y="39724"/>
                        <a:pt x="28924" y="41532"/>
                        <a:pt x="29288" y="43669"/>
                      </a:cubicBezTo>
                      <a:lnTo>
                        <a:pt x="30776" y="52462"/>
                      </a:lnTo>
                      <a:lnTo>
                        <a:pt x="36846" y="45942"/>
                      </a:lnTo>
                      <a:cubicBezTo>
                        <a:pt x="38314" y="44353"/>
                        <a:pt x="40459" y="43587"/>
                        <a:pt x="42615" y="43915"/>
                      </a:cubicBezTo>
                      <a:lnTo>
                        <a:pt x="51430" y="45203"/>
                      </a:lnTo>
                      <a:lnTo>
                        <a:pt x="47094" y="37423"/>
                      </a:lnTo>
                      <a:cubicBezTo>
                        <a:pt x="46042" y="35533"/>
                        <a:pt x="45990" y="33232"/>
                        <a:pt x="46951" y="31287"/>
                      </a:cubicBezTo>
                      <a:lnTo>
                        <a:pt x="50904" y="23316"/>
                      </a:lnTo>
                      <a:lnTo>
                        <a:pt x="42158" y="25042"/>
                      </a:lnTo>
                      <a:cubicBezTo>
                        <a:pt x="40059" y="25453"/>
                        <a:pt x="37846" y="24795"/>
                        <a:pt x="36298" y="23288"/>
                      </a:cubicBezTo>
                      <a:lnTo>
                        <a:pt x="29927" y="17059"/>
                      </a:lnTo>
                      <a:lnTo>
                        <a:pt x="28861" y="25891"/>
                      </a:lnTo>
                      <a:cubicBezTo>
                        <a:pt x="28598" y="28055"/>
                        <a:pt x="27302" y="29917"/>
                        <a:pt x="25382" y="30931"/>
                      </a:cubicBezTo>
                      <a:lnTo>
                        <a:pt x="17496" y="35067"/>
                      </a:lnTo>
                      <a:close/>
                    </a:path>
                  </a:pathLst>
                </a:custGeom>
                <a:solidFill>
                  <a:schemeClr val="accent1"/>
                </a:solidFill>
                <a:ln w="274" cap="flat">
                  <a:noFill/>
                  <a:prstDash val="solid"/>
                  <a:miter/>
                </a:ln>
              </p:spPr>
              <p:txBody>
                <a:bodyPr rtlCol="0" anchor="ctr"/>
                <a:lstStyle/>
                <a:p>
                  <a:endParaRPr lang="en-GB" dirty="0"/>
                </a:p>
              </p:txBody>
            </p:sp>
          </p:grpSp>
        </p:grpSp>
      </p:grpSp>
      <p:sp>
        <p:nvSpPr>
          <p:cNvPr id="930" name="TextBox 1423">
            <a:extLst>
              <a:ext uri="{FF2B5EF4-FFF2-40B4-BE49-F238E27FC236}">
                <a16:creationId xmlns:a16="http://schemas.microsoft.com/office/drawing/2014/main" id="{2FE6F24A-69DF-4668-ADFA-4A51FBBC8234}"/>
              </a:ext>
            </a:extLst>
          </p:cNvPr>
          <p:cNvSpPr txBox="1"/>
          <p:nvPr/>
        </p:nvSpPr>
        <p:spPr>
          <a:xfrm>
            <a:off x="7106966" y="4547732"/>
            <a:ext cx="394339" cy="215444"/>
          </a:xfrm>
          <a:prstGeom prst="rect">
            <a:avLst/>
          </a:prstGeom>
          <a:noFill/>
          <a:effectLst/>
        </p:spPr>
        <p:txBody>
          <a:bodyPr wrap="none" lIns="0" tIns="0" rIns="0" bIns="0" rtlCol="0" anchor="t">
            <a:spAutoFit/>
          </a:bodyPr>
          <a:lstStyle/>
          <a:p>
            <a:pPr algn="ctr"/>
            <a:r>
              <a:rPr lang="en-GB" sz="700" dirty="0">
                <a:solidFill>
                  <a:schemeClr val="tx2"/>
                </a:solidFill>
              </a:rPr>
              <a:t>Event</a:t>
            </a:r>
            <a:br>
              <a:rPr lang="en-GB" sz="700" dirty="0">
                <a:solidFill>
                  <a:schemeClr val="tx2"/>
                </a:solidFill>
              </a:rPr>
            </a:br>
            <a:r>
              <a:rPr lang="en-GB" sz="700" dirty="0">
                <a:solidFill>
                  <a:schemeClr val="tx2"/>
                </a:solidFill>
              </a:rPr>
              <a:t>marketing</a:t>
            </a:r>
          </a:p>
        </p:txBody>
      </p:sp>
      <p:grpSp>
        <p:nvGrpSpPr>
          <p:cNvPr id="54" name="Group 53">
            <a:extLst>
              <a:ext uri="{FF2B5EF4-FFF2-40B4-BE49-F238E27FC236}">
                <a16:creationId xmlns:a16="http://schemas.microsoft.com/office/drawing/2014/main" id="{7CD8EF18-2899-1E14-7640-EEA8E5C6731D}"/>
              </a:ext>
            </a:extLst>
          </p:cNvPr>
          <p:cNvGrpSpPr/>
          <p:nvPr/>
        </p:nvGrpSpPr>
        <p:grpSpPr>
          <a:xfrm>
            <a:off x="7079036" y="3273397"/>
            <a:ext cx="450200" cy="432000"/>
            <a:chOff x="7078624" y="3273397"/>
            <a:chExt cx="450200" cy="432000"/>
          </a:xfrm>
        </p:grpSpPr>
        <p:grpSp>
          <p:nvGrpSpPr>
            <p:cNvPr id="932" name="Grafik 349">
              <a:extLst>
                <a:ext uri="{FF2B5EF4-FFF2-40B4-BE49-F238E27FC236}">
                  <a16:creationId xmlns:a16="http://schemas.microsoft.com/office/drawing/2014/main" id="{EB04FC64-748B-49AB-B068-9D360ACAFE66}"/>
                </a:ext>
              </a:extLst>
            </p:cNvPr>
            <p:cNvGrpSpPr/>
            <p:nvPr/>
          </p:nvGrpSpPr>
          <p:grpSpPr>
            <a:xfrm>
              <a:off x="7078624" y="3273397"/>
              <a:ext cx="191487" cy="432000"/>
              <a:chOff x="6948656" y="3311802"/>
              <a:chExt cx="184767" cy="416839"/>
            </a:xfrm>
            <a:solidFill>
              <a:schemeClr val="tx2"/>
            </a:solidFill>
          </p:grpSpPr>
          <p:sp>
            <p:nvSpPr>
              <p:cNvPr id="938" name="Freihandform: Form 937">
                <a:extLst>
                  <a:ext uri="{FF2B5EF4-FFF2-40B4-BE49-F238E27FC236}">
                    <a16:creationId xmlns:a16="http://schemas.microsoft.com/office/drawing/2014/main" id="{1AD9E138-546B-420B-8AE5-09E5EAC51CF4}"/>
                  </a:ext>
                </a:extLst>
              </p:cNvPr>
              <p:cNvSpPr/>
              <p:nvPr/>
            </p:nvSpPr>
            <p:spPr>
              <a:xfrm>
                <a:off x="6980459" y="3527708"/>
                <a:ext cx="14296" cy="200933"/>
              </a:xfrm>
              <a:custGeom>
                <a:avLst/>
                <a:gdLst>
                  <a:gd name="connsiteX0" fmla="*/ 6569 w 14296"/>
                  <a:gd name="connsiteY0" fmla="*/ 200933 h 200933"/>
                  <a:gd name="connsiteX1" fmla="*/ 6531 w 14296"/>
                  <a:gd name="connsiteY1" fmla="*/ 200933 h 200933"/>
                  <a:gd name="connsiteX2" fmla="*/ 0 w 14296"/>
                  <a:gd name="connsiteY2" fmla="*/ 194323 h 200933"/>
                  <a:gd name="connsiteX3" fmla="*/ 1156 w 14296"/>
                  <a:gd name="connsiteY3" fmla="*/ 6530 h 200933"/>
                  <a:gd name="connsiteX4" fmla="*/ 7728 w 14296"/>
                  <a:gd name="connsiteY4" fmla="*/ 0 h 200933"/>
                  <a:gd name="connsiteX5" fmla="*/ 7766 w 14296"/>
                  <a:gd name="connsiteY5" fmla="*/ 0 h 200933"/>
                  <a:gd name="connsiteX6" fmla="*/ 14296 w 14296"/>
                  <a:gd name="connsiteY6" fmla="*/ 6610 h 200933"/>
                  <a:gd name="connsiteX7" fmla="*/ 13140 w 14296"/>
                  <a:gd name="connsiteY7" fmla="*/ 194403 h 200933"/>
                  <a:gd name="connsiteX8" fmla="*/ 6569 w 14296"/>
                  <a:gd name="connsiteY8" fmla="*/ 200933 h 20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6" h="200933">
                    <a:moveTo>
                      <a:pt x="6569" y="200933"/>
                    </a:moveTo>
                    <a:cubicBezTo>
                      <a:pt x="6555" y="200933"/>
                      <a:pt x="6544" y="200933"/>
                      <a:pt x="6531" y="200933"/>
                    </a:cubicBezTo>
                    <a:cubicBezTo>
                      <a:pt x="2898" y="200914"/>
                      <a:pt x="-19" y="197950"/>
                      <a:pt x="0" y="194323"/>
                    </a:cubicBezTo>
                    <a:lnTo>
                      <a:pt x="1156" y="6530"/>
                    </a:lnTo>
                    <a:cubicBezTo>
                      <a:pt x="1175" y="2912"/>
                      <a:pt x="4114" y="0"/>
                      <a:pt x="7728" y="0"/>
                    </a:cubicBezTo>
                    <a:cubicBezTo>
                      <a:pt x="7741" y="0"/>
                      <a:pt x="7752" y="0"/>
                      <a:pt x="7766" y="0"/>
                    </a:cubicBezTo>
                    <a:cubicBezTo>
                      <a:pt x="11398" y="19"/>
                      <a:pt x="14318" y="2983"/>
                      <a:pt x="14296" y="6610"/>
                    </a:cubicBezTo>
                    <a:lnTo>
                      <a:pt x="13140" y="194403"/>
                    </a:lnTo>
                    <a:cubicBezTo>
                      <a:pt x="13118" y="198021"/>
                      <a:pt x="10179" y="200933"/>
                      <a:pt x="6569" y="200933"/>
                    </a:cubicBezTo>
                    <a:close/>
                  </a:path>
                </a:pathLst>
              </a:custGeom>
              <a:grpFill/>
              <a:ln w="274" cap="flat">
                <a:noFill/>
                <a:prstDash val="solid"/>
                <a:miter/>
              </a:ln>
            </p:spPr>
            <p:txBody>
              <a:bodyPr rtlCol="0" anchor="ctr"/>
              <a:lstStyle/>
              <a:p>
                <a:endParaRPr lang="en-GB" dirty="0"/>
              </a:p>
            </p:txBody>
          </p:sp>
          <p:sp>
            <p:nvSpPr>
              <p:cNvPr id="939" name="Freihandform: Form 938">
                <a:extLst>
                  <a:ext uri="{FF2B5EF4-FFF2-40B4-BE49-F238E27FC236}">
                    <a16:creationId xmlns:a16="http://schemas.microsoft.com/office/drawing/2014/main" id="{E2555DEA-E797-447F-B7A2-BA3C72C32CF9}"/>
                  </a:ext>
                </a:extLst>
              </p:cNvPr>
              <p:cNvSpPr/>
              <p:nvPr/>
            </p:nvSpPr>
            <p:spPr>
              <a:xfrm>
                <a:off x="7066839" y="3482261"/>
                <a:ext cx="13137" cy="33725"/>
              </a:xfrm>
              <a:custGeom>
                <a:avLst/>
                <a:gdLst>
                  <a:gd name="connsiteX0" fmla="*/ 6569 w 13137"/>
                  <a:gd name="connsiteY0" fmla="*/ 33726 h 33725"/>
                  <a:gd name="connsiteX1" fmla="*/ 0 w 13137"/>
                  <a:gd name="connsiteY1" fmla="*/ 27157 h 33725"/>
                  <a:gd name="connsiteX2" fmla="*/ 0 w 13137"/>
                  <a:gd name="connsiteY2" fmla="*/ 6569 h 33725"/>
                  <a:gd name="connsiteX3" fmla="*/ 6569 w 13137"/>
                  <a:gd name="connsiteY3" fmla="*/ 0 h 33725"/>
                  <a:gd name="connsiteX4" fmla="*/ 13137 w 13137"/>
                  <a:gd name="connsiteY4" fmla="*/ 6569 h 33725"/>
                  <a:gd name="connsiteX5" fmla="*/ 13137 w 13137"/>
                  <a:gd name="connsiteY5" fmla="*/ 27157 h 33725"/>
                  <a:gd name="connsiteX6" fmla="*/ 6569 w 13137"/>
                  <a:gd name="connsiteY6" fmla="*/ 33726 h 3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33725">
                    <a:moveTo>
                      <a:pt x="6569" y="33726"/>
                    </a:moveTo>
                    <a:cubicBezTo>
                      <a:pt x="2936" y="33726"/>
                      <a:pt x="0" y="30787"/>
                      <a:pt x="0" y="27157"/>
                    </a:cubicBezTo>
                    <a:lnTo>
                      <a:pt x="0" y="6569"/>
                    </a:lnTo>
                    <a:cubicBezTo>
                      <a:pt x="0" y="2937"/>
                      <a:pt x="2939" y="0"/>
                      <a:pt x="6569" y="0"/>
                    </a:cubicBezTo>
                    <a:cubicBezTo>
                      <a:pt x="10198" y="0"/>
                      <a:pt x="13137" y="2939"/>
                      <a:pt x="13137" y="6569"/>
                    </a:cubicBezTo>
                    <a:lnTo>
                      <a:pt x="13137" y="27157"/>
                    </a:lnTo>
                    <a:cubicBezTo>
                      <a:pt x="13137" y="30787"/>
                      <a:pt x="10201" y="33726"/>
                      <a:pt x="6569" y="33726"/>
                    </a:cubicBezTo>
                    <a:close/>
                  </a:path>
                </a:pathLst>
              </a:custGeom>
              <a:grpFill/>
              <a:ln w="274" cap="flat">
                <a:noFill/>
                <a:prstDash val="solid"/>
                <a:miter/>
              </a:ln>
            </p:spPr>
            <p:txBody>
              <a:bodyPr rtlCol="0" anchor="ctr"/>
              <a:lstStyle/>
              <a:p>
                <a:endParaRPr lang="en-GB" dirty="0"/>
              </a:p>
            </p:txBody>
          </p:sp>
          <p:sp>
            <p:nvSpPr>
              <p:cNvPr id="940" name="Freihandform: Form 939">
                <a:extLst>
                  <a:ext uri="{FF2B5EF4-FFF2-40B4-BE49-F238E27FC236}">
                    <a16:creationId xmlns:a16="http://schemas.microsoft.com/office/drawing/2014/main" id="{2B3B30FE-E91E-4448-BD3C-B22AA7CA18EA}"/>
                  </a:ext>
                </a:extLst>
              </p:cNvPr>
              <p:cNvSpPr/>
              <p:nvPr/>
            </p:nvSpPr>
            <p:spPr>
              <a:xfrm>
                <a:off x="7065683" y="3536939"/>
                <a:ext cx="14293" cy="191701"/>
              </a:xfrm>
              <a:custGeom>
                <a:avLst/>
                <a:gdLst>
                  <a:gd name="connsiteX0" fmla="*/ 6569 w 14293"/>
                  <a:gd name="connsiteY0" fmla="*/ 191702 h 191701"/>
                  <a:gd name="connsiteX1" fmla="*/ 6525 w 14293"/>
                  <a:gd name="connsiteY1" fmla="*/ 191702 h 191701"/>
                  <a:gd name="connsiteX2" fmla="*/ 0 w 14293"/>
                  <a:gd name="connsiteY2" fmla="*/ 185087 h 191701"/>
                  <a:gd name="connsiteX3" fmla="*/ 1156 w 14293"/>
                  <a:gd name="connsiteY3" fmla="*/ 6525 h 191701"/>
                  <a:gd name="connsiteX4" fmla="*/ 7725 w 14293"/>
                  <a:gd name="connsiteY4" fmla="*/ 0 h 191701"/>
                  <a:gd name="connsiteX5" fmla="*/ 7769 w 14293"/>
                  <a:gd name="connsiteY5" fmla="*/ 0 h 191701"/>
                  <a:gd name="connsiteX6" fmla="*/ 14294 w 14293"/>
                  <a:gd name="connsiteY6" fmla="*/ 6615 h 191701"/>
                  <a:gd name="connsiteX7" fmla="*/ 13138 w 14293"/>
                  <a:gd name="connsiteY7" fmla="*/ 185177 h 191701"/>
                  <a:gd name="connsiteX8" fmla="*/ 6569 w 14293"/>
                  <a:gd name="connsiteY8" fmla="*/ 191702 h 191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93" h="191701">
                    <a:moveTo>
                      <a:pt x="6569" y="191702"/>
                    </a:moveTo>
                    <a:cubicBezTo>
                      <a:pt x="6555" y="191702"/>
                      <a:pt x="6544" y="191702"/>
                      <a:pt x="6525" y="191702"/>
                    </a:cubicBezTo>
                    <a:cubicBezTo>
                      <a:pt x="2901" y="191677"/>
                      <a:pt x="-24" y="188719"/>
                      <a:pt x="0" y="185087"/>
                    </a:cubicBezTo>
                    <a:lnTo>
                      <a:pt x="1156" y="6525"/>
                    </a:lnTo>
                    <a:cubicBezTo>
                      <a:pt x="1181" y="2912"/>
                      <a:pt x="4115" y="0"/>
                      <a:pt x="7725" y="0"/>
                    </a:cubicBezTo>
                    <a:cubicBezTo>
                      <a:pt x="7739" y="0"/>
                      <a:pt x="7750" y="0"/>
                      <a:pt x="7769" y="0"/>
                    </a:cubicBezTo>
                    <a:cubicBezTo>
                      <a:pt x="11393" y="25"/>
                      <a:pt x="14318" y="2983"/>
                      <a:pt x="14294" y="6615"/>
                    </a:cubicBezTo>
                    <a:lnTo>
                      <a:pt x="13138" y="185177"/>
                    </a:lnTo>
                    <a:cubicBezTo>
                      <a:pt x="13113" y="188790"/>
                      <a:pt x="10182" y="191702"/>
                      <a:pt x="6569" y="191702"/>
                    </a:cubicBezTo>
                    <a:close/>
                  </a:path>
                </a:pathLst>
              </a:custGeom>
              <a:grpFill/>
              <a:ln w="274" cap="flat">
                <a:noFill/>
                <a:prstDash val="solid"/>
                <a:miter/>
              </a:ln>
            </p:spPr>
            <p:txBody>
              <a:bodyPr rtlCol="0" anchor="ctr"/>
              <a:lstStyle/>
              <a:p>
                <a:endParaRPr lang="en-GB" dirty="0"/>
              </a:p>
            </p:txBody>
          </p:sp>
          <p:sp>
            <p:nvSpPr>
              <p:cNvPr id="941" name="Freihandform: Form 940">
                <a:extLst>
                  <a:ext uri="{FF2B5EF4-FFF2-40B4-BE49-F238E27FC236}">
                    <a16:creationId xmlns:a16="http://schemas.microsoft.com/office/drawing/2014/main" id="{B126805E-0ED3-46E1-BB9F-06A8B9FE660A}"/>
                  </a:ext>
                </a:extLst>
              </p:cNvPr>
              <p:cNvSpPr/>
              <p:nvPr/>
            </p:nvSpPr>
            <p:spPr>
              <a:xfrm>
                <a:off x="7025024" y="3584506"/>
                <a:ext cx="14296" cy="144134"/>
              </a:xfrm>
              <a:custGeom>
                <a:avLst/>
                <a:gdLst>
                  <a:gd name="connsiteX0" fmla="*/ 6569 w 14296"/>
                  <a:gd name="connsiteY0" fmla="*/ 144134 h 144134"/>
                  <a:gd name="connsiteX1" fmla="*/ 6512 w 14296"/>
                  <a:gd name="connsiteY1" fmla="*/ 144134 h 144134"/>
                  <a:gd name="connsiteX2" fmla="*/ 0 w 14296"/>
                  <a:gd name="connsiteY2" fmla="*/ 137506 h 144134"/>
                  <a:gd name="connsiteX3" fmla="*/ 1156 w 14296"/>
                  <a:gd name="connsiteY3" fmla="*/ 6528 h 144134"/>
                  <a:gd name="connsiteX4" fmla="*/ 7785 w 14296"/>
                  <a:gd name="connsiteY4" fmla="*/ 16 h 144134"/>
                  <a:gd name="connsiteX5" fmla="*/ 14296 w 14296"/>
                  <a:gd name="connsiteY5" fmla="*/ 6645 h 144134"/>
                  <a:gd name="connsiteX6" fmla="*/ 13141 w 14296"/>
                  <a:gd name="connsiteY6" fmla="*/ 137623 h 144134"/>
                  <a:gd name="connsiteX7" fmla="*/ 6569 w 14296"/>
                  <a:gd name="connsiteY7" fmla="*/ 144134 h 1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96" h="144134">
                    <a:moveTo>
                      <a:pt x="6569" y="144134"/>
                    </a:moveTo>
                    <a:cubicBezTo>
                      <a:pt x="6550" y="144134"/>
                      <a:pt x="6531" y="144134"/>
                      <a:pt x="6512" y="144134"/>
                    </a:cubicBezTo>
                    <a:cubicBezTo>
                      <a:pt x="2879" y="144102"/>
                      <a:pt x="-32" y="141132"/>
                      <a:pt x="0" y="137506"/>
                    </a:cubicBezTo>
                    <a:lnTo>
                      <a:pt x="1156" y="6528"/>
                    </a:lnTo>
                    <a:cubicBezTo>
                      <a:pt x="1189" y="2895"/>
                      <a:pt x="4243" y="-255"/>
                      <a:pt x="7785" y="16"/>
                    </a:cubicBezTo>
                    <a:cubicBezTo>
                      <a:pt x="11418" y="49"/>
                      <a:pt x="14329" y="3019"/>
                      <a:pt x="14296" y="6645"/>
                    </a:cubicBezTo>
                    <a:lnTo>
                      <a:pt x="13141" y="137623"/>
                    </a:lnTo>
                    <a:cubicBezTo>
                      <a:pt x="13108" y="141228"/>
                      <a:pt x="10168" y="144134"/>
                      <a:pt x="6569" y="144134"/>
                    </a:cubicBezTo>
                    <a:close/>
                  </a:path>
                </a:pathLst>
              </a:custGeom>
              <a:grpFill/>
              <a:ln w="274" cap="flat">
                <a:noFill/>
                <a:prstDash val="solid"/>
                <a:miter/>
              </a:ln>
            </p:spPr>
            <p:txBody>
              <a:bodyPr rtlCol="0" anchor="ctr"/>
              <a:lstStyle/>
              <a:p>
                <a:endParaRPr lang="en-GB" dirty="0"/>
              </a:p>
            </p:txBody>
          </p:sp>
          <p:sp>
            <p:nvSpPr>
              <p:cNvPr id="942" name="Freihandform: Form 941">
                <a:extLst>
                  <a:ext uri="{FF2B5EF4-FFF2-40B4-BE49-F238E27FC236}">
                    <a16:creationId xmlns:a16="http://schemas.microsoft.com/office/drawing/2014/main" id="{8C80B300-F6A7-4EED-A77C-003D329C15D3}"/>
                  </a:ext>
                </a:extLst>
              </p:cNvPr>
              <p:cNvSpPr/>
              <p:nvPr/>
            </p:nvSpPr>
            <p:spPr>
              <a:xfrm>
                <a:off x="6995239" y="3478152"/>
                <a:ext cx="136948" cy="40732"/>
              </a:xfrm>
              <a:custGeom>
                <a:avLst/>
                <a:gdLst>
                  <a:gd name="connsiteX0" fmla="*/ 96037 w 136948"/>
                  <a:gd name="connsiteY0" fmla="*/ 40733 h 40732"/>
                  <a:gd name="connsiteX1" fmla="*/ 43451 w 136948"/>
                  <a:gd name="connsiteY1" fmla="*/ 36216 h 40732"/>
                  <a:gd name="connsiteX2" fmla="*/ 1163 w 136948"/>
                  <a:gd name="connsiteY2" fmla="*/ 10308 h 40732"/>
                  <a:gd name="connsiteX3" fmla="*/ 2836 w 136948"/>
                  <a:gd name="connsiteY3" fmla="*/ 1164 h 40732"/>
                  <a:gd name="connsiteX4" fmla="*/ 11980 w 136948"/>
                  <a:gd name="connsiteY4" fmla="*/ 2838 h 40732"/>
                  <a:gd name="connsiteX5" fmla="*/ 46070 w 136948"/>
                  <a:gd name="connsiteY5" fmla="*/ 23330 h 40732"/>
                  <a:gd name="connsiteX6" fmla="*/ 129716 w 136948"/>
                  <a:gd name="connsiteY6" fmla="*/ 26108 h 40732"/>
                  <a:gd name="connsiteX7" fmla="*/ 136915 w 136948"/>
                  <a:gd name="connsiteY7" fmla="*/ 31986 h 40732"/>
                  <a:gd name="connsiteX8" fmla="*/ 131037 w 136948"/>
                  <a:gd name="connsiteY8" fmla="*/ 39185 h 40732"/>
                  <a:gd name="connsiteX9" fmla="*/ 96037 w 136948"/>
                  <a:gd name="connsiteY9" fmla="*/ 40733 h 4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6948" h="40732">
                    <a:moveTo>
                      <a:pt x="96037" y="40733"/>
                    </a:moveTo>
                    <a:cubicBezTo>
                      <a:pt x="80053" y="40733"/>
                      <a:pt x="60857" y="39744"/>
                      <a:pt x="43451" y="36216"/>
                    </a:cubicBezTo>
                    <a:cubicBezTo>
                      <a:pt x="25153" y="32501"/>
                      <a:pt x="10134" y="23300"/>
                      <a:pt x="1163" y="10308"/>
                    </a:cubicBezTo>
                    <a:cubicBezTo>
                      <a:pt x="-897" y="7316"/>
                      <a:pt x="-147" y="3224"/>
                      <a:pt x="2836" y="1164"/>
                    </a:cubicBezTo>
                    <a:cubicBezTo>
                      <a:pt x="5827" y="-896"/>
                      <a:pt x="9920" y="-151"/>
                      <a:pt x="11980" y="2838"/>
                    </a:cubicBezTo>
                    <a:cubicBezTo>
                      <a:pt x="18902" y="12872"/>
                      <a:pt x="31330" y="20347"/>
                      <a:pt x="46070" y="23330"/>
                    </a:cubicBezTo>
                    <a:cubicBezTo>
                      <a:pt x="82552" y="30740"/>
                      <a:pt x="129248" y="26146"/>
                      <a:pt x="129716" y="26108"/>
                    </a:cubicBezTo>
                    <a:cubicBezTo>
                      <a:pt x="133411" y="25812"/>
                      <a:pt x="136556" y="28379"/>
                      <a:pt x="136915" y="31986"/>
                    </a:cubicBezTo>
                    <a:cubicBezTo>
                      <a:pt x="137279" y="35599"/>
                      <a:pt x="134650" y="38821"/>
                      <a:pt x="131037" y="39185"/>
                    </a:cubicBezTo>
                    <a:cubicBezTo>
                      <a:pt x="129946" y="39297"/>
                      <a:pt x="115338" y="40733"/>
                      <a:pt x="96037" y="40733"/>
                    </a:cubicBezTo>
                    <a:close/>
                  </a:path>
                </a:pathLst>
              </a:custGeom>
              <a:grpFill/>
              <a:ln w="274" cap="flat">
                <a:noFill/>
                <a:prstDash val="solid"/>
                <a:miter/>
              </a:ln>
            </p:spPr>
            <p:txBody>
              <a:bodyPr rtlCol="0" anchor="ctr"/>
              <a:lstStyle/>
              <a:p>
                <a:endParaRPr lang="en-GB" dirty="0"/>
              </a:p>
            </p:txBody>
          </p:sp>
          <p:sp>
            <p:nvSpPr>
              <p:cNvPr id="943" name="Freihandform: Form 942">
                <a:extLst>
                  <a:ext uri="{FF2B5EF4-FFF2-40B4-BE49-F238E27FC236}">
                    <a16:creationId xmlns:a16="http://schemas.microsoft.com/office/drawing/2014/main" id="{29FC9463-10A1-45D8-AEB9-C4C76E8FAF38}"/>
                  </a:ext>
                </a:extLst>
              </p:cNvPr>
              <p:cNvSpPr/>
              <p:nvPr/>
            </p:nvSpPr>
            <p:spPr>
              <a:xfrm>
                <a:off x="6948656" y="3414043"/>
                <a:ext cx="184767" cy="135365"/>
              </a:xfrm>
              <a:custGeom>
                <a:avLst/>
                <a:gdLst>
                  <a:gd name="connsiteX0" fmla="*/ 119080 w 184767"/>
                  <a:gd name="connsiteY0" fmla="*/ 135365 h 135365"/>
                  <a:gd name="connsiteX1" fmla="*/ 19904 w 184767"/>
                  <a:gd name="connsiteY1" fmla="*/ 109027 h 135365"/>
                  <a:gd name="connsiteX2" fmla="*/ 15 w 184767"/>
                  <a:gd name="connsiteY2" fmla="*/ 60964 h 135365"/>
                  <a:gd name="connsiteX3" fmla="*/ 16773 w 184767"/>
                  <a:gd name="connsiteY3" fmla="*/ 16046 h 135365"/>
                  <a:gd name="connsiteX4" fmla="*/ 68072 w 184767"/>
                  <a:gd name="connsiteY4" fmla="*/ 32 h 135365"/>
                  <a:gd name="connsiteX5" fmla="*/ 98119 w 184767"/>
                  <a:gd name="connsiteY5" fmla="*/ 32 h 135365"/>
                  <a:gd name="connsiteX6" fmla="*/ 137515 w 184767"/>
                  <a:gd name="connsiteY6" fmla="*/ 15495 h 135365"/>
                  <a:gd name="connsiteX7" fmla="*/ 156635 w 184767"/>
                  <a:gd name="connsiteY7" fmla="*/ 74921 h 135365"/>
                  <a:gd name="connsiteX8" fmla="*/ 156635 w 184767"/>
                  <a:gd name="connsiteY8" fmla="*/ 94914 h 135365"/>
                  <a:gd name="connsiteX9" fmla="*/ 150066 w 184767"/>
                  <a:gd name="connsiteY9" fmla="*/ 101483 h 135365"/>
                  <a:gd name="connsiteX10" fmla="*/ 143497 w 184767"/>
                  <a:gd name="connsiteY10" fmla="*/ 94914 h 135365"/>
                  <a:gd name="connsiteX11" fmla="*/ 143497 w 184767"/>
                  <a:gd name="connsiteY11" fmla="*/ 74795 h 135365"/>
                  <a:gd name="connsiteX12" fmla="*/ 128138 w 184767"/>
                  <a:gd name="connsiteY12" fmla="*/ 24699 h 135365"/>
                  <a:gd name="connsiteX13" fmla="*/ 98124 w 184767"/>
                  <a:gd name="connsiteY13" fmla="*/ 13175 h 135365"/>
                  <a:gd name="connsiteX14" fmla="*/ 67943 w 184767"/>
                  <a:gd name="connsiteY14" fmla="*/ 13175 h 135365"/>
                  <a:gd name="connsiteX15" fmla="*/ 25884 w 184767"/>
                  <a:gd name="connsiteY15" fmla="*/ 25521 h 135365"/>
                  <a:gd name="connsiteX16" fmla="*/ 13160 w 184767"/>
                  <a:gd name="connsiteY16" fmla="*/ 61213 h 135365"/>
                  <a:gd name="connsiteX17" fmla="*/ 28719 w 184767"/>
                  <a:gd name="connsiteY17" fmla="*/ 99286 h 135365"/>
                  <a:gd name="connsiteX18" fmla="*/ 177412 w 184767"/>
                  <a:gd name="connsiteY18" fmla="*/ 118368 h 135365"/>
                  <a:gd name="connsiteX19" fmla="*/ 184721 w 184767"/>
                  <a:gd name="connsiteY19" fmla="*/ 124110 h 135365"/>
                  <a:gd name="connsiteX20" fmla="*/ 178979 w 184767"/>
                  <a:gd name="connsiteY20" fmla="*/ 131418 h 135365"/>
                  <a:gd name="connsiteX21" fmla="*/ 119080 w 184767"/>
                  <a:gd name="connsiteY21" fmla="*/ 135365 h 135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4767" h="135365">
                    <a:moveTo>
                      <a:pt x="119080" y="135365"/>
                    </a:moveTo>
                    <a:cubicBezTo>
                      <a:pt x="72537" y="135365"/>
                      <a:pt x="39296" y="126556"/>
                      <a:pt x="19904" y="109027"/>
                    </a:cubicBezTo>
                    <a:cubicBezTo>
                      <a:pt x="6334" y="96761"/>
                      <a:pt x="-358" y="80591"/>
                      <a:pt x="15" y="60964"/>
                    </a:cubicBezTo>
                    <a:cubicBezTo>
                      <a:pt x="382" y="41499"/>
                      <a:pt x="6019" y="26381"/>
                      <a:pt x="16773" y="16046"/>
                    </a:cubicBezTo>
                    <a:cubicBezTo>
                      <a:pt x="28309" y="4952"/>
                      <a:pt x="45703" y="-469"/>
                      <a:pt x="68072" y="32"/>
                    </a:cubicBezTo>
                    <a:lnTo>
                      <a:pt x="98119" y="32"/>
                    </a:lnTo>
                    <a:cubicBezTo>
                      <a:pt x="114198" y="32"/>
                      <a:pt x="127453" y="5236"/>
                      <a:pt x="137515" y="15495"/>
                    </a:cubicBezTo>
                    <a:cubicBezTo>
                      <a:pt x="150329" y="28553"/>
                      <a:pt x="157117" y="49654"/>
                      <a:pt x="156635" y="74921"/>
                    </a:cubicBezTo>
                    <a:lnTo>
                      <a:pt x="156635" y="94914"/>
                    </a:lnTo>
                    <a:cubicBezTo>
                      <a:pt x="156635" y="98547"/>
                      <a:pt x="153696" y="101483"/>
                      <a:pt x="150066" y="101483"/>
                    </a:cubicBezTo>
                    <a:cubicBezTo>
                      <a:pt x="146437" y="101483"/>
                      <a:pt x="143497" y="98544"/>
                      <a:pt x="143497" y="94914"/>
                    </a:cubicBezTo>
                    <a:lnTo>
                      <a:pt x="143497" y="74795"/>
                    </a:lnTo>
                    <a:cubicBezTo>
                      <a:pt x="143914" y="52960"/>
                      <a:pt x="138460" y="35212"/>
                      <a:pt x="128138" y="24699"/>
                    </a:cubicBezTo>
                    <a:cubicBezTo>
                      <a:pt x="120638" y="17051"/>
                      <a:pt x="110539" y="13175"/>
                      <a:pt x="98124" y="13175"/>
                    </a:cubicBezTo>
                    <a:lnTo>
                      <a:pt x="67943" y="13175"/>
                    </a:lnTo>
                    <a:cubicBezTo>
                      <a:pt x="48880" y="12720"/>
                      <a:pt x="34817" y="16936"/>
                      <a:pt x="25884" y="25521"/>
                    </a:cubicBezTo>
                    <a:cubicBezTo>
                      <a:pt x="17735" y="33355"/>
                      <a:pt x="13456" y="45367"/>
                      <a:pt x="13160" y="61213"/>
                    </a:cubicBezTo>
                    <a:cubicBezTo>
                      <a:pt x="12865" y="76874"/>
                      <a:pt x="18102" y="89682"/>
                      <a:pt x="28719" y="99286"/>
                    </a:cubicBezTo>
                    <a:cubicBezTo>
                      <a:pt x="52663" y="120926"/>
                      <a:pt x="102691" y="127356"/>
                      <a:pt x="177412" y="118368"/>
                    </a:cubicBezTo>
                    <a:cubicBezTo>
                      <a:pt x="181069" y="117933"/>
                      <a:pt x="184285" y="120510"/>
                      <a:pt x="184721" y="124110"/>
                    </a:cubicBezTo>
                    <a:cubicBezTo>
                      <a:pt x="185151" y="127709"/>
                      <a:pt x="182584" y="130982"/>
                      <a:pt x="178979" y="131418"/>
                    </a:cubicBezTo>
                    <a:cubicBezTo>
                      <a:pt x="157051" y="134042"/>
                      <a:pt x="137071" y="135357"/>
                      <a:pt x="119080" y="135365"/>
                    </a:cubicBezTo>
                    <a:close/>
                  </a:path>
                </a:pathLst>
              </a:custGeom>
              <a:grpFill/>
              <a:ln w="274" cap="flat">
                <a:noFill/>
                <a:prstDash val="solid"/>
                <a:miter/>
              </a:ln>
            </p:spPr>
            <p:txBody>
              <a:bodyPr rtlCol="0" anchor="ctr"/>
              <a:lstStyle/>
              <a:p>
                <a:endParaRPr lang="en-GB" dirty="0"/>
              </a:p>
            </p:txBody>
          </p:sp>
          <p:sp>
            <p:nvSpPr>
              <p:cNvPr id="944" name="Freihandform: Form 943">
                <a:extLst>
                  <a:ext uri="{FF2B5EF4-FFF2-40B4-BE49-F238E27FC236}">
                    <a16:creationId xmlns:a16="http://schemas.microsoft.com/office/drawing/2014/main" id="{3CEA6824-AD57-4D1E-A326-5BCB656A0552}"/>
                  </a:ext>
                </a:extLst>
              </p:cNvPr>
              <p:cNvSpPr/>
              <p:nvPr/>
            </p:nvSpPr>
            <p:spPr>
              <a:xfrm>
                <a:off x="7072523" y="3536117"/>
                <a:ext cx="33051" cy="67229"/>
              </a:xfrm>
              <a:custGeom>
                <a:avLst/>
                <a:gdLst>
                  <a:gd name="connsiteX0" fmla="*/ 12754 w 33051"/>
                  <a:gd name="connsiteY0" fmla="*/ 67230 h 67229"/>
                  <a:gd name="connsiteX1" fmla="*/ 6569 w 33051"/>
                  <a:gd name="connsiteY1" fmla="*/ 67230 h 67229"/>
                  <a:gd name="connsiteX2" fmla="*/ 0 w 33051"/>
                  <a:gd name="connsiteY2" fmla="*/ 60661 h 67229"/>
                  <a:gd name="connsiteX3" fmla="*/ 6569 w 33051"/>
                  <a:gd name="connsiteY3" fmla="*/ 54092 h 67229"/>
                  <a:gd name="connsiteX4" fmla="*/ 12754 w 33051"/>
                  <a:gd name="connsiteY4" fmla="*/ 54092 h 67229"/>
                  <a:gd name="connsiteX5" fmla="*/ 19914 w 33051"/>
                  <a:gd name="connsiteY5" fmla="*/ 46926 h 67229"/>
                  <a:gd name="connsiteX6" fmla="*/ 19914 w 33051"/>
                  <a:gd name="connsiteY6" fmla="*/ 6569 h 67229"/>
                  <a:gd name="connsiteX7" fmla="*/ 26483 w 33051"/>
                  <a:gd name="connsiteY7" fmla="*/ 0 h 67229"/>
                  <a:gd name="connsiteX8" fmla="*/ 33052 w 33051"/>
                  <a:gd name="connsiteY8" fmla="*/ 6569 h 67229"/>
                  <a:gd name="connsiteX9" fmla="*/ 33052 w 33051"/>
                  <a:gd name="connsiteY9" fmla="*/ 46926 h 67229"/>
                  <a:gd name="connsiteX10" fmla="*/ 12754 w 33051"/>
                  <a:gd name="connsiteY10" fmla="*/ 67230 h 6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051" h="67229">
                    <a:moveTo>
                      <a:pt x="12754" y="67230"/>
                    </a:moveTo>
                    <a:lnTo>
                      <a:pt x="6569" y="67230"/>
                    </a:lnTo>
                    <a:cubicBezTo>
                      <a:pt x="2936" y="67230"/>
                      <a:pt x="0" y="64291"/>
                      <a:pt x="0" y="60661"/>
                    </a:cubicBezTo>
                    <a:cubicBezTo>
                      <a:pt x="0" y="57032"/>
                      <a:pt x="2939" y="54092"/>
                      <a:pt x="6569" y="54092"/>
                    </a:cubicBezTo>
                    <a:lnTo>
                      <a:pt x="12754" y="54092"/>
                    </a:lnTo>
                    <a:cubicBezTo>
                      <a:pt x="16701" y="54092"/>
                      <a:pt x="19914" y="50879"/>
                      <a:pt x="19914" y="46926"/>
                    </a:cubicBezTo>
                    <a:lnTo>
                      <a:pt x="19914" y="6569"/>
                    </a:lnTo>
                    <a:cubicBezTo>
                      <a:pt x="19914" y="2937"/>
                      <a:pt x="22854" y="0"/>
                      <a:pt x="26483" y="0"/>
                    </a:cubicBezTo>
                    <a:cubicBezTo>
                      <a:pt x="30115" y="0"/>
                      <a:pt x="33052" y="2939"/>
                      <a:pt x="33052" y="6569"/>
                    </a:cubicBezTo>
                    <a:lnTo>
                      <a:pt x="33052" y="46926"/>
                    </a:lnTo>
                    <a:cubicBezTo>
                      <a:pt x="33055" y="58119"/>
                      <a:pt x="23949" y="67230"/>
                      <a:pt x="12754" y="67230"/>
                    </a:cubicBezTo>
                    <a:close/>
                  </a:path>
                </a:pathLst>
              </a:custGeom>
              <a:grpFill/>
              <a:ln w="274" cap="flat">
                <a:noFill/>
                <a:prstDash val="solid"/>
                <a:miter/>
              </a:ln>
            </p:spPr>
            <p:txBody>
              <a:bodyPr rtlCol="0" anchor="ctr"/>
              <a:lstStyle/>
              <a:p>
                <a:endParaRPr lang="en-GB" dirty="0"/>
              </a:p>
            </p:txBody>
          </p:sp>
          <p:sp>
            <p:nvSpPr>
              <p:cNvPr id="945" name="Freihandform: Form 944">
                <a:extLst>
                  <a:ext uri="{FF2B5EF4-FFF2-40B4-BE49-F238E27FC236}">
                    <a16:creationId xmlns:a16="http://schemas.microsoft.com/office/drawing/2014/main" id="{03FA4EAF-1C57-442C-B6B3-C631CA73C012}"/>
                  </a:ext>
                </a:extLst>
              </p:cNvPr>
              <p:cNvSpPr/>
              <p:nvPr/>
            </p:nvSpPr>
            <p:spPr>
              <a:xfrm>
                <a:off x="6981613" y="3311802"/>
                <a:ext cx="81323" cy="92685"/>
              </a:xfrm>
              <a:custGeom>
                <a:avLst/>
                <a:gdLst>
                  <a:gd name="connsiteX0" fmla="*/ 40659 w 81323"/>
                  <a:gd name="connsiteY0" fmla="*/ 92686 h 92685"/>
                  <a:gd name="connsiteX1" fmla="*/ 0 w 81323"/>
                  <a:gd name="connsiteY1" fmla="*/ 46343 h 92685"/>
                  <a:gd name="connsiteX2" fmla="*/ 40659 w 81323"/>
                  <a:gd name="connsiteY2" fmla="*/ 0 h 92685"/>
                  <a:gd name="connsiteX3" fmla="*/ 81323 w 81323"/>
                  <a:gd name="connsiteY3" fmla="*/ 46343 h 92685"/>
                  <a:gd name="connsiteX4" fmla="*/ 40659 w 81323"/>
                  <a:gd name="connsiteY4" fmla="*/ 92686 h 92685"/>
                  <a:gd name="connsiteX5" fmla="*/ 40659 w 81323"/>
                  <a:gd name="connsiteY5" fmla="*/ 13137 h 92685"/>
                  <a:gd name="connsiteX6" fmla="*/ 13140 w 81323"/>
                  <a:gd name="connsiteY6" fmla="*/ 46340 h 92685"/>
                  <a:gd name="connsiteX7" fmla="*/ 40659 w 81323"/>
                  <a:gd name="connsiteY7" fmla="*/ 79543 h 92685"/>
                  <a:gd name="connsiteX8" fmla="*/ 68183 w 81323"/>
                  <a:gd name="connsiteY8" fmla="*/ 46340 h 92685"/>
                  <a:gd name="connsiteX9" fmla="*/ 40659 w 81323"/>
                  <a:gd name="connsiteY9" fmla="*/ 13137 h 92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323" h="92685">
                    <a:moveTo>
                      <a:pt x="40659" y="92686"/>
                    </a:moveTo>
                    <a:cubicBezTo>
                      <a:pt x="16720" y="92686"/>
                      <a:pt x="0" y="73629"/>
                      <a:pt x="0" y="46343"/>
                    </a:cubicBezTo>
                    <a:cubicBezTo>
                      <a:pt x="0" y="19054"/>
                      <a:pt x="16720" y="0"/>
                      <a:pt x="40659" y="0"/>
                    </a:cubicBezTo>
                    <a:cubicBezTo>
                      <a:pt x="64603" y="0"/>
                      <a:pt x="81323" y="19057"/>
                      <a:pt x="81323" y="46343"/>
                    </a:cubicBezTo>
                    <a:cubicBezTo>
                      <a:pt x="81323" y="73629"/>
                      <a:pt x="64603" y="92686"/>
                      <a:pt x="40659" y="92686"/>
                    </a:cubicBezTo>
                    <a:close/>
                    <a:moveTo>
                      <a:pt x="40659" y="13137"/>
                    </a:moveTo>
                    <a:cubicBezTo>
                      <a:pt x="20345" y="13137"/>
                      <a:pt x="13140" y="31025"/>
                      <a:pt x="13140" y="46340"/>
                    </a:cubicBezTo>
                    <a:cubicBezTo>
                      <a:pt x="13140" y="61655"/>
                      <a:pt x="20345" y="79543"/>
                      <a:pt x="40659" y="79543"/>
                    </a:cubicBezTo>
                    <a:cubicBezTo>
                      <a:pt x="60973" y="79543"/>
                      <a:pt x="68183" y="61655"/>
                      <a:pt x="68183" y="46340"/>
                    </a:cubicBezTo>
                    <a:cubicBezTo>
                      <a:pt x="68183" y="31025"/>
                      <a:pt x="60971" y="13137"/>
                      <a:pt x="40659" y="13137"/>
                    </a:cubicBezTo>
                    <a:close/>
                  </a:path>
                </a:pathLst>
              </a:custGeom>
              <a:grpFill/>
              <a:ln w="274" cap="flat">
                <a:noFill/>
                <a:prstDash val="solid"/>
                <a:miter/>
              </a:ln>
            </p:spPr>
            <p:txBody>
              <a:bodyPr rtlCol="0" anchor="ctr"/>
              <a:lstStyle/>
              <a:p>
                <a:endParaRPr lang="en-GB" dirty="0"/>
              </a:p>
            </p:txBody>
          </p:sp>
        </p:grpSp>
        <p:grpSp>
          <p:nvGrpSpPr>
            <p:cNvPr id="933" name="Gruppieren 932">
              <a:extLst>
                <a:ext uri="{FF2B5EF4-FFF2-40B4-BE49-F238E27FC236}">
                  <a16:creationId xmlns:a16="http://schemas.microsoft.com/office/drawing/2014/main" id="{21DF0F02-FEC2-4AE8-A9A7-8EB5824027BA}"/>
                </a:ext>
              </a:extLst>
            </p:cNvPr>
            <p:cNvGrpSpPr/>
            <p:nvPr/>
          </p:nvGrpSpPr>
          <p:grpSpPr>
            <a:xfrm>
              <a:off x="7246061" y="3276253"/>
              <a:ext cx="282763" cy="429144"/>
              <a:chOff x="7110217" y="3314558"/>
              <a:chExt cx="272839" cy="414083"/>
            </a:xfrm>
          </p:grpSpPr>
          <p:sp>
            <p:nvSpPr>
              <p:cNvPr id="934" name="Freihandform: Form 933">
                <a:extLst>
                  <a:ext uri="{FF2B5EF4-FFF2-40B4-BE49-F238E27FC236}">
                    <a16:creationId xmlns:a16="http://schemas.microsoft.com/office/drawing/2014/main" id="{8AD10D12-0C01-4B31-BE54-4301CBBCA808}"/>
                  </a:ext>
                </a:extLst>
              </p:cNvPr>
              <p:cNvSpPr/>
              <p:nvPr/>
            </p:nvSpPr>
            <p:spPr>
              <a:xfrm>
                <a:off x="7232483" y="3314558"/>
                <a:ext cx="82651" cy="93303"/>
              </a:xfrm>
              <a:custGeom>
                <a:avLst/>
                <a:gdLst>
                  <a:gd name="connsiteX0" fmla="*/ 41563 w 82651"/>
                  <a:gd name="connsiteY0" fmla="*/ 93304 h 93303"/>
                  <a:gd name="connsiteX1" fmla="*/ 41371 w 82651"/>
                  <a:gd name="connsiteY1" fmla="*/ 93304 h 93303"/>
                  <a:gd name="connsiteX2" fmla="*/ 0 w 82651"/>
                  <a:gd name="connsiteY2" fmla="*/ 46531 h 93303"/>
                  <a:gd name="connsiteX3" fmla="*/ 13107 w 82651"/>
                  <a:gd name="connsiteY3" fmla="*/ 11068 h 93303"/>
                  <a:gd name="connsiteX4" fmla="*/ 41281 w 82651"/>
                  <a:gd name="connsiteY4" fmla="*/ 7 h 93303"/>
                  <a:gd name="connsiteX5" fmla="*/ 82652 w 82651"/>
                  <a:gd name="connsiteY5" fmla="*/ 46780 h 93303"/>
                  <a:gd name="connsiteX6" fmla="*/ 69544 w 82651"/>
                  <a:gd name="connsiteY6" fmla="*/ 82243 h 93303"/>
                  <a:gd name="connsiteX7" fmla="*/ 41563 w 82651"/>
                  <a:gd name="connsiteY7" fmla="*/ 93304 h 93303"/>
                  <a:gd name="connsiteX8" fmla="*/ 41089 w 82651"/>
                  <a:gd name="connsiteY8" fmla="*/ 13147 h 93303"/>
                  <a:gd name="connsiteX9" fmla="*/ 22394 w 82651"/>
                  <a:gd name="connsiteY9" fmla="*/ 20371 h 93303"/>
                  <a:gd name="connsiteX10" fmla="*/ 13140 w 82651"/>
                  <a:gd name="connsiteY10" fmla="*/ 46503 h 93303"/>
                  <a:gd name="connsiteX11" fmla="*/ 41423 w 82651"/>
                  <a:gd name="connsiteY11" fmla="*/ 80164 h 93303"/>
                  <a:gd name="connsiteX12" fmla="*/ 41566 w 82651"/>
                  <a:gd name="connsiteY12" fmla="*/ 80164 h 93303"/>
                  <a:gd name="connsiteX13" fmla="*/ 60261 w 82651"/>
                  <a:gd name="connsiteY13" fmla="*/ 72940 h 93303"/>
                  <a:gd name="connsiteX14" fmla="*/ 69514 w 82651"/>
                  <a:gd name="connsiteY14" fmla="*/ 46808 h 93303"/>
                  <a:gd name="connsiteX15" fmla="*/ 41231 w 82651"/>
                  <a:gd name="connsiteY15" fmla="*/ 13147 h 93303"/>
                  <a:gd name="connsiteX16" fmla="*/ 41089 w 82651"/>
                  <a:gd name="connsiteY16" fmla="*/ 13147 h 93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2651" h="93303">
                    <a:moveTo>
                      <a:pt x="41563" y="93304"/>
                    </a:moveTo>
                    <a:cubicBezTo>
                      <a:pt x="41500" y="93304"/>
                      <a:pt x="41434" y="93304"/>
                      <a:pt x="41371" y="93304"/>
                    </a:cubicBezTo>
                    <a:cubicBezTo>
                      <a:pt x="17060" y="93208"/>
                      <a:pt x="44" y="73973"/>
                      <a:pt x="0" y="46531"/>
                    </a:cubicBezTo>
                    <a:cubicBezTo>
                      <a:pt x="-25" y="32120"/>
                      <a:pt x="4632" y="19533"/>
                      <a:pt x="13107" y="11068"/>
                    </a:cubicBezTo>
                    <a:cubicBezTo>
                      <a:pt x="20402" y="3793"/>
                      <a:pt x="30066" y="-193"/>
                      <a:pt x="41281" y="7"/>
                    </a:cubicBezTo>
                    <a:cubicBezTo>
                      <a:pt x="65592" y="103"/>
                      <a:pt x="82608" y="19338"/>
                      <a:pt x="82652" y="46780"/>
                    </a:cubicBezTo>
                    <a:cubicBezTo>
                      <a:pt x="82677" y="61191"/>
                      <a:pt x="78020" y="73778"/>
                      <a:pt x="69544" y="82243"/>
                    </a:cubicBezTo>
                    <a:cubicBezTo>
                      <a:pt x="62288" y="89480"/>
                      <a:pt x="52613" y="93304"/>
                      <a:pt x="41563" y="93304"/>
                    </a:cubicBezTo>
                    <a:close/>
                    <a:moveTo>
                      <a:pt x="41089" y="13147"/>
                    </a:moveTo>
                    <a:cubicBezTo>
                      <a:pt x="33485" y="13147"/>
                      <a:pt x="27198" y="15580"/>
                      <a:pt x="22394" y="20371"/>
                    </a:cubicBezTo>
                    <a:cubicBezTo>
                      <a:pt x="16408" y="26345"/>
                      <a:pt x="13121" y="35623"/>
                      <a:pt x="13140" y="46503"/>
                    </a:cubicBezTo>
                    <a:cubicBezTo>
                      <a:pt x="13165" y="61980"/>
                      <a:pt x="20588" y="80079"/>
                      <a:pt x="41423" y="80164"/>
                    </a:cubicBezTo>
                    <a:cubicBezTo>
                      <a:pt x="41475" y="80164"/>
                      <a:pt x="41519" y="80164"/>
                      <a:pt x="41566" y="80164"/>
                    </a:cubicBezTo>
                    <a:cubicBezTo>
                      <a:pt x="49170" y="80164"/>
                      <a:pt x="55457" y="77731"/>
                      <a:pt x="60261" y="72940"/>
                    </a:cubicBezTo>
                    <a:cubicBezTo>
                      <a:pt x="66246" y="66966"/>
                      <a:pt x="69534" y="57688"/>
                      <a:pt x="69514" y="46808"/>
                    </a:cubicBezTo>
                    <a:cubicBezTo>
                      <a:pt x="69490" y="31331"/>
                      <a:pt x="62066" y="13232"/>
                      <a:pt x="41231" y="13147"/>
                    </a:cubicBezTo>
                    <a:cubicBezTo>
                      <a:pt x="41179" y="13147"/>
                      <a:pt x="41133" y="13147"/>
                      <a:pt x="41089" y="13147"/>
                    </a:cubicBezTo>
                    <a:close/>
                  </a:path>
                </a:pathLst>
              </a:custGeom>
              <a:solidFill>
                <a:schemeClr val="accent1"/>
              </a:solidFill>
              <a:ln w="274" cap="flat">
                <a:noFill/>
                <a:prstDash val="solid"/>
                <a:miter/>
              </a:ln>
            </p:spPr>
            <p:txBody>
              <a:bodyPr rtlCol="0" anchor="ctr"/>
              <a:lstStyle/>
              <a:p>
                <a:endParaRPr lang="en-GB" dirty="0"/>
              </a:p>
            </p:txBody>
          </p:sp>
          <p:sp>
            <p:nvSpPr>
              <p:cNvPr id="935" name="Freihandform: Form 934">
                <a:extLst>
                  <a:ext uri="{FF2B5EF4-FFF2-40B4-BE49-F238E27FC236}">
                    <a16:creationId xmlns:a16="http://schemas.microsoft.com/office/drawing/2014/main" id="{5AEA55E3-2A48-4ED3-B80C-7990D0D6E7B6}"/>
                  </a:ext>
                </a:extLst>
              </p:cNvPr>
              <p:cNvSpPr/>
              <p:nvPr/>
            </p:nvSpPr>
            <p:spPr>
              <a:xfrm>
                <a:off x="7219712" y="3419688"/>
                <a:ext cx="163344" cy="308953"/>
              </a:xfrm>
              <a:custGeom>
                <a:avLst/>
                <a:gdLst>
                  <a:gd name="connsiteX0" fmla="*/ 6733 w 163344"/>
                  <a:gd name="connsiteY0" fmla="*/ 308953 h 308953"/>
                  <a:gd name="connsiteX1" fmla="*/ 162 w 163344"/>
                  <a:gd name="connsiteY1" fmla="*/ 302390 h 308953"/>
                  <a:gd name="connsiteX2" fmla="*/ 0 w 163344"/>
                  <a:gd name="connsiteY2" fmla="*/ 38881 h 308953"/>
                  <a:gd name="connsiteX3" fmla="*/ 33909 w 163344"/>
                  <a:gd name="connsiteY3" fmla="*/ 0 h 308953"/>
                  <a:gd name="connsiteX4" fmla="*/ 85591 w 163344"/>
                  <a:gd name="connsiteY4" fmla="*/ 162 h 308953"/>
                  <a:gd name="connsiteX5" fmla="*/ 85821 w 163344"/>
                  <a:gd name="connsiteY5" fmla="*/ 162 h 308953"/>
                  <a:gd name="connsiteX6" fmla="*/ 136136 w 163344"/>
                  <a:gd name="connsiteY6" fmla="*/ 30425 h 308953"/>
                  <a:gd name="connsiteX7" fmla="*/ 136662 w 163344"/>
                  <a:gd name="connsiteY7" fmla="*/ 31496 h 308953"/>
                  <a:gd name="connsiteX8" fmla="*/ 161562 w 163344"/>
                  <a:gd name="connsiteY8" fmla="*/ 96754 h 308953"/>
                  <a:gd name="connsiteX9" fmla="*/ 161992 w 163344"/>
                  <a:gd name="connsiteY9" fmla="*/ 98929 h 308953"/>
                  <a:gd name="connsiteX10" fmla="*/ 163296 w 163344"/>
                  <a:gd name="connsiteY10" fmla="*/ 149873 h 308953"/>
                  <a:gd name="connsiteX11" fmla="*/ 158329 w 163344"/>
                  <a:gd name="connsiteY11" fmla="*/ 164548 h 308953"/>
                  <a:gd name="connsiteX12" fmla="*/ 144811 w 163344"/>
                  <a:gd name="connsiteY12" fmla="*/ 170571 h 308953"/>
                  <a:gd name="connsiteX13" fmla="*/ 123746 w 163344"/>
                  <a:gd name="connsiteY13" fmla="*/ 151035 h 308953"/>
                  <a:gd name="connsiteX14" fmla="*/ 118646 w 163344"/>
                  <a:gd name="connsiteY14" fmla="*/ 107924 h 308953"/>
                  <a:gd name="connsiteX15" fmla="*/ 105281 w 163344"/>
                  <a:gd name="connsiteY15" fmla="*/ 80860 h 308953"/>
                  <a:gd name="connsiteX16" fmla="*/ 105281 w 163344"/>
                  <a:gd name="connsiteY16" fmla="*/ 302382 h 308953"/>
                  <a:gd name="connsiteX17" fmla="*/ 98712 w 163344"/>
                  <a:gd name="connsiteY17" fmla="*/ 308951 h 308953"/>
                  <a:gd name="connsiteX18" fmla="*/ 92143 w 163344"/>
                  <a:gd name="connsiteY18" fmla="*/ 302382 h 308953"/>
                  <a:gd name="connsiteX19" fmla="*/ 92143 w 163344"/>
                  <a:gd name="connsiteY19" fmla="*/ 52717 h 308953"/>
                  <a:gd name="connsiteX20" fmla="*/ 97219 w 163344"/>
                  <a:gd name="connsiteY20" fmla="*/ 46321 h 308953"/>
                  <a:gd name="connsiteX21" fmla="*/ 104604 w 163344"/>
                  <a:gd name="connsiteY21" fmla="*/ 49811 h 308953"/>
                  <a:gd name="connsiteX22" fmla="*/ 130929 w 163344"/>
                  <a:gd name="connsiteY22" fmla="*/ 103122 h 308953"/>
                  <a:gd name="connsiteX23" fmla="*/ 131564 w 163344"/>
                  <a:gd name="connsiteY23" fmla="*/ 105259 h 308953"/>
                  <a:gd name="connsiteX24" fmla="*/ 136837 w 163344"/>
                  <a:gd name="connsiteY24" fmla="*/ 149953 h 308953"/>
                  <a:gd name="connsiteX25" fmla="*/ 144504 w 163344"/>
                  <a:gd name="connsiteY25" fmla="*/ 157428 h 308953"/>
                  <a:gd name="connsiteX26" fmla="*/ 148643 w 163344"/>
                  <a:gd name="connsiteY26" fmla="*/ 155664 h 308953"/>
                  <a:gd name="connsiteX27" fmla="*/ 150169 w 163344"/>
                  <a:gd name="connsiteY27" fmla="*/ 150479 h 308953"/>
                  <a:gd name="connsiteX28" fmla="*/ 148887 w 163344"/>
                  <a:gd name="connsiteY28" fmla="*/ 100380 h 308953"/>
                  <a:gd name="connsiteX29" fmla="*/ 124609 w 163344"/>
                  <a:gd name="connsiteY29" fmla="*/ 36753 h 308953"/>
                  <a:gd name="connsiteX30" fmla="*/ 85766 w 163344"/>
                  <a:gd name="connsiteY30" fmla="*/ 13296 h 308953"/>
                  <a:gd name="connsiteX31" fmla="*/ 85605 w 163344"/>
                  <a:gd name="connsiteY31" fmla="*/ 13296 h 308953"/>
                  <a:gd name="connsiteX32" fmla="*/ 33923 w 163344"/>
                  <a:gd name="connsiteY32" fmla="*/ 13135 h 308953"/>
                  <a:gd name="connsiteX33" fmla="*/ 13140 w 163344"/>
                  <a:gd name="connsiteY33" fmla="*/ 39048 h 308953"/>
                  <a:gd name="connsiteX34" fmla="*/ 13302 w 163344"/>
                  <a:gd name="connsiteY34" fmla="*/ 302371 h 308953"/>
                  <a:gd name="connsiteX35" fmla="*/ 6739 w 163344"/>
                  <a:gd name="connsiteY35" fmla="*/ 308948 h 308953"/>
                  <a:gd name="connsiteX36" fmla="*/ 6733 w 163344"/>
                  <a:gd name="connsiteY36" fmla="*/ 308953 h 308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63344" h="308953">
                    <a:moveTo>
                      <a:pt x="6733" y="308953"/>
                    </a:moveTo>
                    <a:cubicBezTo>
                      <a:pt x="3109" y="308953"/>
                      <a:pt x="162" y="306014"/>
                      <a:pt x="162" y="302390"/>
                    </a:cubicBezTo>
                    <a:lnTo>
                      <a:pt x="0" y="38881"/>
                    </a:lnTo>
                    <a:cubicBezTo>
                      <a:pt x="655" y="14576"/>
                      <a:pt x="17753" y="77"/>
                      <a:pt x="33909" y="0"/>
                    </a:cubicBezTo>
                    <a:lnTo>
                      <a:pt x="85591" y="162"/>
                    </a:lnTo>
                    <a:cubicBezTo>
                      <a:pt x="85668" y="162"/>
                      <a:pt x="85744" y="162"/>
                      <a:pt x="85821" y="162"/>
                    </a:cubicBezTo>
                    <a:cubicBezTo>
                      <a:pt x="105500" y="162"/>
                      <a:pt x="124779" y="11743"/>
                      <a:pt x="136136" y="30425"/>
                    </a:cubicBezTo>
                    <a:cubicBezTo>
                      <a:pt x="136341" y="30765"/>
                      <a:pt x="136522" y="31124"/>
                      <a:pt x="136662" y="31496"/>
                    </a:cubicBezTo>
                    <a:lnTo>
                      <a:pt x="161562" y="96754"/>
                    </a:lnTo>
                    <a:cubicBezTo>
                      <a:pt x="161825" y="97447"/>
                      <a:pt x="161973" y="98183"/>
                      <a:pt x="161992" y="98929"/>
                    </a:cubicBezTo>
                    <a:lnTo>
                      <a:pt x="163296" y="149873"/>
                    </a:lnTo>
                    <a:cubicBezTo>
                      <a:pt x="163668" y="155341"/>
                      <a:pt x="161910" y="160647"/>
                      <a:pt x="158329" y="164548"/>
                    </a:cubicBezTo>
                    <a:cubicBezTo>
                      <a:pt x="154864" y="168328"/>
                      <a:pt x="150065" y="170470"/>
                      <a:pt x="144811" y="170571"/>
                    </a:cubicBezTo>
                    <a:cubicBezTo>
                      <a:pt x="131542" y="170385"/>
                      <a:pt x="124185" y="160370"/>
                      <a:pt x="123746" y="151035"/>
                    </a:cubicBezTo>
                    <a:lnTo>
                      <a:pt x="118646" y="107924"/>
                    </a:lnTo>
                    <a:lnTo>
                      <a:pt x="105281" y="80860"/>
                    </a:lnTo>
                    <a:lnTo>
                      <a:pt x="105281" y="302382"/>
                    </a:lnTo>
                    <a:cubicBezTo>
                      <a:pt x="105281" y="306014"/>
                      <a:pt x="102342" y="308951"/>
                      <a:pt x="98712" y="308951"/>
                    </a:cubicBezTo>
                    <a:cubicBezTo>
                      <a:pt x="95083" y="308951"/>
                      <a:pt x="92143" y="306011"/>
                      <a:pt x="92143" y="302382"/>
                    </a:cubicBezTo>
                    <a:lnTo>
                      <a:pt x="92143" y="52717"/>
                    </a:lnTo>
                    <a:cubicBezTo>
                      <a:pt x="92143" y="49663"/>
                      <a:pt x="94247" y="47014"/>
                      <a:pt x="97219" y="46321"/>
                    </a:cubicBezTo>
                    <a:cubicBezTo>
                      <a:pt x="100216" y="45642"/>
                      <a:pt x="103257" y="47066"/>
                      <a:pt x="104604" y="49811"/>
                    </a:cubicBezTo>
                    <a:lnTo>
                      <a:pt x="130929" y="103122"/>
                    </a:lnTo>
                    <a:cubicBezTo>
                      <a:pt x="131263" y="103791"/>
                      <a:pt x="131474" y="104514"/>
                      <a:pt x="131564" y="105259"/>
                    </a:cubicBezTo>
                    <a:lnTo>
                      <a:pt x="136837" y="149953"/>
                    </a:lnTo>
                    <a:cubicBezTo>
                      <a:pt x="136985" y="152802"/>
                      <a:pt x="138725" y="157343"/>
                      <a:pt x="144504" y="157428"/>
                    </a:cubicBezTo>
                    <a:cubicBezTo>
                      <a:pt x="146178" y="157395"/>
                      <a:pt x="147635" y="156774"/>
                      <a:pt x="148643" y="155664"/>
                    </a:cubicBezTo>
                    <a:cubicBezTo>
                      <a:pt x="149791" y="154421"/>
                      <a:pt x="150317" y="152629"/>
                      <a:pt x="150169" y="150479"/>
                    </a:cubicBezTo>
                    <a:lnTo>
                      <a:pt x="148887" y="100380"/>
                    </a:lnTo>
                    <a:lnTo>
                      <a:pt x="124609" y="36753"/>
                    </a:lnTo>
                    <a:cubicBezTo>
                      <a:pt x="115709" y="22470"/>
                      <a:pt x="100536" y="13296"/>
                      <a:pt x="85766" y="13296"/>
                    </a:cubicBezTo>
                    <a:cubicBezTo>
                      <a:pt x="85709" y="13296"/>
                      <a:pt x="85657" y="13296"/>
                      <a:pt x="85605" y="13296"/>
                    </a:cubicBezTo>
                    <a:lnTo>
                      <a:pt x="33923" y="13135"/>
                    </a:lnTo>
                    <a:cubicBezTo>
                      <a:pt x="24075" y="13187"/>
                      <a:pt x="13570" y="22887"/>
                      <a:pt x="13140" y="39048"/>
                    </a:cubicBezTo>
                    <a:lnTo>
                      <a:pt x="13302" y="302371"/>
                    </a:lnTo>
                    <a:cubicBezTo>
                      <a:pt x="13302" y="306003"/>
                      <a:pt x="10363" y="308948"/>
                      <a:pt x="6739" y="308948"/>
                    </a:cubicBezTo>
                    <a:cubicBezTo>
                      <a:pt x="6733" y="308953"/>
                      <a:pt x="6733" y="308953"/>
                      <a:pt x="6733" y="308953"/>
                    </a:cubicBezTo>
                    <a:close/>
                  </a:path>
                </a:pathLst>
              </a:custGeom>
              <a:solidFill>
                <a:schemeClr val="accent1"/>
              </a:solidFill>
              <a:ln w="274" cap="flat">
                <a:noFill/>
                <a:prstDash val="solid"/>
                <a:miter/>
              </a:ln>
            </p:spPr>
            <p:txBody>
              <a:bodyPr rtlCol="0" anchor="ctr"/>
              <a:lstStyle/>
              <a:p>
                <a:endParaRPr lang="en-GB" dirty="0"/>
              </a:p>
            </p:txBody>
          </p:sp>
          <p:sp>
            <p:nvSpPr>
              <p:cNvPr id="936" name="Freihandform: Form 935">
                <a:extLst>
                  <a:ext uri="{FF2B5EF4-FFF2-40B4-BE49-F238E27FC236}">
                    <a16:creationId xmlns:a16="http://schemas.microsoft.com/office/drawing/2014/main" id="{5100D0EC-2324-4B6D-A57D-4E5DEEF53757}"/>
                  </a:ext>
                </a:extLst>
              </p:cNvPr>
              <p:cNvSpPr/>
              <p:nvPr/>
            </p:nvSpPr>
            <p:spPr>
              <a:xfrm>
                <a:off x="7110217" y="3430143"/>
                <a:ext cx="130316" cy="115196"/>
              </a:xfrm>
              <a:custGeom>
                <a:avLst/>
                <a:gdLst>
                  <a:gd name="connsiteX0" fmla="*/ 18330 w 130316"/>
                  <a:gd name="connsiteY0" fmla="*/ 115197 h 115196"/>
                  <a:gd name="connsiteX1" fmla="*/ 17445 w 130316"/>
                  <a:gd name="connsiteY1" fmla="*/ 115139 h 115196"/>
                  <a:gd name="connsiteX2" fmla="*/ 18 w 130316"/>
                  <a:gd name="connsiteY2" fmla="*/ 94294 h 115196"/>
                  <a:gd name="connsiteX3" fmla="*/ 18919 w 130316"/>
                  <a:gd name="connsiteY3" fmla="*/ 73883 h 115196"/>
                  <a:gd name="connsiteX4" fmla="*/ 59975 w 130316"/>
                  <a:gd name="connsiteY4" fmla="*/ 69218 h 115196"/>
                  <a:gd name="connsiteX5" fmla="*/ 120422 w 130316"/>
                  <a:gd name="connsiteY5" fmla="*/ 0 h 115196"/>
                  <a:gd name="connsiteX6" fmla="*/ 130316 w 130316"/>
                  <a:gd name="connsiteY6" fmla="*/ 8648 h 115196"/>
                  <a:gd name="connsiteX7" fmla="*/ 68195 w 130316"/>
                  <a:gd name="connsiteY7" fmla="*/ 79784 h 115196"/>
                  <a:gd name="connsiteX8" fmla="*/ 63993 w 130316"/>
                  <a:gd name="connsiteY8" fmla="*/ 81983 h 115196"/>
                  <a:gd name="connsiteX9" fmla="*/ 20042 w 130316"/>
                  <a:gd name="connsiteY9" fmla="*/ 86974 h 115196"/>
                  <a:gd name="connsiteX10" fmla="*/ 19220 w 130316"/>
                  <a:gd name="connsiteY10" fmla="*/ 87018 h 115196"/>
                  <a:gd name="connsiteX11" fmla="*/ 19168 w 130316"/>
                  <a:gd name="connsiteY11" fmla="*/ 87018 h 115196"/>
                  <a:gd name="connsiteX12" fmla="*/ 13144 w 130316"/>
                  <a:gd name="connsiteY12" fmla="*/ 94828 h 115196"/>
                  <a:gd name="connsiteX13" fmla="*/ 18708 w 130316"/>
                  <a:gd name="connsiteY13" fmla="*/ 102027 h 115196"/>
                  <a:gd name="connsiteX14" fmla="*/ 70447 w 130316"/>
                  <a:gd name="connsiteY14" fmla="*/ 99369 h 115196"/>
                  <a:gd name="connsiteX15" fmla="*/ 111536 w 130316"/>
                  <a:gd name="connsiteY15" fmla="*/ 68079 h 115196"/>
                  <a:gd name="connsiteX16" fmla="*/ 119491 w 130316"/>
                  <a:gd name="connsiteY16" fmla="*/ 78537 h 115196"/>
                  <a:gd name="connsiteX17" fmla="*/ 76791 w 130316"/>
                  <a:gd name="connsiteY17" fmla="*/ 111055 h 115196"/>
                  <a:gd name="connsiteX18" fmla="*/ 73153 w 130316"/>
                  <a:gd name="connsiteY18" fmla="*/ 112389 h 115196"/>
                  <a:gd name="connsiteX19" fmla="*/ 18667 w 130316"/>
                  <a:gd name="connsiteY19" fmla="*/ 115186 h 115196"/>
                  <a:gd name="connsiteX20" fmla="*/ 18330 w 130316"/>
                  <a:gd name="connsiteY20" fmla="*/ 115197 h 11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0316" h="115196">
                    <a:moveTo>
                      <a:pt x="18330" y="115197"/>
                    </a:moveTo>
                    <a:cubicBezTo>
                      <a:pt x="18034" y="115197"/>
                      <a:pt x="17738" y="115178"/>
                      <a:pt x="17445" y="115139"/>
                    </a:cubicBezTo>
                    <a:cubicBezTo>
                      <a:pt x="7082" y="113729"/>
                      <a:pt x="-413" y="104771"/>
                      <a:pt x="18" y="94294"/>
                    </a:cubicBezTo>
                    <a:cubicBezTo>
                      <a:pt x="486" y="82898"/>
                      <a:pt x="8742" y="74031"/>
                      <a:pt x="18919" y="73883"/>
                    </a:cubicBezTo>
                    <a:lnTo>
                      <a:pt x="59975" y="69218"/>
                    </a:lnTo>
                    <a:lnTo>
                      <a:pt x="120422" y="0"/>
                    </a:lnTo>
                    <a:lnTo>
                      <a:pt x="130316" y="8648"/>
                    </a:lnTo>
                    <a:lnTo>
                      <a:pt x="68195" y="79784"/>
                    </a:lnTo>
                    <a:cubicBezTo>
                      <a:pt x="67116" y="81016"/>
                      <a:pt x="65615" y="81805"/>
                      <a:pt x="63993" y="81983"/>
                    </a:cubicBezTo>
                    <a:lnTo>
                      <a:pt x="20042" y="86974"/>
                    </a:lnTo>
                    <a:cubicBezTo>
                      <a:pt x="19765" y="87007"/>
                      <a:pt x="19483" y="87013"/>
                      <a:pt x="19220" y="87018"/>
                    </a:cubicBezTo>
                    <a:cubicBezTo>
                      <a:pt x="19206" y="87018"/>
                      <a:pt x="19187" y="87018"/>
                      <a:pt x="19168" y="87018"/>
                    </a:cubicBezTo>
                    <a:cubicBezTo>
                      <a:pt x="15645" y="87018"/>
                      <a:pt x="13298" y="91061"/>
                      <a:pt x="13144" y="94828"/>
                    </a:cubicBezTo>
                    <a:cubicBezTo>
                      <a:pt x="13002" y="98318"/>
                      <a:pt x="15363" y="101320"/>
                      <a:pt x="18708" y="102027"/>
                    </a:cubicBezTo>
                    <a:lnTo>
                      <a:pt x="70447" y="99369"/>
                    </a:lnTo>
                    <a:lnTo>
                      <a:pt x="111536" y="68079"/>
                    </a:lnTo>
                    <a:lnTo>
                      <a:pt x="119491" y="78537"/>
                    </a:lnTo>
                    <a:lnTo>
                      <a:pt x="76791" y="111055"/>
                    </a:lnTo>
                    <a:cubicBezTo>
                      <a:pt x="75739" y="111858"/>
                      <a:pt x="74468" y="112318"/>
                      <a:pt x="73153" y="112389"/>
                    </a:cubicBezTo>
                    <a:lnTo>
                      <a:pt x="18667" y="115186"/>
                    </a:lnTo>
                    <a:cubicBezTo>
                      <a:pt x="18554" y="115197"/>
                      <a:pt x="18439" y="115197"/>
                      <a:pt x="18330" y="115197"/>
                    </a:cubicBezTo>
                    <a:close/>
                  </a:path>
                </a:pathLst>
              </a:custGeom>
              <a:solidFill>
                <a:schemeClr val="accent1"/>
              </a:solidFill>
              <a:ln w="274" cap="flat">
                <a:noFill/>
                <a:prstDash val="solid"/>
                <a:miter/>
              </a:ln>
            </p:spPr>
            <p:txBody>
              <a:bodyPr rtlCol="0" anchor="ctr"/>
              <a:lstStyle/>
              <a:p>
                <a:endParaRPr lang="en-GB" dirty="0"/>
              </a:p>
            </p:txBody>
          </p:sp>
          <p:sp>
            <p:nvSpPr>
              <p:cNvPr id="937" name="Freihandform: Form 936">
                <a:extLst>
                  <a:ext uri="{FF2B5EF4-FFF2-40B4-BE49-F238E27FC236}">
                    <a16:creationId xmlns:a16="http://schemas.microsoft.com/office/drawing/2014/main" id="{3510B90F-7255-4C16-9D55-0CEA9B53C5E0}"/>
                  </a:ext>
                </a:extLst>
              </p:cNvPr>
              <p:cNvSpPr/>
              <p:nvPr/>
            </p:nvSpPr>
            <p:spPr>
              <a:xfrm>
                <a:off x="7265866" y="3584101"/>
                <a:ext cx="13140" cy="144540"/>
              </a:xfrm>
              <a:custGeom>
                <a:avLst/>
                <a:gdLst>
                  <a:gd name="connsiteX0" fmla="*/ 6569 w 13140"/>
                  <a:gd name="connsiteY0" fmla="*/ 144540 h 144540"/>
                  <a:gd name="connsiteX1" fmla="*/ 0 w 13140"/>
                  <a:gd name="connsiteY1" fmla="*/ 137971 h 144540"/>
                  <a:gd name="connsiteX2" fmla="*/ 0 w 13140"/>
                  <a:gd name="connsiteY2" fmla="*/ 6569 h 144540"/>
                  <a:gd name="connsiteX3" fmla="*/ 6569 w 13140"/>
                  <a:gd name="connsiteY3" fmla="*/ 0 h 144540"/>
                  <a:gd name="connsiteX4" fmla="*/ 13140 w 13140"/>
                  <a:gd name="connsiteY4" fmla="*/ 6569 h 144540"/>
                  <a:gd name="connsiteX5" fmla="*/ 13140 w 13140"/>
                  <a:gd name="connsiteY5" fmla="*/ 137971 h 144540"/>
                  <a:gd name="connsiteX6" fmla="*/ 6569 w 13140"/>
                  <a:gd name="connsiteY6" fmla="*/ 144540 h 14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40" h="144540">
                    <a:moveTo>
                      <a:pt x="6569" y="144540"/>
                    </a:moveTo>
                    <a:cubicBezTo>
                      <a:pt x="2936" y="144540"/>
                      <a:pt x="0" y="141601"/>
                      <a:pt x="0" y="137971"/>
                    </a:cubicBezTo>
                    <a:lnTo>
                      <a:pt x="0" y="6569"/>
                    </a:lnTo>
                    <a:cubicBezTo>
                      <a:pt x="0" y="2937"/>
                      <a:pt x="2939" y="0"/>
                      <a:pt x="6569" y="0"/>
                    </a:cubicBezTo>
                    <a:cubicBezTo>
                      <a:pt x="10198" y="0"/>
                      <a:pt x="13140" y="2939"/>
                      <a:pt x="13140" y="6569"/>
                    </a:cubicBezTo>
                    <a:lnTo>
                      <a:pt x="13140" y="137971"/>
                    </a:lnTo>
                    <a:cubicBezTo>
                      <a:pt x="13140" y="141601"/>
                      <a:pt x="10201" y="144540"/>
                      <a:pt x="6569" y="144540"/>
                    </a:cubicBezTo>
                    <a:close/>
                  </a:path>
                </a:pathLst>
              </a:custGeom>
              <a:solidFill>
                <a:schemeClr val="accent1"/>
              </a:solidFill>
              <a:ln w="274" cap="flat">
                <a:noFill/>
                <a:prstDash val="solid"/>
                <a:miter/>
              </a:ln>
            </p:spPr>
            <p:txBody>
              <a:bodyPr rtlCol="0" anchor="ctr"/>
              <a:lstStyle/>
              <a:p>
                <a:endParaRPr lang="en-GB" dirty="0"/>
              </a:p>
            </p:txBody>
          </p:sp>
        </p:grpSp>
      </p:grpSp>
      <p:sp>
        <p:nvSpPr>
          <p:cNvPr id="946" name="TextBox 1427">
            <a:extLst>
              <a:ext uri="{FF2B5EF4-FFF2-40B4-BE49-F238E27FC236}">
                <a16:creationId xmlns:a16="http://schemas.microsoft.com/office/drawing/2014/main" id="{82277051-5AF8-4D49-84EF-B76A3BE04612}"/>
              </a:ext>
            </a:extLst>
          </p:cNvPr>
          <p:cNvSpPr txBox="1"/>
          <p:nvPr/>
        </p:nvSpPr>
        <p:spPr>
          <a:xfrm>
            <a:off x="7172690" y="3723675"/>
            <a:ext cx="262892" cy="107722"/>
          </a:xfrm>
          <a:prstGeom prst="rect">
            <a:avLst/>
          </a:prstGeom>
          <a:noFill/>
          <a:effectLst/>
        </p:spPr>
        <p:txBody>
          <a:bodyPr wrap="none" lIns="0" tIns="0" rIns="0" bIns="0" rtlCol="0" anchor="t">
            <a:spAutoFit/>
          </a:bodyPr>
          <a:lstStyle/>
          <a:p>
            <a:pPr algn="ctr"/>
            <a:r>
              <a:rPr lang="en-GB" sz="700" dirty="0">
                <a:solidFill>
                  <a:schemeClr val="tx2"/>
                </a:solidFill>
              </a:rPr>
              <a:t>Dealer</a:t>
            </a:r>
          </a:p>
        </p:txBody>
      </p:sp>
      <p:grpSp>
        <p:nvGrpSpPr>
          <p:cNvPr id="48" name="Group 47">
            <a:extLst>
              <a:ext uri="{FF2B5EF4-FFF2-40B4-BE49-F238E27FC236}">
                <a16:creationId xmlns:a16="http://schemas.microsoft.com/office/drawing/2014/main" id="{82902810-7643-0FDE-5250-56D5F6795A88}"/>
              </a:ext>
            </a:extLst>
          </p:cNvPr>
          <p:cNvGrpSpPr/>
          <p:nvPr/>
        </p:nvGrpSpPr>
        <p:grpSpPr>
          <a:xfrm>
            <a:off x="6034560" y="1626716"/>
            <a:ext cx="448284" cy="432000"/>
            <a:chOff x="6034148" y="1626716"/>
            <a:chExt cx="448284" cy="432000"/>
          </a:xfrm>
        </p:grpSpPr>
        <p:grpSp>
          <p:nvGrpSpPr>
            <p:cNvPr id="948" name="Grafik 349">
              <a:extLst>
                <a:ext uri="{FF2B5EF4-FFF2-40B4-BE49-F238E27FC236}">
                  <a16:creationId xmlns:a16="http://schemas.microsoft.com/office/drawing/2014/main" id="{4925D7DF-AD1D-4046-8C30-AFF80BAFD897}"/>
                </a:ext>
              </a:extLst>
            </p:cNvPr>
            <p:cNvGrpSpPr/>
            <p:nvPr/>
          </p:nvGrpSpPr>
          <p:grpSpPr>
            <a:xfrm>
              <a:off x="6034148" y="1626716"/>
              <a:ext cx="448284" cy="432000"/>
              <a:chOff x="6106626" y="1626758"/>
              <a:chExt cx="454277" cy="437775"/>
            </a:xfrm>
            <a:solidFill>
              <a:schemeClr val="accent1"/>
            </a:solidFill>
          </p:grpSpPr>
          <p:sp>
            <p:nvSpPr>
              <p:cNvPr id="973" name="Freihandform: Form 972">
                <a:extLst>
                  <a:ext uri="{FF2B5EF4-FFF2-40B4-BE49-F238E27FC236}">
                    <a16:creationId xmlns:a16="http://schemas.microsoft.com/office/drawing/2014/main" id="{EFF90091-AA6E-4DA1-81F2-65CC5C9B0CCB}"/>
                  </a:ext>
                </a:extLst>
              </p:cNvPr>
              <p:cNvSpPr/>
              <p:nvPr/>
            </p:nvSpPr>
            <p:spPr>
              <a:xfrm>
                <a:off x="6127275" y="1787615"/>
                <a:ext cx="223384" cy="272768"/>
              </a:xfrm>
              <a:custGeom>
                <a:avLst/>
                <a:gdLst>
                  <a:gd name="connsiteX0" fmla="*/ 216813 w 223384"/>
                  <a:gd name="connsiteY0" fmla="*/ 272768 h 272768"/>
                  <a:gd name="connsiteX1" fmla="*/ 0 w 223384"/>
                  <a:gd name="connsiteY1" fmla="*/ 55955 h 272768"/>
                  <a:gd name="connsiteX2" fmla="*/ 6015 w 223384"/>
                  <a:gd name="connsiteY2" fmla="*/ 5035 h 272768"/>
                  <a:gd name="connsiteX3" fmla="*/ 13940 w 223384"/>
                  <a:gd name="connsiteY3" fmla="*/ 184 h 272768"/>
                  <a:gd name="connsiteX4" fmla="*/ 18791 w 223384"/>
                  <a:gd name="connsiteY4" fmla="*/ 8109 h 272768"/>
                  <a:gd name="connsiteX5" fmla="*/ 13143 w 223384"/>
                  <a:gd name="connsiteY5" fmla="*/ 55958 h 272768"/>
                  <a:gd name="connsiteX6" fmla="*/ 216815 w 223384"/>
                  <a:gd name="connsiteY6" fmla="*/ 259631 h 272768"/>
                  <a:gd name="connsiteX7" fmla="*/ 223384 w 223384"/>
                  <a:gd name="connsiteY7" fmla="*/ 266199 h 272768"/>
                  <a:gd name="connsiteX8" fmla="*/ 216813 w 223384"/>
                  <a:gd name="connsiteY8" fmla="*/ 272768 h 272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384" h="272768">
                    <a:moveTo>
                      <a:pt x="216813" y="272768"/>
                    </a:moveTo>
                    <a:cubicBezTo>
                      <a:pt x="97260" y="272768"/>
                      <a:pt x="0" y="175505"/>
                      <a:pt x="0" y="55955"/>
                    </a:cubicBezTo>
                    <a:cubicBezTo>
                      <a:pt x="0" y="38750"/>
                      <a:pt x="2024" y="21619"/>
                      <a:pt x="6015" y="5035"/>
                    </a:cubicBezTo>
                    <a:cubicBezTo>
                      <a:pt x="6865" y="1504"/>
                      <a:pt x="10426" y="-665"/>
                      <a:pt x="13940" y="184"/>
                    </a:cubicBezTo>
                    <a:cubicBezTo>
                      <a:pt x="17468" y="1030"/>
                      <a:pt x="19641" y="4578"/>
                      <a:pt x="18791" y="8109"/>
                    </a:cubicBezTo>
                    <a:cubicBezTo>
                      <a:pt x="15044" y="23690"/>
                      <a:pt x="13143" y="39788"/>
                      <a:pt x="13143" y="55958"/>
                    </a:cubicBezTo>
                    <a:cubicBezTo>
                      <a:pt x="13143" y="168263"/>
                      <a:pt x="104511" y="259631"/>
                      <a:pt x="216815" y="259631"/>
                    </a:cubicBezTo>
                    <a:cubicBezTo>
                      <a:pt x="220445" y="259631"/>
                      <a:pt x="223384" y="262573"/>
                      <a:pt x="223384" y="266199"/>
                    </a:cubicBezTo>
                    <a:cubicBezTo>
                      <a:pt x="223384" y="269829"/>
                      <a:pt x="220442" y="272768"/>
                      <a:pt x="216813" y="272768"/>
                    </a:cubicBezTo>
                    <a:close/>
                  </a:path>
                </a:pathLst>
              </a:custGeom>
              <a:solidFill>
                <a:schemeClr val="accent1"/>
              </a:solidFill>
              <a:ln w="274" cap="flat">
                <a:noFill/>
                <a:prstDash val="solid"/>
                <a:miter/>
              </a:ln>
            </p:spPr>
            <p:txBody>
              <a:bodyPr rtlCol="0" anchor="ctr"/>
              <a:lstStyle/>
              <a:p>
                <a:endParaRPr lang="en-GB" dirty="0"/>
              </a:p>
            </p:txBody>
          </p:sp>
          <p:sp>
            <p:nvSpPr>
              <p:cNvPr id="974" name="Freihandform: Form 973">
                <a:extLst>
                  <a:ext uri="{FF2B5EF4-FFF2-40B4-BE49-F238E27FC236}">
                    <a16:creationId xmlns:a16="http://schemas.microsoft.com/office/drawing/2014/main" id="{139D2A65-CC52-4D5A-AE35-6F0E7C2E8566}"/>
                  </a:ext>
                </a:extLst>
              </p:cNvPr>
              <p:cNvSpPr/>
              <p:nvPr/>
            </p:nvSpPr>
            <p:spPr>
              <a:xfrm>
                <a:off x="6155586" y="1626758"/>
                <a:ext cx="330218" cy="117938"/>
              </a:xfrm>
              <a:custGeom>
                <a:avLst/>
                <a:gdLst>
                  <a:gd name="connsiteX0" fmla="*/ 6565 w 330218"/>
                  <a:gd name="connsiteY0" fmla="*/ 117939 h 117938"/>
                  <a:gd name="connsiteX1" fmla="*/ 3270 w 330218"/>
                  <a:gd name="connsiteY1" fmla="*/ 117051 h 117938"/>
                  <a:gd name="connsiteX2" fmla="*/ 890 w 330218"/>
                  <a:gd name="connsiteY2" fmla="*/ 108069 h 117938"/>
                  <a:gd name="connsiteX3" fmla="*/ 188502 w 330218"/>
                  <a:gd name="connsiteY3" fmla="*/ 0 h 117938"/>
                  <a:gd name="connsiteX4" fmla="*/ 327873 w 330218"/>
                  <a:gd name="connsiteY4" fmla="*/ 50723 h 117938"/>
                  <a:gd name="connsiteX5" fmla="*/ 328678 w 330218"/>
                  <a:gd name="connsiteY5" fmla="*/ 59979 h 117938"/>
                  <a:gd name="connsiteX6" fmla="*/ 319422 w 330218"/>
                  <a:gd name="connsiteY6" fmla="*/ 60784 h 117938"/>
                  <a:gd name="connsiteX7" fmla="*/ 188502 w 330218"/>
                  <a:gd name="connsiteY7" fmla="*/ 13140 h 117938"/>
                  <a:gd name="connsiteX8" fmla="*/ 12255 w 330218"/>
                  <a:gd name="connsiteY8" fmla="*/ 114668 h 117938"/>
                  <a:gd name="connsiteX9" fmla="*/ 6565 w 330218"/>
                  <a:gd name="connsiteY9" fmla="*/ 117939 h 117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218" h="117938">
                    <a:moveTo>
                      <a:pt x="6565" y="117939"/>
                    </a:moveTo>
                    <a:cubicBezTo>
                      <a:pt x="5445" y="117939"/>
                      <a:pt x="4311" y="117654"/>
                      <a:pt x="3270" y="117051"/>
                    </a:cubicBezTo>
                    <a:cubicBezTo>
                      <a:pt x="133" y="115230"/>
                      <a:pt x="-932" y="111206"/>
                      <a:pt x="890" y="108069"/>
                    </a:cubicBezTo>
                    <a:cubicBezTo>
                      <a:pt x="39612" y="41409"/>
                      <a:pt x="111498" y="0"/>
                      <a:pt x="188502" y="0"/>
                    </a:cubicBezTo>
                    <a:cubicBezTo>
                      <a:pt x="239433" y="0"/>
                      <a:pt x="288929" y="18013"/>
                      <a:pt x="327873" y="50723"/>
                    </a:cubicBezTo>
                    <a:cubicBezTo>
                      <a:pt x="330650" y="53054"/>
                      <a:pt x="331015" y="57201"/>
                      <a:pt x="328678" y="59979"/>
                    </a:cubicBezTo>
                    <a:cubicBezTo>
                      <a:pt x="326347" y="62754"/>
                      <a:pt x="322197" y="63124"/>
                      <a:pt x="319422" y="60784"/>
                    </a:cubicBezTo>
                    <a:cubicBezTo>
                      <a:pt x="282842" y="30061"/>
                      <a:pt x="236346" y="13140"/>
                      <a:pt x="188502" y="13140"/>
                    </a:cubicBezTo>
                    <a:cubicBezTo>
                      <a:pt x="116163" y="13140"/>
                      <a:pt x="48629" y="52043"/>
                      <a:pt x="12255" y="114668"/>
                    </a:cubicBezTo>
                    <a:cubicBezTo>
                      <a:pt x="11036" y="116767"/>
                      <a:pt x="8831" y="117939"/>
                      <a:pt x="6565" y="117939"/>
                    </a:cubicBezTo>
                    <a:close/>
                  </a:path>
                </a:pathLst>
              </a:custGeom>
              <a:solidFill>
                <a:schemeClr val="accent1"/>
              </a:solidFill>
              <a:ln w="274" cap="flat">
                <a:noFill/>
                <a:prstDash val="solid"/>
                <a:miter/>
              </a:ln>
            </p:spPr>
            <p:txBody>
              <a:bodyPr rtlCol="0" anchor="ctr"/>
              <a:lstStyle/>
              <a:p>
                <a:endParaRPr lang="en-GB" dirty="0"/>
              </a:p>
            </p:txBody>
          </p:sp>
          <p:sp>
            <p:nvSpPr>
              <p:cNvPr id="975" name="Freihandform: Form 974">
                <a:extLst>
                  <a:ext uri="{FF2B5EF4-FFF2-40B4-BE49-F238E27FC236}">
                    <a16:creationId xmlns:a16="http://schemas.microsoft.com/office/drawing/2014/main" id="{B39664F7-7C57-421C-B66C-2C0F24E5A6D8}"/>
                  </a:ext>
                </a:extLst>
              </p:cNvPr>
              <p:cNvSpPr/>
              <p:nvPr/>
            </p:nvSpPr>
            <p:spPr>
              <a:xfrm>
                <a:off x="6406078" y="1731968"/>
                <a:ext cx="154825" cy="316989"/>
              </a:xfrm>
              <a:custGeom>
                <a:avLst/>
                <a:gdLst>
                  <a:gd name="connsiteX0" fmla="*/ 6571 w 154825"/>
                  <a:gd name="connsiteY0" fmla="*/ 316990 h 316989"/>
                  <a:gd name="connsiteX1" fmla="*/ 361 w 154825"/>
                  <a:gd name="connsiteY1" fmla="*/ 312560 h 316989"/>
                  <a:gd name="connsiteX2" fmla="*/ 4429 w 154825"/>
                  <a:gd name="connsiteY2" fmla="*/ 304206 h 316989"/>
                  <a:gd name="connsiteX3" fmla="*/ 141685 w 154825"/>
                  <a:gd name="connsiteY3" fmla="*/ 111603 h 316989"/>
                  <a:gd name="connsiteX4" fmla="*/ 114492 w 154825"/>
                  <a:gd name="connsiteY4" fmla="*/ 9864 h 316989"/>
                  <a:gd name="connsiteX5" fmla="*/ 116892 w 154825"/>
                  <a:gd name="connsiteY5" fmla="*/ 887 h 316989"/>
                  <a:gd name="connsiteX6" fmla="*/ 125868 w 154825"/>
                  <a:gd name="connsiteY6" fmla="*/ 3287 h 316989"/>
                  <a:gd name="connsiteX7" fmla="*/ 154825 w 154825"/>
                  <a:gd name="connsiteY7" fmla="*/ 111603 h 316989"/>
                  <a:gd name="connsiteX8" fmla="*/ 8713 w 154825"/>
                  <a:gd name="connsiteY8" fmla="*/ 316625 h 316989"/>
                  <a:gd name="connsiteX9" fmla="*/ 6571 w 154825"/>
                  <a:gd name="connsiteY9" fmla="*/ 316990 h 31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825" h="316989">
                    <a:moveTo>
                      <a:pt x="6571" y="316990"/>
                    </a:moveTo>
                    <a:cubicBezTo>
                      <a:pt x="3845" y="316990"/>
                      <a:pt x="1298" y="315281"/>
                      <a:pt x="361" y="312560"/>
                    </a:cubicBezTo>
                    <a:cubicBezTo>
                      <a:pt x="-822" y="309128"/>
                      <a:pt x="999" y="305389"/>
                      <a:pt x="4429" y="304206"/>
                    </a:cubicBezTo>
                    <a:cubicBezTo>
                      <a:pt x="86527" y="275898"/>
                      <a:pt x="141685" y="198497"/>
                      <a:pt x="141685" y="111603"/>
                    </a:cubicBezTo>
                    <a:cubicBezTo>
                      <a:pt x="141685" y="75831"/>
                      <a:pt x="132281" y="40650"/>
                      <a:pt x="114492" y="9864"/>
                    </a:cubicBezTo>
                    <a:cubicBezTo>
                      <a:pt x="112676" y="6719"/>
                      <a:pt x="113750" y="2703"/>
                      <a:pt x="116892" y="887"/>
                    </a:cubicBezTo>
                    <a:cubicBezTo>
                      <a:pt x="120028" y="-937"/>
                      <a:pt x="124050" y="145"/>
                      <a:pt x="125868" y="3287"/>
                    </a:cubicBezTo>
                    <a:cubicBezTo>
                      <a:pt x="144813" y="36073"/>
                      <a:pt x="154825" y="73527"/>
                      <a:pt x="154825" y="111603"/>
                    </a:cubicBezTo>
                    <a:cubicBezTo>
                      <a:pt x="154825" y="204099"/>
                      <a:pt x="96109" y="286494"/>
                      <a:pt x="8713" y="316625"/>
                    </a:cubicBezTo>
                    <a:cubicBezTo>
                      <a:pt x="8004" y="316872"/>
                      <a:pt x="7278" y="316990"/>
                      <a:pt x="6571" y="316990"/>
                    </a:cubicBezTo>
                    <a:close/>
                  </a:path>
                </a:pathLst>
              </a:custGeom>
              <a:solidFill>
                <a:schemeClr val="accent1"/>
              </a:solidFill>
              <a:ln w="274" cap="flat">
                <a:noFill/>
                <a:prstDash val="solid"/>
                <a:miter/>
              </a:ln>
            </p:spPr>
            <p:txBody>
              <a:bodyPr rtlCol="0" anchor="ctr"/>
              <a:lstStyle/>
              <a:p>
                <a:endParaRPr lang="en-GB" dirty="0"/>
              </a:p>
            </p:txBody>
          </p:sp>
          <p:sp>
            <p:nvSpPr>
              <p:cNvPr id="976" name="Freihandform: Form 975">
                <a:extLst>
                  <a:ext uri="{FF2B5EF4-FFF2-40B4-BE49-F238E27FC236}">
                    <a16:creationId xmlns:a16="http://schemas.microsoft.com/office/drawing/2014/main" id="{89C78BF0-2114-46A2-AF03-662B0316155F}"/>
                  </a:ext>
                </a:extLst>
              </p:cNvPr>
              <p:cNvSpPr/>
              <p:nvPr/>
            </p:nvSpPr>
            <p:spPr>
              <a:xfrm>
                <a:off x="6106626" y="1784740"/>
                <a:ext cx="58543" cy="40767"/>
              </a:xfrm>
              <a:custGeom>
                <a:avLst/>
                <a:gdLst>
                  <a:gd name="connsiteX0" fmla="*/ 51978 w 58543"/>
                  <a:gd name="connsiteY0" fmla="*/ 40768 h 40767"/>
                  <a:gd name="connsiteX1" fmla="*/ 46445 w 58543"/>
                  <a:gd name="connsiteY1" fmla="*/ 37752 h 40767"/>
                  <a:gd name="connsiteX2" fmla="*/ 32231 w 58543"/>
                  <a:gd name="connsiteY2" fmla="*/ 15646 h 40767"/>
                  <a:gd name="connsiteX3" fmla="*/ 10128 w 58543"/>
                  <a:gd name="connsiteY3" fmla="*/ 29863 h 40767"/>
                  <a:gd name="connsiteX4" fmla="*/ 1044 w 58543"/>
                  <a:gd name="connsiteY4" fmla="*/ 27891 h 40767"/>
                  <a:gd name="connsiteX5" fmla="*/ 3016 w 58543"/>
                  <a:gd name="connsiteY5" fmla="*/ 18810 h 40767"/>
                  <a:gd name="connsiteX6" fmla="*/ 30647 w 58543"/>
                  <a:gd name="connsiteY6" fmla="*/ 1040 h 40767"/>
                  <a:gd name="connsiteX7" fmla="*/ 39731 w 58543"/>
                  <a:gd name="connsiteY7" fmla="*/ 3013 h 40767"/>
                  <a:gd name="connsiteX8" fmla="*/ 57500 w 58543"/>
                  <a:gd name="connsiteY8" fmla="*/ 30644 h 40767"/>
                  <a:gd name="connsiteX9" fmla="*/ 55528 w 58543"/>
                  <a:gd name="connsiteY9" fmla="*/ 39727 h 40767"/>
                  <a:gd name="connsiteX10" fmla="*/ 51978 w 58543"/>
                  <a:gd name="connsiteY10" fmla="*/ 40768 h 40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543" h="40767">
                    <a:moveTo>
                      <a:pt x="51978" y="40768"/>
                    </a:moveTo>
                    <a:cubicBezTo>
                      <a:pt x="49817" y="40768"/>
                      <a:pt x="47702" y="39702"/>
                      <a:pt x="46445" y="37752"/>
                    </a:cubicBezTo>
                    <a:lnTo>
                      <a:pt x="32231" y="15646"/>
                    </a:lnTo>
                    <a:lnTo>
                      <a:pt x="10128" y="29863"/>
                    </a:lnTo>
                    <a:cubicBezTo>
                      <a:pt x="7073" y="31830"/>
                      <a:pt x="3008" y="30937"/>
                      <a:pt x="1044" y="27891"/>
                    </a:cubicBezTo>
                    <a:cubicBezTo>
                      <a:pt x="-917" y="24836"/>
                      <a:pt x="-35" y="20771"/>
                      <a:pt x="3016" y="18810"/>
                    </a:cubicBezTo>
                    <a:lnTo>
                      <a:pt x="30647" y="1040"/>
                    </a:lnTo>
                    <a:cubicBezTo>
                      <a:pt x="33704" y="-915"/>
                      <a:pt x="37767" y="-33"/>
                      <a:pt x="39731" y="3013"/>
                    </a:cubicBezTo>
                    <a:lnTo>
                      <a:pt x="57500" y="30644"/>
                    </a:lnTo>
                    <a:cubicBezTo>
                      <a:pt x="59462" y="33698"/>
                      <a:pt x="58577" y="37763"/>
                      <a:pt x="55528" y="39727"/>
                    </a:cubicBezTo>
                    <a:cubicBezTo>
                      <a:pt x="54427" y="40431"/>
                      <a:pt x="53194" y="40768"/>
                      <a:pt x="51978" y="40768"/>
                    </a:cubicBezTo>
                    <a:close/>
                  </a:path>
                </a:pathLst>
              </a:custGeom>
              <a:solidFill>
                <a:schemeClr val="accent1"/>
              </a:solidFill>
              <a:ln w="274" cap="flat">
                <a:noFill/>
                <a:prstDash val="solid"/>
                <a:miter/>
              </a:ln>
            </p:spPr>
            <p:txBody>
              <a:bodyPr rtlCol="0" anchor="ctr"/>
              <a:lstStyle/>
              <a:p>
                <a:endParaRPr lang="en-GB" dirty="0"/>
              </a:p>
            </p:txBody>
          </p:sp>
          <p:sp>
            <p:nvSpPr>
              <p:cNvPr id="977" name="Freihandform: Form 976">
                <a:extLst>
                  <a:ext uri="{FF2B5EF4-FFF2-40B4-BE49-F238E27FC236}">
                    <a16:creationId xmlns:a16="http://schemas.microsoft.com/office/drawing/2014/main" id="{E9809AF3-CFD7-4504-BE54-E52FF0B7D4E4}"/>
                  </a:ext>
                </a:extLst>
              </p:cNvPr>
              <p:cNvSpPr/>
              <p:nvPr/>
            </p:nvSpPr>
            <p:spPr>
              <a:xfrm>
                <a:off x="6402765" y="2007508"/>
                <a:ext cx="42709" cy="57024"/>
              </a:xfrm>
              <a:custGeom>
                <a:avLst/>
                <a:gdLst>
                  <a:gd name="connsiteX0" fmla="*/ 36134 w 42709"/>
                  <a:gd name="connsiteY0" fmla="*/ 57025 h 57024"/>
                  <a:gd name="connsiteX1" fmla="*/ 33272 w 42709"/>
                  <a:gd name="connsiteY1" fmla="*/ 56367 h 57024"/>
                  <a:gd name="connsiteX2" fmla="*/ 3707 w 42709"/>
                  <a:gd name="connsiteY2" fmla="*/ 42049 h 57024"/>
                  <a:gd name="connsiteX3" fmla="*/ 658 w 42709"/>
                  <a:gd name="connsiteY3" fmla="*/ 33272 h 57024"/>
                  <a:gd name="connsiteX4" fmla="*/ 14976 w 42709"/>
                  <a:gd name="connsiteY4" fmla="*/ 3708 h 57024"/>
                  <a:gd name="connsiteX5" fmla="*/ 23753 w 42709"/>
                  <a:gd name="connsiteY5" fmla="*/ 659 h 57024"/>
                  <a:gd name="connsiteX6" fmla="*/ 26802 w 42709"/>
                  <a:gd name="connsiteY6" fmla="*/ 9435 h 57024"/>
                  <a:gd name="connsiteX7" fmla="*/ 15349 w 42709"/>
                  <a:gd name="connsiteY7" fmla="*/ 33086 h 57024"/>
                  <a:gd name="connsiteX8" fmla="*/ 39002 w 42709"/>
                  <a:gd name="connsiteY8" fmla="*/ 44542 h 57024"/>
                  <a:gd name="connsiteX9" fmla="*/ 42051 w 42709"/>
                  <a:gd name="connsiteY9" fmla="*/ 53318 h 57024"/>
                  <a:gd name="connsiteX10" fmla="*/ 36134 w 42709"/>
                  <a:gd name="connsiteY10" fmla="*/ 57025 h 57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09" h="57024">
                    <a:moveTo>
                      <a:pt x="36134" y="57025"/>
                    </a:moveTo>
                    <a:cubicBezTo>
                      <a:pt x="35173" y="57025"/>
                      <a:pt x="34198" y="56816"/>
                      <a:pt x="33272" y="56367"/>
                    </a:cubicBezTo>
                    <a:lnTo>
                      <a:pt x="3707" y="42049"/>
                    </a:lnTo>
                    <a:cubicBezTo>
                      <a:pt x="442" y="40468"/>
                      <a:pt x="-923" y="36538"/>
                      <a:pt x="658" y="33272"/>
                    </a:cubicBezTo>
                    <a:lnTo>
                      <a:pt x="14976" y="3708"/>
                    </a:lnTo>
                    <a:cubicBezTo>
                      <a:pt x="16557" y="445"/>
                      <a:pt x="20493" y="-925"/>
                      <a:pt x="23753" y="659"/>
                    </a:cubicBezTo>
                    <a:cubicBezTo>
                      <a:pt x="27018" y="2239"/>
                      <a:pt x="28382" y="6170"/>
                      <a:pt x="26802" y="9435"/>
                    </a:cubicBezTo>
                    <a:lnTo>
                      <a:pt x="15349" y="33086"/>
                    </a:lnTo>
                    <a:lnTo>
                      <a:pt x="39002" y="44542"/>
                    </a:lnTo>
                    <a:cubicBezTo>
                      <a:pt x="42268" y="46122"/>
                      <a:pt x="43632" y="50053"/>
                      <a:pt x="42051" y="53318"/>
                    </a:cubicBezTo>
                    <a:cubicBezTo>
                      <a:pt x="40917" y="55660"/>
                      <a:pt x="38572" y="57025"/>
                      <a:pt x="36134" y="57025"/>
                    </a:cubicBezTo>
                    <a:close/>
                  </a:path>
                </a:pathLst>
              </a:custGeom>
              <a:solidFill>
                <a:schemeClr val="accent1"/>
              </a:solidFill>
              <a:ln w="274" cap="flat">
                <a:noFill/>
                <a:prstDash val="solid"/>
                <a:miter/>
              </a:ln>
            </p:spPr>
            <p:txBody>
              <a:bodyPr rtlCol="0" anchor="ctr"/>
              <a:lstStyle/>
              <a:p>
                <a:endParaRPr lang="en-GB" dirty="0"/>
              </a:p>
            </p:txBody>
          </p:sp>
          <p:sp>
            <p:nvSpPr>
              <p:cNvPr id="978" name="Freihandform: Form 977">
                <a:extLst>
                  <a:ext uri="{FF2B5EF4-FFF2-40B4-BE49-F238E27FC236}">
                    <a16:creationId xmlns:a16="http://schemas.microsoft.com/office/drawing/2014/main" id="{D00638D6-411E-4E2E-9579-D4C0587AAF78}"/>
                  </a:ext>
                </a:extLst>
              </p:cNvPr>
              <p:cNvSpPr/>
              <p:nvPr/>
            </p:nvSpPr>
            <p:spPr>
              <a:xfrm>
                <a:off x="6442014" y="1646021"/>
                <a:ext cx="45689" cy="50088"/>
              </a:xfrm>
              <a:custGeom>
                <a:avLst/>
                <a:gdLst>
                  <a:gd name="connsiteX0" fmla="*/ 6563 w 45689"/>
                  <a:gd name="connsiteY0" fmla="*/ 50089 h 50088"/>
                  <a:gd name="connsiteX1" fmla="*/ 60 w 45689"/>
                  <a:gd name="connsiteY1" fmla="*/ 44397 h 50088"/>
                  <a:gd name="connsiteX2" fmla="*/ 5692 w 45689"/>
                  <a:gd name="connsiteY2" fmla="*/ 37006 h 50088"/>
                  <a:gd name="connsiteX3" fmla="*/ 31731 w 45689"/>
                  <a:gd name="connsiteY3" fmla="*/ 33489 h 50088"/>
                  <a:gd name="connsiteX4" fmla="*/ 28214 w 45689"/>
                  <a:gd name="connsiteY4" fmla="*/ 7447 h 50088"/>
                  <a:gd name="connsiteX5" fmla="*/ 33846 w 45689"/>
                  <a:gd name="connsiteY5" fmla="*/ 56 h 50088"/>
                  <a:gd name="connsiteX6" fmla="*/ 41236 w 45689"/>
                  <a:gd name="connsiteY6" fmla="*/ 5691 h 50088"/>
                  <a:gd name="connsiteX7" fmla="*/ 45630 w 45689"/>
                  <a:gd name="connsiteY7" fmla="*/ 38247 h 50088"/>
                  <a:gd name="connsiteX8" fmla="*/ 39998 w 45689"/>
                  <a:gd name="connsiteY8" fmla="*/ 45638 h 50088"/>
                  <a:gd name="connsiteX9" fmla="*/ 7445 w 45689"/>
                  <a:gd name="connsiteY9" fmla="*/ 50031 h 50088"/>
                  <a:gd name="connsiteX10" fmla="*/ 6563 w 45689"/>
                  <a:gd name="connsiteY10" fmla="*/ 50089 h 50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689" h="50088">
                    <a:moveTo>
                      <a:pt x="6563" y="50089"/>
                    </a:moveTo>
                    <a:cubicBezTo>
                      <a:pt x="3325" y="50089"/>
                      <a:pt x="506" y="47695"/>
                      <a:pt x="60" y="44397"/>
                    </a:cubicBezTo>
                    <a:cubicBezTo>
                      <a:pt x="-425" y="40800"/>
                      <a:pt x="2098" y="37494"/>
                      <a:pt x="5692" y="37006"/>
                    </a:cubicBezTo>
                    <a:lnTo>
                      <a:pt x="31731" y="33489"/>
                    </a:lnTo>
                    <a:lnTo>
                      <a:pt x="28214" y="7447"/>
                    </a:lnTo>
                    <a:cubicBezTo>
                      <a:pt x="27729" y="3850"/>
                      <a:pt x="30252" y="544"/>
                      <a:pt x="33846" y="56"/>
                    </a:cubicBezTo>
                    <a:cubicBezTo>
                      <a:pt x="37412" y="-412"/>
                      <a:pt x="40749" y="2092"/>
                      <a:pt x="41236" y="5691"/>
                    </a:cubicBezTo>
                    <a:lnTo>
                      <a:pt x="45630" y="38247"/>
                    </a:lnTo>
                    <a:cubicBezTo>
                      <a:pt x="46115" y="41844"/>
                      <a:pt x="43592" y="45150"/>
                      <a:pt x="39998" y="45638"/>
                    </a:cubicBezTo>
                    <a:lnTo>
                      <a:pt x="7445" y="50031"/>
                    </a:lnTo>
                    <a:cubicBezTo>
                      <a:pt x="7154" y="50070"/>
                      <a:pt x="6858" y="50089"/>
                      <a:pt x="6563" y="50089"/>
                    </a:cubicBezTo>
                    <a:close/>
                  </a:path>
                </a:pathLst>
              </a:custGeom>
              <a:solidFill>
                <a:schemeClr val="accent1"/>
              </a:solidFill>
              <a:ln w="274" cap="flat">
                <a:noFill/>
                <a:prstDash val="solid"/>
                <a:miter/>
              </a:ln>
            </p:spPr>
            <p:txBody>
              <a:bodyPr rtlCol="0" anchor="ctr"/>
              <a:lstStyle/>
              <a:p>
                <a:endParaRPr lang="en-GB" dirty="0"/>
              </a:p>
            </p:txBody>
          </p:sp>
        </p:grpSp>
        <p:grpSp>
          <p:nvGrpSpPr>
            <p:cNvPr id="949" name="Gruppieren 948">
              <a:extLst>
                <a:ext uri="{FF2B5EF4-FFF2-40B4-BE49-F238E27FC236}">
                  <a16:creationId xmlns:a16="http://schemas.microsoft.com/office/drawing/2014/main" id="{FC3F10F0-6270-4784-B399-CE1841585351}"/>
                </a:ext>
              </a:extLst>
            </p:cNvPr>
            <p:cNvGrpSpPr/>
            <p:nvPr/>
          </p:nvGrpSpPr>
          <p:grpSpPr>
            <a:xfrm>
              <a:off x="6089760" y="1681383"/>
              <a:ext cx="356281" cy="263898"/>
              <a:chOff x="6162981" y="1682156"/>
              <a:chExt cx="361044" cy="267426"/>
            </a:xfrm>
            <a:solidFill>
              <a:schemeClr val="tx2"/>
            </a:solidFill>
          </p:grpSpPr>
          <p:grpSp>
            <p:nvGrpSpPr>
              <p:cNvPr id="950" name="Grafik 349">
                <a:extLst>
                  <a:ext uri="{FF2B5EF4-FFF2-40B4-BE49-F238E27FC236}">
                    <a16:creationId xmlns:a16="http://schemas.microsoft.com/office/drawing/2014/main" id="{C146F892-4FA3-4A5B-8B43-AA2F1BBC542B}"/>
                  </a:ext>
                </a:extLst>
              </p:cNvPr>
              <p:cNvGrpSpPr/>
              <p:nvPr/>
            </p:nvGrpSpPr>
            <p:grpSpPr>
              <a:xfrm>
                <a:off x="6266138" y="1682156"/>
                <a:ext cx="155374" cy="168794"/>
                <a:chOff x="6266138" y="1682156"/>
                <a:chExt cx="155374" cy="168794"/>
              </a:xfrm>
              <a:grpFill/>
            </p:grpSpPr>
            <p:grpSp>
              <p:nvGrpSpPr>
                <p:cNvPr id="968" name="Grafik 349">
                  <a:extLst>
                    <a:ext uri="{FF2B5EF4-FFF2-40B4-BE49-F238E27FC236}">
                      <a16:creationId xmlns:a16="http://schemas.microsoft.com/office/drawing/2014/main" id="{2963BF80-F6CC-43ED-9B09-65C9F2FA7E48}"/>
                    </a:ext>
                  </a:extLst>
                </p:cNvPr>
                <p:cNvGrpSpPr/>
                <p:nvPr/>
              </p:nvGrpSpPr>
              <p:grpSpPr>
                <a:xfrm>
                  <a:off x="6266138" y="1682156"/>
                  <a:ext cx="155374" cy="168794"/>
                  <a:chOff x="6266138" y="1682156"/>
                  <a:chExt cx="155374" cy="168794"/>
                </a:xfrm>
                <a:grpFill/>
              </p:grpSpPr>
              <p:sp>
                <p:nvSpPr>
                  <p:cNvPr id="970" name="Freihandform: Form 969">
                    <a:extLst>
                      <a:ext uri="{FF2B5EF4-FFF2-40B4-BE49-F238E27FC236}">
                        <a16:creationId xmlns:a16="http://schemas.microsoft.com/office/drawing/2014/main" id="{8490343C-76A5-4B6F-966A-1F174B15086F}"/>
                      </a:ext>
                    </a:extLst>
                  </p:cNvPr>
                  <p:cNvSpPr/>
                  <p:nvPr/>
                </p:nvSpPr>
                <p:spPr>
                  <a:xfrm>
                    <a:off x="6337253" y="1723229"/>
                    <a:ext cx="84254" cy="127720"/>
                  </a:xfrm>
                  <a:custGeom>
                    <a:avLst/>
                    <a:gdLst>
                      <a:gd name="connsiteX0" fmla="*/ 6571 w 84254"/>
                      <a:gd name="connsiteY0" fmla="*/ 127721 h 127720"/>
                      <a:gd name="connsiteX1" fmla="*/ 3238 w 84254"/>
                      <a:gd name="connsiteY1" fmla="*/ 126814 h 127720"/>
                      <a:gd name="connsiteX2" fmla="*/ 0 w 84254"/>
                      <a:gd name="connsiteY2" fmla="*/ 121152 h 127720"/>
                      <a:gd name="connsiteX3" fmla="*/ 0 w 84254"/>
                      <a:gd name="connsiteY3" fmla="*/ 50035 h 127720"/>
                      <a:gd name="connsiteX4" fmla="*/ 3145 w 84254"/>
                      <a:gd name="connsiteY4" fmla="*/ 44431 h 127720"/>
                      <a:gd name="connsiteX5" fmla="*/ 74259 w 84254"/>
                      <a:gd name="connsiteY5" fmla="*/ 967 h 127720"/>
                      <a:gd name="connsiteX6" fmla="*/ 80899 w 84254"/>
                      <a:gd name="connsiteY6" fmla="*/ 844 h 127720"/>
                      <a:gd name="connsiteX7" fmla="*/ 84254 w 84254"/>
                      <a:gd name="connsiteY7" fmla="*/ 6574 h 127720"/>
                      <a:gd name="connsiteX8" fmla="*/ 84254 w 84254"/>
                      <a:gd name="connsiteY8" fmla="*/ 81638 h 127720"/>
                      <a:gd name="connsiteX9" fmla="*/ 80877 w 84254"/>
                      <a:gd name="connsiteY9" fmla="*/ 87380 h 127720"/>
                      <a:gd name="connsiteX10" fmla="*/ 9763 w 84254"/>
                      <a:gd name="connsiteY10" fmla="*/ 126891 h 127720"/>
                      <a:gd name="connsiteX11" fmla="*/ 6571 w 84254"/>
                      <a:gd name="connsiteY11" fmla="*/ 127721 h 127720"/>
                      <a:gd name="connsiteX12" fmla="*/ 13143 w 84254"/>
                      <a:gd name="connsiteY12" fmla="*/ 53720 h 127720"/>
                      <a:gd name="connsiteX13" fmla="*/ 13143 w 84254"/>
                      <a:gd name="connsiteY13" fmla="*/ 109981 h 127720"/>
                      <a:gd name="connsiteX14" fmla="*/ 71117 w 84254"/>
                      <a:gd name="connsiteY14" fmla="*/ 77773 h 127720"/>
                      <a:gd name="connsiteX15" fmla="*/ 71117 w 84254"/>
                      <a:gd name="connsiteY15" fmla="*/ 18290 h 127720"/>
                      <a:gd name="connsiteX16" fmla="*/ 13143 w 84254"/>
                      <a:gd name="connsiteY16" fmla="*/ 53720 h 12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254" h="127720">
                        <a:moveTo>
                          <a:pt x="6571" y="127721"/>
                        </a:moveTo>
                        <a:cubicBezTo>
                          <a:pt x="5421" y="127721"/>
                          <a:pt x="4268" y="127419"/>
                          <a:pt x="3238" y="126814"/>
                        </a:cubicBezTo>
                        <a:cubicBezTo>
                          <a:pt x="1233" y="125633"/>
                          <a:pt x="0" y="123480"/>
                          <a:pt x="0" y="121152"/>
                        </a:cubicBezTo>
                        <a:lnTo>
                          <a:pt x="0" y="50035"/>
                        </a:lnTo>
                        <a:cubicBezTo>
                          <a:pt x="0" y="47748"/>
                          <a:pt x="1189" y="45625"/>
                          <a:pt x="3145" y="44431"/>
                        </a:cubicBezTo>
                        <a:lnTo>
                          <a:pt x="74259" y="967"/>
                        </a:lnTo>
                        <a:cubicBezTo>
                          <a:pt x="76280" y="-274"/>
                          <a:pt x="78825" y="-326"/>
                          <a:pt x="80899" y="844"/>
                        </a:cubicBezTo>
                        <a:cubicBezTo>
                          <a:pt x="82972" y="2005"/>
                          <a:pt x="84254" y="4196"/>
                          <a:pt x="84254" y="6574"/>
                        </a:cubicBezTo>
                        <a:lnTo>
                          <a:pt x="84254" y="81638"/>
                        </a:lnTo>
                        <a:cubicBezTo>
                          <a:pt x="84254" y="84024"/>
                          <a:pt x="82961" y="86224"/>
                          <a:pt x="80877" y="87380"/>
                        </a:cubicBezTo>
                        <a:lnTo>
                          <a:pt x="9763" y="126891"/>
                        </a:lnTo>
                        <a:cubicBezTo>
                          <a:pt x="8768" y="127444"/>
                          <a:pt x="7670" y="127721"/>
                          <a:pt x="6571" y="127721"/>
                        </a:cubicBezTo>
                        <a:close/>
                        <a:moveTo>
                          <a:pt x="13143" y="53720"/>
                        </a:moveTo>
                        <a:lnTo>
                          <a:pt x="13143" y="109981"/>
                        </a:lnTo>
                        <a:lnTo>
                          <a:pt x="71117" y="77773"/>
                        </a:lnTo>
                        <a:lnTo>
                          <a:pt x="71117" y="18290"/>
                        </a:lnTo>
                        <a:lnTo>
                          <a:pt x="13143" y="53720"/>
                        </a:lnTo>
                        <a:close/>
                      </a:path>
                    </a:pathLst>
                  </a:custGeom>
                  <a:grpFill/>
                  <a:ln w="274" cap="flat">
                    <a:noFill/>
                    <a:prstDash val="solid"/>
                    <a:miter/>
                  </a:ln>
                </p:spPr>
                <p:txBody>
                  <a:bodyPr rtlCol="0" anchor="ctr"/>
                  <a:lstStyle/>
                  <a:p>
                    <a:endParaRPr lang="en-GB" dirty="0"/>
                  </a:p>
                </p:txBody>
              </p:sp>
              <p:sp>
                <p:nvSpPr>
                  <p:cNvPr id="971" name="Freihandform: Form 970">
                    <a:extLst>
                      <a:ext uri="{FF2B5EF4-FFF2-40B4-BE49-F238E27FC236}">
                        <a16:creationId xmlns:a16="http://schemas.microsoft.com/office/drawing/2014/main" id="{1CEFA6B5-253F-48ED-8CEB-2DE7762D2AA6}"/>
                      </a:ext>
                    </a:extLst>
                  </p:cNvPr>
                  <p:cNvSpPr/>
                  <p:nvPr/>
                </p:nvSpPr>
                <p:spPr>
                  <a:xfrm>
                    <a:off x="6266139" y="1723229"/>
                    <a:ext cx="84257" cy="127720"/>
                  </a:xfrm>
                  <a:custGeom>
                    <a:avLst/>
                    <a:gdLst>
                      <a:gd name="connsiteX0" fmla="*/ 77686 w 84257"/>
                      <a:gd name="connsiteY0" fmla="*/ 127721 h 127720"/>
                      <a:gd name="connsiteX1" fmla="*/ 74494 w 84257"/>
                      <a:gd name="connsiteY1" fmla="*/ 126893 h 127720"/>
                      <a:gd name="connsiteX2" fmla="*/ 3378 w 84257"/>
                      <a:gd name="connsiteY2" fmla="*/ 87382 h 127720"/>
                      <a:gd name="connsiteX3" fmla="*/ 0 w 84257"/>
                      <a:gd name="connsiteY3" fmla="*/ 81641 h 127720"/>
                      <a:gd name="connsiteX4" fmla="*/ 0 w 84257"/>
                      <a:gd name="connsiteY4" fmla="*/ 6574 h 127720"/>
                      <a:gd name="connsiteX5" fmla="*/ 3356 w 84257"/>
                      <a:gd name="connsiteY5" fmla="*/ 843 h 127720"/>
                      <a:gd name="connsiteX6" fmla="*/ 9996 w 84257"/>
                      <a:gd name="connsiteY6" fmla="*/ 967 h 127720"/>
                      <a:gd name="connsiteX7" fmla="*/ 81112 w 84257"/>
                      <a:gd name="connsiteY7" fmla="*/ 44425 h 127720"/>
                      <a:gd name="connsiteX8" fmla="*/ 84257 w 84257"/>
                      <a:gd name="connsiteY8" fmla="*/ 50032 h 127720"/>
                      <a:gd name="connsiteX9" fmla="*/ 84257 w 84257"/>
                      <a:gd name="connsiteY9" fmla="*/ 121149 h 127720"/>
                      <a:gd name="connsiteX10" fmla="*/ 81019 w 84257"/>
                      <a:gd name="connsiteY10" fmla="*/ 126811 h 127720"/>
                      <a:gd name="connsiteX11" fmla="*/ 77686 w 84257"/>
                      <a:gd name="connsiteY11" fmla="*/ 127721 h 127720"/>
                      <a:gd name="connsiteX12" fmla="*/ 13140 w 84257"/>
                      <a:gd name="connsiteY12" fmla="*/ 77773 h 127720"/>
                      <a:gd name="connsiteX13" fmla="*/ 71117 w 84257"/>
                      <a:gd name="connsiteY13" fmla="*/ 109981 h 127720"/>
                      <a:gd name="connsiteX14" fmla="*/ 71117 w 84257"/>
                      <a:gd name="connsiteY14" fmla="*/ 53719 h 127720"/>
                      <a:gd name="connsiteX15" fmla="*/ 13140 w 84257"/>
                      <a:gd name="connsiteY15" fmla="*/ 18290 h 127720"/>
                      <a:gd name="connsiteX16" fmla="*/ 13140 w 84257"/>
                      <a:gd name="connsiteY16" fmla="*/ 77773 h 127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257" h="127720">
                        <a:moveTo>
                          <a:pt x="77686" y="127721"/>
                        </a:moveTo>
                        <a:cubicBezTo>
                          <a:pt x="76587" y="127721"/>
                          <a:pt x="75489" y="127444"/>
                          <a:pt x="74494" y="126893"/>
                        </a:cubicBezTo>
                        <a:lnTo>
                          <a:pt x="3378" y="87382"/>
                        </a:lnTo>
                        <a:cubicBezTo>
                          <a:pt x="1293" y="86224"/>
                          <a:pt x="0" y="84027"/>
                          <a:pt x="0" y="81641"/>
                        </a:cubicBezTo>
                        <a:lnTo>
                          <a:pt x="0" y="6574"/>
                        </a:lnTo>
                        <a:cubicBezTo>
                          <a:pt x="0" y="4196"/>
                          <a:pt x="1282" y="2005"/>
                          <a:pt x="3356" y="843"/>
                        </a:cubicBezTo>
                        <a:cubicBezTo>
                          <a:pt x="5429" y="-323"/>
                          <a:pt x="7969" y="-277"/>
                          <a:pt x="9996" y="967"/>
                        </a:cubicBezTo>
                        <a:lnTo>
                          <a:pt x="81112" y="44425"/>
                        </a:lnTo>
                        <a:cubicBezTo>
                          <a:pt x="83065" y="45622"/>
                          <a:pt x="84257" y="47745"/>
                          <a:pt x="84257" y="50032"/>
                        </a:cubicBezTo>
                        <a:lnTo>
                          <a:pt x="84257" y="121149"/>
                        </a:lnTo>
                        <a:cubicBezTo>
                          <a:pt x="84257" y="123478"/>
                          <a:pt x="83024" y="125631"/>
                          <a:pt x="81019" y="126811"/>
                        </a:cubicBezTo>
                        <a:cubicBezTo>
                          <a:pt x="79989" y="127419"/>
                          <a:pt x="78839" y="127721"/>
                          <a:pt x="77686" y="127721"/>
                        </a:cubicBezTo>
                        <a:close/>
                        <a:moveTo>
                          <a:pt x="13140" y="77773"/>
                        </a:moveTo>
                        <a:lnTo>
                          <a:pt x="71117" y="109981"/>
                        </a:lnTo>
                        <a:lnTo>
                          <a:pt x="71117" y="53719"/>
                        </a:lnTo>
                        <a:lnTo>
                          <a:pt x="13140" y="18290"/>
                        </a:lnTo>
                        <a:lnTo>
                          <a:pt x="13140" y="77773"/>
                        </a:lnTo>
                        <a:close/>
                      </a:path>
                    </a:pathLst>
                  </a:custGeom>
                  <a:grpFill/>
                  <a:ln w="274" cap="flat">
                    <a:noFill/>
                    <a:prstDash val="solid"/>
                    <a:miter/>
                  </a:ln>
                </p:spPr>
                <p:txBody>
                  <a:bodyPr rtlCol="0" anchor="ctr"/>
                  <a:lstStyle/>
                  <a:p>
                    <a:endParaRPr lang="en-GB" dirty="0"/>
                  </a:p>
                </p:txBody>
              </p:sp>
              <p:sp>
                <p:nvSpPr>
                  <p:cNvPr id="972" name="Freihandform: Form 971">
                    <a:extLst>
                      <a:ext uri="{FF2B5EF4-FFF2-40B4-BE49-F238E27FC236}">
                        <a16:creationId xmlns:a16="http://schemas.microsoft.com/office/drawing/2014/main" id="{F4F197AD-7302-4185-80C8-9050A459EDC1}"/>
                      </a:ext>
                    </a:extLst>
                  </p:cNvPr>
                  <p:cNvSpPr/>
                  <p:nvPr/>
                </p:nvSpPr>
                <p:spPr>
                  <a:xfrm>
                    <a:off x="6266138" y="1682156"/>
                    <a:ext cx="155374" cy="54218"/>
                  </a:xfrm>
                  <a:custGeom>
                    <a:avLst/>
                    <a:gdLst>
                      <a:gd name="connsiteX0" fmla="*/ 6578 w 155374"/>
                      <a:gd name="connsiteY0" fmla="*/ 54219 h 54218"/>
                      <a:gd name="connsiteX1" fmla="*/ 883 w 155374"/>
                      <a:gd name="connsiteY1" fmla="*/ 50937 h 54218"/>
                      <a:gd name="connsiteX2" fmla="*/ 3283 w 155374"/>
                      <a:gd name="connsiteY2" fmla="*/ 41961 h 54218"/>
                      <a:gd name="connsiteX3" fmla="*/ 74364 w 155374"/>
                      <a:gd name="connsiteY3" fmla="*/ 883 h 54218"/>
                      <a:gd name="connsiteX4" fmla="*/ 80938 w 155374"/>
                      <a:gd name="connsiteY4" fmla="*/ 880 h 54218"/>
                      <a:gd name="connsiteX5" fmla="*/ 152088 w 155374"/>
                      <a:gd name="connsiteY5" fmla="*/ 41958 h 54218"/>
                      <a:gd name="connsiteX6" fmla="*/ 154493 w 155374"/>
                      <a:gd name="connsiteY6" fmla="*/ 50935 h 54218"/>
                      <a:gd name="connsiteX7" fmla="*/ 145517 w 155374"/>
                      <a:gd name="connsiteY7" fmla="*/ 53340 h 54218"/>
                      <a:gd name="connsiteX8" fmla="*/ 77654 w 155374"/>
                      <a:gd name="connsiteY8" fmla="*/ 14157 h 54218"/>
                      <a:gd name="connsiteX9" fmla="*/ 9860 w 155374"/>
                      <a:gd name="connsiteY9" fmla="*/ 53337 h 54218"/>
                      <a:gd name="connsiteX10" fmla="*/ 6578 w 155374"/>
                      <a:gd name="connsiteY10" fmla="*/ 54219 h 54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5374" h="54218">
                        <a:moveTo>
                          <a:pt x="6578" y="54219"/>
                        </a:moveTo>
                        <a:cubicBezTo>
                          <a:pt x="4307" y="54219"/>
                          <a:pt x="2100" y="53041"/>
                          <a:pt x="883" y="50937"/>
                        </a:cubicBezTo>
                        <a:cubicBezTo>
                          <a:pt x="-933" y="47793"/>
                          <a:pt x="141" y="43777"/>
                          <a:pt x="3283" y="41961"/>
                        </a:cubicBezTo>
                        <a:lnTo>
                          <a:pt x="74364" y="883"/>
                        </a:lnTo>
                        <a:cubicBezTo>
                          <a:pt x="76399" y="-292"/>
                          <a:pt x="78903" y="-295"/>
                          <a:pt x="80938" y="880"/>
                        </a:cubicBezTo>
                        <a:lnTo>
                          <a:pt x="152088" y="41958"/>
                        </a:lnTo>
                        <a:cubicBezTo>
                          <a:pt x="155233" y="43774"/>
                          <a:pt x="156306" y="47790"/>
                          <a:pt x="154493" y="50935"/>
                        </a:cubicBezTo>
                        <a:cubicBezTo>
                          <a:pt x="152674" y="54071"/>
                          <a:pt x="148667" y="55150"/>
                          <a:pt x="145517" y="53340"/>
                        </a:cubicBezTo>
                        <a:lnTo>
                          <a:pt x="77654" y="14157"/>
                        </a:lnTo>
                        <a:lnTo>
                          <a:pt x="9860" y="53337"/>
                        </a:lnTo>
                        <a:cubicBezTo>
                          <a:pt x="8822" y="53937"/>
                          <a:pt x="7693" y="54219"/>
                          <a:pt x="6578" y="54219"/>
                        </a:cubicBezTo>
                        <a:close/>
                      </a:path>
                    </a:pathLst>
                  </a:custGeom>
                  <a:grpFill/>
                  <a:ln w="274" cap="flat">
                    <a:noFill/>
                    <a:prstDash val="solid"/>
                    <a:miter/>
                  </a:ln>
                </p:spPr>
                <p:txBody>
                  <a:bodyPr rtlCol="0" anchor="ctr"/>
                  <a:lstStyle/>
                  <a:p>
                    <a:endParaRPr lang="en-GB" dirty="0"/>
                  </a:p>
                </p:txBody>
              </p:sp>
            </p:grpSp>
            <p:sp>
              <p:nvSpPr>
                <p:cNvPr id="969" name="Freihandform: Form 968">
                  <a:extLst>
                    <a:ext uri="{FF2B5EF4-FFF2-40B4-BE49-F238E27FC236}">
                      <a16:creationId xmlns:a16="http://schemas.microsoft.com/office/drawing/2014/main" id="{8852BED5-31F2-4C00-A8CF-4C4234389972}"/>
                    </a:ext>
                  </a:extLst>
                </p:cNvPr>
                <p:cNvSpPr/>
                <p:nvPr/>
              </p:nvSpPr>
              <p:spPr>
                <a:xfrm>
                  <a:off x="6342221" y="1727367"/>
                  <a:ext cx="42783" cy="58935"/>
                </a:xfrm>
                <a:custGeom>
                  <a:avLst/>
                  <a:gdLst>
                    <a:gd name="connsiteX0" fmla="*/ 36212 w 42783"/>
                    <a:gd name="connsiteY0" fmla="*/ 58936 h 58935"/>
                    <a:gd name="connsiteX1" fmla="*/ 29643 w 42783"/>
                    <a:gd name="connsiteY1" fmla="*/ 52367 h 58935"/>
                    <a:gd name="connsiteX2" fmla="*/ 29643 w 42783"/>
                    <a:gd name="connsiteY2" fmla="*/ 28374 h 58935"/>
                    <a:gd name="connsiteX3" fmla="*/ 3143 w 42783"/>
                    <a:gd name="connsiteY3" fmla="*/ 12177 h 58935"/>
                    <a:gd name="connsiteX4" fmla="*/ 966 w 42783"/>
                    <a:gd name="connsiteY4" fmla="*/ 3145 h 58935"/>
                    <a:gd name="connsiteX5" fmla="*/ 9997 w 42783"/>
                    <a:gd name="connsiteY5" fmla="*/ 968 h 58935"/>
                    <a:gd name="connsiteX6" fmla="*/ 39639 w 42783"/>
                    <a:gd name="connsiteY6" fmla="*/ 19082 h 58935"/>
                    <a:gd name="connsiteX7" fmla="*/ 42783 w 42783"/>
                    <a:gd name="connsiteY7" fmla="*/ 24687 h 58935"/>
                    <a:gd name="connsiteX8" fmla="*/ 42783 w 42783"/>
                    <a:gd name="connsiteY8" fmla="*/ 52367 h 58935"/>
                    <a:gd name="connsiteX9" fmla="*/ 36212 w 42783"/>
                    <a:gd name="connsiteY9" fmla="*/ 58936 h 5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783" h="58935">
                      <a:moveTo>
                        <a:pt x="36212" y="58936"/>
                      </a:moveTo>
                      <a:cubicBezTo>
                        <a:pt x="32582" y="58936"/>
                        <a:pt x="29643" y="55994"/>
                        <a:pt x="29643" y="52367"/>
                      </a:cubicBezTo>
                      <a:lnTo>
                        <a:pt x="29643" y="28374"/>
                      </a:lnTo>
                      <a:lnTo>
                        <a:pt x="3143" y="12177"/>
                      </a:lnTo>
                      <a:cubicBezTo>
                        <a:pt x="48" y="10287"/>
                        <a:pt x="-927" y="6241"/>
                        <a:pt x="966" y="3145"/>
                      </a:cubicBezTo>
                      <a:cubicBezTo>
                        <a:pt x="2856" y="47"/>
                        <a:pt x="6904" y="-928"/>
                        <a:pt x="9997" y="968"/>
                      </a:cubicBezTo>
                      <a:lnTo>
                        <a:pt x="39639" y="19082"/>
                      </a:lnTo>
                      <a:cubicBezTo>
                        <a:pt x="41592" y="20277"/>
                        <a:pt x="42783" y="22400"/>
                        <a:pt x="42783" y="24687"/>
                      </a:cubicBezTo>
                      <a:lnTo>
                        <a:pt x="42783" y="52367"/>
                      </a:lnTo>
                      <a:cubicBezTo>
                        <a:pt x="42783" y="55994"/>
                        <a:pt x="39841" y="58936"/>
                        <a:pt x="36212" y="58936"/>
                      </a:cubicBezTo>
                      <a:close/>
                    </a:path>
                  </a:pathLst>
                </a:custGeom>
                <a:grpFill/>
                <a:ln w="274" cap="flat">
                  <a:noFill/>
                  <a:prstDash val="solid"/>
                  <a:miter/>
                </a:ln>
              </p:spPr>
              <p:txBody>
                <a:bodyPr rtlCol="0" anchor="ctr"/>
                <a:lstStyle/>
                <a:p>
                  <a:endParaRPr lang="en-GB" dirty="0"/>
                </a:p>
              </p:txBody>
            </p:sp>
          </p:grpSp>
          <p:grpSp>
            <p:nvGrpSpPr>
              <p:cNvPr id="951" name="Grafik 349">
                <a:extLst>
                  <a:ext uri="{FF2B5EF4-FFF2-40B4-BE49-F238E27FC236}">
                    <a16:creationId xmlns:a16="http://schemas.microsoft.com/office/drawing/2014/main" id="{D23083DE-469E-4352-B5B2-A1CA2FB28CE5}"/>
                  </a:ext>
                </a:extLst>
              </p:cNvPr>
              <p:cNvGrpSpPr/>
              <p:nvPr/>
            </p:nvGrpSpPr>
            <p:grpSpPr>
              <a:xfrm>
                <a:off x="6162981" y="1812703"/>
                <a:ext cx="361044" cy="136879"/>
                <a:chOff x="6162981" y="1812703"/>
                <a:chExt cx="361044" cy="136879"/>
              </a:xfrm>
              <a:grpFill/>
            </p:grpSpPr>
            <p:grpSp>
              <p:nvGrpSpPr>
                <p:cNvPr id="952" name="Grafik 349">
                  <a:extLst>
                    <a:ext uri="{FF2B5EF4-FFF2-40B4-BE49-F238E27FC236}">
                      <a16:creationId xmlns:a16="http://schemas.microsoft.com/office/drawing/2014/main" id="{7B0EF46C-9833-4A00-9324-20E00638FB38}"/>
                    </a:ext>
                  </a:extLst>
                </p:cNvPr>
                <p:cNvGrpSpPr/>
                <p:nvPr/>
              </p:nvGrpSpPr>
              <p:grpSpPr>
                <a:xfrm>
                  <a:off x="6353783" y="1812704"/>
                  <a:ext cx="170242" cy="136878"/>
                  <a:chOff x="6353783" y="1812704"/>
                  <a:chExt cx="170242" cy="136878"/>
                </a:xfrm>
                <a:grpFill/>
              </p:grpSpPr>
              <p:sp>
                <p:nvSpPr>
                  <p:cNvPr id="961" name="Freihandform: Form 960">
                    <a:extLst>
                      <a:ext uri="{FF2B5EF4-FFF2-40B4-BE49-F238E27FC236}">
                        <a16:creationId xmlns:a16="http://schemas.microsoft.com/office/drawing/2014/main" id="{D723C22D-81DC-4FB8-8774-9B76F82386E2}"/>
                      </a:ext>
                    </a:extLst>
                  </p:cNvPr>
                  <p:cNvSpPr/>
                  <p:nvPr/>
                </p:nvSpPr>
                <p:spPr>
                  <a:xfrm>
                    <a:off x="6353783" y="1858032"/>
                    <a:ext cx="16322" cy="43284"/>
                  </a:xfrm>
                  <a:custGeom>
                    <a:avLst/>
                    <a:gdLst>
                      <a:gd name="connsiteX0" fmla="*/ 9745 w 16322"/>
                      <a:gd name="connsiteY0" fmla="*/ 43285 h 43284"/>
                      <a:gd name="connsiteX1" fmla="*/ 3376 w 16322"/>
                      <a:gd name="connsiteY1" fmla="*/ 38305 h 43284"/>
                      <a:gd name="connsiteX2" fmla="*/ 393 w 16322"/>
                      <a:gd name="connsiteY2" fmla="*/ 5850 h 43284"/>
                      <a:gd name="connsiteX3" fmla="*/ 7641 w 16322"/>
                      <a:gd name="connsiteY3" fmla="*/ 34 h 43284"/>
                      <a:gd name="connsiteX4" fmla="*/ 13457 w 16322"/>
                      <a:gd name="connsiteY4" fmla="*/ 7282 h 43284"/>
                      <a:gd name="connsiteX5" fmla="*/ 16125 w 16322"/>
                      <a:gd name="connsiteY5" fmla="*/ 35124 h 43284"/>
                      <a:gd name="connsiteX6" fmla="*/ 11342 w 16322"/>
                      <a:gd name="connsiteY6" fmla="*/ 43090 h 43284"/>
                      <a:gd name="connsiteX7" fmla="*/ 9745 w 16322"/>
                      <a:gd name="connsiteY7" fmla="*/ 43285 h 43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22" h="43284">
                        <a:moveTo>
                          <a:pt x="9745" y="43285"/>
                        </a:moveTo>
                        <a:cubicBezTo>
                          <a:pt x="6801" y="43285"/>
                          <a:pt x="4122" y="41293"/>
                          <a:pt x="3376" y="38305"/>
                        </a:cubicBezTo>
                        <a:cubicBezTo>
                          <a:pt x="363" y="26219"/>
                          <a:pt x="-639" y="15303"/>
                          <a:pt x="393" y="5850"/>
                        </a:cubicBezTo>
                        <a:cubicBezTo>
                          <a:pt x="791" y="2245"/>
                          <a:pt x="4064" y="-330"/>
                          <a:pt x="7641" y="34"/>
                        </a:cubicBezTo>
                        <a:cubicBezTo>
                          <a:pt x="11246" y="429"/>
                          <a:pt x="13851" y="3672"/>
                          <a:pt x="13457" y="7282"/>
                        </a:cubicBezTo>
                        <a:cubicBezTo>
                          <a:pt x="12591" y="15188"/>
                          <a:pt x="13490" y="24553"/>
                          <a:pt x="16125" y="35124"/>
                        </a:cubicBezTo>
                        <a:cubicBezTo>
                          <a:pt x="17004" y="38647"/>
                          <a:pt x="14862" y="42211"/>
                          <a:pt x="11342" y="43090"/>
                        </a:cubicBezTo>
                        <a:cubicBezTo>
                          <a:pt x="10808" y="43222"/>
                          <a:pt x="10271" y="43285"/>
                          <a:pt x="9745" y="43285"/>
                        </a:cubicBezTo>
                        <a:close/>
                      </a:path>
                    </a:pathLst>
                  </a:custGeom>
                  <a:grpFill/>
                  <a:ln w="274" cap="flat">
                    <a:noFill/>
                    <a:prstDash val="solid"/>
                    <a:miter/>
                  </a:ln>
                </p:spPr>
                <p:txBody>
                  <a:bodyPr rtlCol="0" anchor="ctr"/>
                  <a:lstStyle/>
                  <a:p>
                    <a:endParaRPr lang="en-GB" dirty="0"/>
                  </a:p>
                </p:txBody>
              </p:sp>
              <p:sp>
                <p:nvSpPr>
                  <p:cNvPr id="962" name="Freihandform: Form 961">
                    <a:extLst>
                      <a:ext uri="{FF2B5EF4-FFF2-40B4-BE49-F238E27FC236}">
                        <a16:creationId xmlns:a16="http://schemas.microsoft.com/office/drawing/2014/main" id="{405D5DD6-7B18-4948-BE25-9CA81F37C8BA}"/>
                      </a:ext>
                    </a:extLst>
                  </p:cNvPr>
                  <p:cNvSpPr/>
                  <p:nvPr/>
                </p:nvSpPr>
                <p:spPr>
                  <a:xfrm>
                    <a:off x="6472873" y="1865432"/>
                    <a:ext cx="21711" cy="20571"/>
                  </a:xfrm>
                  <a:custGeom>
                    <a:avLst/>
                    <a:gdLst>
                      <a:gd name="connsiteX0" fmla="*/ 15133 w 21711"/>
                      <a:gd name="connsiteY0" fmla="*/ 20572 h 20571"/>
                      <a:gd name="connsiteX1" fmla="*/ 11238 w 21711"/>
                      <a:gd name="connsiteY1" fmla="*/ 19290 h 20571"/>
                      <a:gd name="connsiteX2" fmla="*/ 1656 w 21711"/>
                      <a:gd name="connsiteY2" fmla="*/ 10930 h 20571"/>
                      <a:gd name="connsiteX3" fmla="*/ 2212 w 21711"/>
                      <a:gd name="connsiteY3" fmla="*/ 1655 h 20571"/>
                      <a:gd name="connsiteX4" fmla="*/ 11471 w 21711"/>
                      <a:gd name="connsiteY4" fmla="*/ 2191 h 20571"/>
                      <a:gd name="connsiteX5" fmla="*/ 11471 w 21711"/>
                      <a:gd name="connsiteY5" fmla="*/ 2191 h 20571"/>
                      <a:gd name="connsiteX6" fmla="*/ 19042 w 21711"/>
                      <a:gd name="connsiteY6" fmla="*/ 8716 h 20571"/>
                      <a:gd name="connsiteX7" fmla="*/ 20428 w 21711"/>
                      <a:gd name="connsiteY7" fmla="*/ 17904 h 20571"/>
                      <a:gd name="connsiteX8" fmla="*/ 15133 w 21711"/>
                      <a:gd name="connsiteY8" fmla="*/ 20572 h 20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711" h="20571">
                        <a:moveTo>
                          <a:pt x="15133" y="20572"/>
                        </a:moveTo>
                        <a:cubicBezTo>
                          <a:pt x="13780" y="20572"/>
                          <a:pt x="12413" y="20156"/>
                          <a:pt x="11238" y="19290"/>
                        </a:cubicBezTo>
                        <a:cubicBezTo>
                          <a:pt x="5137" y="14784"/>
                          <a:pt x="1993" y="11310"/>
                          <a:pt x="1656" y="10930"/>
                        </a:cubicBezTo>
                        <a:cubicBezTo>
                          <a:pt x="-755" y="8215"/>
                          <a:pt x="-503" y="4062"/>
                          <a:pt x="2212" y="1655"/>
                        </a:cubicBezTo>
                        <a:cubicBezTo>
                          <a:pt x="4924" y="-750"/>
                          <a:pt x="9052" y="-501"/>
                          <a:pt x="11471" y="2191"/>
                        </a:cubicBezTo>
                        <a:lnTo>
                          <a:pt x="11471" y="2191"/>
                        </a:lnTo>
                        <a:cubicBezTo>
                          <a:pt x="11495" y="2222"/>
                          <a:pt x="14045" y="5029"/>
                          <a:pt x="19042" y="8716"/>
                        </a:cubicBezTo>
                        <a:cubicBezTo>
                          <a:pt x="21962" y="10872"/>
                          <a:pt x="22581" y="14984"/>
                          <a:pt x="20428" y="17904"/>
                        </a:cubicBezTo>
                        <a:cubicBezTo>
                          <a:pt x="19135" y="19649"/>
                          <a:pt x="17146" y="20572"/>
                          <a:pt x="15133" y="20572"/>
                        </a:cubicBezTo>
                        <a:close/>
                      </a:path>
                    </a:pathLst>
                  </a:custGeom>
                  <a:grpFill/>
                  <a:ln w="274" cap="flat">
                    <a:noFill/>
                    <a:prstDash val="solid"/>
                    <a:miter/>
                  </a:ln>
                </p:spPr>
                <p:txBody>
                  <a:bodyPr rtlCol="0" anchor="ctr"/>
                  <a:lstStyle/>
                  <a:p>
                    <a:endParaRPr lang="en-GB" dirty="0"/>
                  </a:p>
                </p:txBody>
              </p:sp>
              <p:sp>
                <p:nvSpPr>
                  <p:cNvPr id="963" name="Freihandform: Form 962">
                    <a:extLst>
                      <a:ext uri="{FF2B5EF4-FFF2-40B4-BE49-F238E27FC236}">
                        <a16:creationId xmlns:a16="http://schemas.microsoft.com/office/drawing/2014/main" id="{439BE531-A6A6-4006-8280-A17CCD4D6C52}"/>
                      </a:ext>
                    </a:extLst>
                  </p:cNvPr>
                  <p:cNvSpPr/>
                  <p:nvPr/>
                </p:nvSpPr>
                <p:spPr>
                  <a:xfrm>
                    <a:off x="6353930" y="1886290"/>
                    <a:ext cx="54181" cy="63292"/>
                  </a:xfrm>
                  <a:custGeom>
                    <a:avLst/>
                    <a:gdLst>
                      <a:gd name="connsiteX0" fmla="*/ 35983 w 54181"/>
                      <a:gd name="connsiteY0" fmla="*/ 63292 h 63292"/>
                      <a:gd name="connsiteX1" fmla="*/ 32893 w 54181"/>
                      <a:gd name="connsiteY1" fmla="*/ 63007 h 63292"/>
                      <a:gd name="connsiteX2" fmla="*/ 22193 w 54181"/>
                      <a:gd name="connsiteY2" fmla="*/ 56069 h 63292"/>
                      <a:gd name="connsiteX3" fmla="*/ 3624 w 54181"/>
                      <a:gd name="connsiteY3" fmla="*/ 28996 h 63292"/>
                      <a:gd name="connsiteX4" fmla="*/ 6273 w 54181"/>
                      <a:gd name="connsiteY4" fmla="*/ 3483 h 63292"/>
                      <a:gd name="connsiteX5" fmla="*/ 7870 w 54181"/>
                      <a:gd name="connsiteY5" fmla="*/ 2384 h 63292"/>
                      <a:gd name="connsiteX6" fmla="*/ 32520 w 54181"/>
                      <a:gd name="connsiteY6" fmla="*/ 8940 h 63292"/>
                      <a:gd name="connsiteX7" fmla="*/ 51251 w 54181"/>
                      <a:gd name="connsiteY7" fmla="*/ 36086 h 63292"/>
                      <a:gd name="connsiteX8" fmla="*/ 46964 w 54181"/>
                      <a:gd name="connsiteY8" fmla="*/ 59271 h 63292"/>
                      <a:gd name="connsiteX9" fmla="*/ 45359 w 54181"/>
                      <a:gd name="connsiteY9" fmla="*/ 60372 h 63292"/>
                      <a:gd name="connsiteX10" fmla="*/ 35983 w 54181"/>
                      <a:gd name="connsiteY10" fmla="*/ 63292 h 63292"/>
                      <a:gd name="connsiteX11" fmla="*/ 15307 w 54181"/>
                      <a:gd name="connsiteY11" fmla="*/ 13218 h 63292"/>
                      <a:gd name="connsiteX12" fmla="*/ 13715 w 54181"/>
                      <a:gd name="connsiteY12" fmla="*/ 14309 h 63292"/>
                      <a:gd name="connsiteX13" fmla="*/ 14460 w 54181"/>
                      <a:gd name="connsiteY13" fmla="*/ 21559 h 63292"/>
                      <a:gd name="connsiteX14" fmla="*/ 33030 w 54181"/>
                      <a:gd name="connsiteY14" fmla="*/ 48631 h 63292"/>
                      <a:gd name="connsiteX15" fmla="*/ 35293 w 54181"/>
                      <a:gd name="connsiteY15" fmla="*/ 50086 h 63292"/>
                      <a:gd name="connsiteX16" fmla="*/ 37930 w 54181"/>
                      <a:gd name="connsiteY16" fmla="*/ 49538 h 63292"/>
                      <a:gd name="connsiteX17" fmla="*/ 39530 w 54181"/>
                      <a:gd name="connsiteY17" fmla="*/ 48440 h 63292"/>
                      <a:gd name="connsiteX18" fmla="*/ 40434 w 54181"/>
                      <a:gd name="connsiteY18" fmla="*/ 43534 h 63292"/>
                      <a:gd name="connsiteX19" fmla="*/ 21703 w 54181"/>
                      <a:gd name="connsiteY19" fmla="*/ 16388 h 63292"/>
                      <a:gd name="connsiteX20" fmla="*/ 15307 w 54181"/>
                      <a:gd name="connsiteY20" fmla="*/ 13218 h 63292"/>
                      <a:gd name="connsiteX21" fmla="*/ 11595 w 54181"/>
                      <a:gd name="connsiteY21" fmla="*/ 7797 h 63292"/>
                      <a:gd name="connsiteX22" fmla="*/ 11658 w 54181"/>
                      <a:gd name="connsiteY22" fmla="*/ 7797 h 63292"/>
                      <a:gd name="connsiteX23" fmla="*/ 11595 w 54181"/>
                      <a:gd name="connsiteY23" fmla="*/ 7797 h 6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181" h="63292">
                        <a:moveTo>
                          <a:pt x="35983" y="63292"/>
                        </a:moveTo>
                        <a:cubicBezTo>
                          <a:pt x="34958" y="63292"/>
                          <a:pt x="33926" y="63199"/>
                          <a:pt x="32893" y="63007"/>
                        </a:cubicBezTo>
                        <a:cubicBezTo>
                          <a:pt x="28507" y="62196"/>
                          <a:pt x="24705" y="59731"/>
                          <a:pt x="22193" y="56069"/>
                        </a:cubicBezTo>
                        <a:lnTo>
                          <a:pt x="3624" y="28996"/>
                        </a:lnTo>
                        <a:cubicBezTo>
                          <a:pt x="-1592" y="21403"/>
                          <a:pt x="-1570" y="8877"/>
                          <a:pt x="6273" y="3483"/>
                        </a:cubicBezTo>
                        <a:lnTo>
                          <a:pt x="7870" y="2384"/>
                        </a:lnTo>
                        <a:cubicBezTo>
                          <a:pt x="15693" y="-3001"/>
                          <a:pt x="27335" y="1404"/>
                          <a:pt x="32520" y="8940"/>
                        </a:cubicBezTo>
                        <a:lnTo>
                          <a:pt x="51251" y="36086"/>
                        </a:lnTo>
                        <a:cubicBezTo>
                          <a:pt x="56461" y="43665"/>
                          <a:pt x="54536" y="54063"/>
                          <a:pt x="46964" y="59271"/>
                        </a:cubicBezTo>
                        <a:lnTo>
                          <a:pt x="45359" y="60372"/>
                        </a:lnTo>
                        <a:cubicBezTo>
                          <a:pt x="42568" y="62292"/>
                          <a:pt x="39319" y="63292"/>
                          <a:pt x="35983" y="63292"/>
                        </a:cubicBezTo>
                        <a:close/>
                        <a:moveTo>
                          <a:pt x="15307" y="13218"/>
                        </a:moveTo>
                        <a:lnTo>
                          <a:pt x="13715" y="14309"/>
                        </a:lnTo>
                        <a:cubicBezTo>
                          <a:pt x="12954" y="15084"/>
                          <a:pt x="12847" y="19206"/>
                          <a:pt x="14460" y="21559"/>
                        </a:cubicBezTo>
                        <a:lnTo>
                          <a:pt x="33030" y="48631"/>
                        </a:lnTo>
                        <a:cubicBezTo>
                          <a:pt x="33739" y="49661"/>
                          <a:pt x="34753" y="49985"/>
                          <a:pt x="35293" y="50086"/>
                        </a:cubicBezTo>
                        <a:cubicBezTo>
                          <a:pt x="35832" y="50185"/>
                          <a:pt x="36898" y="50248"/>
                          <a:pt x="37930" y="49538"/>
                        </a:cubicBezTo>
                        <a:lnTo>
                          <a:pt x="39530" y="48440"/>
                        </a:lnTo>
                        <a:cubicBezTo>
                          <a:pt x="41102" y="47358"/>
                          <a:pt x="41519" y="45109"/>
                          <a:pt x="40434" y="43534"/>
                        </a:cubicBezTo>
                        <a:lnTo>
                          <a:pt x="21703" y="16388"/>
                        </a:lnTo>
                        <a:cubicBezTo>
                          <a:pt x="20117" y="14081"/>
                          <a:pt x="16282" y="12731"/>
                          <a:pt x="15307" y="13218"/>
                        </a:cubicBezTo>
                        <a:close/>
                        <a:moveTo>
                          <a:pt x="11595" y="7797"/>
                        </a:moveTo>
                        <a:lnTo>
                          <a:pt x="11658" y="7797"/>
                        </a:lnTo>
                        <a:lnTo>
                          <a:pt x="11595" y="7797"/>
                        </a:lnTo>
                        <a:close/>
                      </a:path>
                    </a:pathLst>
                  </a:custGeom>
                  <a:grpFill/>
                  <a:ln w="274" cap="flat">
                    <a:noFill/>
                    <a:prstDash val="solid"/>
                    <a:miter/>
                  </a:ln>
                </p:spPr>
                <p:txBody>
                  <a:bodyPr rtlCol="0" anchor="ctr"/>
                  <a:lstStyle/>
                  <a:p>
                    <a:endParaRPr lang="en-GB" dirty="0"/>
                  </a:p>
                </p:txBody>
              </p:sp>
              <p:sp>
                <p:nvSpPr>
                  <p:cNvPr id="964" name="Freihandform: Form 963">
                    <a:extLst>
                      <a:ext uri="{FF2B5EF4-FFF2-40B4-BE49-F238E27FC236}">
                        <a16:creationId xmlns:a16="http://schemas.microsoft.com/office/drawing/2014/main" id="{1373976A-F6AD-4C59-AC97-02BC93B3A673}"/>
                      </a:ext>
                    </a:extLst>
                  </p:cNvPr>
                  <p:cNvSpPr/>
                  <p:nvPr/>
                </p:nvSpPr>
                <p:spPr>
                  <a:xfrm>
                    <a:off x="6445433" y="1856183"/>
                    <a:ext cx="41133" cy="80136"/>
                  </a:xfrm>
                  <a:custGeom>
                    <a:avLst/>
                    <a:gdLst>
                      <a:gd name="connsiteX0" fmla="*/ 20998 w 41133"/>
                      <a:gd name="connsiteY0" fmla="*/ 80136 h 80136"/>
                      <a:gd name="connsiteX1" fmla="*/ 20302 w 41133"/>
                      <a:gd name="connsiteY1" fmla="*/ 80123 h 80136"/>
                      <a:gd name="connsiteX2" fmla="*/ 17990 w 41133"/>
                      <a:gd name="connsiteY2" fmla="*/ 80040 h 80136"/>
                      <a:gd name="connsiteX3" fmla="*/ 5006 w 41133"/>
                      <a:gd name="connsiteY3" fmla="*/ 74085 h 80136"/>
                      <a:gd name="connsiteX4" fmla="*/ 13 w 41133"/>
                      <a:gd name="connsiteY4" fmla="*/ 60707 h 80136"/>
                      <a:gd name="connsiteX5" fmla="*/ 1330 w 41133"/>
                      <a:gd name="connsiteY5" fmla="*/ 20817 h 80136"/>
                      <a:gd name="connsiteX6" fmla="*/ 6811 w 41133"/>
                      <a:gd name="connsiteY6" fmla="*/ 7033 h 80136"/>
                      <a:gd name="connsiteX7" fmla="*/ 20897 w 41133"/>
                      <a:gd name="connsiteY7" fmla="*/ 10 h 80136"/>
                      <a:gd name="connsiteX8" fmla="*/ 23214 w 41133"/>
                      <a:gd name="connsiteY8" fmla="*/ 92 h 80136"/>
                      <a:gd name="connsiteX9" fmla="*/ 36598 w 41133"/>
                      <a:gd name="connsiteY9" fmla="*/ 7584 h 80136"/>
                      <a:gd name="connsiteX10" fmla="*/ 41121 w 41133"/>
                      <a:gd name="connsiteY10" fmla="*/ 21458 h 80136"/>
                      <a:gd name="connsiteX11" fmla="*/ 39636 w 41133"/>
                      <a:gd name="connsiteY11" fmla="*/ 62150 h 80136"/>
                      <a:gd name="connsiteX12" fmla="*/ 33681 w 41133"/>
                      <a:gd name="connsiteY12" fmla="*/ 75126 h 80136"/>
                      <a:gd name="connsiteX13" fmla="*/ 20998 w 41133"/>
                      <a:gd name="connsiteY13" fmla="*/ 80136 h 80136"/>
                      <a:gd name="connsiteX14" fmla="*/ 20365 w 41133"/>
                      <a:gd name="connsiteY14" fmla="*/ 13142 h 80136"/>
                      <a:gd name="connsiteX15" fmla="*/ 16936 w 41133"/>
                      <a:gd name="connsiteY15" fmla="*/ 15413 h 80136"/>
                      <a:gd name="connsiteX16" fmla="*/ 14462 w 41133"/>
                      <a:gd name="connsiteY16" fmla="*/ 21275 h 80136"/>
                      <a:gd name="connsiteX17" fmla="*/ 13145 w 41133"/>
                      <a:gd name="connsiteY17" fmla="*/ 61164 h 80136"/>
                      <a:gd name="connsiteX18" fmla="*/ 18464 w 41133"/>
                      <a:gd name="connsiteY18" fmla="*/ 66906 h 80136"/>
                      <a:gd name="connsiteX19" fmla="*/ 20782 w 41133"/>
                      <a:gd name="connsiteY19" fmla="*/ 66988 h 80136"/>
                      <a:gd name="connsiteX20" fmla="*/ 24737 w 41133"/>
                      <a:gd name="connsiteY20" fmla="*/ 65506 h 80136"/>
                      <a:gd name="connsiteX21" fmla="*/ 26504 w 41133"/>
                      <a:gd name="connsiteY21" fmla="*/ 61671 h 80136"/>
                      <a:gd name="connsiteX22" fmla="*/ 27989 w 41133"/>
                      <a:gd name="connsiteY22" fmla="*/ 20976 h 80136"/>
                      <a:gd name="connsiteX23" fmla="*/ 26101 w 41133"/>
                      <a:gd name="connsiteY23" fmla="*/ 15490 h 80136"/>
                      <a:gd name="connsiteX24" fmla="*/ 22740 w 41133"/>
                      <a:gd name="connsiteY24" fmla="*/ 13224 h 80136"/>
                      <a:gd name="connsiteX25" fmla="*/ 20420 w 41133"/>
                      <a:gd name="connsiteY25" fmla="*/ 13142 h 80136"/>
                      <a:gd name="connsiteX26" fmla="*/ 20365 w 41133"/>
                      <a:gd name="connsiteY26" fmla="*/ 13142 h 80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1133" h="80136">
                        <a:moveTo>
                          <a:pt x="20998" y="80136"/>
                        </a:moveTo>
                        <a:cubicBezTo>
                          <a:pt x="20768" y="80136"/>
                          <a:pt x="20535" y="80131"/>
                          <a:pt x="20302" y="80123"/>
                        </a:cubicBezTo>
                        <a:lnTo>
                          <a:pt x="17990" y="80040"/>
                        </a:lnTo>
                        <a:cubicBezTo>
                          <a:pt x="13021" y="79860"/>
                          <a:pt x="8408" y="77748"/>
                          <a:pt x="5006" y="74085"/>
                        </a:cubicBezTo>
                        <a:cubicBezTo>
                          <a:pt x="1607" y="70428"/>
                          <a:pt x="-168" y="65676"/>
                          <a:pt x="13" y="60707"/>
                        </a:cubicBezTo>
                        <a:lnTo>
                          <a:pt x="1330" y="20817"/>
                        </a:lnTo>
                        <a:cubicBezTo>
                          <a:pt x="1503" y="16054"/>
                          <a:pt x="3502" y="11036"/>
                          <a:pt x="6811" y="7033"/>
                        </a:cubicBezTo>
                        <a:cubicBezTo>
                          <a:pt x="10657" y="2385"/>
                          <a:pt x="15824" y="-182"/>
                          <a:pt x="20897" y="10"/>
                        </a:cubicBezTo>
                        <a:lnTo>
                          <a:pt x="23214" y="92"/>
                        </a:lnTo>
                        <a:cubicBezTo>
                          <a:pt x="28271" y="276"/>
                          <a:pt x="33150" y="3004"/>
                          <a:pt x="36598" y="7584"/>
                        </a:cubicBezTo>
                        <a:cubicBezTo>
                          <a:pt x="39647" y="11630"/>
                          <a:pt x="41296" y="16689"/>
                          <a:pt x="41121" y="21458"/>
                        </a:cubicBezTo>
                        <a:lnTo>
                          <a:pt x="39636" y="62150"/>
                        </a:lnTo>
                        <a:cubicBezTo>
                          <a:pt x="39455" y="67117"/>
                          <a:pt x="37343" y="71727"/>
                          <a:pt x="33681" y="75126"/>
                        </a:cubicBezTo>
                        <a:cubicBezTo>
                          <a:pt x="30194" y="78372"/>
                          <a:pt x="25712" y="80136"/>
                          <a:pt x="20998" y="80136"/>
                        </a:cubicBezTo>
                        <a:close/>
                        <a:moveTo>
                          <a:pt x="20365" y="13142"/>
                        </a:moveTo>
                        <a:cubicBezTo>
                          <a:pt x="19420" y="13142"/>
                          <a:pt x="18081" y="14027"/>
                          <a:pt x="16936" y="15413"/>
                        </a:cubicBezTo>
                        <a:cubicBezTo>
                          <a:pt x="15498" y="17150"/>
                          <a:pt x="14525" y="19448"/>
                          <a:pt x="14462" y="21275"/>
                        </a:cubicBezTo>
                        <a:lnTo>
                          <a:pt x="13145" y="61164"/>
                        </a:lnTo>
                        <a:cubicBezTo>
                          <a:pt x="13032" y="64232"/>
                          <a:pt x="15418" y="66799"/>
                          <a:pt x="18464" y="66906"/>
                        </a:cubicBezTo>
                        <a:lnTo>
                          <a:pt x="20782" y="66988"/>
                        </a:lnTo>
                        <a:cubicBezTo>
                          <a:pt x="22266" y="67026"/>
                          <a:pt x="23652" y="66517"/>
                          <a:pt x="24737" y="65506"/>
                        </a:cubicBezTo>
                        <a:cubicBezTo>
                          <a:pt x="25825" y="64495"/>
                          <a:pt x="26455" y="63131"/>
                          <a:pt x="26504" y="61671"/>
                        </a:cubicBezTo>
                        <a:lnTo>
                          <a:pt x="27989" y="20976"/>
                        </a:lnTo>
                        <a:cubicBezTo>
                          <a:pt x="28052" y="19220"/>
                          <a:pt x="27331" y="17119"/>
                          <a:pt x="26101" y="15490"/>
                        </a:cubicBezTo>
                        <a:cubicBezTo>
                          <a:pt x="25063" y="14109"/>
                          <a:pt x="23809" y="13263"/>
                          <a:pt x="22740" y="13224"/>
                        </a:cubicBezTo>
                        <a:lnTo>
                          <a:pt x="20420" y="13142"/>
                        </a:lnTo>
                        <a:cubicBezTo>
                          <a:pt x="20404" y="13142"/>
                          <a:pt x="20385" y="13142"/>
                          <a:pt x="20365" y="13142"/>
                        </a:cubicBezTo>
                        <a:close/>
                      </a:path>
                    </a:pathLst>
                  </a:custGeom>
                  <a:grpFill/>
                  <a:ln w="274" cap="flat">
                    <a:noFill/>
                    <a:prstDash val="solid"/>
                    <a:miter/>
                  </a:ln>
                </p:spPr>
                <p:txBody>
                  <a:bodyPr rtlCol="0" anchor="ctr"/>
                  <a:lstStyle/>
                  <a:p>
                    <a:endParaRPr lang="en-GB" dirty="0"/>
                  </a:p>
                </p:txBody>
              </p:sp>
              <p:sp>
                <p:nvSpPr>
                  <p:cNvPr id="965" name="Freihandform: Form 964">
                    <a:extLst>
                      <a:ext uri="{FF2B5EF4-FFF2-40B4-BE49-F238E27FC236}">
                        <a16:creationId xmlns:a16="http://schemas.microsoft.com/office/drawing/2014/main" id="{D3124A87-D8EC-48A9-BC59-91EB9B5E5326}"/>
                      </a:ext>
                    </a:extLst>
                  </p:cNvPr>
                  <p:cNvSpPr/>
                  <p:nvPr/>
                </p:nvSpPr>
                <p:spPr>
                  <a:xfrm>
                    <a:off x="6414094" y="1867474"/>
                    <a:ext cx="43823" cy="73660"/>
                  </a:xfrm>
                  <a:custGeom>
                    <a:avLst/>
                    <a:gdLst>
                      <a:gd name="connsiteX0" fmla="*/ 24172 w 43823"/>
                      <a:gd name="connsiteY0" fmla="*/ 73661 h 73660"/>
                      <a:gd name="connsiteX1" fmla="*/ 6921 w 43823"/>
                      <a:gd name="connsiteY1" fmla="*/ 59397 h 73660"/>
                      <a:gd name="connsiteX2" fmla="*/ 341 w 43823"/>
                      <a:gd name="connsiteY2" fmla="*/ 23393 h 73660"/>
                      <a:gd name="connsiteX3" fmla="*/ 2217 w 43823"/>
                      <a:gd name="connsiteY3" fmla="*/ 10003 h 73660"/>
                      <a:gd name="connsiteX4" fmla="*/ 13547 w 43823"/>
                      <a:gd name="connsiteY4" fmla="*/ 643 h 73660"/>
                      <a:gd name="connsiteX5" fmla="*/ 15615 w 43823"/>
                      <a:gd name="connsiteY5" fmla="*/ 246 h 73660"/>
                      <a:gd name="connsiteX6" fmla="*/ 36880 w 43823"/>
                      <a:gd name="connsiteY6" fmla="*/ 16824 h 73660"/>
                      <a:gd name="connsiteX7" fmla="*/ 43509 w 43823"/>
                      <a:gd name="connsiteY7" fmla="*/ 52415 h 73660"/>
                      <a:gd name="connsiteX8" fmla="*/ 29550 w 43823"/>
                      <a:gd name="connsiteY8" fmla="*/ 72946 h 73660"/>
                      <a:gd name="connsiteX9" fmla="*/ 27487 w 43823"/>
                      <a:gd name="connsiteY9" fmla="*/ 73343 h 73660"/>
                      <a:gd name="connsiteX10" fmla="*/ 24172 w 43823"/>
                      <a:gd name="connsiteY10" fmla="*/ 73661 h 73660"/>
                      <a:gd name="connsiteX11" fmla="*/ 18094 w 43823"/>
                      <a:gd name="connsiteY11" fmla="*/ 13148 h 73660"/>
                      <a:gd name="connsiteX12" fmla="*/ 16020 w 43823"/>
                      <a:gd name="connsiteY12" fmla="*/ 13545 h 73660"/>
                      <a:gd name="connsiteX13" fmla="*/ 14056 w 43823"/>
                      <a:gd name="connsiteY13" fmla="*/ 15703 h 73660"/>
                      <a:gd name="connsiteX14" fmla="*/ 13254 w 43823"/>
                      <a:gd name="connsiteY14" fmla="*/ 20974 h 73660"/>
                      <a:gd name="connsiteX15" fmla="*/ 19833 w 43823"/>
                      <a:gd name="connsiteY15" fmla="*/ 56979 h 73660"/>
                      <a:gd name="connsiteX16" fmla="*/ 25011 w 43823"/>
                      <a:gd name="connsiteY16" fmla="*/ 60441 h 73660"/>
                      <a:gd name="connsiteX17" fmla="*/ 27073 w 43823"/>
                      <a:gd name="connsiteY17" fmla="*/ 60044 h 73660"/>
                      <a:gd name="connsiteX18" fmla="*/ 30599 w 43823"/>
                      <a:gd name="connsiteY18" fmla="*/ 54853 h 73660"/>
                      <a:gd name="connsiteX19" fmla="*/ 23970 w 43823"/>
                      <a:gd name="connsiteY19" fmla="*/ 19267 h 73660"/>
                      <a:gd name="connsiteX20" fmla="*/ 18094 w 43823"/>
                      <a:gd name="connsiteY20" fmla="*/ 13148 h 73660"/>
                      <a:gd name="connsiteX21" fmla="*/ 18094 w 43823"/>
                      <a:gd name="connsiteY21" fmla="*/ 13148 h 7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823" h="73660">
                        <a:moveTo>
                          <a:pt x="24172" y="73661"/>
                        </a:moveTo>
                        <a:cubicBezTo>
                          <a:pt x="15911" y="73661"/>
                          <a:pt x="8531" y="67799"/>
                          <a:pt x="6921" y="59397"/>
                        </a:cubicBezTo>
                        <a:lnTo>
                          <a:pt x="341" y="23393"/>
                        </a:lnTo>
                        <a:cubicBezTo>
                          <a:pt x="-481" y="19097"/>
                          <a:pt x="198" y="14194"/>
                          <a:pt x="2217" y="10003"/>
                        </a:cubicBezTo>
                        <a:cubicBezTo>
                          <a:pt x="4641" y="4966"/>
                          <a:pt x="8772" y="1555"/>
                          <a:pt x="13547" y="643"/>
                        </a:cubicBezTo>
                        <a:lnTo>
                          <a:pt x="15615" y="246"/>
                        </a:lnTo>
                        <a:cubicBezTo>
                          <a:pt x="25474" y="-1636"/>
                          <a:pt x="35110" y="7614"/>
                          <a:pt x="36880" y="16824"/>
                        </a:cubicBezTo>
                        <a:lnTo>
                          <a:pt x="43509" y="52415"/>
                        </a:lnTo>
                        <a:cubicBezTo>
                          <a:pt x="45328" y="61898"/>
                          <a:pt x="39068" y="71124"/>
                          <a:pt x="29550" y="72946"/>
                        </a:cubicBezTo>
                        <a:lnTo>
                          <a:pt x="27487" y="73343"/>
                        </a:lnTo>
                        <a:cubicBezTo>
                          <a:pt x="26377" y="73557"/>
                          <a:pt x="25268" y="73661"/>
                          <a:pt x="24172" y="73661"/>
                        </a:cubicBezTo>
                        <a:close/>
                        <a:moveTo>
                          <a:pt x="18094" y="13148"/>
                        </a:moveTo>
                        <a:lnTo>
                          <a:pt x="16020" y="13545"/>
                        </a:lnTo>
                        <a:cubicBezTo>
                          <a:pt x="15409" y="13663"/>
                          <a:pt x="14621" y="14531"/>
                          <a:pt x="14056" y="15703"/>
                        </a:cubicBezTo>
                        <a:cubicBezTo>
                          <a:pt x="13267" y="17336"/>
                          <a:pt x="12955" y="19407"/>
                          <a:pt x="13254" y="20974"/>
                        </a:cubicBezTo>
                        <a:lnTo>
                          <a:pt x="19833" y="56979"/>
                        </a:lnTo>
                        <a:cubicBezTo>
                          <a:pt x="20272" y="59282"/>
                          <a:pt x="22633" y="60893"/>
                          <a:pt x="25011" y="60441"/>
                        </a:cubicBezTo>
                        <a:lnTo>
                          <a:pt x="27073" y="60044"/>
                        </a:lnTo>
                        <a:cubicBezTo>
                          <a:pt x="29478" y="59581"/>
                          <a:pt x="31059" y="57255"/>
                          <a:pt x="30599" y="54853"/>
                        </a:cubicBezTo>
                        <a:lnTo>
                          <a:pt x="23970" y="19267"/>
                        </a:lnTo>
                        <a:cubicBezTo>
                          <a:pt x="23356" y="16071"/>
                          <a:pt x="19576" y="12833"/>
                          <a:pt x="18094" y="13148"/>
                        </a:cubicBezTo>
                        <a:lnTo>
                          <a:pt x="18094" y="13148"/>
                        </a:lnTo>
                        <a:close/>
                      </a:path>
                    </a:pathLst>
                  </a:custGeom>
                  <a:grpFill/>
                  <a:ln w="274" cap="flat">
                    <a:noFill/>
                    <a:prstDash val="solid"/>
                    <a:miter/>
                  </a:ln>
                </p:spPr>
                <p:txBody>
                  <a:bodyPr rtlCol="0" anchor="ctr"/>
                  <a:lstStyle/>
                  <a:p>
                    <a:endParaRPr lang="en-GB" dirty="0"/>
                  </a:p>
                </p:txBody>
              </p:sp>
              <p:sp>
                <p:nvSpPr>
                  <p:cNvPr id="966" name="Freihandform: Form 965">
                    <a:extLst>
                      <a:ext uri="{FF2B5EF4-FFF2-40B4-BE49-F238E27FC236}">
                        <a16:creationId xmlns:a16="http://schemas.microsoft.com/office/drawing/2014/main" id="{7A863C3E-C194-4EE8-9366-E760E5456C59}"/>
                      </a:ext>
                    </a:extLst>
                  </p:cNvPr>
                  <p:cNvSpPr/>
                  <p:nvPr/>
                </p:nvSpPr>
                <p:spPr>
                  <a:xfrm>
                    <a:off x="6383348" y="1876687"/>
                    <a:ext cx="50553" cy="72022"/>
                  </a:xfrm>
                  <a:custGeom>
                    <a:avLst/>
                    <a:gdLst>
                      <a:gd name="connsiteX0" fmla="*/ 31029 w 50553"/>
                      <a:gd name="connsiteY0" fmla="*/ 72022 h 72022"/>
                      <a:gd name="connsiteX1" fmla="*/ 23820 w 50553"/>
                      <a:gd name="connsiteY1" fmla="*/ 70466 h 72022"/>
                      <a:gd name="connsiteX2" fmla="*/ 14586 w 50553"/>
                      <a:gd name="connsiteY2" fmla="*/ 60698 h 72022"/>
                      <a:gd name="connsiteX3" fmla="*/ 1199 w 50553"/>
                      <a:gd name="connsiteY3" fmla="*/ 25329 h 72022"/>
                      <a:gd name="connsiteX4" fmla="*/ 1215 w 50553"/>
                      <a:gd name="connsiteY4" fmla="*/ 11819 h 72022"/>
                      <a:gd name="connsiteX5" fmla="*/ 10931 w 50553"/>
                      <a:gd name="connsiteY5" fmla="*/ 1681 h 72022"/>
                      <a:gd name="connsiteX6" fmla="*/ 12898 w 50553"/>
                      <a:gd name="connsiteY6" fmla="*/ 930 h 72022"/>
                      <a:gd name="connsiteX7" fmla="*/ 36420 w 50553"/>
                      <a:gd name="connsiteY7" fmla="*/ 13525 h 72022"/>
                      <a:gd name="connsiteX8" fmla="*/ 49399 w 50553"/>
                      <a:gd name="connsiteY8" fmla="*/ 47434 h 72022"/>
                      <a:gd name="connsiteX9" fmla="*/ 48999 w 50553"/>
                      <a:gd name="connsiteY9" fmla="*/ 60887 h 72022"/>
                      <a:gd name="connsiteX10" fmla="*/ 39228 w 50553"/>
                      <a:gd name="connsiteY10" fmla="*/ 70121 h 72022"/>
                      <a:gd name="connsiteX11" fmla="*/ 37261 w 50553"/>
                      <a:gd name="connsiteY11" fmla="*/ 70872 h 72022"/>
                      <a:gd name="connsiteX12" fmla="*/ 31029 w 50553"/>
                      <a:gd name="connsiteY12" fmla="*/ 72022 h 72022"/>
                      <a:gd name="connsiteX13" fmla="*/ 17577 w 50553"/>
                      <a:gd name="connsiteY13" fmla="*/ 13213 h 72022"/>
                      <a:gd name="connsiteX14" fmla="*/ 15607 w 50553"/>
                      <a:gd name="connsiteY14" fmla="*/ 13963 h 72022"/>
                      <a:gd name="connsiteX15" fmla="*/ 13542 w 50553"/>
                      <a:gd name="connsiteY15" fmla="*/ 16379 h 72022"/>
                      <a:gd name="connsiteX16" fmla="*/ 13484 w 50553"/>
                      <a:gd name="connsiteY16" fmla="*/ 20669 h 72022"/>
                      <a:gd name="connsiteX17" fmla="*/ 26871 w 50553"/>
                      <a:gd name="connsiteY17" fmla="*/ 56036 h 72022"/>
                      <a:gd name="connsiteX18" fmla="*/ 29202 w 50553"/>
                      <a:gd name="connsiteY18" fmla="*/ 58479 h 72022"/>
                      <a:gd name="connsiteX19" fmla="*/ 32588 w 50553"/>
                      <a:gd name="connsiteY19" fmla="*/ 58591 h 72022"/>
                      <a:gd name="connsiteX20" fmla="*/ 34555 w 50553"/>
                      <a:gd name="connsiteY20" fmla="*/ 57841 h 72022"/>
                      <a:gd name="connsiteX21" fmla="*/ 37012 w 50553"/>
                      <a:gd name="connsiteY21" fmla="*/ 55504 h 72022"/>
                      <a:gd name="connsiteX22" fmla="*/ 37124 w 50553"/>
                      <a:gd name="connsiteY22" fmla="*/ 52119 h 72022"/>
                      <a:gd name="connsiteX23" fmla="*/ 24146 w 50553"/>
                      <a:gd name="connsiteY23" fmla="*/ 18212 h 72022"/>
                      <a:gd name="connsiteX24" fmla="*/ 17574 w 50553"/>
                      <a:gd name="connsiteY24" fmla="*/ 13210 h 72022"/>
                      <a:gd name="connsiteX25" fmla="*/ 17577 w 50553"/>
                      <a:gd name="connsiteY25" fmla="*/ 13210 h 72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0553" h="72022">
                        <a:moveTo>
                          <a:pt x="31029" y="72022"/>
                        </a:moveTo>
                        <a:cubicBezTo>
                          <a:pt x="28578" y="72022"/>
                          <a:pt x="26132" y="71502"/>
                          <a:pt x="23820" y="70466"/>
                        </a:cubicBezTo>
                        <a:cubicBezTo>
                          <a:pt x="19530" y="68540"/>
                          <a:pt x="16251" y="65070"/>
                          <a:pt x="14586" y="60698"/>
                        </a:cubicBezTo>
                        <a:lnTo>
                          <a:pt x="1199" y="25329"/>
                        </a:lnTo>
                        <a:cubicBezTo>
                          <a:pt x="-406" y="21113"/>
                          <a:pt x="-398" y="16185"/>
                          <a:pt x="1215" y="11819"/>
                        </a:cubicBezTo>
                        <a:cubicBezTo>
                          <a:pt x="2979" y="7052"/>
                          <a:pt x="6521" y="3357"/>
                          <a:pt x="10931" y="1681"/>
                        </a:cubicBezTo>
                        <a:lnTo>
                          <a:pt x="12898" y="930"/>
                        </a:lnTo>
                        <a:cubicBezTo>
                          <a:pt x="22255" y="-2647"/>
                          <a:pt x="33037" y="4639"/>
                          <a:pt x="36420" y="13525"/>
                        </a:cubicBezTo>
                        <a:lnTo>
                          <a:pt x="49399" y="47434"/>
                        </a:lnTo>
                        <a:cubicBezTo>
                          <a:pt x="51067" y="51823"/>
                          <a:pt x="50922" y="56595"/>
                          <a:pt x="48999" y="60887"/>
                        </a:cubicBezTo>
                        <a:cubicBezTo>
                          <a:pt x="47073" y="65177"/>
                          <a:pt x="43603" y="68456"/>
                          <a:pt x="39228" y="70121"/>
                        </a:cubicBezTo>
                        <a:lnTo>
                          <a:pt x="37261" y="70872"/>
                        </a:lnTo>
                        <a:cubicBezTo>
                          <a:pt x="35242" y="71641"/>
                          <a:pt x="33133" y="72022"/>
                          <a:pt x="31029" y="72022"/>
                        </a:cubicBezTo>
                        <a:close/>
                        <a:moveTo>
                          <a:pt x="17577" y="13213"/>
                        </a:moveTo>
                        <a:lnTo>
                          <a:pt x="15607" y="13963"/>
                        </a:lnTo>
                        <a:cubicBezTo>
                          <a:pt x="14375" y="14432"/>
                          <a:pt x="13753" y="15807"/>
                          <a:pt x="13542" y="16379"/>
                        </a:cubicBezTo>
                        <a:cubicBezTo>
                          <a:pt x="13019" y="17787"/>
                          <a:pt x="12999" y="19393"/>
                          <a:pt x="13484" y="20669"/>
                        </a:cubicBezTo>
                        <a:lnTo>
                          <a:pt x="26871" y="56036"/>
                        </a:lnTo>
                        <a:cubicBezTo>
                          <a:pt x="27285" y="57121"/>
                          <a:pt x="28112" y="57992"/>
                          <a:pt x="29202" y="58479"/>
                        </a:cubicBezTo>
                        <a:cubicBezTo>
                          <a:pt x="30290" y="58970"/>
                          <a:pt x="31489" y="59005"/>
                          <a:pt x="32588" y="58591"/>
                        </a:cubicBezTo>
                        <a:lnTo>
                          <a:pt x="34555" y="57841"/>
                        </a:lnTo>
                        <a:cubicBezTo>
                          <a:pt x="35653" y="57425"/>
                          <a:pt x="36524" y="56597"/>
                          <a:pt x="37012" y="55504"/>
                        </a:cubicBezTo>
                        <a:cubicBezTo>
                          <a:pt x="37502" y="54417"/>
                          <a:pt x="37541" y="53217"/>
                          <a:pt x="37124" y="52119"/>
                        </a:cubicBezTo>
                        <a:lnTo>
                          <a:pt x="24146" y="18212"/>
                        </a:lnTo>
                        <a:cubicBezTo>
                          <a:pt x="22970" y="15125"/>
                          <a:pt x="19015" y="12676"/>
                          <a:pt x="17574" y="13210"/>
                        </a:cubicBezTo>
                        <a:lnTo>
                          <a:pt x="17577" y="13210"/>
                        </a:lnTo>
                        <a:close/>
                      </a:path>
                    </a:pathLst>
                  </a:custGeom>
                  <a:grpFill/>
                  <a:ln w="274" cap="flat">
                    <a:noFill/>
                    <a:prstDash val="solid"/>
                    <a:miter/>
                  </a:ln>
                </p:spPr>
                <p:txBody>
                  <a:bodyPr rtlCol="0" anchor="ctr"/>
                  <a:lstStyle/>
                  <a:p>
                    <a:endParaRPr lang="en-GB" dirty="0"/>
                  </a:p>
                </p:txBody>
              </p:sp>
              <p:sp>
                <p:nvSpPr>
                  <p:cNvPr id="967" name="Freihandform: Form 966">
                    <a:extLst>
                      <a:ext uri="{FF2B5EF4-FFF2-40B4-BE49-F238E27FC236}">
                        <a16:creationId xmlns:a16="http://schemas.microsoft.com/office/drawing/2014/main" id="{3E2B7BE6-1B93-413E-872D-62713820A600}"/>
                      </a:ext>
                    </a:extLst>
                  </p:cNvPr>
                  <p:cNvSpPr/>
                  <p:nvPr/>
                </p:nvSpPr>
                <p:spPr>
                  <a:xfrm>
                    <a:off x="6408749" y="1812704"/>
                    <a:ext cx="115276" cy="89724"/>
                  </a:xfrm>
                  <a:custGeom>
                    <a:avLst/>
                    <a:gdLst>
                      <a:gd name="connsiteX0" fmla="*/ 93506 w 115276"/>
                      <a:gd name="connsiteY0" fmla="*/ 89725 h 89724"/>
                      <a:gd name="connsiteX1" fmla="*/ 87299 w 115276"/>
                      <a:gd name="connsiteY1" fmla="*/ 88183 h 89724"/>
                      <a:gd name="connsiteX2" fmla="*/ 78218 w 115276"/>
                      <a:gd name="connsiteY2" fmla="*/ 80411 h 89724"/>
                      <a:gd name="connsiteX3" fmla="*/ 81637 w 115276"/>
                      <a:gd name="connsiteY3" fmla="*/ 48031 h 89724"/>
                      <a:gd name="connsiteX4" fmla="*/ 90917 w 115276"/>
                      <a:gd name="connsiteY4" fmla="*/ 47559 h 89724"/>
                      <a:gd name="connsiteX5" fmla="*/ 91408 w 115276"/>
                      <a:gd name="connsiteY5" fmla="*/ 56815 h 89724"/>
                      <a:gd name="connsiteX6" fmla="*/ 88449 w 115276"/>
                      <a:gd name="connsiteY6" fmla="*/ 72180 h 89724"/>
                      <a:gd name="connsiteX7" fmla="*/ 93476 w 115276"/>
                      <a:gd name="connsiteY7" fmla="*/ 76590 h 89724"/>
                      <a:gd name="connsiteX8" fmla="*/ 99080 w 115276"/>
                      <a:gd name="connsiteY8" fmla="*/ 72265 h 89724"/>
                      <a:gd name="connsiteX9" fmla="*/ 100332 w 115276"/>
                      <a:gd name="connsiteY9" fmla="*/ 56169 h 89724"/>
                      <a:gd name="connsiteX10" fmla="*/ 99746 w 115276"/>
                      <a:gd name="connsiteY10" fmla="*/ 55112 h 89724"/>
                      <a:gd name="connsiteX11" fmla="*/ 91495 w 115276"/>
                      <a:gd name="connsiteY11" fmla="*/ 44957 h 89724"/>
                      <a:gd name="connsiteX12" fmla="*/ 78865 w 115276"/>
                      <a:gd name="connsiteY12" fmla="*/ 30620 h 89724"/>
                      <a:gd name="connsiteX13" fmla="*/ 10750 w 115276"/>
                      <a:gd name="connsiteY13" fmla="*/ 25489 h 89724"/>
                      <a:gd name="connsiteX14" fmla="*/ 1508 w 115276"/>
                      <a:gd name="connsiteY14" fmla="*/ 24604 h 89724"/>
                      <a:gd name="connsiteX15" fmla="*/ 2368 w 115276"/>
                      <a:gd name="connsiteY15" fmla="*/ 15370 h 89724"/>
                      <a:gd name="connsiteX16" fmla="*/ 88764 w 115276"/>
                      <a:gd name="connsiteY16" fmla="*/ 21983 h 89724"/>
                      <a:gd name="connsiteX17" fmla="*/ 101291 w 115276"/>
                      <a:gd name="connsiteY17" fmla="*/ 36197 h 89724"/>
                      <a:gd name="connsiteX18" fmla="*/ 111262 w 115276"/>
                      <a:gd name="connsiteY18" fmla="*/ 48787 h 89724"/>
                      <a:gd name="connsiteX19" fmla="*/ 111766 w 115276"/>
                      <a:gd name="connsiteY19" fmla="*/ 49693 h 89724"/>
                      <a:gd name="connsiteX20" fmla="*/ 106989 w 115276"/>
                      <a:gd name="connsiteY20" fmla="*/ 83241 h 89724"/>
                      <a:gd name="connsiteX21" fmla="*/ 93506 w 115276"/>
                      <a:gd name="connsiteY21" fmla="*/ 89725 h 89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5276" h="89724">
                        <a:moveTo>
                          <a:pt x="93506" y="89725"/>
                        </a:moveTo>
                        <a:cubicBezTo>
                          <a:pt x="91345" y="89725"/>
                          <a:pt x="89244" y="89221"/>
                          <a:pt x="87299" y="88183"/>
                        </a:cubicBezTo>
                        <a:cubicBezTo>
                          <a:pt x="83039" y="85915"/>
                          <a:pt x="78988" y="81310"/>
                          <a:pt x="78218" y="80411"/>
                        </a:cubicBezTo>
                        <a:cubicBezTo>
                          <a:pt x="68844" y="68046"/>
                          <a:pt x="76380" y="53852"/>
                          <a:pt x="81637" y="48031"/>
                        </a:cubicBezTo>
                        <a:cubicBezTo>
                          <a:pt x="84072" y="45343"/>
                          <a:pt x="88222" y="45124"/>
                          <a:pt x="90917" y="47559"/>
                        </a:cubicBezTo>
                        <a:cubicBezTo>
                          <a:pt x="93602" y="49984"/>
                          <a:pt x="93821" y="54123"/>
                          <a:pt x="91408" y="56815"/>
                        </a:cubicBezTo>
                        <a:cubicBezTo>
                          <a:pt x="91076" y="57191"/>
                          <a:pt x="83609" y="65787"/>
                          <a:pt x="88449" y="72180"/>
                        </a:cubicBezTo>
                        <a:cubicBezTo>
                          <a:pt x="89457" y="73330"/>
                          <a:pt x="91923" y="75763"/>
                          <a:pt x="93476" y="76590"/>
                        </a:cubicBezTo>
                        <a:cubicBezTo>
                          <a:pt x="94051" y="76631"/>
                          <a:pt x="96681" y="75623"/>
                          <a:pt x="99080" y="72265"/>
                        </a:cubicBezTo>
                        <a:cubicBezTo>
                          <a:pt x="100436" y="70367"/>
                          <a:pt x="104532" y="63592"/>
                          <a:pt x="100332" y="56169"/>
                        </a:cubicBezTo>
                        <a:lnTo>
                          <a:pt x="99746" y="55112"/>
                        </a:lnTo>
                        <a:cubicBezTo>
                          <a:pt x="98787" y="53364"/>
                          <a:pt x="98428" y="52709"/>
                          <a:pt x="91495" y="44957"/>
                        </a:cubicBezTo>
                        <a:cubicBezTo>
                          <a:pt x="88422" y="41522"/>
                          <a:pt x="84357" y="36917"/>
                          <a:pt x="78865" y="30620"/>
                        </a:cubicBezTo>
                        <a:cubicBezTo>
                          <a:pt x="48174" y="-4566"/>
                          <a:pt x="12265" y="24246"/>
                          <a:pt x="10750" y="25489"/>
                        </a:cubicBezTo>
                        <a:cubicBezTo>
                          <a:pt x="7959" y="27793"/>
                          <a:pt x="3817" y="27390"/>
                          <a:pt x="1508" y="24604"/>
                        </a:cubicBezTo>
                        <a:cubicBezTo>
                          <a:pt x="-799" y="21810"/>
                          <a:pt x="-418" y="17685"/>
                          <a:pt x="2368" y="15370"/>
                        </a:cubicBezTo>
                        <a:cubicBezTo>
                          <a:pt x="18543" y="1943"/>
                          <a:pt x="57408" y="-13970"/>
                          <a:pt x="88764" y="21983"/>
                        </a:cubicBezTo>
                        <a:cubicBezTo>
                          <a:pt x="94213" y="28223"/>
                          <a:pt x="98245" y="32787"/>
                          <a:pt x="101291" y="36197"/>
                        </a:cubicBezTo>
                        <a:cubicBezTo>
                          <a:pt x="108884" y="44689"/>
                          <a:pt x="109681" y="45902"/>
                          <a:pt x="111262" y="48787"/>
                        </a:cubicBezTo>
                        <a:lnTo>
                          <a:pt x="111766" y="49693"/>
                        </a:lnTo>
                        <a:cubicBezTo>
                          <a:pt x="118814" y="62146"/>
                          <a:pt x="114229" y="75812"/>
                          <a:pt x="106989" y="83241"/>
                        </a:cubicBezTo>
                        <a:cubicBezTo>
                          <a:pt x="102847" y="87490"/>
                          <a:pt x="98048" y="89725"/>
                          <a:pt x="93506" y="89725"/>
                        </a:cubicBezTo>
                        <a:close/>
                      </a:path>
                    </a:pathLst>
                  </a:custGeom>
                  <a:grpFill/>
                  <a:ln w="274" cap="flat">
                    <a:noFill/>
                    <a:prstDash val="solid"/>
                    <a:miter/>
                  </a:ln>
                </p:spPr>
                <p:txBody>
                  <a:bodyPr rtlCol="0" anchor="ctr"/>
                  <a:lstStyle/>
                  <a:p>
                    <a:endParaRPr lang="en-GB" dirty="0"/>
                  </a:p>
                </p:txBody>
              </p:sp>
            </p:grpSp>
            <p:grpSp>
              <p:nvGrpSpPr>
                <p:cNvPr id="953" name="Grafik 349">
                  <a:extLst>
                    <a:ext uri="{FF2B5EF4-FFF2-40B4-BE49-F238E27FC236}">
                      <a16:creationId xmlns:a16="http://schemas.microsoft.com/office/drawing/2014/main" id="{50AB45C6-C4AC-48FB-83C5-140F34303CA6}"/>
                    </a:ext>
                  </a:extLst>
                </p:cNvPr>
                <p:cNvGrpSpPr/>
                <p:nvPr/>
              </p:nvGrpSpPr>
              <p:grpSpPr>
                <a:xfrm>
                  <a:off x="6162981" y="1812703"/>
                  <a:ext cx="170242" cy="136879"/>
                  <a:chOff x="6162981" y="1812703"/>
                  <a:chExt cx="170242" cy="136879"/>
                </a:xfrm>
                <a:grpFill/>
              </p:grpSpPr>
              <p:sp>
                <p:nvSpPr>
                  <p:cNvPr id="954" name="Freihandform: Form 953">
                    <a:extLst>
                      <a:ext uri="{FF2B5EF4-FFF2-40B4-BE49-F238E27FC236}">
                        <a16:creationId xmlns:a16="http://schemas.microsoft.com/office/drawing/2014/main" id="{558CB509-BC34-4735-8331-A852826466FB}"/>
                      </a:ext>
                    </a:extLst>
                  </p:cNvPr>
                  <p:cNvSpPr/>
                  <p:nvPr/>
                </p:nvSpPr>
                <p:spPr>
                  <a:xfrm>
                    <a:off x="6316900" y="1858011"/>
                    <a:ext cx="16323" cy="43305"/>
                  </a:xfrm>
                  <a:custGeom>
                    <a:avLst/>
                    <a:gdLst>
                      <a:gd name="connsiteX0" fmla="*/ 6577 w 16323"/>
                      <a:gd name="connsiteY0" fmla="*/ 43306 h 43305"/>
                      <a:gd name="connsiteX1" fmla="*/ 4980 w 16323"/>
                      <a:gd name="connsiteY1" fmla="*/ 43111 h 43305"/>
                      <a:gd name="connsiteX2" fmla="*/ 197 w 16323"/>
                      <a:gd name="connsiteY2" fmla="*/ 35145 h 43305"/>
                      <a:gd name="connsiteX3" fmla="*/ 2863 w 16323"/>
                      <a:gd name="connsiteY3" fmla="*/ 7284 h 43305"/>
                      <a:gd name="connsiteX4" fmla="*/ 8675 w 16323"/>
                      <a:gd name="connsiteY4" fmla="*/ 33 h 43305"/>
                      <a:gd name="connsiteX5" fmla="*/ 15926 w 16323"/>
                      <a:gd name="connsiteY5" fmla="*/ 5846 h 43305"/>
                      <a:gd name="connsiteX6" fmla="*/ 12946 w 16323"/>
                      <a:gd name="connsiteY6" fmla="*/ 38328 h 43305"/>
                      <a:gd name="connsiteX7" fmla="*/ 6577 w 16323"/>
                      <a:gd name="connsiteY7" fmla="*/ 43306 h 43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23" h="43305">
                        <a:moveTo>
                          <a:pt x="6577" y="43306"/>
                        </a:moveTo>
                        <a:cubicBezTo>
                          <a:pt x="6048" y="43306"/>
                          <a:pt x="5514" y="43245"/>
                          <a:pt x="4980" y="43111"/>
                        </a:cubicBezTo>
                        <a:cubicBezTo>
                          <a:pt x="1460" y="42232"/>
                          <a:pt x="-682" y="38668"/>
                          <a:pt x="197" y="35145"/>
                        </a:cubicBezTo>
                        <a:cubicBezTo>
                          <a:pt x="2838" y="24558"/>
                          <a:pt x="3736" y="15184"/>
                          <a:pt x="2863" y="7284"/>
                        </a:cubicBezTo>
                        <a:cubicBezTo>
                          <a:pt x="2465" y="3679"/>
                          <a:pt x="5068" y="431"/>
                          <a:pt x="8675" y="33"/>
                        </a:cubicBezTo>
                        <a:cubicBezTo>
                          <a:pt x="12261" y="-325"/>
                          <a:pt x="15523" y="2239"/>
                          <a:pt x="15926" y="5846"/>
                        </a:cubicBezTo>
                        <a:cubicBezTo>
                          <a:pt x="16964" y="15297"/>
                          <a:pt x="15965" y="26226"/>
                          <a:pt x="12946" y="38328"/>
                        </a:cubicBezTo>
                        <a:cubicBezTo>
                          <a:pt x="12201" y="41311"/>
                          <a:pt x="9522" y="43306"/>
                          <a:pt x="6577" y="43306"/>
                        </a:cubicBezTo>
                        <a:close/>
                      </a:path>
                    </a:pathLst>
                  </a:custGeom>
                  <a:grpFill/>
                  <a:ln w="274" cap="flat">
                    <a:noFill/>
                    <a:prstDash val="solid"/>
                    <a:miter/>
                  </a:ln>
                </p:spPr>
                <p:txBody>
                  <a:bodyPr rtlCol="0" anchor="ctr"/>
                  <a:lstStyle/>
                  <a:p>
                    <a:endParaRPr lang="en-GB" dirty="0"/>
                  </a:p>
                </p:txBody>
              </p:sp>
              <p:sp>
                <p:nvSpPr>
                  <p:cNvPr id="955" name="Freihandform: Form 954">
                    <a:extLst>
                      <a:ext uri="{FF2B5EF4-FFF2-40B4-BE49-F238E27FC236}">
                        <a16:creationId xmlns:a16="http://schemas.microsoft.com/office/drawing/2014/main" id="{88CF111A-7001-41FB-A7CA-C91BE3EF0030}"/>
                      </a:ext>
                    </a:extLst>
                  </p:cNvPr>
                  <p:cNvSpPr/>
                  <p:nvPr/>
                </p:nvSpPr>
                <p:spPr>
                  <a:xfrm>
                    <a:off x="6192427" y="1865448"/>
                    <a:ext cx="21704" cy="20555"/>
                  </a:xfrm>
                  <a:custGeom>
                    <a:avLst/>
                    <a:gdLst>
                      <a:gd name="connsiteX0" fmla="*/ 6576 w 21704"/>
                      <a:gd name="connsiteY0" fmla="*/ 20556 h 20555"/>
                      <a:gd name="connsiteX1" fmla="*/ 1286 w 21704"/>
                      <a:gd name="connsiteY1" fmla="*/ 17891 h 20555"/>
                      <a:gd name="connsiteX2" fmla="*/ 2667 w 21704"/>
                      <a:gd name="connsiteY2" fmla="*/ 8703 h 20555"/>
                      <a:gd name="connsiteX3" fmla="*/ 10244 w 21704"/>
                      <a:gd name="connsiteY3" fmla="*/ 2173 h 20555"/>
                      <a:gd name="connsiteX4" fmla="*/ 19511 w 21704"/>
                      <a:gd name="connsiteY4" fmla="*/ 1669 h 20555"/>
                      <a:gd name="connsiteX5" fmla="*/ 20050 w 21704"/>
                      <a:gd name="connsiteY5" fmla="*/ 10916 h 20555"/>
                      <a:gd name="connsiteX6" fmla="*/ 10474 w 21704"/>
                      <a:gd name="connsiteY6" fmla="*/ 19271 h 20555"/>
                      <a:gd name="connsiteX7" fmla="*/ 6576 w 21704"/>
                      <a:gd name="connsiteY7" fmla="*/ 20556 h 20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04" h="20555">
                        <a:moveTo>
                          <a:pt x="6576" y="20556"/>
                        </a:moveTo>
                        <a:cubicBezTo>
                          <a:pt x="4563" y="20556"/>
                          <a:pt x="2571" y="19636"/>
                          <a:pt x="1286" y="17891"/>
                        </a:cubicBezTo>
                        <a:cubicBezTo>
                          <a:pt x="-869" y="14971"/>
                          <a:pt x="-253" y="10859"/>
                          <a:pt x="2667" y="8703"/>
                        </a:cubicBezTo>
                        <a:cubicBezTo>
                          <a:pt x="7666" y="5011"/>
                          <a:pt x="10219" y="2200"/>
                          <a:pt x="10244" y="2173"/>
                        </a:cubicBezTo>
                        <a:cubicBezTo>
                          <a:pt x="12668" y="-509"/>
                          <a:pt x="16813" y="-745"/>
                          <a:pt x="19511" y="1669"/>
                        </a:cubicBezTo>
                        <a:cubicBezTo>
                          <a:pt x="22209" y="4082"/>
                          <a:pt x="22453" y="8210"/>
                          <a:pt x="20050" y="10916"/>
                        </a:cubicBezTo>
                        <a:cubicBezTo>
                          <a:pt x="19713" y="11297"/>
                          <a:pt x="16569" y="14771"/>
                          <a:pt x="10474" y="19271"/>
                        </a:cubicBezTo>
                        <a:cubicBezTo>
                          <a:pt x="9301" y="20140"/>
                          <a:pt x="7932" y="20556"/>
                          <a:pt x="6576" y="20556"/>
                        </a:cubicBezTo>
                        <a:close/>
                      </a:path>
                    </a:pathLst>
                  </a:custGeom>
                  <a:grpFill/>
                  <a:ln w="274" cap="flat">
                    <a:noFill/>
                    <a:prstDash val="solid"/>
                    <a:miter/>
                  </a:ln>
                </p:spPr>
                <p:txBody>
                  <a:bodyPr rtlCol="0" anchor="ctr"/>
                  <a:lstStyle/>
                  <a:p>
                    <a:endParaRPr lang="en-GB" dirty="0"/>
                  </a:p>
                </p:txBody>
              </p:sp>
              <p:sp>
                <p:nvSpPr>
                  <p:cNvPr id="956" name="Freihandform: Form 955">
                    <a:extLst>
                      <a:ext uri="{FF2B5EF4-FFF2-40B4-BE49-F238E27FC236}">
                        <a16:creationId xmlns:a16="http://schemas.microsoft.com/office/drawing/2014/main" id="{DD6F1759-5E98-448F-9D79-25FFAE9305B4}"/>
                      </a:ext>
                    </a:extLst>
                  </p:cNvPr>
                  <p:cNvSpPr/>
                  <p:nvPr/>
                </p:nvSpPr>
                <p:spPr>
                  <a:xfrm>
                    <a:off x="6278889" y="1886290"/>
                    <a:ext cx="54186" cy="63292"/>
                  </a:xfrm>
                  <a:custGeom>
                    <a:avLst/>
                    <a:gdLst>
                      <a:gd name="connsiteX0" fmla="*/ 18229 w 54186"/>
                      <a:gd name="connsiteY0" fmla="*/ 63292 h 63292"/>
                      <a:gd name="connsiteX1" fmla="*/ 8819 w 54186"/>
                      <a:gd name="connsiteY1" fmla="*/ 60370 h 63292"/>
                      <a:gd name="connsiteX2" fmla="*/ 7219 w 54186"/>
                      <a:gd name="connsiteY2" fmla="*/ 59268 h 63292"/>
                      <a:gd name="connsiteX3" fmla="*/ 2924 w 54186"/>
                      <a:gd name="connsiteY3" fmla="*/ 36097 h 63292"/>
                      <a:gd name="connsiteX4" fmla="*/ 21672 w 54186"/>
                      <a:gd name="connsiteY4" fmla="*/ 8929 h 63292"/>
                      <a:gd name="connsiteX5" fmla="*/ 46314 w 54186"/>
                      <a:gd name="connsiteY5" fmla="*/ 2385 h 63292"/>
                      <a:gd name="connsiteX6" fmla="*/ 47914 w 54186"/>
                      <a:gd name="connsiteY6" fmla="*/ 3486 h 63292"/>
                      <a:gd name="connsiteX7" fmla="*/ 50557 w 54186"/>
                      <a:gd name="connsiteY7" fmla="*/ 29002 h 63292"/>
                      <a:gd name="connsiteX8" fmla="*/ 31999 w 54186"/>
                      <a:gd name="connsiteY8" fmla="*/ 56066 h 63292"/>
                      <a:gd name="connsiteX9" fmla="*/ 18229 w 54186"/>
                      <a:gd name="connsiteY9" fmla="*/ 63292 h 63292"/>
                      <a:gd name="connsiteX10" fmla="*/ 38346 w 54186"/>
                      <a:gd name="connsiteY10" fmla="*/ 13125 h 63292"/>
                      <a:gd name="connsiteX11" fmla="*/ 32497 w 54186"/>
                      <a:gd name="connsiteY11" fmla="*/ 16374 h 63292"/>
                      <a:gd name="connsiteX12" fmla="*/ 13750 w 54186"/>
                      <a:gd name="connsiteY12" fmla="*/ 43542 h 63292"/>
                      <a:gd name="connsiteX13" fmla="*/ 14667 w 54186"/>
                      <a:gd name="connsiteY13" fmla="*/ 48437 h 63292"/>
                      <a:gd name="connsiteX14" fmla="*/ 16265 w 54186"/>
                      <a:gd name="connsiteY14" fmla="*/ 49539 h 63292"/>
                      <a:gd name="connsiteX15" fmla="*/ 21165 w 54186"/>
                      <a:gd name="connsiteY15" fmla="*/ 48624 h 63292"/>
                      <a:gd name="connsiteX16" fmla="*/ 39724 w 54186"/>
                      <a:gd name="connsiteY16" fmla="*/ 21560 h 63292"/>
                      <a:gd name="connsiteX17" fmla="*/ 40436 w 54186"/>
                      <a:gd name="connsiteY17" fmla="*/ 14281 h 63292"/>
                      <a:gd name="connsiteX18" fmla="*/ 38883 w 54186"/>
                      <a:gd name="connsiteY18" fmla="*/ 13216 h 63292"/>
                      <a:gd name="connsiteX19" fmla="*/ 38346 w 54186"/>
                      <a:gd name="connsiteY19" fmla="*/ 13125 h 63292"/>
                      <a:gd name="connsiteX20" fmla="*/ 38891 w 54186"/>
                      <a:gd name="connsiteY20" fmla="*/ 13224 h 63292"/>
                      <a:gd name="connsiteX21" fmla="*/ 38954 w 54186"/>
                      <a:gd name="connsiteY21" fmla="*/ 13224 h 63292"/>
                      <a:gd name="connsiteX22" fmla="*/ 38891 w 54186"/>
                      <a:gd name="connsiteY22" fmla="*/ 13224 h 6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4186" h="63292">
                        <a:moveTo>
                          <a:pt x="18229" y="63292"/>
                        </a:moveTo>
                        <a:cubicBezTo>
                          <a:pt x="14974" y="63292"/>
                          <a:pt x="11693" y="62345"/>
                          <a:pt x="8819" y="60370"/>
                        </a:cubicBezTo>
                        <a:lnTo>
                          <a:pt x="7219" y="59268"/>
                        </a:lnTo>
                        <a:cubicBezTo>
                          <a:pt x="-349" y="54064"/>
                          <a:pt x="-2280" y="43668"/>
                          <a:pt x="2924" y="36097"/>
                        </a:cubicBezTo>
                        <a:lnTo>
                          <a:pt x="21672" y="8929"/>
                        </a:lnTo>
                        <a:cubicBezTo>
                          <a:pt x="26838" y="1404"/>
                          <a:pt x="38472" y="-3001"/>
                          <a:pt x="46314" y="2385"/>
                        </a:cubicBezTo>
                        <a:lnTo>
                          <a:pt x="47914" y="3486"/>
                        </a:lnTo>
                        <a:cubicBezTo>
                          <a:pt x="55756" y="8880"/>
                          <a:pt x="55781" y="21406"/>
                          <a:pt x="50557" y="29002"/>
                        </a:cubicBezTo>
                        <a:lnTo>
                          <a:pt x="31999" y="56066"/>
                        </a:lnTo>
                        <a:cubicBezTo>
                          <a:pt x="28769" y="60764"/>
                          <a:pt x="23540" y="63292"/>
                          <a:pt x="18229" y="63292"/>
                        </a:cubicBezTo>
                        <a:close/>
                        <a:moveTo>
                          <a:pt x="38346" y="13125"/>
                        </a:moveTo>
                        <a:cubicBezTo>
                          <a:pt x="36919" y="13125"/>
                          <a:pt x="33864" y="14388"/>
                          <a:pt x="32497" y="16374"/>
                        </a:cubicBezTo>
                        <a:lnTo>
                          <a:pt x="13750" y="43542"/>
                        </a:lnTo>
                        <a:cubicBezTo>
                          <a:pt x="12676" y="45109"/>
                          <a:pt x="13092" y="47353"/>
                          <a:pt x="14667" y="48437"/>
                        </a:cubicBezTo>
                        <a:lnTo>
                          <a:pt x="16265" y="49539"/>
                        </a:lnTo>
                        <a:cubicBezTo>
                          <a:pt x="17840" y="50626"/>
                          <a:pt x="20086" y="50193"/>
                          <a:pt x="21165" y="48624"/>
                        </a:cubicBezTo>
                        <a:lnTo>
                          <a:pt x="39724" y="21560"/>
                        </a:lnTo>
                        <a:cubicBezTo>
                          <a:pt x="41342" y="19201"/>
                          <a:pt x="41236" y="15081"/>
                          <a:pt x="40436" y="14281"/>
                        </a:cubicBezTo>
                        <a:lnTo>
                          <a:pt x="38883" y="13216"/>
                        </a:lnTo>
                        <a:cubicBezTo>
                          <a:pt x="38751" y="13156"/>
                          <a:pt x="38570" y="13125"/>
                          <a:pt x="38346" y="13125"/>
                        </a:cubicBezTo>
                        <a:close/>
                        <a:moveTo>
                          <a:pt x="38891" y="13224"/>
                        </a:moveTo>
                        <a:lnTo>
                          <a:pt x="38954" y="13224"/>
                        </a:lnTo>
                        <a:lnTo>
                          <a:pt x="38891" y="13224"/>
                        </a:lnTo>
                        <a:close/>
                      </a:path>
                    </a:pathLst>
                  </a:custGeom>
                  <a:grpFill/>
                  <a:ln w="274" cap="flat">
                    <a:noFill/>
                    <a:prstDash val="solid"/>
                    <a:miter/>
                  </a:ln>
                </p:spPr>
                <p:txBody>
                  <a:bodyPr rtlCol="0" anchor="ctr"/>
                  <a:lstStyle/>
                  <a:p>
                    <a:endParaRPr lang="en-GB" dirty="0"/>
                  </a:p>
                </p:txBody>
              </p:sp>
              <p:sp>
                <p:nvSpPr>
                  <p:cNvPr id="957" name="Freihandform: Form 956">
                    <a:extLst>
                      <a:ext uri="{FF2B5EF4-FFF2-40B4-BE49-F238E27FC236}">
                        <a16:creationId xmlns:a16="http://schemas.microsoft.com/office/drawing/2014/main" id="{DC85218D-134F-4915-9AC2-EC405B614454}"/>
                      </a:ext>
                    </a:extLst>
                  </p:cNvPr>
                  <p:cNvSpPr/>
                  <p:nvPr/>
                </p:nvSpPr>
                <p:spPr>
                  <a:xfrm>
                    <a:off x="6200439" y="1856186"/>
                    <a:ext cx="41135" cy="80132"/>
                  </a:xfrm>
                  <a:custGeom>
                    <a:avLst/>
                    <a:gdLst>
                      <a:gd name="connsiteX0" fmla="*/ 20135 w 41135"/>
                      <a:gd name="connsiteY0" fmla="*/ 80133 h 80132"/>
                      <a:gd name="connsiteX1" fmla="*/ 1497 w 41135"/>
                      <a:gd name="connsiteY1" fmla="*/ 62149 h 80132"/>
                      <a:gd name="connsiteX2" fmla="*/ 12 w 41135"/>
                      <a:gd name="connsiteY2" fmla="*/ 21458 h 80132"/>
                      <a:gd name="connsiteX3" fmla="*/ 4535 w 41135"/>
                      <a:gd name="connsiteY3" fmla="*/ 7583 h 80132"/>
                      <a:gd name="connsiteX4" fmla="*/ 17919 w 41135"/>
                      <a:gd name="connsiteY4" fmla="*/ 91 h 80132"/>
                      <a:gd name="connsiteX5" fmla="*/ 20239 w 41135"/>
                      <a:gd name="connsiteY5" fmla="*/ 9 h 80132"/>
                      <a:gd name="connsiteX6" fmla="*/ 39808 w 41135"/>
                      <a:gd name="connsiteY6" fmla="*/ 20795 h 80132"/>
                      <a:gd name="connsiteX7" fmla="*/ 41123 w 41135"/>
                      <a:gd name="connsiteY7" fmla="*/ 60728 h 80132"/>
                      <a:gd name="connsiteX8" fmla="*/ 36129 w 41135"/>
                      <a:gd name="connsiteY8" fmla="*/ 74082 h 80132"/>
                      <a:gd name="connsiteX9" fmla="*/ 23151 w 41135"/>
                      <a:gd name="connsiteY9" fmla="*/ 80037 h 80132"/>
                      <a:gd name="connsiteX10" fmla="*/ 20831 w 41135"/>
                      <a:gd name="connsiteY10" fmla="*/ 80119 h 80132"/>
                      <a:gd name="connsiteX11" fmla="*/ 20135 w 41135"/>
                      <a:gd name="connsiteY11" fmla="*/ 80133 h 80132"/>
                      <a:gd name="connsiteX12" fmla="*/ 18393 w 41135"/>
                      <a:gd name="connsiteY12" fmla="*/ 13226 h 80132"/>
                      <a:gd name="connsiteX13" fmla="*/ 15032 w 41135"/>
                      <a:gd name="connsiteY13" fmla="*/ 15492 h 80132"/>
                      <a:gd name="connsiteX14" fmla="*/ 13144 w 41135"/>
                      <a:gd name="connsiteY14" fmla="*/ 20978 h 80132"/>
                      <a:gd name="connsiteX15" fmla="*/ 14629 w 41135"/>
                      <a:gd name="connsiteY15" fmla="*/ 61670 h 80132"/>
                      <a:gd name="connsiteX16" fmla="*/ 16396 w 41135"/>
                      <a:gd name="connsiteY16" fmla="*/ 65508 h 80132"/>
                      <a:gd name="connsiteX17" fmla="*/ 20349 w 41135"/>
                      <a:gd name="connsiteY17" fmla="*/ 66990 h 80132"/>
                      <a:gd name="connsiteX18" fmla="*/ 22671 w 41135"/>
                      <a:gd name="connsiteY18" fmla="*/ 66908 h 80132"/>
                      <a:gd name="connsiteX19" fmla="*/ 26506 w 41135"/>
                      <a:gd name="connsiteY19" fmla="*/ 65141 h 80132"/>
                      <a:gd name="connsiteX20" fmla="*/ 27988 w 41135"/>
                      <a:gd name="connsiteY20" fmla="*/ 61188 h 80132"/>
                      <a:gd name="connsiteX21" fmla="*/ 26674 w 41135"/>
                      <a:gd name="connsiteY21" fmla="*/ 21255 h 80132"/>
                      <a:gd name="connsiteX22" fmla="*/ 20716 w 41135"/>
                      <a:gd name="connsiteY22" fmla="*/ 13150 h 80132"/>
                      <a:gd name="connsiteX23" fmla="*/ 18393 w 41135"/>
                      <a:gd name="connsiteY23" fmla="*/ 13226 h 8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135" h="80132">
                        <a:moveTo>
                          <a:pt x="20135" y="80133"/>
                        </a:moveTo>
                        <a:cubicBezTo>
                          <a:pt x="10161" y="80133"/>
                          <a:pt x="1864" y="72203"/>
                          <a:pt x="1497" y="62149"/>
                        </a:cubicBezTo>
                        <a:lnTo>
                          <a:pt x="12" y="21458"/>
                        </a:lnTo>
                        <a:cubicBezTo>
                          <a:pt x="-160" y="16689"/>
                          <a:pt x="1489" y="11629"/>
                          <a:pt x="4535" y="7583"/>
                        </a:cubicBezTo>
                        <a:cubicBezTo>
                          <a:pt x="7984" y="3006"/>
                          <a:pt x="12862" y="275"/>
                          <a:pt x="17919" y="91"/>
                        </a:cubicBezTo>
                        <a:lnTo>
                          <a:pt x="20239" y="9"/>
                        </a:lnTo>
                        <a:cubicBezTo>
                          <a:pt x="31067" y="-369"/>
                          <a:pt x="39441" y="10865"/>
                          <a:pt x="39808" y="20795"/>
                        </a:cubicBezTo>
                        <a:lnTo>
                          <a:pt x="41123" y="60728"/>
                        </a:lnTo>
                        <a:cubicBezTo>
                          <a:pt x="41304" y="65672"/>
                          <a:pt x="39532" y="70425"/>
                          <a:pt x="36129" y="74082"/>
                        </a:cubicBezTo>
                        <a:cubicBezTo>
                          <a:pt x="32730" y="77741"/>
                          <a:pt x="28120" y="79856"/>
                          <a:pt x="23151" y="80037"/>
                        </a:cubicBezTo>
                        <a:lnTo>
                          <a:pt x="20831" y="80119"/>
                        </a:lnTo>
                        <a:cubicBezTo>
                          <a:pt x="20595" y="80127"/>
                          <a:pt x="20362" y="80133"/>
                          <a:pt x="20135" y="80133"/>
                        </a:cubicBezTo>
                        <a:close/>
                        <a:moveTo>
                          <a:pt x="18393" y="13226"/>
                        </a:moveTo>
                        <a:cubicBezTo>
                          <a:pt x="17324" y="13265"/>
                          <a:pt x="16070" y="14111"/>
                          <a:pt x="15032" y="15492"/>
                        </a:cubicBezTo>
                        <a:cubicBezTo>
                          <a:pt x="13802" y="17121"/>
                          <a:pt x="13081" y="19222"/>
                          <a:pt x="13144" y="20978"/>
                        </a:cubicBezTo>
                        <a:lnTo>
                          <a:pt x="14629" y="61670"/>
                        </a:lnTo>
                        <a:cubicBezTo>
                          <a:pt x="14681" y="63133"/>
                          <a:pt x="15308" y="64494"/>
                          <a:pt x="16396" y="65508"/>
                        </a:cubicBezTo>
                        <a:cubicBezTo>
                          <a:pt x="17486" y="66516"/>
                          <a:pt x="18905" y="67047"/>
                          <a:pt x="20349" y="66990"/>
                        </a:cubicBezTo>
                        <a:lnTo>
                          <a:pt x="22671" y="66908"/>
                        </a:lnTo>
                        <a:cubicBezTo>
                          <a:pt x="24131" y="66856"/>
                          <a:pt x="25496" y="66228"/>
                          <a:pt x="26506" y="65141"/>
                        </a:cubicBezTo>
                        <a:cubicBezTo>
                          <a:pt x="27517" y="64053"/>
                          <a:pt x="28043" y="62651"/>
                          <a:pt x="27988" y="61188"/>
                        </a:cubicBezTo>
                        <a:lnTo>
                          <a:pt x="26674" y="21255"/>
                        </a:lnTo>
                        <a:cubicBezTo>
                          <a:pt x="26531" y="17494"/>
                          <a:pt x="22754" y="12859"/>
                          <a:pt x="20716" y="13150"/>
                        </a:cubicBezTo>
                        <a:lnTo>
                          <a:pt x="18393" y="13226"/>
                        </a:lnTo>
                        <a:close/>
                      </a:path>
                    </a:pathLst>
                  </a:custGeom>
                  <a:grpFill/>
                  <a:ln w="274" cap="flat">
                    <a:noFill/>
                    <a:prstDash val="solid"/>
                    <a:miter/>
                  </a:ln>
                </p:spPr>
                <p:txBody>
                  <a:bodyPr rtlCol="0" anchor="ctr"/>
                  <a:lstStyle/>
                  <a:p>
                    <a:endParaRPr lang="en-GB" dirty="0"/>
                  </a:p>
                </p:txBody>
              </p:sp>
              <p:sp>
                <p:nvSpPr>
                  <p:cNvPr id="958" name="Freihandform: Form 957">
                    <a:extLst>
                      <a:ext uri="{FF2B5EF4-FFF2-40B4-BE49-F238E27FC236}">
                        <a16:creationId xmlns:a16="http://schemas.microsoft.com/office/drawing/2014/main" id="{1DBADE19-1EE5-4773-AF1B-BEE0B3290F33}"/>
                      </a:ext>
                    </a:extLst>
                  </p:cNvPr>
                  <p:cNvSpPr/>
                  <p:nvPr/>
                </p:nvSpPr>
                <p:spPr>
                  <a:xfrm>
                    <a:off x="6229089" y="1867475"/>
                    <a:ext cx="43818" cy="73659"/>
                  </a:xfrm>
                  <a:custGeom>
                    <a:avLst/>
                    <a:gdLst>
                      <a:gd name="connsiteX0" fmla="*/ 19653 w 43818"/>
                      <a:gd name="connsiteY0" fmla="*/ 73660 h 73659"/>
                      <a:gd name="connsiteX1" fmla="*/ 16338 w 43818"/>
                      <a:gd name="connsiteY1" fmla="*/ 73342 h 73659"/>
                      <a:gd name="connsiteX2" fmla="*/ 14265 w 43818"/>
                      <a:gd name="connsiteY2" fmla="*/ 72945 h 73659"/>
                      <a:gd name="connsiteX3" fmla="*/ 316 w 43818"/>
                      <a:gd name="connsiteY3" fmla="*/ 52381 h 73659"/>
                      <a:gd name="connsiteX4" fmla="*/ 6934 w 43818"/>
                      <a:gd name="connsiteY4" fmla="*/ 16858 h 73659"/>
                      <a:gd name="connsiteX5" fmla="*/ 28205 w 43818"/>
                      <a:gd name="connsiteY5" fmla="*/ 245 h 73659"/>
                      <a:gd name="connsiteX6" fmla="*/ 28207 w 43818"/>
                      <a:gd name="connsiteY6" fmla="*/ 245 h 73659"/>
                      <a:gd name="connsiteX7" fmla="*/ 30281 w 43818"/>
                      <a:gd name="connsiteY7" fmla="*/ 642 h 73659"/>
                      <a:gd name="connsiteX8" fmla="*/ 41605 w 43818"/>
                      <a:gd name="connsiteY8" fmla="*/ 10002 h 73659"/>
                      <a:gd name="connsiteX9" fmla="*/ 43468 w 43818"/>
                      <a:gd name="connsiteY9" fmla="*/ 23454 h 73659"/>
                      <a:gd name="connsiteX10" fmla="*/ 36918 w 43818"/>
                      <a:gd name="connsiteY10" fmla="*/ 59339 h 73659"/>
                      <a:gd name="connsiteX11" fmla="*/ 19653 w 43818"/>
                      <a:gd name="connsiteY11" fmla="*/ 73660 h 73659"/>
                      <a:gd name="connsiteX12" fmla="*/ 25523 w 43818"/>
                      <a:gd name="connsiteY12" fmla="*/ 13130 h 73659"/>
                      <a:gd name="connsiteX13" fmla="*/ 19844 w 43818"/>
                      <a:gd name="connsiteY13" fmla="*/ 19296 h 73659"/>
                      <a:gd name="connsiteX14" fmla="*/ 13226 w 43818"/>
                      <a:gd name="connsiteY14" fmla="*/ 54819 h 73659"/>
                      <a:gd name="connsiteX15" fmla="*/ 16738 w 43818"/>
                      <a:gd name="connsiteY15" fmla="*/ 60043 h 73659"/>
                      <a:gd name="connsiteX16" fmla="*/ 18814 w 43818"/>
                      <a:gd name="connsiteY16" fmla="*/ 60440 h 73659"/>
                      <a:gd name="connsiteX17" fmla="*/ 24003 w 43818"/>
                      <a:gd name="connsiteY17" fmla="*/ 56917 h 73659"/>
                      <a:gd name="connsiteX18" fmla="*/ 30552 w 43818"/>
                      <a:gd name="connsiteY18" fmla="*/ 21033 h 73659"/>
                      <a:gd name="connsiteX19" fmla="*/ 29766 w 43818"/>
                      <a:gd name="connsiteY19" fmla="*/ 15705 h 73659"/>
                      <a:gd name="connsiteX20" fmla="*/ 27802 w 43818"/>
                      <a:gd name="connsiteY20" fmla="*/ 13546 h 73659"/>
                      <a:gd name="connsiteX21" fmla="*/ 25728 w 43818"/>
                      <a:gd name="connsiteY21" fmla="*/ 13149 h 73659"/>
                      <a:gd name="connsiteX22" fmla="*/ 25523 w 43818"/>
                      <a:gd name="connsiteY22" fmla="*/ 13130 h 73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818" h="73659">
                        <a:moveTo>
                          <a:pt x="19653" y="73660"/>
                        </a:moveTo>
                        <a:cubicBezTo>
                          <a:pt x="18560" y="73660"/>
                          <a:pt x="17453" y="73558"/>
                          <a:pt x="16338" y="73342"/>
                        </a:cubicBezTo>
                        <a:lnTo>
                          <a:pt x="14265" y="72945"/>
                        </a:lnTo>
                        <a:cubicBezTo>
                          <a:pt x="4748" y="71123"/>
                          <a:pt x="-1508" y="61897"/>
                          <a:pt x="316" y="52381"/>
                        </a:cubicBezTo>
                        <a:lnTo>
                          <a:pt x="6934" y="16858"/>
                        </a:lnTo>
                        <a:cubicBezTo>
                          <a:pt x="8704" y="7611"/>
                          <a:pt x="18384" y="-1632"/>
                          <a:pt x="28205" y="245"/>
                        </a:cubicBezTo>
                        <a:lnTo>
                          <a:pt x="28207" y="245"/>
                        </a:lnTo>
                        <a:lnTo>
                          <a:pt x="30281" y="642"/>
                        </a:lnTo>
                        <a:cubicBezTo>
                          <a:pt x="35056" y="1557"/>
                          <a:pt x="39184" y="4967"/>
                          <a:pt x="41605" y="10002"/>
                        </a:cubicBezTo>
                        <a:cubicBezTo>
                          <a:pt x="43627" y="14198"/>
                          <a:pt x="44306" y="19099"/>
                          <a:pt x="43468" y="23454"/>
                        </a:cubicBezTo>
                        <a:lnTo>
                          <a:pt x="36918" y="59339"/>
                        </a:lnTo>
                        <a:cubicBezTo>
                          <a:pt x="35291" y="67792"/>
                          <a:pt x="27906" y="73660"/>
                          <a:pt x="19653" y="73660"/>
                        </a:cubicBezTo>
                        <a:close/>
                        <a:moveTo>
                          <a:pt x="25523" y="13130"/>
                        </a:moveTo>
                        <a:cubicBezTo>
                          <a:pt x="23879" y="13130"/>
                          <a:pt x="20439" y="16206"/>
                          <a:pt x="19844" y="19296"/>
                        </a:cubicBezTo>
                        <a:lnTo>
                          <a:pt x="13226" y="54819"/>
                        </a:lnTo>
                        <a:cubicBezTo>
                          <a:pt x="12761" y="57254"/>
                          <a:pt x="14338" y="59580"/>
                          <a:pt x="16738" y="60043"/>
                        </a:cubicBezTo>
                        <a:lnTo>
                          <a:pt x="18814" y="60440"/>
                        </a:lnTo>
                        <a:cubicBezTo>
                          <a:pt x="21146" y="60897"/>
                          <a:pt x="23545" y="59284"/>
                          <a:pt x="24003" y="56917"/>
                        </a:cubicBezTo>
                        <a:lnTo>
                          <a:pt x="30552" y="21033"/>
                        </a:lnTo>
                        <a:cubicBezTo>
                          <a:pt x="30867" y="19406"/>
                          <a:pt x="30552" y="17338"/>
                          <a:pt x="29766" y="15705"/>
                        </a:cubicBezTo>
                        <a:cubicBezTo>
                          <a:pt x="29202" y="14530"/>
                          <a:pt x="28413" y="13664"/>
                          <a:pt x="27802" y="13546"/>
                        </a:cubicBezTo>
                        <a:lnTo>
                          <a:pt x="25728" y="13149"/>
                        </a:lnTo>
                        <a:cubicBezTo>
                          <a:pt x="25668" y="13133"/>
                          <a:pt x="25597" y="13130"/>
                          <a:pt x="25523" y="13130"/>
                        </a:cubicBezTo>
                        <a:close/>
                      </a:path>
                    </a:pathLst>
                  </a:custGeom>
                  <a:grpFill/>
                  <a:ln w="274" cap="flat">
                    <a:noFill/>
                    <a:prstDash val="solid"/>
                    <a:miter/>
                  </a:ln>
                </p:spPr>
                <p:txBody>
                  <a:bodyPr rtlCol="0" anchor="ctr"/>
                  <a:lstStyle/>
                  <a:p>
                    <a:endParaRPr lang="en-GB" dirty="0"/>
                  </a:p>
                </p:txBody>
              </p:sp>
              <p:sp>
                <p:nvSpPr>
                  <p:cNvPr id="959" name="Freihandform: Form 958">
                    <a:extLst>
                      <a:ext uri="{FF2B5EF4-FFF2-40B4-BE49-F238E27FC236}">
                        <a16:creationId xmlns:a16="http://schemas.microsoft.com/office/drawing/2014/main" id="{E2AAFEC9-15A8-417A-93D8-FE77BCD5A34B}"/>
                      </a:ext>
                    </a:extLst>
                  </p:cNvPr>
                  <p:cNvSpPr/>
                  <p:nvPr/>
                </p:nvSpPr>
                <p:spPr>
                  <a:xfrm>
                    <a:off x="6253103" y="1876690"/>
                    <a:ext cx="50552" cy="72018"/>
                  </a:xfrm>
                  <a:custGeom>
                    <a:avLst/>
                    <a:gdLst>
                      <a:gd name="connsiteX0" fmla="*/ 19526 w 50552"/>
                      <a:gd name="connsiteY0" fmla="*/ 72019 h 72018"/>
                      <a:gd name="connsiteX1" fmla="*/ 13297 w 50552"/>
                      <a:gd name="connsiteY1" fmla="*/ 70868 h 72018"/>
                      <a:gd name="connsiteX2" fmla="*/ 11327 w 50552"/>
                      <a:gd name="connsiteY2" fmla="*/ 70118 h 72018"/>
                      <a:gd name="connsiteX3" fmla="*/ 1556 w 50552"/>
                      <a:gd name="connsiteY3" fmla="*/ 60884 h 72018"/>
                      <a:gd name="connsiteX4" fmla="*/ 1151 w 50552"/>
                      <a:gd name="connsiteY4" fmla="*/ 47445 h 72018"/>
                      <a:gd name="connsiteX5" fmla="*/ 14138 w 50552"/>
                      <a:gd name="connsiteY5" fmla="*/ 13513 h 72018"/>
                      <a:gd name="connsiteX6" fmla="*/ 37651 w 50552"/>
                      <a:gd name="connsiteY6" fmla="*/ 929 h 72018"/>
                      <a:gd name="connsiteX7" fmla="*/ 39624 w 50552"/>
                      <a:gd name="connsiteY7" fmla="*/ 1680 h 72018"/>
                      <a:gd name="connsiteX8" fmla="*/ 49340 w 50552"/>
                      <a:gd name="connsiteY8" fmla="*/ 11818 h 72018"/>
                      <a:gd name="connsiteX9" fmla="*/ 49351 w 50552"/>
                      <a:gd name="connsiteY9" fmla="*/ 25336 h 72018"/>
                      <a:gd name="connsiteX10" fmla="*/ 35970 w 50552"/>
                      <a:gd name="connsiteY10" fmla="*/ 60684 h 72018"/>
                      <a:gd name="connsiteX11" fmla="*/ 26733 w 50552"/>
                      <a:gd name="connsiteY11" fmla="*/ 70465 h 72018"/>
                      <a:gd name="connsiteX12" fmla="*/ 19526 w 50552"/>
                      <a:gd name="connsiteY12" fmla="*/ 72019 h 72018"/>
                      <a:gd name="connsiteX13" fmla="*/ 32570 w 50552"/>
                      <a:gd name="connsiteY13" fmla="*/ 13146 h 72018"/>
                      <a:gd name="connsiteX14" fmla="*/ 29990 w 50552"/>
                      <a:gd name="connsiteY14" fmla="*/ 14089 h 72018"/>
                      <a:gd name="connsiteX15" fmla="*/ 26412 w 50552"/>
                      <a:gd name="connsiteY15" fmla="*/ 18195 h 72018"/>
                      <a:gd name="connsiteX16" fmla="*/ 13425 w 50552"/>
                      <a:gd name="connsiteY16" fmla="*/ 52126 h 72018"/>
                      <a:gd name="connsiteX17" fmla="*/ 13540 w 50552"/>
                      <a:gd name="connsiteY17" fmla="*/ 55498 h 72018"/>
                      <a:gd name="connsiteX18" fmla="*/ 15995 w 50552"/>
                      <a:gd name="connsiteY18" fmla="*/ 57835 h 72018"/>
                      <a:gd name="connsiteX19" fmla="*/ 17967 w 50552"/>
                      <a:gd name="connsiteY19" fmla="*/ 58585 h 72018"/>
                      <a:gd name="connsiteX20" fmla="*/ 21353 w 50552"/>
                      <a:gd name="connsiteY20" fmla="*/ 58473 h 72018"/>
                      <a:gd name="connsiteX21" fmla="*/ 23684 w 50552"/>
                      <a:gd name="connsiteY21" fmla="*/ 56019 h 72018"/>
                      <a:gd name="connsiteX22" fmla="*/ 37065 w 50552"/>
                      <a:gd name="connsiteY22" fmla="*/ 20671 h 72018"/>
                      <a:gd name="connsiteX23" fmla="*/ 37013 w 50552"/>
                      <a:gd name="connsiteY23" fmla="*/ 16370 h 72018"/>
                      <a:gd name="connsiteX24" fmla="*/ 34951 w 50552"/>
                      <a:gd name="connsiteY24" fmla="*/ 13957 h 72018"/>
                      <a:gd name="connsiteX25" fmla="*/ 32978 w 50552"/>
                      <a:gd name="connsiteY25" fmla="*/ 13207 h 72018"/>
                      <a:gd name="connsiteX26" fmla="*/ 32570 w 50552"/>
                      <a:gd name="connsiteY26" fmla="*/ 13146 h 72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0552" h="72018">
                        <a:moveTo>
                          <a:pt x="19526" y="72019"/>
                        </a:moveTo>
                        <a:cubicBezTo>
                          <a:pt x="17425" y="72019"/>
                          <a:pt x="15316" y="71638"/>
                          <a:pt x="13297" y="70868"/>
                        </a:cubicBezTo>
                        <a:lnTo>
                          <a:pt x="11327" y="70118"/>
                        </a:lnTo>
                        <a:cubicBezTo>
                          <a:pt x="6953" y="68452"/>
                          <a:pt x="3479" y="65173"/>
                          <a:pt x="1556" y="60884"/>
                        </a:cubicBezTo>
                        <a:cubicBezTo>
                          <a:pt x="-369" y="56591"/>
                          <a:pt x="-512" y="51822"/>
                          <a:pt x="1151" y="47445"/>
                        </a:cubicBezTo>
                        <a:lnTo>
                          <a:pt x="14138" y="13513"/>
                        </a:lnTo>
                        <a:cubicBezTo>
                          <a:pt x="17518" y="4636"/>
                          <a:pt x="28291" y="-2645"/>
                          <a:pt x="37651" y="929"/>
                        </a:cubicBezTo>
                        <a:lnTo>
                          <a:pt x="39624" y="1680"/>
                        </a:lnTo>
                        <a:cubicBezTo>
                          <a:pt x="44034" y="3354"/>
                          <a:pt x="47576" y="7049"/>
                          <a:pt x="49340" y="11818"/>
                        </a:cubicBezTo>
                        <a:cubicBezTo>
                          <a:pt x="50953" y="16184"/>
                          <a:pt x="50956" y="21112"/>
                          <a:pt x="49351" y="25336"/>
                        </a:cubicBezTo>
                        <a:lnTo>
                          <a:pt x="35970" y="60684"/>
                        </a:lnTo>
                        <a:cubicBezTo>
                          <a:pt x="34304" y="65069"/>
                          <a:pt x="31025" y="68540"/>
                          <a:pt x="26733" y="70465"/>
                        </a:cubicBezTo>
                        <a:cubicBezTo>
                          <a:pt x="24429" y="71498"/>
                          <a:pt x="21977" y="72019"/>
                          <a:pt x="19526" y="72019"/>
                        </a:cubicBezTo>
                        <a:close/>
                        <a:moveTo>
                          <a:pt x="32570" y="13146"/>
                        </a:moveTo>
                        <a:cubicBezTo>
                          <a:pt x="31987" y="13146"/>
                          <a:pt x="31058" y="13415"/>
                          <a:pt x="29990" y="14089"/>
                        </a:cubicBezTo>
                        <a:cubicBezTo>
                          <a:pt x="28379" y="15105"/>
                          <a:pt x="26974" y="16718"/>
                          <a:pt x="26412" y="18195"/>
                        </a:cubicBezTo>
                        <a:lnTo>
                          <a:pt x="13425" y="52126"/>
                        </a:lnTo>
                        <a:cubicBezTo>
                          <a:pt x="13012" y="53211"/>
                          <a:pt x="13050" y="54411"/>
                          <a:pt x="13540" y="55498"/>
                        </a:cubicBezTo>
                        <a:cubicBezTo>
                          <a:pt x="14028" y="56588"/>
                          <a:pt x="14902" y="57416"/>
                          <a:pt x="15995" y="57835"/>
                        </a:cubicBezTo>
                        <a:lnTo>
                          <a:pt x="17967" y="58585"/>
                        </a:lnTo>
                        <a:cubicBezTo>
                          <a:pt x="19060" y="58996"/>
                          <a:pt x="20254" y="58963"/>
                          <a:pt x="21353" y="58473"/>
                        </a:cubicBezTo>
                        <a:cubicBezTo>
                          <a:pt x="22440" y="57985"/>
                          <a:pt x="23268" y="57117"/>
                          <a:pt x="23684" y="56019"/>
                        </a:cubicBezTo>
                        <a:lnTo>
                          <a:pt x="37065" y="20671"/>
                        </a:lnTo>
                        <a:cubicBezTo>
                          <a:pt x="37556" y="19381"/>
                          <a:pt x="37534" y="17778"/>
                          <a:pt x="37013" y="16370"/>
                        </a:cubicBezTo>
                        <a:cubicBezTo>
                          <a:pt x="36802" y="15803"/>
                          <a:pt x="36180" y="14426"/>
                          <a:pt x="34951" y="13957"/>
                        </a:cubicBezTo>
                        <a:lnTo>
                          <a:pt x="32978" y="13207"/>
                        </a:lnTo>
                        <a:cubicBezTo>
                          <a:pt x="32874" y="13166"/>
                          <a:pt x="32735" y="13146"/>
                          <a:pt x="32570" y="13146"/>
                        </a:cubicBezTo>
                        <a:close/>
                      </a:path>
                    </a:pathLst>
                  </a:custGeom>
                  <a:grpFill/>
                  <a:ln w="274" cap="flat">
                    <a:noFill/>
                    <a:prstDash val="solid"/>
                    <a:miter/>
                  </a:ln>
                </p:spPr>
                <p:txBody>
                  <a:bodyPr rtlCol="0" anchor="ctr"/>
                  <a:lstStyle/>
                  <a:p>
                    <a:endParaRPr lang="en-GB" dirty="0"/>
                  </a:p>
                </p:txBody>
              </p:sp>
              <p:sp>
                <p:nvSpPr>
                  <p:cNvPr id="960" name="Freihandform: Form 959">
                    <a:extLst>
                      <a:ext uri="{FF2B5EF4-FFF2-40B4-BE49-F238E27FC236}">
                        <a16:creationId xmlns:a16="http://schemas.microsoft.com/office/drawing/2014/main" id="{93CC8149-3E52-4A6D-9050-81518F861CB9}"/>
                      </a:ext>
                    </a:extLst>
                  </p:cNvPr>
                  <p:cNvSpPr/>
                  <p:nvPr/>
                </p:nvSpPr>
                <p:spPr>
                  <a:xfrm>
                    <a:off x="6162981" y="1812703"/>
                    <a:ext cx="115281" cy="89726"/>
                  </a:xfrm>
                  <a:custGeom>
                    <a:avLst/>
                    <a:gdLst>
                      <a:gd name="connsiteX0" fmla="*/ 21769 w 115281"/>
                      <a:gd name="connsiteY0" fmla="*/ 89726 h 89726"/>
                      <a:gd name="connsiteX1" fmla="*/ 8287 w 115281"/>
                      <a:gd name="connsiteY1" fmla="*/ 83242 h 89726"/>
                      <a:gd name="connsiteX2" fmla="*/ 3512 w 115281"/>
                      <a:gd name="connsiteY2" fmla="*/ 49695 h 89726"/>
                      <a:gd name="connsiteX3" fmla="*/ 4016 w 115281"/>
                      <a:gd name="connsiteY3" fmla="*/ 48788 h 89726"/>
                      <a:gd name="connsiteX4" fmla="*/ 13984 w 115281"/>
                      <a:gd name="connsiteY4" fmla="*/ 36198 h 89726"/>
                      <a:gd name="connsiteX5" fmla="*/ 26508 w 115281"/>
                      <a:gd name="connsiteY5" fmla="*/ 21984 h 89726"/>
                      <a:gd name="connsiteX6" fmla="*/ 112907 w 115281"/>
                      <a:gd name="connsiteY6" fmla="*/ 15369 h 89726"/>
                      <a:gd name="connsiteX7" fmla="*/ 113767 w 115281"/>
                      <a:gd name="connsiteY7" fmla="*/ 24622 h 89726"/>
                      <a:gd name="connsiteX8" fmla="*/ 104514 w 115281"/>
                      <a:gd name="connsiteY8" fmla="*/ 25482 h 89726"/>
                      <a:gd name="connsiteX9" fmla="*/ 36411 w 115281"/>
                      <a:gd name="connsiteY9" fmla="*/ 30621 h 89726"/>
                      <a:gd name="connsiteX10" fmla="*/ 23777 w 115281"/>
                      <a:gd name="connsiteY10" fmla="*/ 44961 h 89726"/>
                      <a:gd name="connsiteX11" fmla="*/ 15535 w 115281"/>
                      <a:gd name="connsiteY11" fmla="*/ 55110 h 89726"/>
                      <a:gd name="connsiteX12" fmla="*/ 14943 w 115281"/>
                      <a:gd name="connsiteY12" fmla="*/ 56167 h 89726"/>
                      <a:gd name="connsiteX13" fmla="*/ 16192 w 115281"/>
                      <a:gd name="connsiteY13" fmla="*/ 72263 h 89726"/>
                      <a:gd name="connsiteX14" fmla="*/ 21857 w 115281"/>
                      <a:gd name="connsiteY14" fmla="*/ 76561 h 89726"/>
                      <a:gd name="connsiteX15" fmla="*/ 27067 w 115281"/>
                      <a:gd name="connsiteY15" fmla="*/ 71872 h 89726"/>
                      <a:gd name="connsiteX16" fmla="*/ 23865 w 115281"/>
                      <a:gd name="connsiteY16" fmla="*/ 56814 h 89726"/>
                      <a:gd name="connsiteX17" fmla="*/ 24396 w 115281"/>
                      <a:gd name="connsiteY17" fmla="*/ 47550 h 89726"/>
                      <a:gd name="connsiteX18" fmla="*/ 33639 w 115281"/>
                      <a:gd name="connsiteY18" fmla="*/ 48032 h 89726"/>
                      <a:gd name="connsiteX19" fmla="*/ 37298 w 115281"/>
                      <a:gd name="connsiteY19" fmla="*/ 80109 h 89726"/>
                      <a:gd name="connsiteX20" fmla="*/ 27974 w 115281"/>
                      <a:gd name="connsiteY20" fmla="*/ 88184 h 89726"/>
                      <a:gd name="connsiteX21" fmla="*/ 21769 w 115281"/>
                      <a:gd name="connsiteY21" fmla="*/ 89726 h 89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5281" h="89726">
                        <a:moveTo>
                          <a:pt x="21769" y="89726"/>
                        </a:moveTo>
                        <a:cubicBezTo>
                          <a:pt x="17228" y="89726"/>
                          <a:pt x="12428" y="87491"/>
                          <a:pt x="8287" y="83242"/>
                        </a:cubicBezTo>
                        <a:cubicBezTo>
                          <a:pt x="1047" y="75813"/>
                          <a:pt x="-3539" y="62147"/>
                          <a:pt x="3512" y="49695"/>
                        </a:cubicBezTo>
                        <a:lnTo>
                          <a:pt x="4016" y="48788"/>
                        </a:lnTo>
                        <a:cubicBezTo>
                          <a:pt x="5602" y="45903"/>
                          <a:pt x="6394" y="44690"/>
                          <a:pt x="13984" y="36198"/>
                        </a:cubicBezTo>
                        <a:cubicBezTo>
                          <a:pt x="17039" y="32788"/>
                          <a:pt x="21068" y="28224"/>
                          <a:pt x="26508" y="21984"/>
                        </a:cubicBezTo>
                        <a:cubicBezTo>
                          <a:pt x="57870" y="-13969"/>
                          <a:pt x="96740" y="1941"/>
                          <a:pt x="112907" y="15369"/>
                        </a:cubicBezTo>
                        <a:cubicBezTo>
                          <a:pt x="115701" y="17689"/>
                          <a:pt x="116082" y="21831"/>
                          <a:pt x="113767" y="24622"/>
                        </a:cubicBezTo>
                        <a:cubicBezTo>
                          <a:pt x="111450" y="27413"/>
                          <a:pt x="107306" y="27805"/>
                          <a:pt x="104514" y="25482"/>
                        </a:cubicBezTo>
                        <a:cubicBezTo>
                          <a:pt x="103016" y="24247"/>
                          <a:pt x="67110" y="-4559"/>
                          <a:pt x="36411" y="30621"/>
                        </a:cubicBezTo>
                        <a:cubicBezTo>
                          <a:pt x="30921" y="36919"/>
                          <a:pt x="26853" y="41523"/>
                          <a:pt x="23777" y="44961"/>
                        </a:cubicBezTo>
                        <a:cubicBezTo>
                          <a:pt x="16855" y="52708"/>
                          <a:pt x="16496" y="53362"/>
                          <a:pt x="15535" y="55110"/>
                        </a:cubicBezTo>
                        <a:lnTo>
                          <a:pt x="14943" y="56167"/>
                        </a:lnTo>
                        <a:cubicBezTo>
                          <a:pt x="10741" y="63591"/>
                          <a:pt x="14836" y="70362"/>
                          <a:pt x="16192" y="72263"/>
                        </a:cubicBezTo>
                        <a:cubicBezTo>
                          <a:pt x="18592" y="75624"/>
                          <a:pt x="21178" y="76704"/>
                          <a:pt x="21857" y="76561"/>
                        </a:cubicBezTo>
                        <a:cubicBezTo>
                          <a:pt x="23353" y="75756"/>
                          <a:pt x="25862" y="73282"/>
                          <a:pt x="27067" y="71872"/>
                        </a:cubicBezTo>
                        <a:cubicBezTo>
                          <a:pt x="31672" y="65777"/>
                          <a:pt x="24185" y="57175"/>
                          <a:pt x="23865" y="56814"/>
                        </a:cubicBezTo>
                        <a:cubicBezTo>
                          <a:pt x="21471" y="54108"/>
                          <a:pt x="21704" y="49958"/>
                          <a:pt x="24396" y="47550"/>
                        </a:cubicBezTo>
                        <a:cubicBezTo>
                          <a:pt x="27092" y="45147"/>
                          <a:pt x="31214" y="45353"/>
                          <a:pt x="33639" y="48032"/>
                        </a:cubicBezTo>
                        <a:cubicBezTo>
                          <a:pt x="38895" y="53855"/>
                          <a:pt x="46428" y="68050"/>
                          <a:pt x="37298" y="80109"/>
                        </a:cubicBezTo>
                        <a:cubicBezTo>
                          <a:pt x="36285" y="81311"/>
                          <a:pt x="32233" y="85916"/>
                          <a:pt x="27974" y="88184"/>
                        </a:cubicBezTo>
                        <a:cubicBezTo>
                          <a:pt x="26032" y="89222"/>
                          <a:pt x="23928" y="89726"/>
                          <a:pt x="21769" y="89726"/>
                        </a:cubicBezTo>
                        <a:close/>
                      </a:path>
                    </a:pathLst>
                  </a:custGeom>
                  <a:grpFill/>
                  <a:ln w="274" cap="flat">
                    <a:noFill/>
                    <a:prstDash val="solid"/>
                    <a:miter/>
                  </a:ln>
                </p:spPr>
                <p:txBody>
                  <a:bodyPr rtlCol="0" anchor="ctr"/>
                  <a:lstStyle/>
                  <a:p>
                    <a:endParaRPr lang="en-GB" dirty="0"/>
                  </a:p>
                </p:txBody>
              </p:sp>
            </p:grpSp>
          </p:grpSp>
        </p:grpSp>
      </p:grpSp>
      <p:sp>
        <p:nvSpPr>
          <p:cNvPr id="979" name="TextBox 1416">
            <a:extLst>
              <a:ext uri="{FF2B5EF4-FFF2-40B4-BE49-F238E27FC236}">
                <a16:creationId xmlns:a16="http://schemas.microsoft.com/office/drawing/2014/main" id="{F3125663-8A67-495B-9694-2F831F1AA275}"/>
              </a:ext>
            </a:extLst>
          </p:cNvPr>
          <p:cNvSpPr txBox="1"/>
          <p:nvPr/>
        </p:nvSpPr>
        <p:spPr>
          <a:xfrm>
            <a:off x="6071953" y="2077494"/>
            <a:ext cx="373499" cy="215444"/>
          </a:xfrm>
          <a:prstGeom prst="rect">
            <a:avLst/>
          </a:prstGeom>
          <a:noFill/>
          <a:effectLst/>
        </p:spPr>
        <p:txBody>
          <a:bodyPr wrap="none" lIns="0" tIns="0" rIns="0" bIns="0" rtlCol="0" anchor="t">
            <a:spAutoFit/>
          </a:bodyPr>
          <a:lstStyle/>
          <a:p>
            <a:pPr algn="ctr"/>
            <a:r>
              <a:rPr lang="en-GB" sz="700" dirty="0">
                <a:solidFill>
                  <a:schemeClr val="tx2"/>
                </a:solidFill>
              </a:rPr>
              <a:t>Life cycle</a:t>
            </a:r>
            <a:br>
              <a:rPr lang="en-GB" sz="700" dirty="0">
                <a:solidFill>
                  <a:schemeClr val="tx2"/>
                </a:solidFill>
              </a:rPr>
            </a:br>
            <a:r>
              <a:rPr lang="en-GB" sz="700" dirty="0">
                <a:solidFill>
                  <a:schemeClr val="tx2"/>
                </a:solidFill>
              </a:rPr>
              <a:t>product</a:t>
            </a:r>
          </a:p>
        </p:txBody>
      </p:sp>
      <p:grpSp>
        <p:nvGrpSpPr>
          <p:cNvPr id="53" name="Group 52">
            <a:extLst>
              <a:ext uri="{FF2B5EF4-FFF2-40B4-BE49-F238E27FC236}">
                <a16:creationId xmlns:a16="http://schemas.microsoft.com/office/drawing/2014/main" id="{552FB3E9-0E1C-4D1D-3383-3D8CD399C8E8}"/>
              </a:ext>
            </a:extLst>
          </p:cNvPr>
          <p:cNvGrpSpPr/>
          <p:nvPr/>
        </p:nvGrpSpPr>
        <p:grpSpPr>
          <a:xfrm>
            <a:off x="5981835" y="2449341"/>
            <a:ext cx="553735" cy="432000"/>
            <a:chOff x="5981423" y="2449341"/>
            <a:chExt cx="553735" cy="432000"/>
          </a:xfrm>
        </p:grpSpPr>
        <p:grpSp>
          <p:nvGrpSpPr>
            <p:cNvPr id="981" name="Grafik 349">
              <a:extLst>
                <a:ext uri="{FF2B5EF4-FFF2-40B4-BE49-F238E27FC236}">
                  <a16:creationId xmlns:a16="http://schemas.microsoft.com/office/drawing/2014/main" id="{176BCFD9-49C4-4819-A92D-B83E05CD8107}"/>
                </a:ext>
              </a:extLst>
            </p:cNvPr>
            <p:cNvGrpSpPr/>
            <p:nvPr/>
          </p:nvGrpSpPr>
          <p:grpSpPr>
            <a:xfrm>
              <a:off x="6185244" y="2449341"/>
              <a:ext cx="146445" cy="288559"/>
              <a:chOff x="6259255" y="2478454"/>
              <a:chExt cx="142036" cy="279871"/>
            </a:xfrm>
            <a:solidFill>
              <a:schemeClr val="tx2"/>
            </a:solidFill>
          </p:grpSpPr>
          <p:grpSp>
            <p:nvGrpSpPr>
              <p:cNvPr id="988" name="Grafik 349">
                <a:extLst>
                  <a:ext uri="{FF2B5EF4-FFF2-40B4-BE49-F238E27FC236}">
                    <a16:creationId xmlns:a16="http://schemas.microsoft.com/office/drawing/2014/main" id="{882D13ED-BAE0-4820-BBC8-E2385EE52B86}"/>
                  </a:ext>
                </a:extLst>
              </p:cNvPr>
              <p:cNvGrpSpPr/>
              <p:nvPr/>
            </p:nvGrpSpPr>
            <p:grpSpPr>
              <a:xfrm>
                <a:off x="6283070" y="2478454"/>
                <a:ext cx="94365" cy="126412"/>
                <a:chOff x="6283070" y="2478454"/>
                <a:chExt cx="94365" cy="126412"/>
              </a:xfrm>
              <a:grpFill/>
            </p:grpSpPr>
            <p:sp>
              <p:nvSpPr>
                <p:cNvPr id="992" name="Freihandform: Form 991">
                  <a:extLst>
                    <a:ext uri="{FF2B5EF4-FFF2-40B4-BE49-F238E27FC236}">
                      <a16:creationId xmlns:a16="http://schemas.microsoft.com/office/drawing/2014/main" id="{E04EECAB-227F-468F-8333-8419A90B9AA0}"/>
                    </a:ext>
                  </a:extLst>
                </p:cNvPr>
                <p:cNvSpPr/>
                <p:nvPr/>
              </p:nvSpPr>
              <p:spPr>
                <a:xfrm>
                  <a:off x="6283070" y="2478454"/>
                  <a:ext cx="94365" cy="126412"/>
                </a:xfrm>
                <a:custGeom>
                  <a:avLst/>
                  <a:gdLst>
                    <a:gd name="connsiteX0" fmla="*/ 35630 w 94365"/>
                    <a:gd name="connsiteY0" fmla="*/ 126413 h 126412"/>
                    <a:gd name="connsiteX1" fmla="*/ 34173 w 94365"/>
                    <a:gd name="connsiteY1" fmla="*/ 126251 h 126412"/>
                    <a:gd name="connsiteX2" fmla="*/ 21148 w 94365"/>
                    <a:gd name="connsiteY2" fmla="*/ 121477 h 126412"/>
                    <a:gd name="connsiteX3" fmla="*/ 1510 w 94365"/>
                    <a:gd name="connsiteY3" fmla="*/ 96155 h 126412"/>
                    <a:gd name="connsiteX4" fmla="*/ 10681 w 94365"/>
                    <a:gd name="connsiteY4" fmla="*/ 43925 h 126412"/>
                    <a:gd name="connsiteX5" fmla="*/ 6879 w 94365"/>
                    <a:gd name="connsiteY5" fmla="*/ 10421 h 126412"/>
                    <a:gd name="connsiteX6" fmla="*/ 6635 w 94365"/>
                    <a:gd name="connsiteY6" fmla="*/ 3094 h 126412"/>
                    <a:gd name="connsiteX7" fmla="*/ 13305 w 94365"/>
                    <a:gd name="connsiteY7" fmla="*/ 89 h 126412"/>
                    <a:gd name="connsiteX8" fmla="*/ 57279 w 94365"/>
                    <a:gd name="connsiteY8" fmla="*/ 21570 h 126412"/>
                    <a:gd name="connsiteX9" fmla="*/ 59429 w 94365"/>
                    <a:gd name="connsiteY9" fmla="*/ 14171 h 126412"/>
                    <a:gd name="connsiteX10" fmla="*/ 64486 w 94365"/>
                    <a:gd name="connsiteY10" fmla="*/ 9558 h 126412"/>
                    <a:gd name="connsiteX11" fmla="*/ 70901 w 94365"/>
                    <a:gd name="connsiteY11" fmla="*/ 11939 h 126412"/>
                    <a:gd name="connsiteX12" fmla="*/ 93514 w 94365"/>
                    <a:gd name="connsiteY12" fmla="*/ 80872 h 126412"/>
                    <a:gd name="connsiteX13" fmla="*/ 68545 w 94365"/>
                    <a:gd name="connsiteY13" fmla="*/ 119567 h 126412"/>
                    <a:gd name="connsiteX14" fmla="*/ 59459 w 94365"/>
                    <a:gd name="connsiteY14" fmla="*/ 117611 h 126412"/>
                    <a:gd name="connsiteX15" fmla="*/ 61415 w 94365"/>
                    <a:gd name="connsiteY15" fmla="*/ 108525 h 126412"/>
                    <a:gd name="connsiteX16" fmla="*/ 80552 w 94365"/>
                    <a:gd name="connsiteY16" fmla="*/ 78714 h 126412"/>
                    <a:gd name="connsiteX17" fmla="*/ 68252 w 94365"/>
                    <a:gd name="connsiteY17" fmla="*/ 30884 h 126412"/>
                    <a:gd name="connsiteX18" fmla="*/ 66400 w 94365"/>
                    <a:gd name="connsiteY18" fmla="*/ 37261 h 126412"/>
                    <a:gd name="connsiteX19" fmla="*/ 61103 w 94365"/>
                    <a:gd name="connsiteY19" fmla="*/ 41920 h 126412"/>
                    <a:gd name="connsiteX20" fmla="*/ 54638 w 94365"/>
                    <a:gd name="connsiteY20" fmla="*/ 39093 h 126412"/>
                    <a:gd name="connsiteX21" fmla="*/ 24128 w 94365"/>
                    <a:gd name="connsiteY21" fmla="*/ 16245 h 126412"/>
                    <a:gd name="connsiteX22" fmla="*/ 22367 w 94365"/>
                    <a:gd name="connsiteY22" fmla="*/ 49943 h 126412"/>
                    <a:gd name="connsiteX23" fmla="*/ 21931 w 94365"/>
                    <a:gd name="connsiteY23" fmla="*/ 50713 h 126412"/>
                    <a:gd name="connsiteX24" fmla="*/ 14248 w 94365"/>
                    <a:gd name="connsiteY24" fmla="*/ 92950 h 126412"/>
                    <a:gd name="connsiteX25" fmla="*/ 27407 w 94365"/>
                    <a:gd name="connsiteY25" fmla="*/ 109922 h 126412"/>
                    <a:gd name="connsiteX26" fmla="*/ 37066 w 94365"/>
                    <a:gd name="connsiteY26" fmla="*/ 113429 h 126412"/>
                    <a:gd name="connsiteX27" fmla="*/ 42027 w 94365"/>
                    <a:gd name="connsiteY27" fmla="*/ 121288 h 126412"/>
                    <a:gd name="connsiteX28" fmla="*/ 35630 w 94365"/>
                    <a:gd name="connsiteY28" fmla="*/ 126413 h 12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94365" h="126412">
                      <a:moveTo>
                        <a:pt x="35630" y="126413"/>
                      </a:moveTo>
                      <a:cubicBezTo>
                        <a:pt x="35148" y="126413"/>
                        <a:pt x="34663" y="126361"/>
                        <a:pt x="34173" y="126251"/>
                      </a:cubicBezTo>
                      <a:cubicBezTo>
                        <a:pt x="29374" y="125164"/>
                        <a:pt x="24991" y="123558"/>
                        <a:pt x="21148" y="121477"/>
                      </a:cubicBezTo>
                      <a:cubicBezTo>
                        <a:pt x="10947" y="115935"/>
                        <a:pt x="4340" y="107416"/>
                        <a:pt x="1510" y="96155"/>
                      </a:cubicBezTo>
                      <a:cubicBezTo>
                        <a:pt x="-3604" y="75818"/>
                        <a:pt x="5490" y="52162"/>
                        <a:pt x="10681" y="43925"/>
                      </a:cubicBezTo>
                      <a:cubicBezTo>
                        <a:pt x="18532" y="26956"/>
                        <a:pt x="7364" y="11095"/>
                        <a:pt x="6879" y="10421"/>
                      </a:cubicBezTo>
                      <a:cubicBezTo>
                        <a:pt x="5323" y="8260"/>
                        <a:pt x="5222" y="5356"/>
                        <a:pt x="6635" y="3094"/>
                      </a:cubicBezTo>
                      <a:cubicBezTo>
                        <a:pt x="8046" y="828"/>
                        <a:pt x="10662" y="-344"/>
                        <a:pt x="13305" y="89"/>
                      </a:cubicBezTo>
                      <a:cubicBezTo>
                        <a:pt x="31771" y="3250"/>
                        <a:pt x="46267" y="10312"/>
                        <a:pt x="57279" y="21570"/>
                      </a:cubicBezTo>
                      <a:lnTo>
                        <a:pt x="59429" y="14171"/>
                      </a:lnTo>
                      <a:cubicBezTo>
                        <a:pt x="60119" y="11810"/>
                        <a:pt x="62070" y="10027"/>
                        <a:pt x="64486" y="9558"/>
                      </a:cubicBezTo>
                      <a:cubicBezTo>
                        <a:pt x="66891" y="9079"/>
                        <a:pt x="69375" y="10005"/>
                        <a:pt x="70901" y="11939"/>
                      </a:cubicBezTo>
                      <a:cubicBezTo>
                        <a:pt x="94166" y="41465"/>
                        <a:pt x="96039" y="65724"/>
                        <a:pt x="93514" y="80872"/>
                      </a:cubicBezTo>
                      <a:cubicBezTo>
                        <a:pt x="90837" y="96944"/>
                        <a:pt x="81738" y="111048"/>
                        <a:pt x="68545" y="119567"/>
                      </a:cubicBezTo>
                      <a:cubicBezTo>
                        <a:pt x="65488" y="121531"/>
                        <a:pt x="61423" y="120660"/>
                        <a:pt x="59459" y="117611"/>
                      </a:cubicBezTo>
                      <a:cubicBezTo>
                        <a:pt x="57492" y="114563"/>
                        <a:pt x="58369" y="110495"/>
                        <a:pt x="61415" y="108525"/>
                      </a:cubicBezTo>
                      <a:cubicBezTo>
                        <a:pt x="71504" y="102014"/>
                        <a:pt x="78481" y="91145"/>
                        <a:pt x="80552" y="78714"/>
                      </a:cubicBezTo>
                      <a:cubicBezTo>
                        <a:pt x="82338" y="67990"/>
                        <a:pt x="81299" y="51540"/>
                        <a:pt x="68252" y="30884"/>
                      </a:cubicBezTo>
                      <a:lnTo>
                        <a:pt x="66400" y="37261"/>
                      </a:lnTo>
                      <a:cubicBezTo>
                        <a:pt x="65688" y="39710"/>
                        <a:pt x="63623" y="41523"/>
                        <a:pt x="61103" y="41920"/>
                      </a:cubicBezTo>
                      <a:cubicBezTo>
                        <a:pt x="58566" y="42312"/>
                        <a:pt x="56060" y="41208"/>
                        <a:pt x="54638" y="39093"/>
                      </a:cubicBezTo>
                      <a:cubicBezTo>
                        <a:pt x="47234" y="28095"/>
                        <a:pt x="37373" y="20663"/>
                        <a:pt x="24128" y="16245"/>
                      </a:cubicBezTo>
                      <a:cubicBezTo>
                        <a:pt x="26996" y="25033"/>
                        <a:pt x="28464" y="37178"/>
                        <a:pt x="22367" y="49943"/>
                      </a:cubicBezTo>
                      <a:cubicBezTo>
                        <a:pt x="22238" y="50209"/>
                        <a:pt x="22093" y="50467"/>
                        <a:pt x="21931" y="50713"/>
                      </a:cubicBezTo>
                      <a:cubicBezTo>
                        <a:pt x="18540" y="55885"/>
                        <a:pt x="10068" y="76317"/>
                        <a:pt x="14248" y="92950"/>
                      </a:cubicBezTo>
                      <a:cubicBezTo>
                        <a:pt x="16173" y="100606"/>
                        <a:pt x="20477" y="106161"/>
                        <a:pt x="27407" y="109922"/>
                      </a:cubicBezTo>
                      <a:cubicBezTo>
                        <a:pt x="30185" y="111429"/>
                        <a:pt x="33439" y="112610"/>
                        <a:pt x="37066" y="113429"/>
                      </a:cubicBezTo>
                      <a:cubicBezTo>
                        <a:pt x="40605" y="114231"/>
                        <a:pt x="42824" y="117746"/>
                        <a:pt x="42027" y="121288"/>
                      </a:cubicBezTo>
                      <a:cubicBezTo>
                        <a:pt x="41344" y="124342"/>
                        <a:pt x="38633" y="126413"/>
                        <a:pt x="35630" y="126413"/>
                      </a:cubicBezTo>
                      <a:close/>
                    </a:path>
                  </a:pathLst>
                </a:custGeom>
                <a:grpFill/>
                <a:ln w="274" cap="flat">
                  <a:noFill/>
                  <a:prstDash val="solid"/>
                  <a:miter/>
                </a:ln>
              </p:spPr>
              <p:txBody>
                <a:bodyPr rtlCol="0" anchor="ctr"/>
                <a:lstStyle/>
                <a:p>
                  <a:endParaRPr lang="en-GB" dirty="0"/>
                </a:p>
              </p:txBody>
            </p:sp>
            <p:sp>
              <p:nvSpPr>
                <p:cNvPr id="993" name="Freihandform: Form 992">
                  <a:extLst>
                    <a:ext uri="{FF2B5EF4-FFF2-40B4-BE49-F238E27FC236}">
                      <a16:creationId xmlns:a16="http://schemas.microsoft.com/office/drawing/2014/main" id="{F28F72FC-35D4-4FD5-9399-D2FCF9F19DCB}"/>
                    </a:ext>
                  </a:extLst>
                </p:cNvPr>
                <p:cNvSpPr/>
                <p:nvPr/>
              </p:nvSpPr>
              <p:spPr>
                <a:xfrm>
                  <a:off x="6304603" y="2531722"/>
                  <a:ext cx="50019" cy="72865"/>
                </a:xfrm>
                <a:custGeom>
                  <a:avLst/>
                  <a:gdLst>
                    <a:gd name="connsiteX0" fmla="*/ 14097 w 50019"/>
                    <a:gd name="connsiteY0" fmla="*/ 72865 h 72865"/>
                    <a:gd name="connsiteX1" fmla="*/ 8514 w 50019"/>
                    <a:gd name="connsiteY1" fmla="*/ 69770 h 72865"/>
                    <a:gd name="connsiteX2" fmla="*/ 1754 w 50019"/>
                    <a:gd name="connsiteY2" fmla="*/ 31828 h 72865"/>
                    <a:gd name="connsiteX3" fmla="*/ 32053 w 50019"/>
                    <a:gd name="connsiteY3" fmla="*/ 527 h 72865"/>
                    <a:gd name="connsiteX4" fmla="*/ 38896 w 50019"/>
                    <a:gd name="connsiteY4" fmla="*/ 1557 h 72865"/>
                    <a:gd name="connsiteX5" fmla="*/ 41021 w 50019"/>
                    <a:gd name="connsiteY5" fmla="*/ 8142 h 72865"/>
                    <a:gd name="connsiteX6" fmla="*/ 49524 w 50019"/>
                    <a:gd name="connsiteY6" fmla="*/ 58281 h 72865"/>
                    <a:gd name="connsiteX7" fmla="*/ 45947 w 50019"/>
                    <a:gd name="connsiteY7" fmla="*/ 66855 h 72865"/>
                    <a:gd name="connsiteX8" fmla="*/ 37373 w 50019"/>
                    <a:gd name="connsiteY8" fmla="*/ 63278 h 72865"/>
                    <a:gd name="connsiteX9" fmla="*/ 27018 w 50019"/>
                    <a:gd name="connsiteY9" fmla="*/ 18904 h 72865"/>
                    <a:gd name="connsiteX10" fmla="*/ 14272 w 50019"/>
                    <a:gd name="connsiteY10" fmla="*/ 35819 h 72865"/>
                    <a:gd name="connsiteX11" fmla="*/ 19666 w 50019"/>
                    <a:gd name="connsiteY11" fmla="*/ 62818 h 72865"/>
                    <a:gd name="connsiteX12" fmla="*/ 17565 w 50019"/>
                    <a:gd name="connsiteY12" fmla="*/ 71868 h 72865"/>
                    <a:gd name="connsiteX13" fmla="*/ 14097 w 50019"/>
                    <a:gd name="connsiteY13" fmla="*/ 72865 h 72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019" h="72865">
                      <a:moveTo>
                        <a:pt x="14097" y="72865"/>
                      </a:moveTo>
                      <a:cubicBezTo>
                        <a:pt x="11903" y="72865"/>
                        <a:pt x="9761" y="71767"/>
                        <a:pt x="8514" y="69770"/>
                      </a:cubicBezTo>
                      <a:cubicBezTo>
                        <a:pt x="278" y="56550"/>
                        <a:pt x="-1999" y="43785"/>
                        <a:pt x="1754" y="31828"/>
                      </a:cubicBezTo>
                      <a:cubicBezTo>
                        <a:pt x="8309" y="10928"/>
                        <a:pt x="31089" y="940"/>
                        <a:pt x="32053" y="527"/>
                      </a:cubicBezTo>
                      <a:cubicBezTo>
                        <a:pt x="34351" y="-446"/>
                        <a:pt x="37000" y="-54"/>
                        <a:pt x="38896" y="1557"/>
                      </a:cubicBezTo>
                      <a:cubicBezTo>
                        <a:pt x="40799" y="3170"/>
                        <a:pt x="41621" y="5720"/>
                        <a:pt x="41021" y="8142"/>
                      </a:cubicBezTo>
                      <a:cubicBezTo>
                        <a:pt x="37290" y="23235"/>
                        <a:pt x="45894" y="49453"/>
                        <a:pt x="49524" y="58281"/>
                      </a:cubicBezTo>
                      <a:cubicBezTo>
                        <a:pt x="50905" y="61637"/>
                        <a:pt x="49302" y="65477"/>
                        <a:pt x="45947" y="66855"/>
                      </a:cubicBezTo>
                      <a:cubicBezTo>
                        <a:pt x="42577" y="68236"/>
                        <a:pt x="38750" y="66633"/>
                        <a:pt x="37373" y="63278"/>
                      </a:cubicBezTo>
                      <a:cubicBezTo>
                        <a:pt x="36888" y="62100"/>
                        <a:pt x="27648" y="39364"/>
                        <a:pt x="27018" y="18904"/>
                      </a:cubicBezTo>
                      <a:cubicBezTo>
                        <a:pt x="22005" y="22805"/>
                        <a:pt x="16557" y="28478"/>
                        <a:pt x="14272" y="35819"/>
                      </a:cubicBezTo>
                      <a:cubicBezTo>
                        <a:pt x="11747" y="43939"/>
                        <a:pt x="13563" y="53025"/>
                        <a:pt x="19666" y="62818"/>
                      </a:cubicBezTo>
                      <a:cubicBezTo>
                        <a:pt x="21583" y="65896"/>
                        <a:pt x="20644" y="69948"/>
                        <a:pt x="17565" y="71868"/>
                      </a:cubicBezTo>
                      <a:cubicBezTo>
                        <a:pt x="16483" y="72545"/>
                        <a:pt x="15283" y="72865"/>
                        <a:pt x="14097" y="72865"/>
                      </a:cubicBezTo>
                      <a:close/>
                    </a:path>
                  </a:pathLst>
                </a:custGeom>
                <a:grpFill/>
                <a:ln w="274" cap="flat">
                  <a:noFill/>
                  <a:prstDash val="solid"/>
                  <a:miter/>
                </a:ln>
              </p:spPr>
              <p:txBody>
                <a:bodyPr rtlCol="0" anchor="ctr"/>
                <a:lstStyle/>
                <a:p>
                  <a:endParaRPr lang="en-GB" dirty="0"/>
                </a:p>
              </p:txBody>
            </p:sp>
          </p:grpSp>
          <p:sp>
            <p:nvSpPr>
              <p:cNvPr id="989" name="Freihandform: Form 988">
                <a:extLst>
                  <a:ext uri="{FF2B5EF4-FFF2-40B4-BE49-F238E27FC236}">
                    <a16:creationId xmlns:a16="http://schemas.microsoft.com/office/drawing/2014/main" id="{B81615C9-42DE-460B-9070-D50AD8C994A1}"/>
                  </a:ext>
                </a:extLst>
              </p:cNvPr>
              <p:cNvSpPr/>
              <p:nvPr/>
            </p:nvSpPr>
            <p:spPr>
              <a:xfrm>
                <a:off x="6259255" y="2618420"/>
                <a:ext cx="142036" cy="36574"/>
              </a:xfrm>
              <a:custGeom>
                <a:avLst/>
                <a:gdLst>
                  <a:gd name="connsiteX0" fmla="*/ 135465 w 142036"/>
                  <a:gd name="connsiteY0" fmla="*/ 36575 h 36574"/>
                  <a:gd name="connsiteX1" fmla="*/ 6569 w 142036"/>
                  <a:gd name="connsiteY1" fmla="*/ 36575 h 36574"/>
                  <a:gd name="connsiteX2" fmla="*/ 0 w 142036"/>
                  <a:gd name="connsiteY2" fmla="*/ 30006 h 36574"/>
                  <a:gd name="connsiteX3" fmla="*/ 0 w 142036"/>
                  <a:gd name="connsiteY3" fmla="*/ 6571 h 36574"/>
                  <a:gd name="connsiteX4" fmla="*/ 6569 w 142036"/>
                  <a:gd name="connsiteY4" fmla="*/ 0 h 36574"/>
                  <a:gd name="connsiteX5" fmla="*/ 135465 w 142036"/>
                  <a:gd name="connsiteY5" fmla="*/ 0 h 36574"/>
                  <a:gd name="connsiteX6" fmla="*/ 142036 w 142036"/>
                  <a:gd name="connsiteY6" fmla="*/ 6571 h 36574"/>
                  <a:gd name="connsiteX7" fmla="*/ 142036 w 142036"/>
                  <a:gd name="connsiteY7" fmla="*/ 30006 h 36574"/>
                  <a:gd name="connsiteX8" fmla="*/ 135465 w 142036"/>
                  <a:gd name="connsiteY8" fmla="*/ 36575 h 36574"/>
                  <a:gd name="connsiteX9" fmla="*/ 13140 w 142036"/>
                  <a:gd name="connsiteY9" fmla="*/ 23434 h 36574"/>
                  <a:gd name="connsiteX10" fmla="*/ 128896 w 142036"/>
                  <a:gd name="connsiteY10" fmla="*/ 23434 h 36574"/>
                  <a:gd name="connsiteX11" fmla="*/ 128896 w 142036"/>
                  <a:gd name="connsiteY11" fmla="*/ 13140 h 36574"/>
                  <a:gd name="connsiteX12" fmla="*/ 13140 w 142036"/>
                  <a:gd name="connsiteY12" fmla="*/ 13140 h 36574"/>
                  <a:gd name="connsiteX13" fmla="*/ 13140 w 142036"/>
                  <a:gd name="connsiteY13" fmla="*/ 23434 h 36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036" h="36574">
                    <a:moveTo>
                      <a:pt x="135465" y="36575"/>
                    </a:moveTo>
                    <a:lnTo>
                      <a:pt x="6569" y="36575"/>
                    </a:lnTo>
                    <a:cubicBezTo>
                      <a:pt x="2939" y="36575"/>
                      <a:pt x="0" y="33633"/>
                      <a:pt x="0" y="30006"/>
                    </a:cubicBezTo>
                    <a:lnTo>
                      <a:pt x="0" y="6571"/>
                    </a:lnTo>
                    <a:cubicBezTo>
                      <a:pt x="0" y="2942"/>
                      <a:pt x="2942" y="0"/>
                      <a:pt x="6569" y="0"/>
                    </a:cubicBezTo>
                    <a:lnTo>
                      <a:pt x="135465" y="0"/>
                    </a:lnTo>
                    <a:cubicBezTo>
                      <a:pt x="139094" y="0"/>
                      <a:pt x="142036" y="2942"/>
                      <a:pt x="142036" y="6571"/>
                    </a:cubicBezTo>
                    <a:lnTo>
                      <a:pt x="142036" y="30006"/>
                    </a:lnTo>
                    <a:cubicBezTo>
                      <a:pt x="142036" y="33633"/>
                      <a:pt x="139094" y="36575"/>
                      <a:pt x="135465" y="36575"/>
                    </a:cubicBezTo>
                    <a:close/>
                    <a:moveTo>
                      <a:pt x="13140" y="23434"/>
                    </a:moveTo>
                    <a:lnTo>
                      <a:pt x="128896" y="23434"/>
                    </a:lnTo>
                    <a:lnTo>
                      <a:pt x="128896" y="13140"/>
                    </a:lnTo>
                    <a:lnTo>
                      <a:pt x="13140" y="13140"/>
                    </a:lnTo>
                    <a:lnTo>
                      <a:pt x="13140" y="23434"/>
                    </a:lnTo>
                    <a:close/>
                  </a:path>
                </a:pathLst>
              </a:custGeom>
              <a:grpFill/>
              <a:ln w="274" cap="flat">
                <a:noFill/>
                <a:prstDash val="solid"/>
                <a:miter/>
              </a:ln>
            </p:spPr>
            <p:txBody>
              <a:bodyPr rtlCol="0" anchor="ctr"/>
              <a:lstStyle/>
              <a:p>
                <a:endParaRPr lang="en-GB" dirty="0"/>
              </a:p>
            </p:txBody>
          </p:sp>
          <p:sp>
            <p:nvSpPr>
              <p:cNvPr id="990" name="Freihandform: Form 989">
                <a:extLst>
                  <a:ext uri="{FF2B5EF4-FFF2-40B4-BE49-F238E27FC236}">
                    <a16:creationId xmlns:a16="http://schemas.microsoft.com/office/drawing/2014/main" id="{9E488DEC-AF80-42CF-82C9-D35DA969DD7C}"/>
                  </a:ext>
                </a:extLst>
              </p:cNvPr>
              <p:cNvSpPr/>
              <p:nvPr/>
            </p:nvSpPr>
            <p:spPr>
              <a:xfrm>
                <a:off x="6270971" y="2641855"/>
                <a:ext cx="118601" cy="36577"/>
              </a:xfrm>
              <a:custGeom>
                <a:avLst/>
                <a:gdLst>
                  <a:gd name="connsiteX0" fmla="*/ 112033 w 118601"/>
                  <a:gd name="connsiteY0" fmla="*/ 36577 h 36577"/>
                  <a:gd name="connsiteX1" fmla="*/ 6571 w 118601"/>
                  <a:gd name="connsiteY1" fmla="*/ 36577 h 36577"/>
                  <a:gd name="connsiteX2" fmla="*/ 0 w 118601"/>
                  <a:gd name="connsiteY2" fmla="*/ 30006 h 36577"/>
                  <a:gd name="connsiteX3" fmla="*/ 0 w 118601"/>
                  <a:gd name="connsiteY3" fmla="*/ 6569 h 36577"/>
                  <a:gd name="connsiteX4" fmla="*/ 6571 w 118601"/>
                  <a:gd name="connsiteY4" fmla="*/ 0 h 36577"/>
                  <a:gd name="connsiteX5" fmla="*/ 112033 w 118601"/>
                  <a:gd name="connsiteY5" fmla="*/ 0 h 36577"/>
                  <a:gd name="connsiteX6" fmla="*/ 118602 w 118601"/>
                  <a:gd name="connsiteY6" fmla="*/ 6569 h 36577"/>
                  <a:gd name="connsiteX7" fmla="*/ 118602 w 118601"/>
                  <a:gd name="connsiteY7" fmla="*/ 30006 h 36577"/>
                  <a:gd name="connsiteX8" fmla="*/ 112033 w 118601"/>
                  <a:gd name="connsiteY8" fmla="*/ 36577 h 36577"/>
                  <a:gd name="connsiteX9" fmla="*/ 13143 w 118601"/>
                  <a:gd name="connsiteY9" fmla="*/ 23437 h 36577"/>
                  <a:gd name="connsiteX10" fmla="*/ 105464 w 118601"/>
                  <a:gd name="connsiteY10" fmla="*/ 23437 h 36577"/>
                  <a:gd name="connsiteX11" fmla="*/ 105464 w 118601"/>
                  <a:gd name="connsiteY11" fmla="*/ 13140 h 36577"/>
                  <a:gd name="connsiteX12" fmla="*/ 13143 w 118601"/>
                  <a:gd name="connsiteY12" fmla="*/ 13140 h 36577"/>
                  <a:gd name="connsiteX13" fmla="*/ 13143 w 118601"/>
                  <a:gd name="connsiteY13" fmla="*/ 23437 h 3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601" h="36577">
                    <a:moveTo>
                      <a:pt x="112033" y="36577"/>
                    </a:moveTo>
                    <a:lnTo>
                      <a:pt x="6571" y="36577"/>
                    </a:lnTo>
                    <a:cubicBezTo>
                      <a:pt x="2942" y="36577"/>
                      <a:pt x="0" y="33635"/>
                      <a:pt x="0" y="30006"/>
                    </a:cubicBezTo>
                    <a:lnTo>
                      <a:pt x="0" y="6569"/>
                    </a:lnTo>
                    <a:cubicBezTo>
                      <a:pt x="0" y="2939"/>
                      <a:pt x="2942" y="0"/>
                      <a:pt x="6571" y="0"/>
                    </a:cubicBezTo>
                    <a:lnTo>
                      <a:pt x="112033" y="0"/>
                    </a:lnTo>
                    <a:cubicBezTo>
                      <a:pt x="115663" y="0"/>
                      <a:pt x="118602" y="2942"/>
                      <a:pt x="118602" y="6569"/>
                    </a:cubicBezTo>
                    <a:lnTo>
                      <a:pt x="118602" y="30006"/>
                    </a:lnTo>
                    <a:cubicBezTo>
                      <a:pt x="118605" y="33635"/>
                      <a:pt x="115663" y="36577"/>
                      <a:pt x="112033" y="36577"/>
                    </a:cubicBezTo>
                    <a:close/>
                    <a:moveTo>
                      <a:pt x="13143" y="23437"/>
                    </a:moveTo>
                    <a:lnTo>
                      <a:pt x="105464" y="23437"/>
                    </a:lnTo>
                    <a:lnTo>
                      <a:pt x="105464" y="13140"/>
                    </a:lnTo>
                    <a:lnTo>
                      <a:pt x="13143" y="13140"/>
                    </a:lnTo>
                    <a:lnTo>
                      <a:pt x="13143" y="23437"/>
                    </a:lnTo>
                    <a:close/>
                  </a:path>
                </a:pathLst>
              </a:custGeom>
              <a:grpFill/>
              <a:ln w="274" cap="flat">
                <a:noFill/>
                <a:prstDash val="solid"/>
                <a:miter/>
              </a:ln>
            </p:spPr>
            <p:txBody>
              <a:bodyPr rtlCol="0" anchor="ctr"/>
              <a:lstStyle/>
              <a:p>
                <a:endParaRPr lang="en-GB" dirty="0"/>
              </a:p>
            </p:txBody>
          </p:sp>
          <p:sp>
            <p:nvSpPr>
              <p:cNvPr id="991" name="Freihandform: Form 990">
                <a:extLst>
                  <a:ext uri="{FF2B5EF4-FFF2-40B4-BE49-F238E27FC236}">
                    <a16:creationId xmlns:a16="http://schemas.microsoft.com/office/drawing/2014/main" id="{97A1C1A6-518A-457C-B1F5-24D88C7C80B7}"/>
                  </a:ext>
                </a:extLst>
              </p:cNvPr>
              <p:cNvSpPr/>
              <p:nvPr/>
            </p:nvSpPr>
            <p:spPr>
              <a:xfrm>
                <a:off x="6282691" y="2665292"/>
                <a:ext cx="95168" cy="93033"/>
              </a:xfrm>
              <a:custGeom>
                <a:avLst/>
                <a:gdLst>
                  <a:gd name="connsiteX0" fmla="*/ 16366 w 95168"/>
                  <a:gd name="connsiteY0" fmla="*/ 93034 h 93033"/>
                  <a:gd name="connsiteX1" fmla="*/ 9855 w 95168"/>
                  <a:gd name="connsiteY1" fmla="*/ 87265 h 93033"/>
                  <a:gd name="connsiteX2" fmla="*/ 48 w 95168"/>
                  <a:gd name="connsiteY2" fmla="*/ 7371 h 93033"/>
                  <a:gd name="connsiteX3" fmla="*/ 1648 w 95168"/>
                  <a:gd name="connsiteY3" fmla="*/ 2216 h 93033"/>
                  <a:gd name="connsiteX4" fmla="*/ 6571 w 95168"/>
                  <a:gd name="connsiteY4" fmla="*/ 0 h 93033"/>
                  <a:gd name="connsiteX5" fmla="*/ 88598 w 95168"/>
                  <a:gd name="connsiteY5" fmla="*/ 0 h 93033"/>
                  <a:gd name="connsiteX6" fmla="*/ 93523 w 95168"/>
                  <a:gd name="connsiteY6" fmla="*/ 2219 h 93033"/>
                  <a:gd name="connsiteX7" fmla="*/ 95117 w 95168"/>
                  <a:gd name="connsiteY7" fmla="*/ 7380 h 93033"/>
                  <a:gd name="connsiteX8" fmla="*/ 85176 w 95168"/>
                  <a:gd name="connsiteY8" fmla="*/ 87136 h 93033"/>
                  <a:gd name="connsiteX9" fmla="*/ 77846 w 95168"/>
                  <a:gd name="connsiteY9" fmla="*/ 92842 h 93033"/>
                  <a:gd name="connsiteX10" fmla="*/ 72140 w 95168"/>
                  <a:gd name="connsiteY10" fmla="*/ 85512 h 93033"/>
                  <a:gd name="connsiteX11" fmla="*/ 81161 w 95168"/>
                  <a:gd name="connsiteY11" fmla="*/ 13137 h 93033"/>
                  <a:gd name="connsiteX12" fmla="*/ 13999 w 95168"/>
                  <a:gd name="connsiteY12" fmla="*/ 13137 h 93033"/>
                  <a:gd name="connsiteX13" fmla="*/ 22902 w 95168"/>
                  <a:gd name="connsiteY13" fmla="*/ 85660 h 93033"/>
                  <a:gd name="connsiteX14" fmla="*/ 17182 w 95168"/>
                  <a:gd name="connsiteY14" fmla="*/ 92984 h 93033"/>
                  <a:gd name="connsiteX15" fmla="*/ 16366 w 95168"/>
                  <a:gd name="connsiteY15" fmla="*/ 93034 h 93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168" h="93033">
                    <a:moveTo>
                      <a:pt x="16366" y="93034"/>
                    </a:moveTo>
                    <a:cubicBezTo>
                      <a:pt x="13098" y="93034"/>
                      <a:pt x="10263" y="90593"/>
                      <a:pt x="9855" y="87265"/>
                    </a:cubicBezTo>
                    <a:lnTo>
                      <a:pt x="48" y="7371"/>
                    </a:lnTo>
                    <a:cubicBezTo>
                      <a:pt x="-179" y="5500"/>
                      <a:pt x="402" y="3624"/>
                      <a:pt x="1648" y="2216"/>
                    </a:cubicBezTo>
                    <a:cubicBezTo>
                      <a:pt x="2897" y="808"/>
                      <a:pt x="4686" y="0"/>
                      <a:pt x="6571" y="0"/>
                    </a:cubicBezTo>
                    <a:lnTo>
                      <a:pt x="88598" y="0"/>
                    </a:lnTo>
                    <a:cubicBezTo>
                      <a:pt x="90480" y="0"/>
                      <a:pt x="92274" y="808"/>
                      <a:pt x="93523" y="2219"/>
                    </a:cubicBezTo>
                    <a:cubicBezTo>
                      <a:pt x="94772" y="3632"/>
                      <a:pt x="95353" y="5514"/>
                      <a:pt x="95117" y="7380"/>
                    </a:cubicBezTo>
                    <a:lnTo>
                      <a:pt x="85176" y="87136"/>
                    </a:lnTo>
                    <a:cubicBezTo>
                      <a:pt x="84727" y="90738"/>
                      <a:pt x="81413" y="93286"/>
                      <a:pt x="77846" y="92842"/>
                    </a:cubicBezTo>
                    <a:cubicBezTo>
                      <a:pt x="74244" y="92393"/>
                      <a:pt x="71691" y="89111"/>
                      <a:pt x="72140" y="85512"/>
                    </a:cubicBezTo>
                    <a:lnTo>
                      <a:pt x="81161" y="13137"/>
                    </a:lnTo>
                    <a:lnTo>
                      <a:pt x="13999" y="13137"/>
                    </a:lnTo>
                    <a:lnTo>
                      <a:pt x="22902" y="85660"/>
                    </a:lnTo>
                    <a:cubicBezTo>
                      <a:pt x="23346" y="89262"/>
                      <a:pt x="20782" y="92541"/>
                      <a:pt x="17182" y="92984"/>
                    </a:cubicBezTo>
                    <a:cubicBezTo>
                      <a:pt x="16906" y="93017"/>
                      <a:pt x="16635" y="93034"/>
                      <a:pt x="16366" y="93034"/>
                    </a:cubicBezTo>
                    <a:close/>
                  </a:path>
                </a:pathLst>
              </a:custGeom>
              <a:grpFill/>
              <a:ln w="274" cap="flat">
                <a:noFill/>
                <a:prstDash val="solid"/>
                <a:miter/>
              </a:ln>
            </p:spPr>
            <p:txBody>
              <a:bodyPr rtlCol="0" anchor="ctr"/>
              <a:lstStyle/>
              <a:p>
                <a:endParaRPr lang="en-GB" dirty="0"/>
              </a:p>
            </p:txBody>
          </p:sp>
        </p:grpSp>
        <p:grpSp>
          <p:nvGrpSpPr>
            <p:cNvPr id="982" name="Grafik 349">
              <a:extLst>
                <a:ext uri="{FF2B5EF4-FFF2-40B4-BE49-F238E27FC236}">
                  <a16:creationId xmlns:a16="http://schemas.microsoft.com/office/drawing/2014/main" id="{662EDB21-9F5C-4276-BFFA-7C8B2FAB80A9}"/>
                </a:ext>
              </a:extLst>
            </p:cNvPr>
            <p:cNvGrpSpPr/>
            <p:nvPr/>
          </p:nvGrpSpPr>
          <p:grpSpPr>
            <a:xfrm>
              <a:off x="5981423" y="2747082"/>
              <a:ext cx="553735" cy="134259"/>
              <a:chOff x="6061571" y="2767230"/>
              <a:chExt cx="537063" cy="130217"/>
            </a:xfrm>
            <a:solidFill>
              <a:schemeClr val="accent1"/>
            </a:solidFill>
          </p:grpSpPr>
          <p:sp>
            <p:nvSpPr>
              <p:cNvPr id="983" name="Freihandform: Form 982">
                <a:extLst>
                  <a:ext uri="{FF2B5EF4-FFF2-40B4-BE49-F238E27FC236}">
                    <a16:creationId xmlns:a16="http://schemas.microsoft.com/office/drawing/2014/main" id="{16120BE6-75CF-4FE6-AA01-108A58BDFC2D}"/>
                  </a:ext>
                </a:extLst>
              </p:cNvPr>
              <p:cNvSpPr/>
              <p:nvPr/>
            </p:nvSpPr>
            <p:spPr>
              <a:xfrm>
                <a:off x="6152573" y="2779472"/>
                <a:ext cx="102491" cy="107047"/>
              </a:xfrm>
              <a:custGeom>
                <a:avLst/>
                <a:gdLst>
                  <a:gd name="connsiteX0" fmla="*/ 84154 w 102491"/>
                  <a:gd name="connsiteY0" fmla="*/ 107048 h 107047"/>
                  <a:gd name="connsiteX1" fmla="*/ 79561 w 102491"/>
                  <a:gd name="connsiteY1" fmla="*/ 105905 h 107047"/>
                  <a:gd name="connsiteX2" fmla="*/ 55773 w 102491"/>
                  <a:gd name="connsiteY2" fmla="*/ 93398 h 107047"/>
                  <a:gd name="connsiteX3" fmla="*/ 31985 w 102491"/>
                  <a:gd name="connsiteY3" fmla="*/ 105905 h 107047"/>
                  <a:gd name="connsiteX4" fmla="*/ 21612 w 102491"/>
                  <a:gd name="connsiteY4" fmla="*/ 105157 h 107047"/>
                  <a:gd name="connsiteX5" fmla="*/ 17686 w 102491"/>
                  <a:gd name="connsiteY5" fmla="*/ 95518 h 107047"/>
                  <a:gd name="connsiteX6" fmla="*/ 22228 w 102491"/>
                  <a:gd name="connsiteY6" fmla="*/ 69027 h 107047"/>
                  <a:gd name="connsiteX7" fmla="*/ 2982 w 102491"/>
                  <a:gd name="connsiteY7" fmla="*/ 50268 h 107047"/>
                  <a:gd name="connsiteX8" fmla="*/ 489 w 102491"/>
                  <a:gd name="connsiteY8" fmla="*/ 40168 h 107047"/>
                  <a:gd name="connsiteX9" fmla="*/ 8449 w 102491"/>
                  <a:gd name="connsiteY9" fmla="*/ 33457 h 107047"/>
                  <a:gd name="connsiteX10" fmla="*/ 35045 w 102491"/>
                  <a:gd name="connsiteY10" fmla="*/ 29590 h 107047"/>
                  <a:gd name="connsiteX11" fmla="*/ 46933 w 102491"/>
                  <a:gd name="connsiteY11" fmla="*/ 5495 h 107047"/>
                  <a:gd name="connsiteX12" fmla="*/ 55776 w 102491"/>
                  <a:gd name="connsiteY12" fmla="*/ 0 h 107047"/>
                  <a:gd name="connsiteX13" fmla="*/ 64610 w 102491"/>
                  <a:gd name="connsiteY13" fmla="*/ 5492 h 107047"/>
                  <a:gd name="connsiteX14" fmla="*/ 76506 w 102491"/>
                  <a:gd name="connsiteY14" fmla="*/ 29592 h 107047"/>
                  <a:gd name="connsiteX15" fmla="*/ 83155 w 102491"/>
                  <a:gd name="connsiteY15" fmla="*/ 30556 h 107047"/>
                  <a:gd name="connsiteX16" fmla="*/ 88710 w 102491"/>
                  <a:gd name="connsiteY16" fmla="*/ 38004 h 107047"/>
                  <a:gd name="connsiteX17" fmla="*/ 81262 w 102491"/>
                  <a:gd name="connsiteY17" fmla="*/ 43560 h 107047"/>
                  <a:gd name="connsiteX18" fmla="*/ 71198 w 102491"/>
                  <a:gd name="connsiteY18" fmla="*/ 42097 h 107047"/>
                  <a:gd name="connsiteX19" fmla="*/ 66253 w 102491"/>
                  <a:gd name="connsiteY19" fmla="*/ 38500 h 107047"/>
                  <a:gd name="connsiteX20" fmla="*/ 55776 w 102491"/>
                  <a:gd name="connsiteY20" fmla="*/ 17276 h 107047"/>
                  <a:gd name="connsiteX21" fmla="*/ 45301 w 102491"/>
                  <a:gd name="connsiteY21" fmla="*/ 38500 h 107047"/>
                  <a:gd name="connsiteX22" fmla="*/ 40354 w 102491"/>
                  <a:gd name="connsiteY22" fmla="*/ 42097 h 107047"/>
                  <a:gd name="connsiteX23" fmla="*/ 16925 w 102491"/>
                  <a:gd name="connsiteY23" fmla="*/ 45505 h 107047"/>
                  <a:gd name="connsiteX24" fmla="*/ 33875 w 102491"/>
                  <a:gd name="connsiteY24" fmla="*/ 62025 h 107047"/>
                  <a:gd name="connsiteX25" fmla="*/ 35765 w 102491"/>
                  <a:gd name="connsiteY25" fmla="*/ 67841 h 107047"/>
                  <a:gd name="connsiteX26" fmla="*/ 31761 w 102491"/>
                  <a:gd name="connsiteY26" fmla="*/ 91176 h 107047"/>
                  <a:gd name="connsiteX27" fmla="*/ 52716 w 102491"/>
                  <a:gd name="connsiteY27" fmla="*/ 80156 h 107047"/>
                  <a:gd name="connsiteX28" fmla="*/ 58830 w 102491"/>
                  <a:gd name="connsiteY28" fmla="*/ 80156 h 107047"/>
                  <a:gd name="connsiteX29" fmla="*/ 79783 w 102491"/>
                  <a:gd name="connsiteY29" fmla="*/ 91176 h 107047"/>
                  <a:gd name="connsiteX30" fmla="*/ 75778 w 102491"/>
                  <a:gd name="connsiteY30" fmla="*/ 67841 h 107047"/>
                  <a:gd name="connsiteX31" fmla="*/ 77671 w 102491"/>
                  <a:gd name="connsiteY31" fmla="*/ 62025 h 107047"/>
                  <a:gd name="connsiteX32" fmla="*/ 91337 w 102491"/>
                  <a:gd name="connsiteY32" fmla="*/ 48710 h 107047"/>
                  <a:gd name="connsiteX33" fmla="*/ 100628 w 102491"/>
                  <a:gd name="connsiteY33" fmla="*/ 48830 h 107047"/>
                  <a:gd name="connsiteX34" fmla="*/ 100508 w 102491"/>
                  <a:gd name="connsiteY34" fmla="*/ 58122 h 107047"/>
                  <a:gd name="connsiteX35" fmla="*/ 89318 w 102491"/>
                  <a:gd name="connsiteY35" fmla="*/ 69027 h 107047"/>
                  <a:gd name="connsiteX36" fmla="*/ 93860 w 102491"/>
                  <a:gd name="connsiteY36" fmla="*/ 95515 h 107047"/>
                  <a:gd name="connsiteX37" fmla="*/ 89943 w 102491"/>
                  <a:gd name="connsiteY37" fmla="*/ 105152 h 107047"/>
                  <a:gd name="connsiteX38" fmla="*/ 84154 w 102491"/>
                  <a:gd name="connsiteY38" fmla="*/ 107048 h 107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2491" h="107047">
                    <a:moveTo>
                      <a:pt x="84154" y="107048"/>
                    </a:moveTo>
                    <a:cubicBezTo>
                      <a:pt x="82588" y="107048"/>
                      <a:pt x="81013" y="106670"/>
                      <a:pt x="79561" y="105905"/>
                    </a:cubicBezTo>
                    <a:lnTo>
                      <a:pt x="55773" y="93398"/>
                    </a:lnTo>
                    <a:lnTo>
                      <a:pt x="31985" y="105905"/>
                    </a:lnTo>
                    <a:cubicBezTo>
                      <a:pt x="28643" y="107656"/>
                      <a:pt x="24663" y="107365"/>
                      <a:pt x="21612" y="105157"/>
                    </a:cubicBezTo>
                    <a:cubicBezTo>
                      <a:pt x="18555" y="102939"/>
                      <a:pt x="17051" y="99241"/>
                      <a:pt x="17686" y="95518"/>
                    </a:cubicBezTo>
                    <a:lnTo>
                      <a:pt x="22228" y="69027"/>
                    </a:lnTo>
                    <a:lnTo>
                      <a:pt x="2982" y="50268"/>
                    </a:lnTo>
                    <a:cubicBezTo>
                      <a:pt x="278" y="47633"/>
                      <a:pt x="-678" y="43762"/>
                      <a:pt x="489" y="40168"/>
                    </a:cubicBezTo>
                    <a:cubicBezTo>
                      <a:pt x="1656" y="36572"/>
                      <a:pt x="4705" y="34002"/>
                      <a:pt x="8449" y="33457"/>
                    </a:cubicBezTo>
                    <a:lnTo>
                      <a:pt x="35045" y="29590"/>
                    </a:lnTo>
                    <a:lnTo>
                      <a:pt x="46933" y="5495"/>
                    </a:lnTo>
                    <a:cubicBezTo>
                      <a:pt x="48613" y="2104"/>
                      <a:pt x="51995" y="0"/>
                      <a:pt x="55776" y="0"/>
                    </a:cubicBezTo>
                    <a:cubicBezTo>
                      <a:pt x="59550" y="0"/>
                      <a:pt x="62936" y="2104"/>
                      <a:pt x="64610" y="5492"/>
                    </a:cubicBezTo>
                    <a:lnTo>
                      <a:pt x="76506" y="29592"/>
                    </a:lnTo>
                    <a:lnTo>
                      <a:pt x="83155" y="30556"/>
                    </a:lnTo>
                    <a:cubicBezTo>
                      <a:pt x="86743" y="31080"/>
                      <a:pt x="89230" y="34413"/>
                      <a:pt x="88710" y="38004"/>
                    </a:cubicBezTo>
                    <a:cubicBezTo>
                      <a:pt x="88187" y="41596"/>
                      <a:pt x="84812" y="44056"/>
                      <a:pt x="81262" y="43560"/>
                    </a:cubicBezTo>
                    <a:lnTo>
                      <a:pt x="71198" y="42097"/>
                    </a:lnTo>
                    <a:cubicBezTo>
                      <a:pt x="69058" y="41785"/>
                      <a:pt x="67209" y="40442"/>
                      <a:pt x="66253" y="38500"/>
                    </a:cubicBezTo>
                    <a:lnTo>
                      <a:pt x="55776" y="17276"/>
                    </a:lnTo>
                    <a:lnTo>
                      <a:pt x="45301" y="38500"/>
                    </a:lnTo>
                    <a:cubicBezTo>
                      <a:pt x="44342" y="40442"/>
                      <a:pt x="42493" y="41785"/>
                      <a:pt x="40354" y="42097"/>
                    </a:cubicBezTo>
                    <a:lnTo>
                      <a:pt x="16925" y="45505"/>
                    </a:lnTo>
                    <a:lnTo>
                      <a:pt x="33875" y="62025"/>
                    </a:lnTo>
                    <a:cubicBezTo>
                      <a:pt x="35420" y="63537"/>
                      <a:pt x="36127" y="65712"/>
                      <a:pt x="35765" y="67841"/>
                    </a:cubicBezTo>
                    <a:lnTo>
                      <a:pt x="31761" y="91176"/>
                    </a:lnTo>
                    <a:lnTo>
                      <a:pt x="52716" y="80156"/>
                    </a:lnTo>
                    <a:cubicBezTo>
                      <a:pt x="54628" y="79148"/>
                      <a:pt x="56918" y="79148"/>
                      <a:pt x="58830" y="80156"/>
                    </a:cubicBezTo>
                    <a:lnTo>
                      <a:pt x="79783" y="91176"/>
                    </a:lnTo>
                    <a:lnTo>
                      <a:pt x="75778" y="67841"/>
                    </a:lnTo>
                    <a:cubicBezTo>
                      <a:pt x="75416" y="65709"/>
                      <a:pt x="76120" y="63534"/>
                      <a:pt x="77671" y="62025"/>
                    </a:cubicBezTo>
                    <a:lnTo>
                      <a:pt x="91337" y="48710"/>
                    </a:lnTo>
                    <a:cubicBezTo>
                      <a:pt x="93936" y="46176"/>
                      <a:pt x="98092" y="46231"/>
                      <a:pt x="100628" y="48830"/>
                    </a:cubicBezTo>
                    <a:cubicBezTo>
                      <a:pt x="103159" y="51430"/>
                      <a:pt x="103105" y="55585"/>
                      <a:pt x="100508" y="58122"/>
                    </a:cubicBezTo>
                    <a:lnTo>
                      <a:pt x="89318" y="69027"/>
                    </a:lnTo>
                    <a:lnTo>
                      <a:pt x="93860" y="95515"/>
                    </a:lnTo>
                    <a:cubicBezTo>
                      <a:pt x="94498" y="99238"/>
                      <a:pt x="92997" y="102928"/>
                      <a:pt x="89943" y="105152"/>
                    </a:cubicBezTo>
                    <a:cubicBezTo>
                      <a:pt x="88211" y="106409"/>
                      <a:pt x="86190" y="107048"/>
                      <a:pt x="84154" y="107048"/>
                    </a:cubicBezTo>
                    <a:close/>
                  </a:path>
                </a:pathLst>
              </a:custGeom>
              <a:solidFill>
                <a:schemeClr val="accent1"/>
              </a:solidFill>
              <a:ln w="274" cap="flat">
                <a:noFill/>
                <a:prstDash val="solid"/>
                <a:miter/>
              </a:ln>
            </p:spPr>
            <p:txBody>
              <a:bodyPr rtlCol="0" anchor="ctr"/>
              <a:lstStyle/>
              <a:p>
                <a:endParaRPr lang="en-GB" dirty="0"/>
              </a:p>
            </p:txBody>
          </p:sp>
          <p:sp>
            <p:nvSpPr>
              <p:cNvPr id="984" name="Freihandform: Form 983">
                <a:extLst>
                  <a:ext uri="{FF2B5EF4-FFF2-40B4-BE49-F238E27FC236}">
                    <a16:creationId xmlns:a16="http://schemas.microsoft.com/office/drawing/2014/main" id="{5B844BA6-F6C0-49D5-8395-D0129E879454}"/>
                  </a:ext>
                </a:extLst>
              </p:cNvPr>
              <p:cNvSpPr/>
              <p:nvPr/>
            </p:nvSpPr>
            <p:spPr>
              <a:xfrm>
                <a:off x="6402822" y="2779475"/>
                <a:ext cx="102911" cy="107045"/>
              </a:xfrm>
              <a:custGeom>
                <a:avLst/>
                <a:gdLst>
                  <a:gd name="connsiteX0" fmla="*/ 18762 w 102911"/>
                  <a:gd name="connsiteY0" fmla="*/ 107045 h 107045"/>
                  <a:gd name="connsiteX1" fmla="*/ 12983 w 102911"/>
                  <a:gd name="connsiteY1" fmla="*/ 105155 h 107045"/>
                  <a:gd name="connsiteX2" fmla="*/ 9057 w 102911"/>
                  <a:gd name="connsiteY2" fmla="*/ 95515 h 107045"/>
                  <a:gd name="connsiteX3" fmla="*/ 13588 w 102911"/>
                  <a:gd name="connsiteY3" fmla="*/ 69117 h 107045"/>
                  <a:gd name="connsiteX4" fmla="*/ 2089 w 102911"/>
                  <a:gd name="connsiteY4" fmla="*/ 58393 h 107045"/>
                  <a:gd name="connsiteX5" fmla="*/ 1765 w 102911"/>
                  <a:gd name="connsiteY5" fmla="*/ 49107 h 107045"/>
                  <a:gd name="connsiteX6" fmla="*/ 11051 w 102911"/>
                  <a:gd name="connsiteY6" fmla="*/ 48784 h 107045"/>
                  <a:gd name="connsiteX7" fmla="*/ 25145 w 102911"/>
                  <a:gd name="connsiteY7" fmla="*/ 61927 h 107045"/>
                  <a:gd name="connsiteX8" fmla="*/ 27139 w 102911"/>
                  <a:gd name="connsiteY8" fmla="*/ 67843 h 107045"/>
                  <a:gd name="connsiteX9" fmla="*/ 23134 w 102911"/>
                  <a:gd name="connsiteY9" fmla="*/ 91179 h 107045"/>
                  <a:gd name="connsiteX10" fmla="*/ 44090 w 102911"/>
                  <a:gd name="connsiteY10" fmla="*/ 80159 h 107045"/>
                  <a:gd name="connsiteX11" fmla="*/ 50204 w 102911"/>
                  <a:gd name="connsiteY11" fmla="*/ 80159 h 107045"/>
                  <a:gd name="connsiteX12" fmla="*/ 71159 w 102911"/>
                  <a:gd name="connsiteY12" fmla="*/ 91179 h 107045"/>
                  <a:gd name="connsiteX13" fmla="*/ 67154 w 102911"/>
                  <a:gd name="connsiteY13" fmla="*/ 67843 h 107045"/>
                  <a:gd name="connsiteX14" fmla="*/ 69044 w 102911"/>
                  <a:gd name="connsiteY14" fmla="*/ 62031 h 107045"/>
                  <a:gd name="connsiteX15" fmla="*/ 85995 w 102911"/>
                  <a:gd name="connsiteY15" fmla="*/ 45505 h 107045"/>
                  <a:gd name="connsiteX16" fmla="*/ 62566 w 102911"/>
                  <a:gd name="connsiteY16" fmla="*/ 42097 h 107045"/>
                  <a:gd name="connsiteX17" fmla="*/ 57622 w 102911"/>
                  <a:gd name="connsiteY17" fmla="*/ 38500 h 107045"/>
                  <a:gd name="connsiteX18" fmla="*/ 47144 w 102911"/>
                  <a:gd name="connsiteY18" fmla="*/ 17277 h 107045"/>
                  <a:gd name="connsiteX19" fmla="*/ 36666 w 102911"/>
                  <a:gd name="connsiteY19" fmla="*/ 38500 h 107045"/>
                  <a:gd name="connsiteX20" fmla="*/ 31722 w 102911"/>
                  <a:gd name="connsiteY20" fmla="*/ 42097 h 107045"/>
                  <a:gd name="connsiteX21" fmla="*/ 19201 w 102911"/>
                  <a:gd name="connsiteY21" fmla="*/ 43919 h 107045"/>
                  <a:gd name="connsiteX22" fmla="*/ 11753 w 102911"/>
                  <a:gd name="connsiteY22" fmla="*/ 38363 h 107045"/>
                  <a:gd name="connsiteX23" fmla="*/ 17308 w 102911"/>
                  <a:gd name="connsiteY23" fmla="*/ 30915 h 107045"/>
                  <a:gd name="connsiteX24" fmla="*/ 26413 w 102911"/>
                  <a:gd name="connsiteY24" fmla="*/ 29590 h 107045"/>
                  <a:gd name="connsiteX25" fmla="*/ 38310 w 102911"/>
                  <a:gd name="connsiteY25" fmla="*/ 5495 h 107045"/>
                  <a:gd name="connsiteX26" fmla="*/ 47144 w 102911"/>
                  <a:gd name="connsiteY26" fmla="*/ 0 h 107045"/>
                  <a:gd name="connsiteX27" fmla="*/ 55981 w 102911"/>
                  <a:gd name="connsiteY27" fmla="*/ 5498 h 107045"/>
                  <a:gd name="connsiteX28" fmla="*/ 67872 w 102911"/>
                  <a:gd name="connsiteY28" fmla="*/ 29590 h 107045"/>
                  <a:gd name="connsiteX29" fmla="*/ 94470 w 102911"/>
                  <a:gd name="connsiteY29" fmla="*/ 33457 h 107045"/>
                  <a:gd name="connsiteX30" fmla="*/ 102422 w 102911"/>
                  <a:gd name="connsiteY30" fmla="*/ 40166 h 107045"/>
                  <a:gd name="connsiteX31" fmla="*/ 99927 w 102911"/>
                  <a:gd name="connsiteY31" fmla="*/ 50268 h 107045"/>
                  <a:gd name="connsiteX32" fmla="*/ 80689 w 102911"/>
                  <a:gd name="connsiteY32" fmla="*/ 69027 h 107045"/>
                  <a:gd name="connsiteX33" fmla="*/ 85231 w 102911"/>
                  <a:gd name="connsiteY33" fmla="*/ 95515 h 107045"/>
                  <a:gd name="connsiteX34" fmla="*/ 81305 w 102911"/>
                  <a:gd name="connsiteY34" fmla="*/ 105158 h 107045"/>
                  <a:gd name="connsiteX35" fmla="*/ 70932 w 102911"/>
                  <a:gd name="connsiteY35" fmla="*/ 105905 h 107045"/>
                  <a:gd name="connsiteX36" fmla="*/ 47144 w 102911"/>
                  <a:gd name="connsiteY36" fmla="*/ 93398 h 107045"/>
                  <a:gd name="connsiteX37" fmla="*/ 23356 w 102911"/>
                  <a:gd name="connsiteY37" fmla="*/ 105905 h 107045"/>
                  <a:gd name="connsiteX38" fmla="*/ 18762 w 102911"/>
                  <a:gd name="connsiteY38" fmla="*/ 107045 h 1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2911" h="107045">
                    <a:moveTo>
                      <a:pt x="18762" y="107045"/>
                    </a:moveTo>
                    <a:cubicBezTo>
                      <a:pt x="16730" y="107045"/>
                      <a:pt x="14708" y="106407"/>
                      <a:pt x="12983" y="105155"/>
                    </a:cubicBezTo>
                    <a:cubicBezTo>
                      <a:pt x="9926" y="102936"/>
                      <a:pt x="8422" y="99238"/>
                      <a:pt x="9057" y="95515"/>
                    </a:cubicBezTo>
                    <a:lnTo>
                      <a:pt x="13588" y="69117"/>
                    </a:lnTo>
                    <a:lnTo>
                      <a:pt x="2089" y="58393"/>
                    </a:lnTo>
                    <a:cubicBezTo>
                      <a:pt x="-566" y="55917"/>
                      <a:pt x="-708" y="51758"/>
                      <a:pt x="1765" y="49107"/>
                    </a:cubicBezTo>
                    <a:cubicBezTo>
                      <a:pt x="4244" y="46452"/>
                      <a:pt x="8397" y="46313"/>
                      <a:pt x="11051" y="48784"/>
                    </a:cubicBezTo>
                    <a:lnTo>
                      <a:pt x="25145" y="61927"/>
                    </a:lnTo>
                    <a:cubicBezTo>
                      <a:pt x="26761" y="63439"/>
                      <a:pt x="27512" y="65660"/>
                      <a:pt x="27139" y="67843"/>
                    </a:cubicBezTo>
                    <a:lnTo>
                      <a:pt x="23134" y="91179"/>
                    </a:lnTo>
                    <a:lnTo>
                      <a:pt x="44090" y="80159"/>
                    </a:lnTo>
                    <a:cubicBezTo>
                      <a:pt x="46002" y="79151"/>
                      <a:pt x="48292" y="79151"/>
                      <a:pt x="50204" y="80159"/>
                    </a:cubicBezTo>
                    <a:lnTo>
                      <a:pt x="71159" y="91179"/>
                    </a:lnTo>
                    <a:lnTo>
                      <a:pt x="67154" y="67843"/>
                    </a:lnTo>
                    <a:cubicBezTo>
                      <a:pt x="66793" y="65712"/>
                      <a:pt x="67497" y="63537"/>
                      <a:pt x="69044" y="62031"/>
                    </a:cubicBezTo>
                    <a:lnTo>
                      <a:pt x="85995" y="45505"/>
                    </a:lnTo>
                    <a:lnTo>
                      <a:pt x="62566" y="42097"/>
                    </a:lnTo>
                    <a:cubicBezTo>
                      <a:pt x="60427" y="41785"/>
                      <a:pt x="58578" y="40443"/>
                      <a:pt x="57622" y="38500"/>
                    </a:cubicBezTo>
                    <a:lnTo>
                      <a:pt x="47144" y="17277"/>
                    </a:lnTo>
                    <a:lnTo>
                      <a:pt x="36666" y="38500"/>
                    </a:lnTo>
                    <a:cubicBezTo>
                      <a:pt x="35710" y="40443"/>
                      <a:pt x="33861" y="41785"/>
                      <a:pt x="31722" y="42097"/>
                    </a:cubicBezTo>
                    <a:lnTo>
                      <a:pt x="19201" y="43919"/>
                    </a:lnTo>
                    <a:cubicBezTo>
                      <a:pt x="15618" y="44412"/>
                      <a:pt x="12279" y="41955"/>
                      <a:pt x="11753" y="38363"/>
                    </a:cubicBezTo>
                    <a:cubicBezTo>
                      <a:pt x="11229" y="34772"/>
                      <a:pt x="13719" y="31436"/>
                      <a:pt x="17308" y="30915"/>
                    </a:cubicBezTo>
                    <a:lnTo>
                      <a:pt x="26413" y="29590"/>
                    </a:lnTo>
                    <a:lnTo>
                      <a:pt x="38310" y="5495"/>
                    </a:lnTo>
                    <a:cubicBezTo>
                      <a:pt x="39978" y="2106"/>
                      <a:pt x="43364" y="0"/>
                      <a:pt x="47144" y="0"/>
                    </a:cubicBezTo>
                    <a:cubicBezTo>
                      <a:pt x="50924" y="0"/>
                      <a:pt x="54310" y="2106"/>
                      <a:pt x="55981" y="5498"/>
                    </a:cubicBezTo>
                    <a:lnTo>
                      <a:pt x="67872" y="29590"/>
                    </a:lnTo>
                    <a:lnTo>
                      <a:pt x="94470" y="33457"/>
                    </a:lnTo>
                    <a:cubicBezTo>
                      <a:pt x="98207" y="34002"/>
                      <a:pt x="101258" y="36572"/>
                      <a:pt x="102422" y="40166"/>
                    </a:cubicBezTo>
                    <a:cubicBezTo>
                      <a:pt x="103589" y="43763"/>
                      <a:pt x="102633" y="47630"/>
                      <a:pt x="99927" y="50268"/>
                    </a:cubicBezTo>
                    <a:lnTo>
                      <a:pt x="80689" y="69027"/>
                    </a:lnTo>
                    <a:lnTo>
                      <a:pt x="85231" y="95515"/>
                    </a:lnTo>
                    <a:cubicBezTo>
                      <a:pt x="85866" y="99244"/>
                      <a:pt x="84362" y="102939"/>
                      <a:pt x="81305" y="105158"/>
                    </a:cubicBezTo>
                    <a:cubicBezTo>
                      <a:pt x="78248" y="107365"/>
                      <a:pt x="74268" y="107656"/>
                      <a:pt x="70932" y="105905"/>
                    </a:cubicBezTo>
                    <a:lnTo>
                      <a:pt x="47144" y="93398"/>
                    </a:lnTo>
                    <a:lnTo>
                      <a:pt x="23356" y="105905"/>
                    </a:lnTo>
                    <a:cubicBezTo>
                      <a:pt x="21904" y="106667"/>
                      <a:pt x="20329" y="107045"/>
                      <a:pt x="18762" y="107045"/>
                    </a:cubicBezTo>
                    <a:close/>
                  </a:path>
                </a:pathLst>
              </a:custGeom>
              <a:solidFill>
                <a:schemeClr val="accent1"/>
              </a:solidFill>
              <a:ln w="274" cap="flat">
                <a:noFill/>
                <a:prstDash val="solid"/>
                <a:miter/>
              </a:ln>
            </p:spPr>
            <p:txBody>
              <a:bodyPr rtlCol="0" anchor="ctr"/>
              <a:lstStyle/>
              <a:p>
                <a:endParaRPr lang="en-GB" dirty="0"/>
              </a:p>
            </p:txBody>
          </p:sp>
          <p:sp>
            <p:nvSpPr>
              <p:cNvPr id="985" name="Freihandform: Form 984">
                <a:extLst>
                  <a:ext uri="{FF2B5EF4-FFF2-40B4-BE49-F238E27FC236}">
                    <a16:creationId xmlns:a16="http://schemas.microsoft.com/office/drawing/2014/main" id="{FF512F5E-F96B-45EC-8587-46A2D250EA9D}"/>
                  </a:ext>
                </a:extLst>
              </p:cNvPr>
              <p:cNvSpPr/>
              <p:nvPr/>
            </p:nvSpPr>
            <p:spPr>
              <a:xfrm>
                <a:off x="6494621" y="2779470"/>
                <a:ext cx="104014" cy="107050"/>
              </a:xfrm>
              <a:custGeom>
                <a:avLst/>
                <a:gdLst>
                  <a:gd name="connsiteX0" fmla="*/ 76634 w 104014"/>
                  <a:gd name="connsiteY0" fmla="*/ 107050 h 107050"/>
                  <a:gd name="connsiteX1" fmla="*/ 72040 w 104014"/>
                  <a:gd name="connsiteY1" fmla="*/ 105908 h 107050"/>
                  <a:gd name="connsiteX2" fmla="*/ 48252 w 104014"/>
                  <a:gd name="connsiteY2" fmla="*/ 93401 h 107050"/>
                  <a:gd name="connsiteX3" fmla="*/ 24467 w 104014"/>
                  <a:gd name="connsiteY3" fmla="*/ 105908 h 107050"/>
                  <a:gd name="connsiteX4" fmla="*/ 14083 w 104014"/>
                  <a:gd name="connsiteY4" fmla="*/ 105155 h 107050"/>
                  <a:gd name="connsiteX5" fmla="*/ 10168 w 104014"/>
                  <a:gd name="connsiteY5" fmla="*/ 95515 h 107050"/>
                  <a:gd name="connsiteX6" fmla="*/ 14707 w 104014"/>
                  <a:gd name="connsiteY6" fmla="*/ 69029 h 107050"/>
                  <a:gd name="connsiteX7" fmla="*/ 1986 w 104014"/>
                  <a:gd name="connsiteY7" fmla="*/ 56632 h 107050"/>
                  <a:gd name="connsiteX8" fmla="*/ 1863 w 104014"/>
                  <a:gd name="connsiteY8" fmla="*/ 47340 h 107050"/>
                  <a:gd name="connsiteX9" fmla="*/ 11155 w 104014"/>
                  <a:gd name="connsiteY9" fmla="*/ 47220 h 107050"/>
                  <a:gd name="connsiteX10" fmla="*/ 26352 w 104014"/>
                  <a:gd name="connsiteY10" fmla="*/ 62031 h 107050"/>
                  <a:gd name="connsiteX11" fmla="*/ 28245 w 104014"/>
                  <a:gd name="connsiteY11" fmla="*/ 67846 h 107050"/>
                  <a:gd name="connsiteX12" fmla="*/ 24240 w 104014"/>
                  <a:gd name="connsiteY12" fmla="*/ 91182 h 107050"/>
                  <a:gd name="connsiteX13" fmla="*/ 45193 w 104014"/>
                  <a:gd name="connsiteY13" fmla="*/ 80162 h 107050"/>
                  <a:gd name="connsiteX14" fmla="*/ 51307 w 104014"/>
                  <a:gd name="connsiteY14" fmla="*/ 80162 h 107050"/>
                  <a:gd name="connsiteX15" fmla="*/ 72262 w 104014"/>
                  <a:gd name="connsiteY15" fmla="*/ 91182 h 107050"/>
                  <a:gd name="connsiteX16" fmla="*/ 68257 w 104014"/>
                  <a:gd name="connsiteY16" fmla="*/ 67846 h 107050"/>
                  <a:gd name="connsiteX17" fmla="*/ 70147 w 104014"/>
                  <a:gd name="connsiteY17" fmla="*/ 62031 h 107050"/>
                  <a:gd name="connsiteX18" fmla="*/ 87098 w 104014"/>
                  <a:gd name="connsiteY18" fmla="*/ 45510 h 107050"/>
                  <a:gd name="connsiteX19" fmla="*/ 63669 w 104014"/>
                  <a:gd name="connsiteY19" fmla="*/ 42103 h 107050"/>
                  <a:gd name="connsiteX20" fmla="*/ 58722 w 104014"/>
                  <a:gd name="connsiteY20" fmla="*/ 38506 h 107050"/>
                  <a:gd name="connsiteX21" fmla="*/ 48247 w 104014"/>
                  <a:gd name="connsiteY21" fmla="*/ 17282 h 107050"/>
                  <a:gd name="connsiteX22" fmla="*/ 37769 w 104014"/>
                  <a:gd name="connsiteY22" fmla="*/ 38506 h 107050"/>
                  <a:gd name="connsiteX23" fmla="*/ 32992 w 104014"/>
                  <a:gd name="connsiteY23" fmla="*/ 42072 h 107050"/>
                  <a:gd name="connsiteX24" fmla="*/ 23870 w 104014"/>
                  <a:gd name="connsiteY24" fmla="*/ 43642 h 107050"/>
                  <a:gd name="connsiteX25" fmla="*/ 16282 w 104014"/>
                  <a:gd name="connsiteY25" fmla="*/ 38281 h 107050"/>
                  <a:gd name="connsiteX26" fmla="*/ 21643 w 104014"/>
                  <a:gd name="connsiteY26" fmla="*/ 30694 h 107050"/>
                  <a:gd name="connsiteX27" fmla="*/ 27467 w 104014"/>
                  <a:gd name="connsiteY27" fmla="*/ 29688 h 107050"/>
                  <a:gd name="connsiteX28" fmla="*/ 39410 w 104014"/>
                  <a:gd name="connsiteY28" fmla="*/ 5495 h 107050"/>
                  <a:gd name="connsiteX29" fmla="*/ 48244 w 104014"/>
                  <a:gd name="connsiteY29" fmla="*/ 0 h 107050"/>
                  <a:gd name="connsiteX30" fmla="*/ 57081 w 104014"/>
                  <a:gd name="connsiteY30" fmla="*/ 5492 h 107050"/>
                  <a:gd name="connsiteX31" fmla="*/ 68972 w 104014"/>
                  <a:gd name="connsiteY31" fmla="*/ 29592 h 107050"/>
                  <a:gd name="connsiteX32" fmla="*/ 95573 w 104014"/>
                  <a:gd name="connsiteY32" fmla="*/ 33460 h 107050"/>
                  <a:gd name="connsiteX33" fmla="*/ 103525 w 104014"/>
                  <a:gd name="connsiteY33" fmla="*/ 40171 h 107050"/>
                  <a:gd name="connsiteX34" fmla="*/ 101030 w 104014"/>
                  <a:gd name="connsiteY34" fmla="*/ 50271 h 107050"/>
                  <a:gd name="connsiteX35" fmla="*/ 81786 w 104014"/>
                  <a:gd name="connsiteY35" fmla="*/ 69029 h 107050"/>
                  <a:gd name="connsiteX36" fmla="*/ 86328 w 104014"/>
                  <a:gd name="connsiteY36" fmla="*/ 95518 h 107050"/>
                  <a:gd name="connsiteX37" fmla="*/ 82403 w 104014"/>
                  <a:gd name="connsiteY37" fmla="*/ 105160 h 107050"/>
                  <a:gd name="connsiteX38" fmla="*/ 76634 w 104014"/>
                  <a:gd name="connsiteY38" fmla="*/ 107050 h 10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014" h="107050">
                    <a:moveTo>
                      <a:pt x="76634" y="107050"/>
                    </a:moveTo>
                    <a:cubicBezTo>
                      <a:pt x="75070" y="107050"/>
                      <a:pt x="73495" y="106672"/>
                      <a:pt x="72040" y="105908"/>
                    </a:cubicBezTo>
                    <a:lnTo>
                      <a:pt x="48252" y="93401"/>
                    </a:lnTo>
                    <a:lnTo>
                      <a:pt x="24467" y="105908"/>
                    </a:lnTo>
                    <a:cubicBezTo>
                      <a:pt x="21109" y="107659"/>
                      <a:pt x="17140" y="107382"/>
                      <a:pt x="14083" y="105155"/>
                    </a:cubicBezTo>
                    <a:cubicBezTo>
                      <a:pt x="11028" y="102931"/>
                      <a:pt x="9527" y="99238"/>
                      <a:pt x="10168" y="95515"/>
                    </a:cubicBezTo>
                    <a:lnTo>
                      <a:pt x="14707" y="69029"/>
                    </a:lnTo>
                    <a:lnTo>
                      <a:pt x="1986" y="56632"/>
                    </a:lnTo>
                    <a:cubicBezTo>
                      <a:pt x="-613" y="54098"/>
                      <a:pt x="-668" y="49940"/>
                      <a:pt x="1863" y="47340"/>
                    </a:cubicBezTo>
                    <a:cubicBezTo>
                      <a:pt x="4405" y="44738"/>
                      <a:pt x="8558" y="44683"/>
                      <a:pt x="11155" y="47220"/>
                    </a:cubicBezTo>
                    <a:lnTo>
                      <a:pt x="26352" y="62031"/>
                    </a:lnTo>
                    <a:cubicBezTo>
                      <a:pt x="27902" y="63543"/>
                      <a:pt x="28606" y="65718"/>
                      <a:pt x="28245" y="67846"/>
                    </a:cubicBezTo>
                    <a:lnTo>
                      <a:pt x="24240" y="91182"/>
                    </a:lnTo>
                    <a:lnTo>
                      <a:pt x="45193" y="80162"/>
                    </a:lnTo>
                    <a:cubicBezTo>
                      <a:pt x="47105" y="79154"/>
                      <a:pt x="49395" y="79154"/>
                      <a:pt x="51307" y="80162"/>
                    </a:cubicBezTo>
                    <a:lnTo>
                      <a:pt x="72262" y="91182"/>
                    </a:lnTo>
                    <a:lnTo>
                      <a:pt x="68257" y="67846"/>
                    </a:lnTo>
                    <a:cubicBezTo>
                      <a:pt x="67896" y="65715"/>
                      <a:pt x="68600" y="63540"/>
                      <a:pt x="70147" y="62031"/>
                    </a:cubicBezTo>
                    <a:lnTo>
                      <a:pt x="87098" y="45510"/>
                    </a:lnTo>
                    <a:lnTo>
                      <a:pt x="63669" y="42103"/>
                    </a:lnTo>
                    <a:cubicBezTo>
                      <a:pt x="61530" y="41790"/>
                      <a:pt x="59681" y="40448"/>
                      <a:pt x="58722" y="38506"/>
                    </a:cubicBezTo>
                    <a:lnTo>
                      <a:pt x="48247" y="17282"/>
                    </a:lnTo>
                    <a:lnTo>
                      <a:pt x="37769" y="38506"/>
                    </a:lnTo>
                    <a:cubicBezTo>
                      <a:pt x="36838" y="40393"/>
                      <a:pt x="35066" y="41716"/>
                      <a:pt x="32992" y="42072"/>
                    </a:cubicBezTo>
                    <a:lnTo>
                      <a:pt x="23870" y="43642"/>
                    </a:lnTo>
                    <a:cubicBezTo>
                      <a:pt x="20284" y="44280"/>
                      <a:pt x="16896" y="41856"/>
                      <a:pt x="16282" y="38281"/>
                    </a:cubicBezTo>
                    <a:cubicBezTo>
                      <a:pt x="15666" y="34704"/>
                      <a:pt x="18066" y="31307"/>
                      <a:pt x="21643" y="30694"/>
                    </a:cubicBezTo>
                    <a:lnTo>
                      <a:pt x="27467" y="29688"/>
                    </a:lnTo>
                    <a:lnTo>
                      <a:pt x="39410" y="5495"/>
                    </a:lnTo>
                    <a:cubicBezTo>
                      <a:pt x="41084" y="2104"/>
                      <a:pt x="44469" y="0"/>
                      <a:pt x="48244" y="0"/>
                    </a:cubicBezTo>
                    <a:cubicBezTo>
                      <a:pt x="52024" y="0"/>
                      <a:pt x="55407" y="2104"/>
                      <a:pt x="57081" y="5492"/>
                    </a:cubicBezTo>
                    <a:lnTo>
                      <a:pt x="68972" y="29592"/>
                    </a:lnTo>
                    <a:lnTo>
                      <a:pt x="95573" y="33460"/>
                    </a:lnTo>
                    <a:cubicBezTo>
                      <a:pt x="99310" y="34005"/>
                      <a:pt x="102361" y="36575"/>
                      <a:pt x="103525" y="40171"/>
                    </a:cubicBezTo>
                    <a:cubicBezTo>
                      <a:pt x="104692" y="43765"/>
                      <a:pt x="103736" y="47636"/>
                      <a:pt x="101030" y="50271"/>
                    </a:cubicBezTo>
                    <a:lnTo>
                      <a:pt x="81786" y="69029"/>
                    </a:lnTo>
                    <a:lnTo>
                      <a:pt x="86328" y="95518"/>
                    </a:lnTo>
                    <a:cubicBezTo>
                      <a:pt x="86964" y="99246"/>
                      <a:pt x="85460" y="102942"/>
                      <a:pt x="82403" y="105160"/>
                    </a:cubicBezTo>
                    <a:cubicBezTo>
                      <a:pt x="80688" y="106412"/>
                      <a:pt x="78666" y="107050"/>
                      <a:pt x="76634" y="107050"/>
                    </a:cubicBezTo>
                    <a:close/>
                  </a:path>
                </a:pathLst>
              </a:custGeom>
              <a:solidFill>
                <a:schemeClr val="accent1"/>
              </a:solidFill>
              <a:ln w="274" cap="flat">
                <a:noFill/>
                <a:prstDash val="solid"/>
                <a:miter/>
              </a:ln>
            </p:spPr>
            <p:txBody>
              <a:bodyPr rtlCol="0" anchor="ctr"/>
              <a:lstStyle/>
              <a:p>
                <a:endParaRPr lang="en-GB" dirty="0"/>
              </a:p>
            </p:txBody>
          </p:sp>
          <p:sp>
            <p:nvSpPr>
              <p:cNvPr id="986" name="Freihandform: Form 985">
                <a:extLst>
                  <a:ext uri="{FF2B5EF4-FFF2-40B4-BE49-F238E27FC236}">
                    <a16:creationId xmlns:a16="http://schemas.microsoft.com/office/drawing/2014/main" id="{4F258D56-4245-47C6-9EAC-1D81C385C251}"/>
                  </a:ext>
                </a:extLst>
              </p:cNvPr>
              <p:cNvSpPr/>
              <p:nvPr/>
            </p:nvSpPr>
            <p:spPr>
              <a:xfrm>
                <a:off x="6061571" y="2779472"/>
                <a:ext cx="104021" cy="107047"/>
              </a:xfrm>
              <a:custGeom>
                <a:avLst/>
                <a:gdLst>
                  <a:gd name="connsiteX0" fmla="*/ 84152 w 104021"/>
                  <a:gd name="connsiteY0" fmla="*/ 107048 h 107047"/>
                  <a:gd name="connsiteX1" fmla="*/ 79559 w 104021"/>
                  <a:gd name="connsiteY1" fmla="*/ 105905 h 107047"/>
                  <a:gd name="connsiteX2" fmla="*/ 55771 w 104021"/>
                  <a:gd name="connsiteY2" fmla="*/ 93398 h 107047"/>
                  <a:gd name="connsiteX3" fmla="*/ 31983 w 104021"/>
                  <a:gd name="connsiteY3" fmla="*/ 105905 h 107047"/>
                  <a:gd name="connsiteX4" fmla="*/ 21609 w 104021"/>
                  <a:gd name="connsiteY4" fmla="*/ 105157 h 107047"/>
                  <a:gd name="connsiteX5" fmla="*/ 17684 w 104021"/>
                  <a:gd name="connsiteY5" fmla="*/ 95518 h 107047"/>
                  <a:gd name="connsiteX6" fmla="*/ 22226 w 104021"/>
                  <a:gd name="connsiteY6" fmla="*/ 69027 h 107047"/>
                  <a:gd name="connsiteX7" fmla="*/ 2980 w 104021"/>
                  <a:gd name="connsiteY7" fmla="*/ 50268 h 107047"/>
                  <a:gd name="connsiteX8" fmla="*/ 490 w 104021"/>
                  <a:gd name="connsiteY8" fmla="*/ 40166 h 107047"/>
                  <a:gd name="connsiteX9" fmla="*/ 8445 w 104021"/>
                  <a:gd name="connsiteY9" fmla="*/ 33457 h 107047"/>
                  <a:gd name="connsiteX10" fmla="*/ 35040 w 104021"/>
                  <a:gd name="connsiteY10" fmla="*/ 29590 h 107047"/>
                  <a:gd name="connsiteX11" fmla="*/ 46937 w 104021"/>
                  <a:gd name="connsiteY11" fmla="*/ 5495 h 107047"/>
                  <a:gd name="connsiteX12" fmla="*/ 55771 w 104021"/>
                  <a:gd name="connsiteY12" fmla="*/ 0 h 107047"/>
                  <a:gd name="connsiteX13" fmla="*/ 64608 w 104021"/>
                  <a:gd name="connsiteY13" fmla="*/ 5498 h 107047"/>
                  <a:gd name="connsiteX14" fmla="*/ 76518 w 104021"/>
                  <a:gd name="connsiteY14" fmla="*/ 29631 h 107047"/>
                  <a:gd name="connsiteX15" fmla="*/ 83152 w 104021"/>
                  <a:gd name="connsiteY15" fmla="*/ 30674 h 107047"/>
                  <a:gd name="connsiteX16" fmla="*/ 88625 w 104021"/>
                  <a:gd name="connsiteY16" fmla="*/ 38180 h 107047"/>
                  <a:gd name="connsiteX17" fmla="*/ 81120 w 104021"/>
                  <a:gd name="connsiteY17" fmla="*/ 43653 h 107047"/>
                  <a:gd name="connsiteX18" fmla="*/ 71122 w 104021"/>
                  <a:gd name="connsiteY18" fmla="*/ 42083 h 107047"/>
                  <a:gd name="connsiteX19" fmla="*/ 66248 w 104021"/>
                  <a:gd name="connsiteY19" fmla="*/ 38500 h 107047"/>
                  <a:gd name="connsiteX20" fmla="*/ 55771 w 104021"/>
                  <a:gd name="connsiteY20" fmla="*/ 17276 h 107047"/>
                  <a:gd name="connsiteX21" fmla="*/ 45293 w 104021"/>
                  <a:gd name="connsiteY21" fmla="*/ 38500 h 107047"/>
                  <a:gd name="connsiteX22" fmla="*/ 40349 w 104021"/>
                  <a:gd name="connsiteY22" fmla="*/ 42097 h 107047"/>
                  <a:gd name="connsiteX23" fmla="*/ 16920 w 104021"/>
                  <a:gd name="connsiteY23" fmla="*/ 45505 h 107047"/>
                  <a:gd name="connsiteX24" fmla="*/ 33870 w 104021"/>
                  <a:gd name="connsiteY24" fmla="*/ 62025 h 107047"/>
                  <a:gd name="connsiteX25" fmla="*/ 35760 w 104021"/>
                  <a:gd name="connsiteY25" fmla="*/ 67841 h 107047"/>
                  <a:gd name="connsiteX26" fmla="*/ 31756 w 104021"/>
                  <a:gd name="connsiteY26" fmla="*/ 91176 h 107047"/>
                  <a:gd name="connsiteX27" fmla="*/ 52711 w 104021"/>
                  <a:gd name="connsiteY27" fmla="*/ 80156 h 107047"/>
                  <a:gd name="connsiteX28" fmla="*/ 58825 w 104021"/>
                  <a:gd name="connsiteY28" fmla="*/ 80156 h 107047"/>
                  <a:gd name="connsiteX29" fmla="*/ 79778 w 104021"/>
                  <a:gd name="connsiteY29" fmla="*/ 91174 h 107047"/>
                  <a:gd name="connsiteX30" fmla="*/ 75778 w 104021"/>
                  <a:gd name="connsiteY30" fmla="*/ 67841 h 107047"/>
                  <a:gd name="connsiteX31" fmla="*/ 77668 w 104021"/>
                  <a:gd name="connsiteY31" fmla="*/ 62028 h 107047"/>
                  <a:gd name="connsiteX32" fmla="*/ 92863 w 104021"/>
                  <a:gd name="connsiteY32" fmla="*/ 47217 h 107047"/>
                  <a:gd name="connsiteX33" fmla="*/ 102155 w 104021"/>
                  <a:gd name="connsiteY33" fmla="*/ 47332 h 107047"/>
                  <a:gd name="connsiteX34" fmla="*/ 102040 w 104021"/>
                  <a:gd name="connsiteY34" fmla="*/ 56623 h 107047"/>
                  <a:gd name="connsiteX35" fmla="*/ 89316 w 104021"/>
                  <a:gd name="connsiteY35" fmla="*/ 69027 h 107047"/>
                  <a:gd name="connsiteX36" fmla="*/ 93858 w 104021"/>
                  <a:gd name="connsiteY36" fmla="*/ 95515 h 107047"/>
                  <a:gd name="connsiteX37" fmla="*/ 89938 w 104021"/>
                  <a:gd name="connsiteY37" fmla="*/ 105155 h 107047"/>
                  <a:gd name="connsiteX38" fmla="*/ 84152 w 104021"/>
                  <a:gd name="connsiteY38" fmla="*/ 107048 h 107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4021" h="107047">
                    <a:moveTo>
                      <a:pt x="84152" y="107048"/>
                    </a:moveTo>
                    <a:cubicBezTo>
                      <a:pt x="82585" y="107048"/>
                      <a:pt x="81010" y="106670"/>
                      <a:pt x="79559" y="105905"/>
                    </a:cubicBezTo>
                    <a:lnTo>
                      <a:pt x="55771" y="93398"/>
                    </a:lnTo>
                    <a:lnTo>
                      <a:pt x="31983" y="105905"/>
                    </a:lnTo>
                    <a:cubicBezTo>
                      <a:pt x="28641" y="107656"/>
                      <a:pt x="24658" y="107365"/>
                      <a:pt x="21609" y="105157"/>
                    </a:cubicBezTo>
                    <a:cubicBezTo>
                      <a:pt x="18552" y="102939"/>
                      <a:pt x="17049" y="99241"/>
                      <a:pt x="17684" y="95518"/>
                    </a:cubicBezTo>
                    <a:lnTo>
                      <a:pt x="22226" y="69027"/>
                    </a:lnTo>
                    <a:lnTo>
                      <a:pt x="2980" y="50268"/>
                    </a:lnTo>
                    <a:cubicBezTo>
                      <a:pt x="276" y="47628"/>
                      <a:pt x="-677" y="43760"/>
                      <a:pt x="490" y="40166"/>
                    </a:cubicBezTo>
                    <a:cubicBezTo>
                      <a:pt x="1657" y="36569"/>
                      <a:pt x="4705" y="34002"/>
                      <a:pt x="8445" y="33457"/>
                    </a:cubicBezTo>
                    <a:lnTo>
                      <a:pt x="35040" y="29590"/>
                    </a:lnTo>
                    <a:lnTo>
                      <a:pt x="46937" y="5495"/>
                    </a:lnTo>
                    <a:cubicBezTo>
                      <a:pt x="48605" y="2106"/>
                      <a:pt x="51991" y="0"/>
                      <a:pt x="55771" y="0"/>
                    </a:cubicBezTo>
                    <a:cubicBezTo>
                      <a:pt x="59551" y="0"/>
                      <a:pt x="62937" y="2106"/>
                      <a:pt x="64608" y="5498"/>
                    </a:cubicBezTo>
                    <a:lnTo>
                      <a:pt x="76518" y="29631"/>
                    </a:lnTo>
                    <a:lnTo>
                      <a:pt x="83152" y="30674"/>
                    </a:lnTo>
                    <a:cubicBezTo>
                      <a:pt x="86738" y="31236"/>
                      <a:pt x="89190" y="34597"/>
                      <a:pt x="88625" y="38180"/>
                    </a:cubicBezTo>
                    <a:cubicBezTo>
                      <a:pt x="88064" y="41765"/>
                      <a:pt x="84689" y="44220"/>
                      <a:pt x="81120" y="43653"/>
                    </a:cubicBezTo>
                    <a:lnTo>
                      <a:pt x="71122" y="42083"/>
                    </a:lnTo>
                    <a:cubicBezTo>
                      <a:pt x="69010" y="41752"/>
                      <a:pt x="67191" y="40418"/>
                      <a:pt x="66248" y="38500"/>
                    </a:cubicBezTo>
                    <a:lnTo>
                      <a:pt x="55771" y="17276"/>
                    </a:lnTo>
                    <a:lnTo>
                      <a:pt x="45293" y="38500"/>
                    </a:lnTo>
                    <a:cubicBezTo>
                      <a:pt x="44337" y="40442"/>
                      <a:pt x="42488" y="41785"/>
                      <a:pt x="40349" y="42097"/>
                    </a:cubicBezTo>
                    <a:lnTo>
                      <a:pt x="16920" y="45505"/>
                    </a:lnTo>
                    <a:lnTo>
                      <a:pt x="33870" y="62025"/>
                    </a:lnTo>
                    <a:cubicBezTo>
                      <a:pt x="35415" y="63537"/>
                      <a:pt x="36122" y="65712"/>
                      <a:pt x="35760" y="67841"/>
                    </a:cubicBezTo>
                    <a:lnTo>
                      <a:pt x="31756" y="91176"/>
                    </a:lnTo>
                    <a:lnTo>
                      <a:pt x="52711" y="80156"/>
                    </a:lnTo>
                    <a:cubicBezTo>
                      <a:pt x="54623" y="79148"/>
                      <a:pt x="56913" y="79148"/>
                      <a:pt x="58825" y="80156"/>
                    </a:cubicBezTo>
                    <a:lnTo>
                      <a:pt x="79778" y="91174"/>
                    </a:lnTo>
                    <a:lnTo>
                      <a:pt x="75778" y="67841"/>
                    </a:lnTo>
                    <a:cubicBezTo>
                      <a:pt x="75417" y="65709"/>
                      <a:pt x="76121" y="63534"/>
                      <a:pt x="77668" y="62028"/>
                    </a:cubicBezTo>
                    <a:lnTo>
                      <a:pt x="92863" y="47217"/>
                    </a:lnTo>
                    <a:cubicBezTo>
                      <a:pt x="95465" y="44680"/>
                      <a:pt x="99618" y="44740"/>
                      <a:pt x="102155" y="47332"/>
                    </a:cubicBezTo>
                    <a:cubicBezTo>
                      <a:pt x="104689" y="49931"/>
                      <a:pt x="104637" y="54092"/>
                      <a:pt x="102040" y="56623"/>
                    </a:cubicBezTo>
                    <a:lnTo>
                      <a:pt x="89316" y="69027"/>
                    </a:lnTo>
                    <a:lnTo>
                      <a:pt x="93858" y="95515"/>
                    </a:lnTo>
                    <a:cubicBezTo>
                      <a:pt x="94496" y="99238"/>
                      <a:pt x="92995" y="102933"/>
                      <a:pt x="89938" y="105155"/>
                    </a:cubicBezTo>
                    <a:cubicBezTo>
                      <a:pt x="88212" y="106409"/>
                      <a:pt x="86190" y="107048"/>
                      <a:pt x="84152" y="107048"/>
                    </a:cubicBezTo>
                    <a:close/>
                  </a:path>
                </a:pathLst>
              </a:custGeom>
              <a:solidFill>
                <a:schemeClr val="accent1"/>
              </a:solidFill>
              <a:ln w="274" cap="flat">
                <a:noFill/>
                <a:prstDash val="solid"/>
                <a:miter/>
              </a:ln>
            </p:spPr>
            <p:txBody>
              <a:bodyPr rtlCol="0" anchor="ctr"/>
              <a:lstStyle/>
              <a:p>
                <a:endParaRPr lang="en-GB" dirty="0"/>
              </a:p>
            </p:txBody>
          </p:sp>
          <p:sp>
            <p:nvSpPr>
              <p:cNvPr id="987" name="Freihandform: Form 986">
                <a:extLst>
                  <a:ext uri="{FF2B5EF4-FFF2-40B4-BE49-F238E27FC236}">
                    <a16:creationId xmlns:a16="http://schemas.microsoft.com/office/drawing/2014/main" id="{4C80D0FC-139F-4AD7-AA4B-675098C7F70B}"/>
                  </a:ext>
                </a:extLst>
              </p:cNvPr>
              <p:cNvSpPr/>
              <p:nvPr/>
            </p:nvSpPr>
            <p:spPr>
              <a:xfrm>
                <a:off x="6254933" y="2767230"/>
                <a:ext cx="149341" cy="130217"/>
              </a:xfrm>
              <a:custGeom>
                <a:avLst/>
                <a:gdLst>
                  <a:gd name="connsiteX0" fmla="*/ 75489 w 149341"/>
                  <a:gd name="connsiteY0" fmla="*/ 130217 h 130217"/>
                  <a:gd name="connsiteX1" fmla="*/ 68325 w 149341"/>
                  <a:gd name="connsiteY1" fmla="*/ 125794 h 130217"/>
                  <a:gd name="connsiteX2" fmla="*/ 36095 w 149341"/>
                  <a:gd name="connsiteY2" fmla="*/ 97645 h 130217"/>
                  <a:gd name="connsiteX3" fmla="*/ 28636 w 149341"/>
                  <a:gd name="connsiteY3" fmla="*/ 93355 h 130217"/>
                  <a:gd name="connsiteX4" fmla="*/ 5161 w 149341"/>
                  <a:gd name="connsiteY4" fmla="*/ 66647 h 130217"/>
                  <a:gd name="connsiteX5" fmla="*/ 4676 w 149341"/>
                  <a:gd name="connsiteY5" fmla="*/ 65711 h 130217"/>
                  <a:gd name="connsiteX6" fmla="*/ 436 w 149341"/>
                  <a:gd name="connsiteY6" fmla="*/ 37617 h 130217"/>
                  <a:gd name="connsiteX7" fmla="*/ 466 w 149341"/>
                  <a:gd name="connsiteY7" fmla="*/ 37422 h 130217"/>
                  <a:gd name="connsiteX8" fmla="*/ 27286 w 149341"/>
                  <a:gd name="connsiteY8" fmla="*/ 4263 h 130217"/>
                  <a:gd name="connsiteX9" fmla="*/ 62639 w 149341"/>
                  <a:gd name="connsiteY9" fmla="*/ 4055 h 130217"/>
                  <a:gd name="connsiteX10" fmla="*/ 74612 w 149341"/>
                  <a:gd name="connsiteY10" fmla="*/ 13621 h 130217"/>
                  <a:gd name="connsiteX11" fmla="*/ 86098 w 149341"/>
                  <a:gd name="connsiteY11" fmla="*/ 3916 h 130217"/>
                  <a:gd name="connsiteX12" fmla="*/ 121363 w 149341"/>
                  <a:gd name="connsiteY12" fmla="*/ 3461 h 130217"/>
                  <a:gd name="connsiteX13" fmla="*/ 148769 w 149341"/>
                  <a:gd name="connsiteY13" fmla="*/ 36146 h 130217"/>
                  <a:gd name="connsiteX14" fmla="*/ 145041 w 149341"/>
                  <a:gd name="connsiteY14" fmla="*/ 64505 h 130217"/>
                  <a:gd name="connsiteX15" fmla="*/ 144592 w 149341"/>
                  <a:gd name="connsiteY15" fmla="*/ 65407 h 130217"/>
                  <a:gd name="connsiteX16" fmla="*/ 121314 w 149341"/>
                  <a:gd name="connsiteY16" fmla="*/ 92731 h 130217"/>
                  <a:gd name="connsiteX17" fmla="*/ 114236 w 149341"/>
                  <a:gd name="connsiteY17" fmla="*/ 96963 h 130217"/>
                  <a:gd name="connsiteX18" fmla="*/ 82685 w 149341"/>
                  <a:gd name="connsiteY18" fmla="*/ 125511 h 130217"/>
                  <a:gd name="connsiteX19" fmla="*/ 76212 w 149341"/>
                  <a:gd name="connsiteY19" fmla="*/ 130185 h 130217"/>
                  <a:gd name="connsiteX20" fmla="*/ 75489 w 149341"/>
                  <a:gd name="connsiteY20" fmla="*/ 130217 h 130217"/>
                  <a:gd name="connsiteX21" fmla="*/ 70388 w 149341"/>
                  <a:gd name="connsiteY21" fmla="*/ 120923 h 130217"/>
                  <a:gd name="connsiteX22" fmla="*/ 70385 w 149341"/>
                  <a:gd name="connsiteY22" fmla="*/ 120937 h 130217"/>
                  <a:gd name="connsiteX23" fmla="*/ 70388 w 149341"/>
                  <a:gd name="connsiteY23" fmla="*/ 120923 h 130217"/>
                  <a:gd name="connsiteX24" fmla="*/ 79893 w 149341"/>
                  <a:gd name="connsiteY24" fmla="*/ 119567 h 130217"/>
                  <a:gd name="connsiteX25" fmla="*/ 80000 w 149341"/>
                  <a:gd name="connsiteY25" fmla="*/ 119762 h 130217"/>
                  <a:gd name="connsiteX26" fmla="*/ 79893 w 149341"/>
                  <a:gd name="connsiteY26" fmla="*/ 119567 h 130217"/>
                  <a:gd name="connsiteX27" fmla="*/ 13458 w 149341"/>
                  <a:gd name="connsiteY27" fmla="*/ 39362 h 130217"/>
                  <a:gd name="connsiteX28" fmla="*/ 16652 w 149341"/>
                  <a:gd name="connsiteY28" fmla="*/ 60317 h 130217"/>
                  <a:gd name="connsiteX29" fmla="*/ 35901 w 149341"/>
                  <a:gd name="connsiteY29" fmla="*/ 82415 h 130217"/>
                  <a:gd name="connsiteX30" fmla="*/ 42259 w 149341"/>
                  <a:gd name="connsiteY30" fmla="*/ 86047 h 130217"/>
                  <a:gd name="connsiteX31" fmla="*/ 75343 w 149341"/>
                  <a:gd name="connsiteY31" fmla="*/ 112292 h 130217"/>
                  <a:gd name="connsiteX32" fmla="*/ 107837 w 149341"/>
                  <a:gd name="connsiteY32" fmla="*/ 85483 h 130217"/>
                  <a:gd name="connsiteX33" fmla="*/ 113852 w 149341"/>
                  <a:gd name="connsiteY33" fmla="*/ 81916 h 130217"/>
                  <a:gd name="connsiteX34" fmla="*/ 132904 w 149341"/>
                  <a:gd name="connsiteY34" fmla="*/ 59396 h 130217"/>
                  <a:gd name="connsiteX35" fmla="*/ 135783 w 149341"/>
                  <a:gd name="connsiteY35" fmla="*/ 38197 h 130217"/>
                  <a:gd name="connsiteX36" fmla="*/ 117016 w 149341"/>
                  <a:gd name="connsiteY36" fmla="*/ 15870 h 130217"/>
                  <a:gd name="connsiteX37" fmla="*/ 92138 w 149341"/>
                  <a:gd name="connsiteY37" fmla="*/ 15590 h 130217"/>
                  <a:gd name="connsiteX38" fmla="*/ 81134 w 149341"/>
                  <a:gd name="connsiteY38" fmla="*/ 28722 h 130217"/>
                  <a:gd name="connsiteX39" fmla="*/ 74933 w 149341"/>
                  <a:gd name="connsiteY39" fmla="*/ 33489 h 130217"/>
                  <a:gd name="connsiteX40" fmla="*/ 68567 w 149341"/>
                  <a:gd name="connsiteY40" fmla="*/ 28944 h 130217"/>
                  <a:gd name="connsiteX41" fmla="*/ 56755 w 149341"/>
                  <a:gd name="connsiteY41" fmla="*/ 15818 h 130217"/>
                  <a:gd name="connsiteX42" fmla="*/ 31836 w 149341"/>
                  <a:gd name="connsiteY42" fmla="*/ 16598 h 130217"/>
                  <a:gd name="connsiteX43" fmla="*/ 13458 w 149341"/>
                  <a:gd name="connsiteY43" fmla="*/ 39362 h 130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9341" h="130217">
                    <a:moveTo>
                      <a:pt x="75489" y="130217"/>
                    </a:moveTo>
                    <a:cubicBezTo>
                      <a:pt x="72465" y="130217"/>
                      <a:pt x="69703" y="128536"/>
                      <a:pt x="68325" y="125794"/>
                    </a:cubicBezTo>
                    <a:cubicBezTo>
                      <a:pt x="60187" y="110456"/>
                      <a:pt x="45685" y="102748"/>
                      <a:pt x="36095" y="97645"/>
                    </a:cubicBezTo>
                    <a:cubicBezTo>
                      <a:pt x="33140" y="96075"/>
                      <a:pt x="30587" y="94719"/>
                      <a:pt x="28636" y="93355"/>
                    </a:cubicBezTo>
                    <a:cubicBezTo>
                      <a:pt x="14877" y="84688"/>
                      <a:pt x="8070" y="72046"/>
                      <a:pt x="5161" y="66647"/>
                    </a:cubicBezTo>
                    <a:cubicBezTo>
                      <a:pt x="5087" y="66510"/>
                      <a:pt x="4742" y="65853"/>
                      <a:pt x="4676" y="65711"/>
                    </a:cubicBezTo>
                    <a:cubicBezTo>
                      <a:pt x="586" y="56635"/>
                      <a:pt x="-800" y="47442"/>
                      <a:pt x="436" y="37617"/>
                    </a:cubicBezTo>
                    <a:cubicBezTo>
                      <a:pt x="446" y="37554"/>
                      <a:pt x="452" y="37488"/>
                      <a:pt x="466" y="37422"/>
                    </a:cubicBezTo>
                    <a:cubicBezTo>
                      <a:pt x="3630" y="17209"/>
                      <a:pt x="20898" y="6630"/>
                      <a:pt x="27286" y="4263"/>
                    </a:cubicBezTo>
                    <a:cubicBezTo>
                      <a:pt x="40785" y="-722"/>
                      <a:pt x="52679" y="-782"/>
                      <a:pt x="62639" y="4055"/>
                    </a:cubicBezTo>
                    <a:cubicBezTo>
                      <a:pt x="67882" y="6603"/>
                      <a:pt x="71782" y="10164"/>
                      <a:pt x="74612" y="13621"/>
                    </a:cubicBezTo>
                    <a:cubicBezTo>
                      <a:pt x="77297" y="10139"/>
                      <a:pt x="81027" y="6548"/>
                      <a:pt x="86098" y="3916"/>
                    </a:cubicBezTo>
                    <a:cubicBezTo>
                      <a:pt x="95877" y="-1149"/>
                      <a:pt x="107746" y="-1300"/>
                      <a:pt x="121363" y="3461"/>
                    </a:cubicBezTo>
                    <a:cubicBezTo>
                      <a:pt x="127798" y="5712"/>
                      <a:pt x="145263" y="15976"/>
                      <a:pt x="148769" y="36146"/>
                    </a:cubicBezTo>
                    <a:cubicBezTo>
                      <a:pt x="150194" y="46190"/>
                      <a:pt x="148964" y="55397"/>
                      <a:pt x="145041" y="64505"/>
                    </a:cubicBezTo>
                    <a:cubicBezTo>
                      <a:pt x="144981" y="64642"/>
                      <a:pt x="144663" y="65272"/>
                      <a:pt x="144592" y="65407"/>
                    </a:cubicBezTo>
                    <a:cubicBezTo>
                      <a:pt x="141782" y="70863"/>
                      <a:pt x="135202" y="83642"/>
                      <a:pt x="121314" y="92731"/>
                    </a:cubicBezTo>
                    <a:cubicBezTo>
                      <a:pt x="119657" y="93944"/>
                      <a:pt x="117145" y="95341"/>
                      <a:pt x="114236" y="96963"/>
                    </a:cubicBezTo>
                    <a:cubicBezTo>
                      <a:pt x="104837" y="102195"/>
                      <a:pt x="90659" y="110087"/>
                      <a:pt x="82685" y="125511"/>
                    </a:cubicBezTo>
                    <a:cubicBezTo>
                      <a:pt x="81578" y="128130"/>
                      <a:pt x="79118" y="129930"/>
                      <a:pt x="76212" y="130185"/>
                    </a:cubicBezTo>
                    <a:cubicBezTo>
                      <a:pt x="75968" y="130204"/>
                      <a:pt x="75727" y="130217"/>
                      <a:pt x="75489" y="130217"/>
                    </a:cubicBezTo>
                    <a:close/>
                    <a:moveTo>
                      <a:pt x="70388" y="120923"/>
                    </a:moveTo>
                    <a:cubicBezTo>
                      <a:pt x="70388" y="120926"/>
                      <a:pt x="70385" y="120934"/>
                      <a:pt x="70385" y="120937"/>
                    </a:cubicBezTo>
                    <a:cubicBezTo>
                      <a:pt x="70385" y="120934"/>
                      <a:pt x="70388" y="120926"/>
                      <a:pt x="70388" y="120923"/>
                    </a:cubicBezTo>
                    <a:close/>
                    <a:moveTo>
                      <a:pt x="79893" y="119567"/>
                    </a:moveTo>
                    <a:cubicBezTo>
                      <a:pt x="79929" y="119630"/>
                      <a:pt x="79965" y="119696"/>
                      <a:pt x="80000" y="119762"/>
                    </a:cubicBezTo>
                    <a:cubicBezTo>
                      <a:pt x="79967" y="119693"/>
                      <a:pt x="79932" y="119630"/>
                      <a:pt x="79893" y="119567"/>
                    </a:cubicBezTo>
                    <a:close/>
                    <a:moveTo>
                      <a:pt x="13458" y="39362"/>
                    </a:moveTo>
                    <a:cubicBezTo>
                      <a:pt x="12540" y="46782"/>
                      <a:pt x="13557" y="53441"/>
                      <a:pt x="16652" y="60317"/>
                    </a:cubicBezTo>
                    <a:cubicBezTo>
                      <a:pt x="19350" y="65286"/>
                      <a:pt x="24807" y="75418"/>
                      <a:pt x="35901" y="82415"/>
                    </a:cubicBezTo>
                    <a:cubicBezTo>
                      <a:pt x="37454" y="83488"/>
                      <a:pt x="39684" y="84674"/>
                      <a:pt x="42259" y="86047"/>
                    </a:cubicBezTo>
                    <a:cubicBezTo>
                      <a:pt x="51142" y="90769"/>
                      <a:pt x="65167" y="98226"/>
                      <a:pt x="75343" y="112292"/>
                    </a:cubicBezTo>
                    <a:cubicBezTo>
                      <a:pt x="85257" y="98053"/>
                      <a:pt x="99082" y="90358"/>
                      <a:pt x="107837" y="85483"/>
                    </a:cubicBezTo>
                    <a:cubicBezTo>
                      <a:pt x="110379" y="84066"/>
                      <a:pt x="112567" y="82847"/>
                      <a:pt x="113852" y="81916"/>
                    </a:cubicBezTo>
                    <a:cubicBezTo>
                      <a:pt x="125099" y="74547"/>
                      <a:pt x="130370" y="64313"/>
                      <a:pt x="132904" y="59396"/>
                    </a:cubicBezTo>
                    <a:cubicBezTo>
                      <a:pt x="135947" y="52390"/>
                      <a:pt x="136843" y="45681"/>
                      <a:pt x="135783" y="38197"/>
                    </a:cubicBezTo>
                    <a:cubicBezTo>
                      <a:pt x="133364" y="24301"/>
                      <a:pt x="120363" y="17039"/>
                      <a:pt x="117016" y="15870"/>
                    </a:cubicBezTo>
                    <a:cubicBezTo>
                      <a:pt x="106952" y="12352"/>
                      <a:pt x="98581" y="12257"/>
                      <a:pt x="92138" y="15590"/>
                    </a:cubicBezTo>
                    <a:cubicBezTo>
                      <a:pt x="83857" y="19883"/>
                      <a:pt x="81159" y="28635"/>
                      <a:pt x="81134" y="28722"/>
                    </a:cubicBezTo>
                    <a:cubicBezTo>
                      <a:pt x="80343" y="31503"/>
                      <a:pt x="77823" y="33439"/>
                      <a:pt x="74933" y="33489"/>
                    </a:cubicBezTo>
                    <a:cubicBezTo>
                      <a:pt x="72054" y="33598"/>
                      <a:pt x="69457" y="31692"/>
                      <a:pt x="68567" y="28944"/>
                    </a:cubicBezTo>
                    <a:cubicBezTo>
                      <a:pt x="68550" y="28900"/>
                      <a:pt x="65422" y="19951"/>
                      <a:pt x="56755" y="15818"/>
                    </a:cubicBezTo>
                    <a:cubicBezTo>
                      <a:pt x="50156" y="12676"/>
                      <a:pt x="41771" y="12928"/>
                      <a:pt x="31836" y="16598"/>
                    </a:cubicBezTo>
                    <a:cubicBezTo>
                      <a:pt x="28532" y="17817"/>
                      <a:pt x="15712" y="25282"/>
                      <a:pt x="13458" y="39362"/>
                    </a:cubicBezTo>
                    <a:close/>
                  </a:path>
                </a:pathLst>
              </a:custGeom>
              <a:solidFill>
                <a:schemeClr val="accent1"/>
              </a:solidFill>
              <a:ln w="274" cap="flat">
                <a:noFill/>
                <a:prstDash val="solid"/>
                <a:miter/>
              </a:ln>
            </p:spPr>
            <p:txBody>
              <a:bodyPr rtlCol="0" anchor="ctr"/>
              <a:lstStyle/>
              <a:p>
                <a:endParaRPr lang="en-GB" dirty="0"/>
              </a:p>
            </p:txBody>
          </p:sp>
        </p:grpSp>
      </p:grpSp>
      <p:sp>
        <p:nvSpPr>
          <p:cNvPr id="994" name="TextBox 1420">
            <a:extLst>
              <a:ext uri="{FF2B5EF4-FFF2-40B4-BE49-F238E27FC236}">
                <a16:creationId xmlns:a16="http://schemas.microsoft.com/office/drawing/2014/main" id="{19EEF5EB-BD11-4A56-9F1D-EC17136E8922}"/>
              </a:ext>
            </a:extLst>
          </p:cNvPr>
          <p:cNvSpPr txBox="1"/>
          <p:nvPr/>
        </p:nvSpPr>
        <p:spPr>
          <a:xfrm>
            <a:off x="6139278" y="2899619"/>
            <a:ext cx="238848" cy="107722"/>
          </a:xfrm>
          <a:prstGeom prst="rect">
            <a:avLst/>
          </a:prstGeom>
          <a:noFill/>
          <a:effectLst/>
        </p:spPr>
        <p:txBody>
          <a:bodyPr wrap="none" lIns="0" tIns="0" rIns="0" bIns="0" rtlCol="0" anchor="t">
            <a:spAutoFit/>
          </a:bodyPr>
          <a:lstStyle/>
          <a:p>
            <a:pPr algn="ctr"/>
            <a:r>
              <a:rPr lang="en-GB" sz="700" dirty="0">
                <a:solidFill>
                  <a:schemeClr val="tx2"/>
                </a:solidFill>
              </a:rPr>
              <a:t>Brand</a:t>
            </a:r>
          </a:p>
        </p:txBody>
      </p:sp>
      <p:grpSp>
        <p:nvGrpSpPr>
          <p:cNvPr id="57" name="Group 56">
            <a:extLst>
              <a:ext uri="{FF2B5EF4-FFF2-40B4-BE49-F238E27FC236}">
                <a16:creationId xmlns:a16="http://schemas.microsoft.com/office/drawing/2014/main" id="{4049CEF9-DE2A-26CD-FFCD-DE61085AFA8C}"/>
              </a:ext>
            </a:extLst>
          </p:cNvPr>
          <p:cNvGrpSpPr/>
          <p:nvPr/>
        </p:nvGrpSpPr>
        <p:grpSpPr>
          <a:xfrm>
            <a:off x="6007865" y="4097454"/>
            <a:ext cx="501675" cy="432000"/>
            <a:chOff x="6007453" y="4097454"/>
            <a:chExt cx="501675" cy="432000"/>
          </a:xfrm>
        </p:grpSpPr>
        <p:grpSp>
          <p:nvGrpSpPr>
            <p:cNvPr id="996" name="Gruppieren 995">
              <a:extLst>
                <a:ext uri="{FF2B5EF4-FFF2-40B4-BE49-F238E27FC236}">
                  <a16:creationId xmlns:a16="http://schemas.microsoft.com/office/drawing/2014/main" id="{8DB44401-15A4-4593-A282-B5BA2CCA10D8}"/>
                </a:ext>
              </a:extLst>
            </p:cNvPr>
            <p:cNvGrpSpPr/>
            <p:nvPr/>
          </p:nvGrpSpPr>
          <p:grpSpPr>
            <a:xfrm>
              <a:off x="6133767" y="4097454"/>
              <a:ext cx="247874" cy="314433"/>
              <a:chOff x="6213258" y="4116592"/>
              <a:chExt cx="233729" cy="296489"/>
            </a:xfrm>
            <a:solidFill>
              <a:schemeClr val="tx2"/>
            </a:solidFill>
          </p:grpSpPr>
          <p:grpSp>
            <p:nvGrpSpPr>
              <p:cNvPr id="1008" name="Grafik 349">
                <a:extLst>
                  <a:ext uri="{FF2B5EF4-FFF2-40B4-BE49-F238E27FC236}">
                    <a16:creationId xmlns:a16="http://schemas.microsoft.com/office/drawing/2014/main" id="{7D0ECD0B-7D1B-4714-91D7-C8F3F7FF4131}"/>
                  </a:ext>
                </a:extLst>
              </p:cNvPr>
              <p:cNvGrpSpPr/>
              <p:nvPr/>
            </p:nvGrpSpPr>
            <p:grpSpPr>
              <a:xfrm>
                <a:off x="6213258" y="4116592"/>
                <a:ext cx="233729" cy="262796"/>
                <a:chOff x="6213258" y="4116592"/>
                <a:chExt cx="233729" cy="262796"/>
              </a:xfrm>
              <a:grpFill/>
            </p:grpSpPr>
            <p:sp>
              <p:nvSpPr>
                <p:cNvPr id="1018" name="Freihandform: Form 1017">
                  <a:extLst>
                    <a:ext uri="{FF2B5EF4-FFF2-40B4-BE49-F238E27FC236}">
                      <a16:creationId xmlns:a16="http://schemas.microsoft.com/office/drawing/2014/main" id="{A31608F0-3439-45D5-8C88-BADD6478F907}"/>
                    </a:ext>
                  </a:extLst>
                </p:cNvPr>
                <p:cNvSpPr/>
                <p:nvPr/>
              </p:nvSpPr>
              <p:spPr>
                <a:xfrm>
                  <a:off x="6284136" y="4116592"/>
                  <a:ext cx="91978" cy="105122"/>
                </a:xfrm>
                <a:custGeom>
                  <a:avLst/>
                  <a:gdLst>
                    <a:gd name="connsiteX0" fmla="*/ 45989 w 91978"/>
                    <a:gd name="connsiteY0" fmla="*/ 105122 h 105122"/>
                    <a:gd name="connsiteX1" fmla="*/ 0 w 91978"/>
                    <a:gd name="connsiteY1" fmla="*/ 52561 h 105122"/>
                    <a:gd name="connsiteX2" fmla="*/ 45989 w 91978"/>
                    <a:gd name="connsiteY2" fmla="*/ 0 h 105122"/>
                    <a:gd name="connsiteX3" fmla="*/ 91979 w 91978"/>
                    <a:gd name="connsiteY3" fmla="*/ 52561 h 105122"/>
                    <a:gd name="connsiteX4" fmla="*/ 45989 w 91978"/>
                    <a:gd name="connsiteY4" fmla="*/ 105122 h 105122"/>
                    <a:gd name="connsiteX5" fmla="*/ 45989 w 91978"/>
                    <a:gd name="connsiteY5" fmla="*/ 13140 h 105122"/>
                    <a:gd name="connsiteX6" fmla="*/ 13140 w 91978"/>
                    <a:gd name="connsiteY6" fmla="*/ 52561 h 105122"/>
                    <a:gd name="connsiteX7" fmla="*/ 45989 w 91978"/>
                    <a:gd name="connsiteY7" fmla="*/ 91982 h 105122"/>
                    <a:gd name="connsiteX8" fmla="*/ 78839 w 91978"/>
                    <a:gd name="connsiteY8" fmla="*/ 52561 h 105122"/>
                    <a:gd name="connsiteX9" fmla="*/ 45989 w 91978"/>
                    <a:gd name="connsiteY9" fmla="*/ 13140 h 105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978" h="105122">
                      <a:moveTo>
                        <a:pt x="45989" y="105122"/>
                      </a:moveTo>
                      <a:cubicBezTo>
                        <a:pt x="18479" y="105122"/>
                        <a:pt x="0" y="84000"/>
                        <a:pt x="0" y="52561"/>
                      </a:cubicBezTo>
                      <a:cubicBezTo>
                        <a:pt x="0" y="21123"/>
                        <a:pt x="18482" y="0"/>
                        <a:pt x="45989" y="0"/>
                      </a:cubicBezTo>
                      <a:cubicBezTo>
                        <a:pt x="73500" y="0"/>
                        <a:pt x="91979" y="21123"/>
                        <a:pt x="91979" y="52561"/>
                      </a:cubicBezTo>
                      <a:cubicBezTo>
                        <a:pt x="91979" y="84000"/>
                        <a:pt x="73500" y="105122"/>
                        <a:pt x="45989" y="105122"/>
                      </a:cubicBezTo>
                      <a:close/>
                      <a:moveTo>
                        <a:pt x="45989" y="13140"/>
                      </a:moveTo>
                      <a:cubicBezTo>
                        <a:pt x="21744" y="13140"/>
                        <a:pt x="13140" y="34378"/>
                        <a:pt x="13140" y="52561"/>
                      </a:cubicBezTo>
                      <a:cubicBezTo>
                        <a:pt x="13140" y="70744"/>
                        <a:pt x="21744" y="91982"/>
                        <a:pt x="45989" y="91982"/>
                      </a:cubicBezTo>
                      <a:cubicBezTo>
                        <a:pt x="70235" y="91982"/>
                        <a:pt x="78839" y="70744"/>
                        <a:pt x="78839" y="52561"/>
                      </a:cubicBezTo>
                      <a:cubicBezTo>
                        <a:pt x="78839" y="34378"/>
                        <a:pt x="70237" y="13140"/>
                        <a:pt x="45989" y="13140"/>
                      </a:cubicBezTo>
                      <a:close/>
                    </a:path>
                  </a:pathLst>
                </a:custGeom>
                <a:grpFill/>
                <a:ln w="274" cap="flat">
                  <a:noFill/>
                  <a:prstDash val="solid"/>
                  <a:miter/>
                </a:ln>
              </p:spPr>
              <p:txBody>
                <a:bodyPr rtlCol="0" anchor="ctr"/>
                <a:lstStyle/>
                <a:p>
                  <a:endParaRPr lang="en-GB" dirty="0"/>
                </a:p>
              </p:txBody>
            </p:sp>
            <p:sp>
              <p:nvSpPr>
                <p:cNvPr id="1019" name="Freihandform: Form 1018">
                  <a:extLst>
                    <a:ext uri="{FF2B5EF4-FFF2-40B4-BE49-F238E27FC236}">
                      <a16:creationId xmlns:a16="http://schemas.microsoft.com/office/drawing/2014/main" id="{44E7728B-0525-4647-BA68-281F08C6F6CB}"/>
                    </a:ext>
                  </a:extLst>
                </p:cNvPr>
                <p:cNvSpPr/>
                <p:nvPr/>
              </p:nvSpPr>
              <p:spPr>
                <a:xfrm>
                  <a:off x="6213258" y="4234859"/>
                  <a:ext cx="233729" cy="144529"/>
                </a:xfrm>
                <a:custGeom>
                  <a:avLst/>
                  <a:gdLst>
                    <a:gd name="connsiteX0" fmla="*/ 208849 w 233729"/>
                    <a:gd name="connsiteY0" fmla="*/ 144529 h 144529"/>
                    <a:gd name="connsiteX1" fmla="*/ 196942 w 233729"/>
                    <a:gd name="connsiteY1" fmla="*/ 144529 h 144529"/>
                    <a:gd name="connsiteX2" fmla="*/ 190373 w 233729"/>
                    <a:gd name="connsiteY2" fmla="*/ 137955 h 144529"/>
                    <a:gd name="connsiteX3" fmla="*/ 196942 w 233729"/>
                    <a:gd name="connsiteY3" fmla="*/ 131408 h 144529"/>
                    <a:gd name="connsiteX4" fmla="*/ 208849 w 233729"/>
                    <a:gd name="connsiteY4" fmla="*/ 131408 h 144529"/>
                    <a:gd name="connsiteX5" fmla="*/ 218187 w 233729"/>
                    <a:gd name="connsiteY5" fmla="*/ 127516 h 144529"/>
                    <a:gd name="connsiteX6" fmla="*/ 219009 w 233729"/>
                    <a:gd name="connsiteY6" fmla="*/ 109146 h 144529"/>
                    <a:gd name="connsiteX7" fmla="*/ 198700 w 233729"/>
                    <a:gd name="connsiteY7" fmla="*/ 46261 h 144529"/>
                    <a:gd name="connsiteX8" fmla="*/ 160983 w 233729"/>
                    <a:gd name="connsiteY8" fmla="*/ 13135 h 144529"/>
                    <a:gd name="connsiteX9" fmla="*/ 72754 w 233729"/>
                    <a:gd name="connsiteY9" fmla="*/ 13135 h 144529"/>
                    <a:gd name="connsiteX10" fmla="*/ 34977 w 233729"/>
                    <a:gd name="connsiteY10" fmla="*/ 46441 h 144529"/>
                    <a:gd name="connsiteX11" fmla="*/ 14715 w 233729"/>
                    <a:gd name="connsiteY11" fmla="*/ 109193 h 144529"/>
                    <a:gd name="connsiteX12" fmla="*/ 15548 w 233729"/>
                    <a:gd name="connsiteY12" fmla="*/ 127518 h 144529"/>
                    <a:gd name="connsiteX13" fmla="*/ 24886 w 233729"/>
                    <a:gd name="connsiteY13" fmla="*/ 131408 h 144529"/>
                    <a:gd name="connsiteX14" fmla="*/ 40086 w 233729"/>
                    <a:gd name="connsiteY14" fmla="*/ 131408 h 144529"/>
                    <a:gd name="connsiteX15" fmla="*/ 46655 w 233729"/>
                    <a:gd name="connsiteY15" fmla="*/ 137955 h 144529"/>
                    <a:gd name="connsiteX16" fmla="*/ 40086 w 233729"/>
                    <a:gd name="connsiteY16" fmla="*/ 144529 h 144529"/>
                    <a:gd name="connsiteX17" fmla="*/ 24886 w 233729"/>
                    <a:gd name="connsiteY17" fmla="*/ 144529 h 144529"/>
                    <a:gd name="connsiteX18" fmla="*/ 4947 w 233729"/>
                    <a:gd name="connsiteY18" fmla="*/ 135298 h 144529"/>
                    <a:gd name="connsiteX19" fmla="*/ 2194 w 233729"/>
                    <a:gd name="connsiteY19" fmla="*/ 105196 h 144529"/>
                    <a:gd name="connsiteX20" fmla="*/ 22530 w 233729"/>
                    <a:gd name="connsiteY20" fmla="*/ 42223 h 144529"/>
                    <a:gd name="connsiteX21" fmla="*/ 72752 w 233729"/>
                    <a:gd name="connsiteY21" fmla="*/ 0 h 144529"/>
                    <a:gd name="connsiteX22" fmla="*/ 160981 w 233729"/>
                    <a:gd name="connsiteY22" fmla="*/ 0 h 144529"/>
                    <a:gd name="connsiteX23" fmla="*/ 211142 w 233729"/>
                    <a:gd name="connsiteY23" fmla="*/ 42045 h 144529"/>
                    <a:gd name="connsiteX24" fmla="*/ 231525 w 233729"/>
                    <a:gd name="connsiteY24" fmla="*/ 105155 h 144529"/>
                    <a:gd name="connsiteX25" fmla="*/ 228786 w 233729"/>
                    <a:gd name="connsiteY25" fmla="*/ 135298 h 144529"/>
                    <a:gd name="connsiteX26" fmla="*/ 208849 w 233729"/>
                    <a:gd name="connsiteY26" fmla="*/ 144529 h 144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3729" h="144529">
                      <a:moveTo>
                        <a:pt x="208849" y="144529"/>
                      </a:moveTo>
                      <a:lnTo>
                        <a:pt x="196942" y="144529"/>
                      </a:lnTo>
                      <a:cubicBezTo>
                        <a:pt x="193312" y="144529"/>
                        <a:pt x="190373" y="141598"/>
                        <a:pt x="190373" y="137955"/>
                      </a:cubicBezTo>
                      <a:cubicBezTo>
                        <a:pt x="190373" y="134339"/>
                        <a:pt x="193315" y="131408"/>
                        <a:pt x="196942" y="131408"/>
                      </a:cubicBezTo>
                      <a:lnTo>
                        <a:pt x="208849" y="131408"/>
                      </a:lnTo>
                      <a:cubicBezTo>
                        <a:pt x="213218" y="131408"/>
                        <a:pt x="216275" y="130126"/>
                        <a:pt x="218187" y="127516"/>
                      </a:cubicBezTo>
                      <a:cubicBezTo>
                        <a:pt x="221042" y="123620"/>
                        <a:pt x="221357" y="116583"/>
                        <a:pt x="219009" y="109146"/>
                      </a:cubicBezTo>
                      <a:lnTo>
                        <a:pt x="198700" y="46261"/>
                      </a:lnTo>
                      <a:cubicBezTo>
                        <a:pt x="190693" y="23714"/>
                        <a:pt x="178687" y="13135"/>
                        <a:pt x="160983" y="13135"/>
                      </a:cubicBezTo>
                      <a:lnTo>
                        <a:pt x="72754" y="13135"/>
                      </a:lnTo>
                      <a:cubicBezTo>
                        <a:pt x="55048" y="13135"/>
                        <a:pt x="43044" y="23714"/>
                        <a:pt x="34977" y="46441"/>
                      </a:cubicBezTo>
                      <a:lnTo>
                        <a:pt x="14715" y="109193"/>
                      </a:lnTo>
                      <a:cubicBezTo>
                        <a:pt x="12378" y="116583"/>
                        <a:pt x="12693" y="123623"/>
                        <a:pt x="15548" y="127518"/>
                      </a:cubicBezTo>
                      <a:cubicBezTo>
                        <a:pt x="17460" y="130129"/>
                        <a:pt x="20517" y="131408"/>
                        <a:pt x="24886" y="131408"/>
                      </a:cubicBezTo>
                      <a:lnTo>
                        <a:pt x="40086" y="131408"/>
                      </a:lnTo>
                      <a:cubicBezTo>
                        <a:pt x="43716" y="131408"/>
                        <a:pt x="46655" y="134339"/>
                        <a:pt x="46655" y="137955"/>
                      </a:cubicBezTo>
                      <a:cubicBezTo>
                        <a:pt x="46655" y="141598"/>
                        <a:pt x="43713" y="144529"/>
                        <a:pt x="40086" y="144529"/>
                      </a:cubicBezTo>
                      <a:lnTo>
                        <a:pt x="24886" y="144529"/>
                      </a:lnTo>
                      <a:cubicBezTo>
                        <a:pt x="14014" y="144529"/>
                        <a:pt x="8045" y="139516"/>
                        <a:pt x="4947" y="135298"/>
                      </a:cubicBezTo>
                      <a:cubicBezTo>
                        <a:pt x="-496" y="127858"/>
                        <a:pt x="-1499" y="116893"/>
                        <a:pt x="2194" y="105196"/>
                      </a:cubicBezTo>
                      <a:lnTo>
                        <a:pt x="22530" y="42223"/>
                      </a:lnTo>
                      <a:cubicBezTo>
                        <a:pt x="32498" y="14146"/>
                        <a:pt x="49375" y="0"/>
                        <a:pt x="72752" y="0"/>
                      </a:cubicBezTo>
                      <a:lnTo>
                        <a:pt x="160981" y="0"/>
                      </a:lnTo>
                      <a:cubicBezTo>
                        <a:pt x="184358" y="0"/>
                        <a:pt x="201234" y="14148"/>
                        <a:pt x="211142" y="42045"/>
                      </a:cubicBezTo>
                      <a:lnTo>
                        <a:pt x="231525" y="105155"/>
                      </a:lnTo>
                      <a:cubicBezTo>
                        <a:pt x="235231" y="116895"/>
                        <a:pt x="234229" y="127861"/>
                        <a:pt x="228786" y="135298"/>
                      </a:cubicBezTo>
                      <a:cubicBezTo>
                        <a:pt x="225693" y="139516"/>
                        <a:pt x="219722" y="144529"/>
                        <a:pt x="208849" y="144529"/>
                      </a:cubicBezTo>
                      <a:close/>
                    </a:path>
                  </a:pathLst>
                </a:custGeom>
                <a:grpFill/>
                <a:ln w="274" cap="flat">
                  <a:noFill/>
                  <a:prstDash val="solid"/>
                  <a:miter/>
                </a:ln>
              </p:spPr>
              <p:txBody>
                <a:bodyPr rtlCol="0" anchor="ctr"/>
                <a:lstStyle/>
                <a:p>
                  <a:endParaRPr lang="en-GB" dirty="0"/>
                </a:p>
              </p:txBody>
            </p:sp>
          </p:grpSp>
          <p:grpSp>
            <p:nvGrpSpPr>
              <p:cNvPr id="1009" name="Grafik 349">
                <a:extLst>
                  <a:ext uri="{FF2B5EF4-FFF2-40B4-BE49-F238E27FC236}">
                    <a16:creationId xmlns:a16="http://schemas.microsoft.com/office/drawing/2014/main" id="{A53E0EF4-6A73-4814-932C-9D937B4E740B}"/>
                  </a:ext>
                </a:extLst>
              </p:cNvPr>
              <p:cNvGrpSpPr/>
              <p:nvPr/>
            </p:nvGrpSpPr>
            <p:grpSpPr>
              <a:xfrm>
                <a:off x="6252766" y="4273500"/>
                <a:ext cx="156513" cy="139581"/>
                <a:chOff x="6252766" y="4273500"/>
                <a:chExt cx="156513" cy="139581"/>
              </a:xfrm>
              <a:grpFill/>
            </p:grpSpPr>
            <p:sp>
              <p:nvSpPr>
                <p:cNvPr id="1010" name="Freihandform: Form 1009">
                  <a:extLst>
                    <a:ext uri="{FF2B5EF4-FFF2-40B4-BE49-F238E27FC236}">
                      <a16:creationId xmlns:a16="http://schemas.microsoft.com/office/drawing/2014/main" id="{13C87853-DB15-4E1A-9BE7-4253BE0400D3}"/>
                    </a:ext>
                  </a:extLst>
                </p:cNvPr>
                <p:cNvSpPr/>
                <p:nvPr/>
              </p:nvSpPr>
              <p:spPr>
                <a:xfrm>
                  <a:off x="6274532" y="4339477"/>
                  <a:ext cx="112923" cy="73604"/>
                </a:xfrm>
                <a:custGeom>
                  <a:avLst/>
                  <a:gdLst>
                    <a:gd name="connsiteX0" fmla="*/ 56464 w 112923"/>
                    <a:gd name="connsiteY0" fmla="*/ 73604 h 73604"/>
                    <a:gd name="connsiteX1" fmla="*/ 53205 w 112923"/>
                    <a:gd name="connsiteY1" fmla="*/ 72727 h 73604"/>
                    <a:gd name="connsiteX2" fmla="*/ 3312 w 112923"/>
                    <a:gd name="connsiteY2" fmla="*/ 44212 h 73604"/>
                    <a:gd name="connsiteX3" fmla="*/ 0 w 112923"/>
                    <a:gd name="connsiteY3" fmla="*/ 38514 h 73604"/>
                    <a:gd name="connsiteX4" fmla="*/ 0 w 112923"/>
                    <a:gd name="connsiteY4" fmla="*/ 6569 h 73604"/>
                    <a:gd name="connsiteX5" fmla="*/ 6569 w 112923"/>
                    <a:gd name="connsiteY5" fmla="*/ 0 h 73604"/>
                    <a:gd name="connsiteX6" fmla="*/ 13137 w 112923"/>
                    <a:gd name="connsiteY6" fmla="*/ 6569 h 73604"/>
                    <a:gd name="connsiteX7" fmla="*/ 13137 w 112923"/>
                    <a:gd name="connsiteY7" fmla="*/ 34707 h 73604"/>
                    <a:gd name="connsiteX8" fmla="*/ 56459 w 112923"/>
                    <a:gd name="connsiteY8" fmla="*/ 59470 h 73604"/>
                    <a:gd name="connsiteX9" fmla="*/ 99783 w 112923"/>
                    <a:gd name="connsiteY9" fmla="*/ 34707 h 73604"/>
                    <a:gd name="connsiteX10" fmla="*/ 99783 w 112923"/>
                    <a:gd name="connsiteY10" fmla="*/ 6569 h 73604"/>
                    <a:gd name="connsiteX11" fmla="*/ 106352 w 112923"/>
                    <a:gd name="connsiteY11" fmla="*/ 0 h 73604"/>
                    <a:gd name="connsiteX12" fmla="*/ 112923 w 112923"/>
                    <a:gd name="connsiteY12" fmla="*/ 6569 h 73604"/>
                    <a:gd name="connsiteX13" fmla="*/ 112923 w 112923"/>
                    <a:gd name="connsiteY13" fmla="*/ 38514 h 73604"/>
                    <a:gd name="connsiteX14" fmla="*/ 109612 w 112923"/>
                    <a:gd name="connsiteY14" fmla="*/ 44212 h 73604"/>
                    <a:gd name="connsiteX15" fmla="*/ 59716 w 112923"/>
                    <a:gd name="connsiteY15" fmla="*/ 72727 h 73604"/>
                    <a:gd name="connsiteX16" fmla="*/ 56464 w 112923"/>
                    <a:gd name="connsiteY16" fmla="*/ 73604 h 73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2923" h="73604">
                      <a:moveTo>
                        <a:pt x="56464" y="73604"/>
                      </a:moveTo>
                      <a:cubicBezTo>
                        <a:pt x="55339" y="73604"/>
                        <a:pt x="54215" y="73303"/>
                        <a:pt x="53205" y="72727"/>
                      </a:cubicBezTo>
                      <a:lnTo>
                        <a:pt x="3312" y="44212"/>
                      </a:lnTo>
                      <a:cubicBezTo>
                        <a:pt x="1266" y="43061"/>
                        <a:pt x="0" y="40870"/>
                        <a:pt x="0" y="38514"/>
                      </a:cubicBezTo>
                      <a:lnTo>
                        <a:pt x="0" y="6569"/>
                      </a:lnTo>
                      <a:cubicBezTo>
                        <a:pt x="0" y="2937"/>
                        <a:pt x="2942" y="0"/>
                        <a:pt x="6569" y="0"/>
                      </a:cubicBezTo>
                      <a:cubicBezTo>
                        <a:pt x="10198" y="0"/>
                        <a:pt x="13137" y="2939"/>
                        <a:pt x="13137" y="6569"/>
                      </a:cubicBezTo>
                      <a:lnTo>
                        <a:pt x="13137" y="34707"/>
                      </a:lnTo>
                      <a:lnTo>
                        <a:pt x="56459" y="59470"/>
                      </a:lnTo>
                      <a:lnTo>
                        <a:pt x="99783" y="34707"/>
                      </a:lnTo>
                      <a:lnTo>
                        <a:pt x="99783" y="6569"/>
                      </a:lnTo>
                      <a:cubicBezTo>
                        <a:pt x="99783" y="2937"/>
                        <a:pt x="102725" y="0"/>
                        <a:pt x="106352" y="0"/>
                      </a:cubicBezTo>
                      <a:cubicBezTo>
                        <a:pt x="109981" y="0"/>
                        <a:pt x="112923" y="2939"/>
                        <a:pt x="112923" y="6569"/>
                      </a:cubicBezTo>
                      <a:lnTo>
                        <a:pt x="112923" y="38514"/>
                      </a:lnTo>
                      <a:cubicBezTo>
                        <a:pt x="112923" y="40870"/>
                        <a:pt x="111661" y="43061"/>
                        <a:pt x="109612" y="44212"/>
                      </a:cubicBezTo>
                      <a:lnTo>
                        <a:pt x="59716" y="72727"/>
                      </a:lnTo>
                      <a:cubicBezTo>
                        <a:pt x="58713" y="73303"/>
                        <a:pt x="57590" y="73604"/>
                        <a:pt x="56464" y="73604"/>
                      </a:cubicBezTo>
                      <a:close/>
                    </a:path>
                  </a:pathLst>
                </a:custGeom>
                <a:grpFill/>
                <a:ln w="274" cap="flat">
                  <a:noFill/>
                  <a:prstDash val="solid"/>
                  <a:miter/>
                </a:ln>
              </p:spPr>
              <p:txBody>
                <a:bodyPr rtlCol="0" anchor="ctr"/>
                <a:lstStyle/>
                <a:p>
                  <a:endParaRPr lang="en-GB" dirty="0"/>
                </a:p>
              </p:txBody>
            </p:sp>
            <p:sp>
              <p:nvSpPr>
                <p:cNvPr id="1011" name="Freihandform: Form 1010">
                  <a:extLst>
                    <a:ext uri="{FF2B5EF4-FFF2-40B4-BE49-F238E27FC236}">
                      <a16:creationId xmlns:a16="http://schemas.microsoft.com/office/drawing/2014/main" id="{6B4EA754-70D1-4308-90C2-43AE5DF0D48C}"/>
                    </a:ext>
                  </a:extLst>
                </p:cNvPr>
                <p:cNvSpPr/>
                <p:nvPr/>
              </p:nvSpPr>
              <p:spPr>
                <a:xfrm>
                  <a:off x="6274531" y="4285885"/>
                  <a:ext cx="112928" cy="41661"/>
                </a:xfrm>
                <a:custGeom>
                  <a:avLst/>
                  <a:gdLst>
                    <a:gd name="connsiteX0" fmla="*/ 6578 w 112928"/>
                    <a:gd name="connsiteY0" fmla="*/ 41654 h 41661"/>
                    <a:gd name="connsiteX1" fmla="*/ 867 w 112928"/>
                    <a:gd name="connsiteY1" fmla="*/ 38343 h 41661"/>
                    <a:gd name="connsiteX2" fmla="*/ 3310 w 112928"/>
                    <a:gd name="connsiteY2" fmla="*/ 29380 h 41661"/>
                    <a:gd name="connsiteX3" fmla="*/ 53203 w 112928"/>
                    <a:gd name="connsiteY3" fmla="*/ 867 h 41661"/>
                    <a:gd name="connsiteX4" fmla="*/ 59723 w 112928"/>
                    <a:gd name="connsiteY4" fmla="*/ 867 h 41661"/>
                    <a:gd name="connsiteX5" fmla="*/ 109618 w 112928"/>
                    <a:gd name="connsiteY5" fmla="*/ 29380 h 41661"/>
                    <a:gd name="connsiteX6" fmla="*/ 112062 w 112928"/>
                    <a:gd name="connsiteY6" fmla="*/ 38343 h 41661"/>
                    <a:gd name="connsiteX7" fmla="*/ 103099 w 112928"/>
                    <a:gd name="connsiteY7" fmla="*/ 40786 h 41661"/>
                    <a:gd name="connsiteX8" fmla="*/ 56463 w 112928"/>
                    <a:gd name="connsiteY8" fmla="*/ 14133 h 41661"/>
                    <a:gd name="connsiteX9" fmla="*/ 9830 w 112928"/>
                    <a:gd name="connsiteY9" fmla="*/ 40786 h 41661"/>
                    <a:gd name="connsiteX10" fmla="*/ 6578 w 112928"/>
                    <a:gd name="connsiteY10" fmla="*/ 41654 h 4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2928" h="41661">
                      <a:moveTo>
                        <a:pt x="6578" y="41654"/>
                      </a:moveTo>
                      <a:cubicBezTo>
                        <a:pt x="4296" y="41654"/>
                        <a:pt x="2080" y="40469"/>
                        <a:pt x="867" y="38343"/>
                      </a:cubicBezTo>
                      <a:cubicBezTo>
                        <a:pt x="-933" y="35193"/>
                        <a:pt x="160" y="31182"/>
                        <a:pt x="3310" y="29380"/>
                      </a:cubicBezTo>
                      <a:lnTo>
                        <a:pt x="53203" y="867"/>
                      </a:lnTo>
                      <a:cubicBezTo>
                        <a:pt x="55225" y="-289"/>
                        <a:pt x="57701" y="-289"/>
                        <a:pt x="59723" y="867"/>
                      </a:cubicBezTo>
                      <a:lnTo>
                        <a:pt x="109618" y="29380"/>
                      </a:lnTo>
                      <a:cubicBezTo>
                        <a:pt x="112768" y="31182"/>
                        <a:pt x="113861" y="35193"/>
                        <a:pt x="112062" y="38343"/>
                      </a:cubicBezTo>
                      <a:cubicBezTo>
                        <a:pt x="110262" y="41498"/>
                        <a:pt x="106255" y="42602"/>
                        <a:pt x="103099" y="40786"/>
                      </a:cubicBezTo>
                      <a:lnTo>
                        <a:pt x="56463" y="14133"/>
                      </a:lnTo>
                      <a:lnTo>
                        <a:pt x="9830" y="40786"/>
                      </a:lnTo>
                      <a:cubicBezTo>
                        <a:pt x="8805" y="41380"/>
                        <a:pt x="7682" y="41654"/>
                        <a:pt x="6578" y="41654"/>
                      </a:cubicBezTo>
                      <a:close/>
                    </a:path>
                  </a:pathLst>
                </a:custGeom>
                <a:grpFill/>
                <a:ln w="274" cap="flat">
                  <a:noFill/>
                  <a:prstDash val="solid"/>
                  <a:miter/>
                </a:ln>
              </p:spPr>
              <p:txBody>
                <a:bodyPr rtlCol="0" anchor="ctr"/>
                <a:lstStyle/>
                <a:p>
                  <a:endParaRPr lang="en-GB" dirty="0"/>
                </a:p>
              </p:txBody>
            </p:sp>
            <p:sp>
              <p:nvSpPr>
                <p:cNvPr id="1012" name="Freihandform: Form 1011">
                  <a:extLst>
                    <a:ext uri="{FF2B5EF4-FFF2-40B4-BE49-F238E27FC236}">
                      <a16:creationId xmlns:a16="http://schemas.microsoft.com/office/drawing/2014/main" id="{73F8D1BE-4C32-4D8B-9352-AEDCF89593FF}"/>
                    </a:ext>
                  </a:extLst>
                </p:cNvPr>
                <p:cNvSpPr/>
                <p:nvPr/>
              </p:nvSpPr>
              <p:spPr>
                <a:xfrm>
                  <a:off x="6324424" y="4314225"/>
                  <a:ext cx="63035" cy="41655"/>
                </a:xfrm>
                <a:custGeom>
                  <a:avLst/>
                  <a:gdLst>
                    <a:gd name="connsiteX0" fmla="*/ 6578 w 63035"/>
                    <a:gd name="connsiteY0" fmla="*/ 41656 h 41655"/>
                    <a:gd name="connsiteX1" fmla="*/ 867 w 63035"/>
                    <a:gd name="connsiteY1" fmla="*/ 38344 h 41655"/>
                    <a:gd name="connsiteX2" fmla="*/ 3310 w 63035"/>
                    <a:gd name="connsiteY2" fmla="*/ 29381 h 41655"/>
                    <a:gd name="connsiteX3" fmla="*/ 53206 w 63035"/>
                    <a:gd name="connsiteY3" fmla="*/ 868 h 41655"/>
                    <a:gd name="connsiteX4" fmla="*/ 62169 w 63035"/>
                    <a:gd name="connsiteY4" fmla="*/ 3311 h 41655"/>
                    <a:gd name="connsiteX5" fmla="*/ 59725 w 63035"/>
                    <a:gd name="connsiteY5" fmla="*/ 12274 h 41655"/>
                    <a:gd name="connsiteX6" fmla="*/ 9830 w 63035"/>
                    <a:gd name="connsiteY6" fmla="*/ 40787 h 41655"/>
                    <a:gd name="connsiteX7" fmla="*/ 6578 w 63035"/>
                    <a:gd name="connsiteY7" fmla="*/ 41656 h 41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35" h="41655">
                      <a:moveTo>
                        <a:pt x="6578" y="41656"/>
                      </a:moveTo>
                      <a:cubicBezTo>
                        <a:pt x="4296" y="41656"/>
                        <a:pt x="2080" y="40470"/>
                        <a:pt x="867" y="38344"/>
                      </a:cubicBezTo>
                      <a:cubicBezTo>
                        <a:pt x="-933" y="35194"/>
                        <a:pt x="160" y="31183"/>
                        <a:pt x="3310" y="29381"/>
                      </a:cubicBezTo>
                      <a:lnTo>
                        <a:pt x="53206" y="868"/>
                      </a:lnTo>
                      <a:cubicBezTo>
                        <a:pt x="56362" y="-934"/>
                        <a:pt x="60369" y="161"/>
                        <a:pt x="62169" y="3311"/>
                      </a:cubicBezTo>
                      <a:cubicBezTo>
                        <a:pt x="63969" y="6462"/>
                        <a:pt x="62875" y="10472"/>
                        <a:pt x="59725" y="12274"/>
                      </a:cubicBezTo>
                      <a:lnTo>
                        <a:pt x="9830" y="40787"/>
                      </a:lnTo>
                      <a:cubicBezTo>
                        <a:pt x="8805" y="41379"/>
                        <a:pt x="7682" y="41656"/>
                        <a:pt x="6578" y="41656"/>
                      </a:cubicBezTo>
                      <a:close/>
                    </a:path>
                  </a:pathLst>
                </a:custGeom>
                <a:grpFill/>
                <a:ln w="274" cap="flat">
                  <a:noFill/>
                  <a:prstDash val="solid"/>
                  <a:miter/>
                </a:ln>
              </p:spPr>
              <p:txBody>
                <a:bodyPr rtlCol="0" anchor="ctr"/>
                <a:lstStyle/>
                <a:p>
                  <a:endParaRPr lang="en-GB" dirty="0"/>
                </a:p>
              </p:txBody>
            </p:sp>
            <p:sp>
              <p:nvSpPr>
                <p:cNvPr id="1013" name="Freihandform: Form 1012">
                  <a:extLst>
                    <a:ext uri="{FF2B5EF4-FFF2-40B4-BE49-F238E27FC236}">
                      <a16:creationId xmlns:a16="http://schemas.microsoft.com/office/drawing/2014/main" id="{85ABD04E-7E89-403B-87D5-BF1E5BEAEFDF}"/>
                    </a:ext>
                  </a:extLst>
                </p:cNvPr>
                <p:cNvSpPr/>
                <p:nvPr/>
              </p:nvSpPr>
              <p:spPr>
                <a:xfrm>
                  <a:off x="6324428" y="4342740"/>
                  <a:ext cx="13137" cy="70149"/>
                </a:xfrm>
                <a:custGeom>
                  <a:avLst/>
                  <a:gdLst>
                    <a:gd name="connsiteX0" fmla="*/ 6569 w 13137"/>
                    <a:gd name="connsiteY0" fmla="*/ 70150 h 70149"/>
                    <a:gd name="connsiteX1" fmla="*/ 0 w 13137"/>
                    <a:gd name="connsiteY1" fmla="*/ 63603 h 70149"/>
                    <a:gd name="connsiteX2" fmla="*/ 0 w 13137"/>
                    <a:gd name="connsiteY2" fmla="*/ 6572 h 70149"/>
                    <a:gd name="connsiteX3" fmla="*/ 6569 w 13137"/>
                    <a:gd name="connsiteY3" fmla="*/ 0 h 70149"/>
                    <a:gd name="connsiteX4" fmla="*/ 13137 w 13137"/>
                    <a:gd name="connsiteY4" fmla="*/ 6572 h 70149"/>
                    <a:gd name="connsiteX5" fmla="*/ 13137 w 13137"/>
                    <a:gd name="connsiteY5" fmla="*/ 63603 h 70149"/>
                    <a:gd name="connsiteX6" fmla="*/ 6569 w 13137"/>
                    <a:gd name="connsiteY6" fmla="*/ 70150 h 70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70149">
                      <a:moveTo>
                        <a:pt x="6569" y="70150"/>
                      </a:moveTo>
                      <a:cubicBezTo>
                        <a:pt x="2939" y="70150"/>
                        <a:pt x="0" y="67219"/>
                        <a:pt x="0" y="63603"/>
                      </a:cubicBezTo>
                      <a:lnTo>
                        <a:pt x="0" y="6572"/>
                      </a:lnTo>
                      <a:cubicBezTo>
                        <a:pt x="0" y="2939"/>
                        <a:pt x="2942" y="0"/>
                        <a:pt x="6569" y="0"/>
                      </a:cubicBezTo>
                      <a:cubicBezTo>
                        <a:pt x="10198" y="0"/>
                        <a:pt x="13137" y="2939"/>
                        <a:pt x="13137" y="6572"/>
                      </a:cubicBezTo>
                      <a:lnTo>
                        <a:pt x="13137" y="63603"/>
                      </a:lnTo>
                      <a:cubicBezTo>
                        <a:pt x="13137" y="67219"/>
                        <a:pt x="10196" y="70150"/>
                        <a:pt x="6569" y="70150"/>
                      </a:cubicBezTo>
                      <a:close/>
                    </a:path>
                  </a:pathLst>
                </a:custGeom>
                <a:grpFill/>
                <a:ln w="274" cap="flat">
                  <a:noFill/>
                  <a:prstDash val="solid"/>
                  <a:miter/>
                </a:ln>
              </p:spPr>
              <p:txBody>
                <a:bodyPr rtlCol="0" anchor="ctr"/>
                <a:lstStyle/>
                <a:p>
                  <a:endParaRPr lang="en-GB" dirty="0"/>
                </a:p>
              </p:txBody>
            </p:sp>
            <p:sp>
              <p:nvSpPr>
                <p:cNvPr id="1014" name="Freihandform: Form 1013">
                  <a:extLst>
                    <a:ext uri="{FF2B5EF4-FFF2-40B4-BE49-F238E27FC236}">
                      <a16:creationId xmlns:a16="http://schemas.microsoft.com/office/drawing/2014/main" id="{A4997E2A-D81D-485E-BD35-17F1A6D8F38E}"/>
                    </a:ext>
                  </a:extLst>
                </p:cNvPr>
                <p:cNvSpPr/>
                <p:nvPr/>
              </p:nvSpPr>
              <p:spPr>
                <a:xfrm>
                  <a:off x="6252766" y="4314378"/>
                  <a:ext cx="84800" cy="53971"/>
                </a:xfrm>
                <a:custGeom>
                  <a:avLst/>
                  <a:gdLst>
                    <a:gd name="connsiteX0" fmla="*/ 56418 w 84800"/>
                    <a:gd name="connsiteY0" fmla="*/ 53971 h 53971"/>
                    <a:gd name="connsiteX1" fmla="*/ 53164 w 84800"/>
                    <a:gd name="connsiteY1" fmla="*/ 53094 h 53971"/>
                    <a:gd name="connsiteX2" fmla="*/ 3317 w 84800"/>
                    <a:gd name="connsiteY2" fmla="*/ 24680 h 53971"/>
                    <a:gd name="connsiteX3" fmla="*/ 0 w 84800"/>
                    <a:gd name="connsiteY3" fmla="*/ 18963 h 53971"/>
                    <a:gd name="connsiteX4" fmla="*/ 3323 w 84800"/>
                    <a:gd name="connsiteY4" fmla="*/ 13260 h 53971"/>
                    <a:gd name="connsiteX5" fmla="*/ 25138 w 84800"/>
                    <a:gd name="connsiteY5" fmla="*/ 857 h 53971"/>
                    <a:gd name="connsiteX6" fmla="*/ 31636 w 84800"/>
                    <a:gd name="connsiteY6" fmla="*/ 857 h 53971"/>
                    <a:gd name="connsiteX7" fmla="*/ 81479 w 84800"/>
                    <a:gd name="connsiteY7" fmla="*/ 29222 h 53971"/>
                    <a:gd name="connsiteX8" fmla="*/ 83939 w 84800"/>
                    <a:gd name="connsiteY8" fmla="*/ 38179 h 53971"/>
                    <a:gd name="connsiteX9" fmla="*/ 81356 w 84800"/>
                    <a:gd name="connsiteY9" fmla="*/ 40713 h 53971"/>
                    <a:gd name="connsiteX10" fmla="*/ 59675 w 84800"/>
                    <a:gd name="connsiteY10" fmla="*/ 53094 h 53971"/>
                    <a:gd name="connsiteX11" fmla="*/ 56418 w 84800"/>
                    <a:gd name="connsiteY11" fmla="*/ 53971 h 53971"/>
                    <a:gd name="connsiteX12" fmla="*/ 19849 w 84800"/>
                    <a:gd name="connsiteY12" fmla="*/ 18974 h 53971"/>
                    <a:gd name="connsiteX13" fmla="*/ 56415 w 84800"/>
                    <a:gd name="connsiteY13" fmla="*/ 39826 h 53971"/>
                    <a:gd name="connsiteX14" fmla="*/ 64964 w 84800"/>
                    <a:gd name="connsiteY14" fmla="*/ 34944 h 53971"/>
                    <a:gd name="connsiteX15" fmla="*/ 28387 w 84800"/>
                    <a:gd name="connsiteY15" fmla="*/ 14123 h 53971"/>
                    <a:gd name="connsiteX16" fmla="*/ 19849 w 84800"/>
                    <a:gd name="connsiteY16" fmla="*/ 18974 h 53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800" h="53971">
                      <a:moveTo>
                        <a:pt x="56418" y="53971"/>
                      </a:moveTo>
                      <a:cubicBezTo>
                        <a:pt x="55295" y="53971"/>
                        <a:pt x="54172" y="53670"/>
                        <a:pt x="53164" y="53094"/>
                      </a:cubicBezTo>
                      <a:lnTo>
                        <a:pt x="3317" y="24680"/>
                      </a:lnTo>
                      <a:cubicBezTo>
                        <a:pt x="1263" y="23505"/>
                        <a:pt x="0" y="21325"/>
                        <a:pt x="0" y="18963"/>
                      </a:cubicBezTo>
                      <a:cubicBezTo>
                        <a:pt x="0" y="16602"/>
                        <a:pt x="1271" y="14427"/>
                        <a:pt x="3323" y="13260"/>
                      </a:cubicBezTo>
                      <a:lnTo>
                        <a:pt x="25138" y="857"/>
                      </a:lnTo>
                      <a:cubicBezTo>
                        <a:pt x="27157" y="-291"/>
                        <a:pt x="29622" y="-280"/>
                        <a:pt x="31636" y="857"/>
                      </a:cubicBezTo>
                      <a:lnTo>
                        <a:pt x="81479" y="29222"/>
                      </a:lnTo>
                      <a:cubicBezTo>
                        <a:pt x="84632" y="31019"/>
                        <a:pt x="85733" y="35029"/>
                        <a:pt x="83939" y="38179"/>
                      </a:cubicBezTo>
                      <a:cubicBezTo>
                        <a:pt x="83306" y="39289"/>
                        <a:pt x="82402" y="40149"/>
                        <a:pt x="81356" y="40713"/>
                      </a:cubicBezTo>
                      <a:lnTo>
                        <a:pt x="59675" y="53094"/>
                      </a:lnTo>
                      <a:cubicBezTo>
                        <a:pt x="58667" y="53670"/>
                        <a:pt x="57544" y="53971"/>
                        <a:pt x="56418" y="53971"/>
                      </a:cubicBezTo>
                      <a:close/>
                      <a:moveTo>
                        <a:pt x="19849" y="18974"/>
                      </a:moveTo>
                      <a:lnTo>
                        <a:pt x="56415" y="39826"/>
                      </a:lnTo>
                      <a:lnTo>
                        <a:pt x="64964" y="34944"/>
                      </a:lnTo>
                      <a:lnTo>
                        <a:pt x="28387" y="14123"/>
                      </a:lnTo>
                      <a:lnTo>
                        <a:pt x="19849" y="18974"/>
                      </a:lnTo>
                      <a:close/>
                    </a:path>
                  </a:pathLst>
                </a:custGeom>
                <a:grpFill/>
                <a:ln w="274" cap="flat">
                  <a:noFill/>
                  <a:prstDash val="solid"/>
                  <a:miter/>
                </a:ln>
              </p:spPr>
              <p:txBody>
                <a:bodyPr rtlCol="0" anchor="ctr"/>
                <a:lstStyle/>
                <a:p>
                  <a:endParaRPr lang="en-GB" dirty="0"/>
                </a:p>
              </p:txBody>
            </p:sp>
            <p:sp>
              <p:nvSpPr>
                <p:cNvPr id="1015" name="Freihandform: Form 1014">
                  <a:extLst>
                    <a:ext uri="{FF2B5EF4-FFF2-40B4-BE49-F238E27FC236}">
                      <a16:creationId xmlns:a16="http://schemas.microsoft.com/office/drawing/2014/main" id="{16558E92-C883-489E-AFE4-9D486BBA98C1}"/>
                    </a:ext>
                  </a:extLst>
                </p:cNvPr>
                <p:cNvSpPr/>
                <p:nvPr/>
              </p:nvSpPr>
              <p:spPr>
                <a:xfrm>
                  <a:off x="6324466" y="4273500"/>
                  <a:ext cx="84802" cy="53962"/>
                </a:xfrm>
                <a:custGeom>
                  <a:avLst/>
                  <a:gdLst>
                    <a:gd name="connsiteX0" fmla="*/ 56418 w 84802"/>
                    <a:gd name="connsiteY0" fmla="*/ 53963 h 53962"/>
                    <a:gd name="connsiteX1" fmla="*/ 53164 w 84802"/>
                    <a:gd name="connsiteY1" fmla="*/ 53103 h 53962"/>
                    <a:gd name="connsiteX2" fmla="*/ 3317 w 84802"/>
                    <a:gd name="connsiteY2" fmla="*/ 24680 h 53962"/>
                    <a:gd name="connsiteX3" fmla="*/ 0 w 84802"/>
                    <a:gd name="connsiteY3" fmla="*/ 18963 h 53962"/>
                    <a:gd name="connsiteX4" fmla="*/ 3323 w 84802"/>
                    <a:gd name="connsiteY4" fmla="*/ 13260 h 53962"/>
                    <a:gd name="connsiteX5" fmla="*/ 25141 w 84802"/>
                    <a:gd name="connsiteY5" fmla="*/ 857 h 53962"/>
                    <a:gd name="connsiteX6" fmla="*/ 31638 w 84802"/>
                    <a:gd name="connsiteY6" fmla="*/ 857 h 53962"/>
                    <a:gd name="connsiteX7" fmla="*/ 81482 w 84802"/>
                    <a:gd name="connsiteY7" fmla="*/ 29222 h 53962"/>
                    <a:gd name="connsiteX8" fmla="*/ 84802 w 84802"/>
                    <a:gd name="connsiteY8" fmla="*/ 34925 h 53962"/>
                    <a:gd name="connsiteX9" fmla="*/ 81490 w 84802"/>
                    <a:gd name="connsiteY9" fmla="*/ 40636 h 53962"/>
                    <a:gd name="connsiteX10" fmla="*/ 59675 w 84802"/>
                    <a:gd name="connsiteY10" fmla="*/ 53097 h 53962"/>
                    <a:gd name="connsiteX11" fmla="*/ 56418 w 84802"/>
                    <a:gd name="connsiteY11" fmla="*/ 53963 h 53962"/>
                    <a:gd name="connsiteX12" fmla="*/ 19849 w 84802"/>
                    <a:gd name="connsiteY12" fmla="*/ 18977 h 53962"/>
                    <a:gd name="connsiteX13" fmla="*/ 56415 w 84802"/>
                    <a:gd name="connsiteY13" fmla="*/ 39828 h 53962"/>
                    <a:gd name="connsiteX14" fmla="*/ 64967 w 84802"/>
                    <a:gd name="connsiteY14" fmla="*/ 34947 h 53962"/>
                    <a:gd name="connsiteX15" fmla="*/ 28384 w 84802"/>
                    <a:gd name="connsiteY15" fmla="*/ 14126 h 53962"/>
                    <a:gd name="connsiteX16" fmla="*/ 19849 w 84802"/>
                    <a:gd name="connsiteY16" fmla="*/ 18977 h 5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802" h="53962">
                      <a:moveTo>
                        <a:pt x="56418" y="53963"/>
                      </a:moveTo>
                      <a:cubicBezTo>
                        <a:pt x="55295" y="53963"/>
                        <a:pt x="54172" y="53675"/>
                        <a:pt x="53164" y="53103"/>
                      </a:cubicBezTo>
                      <a:lnTo>
                        <a:pt x="3317" y="24680"/>
                      </a:lnTo>
                      <a:cubicBezTo>
                        <a:pt x="1263" y="23505"/>
                        <a:pt x="0" y="21324"/>
                        <a:pt x="0" y="18963"/>
                      </a:cubicBezTo>
                      <a:cubicBezTo>
                        <a:pt x="0" y="16602"/>
                        <a:pt x="1271" y="14427"/>
                        <a:pt x="3323" y="13260"/>
                      </a:cubicBezTo>
                      <a:lnTo>
                        <a:pt x="25141" y="857"/>
                      </a:lnTo>
                      <a:cubicBezTo>
                        <a:pt x="27154" y="-286"/>
                        <a:pt x="29622" y="-286"/>
                        <a:pt x="31638" y="857"/>
                      </a:cubicBezTo>
                      <a:lnTo>
                        <a:pt x="81482" y="29222"/>
                      </a:lnTo>
                      <a:cubicBezTo>
                        <a:pt x="83531" y="30389"/>
                        <a:pt x="84799" y="32564"/>
                        <a:pt x="84802" y="34925"/>
                      </a:cubicBezTo>
                      <a:cubicBezTo>
                        <a:pt x="84805" y="37286"/>
                        <a:pt x="83542" y="39467"/>
                        <a:pt x="81490" y="40636"/>
                      </a:cubicBezTo>
                      <a:lnTo>
                        <a:pt x="59675" y="53097"/>
                      </a:lnTo>
                      <a:cubicBezTo>
                        <a:pt x="58667" y="53675"/>
                        <a:pt x="57541" y="53963"/>
                        <a:pt x="56418" y="53963"/>
                      </a:cubicBezTo>
                      <a:close/>
                      <a:moveTo>
                        <a:pt x="19849" y="18977"/>
                      </a:moveTo>
                      <a:lnTo>
                        <a:pt x="56415" y="39828"/>
                      </a:lnTo>
                      <a:lnTo>
                        <a:pt x="64967" y="34947"/>
                      </a:lnTo>
                      <a:lnTo>
                        <a:pt x="28384" y="14126"/>
                      </a:lnTo>
                      <a:lnTo>
                        <a:pt x="19849" y="18977"/>
                      </a:lnTo>
                      <a:close/>
                    </a:path>
                  </a:pathLst>
                </a:custGeom>
                <a:grpFill/>
                <a:ln w="274" cap="flat">
                  <a:noFill/>
                  <a:prstDash val="solid"/>
                  <a:miter/>
                </a:ln>
              </p:spPr>
              <p:txBody>
                <a:bodyPr rtlCol="0" anchor="ctr"/>
                <a:lstStyle/>
                <a:p>
                  <a:endParaRPr lang="en-GB" dirty="0"/>
                </a:p>
              </p:txBody>
            </p:sp>
            <p:sp>
              <p:nvSpPr>
                <p:cNvPr id="1016" name="Freihandform: Form 1015">
                  <a:extLst>
                    <a:ext uri="{FF2B5EF4-FFF2-40B4-BE49-F238E27FC236}">
                      <a16:creationId xmlns:a16="http://schemas.microsoft.com/office/drawing/2014/main" id="{9466859D-5A8B-4EDD-8021-E1569F13A214}"/>
                    </a:ext>
                  </a:extLst>
                </p:cNvPr>
                <p:cNvSpPr/>
                <p:nvPr/>
              </p:nvSpPr>
              <p:spPr>
                <a:xfrm>
                  <a:off x="6324480" y="4314397"/>
                  <a:ext cx="84799" cy="53951"/>
                </a:xfrm>
                <a:custGeom>
                  <a:avLst/>
                  <a:gdLst>
                    <a:gd name="connsiteX0" fmla="*/ 28384 w 84799"/>
                    <a:gd name="connsiteY0" fmla="*/ 53952 h 53951"/>
                    <a:gd name="connsiteX1" fmla="*/ 25125 w 84799"/>
                    <a:gd name="connsiteY1" fmla="*/ 53103 h 53951"/>
                    <a:gd name="connsiteX2" fmla="*/ 3312 w 84799"/>
                    <a:gd name="connsiteY2" fmla="*/ 40636 h 53951"/>
                    <a:gd name="connsiteX3" fmla="*/ 0 w 84799"/>
                    <a:gd name="connsiteY3" fmla="*/ 34925 h 53951"/>
                    <a:gd name="connsiteX4" fmla="*/ 3320 w 84799"/>
                    <a:gd name="connsiteY4" fmla="*/ 29222 h 53951"/>
                    <a:gd name="connsiteX5" fmla="*/ 53164 w 84799"/>
                    <a:gd name="connsiteY5" fmla="*/ 857 h 53951"/>
                    <a:gd name="connsiteX6" fmla="*/ 59661 w 84799"/>
                    <a:gd name="connsiteY6" fmla="*/ 857 h 53951"/>
                    <a:gd name="connsiteX7" fmla="*/ 81477 w 84799"/>
                    <a:gd name="connsiteY7" fmla="*/ 13260 h 53951"/>
                    <a:gd name="connsiteX8" fmla="*/ 84799 w 84799"/>
                    <a:gd name="connsiteY8" fmla="*/ 18963 h 53951"/>
                    <a:gd name="connsiteX9" fmla="*/ 81482 w 84799"/>
                    <a:gd name="connsiteY9" fmla="*/ 24680 h 53951"/>
                    <a:gd name="connsiteX10" fmla="*/ 31636 w 84799"/>
                    <a:gd name="connsiteY10" fmla="*/ 53103 h 53951"/>
                    <a:gd name="connsiteX11" fmla="*/ 28384 w 84799"/>
                    <a:gd name="connsiteY11" fmla="*/ 53952 h 53951"/>
                    <a:gd name="connsiteX12" fmla="*/ 19838 w 84799"/>
                    <a:gd name="connsiteY12" fmla="*/ 34944 h 53951"/>
                    <a:gd name="connsiteX13" fmla="*/ 28387 w 84799"/>
                    <a:gd name="connsiteY13" fmla="*/ 39828 h 53951"/>
                    <a:gd name="connsiteX14" fmla="*/ 64953 w 84799"/>
                    <a:gd name="connsiteY14" fmla="*/ 18977 h 53951"/>
                    <a:gd name="connsiteX15" fmla="*/ 56418 w 84799"/>
                    <a:gd name="connsiteY15" fmla="*/ 14126 h 53951"/>
                    <a:gd name="connsiteX16" fmla="*/ 19838 w 84799"/>
                    <a:gd name="connsiteY16" fmla="*/ 34944 h 5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799" h="53951">
                      <a:moveTo>
                        <a:pt x="28384" y="53952"/>
                      </a:moveTo>
                      <a:cubicBezTo>
                        <a:pt x="27258" y="53952"/>
                        <a:pt x="26135" y="53678"/>
                        <a:pt x="25125" y="53103"/>
                      </a:cubicBezTo>
                      <a:lnTo>
                        <a:pt x="3312" y="40636"/>
                      </a:lnTo>
                      <a:cubicBezTo>
                        <a:pt x="1263" y="39469"/>
                        <a:pt x="-3" y="37286"/>
                        <a:pt x="0" y="34925"/>
                      </a:cubicBezTo>
                      <a:cubicBezTo>
                        <a:pt x="3" y="32564"/>
                        <a:pt x="1271" y="30389"/>
                        <a:pt x="3320" y="29222"/>
                      </a:cubicBezTo>
                      <a:lnTo>
                        <a:pt x="53164" y="857"/>
                      </a:lnTo>
                      <a:cubicBezTo>
                        <a:pt x="55177" y="-286"/>
                        <a:pt x="57645" y="-286"/>
                        <a:pt x="59661" y="857"/>
                      </a:cubicBezTo>
                      <a:lnTo>
                        <a:pt x="81477" y="13260"/>
                      </a:lnTo>
                      <a:cubicBezTo>
                        <a:pt x="83531" y="14427"/>
                        <a:pt x="84799" y="16602"/>
                        <a:pt x="84799" y="18963"/>
                      </a:cubicBezTo>
                      <a:cubicBezTo>
                        <a:pt x="84799" y="21324"/>
                        <a:pt x="83537" y="23505"/>
                        <a:pt x="81482" y="24680"/>
                      </a:cubicBezTo>
                      <a:lnTo>
                        <a:pt x="31636" y="53103"/>
                      </a:lnTo>
                      <a:cubicBezTo>
                        <a:pt x="30630" y="53678"/>
                        <a:pt x="29507" y="53952"/>
                        <a:pt x="28384" y="53952"/>
                      </a:cubicBezTo>
                      <a:close/>
                      <a:moveTo>
                        <a:pt x="19838" y="34944"/>
                      </a:moveTo>
                      <a:lnTo>
                        <a:pt x="28387" y="39828"/>
                      </a:lnTo>
                      <a:lnTo>
                        <a:pt x="64953" y="18977"/>
                      </a:lnTo>
                      <a:lnTo>
                        <a:pt x="56418" y="14126"/>
                      </a:lnTo>
                      <a:lnTo>
                        <a:pt x="19838" y="34944"/>
                      </a:lnTo>
                      <a:close/>
                    </a:path>
                  </a:pathLst>
                </a:custGeom>
                <a:grpFill/>
                <a:ln w="274" cap="flat">
                  <a:noFill/>
                  <a:prstDash val="solid"/>
                  <a:miter/>
                </a:ln>
              </p:spPr>
              <p:txBody>
                <a:bodyPr rtlCol="0" anchor="ctr"/>
                <a:lstStyle/>
                <a:p>
                  <a:endParaRPr lang="en-GB" dirty="0"/>
                </a:p>
              </p:txBody>
            </p:sp>
            <p:sp>
              <p:nvSpPr>
                <p:cNvPr id="1017" name="Freihandform: Form 1016">
                  <a:extLst>
                    <a:ext uri="{FF2B5EF4-FFF2-40B4-BE49-F238E27FC236}">
                      <a16:creationId xmlns:a16="http://schemas.microsoft.com/office/drawing/2014/main" id="{805E42C4-A6DC-491A-B3D8-A93C37E7E114}"/>
                    </a:ext>
                  </a:extLst>
                </p:cNvPr>
                <p:cNvSpPr/>
                <p:nvPr/>
              </p:nvSpPr>
              <p:spPr>
                <a:xfrm>
                  <a:off x="6252774" y="4273558"/>
                  <a:ext cx="84799" cy="53962"/>
                </a:xfrm>
                <a:custGeom>
                  <a:avLst/>
                  <a:gdLst>
                    <a:gd name="connsiteX0" fmla="*/ 28384 w 84799"/>
                    <a:gd name="connsiteY0" fmla="*/ 53963 h 53962"/>
                    <a:gd name="connsiteX1" fmla="*/ 25125 w 84799"/>
                    <a:gd name="connsiteY1" fmla="*/ 53097 h 53962"/>
                    <a:gd name="connsiteX2" fmla="*/ 3312 w 84799"/>
                    <a:gd name="connsiteY2" fmla="*/ 40631 h 53962"/>
                    <a:gd name="connsiteX3" fmla="*/ 0 w 84799"/>
                    <a:gd name="connsiteY3" fmla="*/ 34919 h 53962"/>
                    <a:gd name="connsiteX4" fmla="*/ 3320 w 84799"/>
                    <a:gd name="connsiteY4" fmla="*/ 29216 h 53962"/>
                    <a:gd name="connsiteX5" fmla="*/ 53164 w 84799"/>
                    <a:gd name="connsiteY5" fmla="*/ 857 h 53962"/>
                    <a:gd name="connsiteX6" fmla="*/ 59661 w 84799"/>
                    <a:gd name="connsiteY6" fmla="*/ 857 h 53962"/>
                    <a:gd name="connsiteX7" fmla="*/ 81477 w 84799"/>
                    <a:gd name="connsiteY7" fmla="*/ 13252 h 53962"/>
                    <a:gd name="connsiteX8" fmla="*/ 84799 w 84799"/>
                    <a:gd name="connsiteY8" fmla="*/ 18955 h 53962"/>
                    <a:gd name="connsiteX9" fmla="*/ 81485 w 84799"/>
                    <a:gd name="connsiteY9" fmla="*/ 24666 h 53962"/>
                    <a:gd name="connsiteX10" fmla="*/ 31638 w 84799"/>
                    <a:gd name="connsiteY10" fmla="*/ 53097 h 53962"/>
                    <a:gd name="connsiteX11" fmla="*/ 28384 w 84799"/>
                    <a:gd name="connsiteY11" fmla="*/ 53963 h 53962"/>
                    <a:gd name="connsiteX12" fmla="*/ 19835 w 84799"/>
                    <a:gd name="connsiteY12" fmla="*/ 34939 h 53962"/>
                    <a:gd name="connsiteX13" fmla="*/ 28387 w 84799"/>
                    <a:gd name="connsiteY13" fmla="*/ 39828 h 53962"/>
                    <a:gd name="connsiteX14" fmla="*/ 64948 w 84799"/>
                    <a:gd name="connsiteY14" fmla="*/ 18977 h 53962"/>
                    <a:gd name="connsiteX15" fmla="*/ 56418 w 84799"/>
                    <a:gd name="connsiteY15" fmla="*/ 14126 h 53962"/>
                    <a:gd name="connsiteX16" fmla="*/ 19835 w 84799"/>
                    <a:gd name="connsiteY16" fmla="*/ 34939 h 5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4799" h="53962">
                      <a:moveTo>
                        <a:pt x="28384" y="53963"/>
                      </a:moveTo>
                      <a:cubicBezTo>
                        <a:pt x="27258" y="53963"/>
                        <a:pt x="26135" y="53675"/>
                        <a:pt x="25125" y="53097"/>
                      </a:cubicBezTo>
                      <a:lnTo>
                        <a:pt x="3312" y="40631"/>
                      </a:lnTo>
                      <a:cubicBezTo>
                        <a:pt x="1263" y="39464"/>
                        <a:pt x="-3" y="37281"/>
                        <a:pt x="0" y="34919"/>
                      </a:cubicBezTo>
                      <a:cubicBezTo>
                        <a:pt x="3" y="32558"/>
                        <a:pt x="1271" y="30383"/>
                        <a:pt x="3320" y="29216"/>
                      </a:cubicBezTo>
                      <a:lnTo>
                        <a:pt x="53164" y="857"/>
                      </a:lnTo>
                      <a:cubicBezTo>
                        <a:pt x="55177" y="-286"/>
                        <a:pt x="57645" y="-286"/>
                        <a:pt x="59661" y="857"/>
                      </a:cubicBezTo>
                      <a:lnTo>
                        <a:pt x="81477" y="13252"/>
                      </a:lnTo>
                      <a:cubicBezTo>
                        <a:pt x="83531" y="14419"/>
                        <a:pt x="84797" y="16594"/>
                        <a:pt x="84799" y="18955"/>
                      </a:cubicBezTo>
                      <a:cubicBezTo>
                        <a:pt x="84802" y="21316"/>
                        <a:pt x="83537" y="23497"/>
                        <a:pt x="81485" y="24666"/>
                      </a:cubicBezTo>
                      <a:lnTo>
                        <a:pt x="31638" y="53097"/>
                      </a:lnTo>
                      <a:cubicBezTo>
                        <a:pt x="30630" y="53675"/>
                        <a:pt x="29507" y="53963"/>
                        <a:pt x="28384" y="53963"/>
                      </a:cubicBezTo>
                      <a:close/>
                      <a:moveTo>
                        <a:pt x="19835" y="34939"/>
                      </a:moveTo>
                      <a:lnTo>
                        <a:pt x="28387" y="39828"/>
                      </a:lnTo>
                      <a:lnTo>
                        <a:pt x="64948" y="18977"/>
                      </a:lnTo>
                      <a:lnTo>
                        <a:pt x="56418" y="14126"/>
                      </a:lnTo>
                      <a:lnTo>
                        <a:pt x="19835" y="34939"/>
                      </a:lnTo>
                      <a:close/>
                    </a:path>
                  </a:pathLst>
                </a:custGeom>
                <a:grpFill/>
                <a:ln w="274" cap="flat">
                  <a:noFill/>
                  <a:prstDash val="solid"/>
                  <a:miter/>
                </a:ln>
              </p:spPr>
              <p:txBody>
                <a:bodyPr rtlCol="0" anchor="ctr"/>
                <a:lstStyle/>
                <a:p>
                  <a:endParaRPr lang="en-GB" dirty="0"/>
                </a:p>
              </p:txBody>
            </p:sp>
          </p:grpSp>
        </p:grpSp>
        <p:grpSp>
          <p:nvGrpSpPr>
            <p:cNvPr id="997" name="Gruppieren 996">
              <a:extLst>
                <a:ext uri="{FF2B5EF4-FFF2-40B4-BE49-F238E27FC236}">
                  <a16:creationId xmlns:a16="http://schemas.microsoft.com/office/drawing/2014/main" id="{2EA68106-CDCA-4780-BA1C-AA3197D52104}"/>
                </a:ext>
              </a:extLst>
            </p:cNvPr>
            <p:cNvGrpSpPr/>
            <p:nvPr/>
          </p:nvGrpSpPr>
          <p:grpSpPr>
            <a:xfrm>
              <a:off x="6007453" y="4355832"/>
              <a:ext cx="501675" cy="173622"/>
              <a:chOff x="6094152" y="4360225"/>
              <a:chExt cx="473046" cy="163714"/>
            </a:xfrm>
          </p:grpSpPr>
          <p:sp>
            <p:nvSpPr>
              <p:cNvPr id="998" name="Freihandform: Form 997">
                <a:extLst>
                  <a:ext uri="{FF2B5EF4-FFF2-40B4-BE49-F238E27FC236}">
                    <a16:creationId xmlns:a16="http://schemas.microsoft.com/office/drawing/2014/main" id="{59C8549B-0FD8-4AF9-8611-0FB4AE3E9CEF}"/>
                  </a:ext>
                </a:extLst>
              </p:cNvPr>
              <p:cNvSpPr/>
              <p:nvPr/>
            </p:nvSpPr>
            <p:spPr>
              <a:xfrm>
                <a:off x="6172719" y="4368128"/>
                <a:ext cx="314264" cy="72866"/>
              </a:xfrm>
              <a:custGeom>
                <a:avLst/>
                <a:gdLst>
                  <a:gd name="connsiteX0" fmla="*/ 157135 w 314264"/>
                  <a:gd name="connsiteY0" fmla="*/ 72867 h 72866"/>
                  <a:gd name="connsiteX1" fmla="*/ 0 w 314264"/>
                  <a:gd name="connsiteY1" fmla="*/ 24573 h 72866"/>
                  <a:gd name="connsiteX2" fmla="*/ 17531 w 314264"/>
                  <a:gd name="connsiteY2" fmla="*/ 1153 h 72866"/>
                  <a:gd name="connsiteX3" fmla="*/ 26524 w 314264"/>
                  <a:gd name="connsiteY3" fmla="*/ 3481 h 72866"/>
                  <a:gd name="connsiteX4" fmla="*/ 24193 w 314264"/>
                  <a:gd name="connsiteY4" fmla="*/ 12493 h 72866"/>
                  <a:gd name="connsiteX5" fmla="*/ 13140 w 314264"/>
                  <a:gd name="connsiteY5" fmla="*/ 24573 h 72866"/>
                  <a:gd name="connsiteX6" fmla="*/ 157135 w 314264"/>
                  <a:gd name="connsiteY6" fmla="*/ 59718 h 72866"/>
                  <a:gd name="connsiteX7" fmla="*/ 301125 w 314264"/>
                  <a:gd name="connsiteY7" fmla="*/ 24573 h 72866"/>
                  <a:gd name="connsiteX8" fmla="*/ 289707 w 314264"/>
                  <a:gd name="connsiteY8" fmla="*/ 12274 h 72866"/>
                  <a:gd name="connsiteX9" fmla="*/ 287308 w 314264"/>
                  <a:gd name="connsiteY9" fmla="*/ 3289 h 72866"/>
                  <a:gd name="connsiteX10" fmla="*/ 296284 w 314264"/>
                  <a:gd name="connsiteY10" fmla="*/ 879 h 72866"/>
                  <a:gd name="connsiteX11" fmla="*/ 314265 w 314264"/>
                  <a:gd name="connsiteY11" fmla="*/ 24573 h 72866"/>
                  <a:gd name="connsiteX12" fmla="*/ 157135 w 314264"/>
                  <a:gd name="connsiteY12" fmla="*/ 72867 h 72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4264" h="72866">
                    <a:moveTo>
                      <a:pt x="157135" y="72867"/>
                    </a:moveTo>
                    <a:cubicBezTo>
                      <a:pt x="79050" y="72867"/>
                      <a:pt x="0" y="56267"/>
                      <a:pt x="0" y="24573"/>
                    </a:cubicBezTo>
                    <a:cubicBezTo>
                      <a:pt x="0" y="15862"/>
                      <a:pt x="5900" y="7973"/>
                      <a:pt x="17531" y="1153"/>
                    </a:cubicBezTo>
                    <a:cubicBezTo>
                      <a:pt x="20660" y="-683"/>
                      <a:pt x="24692" y="358"/>
                      <a:pt x="26524" y="3481"/>
                    </a:cubicBezTo>
                    <a:cubicBezTo>
                      <a:pt x="28365" y="6604"/>
                      <a:pt x="27319" y="10630"/>
                      <a:pt x="24193" y="12493"/>
                    </a:cubicBezTo>
                    <a:cubicBezTo>
                      <a:pt x="17170" y="16602"/>
                      <a:pt x="13140" y="21012"/>
                      <a:pt x="13140" y="24573"/>
                    </a:cubicBezTo>
                    <a:cubicBezTo>
                      <a:pt x="13140" y="39256"/>
                      <a:pt x="67920" y="59718"/>
                      <a:pt x="157135" y="59718"/>
                    </a:cubicBezTo>
                    <a:cubicBezTo>
                      <a:pt x="246350" y="59718"/>
                      <a:pt x="301125" y="39256"/>
                      <a:pt x="301125" y="24573"/>
                    </a:cubicBezTo>
                    <a:cubicBezTo>
                      <a:pt x="301125" y="20958"/>
                      <a:pt x="296964" y="16465"/>
                      <a:pt x="289707" y="12274"/>
                    </a:cubicBezTo>
                    <a:cubicBezTo>
                      <a:pt x="286565" y="10439"/>
                      <a:pt x="285492" y="6439"/>
                      <a:pt x="287308" y="3289"/>
                    </a:cubicBezTo>
                    <a:cubicBezTo>
                      <a:pt x="289124" y="139"/>
                      <a:pt x="293142" y="-929"/>
                      <a:pt x="296284" y="879"/>
                    </a:cubicBezTo>
                    <a:cubicBezTo>
                      <a:pt x="308214" y="7782"/>
                      <a:pt x="314265" y="15753"/>
                      <a:pt x="314265" y="24573"/>
                    </a:cubicBezTo>
                    <a:cubicBezTo>
                      <a:pt x="314265" y="56267"/>
                      <a:pt x="235218" y="72867"/>
                      <a:pt x="157135" y="72867"/>
                    </a:cubicBezTo>
                    <a:close/>
                  </a:path>
                </a:pathLst>
              </a:custGeom>
              <a:solidFill>
                <a:schemeClr val="accent1"/>
              </a:solidFill>
              <a:ln w="274" cap="flat">
                <a:noFill/>
                <a:prstDash val="solid"/>
                <a:miter/>
              </a:ln>
            </p:spPr>
            <p:txBody>
              <a:bodyPr rtlCol="0" anchor="ctr"/>
              <a:lstStyle/>
              <a:p>
                <a:endParaRPr lang="en-GB" dirty="0"/>
              </a:p>
            </p:txBody>
          </p:sp>
          <p:grpSp>
            <p:nvGrpSpPr>
              <p:cNvPr id="999" name="Grafik 349">
                <a:extLst>
                  <a:ext uri="{FF2B5EF4-FFF2-40B4-BE49-F238E27FC236}">
                    <a16:creationId xmlns:a16="http://schemas.microsoft.com/office/drawing/2014/main" id="{1440CAEE-6664-46A6-A9C4-BC1983CC7647}"/>
                  </a:ext>
                </a:extLst>
              </p:cNvPr>
              <p:cNvGrpSpPr/>
              <p:nvPr/>
            </p:nvGrpSpPr>
            <p:grpSpPr>
              <a:xfrm>
                <a:off x="6304665" y="4451664"/>
                <a:ext cx="52559" cy="72275"/>
                <a:chOff x="6304665" y="4451664"/>
                <a:chExt cx="52559" cy="72275"/>
              </a:xfrm>
              <a:solidFill>
                <a:schemeClr val="accent1"/>
              </a:solidFill>
            </p:grpSpPr>
            <p:sp>
              <p:nvSpPr>
                <p:cNvPr id="1006" name="Freihandform: Form 1005">
                  <a:extLst>
                    <a:ext uri="{FF2B5EF4-FFF2-40B4-BE49-F238E27FC236}">
                      <a16:creationId xmlns:a16="http://schemas.microsoft.com/office/drawing/2014/main" id="{0123B46A-3225-4E55-9B75-501A1135BA41}"/>
                    </a:ext>
                  </a:extLst>
                </p:cNvPr>
                <p:cNvSpPr/>
                <p:nvPr/>
              </p:nvSpPr>
              <p:spPr>
                <a:xfrm>
                  <a:off x="6324379" y="4451678"/>
                  <a:ext cx="13137" cy="72261"/>
                </a:xfrm>
                <a:custGeom>
                  <a:avLst/>
                  <a:gdLst>
                    <a:gd name="connsiteX0" fmla="*/ 6569 w 13137"/>
                    <a:gd name="connsiteY0" fmla="*/ 72262 h 72261"/>
                    <a:gd name="connsiteX1" fmla="*/ 0 w 13137"/>
                    <a:gd name="connsiteY1" fmla="*/ 65687 h 72261"/>
                    <a:gd name="connsiteX2" fmla="*/ 0 w 13137"/>
                    <a:gd name="connsiteY2" fmla="*/ 6574 h 72261"/>
                    <a:gd name="connsiteX3" fmla="*/ 6569 w 13137"/>
                    <a:gd name="connsiteY3" fmla="*/ 0 h 72261"/>
                    <a:gd name="connsiteX4" fmla="*/ 13137 w 13137"/>
                    <a:gd name="connsiteY4" fmla="*/ 6574 h 72261"/>
                    <a:gd name="connsiteX5" fmla="*/ 13137 w 13137"/>
                    <a:gd name="connsiteY5" fmla="*/ 65687 h 72261"/>
                    <a:gd name="connsiteX6" fmla="*/ 6569 w 13137"/>
                    <a:gd name="connsiteY6" fmla="*/ 72262 h 72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37" h="72261">
                      <a:moveTo>
                        <a:pt x="6569" y="72262"/>
                      </a:moveTo>
                      <a:cubicBezTo>
                        <a:pt x="2939" y="72262"/>
                        <a:pt x="0" y="69331"/>
                        <a:pt x="0" y="65687"/>
                      </a:cubicBezTo>
                      <a:lnTo>
                        <a:pt x="0" y="6574"/>
                      </a:lnTo>
                      <a:cubicBezTo>
                        <a:pt x="0" y="2931"/>
                        <a:pt x="2942" y="0"/>
                        <a:pt x="6569" y="0"/>
                      </a:cubicBezTo>
                      <a:cubicBezTo>
                        <a:pt x="10198" y="0"/>
                        <a:pt x="13137" y="2931"/>
                        <a:pt x="13137" y="6574"/>
                      </a:cubicBezTo>
                      <a:lnTo>
                        <a:pt x="13137" y="65687"/>
                      </a:lnTo>
                      <a:cubicBezTo>
                        <a:pt x="13140" y="69331"/>
                        <a:pt x="10198" y="72262"/>
                        <a:pt x="6569" y="72262"/>
                      </a:cubicBezTo>
                      <a:close/>
                    </a:path>
                  </a:pathLst>
                </a:custGeom>
                <a:solidFill>
                  <a:schemeClr val="accent1"/>
                </a:solidFill>
                <a:ln w="274" cap="flat">
                  <a:noFill/>
                  <a:prstDash val="solid"/>
                  <a:miter/>
                </a:ln>
              </p:spPr>
              <p:txBody>
                <a:bodyPr rtlCol="0" anchor="ctr"/>
                <a:lstStyle/>
                <a:p>
                  <a:endParaRPr lang="en-GB" dirty="0"/>
                </a:p>
              </p:txBody>
            </p:sp>
            <p:sp>
              <p:nvSpPr>
                <p:cNvPr id="1007" name="Freihandform: Form 1006">
                  <a:extLst>
                    <a:ext uri="{FF2B5EF4-FFF2-40B4-BE49-F238E27FC236}">
                      <a16:creationId xmlns:a16="http://schemas.microsoft.com/office/drawing/2014/main" id="{CAE081E0-CFDB-4CD3-BF41-734751E12958}"/>
                    </a:ext>
                  </a:extLst>
                </p:cNvPr>
                <p:cNvSpPr/>
                <p:nvPr/>
              </p:nvSpPr>
              <p:spPr>
                <a:xfrm>
                  <a:off x="6304665" y="4451664"/>
                  <a:ext cx="52559" cy="32857"/>
                </a:xfrm>
                <a:custGeom>
                  <a:avLst/>
                  <a:gdLst>
                    <a:gd name="connsiteX0" fmla="*/ 45994 w 52559"/>
                    <a:gd name="connsiteY0" fmla="*/ 32857 h 32857"/>
                    <a:gd name="connsiteX1" fmla="*/ 41349 w 52559"/>
                    <a:gd name="connsiteY1" fmla="*/ 30913 h 32857"/>
                    <a:gd name="connsiteX2" fmla="*/ 26283 w 52559"/>
                    <a:gd name="connsiteY2" fmla="*/ 15847 h 32857"/>
                    <a:gd name="connsiteX3" fmla="*/ 11217 w 52559"/>
                    <a:gd name="connsiteY3" fmla="*/ 30913 h 32857"/>
                    <a:gd name="connsiteX4" fmla="*/ 1925 w 52559"/>
                    <a:gd name="connsiteY4" fmla="*/ 30913 h 32857"/>
                    <a:gd name="connsiteX5" fmla="*/ 1925 w 52559"/>
                    <a:gd name="connsiteY5" fmla="*/ 21626 h 32857"/>
                    <a:gd name="connsiteX6" fmla="*/ 21634 w 52559"/>
                    <a:gd name="connsiteY6" fmla="*/ 1931 h 32857"/>
                    <a:gd name="connsiteX7" fmla="*/ 30926 w 52559"/>
                    <a:gd name="connsiteY7" fmla="*/ 1931 h 32857"/>
                    <a:gd name="connsiteX8" fmla="*/ 50635 w 52559"/>
                    <a:gd name="connsiteY8" fmla="*/ 21626 h 32857"/>
                    <a:gd name="connsiteX9" fmla="*/ 50635 w 52559"/>
                    <a:gd name="connsiteY9" fmla="*/ 30913 h 32857"/>
                    <a:gd name="connsiteX10" fmla="*/ 45994 w 52559"/>
                    <a:gd name="connsiteY10" fmla="*/ 32857 h 32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559" h="32857">
                      <a:moveTo>
                        <a:pt x="45994" y="32857"/>
                      </a:moveTo>
                      <a:cubicBezTo>
                        <a:pt x="44312" y="32857"/>
                        <a:pt x="42633" y="32200"/>
                        <a:pt x="41349" y="30913"/>
                      </a:cubicBezTo>
                      <a:lnTo>
                        <a:pt x="26283" y="15847"/>
                      </a:lnTo>
                      <a:lnTo>
                        <a:pt x="11217" y="30913"/>
                      </a:lnTo>
                      <a:cubicBezTo>
                        <a:pt x="8650" y="33488"/>
                        <a:pt x="4492" y="33488"/>
                        <a:pt x="1925" y="30913"/>
                      </a:cubicBezTo>
                      <a:cubicBezTo>
                        <a:pt x="-642" y="28365"/>
                        <a:pt x="-642" y="24201"/>
                        <a:pt x="1925" y="21626"/>
                      </a:cubicBezTo>
                      <a:lnTo>
                        <a:pt x="21634" y="1931"/>
                      </a:lnTo>
                      <a:cubicBezTo>
                        <a:pt x="24201" y="-644"/>
                        <a:pt x="28359" y="-644"/>
                        <a:pt x="30926" y="1931"/>
                      </a:cubicBezTo>
                      <a:lnTo>
                        <a:pt x="50635" y="21626"/>
                      </a:lnTo>
                      <a:cubicBezTo>
                        <a:pt x="53201" y="24201"/>
                        <a:pt x="53201" y="28365"/>
                        <a:pt x="50635" y="30913"/>
                      </a:cubicBezTo>
                      <a:cubicBezTo>
                        <a:pt x="49355" y="32200"/>
                        <a:pt x="47673" y="32857"/>
                        <a:pt x="45994" y="32857"/>
                      </a:cubicBezTo>
                      <a:close/>
                    </a:path>
                  </a:pathLst>
                </a:custGeom>
                <a:solidFill>
                  <a:schemeClr val="accent1"/>
                </a:solidFill>
                <a:ln w="274" cap="flat">
                  <a:noFill/>
                  <a:prstDash val="solid"/>
                  <a:miter/>
                </a:ln>
              </p:spPr>
              <p:txBody>
                <a:bodyPr rtlCol="0" anchor="ctr"/>
                <a:lstStyle/>
                <a:p>
                  <a:endParaRPr lang="en-GB" dirty="0"/>
                </a:p>
              </p:txBody>
            </p:sp>
          </p:grpSp>
          <p:grpSp>
            <p:nvGrpSpPr>
              <p:cNvPr id="1000" name="Grafik 349">
                <a:extLst>
                  <a:ext uri="{FF2B5EF4-FFF2-40B4-BE49-F238E27FC236}">
                    <a16:creationId xmlns:a16="http://schemas.microsoft.com/office/drawing/2014/main" id="{10864118-C4B6-4A5C-BD9E-660BF4A46F77}"/>
                  </a:ext>
                </a:extLst>
              </p:cNvPr>
              <p:cNvGrpSpPr/>
              <p:nvPr/>
            </p:nvGrpSpPr>
            <p:grpSpPr>
              <a:xfrm>
                <a:off x="6094152" y="4360225"/>
                <a:ext cx="72272" cy="52555"/>
                <a:chOff x="6094152" y="4360225"/>
                <a:chExt cx="72272" cy="52555"/>
              </a:xfrm>
              <a:solidFill>
                <a:schemeClr val="accent1"/>
              </a:solidFill>
            </p:grpSpPr>
            <p:sp>
              <p:nvSpPr>
                <p:cNvPr id="1004" name="Freihandform: Form 1003">
                  <a:extLst>
                    <a:ext uri="{FF2B5EF4-FFF2-40B4-BE49-F238E27FC236}">
                      <a16:creationId xmlns:a16="http://schemas.microsoft.com/office/drawing/2014/main" id="{CD0E41C0-D159-43B0-AA9E-608244817D35}"/>
                    </a:ext>
                  </a:extLst>
                </p:cNvPr>
                <p:cNvSpPr/>
                <p:nvPr/>
              </p:nvSpPr>
              <p:spPr>
                <a:xfrm>
                  <a:off x="6094152" y="4379936"/>
                  <a:ext cx="72267" cy="13176"/>
                </a:xfrm>
                <a:custGeom>
                  <a:avLst/>
                  <a:gdLst>
                    <a:gd name="connsiteX0" fmla="*/ 6569 w 72267"/>
                    <a:gd name="connsiteY0" fmla="*/ 13176 h 13176"/>
                    <a:gd name="connsiteX1" fmla="*/ 0 w 72267"/>
                    <a:gd name="connsiteY1" fmla="*/ 6602 h 13176"/>
                    <a:gd name="connsiteX2" fmla="*/ 6563 w 72267"/>
                    <a:gd name="connsiteY2" fmla="*/ 28 h 13176"/>
                    <a:gd name="connsiteX3" fmla="*/ 65693 w 72267"/>
                    <a:gd name="connsiteY3" fmla="*/ 0 h 13176"/>
                    <a:gd name="connsiteX4" fmla="*/ 65698 w 72267"/>
                    <a:gd name="connsiteY4" fmla="*/ 0 h 13176"/>
                    <a:gd name="connsiteX5" fmla="*/ 72267 w 72267"/>
                    <a:gd name="connsiteY5" fmla="*/ 6547 h 13176"/>
                    <a:gd name="connsiteX6" fmla="*/ 65704 w 72267"/>
                    <a:gd name="connsiteY6" fmla="*/ 13121 h 13176"/>
                    <a:gd name="connsiteX7" fmla="*/ 6574 w 72267"/>
                    <a:gd name="connsiteY7" fmla="*/ 13176 h 13176"/>
                    <a:gd name="connsiteX8" fmla="*/ 6569 w 72267"/>
                    <a:gd name="connsiteY8" fmla="*/ 13176 h 1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267" h="13176">
                      <a:moveTo>
                        <a:pt x="6569" y="13176"/>
                      </a:moveTo>
                      <a:cubicBezTo>
                        <a:pt x="2945" y="13176"/>
                        <a:pt x="3" y="10245"/>
                        <a:pt x="0" y="6602"/>
                      </a:cubicBezTo>
                      <a:cubicBezTo>
                        <a:pt x="-3" y="2986"/>
                        <a:pt x="2936" y="28"/>
                        <a:pt x="6563" y="28"/>
                      </a:cubicBezTo>
                      <a:lnTo>
                        <a:pt x="65693" y="0"/>
                      </a:lnTo>
                      <a:cubicBezTo>
                        <a:pt x="65696" y="0"/>
                        <a:pt x="65698" y="0"/>
                        <a:pt x="65698" y="0"/>
                      </a:cubicBezTo>
                      <a:cubicBezTo>
                        <a:pt x="69322" y="0"/>
                        <a:pt x="72265" y="2931"/>
                        <a:pt x="72267" y="6547"/>
                      </a:cubicBezTo>
                      <a:cubicBezTo>
                        <a:pt x="72270" y="10190"/>
                        <a:pt x="69331" y="13121"/>
                        <a:pt x="65704" y="13121"/>
                      </a:cubicBezTo>
                      <a:lnTo>
                        <a:pt x="6574" y="13176"/>
                      </a:lnTo>
                      <a:cubicBezTo>
                        <a:pt x="6574" y="13176"/>
                        <a:pt x="6569" y="13176"/>
                        <a:pt x="6569" y="13176"/>
                      </a:cubicBezTo>
                      <a:close/>
                    </a:path>
                  </a:pathLst>
                </a:custGeom>
                <a:solidFill>
                  <a:schemeClr val="accent1"/>
                </a:solidFill>
                <a:ln w="274" cap="flat">
                  <a:noFill/>
                  <a:prstDash val="solid"/>
                  <a:miter/>
                </a:ln>
              </p:spPr>
              <p:txBody>
                <a:bodyPr rtlCol="0" anchor="ctr"/>
                <a:lstStyle/>
                <a:p>
                  <a:endParaRPr lang="en-GB" dirty="0"/>
                </a:p>
              </p:txBody>
            </p:sp>
            <p:sp>
              <p:nvSpPr>
                <p:cNvPr id="1005" name="Freihandform: Form 1004">
                  <a:extLst>
                    <a:ext uri="{FF2B5EF4-FFF2-40B4-BE49-F238E27FC236}">
                      <a16:creationId xmlns:a16="http://schemas.microsoft.com/office/drawing/2014/main" id="{4418E07B-92E8-4303-84C2-05843452ED13}"/>
                    </a:ext>
                  </a:extLst>
                </p:cNvPr>
                <p:cNvSpPr/>
                <p:nvPr/>
              </p:nvSpPr>
              <p:spPr>
                <a:xfrm>
                  <a:off x="6133557" y="4360225"/>
                  <a:ext cx="32867" cy="52555"/>
                </a:xfrm>
                <a:custGeom>
                  <a:avLst/>
                  <a:gdLst>
                    <a:gd name="connsiteX0" fmla="*/ 6598 w 32867"/>
                    <a:gd name="connsiteY0" fmla="*/ 52556 h 52555"/>
                    <a:gd name="connsiteX1" fmla="*/ 1955 w 32867"/>
                    <a:gd name="connsiteY1" fmla="*/ 50638 h 52555"/>
                    <a:gd name="connsiteX2" fmla="*/ 1950 w 32867"/>
                    <a:gd name="connsiteY2" fmla="*/ 41352 h 52555"/>
                    <a:gd name="connsiteX3" fmla="*/ 17005 w 32867"/>
                    <a:gd name="connsiteY3" fmla="*/ 26286 h 52555"/>
                    <a:gd name="connsiteX4" fmla="*/ 1928 w 32867"/>
                    <a:gd name="connsiteY4" fmla="*/ 11220 h 52555"/>
                    <a:gd name="connsiteX5" fmla="*/ 1922 w 32867"/>
                    <a:gd name="connsiteY5" fmla="*/ 1934 h 52555"/>
                    <a:gd name="connsiteX6" fmla="*/ 11214 w 32867"/>
                    <a:gd name="connsiteY6" fmla="*/ 1920 h 52555"/>
                    <a:gd name="connsiteX7" fmla="*/ 30939 w 32867"/>
                    <a:gd name="connsiteY7" fmla="*/ 21602 h 52555"/>
                    <a:gd name="connsiteX8" fmla="*/ 32868 w 32867"/>
                    <a:gd name="connsiteY8" fmla="*/ 26259 h 52555"/>
                    <a:gd name="connsiteX9" fmla="*/ 30945 w 32867"/>
                    <a:gd name="connsiteY9" fmla="*/ 30915 h 52555"/>
                    <a:gd name="connsiteX10" fmla="*/ 11247 w 32867"/>
                    <a:gd name="connsiteY10" fmla="*/ 50638 h 52555"/>
                    <a:gd name="connsiteX11" fmla="*/ 6598 w 32867"/>
                    <a:gd name="connsiteY11" fmla="*/ 52556 h 52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867" h="52555">
                      <a:moveTo>
                        <a:pt x="6598" y="52556"/>
                      </a:moveTo>
                      <a:cubicBezTo>
                        <a:pt x="4916" y="52556"/>
                        <a:pt x="3240" y="51926"/>
                        <a:pt x="1955" y="50638"/>
                      </a:cubicBezTo>
                      <a:cubicBezTo>
                        <a:pt x="-612" y="48091"/>
                        <a:pt x="-614" y="43927"/>
                        <a:pt x="1950" y="41352"/>
                      </a:cubicBezTo>
                      <a:lnTo>
                        <a:pt x="17005" y="26286"/>
                      </a:lnTo>
                      <a:lnTo>
                        <a:pt x="1928" y="11220"/>
                      </a:lnTo>
                      <a:cubicBezTo>
                        <a:pt x="-639" y="8672"/>
                        <a:pt x="-644" y="4500"/>
                        <a:pt x="1922" y="1934"/>
                      </a:cubicBezTo>
                      <a:cubicBezTo>
                        <a:pt x="4483" y="-646"/>
                        <a:pt x="8639" y="-638"/>
                        <a:pt x="11214" y="1920"/>
                      </a:cubicBezTo>
                      <a:lnTo>
                        <a:pt x="30939" y="21602"/>
                      </a:lnTo>
                      <a:cubicBezTo>
                        <a:pt x="32172" y="22835"/>
                        <a:pt x="32868" y="24505"/>
                        <a:pt x="32868" y="26259"/>
                      </a:cubicBezTo>
                      <a:cubicBezTo>
                        <a:pt x="32868" y="28012"/>
                        <a:pt x="32177" y="29683"/>
                        <a:pt x="30945" y="30915"/>
                      </a:cubicBezTo>
                      <a:lnTo>
                        <a:pt x="11247" y="50638"/>
                      </a:lnTo>
                      <a:cubicBezTo>
                        <a:pt x="9965" y="51926"/>
                        <a:pt x="8283" y="52556"/>
                        <a:pt x="6598" y="52556"/>
                      </a:cubicBezTo>
                      <a:close/>
                    </a:path>
                  </a:pathLst>
                </a:custGeom>
                <a:solidFill>
                  <a:schemeClr val="accent1"/>
                </a:solidFill>
                <a:ln w="274" cap="flat">
                  <a:noFill/>
                  <a:prstDash val="solid"/>
                  <a:miter/>
                </a:ln>
              </p:spPr>
              <p:txBody>
                <a:bodyPr rtlCol="0" anchor="ctr"/>
                <a:lstStyle/>
                <a:p>
                  <a:endParaRPr lang="en-GB" dirty="0"/>
                </a:p>
              </p:txBody>
            </p:sp>
          </p:grpSp>
          <p:grpSp>
            <p:nvGrpSpPr>
              <p:cNvPr id="1001" name="Grafik 349">
                <a:extLst>
                  <a:ext uri="{FF2B5EF4-FFF2-40B4-BE49-F238E27FC236}">
                    <a16:creationId xmlns:a16="http://schemas.microsoft.com/office/drawing/2014/main" id="{98327C2A-2C5E-44F2-8CE9-509998B91F54}"/>
                  </a:ext>
                </a:extLst>
              </p:cNvPr>
              <p:cNvGrpSpPr/>
              <p:nvPr/>
            </p:nvGrpSpPr>
            <p:grpSpPr>
              <a:xfrm>
                <a:off x="6494927" y="4360229"/>
                <a:ext cx="72271" cy="52550"/>
                <a:chOff x="6494927" y="4360229"/>
                <a:chExt cx="72271" cy="52550"/>
              </a:xfrm>
              <a:solidFill>
                <a:schemeClr val="accent1"/>
              </a:solidFill>
            </p:grpSpPr>
            <p:sp>
              <p:nvSpPr>
                <p:cNvPr id="1002" name="Freihandform: Form 1001">
                  <a:extLst>
                    <a:ext uri="{FF2B5EF4-FFF2-40B4-BE49-F238E27FC236}">
                      <a16:creationId xmlns:a16="http://schemas.microsoft.com/office/drawing/2014/main" id="{1B3BED6A-E51C-4E3B-9273-C74FEFCED6A7}"/>
                    </a:ext>
                  </a:extLst>
                </p:cNvPr>
                <p:cNvSpPr/>
                <p:nvPr/>
              </p:nvSpPr>
              <p:spPr>
                <a:xfrm>
                  <a:off x="6494931" y="4379936"/>
                  <a:ext cx="72267" cy="13176"/>
                </a:xfrm>
                <a:custGeom>
                  <a:avLst/>
                  <a:gdLst>
                    <a:gd name="connsiteX0" fmla="*/ 65699 w 72267"/>
                    <a:gd name="connsiteY0" fmla="*/ 13176 h 13176"/>
                    <a:gd name="connsiteX1" fmla="*/ 65693 w 72267"/>
                    <a:gd name="connsiteY1" fmla="*/ 13176 h 13176"/>
                    <a:gd name="connsiteX2" fmla="*/ 6563 w 72267"/>
                    <a:gd name="connsiteY2" fmla="*/ 13121 h 13176"/>
                    <a:gd name="connsiteX3" fmla="*/ 0 w 72267"/>
                    <a:gd name="connsiteY3" fmla="*/ 6547 h 13176"/>
                    <a:gd name="connsiteX4" fmla="*/ 6569 w 72267"/>
                    <a:gd name="connsiteY4" fmla="*/ 0 h 13176"/>
                    <a:gd name="connsiteX5" fmla="*/ 6574 w 72267"/>
                    <a:gd name="connsiteY5" fmla="*/ 0 h 13176"/>
                    <a:gd name="connsiteX6" fmla="*/ 65704 w 72267"/>
                    <a:gd name="connsiteY6" fmla="*/ 28 h 13176"/>
                    <a:gd name="connsiteX7" fmla="*/ 72267 w 72267"/>
                    <a:gd name="connsiteY7" fmla="*/ 6602 h 13176"/>
                    <a:gd name="connsiteX8" fmla="*/ 65699 w 72267"/>
                    <a:gd name="connsiteY8" fmla="*/ 13176 h 13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267" h="13176">
                      <a:moveTo>
                        <a:pt x="65699" y="13176"/>
                      </a:moveTo>
                      <a:cubicBezTo>
                        <a:pt x="65696" y="13176"/>
                        <a:pt x="65696" y="13176"/>
                        <a:pt x="65693" y="13176"/>
                      </a:cubicBezTo>
                      <a:lnTo>
                        <a:pt x="6563" y="13121"/>
                      </a:lnTo>
                      <a:cubicBezTo>
                        <a:pt x="2934" y="13121"/>
                        <a:pt x="-3" y="10190"/>
                        <a:pt x="0" y="6547"/>
                      </a:cubicBezTo>
                      <a:cubicBezTo>
                        <a:pt x="3" y="2931"/>
                        <a:pt x="2945" y="0"/>
                        <a:pt x="6569" y="0"/>
                      </a:cubicBezTo>
                      <a:cubicBezTo>
                        <a:pt x="6572" y="0"/>
                        <a:pt x="6572" y="0"/>
                        <a:pt x="6574" y="0"/>
                      </a:cubicBezTo>
                      <a:lnTo>
                        <a:pt x="65704" y="28"/>
                      </a:lnTo>
                      <a:cubicBezTo>
                        <a:pt x="69333" y="28"/>
                        <a:pt x="72270" y="2986"/>
                        <a:pt x="72267" y="6602"/>
                      </a:cubicBezTo>
                      <a:cubicBezTo>
                        <a:pt x="72265" y="10245"/>
                        <a:pt x="69323" y="13176"/>
                        <a:pt x="65699" y="13176"/>
                      </a:cubicBezTo>
                      <a:close/>
                    </a:path>
                  </a:pathLst>
                </a:custGeom>
                <a:solidFill>
                  <a:schemeClr val="accent1"/>
                </a:solidFill>
                <a:ln w="274" cap="flat">
                  <a:noFill/>
                  <a:prstDash val="solid"/>
                  <a:miter/>
                </a:ln>
              </p:spPr>
              <p:txBody>
                <a:bodyPr rtlCol="0" anchor="ctr"/>
                <a:lstStyle/>
                <a:p>
                  <a:endParaRPr lang="en-GB" dirty="0"/>
                </a:p>
              </p:txBody>
            </p:sp>
            <p:sp>
              <p:nvSpPr>
                <p:cNvPr id="1003" name="Freihandform: Form 1002">
                  <a:extLst>
                    <a:ext uri="{FF2B5EF4-FFF2-40B4-BE49-F238E27FC236}">
                      <a16:creationId xmlns:a16="http://schemas.microsoft.com/office/drawing/2014/main" id="{877EA661-6508-4F4B-A7BF-22D435A21310}"/>
                    </a:ext>
                  </a:extLst>
                </p:cNvPr>
                <p:cNvSpPr/>
                <p:nvPr/>
              </p:nvSpPr>
              <p:spPr>
                <a:xfrm>
                  <a:off x="6494927" y="4360229"/>
                  <a:ext cx="32862" cy="52550"/>
                </a:xfrm>
                <a:custGeom>
                  <a:avLst/>
                  <a:gdLst>
                    <a:gd name="connsiteX0" fmla="*/ 26265 w 32862"/>
                    <a:gd name="connsiteY0" fmla="*/ 52551 h 52550"/>
                    <a:gd name="connsiteX1" fmla="*/ 21617 w 32862"/>
                    <a:gd name="connsiteY1" fmla="*/ 50633 h 52550"/>
                    <a:gd name="connsiteX2" fmla="*/ 1921 w 32862"/>
                    <a:gd name="connsiteY2" fmla="*/ 30911 h 52550"/>
                    <a:gd name="connsiteX3" fmla="*/ 1927 w 32862"/>
                    <a:gd name="connsiteY3" fmla="*/ 21597 h 52550"/>
                    <a:gd name="connsiteX4" fmla="*/ 21649 w 32862"/>
                    <a:gd name="connsiteY4" fmla="*/ 1918 h 52550"/>
                    <a:gd name="connsiteX5" fmla="*/ 30941 w 32862"/>
                    <a:gd name="connsiteY5" fmla="*/ 1932 h 52550"/>
                    <a:gd name="connsiteX6" fmla="*/ 30936 w 32862"/>
                    <a:gd name="connsiteY6" fmla="*/ 11215 h 52550"/>
                    <a:gd name="connsiteX7" fmla="*/ 15861 w 32862"/>
                    <a:gd name="connsiteY7" fmla="*/ 26281 h 52550"/>
                    <a:gd name="connsiteX8" fmla="*/ 30914 w 32862"/>
                    <a:gd name="connsiteY8" fmla="*/ 41347 h 52550"/>
                    <a:gd name="connsiteX9" fmla="*/ 30908 w 32862"/>
                    <a:gd name="connsiteY9" fmla="*/ 50661 h 52550"/>
                    <a:gd name="connsiteX10" fmla="*/ 26265 w 32862"/>
                    <a:gd name="connsiteY10" fmla="*/ 52551 h 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862" h="52550">
                      <a:moveTo>
                        <a:pt x="26265" y="52551"/>
                      </a:moveTo>
                      <a:cubicBezTo>
                        <a:pt x="24580" y="52551"/>
                        <a:pt x="22899" y="51921"/>
                        <a:pt x="21617" y="50633"/>
                      </a:cubicBezTo>
                      <a:lnTo>
                        <a:pt x="1921" y="30911"/>
                      </a:lnTo>
                      <a:cubicBezTo>
                        <a:pt x="-643" y="28336"/>
                        <a:pt x="-640" y="24172"/>
                        <a:pt x="1927" y="21597"/>
                      </a:cubicBezTo>
                      <a:lnTo>
                        <a:pt x="21649" y="1918"/>
                      </a:lnTo>
                      <a:cubicBezTo>
                        <a:pt x="24219" y="-635"/>
                        <a:pt x="28377" y="-649"/>
                        <a:pt x="30941" y="1932"/>
                      </a:cubicBezTo>
                      <a:cubicBezTo>
                        <a:pt x="33505" y="4499"/>
                        <a:pt x="33502" y="8668"/>
                        <a:pt x="30936" y="11215"/>
                      </a:cubicBezTo>
                      <a:lnTo>
                        <a:pt x="15861" y="26281"/>
                      </a:lnTo>
                      <a:lnTo>
                        <a:pt x="30914" y="41347"/>
                      </a:lnTo>
                      <a:cubicBezTo>
                        <a:pt x="33480" y="43922"/>
                        <a:pt x="33475" y="48086"/>
                        <a:pt x="30908" y="50661"/>
                      </a:cubicBezTo>
                      <a:cubicBezTo>
                        <a:pt x="29623" y="51921"/>
                        <a:pt x="27944" y="52551"/>
                        <a:pt x="26265" y="52551"/>
                      </a:cubicBezTo>
                      <a:close/>
                    </a:path>
                  </a:pathLst>
                </a:custGeom>
                <a:solidFill>
                  <a:schemeClr val="accent1"/>
                </a:solidFill>
                <a:ln w="274" cap="flat">
                  <a:noFill/>
                  <a:prstDash val="solid"/>
                  <a:miter/>
                </a:ln>
              </p:spPr>
              <p:txBody>
                <a:bodyPr rtlCol="0" anchor="ctr"/>
                <a:lstStyle/>
                <a:p>
                  <a:endParaRPr lang="en-GB" dirty="0"/>
                </a:p>
              </p:txBody>
            </p:sp>
          </p:grpSp>
        </p:grpSp>
      </p:grpSp>
      <p:sp>
        <p:nvSpPr>
          <p:cNvPr id="1020" name="TextBox 1424">
            <a:extLst>
              <a:ext uri="{FF2B5EF4-FFF2-40B4-BE49-F238E27FC236}">
                <a16:creationId xmlns:a16="http://schemas.microsoft.com/office/drawing/2014/main" id="{AE70AA1F-CAC5-4A34-B1CB-1A2831988C40}"/>
              </a:ext>
            </a:extLst>
          </p:cNvPr>
          <p:cNvSpPr txBox="1"/>
          <p:nvPr/>
        </p:nvSpPr>
        <p:spPr>
          <a:xfrm>
            <a:off x="5974971" y="4547732"/>
            <a:ext cx="567463" cy="107722"/>
          </a:xfrm>
          <a:prstGeom prst="rect">
            <a:avLst/>
          </a:prstGeom>
          <a:noFill/>
          <a:effectLst/>
        </p:spPr>
        <p:txBody>
          <a:bodyPr wrap="none" lIns="0" tIns="0" rIns="0" bIns="0" rtlCol="0" anchor="t">
            <a:spAutoFit/>
          </a:bodyPr>
          <a:lstStyle/>
          <a:p>
            <a:pPr algn="ctr"/>
            <a:r>
              <a:rPr lang="en-GB" sz="700" dirty="0">
                <a:solidFill>
                  <a:schemeClr val="tx2"/>
                </a:solidFill>
              </a:rPr>
              <a:t>Customization</a:t>
            </a:r>
          </a:p>
        </p:txBody>
      </p:sp>
      <p:grpSp>
        <p:nvGrpSpPr>
          <p:cNvPr id="31" name="Group 30">
            <a:extLst>
              <a:ext uri="{FF2B5EF4-FFF2-40B4-BE49-F238E27FC236}">
                <a16:creationId xmlns:a16="http://schemas.microsoft.com/office/drawing/2014/main" id="{EA20B67B-5B57-4F2A-A7C7-E20BF6981CC9}"/>
              </a:ext>
            </a:extLst>
          </p:cNvPr>
          <p:cNvGrpSpPr/>
          <p:nvPr/>
        </p:nvGrpSpPr>
        <p:grpSpPr>
          <a:xfrm>
            <a:off x="5988702" y="3345401"/>
            <a:ext cx="540000" cy="359996"/>
            <a:chOff x="5988290" y="3345401"/>
            <a:chExt cx="540000" cy="359996"/>
          </a:xfrm>
        </p:grpSpPr>
        <p:grpSp>
          <p:nvGrpSpPr>
            <p:cNvPr id="1022" name="Grafik 349">
              <a:extLst>
                <a:ext uri="{FF2B5EF4-FFF2-40B4-BE49-F238E27FC236}">
                  <a16:creationId xmlns:a16="http://schemas.microsoft.com/office/drawing/2014/main" id="{66BDF039-5E21-4617-B18E-728F8672A3A9}"/>
                </a:ext>
              </a:extLst>
            </p:cNvPr>
            <p:cNvGrpSpPr/>
            <p:nvPr/>
          </p:nvGrpSpPr>
          <p:grpSpPr>
            <a:xfrm>
              <a:off x="6135565" y="3369950"/>
              <a:ext cx="245449" cy="188179"/>
              <a:chOff x="6234040" y="3413048"/>
              <a:chExt cx="197100" cy="151111"/>
            </a:xfrm>
            <a:solidFill>
              <a:schemeClr val="accent1"/>
            </a:solidFill>
          </p:grpSpPr>
          <p:sp>
            <p:nvSpPr>
              <p:cNvPr id="1032" name="Freihandform: Form 1031">
                <a:extLst>
                  <a:ext uri="{FF2B5EF4-FFF2-40B4-BE49-F238E27FC236}">
                    <a16:creationId xmlns:a16="http://schemas.microsoft.com/office/drawing/2014/main" id="{C0172FEA-8357-4E03-858B-E5A229626EC5}"/>
                  </a:ext>
                </a:extLst>
              </p:cNvPr>
              <p:cNvSpPr/>
              <p:nvPr/>
            </p:nvSpPr>
            <p:spPr>
              <a:xfrm>
                <a:off x="6234040" y="3505029"/>
                <a:ext cx="52561" cy="59129"/>
              </a:xfrm>
              <a:custGeom>
                <a:avLst/>
                <a:gdLst>
                  <a:gd name="connsiteX0" fmla="*/ 45989 w 52561"/>
                  <a:gd name="connsiteY0" fmla="*/ 59130 h 59129"/>
                  <a:gd name="connsiteX1" fmla="*/ 6569 w 52561"/>
                  <a:gd name="connsiteY1" fmla="*/ 59130 h 59129"/>
                  <a:gd name="connsiteX2" fmla="*/ 0 w 52561"/>
                  <a:gd name="connsiteY2" fmla="*/ 52561 h 59129"/>
                  <a:gd name="connsiteX3" fmla="*/ 0 w 52561"/>
                  <a:gd name="connsiteY3" fmla="*/ 13140 h 59129"/>
                  <a:gd name="connsiteX4" fmla="*/ 13140 w 52561"/>
                  <a:gd name="connsiteY4" fmla="*/ 0 h 59129"/>
                  <a:gd name="connsiteX5" fmla="*/ 39421 w 52561"/>
                  <a:gd name="connsiteY5" fmla="*/ 0 h 59129"/>
                  <a:gd name="connsiteX6" fmla="*/ 52561 w 52561"/>
                  <a:gd name="connsiteY6" fmla="*/ 13140 h 59129"/>
                  <a:gd name="connsiteX7" fmla="*/ 52561 w 52561"/>
                  <a:gd name="connsiteY7" fmla="*/ 52561 h 59129"/>
                  <a:gd name="connsiteX8" fmla="*/ 45989 w 52561"/>
                  <a:gd name="connsiteY8" fmla="*/ 59130 h 59129"/>
                  <a:gd name="connsiteX9" fmla="*/ 13137 w 52561"/>
                  <a:gd name="connsiteY9" fmla="*/ 45990 h 59129"/>
                  <a:gd name="connsiteX10" fmla="*/ 39418 w 52561"/>
                  <a:gd name="connsiteY10" fmla="*/ 45990 h 59129"/>
                  <a:gd name="connsiteX11" fmla="*/ 39418 w 52561"/>
                  <a:gd name="connsiteY11" fmla="*/ 13140 h 59129"/>
                  <a:gd name="connsiteX12" fmla="*/ 13137 w 52561"/>
                  <a:gd name="connsiteY12" fmla="*/ 13140 h 59129"/>
                  <a:gd name="connsiteX13" fmla="*/ 13137 w 52561"/>
                  <a:gd name="connsiteY13" fmla="*/ 45990 h 59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561" h="59129">
                    <a:moveTo>
                      <a:pt x="45989" y="59130"/>
                    </a:moveTo>
                    <a:lnTo>
                      <a:pt x="6569" y="59130"/>
                    </a:lnTo>
                    <a:cubicBezTo>
                      <a:pt x="2939" y="59130"/>
                      <a:pt x="0" y="56190"/>
                      <a:pt x="0" y="52561"/>
                    </a:cubicBezTo>
                    <a:lnTo>
                      <a:pt x="0" y="13140"/>
                    </a:lnTo>
                    <a:cubicBezTo>
                      <a:pt x="0" y="5898"/>
                      <a:pt x="5892" y="0"/>
                      <a:pt x="13140" y="0"/>
                    </a:cubicBezTo>
                    <a:lnTo>
                      <a:pt x="39421" y="0"/>
                    </a:lnTo>
                    <a:cubicBezTo>
                      <a:pt x="46669" y="0"/>
                      <a:pt x="52561" y="5898"/>
                      <a:pt x="52561" y="13140"/>
                    </a:cubicBezTo>
                    <a:lnTo>
                      <a:pt x="52561" y="52561"/>
                    </a:lnTo>
                    <a:cubicBezTo>
                      <a:pt x="52558" y="56190"/>
                      <a:pt x="49616" y="59130"/>
                      <a:pt x="45989" y="59130"/>
                    </a:cubicBezTo>
                    <a:close/>
                    <a:moveTo>
                      <a:pt x="13137" y="45990"/>
                    </a:moveTo>
                    <a:lnTo>
                      <a:pt x="39418" y="45990"/>
                    </a:lnTo>
                    <a:lnTo>
                      <a:pt x="39418" y="13140"/>
                    </a:lnTo>
                    <a:lnTo>
                      <a:pt x="13137" y="13140"/>
                    </a:lnTo>
                    <a:lnTo>
                      <a:pt x="13137" y="45990"/>
                    </a:lnTo>
                    <a:close/>
                  </a:path>
                </a:pathLst>
              </a:custGeom>
              <a:solidFill>
                <a:schemeClr val="accent1"/>
              </a:solidFill>
              <a:ln w="274" cap="flat">
                <a:noFill/>
                <a:prstDash val="solid"/>
                <a:miter/>
              </a:ln>
            </p:spPr>
            <p:txBody>
              <a:bodyPr rtlCol="0" anchor="ctr"/>
              <a:lstStyle/>
              <a:p>
                <a:endParaRPr lang="en-GB" dirty="0"/>
              </a:p>
            </p:txBody>
          </p:sp>
          <p:sp>
            <p:nvSpPr>
              <p:cNvPr id="1033" name="Freihandform: Form 1032">
                <a:extLst>
                  <a:ext uri="{FF2B5EF4-FFF2-40B4-BE49-F238E27FC236}">
                    <a16:creationId xmlns:a16="http://schemas.microsoft.com/office/drawing/2014/main" id="{0322F6CF-2FF2-4628-B8FC-2D2054663680}"/>
                  </a:ext>
                </a:extLst>
              </p:cNvPr>
              <p:cNvSpPr/>
              <p:nvPr/>
            </p:nvSpPr>
            <p:spPr>
              <a:xfrm>
                <a:off x="6306308" y="3452468"/>
                <a:ext cx="52560" cy="111690"/>
              </a:xfrm>
              <a:custGeom>
                <a:avLst/>
                <a:gdLst>
                  <a:gd name="connsiteX0" fmla="*/ 45992 w 52560"/>
                  <a:gd name="connsiteY0" fmla="*/ 111691 h 111690"/>
                  <a:gd name="connsiteX1" fmla="*/ 6571 w 52560"/>
                  <a:gd name="connsiteY1" fmla="*/ 111691 h 111690"/>
                  <a:gd name="connsiteX2" fmla="*/ 0 w 52560"/>
                  <a:gd name="connsiteY2" fmla="*/ 105122 h 111690"/>
                  <a:gd name="connsiteX3" fmla="*/ 0 w 52560"/>
                  <a:gd name="connsiteY3" fmla="*/ 13140 h 111690"/>
                  <a:gd name="connsiteX4" fmla="*/ 13140 w 52560"/>
                  <a:gd name="connsiteY4" fmla="*/ 0 h 111690"/>
                  <a:gd name="connsiteX5" fmla="*/ 39421 w 52560"/>
                  <a:gd name="connsiteY5" fmla="*/ 0 h 111690"/>
                  <a:gd name="connsiteX6" fmla="*/ 52561 w 52560"/>
                  <a:gd name="connsiteY6" fmla="*/ 13140 h 111690"/>
                  <a:gd name="connsiteX7" fmla="*/ 52561 w 52560"/>
                  <a:gd name="connsiteY7" fmla="*/ 105122 h 111690"/>
                  <a:gd name="connsiteX8" fmla="*/ 45992 w 52560"/>
                  <a:gd name="connsiteY8" fmla="*/ 111691 h 111690"/>
                  <a:gd name="connsiteX9" fmla="*/ 13143 w 52560"/>
                  <a:gd name="connsiteY9" fmla="*/ 98550 h 111690"/>
                  <a:gd name="connsiteX10" fmla="*/ 39423 w 52560"/>
                  <a:gd name="connsiteY10" fmla="*/ 98550 h 111690"/>
                  <a:gd name="connsiteX11" fmla="*/ 39423 w 52560"/>
                  <a:gd name="connsiteY11" fmla="*/ 13140 h 111690"/>
                  <a:gd name="connsiteX12" fmla="*/ 13143 w 52560"/>
                  <a:gd name="connsiteY12" fmla="*/ 13140 h 111690"/>
                  <a:gd name="connsiteX13" fmla="*/ 13143 w 52560"/>
                  <a:gd name="connsiteY13" fmla="*/ 98550 h 111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560" h="111690">
                    <a:moveTo>
                      <a:pt x="45992" y="111691"/>
                    </a:moveTo>
                    <a:lnTo>
                      <a:pt x="6571" y="111691"/>
                    </a:lnTo>
                    <a:cubicBezTo>
                      <a:pt x="2942" y="111691"/>
                      <a:pt x="0" y="108751"/>
                      <a:pt x="0" y="105122"/>
                    </a:cubicBezTo>
                    <a:lnTo>
                      <a:pt x="0" y="13140"/>
                    </a:lnTo>
                    <a:cubicBezTo>
                      <a:pt x="0" y="5898"/>
                      <a:pt x="5892" y="0"/>
                      <a:pt x="13140" y="0"/>
                    </a:cubicBezTo>
                    <a:lnTo>
                      <a:pt x="39421" y="0"/>
                    </a:lnTo>
                    <a:cubicBezTo>
                      <a:pt x="46669" y="0"/>
                      <a:pt x="52561" y="5898"/>
                      <a:pt x="52561" y="13140"/>
                    </a:cubicBezTo>
                    <a:lnTo>
                      <a:pt x="52561" y="105122"/>
                    </a:lnTo>
                    <a:cubicBezTo>
                      <a:pt x="52564" y="108751"/>
                      <a:pt x="49622" y="111691"/>
                      <a:pt x="45992" y="111691"/>
                    </a:cubicBezTo>
                    <a:close/>
                    <a:moveTo>
                      <a:pt x="13143" y="98550"/>
                    </a:moveTo>
                    <a:lnTo>
                      <a:pt x="39423" y="98550"/>
                    </a:lnTo>
                    <a:lnTo>
                      <a:pt x="39423" y="13140"/>
                    </a:lnTo>
                    <a:lnTo>
                      <a:pt x="13143" y="13140"/>
                    </a:lnTo>
                    <a:lnTo>
                      <a:pt x="13143" y="98550"/>
                    </a:lnTo>
                    <a:close/>
                  </a:path>
                </a:pathLst>
              </a:custGeom>
              <a:solidFill>
                <a:schemeClr val="accent1"/>
              </a:solidFill>
              <a:ln w="274" cap="flat">
                <a:noFill/>
                <a:prstDash val="solid"/>
                <a:miter/>
              </a:ln>
            </p:spPr>
            <p:txBody>
              <a:bodyPr rtlCol="0" anchor="ctr"/>
              <a:lstStyle/>
              <a:p>
                <a:endParaRPr lang="en-GB" dirty="0"/>
              </a:p>
            </p:txBody>
          </p:sp>
          <p:sp>
            <p:nvSpPr>
              <p:cNvPr id="1034" name="Freihandform: Form 1033">
                <a:extLst>
                  <a:ext uri="{FF2B5EF4-FFF2-40B4-BE49-F238E27FC236}">
                    <a16:creationId xmlns:a16="http://schemas.microsoft.com/office/drawing/2014/main" id="{BE74B2AC-5FAE-4B55-82F1-3DA920B77FB0}"/>
                  </a:ext>
                </a:extLst>
              </p:cNvPr>
              <p:cNvSpPr/>
              <p:nvPr/>
            </p:nvSpPr>
            <p:spPr>
              <a:xfrm>
                <a:off x="6378580" y="3413048"/>
                <a:ext cx="52560" cy="151111"/>
              </a:xfrm>
              <a:custGeom>
                <a:avLst/>
                <a:gdLst>
                  <a:gd name="connsiteX0" fmla="*/ 45992 w 52560"/>
                  <a:gd name="connsiteY0" fmla="*/ 151111 h 151111"/>
                  <a:gd name="connsiteX1" fmla="*/ 6572 w 52560"/>
                  <a:gd name="connsiteY1" fmla="*/ 151111 h 151111"/>
                  <a:gd name="connsiteX2" fmla="*/ 0 w 52560"/>
                  <a:gd name="connsiteY2" fmla="*/ 144543 h 151111"/>
                  <a:gd name="connsiteX3" fmla="*/ 0 w 52560"/>
                  <a:gd name="connsiteY3" fmla="*/ 13140 h 151111"/>
                  <a:gd name="connsiteX4" fmla="*/ 13140 w 52560"/>
                  <a:gd name="connsiteY4" fmla="*/ 0 h 151111"/>
                  <a:gd name="connsiteX5" fmla="*/ 39421 w 52560"/>
                  <a:gd name="connsiteY5" fmla="*/ 0 h 151111"/>
                  <a:gd name="connsiteX6" fmla="*/ 52561 w 52560"/>
                  <a:gd name="connsiteY6" fmla="*/ 13140 h 151111"/>
                  <a:gd name="connsiteX7" fmla="*/ 52561 w 52560"/>
                  <a:gd name="connsiteY7" fmla="*/ 144543 h 151111"/>
                  <a:gd name="connsiteX8" fmla="*/ 45992 w 52560"/>
                  <a:gd name="connsiteY8" fmla="*/ 151111 h 151111"/>
                  <a:gd name="connsiteX9" fmla="*/ 13140 w 52560"/>
                  <a:gd name="connsiteY9" fmla="*/ 137971 h 151111"/>
                  <a:gd name="connsiteX10" fmla="*/ 39421 w 52560"/>
                  <a:gd name="connsiteY10" fmla="*/ 137971 h 151111"/>
                  <a:gd name="connsiteX11" fmla="*/ 39421 w 52560"/>
                  <a:gd name="connsiteY11" fmla="*/ 13140 h 151111"/>
                  <a:gd name="connsiteX12" fmla="*/ 13140 w 52560"/>
                  <a:gd name="connsiteY12" fmla="*/ 13140 h 151111"/>
                  <a:gd name="connsiteX13" fmla="*/ 13140 w 52560"/>
                  <a:gd name="connsiteY13" fmla="*/ 137971 h 151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560" h="151111">
                    <a:moveTo>
                      <a:pt x="45992" y="151111"/>
                    </a:moveTo>
                    <a:lnTo>
                      <a:pt x="6572" y="151111"/>
                    </a:lnTo>
                    <a:cubicBezTo>
                      <a:pt x="2942" y="151111"/>
                      <a:pt x="0" y="148172"/>
                      <a:pt x="0" y="144543"/>
                    </a:cubicBezTo>
                    <a:lnTo>
                      <a:pt x="0" y="13140"/>
                    </a:lnTo>
                    <a:cubicBezTo>
                      <a:pt x="0" y="5898"/>
                      <a:pt x="5892" y="0"/>
                      <a:pt x="13140" y="0"/>
                    </a:cubicBezTo>
                    <a:lnTo>
                      <a:pt x="39421" y="0"/>
                    </a:lnTo>
                    <a:cubicBezTo>
                      <a:pt x="46669" y="0"/>
                      <a:pt x="52561" y="5898"/>
                      <a:pt x="52561" y="13140"/>
                    </a:cubicBezTo>
                    <a:lnTo>
                      <a:pt x="52561" y="144543"/>
                    </a:lnTo>
                    <a:cubicBezTo>
                      <a:pt x="52561" y="148172"/>
                      <a:pt x="49619" y="151111"/>
                      <a:pt x="45992" y="151111"/>
                    </a:cubicBezTo>
                    <a:close/>
                    <a:moveTo>
                      <a:pt x="13140" y="137971"/>
                    </a:moveTo>
                    <a:lnTo>
                      <a:pt x="39421" y="137971"/>
                    </a:lnTo>
                    <a:lnTo>
                      <a:pt x="39421" y="13140"/>
                    </a:lnTo>
                    <a:lnTo>
                      <a:pt x="13140" y="13140"/>
                    </a:lnTo>
                    <a:lnTo>
                      <a:pt x="13140" y="137971"/>
                    </a:lnTo>
                    <a:close/>
                  </a:path>
                </a:pathLst>
              </a:custGeom>
              <a:solidFill>
                <a:schemeClr val="accent1"/>
              </a:solidFill>
              <a:ln w="274" cap="flat">
                <a:noFill/>
                <a:prstDash val="solid"/>
                <a:miter/>
              </a:ln>
            </p:spPr>
            <p:txBody>
              <a:bodyPr rtlCol="0" anchor="ctr"/>
              <a:lstStyle/>
              <a:p>
                <a:endParaRPr lang="en-GB" dirty="0"/>
              </a:p>
            </p:txBody>
          </p:sp>
        </p:grpSp>
        <p:grpSp>
          <p:nvGrpSpPr>
            <p:cNvPr id="1023" name="Gruppieren 1022">
              <a:extLst>
                <a:ext uri="{FF2B5EF4-FFF2-40B4-BE49-F238E27FC236}">
                  <a16:creationId xmlns:a16="http://schemas.microsoft.com/office/drawing/2014/main" id="{E5322C6D-8920-4D82-80F4-B8FEABEC4C25}"/>
                </a:ext>
              </a:extLst>
            </p:cNvPr>
            <p:cNvGrpSpPr/>
            <p:nvPr/>
          </p:nvGrpSpPr>
          <p:grpSpPr>
            <a:xfrm>
              <a:off x="5988290" y="3345401"/>
              <a:ext cx="540000" cy="359996"/>
              <a:chOff x="6115776" y="3393335"/>
              <a:chExt cx="433629" cy="289083"/>
            </a:xfrm>
          </p:grpSpPr>
          <p:sp>
            <p:nvSpPr>
              <p:cNvPr id="1024" name="Freihandform: Form 1023">
                <a:extLst>
                  <a:ext uri="{FF2B5EF4-FFF2-40B4-BE49-F238E27FC236}">
                    <a16:creationId xmlns:a16="http://schemas.microsoft.com/office/drawing/2014/main" id="{FE90CE7D-75B9-45D1-A1A4-8217554BBFEF}"/>
                  </a:ext>
                </a:extLst>
              </p:cNvPr>
              <p:cNvSpPr/>
              <p:nvPr/>
            </p:nvSpPr>
            <p:spPr>
              <a:xfrm>
                <a:off x="6188046" y="3459034"/>
                <a:ext cx="289087" cy="157682"/>
              </a:xfrm>
              <a:custGeom>
                <a:avLst/>
                <a:gdLst>
                  <a:gd name="connsiteX0" fmla="*/ 269376 w 289087"/>
                  <a:gd name="connsiteY0" fmla="*/ 157683 h 157682"/>
                  <a:gd name="connsiteX1" fmla="*/ 19711 w 289087"/>
                  <a:gd name="connsiteY1" fmla="*/ 157683 h 157682"/>
                  <a:gd name="connsiteX2" fmla="*/ 13167 w 289087"/>
                  <a:gd name="connsiteY2" fmla="*/ 151709 h 157682"/>
                  <a:gd name="connsiteX3" fmla="*/ 27 w 289087"/>
                  <a:gd name="connsiteY3" fmla="*/ 7166 h 157682"/>
                  <a:gd name="connsiteX4" fmla="*/ 1720 w 289087"/>
                  <a:gd name="connsiteY4" fmla="*/ 2137 h 157682"/>
                  <a:gd name="connsiteX5" fmla="*/ 6571 w 289087"/>
                  <a:gd name="connsiteY5" fmla="*/ 0 h 157682"/>
                  <a:gd name="connsiteX6" fmla="*/ 98550 w 289087"/>
                  <a:gd name="connsiteY6" fmla="*/ 0 h 157682"/>
                  <a:gd name="connsiteX7" fmla="*/ 105119 w 289087"/>
                  <a:gd name="connsiteY7" fmla="*/ 6569 h 157682"/>
                  <a:gd name="connsiteX8" fmla="*/ 98550 w 289087"/>
                  <a:gd name="connsiteY8" fmla="*/ 13140 h 157682"/>
                  <a:gd name="connsiteX9" fmla="*/ 13767 w 289087"/>
                  <a:gd name="connsiteY9" fmla="*/ 13140 h 157682"/>
                  <a:gd name="connsiteX10" fmla="*/ 25710 w 289087"/>
                  <a:gd name="connsiteY10" fmla="*/ 144543 h 157682"/>
                  <a:gd name="connsiteX11" fmla="*/ 263377 w 289087"/>
                  <a:gd name="connsiteY11" fmla="*/ 144543 h 157682"/>
                  <a:gd name="connsiteX12" fmla="*/ 275320 w 289087"/>
                  <a:gd name="connsiteY12" fmla="*/ 13140 h 157682"/>
                  <a:gd name="connsiteX13" fmla="*/ 256236 w 289087"/>
                  <a:gd name="connsiteY13" fmla="*/ 13140 h 157682"/>
                  <a:gd name="connsiteX14" fmla="*/ 249664 w 289087"/>
                  <a:gd name="connsiteY14" fmla="*/ 6569 h 157682"/>
                  <a:gd name="connsiteX15" fmla="*/ 256236 w 289087"/>
                  <a:gd name="connsiteY15" fmla="*/ 0 h 157682"/>
                  <a:gd name="connsiteX16" fmla="*/ 282516 w 289087"/>
                  <a:gd name="connsiteY16" fmla="*/ 0 h 157682"/>
                  <a:gd name="connsiteX17" fmla="*/ 287367 w 289087"/>
                  <a:gd name="connsiteY17" fmla="*/ 2137 h 157682"/>
                  <a:gd name="connsiteX18" fmla="*/ 289060 w 289087"/>
                  <a:gd name="connsiteY18" fmla="*/ 7166 h 157682"/>
                  <a:gd name="connsiteX19" fmla="*/ 275920 w 289087"/>
                  <a:gd name="connsiteY19" fmla="*/ 151709 h 157682"/>
                  <a:gd name="connsiteX20" fmla="*/ 269376 w 289087"/>
                  <a:gd name="connsiteY20" fmla="*/ 157683 h 157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9087" h="157682">
                    <a:moveTo>
                      <a:pt x="269376" y="157683"/>
                    </a:moveTo>
                    <a:lnTo>
                      <a:pt x="19711" y="157683"/>
                    </a:lnTo>
                    <a:cubicBezTo>
                      <a:pt x="16315" y="157683"/>
                      <a:pt x="13474" y="155092"/>
                      <a:pt x="13167" y="151709"/>
                    </a:cubicBezTo>
                    <a:lnTo>
                      <a:pt x="27" y="7166"/>
                    </a:lnTo>
                    <a:cubicBezTo>
                      <a:pt x="-140" y="5325"/>
                      <a:pt x="476" y="3504"/>
                      <a:pt x="1720" y="2137"/>
                    </a:cubicBezTo>
                    <a:cubicBezTo>
                      <a:pt x="2963" y="775"/>
                      <a:pt x="4725" y="0"/>
                      <a:pt x="6571" y="0"/>
                    </a:cubicBezTo>
                    <a:lnTo>
                      <a:pt x="98550" y="0"/>
                    </a:lnTo>
                    <a:cubicBezTo>
                      <a:pt x="102180" y="0"/>
                      <a:pt x="105119" y="2939"/>
                      <a:pt x="105119" y="6569"/>
                    </a:cubicBezTo>
                    <a:cubicBezTo>
                      <a:pt x="105119" y="10201"/>
                      <a:pt x="102177" y="13140"/>
                      <a:pt x="98550" y="13140"/>
                    </a:cubicBezTo>
                    <a:lnTo>
                      <a:pt x="13767" y="13140"/>
                    </a:lnTo>
                    <a:lnTo>
                      <a:pt x="25710" y="144543"/>
                    </a:lnTo>
                    <a:lnTo>
                      <a:pt x="263377" y="144543"/>
                    </a:lnTo>
                    <a:lnTo>
                      <a:pt x="275320" y="13140"/>
                    </a:lnTo>
                    <a:lnTo>
                      <a:pt x="256236" y="13140"/>
                    </a:lnTo>
                    <a:cubicBezTo>
                      <a:pt x="252606" y="13140"/>
                      <a:pt x="249664" y="10201"/>
                      <a:pt x="249664" y="6569"/>
                    </a:cubicBezTo>
                    <a:cubicBezTo>
                      <a:pt x="249664" y="2937"/>
                      <a:pt x="252606" y="0"/>
                      <a:pt x="256236" y="0"/>
                    </a:cubicBezTo>
                    <a:lnTo>
                      <a:pt x="282516" y="0"/>
                    </a:lnTo>
                    <a:cubicBezTo>
                      <a:pt x="284360" y="0"/>
                      <a:pt x="286121" y="775"/>
                      <a:pt x="287367" y="2137"/>
                    </a:cubicBezTo>
                    <a:cubicBezTo>
                      <a:pt x="288611" y="3504"/>
                      <a:pt x="289227" y="5325"/>
                      <a:pt x="289060" y="7166"/>
                    </a:cubicBezTo>
                    <a:lnTo>
                      <a:pt x="275920" y="151709"/>
                    </a:lnTo>
                    <a:cubicBezTo>
                      <a:pt x="275613" y="155092"/>
                      <a:pt x="272773" y="157683"/>
                      <a:pt x="269376" y="157683"/>
                    </a:cubicBezTo>
                    <a:close/>
                  </a:path>
                </a:pathLst>
              </a:custGeom>
              <a:solidFill>
                <a:schemeClr val="tx2"/>
              </a:solidFill>
              <a:ln w="274" cap="flat">
                <a:noFill/>
                <a:prstDash val="solid"/>
                <a:miter/>
              </a:ln>
            </p:spPr>
            <p:txBody>
              <a:bodyPr rtlCol="0" anchor="ctr"/>
              <a:lstStyle/>
              <a:p>
                <a:endParaRPr lang="en-GB" dirty="0"/>
              </a:p>
            </p:txBody>
          </p:sp>
          <p:sp>
            <p:nvSpPr>
              <p:cNvPr id="1025" name="Freihandform: Form 1024">
                <a:extLst>
                  <a:ext uri="{FF2B5EF4-FFF2-40B4-BE49-F238E27FC236}">
                    <a16:creationId xmlns:a16="http://schemas.microsoft.com/office/drawing/2014/main" id="{735755E7-8DDD-468A-A4E3-60782FE73B44}"/>
                  </a:ext>
                </a:extLst>
              </p:cNvPr>
              <p:cNvSpPr/>
              <p:nvPr/>
            </p:nvSpPr>
            <p:spPr>
              <a:xfrm>
                <a:off x="6450853" y="3459036"/>
                <a:ext cx="98552" cy="223382"/>
              </a:xfrm>
              <a:custGeom>
                <a:avLst/>
                <a:gdLst>
                  <a:gd name="connsiteX0" fmla="*/ 78841 w 98552"/>
                  <a:gd name="connsiteY0" fmla="*/ 223383 h 223382"/>
                  <a:gd name="connsiteX1" fmla="*/ 74420 w 98552"/>
                  <a:gd name="connsiteY1" fmla="*/ 221676 h 223382"/>
                  <a:gd name="connsiteX2" fmla="*/ 2150 w 98552"/>
                  <a:gd name="connsiteY2" fmla="*/ 155975 h 223382"/>
                  <a:gd name="connsiteX3" fmla="*/ 27 w 98552"/>
                  <a:gd name="connsiteY3" fmla="*/ 150516 h 223382"/>
                  <a:gd name="connsiteX4" fmla="*/ 13167 w 98552"/>
                  <a:gd name="connsiteY4" fmla="*/ 5973 h 223382"/>
                  <a:gd name="connsiteX5" fmla="*/ 17328 w 98552"/>
                  <a:gd name="connsiteY5" fmla="*/ 448 h 223382"/>
                  <a:gd name="connsiteX6" fmla="*/ 24132 w 98552"/>
                  <a:gd name="connsiteY6" fmla="*/ 1705 h 223382"/>
                  <a:gd name="connsiteX7" fmla="*/ 96402 w 98552"/>
                  <a:gd name="connsiteY7" fmla="*/ 67406 h 223382"/>
                  <a:gd name="connsiteX8" fmla="*/ 98525 w 98552"/>
                  <a:gd name="connsiteY8" fmla="*/ 72866 h 223382"/>
                  <a:gd name="connsiteX9" fmla="*/ 85385 w 98552"/>
                  <a:gd name="connsiteY9" fmla="*/ 217408 h 223382"/>
                  <a:gd name="connsiteX10" fmla="*/ 81224 w 98552"/>
                  <a:gd name="connsiteY10" fmla="*/ 222933 h 223382"/>
                  <a:gd name="connsiteX11" fmla="*/ 78841 w 98552"/>
                  <a:gd name="connsiteY11" fmla="*/ 223383 h 223382"/>
                  <a:gd name="connsiteX12" fmla="*/ 13408 w 98552"/>
                  <a:gd name="connsiteY12" fmla="*/ 148450 h 223382"/>
                  <a:gd name="connsiteX13" fmla="*/ 73491 w 98552"/>
                  <a:gd name="connsiteY13" fmla="*/ 203071 h 223382"/>
                  <a:gd name="connsiteX14" fmla="*/ 85139 w 98552"/>
                  <a:gd name="connsiteY14" fmla="*/ 74934 h 223382"/>
                  <a:gd name="connsiteX15" fmla="*/ 25056 w 98552"/>
                  <a:gd name="connsiteY15" fmla="*/ 20313 h 223382"/>
                  <a:gd name="connsiteX16" fmla="*/ 13408 w 98552"/>
                  <a:gd name="connsiteY16" fmla="*/ 148450 h 22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8552" h="223382">
                    <a:moveTo>
                      <a:pt x="78841" y="223383"/>
                    </a:moveTo>
                    <a:cubicBezTo>
                      <a:pt x="77233" y="223383"/>
                      <a:pt x="75653" y="222794"/>
                      <a:pt x="74420" y="221676"/>
                    </a:cubicBezTo>
                    <a:lnTo>
                      <a:pt x="2150" y="155975"/>
                    </a:lnTo>
                    <a:cubicBezTo>
                      <a:pt x="627" y="154589"/>
                      <a:pt x="-159" y="152567"/>
                      <a:pt x="27" y="150516"/>
                    </a:cubicBezTo>
                    <a:lnTo>
                      <a:pt x="13167" y="5973"/>
                    </a:lnTo>
                    <a:cubicBezTo>
                      <a:pt x="13395" y="3491"/>
                      <a:pt x="15005" y="1354"/>
                      <a:pt x="17328" y="448"/>
                    </a:cubicBezTo>
                    <a:cubicBezTo>
                      <a:pt x="19659" y="-456"/>
                      <a:pt x="22289" y="31"/>
                      <a:pt x="24132" y="1705"/>
                    </a:cubicBezTo>
                    <a:lnTo>
                      <a:pt x="96402" y="67406"/>
                    </a:lnTo>
                    <a:cubicBezTo>
                      <a:pt x="97926" y="68792"/>
                      <a:pt x="98712" y="70814"/>
                      <a:pt x="98525" y="72866"/>
                    </a:cubicBezTo>
                    <a:lnTo>
                      <a:pt x="85385" y="217408"/>
                    </a:lnTo>
                    <a:cubicBezTo>
                      <a:pt x="85158" y="219890"/>
                      <a:pt x="83547" y="222027"/>
                      <a:pt x="81224" y="222933"/>
                    </a:cubicBezTo>
                    <a:cubicBezTo>
                      <a:pt x="80449" y="223237"/>
                      <a:pt x="79641" y="223383"/>
                      <a:pt x="78841" y="223383"/>
                    </a:cubicBezTo>
                    <a:close/>
                    <a:moveTo>
                      <a:pt x="13408" y="148450"/>
                    </a:moveTo>
                    <a:lnTo>
                      <a:pt x="73491" y="203071"/>
                    </a:lnTo>
                    <a:lnTo>
                      <a:pt x="85139" y="74934"/>
                    </a:lnTo>
                    <a:lnTo>
                      <a:pt x="25056" y="20313"/>
                    </a:lnTo>
                    <a:lnTo>
                      <a:pt x="13408" y="148450"/>
                    </a:lnTo>
                    <a:close/>
                  </a:path>
                </a:pathLst>
              </a:custGeom>
              <a:solidFill>
                <a:schemeClr val="tx2"/>
              </a:solidFill>
              <a:ln w="274" cap="flat">
                <a:noFill/>
                <a:prstDash val="solid"/>
                <a:miter/>
              </a:ln>
            </p:spPr>
            <p:txBody>
              <a:bodyPr rtlCol="0" anchor="ctr"/>
              <a:lstStyle/>
              <a:p>
                <a:endParaRPr lang="en-GB" dirty="0"/>
              </a:p>
            </p:txBody>
          </p:sp>
          <p:sp>
            <p:nvSpPr>
              <p:cNvPr id="1026" name="Freihandform: Form 1025">
                <a:extLst>
                  <a:ext uri="{FF2B5EF4-FFF2-40B4-BE49-F238E27FC236}">
                    <a16:creationId xmlns:a16="http://schemas.microsoft.com/office/drawing/2014/main" id="{BAC27871-72FC-403D-A399-14D81BA29197}"/>
                  </a:ext>
                </a:extLst>
              </p:cNvPr>
              <p:cNvSpPr/>
              <p:nvPr/>
            </p:nvSpPr>
            <p:spPr>
              <a:xfrm>
                <a:off x="6115776" y="3393335"/>
                <a:ext cx="98552" cy="223382"/>
              </a:xfrm>
              <a:custGeom>
                <a:avLst/>
                <a:gdLst>
                  <a:gd name="connsiteX0" fmla="*/ 91981 w 98552"/>
                  <a:gd name="connsiteY0" fmla="*/ 223383 h 223382"/>
                  <a:gd name="connsiteX1" fmla="*/ 87560 w 98552"/>
                  <a:gd name="connsiteY1" fmla="*/ 221676 h 223382"/>
                  <a:gd name="connsiteX2" fmla="*/ 15290 w 98552"/>
                  <a:gd name="connsiteY2" fmla="*/ 155975 h 223382"/>
                  <a:gd name="connsiteX3" fmla="*/ 13167 w 98552"/>
                  <a:gd name="connsiteY3" fmla="*/ 151707 h 223382"/>
                  <a:gd name="connsiteX4" fmla="*/ 27 w 98552"/>
                  <a:gd name="connsiteY4" fmla="*/ 7164 h 223382"/>
                  <a:gd name="connsiteX5" fmla="*/ 3643 w 98552"/>
                  <a:gd name="connsiteY5" fmla="*/ 683 h 223382"/>
                  <a:gd name="connsiteX6" fmla="*/ 10992 w 98552"/>
                  <a:gd name="connsiteY6" fmla="*/ 1702 h 223382"/>
                  <a:gd name="connsiteX7" fmla="*/ 83262 w 98552"/>
                  <a:gd name="connsiteY7" fmla="*/ 67404 h 223382"/>
                  <a:gd name="connsiteX8" fmla="*/ 85385 w 98552"/>
                  <a:gd name="connsiteY8" fmla="*/ 71671 h 223382"/>
                  <a:gd name="connsiteX9" fmla="*/ 98525 w 98552"/>
                  <a:gd name="connsiteY9" fmla="*/ 216214 h 223382"/>
                  <a:gd name="connsiteX10" fmla="*/ 94909 w 98552"/>
                  <a:gd name="connsiteY10" fmla="*/ 222695 h 223382"/>
                  <a:gd name="connsiteX11" fmla="*/ 91981 w 98552"/>
                  <a:gd name="connsiteY11" fmla="*/ 223383 h 223382"/>
                  <a:gd name="connsiteX12" fmla="*/ 26022 w 98552"/>
                  <a:gd name="connsiteY12" fmla="*/ 147968 h 223382"/>
                  <a:gd name="connsiteX13" fmla="*/ 83911 w 98552"/>
                  <a:gd name="connsiteY13" fmla="*/ 200592 h 223382"/>
                  <a:gd name="connsiteX14" fmla="*/ 72532 w 98552"/>
                  <a:gd name="connsiteY14" fmla="*/ 75413 h 223382"/>
                  <a:gd name="connsiteX15" fmla="*/ 14644 w 98552"/>
                  <a:gd name="connsiteY15" fmla="*/ 22789 h 223382"/>
                  <a:gd name="connsiteX16" fmla="*/ 26022 w 98552"/>
                  <a:gd name="connsiteY16" fmla="*/ 147968 h 22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8552" h="223382">
                    <a:moveTo>
                      <a:pt x="91981" y="223383"/>
                    </a:moveTo>
                    <a:cubicBezTo>
                      <a:pt x="90381" y="223383"/>
                      <a:pt x="88798" y="222799"/>
                      <a:pt x="87560" y="221676"/>
                    </a:cubicBezTo>
                    <a:lnTo>
                      <a:pt x="15290" y="155975"/>
                    </a:lnTo>
                    <a:cubicBezTo>
                      <a:pt x="14074" y="154866"/>
                      <a:pt x="13318" y="153345"/>
                      <a:pt x="13167" y="151707"/>
                    </a:cubicBezTo>
                    <a:lnTo>
                      <a:pt x="27" y="7164"/>
                    </a:lnTo>
                    <a:cubicBezTo>
                      <a:pt x="-217" y="4463"/>
                      <a:pt x="1216" y="1891"/>
                      <a:pt x="3643" y="683"/>
                    </a:cubicBezTo>
                    <a:cubicBezTo>
                      <a:pt x="6067" y="-517"/>
                      <a:pt x="8987" y="-111"/>
                      <a:pt x="10992" y="1702"/>
                    </a:cubicBezTo>
                    <a:lnTo>
                      <a:pt x="83262" y="67404"/>
                    </a:lnTo>
                    <a:cubicBezTo>
                      <a:pt x="84478" y="68513"/>
                      <a:pt x="85234" y="70033"/>
                      <a:pt x="85385" y="71671"/>
                    </a:cubicBezTo>
                    <a:lnTo>
                      <a:pt x="98525" y="216214"/>
                    </a:lnTo>
                    <a:cubicBezTo>
                      <a:pt x="98769" y="218915"/>
                      <a:pt x="97336" y="221487"/>
                      <a:pt x="94909" y="222695"/>
                    </a:cubicBezTo>
                    <a:cubicBezTo>
                      <a:pt x="93981" y="223158"/>
                      <a:pt x="92981" y="223383"/>
                      <a:pt x="91981" y="223383"/>
                    </a:cubicBezTo>
                    <a:close/>
                    <a:moveTo>
                      <a:pt x="26022" y="147968"/>
                    </a:moveTo>
                    <a:lnTo>
                      <a:pt x="83911" y="200592"/>
                    </a:lnTo>
                    <a:lnTo>
                      <a:pt x="72532" y="75413"/>
                    </a:lnTo>
                    <a:lnTo>
                      <a:pt x="14644" y="22789"/>
                    </a:lnTo>
                    <a:lnTo>
                      <a:pt x="26022" y="147968"/>
                    </a:lnTo>
                    <a:close/>
                  </a:path>
                </a:pathLst>
              </a:custGeom>
              <a:solidFill>
                <a:schemeClr val="tx2"/>
              </a:solidFill>
              <a:ln w="274" cap="flat">
                <a:noFill/>
                <a:prstDash val="solid"/>
                <a:miter/>
              </a:ln>
            </p:spPr>
            <p:txBody>
              <a:bodyPr rtlCol="0" anchor="ctr"/>
              <a:lstStyle/>
              <a:p>
                <a:endParaRPr lang="en-GB" dirty="0"/>
              </a:p>
            </p:txBody>
          </p:sp>
          <p:sp>
            <p:nvSpPr>
              <p:cNvPr id="1027" name="Freihandform: Form 1026">
                <a:extLst>
                  <a:ext uri="{FF2B5EF4-FFF2-40B4-BE49-F238E27FC236}">
                    <a16:creationId xmlns:a16="http://schemas.microsoft.com/office/drawing/2014/main" id="{3717C623-53F9-4E18-A696-D3C74CDA4B4B}"/>
                  </a:ext>
                </a:extLst>
              </p:cNvPr>
              <p:cNvSpPr/>
              <p:nvPr/>
            </p:nvSpPr>
            <p:spPr>
              <a:xfrm>
                <a:off x="6150820" y="3472459"/>
                <a:ext cx="28810" cy="25927"/>
              </a:xfrm>
              <a:custGeom>
                <a:avLst/>
                <a:gdLst>
                  <a:gd name="connsiteX0" fmla="*/ 22237 w 28810"/>
                  <a:gd name="connsiteY0" fmla="*/ 25927 h 25927"/>
                  <a:gd name="connsiteX1" fmla="*/ 18087 w 28810"/>
                  <a:gd name="connsiteY1" fmla="*/ 24445 h 25927"/>
                  <a:gd name="connsiteX2" fmla="*/ 2415 w 28810"/>
                  <a:gd name="connsiteY2" fmla="*/ 11653 h 25927"/>
                  <a:gd name="connsiteX3" fmla="*/ 1481 w 28810"/>
                  <a:gd name="connsiteY3" fmla="*/ 2408 h 25927"/>
                  <a:gd name="connsiteX4" fmla="*/ 10724 w 28810"/>
                  <a:gd name="connsiteY4" fmla="*/ 1477 h 25927"/>
                  <a:gd name="connsiteX5" fmla="*/ 26395 w 28810"/>
                  <a:gd name="connsiteY5" fmla="*/ 14272 h 25927"/>
                  <a:gd name="connsiteX6" fmla="*/ 27329 w 28810"/>
                  <a:gd name="connsiteY6" fmla="*/ 23517 h 25927"/>
                  <a:gd name="connsiteX7" fmla="*/ 22237 w 28810"/>
                  <a:gd name="connsiteY7" fmla="*/ 25927 h 25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0" h="25927">
                    <a:moveTo>
                      <a:pt x="22237" y="25927"/>
                    </a:moveTo>
                    <a:cubicBezTo>
                      <a:pt x="20774" y="25927"/>
                      <a:pt x="19306" y="25440"/>
                      <a:pt x="18087" y="24445"/>
                    </a:cubicBezTo>
                    <a:lnTo>
                      <a:pt x="2415" y="11653"/>
                    </a:lnTo>
                    <a:cubicBezTo>
                      <a:pt x="-395" y="9363"/>
                      <a:pt x="-814" y="5224"/>
                      <a:pt x="1481" y="2408"/>
                    </a:cubicBezTo>
                    <a:cubicBezTo>
                      <a:pt x="3774" y="-402"/>
                      <a:pt x="7913" y="-805"/>
                      <a:pt x="10724" y="1477"/>
                    </a:cubicBezTo>
                    <a:lnTo>
                      <a:pt x="26395" y="14272"/>
                    </a:lnTo>
                    <a:cubicBezTo>
                      <a:pt x="29205" y="16562"/>
                      <a:pt x="29624" y="20701"/>
                      <a:pt x="27329" y="23517"/>
                    </a:cubicBezTo>
                    <a:cubicBezTo>
                      <a:pt x="26033" y="25106"/>
                      <a:pt x="24143" y="25927"/>
                      <a:pt x="22237" y="25927"/>
                    </a:cubicBezTo>
                    <a:close/>
                  </a:path>
                </a:pathLst>
              </a:custGeom>
              <a:solidFill>
                <a:schemeClr val="tx2"/>
              </a:solidFill>
              <a:ln w="274" cap="flat">
                <a:noFill/>
                <a:prstDash val="solid"/>
                <a:miter/>
              </a:ln>
            </p:spPr>
            <p:txBody>
              <a:bodyPr rtlCol="0" anchor="ctr"/>
              <a:lstStyle/>
              <a:p>
                <a:endParaRPr lang="en-GB" dirty="0"/>
              </a:p>
            </p:txBody>
          </p:sp>
          <p:sp>
            <p:nvSpPr>
              <p:cNvPr id="1028" name="Freihandform: Form 1027">
                <a:extLst>
                  <a:ext uri="{FF2B5EF4-FFF2-40B4-BE49-F238E27FC236}">
                    <a16:creationId xmlns:a16="http://schemas.microsoft.com/office/drawing/2014/main" id="{218F40B6-D51F-4377-9B64-B586B21A27E0}"/>
                  </a:ext>
                </a:extLst>
              </p:cNvPr>
              <p:cNvSpPr/>
              <p:nvPr/>
            </p:nvSpPr>
            <p:spPr>
              <a:xfrm>
                <a:off x="6150816" y="3511325"/>
                <a:ext cx="28812" cy="25937"/>
              </a:xfrm>
              <a:custGeom>
                <a:avLst/>
                <a:gdLst>
                  <a:gd name="connsiteX0" fmla="*/ 22241 w 28812"/>
                  <a:gd name="connsiteY0" fmla="*/ 25937 h 25937"/>
                  <a:gd name="connsiteX1" fmla="*/ 18085 w 28812"/>
                  <a:gd name="connsiteY1" fmla="*/ 24455 h 25937"/>
                  <a:gd name="connsiteX2" fmla="*/ 2414 w 28812"/>
                  <a:gd name="connsiteY2" fmla="*/ 11655 h 25937"/>
                  <a:gd name="connsiteX3" fmla="*/ 1482 w 28812"/>
                  <a:gd name="connsiteY3" fmla="*/ 2410 h 25937"/>
                  <a:gd name="connsiteX4" fmla="*/ 10727 w 28812"/>
                  <a:gd name="connsiteY4" fmla="*/ 1478 h 25937"/>
                  <a:gd name="connsiteX5" fmla="*/ 26399 w 28812"/>
                  <a:gd name="connsiteY5" fmla="*/ 14279 h 25937"/>
                  <a:gd name="connsiteX6" fmla="*/ 27330 w 28812"/>
                  <a:gd name="connsiteY6" fmla="*/ 23524 h 25937"/>
                  <a:gd name="connsiteX7" fmla="*/ 22241 w 28812"/>
                  <a:gd name="connsiteY7" fmla="*/ 25937 h 2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12" h="25937">
                    <a:moveTo>
                      <a:pt x="22241" y="25937"/>
                    </a:moveTo>
                    <a:cubicBezTo>
                      <a:pt x="20778" y="25937"/>
                      <a:pt x="19309" y="25450"/>
                      <a:pt x="18085" y="24455"/>
                    </a:cubicBezTo>
                    <a:lnTo>
                      <a:pt x="2414" y="11655"/>
                    </a:lnTo>
                    <a:cubicBezTo>
                      <a:pt x="-397" y="9357"/>
                      <a:pt x="-813" y="5220"/>
                      <a:pt x="1482" y="2410"/>
                    </a:cubicBezTo>
                    <a:cubicBezTo>
                      <a:pt x="3781" y="-406"/>
                      <a:pt x="7917" y="-803"/>
                      <a:pt x="10727" y="1478"/>
                    </a:cubicBezTo>
                    <a:lnTo>
                      <a:pt x="26399" y="14279"/>
                    </a:lnTo>
                    <a:cubicBezTo>
                      <a:pt x="29209" y="16577"/>
                      <a:pt x="29626" y="20714"/>
                      <a:pt x="27330" y="23524"/>
                    </a:cubicBezTo>
                    <a:cubicBezTo>
                      <a:pt x="26034" y="25115"/>
                      <a:pt x="24144" y="25937"/>
                      <a:pt x="22241" y="25937"/>
                    </a:cubicBezTo>
                    <a:close/>
                  </a:path>
                </a:pathLst>
              </a:custGeom>
              <a:solidFill>
                <a:schemeClr val="tx2"/>
              </a:solidFill>
              <a:ln w="274" cap="flat">
                <a:noFill/>
                <a:prstDash val="solid"/>
                <a:miter/>
              </a:ln>
            </p:spPr>
            <p:txBody>
              <a:bodyPr rtlCol="0" anchor="ctr"/>
              <a:lstStyle/>
              <a:p>
                <a:endParaRPr lang="en-GB" dirty="0"/>
              </a:p>
            </p:txBody>
          </p:sp>
          <p:grpSp>
            <p:nvGrpSpPr>
              <p:cNvPr id="1029" name="Grafik 349">
                <a:extLst>
                  <a:ext uri="{FF2B5EF4-FFF2-40B4-BE49-F238E27FC236}">
                    <a16:creationId xmlns:a16="http://schemas.microsoft.com/office/drawing/2014/main" id="{259E3A15-3051-43E4-8722-699E99F255B0}"/>
                  </a:ext>
                </a:extLst>
              </p:cNvPr>
              <p:cNvGrpSpPr/>
              <p:nvPr/>
            </p:nvGrpSpPr>
            <p:grpSpPr>
              <a:xfrm>
                <a:off x="6477134" y="3544446"/>
                <a:ext cx="46551" cy="46974"/>
                <a:chOff x="6477134" y="3544446"/>
                <a:chExt cx="46551" cy="46974"/>
              </a:xfrm>
              <a:solidFill>
                <a:schemeClr val="tx2"/>
              </a:solidFill>
            </p:grpSpPr>
            <p:sp>
              <p:nvSpPr>
                <p:cNvPr id="1030" name="Freihandform: Form 1029">
                  <a:extLst>
                    <a:ext uri="{FF2B5EF4-FFF2-40B4-BE49-F238E27FC236}">
                      <a16:creationId xmlns:a16="http://schemas.microsoft.com/office/drawing/2014/main" id="{FA7E51DB-1755-438C-8198-3FEC4FE5EA83}"/>
                    </a:ext>
                  </a:extLst>
                </p:cNvPr>
                <p:cNvSpPr/>
                <p:nvPr/>
              </p:nvSpPr>
              <p:spPr>
                <a:xfrm>
                  <a:off x="6485294" y="3547629"/>
                  <a:ext cx="38390" cy="43791"/>
                </a:xfrm>
                <a:custGeom>
                  <a:avLst/>
                  <a:gdLst>
                    <a:gd name="connsiteX0" fmla="*/ 21191 w 38390"/>
                    <a:gd name="connsiteY0" fmla="*/ 43791 h 43791"/>
                    <a:gd name="connsiteX1" fmla="*/ 12724 w 38390"/>
                    <a:gd name="connsiteY1" fmla="*/ 42118 h 43791"/>
                    <a:gd name="connsiteX2" fmla="*/ 1969 w 38390"/>
                    <a:gd name="connsiteY2" fmla="*/ 35029 h 43791"/>
                    <a:gd name="connsiteX3" fmla="*/ 1879 w 38390"/>
                    <a:gd name="connsiteY3" fmla="*/ 25737 h 43791"/>
                    <a:gd name="connsiteX4" fmla="*/ 11171 w 38390"/>
                    <a:gd name="connsiteY4" fmla="*/ 25647 h 43791"/>
                    <a:gd name="connsiteX5" fmla="*/ 17504 w 38390"/>
                    <a:gd name="connsiteY5" fmla="*/ 29876 h 43791"/>
                    <a:gd name="connsiteX6" fmla="*/ 23629 w 38390"/>
                    <a:gd name="connsiteY6" fmla="*/ 30024 h 43791"/>
                    <a:gd name="connsiteX7" fmla="*/ 25248 w 38390"/>
                    <a:gd name="connsiteY7" fmla="*/ 25803 h 43791"/>
                    <a:gd name="connsiteX8" fmla="*/ 17537 w 38390"/>
                    <a:gd name="connsiteY8" fmla="*/ 11706 h 43791"/>
                    <a:gd name="connsiteX9" fmla="*/ 16518 w 38390"/>
                    <a:gd name="connsiteY9" fmla="*/ 2472 h 43791"/>
                    <a:gd name="connsiteX10" fmla="*/ 25752 w 38390"/>
                    <a:gd name="connsiteY10" fmla="*/ 1453 h 43791"/>
                    <a:gd name="connsiteX11" fmla="*/ 38391 w 38390"/>
                    <a:gd name="connsiteY11" fmla="*/ 25803 h 43791"/>
                    <a:gd name="connsiteX12" fmla="*/ 31041 w 38390"/>
                    <a:gd name="connsiteY12" fmla="*/ 40880 h 43791"/>
                    <a:gd name="connsiteX13" fmla="*/ 21191 w 38390"/>
                    <a:gd name="connsiteY13" fmla="*/ 43791 h 43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390" h="43791">
                      <a:moveTo>
                        <a:pt x="21191" y="43791"/>
                      </a:moveTo>
                      <a:cubicBezTo>
                        <a:pt x="18457" y="43791"/>
                        <a:pt x="15589" y="43233"/>
                        <a:pt x="12724" y="42118"/>
                      </a:cubicBezTo>
                      <a:cubicBezTo>
                        <a:pt x="8889" y="40622"/>
                        <a:pt x="5172" y="38173"/>
                        <a:pt x="1969" y="35029"/>
                      </a:cubicBezTo>
                      <a:cubicBezTo>
                        <a:pt x="-622" y="32486"/>
                        <a:pt x="-660" y="28331"/>
                        <a:pt x="1879" y="25737"/>
                      </a:cubicBezTo>
                      <a:cubicBezTo>
                        <a:pt x="4421" y="23156"/>
                        <a:pt x="8577" y="23099"/>
                        <a:pt x="11171" y="25647"/>
                      </a:cubicBezTo>
                      <a:cubicBezTo>
                        <a:pt x="13118" y="27559"/>
                        <a:pt x="15310" y="29016"/>
                        <a:pt x="17504" y="29876"/>
                      </a:cubicBezTo>
                      <a:cubicBezTo>
                        <a:pt x="20027" y="30857"/>
                        <a:pt x="22322" y="30914"/>
                        <a:pt x="23629" y="30024"/>
                      </a:cubicBezTo>
                      <a:cubicBezTo>
                        <a:pt x="25037" y="29068"/>
                        <a:pt x="25248" y="26970"/>
                        <a:pt x="25248" y="25803"/>
                      </a:cubicBezTo>
                      <a:cubicBezTo>
                        <a:pt x="25248" y="21066"/>
                        <a:pt x="22150" y="15402"/>
                        <a:pt x="17537" y="11706"/>
                      </a:cubicBezTo>
                      <a:cubicBezTo>
                        <a:pt x="14704" y="9441"/>
                        <a:pt x="14244" y="5302"/>
                        <a:pt x="16518" y="2472"/>
                      </a:cubicBezTo>
                      <a:cubicBezTo>
                        <a:pt x="18783" y="-371"/>
                        <a:pt x="22928" y="-831"/>
                        <a:pt x="25752" y="1453"/>
                      </a:cubicBezTo>
                      <a:cubicBezTo>
                        <a:pt x="33548" y="7696"/>
                        <a:pt x="38391" y="17026"/>
                        <a:pt x="38391" y="25803"/>
                      </a:cubicBezTo>
                      <a:cubicBezTo>
                        <a:pt x="38391" y="32193"/>
                        <a:pt x="35712" y="37691"/>
                        <a:pt x="31041" y="40880"/>
                      </a:cubicBezTo>
                      <a:cubicBezTo>
                        <a:pt x="28209" y="42811"/>
                        <a:pt x="24818" y="43791"/>
                        <a:pt x="21191" y="43791"/>
                      </a:cubicBezTo>
                      <a:close/>
                    </a:path>
                  </a:pathLst>
                </a:custGeom>
                <a:solidFill>
                  <a:schemeClr val="tx2"/>
                </a:solidFill>
                <a:ln w="274" cap="flat">
                  <a:noFill/>
                  <a:prstDash val="solid"/>
                  <a:miter/>
                </a:ln>
              </p:spPr>
              <p:txBody>
                <a:bodyPr rtlCol="0" anchor="ctr"/>
                <a:lstStyle/>
                <a:p>
                  <a:endParaRPr lang="en-GB" dirty="0"/>
                </a:p>
              </p:txBody>
            </p:sp>
            <p:sp>
              <p:nvSpPr>
                <p:cNvPr id="1031" name="Freihandform: Form 1030">
                  <a:extLst>
                    <a:ext uri="{FF2B5EF4-FFF2-40B4-BE49-F238E27FC236}">
                      <a16:creationId xmlns:a16="http://schemas.microsoft.com/office/drawing/2014/main" id="{C04AC51E-25EA-4D92-A337-490B60807AF3}"/>
                    </a:ext>
                  </a:extLst>
                </p:cNvPr>
                <p:cNvSpPr/>
                <p:nvPr/>
              </p:nvSpPr>
              <p:spPr>
                <a:xfrm>
                  <a:off x="6477134" y="3544446"/>
                  <a:ext cx="17732" cy="22745"/>
                </a:xfrm>
                <a:custGeom>
                  <a:avLst/>
                  <a:gdLst>
                    <a:gd name="connsiteX0" fmla="*/ 6569 w 17732"/>
                    <a:gd name="connsiteY0" fmla="*/ 22746 h 22745"/>
                    <a:gd name="connsiteX1" fmla="*/ 0 w 17732"/>
                    <a:gd name="connsiteY1" fmla="*/ 16177 h 22745"/>
                    <a:gd name="connsiteX2" fmla="*/ 7538 w 17732"/>
                    <a:gd name="connsiteY2" fmla="*/ 1092 h 22745"/>
                    <a:gd name="connsiteX3" fmla="*/ 16644 w 17732"/>
                    <a:gd name="connsiteY3" fmla="*/ 2952 h 22745"/>
                    <a:gd name="connsiteX4" fmla="*/ 14784 w 17732"/>
                    <a:gd name="connsiteY4" fmla="*/ 12049 h 22745"/>
                    <a:gd name="connsiteX5" fmla="*/ 13140 w 17732"/>
                    <a:gd name="connsiteY5" fmla="*/ 16174 h 22745"/>
                    <a:gd name="connsiteX6" fmla="*/ 6569 w 17732"/>
                    <a:gd name="connsiteY6" fmla="*/ 22746 h 22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32" h="22745">
                      <a:moveTo>
                        <a:pt x="6569" y="22746"/>
                      </a:moveTo>
                      <a:cubicBezTo>
                        <a:pt x="2939" y="22746"/>
                        <a:pt x="0" y="19807"/>
                        <a:pt x="0" y="16177"/>
                      </a:cubicBezTo>
                      <a:cubicBezTo>
                        <a:pt x="0" y="9754"/>
                        <a:pt x="2750" y="4256"/>
                        <a:pt x="7538" y="1092"/>
                      </a:cubicBezTo>
                      <a:cubicBezTo>
                        <a:pt x="10576" y="-910"/>
                        <a:pt x="14647" y="-83"/>
                        <a:pt x="16644" y="2952"/>
                      </a:cubicBezTo>
                      <a:cubicBezTo>
                        <a:pt x="18643" y="5973"/>
                        <a:pt x="17811" y="10055"/>
                        <a:pt x="14784" y="12049"/>
                      </a:cubicBezTo>
                      <a:cubicBezTo>
                        <a:pt x="13428" y="12948"/>
                        <a:pt x="13140" y="14788"/>
                        <a:pt x="13140" y="16174"/>
                      </a:cubicBezTo>
                      <a:cubicBezTo>
                        <a:pt x="13140" y="19809"/>
                        <a:pt x="10198" y="22746"/>
                        <a:pt x="6569" y="22746"/>
                      </a:cubicBezTo>
                      <a:close/>
                    </a:path>
                  </a:pathLst>
                </a:custGeom>
                <a:solidFill>
                  <a:schemeClr val="tx2"/>
                </a:solidFill>
                <a:ln w="274" cap="flat">
                  <a:noFill/>
                  <a:prstDash val="solid"/>
                  <a:miter/>
                </a:ln>
              </p:spPr>
              <p:txBody>
                <a:bodyPr rtlCol="0" anchor="ctr"/>
                <a:lstStyle/>
                <a:p>
                  <a:endParaRPr lang="en-GB" dirty="0"/>
                </a:p>
              </p:txBody>
            </p:sp>
          </p:grpSp>
        </p:grpSp>
      </p:grpSp>
      <p:sp>
        <p:nvSpPr>
          <p:cNvPr id="1035" name="TextBox 1428">
            <a:extLst>
              <a:ext uri="{FF2B5EF4-FFF2-40B4-BE49-F238E27FC236}">
                <a16:creationId xmlns:a16="http://schemas.microsoft.com/office/drawing/2014/main" id="{6EFC4AE7-C07F-415A-B5F0-5D8B40023857}"/>
              </a:ext>
            </a:extLst>
          </p:cNvPr>
          <p:cNvSpPr txBox="1"/>
          <p:nvPr/>
        </p:nvSpPr>
        <p:spPr>
          <a:xfrm>
            <a:off x="6120844" y="3723675"/>
            <a:ext cx="275717" cy="215444"/>
          </a:xfrm>
          <a:prstGeom prst="rect">
            <a:avLst/>
          </a:prstGeom>
          <a:noFill/>
          <a:effectLst/>
        </p:spPr>
        <p:txBody>
          <a:bodyPr wrap="none" lIns="0" tIns="0" rIns="0" bIns="0" rtlCol="0" anchor="t">
            <a:spAutoFit/>
          </a:bodyPr>
          <a:lstStyle/>
          <a:p>
            <a:pPr algn="ctr"/>
            <a:r>
              <a:rPr lang="en-GB" sz="700" dirty="0">
                <a:solidFill>
                  <a:schemeClr val="tx2"/>
                </a:solidFill>
              </a:rPr>
              <a:t>Market</a:t>
            </a:r>
            <a:br>
              <a:rPr lang="en-GB" sz="700" dirty="0">
                <a:solidFill>
                  <a:schemeClr val="tx2"/>
                </a:solidFill>
              </a:rPr>
            </a:br>
            <a:r>
              <a:rPr lang="en-GB" sz="700" dirty="0">
                <a:solidFill>
                  <a:schemeClr val="tx2"/>
                </a:solidFill>
              </a:rPr>
              <a:t>map</a:t>
            </a:r>
          </a:p>
        </p:txBody>
      </p:sp>
    </p:spTree>
    <p:extLst>
      <p:ext uri="{BB962C8B-B14F-4D97-AF65-F5344CB8AC3E}">
        <p14:creationId xmlns:p14="http://schemas.microsoft.com/office/powerpoint/2010/main" val="428082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a:extLst>
              <a:ext uri="{FF2B5EF4-FFF2-40B4-BE49-F238E27FC236}">
                <a16:creationId xmlns:a16="http://schemas.microsoft.com/office/drawing/2014/main" id="{3F9016D6-9CD2-4380-B7AE-B59A30218F30}"/>
              </a:ext>
            </a:extLst>
          </p:cNvPr>
          <p:cNvGraphicFramePr>
            <a:graphicFrameLocks noChangeAspect="1"/>
          </p:cNvGraphicFramePr>
          <p:nvPr>
            <p:custDataLst>
              <p:tags r:id="rId1"/>
            </p:custDataLst>
            <p:extLst>
              <p:ext uri="{D42A27DB-BD31-4B8C-83A1-F6EECF244321}">
                <p14:modId xmlns:p14="http://schemas.microsoft.com/office/powerpoint/2010/main" val="4248865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21" name="Objekt 20" hidden="1">
                        <a:extLst>
                          <a:ext uri="{FF2B5EF4-FFF2-40B4-BE49-F238E27FC236}">
                            <a16:creationId xmlns:a16="http://schemas.microsoft.com/office/drawing/2014/main" id="{3F9016D6-9CD2-4380-B7AE-B59A30218F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A77AFE9-5475-4FEF-BB3A-5EA6DD79304C}"/>
              </a:ext>
            </a:extLst>
          </p:cNvPr>
          <p:cNvSpPr>
            <a:spLocks noGrp="1"/>
          </p:cNvSpPr>
          <p:nvPr>
            <p:ph type="sldNum" sz="quarter" idx="11"/>
          </p:nvPr>
        </p:nvSpPr>
        <p:spPr/>
        <p:txBody>
          <a:bodyPr/>
          <a:lstStyle/>
          <a:p>
            <a:fld id="{D56DB8AA-803C-49D2-90AA-1140CE72DCD7}" type="slidenum">
              <a:rPr lang="en-GB" smtClean="0"/>
              <a:pPr/>
              <a:t>27</a:t>
            </a:fld>
            <a:endParaRPr lang="en-GB" dirty="0"/>
          </a:p>
        </p:txBody>
      </p:sp>
      <p:sp>
        <p:nvSpPr>
          <p:cNvPr id="15" name="Title 14">
            <a:extLst>
              <a:ext uri="{FF2B5EF4-FFF2-40B4-BE49-F238E27FC236}">
                <a16:creationId xmlns:a16="http://schemas.microsoft.com/office/drawing/2014/main" id="{C231705F-A035-B6DB-2555-56CF26BED609}"/>
              </a:ext>
            </a:extLst>
          </p:cNvPr>
          <p:cNvSpPr>
            <a:spLocks noGrp="1"/>
          </p:cNvSpPr>
          <p:nvPr>
            <p:ph type="title"/>
          </p:nvPr>
        </p:nvSpPr>
        <p:spPr>
          <a:xfrm>
            <a:off x="252000" y="252000"/>
            <a:ext cx="6748875" cy="576000"/>
          </a:xfrm>
        </p:spPr>
        <p:txBody>
          <a:bodyPr vert="horz"/>
          <a:lstStyle/>
          <a:p>
            <a:r>
              <a:rPr lang="en-US" dirty="0"/>
              <a:t>Marketing/Brand 3/4</a:t>
            </a:r>
            <a:br>
              <a:rPr lang="en-US" dirty="0"/>
            </a:br>
            <a:endParaRPr lang="en-US" dirty="0"/>
          </a:p>
        </p:txBody>
      </p:sp>
      <p:grpSp>
        <p:nvGrpSpPr>
          <p:cNvPr id="43" name="Group 42">
            <a:extLst>
              <a:ext uri="{FF2B5EF4-FFF2-40B4-BE49-F238E27FC236}">
                <a16:creationId xmlns:a16="http://schemas.microsoft.com/office/drawing/2014/main" id="{90B56240-11D3-1832-7583-5E0CFA0D3E5E}"/>
              </a:ext>
            </a:extLst>
          </p:cNvPr>
          <p:cNvGrpSpPr/>
          <p:nvPr/>
        </p:nvGrpSpPr>
        <p:grpSpPr>
          <a:xfrm>
            <a:off x="2750213" y="2449341"/>
            <a:ext cx="269411" cy="432000"/>
            <a:chOff x="2750213" y="2449341"/>
            <a:chExt cx="269411" cy="432000"/>
          </a:xfrm>
        </p:grpSpPr>
        <p:grpSp>
          <p:nvGrpSpPr>
            <p:cNvPr id="1250" name="Grafik 312">
              <a:extLst>
                <a:ext uri="{FF2B5EF4-FFF2-40B4-BE49-F238E27FC236}">
                  <a16:creationId xmlns:a16="http://schemas.microsoft.com/office/drawing/2014/main" id="{3E4B1E74-A6AD-4F32-B2CB-B4577048613A}"/>
                </a:ext>
              </a:extLst>
            </p:cNvPr>
            <p:cNvGrpSpPr/>
            <p:nvPr/>
          </p:nvGrpSpPr>
          <p:grpSpPr>
            <a:xfrm>
              <a:off x="2780647" y="2627002"/>
              <a:ext cx="238977" cy="254339"/>
              <a:chOff x="2649208" y="2621275"/>
              <a:chExt cx="273033" cy="290584"/>
            </a:xfrm>
            <a:solidFill>
              <a:schemeClr val="tx2"/>
            </a:solidFill>
          </p:grpSpPr>
          <p:sp>
            <p:nvSpPr>
              <p:cNvPr id="1269" name="Freihandform: Form 1268">
                <a:extLst>
                  <a:ext uri="{FF2B5EF4-FFF2-40B4-BE49-F238E27FC236}">
                    <a16:creationId xmlns:a16="http://schemas.microsoft.com/office/drawing/2014/main" id="{1CAA1268-7A88-4EA1-A89F-D43977C9BA72}"/>
                  </a:ext>
                </a:extLst>
              </p:cNvPr>
              <p:cNvSpPr/>
              <p:nvPr/>
            </p:nvSpPr>
            <p:spPr>
              <a:xfrm>
                <a:off x="2792984" y="2621275"/>
                <a:ext cx="129257" cy="290584"/>
              </a:xfrm>
              <a:custGeom>
                <a:avLst/>
                <a:gdLst>
                  <a:gd name="connsiteX0" fmla="*/ 6657 w 129257"/>
                  <a:gd name="connsiteY0" fmla="*/ 290585 h 290584"/>
                  <a:gd name="connsiteX1" fmla="*/ 0 w 129257"/>
                  <a:gd name="connsiteY1" fmla="*/ 283927 h 290584"/>
                  <a:gd name="connsiteX2" fmla="*/ 0 w 129257"/>
                  <a:gd name="connsiteY2" fmla="*/ 241868 h 290584"/>
                  <a:gd name="connsiteX3" fmla="*/ 6657 w 129257"/>
                  <a:gd name="connsiteY3" fmla="*/ 235211 h 290584"/>
                  <a:gd name="connsiteX4" fmla="*/ 63140 w 129257"/>
                  <a:gd name="connsiteY4" fmla="*/ 235211 h 290584"/>
                  <a:gd name="connsiteX5" fmla="*/ 82157 w 129257"/>
                  <a:gd name="connsiteY5" fmla="*/ 216194 h 290584"/>
                  <a:gd name="connsiteX6" fmla="*/ 82157 w 129257"/>
                  <a:gd name="connsiteY6" fmla="*/ 164846 h 290584"/>
                  <a:gd name="connsiteX7" fmla="*/ 88815 w 129257"/>
                  <a:gd name="connsiteY7" fmla="*/ 158189 h 290584"/>
                  <a:gd name="connsiteX8" fmla="*/ 115185 w 129257"/>
                  <a:gd name="connsiteY8" fmla="*/ 158189 h 290584"/>
                  <a:gd name="connsiteX9" fmla="*/ 82080 w 129257"/>
                  <a:gd name="connsiteY9" fmla="*/ 62485 h 290584"/>
                  <a:gd name="connsiteX10" fmla="*/ 81744 w 129257"/>
                  <a:gd name="connsiteY10" fmla="*/ 60859 h 290584"/>
                  <a:gd name="connsiteX11" fmla="*/ 64714 w 129257"/>
                  <a:gd name="connsiteY11" fmla="*/ 10233 h 290584"/>
                  <a:gd name="connsiteX12" fmla="*/ 66753 w 129257"/>
                  <a:gd name="connsiteY12" fmla="*/ 1047 h 290584"/>
                  <a:gd name="connsiteX13" fmla="*/ 75939 w 129257"/>
                  <a:gd name="connsiteY13" fmla="*/ 3086 h 290584"/>
                  <a:gd name="connsiteX14" fmla="*/ 94956 w 129257"/>
                  <a:gd name="connsiteY14" fmla="*/ 58924 h 290584"/>
                  <a:gd name="connsiteX15" fmla="*/ 128551 w 129257"/>
                  <a:gd name="connsiteY15" fmla="*/ 156021 h 290584"/>
                  <a:gd name="connsiteX16" fmla="*/ 127184 w 129257"/>
                  <a:gd name="connsiteY16" fmla="*/ 166497 h 290584"/>
                  <a:gd name="connsiteX17" fmla="*/ 117662 w 129257"/>
                  <a:gd name="connsiteY17" fmla="*/ 171503 h 290584"/>
                  <a:gd name="connsiteX18" fmla="*/ 95498 w 129257"/>
                  <a:gd name="connsiteY18" fmla="*/ 171503 h 290584"/>
                  <a:gd name="connsiteX19" fmla="*/ 95498 w 129257"/>
                  <a:gd name="connsiteY19" fmla="*/ 216194 h 290584"/>
                  <a:gd name="connsiteX20" fmla="*/ 63166 w 129257"/>
                  <a:gd name="connsiteY20" fmla="*/ 248525 h 290584"/>
                  <a:gd name="connsiteX21" fmla="*/ 13289 w 129257"/>
                  <a:gd name="connsiteY21" fmla="*/ 248525 h 290584"/>
                  <a:gd name="connsiteX22" fmla="*/ 13289 w 129257"/>
                  <a:gd name="connsiteY22" fmla="*/ 283927 h 290584"/>
                  <a:gd name="connsiteX23" fmla="*/ 6657 w 129257"/>
                  <a:gd name="connsiteY23" fmla="*/ 290585 h 290584"/>
                  <a:gd name="connsiteX24" fmla="*/ 115985 w 129257"/>
                  <a:gd name="connsiteY24" fmla="*/ 160459 h 290584"/>
                  <a:gd name="connsiteX25" fmla="*/ 116011 w 129257"/>
                  <a:gd name="connsiteY25" fmla="*/ 160562 h 290584"/>
                  <a:gd name="connsiteX26" fmla="*/ 115985 w 129257"/>
                  <a:gd name="connsiteY26" fmla="*/ 160459 h 290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9257" h="290584">
                    <a:moveTo>
                      <a:pt x="6657" y="290585"/>
                    </a:moveTo>
                    <a:cubicBezTo>
                      <a:pt x="2993" y="290585"/>
                      <a:pt x="0" y="287617"/>
                      <a:pt x="0" y="283927"/>
                    </a:cubicBezTo>
                    <a:lnTo>
                      <a:pt x="0" y="241868"/>
                    </a:lnTo>
                    <a:cubicBezTo>
                      <a:pt x="0" y="238204"/>
                      <a:pt x="2967" y="235211"/>
                      <a:pt x="6657" y="235211"/>
                    </a:cubicBezTo>
                    <a:lnTo>
                      <a:pt x="63140" y="235211"/>
                    </a:lnTo>
                    <a:cubicBezTo>
                      <a:pt x="73642" y="235211"/>
                      <a:pt x="82157" y="226670"/>
                      <a:pt x="82157" y="216194"/>
                    </a:cubicBezTo>
                    <a:lnTo>
                      <a:pt x="82157" y="164846"/>
                    </a:lnTo>
                    <a:cubicBezTo>
                      <a:pt x="82157" y="161182"/>
                      <a:pt x="85125" y="158189"/>
                      <a:pt x="88815" y="158189"/>
                    </a:cubicBezTo>
                    <a:lnTo>
                      <a:pt x="115185" y="158189"/>
                    </a:lnTo>
                    <a:lnTo>
                      <a:pt x="82080" y="62485"/>
                    </a:lnTo>
                    <a:cubicBezTo>
                      <a:pt x="81899" y="61968"/>
                      <a:pt x="81770" y="61401"/>
                      <a:pt x="81744" y="60859"/>
                    </a:cubicBezTo>
                    <a:cubicBezTo>
                      <a:pt x="80274" y="42926"/>
                      <a:pt x="74391" y="25405"/>
                      <a:pt x="64714" y="10233"/>
                    </a:cubicBezTo>
                    <a:cubicBezTo>
                      <a:pt x="62728" y="7137"/>
                      <a:pt x="63631" y="3034"/>
                      <a:pt x="66753" y="1047"/>
                    </a:cubicBezTo>
                    <a:cubicBezTo>
                      <a:pt x="69849" y="-940"/>
                      <a:pt x="73952" y="-11"/>
                      <a:pt x="75939" y="3086"/>
                    </a:cubicBezTo>
                    <a:cubicBezTo>
                      <a:pt x="86621" y="19832"/>
                      <a:pt x="93201" y="39133"/>
                      <a:pt x="94956" y="58924"/>
                    </a:cubicBezTo>
                    <a:lnTo>
                      <a:pt x="128551" y="156021"/>
                    </a:lnTo>
                    <a:cubicBezTo>
                      <a:pt x="129842" y="159375"/>
                      <a:pt x="129351" y="163375"/>
                      <a:pt x="127184" y="166497"/>
                    </a:cubicBezTo>
                    <a:cubicBezTo>
                      <a:pt x="125016" y="169619"/>
                      <a:pt x="121456" y="171503"/>
                      <a:pt x="117662" y="171503"/>
                    </a:cubicBezTo>
                    <a:lnTo>
                      <a:pt x="95498" y="171503"/>
                    </a:lnTo>
                    <a:lnTo>
                      <a:pt x="95498" y="216194"/>
                    </a:lnTo>
                    <a:cubicBezTo>
                      <a:pt x="95498" y="234024"/>
                      <a:pt x="80996" y="248525"/>
                      <a:pt x="63166" y="248525"/>
                    </a:cubicBezTo>
                    <a:lnTo>
                      <a:pt x="13289" y="248525"/>
                    </a:lnTo>
                    <a:lnTo>
                      <a:pt x="13289" y="283927"/>
                    </a:lnTo>
                    <a:cubicBezTo>
                      <a:pt x="13289" y="287592"/>
                      <a:pt x="10321" y="290585"/>
                      <a:pt x="6657" y="290585"/>
                    </a:cubicBezTo>
                    <a:close/>
                    <a:moveTo>
                      <a:pt x="115985" y="160459"/>
                    </a:moveTo>
                    <a:cubicBezTo>
                      <a:pt x="116011" y="160485"/>
                      <a:pt x="116011" y="160511"/>
                      <a:pt x="116011" y="160562"/>
                    </a:cubicBezTo>
                    <a:lnTo>
                      <a:pt x="115985" y="160459"/>
                    </a:lnTo>
                    <a:close/>
                  </a:path>
                </a:pathLst>
              </a:custGeom>
              <a:grpFill/>
              <a:ln w="2573" cap="flat">
                <a:noFill/>
                <a:prstDash val="solid"/>
                <a:miter/>
              </a:ln>
            </p:spPr>
            <p:txBody>
              <a:bodyPr rtlCol="0" anchor="ctr"/>
              <a:lstStyle/>
              <a:p>
                <a:endParaRPr lang="en-GB" dirty="0"/>
              </a:p>
            </p:txBody>
          </p:sp>
          <p:sp>
            <p:nvSpPr>
              <p:cNvPr id="1270" name="Freihandform: Form 1269">
                <a:extLst>
                  <a:ext uri="{FF2B5EF4-FFF2-40B4-BE49-F238E27FC236}">
                    <a16:creationId xmlns:a16="http://schemas.microsoft.com/office/drawing/2014/main" id="{6C463283-8413-4979-BE86-722D4781F570}"/>
                  </a:ext>
                </a:extLst>
              </p:cNvPr>
              <p:cNvSpPr/>
              <p:nvPr/>
            </p:nvSpPr>
            <p:spPr>
              <a:xfrm>
                <a:off x="2649208" y="2623315"/>
                <a:ext cx="29790" cy="288544"/>
              </a:xfrm>
              <a:custGeom>
                <a:avLst/>
                <a:gdLst>
                  <a:gd name="connsiteX0" fmla="*/ 6657 w 29790"/>
                  <a:gd name="connsiteY0" fmla="*/ 288545 h 288544"/>
                  <a:gd name="connsiteX1" fmla="*/ 0 w 29790"/>
                  <a:gd name="connsiteY1" fmla="*/ 281887 h 288544"/>
                  <a:gd name="connsiteX2" fmla="*/ 0 w 29790"/>
                  <a:gd name="connsiteY2" fmla="*/ 65244 h 288544"/>
                  <a:gd name="connsiteX3" fmla="*/ 17469 w 29790"/>
                  <a:gd name="connsiteY3" fmla="*/ 3187 h 288544"/>
                  <a:gd name="connsiteX4" fmla="*/ 26603 w 29790"/>
                  <a:gd name="connsiteY4" fmla="*/ 968 h 288544"/>
                  <a:gd name="connsiteX5" fmla="*/ 28822 w 29790"/>
                  <a:gd name="connsiteY5" fmla="*/ 10102 h 288544"/>
                  <a:gd name="connsiteX6" fmla="*/ 13315 w 29790"/>
                  <a:gd name="connsiteY6" fmla="*/ 65218 h 288544"/>
                  <a:gd name="connsiteX7" fmla="*/ 13315 w 29790"/>
                  <a:gd name="connsiteY7" fmla="*/ 281862 h 288544"/>
                  <a:gd name="connsiteX8" fmla="*/ 6657 w 29790"/>
                  <a:gd name="connsiteY8" fmla="*/ 288545 h 288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790" h="288544">
                    <a:moveTo>
                      <a:pt x="6657" y="288545"/>
                    </a:moveTo>
                    <a:cubicBezTo>
                      <a:pt x="2993" y="288545"/>
                      <a:pt x="0" y="285577"/>
                      <a:pt x="0" y="281887"/>
                    </a:cubicBezTo>
                    <a:lnTo>
                      <a:pt x="0" y="65244"/>
                    </a:lnTo>
                    <a:cubicBezTo>
                      <a:pt x="0" y="43337"/>
                      <a:pt x="6038" y="21894"/>
                      <a:pt x="17469" y="3187"/>
                    </a:cubicBezTo>
                    <a:cubicBezTo>
                      <a:pt x="19378" y="65"/>
                      <a:pt x="23481" y="-941"/>
                      <a:pt x="26603" y="968"/>
                    </a:cubicBezTo>
                    <a:cubicBezTo>
                      <a:pt x="29725" y="2877"/>
                      <a:pt x="30732" y="6980"/>
                      <a:pt x="28822" y="10102"/>
                    </a:cubicBezTo>
                    <a:cubicBezTo>
                      <a:pt x="18681" y="26720"/>
                      <a:pt x="13315" y="45762"/>
                      <a:pt x="13315" y="65218"/>
                    </a:cubicBezTo>
                    <a:lnTo>
                      <a:pt x="13315" y="281862"/>
                    </a:lnTo>
                    <a:cubicBezTo>
                      <a:pt x="13315" y="285551"/>
                      <a:pt x="10321" y="288545"/>
                      <a:pt x="6657" y="288545"/>
                    </a:cubicBezTo>
                    <a:close/>
                  </a:path>
                </a:pathLst>
              </a:custGeom>
              <a:grpFill/>
              <a:ln w="2573" cap="flat">
                <a:noFill/>
                <a:prstDash val="solid"/>
                <a:miter/>
              </a:ln>
            </p:spPr>
            <p:txBody>
              <a:bodyPr rtlCol="0" anchor="ctr"/>
              <a:lstStyle/>
              <a:p>
                <a:endParaRPr lang="en-GB" dirty="0"/>
              </a:p>
            </p:txBody>
          </p:sp>
        </p:grpSp>
        <p:grpSp>
          <p:nvGrpSpPr>
            <p:cNvPr id="1251" name="Grafik 312">
              <a:extLst>
                <a:ext uri="{FF2B5EF4-FFF2-40B4-BE49-F238E27FC236}">
                  <a16:creationId xmlns:a16="http://schemas.microsoft.com/office/drawing/2014/main" id="{AAB9C92F-F824-4719-BEB2-2551135975F5}"/>
                </a:ext>
              </a:extLst>
            </p:cNvPr>
            <p:cNvGrpSpPr/>
            <p:nvPr/>
          </p:nvGrpSpPr>
          <p:grpSpPr>
            <a:xfrm>
              <a:off x="2750213" y="2449341"/>
              <a:ext cx="266231" cy="346969"/>
              <a:chOff x="2614437" y="2418296"/>
              <a:chExt cx="304171" cy="396414"/>
            </a:xfrm>
            <a:solidFill>
              <a:schemeClr val="accent1"/>
            </a:solidFill>
          </p:grpSpPr>
          <p:sp>
            <p:nvSpPr>
              <p:cNvPr id="1252" name="Freihandform: Form 1251">
                <a:extLst>
                  <a:ext uri="{FF2B5EF4-FFF2-40B4-BE49-F238E27FC236}">
                    <a16:creationId xmlns:a16="http://schemas.microsoft.com/office/drawing/2014/main" id="{9D34F63C-2E2D-4B88-9107-4D758A64FA18}"/>
                  </a:ext>
                </a:extLst>
              </p:cNvPr>
              <p:cNvSpPr/>
              <p:nvPr/>
            </p:nvSpPr>
            <p:spPr>
              <a:xfrm>
                <a:off x="2827560" y="2707059"/>
                <a:ext cx="30447" cy="13314"/>
              </a:xfrm>
              <a:custGeom>
                <a:avLst/>
                <a:gdLst>
                  <a:gd name="connsiteX0" fmla="*/ 23791 w 30447"/>
                  <a:gd name="connsiteY0" fmla="*/ 13314 h 13314"/>
                  <a:gd name="connsiteX1" fmla="*/ 6657 w 30447"/>
                  <a:gd name="connsiteY1" fmla="*/ 13314 h 13314"/>
                  <a:gd name="connsiteX2" fmla="*/ 0 w 30447"/>
                  <a:gd name="connsiteY2" fmla="*/ 6657 h 13314"/>
                  <a:gd name="connsiteX3" fmla="*/ 6657 w 30447"/>
                  <a:gd name="connsiteY3" fmla="*/ 0 h 13314"/>
                  <a:gd name="connsiteX4" fmla="*/ 23791 w 30447"/>
                  <a:gd name="connsiteY4" fmla="*/ 0 h 13314"/>
                  <a:gd name="connsiteX5" fmla="*/ 30448 w 30447"/>
                  <a:gd name="connsiteY5" fmla="*/ 6657 h 13314"/>
                  <a:gd name="connsiteX6" fmla="*/ 23791 w 30447"/>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47" h="13314">
                    <a:moveTo>
                      <a:pt x="23791" y="13314"/>
                    </a:moveTo>
                    <a:lnTo>
                      <a:pt x="6657" y="13314"/>
                    </a:lnTo>
                    <a:cubicBezTo>
                      <a:pt x="2993" y="13314"/>
                      <a:pt x="0" y="10347"/>
                      <a:pt x="0" y="6657"/>
                    </a:cubicBezTo>
                    <a:cubicBezTo>
                      <a:pt x="0" y="2993"/>
                      <a:pt x="2967" y="0"/>
                      <a:pt x="6657" y="0"/>
                    </a:cubicBezTo>
                    <a:lnTo>
                      <a:pt x="23791" y="0"/>
                    </a:lnTo>
                    <a:cubicBezTo>
                      <a:pt x="27455" y="0"/>
                      <a:pt x="30448" y="2967"/>
                      <a:pt x="30448" y="6657"/>
                    </a:cubicBezTo>
                    <a:cubicBezTo>
                      <a:pt x="30422" y="10347"/>
                      <a:pt x="27455" y="13314"/>
                      <a:pt x="23791" y="13314"/>
                    </a:cubicBezTo>
                    <a:close/>
                  </a:path>
                </a:pathLst>
              </a:custGeom>
              <a:solidFill>
                <a:schemeClr val="accent1"/>
              </a:solidFill>
              <a:ln w="2573" cap="flat">
                <a:noFill/>
                <a:prstDash val="solid"/>
                <a:miter/>
              </a:ln>
            </p:spPr>
            <p:txBody>
              <a:bodyPr rtlCol="0" anchor="ctr"/>
              <a:lstStyle/>
              <a:p>
                <a:endParaRPr lang="en-GB" dirty="0"/>
              </a:p>
            </p:txBody>
          </p:sp>
          <p:sp>
            <p:nvSpPr>
              <p:cNvPr id="1253" name="Freihandform: Form 1252">
                <a:extLst>
                  <a:ext uri="{FF2B5EF4-FFF2-40B4-BE49-F238E27FC236}">
                    <a16:creationId xmlns:a16="http://schemas.microsoft.com/office/drawing/2014/main" id="{339DF62D-C02A-4ABE-92CC-37FCBEB0118D}"/>
                  </a:ext>
                </a:extLst>
              </p:cNvPr>
              <p:cNvSpPr/>
              <p:nvPr/>
            </p:nvSpPr>
            <p:spPr>
              <a:xfrm>
                <a:off x="2675424" y="2707059"/>
                <a:ext cx="30473" cy="13314"/>
              </a:xfrm>
              <a:custGeom>
                <a:avLst/>
                <a:gdLst>
                  <a:gd name="connsiteX0" fmla="*/ 23816 w 30473"/>
                  <a:gd name="connsiteY0" fmla="*/ 13314 h 13314"/>
                  <a:gd name="connsiteX1" fmla="*/ 6657 w 30473"/>
                  <a:gd name="connsiteY1" fmla="*/ 13314 h 13314"/>
                  <a:gd name="connsiteX2" fmla="*/ 0 w 30473"/>
                  <a:gd name="connsiteY2" fmla="*/ 6657 h 13314"/>
                  <a:gd name="connsiteX3" fmla="*/ 6657 w 30473"/>
                  <a:gd name="connsiteY3" fmla="*/ 0 h 13314"/>
                  <a:gd name="connsiteX4" fmla="*/ 23816 w 30473"/>
                  <a:gd name="connsiteY4" fmla="*/ 0 h 13314"/>
                  <a:gd name="connsiteX5" fmla="*/ 30474 w 30473"/>
                  <a:gd name="connsiteY5" fmla="*/ 6657 h 13314"/>
                  <a:gd name="connsiteX6" fmla="*/ 23816 w 30473"/>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473" h="13314">
                    <a:moveTo>
                      <a:pt x="23816" y="13314"/>
                    </a:moveTo>
                    <a:lnTo>
                      <a:pt x="6657" y="13314"/>
                    </a:lnTo>
                    <a:cubicBezTo>
                      <a:pt x="2993" y="13314"/>
                      <a:pt x="0" y="10347"/>
                      <a:pt x="0" y="6657"/>
                    </a:cubicBezTo>
                    <a:cubicBezTo>
                      <a:pt x="0" y="2993"/>
                      <a:pt x="2967" y="0"/>
                      <a:pt x="6657" y="0"/>
                    </a:cubicBezTo>
                    <a:lnTo>
                      <a:pt x="23816" y="0"/>
                    </a:lnTo>
                    <a:cubicBezTo>
                      <a:pt x="27480" y="0"/>
                      <a:pt x="30474" y="2967"/>
                      <a:pt x="30474" y="6657"/>
                    </a:cubicBezTo>
                    <a:cubicBezTo>
                      <a:pt x="30474" y="10347"/>
                      <a:pt x="27506" y="13314"/>
                      <a:pt x="23816" y="13314"/>
                    </a:cubicBezTo>
                    <a:close/>
                  </a:path>
                </a:pathLst>
              </a:custGeom>
              <a:solidFill>
                <a:schemeClr val="accent1"/>
              </a:solidFill>
              <a:ln w="2573" cap="flat">
                <a:noFill/>
                <a:prstDash val="solid"/>
                <a:miter/>
              </a:ln>
            </p:spPr>
            <p:txBody>
              <a:bodyPr rtlCol="0" anchor="ctr"/>
              <a:lstStyle/>
              <a:p>
                <a:endParaRPr lang="en-GB" dirty="0"/>
              </a:p>
            </p:txBody>
          </p:sp>
          <p:grpSp>
            <p:nvGrpSpPr>
              <p:cNvPr id="1254" name="Grafik 312">
                <a:extLst>
                  <a:ext uri="{FF2B5EF4-FFF2-40B4-BE49-F238E27FC236}">
                    <a16:creationId xmlns:a16="http://schemas.microsoft.com/office/drawing/2014/main" id="{74A831CD-75B5-4BF7-AF89-2A687B9A82B4}"/>
                  </a:ext>
                </a:extLst>
              </p:cNvPr>
              <p:cNvGrpSpPr/>
              <p:nvPr/>
            </p:nvGrpSpPr>
            <p:grpSpPr>
              <a:xfrm>
                <a:off x="2614437" y="2418296"/>
                <a:ext cx="304171" cy="396414"/>
                <a:chOff x="2614437" y="2418296"/>
                <a:chExt cx="304171" cy="396414"/>
              </a:xfrm>
              <a:solidFill>
                <a:schemeClr val="accent1"/>
              </a:solidFill>
            </p:grpSpPr>
            <p:sp>
              <p:nvSpPr>
                <p:cNvPr id="1255" name="Freihandform: Form 1254">
                  <a:extLst>
                    <a:ext uri="{FF2B5EF4-FFF2-40B4-BE49-F238E27FC236}">
                      <a16:creationId xmlns:a16="http://schemas.microsoft.com/office/drawing/2014/main" id="{4FFA6EBD-2E35-42B5-BCC5-40A26707D253}"/>
                    </a:ext>
                  </a:extLst>
                </p:cNvPr>
                <p:cNvSpPr/>
                <p:nvPr/>
              </p:nvSpPr>
              <p:spPr>
                <a:xfrm>
                  <a:off x="2717342" y="2659234"/>
                  <a:ext cx="100515" cy="109592"/>
                </a:xfrm>
                <a:custGeom>
                  <a:avLst/>
                  <a:gdLst>
                    <a:gd name="connsiteX0" fmla="*/ 70919 w 100515"/>
                    <a:gd name="connsiteY0" fmla="*/ 109572 h 109592"/>
                    <a:gd name="connsiteX1" fmla="*/ 70274 w 100515"/>
                    <a:gd name="connsiteY1" fmla="*/ 109547 h 109592"/>
                    <a:gd name="connsiteX2" fmla="*/ 64288 w 100515"/>
                    <a:gd name="connsiteY2" fmla="*/ 102296 h 109592"/>
                    <a:gd name="connsiteX3" fmla="*/ 64572 w 100515"/>
                    <a:gd name="connsiteY3" fmla="*/ 99457 h 109592"/>
                    <a:gd name="connsiteX4" fmla="*/ 76493 w 100515"/>
                    <a:gd name="connsiteY4" fmla="*/ 75744 h 109592"/>
                    <a:gd name="connsiteX5" fmla="*/ 87227 w 100515"/>
                    <a:gd name="connsiteY5" fmla="*/ 49915 h 109592"/>
                    <a:gd name="connsiteX6" fmla="*/ 75022 w 100515"/>
                    <a:gd name="connsiteY6" fmla="*/ 22693 h 109592"/>
                    <a:gd name="connsiteX7" fmla="*/ 45968 w 100515"/>
                    <a:gd name="connsiteY7" fmla="*/ 13507 h 109592"/>
                    <a:gd name="connsiteX8" fmla="*/ 13610 w 100515"/>
                    <a:gd name="connsiteY8" fmla="*/ 45245 h 109592"/>
                    <a:gd name="connsiteX9" fmla="*/ 24628 w 100515"/>
                    <a:gd name="connsiteY9" fmla="*/ 76312 h 109592"/>
                    <a:gd name="connsiteX10" fmla="*/ 36188 w 100515"/>
                    <a:gd name="connsiteY10" fmla="*/ 101651 h 109592"/>
                    <a:gd name="connsiteX11" fmla="*/ 36240 w 100515"/>
                    <a:gd name="connsiteY11" fmla="*/ 102425 h 109592"/>
                    <a:gd name="connsiteX12" fmla="*/ 30099 w 100515"/>
                    <a:gd name="connsiteY12" fmla="*/ 109572 h 109592"/>
                    <a:gd name="connsiteX13" fmla="*/ 22977 w 100515"/>
                    <a:gd name="connsiteY13" fmla="*/ 103431 h 109592"/>
                    <a:gd name="connsiteX14" fmla="*/ 22900 w 100515"/>
                    <a:gd name="connsiteY14" fmla="*/ 102580 h 109592"/>
                    <a:gd name="connsiteX15" fmla="*/ 15417 w 100515"/>
                    <a:gd name="connsiteY15" fmla="*/ 85937 h 109592"/>
                    <a:gd name="connsiteX16" fmla="*/ 399 w 100515"/>
                    <a:gd name="connsiteY16" fmla="*/ 43619 h 109592"/>
                    <a:gd name="connsiteX17" fmla="*/ 44497 w 100515"/>
                    <a:gd name="connsiteY17" fmla="*/ 322 h 109592"/>
                    <a:gd name="connsiteX18" fmla="*/ 83873 w 100515"/>
                    <a:gd name="connsiteY18" fmla="*/ 12810 h 109592"/>
                    <a:gd name="connsiteX19" fmla="*/ 100516 w 100515"/>
                    <a:gd name="connsiteY19" fmla="*/ 49941 h 109592"/>
                    <a:gd name="connsiteX20" fmla="*/ 85885 w 100515"/>
                    <a:gd name="connsiteY20" fmla="*/ 85163 h 109592"/>
                    <a:gd name="connsiteX21" fmla="*/ 77783 w 100515"/>
                    <a:gd name="connsiteY21" fmla="*/ 100980 h 109592"/>
                    <a:gd name="connsiteX22" fmla="*/ 77525 w 100515"/>
                    <a:gd name="connsiteY22" fmla="*/ 103586 h 109592"/>
                    <a:gd name="connsiteX23" fmla="*/ 70919 w 100515"/>
                    <a:gd name="connsiteY23" fmla="*/ 109572 h 10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0515" h="109592">
                      <a:moveTo>
                        <a:pt x="70919" y="109572"/>
                      </a:moveTo>
                      <a:cubicBezTo>
                        <a:pt x="70713" y="109572"/>
                        <a:pt x="70481" y="109572"/>
                        <a:pt x="70274" y="109547"/>
                      </a:cubicBezTo>
                      <a:cubicBezTo>
                        <a:pt x="66610" y="109185"/>
                        <a:pt x="63952" y="105934"/>
                        <a:pt x="64288" y="102296"/>
                      </a:cubicBezTo>
                      <a:lnTo>
                        <a:pt x="64572" y="99457"/>
                      </a:lnTo>
                      <a:cubicBezTo>
                        <a:pt x="65733" y="90607"/>
                        <a:pt x="69965" y="82273"/>
                        <a:pt x="76493" y="75744"/>
                      </a:cubicBezTo>
                      <a:cubicBezTo>
                        <a:pt x="83408" y="68829"/>
                        <a:pt x="87227" y="59669"/>
                        <a:pt x="87227" y="49915"/>
                      </a:cubicBezTo>
                      <a:cubicBezTo>
                        <a:pt x="87227" y="39568"/>
                        <a:pt x="82789" y="29634"/>
                        <a:pt x="75022" y="22693"/>
                      </a:cubicBezTo>
                      <a:cubicBezTo>
                        <a:pt x="67049" y="15571"/>
                        <a:pt x="56728" y="12320"/>
                        <a:pt x="45968" y="13507"/>
                      </a:cubicBezTo>
                      <a:cubicBezTo>
                        <a:pt x="29273" y="15365"/>
                        <a:pt x="15649" y="28705"/>
                        <a:pt x="13610" y="45245"/>
                      </a:cubicBezTo>
                      <a:cubicBezTo>
                        <a:pt x="12165" y="56908"/>
                        <a:pt x="16165" y="68236"/>
                        <a:pt x="24628" y="76312"/>
                      </a:cubicBezTo>
                      <a:cubicBezTo>
                        <a:pt x="31466" y="82840"/>
                        <a:pt x="35569" y="91846"/>
                        <a:pt x="36188" y="101651"/>
                      </a:cubicBezTo>
                      <a:lnTo>
                        <a:pt x="36240" y="102425"/>
                      </a:lnTo>
                      <a:cubicBezTo>
                        <a:pt x="36524" y="106089"/>
                        <a:pt x="33763" y="109288"/>
                        <a:pt x="30099" y="109572"/>
                      </a:cubicBezTo>
                      <a:cubicBezTo>
                        <a:pt x="26538" y="109856"/>
                        <a:pt x="23235" y="107095"/>
                        <a:pt x="22977" y="103431"/>
                      </a:cubicBezTo>
                      <a:lnTo>
                        <a:pt x="22900" y="102580"/>
                      </a:lnTo>
                      <a:cubicBezTo>
                        <a:pt x="22487" y="96051"/>
                        <a:pt x="19829" y="90143"/>
                        <a:pt x="15417" y="85937"/>
                      </a:cubicBezTo>
                      <a:cubicBezTo>
                        <a:pt x="3908" y="74919"/>
                        <a:pt x="-1588" y="59488"/>
                        <a:pt x="399" y="43619"/>
                      </a:cubicBezTo>
                      <a:cubicBezTo>
                        <a:pt x="3212" y="21042"/>
                        <a:pt x="21738" y="2850"/>
                        <a:pt x="44497" y="322"/>
                      </a:cubicBezTo>
                      <a:cubicBezTo>
                        <a:pt x="58843" y="-1304"/>
                        <a:pt x="73216" y="3289"/>
                        <a:pt x="83873" y="12810"/>
                      </a:cubicBezTo>
                      <a:cubicBezTo>
                        <a:pt x="94452" y="22280"/>
                        <a:pt x="100516" y="35801"/>
                        <a:pt x="100516" y="49941"/>
                      </a:cubicBezTo>
                      <a:cubicBezTo>
                        <a:pt x="100516" y="63230"/>
                        <a:pt x="95329" y="75744"/>
                        <a:pt x="85885" y="85163"/>
                      </a:cubicBezTo>
                      <a:cubicBezTo>
                        <a:pt x="81370" y="89678"/>
                        <a:pt x="78557" y="95148"/>
                        <a:pt x="77783" y="100980"/>
                      </a:cubicBezTo>
                      <a:lnTo>
                        <a:pt x="77525" y="103586"/>
                      </a:lnTo>
                      <a:cubicBezTo>
                        <a:pt x="77215" y="106992"/>
                        <a:pt x="74325" y="109572"/>
                        <a:pt x="70919" y="109572"/>
                      </a:cubicBezTo>
                      <a:close/>
                    </a:path>
                  </a:pathLst>
                </a:custGeom>
                <a:solidFill>
                  <a:schemeClr val="accent1"/>
                </a:solidFill>
                <a:ln w="2573" cap="flat">
                  <a:noFill/>
                  <a:prstDash val="solid"/>
                  <a:miter/>
                </a:ln>
              </p:spPr>
              <p:txBody>
                <a:bodyPr rtlCol="0" anchor="ctr"/>
                <a:lstStyle/>
                <a:p>
                  <a:endParaRPr lang="en-GB" dirty="0"/>
                </a:p>
              </p:txBody>
            </p:sp>
            <p:sp>
              <p:nvSpPr>
                <p:cNvPr id="1256" name="Freihandform: Form 1255">
                  <a:extLst>
                    <a:ext uri="{FF2B5EF4-FFF2-40B4-BE49-F238E27FC236}">
                      <a16:creationId xmlns:a16="http://schemas.microsoft.com/office/drawing/2014/main" id="{9757A48C-103D-463E-B4D8-C8A2D3AD68B2}"/>
                    </a:ext>
                  </a:extLst>
                </p:cNvPr>
                <p:cNvSpPr/>
                <p:nvPr/>
              </p:nvSpPr>
              <p:spPr>
                <a:xfrm>
                  <a:off x="2813271" y="2645458"/>
                  <a:ext cx="24525" cy="24522"/>
                </a:xfrm>
                <a:custGeom>
                  <a:avLst/>
                  <a:gdLst>
                    <a:gd name="connsiteX0" fmla="*/ 6651 w 24525"/>
                    <a:gd name="connsiteY0" fmla="*/ 24523 h 24522"/>
                    <a:gd name="connsiteX1" fmla="*/ 1955 w 24525"/>
                    <a:gd name="connsiteY1" fmla="*/ 22562 h 24522"/>
                    <a:gd name="connsiteX2" fmla="*/ 1955 w 24525"/>
                    <a:gd name="connsiteY2" fmla="*/ 13144 h 24522"/>
                    <a:gd name="connsiteX3" fmla="*/ 13153 w 24525"/>
                    <a:gd name="connsiteY3" fmla="*/ 1945 h 24522"/>
                    <a:gd name="connsiteX4" fmla="*/ 22571 w 24525"/>
                    <a:gd name="connsiteY4" fmla="*/ 1945 h 24522"/>
                    <a:gd name="connsiteX5" fmla="*/ 22571 w 24525"/>
                    <a:gd name="connsiteY5" fmla="*/ 11363 h 24522"/>
                    <a:gd name="connsiteX6" fmla="*/ 11373 w 24525"/>
                    <a:gd name="connsiteY6" fmla="*/ 22562 h 24522"/>
                    <a:gd name="connsiteX7" fmla="*/ 6651 w 24525"/>
                    <a:gd name="connsiteY7" fmla="*/ 24523 h 24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25" h="24522">
                      <a:moveTo>
                        <a:pt x="6651" y="24523"/>
                      </a:moveTo>
                      <a:cubicBezTo>
                        <a:pt x="4948" y="24523"/>
                        <a:pt x="3245" y="23878"/>
                        <a:pt x="1955" y="22562"/>
                      </a:cubicBezTo>
                      <a:cubicBezTo>
                        <a:pt x="-652" y="19956"/>
                        <a:pt x="-652" y="15750"/>
                        <a:pt x="1955" y="13144"/>
                      </a:cubicBezTo>
                      <a:lnTo>
                        <a:pt x="13153" y="1945"/>
                      </a:lnTo>
                      <a:cubicBezTo>
                        <a:pt x="15759" y="-635"/>
                        <a:pt x="19965" y="-661"/>
                        <a:pt x="22571" y="1945"/>
                      </a:cubicBezTo>
                      <a:cubicBezTo>
                        <a:pt x="25177" y="4551"/>
                        <a:pt x="25177" y="8757"/>
                        <a:pt x="22571" y="11363"/>
                      </a:cubicBezTo>
                      <a:lnTo>
                        <a:pt x="11373" y="22562"/>
                      </a:lnTo>
                      <a:cubicBezTo>
                        <a:pt x="10057" y="23852"/>
                        <a:pt x="8354" y="24523"/>
                        <a:pt x="6651" y="24523"/>
                      </a:cubicBezTo>
                      <a:close/>
                    </a:path>
                  </a:pathLst>
                </a:custGeom>
                <a:solidFill>
                  <a:schemeClr val="accent1"/>
                </a:solidFill>
                <a:ln w="2573" cap="flat">
                  <a:noFill/>
                  <a:prstDash val="solid"/>
                  <a:miter/>
                </a:ln>
              </p:spPr>
              <p:txBody>
                <a:bodyPr rtlCol="0" anchor="ctr"/>
                <a:lstStyle/>
                <a:p>
                  <a:endParaRPr lang="en-GB" dirty="0"/>
                </a:p>
              </p:txBody>
            </p:sp>
            <p:sp>
              <p:nvSpPr>
                <p:cNvPr id="1257" name="Freihandform: Form 1256">
                  <a:extLst>
                    <a:ext uri="{FF2B5EF4-FFF2-40B4-BE49-F238E27FC236}">
                      <a16:creationId xmlns:a16="http://schemas.microsoft.com/office/drawing/2014/main" id="{A77DE82D-7ED7-4F77-9AD4-D11D7F41F790}"/>
                    </a:ext>
                  </a:extLst>
                </p:cNvPr>
                <p:cNvSpPr/>
                <p:nvPr/>
              </p:nvSpPr>
              <p:spPr>
                <a:xfrm>
                  <a:off x="2695686" y="2645474"/>
                  <a:ext cx="24500" cy="24506"/>
                </a:xfrm>
                <a:custGeom>
                  <a:avLst/>
                  <a:gdLst>
                    <a:gd name="connsiteX0" fmla="*/ 17849 w 24500"/>
                    <a:gd name="connsiteY0" fmla="*/ 24507 h 24506"/>
                    <a:gd name="connsiteX1" fmla="*/ 13153 w 24500"/>
                    <a:gd name="connsiteY1" fmla="*/ 22571 h 24506"/>
                    <a:gd name="connsiteX2" fmla="*/ 1955 w 24500"/>
                    <a:gd name="connsiteY2" fmla="*/ 11373 h 24506"/>
                    <a:gd name="connsiteX3" fmla="*/ 1955 w 24500"/>
                    <a:gd name="connsiteY3" fmla="*/ 1955 h 24506"/>
                    <a:gd name="connsiteX4" fmla="*/ 11347 w 24500"/>
                    <a:gd name="connsiteY4" fmla="*/ 1955 h 24506"/>
                    <a:gd name="connsiteX5" fmla="*/ 22546 w 24500"/>
                    <a:gd name="connsiteY5" fmla="*/ 13153 h 24506"/>
                    <a:gd name="connsiteX6" fmla="*/ 22546 w 24500"/>
                    <a:gd name="connsiteY6" fmla="*/ 22571 h 24506"/>
                    <a:gd name="connsiteX7" fmla="*/ 17849 w 24500"/>
                    <a:gd name="connsiteY7" fmla="*/ 24507 h 24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00" h="24506">
                      <a:moveTo>
                        <a:pt x="17849" y="24507"/>
                      </a:moveTo>
                      <a:cubicBezTo>
                        <a:pt x="16146" y="24507"/>
                        <a:pt x="14443" y="23861"/>
                        <a:pt x="13153" y="22571"/>
                      </a:cubicBezTo>
                      <a:lnTo>
                        <a:pt x="1955" y="11373"/>
                      </a:lnTo>
                      <a:cubicBezTo>
                        <a:pt x="-652" y="8767"/>
                        <a:pt x="-652" y="4561"/>
                        <a:pt x="1955" y="1955"/>
                      </a:cubicBezTo>
                      <a:cubicBezTo>
                        <a:pt x="4561" y="-652"/>
                        <a:pt x="8767" y="-652"/>
                        <a:pt x="11347" y="1955"/>
                      </a:cubicBezTo>
                      <a:lnTo>
                        <a:pt x="22546" y="13153"/>
                      </a:lnTo>
                      <a:cubicBezTo>
                        <a:pt x="25152" y="15759"/>
                        <a:pt x="25152" y="19965"/>
                        <a:pt x="22546" y="22571"/>
                      </a:cubicBezTo>
                      <a:cubicBezTo>
                        <a:pt x="21255" y="23836"/>
                        <a:pt x="19552" y="24507"/>
                        <a:pt x="17849" y="24507"/>
                      </a:cubicBezTo>
                      <a:close/>
                    </a:path>
                  </a:pathLst>
                </a:custGeom>
                <a:solidFill>
                  <a:schemeClr val="accent1"/>
                </a:solidFill>
                <a:ln w="2573" cap="flat">
                  <a:noFill/>
                  <a:prstDash val="solid"/>
                  <a:miter/>
                </a:ln>
              </p:spPr>
              <p:txBody>
                <a:bodyPr rtlCol="0" anchor="ctr"/>
                <a:lstStyle/>
                <a:p>
                  <a:endParaRPr lang="en-GB" dirty="0"/>
                </a:p>
              </p:txBody>
            </p:sp>
            <p:sp>
              <p:nvSpPr>
                <p:cNvPr id="1258" name="Freihandform: Form 1257">
                  <a:extLst>
                    <a:ext uri="{FF2B5EF4-FFF2-40B4-BE49-F238E27FC236}">
                      <a16:creationId xmlns:a16="http://schemas.microsoft.com/office/drawing/2014/main" id="{30248935-A6C2-4C09-96A8-8BC51C5B3E02}"/>
                    </a:ext>
                  </a:extLst>
                </p:cNvPr>
                <p:cNvSpPr/>
                <p:nvPr/>
              </p:nvSpPr>
              <p:spPr>
                <a:xfrm>
                  <a:off x="2739003" y="2780005"/>
                  <a:ext cx="56612" cy="13314"/>
                </a:xfrm>
                <a:custGeom>
                  <a:avLst/>
                  <a:gdLst>
                    <a:gd name="connsiteX0" fmla="*/ 49955 w 56612"/>
                    <a:gd name="connsiteY0" fmla="*/ 13314 h 13314"/>
                    <a:gd name="connsiteX1" fmla="*/ 6657 w 56612"/>
                    <a:gd name="connsiteY1" fmla="*/ 13314 h 13314"/>
                    <a:gd name="connsiteX2" fmla="*/ 0 w 56612"/>
                    <a:gd name="connsiteY2" fmla="*/ 6657 h 13314"/>
                    <a:gd name="connsiteX3" fmla="*/ 6657 w 56612"/>
                    <a:gd name="connsiteY3" fmla="*/ 0 h 13314"/>
                    <a:gd name="connsiteX4" fmla="*/ 49955 w 56612"/>
                    <a:gd name="connsiteY4" fmla="*/ 0 h 13314"/>
                    <a:gd name="connsiteX5" fmla="*/ 56612 w 56612"/>
                    <a:gd name="connsiteY5" fmla="*/ 6657 h 13314"/>
                    <a:gd name="connsiteX6" fmla="*/ 49955 w 56612"/>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612" h="13314">
                      <a:moveTo>
                        <a:pt x="49955" y="13314"/>
                      </a:moveTo>
                      <a:lnTo>
                        <a:pt x="6657" y="13314"/>
                      </a:lnTo>
                      <a:cubicBezTo>
                        <a:pt x="2993" y="13314"/>
                        <a:pt x="0" y="10347"/>
                        <a:pt x="0" y="6657"/>
                      </a:cubicBezTo>
                      <a:cubicBezTo>
                        <a:pt x="0" y="2993"/>
                        <a:pt x="2967" y="0"/>
                        <a:pt x="6657" y="0"/>
                      </a:cubicBezTo>
                      <a:lnTo>
                        <a:pt x="49955" y="0"/>
                      </a:lnTo>
                      <a:cubicBezTo>
                        <a:pt x="53619" y="0"/>
                        <a:pt x="56612" y="2967"/>
                        <a:pt x="56612" y="6657"/>
                      </a:cubicBezTo>
                      <a:cubicBezTo>
                        <a:pt x="56612" y="10321"/>
                        <a:pt x="53619" y="13314"/>
                        <a:pt x="49955" y="13314"/>
                      </a:cubicBezTo>
                      <a:close/>
                    </a:path>
                  </a:pathLst>
                </a:custGeom>
                <a:solidFill>
                  <a:schemeClr val="accent1"/>
                </a:solidFill>
                <a:ln w="2573" cap="flat">
                  <a:noFill/>
                  <a:prstDash val="solid"/>
                  <a:miter/>
                </a:ln>
              </p:spPr>
              <p:txBody>
                <a:bodyPr rtlCol="0" anchor="ctr"/>
                <a:lstStyle/>
                <a:p>
                  <a:endParaRPr lang="en-GB" dirty="0"/>
                </a:p>
              </p:txBody>
            </p:sp>
            <p:sp>
              <p:nvSpPr>
                <p:cNvPr id="1259" name="Freihandform: Form 1258">
                  <a:extLst>
                    <a:ext uri="{FF2B5EF4-FFF2-40B4-BE49-F238E27FC236}">
                      <a16:creationId xmlns:a16="http://schemas.microsoft.com/office/drawing/2014/main" id="{9EEEE009-9AFD-4D62-AE84-C7FF65980EC6}"/>
                    </a:ext>
                  </a:extLst>
                </p:cNvPr>
                <p:cNvSpPr/>
                <p:nvPr/>
              </p:nvSpPr>
              <p:spPr>
                <a:xfrm>
                  <a:off x="2747106" y="2801396"/>
                  <a:ext cx="40382" cy="13314"/>
                </a:xfrm>
                <a:custGeom>
                  <a:avLst/>
                  <a:gdLst>
                    <a:gd name="connsiteX0" fmla="*/ 33725 w 40382"/>
                    <a:gd name="connsiteY0" fmla="*/ 13314 h 13314"/>
                    <a:gd name="connsiteX1" fmla="*/ 6657 w 40382"/>
                    <a:gd name="connsiteY1" fmla="*/ 13314 h 13314"/>
                    <a:gd name="connsiteX2" fmla="*/ 0 w 40382"/>
                    <a:gd name="connsiteY2" fmla="*/ 6657 h 13314"/>
                    <a:gd name="connsiteX3" fmla="*/ 6657 w 40382"/>
                    <a:gd name="connsiteY3" fmla="*/ 0 h 13314"/>
                    <a:gd name="connsiteX4" fmla="*/ 33725 w 40382"/>
                    <a:gd name="connsiteY4" fmla="*/ 0 h 13314"/>
                    <a:gd name="connsiteX5" fmla="*/ 40382 w 40382"/>
                    <a:gd name="connsiteY5" fmla="*/ 6657 h 13314"/>
                    <a:gd name="connsiteX6" fmla="*/ 33725 w 40382"/>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82" h="13314">
                      <a:moveTo>
                        <a:pt x="33725" y="13314"/>
                      </a:moveTo>
                      <a:lnTo>
                        <a:pt x="6657" y="13314"/>
                      </a:lnTo>
                      <a:cubicBezTo>
                        <a:pt x="2993" y="13314"/>
                        <a:pt x="0" y="10347"/>
                        <a:pt x="0" y="6657"/>
                      </a:cubicBezTo>
                      <a:cubicBezTo>
                        <a:pt x="0" y="2993"/>
                        <a:pt x="2967" y="0"/>
                        <a:pt x="6657" y="0"/>
                      </a:cubicBezTo>
                      <a:lnTo>
                        <a:pt x="33725" y="0"/>
                      </a:lnTo>
                      <a:cubicBezTo>
                        <a:pt x="37389" y="0"/>
                        <a:pt x="40382" y="2967"/>
                        <a:pt x="40382" y="6657"/>
                      </a:cubicBezTo>
                      <a:cubicBezTo>
                        <a:pt x="40382" y="10347"/>
                        <a:pt x="37415" y="13314"/>
                        <a:pt x="33725" y="13314"/>
                      </a:cubicBezTo>
                      <a:close/>
                    </a:path>
                  </a:pathLst>
                </a:custGeom>
                <a:solidFill>
                  <a:schemeClr val="accent1"/>
                </a:solidFill>
                <a:ln w="2573" cap="flat">
                  <a:noFill/>
                  <a:prstDash val="solid"/>
                  <a:miter/>
                </a:ln>
              </p:spPr>
              <p:txBody>
                <a:bodyPr rtlCol="0" anchor="ctr"/>
                <a:lstStyle/>
                <a:p>
                  <a:endParaRPr lang="en-GB" dirty="0"/>
                </a:p>
              </p:txBody>
            </p:sp>
            <p:grpSp>
              <p:nvGrpSpPr>
                <p:cNvPr id="1260" name="Grafik 312">
                  <a:extLst>
                    <a:ext uri="{FF2B5EF4-FFF2-40B4-BE49-F238E27FC236}">
                      <a16:creationId xmlns:a16="http://schemas.microsoft.com/office/drawing/2014/main" id="{A76335F0-5D39-4B0C-95EC-BC93A07D42CC}"/>
                    </a:ext>
                  </a:extLst>
                </p:cNvPr>
                <p:cNvGrpSpPr/>
                <p:nvPr/>
              </p:nvGrpSpPr>
              <p:grpSpPr>
                <a:xfrm>
                  <a:off x="2614437" y="2498312"/>
                  <a:ext cx="304171" cy="150122"/>
                  <a:chOff x="2614437" y="2498312"/>
                  <a:chExt cx="304171" cy="150122"/>
                </a:xfrm>
                <a:solidFill>
                  <a:schemeClr val="accent1"/>
                </a:solidFill>
              </p:grpSpPr>
              <p:sp>
                <p:nvSpPr>
                  <p:cNvPr id="1262" name="Freihandform: Form 1261">
                    <a:extLst>
                      <a:ext uri="{FF2B5EF4-FFF2-40B4-BE49-F238E27FC236}">
                        <a16:creationId xmlns:a16="http://schemas.microsoft.com/office/drawing/2014/main" id="{59B1F993-0D29-459A-A0DC-D210B65E026F}"/>
                      </a:ext>
                    </a:extLst>
                  </p:cNvPr>
                  <p:cNvSpPr/>
                  <p:nvPr/>
                </p:nvSpPr>
                <p:spPr>
                  <a:xfrm>
                    <a:off x="2759878" y="2498312"/>
                    <a:ext cx="13314" cy="150122"/>
                  </a:xfrm>
                  <a:custGeom>
                    <a:avLst/>
                    <a:gdLst>
                      <a:gd name="connsiteX0" fmla="*/ 6657 w 13314"/>
                      <a:gd name="connsiteY0" fmla="*/ 150123 h 150122"/>
                      <a:gd name="connsiteX1" fmla="*/ 0 w 13314"/>
                      <a:gd name="connsiteY1" fmla="*/ 143466 h 150122"/>
                      <a:gd name="connsiteX2" fmla="*/ 0 w 13314"/>
                      <a:gd name="connsiteY2" fmla="*/ 6657 h 150122"/>
                      <a:gd name="connsiteX3" fmla="*/ 6657 w 13314"/>
                      <a:gd name="connsiteY3" fmla="*/ 0 h 150122"/>
                      <a:gd name="connsiteX4" fmla="*/ 13315 w 13314"/>
                      <a:gd name="connsiteY4" fmla="*/ 6657 h 150122"/>
                      <a:gd name="connsiteX5" fmla="*/ 13315 w 13314"/>
                      <a:gd name="connsiteY5" fmla="*/ 143466 h 150122"/>
                      <a:gd name="connsiteX6" fmla="*/ 6657 w 13314"/>
                      <a:gd name="connsiteY6" fmla="*/ 150123 h 150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150122">
                        <a:moveTo>
                          <a:pt x="6657" y="150123"/>
                        </a:moveTo>
                        <a:cubicBezTo>
                          <a:pt x="2993" y="150123"/>
                          <a:pt x="0" y="147156"/>
                          <a:pt x="0" y="143466"/>
                        </a:cubicBezTo>
                        <a:lnTo>
                          <a:pt x="0" y="6657"/>
                        </a:lnTo>
                        <a:cubicBezTo>
                          <a:pt x="0" y="2993"/>
                          <a:pt x="2967" y="0"/>
                          <a:pt x="6657" y="0"/>
                        </a:cubicBezTo>
                        <a:cubicBezTo>
                          <a:pt x="10321" y="0"/>
                          <a:pt x="13315" y="2967"/>
                          <a:pt x="13315" y="6657"/>
                        </a:cubicBezTo>
                        <a:lnTo>
                          <a:pt x="13315" y="143466"/>
                        </a:lnTo>
                        <a:cubicBezTo>
                          <a:pt x="13315" y="147156"/>
                          <a:pt x="10347" y="150123"/>
                          <a:pt x="6657" y="150123"/>
                        </a:cubicBezTo>
                        <a:close/>
                      </a:path>
                    </a:pathLst>
                  </a:custGeom>
                  <a:solidFill>
                    <a:schemeClr val="accent1"/>
                  </a:solidFill>
                  <a:ln w="2573" cap="flat">
                    <a:noFill/>
                    <a:prstDash val="solid"/>
                    <a:miter/>
                  </a:ln>
                </p:spPr>
                <p:txBody>
                  <a:bodyPr rtlCol="0" anchor="ctr"/>
                  <a:lstStyle/>
                  <a:p>
                    <a:endParaRPr lang="en-GB" dirty="0"/>
                  </a:p>
                </p:txBody>
              </p:sp>
              <p:grpSp>
                <p:nvGrpSpPr>
                  <p:cNvPr id="1263" name="Grafik 312">
                    <a:extLst>
                      <a:ext uri="{FF2B5EF4-FFF2-40B4-BE49-F238E27FC236}">
                        <a16:creationId xmlns:a16="http://schemas.microsoft.com/office/drawing/2014/main" id="{2B05EC3F-FF8E-4CA2-A691-ABC47DDF009C}"/>
                      </a:ext>
                    </a:extLst>
                  </p:cNvPr>
                  <p:cNvGrpSpPr/>
                  <p:nvPr/>
                </p:nvGrpSpPr>
                <p:grpSpPr>
                  <a:xfrm>
                    <a:off x="2614437" y="2523157"/>
                    <a:ext cx="158755" cy="97461"/>
                    <a:chOff x="2614437" y="2523157"/>
                    <a:chExt cx="158755" cy="97461"/>
                  </a:xfrm>
                  <a:solidFill>
                    <a:schemeClr val="accent1"/>
                  </a:solidFill>
                </p:grpSpPr>
                <p:sp>
                  <p:nvSpPr>
                    <p:cNvPr id="1267" name="Freihandform: Form 1266">
                      <a:extLst>
                        <a:ext uri="{FF2B5EF4-FFF2-40B4-BE49-F238E27FC236}">
                          <a16:creationId xmlns:a16="http://schemas.microsoft.com/office/drawing/2014/main" id="{D78497F4-928C-4559-B69D-84DCB4738B5B}"/>
                        </a:ext>
                      </a:extLst>
                    </p:cNvPr>
                    <p:cNvSpPr/>
                    <p:nvPr/>
                  </p:nvSpPr>
                  <p:spPr>
                    <a:xfrm>
                      <a:off x="2614437" y="2523157"/>
                      <a:ext cx="122144" cy="91810"/>
                    </a:xfrm>
                    <a:custGeom>
                      <a:avLst/>
                      <a:gdLst>
                        <a:gd name="connsiteX0" fmla="*/ 82585 w 122144"/>
                        <a:gd name="connsiteY0" fmla="*/ 91811 h 91810"/>
                        <a:gd name="connsiteX1" fmla="*/ 81785 w 122144"/>
                        <a:gd name="connsiteY1" fmla="*/ 91811 h 91810"/>
                        <a:gd name="connsiteX2" fmla="*/ 737 w 122144"/>
                        <a:gd name="connsiteY2" fmla="*/ 9911 h 91810"/>
                        <a:gd name="connsiteX3" fmla="*/ 892 w 122144"/>
                        <a:gd name="connsiteY3" fmla="*/ 3538 h 91810"/>
                        <a:gd name="connsiteX4" fmla="*/ 6337 w 122144"/>
                        <a:gd name="connsiteY4" fmla="*/ 235 h 91810"/>
                        <a:gd name="connsiteX5" fmla="*/ 117729 w 122144"/>
                        <a:gd name="connsiteY5" fmla="*/ 29754 h 91810"/>
                        <a:gd name="connsiteX6" fmla="*/ 114736 w 122144"/>
                        <a:gd name="connsiteY6" fmla="*/ 69310 h 91810"/>
                        <a:gd name="connsiteX7" fmla="*/ 114736 w 122144"/>
                        <a:gd name="connsiteY7" fmla="*/ 69310 h 91810"/>
                        <a:gd name="connsiteX8" fmla="*/ 82585 w 122144"/>
                        <a:gd name="connsiteY8" fmla="*/ 91811 h 91810"/>
                        <a:gd name="connsiteX9" fmla="*/ 17767 w 122144"/>
                        <a:gd name="connsiteY9" fmla="*/ 13292 h 91810"/>
                        <a:gd name="connsiteX10" fmla="*/ 82121 w 122144"/>
                        <a:gd name="connsiteY10" fmla="*/ 78496 h 91810"/>
                        <a:gd name="connsiteX11" fmla="*/ 82533 w 122144"/>
                        <a:gd name="connsiteY11" fmla="*/ 78496 h 91810"/>
                        <a:gd name="connsiteX12" fmla="*/ 103228 w 122144"/>
                        <a:gd name="connsiteY12" fmla="*/ 62602 h 91810"/>
                        <a:gd name="connsiteX13" fmla="*/ 103228 w 122144"/>
                        <a:gd name="connsiteY13" fmla="*/ 62602 h 91810"/>
                        <a:gd name="connsiteX14" fmla="*/ 106375 w 122144"/>
                        <a:gd name="connsiteY14" fmla="*/ 36618 h 91810"/>
                        <a:gd name="connsiteX15" fmla="*/ 17767 w 122144"/>
                        <a:gd name="connsiteY15" fmla="*/ 13292 h 9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2144" h="91810">
                          <a:moveTo>
                            <a:pt x="82585" y="91811"/>
                          </a:moveTo>
                          <a:cubicBezTo>
                            <a:pt x="82327" y="91811"/>
                            <a:pt x="82069" y="91811"/>
                            <a:pt x="81785" y="91811"/>
                          </a:cubicBezTo>
                          <a:cubicBezTo>
                            <a:pt x="43442" y="90856"/>
                            <a:pt x="4995" y="18194"/>
                            <a:pt x="737" y="9911"/>
                          </a:cubicBezTo>
                          <a:cubicBezTo>
                            <a:pt x="-295" y="7899"/>
                            <a:pt x="-243" y="5499"/>
                            <a:pt x="892" y="3538"/>
                          </a:cubicBezTo>
                          <a:cubicBezTo>
                            <a:pt x="2027" y="1577"/>
                            <a:pt x="4092" y="338"/>
                            <a:pt x="6337" y="235"/>
                          </a:cubicBezTo>
                          <a:cubicBezTo>
                            <a:pt x="15626" y="-178"/>
                            <a:pt x="97809" y="-2990"/>
                            <a:pt x="117729" y="29754"/>
                          </a:cubicBezTo>
                          <a:cubicBezTo>
                            <a:pt x="124489" y="40849"/>
                            <a:pt x="123483" y="54164"/>
                            <a:pt x="114736" y="69310"/>
                          </a:cubicBezTo>
                          <a:lnTo>
                            <a:pt x="114736" y="69310"/>
                          </a:lnTo>
                          <a:cubicBezTo>
                            <a:pt x="106143" y="84225"/>
                            <a:pt x="95306" y="91811"/>
                            <a:pt x="82585" y="91811"/>
                          </a:cubicBezTo>
                          <a:close/>
                          <a:moveTo>
                            <a:pt x="17767" y="13292"/>
                          </a:moveTo>
                          <a:cubicBezTo>
                            <a:pt x="31624" y="37366"/>
                            <a:pt x="59620" y="77954"/>
                            <a:pt x="82121" y="78496"/>
                          </a:cubicBezTo>
                          <a:cubicBezTo>
                            <a:pt x="82250" y="78496"/>
                            <a:pt x="82404" y="78496"/>
                            <a:pt x="82533" y="78496"/>
                          </a:cubicBezTo>
                          <a:cubicBezTo>
                            <a:pt x="90274" y="78496"/>
                            <a:pt x="97061" y="73284"/>
                            <a:pt x="103228" y="62602"/>
                          </a:cubicBezTo>
                          <a:lnTo>
                            <a:pt x="103228" y="62602"/>
                          </a:lnTo>
                          <a:cubicBezTo>
                            <a:pt x="109446" y="51842"/>
                            <a:pt x="110478" y="43352"/>
                            <a:pt x="106375" y="36618"/>
                          </a:cubicBezTo>
                          <a:cubicBezTo>
                            <a:pt x="94687" y="17394"/>
                            <a:pt x="45532" y="13317"/>
                            <a:pt x="17767" y="13292"/>
                          </a:cubicBezTo>
                          <a:close/>
                        </a:path>
                      </a:pathLst>
                    </a:custGeom>
                    <a:solidFill>
                      <a:schemeClr val="accent1"/>
                    </a:solidFill>
                    <a:ln w="2573" cap="flat">
                      <a:noFill/>
                      <a:prstDash val="solid"/>
                      <a:miter/>
                    </a:ln>
                  </p:spPr>
                  <p:txBody>
                    <a:bodyPr rtlCol="0" anchor="ctr"/>
                    <a:lstStyle/>
                    <a:p>
                      <a:endParaRPr lang="en-GB" dirty="0"/>
                    </a:p>
                  </p:txBody>
                </p:sp>
                <p:sp>
                  <p:nvSpPr>
                    <p:cNvPr id="1268" name="Freihandform: Form 1267">
                      <a:extLst>
                        <a:ext uri="{FF2B5EF4-FFF2-40B4-BE49-F238E27FC236}">
                          <a16:creationId xmlns:a16="http://schemas.microsoft.com/office/drawing/2014/main" id="{8C88194E-CBC8-495C-A3C8-BB54867E4092}"/>
                        </a:ext>
                      </a:extLst>
                    </p:cNvPr>
                    <p:cNvSpPr/>
                    <p:nvPr/>
                  </p:nvSpPr>
                  <p:spPr>
                    <a:xfrm>
                      <a:off x="2684482" y="2563801"/>
                      <a:ext cx="88709" cy="56817"/>
                    </a:xfrm>
                    <a:custGeom>
                      <a:avLst/>
                      <a:gdLst>
                        <a:gd name="connsiteX0" fmla="*/ 82053 w 88709"/>
                        <a:gd name="connsiteY0" fmla="*/ 56818 h 56817"/>
                        <a:gd name="connsiteX1" fmla="*/ 78725 w 88709"/>
                        <a:gd name="connsiteY1" fmla="*/ 55940 h 56817"/>
                        <a:gd name="connsiteX2" fmla="*/ 3328 w 88709"/>
                        <a:gd name="connsiteY2" fmla="*/ 12410 h 56817"/>
                        <a:gd name="connsiteX3" fmla="*/ 902 w 88709"/>
                        <a:gd name="connsiteY3" fmla="*/ 3328 h 56817"/>
                        <a:gd name="connsiteX4" fmla="*/ 9985 w 88709"/>
                        <a:gd name="connsiteY4" fmla="*/ 902 h 56817"/>
                        <a:gd name="connsiteX5" fmla="*/ 85382 w 88709"/>
                        <a:gd name="connsiteY5" fmla="*/ 44432 h 56817"/>
                        <a:gd name="connsiteX6" fmla="*/ 87807 w 88709"/>
                        <a:gd name="connsiteY6" fmla="*/ 53515 h 56817"/>
                        <a:gd name="connsiteX7" fmla="*/ 82053 w 88709"/>
                        <a:gd name="connsiteY7" fmla="*/ 56818 h 5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709" h="56817">
                          <a:moveTo>
                            <a:pt x="82053" y="56818"/>
                          </a:moveTo>
                          <a:cubicBezTo>
                            <a:pt x="80918" y="56818"/>
                            <a:pt x="79783" y="56534"/>
                            <a:pt x="78725" y="55940"/>
                          </a:cubicBezTo>
                          <a:lnTo>
                            <a:pt x="3328" y="12410"/>
                          </a:lnTo>
                          <a:cubicBezTo>
                            <a:pt x="154" y="10578"/>
                            <a:pt x="-956" y="6502"/>
                            <a:pt x="902" y="3328"/>
                          </a:cubicBezTo>
                          <a:cubicBezTo>
                            <a:pt x="2734" y="154"/>
                            <a:pt x="6811" y="-956"/>
                            <a:pt x="9985" y="902"/>
                          </a:cubicBezTo>
                          <a:lnTo>
                            <a:pt x="85382" y="44432"/>
                          </a:lnTo>
                          <a:cubicBezTo>
                            <a:pt x="88556" y="46264"/>
                            <a:pt x="89665" y="50341"/>
                            <a:pt x="87807" y="53515"/>
                          </a:cubicBezTo>
                          <a:cubicBezTo>
                            <a:pt x="86595" y="55631"/>
                            <a:pt x="84350" y="56818"/>
                            <a:pt x="82053" y="56818"/>
                          </a:cubicBezTo>
                          <a:close/>
                        </a:path>
                      </a:pathLst>
                    </a:custGeom>
                    <a:solidFill>
                      <a:schemeClr val="accent1"/>
                    </a:solidFill>
                    <a:ln w="2573" cap="flat">
                      <a:noFill/>
                      <a:prstDash val="solid"/>
                      <a:miter/>
                    </a:ln>
                  </p:spPr>
                  <p:txBody>
                    <a:bodyPr rtlCol="0" anchor="ctr"/>
                    <a:lstStyle/>
                    <a:p>
                      <a:endParaRPr lang="en-GB" dirty="0"/>
                    </a:p>
                  </p:txBody>
                </p:sp>
              </p:grpSp>
              <p:grpSp>
                <p:nvGrpSpPr>
                  <p:cNvPr id="1264" name="Grafik 312">
                    <a:extLst>
                      <a:ext uri="{FF2B5EF4-FFF2-40B4-BE49-F238E27FC236}">
                        <a16:creationId xmlns:a16="http://schemas.microsoft.com/office/drawing/2014/main" id="{14834B0F-6353-4835-98AF-69072C201E6F}"/>
                      </a:ext>
                    </a:extLst>
                  </p:cNvPr>
                  <p:cNvGrpSpPr/>
                  <p:nvPr/>
                </p:nvGrpSpPr>
                <p:grpSpPr>
                  <a:xfrm>
                    <a:off x="2759865" y="2523115"/>
                    <a:ext cx="158743" cy="97503"/>
                    <a:chOff x="2759865" y="2523115"/>
                    <a:chExt cx="158743" cy="97503"/>
                  </a:xfrm>
                  <a:solidFill>
                    <a:schemeClr val="accent1"/>
                  </a:solidFill>
                </p:grpSpPr>
                <p:sp>
                  <p:nvSpPr>
                    <p:cNvPr id="1265" name="Freihandform: Form 1264">
                      <a:extLst>
                        <a:ext uri="{FF2B5EF4-FFF2-40B4-BE49-F238E27FC236}">
                          <a16:creationId xmlns:a16="http://schemas.microsoft.com/office/drawing/2014/main" id="{B1427ACF-6AE0-47ED-A22B-75A3FC29BB0F}"/>
                        </a:ext>
                      </a:extLst>
                    </p:cNvPr>
                    <p:cNvSpPr/>
                    <p:nvPr/>
                  </p:nvSpPr>
                  <p:spPr>
                    <a:xfrm>
                      <a:off x="2796464" y="2523115"/>
                      <a:ext cx="122144" cy="91852"/>
                    </a:xfrm>
                    <a:custGeom>
                      <a:avLst/>
                      <a:gdLst>
                        <a:gd name="connsiteX0" fmla="*/ 39585 w 122144"/>
                        <a:gd name="connsiteY0" fmla="*/ 91853 h 91852"/>
                        <a:gd name="connsiteX1" fmla="*/ 7409 w 122144"/>
                        <a:gd name="connsiteY1" fmla="*/ 69301 h 91852"/>
                        <a:gd name="connsiteX2" fmla="*/ 7409 w 122144"/>
                        <a:gd name="connsiteY2" fmla="*/ 69301 h 91852"/>
                        <a:gd name="connsiteX3" fmla="*/ 4415 w 122144"/>
                        <a:gd name="connsiteY3" fmla="*/ 29745 h 91852"/>
                        <a:gd name="connsiteX4" fmla="*/ 115808 w 122144"/>
                        <a:gd name="connsiteY4" fmla="*/ 226 h 91852"/>
                        <a:gd name="connsiteX5" fmla="*/ 121252 w 122144"/>
                        <a:gd name="connsiteY5" fmla="*/ 3528 h 91852"/>
                        <a:gd name="connsiteX6" fmla="*/ 121407 w 122144"/>
                        <a:gd name="connsiteY6" fmla="*/ 9902 h 91852"/>
                        <a:gd name="connsiteX7" fmla="*/ 40359 w 122144"/>
                        <a:gd name="connsiteY7" fmla="*/ 91801 h 91852"/>
                        <a:gd name="connsiteX8" fmla="*/ 39585 w 122144"/>
                        <a:gd name="connsiteY8" fmla="*/ 91853 h 91852"/>
                        <a:gd name="connsiteX9" fmla="*/ 18917 w 122144"/>
                        <a:gd name="connsiteY9" fmla="*/ 62669 h 91852"/>
                        <a:gd name="connsiteX10" fmla="*/ 40050 w 122144"/>
                        <a:gd name="connsiteY10" fmla="*/ 78564 h 91852"/>
                        <a:gd name="connsiteX11" fmla="*/ 104403 w 122144"/>
                        <a:gd name="connsiteY11" fmla="*/ 13359 h 91852"/>
                        <a:gd name="connsiteX12" fmla="*/ 15769 w 122144"/>
                        <a:gd name="connsiteY12" fmla="*/ 36711 h 91852"/>
                        <a:gd name="connsiteX13" fmla="*/ 18917 w 122144"/>
                        <a:gd name="connsiteY13" fmla="*/ 62669 h 91852"/>
                        <a:gd name="connsiteX14" fmla="*/ 18917 w 122144"/>
                        <a:gd name="connsiteY14" fmla="*/ 62669 h 91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2144" h="91852">
                          <a:moveTo>
                            <a:pt x="39585" y="91853"/>
                          </a:moveTo>
                          <a:cubicBezTo>
                            <a:pt x="26864" y="91853"/>
                            <a:pt x="16027" y="84267"/>
                            <a:pt x="7409" y="69301"/>
                          </a:cubicBezTo>
                          <a:lnTo>
                            <a:pt x="7409" y="69301"/>
                          </a:lnTo>
                          <a:cubicBezTo>
                            <a:pt x="-1339" y="54154"/>
                            <a:pt x="-2345" y="40866"/>
                            <a:pt x="4415" y="29745"/>
                          </a:cubicBezTo>
                          <a:cubicBezTo>
                            <a:pt x="24361" y="-3000"/>
                            <a:pt x="106519" y="-161"/>
                            <a:pt x="115808" y="226"/>
                          </a:cubicBezTo>
                          <a:cubicBezTo>
                            <a:pt x="118078" y="329"/>
                            <a:pt x="120117" y="1567"/>
                            <a:pt x="121252" y="3528"/>
                          </a:cubicBezTo>
                          <a:cubicBezTo>
                            <a:pt x="122388" y="5490"/>
                            <a:pt x="122439" y="7889"/>
                            <a:pt x="121407" y="9902"/>
                          </a:cubicBezTo>
                          <a:cubicBezTo>
                            <a:pt x="117150" y="18185"/>
                            <a:pt x="78729" y="90872"/>
                            <a:pt x="40359" y="91801"/>
                          </a:cubicBezTo>
                          <a:cubicBezTo>
                            <a:pt x="40101" y="91853"/>
                            <a:pt x="39843" y="91853"/>
                            <a:pt x="39585" y="91853"/>
                          </a:cubicBezTo>
                          <a:close/>
                          <a:moveTo>
                            <a:pt x="18917" y="62669"/>
                          </a:moveTo>
                          <a:cubicBezTo>
                            <a:pt x="25187" y="73558"/>
                            <a:pt x="32076" y="78745"/>
                            <a:pt x="40050" y="78564"/>
                          </a:cubicBezTo>
                          <a:cubicBezTo>
                            <a:pt x="62576" y="77996"/>
                            <a:pt x="90572" y="37408"/>
                            <a:pt x="104403" y="13359"/>
                          </a:cubicBezTo>
                          <a:cubicBezTo>
                            <a:pt x="76639" y="13411"/>
                            <a:pt x="27458" y="17488"/>
                            <a:pt x="15769" y="36711"/>
                          </a:cubicBezTo>
                          <a:cubicBezTo>
                            <a:pt x="11692" y="43420"/>
                            <a:pt x="12698" y="51909"/>
                            <a:pt x="18917" y="62669"/>
                          </a:cubicBezTo>
                          <a:lnTo>
                            <a:pt x="18917" y="62669"/>
                          </a:lnTo>
                          <a:close/>
                        </a:path>
                      </a:pathLst>
                    </a:custGeom>
                    <a:solidFill>
                      <a:schemeClr val="accent1"/>
                    </a:solidFill>
                    <a:ln w="2573" cap="flat">
                      <a:noFill/>
                      <a:prstDash val="solid"/>
                      <a:miter/>
                    </a:ln>
                  </p:spPr>
                  <p:txBody>
                    <a:bodyPr rtlCol="0" anchor="ctr"/>
                    <a:lstStyle/>
                    <a:p>
                      <a:endParaRPr lang="en-GB" dirty="0"/>
                    </a:p>
                  </p:txBody>
                </p:sp>
                <p:sp>
                  <p:nvSpPr>
                    <p:cNvPr id="1266" name="Freihandform: Form 1265">
                      <a:extLst>
                        <a:ext uri="{FF2B5EF4-FFF2-40B4-BE49-F238E27FC236}">
                          <a16:creationId xmlns:a16="http://schemas.microsoft.com/office/drawing/2014/main" id="{93575B60-F72B-49B4-BE74-B0CE90B88D16}"/>
                        </a:ext>
                      </a:extLst>
                    </p:cNvPr>
                    <p:cNvSpPr/>
                    <p:nvPr/>
                  </p:nvSpPr>
                  <p:spPr>
                    <a:xfrm>
                      <a:off x="2759865" y="2563787"/>
                      <a:ext cx="88686" cy="56832"/>
                    </a:xfrm>
                    <a:custGeom>
                      <a:avLst/>
                      <a:gdLst>
                        <a:gd name="connsiteX0" fmla="*/ 6671 w 88686"/>
                        <a:gd name="connsiteY0" fmla="*/ 56832 h 56832"/>
                        <a:gd name="connsiteX1" fmla="*/ 891 w 88686"/>
                        <a:gd name="connsiteY1" fmla="*/ 53504 h 56832"/>
                        <a:gd name="connsiteX2" fmla="*/ 3316 w 88686"/>
                        <a:gd name="connsiteY2" fmla="*/ 44421 h 56832"/>
                        <a:gd name="connsiteX3" fmla="*/ 78713 w 88686"/>
                        <a:gd name="connsiteY3" fmla="*/ 891 h 56832"/>
                        <a:gd name="connsiteX4" fmla="*/ 87796 w 88686"/>
                        <a:gd name="connsiteY4" fmla="*/ 3316 h 56832"/>
                        <a:gd name="connsiteX5" fmla="*/ 85370 w 88686"/>
                        <a:gd name="connsiteY5" fmla="*/ 12399 h 56832"/>
                        <a:gd name="connsiteX6" fmla="*/ 9973 w 88686"/>
                        <a:gd name="connsiteY6" fmla="*/ 55929 h 56832"/>
                        <a:gd name="connsiteX7" fmla="*/ 6671 w 88686"/>
                        <a:gd name="connsiteY7" fmla="*/ 56832 h 5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686" h="56832">
                          <a:moveTo>
                            <a:pt x="6671" y="56832"/>
                          </a:moveTo>
                          <a:cubicBezTo>
                            <a:pt x="4374" y="56832"/>
                            <a:pt x="2129" y="55645"/>
                            <a:pt x="891" y="53504"/>
                          </a:cubicBezTo>
                          <a:cubicBezTo>
                            <a:pt x="-941" y="50330"/>
                            <a:pt x="142" y="46253"/>
                            <a:pt x="3316" y="44421"/>
                          </a:cubicBezTo>
                          <a:lnTo>
                            <a:pt x="78713" y="891"/>
                          </a:lnTo>
                          <a:cubicBezTo>
                            <a:pt x="81887" y="-941"/>
                            <a:pt x="85964" y="143"/>
                            <a:pt x="87796" y="3316"/>
                          </a:cubicBezTo>
                          <a:cubicBezTo>
                            <a:pt x="89628" y="6490"/>
                            <a:pt x="88544" y="10567"/>
                            <a:pt x="85370" y="12399"/>
                          </a:cubicBezTo>
                          <a:lnTo>
                            <a:pt x="9973" y="55929"/>
                          </a:lnTo>
                          <a:cubicBezTo>
                            <a:pt x="8941" y="56548"/>
                            <a:pt x="7806" y="56832"/>
                            <a:pt x="6671" y="56832"/>
                          </a:cubicBezTo>
                          <a:close/>
                        </a:path>
                      </a:pathLst>
                    </a:custGeom>
                    <a:solidFill>
                      <a:schemeClr val="accent1"/>
                    </a:solidFill>
                    <a:ln w="2573" cap="flat">
                      <a:noFill/>
                      <a:prstDash val="solid"/>
                      <a:miter/>
                    </a:ln>
                  </p:spPr>
                  <p:txBody>
                    <a:bodyPr rtlCol="0" anchor="ctr"/>
                    <a:lstStyle/>
                    <a:p>
                      <a:endParaRPr lang="en-GB" dirty="0"/>
                    </a:p>
                  </p:txBody>
                </p:sp>
              </p:grpSp>
            </p:grpSp>
            <p:sp>
              <p:nvSpPr>
                <p:cNvPr id="1261" name="Freihandform: Form 1260">
                  <a:extLst>
                    <a:ext uri="{FF2B5EF4-FFF2-40B4-BE49-F238E27FC236}">
                      <a16:creationId xmlns:a16="http://schemas.microsoft.com/office/drawing/2014/main" id="{DD7A570A-F7E0-4836-8321-94854CA28240}"/>
                    </a:ext>
                  </a:extLst>
                </p:cNvPr>
                <p:cNvSpPr/>
                <p:nvPr/>
              </p:nvSpPr>
              <p:spPr>
                <a:xfrm>
                  <a:off x="2726534" y="2418296"/>
                  <a:ext cx="80706" cy="131467"/>
                </a:xfrm>
                <a:custGeom>
                  <a:avLst/>
                  <a:gdLst>
                    <a:gd name="connsiteX0" fmla="*/ 39821 w 80706"/>
                    <a:gd name="connsiteY0" fmla="*/ 131441 h 131467"/>
                    <a:gd name="connsiteX1" fmla="*/ 4728 w 80706"/>
                    <a:gd name="connsiteY1" fmla="*/ 114644 h 131467"/>
                    <a:gd name="connsiteX2" fmla="*/ 33679 w 80706"/>
                    <a:gd name="connsiteY2" fmla="*/ 3122 h 131467"/>
                    <a:gd name="connsiteX3" fmla="*/ 39227 w 80706"/>
                    <a:gd name="connsiteY3" fmla="*/ 0 h 131467"/>
                    <a:gd name="connsiteX4" fmla="*/ 44852 w 80706"/>
                    <a:gd name="connsiteY4" fmla="*/ 2993 h 131467"/>
                    <a:gd name="connsiteX5" fmla="*/ 76435 w 80706"/>
                    <a:gd name="connsiteY5" fmla="*/ 113792 h 131467"/>
                    <a:gd name="connsiteX6" fmla="*/ 40620 w 80706"/>
                    <a:gd name="connsiteY6" fmla="*/ 131467 h 131467"/>
                    <a:gd name="connsiteX7" fmla="*/ 40620 w 80706"/>
                    <a:gd name="connsiteY7" fmla="*/ 131467 h 131467"/>
                    <a:gd name="connsiteX8" fmla="*/ 39821 w 80706"/>
                    <a:gd name="connsiteY8" fmla="*/ 131441 h 131467"/>
                    <a:gd name="connsiteX9" fmla="*/ 39459 w 80706"/>
                    <a:gd name="connsiteY9" fmla="*/ 19456 h 131467"/>
                    <a:gd name="connsiteX10" fmla="*/ 16314 w 80706"/>
                    <a:gd name="connsiteY10" fmla="*/ 108141 h 131467"/>
                    <a:gd name="connsiteX11" fmla="*/ 40491 w 80706"/>
                    <a:gd name="connsiteY11" fmla="*/ 118153 h 131467"/>
                    <a:gd name="connsiteX12" fmla="*/ 40491 w 80706"/>
                    <a:gd name="connsiteY12" fmla="*/ 118153 h 131467"/>
                    <a:gd name="connsiteX13" fmla="*/ 64695 w 80706"/>
                    <a:gd name="connsiteY13" fmla="*/ 107548 h 131467"/>
                    <a:gd name="connsiteX14" fmla="*/ 39459 w 80706"/>
                    <a:gd name="connsiteY14" fmla="*/ 19456 h 13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0706" h="131467">
                      <a:moveTo>
                        <a:pt x="39821" y="131441"/>
                      </a:moveTo>
                      <a:cubicBezTo>
                        <a:pt x="22791" y="131441"/>
                        <a:pt x="10998" y="125791"/>
                        <a:pt x="4728" y="114644"/>
                      </a:cubicBezTo>
                      <a:cubicBezTo>
                        <a:pt x="-14031" y="81228"/>
                        <a:pt x="28751" y="11018"/>
                        <a:pt x="33679" y="3122"/>
                      </a:cubicBezTo>
                      <a:cubicBezTo>
                        <a:pt x="34892" y="1213"/>
                        <a:pt x="36982" y="26"/>
                        <a:pt x="39227" y="0"/>
                      </a:cubicBezTo>
                      <a:cubicBezTo>
                        <a:pt x="41472" y="155"/>
                        <a:pt x="43614" y="1110"/>
                        <a:pt x="44852" y="2993"/>
                      </a:cubicBezTo>
                      <a:cubicBezTo>
                        <a:pt x="49987" y="10760"/>
                        <a:pt x="94446" y="79912"/>
                        <a:pt x="76435" y="113792"/>
                      </a:cubicBezTo>
                      <a:cubicBezTo>
                        <a:pt x="70294" y="125326"/>
                        <a:pt x="58244" y="131261"/>
                        <a:pt x="40620" y="131467"/>
                      </a:cubicBezTo>
                      <a:lnTo>
                        <a:pt x="40620" y="131467"/>
                      </a:lnTo>
                      <a:cubicBezTo>
                        <a:pt x="40362" y="131441"/>
                        <a:pt x="40079" y="131441"/>
                        <a:pt x="39821" y="131441"/>
                      </a:cubicBezTo>
                      <a:close/>
                      <a:moveTo>
                        <a:pt x="39459" y="19456"/>
                      </a:moveTo>
                      <a:cubicBezTo>
                        <a:pt x="25861" y="43685"/>
                        <a:pt x="5296" y="88505"/>
                        <a:pt x="16314" y="108141"/>
                      </a:cubicBezTo>
                      <a:cubicBezTo>
                        <a:pt x="20184" y="115005"/>
                        <a:pt x="28235" y="118282"/>
                        <a:pt x="40491" y="118153"/>
                      </a:cubicBezTo>
                      <a:lnTo>
                        <a:pt x="40491" y="118153"/>
                      </a:lnTo>
                      <a:cubicBezTo>
                        <a:pt x="53058" y="118024"/>
                        <a:pt x="60979" y="114540"/>
                        <a:pt x="64695" y="107548"/>
                      </a:cubicBezTo>
                      <a:cubicBezTo>
                        <a:pt x="75274" y="87653"/>
                        <a:pt x="53651" y="43323"/>
                        <a:pt x="39459" y="19456"/>
                      </a:cubicBezTo>
                      <a:close/>
                    </a:path>
                  </a:pathLst>
                </a:custGeom>
                <a:solidFill>
                  <a:schemeClr val="accent1"/>
                </a:solidFill>
                <a:ln w="2573" cap="flat">
                  <a:noFill/>
                  <a:prstDash val="solid"/>
                  <a:miter/>
                </a:ln>
              </p:spPr>
              <p:txBody>
                <a:bodyPr rtlCol="0" anchor="ctr"/>
                <a:lstStyle/>
                <a:p>
                  <a:endParaRPr lang="en-GB" dirty="0"/>
                </a:p>
              </p:txBody>
            </p:sp>
          </p:grpSp>
        </p:grpSp>
      </p:grpSp>
      <p:sp>
        <p:nvSpPr>
          <p:cNvPr id="1271" name="TextBox 1419">
            <a:extLst>
              <a:ext uri="{FF2B5EF4-FFF2-40B4-BE49-F238E27FC236}">
                <a16:creationId xmlns:a16="http://schemas.microsoft.com/office/drawing/2014/main" id="{2C465280-FA49-4DDA-A296-3EF50A5E56F9}"/>
              </a:ext>
            </a:extLst>
          </p:cNvPr>
          <p:cNvSpPr txBox="1"/>
          <p:nvPr/>
        </p:nvSpPr>
        <p:spPr>
          <a:xfrm>
            <a:off x="2668513" y="2899619"/>
            <a:ext cx="432811" cy="215444"/>
          </a:xfrm>
          <a:prstGeom prst="rect">
            <a:avLst/>
          </a:prstGeom>
          <a:noFill/>
          <a:effectLst/>
        </p:spPr>
        <p:txBody>
          <a:bodyPr wrap="none" lIns="0" tIns="0" rIns="0" bIns="0" rtlCol="0" anchor="t" anchorCtr="0">
            <a:spAutoFit/>
          </a:bodyPr>
          <a:lstStyle/>
          <a:p>
            <a:pPr algn="ctr"/>
            <a:r>
              <a:rPr lang="en-GB" sz="700" dirty="0">
                <a:solidFill>
                  <a:schemeClr val="tx2"/>
                </a:solidFill>
              </a:rPr>
              <a:t>Brand</a:t>
            </a:r>
            <a:br>
              <a:rPr lang="en-GB" sz="700" dirty="0">
                <a:solidFill>
                  <a:schemeClr val="tx2"/>
                </a:solidFill>
              </a:rPr>
            </a:br>
            <a:r>
              <a:rPr lang="en-GB" sz="700" dirty="0">
                <a:solidFill>
                  <a:schemeClr val="tx2"/>
                </a:solidFill>
              </a:rPr>
              <a:t>awareness</a:t>
            </a:r>
          </a:p>
        </p:txBody>
      </p:sp>
      <p:grpSp>
        <p:nvGrpSpPr>
          <p:cNvPr id="41" name="Group 40">
            <a:extLst>
              <a:ext uri="{FF2B5EF4-FFF2-40B4-BE49-F238E27FC236}">
                <a16:creationId xmlns:a16="http://schemas.microsoft.com/office/drawing/2014/main" id="{F8BFA035-37D5-9977-48C4-F2E28D5D1DAE}"/>
              </a:ext>
            </a:extLst>
          </p:cNvPr>
          <p:cNvGrpSpPr/>
          <p:nvPr/>
        </p:nvGrpSpPr>
        <p:grpSpPr>
          <a:xfrm>
            <a:off x="563615" y="2449341"/>
            <a:ext cx="460870" cy="432000"/>
            <a:chOff x="563615" y="2449341"/>
            <a:chExt cx="460870" cy="432000"/>
          </a:xfrm>
        </p:grpSpPr>
        <p:grpSp>
          <p:nvGrpSpPr>
            <p:cNvPr id="1273" name="Grafik 312">
              <a:extLst>
                <a:ext uri="{FF2B5EF4-FFF2-40B4-BE49-F238E27FC236}">
                  <a16:creationId xmlns:a16="http://schemas.microsoft.com/office/drawing/2014/main" id="{8BDF4F24-BDE7-45CE-A9FA-D85C2ECFCDFE}"/>
                </a:ext>
              </a:extLst>
            </p:cNvPr>
            <p:cNvGrpSpPr/>
            <p:nvPr/>
          </p:nvGrpSpPr>
          <p:grpSpPr>
            <a:xfrm>
              <a:off x="563615" y="2449341"/>
              <a:ext cx="460870" cy="268815"/>
              <a:chOff x="857377" y="2498905"/>
              <a:chExt cx="439064" cy="256096"/>
            </a:xfrm>
            <a:solidFill>
              <a:schemeClr val="tx2"/>
            </a:solidFill>
          </p:grpSpPr>
          <p:sp>
            <p:nvSpPr>
              <p:cNvPr id="1289" name="Freihandform: Form 1288">
                <a:extLst>
                  <a:ext uri="{FF2B5EF4-FFF2-40B4-BE49-F238E27FC236}">
                    <a16:creationId xmlns:a16="http://schemas.microsoft.com/office/drawing/2014/main" id="{563BABF9-1CF4-4E3F-9F84-106E0C91F9A6}"/>
                  </a:ext>
                </a:extLst>
              </p:cNvPr>
              <p:cNvSpPr/>
              <p:nvPr/>
            </p:nvSpPr>
            <p:spPr>
              <a:xfrm>
                <a:off x="1005932" y="2569838"/>
                <a:ext cx="144859" cy="13314"/>
              </a:xfrm>
              <a:custGeom>
                <a:avLst/>
                <a:gdLst>
                  <a:gd name="connsiteX0" fmla="*/ 138202 w 144859"/>
                  <a:gd name="connsiteY0" fmla="*/ 13314 h 13314"/>
                  <a:gd name="connsiteX1" fmla="*/ 6657 w 144859"/>
                  <a:gd name="connsiteY1" fmla="*/ 13314 h 13314"/>
                  <a:gd name="connsiteX2" fmla="*/ 0 w 144859"/>
                  <a:gd name="connsiteY2" fmla="*/ 6657 h 13314"/>
                  <a:gd name="connsiteX3" fmla="*/ 6657 w 144859"/>
                  <a:gd name="connsiteY3" fmla="*/ 0 h 13314"/>
                  <a:gd name="connsiteX4" fmla="*/ 138202 w 144859"/>
                  <a:gd name="connsiteY4" fmla="*/ 0 h 13314"/>
                  <a:gd name="connsiteX5" fmla="*/ 144859 w 144859"/>
                  <a:gd name="connsiteY5" fmla="*/ 6657 h 13314"/>
                  <a:gd name="connsiteX6" fmla="*/ 138202 w 144859"/>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859" h="13314">
                    <a:moveTo>
                      <a:pt x="138202" y="13314"/>
                    </a:moveTo>
                    <a:lnTo>
                      <a:pt x="6657" y="13314"/>
                    </a:lnTo>
                    <a:cubicBezTo>
                      <a:pt x="2993" y="13314"/>
                      <a:pt x="0" y="10347"/>
                      <a:pt x="0" y="6657"/>
                    </a:cubicBezTo>
                    <a:cubicBezTo>
                      <a:pt x="0" y="2993"/>
                      <a:pt x="2967" y="0"/>
                      <a:pt x="6657" y="0"/>
                    </a:cubicBezTo>
                    <a:lnTo>
                      <a:pt x="138202" y="0"/>
                    </a:lnTo>
                    <a:cubicBezTo>
                      <a:pt x="141866" y="0"/>
                      <a:pt x="144859" y="2967"/>
                      <a:pt x="144859" y="6657"/>
                    </a:cubicBezTo>
                    <a:cubicBezTo>
                      <a:pt x="144859" y="10347"/>
                      <a:pt x="141892" y="13314"/>
                      <a:pt x="138202" y="13314"/>
                    </a:cubicBezTo>
                    <a:close/>
                  </a:path>
                </a:pathLst>
              </a:custGeom>
              <a:grpFill/>
              <a:ln w="2573" cap="flat">
                <a:noFill/>
                <a:prstDash val="solid"/>
                <a:miter/>
              </a:ln>
            </p:spPr>
            <p:txBody>
              <a:bodyPr rtlCol="0" anchor="ctr"/>
              <a:lstStyle/>
              <a:p>
                <a:endParaRPr lang="en-GB" dirty="0"/>
              </a:p>
            </p:txBody>
          </p:sp>
          <p:grpSp>
            <p:nvGrpSpPr>
              <p:cNvPr id="1290" name="Grafik 312">
                <a:extLst>
                  <a:ext uri="{FF2B5EF4-FFF2-40B4-BE49-F238E27FC236}">
                    <a16:creationId xmlns:a16="http://schemas.microsoft.com/office/drawing/2014/main" id="{66FA55C4-297D-4119-A2BB-C489FCEEDD84}"/>
                  </a:ext>
                </a:extLst>
              </p:cNvPr>
              <p:cNvGrpSpPr/>
              <p:nvPr/>
            </p:nvGrpSpPr>
            <p:grpSpPr>
              <a:xfrm>
                <a:off x="897791" y="2498905"/>
                <a:ext cx="398650" cy="256096"/>
                <a:chOff x="897791" y="2498905"/>
                <a:chExt cx="398650" cy="256096"/>
              </a:xfrm>
              <a:grpFill/>
            </p:grpSpPr>
            <p:sp>
              <p:nvSpPr>
                <p:cNvPr id="1292" name="Freihandform: Form 1291">
                  <a:extLst>
                    <a:ext uri="{FF2B5EF4-FFF2-40B4-BE49-F238E27FC236}">
                      <a16:creationId xmlns:a16="http://schemas.microsoft.com/office/drawing/2014/main" id="{90C5E470-A910-4893-A375-7ACBF7763D65}"/>
                    </a:ext>
                  </a:extLst>
                </p:cNvPr>
                <p:cNvSpPr/>
                <p:nvPr/>
              </p:nvSpPr>
              <p:spPr>
                <a:xfrm>
                  <a:off x="897791" y="2498905"/>
                  <a:ext cx="356729" cy="13314"/>
                </a:xfrm>
                <a:custGeom>
                  <a:avLst/>
                  <a:gdLst>
                    <a:gd name="connsiteX0" fmla="*/ 350072 w 356729"/>
                    <a:gd name="connsiteY0" fmla="*/ 13314 h 13314"/>
                    <a:gd name="connsiteX1" fmla="*/ 6657 w 356729"/>
                    <a:gd name="connsiteY1" fmla="*/ 13314 h 13314"/>
                    <a:gd name="connsiteX2" fmla="*/ 0 w 356729"/>
                    <a:gd name="connsiteY2" fmla="*/ 6657 h 13314"/>
                    <a:gd name="connsiteX3" fmla="*/ 6657 w 356729"/>
                    <a:gd name="connsiteY3" fmla="*/ 0 h 13314"/>
                    <a:gd name="connsiteX4" fmla="*/ 350072 w 356729"/>
                    <a:gd name="connsiteY4" fmla="*/ 0 h 13314"/>
                    <a:gd name="connsiteX5" fmla="*/ 356729 w 356729"/>
                    <a:gd name="connsiteY5" fmla="*/ 6657 h 13314"/>
                    <a:gd name="connsiteX6" fmla="*/ 350072 w 356729"/>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6729" h="13314">
                      <a:moveTo>
                        <a:pt x="350072" y="13314"/>
                      </a:moveTo>
                      <a:lnTo>
                        <a:pt x="6657" y="13314"/>
                      </a:lnTo>
                      <a:cubicBezTo>
                        <a:pt x="2993" y="13314"/>
                        <a:pt x="0" y="10347"/>
                        <a:pt x="0" y="6657"/>
                      </a:cubicBezTo>
                      <a:cubicBezTo>
                        <a:pt x="0" y="2993"/>
                        <a:pt x="2967" y="0"/>
                        <a:pt x="6657" y="0"/>
                      </a:cubicBezTo>
                      <a:lnTo>
                        <a:pt x="350072" y="0"/>
                      </a:lnTo>
                      <a:cubicBezTo>
                        <a:pt x="353736" y="0"/>
                        <a:pt x="356729" y="2967"/>
                        <a:pt x="356729" y="6657"/>
                      </a:cubicBezTo>
                      <a:cubicBezTo>
                        <a:pt x="356729" y="10321"/>
                        <a:pt x="353736" y="13314"/>
                        <a:pt x="350072" y="13314"/>
                      </a:cubicBezTo>
                      <a:close/>
                    </a:path>
                  </a:pathLst>
                </a:custGeom>
                <a:grpFill/>
                <a:ln w="2573" cap="flat">
                  <a:noFill/>
                  <a:prstDash val="solid"/>
                  <a:miter/>
                </a:ln>
              </p:spPr>
              <p:txBody>
                <a:bodyPr rtlCol="0" anchor="ctr"/>
                <a:lstStyle/>
                <a:p>
                  <a:endParaRPr lang="en-GB" dirty="0"/>
                </a:p>
              </p:txBody>
            </p:sp>
            <p:sp>
              <p:nvSpPr>
                <p:cNvPr id="1293" name="Freihandform: Form 1292">
                  <a:extLst>
                    <a:ext uri="{FF2B5EF4-FFF2-40B4-BE49-F238E27FC236}">
                      <a16:creationId xmlns:a16="http://schemas.microsoft.com/office/drawing/2014/main" id="{97500B6F-77CA-43A6-AD2E-BAD83E5F5B6A}"/>
                    </a:ext>
                  </a:extLst>
                </p:cNvPr>
                <p:cNvSpPr/>
                <p:nvPr/>
              </p:nvSpPr>
              <p:spPr>
                <a:xfrm>
                  <a:off x="1086501" y="2498931"/>
                  <a:ext cx="209940" cy="256070"/>
                </a:xfrm>
                <a:custGeom>
                  <a:avLst/>
                  <a:gdLst>
                    <a:gd name="connsiteX0" fmla="*/ 67748 w 209940"/>
                    <a:gd name="connsiteY0" fmla="*/ 256071 h 256070"/>
                    <a:gd name="connsiteX1" fmla="*/ 64058 w 209940"/>
                    <a:gd name="connsiteY1" fmla="*/ 254961 h 256070"/>
                    <a:gd name="connsiteX2" fmla="*/ 62200 w 209940"/>
                    <a:gd name="connsiteY2" fmla="*/ 245750 h 256070"/>
                    <a:gd name="connsiteX3" fmla="*/ 192635 w 209940"/>
                    <a:gd name="connsiteY3" fmla="*/ 49852 h 256070"/>
                    <a:gd name="connsiteX4" fmla="*/ 193848 w 209940"/>
                    <a:gd name="connsiteY4" fmla="*/ 26164 h 256070"/>
                    <a:gd name="connsiteX5" fmla="*/ 173619 w 209940"/>
                    <a:gd name="connsiteY5" fmla="*/ 13779 h 256070"/>
                    <a:gd name="connsiteX6" fmla="*/ 142319 w 209940"/>
                    <a:gd name="connsiteY6" fmla="*/ 13366 h 256070"/>
                    <a:gd name="connsiteX7" fmla="*/ 12194 w 209940"/>
                    <a:gd name="connsiteY7" fmla="*/ 210425 h 256070"/>
                    <a:gd name="connsiteX8" fmla="*/ 2982 w 209940"/>
                    <a:gd name="connsiteY8" fmla="*/ 212309 h 256070"/>
                    <a:gd name="connsiteX9" fmla="*/ 1098 w 209940"/>
                    <a:gd name="connsiteY9" fmla="*/ 203097 h 256070"/>
                    <a:gd name="connsiteX10" fmla="*/ 133237 w 209940"/>
                    <a:gd name="connsiteY10" fmla="*/ 2993 h 256070"/>
                    <a:gd name="connsiteX11" fmla="*/ 138887 w 209940"/>
                    <a:gd name="connsiteY11" fmla="*/ 0 h 256070"/>
                    <a:gd name="connsiteX12" fmla="*/ 173825 w 209940"/>
                    <a:gd name="connsiteY12" fmla="*/ 464 h 256070"/>
                    <a:gd name="connsiteX13" fmla="*/ 205640 w 209940"/>
                    <a:gd name="connsiteY13" fmla="*/ 19946 h 256070"/>
                    <a:gd name="connsiteX14" fmla="*/ 203757 w 209940"/>
                    <a:gd name="connsiteY14" fmla="*/ 57206 h 256070"/>
                    <a:gd name="connsiteX15" fmla="*/ 73322 w 209940"/>
                    <a:gd name="connsiteY15" fmla="*/ 253103 h 256070"/>
                    <a:gd name="connsiteX16" fmla="*/ 67748 w 209940"/>
                    <a:gd name="connsiteY16" fmla="*/ 256071 h 256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9940" h="256070">
                      <a:moveTo>
                        <a:pt x="67748" y="256071"/>
                      </a:moveTo>
                      <a:cubicBezTo>
                        <a:pt x="66484" y="256071"/>
                        <a:pt x="65194" y="255710"/>
                        <a:pt x="64058" y="254961"/>
                      </a:cubicBezTo>
                      <a:cubicBezTo>
                        <a:pt x="60988" y="252923"/>
                        <a:pt x="60162" y="248794"/>
                        <a:pt x="62200" y="245750"/>
                      </a:cubicBezTo>
                      <a:lnTo>
                        <a:pt x="192635" y="49852"/>
                      </a:lnTo>
                      <a:cubicBezTo>
                        <a:pt x="197409" y="42653"/>
                        <a:pt x="197873" y="33802"/>
                        <a:pt x="193848" y="26164"/>
                      </a:cubicBezTo>
                      <a:cubicBezTo>
                        <a:pt x="189823" y="18527"/>
                        <a:pt x="182263" y="13882"/>
                        <a:pt x="173619" y="13779"/>
                      </a:cubicBezTo>
                      <a:lnTo>
                        <a:pt x="142319" y="13366"/>
                      </a:lnTo>
                      <a:lnTo>
                        <a:pt x="12194" y="210425"/>
                      </a:lnTo>
                      <a:cubicBezTo>
                        <a:pt x="10181" y="213496"/>
                        <a:pt x="6053" y="214347"/>
                        <a:pt x="2982" y="212309"/>
                      </a:cubicBezTo>
                      <a:cubicBezTo>
                        <a:pt x="-89" y="210296"/>
                        <a:pt x="-914" y="206167"/>
                        <a:pt x="1098" y="203097"/>
                      </a:cubicBezTo>
                      <a:lnTo>
                        <a:pt x="133237" y="2993"/>
                      </a:lnTo>
                      <a:cubicBezTo>
                        <a:pt x="134475" y="1110"/>
                        <a:pt x="136488" y="206"/>
                        <a:pt x="138887" y="0"/>
                      </a:cubicBezTo>
                      <a:lnTo>
                        <a:pt x="173825" y="464"/>
                      </a:lnTo>
                      <a:cubicBezTo>
                        <a:pt x="187397" y="645"/>
                        <a:pt x="199293" y="7922"/>
                        <a:pt x="205640" y="19946"/>
                      </a:cubicBezTo>
                      <a:cubicBezTo>
                        <a:pt x="211988" y="31970"/>
                        <a:pt x="211265" y="45904"/>
                        <a:pt x="203757" y="57206"/>
                      </a:cubicBezTo>
                      <a:lnTo>
                        <a:pt x="73322" y="253103"/>
                      </a:lnTo>
                      <a:cubicBezTo>
                        <a:pt x="72006" y="255013"/>
                        <a:pt x="69890" y="256071"/>
                        <a:pt x="67748" y="256071"/>
                      </a:cubicBezTo>
                      <a:close/>
                    </a:path>
                  </a:pathLst>
                </a:custGeom>
                <a:grpFill/>
                <a:ln w="2573" cap="flat">
                  <a:noFill/>
                  <a:prstDash val="solid"/>
                  <a:miter/>
                </a:ln>
              </p:spPr>
              <p:txBody>
                <a:bodyPr rtlCol="0" anchor="ctr"/>
                <a:lstStyle/>
                <a:p>
                  <a:endParaRPr lang="en-GB" dirty="0"/>
                </a:p>
              </p:txBody>
            </p:sp>
          </p:grpSp>
          <p:sp>
            <p:nvSpPr>
              <p:cNvPr id="1291" name="Freihandform: Form 1290">
                <a:extLst>
                  <a:ext uri="{FF2B5EF4-FFF2-40B4-BE49-F238E27FC236}">
                    <a16:creationId xmlns:a16="http://schemas.microsoft.com/office/drawing/2014/main" id="{231B746A-15EB-4685-B753-8B0C5557D505}"/>
                  </a:ext>
                </a:extLst>
              </p:cNvPr>
              <p:cNvSpPr/>
              <p:nvPr/>
            </p:nvSpPr>
            <p:spPr>
              <a:xfrm>
                <a:off x="857377" y="2498905"/>
                <a:ext cx="208892" cy="255245"/>
              </a:xfrm>
              <a:custGeom>
                <a:avLst/>
                <a:gdLst>
                  <a:gd name="connsiteX0" fmla="*/ 140582 w 208892"/>
                  <a:gd name="connsiteY0" fmla="*/ 255245 h 255245"/>
                  <a:gd name="connsiteX1" fmla="*/ 135034 w 208892"/>
                  <a:gd name="connsiteY1" fmla="*/ 252252 h 255245"/>
                  <a:gd name="connsiteX2" fmla="*/ 6173 w 208892"/>
                  <a:gd name="connsiteY2" fmla="*/ 57180 h 255245"/>
                  <a:gd name="connsiteX3" fmla="*/ 4290 w 208892"/>
                  <a:gd name="connsiteY3" fmla="*/ 19946 h 255245"/>
                  <a:gd name="connsiteX4" fmla="*/ 36079 w 208892"/>
                  <a:gd name="connsiteY4" fmla="*/ 464 h 255245"/>
                  <a:gd name="connsiteX5" fmla="*/ 69546 w 208892"/>
                  <a:gd name="connsiteY5" fmla="*/ 0 h 255245"/>
                  <a:gd name="connsiteX6" fmla="*/ 75171 w 208892"/>
                  <a:gd name="connsiteY6" fmla="*/ 2942 h 255245"/>
                  <a:gd name="connsiteX7" fmla="*/ 207774 w 208892"/>
                  <a:gd name="connsiteY7" fmla="*/ 201084 h 255245"/>
                  <a:gd name="connsiteX8" fmla="*/ 205942 w 208892"/>
                  <a:gd name="connsiteY8" fmla="*/ 210322 h 255245"/>
                  <a:gd name="connsiteX9" fmla="*/ 196704 w 208892"/>
                  <a:gd name="connsiteY9" fmla="*/ 208490 h 255245"/>
                  <a:gd name="connsiteX10" fmla="*/ 66088 w 208892"/>
                  <a:gd name="connsiteY10" fmla="*/ 13340 h 255245"/>
                  <a:gd name="connsiteX11" fmla="*/ 36234 w 208892"/>
                  <a:gd name="connsiteY11" fmla="*/ 13753 h 255245"/>
                  <a:gd name="connsiteX12" fmla="*/ 16030 w 208892"/>
                  <a:gd name="connsiteY12" fmla="*/ 26139 h 255245"/>
                  <a:gd name="connsiteX13" fmla="*/ 17243 w 208892"/>
                  <a:gd name="connsiteY13" fmla="*/ 49826 h 255245"/>
                  <a:gd name="connsiteX14" fmla="*/ 146104 w 208892"/>
                  <a:gd name="connsiteY14" fmla="*/ 244924 h 255245"/>
                  <a:gd name="connsiteX15" fmla="*/ 144220 w 208892"/>
                  <a:gd name="connsiteY15" fmla="*/ 254136 h 255245"/>
                  <a:gd name="connsiteX16" fmla="*/ 140582 w 208892"/>
                  <a:gd name="connsiteY16" fmla="*/ 255245 h 25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8892" h="255245">
                    <a:moveTo>
                      <a:pt x="140582" y="255245"/>
                    </a:moveTo>
                    <a:cubicBezTo>
                      <a:pt x="138415" y="255245"/>
                      <a:pt x="136299" y="254187"/>
                      <a:pt x="135034" y="252252"/>
                    </a:cubicBezTo>
                    <a:lnTo>
                      <a:pt x="6173" y="57180"/>
                    </a:lnTo>
                    <a:cubicBezTo>
                      <a:pt x="-1335" y="45878"/>
                      <a:pt x="-2032" y="31944"/>
                      <a:pt x="4290" y="19946"/>
                    </a:cubicBezTo>
                    <a:cubicBezTo>
                      <a:pt x="10612" y="7922"/>
                      <a:pt x="22507" y="645"/>
                      <a:pt x="36079" y="464"/>
                    </a:cubicBezTo>
                    <a:lnTo>
                      <a:pt x="69546" y="0"/>
                    </a:lnTo>
                    <a:cubicBezTo>
                      <a:pt x="71894" y="103"/>
                      <a:pt x="73907" y="1084"/>
                      <a:pt x="75171" y="2942"/>
                    </a:cubicBezTo>
                    <a:lnTo>
                      <a:pt x="207774" y="201084"/>
                    </a:lnTo>
                    <a:cubicBezTo>
                      <a:pt x="209812" y="204129"/>
                      <a:pt x="208986" y="208257"/>
                      <a:pt x="205942" y="210322"/>
                    </a:cubicBezTo>
                    <a:cubicBezTo>
                      <a:pt x="202871" y="212360"/>
                      <a:pt x="198768" y="211535"/>
                      <a:pt x="196704" y="208490"/>
                    </a:cubicBezTo>
                    <a:lnTo>
                      <a:pt x="66088" y="13340"/>
                    </a:lnTo>
                    <a:lnTo>
                      <a:pt x="36234" y="13753"/>
                    </a:lnTo>
                    <a:cubicBezTo>
                      <a:pt x="27616" y="13882"/>
                      <a:pt x="20055" y="18501"/>
                      <a:pt x="16030" y="26139"/>
                    </a:cubicBezTo>
                    <a:cubicBezTo>
                      <a:pt x="12005" y="33776"/>
                      <a:pt x="12444" y="42627"/>
                      <a:pt x="17243" y="49826"/>
                    </a:cubicBezTo>
                    <a:lnTo>
                      <a:pt x="146104" y="244924"/>
                    </a:lnTo>
                    <a:cubicBezTo>
                      <a:pt x="148117" y="247994"/>
                      <a:pt x="147291" y="252123"/>
                      <a:pt x="144220" y="254136"/>
                    </a:cubicBezTo>
                    <a:cubicBezTo>
                      <a:pt x="143111" y="254884"/>
                      <a:pt x="141847" y="255245"/>
                      <a:pt x="140582" y="255245"/>
                    </a:cubicBezTo>
                    <a:close/>
                  </a:path>
                </a:pathLst>
              </a:custGeom>
              <a:grpFill/>
              <a:ln w="2573" cap="flat">
                <a:noFill/>
                <a:prstDash val="solid"/>
                <a:miter/>
              </a:ln>
            </p:spPr>
            <p:txBody>
              <a:bodyPr rtlCol="0" anchor="ctr"/>
              <a:lstStyle/>
              <a:p>
                <a:endParaRPr lang="en-GB" dirty="0"/>
              </a:p>
            </p:txBody>
          </p:sp>
        </p:grpSp>
        <p:grpSp>
          <p:nvGrpSpPr>
            <p:cNvPr id="1274" name="Gruppieren 1273">
              <a:extLst>
                <a:ext uri="{FF2B5EF4-FFF2-40B4-BE49-F238E27FC236}">
                  <a16:creationId xmlns:a16="http://schemas.microsoft.com/office/drawing/2014/main" id="{D8B64B65-AFB1-4B6F-8B1D-206A6ACD608D}"/>
                </a:ext>
              </a:extLst>
            </p:cNvPr>
            <p:cNvGrpSpPr/>
            <p:nvPr/>
          </p:nvGrpSpPr>
          <p:grpSpPr>
            <a:xfrm>
              <a:off x="592901" y="2672746"/>
              <a:ext cx="404969" cy="208595"/>
              <a:chOff x="885277" y="2711740"/>
              <a:chExt cx="385808" cy="198725"/>
            </a:xfrm>
          </p:grpSpPr>
          <p:grpSp>
            <p:nvGrpSpPr>
              <p:cNvPr id="1275" name="Grafik 312">
                <a:extLst>
                  <a:ext uri="{FF2B5EF4-FFF2-40B4-BE49-F238E27FC236}">
                    <a16:creationId xmlns:a16="http://schemas.microsoft.com/office/drawing/2014/main" id="{DB4B2455-4B05-451C-A080-9345FAD6F16D}"/>
                  </a:ext>
                </a:extLst>
              </p:cNvPr>
              <p:cNvGrpSpPr/>
              <p:nvPr/>
            </p:nvGrpSpPr>
            <p:grpSpPr>
              <a:xfrm>
                <a:off x="965112" y="2724208"/>
                <a:ext cx="226164" cy="186257"/>
                <a:chOff x="965112" y="2724208"/>
                <a:chExt cx="226164" cy="186257"/>
              </a:xfrm>
              <a:solidFill>
                <a:schemeClr val="accent1"/>
              </a:solidFill>
            </p:grpSpPr>
            <p:sp>
              <p:nvSpPr>
                <p:cNvPr id="1284" name="Freihandform: Form 1283">
                  <a:extLst>
                    <a:ext uri="{FF2B5EF4-FFF2-40B4-BE49-F238E27FC236}">
                      <a16:creationId xmlns:a16="http://schemas.microsoft.com/office/drawing/2014/main" id="{8DE29469-57AC-4C89-9032-E073D386A5E8}"/>
                    </a:ext>
                  </a:extLst>
                </p:cNvPr>
                <p:cNvSpPr/>
                <p:nvPr/>
              </p:nvSpPr>
              <p:spPr>
                <a:xfrm>
                  <a:off x="965131" y="2724244"/>
                  <a:ext cx="226101" cy="186221"/>
                </a:xfrm>
                <a:custGeom>
                  <a:avLst/>
                  <a:gdLst>
                    <a:gd name="connsiteX0" fmla="*/ 113051 w 226101"/>
                    <a:gd name="connsiteY0" fmla="*/ 186222 h 186221"/>
                    <a:gd name="connsiteX1" fmla="*/ 108045 w 226101"/>
                    <a:gd name="connsiteY1" fmla="*/ 183951 h 186221"/>
                    <a:gd name="connsiteX2" fmla="*/ 1633 w 226101"/>
                    <a:gd name="connsiteY2" fmla="*/ 61876 h 186221"/>
                    <a:gd name="connsiteX3" fmla="*/ 1736 w 226101"/>
                    <a:gd name="connsiteY3" fmla="*/ 53026 h 186221"/>
                    <a:gd name="connsiteX4" fmla="*/ 48285 w 226101"/>
                    <a:gd name="connsiteY4" fmla="*/ 2168 h 186221"/>
                    <a:gd name="connsiteX5" fmla="*/ 53187 w 226101"/>
                    <a:gd name="connsiteY5" fmla="*/ 0 h 186221"/>
                    <a:gd name="connsiteX6" fmla="*/ 172914 w 226101"/>
                    <a:gd name="connsiteY6" fmla="*/ 0 h 186221"/>
                    <a:gd name="connsiteX7" fmla="*/ 177817 w 226101"/>
                    <a:gd name="connsiteY7" fmla="*/ 2168 h 186221"/>
                    <a:gd name="connsiteX8" fmla="*/ 224366 w 226101"/>
                    <a:gd name="connsiteY8" fmla="*/ 53026 h 186221"/>
                    <a:gd name="connsiteX9" fmla="*/ 224469 w 226101"/>
                    <a:gd name="connsiteY9" fmla="*/ 61876 h 186221"/>
                    <a:gd name="connsiteX10" fmla="*/ 118057 w 226101"/>
                    <a:gd name="connsiteY10" fmla="*/ 183951 h 186221"/>
                    <a:gd name="connsiteX11" fmla="*/ 113051 w 226101"/>
                    <a:gd name="connsiteY11" fmla="*/ 186222 h 186221"/>
                    <a:gd name="connsiteX12" fmla="*/ 15540 w 226101"/>
                    <a:gd name="connsiteY12" fmla="*/ 57593 h 186221"/>
                    <a:gd name="connsiteX13" fmla="*/ 113051 w 226101"/>
                    <a:gd name="connsiteY13" fmla="*/ 169450 h 186221"/>
                    <a:gd name="connsiteX14" fmla="*/ 210561 w 226101"/>
                    <a:gd name="connsiteY14" fmla="*/ 57619 h 186221"/>
                    <a:gd name="connsiteX15" fmla="*/ 169998 w 226101"/>
                    <a:gd name="connsiteY15" fmla="*/ 13289 h 186221"/>
                    <a:gd name="connsiteX16" fmla="*/ 56129 w 226101"/>
                    <a:gd name="connsiteY16" fmla="*/ 13289 h 186221"/>
                    <a:gd name="connsiteX17" fmla="*/ 15540 w 226101"/>
                    <a:gd name="connsiteY17" fmla="*/ 57593 h 186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101" h="186221">
                      <a:moveTo>
                        <a:pt x="113051" y="186222"/>
                      </a:moveTo>
                      <a:cubicBezTo>
                        <a:pt x="111115" y="186222"/>
                        <a:pt x="109309" y="185396"/>
                        <a:pt x="108045" y="183951"/>
                      </a:cubicBezTo>
                      <a:lnTo>
                        <a:pt x="1633" y="61876"/>
                      </a:lnTo>
                      <a:cubicBezTo>
                        <a:pt x="-587" y="59322"/>
                        <a:pt x="-535" y="55503"/>
                        <a:pt x="1736" y="53026"/>
                      </a:cubicBezTo>
                      <a:lnTo>
                        <a:pt x="48285" y="2168"/>
                      </a:lnTo>
                      <a:cubicBezTo>
                        <a:pt x="49549" y="800"/>
                        <a:pt x="51329" y="0"/>
                        <a:pt x="53187" y="0"/>
                      </a:cubicBezTo>
                      <a:lnTo>
                        <a:pt x="172914" y="0"/>
                      </a:lnTo>
                      <a:cubicBezTo>
                        <a:pt x="174772" y="0"/>
                        <a:pt x="176552" y="774"/>
                        <a:pt x="177817" y="2168"/>
                      </a:cubicBezTo>
                      <a:lnTo>
                        <a:pt x="224366" y="53026"/>
                      </a:lnTo>
                      <a:cubicBezTo>
                        <a:pt x="226636" y="55529"/>
                        <a:pt x="226688" y="59347"/>
                        <a:pt x="224469" y="61876"/>
                      </a:cubicBezTo>
                      <a:lnTo>
                        <a:pt x="118057" y="183951"/>
                      </a:lnTo>
                      <a:cubicBezTo>
                        <a:pt x="116792" y="185396"/>
                        <a:pt x="114986" y="186222"/>
                        <a:pt x="113051" y="186222"/>
                      </a:cubicBezTo>
                      <a:close/>
                      <a:moveTo>
                        <a:pt x="15540" y="57593"/>
                      </a:moveTo>
                      <a:lnTo>
                        <a:pt x="113051" y="169450"/>
                      </a:lnTo>
                      <a:lnTo>
                        <a:pt x="210561" y="57619"/>
                      </a:lnTo>
                      <a:lnTo>
                        <a:pt x="169998" y="13289"/>
                      </a:lnTo>
                      <a:lnTo>
                        <a:pt x="56129" y="13289"/>
                      </a:lnTo>
                      <a:lnTo>
                        <a:pt x="15540" y="57593"/>
                      </a:lnTo>
                      <a:close/>
                    </a:path>
                  </a:pathLst>
                </a:custGeom>
                <a:solidFill>
                  <a:schemeClr val="accent1"/>
                </a:solidFill>
                <a:ln w="2573" cap="flat">
                  <a:noFill/>
                  <a:prstDash val="solid"/>
                  <a:miter/>
                </a:ln>
              </p:spPr>
              <p:txBody>
                <a:bodyPr rtlCol="0" anchor="ctr"/>
                <a:lstStyle/>
                <a:p>
                  <a:endParaRPr lang="en-GB" dirty="0"/>
                </a:p>
              </p:txBody>
            </p:sp>
            <p:sp>
              <p:nvSpPr>
                <p:cNvPr id="1285" name="Freihandform: Form 1284">
                  <a:extLst>
                    <a:ext uri="{FF2B5EF4-FFF2-40B4-BE49-F238E27FC236}">
                      <a16:creationId xmlns:a16="http://schemas.microsoft.com/office/drawing/2014/main" id="{2F7F9287-2BFE-4ACE-B405-197C0AC915E2}"/>
                    </a:ext>
                  </a:extLst>
                </p:cNvPr>
                <p:cNvSpPr/>
                <p:nvPr/>
              </p:nvSpPr>
              <p:spPr>
                <a:xfrm>
                  <a:off x="965112" y="2775077"/>
                  <a:ext cx="226164" cy="13314"/>
                </a:xfrm>
                <a:custGeom>
                  <a:avLst/>
                  <a:gdLst>
                    <a:gd name="connsiteX0" fmla="*/ 219482 w 226164"/>
                    <a:gd name="connsiteY0" fmla="*/ 13314 h 13314"/>
                    <a:gd name="connsiteX1" fmla="*/ 6657 w 226164"/>
                    <a:gd name="connsiteY1" fmla="*/ 13314 h 13314"/>
                    <a:gd name="connsiteX2" fmla="*/ 0 w 226164"/>
                    <a:gd name="connsiteY2" fmla="*/ 6657 h 13314"/>
                    <a:gd name="connsiteX3" fmla="*/ 6657 w 226164"/>
                    <a:gd name="connsiteY3" fmla="*/ 0 h 13314"/>
                    <a:gd name="connsiteX4" fmla="*/ 219508 w 226164"/>
                    <a:gd name="connsiteY4" fmla="*/ 0 h 13314"/>
                    <a:gd name="connsiteX5" fmla="*/ 226165 w 226164"/>
                    <a:gd name="connsiteY5" fmla="*/ 6657 h 13314"/>
                    <a:gd name="connsiteX6" fmla="*/ 219482 w 226164"/>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164" h="13314">
                      <a:moveTo>
                        <a:pt x="219482" y="13314"/>
                      </a:moveTo>
                      <a:lnTo>
                        <a:pt x="6657" y="13314"/>
                      </a:lnTo>
                      <a:cubicBezTo>
                        <a:pt x="2993" y="13314"/>
                        <a:pt x="0" y="10347"/>
                        <a:pt x="0" y="6657"/>
                      </a:cubicBezTo>
                      <a:cubicBezTo>
                        <a:pt x="0" y="2993"/>
                        <a:pt x="2967" y="0"/>
                        <a:pt x="6657" y="0"/>
                      </a:cubicBezTo>
                      <a:lnTo>
                        <a:pt x="219508" y="0"/>
                      </a:lnTo>
                      <a:cubicBezTo>
                        <a:pt x="223172" y="0"/>
                        <a:pt x="226165" y="2967"/>
                        <a:pt x="226165" y="6657"/>
                      </a:cubicBezTo>
                      <a:cubicBezTo>
                        <a:pt x="226139" y="10347"/>
                        <a:pt x="223172" y="13314"/>
                        <a:pt x="219482" y="13314"/>
                      </a:cubicBezTo>
                      <a:close/>
                    </a:path>
                  </a:pathLst>
                </a:custGeom>
                <a:solidFill>
                  <a:schemeClr val="accent1"/>
                </a:solidFill>
                <a:ln w="2573" cap="flat">
                  <a:noFill/>
                  <a:prstDash val="solid"/>
                  <a:miter/>
                </a:ln>
              </p:spPr>
              <p:txBody>
                <a:bodyPr rtlCol="0" anchor="ctr"/>
                <a:lstStyle/>
                <a:p>
                  <a:endParaRPr lang="en-GB" dirty="0"/>
                </a:p>
              </p:txBody>
            </p:sp>
            <p:sp>
              <p:nvSpPr>
                <p:cNvPr id="1286" name="Freihandform: Form 1285">
                  <a:extLst>
                    <a:ext uri="{FF2B5EF4-FFF2-40B4-BE49-F238E27FC236}">
                      <a16:creationId xmlns:a16="http://schemas.microsoft.com/office/drawing/2014/main" id="{E88C1DF9-5A80-4DA7-8FFF-0BAFC59E583A}"/>
                    </a:ext>
                  </a:extLst>
                </p:cNvPr>
                <p:cNvSpPr/>
                <p:nvPr/>
              </p:nvSpPr>
              <p:spPr>
                <a:xfrm>
                  <a:off x="1071537" y="2724234"/>
                  <a:ext cx="73177" cy="186231"/>
                </a:xfrm>
                <a:custGeom>
                  <a:avLst/>
                  <a:gdLst>
                    <a:gd name="connsiteX0" fmla="*/ 6644 w 73177"/>
                    <a:gd name="connsiteY0" fmla="*/ 186232 h 186231"/>
                    <a:gd name="connsiteX1" fmla="*/ 4477 w 73177"/>
                    <a:gd name="connsiteY1" fmla="*/ 185871 h 186231"/>
                    <a:gd name="connsiteX2" fmla="*/ 374 w 73177"/>
                    <a:gd name="connsiteY2" fmla="*/ 177407 h 186231"/>
                    <a:gd name="connsiteX3" fmla="*/ 60237 w 73177"/>
                    <a:gd name="connsiteY3" fmla="*/ 4474 h 186231"/>
                    <a:gd name="connsiteX4" fmla="*/ 68701 w 73177"/>
                    <a:gd name="connsiteY4" fmla="*/ 371 h 186231"/>
                    <a:gd name="connsiteX5" fmla="*/ 72804 w 73177"/>
                    <a:gd name="connsiteY5" fmla="*/ 8835 h 186231"/>
                    <a:gd name="connsiteX6" fmla="*/ 12940 w 73177"/>
                    <a:gd name="connsiteY6" fmla="*/ 181768 h 186231"/>
                    <a:gd name="connsiteX7" fmla="*/ 6644 w 73177"/>
                    <a:gd name="connsiteY7" fmla="*/ 186232 h 186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77" h="186231">
                      <a:moveTo>
                        <a:pt x="6644" y="186232"/>
                      </a:moveTo>
                      <a:cubicBezTo>
                        <a:pt x="5922" y="186232"/>
                        <a:pt x="5199" y="186103"/>
                        <a:pt x="4477" y="185871"/>
                      </a:cubicBezTo>
                      <a:cubicBezTo>
                        <a:pt x="993" y="184658"/>
                        <a:pt x="-839" y="180891"/>
                        <a:pt x="374" y="177407"/>
                      </a:cubicBezTo>
                      <a:lnTo>
                        <a:pt x="60237" y="4474"/>
                      </a:lnTo>
                      <a:cubicBezTo>
                        <a:pt x="61450" y="1017"/>
                        <a:pt x="65218" y="-841"/>
                        <a:pt x="68701" y="371"/>
                      </a:cubicBezTo>
                      <a:cubicBezTo>
                        <a:pt x="72184" y="1584"/>
                        <a:pt x="74016" y="5351"/>
                        <a:pt x="72804" y="8835"/>
                      </a:cubicBezTo>
                      <a:lnTo>
                        <a:pt x="12940" y="181768"/>
                      </a:lnTo>
                      <a:cubicBezTo>
                        <a:pt x="11986" y="184503"/>
                        <a:pt x="9405" y="186232"/>
                        <a:pt x="6644" y="186232"/>
                      </a:cubicBezTo>
                      <a:close/>
                    </a:path>
                  </a:pathLst>
                </a:custGeom>
                <a:solidFill>
                  <a:schemeClr val="accent1"/>
                </a:solidFill>
                <a:ln w="2573" cap="flat">
                  <a:noFill/>
                  <a:prstDash val="solid"/>
                  <a:miter/>
                </a:ln>
              </p:spPr>
              <p:txBody>
                <a:bodyPr rtlCol="0" anchor="ctr"/>
                <a:lstStyle/>
                <a:p>
                  <a:endParaRPr lang="en-GB" dirty="0"/>
                </a:p>
              </p:txBody>
            </p:sp>
            <p:sp>
              <p:nvSpPr>
                <p:cNvPr id="1287" name="Freihandform: Form 1286">
                  <a:extLst>
                    <a:ext uri="{FF2B5EF4-FFF2-40B4-BE49-F238E27FC236}">
                      <a16:creationId xmlns:a16="http://schemas.microsoft.com/office/drawing/2014/main" id="{84E39E5B-3708-4432-A52A-CFBFD4A1C875}"/>
                    </a:ext>
                  </a:extLst>
                </p:cNvPr>
                <p:cNvSpPr/>
                <p:nvPr/>
              </p:nvSpPr>
              <p:spPr>
                <a:xfrm>
                  <a:off x="1011651" y="2724208"/>
                  <a:ext cx="73172" cy="186257"/>
                </a:xfrm>
                <a:custGeom>
                  <a:avLst/>
                  <a:gdLst>
                    <a:gd name="connsiteX0" fmla="*/ 66531 w 73172"/>
                    <a:gd name="connsiteY0" fmla="*/ 186258 h 186257"/>
                    <a:gd name="connsiteX1" fmla="*/ 60235 w 73172"/>
                    <a:gd name="connsiteY1" fmla="*/ 181768 h 186257"/>
                    <a:gd name="connsiteX2" fmla="*/ 371 w 73172"/>
                    <a:gd name="connsiteY2" fmla="*/ 8835 h 186257"/>
                    <a:gd name="connsiteX3" fmla="*/ 4474 w 73172"/>
                    <a:gd name="connsiteY3" fmla="*/ 371 h 186257"/>
                    <a:gd name="connsiteX4" fmla="*/ 12938 w 73172"/>
                    <a:gd name="connsiteY4" fmla="*/ 4474 h 186257"/>
                    <a:gd name="connsiteX5" fmla="*/ 72801 w 73172"/>
                    <a:gd name="connsiteY5" fmla="*/ 177407 h 186257"/>
                    <a:gd name="connsiteX6" fmla="*/ 68698 w 73172"/>
                    <a:gd name="connsiteY6" fmla="*/ 185871 h 186257"/>
                    <a:gd name="connsiteX7" fmla="*/ 66531 w 73172"/>
                    <a:gd name="connsiteY7" fmla="*/ 186258 h 186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72" h="186257">
                      <a:moveTo>
                        <a:pt x="66531" y="186258"/>
                      </a:moveTo>
                      <a:cubicBezTo>
                        <a:pt x="63770" y="186258"/>
                        <a:pt x="61190" y="184529"/>
                        <a:pt x="60235" y="181768"/>
                      </a:cubicBezTo>
                      <a:lnTo>
                        <a:pt x="371" y="8835"/>
                      </a:lnTo>
                      <a:cubicBezTo>
                        <a:pt x="-841" y="5352"/>
                        <a:pt x="1017" y="1584"/>
                        <a:pt x="4474" y="371"/>
                      </a:cubicBezTo>
                      <a:cubicBezTo>
                        <a:pt x="7958" y="-841"/>
                        <a:pt x="11725" y="1017"/>
                        <a:pt x="12938" y="4474"/>
                      </a:cubicBezTo>
                      <a:lnTo>
                        <a:pt x="72801" y="177407"/>
                      </a:lnTo>
                      <a:cubicBezTo>
                        <a:pt x="74014" y="180891"/>
                        <a:pt x="72156" y="184658"/>
                        <a:pt x="68698" y="185871"/>
                      </a:cubicBezTo>
                      <a:cubicBezTo>
                        <a:pt x="67976" y="186129"/>
                        <a:pt x="67253" y="186258"/>
                        <a:pt x="66531" y="186258"/>
                      </a:cubicBezTo>
                      <a:close/>
                    </a:path>
                  </a:pathLst>
                </a:custGeom>
                <a:solidFill>
                  <a:schemeClr val="accent1"/>
                </a:solidFill>
                <a:ln w="2573" cap="flat">
                  <a:noFill/>
                  <a:prstDash val="solid"/>
                  <a:miter/>
                </a:ln>
              </p:spPr>
              <p:txBody>
                <a:bodyPr rtlCol="0" anchor="ctr"/>
                <a:lstStyle/>
                <a:p>
                  <a:endParaRPr lang="en-GB" dirty="0"/>
                </a:p>
              </p:txBody>
            </p:sp>
            <p:sp>
              <p:nvSpPr>
                <p:cNvPr id="1288" name="Freihandform: Form 1287">
                  <a:extLst>
                    <a:ext uri="{FF2B5EF4-FFF2-40B4-BE49-F238E27FC236}">
                      <a16:creationId xmlns:a16="http://schemas.microsoft.com/office/drawing/2014/main" id="{D7AD839B-6697-4D63-A5B6-B26CD039F759}"/>
                    </a:ext>
                  </a:extLst>
                </p:cNvPr>
                <p:cNvSpPr/>
                <p:nvPr/>
              </p:nvSpPr>
              <p:spPr>
                <a:xfrm>
                  <a:off x="1028315" y="2724341"/>
                  <a:ext cx="99810" cy="64049"/>
                </a:xfrm>
                <a:custGeom>
                  <a:avLst/>
                  <a:gdLst>
                    <a:gd name="connsiteX0" fmla="*/ 93113 w 99810"/>
                    <a:gd name="connsiteY0" fmla="*/ 64050 h 64049"/>
                    <a:gd name="connsiteX1" fmla="*/ 6646 w 99810"/>
                    <a:gd name="connsiteY1" fmla="*/ 64050 h 64049"/>
                    <a:gd name="connsiteX2" fmla="*/ 608 w 99810"/>
                    <a:gd name="connsiteY2" fmla="*/ 60180 h 64049"/>
                    <a:gd name="connsiteX3" fmla="*/ 1589 w 99810"/>
                    <a:gd name="connsiteY3" fmla="*/ 53084 h 64049"/>
                    <a:gd name="connsiteX4" fmla="*/ 44835 w 99810"/>
                    <a:gd name="connsiteY4" fmla="*/ 2226 h 64049"/>
                    <a:gd name="connsiteX5" fmla="*/ 54976 w 99810"/>
                    <a:gd name="connsiteY5" fmla="*/ 2226 h 64049"/>
                    <a:gd name="connsiteX6" fmla="*/ 98222 w 99810"/>
                    <a:gd name="connsiteY6" fmla="*/ 53084 h 64049"/>
                    <a:gd name="connsiteX7" fmla="*/ 99202 w 99810"/>
                    <a:gd name="connsiteY7" fmla="*/ 60180 h 64049"/>
                    <a:gd name="connsiteX8" fmla="*/ 93113 w 99810"/>
                    <a:gd name="connsiteY8" fmla="*/ 64050 h 64049"/>
                    <a:gd name="connsiteX9" fmla="*/ 21019 w 99810"/>
                    <a:gd name="connsiteY9" fmla="*/ 50761 h 64049"/>
                    <a:gd name="connsiteX10" fmla="*/ 78714 w 99810"/>
                    <a:gd name="connsiteY10" fmla="*/ 50761 h 64049"/>
                    <a:gd name="connsiteX11" fmla="*/ 49867 w 99810"/>
                    <a:gd name="connsiteY11" fmla="*/ 16830 h 64049"/>
                    <a:gd name="connsiteX12" fmla="*/ 21019 w 99810"/>
                    <a:gd name="connsiteY12" fmla="*/ 50761 h 6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10" h="64049">
                      <a:moveTo>
                        <a:pt x="93113" y="64050"/>
                      </a:moveTo>
                      <a:lnTo>
                        <a:pt x="6646" y="64050"/>
                      </a:lnTo>
                      <a:cubicBezTo>
                        <a:pt x="4066" y="64050"/>
                        <a:pt x="1692" y="62553"/>
                        <a:pt x="608" y="60180"/>
                      </a:cubicBezTo>
                      <a:cubicBezTo>
                        <a:pt x="-475" y="57831"/>
                        <a:pt x="-88" y="55045"/>
                        <a:pt x="1589" y="53084"/>
                      </a:cubicBezTo>
                      <a:lnTo>
                        <a:pt x="44835" y="2226"/>
                      </a:lnTo>
                      <a:cubicBezTo>
                        <a:pt x="47364" y="-742"/>
                        <a:pt x="52447" y="-742"/>
                        <a:pt x="54976" y="2226"/>
                      </a:cubicBezTo>
                      <a:lnTo>
                        <a:pt x="98222" y="53084"/>
                      </a:lnTo>
                      <a:cubicBezTo>
                        <a:pt x="99899" y="55070"/>
                        <a:pt x="100286" y="57831"/>
                        <a:pt x="99202" y="60180"/>
                      </a:cubicBezTo>
                      <a:cubicBezTo>
                        <a:pt x="98041" y="62553"/>
                        <a:pt x="95693" y="64050"/>
                        <a:pt x="93113" y="64050"/>
                      </a:cubicBezTo>
                      <a:close/>
                      <a:moveTo>
                        <a:pt x="21019" y="50761"/>
                      </a:moveTo>
                      <a:lnTo>
                        <a:pt x="78714" y="50761"/>
                      </a:lnTo>
                      <a:lnTo>
                        <a:pt x="49867" y="16830"/>
                      </a:lnTo>
                      <a:lnTo>
                        <a:pt x="21019" y="50761"/>
                      </a:lnTo>
                      <a:close/>
                    </a:path>
                  </a:pathLst>
                </a:custGeom>
                <a:solidFill>
                  <a:schemeClr val="accent1"/>
                </a:solidFill>
                <a:ln w="2573" cap="flat">
                  <a:noFill/>
                  <a:prstDash val="solid"/>
                  <a:miter/>
                </a:ln>
              </p:spPr>
              <p:txBody>
                <a:bodyPr rtlCol="0" anchor="ctr"/>
                <a:lstStyle/>
                <a:p>
                  <a:endParaRPr lang="en-GB" dirty="0"/>
                </a:p>
              </p:txBody>
            </p:sp>
          </p:grpSp>
          <p:grpSp>
            <p:nvGrpSpPr>
              <p:cNvPr id="1276" name="Grafik 312">
                <a:extLst>
                  <a:ext uri="{FF2B5EF4-FFF2-40B4-BE49-F238E27FC236}">
                    <a16:creationId xmlns:a16="http://schemas.microsoft.com/office/drawing/2014/main" id="{F03B1A7D-F55D-4597-B188-3D7D0B1FDAAF}"/>
                  </a:ext>
                </a:extLst>
              </p:cNvPr>
              <p:cNvGrpSpPr/>
              <p:nvPr/>
            </p:nvGrpSpPr>
            <p:grpSpPr>
              <a:xfrm>
                <a:off x="1217854" y="2711740"/>
                <a:ext cx="53231" cy="146345"/>
                <a:chOff x="1217854" y="2711740"/>
                <a:chExt cx="53231" cy="146345"/>
              </a:xfrm>
              <a:solidFill>
                <a:schemeClr val="accent1"/>
              </a:solidFill>
            </p:grpSpPr>
            <p:sp>
              <p:nvSpPr>
                <p:cNvPr id="1281" name="Freihandform: Form 1280">
                  <a:extLst>
                    <a:ext uri="{FF2B5EF4-FFF2-40B4-BE49-F238E27FC236}">
                      <a16:creationId xmlns:a16="http://schemas.microsoft.com/office/drawing/2014/main" id="{2E50FC89-7C4E-4ACC-B7B2-815A35ADDDAF}"/>
                    </a:ext>
                  </a:extLst>
                </p:cNvPr>
                <p:cNvSpPr/>
                <p:nvPr/>
              </p:nvSpPr>
              <p:spPr>
                <a:xfrm>
                  <a:off x="1217854" y="2778250"/>
                  <a:ext cx="53231" cy="13314"/>
                </a:xfrm>
                <a:custGeom>
                  <a:avLst/>
                  <a:gdLst>
                    <a:gd name="connsiteX0" fmla="*/ 46575 w 53231"/>
                    <a:gd name="connsiteY0" fmla="*/ 13314 h 13314"/>
                    <a:gd name="connsiteX1" fmla="*/ 6657 w 53231"/>
                    <a:gd name="connsiteY1" fmla="*/ 13314 h 13314"/>
                    <a:gd name="connsiteX2" fmla="*/ 0 w 53231"/>
                    <a:gd name="connsiteY2" fmla="*/ 6657 h 13314"/>
                    <a:gd name="connsiteX3" fmla="*/ 6657 w 53231"/>
                    <a:gd name="connsiteY3" fmla="*/ 0 h 13314"/>
                    <a:gd name="connsiteX4" fmla="*/ 46575 w 53231"/>
                    <a:gd name="connsiteY4" fmla="*/ 0 h 13314"/>
                    <a:gd name="connsiteX5" fmla="*/ 53232 w 53231"/>
                    <a:gd name="connsiteY5" fmla="*/ 6657 h 13314"/>
                    <a:gd name="connsiteX6" fmla="*/ 46575 w 53231"/>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231" h="13314">
                      <a:moveTo>
                        <a:pt x="46575" y="13314"/>
                      </a:moveTo>
                      <a:lnTo>
                        <a:pt x="6657" y="13314"/>
                      </a:lnTo>
                      <a:cubicBezTo>
                        <a:pt x="2993" y="13314"/>
                        <a:pt x="0" y="10347"/>
                        <a:pt x="0" y="6657"/>
                      </a:cubicBezTo>
                      <a:cubicBezTo>
                        <a:pt x="0" y="2993"/>
                        <a:pt x="2967" y="0"/>
                        <a:pt x="6657" y="0"/>
                      </a:cubicBezTo>
                      <a:lnTo>
                        <a:pt x="46575" y="0"/>
                      </a:lnTo>
                      <a:cubicBezTo>
                        <a:pt x="50239" y="0"/>
                        <a:pt x="53232" y="2967"/>
                        <a:pt x="53232" y="6657"/>
                      </a:cubicBezTo>
                      <a:cubicBezTo>
                        <a:pt x="53206" y="10347"/>
                        <a:pt x="50239" y="13314"/>
                        <a:pt x="46575" y="13314"/>
                      </a:cubicBezTo>
                      <a:close/>
                    </a:path>
                  </a:pathLst>
                </a:custGeom>
                <a:solidFill>
                  <a:schemeClr val="accent1"/>
                </a:solidFill>
                <a:ln w="2573" cap="flat">
                  <a:noFill/>
                  <a:prstDash val="solid"/>
                  <a:miter/>
                </a:ln>
              </p:spPr>
              <p:txBody>
                <a:bodyPr rtlCol="0" anchor="ctr"/>
                <a:lstStyle/>
                <a:p>
                  <a:endParaRPr lang="en-GB" dirty="0"/>
                </a:p>
              </p:txBody>
            </p:sp>
            <p:sp>
              <p:nvSpPr>
                <p:cNvPr id="1282" name="Freihandform: Form 1281">
                  <a:extLst>
                    <a:ext uri="{FF2B5EF4-FFF2-40B4-BE49-F238E27FC236}">
                      <a16:creationId xmlns:a16="http://schemas.microsoft.com/office/drawing/2014/main" id="{6DC5DBAA-D61B-40F0-92E9-D600B8F7FBAC}"/>
                    </a:ext>
                  </a:extLst>
                </p:cNvPr>
                <p:cNvSpPr/>
                <p:nvPr/>
              </p:nvSpPr>
              <p:spPr>
                <a:xfrm>
                  <a:off x="1217864" y="2820438"/>
                  <a:ext cx="39897" cy="37647"/>
                </a:xfrm>
                <a:custGeom>
                  <a:avLst/>
                  <a:gdLst>
                    <a:gd name="connsiteX0" fmla="*/ 33251 w 39897"/>
                    <a:gd name="connsiteY0" fmla="*/ 37647 h 37647"/>
                    <a:gd name="connsiteX1" fmla="*/ 28761 w 39897"/>
                    <a:gd name="connsiteY1" fmla="*/ 35893 h 37647"/>
                    <a:gd name="connsiteX2" fmla="*/ 2158 w 39897"/>
                    <a:gd name="connsiteY2" fmla="*/ 11560 h 37647"/>
                    <a:gd name="connsiteX3" fmla="*/ 1745 w 39897"/>
                    <a:gd name="connsiteY3" fmla="*/ 2168 h 37647"/>
                    <a:gd name="connsiteX4" fmla="*/ 11137 w 39897"/>
                    <a:gd name="connsiteY4" fmla="*/ 1755 h 37647"/>
                    <a:gd name="connsiteX5" fmla="*/ 37740 w 39897"/>
                    <a:gd name="connsiteY5" fmla="*/ 26087 h 37647"/>
                    <a:gd name="connsiteX6" fmla="*/ 38153 w 39897"/>
                    <a:gd name="connsiteY6" fmla="*/ 35480 h 37647"/>
                    <a:gd name="connsiteX7" fmla="*/ 33251 w 39897"/>
                    <a:gd name="connsiteY7" fmla="*/ 37647 h 3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97" h="37647">
                      <a:moveTo>
                        <a:pt x="33251" y="37647"/>
                      </a:moveTo>
                      <a:cubicBezTo>
                        <a:pt x="31651" y="37647"/>
                        <a:pt x="30051" y="37080"/>
                        <a:pt x="28761" y="35893"/>
                      </a:cubicBezTo>
                      <a:lnTo>
                        <a:pt x="2158" y="11560"/>
                      </a:lnTo>
                      <a:cubicBezTo>
                        <a:pt x="-552" y="9083"/>
                        <a:pt x="-732" y="4877"/>
                        <a:pt x="1745" y="2168"/>
                      </a:cubicBezTo>
                      <a:cubicBezTo>
                        <a:pt x="4222" y="-541"/>
                        <a:pt x="8428" y="-748"/>
                        <a:pt x="11137" y="1755"/>
                      </a:cubicBezTo>
                      <a:lnTo>
                        <a:pt x="37740" y="26087"/>
                      </a:lnTo>
                      <a:cubicBezTo>
                        <a:pt x="40450" y="28565"/>
                        <a:pt x="40630" y="32770"/>
                        <a:pt x="38153" y="35480"/>
                      </a:cubicBezTo>
                      <a:cubicBezTo>
                        <a:pt x="36837" y="36925"/>
                        <a:pt x="35057" y="37647"/>
                        <a:pt x="33251" y="37647"/>
                      </a:cubicBezTo>
                      <a:close/>
                    </a:path>
                  </a:pathLst>
                </a:custGeom>
                <a:solidFill>
                  <a:schemeClr val="accent1"/>
                </a:solidFill>
                <a:ln w="2573" cap="flat">
                  <a:noFill/>
                  <a:prstDash val="solid"/>
                  <a:miter/>
                </a:ln>
              </p:spPr>
              <p:txBody>
                <a:bodyPr rtlCol="0" anchor="ctr"/>
                <a:lstStyle/>
                <a:p>
                  <a:endParaRPr lang="en-GB" dirty="0"/>
                </a:p>
              </p:txBody>
            </p:sp>
            <p:sp>
              <p:nvSpPr>
                <p:cNvPr id="1283" name="Freihandform: Form 1282">
                  <a:extLst>
                    <a:ext uri="{FF2B5EF4-FFF2-40B4-BE49-F238E27FC236}">
                      <a16:creationId xmlns:a16="http://schemas.microsoft.com/office/drawing/2014/main" id="{2BDF1A10-E73C-4D29-AFC1-132869E6418F}"/>
                    </a:ext>
                  </a:extLst>
                </p:cNvPr>
                <p:cNvSpPr/>
                <p:nvPr/>
              </p:nvSpPr>
              <p:spPr>
                <a:xfrm>
                  <a:off x="1217864" y="2711740"/>
                  <a:ext cx="39897" cy="37637"/>
                </a:xfrm>
                <a:custGeom>
                  <a:avLst/>
                  <a:gdLst>
                    <a:gd name="connsiteX0" fmla="*/ 6647 w 39897"/>
                    <a:gd name="connsiteY0" fmla="*/ 37637 h 37637"/>
                    <a:gd name="connsiteX1" fmla="*/ 1745 w 39897"/>
                    <a:gd name="connsiteY1" fmla="*/ 35470 h 37637"/>
                    <a:gd name="connsiteX2" fmla="*/ 2158 w 39897"/>
                    <a:gd name="connsiteY2" fmla="*/ 26077 h 37637"/>
                    <a:gd name="connsiteX3" fmla="*/ 28761 w 39897"/>
                    <a:gd name="connsiteY3" fmla="*/ 1745 h 37637"/>
                    <a:gd name="connsiteX4" fmla="*/ 38153 w 39897"/>
                    <a:gd name="connsiteY4" fmla="*/ 2158 h 37637"/>
                    <a:gd name="connsiteX5" fmla="*/ 37740 w 39897"/>
                    <a:gd name="connsiteY5" fmla="*/ 11550 h 37637"/>
                    <a:gd name="connsiteX6" fmla="*/ 11137 w 39897"/>
                    <a:gd name="connsiteY6" fmla="*/ 35883 h 37637"/>
                    <a:gd name="connsiteX7" fmla="*/ 6647 w 39897"/>
                    <a:gd name="connsiteY7" fmla="*/ 37637 h 37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97" h="37637">
                      <a:moveTo>
                        <a:pt x="6647" y="37637"/>
                      </a:moveTo>
                      <a:cubicBezTo>
                        <a:pt x="4841" y="37637"/>
                        <a:pt x="3035" y="36915"/>
                        <a:pt x="1745" y="35470"/>
                      </a:cubicBezTo>
                      <a:cubicBezTo>
                        <a:pt x="-732" y="32760"/>
                        <a:pt x="-552" y="28554"/>
                        <a:pt x="2158" y="26077"/>
                      </a:cubicBezTo>
                      <a:lnTo>
                        <a:pt x="28761" y="1745"/>
                      </a:lnTo>
                      <a:cubicBezTo>
                        <a:pt x="31470" y="-732"/>
                        <a:pt x="35676" y="-552"/>
                        <a:pt x="38153" y="2158"/>
                      </a:cubicBezTo>
                      <a:cubicBezTo>
                        <a:pt x="40630" y="4867"/>
                        <a:pt x="40450" y="9073"/>
                        <a:pt x="37740" y="11550"/>
                      </a:cubicBezTo>
                      <a:lnTo>
                        <a:pt x="11137" y="35883"/>
                      </a:lnTo>
                      <a:cubicBezTo>
                        <a:pt x="9873" y="37069"/>
                        <a:pt x="8247" y="37637"/>
                        <a:pt x="6647" y="37637"/>
                      </a:cubicBezTo>
                      <a:close/>
                    </a:path>
                  </a:pathLst>
                </a:custGeom>
                <a:solidFill>
                  <a:schemeClr val="accent1"/>
                </a:solidFill>
                <a:ln w="2573" cap="flat">
                  <a:noFill/>
                  <a:prstDash val="solid"/>
                  <a:miter/>
                </a:ln>
              </p:spPr>
              <p:txBody>
                <a:bodyPr rtlCol="0" anchor="ctr"/>
                <a:lstStyle/>
                <a:p>
                  <a:endParaRPr lang="en-GB" dirty="0"/>
                </a:p>
              </p:txBody>
            </p:sp>
          </p:grpSp>
          <p:grpSp>
            <p:nvGrpSpPr>
              <p:cNvPr id="1277" name="Grafik 312">
                <a:extLst>
                  <a:ext uri="{FF2B5EF4-FFF2-40B4-BE49-F238E27FC236}">
                    <a16:creationId xmlns:a16="http://schemas.microsoft.com/office/drawing/2014/main" id="{D26B536A-A3BA-4907-A3B2-E93B755E40EB}"/>
                  </a:ext>
                </a:extLst>
              </p:cNvPr>
              <p:cNvGrpSpPr/>
              <p:nvPr/>
            </p:nvGrpSpPr>
            <p:grpSpPr>
              <a:xfrm>
                <a:off x="885277" y="2711755"/>
                <a:ext cx="53231" cy="146330"/>
                <a:chOff x="885277" y="2711755"/>
                <a:chExt cx="53231" cy="146330"/>
              </a:xfrm>
              <a:solidFill>
                <a:schemeClr val="accent1"/>
              </a:solidFill>
            </p:grpSpPr>
            <p:sp>
              <p:nvSpPr>
                <p:cNvPr id="1278" name="Freihandform: Form 1277">
                  <a:extLst>
                    <a:ext uri="{FF2B5EF4-FFF2-40B4-BE49-F238E27FC236}">
                      <a16:creationId xmlns:a16="http://schemas.microsoft.com/office/drawing/2014/main" id="{183C3286-15BE-440C-A1AC-78BCDE125F8E}"/>
                    </a:ext>
                  </a:extLst>
                </p:cNvPr>
                <p:cNvSpPr/>
                <p:nvPr/>
              </p:nvSpPr>
              <p:spPr>
                <a:xfrm>
                  <a:off x="885277" y="2778250"/>
                  <a:ext cx="53231" cy="13314"/>
                </a:xfrm>
                <a:custGeom>
                  <a:avLst/>
                  <a:gdLst>
                    <a:gd name="connsiteX0" fmla="*/ 46575 w 53231"/>
                    <a:gd name="connsiteY0" fmla="*/ 13314 h 13314"/>
                    <a:gd name="connsiteX1" fmla="*/ 6657 w 53231"/>
                    <a:gd name="connsiteY1" fmla="*/ 13314 h 13314"/>
                    <a:gd name="connsiteX2" fmla="*/ 0 w 53231"/>
                    <a:gd name="connsiteY2" fmla="*/ 6657 h 13314"/>
                    <a:gd name="connsiteX3" fmla="*/ 6657 w 53231"/>
                    <a:gd name="connsiteY3" fmla="*/ 0 h 13314"/>
                    <a:gd name="connsiteX4" fmla="*/ 46575 w 53231"/>
                    <a:gd name="connsiteY4" fmla="*/ 0 h 13314"/>
                    <a:gd name="connsiteX5" fmla="*/ 53232 w 53231"/>
                    <a:gd name="connsiteY5" fmla="*/ 6657 h 13314"/>
                    <a:gd name="connsiteX6" fmla="*/ 46575 w 53231"/>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231" h="13314">
                      <a:moveTo>
                        <a:pt x="46575" y="13314"/>
                      </a:moveTo>
                      <a:lnTo>
                        <a:pt x="6657" y="13314"/>
                      </a:lnTo>
                      <a:cubicBezTo>
                        <a:pt x="2993" y="13314"/>
                        <a:pt x="0" y="10347"/>
                        <a:pt x="0" y="6657"/>
                      </a:cubicBezTo>
                      <a:cubicBezTo>
                        <a:pt x="0" y="2993"/>
                        <a:pt x="2967" y="0"/>
                        <a:pt x="6657" y="0"/>
                      </a:cubicBezTo>
                      <a:lnTo>
                        <a:pt x="46575" y="0"/>
                      </a:lnTo>
                      <a:cubicBezTo>
                        <a:pt x="50239" y="0"/>
                        <a:pt x="53232" y="2967"/>
                        <a:pt x="53232" y="6657"/>
                      </a:cubicBezTo>
                      <a:cubicBezTo>
                        <a:pt x="53232" y="10347"/>
                        <a:pt x="50239" y="13314"/>
                        <a:pt x="46575" y="13314"/>
                      </a:cubicBezTo>
                      <a:close/>
                    </a:path>
                  </a:pathLst>
                </a:custGeom>
                <a:solidFill>
                  <a:schemeClr val="accent1"/>
                </a:solidFill>
                <a:ln w="2573" cap="flat">
                  <a:noFill/>
                  <a:prstDash val="solid"/>
                  <a:miter/>
                </a:ln>
              </p:spPr>
              <p:txBody>
                <a:bodyPr rtlCol="0" anchor="ctr"/>
                <a:lstStyle/>
                <a:p>
                  <a:endParaRPr lang="en-GB" dirty="0"/>
                </a:p>
              </p:txBody>
            </p:sp>
            <p:sp>
              <p:nvSpPr>
                <p:cNvPr id="1279" name="Freihandform: Form 1278">
                  <a:extLst>
                    <a:ext uri="{FF2B5EF4-FFF2-40B4-BE49-F238E27FC236}">
                      <a16:creationId xmlns:a16="http://schemas.microsoft.com/office/drawing/2014/main" id="{607C8314-387B-46BC-B75E-299B4422BC1C}"/>
                    </a:ext>
                  </a:extLst>
                </p:cNvPr>
                <p:cNvSpPr/>
                <p:nvPr/>
              </p:nvSpPr>
              <p:spPr>
                <a:xfrm>
                  <a:off x="898601" y="2820438"/>
                  <a:ext cx="39897" cy="37647"/>
                </a:xfrm>
                <a:custGeom>
                  <a:avLst/>
                  <a:gdLst>
                    <a:gd name="connsiteX0" fmla="*/ 6647 w 39897"/>
                    <a:gd name="connsiteY0" fmla="*/ 37647 h 37647"/>
                    <a:gd name="connsiteX1" fmla="*/ 1745 w 39897"/>
                    <a:gd name="connsiteY1" fmla="*/ 35480 h 37647"/>
                    <a:gd name="connsiteX2" fmla="*/ 2158 w 39897"/>
                    <a:gd name="connsiteY2" fmla="*/ 26087 h 37647"/>
                    <a:gd name="connsiteX3" fmla="*/ 28761 w 39897"/>
                    <a:gd name="connsiteY3" fmla="*/ 1755 h 37647"/>
                    <a:gd name="connsiteX4" fmla="*/ 38153 w 39897"/>
                    <a:gd name="connsiteY4" fmla="*/ 2168 h 37647"/>
                    <a:gd name="connsiteX5" fmla="*/ 37740 w 39897"/>
                    <a:gd name="connsiteY5" fmla="*/ 11560 h 37647"/>
                    <a:gd name="connsiteX6" fmla="*/ 11137 w 39897"/>
                    <a:gd name="connsiteY6" fmla="*/ 35893 h 37647"/>
                    <a:gd name="connsiteX7" fmla="*/ 6647 w 39897"/>
                    <a:gd name="connsiteY7" fmla="*/ 37647 h 3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97" h="37647">
                      <a:moveTo>
                        <a:pt x="6647" y="37647"/>
                      </a:moveTo>
                      <a:cubicBezTo>
                        <a:pt x="4841" y="37647"/>
                        <a:pt x="3061" y="36925"/>
                        <a:pt x="1745" y="35480"/>
                      </a:cubicBezTo>
                      <a:cubicBezTo>
                        <a:pt x="-732" y="32770"/>
                        <a:pt x="-552" y="28565"/>
                        <a:pt x="2158" y="26087"/>
                      </a:cubicBezTo>
                      <a:lnTo>
                        <a:pt x="28761" y="1755"/>
                      </a:lnTo>
                      <a:cubicBezTo>
                        <a:pt x="31470" y="-748"/>
                        <a:pt x="35676" y="-541"/>
                        <a:pt x="38153" y="2168"/>
                      </a:cubicBezTo>
                      <a:cubicBezTo>
                        <a:pt x="40630" y="4877"/>
                        <a:pt x="40450" y="9083"/>
                        <a:pt x="37740" y="11560"/>
                      </a:cubicBezTo>
                      <a:lnTo>
                        <a:pt x="11137" y="35893"/>
                      </a:lnTo>
                      <a:cubicBezTo>
                        <a:pt x="9847" y="37080"/>
                        <a:pt x="8247" y="37647"/>
                        <a:pt x="6647" y="37647"/>
                      </a:cubicBezTo>
                      <a:close/>
                    </a:path>
                  </a:pathLst>
                </a:custGeom>
                <a:solidFill>
                  <a:schemeClr val="accent1"/>
                </a:solidFill>
                <a:ln w="2573" cap="flat">
                  <a:noFill/>
                  <a:prstDash val="solid"/>
                  <a:miter/>
                </a:ln>
              </p:spPr>
              <p:txBody>
                <a:bodyPr rtlCol="0" anchor="ctr"/>
                <a:lstStyle/>
                <a:p>
                  <a:endParaRPr lang="en-GB" dirty="0"/>
                </a:p>
              </p:txBody>
            </p:sp>
            <p:sp>
              <p:nvSpPr>
                <p:cNvPr id="1280" name="Freihandform: Form 1279">
                  <a:extLst>
                    <a:ext uri="{FF2B5EF4-FFF2-40B4-BE49-F238E27FC236}">
                      <a16:creationId xmlns:a16="http://schemas.microsoft.com/office/drawing/2014/main" id="{81E8F78A-166A-45AD-AB47-61864BC3307E}"/>
                    </a:ext>
                  </a:extLst>
                </p:cNvPr>
                <p:cNvSpPr/>
                <p:nvPr/>
              </p:nvSpPr>
              <p:spPr>
                <a:xfrm>
                  <a:off x="898601" y="2711755"/>
                  <a:ext cx="39897" cy="37621"/>
                </a:xfrm>
                <a:custGeom>
                  <a:avLst/>
                  <a:gdLst>
                    <a:gd name="connsiteX0" fmla="*/ 33251 w 39897"/>
                    <a:gd name="connsiteY0" fmla="*/ 37621 h 37621"/>
                    <a:gd name="connsiteX1" fmla="*/ 28761 w 39897"/>
                    <a:gd name="connsiteY1" fmla="*/ 35893 h 37621"/>
                    <a:gd name="connsiteX2" fmla="*/ 2158 w 39897"/>
                    <a:gd name="connsiteY2" fmla="*/ 11560 h 37621"/>
                    <a:gd name="connsiteX3" fmla="*/ 1745 w 39897"/>
                    <a:gd name="connsiteY3" fmla="*/ 2168 h 37621"/>
                    <a:gd name="connsiteX4" fmla="*/ 11137 w 39897"/>
                    <a:gd name="connsiteY4" fmla="*/ 1755 h 37621"/>
                    <a:gd name="connsiteX5" fmla="*/ 37740 w 39897"/>
                    <a:gd name="connsiteY5" fmla="*/ 26087 h 37621"/>
                    <a:gd name="connsiteX6" fmla="*/ 38153 w 39897"/>
                    <a:gd name="connsiteY6" fmla="*/ 35480 h 37621"/>
                    <a:gd name="connsiteX7" fmla="*/ 33251 w 39897"/>
                    <a:gd name="connsiteY7" fmla="*/ 37621 h 37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97" h="37621">
                      <a:moveTo>
                        <a:pt x="33251" y="37621"/>
                      </a:moveTo>
                      <a:cubicBezTo>
                        <a:pt x="31651" y="37621"/>
                        <a:pt x="30051" y="37054"/>
                        <a:pt x="28761" y="35893"/>
                      </a:cubicBezTo>
                      <a:lnTo>
                        <a:pt x="2158" y="11560"/>
                      </a:lnTo>
                      <a:cubicBezTo>
                        <a:pt x="-552" y="9083"/>
                        <a:pt x="-732" y="4877"/>
                        <a:pt x="1745" y="2168"/>
                      </a:cubicBezTo>
                      <a:cubicBezTo>
                        <a:pt x="4222" y="-541"/>
                        <a:pt x="8428" y="-748"/>
                        <a:pt x="11137" y="1755"/>
                      </a:cubicBezTo>
                      <a:lnTo>
                        <a:pt x="37740" y="26087"/>
                      </a:lnTo>
                      <a:cubicBezTo>
                        <a:pt x="40450" y="28565"/>
                        <a:pt x="40630" y="32770"/>
                        <a:pt x="38153" y="35480"/>
                      </a:cubicBezTo>
                      <a:cubicBezTo>
                        <a:pt x="36863" y="36899"/>
                        <a:pt x="35057" y="37621"/>
                        <a:pt x="33251" y="37621"/>
                      </a:cubicBezTo>
                      <a:close/>
                    </a:path>
                  </a:pathLst>
                </a:custGeom>
                <a:solidFill>
                  <a:schemeClr val="accent1"/>
                </a:solidFill>
                <a:ln w="2573" cap="flat">
                  <a:noFill/>
                  <a:prstDash val="solid"/>
                  <a:miter/>
                </a:ln>
              </p:spPr>
              <p:txBody>
                <a:bodyPr rtlCol="0" anchor="ctr"/>
                <a:lstStyle/>
                <a:p>
                  <a:endParaRPr lang="en-GB" dirty="0"/>
                </a:p>
              </p:txBody>
            </p:sp>
          </p:grpSp>
        </p:grpSp>
      </p:grpSp>
      <p:sp>
        <p:nvSpPr>
          <p:cNvPr id="1294" name="TextBox 1417">
            <a:extLst>
              <a:ext uri="{FF2B5EF4-FFF2-40B4-BE49-F238E27FC236}">
                <a16:creationId xmlns:a16="http://schemas.microsoft.com/office/drawing/2014/main" id="{64D42984-3D93-49C3-98DC-DFF447FB5A3B}"/>
              </a:ext>
            </a:extLst>
          </p:cNvPr>
          <p:cNvSpPr txBox="1"/>
          <p:nvPr/>
        </p:nvSpPr>
        <p:spPr>
          <a:xfrm>
            <a:off x="575240" y="2899619"/>
            <a:ext cx="437620" cy="215444"/>
          </a:xfrm>
          <a:prstGeom prst="rect">
            <a:avLst/>
          </a:prstGeom>
          <a:noFill/>
          <a:effectLst/>
        </p:spPr>
        <p:txBody>
          <a:bodyPr wrap="none" lIns="0" tIns="0" rIns="0" bIns="0" rtlCol="0" anchor="t" anchorCtr="0">
            <a:spAutoFit/>
          </a:bodyPr>
          <a:lstStyle/>
          <a:p>
            <a:pPr algn="ctr"/>
            <a:r>
              <a:rPr lang="en-GB" sz="700" dirty="0">
                <a:solidFill>
                  <a:schemeClr val="tx2"/>
                </a:solidFill>
              </a:rPr>
              <a:t>Brand</a:t>
            </a:r>
            <a:br>
              <a:rPr lang="en-GB" sz="700" dirty="0">
                <a:solidFill>
                  <a:schemeClr val="tx2"/>
                </a:solidFill>
              </a:rPr>
            </a:br>
            <a:r>
              <a:rPr lang="en-GB" sz="700" dirty="0">
                <a:solidFill>
                  <a:schemeClr val="tx2"/>
                </a:solidFill>
              </a:rPr>
              <a:t>recognition</a:t>
            </a:r>
          </a:p>
        </p:txBody>
      </p:sp>
      <p:grpSp>
        <p:nvGrpSpPr>
          <p:cNvPr id="44" name="Group 43">
            <a:extLst>
              <a:ext uri="{FF2B5EF4-FFF2-40B4-BE49-F238E27FC236}">
                <a16:creationId xmlns:a16="http://schemas.microsoft.com/office/drawing/2014/main" id="{A9258B27-33BB-832C-1DC8-DC840A5BC1F4}"/>
              </a:ext>
            </a:extLst>
          </p:cNvPr>
          <p:cNvGrpSpPr/>
          <p:nvPr/>
        </p:nvGrpSpPr>
        <p:grpSpPr>
          <a:xfrm>
            <a:off x="3680867" y="2449341"/>
            <a:ext cx="498968" cy="432000"/>
            <a:chOff x="3680867" y="2449341"/>
            <a:chExt cx="498968" cy="432000"/>
          </a:xfrm>
        </p:grpSpPr>
        <p:grpSp>
          <p:nvGrpSpPr>
            <p:cNvPr id="1296" name="Gruppieren 1295">
              <a:extLst>
                <a:ext uri="{FF2B5EF4-FFF2-40B4-BE49-F238E27FC236}">
                  <a16:creationId xmlns:a16="http://schemas.microsoft.com/office/drawing/2014/main" id="{A05A62B2-7F2A-48CB-A233-7C6FEA58F5BC}"/>
                </a:ext>
              </a:extLst>
            </p:cNvPr>
            <p:cNvGrpSpPr/>
            <p:nvPr/>
          </p:nvGrpSpPr>
          <p:grpSpPr>
            <a:xfrm>
              <a:off x="3680867" y="2516214"/>
              <a:ext cx="498968" cy="365126"/>
              <a:chOff x="3332993" y="2511342"/>
              <a:chExt cx="545427" cy="399123"/>
            </a:xfrm>
          </p:grpSpPr>
          <p:sp>
            <p:nvSpPr>
              <p:cNvPr id="1317" name="Freihandform: Form 1316">
                <a:extLst>
                  <a:ext uri="{FF2B5EF4-FFF2-40B4-BE49-F238E27FC236}">
                    <a16:creationId xmlns:a16="http://schemas.microsoft.com/office/drawing/2014/main" id="{93EBC846-F184-4411-9228-5BF62EADD759}"/>
                  </a:ext>
                </a:extLst>
              </p:cNvPr>
              <p:cNvSpPr/>
              <p:nvPr/>
            </p:nvSpPr>
            <p:spPr>
              <a:xfrm>
                <a:off x="3791928" y="2737507"/>
                <a:ext cx="86492" cy="119752"/>
              </a:xfrm>
              <a:custGeom>
                <a:avLst/>
                <a:gdLst>
                  <a:gd name="connsiteX0" fmla="*/ 79809 w 86492"/>
                  <a:gd name="connsiteY0" fmla="*/ 119753 h 119752"/>
                  <a:gd name="connsiteX1" fmla="*/ 6657 w 86492"/>
                  <a:gd name="connsiteY1" fmla="*/ 119753 h 119752"/>
                  <a:gd name="connsiteX2" fmla="*/ 0 w 86492"/>
                  <a:gd name="connsiteY2" fmla="*/ 113095 h 119752"/>
                  <a:gd name="connsiteX3" fmla="*/ 0 w 86492"/>
                  <a:gd name="connsiteY3" fmla="*/ 33286 h 119752"/>
                  <a:gd name="connsiteX4" fmla="*/ 6657 w 86492"/>
                  <a:gd name="connsiteY4" fmla="*/ 26629 h 119752"/>
                  <a:gd name="connsiteX5" fmla="*/ 13315 w 86492"/>
                  <a:gd name="connsiteY5" fmla="*/ 33286 h 119752"/>
                  <a:gd name="connsiteX6" fmla="*/ 13315 w 86492"/>
                  <a:gd name="connsiteY6" fmla="*/ 106438 h 119752"/>
                  <a:gd name="connsiteX7" fmla="*/ 73178 w 86492"/>
                  <a:gd name="connsiteY7" fmla="*/ 106438 h 119752"/>
                  <a:gd name="connsiteX8" fmla="*/ 73178 w 86492"/>
                  <a:gd name="connsiteY8" fmla="*/ 13314 h 119752"/>
                  <a:gd name="connsiteX9" fmla="*/ 39918 w 86492"/>
                  <a:gd name="connsiteY9" fmla="*/ 13314 h 119752"/>
                  <a:gd name="connsiteX10" fmla="*/ 33260 w 86492"/>
                  <a:gd name="connsiteY10" fmla="*/ 6657 h 119752"/>
                  <a:gd name="connsiteX11" fmla="*/ 39918 w 86492"/>
                  <a:gd name="connsiteY11" fmla="*/ 0 h 119752"/>
                  <a:gd name="connsiteX12" fmla="*/ 79835 w 86492"/>
                  <a:gd name="connsiteY12" fmla="*/ 0 h 119752"/>
                  <a:gd name="connsiteX13" fmla="*/ 86492 w 86492"/>
                  <a:gd name="connsiteY13" fmla="*/ 6657 h 119752"/>
                  <a:gd name="connsiteX14" fmla="*/ 86492 w 86492"/>
                  <a:gd name="connsiteY14" fmla="*/ 113070 h 119752"/>
                  <a:gd name="connsiteX15" fmla="*/ 79809 w 86492"/>
                  <a:gd name="connsiteY15" fmla="*/ 119753 h 11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492" h="119752">
                    <a:moveTo>
                      <a:pt x="79809" y="119753"/>
                    </a:moveTo>
                    <a:lnTo>
                      <a:pt x="6657" y="119753"/>
                    </a:lnTo>
                    <a:cubicBezTo>
                      <a:pt x="2993" y="119753"/>
                      <a:pt x="0" y="116785"/>
                      <a:pt x="0" y="113095"/>
                    </a:cubicBezTo>
                    <a:lnTo>
                      <a:pt x="0" y="33286"/>
                    </a:lnTo>
                    <a:cubicBezTo>
                      <a:pt x="0" y="29622"/>
                      <a:pt x="2967" y="26629"/>
                      <a:pt x="6657" y="26629"/>
                    </a:cubicBezTo>
                    <a:cubicBezTo>
                      <a:pt x="10347" y="26629"/>
                      <a:pt x="13315" y="29596"/>
                      <a:pt x="13315" y="33286"/>
                    </a:cubicBezTo>
                    <a:lnTo>
                      <a:pt x="13315" y="106438"/>
                    </a:lnTo>
                    <a:lnTo>
                      <a:pt x="73178" y="106438"/>
                    </a:lnTo>
                    <a:lnTo>
                      <a:pt x="73178" y="13314"/>
                    </a:lnTo>
                    <a:lnTo>
                      <a:pt x="39918" y="13314"/>
                    </a:lnTo>
                    <a:cubicBezTo>
                      <a:pt x="36254" y="13314"/>
                      <a:pt x="33260" y="10347"/>
                      <a:pt x="33260" y="6657"/>
                    </a:cubicBezTo>
                    <a:cubicBezTo>
                      <a:pt x="33260" y="2993"/>
                      <a:pt x="36228" y="0"/>
                      <a:pt x="39918" y="0"/>
                    </a:cubicBezTo>
                    <a:lnTo>
                      <a:pt x="79835" y="0"/>
                    </a:lnTo>
                    <a:cubicBezTo>
                      <a:pt x="83499" y="0"/>
                      <a:pt x="86492" y="2967"/>
                      <a:pt x="86492" y="6657"/>
                    </a:cubicBezTo>
                    <a:lnTo>
                      <a:pt x="86492" y="113070"/>
                    </a:lnTo>
                    <a:cubicBezTo>
                      <a:pt x="86467" y="116759"/>
                      <a:pt x="83499" y="119753"/>
                      <a:pt x="79809" y="119753"/>
                    </a:cubicBezTo>
                    <a:close/>
                  </a:path>
                </a:pathLst>
              </a:custGeom>
              <a:solidFill>
                <a:schemeClr val="accent1"/>
              </a:solidFill>
              <a:ln w="2573" cap="flat">
                <a:noFill/>
                <a:prstDash val="solid"/>
                <a:miter/>
              </a:ln>
            </p:spPr>
            <p:txBody>
              <a:bodyPr rtlCol="0" anchor="ctr"/>
              <a:lstStyle/>
              <a:p>
                <a:endParaRPr lang="en-GB" dirty="0"/>
              </a:p>
            </p:txBody>
          </p:sp>
          <p:sp>
            <p:nvSpPr>
              <p:cNvPr id="1318" name="Freihandform: Form 1317">
                <a:extLst>
                  <a:ext uri="{FF2B5EF4-FFF2-40B4-BE49-F238E27FC236}">
                    <a16:creationId xmlns:a16="http://schemas.microsoft.com/office/drawing/2014/main" id="{1476EF65-6968-4AD1-8D83-1B2785275B2B}"/>
                  </a:ext>
                </a:extLst>
              </p:cNvPr>
              <p:cNvSpPr/>
              <p:nvPr/>
            </p:nvSpPr>
            <p:spPr>
              <a:xfrm>
                <a:off x="3332993" y="2737533"/>
                <a:ext cx="86466" cy="119726"/>
              </a:xfrm>
              <a:custGeom>
                <a:avLst/>
                <a:gdLst>
                  <a:gd name="connsiteX0" fmla="*/ 79809 w 86466"/>
                  <a:gd name="connsiteY0" fmla="*/ 119727 h 119726"/>
                  <a:gd name="connsiteX1" fmla="*/ 6657 w 86466"/>
                  <a:gd name="connsiteY1" fmla="*/ 119727 h 119726"/>
                  <a:gd name="connsiteX2" fmla="*/ 0 w 86466"/>
                  <a:gd name="connsiteY2" fmla="*/ 113070 h 119726"/>
                  <a:gd name="connsiteX3" fmla="*/ 0 w 86466"/>
                  <a:gd name="connsiteY3" fmla="*/ 6657 h 119726"/>
                  <a:gd name="connsiteX4" fmla="*/ 6657 w 86466"/>
                  <a:gd name="connsiteY4" fmla="*/ 0 h 119726"/>
                  <a:gd name="connsiteX5" fmla="*/ 53206 w 86466"/>
                  <a:gd name="connsiteY5" fmla="*/ 0 h 119726"/>
                  <a:gd name="connsiteX6" fmla="*/ 59863 w 86466"/>
                  <a:gd name="connsiteY6" fmla="*/ 6657 h 119726"/>
                  <a:gd name="connsiteX7" fmla="*/ 53206 w 86466"/>
                  <a:gd name="connsiteY7" fmla="*/ 13314 h 119726"/>
                  <a:gd name="connsiteX8" fmla="*/ 13289 w 86466"/>
                  <a:gd name="connsiteY8" fmla="*/ 13314 h 119726"/>
                  <a:gd name="connsiteX9" fmla="*/ 13289 w 86466"/>
                  <a:gd name="connsiteY9" fmla="*/ 106438 h 119726"/>
                  <a:gd name="connsiteX10" fmla="*/ 73152 w 86466"/>
                  <a:gd name="connsiteY10" fmla="*/ 106438 h 119726"/>
                  <a:gd name="connsiteX11" fmla="*/ 73152 w 86466"/>
                  <a:gd name="connsiteY11" fmla="*/ 33286 h 119726"/>
                  <a:gd name="connsiteX12" fmla="*/ 79809 w 86466"/>
                  <a:gd name="connsiteY12" fmla="*/ 26629 h 119726"/>
                  <a:gd name="connsiteX13" fmla="*/ 86467 w 86466"/>
                  <a:gd name="connsiteY13" fmla="*/ 33286 h 119726"/>
                  <a:gd name="connsiteX14" fmla="*/ 86467 w 86466"/>
                  <a:gd name="connsiteY14" fmla="*/ 113095 h 119726"/>
                  <a:gd name="connsiteX15" fmla="*/ 79809 w 86466"/>
                  <a:gd name="connsiteY15" fmla="*/ 119727 h 119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466" h="119726">
                    <a:moveTo>
                      <a:pt x="79809" y="119727"/>
                    </a:moveTo>
                    <a:lnTo>
                      <a:pt x="6657" y="119727"/>
                    </a:lnTo>
                    <a:cubicBezTo>
                      <a:pt x="2993" y="119727"/>
                      <a:pt x="0" y="116759"/>
                      <a:pt x="0" y="113070"/>
                    </a:cubicBezTo>
                    <a:lnTo>
                      <a:pt x="0" y="6657"/>
                    </a:lnTo>
                    <a:cubicBezTo>
                      <a:pt x="0" y="2993"/>
                      <a:pt x="2967" y="0"/>
                      <a:pt x="6657" y="0"/>
                    </a:cubicBezTo>
                    <a:lnTo>
                      <a:pt x="53206" y="0"/>
                    </a:lnTo>
                    <a:cubicBezTo>
                      <a:pt x="56870" y="0"/>
                      <a:pt x="59863" y="2967"/>
                      <a:pt x="59863" y="6657"/>
                    </a:cubicBezTo>
                    <a:cubicBezTo>
                      <a:pt x="59863" y="10321"/>
                      <a:pt x="56896" y="13314"/>
                      <a:pt x="53206" y="13314"/>
                    </a:cubicBezTo>
                    <a:lnTo>
                      <a:pt x="13289" y="13314"/>
                    </a:lnTo>
                    <a:lnTo>
                      <a:pt x="13289" y="106438"/>
                    </a:lnTo>
                    <a:lnTo>
                      <a:pt x="73152" y="106438"/>
                    </a:lnTo>
                    <a:lnTo>
                      <a:pt x="73152" y="33286"/>
                    </a:lnTo>
                    <a:cubicBezTo>
                      <a:pt x="73152" y="29622"/>
                      <a:pt x="76119" y="26629"/>
                      <a:pt x="79809" y="26629"/>
                    </a:cubicBezTo>
                    <a:cubicBezTo>
                      <a:pt x="83473" y="26629"/>
                      <a:pt x="86467" y="29596"/>
                      <a:pt x="86467" y="33286"/>
                    </a:cubicBezTo>
                    <a:lnTo>
                      <a:pt x="86467" y="113095"/>
                    </a:lnTo>
                    <a:cubicBezTo>
                      <a:pt x="86467" y="116734"/>
                      <a:pt x="83473" y="119727"/>
                      <a:pt x="79809" y="119727"/>
                    </a:cubicBezTo>
                    <a:close/>
                  </a:path>
                </a:pathLst>
              </a:custGeom>
              <a:solidFill>
                <a:schemeClr val="accent1"/>
              </a:solidFill>
              <a:ln w="2573" cap="flat">
                <a:noFill/>
                <a:prstDash val="solid"/>
                <a:miter/>
              </a:ln>
            </p:spPr>
            <p:txBody>
              <a:bodyPr rtlCol="0" anchor="ctr"/>
              <a:lstStyle/>
              <a:p>
                <a:endParaRPr lang="en-GB" dirty="0"/>
              </a:p>
            </p:txBody>
          </p:sp>
          <p:sp>
            <p:nvSpPr>
              <p:cNvPr id="1319" name="Freihandform: Form 1318">
                <a:extLst>
                  <a:ext uri="{FF2B5EF4-FFF2-40B4-BE49-F238E27FC236}">
                    <a16:creationId xmlns:a16="http://schemas.microsoft.com/office/drawing/2014/main" id="{96335CBE-A6FC-494F-9D15-6394C661F61D}"/>
                  </a:ext>
                </a:extLst>
              </p:cNvPr>
              <p:cNvSpPr/>
              <p:nvPr/>
            </p:nvSpPr>
            <p:spPr>
              <a:xfrm>
                <a:off x="3565763" y="2843945"/>
                <a:ext cx="79835" cy="13314"/>
              </a:xfrm>
              <a:custGeom>
                <a:avLst/>
                <a:gdLst>
                  <a:gd name="connsiteX0" fmla="*/ 73178 w 79835"/>
                  <a:gd name="connsiteY0" fmla="*/ 13314 h 13314"/>
                  <a:gd name="connsiteX1" fmla="*/ 6657 w 79835"/>
                  <a:gd name="connsiteY1" fmla="*/ 13314 h 13314"/>
                  <a:gd name="connsiteX2" fmla="*/ 0 w 79835"/>
                  <a:gd name="connsiteY2" fmla="*/ 6657 h 13314"/>
                  <a:gd name="connsiteX3" fmla="*/ 6657 w 79835"/>
                  <a:gd name="connsiteY3" fmla="*/ 0 h 13314"/>
                  <a:gd name="connsiteX4" fmla="*/ 73178 w 79835"/>
                  <a:gd name="connsiteY4" fmla="*/ 0 h 13314"/>
                  <a:gd name="connsiteX5" fmla="*/ 79835 w 79835"/>
                  <a:gd name="connsiteY5" fmla="*/ 6657 h 13314"/>
                  <a:gd name="connsiteX6" fmla="*/ 73178 w 79835"/>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835" h="13314">
                    <a:moveTo>
                      <a:pt x="73178" y="13314"/>
                    </a:moveTo>
                    <a:lnTo>
                      <a:pt x="6657" y="13314"/>
                    </a:lnTo>
                    <a:cubicBezTo>
                      <a:pt x="2993" y="13314"/>
                      <a:pt x="0" y="10347"/>
                      <a:pt x="0" y="6657"/>
                    </a:cubicBezTo>
                    <a:cubicBezTo>
                      <a:pt x="0" y="2993"/>
                      <a:pt x="2967" y="0"/>
                      <a:pt x="6657" y="0"/>
                    </a:cubicBezTo>
                    <a:lnTo>
                      <a:pt x="73178" y="0"/>
                    </a:lnTo>
                    <a:cubicBezTo>
                      <a:pt x="76842" y="0"/>
                      <a:pt x="79835" y="2967"/>
                      <a:pt x="79835" y="6657"/>
                    </a:cubicBezTo>
                    <a:cubicBezTo>
                      <a:pt x="79835" y="10321"/>
                      <a:pt x="76868" y="13314"/>
                      <a:pt x="73178" y="13314"/>
                    </a:cubicBezTo>
                    <a:close/>
                  </a:path>
                </a:pathLst>
              </a:custGeom>
              <a:solidFill>
                <a:schemeClr val="accent1"/>
              </a:solidFill>
              <a:ln w="2573" cap="flat">
                <a:noFill/>
                <a:prstDash val="solid"/>
                <a:miter/>
              </a:ln>
            </p:spPr>
            <p:txBody>
              <a:bodyPr rtlCol="0" anchor="ctr"/>
              <a:lstStyle/>
              <a:p>
                <a:endParaRPr lang="en-GB" dirty="0"/>
              </a:p>
            </p:txBody>
          </p:sp>
          <p:sp>
            <p:nvSpPr>
              <p:cNvPr id="1320" name="Freihandform: Form 1319">
                <a:extLst>
                  <a:ext uri="{FF2B5EF4-FFF2-40B4-BE49-F238E27FC236}">
                    <a16:creationId xmlns:a16="http://schemas.microsoft.com/office/drawing/2014/main" id="{5B145E82-643F-4C75-B035-23789141875F}"/>
                  </a:ext>
                </a:extLst>
              </p:cNvPr>
              <p:cNvSpPr/>
              <p:nvPr/>
            </p:nvSpPr>
            <p:spPr>
              <a:xfrm>
                <a:off x="3565763" y="2770767"/>
                <a:ext cx="79835" cy="13314"/>
              </a:xfrm>
              <a:custGeom>
                <a:avLst/>
                <a:gdLst>
                  <a:gd name="connsiteX0" fmla="*/ 73178 w 79835"/>
                  <a:gd name="connsiteY0" fmla="*/ 13314 h 13314"/>
                  <a:gd name="connsiteX1" fmla="*/ 6657 w 79835"/>
                  <a:gd name="connsiteY1" fmla="*/ 13314 h 13314"/>
                  <a:gd name="connsiteX2" fmla="*/ 0 w 79835"/>
                  <a:gd name="connsiteY2" fmla="*/ 6657 h 13314"/>
                  <a:gd name="connsiteX3" fmla="*/ 6657 w 79835"/>
                  <a:gd name="connsiteY3" fmla="*/ 0 h 13314"/>
                  <a:gd name="connsiteX4" fmla="*/ 73178 w 79835"/>
                  <a:gd name="connsiteY4" fmla="*/ 0 h 13314"/>
                  <a:gd name="connsiteX5" fmla="*/ 79835 w 79835"/>
                  <a:gd name="connsiteY5" fmla="*/ 6657 h 13314"/>
                  <a:gd name="connsiteX6" fmla="*/ 73178 w 79835"/>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835" h="13314">
                    <a:moveTo>
                      <a:pt x="73178" y="13314"/>
                    </a:moveTo>
                    <a:lnTo>
                      <a:pt x="6657" y="13314"/>
                    </a:lnTo>
                    <a:cubicBezTo>
                      <a:pt x="2993" y="13314"/>
                      <a:pt x="0" y="10347"/>
                      <a:pt x="0" y="6657"/>
                    </a:cubicBezTo>
                    <a:cubicBezTo>
                      <a:pt x="0" y="2993"/>
                      <a:pt x="2967" y="0"/>
                      <a:pt x="6657" y="0"/>
                    </a:cubicBezTo>
                    <a:lnTo>
                      <a:pt x="73178" y="0"/>
                    </a:lnTo>
                    <a:cubicBezTo>
                      <a:pt x="76842" y="0"/>
                      <a:pt x="79835" y="2967"/>
                      <a:pt x="79835" y="6657"/>
                    </a:cubicBezTo>
                    <a:cubicBezTo>
                      <a:pt x="79835" y="10347"/>
                      <a:pt x="76868" y="13314"/>
                      <a:pt x="73178" y="13314"/>
                    </a:cubicBezTo>
                    <a:close/>
                  </a:path>
                </a:pathLst>
              </a:custGeom>
              <a:solidFill>
                <a:schemeClr val="accent1"/>
              </a:solidFill>
              <a:ln w="2573" cap="flat">
                <a:noFill/>
                <a:prstDash val="solid"/>
                <a:miter/>
              </a:ln>
            </p:spPr>
            <p:txBody>
              <a:bodyPr rtlCol="0" anchor="ctr"/>
              <a:lstStyle/>
              <a:p>
                <a:endParaRPr lang="en-GB" dirty="0"/>
              </a:p>
            </p:txBody>
          </p:sp>
          <p:sp>
            <p:nvSpPr>
              <p:cNvPr id="1321" name="Freihandform: Form 1320">
                <a:extLst>
                  <a:ext uri="{FF2B5EF4-FFF2-40B4-BE49-F238E27FC236}">
                    <a16:creationId xmlns:a16="http://schemas.microsoft.com/office/drawing/2014/main" id="{F2AE6649-0D48-4EF8-AF1C-DC92EE5CD132}"/>
                  </a:ext>
                </a:extLst>
              </p:cNvPr>
              <p:cNvSpPr/>
              <p:nvPr/>
            </p:nvSpPr>
            <p:spPr>
              <a:xfrm>
                <a:off x="3771982" y="2770793"/>
                <a:ext cx="26603" cy="13314"/>
              </a:xfrm>
              <a:custGeom>
                <a:avLst/>
                <a:gdLst>
                  <a:gd name="connsiteX0" fmla="*/ 0 w 26603"/>
                  <a:gd name="connsiteY0" fmla="*/ 0 h 13314"/>
                  <a:gd name="connsiteX1" fmla="*/ 26603 w 26603"/>
                  <a:gd name="connsiteY1" fmla="*/ 0 h 13314"/>
                  <a:gd name="connsiteX2" fmla="*/ 26603 w 26603"/>
                  <a:gd name="connsiteY2" fmla="*/ 13314 h 13314"/>
                  <a:gd name="connsiteX3" fmla="*/ 0 w 26603"/>
                  <a:gd name="connsiteY3" fmla="*/ 13314 h 13314"/>
                </a:gdLst>
                <a:ahLst/>
                <a:cxnLst>
                  <a:cxn ang="0">
                    <a:pos x="connsiteX0" y="connsiteY0"/>
                  </a:cxn>
                  <a:cxn ang="0">
                    <a:pos x="connsiteX1" y="connsiteY1"/>
                  </a:cxn>
                  <a:cxn ang="0">
                    <a:pos x="connsiteX2" y="connsiteY2"/>
                  </a:cxn>
                  <a:cxn ang="0">
                    <a:pos x="connsiteX3" y="connsiteY3"/>
                  </a:cxn>
                </a:cxnLst>
                <a:rect l="l" t="t" r="r" b="b"/>
                <a:pathLst>
                  <a:path w="26603" h="13314">
                    <a:moveTo>
                      <a:pt x="0" y="0"/>
                    </a:moveTo>
                    <a:lnTo>
                      <a:pt x="26603" y="0"/>
                    </a:lnTo>
                    <a:lnTo>
                      <a:pt x="26603" y="13314"/>
                    </a:lnTo>
                    <a:lnTo>
                      <a:pt x="0" y="13314"/>
                    </a:lnTo>
                    <a:close/>
                  </a:path>
                </a:pathLst>
              </a:custGeom>
              <a:solidFill>
                <a:schemeClr val="accent1"/>
              </a:solidFill>
              <a:ln w="2573" cap="flat">
                <a:noFill/>
                <a:prstDash val="solid"/>
                <a:miter/>
              </a:ln>
            </p:spPr>
            <p:txBody>
              <a:bodyPr rtlCol="0" anchor="ctr"/>
              <a:lstStyle/>
              <a:p>
                <a:endParaRPr lang="en-GB" dirty="0"/>
              </a:p>
            </p:txBody>
          </p:sp>
          <p:sp>
            <p:nvSpPr>
              <p:cNvPr id="1322" name="Freihandform: Form 1321">
                <a:extLst>
                  <a:ext uri="{FF2B5EF4-FFF2-40B4-BE49-F238E27FC236}">
                    <a16:creationId xmlns:a16="http://schemas.microsoft.com/office/drawing/2014/main" id="{F591D9F6-FE53-4777-A31D-13353633AADD}"/>
                  </a:ext>
                </a:extLst>
              </p:cNvPr>
              <p:cNvSpPr/>
              <p:nvPr/>
            </p:nvSpPr>
            <p:spPr>
              <a:xfrm>
                <a:off x="3412802" y="2770793"/>
                <a:ext cx="26603" cy="13314"/>
              </a:xfrm>
              <a:custGeom>
                <a:avLst/>
                <a:gdLst>
                  <a:gd name="connsiteX0" fmla="*/ 0 w 26603"/>
                  <a:gd name="connsiteY0" fmla="*/ 0 h 13314"/>
                  <a:gd name="connsiteX1" fmla="*/ 26603 w 26603"/>
                  <a:gd name="connsiteY1" fmla="*/ 0 h 13314"/>
                  <a:gd name="connsiteX2" fmla="*/ 26603 w 26603"/>
                  <a:gd name="connsiteY2" fmla="*/ 13314 h 13314"/>
                  <a:gd name="connsiteX3" fmla="*/ 0 w 26603"/>
                  <a:gd name="connsiteY3" fmla="*/ 13314 h 13314"/>
                </a:gdLst>
                <a:ahLst/>
                <a:cxnLst>
                  <a:cxn ang="0">
                    <a:pos x="connsiteX0" y="connsiteY0"/>
                  </a:cxn>
                  <a:cxn ang="0">
                    <a:pos x="connsiteX1" y="connsiteY1"/>
                  </a:cxn>
                  <a:cxn ang="0">
                    <a:pos x="connsiteX2" y="connsiteY2"/>
                  </a:cxn>
                  <a:cxn ang="0">
                    <a:pos x="connsiteX3" y="connsiteY3"/>
                  </a:cxn>
                </a:cxnLst>
                <a:rect l="l" t="t" r="r" b="b"/>
                <a:pathLst>
                  <a:path w="26603" h="13314">
                    <a:moveTo>
                      <a:pt x="0" y="0"/>
                    </a:moveTo>
                    <a:lnTo>
                      <a:pt x="26603" y="0"/>
                    </a:lnTo>
                    <a:lnTo>
                      <a:pt x="26603" y="13314"/>
                    </a:lnTo>
                    <a:lnTo>
                      <a:pt x="0" y="13314"/>
                    </a:lnTo>
                    <a:close/>
                  </a:path>
                </a:pathLst>
              </a:custGeom>
              <a:solidFill>
                <a:schemeClr val="accent1"/>
              </a:solidFill>
              <a:ln w="2573" cap="flat">
                <a:noFill/>
                <a:prstDash val="solid"/>
                <a:miter/>
              </a:ln>
            </p:spPr>
            <p:txBody>
              <a:bodyPr rtlCol="0" anchor="ctr"/>
              <a:lstStyle/>
              <a:p>
                <a:endParaRPr lang="en-GB" dirty="0"/>
              </a:p>
            </p:txBody>
          </p:sp>
          <p:sp>
            <p:nvSpPr>
              <p:cNvPr id="1323" name="Freihandform: Form 1322">
                <a:extLst>
                  <a:ext uri="{FF2B5EF4-FFF2-40B4-BE49-F238E27FC236}">
                    <a16:creationId xmlns:a16="http://schemas.microsoft.com/office/drawing/2014/main" id="{22459245-2AB5-411C-80CA-9858C14879BD}"/>
                  </a:ext>
                </a:extLst>
              </p:cNvPr>
              <p:cNvSpPr/>
              <p:nvPr/>
            </p:nvSpPr>
            <p:spPr>
              <a:xfrm>
                <a:off x="3359596" y="2511368"/>
                <a:ext cx="93123" cy="235299"/>
              </a:xfrm>
              <a:custGeom>
                <a:avLst/>
                <a:gdLst>
                  <a:gd name="connsiteX0" fmla="*/ 6657 w 93123"/>
                  <a:gd name="connsiteY0" fmla="*/ 235299 h 235299"/>
                  <a:gd name="connsiteX1" fmla="*/ 0 w 93123"/>
                  <a:gd name="connsiteY1" fmla="*/ 228642 h 235299"/>
                  <a:gd name="connsiteX2" fmla="*/ 0 w 93123"/>
                  <a:gd name="connsiteY2" fmla="*/ 33157 h 235299"/>
                  <a:gd name="connsiteX3" fmla="*/ 36950 w 93123"/>
                  <a:gd name="connsiteY3" fmla="*/ 0 h 235299"/>
                  <a:gd name="connsiteX4" fmla="*/ 86467 w 93123"/>
                  <a:gd name="connsiteY4" fmla="*/ 0 h 235299"/>
                  <a:gd name="connsiteX5" fmla="*/ 93124 w 93123"/>
                  <a:gd name="connsiteY5" fmla="*/ 6657 h 235299"/>
                  <a:gd name="connsiteX6" fmla="*/ 86467 w 93123"/>
                  <a:gd name="connsiteY6" fmla="*/ 13314 h 235299"/>
                  <a:gd name="connsiteX7" fmla="*/ 36950 w 93123"/>
                  <a:gd name="connsiteY7" fmla="*/ 13314 h 235299"/>
                  <a:gd name="connsiteX8" fmla="*/ 13315 w 93123"/>
                  <a:gd name="connsiteY8" fmla="*/ 33183 h 235299"/>
                  <a:gd name="connsiteX9" fmla="*/ 13315 w 93123"/>
                  <a:gd name="connsiteY9" fmla="*/ 228668 h 235299"/>
                  <a:gd name="connsiteX10" fmla="*/ 6657 w 93123"/>
                  <a:gd name="connsiteY10" fmla="*/ 235299 h 235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123" h="235299">
                    <a:moveTo>
                      <a:pt x="6657" y="235299"/>
                    </a:moveTo>
                    <a:cubicBezTo>
                      <a:pt x="2993" y="235299"/>
                      <a:pt x="0" y="232332"/>
                      <a:pt x="0" y="228642"/>
                    </a:cubicBezTo>
                    <a:lnTo>
                      <a:pt x="0" y="33157"/>
                    </a:lnTo>
                    <a:cubicBezTo>
                      <a:pt x="0" y="14863"/>
                      <a:pt x="16566" y="0"/>
                      <a:pt x="36950" y="0"/>
                    </a:cubicBezTo>
                    <a:lnTo>
                      <a:pt x="86467" y="0"/>
                    </a:lnTo>
                    <a:cubicBezTo>
                      <a:pt x="90131" y="0"/>
                      <a:pt x="93124" y="2967"/>
                      <a:pt x="93124" y="6657"/>
                    </a:cubicBezTo>
                    <a:cubicBezTo>
                      <a:pt x="93124" y="10321"/>
                      <a:pt x="90156" y="13314"/>
                      <a:pt x="86467" y="13314"/>
                    </a:cubicBezTo>
                    <a:lnTo>
                      <a:pt x="36950" y="13314"/>
                    </a:lnTo>
                    <a:cubicBezTo>
                      <a:pt x="23920" y="13314"/>
                      <a:pt x="13315" y="22217"/>
                      <a:pt x="13315" y="33183"/>
                    </a:cubicBezTo>
                    <a:lnTo>
                      <a:pt x="13315" y="228668"/>
                    </a:lnTo>
                    <a:cubicBezTo>
                      <a:pt x="13289" y="232332"/>
                      <a:pt x="10321" y="235299"/>
                      <a:pt x="6657" y="235299"/>
                    </a:cubicBezTo>
                    <a:close/>
                  </a:path>
                </a:pathLst>
              </a:custGeom>
              <a:solidFill>
                <a:schemeClr val="accent1"/>
              </a:solidFill>
              <a:ln w="2573" cap="flat">
                <a:noFill/>
                <a:prstDash val="solid"/>
                <a:miter/>
              </a:ln>
            </p:spPr>
            <p:txBody>
              <a:bodyPr rtlCol="0" anchor="ctr"/>
              <a:lstStyle/>
              <a:p>
                <a:endParaRPr lang="en-GB" dirty="0"/>
              </a:p>
            </p:txBody>
          </p:sp>
          <p:sp>
            <p:nvSpPr>
              <p:cNvPr id="1324" name="Freihandform: Form 1323">
                <a:extLst>
                  <a:ext uri="{FF2B5EF4-FFF2-40B4-BE49-F238E27FC236}">
                    <a16:creationId xmlns:a16="http://schemas.microsoft.com/office/drawing/2014/main" id="{4E931B7D-76DD-4C78-ACED-554DA5AA22A1}"/>
                  </a:ext>
                </a:extLst>
              </p:cNvPr>
              <p:cNvSpPr/>
              <p:nvPr/>
            </p:nvSpPr>
            <p:spPr>
              <a:xfrm>
                <a:off x="3559132" y="2511368"/>
                <a:ext cx="93123" cy="13314"/>
              </a:xfrm>
              <a:custGeom>
                <a:avLst/>
                <a:gdLst>
                  <a:gd name="connsiteX0" fmla="*/ 86467 w 93123"/>
                  <a:gd name="connsiteY0" fmla="*/ 13314 h 13314"/>
                  <a:gd name="connsiteX1" fmla="*/ 6657 w 93123"/>
                  <a:gd name="connsiteY1" fmla="*/ 13314 h 13314"/>
                  <a:gd name="connsiteX2" fmla="*/ 0 w 93123"/>
                  <a:gd name="connsiteY2" fmla="*/ 6657 h 13314"/>
                  <a:gd name="connsiteX3" fmla="*/ 6657 w 93123"/>
                  <a:gd name="connsiteY3" fmla="*/ 0 h 13314"/>
                  <a:gd name="connsiteX4" fmla="*/ 86467 w 93123"/>
                  <a:gd name="connsiteY4" fmla="*/ 0 h 13314"/>
                  <a:gd name="connsiteX5" fmla="*/ 93124 w 93123"/>
                  <a:gd name="connsiteY5" fmla="*/ 6657 h 13314"/>
                  <a:gd name="connsiteX6" fmla="*/ 86467 w 93123"/>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3123" h="13314">
                    <a:moveTo>
                      <a:pt x="86467" y="13314"/>
                    </a:moveTo>
                    <a:lnTo>
                      <a:pt x="6657" y="13314"/>
                    </a:lnTo>
                    <a:cubicBezTo>
                      <a:pt x="2993" y="13314"/>
                      <a:pt x="0" y="10347"/>
                      <a:pt x="0" y="6657"/>
                    </a:cubicBezTo>
                    <a:cubicBezTo>
                      <a:pt x="0" y="2993"/>
                      <a:pt x="2967" y="0"/>
                      <a:pt x="6657" y="0"/>
                    </a:cubicBezTo>
                    <a:lnTo>
                      <a:pt x="86467" y="0"/>
                    </a:lnTo>
                    <a:cubicBezTo>
                      <a:pt x="90131" y="0"/>
                      <a:pt x="93124" y="2967"/>
                      <a:pt x="93124" y="6657"/>
                    </a:cubicBezTo>
                    <a:cubicBezTo>
                      <a:pt x="93124" y="10347"/>
                      <a:pt x="90131" y="13314"/>
                      <a:pt x="86467" y="13314"/>
                    </a:cubicBezTo>
                    <a:close/>
                  </a:path>
                </a:pathLst>
              </a:custGeom>
              <a:solidFill>
                <a:schemeClr val="accent1"/>
              </a:solidFill>
              <a:ln w="2573" cap="flat">
                <a:noFill/>
                <a:prstDash val="solid"/>
                <a:miter/>
              </a:ln>
            </p:spPr>
            <p:txBody>
              <a:bodyPr rtlCol="0" anchor="ctr"/>
              <a:lstStyle/>
              <a:p>
                <a:endParaRPr lang="en-GB" dirty="0"/>
              </a:p>
            </p:txBody>
          </p:sp>
          <p:sp>
            <p:nvSpPr>
              <p:cNvPr id="1325" name="Freihandform: Form 1324">
                <a:extLst>
                  <a:ext uri="{FF2B5EF4-FFF2-40B4-BE49-F238E27FC236}">
                    <a16:creationId xmlns:a16="http://schemas.microsoft.com/office/drawing/2014/main" id="{7924123F-D919-41CE-A52B-2FA66D937C7E}"/>
                  </a:ext>
                </a:extLst>
              </p:cNvPr>
              <p:cNvSpPr/>
              <p:nvPr/>
            </p:nvSpPr>
            <p:spPr>
              <a:xfrm>
                <a:off x="3758668" y="2511342"/>
                <a:ext cx="93123" cy="239479"/>
              </a:xfrm>
              <a:custGeom>
                <a:avLst/>
                <a:gdLst>
                  <a:gd name="connsiteX0" fmla="*/ 86467 w 93123"/>
                  <a:gd name="connsiteY0" fmla="*/ 239479 h 239479"/>
                  <a:gd name="connsiteX1" fmla="*/ 79809 w 93123"/>
                  <a:gd name="connsiteY1" fmla="*/ 232822 h 239479"/>
                  <a:gd name="connsiteX2" fmla="*/ 79809 w 93123"/>
                  <a:gd name="connsiteY2" fmla="*/ 33183 h 239479"/>
                  <a:gd name="connsiteX3" fmla="*/ 56174 w 93123"/>
                  <a:gd name="connsiteY3" fmla="*/ 13314 h 239479"/>
                  <a:gd name="connsiteX4" fmla="*/ 6657 w 93123"/>
                  <a:gd name="connsiteY4" fmla="*/ 13314 h 239479"/>
                  <a:gd name="connsiteX5" fmla="*/ 0 w 93123"/>
                  <a:gd name="connsiteY5" fmla="*/ 6657 h 239479"/>
                  <a:gd name="connsiteX6" fmla="*/ 6657 w 93123"/>
                  <a:gd name="connsiteY6" fmla="*/ 0 h 239479"/>
                  <a:gd name="connsiteX7" fmla="*/ 56174 w 93123"/>
                  <a:gd name="connsiteY7" fmla="*/ 0 h 239479"/>
                  <a:gd name="connsiteX8" fmla="*/ 93124 w 93123"/>
                  <a:gd name="connsiteY8" fmla="*/ 33157 h 239479"/>
                  <a:gd name="connsiteX9" fmla="*/ 93124 w 93123"/>
                  <a:gd name="connsiteY9" fmla="*/ 232796 h 239479"/>
                  <a:gd name="connsiteX10" fmla="*/ 86467 w 93123"/>
                  <a:gd name="connsiteY10" fmla="*/ 239479 h 239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123" h="239479">
                    <a:moveTo>
                      <a:pt x="86467" y="239479"/>
                    </a:moveTo>
                    <a:cubicBezTo>
                      <a:pt x="82803" y="239479"/>
                      <a:pt x="79809" y="236512"/>
                      <a:pt x="79809" y="232822"/>
                    </a:cubicBezTo>
                    <a:lnTo>
                      <a:pt x="79809" y="33183"/>
                    </a:lnTo>
                    <a:cubicBezTo>
                      <a:pt x="79809" y="22242"/>
                      <a:pt x="69204" y="13314"/>
                      <a:pt x="56174" y="13314"/>
                    </a:cubicBezTo>
                    <a:lnTo>
                      <a:pt x="6657" y="13314"/>
                    </a:lnTo>
                    <a:cubicBezTo>
                      <a:pt x="2993" y="13314"/>
                      <a:pt x="0" y="10347"/>
                      <a:pt x="0" y="6657"/>
                    </a:cubicBezTo>
                    <a:cubicBezTo>
                      <a:pt x="0" y="2993"/>
                      <a:pt x="2967" y="0"/>
                      <a:pt x="6657" y="0"/>
                    </a:cubicBezTo>
                    <a:lnTo>
                      <a:pt x="56174" y="0"/>
                    </a:lnTo>
                    <a:cubicBezTo>
                      <a:pt x="76532" y="0"/>
                      <a:pt x="93124" y="14863"/>
                      <a:pt x="93124" y="33157"/>
                    </a:cubicBezTo>
                    <a:lnTo>
                      <a:pt x="93124" y="232796"/>
                    </a:lnTo>
                    <a:cubicBezTo>
                      <a:pt x="93124" y="236512"/>
                      <a:pt x="90156" y="239479"/>
                      <a:pt x="86467" y="239479"/>
                    </a:cubicBezTo>
                    <a:close/>
                  </a:path>
                </a:pathLst>
              </a:custGeom>
              <a:solidFill>
                <a:schemeClr val="accent1"/>
              </a:solidFill>
              <a:ln w="2573" cap="flat">
                <a:noFill/>
                <a:prstDash val="solid"/>
                <a:miter/>
              </a:ln>
            </p:spPr>
            <p:txBody>
              <a:bodyPr rtlCol="0" anchor="ctr"/>
              <a:lstStyle/>
              <a:p>
                <a:endParaRPr lang="en-GB" dirty="0"/>
              </a:p>
            </p:txBody>
          </p:sp>
          <p:sp>
            <p:nvSpPr>
              <p:cNvPr id="1326" name="Freihandform: Form 1325">
                <a:extLst>
                  <a:ext uri="{FF2B5EF4-FFF2-40B4-BE49-F238E27FC236}">
                    <a16:creationId xmlns:a16="http://schemas.microsoft.com/office/drawing/2014/main" id="{E379AB68-F8CA-4A00-A843-4868D90FF6E7}"/>
                  </a:ext>
                </a:extLst>
              </p:cNvPr>
              <p:cNvSpPr/>
              <p:nvPr/>
            </p:nvSpPr>
            <p:spPr>
              <a:xfrm>
                <a:off x="3412802" y="2843945"/>
                <a:ext cx="26603" cy="13314"/>
              </a:xfrm>
              <a:custGeom>
                <a:avLst/>
                <a:gdLst>
                  <a:gd name="connsiteX0" fmla="*/ 0 w 26603"/>
                  <a:gd name="connsiteY0" fmla="*/ 0 h 13314"/>
                  <a:gd name="connsiteX1" fmla="*/ 26603 w 26603"/>
                  <a:gd name="connsiteY1" fmla="*/ 0 h 13314"/>
                  <a:gd name="connsiteX2" fmla="*/ 26603 w 26603"/>
                  <a:gd name="connsiteY2" fmla="*/ 13314 h 13314"/>
                  <a:gd name="connsiteX3" fmla="*/ 0 w 26603"/>
                  <a:gd name="connsiteY3" fmla="*/ 13314 h 13314"/>
                </a:gdLst>
                <a:ahLst/>
                <a:cxnLst>
                  <a:cxn ang="0">
                    <a:pos x="connsiteX0" y="connsiteY0"/>
                  </a:cxn>
                  <a:cxn ang="0">
                    <a:pos x="connsiteX1" y="connsiteY1"/>
                  </a:cxn>
                  <a:cxn ang="0">
                    <a:pos x="connsiteX2" y="connsiteY2"/>
                  </a:cxn>
                  <a:cxn ang="0">
                    <a:pos x="connsiteX3" y="connsiteY3"/>
                  </a:cxn>
                </a:cxnLst>
                <a:rect l="l" t="t" r="r" b="b"/>
                <a:pathLst>
                  <a:path w="26603" h="13314">
                    <a:moveTo>
                      <a:pt x="0" y="0"/>
                    </a:moveTo>
                    <a:lnTo>
                      <a:pt x="26603" y="0"/>
                    </a:lnTo>
                    <a:lnTo>
                      <a:pt x="26603" y="13314"/>
                    </a:lnTo>
                    <a:lnTo>
                      <a:pt x="0" y="13314"/>
                    </a:lnTo>
                    <a:close/>
                  </a:path>
                </a:pathLst>
              </a:custGeom>
              <a:solidFill>
                <a:schemeClr val="accent1"/>
              </a:solidFill>
              <a:ln w="2573" cap="flat">
                <a:noFill/>
                <a:prstDash val="solid"/>
                <a:miter/>
              </a:ln>
            </p:spPr>
            <p:txBody>
              <a:bodyPr rtlCol="0" anchor="ctr"/>
              <a:lstStyle/>
              <a:p>
                <a:endParaRPr lang="en-GB" dirty="0"/>
              </a:p>
            </p:txBody>
          </p:sp>
          <p:sp>
            <p:nvSpPr>
              <p:cNvPr id="1327" name="Freihandform: Form 1326">
                <a:extLst>
                  <a:ext uri="{FF2B5EF4-FFF2-40B4-BE49-F238E27FC236}">
                    <a16:creationId xmlns:a16="http://schemas.microsoft.com/office/drawing/2014/main" id="{AB864921-E9FC-40D7-9B76-38072B9007AC}"/>
                  </a:ext>
                </a:extLst>
              </p:cNvPr>
              <p:cNvSpPr/>
              <p:nvPr/>
            </p:nvSpPr>
            <p:spPr>
              <a:xfrm>
                <a:off x="3772524" y="2843945"/>
                <a:ext cx="29389" cy="13314"/>
              </a:xfrm>
              <a:custGeom>
                <a:avLst/>
                <a:gdLst>
                  <a:gd name="connsiteX0" fmla="*/ 0 w 29389"/>
                  <a:gd name="connsiteY0" fmla="*/ 0 h 13314"/>
                  <a:gd name="connsiteX1" fmla="*/ 29390 w 29389"/>
                  <a:gd name="connsiteY1" fmla="*/ 0 h 13314"/>
                  <a:gd name="connsiteX2" fmla="*/ 29390 w 29389"/>
                  <a:gd name="connsiteY2" fmla="*/ 13314 h 13314"/>
                  <a:gd name="connsiteX3" fmla="*/ 0 w 29389"/>
                  <a:gd name="connsiteY3" fmla="*/ 13314 h 13314"/>
                </a:gdLst>
                <a:ahLst/>
                <a:cxnLst>
                  <a:cxn ang="0">
                    <a:pos x="connsiteX0" y="connsiteY0"/>
                  </a:cxn>
                  <a:cxn ang="0">
                    <a:pos x="connsiteX1" y="connsiteY1"/>
                  </a:cxn>
                  <a:cxn ang="0">
                    <a:pos x="connsiteX2" y="connsiteY2"/>
                  </a:cxn>
                  <a:cxn ang="0">
                    <a:pos x="connsiteX3" y="connsiteY3"/>
                  </a:cxn>
                </a:cxnLst>
                <a:rect l="l" t="t" r="r" b="b"/>
                <a:pathLst>
                  <a:path w="29389" h="13314">
                    <a:moveTo>
                      <a:pt x="0" y="0"/>
                    </a:moveTo>
                    <a:lnTo>
                      <a:pt x="29390" y="0"/>
                    </a:lnTo>
                    <a:lnTo>
                      <a:pt x="29390" y="13314"/>
                    </a:lnTo>
                    <a:lnTo>
                      <a:pt x="0" y="13314"/>
                    </a:lnTo>
                    <a:close/>
                  </a:path>
                </a:pathLst>
              </a:custGeom>
              <a:solidFill>
                <a:schemeClr val="accent1"/>
              </a:solidFill>
              <a:ln w="2573" cap="flat">
                <a:noFill/>
                <a:prstDash val="solid"/>
                <a:miter/>
              </a:ln>
            </p:spPr>
            <p:txBody>
              <a:bodyPr rtlCol="0" anchor="ctr"/>
              <a:lstStyle/>
              <a:p>
                <a:endParaRPr lang="en-GB" dirty="0"/>
              </a:p>
            </p:txBody>
          </p:sp>
          <p:sp>
            <p:nvSpPr>
              <p:cNvPr id="1328" name="Freihandform: Form 1327">
                <a:extLst>
                  <a:ext uri="{FF2B5EF4-FFF2-40B4-BE49-F238E27FC236}">
                    <a16:creationId xmlns:a16="http://schemas.microsoft.com/office/drawing/2014/main" id="{C710E9FD-6C41-45F0-A744-6B8F23714FB2}"/>
                  </a:ext>
                </a:extLst>
              </p:cNvPr>
              <p:cNvSpPr/>
              <p:nvPr/>
            </p:nvSpPr>
            <p:spPr>
              <a:xfrm>
                <a:off x="3818531" y="2843945"/>
                <a:ext cx="39917" cy="66520"/>
              </a:xfrm>
              <a:custGeom>
                <a:avLst/>
                <a:gdLst>
                  <a:gd name="connsiteX0" fmla="*/ 33260 w 39917"/>
                  <a:gd name="connsiteY0" fmla="*/ 66521 h 66520"/>
                  <a:gd name="connsiteX1" fmla="*/ 6657 w 39917"/>
                  <a:gd name="connsiteY1" fmla="*/ 66521 h 66520"/>
                  <a:gd name="connsiteX2" fmla="*/ 0 w 39917"/>
                  <a:gd name="connsiteY2" fmla="*/ 59863 h 66520"/>
                  <a:gd name="connsiteX3" fmla="*/ 0 w 39917"/>
                  <a:gd name="connsiteY3" fmla="*/ 6657 h 66520"/>
                  <a:gd name="connsiteX4" fmla="*/ 6657 w 39917"/>
                  <a:gd name="connsiteY4" fmla="*/ 0 h 66520"/>
                  <a:gd name="connsiteX5" fmla="*/ 33260 w 39917"/>
                  <a:gd name="connsiteY5" fmla="*/ 0 h 66520"/>
                  <a:gd name="connsiteX6" fmla="*/ 39917 w 39917"/>
                  <a:gd name="connsiteY6" fmla="*/ 6657 h 66520"/>
                  <a:gd name="connsiteX7" fmla="*/ 39917 w 39917"/>
                  <a:gd name="connsiteY7" fmla="*/ 59863 h 66520"/>
                  <a:gd name="connsiteX8" fmla="*/ 33260 w 39917"/>
                  <a:gd name="connsiteY8" fmla="*/ 66521 h 66520"/>
                  <a:gd name="connsiteX9" fmla="*/ 13315 w 39917"/>
                  <a:gd name="connsiteY9" fmla="*/ 53206 h 66520"/>
                  <a:gd name="connsiteX10" fmla="*/ 26629 w 39917"/>
                  <a:gd name="connsiteY10" fmla="*/ 53206 h 66520"/>
                  <a:gd name="connsiteX11" fmla="*/ 26629 w 39917"/>
                  <a:gd name="connsiteY11" fmla="*/ 13289 h 66520"/>
                  <a:gd name="connsiteX12" fmla="*/ 13315 w 39917"/>
                  <a:gd name="connsiteY12" fmla="*/ 13289 h 66520"/>
                  <a:gd name="connsiteX13" fmla="*/ 13315 w 39917"/>
                  <a:gd name="connsiteY13" fmla="*/ 53206 h 6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917" h="66520">
                    <a:moveTo>
                      <a:pt x="33260" y="66521"/>
                    </a:moveTo>
                    <a:lnTo>
                      <a:pt x="6657" y="66521"/>
                    </a:lnTo>
                    <a:cubicBezTo>
                      <a:pt x="2993" y="66521"/>
                      <a:pt x="0" y="63553"/>
                      <a:pt x="0" y="59863"/>
                    </a:cubicBezTo>
                    <a:lnTo>
                      <a:pt x="0" y="6657"/>
                    </a:lnTo>
                    <a:cubicBezTo>
                      <a:pt x="0" y="2993"/>
                      <a:pt x="2967" y="0"/>
                      <a:pt x="6657" y="0"/>
                    </a:cubicBezTo>
                    <a:lnTo>
                      <a:pt x="33260" y="0"/>
                    </a:lnTo>
                    <a:cubicBezTo>
                      <a:pt x="36924" y="0"/>
                      <a:pt x="39917" y="2967"/>
                      <a:pt x="39917" y="6657"/>
                    </a:cubicBezTo>
                    <a:lnTo>
                      <a:pt x="39917" y="59863"/>
                    </a:lnTo>
                    <a:cubicBezTo>
                      <a:pt x="39917" y="63553"/>
                      <a:pt x="36924" y="66521"/>
                      <a:pt x="33260" y="66521"/>
                    </a:cubicBezTo>
                    <a:close/>
                    <a:moveTo>
                      <a:pt x="13315" y="53206"/>
                    </a:moveTo>
                    <a:lnTo>
                      <a:pt x="26629" y="53206"/>
                    </a:lnTo>
                    <a:lnTo>
                      <a:pt x="26629" y="13289"/>
                    </a:lnTo>
                    <a:lnTo>
                      <a:pt x="13315" y="13289"/>
                    </a:lnTo>
                    <a:lnTo>
                      <a:pt x="13315" y="53206"/>
                    </a:lnTo>
                    <a:close/>
                  </a:path>
                </a:pathLst>
              </a:custGeom>
              <a:solidFill>
                <a:schemeClr val="accent1"/>
              </a:solidFill>
              <a:ln w="2573" cap="flat">
                <a:noFill/>
                <a:prstDash val="solid"/>
                <a:miter/>
              </a:ln>
            </p:spPr>
            <p:txBody>
              <a:bodyPr rtlCol="0" anchor="ctr"/>
              <a:lstStyle/>
              <a:p>
                <a:endParaRPr lang="en-GB" dirty="0"/>
              </a:p>
            </p:txBody>
          </p:sp>
          <p:sp>
            <p:nvSpPr>
              <p:cNvPr id="1329" name="Freihandform: Form 1328">
                <a:extLst>
                  <a:ext uri="{FF2B5EF4-FFF2-40B4-BE49-F238E27FC236}">
                    <a16:creationId xmlns:a16="http://schemas.microsoft.com/office/drawing/2014/main" id="{453EF915-68F9-4EB8-96A1-784B29517235}"/>
                  </a:ext>
                </a:extLst>
              </p:cNvPr>
              <p:cNvSpPr/>
              <p:nvPr/>
            </p:nvSpPr>
            <p:spPr>
              <a:xfrm>
                <a:off x="3352939" y="2843945"/>
                <a:ext cx="39917" cy="66520"/>
              </a:xfrm>
              <a:custGeom>
                <a:avLst/>
                <a:gdLst>
                  <a:gd name="connsiteX0" fmla="*/ 33260 w 39917"/>
                  <a:gd name="connsiteY0" fmla="*/ 66521 h 66520"/>
                  <a:gd name="connsiteX1" fmla="*/ 6657 w 39917"/>
                  <a:gd name="connsiteY1" fmla="*/ 66521 h 66520"/>
                  <a:gd name="connsiteX2" fmla="*/ 0 w 39917"/>
                  <a:gd name="connsiteY2" fmla="*/ 59863 h 66520"/>
                  <a:gd name="connsiteX3" fmla="*/ 0 w 39917"/>
                  <a:gd name="connsiteY3" fmla="*/ 6657 h 66520"/>
                  <a:gd name="connsiteX4" fmla="*/ 6657 w 39917"/>
                  <a:gd name="connsiteY4" fmla="*/ 0 h 66520"/>
                  <a:gd name="connsiteX5" fmla="*/ 33260 w 39917"/>
                  <a:gd name="connsiteY5" fmla="*/ 0 h 66520"/>
                  <a:gd name="connsiteX6" fmla="*/ 39917 w 39917"/>
                  <a:gd name="connsiteY6" fmla="*/ 6657 h 66520"/>
                  <a:gd name="connsiteX7" fmla="*/ 39917 w 39917"/>
                  <a:gd name="connsiteY7" fmla="*/ 59863 h 66520"/>
                  <a:gd name="connsiteX8" fmla="*/ 33260 w 39917"/>
                  <a:gd name="connsiteY8" fmla="*/ 66521 h 66520"/>
                  <a:gd name="connsiteX9" fmla="*/ 13314 w 39917"/>
                  <a:gd name="connsiteY9" fmla="*/ 53206 h 66520"/>
                  <a:gd name="connsiteX10" fmla="*/ 26629 w 39917"/>
                  <a:gd name="connsiteY10" fmla="*/ 53206 h 66520"/>
                  <a:gd name="connsiteX11" fmla="*/ 26629 w 39917"/>
                  <a:gd name="connsiteY11" fmla="*/ 13289 h 66520"/>
                  <a:gd name="connsiteX12" fmla="*/ 13314 w 39917"/>
                  <a:gd name="connsiteY12" fmla="*/ 13289 h 66520"/>
                  <a:gd name="connsiteX13" fmla="*/ 13314 w 39917"/>
                  <a:gd name="connsiteY13" fmla="*/ 53206 h 6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917" h="66520">
                    <a:moveTo>
                      <a:pt x="33260" y="66521"/>
                    </a:moveTo>
                    <a:lnTo>
                      <a:pt x="6657" y="66521"/>
                    </a:lnTo>
                    <a:cubicBezTo>
                      <a:pt x="2993" y="66521"/>
                      <a:pt x="0" y="63553"/>
                      <a:pt x="0" y="59863"/>
                    </a:cubicBezTo>
                    <a:lnTo>
                      <a:pt x="0" y="6657"/>
                    </a:lnTo>
                    <a:cubicBezTo>
                      <a:pt x="0" y="2993"/>
                      <a:pt x="2967" y="0"/>
                      <a:pt x="6657" y="0"/>
                    </a:cubicBezTo>
                    <a:lnTo>
                      <a:pt x="33260" y="0"/>
                    </a:lnTo>
                    <a:cubicBezTo>
                      <a:pt x="36924" y="0"/>
                      <a:pt x="39917" y="2967"/>
                      <a:pt x="39917" y="6657"/>
                    </a:cubicBezTo>
                    <a:lnTo>
                      <a:pt x="39917" y="59863"/>
                    </a:lnTo>
                    <a:cubicBezTo>
                      <a:pt x="39917" y="63553"/>
                      <a:pt x="36924" y="66521"/>
                      <a:pt x="33260" y="66521"/>
                    </a:cubicBezTo>
                    <a:close/>
                    <a:moveTo>
                      <a:pt x="13314" y="53206"/>
                    </a:moveTo>
                    <a:lnTo>
                      <a:pt x="26629" y="53206"/>
                    </a:lnTo>
                    <a:lnTo>
                      <a:pt x="26629" y="13289"/>
                    </a:lnTo>
                    <a:lnTo>
                      <a:pt x="13314" y="13289"/>
                    </a:lnTo>
                    <a:lnTo>
                      <a:pt x="13314" y="53206"/>
                    </a:lnTo>
                    <a:close/>
                  </a:path>
                </a:pathLst>
              </a:custGeom>
              <a:solidFill>
                <a:schemeClr val="accent1"/>
              </a:solidFill>
              <a:ln w="2573" cap="flat">
                <a:noFill/>
                <a:prstDash val="solid"/>
                <a:miter/>
              </a:ln>
            </p:spPr>
            <p:txBody>
              <a:bodyPr rtlCol="0" anchor="ctr"/>
              <a:lstStyle/>
              <a:p>
                <a:endParaRPr lang="en-GB" dirty="0"/>
              </a:p>
            </p:txBody>
          </p:sp>
        </p:grpSp>
        <p:grpSp>
          <p:nvGrpSpPr>
            <p:cNvPr id="1297" name="Gruppieren 1296">
              <a:extLst>
                <a:ext uri="{FF2B5EF4-FFF2-40B4-BE49-F238E27FC236}">
                  <a16:creationId xmlns:a16="http://schemas.microsoft.com/office/drawing/2014/main" id="{017F7F4B-BCF9-4945-B370-79441B365548}"/>
                </a:ext>
              </a:extLst>
            </p:cNvPr>
            <p:cNvGrpSpPr/>
            <p:nvPr/>
          </p:nvGrpSpPr>
          <p:grpSpPr>
            <a:xfrm>
              <a:off x="3737543" y="2449341"/>
              <a:ext cx="385592" cy="432000"/>
              <a:chOff x="3394946" y="2438242"/>
              <a:chExt cx="421494" cy="472224"/>
            </a:xfrm>
            <a:solidFill>
              <a:schemeClr val="tx2"/>
            </a:solidFill>
          </p:grpSpPr>
          <p:grpSp>
            <p:nvGrpSpPr>
              <p:cNvPr id="1298" name="Grafik 312">
                <a:extLst>
                  <a:ext uri="{FF2B5EF4-FFF2-40B4-BE49-F238E27FC236}">
                    <a16:creationId xmlns:a16="http://schemas.microsoft.com/office/drawing/2014/main" id="{37C80E6A-33B6-4444-B3ED-0A7A8CBF1498}"/>
                  </a:ext>
                </a:extLst>
              </p:cNvPr>
              <p:cNvGrpSpPr/>
              <p:nvPr/>
            </p:nvGrpSpPr>
            <p:grpSpPr>
              <a:xfrm>
                <a:off x="3599049" y="2438242"/>
                <a:ext cx="217391" cy="472224"/>
                <a:chOff x="3599049" y="2438242"/>
                <a:chExt cx="217391" cy="472224"/>
              </a:xfrm>
              <a:grpFill/>
            </p:grpSpPr>
            <p:grpSp>
              <p:nvGrpSpPr>
                <p:cNvPr id="1309" name="Grafik 312">
                  <a:extLst>
                    <a:ext uri="{FF2B5EF4-FFF2-40B4-BE49-F238E27FC236}">
                      <a16:creationId xmlns:a16="http://schemas.microsoft.com/office/drawing/2014/main" id="{AADB345A-62BB-4FB3-9F70-04FCB5C73AAD}"/>
                    </a:ext>
                  </a:extLst>
                </p:cNvPr>
                <p:cNvGrpSpPr/>
                <p:nvPr/>
              </p:nvGrpSpPr>
              <p:grpSpPr>
                <a:xfrm>
                  <a:off x="3632310" y="2737507"/>
                  <a:ext cx="146329" cy="172958"/>
                  <a:chOff x="3632310" y="2737507"/>
                  <a:chExt cx="146329" cy="172958"/>
                </a:xfrm>
                <a:grpFill/>
              </p:grpSpPr>
              <p:sp>
                <p:nvSpPr>
                  <p:cNvPr id="1315" name="Freihandform: Form 1314">
                    <a:extLst>
                      <a:ext uri="{FF2B5EF4-FFF2-40B4-BE49-F238E27FC236}">
                        <a16:creationId xmlns:a16="http://schemas.microsoft.com/office/drawing/2014/main" id="{970F80F9-E620-4639-B572-C28F9B97BA8B}"/>
                      </a:ext>
                    </a:extLst>
                  </p:cNvPr>
                  <p:cNvSpPr/>
                  <p:nvPr/>
                </p:nvSpPr>
                <p:spPr>
                  <a:xfrm>
                    <a:off x="3698805" y="2737507"/>
                    <a:ext cx="13314" cy="172958"/>
                  </a:xfrm>
                  <a:custGeom>
                    <a:avLst/>
                    <a:gdLst>
                      <a:gd name="connsiteX0" fmla="*/ 6657 w 13314"/>
                      <a:gd name="connsiteY0" fmla="*/ 172959 h 172958"/>
                      <a:gd name="connsiteX1" fmla="*/ 0 w 13314"/>
                      <a:gd name="connsiteY1" fmla="*/ 166302 h 172958"/>
                      <a:gd name="connsiteX2" fmla="*/ 0 w 13314"/>
                      <a:gd name="connsiteY2" fmla="*/ 6657 h 172958"/>
                      <a:gd name="connsiteX3" fmla="*/ 6657 w 13314"/>
                      <a:gd name="connsiteY3" fmla="*/ 0 h 172958"/>
                      <a:gd name="connsiteX4" fmla="*/ 13315 w 13314"/>
                      <a:gd name="connsiteY4" fmla="*/ 6657 h 172958"/>
                      <a:gd name="connsiteX5" fmla="*/ 13315 w 13314"/>
                      <a:gd name="connsiteY5" fmla="*/ 166302 h 172958"/>
                      <a:gd name="connsiteX6" fmla="*/ 6657 w 13314"/>
                      <a:gd name="connsiteY6" fmla="*/ 172959 h 172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172958">
                        <a:moveTo>
                          <a:pt x="6657" y="172959"/>
                        </a:moveTo>
                        <a:cubicBezTo>
                          <a:pt x="2993" y="172959"/>
                          <a:pt x="0" y="169991"/>
                          <a:pt x="0" y="166302"/>
                        </a:cubicBezTo>
                        <a:lnTo>
                          <a:pt x="0" y="6657"/>
                        </a:lnTo>
                        <a:cubicBezTo>
                          <a:pt x="0" y="2993"/>
                          <a:pt x="2967" y="0"/>
                          <a:pt x="6657" y="0"/>
                        </a:cubicBezTo>
                        <a:cubicBezTo>
                          <a:pt x="10347" y="0"/>
                          <a:pt x="13315" y="2967"/>
                          <a:pt x="13315" y="6657"/>
                        </a:cubicBezTo>
                        <a:lnTo>
                          <a:pt x="13315" y="166302"/>
                        </a:lnTo>
                        <a:cubicBezTo>
                          <a:pt x="13315" y="169991"/>
                          <a:pt x="10321" y="172959"/>
                          <a:pt x="6657" y="172959"/>
                        </a:cubicBezTo>
                        <a:close/>
                      </a:path>
                    </a:pathLst>
                  </a:custGeom>
                  <a:grpFill/>
                  <a:ln w="2573" cap="flat">
                    <a:noFill/>
                    <a:prstDash val="solid"/>
                    <a:miter/>
                  </a:ln>
                </p:spPr>
                <p:txBody>
                  <a:bodyPr rtlCol="0" anchor="ctr"/>
                  <a:lstStyle/>
                  <a:p>
                    <a:endParaRPr lang="en-GB" dirty="0"/>
                  </a:p>
                </p:txBody>
              </p:sp>
              <p:sp>
                <p:nvSpPr>
                  <p:cNvPr id="1316" name="Freihandform: Form 1315">
                    <a:extLst>
                      <a:ext uri="{FF2B5EF4-FFF2-40B4-BE49-F238E27FC236}">
                        <a16:creationId xmlns:a16="http://schemas.microsoft.com/office/drawing/2014/main" id="{F4577356-39B0-410B-97C3-2ABFD516F644}"/>
                      </a:ext>
                    </a:extLst>
                  </p:cNvPr>
                  <p:cNvSpPr/>
                  <p:nvPr/>
                </p:nvSpPr>
                <p:spPr>
                  <a:xfrm>
                    <a:off x="3632310" y="2737507"/>
                    <a:ext cx="146329" cy="172958"/>
                  </a:xfrm>
                  <a:custGeom>
                    <a:avLst/>
                    <a:gdLst>
                      <a:gd name="connsiteX0" fmla="*/ 139673 w 146329"/>
                      <a:gd name="connsiteY0" fmla="*/ 172959 h 172958"/>
                      <a:gd name="connsiteX1" fmla="*/ 133016 w 146329"/>
                      <a:gd name="connsiteY1" fmla="*/ 166302 h 172958"/>
                      <a:gd name="connsiteX2" fmla="*/ 133016 w 146329"/>
                      <a:gd name="connsiteY2" fmla="*/ 36279 h 172958"/>
                      <a:gd name="connsiteX3" fmla="*/ 110051 w 146329"/>
                      <a:gd name="connsiteY3" fmla="*/ 13314 h 172958"/>
                      <a:gd name="connsiteX4" fmla="*/ 36279 w 146329"/>
                      <a:gd name="connsiteY4" fmla="*/ 13314 h 172958"/>
                      <a:gd name="connsiteX5" fmla="*/ 13315 w 146329"/>
                      <a:gd name="connsiteY5" fmla="*/ 36279 h 172958"/>
                      <a:gd name="connsiteX6" fmla="*/ 13315 w 146329"/>
                      <a:gd name="connsiteY6" fmla="*/ 166302 h 172958"/>
                      <a:gd name="connsiteX7" fmla="*/ 6657 w 146329"/>
                      <a:gd name="connsiteY7" fmla="*/ 172959 h 172958"/>
                      <a:gd name="connsiteX8" fmla="*/ 0 w 146329"/>
                      <a:gd name="connsiteY8" fmla="*/ 166302 h 172958"/>
                      <a:gd name="connsiteX9" fmla="*/ 0 w 146329"/>
                      <a:gd name="connsiteY9" fmla="*/ 36279 h 172958"/>
                      <a:gd name="connsiteX10" fmla="*/ 36279 w 146329"/>
                      <a:gd name="connsiteY10" fmla="*/ 0 h 172958"/>
                      <a:gd name="connsiteX11" fmla="*/ 110051 w 146329"/>
                      <a:gd name="connsiteY11" fmla="*/ 0 h 172958"/>
                      <a:gd name="connsiteX12" fmla="*/ 146330 w 146329"/>
                      <a:gd name="connsiteY12" fmla="*/ 36279 h 172958"/>
                      <a:gd name="connsiteX13" fmla="*/ 146330 w 146329"/>
                      <a:gd name="connsiteY13" fmla="*/ 166302 h 172958"/>
                      <a:gd name="connsiteX14" fmla="*/ 139673 w 146329"/>
                      <a:gd name="connsiteY14" fmla="*/ 172959 h 172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329" h="172958">
                        <a:moveTo>
                          <a:pt x="139673" y="172959"/>
                        </a:moveTo>
                        <a:cubicBezTo>
                          <a:pt x="136008" y="172959"/>
                          <a:pt x="133016" y="169991"/>
                          <a:pt x="133016" y="166302"/>
                        </a:cubicBezTo>
                        <a:lnTo>
                          <a:pt x="133016" y="36279"/>
                        </a:lnTo>
                        <a:cubicBezTo>
                          <a:pt x="133016" y="23610"/>
                          <a:pt x="122720" y="13314"/>
                          <a:pt x="110051" y="13314"/>
                        </a:cubicBezTo>
                        <a:lnTo>
                          <a:pt x="36279" y="13314"/>
                        </a:lnTo>
                        <a:cubicBezTo>
                          <a:pt x="23610" y="13314"/>
                          <a:pt x="13315" y="23610"/>
                          <a:pt x="13315" y="36279"/>
                        </a:cubicBezTo>
                        <a:lnTo>
                          <a:pt x="13315" y="166302"/>
                        </a:lnTo>
                        <a:cubicBezTo>
                          <a:pt x="13315" y="169966"/>
                          <a:pt x="10347" y="172959"/>
                          <a:pt x="6657" y="172959"/>
                        </a:cubicBezTo>
                        <a:cubicBezTo>
                          <a:pt x="2967" y="172959"/>
                          <a:pt x="0" y="169991"/>
                          <a:pt x="0" y="166302"/>
                        </a:cubicBezTo>
                        <a:lnTo>
                          <a:pt x="0" y="36279"/>
                        </a:lnTo>
                        <a:cubicBezTo>
                          <a:pt x="0" y="16282"/>
                          <a:pt x="16282" y="0"/>
                          <a:pt x="36279" y="0"/>
                        </a:cubicBezTo>
                        <a:lnTo>
                          <a:pt x="110051" y="0"/>
                        </a:lnTo>
                        <a:cubicBezTo>
                          <a:pt x="130048" y="0"/>
                          <a:pt x="146330" y="16282"/>
                          <a:pt x="146330" y="36279"/>
                        </a:cubicBezTo>
                        <a:lnTo>
                          <a:pt x="146330" y="166302"/>
                        </a:lnTo>
                        <a:cubicBezTo>
                          <a:pt x="146304" y="169991"/>
                          <a:pt x="143337" y="172959"/>
                          <a:pt x="139673" y="172959"/>
                        </a:cubicBezTo>
                        <a:close/>
                      </a:path>
                    </a:pathLst>
                  </a:custGeom>
                  <a:grpFill/>
                  <a:ln w="2573" cap="flat">
                    <a:noFill/>
                    <a:prstDash val="solid"/>
                    <a:miter/>
                  </a:ln>
                </p:spPr>
                <p:txBody>
                  <a:bodyPr rtlCol="0" anchor="ctr"/>
                  <a:lstStyle/>
                  <a:p>
                    <a:endParaRPr lang="en-GB" dirty="0"/>
                  </a:p>
                </p:txBody>
              </p:sp>
            </p:grpSp>
            <p:sp>
              <p:nvSpPr>
                <p:cNvPr id="1310" name="Freihandform: Form 1309">
                  <a:extLst>
                    <a:ext uri="{FF2B5EF4-FFF2-40B4-BE49-F238E27FC236}">
                      <a16:creationId xmlns:a16="http://schemas.microsoft.com/office/drawing/2014/main" id="{D46F2EE9-2E08-4159-9E0F-537B4BF3D881}"/>
                    </a:ext>
                  </a:extLst>
                </p:cNvPr>
                <p:cNvSpPr/>
                <p:nvPr/>
              </p:nvSpPr>
              <p:spPr>
                <a:xfrm>
                  <a:off x="3658913" y="2438242"/>
                  <a:ext cx="93097" cy="106412"/>
                </a:xfrm>
                <a:custGeom>
                  <a:avLst/>
                  <a:gdLst>
                    <a:gd name="connsiteX0" fmla="*/ 46549 w 93097"/>
                    <a:gd name="connsiteY0" fmla="*/ 106412 h 106412"/>
                    <a:gd name="connsiteX1" fmla="*/ 0 w 93097"/>
                    <a:gd name="connsiteY1" fmla="*/ 53206 h 106412"/>
                    <a:gd name="connsiteX2" fmla="*/ 46549 w 93097"/>
                    <a:gd name="connsiteY2" fmla="*/ 0 h 106412"/>
                    <a:gd name="connsiteX3" fmla="*/ 93098 w 93097"/>
                    <a:gd name="connsiteY3" fmla="*/ 53206 h 106412"/>
                    <a:gd name="connsiteX4" fmla="*/ 46549 w 93097"/>
                    <a:gd name="connsiteY4" fmla="*/ 106412 h 106412"/>
                    <a:gd name="connsiteX5" fmla="*/ 46549 w 93097"/>
                    <a:gd name="connsiteY5" fmla="*/ 13289 h 106412"/>
                    <a:gd name="connsiteX6" fmla="*/ 13288 w 93097"/>
                    <a:gd name="connsiteY6" fmla="*/ 53206 h 106412"/>
                    <a:gd name="connsiteX7" fmla="*/ 46549 w 93097"/>
                    <a:gd name="connsiteY7" fmla="*/ 93124 h 106412"/>
                    <a:gd name="connsiteX8" fmla="*/ 79809 w 93097"/>
                    <a:gd name="connsiteY8" fmla="*/ 53206 h 106412"/>
                    <a:gd name="connsiteX9" fmla="*/ 46549 w 93097"/>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7" h="106412">
                      <a:moveTo>
                        <a:pt x="46549" y="106412"/>
                      </a:moveTo>
                      <a:cubicBezTo>
                        <a:pt x="18707" y="106412"/>
                        <a:pt x="0" y="85022"/>
                        <a:pt x="0" y="53206"/>
                      </a:cubicBezTo>
                      <a:cubicBezTo>
                        <a:pt x="0" y="21391"/>
                        <a:pt x="18707" y="0"/>
                        <a:pt x="46549" y="0"/>
                      </a:cubicBezTo>
                      <a:cubicBezTo>
                        <a:pt x="74390" y="0"/>
                        <a:pt x="93098" y="21391"/>
                        <a:pt x="93098" y="53206"/>
                      </a:cubicBezTo>
                      <a:cubicBezTo>
                        <a:pt x="93098" y="85022"/>
                        <a:pt x="74390" y="106412"/>
                        <a:pt x="46549" y="106412"/>
                      </a:cubicBezTo>
                      <a:close/>
                      <a:moveTo>
                        <a:pt x="46549" y="13289"/>
                      </a:moveTo>
                      <a:cubicBezTo>
                        <a:pt x="22010" y="13289"/>
                        <a:pt x="13288" y="34783"/>
                        <a:pt x="13288" y="53206"/>
                      </a:cubicBezTo>
                      <a:cubicBezTo>
                        <a:pt x="13288" y="71630"/>
                        <a:pt x="22010" y="93124"/>
                        <a:pt x="46549" y="93124"/>
                      </a:cubicBezTo>
                      <a:cubicBezTo>
                        <a:pt x="71088" y="93124"/>
                        <a:pt x="79809" y="71630"/>
                        <a:pt x="79809" y="53206"/>
                      </a:cubicBezTo>
                      <a:cubicBezTo>
                        <a:pt x="79809" y="34783"/>
                        <a:pt x="71088" y="13289"/>
                        <a:pt x="46549" y="13289"/>
                      </a:cubicBezTo>
                      <a:close/>
                    </a:path>
                  </a:pathLst>
                </a:custGeom>
                <a:grpFill/>
                <a:ln w="2573" cap="flat">
                  <a:noFill/>
                  <a:prstDash val="solid"/>
                  <a:miter/>
                </a:ln>
              </p:spPr>
              <p:txBody>
                <a:bodyPr rtlCol="0" anchor="ctr"/>
                <a:lstStyle/>
                <a:p>
                  <a:endParaRPr lang="en-GB" dirty="0"/>
                </a:p>
              </p:txBody>
            </p:sp>
            <p:sp>
              <p:nvSpPr>
                <p:cNvPr id="1311" name="Freihandform: Form 1310">
                  <a:extLst>
                    <a:ext uri="{FF2B5EF4-FFF2-40B4-BE49-F238E27FC236}">
                      <a16:creationId xmlns:a16="http://schemas.microsoft.com/office/drawing/2014/main" id="{5D70C9BB-05CA-4298-9BF7-8182722D2E49}"/>
                    </a:ext>
                  </a:extLst>
                </p:cNvPr>
                <p:cNvSpPr/>
                <p:nvPr/>
              </p:nvSpPr>
              <p:spPr>
                <a:xfrm>
                  <a:off x="3645598" y="2697590"/>
                  <a:ext cx="66520" cy="53231"/>
                </a:xfrm>
                <a:custGeom>
                  <a:avLst/>
                  <a:gdLst>
                    <a:gd name="connsiteX0" fmla="*/ 59863 w 66520"/>
                    <a:gd name="connsiteY0" fmla="*/ 53232 h 53231"/>
                    <a:gd name="connsiteX1" fmla="*/ 53206 w 66520"/>
                    <a:gd name="connsiteY1" fmla="*/ 46575 h 53231"/>
                    <a:gd name="connsiteX2" fmla="*/ 53206 w 66520"/>
                    <a:gd name="connsiteY2" fmla="*/ 13314 h 53231"/>
                    <a:gd name="connsiteX3" fmla="*/ 6657 w 66520"/>
                    <a:gd name="connsiteY3" fmla="*/ 13314 h 53231"/>
                    <a:gd name="connsiteX4" fmla="*/ 0 w 66520"/>
                    <a:gd name="connsiteY4" fmla="*/ 6657 h 53231"/>
                    <a:gd name="connsiteX5" fmla="*/ 6657 w 66520"/>
                    <a:gd name="connsiteY5" fmla="*/ 0 h 53231"/>
                    <a:gd name="connsiteX6" fmla="*/ 66521 w 66520"/>
                    <a:gd name="connsiteY6" fmla="*/ 0 h 53231"/>
                    <a:gd name="connsiteX7" fmla="*/ 66521 w 66520"/>
                    <a:gd name="connsiteY7" fmla="*/ 46549 h 53231"/>
                    <a:gd name="connsiteX8" fmla="*/ 59863 w 66520"/>
                    <a:gd name="connsiteY8" fmla="*/ 53232 h 53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520" h="53231">
                      <a:moveTo>
                        <a:pt x="59863" y="53232"/>
                      </a:moveTo>
                      <a:cubicBezTo>
                        <a:pt x="56199" y="53232"/>
                        <a:pt x="53206" y="50265"/>
                        <a:pt x="53206" y="46575"/>
                      </a:cubicBezTo>
                      <a:lnTo>
                        <a:pt x="53206" y="13314"/>
                      </a:lnTo>
                      <a:lnTo>
                        <a:pt x="6657" y="13314"/>
                      </a:lnTo>
                      <a:cubicBezTo>
                        <a:pt x="2993" y="13314"/>
                        <a:pt x="0" y="10347"/>
                        <a:pt x="0" y="6657"/>
                      </a:cubicBezTo>
                      <a:cubicBezTo>
                        <a:pt x="0" y="2993"/>
                        <a:pt x="2967" y="0"/>
                        <a:pt x="6657" y="0"/>
                      </a:cubicBezTo>
                      <a:lnTo>
                        <a:pt x="66521" y="0"/>
                      </a:lnTo>
                      <a:lnTo>
                        <a:pt x="66521" y="46549"/>
                      </a:lnTo>
                      <a:cubicBezTo>
                        <a:pt x="66521" y="50265"/>
                        <a:pt x="63527" y="53232"/>
                        <a:pt x="59863" y="53232"/>
                      </a:cubicBezTo>
                      <a:close/>
                    </a:path>
                  </a:pathLst>
                </a:custGeom>
                <a:grpFill/>
                <a:ln w="2573" cap="flat">
                  <a:noFill/>
                  <a:prstDash val="solid"/>
                  <a:miter/>
                </a:ln>
              </p:spPr>
              <p:txBody>
                <a:bodyPr rtlCol="0" anchor="ctr"/>
                <a:lstStyle/>
                <a:p>
                  <a:endParaRPr lang="en-GB" dirty="0"/>
                </a:p>
              </p:txBody>
            </p:sp>
            <p:grpSp>
              <p:nvGrpSpPr>
                <p:cNvPr id="1312" name="Grafik 312">
                  <a:extLst>
                    <a:ext uri="{FF2B5EF4-FFF2-40B4-BE49-F238E27FC236}">
                      <a16:creationId xmlns:a16="http://schemas.microsoft.com/office/drawing/2014/main" id="{C8FC6AE1-CB7C-4998-9A11-28C42CAB7AF7}"/>
                    </a:ext>
                  </a:extLst>
                </p:cNvPr>
                <p:cNvGrpSpPr/>
                <p:nvPr/>
              </p:nvGrpSpPr>
              <p:grpSpPr>
                <a:xfrm>
                  <a:off x="3599049" y="2557943"/>
                  <a:ext cx="217391" cy="192878"/>
                  <a:chOff x="3599049" y="2557943"/>
                  <a:chExt cx="217391" cy="192878"/>
                </a:xfrm>
                <a:grpFill/>
              </p:grpSpPr>
              <p:sp>
                <p:nvSpPr>
                  <p:cNvPr id="1313" name="Freihandform: Form 1312">
                    <a:extLst>
                      <a:ext uri="{FF2B5EF4-FFF2-40B4-BE49-F238E27FC236}">
                        <a16:creationId xmlns:a16="http://schemas.microsoft.com/office/drawing/2014/main" id="{C0F9F51A-B6A4-4F6A-8B30-AAD94537CC35}"/>
                      </a:ext>
                    </a:extLst>
                  </p:cNvPr>
                  <p:cNvSpPr/>
                  <p:nvPr/>
                </p:nvSpPr>
                <p:spPr>
                  <a:xfrm>
                    <a:off x="3599049" y="2557943"/>
                    <a:ext cx="217391" cy="192878"/>
                  </a:xfrm>
                  <a:custGeom>
                    <a:avLst/>
                    <a:gdLst>
                      <a:gd name="connsiteX0" fmla="*/ 192543 w 217391"/>
                      <a:gd name="connsiteY0" fmla="*/ 192879 h 192878"/>
                      <a:gd name="connsiteX1" fmla="*/ 133016 w 217391"/>
                      <a:gd name="connsiteY1" fmla="*/ 192879 h 192878"/>
                      <a:gd name="connsiteX2" fmla="*/ 133016 w 217391"/>
                      <a:gd name="connsiteY2" fmla="*/ 179564 h 192878"/>
                      <a:gd name="connsiteX3" fmla="*/ 192543 w 217391"/>
                      <a:gd name="connsiteY3" fmla="*/ 179564 h 192878"/>
                      <a:gd name="connsiteX4" fmla="*/ 204103 w 217391"/>
                      <a:gd name="connsiteY4" fmla="*/ 165424 h 192878"/>
                      <a:gd name="connsiteX5" fmla="*/ 199536 w 217391"/>
                      <a:gd name="connsiteY5" fmla="*/ 86828 h 192878"/>
                      <a:gd name="connsiteX6" fmla="*/ 133016 w 217391"/>
                      <a:gd name="connsiteY6" fmla="*/ 13289 h 192878"/>
                      <a:gd name="connsiteX7" fmla="*/ 79809 w 217391"/>
                      <a:gd name="connsiteY7" fmla="*/ 13289 h 192878"/>
                      <a:gd name="connsiteX8" fmla="*/ 13289 w 217391"/>
                      <a:gd name="connsiteY8" fmla="*/ 86441 h 192878"/>
                      <a:gd name="connsiteX9" fmla="*/ 13289 w 217391"/>
                      <a:gd name="connsiteY9" fmla="*/ 165218 h 192878"/>
                      <a:gd name="connsiteX10" fmla="*/ 26939 w 217391"/>
                      <a:gd name="connsiteY10" fmla="*/ 179564 h 192878"/>
                      <a:gd name="connsiteX11" fmla="*/ 79809 w 217391"/>
                      <a:gd name="connsiteY11" fmla="*/ 179564 h 192878"/>
                      <a:gd name="connsiteX12" fmla="*/ 79809 w 217391"/>
                      <a:gd name="connsiteY12" fmla="*/ 192879 h 192878"/>
                      <a:gd name="connsiteX13" fmla="*/ 26939 w 217391"/>
                      <a:gd name="connsiteY13" fmla="*/ 192879 h 192878"/>
                      <a:gd name="connsiteX14" fmla="*/ 0 w 217391"/>
                      <a:gd name="connsiteY14" fmla="*/ 165244 h 192878"/>
                      <a:gd name="connsiteX15" fmla="*/ 0 w 217391"/>
                      <a:gd name="connsiteY15" fmla="*/ 86467 h 192878"/>
                      <a:gd name="connsiteX16" fmla="*/ 79809 w 217391"/>
                      <a:gd name="connsiteY16" fmla="*/ 0 h 192878"/>
                      <a:gd name="connsiteX17" fmla="*/ 133016 w 217391"/>
                      <a:gd name="connsiteY17" fmla="*/ 0 h 192878"/>
                      <a:gd name="connsiteX18" fmla="*/ 212773 w 217391"/>
                      <a:gd name="connsiteY18" fmla="*/ 85563 h 192878"/>
                      <a:gd name="connsiteX19" fmla="*/ 217392 w 217391"/>
                      <a:gd name="connsiteY19" fmla="*/ 165063 h 192878"/>
                      <a:gd name="connsiteX20" fmla="*/ 192543 w 217391"/>
                      <a:gd name="connsiteY20" fmla="*/ 192879 h 19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7391" h="192878">
                        <a:moveTo>
                          <a:pt x="192543" y="192879"/>
                        </a:moveTo>
                        <a:lnTo>
                          <a:pt x="133016" y="192879"/>
                        </a:lnTo>
                        <a:lnTo>
                          <a:pt x="133016" y="179564"/>
                        </a:lnTo>
                        <a:lnTo>
                          <a:pt x="192543" y="179564"/>
                        </a:lnTo>
                        <a:cubicBezTo>
                          <a:pt x="200491" y="179564"/>
                          <a:pt x="204103" y="172236"/>
                          <a:pt x="204103" y="165424"/>
                        </a:cubicBezTo>
                        <a:lnTo>
                          <a:pt x="199536" y="86828"/>
                        </a:lnTo>
                        <a:cubicBezTo>
                          <a:pt x="192905" y="38189"/>
                          <a:pt x="170508" y="13289"/>
                          <a:pt x="133016" y="13289"/>
                        </a:cubicBezTo>
                        <a:lnTo>
                          <a:pt x="79809" y="13289"/>
                        </a:lnTo>
                        <a:cubicBezTo>
                          <a:pt x="41259" y="13289"/>
                          <a:pt x="13289" y="44046"/>
                          <a:pt x="13289" y="86441"/>
                        </a:cubicBezTo>
                        <a:lnTo>
                          <a:pt x="13289" y="165218"/>
                        </a:lnTo>
                        <a:cubicBezTo>
                          <a:pt x="13289" y="172985"/>
                          <a:pt x="19533" y="179564"/>
                          <a:pt x="26939" y="179564"/>
                        </a:cubicBezTo>
                        <a:lnTo>
                          <a:pt x="79809" y="179564"/>
                        </a:lnTo>
                        <a:lnTo>
                          <a:pt x="79809" y="192879"/>
                        </a:lnTo>
                        <a:lnTo>
                          <a:pt x="26939" y="192879"/>
                        </a:lnTo>
                        <a:cubicBezTo>
                          <a:pt x="12334" y="192879"/>
                          <a:pt x="0" y="180209"/>
                          <a:pt x="0" y="165244"/>
                        </a:cubicBezTo>
                        <a:lnTo>
                          <a:pt x="0" y="86467"/>
                        </a:lnTo>
                        <a:cubicBezTo>
                          <a:pt x="0" y="37182"/>
                          <a:pt x="34318" y="0"/>
                          <a:pt x="79809" y="0"/>
                        </a:cubicBezTo>
                        <a:lnTo>
                          <a:pt x="133016" y="0"/>
                        </a:lnTo>
                        <a:cubicBezTo>
                          <a:pt x="164108" y="0"/>
                          <a:pt x="203174" y="14837"/>
                          <a:pt x="212773" y="85563"/>
                        </a:cubicBezTo>
                        <a:lnTo>
                          <a:pt x="217392" y="165063"/>
                        </a:lnTo>
                        <a:cubicBezTo>
                          <a:pt x="217418" y="181087"/>
                          <a:pt x="206709" y="192879"/>
                          <a:pt x="192543" y="192879"/>
                        </a:cubicBezTo>
                        <a:close/>
                      </a:path>
                    </a:pathLst>
                  </a:custGeom>
                  <a:grpFill/>
                  <a:ln w="2573" cap="flat">
                    <a:noFill/>
                    <a:prstDash val="solid"/>
                    <a:miter/>
                  </a:ln>
                </p:spPr>
                <p:txBody>
                  <a:bodyPr rtlCol="0" anchor="ctr"/>
                  <a:lstStyle/>
                  <a:p>
                    <a:endParaRPr lang="en-GB" dirty="0"/>
                  </a:p>
                </p:txBody>
              </p:sp>
              <p:sp>
                <p:nvSpPr>
                  <p:cNvPr id="1314" name="Freihandform: Form 1313">
                    <a:extLst>
                      <a:ext uri="{FF2B5EF4-FFF2-40B4-BE49-F238E27FC236}">
                        <a16:creationId xmlns:a16="http://schemas.microsoft.com/office/drawing/2014/main" id="{27A9242C-641C-4450-878C-FBB2018AE988}"/>
                      </a:ext>
                    </a:extLst>
                  </p:cNvPr>
                  <p:cNvSpPr/>
                  <p:nvPr/>
                </p:nvSpPr>
                <p:spPr>
                  <a:xfrm>
                    <a:off x="3698805" y="2697616"/>
                    <a:ext cx="66520" cy="53206"/>
                  </a:xfrm>
                  <a:custGeom>
                    <a:avLst/>
                    <a:gdLst>
                      <a:gd name="connsiteX0" fmla="*/ 6657 w 66520"/>
                      <a:gd name="connsiteY0" fmla="*/ 53206 h 53206"/>
                      <a:gd name="connsiteX1" fmla="*/ 0 w 66520"/>
                      <a:gd name="connsiteY1" fmla="*/ 46549 h 53206"/>
                      <a:gd name="connsiteX2" fmla="*/ 0 w 66520"/>
                      <a:gd name="connsiteY2" fmla="*/ 0 h 53206"/>
                      <a:gd name="connsiteX3" fmla="*/ 59863 w 66520"/>
                      <a:gd name="connsiteY3" fmla="*/ 0 h 53206"/>
                      <a:gd name="connsiteX4" fmla="*/ 66521 w 66520"/>
                      <a:gd name="connsiteY4" fmla="*/ 6657 h 53206"/>
                      <a:gd name="connsiteX5" fmla="*/ 59863 w 66520"/>
                      <a:gd name="connsiteY5" fmla="*/ 13314 h 53206"/>
                      <a:gd name="connsiteX6" fmla="*/ 13315 w 66520"/>
                      <a:gd name="connsiteY6" fmla="*/ 13314 h 53206"/>
                      <a:gd name="connsiteX7" fmla="*/ 13315 w 66520"/>
                      <a:gd name="connsiteY7" fmla="*/ 46575 h 53206"/>
                      <a:gd name="connsiteX8" fmla="*/ 6657 w 66520"/>
                      <a:gd name="connsiteY8" fmla="*/ 53206 h 5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520" h="53206">
                        <a:moveTo>
                          <a:pt x="6657" y="53206"/>
                        </a:moveTo>
                        <a:cubicBezTo>
                          <a:pt x="2993" y="53206"/>
                          <a:pt x="0" y="50239"/>
                          <a:pt x="0" y="46549"/>
                        </a:cubicBezTo>
                        <a:lnTo>
                          <a:pt x="0" y="0"/>
                        </a:lnTo>
                        <a:lnTo>
                          <a:pt x="59863" y="0"/>
                        </a:lnTo>
                        <a:cubicBezTo>
                          <a:pt x="63527" y="0"/>
                          <a:pt x="66521" y="2967"/>
                          <a:pt x="66521" y="6657"/>
                        </a:cubicBezTo>
                        <a:cubicBezTo>
                          <a:pt x="66521" y="10321"/>
                          <a:pt x="63553" y="13314"/>
                          <a:pt x="59863" y="13314"/>
                        </a:cubicBezTo>
                        <a:lnTo>
                          <a:pt x="13315" y="13314"/>
                        </a:lnTo>
                        <a:lnTo>
                          <a:pt x="13315" y="46575"/>
                        </a:lnTo>
                        <a:cubicBezTo>
                          <a:pt x="13315" y="50239"/>
                          <a:pt x="10321" y="53206"/>
                          <a:pt x="6657" y="53206"/>
                        </a:cubicBezTo>
                        <a:close/>
                      </a:path>
                    </a:pathLst>
                  </a:custGeom>
                  <a:grpFill/>
                  <a:ln w="2573" cap="flat">
                    <a:noFill/>
                    <a:prstDash val="solid"/>
                    <a:miter/>
                  </a:ln>
                </p:spPr>
                <p:txBody>
                  <a:bodyPr rtlCol="0" anchor="ctr"/>
                  <a:lstStyle/>
                  <a:p>
                    <a:endParaRPr lang="en-GB" dirty="0"/>
                  </a:p>
                </p:txBody>
              </p:sp>
            </p:grpSp>
          </p:grpSp>
          <p:grpSp>
            <p:nvGrpSpPr>
              <p:cNvPr id="1299" name="Grafik 312">
                <a:extLst>
                  <a:ext uri="{FF2B5EF4-FFF2-40B4-BE49-F238E27FC236}">
                    <a16:creationId xmlns:a16="http://schemas.microsoft.com/office/drawing/2014/main" id="{130FFA69-BBD1-4BAA-926D-AE331C2FBC4A}"/>
                  </a:ext>
                </a:extLst>
              </p:cNvPr>
              <p:cNvGrpSpPr/>
              <p:nvPr/>
            </p:nvGrpSpPr>
            <p:grpSpPr>
              <a:xfrm>
                <a:off x="3394946" y="2438242"/>
                <a:ext cx="217417" cy="472224"/>
                <a:chOff x="3394946" y="2438242"/>
                <a:chExt cx="217417" cy="472224"/>
              </a:xfrm>
              <a:grpFill/>
            </p:grpSpPr>
            <p:grpSp>
              <p:nvGrpSpPr>
                <p:cNvPr id="1301" name="Grafik 312">
                  <a:extLst>
                    <a:ext uri="{FF2B5EF4-FFF2-40B4-BE49-F238E27FC236}">
                      <a16:creationId xmlns:a16="http://schemas.microsoft.com/office/drawing/2014/main" id="{83194112-59D0-4052-B625-A2DCDA101B8D}"/>
                    </a:ext>
                  </a:extLst>
                </p:cNvPr>
                <p:cNvGrpSpPr/>
                <p:nvPr/>
              </p:nvGrpSpPr>
              <p:grpSpPr>
                <a:xfrm>
                  <a:off x="3432774" y="2737507"/>
                  <a:ext cx="146329" cy="172958"/>
                  <a:chOff x="3432774" y="2737507"/>
                  <a:chExt cx="146329" cy="172958"/>
                </a:xfrm>
                <a:grpFill/>
              </p:grpSpPr>
              <p:sp>
                <p:nvSpPr>
                  <p:cNvPr id="1307" name="Freihandform: Form 1306">
                    <a:extLst>
                      <a:ext uri="{FF2B5EF4-FFF2-40B4-BE49-F238E27FC236}">
                        <a16:creationId xmlns:a16="http://schemas.microsoft.com/office/drawing/2014/main" id="{FEB5A13C-AA8A-45C1-8B9F-CE7B303843A9}"/>
                      </a:ext>
                    </a:extLst>
                  </p:cNvPr>
                  <p:cNvSpPr/>
                  <p:nvPr/>
                </p:nvSpPr>
                <p:spPr>
                  <a:xfrm>
                    <a:off x="3499269" y="2737507"/>
                    <a:ext cx="13314" cy="172958"/>
                  </a:xfrm>
                  <a:custGeom>
                    <a:avLst/>
                    <a:gdLst>
                      <a:gd name="connsiteX0" fmla="*/ 6657 w 13314"/>
                      <a:gd name="connsiteY0" fmla="*/ 172959 h 172958"/>
                      <a:gd name="connsiteX1" fmla="*/ 0 w 13314"/>
                      <a:gd name="connsiteY1" fmla="*/ 166302 h 172958"/>
                      <a:gd name="connsiteX2" fmla="*/ 0 w 13314"/>
                      <a:gd name="connsiteY2" fmla="*/ 6657 h 172958"/>
                      <a:gd name="connsiteX3" fmla="*/ 6657 w 13314"/>
                      <a:gd name="connsiteY3" fmla="*/ 0 h 172958"/>
                      <a:gd name="connsiteX4" fmla="*/ 13314 w 13314"/>
                      <a:gd name="connsiteY4" fmla="*/ 6657 h 172958"/>
                      <a:gd name="connsiteX5" fmla="*/ 13314 w 13314"/>
                      <a:gd name="connsiteY5" fmla="*/ 166302 h 172958"/>
                      <a:gd name="connsiteX6" fmla="*/ 6657 w 13314"/>
                      <a:gd name="connsiteY6" fmla="*/ 172959 h 172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172958">
                        <a:moveTo>
                          <a:pt x="6657" y="172959"/>
                        </a:moveTo>
                        <a:cubicBezTo>
                          <a:pt x="2993" y="172959"/>
                          <a:pt x="0" y="169991"/>
                          <a:pt x="0" y="166302"/>
                        </a:cubicBezTo>
                        <a:lnTo>
                          <a:pt x="0" y="6657"/>
                        </a:lnTo>
                        <a:cubicBezTo>
                          <a:pt x="0" y="2993"/>
                          <a:pt x="2967" y="0"/>
                          <a:pt x="6657" y="0"/>
                        </a:cubicBezTo>
                        <a:cubicBezTo>
                          <a:pt x="10321" y="0"/>
                          <a:pt x="13314" y="2967"/>
                          <a:pt x="13314" y="6657"/>
                        </a:cubicBezTo>
                        <a:lnTo>
                          <a:pt x="13314" y="166302"/>
                        </a:lnTo>
                        <a:cubicBezTo>
                          <a:pt x="13314" y="169991"/>
                          <a:pt x="10321" y="172959"/>
                          <a:pt x="6657" y="172959"/>
                        </a:cubicBezTo>
                        <a:close/>
                      </a:path>
                    </a:pathLst>
                  </a:custGeom>
                  <a:grpFill/>
                  <a:ln w="2573" cap="flat">
                    <a:noFill/>
                    <a:prstDash val="solid"/>
                    <a:miter/>
                  </a:ln>
                </p:spPr>
                <p:txBody>
                  <a:bodyPr rtlCol="0" anchor="ctr"/>
                  <a:lstStyle/>
                  <a:p>
                    <a:endParaRPr lang="en-GB" dirty="0"/>
                  </a:p>
                </p:txBody>
              </p:sp>
              <p:sp>
                <p:nvSpPr>
                  <p:cNvPr id="1308" name="Freihandform: Form 1307">
                    <a:extLst>
                      <a:ext uri="{FF2B5EF4-FFF2-40B4-BE49-F238E27FC236}">
                        <a16:creationId xmlns:a16="http://schemas.microsoft.com/office/drawing/2014/main" id="{FB5C6676-1297-472D-8489-2517AE99483D}"/>
                      </a:ext>
                    </a:extLst>
                  </p:cNvPr>
                  <p:cNvSpPr/>
                  <p:nvPr/>
                </p:nvSpPr>
                <p:spPr>
                  <a:xfrm>
                    <a:off x="3432774" y="2737507"/>
                    <a:ext cx="146329" cy="172958"/>
                  </a:xfrm>
                  <a:custGeom>
                    <a:avLst/>
                    <a:gdLst>
                      <a:gd name="connsiteX0" fmla="*/ 139673 w 146329"/>
                      <a:gd name="connsiteY0" fmla="*/ 172959 h 172958"/>
                      <a:gd name="connsiteX1" fmla="*/ 133015 w 146329"/>
                      <a:gd name="connsiteY1" fmla="*/ 166302 h 172958"/>
                      <a:gd name="connsiteX2" fmla="*/ 133015 w 146329"/>
                      <a:gd name="connsiteY2" fmla="*/ 36279 h 172958"/>
                      <a:gd name="connsiteX3" fmla="*/ 110051 w 146329"/>
                      <a:gd name="connsiteY3" fmla="*/ 13314 h 172958"/>
                      <a:gd name="connsiteX4" fmla="*/ 36279 w 146329"/>
                      <a:gd name="connsiteY4" fmla="*/ 13314 h 172958"/>
                      <a:gd name="connsiteX5" fmla="*/ 13315 w 146329"/>
                      <a:gd name="connsiteY5" fmla="*/ 36279 h 172958"/>
                      <a:gd name="connsiteX6" fmla="*/ 13315 w 146329"/>
                      <a:gd name="connsiteY6" fmla="*/ 166302 h 172958"/>
                      <a:gd name="connsiteX7" fmla="*/ 6657 w 146329"/>
                      <a:gd name="connsiteY7" fmla="*/ 172959 h 172958"/>
                      <a:gd name="connsiteX8" fmla="*/ 0 w 146329"/>
                      <a:gd name="connsiteY8" fmla="*/ 166302 h 172958"/>
                      <a:gd name="connsiteX9" fmla="*/ 0 w 146329"/>
                      <a:gd name="connsiteY9" fmla="*/ 36279 h 172958"/>
                      <a:gd name="connsiteX10" fmla="*/ 36279 w 146329"/>
                      <a:gd name="connsiteY10" fmla="*/ 0 h 172958"/>
                      <a:gd name="connsiteX11" fmla="*/ 110051 w 146329"/>
                      <a:gd name="connsiteY11" fmla="*/ 0 h 172958"/>
                      <a:gd name="connsiteX12" fmla="*/ 146330 w 146329"/>
                      <a:gd name="connsiteY12" fmla="*/ 36279 h 172958"/>
                      <a:gd name="connsiteX13" fmla="*/ 146330 w 146329"/>
                      <a:gd name="connsiteY13" fmla="*/ 166302 h 172958"/>
                      <a:gd name="connsiteX14" fmla="*/ 139673 w 146329"/>
                      <a:gd name="connsiteY14" fmla="*/ 172959 h 172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329" h="172958">
                        <a:moveTo>
                          <a:pt x="139673" y="172959"/>
                        </a:moveTo>
                        <a:cubicBezTo>
                          <a:pt x="136008" y="172959"/>
                          <a:pt x="133015" y="169991"/>
                          <a:pt x="133015" y="166302"/>
                        </a:cubicBezTo>
                        <a:lnTo>
                          <a:pt x="133015" y="36279"/>
                        </a:lnTo>
                        <a:cubicBezTo>
                          <a:pt x="133015" y="23610"/>
                          <a:pt x="122720" y="13314"/>
                          <a:pt x="110051" y="13314"/>
                        </a:cubicBezTo>
                        <a:lnTo>
                          <a:pt x="36279" y="13314"/>
                        </a:lnTo>
                        <a:cubicBezTo>
                          <a:pt x="23610" y="13314"/>
                          <a:pt x="13315" y="23610"/>
                          <a:pt x="13315" y="36279"/>
                        </a:cubicBezTo>
                        <a:lnTo>
                          <a:pt x="13315" y="166302"/>
                        </a:lnTo>
                        <a:cubicBezTo>
                          <a:pt x="13315" y="169966"/>
                          <a:pt x="10347" y="172959"/>
                          <a:pt x="6657" y="172959"/>
                        </a:cubicBezTo>
                        <a:cubicBezTo>
                          <a:pt x="2967" y="172959"/>
                          <a:pt x="0" y="169991"/>
                          <a:pt x="0" y="166302"/>
                        </a:cubicBezTo>
                        <a:lnTo>
                          <a:pt x="0" y="36279"/>
                        </a:lnTo>
                        <a:cubicBezTo>
                          <a:pt x="0" y="16282"/>
                          <a:pt x="16282" y="0"/>
                          <a:pt x="36279" y="0"/>
                        </a:cubicBezTo>
                        <a:lnTo>
                          <a:pt x="110051" y="0"/>
                        </a:lnTo>
                        <a:cubicBezTo>
                          <a:pt x="130048" y="0"/>
                          <a:pt x="146330" y="16282"/>
                          <a:pt x="146330" y="36279"/>
                        </a:cubicBezTo>
                        <a:lnTo>
                          <a:pt x="146330" y="166302"/>
                        </a:lnTo>
                        <a:cubicBezTo>
                          <a:pt x="146304" y="169991"/>
                          <a:pt x="143337" y="172959"/>
                          <a:pt x="139673" y="172959"/>
                        </a:cubicBezTo>
                        <a:close/>
                      </a:path>
                    </a:pathLst>
                  </a:custGeom>
                  <a:grpFill/>
                  <a:ln w="2573" cap="flat">
                    <a:noFill/>
                    <a:prstDash val="solid"/>
                    <a:miter/>
                  </a:ln>
                </p:spPr>
                <p:txBody>
                  <a:bodyPr rtlCol="0" anchor="ctr"/>
                  <a:lstStyle/>
                  <a:p>
                    <a:endParaRPr lang="en-GB" dirty="0"/>
                  </a:p>
                </p:txBody>
              </p:sp>
            </p:grpSp>
            <p:sp>
              <p:nvSpPr>
                <p:cNvPr id="1302" name="Freihandform: Form 1301">
                  <a:extLst>
                    <a:ext uri="{FF2B5EF4-FFF2-40B4-BE49-F238E27FC236}">
                      <a16:creationId xmlns:a16="http://schemas.microsoft.com/office/drawing/2014/main" id="{24506A01-56C8-4D21-BE7C-EE03BEECC14F}"/>
                    </a:ext>
                  </a:extLst>
                </p:cNvPr>
                <p:cNvSpPr/>
                <p:nvPr/>
              </p:nvSpPr>
              <p:spPr>
                <a:xfrm>
                  <a:off x="3459377" y="2438242"/>
                  <a:ext cx="93098" cy="106412"/>
                </a:xfrm>
                <a:custGeom>
                  <a:avLst/>
                  <a:gdLst>
                    <a:gd name="connsiteX0" fmla="*/ 46549 w 93098"/>
                    <a:gd name="connsiteY0" fmla="*/ 106412 h 106412"/>
                    <a:gd name="connsiteX1" fmla="*/ 0 w 93098"/>
                    <a:gd name="connsiteY1" fmla="*/ 53206 h 106412"/>
                    <a:gd name="connsiteX2" fmla="*/ 46549 w 93098"/>
                    <a:gd name="connsiteY2" fmla="*/ 0 h 106412"/>
                    <a:gd name="connsiteX3" fmla="*/ 93098 w 93098"/>
                    <a:gd name="connsiteY3" fmla="*/ 53206 h 106412"/>
                    <a:gd name="connsiteX4" fmla="*/ 46549 w 93098"/>
                    <a:gd name="connsiteY4" fmla="*/ 106412 h 106412"/>
                    <a:gd name="connsiteX5" fmla="*/ 46549 w 93098"/>
                    <a:gd name="connsiteY5" fmla="*/ 13289 h 106412"/>
                    <a:gd name="connsiteX6" fmla="*/ 13289 w 93098"/>
                    <a:gd name="connsiteY6" fmla="*/ 53206 h 106412"/>
                    <a:gd name="connsiteX7" fmla="*/ 46549 w 93098"/>
                    <a:gd name="connsiteY7" fmla="*/ 93124 h 106412"/>
                    <a:gd name="connsiteX8" fmla="*/ 79809 w 93098"/>
                    <a:gd name="connsiteY8" fmla="*/ 53206 h 106412"/>
                    <a:gd name="connsiteX9" fmla="*/ 46549 w 93098"/>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8" h="106412">
                      <a:moveTo>
                        <a:pt x="46549" y="106412"/>
                      </a:moveTo>
                      <a:cubicBezTo>
                        <a:pt x="18707" y="106412"/>
                        <a:pt x="0" y="85022"/>
                        <a:pt x="0" y="53206"/>
                      </a:cubicBezTo>
                      <a:cubicBezTo>
                        <a:pt x="0" y="21391"/>
                        <a:pt x="18707" y="0"/>
                        <a:pt x="46549" y="0"/>
                      </a:cubicBezTo>
                      <a:cubicBezTo>
                        <a:pt x="74391" y="0"/>
                        <a:pt x="93098" y="21391"/>
                        <a:pt x="93098" y="53206"/>
                      </a:cubicBezTo>
                      <a:cubicBezTo>
                        <a:pt x="93098" y="85022"/>
                        <a:pt x="74391" y="106412"/>
                        <a:pt x="46549" y="106412"/>
                      </a:cubicBezTo>
                      <a:close/>
                      <a:moveTo>
                        <a:pt x="46549" y="13289"/>
                      </a:moveTo>
                      <a:cubicBezTo>
                        <a:pt x="22010" y="13289"/>
                        <a:pt x="13289" y="34783"/>
                        <a:pt x="13289" y="53206"/>
                      </a:cubicBezTo>
                      <a:cubicBezTo>
                        <a:pt x="13289" y="71630"/>
                        <a:pt x="22010" y="93124"/>
                        <a:pt x="46549" y="93124"/>
                      </a:cubicBezTo>
                      <a:cubicBezTo>
                        <a:pt x="71088" y="93124"/>
                        <a:pt x="79809" y="71630"/>
                        <a:pt x="79809" y="53206"/>
                      </a:cubicBezTo>
                      <a:cubicBezTo>
                        <a:pt x="79809" y="34783"/>
                        <a:pt x="71088" y="13289"/>
                        <a:pt x="46549" y="13289"/>
                      </a:cubicBezTo>
                      <a:close/>
                    </a:path>
                  </a:pathLst>
                </a:custGeom>
                <a:grpFill/>
                <a:ln w="2573" cap="flat">
                  <a:noFill/>
                  <a:prstDash val="solid"/>
                  <a:miter/>
                </a:ln>
              </p:spPr>
              <p:txBody>
                <a:bodyPr rtlCol="0" anchor="ctr"/>
                <a:lstStyle/>
                <a:p>
                  <a:endParaRPr lang="en-GB" dirty="0"/>
                </a:p>
              </p:txBody>
            </p:sp>
            <p:sp>
              <p:nvSpPr>
                <p:cNvPr id="1303" name="Freihandform: Form 1302">
                  <a:extLst>
                    <a:ext uri="{FF2B5EF4-FFF2-40B4-BE49-F238E27FC236}">
                      <a16:creationId xmlns:a16="http://schemas.microsoft.com/office/drawing/2014/main" id="{DFC0DA25-062C-4403-AC92-DFAC00B371C1}"/>
                    </a:ext>
                  </a:extLst>
                </p:cNvPr>
                <p:cNvSpPr/>
                <p:nvPr/>
              </p:nvSpPr>
              <p:spPr>
                <a:xfrm>
                  <a:off x="3499269" y="2697616"/>
                  <a:ext cx="66520" cy="53206"/>
                </a:xfrm>
                <a:custGeom>
                  <a:avLst/>
                  <a:gdLst>
                    <a:gd name="connsiteX0" fmla="*/ 6657 w 66520"/>
                    <a:gd name="connsiteY0" fmla="*/ 53206 h 53206"/>
                    <a:gd name="connsiteX1" fmla="*/ 0 w 66520"/>
                    <a:gd name="connsiteY1" fmla="*/ 46549 h 53206"/>
                    <a:gd name="connsiteX2" fmla="*/ 0 w 66520"/>
                    <a:gd name="connsiteY2" fmla="*/ 0 h 53206"/>
                    <a:gd name="connsiteX3" fmla="*/ 59863 w 66520"/>
                    <a:gd name="connsiteY3" fmla="*/ 0 h 53206"/>
                    <a:gd name="connsiteX4" fmla="*/ 66520 w 66520"/>
                    <a:gd name="connsiteY4" fmla="*/ 6657 h 53206"/>
                    <a:gd name="connsiteX5" fmla="*/ 59863 w 66520"/>
                    <a:gd name="connsiteY5" fmla="*/ 13314 h 53206"/>
                    <a:gd name="connsiteX6" fmla="*/ 13314 w 66520"/>
                    <a:gd name="connsiteY6" fmla="*/ 13314 h 53206"/>
                    <a:gd name="connsiteX7" fmla="*/ 13314 w 66520"/>
                    <a:gd name="connsiteY7" fmla="*/ 46575 h 53206"/>
                    <a:gd name="connsiteX8" fmla="*/ 6657 w 66520"/>
                    <a:gd name="connsiteY8" fmla="*/ 53206 h 5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520" h="53206">
                      <a:moveTo>
                        <a:pt x="6657" y="53206"/>
                      </a:moveTo>
                      <a:cubicBezTo>
                        <a:pt x="2993" y="53206"/>
                        <a:pt x="0" y="50239"/>
                        <a:pt x="0" y="46549"/>
                      </a:cubicBezTo>
                      <a:lnTo>
                        <a:pt x="0" y="0"/>
                      </a:lnTo>
                      <a:lnTo>
                        <a:pt x="59863" y="0"/>
                      </a:lnTo>
                      <a:cubicBezTo>
                        <a:pt x="63527" y="0"/>
                        <a:pt x="66520" y="2967"/>
                        <a:pt x="66520" y="6657"/>
                      </a:cubicBezTo>
                      <a:cubicBezTo>
                        <a:pt x="66520" y="10321"/>
                        <a:pt x="63553" y="13314"/>
                        <a:pt x="59863" y="13314"/>
                      </a:cubicBezTo>
                      <a:lnTo>
                        <a:pt x="13314" y="13314"/>
                      </a:lnTo>
                      <a:lnTo>
                        <a:pt x="13314" y="46575"/>
                      </a:lnTo>
                      <a:cubicBezTo>
                        <a:pt x="13314" y="50239"/>
                        <a:pt x="10321" y="53206"/>
                        <a:pt x="6657" y="53206"/>
                      </a:cubicBezTo>
                      <a:close/>
                    </a:path>
                  </a:pathLst>
                </a:custGeom>
                <a:grpFill/>
                <a:ln w="2573" cap="flat">
                  <a:noFill/>
                  <a:prstDash val="solid"/>
                  <a:miter/>
                </a:ln>
              </p:spPr>
              <p:txBody>
                <a:bodyPr rtlCol="0" anchor="ctr"/>
                <a:lstStyle/>
                <a:p>
                  <a:endParaRPr lang="en-GB" dirty="0"/>
                </a:p>
              </p:txBody>
            </p:sp>
            <p:grpSp>
              <p:nvGrpSpPr>
                <p:cNvPr id="1304" name="Grafik 312">
                  <a:extLst>
                    <a:ext uri="{FF2B5EF4-FFF2-40B4-BE49-F238E27FC236}">
                      <a16:creationId xmlns:a16="http://schemas.microsoft.com/office/drawing/2014/main" id="{50C7AC04-102C-42F5-B97B-36E6B8A12507}"/>
                    </a:ext>
                  </a:extLst>
                </p:cNvPr>
                <p:cNvGrpSpPr/>
                <p:nvPr/>
              </p:nvGrpSpPr>
              <p:grpSpPr>
                <a:xfrm>
                  <a:off x="3394946" y="2557943"/>
                  <a:ext cx="217417" cy="192878"/>
                  <a:chOff x="3394946" y="2557943"/>
                  <a:chExt cx="217417" cy="192878"/>
                </a:xfrm>
                <a:grpFill/>
              </p:grpSpPr>
              <p:sp>
                <p:nvSpPr>
                  <p:cNvPr id="1305" name="Freihandform: Form 1304">
                    <a:extLst>
                      <a:ext uri="{FF2B5EF4-FFF2-40B4-BE49-F238E27FC236}">
                        <a16:creationId xmlns:a16="http://schemas.microsoft.com/office/drawing/2014/main" id="{FF260837-3957-4126-981A-2C3DDD7CB0B5}"/>
                      </a:ext>
                    </a:extLst>
                  </p:cNvPr>
                  <p:cNvSpPr/>
                  <p:nvPr/>
                </p:nvSpPr>
                <p:spPr>
                  <a:xfrm>
                    <a:off x="3394946" y="2557943"/>
                    <a:ext cx="217417" cy="192878"/>
                  </a:xfrm>
                  <a:custGeom>
                    <a:avLst/>
                    <a:gdLst>
                      <a:gd name="connsiteX0" fmla="*/ 190453 w 217417"/>
                      <a:gd name="connsiteY0" fmla="*/ 192879 h 192878"/>
                      <a:gd name="connsiteX1" fmla="*/ 137583 w 217417"/>
                      <a:gd name="connsiteY1" fmla="*/ 192879 h 192878"/>
                      <a:gd name="connsiteX2" fmla="*/ 137583 w 217417"/>
                      <a:gd name="connsiteY2" fmla="*/ 179564 h 192878"/>
                      <a:gd name="connsiteX3" fmla="*/ 190453 w 217417"/>
                      <a:gd name="connsiteY3" fmla="*/ 179564 h 192878"/>
                      <a:gd name="connsiteX4" fmla="*/ 204103 w 217417"/>
                      <a:gd name="connsiteY4" fmla="*/ 165218 h 192878"/>
                      <a:gd name="connsiteX5" fmla="*/ 204103 w 217417"/>
                      <a:gd name="connsiteY5" fmla="*/ 86441 h 192878"/>
                      <a:gd name="connsiteX6" fmla="*/ 137583 w 217417"/>
                      <a:gd name="connsiteY6" fmla="*/ 13289 h 192878"/>
                      <a:gd name="connsiteX7" fmla="*/ 84376 w 217417"/>
                      <a:gd name="connsiteY7" fmla="*/ 13289 h 192878"/>
                      <a:gd name="connsiteX8" fmla="*/ 17804 w 217417"/>
                      <a:gd name="connsiteY8" fmla="*/ 87344 h 192878"/>
                      <a:gd name="connsiteX9" fmla="*/ 13289 w 217417"/>
                      <a:gd name="connsiteY9" fmla="*/ 165811 h 192878"/>
                      <a:gd name="connsiteX10" fmla="*/ 24874 w 217417"/>
                      <a:gd name="connsiteY10" fmla="*/ 179564 h 192878"/>
                      <a:gd name="connsiteX11" fmla="*/ 84402 w 217417"/>
                      <a:gd name="connsiteY11" fmla="*/ 179564 h 192878"/>
                      <a:gd name="connsiteX12" fmla="*/ 84402 w 217417"/>
                      <a:gd name="connsiteY12" fmla="*/ 192879 h 192878"/>
                      <a:gd name="connsiteX13" fmla="*/ 24874 w 217417"/>
                      <a:gd name="connsiteY13" fmla="*/ 192879 h 192878"/>
                      <a:gd name="connsiteX14" fmla="*/ 0 w 217417"/>
                      <a:gd name="connsiteY14" fmla="*/ 165450 h 192878"/>
                      <a:gd name="connsiteX15" fmla="*/ 4593 w 217417"/>
                      <a:gd name="connsiteY15" fmla="*/ 86079 h 192878"/>
                      <a:gd name="connsiteX16" fmla="*/ 84402 w 217417"/>
                      <a:gd name="connsiteY16" fmla="*/ 0 h 192878"/>
                      <a:gd name="connsiteX17" fmla="*/ 137608 w 217417"/>
                      <a:gd name="connsiteY17" fmla="*/ 0 h 192878"/>
                      <a:gd name="connsiteX18" fmla="*/ 217418 w 217417"/>
                      <a:gd name="connsiteY18" fmla="*/ 86467 h 192878"/>
                      <a:gd name="connsiteX19" fmla="*/ 217418 w 217417"/>
                      <a:gd name="connsiteY19" fmla="*/ 165244 h 192878"/>
                      <a:gd name="connsiteX20" fmla="*/ 190453 w 217417"/>
                      <a:gd name="connsiteY20" fmla="*/ 192879 h 192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7417" h="192878">
                        <a:moveTo>
                          <a:pt x="190453" y="192879"/>
                        </a:moveTo>
                        <a:lnTo>
                          <a:pt x="137583" y="192879"/>
                        </a:lnTo>
                        <a:lnTo>
                          <a:pt x="137583" y="179564"/>
                        </a:lnTo>
                        <a:lnTo>
                          <a:pt x="190453" y="179564"/>
                        </a:lnTo>
                        <a:cubicBezTo>
                          <a:pt x="197859" y="179564"/>
                          <a:pt x="204103" y="173010"/>
                          <a:pt x="204103" y="165218"/>
                        </a:cubicBezTo>
                        <a:lnTo>
                          <a:pt x="204103" y="86441"/>
                        </a:lnTo>
                        <a:cubicBezTo>
                          <a:pt x="204103" y="44046"/>
                          <a:pt x="176133" y="13289"/>
                          <a:pt x="137583" y="13289"/>
                        </a:cubicBezTo>
                        <a:lnTo>
                          <a:pt x="84376" y="13289"/>
                        </a:lnTo>
                        <a:cubicBezTo>
                          <a:pt x="46859" y="13289"/>
                          <a:pt x="24461" y="38215"/>
                          <a:pt x="17804" y="87344"/>
                        </a:cubicBezTo>
                        <a:lnTo>
                          <a:pt x="13289" y="165811"/>
                        </a:lnTo>
                        <a:cubicBezTo>
                          <a:pt x="13315" y="172236"/>
                          <a:pt x="16927" y="179564"/>
                          <a:pt x="24874" y="179564"/>
                        </a:cubicBezTo>
                        <a:lnTo>
                          <a:pt x="84402" y="179564"/>
                        </a:lnTo>
                        <a:lnTo>
                          <a:pt x="84402" y="192879"/>
                        </a:lnTo>
                        <a:lnTo>
                          <a:pt x="24874" y="192879"/>
                        </a:lnTo>
                        <a:cubicBezTo>
                          <a:pt x="10683" y="192879"/>
                          <a:pt x="0" y="181087"/>
                          <a:pt x="0" y="165450"/>
                        </a:cubicBezTo>
                        <a:lnTo>
                          <a:pt x="4593" y="86079"/>
                        </a:lnTo>
                        <a:cubicBezTo>
                          <a:pt x="14243" y="14837"/>
                          <a:pt x="53309" y="0"/>
                          <a:pt x="84402" y="0"/>
                        </a:cubicBezTo>
                        <a:lnTo>
                          <a:pt x="137608" y="0"/>
                        </a:lnTo>
                        <a:cubicBezTo>
                          <a:pt x="183099" y="0"/>
                          <a:pt x="217418" y="37182"/>
                          <a:pt x="217418" y="86467"/>
                        </a:cubicBezTo>
                        <a:lnTo>
                          <a:pt x="217418" y="165244"/>
                        </a:lnTo>
                        <a:cubicBezTo>
                          <a:pt x="217392" y="180235"/>
                          <a:pt x="205058" y="192879"/>
                          <a:pt x="190453" y="192879"/>
                        </a:cubicBezTo>
                        <a:close/>
                      </a:path>
                    </a:pathLst>
                  </a:custGeom>
                  <a:grpFill/>
                  <a:ln w="2573" cap="flat">
                    <a:noFill/>
                    <a:prstDash val="solid"/>
                    <a:miter/>
                  </a:ln>
                </p:spPr>
                <p:txBody>
                  <a:bodyPr rtlCol="0" anchor="ctr"/>
                  <a:lstStyle/>
                  <a:p>
                    <a:endParaRPr lang="en-GB" dirty="0"/>
                  </a:p>
                </p:txBody>
              </p:sp>
              <p:sp>
                <p:nvSpPr>
                  <p:cNvPr id="1306" name="Freihandform: Form 1305">
                    <a:extLst>
                      <a:ext uri="{FF2B5EF4-FFF2-40B4-BE49-F238E27FC236}">
                        <a16:creationId xmlns:a16="http://schemas.microsoft.com/office/drawing/2014/main" id="{8338600D-1313-4A93-9E99-081E35F3D631}"/>
                      </a:ext>
                    </a:extLst>
                  </p:cNvPr>
                  <p:cNvSpPr/>
                  <p:nvPr/>
                </p:nvSpPr>
                <p:spPr>
                  <a:xfrm>
                    <a:off x="3446062" y="2697590"/>
                    <a:ext cx="66520" cy="53231"/>
                  </a:xfrm>
                  <a:custGeom>
                    <a:avLst/>
                    <a:gdLst>
                      <a:gd name="connsiteX0" fmla="*/ 59863 w 66520"/>
                      <a:gd name="connsiteY0" fmla="*/ 53232 h 53231"/>
                      <a:gd name="connsiteX1" fmla="*/ 53206 w 66520"/>
                      <a:gd name="connsiteY1" fmla="*/ 46575 h 53231"/>
                      <a:gd name="connsiteX2" fmla="*/ 53206 w 66520"/>
                      <a:gd name="connsiteY2" fmla="*/ 13314 h 53231"/>
                      <a:gd name="connsiteX3" fmla="*/ 6657 w 66520"/>
                      <a:gd name="connsiteY3" fmla="*/ 13314 h 53231"/>
                      <a:gd name="connsiteX4" fmla="*/ 0 w 66520"/>
                      <a:gd name="connsiteY4" fmla="*/ 6657 h 53231"/>
                      <a:gd name="connsiteX5" fmla="*/ 6657 w 66520"/>
                      <a:gd name="connsiteY5" fmla="*/ 0 h 53231"/>
                      <a:gd name="connsiteX6" fmla="*/ 66520 w 66520"/>
                      <a:gd name="connsiteY6" fmla="*/ 0 h 53231"/>
                      <a:gd name="connsiteX7" fmla="*/ 66520 w 66520"/>
                      <a:gd name="connsiteY7" fmla="*/ 46549 h 53231"/>
                      <a:gd name="connsiteX8" fmla="*/ 59863 w 66520"/>
                      <a:gd name="connsiteY8" fmla="*/ 53232 h 53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520" h="53231">
                        <a:moveTo>
                          <a:pt x="59863" y="53232"/>
                        </a:moveTo>
                        <a:cubicBezTo>
                          <a:pt x="56199" y="53232"/>
                          <a:pt x="53206" y="50265"/>
                          <a:pt x="53206" y="46575"/>
                        </a:cubicBezTo>
                        <a:lnTo>
                          <a:pt x="53206" y="13314"/>
                        </a:lnTo>
                        <a:lnTo>
                          <a:pt x="6657" y="13314"/>
                        </a:lnTo>
                        <a:cubicBezTo>
                          <a:pt x="2993" y="13314"/>
                          <a:pt x="0" y="10347"/>
                          <a:pt x="0" y="6657"/>
                        </a:cubicBezTo>
                        <a:cubicBezTo>
                          <a:pt x="0" y="2993"/>
                          <a:pt x="2967" y="0"/>
                          <a:pt x="6657" y="0"/>
                        </a:cubicBezTo>
                        <a:lnTo>
                          <a:pt x="66520" y="0"/>
                        </a:lnTo>
                        <a:lnTo>
                          <a:pt x="66520" y="46549"/>
                        </a:lnTo>
                        <a:cubicBezTo>
                          <a:pt x="66520" y="50265"/>
                          <a:pt x="63527" y="53232"/>
                          <a:pt x="59863" y="53232"/>
                        </a:cubicBezTo>
                        <a:close/>
                      </a:path>
                    </a:pathLst>
                  </a:custGeom>
                  <a:grpFill/>
                  <a:ln w="2573" cap="flat">
                    <a:noFill/>
                    <a:prstDash val="solid"/>
                    <a:miter/>
                  </a:ln>
                </p:spPr>
                <p:txBody>
                  <a:bodyPr rtlCol="0" anchor="ctr"/>
                  <a:lstStyle/>
                  <a:p>
                    <a:endParaRPr lang="en-GB" dirty="0"/>
                  </a:p>
                </p:txBody>
              </p:sp>
            </p:grpSp>
          </p:grpSp>
          <p:sp>
            <p:nvSpPr>
              <p:cNvPr id="1300" name="Freihandform: Form 1299">
                <a:extLst>
                  <a:ext uri="{FF2B5EF4-FFF2-40B4-BE49-F238E27FC236}">
                    <a16:creationId xmlns:a16="http://schemas.microsoft.com/office/drawing/2014/main" id="{88C4892B-BBF4-4FAC-93CF-7B22265DDB91}"/>
                  </a:ext>
                </a:extLst>
              </p:cNvPr>
              <p:cNvSpPr/>
              <p:nvPr/>
            </p:nvSpPr>
            <p:spPr>
              <a:xfrm>
                <a:off x="3599049" y="2723186"/>
                <a:ext cx="13314" cy="47606"/>
              </a:xfrm>
              <a:custGeom>
                <a:avLst/>
                <a:gdLst>
                  <a:gd name="connsiteX0" fmla="*/ 0 w 13314"/>
                  <a:gd name="connsiteY0" fmla="*/ 0 h 47606"/>
                  <a:gd name="connsiteX1" fmla="*/ 13314 w 13314"/>
                  <a:gd name="connsiteY1" fmla="*/ 0 h 47606"/>
                  <a:gd name="connsiteX2" fmla="*/ 13314 w 13314"/>
                  <a:gd name="connsiteY2" fmla="*/ 47607 h 47606"/>
                  <a:gd name="connsiteX3" fmla="*/ 0 w 13314"/>
                  <a:gd name="connsiteY3" fmla="*/ 47607 h 47606"/>
                </a:gdLst>
                <a:ahLst/>
                <a:cxnLst>
                  <a:cxn ang="0">
                    <a:pos x="connsiteX0" y="connsiteY0"/>
                  </a:cxn>
                  <a:cxn ang="0">
                    <a:pos x="connsiteX1" y="connsiteY1"/>
                  </a:cxn>
                  <a:cxn ang="0">
                    <a:pos x="connsiteX2" y="connsiteY2"/>
                  </a:cxn>
                  <a:cxn ang="0">
                    <a:pos x="connsiteX3" y="connsiteY3"/>
                  </a:cxn>
                </a:cxnLst>
                <a:rect l="l" t="t" r="r" b="b"/>
                <a:pathLst>
                  <a:path w="13314" h="47606">
                    <a:moveTo>
                      <a:pt x="0" y="0"/>
                    </a:moveTo>
                    <a:lnTo>
                      <a:pt x="13314" y="0"/>
                    </a:lnTo>
                    <a:lnTo>
                      <a:pt x="13314" y="47607"/>
                    </a:lnTo>
                    <a:lnTo>
                      <a:pt x="0" y="47607"/>
                    </a:lnTo>
                    <a:close/>
                  </a:path>
                </a:pathLst>
              </a:custGeom>
              <a:grpFill/>
              <a:ln w="2573" cap="flat">
                <a:noFill/>
                <a:prstDash val="solid"/>
                <a:miter/>
              </a:ln>
            </p:spPr>
            <p:txBody>
              <a:bodyPr rtlCol="0" anchor="ctr"/>
              <a:lstStyle/>
              <a:p>
                <a:endParaRPr lang="en-GB" dirty="0"/>
              </a:p>
            </p:txBody>
          </p:sp>
        </p:grpSp>
      </p:grpSp>
      <p:sp>
        <p:nvSpPr>
          <p:cNvPr id="1330" name="TextBox 1418">
            <a:extLst>
              <a:ext uri="{FF2B5EF4-FFF2-40B4-BE49-F238E27FC236}">
                <a16:creationId xmlns:a16="http://schemas.microsoft.com/office/drawing/2014/main" id="{D0DF6EF7-EAEE-4FAE-96B8-25C70A08A591}"/>
              </a:ext>
            </a:extLst>
          </p:cNvPr>
          <p:cNvSpPr txBox="1"/>
          <p:nvPr/>
        </p:nvSpPr>
        <p:spPr>
          <a:xfrm>
            <a:off x="3744403" y="2899619"/>
            <a:ext cx="371897" cy="107722"/>
          </a:xfrm>
          <a:prstGeom prst="rect">
            <a:avLst/>
          </a:prstGeom>
          <a:noFill/>
          <a:effectLst/>
        </p:spPr>
        <p:txBody>
          <a:bodyPr wrap="none" lIns="0" tIns="0" rIns="0" bIns="0" rtlCol="0" anchor="t" anchorCtr="0">
            <a:spAutoFit/>
          </a:bodyPr>
          <a:lstStyle/>
          <a:p>
            <a:pPr algn="ctr"/>
            <a:r>
              <a:rPr lang="en-GB" sz="700" dirty="0">
                <a:solidFill>
                  <a:schemeClr val="tx2"/>
                </a:solidFill>
              </a:rPr>
              <a:t>Audience</a:t>
            </a:r>
          </a:p>
        </p:txBody>
      </p:sp>
      <p:grpSp>
        <p:nvGrpSpPr>
          <p:cNvPr id="42" name="Group 41">
            <a:extLst>
              <a:ext uri="{FF2B5EF4-FFF2-40B4-BE49-F238E27FC236}">
                <a16:creationId xmlns:a16="http://schemas.microsoft.com/office/drawing/2014/main" id="{9CE9DE10-E09C-72A3-CFDD-7C59A28A02FA}"/>
              </a:ext>
            </a:extLst>
          </p:cNvPr>
          <p:cNvGrpSpPr/>
          <p:nvPr/>
        </p:nvGrpSpPr>
        <p:grpSpPr>
          <a:xfrm>
            <a:off x="1623496" y="2449341"/>
            <a:ext cx="431977" cy="432000"/>
            <a:chOff x="1623496" y="2449341"/>
            <a:chExt cx="431977" cy="432000"/>
          </a:xfrm>
        </p:grpSpPr>
        <p:grpSp>
          <p:nvGrpSpPr>
            <p:cNvPr id="1332" name="Grafik 312">
              <a:extLst>
                <a:ext uri="{FF2B5EF4-FFF2-40B4-BE49-F238E27FC236}">
                  <a16:creationId xmlns:a16="http://schemas.microsoft.com/office/drawing/2014/main" id="{77CB51DD-143A-4599-922C-0240A2CE88E5}"/>
                </a:ext>
              </a:extLst>
            </p:cNvPr>
            <p:cNvGrpSpPr/>
            <p:nvPr/>
          </p:nvGrpSpPr>
          <p:grpSpPr>
            <a:xfrm>
              <a:off x="1734625" y="2449341"/>
              <a:ext cx="320811" cy="367794"/>
              <a:chOff x="1803455" y="2444873"/>
              <a:chExt cx="365513" cy="419043"/>
            </a:xfrm>
            <a:solidFill>
              <a:schemeClr val="accent1"/>
            </a:solidFill>
          </p:grpSpPr>
          <p:sp>
            <p:nvSpPr>
              <p:cNvPr id="1342" name="Freihandform: Form 1341">
                <a:extLst>
                  <a:ext uri="{FF2B5EF4-FFF2-40B4-BE49-F238E27FC236}">
                    <a16:creationId xmlns:a16="http://schemas.microsoft.com/office/drawing/2014/main" id="{1A1B04B3-0110-4C1C-B8AD-320161B90156}"/>
                  </a:ext>
                </a:extLst>
              </p:cNvPr>
              <p:cNvSpPr/>
              <p:nvPr/>
            </p:nvSpPr>
            <p:spPr>
              <a:xfrm>
                <a:off x="1984997" y="2821840"/>
                <a:ext cx="69811" cy="32090"/>
              </a:xfrm>
              <a:custGeom>
                <a:avLst/>
                <a:gdLst>
                  <a:gd name="connsiteX0" fmla="*/ 61501 w 69811"/>
                  <a:gd name="connsiteY0" fmla="*/ 32091 h 32090"/>
                  <a:gd name="connsiteX1" fmla="*/ 60623 w 69811"/>
                  <a:gd name="connsiteY1" fmla="*/ 32039 h 32090"/>
                  <a:gd name="connsiteX2" fmla="*/ 4863 w 69811"/>
                  <a:gd name="connsiteY2" fmla="*/ 20221 h 32090"/>
                  <a:gd name="connsiteX3" fmla="*/ 244 w 69811"/>
                  <a:gd name="connsiteY3" fmla="*/ 12042 h 32090"/>
                  <a:gd name="connsiteX4" fmla="*/ 8423 w 69811"/>
                  <a:gd name="connsiteY4" fmla="*/ 7423 h 32090"/>
                  <a:gd name="connsiteX5" fmla="*/ 55514 w 69811"/>
                  <a:gd name="connsiteY5" fmla="*/ 17822 h 32090"/>
                  <a:gd name="connsiteX6" fmla="*/ 56546 w 69811"/>
                  <a:gd name="connsiteY6" fmla="*/ 6055 h 32090"/>
                  <a:gd name="connsiteX7" fmla="*/ 63745 w 69811"/>
                  <a:gd name="connsiteY7" fmla="*/ 17 h 32090"/>
                  <a:gd name="connsiteX8" fmla="*/ 69783 w 69811"/>
                  <a:gd name="connsiteY8" fmla="*/ 7217 h 32090"/>
                  <a:gd name="connsiteX9" fmla="*/ 68132 w 69811"/>
                  <a:gd name="connsiteY9" fmla="*/ 26053 h 32090"/>
                  <a:gd name="connsiteX10" fmla="*/ 65655 w 69811"/>
                  <a:gd name="connsiteY10" fmla="*/ 30672 h 32090"/>
                  <a:gd name="connsiteX11" fmla="*/ 61501 w 69811"/>
                  <a:gd name="connsiteY11" fmla="*/ 32091 h 32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811" h="32090">
                    <a:moveTo>
                      <a:pt x="61501" y="32091"/>
                    </a:moveTo>
                    <a:cubicBezTo>
                      <a:pt x="61217" y="32091"/>
                      <a:pt x="60907" y="32065"/>
                      <a:pt x="60623" y="32039"/>
                    </a:cubicBezTo>
                    <a:cubicBezTo>
                      <a:pt x="59591" y="31910"/>
                      <a:pt x="34872" y="28556"/>
                      <a:pt x="4863" y="20221"/>
                    </a:cubicBezTo>
                    <a:cubicBezTo>
                      <a:pt x="1328" y="19241"/>
                      <a:pt x="-737" y="15577"/>
                      <a:pt x="244" y="12042"/>
                    </a:cubicBezTo>
                    <a:cubicBezTo>
                      <a:pt x="1224" y="8507"/>
                      <a:pt x="4888" y="6442"/>
                      <a:pt x="8423" y="7423"/>
                    </a:cubicBezTo>
                    <a:cubicBezTo>
                      <a:pt x="28343" y="12945"/>
                      <a:pt x="46173" y="16273"/>
                      <a:pt x="55514" y="17822"/>
                    </a:cubicBezTo>
                    <a:lnTo>
                      <a:pt x="56546" y="6055"/>
                    </a:lnTo>
                    <a:cubicBezTo>
                      <a:pt x="56882" y="2391"/>
                      <a:pt x="60133" y="-241"/>
                      <a:pt x="63745" y="17"/>
                    </a:cubicBezTo>
                    <a:cubicBezTo>
                      <a:pt x="67410" y="327"/>
                      <a:pt x="70119" y="3578"/>
                      <a:pt x="69783" y="7217"/>
                    </a:cubicBezTo>
                    <a:lnTo>
                      <a:pt x="68132" y="26053"/>
                    </a:lnTo>
                    <a:cubicBezTo>
                      <a:pt x="67977" y="27859"/>
                      <a:pt x="67074" y="29536"/>
                      <a:pt x="65655" y="30672"/>
                    </a:cubicBezTo>
                    <a:cubicBezTo>
                      <a:pt x="64494" y="31575"/>
                      <a:pt x="63023" y="32091"/>
                      <a:pt x="61501" y="32091"/>
                    </a:cubicBezTo>
                    <a:close/>
                  </a:path>
                </a:pathLst>
              </a:custGeom>
              <a:solidFill>
                <a:schemeClr val="accent1"/>
              </a:solidFill>
              <a:ln w="2573" cap="flat">
                <a:noFill/>
                <a:prstDash val="solid"/>
                <a:miter/>
              </a:ln>
            </p:spPr>
            <p:txBody>
              <a:bodyPr rtlCol="0" anchor="ctr"/>
              <a:lstStyle/>
              <a:p>
                <a:endParaRPr lang="en-GB" dirty="0"/>
              </a:p>
            </p:txBody>
          </p:sp>
          <p:sp>
            <p:nvSpPr>
              <p:cNvPr id="1343" name="Freihandform: Form 1342">
                <a:extLst>
                  <a:ext uri="{FF2B5EF4-FFF2-40B4-BE49-F238E27FC236}">
                    <a16:creationId xmlns:a16="http://schemas.microsoft.com/office/drawing/2014/main" id="{30637134-85E5-4BAD-867E-4C1D2D430D35}"/>
                  </a:ext>
                </a:extLst>
              </p:cNvPr>
              <p:cNvSpPr/>
              <p:nvPr/>
            </p:nvSpPr>
            <p:spPr>
              <a:xfrm>
                <a:off x="1968045" y="2564584"/>
                <a:ext cx="200924" cy="207267"/>
              </a:xfrm>
              <a:custGeom>
                <a:avLst/>
                <a:gdLst>
                  <a:gd name="connsiteX0" fmla="*/ 146882 w 200924"/>
                  <a:gd name="connsiteY0" fmla="*/ 207268 h 207267"/>
                  <a:gd name="connsiteX1" fmla="*/ 141464 w 200924"/>
                  <a:gd name="connsiteY1" fmla="*/ 204481 h 207267"/>
                  <a:gd name="connsiteX2" fmla="*/ 143012 w 200924"/>
                  <a:gd name="connsiteY2" fmla="*/ 195217 h 207267"/>
                  <a:gd name="connsiteX3" fmla="*/ 180581 w 200924"/>
                  <a:gd name="connsiteY3" fmla="*/ 168434 h 207267"/>
                  <a:gd name="connsiteX4" fmla="*/ 117209 w 200924"/>
                  <a:gd name="connsiteY4" fmla="*/ 96546 h 207267"/>
                  <a:gd name="connsiteX5" fmla="*/ 113493 w 200924"/>
                  <a:gd name="connsiteY5" fmla="*/ 88882 h 207267"/>
                  <a:gd name="connsiteX6" fmla="*/ 6255 w 200924"/>
                  <a:gd name="connsiteY6" fmla="*/ 13305 h 207267"/>
                  <a:gd name="connsiteX7" fmla="*/ 11 w 200924"/>
                  <a:gd name="connsiteY7" fmla="*/ 6261 h 207267"/>
                  <a:gd name="connsiteX8" fmla="*/ 7055 w 200924"/>
                  <a:gd name="connsiteY8" fmla="*/ 16 h 207267"/>
                  <a:gd name="connsiteX9" fmla="*/ 125414 w 200924"/>
                  <a:gd name="connsiteY9" fmla="*/ 82999 h 207267"/>
                  <a:gd name="connsiteX10" fmla="*/ 129182 w 200924"/>
                  <a:gd name="connsiteY10" fmla="*/ 90740 h 207267"/>
                  <a:gd name="connsiteX11" fmla="*/ 196528 w 200924"/>
                  <a:gd name="connsiteY11" fmla="*/ 160564 h 207267"/>
                  <a:gd name="connsiteX12" fmla="*/ 200863 w 200924"/>
                  <a:gd name="connsiteY12" fmla="*/ 165905 h 207267"/>
                  <a:gd name="connsiteX13" fmla="*/ 198128 w 200924"/>
                  <a:gd name="connsiteY13" fmla="*/ 172227 h 207267"/>
                  <a:gd name="connsiteX14" fmla="*/ 150701 w 200924"/>
                  <a:gd name="connsiteY14" fmla="*/ 206003 h 207267"/>
                  <a:gd name="connsiteX15" fmla="*/ 146882 w 200924"/>
                  <a:gd name="connsiteY15" fmla="*/ 207268 h 207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924" h="207267">
                    <a:moveTo>
                      <a:pt x="146882" y="207268"/>
                    </a:moveTo>
                    <a:cubicBezTo>
                      <a:pt x="144792" y="207268"/>
                      <a:pt x="142754" y="206287"/>
                      <a:pt x="141464" y="204481"/>
                    </a:cubicBezTo>
                    <a:cubicBezTo>
                      <a:pt x="139322" y="201488"/>
                      <a:pt x="140019" y="197333"/>
                      <a:pt x="143012" y="195217"/>
                    </a:cubicBezTo>
                    <a:lnTo>
                      <a:pt x="180581" y="168434"/>
                    </a:lnTo>
                    <a:cubicBezTo>
                      <a:pt x="143735" y="151455"/>
                      <a:pt x="130833" y="124697"/>
                      <a:pt x="117209" y="96546"/>
                    </a:cubicBezTo>
                    <a:lnTo>
                      <a:pt x="113493" y="88882"/>
                    </a:lnTo>
                    <a:cubicBezTo>
                      <a:pt x="78891" y="18466"/>
                      <a:pt x="6978" y="13357"/>
                      <a:pt x="6255" y="13305"/>
                    </a:cubicBezTo>
                    <a:cubicBezTo>
                      <a:pt x="2591" y="13073"/>
                      <a:pt x="-196" y="9925"/>
                      <a:pt x="11" y="6261"/>
                    </a:cubicBezTo>
                    <a:cubicBezTo>
                      <a:pt x="217" y="2597"/>
                      <a:pt x="3288" y="-242"/>
                      <a:pt x="7055" y="16"/>
                    </a:cubicBezTo>
                    <a:cubicBezTo>
                      <a:pt x="10306" y="223"/>
                      <a:pt x="87432" y="5719"/>
                      <a:pt x="125414" y="82999"/>
                    </a:cubicBezTo>
                    <a:lnTo>
                      <a:pt x="129182" y="90740"/>
                    </a:lnTo>
                    <a:cubicBezTo>
                      <a:pt x="143502" y="120362"/>
                      <a:pt x="155862" y="145959"/>
                      <a:pt x="196528" y="160564"/>
                    </a:cubicBezTo>
                    <a:cubicBezTo>
                      <a:pt x="198850" y="161389"/>
                      <a:pt x="200527" y="163454"/>
                      <a:pt x="200863" y="165905"/>
                    </a:cubicBezTo>
                    <a:cubicBezTo>
                      <a:pt x="201198" y="168356"/>
                      <a:pt x="200140" y="170782"/>
                      <a:pt x="198128" y="172227"/>
                    </a:cubicBezTo>
                    <a:lnTo>
                      <a:pt x="150701" y="206003"/>
                    </a:lnTo>
                    <a:cubicBezTo>
                      <a:pt x="149566" y="206880"/>
                      <a:pt x="148224" y="207268"/>
                      <a:pt x="146882" y="207268"/>
                    </a:cubicBezTo>
                    <a:close/>
                  </a:path>
                </a:pathLst>
              </a:custGeom>
              <a:solidFill>
                <a:schemeClr val="accent1"/>
              </a:solidFill>
              <a:ln w="2573" cap="flat">
                <a:noFill/>
                <a:prstDash val="solid"/>
                <a:miter/>
              </a:ln>
            </p:spPr>
            <p:txBody>
              <a:bodyPr rtlCol="0" anchor="ctr"/>
              <a:lstStyle/>
              <a:p>
                <a:endParaRPr lang="en-GB" dirty="0"/>
              </a:p>
            </p:txBody>
          </p:sp>
          <p:grpSp>
            <p:nvGrpSpPr>
              <p:cNvPr id="1344" name="Grafik 312">
                <a:extLst>
                  <a:ext uri="{FF2B5EF4-FFF2-40B4-BE49-F238E27FC236}">
                    <a16:creationId xmlns:a16="http://schemas.microsoft.com/office/drawing/2014/main" id="{D4BB8F7A-E390-4943-9140-4F4D7ACD3861}"/>
                  </a:ext>
                </a:extLst>
              </p:cNvPr>
              <p:cNvGrpSpPr/>
              <p:nvPr/>
            </p:nvGrpSpPr>
            <p:grpSpPr>
              <a:xfrm>
                <a:off x="1803455" y="2444873"/>
                <a:ext cx="226158" cy="419043"/>
                <a:chOff x="1803455" y="2444873"/>
                <a:chExt cx="226158" cy="419043"/>
              </a:xfrm>
              <a:solidFill>
                <a:schemeClr val="accent1"/>
              </a:solidFill>
            </p:grpSpPr>
            <p:sp>
              <p:nvSpPr>
                <p:cNvPr id="1345" name="Freihandform: Form 1344">
                  <a:extLst>
                    <a:ext uri="{FF2B5EF4-FFF2-40B4-BE49-F238E27FC236}">
                      <a16:creationId xmlns:a16="http://schemas.microsoft.com/office/drawing/2014/main" id="{A21525B7-4264-4251-B4ED-03E81885343E}"/>
                    </a:ext>
                  </a:extLst>
                </p:cNvPr>
                <p:cNvSpPr/>
                <p:nvPr/>
              </p:nvSpPr>
              <p:spPr>
                <a:xfrm>
                  <a:off x="1876635" y="2444873"/>
                  <a:ext cx="93097" cy="106412"/>
                </a:xfrm>
                <a:custGeom>
                  <a:avLst/>
                  <a:gdLst>
                    <a:gd name="connsiteX0" fmla="*/ 46549 w 93097"/>
                    <a:gd name="connsiteY0" fmla="*/ 106412 h 106412"/>
                    <a:gd name="connsiteX1" fmla="*/ 0 w 93097"/>
                    <a:gd name="connsiteY1" fmla="*/ 53206 h 106412"/>
                    <a:gd name="connsiteX2" fmla="*/ 46549 w 93097"/>
                    <a:gd name="connsiteY2" fmla="*/ 0 h 106412"/>
                    <a:gd name="connsiteX3" fmla="*/ 93098 w 93097"/>
                    <a:gd name="connsiteY3" fmla="*/ 53206 h 106412"/>
                    <a:gd name="connsiteX4" fmla="*/ 46549 w 93097"/>
                    <a:gd name="connsiteY4" fmla="*/ 106412 h 106412"/>
                    <a:gd name="connsiteX5" fmla="*/ 46549 w 93097"/>
                    <a:gd name="connsiteY5" fmla="*/ 13289 h 106412"/>
                    <a:gd name="connsiteX6" fmla="*/ 13289 w 93097"/>
                    <a:gd name="connsiteY6" fmla="*/ 53206 h 106412"/>
                    <a:gd name="connsiteX7" fmla="*/ 46549 w 93097"/>
                    <a:gd name="connsiteY7" fmla="*/ 93124 h 106412"/>
                    <a:gd name="connsiteX8" fmla="*/ 79809 w 93097"/>
                    <a:gd name="connsiteY8" fmla="*/ 53206 h 106412"/>
                    <a:gd name="connsiteX9" fmla="*/ 46549 w 93097"/>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7" h="106412">
                      <a:moveTo>
                        <a:pt x="46549" y="106412"/>
                      </a:moveTo>
                      <a:cubicBezTo>
                        <a:pt x="18707" y="106412"/>
                        <a:pt x="0" y="85022"/>
                        <a:pt x="0" y="53206"/>
                      </a:cubicBezTo>
                      <a:cubicBezTo>
                        <a:pt x="0" y="21391"/>
                        <a:pt x="18707" y="0"/>
                        <a:pt x="46549" y="0"/>
                      </a:cubicBezTo>
                      <a:cubicBezTo>
                        <a:pt x="74391" y="0"/>
                        <a:pt x="93098" y="21391"/>
                        <a:pt x="93098" y="53206"/>
                      </a:cubicBezTo>
                      <a:cubicBezTo>
                        <a:pt x="93098" y="85022"/>
                        <a:pt x="74391" y="106412"/>
                        <a:pt x="46549" y="106412"/>
                      </a:cubicBezTo>
                      <a:close/>
                      <a:moveTo>
                        <a:pt x="46549" y="13289"/>
                      </a:moveTo>
                      <a:cubicBezTo>
                        <a:pt x="22010" y="13289"/>
                        <a:pt x="13289" y="34783"/>
                        <a:pt x="13289" y="53206"/>
                      </a:cubicBezTo>
                      <a:cubicBezTo>
                        <a:pt x="13289" y="71630"/>
                        <a:pt x="22010" y="93124"/>
                        <a:pt x="46549" y="93124"/>
                      </a:cubicBezTo>
                      <a:cubicBezTo>
                        <a:pt x="71088" y="93124"/>
                        <a:pt x="79809" y="71630"/>
                        <a:pt x="79809" y="53206"/>
                      </a:cubicBezTo>
                      <a:cubicBezTo>
                        <a:pt x="79809" y="34808"/>
                        <a:pt x="71088" y="13289"/>
                        <a:pt x="46549" y="13289"/>
                      </a:cubicBezTo>
                      <a:close/>
                    </a:path>
                  </a:pathLst>
                </a:custGeom>
                <a:solidFill>
                  <a:schemeClr val="accent1"/>
                </a:solidFill>
                <a:ln w="2573" cap="flat">
                  <a:noFill/>
                  <a:prstDash val="solid"/>
                  <a:miter/>
                </a:ln>
              </p:spPr>
              <p:txBody>
                <a:bodyPr rtlCol="0" anchor="ctr"/>
                <a:lstStyle/>
                <a:p>
                  <a:endParaRPr lang="en-GB" dirty="0"/>
                </a:p>
              </p:txBody>
            </p:sp>
            <p:sp>
              <p:nvSpPr>
                <p:cNvPr id="1346" name="Freihandform: Form 1345">
                  <a:extLst>
                    <a:ext uri="{FF2B5EF4-FFF2-40B4-BE49-F238E27FC236}">
                      <a16:creationId xmlns:a16="http://schemas.microsoft.com/office/drawing/2014/main" id="{63C66BC9-DA41-4A40-A27F-0250A2119266}"/>
                    </a:ext>
                  </a:extLst>
                </p:cNvPr>
                <p:cNvSpPr/>
                <p:nvPr/>
              </p:nvSpPr>
              <p:spPr>
                <a:xfrm>
                  <a:off x="1983047" y="2704273"/>
                  <a:ext cx="13314" cy="159644"/>
                </a:xfrm>
                <a:custGeom>
                  <a:avLst/>
                  <a:gdLst>
                    <a:gd name="connsiteX0" fmla="*/ 6657 w 13314"/>
                    <a:gd name="connsiteY0" fmla="*/ 159644 h 159644"/>
                    <a:gd name="connsiteX1" fmla="*/ 0 w 13314"/>
                    <a:gd name="connsiteY1" fmla="*/ 152987 h 159644"/>
                    <a:gd name="connsiteX2" fmla="*/ 0 w 13314"/>
                    <a:gd name="connsiteY2" fmla="*/ 6657 h 159644"/>
                    <a:gd name="connsiteX3" fmla="*/ 6657 w 13314"/>
                    <a:gd name="connsiteY3" fmla="*/ 0 h 159644"/>
                    <a:gd name="connsiteX4" fmla="*/ 13314 w 13314"/>
                    <a:gd name="connsiteY4" fmla="*/ 6657 h 159644"/>
                    <a:gd name="connsiteX5" fmla="*/ 13314 w 13314"/>
                    <a:gd name="connsiteY5" fmla="*/ 152987 h 159644"/>
                    <a:gd name="connsiteX6" fmla="*/ 6657 w 13314"/>
                    <a:gd name="connsiteY6" fmla="*/ 159644 h 15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159644">
                      <a:moveTo>
                        <a:pt x="6657" y="159644"/>
                      </a:moveTo>
                      <a:cubicBezTo>
                        <a:pt x="2993" y="159644"/>
                        <a:pt x="0" y="156677"/>
                        <a:pt x="0" y="152987"/>
                      </a:cubicBezTo>
                      <a:lnTo>
                        <a:pt x="0" y="6657"/>
                      </a:lnTo>
                      <a:cubicBezTo>
                        <a:pt x="0" y="2993"/>
                        <a:pt x="2967" y="0"/>
                        <a:pt x="6657" y="0"/>
                      </a:cubicBezTo>
                      <a:cubicBezTo>
                        <a:pt x="10321" y="0"/>
                        <a:pt x="13314" y="2967"/>
                        <a:pt x="13314" y="6657"/>
                      </a:cubicBezTo>
                      <a:lnTo>
                        <a:pt x="13314" y="152987"/>
                      </a:lnTo>
                      <a:cubicBezTo>
                        <a:pt x="13289" y="156651"/>
                        <a:pt x="10321" y="159644"/>
                        <a:pt x="6657" y="159644"/>
                      </a:cubicBezTo>
                      <a:close/>
                    </a:path>
                  </a:pathLst>
                </a:custGeom>
                <a:solidFill>
                  <a:schemeClr val="accent1"/>
                </a:solidFill>
                <a:ln w="2573" cap="flat">
                  <a:noFill/>
                  <a:prstDash val="solid"/>
                  <a:miter/>
                </a:ln>
              </p:spPr>
              <p:txBody>
                <a:bodyPr rtlCol="0" anchor="ctr"/>
                <a:lstStyle/>
                <a:p>
                  <a:endParaRPr lang="en-GB" dirty="0"/>
                </a:p>
              </p:txBody>
            </p:sp>
            <p:sp>
              <p:nvSpPr>
                <p:cNvPr id="1347" name="Freihandform: Form 1346">
                  <a:extLst>
                    <a:ext uri="{FF2B5EF4-FFF2-40B4-BE49-F238E27FC236}">
                      <a16:creationId xmlns:a16="http://schemas.microsoft.com/office/drawing/2014/main" id="{7BDB8637-943C-4683-BF79-10C8A5D60594}"/>
                    </a:ext>
                  </a:extLst>
                </p:cNvPr>
                <p:cNvSpPr/>
                <p:nvPr/>
              </p:nvSpPr>
              <p:spPr>
                <a:xfrm>
                  <a:off x="1850006" y="2704273"/>
                  <a:ext cx="13314" cy="159644"/>
                </a:xfrm>
                <a:custGeom>
                  <a:avLst/>
                  <a:gdLst>
                    <a:gd name="connsiteX0" fmla="*/ 6657 w 13314"/>
                    <a:gd name="connsiteY0" fmla="*/ 159644 h 159644"/>
                    <a:gd name="connsiteX1" fmla="*/ 0 w 13314"/>
                    <a:gd name="connsiteY1" fmla="*/ 152987 h 159644"/>
                    <a:gd name="connsiteX2" fmla="*/ 0 w 13314"/>
                    <a:gd name="connsiteY2" fmla="*/ 6657 h 159644"/>
                    <a:gd name="connsiteX3" fmla="*/ 6657 w 13314"/>
                    <a:gd name="connsiteY3" fmla="*/ 0 h 159644"/>
                    <a:gd name="connsiteX4" fmla="*/ 13314 w 13314"/>
                    <a:gd name="connsiteY4" fmla="*/ 6657 h 159644"/>
                    <a:gd name="connsiteX5" fmla="*/ 13314 w 13314"/>
                    <a:gd name="connsiteY5" fmla="*/ 152987 h 159644"/>
                    <a:gd name="connsiteX6" fmla="*/ 6657 w 13314"/>
                    <a:gd name="connsiteY6" fmla="*/ 159644 h 15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159644">
                      <a:moveTo>
                        <a:pt x="6657" y="159644"/>
                      </a:moveTo>
                      <a:cubicBezTo>
                        <a:pt x="2993" y="159644"/>
                        <a:pt x="0" y="156677"/>
                        <a:pt x="0" y="152987"/>
                      </a:cubicBezTo>
                      <a:lnTo>
                        <a:pt x="0" y="6657"/>
                      </a:lnTo>
                      <a:cubicBezTo>
                        <a:pt x="0" y="2993"/>
                        <a:pt x="2967" y="0"/>
                        <a:pt x="6657" y="0"/>
                      </a:cubicBezTo>
                      <a:cubicBezTo>
                        <a:pt x="10321" y="0"/>
                        <a:pt x="13314" y="2967"/>
                        <a:pt x="13314" y="6657"/>
                      </a:cubicBezTo>
                      <a:lnTo>
                        <a:pt x="13314" y="152987"/>
                      </a:lnTo>
                      <a:cubicBezTo>
                        <a:pt x="13314" y="156651"/>
                        <a:pt x="10321" y="159644"/>
                        <a:pt x="6657" y="159644"/>
                      </a:cubicBezTo>
                      <a:close/>
                    </a:path>
                  </a:pathLst>
                </a:custGeom>
                <a:solidFill>
                  <a:schemeClr val="accent1"/>
                </a:solidFill>
                <a:ln w="2573" cap="flat">
                  <a:noFill/>
                  <a:prstDash val="solid"/>
                  <a:miter/>
                </a:ln>
              </p:spPr>
              <p:txBody>
                <a:bodyPr rtlCol="0" anchor="ctr"/>
                <a:lstStyle/>
                <a:p>
                  <a:endParaRPr lang="en-GB" dirty="0"/>
                </a:p>
              </p:txBody>
            </p:sp>
            <p:sp>
              <p:nvSpPr>
                <p:cNvPr id="1348" name="Freihandform: Form 1347">
                  <a:extLst>
                    <a:ext uri="{FF2B5EF4-FFF2-40B4-BE49-F238E27FC236}">
                      <a16:creationId xmlns:a16="http://schemas.microsoft.com/office/drawing/2014/main" id="{C7A02BEE-D3D6-492C-B839-3ABD29B8D1C1}"/>
                    </a:ext>
                  </a:extLst>
                </p:cNvPr>
                <p:cNvSpPr/>
                <p:nvPr/>
              </p:nvSpPr>
              <p:spPr>
                <a:xfrm>
                  <a:off x="1803455" y="2564600"/>
                  <a:ext cx="226158" cy="146871"/>
                </a:xfrm>
                <a:custGeom>
                  <a:avLst/>
                  <a:gdLst>
                    <a:gd name="connsiteX0" fmla="*/ 198635 w 226158"/>
                    <a:gd name="connsiteY0" fmla="*/ 146872 h 146871"/>
                    <a:gd name="connsiteX1" fmla="*/ 149196 w 226158"/>
                    <a:gd name="connsiteY1" fmla="*/ 146872 h 146871"/>
                    <a:gd name="connsiteX2" fmla="*/ 131289 w 226158"/>
                    <a:gd name="connsiteY2" fmla="*/ 143595 h 146871"/>
                    <a:gd name="connsiteX3" fmla="*/ 130437 w 226158"/>
                    <a:gd name="connsiteY3" fmla="*/ 143724 h 146871"/>
                    <a:gd name="connsiteX4" fmla="*/ 92171 w 226158"/>
                    <a:gd name="connsiteY4" fmla="*/ 146846 h 146871"/>
                    <a:gd name="connsiteX5" fmla="*/ 27431 w 226158"/>
                    <a:gd name="connsiteY5" fmla="*/ 146872 h 146871"/>
                    <a:gd name="connsiteX6" fmla="*/ 5085 w 226158"/>
                    <a:gd name="connsiteY6" fmla="*/ 137299 h 146871"/>
                    <a:gd name="connsiteX7" fmla="*/ 234 w 226158"/>
                    <a:gd name="connsiteY7" fmla="*/ 120733 h 146871"/>
                    <a:gd name="connsiteX8" fmla="*/ 14039 w 226158"/>
                    <a:gd name="connsiteY8" fmla="*/ 43607 h 146871"/>
                    <a:gd name="connsiteX9" fmla="*/ 71657 w 226158"/>
                    <a:gd name="connsiteY9" fmla="*/ 0 h 146871"/>
                    <a:gd name="connsiteX10" fmla="*/ 164368 w 226158"/>
                    <a:gd name="connsiteY10" fmla="*/ 0 h 146871"/>
                    <a:gd name="connsiteX11" fmla="*/ 215407 w 226158"/>
                    <a:gd name="connsiteY11" fmla="*/ 43453 h 146871"/>
                    <a:gd name="connsiteX12" fmla="*/ 225831 w 226158"/>
                    <a:gd name="connsiteY12" fmla="*/ 120811 h 146871"/>
                    <a:gd name="connsiteX13" fmla="*/ 221471 w 226158"/>
                    <a:gd name="connsiteY13" fmla="*/ 136499 h 146871"/>
                    <a:gd name="connsiteX14" fmla="*/ 198635 w 226158"/>
                    <a:gd name="connsiteY14" fmla="*/ 146872 h 146871"/>
                    <a:gd name="connsiteX15" fmla="*/ 129405 w 226158"/>
                    <a:gd name="connsiteY15" fmla="*/ 128784 h 146871"/>
                    <a:gd name="connsiteX16" fmla="*/ 149196 w 226158"/>
                    <a:gd name="connsiteY16" fmla="*/ 133557 h 146871"/>
                    <a:gd name="connsiteX17" fmla="*/ 198635 w 226158"/>
                    <a:gd name="connsiteY17" fmla="*/ 133557 h 146871"/>
                    <a:gd name="connsiteX18" fmla="*/ 211227 w 226158"/>
                    <a:gd name="connsiteY18" fmla="*/ 128087 h 146871"/>
                    <a:gd name="connsiteX19" fmla="*/ 212749 w 226158"/>
                    <a:gd name="connsiteY19" fmla="*/ 123004 h 146871"/>
                    <a:gd name="connsiteX20" fmla="*/ 202325 w 226158"/>
                    <a:gd name="connsiteY20" fmla="*/ 45672 h 146871"/>
                    <a:gd name="connsiteX21" fmla="*/ 164394 w 226158"/>
                    <a:gd name="connsiteY21" fmla="*/ 13289 h 146871"/>
                    <a:gd name="connsiteX22" fmla="*/ 71683 w 226158"/>
                    <a:gd name="connsiteY22" fmla="*/ 13289 h 146871"/>
                    <a:gd name="connsiteX23" fmla="*/ 27147 w 226158"/>
                    <a:gd name="connsiteY23" fmla="*/ 46110 h 146871"/>
                    <a:gd name="connsiteX24" fmla="*/ 13394 w 226158"/>
                    <a:gd name="connsiteY24" fmla="*/ 122875 h 146871"/>
                    <a:gd name="connsiteX25" fmla="*/ 15200 w 226158"/>
                    <a:gd name="connsiteY25" fmla="*/ 128603 h 146871"/>
                    <a:gd name="connsiteX26" fmla="*/ 27482 w 226158"/>
                    <a:gd name="connsiteY26" fmla="*/ 133557 h 146871"/>
                    <a:gd name="connsiteX27" fmla="*/ 91681 w 226158"/>
                    <a:gd name="connsiteY27" fmla="*/ 133557 h 146871"/>
                    <a:gd name="connsiteX28" fmla="*/ 110517 w 226158"/>
                    <a:gd name="connsiteY28" fmla="*/ 132009 h 146871"/>
                    <a:gd name="connsiteX29" fmla="*/ 48589 w 226158"/>
                    <a:gd name="connsiteY29" fmla="*/ 110386 h 146871"/>
                    <a:gd name="connsiteX30" fmla="*/ 42964 w 226158"/>
                    <a:gd name="connsiteY30" fmla="*/ 108193 h 146871"/>
                    <a:gd name="connsiteX31" fmla="*/ 41442 w 226158"/>
                    <a:gd name="connsiteY31" fmla="*/ 102361 h 146871"/>
                    <a:gd name="connsiteX32" fmla="*/ 48770 w 226158"/>
                    <a:gd name="connsiteY32" fmla="*/ 68869 h 146871"/>
                    <a:gd name="connsiteX33" fmla="*/ 56692 w 226158"/>
                    <a:gd name="connsiteY33" fmla="*/ 63785 h 146871"/>
                    <a:gd name="connsiteX34" fmla="*/ 61775 w 226158"/>
                    <a:gd name="connsiteY34" fmla="*/ 71707 h 146871"/>
                    <a:gd name="connsiteX35" fmla="*/ 56227 w 226158"/>
                    <a:gd name="connsiteY35" fmla="*/ 96994 h 146871"/>
                    <a:gd name="connsiteX36" fmla="*/ 129405 w 226158"/>
                    <a:gd name="connsiteY36" fmla="*/ 128784 h 14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26158" h="146871">
                      <a:moveTo>
                        <a:pt x="198635" y="146872"/>
                      </a:moveTo>
                      <a:lnTo>
                        <a:pt x="149196" y="146872"/>
                      </a:lnTo>
                      <a:cubicBezTo>
                        <a:pt x="144397" y="146872"/>
                        <a:pt x="137301" y="145401"/>
                        <a:pt x="131289" y="143595"/>
                      </a:cubicBezTo>
                      <a:cubicBezTo>
                        <a:pt x="131005" y="143646"/>
                        <a:pt x="130721" y="143698"/>
                        <a:pt x="130437" y="143724"/>
                      </a:cubicBezTo>
                      <a:lnTo>
                        <a:pt x="92171" y="146846"/>
                      </a:lnTo>
                      <a:lnTo>
                        <a:pt x="27431" y="146872"/>
                      </a:lnTo>
                      <a:cubicBezTo>
                        <a:pt x="18735" y="146872"/>
                        <a:pt x="10168" y="143208"/>
                        <a:pt x="5085" y="137299"/>
                      </a:cubicBezTo>
                      <a:cubicBezTo>
                        <a:pt x="1060" y="132654"/>
                        <a:pt x="-669" y="126771"/>
                        <a:pt x="234" y="120733"/>
                      </a:cubicBezTo>
                      <a:lnTo>
                        <a:pt x="14039" y="43607"/>
                      </a:lnTo>
                      <a:cubicBezTo>
                        <a:pt x="18864" y="19894"/>
                        <a:pt x="45235" y="0"/>
                        <a:pt x="71657" y="0"/>
                      </a:cubicBezTo>
                      <a:lnTo>
                        <a:pt x="164368" y="0"/>
                      </a:lnTo>
                      <a:cubicBezTo>
                        <a:pt x="188804" y="0"/>
                        <a:pt x="210272" y="18269"/>
                        <a:pt x="215407" y="43453"/>
                      </a:cubicBezTo>
                      <a:lnTo>
                        <a:pt x="225831" y="120811"/>
                      </a:lnTo>
                      <a:cubicBezTo>
                        <a:pt x="226889" y="126074"/>
                        <a:pt x="225367" y="131777"/>
                        <a:pt x="221471" y="136499"/>
                      </a:cubicBezTo>
                      <a:cubicBezTo>
                        <a:pt x="216336" y="142795"/>
                        <a:pt x="207356" y="146872"/>
                        <a:pt x="198635" y="146872"/>
                      </a:cubicBezTo>
                      <a:close/>
                      <a:moveTo>
                        <a:pt x="129405" y="128784"/>
                      </a:moveTo>
                      <a:cubicBezTo>
                        <a:pt x="134256" y="131029"/>
                        <a:pt x="144655" y="133557"/>
                        <a:pt x="149196" y="133557"/>
                      </a:cubicBezTo>
                      <a:lnTo>
                        <a:pt x="198635" y="133557"/>
                      </a:lnTo>
                      <a:cubicBezTo>
                        <a:pt x="203408" y="133557"/>
                        <a:pt x="208595" y="131312"/>
                        <a:pt x="211227" y="128087"/>
                      </a:cubicBezTo>
                      <a:cubicBezTo>
                        <a:pt x="213265" y="125610"/>
                        <a:pt x="212852" y="123649"/>
                        <a:pt x="212749" y="123004"/>
                      </a:cubicBezTo>
                      <a:lnTo>
                        <a:pt x="202325" y="45672"/>
                      </a:lnTo>
                      <a:cubicBezTo>
                        <a:pt x="198532" y="27093"/>
                        <a:pt x="182534" y="13289"/>
                        <a:pt x="164394" y="13289"/>
                      </a:cubicBezTo>
                      <a:lnTo>
                        <a:pt x="71683" y="13289"/>
                      </a:lnTo>
                      <a:cubicBezTo>
                        <a:pt x="51505" y="13289"/>
                        <a:pt x="30682" y="28616"/>
                        <a:pt x="27147" y="46110"/>
                      </a:cubicBezTo>
                      <a:lnTo>
                        <a:pt x="13394" y="122875"/>
                      </a:lnTo>
                      <a:cubicBezTo>
                        <a:pt x="13110" y="124887"/>
                        <a:pt x="13678" y="126848"/>
                        <a:pt x="15200" y="128603"/>
                      </a:cubicBezTo>
                      <a:cubicBezTo>
                        <a:pt x="17755" y="131571"/>
                        <a:pt x="22709" y="133557"/>
                        <a:pt x="27482" y="133557"/>
                      </a:cubicBezTo>
                      <a:lnTo>
                        <a:pt x="91681" y="133557"/>
                      </a:lnTo>
                      <a:lnTo>
                        <a:pt x="110517" y="132009"/>
                      </a:lnTo>
                      <a:cubicBezTo>
                        <a:pt x="95680" y="122617"/>
                        <a:pt x="69180" y="108322"/>
                        <a:pt x="48589" y="110386"/>
                      </a:cubicBezTo>
                      <a:cubicBezTo>
                        <a:pt x="46448" y="110592"/>
                        <a:pt x="44383" y="109767"/>
                        <a:pt x="42964" y="108193"/>
                      </a:cubicBezTo>
                      <a:cubicBezTo>
                        <a:pt x="41545" y="106593"/>
                        <a:pt x="40977" y="104425"/>
                        <a:pt x="41442" y="102361"/>
                      </a:cubicBezTo>
                      <a:lnTo>
                        <a:pt x="48770" y="68869"/>
                      </a:lnTo>
                      <a:cubicBezTo>
                        <a:pt x="49544" y="65282"/>
                        <a:pt x="53105" y="63011"/>
                        <a:pt x="56692" y="63785"/>
                      </a:cubicBezTo>
                      <a:cubicBezTo>
                        <a:pt x="60278" y="64585"/>
                        <a:pt x="62549" y="68120"/>
                        <a:pt x="61775" y="71707"/>
                      </a:cubicBezTo>
                      <a:lnTo>
                        <a:pt x="56227" y="96994"/>
                      </a:lnTo>
                      <a:cubicBezTo>
                        <a:pt x="88171" y="98929"/>
                        <a:pt x="124296" y="124965"/>
                        <a:pt x="129405" y="128784"/>
                      </a:cubicBezTo>
                      <a:close/>
                    </a:path>
                  </a:pathLst>
                </a:custGeom>
                <a:solidFill>
                  <a:schemeClr val="accent1"/>
                </a:solidFill>
                <a:ln w="2573" cap="flat">
                  <a:noFill/>
                  <a:prstDash val="solid"/>
                  <a:miter/>
                </a:ln>
              </p:spPr>
              <p:txBody>
                <a:bodyPr rtlCol="0" anchor="ctr"/>
                <a:lstStyle/>
                <a:p>
                  <a:endParaRPr lang="en-GB" dirty="0"/>
                </a:p>
              </p:txBody>
            </p:sp>
            <p:sp>
              <p:nvSpPr>
                <p:cNvPr id="1349" name="Freihandform: Form 1348">
                  <a:extLst>
                    <a:ext uri="{FF2B5EF4-FFF2-40B4-BE49-F238E27FC236}">
                      <a16:creationId xmlns:a16="http://schemas.microsoft.com/office/drawing/2014/main" id="{D6E3DC2F-0C3B-4274-A347-2EAC0412C90F}"/>
                    </a:ext>
                  </a:extLst>
                </p:cNvPr>
                <p:cNvSpPr/>
                <p:nvPr/>
              </p:nvSpPr>
              <p:spPr>
                <a:xfrm>
                  <a:off x="1845929" y="2626413"/>
                  <a:ext cx="141741" cy="46689"/>
                </a:xfrm>
                <a:custGeom>
                  <a:avLst/>
                  <a:gdLst>
                    <a:gd name="connsiteX0" fmla="*/ 6657 w 141741"/>
                    <a:gd name="connsiteY0" fmla="*/ 46689 h 46689"/>
                    <a:gd name="connsiteX1" fmla="*/ 2761 w 141741"/>
                    <a:gd name="connsiteY1" fmla="*/ 45425 h 46689"/>
                    <a:gd name="connsiteX2" fmla="*/ 1264 w 141741"/>
                    <a:gd name="connsiteY2" fmla="*/ 36136 h 46689"/>
                    <a:gd name="connsiteX3" fmla="*/ 9315 w 141741"/>
                    <a:gd name="connsiteY3" fmla="*/ 24989 h 46689"/>
                    <a:gd name="connsiteX4" fmla="*/ 27351 w 141741"/>
                    <a:gd name="connsiteY4" fmla="*/ 18228 h 46689"/>
                    <a:gd name="connsiteX5" fmla="*/ 53516 w 141741"/>
                    <a:gd name="connsiteY5" fmla="*/ 23131 h 46689"/>
                    <a:gd name="connsiteX6" fmla="*/ 127390 w 141741"/>
                    <a:gd name="connsiteY6" fmla="*/ 27053 h 46689"/>
                    <a:gd name="connsiteX7" fmla="*/ 125429 w 141741"/>
                    <a:gd name="connsiteY7" fmla="*/ 7314 h 46689"/>
                    <a:gd name="connsiteX8" fmla="*/ 131390 w 141741"/>
                    <a:gd name="connsiteY8" fmla="*/ 37 h 46689"/>
                    <a:gd name="connsiteX9" fmla="*/ 138666 w 141741"/>
                    <a:gd name="connsiteY9" fmla="*/ 5998 h 46689"/>
                    <a:gd name="connsiteX10" fmla="*/ 141711 w 141741"/>
                    <a:gd name="connsiteY10" fmla="*/ 36729 h 46689"/>
                    <a:gd name="connsiteX11" fmla="*/ 138770 w 141741"/>
                    <a:gd name="connsiteY11" fmla="*/ 42922 h 46689"/>
                    <a:gd name="connsiteX12" fmla="*/ 131932 w 141741"/>
                    <a:gd name="connsiteY12" fmla="*/ 43232 h 46689"/>
                    <a:gd name="connsiteX13" fmla="*/ 54109 w 141741"/>
                    <a:gd name="connsiteY13" fmla="*/ 36445 h 46689"/>
                    <a:gd name="connsiteX14" fmla="*/ 52071 w 141741"/>
                    <a:gd name="connsiteY14" fmla="*/ 36394 h 46689"/>
                    <a:gd name="connsiteX15" fmla="*/ 24281 w 141741"/>
                    <a:gd name="connsiteY15" fmla="*/ 31182 h 46689"/>
                    <a:gd name="connsiteX16" fmla="*/ 22862 w 141741"/>
                    <a:gd name="connsiteY16" fmla="*/ 30743 h 46689"/>
                    <a:gd name="connsiteX17" fmla="*/ 20127 w 141741"/>
                    <a:gd name="connsiteY17" fmla="*/ 32756 h 46689"/>
                    <a:gd name="connsiteX18" fmla="*/ 12076 w 141741"/>
                    <a:gd name="connsiteY18" fmla="*/ 43903 h 46689"/>
                    <a:gd name="connsiteX19" fmla="*/ 6657 w 141741"/>
                    <a:gd name="connsiteY19" fmla="*/ 46689 h 46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1741" h="46689">
                      <a:moveTo>
                        <a:pt x="6657" y="46689"/>
                      </a:moveTo>
                      <a:cubicBezTo>
                        <a:pt x="5316" y="46689"/>
                        <a:pt x="3948" y="46276"/>
                        <a:pt x="2761" y="45425"/>
                      </a:cubicBezTo>
                      <a:cubicBezTo>
                        <a:pt x="-206" y="43283"/>
                        <a:pt x="-903" y="39129"/>
                        <a:pt x="1264" y="36136"/>
                      </a:cubicBezTo>
                      <a:lnTo>
                        <a:pt x="9315" y="24989"/>
                      </a:lnTo>
                      <a:cubicBezTo>
                        <a:pt x="12902" y="20035"/>
                        <a:pt x="19688" y="15390"/>
                        <a:pt x="27351" y="18228"/>
                      </a:cubicBezTo>
                      <a:lnTo>
                        <a:pt x="53516" y="23131"/>
                      </a:lnTo>
                      <a:cubicBezTo>
                        <a:pt x="60638" y="22331"/>
                        <a:pt x="99910" y="18409"/>
                        <a:pt x="127390" y="27053"/>
                      </a:cubicBezTo>
                      <a:lnTo>
                        <a:pt x="125429" y="7314"/>
                      </a:lnTo>
                      <a:cubicBezTo>
                        <a:pt x="125068" y="3650"/>
                        <a:pt x="127726" y="398"/>
                        <a:pt x="131390" y="37"/>
                      </a:cubicBezTo>
                      <a:cubicBezTo>
                        <a:pt x="135054" y="-350"/>
                        <a:pt x="138305" y="2334"/>
                        <a:pt x="138666" y="5998"/>
                      </a:cubicBezTo>
                      <a:lnTo>
                        <a:pt x="141711" y="36729"/>
                      </a:lnTo>
                      <a:cubicBezTo>
                        <a:pt x="141943" y="39181"/>
                        <a:pt x="140834" y="41554"/>
                        <a:pt x="138770" y="42922"/>
                      </a:cubicBezTo>
                      <a:cubicBezTo>
                        <a:pt x="136731" y="44290"/>
                        <a:pt x="134099" y="44419"/>
                        <a:pt x="131932" y="43232"/>
                      </a:cubicBezTo>
                      <a:cubicBezTo>
                        <a:pt x="107316" y="29995"/>
                        <a:pt x="54651" y="36394"/>
                        <a:pt x="54109" y="36445"/>
                      </a:cubicBezTo>
                      <a:cubicBezTo>
                        <a:pt x="53438" y="36549"/>
                        <a:pt x="52742" y="36523"/>
                        <a:pt x="52071" y="36394"/>
                      </a:cubicBezTo>
                      <a:lnTo>
                        <a:pt x="24281" y="31182"/>
                      </a:lnTo>
                      <a:cubicBezTo>
                        <a:pt x="23791" y="31078"/>
                        <a:pt x="23300" y="30949"/>
                        <a:pt x="22862" y="30743"/>
                      </a:cubicBezTo>
                      <a:cubicBezTo>
                        <a:pt x="22397" y="30537"/>
                        <a:pt x="21004" y="31543"/>
                        <a:pt x="20127" y="32756"/>
                      </a:cubicBezTo>
                      <a:lnTo>
                        <a:pt x="12076" y="43903"/>
                      </a:lnTo>
                      <a:cubicBezTo>
                        <a:pt x="10760" y="45735"/>
                        <a:pt x="8721" y="46689"/>
                        <a:pt x="6657" y="46689"/>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1333" name="Grafik 312">
              <a:extLst>
                <a:ext uri="{FF2B5EF4-FFF2-40B4-BE49-F238E27FC236}">
                  <a16:creationId xmlns:a16="http://schemas.microsoft.com/office/drawing/2014/main" id="{4DAEDD7B-8DD1-428D-A096-6314501C4D02}"/>
                </a:ext>
              </a:extLst>
            </p:cNvPr>
            <p:cNvGrpSpPr/>
            <p:nvPr/>
          </p:nvGrpSpPr>
          <p:grpSpPr>
            <a:xfrm>
              <a:off x="1623496" y="2712052"/>
              <a:ext cx="431977" cy="169289"/>
              <a:chOff x="1676841" y="2744190"/>
              <a:chExt cx="492169" cy="192878"/>
            </a:xfrm>
            <a:solidFill>
              <a:schemeClr val="tx2"/>
            </a:solidFill>
          </p:grpSpPr>
          <p:sp>
            <p:nvSpPr>
              <p:cNvPr id="1334" name="Freihandform: Form 1333">
                <a:extLst>
                  <a:ext uri="{FF2B5EF4-FFF2-40B4-BE49-F238E27FC236}">
                    <a16:creationId xmlns:a16="http://schemas.microsoft.com/office/drawing/2014/main" id="{8BCD8388-9A31-4795-AF7F-57FC25A7936E}"/>
                  </a:ext>
                </a:extLst>
              </p:cNvPr>
              <p:cNvSpPr/>
              <p:nvPr/>
            </p:nvSpPr>
            <p:spPr>
              <a:xfrm>
                <a:off x="1676841" y="2863891"/>
                <a:ext cx="172958" cy="73177"/>
              </a:xfrm>
              <a:custGeom>
                <a:avLst/>
                <a:gdLst>
                  <a:gd name="connsiteX0" fmla="*/ 166301 w 172958"/>
                  <a:gd name="connsiteY0" fmla="*/ 73178 h 73177"/>
                  <a:gd name="connsiteX1" fmla="*/ 6657 w 172958"/>
                  <a:gd name="connsiteY1" fmla="*/ 73178 h 73177"/>
                  <a:gd name="connsiteX2" fmla="*/ 0 w 172958"/>
                  <a:gd name="connsiteY2" fmla="*/ 66521 h 73177"/>
                  <a:gd name="connsiteX3" fmla="*/ 66521 w 172958"/>
                  <a:gd name="connsiteY3" fmla="*/ 0 h 73177"/>
                  <a:gd name="connsiteX4" fmla="*/ 106438 w 172958"/>
                  <a:gd name="connsiteY4" fmla="*/ 0 h 73177"/>
                  <a:gd name="connsiteX5" fmla="*/ 172959 w 172958"/>
                  <a:gd name="connsiteY5" fmla="*/ 66521 h 73177"/>
                  <a:gd name="connsiteX6" fmla="*/ 166301 w 172958"/>
                  <a:gd name="connsiteY6" fmla="*/ 73178 h 73177"/>
                  <a:gd name="connsiteX7" fmla="*/ 13727 w 172958"/>
                  <a:gd name="connsiteY7" fmla="*/ 59889 h 73177"/>
                  <a:gd name="connsiteX8" fmla="*/ 159231 w 172958"/>
                  <a:gd name="connsiteY8" fmla="*/ 59889 h 73177"/>
                  <a:gd name="connsiteX9" fmla="*/ 106438 w 172958"/>
                  <a:gd name="connsiteY9" fmla="*/ 13340 h 73177"/>
                  <a:gd name="connsiteX10" fmla="*/ 66521 w 172958"/>
                  <a:gd name="connsiteY10" fmla="*/ 13340 h 73177"/>
                  <a:gd name="connsiteX11" fmla="*/ 13727 w 172958"/>
                  <a:gd name="connsiteY11" fmla="*/ 59889 h 7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958" h="73177">
                    <a:moveTo>
                      <a:pt x="166301" y="73178"/>
                    </a:moveTo>
                    <a:lnTo>
                      <a:pt x="6657" y="73178"/>
                    </a:lnTo>
                    <a:cubicBezTo>
                      <a:pt x="2993" y="73178"/>
                      <a:pt x="0" y="70210"/>
                      <a:pt x="0" y="66521"/>
                    </a:cubicBezTo>
                    <a:cubicBezTo>
                      <a:pt x="0" y="29854"/>
                      <a:pt x="29828" y="0"/>
                      <a:pt x="66521" y="0"/>
                    </a:cubicBezTo>
                    <a:lnTo>
                      <a:pt x="106438" y="0"/>
                    </a:lnTo>
                    <a:cubicBezTo>
                      <a:pt x="143104" y="0"/>
                      <a:pt x="172959" y="29828"/>
                      <a:pt x="172959" y="66521"/>
                    </a:cubicBezTo>
                    <a:cubicBezTo>
                      <a:pt x="172959" y="70210"/>
                      <a:pt x="169966" y="73178"/>
                      <a:pt x="166301" y="73178"/>
                    </a:cubicBezTo>
                    <a:close/>
                    <a:moveTo>
                      <a:pt x="13727" y="59889"/>
                    </a:moveTo>
                    <a:lnTo>
                      <a:pt x="159231" y="59889"/>
                    </a:lnTo>
                    <a:cubicBezTo>
                      <a:pt x="155954" y="33673"/>
                      <a:pt x="133531" y="13340"/>
                      <a:pt x="106438" y="13340"/>
                    </a:cubicBezTo>
                    <a:lnTo>
                      <a:pt x="66521" y="13340"/>
                    </a:lnTo>
                    <a:cubicBezTo>
                      <a:pt x="39453" y="13314"/>
                      <a:pt x="17030" y="33673"/>
                      <a:pt x="13727" y="59889"/>
                    </a:cubicBezTo>
                    <a:close/>
                  </a:path>
                </a:pathLst>
              </a:custGeom>
              <a:grpFill/>
              <a:ln w="2573" cap="flat">
                <a:noFill/>
                <a:prstDash val="solid"/>
                <a:miter/>
              </a:ln>
            </p:spPr>
            <p:txBody>
              <a:bodyPr rtlCol="0" anchor="ctr"/>
              <a:lstStyle/>
              <a:p>
                <a:endParaRPr lang="en-GB" dirty="0"/>
              </a:p>
            </p:txBody>
          </p:sp>
          <p:grpSp>
            <p:nvGrpSpPr>
              <p:cNvPr id="1335" name="Grafik 312">
                <a:extLst>
                  <a:ext uri="{FF2B5EF4-FFF2-40B4-BE49-F238E27FC236}">
                    <a16:creationId xmlns:a16="http://schemas.microsoft.com/office/drawing/2014/main" id="{AF0BC26A-3AED-4531-9E0B-0CA40F526224}"/>
                  </a:ext>
                </a:extLst>
              </p:cNvPr>
              <p:cNvGrpSpPr/>
              <p:nvPr/>
            </p:nvGrpSpPr>
            <p:grpSpPr>
              <a:xfrm>
                <a:off x="1836485" y="2744190"/>
                <a:ext cx="172958" cy="192878"/>
                <a:chOff x="1836485" y="2744190"/>
                <a:chExt cx="172958" cy="192878"/>
              </a:xfrm>
              <a:grpFill/>
            </p:grpSpPr>
            <p:sp>
              <p:nvSpPr>
                <p:cNvPr id="1340" name="Freihandform: Form 1339">
                  <a:extLst>
                    <a:ext uri="{FF2B5EF4-FFF2-40B4-BE49-F238E27FC236}">
                      <a16:creationId xmlns:a16="http://schemas.microsoft.com/office/drawing/2014/main" id="{D33B600E-CE49-4846-B414-63C735B3AA2A}"/>
                    </a:ext>
                  </a:extLst>
                </p:cNvPr>
                <p:cNvSpPr/>
                <p:nvPr/>
              </p:nvSpPr>
              <p:spPr>
                <a:xfrm>
                  <a:off x="1836485" y="2863891"/>
                  <a:ext cx="172958" cy="73177"/>
                </a:xfrm>
                <a:custGeom>
                  <a:avLst/>
                  <a:gdLst>
                    <a:gd name="connsiteX0" fmla="*/ 166301 w 172958"/>
                    <a:gd name="connsiteY0" fmla="*/ 73178 h 73177"/>
                    <a:gd name="connsiteX1" fmla="*/ 6657 w 172958"/>
                    <a:gd name="connsiteY1" fmla="*/ 73178 h 73177"/>
                    <a:gd name="connsiteX2" fmla="*/ 0 w 172958"/>
                    <a:gd name="connsiteY2" fmla="*/ 66521 h 73177"/>
                    <a:gd name="connsiteX3" fmla="*/ 66521 w 172958"/>
                    <a:gd name="connsiteY3" fmla="*/ 0 h 73177"/>
                    <a:gd name="connsiteX4" fmla="*/ 106438 w 172958"/>
                    <a:gd name="connsiteY4" fmla="*/ 0 h 73177"/>
                    <a:gd name="connsiteX5" fmla="*/ 172959 w 172958"/>
                    <a:gd name="connsiteY5" fmla="*/ 66521 h 73177"/>
                    <a:gd name="connsiteX6" fmla="*/ 166301 w 172958"/>
                    <a:gd name="connsiteY6" fmla="*/ 73178 h 73177"/>
                    <a:gd name="connsiteX7" fmla="*/ 13727 w 172958"/>
                    <a:gd name="connsiteY7" fmla="*/ 59889 h 73177"/>
                    <a:gd name="connsiteX8" fmla="*/ 159231 w 172958"/>
                    <a:gd name="connsiteY8" fmla="*/ 59889 h 73177"/>
                    <a:gd name="connsiteX9" fmla="*/ 106438 w 172958"/>
                    <a:gd name="connsiteY9" fmla="*/ 13340 h 73177"/>
                    <a:gd name="connsiteX10" fmla="*/ 66521 w 172958"/>
                    <a:gd name="connsiteY10" fmla="*/ 13340 h 73177"/>
                    <a:gd name="connsiteX11" fmla="*/ 13727 w 172958"/>
                    <a:gd name="connsiteY11" fmla="*/ 59889 h 7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958" h="73177">
                      <a:moveTo>
                        <a:pt x="166301" y="73178"/>
                      </a:moveTo>
                      <a:lnTo>
                        <a:pt x="6657" y="73178"/>
                      </a:lnTo>
                      <a:cubicBezTo>
                        <a:pt x="2993" y="73178"/>
                        <a:pt x="0" y="70210"/>
                        <a:pt x="0" y="66521"/>
                      </a:cubicBezTo>
                      <a:cubicBezTo>
                        <a:pt x="0" y="29854"/>
                        <a:pt x="29828" y="0"/>
                        <a:pt x="66521" y="0"/>
                      </a:cubicBezTo>
                      <a:lnTo>
                        <a:pt x="106438" y="0"/>
                      </a:lnTo>
                      <a:cubicBezTo>
                        <a:pt x="143104" y="0"/>
                        <a:pt x="172959" y="29828"/>
                        <a:pt x="172959" y="66521"/>
                      </a:cubicBezTo>
                      <a:cubicBezTo>
                        <a:pt x="172933" y="70210"/>
                        <a:pt x="169966" y="73178"/>
                        <a:pt x="166301" y="73178"/>
                      </a:cubicBezTo>
                      <a:close/>
                      <a:moveTo>
                        <a:pt x="13727" y="59889"/>
                      </a:moveTo>
                      <a:lnTo>
                        <a:pt x="159231" y="59889"/>
                      </a:lnTo>
                      <a:cubicBezTo>
                        <a:pt x="155954" y="33673"/>
                        <a:pt x="133531" y="13340"/>
                        <a:pt x="106438" y="13340"/>
                      </a:cubicBezTo>
                      <a:lnTo>
                        <a:pt x="66521" y="13340"/>
                      </a:lnTo>
                      <a:cubicBezTo>
                        <a:pt x="39427" y="13314"/>
                        <a:pt x="17004" y="33673"/>
                        <a:pt x="13727" y="59889"/>
                      </a:cubicBezTo>
                      <a:close/>
                    </a:path>
                  </a:pathLst>
                </a:custGeom>
                <a:grpFill/>
                <a:ln w="2573" cap="flat">
                  <a:noFill/>
                  <a:prstDash val="solid"/>
                  <a:miter/>
                </a:ln>
              </p:spPr>
              <p:txBody>
                <a:bodyPr rtlCol="0" anchor="ctr"/>
                <a:lstStyle/>
                <a:p>
                  <a:endParaRPr lang="en-GB" dirty="0"/>
                </a:p>
              </p:txBody>
            </p:sp>
            <p:sp>
              <p:nvSpPr>
                <p:cNvPr id="1341" name="Freihandform: Form 1340">
                  <a:extLst>
                    <a:ext uri="{FF2B5EF4-FFF2-40B4-BE49-F238E27FC236}">
                      <a16:creationId xmlns:a16="http://schemas.microsoft.com/office/drawing/2014/main" id="{12331558-8AD7-4637-B828-EDBF3D5BF894}"/>
                    </a:ext>
                  </a:extLst>
                </p:cNvPr>
                <p:cNvSpPr/>
                <p:nvPr/>
              </p:nvSpPr>
              <p:spPr>
                <a:xfrm>
                  <a:off x="1876403" y="2744190"/>
                  <a:ext cx="93097" cy="106412"/>
                </a:xfrm>
                <a:custGeom>
                  <a:avLst/>
                  <a:gdLst>
                    <a:gd name="connsiteX0" fmla="*/ 46549 w 93097"/>
                    <a:gd name="connsiteY0" fmla="*/ 106412 h 106412"/>
                    <a:gd name="connsiteX1" fmla="*/ 0 w 93097"/>
                    <a:gd name="connsiteY1" fmla="*/ 53206 h 106412"/>
                    <a:gd name="connsiteX2" fmla="*/ 46549 w 93097"/>
                    <a:gd name="connsiteY2" fmla="*/ 0 h 106412"/>
                    <a:gd name="connsiteX3" fmla="*/ 93098 w 93097"/>
                    <a:gd name="connsiteY3" fmla="*/ 53206 h 106412"/>
                    <a:gd name="connsiteX4" fmla="*/ 46549 w 93097"/>
                    <a:gd name="connsiteY4" fmla="*/ 106412 h 106412"/>
                    <a:gd name="connsiteX5" fmla="*/ 46549 w 93097"/>
                    <a:gd name="connsiteY5" fmla="*/ 13289 h 106412"/>
                    <a:gd name="connsiteX6" fmla="*/ 13289 w 93097"/>
                    <a:gd name="connsiteY6" fmla="*/ 53206 h 106412"/>
                    <a:gd name="connsiteX7" fmla="*/ 46549 w 93097"/>
                    <a:gd name="connsiteY7" fmla="*/ 93124 h 106412"/>
                    <a:gd name="connsiteX8" fmla="*/ 79809 w 93097"/>
                    <a:gd name="connsiteY8" fmla="*/ 53206 h 106412"/>
                    <a:gd name="connsiteX9" fmla="*/ 46549 w 93097"/>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7" h="106412">
                      <a:moveTo>
                        <a:pt x="46549" y="106412"/>
                      </a:moveTo>
                      <a:cubicBezTo>
                        <a:pt x="18707" y="106412"/>
                        <a:pt x="0" y="85022"/>
                        <a:pt x="0" y="53206"/>
                      </a:cubicBezTo>
                      <a:cubicBezTo>
                        <a:pt x="0" y="21391"/>
                        <a:pt x="18707" y="0"/>
                        <a:pt x="46549" y="0"/>
                      </a:cubicBezTo>
                      <a:cubicBezTo>
                        <a:pt x="74391" y="0"/>
                        <a:pt x="93098" y="21391"/>
                        <a:pt x="93098" y="53206"/>
                      </a:cubicBezTo>
                      <a:cubicBezTo>
                        <a:pt x="93098" y="85022"/>
                        <a:pt x="74416" y="106412"/>
                        <a:pt x="46549" y="106412"/>
                      </a:cubicBezTo>
                      <a:close/>
                      <a:moveTo>
                        <a:pt x="46549" y="13289"/>
                      </a:moveTo>
                      <a:cubicBezTo>
                        <a:pt x="22010" y="13289"/>
                        <a:pt x="13289" y="34783"/>
                        <a:pt x="13289" y="53206"/>
                      </a:cubicBezTo>
                      <a:cubicBezTo>
                        <a:pt x="13289" y="71630"/>
                        <a:pt x="22010" y="93124"/>
                        <a:pt x="46549" y="93124"/>
                      </a:cubicBezTo>
                      <a:cubicBezTo>
                        <a:pt x="71088" y="93124"/>
                        <a:pt x="79809" y="71630"/>
                        <a:pt x="79809" y="53206"/>
                      </a:cubicBezTo>
                      <a:cubicBezTo>
                        <a:pt x="79809" y="34783"/>
                        <a:pt x="71114" y="13289"/>
                        <a:pt x="46549" y="13289"/>
                      </a:cubicBezTo>
                      <a:close/>
                    </a:path>
                  </a:pathLst>
                </a:custGeom>
                <a:grpFill/>
                <a:ln w="2573" cap="flat">
                  <a:noFill/>
                  <a:prstDash val="solid"/>
                  <a:miter/>
                </a:ln>
              </p:spPr>
              <p:txBody>
                <a:bodyPr rtlCol="0" anchor="ctr"/>
                <a:lstStyle/>
                <a:p>
                  <a:endParaRPr lang="en-GB" dirty="0"/>
                </a:p>
              </p:txBody>
            </p:sp>
          </p:grpSp>
          <p:grpSp>
            <p:nvGrpSpPr>
              <p:cNvPr id="1336" name="Grafik 312">
                <a:extLst>
                  <a:ext uri="{FF2B5EF4-FFF2-40B4-BE49-F238E27FC236}">
                    <a16:creationId xmlns:a16="http://schemas.microsoft.com/office/drawing/2014/main" id="{4D046ADA-DEC4-4D80-A244-AC7965BC5F31}"/>
                  </a:ext>
                </a:extLst>
              </p:cNvPr>
              <p:cNvGrpSpPr/>
              <p:nvPr/>
            </p:nvGrpSpPr>
            <p:grpSpPr>
              <a:xfrm>
                <a:off x="1996052" y="2744190"/>
                <a:ext cx="172958" cy="192878"/>
                <a:chOff x="1996052" y="2744190"/>
                <a:chExt cx="172958" cy="192878"/>
              </a:xfrm>
              <a:grpFill/>
            </p:grpSpPr>
            <p:sp>
              <p:nvSpPr>
                <p:cNvPr id="1338" name="Freihandform: Form 1337">
                  <a:extLst>
                    <a:ext uri="{FF2B5EF4-FFF2-40B4-BE49-F238E27FC236}">
                      <a16:creationId xmlns:a16="http://schemas.microsoft.com/office/drawing/2014/main" id="{28621138-F716-4312-824B-22621B3487C9}"/>
                    </a:ext>
                  </a:extLst>
                </p:cNvPr>
                <p:cNvSpPr/>
                <p:nvPr/>
              </p:nvSpPr>
              <p:spPr>
                <a:xfrm>
                  <a:off x="1996052" y="2863891"/>
                  <a:ext cx="172958" cy="73177"/>
                </a:xfrm>
                <a:custGeom>
                  <a:avLst/>
                  <a:gdLst>
                    <a:gd name="connsiteX0" fmla="*/ 166301 w 172958"/>
                    <a:gd name="connsiteY0" fmla="*/ 73178 h 73177"/>
                    <a:gd name="connsiteX1" fmla="*/ 6657 w 172958"/>
                    <a:gd name="connsiteY1" fmla="*/ 73178 h 73177"/>
                    <a:gd name="connsiteX2" fmla="*/ 0 w 172958"/>
                    <a:gd name="connsiteY2" fmla="*/ 66521 h 73177"/>
                    <a:gd name="connsiteX3" fmla="*/ 66521 w 172958"/>
                    <a:gd name="connsiteY3" fmla="*/ 0 h 73177"/>
                    <a:gd name="connsiteX4" fmla="*/ 106438 w 172958"/>
                    <a:gd name="connsiteY4" fmla="*/ 0 h 73177"/>
                    <a:gd name="connsiteX5" fmla="*/ 172959 w 172958"/>
                    <a:gd name="connsiteY5" fmla="*/ 66521 h 73177"/>
                    <a:gd name="connsiteX6" fmla="*/ 166301 w 172958"/>
                    <a:gd name="connsiteY6" fmla="*/ 73178 h 73177"/>
                    <a:gd name="connsiteX7" fmla="*/ 13727 w 172958"/>
                    <a:gd name="connsiteY7" fmla="*/ 59889 h 73177"/>
                    <a:gd name="connsiteX8" fmla="*/ 159231 w 172958"/>
                    <a:gd name="connsiteY8" fmla="*/ 59889 h 73177"/>
                    <a:gd name="connsiteX9" fmla="*/ 106438 w 172958"/>
                    <a:gd name="connsiteY9" fmla="*/ 13340 h 73177"/>
                    <a:gd name="connsiteX10" fmla="*/ 66521 w 172958"/>
                    <a:gd name="connsiteY10" fmla="*/ 13340 h 73177"/>
                    <a:gd name="connsiteX11" fmla="*/ 13727 w 172958"/>
                    <a:gd name="connsiteY11" fmla="*/ 59889 h 7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958" h="73177">
                      <a:moveTo>
                        <a:pt x="166301" y="73178"/>
                      </a:moveTo>
                      <a:lnTo>
                        <a:pt x="6657" y="73178"/>
                      </a:lnTo>
                      <a:cubicBezTo>
                        <a:pt x="2993" y="73178"/>
                        <a:pt x="0" y="70210"/>
                        <a:pt x="0" y="66521"/>
                      </a:cubicBezTo>
                      <a:cubicBezTo>
                        <a:pt x="0" y="29854"/>
                        <a:pt x="29828" y="0"/>
                        <a:pt x="66521" y="0"/>
                      </a:cubicBezTo>
                      <a:lnTo>
                        <a:pt x="106438" y="0"/>
                      </a:lnTo>
                      <a:cubicBezTo>
                        <a:pt x="143104" y="0"/>
                        <a:pt x="172959" y="29828"/>
                        <a:pt x="172959" y="66521"/>
                      </a:cubicBezTo>
                      <a:cubicBezTo>
                        <a:pt x="172959" y="70210"/>
                        <a:pt x="169965" y="73178"/>
                        <a:pt x="166301" y="73178"/>
                      </a:cubicBezTo>
                      <a:close/>
                      <a:moveTo>
                        <a:pt x="13727" y="59889"/>
                      </a:moveTo>
                      <a:lnTo>
                        <a:pt x="159231" y="59889"/>
                      </a:lnTo>
                      <a:cubicBezTo>
                        <a:pt x="155954" y="33673"/>
                        <a:pt x="133531" y="13340"/>
                        <a:pt x="106438" y="13340"/>
                      </a:cubicBezTo>
                      <a:lnTo>
                        <a:pt x="66521" y="13340"/>
                      </a:lnTo>
                      <a:cubicBezTo>
                        <a:pt x="39453" y="13314"/>
                        <a:pt x="17030" y="33673"/>
                        <a:pt x="13727" y="59889"/>
                      </a:cubicBezTo>
                      <a:close/>
                    </a:path>
                  </a:pathLst>
                </a:custGeom>
                <a:grpFill/>
                <a:ln w="2573" cap="flat">
                  <a:noFill/>
                  <a:prstDash val="solid"/>
                  <a:miter/>
                </a:ln>
              </p:spPr>
              <p:txBody>
                <a:bodyPr rtlCol="0" anchor="ctr"/>
                <a:lstStyle/>
                <a:p>
                  <a:endParaRPr lang="en-GB" dirty="0"/>
                </a:p>
              </p:txBody>
            </p:sp>
            <p:sp>
              <p:nvSpPr>
                <p:cNvPr id="1339" name="Freihandform: Form 1338">
                  <a:extLst>
                    <a:ext uri="{FF2B5EF4-FFF2-40B4-BE49-F238E27FC236}">
                      <a16:creationId xmlns:a16="http://schemas.microsoft.com/office/drawing/2014/main" id="{33CCC51E-89CF-4286-9063-360AAEE20F58}"/>
                    </a:ext>
                  </a:extLst>
                </p:cNvPr>
                <p:cNvSpPr/>
                <p:nvPr/>
              </p:nvSpPr>
              <p:spPr>
                <a:xfrm>
                  <a:off x="2035996" y="2744190"/>
                  <a:ext cx="93097" cy="106412"/>
                </a:xfrm>
                <a:custGeom>
                  <a:avLst/>
                  <a:gdLst>
                    <a:gd name="connsiteX0" fmla="*/ 46549 w 93097"/>
                    <a:gd name="connsiteY0" fmla="*/ 106412 h 106412"/>
                    <a:gd name="connsiteX1" fmla="*/ 0 w 93097"/>
                    <a:gd name="connsiteY1" fmla="*/ 53206 h 106412"/>
                    <a:gd name="connsiteX2" fmla="*/ 46549 w 93097"/>
                    <a:gd name="connsiteY2" fmla="*/ 0 h 106412"/>
                    <a:gd name="connsiteX3" fmla="*/ 93098 w 93097"/>
                    <a:gd name="connsiteY3" fmla="*/ 53206 h 106412"/>
                    <a:gd name="connsiteX4" fmla="*/ 46549 w 93097"/>
                    <a:gd name="connsiteY4" fmla="*/ 106412 h 106412"/>
                    <a:gd name="connsiteX5" fmla="*/ 46549 w 93097"/>
                    <a:gd name="connsiteY5" fmla="*/ 13289 h 106412"/>
                    <a:gd name="connsiteX6" fmla="*/ 13289 w 93097"/>
                    <a:gd name="connsiteY6" fmla="*/ 53206 h 106412"/>
                    <a:gd name="connsiteX7" fmla="*/ 46549 w 93097"/>
                    <a:gd name="connsiteY7" fmla="*/ 93124 h 106412"/>
                    <a:gd name="connsiteX8" fmla="*/ 79809 w 93097"/>
                    <a:gd name="connsiteY8" fmla="*/ 53206 h 106412"/>
                    <a:gd name="connsiteX9" fmla="*/ 46549 w 93097"/>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7" h="106412">
                      <a:moveTo>
                        <a:pt x="46549" y="106412"/>
                      </a:moveTo>
                      <a:cubicBezTo>
                        <a:pt x="18707" y="106412"/>
                        <a:pt x="0" y="85022"/>
                        <a:pt x="0" y="53206"/>
                      </a:cubicBezTo>
                      <a:cubicBezTo>
                        <a:pt x="0" y="21391"/>
                        <a:pt x="18707" y="0"/>
                        <a:pt x="46549" y="0"/>
                      </a:cubicBezTo>
                      <a:cubicBezTo>
                        <a:pt x="74391" y="0"/>
                        <a:pt x="93098" y="21391"/>
                        <a:pt x="93098" y="53206"/>
                      </a:cubicBezTo>
                      <a:cubicBezTo>
                        <a:pt x="93098" y="85022"/>
                        <a:pt x="74391" y="106412"/>
                        <a:pt x="46549" y="106412"/>
                      </a:cubicBezTo>
                      <a:close/>
                      <a:moveTo>
                        <a:pt x="46549" y="13289"/>
                      </a:moveTo>
                      <a:cubicBezTo>
                        <a:pt x="22010" y="13289"/>
                        <a:pt x="13289" y="34783"/>
                        <a:pt x="13289" y="53206"/>
                      </a:cubicBezTo>
                      <a:cubicBezTo>
                        <a:pt x="13289" y="71630"/>
                        <a:pt x="22010" y="93124"/>
                        <a:pt x="46549" y="93124"/>
                      </a:cubicBezTo>
                      <a:cubicBezTo>
                        <a:pt x="71088" y="93124"/>
                        <a:pt x="79809" y="71630"/>
                        <a:pt x="79809" y="53206"/>
                      </a:cubicBezTo>
                      <a:cubicBezTo>
                        <a:pt x="79783" y="34783"/>
                        <a:pt x="71088" y="13289"/>
                        <a:pt x="46549" y="13289"/>
                      </a:cubicBezTo>
                      <a:close/>
                    </a:path>
                  </a:pathLst>
                </a:custGeom>
                <a:grpFill/>
                <a:ln w="2573" cap="flat">
                  <a:noFill/>
                  <a:prstDash val="solid"/>
                  <a:miter/>
                </a:ln>
              </p:spPr>
              <p:txBody>
                <a:bodyPr rtlCol="0" anchor="ctr"/>
                <a:lstStyle/>
                <a:p>
                  <a:endParaRPr lang="en-GB" dirty="0"/>
                </a:p>
              </p:txBody>
            </p:sp>
          </p:grpSp>
          <p:sp>
            <p:nvSpPr>
              <p:cNvPr id="1337" name="Freihandform: Form 1336">
                <a:extLst>
                  <a:ext uri="{FF2B5EF4-FFF2-40B4-BE49-F238E27FC236}">
                    <a16:creationId xmlns:a16="http://schemas.microsoft.com/office/drawing/2014/main" id="{CC07DF67-07E3-4CAB-B681-1E40CF566B6C}"/>
                  </a:ext>
                </a:extLst>
              </p:cNvPr>
              <p:cNvSpPr/>
              <p:nvPr/>
            </p:nvSpPr>
            <p:spPr>
              <a:xfrm>
                <a:off x="1716784" y="2744190"/>
                <a:ext cx="93097" cy="106412"/>
              </a:xfrm>
              <a:custGeom>
                <a:avLst/>
                <a:gdLst>
                  <a:gd name="connsiteX0" fmla="*/ 46549 w 93097"/>
                  <a:gd name="connsiteY0" fmla="*/ 106412 h 106412"/>
                  <a:gd name="connsiteX1" fmla="*/ 0 w 93097"/>
                  <a:gd name="connsiteY1" fmla="*/ 53206 h 106412"/>
                  <a:gd name="connsiteX2" fmla="*/ 46549 w 93097"/>
                  <a:gd name="connsiteY2" fmla="*/ 0 h 106412"/>
                  <a:gd name="connsiteX3" fmla="*/ 93098 w 93097"/>
                  <a:gd name="connsiteY3" fmla="*/ 53206 h 106412"/>
                  <a:gd name="connsiteX4" fmla="*/ 46549 w 93097"/>
                  <a:gd name="connsiteY4" fmla="*/ 106412 h 106412"/>
                  <a:gd name="connsiteX5" fmla="*/ 46549 w 93097"/>
                  <a:gd name="connsiteY5" fmla="*/ 13289 h 106412"/>
                  <a:gd name="connsiteX6" fmla="*/ 13289 w 93097"/>
                  <a:gd name="connsiteY6" fmla="*/ 53206 h 106412"/>
                  <a:gd name="connsiteX7" fmla="*/ 46549 w 93097"/>
                  <a:gd name="connsiteY7" fmla="*/ 93124 h 106412"/>
                  <a:gd name="connsiteX8" fmla="*/ 79809 w 93097"/>
                  <a:gd name="connsiteY8" fmla="*/ 53206 h 106412"/>
                  <a:gd name="connsiteX9" fmla="*/ 46549 w 93097"/>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7" h="106412">
                    <a:moveTo>
                      <a:pt x="46549" y="106412"/>
                    </a:moveTo>
                    <a:cubicBezTo>
                      <a:pt x="18707" y="106412"/>
                      <a:pt x="0" y="85022"/>
                      <a:pt x="0" y="53206"/>
                    </a:cubicBezTo>
                    <a:cubicBezTo>
                      <a:pt x="0" y="21391"/>
                      <a:pt x="18707" y="0"/>
                      <a:pt x="46549" y="0"/>
                    </a:cubicBezTo>
                    <a:cubicBezTo>
                      <a:pt x="74391" y="0"/>
                      <a:pt x="93098" y="21391"/>
                      <a:pt x="93098" y="53206"/>
                    </a:cubicBezTo>
                    <a:cubicBezTo>
                      <a:pt x="93098" y="85022"/>
                      <a:pt x="74391" y="106412"/>
                      <a:pt x="46549" y="106412"/>
                    </a:cubicBezTo>
                    <a:close/>
                    <a:moveTo>
                      <a:pt x="46549" y="13289"/>
                    </a:moveTo>
                    <a:cubicBezTo>
                      <a:pt x="22010" y="13289"/>
                      <a:pt x="13289" y="34783"/>
                      <a:pt x="13289" y="53206"/>
                    </a:cubicBezTo>
                    <a:cubicBezTo>
                      <a:pt x="13289" y="71630"/>
                      <a:pt x="22010" y="93124"/>
                      <a:pt x="46549" y="93124"/>
                    </a:cubicBezTo>
                    <a:cubicBezTo>
                      <a:pt x="71088" y="93124"/>
                      <a:pt x="79809" y="71630"/>
                      <a:pt x="79809" y="53206"/>
                    </a:cubicBezTo>
                    <a:cubicBezTo>
                      <a:pt x="79809" y="34783"/>
                      <a:pt x="71088" y="13289"/>
                      <a:pt x="46549" y="13289"/>
                    </a:cubicBezTo>
                    <a:close/>
                  </a:path>
                </a:pathLst>
              </a:custGeom>
              <a:grpFill/>
              <a:ln w="2573" cap="flat">
                <a:noFill/>
                <a:prstDash val="solid"/>
                <a:miter/>
              </a:ln>
            </p:spPr>
            <p:txBody>
              <a:bodyPr rtlCol="0" anchor="ctr"/>
              <a:lstStyle/>
              <a:p>
                <a:endParaRPr lang="en-GB" dirty="0"/>
              </a:p>
            </p:txBody>
          </p:sp>
        </p:grpSp>
      </p:grpSp>
      <p:sp>
        <p:nvSpPr>
          <p:cNvPr id="1350" name="TextBox 1420">
            <a:extLst>
              <a:ext uri="{FF2B5EF4-FFF2-40B4-BE49-F238E27FC236}">
                <a16:creationId xmlns:a16="http://schemas.microsoft.com/office/drawing/2014/main" id="{DD86F274-4299-470C-A75B-13C0DD89BB4B}"/>
              </a:ext>
            </a:extLst>
          </p:cNvPr>
          <p:cNvSpPr txBox="1"/>
          <p:nvPr/>
        </p:nvSpPr>
        <p:spPr>
          <a:xfrm>
            <a:off x="1587813" y="2899619"/>
            <a:ext cx="503343" cy="107722"/>
          </a:xfrm>
          <a:prstGeom prst="rect">
            <a:avLst/>
          </a:prstGeom>
          <a:noFill/>
          <a:effectLst/>
        </p:spPr>
        <p:txBody>
          <a:bodyPr wrap="none" lIns="0" tIns="0" rIns="0" bIns="0" rtlCol="0" anchor="t" anchorCtr="0">
            <a:spAutoFit/>
          </a:bodyPr>
          <a:lstStyle/>
          <a:p>
            <a:pPr algn="ctr"/>
            <a:r>
              <a:rPr lang="en-GB" sz="700" dirty="0">
                <a:solidFill>
                  <a:schemeClr val="tx2"/>
                </a:solidFill>
              </a:rPr>
              <a:t>Ambassador</a:t>
            </a:r>
          </a:p>
        </p:txBody>
      </p:sp>
      <p:grpSp>
        <p:nvGrpSpPr>
          <p:cNvPr id="47" name="Group 46">
            <a:extLst>
              <a:ext uri="{FF2B5EF4-FFF2-40B4-BE49-F238E27FC236}">
                <a16:creationId xmlns:a16="http://schemas.microsoft.com/office/drawing/2014/main" id="{F7A14F7D-0F07-296C-B912-6D26C2003FAF}"/>
              </a:ext>
            </a:extLst>
          </p:cNvPr>
          <p:cNvGrpSpPr/>
          <p:nvPr/>
        </p:nvGrpSpPr>
        <p:grpSpPr>
          <a:xfrm>
            <a:off x="2673874" y="3273397"/>
            <a:ext cx="467442" cy="432000"/>
            <a:chOff x="2673874" y="3273397"/>
            <a:chExt cx="467442" cy="432000"/>
          </a:xfrm>
        </p:grpSpPr>
        <p:grpSp>
          <p:nvGrpSpPr>
            <p:cNvPr id="1352" name="Grafik 312">
              <a:extLst>
                <a:ext uri="{FF2B5EF4-FFF2-40B4-BE49-F238E27FC236}">
                  <a16:creationId xmlns:a16="http://schemas.microsoft.com/office/drawing/2014/main" id="{39210268-EF64-4756-B474-98D25FDC3A51}"/>
                </a:ext>
              </a:extLst>
            </p:cNvPr>
            <p:cNvGrpSpPr/>
            <p:nvPr/>
          </p:nvGrpSpPr>
          <p:grpSpPr>
            <a:xfrm>
              <a:off x="2777698" y="3426884"/>
              <a:ext cx="258986" cy="190019"/>
              <a:chOff x="2645621" y="3493609"/>
              <a:chExt cx="243236" cy="178463"/>
            </a:xfrm>
            <a:solidFill>
              <a:schemeClr val="accent1"/>
            </a:solidFill>
          </p:grpSpPr>
          <p:sp>
            <p:nvSpPr>
              <p:cNvPr id="1364" name="Freihandform: Form 1363">
                <a:extLst>
                  <a:ext uri="{FF2B5EF4-FFF2-40B4-BE49-F238E27FC236}">
                    <a16:creationId xmlns:a16="http://schemas.microsoft.com/office/drawing/2014/main" id="{1EDFD1B6-0D28-4C98-986C-03221C35C184}"/>
                  </a:ext>
                </a:extLst>
              </p:cNvPr>
              <p:cNvSpPr/>
              <p:nvPr/>
            </p:nvSpPr>
            <p:spPr>
              <a:xfrm>
                <a:off x="2645621" y="3543948"/>
                <a:ext cx="13727" cy="62300"/>
              </a:xfrm>
              <a:custGeom>
                <a:avLst/>
                <a:gdLst>
                  <a:gd name="connsiteX0" fmla="*/ 6632 w 13727"/>
                  <a:gd name="connsiteY0" fmla="*/ 62301 h 62300"/>
                  <a:gd name="connsiteX1" fmla="*/ 6580 w 13727"/>
                  <a:gd name="connsiteY1" fmla="*/ 62301 h 62300"/>
                  <a:gd name="connsiteX2" fmla="*/ 1 w 13727"/>
                  <a:gd name="connsiteY2" fmla="*/ 55592 h 62300"/>
                  <a:gd name="connsiteX3" fmla="*/ 413 w 13727"/>
                  <a:gd name="connsiteY3" fmla="*/ 6618 h 62300"/>
                  <a:gd name="connsiteX4" fmla="*/ 7122 w 13727"/>
                  <a:gd name="connsiteY4" fmla="*/ 12 h 62300"/>
                  <a:gd name="connsiteX5" fmla="*/ 13728 w 13727"/>
                  <a:gd name="connsiteY5" fmla="*/ 6721 h 62300"/>
                  <a:gd name="connsiteX6" fmla="*/ 13315 w 13727"/>
                  <a:gd name="connsiteY6" fmla="*/ 55695 h 62300"/>
                  <a:gd name="connsiteX7" fmla="*/ 6632 w 13727"/>
                  <a:gd name="connsiteY7" fmla="*/ 62301 h 62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27" h="62300">
                    <a:moveTo>
                      <a:pt x="6632" y="62301"/>
                    </a:moveTo>
                    <a:cubicBezTo>
                      <a:pt x="6606" y="62301"/>
                      <a:pt x="6606" y="62301"/>
                      <a:pt x="6580" y="62301"/>
                    </a:cubicBezTo>
                    <a:cubicBezTo>
                      <a:pt x="2916" y="62275"/>
                      <a:pt x="-51" y="59256"/>
                      <a:pt x="1" y="55592"/>
                    </a:cubicBezTo>
                    <a:lnTo>
                      <a:pt x="413" y="6618"/>
                    </a:lnTo>
                    <a:cubicBezTo>
                      <a:pt x="465" y="2954"/>
                      <a:pt x="3613" y="-220"/>
                      <a:pt x="7122" y="12"/>
                    </a:cubicBezTo>
                    <a:cubicBezTo>
                      <a:pt x="10786" y="38"/>
                      <a:pt x="13754" y="3057"/>
                      <a:pt x="13728" y="6721"/>
                    </a:cubicBezTo>
                    <a:lnTo>
                      <a:pt x="13315" y="55695"/>
                    </a:lnTo>
                    <a:cubicBezTo>
                      <a:pt x="13238" y="59359"/>
                      <a:pt x="10270" y="62301"/>
                      <a:pt x="6632" y="62301"/>
                    </a:cubicBezTo>
                    <a:close/>
                  </a:path>
                </a:pathLst>
              </a:custGeom>
              <a:solidFill>
                <a:schemeClr val="accent1"/>
              </a:solidFill>
              <a:ln w="2573" cap="flat">
                <a:noFill/>
                <a:prstDash val="solid"/>
                <a:miter/>
              </a:ln>
            </p:spPr>
            <p:txBody>
              <a:bodyPr rtlCol="0" anchor="ctr"/>
              <a:lstStyle/>
              <a:p>
                <a:endParaRPr lang="en-GB" dirty="0"/>
              </a:p>
            </p:txBody>
          </p:sp>
          <p:grpSp>
            <p:nvGrpSpPr>
              <p:cNvPr id="1365" name="Grafik 312">
                <a:extLst>
                  <a:ext uri="{FF2B5EF4-FFF2-40B4-BE49-F238E27FC236}">
                    <a16:creationId xmlns:a16="http://schemas.microsoft.com/office/drawing/2014/main" id="{B3C6E7DF-F2B3-45B3-9FB4-8814059DDC31}"/>
                  </a:ext>
                </a:extLst>
              </p:cNvPr>
              <p:cNvGrpSpPr/>
              <p:nvPr/>
            </p:nvGrpSpPr>
            <p:grpSpPr>
              <a:xfrm>
                <a:off x="2669283" y="3493609"/>
                <a:ext cx="219574" cy="178463"/>
                <a:chOff x="2669283" y="3493609"/>
                <a:chExt cx="219574" cy="178463"/>
              </a:xfrm>
              <a:solidFill>
                <a:schemeClr val="accent1"/>
              </a:solidFill>
            </p:grpSpPr>
            <p:sp>
              <p:nvSpPr>
                <p:cNvPr id="1366" name="Freihandform: Form 1365">
                  <a:extLst>
                    <a:ext uri="{FF2B5EF4-FFF2-40B4-BE49-F238E27FC236}">
                      <a16:creationId xmlns:a16="http://schemas.microsoft.com/office/drawing/2014/main" id="{1E6C4826-47D2-4ABC-9921-1737F74AF100}"/>
                    </a:ext>
                  </a:extLst>
                </p:cNvPr>
                <p:cNvSpPr/>
                <p:nvPr/>
              </p:nvSpPr>
              <p:spPr>
                <a:xfrm>
                  <a:off x="2669283" y="3533019"/>
                  <a:ext cx="66959" cy="87240"/>
                </a:xfrm>
                <a:custGeom>
                  <a:avLst/>
                  <a:gdLst>
                    <a:gd name="connsiteX0" fmla="*/ 59709 w 66959"/>
                    <a:gd name="connsiteY0" fmla="*/ 87241 h 87240"/>
                    <a:gd name="connsiteX1" fmla="*/ 59657 w 66959"/>
                    <a:gd name="connsiteY1" fmla="*/ 87241 h 87240"/>
                    <a:gd name="connsiteX2" fmla="*/ 6606 w 66959"/>
                    <a:gd name="connsiteY2" fmla="*/ 86776 h 87240"/>
                    <a:gd name="connsiteX3" fmla="*/ 1909 w 66959"/>
                    <a:gd name="connsiteY3" fmla="*/ 84789 h 87240"/>
                    <a:gd name="connsiteX4" fmla="*/ 0 w 66959"/>
                    <a:gd name="connsiteY4" fmla="*/ 80067 h 87240"/>
                    <a:gd name="connsiteX5" fmla="*/ 619 w 66959"/>
                    <a:gd name="connsiteY5" fmla="*/ 6606 h 87240"/>
                    <a:gd name="connsiteX6" fmla="*/ 7277 w 66959"/>
                    <a:gd name="connsiteY6" fmla="*/ 0 h 87240"/>
                    <a:gd name="connsiteX7" fmla="*/ 7328 w 66959"/>
                    <a:gd name="connsiteY7" fmla="*/ 0 h 87240"/>
                    <a:gd name="connsiteX8" fmla="*/ 60379 w 66959"/>
                    <a:gd name="connsiteY8" fmla="*/ 464 h 87240"/>
                    <a:gd name="connsiteX9" fmla="*/ 65050 w 66959"/>
                    <a:gd name="connsiteY9" fmla="*/ 2451 h 87240"/>
                    <a:gd name="connsiteX10" fmla="*/ 66959 w 66959"/>
                    <a:gd name="connsiteY10" fmla="*/ 7173 h 87240"/>
                    <a:gd name="connsiteX11" fmla="*/ 66340 w 66959"/>
                    <a:gd name="connsiteY11" fmla="*/ 80635 h 87240"/>
                    <a:gd name="connsiteX12" fmla="*/ 59709 w 66959"/>
                    <a:gd name="connsiteY12" fmla="*/ 87241 h 87240"/>
                    <a:gd name="connsiteX13" fmla="*/ 13366 w 66959"/>
                    <a:gd name="connsiteY13" fmla="*/ 73539 h 87240"/>
                    <a:gd name="connsiteX14" fmla="*/ 53103 w 66959"/>
                    <a:gd name="connsiteY14" fmla="*/ 73875 h 87240"/>
                    <a:gd name="connsiteX15" fmla="*/ 53619 w 66959"/>
                    <a:gd name="connsiteY15" fmla="*/ 13727 h 87240"/>
                    <a:gd name="connsiteX16" fmla="*/ 13882 w 66959"/>
                    <a:gd name="connsiteY16" fmla="*/ 13392 h 87240"/>
                    <a:gd name="connsiteX17" fmla="*/ 13366 w 66959"/>
                    <a:gd name="connsiteY17" fmla="*/ 73539 h 8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959" h="87240">
                      <a:moveTo>
                        <a:pt x="59709" y="87241"/>
                      </a:moveTo>
                      <a:cubicBezTo>
                        <a:pt x="59683" y="87241"/>
                        <a:pt x="59657" y="87241"/>
                        <a:pt x="59657" y="87241"/>
                      </a:cubicBezTo>
                      <a:lnTo>
                        <a:pt x="6606" y="86776"/>
                      </a:lnTo>
                      <a:cubicBezTo>
                        <a:pt x="4851" y="86750"/>
                        <a:pt x="3148" y="86054"/>
                        <a:pt x="1909" y="84789"/>
                      </a:cubicBezTo>
                      <a:cubicBezTo>
                        <a:pt x="671" y="83525"/>
                        <a:pt x="0" y="81822"/>
                        <a:pt x="0" y="80067"/>
                      </a:cubicBezTo>
                      <a:lnTo>
                        <a:pt x="619" y="6606"/>
                      </a:lnTo>
                      <a:cubicBezTo>
                        <a:pt x="645" y="2967"/>
                        <a:pt x="3612" y="0"/>
                        <a:pt x="7277" y="0"/>
                      </a:cubicBezTo>
                      <a:cubicBezTo>
                        <a:pt x="7302" y="0"/>
                        <a:pt x="7328" y="0"/>
                        <a:pt x="7328" y="0"/>
                      </a:cubicBezTo>
                      <a:lnTo>
                        <a:pt x="60379" y="464"/>
                      </a:lnTo>
                      <a:cubicBezTo>
                        <a:pt x="62134" y="464"/>
                        <a:pt x="63837" y="1187"/>
                        <a:pt x="65050" y="2451"/>
                      </a:cubicBezTo>
                      <a:cubicBezTo>
                        <a:pt x="66288" y="3716"/>
                        <a:pt x="66985" y="5419"/>
                        <a:pt x="66959" y="7173"/>
                      </a:cubicBezTo>
                      <a:lnTo>
                        <a:pt x="66340" y="80635"/>
                      </a:lnTo>
                      <a:cubicBezTo>
                        <a:pt x="66314" y="84299"/>
                        <a:pt x="63347" y="87241"/>
                        <a:pt x="59709" y="87241"/>
                      </a:cubicBezTo>
                      <a:close/>
                      <a:moveTo>
                        <a:pt x="13366" y="73539"/>
                      </a:moveTo>
                      <a:lnTo>
                        <a:pt x="53103" y="73875"/>
                      </a:lnTo>
                      <a:lnTo>
                        <a:pt x="53619" y="13727"/>
                      </a:lnTo>
                      <a:lnTo>
                        <a:pt x="13882" y="13392"/>
                      </a:lnTo>
                      <a:lnTo>
                        <a:pt x="13366" y="73539"/>
                      </a:lnTo>
                      <a:close/>
                    </a:path>
                  </a:pathLst>
                </a:custGeom>
                <a:solidFill>
                  <a:schemeClr val="accent1"/>
                </a:solidFill>
                <a:ln w="2573" cap="flat">
                  <a:noFill/>
                  <a:prstDash val="solid"/>
                  <a:miter/>
                </a:ln>
              </p:spPr>
              <p:txBody>
                <a:bodyPr rtlCol="0" anchor="ctr"/>
                <a:lstStyle/>
                <a:p>
                  <a:endParaRPr lang="en-GB" dirty="0"/>
                </a:p>
              </p:txBody>
            </p:sp>
            <p:sp>
              <p:nvSpPr>
                <p:cNvPr id="1367" name="Freihandform: Form 1366">
                  <a:extLst>
                    <a:ext uri="{FF2B5EF4-FFF2-40B4-BE49-F238E27FC236}">
                      <a16:creationId xmlns:a16="http://schemas.microsoft.com/office/drawing/2014/main" id="{147C6206-4371-4C03-84F4-09FD53623C52}"/>
                    </a:ext>
                  </a:extLst>
                </p:cNvPr>
                <p:cNvSpPr/>
                <p:nvPr/>
              </p:nvSpPr>
              <p:spPr>
                <a:xfrm>
                  <a:off x="2722360" y="3493609"/>
                  <a:ext cx="120346" cy="164298"/>
                </a:xfrm>
                <a:custGeom>
                  <a:avLst/>
                  <a:gdLst>
                    <a:gd name="connsiteX0" fmla="*/ 112399 w 120346"/>
                    <a:gd name="connsiteY0" fmla="*/ 164298 h 164298"/>
                    <a:gd name="connsiteX1" fmla="*/ 110180 w 120346"/>
                    <a:gd name="connsiteY1" fmla="*/ 163911 h 164298"/>
                    <a:gd name="connsiteX2" fmla="*/ 4413 w 120346"/>
                    <a:gd name="connsiteY2" fmla="*/ 126264 h 164298"/>
                    <a:gd name="connsiteX3" fmla="*/ 0 w 120346"/>
                    <a:gd name="connsiteY3" fmla="*/ 119942 h 164298"/>
                    <a:gd name="connsiteX4" fmla="*/ 620 w 120346"/>
                    <a:gd name="connsiteY4" fmla="*/ 46481 h 164298"/>
                    <a:gd name="connsiteX5" fmla="*/ 4929 w 120346"/>
                    <a:gd name="connsiteY5" fmla="*/ 40314 h 164298"/>
                    <a:gd name="connsiteX6" fmla="*/ 111367 w 120346"/>
                    <a:gd name="connsiteY6" fmla="*/ 422 h 164298"/>
                    <a:gd name="connsiteX7" fmla="*/ 117508 w 120346"/>
                    <a:gd name="connsiteY7" fmla="*/ 1196 h 164298"/>
                    <a:gd name="connsiteX8" fmla="*/ 120346 w 120346"/>
                    <a:gd name="connsiteY8" fmla="*/ 6692 h 164298"/>
                    <a:gd name="connsiteX9" fmla="*/ 119056 w 120346"/>
                    <a:gd name="connsiteY9" fmla="*/ 157667 h 164298"/>
                    <a:gd name="connsiteX10" fmla="*/ 116218 w 120346"/>
                    <a:gd name="connsiteY10" fmla="*/ 163060 h 164298"/>
                    <a:gd name="connsiteX11" fmla="*/ 112399 w 120346"/>
                    <a:gd name="connsiteY11" fmla="*/ 164298 h 164298"/>
                    <a:gd name="connsiteX12" fmla="*/ 13315 w 120346"/>
                    <a:gd name="connsiteY12" fmla="*/ 115324 h 164298"/>
                    <a:gd name="connsiteX13" fmla="*/ 105819 w 120346"/>
                    <a:gd name="connsiteY13" fmla="*/ 148249 h 164298"/>
                    <a:gd name="connsiteX14" fmla="*/ 106955 w 120346"/>
                    <a:gd name="connsiteY14" fmla="*/ 16291 h 164298"/>
                    <a:gd name="connsiteX15" fmla="*/ 13857 w 120346"/>
                    <a:gd name="connsiteY15" fmla="*/ 51177 h 164298"/>
                    <a:gd name="connsiteX16" fmla="*/ 13315 w 120346"/>
                    <a:gd name="connsiteY16" fmla="*/ 115324 h 16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0346" h="164298">
                      <a:moveTo>
                        <a:pt x="112399" y="164298"/>
                      </a:moveTo>
                      <a:cubicBezTo>
                        <a:pt x="111651" y="164298"/>
                        <a:pt x="110902" y="164169"/>
                        <a:pt x="110180" y="163911"/>
                      </a:cubicBezTo>
                      <a:lnTo>
                        <a:pt x="4413" y="126264"/>
                      </a:lnTo>
                      <a:cubicBezTo>
                        <a:pt x="1755" y="125309"/>
                        <a:pt x="-26" y="122781"/>
                        <a:pt x="0" y="119942"/>
                      </a:cubicBezTo>
                      <a:lnTo>
                        <a:pt x="620" y="46481"/>
                      </a:lnTo>
                      <a:cubicBezTo>
                        <a:pt x="645" y="43746"/>
                        <a:pt x="2348" y="41268"/>
                        <a:pt x="4929" y="40314"/>
                      </a:cubicBezTo>
                      <a:lnTo>
                        <a:pt x="111367" y="422"/>
                      </a:lnTo>
                      <a:cubicBezTo>
                        <a:pt x="113405" y="-352"/>
                        <a:pt x="115702" y="-42"/>
                        <a:pt x="117508" y="1196"/>
                      </a:cubicBezTo>
                      <a:cubicBezTo>
                        <a:pt x="119288" y="2461"/>
                        <a:pt x="120372" y="4499"/>
                        <a:pt x="120346" y="6692"/>
                      </a:cubicBezTo>
                      <a:lnTo>
                        <a:pt x="119056" y="157667"/>
                      </a:lnTo>
                      <a:cubicBezTo>
                        <a:pt x="119030" y="159808"/>
                        <a:pt x="117972" y="161821"/>
                        <a:pt x="116218" y="163060"/>
                      </a:cubicBezTo>
                      <a:cubicBezTo>
                        <a:pt x="115082" y="163885"/>
                        <a:pt x="113741" y="164298"/>
                        <a:pt x="112399" y="164298"/>
                      </a:cubicBezTo>
                      <a:close/>
                      <a:moveTo>
                        <a:pt x="13315" y="115324"/>
                      </a:moveTo>
                      <a:lnTo>
                        <a:pt x="105819" y="148249"/>
                      </a:lnTo>
                      <a:lnTo>
                        <a:pt x="106955" y="16291"/>
                      </a:lnTo>
                      <a:lnTo>
                        <a:pt x="13857" y="51177"/>
                      </a:lnTo>
                      <a:lnTo>
                        <a:pt x="13315" y="115324"/>
                      </a:lnTo>
                      <a:close/>
                    </a:path>
                  </a:pathLst>
                </a:custGeom>
                <a:solidFill>
                  <a:schemeClr val="accent1"/>
                </a:solidFill>
                <a:ln w="2573" cap="flat">
                  <a:noFill/>
                  <a:prstDash val="solid"/>
                  <a:miter/>
                </a:ln>
              </p:spPr>
              <p:txBody>
                <a:bodyPr rtlCol="0" anchor="ctr"/>
                <a:lstStyle/>
                <a:p>
                  <a:endParaRPr lang="en-GB" dirty="0"/>
                </a:p>
              </p:txBody>
            </p:sp>
            <p:sp>
              <p:nvSpPr>
                <p:cNvPr id="1368" name="Freihandform: Form 1367">
                  <a:extLst>
                    <a:ext uri="{FF2B5EF4-FFF2-40B4-BE49-F238E27FC236}">
                      <a16:creationId xmlns:a16="http://schemas.microsoft.com/office/drawing/2014/main" id="{6A146F49-6363-4803-871E-B040236A6C03}"/>
                    </a:ext>
                  </a:extLst>
                </p:cNvPr>
                <p:cNvSpPr/>
                <p:nvPr/>
              </p:nvSpPr>
              <p:spPr>
                <a:xfrm>
                  <a:off x="2678495" y="3613061"/>
                  <a:ext cx="46521" cy="59011"/>
                </a:xfrm>
                <a:custGeom>
                  <a:avLst/>
                  <a:gdLst>
                    <a:gd name="connsiteX0" fmla="*/ 15714 w 46521"/>
                    <a:gd name="connsiteY0" fmla="*/ 59012 h 59011"/>
                    <a:gd name="connsiteX1" fmla="*/ 9186 w 46521"/>
                    <a:gd name="connsiteY1" fmla="*/ 53542 h 59011"/>
                    <a:gd name="connsiteX2" fmla="*/ 0 w 46521"/>
                    <a:gd name="connsiteY2" fmla="*/ 2348 h 59011"/>
                    <a:gd name="connsiteX3" fmla="*/ 13108 w 46521"/>
                    <a:gd name="connsiteY3" fmla="*/ 0 h 59011"/>
                    <a:gd name="connsiteX4" fmla="*/ 21133 w 46521"/>
                    <a:gd name="connsiteY4" fmla="*/ 44717 h 59011"/>
                    <a:gd name="connsiteX5" fmla="*/ 32331 w 46521"/>
                    <a:gd name="connsiteY5" fmla="*/ 42859 h 59011"/>
                    <a:gd name="connsiteX6" fmla="*/ 28177 w 46521"/>
                    <a:gd name="connsiteY6" fmla="*/ 15843 h 59011"/>
                    <a:gd name="connsiteX7" fmla="*/ 41311 w 46521"/>
                    <a:gd name="connsiteY7" fmla="*/ 13831 h 59011"/>
                    <a:gd name="connsiteX8" fmla="*/ 46446 w 46521"/>
                    <a:gd name="connsiteY8" fmla="*/ 47323 h 59011"/>
                    <a:gd name="connsiteX9" fmla="*/ 40975 w 46521"/>
                    <a:gd name="connsiteY9" fmla="*/ 54883 h 59011"/>
                    <a:gd name="connsiteX10" fmla="*/ 16824 w 46521"/>
                    <a:gd name="connsiteY10" fmla="*/ 58935 h 59011"/>
                    <a:gd name="connsiteX11" fmla="*/ 15714 w 46521"/>
                    <a:gd name="connsiteY11" fmla="*/ 59012 h 59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521" h="59011">
                      <a:moveTo>
                        <a:pt x="15714" y="59012"/>
                      </a:moveTo>
                      <a:cubicBezTo>
                        <a:pt x="12540" y="59012"/>
                        <a:pt x="9754" y="56741"/>
                        <a:pt x="9186" y="53542"/>
                      </a:cubicBezTo>
                      <a:lnTo>
                        <a:pt x="0" y="2348"/>
                      </a:lnTo>
                      <a:lnTo>
                        <a:pt x="13108" y="0"/>
                      </a:lnTo>
                      <a:lnTo>
                        <a:pt x="21133" y="44717"/>
                      </a:lnTo>
                      <a:lnTo>
                        <a:pt x="32331" y="42859"/>
                      </a:lnTo>
                      <a:lnTo>
                        <a:pt x="28177" y="15843"/>
                      </a:lnTo>
                      <a:lnTo>
                        <a:pt x="41311" y="13831"/>
                      </a:lnTo>
                      <a:lnTo>
                        <a:pt x="46446" y="47323"/>
                      </a:lnTo>
                      <a:cubicBezTo>
                        <a:pt x="46988" y="50910"/>
                        <a:pt x="44562" y="54290"/>
                        <a:pt x="40975" y="54883"/>
                      </a:cubicBezTo>
                      <a:lnTo>
                        <a:pt x="16824" y="58935"/>
                      </a:lnTo>
                      <a:cubicBezTo>
                        <a:pt x="16462" y="58986"/>
                        <a:pt x="16075" y="59012"/>
                        <a:pt x="15714" y="59012"/>
                      </a:cubicBezTo>
                      <a:close/>
                    </a:path>
                  </a:pathLst>
                </a:custGeom>
                <a:solidFill>
                  <a:schemeClr val="accent1"/>
                </a:solidFill>
                <a:ln w="2573" cap="flat">
                  <a:noFill/>
                  <a:prstDash val="solid"/>
                  <a:miter/>
                </a:ln>
              </p:spPr>
              <p:txBody>
                <a:bodyPr rtlCol="0" anchor="ctr"/>
                <a:lstStyle/>
                <a:p>
                  <a:endParaRPr lang="en-GB" dirty="0"/>
                </a:p>
              </p:txBody>
            </p:sp>
            <p:grpSp>
              <p:nvGrpSpPr>
                <p:cNvPr id="1369" name="Grafik 312">
                  <a:extLst>
                    <a:ext uri="{FF2B5EF4-FFF2-40B4-BE49-F238E27FC236}">
                      <a16:creationId xmlns:a16="http://schemas.microsoft.com/office/drawing/2014/main" id="{FBD55008-97CA-437C-87DE-16CFB15283A7}"/>
                    </a:ext>
                  </a:extLst>
                </p:cNvPr>
                <p:cNvGrpSpPr/>
                <p:nvPr/>
              </p:nvGrpSpPr>
              <p:grpSpPr>
                <a:xfrm>
                  <a:off x="2853974" y="3514025"/>
                  <a:ext cx="34883" cy="124839"/>
                  <a:chOff x="2853974" y="3514025"/>
                  <a:chExt cx="34883" cy="124839"/>
                </a:xfrm>
                <a:solidFill>
                  <a:schemeClr val="accent1"/>
                </a:solidFill>
              </p:grpSpPr>
              <p:sp>
                <p:nvSpPr>
                  <p:cNvPr id="1371" name="Freihandform: Form 1370">
                    <a:extLst>
                      <a:ext uri="{FF2B5EF4-FFF2-40B4-BE49-F238E27FC236}">
                        <a16:creationId xmlns:a16="http://schemas.microsoft.com/office/drawing/2014/main" id="{6A29C4E2-7F76-475A-8376-971555840E18}"/>
                      </a:ext>
                    </a:extLst>
                  </p:cNvPr>
                  <p:cNvSpPr/>
                  <p:nvPr/>
                </p:nvSpPr>
                <p:spPr>
                  <a:xfrm>
                    <a:off x="2855722" y="3514025"/>
                    <a:ext cx="33135" cy="25910"/>
                  </a:xfrm>
                  <a:custGeom>
                    <a:avLst/>
                    <a:gdLst>
                      <a:gd name="connsiteX0" fmla="*/ 6672 w 33135"/>
                      <a:gd name="connsiteY0" fmla="*/ 25910 h 25910"/>
                      <a:gd name="connsiteX1" fmla="*/ 1047 w 33135"/>
                      <a:gd name="connsiteY1" fmla="*/ 22814 h 25910"/>
                      <a:gd name="connsiteX2" fmla="*/ 3086 w 33135"/>
                      <a:gd name="connsiteY2" fmla="*/ 13628 h 25910"/>
                      <a:gd name="connsiteX3" fmla="*/ 22902 w 33135"/>
                      <a:gd name="connsiteY3" fmla="*/ 1036 h 25910"/>
                      <a:gd name="connsiteX4" fmla="*/ 32088 w 33135"/>
                      <a:gd name="connsiteY4" fmla="*/ 3074 h 25910"/>
                      <a:gd name="connsiteX5" fmla="*/ 30050 w 33135"/>
                      <a:gd name="connsiteY5" fmla="*/ 12260 h 25910"/>
                      <a:gd name="connsiteX6" fmla="*/ 10233 w 33135"/>
                      <a:gd name="connsiteY6" fmla="*/ 24852 h 25910"/>
                      <a:gd name="connsiteX7" fmla="*/ 6672 w 33135"/>
                      <a:gd name="connsiteY7" fmla="*/ 25910 h 25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35" h="25910">
                        <a:moveTo>
                          <a:pt x="6672" y="25910"/>
                        </a:moveTo>
                        <a:cubicBezTo>
                          <a:pt x="4479" y="25910"/>
                          <a:pt x="2311" y="24826"/>
                          <a:pt x="1047" y="22814"/>
                        </a:cubicBezTo>
                        <a:cubicBezTo>
                          <a:pt x="-940" y="19717"/>
                          <a:pt x="-11" y="15615"/>
                          <a:pt x="3086" y="13628"/>
                        </a:cubicBezTo>
                        <a:lnTo>
                          <a:pt x="22902" y="1036"/>
                        </a:lnTo>
                        <a:cubicBezTo>
                          <a:pt x="25999" y="-925"/>
                          <a:pt x="30101" y="-22"/>
                          <a:pt x="32088" y="3074"/>
                        </a:cubicBezTo>
                        <a:cubicBezTo>
                          <a:pt x="34075" y="6171"/>
                          <a:pt x="33146" y="10273"/>
                          <a:pt x="30050" y="12260"/>
                        </a:cubicBezTo>
                        <a:lnTo>
                          <a:pt x="10233" y="24852"/>
                        </a:lnTo>
                        <a:cubicBezTo>
                          <a:pt x="9123" y="25575"/>
                          <a:pt x="7885" y="25910"/>
                          <a:pt x="6672" y="25910"/>
                        </a:cubicBezTo>
                        <a:close/>
                      </a:path>
                    </a:pathLst>
                  </a:custGeom>
                  <a:solidFill>
                    <a:schemeClr val="accent1"/>
                  </a:solidFill>
                  <a:ln w="2573" cap="flat">
                    <a:noFill/>
                    <a:prstDash val="solid"/>
                    <a:miter/>
                  </a:ln>
                </p:spPr>
                <p:txBody>
                  <a:bodyPr rtlCol="0" anchor="ctr"/>
                  <a:lstStyle/>
                  <a:p>
                    <a:endParaRPr lang="en-GB" dirty="0"/>
                  </a:p>
                </p:txBody>
              </p:sp>
              <p:sp>
                <p:nvSpPr>
                  <p:cNvPr id="1372" name="Freihandform: Form 1371">
                    <a:extLst>
                      <a:ext uri="{FF2B5EF4-FFF2-40B4-BE49-F238E27FC236}">
                        <a16:creationId xmlns:a16="http://schemas.microsoft.com/office/drawing/2014/main" id="{4CAEC49E-8B7A-42F4-8B02-1C6C0F68E98E}"/>
                      </a:ext>
                    </a:extLst>
                  </p:cNvPr>
                  <p:cNvSpPr/>
                  <p:nvPr/>
                </p:nvSpPr>
                <p:spPr>
                  <a:xfrm>
                    <a:off x="2853974" y="3612595"/>
                    <a:ext cx="32863" cy="26269"/>
                  </a:xfrm>
                  <a:custGeom>
                    <a:avLst/>
                    <a:gdLst>
                      <a:gd name="connsiteX0" fmla="*/ 26198 w 32863"/>
                      <a:gd name="connsiteY0" fmla="*/ 26269 h 26269"/>
                      <a:gd name="connsiteX1" fmla="*/ 22534 w 32863"/>
                      <a:gd name="connsiteY1" fmla="*/ 25160 h 26269"/>
                      <a:gd name="connsiteX2" fmla="*/ 2976 w 32863"/>
                      <a:gd name="connsiteY2" fmla="*/ 12181 h 26269"/>
                      <a:gd name="connsiteX3" fmla="*/ 1118 w 32863"/>
                      <a:gd name="connsiteY3" fmla="*/ 2969 h 26269"/>
                      <a:gd name="connsiteX4" fmla="*/ 10330 w 32863"/>
                      <a:gd name="connsiteY4" fmla="*/ 1111 h 26269"/>
                      <a:gd name="connsiteX5" fmla="*/ 29888 w 32863"/>
                      <a:gd name="connsiteY5" fmla="*/ 14090 h 26269"/>
                      <a:gd name="connsiteX6" fmla="*/ 31746 w 32863"/>
                      <a:gd name="connsiteY6" fmla="*/ 23302 h 26269"/>
                      <a:gd name="connsiteX7" fmla="*/ 26198 w 32863"/>
                      <a:gd name="connsiteY7" fmla="*/ 26269 h 2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63" h="26269">
                        <a:moveTo>
                          <a:pt x="26198" y="26269"/>
                        </a:moveTo>
                        <a:cubicBezTo>
                          <a:pt x="24934" y="26269"/>
                          <a:pt x="23670" y="25908"/>
                          <a:pt x="22534" y="25160"/>
                        </a:cubicBezTo>
                        <a:lnTo>
                          <a:pt x="2976" y="12181"/>
                        </a:lnTo>
                        <a:cubicBezTo>
                          <a:pt x="-95" y="10142"/>
                          <a:pt x="-921" y="6014"/>
                          <a:pt x="1118" y="2969"/>
                        </a:cubicBezTo>
                        <a:cubicBezTo>
                          <a:pt x="3156" y="-76"/>
                          <a:pt x="7285" y="-927"/>
                          <a:pt x="10330" y="1111"/>
                        </a:cubicBezTo>
                        <a:lnTo>
                          <a:pt x="29888" y="14090"/>
                        </a:lnTo>
                        <a:cubicBezTo>
                          <a:pt x="32959" y="16128"/>
                          <a:pt x="33785" y="20257"/>
                          <a:pt x="31746" y="23302"/>
                        </a:cubicBezTo>
                        <a:cubicBezTo>
                          <a:pt x="30482" y="25211"/>
                          <a:pt x="28366" y="26269"/>
                          <a:pt x="26198" y="26269"/>
                        </a:cubicBezTo>
                        <a:close/>
                      </a:path>
                    </a:pathLst>
                  </a:custGeom>
                  <a:solidFill>
                    <a:schemeClr val="accent1"/>
                  </a:solidFill>
                  <a:ln w="2573" cap="flat">
                    <a:noFill/>
                    <a:prstDash val="solid"/>
                    <a:miter/>
                  </a:ln>
                </p:spPr>
                <p:txBody>
                  <a:bodyPr rtlCol="0" anchor="ctr"/>
                  <a:lstStyle/>
                  <a:p>
                    <a:endParaRPr lang="en-GB" dirty="0"/>
                  </a:p>
                </p:txBody>
              </p:sp>
            </p:grpSp>
            <p:sp>
              <p:nvSpPr>
                <p:cNvPr id="1370" name="Freihandform: Form 1369">
                  <a:extLst>
                    <a:ext uri="{FF2B5EF4-FFF2-40B4-BE49-F238E27FC236}">
                      <a16:creationId xmlns:a16="http://schemas.microsoft.com/office/drawing/2014/main" id="{16B36BD0-1A6F-451E-BAC3-CD417517C2FC}"/>
                    </a:ext>
                  </a:extLst>
                </p:cNvPr>
                <p:cNvSpPr/>
                <p:nvPr/>
              </p:nvSpPr>
              <p:spPr>
                <a:xfrm>
                  <a:off x="2855350" y="3567828"/>
                  <a:ext cx="32951" cy="13443"/>
                </a:xfrm>
                <a:custGeom>
                  <a:avLst/>
                  <a:gdLst>
                    <a:gd name="connsiteX0" fmla="*/ 26294 w 32951"/>
                    <a:gd name="connsiteY0" fmla="*/ 13443 h 13443"/>
                    <a:gd name="connsiteX1" fmla="*/ 26242 w 32951"/>
                    <a:gd name="connsiteY1" fmla="*/ 13443 h 13443"/>
                    <a:gd name="connsiteX2" fmla="*/ 6606 w 32951"/>
                    <a:gd name="connsiteY2" fmla="*/ 13314 h 13443"/>
                    <a:gd name="connsiteX3" fmla="*/ 0 w 32951"/>
                    <a:gd name="connsiteY3" fmla="*/ 6606 h 13443"/>
                    <a:gd name="connsiteX4" fmla="*/ 6657 w 32951"/>
                    <a:gd name="connsiteY4" fmla="*/ 0 h 13443"/>
                    <a:gd name="connsiteX5" fmla="*/ 6709 w 32951"/>
                    <a:gd name="connsiteY5" fmla="*/ 0 h 13443"/>
                    <a:gd name="connsiteX6" fmla="*/ 26345 w 32951"/>
                    <a:gd name="connsiteY6" fmla="*/ 129 h 13443"/>
                    <a:gd name="connsiteX7" fmla="*/ 32951 w 32951"/>
                    <a:gd name="connsiteY7" fmla="*/ 6838 h 13443"/>
                    <a:gd name="connsiteX8" fmla="*/ 26294 w 32951"/>
                    <a:gd name="connsiteY8" fmla="*/ 13443 h 13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951" h="13443">
                      <a:moveTo>
                        <a:pt x="26294" y="13443"/>
                      </a:moveTo>
                      <a:cubicBezTo>
                        <a:pt x="26268" y="13443"/>
                        <a:pt x="26268" y="13443"/>
                        <a:pt x="26242" y="13443"/>
                      </a:cubicBezTo>
                      <a:lnTo>
                        <a:pt x="6606" y="13314"/>
                      </a:lnTo>
                      <a:cubicBezTo>
                        <a:pt x="2942" y="13289"/>
                        <a:pt x="-26" y="10295"/>
                        <a:pt x="0" y="6606"/>
                      </a:cubicBezTo>
                      <a:cubicBezTo>
                        <a:pt x="26" y="2942"/>
                        <a:pt x="2993" y="0"/>
                        <a:pt x="6657" y="0"/>
                      </a:cubicBezTo>
                      <a:cubicBezTo>
                        <a:pt x="6657" y="0"/>
                        <a:pt x="6683" y="0"/>
                        <a:pt x="6709" y="0"/>
                      </a:cubicBezTo>
                      <a:lnTo>
                        <a:pt x="26345" y="129"/>
                      </a:lnTo>
                      <a:cubicBezTo>
                        <a:pt x="30009" y="155"/>
                        <a:pt x="32977" y="3148"/>
                        <a:pt x="32951" y="6838"/>
                      </a:cubicBezTo>
                      <a:cubicBezTo>
                        <a:pt x="32925" y="10502"/>
                        <a:pt x="29958" y="13443"/>
                        <a:pt x="26294" y="13443"/>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1353" name="Gruppieren 1352">
              <a:extLst>
                <a:ext uri="{FF2B5EF4-FFF2-40B4-BE49-F238E27FC236}">
                  <a16:creationId xmlns:a16="http://schemas.microsoft.com/office/drawing/2014/main" id="{0FDF70A1-A1FD-4163-82F7-CF18AB4EFBA2}"/>
                </a:ext>
              </a:extLst>
            </p:cNvPr>
            <p:cNvGrpSpPr/>
            <p:nvPr/>
          </p:nvGrpSpPr>
          <p:grpSpPr>
            <a:xfrm>
              <a:off x="2673874" y="3273397"/>
              <a:ext cx="467442" cy="432000"/>
              <a:chOff x="2548111" y="3349456"/>
              <a:chExt cx="439015" cy="405728"/>
            </a:xfrm>
            <a:solidFill>
              <a:schemeClr val="tx2"/>
            </a:solidFill>
          </p:grpSpPr>
          <p:sp>
            <p:nvSpPr>
              <p:cNvPr id="1354" name="Freihandform: Form 1353">
                <a:extLst>
                  <a:ext uri="{FF2B5EF4-FFF2-40B4-BE49-F238E27FC236}">
                    <a16:creationId xmlns:a16="http://schemas.microsoft.com/office/drawing/2014/main" id="{DD57F8E2-7814-4B2C-9EAA-84C1732E169F}"/>
                  </a:ext>
                </a:extLst>
              </p:cNvPr>
              <p:cNvSpPr/>
              <p:nvPr/>
            </p:nvSpPr>
            <p:spPr>
              <a:xfrm>
                <a:off x="2548111" y="3409293"/>
                <a:ext cx="439015" cy="292685"/>
              </a:xfrm>
              <a:custGeom>
                <a:avLst/>
                <a:gdLst>
                  <a:gd name="connsiteX0" fmla="*/ 399098 w 439015"/>
                  <a:gd name="connsiteY0" fmla="*/ 292686 h 292685"/>
                  <a:gd name="connsiteX1" fmla="*/ 39918 w 439015"/>
                  <a:gd name="connsiteY1" fmla="*/ 292686 h 292685"/>
                  <a:gd name="connsiteX2" fmla="*/ 0 w 439015"/>
                  <a:gd name="connsiteY2" fmla="*/ 252768 h 292685"/>
                  <a:gd name="connsiteX3" fmla="*/ 0 w 439015"/>
                  <a:gd name="connsiteY3" fmla="*/ 39917 h 292685"/>
                  <a:gd name="connsiteX4" fmla="*/ 39918 w 439015"/>
                  <a:gd name="connsiteY4" fmla="*/ 0 h 292685"/>
                  <a:gd name="connsiteX5" fmla="*/ 399098 w 439015"/>
                  <a:gd name="connsiteY5" fmla="*/ 0 h 292685"/>
                  <a:gd name="connsiteX6" fmla="*/ 439015 w 439015"/>
                  <a:gd name="connsiteY6" fmla="*/ 39917 h 292685"/>
                  <a:gd name="connsiteX7" fmla="*/ 439015 w 439015"/>
                  <a:gd name="connsiteY7" fmla="*/ 252768 h 292685"/>
                  <a:gd name="connsiteX8" fmla="*/ 399098 w 439015"/>
                  <a:gd name="connsiteY8" fmla="*/ 292686 h 292685"/>
                  <a:gd name="connsiteX9" fmla="*/ 39918 w 439015"/>
                  <a:gd name="connsiteY9" fmla="*/ 13314 h 292685"/>
                  <a:gd name="connsiteX10" fmla="*/ 13315 w 439015"/>
                  <a:gd name="connsiteY10" fmla="*/ 39917 h 292685"/>
                  <a:gd name="connsiteX11" fmla="*/ 13315 w 439015"/>
                  <a:gd name="connsiteY11" fmla="*/ 252768 h 292685"/>
                  <a:gd name="connsiteX12" fmla="*/ 39918 w 439015"/>
                  <a:gd name="connsiteY12" fmla="*/ 279371 h 292685"/>
                  <a:gd name="connsiteX13" fmla="*/ 399098 w 439015"/>
                  <a:gd name="connsiteY13" fmla="*/ 279371 h 292685"/>
                  <a:gd name="connsiteX14" fmla="*/ 425701 w 439015"/>
                  <a:gd name="connsiteY14" fmla="*/ 252768 h 292685"/>
                  <a:gd name="connsiteX15" fmla="*/ 425701 w 439015"/>
                  <a:gd name="connsiteY15" fmla="*/ 39917 h 292685"/>
                  <a:gd name="connsiteX16" fmla="*/ 399098 w 439015"/>
                  <a:gd name="connsiteY16" fmla="*/ 13314 h 292685"/>
                  <a:gd name="connsiteX17" fmla="*/ 39918 w 439015"/>
                  <a:gd name="connsiteY17" fmla="*/ 13314 h 292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9015" h="292685">
                    <a:moveTo>
                      <a:pt x="399098" y="292686"/>
                    </a:moveTo>
                    <a:lnTo>
                      <a:pt x="39918" y="292686"/>
                    </a:lnTo>
                    <a:cubicBezTo>
                      <a:pt x="17907" y="292686"/>
                      <a:pt x="0" y="274778"/>
                      <a:pt x="0" y="252768"/>
                    </a:cubicBezTo>
                    <a:lnTo>
                      <a:pt x="0" y="39917"/>
                    </a:lnTo>
                    <a:cubicBezTo>
                      <a:pt x="0" y="17907"/>
                      <a:pt x="17907" y="0"/>
                      <a:pt x="39918" y="0"/>
                    </a:cubicBezTo>
                    <a:lnTo>
                      <a:pt x="399098" y="0"/>
                    </a:lnTo>
                    <a:cubicBezTo>
                      <a:pt x="421108" y="0"/>
                      <a:pt x="439015" y="17907"/>
                      <a:pt x="439015" y="39917"/>
                    </a:cubicBezTo>
                    <a:lnTo>
                      <a:pt x="439015" y="252768"/>
                    </a:lnTo>
                    <a:cubicBezTo>
                      <a:pt x="439015" y="274778"/>
                      <a:pt x="421108" y="292686"/>
                      <a:pt x="399098" y="292686"/>
                    </a:cubicBezTo>
                    <a:close/>
                    <a:moveTo>
                      <a:pt x="39918" y="13314"/>
                    </a:moveTo>
                    <a:cubicBezTo>
                      <a:pt x="25236" y="13314"/>
                      <a:pt x="13315" y="25235"/>
                      <a:pt x="13315" y="39917"/>
                    </a:cubicBezTo>
                    <a:lnTo>
                      <a:pt x="13315" y="252768"/>
                    </a:lnTo>
                    <a:cubicBezTo>
                      <a:pt x="13315" y="267450"/>
                      <a:pt x="25236" y="279371"/>
                      <a:pt x="39918" y="279371"/>
                    </a:cubicBezTo>
                    <a:lnTo>
                      <a:pt x="399098" y="279371"/>
                    </a:lnTo>
                    <a:cubicBezTo>
                      <a:pt x="413780" y="279371"/>
                      <a:pt x="425701" y="267450"/>
                      <a:pt x="425701" y="252768"/>
                    </a:cubicBezTo>
                    <a:lnTo>
                      <a:pt x="425701" y="39917"/>
                    </a:lnTo>
                    <a:cubicBezTo>
                      <a:pt x="425701" y="25235"/>
                      <a:pt x="413780" y="13314"/>
                      <a:pt x="399098" y="13314"/>
                    </a:cubicBezTo>
                    <a:lnTo>
                      <a:pt x="39918" y="13314"/>
                    </a:lnTo>
                    <a:close/>
                  </a:path>
                </a:pathLst>
              </a:custGeom>
              <a:grpFill/>
              <a:ln w="2573" cap="flat">
                <a:noFill/>
                <a:prstDash val="solid"/>
                <a:miter/>
              </a:ln>
            </p:spPr>
            <p:txBody>
              <a:bodyPr rtlCol="0" anchor="ctr"/>
              <a:lstStyle/>
              <a:p>
                <a:endParaRPr lang="en-GB" dirty="0"/>
              </a:p>
            </p:txBody>
          </p:sp>
          <p:sp>
            <p:nvSpPr>
              <p:cNvPr id="1355" name="Freihandform: Form 1354">
                <a:extLst>
                  <a:ext uri="{FF2B5EF4-FFF2-40B4-BE49-F238E27FC236}">
                    <a16:creationId xmlns:a16="http://schemas.microsoft.com/office/drawing/2014/main" id="{6EC8864E-1EB7-45F8-8128-401C617D340B}"/>
                  </a:ext>
                </a:extLst>
              </p:cNvPr>
              <p:cNvSpPr/>
              <p:nvPr/>
            </p:nvSpPr>
            <p:spPr>
              <a:xfrm>
                <a:off x="2647892" y="3688664"/>
                <a:ext cx="53231" cy="66520"/>
              </a:xfrm>
              <a:custGeom>
                <a:avLst/>
                <a:gdLst>
                  <a:gd name="connsiteX0" fmla="*/ 46575 w 53231"/>
                  <a:gd name="connsiteY0" fmla="*/ 66521 h 66520"/>
                  <a:gd name="connsiteX1" fmla="*/ 39918 w 53231"/>
                  <a:gd name="connsiteY1" fmla="*/ 59863 h 66520"/>
                  <a:gd name="connsiteX2" fmla="*/ 39918 w 53231"/>
                  <a:gd name="connsiteY2" fmla="*/ 13314 h 66520"/>
                  <a:gd name="connsiteX3" fmla="*/ 13315 w 53231"/>
                  <a:gd name="connsiteY3" fmla="*/ 13314 h 66520"/>
                  <a:gd name="connsiteX4" fmla="*/ 13315 w 53231"/>
                  <a:gd name="connsiteY4" fmla="*/ 59863 h 66520"/>
                  <a:gd name="connsiteX5" fmla="*/ 6657 w 53231"/>
                  <a:gd name="connsiteY5" fmla="*/ 66521 h 66520"/>
                  <a:gd name="connsiteX6" fmla="*/ 0 w 53231"/>
                  <a:gd name="connsiteY6" fmla="*/ 59863 h 66520"/>
                  <a:gd name="connsiteX7" fmla="*/ 0 w 53231"/>
                  <a:gd name="connsiteY7" fmla="*/ 6657 h 66520"/>
                  <a:gd name="connsiteX8" fmla="*/ 6657 w 53231"/>
                  <a:gd name="connsiteY8" fmla="*/ 0 h 66520"/>
                  <a:gd name="connsiteX9" fmla="*/ 46575 w 53231"/>
                  <a:gd name="connsiteY9" fmla="*/ 0 h 66520"/>
                  <a:gd name="connsiteX10" fmla="*/ 53232 w 53231"/>
                  <a:gd name="connsiteY10" fmla="*/ 6657 h 66520"/>
                  <a:gd name="connsiteX11" fmla="*/ 53232 w 53231"/>
                  <a:gd name="connsiteY11" fmla="*/ 59863 h 66520"/>
                  <a:gd name="connsiteX12" fmla="*/ 46575 w 53231"/>
                  <a:gd name="connsiteY12" fmla="*/ 66521 h 6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231" h="66520">
                    <a:moveTo>
                      <a:pt x="46575" y="66521"/>
                    </a:moveTo>
                    <a:cubicBezTo>
                      <a:pt x="42911" y="66521"/>
                      <a:pt x="39918" y="63553"/>
                      <a:pt x="39918" y="59863"/>
                    </a:cubicBezTo>
                    <a:lnTo>
                      <a:pt x="39918" y="13314"/>
                    </a:lnTo>
                    <a:lnTo>
                      <a:pt x="13315" y="13314"/>
                    </a:lnTo>
                    <a:lnTo>
                      <a:pt x="13315" y="59863"/>
                    </a:lnTo>
                    <a:cubicBezTo>
                      <a:pt x="13315" y="63527"/>
                      <a:pt x="10347" y="66521"/>
                      <a:pt x="6657" y="66521"/>
                    </a:cubicBezTo>
                    <a:cubicBezTo>
                      <a:pt x="2993" y="66521"/>
                      <a:pt x="0" y="63553"/>
                      <a:pt x="0" y="59863"/>
                    </a:cubicBezTo>
                    <a:lnTo>
                      <a:pt x="0" y="6657"/>
                    </a:lnTo>
                    <a:cubicBezTo>
                      <a:pt x="0" y="2993"/>
                      <a:pt x="2967" y="0"/>
                      <a:pt x="6657" y="0"/>
                    </a:cubicBezTo>
                    <a:lnTo>
                      <a:pt x="46575" y="0"/>
                    </a:lnTo>
                    <a:cubicBezTo>
                      <a:pt x="50239" y="0"/>
                      <a:pt x="53232" y="2967"/>
                      <a:pt x="53232" y="6657"/>
                    </a:cubicBezTo>
                    <a:lnTo>
                      <a:pt x="53232" y="59863"/>
                    </a:lnTo>
                    <a:cubicBezTo>
                      <a:pt x="53206" y="63553"/>
                      <a:pt x="50239" y="66521"/>
                      <a:pt x="46575" y="66521"/>
                    </a:cubicBezTo>
                    <a:close/>
                  </a:path>
                </a:pathLst>
              </a:custGeom>
              <a:grpFill/>
              <a:ln w="2573" cap="flat">
                <a:noFill/>
                <a:prstDash val="solid"/>
                <a:miter/>
              </a:ln>
            </p:spPr>
            <p:txBody>
              <a:bodyPr rtlCol="0" anchor="ctr"/>
              <a:lstStyle/>
              <a:p>
                <a:endParaRPr lang="en-GB" dirty="0"/>
              </a:p>
            </p:txBody>
          </p:sp>
          <p:sp>
            <p:nvSpPr>
              <p:cNvPr id="1356" name="Freihandform: Form 1355">
                <a:extLst>
                  <a:ext uri="{FF2B5EF4-FFF2-40B4-BE49-F238E27FC236}">
                    <a16:creationId xmlns:a16="http://schemas.microsoft.com/office/drawing/2014/main" id="{2EC350A8-1EC1-4990-806C-30B6E57DE662}"/>
                  </a:ext>
                </a:extLst>
              </p:cNvPr>
              <p:cNvSpPr/>
              <p:nvPr/>
            </p:nvSpPr>
            <p:spPr>
              <a:xfrm>
                <a:off x="2834114" y="3688664"/>
                <a:ext cx="53231" cy="66520"/>
              </a:xfrm>
              <a:custGeom>
                <a:avLst/>
                <a:gdLst>
                  <a:gd name="connsiteX0" fmla="*/ 46575 w 53231"/>
                  <a:gd name="connsiteY0" fmla="*/ 66521 h 66520"/>
                  <a:gd name="connsiteX1" fmla="*/ 39917 w 53231"/>
                  <a:gd name="connsiteY1" fmla="*/ 59863 h 66520"/>
                  <a:gd name="connsiteX2" fmla="*/ 39917 w 53231"/>
                  <a:gd name="connsiteY2" fmla="*/ 13314 h 66520"/>
                  <a:gd name="connsiteX3" fmla="*/ 13314 w 53231"/>
                  <a:gd name="connsiteY3" fmla="*/ 13314 h 66520"/>
                  <a:gd name="connsiteX4" fmla="*/ 13314 w 53231"/>
                  <a:gd name="connsiteY4" fmla="*/ 59863 h 66520"/>
                  <a:gd name="connsiteX5" fmla="*/ 6657 w 53231"/>
                  <a:gd name="connsiteY5" fmla="*/ 66521 h 66520"/>
                  <a:gd name="connsiteX6" fmla="*/ 0 w 53231"/>
                  <a:gd name="connsiteY6" fmla="*/ 59863 h 66520"/>
                  <a:gd name="connsiteX7" fmla="*/ 0 w 53231"/>
                  <a:gd name="connsiteY7" fmla="*/ 6657 h 66520"/>
                  <a:gd name="connsiteX8" fmla="*/ 6657 w 53231"/>
                  <a:gd name="connsiteY8" fmla="*/ 0 h 66520"/>
                  <a:gd name="connsiteX9" fmla="*/ 46575 w 53231"/>
                  <a:gd name="connsiteY9" fmla="*/ 0 h 66520"/>
                  <a:gd name="connsiteX10" fmla="*/ 53232 w 53231"/>
                  <a:gd name="connsiteY10" fmla="*/ 6657 h 66520"/>
                  <a:gd name="connsiteX11" fmla="*/ 53232 w 53231"/>
                  <a:gd name="connsiteY11" fmla="*/ 59863 h 66520"/>
                  <a:gd name="connsiteX12" fmla="*/ 46575 w 53231"/>
                  <a:gd name="connsiteY12" fmla="*/ 66521 h 6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231" h="66520">
                    <a:moveTo>
                      <a:pt x="46575" y="66521"/>
                    </a:moveTo>
                    <a:cubicBezTo>
                      <a:pt x="42911" y="66521"/>
                      <a:pt x="39917" y="63553"/>
                      <a:pt x="39917" y="59863"/>
                    </a:cubicBezTo>
                    <a:lnTo>
                      <a:pt x="39917" y="13314"/>
                    </a:lnTo>
                    <a:lnTo>
                      <a:pt x="13314" y="13314"/>
                    </a:lnTo>
                    <a:lnTo>
                      <a:pt x="13314" y="59863"/>
                    </a:lnTo>
                    <a:cubicBezTo>
                      <a:pt x="13314" y="63527"/>
                      <a:pt x="10347" y="66521"/>
                      <a:pt x="6657" y="66521"/>
                    </a:cubicBezTo>
                    <a:cubicBezTo>
                      <a:pt x="2993" y="66521"/>
                      <a:pt x="0" y="63553"/>
                      <a:pt x="0" y="59863"/>
                    </a:cubicBezTo>
                    <a:lnTo>
                      <a:pt x="0" y="6657"/>
                    </a:lnTo>
                    <a:cubicBezTo>
                      <a:pt x="0" y="2993"/>
                      <a:pt x="2967" y="0"/>
                      <a:pt x="6657" y="0"/>
                    </a:cubicBezTo>
                    <a:lnTo>
                      <a:pt x="46575" y="0"/>
                    </a:lnTo>
                    <a:cubicBezTo>
                      <a:pt x="50239" y="0"/>
                      <a:pt x="53232" y="2967"/>
                      <a:pt x="53232" y="6657"/>
                    </a:cubicBezTo>
                    <a:lnTo>
                      <a:pt x="53232" y="59863"/>
                    </a:lnTo>
                    <a:cubicBezTo>
                      <a:pt x="53232" y="63553"/>
                      <a:pt x="50265" y="66521"/>
                      <a:pt x="46575" y="66521"/>
                    </a:cubicBezTo>
                    <a:close/>
                  </a:path>
                </a:pathLst>
              </a:custGeom>
              <a:grpFill/>
              <a:ln w="2573" cap="flat">
                <a:noFill/>
                <a:prstDash val="solid"/>
                <a:miter/>
              </a:ln>
            </p:spPr>
            <p:txBody>
              <a:bodyPr rtlCol="0" anchor="ctr"/>
              <a:lstStyle/>
              <a:p>
                <a:endParaRPr lang="en-GB" dirty="0"/>
              </a:p>
            </p:txBody>
          </p:sp>
          <p:grpSp>
            <p:nvGrpSpPr>
              <p:cNvPr id="1357" name="Grafik 312">
                <a:extLst>
                  <a:ext uri="{FF2B5EF4-FFF2-40B4-BE49-F238E27FC236}">
                    <a16:creationId xmlns:a16="http://schemas.microsoft.com/office/drawing/2014/main" id="{3DA6060F-7844-406A-88C5-CEBBC64AA7CB}"/>
                  </a:ext>
                </a:extLst>
              </p:cNvPr>
              <p:cNvGrpSpPr/>
              <p:nvPr/>
            </p:nvGrpSpPr>
            <p:grpSpPr>
              <a:xfrm>
                <a:off x="2621289" y="3349456"/>
                <a:ext cx="66520" cy="73151"/>
                <a:chOff x="2621289" y="3349456"/>
                <a:chExt cx="66520" cy="73151"/>
              </a:xfrm>
              <a:grpFill/>
            </p:grpSpPr>
            <p:sp>
              <p:nvSpPr>
                <p:cNvPr id="1362" name="Freihandform: Form 1361">
                  <a:extLst>
                    <a:ext uri="{FF2B5EF4-FFF2-40B4-BE49-F238E27FC236}">
                      <a16:creationId xmlns:a16="http://schemas.microsoft.com/office/drawing/2014/main" id="{EF3A1A99-7D74-4A99-A0CC-2C9CAECEF650}"/>
                    </a:ext>
                  </a:extLst>
                </p:cNvPr>
                <p:cNvSpPr/>
                <p:nvPr/>
              </p:nvSpPr>
              <p:spPr>
                <a:xfrm>
                  <a:off x="2621289" y="3349456"/>
                  <a:ext cx="52609" cy="73151"/>
                </a:xfrm>
                <a:custGeom>
                  <a:avLst/>
                  <a:gdLst>
                    <a:gd name="connsiteX0" fmla="*/ 6657 w 52609"/>
                    <a:gd name="connsiteY0" fmla="*/ 73152 h 73151"/>
                    <a:gd name="connsiteX1" fmla="*/ 0 w 52609"/>
                    <a:gd name="connsiteY1" fmla="*/ 66495 h 73151"/>
                    <a:gd name="connsiteX2" fmla="*/ 0 w 52609"/>
                    <a:gd name="connsiteY2" fmla="*/ 39917 h 73151"/>
                    <a:gd name="connsiteX3" fmla="*/ 26603 w 52609"/>
                    <a:gd name="connsiteY3" fmla="*/ 0 h 73151"/>
                    <a:gd name="connsiteX4" fmla="*/ 52561 w 52609"/>
                    <a:gd name="connsiteY4" fmla="*/ 25829 h 73151"/>
                    <a:gd name="connsiteX5" fmla="*/ 46730 w 52609"/>
                    <a:gd name="connsiteY5" fmla="*/ 33209 h 73151"/>
                    <a:gd name="connsiteX6" fmla="*/ 39350 w 52609"/>
                    <a:gd name="connsiteY6" fmla="*/ 27377 h 73151"/>
                    <a:gd name="connsiteX7" fmla="*/ 26603 w 52609"/>
                    <a:gd name="connsiteY7" fmla="*/ 13314 h 73151"/>
                    <a:gd name="connsiteX8" fmla="*/ 13289 w 52609"/>
                    <a:gd name="connsiteY8" fmla="*/ 39917 h 73151"/>
                    <a:gd name="connsiteX9" fmla="*/ 13289 w 52609"/>
                    <a:gd name="connsiteY9" fmla="*/ 66521 h 73151"/>
                    <a:gd name="connsiteX10" fmla="*/ 6657 w 52609"/>
                    <a:gd name="connsiteY10" fmla="*/ 73152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609" h="73151">
                      <a:moveTo>
                        <a:pt x="6657" y="73152"/>
                      </a:moveTo>
                      <a:cubicBezTo>
                        <a:pt x="2993" y="73152"/>
                        <a:pt x="0" y="70185"/>
                        <a:pt x="0" y="66495"/>
                      </a:cubicBezTo>
                      <a:lnTo>
                        <a:pt x="0" y="39917"/>
                      </a:lnTo>
                      <a:cubicBezTo>
                        <a:pt x="0" y="25984"/>
                        <a:pt x="0" y="0"/>
                        <a:pt x="26603" y="0"/>
                      </a:cubicBezTo>
                      <a:cubicBezTo>
                        <a:pt x="41827" y="0"/>
                        <a:pt x="50549" y="8696"/>
                        <a:pt x="52561" y="25829"/>
                      </a:cubicBezTo>
                      <a:cubicBezTo>
                        <a:pt x="53000" y="29467"/>
                        <a:pt x="50368" y="32796"/>
                        <a:pt x="46730" y="33209"/>
                      </a:cubicBezTo>
                      <a:cubicBezTo>
                        <a:pt x="43066" y="33647"/>
                        <a:pt x="39763" y="31041"/>
                        <a:pt x="39350" y="27377"/>
                      </a:cubicBezTo>
                      <a:cubicBezTo>
                        <a:pt x="37957" y="15534"/>
                        <a:pt x="33802" y="13314"/>
                        <a:pt x="26603" y="13314"/>
                      </a:cubicBezTo>
                      <a:cubicBezTo>
                        <a:pt x="17211" y="13314"/>
                        <a:pt x="13289" y="17004"/>
                        <a:pt x="13289" y="39917"/>
                      </a:cubicBezTo>
                      <a:lnTo>
                        <a:pt x="13289" y="66521"/>
                      </a:lnTo>
                      <a:cubicBezTo>
                        <a:pt x="13315" y="70185"/>
                        <a:pt x="10321" y="73152"/>
                        <a:pt x="6657" y="73152"/>
                      </a:cubicBezTo>
                      <a:close/>
                    </a:path>
                  </a:pathLst>
                </a:custGeom>
                <a:grpFill/>
                <a:ln w="2573" cap="flat">
                  <a:noFill/>
                  <a:prstDash val="solid"/>
                  <a:miter/>
                </a:ln>
              </p:spPr>
              <p:txBody>
                <a:bodyPr rtlCol="0" anchor="ctr"/>
                <a:lstStyle/>
                <a:p>
                  <a:endParaRPr lang="en-GB" dirty="0"/>
                </a:p>
              </p:txBody>
            </p:sp>
            <p:sp>
              <p:nvSpPr>
                <p:cNvPr id="1363" name="Freihandform: Form 1362">
                  <a:extLst>
                    <a:ext uri="{FF2B5EF4-FFF2-40B4-BE49-F238E27FC236}">
                      <a16:creationId xmlns:a16="http://schemas.microsoft.com/office/drawing/2014/main" id="{F393E17D-2E75-4648-861B-AAE0DE614947}"/>
                    </a:ext>
                  </a:extLst>
                </p:cNvPr>
                <p:cNvSpPr/>
                <p:nvPr/>
              </p:nvSpPr>
              <p:spPr>
                <a:xfrm>
                  <a:off x="2647892" y="3376059"/>
                  <a:ext cx="39917" cy="13314"/>
                </a:xfrm>
                <a:custGeom>
                  <a:avLst/>
                  <a:gdLst>
                    <a:gd name="connsiteX0" fmla="*/ 33260 w 39917"/>
                    <a:gd name="connsiteY0" fmla="*/ 13314 h 13314"/>
                    <a:gd name="connsiteX1" fmla="*/ 6657 w 39917"/>
                    <a:gd name="connsiteY1" fmla="*/ 13314 h 13314"/>
                    <a:gd name="connsiteX2" fmla="*/ 0 w 39917"/>
                    <a:gd name="connsiteY2" fmla="*/ 6657 h 13314"/>
                    <a:gd name="connsiteX3" fmla="*/ 6657 w 39917"/>
                    <a:gd name="connsiteY3" fmla="*/ 0 h 13314"/>
                    <a:gd name="connsiteX4" fmla="*/ 33260 w 39917"/>
                    <a:gd name="connsiteY4" fmla="*/ 0 h 13314"/>
                    <a:gd name="connsiteX5" fmla="*/ 39918 w 39917"/>
                    <a:gd name="connsiteY5" fmla="*/ 6657 h 13314"/>
                    <a:gd name="connsiteX6" fmla="*/ 33260 w 39917"/>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17" h="13314">
                      <a:moveTo>
                        <a:pt x="33260" y="13314"/>
                      </a:moveTo>
                      <a:lnTo>
                        <a:pt x="6657" y="13314"/>
                      </a:lnTo>
                      <a:cubicBezTo>
                        <a:pt x="2993" y="13314"/>
                        <a:pt x="0" y="10347"/>
                        <a:pt x="0" y="6657"/>
                      </a:cubicBezTo>
                      <a:cubicBezTo>
                        <a:pt x="0" y="2993"/>
                        <a:pt x="2967" y="0"/>
                        <a:pt x="6657" y="0"/>
                      </a:cubicBezTo>
                      <a:lnTo>
                        <a:pt x="33260" y="0"/>
                      </a:lnTo>
                      <a:cubicBezTo>
                        <a:pt x="36925" y="0"/>
                        <a:pt x="39918" y="2967"/>
                        <a:pt x="39918" y="6657"/>
                      </a:cubicBezTo>
                      <a:cubicBezTo>
                        <a:pt x="39918" y="10321"/>
                        <a:pt x="36950" y="13314"/>
                        <a:pt x="33260" y="13314"/>
                      </a:cubicBezTo>
                      <a:close/>
                    </a:path>
                  </a:pathLst>
                </a:custGeom>
                <a:grpFill/>
                <a:ln w="2573" cap="flat">
                  <a:noFill/>
                  <a:prstDash val="solid"/>
                  <a:miter/>
                </a:ln>
              </p:spPr>
              <p:txBody>
                <a:bodyPr rtlCol="0" anchor="ctr"/>
                <a:lstStyle/>
                <a:p>
                  <a:endParaRPr lang="en-GB" dirty="0"/>
                </a:p>
              </p:txBody>
            </p:sp>
          </p:grpSp>
          <p:grpSp>
            <p:nvGrpSpPr>
              <p:cNvPr id="1358" name="Grafik 312">
                <a:extLst>
                  <a:ext uri="{FF2B5EF4-FFF2-40B4-BE49-F238E27FC236}">
                    <a16:creationId xmlns:a16="http://schemas.microsoft.com/office/drawing/2014/main" id="{33B470FC-3BA5-419A-A0D7-083DEF3F72F0}"/>
                  </a:ext>
                </a:extLst>
              </p:cNvPr>
              <p:cNvGrpSpPr/>
              <p:nvPr/>
            </p:nvGrpSpPr>
            <p:grpSpPr>
              <a:xfrm>
                <a:off x="2847428" y="3349456"/>
                <a:ext cx="66495" cy="73151"/>
                <a:chOff x="2847428" y="3349456"/>
                <a:chExt cx="66495" cy="73151"/>
              </a:xfrm>
              <a:grpFill/>
            </p:grpSpPr>
            <p:sp>
              <p:nvSpPr>
                <p:cNvPr id="1360" name="Freihandform: Form 1359">
                  <a:extLst>
                    <a:ext uri="{FF2B5EF4-FFF2-40B4-BE49-F238E27FC236}">
                      <a16:creationId xmlns:a16="http://schemas.microsoft.com/office/drawing/2014/main" id="{3E5E5B3E-1176-4E93-A264-8EBBC23007B0}"/>
                    </a:ext>
                  </a:extLst>
                </p:cNvPr>
                <p:cNvSpPr/>
                <p:nvPr/>
              </p:nvSpPr>
              <p:spPr>
                <a:xfrm>
                  <a:off x="2861319" y="3349456"/>
                  <a:ext cx="52604" cy="73151"/>
                </a:xfrm>
                <a:custGeom>
                  <a:avLst/>
                  <a:gdLst>
                    <a:gd name="connsiteX0" fmla="*/ 45973 w 52604"/>
                    <a:gd name="connsiteY0" fmla="*/ 73152 h 73151"/>
                    <a:gd name="connsiteX1" fmla="*/ 39315 w 52604"/>
                    <a:gd name="connsiteY1" fmla="*/ 66495 h 73151"/>
                    <a:gd name="connsiteX2" fmla="*/ 39315 w 52604"/>
                    <a:gd name="connsiteY2" fmla="*/ 39917 h 73151"/>
                    <a:gd name="connsiteX3" fmla="*/ 26001 w 52604"/>
                    <a:gd name="connsiteY3" fmla="*/ 13314 h 73151"/>
                    <a:gd name="connsiteX4" fmla="*/ 13254 w 52604"/>
                    <a:gd name="connsiteY4" fmla="*/ 27377 h 73151"/>
                    <a:gd name="connsiteX5" fmla="*/ 5875 w 52604"/>
                    <a:gd name="connsiteY5" fmla="*/ 33209 h 73151"/>
                    <a:gd name="connsiteX6" fmla="*/ 43 w 52604"/>
                    <a:gd name="connsiteY6" fmla="*/ 25829 h 73151"/>
                    <a:gd name="connsiteX7" fmla="*/ 26001 w 52604"/>
                    <a:gd name="connsiteY7" fmla="*/ 0 h 73151"/>
                    <a:gd name="connsiteX8" fmla="*/ 52604 w 52604"/>
                    <a:gd name="connsiteY8" fmla="*/ 39917 h 73151"/>
                    <a:gd name="connsiteX9" fmla="*/ 52604 w 52604"/>
                    <a:gd name="connsiteY9" fmla="*/ 66521 h 73151"/>
                    <a:gd name="connsiteX10" fmla="*/ 45973 w 52604"/>
                    <a:gd name="connsiteY10" fmla="*/ 73152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604" h="73151">
                      <a:moveTo>
                        <a:pt x="45973" y="73152"/>
                      </a:moveTo>
                      <a:cubicBezTo>
                        <a:pt x="42309" y="73152"/>
                        <a:pt x="39315" y="70185"/>
                        <a:pt x="39315" y="66495"/>
                      </a:cubicBezTo>
                      <a:lnTo>
                        <a:pt x="39315" y="39917"/>
                      </a:lnTo>
                      <a:cubicBezTo>
                        <a:pt x="39315" y="17004"/>
                        <a:pt x="35393" y="13314"/>
                        <a:pt x="26001" y="13314"/>
                      </a:cubicBezTo>
                      <a:cubicBezTo>
                        <a:pt x="18802" y="13314"/>
                        <a:pt x="14622" y="15559"/>
                        <a:pt x="13254" y="27377"/>
                      </a:cubicBezTo>
                      <a:cubicBezTo>
                        <a:pt x="12816" y="31015"/>
                        <a:pt x="9539" y="33647"/>
                        <a:pt x="5875" y="33209"/>
                      </a:cubicBezTo>
                      <a:cubicBezTo>
                        <a:pt x="2236" y="32770"/>
                        <a:pt x="-370" y="29467"/>
                        <a:pt x="43" y="25829"/>
                      </a:cubicBezTo>
                      <a:cubicBezTo>
                        <a:pt x="2056" y="8696"/>
                        <a:pt x="10803" y="0"/>
                        <a:pt x="26001" y="0"/>
                      </a:cubicBezTo>
                      <a:cubicBezTo>
                        <a:pt x="52604" y="0"/>
                        <a:pt x="52604" y="25958"/>
                        <a:pt x="52604" y="39917"/>
                      </a:cubicBezTo>
                      <a:lnTo>
                        <a:pt x="52604" y="66521"/>
                      </a:lnTo>
                      <a:cubicBezTo>
                        <a:pt x="52630" y="70185"/>
                        <a:pt x="49662" y="73152"/>
                        <a:pt x="45973" y="73152"/>
                      </a:cubicBezTo>
                      <a:close/>
                    </a:path>
                  </a:pathLst>
                </a:custGeom>
                <a:grpFill/>
                <a:ln w="2573" cap="flat">
                  <a:noFill/>
                  <a:prstDash val="solid"/>
                  <a:miter/>
                </a:ln>
              </p:spPr>
              <p:txBody>
                <a:bodyPr rtlCol="0" anchor="ctr"/>
                <a:lstStyle/>
                <a:p>
                  <a:endParaRPr lang="en-GB" dirty="0"/>
                </a:p>
              </p:txBody>
            </p:sp>
            <p:sp>
              <p:nvSpPr>
                <p:cNvPr id="1361" name="Freihandform: Form 1360">
                  <a:extLst>
                    <a:ext uri="{FF2B5EF4-FFF2-40B4-BE49-F238E27FC236}">
                      <a16:creationId xmlns:a16="http://schemas.microsoft.com/office/drawing/2014/main" id="{4E2D5F94-1935-4C9B-A400-A59388E200E0}"/>
                    </a:ext>
                  </a:extLst>
                </p:cNvPr>
                <p:cNvSpPr/>
                <p:nvPr/>
              </p:nvSpPr>
              <p:spPr>
                <a:xfrm>
                  <a:off x="2847428" y="3376059"/>
                  <a:ext cx="39917" cy="13314"/>
                </a:xfrm>
                <a:custGeom>
                  <a:avLst/>
                  <a:gdLst>
                    <a:gd name="connsiteX0" fmla="*/ 33260 w 39917"/>
                    <a:gd name="connsiteY0" fmla="*/ 13314 h 13314"/>
                    <a:gd name="connsiteX1" fmla="*/ 6657 w 39917"/>
                    <a:gd name="connsiteY1" fmla="*/ 13314 h 13314"/>
                    <a:gd name="connsiteX2" fmla="*/ 0 w 39917"/>
                    <a:gd name="connsiteY2" fmla="*/ 6657 h 13314"/>
                    <a:gd name="connsiteX3" fmla="*/ 6657 w 39917"/>
                    <a:gd name="connsiteY3" fmla="*/ 0 h 13314"/>
                    <a:gd name="connsiteX4" fmla="*/ 33260 w 39917"/>
                    <a:gd name="connsiteY4" fmla="*/ 0 h 13314"/>
                    <a:gd name="connsiteX5" fmla="*/ 39918 w 39917"/>
                    <a:gd name="connsiteY5" fmla="*/ 6657 h 13314"/>
                    <a:gd name="connsiteX6" fmla="*/ 33260 w 39917"/>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917" h="13314">
                      <a:moveTo>
                        <a:pt x="33260" y="13314"/>
                      </a:moveTo>
                      <a:lnTo>
                        <a:pt x="6657" y="13314"/>
                      </a:lnTo>
                      <a:cubicBezTo>
                        <a:pt x="2993" y="13314"/>
                        <a:pt x="0" y="10347"/>
                        <a:pt x="0" y="6657"/>
                      </a:cubicBezTo>
                      <a:cubicBezTo>
                        <a:pt x="0" y="2993"/>
                        <a:pt x="2967" y="0"/>
                        <a:pt x="6657" y="0"/>
                      </a:cubicBezTo>
                      <a:lnTo>
                        <a:pt x="33260" y="0"/>
                      </a:lnTo>
                      <a:cubicBezTo>
                        <a:pt x="36924" y="0"/>
                        <a:pt x="39918" y="2967"/>
                        <a:pt x="39918" y="6657"/>
                      </a:cubicBezTo>
                      <a:cubicBezTo>
                        <a:pt x="39918" y="10321"/>
                        <a:pt x="36950" y="13314"/>
                        <a:pt x="33260" y="13314"/>
                      </a:cubicBezTo>
                      <a:close/>
                    </a:path>
                  </a:pathLst>
                </a:custGeom>
                <a:grpFill/>
                <a:ln w="2573" cap="flat">
                  <a:noFill/>
                  <a:prstDash val="solid"/>
                  <a:miter/>
                </a:ln>
              </p:spPr>
              <p:txBody>
                <a:bodyPr rtlCol="0" anchor="ctr"/>
                <a:lstStyle/>
                <a:p>
                  <a:endParaRPr lang="en-GB" dirty="0"/>
                </a:p>
              </p:txBody>
            </p:sp>
          </p:grpSp>
          <p:sp>
            <p:nvSpPr>
              <p:cNvPr id="1359" name="Freihandform: Form 1358">
                <a:extLst>
                  <a:ext uri="{FF2B5EF4-FFF2-40B4-BE49-F238E27FC236}">
                    <a16:creationId xmlns:a16="http://schemas.microsoft.com/office/drawing/2014/main" id="{098168C5-9527-41B1-B3B9-F85CF199877A}"/>
                  </a:ext>
                </a:extLst>
              </p:cNvPr>
              <p:cNvSpPr/>
              <p:nvPr/>
            </p:nvSpPr>
            <p:spPr>
              <a:xfrm>
                <a:off x="2548111" y="3455868"/>
                <a:ext cx="438989" cy="13314"/>
              </a:xfrm>
              <a:custGeom>
                <a:avLst/>
                <a:gdLst>
                  <a:gd name="connsiteX0" fmla="*/ 432358 w 438989"/>
                  <a:gd name="connsiteY0" fmla="*/ 13315 h 13314"/>
                  <a:gd name="connsiteX1" fmla="*/ 6657 w 438989"/>
                  <a:gd name="connsiteY1" fmla="*/ 13315 h 13314"/>
                  <a:gd name="connsiteX2" fmla="*/ 0 w 438989"/>
                  <a:gd name="connsiteY2" fmla="*/ 6657 h 13314"/>
                  <a:gd name="connsiteX3" fmla="*/ 6657 w 438989"/>
                  <a:gd name="connsiteY3" fmla="*/ 0 h 13314"/>
                  <a:gd name="connsiteX4" fmla="*/ 432332 w 438989"/>
                  <a:gd name="connsiteY4" fmla="*/ 0 h 13314"/>
                  <a:gd name="connsiteX5" fmla="*/ 438990 w 438989"/>
                  <a:gd name="connsiteY5" fmla="*/ 6657 h 13314"/>
                  <a:gd name="connsiteX6" fmla="*/ 432358 w 438989"/>
                  <a:gd name="connsiteY6" fmla="*/ 13315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8989" h="13314">
                    <a:moveTo>
                      <a:pt x="432358" y="13315"/>
                    </a:moveTo>
                    <a:lnTo>
                      <a:pt x="6657" y="13315"/>
                    </a:lnTo>
                    <a:cubicBezTo>
                      <a:pt x="2993" y="13315"/>
                      <a:pt x="0" y="10347"/>
                      <a:pt x="0" y="6657"/>
                    </a:cubicBezTo>
                    <a:cubicBezTo>
                      <a:pt x="0" y="2993"/>
                      <a:pt x="2967" y="0"/>
                      <a:pt x="6657" y="0"/>
                    </a:cubicBezTo>
                    <a:lnTo>
                      <a:pt x="432332" y="0"/>
                    </a:lnTo>
                    <a:cubicBezTo>
                      <a:pt x="435997" y="0"/>
                      <a:pt x="438990" y="2967"/>
                      <a:pt x="438990" y="6657"/>
                    </a:cubicBezTo>
                    <a:cubicBezTo>
                      <a:pt x="439015" y="10347"/>
                      <a:pt x="436022" y="13315"/>
                      <a:pt x="432358" y="13315"/>
                    </a:cubicBezTo>
                    <a:close/>
                  </a:path>
                </a:pathLst>
              </a:custGeom>
              <a:grpFill/>
              <a:ln w="2573" cap="flat">
                <a:noFill/>
                <a:prstDash val="solid"/>
                <a:miter/>
              </a:ln>
            </p:spPr>
            <p:txBody>
              <a:bodyPr rtlCol="0" anchor="ctr"/>
              <a:lstStyle/>
              <a:p>
                <a:endParaRPr lang="en-GB" dirty="0"/>
              </a:p>
            </p:txBody>
          </p:sp>
        </p:grpSp>
      </p:grpSp>
      <p:sp>
        <p:nvSpPr>
          <p:cNvPr id="1373" name="TextBox 1427">
            <a:extLst>
              <a:ext uri="{FF2B5EF4-FFF2-40B4-BE49-F238E27FC236}">
                <a16:creationId xmlns:a16="http://schemas.microsoft.com/office/drawing/2014/main" id="{14AAA734-034F-44F6-9FA7-5E580E655A35}"/>
              </a:ext>
            </a:extLst>
          </p:cNvPr>
          <p:cNvSpPr txBox="1"/>
          <p:nvPr/>
        </p:nvSpPr>
        <p:spPr>
          <a:xfrm>
            <a:off x="2575539" y="3723675"/>
            <a:ext cx="618759" cy="107722"/>
          </a:xfrm>
          <a:prstGeom prst="rect">
            <a:avLst/>
          </a:prstGeom>
          <a:noFill/>
          <a:effectLst/>
        </p:spPr>
        <p:txBody>
          <a:bodyPr wrap="none" lIns="0" tIns="0" rIns="0" bIns="0" rtlCol="0" anchor="t" anchorCtr="0">
            <a:spAutoFit/>
          </a:bodyPr>
          <a:lstStyle/>
          <a:p>
            <a:pPr algn="ctr"/>
            <a:r>
              <a:rPr lang="en-GB" sz="700" dirty="0">
                <a:solidFill>
                  <a:schemeClr val="tx2"/>
                </a:solidFill>
              </a:rPr>
              <a:t>Advertisements</a:t>
            </a:r>
          </a:p>
        </p:txBody>
      </p:sp>
      <p:grpSp>
        <p:nvGrpSpPr>
          <p:cNvPr id="45" name="Group 44">
            <a:extLst>
              <a:ext uri="{FF2B5EF4-FFF2-40B4-BE49-F238E27FC236}">
                <a16:creationId xmlns:a16="http://schemas.microsoft.com/office/drawing/2014/main" id="{55E19077-5703-134D-4BA3-DE1597BC0825}"/>
              </a:ext>
            </a:extLst>
          </p:cNvPr>
          <p:cNvGrpSpPr/>
          <p:nvPr/>
        </p:nvGrpSpPr>
        <p:grpSpPr>
          <a:xfrm>
            <a:off x="588142" y="3273397"/>
            <a:ext cx="457170" cy="432000"/>
            <a:chOff x="588142" y="3273397"/>
            <a:chExt cx="457170" cy="432000"/>
          </a:xfrm>
        </p:grpSpPr>
        <p:grpSp>
          <p:nvGrpSpPr>
            <p:cNvPr id="1375" name="Grafik 312">
              <a:extLst>
                <a:ext uri="{FF2B5EF4-FFF2-40B4-BE49-F238E27FC236}">
                  <a16:creationId xmlns:a16="http://schemas.microsoft.com/office/drawing/2014/main" id="{B3DA484C-F986-4257-8126-9477CB2833F5}"/>
                </a:ext>
              </a:extLst>
            </p:cNvPr>
            <p:cNvGrpSpPr/>
            <p:nvPr/>
          </p:nvGrpSpPr>
          <p:grpSpPr>
            <a:xfrm>
              <a:off x="596521" y="3439212"/>
              <a:ext cx="435019" cy="266185"/>
              <a:chOff x="866492" y="3500275"/>
              <a:chExt cx="417856" cy="255683"/>
            </a:xfrm>
            <a:solidFill>
              <a:schemeClr val="tx2"/>
            </a:solidFill>
          </p:grpSpPr>
          <p:grpSp>
            <p:nvGrpSpPr>
              <p:cNvPr id="1380" name="Grafik 312">
                <a:extLst>
                  <a:ext uri="{FF2B5EF4-FFF2-40B4-BE49-F238E27FC236}">
                    <a16:creationId xmlns:a16="http://schemas.microsoft.com/office/drawing/2014/main" id="{3E1713BB-969D-450E-9072-63C854320C8C}"/>
                  </a:ext>
                </a:extLst>
              </p:cNvPr>
              <p:cNvGrpSpPr/>
              <p:nvPr/>
            </p:nvGrpSpPr>
            <p:grpSpPr>
              <a:xfrm>
                <a:off x="981110" y="3565635"/>
                <a:ext cx="190324" cy="190324"/>
                <a:chOff x="981110" y="3565635"/>
                <a:chExt cx="190324" cy="190324"/>
              </a:xfrm>
              <a:grpFill/>
            </p:grpSpPr>
            <p:sp>
              <p:nvSpPr>
                <p:cNvPr id="1391" name="Freihandform: Form 1390">
                  <a:extLst>
                    <a:ext uri="{FF2B5EF4-FFF2-40B4-BE49-F238E27FC236}">
                      <a16:creationId xmlns:a16="http://schemas.microsoft.com/office/drawing/2014/main" id="{3EEE3B92-C1E9-4431-AA33-A302F9EDC614}"/>
                    </a:ext>
                  </a:extLst>
                </p:cNvPr>
                <p:cNvSpPr/>
                <p:nvPr/>
              </p:nvSpPr>
              <p:spPr>
                <a:xfrm>
                  <a:off x="981110" y="3565635"/>
                  <a:ext cx="190324" cy="190324"/>
                </a:xfrm>
                <a:custGeom>
                  <a:avLst/>
                  <a:gdLst>
                    <a:gd name="connsiteX0" fmla="*/ 95162 w 190324"/>
                    <a:gd name="connsiteY0" fmla="*/ 190324 h 190324"/>
                    <a:gd name="connsiteX1" fmla="*/ 0 w 190324"/>
                    <a:gd name="connsiteY1" fmla="*/ 95162 h 190324"/>
                    <a:gd name="connsiteX2" fmla="*/ 95162 w 190324"/>
                    <a:gd name="connsiteY2" fmla="*/ 0 h 190324"/>
                    <a:gd name="connsiteX3" fmla="*/ 190324 w 190324"/>
                    <a:gd name="connsiteY3" fmla="*/ 95162 h 190324"/>
                    <a:gd name="connsiteX4" fmla="*/ 95162 w 190324"/>
                    <a:gd name="connsiteY4" fmla="*/ 190324 h 190324"/>
                    <a:gd name="connsiteX5" fmla="*/ 95162 w 190324"/>
                    <a:gd name="connsiteY5" fmla="*/ 13289 h 190324"/>
                    <a:gd name="connsiteX6" fmla="*/ 13289 w 190324"/>
                    <a:gd name="connsiteY6" fmla="*/ 95162 h 190324"/>
                    <a:gd name="connsiteX7" fmla="*/ 95162 w 190324"/>
                    <a:gd name="connsiteY7" fmla="*/ 177036 h 190324"/>
                    <a:gd name="connsiteX8" fmla="*/ 177036 w 190324"/>
                    <a:gd name="connsiteY8" fmla="*/ 95162 h 190324"/>
                    <a:gd name="connsiteX9" fmla="*/ 95162 w 190324"/>
                    <a:gd name="connsiteY9" fmla="*/ 13289 h 190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324" h="190324">
                      <a:moveTo>
                        <a:pt x="95162" y="190324"/>
                      </a:moveTo>
                      <a:cubicBezTo>
                        <a:pt x="42678" y="190324"/>
                        <a:pt x="0" y="147620"/>
                        <a:pt x="0" y="95162"/>
                      </a:cubicBezTo>
                      <a:cubicBezTo>
                        <a:pt x="0" y="42679"/>
                        <a:pt x="42678" y="0"/>
                        <a:pt x="95162" y="0"/>
                      </a:cubicBezTo>
                      <a:cubicBezTo>
                        <a:pt x="147646" y="0"/>
                        <a:pt x="190324" y="42679"/>
                        <a:pt x="190324" y="95162"/>
                      </a:cubicBezTo>
                      <a:cubicBezTo>
                        <a:pt x="190324" y="147620"/>
                        <a:pt x="147646" y="190324"/>
                        <a:pt x="95162" y="190324"/>
                      </a:cubicBezTo>
                      <a:close/>
                      <a:moveTo>
                        <a:pt x="95162" y="13289"/>
                      </a:moveTo>
                      <a:cubicBezTo>
                        <a:pt x="50032" y="13289"/>
                        <a:pt x="13289" y="50007"/>
                        <a:pt x="13289" y="95162"/>
                      </a:cubicBezTo>
                      <a:cubicBezTo>
                        <a:pt x="13289" y="140318"/>
                        <a:pt x="50007" y="177036"/>
                        <a:pt x="95162" y="177036"/>
                      </a:cubicBezTo>
                      <a:cubicBezTo>
                        <a:pt x="140292" y="177036"/>
                        <a:pt x="177036" y="140318"/>
                        <a:pt x="177036" y="95162"/>
                      </a:cubicBezTo>
                      <a:cubicBezTo>
                        <a:pt x="177036" y="50007"/>
                        <a:pt x="140318" y="13289"/>
                        <a:pt x="95162" y="13289"/>
                      </a:cubicBezTo>
                      <a:close/>
                    </a:path>
                  </a:pathLst>
                </a:custGeom>
                <a:grpFill/>
                <a:ln w="2573" cap="flat">
                  <a:noFill/>
                  <a:prstDash val="solid"/>
                  <a:miter/>
                </a:ln>
              </p:spPr>
              <p:txBody>
                <a:bodyPr rtlCol="0" anchor="ctr"/>
                <a:lstStyle/>
                <a:p>
                  <a:endParaRPr lang="en-GB" dirty="0"/>
                </a:p>
              </p:txBody>
            </p:sp>
            <p:grpSp>
              <p:nvGrpSpPr>
                <p:cNvPr id="1392" name="Grafik 312">
                  <a:extLst>
                    <a:ext uri="{FF2B5EF4-FFF2-40B4-BE49-F238E27FC236}">
                      <a16:creationId xmlns:a16="http://schemas.microsoft.com/office/drawing/2014/main" id="{03137EBF-019B-4157-859E-D0BACE544776}"/>
                    </a:ext>
                  </a:extLst>
                </p:cNvPr>
                <p:cNvGrpSpPr/>
                <p:nvPr/>
              </p:nvGrpSpPr>
              <p:grpSpPr>
                <a:xfrm>
                  <a:off x="1016011" y="3612622"/>
                  <a:ext cx="120538" cy="27299"/>
                  <a:chOff x="1016011" y="3612622"/>
                  <a:chExt cx="120538" cy="27299"/>
                </a:xfrm>
                <a:grpFill/>
              </p:grpSpPr>
              <p:sp>
                <p:nvSpPr>
                  <p:cNvPr id="1394" name="Freihandform: Form 1393">
                    <a:extLst>
                      <a:ext uri="{FF2B5EF4-FFF2-40B4-BE49-F238E27FC236}">
                        <a16:creationId xmlns:a16="http://schemas.microsoft.com/office/drawing/2014/main" id="{55476D9C-45A8-481A-991C-DC16FB505997}"/>
                      </a:ext>
                    </a:extLst>
                  </p:cNvPr>
                  <p:cNvSpPr/>
                  <p:nvPr/>
                </p:nvSpPr>
                <p:spPr>
                  <a:xfrm>
                    <a:off x="1087150" y="3612622"/>
                    <a:ext cx="49399" cy="27299"/>
                  </a:xfrm>
                  <a:custGeom>
                    <a:avLst/>
                    <a:gdLst>
                      <a:gd name="connsiteX0" fmla="*/ 42740 w 49399"/>
                      <a:gd name="connsiteY0" fmla="*/ 27300 h 27299"/>
                      <a:gd name="connsiteX1" fmla="*/ 36315 w 49399"/>
                      <a:gd name="connsiteY1" fmla="*/ 22294 h 27299"/>
                      <a:gd name="connsiteX2" fmla="*/ 24704 w 49399"/>
                      <a:gd name="connsiteY2" fmla="*/ 13315 h 27299"/>
                      <a:gd name="connsiteX3" fmla="*/ 13093 w 49399"/>
                      <a:gd name="connsiteY3" fmla="*/ 22268 h 27299"/>
                      <a:gd name="connsiteX4" fmla="*/ 4990 w 49399"/>
                      <a:gd name="connsiteY4" fmla="*/ 27042 h 27299"/>
                      <a:gd name="connsiteX5" fmla="*/ 217 w 49399"/>
                      <a:gd name="connsiteY5" fmla="*/ 18940 h 27299"/>
                      <a:gd name="connsiteX6" fmla="*/ 24704 w 49399"/>
                      <a:gd name="connsiteY6" fmla="*/ 0 h 27299"/>
                      <a:gd name="connsiteX7" fmla="*/ 49191 w 49399"/>
                      <a:gd name="connsiteY7" fmla="*/ 18965 h 27299"/>
                      <a:gd name="connsiteX8" fmla="*/ 44418 w 49399"/>
                      <a:gd name="connsiteY8" fmla="*/ 27068 h 27299"/>
                      <a:gd name="connsiteX9" fmla="*/ 42740 w 49399"/>
                      <a:gd name="connsiteY9" fmla="*/ 27300 h 2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399" h="27299">
                        <a:moveTo>
                          <a:pt x="42740" y="27300"/>
                        </a:moveTo>
                        <a:cubicBezTo>
                          <a:pt x="39773" y="27300"/>
                          <a:pt x="37064" y="25313"/>
                          <a:pt x="36315" y="22294"/>
                        </a:cubicBezTo>
                        <a:cubicBezTo>
                          <a:pt x="34948" y="17004"/>
                          <a:pt x="30174" y="13315"/>
                          <a:pt x="24704" y="13315"/>
                        </a:cubicBezTo>
                        <a:cubicBezTo>
                          <a:pt x="19234" y="13315"/>
                          <a:pt x="14460" y="17004"/>
                          <a:pt x="13093" y="22268"/>
                        </a:cubicBezTo>
                        <a:cubicBezTo>
                          <a:pt x="12164" y="25829"/>
                          <a:pt x="8551" y="27996"/>
                          <a:pt x="4990" y="27042"/>
                        </a:cubicBezTo>
                        <a:cubicBezTo>
                          <a:pt x="1430" y="26113"/>
                          <a:pt x="-712" y="22500"/>
                          <a:pt x="217" y="18940"/>
                        </a:cubicBezTo>
                        <a:cubicBezTo>
                          <a:pt x="3107" y="7793"/>
                          <a:pt x="13170" y="0"/>
                          <a:pt x="24704" y="0"/>
                        </a:cubicBezTo>
                        <a:cubicBezTo>
                          <a:pt x="36238" y="0"/>
                          <a:pt x="46327" y="7793"/>
                          <a:pt x="49191" y="18965"/>
                        </a:cubicBezTo>
                        <a:cubicBezTo>
                          <a:pt x="50094" y="22526"/>
                          <a:pt x="47979" y="26139"/>
                          <a:pt x="44418" y="27068"/>
                        </a:cubicBezTo>
                        <a:cubicBezTo>
                          <a:pt x="43824" y="27222"/>
                          <a:pt x="43282" y="27300"/>
                          <a:pt x="42740" y="27300"/>
                        </a:cubicBezTo>
                        <a:close/>
                      </a:path>
                    </a:pathLst>
                  </a:custGeom>
                  <a:grpFill/>
                  <a:ln w="2573" cap="flat">
                    <a:noFill/>
                    <a:prstDash val="solid"/>
                    <a:miter/>
                  </a:ln>
                </p:spPr>
                <p:txBody>
                  <a:bodyPr rtlCol="0" anchor="ctr"/>
                  <a:lstStyle/>
                  <a:p>
                    <a:endParaRPr lang="en-GB" dirty="0"/>
                  </a:p>
                </p:txBody>
              </p:sp>
              <p:sp>
                <p:nvSpPr>
                  <p:cNvPr id="1395" name="Freihandform: Form 1394">
                    <a:extLst>
                      <a:ext uri="{FF2B5EF4-FFF2-40B4-BE49-F238E27FC236}">
                        <a16:creationId xmlns:a16="http://schemas.microsoft.com/office/drawing/2014/main" id="{A1C33BCB-AA33-4CFB-BD64-100730ECF0B4}"/>
                      </a:ext>
                    </a:extLst>
                  </p:cNvPr>
                  <p:cNvSpPr/>
                  <p:nvPr/>
                </p:nvSpPr>
                <p:spPr>
                  <a:xfrm>
                    <a:off x="1016011" y="3612622"/>
                    <a:ext cx="49399" cy="27299"/>
                  </a:xfrm>
                  <a:custGeom>
                    <a:avLst/>
                    <a:gdLst>
                      <a:gd name="connsiteX0" fmla="*/ 42740 w 49399"/>
                      <a:gd name="connsiteY0" fmla="*/ 27300 h 27299"/>
                      <a:gd name="connsiteX1" fmla="*/ 36316 w 49399"/>
                      <a:gd name="connsiteY1" fmla="*/ 22294 h 27299"/>
                      <a:gd name="connsiteX2" fmla="*/ 24704 w 49399"/>
                      <a:gd name="connsiteY2" fmla="*/ 13315 h 27299"/>
                      <a:gd name="connsiteX3" fmla="*/ 13093 w 49399"/>
                      <a:gd name="connsiteY3" fmla="*/ 22268 h 27299"/>
                      <a:gd name="connsiteX4" fmla="*/ 4990 w 49399"/>
                      <a:gd name="connsiteY4" fmla="*/ 27042 h 27299"/>
                      <a:gd name="connsiteX5" fmla="*/ 217 w 49399"/>
                      <a:gd name="connsiteY5" fmla="*/ 18940 h 27299"/>
                      <a:gd name="connsiteX6" fmla="*/ 24704 w 49399"/>
                      <a:gd name="connsiteY6" fmla="*/ 0 h 27299"/>
                      <a:gd name="connsiteX7" fmla="*/ 49191 w 49399"/>
                      <a:gd name="connsiteY7" fmla="*/ 18965 h 27299"/>
                      <a:gd name="connsiteX8" fmla="*/ 44418 w 49399"/>
                      <a:gd name="connsiteY8" fmla="*/ 27068 h 27299"/>
                      <a:gd name="connsiteX9" fmla="*/ 42740 w 49399"/>
                      <a:gd name="connsiteY9" fmla="*/ 27300 h 27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399" h="27299">
                        <a:moveTo>
                          <a:pt x="42740" y="27300"/>
                        </a:moveTo>
                        <a:cubicBezTo>
                          <a:pt x="39773" y="27300"/>
                          <a:pt x="37064" y="25313"/>
                          <a:pt x="36316" y="22294"/>
                        </a:cubicBezTo>
                        <a:cubicBezTo>
                          <a:pt x="34948" y="17004"/>
                          <a:pt x="30174" y="13315"/>
                          <a:pt x="24704" y="13315"/>
                        </a:cubicBezTo>
                        <a:cubicBezTo>
                          <a:pt x="19234" y="13315"/>
                          <a:pt x="14460" y="17004"/>
                          <a:pt x="13093" y="22268"/>
                        </a:cubicBezTo>
                        <a:cubicBezTo>
                          <a:pt x="12164" y="25829"/>
                          <a:pt x="8551" y="27996"/>
                          <a:pt x="4990" y="27042"/>
                        </a:cubicBezTo>
                        <a:cubicBezTo>
                          <a:pt x="1430" y="26139"/>
                          <a:pt x="-712" y="22500"/>
                          <a:pt x="217" y="18940"/>
                        </a:cubicBezTo>
                        <a:cubicBezTo>
                          <a:pt x="3107" y="7793"/>
                          <a:pt x="13170" y="0"/>
                          <a:pt x="24704" y="0"/>
                        </a:cubicBezTo>
                        <a:cubicBezTo>
                          <a:pt x="36238" y="0"/>
                          <a:pt x="46327" y="7793"/>
                          <a:pt x="49191" y="18965"/>
                        </a:cubicBezTo>
                        <a:cubicBezTo>
                          <a:pt x="50094" y="22526"/>
                          <a:pt x="47979" y="26139"/>
                          <a:pt x="44418" y="27068"/>
                        </a:cubicBezTo>
                        <a:cubicBezTo>
                          <a:pt x="43850" y="27222"/>
                          <a:pt x="43308" y="27300"/>
                          <a:pt x="42740" y="27300"/>
                        </a:cubicBezTo>
                        <a:close/>
                      </a:path>
                    </a:pathLst>
                  </a:custGeom>
                  <a:grpFill/>
                  <a:ln w="2573" cap="flat">
                    <a:noFill/>
                    <a:prstDash val="solid"/>
                    <a:miter/>
                  </a:ln>
                </p:spPr>
                <p:txBody>
                  <a:bodyPr rtlCol="0" anchor="ctr"/>
                  <a:lstStyle/>
                  <a:p>
                    <a:endParaRPr lang="en-GB" dirty="0"/>
                  </a:p>
                </p:txBody>
              </p:sp>
            </p:grpSp>
            <p:sp>
              <p:nvSpPr>
                <p:cNvPr id="1393" name="Freihandform: Form 1392">
                  <a:extLst>
                    <a:ext uri="{FF2B5EF4-FFF2-40B4-BE49-F238E27FC236}">
                      <a16:creationId xmlns:a16="http://schemas.microsoft.com/office/drawing/2014/main" id="{420C9470-B18E-4C7A-97BF-EBC70A2CBCE6}"/>
                    </a:ext>
                  </a:extLst>
                </p:cNvPr>
                <p:cNvSpPr/>
                <p:nvPr/>
              </p:nvSpPr>
              <p:spPr>
                <a:xfrm>
                  <a:off x="1022266" y="3665338"/>
                  <a:ext cx="108037" cy="60663"/>
                </a:xfrm>
                <a:custGeom>
                  <a:avLst/>
                  <a:gdLst>
                    <a:gd name="connsiteX0" fmla="*/ 54006 w 108037"/>
                    <a:gd name="connsiteY0" fmla="*/ 60663 h 60663"/>
                    <a:gd name="connsiteX1" fmla="*/ 0 w 108037"/>
                    <a:gd name="connsiteY1" fmla="*/ 6657 h 60663"/>
                    <a:gd name="connsiteX2" fmla="*/ 0 w 108037"/>
                    <a:gd name="connsiteY2" fmla="*/ 0 h 60663"/>
                    <a:gd name="connsiteX3" fmla="*/ 108038 w 108037"/>
                    <a:gd name="connsiteY3" fmla="*/ 0 h 60663"/>
                    <a:gd name="connsiteX4" fmla="*/ 108038 w 108037"/>
                    <a:gd name="connsiteY4" fmla="*/ 6657 h 60663"/>
                    <a:gd name="connsiteX5" fmla="*/ 54006 w 108037"/>
                    <a:gd name="connsiteY5" fmla="*/ 60663 h 60663"/>
                    <a:gd name="connsiteX6" fmla="*/ 13831 w 108037"/>
                    <a:gd name="connsiteY6" fmla="*/ 13315 h 60663"/>
                    <a:gd name="connsiteX7" fmla="*/ 54006 w 108037"/>
                    <a:gd name="connsiteY7" fmla="*/ 47375 h 60663"/>
                    <a:gd name="connsiteX8" fmla="*/ 94182 w 108037"/>
                    <a:gd name="connsiteY8" fmla="*/ 13315 h 60663"/>
                    <a:gd name="connsiteX9" fmla="*/ 13831 w 108037"/>
                    <a:gd name="connsiteY9" fmla="*/ 13315 h 6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037" h="60663">
                      <a:moveTo>
                        <a:pt x="54006" y="60663"/>
                      </a:moveTo>
                      <a:cubicBezTo>
                        <a:pt x="24229" y="60663"/>
                        <a:pt x="0" y="36434"/>
                        <a:pt x="0" y="6657"/>
                      </a:cubicBezTo>
                      <a:lnTo>
                        <a:pt x="0" y="0"/>
                      </a:lnTo>
                      <a:lnTo>
                        <a:pt x="108038" y="0"/>
                      </a:lnTo>
                      <a:lnTo>
                        <a:pt x="108038" y="6657"/>
                      </a:lnTo>
                      <a:cubicBezTo>
                        <a:pt x="108038" y="36434"/>
                        <a:pt x="83783" y="60663"/>
                        <a:pt x="54006" y="60663"/>
                      </a:cubicBezTo>
                      <a:close/>
                      <a:moveTo>
                        <a:pt x="13831" y="13315"/>
                      </a:moveTo>
                      <a:cubicBezTo>
                        <a:pt x="17004" y="32615"/>
                        <a:pt x="33828" y="47375"/>
                        <a:pt x="54006" y="47375"/>
                      </a:cubicBezTo>
                      <a:cubicBezTo>
                        <a:pt x="74184" y="47375"/>
                        <a:pt x="90982" y="32615"/>
                        <a:pt x="94182" y="13315"/>
                      </a:cubicBezTo>
                      <a:lnTo>
                        <a:pt x="13831" y="13315"/>
                      </a:lnTo>
                      <a:close/>
                    </a:path>
                  </a:pathLst>
                </a:custGeom>
                <a:grpFill/>
                <a:ln w="2573" cap="flat">
                  <a:noFill/>
                  <a:prstDash val="solid"/>
                  <a:miter/>
                </a:ln>
              </p:spPr>
              <p:txBody>
                <a:bodyPr rtlCol="0" anchor="ctr"/>
                <a:lstStyle/>
                <a:p>
                  <a:endParaRPr lang="en-GB" dirty="0"/>
                </a:p>
              </p:txBody>
            </p:sp>
          </p:grpSp>
          <p:grpSp>
            <p:nvGrpSpPr>
              <p:cNvPr id="1381" name="Grafik 312">
                <a:extLst>
                  <a:ext uri="{FF2B5EF4-FFF2-40B4-BE49-F238E27FC236}">
                    <a16:creationId xmlns:a16="http://schemas.microsoft.com/office/drawing/2014/main" id="{6ABE55D4-7606-4822-9308-2FAC0D93D4BA}"/>
                  </a:ext>
                </a:extLst>
              </p:cNvPr>
              <p:cNvGrpSpPr/>
              <p:nvPr/>
            </p:nvGrpSpPr>
            <p:grpSpPr>
              <a:xfrm>
                <a:off x="1128085" y="3500327"/>
                <a:ext cx="156264" cy="157038"/>
                <a:chOff x="1128085" y="3500327"/>
                <a:chExt cx="156264" cy="157038"/>
              </a:xfrm>
              <a:grpFill/>
            </p:grpSpPr>
            <p:sp>
              <p:nvSpPr>
                <p:cNvPr id="1387" name="Freihandform: Form 1386">
                  <a:extLst>
                    <a:ext uri="{FF2B5EF4-FFF2-40B4-BE49-F238E27FC236}">
                      <a16:creationId xmlns:a16="http://schemas.microsoft.com/office/drawing/2014/main" id="{956F38E8-E644-404F-A0EA-4F11CBB1464D}"/>
                    </a:ext>
                  </a:extLst>
                </p:cNvPr>
                <p:cNvSpPr/>
                <p:nvPr/>
              </p:nvSpPr>
              <p:spPr>
                <a:xfrm>
                  <a:off x="1128085" y="3500327"/>
                  <a:ext cx="156264" cy="157038"/>
                </a:xfrm>
                <a:custGeom>
                  <a:avLst/>
                  <a:gdLst>
                    <a:gd name="connsiteX0" fmla="*/ 78158 w 156264"/>
                    <a:gd name="connsiteY0" fmla="*/ 157038 h 157038"/>
                    <a:gd name="connsiteX1" fmla="*/ 28100 w 156264"/>
                    <a:gd name="connsiteY1" fmla="*/ 138795 h 157038"/>
                    <a:gd name="connsiteX2" fmla="*/ 27274 w 156264"/>
                    <a:gd name="connsiteY2" fmla="*/ 129429 h 157038"/>
                    <a:gd name="connsiteX3" fmla="*/ 36641 w 156264"/>
                    <a:gd name="connsiteY3" fmla="*/ 128629 h 157038"/>
                    <a:gd name="connsiteX4" fmla="*/ 78132 w 156264"/>
                    <a:gd name="connsiteY4" fmla="*/ 143750 h 157038"/>
                    <a:gd name="connsiteX5" fmla="*/ 142950 w 156264"/>
                    <a:gd name="connsiteY5" fmla="*/ 78519 h 157038"/>
                    <a:gd name="connsiteX6" fmla="*/ 78132 w 156264"/>
                    <a:gd name="connsiteY6" fmla="*/ 13289 h 157038"/>
                    <a:gd name="connsiteX7" fmla="*/ 13314 w 156264"/>
                    <a:gd name="connsiteY7" fmla="*/ 78519 h 157038"/>
                    <a:gd name="connsiteX8" fmla="*/ 14966 w 156264"/>
                    <a:gd name="connsiteY8" fmla="*/ 93227 h 157038"/>
                    <a:gd name="connsiteX9" fmla="*/ 9960 w 156264"/>
                    <a:gd name="connsiteY9" fmla="*/ 101200 h 157038"/>
                    <a:gd name="connsiteX10" fmla="*/ 1987 w 156264"/>
                    <a:gd name="connsiteY10" fmla="*/ 96194 h 157038"/>
                    <a:gd name="connsiteX11" fmla="*/ 0 w 156264"/>
                    <a:gd name="connsiteY11" fmla="*/ 78545 h 157038"/>
                    <a:gd name="connsiteX12" fmla="*/ 78132 w 156264"/>
                    <a:gd name="connsiteY12" fmla="*/ 0 h 157038"/>
                    <a:gd name="connsiteX13" fmla="*/ 156264 w 156264"/>
                    <a:gd name="connsiteY13" fmla="*/ 78545 h 157038"/>
                    <a:gd name="connsiteX14" fmla="*/ 78158 w 156264"/>
                    <a:gd name="connsiteY14" fmla="*/ 157038 h 15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264" h="157038">
                      <a:moveTo>
                        <a:pt x="78158" y="157038"/>
                      </a:moveTo>
                      <a:cubicBezTo>
                        <a:pt x="59889" y="157038"/>
                        <a:pt x="42111" y="150562"/>
                        <a:pt x="28100" y="138795"/>
                      </a:cubicBezTo>
                      <a:cubicBezTo>
                        <a:pt x="25287" y="136421"/>
                        <a:pt x="24926" y="132241"/>
                        <a:pt x="27274" y="129429"/>
                      </a:cubicBezTo>
                      <a:cubicBezTo>
                        <a:pt x="29648" y="126616"/>
                        <a:pt x="33828" y="126255"/>
                        <a:pt x="36641" y="128629"/>
                      </a:cubicBezTo>
                      <a:cubicBezTo>
                        <a:pt x="48252" y="138383"/>
                        <a:pt x="62986" y="143750"/>
                        <a:pt x="78132" y="143750"/>
                      </a:cubicBezTo>
                      <a:cubicBezTo>
                        <a:pt x="113869" y="143750"/>
                        <a:pt x="142950" y="114489"/>
                        <a:pt x="142950" y="78519"/>
                      </a:cubicBezTo>
                      <a:cubicBezTo>
                        <a:pt x="142950" y="42550"/>
                        <a:pt x="113869" y="13289"/>
                        <a:pt x="78132" y="13289"/>
                      </a:cubicBezTo>
                      <a:cubicBezTo>
                        <a:pt x="42395" y="13289"/>
                        <a:pt x="13314" y="42550"/>
                        <a:pt x="13314" y="78519"/>
                      </a:cubicBezTo>
                      <a:cubicBezTo>
                        <a:pt x="13314" y="83499"/>
                        <a:pt x="13882" y="88428"/>
                        <a:pt x="14966" y="93227"/>
                      </a:cubicBezTo>
                      <a:cubicBezTo>
                        <a:pt x="15792" y="96814"/>
                        <a:pt x="13547" y="100374"/>
                        <a:pt x="9960" y="101200"/>
                      </a:cubicBezTo>
                      <a:cubicBezTo>
                        <a:pt x="6373" y="102052"/>
                        <a:pt x="2813" y="99781"/>
                        <a:pt x="1987" y="96194"/>
                      </a:cubicBezTo>
                      <a:cubicBezTo>
                        <a:pt x="671" y="90440"/>
                        <a:pt x="0" y="84505"/>
                        <a:pt x="0" y="78545"/>
                      </a:cubicBezTo>
                      <a:cubicBezTo>
                        <a:pt x="0" y="35247"/>
                        <a:pt x="35041" y="0"/>
                        <a:pt x="78132" y="0"/>
                      </a:cubicBezTo>
                      <a:cubicBezTo>
                        <a:pt x="121198" y="0"/>
                        <a:pt x="156264" y="35221"/>
                        <a:pt x="156264" y="78545"/>
                      </a:cubicBezTo>
                      <a:cubicBezTo>
                        <a:pt x="156290" y="121791"/>
                        <a:pt x="121249" y="157038"/>
                        <a:pt x="78158" y="157038"/>
                      </a:cubicBezTo>
                      <a:close/>
                    </a:path>
                  </a:pathLst>
                </a:custGeom>
                <a:grpFill/>
                <a:ln w="2573" cap="flat">
                  <a:noFill/>
                  <a:prstDash val="solid"/>
                  <a:miter/>
                </a:ln>
              </p:spPr>
              <p:txBody>
                <a:bodyPr rtlCol="0" anchor="ctr"/>
                <a:lstStyle/>
                <a:p>
                  <a:endParaRPr lang="en-GB" dirty="0"/>
                </a:p>
              </p:txBody>
            </p:sp>
            <p:sp>
              <p:nvSpPr>
                <p:cNvPr id="1388" name="Freihandform: Form 1387">
                  <a:extLst>
                    <a:ext uri="{FF2B5EF4-FFF2-40B4-BE49-F238E27FC236}">
                      <a16:creationId xmlns:a16="http://schemas.microsoft.com/office/drawing/2014/main" id="{F2E0A05C-8081-4EB1-884A-5C31B5AE99B3}"/>
                    </a:ext>
                  </a:extLst>
                </p:cNvPr>
                <p:cNvSpPr/>
                <p:nvPr/>
              </p:nvSpPr>
              <p:spPr>
                <a:xfrm>
                  <a:off x="1169682" y="3595543"/>
                  <a:ext cx="73947" cy="28097"/>
                </a:xfrm>
                <a:custGeom>
                  <a:avLst/>
                  <a:gdLst>
                    <a:gd name="connsiteX0" fmla="*/ 36974 w 73947"/>
                    <a:gd name="connsiteY0" fmla="*/ 28097 h 28097"/>
                    <a:gd name="connsiteX1" fmla="*/ 1417 w 73947"/>
                    <a:gd name="connsiteY1" fmla="*/ 10758 h 28097"/>
                    <a:gd name="connsiteX2" fmla="*/ 2552 w 73947"/>
                    <a:gd name="connsiteY2" fmla="*/ 1417 h 28097"/>
                    <a:gd name="connsiteX3" fmla="*/ 11893 w 73947"/>
                    <a:gd name="connsiteY3" fmla="*/ 2552 h 28097"/>
                    <a:gd name="connsiteX4" fmla="*/ 36974 w 73947"/>
                    <a:gd name="connsiteY4" fmla="*/ 14809 h 28097"/>
                    <a:gd name="connsiteX5" fmla="*/ 62054 w 73947"/>
                    <a:gd name="connsiteY5" fmla="*/ 2552 h 28097"/>
                    <a:gd name="connsiteX6" fmla="*/ 71395 w 73947"/>
                    <a:gd name="connsiteY6" fmla="*/ 1417 h 28097"/>
                    <a:gd name="connsiteX7" fmla="*/ 72530 w 73947"/>
                    <a:gd name="connsiteY7" fmla="*/ 10758 h 28097"/>
                    <a:gd name="connsiteX8" fmla="*/ 36974 w 73947"/>
                    <a:gd name="connsiteY8" fmla="*/ 28097 h 2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47" h="28097">
                      <a:moveTo>
                        <a:pt x="36974" y="28097"/>
                      </a:moveTo>
                      <a:cubicBezTo>
                        <a:pt x="22988" y="28097"/>
                        <a:pt x="10035" y="21776"/>
                        <a:pt x="1417" y="10758"/>
                      </a:cubicBezTo>
                      <a:cubicBezTo>
                        <a:pt x="-854" y="7868"/>
                        <a:pt x="-338" y="3688"/>
                        <a:pt x="2552" y="1417"/>
                      </a:cubicBezTo>
                      <a:cubicBezTo>
                        <a:pt x="5442" y="-854"/>
                        <a:pt x="9622" y="-338"/>
                        <a:pt x="11893" y="2552"/>
                      </a:cubicBezTo>
                      <a:cubicBezTo>
                        <a:pt x="17983" y="10345"/>
                        <a:pt x="27117" y="14809"/>
                        <a:pt x="36974" y="14809"/>
                      </a:cubicBezTo>
                      <a:cubicBezTo>
                        <a:pt x="46831" y="14809"/>
                        <a:pt x="55965" y="10345"/>
                        <a:pt x="62054" y="2552"/>
                      </a:cubicBezTo>
                      <a:cubicBezTo>
                        <a:pt x="64325" y="-338"/>
                        <a:pt x="68505" y="-828"/>
                        <a:pt x="71395" y="1417"/>
                      </a:cubicBezTo>
                      <a:cubicBezTo>
                        <a:pt x="74285" y="3688"/>
                        <a:pt x="74801" y="7868"/>
                        <a:pt x="72530" y="10758"/>
                      </a:cubicBezTo>
                      <a:cubicBezTo>
                        <a:pt x="63912" y="21776"/>
                        <a:pt x="50959" y="28097"/>
                        <a:pt x="36974" y="28097"/>
                      </a:cubicBezTo>
                      <a:close/>
                    </a:path>
                  </a:pathLst>
                </a:custGeom>
                <a:grpFill/>
                <a:ln w="2573" cap="flat">
                  <a:noFill/>
                  <a:prstDash val="solid"/>
                  <a:miter/>
                </a:ln>
              </p:spPr>
              <p:txBody>
                <a:bodyPr rtlCol="0" anchor="ctr"/>
                <a:lstStyle/>
                <a:p>
                  <a:endParaRPr lang="en-GB" dirty="0"/>
                </a:p>
              </p:txBody>
            </p:sp>
            <p:sp>
              <p:nvSpPr>
                <p:cNvPr id="1389" name="Freihandform: Form 1388">
                  <a:extLst>
                    <a:ext uri="{FF2B5EF4-FFF2-40B4-BE49-F238E27FC236}">
                      <a16:creationId xmlns:a16="http://schemas.microsoft.com/office/drawing/2014/main" id="{74616843-9223-409D-9421-E3D697EBFE6F}"/>
                    </a:ext>
                  </a:extLst>
                </p:cNvPr>
                <p:cNvSpPr/>
                <p:nvPr/>
              </p:nvSpPr>
              <p:spPr>
                <a:xfrm>
                  <a:off x="1161706" y="3556320"/>
                  <a:ext cx="24125" cy="13314"/>
                </a:xfrm>
                <a:custGeom>
                  <a:avLst/>
                  <a:gdLst>
                    <a:gd name="connsiteX0" fmla="*/ 17469 w 24125"/>
                    <a:gd name="connsiteY0" fmla="*/ 13315 h 13314"/>
                    <a:gd name="connsiteX1" fmla="*/ 6657 w 24125"/>
                    <a:gd name="connsiteY1" fmla="*/ 13315 h 13314"/>
                    <a:gd name="connsiteX2" fmla="*/ 0 w 24125"/>
                    <a:gd name="connsiteY2" fmla="*/ 6657 h 13314"/>
                    <a:gd name="connsiteX3" fmla="*/ 6657 w 24125"/>
                    <a:gd name="connsiteY3" fmla="*/ 0 h 13314"/>
                    <a:gd name="connsiteX4" fmla="*/ 17469 w 24125"/>
                    <a:gd name="connsiteY4" fmla="*/ 0 h 13314"/>
                    <a:gd name="connsiteX5" fmla="*/ 24126 w 24125"/>
                    <a:gd name="connsiteY5" fmla="*/ 6657 h 13314"/>
                    <a:gd name="connsiteX6" fmla="*/ 17469 w 24125"/>
                    <a:gd name="connsiteY6" fmla="*/ 13315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5" h="13314">
                      <a:moveTo>
                        <a:pt x="17469" y="13315"/>
                      </a:moveTo>
                      <a:lnTo>
                        <a:pt x="6657" y="13315"/>
                      </a:lnTo>
                      <a:cubicBezTo>
                        <a:pt x="2993" y="13315"/>
                        <a:pt x="0" y="10347"/>
                        <a:pt x="0" y="6657"/>
                      </a:cubicBezTo>
                      <a:cubicBezTo>
                        <a:pt x="0" y="2993"/>
                        <a:pt x="2967" y="0"/>
                        <a:pt x="6657" y="0"/>
                      </a:cubicBezTo>
                      <a:lnTo>
                        <a:pt x="17469" y="0"/>
                      </a:lnTo>
                      <a:cubicBezTo>
                        <a:pt x="21133" y="0"/>
                        <a:pt x="24126" y="2967"/>
                        <a:pt x="24126" y="6657"/>
                      </a:cubicBezTo>
                      <a:cubicBezTo>
                        <a:pt x="24126" y="10321"/>
                        <a:pt x="21133" y="13315"/>
                        <a:pt x="17469" y="13315"/>
                      </a:cubicBezTo>
                      <a:close/>
                    </a:path>
                  </a:pathLst>
                </a:custGeom>
                <a:grpFill/>
                <a:ln w="2573" cap="flat">
                  <a:noFill/>
                  <a:prstDash val="solid"/>
                  <a:miter/>
                </a:ln>
              </p:spPr>
              <p:txBody>
                <a:bodyPr rtlCol="0" anchor="ctr"/>
                <a:lstStyle/>
                <a:p>
                  <a:endParaRPr lang="en-GB" dirty="0"/>
                </a:p>
              </p:txBody>
            </p:sp>
            <p:sp>
              <p:nvSpPr>
                <p:cNvPr id="1390" name="Freihandform: Form 1389">
                  <a:extLst>
                    <a:ext uri="{FF2B5EF4-FFF2-40B4-BE49-F238E27FC236}">
                      <a16:creationId xmlns:a16="http://schemas.microsoft.com/office/drawing/2014/main" id="{AA1EF04E-F806-4EF1-B5D1-AF97B62DA1AB}"/>
                    </a:ext>
                  </a:extLst>
                </p:cNvPr>
                <p:cNvSpPr/>
                <p:nvPr/>
              </p:nvSpPr>
              <p:spPr>
                <a:xfrm>
                  <a:off x="1226524" y="3556320"/>
                  <a:ext cx="24125" cy="13314"/>
                </a:xfrm>
                <a:custGeom>
                  <a:avLst/>
                  <a:gdLst>
                    <a:gd name="connsiteX0" fmla="*/ 17469 w 24125"/>
                    <a:gd name="connsiteY0" fmla="*/ 13315 h 13314"/>
                    <a:gd name="connsiteX1" fmla="*/ 6657 w 24125"/>
                    <a:gd name="connsiteY1" fmla="*/ 13315 h 13314"/>
                    <a:gd name="connsiteX2" fmla="*/ 0 w 24125"/>
                    <a:gd name="connsiteY2" fmla="*/ 6657 h 13314"/>
                    <a:gd name="connsiteX3" fmla="*/ 6657 w 24125"/>
                    <a:gd name="connsiteY3" fmla="*/ 0 h 13314"/>
                    <a:gd name="connsiteX4" fmla="*/ 17469 w 24125"/>
                    <a:gd name="connsiteY4" fmla="*/ 0 h 13314"/>
                    <a:gd name="connsiteX5" fmla="*/ 24126 w 24125"/>
                    <a:gd name="connsiteY5" fmla="*/ 6657 h 13314"/>
                    <a:gd name="connsiteX6" fmla="*/ 17469 w 24125"/>
                    <a:gd name="connsiteY6" fmla="*/ 13315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5" h="13314">
                      <a:moveTo>
                        <a:pt x="17469" y="13315"/>
                      </a:moveTo>
                      <a:lnTo>
                        <a:pt x="6657" y="13315"/>
                      </a:lnTo>
                      <a:cubicBezTo>
                        <a:pt x="2993" y="13315"/>
                        <a:pt x="0" y="10347"/>
                        <a:pt x="0" y="6657"/>
                      </a:cubicBezTo>
                      <a:cubicBezTo>
                        <a:pt x="0" y="2993"/>
                        <a:pt x="2967" y="0"/>
                        <a:pt x="6657" y="0"/>
                      </a:cubicBezTo>
                      <a:lnTo>
                        <a:pt x="17469" y="0"/>
                      </a:lnTo>
                      <a:cubicBezTo>
                        <a:pt x="21133" y="0"/>
                        <a:pt x="24126" y="2967"/>
                        <a:pt x="24126" y="6657"/>
                      </a:cubicBezTo>
                      <a:cubicBezTo>
                        <a:pt x="24126" y="10321"/>
                        <a:pt x="21159" y="13315"/>
                        <a:pt x="17469" y="13315"/>
                      </a:cubicBezTo>
                      <a:close/>
                    </a:path>
                  </a:pathLst>
                </a:custGeom>
                <a:grpFill/>
                <a:ln w="2573" cap="flat">
                  <a:noFill/>
                  <a:prstDash val="solid"/>
                  <a:miter/>
                </a:ln>
              </p:spPr>
              <p:txBody>
                <a:bodyPr rtlCol="0" anchor="ctr"/>
                <a:lstStyle/>
                <a:p>
                  <a:endParaRPr lang="en-GB" dirty="0"/>
                </a:p>
              </p:txBody>
            </p:sp>
          </p:grpSp>
          <p:grpSp>
            <p:nvGrpSpPr>
              <p:cNvPr id="1382" name="Grafik 312">
                <a:extLst>
                  <a:ext uri="{FF2B5EF4-FFF2-40B4-BE49-F238E27FC236}">
                    <a16:creationId xmlns:a16="http://schemas.microsoft.com/office/drawing/2014/main" id="{CE8FC10B-5F3C-43CB-84B3-B195F107BB4E}"/>
                  </a:ext>
                </a:extLst>
              </p:cNvPr>
              <p:cNvGrpSpPr/>
              <p:nvPr/>
            </p:nvGrpSpPr>
            <p:grpSpPr>
              <a:xfrm>
                <a:off x="866492" y="3500275"/>
                <a:ext cx="157089" cy="157089"/>
                <a:chOff x="866492" y="3500275"/>
                <a:chExt cx="157089" cy="157089"/>
              </a:xfrm>
              <a:grpFill/>
            </p:grpSpPr>
            <p:sp>
              <p:nvSpPr>
                <p:cNvPr id="1383" name="Freihandform: Form 1382">
                  <a:extLst>
                    <a:ext uri="{FF2B5EF4-FFF2-40B4-BE49-F238E27FC236}">
                      <a16:creationId xmlns:a16="http://schemas.microsoft.com/office/drawing/2014/main" id="{5803A766-4182-4A8C-B9B7-77D872DC71CF}"/>
                    </a:ext>
                  </a:extLst>
                </p:cNvPr>
                <p:cNvSpPr/>
                <p:nvPr/>
              </p:nvSpPr>
              <p:spPr>
                <a:xfrm>
                  <a:off x="866492" y="3500275"/>
                  <a:ext cx="157089" cy="157089"/>
                </a:xfrm>
                <a:custGeom>
                  <a:avLst/>
                  <a:gdLst>
                    <a:gd name="connsiteX0" fmla="*/ 78545 w 157089"/>
                    <a:gd name="connsiteY0" fmla="*/ 157090 h 157089"/>
                    <a:gd name="connsiteX1" fmla="*/ 0 w 157089"/>
                    <a:gd name="connsiteY1" fmla="*/ 78545 h 157089"/>
                    <a:gd name="connsiteX2" fmla="*/ 78545 w 157089"/>
                    <a:gd name="connsiteY2" fmla="*/ 0 h 157089"/>
                    <a:gd name="connsiteX3" fmla="*/ 157090 w 157089"/>
                    <a:gd name="connsiteY3" fmla="*/ 78545 h 157089"/>
                    <a:gd name="connsiteX4" fmla="*/ 154974 w 157089"/>
                    <a:gd name="connsiteY4" fmla="*/ 96710 h 157089"/>
                    <a:gd name="connsiteX5" fmla="*/ 146975 w 157089"/>
                    <a:gd name="connsiteY5" fmla="*/ 101639 h 157089"/>
                    <a:gd name="connsiteX6" fmla="*/ 142047 w 157089"/>
                    <a:gd name="connsiteY6" fmla="*/ 93640 h 157089"/>
                    <a:gd name="connsiteX7" fmla="*/ 143801 w 157089"/>
                    <a:gd name="connsiteY7" fmla="*/ 78545 h 157089"/>
                    <a:gd name="connsiteX8" fmla="*/ 78571 w 157089"/>
                    <a:gd name="connsiteY8" fmla="*/ 13314 h 157089"/>
                    <a:gd name="connsiteX9" fmla="*/ 13340 w 157089"/>
                    <a:gd name="connsiteY9" fmla="*/ 78545 h 157089"/>
                    <a:gd name="connsiteX10" fmla="*/ 78571 w 157089"/>
                    <a:gd name="connsiteY10" fmla="*/ 143775 h 157089"/>
                    <a:gd name="connsiteX11" fmla="*/ 120785 w 157089"/>
                    <a:gd name="connsiteY11" fmla="*/ 128268 h 157089"/>
                    <a:gd name="connsiteX12" fmla="*/ 130151 w 157089"/>
                    <a:gd name="connsiteY12" fmla="*/ 129016 h 157089"/>
                    <a:gd name="connsiteX13" fmla="*/ 129377 w 157089"/>
                    <a:gd name="connsiteY13" fmla="*/ 138383 h 157089"/>
                    <a:gd name="connsiteX14" fmla="*/ 78545 w 157089"/>
                    <a:gd name="connsiteY14" fmla="*/ 157090 h 15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7089" h="157089">
                      <a:moveTo>
                        <a:pt x="78545" y="157090"/>
                      </a:moveTo>
                      <a:cubicBezTo>
                        <a:pt x="35247" y="157090"/>
                        <a:pt x="0" y="121868"/>
                        <a:pt x="0" y="78545"/>
                      </a:cubicBezTo>
                      <a:cubicBezTo>
                        <a:pt x="0" y="35247"/>
                        <a:pt x="35221" y="0"/>
                        <a:pt x="78545" y="0"/>
                      </a:cubicBezTo>
                      <a:cubicBezTo>
                        <a:pt x="121843" y="0"/>
                        <a:pt x="157090" y="35221"/>
                        <a:pt x="157090" y="78545"/>
                      </a:cubicBezTo>
                      <a:cubicBezTo>
                        <a:pt x="157090" y="84686"/>
                        <a:pt x="156367" y="90776"/>
                        <a:pt x="154974" y="96710"/>
                      </a:cubicBezTo>
                      <a:cubicBezTo>
                        <a:pt x="154122" y="100271"/>
                        <a:pt x="150562" y="102516"/>
                        <a:pt x="146975" y="101639"/>
                      </a:cubicBezTo>
                      <a:cubicBezTo>
                        <a:pt x="143414" y="100787"/>
                        <a:pt x="141195" y="97226"/>
                        <a:pt x="142047" y="93640"/>
                      </a:cubicBezTo>
                      <a:cubicBezTo>
                        <a:pt x="143208" y="88711"/>
                        <a:pt x="143801" y="83654"/>
                        <a:pt x="143801" y="78545"/>
                      </a:cubicBezTo>
                      <a:cubicBezTo>
                        <a:pt x="143801" y="42575"/>
                        <a:pt x="114540" y="13314"/>
                        <a:pt x="78571" y="13314"/>
                      </a:cubicBezTo>
                      <a:cubicBezTo>
                        <a:pt x="42601" y="13314"/>
                        <a:pt x="13340" y="42575"/>
                        <a:pt x="13340" y="78545"/>
                      </a:cubicBezTo>
                      <a:cubicBezTo>
                        <a:pt x="13340" y="114515"/>
                        <a:pt x="42601" y="143775"/>
                        <a:pt x="78571" y="143775"/>
                      </a:cubicBezTo>
                      <a:cubicBezTo>
                        <a:pt x="94027" y="143775"/>
                        <a:pt x="109018" y="138279"/>
                        <a:pt x="120785" y="128268"/>
                      </a:cubicBezTo>
                      <a:cubicBezTo>
                        <a:pt x="123571" y="125894"/>
                        <a:pt x="127777" y="126229"/>
                        <a:pt x="130151" y="129016"/>
                      </a:cubicBezTo>
                      <a:cubicBezTo>
                        <a:pt x="132525" y="131803"/>
                        <a:pt x="132190" y="136008"/>
                        <a:pt x="129377" y="138383"/>
                      </a:cubicBezTo>
                      <a:cubicBezTo>
                        <a:pt x="115211" y="150458"/>
                        <a:pt x="97175" y="157090"/>
                        <a:pt x="78545" y="157090"/>
                      </a:cubicBezTo>
                      <a:close/>
                    </a:path>
                  </a:pathLst>
                </a:custGeom>
                <a:grpFill/>
                <a:ln w="2573" cap="flat">
                  <a:noFill/>
                  <a:prstDash val="solid"/>
                  <a:miter/>
                </a:ln>
              </p:spPr>
              <p:txBody>
                <a:bodyPr rtlCol="0" anchor="ctr"/>
                <a:lstStyle/>
                <a:p>
                  <a:endParaRPr lang="en-GB" dirty="0"/>
                </a:p>
              </p:txBody>
            </p:sp>
            <p:sp>
              <p:nvSpPr>
                <p:cNvPr id="1384" name="Freihandform: Form 1383">
                  <a:extLst>
                    <a:ext uri="{FF2B5EF4-FFF2-40B4-BE49-F238E27FC236}">
                      <a16:creationId xmlns:a16="http://schemas.microsoft.com/office/drawing/2014/main" id="{D82AC95F-0AE8-44BE-A756-D41352B5D879}"/>
                    </a:ext>
                  </a:extLst>
                </p:cNvPr>
                <p:cNvSpPr/>
                <p:nvPr/>
              </p:nvSpPr>
              <p:spPr>
                <a:xfrm>
                  <a:off x="908063" y="3595554"/>
                  <a:ext cx="73947" cy="28086"/>
                </a:xfrm>
                <a:custGeom>
                  <a:avLst/>
                  <a:gdLst>
                    <a:gd name="connsiteX0" fmla="*/ 36974 w 73947"/>
                    <a:gd name="connsiteY0" fmla="*/ 28087 h 28086"/>
                    <a:gd name="connsiteX1" fmla="*/ 1417 w 73947"/>
                    <a:gd name="connsiteY1" fmla="*/ 10747 h 28086"/>
                    <a:gd name="connsiteX2" fmla="*/ 2552 w 73947"/>
                    <a:gd name="connsiteY2" fmla="*/ 1406 h 28086"/>
                    <a:gd name="connsiteX3" fmla="*/ 11893 w 73947"/>
                    <a:gd name="connsiteY3" fmla="*/ 2541 h 28086"/>
                    <a:gd name="connsiteX4" fmla="*/ 36974 w 73947"/>
                    <a:gd name="connsiteY4" fmla="*/ 14798 h 28086"/>
                    <a:gd name="connsiteX5" fmla="*/ 62054 w 73947"/>
                    <a:gd name="connsiteY5" fmla="*/ 2541 h 28086"/>
                    <a:gd name="connsiteX6" fmla="*/ 71395 w 73947"/>
                    <a:gd name="connsiteY6" fmla="*/ 1406 h 28086"/>
                    <a:gd name="connsiteX7" fmla="*/ 72530 w 73947"/>
                    <a:gd name="connsiteY7" fmla="*/ 10747 h 28086"/>
                    <a:gd name="connsiteX8" fmla="*/ 36974 w 73947"/>
                    <a:gd name="connsiteY8" fmla="*/ 28087 h 28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947" h="28086">
                      <a:moveTo>
                        <a:pt x="36974" y="28087"/>
                      </a:moveTo>
                      <a:cubicBezTo>
                        <a:pt x="22988" y="28087"/>
                        <a:pt x="10035" y="21765"/>
                        <a:pt x="1417" y="10747"/>
                      </a:cubicBezTo>
                      <a:cubicBezTo>
                        <a:pt x="-854" y="7857"/>
                        <a:pt x="-338" y="3677"/>
                        <a:pt x="2552" y="1406"/>
                      </a:cubicBezTo>
                      <a:cubicBezTo>
                        <a:pt x="5442" y="-839"/>
                        <a:pt x="9622" y="-349"/>
                        <a:pt x="11893" y="2541"/>
                      </a:cubicBezTo>
                      <a:cubicBezTo>
                        <a:pt x="17983" y="10334"/>
                        <a:pt x="27117" y="14798"/>
                        <a:pt x="36974" y="14798"/>
                      </a:cubicBezTo>
                      <a:cubicBezTo>
                        <a:pt x="46831" y="14798"/>
                        <a:pt x="55965" y="10334"/>
                        <a:pt x="62054" y="2541"/>
                      </a:cubicBezTo>
                      <a:cubicBezTo>
                        <a:pt x="64325" y="-349"/>
                        <a:pt x="68505" y="-839"/>
                        <a:pt x="71395" y="1406"/>
                      </a:cubicBezTo>
                      <a:cubicBezTo>
                        <a:pt x="74285" y="3677"/>
                        <a:pt x="74801" y="7857"/>
                        <a:pt x="72530" y="10747"/>
                      </a:cubicBezTo>
                      <a:cubicBezTo>
                        <a:pt x="63938" y="21765"/>
                        <a:pt x="50959" y="28087"/>
                        <a:pt x="36974" y="28087"/>
                      </a:cubicBezTo>
                      <a:close/>
                    </a:path>
                  </a:pathLst>
                </a:custGeom>
                <a:grpFill/>
                <a:ln w="2573" cap="flat">
                  <a:noFill/>
                  <a:prstDash val="solid"/>
                  <a:miter/>
                </a:ln>
              </p:spPr>
              <p:txBody>
                <a:bodyPr rtlCol="0" anchor="ctr"/>
                <a:lstStyle/>
                <a:p>
                  <a:endParaRPr lang="en-GB" dirty="0"/>
                </a:p>
              </p:txBody>
            </p:sp>
            <p:sp>
              <p:nvSpPr>
                <p:cNvPr id="1385" name="Freihandform: Form 1384">
                  <a:extLst>
                    <a:ext uri="{FF2B5EF4-FFF2-40B4-BE49-F238E27FC236}">
                      <a16:creationId xmlns:a16="http://schemas.microsoft.com/office/drawing/2014/main" id="{C8B58FB8-273F-4B4F-9A7C-B05B43F37504}"/>
                    </a:ext>
                  </a:extLst>
                </p:cNvPr>
                <p:cNvSpPr/>
                <p:nvPr/>
              </p:nvSpPr>
              <p:spPr>
                <a:xfrm>
                  <a:off x="965860" y="3556320"/>
                  <a:ext cx="24125" cy="13314"/>
                </a:xfrm>
                <a:custGeom>
                  <a:avLst/>
                  <a:gdLst>
                    <a:gd name="connsiteX0" fmla="*/ 17469 w 24125"/>
                    <a:gd name="connsiteY0" fmla="*/ 13315 h 13314"/>
                    <a:gd name="connsiteX1" fmla="*/ 6657 w 24125"/>
                    <a:gd name="connsiteY1" fmla="*/ 13315 h 13314"/>
                    <a:gd name="connsiteX2" fmla="*/ 0 w 24125"/>
                    <a:gd name="connsiteY2" fmla="*/ 6657 h 13314"/>
                    <a:gd name="connsiteX3" fmla="*/ 6657 w 24125"/>
                    <a:gd name="connsiteY3" fmla="*/ 0 h 13314"/>
                    <a:gd name="connsiteX4" fmla="*/ 17469 w 24125"/>
                    <a:gd name="connsiteY4" fmla="*/ 0 h 13314"/>
                    <a:gd name="connsiteX5" fmla="*/ 24126 w 24125"/>
                    <a:gd name="connsiteY5" fmla="*/ 6657 h 13314"/>
                    <a:gd name="connsiteX6" fmla="*/ 17469 w 24125"/>
                    <a:gd name="connsiteY6" fmla="*/ 13315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5" h="13314">
                      <a:moveTo>
                        <a:pt x="17469" y="13315"/>
                      </a:moveTo>
                      <a:lnTo>
                        <a:pt x="6657" y="13315"/>
                      </a:lnTo>
                      <a:cubicBezTo>
                        <a:pt x="2993" y="13315"/>
                        <a:pt x="0" y="10347"/>
                        <a:pt x="0" y="6657"/>
                      </a:cubicBezTo>
                      <a:cubicBezTo>
                        <a:pt x="0" y="2993"/>
                        <a:pt x="2967" y="0"/>
                        <a:pt x="6657" y="0"/>
                      </a:cubicBezTo>
                      <a:lnTo>
                        <a:pt x="17469" y="0"/>
                      </a:lnTo>
                      <a:cubicBezTo>
                        <a:pt x="21133" y="0"/>
                        <a:pt x="24126" y="2967"/>
                        <a:pt x="24126" y="6657"/>
                      </a:cubicBezTo>
                      <a:cubicBezTo>
                        <a:pt x="24126" y="10321"/>
                        <a:pt x="21159" y="13315"/>
                        <a:pt x="17469" y="13315"/>
                      </a:cubicBezTo>
                      <a:close/>
                    </a:path>
                  </a:pathLst>
                </a:custGeom>
                <a:grpFill/>
                <a:ln w="2573" cap="flat">
                  <a:noFill/>
                  <a:prstDash val="solid"/>
                  <a:miter/>
                </a:ln>
              </p:spPr>
              <p:txBody>
                <a:bodyPr rtlCol="0" anchor="ctr"/>
                <a:lstStyle/>
                <a:p>
                  <a:endParaRPr lang="en-GB" dirty="0"/>
                </a:p>
              </p:txBody>
            </p:sp>
            <p:sp>
              <p:nvSpPr>
                <p:cNvPr id="1386" name="Freihandform: Form 1385">
                  <a:extLst>
                    <a:ext uri="{FF2B5EF4-FFF2-40B4-BE49-F238E27FC236}">
                      <a16:creationId xmlns:a16="http://schemas.microsoft.com/office/drawing/2014/main" id="{885D534A-62EE-4681-A97D-A42F42577683}"/>
                    </a:ext>
                  </a:extLst>
                </p:cNvPr>
                <p:cNvSpPr/>
                <p:nvPr/>
              </p:nvSpPr>
              <p:spPr>
                <a:xfrm>
                  <a:off x="901043" y="3556320"/>
                  <a:ext cx="24125" cy="13314"/>
                </a:xfrm>
                <a:custGeom>
                  <a:avLst/>
                  <a:gdLst>
                    <a:gd name="connsiteX0" fmla="*/ 17469 w 24125"/>
                    <a:gd name="connsiteY0" fmla="*/ 13315 h 13314"/>
                    <a:gd name="connsiteX1" fmla="*/ 6657 w 24125"/>
                    <a:gd name="connsiteY1" fmla="*/ 13315 h 13314"/>
                    <a:gd name="connsiteX2" fmla="*/ 0 w 24125"/>
                    <a:gd name="connsiteY2" fmla="*/ 6657 h 13314"/>
                    <a:gd name="connsiteX3" fmla="*/ 6657 w 24125"/>
                    <a:gd name="connsiteY3" fmla="*/ 0 h 13314"/>
                    <a:gd name="connsiteX4" fmla="*/ 17469 w 24125"/>
                    <a:gd name="connsiteY4" fmla="*/ 0 h 13314"/>
                    <a:gd name="connsiteX5" fmla="*/ 24126 w 24125"/>
                    <a:gd name="connsiteY5" fmla="*/ 6657 h 13314"/>
                    <a:gd name="connsiteX6" fmla="*/ 17469 w 24125"/>
                    <a:gd name="connsiteY6" fmla="*/ 13315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5" h="13314">
                      <a:moveTo>
                        <a:pt x="17469" y="13315"/>
                      </a:moveTo>
                      <a:lnTo>
                        <a:pt x="6657" y="13315"/>
                      </a:lnTo>
                      <a:cubicBezTo>
                        <a:pt x="2993" y="13315"/>
                        <a:pt x="0" y="10347"/>
                        <a:pt x="0" y="6657"/>
                      </a:cubicBezTo>
                      <a:cubicBezTo>
                        <a:pt x="0" y="2993"/>
                        <a:pt x="2967" y="0"/>
                        <a:pt x="6657" y="0"/>
                      </a:cubicBezTo>
                      <a:lnTo>
                        <a:pt x="17469" y="0"/>
                      </a:lnTo>
                      <a:cubicBezTo>
                        <a:pt x="21133" y="0"/>
                        <a:pt x="24126" y="2967"/>
                        <a:pt x="24126" y="6657"/>
                      </a:cubicBezTo>
                      <a:cubicBezTo>
                        <a:pt x="24126" y="10321"/>
                        <a:pt x="21159" y="13315"/>
                        <a:pt x="17469" y="13315"/>
                      </a:cubicBezTo>
                      <a:close/>
                    </a:path>
                  </a:pathLst>
                </a:custGeom>
                <a:grpFill/>
                <a:ln w="2573" cap="flat">
                  <a:noFill/>
                  <a:prstDash val="solid"/>
                  <a:miter/>
                </a:ln>
              </p:spPr>
              <p:txBody>
                <a:bodyPr rtlCol="0" anchor="ctr"/>
                <a:lstStyle/>
                <a:p>
                  <a:endParaRPr lang="en-GB" dirty="0"/>
                </a:p>
              </p:txBody>
            </p:sp>
          </p:grpSp>
        </p:grpSp>
        <p:grpSp>
          <p:nvGrpSpPr>
            <p:cNvPr id="1376" name="Gruppieren 1375">
              <a:extLst>
                <a:ext uri="{FF2B5EF4-FFF2-40B4-BE49-F238E27FC236}">
                  <a16:creationId xmlns:a16="http://schemas.microsoft.com/office/drawing/2014/main" id="{28A01810-9455-4959-AA42-4F09901C3B49}"/>
                </a:ext>
              </a:extLst>
            </p:cNvPr>
            <p:cNvGrpSpPr/>
            <p:nvPr/>
          </p:nvGrpSpPr>
          <p:grpSpPr>
            <a:xfrm>
              <a:off x="588142" y="3273397"/>
              <a:ext cx="457170" cy="144325"/>
              <a:chOff x="858444" y="3341002"/>
              <a:chExt cx="439133" cy="138631"/>
            </a:xfrm>
          </p:grpSpPr>
          <p:sp>
            <p:nvSpPr>
              <p:cNvPr id="1377" name="Freihandform: Form 1376">
                <a:extLst>
                  <a:ext uri="{FF2B5EF4-FFF2-40B4-BE49-F238E27FC236}">
                    <a16:creationId xmlns:a16="http://schemas.microsoft.com/office/drawing/2014/main" id="{A0459ACF-0963-469D-B4AD-C1F28C942BCA}"/>
                  </a:ext>
                </a:extLst>
              </p:cNvPr>
              <p:cNvSpPr/>
              <p:nvPr/>
            </p:nvSpPr>
            <p:spPr>
              <a:xfrm>
                <a:off x="998283" y="3341002"/>
                <a:ext cx="159081" cy="138631"/>
              </a:xfrm>
              <a:custGeom>
                <a:avLst/>
                <a:gdLst>
                  <a:gd name="connsiteX0" fmla="*/ 80441 w 159081"/>
                  <a:gd name="connsiteY0" fmla="*/ 138631 h 138631"/>
                  <a:gd name="connsiteX1" fmla="*/ 73113 w 159081"/>
                  <a:gd name="connsiteY1" fmla="*/ 134116 h 138631"/>
                  <a:gd name="connsiteX2" fmla="*/ 38459 w 159081"/>
                  <a:gd name="connsiteY2" fmla="*/ 103823 h 138631"/>
                  <a:gd name="connsiteX3" fmla="*/ 30512 w 159081"/>
                  <a:gd name="connsiteY3" fmla="*/ 99255 h 138631"/>
                  <a:gd name="connsiteX4" fmla="*/ 5482 w 159081"/>
                  <a:gd name="connsiteY4" fmla="*/ 70769 h 138631"/>
                  <a:gd name="connsiteX5" fmla="*/ 4966 w 159081"/>
                  <a:gd name="connsiteY5" fmla="*/ 69788 h 138631"/>
                  <a:gd name="connsiteX6" fmla="*/ 451 w 159081"/>
                  <a:gd name="connsiteY6" fmla="*/ 39934 h 138631"/>
                  <a:gd name="connsiteX7" fmla="*/ 477 w 159081"/>
                  <a:gd name="connsiteY7" fmla="*/ 39727 h 138631"/>
                  <a:gd name="connsiteX8" fmla="*/ 28938 w 159081"/>
                  <a:gd name="connsiteY8" fmla="*/ 4532 h 138631"/>
                  <a:gd name="connsiteX9" fmla="*/ 66481 w 159081"/>
                  <a:gd name="connsiteY9" fmla="*/ 4300 h 138631"/>
                  <a:gd name="connsiteX10" fmla="*/ 79486 w 159081"/>
                  <a:gd name="connsiteY10" fmla="*/ 14802 h 138631"/>
                  <a:gd name="connsiteX11" fmla="*/ 91949 w 159081"/>
                  <a:gd name="connsiteY11" fmla="*/ 4145 h 138631"/>
                  <a:gd name="connsiteX12" fmla="*/ 129389 w 159081"/>
                  <a:gd name="connsiteY12" fmla="*/ 3680 h 138631"/>
                  <a:gd name="connsiteX13" fmla="*/ 158470 w 159081"/>
                  <a:gd name="connsiteY13" fmla="*/ 38386 h 138631"/>
                  <a:gd name="connsiteX14" fmla="*/ 154496 w 159081"/>
                  <a:gd name="connsiteY14" fmla="*/ 68524 h 138631"/>
                  <a:gd name="connsiteX15" fmla="*/ 154006 w 159081"/>
                  <a:gd name="connsiteY15" fmla="*/ 69504 h 138631"/>
                  <a:gd name="connsiteX16" fmla="*/ 129235 w 159081"/>
                  <a:gd name="connsiteY16" fmla="*/ 98584 h 138631"/>
                  <a:gd name="connsiteX17" fmla="*/ 121700 w 159081"/>
                  <a:gd name="connsiteY17" fmla="*/ 103100 h 138631"/>
                  <a:gd name="connsiteX18" fmla="*/ 87769 w 159081"/>
                  <a:gd name="connsiteY18" fmla="*/ 133832 h 138631"/>
                  <a:gd name="connsiteX19" fmla="*/ 81163 w 159081"/>
                  <a:gd name="connsiteY19" fmla="*/ 138631 h 138631"/>
                  <a:gd name="connsiteX20" fmla="*/ 80441 w 159081"/>
                  <a:gd name="connsiteY20" fmla="*/ 138631 h 138631"/>
                  <a:gd name="connsiteX21" fmla="*/ 75332 w 159081"/>
                  <a:gd name="connsiteY21" fmla="*/ 129187 h 138631"/>
                  <a:gd name="connsiteX22" fmla="*/ 75332 w 159081"/>
                  <a:gd name="connsiteY22" fmla="*/ 129187 h 138631"/>
                  <a:gd name="connsiteX23" fmla="*/ 75332 w 159081"/>
                  <a:gd name="connsiteY23" fmla="*/ 129187 h 138631"/>
                  <a:gd name="connsiteX24" fmla="*/ 84827 w 159081"/>
                  <a:gd name="connsiteY24" fmla="*/ 127794 h 138631"/>
                  <a:gd name="connsiteX25" fmla="*/ 84930 w 159081"/>
                  <a:gd name="connsiteY25" fmla="*/ 128000 h 138631"/>
                  <a:gd name="connsiteX26" fmla="*/ 84827 w 159081"/>
                  <a:gd name="connsiteY26" fmla="*/ 127794 h 138631"/>
                  <a:gd name="connsiteX27" fmla="*/ 13662 w 159081"/>
                  <a:gd name="connsiteY27" fmla="*/ 41714 h 138631"/>
                  <a:gd name="connsiteX28" fmla="*/ 17120 w 159081"/>
                  <a:gd name="connsiteY28" fmla="*/ 64344 h 138631"/>
                  <a:gd name="connsiteX29" fmla="*/ 37865 w 159081"/>
                  <a:gd name="connsiteY29" fmla="*/ 88160 h 138631"/>
                  <a:gd name="connsiteX30" fmla="*/ 44703 w 159081"/>
                  <a:gd name="connsiteY30" fmla="*/ 92056 h 138631"/>
                  <a:gd name="connsiteX31" fmla="*/ 80286 w 159081"/>
                  <a:gd name="connsiteY31" fmla="*/ 120466 h 138631"/>
                  <a:gd name="connsiteX32" fmla="*/ 115249 w 159081"/>
                  <a:gd name="connsiteY32" fmla="*/ 91437 h 138631"/>
                  <a:gd name="connsiteX33" fmla="*/ 121726 w 159081"/>
                  <a:gd name="connsiteY33" fmla="*/ 87592 h 138631"/>
                  <a:gd name="connsiteX34" fmla="*/ 142214 w 159081"/>
                  <a:gd name="connsiteY34" fmla="*/ 63363 h 138631"/>
                  <a:gd name="connsiteX35" fmla="*/ 145336 w 159081"/>
                  <a:gd name="connsiteY35" fmla="*/ 40424 h 138631"/>
                  <a:gd name="connsiteX36" fmla="*/ 125003 w 159081"/>
                  <a:gd name="connsiteY36" fmla="*/ 16221 h 138631"/>
                  <a:gd name="connsiteX37" fmla="*/ 98193 w 159081"/>
                  <a:gd name="connsiteY37" fmla="*/ 15885 h 138631"/>
                  <a:gd name="connsiteX38" fmla="*/ 86092 w 159081"/>
                  <a:gd name="connsiteY38" fmla="*/ 30284 h 138631"/>
                  <a:gd name="connsiteX39" fmla="*/ 79796 w 159081"/>
                  <a:gd name="connsiteY39" fmla="*/ 35031 h 138631"/>
                  <a:gd name="connsiteX40" fmla="*/ 79718 w 159081"/>
                  <a:gd name="connsiteY40" fmla="*/ 35031 h 138631"/>
                  <a:gd name="connsiteX41" fmla="*/ 73396 w 159081"/>
                  <a:gd name="connsiteY41" fmla="*/ 30464 h 138631"/>
                  <a:gd name="connsiteX42" fmla="*/ 60572 w 159081"/>
                  <a:gd name="connsiteY42" fmla="*/ 16195 h 138631"/>
                  <a:gd name="connsiteX43" fmla="*/ 33582 w 159081"/>
                  <a:gd name="connsiteY43" fmla="*/ 17021 h 138631"/>
                  <a:gd name="connsiteX44" fmla="*/ 13662 w 159081"/>
                  <a:gd name="connsiteY44" fmla="*/ 41714 h 13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9081" h="138631">
                    <a:moveTo>
                      <a:pt x="80441" y="138631"/>
                    </a:moveTo>
                    <a:cubicBezTo>
                      <a:pt x="77344" y="138631"/>
                      <a:pt x="74532" y="136902"/>
                      <a:pt x="73113" y="134116"/>
                    </a:cubicBezTo>
                    <a:cubicBezTo>
                      <a:pt x="64340" y="117601"/>
                      <a:pt x="48754" y="109319"/>
                      <a:pt x="38459" y="103823"/>
                    </a:cubicBezTo>
                    <a:cubicBezTo>
                      <a:pt x="35311" y="102145"/>
                      <a:pt x="32576" y="100700"/>
                      <a:pt x="30512" y="99255"/>
                    </a:cubicBezTo>
                    <a:cubicBezTo>
                      <a:pt x="15830" y="90018"/>
                      <a:pt x="8579" y="76523"/>
                      <a:pt x="5482" y="70769"/>
                    </a:cubicBezTo>
                    <a:cubicBezTo>
                      <a:pt x="5405" y="70640"/>
                      <a:pt x="5044" y="69943"/>
                      <a:pt x="4966" y="69788"/>
                    </a:cubicBezTo>
                    <a:cubicBezTo>
                      <a:pt x="631" y="60138"/>
                      <a:pt x="-839" y="50384"/>
                      <a:pt x="451" y="39934"/>
                    </a:cubicBezTo>
                    <a:cubicBezTo>
                      <a:pt x="451" y="39856"/>
                      <a:pt x="477" y="39805"/>
                      <a:pt x="477" y="39727"/>
                    </a:cubicBezTo>
                    <a:cubicBezTo>
                      <a:pt x="3831" y="18259"/>
                      <a:pt x="22177" y="7035"/>
                      <a:pt x="28938" y="4532"/>
                    </a:cubicBezTo>
                    <a:cubicBezTo>
                      <a:pt x="43284" y="-758"/>
                      <a:pt x="55902" y="-835"/>
                      <a:pt x="66481" y="4300"/>
                    </a:cubicBezTo>
                    <a:cubicBezTo>
                      <a:pt x="72235" y="7086"/>
                      <a:pt x="76441" y="11034"/>
                      <a:pt x="79486" y="14802"/>
                    </a:cubicBezTo>
                    <a:cubicBezTo>
                      <a:pt x="82350" y="11008"/>
                      <a:pt x="86375" y="7035"/>
                      <a:pt x="91949" y="4145"/>
                    </a:cubicBezTo>
                    <a:cubicBezTo>
                      <a:pt x="102322" y="-1222"/>
                      <a:pt x="114914" y="-1377"/>
                      <a:pt x="129389" y="3680"/>
                    </a:cubicBezTo>
                    <a:cubicBezTo>
                      <a:pt x="136227" y="6080"/>
                      <a:pt x="154754" y="16995"/>
                      <a:pt x="158470" y="38386"/>
                    </a:cubicBezTo>
                    <a:cubicBezTo>
                      <a:pt x="159992" y="49042"/>
                      <a:pt x="158676" y="58848"/>
                      <a:pt x="154496" y="68524"/>
                    </a:cubicBezTo>
                    <a:cubicBezTo>
                      <a:pt x="154444" y="68679"/>
                      <a:pt x="154083" y="69349"/>
                      <a:pt x="154006" y="69504"/>
                    </a:cubicBezTo>
                    <a:cubicBezTo>
                      <a:pt x="151012" y="75310"/>
                      <a:pt x="143994" y="88934"/>
                      <a:pt x="129235" y="98584"/>
                    </a:cubicBezTo>
                    <a:cubicBezTo>
                      <a:pt x="127454" y="99875"/>
                      <a:pt x="124796" y="101371"/>
                      <a:pt x="121700" y="103100"/>
                    </a:cubicBezTo>
                    <a:cubicBezTo>
                      <a:pt x="111585" y="108725"/>
                      <a:pt x="96361" y="117214"/>
                      <a:pt x="87769" y="133832"/>
                    </a:cubicBezTo>
                    <a:cubicBezTo>
                      <a:pt x="86633" y="136515"/>
                      <a:pt x="84131" y="138347"/>
                      <a:pt x="81163" y="138631"/>
                    </a:cubicBezTo>
                    <a:cubicBezTo>
                      <a:pt x="80931" y="138631"/>
                      <a:pt x="80673" y="138631"/>
                      <a:pt x="80441" y="138631"/>
                    </a:cubicBezTo>
                    <a:close/>
                    <a:moveTo>
                      <a:pt x="75332" y="129187"/>
                    </a:moveTo>
                    <a:cubicBezTo>
                      <a:pt x="75332" y="129187"/>
                      <a:pt x="75332" y="129187"/>
                      <a:pt x="75332" y="129187"/>
                    </a:cubicBezTo>
                    <a:cubicBezTo>
                      <a:pt x="75332" y="129187"/>
                      <a:pt x="75332" y="129187"/>
                      <a:pt x="75332" y="129187"/>
                    </a:cubicBezTo>
                    <a:close/>
                    <a:moveTo>
                      <a:pt x="84827" y="127794"/>
                    </a:moveTo>
                    <a:cubicBezTo>
                      <a:pt x="84853" y="127871"/>
                      <a:pt x="84905" y="127923"/>
                      <a:pt x="84930" y="128000"/>
                    </a:cubicBezTo>
                    <a:cubicBezTo>
                      <a:pt x="84905" y="127949"/>
                      <a:pt x="84853" y="127871"/>
                      <a:pt x="84827" y="127794"/>
                    </a:cubicBezTo>
                    <a:close/>
                    <a:moveTo>
                      <a:pt x="13662" y="41714"/>
                    </a:moveTo>
                    <a:cubicBezTo>
                      <a:pt x="12682" y="49713"/>
                      <a:pt x="13765" y="56912"/>
                      <a:pt x="17120" y="64344"/>
                    </a:cubicBezTo>
                    <a:cubicBezTo>
                      <a:pt x="20035" y="69711"/>
                      <a:pt x="25893" y="80600"/>
                      <a:pt x="37865" y="88160"/>
                    </a:cubicBezTo>
                    <a:cubicBezTo>
                      <a:pt x="39543" y="89321"/>
                      <a:pt x="41917" y="90586"/>
                      <a:pt x="44703" y="92056"/>
                    </a:cubicBezTo>
                    <a:cubicBezTo>
                      <a:pt x="54276" y="97140"/>
                      <a:pt x="69423" y="105190"/>
                      <a:pt x="80286" y="120466"/>
                    </a:cubicBezTo>
                    <a:cubicBezTo>
                      <a:pt x="90865" y="105009"/>
                      <a:pt x="105831" y="96675"/>
                      <a:pt x="115249" y="91437"/>
                    </a:cubicBezTo>
                    <a:cubicBezTo>
                      <a:pt x="117984" y="89915"/>
                      <a:pt x="120332" y="88599"/>
                      <a:pt x="121726" y="87592"/>
                    </a:cubicBezTo>
                    <a:cubicBezTo>
                      <a:pt x="133828" y="79671"/>
                      <a:pt x="139504" y="68653"/>
                      <a:pt x="142214" y="63363"/>
                    </a:cubicBezTo>
                    <a:cubicBezTo>
                      <a:pt x="145516" y="55751"/>
                      <a:pt x="146497" y="48526"/>
                      <a:pt x="145336" y="40424"/>
                    </a:cubicBezTo>
                    <a:cubicBezTo>
                      <a:pt x="142704" y="25355"/>
                      <a:pt x="128615" y="17485"/>
                      <a:pt x="125003" y="16221"/>
                    </a:cubicBezTo>
                    <a:cubicBezTo>
                      <a:pt x="114191" y="12428"/>
                      <a:pt x="105160" y="12324"/>
                      <a:pt x="98193" y="15885"/>
                    </a:cubicBezTo>
                    <a:cubicBezTo>
                      <a:pt x="89111" y="20504"/>
                      <a:pt x="86117" y="30180"/>
                      <a:pt x="86092" y="30284"/>
                    </a:cubicBezTo>
                    <a:cubicBezTo>
                      <a:pt x="85266" y="33070"/>
                      <a:pt x="82686" y="35005"/>
                      <a:pt x="79796" y="35031"/>
                    </a:cubicBezTo>
                    <a:cubicBezTo>
                      <a:pt x="79770" y="35031"/>
                      <a:pt x="79744" y="35031"/>
                      <a:pt x="79718" y="35031"/>
                    </a:cubicBezTo>
                    <a:cubicBezTo>
                      <a:pt x="76828" y="35031"/>
                      <a:pt x="74274" y="33199"/>
                      <a:pt x="73396" y="30464"/>
                    </a:cubicBezTo>
                    <a:cubicBezTo>
                      <a:pt x="73371" y="30413"/>
                      <a:pt x="69990" y="20685"/>
                      <a:pt x="60572" y="16195"/>
                    </a:cubicBezTo>
                    <a:cubicBezTo>
                      <a:pt x="53425" y="12789"/>
                      <a:pt x="44342" y="13047"/>
                      <a:pt x="33582" y="17021"/>
                    </a:cubicBezTo>
                    <a:cubicBezTo>
                      <a:pt x="29996" y="18362"/>
                      <a:pt x="16113" y="26439"/>
                      <a:pt x="13662" y="41714"/>
                    </a:cubicBezTo>
                    <a:close/>
                  </a:path>
                </a:pathLst>
              </a:custGeom>
              <a:solidFill>
                <a:schemeClr val="accent1"/>
              </a:solidFill>
              <a:ln w="2573" cap="flat">
                <a:noFill/>
                <a:prstDash val="solid"/>
                <a:miter/>
              </a:ln>
            </p:spPr>
            <p:txBody>
              <a:bodyPr rtlCol="0" anchor="ctr"/>
              <a:lstStyle/>
              <a:p>
                <a:endParaRPr lang="en-GB" dirty="0"/>
              </a:p>
            </p:txBody>
          </p:sp>
          <p:sp>
            <p:nvSpPr>
              <p:cNvPr id="1378" name="Freihandform: Form 1377">
                <a:extLst>
                  <a:ext uri="{FF2B5EF4-FFF2-40B4-BE49-F238E27FC236}">
                    <a16:creationId xmlns:a16="http://schemas.microsoft.com/office/drawing/2014/main" id="{B17DA168-4C36-476A-92A9-F14FAAB524AE}"/>
                  </a:ext>
                </a:extLst>
              </p:cNvPr>
              <p:cNvSpPr/>
              <p:nvPr/>
            </p:nvSpPr>
            <p:spPr>
              <a:xfrm>
                <a:off x="1179379" y="3368281"/>
                <a:ext cx="118198" cy="108307"/>
              </a:xfrm>
              <a:custGeom>
                <a:avLst/>
                <a:gdLst>
                  <a:gd name="connsiteX0" fmla="*/ 43093 w 118198"/>
                  <a:gd name="connsiteY0" fmla="*/ 108307 h 108307"/>
                  <a:gd name="connsiteX1" fmla="*/ 41623 w 118198"/>
                  <a:gd name="connsiteY1" fmla="*/ 108152 h 108307"/>
                  <a:gd name="connsiteX2" fmla="*/ 35456 w 118198"/>
                  <a:gd name="connsiteY2" fmla="*/ 101959 h 108307"/>
                  <a:gd name="connsiteX3" fmla="*/ 17703 w 118198"/>
                  <a:gd name="connsiteY3" fmla="*/ 74763 h 108307"/>
                  <a:gd name="connsiteX4" fmla="*/ 12904 w 118198"/>
                  <a:gd name="connsiteY4" fmla="*/ 69809 h 108307"/>
                  <a:gd name="connsiteX5" fmla="*/ 673 w 118198"/>
                  <a:gd name="connsiteY5" fmla="*/ 44083 h 108307"/>
                  <a:gd name="connsiteX6" fmla="*/ 492 w 118198"/>
                  <a:gd name="connsiteY6" fmla="*/ 43205 h 108307"/>
                  <a:gd name="connsiteX7" fmla="*/ 3408 w 118198"/>
                  <a:gd name="connsiteY7" fmla="*/ 20396 h 108307"/>
                  <a:gd name="connsiteX8" fmla="*/ 3485 w 118198"/>
                  <a:gd name="connsiteY8" fmla="*/ 20215 h 108307"/>
                  <a:gd name="connsiteX9" fmla="*/ 31972 w 118198"/>
                  <a:gd name="connsiteY9" fmla="*/ 166 h 108307"/>
                  <a:gd name="connsiteX10" fmla="*/ 59685 w 118198"/>
                  <a:gd name="connsiteY10" fmla="*/ 7933 h 108307"/>
                  <a:gd name="connsiteX11" fmla="*/ 66239 w 118198"/>
                  <a:gd name="connsiteY11" fmla="*/ 16499 h 108307"/>
                  <a:gd name="connsiteX12" fmla="*/ 76018 w 118198"/>
                  <a:gd name="connsiteY12" fmla="*/ 12474 h 108307"/>
                  <a:gd name="connsiteX13" fmla="*/ 103782 w 118198"/>
                  <a:gd name="connsiteY13" fmla="*/ 19905 h 108307"/>
                  <a:gd name="connsiteX14" fmla="*/ 118026 w 118198"/>
                  <a:gd name="connsiteY14" fmla="*/ 51695 h 108307"/>
                  <a:gd name="connsiteX15" fmla="*/ 108840 w 118198"/>
                  <a:gd name="connsiteY15" fmla="*/ 72982 h 108307"/>
                  <a:gd name="connsiteX16" fmla="*/ 108246 w 118198"/>
                  <a:gd name="connsiteY16" fmla="*/ 73628 h 108307"/>
                  <a:gd name="connsiteX17" fmla="*/ 84275 w 118198"/>
                  <a:gd name="connsiteY17" fmla="*/ 89600 h 108307"/>
                  <a:gd name="connsiteX18" fmla="*/ 77953 w 118198"/>
                  <a:gd name="connsiteY18" fmla="*/ 91303 h 108307"/>
                  <a:gd name="connsiteX19" fmla="*/ 48976 w 118198"/>
                  <a:gd name="connsiteY19" fmla="*/ 105520 h 108307"/>
                  <a:gd name="connsiteX20" fmla="*/ 43093 w 118198"/>
                  <a:gd name="connsiteY20" fmla="*/ 108307 h 108307"/>
                  <a:gd name="connsiteX21" fmla="*/ 48435 w 118198"/>
                  <a:gd name="connsiteY21" fmla="*/ 99095 h 108307"/>
                  <a:gd name="connsiteX22" fmla="*/ 48486 w 118198"/>
                  <a:gd name="connsiteY22" fmla="*/ 99353 h 108307"/>
                  <a:gd name="connsiteX23" fmla="*/ 48435 w 118198"/>
                  <a:gd name="connsiteY23" fmla="*/ 99095 h 108307"/>
                  <a:gd name="connsiteX24" fmla="*/ 38268 w 118198"/>
                  <a:gd name="connsiteY24" fmla="*/ 97650 h 108307"/>
                  <a:gd name="connsiteX25" fmla="*/ 38268 w 118198"/>
                  <a:gd name="connsiteY25" fmla="*/ 97650 h 108307"/>
                  <a:gd name="connsiteX26" fmla="*/ 38268 w 118198"/>
                  <a:gd name="connsiteY26" fmla="*/ 97650 h 108307"/>
                  <a:gd name="connsiteX27" fmla="*/ 15587 w 118198"/>
                  <a:gd name="connsiteY27" fmla="*/ 25711 h 108307"/>
                  <a:gd name="connsiteX28" fmla="*/ 13626 w 118198"/>
                  <a:gd name="connsiteY28" fmla="*/ 41296 h 108307"/>
                  <a:gd name="connsiteX29" fmla="*/ 22993 w 118198"/>
                  <a:gd name="connsiteY29" fmla="*/ 61216 h 108307"/>
                  <a:gd name="connsiteX30" fmla="*/ 26915 w 118198"/>
                  <a:gd name="connsiteY30" fmla="*/ 65216 h 108307"/>
                  <a:gd name="connsiteX31" fmla="*/ 45777 w 118198"/>
                  <a:gd name="connsiteY31" fmla="*/ 90632 h 108307"/>
                  <a:gd name="connsiteX32" fmla="*/ 74857 w 118198"/>
                  <a:gd name="connsiteY32" fmla="*/ 78427 h 108307"/>
                  <a:gd name="connsiteX33" fmla="*/ 79966 w 118198"/>
                  <a:gd name="connsiteY33" fmla="*/ 77085 h 108307"/>
                  <a:gd name="connsiteX34" fmla="*/ 98493 w 118198"/>
                  <a:gd name="connsiteY34" fmla="*/ 64622 h 108307"/>
                  <a:gd name="connsiteX35" fmla="*/ 104789 w 118198"/>
                  <a:gd name="connsiteY35" fmla="*/ 50172 h 108307"/>
                  <a:gd name="connsiteX36" fmla="*/ 96093 w 118198"/>
                  <a:gd name="connsiteY36" fmla="*/ 30846 h 108307"/>
                  <a:gd name="connsiteX37" fmla="*/ 78650 w 118198"/>
                  <a:gd name="connsiteY37" fmla="*/ 25582 h 108307"/>
                  <a:gd name="connsiteX38" fmla="*/ 68587 w 118198"/>
                  <a:gd name="connsiteY38" fmla="*/ 32420 h 108307"/>
                  <a:gd name="connsiteX39" fmla="*/ 61233 w 118198"/>
                  <a:gd name="connsiteY39" fmla="*/ 35336 h 108307"/>
                  <a:gd name="connsiteX40" fmla="*/ 56279 w 118198"/>
                  <a:gd name="connsiteY40" fmla="*/ 29143 h 108307"/>
                  <a:gd name="connsiteX41" fmla="*/ 50705 w 118198"/>
                  <a:gd name="connsiteY41" fmla="*/ 17841 h 108307"/>
                  <a:gd name="connsiteX42" fmla="*/ 32979 w 118198"/>
                  <a:gd name="connsiteY42" fmla="*/ 13506 h 108307"/>
                  <a:gd name="connsiteX43" fmla="*/ 15587 w 118198"/>
                  <a:gd name="connsiteY43" fmla="*/ 25711 h 10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18198" h="108307">
                    <a:moveTo>
                      <a:pt x="43093" y="108307"/>
                    </a:moveTo>
                    <a:cubicBezTo>
                      <a:pt x="42603" y="108307"/>
                      <a:pt x="42113" y="108255"/>
                      <a:pt x="41623" y="108152"/>
                    </a:cubicBezTo>
                    <a:cubicBezTo>
                      <a:pt x="38475" y="107533"/>
                      <a:pt x="36049" y="105107"/>
                      <a:pt x="35456" y="101959"/>
                    </a:cubicBezTo>
                    <a:cubicBezTo>
                      <a:pt x="32720" y="89187"/>
                      <a:pt x="23689" y="80517"/>
                      <a:pt x="17703" y="74763"/>
                    </a:cubicBezTo>
                    <a:cubicBezTo>
                      <a:pt x="15690" y="72828"/>
                      <a:pt x="14013" y="71176"/>
                      <a:pt x="12904" y="69809"/>
                    </a:cubicBezTo>
                    <a:cubicBezTo>
                      <a:pt x="4182" y="60107"/>
                      <a:pt x="1731" y="48882"/>
                      <a:pt x="673" y="44083"/>
                    </a:cubicBezTo>
                    <a:cubicBezTo>
                      <a:pt x="647" y="43928"/>
                      <a:pt x="518" y="43360"/>
                      <a:pt x="492" y="43205"/>
                    </a:cubicBezTo>
                    <a:cubicBezTo>
                      <a:pt x="-695" y="35232"/>
                      <a:pt x="260" y="27775"/>
                      <a:pt x="3408" y="20396"/>
                    </a:cubicBezTo>
                    <a:cubicBezTo>
                      <a:pt x="3434" y="20318"/>
                      <a:pt x="3460" y="20267"/>
                      <a:pt x="3485" y="20215"/>
                    </a:cubicBezTo>
                    <a:cubicBezTo>
                      <a:pt x="9756" y="6642"/>
                      <a:pt x="23947" y="785"/>
                      <a:pt x="31972" y="166"/>
                    </a:cubicBezTo>
                    <a:cubicBezTo>
                      <a:pt x="43584" y="-711"/>
                      <a:pt x="52924" y="1895"/>
                      <a:pt x="59685" y="7933"/>
                    </a:cubicBezTo>
                    <a:cubicBezTo>
                      <a:pt x="62704" y="10616"/>
                      <a:pt x="64794" y="13635"/>
                      <a:pt x="66239" y="16499"/>
                    </a:cubicBezTo>
                    <a:cubicBezTo>
                      <a:pt x="68897" y="14770"/>
                      <a:pt x="72148" y="13274"/>
                      <a:pt x="76018" y="12474"/>
                    </a:cubicBezTo>
                    <a:cubicBezTo>
                      <a:pt x="84869" y="10642"/>
                      <a:pt x="94209" y="13171"/>
                      <a:pt x="103782" y="19905"/>
                    </a:cubicBezTo>
                    <a:cubicBezTo>
                      <a:pt x="110362" y="24550"/>
                      <a:pt x="119574" y="36858"/>
                      <a:pt x="118026" y="51695"/>
                    </a:cubicBezTo>
                    <a:cubicBezTo>
                      <a:pt x="116916" y="59874"/>
                      <a:pt x="113923" y="66764"/>
                      <a:pt x="108840" y="72982"/>
                    </a:cubicBezTo>
                    <a:cubicBezTo>
                      <a:pt x="108737" y="73111"/>
                      <a:pt x="108350" y="73524"/>
                      <a:pt x="108246" y="73628"/>
                    </a:cubicBezTo>
                    <a:cubicBezTo>
                      <a:pt x="104892" y="77214"/>
                      <a:pt x="97022" y="85600"/>
                      <a:pt x="84275" y="89600"/>
                    </a:cubicBezTo>
                    <a:cubicBezTo>
                      <a:pt x="82933" y="90090"/>
                      <a:pt x="80663" y="90658"/>
                      <a:pt x="77953" y="91303"/>
                    </a:cubicBezTo>
                    <a:cubicBezTo>
                      <a:pt x="69980" y="93186"/>
                      <a:pt x="57930" y="96025"/>
                      <a:pt x="48976" y="105520"/>
                    </a:cubicBezTo>
                    <a:cubicBezTo>
                      <a:pt x="47506" y="107327"/>
                      <a:pt x="45364" y="108307"/>
                      <a:pt x="43093" y="108307"/>
                    </a:cubicBezTo>
                    <a:close/>
                    <a:moveTo>
                      <a:pt x="48435" y="99095"/>
                    </a:moveTo>
                    <a:cubicBezTo>
                      <a:pt x="48460" y="99173"/>
                      <a:pt x="48460" y="99276"/>
                      <a:pt x="48486" y="99353"/>
                    </a:cubicBezTo>
                    <a:cubicBezTo>
                      <a:pt x="48460" y="99250"/>
                      <a:pt x="48460" y="99173"/>
                      <a:pt x="48435" y="99095"/>
                    </a:cubicBezTo>
                    <a:close/>
                    <a:moveTo>
                      <a:pt x="38268" y="97650"/>
                    </a:moveTo>
                    <a:cubicBezTo>
                      <a:pt x="38268" y="97650"/>
                      <a:pt x="38268" y="97650"/>
                      <a:pt x="38268" y="97650"/>
                    </a:cubicBezTo>
                    <a:cubicBezTo>
                      <a:pt x="38268" y="97650"/>
                      <a:pt x="38268" y="97650"/>
                      <a:pt x="38268" y="97650"/>
                    </a:cubicBezTo>
                    <a:close/>
                    <a:moveTo>
                      <a:pt x="15587" y="25711"/>
                    </a:moveTo>
                    <a:cubicBezTo>
                      <a:pt x="13445" y="30820"/>
                      <a:pt x="12826" y="35774"/>
                      <a:pt x="13626" y="41296"/>
                    </a:cubicBezTo>
                    <a:cubicBezTo>
                      <a:pt x="14529" y="45373"/>
                      <a:pt x="16413" y="53862"/>
                      <a:pt x="22993" y="61216"/>
                    </a:cubicBezTo>
                    <a:cubicBezTo>
                      <a:pt x="24051" y="62506"/>
                      <a:pt x="25367" y="63719"/>
                      <a:pt x="26915" y="65216"/>
                    </a:cubicBezTo>
                    <a:cubicBezTo>
                      <a:pt x="32385" y="70479"/>
                      <a:pt x="40874" y="78633"/>
                      <a:pt x="45777" y="90632"/>
                    </a:cubicBezTo>
                    <a:cubicBezTo>
                      <a:pt x="56098" y="82839"/>
                      <a:pt x="67503" y="80156"/>
                      <a:pt x="74857" y="78427"/>
                    </a:cubicBezTo>
                    <a:cubicBezTo>
                      <a:pt x="76947" y="77937"/>
                      <a:pt x="78702" y="77550"/>
                      <a:pt x="79966" y="77085"/>
                    </a:cubicBezTo>
                    <a:cubicBezTo>
                      <a:pt x="89668" y="74040"/>
                      <a:pt x="95629" y="67667"/>
                      <a:pt x="98493" y="64622"/>
                    </a:cubicBezTo>
                    <a:cubicBezTo>
                      <a:pt x="102028" y="60313"/>
                      <a:pt x="104015" y="55720"/>
                      <a:pt x="104789" y="50172"/>
                    </a:cubicBezTo>
                    <a:cubicBezTo>
                      <a:pt x="105847" y="40109"/>
                      <a:pt x="98080" y="32239"/>
                      <a:pt x="96093" y="30846"/>
                    </a:cubicBezTo>
                    <a:cubicBezTo>
                      <a:pt x="89642" y="26304"/>
                      <a:pt x="83785" y="24524"/>
                      <a:pt x="78650" y="25582"/>
                    </a:cubicBezTo>
                    <a:cubicBezTo>
                      <a:pt x="72251" y="26898"/>
                      <a:pt x="68613" y="32342"/>
                      <a:pt x="68587" y="32420"/>
                    </a:cubicBezTo>
                    <a:cubicBezTo>
                      <a:pt x="67039" y="34897"/>
                      <a:pt x="64046" y="36084"/>
                      <a:pt x="61233" y="35336"/>
                    </a:cubicBezTo>
                    <a:cubicBezTo>
                      <a:pt x="58395" y="34587"/>
                      <a:pt x="56408" y="32084"/>
                      <a:pt x="56279" y="29143"/>
                    </a:cubicBezTo>
                    <a:cubicBezTo>
                      <a:pt x="56279" y="29143"/>
                      <a:pt x="55840" y="22331"/>
                      <a:pt x="50705" y="17841"/>
                    </a:cubicBezTo>
                    <a:cubicBezTo>
                      <a:pt x="46732" y="14383"/>
                      <a:pt x="40797" y="12938"/>
                      <a:pt x="32979" y="13506"/>
                    </a:cubicBezTo>
                    <a:cubicBezTo>
                      <a:pt x="30579" y="13609"/>
                      <a:pt x="19948" y="16396"/>
                      <a:pt x="15587" y="25711"/>
                    </a:cubicBezTo>
                    <a:close/>
                  </a:path>
                </a:pathLst>
              </a:custGeom>
              <a:solidFill>
                <a:schemeClr val="accent1"/>
              </a:solidFill>
              <a:ln w="2573" cap="flat">
                <a:noFill/>
                <a:prstDash val="solid"/>
                <a:miter/>
              </a:ln>
            </p:spPr>
            <p:txBody>
              <a:bodyPr rtlCol="0" anchor="ctr"/>
              <a:lstStyle/>
              <a:p>
                <a:endParaRPr lang="en-GB" dirty="0"/>
              </a:p>
            </p:txBody>
          </p:sp>
          <p:sp>
            <p:nvSpPr>
              <p:cNvPr id="1379" name="Freihandform: Form 1378">
                <a:extLst>
                  <a:ext uri="{FF2B5EF4-FFF2-40B4-BE49-F238E27FC236}">
                    <a16:creationId xmlns:a16="http://schemas.microsoft.com/office/drawing/2014/main" id="{F8E305A6-DB19-440A-AFF1-0CB5AE13F273}"/>
                  </a:ext>
                </a:extLst>
              </p:cNvPr>
              <p:cNvSpPr/>
              <p:nvPr/>
            </p:nvSpPr>
            <p:spPr>
              <a:xfrm>
                <a:off x="858444" y="3368281"/>
                <a:ext cx="118177" cy="108307"/>
              </a:xfrm>
              <a:custGeom>
                <a:avLst/>
                <a:gdLst>
                  <a:gd name="connsiteX0" fmla="*/ 75059 w 118177"/>
                  <a:gd name="connsiteY0" fmla="*/ 108307 h 108307"/>
                  <a:gd name="connsiteX1" fmla="*/ 69227 w 118177"/>
                  <a:gd name="connsiteY1" fmla="*/ 105546 h 108307"/>
                  <a:gd name="connsiteX2" fmla="*/ 40250 w 118177"/>
                  <a:gd name="connsiteY2" fmla="*/ 91328 h 108307"/>
                  <a:gd name="connsiteX3" fmla="*/ 33619 w 118177"/>
                  <a:gd name="connsiteY3" fmla="*/ 89522 h 108307"/>
                  <a:gd name="connsiteX4" fmla="*/ 9931 w 118177"/>
                  <a:gd name="connsiteY4" fmla="*/ 73653 h 108307"/>
                  <a:gd name="connsiteX5" fmla="*/ 9338 w 118177"/>
                  <a:gd name="connsiteY5" fmla="*/ 73008 h 108307"/>
                  <a:gd name="connsiteX6" fmla="*/ 178 w 118177"/>
                  <a:gd name="connsiteY6" fmla="*/ 51927 h 108307"/>
                  <a:gd name="connsiteX7" fmla="*/ 14395 w 118177"/>
                  <a:gd name="connsiteY7" fmla="*/ 19905 h 108307"/>
                  <a:gd name="connsiteX8" fmla="*/ 42160 w 118177"/>
                  <a:gd name="connsiteY8" fmla="*/ 12474 h 108307"/>
                  <a:gd name="connsiteX9" fmla="*/ 51939 w 118177"/>
                  <a:gd name="connsiteY9" fmla="*/ 16499 h 108307"/>
                  <a:gd name="connsiteX10" fmla="*/ 58493 w 118177"/>
                  <a:gd name="connsiteY10" fmla="*/ 7933 h 108307"/>
                  <a:gd name="connsiteX11" fmla="*/ 86206 w 118177"/>
                  <a:gd name="connsiteY11" fmla="*/ 166 h 108307"/>
                  <a:gd name="connsiteX12" fmla="*/ 114692 w 118177"/>
                  <a:gd name="connsiteY12" fmla="*/ 20215 h 108307"/>
                  <a:gd name="connsiteX13" fmla="*/ 114770 w 118177"/>
                  <a:gd name="connsiteY13" fmla="*/ 20396 h 108307"/>
                  <a:gd name="connsiteX14" fmla="*/ 117686 w 118177"/>
                  <a:gd name="connsiteY14" fmla="*/ 43205 h 108307"/>
                  <a:gd name="connsiteX15" fmla="*/ 117505 w 118177"/>
                  <a:gd name="connsiteY15" fmla="*/ 44109 h 108307"/>
                  <a:gd name="connsiteX16" fmla="*/ 105068 w 118177"/>
                  <a:gd name="connsiteY16" fmla="*/ 70041 h 108307"/>
                  <a:gd name="connsiteX17" fmla="*/ 100475 w 118177"/>
                  <a:gd name="connsiteY17" fmla="*/ 74763 h 108307"/>
                  <a:gd name="connsiteX18" fmla="*/ 82696 w 118177"/>
                  <a:gd name="connsiteY18" fmla="*/ 102114 h 108307"/>
                  <a:gd name="connsiteX19" fmla="*/ 76530 w 118177"/>
                  <a:gd name="connsiteY19" fmla="*/ 108152 h 108307"/>
                  <a:gd name="connsiteX20" fmla="*/ 75059 w 118177"/>
                  <a:gd name="connsiteY20" fmla="*/ 108307 h 108307"/>
                  <a:gd name="connsiteX21" fmla="*/ 69692 w 118177"/>
                  <a:gd name="connsiteY21" fmla="*/ 99224 h 108307"/>
                  <a:gd name="connsiteX22" fmla="*/ 69640 w 118177"/>
                  <a:gd name="connsiteY22" fmla="*/ 99456 h 108307"/>
                  <a:gd name="connsiteX23" fmla="*/ 69692 w 118177"/>
                  <a:gd name="connsiteY23" fmla="*/ 99224 h 108307"/>
                  <a:gd name="connsiteX24" fmla="*/ 79910 w 118177"/>
                  <a:gd name="connsiteY24" fmla="*/ 97650 h 108307"/>
                  <a:gd name="connsiteX25" fmla="*/ 79910 w 118177"/>
                  <a:gd name="connsiteY25" fmla="*/ 97650 h 108307"/>
                  <a:gd name="connsiteX26" fmla="*/ 79910 w 118177"/>
                  <a:gd name="connsiteY26" fmla="*/ 97650 h 108307"/>
                  <a:gd name="connsiteX27" fmla="*/ 36586 w 118177"/>
                  <a:gd name="connsiteY27" fmla="*/ 25221 h 108307"/>
                  <a:gd name="connsiteX28" fmla="*/ 22059 w 118177"/>
                  <a:gd name="connsiteY28" fmla="*/ 30768 h 108307"/>
                  <a:gd name="connsiteX29" fmla="*/ 13389 w 118177"/>
                  <a:gd name="connsiteY29" fmla="*/ 50301 h 108307"/>
                  <a:gd name="connsiteX30" fmla="*/ 19659 w 118177"/>
                  <a:gd name="connsiteY30" fmla="*/ 64596 h 108307"/>
                  <a:gd name="connsiteX31" fmla="*/ 37876 w 118177"/>
                  <a:gd name="connsiteY31" fmla="*/ 76930 h 108307"/>
                  <a:gd name="connsiteX32" fmla="*/ 43295 w 118177"/>
                  <a:gd name="connsiteY32" fmla="*/ 78375 h 108307"/>
                  <a:gd name="connsiteX33" fmla="*/ 72401 w 118177"/>
                  <a:gd name="connsiteY33" fmla="*/ 90606 h 108307"/>
                  <a:gd name="connsiteX34" fmla="*/ 91263 w 118177"/>
                  <a:gd name="connsiteY34" fmla="*/ 65190 h 108307"/>
                  <a:gd name="connsiteX35" fmla="*/ 94979 w 118177"/>
                  <a:gd name="connsiteY35" fmla="*/ 61423 h 108307"/>
                  <a:gd name="connsiteX36" fmla="*/ 104526 w 118177"/>
                  <a:gd name="connsiteY36" fmla="*/ 41270 h 108307"/>
                  <a:gd name="connsiteX37" fmla="*/ 102591 w 118177"/>
                  <a:gd name="connsiteY37" fmla="*/ 25711 h 108307"/>
                  <a:gd name="connsiteX38" fmla="*/ 85199 w 118177"/>
                  <a:gd name="connsiteY38" fmla="*/ 13429 h 108307"/>
                  <a:gd name="connsiteX39" fmla="*/ 67369 w 118177"/>
                  <a:gd name="connsiteY39" fmla="*/ 17867 h 108307"/>
                  <a:gd name="connsiteX40" fmla="*/ 61899 w 118177"/>
                  <a:gd name="connsiteY40" fmla="*/ 29091 h 108307"/>
                  <a:gd name="connsiteX41" fmla="*/ 56945 w 118177"/>
                  <a:gd name="connsiteY41" fmla="*/ 35284 h 108307"/>
                  <a:gd name="connsiteX42" fmla="*/ 49591 w 118177"/>
                  <a:gd name="connsiteY42" fmla="*/ 32368 h 108307"/>
                  <a:gd name="connsiteX43" fmla="*/ 39373 w 118177"/>
                  <a:gd name="connsiteY43" fmla="*/ 25505 h 108307"/>
                  <a:gd name="connsiteX44" fmla="*/ 36586 w 118177"/>
                  <a:gd name="connsiteY44" fmla="*/ 25221 h 10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8177" h="108307">
                    <a:moveTo>
                      <a:pt x="75059" y="108307"/>
                    </a:moveTo>
                    <a:cubicBezTo>
                      <a:pt x="72788" y="108307"/>
                      <a:pt x="70672" y="107301"/>
                      <a:pt x="69227" y="105546"/>
                    </a:cubicBezTo>
                    <a:cubicBezTo>
                      <a:pt x="60274" y="96025"/>
                      <a:pt x="48223" y="93186"/>
                      <a:pt x="40250" y="91328"/>
                    </a:cubicBezTo>
                    <a:cubicBezTo>
                      <a:pt x="37541" y="90683"/>
                      <a:pt x="35270" y="90116"/>
                      <a:pt x="33619" y="89522"/>
                    </a:cubicBezTo>
                    <a:cubicBezTo>
                      <a:pt x="21156" y="85626"/>
                      <a:pt x="13312" y="77240"/>
                      <a:pt x="9931" y="73653"/>
                    </a:cubicBezTo>
                    <a:cubicBezTo>
                      <a:pt x="9828" y="73550"/>
                      <a:pt x="9441" y="73111"/>
                      <a:pt x="9338" y="73008"/>
                    </a:cubicBezTo>
                    <a:cubicBezTo>
                      <a:pt x="4281" y="66790"/>
                      <a:pt x="1287" y="59900"/>
                      <a:pt x="178" y="51927"/>
                    </a:cubicBezTo>
                    <a:cubicBezTo>
                      <a:pt x="-1396" y="36858"/>
                      <a:pt x="7816" y="24550"/>
                      <a:pt x="14395" y="19905"/>
                    </a:cubicBezTo>
                    <a:cubicBezTo>
                      <a:pt x="23968" y="13171"/>
                      <a:pt x="33335" y="10668"/>
                      <a:pt x="42160" y="12474"/>
                    </a:cubicBezTo>
                    <a:cubicBezTo>
                      <a:pt x="46030" y="13248"/>
                      <a:pt x="49281" y="14770"/>
                      <a:pt x="51939" y="16499"/>
                    </a:cubicBezTo>
                    <a:cubicBezTo>
                      <a:pt x="53410" y="13635"/>
                      <a:pt x="55500" y="10616"/>
                      <a:pt x="58493" y="7933"/>
                    </a:cubicBezTo>
                    <a:cubicBezTo>
                      <a:pt x="65254" y="1895"/>
                      <a:pt x="74568" y="-711"/>
                      <a:pt x="86206" y="166"/>
                    </a:cubicBezTo>
                    <a:cubicBezTo>
                      <a:pt x="94230" y="785"/>
                      <a:pt x="108448" y="6642"/>
                      <a:pt x="114692" y="20215"/>
                    </a:cubicBezTo>
                    <a:cubicBezTo>
                      <a:pt x="114718" y="20267"/>
                      <a:pt x="114744" y="20344"/>
                      <a:pt x="114770" y="20396"/>
                    </a:cubicBezTo>
                    <a:cubicBezTo>
                      <a:pt x="117918" y="27775"/>
                      <a:pt x="118873" y="35232"/>
                      <a:pt x="117686" y="43205"/>
                    </a:cubicBezTo>
                    <a:cubicBezTo>
                      <a:pt x="117660" y="43360"/>
                      <a:pt x="117531" y="43980"/>
                      <a:pt x="117505" y="44109"/>
                    </a:cubicBezTo>
                    <a:cubicBezTo>
                      <a:pt x="116447" y="48908"/>
                      <a:pt x="113970" y="60132"/>
                      <a:pt x="105068" y="70041"/>
                    </a:cubicBezTo>
                    <a:cubicBezTo>
                      <a:pt x="104165" y="71150"/>
                      <a:pt x="102488" y="72802"/>
                      <a:pt x="100475" y="74763"/>
                    </a:cubicBezTo>
                    <a:cubicBezTo>
                      <a:pt x="94489" y="80517"/>
                      <a:pt x="85457" y="89213"/>
                      <a:pt x="82696" y="102114"/>
                    </a:cubicBezTo>
                    <a:cubicBezTo>
                      <a:pt x="82103" y="105133"/>
                      <a:pt x="79677" y="107559"/>
                      <a:pt x="76530" y="108152"/>
                    </a:cubicBezTo>
                    <a:cubicBezTo>
                      <a:pt x="76039" y="108281"/>
                      <a:pt x="75549" y="108307"/>
                      <a:pt x="75059" y="108307"/>
                    </a:cubicBezTo>
                    <a:close/>
                    <a:moveTo>
                      <a:pt x="69692" y="99224"/>
                    </a:moveTo>
                    <a:cubicBezTo>
                      <a:pt x="69666" y="99302"/>
                      <a:pt x="69666" y="99379"/>
                      <a:pt x="69640" y="99456"/>
                    </a:cubicBezTo>
                    <a:cubicBezTo>
                      <a:pt x="69666" y="99405"/>
                      <a:pt x="69692" y="99327"/>
                      <a:pt x="69692" y="99224"/>
                    </a:cubicBezTo>
                    <a:close/>
                    <a:moveTo>
                      <a:pt x="79910" y="97650"/>
                    </a:moveTo>
                    <a:cubicBezTo>
                      <a:pt x="79910" y="97650"/>
                      <a:pt x="79910" y="97676"/>
                      <a:pt x="79910" y="97650"/>
                    </a:cubicBezTo>
                    <a:cubicBezTo>
                      <a:pt x="79910" y="97676"/>
                      <a:pt x="79910" y="97650"/>
                      <a:pt x="79910" y="97650"/>
                    </a:cubicBezTo>
                    <a:close/>
                    <a:moveTo>
                      <a:pt x="36586" y="25221"/>
                    </a:moveTo>
                    <a:cubicBezTo>
                      <a:pt x="32200" y="25221"/>
                      <a:pt x="27323" y="27078"/>
                      <a:pt x="22059" y="30768"/>
                    </a:cubicBezTo>
                    <a:cubicBezTo>
                      <a:pt x="20072" y="32162"/>
                      <a:pt x="12305" y="40032"/>
                      <a:pt x="13389" y="50301"/>
                    </a:cubicBezTo>
                    <a:cubicBezTo>
                      <a:pt x="14137" y="55643"/>
                      <a:pt x="16124" y="60262"/>
                      <a:pt x="19659" y="64596"/>
                    </a:cubicBezTo>
                    <a:cubicBezTo>
                      <a:pt x="22523" y="67615"/>
                      <a:pt x="28458" y="73989"/>
                      <a:pt x="37876" y="76930"/>
                    </a:cubicBezTo>
                    <a:cubicBezTo>
                      <a:pt x="39450" y="77498"/>
                      <a:pt x="41205" y="77885"/>
                      <a:pt x="43295" y="78375"/>
                    </a:cubicBezTo>
                    <a:cubicBezTo>
                      <a:pt x="50649" y="80104"/>
                      <a:pt x="62080" y="82788"/>
                      <a:pt x="72401" y="90606"/>
                    </a:cubicBezTo>
                    <a:cubicBezTo>
                      <a:pt x="77329" y="78582"/>
                      <a:pt x="85793" y="70454"/>
                      <a:pt x="91263" y="65190"/>
                    </a:cubicBezTo>
                    <a:cubicBezTo>
                      <a:pt x="92811" y="63693"/>
                      <a:pt x="94127" y="62455"/>
                      <a:pt x="94979" y="61423"/>
                    </a:cubicBezTo>
                    <a:cubicBezTo>
                      <a:pt x="101765" y="53862"/>
                      <a:pt x="103623" y="45347"/>
                      <a:pt x="104526" y="41270"/>
                    </a:cubicBezTo>
                    <a:cubicBezTo>
                      <a:pt x="105352" y="35748"/>
                      <a:pt x="104732" y="30794"/>
                      <a:pt x="102591" y="25711"/>
                    </a:cubicBezTo>
                    <a:cubicBezTo>
                      <a:pt x="98230" y="16396"/>
                      <a:pt x="87599" y="13635"/>
                      <a:pt x="85199" y="13429"/>
                    </a:cubicBezTo>
                    <a:cubicBezTo>
                      <a:pt x="77355" y="12835"/>
                      <a:pt x="71343" y="14306"/>
                      <a:pt x="67369" y="17867"/>
                    </a:cubicBezTo>
                    <a:cubicBezTo>
                      <a:pt x="62364" y="22331"/>
                      <a:pt x="61899" y="29014"/>
                      <a:pt x="61899" y="29091"/>
                    </a:cubicBezTo>
                    <a:cubicBezTo>
                      <a:pt x="61796" y="32033"/>
                      <a:pt x="59783" y="34536"/>
                      <a:pt x="56945" y="35284"/>
                    </a:cubicBezTo>
                    <a:cubicBezTo>
                      <a:pt x="54107" y="36032"/>
                      <a:pt x="51139" y="34845"/>
                      <a:pt x="49591" y="32368"/>
                    </a:cubicBezTo>
                    <a:cubicBezTo>
                      <a:pt x="49591" y="32368"/>
                      <a:pt x="45901" y="26769"/>
                      <a:pt x="39373" y="25505"/>
                    </a:cubicBezTo>
                    <a:cubicBezTo>
                      <a:pt x="38470" y="25298"/>
                      <a:pt x="37541" y="25221"/>
                      <a:pt x="36586" y="25221"/>
                    </a:cubicBezTo>
                    <a:close/>
                  </a:path>
                </a:pathLst>
              </a:custGeom>
              <a:solidFill>
                <a:schemeClr val="accent1"/>
              </a:solidFill>
              <a:ln w="2573" cap="flat">
                <a:noFill/>
                <a:prstDash val="solid"/>
                <a:miter/>
              </a:ln>
            </p:spPr>
            <p:txBody>
              <a:bodyPr rtlCol="0" anchor="ctr"/>
              <a:lstStyle/>
              <a:p>
                <a:endParaRPr lang="en-GB" dirty="0"/>
              </a:p>
            </p:txBody>
          </p:sp>
        </p:grpSp>
      </p:grpSp>
      <p:sp>
        <p:nvSpPr>
          <p:cNvPr id="1396" name="TextBox 1425">
            <a:extLst>
              <a:ext uri="{FF2B5EF4-FFF2-40B4-BE49-F238E27FC236}">
                <a16:creationId xmlns:a16="http://schemas.microsoft.com/office/drawing/2014/main" id="{7B29F048-D1CC-447E-BFF2-B78D79B8EA1C}"/>
              </a:ext>
            </a:extLst>
          </p:cNvPr>
          <p:cNvSpPr txBox="1"/>
          <p:nvPr/>
        </p:nvSpPr>
        <p:spPr>
          <a:xfrm>
            <a:off x="637757" y="3723675"/>
            <a:ext cx="312586" cy="215444"/>
          </a:xfrm>
          <a:prstGeom prst="rect">
            <a:avLst/>
          </a:prstGeom>
          <a:noFill/>
          <a:effectLst/>
        </p:spPr>
        <p:txBody>
          <a:bodyPr wrap="none" lIns="0" tIns="0" rIns="0" bIns="0" rtlCol="0" anchor="t" anchorCtr="0">
            <a:spAutoFit/>
          </a:bodyPr>
          <a:lstStyle/>
          <a:p>
            <a:pPr algn="ctr"/>
            <a:r>
              <a:rPr lang="en-GB" sz="700" dirty="0">
                <a:solidFill>
                  <a:schemeClr val="tx2"/>
                </a:solidFill>
              </a:rPr>
              <a:t>Positive</a:t>
            </a:r>
            <a:br>
              <a:rPr lang="en-GB" sz="700" dirty="0">
                <a:solidFill>
                  <a:schemeClr val="tx2"/>
                </a:solidFill>
              </a:rPr>
            </a:br>
            <a:r>
              <a:rPr lang="en-GB" sz="700" dirty="0">
                <a:solidFill>
                  <a:schemeClr val="tx2"/>
                </a:solidFill>
              </a:rPr>
              <a:t>impact</a:t>
            </a:r>
          </a:p>
        </p:txBody>
      </p:sp>
      <p:grpSp>
        <p:nvGrpSpPr>
          <p:cNvPr id="48" name="Group 47">
            <a:extLst>
              <a:ext uri="{FF2B5EF4-FFF2-40B4-BE49-F238E27FC236}">
                <a16:creationId xmlns:a16="http://schemas.microsoft.com/office/drawing/2014/main" id="{32301321-F8DD-CFC6-209E-42F455C03CB1}"/>
              </a:ext>
            </a:extLst>
          </p:cNvPr>
          <p:cNvGrpSpPr/>
          <p:nvPr/>
        </p:nvGrpSpPr>
        <p:grpSpPr>
          <a:xfrm>
            <a:off x="3709292" y="3273397"/>
            <a:ext cx="442119" cy="432000"/>
            <a:chOff x="3709292" y="3273397"/>
            <a:chExt cx="442119" cy="432000"/>
          </a:xfrm>
        </p:grpSpPr>
        <p:grpSp>
          <p:nvGrpSpPr>
            <p:cNvPr id="1398" name="Gruppieren 1397">
              <a:extLst>
                <a:ext uri="{FF2B5EF4-FFF2-40B4-BE49-F238E27FC236}">
                  <a16:creationId xmlns:a16="http://schemas.microsoft.com/office/drawing/2014/main" id="{B7AF60E2-5FBF-420E-8D2D-637AAAB2E6F3}"/>
                </a:ext>
              </a:extLst>
            </p:cNvPr>
            <p:cNvGrpSpPr/>
            <p:nvPr/>
          </p:nvGrpSpPr>
          <p:grpSpPr>
            <a:xfrm>
              <a:off x="3995594" y="3273397"/>
              <a:ext cx="153030" cy="432000"/>
              <a:chOff x="3687821" y="3219301"/>
              <a:chExt cx="187471" cy="529226"/>
            </a:xfrm>
          </p:grpSpPr>
          <p:sp>
            <p:nvSpPr>
              <p:cNvPr id="1423" name="Freihandform: Form 1422">
                <a:extLst>
                  <a:ext uri="{FF2B5EF4-FFF2-40B4-BE49-F238E27FC236}">
                    <a16:creationId xmlns:a16="http://schemas.microsoft.com/office/drawing/2014/main" id="{2CF92C4F-9658-40CD-A8E2-83A7838AE288}"/>
                  </a:ext>
                </a:extLst>
              </p:cNvPr>
              <p:cNvSpPr/>
              <p:nvPr/>
            </p:nvSpPr>
            <p:spPr>
              <a:xfrm>
                <a:off x="3827000" y="3579445"/>
                <a:ext cx="24708" cy="169082"/>
              </a:xfrm>
              <a:custGeom>
                <a:avLst/>
                <a:gdLst>
                  <a:gd name="connsiteX0" fmla="*/ 6652 w 24708"/>
                  <a:gd name="connsiteY0" fmla="*/ 169082 h 169082"/>
                  <a:gd name="connsiteX1" fmla="*/ 6161 w 24708"/>
                  <a:gd name="connsiteY1" fmla="*/ 169057 h 169082"/>
                  <a:gd name="connsiteX2" fmla="*/ 20 w 24708"/>
                  <a:gd name="connsiteY2" fmla="*/ 161935 h 169082"/>
                  <a:gd name="connsiteX3" fmla="*/ 11425 w 24708"/>
                  <a:gd name="connsiteY3" fmla="*/ 6161 h 169082"/>
                  <a:gd name="connsiteX4" fmla="*/ 18547 w 24708"/>
                  <a:gd name="connsiteY4" fmla="*/ 20 h 169082"/>
                  <a:gd name="connsiteX5" fmla="*/ 24688 w 24708"/>
                  <a:gd name="connsiteY5" fmla="*/ 7142 h 169082"/>
                  <a:gd name="connsiteX6" fmla="*/ 13283 w 24708"/>
                  <a:gd name="connsiteY6" fmla="*/ 162916 h 169082"/>
                  <a:gd name="connsiteX7" fmla="*/ 6652 w 24708"/>
                  <a:gd name="connsiteY7" fmla="*/ 169082 h 169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708" h="169082">
                    <a:moveTo>
                      <a:pt x="6652" y="169082"/>
                    </a:moveTo>
                    <a:cubicBezTo>
                      <a:pt x="6497" y="169082"/>
                      <a:pt x="6316" y="169082"/>
                      <a:pt x="6161" y="169057"/>
                    </a:cubicBezTo>
                    <a:cubicBezTo>
                      <a:pt x="2497" y="168799"/>
                      <a:pt x="-264" y="165599"/>
                      <a:pt x="20" y="161935"/>
                    </a:cubicBezTo>
                    <a:lnTo>
                      <a:pt x="11425" y="6161"/>
                    </a:lnTo>
                    <a:cubicBezTo>
                      <a:pt x="11683" y="2497"/>
                      <a:pt x="14806" y="-264"/>
                      <a:pt x="18547" y="20"/>
                    </a:cubicBezTo>
                    <a:cubicBezTo>
                      <a:pt x="22211" y="278"/>
                      <a:pt x="24972" y="3478"/>
                      <a:pt x="24688" y="7142"/>
                    </a:cubicBezTo>
                    <a:lnTo>
                      <a:pt x="13283" y="162916"/>
                    </a:lnTo>
                    <a:cubicBezTo>
                      <a:pt x="13025" y="166425"/>
                      <a:pt x="10109" y="169082"/>
                      <a:pt x="6652" y="169082"/>
                    </a:cubicBezTo>
                    <a:close/>
                  </a:path>
                </a:pathLst>
              </a:custGeom>
              <a:solidFill>
                <a:schemeClr val="accent1"/>
              </a:solidFill>
              <a:ln w="2573" cap="flat">
                <a:noFill/>
                <a:prstDash val="solid"/>
                <a:miter/>
              </a:ln>
            </p:spPr>
            <p:txBody>
              <a:bodyPr rtlCol="0" anchor="ctr"/>
              <a:lstStyle/>
              <a:p>
                <a:endParaRPr lang="en-GB" dirty="0"/>
              </a:p>
            </p:txBody>
          </p:sp>
          <p:sp>
            <p:nvSpPr>
              <p:cNvPr id="1424" name="Freihandform: Form 1423">
                <a:extLst>
                  <a:ext uri="{FF2B5EF4-FFF2-40B4-BE49-F238E27FC236}">
                    <a16:creationId xmlns:a16="http://schemas.microsoft.com/office/drawing/2014/main" id="{A0D9748A-9B44-4F43-9C1F-DB211603F365}"/>
                  </a:ext>
                </a:extLst>
              </p:cNvPr>
              <p:cNvSpPr/>
              <p:nvPr/>
            </p:nvSpPr>
            <p:spPr>
              <a:xfrm>
                <a:off x="3841115" y="3463953"/>
                <a:ext cx="19057" cy="91901"/>
              </a:xfrm>
              <a:custGeom>
                <a:avLst/>
                <a:gdLst>
                  <a:gd name="connsiteX0" fmla="*/ 6651 w 19057"/>
                  <a:gd name="connsiteY0" fmla="*/ 91902 h 91901"/>
                  <a:gd name="connsiteX1" fmla="*/ 6161 w 19057"/>
                  <a:gd name="connsiteY1" fmla="*/ 91876 h 91901"/>
                  <a:gd name="connsiteX2" fmla="*/ 20 w 19057"/>
                  <a:gd name="connsiteY2" fmla="*/ 84754 h 91901"/>
                  <a:gd name="connsiteX3" fmla="*/ 5774 w 19057"/>
                  <a:gd name="connsiteY3" fmla="*/ 6158 h 91901"/>
                  <a:gd name="connsiteX4" fmla="*/ 12896 w 19057"/>
                  <a:gd name="connsiteY4" fmla="*/ 17 h 91901"/>
                  <a:gd name="connsiteX5" fmla="*/ 19037 w 19057"/>
                  <a:gd name="connsiteY5" fmla="*/ 7139 h 91901"/>
                  <a:gd name="connsiteX6" fmla="*/ 13283 w 19057"/>
                  <a:gd name="connsiteY6" fmla="*/ 85735 h 91901"/>
                  <a:gd name="connsiteX7" fmla="*/ 6651 w 19057"/>
                  <a:gd name="connsiteY7" fmla="*/ 91902 h 9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7" h="91901">
                    <a:moveTo>
                      <a:pt x="6651" y="91902"/>
                    </a:moveTo>
                    <a:cubicBezTo>
                      <a:pt x="6497" y="91902"/>
                      <a:pt x="6316" y="91902"/>
                      <a:pt x="6161" y="91876"/>
                    </a:cubicBezTo>
                    <a:cubicBezTo>
                      <a:pt x="2497" y="91618"/>
                      <a:pt x="-264" y="88419"/>
                      <a:pt x="20" y="84754"/>
                    </a:cubicBezTo>
                    <a:lnTo>
                      <a:pt x="5774" y="6158"/>
                    </a:lnTo>
                    <a:cubicBezTo>
                      <a:pt x="6032" y="2494"/>
                      <a:pt x="9154" y="-241"/>
                      <a:pt x="12896" y="17"/>
                    </a:cubicBezTo>
                    <a:cubicBezTo>
                      <a:pt x="16560" y="275"/>
                      <a:pt x="19321" y="3474"/>
                      <a:pt x="19037" y="7139"/>
                    </a:cubicBezTo>
                    <a:lnTo>
                      <a:pt x="13283" y="85735"/>
                    </a:lnTo>
                    <a:cubicBezTo>
                      <a:pt x="13025" y="89244"/>
                      <a:pt x="10109" y="91902"/>
                      <a:pt x="6651" y="91902"/>
                    </a:cubicBezTo>
                    <a:close/>
                  </a:path>
                </a:pathLst>
              </a:custGeom>
              <a:solidFill>
                <a:schemeClr val="accent1"/>
              </a:solidFill>
              <a:ln w="2573" cap="flat">
                <a:noFill/>
                <a:prstDash val="solid"/>
                <a:miter/>
              </a:ln>
            </p:spPr>
            <p:txBody>
              <a:bodyPr rtlCol="0" anchor="ctr"/>
              <a:lstStyle/>
              <a:p>
                <a:endParaRPr lang="en-GB" dirty="0"/>
              </a:p>
            </p:txBody>
          </p:sp>
          <p:sp>
            <p:nvSpPr>
              <p:cNvPr id="1425" name="Freihandform: Form 1424">
                <a:extLst>
                  <a:ext uri="{FF2B5EF4-FFF2-40B4-BE49-F238E27FC236}">
                    <a16:creationId xmlns:a16="http://schemas.microsoft.com/office/drawing/2014/main" id="{A9FA1EE2-F394-4A40-9418-95605BD5432A}"/>
                  </a:ext>
                </a:extLst>
              </p:cNvPr>
              <p:cNvSpPr/>
              <p:nvPr/>
            </p:nvSpPr>
            <p:spPr>
              <a:xfrm>
                <a:off x="3849965" y="3257370"/>
                <a:ext cx="25327" cy="177494"/>
              </a:xfrm>
              <a:custGeom>
                <a:avLst/>
                <a:gdLst>
                  <a:gd name="connsiteX0" fmla="*/ 6652 w 25327"/>
                  <a:gd name="connsiteY0" fmla="*/ 177494 h 177494"/>
                  <a:gd name="connsiteX1" fmla="*/ 6161 w 25327"/>
                  <a:gd name="connsiteY1" fmla="*/ 177468 h 177494"/>
                  <a:gd name="connsiteX2" fmla="*/ 20 w 25327"/>
                  <a:gd name="connsiteY2" fmla="*/ 170347 h 177494"/>
                  <a:gd name="connsiteX3" fmla="*/ 12044 w 25327"/>
                  <a:gd name="connsiteY3" fmla="*/ 6161 h 177494"/>
                  <a:gd name="connsiteX4" fmla="*/ 19166 w 25327"/>
                  <a:gd name="connsiteY4" fmla="*/ 20 h 177494"/>
                  <a:gd name="connsiteX5" fmla="*/ 25307 w 25327"/>
                  <a:gd name="connsiteY5" fmla="*/ 7142 h 177494"/>
                  <a:gd name="connsiteX6" fmla="*/ 13283 w 25327"/>
                  <a:gd name="connsiteY6" fmla="*/ 171302 h 177494"/>
                  <a:gd name="connsiteX7" fmla="*/ 6652 w 25327"/>
                  <a:gd name="connsiteY7" fmla="*/ 177494 h 177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327" h="177494">
                    <a:moveTo>
                      <a:pt x="6652" y="177494"/>
                    </a:moveTo>
                    <a:cubicBezTo>
                      <a:pt x="6497" y="177494"/>
                      <a:pt x="6316" y="177494"/>
                      <a:pt x="6161" y="177468"/>
                    </a:cubicBezTo>
                    <a:cubicBezTo>
                      <a:pt x="2497" y="177210"/>
                      <a:pt x="-264" y="174011"/>
                      <a:pt x="20" y="170347"/>
                    </a:cubicBezTo>
                    <a:lnTo>
                      <a:pt x="12044" y="6161"/>
                    </a:lnTo>
                    <a:cubicBezTo>
                      <a:pt x="12302" y="2497"/>
                      <a:pt x="15425" y="-264"/>
                      <a:pt x="19166" y="20"/>
                    </a:cubicBezTo>
                    <a:cubicBezTo>
                      <a:pt x="22830" y="278"/>
                      <a:pt x="25591" y="3478"/>
                      <a:pt x="25307" y="7142"/>
                    </a:cubicBezTo>
                    <a:lnTo>
                      <a:pt x="13283" y="171302"/>
                    </a:lnTo>
                    <a:cubicBezTo>
                      <a:pt x="13025" y="174837"/>
                      <a:pt x="10109" y="177494"/>
                      <a:pt x="6652" y="177494"/>
                    </a:cubicBezTo>
                    <a:close/>
                  </a:path>
                </a:pathLst>
              </a:custGeom>
              <a:solidFill>
                <a:schemeClr val="accent1"/>
              </a:solidFill>
              <a:ln w="2573" cap="flat">
                <a:noFill/>
                <a:prstDash val="solid"/>
                <a:miter/>
              </a:ln>
            </p:spPr>
            <p:txBody>
              <a:bodyPr rtlCol="0" anchor="ctr"/>
              <a:lstStyle/>
              <a:p>
                <a:endParaRPr lang="en-GB" dirty="0"/>
              </a:p>
            </p:txBody>
          </p:sp>
          <p:sp>
            <p:nvSpPr>
              <p:cNvPr id="1426" name="Freihandform: Form 1425">
                <a:extLst>
                  <a:ext uri="{FF2B5EF4-FFF2-40B4-BE49-F238E27FC236}">
                    <a16:creationId xmlns:a16="http://schemas.microsoft.com/office/drawing/2014/main" id="{663BD388-CAED-4146-8107-CB32B5CFB337}"/>
                  </a:ext>
                </a:extLst>
              </p:cNvPr>
              <p:cNvSpPr/>
              <p:nvPr/>
            </p:nvSpPr>
            <p:spPr>
              <a:xfrm>
                <a:off x="3740062" y="3254035"/>
                <a:ext cx="135214" cy="97071"/>
              </a:xfrm>
              <a:custGeom>
                <a:avLst/>
                <a:gdLst>
                  <a:gd name="connsiteX0" fmla="*/ 121870 w 135214"/>
                  <a:gd name="connsiteY0" fmla="*/ 97072 h 97071"/>
                  <a:gd name="connsiteX1" fmla="*/ 121638 w 135214"/>
                  <a:gd name="connsiteY1" fmla="*/ 97072 h 97071"/>
                  <a:gd name="connsiteX2" fmla="*/ 6427 w 135214"/>
                  <a:gd name="connsiteY2" fmla="*/ 93072 h 97071"/>
                  <a:gd name="connsiteX3" fmla="*/ 2 w 135214"/>
                  <a:gd name="connsiteY3" fmla="*/ 86234 h 97071"/>
                  <a:gd name="connsiteX4" fmla="*/ 2246 w 135214"/>
                  <a:gd name="connsiteY4" fmla="*/ 6451 h 97071"/>
                  <a:gd name="connsiteX5" fmla="*/ 9084 w 135214"/>
                  <a:gd name="connsiteY5" fmla="*/ 0 h 97071"/>
                  <a:gd name="connsiteX6" fmla="*/ 128760 w 135214"/>
                  <a:gd name="connsiteY6" fmla="*/ 3380 h 97071"/>
                  <a:gd name="connsiteX7" fmla="*/ 135210 w 135214"/>
                  <a:gd name="connsiteY7" fmla="*/ 10218 h 97071"/>
                  <a:gd name="connsiteX8" fmla="*/ 128372 w 135214"/>
                  <a:gd name="connsiteY8" fmla="*/ 16669 h 97071"/>
                  <a:gd name="connsiteX9" fmla="*/ 15354 w 135214"/>
                  <a:gd name="connsiteY9" fmla="*/ 13469 h 97071"/>
                  <a:gd name="connsiteX10" fmla="*/ 13471 w 135214"/>
                  <a:gd name="connsiteY10" fmla="*/ 79990 h 97071"/>
                  <a:gd name="connsiteX11" fmla="*/ 122077 w 135214"/>
                  <a:gd name="connsiteY11" fmla="*/ 83783 h 97071"/>
                  <a:gd name="connsiteX12" fmla="*/ 128476 w 135214"/>
                  <a:gd name="connsiteY12" fmla="*/ 90672 h 97071"/>
                  <a:gd name="connsiteX13" fmla="*/ 121870 w 135214"/>
                  <a:gd name="connsiteY13" fmla="*/ 97072 h 9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5214" h="97071">
                    <a:moveTo>
                      <a:pt x="121870" y="97072"/>
                    </a:moveTo>
                    <a:cubicBezTo>
                      <a:pt x="121792" y="97072"/>
                      <a:pt x="121715" y="97072"/>
                      <a:pt x="121638" y="97072"/>
                    </a:cubicBezTo>
                    <a:lnTo>
                      <a:pt x="6427" y="93072"/>
                    </a:lnTo>
                    <a:cubicBezTo>
                      <a:pt x="2763" y="92943"/>
                      <a:pt x="-76" y="89898"/>
                      <a:pt x="2" y="86234"/>
                    </a:cubicBezTo>
                    <a:lnTo>
                      <a:pt x="2246" y="6451"/>
                    </a:lnTo>
                    <a:cubicBezTo>
                      <a:pt x="2350" y="2787"/>
                      <a:pt x="5368" y="-26"/>
                      <a:pt x="9084" y="0"/>
                    </a:cubicBezTo>
                    <a:lnTo>
                      <a:pt x="128760" y="3380"/>
                    </a:lnTo>
                    <a:cubicBezTo>
                      <a:pt x="132424" y="3484"/>
                      <a:pt x="135339" y="6554"/>
                      <a:pt x="135210" y="10218"/>
                    </a:cubicBezTo>
                    <a:cubicBezTo>
                      <a:pt x="135107" y="13882"/>
                      <a:pt x="132011" y="16772"/>
                      <a:pt x="128372" y="16669"/>
                    </a:cubicBezTo>
                    <a:lnTo>
                      <a:pt x="15354" y="13469"/>
                    </a:lnTo>
                    <a:lnTo>
                      <a:pt x="13471" y="79990"/>
                    </a:lnTo>
                    <a:lnTo>
                      <a:pt x="122077" y="83783"/>
                    </a:lnTo>
                    <a:cubicBezTo>
                      <a:pt x="125740" y="83912"/>
                      <a:pt x="128605" y="86983"/>
                      <a:pt x="128476" y="90672"/>
                    </a:cubicBezTo>
                    <a:cubicBezTo>
                      <a:pt x="128372" y="94259"/>
                      <a:pt x="125431" y="97072"/>
                      <a:pt x="121870" y="97072"/>
                    </a:cubicBezTo>
                    <a:close/>
                  </a:path>
                </a:pathLst>
              </a:custGeom>
              <a:solidFill>
                <a:schemeClr val="accent1"/>
              </a:solidFill>
              <a:ln w="2573" cap="flat">
                <a:noFill/>
                <a:prstDash val="solid"/>
                <a:miter/>
              </a:ln>
            </p:spPr>
            <p:txBody>
              <a:bodyPr rtlCol="0" anchor="ctr"/>
              <a:lstStyle/>
              <a:p>
                <a:endParaRPr lang="en-GB" dirty="0"/>
              </a:p>
            </p:txBody>
          </p:sp>
          <p:sp>
            <p:nvSpPr>
              <p:cNvPr id="1427" name="Freihandform: Form 1426">
                <a:extLst>
                  <a:ext uri="{FF2B5EF4-FFF2-40B4-BE49-F238E27FC236}">
                    <a16:creationId xmlns:a16="http://schemas.microsoft.com/office/drawing/2014/main" id="{10E3D159-77C7-4C12-BF1E-0C433BFC03F7}"/>
                  </a:ext>
                </a:extLst>
              </p:cNvPr>
              <p:cNvSpPr/>
              <p:nvPr/>
            </p:nvSpPr>
            <p:spPr>
              <a:xfrm>
                <a:off x="3687821" y="3219301"/>
                <a:ext cx="101993" cy="94675"/>
              </a:xfrm>
              <a:custGeom>
                <a:avLst/>
                <a:gdLst>
                  <a:gd name="connsiteX0" fmla="*/ 57429 w 101993"/>
                  <a:gd name="connsiteY0" fmla="*/ 94676 h 94675"/>
                  <a:gd name="connsiteX1" fmla="*/ 57223 w 101993"/>
                  <a:gd name="connsiteY1" fmla="*/ 94676 h 94675"/>
                  <a:gd name="connsiteX2" fmla="*/ 6442 w 101993"/>
                  <a:gd name="connsiteY2" fmla="*/ 93076 h 94675"/>
                  <a:gd name="connsiteX3" fmla="*/ 894 w 101993"/>
                  <a:gd name="connsiteY3" fmla="*/ 89747 h 94675"/>
                  <a:gd name="connsiteX4" fmla="*/ 791 w 101993"/>
                  <a:gd name="connsiteY4" fmla="*/ 83296 h 94675"/>
                  <a:gd name="connsiteX5" fmla="*/ 20298 w 101993"/>
                  <a:gd name="connsiteY5" fmla="*/ 46888 h 94675"/>
                  <a:gd name="connsiteX6" fmla="*/ 2881 w 101993"/>
                  <a:gd name="connsiteY6" fmla="*/ 9448 h 94675"/>
                  <a:gd name="connsiteX7" fmla="*/ 3346 w 101993"/>
                  <a:gd name="connsiteY7" fmla="*/ 2997 h 94675"/>
                  <a:gd name="connsiteX8" fmla="*/ 9100 w 101993"/>
                  <a:gd name="connsiteY8" fmla="*/ 4 h 94675"/>
                  <a:gd name="connsiteX9" fmla="*/ 95540 w 101993"/>
                  <a:gd name="connsiteY9" fmla="*/ 2429 h 94675"/>
                  <a:gd name="connsiteX10" fmla="*/ 100185 w 101993"/>
                  <a:gd name="connsiteY10" fmla="*/ 4519 h 94675"/>
                  <a:gd name="connsiteX11" fmla="*/ 101991 w 101993"/>
                  <a:gd name="connsiteY11" fmla="*/ 9267 h 94675"/>
                  <a:gd name="connsiteX12" fmla="*/ 101088 w 101993"/>
                  <a:gd name="connsiteY12" fmla="*/ 41702 h 94675"/>
                  <a:gd name="connsiteX13" fmla="*/ 94250 w 101993"/>
                  <a:gd name="connsiteY13" fmla="*/ 48152 h 94675"/>
                  <a:gd name="connsiteX14" fmla="*/ 87799 w 101993"/>
                  <a:gd name="connsiteY14" fmla="*/ 41315 h 94675"/>
                  <a:gd name="connsiteX15" fmla="*/ 88522 w 101993"/>
                  <a:gd name="connsiteY15" fmla="*/ 15537 h 94675"/>
                  <a:gd name="connsiteX16" fmla="*/ 19498 w 101993"/>
                  <a:gd name="connsiteY16" fmla="*/ 13602 h 94675"/>
                  <a:gd name="connsiteX17" fmla="*/ 33793 w 101993"/>
                  <a:gd name="connsiteY17" fmla="*/ 44308 h 94675"/>
                  <a:gd name="connsiteX18" fmla="*/ 33638 w 101993"/>
                  <a:gd name="connsiteY18" fmla="*/ 50242 h 94675"/>
                  <a:gd name="connsiteX19" fmla="*/ 17640 w 101993"/>
                  <a:gd name="connsiteY19" fmla="*/ 80123 h 94675"/>
                  <a:gd name="connsiteX20" fmla="*/ 57713 w 101993"/>
                  <a:gd name="connsiteY20" fmla="*/ 81387 h 94675"/>
                  <a:gd name="connsiteX21" fmla="*/ 64138 w 101993"/>
                  <a:gd name="connsiteY21" fmla="*/ 88251 h 94675"/>
                  <a:gd name="connsiteX22" fmla="*/ 57429 w 101993"/>
                  <a:gd name="connsiteY22" fmla="*/ 94676 h 94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1993" h="94675">
                    <a:moveTo>
                      <a:pt x="57429" y="94676"/>
                    </a:moveTo>
                    <a:cubicBezTo>
                      <a:pt x="57351" y="94676"/>
                      <a:pt x="57274" y="94676"/>
                      <a:pt x="57223" y="94676"/>
                    </a:cubicBezTo>
                    <a:lnTo>
                      <a:pt x="6442" y="93076"/>
                    </a:lnTo>
                    <a:cubicBezTo>
                      <a:pt x="4145" y="92998"/>
                      <a:pt x="2030" y="91760"/>
                      <a:pt x="894" y="89747"/>
                    </a:cubicBezTo>
                    <a:cubicBezTo>
                      <a:pt x="-267" y="87760"/>
                      <a:pt x="-293" y="85309"/>
                      <a:pt x="791" y="83296"/>
                    </a:cubicBezTo>
                    <a:lnTo>
                      <a:pt x="20298" y="46888"/>
                    </a:lnTo>
                    <a:lnTo>
                      <a:pt x="2881" y="9448"/>
                    </a:lnTo>
                    <a:cubicBezTo>
                      <a:pt x="1900" y="7358"/>
                      <a:pt x="2081" y="4906"/>
                      <a:pt x="3346" y="2997"/>
                    </a:cubicBezTo>
                    <a:cubicBezTo>
                      <a:pt x="4610" y="1062"/>
                      <a:pt x="6777" y="-74"/>
                      <a:pt x="9100" y="4"/>
                    </a:cubicBezTo>
                    <a:lnTo>
                      <a:pt x="95540" y="2429"/>
                    </a:lnTo>
                    <a:cubicBezTo>
                      <a:pt x="97295" y="2481"/>
                      <a:pt x="98972" y="3229"/>
                      <a:pt x="100185" y="4519"/>
                    </a:cubicBezTo>
                    <a:cubicBezTo>
                      <a:pt x="101398" y="5809"/>
                      <a:pt x="102043" y="7512"/>
                      <a:pt x="101991" y="9267"/>
                    </a:cubicBezTo>
                    <a:lnTo>
                      <a:pt x="101088" y="41702"/>
                    </a:lnTo>
                    <a:cubicBezTo>
                      <a:pt x="100985" y="45366"/>
                      <a:pt x="97811" y="48230"/>
                      <a:pt x="94250" y="48152"/>
                    </a:cubicBezTo>
                    <a:cubicBezTo>
                      <a:pt x="90586" y="48049"/>
                      <a:pt x="87670" y="44979"/>
                      <a:pt x="87799" y="41315"/>
                    </a:cubicBezTo>
                    <a:lnTo>
                      <a:pt x="88522" y="15537"/>
                    </a:lnTo>
                    <a:lnTo>
                      <a:pt x="19498" y="13602"/>
                    </a:lnTo>
                    <a:lnTo>
                      <a:pt x="33793" y="44308"/>
                    </a:lnTo>
                    <a:cubicBezTo>
                      <a:pt x="34671" y="46217"/>
                      <a:pt x="34619" y="48411"/>
                      <a:pt x="33638" y="50242"/>
                    </a:cubicBezTo>
                    <a:lnTo>
                      <a:pt x="17640" y="80123"/>
                    </a:lnTo>
                    <a:lnTo>
                      <a:pt x="57713" y="81387"/>
                    </a:lnTo>
                    <a:cubicBezTo>
                      <a:pt x="61377" y="81490"/>
                      <a:pt x="64267" y="84561"/>
                      <a:pt x="64138" y="88251"/>
                    </a:cubicBezTo>
                    <a:cubicBezTo>
                      <a:pt x="63957" y="91837"/>
                      <a:pt x="61016" y="94676"/>
                      <a:pt x="57429" y="94676"/>
                    </a:cubicBezTo>
                    <a:close/>
                  </a:path>
                </a:pathLst>
              </a:custGeom>
              <a:solidFill>
                <a:schemeClr val="accent1"/>
              </a:solidFill>
              <a:ln w="2573" cap="flat">
                <a:noFill/>
                <a:prstDash val="solid"/>
                <a:miter/>
              </a:ln>
            </p:spPr>
            <p:txBody>
              <a:bodyPr rtlCol="0" anchor="ctr"/>
              <a:lstStyle/>
              <a:p>
                <a:endParaRPr lang="en-GB" dirty="0"/>
              </a:p>
            </p:txBody>
          </p:sp>
          <p:sp>
            <p:nvSpPr>
              <p:cNvPr id="1428" name="Freihandform: Form 1427">
                <a:extLst>
                  <a:ext uri="{FF2B5EF4-FFF2-40B4-BE49-F238E27FC236}">
                    <a16:creationId xmlns:a16="http://schemas.microsoft.com/office/drawing/2014/main" id="{DBDD5878-B24D-49C9-8F3E-EBCB2F859B4A}"/>
                  </a:ext>
                </a:extLst>
              </p:cNvPr>
              <p:cNvSpPr/>
              <p:nvPr/>
            </p:nvSpPr>
            <p:spPr>
              <a:xfrm>
                <a:off x="3742322" y="3221708"/>
                <a:ext cx="47476" cy="45615"/>
              </a:xfrm>
              <a:custGeom>
                <a:avLst/>
                <a:gdLst>
                  <a:gd name="connsiteX0" fmla="*/ 6644 w 47476"/>
                  <a:gd name="connsiteY0" fmla="*/ 45616 h 45615"/>
                  <a:gd name="connsiteX1" fmla="*/ 1818 w 47476"/>
                  <a:gd name="connsiteY1" fmla="*/ 43526 h 45615"/>
                  <a:gd name="connsiteX2" fmla="*/ 2077 w 47476"/>
                  <a:gd name="connsiteY2" fmla="*/ 34133 h 45615"/>
                  <a:gd name="connsiteX3" fmla="*/ 36266 w 47476"/>
                  <a:gd name="connsiteY3" fmla="*/ 1828 h 45615"/>
                  <a:gd name="connsiteX4" fmla="*/ 45658 w 47476"/>
                  <a:gd name="connsiteY4" fmla="*/ 2086 h 45615"/>
                  <a:gd name="connsiteX5" fmla="*/ 45400 w 47476"/>
                  <a:gd name="connsiteY5" fmla="*/ 11478 h 45615"/>
                  <a:gd name="connsiteX6" fmla="*/ 11211 w 47476"/>
                  <a:gd name="connsiteY6" fmla="*/ 43784 h 45615"/>
                  <a:gd name="connsiteX7" fmla="*/ 6644 w 47476"/>
                  <a:gd name="connsiteY7" fmla="*/ 45616 h 4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76" h="45615">
                    <a:moveTo>
                      <a:pt x="6644" y="45616"/>
                    </a:moveTo>
                    <a:cubicBezTo>
                      <a:pt x="4889" y="45616"/>
                      <a:pt x="3109" y="44919"/>
                      <a:pt x="1818" y="43526"/>
                    </a:cubicBezTo>
                    <a:cubicBezTo>
                      <a:pt x="-710" y="40868"/>
                      <a:pt x="-581" y="36636"/>
                      <a:pt x="2077" y="34133"/>
                    </a:cubicBezTo>
                    <a:lnTo>
                      <a:pt x="36266" y="1828"/>
                    </a:lnTo>
                    <a:cubicBezTo>
                      <a:pt x="38923" y="-701"/>
                      <a:pt x="43155" y="-598"/>
                      <a:pt x="45658" y="2086"/>
                    </a:cubicBezTo>
                    <a:cubicBezTo>
                      <a:pt x="48187" y="4744"/>
                      <a:pt x="48058" y="8975"/>
                      <a:pt x="45400" y="11478"/>
                    </a:cubicBezTo>
                    <a:lnTo>
                      <a:pt x="11211" y="43784"/>
                    </a:lnTo>
                    <a:cubicBezTo>
                      <a:pt x="9921" y="45022"/>
                      <a:pt x="8295" y="45616"/>
                      <a:pt x="6644" y="45616"/>
                    </a:cubicBezTo>
                    <a:close/>
                  </a:path>
                </a:pathLst>
              </a:custGeom>
              <a:solidFill>
                <a:schemeClr val="accent1"/>
              </a:solidFill>
              <a:ln w="2573" cap="flat">
                <a:noFill/>
                <a:prstDash val="solid"/>
                <a:miter/>
              </a:ln>
            </p:spPr>
            <p:txBody>
              <a:bodyPr rtlCol="0" anchor="ctr"/>
              <a:lstStyle/>
              <a:p>
                <a:endParaRPr lang="en-GB" dirty="0"/>
              </a:p>
            </p:txBody>
          </p:sp>
        </p:grpSp>
        <p:grpSp>
          <p:nvGrpSpPr>
            <p:cNvPr id="1399" name="Gruppieren 1398">
              <a:extLst>
                <a:ext uri="{FF2B5EF4-FFF2-40B4-BE49-F238E27FC236}">
                  <a16:creationId xmlns:a16="http://schemas.microsoft.com/office/drawing/2014/main" id="{9CF5CF3A-70F2-4F99-94C6-9FB83987F8B4}"/>
                </a:ext>
              </a:extLst>
            </p:cNvPr>
            <p:cNvGrpSpPr/>
            <p:nvPr/>
          </p:nvGrpSpPr>
          <p:grpSpPr>
            <a:xfrm>
              <a:off x="3709292" y="3389571"/>
              <a:ext cx="442119" cy="312709"/>
              <a:chOff x="3337084" y="3361621"/>
              <a:chExt cx="541622" cy="383087"/>
            </a:xfrm>
            <a:solidFill>
              <a:schemeClr val="tx2"/>
            </a:solidFill>
          </p:grpSpPr>
          <p:grpSp>
            <p:nvGrpSpPr>
              <p:cNvPr id="1400" name="Grafik 312">
                <a:extLst>
                  <a:ext uri="{FF2B5EF4-FFF2-40B4-BE49-F238E27FC236}">
                    <a16:creationId xmlns:a16="http://schemas.microsoft.com/office/drawing/2014/main" id="{919EF4F7-C270-4D1B-95F1-D617FE253C67}"/>
                  </a:ext>
                </a:extLst>
              </p:cNvPr>
              <p:cNvGrpSpPr/>
              <p:nvPr/>
            </p:nvGrpSpPr>
            <p:grpSpPr>
              <a:xfrm>
                <a:off x="3632624" y="3361621"/>
                <a:ext cx="246082" cy="383087"/>
                <a:chOff x="3632624" y="3361621"/>
                <a:chExt cx="246082" cy="383087"/>
              </a:xfrm>
              <a:grpFill/>
            </p:grpSpPr>
            <p:sp>
              <p:nvSpPr>
                <p:cNvPr id="1417" name="Freihandform: Form 1416">
                  <a:extLst>
                    <a:ext uri="{FF2B5EF4-FFF2-40B4-BE49-F238E27FC236}">
                      <a16:creationId xmlns:a16="http://schemas.microsoft.com/office/drawing/2014/main" id="{0E7DFE96-C35C-4A7E-9852-48559C2A9AE3}"/>
                    </a:ext>
                  </a:extLst>
                </p:cNvPr>
                <p:cNvSpPr/>
                <p:nvPr/>
              </p:nvSpPr>
              <p:spPr>
                <a:xfrm>
                  <a:off x="3632624" y="3421735"/>
                  <a:ext cx="246082" cy="322973"/>
                </a:xfrm>
                <a:custGeom>
                  <a:avLst/>
                  <a:gdLst>
                    <a:gd name="connsiteX0" fmla="*/ 6653 w 246082"/>
                    <a:gd name="connsiteY0" fmla="*/ 322973 h 322973"/>
                    <a:gd name="connsiteX1" fmla="*/ 3634 w 246082"/>
                    <a:gd name="connsiteY1" fmla="*/ 322251 h 322973"/>
                    <a:gd name="connsiteX2" fmla="*/ 718 w 246082"/>
                    <a:gd name="connsiteY2" fmla="*/ 313297 h 322973"/>
                    <a:gd name="connsiteX3" fmla="*/ 35707 w 246082"/>
                    <a:gd name="connsiteY3" fmla="*/ 244712 h 322973"/>
                    <a:gd name="connsiteX4" fmla="*/ 43655 w 246082"/>
                    <a:gd name="connsiteY4" fmla="*/ 178527 h 322973"/>
                    <a:gd name="connsiteX5" fmla="*/ 49976 w 246082"/>
                    <a:gd name="connsiteY5" fmla="*/ 76424 h 322973"/>
                    <a:gd name="connsiteX6" fmla="*/ 90178 w 246082"/>
                    <a:gd name="connsiteY6" fmla="*/ 34597 h 322973"/>
                    <a:gd name="connsiteX7" fmla="*/ 92216 w 246082"/>
                    <a:gd name="connsiteY7" fmla="*/ 34287 h 322973"/>
                    <a:gd name="connsiteX8" fmla="*/ 109633 w 246082"/>
                    <a:gd name="connsiteY8" fmla="*/ 33926 h 322973"/>
                    <a:gd name="connsiteX9" fmla="*/ 157937 w 246082"/>
                    <a:gd name="connsiteY9" fmla="*/ 39474 h 322973"/>
                    <a:gd name="connsiteX10" fmla="*/ 200641 w 246082"/>
                    <a:gd name="connsiteY10" fmla="*/ 20767 h 322973"/>
                    <a:gd name="connsiteX11" fmla="*/ 210008 w 246082"/>
                    <a:gd name="connsiteY11" fmla="*/ 3478 h 322973"/>
                    <a:gd name="connsiteX12" fmla="*/ 216407 w 246082"/>
                    <a:gd name="connsiteY12" fmla="*/ 21 h 322973"/>
                    <a:gd name="connsiteX13" fmla="*/ 239965 w 246082"/>
                    <a:gd name="connsiteY13" fmla="*/ 1956 h 322973"/>
                    <a:gd name="connsiteX14" fmla="*/ 244790 w 246082"/>
                    <a:gd name="connsiteY14" fmla="*/ 4640 h 322973"/>
                    <a:gd name="connsiteX15" fmla="*/ 245926 w 246082"/>
                    <a:gd name="connsiteY15" fmla="*/ 10032 h 322973"/>
                    <a:gd name="connsiteX16" fmla="*/ 238443 w 246082"/>
                    <a:gd name="connsiteY16" fmla="*/ 43293 h 322973"/>
                    <a:gd name="connsiteX17" fmla="*/ 235398 w 246082"/>
                    <a:gd name="connsiteY17" fmla="*/ 47524 h 322973"/>
                    <a:gd name="connsiteX18" fmla="*/ 170684 w 246082"/>
                    <a:gd name="connsiteY18" fmla="*/ 86590 h 322973"/>
                    <a:gd name="connsiteX19" fmla="*/ 167252 w 246082"/>
                    <a:gd name="connsiteY19" fmla="*/ 87545 h 322973"/>
                    <a:gd name="connsiteX20" fmla="*/ 167174 w 246082"/>
                    <a:gd name="connsiteY20" fmla="*/ 87545 h 322973"/>
                    <a:gd name="connsiteX21" fmla="*/ 118019 w 246082"/>
                    <a:gd name="connsiteY21" fmla="*/ 87003 h 322973"/>
                    <a:gd name="connsiteX22" fmla="*/ 111440 w 246082"/>
                    <a:gd name="connsiteY22" fmla="*/ 80269 h 322973"/>
                    <a:gd name="connsiteX23" fmla="*/ 118097 w 246082"/>
                    <a:gd name="connsiteY23" fmla="*/ 73689 h 322973"/>
                    <a:gd name="connsiteX24" fmla="*/ 118174 w 246082"/>
                    <a:gd name="connsiteY24" fmla="*/ 73689 h 322973"/>
                    <a:gd name="connsiteX25" fmla="*/ 165446 w 246082"/>
                    <a:gd name="connsiteY25" fmla="*/ 74231 h 322973"/>
                    <a:gd name="connsiteX26" fmla="*/ 226109 w 246082"/>
                    <a:gd name="connsiteY26" fmla="*/ 37590 h 322973"/>
                    <a:gd name="connsiteX27" fmla="*/ 231295 w 246082"/>
                    <a:gd name="connsiteY27" fmla="*/ 14574 h 322973"/>
                    <a:gd name="connsiteX28" fmla="*/ 219684 w 246082"/>
                    <a:gd name="connsiteY28" fmla="*/ 13619 h 322973"/>
                    <a:gd name="connsiteX29" fmla="*/ 211298 w 246082"/>
                    <a:gd name="connsiteY29" fmla="*/ 29101 h 322973"/>
                    <a:gd name="connsiteX30" fmla="*/ 208124 w 246082"/>
                    <a:gd name="connsiteY30" fmla="*/ 32017 h 322973"/>
                    <a:gd name="connsiteX31" fmla="*/ 161678 w 246082"/>
                    <a:gd name="connsiteY31" fmla="*/ 52350 h 322973"/>
                    <a:gd name="connsiteX32" fmla="*/ 158247 w 246082"/>
                    <a:gd name="connsiteY32" fmla="*/ 52866 h 322973"/>
                    <a:gd name="connsiteX33" fmla="*/ 108163 w 246082"/>
                    <a:gd name="connsiteY33" fmla="*/ 47112 h 322973"/>
                    <a:gd name="connsiteX34" fmla="*/ 94332 w 246082"/>
                    <a:gd name="connsiteY34" fmla="*/ 47395 h 322973"/>
                    <a:gd name="connsiteX35" fmla="*/ 92268 w 246082"/>
                    <a:gd name="connsiteY35" fmla="*/ 47731 h 322973"/>
                    <a:gd name="connsiteX36" fmla="*/ 63239 w 246082"/>
                    <a:gd name="connsiteY36" fmla="*/ 77663 h 322973"/>
                    <a:gd name="connsiteX37" fmla="*/ 56943 w 246082"/>
                    <a:gd name="connsiteY37" fmla="*/ 179714 h 322973"/>
                    <a:gd name="connsiteX38" fmla="*/ 48815 w 246082"/>
                    <a:gd name="connsiteY38" fmla="*/ 247447 h 322973"/>
                    <a:gd name="connsiteX39" fmla="*/ 48144 w 246082"/>
                    <a:gd name="connsiteY39" fmla="*/ 249667 h 322973"/>
                    <a:gd name="connsiteX40" fmla="*/ 12613 w 246082"/>
                    <a:gd name="connsiteY40" fmla="*/ 319284 h 322973"/>
                    <a:gd name="connsiteX41" fmla="*/ 6653 w 246082"/>
                    <a:gd name="connsiteY41" fmla="*/ 322973 h 322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46082" h="322973">
                      <a:moveTo>
                        <a:pt x="6653" y="322973"/>
                      </a:moveTo>
                      <a:cubicBezTo>
                        <a:pt x="5647" y="322973"/>
                        <a:pt x="4614" y="322741"/>
                        <a:pt x="3634" y="322251"/>
                      </a:cubicBezTo>
                      <a:cubicBezTo>
                        <a:pt x="357" y="320574"/>
                        <a:pt x="-933" y="316574"/>
                        <a:pt x="718" y="313297"/>
                      </a:cubicBezTo>
                      <a:lnTo>
                        <a:pt x="35707" y="244712"/>
                      </a:lnTo>
                      <a:lnTo>
                        <a:pt x="43655" y="178527"/>
                      </a:lnTo>
                      <a:lnTo>
                        <a:pt x="49976" y="76424"/>
                      </a:lnTo>
                      <a:cubicBezTo>
                        <a:pt x="52686" y="54930"/>
                        <a:pt x="69200" y="37900"/>
                        <a:pt x="90178" y="34597"/>
                      </a:cubicBezTo>
                      <a:lnTo>
                        <a:pt x="92216" y="34287"/>
                      </a:lnTo>
                      <a:cubicBezTo>
                        <a:pt x="97945" y="33410"/>
                        <a:pt x="103802" y="33255"/>
                        <a:pt x="109633" y="33926"/>
                      </a:cubicBezTo>
                      <a:lnTo>
                        <a:pt x="157937" y="39474"/>
                      </a:lnTo>
                      <a:lnTo>
                        <a:pt x="200641" y="20767"/>
                      </a:lnTo>
                      <a:lnTo>
                        <a:pt x="210008" y="3478"/>
                      </a:lnTo>
                      <a:cubicBezTo>
                        <a:pt x="211272" y="1156"/>
                        <a:pt x="213775" y="-186"/>
                        <a:pt x="216407" y="21"/>
                      </a:cubicBezTo>
                      <a:lnTo>
                        <a:pt x="239965" y="1956"/>
                      </a:lnTo>
                      <a:cubicBezTo>
                        <a:pt x="241875" y="2111"/>
                        <a:pt x="243629" y="3091"/>
                        <a:pt x="244790" y="4640"/>
                      </a:cubicBezTo>
                      <a:cubicBezTo>
                        <a:pt x="245926" y="6188"/>
                        <a:pt x="246338" y="8149"/>
                        <a:pt x="245926" y="10032"/>
                      </a:cubicBezTo>
                      <a:lnTo>
                        <a:pt x="238443" y="43293"/>
                      </a:lnTo>
                      <a:cubicBezTo>
                        <a:pt x="238056" y="45047"/>
                        <a:pt x="236946" y="46596"/>
                        <a:pt x="235398" y="47524"/>
                      </a:cubicBezTo>
                      <a:lnTo>
                        <a:pt x="170684" y="86590"/>
                      </a:lnTo>
                      <a:cubicBezTo>
                        <a:pt x="169651" y="87210"/>
                        <a:pt x="168465" y="87545"/>
                        <a:pt x="167252" y="87545"/>
                      </a:cubicBezTo>
                      <a:cubicBezTo>
                        <a:pt x="167226" y="87545"/>
                        <a:pt x="167200" y="87545"/>
                        <a:pt x="167174" y="87545"/>
                      </a:cubicBezTo>
                      <a:lnTo>
                        <a:pt x="118019" y="87003"/>
                      </a:lnTo>
                      <a:cubicBezTo>
                        <a:pt x="114355" y="86952"/>
                        <a:pt x="111388" y="83959"/>
                        <a:pt x="111440" y="80269"/>
                      </a:cubicBezTo>
                      <a:cubicBezTo>
                        <a:pt x="111491" y="76630"/>
                        <a:pt x="114458" y="73689"/>
                        <a:pt x="118097" y="73689"/>
                      </a:cubicBezTo>
                      <a:cubicBezTo>
                        <a:pt x="118123" y="73689"/>
                        <a:pt x="118148" y="73689"/>
                        <a:pt x="118174" y="73689"/>
                      </a:cubicBezTo>
                      <a:lnTo>
                        <a:pt x="165446" y="74231"/>
                      </a:lnTo>
                      <a:lnTo>
                        <a:pt x="226109" y="37590"/>
                      </a:lnTo>
                      <a:lnTo>
                        <a:pt x="231295" y="14574"/>
                      </a:lnTo>
                      <a:lnTo>
                        <a:pt x="219684" y="13619"/>
                      </a:lnTo>
                      <a:lnTo>
                        <a:pt x="211298" y="29101"/>
                      </a:lnTo>
                      <a:cubicBezTo>
                        <a:pt x="210601" y="30391"/>
                        <a:pt x="209492" y="31423"/>
                        <a:pt x="208124" y="32017"/>
                      </a:cubicBezTo>
                      <a:lnTo>
                        <a:pt x="161678" y="52350"/>
                      </a:lnTo>
                      <a:cubicBezTo>
                        <a:pt x="160595" y="52814"/>
                        <a:pt x="159408" y="53021"/>
                        <a:pt x="158247" y="52866"/>
                      </a:cubicBezTo>
                      <a:lnTo>
                        <a:pt x="108163" y="47112"/>
                      </a:lnTo>
                      <a:cubicBezTo>
                        <a:pt x="103544" y="46596"/>
                        <a:pt x="98873" y="46699"/>
                        <a:pt x="94332" y="47395"/>
                      </a:cubicBezTo>
                      <a:lnTo>
                        <a:pt x="92268" y="47731"/>
                      </a:lnTo>
                      <a:cubicBezTo>
                        <a:pt x="77095" y="50105"/>
                        <a:pt x="65174" y="62413"/>
                        <a:pt x="63239" y="77663"/>
                      </a:cubicBezTo>
                      <a:lnTo>
                        <a:pt x="56943" y="179714"/>
                      </a:lnTo>
                      <a:lnTo>
                        <a:pt x="48815" y="247447"/>
                      </a:lnTo>
                      <a:cubicBezTo>
                        <a:pt x="48712" y="248222"/>
                        <a:pt x="48480" y="248970"/>
                        <a:pt x="48144" y="249667"/>
                      </a:cubicBezTo>
                      <a:lnTo>
                        <a:pt x="12613" y="319284"/>
                      </a:lnTo>
                      <a:cubicBezTo>
                        <a:pt x="11401" y="321657"/>
                        <a:pt x="9078" y="322973"/>
                        <a:pt x="6653" y="322973"/>
                      </a:cubicBezTo>
                      <a:close/>
                    </a:path>
                  </a:pathLst>
                </a:custGeom>
                <a:grpFill/>
                <a:ln w="2573" cap="flat">
                  <a:noFill/>
                  <a:prstDash val="solid"/>
                  <a:miter/>
                </a:ln>
              </p:spPr>
              <p:txBody>
                <a:bodyPr rtlCol="0" anchor="ctr"/>
                <a:lstStyle/>
                <a:p>
                  <a:endParaRPr lang="en-GB" dirty="0"/>
                </a:p>
              </p:txBody>
            </p:sp>
            <p:sp>
              <p:nvSpPr>
                <p:cNvPr id="1418" name="Freihandform: Form 1417">
                  <a:extLst>
                    <a:ext uri="{FF2B5EF4-FFF2-40B4-BE49-F238E27FC236}">
                      <a16:creationId xmlns:a16="http://schemas.microsoft.com/office/drawing/2014/main" id="{24C620AA-466D-4E5E-9C39-382FA2C01394}"/>
                    </a:ext>
                  </a:extLst>
                </p:cNvPr>
                <p:cNvSpPr/>
                <p:nvPr/>
              </p:nvSpPr>
              <p:spPr>
                <a:xfrm>
                  <a:off x="3677839" y="3608867"/>
                  <a:ext cx="58274" cy="135842"/>
                </a:xfrm>
                <a:custGeom>
                  <a:avLst/>
                  <a:gdLst>
                    <a:gd name="connsiteX0" fmla="*/ 6645 w 58274"/>
                    <a:gd name="connsiteY0" fmla="*/ 135842 h 135842"/>
                    <a:gd name="connsiteX1" fmla="*/ 3781 w 58274"/>
                    <a:gd name="connsiteY1" fmla="*/ 135197 h 135842"/>
                    <a:gd name="connsiteX2" fmla="*/ 659 w 58274"/>
                    <a:gd name="connsiteY2" fmla="*/ 126321 h 135842"/>
                    <a:gd name="connsiteX3" fmla="*/ 30590 w 58274"/>
                    <a:gd name="connsiteY3" fmla="*/ 63955 h 135842"/>
                    <a:gd name="connsiteX4" fmla="*/ 45169 w 58274"/>
                    <a:gd name="connsiteY4" fmla="*/ 5046 h 135842"/>
                    <a:gd name="connsiteX5" fmla="*/ 53220 w 58274"/>
                    <a:gd name="connsiteY5" fmla="*/ 195 h 135842"/>
                    <a:gd name="connsiteX6" fmla="*/ 58071 w 58274"/>
                    <a:gd name="connsiteY6" fmla="*/ 8245 h 135842"/>
                    <a:gd name="connsiteX7" fmla="*/ 43337 w 58274"/>
                    <a:gd name="connsiteY7" fmla="*/ 67825 h 135842"/>
                    <a:gd name="connsiteX8" fmla="*/ 42873 w 58274"/>
                    <a:gd name="connsiteY8" fmla="*/ 69115 h 135842"/>
                    <a:gd name="connsiteX9" fmla="*/ 12657 w 58274"/>
                    <a:gd name="connsiteY9" fmla="*/ 132101 h 135842"/>
                    <a:gd name="connsiteX10" fmla="*/ 6645 w 58274"/>
                    <a:gd name="connsiteY10" fmla="*/ 135842 h 13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274" h="135842">
                      <a:moveTo>
                        <a:pt x="6645" y="135842"/>
                      </a:moveTo>
                      <a:cubicBezTo>
                        <a:pt x="5690" y="135842"/>
                        <a:pt x="4710" y="135636"/>
                        <a:pt x="3781" y="135197"/>
                      </a:cubicBezTo>
                      <a:cubicBezTo>
                        <a:pt x="478" y="133623"/>
                        <a:pt x="-941" y="129649"/>
                        <a:pt x="659" y="126321"/>
                      </a:cubicBezTo>
                      <a:lnTo>
                        <a:pt x="30590" y="63955"/>
                      </a:lnTo>
                      <a:lnTo>
                        <a:pt x="45169" y="5046"/>
                      </a:lnTo>
                      <a:cubicBezTo>
                        <a:pt x="46046" y="1485"/>
                        <a:pt x="49659" y="-682"/>
                        <a:pt x="53220" y="195"/>
                      </a:cubicBezTo>
                      <a:cubicBezTo>
                        <a:pt x="56781" y="1072"/>
                        <a:pt x="58974" y="4685"/>
                        <a:pt x="58071" y="8245"/>
                      </a:cubicBezTo>
                      <a:lnTo>
                        <a:pt x="43337" y="67825"/>
                      </a:lnTo>
                      <a:cubicBezTo>
                        <a:pt x="43234" y="68264"/>
                        <a:pt x="43079" y="68702"/>
                        <a:pt x="42873" y="69115"/>
                      </a:cubicBezTo>
                      <a:lnTo>
                        <a:pt x="12657" y="132101"/>
                      </a:lnTo>
                      <a:cubicBezTo>
                        <a:pt x="11496" y="134475"/>
                        <a:pt x="9122" y="135842"/>
                        <a:pt x="6645" y="135842"/>
                      </a:cubicBezTo>
                      <a:close/>
                    </a:path>
                  </a:pathLst>
                </a:custGeom>
                <a:grpFill/>
                <a:ln w="2573" cap="flat">
                  <a:noFill/>
                  <a:prstDash val="solid"/>
                  <a:miter/>
                </a:ln>
              </p:spPr>
              <p:txBody>
                <a:bodyPr rtlCol="0" anchor="ctr"/>
                <a:lstStyle/>
                <a:p>
                  <a:endParaRPr lang="en-GB" dirty="0"/>
                </a:p>
              </p:txBody>
            </p:sp>
            <p:sp>
              <p:nvSpPr>
                <p:cNvPr id="1419" name="Freihandform: Form 1418">
                  <a:extLst>
                    <a:ext uri="{FF2B5EF4-FFF2-40B4-BE49-F238E27FC236}">
                      <a16:creationId xmlns:a16="http://schemas.microsoft.com/office/drawing/2014/main" id="{EBA4D757-76EC-4D99-8185-6ADA85D5AEA4}"/>
                    </a:ext>
                  </a:extLst>
                </p:cNvPr>
                <p:cNvSpPr/>
                <p:nvPr/>
              </p:nvSpPr>
              <p:spPr>
                <a:xfrm>
                  <a:off x="3759350" y="3497131"/>
                  <a:ext cx="40740" cy="247577"/>
                </a:xfrm>
                <a:custGeom>
                  <a:avLst/>
                  <a:gdLst>
                    <a:gd name="connsiteX0" fmla="*/ 18774 w 40740"/>
                    <a:gd name="connsiteY0" fmla="*/ 247578 h 247577"/>
                    <a:gd name="connsiteX1" fmla="*/ 17535 w 40740"/>
                    <a:gd name="connsiteY1" fmla="*/ 247449 h 247577"/>
                    <a:gd name="connsiteX2" fmla="*/ 12220 w 40740"/>
                    <a:gd name="connsiteY2" fmla="*/ 239682 h 247577"/>
                    <a:gd name="connsiteX3" fmla="*/ 27186 w 40740"/>
                    <a:gd name="connsiteY3" fmla="*/ 159924 h 247577"/>
                    <a:gd name="connsiteX4" fmla="*/ 531 w 40740"/>
                    <a:gd name="connsiteY4" fmla="*/ 97119 h 247577"/>
                    <a:gd name="connsiteX5" fmla="*/ 41 w 40740"/>
                    <a:gd name="connsiteY5" fmla="*/ 93739 h 247577"/>
                    <a:gd name="connsiteX6" fmla="*/ 10285 w 40740"/>
                    <a:gd name="connsiteY6" fmla="*/ 5879 h 247577"/>
                    <a:gd name="connsiteX7" fmla="*/ 17664 w 40740"/>
                    <a:gd name="connsiteY7" fmla="*/ 48 h 247577"/>
                    <a:gd name="connsiteX8" fmla="*/ 23496 w 40740"/>
                    <a:gd name="connsiteY8" fmla="*/ 7427 h 247577"/>
                    <a:gd name="connsiteX9" fmla="*/ 13459 w 40740"/>
                    <a:gd name="connsiteY9" fmla="*/ 93533 h 247577"/>
                    <a:gd name="connsiteX10" fmla="*/ 40216 w 40740"/>
                    <a:gd name="connsiteY10" fmla="*/ 156570 h 247577"/>
                    <a:gd name="connsiteX11" fmla="*/ 40629 w 40740"/>
                    <a:gd name="connsiteY11" fmla="*/ 160389 h 247577"/>
                    <a:gd name="connsiteX12" fmla="*/ 25276 w 40740"/>
                    <a:gd name="connsiteY12" fmla="*/ 242133 h 247577"/>
                    <a:gd name="connsiteX13" fmla="*/ 18774 w 40740"/>
                    <a:gd name="connsiteY13" fmla="*/ 247578 h 247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740" h="247577">
                      <a:moveTo>
                        <a:pt x="18774" y="247578"/>
                      </a:moveTo>
                      <a:cubicBezTo>
                        <a:pt x="18361" y="247578"/>
                        <a:pt x="17948" y="247526"/>
                        <a:pt x="17535" y="247449"/>
                      </a:cubicBezTo>
                      <a:cubicBezTo>
                        <a:pt x="13923" y="246778"/>
                        <a:pt x="11549" y="243294"/>
                        <a:pt x="12220" y="239682"/>
                      </a:cubicBezTo>
                      <a:lnTo>
                        <a:pt x="27186" y="159924"/>
                      </a:lnTo>
                      <a:lnTo>
                        <a:pt x="531" y="97119"/>
                      </a:lnTo>
                      <a:cubicBezTo>
                        <a:pt x="92" y="96061"/>
                        <a:pt x="-88" y="94900"/>
                        <a:pt x="41" y="93739"/>
                      </a:cubicBezTo>
                      <a:lnTo>
                        <a:pt x="10285" y="5879"/>
                      </a:lnTo>
                      <a:cubicBezTo>
                        <a:pt x="10723" y="2241"/>
                        <a:pt x="13923" y="-391"/>
                        <a:pt x="17664" y="48"/>
                      </a:cubicBezTo>
                      <a:cubicBezTo>
                        <a:pt x="21303" y="461"/>
                        <a:pt x="23934" y="3789"/>
                        <a:pt x="23496" y="7427"/>
                      </a:cubicBezTo>
                      <a:lnTo>
                        <a:pt x="13459" y="93533"/>
                      </a:lnTo>
                      <a:lnTo>
                        <a:pt x="40216" y="156570"/>
                      </a:lnTo>
                      <a:cubicBezTo>
                        <a:pt x="40732" y="157783"/>
                        <a:pt x="40862" y="159099"/>
                        <a:pt x="40629" y="160389"/>
                      </a:cubicBezTo>
                      <a:lnTo>
                        <a:pt x="25276" y="242133"/>
                      </a:lnTo>
                      <a:cubicBezTo>
                        <a:pt x="24709" y="245359"/>
                        <a:pt x="21922" y="247578"/>
                        <a:pt x="18774" y="247578"/>
                      </a:cubicBezTo>
                      <a:close/>
                    </a:path>
                  </a:pathLst>
                </a:custGeom>
                <a:grpFill/>
                <a:ln w="2573" cap="flat">
                  <a:noFill/>
                  <a:prstDash val="solid"/>
                  <a:miter/>
                </a:ln>
              </p:spPr>
              <p:txBody>
                <a:bodyPr rtlCol="0" anchor="ctr"/>
                <a:lstStyle/>
                <a:p>
                  <a:endParaRPr lang="en-GB" dirty="0"/>
                </a:p>
              </p:txBody>
            </p:sp>
            <p:sp>
              <p:nvSpPr>
                <p:cNvPr id="1420" name="Freihandform: Form 1419">
                  <a:extLst>
                    <a:ext uri="{FF2B5EF4-FFF2-40B4-BE49-F238E27FC236}">
                      <a16:creationId xmlns:a16="http://schemas.microsoft.com/office/drawing/2014/main" id="{C34DEFDF-B804-42D3-80ED-362F510255F2}"/>
                    </a:ext>
                  </a:extLst>
                </p:cNvPr>
                <p:cNvSpPr/>
                <p:nvPr/>
              </p:nvSpPr>
              <p:spPr>
                <a:xfrm>
                  <a:off x="3721664" y="3621043"/>
                  <a:ext cx="38941" cy="123665"/>
                </a:xfrm>
                <a:custGeom>
                  <a:avLst/>
                  <a:gdLst>
                    <a:gd name="connsiteX0" fmla="*/ 16904 w 38941"/>
                    <a:gd name="connsiteY0" fmla="*/ 123666 h 123665"/>
                    <a:gd name="connsiteX1" fmla="*/ 15330 w 38941"/>
                    <a:gd name="connsiteY1" fmla="*/ 123485 h 123665"/>
                    <a:gd name="connsiteX2" fmla="*/ 10427 w 38941"/>
                    <a:gd name="connsiteY2" fmla="*/ 115460 h 123665"/>
                    <a:gd name="connsiteX3" fmla="*/ 25212 w 38941"/>
                    <a:gd name="connsiteY3" fmla="*/ 54204 h 123665"/>
                    <a:gd name="connsiteX4" fmla="*/ 828 w 38941"/>
                    <a:gd name="connsiteY4" fmla="*/ 9848 h 123665"/>
                    <a:gd name="connsiteX5" fmla="*/ 3460 w 38941"/>
                    <a:gd name="connsiteY5" fmla="*/ 817 h 123665"/>
                    <a:gd name="connsiteX6" fmla="*/ 12491 w 38941"/>
                    <a:gd name="connsiteY6" fmla="*/ 3449 h 123665"/>
                    <a:gd name="connsiteX7" fmla="*/ 38114 w 38941"/>
                    <a:gd name="connsiteY7" fmla="*/ 50049 h 123665"/>
                    <a:gd name="connsiteX8" fmla="*/ 38759 w 38941"/>
                    <a:gd name="connsiteY8" fmla="*/ 54823 h 123665"/>
                    <a:gd name="connsiteX9" fmla="*/ 23354 w 38941"/>
                    <a:gd name="connsiteY9" fmla="*/ 118583 h 123665"/>
                    <a:gd name="connsiteX10" fmla="*/ 16904 w 38941"/>
                    <a:gd name="connsiteY10" fmla="*/ 123666 h 123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8941" h="123665">
                      <a:moveTo>
                        <a:pt x="16904" y="123666"/>
                      </a:moveTo>
                      <a:cubicBezTo>
                        <a:pt x="16387" y="123666"/>
                        <a:pt x="15846" y="123614"/>
                        <a:pt x="15330" y="123485"/>
                      </a:cubicBezTo>
                      <a:cubicBezTo>
                        <a:pt x="11769" y="122634"/>
                        <a:pt x="9550" y="119021"/>
                        <a:pt x="10427" y="115460"/>
                      </a:cubicBezTo>
                      <a:lnTo>
                        <a:pt x="25212" y="54204"/>
                      </a:lnTo>
                      <a:lnTo>
                        <a:pt x="828" y="9848"/>
                      </a:lnTo>
                      <a:cubicBezTo>
                        <a:pt x="-952" y="6623"/>
                        <a:pt x="235" y="2597"/>
                        <a:pt x="3460" y="817"/>
                      </a:cubicBezTo>
                      <a:cubicBezTo>
                        <a:pt x="6660" y="-938"/>
                        <a:pt x="10711" y="223"/>
                        <a:pt x="12491" y="3449"/>
                      </a:cubicBezTo>
                      <a:lnTo>
                        <a:pt x="38114" y="50049"/>
                      </a:lnTo>
                      <a:cubicBezTo>
                        <a:pt x="38914" y="51494"/>
                        <a:pt x="39146" y="53197"/>
                        <a:pt x="38759" y="54823"/>
                      </a:cubicBezTo>
                      <a:lnTo>
                        <a:pt x="23354" y="118583"/>
                      </a:lnTo>
                      <a:cubicBezTo>
                        <a:pt x="22632" y="121627"/>
                        <a:pt x="19922" y="123666"/>
                        <a:pt x="16904" y="123666"/>
                      </a:cubicBezTo>
                      <a:close/>
                    </a:path>
                  </a:pathLst>
                </a:custGeom>
                <a:grpFill/>
                <a:ln w="2573" cap="flat">
                  <a:noFill/>
                  <a:prstDash val="solid"/>
                  <a:miter/>
                </a:ln>
              </p:spPr>
              <p:txBody>
                <a:bodyPr rtlCol="0" anchor="ctr"/>
                <a:lstStyle/>
                <a:p>
                  <a:endParaRPr lang="en-GB" dirty="0"/>
                </a:p>
              </p:txBody>
            </p:sp>
            <p:sp>
              <p:nvSpPr>
                <p:cNvPr id="1421" name="Freihandform: Form 1420">
                  <a:extLst>
                    <a:ext uri="{FF2B5EF4-FFF2-40B4-BE49-F238E27FC236}">
                      <a16:creationId xmlns:a16="http://schemas.microsoft.com/office/drawing/2014/main" id="{FCE8B39B-A2B0-4B5D-8A76-FEA5AC802338}"/>
                    </a:ext>
                  </a:extLst>
                </p:cNvPr>
                <p:cNvSpPr/>
                <p:nvPr/>
              </p:nvSpPr>
              <p:spPr>
                <a:xfrm>
                  <a:off x="3766603" y="3497413"/>
                  <a:ext cx="100989" cy="91831"/>
                </a:xfrm>
                <a:custGeom>
                  <a:avLst/>
                  <a:gdLst>
                    <a:gd name="connsiteX0" fmla="*/ 81447 w 100989"/>
                    <a:gd name="connsiteY0" fmla="*/ 91831 h 91831"/>
                    <a:gd name="connsiteX1" fmla="*/ 81060 w 100989"/>
                    <a:gd name="connsiteY1" fmla="*/ 91831 h 91831"/>
                    <a:gd name="connsiteX2" fmla="*/ 64159 w 100989"/>
                    <a:gd name="connsiteY2" fmla="*/ 91496 h 91831"/>
                    <a:gd name="connsiteX3" fmla="*/ 61321 w 100989"/>
                    <a:gd name="connsiteY3" fmla="*/ 90799 h 91831"/>
                    <a:gd name="connsiteX4" fmla="*/ 24732 w 100989"/>
                    <a:gd name="connsiteY4" fmla="*/ 72505 h 91831"/>
                    <a:gd name="connsiteX5" fmla="*/ 22719 w 100989"/>
                    <a:gd name="connsiteY5" fmla="*/ 70956 h 91831"/>
                    <a:gd name="connsiteX6" fmla="*/ 1664 w 100989"/>
                    <a:gd name="connsiteY6" fmla="*/ 47114 h 91831"/>
                    <a:gd name="connsiteX7" fmla="*/ 2232 w 100989"/>
                    <a:gd name="connsiteY7" fmla="*/ 37722 h 91831"/>
                    <a:gd name="connsiteX8" fmla="*/ 11624 w 100989"/>
                    <a:gd name="connsiteY8" fmla="*/ 38290 h 91831"/>
                    <a:gd name="connsiteX9" fmla="*/ 31828 w 100989"/>
                    <a:gd name="connsiteY9" fmla="*/ 61151 h 91831"/>
                    <a:gd name="connsiteX10" fmla="*/ 65914 w 100989"/>
                    <a:gd name="connsiteY10" fmla="*/ 78207 h 91831"/>
                    <a:gd name="connsiteX11" fmla="*/ 81318 w 100989"/>
                    <a:gd name="connsiteY11" fmla="*/ 78517 h 91831"/>
                    <a:gd name="connsiteX12" fmla="*/ 86531 w 100989"/>
                    <a:gd name="connsiteY12" fmla="*/ 74182 h 91831"/>
                    <a:gd name="connsiteX13" fmla="*/ 87666 w 100989"/>
                    <a:gd name="connsiteY13" fmla="*/ 67344 h 91831"/>
                    <a:gd name="connsiteX14" fmla="*/ 86659 w 100989"/>
                    <a:gd name="connsiteY14" fmla="*/ 63344 h 91831"/>
                    <a:gd name="connsiteX15" fmla="*/ 83021 w 100989"/>
                    <a:gd name="connsiteY15" fmla="*/ 61358 h 91831"/>
                    <a:gd name="connsiteX16" fmla="*/ 66456 w 100989"/>
                    <a:gd name="connsiteY16" fmla="*/ 59861 h 91831"/>
                    <a:gd name="connsiteX17" fmla="*/ 63901 w 100989"/>
                    <a:gd name="connsiteY17" fmla="*/ 59087 h 91831"/>
                    <a:gd name="connsiteX18" fmla="*/ 43259 w 100989"/>
                    <a:gd name="connsiteY18" fmla="*/ 47992 h 91831"/>
                    <a:gd name="connsiteX19" fmla="*/ 40085 w 100989"/>
                    <a:gd name="connsiteY19" fmla="*/ 44224 h 91831"/>
                    <a:gd name="connsiteX20" fmla="*/ 28293 w 100989"/>
                    <a:gd name="connsiteY20" fmla="*/ 8745 h 91831"/>
                    <a:gd name="connsiteX21" fmla="*/ 32499 w 100989"/>
                    <a:gd name="connsiteY21" fmla="*/ 333 h 91831"/>
                    <a:gd name="connsiteX22" fmla="*/ 40910 w 100989"/>
                    <a:gd name="connsiteY22" fmla="*/ 4539 h 91831"/>
                    <a:gd name="connsiteX23" fmla="*/ 51851 w 100989"/>
                    <a:gd name="connsiteY23" fmla="*/ 37515 h 91831"/>
                    <a:gd name="connsiteX24" fmla="*/ 68959 w 100989"/>
                    <a:gd name="connsiteY24" fmla="*/ 46701 h 91831"/>
                    <a:gd name="connsiteX25" fmla="*/ 84182 w 100989"/>
                    <a:gd name="connsiteY25" fmla="*/ 48069 h 91831"/>
                    <a:gd name="connsiteX26" fmla="*/ 97136 w 100989"/>
                    <a:gd name="connsiteY26" fmla="*/ 55165 h 91831"/>
                    <a:gd name="connsiteX27" fmla="*/ 100748 w 100989"/>
                    <a:gd name="connsiteY27" fmla="*/ 69460 h 91831"/>
                    <a:gd name="connsiteX28" fmla="*/ 99613 w 100989"/>
                    <a:gd name="connsiteY28" fmla="*/ 76298 h 91831"/>
                    <a:gd name="connsiteX29" fmla="*/ 81447 w 100989"/>
                    <a:gd name="connsiteY29" fmla="*/ 91831 h 9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0989" h="91831">
                      <a:moveTo>
                        <a:pt x="81447" y="91831"/>
                      </a:moveTo>
                      <a:cubicBezTo>
                        <a:pt x="81318" y="91831"/>
                        <a:pt x="81189" y="91831"/>
                        <a:pt x="81060" y="91831"/>
                      </a:cubicBezTo>
                      <a:lnTo>
                        <a:pt x="64159" y="91496"/>
                      </a:lnTo>
                      <a:cubicBezTo>
                        <a:pt x="63179" y="91470"/>
                        <a:pt x="62198" y="91238"/>
                        <a:pt x="61321" y="90799"/>
                      </a:cubicBezTo>
                      <a:lnTo>
                        <a:pt x="24732" y="72505"/>
                      </a:lnTo>
                      <a:cubicBezTo>
                        <a:pt x="23983" y="72117"/>
                        <a:pt x="23287" y="71601"/>
                        <a:pt x="22719" y="70956"/>
                      </a:cubicBezTo>
                      <a:lnTo>
                        <a:pt x="1664" y="47114"/>
                      </a:lnTo>
                      <a:cubicBezTo>
                        <a:pt x="-762" y="44353"/>
                        <a:pt x="-504" y="40147"/>
                        <a:pt x="2232" y="37722"/>
                      </a:cubicBezTo>
                      <a:cubicBezTo>
                        <a:pt x="4992" y="35296"/>
                        <a:pt x="9198" y="35554"/>
                        <a:pt x="11624" y="38290"/>
                      </a:cubicBezTo>
                      <a:lnTo>
                        <a:pt x="31828" y="61151"/>
                      </a:lnTo>
                      <a:lnTo>
                        <a:pt x="65914" y="78207"/>
                      </a:lnTo>
                      <a:lnTo>
                        <a:pt x="81318" y="78517"/>
                      </a:lnTo>
                      <a:cubicBezTo>
                        <a:pt x="83950" y="78594"/>
                        <a:pt x="86118" y="76711"/>
                        <a:pt x="86531" y="74182"/>
                      </a:cubicBezTo>
                      <a:lnTo>
                        <a:pt x="87666" y="67344"/>
                      </a:lnTo>
                      <a:cubicBezTo>
                        <a:pt x="87898" y="65899"/>
                        <a:pt x="87537" y="64480"/>
                        <a:pt x="86659" y="63344"/>
                      </a:cubicBezTo>
                      <a:cubicBezTo>
                        <a:pt x="85782" y="62183"/>
                        <a:pt x="84466" y="61487"/>
                        <a:pt x="83021" y="61358"/>
                      </a:cubicBezTo>
                      <a:lnTo>
                        <a:pt x="66456" y="59861"/>
                      </a:lnTo>
                      <a:cubicBezTo>
                        <a:pt x="65578" y="59784"/>
                        <a:pt x="64701" y="59525"/>
                        <a:pt x="63901" y="59087"/>
                      </a:cubicBezTo>
                      <a:lnTo>
                        <a:pt x="43259" y="47992"/>
                      </a:lnTo>
                      <a:cubicBezTo>
                        <a:pt x="41762" y="47192"/>
                        <a:pt x="40627" y="45850"/>
                        <a:pt x="40085" y="44224"/>
                      </a:cubicBezTo>
                      <a:lnTo>
                        <a:pt x="28293" y="8745"/>
                      </a:lnTo>
                      <a:cubicBezTo>
                        <a:pt x="27132" y="5261"/>
                        <a:pt x="29015" y="1494"/>
                        <a:pt x="32499" y="333"/>
                      </a:cubicBezTo>
                      <a:cubicBezTo>
                        <a:pt x="35982" y="-802"/>
                        <a:pt x="39749" y="1056"/>
                        <a:pt x="40910" y="4539"/>
                      </a:cubicBezTo>
                      <a:lnTo>
                        <a:pt x="51851" y="37515"/>
                      </a:lnTo>
                      <a:lnTo>
                        <a:pt x="68959" y="46701"/>
                      </a:lnTo>
                      <a:lnTo>
                        <a:pt x="84182" y="48069"/>
                      </a:lnTo>
                      <a:cubicBezTo>
                        <a:pt x="89291" y="48533"/>
                        <a:pt x="94013" y="51114"/>
                        <a:pt x="97136" y="55165"/>
                      </a:cubicBezTo>
                      <a:cubicBezTo>
                        <a:pt x="100258" y="59216"/>
                        <a:pt x="101574" y="64428"/>
                        <a:pt x="100748" y="69460"/>
                      </a:cubicBezTo>
                      <a:lnTo>
                        <a:pt x="99613" y="76298"/>
                      </a:lnTo>
                      <a:cubicBezTo>
                        <a:pt x="98193" y="85251"/>
                        <a:pt x="90401" y="91831"/>
                        <a:pt x="81447" y="91831"/>
                      </a:cubicBezTo>
                      <a:close/>
                    </a:path>
                  </a:pathLst>
                </a:custGeom>
                <a:grpFill/>
                <a:ln w="2573" cap="flat">
                  <a:noFill/>
                  <a:prstDash val="solid"/>
                  <a:miter/>
                </a:ln>
              </p:spPr>
              <p:txBody>
                <a:bodyPr rtlCol="0" anchor="ctr"/>
                <a:lstStyle/>
                <a:p>
                  <a:endParaRPr lang="en-GB" dirty="0"/>
                </a:p>
              </p:txBody>
            </p:sp>
            <p:sp>
              <p:nvSpPr>
                <p:cNvPr id="1422" name="Freihandform: Form 1421">
                  <a:extLst>
                    <a:ext uri="{FF2B5EF4-FFF2-40B4-BE49-F238E27FC236}">
                      <a16:creationId xmlns:a16="http://schemas.microsoft.com/office/drawing/2014/main" id="{CF32B8E0-D317-48F9-8C43-21FA0446E019}"/>
                    </a:ext>
                  </a:extLst>
                </p:cNvPr>
                <p:cNvSpPr/>
                <p:nvPr/>
              </p:nvSpPr>
              <p:spPr>
                <a:xfrm>
                  <a:off x="3713629" y="3361621"/>
                  <a:ext cx="73176" cy="84312"/>
                </a:xfrm>
                <a:custGeom>
                  <a:avLst/>
                  <a:gdLst>
                    <a:gd name="connsiteX0" fmla="*/ 36059 w 73176"/>
                    <a:gd name="connsiteY0" fmla="*/ 84313 h 84312"/>
                    <a:gd name="connsiteX1" fmla="*/ 29866 w 73176"/>
                    <a:gd name="connsiteY1" fmla="*/ 83797 h 84312"/>
                    <a:gd name="connsiteX2" fmla="*/ 786 w 73176"/>
                    <a:gd name="connsiteY2" fmla="*/ 36396 h 84312"/>
                    <a:gd name="connsiteX3" fmla="*/ 786 w 73176"/>
                    <a:gd name="connsiteY3" fmla="*/ 36396 h 84312"/>
                    <a:gd name="connsiteX4" fmla="*/ 14152 w 73176"/>
                    <a:gd name="connsiteY4" fmla="*/ 8993 h 84312"/>
                    <a:gd name="connsiteX5" fmla="*/ 43310 w 73176"/>
                    <a:gd name="connsiteY5" fmla="*/ 530 h 84312"/>
                    <a:gd name="connsiteX6" fmla="*/ 72390 w 73176"/>
                    <a:gd name="connsiteY6" fmla="*/ 47956 h 84312"/>
                    <a:gd name="connsiteX7" fmla="*/ 36059 w 73176"/>
                    <a:gd name="connsiteY7" fmla="*/ 84313 h 84312"/>
                    <a:gd name="connsiteX8" fmla="*/ 37066 w 73176"/>
                    <a:gd name="connsiteY8" fmla="*/ 13302 h 84312"/>
                    <a:gd name="connsiteX9" fmla="*/ 13920 w 73176"/>
                    <a:gd name="connsiteY9" fmla="*/ 38486 h 84312"/>
                    <a:gd name="connsiteX10" fmla="*/ 13920 w 73176"/>
                    <a:gd name="connsiteY10" fmla="*/ 38486 h 84312"/>
                    <a:gd name="connsiteX11" fmla="*/ 31982 w 73176"/>
                    <a:gd name="connsiteY11" fmla="*/ 70637 h 84312"/>
                    <a:gd name="connsiteX12" fmla="*/ 59256 w 73176"/>
                    <a:gd name="connsiteY12" fmla="*/ 45789 h 84312"/>
                    <a:gd name="connsiteX13" fmla="*/ 41194 w 73176"/>
                    <a:gd name="connsiteY13" fmla="*/ 13612 h 84312"/>
                    <a:gd name="connsiteX14" fmla="*/ 37066 w 73176"/>
                    <a:gd name="connsiteY14" fmla="*/ 13302 h 84312"/>
                    <a:gd name="connsiteX15" fmla="*/ 7366 w 73176"/>
                    <a:gd name="connsiteY15" fmla="*/ 37454 h 84312"/>
                    <a:gd name="connsiteX16" fmla="*/ 7444 w 73176"/>
                    <a:gd name="connsiteY16" fmla="*/ 37454 h 84312"/>
                    <a:gd name="connsiteX17" fmla="*/ 7366 w 73176"/>
                    <a:gd name="connsiteY17" fmla="*/ 37454 h 84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176" h="84312">
                      <a:moveTo>
                        <a:pt x="36059" y="84313"/>
                      </a:moveTo>
                      <a:cubicBezTo>
                        <a:pt x="34046" y="84313"/>
                        <a:pt x="31957" y="84132"/>
                        <a:pt x="29866" y="83797"/>
                      </a:cubicBezTo>
                      <a:cubicBezTo>
                        <a:pt x="8450" y="80339"/>
                        <a:pt x="-3239" y="61296"/>
                        <a:pt x="786" y="36396"/>
                      </a:cubicBezTo>
                      <a:lnTo>
                        <a:pt x="786" y="36396"/>
                      </a:lnTo>
                      <a:cubicBezTo>
                        <a:pt x="2618" y="24940"/>
                        <a:pt x="7237" y="15470"/>
                        <a:pt x="14152" y="8993"/>
                      </a:cubicBezTo>
                      <a:cubicBezTo>
                        <a:pt x="21971" y="1639"/>
                        <a:pt x="32034" y="-1302"/>
                        <a:pt x="43310" y="530"/>
                      </a:cubicBezTo>
                      <a:cubicBezTo>
                        <a:pt x="64726" y="3988"/>
                        <a:pt x="76415" y="23030"/>
                        <a:pt x="72390" y="47956"/>
                      </a:cubicBezTo>
                      <a:cubicBezTo>
                        <a:pt x="68752" y="70379"/>
                        <a:pt x="54509" y="84313"/>
                        <a:pt x="36059" y="84313"/>
                      </a:cubicBezTo>
                      <a:close/>
                      <a:moveTo>
                        <a:pt x="37066" y="13302"/>
                      </a:moveTo>
                      <a:cubicBezTo>
                        <a:pt x="23080" y="13302"/>
                        <a:pt x="15933" y="25894"/>
                        <a:pt x="13920" y="38486"/>
                      </a:cubicBezTo>
                      <a:lnTo>
                        <a:pt x="13920" y="38486"/>
                      </a:lnTo>
                      <a:cubicBezTo>
                        <a:pt x="11701" y="52265"/>
                        <a:pt x="15288" y="67954"/>
                        <a:pt x="31982" y="70637"/>
                      </a:cubicBezTo>
                      <a:cubicBezTo>
                        <a:pt x="48729" y="73347"/>
                        <a:pt x="57011" y="59568"/>
                        <a:pt x="59256" y="45789"/>
                      </a:cubicBezTo>
                      <a:cubicBezTo>
                        <a:pt x="61475" y="32010"/>
                        <a:pt x="57889" y="16321"/>
                        <a:pt x="41194" y="13612"/>
                      </a:cubicBezTo>
                      <a:cubicBezTo>
                        <a:pt x="39749" y="13406"/>
                        <a:pt x="38382" y="13302"/>
                        <a:pt x="37066" y="13302"/>
                      </a:cubicBezTo>
                      <a:close/>
                      <a:moveTo>
                        <a:pt x="7366" y="37454"/>
                      </a:moveTo>
                      <a:lnTo>
                        <a:pt x="7444" y="37454"/>
                      </a:lnTo>
                      <a:lnTo>
                        <a:pt x="7366" y="37454"/>
                      </a:lnTo>
                      <a:close/>
                    </a:path>
                  </a:pathLst>
                </a:custGeom>
                <a:grpFill/>
                <a:ln w="2573" cap="flat">
                  <a:noFill/>
                  <a:prstDash val="solid"/>
                  <a:miter/>
                </a:ln>
              </p:spPr>
              <p:txBody>
                <a:bodyPr rtlCol="0" anchor="ctr"/>
                <a:lstStyle/>
                <a:p>
                  <a:endParaRPr lang="en-GB" dirty="0"/>
                </a:p>
              </p:txBody>
            </p:sp>
          </p:grpSp>
          <p:grpSp>
            <p:nvGrpSpPr>
              <p:cNvPr id="1401" name="Grafik 312">
                <a:extLst>
                  <a:ext uri="{FF2B5EF4-FFF2-40B4-BE49-F238E27FC236}">
                    <a16:creationId xmlns:a16="http://schemas.microsoft.com/office/drawing/2014/main" id="{BB2FAD52-8548-453C-B5CD-49C30978BF55}"/>
                  </a:ext>
                </a:extLst>
              </p:cNvPr>
              <p:cNvGrpSpPr/>
              <p:nvPr/>
            </p:nvGrpSpPr>
            <p:grpSpPr>
              <a:xfrm>
                <a:off x="3488368" y="3368292"/>
                <a:ext cx="213833" cy="375178"/>
                <a:chOff x="3488368" y="3368292"/>
                <a:chExt cx="213833" cy="375178"/>
              </a:xfrm>
              <a:grpFill/>
            </p:grpSpPr>
            <p:sp>
              <p:nvSpPr>
                <p:cNvPr id="1410" name="Freihandform: Form 1409">
                  <a:extLst>
                    <a:ext uri="{FF2B5EF4-FFF2-40B4-BE49-F238E27FC236}">
                      <a16:creationId xmlns:a16="http://schemas.microsoft.com/office/drawing/2014/main" id="{62687473-E14C-4B60-9874-3036959859E2}"/>
                    </a:ext>
                  </a:extLst>
                </p:cNvPr>
                <p:cNvSpPr/>
                <p:nvPr/>
              </p:nvSpPr>
              <p:spPr>
                <a:xfrm>
                  <a:off x="3539134" y="3368292"/>
                  <a:ext cx="73203" cy="83189"/>
                </a:xfrm>
                <a:custGeom>
                  <a:avLst/>
                  <a:gdLst>
                    <a:gd name="connsiteX0" fmla="*/ 36589 w 73203"/>
                    <a:gd name="connsiteY0" fmla="*/ 83189 h 83189"/>
                    <a:gd name="connsiteX1" fmla="*/ 0 w 73203"/>
                    <a:gd name="connsiteY1" fmla="*/ 41595 h 83189"/>
                    <a:gd name="connsiteX2" fmla="*/ 36589 w 73203"/>
                    <a:gd name="connsiteY2" fmla="*/ 0 h 83189"/>
                    <a:gd name="connsiteX3" fmla="*/ 73204 w 73203"/>
                    <a:gd name="connsiteY3" fmla="*/ 41595 h 83189"/>
                    <a:gd name="connsiteX4" fmla="*/ 36589 w 73203"/>
                    <a:gd name="connsiteY4" fmla="*/ 83189 h 83189"/>
                    <a:gd name="connsiteX5" fmla="*/ 36589 w 73203"/>
                    <a:gd name="connsiteY5" fmla="*/ 13289 h 83189"/>
                    <a:gd name="connsiteX6" fmla="*/ 13289 w 73203"/>
                    <a:gd name="connsiteY6" fmla="*/ 41595 h 83189"/>
                    <a:gd name="connsiteX7" fmla="*/ 36589 w 73203"/>
                    <a:gd name="connsiteY7" fmla="*/ 69901 h 83189"/>
                    <a:gd name="connsiteX8" fmla="*/ 59889 w 73203"/>
                    <a:gd name="connsiteY8" fmla="*/ 41595 h 83189"/>
                    <a:gd name="connsiteX9" fmla="*/ 36589 w 73203"/>
                    <a:gd name="connsiteY9" fmla="*/ 13289 h 8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203" h="83189">
                      <a:moveTo>
                        <a:pt x="36589" y="83189"/>
                      </a:moveTo>
                      <a:cubicBezTo>
                        <a:pt x="15043" y="83189"/>
                        <a:pt x="0" y="66082"/>
                        <a:pt x="0" y="41595"/>
                      </a:cubicBezTo>
                      <a:cubicBezTo>
                        <a:pt x="0" y="17108"/>
                        <a:pt x="15043" y="0"/>
                        <a:pt x="36589" y="0"/>
                      </a:cubicBezTo>
                      <a:cubicBezTo>
                        <a:pt x="58135" y="0"/>
                        <a:pt x="73204" y="17108"/>
                        <a:pt x="73204" y="41595"/>
                      </a:cubicBezTo>
                      <a:cubicBezTo>
                        <a:pt x="73204" y="66082"/>
                        <a:pt x="58160" y="83189"/>
                        <a:pt x="36589" y="83189"/>
                      </a:cubicBezTo>
                      <a:close/>
                      <a:moveTo>
                        <a:pt x="36589" y="13289"/>
                      </a:moveTo>
                      <a:cubicBezTo>
                        <a:pt x="19378" y="13289"/>
                        <a:pt x="13289" y="28538"/>
                        <a:pt x="13289" y="41595"/>
                      </a:cubicBezTo>
                      <a:cubicBezTo>
                        <a:pt x="13289" y="54651"/>
                        <a:pt x="19378" y="69901"/>
                        <a:pt x="36589" y="69901"/>
                      </a:cubicBezTo>
                      <a:cubicBezTo>
                        <a:pt x="53800" y="69901"/>
                        <a:pt x="59889" y="54651"/>
                        <a:pt x="59889" y="41595"/>
                      </a:cubicBezTo>
                      <a:cubicBezTo>
                        <a:pt x="59915" y="28538"/>
                        <a:pt x="53800" y="13289"/>
                        <a:pt x="36589" y="13289"/>
                      </a:cubicBezTo>
                      <a:close/>
                    </a:path>
                  </a:pathLst>
                </a:custGeom>
                <a:grpFill/>
                <a:ln w="2573" cap="flat">
                  <a:noFill/>
                  <a:prstDash val="solid"/>
                  <a:miter/>
                </a:ln>
              </p:spPr>
              <p:txBody>
                <a:bodyPr rtlCol="0" anchor="ctr"/>
                <a:lstStyle/>
                <a:p>
                  <a:endParaRPr lang="en-GB" dirty="0"/>
                </a:p>
              </p:txBody>
            </p:sp>
            <p:sp>
              <p:nvSpPr>
                <p:cNvPr id="1411" name="Freihandform: Form 1410">
                  <a:extLst>
                    <a:ext uri="{FF2B5EF4-FFF2-40B4-BE49-F238E27FC236}">
                      <a16:creationId xmlns:a16="http://schemas.microsoft.com/office/drawing/2014/main" id="{B6E831CE-624A-4EFD-9C12-0D590328DEB3}"/>
                    </a:ext>
                  </a:extLst>
                </p:cNvPr>
                <p:cNvSpPr/>
                <p:nvPr/>
              </p:nvSpPr>
              <p:spPr>
                <a:xfrm>
                  <a:off x="3488368" y="3458214"/>
                  <a:ext cx="154623" cy="285256"/>
                </a:xfrm>
                <a:custGeom>
                  <a:avLst/>
                  <a:gdLst>
                    <a:gd name="connsiteX0" fmla="*/ 135221 w 154623"/>
                    <a:gd name="connsiteY0" fmla="*/ 285256 h 285256"/>
                    <a:gd name="connsiteX1" fmla="*/ 134240 w 154623"/>
                    <a:gd name="connsiteY1" fmla="*/ 285179 h 285256"/>
                    <a:gd name="connsiteX2" fmla="*/ 128641 w 154623"/>
                    <a:gd name="connsiteY2" fmla="*/ 277618 h 285256"/>
                    <a:gd name="connsiteX3" fmla="*/ 141000 w 154623"/>
                    <a:gd name="connsiteY3" fmla="*/ 193319 h 285256"/>
                    <a:gd name="connsiteX4" fmla="*/ 99277 w 154623"/>
                    <a:gd name="connsiteY4" fmla="*/ 142332 h 285256"/>
                    <a:gd name="connsiteX5" fmla="*/ 97883 w 154623"/>
                    <a:gd name="connsiteY5" fmla="*/ 136965 h 285256"/>
                    <a:gd name="connsiteX6" fmla="*/ 115662 w 154623"/>
                    <a:gd name="connsiteY6" fmla="*/ 37571 h 285256"/>
                    <a:gd name="connsiteX7" fmla="*/ 112540 w 154623"/>
                    <a:gd name="connsiteY7" fmla="*/ 23612 h 285256"/>
                    <a:gd name="connsiteX8" fmla="*/ 100386 w 154623"/>
                    <a:gd name="connsiteY8" fmla="*/ 16026 h 285256"/>
                    <a:gd name="connsiteX9" fmla="*/ 88027 w 154623"/>
                    <a:gd name="connsiteY9" fmla="*/ 14013 h 285256"/>
                    <a:gd name="connsiteX10" fmla="*/ 27492 w 154623"/>
                    <a:gd name="connsiteY10" fmla="*/ 43609 h 285256"/>
                    <a:gd name="connsiteX11" fmla="*/ 15649 w 154623"/>
                    <a:gd name="connsiteY11" fmla="*/ 65310 h 285256"/>
                    <a:gd name="connsiteX12" fmla="*/ 17868 w 154623"/>
                    <a:gd name="connsiteY12" fmla="*/ 87217 h 285256"/>
                    <a:gd name="connsiteX13" fmla="*/ 51644 w 154623"/>
                    <a:gd name="connsiteY13" fmla="*/ 127134 h 285256"/>
                    <a:gd name="connsiteX14" fmla="*/ 56830 w 154623"/>
                    <a:gd name="connsiteY14" fmla="*/ 129714 h 285256"/>
                    <a:gd name="connsiteX15" fmla="*/ 62249 w 154623"/>
                    <a:gd name="connsiteY15" fmla="*/ 127702 h 285256"/>
                    <a:gd name="connsiteX16" fmla="*/ 63281 w 154623"/>
                    <a:gd name="connsiteY16" fmla="*/ 118413 h 285256"/>
                    <a:gd name="connsiteX17" fmla="*/ 40188 w 154623"/>
                    <a:gd name="connsiteY17" fmla="*/ 83604 h 285256"/>
                    <a:gd name="connsiteX18" fmla="*/ 39852 w 154623"/>
                    <a:gd name="connsiteY18" fmla="*/ 76818 h 285256"/>
                    <a:gd name="connsiteX19" fmla="*/ 55257 w 154623"/>
                    <a:gd name="connsiteY19" fmla="*/ 47712 h 285256"/>
                    <a:gd name="connsiteX20" fmla="*/ 64236 w 154623"/>
                    <a:gd name="connsiteY20" fmla="*/ 44951 h 285256"/>
                    <a:gd name="connsiteX21" fmla="*/ 66997 w 154623"/>
                    <a:gd name="connsiteY21" fmla="*/ 53930 h 285256"/>
                    <a:gd name="connsiteX22" fmla="*/ 53450 w 154623"/>
                    <a:gd name="connsiteY22" fmla="*/ 79553 h 285256"/>
                    <a:gd name="connsiteX23" fmla="*/ 74351 w 154623"/>
                    <a:gd name="connsiteY23" fmla="*/ 111059 h 285256"/>
                    <a:gd name="connsiteX24" fmla="*/ 71435 w 154623"/>
                    <a:gd name="connsiteY24" fmla="*/ 137326 h 285256"/>
                    <a:gd name="connsiteX25" fmla="*/ 56134 w 154623"/>
                    <a:gd name="connsiteY25" fmla="*/ 143003 h 285256"/>
                    <a:gd name="connsiteX26" fmla="*/ 41478 w 154623"/>
                    <a:gd name="connsiteY26" fmla="*/ 135752 h 285256"/>
                    <a:gd name="connsiteX27" fmla="*/ 7701 w 154623"/>
                    <a:gd name="connsiteY27" fmla="*/ 95835 h 285256"/>
                    <a:gd name="connsiteX28" fmla="*/ 3960 w 154623"/>
                    <a:gd name="connsiteY28" fmla="*/ 58988 h 285256"/>
                    <a:gd name="connsiteX29" fmla="*/ 15803 w 154623"/>
                    <a:gd name="connsiteY29" fmla="*/ 37287 h 285256"/>
                    <a:gd name="connsiteX30" fmla="*/ 90142 w 154623"/>
                    <a:gd name="connsiteY30" fmla="*/ 931 h 285256"/>
                    <a:gd name="connsiteX31" fmla="*/ 102502 w 154623"/>
                    <a:gd name="connsiteY31" fmla="*/ 2943 h 285256"/>
                    <a:gd name="connsiteX32" fmla="*/ 123377 w 154623"/>
                    <a:gd name="connsiteY32" fmla="*/ 15974 h 285256"/>
                    <a:gd name="connsiteX33" fmla="*/ 128718 w 154623"/>
                    <a:gd name="connsiteY33" fmla="*/ 39971 h 285256"/>
                    <a:gd name="connsiteX34" fmla="*/ 111482 w 154623"/>
                    <a:gd name="connsiteY34" fmla="*/ 136372 h 285256"/>
                    <a:gd name="connsiteX35" fmla="*/ 153128 w 154623"/>
                    <a:gd name="connsiteY35" fmla="*/ 187256 h 285256"/>
                    <a:gd name="connsiteX36" fmla="*/ 154547 w 154623"/>
                    <a:gd name="connsiteY36" fmla="*/ 192442 h 285256"/>
                    <a:gd name="connsiteX37" fmla="*/ 141775 w 154623"/>
                    <a:gd name="connsiteY37" fmla="*/ 279657 h 285256"/>
                    <a:gd name="connsiteX38" fmla="*/ 135221 w 154623"/>
                    <a:gd name="connsiteY38" fmla="*/ 285256 h 28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4623" h="285256">
                      <a:moveTo>
                        <a:pt x="135221" y="285256"/>
                      </a:moveTo>
                      <a:cubicBezTo>
                        <a:pt x="134911" y="285256"/>
                        <a:pt x="134575" y="285230"/>
                        <a:pt x="134240" y="285179"/>
                      </a:cubicBezTo>
                      <a:cubicBezTo>
                        <a:pt x="130602" y="284637"/>
                        <a:pt x="128099" y="281257"/>
                        <a:pt x="128641" y="277618"/>
                      </a:cubicBezTo>
                      <a:lnTo>
                        <a:pt x="141000" y="193319"/>
                      </a:lnTo>
                      <a:lnTo>
                        <a:pt x="99277" y="142332"/>
                      </a:lnTo>
                      <a:cubicBezTo>
                        <a:pt x="98038" y="140836"/>
                        <a:pt x="97548" y="138875"/>
                        <a:pt x="97883" y="136965"/>
                      </a:cubicBezTo>
                      <a:lnTo>
                        <a:pt x="115662" y="37571"/>
                      </a:lnTo>
                      <a:cubicBezTo>
                        <a:pt x="116539" y="32643"/>
                        <a:pt x="115430" y="27689"/>
                        <a:pt x="112540" y="23612"/>
                      </a:cubicBezTo>
                      <a:cubicBezTo>
                        <a:pt x="109650" y="19535"/>
                        <a:pt x="105341" y="16825"/>
                        <a:pt x="100386" y="16026"/>
                      </a:cubicBezTo>
                      <a:lnTo>
                        <a:pt x="88027" y="14013"/>
                      </a:lnTo>
                      <a:cubicBezTo>
                        <a:pt x="63720" y="10039"/>
                        <a:pt x="39336" y="21935"/>
                        <a:pt x="27492" y="43609"/>
                      </a:cubicBezTo>
                      <a:lnTo>
                        <a:pt x="15649" y="65310"/>
                      </a:lnTo>
                      <a:cubicBezTo>
                        <a:pt x="11830" y="72328"/>
                        <a:pt x="12707" y="81127"/>
                        <a:pt x="17868" y="87217"/>
                      </a:cubicBezTo>
                      <a:lnTo>
                        <a:pt x="51644" y="127134"/>
                      </a:lnTo>
                      <a:cubicBezTo>
                        <a:pt x="52960" y="128682"/>
                        <a:pt x="54792" y="129585"/>
                        <a:pt x="56830" y="129714"/>
                      </a:cubicBezTo>
                      <a:cubicBezTo>
                        <a:pt x="58947" y="129818"/>
                        <a:pt x="60778" y="129095"/>
                        <a:pt x="62249" y="127702"/>
                      </a:cubicBezTo>
                      <a:cubicBezTo>
                        <a:pt x="64804" y="125251"/>
                        <a:pt x="65242" y="121354"/>
                        <a:pt x="63281" y="118413"/>
                      </a:cubicBezTo>
                      <a:lnTo>
                        <a:pt x="40188" y="83604"/>
                      </a:lnTo>
                      <a:cubicBezTo>
                        <a:pt x="38846" y="81566"/>
                        <a:pt x="38717" y="78985"/>
                        <a:pt x="39852" y="76818"/>
                      </a:cubicBezTo>
                      <a:lnTo>
                        <a:pt x="55257" y="47712"/>
                      </a:lnTo>
                      <a:cubicBezTo>
                        <a:pt x="56960" y="44461"/>
                        <a:pt x="60985" y="43222"/>
                        <a:pt x="64236" y="44951"/>
                      </a:cubicBezTo>
                      <a:cubicBezTo>
                        <a:pt x="67487" y="46654"/>
                        <a:pt x="68726" y="50705"/>
                        <a:pt x="66997" y="53930"/>
                      </a:cubicBezTo>
                      <a:lnTo>
                        <a:pt x="53450" y="79553"/>
                      </a:lnTo>
                      <a:lnTo>
                        <a:pt x="74351" y="111059"/>
                      </a:lnTo>
                      <a:cubicBezTo>
                        <a:pt x="79873" y="119367"/>
                        <a:pt x="78634" y="130411"/>
                        <a:pt x="71435" y="137326"/>
                      </a:cubicBezTo>
                      <a:cubicBezTo>
                        <a:pt x="67358" y="141249"/>
                        <a:pt x="61862" y="143364"/>
                        <a:pt x="56134" y="143003"/>
                      </a:cubicBezTo>
                      <a:cubicBezTo>
                        <a:pt x="50483" y="142694"/>
                        <a:pt x="45142" y="140062"/>
                        <a:pt x="41478" y="135752"/>
                      </a:cubicBezTo>
                      <a:lnTo>
                        <a:pt x="7701" y="95835"/>
                      </a:lnTo>
                      <a:cubicBezTo>
                        <a:pt x="-969" y="85591"/>
                        <a:pt x="-2465" y="70780"/>
                        <a:pt x="3960" y="58988"/>
                      </a:cubicBezTo>
                      <a:lnTo>
                        <a:pt x="15803" y="37287"/>
                      </a:lnTo>
                      <a:cubicBezTo>
                        <a:pt x="30331" y="10658"/>
                        <a:pt x="60237" y="-3946"/>
                        <a:pt x="90142" y="931"/>
                      </a:cubicBezTo>
                      <a:lnTo>
                        <a:pt x="102502" y="2943"/>
                      </a:lnTo>
                      <a:cubicBezTo>
                        <a:pt x="110991" y="4337"/>
                        <a:pt x="118397" y="8956"/>
                        <a:pt x="123377" y="15974"/>
                      </a:cubicBezTo>
                      <a:cubicBezTo>
                        <a:pt x="128331" y="22992"/>
                        <a:pt x="130241" y="31508"/>
                        <a:pt x="128718" y="39971"/>
                      </a:cubicBezTo>
                      <a:lnTo>
                        <a:pt x="111482" y="136372"/>
                      </a:lnTo>
                      <a:lnTo>
                        <a:pt x="153128" y="187256"/>
                      </a:lnTo>
                      <a:cubicBezTo>
                        <a:pt x="154315" y="188700"/>
                        <a:pt x="154831" y="190584"/>
                        <a:pt x="154547" y="192442"/>
                      </a:cubicBezTo>
                      <a:lnTo>
                        <a:pt x="141775" y="279657"/>
                      </a:lnTo>
                      <a:cubicBezTo>
                        <a:pt x="141310" y="282882"/>
                        <a:pt x="138472" y="285256"/>
                        <a:pt x="135221" y="285256"/>
                      </a:cubicBezTo>
                      <a:close/>
                    </a:path>
                  </a:pathLst>
                </a:custGeom>
                <a:grpFill/>
                <a:ln w="2573" cap="flat">
                  <a:noFill/>
                  <a:prstDash val="solid"/>
                  <a:miter/>
                </a:ln>
              </p:spPr>
              <p:txBody>
                <a:bodyPr rtlCol="0" anchor="ctr"/>
                <a:lstStyle/>
                <a:p>
                  <a:endParaRPr lang="en-GB" dirty="0"/>
                </a:p>
              </p:txBody>
            </p:sp>
            <p:sp>
              <p:nvSpPr>
                <p:cNvPr id="1412" name="Freihandform: Form 1411">
                  <a:extLst>
                    <a:ext uri="{FF2B5EF4-FFF2-40B4-BE49-F238E27FC236}">
                      <a16:creationId xmlns:a16="http://schemas.microsoft.com/office/drawing/2014/main" id="{25255009-0552-4C6D-A3CC-BE706B631D8C}"/>
                    </a:ext>
                  </a:extLst>
                </p:cNvPr>
                <p:cNvSpPr/>
                <p:nvPr/>
              </p:nvSpPr>
              <p:spPr>
                <a:xfrm>
                  <a:off x="3511596" y="3568044"/>
                  <a:ext cx="93940" cy="175425"/>
                </a:xfrm>
                <a:custGeom>
                  <a:avLst/>
                  <a:gdLst>
                    <a:gd name="connsiteX0" fmla="*/ 77055 w 93940"/>
                    <a:gd name="connsiteY0" fmla="*/ 175426 h 175425"/>
                    <a:gd name="connsiteX1" fmla="*/ 76125 w 93940"/>
                    <a:gd name="connsiteY1" fmla="*/ 175374 h 175425"/>
                    <a:gd name="connsiteX2" fmla="*/ 70449 w 93940"/>
                    <a:gd name="connsiteY2" fmla="*/ 167866 h 175425"/>
                    <a:gd name="connsiteX3" fmla="*/ 80022 w 93940"/>
                    <a:gd name="connsiteY3" fmla="*/ 99513 h 175425"/>
                    <a:gd name="connsiteX4" fmla="*/ 24339 w 93940"/>
                    <a:gd name="connsiteY4" fmla="*/ 76884 h 175425"/>
                    <a:gd name="connsiteX5" fmla="*/ 23461 w 93940"/>
                    <a:gd name="connsiteY5" fmla="*/ 76445 h 175425"/>
                    <a:gd name="connsiteX6" fmla="*/ 1348 w 93940"/>
                    <a:gd name="connsiteY6" fmla="*/ 35985 h 175425"/>
                    <a:gd name="connsiteX7" fmla="*/ 6 w 93940"/>
                    <a:gd name="connsiteY7" fmla="*/ 6957 h 175425"/>
                    <a:gd name="connsiteX8" fmla="*/ 6354 w 93940"/>
                    <a:gd name="connsiteY8" fmla="*/ 16 h 175425"/>
                    <a:gd name="connsiteX9" fmla="*/ 13295 w 93940"/>
                    <a:gd name="connsiteY9" fmla="*/ 6363 h 175425"/>
                    <a:gd name="connsiteX10" fmla="*/ 14637 w 93940"/>
                    <a:gd name="connsiteY10" fmla="*/ 35934 h 175425"/>
                    <a:gd name="connsiteX11" fmla="*/ 29809 w 93940"/>
                    <a:gd name="connsiteY11" fmla="*/ 64730 h 175425"/>
                    <a:gd name="connsiteX12" fmla="*/ 89801 w 93940"/>
                    <a:gd name="connsiteY12" fmla="*/ 89114 h 175425"/>
                    <a:gd name="connsiteX13" fmla="*/ 93878 w 93940"/>
                    <a:gd name="connsiteY13" fmla="*/ 96210 h 175425"/>
                    <a:gd name="connsiteX14" fmla="*/ 83583 w 93940"/>
                    <a:gd name="connsiteY14" fmla="*/ 169698 h 175425"/>
                    <a:gd name="connsiteX15" fmla="*/ 77055 w 93940"/>
                    <a:gd name="connsiteY15" fmla="*/ 175426 h 17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3940" h="175425">
                      <a:moveTo>
                        <a:pt x="77055" y="175426"/>
                      </a:moveTo>
                      <a:cubicBezTo>
                        <a:pt x="76745" y="175426"/>
                        <a:pt x="76435" y="175400"/>
                        <a:pt x="76125" y="175374"/>
                      </a:cubicBezTo>
                      <a:cubicBezTo>
                        <a:pt x="72487" y="174858"/>
                        <a:pt x="69959" y="171504"/>
                        <a:pt x="70449" y="167866"/>
                      </a:cubicBezTo>
                      <a:lnTo>
                        <a:pt x="80022" y="99513"/>
                      </a:lnTo>
                      <a:lnTo>
                        <a:pt x="24339" y="76884"/>
                      </a:lnTo>
                      <a:cubicBezTo>
                        <a:pt x="24029" y="76755"/>
                        <a:pt x="23745" y="76625"/>
                        <a:pt x="23461" y="76445"/>
                      </a:cubicBezTo>
                      <a:cubicBezTo>
                        <a:pt x="9192" y="68033"/>
                        <a:pt x="703" y="52551"/>
                        <a:pt x="1348" y="35985"/>
                      </a:cubicBezTo>
                      <a:lnTo>
                        <a:pt x="6" y="6957"/>
                      </a:lnTo>
                      <a:cubicBezTo>
                        <a:pt x="-149" y="3293"/>
                        <a:pt x="2690" y="171"/>
                        <a:pt x="6354" y="16"/>
                      </a:cubicBezTo>
                      <a:cubicBezTo>
                        <a:pt x="9941" y="-242"/>
                        <a:pt x="13140" y="2699"/>
                        <a:pt x="13295" y="6363"/>
                      </a:cubicBezTo>
                      <a:lnTo>
                        <a:pt x="14637" y="35934"/>
                      </a:lnTo>
                      <a:cubicBezTo>
                        <a:pt x="14198" y="47958"/>
                        <a:pt x="20004" y="58770"/>
                        <a:pt x="29809" y="64730"/>
                      </a:cubicBezTo>
                      <a:lnTo>
                        <a:pt x="89801" y="89114"/>
                      </a:lnTo>
                      <a:cubicBezTo>
                        <a:pt x="92614" y="90275"/>
                        <a:pt x="94291" y="93191"/>
                        <a:pt x="93878" y="96210"/>
                      </a:cubicBezTo>
                      <a:lnTo>
                        <a:pt x="83583" y="169698"/>
                      </a:lnTo>
                      <a:cubicBezTo>
                        <a:pt x="83144" y="173026"/>
                        <a:pt x="80306" y="175426"/>
                        <a:pt x="77055" y="175426"/>
                      </a:cubicBezTo>
                      <a:close/>
                    </a:path>
                  </a:pathLst>
                </a:custGeom>
                <a:grpFill/>
                <a:ln w="2573" cap="flat">
                  <a:noFill/>
                  <a:prstDash val="solid"/>
                  <a:miter/>
                </a:ln>
              </p:spPr>
              <p:txBody>
                <a:bodyPr rtlCol="0" anchor="ctr"/>
                <a:lstStyle/>
                <a:p>
                  <a:endParaRPr lang="en-GB" dirty="0"/>
                </a:p>
              </p:txBody>
            </p:sp>
            <p:sp>
              <p:nvSpPr>
                <p:cNvPr id="1413" name="Freihandform: Form 1412">
                  <a:extLst>
                    <a:ext uri="{FF2B5EF4-FFF2-40B4-BE49-F238E27FC236}">
                      <a16:creationId xmlns:a16="http://schemas.microsoft.com/office/drawing/2014/main" id="{C808B634-1ACC-4259-B737-4E250E73B4D8}"/>
                    </a:ext>
                  </a:extLst>
                </p:cNvPr>
                <p:cNvSpPr/>
                <p:nvPr/>
              </p:nvSpPr>
              <p:spPr>
                <a:xfrm>
                  <a:off x="3603364" y="3496949"/>
                  <a:ext cx="89784" cy="19143"/>
                </a:xfrm>
                <a:custGeom>
                  <a:avLst/>
                  <a:gdLst>
                    <a:gd name="connsiteX0" fmla="*/ 6652 w 89784"/>
                    <a:gd name="connsiteY0" fmla="*/ 19144 h 19143"/>
                    <a:gd name="connsiteX1" fmla="*/ 20 w 89784"/>
                    <a:gd name="connsiteY1" fmla="*/ 13003 h 19143"/>
                    <a:gd name="connsiteX2" fmla="*/ 6136 w 89784"/>
                    <a:gd name="connsiteY2" fmla="*/ 5855 h 19143"/>
                    <a:gd name="connsiteX3" fmla="*/ 82616 w 89784"/>
                    <a:gd name="connsiteY3" fmla="*/ 24 h 19143"/>
                    <a:gd name="connsiteX4" fmla="*/ 89764 w 89784"/>
                    <a:gd name="connsiteY4" fmla="*/ 6139 h 19143"/>
                    <a:gd name="connsiteX5" fmla="*/ 83648 w 89784"/>
                    <a:gd name="connsiteY5" fmla="*/ 13287 h 19143"/>
                    <a:gd name="connsiteX6" fmla="*/ 7168 w 89784"/>
                    <a:gd name="connsiteY6" fmla="*/ 19118 h 19143"/>
                    <a:gd name="connsiteX7" fmla="*/ 6652 w 89784"/>
                    <a:gd name="connsiteY7" fmla="*/ 19144 h 19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784" h="19143">
                      <a:moveTo>
                        <a:pt x="6652" y="19144"/>
                      </a:moveTo>
                      <a:cubicBezTo>
                        <a:pt x="3220" y="19144"/>
                        <a:pt x="304" y="16486"/>
                        <a:pt x="20" y="13003"/>
                      </a:cubicBezTo>
                      <a:cubicBezTo>
                        <a:pt x="-264" y="9339"/>
                        <a:pt x="2471" y="6139"/>
                        <a:pt x="6136" y="5855"/>
                      </a:cubicBezTo>
                      <a:lnTo>
                        <a:pt x="82616" y="24"/>
                      </a:lnTo>
                      <a:cubicBezTo>
                        <a:pt x="86358" y="-286"/>
                        <a:pt x="89480" y="2475"/>
                        <a:pt x="89764" y="6139"/>
                      </a:cubicBezTo>
                      <a:cubicBezTo>
                        <a:pt x="90048" y="9803"/>
                        <a:pt x="87312" y="13003"/>
                        <a:pt x="83648" y="13287"/>
                      </a:cubicBezTo>
                      <a:lnTo>
                        <a:pt x="7168" y="19118"/>
                      </a:lnTo>
                      <a:cubicBezTo>
                        <a:pt x="6987" y="19118"/>
                        <a:pt x="6832" y="19144"/>
                        <a:pt x="6652" y="19144"/>
                      </a:cubicBezTo>
                      <a:close/>
                    </a:path>
                  </a:pathLst>
                </a:custGeom>
                <a:grpFill/>
                <a:ln w="2573" cap="flat">
                  <a:noFill/>
                  <a:prstDash val="solid"/>
                  <a:miter/>
                </a:ln>
              </p:spPr>
              <p:txBody>
                <a:bodyPr rtlCol="0" anchor="ctr"/>
                <a:lstStyle/>
                <a:p>
                  <a:endParaRPr lang="en-GB" dirty="0"/>
                </a:p>
              </p:txBody>
            </p:sp>
            <p:sp>
              <p:nvSpPr>
                <p:cNvPr id="1414" name="Freihandform: Form 1413">
                  <a:extLst>
                    <a:ext uri="{FF2B5EF4-FFF2-40B4-BE49-F238E27FC236}">
                      <a16:creationId xmlns:a16="http://schemas.microsoft.com/office/drawing/2014/main" id="{44FEDC4E-3E52-47BC-87B7-BBC43A02D58A}"/>
                    </a:ext>
                  </a:extLst>
                </p:cNvPr>
                <p:cNvSpPr/>
                <p:nvPr/>
              </p:nvSpPr>
              <p:spPr>
                <a:xfrm>
                  <a:off x="3575655" y="3459767"/>
                  <a:ext cx="126546" cy="21336"/>
                </a:xfrm>
                <a:custGeom>
                  <a:avLst/>
                  <a:gdLst>
                    <a:gd name="connsiteX0" fmla="*/ 119898 w 126546"/>
                    <a:gd name="connsiteY0" fmla="*/ 21337 h 21336"/>
                    <a:gd name="connsiteX1" fmla="*/ 119434 w 126546"/>
                    <a:gd name="connsiteY1" fmla="*/ 21311 h 21336"/>
                    <a:gd name="connsiteX2" fmla="*/ 6184 w 126546"/>
                    <a:gd name="connsiteY2" fmla="*/ 13286 h 21336"/>
                    <a:gd name="connsiteX3" fmla="*/ 17 w 126546"/>
                    <a:gd name="connsiteY3" fmla="*/ 6190 h 21336"/>
                    <a:gd name="connsiteX4" fmla="*/ 7113 w 126546"/>
                    <a:gd name="connsiteY4" fmla="*/ 23 h 21336"/>
                    <a:gd name="connsiteX5" fmla="*/ 120363 w 126546"/>
                    <a:gd name="connsiteY5" fmla="*/ 8048 h 21336"/>
                    <a:gd name="connsiteX6" fmla="*/ 126530 w 126546"/>
                    <a:gd name="connsiteY6" fmla="*/ 15144 h 21336"/>
                    <a:gd name="connsiteX7" fmla="*/ 119898 w 126546"/>
                    <a:gd name="connsiteY7" fmla="*/ 21337 h 2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546" h="21336">
                      <a:moveTo>
                        <a:pt x="119898" y="21337"/>
                      </a:moveTo>
                      <a:cubicBezTo>
                        <a:pt x="119744" y="21337"/>
                        <a:pt x="119589" y="21337"/>
                        <a:pt x="119434" y="21311"/>
                      </a:cubicBezTo>
                      <a:lnTo>
                        <a:pt x="6184" y="13286"/>
                      </a:lnTo>
                      <a:cubicBezTo>
                        <a:pt x="2520" y="13028"/>
                        <a:pt x="-241" y="9854"/>
                        <a:pt x="17" y="6190"/>
                      </a:cubicBezTo>
                      <a:cubicBezTo>
                        <a:pt x="275" y="2526"/>
                        <a:pt x="3474" y="-286"/>
                        <a:pt x="7113" y="23"/>
                      </a:cubicBezTo>
                      <a:lnTo>
                        <a:pt x="120363" y="8048"/>
                      </a:lnTo>
                      <a:cubicBezTo>
                        <a:pt x="124027" y="8306"/>
                        <a:pt x="126788" y="11480"/>
                        <a:pt x="126530" y="15144"/>
                      </a:cubicBezTo>
                      <a:cubicBezTo>
                        <a:pt x="126297" y="18679"/>
                        <a:pt x="123356" y="21337"/>
                        <a:pt x="119898" y="21337"/>
                      </a:cubicBezTo>
                      <a:close/>
                    </a:path>
                  </a:pathLst>
                </a:custGeom>
                <a:grpFill/>
                <a:ln w="2573" cap="flat">
                  <a:noFill/>
                  <a:prstDash val="solid"/>
                  <a:miter/>
                </a:ln>
              </p:spPr>
              <p:txBody>
                <a:bodyPr rtlCol="0" anchor="ctr"/>
                <a:lstStyle/>
                <a:p>
                  <a:endParaRPr lang="en-GB" dirty="0"/>
                </a:p>
              </p:txBody>
            </p:sp>
            <p:sp>
              <p:nvSpPr>
                <p:cNvPr id="1415" name="Freihandform: Form 1414">
                  <a:extLst>
                    <a:ext uri="{FF2B5EF4-FFF2-40B4-BE49-F238E27FC236}">
                      <a16:creationId xmlns:a16="http://schemas.microsoft.com/office/drawing/2014/main" id="{B2CBE093-5111-4C43-B139-43B81257C78D}"/>
                    </a:ext>
                  </a:extLst>
                </p:cNvPr>
                <p:cNvSpPr/>
                <p:nvPr/>
              </p:nvSpPr>
              <p:spPr>
                <a:xfrm>
                  <a:off x="3527070" y="3645429"/>
                  <a:ext cx="45365" cy="98040"/>
                </a:xfrm>
                <a:custGeom>
                  <a:avLst/>
                  <a:gdLst>
                    <a:gd name="connsiteX0" fmla="*/ 6646 w 45365"/>
                    <a:gd name="connsiteY0" fmla="*/ 98041 h 98040"/>
                    <a:gd name="connsiteX1" fmla="*/ 4298 w 45365"/>
                    <a:gd name="connsiteY1" fmla="*/ 97602 h 98040"/>
                    <a:gd name="connsiteX2" fmla="*/ 427 w 45365"/>
                    <a:gd name="connsiteY2" fmla="*/ 89036 h 98040"/>
                    <a:gd name="connsiteX3" fmla="*/ 32501 w 45365"/>
                    <a:gd name="connsiteY3" fmla="*/ 4298 h 98040"/>
                    <a:gd name="connsiteX4" fmla="*/ 41067 w 45365"/>
                    <a:gd name="connsiteY4" fmla="*/ 427 h 98040"/>
                    <a:gd name="connsiteX5" fmla="*/ 44938 w 45365"/>
                    <a:gd name="connsiteY5" fmla="*/ 8994 h 98040"/>
                    <a:gd name="connsiteX6" fmla="*/ 12865 w 45365"/>
                    <a:gd name="connsiteY6" fmla="*/ 93732 h 98040"/>
                    <a:gd name="connsiteX7" fmla="*/ 6646 w 45365"/>
                    <a:gd name="connsiteY7" fmla="*/ 98041 h 9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365" h="98040">
                      <a:moveTo>
                        <a:pt x="6646" y="98041"/>
                      </a:moveTo>
                      <a:cubicBezTo>
                        <a:pt x="5872" y="98041"/>
                        <a:pt x="5072" y="97912"/>
                        <a:pt x="4298" y="97602"/>
                      </a:cubicBezTo>
                      <a:cubicBezTo>
                        <a:pt x="866" y="96312"/>
                        <a:pt x="-863" y="92467"/>
                        <a:pt x="427" y="89036"/>
                      </a:cubicBezTo>
                      <a:lnTo>
                        <a:pt x="32501" y="4298"/>
                      </a:lnTo>
                      <a:cubicBezTo>
                        <a:pt x="33791" y="866"/>
                        <a:pt x="37661" y="-863"/>
                        <a:pt x="41067" y="427"/>
                      </a:cubicBezTo>
                      <a:cubicBezTo>
                        <a:pt x="44499" y="1718"/>
                        <a:pt x="46228" y="5562"/>
                        <a:pt x="44938" y="8994"/>
                      </a:cubicBezTo>
                      <a:lnTo>
                        <a:pt x="12865" y="93732"/>
                      </a:lnTo>
                      <a:cubicBezTo>
                        <a:pt x="11858" y="96415"/>
                        <a:pt x="9330" y="98041"/>
                        <a:pt x="6646" y="98041"/>
                      </a:cubicBezTo>
                      <a:close/>
                    </a:path>
                  </a:pathLst>
                </a:custGeom>
                <a:grpFill/>
                <a:ln w="2573" cap="flat">
                  <a:noFill/>
                  <a:prstDash val="solid"/>
                  <a:miter/>
                </a:ln>
              </p:spPr>
              <p:txBody>
                <a:bodyPr rtlCol="0" anchor="ctr"/>
                <a:lstStyle/>
                <a:p>
                  <a:endParaRPr lang="en-GB" dirty="0"/>
                </a:p>
              </p:txBody>
            </p:sp>
            <p:sp>
              <p:nvSpPr>
                <p:cNvPr id="1416" name="Freihandform: Form 1415">
                  <a:extLst>
                    <a:ext uri="{FF2B5EF4-FFF2-40B4-BE49-F238E27FC236}">
                      <a16:creationId xmlns:a16="http://schemas.microsoft.com/office/drawing/2014/main" id="{79E9473C-786E-4D03-AB49-68B071FD4CCF}"/>
                    </a:ext>
                  </a:extLst>
                </p:cNvPr>
                <p:cNvSpPr/>
                <p:nvPr/>
              </p:nvSpPr>
              <p:spPr>
                <a:xfrm>
                  <a:off x="3492124" y="3616721"/>
                  <a:ext cx="37846" cy="126749"/>
                </a:xfrm>
                <a:custGeom>
                  <a:avLst/>
                  <a:gdLst>
                    <a:gd name="connsiteX0" fmla="*/ 6654 w 37846"/>
                    <a:gd name="connsiteY0" fmla="*/ 126750 h 126749"/>
                    <a:gd name="connsiteX1" fmla="*/ 5235 w 37846"/>
                    <a:gd name="connsiteY1" fmla="*/ 126595 h 126749"/>
                    <a:gd name="connsiteX2" fmla="*/ 151 w 37846"/>
                    <a:gd name="connsiteY2" fmla="*/ 118673 h 126749"/>
                    <a:gd name="connsiteX3" fmla="*/ 24690 w 37846"/>
                    <a:gd name="connsiteY3" fmla="*/ 5242 h 126749"/>
                    <a:gd name="connsiteX4" fmla="*/ 32612 w 37846"/>
                    <a:gd name="connsiteY4" fmla="*/ 159 h 126749"/>
                    <a:gd name="connsiteX5" fmla="*/ 37695 w 37846"/>
                    <a:gd name="connsiteY5" fmla="*/ 8081 h 126749"/>
                    <a:gd name="connsiteX6" fmla="*/ 13156 w 37846"/>
                    <a:gd name="connsiteY6" fmla="*/ 121511 h 126749"/>
                    <a:gd name="connsiteX7" fmla="*/ 6654 w 37846"/>
                    <a:gd name="connsiteY7" fmla="*/ 126750 h 12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46" h="126749">
                      <a:moveTo>
                        <a:pt x="6654" y="126750"/>
                      </a:moveTo>
                      <a:cubicBezTo>
                        <a:pt x="6189" y="126750"/>
                        <a:pt x="5725" y="126698"/>
                        <a:pt x="5235" y="126595"/>
                      </a:cubicBezTo>
                      <a:cubicBezTo>
                        <a:pt x="1648" y="125821"/>
                        <a:pt x="-623" y="122285"/>
                        <a:pt x="151" y="118673"/>
                      </a:cubicBezTo>
                      <a:lnTo>
                        <a:pt x="24690" y="5242"/>
                      </a:lnTo>
                      <a:cubicBezTo>
                        <a:pt x="25464" y="1656"/>
                        <a:pt x="29025" y="-641"/>
                        <a:pt x="32612" y="159"/>
                      </a:cubicBezTo>
                      <a:cubicBezTo>
                        <a:pt x="36199" y="933"/>
                        <a:pt x="38469" y="4468"/>
                        <a:pt x="37695" y="8081"/>
                      </a:cubicBezTo>
                      <a:lnTo>
                        <a:pt x="13156" y="121511"/>
                      </a:lnTo>
                      <a:cubicBezTo>
                        <a:pt x="12459" y="124634"/>
                        <a:pt x="9724" y="126750"/>
                        <a:pt x="6654" y="126750"/>
                      </a:cubicBezTo>
                      <a:close/>
                    </a:path>
                  </a:pathLst>
                </a:custGeom>
                <a:grpFill/>
                <a:ln w="2573" cap="flat">
                  <a:noFill/>
                  <a:prstDash val="solid"/>
                  <a:miter/>
                </a:ln>
              </p:spPr>
              <p:txBody>
                <a:bodyPr rtlCol="0" anchor="ctr"/>
                <a:lstStyle/>
                <a:p>
                  <a:endParaRPr lang="en-GB" dirty="0"/>
                </a:p>
              </p:txBody>
            </p:sp>
          </p:grpSp>
          <p:grpSp>
            <p:nvGrpSpPr>
              <p:cNvPr id="1402" name="Grafik 312">
                <a:extLst>
                  <a:ext uri="{FF2B5EF4-FFF2-40B4-BE49-F238E27FC236}">
                    <a16:creationId xmlns:a16="http://schemas.microsoft.com/office/drawing/2014/main" id="{6833C65C-B38E-4E19-B456-4EDC51D15679}"/>
                  </a:ext>
                </a:extLst>
              </p:cNvPr>
              <p:cNvGrpSpPr/>
              <p:nvPr/>
            </p:nvGrpSpPr>
            <p:grpSpPr>
              <a:xfrm>
                <a:off x="3337084" y="3368292"/>
                <a:ext cx="201197" cy="375178"/>
                <a:chOff x="3337084" y="3368292"/>
                <a:chExt cx="201197" cy="375178"/>
              </a:xfrm>
              <a:grpFill/>
            </p:grpSpPr>
            <p:sp>
              <p:nvSpPr>
                <p:cNvPr id="1403" name="Freihandform: Form 1402">
                  <a:extLst>
                    <a:ext uri="{FF2B5EF4-FFF2-40B4-BE49-F238E27FC236}">
                      <a16:creationId xmlns:a16="http://schemas.microsoft.com/office/drawing/2014/main" id="{A2ED5937-9865-470C-942A-EE6E781E365D}"/>
                    </a:ext>
                  </a:extLst>
                </p:cNvPr>
                <p:cNvSpPr/>
                <p:nvPr/>
              </p:nvSpPr>
              <p:spPr>
                <a:xfrm>
                  <a:off x="3387824" y="3368292"/>
                  <a:ext cx="73203" cy="83189"/>
                </a:xfrm>
                <a:custGeom>
                  <a:avLst/>
                  <a:gdLst>
                    <a:gd name="connsiteX0" fmla="*/ 36589 w 73203"/>
                    <a:gd name="connsiteY0" fmla="*/ 83189 h 83189"/>
                    <a:gd name="connsiteX1" fmla="*/ 0 w 73203"/>
                    <a:gd name="connsiteY1" fmla="*/ 41595 h 83189"/>
                    <a:gd name="connsiteX2" fmla="*/ 36589 w 73203"/>
                    <a:gd name="connsiteY2" fmla="*/ 0 h 83189"/>
                    <a:gd name="connsiteX3" fmla="*/ 73204 w 73203"/>
                    <a:gd name="connsiteY3" fmla="*/ 41595 h 83189"/>
                    <a:gd name="connsiteX4" fmla="*/ 36589 w 73203"/>
                    <a:gd name="connsiteY4" fmla="*/ 83189 h 83189"/>
                    <a:gd name="connsiteX5" fmla="*/ 36589 w 73203"/>
                    <a:gd name="connsiteY5" fmla="*/ 13289 h 83189"/>
                    <a:gd name="connsiteX6" fmla="*/ 13289 w 73203"/>
                    <a:gd name="connsiteY6" fmla="*/ 41595 h 83189"/>
                    <a:gd name="connsiteX7" fmla="*/ 36589 w 73203"/>
                    <a:gd name="connsiteY7" fmla="*/ 69901 h 83189"/>
                    <a:gd name="connsiteX8" fmla="*/ 59889 w 73203"/>
                    <a:gd name="connsiteY8" fmla="*/ 41595 h 83189"/>
                    <a:gd name="connsiteX9" fmla="*/ 36589 w 73203"/>
                    <a:gd name="connsiteY9" fmla="*/ 13289 h 8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203" h="83189">
                      <a:moveTo>
                        <a:pt x="36589" y="83189"/>
                      </a:moveTo>
                      <a:cubicBezTo>
                        <a:pt x="15043" y="83189"/>
                        <a:pt x="0" y="66082"/>
                        <a:pt x="0" y="41595"/>
                      </a:cubicBezTo>
                      <a:cubicBezTo>
                        <a:pt x="0" y="17108"/>
                        <a:pt x="15043" y="0"/>
                        <a:pt x="36589" y="0"/>
                      </a:cubicBezTo>
                      <a:cubicBezTo>
                        <a:pt x="58135" y="0"/>
                        <a:pt x="73204" y="17108"/>
                        <a:pt x="73204" y="41595"/>
                      </a:cubicBezTo>
                      <a:cubicBezTo>
                        <a:pt x="73204" y="66082"/>
                        <a:pt x="58135" y="83189"/>
                        <a:pt x="36589" y="83189"/>
                      </a:cubicBezTo>
                      <a:close/>
                      <a:moveTo>
                        <a:pt x="36589" y="13289"/>
                      </a:moveTo>
                      <a:cubicBezTo>
                        <a:pt x="19378" y="13289"/>
                        <a:pt x="13289" y="28538"/>
                        <a:pt x="13289" y="41595"/>
                      </a:cubicBezTo>
                      <a:cubicBezTo>
                        <a:pt x="13289" y="54651"/>
                        <a:pt x="19378" y="69901"/>
                        <a:pt x="36589" y="69901"/>
                      </a:cubicBezTo>
                      <a:cubicBezTo>
                        <a:pt x="53800" y="69901"/>
                        <a:pt x="59889" y="54651"/>
                        <a:pt x="59889" y="41595"/>
                      </a:cubicBezTo>
                      <a:cubicBezTo>
                        <a:pt x="59889" y="28538"/>
                        <a:pt x="53800" y="13289"/>
                        <a:pt x="36589" y="13289"/>
                      </a:cubicBezTo>
                      <a:close/>
                    </a:path>
                  </a:pathLst>
                </a:custGeom>
                <a:grpFill/>
                <a:ln w="2573" cap="flat">
                  <a:noFill/>
                  <a:prstDash val="solid"/>
                  <a:miter/>
                </a:ln>
              </p:spPr>
              <p:txBody>
                <a:bodyPr rtlCol="0" anchor="ctr"/>
                <a:lstStyle/>
                <a:p>
                  <a:endParaRPr lang="en-GB" dirty="0"/>
                </a:p>
              </p:txBody>
            </p:sp>
            <p:sp>
              <p:nvSpPr>
                <p:cNvPr id="1404" name="Freihandform: Form 1403">
                  <a:extLst>
                    <a:ext uri="{FF2B5EF4-FFF2-40B4-BE49-F238E27FC236}">
                      <a16:creationId xmlns:a16="http://schemas.microsoft.com/office/drawing/2014/main" id="{9918EF4F-A330-4934-B0CA-D2E8F6A4DF39}"/>
                    </a:ext>
                  </a:extLst>
                </p:cNvPr>
                <p:cNvSpPr/>
                <p:nvPr/>
              </p:nvSpPr>
              <p:spPr>
                <a:xfrm>
                  <a:off x="3337084" y="3458162"/>
                  <a:ext cx="154623" cy="285307"/>
                </a:xfrm>
                <a:custGeom>
                  <a:avLst/>
                  <a:gdLst>
                    <a:gd name="connsiteX0" fmla="*/ 135195 w 154623"/>
                    <a:gd name="connsiteY0" fmla="*/ 285308 h 285307"/>
                    <a:gd name="connsiteX1" fmla="*/ 134214 w 154623"/>
                    <a:gd name="connsiteY1" fmla="*/ 285230 h 285307"/>
                    <a:gd name="connsiteX2" fmla="*/ 128615 w 154623"/>
                    <a:gd name="connsiteY2" fmla="*/ 277670 h 285307"/>
                    <a:gd name="connsiteX3" fmla="*/ 140975 w 154623"/>
                    <a:gd name="connsiteY3" fmla="*/ 193371 h 285307"/>
                    <a:gd name="connsiteX4" fmla="*/ 99251 w 154623"/>
                    <a:gd name="connsiteY4" fmla="*/ 142384 h 285307"/>
                    <a:gd name="connsiteX5" fmla="*/ 97858 w 154623"/>
                    <a:gd name="connsiteY5" fmla="*/ 137017 h 285307"/>
                    <a:gd name="connsiteX6" fmla="*/ 115636 w 154623"/>
                    <a:gd name="connsiteY6" fmla="*/ 37623 h 285307"/>
                    <a:gd name="connsiteX7" fmla="*/ 112514 w 154623"/>
                    <a:gd name="connsiteY7" fmla="*/ 23663 h 285307"/>
                    <a:gd name="connsiteX8" fmla="*/ 100360 w 154623"/>
                    <a:gd name="connsiteY8" fmla="*/ 16077 h 285307"/>
                    <a:gd name="connsiteX9" fmla="*/ 88001 w 154623"/>
                    <a:gd name="connsiteY9" fmla="*/ 14065 h 285307"/>
                    <a:gd name="connsiteX10" fmla="*/ 27467 w 154623"/>
                    <a:gd name="connsiteY10" fmla="*/ 43661 h 285307"/>
                    <a:gd name="connsiteX11" fmla="*/ 15623 w 154623"/>
                    <a:gd name="connsiteY11" fmla="*/ 65361 h 285307"/>
                    <a:gd name="connsiteX12" fmla="*/ 17842 w 154623"/>
                    <a:gd name="connsiteY12" fmla="*/ 87268 h 285307"/>
                    <a:gd name="connsiteX13" fmla="*/ 51618 w 154623"/>
                    <a:gd name="connsiteY13" fmla="*/ 127186 h 285307"/>
                    <a:gd name="connsiteX14" fmla="*/ 56805 w 154623"/>
                    <a:gd name="connsiteY14" fmla="*/ 129766 h 285307"/>
                    <a:gd name="connsiteX15" fmla="*/ 62223 w 154623"/>
                    <a:gd name="connsiteY15" fmla="*/ 127754 h 285307"/>
                    <a:gd name="connsiteX16" fmla="*/ 63256 w 154623"/>
                    <a:gd name="connsiteY16" fmla="*/ 118464 h 285307"/>
                    <a:gd name="connsiteX17" fmla="*/ 40162 w 154623"/>
                    <a:gd name="connsiteY17" fmla="*/ 83656 h 285307"/>
                    <a:gd name="connsiteX18" fmla="*/ 39826 w 154623"/>
                    <a:gd name="connsiteY18" fmla="*/ 76870 h 285307"/>
                    <a:gd name="connsiteX19" fmla="*/ 55231 w 154623"/>
                    <a:gd name="connsiteY19" fmla="*/ 47764 h 285307"/>
                    <a:gd name="connsiteX20" fmla="*/ 64210 w 154623"/>
                    <a:gd name="connsiteY20" fmla="*/ 45003 h 285307"/>
                    <a:gd name="connsiteX21" fmla="*/ 66971 w 154623"/>
                    <a:gd name="connsiteY21" fmla="*/ 53982 h 285307"/>
                    <a:gd name="connsiteX22" fmla="*/ 53425 w 154623"/>
                    <a:gd name="connsiteY22" fmla="*/ 79605 h 285307"/>
                    <a:gd name="connsiteX23" fmla="*/ 74325 w 154623"/>
                    <a:gd name="connsiteY23" fmla="*/ 111110 h 285307"/>
                    <a:gd name="connsiteX24" fmla="*/ 71409 w 154623"/>
                    <a:gd name="connsiteY24" fmla="*/ 137378 h 285307"/>
                    <a:gd name="connsiteX25" fmla="*/ 56108 w 154623"/>
                    <a:gd name="connsiteY25" fmla="*/ 143055 h 285307"/>
                    <a:gd name="connsiteX26" fmla="*/ 41452 w 154623"/>
                    <a:gd name="connsiteY26" fmla="*/ 135804 h 285307"/>
                    <a:gd name="connsiteX27" fmla="*/ 7701 w 154623"/>
                    <a:gd name="connsiteY27" fmla="*/ 95835 h 285307"/>
                    <a:gd name="connsiteX28" fmla="*/ 3960 w 154623"/>
                    <a:gd name="connsiteY28" fmla="*/ 58988 h 285307"/>
                    <a:gd name="connsiteX29" fmla="*/ 15803 w 154623"/>
                    <a:gd name="connsiteY29" fmla="*/ 37288 h 285307"/>
                    <a:gd name="connsiteX30" fmla="*/ 90142 w 154623"/>
                    <a:gd name="connsiteY30" fmla="*/ 931 h 285307"/>
                    <a:gd name="connsiteX31" fmla="*/ 102502 w 154623"/>
                    <a:gd name="connsiteY31" fmla="*/ 2944 h 285307"/>
                    <a:gd name="connsiteX32" fmla="*/ 123377 w 154623"/>
                    <a:gd name="connsiteY32" fmla="*/ 15974 h 285307"/>
                    <a:gd name="connsiteX33" fmla="*/ 128718 w 154623"/>
                    <a:gd name="connsiteY33" fmla="*/ 39971 h 285307"/>
                    <a:gd name="connsiteX34" fmla="*/ 111482 w 154623"/>
                    <a:gd name="connsiteY34" fmla="*/ 136372 h 285307"/>
                    <a:gd name="connsiteX35" fmla="*/ 153128 w 154623"/>
                    <a:gd name="connsiteY35" fmla="*/ 187256 h 285307"/>
                    <a:gd name="connsiteX36" fmla="*/ 154547 w 154623"/>
                    <a:gd name="connsiteY36" fmla="*/ 192442 h 285307"/>
                    <a:gd name="connsiteX37" fmla="*/ 141775 w 154623"/>
                    <a:gd name="connsiteY37" fmla="*/ 279657 h 285307"/>
                    <a:gd name="connsiteX38" fmla="*/ 135195 w 154623"/>
                    <a:gd name="connsiteY38" fmla="*/ 285308 h 28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54623" h="285307">
                      <a:moveTo>
                        <a:pt x="135195" y="285308"/>
                      </a:moveTo>
                      <a:cubicBezTo>
                        <a:pt x="134885" y="285308"/>
                        <a:pt x="134550" y="285282"/>
                        <a:pt x="134214" y="285230"/>
                      </a:cubicBezTo>
                      <a:cubicBezTo>
                        <a:pt x="130576" y="284689"/>
                        <a:pt x="128073" y="281308"/>
                        <a:pt x="128615" y="277670"/>
                      </a:cubicBezTo>
                      <a:lnTo>
                        <a:pt x="140975" y="193371"/>
                      </a:lnTo>
                      <a:lnTo>
                        <a:pt x="99251" y="142384"/>
                      </a:lnTo>
                      <a:cubicBezTo>
                        <a:pt x="98013" y="140887"/>
                        <a:pt x="97522" y="138926"/>
                        <a:pt x="97858" y="137017"/>
                      </a:cubicBezTo>
                      <a:lnTo>
                        <a:pt x="115636" y="37623"/>
                      </a:lnTo>
                      <a:cubicBezTo>
                        <a:pt x="116513" y="32695"/>
                        <a:pt x="115404" y="27740"/>
                        <a:pt x="112514" y="23663"/>
                      </a:cubicBezTo>
                      <a:cubicBezTo>
                        <a:pt x="109624" y="19586"/>
                        <a:pt x="105315" y="16877"/>
                        <a:pt x="100360" y="16077"/>
                      </a:cubicBezTo>
                      <a:lnTo>
                        <a:pt x="88001" y="14065"/>
                      </a:lnTo>
                      <a:cubicBezTo>
                        <a:pt x="63694" y="10091"/>
                        <a:pt x="39310" y="21986"/>
                        <a:pt x="27467" y="43661"/>
                      </a:cubicBezTo>
                      <a:lnTo>
                        <a:pt x="15623" y="65361"/>
                      </a:lnTo>
                      <a:cubicBezTo>
                        <a:pt x="11804" y="72380"/>
                        <a:pt x="12681" y="81179"/>
                        <a:pt x="17842" y="87268"/>
                      </a:cubicBezTo>
                      <a:lnTo>
                        <a:pt x="51618" y="127186"/>
                      </a:lnTo>
                      <a:cubicBezTo>
                        <a:pt x="52934" y="128734"/>
                        <a:pt x="54766" y="129637"/>
                        <a:pt x="56805" y="129766"/>
                      </a:cubicBezTo>
                      <a:cubicBezTo>
                        <a:pt x="58895" y="129869"/>
                        <a:pt x="60753" y="129147"/>
                        <a:pt x="62223" y="127754"/>
                      </a:cubicBezTo>
                      <a:cubicBezTo>
                        <a:pt x="64778" y="125302"/>
                        <a:pt x="65217" y="121406"/>
                        <a:pt x="63256" y="118464"/>
                      </a:cubicBezTo>
                      <a:lnTo>
                        <a:pt x="40162" y="83656"/>
                      </a:lnTo>
                      <a:cubicBezTo>
                        <a:pt x="38820" y="81617"/>
                        <a:pt x="38691" y="79037"/>
                        <a:pt x="39826" y="76870"/>
                      </a:cubicBezTo>
                      <a:lnTo>
                        <a:pt x="55231" y="47764"/>
                      </a:lnTo>
                      <a:cubicBezTo>
                        <a:pt x="56934" y="44512"/>
                        <a:pt x="60959" y="43274"/>
                        <a:pt x="64210" y="45003"/>
                      </a:cubicBezTo>
                      <a:cubicBezTo>
                        <a:pt x="67461" y="46706"/>
                        <a:pt x="68700" y="50757"/>
                        <a:pt x="66971" y="53982"/>
                      </a:cubicBezTo>
                      <a:lnTo>
                        <a:pt x="53425" y="79605"/>
                      </a:lnTo>
                      <a:lnTo>
                        <a:pt x="74325" y="111110"/>
                      </a:lnTo>
                      <a:cubicBezTo>
                        <a:pt x="79847" y="119419"/>
                        <a:pt x="78608" y="130463"/>
                        <a:pt x="71409" y="137378"/>
                      </a:cubicBezTo>
                      <a:cubicBezTo>
                        <a:pt x="67332" y="141300"/>
                        <a:pt x="61836" y="143416"/>
                        <a:pt x="56108" y="143055"/>
                      </a:cubicBezTo>
                      <a:cubicBezTo>
                        <a:pt x="50457" y="142745"/>
                        <a:pt x="45116" y="140113"/>
                        <a:pt x="41452" y="135804"/>
                      </a:cubicBezTo>
                      <a:lnTo>
                        <a:pt x="7701" y="95835"/>
                      </a:lnTo>
                      <a:cubicBezTo>
                        <a:pt x="-969" y="85591"/>
                        <a:pt x="-2465" y="70780"/>
                        <a:pt x="3960" y="58988"/>
                      </a:cubicBezTo>
                      <a:lnTo>
                        <a:pt x="15803" y="37288"/>
                      </a:lnTo>
                      <a:cubicBezTo>
                        <a:pt x="30331" y="10659"/>
                        <a:pt x="60211" y="-3946"/>
                        <a:pt x="90142" y="931"/>
                      </a:cubicBezTo>
                      <a:lnTo>
                        <a:pt x="102502" y="2944"/>
                      </a:lnTo>
                      <a:cubicBezTo>
                        <a:pt x="110991" y="4337"/>
                        <a:pt x="118397" y="8956"/>
                        <a:pt x="123377" y="15974"/>
                      </a:cubicBezTo>
                      <a:cubicBezTo>
                        <a:pt x="128331" y="22992"/>
                        <a:pt x="130241" y="31508"/>
                        <a:pt x="128718" y="39971"/>
                      </a:cubicBezTo>
                      <a:lnTo>
                        <a:pt x="111482" y="136372"/>
                      </a:lnTo>
                      <a:lnTo>
                        <a:pt x="153128" y="187256"/>
                      </a:lnTo>
                      <a:cubicBezTo>
                        <a:pt x="154315" y="188701"/>
                        <a:pt x="154831" y="190584"/>
                        <a:pt x="154547" y="192442"/>
                      </a:cubicBezTo>
                      <a:lnTo>
                        <a:pt x="141775" y="279657"/>
                      </a:lnTo>
                      <a:cubicBezTo>
                        <a:pt x="141284" y="282934"/>
                        <a:pt x="138420" y="285308"/>
                        <a:pt x="135195" y="285308"/>
                      </a:cubicBezTo>
                      <a:close/>
                    </a:path>
                  </a:pathLst>
                </a:custGeom>
                <a:grpFill/>
                <a:ln w="2573" cap="flat">
                  <a:noFill/>
                  <a:prstDash val="solid"/>
                  <a:miter/>
                </a:ln>
              </p:spPr>
              <p:txBody>
                <a:bodyPr rtlCol="0" anchor="ctr"/>
                <a:lstStyle/>
                <a:p>
                  <a:endParaRPr lang="en-GB" dirty="0"/>
                </a:p>
              </p:txBody>
            </p:sp>
            <p:sp>
              <p:nvSpPr>
                <p:cNvPr id="1405" name="Freihandform: Form 1404">
                  <a:extLst>
                    <a:ext uri="{FF2B5EF4-FFF2-40B4-BE49-F238E27FC236}">
                      <a16:creationId xmlns:a16="http://schemas.microsoft.com/office/drawing/2014/main" id="{D972D30B-9871-4433-8522-CCE4A9C651F7}"/>
                    </a:ext>
                  </a:extLst>
                </p:cNvPr>
                <p:cNvSpPr/>
                <p:nvPr/>
              </p:nvSpPr>
              <p:spPr>
                <a:xfrm>
                  <a:off x="3360261" y="3568044"/>
                  <a:ext cx="93940" cy="175425"/>
                </a:xfrm>
                <a:custGeom>
                  <a:avLst/>
                  <a:gdLst>
                    <a:gd name="connsiteX0" fmla="*/ 77054 w 93940"/>
                    <a:gd name="connsiteY0" fmla="*/ 175426 h 175425"/>
                    <a:gd name="connsiteX1" fmla="*/ 76126 w 93940"/>
                    <a:gd name="connsiteY1" fmla="*/ 175374 h 175425"/>
                    <a:gd name="connsiteX2" fmla="*/ 70449 w 93940"/>
                    <a:gd name="connsiteY2" fmla="*/ 167866 h 175425"/>
                    <a:gd name="connsiteX3" fmla="*/ 80022 w 93940"/>
                    <a:gd name="connsiteY3" fmla="*/ 99513 h 175425"/>
                    <a:gd name="connsiteX4" fmla="*/ 24338 w 93940"/>
                    <a:gd name="connsiteY4" fmla="*/ 76884 h 175425"/>
                    <a:gd name="connsiteX5" fmla="*/ 23461 w 93940"/>
                    <a:gd name="connsiteY5" fmla="*/ 76445 h 175425"/>
                    <a:gd name="connsiteX6" fmla="*/ 1348 w 93940"/>
                    <a:gd name="connsiteY6" fmla="*/ 35985 h 175425"/>
                    <a:gd name="connsiteX7" fmla="*/ 6 w 93940"/>
                    <a:gd name="connsiteY7" fmla="*/ 6957 h 175425"/>
                    <a:gd name="connsiteX8" fmla="*/ 6354 w 93940"/>
                    <a:gd name="connsiteY8" fmla="*/ 16 h 175425"/>
                    <a:gd name="connsiteX9" fmla="*/ 13295 w 93940"/>
                    <a:gd name="connsiteY9" fmla="*/ 6363 h 175425"/>
                    <a:gd name="connsiteX10" fmla="*/ 14636 w 93940"/>
                    <a:gd name="connsiteY10" fmla="*/ 35934 h 175425"/>
                    <a:gd name="connsiteX11" fmla="*/ 29809 w 93940"/>
                    <a:gd name="connsiteY11" fmla="*/ 64730 h 175425"/>
                    <a:gd name="connsiteX12" fmla="*/ 89801 w 93940"/>
                    <a:gd name="connsiteY12" fmla="*/ 89114 h 175425"/>
                    <a:gd name="connsiteX13" fmla="*/ 93878 w 93940"/>
                    <a:gd name="connsiteY13" fmla="*/ 96210 h 175425"/>
                    <a:gd name="connsiteX14" fmla="*/ 83582 w 93940"/>
                    <a:gd name="connsiteY14" fmla="*/ 169698 h 175425"/>
                    <a:gd name="connsiteX15" fmla="*/ 77054 w 93940"/>
                    <a:gd name="connsiteY15" fmla="*/ 175426 h 175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3940" h="175425">
                      <a:moveTo>
                        <a:pt x="77054" y="175426"/>
                      </a:moveTo>
                      <a:cubicBezTo>
                        <a:pt x="76745" y="175426"/>
                        <a:pt x="76435" y="175400"/>
                        <a:pt x="76126" y="175374"/>
                      </a:cubicBezTo>
                      <a:cubicBezTo>
                        <a:pt x="72487" y="174858"/>
                        <a:pt x="69958" y="171504"/>
                        <a:pt x="70449" y="167866"/>
                      </a:cubicBezTo>
                      <a:lnTo>
                        <a:pt x="80022" y="99513"/>
                      </a:lnTo>
                      <a:lnTo>
                        <a:pt x="24338" y="76884"/>
                      </a:lnTo>
                      <a:cubicBezTo>
                        <a:pt x="24029" y="76755"/>
                        <a:pt x="23745" y="76625"/>
                        <a:pt x="23461" y="76445"/>
                      </a:cubicBezTo>
                      <a:cubicBezTo>
                        <a:pt x="9192" y="68033"/>
                        <a:pt x="703" y="52551"/>
                        <a:pt x="1348" y="35985"/>
                      </a:cubicBezTo>
                      <a:lnTo>
                        <a:pt x="6" y="6957"/>
                      </a:lnTo>
                      <a:cubicBezTo>
                        <a:pt x="-149" y="3293"/>
                        <a:pt x="2690" y="171"/>
                        <a:pt x="6354" y="16"/>
                      </a:cubicBezTo>
                      <a:cubicBezTo>
                        <a:pt x="9940" y="-242"/>
                        <a:pt x="13140" y="2699"/>
                        <a:pt x="13295" y="6363"/>
                      </a:cubicBezTo>
                      <a:lnTo>
                        <a:pt x="14636" y="35934"/>
                      </a:lnTo>
                      <a:cubicBezTo>
                        <a:pt x="14198" y="47958"/>
                        <a:pt x="20004" y="58770"/>
                        <a:pt x="29809" y="64730"/>
                      </a:cubicBezTo>
                      <a:lnTo>
                        <a:pt x="89801" y="89114"/>
                      </a:lnTo>
                      <a:cubicBezTo>
                        <a:pt x="92614" y="90275"/>
                        <a:pt x="94291" y="93191"/>
                        <a:pt x="93878" y="96210"/>
                      </a:cubicBezTo>
                      <a:lnTo>
                        <a:pt x="83582" y="169698"/>
                      </a:lnTo>
                      <a:cubicBezTo>
                        <a:pt x="83170" y="173026"/>
                        <a:pt x="80332" y="175426"/>
                        <a:pt x="77054" y="175426"/>
                      </a:cubicBezTo>
                      <a:close/>
                    </a:path>
                  </a:pathLst>
                </a:custGeom>
                <a:grpFill/>
                <a:ln w="2573" cap="flat">
                  <a:noFill/>
                  <a:prstDash val="solid"/>
                  <a:miter/>
                </a:ln>
              </p:spPr>
              <p:txBody>
                <a:bodyPr rtlCol="0" anchor="ctr"/>
                <a:lstStyle/>
                <a:p>
                  <a:endParaRPr lang="en-GB" dirty="0"/>
                </a:p>
              </p:txBody>
            </p:sp>
            <p:sp>
              <p:nvSpPr>
                <p:cNvPr id="1406" name="Freihandform: Form 1405">
                  <a:extLst>
                    <a:ext uri="{FF2B5EF4-FFF2-40B4-BE49-F238E27FC236}">
                      <a16:creationId xmlns:a16="http://schemas.microsoft.com/office/drawing/2014/main" id="{E3A2DDBE-D296-4C30-834C-D3D7EAD7F70E}"/>
                    </a:ext>
                  </a:extLst>
                </p:cNvPr>
                <p:cNvSpPr/>
                <p:nvPr/>
              </p:nvSpPr>
              <p:spPr>
                <a:xfrm>
                  <a:off x="3452061" y="3499961"/>
                  <a:ext cx="59761" cy="16131"/>
                </a:xfrm>
                <a:custGeom>
                  <a:avLst/>
                  <a:gdLst>
                    <a:gd name="connsiteX0" fmla="*/ 6645 w 59761"/>
                    <a:gd name="connsiteY0" fmla="*/ 16131 h 16131"/>
                    <a:gd name="connsiteX1" fmla="*/ 14 w 59761"/>
                    <a:gd name="connsiteY1" fmla="*/ 9887 h 16131"/>
                    <a:gd name="connsiteX2" fmla="*/ 6258 w 59761"/>
                    <a:gd name="connsiteY2" fmla="*/ 2843 h 16131"/>
                    <a:gd name="connsiteX3" fmla="*/ 52704 w 59761"/>
                    <a:gd name="connsiteY3" fmla="*/ 4 h 16131"/>
                    <a:gd name="connsiteX4" fmla="*/ 59748 w 59761"/>
                    <a:gd name="connsiteY4" fmla="*/ 6249 h 16131"/>
                    <a:gd name="connsiteX5" fmla="*/ 53503 w 59761"/>
                    <a:gd name="connsiteY5" fmla="*/ 13293 h 16131"/>
                    <a:gd name="connsiteX6" fmla="*/ 7058 w 59761"/>
                    <a:gd name="connsiteY6" fmla="*/ 16131 h 16131"/>
                    <a:gd name="connsiteX7" fmla="*/ 6645 w 59761"/>
                    <a:gd name="connsiteY7" fmla="*/ 16131 h 1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61" h="16131">
                      <a:moveTo>
                        <a:pt x="6645" y="16131"/>
                      </a:moveTo>
                      <a:cubicBezTo>
                        <a:pt x="3161" y="16131"/>
                        <a:pt x="220" y="13422"/>
                        <a:pt x="14" y="9887"/>
                      </a:cubicBezTo>
                      <a:cubicBezTo>
                        <a:pt x="-219" y="6223"/>
                        <a:pt x="2568" y="3075"/>
                        <a:pt x="6258" y="2843"/>
                      </a:cubicBezTo>
                      <a:lnTo>
                        <a:pt x="52704" y="4"/>
                      </a:lnTo>
                      <a:cubicBezTo>
                        <a:pt x="56393" y="-125"/>
                        <a:pt x="59515" y="2559"/>
                        <a:pt x="59748" y="6249"/>
                      </a:cubicBezTo>
                      <a:cubicBezTo>
                        <a:pt x="59980" y="9913"/>
                        <a:pt x="57193" y="13061"/>
                        <a:pt x="53503" y="13293"/>
                      </a:cubicBezTo>
                      <a:lnTo>
                        <a:pt x="7058" y="16131"/>
                      </a:lnTo>
                      <a:cubicBezTo>
                        <a:pt x="6903" y="16106"/>
                        <a:pt x="6774" y="16131"/>
                        <a:pt x="6645" y="16131"/>
                      </a:cubicBezTo>
                      <a:close/>
                    </a:path>
                  </a:pathLst>
                </a:custGeom>
                <a:grpFill/>
                <a:ln w="2573" cap="flat">
                  <a:noFill/>
                  <a:prstDash val="solid"/>
                  <a:miter/>
                </a:ln>
              </p:spPr>
              <p:txBody>
                <a:bodyPr rtlCol="0" anchor="ctr"/>
                <a:lstStyle/>
                <a:p>
                  <a:endParaRPr lang="en-GB" dirty="0"/>
                </a:p>
              </p:txBody>
            </p:sp>
            <p:sp>
              <p:nvSpPr>
                <p:cNvPr id="1407" name="Freihandform: Form 1406">
                  <a:extLst>
                    <a:ext uri="{FF2B5EF4-FFF2-40B4-BE49-F238E27FC236}">
                      <a16:creationId xmlns:a16="http://schemas.microsoft.com/office/drawing/2014/main" id="{40C3D848-1B24-4568-80CF-369F4427BBB7}"/>
                    </a:ext>
                  </a:extLst>
                </p:cNvPr>
                <p:cNvSpPr/>
                <p:nvPr/>
              </p:nvSpPr>
              <p:spPr>
                <a:xfrm>
                  <a:off x="3424338" y="3459770"/>
                  <a:ext cx="113943" cy="21333"/>
                </a:xfrm>
                <a:custGeom>
                  <a:avLst/>
                  <a:gdLst>
                    <a:gd name="connsiteX0" fmla="*/ 107288 w 113943"/>
                    <a:gd name="connsiteY0" fmla="*/ 21334 h 21333"/>
                    <a:gd name="connsiteX1" fmla="*/ 106746 w 113943"/>
                    <a:gd name="connsiteY1" fmla="*/ 21308 h 21333"/>
                    <a:gd name="connsiteX2" fmla="*/ 6113 w 113943"/>
                    <a:gd name="connsiteY2" fmla="*/ 13283 h 21333"/>
                    <a:gd name="connsiteX3" fmla="*/ 24 w 113943"/>
                    <a:gd name="connsiteY3" fmla="*/ 6110 h 21333"/>
                    <a:gd name="connsiteX4" fmla="*/ 7197 w 113943"/>
                    <a:gd name="connsiteY4" fmla="*/ 20 h 21333"/>
                    <a:gd name="connsiteX5" fmla="*/ 107830 w 113943"/>
                    <a:gd name="connsiteY5" fmla="*/ 8045 h 21333"/>
                    <a:gd name="connsiteX6" fmla="*/ 113919 w 113943"/>
                    <a:gd name="connsiteY6" fmla="*/ 15219 h 21333"/>
                    <a:gd name="connsiteX7" fmla="*/ 107288 w 113943"/>
                    <a:gd name="connsiteY7" fmla="*/ 21334 h 21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3943" h="21333">
                      <a:moveTo>
                        <a:pt x="107288" y="21334"/>
                      </a:moveTo>
                      <a:cubicBezTo>
                        <a:pt x="107107" y="21334"/>
                        <a:pt x="106926" y="21334"/>
                        <a:pt x="106746" y="21308"/>
                      </a:cubicBezTo>
                      <a:lnTo>
                        <a:pt x="6113" y="13283"/>
                      </a:lnTo>
                      <a:cubicBezTo>
                        <a:pt x="2449" y="12999"/>
                        <a:pt x="-286" y="9774"/>
                        <a:pt x="24" y="6110"/>
                      </a:cubicBezTo>
                      <a:cubicBezTo>
                        <a:pt x="308" y="2446"/>
                        <a:pt x="3430" y="-263"/>
                        <a:pt x="7197" y="20"/>
                      </a:cubicBezTo>
                      <a:lnTo>
                        <a:pt x="107830" y="8045"/>
                      </a:lnTo>
                      <a:cubicBezTo>
                        <a:pt x="111494" y="8329"/>
                        <a:pt x="114229" y="11554"/>
                        <a:pt x="113919" y="15219"/>
                      </a:cubicBezTo>
                      <a:cubicBezTo>
                        <a:pt x="113635" y="18702"/>
                        <a:pt x="110720" y="21334"/>
                        <a:pt x="107288" y="21334"/>
                      </a:cubicBezTo>
                      <a:close/>
                    </a:path>
                  </a:pathLst>
                </a:custGeom>
                <a:grpFill/>
                <a:ln w="2573" cap="flat">
                  <a:noFill/>
                  <a:prstDash val="solid"/>
                  <a:miter/>
                </a:ln>
              </p:spPr>
              <p:txBody>
                <a:bodyPr rtlCol="0" anchor="ctr"/>
                <a:lstStyle/>
                <a:p>
                  <a:endParaRPr lang="en-GB" dirty="0"/>
                </a:p>
              </p:txBody>
            </p:sp>
            <p:sp>
              <p:nvSpPr>
                <p:cNvPr id="1408" name="Freihandform: Form 1407">
                  <a:extLst>
                    <a:ext uri="{FF2B5EF4-FFF2-40B4-BE49-F238E27FC236}">
                      <a16:creationId xmlns:a16="http://schemas.microsoft.com/office/drawing/2014/main" id="{AC846783-1F98-410F-B7DF-16CCC6E36D33}"/>
                    </a:ext>
                  </a:extLst>
                </p:cNvPr>
                <p:cNvSpPr/>
                <p:nvPr/>
              </p:nvSpPr>
              <p:spPr>
                <a:xfrm>
                  <a:off x="3375758" y="3644602"/>
                  <a:ext cx="43691" cy="98868"/>
                </a:xfrm>
                <a:custGeom>
                  <a:avLst/>
                  <a:gdLst>
                    <a:gd name="connsiteX0" fmla="*/ 6647 w 43691"/>
                    <a:gd name="connsiteY0" fmla="*/ 98868 h 98868"/>
                    <a:gd name="connsiteX1" fmla="*/ 4428 w 43691"/>
                    <a:gd name="connsiteY1" fmla="*/ 98481 h 98868"/>
                    <a:gd name="connsiteX2" fmla="*/ 377 w 43691"/>
                    <a:gd name="connsiteY2" fmla="*/ 89992 h 98868"/>
                    <a:gd name="connsiteX3" fmla="*/ 30773 w 43691"/>
                    <a:gd name="connsiteY3" fmla="*/ 4428 h 98868"/>
                    <a:gd name="connsiteX4" fmla="*/ 39263 w 43691"/>
                    <a:gd name="connsiteY4" fmla="*/ 377 h 98868"/>
                    <a:gd name="connsiteX5" fmla="*/ 43314 w 43691"/>
                    <a:gd name="connsiteY5" fmla="*/ 8867 h 98868"/>
                    <a:gd name="connsiteX6" fmla="*/ 12918 w 43691"/>
                    <a:gd name="connsiteY6" fmla="*/ 94430 h 98868"/>
                    <a:gd name="connsiteX7" fmla="*/ 6647 w 43691"/>
                    <a:gd name="connsiteY7" fmla="*/ 98868 h 98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91" h="98868">
                      <a:moveTo>
                        <a:pt x="6647" y="98868"/>
                      </a:moveTo>
                      <a:cubicBezTo>
                        <a:pt x="5899" y="98868"/>
                        <a:pt x="5151" y="98739"/>
                        <a:pt x="4428" y="98481"/>
                      </a:cubicBezTo>
                      <a:cubicBezTo>
                        <a:pt x="971" y="97243"/>
                        <a:pt x="-835" y="93449"/>
                        <a:pt x="377" y="89992"/>
                      </a:cubicBezTo>
                      <a:lnTo>
                        <a:pt x="30773" y="4428"/>
                      </a:lnTo>
                      <a:cubicBezTo>
                        <a:pt x="32012" y="971"/>
                        <a:pt x="35805" y="-835"/>
                        <a:pt x="39263" y="377"/>
                      </a:cubicBezTo>
                      <a:cubicBezTo>
                        <a:pt x="42720" y="1616"/>
                        <a:pt x="44527" y="5409"/>
                        <a:pt x="43314" y="8867"/>
                      </a:cubicBezTo>
                      <a:lnTo>
                        <a:pt x="12918" y="94430"/>
                      </a:lnTo>
                      <a:cubicBezTo>
                        <a:pt x="11937" y="97165"/>
                        <a:pt x="9383" y="98868"/>
                        <a:pt x="6647" y="98868"/>
                      </a:cubicBezTo>
                      <a:close/>
                    </a:path>
                  </a:pathLst>
                </a:custGeom>
                <a:grpFill/>
                <a:ln w="2573" cap="flat">
                  <a:noFill/>
                  <a:prstDash val="solid"/>
                  <a:miter/>
                </a:ln>
              </p:spPr>
              <p:txBody>
                <a:bodyPr rtlCol="0" anchor="ctr"/>
                <a:lstStyle/>
                <a:p>
                  <a:endParaRPr lang="en-GB" dirty="0"/>
                </a:p>
              </p:txBody>
            </p:sp>
            <p:sp>
              <p:nvSpPr>
                <p:cNvPr id="1409" name="Freihandform: Form 1408">
                  <a:extLst>
                    <a:ext uri="{FF2B5EF4-FFF2-40B4-BE49-F238E27FC236}">
                      <a16:creationId xmlns:a16="http://schemas.microsoft.com/office/drawing/2014/main" id="{495392BC-0FA0-4C85-AA11-098C3CF5EE32}"/>
                    </a:ext>
                  </a:extLst>
                </p:cNvPr>
                <p:cNvSpPr/>
                <p:nvPr/>
              </p:nvSpPr>
              <p:spPr>
                <a:xfrm>
                  <a:off x="3340815" y="3616721"/>
                  <a:ext cx="37846" cy="126749"/>
                </a:xfrm>
                <a:custGeom>
                  <a:avLst/>
                  <a:gdLst>
                    <a:gd name="connsiteX0" fmla="*/ 6654 w 37846"/>
                    <a:gd name="connsiteY0" fmla="*/ 126750 h 126749"/>
                    <a:gd name="connsiteX1" fmla="*/ 5235 w 37846"/>
                    <a:gd name="connsiteY1" fmla="*/ 126595 h 126749"/>
                    <a:gd name="connsiteX2" fmla="*/ 151 w 37846"/>
                    <a:gd name="connsiteY2" fmla="*/ 118673 h 126749"/>
                    <a:gd name="connsiteX3" fmla="*/ 24690 w 37846"/>
                    <a:gd name="connsiteY3" fmla="*/ 5242 h 126749"/>
                    <a:gd name="connsiteX4" fmla="*/ 32612 w 37846"/>
                    <a:gd name="connsiteY4" fmla="*/ 159 h 126749"/>
                    <a:gd name="connsiteX5" fmla="*/ 37695 w 37846"/>
                    <a:gd name="connsiteY5" fmla="*/ 8081 h 126749"/>
                    <a:gd name="connsiteX6" fmla="*/ 13156 w 37846"/>
                    <a:gd name="connsiteY6" fmla="*/ 121511 h 126749"/>
                    <a:gd name="connsiteX7" fmla="*/ 6654 w 37846"/>
                    <a:gd name="connsiteY7" fmla="*/ 126750 h 12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46" h="126749">
                      <a:moveTo>
                        <a:pt x="6654" y="126750"/>
                      </a:moveTo>
                      <a:cubicBezTo>
                        <a:pt x="6189" y="126750"/>
                        <a:pt x="5699" y="126698"/>
                        <a:pt x="5235" y="126595"/>
                      </a:cubicBezTo>
                      <a:cubicBezTo>
                        <a:pt x="1648" y="125821"/>
                        <a:pt x="-623" y="122285"/>
                        <a:pt x="151" y="118673"/>
                      </a:cubicBezTo>
                      <a:lnTo>
                        <a:pt x="24690" y="5242"/>
                      </a:lnTo>
                      <a:cubicBezTo>
                        <a:pt x="25464" y="1656"/>
                        <a:pt x="29025" y="-641"/>
                        <a:pt x="32612" y="159"/>
                      </a:cubicBezTo>
                      <a:cubicBezTo>
                        <a:pt x="36198" y="933"/>
                        <a:pt x="38469" y="4468"/>
                        <a:pt x="37695" y="8081"/>
                      </a:cubicBezTo>
                      <a:lnTo>
                        <a:pt x="13156" y="121511"/>
                      </a:lnTo>
                      <a:cubicBezTo>
                        <a:pt x="12460" y="124634"/>
                        <a:pt x="9699" y="126750"/>
                        <a:pt x="6654" y="126750"/>
                      </a:cubicBezTo>
                      <a:close/>
                    </a:path>
                  </a:pathLst>
                </a:custGeom>
                <a:grpFill/>
                <a:ln w="2573" cap="flat">
                  <a:noFill/>
                  <a:prstDash val="solid"/>
                  <a:miter/>
                </a:ln>
              </p:spPr>
              <p:txBody>
                <a:bodyPr rtlCol="0" anchor="ctr"/>
                <a:lstStyle/>
                <a:p>
                  <a:endParaRPr lang="en-GB" dirty="0"/>
                </a:p>
              </p:txBody>
            </p:sp>
          </p:grpSp>
        </p:grpSp>
      </p:grpSp>
      <p:sp>
        <p:nvSpPr>
          <p:cNvPr id="1429" name="TextBox 1426">
            <a:extLst>
              <a:ext uri="{FF2B5EF4-FFF2-40B4-BE49-F238E27FC236}">
                <a16:creationId xmlns:a16="http://schemas.microsoft.com/office/drawing/2014/main" id="{007BB54B-DECE-4756-9CE7-112EE1D1301C}"/>
              </a:ext>
            </a:extLst>
          </p:cNvPr>
          <p:cNvSpPr txBox="1"/>
          <p:nvPr/>
        </p:nvSpPr>
        <p:spPr>
          <a:xfrm>
            <a:off x="3668261" y="3723675"/>
            <a:ext cx="524181" cy="215444"/>
          </a:xfrm>
          <a:prstGeom prst="rect">
            <a:avLst/>
          </a:prstGeom>
          <a:noFill/>
          <a:effectLst/>
        </p:spPr>
        <p:txBody>
          <a:bodyPr wrap="none" lIns="0" tIns="0" rIns="0" bIns="0" rtlCol="0" anchor="t" anchorCtr="0">
            <a:spAutoFit/>
          </a:bodyPr>
          <a:lstStyle/>
          <a:p>
            <a:pPr algn="ctr"/>
            <a:r>
              <a:rPr lang="en-GB" sz="700" dirty="0">
                <a:solidFill>
                  <a:schemeClr val="tx2"/>
                </a:solidFill>
              </a:rPr>
              <a:t>Influencer</a:t>
            </a:r>
            <a:br>
              <a:rPr lang="en-GB" sz="700" dirty="0">
                <a:solidFill>
                  <a:schemeClr val="tx2"/>
                </a:solidFill>
              </a:rPr>
            </a:br>
            <a:r>
              <a:rPr lang="en-GB" sz="700" dirty="0">
                <a:solidFill>
                  <a:schemeClr val="tx2"/>
                </a:solidFill>
              </a:rPr>
              <a:t>management</a:t>
            </a:r>
          </a:p>
        </p:txBody>
      </p:sp>
      <p:grpSp>
        <p:nvGrpSpPr>
          <p:cNvPr id="46" name="Group 45">
            <a:extLst>
              <a:ext uri="{FF2B5EF4-FFF2-40B4-BE49-F238E27FC236}">
                <a16:creationId xmlns:a16="http://schemas.microsoft.com/office/drawing/2014/main" id="{3C786B08-A77F-7AC3-FABB-F353EE6E6AF2}"/>
              </a:ext>
            </a:extLst>
          </p:cNvPr>
          <p:cNvGrpSpPr/>
          <p:nvPr/>
        </p:nvGrpSpPr>
        <p:grpSpPr>
          <a:xfrm>
            <a:off x="1614855" y="3273397"/>
            <a:ext cx="494612" cy="432000"/>
            <a:chOff x="1614855" y="3273397"/>
            <a:chExt cx="494612" cy="432000"/>
          </a:xfrm>
        </p:grpSpPr>
        <p:grpSp>
          <p:nvGrpSpPr>
            <p:cNvPr id="1431" name="Grafik 312">
              <a:extLst>
                <a:ext uri="{FF2B5EF4-FFF2-40B4-BE49-F238E27FC236}">
                  <a16:creationId xmlns:a16="http://schemas.microsoft.com/office/drawing/2014/main" id="{52AE46DA-981F-4DE0-86EA-C384F2ED32F9}"/>
                </a:ext>
              </a:extLst>
            </p:cNvPr>
            <p:cNvGrpSpPr/>
            <p:nvPr/>
          </p:nvGrpSpPr>
          <p:grpSpPr>
            <a:xfrm>
              <a:off x="1794061" y="3441801"/>
              <a:ext cx="315406" cy="263596"/>
              <a:chOff x="1862959" y="3492612"/>
              <a:chExt cx="281022" cy="234860"/>
            </a:xfrm>
            <a:solidFill>
              <a:schemeClr val="accent1"/>
            </a:solidFill>
          </p:grpSpPr>
          <p:sp>
            <p:nvSpPr>
              <p:cNvPr id="1452" name="Freihandform: Form 1451">
                <a:extLst>
                  <a:ext uri="{FF2B5EF4-FFF2-40B4-BE49-F238E27FC236}">
                    <a16:creationId xmlns:a16="http://schemas.microsoft.com/office/drawing/2014/main" id="{ECEBB044-EED1-4DD0-84BE-70630D144268}"/>
                  </a:ext>
                </a:extLst>
              </p:cNvPr>
              <p:cNvSpPr/>
              <p:nvPr/>
            </p:nvSpPr>
            <p:spPr>
              <a:xfrm>
                <a:off x="1862959" y="3492612"/>
                <a:ext cx="234860" cy="234860"/>
              </a:xfrm>
              <a:custGeom>
                <a:avLst/>
                <a:gdLst>
                  <a:gd name="connsiteX0" fmla="*/ 117430 w 234860"/>
                  <a:gd name="connsiteY0" fmla="*/ 234861 h 234860"/>
                  <a:gd name="connsiteX1" fmla="*/ 0 w 234860"/>
                  <a:gd name="connsiteY1" fmla="*/ 117430 h 234860"/>
                  <a:gd name="connsiteX2" fmla="*/ 117430 w 234860"/>
                  <a:gd name="connsiteY2" fmla="*/ 0 h 234860"/>
                  <a:gd name="connsiteX3" fmla="*/ 234861 w 234860"/>
                  <a:gd name="connsiteY3" fmla="*/ 117430 h 234860"/>
                  <a:gd name="connsiteX4" fmla="*/ 219301 w 234860"/>
                  <a:gd name="connsiteY4" fmla="*/ 175875 h 234860"/>
                  <a:gd name="connsiteX5" fmla="*/ 210219 w 234860"/>
                  <a:gd name="connsiteY5" fmla="*/ 178326 h 234860"/>
                  <a:gd name="connsiteX6" fmla="*/ 207767 w 234860"/>
                  <a:gd name="connsiteY6" fmla="*/ 169243 h 234860"/>
                  <a:gd name="connsiteX7" fmla="*/ 221546 w 234860"/>
                  <a:gd name="connsiteY7" fmla="*/ 117404 h 234860"/>
                  <a:gd name="connsiteX8" fmla="*/ 117430 w 234860"/>
                  <a:gd name="connsiteY8" fmla="*/ 13289 h 234860"/>
                  <a:gd name="connsiteX9" fmla="*/ 13314 w 234860"/>
                  <a:gd name="connsiteY9" fmla="*/ 117404 h 234860"/>
                  <a:gd name="connsiteX10" fmla="*/ 117430 w 234860"/>
                  <a:gd name="connsiteY10" fmla="*/ 221520 h 234860"/>
                  <a:gd name="connsiteX11" fmla="*/ 192853 w 234860"/>
                  <a:gd name="connsiteY11" fmla="*/ 189189 h 234860"/>
                  <a:gd name="connsiteX12" fmla="*/ 202245 w 234860"/>
                  <a:gd name="connsiteY12" fmla="*/ 188957 h 234860"/>
                  <a:gd name="connsiteX13" fmla="*/ 202478 w 234860"/>
                  <a:gd name="connsiteY13" fmla="*/ 198375 h 234860"/>
                  <a:gd name="connsiteX14" fmla="*/ 117430 w 234860"/>
                  <a:gd name="connsiteY14" fmla="*/ 234861 h 234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860" h="234860">
                    <a:moveTo>
                      <a:pt x="117430" y="234861"/>
                    </a:moveTo>
                    <a:cubicBezTo>
                      <a:pt x="52690" y="234861"/>
                      <a:pt x="0" y="182171"/>
                      <a:pt x="0" y="117430"/>
                    </a:cubicBezTo>
                    <a:cubicBezTo>
                      <a:pt x="0" y="52690"/>
                      <a:pt x="52690" y="0"/>
                      <a:pt x="117430" y="0"/>
                    </a:cubicBezTo>
                    <a:cubicBezTo>
                      <a:pt x="182171" y="0"/>
                      <a:pt x="234861" y="52690"/>
                      <a:pt x="234861" y="117430"/>
                    </a:cubicBezTo>
                    <a:cubicBezTo>
                      <a:pt x="234861" y="137970"/>
                      <a:pt x="229468" y="158174"/>
                      <a:pt x="219301" y="175875"/>
                    </a:cubicBezTo>
                    <a:cubicBezTo>
                      <a:pt x="217469" y="179074"/>
                      <a:pt x="213418" y="180158"/>
                      <a:pt x="210219" y="178326"/>
                    </a:cubicBezTo>
                    <a:cubicBezTo>
                      <a:pt x="207045" y="176494"/>
                      <a:pt x="205935" y="172417"/>
                      <a:pt x="207767" y="169243"/>
                    </a:cubicBezTo>
                    <a:cubicBezTo>
                      <a:pt x="216798" y="153555"/>
                      <a:pt x="221546" y="135622"/>
                      <a:pt x="221546" y="117404"/>
                    </a:cubicBezTo>
                    <a:cubicBezTo>
                      <a:pt x="221546" y="59992"/>
                      <a:pt x="174842" y="13289"/>
                      <a:pt x="117430" y="13289"/>
                    </a:cubicBezTo>
                    <a:cubicBezTo>
                      <a:pt x="60018" y="13289"/>
                      <a:pt x="13314" y="59992"/>
                      <a:pt x="13314" y="117404"/>
                    </a:cubicBezTo>
                    <a:cubicBezTo>
                      <a:pt x="13314" y="174817"/>
                      <a:pt x="60018" y="221520"/>
                      <a:pt x="117430" y="221520"/>
                    </a:cubicBezTo>
                    <a:cubicBezTo>
                      <a:pt x="146201" y="221520"/>
                      <a:pt x="172985" y="210038"/>
                      <a:pt x="192853" y="189189"/>
                    </a:cubicBezTo>
                    <a:cubicBezTo>
                      <a:pt x="195382" y="186531"/>
                      <a:pt x="199613" y="186428"/>
                      <a:pt x="202245" y="188957"/>
                    </a:cubicBezTo>
                    <a:cubicBezTo>
                      <a:pt x="204903" y="191486"/>
                      <a:pt x="205006" y="195717"/>
                      <a:pt x="202478" y="198375"/>
                    </a:cubicBezTo>
                    <a:cubicBezTo>
                      <a:pt x="180080" y="221907"/>
                      <a:pt x="149865" y="234861"/>
                      <a:pt x="117430" y="234861"/>
                    </a:cubicBezTo>
                    <a:close/>
                  </a:path>
                </a:pathLst>
              </a:custGeom>
              <a:solidFill>
                <a:schemeClr val="accent1"/>
              </a:solidFill>
              <a:ln w="2573" cap="flat">
                <a:noFill/>
                <a:prstDash val="solid"/>
                <a:miter/>
              </a:ln>
            </p:spPr>
            <p:txBody>
              <a:bodyPr rtlCol="0" anchor="ctr"/>
              <a:lstStyle/>
              <a:p>
                <a:endParaRPr lang="en-GB" dirty="0"/>
              </a:p>
            </p:txBody>
          </p:sp>
          <p:sp>
            <p:nvSpPr>
              <p:cNvPr id="1453" name="Freihandform: Form 1452">
                <a:extLst>
                  <a:ext uri="{FF2B5EF4-FFF2-40B4-BE49-F238E27FC236}">
                    <a16:creationId xmlns:a16="http://schemas.microsoft.com/office/drawing/2014/main" id="{77645D2E-44DD-4D26-8664-8FD3F0965B60}"/>
                  </a:ext>
                </a:extLst>
              </p:cNvPr>
              <p:cNvSpPr/>
              <p:nvPr/>
            </p:nvSpPr>
            <p:spPr>
              <a:xfrm>
                <a:off x="1938279" y="3567957"/>
                <a:ext cx="84221" cy="84195"/>
              </a:xfrm>
              <a:custGeom>
                <a:avLst/>
                <a:gdLst>
                  <a:gd name="connsiteX0" fmla="*/ 42111 w 84221"/>
                  <a:gd name="connsiteY0" fmla="*/ 84196 h 84195"/>
                  <a:gd name="connsiteX1" fmla="*/ 0 w 84221"/>
                  <a:gd name="connsiteY1" fmla="*/ 42111 h 84195"/>
                  <a:gd name="connsiteX2" fmla="*/ 42111 w 84221"/>
                  <a:gd name="connsiteY2" fmla="*/ 0 h 84195"/>
                  <a:gd name="connsiteX3" fmla="*/ 84222 w 84221"/>
                  <a:gd name="connsiteY3" fmla="*/ 42111 h 84195"/>
                  <a:gd name="connsiteX4" fmla="*/ 79138 w 84221"/>
                  <a:gd name="connsiteY4" fmla="*/ 62186 h 84195"/>
                  <a:gd name="connsiteX5" fmla="*/ 70107 w 84221"/>
                  <a:gd name="connsiteY5" fmla="*/ 64843 h 84195"/>
                  <a:gd name="connsiteX6" fmla="*/ 67450 w 84221"/>
                  <a:gd name="connsiteY6" fmla="*/ 55812 h 84195"/>
                  <a:gd name="connsiteX7" fmla="*/ 70933 w 84221"/>
                  <a:gd name="connsiteY7" fmla="*/ 42085 h 84195"/>
                  <a:gd name="connsiteX8" fmla="*/ 42137 w 84221"/>
                  <a:gd name="connsiteY8" fmla="*/ 13289 h 84195"/>
                  <a:gd name="connsiteX9" fmla="*/ 13340 w 84221"/>
                  <a:gd name="connsiteY9" fmla="*/ 42085 h 84195"/>
                  <a:gd name="connsiteX10" fmla="*/ 42137 w 84221"/>
                  <a:gd name="connsiteY10" fmla="*/ 70881 h 84195"/>
                  <a:gd name="connsiteX11" fmla="*/ 51039 w 84221"/>
                  <a:gd name="connsiteY11" fmla="*/ 69488 h 84195"/>
                  <a:gd name="connsiteX12" fmla="*/ 59425 w 84221"/>
                  <a:gd name="connsiteY12" fmla="*/ 73746 h 84195"/>
                  <a:gd name="connsiteX13" fmla="*/ 55167 w 84221"/>
                  <a:gd name="connsiteY13" fmla="*/ 82132 h 84195"/>
                  <a:gd name="connsiteX14" fmla="*/ 42111 w 84221"/>
                  <a:gd name="connsiteY14" fmla="*/ 84196 h 8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221" h="84195">
                    <a:moveTo>
                      <a:pt x="42111" y="84196"/>
                    </a:moveTo>
                    <a:cubicBezTo>
                      <a:pt x="18888" y="84196"/>
                      <a:pt x="0" y="65308"/>
                      <a:pt x="0" y="42111"/>
                    </a:cubicBezTo>
                    <a:cubicBezTo>
                      <a:pt x="0" y="18914"/>
                      <a:pt x="18888" y="0"/>
                      <a:pt x="42111" y="0"/>
                    </a:cubicBezTo>
                    <a:cubicBezTo>
                      <a:pt x="65334" y="0"/>
                      <a:pt x="84222" y="18888"/>
                      <a:pt x="84222" y="42111"/>
                    </a:cubicBezTo>
                    <a:cubicBezTo>
                      <a:pt x="84222" y="49129"/>
                      <a:pt x="82467" y="56045"/>
                      <a:pt x="79138" y="62186"/>
                    </a:cubicBezTo>
                    <a:cubicBezTo>
                      <a:pt x="77384" y="65411"/>
                      <a:pt x="73359" y="66598"/>
                      <a:pt x="70107" y="64843"/>
                    </a:cubicBezTo>
                    <a:cubicBezTo>
                      <a:pt x="66882" y="63089"/>
                      <a:pt x="65695" y="59038"/>
                      <a:pt x="67450" y="55812"/>
                    </a:cubicBezTo>
                    <a:cubicBezTo>
                      <a:pt x="69720" y="51632"/>
                      <a:pt x="70933" y="46884"/>
                      <a:pt x="70933" y="42085"/>
                    </a:cubicBezTo>
                    <a:cubicBezTo>
                      <a:pt x="70933" y="26216"/>
                      <a:pt x="58006" y="13289"/>
                      <a:pt x="42137" y="13289"/>
                    </a:cubicBezTo>
                    <a:cubicBezTo>
                      <a:pt x="26268" y="13289"/>
                      <a:pt x="13340" y="26216"/>
                      <a:pt x="13340" y="42085"/>
                    </a:cubicBezTo>
                    <a:cubicBezTo>
                      <a:pt x="13340" y="57954"/>
                      <a:pt x="26268" y="70881"/>
                      <a:pt x="42137" y="70881"/>
                    </a:cubicBezTo>
                    <a:cubicBezTo>
                      <a:pt x="45181" y="70881"/>
                      <a:pt x="48175" y="70417"/>
                      <a:pt x="51039" y="69488"/>
                    </a:cubicBezTo>
                    <a:cubicBezTo>
                      <a:pt x="54548" y="68378"/>
                      <a:pt x="58289" y="70262"/>
                      <a:pt x="59425" y="73746"/>
                    </a:cubicBezTo>
                    <a:cubicBezTo>
                      <a:pt x="60560" y="77229"/>
                      <a:pt x="58651" y="80996"/>
                      <a:pt x="55167" y="82132"/>
                    </a:cubicBezTo>
                    <a:cubicBezTo>
                      <a:pt x="50936" y="83499"/>
                      <a:pt x="46549" y="84196"/>
                      <a:pt x="42111" y="84196"/>
                    </a:cubicBezTo>
                    <a:close/>
                  </a:path>
                </a:pathLst>
              </a:custGeom>
              <a:solidFill>
                <a:schemeClr val="accent1"/>
              </a:solidFill>
              <a:ln w="2573" cap="flat">
                <a:noFill/>
                <a:prstDash val="solid"/>
                <a:miter/>
              </a:ln>
            </p:spPr>
            <p:txBody>
              <a:bodyPr rtlCol="0" anchor="ctr"/>
              <a:lstStyle/>
              <a:p>
                <a:endParaRPr lang="en-GB" dirty="0"/>
              </a:p>
            </p:txBody>
          </p:sp>
          <p:sp>
            <p:nvSpPr>
              <p:cNvPr id="1454" name="Freihandform: Form 1453">
                <a:extLst>
                  <a:ext uri="{FF2B5EF4-FFF2-40B4-BE49-F238E27FC236}">
                    <a16:creationId xmlns:a16="http://schemas.microsoft.com/office/drawing/2014/main" id="{2578F737-51D7-4B7D-96A6-821137287AD4}"/>
                  </a:ext>
                </a:extLst>
              </p:cNvPr>
              <p:cNvSpPr/>
              <p:nvPr/>
            </p:nvSpPr>
            <p:spPr>
              <a:xfrm>
                <a:off x="1898413" y="3528065"/>
                <a:ext cx="163953" cy="163953"/>
              </a:xfrm>
              <a:custGeom>
                <a:avLst/>
                <a:gdLst>
                  <a:gd name="connsiteX0" fmla="*/ 81977 w 163953"/>
                  <a:gd name="connsiteY0" fmla="*/ 163954 h 163953"/>
                  <a:gd name="connsiteX1" fmla="*/ 0 w 163953"/>
                  <a:gd name="connsiteY1" fmla="*/ 81977 h 163953"/>
                  <a:gd name="connsiteX2" fmla="*/ 81977 w 163953"/>
                  <a:gd name="connsiteY2" fmla="*/ 0 h 163953"/>
                  <a:gd name="connsiteX3" fmla="*/ 163953 w 163953"/>
                  <a:gd name="connsiteY3" fmla="*/ 81977 h 163953"/>
                  <a:gd name="connsiteX4" fmla="*/ 152935 w 163953"/>
                  <a:gd name="connsiteY4" fmla="*/ 123055 h 163953"/>
                  <a:gd name="connsiteX5" fmla="*/ 143853 w 163953"/>
                  <a:gd name="connsiteY5" fmla="*/ 125481 h 163953"/>
                  <a:gd name="connsiteX6" fmla="*/ 141427 w 163953"/>
                  <a:gd name="connsiteY6" fmla="*/ 116398 h 163953"/>
                  <a:gd name="connsiteX7" fmla="*/ 150639 w 163953"/>
                  <a:gd name="connsiteY7" fmla="*/ 82003 h 163953"/>
                  <a:gd name="connsiteX8" fmla="*/ 81951 w 163953"/>
                  <a:gd name="connsiteY8" fmla="*/ 13315 h 163953"/>
                  <a:gd name="connsiteX9" fmla="*/ 13263 w 163953"/>
                  <a:gd name="connsiteY9" fmla="*/ 82003 h 163953"/>
                  <a:gd name="connsiteX10" fmla="*/ 81951 w 163953"/>
                  <a:gd name="connsiteY10" fmla="*/ 150691 h 163953"/>
                  <a:gd name="connsiteX11" fmla="*/ 126952 w 163953"/>
                  <a:gd name="connsiteY11" fmla="*/ 133893 h 163953"/>
                  <a:gd name="connsiteX12" fmla="*/ 136344 w 163953"/>
                  <a:gd name="connsiteY12" fmla="*/ 134564 h 163953"/>
                  <a:gd name="connsiteX13" fmla="*/ 135673 w 163953"/>
                  <a:gd name="connsiteY13" fmla="*/ 143956 h 163953"/>
                  <a:gd name="connsiteX14" fmla="*/ 81977 w 163953"/>
                  <a:gd name="connsiteY14" fmla="*/ 163954 h 16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953" h="163953">
                    <a:moveTo>
                      <a:pt x="81977" y="163954"/>
                    </a:moveTo>
                    <a:cubicBezTo>
                      <a:pt x="36770" y="163954"/>
                      <a:pt x="0" y="127184"/>
                      <a:pt x="0" y="81977"/>
                    </a:cubicBezTo>
                    <a:cubicBezTo>
                      <a:pt x="0" y="36770"/>
                      <a:pt x="36770" y="0"/>
                      <a:pt x="81977" y="0"/>
                    </a:cubicBezTo>
                    <a:cubicBezTo>
                      <a:pt x="127184" y="0"/>
                      <a:pt x="163953" y="36770"/>
                      <a:pt x="163953" y="81977"/>
                    </a:cubicBezTo>
                    <a:cubicBezTo>
                      <a:pt x="163953" y="96426"/>
                      <a:pt x="160135" y="110618"/>
                      <a:pt x="152935" y="123055"/>
                    </a:cubicBezTo>
                    <a:cubicBezTo>
                      <a:pt x="151103" y="126229"/>
                      <a:pt x="147027" y="127339"/>
                      <a:pt x="143853" y="125481"/>
                    </a:cubicBezTo>
                    <a:cubicBezTo>
                      <a:pt x="140679" y="123623"/>
                      <a:pt x="139595" y="119572"/>
                      <a:pt x="141427" y="116398"/>
                    </a:cubicBezTo>
                    <a:cubicBezTo>
                      <a:pt x="147465" y="106000"/>
                      <a:pt x="150639" y="94104"/>
                      <a:pt x="150639" y="82003"/>
                    </a:cubicBezTo>
                    <a:cubicBezTo>
                      <a:pt x="150639" y="44124"/>
                      <a:pt x="119830" y="13315"/>
                      <a:pt x="81951" y="13315"/>
                    </a:cubicBezTo>
                    <a:cubicBezTo>
                      <a:pt x="44072" y="13315"/>
                      <a:pt x="13263" y="44124"/>
                      <a:pt x="13263" y="82003"/>
                    </a:cubicBezTo>
                    <a:cubicBezTo>
                      <a:pt x="13263" y="119882"/>
                      <a:pt x="44072" y="150691"/>
                      <a:pt x="81951" y="150691"/>
                    </a:cubicBezTo>
                    <a:cubicBezTo>
                      <a:pt x="98491" y="150691"/>
                      <a:pt x="114489" y="144730"/>
                      <a:pt x="126952" y="133893"/>
                    </a:cubicBezTo>
                    <a:cubicBezTo>
                      <a:pt x="129738" y="131467"/>
                      <a:pt x="133919" y="131777"/>
                      <a:pt x="136344" y="134564"/>
                    </a:cubicBezTo>
                    <a:cubicBezTo>
                      <a:pt x="138744" y="137325"/>
                      <a:pt x="138460" y="141531"/>
                      <a:pt x="135673" y="143956"/>
                    </a:cubicBezTo>
                    <a:cubicBezTo>
                      <a:pt x="120785" y="156832"/>
                      <a:pt x="101716" y="163954"/>
                      <a:pt x="81977" y="163954"/>
                    </a:cubicBezTo>
                    <a:close/>
                  </a:path>
                </a:pathLst>
              </a:custGeom>
              <a:solidFill>
                <a:schemeClr val="accent1"/>
              </a:solidFill>
              <a:ln w="2573" cap="flat">
                <a:noFill/>
                <a:prstDash val="solid"/>
                <a:miter/>
              </a:ln>
            </p:spPr>
            <p:txBody>
              <a:bodyPr rtlCol="0" anchor="ctr"/>
              <a:lstStyle/>
              <a:p>
                <a:endParaRPr lang="en-GB" dirty="0"/>
              </a:p>
            </p:txBody>
          </p:sp>
          <p:grpSp>
            <p:nvGrpSpPr>
              <p:cNvPr id="1455" name="Grafik 312">
                <a:extLst>
                  <a:ext uri="{FF2B5EF4-FFF2-40B4-BE49-F238E27FC236}">
                    <a16:creationId xmlns:a16="http://schemas.microsoft.com/office/drawing/2014/main" id="{B20FBA60-92A7-46A6-9749-C72BE8110FF8}"/>
                  </a:ext>
                </a:extLst>
              </p:cNvPr>
              <p:cNvGrpSpPr/>
              <p:nvPr/>
            </p:nvGrpSpPr>
            <p:grpSpPr>
              <a:xfrm>
                <a:off x="1973785" y="3603406"/>
                <a:ext cx="170197" cy="116686"/>
                <a:chOff x="1973785" y="3603406"/>
                <a:chExt cx="170197" cy="116686"/>
              </a:xfrm>
              <a:solidFill>
                <a:schemeClr val="accent1"/>
              </a:solidFill>
            </p:grpSpPr>
            <p:sp>
              <p:nvSpPr>
                <p:cNvPr id="1456" name="Freihandform: Form 1455">
                  <a:extLst>
                    <a:ext uri="{FF2B5EF4-FFF2-40B4-BE49-F238E27FC236}">
                      <a16:creationId xmlns:a16="http://schemas.microsoft.com/office/drawing/2014/main" id="{B508A1C5-B717-4BD4-A0ED-F01F03091426}"/>
                    </a:ext>
                  </a:extLst>
                </p:cNvPr>
                <p:cNvSpPr/>
                <p:nvPr/>
              </p:nvSpPr>
              <p:spPr>
                <a:xfrm>
                  <a:off x="2081228" y="3652917"/>
                  <a:ext cx="62754" cy="41346"/>
                </a:xfrm>
                <a:custGeom>
                  <a:avLst/>
                  <a:gdLst>
                    <a:gd name="connsiteX0" fmla="*/ 33519 w 62754"/>
                    <a:gd name="connsiteY0" fmla="*/ 41347 h 41346"/>
                    <a:gd name="connsiteX1" fmla="*/ 30190 w 62754"/>
                    <a:gd name="connsiteY1" fmla="*/ 40469 h 41346"/>
                    <a:gd name="connsiteX2" fmla="*/ 3329 w 62754"/>
                    <a:gd name="connsiteY2" fmla="*/ 24962 h 41346"/>
                    <a:gd name="connsiteX3" fmla="*/ 0 w 62754"/>
                    <a:gd name="connsiteY3" fmla="*/ 19130 h 41346"/>
                    <a:gd name="connsiteX4" fmla="*/ 3432 w 62754"/>
                    <a:gd name="connsiteY4" fmla="*/ 13376 h 41346"/>
                    <a:gd name="connsiteX5" fmla="*/ 26010 w 62754"/>
                    <a:gd name="connsiteY5" fmla="*/ 836 h 41346"/>
                    <a:gd name="connsiteX6" fmla="*/ 32564 w 62754"/>
                    <a:gd name="connsiteY6" fmla="*/ 887 h 41346"/>
                    <a:gd name="connsiteX7" fmla="*/ 59425 w 62754"/>
                    <a:gd name="connsiteY7" fmla="*/ 16395 h 41346"/>
                    <a:gd name="connsiteX8" fmla="*/ 62754 w 62754"/>
                    <a:gd name="connsiteY8" fmla="*/ 22226 h 41346"/>
                    <a:gd name="connsiteX9" fmla="*/ 59322 w 62754"/>
                    <a:gd name="connsiteY9" fmla="*/ 27981 h 41346"/>
                    <a:gd name="connsiteX10" fmla="*/ 36718 w 62754"/>
                    <a:gd name="connsiteY10" fmla="*/ 40521 h 41346"/>
                    <a:gd name="connsiteX11" fmla="*/ 33519 w 62754"/>
                    <a:gd name="connsiteY11" fmla="*/ 41347 h 41346"/>
                    <a:gd name="connsiteX12" fmla="*/ 20153 w 62754"/>
                    <a:gd name="connsiteY12" fmla="*/ 19285 h 41346"/>
                    <a:gd name="connsiteX13" fmla="*/ 33570 w 62754"/>
                    <a:gd name="connsiteY13" fmla="*/ 27026 h 41346"/>
                    <a:gd name="connsiteX14" fmla="*/ 42601 w 62754"/>
                    <a:gd name="connsiteY14" fmla="*/ 22020 h 41346"/>
                    <a:gd name="connsiteX15" fmla="*/ 29184 w 62754"/>
                    <a:gd name="connsiteY15" fmla="*/ 14279 h 41346"/>
                    <a:gd name="connsiteX16" fmla="*/ 20153 w 62754"/>
                    <a:gd name="connsiteY16" fmla="*/ 19285 h 4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754" h="41346">
                      <a:moveTo>
                        <a:pt x="33519" y="41347"/>
                      </a:moveTo>
                      <a:cubicBezTo>
                        <a:pt x="32358" y="41347"/>
                        <a:pt x="31222" y="41037"/>
                        <a:pt x="30190" y="40469"/>
                      </a:cubicBezTo>
                      <a:lnTo>
                        <a:pt x="3329" y="24962"/>
                      </a:lnTo>
                      <a:cubicBezTo>
                        <a:pt x="1265" y="23749"/>
                        <a:pt x="-25" y="21530"/>
                        <a:pt x="0" y="19130"/>
                      </a:cubicBezTo>
                      <a:cubicBezTo>
                        <a:pt x="26" y="16730"/>
                        <a:pt x="1316" y="14537"/>
                        <a:pt x="3432" y="13376"/>
                      </a:cubicBezTo>
                      <a:lnTo>
                        <a:pt x="26010" y="836"/>
                      </a:lnTo>
                      <a:cubicBezTo>
                        <a:pt x="28049" y="-300"/>
                        <a:pt x="30551" y="-274"/>
                        <a:pt x="32564" y="887"/>
                      </a:cubicBezTo>
                      <a:lnTo>
                        <a:pt x="59425" y="16395"/>
                      </a:lnTo>
                      <a:cubicBezTo>
                        <a:pt x="61489" y="17608"/>
                        <a:pt x="62780" y="19827"/>
                        <a:pt x="62754" y="22226"/>
                      </a:cubicBezTo>
                      <a:cubicBezTo>
                        <a:pt x="62728" y="24626"/>
                        <a:pt x="61438" y="26819"/>
                        <a:pt x="59322" y="27981"/>
                      </a:cubicBezTo>
                      <a:lnTo>
                        <a:pt x="36718" y="40521"/>
                      </a:lnTo>
                      <a:cubicBezTo>
                        <a:pt x="35738" y="41063"/>
                        <a:pt x="34628" y="41347"/>
                        <a:pt x="33519" y="41347"/>
                      </a:cubicBezTo>
                      <a:close/>
                      <a:moveTo>
                        <a:pt x="20153" y="19285"/>
                      </a:moveTo>
                      <a:lnTo>
                        <a:pt x="33570" y="27026"/>
                      </a:lnTo>
                      <a:lnTo>
                        <a:pt x="42601" y="22020"/>
                      </a:lnTo>
                      <a:lnTo>
                        <a:pt x="29184" y="14279"/>
                      </a:lnTo>
                      <a:lnTo>
                        <a:pt x="20153" y="19285"/>
                      </a:lnTo>
                      <a:close/>
                    </a:path>
                  </a:pathLst>
                </a:custGeom>
                <a:solidFill>
                  <a:schemeClr val="accent1"/>
                </a:solidFill>
                <a:ln w="2573" cap="flat">
                  <a:noFill/>
                  <a:prstDash val="solid"/>
                  <a:miter/>
                </a:ln>
              </p:spPr>
              <p:txBody>
                <a:bodyPr rtlCol="0" anchor="ctr"/>
                <a:lstStyle/>
                <a:p>
                  <a:endParaRPr lang="en-GB" dirty="0"/>
                </a:p>
              </p:txBody>
            </p:sp>
            <p:sp>
              <p:nvSpPr>
                <p:cNvPr id="1457" name="Freihandform: Form 1456">
                  <a:extLst>
                    <a:ext uri="{FF2B5EF4-FFF2-40B4-BE49-F238E27FC236}">
                      <a16:creationId xmlns:a16="http://schemas.microsoft.com/office/drawing/2014/main" id="{D448762D-C841-4E33-ADD8-B57B9225EEB5}"/>
                    </a:ext>
                  </a:extLst>
                </p:cNvPr>
                <p:cNvSpPr/>
                <p:nvPr/>
              </p:nvSpPr>
              <p:spPr>
                <a:xfrm>
                  <a:off x="2081228" y="3665464"/>
                  <a:ext cx="40616" cy="54628"/>
                </a:xfrm>
                <a:custGeom>
                  <a:avLst/>
                  <a:gdLst>
                    <a:gd name="connsiteX0" fmla="*/ 33957 w 40616"/>
                    <a:gd name="connsiteY0" fmla="*/ 54629 h 54628"/>
                    <a:gd name="connsiteX1" fmla="*/ 30629 w 40616"/>
                    <a:gd name="connsiteY1" fmla="*/ 53751 h 54628"/>
                    <a:gd name="connsiteX2" fmla="*/ 3768 w 40616"/>
                    <a:gd name="connsiteY2" fmla="*/ 38244 h 54628"/>
                    <a:gd name="connsiteX3" fmla="*/ 439 w 40616"/>
                    <a:gd name="connsiteY3" fmla="*/ 32593 h 54628"/>
                    <a:gd name="connsiteX4" fmla="*/ 0 w 40616"/>
                    <a:gd name="connsiteY4" fmla="*/ 6764 h 54628"/>
                    <a:gd name="connsiteX5" fmla="*/ 3277 w 40616"/>
                    <a:gd name="connsiteY5" fmla="*/ 932 h 54628"/>
                    <a:gd name="connsiteX6" fmla="*/ 9986 w 40616"/>
                    <a:gd name="connsiteY6" fmla="*/ 906 h 54628"/>
                    <a:gd name="connsiteX7" fmla="*/ 36847 w 40616"/>
                    <a:gd name="connsiteY7" fmla="*/ 16414 h 54628"/>
                    <a:gd name="connsiteX8" fmla="*/ 40176 w 40616"/>
                    <a:gd name="connsiteY8" fmla="*/ 22065 h 54628"/>
                    <a:gd name="connsiteX9" fmla="*/ 40615 w 40616"/>
                    <a:gd name="connsiteY9" fmla="*/ 47894 h 54628"/>
                    <a:gd name="connsiteX10" fmla="*/ 37338 w 40616"/>
                    <a:gd name="connsiteY10" fmla="*/ 53725 h 54628"/>
                    <a:gd name="connsiteX11" fmla="*/ 33957 w 40616"/>
                    <a:gd name="connsiteY11" fmla="*/ 54629 h 54628"/>
                    <a:gd name="connsiteX12" fmla="*/ 13676 w 40616"/>
                    <a:gd name="connsiteY12" fmla="*/ 28593 h 54628"/>
                    <a:gd name="connsiteX13" fmla="*/ 27094 w 40616"/>
                    <a:gd name="connsiteY13" fmla="*/ 36360 h 54628"/>
                    <a:gd name="connsiteX14" fmla="*/ 26913 w 40616"/>
                    <a:gd name="connsiteY14" fmla="*/ 26039 h 54628"/>
                    <a:gd name="connsiteX15" fmla="*/ 13495 w 40616"/>
                    <a:gd name="connsiteY15" fmla="*/ 18298 h 54628"/>
                    <a:gd name="connsiteX16" fmla="*/ 13676 w 40616"/>
                    <a:gd name="connsiteY16" fmla="*/ 28593 h 5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616" h="54628">
                      <a:moveTo>
                        <a:pt x="33957" y="54629"/>
                      </a:moveTo>
                      <a:cubicBezTo>
                        <a:pt x="32796" y="54629"/>
                        <a:pt x="31661" y="54319"/>
                        <a:pt x="30629" y="53751"/>
                      </a:cubicBezTo>
                      <a:lnTo>
                        <a:pt x="3768" y="38244"/>
                      </a:lnTo>
                      <a:cubicBezTo>
                        <a:pt x="1755" y="37082"/>
                        <a:pt x="491" y="34941"/>
                        <a:pt x="439" y="32593"/>
                      </a:cubicBezTo>
                      <a:lnTo>
                        <a:pt x="0" y="6764"/>
                      </a:lnTo>
                      <a:cubicBezTo>
                        <a:pt x="-25" y="4364"/>
                        <a:pt x="1213" y="2145"/>
                        <a:pt x="3277" y="932"/>
                      </a:cubicBezTo>
                      <a:cubicBezTo>
                        <a:pt x="5342" y="-306"/>
                        <a:pt x="7896" y="-306"/>
                        <a:pt x="9986" y="906"/>
                      </a:cubicBezTo>
                      <a:lnTo>
                        <a:pt x="36847" y="16414"/>
                      </a:lnTo>
                      <a:cubicBezTo>
                        <a:pt x="38860" y="17575"/>
                        <a:pt x="40124" y="19717"/>
                        <a:pt x="40176" y="22065"/>
                      </a:cubicBezTo>
                      <a:lnTo>
                        <a:pt x="40615" y="47894"/>
                      </a:lnTo>
                      <a:cubicBezTo>
                        <a:pt x="40666" y="50294"/>
                        <a:pt x="39402" y="52513"/>
                        <a:pt x="37338" y="53725"/>
                      </a:cubicBezTo>
                      <a:cubicBezTo>
                        <a:pt x="36280" y="54319"/>
                        <a:pt x="35118" y="54629"/>
                        <a:pt x="33957" y="54629"/>
                      </a:cubicBezTo>
                      <a:close/>
                      <a:moveTo>
                        <a:pt x="13676" y="28593"/>
                      </a:moveTo>
                      <a:lnTo>
                        <a:pt x="27094" y="36360"/>
                      </a:lnTo>
                      <a:lnTo>
                        <a:pt x="26913" y="26039"/>
                      </a:lnTo>
                      <a:lnTo>
                        <a:pt x="13495" y="18298"/>
                      </a:lnTo>
                      <a:lnTo>
                        <a:pt x="13676" y="28593"/>
                      </a:lnTo>
                      <a:close/>
                    </a:path>
                  </a:pathLst>
                </a:custGeom>
                <a:solidFill>
                  <a:schemeClr val="accent1"/>
                </a:solidFill>
                <a:ln w="2573" cap="flat">
                  <a:noFill/>
                  <a:prstDash val="solid"/>
                  <a:miter/>
                </a:ln>
              </p:spPr>
              <p:txBody>
                <a:bodyPr rtlCol="0" anchor="ctr"/>
                <a:lstStyle/>
                <a:p>
                  <a:endParaRPr lang="en-GB" dirty="0"/>
                </a:p>
              </p:txBody>
            </p:sp>
            <p:sp>
              <p:nvSpPr>
                <p:cNvPr id="1458" name="Freihandform: Form 1457">
                  <a:extLst>
                    <a:ext uri="{FF2B5EF4-FFF2-40B4-BE49-F238E27FC236}">
                      <a16:creationId xmlns:a16="http://schemas.microsoft.com/office/drawing/2014/main" id="{AAE9B4F5-A5D9-4F1E-A6D1-11757A1B84FC}"/>
                    </a:ext>
                  </a:extLst>
                </p:cNvPr>
                <p:cNvSpPr/>
                <p:nvPr/>
              </p:nvSpPr>
              <p:spPr>
                <a:xfrm>
                  <a:off x="1973785" y="3603406"/>
                  <a:ext cx="159126" cy="97489"/>
                </a:xfrm>
                <a:custGeom>
                  <a:avLst/>
                  <a:gdLst>
                    <a:gd name="connsiteX0" fmla="*/ 152470 w 159126"/>
                    <a:gd name="connsiteY0" fmla="*/ 97489 h 97489"/>
                    <a:gd name="connsiteX1" fmla="*/ 149142 w 159126"/>
                    <a:gd name="connsiteY1" fmla="*/ 96612 h 97489"/>
                    <a:gd name="connsiteX2" fmla="*/ 3328 w 159126"/>
                    <a:gd name="connsiteY2" fmla="*/ 12416 h 97489"/>
                    <a:gd name="connsiteX3" fmla="*/ 902 w 159126"/>
                    <a:gd name="connsiteY3" fmla="*/ 3333 h 97489"/>
                    <a:gd name="connsiteX4" fmla="*/ 9985 w 159126"/>
                    <a:gd name="connsiteY4" fmla="*/ 908 h 97489"/>
                    <a:gd name="connsiteX5" fmla="*/ 155799 w 159126"/>
                    <a:gd name="connsiteY5" fmla="*/ 85104 h 97489"/>
                    <a:gd name="connsiteX6" fmla="*/ 158224 w 159126"/>
                    <a:gd name="connsiteY6" fmla="*/ 94186 h 97489"/>
                    <a:gd name="connsiteX7" fmla="*/ 152470 w 159126"/>
                    <a:gd name="connsiteY7" fmla="*/ 97489 h 9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126" h="97489">
                      <a:moveTo>
                        <a:pt x="152470" y="97489"/>
                      </a:moveTo>
                      <a:cubicBezTo>
                        <a:pt x="151335" y="97489"/>
                        <a:pt x="150199" y="97205"/>
                        <a:pt x="149142" y="96612"/>
                      </a:cubicBezTo>
                      <a:lnTo>
                        <a:pt x="3328" y="12416"/>
                      </a:lnTo>
                      <a:cubicBezTo>
                        <a:pt x="154" y="10584"/>
                        <a:pt x="-956" y="6507"/>
                        <a:pt x="902" y="3333"/>
                      </a:cubicBezTo>
                      <a:cubicBezTo>
                        <a:pt x="2734" y="134"/>
                        <a:pt x="6785" y="-950"/>
                        <a:pt x="9985" y="908"/>
                      </a:cubicBezTo>
                      <a:lnTo>
                        <a:pt x="155799" y="85104"/>
                      </a:lnTo>
                      <a:cubicBezTo>
                        <a:pt x="158973" y="86936"/>
                        <a:pt x="160082" y="91013"/>
                        <a:pt x="158224" y="94186"/>
                      </a:cubicBezTo>
                      <a:cubicBezTo>
                        <a:pt x="156986" y="96302"/>
                        <a:pt x="154767" y="97489"/>
                        <a:pt x="152470" y="97489"/>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1432" name="Gruppieren 1431">
              <a:extLst>
                <a:ext uri="{FF2B5EF4-FFF2-40B4-BE49-F238E27FC236}">
                  <a16:creationId xmlns:a16="http://schemas.microsoft.com/office/drawing/2014/main" id="{59AA354D-9E39-4E73-BDDA-9C38CFFB15A9}"/>
                </a:ext>
              </a:extLst>
            </p:cNvPr>
            <p:cNvGrpSpPr/>
            <p:nvPr/>
          </p:nvGrpSpPr>
          <p:grpSpPr>
            <a:xfrm>
              <a:off x="1614855" y="3273397"/>
              <a:ext cx="363923" cy="393744"/>
              <a:chOff x="1703289" y="3342566"/>
              <a:chExt cx="324250" cy="350820"/>
            </a:xfrm>
            <a:solidFill>
              <a:schemeClr val="tx2"/>
            </a:solidFill>
          </p:grpSpPr>
          <p:grpSp>
            <p:nvGrpSpPr>
              <p:cNvPr id="1433" name="Grafik 312">
                <a:extLst>
                  <a:ext uri="{FF2B5EF4-FFF2-40B4-BE49-F238E27FC236}">
                    <a16:creationId xmlns:a16="http://schemas.microsoft.com/office/drawing/2014/main" id="{82CF9A29-866F-4E73-A493-CD761501EF2E}"/>
                  </a:ext>
                </a:extLst>
              </p:cNvPr>
              <p:cNvGrpSpPr/>
              <p:nvPr/>
            </p:nvGrpSpPr>
            <p:grpSpPr>
              <a:xfrm>
                <a:off x="1864275" y="3342566"/>
                <a:ext cx="163264" cy="182093"/>
                <a:chOff x="1864275" y="3342566"/>
                <a:chExt cx="163264" cy="182093"/>
              </a:xfrm>
              <a:grpFill/>
            </p:grpSpPr>
            <p:sp>
              <p:nvSpPr>
                <p:cNvPr id="1446" name="Freihandform: Form 1445">
                  <a:extLst>
                    <a:ext uri="{FF2B5EF4-FFF2-40B4-BE49-F238E27FC236}">
                      <a16:creationId xmlns:a16="http://schemas.microsoft.com/office/drawing/2014/main" id="{68C2440F-F68E-4D29-88E4-DC6D05DF1D91}"/>
                    </a:ext>
                  </a:extLst>
                </p:cNvPr>
                <p:cNvSpPr/>
                <p:nvPr/>
              </p:nvSpPr>
              <p:spPr>
                <a:xfrm>
                  <a:off x="1897685" y="3404932"/>
                  <a:ext cx="30002" cy="28513"/>
                </a:xfrm>
                <a:custGeom>
                  <a:avLst/>
                  <a:gdLst>
                    <a:gd name="connsiteX0" fmla="*/ 6663 w 30002"/>
                    <a:gd name="connsiteY0" fmla="*/ 28513 h 28513"/>
                    <a:gd name="connsiteX1" fmla="*/ 6379 w 30002"/>
                    <a:gd name="connsiteY1" fmla="*/ 28513 h 28513"/>
                    <a:gd name="connsiteX2" fmla="*/ 6 w 30002"/>
                    <a:gd name="connsiteY2" fmla="*/ 21598 h 28513"/>
                    <a:gd name="connsiteX3" fmla="*/ 7411 w 30002"/>
                    <a:gd name="connsiteY3" fmla="*/ 5729 h 28513"/>
                    <a:gd name="connsiteX4" fmla="*/ 23771 w 30002"/>
                    <a:gd name="connsiteY4" fmla="*/ 52 h 28513"/>
                    <a:gd name="connsiteX5" fmla="*/ 29989 w 30002"/>
                    <a:gd name="connsiteY5" fmla="*/ 7097 h 28513"/>
                    <a:gd name="connsiteX6" fmla="*/ 22945 w 30002"/>
                    <a:gd name="connsiteY6" fmla="*/ 13315 h 28513"/>
                    <a:gd name="connsiteX7" fmla="*/ 16339 w 30002"/>
                    <a:gd name="connsiteY7" fmla="*/ 15612 h 28513"/>
                    <a:gd name="connsiteX8" fmla="*/ 13320 w 30002"/>
                    <a:gd name="connsiteY8" fmla="*/ 22166 h 28513"/>
                    <a:gd name="connsiteX9" fmla="*/ 6663 w 30002"/>
                    <a:gd name="connsiteY9" fmla="*/ 28513 h 2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02" h="28513">
                      <a:moveTo>
                        <a:pt x="6663" y="28513"/>
                      </a:moveTo>
                      <a:cubicBezTo>
                        <a:pt x="6560" y="28513"/>
                        <a:pt x="6483" y="28513"/>
                        <a:pt x="6379" y="28513"/>
                      </a:cubicBezTo>
                      <a:cubicBezTo>
                        <a:pt x="2715" y="28358"/>
                        <a:pt x="-149" y="25262"/>
                        <a:pt x="6" y="21598"/>
                      </a:cubicBezTo>
                      <a:cubicBezTo>
                        <a:pt x="264" y="15431"/>
                        <a:pt x="2896" y="9806"/>
                        <a:pt x="7411" y="5729"/>
                      </a:cubicBezTo>
                      <a:cubicBezTo>
                        <a:pt x="11901" y="1678"/>
                        <a:pt x="17707" y="-361"/>
                        <a:pt x="23771" y="52"/>
                      </a:cubicBezTo>
                      <a:cubicBezTo>
                        <a:pt x="27435" y="285"/>
                        <a:pt x="30222" y="3433"/>
                        <a:pt x="29989" y="7097"/>
                      </a:cubicBezTo>
                      <a:cubicBezTo>
                        <a:pt x="29757" y="10761"/>
                        <a:pt x="26635" y="13496"/>
                        <a:pt x="22945" y="13315"/>
                      </a:cubicBezTo>
                      <a:cubicBezTo>
                        <a:pt x="20442" y="13160"/>
                        <a:pt x="18146" y="13960"/>
                        <a:pt x="16339" y="15612"/>
                      </a:cubicBezTo>
                      <a:cubicBezTo>
                        <a:pt x="14482" y="17289"/>
                        <a:pt x="13424" y="19611"/>
                        <a:pt x="13320" y="22166"/>
                      </a:cubicBezTo>
                      <a:cubicBezTo>
                        <a:pt x="13166" y="25701"/>
                        <a:pt x="10224" y="28513"/>
                        <a:pt x="6663" y="28513"/>
                      </a:cubicBezTo>
                      <a:close/>
                    </a:path>
                  </a:pathLst>
                </a:custGeom>
                <a:grpFill/>
                <a:ln w="2573" cap="flat">
                  <a:noFill/>
                  <a:prstDash val="solid"/>
                  <a:miter/>
                </a:ln>
              </p:spPr>
              <p:txBody>
                <a:bodyPr rtlCol="0" anchor="ctr"/>
                <a:lstStyle/>
                <a:p>
                  <a:endParaRPr lang="en-GB" dirty="0"/>
                </a:p>
              </p:txBody>
            </p:sp>
            <p:grpSp>
              <p:nvGrpSpPr>
                <p:cNvPr id="1447" name="Grafik 312">
                  <a:extLst>
                    <a:ext uri="{FF2B5EF4-FFF2-40B4-BE49-F238E27FC236}">
                      <a16:creationId xmlns:a16="http://schemas.microsoft.com/office/drawing/2014/main" id="{AF02695F-4553-46B3-96EB-5F20C83AF046}"/>
                    </a:ext>
                  </a:extLst>
                </p:cNvPr>
                <p:cNvGrpSpPr/>
                <p:nvPr/>
              </p:nvGrpSpPr>
              <p:grpSpPr>
                <a:xfrm>
                  <a:off x="1864275" y="3342566"/>
                  <a:ext cx="163264" cy="182093"/>
                  <a:chOff x="1864275" y="3342566"/>
                  <a:chExt cx="163264" cy="182093"/>
                </a:xfrm>
                <a:grpFill/>
              </p:grpSpPr>
              <p:sp>
                <p:nvSpPr>
                  <p:cNvPr id="1448" name="Freihandform: Form 1447">
                    <a:extLst>
                      <a:ext uri="{FF2B5EF4-FFF2-40B4-BE49-F238E27FC236}">
                        <a16:creationId xmlns:a16="http://schemas.microsoft.com/office/drawing/2014/main" id="{CDEA072F-D8CC-4C09-A531-B5840D6153ED}"/>
                      </a:ext>
                    </a:extLst>
                  </p:cNvPr>
                  <p:cNvSpPr/>
                  <p:nvPr/>
                </p:nvSpPr>
                <p:spPr>
                  <a:xfrm>
                    <a:off x="1864275" y="3342566"/>
                    <a:ext cx="163264" cy="182093"/>
                  </a:xfrm>
                  <a:custGeom>
                    <a:avLst/>
                    <a:gdLst>
                      <a:gd name="connsiteX0" fmla="*/ 6657 w 163264"/>
                      <a:gd name="connsiteY0" fmla="*/ 182093 h 182093"/>
                      <a:gd name="connsiteX1" fmla="*/ 0 w 163264"/>
                      <a:gd name="connsiteY1" fmla="*/ 175436 h 182093"/>
                      <a:gd name="connsiteX2" fmla="*/ 0 w 163264"/>
                      <a:gd name="connsiteY2" fmla="*/ 165450 h 182093"/>
                      <a:gd name="connsiteX3" fmla="*/ 7818 w 163264"/>
                      <a:gd name="connsiteY3" fmla="*/ 146149 h 182093"/>
                      <a:gd name="connsiteX4" fmla="*/ 8850 w 163264"/>
                      <a:gd name="connsiteY4" fmla="*/ 145091 h 182093"/>
                      <a:gd name="connsiteX5" fmla="*/ 9986 w 163264"/>
                      <a:gd name="connsiteY5" fmla="*/ 132396 h 182093"/>
                      <a:gd name="connsiteX6" fmla="*/ 5909 w 163264"/>
                      <a:gd name="connsiteY6" fmla="*/ 126306 h 182093"/>
                      <a:gd name="connsiteX7" fmla="*/ 0 w 163264"/>
                      <a:gd name="connsiteY7" fmla="*/ 106722 h 182093"/>
                      <a:gd name="connsiteX8" fmla="*/ 0 w 163264"/>
                      <a:gd name="connsiteY8" fmla="*/ 45826 h 182093"/>
                      <a:gd name="connsiteX9" fmla="*/ 52535 w 163264"/>
                      <a:gd name="connsiteY9" fmla="*/ 0 h 182093"/>
                      <a:gd name="connsiteX10" fmla="*/ 105045 w 163264"/>
                      <a:gd name="connsiteY10" fmla="*/ 45826 h 182093"/>
                      <a:gd name="connsiteX11" fmla="*/ 104967 w 163264"/>
                      <a:gd name="connsiteY11" fmla="*/ 48252 h 182093"/>
                      <a:gd name="connsiteX12" fmla="*/ 140937 w 163264"/>
                      <a:gd name="connsiteY12" fmla="*/ 101535 h 182093"/>
                      <a:gd name="connsiteX13" fmla="*/ 140111 w 163264"/>
                      <a:gd name="connsiteY13" fmla="*/ 110670 h 182093"/>
                      <a:gd name="connsiteX14" fmla="*/ 162173 w 163264"/>
                      <a:gd name="connsiteY14" fmla="*/ 132035 h 182093"/>
                      <a:gd name="connsiteX15" fmla="*/ 160289 w 163264"/>
                      <a:gd name="connsiteY15" fmla="*/ 141247 h 182093"/>
                      <a:gd name="connsiteX16" fmla="*/ 151078 w 163264"/>
                      <a:gd name="connsiteY16" fmla="*/ 139363 h 182093"/>
                      <a:gd name="connsiteX17" fmla="*/ 129403 w 163264"/>
                      <a:gd name="connsiteY17" fmla="*/ 119804 h 182093"/>
                      <a:gd name="connsiteX18" fmla="*/ 126152 w 163264"/>
                      <a:gd name="connsiteY18" fmla="*/ 112192 h 182093"/>
                      <a:gd name="connsiteX19" fmla="*/ 127648 w 163264"/>
                      <a:gd name="connsiteY19" fmla="*/ 101535 h 182093"/>
                      <a:gd name="connsiteX20" fmla="*/ 95240 w 163264"/>
                      <a:gd name="connsiteY20" fmla="*/ 58470 h 182093"/>
                      <a:gd name="connsiteX21" fmla="*/ 91214 w 163264"/>
                      <a:gd name="connsiteY21" fmla="*/ 51039 h 182093"/>
                      <a:gd name="connsiteX22" fmla="*/ 91756 w 163264"/>
                      <a:gd name="connsiteY22" fmla="*/ 45852 h 182093"/>
                      <a:gd name="connsiteX23" fmla="*/ 52535 w 163264"/>
                      <a:gd name="connsiteY23" fmla="*/ 13314 h 182093"/>
                      <a:gd name="connsiteX24" fmla="*/ 13314 w 163264"/>
                      <a:gd name="connsiteY24" fmla="*/ 45852 h 182093"/>
                      <a:gd name="connsiteX25" fmla="*/ 13314 w 163264"/>
                      <a:gd name="connsiteY25" fmla="*/ 106748 h 182093"/>
                      <a:gd name="connsiteX26" fmla="*/ 16978 w 163264"/>
                      <a:gd name="connsiteY26" fmla="*/ 118953 h 182093"/>
                      <a:gd name="connsiteX27" fmla="*/ 21055 w 163264"/>
                      <a:gd name="connsiteY27" fmla="*/ 125042 h 182093"/>
                      <a:gd name="connsiteX28" fmla="*/ 18372 w 163264"/>
                      <a:gd name="connsiteY28" fmla="*/ 154406 h 182093"/>
                      <a:gd name="connsiteX29" fmla="*/ 17340 w 163264"/>
                      <a:gd name="connsiteY29" fmla="*/ 155464 h 182093"/>
                      <a:gd name="connsiteX30" fmla="*/ 13314 w 163264"/>
                      <a:gd name="connsiteY30" fmla="*/ 165476 h 182093"/>
                      <a:gd name="connsiteX31" fmla="*/ 13314 w 163264"/>
                      <a:gd name="connsiteY31" fmla="*/ 175462 h 182093"/>
                      <a:gd name="connsiteX32" fmla="*/ 6657 w 163264"/>
                      <a:gd name="connsiteY32" fmla="*/ 182093 h 18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3264" h="182093">
                        <a:moveTo>
                          <a:pt x="6657" y="182093"/>
                        </a:moveTo>
                        <a:cubicBezTo>
                          <a:pt x="2993" y="182093"/>
                          <a:pt x="0" y="179126"/>
                          <a:pt x="0" y="175436"/>
                        </a:cubicBezTo>
                        <a:lnTo>
                          <a:pt x="0" y="165450"/>
                        </a:lnTo>
                        <a:cubicBezTo>
                          <a:pt x="0" y="158174"/>
                          <a:pt x="2787" y="151310"/>
                          <a:pt x="7818" y="146149"/>
                        </a:cubicBezTo>
                        <a:lnTo>
                          <a:pt x="8850" y="145091"/>
                        </a:lnTo>
                        <a:cubicBezTo>
                          <a:pt x="12153" y="141711"/>
                          <a:pt x="12644" y="136370"/>
                          <a:pt x="9986" y="132396"/>
                        </a:cubicBezTo>
                        <a:lnTo>
                          <a:pt x="5909" y="126306"/>
                        </a:lnTo>
                        <a:cubicBezTo>
                          <a:pt x="2038" y="120501"/>
                          <a:pt x="0" y="113740"/>
                          <a:pt x="0" y="106722"/>
                        </a:cubicBezTo>
                        <a:lnTo>
                          <a:pt x="0" y="45826"/>
                        </a:lnTo>
                        <a:cubicBezTo>
                          <a:pt x="0" y="20565"/>
                          <a:pt x="23558" y="0"/>
                          <a:pt x="52535" y="0"/>
                        </a:cubicBezTo>
                        <a:cubicBezTo>
                          <a:pt x="81486" y="0"/>
                          <a:pt x="105045" y="20565"/>
                          <a:pt x="105045" y="45826"/>
                        </a:cubicBezTo>
                        <a:cubicBezTo>
                          <a:pt x="105045" y="46626"/>
                          <a:pt x="105019" y="47426"/>
                          <a:pt x="104967" y="48252"/>
                        </a:cubicBezTo>
                        <a:cubicBezTo>
                          <a:pt x="126977" y="59012"/>
                          <a:pt x="140937" y="79448"/>
                          <a:pt x="140937" y="101535"/>
                        </a:cubicBezTo>
                        <a:cubicBezTo>
                          <a:pt x="140937" y="104529"/>
                          <a:pt x="140653" y="107573"/>
                          <a:pt x="140111" y="110670"/>
                        </a:cubicBezTo>
                        <a:cubicBezTo>
                          <a:pt x="149142" y="116321"/>
                          <a:pt x="156522" y="123494"/>
                          <a:pt x="162173" y="132035"/>
                        </a:cubicBezTo>
                        <a:cubicBezTo>
                          <a:pt x="164186" y="135105"/>
                          <a:pt x="163334" y="139234"/>
                          <a:pt x="160289" y="141247"/>
                        </a:cubicBezTo>
                        <a:cubicBezTo>
                          <a:pt x="157219" y="143259"/>
                          <a:pt x="153090" y="142433"/>
                          <a:pt x="151078" y="139363"/>
                        </a:cubicBezTo>
                        <a:cubicBezTo>
                          <a:pt x="145788" y="131312"/>
                          <a:pt x="138486" y="124733"/>
                          <a:pt x="129403" y="119804"/>
                        </a:cubicBezTo>
                        <a:cubicBezTo>
                          <a:pt x="126694" y="118333"/>
                          <a:pt x="125352" y="115185"/>
                          <a:pt x="126152" y="112192"/>
                        </a:cubicBezTo>
                        <a:cubicBezTo>
                          <a:pt x="127132" y="108580"/>
                          <a:pt x="127648" y="104993"/>
                          <a:pt x="127648" y="101535"/>
                        </a:cubicBezTo>
                        <a:cubicBezTo>
                          <a:pt x="127648" y="83344"/>
                          <a:pt x="114927" y="66443"/>
                          <a:pt x="95240" y="58470"/>
                        </a:cubicBezTo>
                        <a:cubicBezTo>
                          <a:pt x="92298" y="57283"/>
                          <a:pt x="90595" y="54161"/>
                          <a:pt x="91214" y="51039"/>
                        </a:cubicBezTo>
                        <a:cubicBezTo>
                          <a:pt x="91575" y="49129"/>
                          <a:pt x="91756" y="47426"/>
                          <a:pt x="91756" y="45852"/>
                        </a:cubicBezTo>
                        <a:cubicBezTo>
                          <a:pt x="91756" y="27919"/>
                          <a:pt x="74158" y="13314"/>
                          <a:pt x="52535" y="13314"/>
                        </a:cubicBezTo>
                        <a:cubicBezTo>
                          <a:pt x="30912" y="13314"/>
                          <a:pt x="13314" y="27919"/>
                          <a:pt x="13314" y="45852"/>
                        </a:cubicBezTo>
                        <a:lnTo>
                          <a:pt x="13314" y="106748"/>
                        </a:lnTo>
                        <a:cubicBezTo>
                          <a:pt x="13314" y="111109"/>
                          <a:pt x="14579" y="115340"/>
                          <a:pt x="16978" y="118953"/>
                        </a:cubicBezTo>
                        <a:lnTo>
                          <a:pt x="21055" y="125042"/>
                        </a:lnTo>
                        <a:cubicBezTo>
                          <a:pt x="27171" y="134202"/>
                          <a:pt x="26035" y="146562"/>
                          <a:pt x="18372" y="154406"/>
                        </a:cubicBezTo>
                        <a:lnTo>
                          <a:pt x="17340" y="155464"/>
                        </a:lnTo>
                        <a:cubicBezTo>
                          <a:pt x="14785" y="158096"/>
                          <a:pt x="13314" y="161734"/>
                          <a:pt x="13314" y="165476"/>
                        </a:cubicBezTo>
                        <a:lnTo>
                          <a:pt x="13314" y="175462"/>
                        </a:lnTo>
                        <a:cubicBezTo>
                          <a:pt x="13314" y="179126"/>
                          <a:pt x="10347" y="182093"/>
                          <a:pt x="6657" y="182093"/>
                        </a:cubicBezTo>
                        <a:close/>
                      </a:path>
                    </a:pathLst>
                  </a:custGeom>
                  <a:grpFill/>
                  <a:ln w="2573" cap="flat">
                    <a:noFill/>
                    <a:prstDash val="solid"/>
                    <a:miter/>
                  </a:ln>
                </p:spPr>
                <p:txBody>
                  <a:bodyPr rtlCol="0" anchor="ctr"/>
                  <a:lstStyle/>
                  <a:p>
                    <a:endParaRPr lang="en-GB" dirty="0"/>
                  </a:p>
                </p:txBody>
              </p:sp>
              <p:sp>
                <p:nvSpPr>
                  <p:cNvPr id="1449" name="Freihandform: Form 1448">
                    <a:extLst>
                      <a:ext uri="{FF2B5EF4-FFF2-40B4-BE49-F238E27FC236}">
                        <a16:creationId xmlns:a16="http://schemas.microsoft.com/office/drawing/2014/main" id="{400991D5-B763-41EB-97D4-DC04D8AF5F5F}"/>
                      </a:ext>
                    </a:extLst>
                  </p:cNvPr>
                  <p:cNvSpPr/>
                  <p:nvPr/>
                </p:nvSpPr>
                <p:spPr>
                  <a:xfrm>
                    <a:off x="1945505" y="3388186"/>
                    <a:ext cx="23169" cy="36717"/>
                  </a:xfrm>
                  <a:custGeom>
                    <a:avLst/>
                    <a:gdLst>
                      <a:gd name="connsiteX0" fmla="*/ 6656 w 23169"/>
                      <a:gd name="connsiteY0" fmla="*/ 36718 h 36717"/>
                      <a:gd name="connsiteX1" fmla="*/ 2269 w 23169"/>
                      <a:gd name="connsiteY1" fmla="*/ 35066 h 36717"/>
                      <a:gd name="connsiteX2" fmla="*/ 1650 w 23169"/>
                      <a:gd name="connsiteY2" fmla="*/ 25674 h 36717"/>
                      <a:gd name="connsiteX3" fmla="*/ 9855 w 23169"/>
                      <a:gd name="connsiteY3" fmla="*/ 6657 h 36717"/>
                      <a:gd name="connsiteX4" fmla="*/ 16513 w 23169"/>
                      <a:gd name="connsiteY4" fmla="*/ 0 h 36717"/>
                      <a:gd name="connsiteX5" fmla="*/ 23170 w 23169"/>
                      <a:gd name="connsiteY5" fmla="*/ 6657 h 36717"/>
                      <a:gd name="connsiteX6" fmla="*/ 11687 w 23169"/>
                      <a:gd name="connsiteY6" fmla="*/ 34421 h 36717"/>
                      <a:gd name="connsiteX7" fmla="*/ 6656 w 23169"/>
                      <a:gd name="connsiteY7" fmla="*/ 36718 h 3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69" h="36717">
                        <a:moveTo>
                          <a:pt x="6656" y="36718"/>
                        </a:moveTo>
                        <a:cubicBezTo>
                          <a:pt x="5108" y="36718"/>
                          <a:pt x="3534" y="36176"/>
                          <a:pt x="2269" y="35066"/>
                        </a:cubicBezTo>
                        <a:cubicBezTo>
                          <a:pt x="-492" y="32641"/>
                          <a:pt x="-776" y="28435"/>
                          <a:pt x="1650" y="25674"/>
                        </a:cubicBezTo>
                        <a:cubicBezTo>
                          <a:pt x="7172" y="19378"/>
                          <a:pt x="9855" y="13160"/>
                          <a:pt x="9855" y="6657"/>
                        </a:cubicBezTo>
                        <a:cubicBezTo>
                          <a:pt x="9855" y="2993"/>
                          <a:pt x="12823" y="0"/>
                          <a:pt x="16513" y="0"/>
                        </a:cubicBezTo>
                        <a:cubicBezTo>
                          <a:pt x="20177" y="0"/>
                          <a:pt x="23170" y="2967"/>
                          <a:pt x="23170" y="6657"/>
                        </a:cubicBezTo>
                        <a:cubicBezTo>
                          <a:pt x="23170" y="16385"/>
                          <a:pt x="19299" y="25726"/>
                          <a:pt x="11687" y="34421"/>
                        </a:cubicBezTo>
                        <a:cubicBezTo>
                          <a:pt x="10346" y="35944"/>
                          <a:pt x="8514" y="36718"/>
                          <a:pt x="6656" y="36718"/>
                        </a:cubicBezTo>
                        <a:close/>
                      </a:path>
                    </a:pathLst>
                  </a:custGeom>
                  <a:grpFill/>
                  <a:ln w="2573" cap="flat">
                    <a:noFill/>
                    <a:prstDash val="solid"/>
                    <a:miter/>
                  </a:ln>
                </p:spPr>
                <p:txBody>
                  <a:bodyPr rtlCol="0" anchor="ctr"/>
                  <a:lstStyle/>
                  <a:p>
                    <a:endParaRPr lang="en-GB" dirty="0"/>
                  </a:p>
                </p:txBody>
              </p:sp>
              <p:sp>
                <p:nvSpPr>
                  <p:cNvPr id="1450" name="Freihandform: Form 1449">
                    <a:extLst>
                      <a:ext uri="{FF2B5EF4-FFF2-40B4-BE49-F238E27FC236}">
                        <a16:creationId xmlns:a16="http://schemas.microsoft.com/office/drawing/2014/main" id="{4ED6148C-A021-45FD-9BA3-8E09B959698B}"/>
                      </a:ext>
                    </a:extLst>
                  </p:cNvPr>
                  <p:cNvSpPr/>
                  <p:nvPr/>
                </p:nvSpPr>
                <p:spPr>
                  <a:xfrm>
                    <a:off x="1943767" y="3445805"/>
                    <a:ext cx="72637" cy="26345"/>
                  </a:xfrm>
                  <a:custGeom>
                    <a:avLst/>
                    <a:gdLst>
                      <a:gd name="connsiteX0" fmla="*/ 65961 w 72637"/>
                      <a:gd name="connsiteY0" fmla="*/ 26345 h 26345"/>
                      <a:gd name="connsiteX1" fmla="*/ 61885 w 72637"/>
                      <a:gd name="connsiteY1" fmla="*/ 24952 h 26345"/>
                      <a:gd name="connsiteX2" fmla="*/ 29450 w 72637"/>
                      <a:gd name="connsiteY2" fmla="*/ 13315 h 26345"/>
                      <a:gd name="connsiteX3" fmla="*/ 9169 w 72637"/>
                      <a:gd name="connsiteY3" fmla="*/ 17288 h 26345"/>
                      <a:gd name="connsiteX4" fmla="*/ 499 w 72637"/>
                      <a:gd name="connsiteY4" fmla="*/ 13650 h 26345"/>
                      <a:gd name="connsiteX5" fmla="*/ 4137 w 72637"/>
                      <a:gd name="connsiteY5" fmla="*/ 4980 h 26345"/>
                      <a:gd name="connsiteX6" fmla="*/ 29476 w 72637"/>
                      <a:gd name="connsiteY6" fmla="*/ 0 h 26345"/>
                      <a:gd name="connsiteX7" fmla="*/ 70064 w 72637"/>
                      <a:gd name="connsiteY7" fmla="*/ 14424 h 26345"/>
                      <a:gd name="connsiteX8" fmla="*/ 71251 w 72637"/>
                      <a:gd name="connsiteY8" fmla="*/ 23765 h 26345"/>
                      <a:gd name="connsiteX9" fmla="*/ 65961 w 72637"/>
                      <a:gd name="connsiteY9" fmla="*/ 26345 h 2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637" h="26345">
                        <a:moveTo>
                          <a:pt x="65961" y="26345"/>
                        </a:moveTo>
                        <a:cubicBezTo>
                          <a:pt x="64542" y="26345"/>
                          <a:pt x="63097" y="25881"/>
                          <a:pt x="61885" y="24952"/>
                        </a:cubicBezTo>
                        <a:cubicBezTo>
                          <a:pt x="51950" y="17237"/>
                          <a:pt x="41036" y="13315"/>
                          <a:pt x="29450" y="13315"/>
                        </a:cubicBezTo>
                        <a:cubicBezTo>
                          <a:pt x="22431" y="13315"/>
                          <a:pt x="15619" y="14656"/>
                          <a:pt x="9169" y="17288"/>
                        </a:cubicBezTo>
                        <a:cubicBezTo>
                          <a:pt x="5763" y="18707"/>
                          <a:pt x="1892" y="17056"/>
                          <a:pt x="499" y="13650"/>
                        </a:cubicBezTo>
                        <a:cubicBezTo>
                          <a:pt x="-895" y="10244"/>
                          <a:pt x="731" y="6373"/>
                          <a:pt x="4137" y="4980"/>
                        </a:cubicBezTo>
                        <a:cubicBezTo>
                          <a:pt x="12188" y="1677"/>
                          <a:pt x="20728" y="0"/>
                          <a:pt x="29476" y="0"/>
                        </a:cubicBezTo>
                        <a:cubicBezTo>
                          <a:pt x="44080" y="0"/>
                          <a:pt x="57730" y="4851"/>
                          <a:pt x="70064" y="14424"/>
                        </a:cubicBezTo>
                        <a:cubicBezTo>
                          <a:pt x="72954" y="16669"/>
                          <a:pt x="73496" y="20849"/>
                          <a:pt x="71251" y="23765"/>
                        </a:cubicBezTo>
                        <a:cubicBezTo>
                          <a:pt x="69909" y="25442"/>
                          <a:pt x="67948" y="26345"/>
                          <a:pt x="65961" y="26345"/>
                        </a:cubicBezTo>
                        <a:close/>
                      </a:path>
                    </a:pathLst>
                  </a:custGeom>
                  <a:grpFill/>
                  <a:ln w="2573" cap="flat">
                    <a:noFill/>
                    <a:prstDash val="solid"/>
                    <a:miter/>
                  </a:ln>
                </p:spPr>
                <p:txBody>
                  <a:bodyPr rtlCol="0" anchor="ctr"/>
                  <a:lstStyle/>
                  <a:p>
                    <a:endParaRPr lang="en-GB" dirty="0"/>
                  </a:p>
                </p:txBody>
              </p:sp>
              <p:sp>
                <p:nvSpPr>
                  <p:cNvPr id="1451" name="Freihandform: Form 1450">
                    <a:extLst>
                      <a:ext uri="{FF2B5EF4-FFF2-40B4-BE49-F238E27FC236}">
                        <a16:creationId xmlns:a16="http://schemas.microsoft.com/office/drawing/2014/main" id="{BBA1BD12-9D06-4E30-A0E0-8E83D679F387}"/>
                      </a:ext>
                    </a:extLst>
                  </p:cNvPr>
                  <p:cNvSpPr/>
                  <p:nvPr/>
                </p:nvSpPr>
                <p:spPr>
                  <a:xfrm>
                    <a:off x="1871090" y="3478549"/>
                    <a:ext cx="35435" cy="20642"/>
                  </a:xfrm>
                  <a:custGeom>
                    <a:avLst/>
                    <a:gdLst>
                      <a:gd name="connsiteX0" fmla="*/ 6655 w 35435"/>
                      <a:gd name="connsiteY0" fmla="*/ 20642 h 20642"/>
                      <a:gd name="connsiteX1" fmla="*/ 2010 w 35435"/>
                      <a:gd name="connsiteY1" fmla="*/ 18758 h 20642"/>
                      <a:gd name="connsiteX2" fmla="*/ 1881 w 35435"/>
                      <a:gd name="connsiteY2" fmla="*/ 9340 h 20642"/>
                      <a:gd name="connsiteX3" fmla="*/ 30110 w 35435"/>
                      <a:gd name="connsiteY3" fmla="*/ 619 h 20642"/>
                      <a:gd name="connsiteX4" fmla="*/ 35296 w 35435"/>
                      <a:gd name="connsiteY4" fmla="*/ 8463 h 20642"/>
                      <a:gd name="connsiteX5" fmla="*/ 27452 w 35435"/>
                      <a:gd name="connsiteY5" fmla="*/ 13649 h 20642"/>
                      <a:gd name="connsiteX6" fmla="*/ 11402 w 35435"/>
                      <a:gd name="connsiteY6" fmla="*/ 18629 h 20642"/>
                      <a:gd name="connsiteX7" fmla="*/ 6655 w 35435"/>
                      <a:gd name="connsiteY7" fmla="*/ 20642 h 2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5" h="20642">
                        <a:moveTo>
                          <a:pt x="6655" y="20642"/>
                        </a:moveTo>
                        <a:cubicBezTo>
                          <a:pt x="4977" y="20642"/>
                          <a:pt x="3300" y="20023"/>
                          <a:pt x="2010" y="18758"/>
                        </a:cubicBezTo>
                        <a:cubicBezTo>
                          <a:pt x="-622" y="16204"/>
                          <a:pt x="-674" y="11972"/>
                          <a:pt x="1881" y="9340"/>
                        </a:cubicBezTo>
                        <a:cubicBezTo>
                          <a:pt x="9209" y="1806"/>
                          <a:pt x="19917" y="-1471"/>
                          <a:pt x="30110" y="619"/>
                        </a:cubicBezTo>
                        <a:cubicBezTo>
                          <a:pt x="33696" y="1341"/>
                          <a:pt x="36044" y="4850"/>
                          <a:pt x="35296" y="8463"/>
                        </a:cubicBezTo>
                        <a:cubicBezTo>
                          <a:pt x="34574" y="12076"/>
                          <a:pt x="31064" y="14398"/>
                          <a:pt x="27452" y="13649"/>
                        </a:cubicBezTo>
                        <a:cubicBezTo>
                          <a:pt x="21672" y="12488"/>
                          <a:pt x="15582" y="14346"/>
                          <a:pt x="11402" y="18629"/>
                        </a:cubicBezTo>
                        <a:cubicBezTo>
                          <a:pt x="10112" y="19971"/>
                          <a:pt x="8383" y="20642"/>
                          <a:pt x="6655" y="20642"/>
                        </a:cubicBezTo>
                        <a:close/>
                      </a:path>
                    </a:pathLst>
                  </a:custGeom>
                  <a:grpFill/>
                  <a:ln w="2573" cap="flat">
                    <a:noFill/>
                    <a:prstDash val="solid"/>
                    <a:miter/>
                  </a:ln>
                </p:spPr>
                <p:txBody>
                  <a:bodyPr rtlCol="0" anchor="ctr"/>
                  <a:lstStyle/>
                  <a:p>
                    <a:endParaRPr lang="en-GB" dirty="0"/>
                  </a:p>
                </p:txBody>
              </p:sp>
            </p:grpSp>
          </p:grpSp>
          <p:grpSp>
            <p:nvGrpSpPr>
              <p:cNvPr id="1434" name="Grafik 312">
                <a:extLst>
                  <a:ext uri="{FF2B5EF4-FFF2-40B4-BE49-F238E27FC236}">
                    <a16:creationId xmlns:a16="http://schemas.microsoft.com/office/drawing/2014/main" id="{1ACDA089-42E9-4C00-9834-B8FCCCAC17F7}"/>
                  </a:ext>
                </a:extLst>
              </p:cNvPr>
              <p:cNvGrpSpPr/>
              <p:nvPr/>
            </p:nvGrpSpPr>
            <p:grpSpPr>
              <a:xfrm>
                <a:off x="1703289" y="3342592"/>
                <a:ext cx="174042" cy="350794"/>
                <a:chOff x="1703289" y="3342592"/>
                <a:chExt cx="174042" cy="350794"/>
              </a:xfrm>
              <a:grpFill/>
            </p:grpSpPr>
            <p:sp>
              <p:nvSpPr>
                <p:cNvPr id="1435" name="Freihandform: Form 1434">
                  <a:extLst>
                    <a:ext uri="{FF2B5EF4-FFF2-40B4-BE49-F238E27FC236}">
                      <a16:creationId xmlns:a16="http://schemas.microsoft.com/office/drawing/2014/main" id="{75DCA6E7-F6DC-4355-A5D6-6DF515DB0C22}"/>
                    </a:ext>
                  </a:extLst>
                </p:cNvPr>
                <p:cNvSpPr/>
                <p:nvPr/>
              </p:nvSpPr>
              <p:spPr>
                <a:xfrm>
                  <a:off x="1813920" y="3404906"/>
                  <a:ext cx="30002" cy="28539"/>
                </a:xfrm>
                <a:custGeom>
                  <a:avLst/>
                  <a:gdLst>
                    <a:gd name="connsiteX0" fmla="*/ 23314 w 30002"/>
                    <a:gd name="connsiteY0" fmla="*/ 28539 h 28539"/>
                    <a:gd name="connsiteX1" fmla="*/ 16682 w 30002"/>
                    <a:gd name="connsiteY1" fmla="*/ 22166 h 28539"/>
                    <a:gd name="connsiteX2" fmla="*/ 13663 w 30002"/>
                    <a:gd name="connsiteY2" fmla="*/ 15612 h 28539"/>
                    <a:gd name="connsiteX3" fmla="*/ 7058 w 30002"/>
                    <a:gd name="connsiteY3" fmla="*/ 13315 h 28539"/>
                    <a:gd name="connsiteX4" fmla="*/ 14 w 30002"/>
                    <a:gd name="connsiteY4" fmla="*/ 7097 h 28539"/>
                    <a:gd name="connsiteX5" fmla="*/ 6232 w 30002"/>
                    <a:gd name="connsiteY5" fmla="*/ 52 h 28539"/>
                    <a:gd name="connsiteX6" fmla="*/ 22591 w 30002"/>
                    <a:gd name="connsiteY6" fmla="*/ 5729 h 28539"/>
                    <a:gd name="connsiteX7" fmla="*/ 29997 w 30002"/>
                    <a:gd name="connsiteY7" fmla="*/ 21598 h 28539"/>
                    <a:gd name="connsiteX8" fmla="*/ 23623 w 30002"/>
                    <a:gd name="connsiteY8" fmla="*/ 28513 h 28539"/>
                    <a:gd name="connsiteX9" fmla="*/ 23314 w 30002"/>
                    <a:gd name="connsiteY9" fmla="*/ 28539 h 2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02" h="28539">
                      <a:moveTo>
                        <a:pt x="23314" y="28539"/>
                      </a:moveTo>
                      <a:cubicBezTo>
                        <a:pt x="19753" y="28539"/>
                        <a:pt x="16811" y="25752"/>
                        <a:pt x="16682" y="22166"/>
                      </a:cubicBezTo>
                      <a:cubicBezTo>
                        <a:pt x="16579" y="19611"/>
                        <a:pt x="15495" y="17289"/>
                        <a:pt x="13663" y="15612"/>
                      </a:cubicBezTo>
                      <a:cubicBezTo>
                        <a:pt x="11857" y="13986"/>
                        <a:pt x="9509" y="13186"/>
                        <a:pt x="7058" y="13315"/>
                      </a:cubicBezTo>
                      <a:cubicBezTo>
                        <a:pt x="3394" y="13496"/>
                        <a:pt x="220" y="10761"/>
                        <a:pt x="14" y="7097"/>
                      </a:cubicBezTo>
                      <a:cubicBezTo>
                        <a:pt x="-219" y="3433"/>
                        <a:pt x="2568" y="285"/>
                        <a:pt x="6232" y="52"/>
                      </a:cubicBezTo>
                      <a:cubicBezTo>
                        <a:pt x="12244" y="-361"/>
                        <a:pt x="18102" y="1678"/>
                        <a:pt x="22591" y="5729"/>
                      </a:cubicBezTo>
                      <a:cubicBezTo>
                        <a:pt x="27133" y="9806"/>
                        <a:pt x="29765" y="15457"/>
                        <a:pt x="29997" y="21598"/>
                      </a:cubicBezTo>
                      <a:cubicBezTo>
                        <a:pt x="30152" y="25262"/>
                        <a:pt x="27288" y="28358"/>
                        <a:pt x="23623" y="28513"/>
                      </a:cubicBezTo>
                      <a:cubicBezTo>
                        <a:pt x="23494" y="28539"/>
                        <a:pt x="23417" y="28539"/>
                        <a:pt x="23314" y="28539"/>
                      </a:cubicBezTo>
                      <a:close/>
                    </a:path>
                  </a:pathLst>
                </a:custGeom>
                <a:grpFill/>
                <a:ln w="2573" cap="flat">
                  <a:noFill/>
                  <a:prstDash val="solid"/>
                  <a:miter/>
                </a:ln>
              </p:spPr>
              <p:txBody>
                <a:bodyPr rtlCol="0" anchor="ctr"/>
                <a:lstStyle/>
                <a:p>
                  <a:endParaRPr lang="en-GB" dirty="0"/>
                </a:p>
              </p:txBody>
            </p:sp>
            <p:grpSp>
              <p:nvGrpSpPr>
                <p:cNvPr id="1436" name="Grafik 312">
                  <a:extLst>
                    <a:ext uri="{FF2B5EF4-FFF2-40B4-BE49-F238E27FC236}">
                      <a16:creationId xmlns:a16="http://schemas.microsoft.com/office/drawing/2014/main" id="{E9F39BE7-AB2F-4E72-BEE6-9A40B486FE21}"/>
                    </a:ext>
                  </a:extLst>
                </p:cNvPr>
                <p:cNvGrpSpPr/>
                <p:nvPr/>
              </p:nvGrpSpPr>
              <p:grpSpPr>
                <a:xfrm>
                  <a:off x="1776790" y="3517863"/>
                  <a:ext cx="66690" cy="61705"/>
                  <a:chOff x="1776790" y="3517863"/>
                  <a:chExt cx="66690" cy="61705"/>
                </a:xfrm>
                <a:grpFill/>
              </p:grpSpPr>
              <p:sp>
                <p:nvSpPr>
                  <p:cNvPr id="1444" name="Freihandform: Form 1443">
                    <a:extLst>
                      <a:ext uri="{FF2B5EF4-FFF2-40B4-BE49-F238E27FC236}">
                        <a16:creationId xmlns:a16="http://schemas.microsoft.com/office/drawing/2014/main" id="{0CB9E694-DE51-4A71-B0DC-B09B4797B348}"/>
                      </a:ext>
                    </a:extLst>
                  </p:cNvPr>
                  <p:cNvSpPr/>
                  <p:nvPr/>
                </p:nvSpPr>
                <p:spPr>
                  <a:xfrm>
                    <a:off x="1776790" y="3541184"/>
                    <a:ext cx="38202" cy="38384"/>
                  </a:xfrm>
                  <a:custGeom>
                    <a:avLst/>
                    <a:gdLst>
                      <a:gd name="connsiteX0" fmla="*/ 29609 w 38202"/>
                      <a:gd name="connsiteY0" fmla="*/ 38385 h 38384"/>
                      <a:gd name="connsiteX1" fmla="*/ 26538 w 38202"/>
                      <a:gd name="connsiteY1" fmla="*/ 37636 h 38384"/>
                      <a:gd name="connsiteX2" fmla="*/ 23726 w 38202"/>
                      <a:gd name="connsiteY2" fmla="*/ 28657 h 38384"/>
                      <a:gd name="connsiteX3" fmla="*/ 19597 w 38202"/>
                      <a:gd name="connsiteY3" fmla="*/ 14517 h 38384"/>
                      <a:gd name="connsiteX4" fmla="*/ 10024 w 38202"/>
                      <a:gd name="connsiteY4" fmla="*/ 14672 h 38384"/>
                      <a:gd name="connsiteX5" fmla="*/ 916 w 38202"/>
                      <a:gd name="connsiteY5" fmla="*/ 12298 h 38384"/>
                      <a:gd name="connsiteX6" fmla="*/ 3289 w 38202"/>
                      <a:gd name="connsiteY6" fmla="*/ 3189 h 38384"/>
                      <a:gd name="connsiteX7" fmla="*/ 25970 w 38202"/>
                      <a:gd name="connsiteY7" fmla="*/ 2854 h 38384"/>
                      <a:gd name="connsiteX8" fmla="*/ 35492 w 38202"/>
                      <a:gd name="connsiteY8" fmla="*/ 34824 h 38384"/>
                      <a:gd name="connsiteX9" fmla="*/ 29609 w 38202"/>
                      <a:gd name="connsiteY9" fmla="*/ 38385 h 3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02" h="38384">
                        <a:moveTo>
                          <a:pt x="29609" y="38385"/>
                        </a:moveTo>
                        <a:cubicBezTo>
                          <a:pt x="28577" y="38385"/>
                          <a:pt x="27519" y="38152"/>
                          <a:pt x="26538" y="37636"/>
                        </a:cubicBezTo>
                        <a:cubicBezTo>
                          <a:pt x="23287" y="35933"/>
                          <a:pt x="22023" y="31908"/>
                          <a:pt x="23726" y="28657"/>
                        </a:cubicBezTo>
                        <a:cubicBezTo>
                          <a:pt x="26383" y="23548"/>
                          <a:pt x="24525" y="17200"/>
                          <a:pt x="19597" y="14517"/>
                        </a:cubicBezTo>
                        <a:cubicBezTo>
                          <a:pt x="16578" y="12865"/>
                          <a:pt x="13017" y="12917"/>
                          <a:pt x="10024" y="14672"/>
                        </a:cubicBezTo>
                        <a:cubicBezTo>
                          <a:pt x="6850" y="16530"/>
                          <a:pt x="2773" y="15471"/>
                          <a:pt x="916" y="12298"/>
                        </a:cubicBezTo>
                        <a:cubicBezTo>
                          <a:pt x="-942" y="9124"/>
                          <a:pt x="116" y="5047"/>
                          <a:pt x="3289" y="3189"/>
                        </a:cubicBezTo>
                        <a:cubicBezTo>
                          <a:pt x="10334" y="-939"/>
                          <a:pt x="18797" y="-1068"/>
                          <a:pt x="25970" y="2854"/>
                        </a:cubicBezTo>
                        <a:cubicBezTo>
                          <a:pt x="37221" y="9021"/>
                          <a:pt x="41478" y="23341"/>
                          <a:pt x="35492" y="34824"/>
                        </a:cubicBezTo>
                        <a:cubicBezTo>
                          <a:pt x="34305" y="37095"/>
                          <a:pt x="32008" y="38385"/>
                          <a:pt x="29609" y="38385"/>
                        </a:cubicBezTo>
                        <a:close/>
                      </a:path>
                    </a:pathLst>
                  </a:custGeom>
                  <a:grpFill/>
                  <a:ln w="2573" cap="flat">
                    <a:noFill/>
                    <a:prstDash val="solid"/>
                    <a:miter/>
                  </a:ln>
                </p:spPr>
                <p:txBody>
                  <a:bodyPr rtlCol="0" anchor="ctr"/>
                  <a:lstStyle/>
                  <a:p>
                    <a:endParaRPr lang="en-GB" dirty="0"/>
                  </a:p>
                </p:txBody>
              </p:sp>
              <p:sp>
                <p:nvSpPr>
                  <p:cNvPr id="1445" name="Freihandform: Form 1444">
                    <a:extLst>
                      <a:ext uri="{FF2B5EF4-FFF2-40B4-BE49-F238E27FC236}">
                        <a16:creationId xmlns:a16="http://schemas.microsoft.com/office/drawing/2014/main" id="{F23A477D-9E9A-4E32-8C61-493CA0A38507}"/>
                      </a:ext>
                    </a:extLst>
                  </p:cNvPr>
                  <p:cNvSpPr/>
                  <p:nvPr/>
                </p:nvSpPr>
                <p:spPr>
                  <a:xfrm>
                    <a:off x="1797870" y="3517863"/>
                    <a:ext cx="45610" cy="46146"/>
                  </a:xfrm>
                  <a:custGeom>
                    <a:avLst/>
                    <a:gdLst>
                      <a:gd name="connsiteX0" fmla="*/ 9096 w 45610"/>
                      <a:gd name="connsiteY0" fmla="*/ 46147 h 46146"/>
                      <a:gd name="connsiteX1" fmla="*/ 3162 w 45610"/>
                      <a:gd name="connsiteY1" fmla="*/ 42482 h 46146"/>
                      <a:gd name="connsiteX2" fmla="*/ 3342 w 45610"/>
                      <a:gd name="connsiteY2" fmla="*/ 15467 h 46146"/>
                      <a:gd name="connsiteX3" fmla="*/ 20450 w 45610"/>
                      <a:gd name="connsiteY3" fmla="*/ 1223 h 46146"/>
                      <a:gd name="connsiteX4" fmla="*/ 42150 w 45610"/>
                      <a:gd name="connsiteY4" fmla="*/ 3494 h 46146"/>
                      <a:gd name="connsiteX5" fmla="*/ 44782 w 45610"/>
                      <a:gd name="connsiteY5" fmla="*/ 12525 h 46146"/>
                      <a:gd name="connsiteX6" fmla="*/ 35751 w 45610"/>
                      <a:gd name="connsiteY6" fmla="*/ 15157 h 46146"/>
                      <a:gd name="connsiteX7" fmla="*/ 24294 w 45610"/>
                      <a:gd name="connsiteY7" fmla="*/ 13944 h 46146"/>
                      <a:gd name="connsiteX8" fmla="*/ 15134 w 45610"/>
                      <a:gd name="connsiteY8" fmla="*/ 21634 h 46146"/>
                      <a:gd name="connsiteX9" fmla="*/ 15031 w 45610"/>
                      <a:gd name="connsiteY9" fmla="*/ 36522 h 46146"/>
                      <a:gd name="connsiteX10" fmla="*/ 12090 w 45610"/>
                      <a:gd name="connsiteY10" fmla="*/ 45450 h 46146"/>
                      <a:gd name="connsiteX11" fmla="*/ 9096 w 45610"/>
                      <a:gd name="connsiteY11" fmla="*/ 46147 h 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10" h="46146">
                        <a:moveTo>
                          <a:pt x="9096" y="46147"/>
                        </a:moveTo>
                        <a:cubicBezTo>
                          <a:pt x="6671" y="46147"/>
                          <a:pt x="4323" y="44805"/>
                          <a:pt x="3162" y="42482"/>
                        </a:cubicBezTo>
                        <a:cubicBezTo>
                          <a:pt x="-1122" y="33993"/>
                          <a:pt x="-1044" y="23878"/>
                          <a:pt x="3342" y="15467"/>
                        </a:cubicBezTo>
                        <a:cubicBezTo>
                          <a:pt x="6980" y="8525"/>
                          <a:pt x="13044" y="3468"/>
                          <a:pt x="20450" y="1223"/>
                        </a:cubicBezTo>
                        <a:cubicBezTo>
                          <a:pt x="27752" y="-996"/>
                          <a:pt x="35441" y="-170"/>
                          <a:pt x="42150" y="3494"/>
                        </a:cubicBezTo>
                        <a:cubicBezTo>
                          <a:pt x="45376" y="5248"/>
                          <a:pt x="46563" y="9300"/>
                          <a:pt x="44782" y="12525"/>
                        </a:cubicBezTo>
                        <a:cubicBezTo>
                          <a:pt x="43028" y="15750"/>
                          <a:pt x="38976" y="16937"/>
                          <a:pt x="35751" y="15157"/>
                        </a:cubicBezTo>
                        <a:cubicBezTo>
                          <a:pt x="32216" y="13222"/>
                          <a:pt x="28139" y="12783"/>
                          <a:pt x="24294" y="13944"/>
                        </a:cubicBezTo>
                        <a:cubicBezTo>
                          <a:pt x="20347" y="15131"/>
                          <a:pt x="17095" y="17866"/>
                          <a:pt x="15134" y="21634"/>
                        </a:cubicBezTo>
                        <a:cubicBezTo>
                          <a:pt x="12709" y="26278"/>
                          <a:pt x="12683" y="31826"/>
                          <a:pt x="15031" y="36522"/>
                        </a:cubicBezTo>
                        <a:cubicBezTo>
                          <a:pt x="16683" y="39799"/>
                          <a:pt x="15367" y="43798"/>
                          <a:pt x="12090" y="45450"/>
                        </a:cubicBezTo>
                        <a:cubicBezTo>
                          <a:pt x="11109" y="45914"/>
                          <a:pt x="10103" y="46147"/>
                          <a:pt x="9096" y="46147"/>
                        </a:cubicBezTo>
                        <a:close/>
                      </a:path>
                    </a:pathLst>
                  </a:custGeom>
                  <a:grpFill/>
                  <a:ln w="2573" cap="flat">
                    <a:noFill/>
                    <a:prstDash val="solid"/>
                    <a:miter/>
                  </a:ln>
                </p:spPr>
                <p:txBody>
                  <a:bodyPr rtlCol="0" anchor="ctr"/>
                  <a:lstStyle/>
                  <a:p>
                    <a:endParaRPr lang="en-GB" dirty="0"/>
                  </a:p>
                </p:txBody>
              </p:sp>
            </p:grpSp>
            <p:grpSp>
              <p:nvGrpSpPr>
                <p:cNvPr id="1437" name="Grafik 312">
                  <a:extLst>
                    <a:ext uri="{FF2B5EF4-FFF2-40B4-BE49-F238E27FC236}">
                      <a16:creationId xmlns:a16="http://schemas.microsoft.com/office/drawing/2014/main" id="{A4CFE559-FA62-43B5-A33A-25CFE87B7437}"/>
                    </a:ext>
                  </a:extLst>
                </p:cNvPr>
                <p:cNvGrpSpPr/>
                <p:nvPr/>
              </p:nvGrpSpPr>
              <p:grpSpPr>
                <a:xfrm>
                  <a:off x="1703289" y="3342592"/>
                  <a:ext cx="174042" cy="350794"/>
                  <a:chOff x="1703289" y="3342592"/>
                  <a:chExt cx="174042" cy="350794"/>
                </a:xfrm>
                <a:grpFill/>
              </p:grpSpPr>
              <p:sp>
                <p:nvSpPr>
                  <p:cNvPr id="1438" name="Freihandform: Form 1437">
                    <a:extLst>
                      <a:ext uri="{FF2B5EF4-FFF2-40B4-BE49-F238E27FC236}">
                        <a16:creationId xmlns:a16="http://schemas.microsoft.com/office/drawing/2014/main" id="{B53ADE83-36AB-4A45-B773-D2FC6D58FA62}"/>
                      </a:ext>
                    </a:extLst>
                  </p:cNvPr>
                  <p:cNvSpPr/>
                  <p:nvPr/>
                </p:nvSpPr>
                <p:spPr>
                  <a:xfrm>
                    <a:off x="1703289" y="3342592"/>
                    <a:ext cx="174042" cy="350794"/>
                  </a:xfrm>
                  <a:custGeom>
                    <a:avLst/>
                    <a:gdLst>
                      <a:gd name="connsiteX0" fmla="*/ 121507 w 174042"/>
                      <a:gd name="connsiteY0" fmla="*/ 350794 h 350794"/>
                      <a:gd name="connsiteX1" fmla="*/ 68998 w 174042"/>
                      <a:gd name="connsiteY1" fmla="*/ 304968 h 350794"/>
                      <a:gd name="connsiteX2" fmla="*/ 68998 w 174042"/>
                      <a:gd name="connsiteY2" fmla="*/ 304116 h 350794"/>
                      <a:gd name="connsiteX3" fmla="*/ 29725 w 174042"/>
                      <a:gd name="connsiteY3" fmla="*/ 249285 h 350794"/>
                      <a:gd name="connsiteX4" fmla="*/ 31919 w 174042"/>
                      <a:gd name="connsiteY4" fmla="*/ 234267 h 350794"/>
                      <a:gd name="connsiteX5" fmla="*/ 0 w 174042"/>
                      <a:gd name="connsiteY5" fmla="*/ 173088 h 350794"/>
                      <a:gd name="connsiteX6" fmla="*/ 33931 w 174042"/>
                      <a:gd name="connsiteY6" fmla="*/ 110670 h 350794"/>
                      <a:gd name="connsiteX7" fmla="*/ 33105 w 174042"/>
                      <a:gd name="connsiteY7" fmla="*/ 101536 h 350794"/>
                      <a:gd name="connsiteX8" fmla="*/ 69075 w 174042"/>
                      <a:gd name="connsiteY8" fmla="*/ 48252 h 350794"/>
                      <a:gd name="connsiteX9" fmla="*/ 68998 w 174042"/>
                      <a:gd name="connsiteY9" fmla="*/ 45826 h 350794"/>
                      <a:gd name="connsiteX10" fmla="*/ 121507 w 174042"/>
                      <a:gd name="connsiteY10" fmla="*/ 0 h 350794"/>
                      <a:gd name="connsiteX11" fmla="*/ 174042 w 174042"/>
                      <a:gd name="connsiteY11" fmla="*/ 45826 h 350794"/>
                      <a:gd name="connsiteX12" fmla="*/ 174042 w 174042"/>
                      <a:gd name="connsiteY12" fmla="*/ 106722 h 350794"/>
                      <a:gd name="connsiteX13" fmla="*/ 168133 w 174042"/>
                      <a:gd name="connsiteY13" fmla="*/ 126307 h 350794"/>
                      <a:gd name="connsiteX14" fmla="*/ 164057 w 174042"/>
                      <a:gd name="connsiteY14" fmla="*/ 132396 h 350794"/>
                      <a:gd name="connsiteX15" fmla="*/ 165192 w 174042"/>
                      <a:gd name="connsiteY15" fmla="*/ 145091 h 350794"/>
                      <a:gd name="connsiteX16" fmla="*/ 166224 w 174042"/>
                      <a:gd name="connsiteY16" fmla="*/ 146149 h 350794"/>
                      <a:gd name="connsiteX17" fmla="*/ 174042 w 174042"/>
                      <a:gd name="connsiteY17" fmla="*/ 165450 h 350794"/>
                      <a:gd name="connsiteX18" fmla="*/ 167385 w 174042"/>
                      <a:gd name="connsiteY18" fmla="*/ 172107 h 350794"/>
                      <a:gd name="connsiteX19" fmla="*/ 160728 w 174042"/>
                      <a:gd name="connsiteY19" fmla="*/ 165450 h 350794"/>
                      <a:gd name="connsiteX20" fmla="*/ 156703 w 174042"/>
                      <a:gd name="connsiteY20" fmla="*/ 155439 h 350794"/>
                      <a:gd name="connsiteX21" fmla="*/ 155671 w 174042"/>
                      <a:gd name="connsiteY21" fmla="*/ 154381 h 350794"/>
                      <a:gd name="connsiteX22" fmla="*/ 152987 w 174042"/>
                      <a:gd name="connsiteY22" fmla="*/ 125016 h 350794"/>
                      <a:gd name="connsiteX23" fmla="*/ 157064 w 174042"/>
                      <a:gd name="connsiteY23" fmla="*/ 118927 h 350794"/>
                      <a:gd name="connsiteX24" fmla="*/ 160754 w 174042"/>
                      <a:gd name="connsiteY24" fmla="*/ 106722 h 350794"/>
                      <a:gd name="connsiteX25" fmla="*/ 160754 w 174042"/>
                      <a:gd name="connsiteY25" fmla="*/ 45826 h 350794"/>
                      <a:gd name="connsiteX26" fmla="*/ 121533 w 174042"/>
                      <a:gd name="connsiteY26" fmla="*/ 13289 h 350794"/>
                      <a:gd name="connsiteX27" fmla="*/ 82312 w 174042"/>
                      <a:gd name="connsiteY27" fmla="*/ 45826 h 350794"/>
                      <a:gd name="connsiteX28" fmla="*/ 82854 w 174042"/>
                      <a:gd name="connsiteY28" fmla="*/ 51013 h 350794"/>
                      <a:gd name="connsiteX29" fmla="*/ 78829 w 174042"/>
                      <a:gd name="connsiteY29" fmla="*/ 58444 h 350794"/>
                      <a:gd name="connsiteX30" fmla="*/ 46420 w 174042"/>
                      <a:gd name="connsiteY30" fmla="*/ 101510 h 350794"/>
                      <a:gd name="connsiteX31" fmla="*/ 47916 w 174042"/>
                      <a:gd name="connsiteY31" fmla="*/ 112167 h 350794"/>
                      <a:gd name="connsiteX32" fmla="*/ 44665 w 174042"/>
                      <a:gd name="connsiteY32" fmla="*/ 119779 h 350794"/>
                      <a:gd name="connsiteX33" fmla="*/ 13314 w 174042"/>
                      <a:gd name="connsiteY33" fmla="*/ 173062 h 350794"/>
                      <a:gd name="connsiteX34" fmla="*/ 43246 w 174042"/>
                      <a:gd name="connsiteY34" fmla="*/ 225623 h 350794"/>
                      <a:gd name="connsiteX35" fmla="*/ 46110 w 174042"/>
                      <a:gd name="connsiteY35" fmla="*/ 233906 h 350794"/>
                      <a:gd name="connsiteX36" fmla="*/ 43014 w 174042"/>
                      <a:gd name="connsiteY36" fmla="*/ 249259 h 350794"/>
                      <a:gd name="connsiteX37" fmla="*/ 78261 w 174042"/>
                      <a:gd name="connsiteY37" fmla="*/ 293434 h 350794"/>
                      <a:gd name="connsiteX38" fmla="*/ 82648 w 174042"/>
                      <a:gd name="connsiteY38" fmla="*/ 300736 h 350794"/>
                      <a:gd name="connsiteX39" fmla="*/ 82260 w 174042"/>
                      <a:gd name="connsiteY39" fmla="*/ 304942 h 350794"/>
                      <a:gd name="connsiteX40" fmla="*/ 121481 w 174042"/>
                      <a:gd name="connsiteY40" fmla="*/ 337480 h 350794"/>
                      <a:gd name="connsiteX41" fmla="*/ 152445 w 174042"/>
                      <a:gd name="connsiteY41" fmla="*/ 324888 h 350794"/>
                      <a:gd name="connsiteX42" fmla="*/ 161838 w 174042"/>
                      <a:gd name="connsiteY42" fmla="*/ 324578 h 350794"/>
                      <a:gd name="connsiteX43" fmla="*/ 162147 w 174042"/>
                      <a:gd name="connsiteY43" fmla="*/ 333971 h 350794"/>
                      <a:gd name="connsiteX44" fmla="*/ 121507 w 174042"/>
                      <a:gd name="connsiteY44" fmla="*/ 350794 h 35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4042" h="350794">
                        <a:moveTo>
                          <a:pt x="121507" y="350794"/>
                        </a:moveTo>
                        <a:cubicBezTo>
                          <a:pt x="92556" y="350794"/>
                          <a:pt x="68998" y="330229"/>
                          <a:pt x="68998" y="304968"/>
                        </a:cubicBezTo>
                        <a:cubicBezTo>
                          <a:pt x="68998" y="304684"/>
                          <a:pt x="68998" y="304400"/>
                          <a:pt x="68998" y="304116"/>
                        </a:cubicBezTo>
                        <a:cubicBezTo>
                          <a:pt x="44975" y="293873"/>
                          <a:pt x="29725" y="272817"/>
                          <a:pt x="29725" y="249285"/>
                        </a:cubicBezTo>
                        <a:cubicBezTo>
                          <a:pt x="29725" y="244227"/>
                          <a:pt x="30474" y="239221"/>
                          <a:pt x="31919" y="234267"/>
                        </a:cubicBezTo>
                        <a:cubicBezTo>
                          <a:pt x="11560" y="220643"/>
                          <a:pt x="0" y="198659"/>
                          <a:pt x="0" y="173088"/>
                        </a:cubicBezTo>
                        <a:cubicBezTo>
                          <a:pt x="0" y="146743"/>
                          <a:pt x="12282" y="124242"/>
                          <a:pt x="33931" y="110670"/>
                        </a:cubicBezTo>
                        <a:cubicBezTo>
                          <a:pt x="33389" y="107599"/>
                          <a:pt x="33105" y="104555"/>
                          <a:pt x="33105" y="101536"/>
                        </a:cubicBezTo>
                        <a:cubicBezTo>
                          <a:pt x="33105" y="79448"/>
                          <a:pt x="47065" y="59012"/>
                          <a:pt x="69075" y="48252"/>
                        </a:cubicBezTo>
                        <a:cubicBezTo>
                          <a:pt x="69024" y="47426"/>
                          <a:pt x="68998" y="46626"/>
                          <a:pt x="68998" y="45826"/>
                        </a:cubicBezTo>
                        <a:cubicBezTo>
                          <a:pt x="68998" y="20565"/>
                          <a:pt x="92556" y="0"/>
                          <a:pt x="121507" y="0"/>
                        </a:cubicBezTo>
                        <a:cubicBezTo>
                          <a:pt x="150458" y="0"/>
                          <a:pt x="174042" y="20565"/>
                          <a:pt x="174042" y="45826"/>
                        </a:cubicBezTo>
                        <a:lnTo>
                          <a:pt x="174042" y="106722"/>
                        </a:lnTo>
                        <a:cubicBezTo>
                          <a:pt x="174042" y="113740"/>
                          <a:pt x="172004" y="120501"/>
                          <a:pt x="168133" y="126307"/>
                        </a:cubicBezTo>
                        <a:lnTo>
                          <a:pt x="164057" y="132396"/>
                        </a:lnTo>
                        <a:cubicBezTo>
                          <a:pt x="161399" y="136370"/>
                          <a:pt x="161889" y="141711"/>
                          <a:pt x="165192" y="145091"/>
                        </a:cubicBezTo>
                        <a:lnTo>
                          <a:pt x="166224" y="146149"/>
                        </a:lnTo>
                        <a:cubicBezTo>
                          <a:pt x="171256" y="151310"/>
                          <a:pt x="174042" y="158148"/>
                          <a:pt x="174042" y="165450"/>
                        </a:cubicBezTo>
                        <a:cubicBezTo>
                          <a:pt x="174042" y="169114"/>
                          <a:pt x="171075" y="172107"/>
                          <a:pt x="167385" y="172107"/>
                        </a:cubicBezTo>
                        <a:cubicBezTo>
                          <a:pt x="163721" y="172107"/>
                          <a:pt x="160728" y="169140"/>
                          <a:pt x="160728" y="165450"/>
                        </a:cubicBezTo>
                        <a:cubicBezTo>
                          <a:pt x="160728" y="161709"/>
                          <a:pt x="159257" y="158070"/>
                          <a:pt x="156703" y="155439"/>
                        </a:cubicBezTo>
                        <a:lnTo>
                          <a:pt x="155671" y="154381"/>
                        </a:lnTo>
                        <a:cubicBezTo>
                          <a:pt x="148007" y="146536"/>
                          <a:pt x="146872" y="134177"/>
                          <a:pt x="152987" y="125016"/>
                        </a:cubicBezTo>
                        <a:lnTo>
                          <a:pt x="157064" y="118927"/>
                        </a:lnTo>
                        <a:cubicBezTo>
                          <a:pt x="159464" y="115314"/>
                          <a:pt x="160754" y="111109"/>
                          <a:pt x="160754" y="106722"/>
                        </a:cubicBezTo>
                        <a:lnTo>
                          <a:pt x="160754" y="45826"/>
                        </a:lnTo>
                        <a:cubicBezTo>
                          <a:pt x="160754" y="27893"/>
                          <a:pt x="143156" y="13289"/>
                          <a:pt x="121533" y="13289"/>
                        </a:cubicBezTo>
                        <a:cubicBezTo>
                          <a:pt x="99910" y="13289"/>
                          <a:pt x="82312" y="27893"/>
                          <a:pt x="82312" y="45826"/>
                        </a:cubicBezTo>
                        <a:cubicBezTo>
                          <a:pt x="82312" y="47401"/>
                          <a:pt x="82493" y="49104"/>
                          <a:pt x="82854" y="51013"/>
                        </a:cubicBezTo>
                        <a:cubicBezTo>
                          <a:pt x="83473" y="54135"/>
                          <a:pt x="81770" y="57257"/>
                          <a:pt x="78829" y="58444"/>
                        </a:cubicBezTo>
                        <a:cubicBezTo>
                          <a:pt x="59141" y="66418"/>
                          <a:pt x="46420" y="83319"/>
                          <a:pt x="46420" y="101510"/>
                        </a:cubicBezTo>
                        <a:cubicBezTo>
                          <a:pt x="46420" y="104967"/>
                          <a:pt x="46936" y="108554"/>
                          <a:pt x="47916" y="112167"/>
                        </a:cubicBezTo>
                        <a:cubicBezTo>
                          <a:pt x="48716" y="115160"/>
                          <a:pt x="47375" y="118282"/>
                          <a:pt x="44665" y="119779"/>
                        </a:cubicBezTo>
                        <a:cubicBezTo>
                          <a:pt x="24461" y="130745"/>
                          <a:pt x="13314" y="149658"/>
                          <a:pt x="13314" y="173062"/>
                        </a:cubicBezTo>
                        <a:cubicBezTo>
                          <a:pt x="13314" y="195975"/>
                          <a:pt x="23945" y="214631"/>
                          <a:pt x="43246" y="225623"/>
                        </a:cubicBezTo>
                        <a:cubicBezTo>
                          <a:pt x="46136" y="227275"/>
                          <a:pt x="47375" y="230810"/>
                          <a:pt x="46110" y="233906"/>
                        </a:cubicBezTo>
                        <a:cubicBezTo>
                          <a:pt x="44072" y="238938"/>
                          <a:pt x="43014" y="244098"/>
                          <a:pt x="43014" y="249259"/>
                        </a:cubicBezTo>
                        <a:cubicBezTo>
                          <a:pt x="43014" y="268611"/>
                          <a:pt x="56844" y="285977"/>
                          <a:pt x="78261" y="293434"/>
                        </a:cubicBezTo>
                        <a:cubicBezTo>
                          <a:pt x="81306" y="294492"/>
                          <a:pt x="83138" y="297562"/>
                          <a:pt x="82648" y="300736"/>
                        </a:cubicBezTo>
                        <a:cubicBezTo>
                          <a:pt x="82441" y="302104"/>
                          <a:pt x="82260" y="303497"/>
                          <a:pt x="82260" y="304942"/>
                        </a:cubicBezTo>
                        <a:cubicBezTo>
                          <a:pt x="82260" y="322875"/>
                          <a:pt x="99858" y="337480"/>
                          <a:pt x="121481" y="337480"/>
                        </a:cubicBezTo>
                        <a:cubicBezTo>
                          <a:pt x="133660" y="337480"/>
                          <a:pt x="144936" y="332887"/>
                          <a:pt x="152445" y="324888"/>
                        </a:cubicBezTo>
                        <a:cubicBezTo>
                          <a:pt x="154974" y="322205"/>
                          <a:pt x="159180" y="322075"/>
                          <a:pt x="161838" y="324578"/>
                        </a:cubicBezTo>
                        <a:cubicBezTo>
                          <a:pt x="164521" y="327081"/>
                          <a:pt x="164650" y="331313"/>
                          <a:pt x="162147" y="333971"/>
                        </a:cubicBezTo>
                        <a:cubicBezTo>
                          <a:pt x="152161" y="344653"/>
                          <a:pt x="137324" y="350794"/>
                          <a:pt x="121507" y="350794"/>
                        </a:cubicBezTo>
                        <a:close/>
                      </a:path>
                    </a:pathLst>
                  </a:custGeom>
                  <a:grpFill/>
                  <a:ln w="2573" cap="flat">
                    <a:noFill/>
                    <a:prstDash val="solid"/>
                    <a:miter/>
                  </a:ln>
                </p:spPr>
                <p:txBody>
                  <a:bodyPr rtlCol="0" anchor="ctr"/>
                  <a:lstStyle/>
                  <a:p>
                    <a:endParaRPr lang="en-GB" dirty="0"/>
                  </a:p>
                </p:txBody>
              </p:sp>
              <p:sp>
                <p:nvSpPr>
                  <p:cNvPr id="1439" name="Freihandform: Form 1438">
                    <a:extLst>
                      <a:ext uri="{FF2B5EF4-FFF2-40B4-BE49-F238E27FC236}">
                        <a16:creationId xmlns:a16="http://schemas.microsoft.com/office/drawing/2014/main" id="{4AC21836-E4F4-4542-9007-B346009FA154}"/>
                      </a:ext>
                    </a:extLst>
                  </p:cNvPr>
                  <p:cNvSpPr/>
                  <p:nvPr/>
                </p:nvSpPr>
                <p:spPr>
                  <a:xfrm>
                    <a:off x="1772958" y="3388212"/>
                    <a:ext cx="23169" cy="36692"/>
                  </a:xfrm>
                  <a:custGeom>
                    <a:avLst/>
                    <a:gdLst>
                      <a:gd name="connsiteX0" fmla="*/ 16488 w 23169"/>
                      <a:gd name="connsiteY0" fmla="*/ 36692 h 36692"/>
                      <a:gd name="connsiteX1" fmla="*/ 11482 w 23169"/>
                      <a:gd name="connsiteY1" fmla="*/ 34421 h 36692"/>
                      <a:gd name="connsiteX2" fmla="*/ 0 w 23169"/>
                      <a:gd name="connsiteY2" fmla="*/ 6657 h 36692"/>
                      <a:gd name="connsiteX3" fmla="*/ 6657 w 23169"/>
                      <a:gd name="connsiteY3" fmla="*/ 0 h 36692"/>
                      <a:gd name="connsiteX4" fmla="*/ 13314 w 23169"/>
                      <a:gd name="connsiteY4" fmla="*/ 6657 h 36692"/>
                      <a:gd name="connsiteX5" fmla="*/ 21520 w 23169"/>
                      <a:gd name="connsiteY5" fmla="*/ 25674 h 36692"/>
                      <a:gd name="connsiteX6" fmla="*/ 20901 w 23169"/>
                      <a:gd name="connsiteY6" fmla="*/ 35066 h 36692"/>
                      <a:gd name="connsiteX7" fmla="*/ 16488 w 23169"/>
                      <a:gd name="connsiteY7" fmla="*/ 36692 h 36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69" h="36692">
                        <a:moveTo>
                          <a:pt x="16488" y="36692"/>
                        </a:moveTo>
                        <a:cubicBezTo>
                          <a:pt x="14630" y="36692"/>
                          <a:pt x="12798" y="35918"/>
                          <a:pt x="11482" y="34421"/>
                        </a:cubicBezTo>
                        <a:cubicBezTo>
                          <a:pt x="3870" y="25726"/>
                          <a:pt x="0" y="16385"/>
                          <a:pt x="0" y="6657"/>
                        </a:cubicBezTo>
                        <a:cubicBezTo>
                          <a:pt x="0" y="2993"/>
                          <a:pt x="2967" y="0"/>
                          <a:pt x="6657" y="0"/>
                        </a:cubicBezTo>
                        <a:cubicBezTo>
                          <a:pt x="10321" y="0"/>
                          <a:pt x="13314" y="2967"/>
                          <a:pt x="13314" y="6657"/>
                        </a:cubicBezTo>
                        <a:cubicBezTo>
                          <a:pt x="13314" y="13134"/>
                          <a:pt x="15998" y="19352"/>
                          <a:pt x="21520" y="25674"/>
                        </a:cubicBezTo>
                        <a:cubicBezTo>
                          <a:pt x="23945" y="28435"/>
                          <a:pt x="23661" y="32641"/>
                          <a:pt x="20901" y="35066"/>
                        </a:cubicBezTo>
                        <a:cubicBezTo>
                          <a:pt x="19585" y="36150"/>
                          <a:pt x="18036" y="36692"/>
                          <a:pt x="16488" y="36692"/>
                        </a:cubicBezTo>
                        <a:close/>
                      </a:path>
                    </a:pathLst>
                  </a:custGeom>
                  <a:grpFill/>
                  <a:ln w="2573" cap="flat">
                    <a:noFill/>
                    <a:prstDash val="solid"/>
                    <a:miter/>
                  </a:ln>
                </p:spPr>
                <p:txBody>
                  <a:bodyPr rtlCol="0" anchor="ctr"/>
                  <a:lstStyle/>
                  <a:p>
                    <a:endParaRPr lang="en-GB" dirty="0"/>
                  </a:p>
                </p:txBody>
              </p:sp>
              <p:sp>
                <p:nvSpPr>
                  <p:cNvPr id="1440" name="Freihandform: Form 1439">
                    <a:extLst>
                      <a:ext uri="{FF2B5EF4-FFF2-40B4-BE49-F238E27FC236}">
                        <a16:creationId xmlns:a16="http://schemas.microsoft.com/office/drawing/2014/main" id="{94CF5B2B-9B28-4635-BDC0-EFE38458348D}"/>
                      </a:ext>
                    </a:extLst>
                  </p:cNvPr>
                  <p:cNvSpPr/>
                  <p:nvPr/>
                </p:nvSpPr>
                <p:spPr>
                  <a:xfrm>
                    <a:off x="1725221" y="3445805"/>
                    <a:ext cx="72645" cy="26345"/>
                  </a:xfrm>
                  <a:custGeom>
                    <a:avLst/>
                    <a:gdLst>
                      <a:gd name="connsiteX0" fmla="*/ 6658 w 72645"/>
                      <a:gd name="connsiteY0" fmla="*/ 26345 h 26345"/>
                      <a:gd name="connsiteX1" fmla="*/ 1394 w 72645"/>
                      <a:gd name="connsiteY1" fmla="*/ 23765 h 26345"/>
                      <a:gd name="connsiteX2" fmla="*/ 2581 w 72645"/>
                      <a:gd name="connsiteY2" fmla="*/ 14424 h 26345"/>
                      <a:gd name="connsiteX3" fmla="*/ 43170 w 72645"/>
                      <a:gd name="connsiteY3" fmla="*/ 0 h 26345"/>
                      <a:gd name="connsiteX4" fmla="*/ 68508 w 72645"/>
                      <a:gd name="connsiteY4" fmla="*/ 4980 h 26345"/>
                      <a:gd name="connsiteX5" fmla="*/ 72147 w 72645"/>
                      <a:gd name="connsiteY5" fmla="*/ 13650 h 26345"/>
                      <a:gd name="connsiteX6" fmla="*/ 63477 w 72645"/>
                      <a:gd name="connsiteY6" fmla="*/ 17288 h 26345"/>
                      <a:gd name="connsiteX7" fmla="*/ 43195 w 72645"/>
                      <a:gd name="connsiteY7" fmla="*/ 13315 h 26345"/>
                      <a:gd name="connsiteX8" fmla="*/ 10761 w 72645"/>
                      <a:gd name="connsiteY8" fmla="*/ 24952 h 26345"/>
                      <a:gd name="connsiteX9" fmla="*/ 6658 w 72645"/>
                      <a:gd name="connsiteY9" fmla="*/ 26345 h 2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645" h="26345">
                        <a:moveTo>
                          <a:pt x="6658" y="26345"/>
                        </a:moveTo>
                        <a:cubicBezTo>
                          <a:pt x="4671" y="26345"/>
                          <a:pt x="2710" y="25468"/>
                          <a:pt x="1394" y="23765"/>
                        </a:cubicBezTo>
                        <a:cubicBezTo>
                          <a:pt x="-851" y="20849"/>
                          <a:pt x="-335" y="16695"/>
                          <a:pt x="2581" y="14424"/>
                        </a:cubicBezTo>
                        <a:cubicBezTo>
                          <a:pt x="14915" y="4851"/>
                          <a:pt x="28565" y="0"/>
                          <a:pt x="43170" y="0"/>
                        </a:cubicBezTo>
                        <a:cubicBezTo>
                          <a:pt x="51917" y="0"/>
                          <a:pt x="60432" y="1677"/>
                          <a:pt x="68508" y="4980"/>
                        </a:cubicBezTo>
                        <a:cubicBezTo>
                          <a:pt x="71914" y="6373"/>
                          <a:pt x="73540" y="10244"/>
                          <a:pt x="72147" y="13650"/>
                        </a:cubicBezTo>
                        <a:cubicBezTo>
                          <a:pt x="70753" y="17056"/>
                          <a:pt x="66857" y="18707"/>
                          <a:pt x="63477" y="17288"/>
                        </a:cubicBezTo>
                        <a:cubicBezTo>
                          <a:pt x="57026" y="14656"/>
                          <a:pt x="50188" y="13315"/>
                          <a:pt x="43195" y="13315"/>
                        </a:cubicBezTo>
                        <a:cubicBezTo>
                          <a:pt x="31610" y="13315"/>
                          <a:pt x="20695" y="17237"/>
                          <a:pt x="10761" y="24952"/>
                        </a:cubicBezTo>
                        <a:cubicBezTo>
                          <a:pt x="9522" y="25881"/>
                          <a:pt x="8077" y="26345"/>
                          <a:pt x="6658" y="26345"/>
                        </a:cubicBezTo>
                        <a:close/>
                      </a:path>
                    </a:pathLst>
                  </a:custGeom>
                  <a:grpFill/>
                  <a:ln w="2573" cap="flat">
                    <a:noFill/>
                    <a:prstDash val="solid"/>
                    <a:miter/>
                  </a:ln>
                </p:spPr>
                <p:txBody>
                  <a:bodyPr rtlCol="0" anchor="ctr"/>
                  <a:lstStyle/>
                  <a:p>
                    <a:endParaRPr lang="en-GB" dirty="0"/>
                  </a:p>
                </p:txBody>
              </p:sp>
              <p:sp>
                <p:nvSpPr>
                  <p:cNvPr id="1441" name="Freihandform: Form 1440">
                    <a:extLst>
                      <a:ext uri="{FF2B5EF4-FFF2-40B4-BE49-F238E27FC236}">
                        <a16:creationId xmlns:a16="http://schemas.microsoft.com/office/drawing/2014/main" id="{66D7D696-BE42-433B-8F04-0F48FBA534F9}"/>
                      </a:ext>
                    </a:extLst>
                  </p:cNvPr>
                  <p:cNvSpPr/>
                  <p:nvPr/>
                </p:nvSpPr>
                <p:spPr>
                  <a:xfrm>
                    <a:off x="1835064" y="3478552"/>
                    <a:ext cx="35427" cy="20639"/>
                  </a:xfrm>
                  <a:custGeom>
                    <a:avLst/>
                    <a:gdLst>
                      <a:gd name="connsiteX0" fmla="*/ 28799 w 35427"/>
                      <a:gd name="connsiteY0" fmla="*/ 20640 h 20639"/>
                      <a:gd name="connsiteX1" fmla="*/ 24025 w 35427"/>
                      <a:gd name="connsiteY1" fmla="*/ 18627 h 20639"/>
                      <a:gd name="connsiteX2" fmla="*/ 7976 w 35427"/>
                      <a:gd name="connsiteY2" fmla="*/ 13647 h 20639"/>
                      <a:gd name="connsiteX3" fmla="*/ 132 w 35427"/>
                      <a:gd name="connsiteY3" fmla="*/ 8461 h 20639"/>
                      <a:gd name="connsiteX4" fmla="*/ 5318 w 35427"/>
                      <a:gd name="connsiteY4" fmla="*/ 616 h 20639"/>
                      <a:gd name="connsiteX5" fmla="*/ 33547 w 35427"/>
                      <a:gd name="connsiteY5" fmla="*/ 9338 h 20639"/>
                      <a:gd name="connsiteX6" fmla="*/ 33418 w 35427"/>
                      <a:gd name="connsiteY6" fmla="*/ 18756 h 20639"/>
                      <a:gd name="connsiteX7" fmla="*/ 28799 w 35427"/>
                      <a:gd name="connsiteY7" fmla="*/ 20640 h 20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27" h="20639">
                        <a:moveTo>
                          <a:pt x="28799" y="20640"/>
                        </a:moveTo>
                        <a:cubicBezTo>
                          <a:pt x="27070" y="20640"/>
                          <a:pt x="25341" y="19969"/>
                          <a:pt x="24025" y="18627"/>
                        </a:cubicBezTo>
                        <a:cubicBezTo>
                          <a:pt x="19845" y="14344"/>
                          <a:pt x="13756" y="12460"/>
                          <a:pt x="7976" y="13647"/>
                        </a:cubicBezTo>
                        <a:cubicBezTo>
                          <a:pt x="4363" y="14395"/>
                          <a:pt x="854" y="12073"/>
                          <a:pt x="132" y="8461"/>
                        </a:cubicBezTo>
                        <a:cubicBezTo>
                          <a:pt x="-591" y="4874"/>
                          <a:pt x="1732" y="1365"/>
                          <a:pt x="5318" y="616"/>
                        </a:cubicBezTo>
                        <a:cubicBezTo>
                          <a:pt x="15510" y="-1474"/>
                          <a:pt x="26219" y="1829"/>
                          <a:pt x="33547" y="9338"/>
                        </a:cubicBezTo>
                        <a:cubicBezTo>
                          <a:pt x="36101" y="11970"/>
                          <a:pt x="36050" y="16176"/>
                          <a:pt x="33418" y="18756"/>
                        </a:cubicBezTo>
                        <a:cubicBezTo>
                          <a:pt x="32153" y="19995"/>
                          <a:pt x="30476" y="20640"/>
                          <a:pt x="28799" y="20640"/>
                        </a:cubicBezTo>
                        <a:close/>
                      </a:path>
                    </a:pathLst>
                  </a:custGeom>
                  <a:grpFill/>
                  <a:ln w="2573" cap="flat">
                    <a:noFill/>
                    <a:prstDash val="solid"/>
                    <a:miter/>
                  </a:ln>
                </p:spPr>
                <p:txBody>
                  <a:bodyPr rtlCol="0" anchor="ctr"/>
                  <a:lstStyle/>
                  <a:p>
                    <a:endParaRPr lang="en-GB" dirty="0"/>
                  </a:p>
                </p:txBody>
              </p:sp>
              <p:sp>
                <p:nvSpPr>
                  <p:cNvPr id="1442" name="Freihandform: Form 1441">
                    <a:extLst>
                      <a:ext uri="{FF2B5EF4-FFF2-40B4-BE49-F238E27FC236}">
                        <a16:creationId xmlns:a16="http://schemas.microsoft.com/office/drawing/2014/main" id="{94BD4685-45A5-4544-A6AA-684F1A382C8F}"/>
                      </a:ext>
                    </a:extLst>
                  </p:cNvPr>
                  <p:cNvSpPr/>
                  <p:nvPr/>
                </p:nvSpPr>
                <p:spPr>
                  <a:xfrm>
                    <a:off x="1727879" y="3561892"/>
                    <a:ext cx="40537" cy="22604"/>
                  </a:xfrm>
                  <a:custGeom>
                    <a:avLst/>
                    <a:gdLst>
                      <a:gd name="connsiteX0" fmla="*/ 33855 w 40537"/>
                      <a:gd name="connsiteY0" fmla="*/ 22604 h 22604"/>
                      <a:gd name="connsiteX1" fmla="*/ 2581 w 40537"/>
                      <a:gd name="connsiteY1" fmla="*/ 11896 h 22604"/>
                      <a:gd name="connsiteX2" fmla="*/ 1394 w 40537"/>
                      <a:gd name="connsiteY2" fmla="*/ 2581 h 22604"/>
                      <a:gd name="connsiteX3" fmla="*/ 10735 w 40537"/>
                      <a:gd name="connsiteY3" fmla="*/ 1394 h 22604"/>
                      <a:gd name="connsiteX4" fmla="*/ 33880 w 40537"/>
                      <a:gd name="connsiteY4" fmla="*/ 9316 h 22604"/>
                      <a:gd name="connsiteX5" fmla="*/ 40538 w 40537"/>
                      <a:gd name="connsiteY5" fmla="*/ 15973 h 22604"/>
                      <a:gd name="connsiteX6" fmla="*/ 33855 w 40537"/>
                      <a:gd name="connsiteY6" fmla="*/ 22604 h 2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37" h="22604">
                        <a:moveTo>
                          <a:pt x="33855" y="22604"/>
                        </a:moveTo>
                        <a:cubicBezTo>
                          <a:pt x="22450" y="22604"/>
                          <a:pt x="11638" y="18915"/>
                          <a:pt x="2581" y="11896"/>
                        </a:cubicBezTo>
                        <a:cubicBezTo>
                          <a:pt x="-335" y="9651"/>
                          <a:pt x="-851" y="5471"/>
                          <a:pt x="1394" y="2581"/>
                        </a:cubicBezTo>
                        <a:cubicBezTo>
                          <a:pt x="3639" y="-335"/>
                          <a:pt x="7819" y="-851"/>
                          <a:pt x="10735" y="1394"/>
                        </a:cubicBezTo>
                        <a:cubicBezTo>
                          <a:pt x="17444" y="6581"/>
                          <a:pt x="25443" y="9316"/>
                          <a:pt x="33880" y="9316"/>
                        </a:cubicBezTo>
                        <a:cubicBezTo>
                          <a:pt x="37545" y="9316"/>
                          <a:pt x="40538" y="12283"/>
                          <a:pt x="40538" y="15973"/>
                        </a:cubicBezTo>
                        <a:cubicBezTo>
                          <a:pt x="40512" y="19637"/>
                          <a:pt x="37545" y="22604"/>
                          <a:pt x="33855" y="22604"/>
                        </a:cubicBezTo>
                        <a:close/>
                      </a:path>
                    </a:pathLst>
                  </a:custGeom>
                  <a:grpFill/>
                  <a:ln w="2573" cap="flat">
                    <a:noFill/>
                    <a:prstDash val="solid"/>
                    <a:miter/>
                  </a:ln>
                </p:spPr>
                <p:txBody>
                  <a:bodyPr rtlCol="0" anchor="ctr"/>
                  <a:lstStyle/>
                  <a:p>
                    <a:endParaRPr lang="en-GB" dirty="0"/>
                  </a:p>
                </p:txBody>
              </p:sp>
              <p:sp>
                <p:nvSpPr>
                  <p:cNvPr id="1443" name="Freihandform: Form 1442">
                    <a:extLst>
                      <a:ext uri="{FF2B5EF4-FFF2-40B4-BE49-F238E27FC236}">
                        <a16:creationId xmlns:a16="http://schemas.microsoft.com/office/drawing/2014/main" id="{0EA1B04B-E270-4F51-A74B-4C2B002A920B}"/>
                      </a:ext>
                    </a:extLst>
                  </p:cNvPr>
                  <p:cNvSpPr/>
                  <p:nvPr/>
                </p:nvSpPr>
                <p:spPr>
                  <a:xfrm>
                    <a:off x="1772730" y="3626876"/>
                    <a:ext cx="23369" cy="22077"/>
                  </a:xfrm>
                  <a:custGeom>
                    <a:avLst/>
                    <a:gdLst>
                      <a:gd name="connsiteX0" fmla="*/ 6653 w 23369"/>
                      <a:gd name="connsiteY0" fmla="*/ 22077 h 22077"/>
                      <a:gd name="connsiteX1" fmla="*/ 1648 w 23369"/>
                      <a:gd name="connsiteY1" fmla="*/ 19807 h 22077"/>
                      <a:gd name="connsiteX2" fmla="*/ 2293 w 23369"/>
                      <a:gd name="connsiteY2" fmla="*/ 10414 h 22077"/>
                      <a:gd name="connsiteX3" fmla="*/ 12330 w 23369"/>
                      <a:gd name="connsiteY3" fmla="*/ 1641 h 22077"/>
                      <a:gd name="connsiteX4" fmla="*/ 21722 w 23369"/>
                      <a:gd name="connsiteY4" fmla="*/ 2261 h 22077"/>
                      <a:gd name="connsiteX5" fmla="*/ 21077 w 23369"/>
                      <a:gd name="connsiteY5" fmla="*/ 11653 h 22077"/>
                      <a:gd name="connsiteX6" fmla="*/ 11040 w 23369"/>
                      <a:gd name="connsiteY6" fmla="*/ 20426 h 22077"/>
                      <a:gd name="connsiteX7" fmla="*/ 6653 w 23369"/>
                      <a:gd name="connsiteY7" fmla="*/ 22077 h 22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69" h="22077">
                        <a:moveTo>
                          <a:pt x="6653" y="22077"/>
                        </a:moveTo>
                        <a:cubicBezTo>
                          <a:pt x="4796" y="22077"/>
                          <a:pt x="2964" y="21303"/>
                          <a:pt x="1648" y="19807"/>
                        </a:cubicBezTo>
                        <a:cubicBezTo>
                          <a:pt x="-778" y="17046"/>
                          <a:pt x="-494" y="12840"/>
                          <a:pt x="2293" y="10414"/>
                        </a:cubicBezTo>
                        <a:lnTo>
                          <a:pt x="12330" y="1641"/>
                        </a:lnTo>
                        <a:cubicBezTo>
                          <a:pt x="15091" y="-784"/>
                          <a:pt x="19297" y="-475"/>
                          <a:pt x="21722" y="2261"/>
                        </a:cubicBezTo>
                        <a:cubicBezTo>
                          <a:pt x="24148" y="5021"/>
                          <a:pt x="23864" y="9227"/>
                          <a:pt x="21077" y="11653"/>
                        </a:cubicBezTo>
                        <a:lnTo>
                          <a:pt x="11040" y="20426"/>
                        </a:lnTo>
                        <a:cubicBezTo>
                          <a:pt x="9750" y="21535"/>
                          <a:pt x="8202" y="22077"/>
                          <a:pt x="6653" y="22077"/>
                        </a:cubicBezTo>
                        <a:close/>
                      </a:path>
                    </a:pathLst>
                  </a:custGeom>
                  <a:grpFill/>
                  <a:ln w="2573" cap="flat">
                    <a:noFill/>
                    <a:prstDash val="solid"/>
                    <a:miter/>
                  </a:ln>
                </p:spPr>
                <p:txBody>
                  <a:bodyPr rtlCol="0" anchor="ctr"/>
                  <a:lstStyle/>
                  <a:p>
                    <a:endParaRPr lang="en-GB" dirty="0"/>
                  </a:p>
                </p:txBody>
              </p:sp>
            </p:grpSp>
          </p:grpSp>
        </p:grpSp>
      </p:grpSp>
      <p:sp>
        <p:nvSpPr>
          <p:cNvPr id="1459" name="TextBox 1428">
            <a:extLst>
              <a:ext uri="{FF2B5EF4-FFF2-40B4-BE49-F238E27FC236}">
                <a16:creationId xmlns:a16="http://schemas.microsoft.com/office/drawing/2014/main" id="{12647950-70C3-45BB-90CC-E07C5C21624A}"/>
              </a:ext>
            </a:extLst>
          </p:cNvPr>
          <p:cNvSpPr txBox="1"/>
          <p:nvPr/>
        </p:nvSpPr>
        <p:spPr>
          <a:xfrm>
            <a:off x="1701626" y="3723675"/>
            <a:ext cx="275717" cy="215444"/>
          </a:xfrm>
          <a:prstGeom prst="rect">
            <a:avLst/>
          </a:prstGeom>
          <a:noFill/>
          <a:effectLst/>
        </p:spPr>
        <p:txBody>
          <a:bodyPr wrap="none" lIns="0" tIns="0" rIns="0" bIns="0" rtlCol="0" anchor="t" anchorCtr="0">
            <a:spAutoFit/>
          </a:bodyPr>
          <a:lstStyle/>
          <a:p>
            <a:pPr algn="ctr"/>
            <a:r>
              <a:rPr lang="en-GB" sz="700" dirty="0">
                <a:solidFill>
                  <a:schemeClr val="tx2"/>
                </a:solidFill>
              </a:rPr>
              <a:t>Target</a:t>
            </a:r>
            <a:br>
              <a:rPr lang="en-GB" sz="700" dirty="0">
                <a:solidFill>
                  <a:schemeClr val="tx2"/>
                </a:solidFill>
              </a:rPr>
            </a:br>
            <a:r>
              <a:rPr lang="en-GB" sz="700" dirty="0">
                <a:solidFill>
                  <a:schemeClr val="tx2"/>
                </a:solidFill>
              </a:rPr>
              <a:t>market</a:t>
            </a:r>
          </a:p>
        </p:txBody>
      </p:sp>
      <p:grpSp>
        <p:nvGrpSpPr>
          <p:cNvPr id="37" name="Group 36">
            <a:extLst>
              <a:ext uri="{FF2B5EF4-FFF2-40B4-BE49-F238E27FC236}">
                <a16:creationId xmlns:a16="http://schemas.microsoft.com/office/drawing/2014/main" id="{C790D593-9070-0716-EEAA-80075623D287}"/>
              </a:ext>
            </a:extLst>
          </p:cNvPr>
          <p:cNvGrpSpPr/>
          <p:nvPr/>
        </p:nvGrpSpPr>
        <p:grpSpPr>
          <a:xfrm>
            <a:off x="2639480" y="1626716"/>
            <a:ext cx="490877" cy="432000"/>
            <a:chOff x="2639480" y="1626716"/>
            <a:chExt cx="490877" cy="432000"/>
          </a:xfrm>
        </p:grpSpPr>
        <p:grpSp>
          <p:nvGrpSpPr>
            <p:cNvPr id="1461" name="Gruppieren 1460">
              <a:extLst>
                <a:ext uri="{FF2B5EF4-FFF2-40B4-BE49-F238E27FC236}">
                  <a16:creationId xmlns:a16="http://schemas.microsoft.com/office/drawing/2014/main" id="{7E30BF37-0FB1-4419-B3A0-53F0A8B8A2FF}"/>
                </a:ext>
              </a:extLst>
            </p:cNvPr>
            <p:cNvGrpSpPr/>
            <p:nvPr/>
          </p:nvGrpSpPr>
          <p:grpSpPr>
            <a:xfrm>
              <a:off x="2639480" y="1718012"/>
              <a:ext cx="490877" cy="340704"/>
              <a:chOff x="2521181" y="1718359"/>
              <a:chExt cx="492514" cy="341840"/>
            </a:xfrm>
            <a:solidFill>
              <a:schemeClr val="tx2"/>
            </a:solidFill>
          </p:grpSpPr>
          <p:grpSp>
            <p:nvGrpSpPr>
              <p:cNvPr id="1470" name="Grafik 312">
                <a:extLst>
                  <a:ext uri="{FF2B5EF4-FFF2-40B4-BE49-F238E27FC236}">
                    <a16:creationId xmlns:a16="http://schemas.microsoft.com/office/drawing/2014/main" id="{B1682ADF-BC1F-447F-8052-E3C99423B831}"/>
                  </a:ext>
                </a:extLst>
              </p:cNvPr>
              <p:cNvGrpSpPr/>
              <p:nvPr/>
            </p:nvGrpSpPr>
            <p:grpSpPr>
              <a:xfrm>
                <a:off x="2521181" y="1876564"/>
                <a:ext cx="492514" cy="183635"/>
                <a:chOff x="2521181" y="1876564"/>
                <a:chExt cx="492514" cy="183635"/>
              </a:xfrm>
              <a:grpFill/>
            </p:grpSpPr>
            <p:grpSp>
              <p:nvGrpSpPr>
                <p:cNvPr id="1472" name="Grafik 312">
                  <a:extLst>
                    <a:ext uri="{FF2B5EF4-FFF2-40B4-BE49-F238E27FC236}">
                      <a16:creationId xmlns:a16="http://schemas.microsoft.com/office/drawing/2014/main" id="{26A2B41A-3C47-4962-A00C-A4EB175B8441}"/>
                    </a:ext>
                  </a:extLst>
                </p:cNvPr>
                <p:cNvGrpSpPr/>
                <p:nvPr/>
              </p:nvGrpSpPr>
              <p:grpSpPr>
                <a:xfrm>
                  <a:off x="2783999" y="1876589"/>
                  <a:ext cx="229696" cy="183610"/>
                  <a:chOff x="2783999" y="1876589"/>
                  <a:chExt cx="229696" cy="183610"/>
                </a:xfrm>
                <a:grpFill/>
              </p:grpSpPr>
              <p:sp>
                <p:nvSpPr>
                  <p:cNvPr id="1482" name="Freihandform: Form 1481">
                    <a:extLst>
                      <a:ext uri="{FF2B5EF4-FFF2-40B4-BE49-F238E27FC236}">
                        <a16:creationId xmlns:a16="http://schemas.microsoft.com/office/drawing/2014/main" id="{A48C9180-9DE5-425D-8254-8A0FA8FDAB42}"/>
                      </a:ext>
                    </a:extLst>
                  </p:cNvPr>
                  <p:cNvSpPr/>
                  <p:nvPr/>
                </p:nvSpPr>
                <p:spPr>
                  <a:xfrm>
                    <a:off x="2783999" y="1927122"/>
                    <a:ext cx="17669" cy="66608"/>
                  </a:xfrm>
                  <a:custGeom>
                    <a:avLst/>
                    <a:gdLst>
                      <a:gd name="connsiteX0" fmla="*/ 11023 w 17669"/>
                      <a:gd name="connsiteY0" fmla="*/ 66608 h 66608"/>
                      <a:gd name="connsiteX1" fmla="*/ 4573 w 17669"/>
                      <a:gd name="connsiteY1" fmla="*/ 61577 h 66608"/>
                      <a:gd name="connsiteX2" fmla="*/ 3050 w 17669"/>
                      <a:gd name="connsiteY2" fmla="*/ 4784 h 66608"/>
                      <a:gd name="connsiteX3" fmla="*/ 11307 w 17669"/>
                      <a:gd name="connsiteY3" fmla="*/ 268 h 66608"/>
                      <a:gd name="connsiteX4" fmla="*/ 15823 w 17669"/>
                      <a:gd name="connsiteY4" fmla="*/ 8525 h 66608"/>
                      <a:gd name="connsiteX5" fmla="*/ 17474 w 17669"/>
                      <a:gd name="connsiteY5" fmla="*/ 58351 h 66608"/>
                      <a:gd name="connsiteX6" fmla="*/ 12623 w 17669"/>
                      <a:gd name="connsiteY6" fmla="*/ 66428 h 66608"/>
                      <a:gd name="connsiteX7" fmla="*/ 11023 w 17669"/>
                      <a:gd name="connsiteY7" fmla="*/ 66608 h 6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69" h="66608">
                        <a:moveTo>
                          <a:pt x="11023" y="66608"/>
                        </a:moveTo>
                        <a:cubicBezTo>
                          <a:pt x="8030" y="66608"/>
                          <a:pt x="5321" y="64596"/>
                          <a:pt x="4573" y="61577"/>
                        </a:cubicBezTo>
                        <a:cubicBezTo>
                          <a:pt x="-975" y="39360"/>
                          <a:pt x="-1465" y="20266"/>
                          <a:pt x="3050" y="4784"/>
                        </a:cubicBezTo>
                        <a:cubicBezTo>
                          <a:pt x="4082" y="1275"/>
                          <a:pt x="7772" y="-764"/>
                          <a:pt x="11307" y="268"/>
                        </a:cubicBezTo>
                        <a:cubicBezTo>
                          <a:pt x="14842" y="1300"/>
                          <a:pt x="16855" y="4990"/>
                          <a:pt x="15823" y="8525"/>
                        </a:cubicBezTo>
                        <a:cubicBezTo>
                          <a:pt x="11952" y="21711"/>
                          <a:pt x="12520" y="38457"/>
                          <a:pt x="17474" y="58351"/>
                        </a:cubicBezTo>
                        <a:cubicBezTo>
                          <a:pt x="18352" y="61912"/>
                          <a:pt x="16184" y="65525"/>
                          <a:pt x="12623" y="66428"/>
                        </a:cubicBezTo>
                        <a:cubicBezTo>
                          <a:pt x="12107" y="66557"/>
                          <a:pt x="11565" y="66608"/>
                          <a:pt x="11023" y="66608"/>
                        </a:cubicBezTo>
                        <a:close/>
                      </a:path>
                    </a:pathLst>
                  </a:custGeom>
                  <a:grpFill/>
                  <a:ln w="2573" cap="flat">
                    <a:noFill/>
                    <a:prstDash val="solid"/>
                    <a:miter/>
                  </a:ln>
                </p:spPr>
                <p:txBody>
                  <a:bodyPr rtlCol="0" anchor="ctr"/>
                  <a:lstStyle/>
                  <a:p>
                    <a:endParaRPr lang="en-GB" dirty="0"/>
                  </a:p>
                </p:txBody>
              </p:sp>
              <p:sp>
                <p:nvSpPr>
                  <p:cNvPr id="1483" name="Freihandform: Form 1482">
                    <a:extLst>
                      <a:ext uri="{FF2B5EF4-FFF2-40B4-BE49-F238E27FC236}">
                        <a16:creationId xmlns:a16="http://schemas.microsoft.com/office/drawing/2014/main" id="{E9B483FD-61E6-4176-8167-0D291FA791CF}"/>
                      </a:ext>
                    </a:extLst>
                  </p:cNvPr>
                  <p:cNvSpPr/>
                  <p:nvPr/>
                </p:nvSpPr>
                <p:spPr>
                  <a:xfrm>
                    <a:off x="2827238" y="1885004"/>
                    <a:ext cx="60962" cy="17486"/>
                  </a:xfrm>
                  <a:custGeom>
                    <a:avLst/>
                    <a:gdLst>
                      <a:gd name="connsiteX0" fmla="*/ 6644 w 60962"/>
                      <a:gd name="connsiteY0" fmla="*/ 17486 h 17486"/>
                      <a:gd name="connsiteX1" fmla="*/ 270 w 60962"/>
                      <a:gd name="connsiteY1" fmla="*/ 12713 h 17486"/>
                      <a:gd name="connsiteX2" fmla="*/ 4760 w 60962"/>
                      <a:gd name="connsiteY2" fmla="*/ 4456 h 17486"/>
                      <a:gd name="connsiteX3" fmla="*/ 55334 w 60962"/>
                      <a:gd name="connsiteY3" fmla="*/ 1101 h 17486"/>
                      <a:gd name="connsiteX4" fmla="*/ 60882 w 60962"/>
                      <a:gd name="connsiteY4" fmla="*/ 8687 h 17486"/>
                      <a:gd name="connsiteX5" fmla="*/ 53322 w 60962"/>
                      <a:gd name="connsiteY5" fmla="*/ 14261 h 17486"/>
                      <a:gd name="connsiteX6" fmla="*/ 8502 w 60962"/>
                      <a:gd name="connsiteY6" fmla="*/ 17228 h 17486"/>
                      <a:gd name="connsiteX7" fmla="*/ 6644 w 60962"/>
                      <a:gd name="connsiteY7" fmla="*/ 17486 h 17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962" h="17486">
                        <a:moveTo>
                          <a:pt x="6644" y="17486"/>
                        </a:moveTo>
                        <a:cubicBezTo>
                          <a:pt x="3754" y="17486"/>
                          <a:pt x="1122" y="15603"/>
                          <a:pt x="270" y="12713"/>
                        </a:cubicBezTo>
                        <a:cubicBezTo>
                          <a:pt x="-762" y="9178"/>
                          <a:pt x="1251" y="5488"/>
                          <a:pt x="4760" y="4456"/>
                        </a:cubicBezTo>
                        <a:cubicBezTo>
                          <a:pt x="29351" y="-2769"/>
                          <a:pt x="54277" y="921"/>
                          <a:pt x="55334" y="1101"/>
                        </a:cubicBezTo>
                        <a:cubicBezTo>
                          <a:pt x="58947" y="1669"/>
                          <a:pt x="61450" y="5049"/>
                          <a:pt x="60882" y="8687"/>
                        </a:cubicBezTo>
                        <a:cubicBezTo>
                          <a:pt x="60314" y="12326"/>
                          <a:pt x="56934" y="14777"/>
                          <a:pt x="53322" y="14261"/>
                        </a:cubicBezTo>
                        <a:cubicBezTo>
                          <a:pt x="53090" y="14209"/>
                          <a:pt x="30150" y="10855"/>
                          <a:pt x="8502" y="17228"/>
                        </a:cubicBezTo>
                        <a:cubicBezTo>
                          <a:pt x="7882" y="17409"/>
                          <a:pt x="7263" y="17486"/>
                          <a:pt x="6644" y="17486"/>
                        </a:cubicBezTo>
                        <a:close/>
                      </a:path>
                    </a:pathLst>
                  </a:custGeom>
                  <a:grpFill/>
                  <a:ln w="2573" cap="flat">
                    <a:noFill/>
                    <a:prstDash val="solid"/>
                    <a:miter/>
                  </a:ln>
                </p:spPr>
                <p:txBody>
                  <a:bodyPr rtlCol="0" anchor="ctr"/>
                  <a:lstStyle/>
                  <a:p>
                    <a:endParaRPr lang="en-GB" dirty="0"/>
                  </a:p>
                </p:txBody>
              </p:sp>
              <p:sp>
                <p:nvSpPr>
                  <p:cNvPr id="1484" name="Freihandform: Form 1483">
                    <a:extLst>
                      <a:ext uri="{FF2B5EF4-FFF2-40B4-BE49-F238E27FC236}">
                        <a16:creationId xmlns:a16="http://schemas.microsoft.com/office/drawing/2014/main" id="{30AA0BD2-2D1B-4A01-9864-38B4CBE4D1B7}"/>
                      </a:ext>
                    </a:extLst>
                  </p:cNvPr>
                  <p:cNvSpPr/>
                  <p:nvPr/>
                </p:nvSpPr>
                <p:spPr>
                  <a:xfrm>
                    <a:off x="2948040" y="1949119"/>
                    <a:ext cx="25097" cy="23530"/>
                  </a:xfrm>
                  <a:custGeom>
                    <a:avLst/>
                    <a:gdLst>
                      <a:gd name="connsiteX0" fmla="*/ 18445 w 25097"/>
                      <a:gd name="connsiteY0" fmla="*/ 23530 h 23530"/>
                      <a:gd name="connsiteX1" fmla="*/ 14497 w 25097"/>
                      <a:gd name="connsiteY1" fmla="*/ 22240 h 23530"/>
                      <a:gd name="connsiteX2" fmla="*/ 1673 w 25097"/>
                      <a:gd name="connsiteY2" fmla="*/ 11068 h 23530"/>
                      <a:gd name="connsiteX3" fmla="*/ 2240 w 25097"/>
                      <a:gd name="connsiteY3" fmla="*/ 1675 h 23530"/>
                      <a:gd name="connsiteX4" fmla="*/ 11607 w 25097"/>
                      <a:gd name="connsiteY4" fmla="*/ 2217 h 23530"/>
                      <a:gd name="connsiteX5" fmla="*/ 11607 w 25097"/>
                      <a:gd name="connsiteY5" fmla="*/ 2217 h 23530"/>
                      <a:gd name="connsiteX6" fmla="*/ 22393 w 25097"/>
                      <a:gd name="connsiteY6" fmla="*/ 11532 h 23530"/>
                      <a:gd name="connsiteX7" fmla="*/ 23786 w 25097"/>
                      <a:gd name="connsiteY7" fmla="*/ 20821 h 23530"/>
                      <a:gd name="connsiteX8" fmla="*/ 18445 w 25097"/>
                      <a:gd name="connsiteY8" fmla="*/ 23530 h 23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97" h="23530">
                        <a:moveTo>
                          <a:pt x="18445" y="23530"/>
                        </a:moveTo>
                        <a:cubicBezTo>
                          <a:pt x="17077" y="23530"/>
                          <a:pt x="15684" y="23118"/>
                          <a:pt x="14497" y="22240"/>
                        </a:cubicBezTo>
                        <a:cubicBezTo>
                          <a:pt x="6137" y="16073"/>
                          <a:pt x="1853" y="11274"/>
                          <a:pt x="1673" y="11068"/>
                        </a:cubicBezTo>
                        <a:cubicBezTo>
                          <a:pt x="-753" y="8332"/>
                          <a:pt x="-521" y="4126"/>
                          <a:pt x="2240" y="1675"/>
                        </a:cubicBezTo>
                        <a:cubicBezTo>
                          <a:pt x="4975" y="-750"/>
                          <a:pt x="9181" y="-518"/>
                          <a:pt x="11607" y="2217"/>
                        </a:cubicBezTo>
                        <a:lnTo>
                          <a:pt x="11607" y="2217"/>
                        </a:lnTo>
                        <a:cubicBezTo>
                          <a:pt x="11658" y="2269"/>
                          <a:pt x="15271" y="6268"/>
                          <a:pt x="22393" y="11532"/>
                        </a:cubicBezTo>
                        <a:cubicBezTo>
                          <a:pt x="25360" y="13699"/>
                          <a:pt x="25979" y="17880"/>
                          <a:pt x="23786" y="20821"/>
                        </a:cubicBezTo>
                        <a:cubicBezTo>
                          <a:pt x="22496" y="22576"/>
                          <a:pt x="20483" y="23530"/>
                          <a:pt x="18445" y="23530"/>
                        </a:cubicBezTo>
                        <a:close/>
                      </a:path>
                    </a:pathLst>
                  </a:custGeom>
                  <a:grpFill/>
                  <a:ln w="2573" cap="flat">
                    <a:noFill/>
                    <a:prstDash val="solid"/>
                    <a:miter/>
                  </a:ln>
                </p:spPr>
                <p:txBody>
                  <a:bodyPr rtlCol="0" anchor="ctr"/>
                  <a:lstStyle/>
                  <a:p>
                    <a:endParaRPr lang="en-GB" dirty="0"/>
                  </a:p>
                </p:txBody>
              </p:sp>
              <p:sp>
                <p:nvSpPr>
                  <p:cNvPr id="1485" name="Freihandform: Form 1484">
                    <a:extLst>
                      <a:ext uri="{FF2B5EF4-FFF2-40B4-BE49-F238E27FC236}">
                        <a16:creationId xmlns:a16="http://schemas.microsoft.com/office/drawing/2014/main" id="{A25620F5-BA8A-4F3E-9FBF-12CA7904ABF6}"/>
                      </a:ext>
                    </a:extLst>
                  </p:cNvPr>
                  <p:cNvSpPr/>
                  <p:nvPr/>
                </p:nvSpPr>
                <p:spPr>
                  <a:xfrm>
                    <a:off x="2784284" y="1977887"/>
                    <a:ext cx="69768" cy="82312"/>
                  </a:xfrm>
                  <a:custGeom>
                    <a:avLst/>
                    <a:gdLst>
                      <a:gd name="connsiteX0" fmla="*/ 47044 w 69768"/>
                      <a:gd name="connsiteY0" fmla="*/ 82312 h 82312"/>
                      <a:gd name="connsiteX1" fmla="*/ 30065 w 69768"/>
                      <a:gd name="connsiteY1" fmla="*/ 73410 h 82312"/>
                      <a:gd name="connsiteX2" fmla="*/ 4494 w 69768"/>
                      <a:gd name="connsiteY2" fmla="*/ 36125 h 82312"/>
                      <a:gd name="connsiteX3" fmla="*/ 5 w 69768"/>
                      <a:gd name="connsiteY3" fmla="*/ 20230 h 82312"/>
                      <a:gd name="connsiteX4" fmla="*/ 7539 w 69768"/>
                      <a:gd name="connsiteY4" fmla="*/ 4335 h 82312"/>
                      <a:gd name="connsiteX5" fmla="*/ 9732 w 69768"/>
                      <a:gd name="connsiteY5" fmla="*/ 2813 h 82312"/>
                      <a:gd name="connsiteX6" fmla="*/ 40361 w 69768"/>
                      <a:gd name="connsiteY6" fmla="*/ 11225 h 82312"/>
                      <a:gd name="connsiteX7" fmla="*/ 66164 w 69768"/>
                      <a:gd name="connsiteY7" fmla="*/ 48613 h 82312"/>
                      <a:gd name="connsiteX8" fmla="*/ 69415 w 69768"/>
                      <a:gd name="connsiteY8" fmla="*/ 64018 h 82312"/>
                      <a:gd name="connsiteX9" fmla="*/ 60848 w 69768"/>
                      <a:gd name="connsiteY9" fmla="*/ 77229 h 82312"/>
                      <a:gd name="connsiteX10" fmla="*/ 58655 w 69768"/>
                      <a:gd name="connsiteY10" fmla="*/ 78726 h 82312"/>
                      <a:gd name="connsiteX11" fmla="*/ 47044 w 69768"/>
                      <a:gd name="connsiteY11" fmla="*/ 82312 h 82312"/>
                      <a:gd name="connsiteX12" fmla="*/ 17241 w 69768"/>
                      <a:gd name="connsiteY12" fmla="*/ 13753 h 82312"/>
                      <a:gd name="connsiteX13" fmla="*/ 15048 w 69768"/>
                      <a:gd name="connsiteY13" fmla="*/ 15276 h 82312"/>
                      <a:gd name="connsiteX14" fmla="*/ 13293 w 69768"/>
                      <a:gd name="connsiteY14" fmla="*/ 20462 h 82312"/>
                      <a:gd name="connsiteX15" fmla="*/ 15461 w 69768"/>
                      <a:gd name="connsiteY15" fmla="*/ 28590 h 82312"/>
                      <a:gd name="connsiteX16" fmla="*/ 41031 w 69768"/>
                      <a:gd name="connsiteY16" fmla="*/ 65876 h 82312"/>
                      <a:gd name="connsiteX17" fmla="*/ 51121 w 69768"/>
                      <a:gd name="connsiteY17" fmla="*/ 67734 h 82312"/>
                      <a:gd name="connsiteX18" fmla="*/ 53314 w 69768"/>
                      <a:gd name="connsiteY18" fmla="*/ 66237 h 82312"/>
                      <a:gd name="connsiteX19" fmla="*/ 56333 w 69768"/>
                      <a:gd name="connsiteY19" fmla="*/ 61567 h 82312"/>
                      <a:gd name="connsiteX20" fmla="*/ 55197 w 69768"/>
                      <a:gd name="connsiteY20" fmla="*/ 56148 h 82312"/>
                      <a:gd name="connsiteX21" fmla="*/ 29394 w 69768"/>
                      <a:gd name="connsiteY21" fmla="*/ 18759 h 82312"/>
                      <a:gd name="connsiteX22" fmla="*/ 17241 w 69768"/>
                      <a:gd name="connsiteY22" fmla="*/ 13753 h 82312"/>
                      <a:gd name="connsiteX23" fmla="*/ 17241 w 69768"/>
                      <a:gd name="connsiteY23" fmla="*/ 13753 h 8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768" h="82312">
                        <a:moveTo>
                          <a:pt x="47044" y="82312"/>
                        </a:moveTo>
                        <a:cubicBezTo>
                          <a:pt x="40490" y="82312"/>
                          <a:pt x="34065" y="79190"/>
                          <a:pt x="30065" y="73410"/>
                        </a:cubicBezTo>
                        <a:lnTo>
                          <a:pt x="4494" y="36125"/>
                        </a:lnTo>
                        <a:cubicBezTo>
                          <a:pt x="1578" y="31867"/>
                          <a:pt x="-99" y="25932"/>
                          <a:pt x="5" y="20230"/>
                        </a:cubicBezTo>
                        <a:cubicBezTo>
                          <a:pt x="133" y="13211"/>
                          <a:pt x="2817" y="7561"/>
                          <a:pt x="7539" y="4335"/>
                        </a:cubicBezTo>
                        <a:lnTo>
                          <a:pt x="9732" y="2813"/>
                        </a:lnTo>
                        <a:cubicBezTo>
                          <a:pt x="19228" y="-3715"/>
                          <a:pt x="33987" y="1961"/>
                          <a:pt x="40361" y="11225"/>
                        </a:cubicBezTo>
                        <a:lnTo>
                          <a:pt x="66164" y="48613"/>
                        </a:lnTo>
                        <a:cubicBezTo>
                          <a:pt x="69260" y="53129"/>
                          <a:pt x="70421" y="58599"/>
                          <a:pt x="69415" y="64018"/>
                        </a:cubicBezTo>
                        <a:cubicBezTo>
                          <a:pt x="68409" y="69437"/>
                          <a:pt x="65364" y="74107"/>
                          <a:pt x="60848" y="77229"/>
                        </a:cubicBezTo>
                        <a:lnTo>
                          <a:pt x="58655" y="78726"/>
                        </a:lnTo>
                        <a:cubicBezTo>
                          <a:pt x="55094" y="81151"/>
                          <a:pt x="51043" y="82312"/>
                          <a:pt x="47044" y="82312"/>
                        </a:cubicBezTo>
                        <a:close/>
                        <a:moveTo>
                          <a:pt x="17241" y="13753"/>
                        </a:moveTo>
                        <a:lnTo>
                          <a:pt x="15048" y="15276"/>
                        </a:lnTo>
                        <a:cubicBezTo>
                          <a:pt x="14016" y="15972"/>
                          <a:pt x="13345" y="18011"/>
                          <a:pt x="13293" y="20462"/>
                        </a:cubicBezTo>
                        <a:cubicBezTo>
                          <a:pt x="13242" y="23404"/>
                          <a:pt x="14093" y="26603"/>
                          <a:pt x="15461" y="28590"/>
                        </a:cubicBezTo>
                        <a:lnTo>
                          <a:pt x="41031" y="65876"/>
                        </a:lnTo>
                        <a:cubicBezTo>
                          <a:pt x="43276" y="69179"/>
                          <a:pt x="47818" y="70004"/>
                          <a:pt x="51121" y="67734"/>
                        </a:cubicBezTo>
                        <a:lnTo>
                          <a:pt x="53314" y="66237"/>
                        </a:lnTo>
                        <a:cubicBezTo>
                          <a:pt x="54888" y="65153"/>
                          <a:pt x="55972" y="63502"/>
                          <a:pt x="56333" y="61567"/>
                        </a:cubicBezTo>
                        <a:cubicBezTo>
                          <a:pt x="56694" y="59657"/>
                          <a:pt x="56281" y="57722"/>
                          <a:pt x="55197" y="56148"/>
                        </a:cubicBezTo>
                        <a:lnTo>
                          <a:pt x="29394" y="18759"/>
                        </a:lnTo>
                        <a:cubicBezTo>
                          <a:pt x="26711" y="14863"/>
                          <a:pt x="19821" y="12025"/>
                          <a:pt x="17241" y="13753"/>
                        </a:cubicBezTo>
                        <a:lnTo>
                          <a:pt x="17241" y="13753"/>
                        </a:lnTo>
                        <a:close/>
                      </a:path>
                    </a:pathLst>
                  </a:custGeom>
                  <a:grpFill/>
                  <a:ln w="2573" cap="flat">
                    <a:noFill/>
                    <a:prstDash val="solid"/>
                    <a:miter/>
                  </a:ln>
                </p:spPr>
                <p:txBody>
                  <a:bodyPr rtlCol="0" anchor="ctr"/>
                  <a:lstStyle/>
                  <a:p>
                    <a:endParaRPr lang="en-GB" dirty="0"/>
                  </a:p>
                </p:txBody>
              </p:sp>
              <p:sp>
                <p:nvSpPr>
                  <p:cNvPr id="1486" name="Freihandform: Form 1485">
                    <a:extLst>
                      <a:ext uri="{FF2B5EF4-FFF2-40B4-BE49-F238E27FC236}">
                        <a16:creationId xmlns:a16="http://schemas.microsoft.com/office/drawing/2014/main" id="{CD20DEBC-64F7-42CA-AB05-47011E5DBAD5}"/>
                      </a:ext>
                    </a:extLst>
                  </p:cNvPr>
                  <p:cNvSpPr/>
                  <p:nvPr/>
                </p:nvSpPr>
                <p:spPr>
                  <a:xfrm>
                    <a:off x="2910243" y="1936341"/>
                    <a:ext cx="51845" cy="105590"/>
                  </a:xfrm>
                  <a:custGeom>
                    <a:avLst/>
                    <a:gdLst>
                      <a:gd name="connsiteX0" fmla="*/ 26516 w 51845"/>
                      <a:gd name="connsiteY0" fmla="*/ 105590 h 105590"/>
                      <a:gd name="connsiteX1" fmla="*/ 25665 w 51845"/>
                      <a:gd name="connsiteY1" fmla="*/ 105564 h 105590"/>
                      <a:gd name="connsiteX2" fmla="*/ 22465 w 51845"/>
                      <a:gd name="connsiteY2" fmla="*/ 105435 h 105590"/>
                      <a:gd name="connsiteX3" fmla="*/ 6261 w 51845"/>
                      <a:gd name="connsiteY3" fmla="*/ 98004 h 105590"/>
                      <a:gd name="connsiteX4" fmla="*/ 17 w 51845"/>
                      <a:gd name="connsiteY4" fmla="*/ 81284 h 105590"/>
                      <a:gd name="connsiteX5" fmla="*/ 1823 w 51845"/>
                      <a:gd name="connsiteY5" fmla="*/ 26349 h 105590"/>
                      <a:gd name="connsiteX6" fmla="*/ 26284 w 51845"/>
                      <a:gd name="connsiteY6" fmla="*/ 4 h 105590"/>
                      <a:gd name="connsiteX7" fmla="*/ 29484 w 51845"/>
                      <a:gd name="connsiteY7" fmla="*/ 133 h 105590"/>
                      <a:gd name="connsiteX8" fmla="*/ 51829 w 51845"/>
                      <a:gd name="connsiteY8" fmla="*/ 27071 h 105590"/>
                      <a:gd name="connsiteX9" fmla="*/ 49791 w 51845"/>
                      <a:gd name="connsiteY9" fmla="*/ 83116 h 105590"/>
                      <a:gd name="connsiteX10" fmla="*/ 26516 w 51845"/>
                      <a:gd name="connsiteY10" fmla="*/ 105590 h 105590"/>
                      <a:gd name="connsiteX11" fmla="*/ 25639 w 51845"/>
                      <a:gd name="connsiteY11" fmla="*/ 13318 h 105590"/>
                      <a:gd name="connsiteX12" fmla="*/ 15111 w 51845"/>
                      <a:gd name="connsiteY12" fmla="*/ 26839 h 105590"/>
                      <a:gd name="connsiteX13" fmla="*/ 13305 w 51845"/>
                      <a:gd name="connsiteY13" fmla="*/ 81800 h 105590"/>
                      <a:gd name="connsiteX14" fmla="*/ 15989 w 51845"/>
                      <a:gd name="connsiteY14" fmla="*/ 88999 h 105590"/>
                      <a:gd name="connsiteX15" fmla="*/ 22930 w 51845"/>
                      <a:gd name="connsiteY15" fmla="*/ 92198 h 105590"/>
                      <a:gd name="connsiteX16" fmla="*/ 26129 w 51845"/>
                      <a:gd name="connsiteY16" fmla="*/ 92327 h 105590"/>
                      <a:gd name="connsiteX17" fmla="*/ 36502 w 51845"/>
                      <a:gd name="connsiteY17" fmla="*/ 82677 h 105590"/>
                      <a:gd name="connsiteX18" fmla="*/ 38541 w 51845"/>
                      <a:gd name="connsiteY18" fmla="*/ 26632 h 105590"/>
                      <a:gd name="connsiteX19" fmla="*/ 28993 w 51845"/>
                      <a:gd name="connsiteY19" fmla="*/ 13473 h 105590"/>
                      <a:gd name="connsiteX20" fmla="*/ 25794 w 51845"/>
                      <a:gd name="connsiteY20" fmla="*/ 13344 h 105590"/>
                      <a:gd name="connsiteX21" fmla="*/ 25639 w 51845"/>
                      <a:gd name="connsiteY21" fmla="*/ 13318 h 105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845" h="105590">
                        <a:moveTo>
                          <a:pt x="26516" y="105590"/>
                        </a:moveTo>
                        <a:cubicBezTo>
                          <a:pt x="26233" y="105590"/>
                          <a:pt x="25949" y="105590"/>
                          <a:pt x="25665" y="105564"/>
                        </a:cubicBezTo>
                        <a:lnTo>
                          <a:pt x="22465" y="105435"/>
                        </a:lnTo>
                        <a:cubicBezTo>
                          <a:pt x="16273" y="105203"/>
                          <a:pt x="10518" y="102571"/>
                          <a:pt x="6261" y="98004"/>
                        </a:cubicBezTo>
                        <a:cubicBezTo>
                          <a:pt x="2003" y="93437"/>
                          <a:pt x="-216" y="87502"/>
                          <a:pt x="17" y="81284"/>
                        </a:cubicBezTo>
                        <a:lnTo>
                          <a:pt x="1823" y="26349"/>
                        </a:lnTo>
                        <a:cubicBezTo>
                          <a:pt x="2287" y="13757"/>
                          <a:pt x="13202" y="-255"/>
                          <a:pt x="26284" y="4"/>
                        </a:cubicBezTo>
                        <a:lnTo>
                          <a:pt x="29484" y="133"/>
                        </a:lnTo>
                        <a:cubicBezTo>
                          <a:pt x="42824" y="623"/>
                          <a:pt x="52294" y="14763"/>
                          <a:pt x="51829" y="27071"/>
                        </a:cubicBezTo>
                        <a:lnTo>
                          <a:pt x="49791" y="83116"/>
                        </a:lnTo>
                        <a:cubicBezTo>
                          <a:pt x="49326" y="95708"/>
                          <a:pt x="38979" y="105590"/>
                          <a:pt x="26516" y="105590"/>
                        </a:cubicBezTo>
                        <a:close/>
                        <a:moveTo>
                          <a:pt x="25639" y="13318"/>
                        </a:moveTo>
                        <a:cubicBezTo>
                          <a:pt x="20995" y="13318"/>
                          <a:pt x="15344" y="20543"/>
                          <a:pt x="15111" y="26839"/>
                        </a:cubicBezTo>
                        <a:lnTo>
                          <a:pt x="13305" y="81800"/>
                        </a:lnTo>
                        <a:cubicBezTo>
                          <a:pt x="13202" y="84483"/>
                          <a:pt x="14157" y="87012"/>
                          <a:pt x="15989" y="88999"/>
                        </a:cubicBezTo>
                        <a:cubicBezTo>
                          <a:pt x="17821" y="90960"/>
                          <a:pt x="20272" y="92095"/>
                          <a:pt x="22930" y="92198"/>
                        </a:cubicBezTo>
                        <a:lnTo>
                          <a:pt x="26129" y="92327"/>
                        </a:lnTo>
                        <a:cubicBezTo>
                          <a:pt x="31935" y="92611"/>
                          <a:pt x="36296" y="88199"/>
                          <a:pt x="36502" y="82677"/>
                        </a:cubicBezTo>
                        <a:lnTo>
                          <a:pt x="38541" y="26632"/>
                        </a:lnTo>
                        <a:cubicBezTo>
                          <a:pt x="38773" y="20543"/>
                          <a:pt x="33767" y="13653"/>
                          <a:pt x="28993" y="13473"/>
                        </a:cubicBezTo>
                        <a:lnTo>
                          <a:pt x="25794" y="13344"/>
                        </a:lnTo>
                        <a:cubicBezTo>
                          <a:pt x="25742" y="13318"/>
                          <a:pt x="25691" y="13318"/>
                          <a:pt x="25639" y="13318"/>
                        </a:cubicBezTo>
                        <a:close/>
                      </a:path>
                    </a:pathLst>
                  </a:custGeom>
                  <a:grpFill/>
                  <a:ln w="2573" cap="flat">
                    <a:noFill/>
                    <a:prstDash val="solid"/>
                    <a:miter/>
                  </a:ln>
                </p:spPr>
                <p:txBody>
                  <a:bodyPr rtlCol="0" anchor="ctr"/>
                  <a:lstStyle/>
                  <a:p>
                    <a:endParaRPr lang="en-GB" dirty="0"/>
                  </a:p>
                </p:txBody>
              </p:sp>
              <p:sp>
                <p:nvSpPr>
                  <p:cNvPr id="1487" name="Freihandform: Form 1486">
                    <a:extLst>
                      <a:ext uri="{FF2B5EF4-FFF2-40B4-BE49-F238E27FC236}">
                        <a16:creationId xmlns:a16="http://schemas.microsoft.com/office/drawing/2014/main" id="{BAA12A3B-31D4-4E0E-8F7F-C3771DCEB95A}"/>
                      </a:ext>
                    </a:extLst>
                  </p:cNvPr>
                  <p:cNvSpPr/>
                  <p:nvPr/>
                </p:nvSpPr>
                <p:spPr>
                  <a:xfrm>
                    <a:off x="2867064" y="1951912"/>
                    <a:ext cx="55579" cy="96675"/>
                  </a:xfrm>
                  <a:custGeom>
                    <a:avLst/>
                    <a:gdLst>
                      <a:gd name="connsiteX0" fmla="*/ 30913 w 55579"/>
                      <a:gd name="connsiteY0" fmla="*/ 96675 h 96675"/>
                      <a:gd name="connsiteX1" fmla="*/ 9496 w 55579"/>
                      <a:gd name="connsiteY1" fmla="*/ 78974 h 96675"/>
                      <a:gd name="connsiteX2" fmla="*/ 439 w 55579"/>
                      <a:gd name="connsiteY2" fmla="*/ 29407 h 96675"/>
                      <a:gd name="connsiteX3" fmla="*/ 2813 w 55579"/>
                      <a:gd name="connsiteY3" fmla="*/ 12428 h 96675"/>
                      <a:gd name="connsiteX4" fmla="*/ 16695 w 55579"/>
                      <a:gd name="connsiteY4" fmla="*/ 842 h 96675"/>
                      <a:gd name="connsiteX5" fmla="*/ 19559 w 55579"/>
                      <a:gd name="connsiteY5" fmla="*/ 301 h 96675"/>
                      <a:gd name="connsiteX6" fmla="*/ 37080 w 55579"/>
                      <a:gd name="connsiteY6" fmla="*/ 6055 h 96675"/>
                      <a:gd name="connsiteX7" fmla="*/ 46059 w 55579"/>
                      <a:gd name="connsiteY7" fmla="*/ 21253 h 96675"/>
                      <a:gd name="connsiteX8" fmla="*/ 55193 w 55579"/>
                      <a:gd name="connsiteY8" fmla="*/ 70253 h 96675"/>
                      <a:gd name="connsiteX9" fmla="*/ 37880 w 55579"/>
                      <a:gd name="connsiteY9" fmla="*/ 95747 h 96675"/>
                      <a:gd name="connsiteX10" fmla="*/ 35041 w 55579"/>
                      <a:gd name="connsiteY10" fmla="*/ 96288 h 96675"/>
                      <a:gd name="connsiteX11" fmla="*/ 30913 w 55579"/>
                      <a:gd name="connsiteY11" fmla="*/ 96675 h 96675"/>
                      <a:gd name="connsiteX12" fmla="*/ 22088 w 55579"/>
                      <a:gd name="connsiteY12" fmla="*/ 13357 h 96675"/>
                      <a:gd name="connsiteX13" fmla="*/ 19224 w 55579"/>
                      <a:gd name="connsiteY13" fmla="*/ 13899 h 96675"/>
                      <a:gd name="connsiteX14" fmla="*/ 14812 w 55579"/>
                      <a:gd name="connsiteY14" fmla="*/ 18182 h 96675"/>
                      <a:gd name="connsiteX15" fmla="*/ 13521 w 55579"/>
                      <a:gd name="connsiteY15" fmla="*/ 26929 h 96675"/>
                      <a:gd name="connsiteX16" fmla="*/ 22578 w 55579"/>
                      <a:gd name="connsiteY16" fmla="*/ 76497 h 96675"/>
                      <a:gd name="connsiteX17" fmla="*/ 32513 w 55579"/>
                      <a:gd name="connsiteY17" fmla="*/ 83180 h 96675"/>
                      <a:gd name="connsiteX18" fmla="*/ 35351 w 55579"/>
                      <a:gd name="connsiteY18" fmla="*/ 82639 h 96675"/>
                      <a:gd name="connsiteX19" fmla="*/ 42111 w 55579"/>
                      <a:gd name="connsiteY19" fmla="*/ 72679 h 96675"/>
                      <a:gd name="connsiteX20" fmla="*/ 32977 w 55579"/>
                      <a:gd name="connsiteY20" fmla="*/ 23678 h 96675"/>
                      <a:gd name="connsiteX21" fmla="*/ 28229 w 55579"/>
                      <a:gd name="connsiteY21" fmla="*/ 15937 h 96675"/>
                      <a:gd name="connsiteX22" fmla="*/ 22088 w 55579"/>
                      <a:gd name="connsiteY22" fmla="*/ 13357 h 96675"/>
                      <a:gd name="connsiteX23" fmla="*/ 22088 w 55579"/>
                      <a:gd name="connsiteY23" fmla="*/ 13357 h 9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5579" h="96675">
                        <a:moveTo>
                          <a:pt x="30913" y="96675"/>
                        </a:moveTo>
                        <a:cubicBezTo>
                          <a:pt x="20669" y="96675"/>
                          <a:pt x="11509" y="89399"/>
                          <a:pt x="9496" y="78974"/>
                        </a:cubicBezTo>
                        <a:lnTo>
                          <a:pt x="439" y="29407"/>
                        </a:lnTo>
                        <a:cubicBezTo>
                          <a:pt x="-619" y="23962"/>
                          <a:pt x="259" y="17769"/>
                          <a:pt x="2813" y="12428"/>
                        </a:cubicBezTo>
                        <a:cubicBezTo>
                          <a:pt x="5858" y="6080"/>
                          <a:pt x="10812" y="1978"/>
                          <a:pt x="16695" y="842"/>
                        </a:cubicBezTo>
                        <a:lnTo>
                          <a:pt x="19559" y="301"/>
                        </a:lnTo>
                        <a:cubicBezTo>
                          <a:pt x="25365" y="-835"/>
                          <a:pt x="31738" y="1281"/>
                          <a:pt x="37080" y="6055"/>
                        </a:cubicBezTo>
                        <a:cubicBezTo>
                          <a:pt x="41647" y="10132"/>
                          <a:pt x="45001" y="15834"/>
                          <a:pt x="46059" y="21253"/>
                        </a:cubicBezTo>
                        <a:lnTo>
                          <a:pt x="55193" y="70253"/>
                        </a:lnTo>
                        <a:cubicBezTo>
                          <a:pt x="57438" y="82045"/>
                          <a:pt x="49672" y="93476"/>
                          <a:pt x="37880" y="95747"/>
                        </a:cubicBezTo>
                        <a:lnTo>
                          <a:pt x="35041" y="96288"/>
                        </a:lnTo>
                        <a:cubicBezTo>
                          <a:pt x="33648" y="96546"/>
                          <a:pt x="32254" y="96675"/>
                          <a:pt x="30913" y="96675"/>
                        </a:cubicBezTo>
                        <a:close/>
                        <a:moveTo>
                          <a:pt x="22088" y="13357"/>
                        </a:moveTo>
                        <a:lnTo>
                          <a:pt x="19224" y="13899"/>
                        </a:lnTo>
                        <a:cubicBezTo>
                          <a:pt x="16876" y="14338"/>
                          <a:pt x="15353" y="17047"/>
                          <a:pt x="14812" y="18182"/>
                        </a:cubicBezTo>
                        <a:cubicBezTo>
                          <a:pt x="13496" y="20917"/>
                          <a:pt x="13005" y="24272"/>
                          <a:pt x="13521" y="26929"/>
                        </a:cubicBezTo>
                        <a:lnTo>
                          <a:pt x="22578" y="76497"/>
                        </a:lnTo>
                        <a:cubicBezTo>
                          <a:pt x="23456" y="81039"/>
                          <a:pt x="27920" y="84032"/>
                          <a:pt x="32513" y="83180"/>
                        </a:cubicBezTo>
                        <a:lnTo>
                          <a:pt x="35351" y="82639"/>
                        </a:lnTo>
                        <a:cubicBezTo>
                          <a:pt x="39970" y="81761"/>
                          <a:pt x="42989" y="77297"/>
                          <a:pt x="42111" y="72679"/>
                        </a:cubicBezTo>
                        <a:lnTo>
                          <a:pt x="32977" y="23678"/>
                        </a:lnTo>
                        <a:cubicBezTo>
                          <a:pt x="32487" y="21124"/>
                          <a:pt x="30629" y="18079"/>
                          <a:pt x="28229" y="15937"/>
                        </a:cubicBezTo>
                        <a:cubicBezTo>
                          <a:pt x="26062" y="14028"/>
                          <a:pt x="23662" y="13022"/>
                          <a:pt x="22088" y="13357"/>
                        </a:cubicBezTo>
                        <a:lnTo>
                          <a:pt x="22088" y="13357"/>
                        </a:lnTo>
                        <a:close/>
                      </a:path>
                    </a:pathLst>
                  </a:custGeom>
                  <a:grpFill/>
                  <a:ln w="2573" cap="flat">
                    <a:noFill/>
                    <a:prstDash val="solid"/>
                    <a:miter/>
                  </a:ln>
                </p:spPr>
                <p:txBody>
                  <a:bodyPr rtlCol="0" anchor="ctr"/>
                  <a:lstStyle/>
                  <a:p>
                    <a:endParaRPr lang="en-GB" dirty="0"/>
                  </a:p>
                </p:txBody>
              </p:sp>
              <p:sp>
                <p:nvSpPr>
                  <p:cNvPr id="1488" name="Freihandform: Form 1487">
                    <a:extLst>
                      <a:ext uri="{FF2B5EF4-FFF2-40B4-BE49-F238E27FC236}">
                        <a16:creationId xmlns:a16="http://schemas.microsoft.com/office/drawing/2014/main" id="{13996594-FA73-495C-82FF-D152A497FBB5}"/>
                      </a:ext>
                    </a:extLst>
                  </p:cNvPr>
                  <p:cNvSpPr/>
                  <p:nvPr/>
                </p:nvSpPr>
                <p:spPr>
                  <a:xfrm>
                    <a:off x="2824712" y="1964641"/>
                    <a:ext cx="64837" cy="94371"/>
                  </a:xfrm>
                  <a:custGeom>
                    <a:avLst/>
                    <a:gdLst>
                      <a:gd name="connsiteX0" fmla="*/ 40340 w 64837"/>
                      <a:gd name="connsiteY0" fmla="*/ 94371 h 94371"/>
                      <a:gd name="connsiteX1" fmla="*/ 19930 w 64837"/>
                      <a:gd name="connsiteY1" fmla="*/ 80334 h 94371"/>
                      <a:gd name="connsiteX2" fmla="*/ 1506 w 64837"/>
                      <a:gd name="connsiteY2" fmla="*/ 31618 h 94371"/>
                      <a:gd name="connsiteX3" fmla="*/ 1532 w 64837"/>
                      <a:gd name="connsiteY3" fmla="*/ 14691 h 94371"/>
                      <a:gd name="connsiteX4" fmla="*/ 13531 w 64837"/>
                      <a:gd name="connsiteY4" fmla="*/ 2125 h 94371"/>
                      <a:gd name="connsiteX5" fmla="*/ 16240 w 64837"/>
                      <a:gd name="connsiteY5" fmla="*/ 1093 h 94371"/>
                      <a:gd name="connsiteX6" fmla="*/ 34328 w 64837"/>
                      <a:gd name="connsiteY6" fmla="*/ 3699 h 94371"/>
                      <a:gd name="connsiteX7" fmla="*/ 45527 w 64837"/>
                      <a:gd name="connsiteY7" fmla="*/ 17039 h 94371"/>
                      <a:gd name="connsiteX8" fmla="*/ 63408 w 64837"/>
                      <a:gd name="connsiteY8" fmla="*/ 63743 h 94371"/>
                      <a:gd name="connsiteX9" fmla="*/ 50790 w 64837"/>
                      <a:gd name="connsiteY9" fmla="*/ 91894 h 94371"/>
                      <a:gd name="connsiteX10" fmla="*/ 48081 w 64837"/>
                      <a:gd name="connsiteY10" fmla="*/ 92926 h 94371"/>
                      <a:gd name="connsiteX11" fmla="*/ 40340 w 64837"/>
                      <a:gd name="connsiteY11" fmla="*/ 94371 h 94371"/>
                      <a:gd name="connsiteX12" fmla="*/ 22381 w 64837"/>
                      <a:gd name="connsiteY12" fmla="*/ 13272 h 94371"/>
                      <a:gd name="connsiteX13" fmla="*/ 20962 w 64837"/>
                      <a:gd name="connsiteY13" fmla="*/ 13504 h 94371"/>
                      <a:gd name="connsiteX14" fmla="*/ 18253 w 64837"/>
                      <a:gd name="connsiteY14" fmla="*/ 14536 h 94371"/>
                      <a:gd name="connsiteX15" fmla="*/ 14021 w 64837"/>
                      <a:gd name="connsiteY15" fmla="*/ 19284 h 94371"/>
                      <a:gd name="connsiteX16" fmla="*/ 13943 w 64837"/>
                      <a:gd name="connsiteY16" fmla="*/ 26870 h 94371"/>
                      <a:gd name="connsiteX17" fmla="*/ 32367 w 64837"/>
                      <a:gd name="connsiteY17" fmla="*/ 75587 h 94371"/>
                      <a:gd name="connsiteX18" fmla="*/ 43333 w 64837"/>
                      <a:gd name="connsiteY18" fmla="*/ 80489 h 94371"/>
                      <a:gd name="connsiteX19" fmla="*/ 46043 w 64837"/>
                      <a:gd name="connsiteY19" fmla="*/ 79457 h 94371"/>
                      <a:gd name="connsiteX20" fmla="*/ 50971 w 64837"/>
                      <a:gd name="connsiteY20" fmla="*/ 68491 h 94371"/>
                      <a:gd name="connsiteX21" fmla="*/ 33089 w 64837"/>
                      <a:gd name="connsiteY21" fmla="*/ 21787 h 94371"/>
                      <a:gd name="connsiteX22" fmla="*/ 27206 w 64837"/>
                      <a:gd name="connsiteY22" fmla="*/ 14949 h 94371"/>
                      <a:gd name="connsiteX23" fmla="*/ 22381 w 64837"/>
                      <a:gd name="connsiteY23" fmla="*/ 13272 h 94371"/>
                      <a:gd name="connsiteX24" fmla="*/ 18614 w 64837"/>
                      <a:gd name="connsiteY24" fmla="*/ 7311 h 94371"/>
                      <a:gd name="connsiteX25" fmla="*/ 18691 w 64837"/>
                      <a:gd name="connsiteY25" fmla="*/ 7311 h 94371"/>
                      <a:gd name="connsiteX26" fmla="*/ 18614 w 64837"/>
                      <a:gd name="connsiteY26" fmla="*/ 7311 h 94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4837" h="94371">
                        <a:moveTo>
                          <a:pt x="40340" y="94371"/>
                        </a:moveTo>
                        <a:cubicBezTo>
                          <a:pt x="31541" y="94371"/>
                          <a:pt x="23233" y="89004"/>
                          <a:pt x="19930" y="80334"/>
                        </a:cubicBezTo>
                        <a:lnTo>
                          <a:pt x="1506" y="31618"/>
                        </a:lnTo>
                        <a:cubicBezTo>
                          <a:pt x="-506" y="26354"/>
                          <a:pt x="-506" y="20161"/>
                          <a:pt x="1532" y="14691"/>
                        </a:cubicBezTo>
                        <a:cubicBezTo>
                          <a:pt x="3725" y="8782"/>
                          <a:pt x="8086" y="4189"/>
                          <a:pt x="13531" y="2125"/>
                        </a:cubicBezTo>
                        <a:lnTo>
                          <a:pt x="16240" y="1093"/>
                        </a:lnTo>
                        <a:cubicBezTo>
                          <a:pt x="21762" y="-997"/>
                          <a:pt x="28367" y="-68"/>
                          <a:pt x="34328" y="3699"/>
                        </a:cubicBezTo>
                        <a:cubicBezTo>
                          <a:pt x="39463" y="6950"/>
                          <a:pt x="43540" y="11801"/>
                          <a:pt x="45527" y="17039"/>
                        </a:cubicBezTo>
                        <a:lnTo>
                          <a:pt x="63408" y="63743"/>
                        </a:lnTo>
                        <a:cubicBezTo>
                          <a:pt x="67691" y="74993"/>
                          <a:pt x="62015" y="87611"/>
                          <a:pt x="50790" y="91894"/>
                        </a:cubicBezTo>
                        <a:lnTo>
                          <a:pt x="48081" y="92926"/>
                        </a:lnTo>
                        <a:cubicBezTo>
                          <a:pt x="45527" y="93907"/>
                          <a:pt x="42920" y="94371"/>
                          <a:pt x="40340" y="94371"/>
                        </a:cubicBezTo>
                        <a:close/>
                        <a:moveTo>
                          <a:pt x="22381" y="13272"/>
                        </a:moveTo>
                        <a:cubicBezTo>
                          <a:pt x="21865" y="13272"/>
                          <a:pt x="21400" y="13349"/>
                          <a:pt x="20962" y="13504"/>
                        </a:cubicBezTo>
                        <a:lnTo>
                          <a:pt x="18253" y="14536"/>
                        </a:lnTo>
                        <a:cubicBezTo>
                          <a:pt x="15724" y="15491"/>
                          <a:pt x="14511" y="17917"/>
                          <a:pt x="14021" y="19284"/>
                        </a:cubicBezTo>
                        <a:cubicBezTo>
                          <a:pt x="13118" y="21761"/>
                          <a:pt x="13092" y="24600"/>
                          <a:pt x="13943" y="26870"/>
                        </a:cubicBezTo>
                        <a:lnTo>
                          <a:pt x="32367" y="75587"/>
                        </a:lnTo>
                        <a:cubicBezTo>
                          <a:pt x="34018" y="79947"/>
                          <a:pt x="38921" y="82166"/>
                          <a:pt x="43333" y="80489"/>
                        </a:cubicBezTo>
                        <a:lnTo>
                          <a:pt x="46043" y="79457"/>
                        </a:lnTo>
                        <a:cubicBezTo>
                          <a:pt x="50429" y="77780"/>
                          <a:pt x="52622" y="72851"/>
                          <a:pt x="50971" y="68491"/>
                        </a:cubicBezTo>
                        <a:lnTo>
                          <a:pt x="33089" y="21787"/>
                        </a:lnTo>
                        <a:cubicBezTo>
                          <a:pt x="32109" y="19258"/>
                          <a:pt x="29864" y="16626"/>
                          <a:pt x="27206" y="14949"/>
                        </a:cubicBezTo>
                        <a:cubicBezTo>
                          <a:pt x="25503" y="13865"/>
                          <a:pt x="23774" y="13272"/>
                          <a:pt x="22381" y="13272"/>
                        </a:cubicBezTo>
                        <a:close/>
                        <a:moveTo>
                          <a:pt x="18614" y="7311"/>
                        </a:moveTo>
                        <a:lnTo>
                          <a:pt x="18691" y="7311"/>
                        </a:lnTo>
                        <a:lnTo>
                          <a:pt x="18614" y="7311"/>
                        </a:lnTo>
                        <a:close/>
                      </a:path>
                    </a:pathLst>
                  </a:custGeom>
                  <a:grpFill/>
                  <a:ln w="2573" cap="flat">
                    <a:noFill/>
                    <a:prstDash val="solid"/>
                    <a:miter/>
                  </a:ln>
                </p:spPr>
                <p:txBody>
                  <a:bodyPr rtlCol="0" anchor="ctr"/>
                  <a:lstStyle/>
                  <a:p>
                    <a:endParaRPr lang="en-GB" dirty="0"/>
                  </a:p>
                </p:txBody>
              </p:sp>
              <p:sp>
                <p:nvSpPr>
                  <p:cNvPr id="1489" name="Freihandform: Form 1488">
                    <a:extLst>
                      <a:ext uri="{FF2B5EF4-FFF2-40B4-BE49-F238E27FC236}">
                        <a16:creationId xmlns:a16="http://schemas.microsoft.com/office/drawing/2014/main" id="{F8DB9B68-6A7D-42B3-9BDA-72B97C477072}"/>
                      </a:ext>
                    </a:extLst>
                  </p:cNvPr>
                  <p:cNvSpPr/>
                  <p:nvPr/>
                </p:nvSpPr>
                <p:spPr>
                  <a:xfrm>
                    <a:off x="2859698" y="1876589"/>
                    <a:ext cx="153997" cy="118663"/>
                  </a:xfrm>
                  <a:custGeom>
                    <a:avLst/>
                    <a:gdLst>
                      <a:gd name="connsiteX0" fmla="*/ 126397 w 153997"/>
                      <a:gd name="connsiteY0" fmla="*/ 118664 h 118663"/>
                      <a:gd name="connsiteX1" fmla="*/ 118991 w 153997"/>
                      <a:gd name="connsiteY1" fmla="*/ 116832 h 118663"/>
                      <a:gd name="connsiteX2" fmla="*/ 107173 w 153997"/>
                      <a:gd name="connsiteY2" fmla="*/ 106691 h 118663"/>
                      <a:gd name="connsiteX3" fmla="*/ 111844 w 153997"/>
                      <a:gd name="connsiteY3" fmla="*/ 65251 h 118663"/>
                      <a:gd name="connsiteX4" fmla="*/ 121236 w 153997"/>
                      <a:gd name="connsiteY4" fmla="*/ 64761 h 118663"/>
                      <a:gd name="connsiteX5" fmla="*/ 121726 w 153997"/>
                      <a:gd name="connsiteY5" fmla="*/ 74153 h 118663"/>
                      <a:gd name="connsiteX6" fmla="*/ 117546 w 153997"/>
                      <a:gd name="connsiteY6" fmla="*/ 98357 h 118663"/>
                      <a:gd name="connsiteX7" fmla="*/ 125261 w 153997"/>
                      <a:gd name="connsiteY7" fmla="*/ 105091 h 118663"/>
                      <a:gd name="connsiteX8" fmla="*/ 133751 w 153997"/>
                      <a:gd name="connsiteY8" fmla="*/ 101169 h 118663"/>
                      <a:gd name="connsiteX9" fmla="*/ 137905 w 153997"/>
                      <a:gd name="connsiteY9" fmla="*/ 73663 h 118663"/>
                      <a:gd name="connsiteX10" fmla="*/ 137105 w 153997"/>
                      <a:gd name="connsiteY10" fmla="*/ 72244 h 118663"/>
                      <a:gd name="connsiteX11" fmla="*/ 125442 w 153997"/>
                      <a:gd name="connsiteY11" fmla="*/ 57820 h 118663"/>
                      <a:gd name="connsiteX12" fmla="*/ 108051 w 153997"/>
                      <a:gd name="connsiteY12" fmla="*/ 38081 h 118663"/>
                      <a:gd name="connsiteX13" fmla="*/ 10902 w 153997"/>
                      <a:gd name="connsiteY13" fmla="*/ 30727 h 118663"/>
                      <a:gd name="connsiteX14" fmla="*/ 1535 w 153997"/>
                      <a:gd name="connsiteY14" fmla="*/ 29849 h 118663"/>
                      <a:gd name="connsiteX15" fmla="*/ 2412 w 153997"/>
                      <a:gd name="connsiteY15" fmla="*/ 20509 h 118663"/>
                      <a:gd name="connsiteX16" fmla="*/ 118088 w 153997"/>
                      <a:gd name="connsiteY16" fmla="*/ 29359 h 118663"/>
                      <a:gd name="connsiteX17" fmla="*/ 135350 w 153997"/>
                      <a:gd name="connsiteY17" fmla="*/ 48970 h 118663"/>
                      <a:gd name="connsiteX18" fmla="*/ 148768 w 153997"/>
                      <a:gd name="connsiteY18" fmla="*/ 65871 h 118663"/>
                      <a:gd name="connsiteX19" fmla="*/ 149465 w 153997"/>
                      <a:gd name="connsiteY19" fmla="*/ 67135 h 118663"/>
                      <a:gd name="connsiteX20" fmla="*/ 143246 w 153997"/>
                      <a:gd name="connsiteY20" fmla="*/ 110484 h 118663"/>
                      <a:gd name="connsiteX21" fmla="*/ 126397 w 153997"/>
                      <a:gd name="connsiteY21" fmla="*/ 118664 h 11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3997" h="118663">
                        <a:moveTo>
                          <a:pt x="126397" y="118664"/>
                        </a:moveTo>
                        <a:cubicBezTo>
                          <a:pt x="123816" y="118664"/>
                          <a:pt x="121313" y="118070"/>
                          <a:pt x="118991" y="116832"/>
                        </a:cubicBezTo>
                        <a:cubicBezTo>
                          <a:pt x="113392" y="113839"/>
                          <a:pt x="107793" y="107414"/>
                          <a:pt x="107173" y="106691"/>
                        </a:cubicBezTo>
                        <a:cubicBezTo>
                          <a:pt x="95304" y="91029"/>
                          <a:pt x="105058" y="72760"/>
                          <a:pt x="111844" y="65251"/>
                        </a:cubicBezTo>
                        <a:cubicBezTo>
                          <a:pt x="114321" y="62542"/>
                          <a:pt x="118501" y="62310"/>
                          <a:pt x="121236" y="64761"/>
                        </a:cubicBezTo>
                        <a:cubicBezTo>
                          <a:pt x="123945" y="67212"/>
                          <a:pt x="124178" y="71418"/>
                          <a:pt x="121726" y="74153"/>
                        </a:cubicBezTo>
                        <a:cubicBezTo>
                          <a:pt x="121159" y="74824"/>
                          <a:pt x="109702" y="87984"/>
                          <a:pt x="117546" y="98357"/>
                        </a:cubicBezTo>
                        <a:cubicBezTo>
                          <a:pt x="119017" y="100034"/>
                          <a:pt x="122707" y="103750"/>
                          <a:pt x="125261" y="105091"/>
                        </a:cubicBezTo>
                        <a:cubicBezTo>
                          <a:pt x="126758" y="105866"/>
                          <a:pt x="130241" y="104782"/>
                          <a:pt x="133751" y="101169"/>
                        </a:cubicBezTo>
                        <a:cubicBezTo>
                          <a:pt x="139763" y="95002"/>
                          <a:pt x="143633" y="83778"/>
                          <a:pt x="137905" y="73663"/>
                        </a:cubicBezTo>
                        <a:lnTo>
                          <a:pt x="137105" y="72244"/>
                        </a:lnTo>
                        <a:cubicBezTo>
                          <a:pt x="135660" y="69586"/>
                          <a:pt x="135144" y="68709"/>
                          <a:pt x="125442" y="57820"/>
                        </a:cubicBezTo>
                        <a:cubicBezTo>
                          <a:pt x="121210" y="53072"/>
                          <a:pt x="115611" y="46750"/>
                          <a:pt x="108051" y="38081"/>
                        </a:cubicBezTo>
                        <a:cubicBezTo>
                          <a:pt x="64211" y="-12184"/>
                          <a:pt x="13043" y="28972"/>
                          <a:pt x="10902" y="30727"/>
                        </a:cubicBezTo>
                        <a:cubicBezTo>
                          <a:pt x="8063" y="33049"/>
                          <a:pt x="3883" y="32662"/>
                          <a:pt x="1535" y="29849"/>
                        </a:cubicBezTo>
                        <a:cubicBezTo>
                          <a:pt x="-813" y="27011"/>
                          <a:pt x="-426" y="22831"/>
                          <a:pt x="2412" y="20509"/>
                        </a:cubicBezTo>
                        <a:cubicBezTo>
                          <a:pt x="3032" y="19993"/>
                          <a:pt x="65630" y="-30762"/>
                          <a:pt x="118088" y="29359"/>
                        </a:cubicBezTo>
                        <a:cubicBezTo>
                          <a:pt x="125597" y="37977"/>
                          <a:pt x="131145" y="44248"/>
                          <a:pt x="135350" y="48970"/>
                        </a:cubicBezTo>
                        <a:cubicBezTo>
                          <a:pt x="145672" y="60504"/>
                          <a:pt x="146652" y="62000"/>
                          <a:pt x="148768" y="65871"/>
                        </a:cubicBezTo>
                        <a:lnTo>
                          <a:pt x="149465" y="67135"/>
                        </a:lnTo>
                        <a:cubicBezTo>
                          <a:pt x="158573" y="83210"/>
                          <a:pt x="152639" y="100886"/>
                          <a:pt x="143246" y="110484"/>
                        </a:cubicBezTo>
                        <a:cubicBezTo>
                          <a:pt x="138034" y="115826"/>
                          <a:pt x="132022" y="118664"/>
                          <a:pt x="126397" y="118664"/>
                        </a:cubicBezTo>
                        <a:close/>
                      </a:path>
                    </a:pathLst>
                  </a:custGeom>
                  <a:grpFill/>
                  <a:ln w="2573" cap="flat">
                    <a:noFill/>
                    <a:prstDash val="solid"/>
                    <a:miter/>
                  </a:ln>
                </p:spPr>
                <p:txBody>
                  <a:bodyPr rtlCol="0" anchor="ctr"/>
                  <a:lstStyle/>
                  <a:p>
                    <a:endParaRPr lang="en-GB" dirty="0"/>
                  </a:p>
                </p:txBody>
              </p:sp>
            </p:grpSp>
            <p:grpSp>
              <p:nvGrpSpPr>
                <p:cNvPr id="1473" name="Grafik 312">
                  <a:extLst>
                    <a:ext uri="{FF2B5EF4-FFF2-40B4-BE49-F238E27FC236}">
                      <a16:creationId xmlns:a16="http://schemas.microsoft.com/office/drawing/2014/main" id="{F5A0A45A-9736-4EE8-8335-F401971DAF7C}"/>
                    </a:ext>
                  </a:extLst>
                </p:cNvPr>
                <p:cNvGrpSpPr/>
                <p:nvPr/>
              </p:nvGrpSpPr>
              <p:grpSpPr>
                <a:xfrm>
                  <a:off x="2521181" y="1876564"/>
                  <a:ext cx="229678" cy="183635"/>
                  <a:chOff x="2521181" y="1876564"/>
                  <a:chExt cx="229678" cy="183635"/>
                </a:xfrm>
                <a:grpFill/>
              </p:grpSpPr>
              <p:sp>
                <p:nvSpPr>
                  <p:cNvPr id="1474" name="Freihandform: Form 1473">
                    <a:extLst>
                      <a:ext uri="{FF2B5EF4-FFF2-40B4-BE49-F238E27FC236}">
                        <a16:creationId xmlns:a16="http://schemas.microsoft.com/office/drawing/2014/main" id="{DEA4AF10-BB99-488A-B185-07187A7C5DA9}"/>
                      </a:ext>
                    </a:extLst>
                  </p:cNvPr>
                  <p:cNvSpPr/>
                  <p:nvPr/>
                </p:nvSpPr>
                <p:spPr>
                  <a:xfrm>
                    <a:off x="2733183" y="1928512"/>
                    <a:ext cx="17676" cy="65218"/>
                  </a:xfrm>
                  <a:custGeom>
                    <a:avLst/>
                    <a:gdLst>
                      <a:gd name="connsiteX0" fmla="*/ 6671 w 17676"/>
                      <a:gd name="connsiteY0" fmla="*/ 65219 h 65218"/>
                      <a:gd name="connsiteX1" fmla="*/ 5046 w 17676"/>
                      <a:gd name="connsiteY1" fmla="*/ 65012 h 65218"/>
                      <a:gd name="connsiteX2" fmla="*/ 195 w 17676"/>
                      <a:gd name="connsiteY2" fmla="*/ 56936 h 65218"/>
                      <a:gd name="connsiteX3" fmla="*/ 2208 w 17676"/>
                      <a:gd name="connsiteY3" fmla="*/ 8374 h 65218"/>
                      <a:gd name="connsiteX4" fmla="*/ 6930 w 17676"/>
                      <a:gd name="connsiteY4" fmla="*/ 220 h 65218"/>
                      <a:gd name="connsiteX5" fmla="*/ 15057 w 17676"/>
                      <a:gd name="connsiteY5" fmla="*/ 4942 h 65218"/>
                      <a:gd name="connsiteX6" fmla="*/ 13096 w 17676"/>
                      <a:gd name="connsiteY6" fmla="*/ 60161 h 65218"/>
                      <a:gd name="connsiteX7" fmla="*/ 6671 w 17676"/>
                      <a:gd name="connsiteY7" fmla="*/ 65219 h 6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76" h="65218">
                        <a:moveTo>
                          <a:pt x="6671" y="65219"/>
                        </a:moveTo>
                        <a:cubicBezTo>
                          <a:pt x="6130" y="65219"/>
                          <a:pt x="5588" y="65167"/>
                          <a:pt x="5046" y="65012"/>
                        </a:cubicBezTo>
                        <a:cubicBezTo>
                          <a:pt x="1485" y="64135"/>
                          <a:pt x="-682" y="60522"/>
                          <a:pt x="195" y="56936"/>
                        </a:cubicBezTo>
                        <a:cubicBezTo>
                          <a:pt x="4994" y="37687"/>
                          <a:pt x="5665" y="21353"/>
                          <a:pt x="2208" y="8374"/>
                        </a:cubicBezTo>
                        <a:cubicBezTo>
                          <a:pt x="1253" y="4813"/>
                          <a:pt x="3369" y="1175"/>
                          <a:pt x="6930" y="220"/>
                        </a:cubicBezTo>
                        <a:cubicBezTo>
                          <a:pt x="10439" y="-709"/>
                          <a:pt x="14129" y="1382"/>
                          <a:pt x="15057" y="4942"/>
                        </a:cubicBezTo>
                        <a:cubicBezTo>
                          <a:pt x="19109" y="20115"/>
                          <a:pt x="18464" y="38693"/>
                          <a:pt x="13096" y="60161"/>
                        </a:cubicBezTo>
                        <a:cubicBezTo>
                          <a:pt x="12348" y="63206"/>
                          <a:pt x="9639" y="65219"/>
                          <a:pt x="6671" y="65219"/>
                        </a:cubicBezTo>
                        <a:close/>
                      </a:path>
                    </a:pathLst>
                  </a:custGeom>
                  <a:grpFill/>
                  <a:ln w="2573" cap="flat">
                    <a:noFill/>
                    <a:prstDash val="solid"/>
                    <a:miter/>
                  </a:ln>
                </p:spPr>
                <p:txBody>
                  <a:bodyPr rtlCol="0" anchor="ctr"/>
                  <a:lstStyle/>
                  <a:p>
                    <a:endParaRPr lang="en-GB" dirty="0"/>
                  </a:p>
                </p:txBody>
              </p:sp>
              <p:sp>
                <p:nvSpPr>
                  <p:cNvPr id="1475" name="Freihandform: Form 1474">
                    <a:extLst>
                      <a:ext uri="{FF2B5EF4-FFF2-40B4-BE49-F238E27FC236}">
                        <a16:creationId xmlns:a16="http://schemas.microsoft.com/office/drawing/2014/main" id="{0769D6B1-1F7A-4839-B1B3-7DD34FD3712C}"/>
                      </a:ext>
                    </a:extLst>
                  </p:cNvPr>
                  <p:cNvSpPr/>
                  <p:nvPr/>
                </p:nvSpPr>
                <p:spPr>
                  <a:xfrm>
                    <a:off x="2646657" y="1884958"/>
                    <a:ext cx="57510" cy="16577"/>
                  </a:xfrm>
                  <a:custGeom>
                    <a:avLst/>
                    <a:gdLst>
                      <a:gd name="connsiteX0" fmla="*/ 50881 w 57510"/>
                      <a:gd name="connsiteY0" fmla="*/ 16577 h 16577"/>
                      <a:gd name="connsiteX1" fmla="*/ 49255 w 57510"/>
                      <a:gd name="connsiteY1" fmla="*/ 16371 h 16577"/>
                      <a:gd name="connsiteX2" fmla="*/ 7661 w 57510"/>
                      <a:gd name="connsiteY2" fmla="*/ 14255 h 16577"/>
                      <a:gd name="connsiteX3" fmla="*/ 74 w 57510"/>
                      <a:gd name="connsiteY3" fmla="*/ 8682 h 16577"/>
                      <a:gd name="connsiteX4" fmla="*/ 5648 w 57510"/>
                      <a:gd name="connsiteY4" fmla="*/ 1095 h 16577"/>
                      <a:gd name="connsiteX5" fmla="*/ 52481 w 57510"/>
                      <a:gd name="connsiteY5" fmla="*/ 3444 h 16577"/>
                      <a:gd name="connsiteX6" fmla="*/ 57306 w 57510"/>
                      <a:gd name="connsiteY6" fmla="*/ 11520 h 16577"/>
                      <a:gd name="connsiteX7" fmla="*/ 50881 w 57510"/>
                      <a:gd name="connsiteY7" fmla="*/ 16577 h 16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10" h="16577">
                        <a:moveTo>
                          <a:pt x="50881" y="16577"/>
                        </a:moveTo>
                        <a:cubicBezTo>
                          <a:pt x="50339" y="16577"/>
                          <a:pt x="49797" y="16500"/>
                          <a:pt x="49255" y="16371"/>
                        </a:cubicBezTo>
                        <a:cubicBezTo>
                          <a:pt x="28587" y="11185"/>
                          <a:pt x="7867" y="14229"/>
                          <a:pt x="7661" y="14255"/>
                        </a:cubicBezTo>
                        <a:cubicBezTo>
                          <a:pt x="4022" y="14771"/>
                          <a:pt x="642" y="12320"/>
                          <a:pt x="74" y="8682"/>
                        </a:cubicBezTo>
                        <a:cubicBezTo>
                          <a:pt x="-468" y="5043"/>
                          <a:pt x="2010" y="1663"/>
                          <a:pt x="5648" y="1095"/>
                        </a:cubicBezTo>
                        <a:cubicBezTo>
                          <a:pt x="6577" y="941"/>
                          <a:pt x="29154" y="-2414"/>
                          <a:pt x="52481" y="3444"/>
                        </a:cubicBezTo>
                        <a:cubicBezTo>
                          <a:pt x="56041" y="4347"/>
                          <a:pt x="58209" y="7959"/>
                          <a:pt x="57306" y="11520"/>
                        </a:cubicBezTo>
                        <a:cubicBezTo>
                          <a:pt x="56557" y="14565"/>
                          <a:pt x="53848" y="16577"/>
                          <a:pt x="50881" y="16577"/>
                        </a:cubicBezTo>
                        <a:close/>
                      </a:path>
                    </a:pathLst>
                  </a:custGeom>
                  <a:grpFill/>
                  <a:ln w="2573" cap="flat">
                    <a:noFill/>
                    <a:prstDash val="solid"/>
                    <a:miter/>
                  </a:ln>
                </p:spPr>
                <p:txBody>
                  <a:bodyPr rtlCol="0" anchor="ctr"/>
                  <a:lstStyle/>
                  <a:p>
                    <a:endParaRPr lang="en-GB" dirty="0"/>
                  </a:p>
                </p:txBody>
              </p:sp>
              <p:sp>
                <p:nvSpPr>
                  <p:cNvPr id="1476" name="Freihandform: Form 1475">
                    <a:extLst>
                      <a:ext uri="{FF2B5EF4-FFF2-40B4-BE49-F238E27FC236}">
                        <a16:creationId xmlns:a16="http://schemas.microsoft.com/office/drawing/2014/main" id="{CC3E50E8-EE0A-4FC0-85D5-02B847705A31}"/>
                      </a:ext>
                    </a:extLst>
                  </p:cNvPr>
                  <p:cNvSpPr/>
                  <p:nvPr/>
                </p:nvSpPr>
                <p:spPr>
                  <a:xfrm>
                    <a:off x="2561721" y="1949123"/>
                    <a:ext cx="25103" cy="23526"/>
                  </a:xfrm>
                  <a:custGeom>
                    <a:avLst/>
                    <a:gdLst>
                      <a:gd name="connsiteX0" fmla="*/ 6671 w 25103"/>
                      <a:gd name="connsiteY0" fmla="*/ 23526 h 23526"/>
                      <a:gd name="connsiteX1" fmla="*/ 1304 w 25103"/>
                      <a:gd name="connsiteY1" fmla="*/ 20817 h 23526"/>
                      <a:gd name="connsiteX2" fmla="*/ 2698 w 25103"/>
                      <a:gd name="connsiteY2" fmla="*/ 11528 h 23526"/>
                      <a:gd name="connsiteX3" fmla="*/ 13509 w 25103"/>
                      <a:gd name="connsiteY3" fmla="*/ 2213 h 23526"/>
                      <a:gd name="connsiteX4" fmla="*/ 22876 w 25103"/>
                      <a:gd name="connsiteY4" fmla="*/ 1697 h 23526"/>
                      <a:gd name="connsiteX5" fmla="*/ 23418 w 25103"/>
                      <a:gd name="connsiteY5" fmla="*/ 11064 h 23526"/>
                      <a:gd name="connsiteX6" fmla="*/ 10593 w 25103"/>
                      <a:gd name="connsiteY6" fmla="*/ 22236 h 23526"/>
                      <a:gd name="connsiteX7" fmla="*/ 6671 w 25103"/>
                      <a:gd name="connsiteY7" fmla="*/ 23526 h 23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03" h="23526">
                        <a:moveTo>
                          <a:pt x="6671" y="23526"/>
                        </a:moveTo>
                        <a:cubicBezTo>
                          <a:pt x="4633" y="23526"/>
                          <a:pt x="2620" y="22598"/>
                          <a:pt x="1304" y="20817"/>
                        </a:cubicBezTo>
                        <a:cubicBezTo>
                          <a:pt x="-889" y="17850"/>
                          <a:pt x="-244" y="13695"/>
                          <a:pt x="2698" y="11528"/>
                        </a:cubicBezTo>
                        <a:cubicBezTo>
                          <a:pt x="9819" y="6264"/>
                          <a:pt x="13457" y="2239"/>
                          <a:pt x="13509" y="2213"/>
                        </a:cubicBezTo>
                        <a:cubicBezTo>
                          <a:pt x="15960" y="-522"/>
                          <a:pt x="20166" y="-754"/>
                          <a:pt x="22876" y="1697"/>
                        </a:cubicBezTo>
                        <a:cubicBezTo>
                          <a:pt x="25611" y="4148"/>
                          <a:pt x="25869" y="8328"/>
                          <a:pt x="23418" y="11064"/>
                        </a:cubicBezTo>
                        <a:cubicBezTo>
                          <a:pt x="23237" y="11270"/>
                          <a:pt x="18954" y="16069"/>
                          <a:pt x="10593" y="22236"/>
                        </a:cubicBezTo>
                        <a:cubicBezTo>
                          <a:pt x="9432" y="23088"/>
                          <a:pt x="8039" y="23526"/>
                          <a:pt x="6671" y="23526"/>
                        </a:cubicBezTo>
                        <a:close/>
                      </a:path>
                    </a:pathLst>
                  </a:custGeom>
                  <a:grpFill/>
                  <a:ln w="2573" cap="flat">
                    <a:noFill/>
                    <a:prstDash val="solid"/>
                    <a:miter/>
                  </a:ln>
                </p:spPr>
                <p:txBody>
                  <a:bodyPr rtlCol="0" anchor="ctr"/>
                  <a:lstStyle/>
                  <a:p>
                    <a:endParaRPr lang="en-GB" dirty="0"/>
                  </a:p>
                </p:txBody>
              </p:sp>
              <p:sp>
                <p:nvSpPr>
                  <p:cNvPr id="1477" name="Freihandform: Form 1476">
                    <a:extLst>
                      <a:ext uri="{FF2B5EF4-FFF2-40B4-BE49-F238E27FC236}">
                        <a16:creationId xmlns:a16="http://schemas.microsoft.com/office/drawing/2014/main" id="{39EE9AA5-11CE-4754-BA56-3F6803AB4CA8}"/>
                      </a:ext>
                    </a:extLst>
                  </p:cNvPr>
                  <p:cNvSpPr/>
                  <p:nvPr/>
                </p:nvSpPr>
                <p:spPr>
                  <a:xfrm>
                    <a:off x="2680825" y="1977886"/>
                    <a:ext cx="69770" cy="82313"/>
                  </a:xfrm>
                  <a:custGeom>
                    <a:avLst/>
                    <a:gdLst>
                      <a:gd name="connsiteX0" fmla="*/ 22699 w 69770"/>
                      <a:gd name="connsiteY0" fmla="*/ 82313 h 82313"/>
                      <a:gd name="connsiteX1" fmla="*/ 11113 w 69770"/>
                      <a:gd name="connsiteY1" fmla="*/ 78701 h 82313"/>
                      <a:gd name="connsiteX2" fmla="*/ 8920 w 69770"/>
                      <a:gd name="connsiteY2" fmla="*/ 77204 h 82313"/>
                      <a:gd name="connsiteX3" fmla="*/ 353 w 69770"/>
                      <a:gd name="connsiteY3" fmla="*/ 63993 h 82313"/>
                      <a:gd name="connsiteX4" fmla="*/ 3605 w 69770"/>
                      <a:gd name="connsiteY4" fmla="*/ 48614 h 82313"/>
                      <a:gd name="connsiteX5" fmla="*/ 29434 w 69770"/>
                      <a:gd name="connsiteY5" fmla="*/ 11200 h 82313"/>
                      <a:gd name="connsiteX6" fmla="*/ 60036 w 69770"/>
                      <a:gd name="connsiteY6" fmla="*/ 2813 h 82313"/>
                      <a:gd name="connsiteX7" fmla="*/ 62229 w 69770"/>
                      <a:gd name="connsiteY7" fmla="*/ 4310 h 82313"/>
                      <a:gd name="connsiteX8" fmla="*/ 65248 w 69770"/>
                      <a:gd name="connsiteY8" fmla="*/ 36125 h 82313"/>
                      <a:gd name="connsiteX9" fmla="*/ 39677 w 69770"/>
                      <a:gd name="connsiteY9" fmla="*/ 73411 h 82313"/>
                      <a:gd name="connsiteX10" fmla="*/ 26466 w 69770"/>
                      <a:gd name="connsiteY10" fmla="*/ 81978 h 82313"/>
                      <a:gd name="connsiteX11" fmla="*/ 22699 w 69770"/>
                      <a:gd name="connsiteY11" fmla="*/ 82313 h 82313"/>
                      <a:gd name="connsiteX12" fmla="*/ 50437 w 69770"/>
                      <a:gd name="connsiteY12" fmla="*/ 13238 h 82313"/>
                      <a:gd name="connsiteX13" fmla="*/ 40374 w 69770"/>
                      <a:gd name="connsiteY13" fmla="*/ 18734 h 82313"/>
                      <a:gd name="connsiteX14" fmla="*/ 14545 w 69770"/>
                      <a:gd name="connsiteY14" fmla="*/ 56149 h 82313"/>
                      <a:gd name="connsiteX15" fmla="*/ 13410 w 69770"/>
                      <a:gd name="connsiteY15" fmla="*/ 61567 h 82313"/>
                      <a:gd name="connsiteX16" fmla="*/ 16429 w 69770"/>
                      <a:gd name="connsiteY16" fmla="*/ 66238 h 82313"/>
                      <a:gd name="connsiteX17" fmla="*/ 18622 w 69770"/>
                      <a:gd name="connsiteY17" fmla="*/ 67734 h 82313"/>
                      <a:gd name="connsiteX18" fmla="*/ 24067 w 69770"/>
                      <a:gd name="connsiteY18" fmla="*/ 68870 h 82313"/>
                      <a:gd name="connsiteX19" fmla="*/ 28711 w 69770"/>
                      <a:gd name="connsiteY19" fmla="*/ 65851 h 82313"/>
                      <a:gd name="connsiteX20" fmla="*/ 54282 w 69770"/>
                      <a:gd name="connsiteY20" fmla="*/ 28565 h 82313"/>
                      <a:gd name="connsiteX21" fmla="*/ 54695 w 69770"/>
                      <a:gd name="connsiteY21" fmla="*/ 15251 h 82313"/>
                      <a:gd name="connsiteX22" fmla="*/ 52502 w 69770"/>
                      <a:gd name="connsiteY22" fmla="*/ 13728 h 82313"/>
                      <a:gd name="connsiteX23" fmla="*/ 50437 w 69770"/>
                      <a:gd name="connsiteY23" fmla="*/ 13238 h 82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9770" h="82313">
                        <a:moveTo>
                          <a:pt x="22699" y="82313"/>
                        </a:moveTo>
                        <a:cubicBezTo>
                          <a:pt x="18596" y="82313"/>
                          <a:pt x="14571" y="81075"/>
                          <a:pt x="11113" y="78701"/>
                        </a:cubicBezTo>
                        <a:lnTo>
                          <a:pt x="8920" y="77204"/>
                        </a:lnTo>
                        <a:cubicBezTo>
                          <a:pt x="4405" y="74108"/>
                          <a:pt x="1360" y="69411"/>
                          <a:pt x="353" y="63993"/>
                        </a:cubicBezTo>
                        <a:cubicBezTo>
                          <a:pt x="-653" y="58574"/>
                          <a:pt x="508" y="53130"/>
                          <a:pt x="3605" y="48614"/>
                        </a:cubicBezTo>
                        <a:lnTo>
                          <a:pt x="29434" y="11200"/>
                        </a:lnTo>
                        <a:cubicBezTo>
                          <a:pt x="35781" y="1962"/>
                          <a:pt x="50541" y="-3715"/>
                          <a:pt x="60036" y="2813"/>
                        </a:cubicBezTo>
                        <a:lnTo>
                          <a:pt x="62229" y="4310"/>
                        </a:lnTo>
                        <a:cubicBezTo>
                          <a:pt x="71751" y="10864"/>
                          <a:pt x="71673" y="26785"/>
                          <a:pt x="65248" y="36125"/>
                        </a:cubicBezTo>
                        <a:lnTo>
                          <a:pt x="39677" y="73411"/>
                        </a:lnTo>
                        <a:cubicBezTo>
                          <a:pt x="36581" y="77927"/>
                          <a:pt x="31885" y="80971"/>
                          <a:pt x="26466" y="81978"/>
                        </a:cubicBezTo>
                        <a:cubicBezTo>
                          <a:pt x="25228" y="82210"/>
                          <a:pt x="23963" y="82313"/>
                          <a:pt x="22699" y="82313"/>
                        </a:cubicBezTo>
                        <a:close/>
                        <a:moveTo>
                          <a:pt x="50437" y="13238"/>
                        </a:moveTo>
                        <a:cubicBezTo>
                          <a:pt x="47289" y="13238"/>
                          <a:pt x="42490" y="15663"/>
                          <a:pt x="40374" y="18734"/>
                        </a:cubicBezTo>
                        <a:lnTo>
                          <a:pt x="14545" y="56149"/>
                        </a:lnTo>
                        <a:cubicBezTo>
                          <a:pt x="13461" y="57723"/>
                          <a:pt x="13049" y="59658"/>
                          <a:pt x="13410" y="61567"/>
                        </a:cubicBezTo>
                        <a:cubicBezTo>
                          <a:pt x="13771" y="63477"/>
                          <a:pt x="14829" y="65128"/>
                          <a:pt x="16429" y="66238"/>
                        </a:cubicBezTo>
                        <a:lnTo>
                          <a:pt x="18622" y="67734"/>
                        </a:lnTo>
                        <a:cubicBezTo>
                          <a:pt x="20222" y="68818"/>
                          <a:pt x="22131" y="69231"/>
                          <a:pt x="24067" y="68870"/>
                        </a:cubicBezTo>
                        <a:cubicBezTo>
                          <a:pt x="25976" y="68508"/>
                          <a:pt x="27627" y="67450"/>
                          <a:pt x="28711" y="65851"/>
                        </a:cubicBezTo>
                        <a:lnTo>
                          <a:pt x="54282" y="28565"/>
                        </a:lnTo>
                        <a:cubicBezTo>
                          <a:pt x="57224" y="24282"/>
                          <a:pt x="57043" y="16850"/>
                          <a:pt x="54695" y="15251"/>
                        </a:cubicBezTo>
                        <a:lnTo>
                          <a:pt x="52502" y="13728"/>
                        </a:lnTo>
                        <a:cubicBezTo>
                          <a:pt x="51986" y="13419"/>
                          <a:pt x="51263" y="13238"/>
                          <a:pt x="50437" y="13238"/>
                        </a:cubicBezTo>
                        <a:close/>
                      </a:path>
                    </a:pathLst>
                  </a:custGeom>
                  <a:grpFill/>
                  <a:ln w="2573" cap="flat">
                    <a:noFill/>
                    <a:prstDash val="solid"/>
                    <a:miter/>
                  </a:ln>
                </p:spPr>
                <p:txBody>
                  <a:bodyPr rtlCol="0" anchor="ctr"/>
                  <a:lstStyle/>
                  <a:p>
                    <a:endParaRPr lang="en-GB" dirty="0"/>
                  </a:p>
                </p:txBody>
              </p:sp>
              <p:sp>
                <p:nvSpPr>
                  <p:cNvPr id="1478" name="Freihandform: Form 1477">
                    <a:extLst>
                      <a:ext uri="{FF2B5EF4-FFF2-40B4-BE49-F238E27FC236}">
                        <a16:creationId xmlns:a16="http://schemas.microsoft.com/office/drawing/2014/main" id="{2F52083A-5C34-4191-85C5-6E212430CF84}"/>
                      </a:ext>
                    </a:extLst>
                  </p:cNvPr>
                  <p:cNvSpPr/>
                  <p:nvPr/>
                </p:nvSpPr>
                <p:spPr>
                  <a:xfrm>
                    <a:off x="2572790" y="1936361"/>
                    <a:ext cx="51868" cy="105570"/>
                  </a:xfrm>
                  <a:custGeom>
                    <a:avLst/>
                    <a:gdLst>
                      <a:gd name="connsiteX0" fmla="*/ 25328 w 51868"/>
                      <a:gd name="connsiteY0" fmla="*/ 105570 h 105570"/>
                      <a:gd name="connsiteX1" fmla="*/ 2053 w 51868"/>
                      <a:gd name="connsiteY1" fmla="*/ 83121 h 105570"/>
                      <a:gd name="connsiteX2" fmla="*/ 15 w 51868"/>
                      <a:gd name="connsiteY2" fmla="*/ 27077 h 105570"/>
                      <a:gd name="connsiteX3" fmla="*/ 22360 w 51868"/>
                      <a:gd name="connsiteY3" fmla="*/ 138 h 105570"/>
                      <a:gd name="connsiteX4" fmla="*/ 25560 w 51868"/>
                      <a:gd name="connsiteY4" fmla="*/ 9 h 105570"/>
                      <a:gd name="connsiteX5" fmla="*/ 43029 w 51868"/>
                      <a:gd name="connsiteY5" fmla="*/ 8808 h 105570"/>
                      <a:gd name="connsiteX6" fmla="*/ 50021 w 51868"/>
                      <a:gd name="connsiteY6" fmla="*/ 26329 h 105570"/>
                      <a:gd name="connsiteX7" fmla="*/ 51853 w 51868"/>
                      <a:gd name="connsiteY7" fmla="*/ 81315 h 105570"/>
                      <a:gd name="connsiteX8" fmla="*/ 29405 w 51868"/>
                      <a:gd name="connsiteY8" fmla="*/ 105441 h 105570"/>
                      <a:gd name="connsiteX9" fmla="*/ 26205 w 51868"/>
                      <a:gd name="connsiteY9" fmla="*/ 105570 h 105570"/>
                      <a:gd name="connsiteX10" fmla="*/ 25328 w 51868"/>
                      <a:gd name="connsiteY10" fmla="*/ 105570 h 105570"/>
                      <a:gd name="connsiteX11" fmla="*/ 26179 w 51868"/>
                      <a:gd name="connsiteY11" fmla="*/ 13298 h 105570"/>
                      <a:gd name="connsiteX12" fmla="*/ 26024 w 51868"/>
                      <a:gd name="connsiteY12" fmla="*/ 13298 h 105570"/>
                      <a:gd name="connsiteX13" fmla="*/ 22825 w 51868"/>
                      <a:gd name="connsiteY13" fmla="*/ 13427 h 105570"/>
                      <a:gd name="connsiteX14" fmla="*/ 13278 w 51868"/>
                      <a:gd name="connsiteY14" fmla="*/ 26587 h 105570"/>
                      <a:gd name="connsiteX15" fmla="*/ 15316 w 51868"/>
                      <a:gd name="connsiteY15" fmla="*/ 82631 h 105570"/>
                      <a:gd name="connsiteX16" fmla="*/ 25689 w 51868"/>
                      <a:gd name="connsiteY16" fmla="*/ 92282 h 105570"/>
                      <a:gd name="connsiteX17" fmla="*/ 28888 w 51868"/>
                      <a:gd name="connsiteY17" fmla="*/ 92153 h 105570"/>
                      <a:gd name="connsiteX18" fmla="*/ 38539 w 51868"/>
                      <a:gd name="connsiteY18" fmla="*/ 81780 h 105570"/>
                      <a:gd name="connsiteX19" fmla="*/ 36733 w 51868"/>
                      <a:gd name="connsiteY19" fmla="*/ 26793 h 105570"/>
                      <a:gd name="connsiteX20" fmla="*/ 32759 w 51868"/>
                      <a:gd name="connsiteY20" fmla="*/ 17298 h 105570"/>
                      <a:gd name="connsiteX21" fmla="*/ 26179 w 51868"/>
                      <a:gd name="connsiteY21" fmla="*/ 13298 h 105570"/>
                      <a:gd name="connsiteX22" fmla="*/ 22592 w 51868"/>
                      <a:gd name="connsiteY22" fmla="*/ 6770 h 105570"/>
                      <a:gd name="connsiteX23" fmla="*/ 22644 w 51868"/>
                      <a:gd name="connsiteY23" fmla="*/ 6770 h 105570"/>
                      <a:gd name="connsiteX24" fmla="*/ 22592 w 51868"/>
                      <a:gd name="connsiteY24" fmla="*/ 6770 h 10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1868" h="105570">
                        <a:moveTo>
                          <a:pt x="25328" y="105570"/>
                        </a:moveTo>
                        <a:cubicBezTo>
                          <a:pt x="12865" y="105570"/>
                          <a:pt x="2492" y="95662"/>
                          <a:pt x="2053" y="83121"/>
                        </a:cubicBezTo>
                        <a:lnTo>
                          <a:pt x="15" y="27077"/>
                        </a:lnTo>
                        <a:cubicBezTo>
                          <a:pt x="-424" y="14769"/>
                          <a:pt x="9020" y="629"/>
                          <a:pt x="22360" y="138"/>
                        </a:cubicBezTo>
                        <a:lnTo>
                          <a:pt x="25560" y="9"/>
                        </a:lnTo>
                        <a:cubicBezTo>
                          <a:pt x="31830" y="-197"/>
                          <a:pt x="38203" y="3003"/>
                          <a:pt x="43029" y="8808"/>
                        </a:cubicBezTo>
                        <a:cubicBezTo>
                          <a:pt x="47209" y="13840"/>
                          <a:pt x="49815" y="20394"/>
                          <a:pt x="50021" y="26329"/>
                        </a:cubicBezTo>
                        <a:lnTo>
                          <a:pt x="51853" y="81315"/>
                        </a:lnTo>
                        <a:cubicBezTo>
                          <a:pt x="52318" y="94139"/>
                          <a:pt x="42254" y="104977"/>
                          <a:pt x="29405" y="105441"/>
                        </a:cubicBezTo>
                        <a:lnTo>
                          <a:pt x="26205" y="105570"/>
                        </a:lnTo>
                        <a:cubicBezTo>
                          <a:pt x="25895" y="105570"/>
                          <a:pt x="25611" y="105570"/>
                          <a:pt x="25328" y="105570"/>
                        </a:cubicBezTo>
                        <a:close/>
                        <a:moveTo>
                          <a:pt x="26179" y="13298"/>
                        </a:moveTo>
                        <a:cubicBezTo>
                          <a:pt x="26127" y="13298"/>
                          <a:pt x="26076" y="13298"/>
                          <a:pt x="26024" y="13298"/>
                        </a:cubicBezTo>
                        <a:lnTo>
                          <a:pt x="22825" y="13427"/>
                        </a:lnTo>
                        <a:cubicBezTo>
                          <a:pt x="18051" y="13608"/>
                          <a:pt x="13045" y="20497"/>
                          <a:pt x="13278" y="26587"/>
                        </a:cubicBezTo>
                        <a:lnTo>
                          <a:pt x="15316" y="82631"/>
                        </a:lnTo>
                        <a:cubicBezTo>
                          <a:pt x="15522" y="88153"/>
                          <a:pt x="20115" y="92565"/>
                          <a:pt x="25689" y="92282"/>
                        </a:cubicBezTo>
                        <a:lnTo>
                          <a:pt x="28888" y="92153"/>
                        </a:lnTo>
                        <a:cubicBezTo>
                          <a:pt x="34410" y="91946"/>
                          <a:pt x="38719" y="87302"/>
                          <a:pt x="38539" y="81780"/>
                        </a:cubicBezTo>
                        <a:lnTo>
                          <a:pt x="36733" y="26793"/>
                        </a:lnTo>
                        <a:cubicBezTo>
                          <a:pt x="36629" y="23748"/>
                          <a:pt x="35107" y="20110"/>
                          <a:pt x="32759" y="17298"/>
                        </a:cubicBezTo>
                        <a:cubicBezTo>
                          <a:pt x="30695" y="14795"/>
                          <a:pt x="28243" y="13298"/>
                          <a:pt x="26179" y="13298"/>
                        </a:cubicBezTo>
                        <a:close/>
                        <a:moveTo>
                          <a:pt x="22592" y="6770"/>
                        </a:moveTo>
                        <a:lnTo>
                          <a:pt x="22644" y="6770"/>
                        </a:lnTo>
                        <a:lnTo>
                          <a:pt x="22592" y="6770"/>
                        </a:lnTo>
                        <a:close/>
                      </a:path>
                    </a:pathLst>
                  </a:custGeom>
                  <a:grpFill/>
                  <a:ln w="2573" cap="flat">
                    <a:noFill/>
                    <a:prstDash val="solid"/>
                    <a:miter/>
                  </a:ln>
                </p:spPr>
                <p:txBody>
                  <a:bodyPr rtlCol="0" anchor="ctr"/>
                  <a:lstStyle/>
                  <a:p>
                    <a:endParaRPr lang="en-GB" dirty="0"/>
                  </a:p>
                </p:txBody>
              </p:sp>
              <p:sp>
                <p:nvSpPr>
                  <p:cNvPr id="1479" name="Freihandform: Form 1478">
                    <a:extLst>
                      <a:ext uri="{FF2B5EF4-FFF2-40B4-BE49-F238E27FC236}">
                        <a16:creationId xmlns:a16="http://schemas.microsoft.com/office/drawing/2014/main" id="{17428EC0-EB1A-4630-B25B-7ECDAE822AD8}"/>
                      </a:ext>
                    </a:extLst>
                  </p:cNvPr>
                  <p:cNvSpPr/>
                  <p:nvPr/>
                </p:nvSpPr>
                <p:spPr>
                  <a:xfrm>
                    <a:off x="2612255" y="1951915"/>
                    <a:ext cx="55558" cy="96672"/>
                  </a:xfrm>
                  <a:custGeom>
                    <a:avLst/>
                    <a:gdLst>
                      <a:gd name="connsiteX0" fmla="*/ 24645 w 55558"/>
                      <a:gd name="connsiteY0" fmla="*/ 96673 h 96672"/>
                      <a:gd name="connsiteX1" fmla="*/ 20543 w 55558"/>
                      <a:gd name="connsiteY1" fmla="*/ 96286 h 96672"/>
                      <a:gd name="connsiteX2" fmla="*/ 17679 w 55558"/>
                      <a:gd name="connsiteY2" fmla="*/ 95744 h 96672"/>
                      <a:gd name="connsiteX3" fmla="*/ 3771 w 55558"/>
                      <a:gd name="connsiteY3" fmla="*/ 86558 h 96672"/>
                      <a:gd name="connsiteX4" fmla="*/ 390 w 55558"/>
                      <a:gd name="connsiteY4" fmla="*/ 70224 h 96672"/>
                      <a:gd name="connsiteX5" fmla="*/ 9499 w 55558"/>
                      <a:gd name="connsiteY5" fmla="*/ 21276 h 96672"/>
                      <a:gd name="connsiteX6" fmla="*/ 35999 w 55558"/>
                      <a:gd name="connsiteY6" fmla="*/ 298 h 96672"/>
                      <a:gd name="connsiteX7" fmla="*/ 35999 w 55558"/>
                      <a:gd name="connsiteY7" fmla="*/ 298 h 96672"/>
                      <a:gd name="connsiteX8" fmla="*/ 38863 w 55558"/>
                      <a:gd name="connsiteY8" fmla="*/ 840 h 96672"/>
                      <a:gd name="connsiteX9" fmla="*/ 52745 w 55558"/>
                      <a:gd name="connsiteY9" fmla="*/ 12425 h 96672"/>
                      <a:gd name="connsiteX10" fmla="*/ 55119 w 55558"/>
                      <a:gd name="connsiteY10" fmla="*/ 29455 h 96672"/>
                      <a:gd name="connsiteX11" fmla="*/ 46088 w 55558"/>
                      <a:gd name="connsiteY11" fmla="*/ 78920 h 96672"/>
                      <a:gd name="connsiteX12" fmla="*/ 24645 w 55558"/>
                      <a:gd name="connsiteY12" fmla="*/ 96673 h 96672"/>
                      <a:gd name="connsiteX13" fmla="*/ 32799 w 55558"/>
                      <a:gd name="connsiteY13" fmla="*/ 13277 h 96672"/>
                      <a:gd name="connsiteX14" fmla="*/ 22555 w 55558"/>
                      <a:gd name="connsiteY14" fmla="*/ 23727 h 96672"/>
                      <a:gd name="connsiteX15" fmla="*/ 13447 w 55558"/>
                      <a:gd name="connsiteY15" fmla="*/ 72676 h 96672"/>
                      <a:gd name="connsiteX16" fmla="*/ 14763 w 55558"/>
                      <a:gd name="connsiteY16" fmla="*/ 79075 h 96672"/>
                      <a:gd name="connsiteX17" fmla="*/ 20181 w 55558"/>
                      <a:gd name="connsiteY17" fmla="*/ 82662 h 96672"/>
                      <a:gd name="connsiteX18" fmla="*/ 23046 w 55558"/>
                      <a:gd name="connsiteY18" fmla="*/ 83203 h 96672"/>
                      <a:gd name="connsiteX19" fmla="*/ 32980 w 55558"/>
                      <a:gd name="connsiteY19" fmla="*/ 76443 h 96672"/>
                      <a:gd name="connsiteX20" fmla="*/ 42011 w 55558"/>
                      <a:gd name="connsiteY20" fmla="*/ 26978 h 96672"/>
                      <a:gd name="connsiteX21" fmla="*/ 40721 w 55558"/>
                      <a:gd name="connsiteY21" fmla="*/ 18154 h 96672"/>
                      <a:gd name="connsiteX22" fmla="*/ 36308 w 55558"/>
                      <a:gd name="connsiteY22" fmla="*/ 13870 h 96672"/>
                      <a:gd name="connsiteX23" fmla="*/ 33444 w 55558"/>
                      <a:gd name="connsiteY23" fmla="*/ 13328 h 96672"/>
                      <a:gd name="connsiteX24" fmla="*/ 32799 w 55558"/>
                      <a:gd name="connsiteY24" fmla="*/ 13277 h 9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5558" h="96672">
                        <a:moveTo>
                          <a:pt x="24645" y="96673"/>
                        </a:moveTo>
                        <a:cubicBezTo>
                          <a:pt x="23278" y="96673"/>
                          <a:pt x="21910" y="96544"/>
                          <a:pt x="20543" y="96286"/>
                        </a:cubicBezTo>
                        <a:lnTo>
                          <a:pt x="17679" y="95744"/>
                        </a:lnTo>
                        <a:cubicBezTo>
                          <a:pt x="11976" y="94660"/>
                          <a:pt x="7022" y="91383"/>
                          <a:pt x="3771" y="86558"/>
                        </a:cubicBezTo>
                        <a:cubicBezTo>
                          <a:pt x="494" y="81733"/>
                          <a:pt x="-693" y="75927"/>
                          <a:pt x="390" y="70224"/>
                        </a:cubicBezTo>
                        <a:lnTo>
                          <a:pt x="9499" y="21276"/>
                        </a:lnTo>
                        <a:cubicBezTo>
                          <a:pt x="11744" y="9639"/>
                          <a:pt x="23846" y="-2024"/>
                          <a:pt x="35999" y="298"/>
                        </a:cubicBezTo>
                        <a:lnTo>
                          <a:pt x="35999" y="298"/>
                        </a:lnTo>
                        <a:lnTo>
                          <a:pt x="38863" y="840"/>
                        </a:lnTo>
                        <a:cubicBezTo>
                          <a:pt x="44772" y="1975"/>
                          <a:pt x="49700" y="6078"/>
                          <a:pt x="52745" y="12425"/>
                        </a:cubicBezTo>
                        <a:cubicBezTo>
                          <a:pt x="55300" y="17741"/>
                          <a:pt x="56177" y="23959"/>
                          <a:pt x="55119" y="29455"/>
                        </a:cubicBezTo>
                        <a:lnTo>
                          <a:pt x="46088" y="78920"/>
                        </a:lnTo>
                        <a:cubicBezTo>
                          <a:pt x="44075" y="89370"/>
                          <a:pt x="34915" y="96673"/>
                          <a:pt x="24645" y="96673"/>
                        </a:cubicBezTo>
                        <a:close/>
                        <a:moveTo>
                          <a:pt x="32799" y="13277"/>
                        </a:moveTo>
                        <a:cubicBezTo>
                          <a:pt x="29006" y="13277"/>
                          <a:pt x="23510" y="18747"/>
                          <a:pt x="22555" y="23727"/>
                        </a:cubicBezTo>
                        <a:lnTo>
                          <a:pt x="13447" y="72676"/>
                        </a:lnTo>
                        <a:cubicBezTo>
                          <a:pt x="13008" y="74921"/>
                          <a:pt x="13473" y="77191"/>
                          <a:pt x="14763" y="79075"/>
                        </a:cubicBezTo>
                        <a:cubicBezTo>
                          <a:pt x="16053" y="80959"/>
                          <a:pt x="17962" y="82249"/>
                          <a:pt x="20181" y="82662"/>
                        </a:cubicBezTo>
                        <a:lnTo>
                          <a:pt x="23046" y="83203"/>
                        </a:lnTo>
                        <a:cubicBezTo>
                          <a:pt x="27613" y="84107"/>
                          <a:pt x="32102" y="81062"/>
                          <a:pt x="32980" y="76443"/>
                        </a:cubicBezTo>
                        <a:lnTo>
                          <a:pt x="42011" y="26978"/>
                        </a:lnTo>
                        <a:cubicBezTo>
                          <a:pt x="42527" y="24243"/>
                          <a:pt x="42037" y="20889"/>
                          <a:pt x="40721" y="18154"/>
                        </a:cubicBezTo>
                        <a:cubicBezTo>
                          <a:pt x="40179" y="17018"/>
                          <a:pt x="38631" y="14309"/>
                          <a:pt x="36308" y="13870"/>
                        </a:cubicBezTo>
                        <a:lnTo>
                          <a:pt x="33444" y="13328"/>
                        </a:lnTo>
                        <a:cubicBezTo>
                          <a:pt x="33264" y="13303"/>
                          <a:pt x="33032" y="13277"/>
                          <a:pt x="32799" y="13277"/>
                        </a:cubicBezTo>
                        <a:close/>
                      </a:path>
                    </a:pathLst>
                  </a:custGeom>
                  <a:grpFill/>
                  <a:ln w="2573" cap="flat">
                    <a:noFill/>
                    <a:prstDash val="solid"/>
                    <a:miter/>
                  </a:ln>
                </p:spPr>
                <p:txBody>
                  <a:bodyPr rtlCol="0" anchor="ctr"/>
                  <a:lstStyle/>
                  <a:p>
                    <a:endParaRPr lang="en-GB" dirty="0"/>
                  </a:p>
                </p:txBody>
              </p:sp>
              <p:sp>
                <p:nvSpPr>
                  <p:cNvPr id="1480" name="Freihandform: Form 1479">
                    <a:extLst>
                      <a:ext uri="{FF2B5EF4-FFF2-40B4-BE49-F238E27FC236}">
                        <a16:creationId xmlns:a16="http://schemas.microsoft.com/office/drawing/2014/main" id="{7321CF59-AE16-4BAF-86D5-F1CD2E4B7441}"/>
                      </a:ext>
                    </a:extLst>
                  </p:cNvPr>
                  <p:cNvSpPr/>
                  <p:nvPr/>
                </p:nvSpPr>
                <p:spPr>
                  <a:xfrm>
                    <a:off x="2645328" y="1964655"/>
                    <a:ext cx="64867" cy="94357"/>
                  </a:xfrm>
                  <a:custGeom>
                    <a:avLst/>
                    <a:gdLst>
                      <a:gd name="connsiteX0" fmla="*/ 24471 w 64867"/>
                      <a:gd name="connsiteY0" fmla="*/ 94357 h 94357"/>
                      <a:gd name="connsiteX1" fmla="*/ 16756 w 64867"/>
                      <a:gd name="connsiteY1" fmla="*/ 92938 h 94357"/>
                      <a:gd name="connsiteX2" fmla="*/ 14047 w 64867"/>
                      <a:gd name="connsiteY2" fmla="*/ 91906 h 94357"/>
                      <a:gd name="connsiteX3" fmla="*/ 1429 w 64867"/>
                      <a:gd name="connsiteY3" fmla="*/ 63780 h 94357"/>
                      <a:gd name="connsiteX4" fmla="*/ 19336 w 64867"/>
                      <a:gd name="connsiteY4" fmla="*/ 17051 h 94357"/>
                      <a:gd name="connsiteX5" fmla="*/ 30535 w 64867"/>
                      <a:gd name="connsiteY5" fmla="*/ 3710 h 94357"/>
                      <a:gd name="connsiteX6" fmla="*/ 48623 w 64867"/>
                      <a:gd name="connsiteY6" fmla="*/ 1104 h 94357"/>
                      <a:gd name="connsiteX7" fmla="*/ 51332 w 64867"/>
                      <a:gd name="connsiteY7" fmla="*/ 2136 h 94357"/>
                      <a:gd name="connsiteX8" fmla="*/ 63357 w 64867"/>
                      <a:gd name="connsiteY8" fmla="*/ 31629 h 94357"/>
                      <a:gd name="connsiteX9" fmla="*/ 44933 w 64867"/>
                      <a:gd name="connsiteY9" fmla="*/ 80320 h 94357"/>
                      <a:gd name="connsiteX10" fmla="*/ 24471 w 64867"/>
                      <a:gd name="connsiteY10" fmla="*/ 94357 h 94357"/>
                      <a:gd name="connsiteX11" fmla="*/ 42456 w 64867"/>
                      <a:gd name="connsiteY11" fmla="*/ 13258 h 94357"/>
                      <a:gd name="connsiteX12" fmla="*/ 37605 w 64867"/>
                      <a:gd name="connsiteY12" fmla="*/ 14935 h 94357"/>
                      <a:gd name="connsiteX13" fmla="*/ 31722 w 64867"/>
                      <a:gd name="connsiteY13" fmla="*/ 21773 h 94357"/>
                      <a:gd name="connsiteX14" fmla="*/ 13814 w 64867"/>
                      <a:gd name="connsiteY14" fmla="*/ 68502 h 94357"/>
                      <a:gd name="connsiteX15" fmla="*/ 18743 w 64867"/>
                      <a:gd name="connsiteY15" fmla="*/ 79469 h 94357"/>
                      <a:gd name="connsiteX16" fmla="*/ 21452 w 64867"/>
                      <a:gd name="connsiteY16" fmla="*/ 80501 h 94357"/>
                      <a:gd name="connsiteX17" fmla="*/ 32418 w 64867"/>
                      <a:gd name="connsiteY17" fmla="*/ 75572 h 94357"/>
                      <a:gd name="connsiteX18" fmla="*/ 50842 w 64867"/>
                      <a:gd name="connsiteY18" fmla="*/ 26882 h 94357"/>
                      <a:gd name="connsiteX19" fmla="*/ 46533 w 64867"/>
                      <a:gd name="connsiteY19" fmla="*/ 14548 h 94357"/>
                      <a:gd name="connsiteX20" fmla="*/ 43824 w 64867"/>
                      <a:gd name="connsiteY20" fmla="*/ 13516 h 94357"/>
                      <a:gd name="connsiteX21" fmla="*/ 42456 w 64867"/>
                      <a:gd name="connsiteY21" fmla="*/ 13258 h 94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4867" h="94357">
                        <a:moveTo>
                          <a:pt x="24471" y="94357"/>
                        </a:moveTo>
                        <a:cubicBezTo>
                          <a:pt x="21891" y="94357"/>
                          <a:pt x="19285" y="93893"/>
                          <a:pt x="16756" y="92938"/>
                        </a:cubicBezTo>
                        <a:lnTo>
                          <a:pt x="14047" y="91906"/>
                        </a:lnTo>
                        <a:cubicBezTo>
                          <a:pt x="2822" y="87622"/>
                          <a:pt x="-2854" y="75005"/>
                          <a:pt x="1429" y="63780"/>
                        </a:cubicBezTo>
                        <a:lnTo>
                          <a:pt x="19336" y="17051"/>
                        </a:lnTo>
                        <a:cubicBezTo>
                          <a:pt x="21323" y="11838"/>
                          <a:pt x="25400" y="6962"/>
                          <a:pt x="30535" y="3710"/>
                        </a:cubicBezTo>
                        <a:cubicBezTo>
                          <a:pt x="36495" y="-57"/>
                          <a:pt x="43101" y="-1012"/>
                          <a:pt x="48623" y="1104"/>
                        </a:cubicBezTo>
                        <a:lnTo>
                          <a:pt x="51332" y="2136"/>
                        </a:lnTo>
                        <a:cubicBezTo>
                          <a:pt x="62144" y="6265"/>
                          <a:pt x="67769" y="20044"/>
                          <a:pt x="63357" y="31629"/>
                        </a:cubicBezTo>
                        <a:lnTo>
                          <a:pt x="44933" y="80320"/>
                        </a:lnTo>
                        <a:cubicBezTo>
                          <a:pt x="41579" y="88990"/>
                          <a:pt x="33270" y="94357"/>
                          <a:pt x="24471" y="94357"/>
                        </a:cubicBezTo>
                        <a:close/>
                        <a:moveTo>
                          <a:pt x="42456" y="13258"/>
                        </a:moveTo>
                        <a:cubicBezTo>
                          <a:pt x="41037" y="13258"/>
                          <a:pt x="39334" y="13825"/>
                          <a:pt x="37605" y="14935"/>
                        </a:cubicBezTo>
                        <a:cubicBezTo>
                          <a:pt x="34947" y="16612"/>
                          <a:pt x="32677" y="19244"/>
                          <a:pt x="31722" y="21773"/>
                        </a:cubicBezTo>
                        <a:lnTo>
                          <a:pt x="13814" y="68502"/>
                        </a:lnTo>
                        <a:cubicBezTo>
                          <a:pt x="12163" y="72863"/>
                          <a:pt x="14356" y="77791"/>
                          <a:pt x="18743" y="79469"/>
                        </a:cubicBezTo>
                        <a:lnTo>
                          <a:pt x="21452" y="80501"/>
                        </a:lnTo>
                        <a:cubicBezTo>
                          <a:pt x="25839" y="82178"/>
                          <a:pt x="30767" y="79959"/>
                          <a:pt x="32418" y="75572"/>
                        </a:cubicBezTo>
                        <a:lnTo>
                          <a:pt x="50842" y="26882"/>
                        </a:lnTo>
                        <a:cubicBezTo>
                          <a:pt x="52648" y="22160"/>
                          <a:pt x="50506" y="16044"/>
                          <a:pt x="46533" y="14548"/>
                        </a:cubicBezTo>
                        <a:lnTo>
                          <a:pt x="43824" y="13516"/>
                        </a:lnTo>
                        <a:cubicBezTo>
                          <a:pt x="43436" y="13335"/>
                          <a:pt x="42972" y="13258"/>
                          <a:pt x="42456" y="13258"/>
                        </a:cubicBezTo>
                        <a:close/>
                      </a:path>
                    </a:pathLst>
                  </a:custGeom>
                  <a:grpFill/>
                  <a:ln w="2573" cap="flat">
                    <a:noFill/>
                    <a:prstDash val="solid"/>
                    <a:miter/>
                  </a:ln>
                </p:spPr>
                <p:txBody>
                  <a:bodyPr rtlCol="0" anchor="ctr"/>
                  <a:lstStyle/>
                  <a:p>
                    <a:endParaRPr lang="en-GB" dirty="0"/>
                  </a:p>
                </p:txBody>
              </p:sp>
              <p:sp>
                <p:nvSpPr>
                  <p:cNvPr id="1481" name="Freihandform: Form 1480">
                    <a:extLst>
                      <a:ext uri="{FF2B5EF4-FFF2-40B4-BE49-F238E27FC236}">
                        <a16:creationId xmlns:a16="http://schemas.microsoft.com/office/drawing/2014/main" id="{4AB015A6-14C3-466B-ADEB-C68F37936D54}"/>
                      </a:ext>
                    </a:extLst>
                  </p:cNvPr>
                  <p:cNvSpPr/>
                  <p:nvPr/>
                </p:nvSpPr>
                <p:spPr>
                  <a:xfrm>
                    <a:off x="2521181" y="1876564"/>
                    <a:ext cx="153987" cy="118688"/>
                  </a:xfrm>
                  <a:custGeom>
                    <a:avLst/>
                    <a:gdLst>
                      <a:gd name="connsiteX0" fmla="*/ 27601 w 153987"/>
                      <a:gd name="connsiteY0" fmla="*/ 118688 h 118688"/>
                      <a:gd name="connsiteX1" fmla="*/ 10726 w 153987"/>
                      <a:gd name="connsiteY1" fmla="*/ 110483 h 118688"/>
                      <a:gd name="connsiteX2" fmla="*/ 4533 w 153987"/>
                      <a:gd name="connsiteY2" fmla="*/ 67134 h 118688"/>
                      <a:gd name="connsiteX3" fmla="*/ 5230 w 153987"/>
                      <a:gd name="connsiteY3" fmla="*/ 65869 h 118688"/>
                      <a:gd name="connsiteX4" fmla="*/ 18648 w 153987"/>
                      <a:gd name="connsiteY4" fmla="*/ 48968 h 118688"/>
                      <a:gd name="connsiteX5" fmla="*/ 35936 w 153987"/>
                      <a:gd name="connsiteY5" fmla="*/ 29358 h 118688"/>
                      <a:gd name="connsiteX6" fmla="*/ 151586 w 153987"/>
                      <a:gd name="connsiteY6" fmla="*/ 20533 h 118688"/>
                      <a:gd name="connsiteX7" fmla="*/ 152463 w 153987"/>
                      <a:gd name="connsiteY7" fmla="*/ 29874 h 118688"/>
                      <a:gd name="connsiteX8" fmla="*/ 143096 w 153987"/>
                      <a:gd name="connsiteY8" fmla="*/ 30751 h 118688"/>
                      <a:gd name="connsiteX9" fmla="*/ 45947 w 153987"/>
                      <a:gd name="connsiteY9" fmla="*/ 38105 h 118688"/>
                      <a:gd name="connsiteX10" fmla="*/ 28556 w 153987"/>
                      <a:gd name="connsiteY10" fmla="*/ 57845 h 118688"/>
                      <a:gd name="connsiteX11" fmla="*/ 16893 w 153987"/>
                      <a:gd name="connsiteY11" fmla="*/ 72268 h 118688"/>
                      <a:gd name="connsiteX12" fmla="*/ 16093 w 153987"/>
                      <a:gd name="connsiteY12" fmla="*/ 73688 h 118688"/>
                      <a:gd name="connsiteX13" fmla="*/ 20248 w 153987"/>
                      <a:gd name="connsiteY13" fmla="*/ 101194 h 118688"/>
                      <a:gd name="connsiteX14" fmla="*/ 28763 w 153987"/>
                      <a:gd name="connsiteY14" fmla="*/ 105116 h 118688"/>
                      <a:gd name="connsiteX15" fmla="*/ 36710 w 153987"/>
                      <a:gd name="connsiteY15" fmla="*/ 98072 h 118688"/>
                      <a:gd name="connsiteX16" fmla="*/ 32272 w 153987"/>
                      <a:gd name="connsiteY16" fmla="*/ 74178 h 118688"/>
                      <a:gd name="connsiteX17" fmla="*/ 32788 w 153987"/>
                      <a:gd name="connsiteY17" fmla="*/ 64786 h 118688"/>
                      <a:gd name="connsiteX18" fmla="*/ 42154 w 153987"/>
                      <a:gd name="connsiteY18" fmla="*/ 65276 h 118688"/>
                      <a:gd name="connsiteX19" fmla="*/ 47057 w 153987"/>
                      <a:gd name="connsiteY19" fmla="*/ 106406 h 118688"/>
                      <a:gd name="connsiteX20" fmla="*/ 35007 w 153987"/>
                      <a:gd name="connsiteY20" fmla="*/ 116856 h 118688"/>
                      <a:gd name="connsiteX21" fmla="*/ 27601 w 153987"/>
                      <a:gd name="connsiteY21" fmla="*/ 118688 h 118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3987" h="118688">
                        <a:moveTo>
                          <a:pt x="27601" y="118688"/>
                        </a:moveTo>
                        <a:cubicBezTo>
                          <a:pt x="21976" y="118688"/>
                          <a:pt x="15964" y="115850"/>
                          <a:pt x="10726" y="110483"/>
                        </a:cubicBezTo>
                        <a:cubicBezTo>
                          <a:pt x="1360" y="100884"/>
                          <a:pt x="-4575" y="83209"/>
                          <a:pt x="4533" y="67134"/>
                        </a:cubicBezTo>
                        <a:lnTo>
                          <a:pt x="5230" y="65869"/>
                        </a:lnTo>
                        <a:cubicBezTo>
                          <a:pt x="7346" y="61999"/>
                          <a:pt x="8326" y="60502"/>
                          <a:pt x="18648" y="48968"/>
                        </a:cubicBezTo>
                        <a:cubicBezTo>
                          <a:pt x="22854" y="44272"/>
                          <a:pt x="28401" y="37976"/>
                          <a:pt x="35936" y="29358"/>
                        </a:cubicBezTo>
                        <a:cubicBezTo>
                          <a:pt x="88368" y="-30764"/>
                          <a:pt x="150966" y="19991"/>
                          <a:pt x="151586" y="20533"/>
                        </a:cubicBezTo>
                        <a:cubicBezTo>
                          <a:pt x="154424" y="22881"/>
                          <a:pt x="154785" y="27061"/>
                          <a:pt x="152463" y="29874"/>
                        </a:cubicBezTo>
                        <a:cubicBezTo>
                          <a:pt x="150115" y="32712"/>
                          <a:pt x="145935" y="33099"/>
                          <a:pt x="143096" y="30751"/>
                        </a:cubicBezTo>
                        <a:cubicBezTo>
                          <a:pt x="140929" y="28971"/>
                          <a:pt x="89787" y="-12160"/>
                          <a:pt x="45947" y="38105"/>
                        </a:cubicBezTo>
                        <a:cubicBezTo>
                          <a:pt x="38387" y="46775"/>
                          <a:pt x="32788" y="53097"/>
                          <a:pt x="28556" y="57845"/>
                        </a:cubicBezTo>
                        <a:cubicBezTo>
                          <a:pt x="18828" y="68733"/>
                          <a:pt x="18338" y="69611"/>
                          <a:pt x="16893" y="72268"/>
                        </a:cubicBezTo>
                        <a:lnTo>
                          <a:pt x="16093" y="73688"/>
                        </a:lnTo>
                        <a:cubicBezTo>
                          <a:pt x="10365" y="83802"/>
                          <a:pt x="14235" y="95027"/>
                          <a:pt x="20248" y="101194"/>
                        </a:cubicBezTo>
                        <a:cubicBezTo>
                          <a:pt x="23757" y="104806"/>
                          <a:pt x="27240" y="105916"/>
                          <a:pt x="28763" y="105116"/>
                        </a:cubicBezTo>
                        <a:cubicBezTo>
                          <a:pt x="31420" y="103697"/>
                          <a:pt x="35265" y="99749"/>
                          <a:pt x="36710" y="98072"/>
                        </a:cubicBezTo>
                        <a:cubicBezTo>
                          <a:pt x="44348" y="87983"/>
                          <a:pt x="32762" y="74746"/>
                          <a:pt x="32272" y="74178"/>
                        </a:cubicBezTo>
                        <a:cubicBezTo>
                          <a:pt x="29846" y="71443"/>
                          <a:pt x="30079" y="67237"/>
                          <a:pt x="32788" y="64786"/>
                        </a:cubicBezTo>
                        <a:cubicBezTo>
                          <a:pt x="35523" y="62334"/>
                          <a:pt x="39703" y="62566"/>
                          <a:pt x="42154" y="65276"/>
                        </a:cubicBezTo>
                        <a:cubicBezTo>
                          <a:pt x="48941" y="72785"/>
                          <a:pt x="58694" y="91053"/>
                          <a:pt x="47057" y="106406"/>
                        </a:cubicBezTo>
                        <a:cubicBezTo>
                          <a:pt x="46206" y="107438"/>
                          <a:pt x="40606" y="113863"/>
                          <a:pt x="35007" y="116856"/>
                        </a:cubicBezTo>
                        <a:cubicBezTo>
                          <a:pt x="32710" y="118095"/>
                          <a:pt x="30182" y="118688"/>
                          <a:pt x="27601" y="118688"/>
                        </a:cubicBezTo>
                        <a:close/>
                      </a:path>
                    </a:pathLst>
                  </a:custGeom>
                  <a:grpFill/>
                  <a:ln w="2573" cap="flat">
                    <a:noFill/>
                    <a:prstDash val="solid"/>
                    <a:miter/>
                  </a:ln>
                </p:spPr>
                <p:txBody>
                  <a:bodyPr rtlCol="0" anchor="ctr"/>
                  <a:lstStyle/>
                  <a:p>
                    <a:endParaRPr lang="en-GB" dirty="0"/>
                  </a:p>
                </p:txBody>
              </p:sp>
            </p:grpSp>
          </p:grpSp>
          <p:sp>
            <p:nvSpPr>
              <p:cNvPr id="1471" name="Freihandform: Form 1470">
                <a:extLst>
                  <a:ext uri="{FF2B5EF4-FFF2-40B4-BE49-F238E27FC236}">
                    <a16:creationId xmlns:a16="http://schemas.microsoft.com/office/drawing/2014/main" id="{5A5E2510-2DFE-472E-AE36-FC5B74FC009A}"/>
                  </a:ext>
                </a:extLst>
              </p:cNvPr>
              <p:cNvSpPr/>
              <p:nvPr/>
            </p:nvSpPr>
            <p:spPr>
              <a:xfrm>
                <a:off x="2653310" y="1718359"/>
                <a:ext cx="224153" cy="215146"/>
              </a:xfrm>
              <a:custGeom>
                <a:avLst/>
                <a:gdLst>
                  <a:gd name="connsiteX0" fmla="*/ 169038 w 224153"/>
                  <a:gd name="connsiteY0" fmla="*/ 215147 h 215146"/>
                  <a:gd name="connsiteX1" fmla="*/ 159723 w 224153"/>
                  <a:gd name="connsiteY1" fmla="*/ 212825 h 215146"/>
                  <a:gd name="connsiteX2" fmla="*/ 112090 w 224153"/>
                  <a:gd name="connsiteY2" fmla="*/ 187770 h 215146"/>
                  <a:gd name="connsiteX3" fmla="*/ 64457 w 224153"/>
                  <a:gd name="connsiteY3" fmla="*/ 212825 h 215146"/>
                  <a:gd name="connsiteX4" fmla="*/ 43428 w 224153"/>
                  <a:gd name="connsiteY4" fmla="*/ 211302 h 215146"/>
                  <a:gd name="connsiteX5" fmla="*/ 35480 w 224153"/>
                  <a:gd name="connsiteY5" fmla="*/ 191795 h 215146"/>
                  <a:gd name="connsiteX6" fmla="*/ 44589 w 224153"/>
                  <a:gd name="connsiteY6" fmla="*/ 138744 h 215146"/>
                  <a:gd name="connsiteX7" fmla="*/ 6039 w 224153"/>
                  <a:gd name="connsiteY7" fmla="*/ 101174 h 215146"/>
                  <a:gd name="connsiteX8" fmla="*/ 981 w 224153"/>
                  <a:gd name="connsiteY8" fmla="*/ 80712 h 215146"/>
                  <a:gd name="connsiteX9" fmla="*/ 17108 w 224153"/>
                  <a:gd name="connsiteY9" fmla="*/ 67140 h 215146"/>
                  <a:gd name="connsiteX10" fmla="*/ 70366 w 224153"/>
                  <a:gd name="connsiteY10" fmla="*/ 59399 h 215146"/>
                  <a:gd name="connsiteX11" fmla="*/ 94183 w 224153"/>
                  <a:gd name="connsiteY11" fmla="*/ 11121 h 215146"/>
                  <a:gd name="connsiteX12" fmla="*/ 112090 w 224153"/>
                  <a:gd name="connsiteY12" fmla="*/ 0 h 215146"/>
                  <a:gd name="connsiteX13" fmla="*/ 129972 w 224153"/>
                  <a:gd name="connsiteY13" fmla="*/ 11121 h 215146"/>
                  <a:gd name="connsiteX14" fmla="*/ 153788 w 224153"/>
                  <a:gd name="connsiteY14" fmla="*/ 59399 h 215146"/>
                  <a:gd name="connsiteX15" fmla="*/ 207046 w 224153"/>
                  <a:gd name="connsiteY15" fmla="*/ 67140 h 215146"/>
                  <a:gd name="connsiteX16" fmla="*/ 223173 w 224153"/>
                  <a:gd name="connsiteY16" fmla="*/ 80712 h 215146"/>
                  <a:gd name="connsiteX17" fmla="*/ 218115 w 224153"/>
                  <a:gd name="connsiteY17" fmla="*/ 101174 h 215146"/>
                  <a:gd name="connsiteX18" fmla="*/ 179565 w 224153"/>
                  <a:gd name="connsiteY18" fmla="*/ 138744 h 215146"/>
                  <a:gd name="connsiteX19" fmla="*/ 188674 w 224153"/>
                  <a:gd name="connsiteY19" fmla="*/ 191795 h 215146"/>
                  <a:gd name="connsiteX20" fmla="*/ 180726 w 224153"/>
                  <a:gd name="connsiteY20" fmla="*/ 211302 h 215146"/>
                  <a:gd name="connsiteX21" fmla="*/ 169038 w 224153"/>
                  <a:gd name="connsiteY21" fmla="*/ 215147 h 215146"/>
                  <a:gd name="connsiteX22" fmla="*/ 112090 w 224153"/>
                  <a:gd name="connsiteY22" fmla="*/ 13289 h 215146"/>
                  <a:gd name="connsiteX23" fmla="*/ 106129 w 224153"/>
                  <a:gd name="connsiteY23" fmla="*/ 17004 h 215146"/>
                  <a:gd name="connsiteX24" fmla="*/ 80765 w 224153"/>
                  <a:gd name="connsiteY24" fmla="*/ 68404 h 215146"/>
                  <a:gd name="connsiteX25" fmla="*/ 75759 w 224153"/>
                  <a:gd name="connsiteY25" fmla="*/ 72042 h 215146"/>
                  <a:gd name="connsiteX26" fmla="*/ 19018 w 224153"/>
                  <a:gd name="connsiteY26" fmla="*/ 80300 h 215146"/>
                  <a:gd name="connsiteX27" fmla="*/ 13651 w 224153"/>
                  <a:gd name="connsiteY27" fmla="*/ 84815 h 215146"/>
                  <a:gd name="connsiteX28" fmla="*/ 15328 w 224153"/>
                  <a:gd name="connsiteY28" fmla="*/ 91627 h 215146"/>
                  <a:gd name="connsiteX29" fmla="*/ 56381 w 224153"/>
                  <a:gd name="connsiteY29" fmla="*/ 131648 h 215146"/>
                  <a:gd name="connsiteX30" fmla="*/ 58290 w 224153"/>
                  <a:gd name="connsiteY30" fmla="*/ 137531 h 215146"/>
                  <a:gd name="connsiteX31" fmla="*/ 48588 w 224153"/>
                  <a:gd name="connsiteY31" fmla="*/ 194040 h 215146"/>
                  <a:gd name="connsiteX32" fmla="*/ 51246 w 224153"/>
                  <a:gd name="connsiteY32" fmla="*/ 200542 h 215146"/>
                  <a:gd name="connsiteX33" fmla="*/ 58265 w 224153"/>
                  <a:gd name="connsiteY33" fmla="*/ 201058 h 215146"/>
                  <a:gd name="connsiteX34" fmla="*/ 108994 w 224153"/>
                  <a:gd name="connsiteY34" fmla="*/ 174378 h 215146"/>
                  <a:gd name="connsiteX35" fmla="*/ 115186 w 224153"/>
                  <a:gd name="connsiteY35" fmla="*/ 174378 h 215146"/>
                  <a:gd name="connsiteX36" fmla="*/ 165941 w 224153"/>
                  <a:gd name="connsiteY36" fmla="*/ 201058 h 215146"/>
                  <a:gd name="connsiteX37" fmla="*/ 172934 w 224153"/>
                  <a:gd name="connsiteY37" fmla="*/ 200542 h 215146"/>
                  <a:gd name="connsiteX38" fmla="*/ 175592 w 224153"/>
                  <a:gd name="connsiteY38" fmla="*/ 194040 h 215146"/>
                  <a:gd name="connsiteX39" fmla="*/ 165890 w 224153"/>
                  <a:gd name="connsiteY39" fmla="*/ 137531 h 215146"/>
                  <a:gd name="connsiteX40" fmla="*/ 167799 w 224153"/>
                  <a:gd name="connsiteY40" fmla="*/ 131648 h 215146"/>
                  <a:gd name="connsiteX41" fmla="*/ 208852 w 224153"/>
                  <a:gd name="connsiteY41" fmla="*/ 91627 h 215146"/>
                  <a:gd name="connsiteX42" fmla="*/ 210529 w 224153"/>
                  <a:gd name="connsiteY42" fmla="*/ 84815 h 215146"/>
                  <a:gd name="connsiteX43" fmla="*/ 205162 w 224153"/>
                  <a:gd name="connsiteY43" fmla="*/ 80300 h 215146"/>
                  <a:gd name="connsiteX44" fmla="*/ 148421 w 224153"/>
                  <a:gd name="connsiteY44" fmla="*/ 72042 h 215146"/>
                  <a:gd name="connsiteX45" fmla="*/ 143415 w 224153"/>
                  <a:gd name="connsiteY45" fmla="*/ 68404 h 215146"/>
                  <a:gd name="connsiteX46" fmla="*/ 118050 w 224153"/>
                  <a:gd name="connsiteY46" fmla="*/ 17004 h 215146"/>
                  <a:gd name="connsiteX47" fmla="*/ 118050 w 224153"/>
                  <a:gd name="connsiteY47" fmla="*/ 17004 h 215146"/>
                  <a:gd name="connsiteX48" fmla="*/ 112090 w 224153"/>
                  <a:gd name="connsiteY48" fmla="*/ 13289 h 21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24153" h="215146">
                    <a:moveTo>
                      <a:pt x="169038" y="215147"/>
                    </a:moveTo>
                    <a:cubicBezTo>
                      <a:pt x="165864" y="215147"/>
                      <a:pt x="162690" y="214373"/>
                      <a:pt x="159723" y="212825"/>
                    </a:cubicBezTo>
                    <a:lnTo>
                      <a:pt x="112090" y="187770"/>
                    </a:lnTo>
                    <a:lnTo>
                      <a:pt x="64457" y="212825"/>
                    </a:lnTo>
                    <a:cubicBezTo>
                      <a:pt x="57671" y="216386"/>
                      <a:pt x="49620" y="215792"/>
                      <a:pt x="43428" y="211302"/>
                    </a:cubicBezTo>
                    <a:cubicBezTo>
                      <a:pt x="37235" y="206813"/>
                      <a:pt x="34190" y="199330"/>
                      <a:pt x="35480" y="191795"/>
                    </a:cubicBezTo>
                    <a:lnTo>
                      <a:pt x="44589" y="138744"/>
                    </a:lnTo>
                    <a:lnTo>
                      <a:pt x="6039" y="101174"/>
                    </a:lnTo>
                    <a:cubicBezTo>
                      <a:pt x="569" y="95833"/>
                      <a:pt x="-1367" y="87989"/>
                      <a:pt x="981" y="80712"/>
                    </a:cubicBezTo>
                    <a:cubicBezTo>
                      <a:pt x="3355" y="73436"/>
                      <a:pt x="9522" y="68224"/>
                      <a:pt x="17108" y="67140"/>
                    </a:cubicBezTo>
                    <a:lnTo>
                      <a:pt x="70366" y="59399"/>
                    </a:lnTo>
                    <a:lnTo>
                      <a:pt x="94183" y="11121"/>
                    </a:lnTo>
                    <a:cubicBezTo>
                      <a:pt x="97563" y="4258"/>
                      <a:pt x="104426" y="0"/>
                      <a:pt x="112090" y="0"/>
                    </a:cubicBezTo>
                    <a:cubicBezTo>
                      <a:pt x="119753" y="0"/>
                      <a:pt x="126591" y="4258"/>
                      <a:pt x="129972" y="11121"/>
                    </a:cubicBezTo>
                    <a:lnTo>
                      <a:pt x="153788" y="59399"/>
                    </a:lnTo>
                    <a:lnTo>
                      <a:pt x="207046" y="67140"/>
                    </a:lnTo>
                    <a:cubicBezTo>
                      <a:pt x="214606" y="68249"/>
                      <a:pt x="220799" y="73436"/>
                      <a:pt x="223173" y="80712"/>
                    </a:cubicBezTo>
                    <a:cubicBezTo>
                      <a:pt x="225521" y="87989"/>
                      <a:pt x="223585" y="95833"/>
                      <a:pt x="218115" y="101174"/>
                    </a:cubicBezTo>
                    <a:lnTo>
                      <a:pt x="179565" y="138744"/>
                    </a:lnTo>
                    <a:lnTo>
                      <a:pt x="188674" y="191795"/>
                    </a:lnTo>
                    <a:cubicBezTo>
                      <a:pt x="189964" y="199330"/>
                      <a:pt x="186919" y="206813"/>
                      <a:pt x="180726" y="211302"/>
                    </a:cubicBezTo>
                    <a:cubicBezTo>
                      <a:pt x="177269" y="213857"/>
                      <a:pt x="173166" y="215147"/>
                      <a:pt x="169038" y="215147"/>
                    </a:cubicBezTo>
                    <a:close/>
                    <a:moveTo>
                      <a:pt x="112090" y="13289"/>
                    </a:moveTo>
                    <a:cubicBezTo>
                      <a:pt x="109510" y="13289"/>
                      <a:pt x="107265" y="14682"/>
                      <a:pt x="106129" y="17004"/>
                    </a:cubicBezTo>
                    <a:lnTo>
                      <a:pt x="80765" y="68404"/>
                    </a:lnTo>
                    <a:cubicBezTo>
                      <a:pt x="79784" y="70365"/>
                      <a:pt x="77927" y="71733"/>
                      <a:pt x="75759" y="72042"/>
                    </a:cubicBezTo>
                    <a:lnTo>
                      <a:pt x="19018" y="80300"/>
                    </a:lnTo>
                    <a:cubicBezTo>
                      <a:pt x="16463" y="80661"/>
                      <a:pt x="14451" y="82364"/>
                      <a:pt x="13651" y="84815"/>
                    </a:cubicBezTo>
                    <a:cubicBezTo>
                      <a:pt x="12851" y="87266"/>
                      <a:pt x="13470" y="89821"/>
                      <a:pt x="15328" y="91627"/>
                    </a:cubicBezTo>
                    <a:lnTo>
                      <a:pt x="56381" y="131648"/>
                    </a:lnTo>
                    <a:cubicBezTo>
                      <a:pt x="57955" y="133170"/>
                      <a:pt x="58652" y="135389"/>
                      <a:pt x="58290" y="137531"/>
                    </a:cubicBezTo>
                    <a:lnTo>
                      <a:pt x="48588" y="194040"/>
                    </a:lnTo>
                    <a:cubicBezTo>
                      <a:pt x="48150" y="196594"/>
                      <a:pt x="49130" y="199020"/>
                      <a:pt x="51246" y="200542"/>
                    </a:cubicBezTo>
                    <a:cubicBezTo>
                      <a:pt x="53336" y="202065"/>
                      <a:pt x="55942" y="202245"/>
                      <a:pt x="58265" y="201058"/>
                    </a:cubicBezTo>
                    <a:lnTo>
                      <a:pt x="108994" y="174378"/>
                    </a:lnTo>
                    <a:cubicBezTo>
                      <a:pt x="110955" y="173346"/>
                      <a:pt x="113251" y="173346"/>
                      <a:pt x="115186" y="174378"/>
                    </a:cubicBezTo>
                    <a:lnTo>
                      <a:pt x="165941" y="201058"/>
                    </a:lnTo>
                    <a:cubicBezTo>
                      <a:pt x="168212" y="202271"/>
                      <a:pt x="170844" y="202091"/>
                      <a:pt x="172934" y="200542"/>
                    </a:cubicBezTo>
                    <a:cubicBezTo>
                      <a:pt x="175024" y="199020"/>
                      <a:pt x="176030" y="196594"/>
                      <a:pt x="175592" y="194040"/>
                    </a:cubicBezTo>
                    <a:lnTo>
                      <a:pt x="165890" y="137531"/>
                    </a:lnTo>
                    <a:cubicBezTo>
                      <a:pt x="165528" y="135364"/>
                      <a:pt x="166225" y="133170"/>
                      <a:pt x="167799" y="131648"/>
                    </a:cubicBezTo>
                    <a:lnTo>
                      <a:pt x="208852" y="91627"/>
                    </a:lnTo>
                    <a:cubicBezTo>
                      <a:pt x="210710" y="89821"/>
                      <a:pt x="211329" y="87266"/>
                      <a:pt x="210529" y="84815"/>
                    </a:cubicBezTo>
                    <a:cubicBezTo>
                      <a:pt x="209729" y="82364"/>
                      <a:pt x="207717" y="80661"/>
                      <a:pt x="205162" y="80300"/>
                    </a:cubicBezTo>
                    <a:lnTo>
                      <a:pt x="148421" y="72042"/>
                    </a:lnTo>
                    <a:cubicBezTo>
                      <a:pt x="146253" y="71733"/>
                      <a:pt x="144370" y="70365"/>
                      <a:pt x="143415" y="68404"/>
                    </a:cubicBezTo>
                    <a:lnTo>
                      <a:pt x="118050" y="17004"/>
                    </a:lnTo>
                    <a:lnTo>
                      <a:pt x="118050" y="17004"/>
                    </a:lnTo>
                    <a:cubicBezTo>
                      <a:pt x="116915" y="14682"/>
                      <a:pt x="114670" y="13289"/>
                      <a:pt x="112090" y="13289"/>
                    </a:cubicBezTo>
                    <a:close/>
                  </a:path>
                </a:pathLst>
              </a:custGeom>
              <a:grpFill/>
              <a:ln w="2573" cap="flat">
                <a:noFill/>
                <a:prstDash val="solid"/>
                <a:miter/>
              </a:ln>
            </p:spPr>
            <p:txBody>
              <a:bodyPr rtlCol="0" anchor="ctr"/>
              <a:lstStyle/>
              <a:p>
                <a:endParaRPr lang="en-GB" dirty="0"/>
              </a:p>
            </p:txBody>
          </p:sp>
        </p:grpSp>
        <p:grpSp>
          <p:nvGrpSpPr>
            <p:cNvPr id="1462" name="Gruppieren 1461">
              <a:extLst>
                <a:ext uri="{FF2B5EF4-FFF2-40B4-BE49-F238E27FC236}">
                  <a16:creationId xmlns:a16="http://schemas.microsoft.com/office/drawing/2014/main" id="{F176632D-E288-4AFC-B638-C270DF7A9774}"/>
                </a:ext>
              </a:extLst>
            </p:cNvPr>
            <p:cNvGrpSpPr/>
            <p:nvPr/>
          </p:nvGrpSpPr>
          <p:grpSpPr>
            <a:xfrm>
              <a:off x="2703640" y="1626716"/>
              <a:ext cx="363227" cy="140391"/>
              <a:chOff x="2585555" y="1626758"/>
              <a:chExt cx="364438" cy="140859"/>
            </a:xfrm>
          </p:grpSpPr>
          <p:grpSp>
            <p:nvGrpSpPr>
              <p:cNvPr id="1463" name="Grafik 312">
                <a:extLst>
                  <a:ext uri="{FF2B5EF4-FFF2-40B4-BE49-F238E27FC236}">
                    <a16:creationId xmlns:a16="http://schemas.microsoft.com/office/drawing/2014/main" id="{D00F5027-23DC-41C6-B445-04107487C965}"/>
                  </a:ext>
                </a:extLst>
              </p:cNvPr>
              <p:cNvGrpSpPr/>
              <p:nvPr/>
            </p:nvGrpSpPr>
            <p:grpSpPr>
              <a:xfrm>
                <a:off x="2760962" y="1626758"/>
                <a:ext cx="189031" cy="140859"/>
                <a:chOff x="2760962" y="1626758"/>
                <a:chExt cx="189031" cy="140859"/>
              </a:xfrm>
              <a:solidFill>
                <a:schemeClr val="accent1"/>
              </a:solidFill>
            </p:grpSpPr>
            <p:sp>
              <p:nvSpPr>
                <p:cNvPr id="1467" name="Freihandform: Form 1466">
                  <a:extLst>
                    <a:ext uri="{FF2B5EF4-FFF2-40B4-BE49-F238E27FC236}">
                      <a16:creationId xmlns:a16="http://schemas.microsoft.com/office/drawing/2014/main" id="{18C92FAE-4F67-4BB5-A50D-C9F473D68D7E}"/>
                    </a:ext>
                  </a:extLst>
                </p:cNvPr>
                <p:cNvSpPr/>
                <p:nvPr/>
              </p:nvSpPr>
              <p:spPr>
                <a:xfrm>
                  <a:off x="2760962" y="1626758"/>
                  <a:ext cx="13314" cy="53206"/>
                </a:xfrm>
                <a:custGeom>
                  <a:avLst/>
                  <a:gdLst>
                    <a:gd name="connsiteX0" fmla="*/ 6657 w 13314"/>
                    <a:gd name="connsiteY0" fmla="*/ 53206 h 53206"/>
                    <a:gd name="connsiteX1" fmla="*/ 0 w 13314"/>
                    <a:gd name="connsiteY1" fmla="*/ 46549 h 53206"/>
                    <a:gd name="connsiteX2" fmla="*/ 0 w 13314"/>
                    <a:gd name="connsiteY2" fmla="*/ 6657 h 53206"/>
                    <a:gd name="connsiteX3" fmla="*/ 6657 w 13314"/>
                    <a:gd name="connsiteY3" fmla="*/ 0 h 53206"/>
                    <a:gd name="connsiteX4" fmla="*/ 13315 w 13314"/>
                    <a:gd name="connsiteY4" fmla="*/ 6657 h 53206"/>
                    <a:gd name="connsiteX5" fmla="*/ 13315 w 13314"/>
                    <a:gd name="connsiteY5" fmla="*/ 46575 h 53206"/>
                    <a:gd name="connsiteX6" fmla="*/ 6657 w 13314"/>
                    <a:gd name="connsiteY6" fmla="*/ 53206 h 5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53206">
                      <a:moveTo>
                        <a:pt x="6657" y="53206"/>
                      </a:moveTo>
                      <a:cubicBezTo>
                        <a:pt x="2993" y="53206"/>
                        <a:pt x="0" y="50239"/>
                        <a:pt x="0" y="46549"/>
                      </a:cubicBezTo>
                      <a:lnTo>
                        <a:pt x="0" y="6657"/>
                      </a:lnTo>
                      <a:cubicBezTo>
                        <a:pt x="0" y="2993"/>
                        <a:pt x="2967" y="0"/>
                        <a:pt x="6657" y="0"/>
                      </a:cubicBezTo>
                      <a:cubicBezTo>
                        <a:pt x="10347" y="0"/>
                        <a:pt x="13315" y="2967"/>
                        <a:pt x="13315" y="6657"/>
                      </a:cubicBezTo>
                      <a:lnTo>
                        <a:pt x="13315" y="46575"/>
                      </a:lnTo>
                      <a:cubicBezTo>
                        <a:pt x="13315" y="50239"/>
                        <a:pt x="10347" y="53206"/>
                        <a:pt x="6657" y="53206"/>
                      </a:cubicBezTo>
                      <a:close/>
                    </a:path>
                  </a:pathLst>
                </a:custGeom>
                <a:solidFill>
                  <a:schemeClr val="accent1"/>
                </a:solidFill>
                <a:ln w="2573" cap="flat">
                  <a:noFill/>
                  <a:prstDash val="solid"/>
                  <a:miter/>
                </a:ln>
              </p:spPr>
              <p:txBody>
                <a:bodyPr rtlCol="0" anchor="ctr"/>
                <a:lstStyle/>
                <a:p>
                  <a:endParaRPr lang="en-GB" dirty="0"/>
                </a:p>
              </p:txBody>
            </p:sp>
            <p:sp>
              <p:nvSpPr>
                <p:cNvPr id="1468" name="Freihandform: Form 1467">
                  <a:extLst>
                    <a:ext uri="{FF2B5EF4-FFF2-40B4-BE49-F238E27FC236}">
                      <a16:creationId xmlns:a16="http://schemas.microsoft.com/office/drawing/2014/main" id="{2D3CF16E-1EDE-4925-B1D2-B10FDDC7A5BD}"/>
                    </a:ext>
                  </a:extLst>
                </p:cNvPr>
                <p:cNvSpPr/>
                <p:nvPr/>
              </p:nvSpPr>
              <p:spPr>
                <a:xfrm>
                  <a:off x="2837443" y="1669359"/>
                  <a:ext cx="33258" cy="47838"/>
                </a:xfrm>
                <a:custGeom>
                  <a:avLst/>
                  <a:gdLst>
                    <a:gd name="connsiteX0" fmla="*/ 6656 w 33258"/>
                    <a:gd name="connsiteY0" fmla="*/ 47838 h 47838"/>
                    <a:gd name="connsiteX1" fmla="*/ 3328 w 33258"/>
                    <a:gd name="connsiteY1" fmla="*/ 46961 h 47838"/>
                    <a:gd name="connsiteX2" fmla="*/ 902 w 33258"/>
                    <a:gd name="connsiteY2" fmla="*/ 37878 h 47838"/>
                    <a:gd name="connsiteX3" fmla="*/ 20848 w 33258"/>
                    <a:gd name="connsiteY3" fmla="*/ 3328 h 47838"/>
                    <a:gd name="connsiteX4" fmla="*/ 29931 w 33258"/>
                    <a:gd name="connsiteY4" fmla="*/ 902 h 47838"/>
                    <a:gd name="connsiteX5" fmla="*/ 32356 w 33258"/>
                    <a:gd name="connsiteY5" fmla="*/ 9985 h 47838"/>
                    <a:gd name="connsiteX6" fmla="*/ 12436 w 33258"/>
                    <a:gd name="connsiteY6" fmla="*/ 44510 h 47838"/>
                    <a:gd name="connsiteX7" fmla="*/ 6656 w 33258"/>
                    <a:gd name="connsiteY7" fmla="*/ 47838 h 4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58" h="47838">
                      <a:moveTo>
                        <a:pt x="6656" y="47838"/>
                      </a:moveTo>
                      <a:cubicBezTo>
                        <a:pt x="5521" y="47838"/>
                        <a:pt x="4386" y="47554"/>
                        <a:pt x="3328" y="46961"/>
                      </a:cubicBezTo>
                      <a:cubicBezTo>
                        <a:pt x="154" y="45129"/>
                        <a:pt x="-956" y="41052"/>
                        <a:pt x="902" y="37878"/>
                      </a:cubicBezTo>
                      <a:lnTo>
                        <a:pt x="20848" y="3328"/>
                      </a:lnTo>
                      <a:cubicBezTo>
                        <a:pt x="22680" y="154"/>
                        <a:pt x="26757" y="-956"/>
                        <a:pt x="29931" y="902"/>
                      </a:cubicBezTo>
                      <a:cubicBezTo>
                        <a:pt x="33105" y="2734"/>
                        <a:pt x="34214" y="6811"/>
                        <a:pt x="32356" y="9985"/>
                      </a:cubicBezTo>
                      <a:lnTo>
                        <a:pt x="12436" y="44510"/>
                      </a:lnTo>
                      <a:cubicBezTo>
                        <a:pt x="11198" y="46651"/>
                        <a:pt x="8953" y="47838"/>
                        <a:pt x="6656" y="47838"/>
                      </a:cubicBezTo>
                      <a:close/>
                    </a:path>
                  </a:pathLst>
                </a:custGeom>
                <a:solidFill>
                  <a:schemeClr val="accent1"/>
                </a:solidFill>
                <a:ln w="2573" cap="flat">
                  <a:noFill/>
                  <a:prstDash val="solid"/>
                  <a:miter/>
                </a:ln>
              </p:spPr>
              <p:txBody>
                <a:bodyPr rtlCol="0" anchor="ctr"/>
                <a:lstStyle/>
                <a:p>
                  <a:endParaRPr lang="en-GB" dirty="0"/>
                </a:p>
              </p:txBody>
            </p:sp>
            <p:sp>
              <p:nvSpPr>
                <p:cNvPr id="1469" name="Freihandform: Form 1468">
                  <a:extLst>
                    <a:ext uri="{FF2B5EF4-FFF2-40B4-BE49-F238E27FC236}">
                      <a16:creationId xmlns:a16="http://schemas.microsoft.com/office/drawing/2014/main" id="{1A78B52C-72AB-4ADB-98C4-3CE626316993}"/>
                    </a:ext>
                  </a:extLst>
                </p:cNvPr>
                <p:cNvSpPr/>
                <p:nvPr/>
              </p:nvSpPr>
              <p:spPr>
                <a:xfrm>
                  <a:off x="2898135" y="1743984"/>
                  <a:ext cx="51858" cy="23632"/>
                </a:xfrm>
                <a:custGeom>
                  <a:avLst/>
                  <a:gdLst>
                    <a:gd name="connsiteX0" fmla="*/ 6654 w 51858"/>
                    <a:gd name="connsiteY0" fmla="*/ 23633 h 23632"/>
                    <a:gd name="connsiteX1" fmla="*/ 229 w 51858"/>
                    <a:gd name="connsiteY1" fmla="*/ 18704 h 23632"/>
                    <a:gd name="connsiteX2" fmla="*/ 4925 w 51858"/>
                    <a:gd name="connsiteY2" fmla="*/ 10551 h 23632"/>
                    <a:gd name="connsiteX3" fmla="*/ 43475 w 51858"/>
                    <a:gd name="connsiteY3" fmla="*/ 229 h 23632"/>
                    <a:gd name="connsiteX4" fmla="*/ 51629 w 51858"/>
                    <a:gd name="connsiteY4" fmla="*/ 4925 h 23632"/>
                    <a:gd name="connsiteX5" fmla="*/ 46933 w 51858"/>
                    <a:gd name="connsiteY5" fmla="*/ 13079 h 23632"/>
                    <a:gd name="connsiteX6" fmla="*/ 8383 w 51858"/>
                    <a:gd name="connsiteY6" fmla="*/ 23401 h 23632"/>
                    <a:gd name="connsiteX7" fmla="*/ 6654 w 51858"/>
                    <a:gd name="connsiteY7" fmla="*/ 23633 h 2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58" h="23632">
                      <a:moveTo>
                        <a:pt x="6654" y="23633"/>
                      </a:moveTo>
                      <a:cubicBezTo>
                        <a:pt x="3713" y="23633"/>
                        <a:pt x="1029" y="21672"/>
                        <a:pt x="229" y="18704"/>
                      </a:cubicBezTo>
                      <a:cubicBezTo>
                        <a:pt x="-725" y="15144"/>
                        <a:pt x="1390" y="11505"/>
                        <a:pt x="4925" y="10551"/>
                      </a:cubicBezTo>
                      <a:lnTo>
                        <a:pt x="43475" y="229"/>
                      </a:lnTo>
                      <a:cubicBezTo>
                        <a:pt x="47036" y="-725"/>
                        <a:pt x="50675" y="1390"/>
                        <a:pt x="51629" y="4925"/>
                      </a:cubicBezTo>
                      <a:cubicBezTo>
                        <a:pt x="52584" y="8486"/>
                        <a:pt x="50468" y="12125"/>
                        <a:pt x="46933" y="13079"/>
                      </a:cubicBezTo>
                      <a:lnTo>
                        <a:pt x="8383" y="23401"/>
                      </a:lnTo>
                      <a:cubicBezTo>
                        <a:pt x="7815" y="23555"/>
                        <a:pt x="7248" y="23633"/>
                        <a:pt x="6654" y="23633"/>
                      </a:cubicBezTo>
                      <a:close/>
                    </a:path>
                  </a:pathLst>
                </a:custGeom>
                <a:solidFill>
                  <a:schemeClr val="accent1"/>
                </a:solidFill>
                <a:ln w="2573" cap="flat">
                  <a:noFill/>
                  <a:prstDash val="solid"/>
                  <a:miter/>
                </a:ln>
              </p:spPr>
              <p:txBody>
                <a:bodyPr rtlCol="0" anchor="ctr"/>
                <a:lstStyle/>
                <a:p>
                  <a:endParaRPr lang="en-GB" dirty="0"/>
                </a:p>
              </p:txBody>
            </p:sp>
          </p:grpSp>
          <p:grpSp>
            <p:nvGrpSpPr>
              <p:cNvPr id="1464" name="Grafik 312">
                <a:extLst>
                  <a:ext uri="{FF2B5EF4-FFF2-40B4-BE49-F238E27FC236}">
                    <a16:creationId xmlns:a16="http://schemas.microsoft.com/office/drawing/2014/main" id="{149E6510-A3D7-48CD-80D9-CD9A7DB68AEF}"/>
                  </a:ext>
                </a:extLst>
              </p:cNvPr>
              <p:cNvGrpSpPr/>
              <p:nvPr/>
            </p:nvGrpSpPr>
            <p:grpSpPr>
              <a:xfrm>
                <a:off x="2585555" y="1668932"/>
                <a:ext cx="112512" cy="98272"/>
                <a:chOff x="2585555" y="1668932"/>
                <a:chExt cx="112512" cy="98272"/>
              </a:xfrm>
              <a:solidFill>
                <a:schemeClr val="accent1"/>
              </a:solidFill>
            </p:grpSpPr>
            <p:sp>
              <p:nvSpPr>
                <p:cNvPr id="1465" name="Freihandform: Form 1464">
                  <a:extLst>
                    <a:ext uri="{FF2B5EF4-FFF2-40B4-BE49-F238E27FC236}">
                      <a16:creationId xmlns:a16="http://schemas.microsoft.com/office/drawing/2014/main" id="{C1C62BE8-FF3E-4D8A-92E7-C63C74AD6335}"/>
                    </a:ext>
                  </a:extLst>
                </p:cNvPr>
                <p:cNvSpPr/>
                <p:nvPr/>
              </p:nvSpPr>
              <p:spPr>
                <a:xfrm>
                  <a:off x="2664832" y="1668932"/>
                  <a:ext cx="33235" cy="47852"/>
                </a:xfrm>
                <a:custGeom>
                  <a:avLst/>
                  <a:gdLst>
                    <a:gd name="connsiteX0" fmla="*/ 26617 w 33235"/>
                    <a:gd name="connsiteY0" fmla="*/ 47853 h 47852"/>
                    <a:gd name="connsiteX1" fmla="*/ 20837 w 33235"/>
                    <a:gd name="connsiteY1" fmla="*/ 44524 h 47852"/>
                    <a:gd name="connsiteX2" fmla="*/ 891 w 33235"/>
                    <a:gd name="connsiteY2" fmla="*/ 9974 h 47852"/>
                    <a:gd name="connsiteX3" fmla="*/ 3316 w 33235"/>
                    <a:gd name="connsiteY3" fmla="*/ 891 h 47852"/>
                    <a:gd name="connsiteX4" fmla="*/ 12399 w 33235"/>
                    <a:gd name="connsiteY4" fmla="*/ 3316 h 47852"/>
                    <a:gd name="connsiteX5" fmla="*/ 32345 w 33235"/>
                    <a:gd name="connsiteY5" fmla="*/ 37867 h 47852"/>
                    <a:gd name="connsiteX6" fmla="*/ 29919 w 33235"/>
                    <a:gd name="connsiteY6" fmla="*/ 46949 h 47852"/>
                    <a:gd name="connsiteX7" fmla="*/ 26617 w 33235"/>
                    <a:gd name="connsiteY7" fmla="*/ 47853 h 4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35" h="47852">
                      <a:moveTo>
                        <a:pt x="26617" y="47853"/>
                      </a:moveTo>
                      <a:cubicBezTo>
                        <a:pt x="24320" y="47853"/>
                        <a:pt x="22075" y="46666"/>
                        <a:pt x="20837" y="44524"/>
                      </a:cubicBezTo>
                      <a:lnTo>
                        <a:pt x="891" y="9974"/>
                      </a:lnTo>
                      <a:cubicBezTo>
                        <a:pt x="-941" y="6800"/>
                        <a:pt x="143" y="2723"/>
                        <a:pt x="3316" y="891"/>
                      </a:cubicBezTo>
                      <a:cubicBezTo>
                        <a:pt x="6490" y="-941"/>
                        <a:pt x="10567" y="143"/>
                        <a:pt x="12399" y="3316"/>
                      </a:cubicBezTo>
                      <a:lnTo>
                        <a:pt x="32345" y="37867"/>
                      </a:lnTo>
                      <a:cubicBezTo>
                        <a:pt x="34177" y="41041"/>
                        <a:pt x="33093" y="45117"/>
                        <a:pt x="29919" y="46949"/>
                      </a:cubicBezTo>
                      <a:cubicBezTo>
                        <a:pt x="28887" y="47569"/>
                        <a:pt x="27752" y="47853"/>
                        <a:pt x="26617" y="47853"/>
                      </a:cubicBezTo>
                      <a:close/>
                    </a:path>
                  </a:pathLst>
                </a:custGeom>
                <a:solidFill>
                  <a:schemeClr val="accent1"/>
                </a:solidFill>
                <a:ln w="2573" cap="flat">
                  <a:noFill/>
                  <a:prstDash val="solid"/>
                  <a:miter/>
                </a:ln>
              </p:spPr>
              <p:txBody>
                <a:bodyPr rtlCol="0" anchor="ctr"/>
                <a:lstStyle/>
                <a:p>
                  <a:endParaRPr lang="en-GB" dirty="0"/>
                </a:p>
              </p:txBody>
            </p:sp>
            <p:sp>
              <p:nvSpPr>
                <p:cNvPr id="1466" name="Freihandform: Form 1465">
                  <a:extLst>
                    <a:ext uri="{FF2B5EF4-FFF2-40B4-BE49-F238E27FC236}">
                      <a16:creationId xmlns:a16="http://schemas.microsoft.com/office/drawing/2014/main" id="{2577F23E-BD9E-4327-A9BF-7C26F328F640}"/>
                    </a:ext>
                  </a:extLst>
                </p:cNvPr>
                <p:cNvSpPr/>
                <p:nvPr/>
              </p:nvSpPr>
              <p:spPr>
                <a:xfrm>
                  <a:off x="2585555" y="1743571"/>
                  <a:ext cx="51858" cy="23632"/>
                </a:xfrm>
                <a:custGeom>
                  <a:avLst/>
                  <a:gdLst>
                    <a:gd name="connsiteX0" fmla="*/ 45204 w 51858"/>
                    <a:gd name="connsiteY0" fmla="*/ 23633 h 23632"/>
                    <a:gd name="connsiteX1" fmla="*/ 43475 w 51858"/>
                    <a:gd name="connsiteY1" fmla="*/ 23401 h 23632"/>
                    <a:gd name="connsiteX2" fmla="*/ 4925 w 51858"/>
                    <a:gd name="connsiteY2" fmla="*/ 13079 h 23632"/>
                    <a:gd name="connsiteX3" fmla="*/ 229 w 51858"/>
                    <a:gd name="connsiteY3" fmla="*/ 4925 h 23632"/>
                    <a:gd name="connsiteX4" fmla="*/ 8383 w 51858"/>
                    <a:gd name="connsiteY4" fmla="*/ 229 h 23632"/>
                    <a:gd name="connsiteX5" fmla="*/ 46933 w 51858"/>
                    <a:gd name="connsiteY5" fmla="*/ 10551 h 23632"/>
                    <a:gd name="connsiteX6" fmla="*/ 51629 w 51858"/>
                    <a:gd name="connsiteY6" fmla="*/ 18704 h 23632"/>
                    <a:gd name="connsiteX7" fmla="*/ 45204 w 51858"/>
                    <a:gd name="connsiteY7" fmla="*/ 23633 h 23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58" h="23632">
                      <a:moveTo>
                        <a:pt x="45204" y="23633"/>
                      </a:moveTo>
                      <a:cubicBezTo>
                        <a:pt x="44636" y="23633"/>
                        <a:pt x="44043" y="23555"/>
                        <a:pt x="43475" y="23401"/>
                      </a:cubicBezTo>
                      <a:lnTo>
                        <a:pt x="4925" y="13079"/>
                      </a:lnTo>
                      <a:cubicBezTo>
                        <a:pt x="1390" y="12125"/>
                        <a:pt x="-725" y="8486"/>
                        <a:pt x="229" y="4925"/>
                      </a:cubicBezTo>
                      <a:cubicBezTo>
                        <a:pt x="1184" y="1390"/>
                        <a:pt x="4848" y="-725"/>
                        <a:pt x="8383" y="229"/>
                      </a:cubicBezTo>
                      <a:lnTo>
                        <a:pt x="46933" y="10551"/>
                      </a:lnTo>
                      <a:cubicBezTo>
                        <a:pt x="50468" y="11505"/>
                        <a:pt x="52584" y="15144"/>
                        <a:pt x="51629" y="18704"/>
                      </a:cubicBezTo>
                      <a:cubicBezTo>
                        <a:pt x="50829" y="21672"/>
                        <a:pt x="48120" y="23633"/>
                        <a:pt x="45204" y="23633"/>
                      </a:cubicBezTo>
                      <a:close/>
                    </a:path>
                  </a:pathLst>
                </a:custGeom>
                <a:solidFill>
                  <a:schemeClr val="accent1"/>
                </a:solidFill>
                <a:ln w="2573" cap="flat">
                  <a:noFill/>
                  <a:prstDash val="solid"/>
                  <a:miter/>
                </a:ln>
              </p:spPr>
              <p:txBody>
                <a:bodyPr rtlCol="0" anchor="ctr"/>
                <a:lstStyle/>
                <a:p>
                  <a:endParaRPr lang="en-GB" dirty="0"/>
                </a:p>
              </p:txBody>
            </p:sp>
          </p:grpSp>
        </p:grpSp>
      </p:grpSp>
      <p:sp>
        <p:nvSpPr>
          <p:cNvPr id="1490" name="TextBox 1415">
            <a:extLst>
              <a:ext uri="{FF2B5EF4-FFF2-40B4-BE49-F238E27FC236}">
                <a16:creationId xmlns:a16="http://schemas.microsoft.com/office/drawing/2014/main" id="{E709B850-E336-44EA-A691-FE51CE91FC19}"/>
              </a:ext>
            </a:extLst>
          </p:cNvPr>
          <p:cNvSpPr txBox="1"/>
          <p:nvPr/>
        </p:nvSpPr>
        <p:spPr>
          <a:xfrm>
            <a:off x="2600385" y="2077494"/>
            <a:ext cx="569067" cy="215444"/>
          </a:xfrm>
          <a:prstGeom prst="rect">
            <a:avLst/>
          </a:prstGeom>
          <a:noFill/>
          <a:effectLst/>
        </p:spPr>
        <p:txBody>
          <a:bodyPr wrap="none" lIns="0" tIns="0" rIns="0" bIns="0" rtlCol="0" anchor="t" anchorCtr="0">
            <a:spAutoFit/>
          </a:bodyPr>
          <a:lstStyle/>
          <a:p>
            <a:pPr algn="ctr"/>
            <a:r>
              <a:rPr lang="en-GB" sz="700" dirty="0">
                <a:solidFill>
                  <a:schemeClr val="tx2"/>
                </a:solidFill>
              </a:rPr>
              <a:t>Celebrity</a:t>
            </a:r>
            <a:br>
              <a:rPr lang="en-GB" sz="700" dirty="0">
                <a:solidFill>
                  <a:schemeClr val="tx2"/>
                </a:solidFill>
              </a:rPr>
            </a:br>
            <a:r>
              <a:rPr lang="en-GB" sz="700" dirty="0">
                <a:solidFill>
                  <a:schemeClr val="tx2"/>
                </a:solidFill>
              </a:rPr>
              <a:t>endorsements</a:t>
            </a:r>
          </a:p>
        </p:txBody>
      </p:sp>
      <p:grpSp>
        <p:nvGrpSpPr>
          <p:cNvPr id="16" name="Group 15">
            <a:extLst>
              <a:ext uri="{FF2B5EF4-FFF2-40B4-BE49-F238E27FC236}">
                <a16:creationId xmlns:a16="http://schemas.microsoft.com/office/drawing/2014/main" id="{165DB3C5-AD16-BBA4-0AB5-9DFA6CDFDDEE}"/>
              </a:ext>
            </a:extLst>
          </p:cNvPr>
          <p:cNvGrpSpPr/>
          <p:nvPr/>
        </p:nvGrpSpPr>
        <p:grpSpPr>
          <a:xfrm>
            <a:off x="515802" y="1626716"/>
            <a:ext cx="556497" cy="432000"/>
            <a:chOff x="515802" y="1626716"/>
            <a:chExt cx="556497" cy="432000"/>
          </a:xfrm>
        </p:grpSpPr>
        <p:grpSp>
          <p:nvGrpSpPr>
            <p:cNvPr id="1492" name="Grafik 312">
              <a:extLst>
                <a:ext uri="{FF2B5EF4-FFF2-40B4-BE49-F238E27FC236}">
                  <a16:creationId xmlns:a16="http://schemas.microsoft.com/office/drawing/2014/main" id="{15990CB8-B11F-44F7-9050-96672F6F26C2}"/>
                </a:ext>
              </a:extLst>
            </p:cNvPr>
            <p:cNvGrpSpPr/>
            <p:nvPr/>
          </p:nvGrpSpPr>
          <p:grpSpPr>
            <a:xfrm>
              <a:off x="554346" y="1785885"/>
              <a:ext cx="276324" cy="272831"/>
              <a:chOff x="860427" y="1831188"/>
              <a:chExt cx="251020" cy="247847"/>
            </a:xfrm>
            <a:solidFill>
              <a:schemeClr val="accent1"/>
            </a:solidFill>
          </p:grpSpPr>
          <p:sp>
            <p:nvSpPr>
              <p:cNvPr id="1501" name="Freihandform: Form 1500">
                <a:extLst>
                  <a:ext uri="{FF2B5EF4-FFF2-40B4-BE49-F238E27FC236}">
                    <a16:creationId xmlns:a16="http://schemas.microsoft.com/office/drawing/2014/main" id="{244C9D9C-51D5-4E2E-9E8F-07A880E3769F}"/>
                  </a:ext>
                </a:extLst>
              </p:cNvPr>
              <p:cNvSpPr/>
              <p:nvPr/>
            </p:nvSpPr>
            <p:spPr>
              <a:xfrm>
                <a:off x="938503" y="1831188"/>
                <a:ext cx="172944" cy="172940"/>
              </a:xfrm>
              <a:custGeom>
                <a:avLst/>
                <a:gdLst>
                  <a:gd name="connsiteX0" fmla="*/ 86498 w 172944"/>
                  <a:gd name="connsiteY0" fmla="*/ 172941 h 172940"/>
                  <a:gd name="connsiteX1" fmla="*/ 85466 w 172944"/>
                  <a:gd name="connsiteY1" fmla="*/ 172941 h 172940"/>
                  <a:gd name="connsiteX2" fmla="*/ 24622 w 172944"/>
                  <a:gd name="connsiteY2" fmla="*/ 146905 h 172940"/>
                  <a:gd name="connsiteX3" fmla="*/ 6 w 172944"/>
                  <a:gd name="connsiteY3" fmla="*/ 85468 h 172940"/>
                  <a:gd name="connsiteX4" fmla="*/ 26041 w 172944"/>
                  <a:gd name="connsiteY4" fmla="*/ 24624 h 172940"/>
                  <a:gd name="connsiteX5" fmla="*/ 87478 w 172944"/>
                  <a:gd name="connsiteY5" fmla="*/ 8 h 172940"/>
                  <a:gd name="connsiteX6" fmla="*/ 148322 w 172944"/>
                  <a:gd name="connsiteY6" fmla="*/ 26043 h 172940"/>
                  <a:gd name="connsiteX7" fmla="*/ 172939 w 172944"/>
                  <a:gd name="connsiteY7" fmla="*/ 87481 h 172940"/>
                  <a:gd name="connsiteX8" fmla="*/ 146903 w 172944"/>
                  <a:gd name="connsiteY8" fmla="*/ 148325 h 172940"/>
                  <a:gd name="connsiteX9" fmla="*/ 86498 w 172944"/>
                  <a:gd name="connsiteY9" fmla="*/ 172941 h 172940"/>
                  <a:gd name="connsiteX10" fmla="*/ 86446 w 172944"/>
                  <a:gd name="connsiteY10" fmla="*/ 13297 h 172940"/>
                  <a:gd name="connsiteX11" fmla="*/ 35330 w 172944"/>
                  <a:gd name="connsiteY11" fmla="*/ 34120 h 172940"/>
                  <a:gd name="connsiteX12" fmla="*/ 13294 w 172944"/>
                  <a:gd name="connsiteY12" fmla="*/ 85597 h 172940"/>
                  <a:gd name="connsiteX13" fmla="*/ 34117 w 172944"/>
                  <a:gd name="connsiteY13" fmla="*/ 137591 h 172940"/>
                  <a:gd name="connsiteX14" fmla="*/ 85595 w 172944"/>
                  <a:gd name="connsiteY14" fmla="*/ 159626 h 172940"/>
                  <a:gd name="connsiteX15" fmla="*/ 137588 w 172944"/>
                  <a:gd name="connsiteY15" fmla="*/ 138803 h 172940"/>
                  <a:gd name="connsiteX16" fmla="*/ 159624 w 172944"/>
                  <a:gd name="connsiteY16" fmla="*/ 87326 h 172940"/>
                  <a:gd name="connsiteX17" fmla="*/ 138801 w 172944"/>
                  <a:gd name="connsiteY17" fmla="*/ 35358 h 172940"/>
                  <a:gd name="connsiteX18" fmla="*/ 87324 w 172944"/>
                  <a:gd name="connsiteY18" fmla="*/ 13322 h 172940"/>
                  <a:gd name="connsiteX19" fmla="*/ 86446 w 172944"/>
                  <a:gd name="connsiteY19" fmla="*/ 13297 h 17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2944" h="172940">
                    <a:moveTo>
                      <a:pt x="86498" y="172941"/>
                    </a:moveTo>
                    <a:cubicBezTo>
                      <a:pt x="86162" y="172941"/>
                      <a:pt x="85801" y="172941"/>
                      <a:pt x="85466" y="172941"/>
                    </a:cubicBezTo>
                    <a:cubicBezTo>
                      <a:pt x="62372" y="172683"/>
                      <a:pt x="40775" y="163419"/>
                      <a:pt x="24622" y="146905"/>
                    </a:cubicBezTo>
                    <a:cubicBezTo>
                      <a:pt x="8469" y="130391"/>
                      <a:pt x="-252" y="108562"/>
                      <a:pt x="6" y="85468"/>
                    </a:cubicBezTo>
                    <a:cubicBezTo>
                      <a:pt x="264" y="62374"/>
                      <a:pt x="9527" y="40777"/>
                      <a:pt x="26041" y="24624"/>
                    </a:cubicBezTo>
                    <a:cubicBezTo>
                      <a:pt x="42555" y="8471"/>
                      <a:pt x="64307" y="-302"/>
                      <a:pt x="87478" y="8"/>
                    </a:cubicBezTo>
                    <a:cubicBezTo>
                      <a:pt x="110572" y="266"/>
                      <a:pt x="132169" y="9529"/>
                      <a:pt x="148322" y="26043"/>
                    </a:cubicBezTo>
                    <a:cubicBezTo>
                      <a:pt x="164475" y="42557"/>
                      <a:pt x="173197" y="64387"/>
                      <a:pt x="172939" y="87481"/>
                    </a:cubicBezTo>
                    <a:cubicBezTo>
                      <a:pt x="172680" y="110575"/>
                      <a:pt x="163417" y="132172"/>
                      <a:pt x="146903" y="148325"/>
                    </a:cubicBezTo>
                    <a:cubicBezTo>
                      <a:pt x="130621" y="164219"/>
                      <a:pt x="109205" y="172941"/>
                      <a:pt x="86498" y="172941"/>
                    </a:cubicBezTo>
                    <a:close/>
                    <a:moveTo>
                      <a:pt x="86446" y="13297"/>
                    </a:moveTo>
                    <a:cubicBezTo>
                      <a:pt x="67223" y="13297"/>
                      <a:pt x="49109" y="20676"/>
                      <a:pt x="35330" y="34120"/>
                    </a:cubicBezTo>
                    <a:cubicBezTo>
                      <a:pt x="21345" y="47770"/>
                      <a:pt x="13526" y="66064"/>
                      <a:pt x="13294" y="85597"/>
                    </a:cubicBezTo>
                    <a:cubicBezTo>
                      <a:pt x="13062" y="105130"/>
                      <a:pt x="20467" y="123605"/>
                      <a:pt x="34117" y="137591"/>
                    </a:cubicBezTo>
                    <a:cubicBezTo>
                      <a:pt x="47767" y="151576"/>
                      <a:pt x="66062" y="159394"/>
                      <a:pt x="85595" y="159626"/>
                    </a:cubicBezTo>
                    <a:cubicBezTo>
                      <a:pt x="105128" y="159781"/>
                      <a:pt x="123603" y="152453"/>
                      <a:pt x="137588" y="138803"/>
                    </a:cubicBezTo>
                    <a:cubicBezTo>
                      <a:pt x="151573" y="125153"/>
                      <a:pt x="159392" y="106859"/>
                      <a:pt x="159624" y="87326"/>
                    </a:cubicBezTo>
                    <a:cubicBezTo>
                      <a:pt x="159856" y="67793"/>
                      <a:pt x="152451" y="49318"/>
                      <a:pt x="138801" y="35358"/>
                    </a:cubicBezTo>
                    <a:cubicBezTo>
                      <a:pt x="125151" y="21373"/>
                      <a:pt x="106857" y="13555"/>
                      <a:pt x="87324" y="13322"/>
                    </a:cubicBezTo>
                    <a:cubicBezTo>
                      <a:pt x="87040" y="13297"/>
                      <a:pt x="86730" y="13297"/>
                      <a:pt x="86446" y="13297"/>
                    </a:cubicBezTo>
                    <a:close/>
                  </a:path>
                </a:pathLst>
              </a:custGeom>
              <a:solidFill>
                <a:schemeClr val="accent1"/>
              </a:solidFill>
              <a:ln w="2573" cap="flat">
                <a:noFill/>
                <a:prstDash val="solid"/>
                <a:miter/>
              </a:ln>
            </p:spPr>
            <p:txBody>
              <a:bodyPr rtlCol="0" anchor="ctr"/>
              <a:lstStyle/>
              <a:p>
                <a:endParaRPr lang="en-GB" dirty="0"/>
              </a:p>
            </p:txBody>
          </p:sp>
          <p:sp>
            <p:nvSpPr>
              <p:cNvPr id="1502" name="Freihandform: Form 1501">
                <a:extLst>
                  <a:ext uri="{FF2B5EF4-FFF2-40B4-BE49-F238E27FC236}">
                    <a16:creationId xmlns:a16="http://schemas.microsoft.com/office/drawing/2014/main" id="{06487A6A-CE1A-4C33-9432-D46249A56775}"/>
                  </a:ext>
                </a:extLst>
              </p:cNvPr>
              <p:cNvSpPr/>
              <p:nvPr/>
            </p:nvSpPr>
            <p:spPr>
              <a:xfrm>
                <a:off x="928784" y="1966753"/>
                <a:ext cx="45742" cy="45503"/>
              </a:xfrm>
              <a:custGeom>
                <a:avLst/>
                <a:gdLst>
                  <a:gd name="connsiteX0" fmla="*/ 6654 w 45742"/>
                  <a:gd name="connsiteY0" fmla="*/ 45504 h 45503"/>
                  <a:gd name="connsiteX1" fmla="*/ 1932 w 45742"/>
                  <a:gd name="connsiteY1" fmla="*/ 43543 h 45503"/>
                  <a:gd name="connsiteX2" fmla="*/ 1958 w 45742"/>
                  <a:gd name="connsiteY2" fmla="*/ 34125 h 45503"/>
                  <a:gd name="connsiteX3" fmla="*/ 34392 w 45742"/>
                  <a:gd name="connsiteY3" fmla="*/ 1922 h 45503"/>
                  <a:gd name="connsiteX4" fmla="*/ 43811 w 45742"/>
                  <a:gd name="connsiteY4" fmla="*/ 1948 h 45503"/>
                  <a:gd name="connsiteX5" fmla="*/ 43785 w 45742"/>
                  <a:gd name="connsiteY5" fmla="*/ 11366 h 45503"/>
                  <a:gd name="connsiteX6" fmla="*/ 11350 w 45742"/>
                  <a:gd name="connsiteY6" fmla="*/ 43569 h 45503"/>
                  <a:gd name="connsiteX7" fmla="*/ 6654 w 45742"/>
                  <a:gd name="connsiteY7" fmla="*/ 45504 h 45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42" h="45503">
                    <a:moveTo>
                      <a:pt x="6654" y="45504"/>
                    </a:moveTo>
                    <a:cubicBezTo>
                      <a:pt x="4951" y="45504"/>
                      <a:pt x="3222" y="44859"/>
                      <a:pt x="1932" y="43543"/>
                    </a:cubicBezTo>
                    <a:cubicBezTo>
                      <a:pt x="-648" y="40937"/>
                      <a:pt x="-648" y="36731"/>
                      <a:pt x="1958" y="34125"/>
                    </a:cubicBezTo>
                    <a:lnTo>
                      <a:pt x="34392" y="1922"/>
                    </a:lnTo>
                    <a:cubicBezTo>
                      <a:pt x="36999" y="-658"/>
                      <a:pt x="41204" y="-632"/>
                      <a:pt x="43811" y="1948"/>
                    </a:cubicBezTo>
                    <a:cubicBezTo>
                      <a:pt x="46391" y="4554"/>
                      <a:pt x="46391" y="8760"/>
                      <a:pt x="43785" y="11366"/>
                    </a:cubicBezTo>
                    <a:lnTo>
                      <a:pt x="11350" y="43569"/>
                    </a:lnTo>
                    <a:cubicBezTo>
                      <a:pt x="10034" y="44885"/>
                      <a:pt x="8357" y="45504"/>
                      <a:pt x="6654" y="45504"/>
                    </a:cubicBezTo>
                    <a:close/>
                  </a:path>
                </a:pathLst>
              </a:custGeom>
              <a:solidFill>
                <a:schemeClr val="accent1"/>
              </a:solidFill>
              <a:ln w="2573" cap="flat">
                <a:noFill/>
                <a:prstDash val="solid"/>
                <a:miter/>
              </a:ln>
            </p:spPr>
            <p:txBody>
              <a:bodyPr rtlCol="0" anchor="ctr"/>
              <a:lstStyle/>
              <a:p>
                <a:endParaRPr lang="en-GB" dirty="0"/>
              </a:p>
            </p:txBody>
          </p:sp>
          <p:sp>
            <p:nvSpPr>
              <p:cNvPr id="1503" name="Freihandform: Form 1502">
                <a:extLst>
                  <a:ext uri="{FF2B5EF4-FFF2-40B4-BE49-F238E27FC236}">
                    <a16:creationId xmlns:a16="http://schemas.microsoft.com/office/drawing/2014/main" id="{DA4EE298-8BFF-4468-AD37-4BCEFE43C3B3}"/>
                  </a:ext>
                </a:extLst>
              </p:cNvPr>
              <p:cNvSpPr/>
              <p:nvPr/>
            </p:nvSpPr>
            <p:spPr>
              <a:xfrm>
                <a:off x="860427" y="1985032"/>
                <a:ext cx="94761" cy="94003"/>
              </a:xfrm>
              <a:custGeom>
                <a:avLst/>
                <a:gdLst>
                  <a:gd name="connsiteX0" fmla="*/ 26579 w 94761"/>
                  <a:gd name="connsiteY0" fmla="*/ 94004 h 94003"/>
                  <a:gd name="connsiteX1" fmla="*/ 26269 w 94761"/>
                  <a:gd name="connsiteY1" fmla="*/ 94004 h 94003"/>
                  <a:gd name="connsiteX2" fmla="*/ 7562 w 94761"/>
                  <a:gd name="connsiteY2" fmla="*/ 85979 h 94003"/>
                  <a:gd name="connsiteX3" fmla="*/ 7562 w 94761"/>
                  <a:gd name="connsiteY3" fmla="*/ 85979 h 94003"/>
                  <a:gd name="connsiteX4" fmla="*/ 8001 w 94761"/>
                  <a:gd name="connsiteY4" fmla="*/ 48358 h 94003"/>
                  <a:gd name="connsiteX5" fmla="*/ 55582 w 94761"/>
                  <a:gd name="connsiteY5" fmla="*/ 1886 h 94003"/>
                  <a:gd name="connsiteX6" fmla="*/ 60304 w 94761"/>
                  <a:gd name="connsiteY6" fmla="*/ 3 h 94003"/>
                  <a:gd name="connsiteX7" fmla="*/ 64974 w 94761"/>
                  <a:gd name="connsiteY7" fmla="*/ 2015 h 94003"/>
                  <a:gd name="connsiteX8" fmla="*/ 92867 w 94761"/>
                  <a:gd name="connsiteY8" fmla="*/ 30554 h 94003"/>
                  <a:gd name="connsiteX9" fmla="*/ 92764 w 94761"/>
                  <a:gd name="connsiteY9" fmla="*/ 39946 h 94003"/>
                  <a:gd name="connsiteX10" fmla="*/ 45183 w 94761"/>
                  <a:gd name="connsiteY10" fmla="*/ 86418 h 94003"/>
                  <a:gd name="connsiteX11" fmla="*/ 26579 w 94761"/>
                  <a:gd name="connsiteY11" fmla="*/ 94004 h 94003"/>
                  <a:gd name="connsiteX12" fmla="*/ 17058 w 94761"/>
                  <a:gd name="connsiteY12" fmla="*/ 76716 h 94003"/>
                  <a:gd name="connsiteX13" fmla="*/ 35868 w 94761"/>
                  <a:gd name="connsiteY13" fmla="*/ 76922 h 94003"/>
                  <a:gd name="connsiteX14" fmla="*/ 78701 w 94761"/>
                  <a:gd name="connsiteY14" fmla="*/ 35095 h 94003"/>
                  <a:gd name="connsiteX15" fmla="*/ 60097 w 94761"/>
                  <a:gd name="connsiteY15" fmla="*/ 16052 h 94003"/>
                  <a:gd name="connsiteX16" fmla="*/ 17264 w 94761"/>
                  <a:gd name="connsiteY16" fmla="*/ 57879 h 94003"/>
                  <a:gd name="connsiteX17" fmla="*/ 17058 w 94761"/>
                  <a:gd name="connsiteY17" fmla="*/ 76716 h 94003"/>
                  <a:gd name="connsiteX18" fmla="*/ 17058 w 94761"/>
                  <a:gd name="connsiteY18" fmla="*/ 76716 h 94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4761" h="94003">
                    <a:moveTo>
                      <a:pt x="26579" y="94004"/>
                    </a:moveTo>
                    <a:cubicBezTo>
                      <a:pt x="26476" y="94004"/>
                      <a:pt x="26373" y="94004"/>
                      <a:pt x="26269" y="94004"/>
                    </a:cubicBezTo>
                    <a:cubicBezTo>
                      <a:pt x="19173" y="93926"/>
                      <a:pt x="12516" y="91062"/>
                      <a:pt x="7562" y="85979"/>
                    </a:cubicBezTo>
                    <a:lnTo>
                      <a:pt x="7562" y="85979"/>
                    </a:lnTo>
                    <a:cubicBezTo>
                      <a:pt x="-2682" y="75477"/>
                      <a:pt x="-2501" y="58602"/>
                      <a:pt x="8001" y="48358"/>
                    </a:cubicBezTo>
                    <a:lnTo>
                      <a:pt x="55582" y="1886"/>
                    </a:lnTo>
                    <a:cubicBezTo>
                      <a:pt x="56846" y="648"/>
                      <a:pt x="58575" y="-49"/>
                      <a:pt x="60304" y="3"/>
                    </a:cubicBezTo>
                    <a:cubicBezTo>
                      <a:pt x="62058" y="28"/>
                      <a:pt x="63761" y="751"/>
                      <a:pt x="64974" y="2015"/>
                    </a:cubicBezTo>
                    <a:lnTo>
                      <a:pt x="92867" y="30554"/>
                    </a:lnTo>
                    <a:cubicBezTo>
                      <a:pt x="95422" y="33186"/>
                      <a:pt x="95396" y="37391"/>
                      <a:pt x="92764" y="39946"/>
                    </a:cubicBezTo>
                    <a:lnTo>
                      <a:pt x="45183" y="86418"/>
                    </a:lnTo>
                    <a:cubicBezTo>
                      <a:pt x="40151" y="91346"/>
                      <a:pt x="33572" y="94004"/>
                      <a:pt x="26579" y="94004"/>
                    </a:cubicBezTo>
                    <a:close/>
                    <a:moveTo>
                      <a:pt x="17058" y="76716"/>
                    </a:moveTo>
                    <a:cubicBezTo>
                      <a:pt x="22192" y="81954"/>
                      <a:pt x="30630" y="82057"/>
                      <a:pt x="35868" y="76922"/>
                    </a:cubicBezTo>
                    <a:lnTo>
                      <a:pt x="78701" y="35095"/>
                    </a:lnTo>
                    <a:lnTo>
                      <a:pt x="60097" y="16052"/>
                    </a:lnTo>
                    <a:lnTo>
                      <a:pt x="17264" y="57879"/>
                    </a:lnTo>
                    <a:cubicBezTo>
                      <a:pt x="12026" y="63014"/>
                      <a:pt x="11923" y="71452"/>
                      <a:pt x="17058" y="76716"/>
                    </a:cubicBezTo>
                    <a:lnTo>
                      <a:pt x="17058" y="76716"/>
                    </a:lnTo>
                    <a:close/>
                  </a:path>
                </a:pathLst>
              </a:custGeom>
              <a:solidFill>
                <a:schemeClr val="accent1"/>
              </a:solidFill>
              <a:ln w="2573" cap="flat">
                <a:noFill/>
                <a:prstDash val="solid"/>
                <a:miter/>
              </a:ln>
            </p:spPr>
            <p:txBody>
              <a:bodyPr rtlCol="0" anchor="ctr"/>
              <a:lstStyle/>
              <a:p>
                <a:endParaRPr lang="en-GB" dirty="0"/>
              </a:p>
            </p:txBody>
          </p:sp>
        </p:grpSp>
        <p:grpSp>
          <p:nvGrpSpPr>
            <p:cNvPr id="1493" name="Gruppieren 1492">
              <a:extLst>
                <a:ext uri="{FF2B5EF4-FFF2-40B4-BE49-F238E27FC236}">
                  <a16:creationId xmlns:a16="http://schemas.microsoft.com/office/drawing/2014/main" id="{DBD1190E-7D6F-40F3-9818-50C3F985BD6D}"/>
                </a:ext>
              </a:extLst>
            </p:cNvPr>
            <p:cNvGrpSpPr/>
            <p:nvPr/>
          </p:nvGrpSpPr>
          <p:grpSpPr>
            <a:xfrm>
              <a:off x="515802" y="1626716"/>
              <a:ext cx="556497" cy="307533"/>
              <a:chOff x="825413" y="1686595"/>
              <a:chExt cx="505536" cy="279371"/>
            </a:xfrm>
            <a:solidFill>
              <a:schemeClr val="tx2"/>
            </a:solidFill>
          </p:grpSpPr>
          <p:sp>
            <p:nvSpPr>
              <p:cNvPr id="1494" name="Freihandform: Form 1493">
                <a:extLst>
                  <a:ext uri="{FF2B5EF4-FFF2-40B4-BE49-F238E27FC236}">
                    <a16:creationId xmlns:a16="http://schemas.microsoft.com/office/drawing/2014/main" id="{8DFE1C06-9106-4F26-A1AF-3F6AB1B1B0B4}"/>
                  </a:ext>
                </a:extLst>
              </p:cNvPr>
              <p:cNvSpPr/>
              <p:nvPr/>
            </p:nvSpPr>
            <p:spPr>
              <a:xfrm>
                <a:off x="985058" y="1856345"/>
                <a:ext cx="93123" cy="63072"/>
              </a:xfrm>
              <a:custGeom>
                <a:avLst/>
                <a:gdLst>
                  <a:gd name="connsiteX0" fmla="*/ 86466 w 93123"/>
                  <a:gd name="connsiteY0" fmla="*/ 63073 h 63072"/>
                  <a:gd name="connsiteX1" fmla="*/ 6657 w 93123"/>
                  <a:gd name="connsiteY1" fmla="*/ 63073 h 63072"/>
                  <a:gd name="connsiteX2" fmla="*/ 0 w 93123"/>
                  <a:gd name="connsiteY2" fmla="*/ 56415 h 63072"/>
                  <a:gd name="connsiteX3" fmla="*/ 29545 w 93123"/>
                  <a:gd name="connsiteY3" fmla="*/ 1119 h 63072"/>
                  <a:gd name="connsiteX4" fmla="*/ 38782 w 93123"/>
                  <a:gd name="connsiteY4" fmla="*/ 2951 h 63072"/>
                  <a:gd name="connsiteX5" fmla="*/ 36950 w 93123"/>
                  <a:gd name="connsiteY5" fmla="*/ 12189 h 63072"/>
                  <a:gd name="connsiteX6" fmla="*/ 13727 w 93123"/>
                  <a:gd name="connsiteY6" fmla="*/ 49784 h 63072"/>
                  <a:gd name="connsiteX7" fmla="*/ 86466 w 93123"/>
                  <a:gd name="connsiteY7" fmla="*/ 49784 h 63072"/>
                  <a:gd name="connsiteX8" fmla="*/ 93124 w 93123"/>
                  <a:gd name="connsiteY8" fmla="*/ 56441 h 63072"/>
                  <a:gd name="connsiteX9" fmla="*/ 86466 w 93123"/>
                  <a:gd name="connsiteY9" fmla="*/ 63073 h 6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123" h="63072">
                    <a:moveTo>
                      <a:pt x="86466" y="63073"/>
                    </a:moveTo>
                    <a:lnTo>
                      <a:pt x="6657" y="63073"/>
                    </a:lnTo>
                    <a:cubicBezTo>
                      <a:pt x="2993" y="63073"/>
                      <a:pt x="0" y="60105"/>
                      <a:pt x="0" y="56415"/>
                    </a:cubicBezTo>
                    <a:cubicBezTo>
                      <a:pt x="0" y="34173"/>
                      <a:pt x="11044" y="13505"/>
                      <a:pt x="29545" y="1119"/>
                    </a:cubicBezTo>
                    <a:cubicBezTo>
                      <a:pt x="32589" y="-919"/>
                      <a:pt x="36744" y="-94"/>
                      <a:pt x="38782" y="2951"/>
                    </a:cubicBezTo>
                    <a:cubicBezTo>
                      <a:pt x="40821" y="5996"/>
                      <a:pt x="39995" y="10124"/>
                      <a:pt x="36950" y="12189"/>
                    </a:cubicBezTo>
                    <a:cubicBezTo>
                      <a:pt x="23997" y="20858"/>
                      <a:pt x="15611" y="34586"/>
                      <a:pt x="13727" y="49784"/>
                    </a:cubicBezTo>
                    <a:lnTo>
                      <a:pt x="86466" y="49784"/>
                    </a:lnTo>
                    <a:cubicBezTo>
                      <a:pt x="90131" y="49784"/>
                      <a:pt x="93124" y="52751"/>
                      <a:pt x="93124" y="56441"/>
                    </a:cubicBezTo>
                    <a:cubicBezTo>
                      <a:pt x="93124" y="60131"/>
                      <a:pt x="90156" y="63073"/>
                      <a:pt x="86466" y="63073"/>
                    </a:cubicBezTo>
                    <a:close/>
                  </a:path>
                </a:pathLst>
              </a:custGeom>
              <a:grpFill/>
              <a:ln w="2573" cap="flat">
                <a:noFill/>
                <a:prstDash val="solid"/>
                <a:miter/>
              </a:ln>
            </p:spPr>
            <p:txBody>
              <a:bodyPr rtlCol="0" anchor="ctr"/>
              <a:lstStyle/>
              <a:p>
                <a:endParaRPr lang="en-GB" dirty="0"/>
              </a:p>
            </p:txBody>
          </p:sp>
          <p:sp>
            <p:nvSpPr>
              <p:cNvPr id="1495" name="Freihandform: Form 1494">
                <a:extLst>
                  <a:ext uri="{FF2B5EF4-FFF2-40B4-BE49-F238E27FC236}">
                    <a16:creationId xmlns:a16="http://schemas.microsoft.com/office/drawing/2014/main" id="{A21894BF-C428-4C75-A39B-8E3ED908C6B7}"/>
                  </a:ext>
                </a:extLst>
              </p:cNvPr>
              <p:cNvSpPr/>
              <p:nvPr/>
            </p:nvSpPr>
            <p:spPr>
              <a:xfrm>
                <a:off x="1091470" y="1839582"/>
                <a:ext cx="73177" cy="73177"/>
              </a:xfrm>
              <a:custGeom>
                <a:avLst/>
                <a:gdLst>
                  <a:gd name="connsiteX0" fmla="*/ 66521 w 73177"/>
                  <a:gd name="connsiteY0" fmla="*/ 73178 h 73177"/>
                  <a:gd name="connsiteX1" fmla="*/ 33260 w 73177"/>
                  <a:gd name="connsiteY1" fmla="*/ 73178 h 73177"/>
                  <a:gd name="connsiteX2" fmla="*/ 26603 w 73177"/>
                  <a:gd name="connsiteY2" fmla="*/ 66521 h 73177"/>
                  <a:gd name="connsiteX3" fmla="*/ 33260 w 73177"/>
                  <a:gd name="connsiteY3" fmla="*/ 59863 h 73177"/>
                  <a:gd name="connsiteX4" fmla="*/ 59451 w 73177"/>
                  <a:gd name="connsiteY4" fmla="*/ 59863 h 73177"/>
                  <a:gd name="connsiteX5" fmla="*/ 6657 w 73177"/>
                  <a:gd name="connsiteY5" fmla="*/ 13314 h 73177"/>
                  <a:gd name="connsiteX6" fmla="*/ 0 w 73177"/>
                  <a:gd name="connsiteY6" fmla="*/ 6657 h 73177"/>
                  <a:gd name="connsiteX7" fmla="*/ 6657 w 73177"/>
                  <a:gd name="connsiteY7" fmla="*/ 0 h 73177"/>
                  <a:gd name="connsiteX8" fmla="*/ 73178 w 73177"/>
                  <a:gd name="connsiteY8" fmla="*/ 66521 h 73177"/>
                  <a:gd name="connsiteX9" fmla="*/ 66521 w 73177"/>
                  <a:gd name="connsiteY9" fmla="*/ 73178 h 7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77" h="73177">
                    <a:moveTo>
                      <a:pt x="66521" y="73178"/>
                    </a:moveTo>
                    <a:lnTo>
                      <a:pt x="33260" y="73178"/>
                    </a:lnTo>
                    <a:cubicBezTo>
                      <a:pt x="29596" y="73178"/>
                      <a:pt x="26603" y="70210"/>
                      <a:pt x="26603" y="66521"/>
                    </a:cubicBezTo>
                    <a:cubicBezTo>
                      <a:pt x="26603" y="62831"/>
                      <a:pt x="29570" y="59863"/>
                      <a:pt x="33260" y="59863"/>
                    </a:cubicBezTo>
                    <a:lnTo>
                      <a:pt x="59451" y="59863"/>
                    </a:lnTo>
                    <a:cubicBezTo>
                      <a:pt x="56174" y="33647"/>
                      <a:pt x="33751" y="13314"/>
                      <a:pt x="6657" y="13314"/>
                    </a:cubicBezTo>
                    <a:cubicBezTo>
                      <a:pt x="2993" y="13314"/>
                      <a:pt x="0" y="10347"/>
                      <a:pt x="0" y="6657"/>
                    </a:cubicBezTo>
                    <a:cubicBezTo>
                      <a:pt x="0" y="2967"/>
                      <a:pt x="2967" y="0"/>
                      <a:pt x="6657" y="0"/>
                    </a:cubicBezTo>
                    <a:cubicBezTo>
                      <a:pt x="43324" y="0"/>
                      <a:pt x="73178" y="29828"/>
                      <a:pt x="73178" y="66521"/>
                    </a:cubicBezTo>
                    <a:cubicBezTo>
                      <a:pt x="73178" y="70210"/>
                      <a:pt x="70210" y="73178"/>
                      <a:pt x="66521" y="73178"/>
                    </a:cubicBezTo>
                    <a:close/>
                  </a:path>
                </a:pathLst>
              </a:custGeom>
              <a:grpFill/>
              <a:ln w="2573" cap="flat">
                <a:noFill/>
                <a:prstDash val="solid"/>
                <a:miter/>
              </a:ln>
            </p:spPr>
            <p:txBody>
              <a:bodyPr rtlCol="0" anchor="ctr"/>
              <a:lstStyle/>
              <a:p>
                <a:endParaRPr lang="en-GB" dirty="0"/>
              </a:p>
            </p:txBody>
          </p:sp>
          <p:sp>
            <p:nvSpPr>
              <p:cNvPr id="1496" name="Freihandform: Form 1495">
                <a:extLst>
                  <a:ext uri="{FF2B5EF4-FFF2-40B4-BE49-F238E27FC236}">
                    <a16:creationId xmlns:a16="http://schemas.microsoft.com/office/drawing/2014/main" id="{110BBEAD-2348-4993-B6CC-62DFC50C422F}"/>
                  </a:ext>
                </a:extLst>
              </p:cNvPr>
              <p:cNvSpPr/>
              <p:nvPr/>
            </p:nvSpPr>
            <p:spPr>
              <a:xfrm>
                <a:off x="1031632" y="1719881"/>
                <a:ext cx="93097" cy="106412"/>
              </a:xfrm>
              <a:custGeom>
                <a:avLst/>
                <a:gdLst>
                  <a:gd name="connsiteX0" fmla="*/ 46549 w 93097"/>
                  <a:gd name="connsiteY0" fmla="*/ 106412 h 106412"/>
                  <a:gd name="connsiteX1" fmla="*/ 0 w 93097"/>
                  <a:gd name="connsiteY1" fmla="*/ 53206 h 106412"/>
                  <a:gd name="connsiteX2" fmla="*/ 46549 w 93097"/>
                  <a:gd name="connsiteY2" fmla="*/ 0 h 106412"/>
                  <a:gd name="connsiteX3" fmla="*/ 93098 w 93097"/>
                  <a:gd name="connsiteY3" fmla="*/ 53206 h 106412"/>
                  <a:gd name="connsiteX4" fmla="*/ 46549 w 93097"/>
                  <a:gd name="connsiteY4" fmla="*/ 106412 h 106412"/>
                  <a:gd name="connsiteX5" fmla="*/ 46549 w 93097"/>
                  <a:gd name="connsiteY5" fmla="*/ 13289 h 106412"/>
                  <a:gd name="connsiteX6" fmla="*/ 13289 w 93097"/>
                  <a:gd name="connsiteY6" fmla="*/ 53206 h 106412"/>
                  <a:gd name="connsiteX7" fmla="*/ 46549 w 93097"/>
                  <a:gd name="connsiteY7" fmla="*/ 93124 h 106412"/>
                  <a:gd name="connsiteX8" fmla="*/ 79809 w 93097"/>
                  <a:gd name="connsiteY8" fmla="*/ 53206 h 106412"/>
                  <a:gd name="connsiteX9" fmla="*/ 46549 w 93097"/>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7" h="106412">
                    <a:moveTo>
                      <a:pt x="46549" y="106412"/>
                    </a:moveTo>
                    <a:cubicBezTo>
                      <a:pt x="18707" y="106412"/>
                      <a:pt x="0" y="85022"/>
                      <a:pt x="0" y="53206"/>
                    </a:cubicBezTo>
                    <a:cubicBezTo>
                      <a:pt x="0" y="21391"/>
                      <a:pt x="18707" y="0"/>
                      <a:pt x="46549" y="0"/>
                    </a:cubicBezTo>
                    <a:cubicBezTo>
                      <a:pt x="74391" y="0"/>
                      <a:pt x="93098" y="21391"/>
                      <a:pt x="93098" y="53206"/>
                    </a:cubicBezTo>
                    <a:cubicBezTo>
                      <a:pt x="93098" y="85022"/>
                      <a:pt x="74391" y="106412"/>
                      <a:pt x="46549" y="106412"/>
                    </a:cubicBezTo>
                    <a:close/>
                    <a:moveTo>
                      <a:pt x="46549" y="13289"/>
                    </a:moveTo>
                    <a:cubicBezTo>
                      <a:pt x="22010" y="13289"/>
                      <a:pt x="13289" y="34783"/>
                      <a:pt x="13289" y="53206"/>
                    </a:cubicBezTo>
                    <a:cubicBezTo>
                      <a:pt x="13289" y="71630"/>
                      <a:pt x="22010" y="93124"/>
                      <a:pt x="46549" y="93124"/>
                    </a:cubicBezTo>
                    <a:cubicBezTo>
                      <a:pt x="71088" y="93124"/>
                      <a:pt x="79809" y="71630"/>
                      <a:pt x="79809" y="53206"/>
                    </a:cubicBezTo>
                    <a:cubicBezTo>
                      <a:pt x="79809" y="34783"/>
                      <a:pt x="71088" y="13289"/>
                      <a:pt x="46549" y="13289"/>
                    </a:cubicBezTo>
                    <a:close/>
                  </a:path>
                </a:pathLst>
              </a:custGeom>
              <a:grpFill/>
              <a:ln w="2573" cap="flat">
                <a:noFill/>
                <a:prstDash val="solid"/>
                <a:miter/>
              </a:ln>
            </p:spPr>
            <p:txBody>
              <a:bodyPr rtlCol="0" anchor="ctr"/>
              <a:lstStyle/>
              <a:p>
                <a:endParaRPr lang="en-GB" dirty="0"/>
              </a:p>
            </p:txBody>
          </p:sp>
          <p:sp>
            <p:nvSpPr>
              <p:cNvPr id="1497" name="Freihandform: Form 1496">
                <a:extLst>
                  <a:ext uri="{FF2B5EF4-FFF2-40B4-BE49-F238E27FC236}">
                    <a16:creationId xmlns:a16="http://schemas.microsoft.com/office/drawing/2014/main" id="{D20D402D-4573-4A77-9D94-EB4D5693C8D8}"/>
                  </a:ext>
                </a:extLst>
              </p:cNvPr>
              <p:cNvSpPr/>
              <p:nvPr/>
            </p:nvSpPr>
            <p:spPr>
              <a:xfrm>
                <a:off x="885277" y="1686595"/>
                <a:ext cx="385809" cy="259425"/>
              </a:xfrm>
              <a:custGeom>
                <a:avLst/>
                <a:gdLst>
                  <a:gd name="connsiteX0" fmla="*/ 345892 w 385809"/>
                  <a:gd name="connsiteY0" fmla="*/ 259425 h 259425"/>
                  <a:gd name="connsiteX1" fmla="*/ 246111 w 385809"/>
                  <a:gd name="connsiteY1" fmla="*/ 259425 h 259425"/>
                  <a:gd name="connsiteX2" fmla="*/ 239454 w 385809"/>
                  <a:gd name="connsiteY2" fmla="*/ 252768 h 259425"/>
                  <a:gd name="connsiteX3" fmla="*/ 246111 w 385809"/>
                  <a:gd name="connsiteY3" fmla="*/ 246111 h 259425"/>
                  <a:gd name="connsiteX4" fmla="*/ 345892 w 385809"/>
                  <a:gd name="connsiteY4" fmla="*/ 246111 h 259425"/>
                  <a:gd name="connsiteX5" fmla="*/ 372495 w 385809"/>
                  <a:gd name="connsiteY5" fmla="*/ 219508 h 259425"/>
                  <a:gd name="connsiteX6" fmla="*/ 372495 w 385809"/>
                  <a:gd name="connsiteY6" fmla="*/ 39918 h 259425"/>
                  <a:gd name="connsiteX7" fmla="*/ 345892 w 385809"/>
                  <a:gd name="connsiteY7" fmla="*/ 13314 h 259425"/>
                  <a:gd name="connsiteX8" fmla="*/ 39918 w 385809"/>
                  <a:gd name="connsiteY8" fmla="*/ 13314 h 259425"/>
                  <a:gd name="connsiteX9" fmla="*/ 13314 w 385809"/>
                  <a:gd name="connsiteY9" fmla="*/ 39918 h 259425"/>
                  <a:gd name="connsiteX10" fmla="*/ 13314 w 385809"/>
                  <a:gd name="connsiteY10" fmla="*/ 219508 h 259425"/>
                  <a:gd name="connsiteX11" fmla="*/ 39918 w 385809"/>
                  <a:gd name="connsiteY11" fmla="*/ 246111 h 259425"/>
                  <a:gd name="connsiteX12" fmla="*/ 46575 w 385809"/>
                  <a:gd name="connsiteY12" fmla="*/ 252768 h 259425"/>
                  <a:gd name="connsiteX13" fmla="*/ 39918 w 385809"/>
                  <a:gd name="connsiteY13" fmla="*/ 259425 h 259425"/>
                  <a:gd name="connsiteX14" fmla="*/ 0 w 385809"/>
                  <a:gd name="connsiteY14" fmla="*/ 219508 h 259425"/>
                  <a:gd name="connsiteX15" fmla="*/ 0 w 385809"/>
                  <a:gd name="connsiteY15" fmla="*/ 39918 h 259425"/>
                  <a:gd name="connsiteX16" fmla="*/ 39918 w 385809"/>
                  <a:gd name="connsiteY16" fmla="*/ 0 h 259425"/>
                  <a:gd name="connsiteX17" fmla="*/ 345892 w 385809"/>
                  <a:gd name="connsiteY17" fmla="*/ 0 h 259425"/>
                  <a:gd name="connsiteX18" fmla="*/ 385809 w 385809"/>
                  <a:gd name="connsiteY18" fmla="*/ 39918 h 259425"/>
                  <a:gd name="connsiteX19" fmla="*/ 385809 w 385809"/>
                  <a:gd name="connsiteY19" fmla="*/ 219508 h 259425"/>
                  <a:gd name="connsiteX20" fmla="*/ 345892 w 385809"/>
                  <a:gd name="connsiteY20" fmla="*/ 259425 h 259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5809" h="259425">
                    <a:moveTo>
                      <a:pt x="345892" y="259425"/>
                    </a:moveTo>
                    <a:lnTo>
                      <a:pt x="246111" y="259425"/>
                    </a:lnTo>
                    <a:cubicBezTo>
                      <a:pt x="242447" y="259425"/>
                      <a:pt x="239454" y="256458"/>
                      <a:pt x="239454" y="252768"/>
                    </a:cubicBezTo>
                    <a:cubicBezTo>
                      <a:pt x="239454" y="249078"/>
                      <a:pt x="242421" y="246111"/>
                      <a:pt x="246111" y="246111"/>
                    </a:cubicBezTo>
                    <a:lnTo>
                      <a:pt x="345892" y="246111"/>
                    </a:lnTo>
                    <a:cubicBezTo>
                      <a:pt x="360574" y="246111"/>
                      <a:pt x="372495" y="234164"/>
                      <a:pt x="372495" y="219508"/>
                    </a:cubicBezTo>
                    <a:lnTo>
                      <a:pt x="372495" y="39918"/>
                    </a:lnTo>
                    <a:cubicBezTo>
                      <a:pt x="372495" y="25236"/>
                      <a:pt x="360548" y="13314"/>
                      <a:pt x="345892" y="13314"/>
                    </a:cubicBezTo>
                    <a:lnTo>
                      <a:pt x="39918" y="13314"/>
                    </a:lnTo>
                    <a:cubicBezTo>
                      <a:pt x="25236" y="13314"/>
                      <a:pt x="13314" y="25261"/>
                      <a:pt x="13314" y="39918"/>
                    </a:cubicBezTo>
                    <a:lnTo>
                      <a:pt x="13314" y="219508"/>
                    </a:lnTo>
                    <a:cubicBezTo>
                      <a:pt x="13314" y="234190"/>
                      <a:pt x="25261" y="246111"/>
                      <a:pt x="39918" y="246111"/>
                    </a:cubicBezTo>
                    <a:cubicBezTo>
                      <a:pt x="43582" y="246111"/>
                      <a:pt x="46575" y="249078"/>
                      <a:pt x="46575" y="252768"/>
                    </a:cubicBezTo>
                    <a:cubicBezTo>
                      <a:pt x="46575" y="256458"/>
                      <a:pt x="43607" y="259425"/>
                      <a:pt x="39918" y="259425"/>
                    </a:cubicBezTo>
                    <a:cubicBezTo>
                      <a:pt x="17907" y="259425"/>
                      <a:pt x="0" y="241518"/>
                      <a:pt x="0" y="219508"/>
                    </a:cubicBezTo>
                    <a:lnTo>
                      <a:pt x="0" y="39918"/>
                    </a:lnTo>
                    <a:cubicBezTo>
                      <a:pt x="0" y="17907"/>
                      <a:pt x="17907" y="0"/>
                      <a:pt x="39918" y="0"/>
                    </a:cubicBezTo>
                    <a:lnTo>
                      <a:pt x="345892" y="0"/>
                    </a:lnTo>
                    <a:cubicBezTo>
                      <a:pt x="367902" y="0"/>
                      <a:pt x="385809" y="17907"/>
                      <a:pt x="385809" y="39918"/>
                    </a:cubicBezTo>
                    <a:lnTo>
                      <a:pt x="385809" y="219508"/>
                    </a:lnTo>
                    <a:cubicBezTo>
                      <a:pt x="385783" y="241518"/>
                      <a:pt x="367902" y="259425"/>
                      <a:pt x="345892" y="259425"/>
                    </a:cubicBezTo>
                    <a:close/>
                  </a:path>
                </a:pathLst>
              </a:custGeom>
              <a:grpFill/>
              <a:ln w="2573" cap="flat">
                <a:noFill/>
                <a:prstDash val="solid"/>
                <a:miter/>
              </a:ln>
            </p:spPr>
            <p:txBody>
              <a:bodyPr rtlCol="0" anchor="ctr"/>
              <a:lstStyle/>
              <a:p>
                <a:endParaRPr lang="en-GB" dirty="0"/>
              </a:p>
            </p:txBody>
          </p:sp>
          <p:sp>
            <p:nvSpPr>
              <p:cNvPr id="1498" name="Freihandform: Form 1497">
                <a:extLst>
                  <a:ext uri="{FF2B5EF4-FFF2-40B4-BE49-F238E27FC236}">
                    <a16:creationId xmlns:a16="http://schemas.microsoft.com/office/drawing/2014/main" id="{08AA0B04-A653-4573-A137-BE656388E849}"/>
                  </a:ext>
                </a:extLst>
              </p:cNvPr>
              <p:cNvSpPr/>
              <p:nvPr/>
            </p:nvSpPr>
            <p:spPr>
              <a:xfrm>
                <a:off x="1284375" y="1719855"/>
                <a:ext cx="46574" cy="192904"/>
              </a:xfrm>
              <a:custGeom>
                <a:avLst/>
                <a:gdLst>
                  <a:gd name="connsiteX0" fmla="*/ 6657 w 46574"/>
                  <a:gd name="connsiteY0" fmla="*/ 192905 h 192904"/>
                  <a:gd name="connsiteX1" fmla="*/ 0 w 46574"/>
                  <a:gd name="connsiteY1" fmla="*/ 186247 h 192904"/>
                  <a:gd name="connsiteX2" fmla="*/ 6657 w 46574"/>
                  <a:gd name="connsiteY2" fmla="*/ 179590 h 192904"/>
                  <a:gd name="connsiteX3" fmla="*/ 33260 w 46574"/>
                  <a:gd name="connsiteY3" fmla="*/ 152987 h 192904"/>
                  <a:gd name="connsiteX4" fmla="*/ 33260 w 46574"/>
                  <a:gd name="connsiteY4" fmla="*/ 39918 h 192904"/>
                  <a:gd name="connsiteX5" fmla="*/ 6657 w 46574"/>
                  <a:gd name="connsiteY5" fmla="*/ 13314 h 192904"/>
                  <a:gd name="connsiteX6" fmla="*/ 0 w 46574"/>
                  <a:gd name="connsiteY6" fmla="*/ 6657 h 192904"/>
                  <a:gd name="connsiteX7" fmla="*/ 6657 w 46574"/>
                  <a:gd name="connsiteY7" fmla="*/ 0 h 192904"/>
                  <a:gd name="connsiteX8" fmla="*/ 46575 w 46574"/>
                  <a:gd name="connsiteY8" fmla="*/ 39918 h 192904"/>
                  <a:gd name="connsiteX9" fmla="*/ 46575 w 46574"/>
                  <a:gd name="connsiteY9" fmla="*/ 152987 h 192904"/>
                  <a:gd name="connsiteX10" fmla="*/ 6657 w 46574"/>
                  <a:gd name="connsiteY10" fmla="*/ 192905 h 19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74" h="192904">
                    <a:moveTo>
                      <a:pt x="6657" y="192905"/>
                    </a:moveTo>
                    <a:cubicBezTo>
                      <a:pt x="2993" y="192905"/>
                      <a:pt x="0" y="189937"/>
                      <a:pt x="0" y="186247"/>
                    </a:cubicBezTo>
                    <a:cubicBezTo>
                      <a:pt x="0" y="182558"/>
                      <a:pt x="2967" y="179590"/>
                      <a:pt x="6657" y="179590"/>
                    </a:cubicBezTo>
                    <a:cubicBezTo>
                      <a:pt x="21339" y="179590"/>
                      <a:pt x="33260" y="167643"/>
                      <a:pt x="33260" y="152987"/>
                    </a:cubicBezTo>
                    <a:lnTo>
                      <a:pt x="33260" y="39918"/>
                    </a:lnTo>
                    <a:cubicBezTo>
                      <a:pt x="33260" y="25236"/>
                      <a:pt x="21313" y="13314"/>
                      <a:pt x="6657" y="13314"/>
                    </a:cubicBezTo>
                    <a:cubicBezTo>
                      <a:pt x="2993" y="13314"/>
                      <a:pt x="0" y="10347"/>
                      <a:pt x="0" y="6657"/>
                    </a:cubicBezTo>
                    <a:cubicBezTo>
                      <a:pt x="0" y="2967"/>
                      <a:pt x="2967" y="0"/>
                      <a:pt x="6657" y="0"/>
                    </a:cubicBezTo>
                    <a:cubicBezTo>
                      <a:pt x="28667" y="0"/>
                      <a:pt x="46575" y="17907"/>
                      <a:pt x="46575" y="39918"/>
                    </a:cubicBezTo>
                    <a:lnTo>
                      <a:pt x="46575" y="152987"/>
                    </a:lnTo>
                    <a:cubicBezTo>
                      <a:pt x="46549" y="174997"/>
                      <a:pt x="28667" y="192905"/>
                      <a:pt x="6657" y="192905"/>
                    </a:cubicBezTo>
                    <a:close/>
                  </a:path>
                </a:pathLst>
              </a:custGeom>
              <a:grpFill/>
              <a:ln w="2573" cap="flat">
                <a:noFill/>
                <a:prstDash val="solid"/>
                <a:miter/>
              </a:ln>
            </p:spPr>
            <p:txBody>
              <a:bodyPr rtlCol="0" anchor="ctr"/>
              <a:lstStyle/>
              <a:p>
                <a:endParaRPr lang="en-GB" dirty="0"/>
              </a:p>
            </p:txBody>
          </p:sp>
          <p:sp>
            <p:nvSpPr>
              <p:cNvPr id="1499" name="Freihandform: Form 1498">
                <a:extLst>
                  <a:ext uri="{FF2B5EF4-FFF2-40B4-BE49-F238E27FC236}">
                    <a16:creationId xmlns:a16="http://schemas.microsoft.com/office/drawing/2014/main" id="{11BB030D-E929-4DCB-B532-A208F47E164B}"/>
                  </a:ext>
                </a:extLst>
              </p:cNvPr>
              <p:cNvSpPr/>
              <p:nvPr/>
            </p:nvSpPr>
            <p:spPr>
              <a:xfrm>
                <a:off x="825413" y="1719855"/>
                <a:ext cx="46574" cy="192904"/>
              </a:xfrm>
              <a:custGeom>
                <a:avLst/>
                <a:gdLst>
                  <a:gd name="connsiteX0" fmla="*/ 39918 w 46574"/>
                  <a:gd name="connsiteY0" fmla="*/ 192905 h 192904"/>
                  <a:gd name="connsiteX1" fmla="*/ 0 w 46574"/>
                  <a:gd name="connsiteY1" fmla="*/ 152987 h 192904"/>
                  <a:gd name="connsiteX2" fmla="*/ 0 w 46574"/>
                  <a:gd name="connsiteY2" fmla="*/ 39918 h 192904"/>
                  <a:gd name="connsiteX3" fmla="*/ 39918 w 46574"/>
                  <a:gd name="connsiteY3" fmla="*/ 0 h 192904"/>
                  <a:gd name="connsiteX4" fmla="*/ 46575 w 46574"/>
                  <a:gd name="connsiteY4" fmla="*/ 6657 h 192904"/>
                  <a:gd name="connsiteX5" fmla="*/ 39918 w 46574"/>
                  <a:gd name="connsiteY5" fmla="*/ 13314 h 192904"/>
                  <a:gd name="connsiteX6" fmla="*/ 13314 w 46574"/>
                  <a:gd name="connsiteY6" fmla="*/ 39918 h 192904"/>
                  <a:gd name="connsiteX7" fmla="*/ 13314 w 46574"/>
                  <a:gd name="connsiteY7" fmla="*/ 152987 h 192904"/>
                  <a:gd name="connsiteX8" fmla="*/ 39918 w 46574"/>
                  <a:gd name="connsiteY8" fmla="*/ 179590 h 192904"/>
                  <a:gd name="connsiteX9" fmla="*/ 46575 w 46574"/>
                  <a:gd name="connsiteY9" fmla="*/ 186247 h 192904"/>
                  <a:gd name="connsiteX10" fmla="*/ 39918 w 46574"/>
                  <a:gd name="connsiteY10" fmla="*/ 192905 h 19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574" h="192904">
                    <a:moveTo>
                      <a:pt x="39918" y="192905"/>
                    </a:moveTo>
                    <a:cubicBezTo>
                      <a:pt x="17907" y="192905"/>
                      <a:pt x="0" y="174997"/>
                      <a:pt x="0" y="152987"/>
                    </a:cubicBezTo>
                    <a:lnTo>
                      <a:pt x="0" y="39918"/>
                    </a:lnTo>
                    <a:cubicBezTo>
                      <a:pt x="0" y="17907"/>
                      <a:pt x="17907" y="0"/>
                      <a:pt x="39918" y="0"/>
                    </a:cubicBezTo>
                    <a:cubicBezTo>
                      <a:pt x="43582" y="0"/>
                      <a:pt x="46575" y="2967"/>
                      <a:pt x="46575" y="6657"/>
                    </a:cubicBezTo>
                    <a:cubicBezTo>
                      <a:pt x="46575" y="10347"/>
                      <a:pt x="43607" y="13314"/>
                      <a:pt x="39918" y="13314"/>
                    </a:cubicBezTo>
                    <a:cubicBezTo>
                      <a:pt x="25236" y="13314"/>
                      <a:pt x="13314" y="25261"/>
                      <a:pt x="13314" y="39918"/>
                    </a:cubicBezTo>
                    <a:lnTo>
                      <a:pt x="13314" y="152987"/>
                    </a:lnTo>
                    <a:cubicBezTo>
                      <a:pt x="13314" y="167669"/>
                      <a:pt x="25261" y="179590"/>
                      <a:pt x="39918" y="179590"/>
                    </a:cubicBezTo>
                    <a:cubicBezTo>
                      <a:pt x="43582" y="179590"/>
                      <a:pt x="46575" y="182558"/>
                      <a:pt x="46575" y="186247"/>
                    </a:cubicBezTo>
                    <a:cubicBezTo>
                      <a:pt x="46575" y="189937"/>
                      <a:pt x="43607" y="192905"/>
                      <a:pt x="39918" y="192905"/>
                    </a:cubicBezTo>
                    <a:close/>
                  </a:path>
                </a:pathLst>
              </a:custGeom>
              <a:grpFill/>
              <a:ln w="2573" cap="flat">
                <a:noFill/>
                <a:prstDash val="solid"/>
                <a:miter/>
              </a:ln>
            </p:spPr>
            <p:txBody>
              <a:bodyPr rtlCol="0" anchor="ctr"/>
              <a:lstStyle/>
              <a:p>
                <a:endParaRPr lang="en-GB" dirty="0"/>
              </a:p>
            </p:txBody>
          </p:sp>
          <p:sp>
            <p:nvSpPr>
              <p:cNvPr id="1500" name="Freihandform: Form 1499">
                <a:extLst>
                  <a:ext uri="{FF2B5EF4-FFF2-40B4-BE49-F238E27FC236}">
                    <a16:creationId xmlns:a16="http://schemas.microsoft.com/office/drawing/2014/main" id="{CBBD90D9-3C19-483E-81DA-13DCD326B906}"/>
                  </a:ext>
                </a:extLst>
              </p:cNvPr>
              <p:cNvSpPr/>
              <p:nvPr/>
            </p:nvSpPr>
            <p:spPr>
              <a:xfrm>
                <a:off x="985058" y="1952652"/>
                <a:ext cx="79835" cy="13314"/>
              </a:xfrm>
              <a:custGeom>
                <a:avLst/>
                <a:gdLst>
                  <a:gd name="connsiteX0" fmla="*/ 73178 w 79835"/>
                  <a:gd name="connsiteY0" fmla="*/ 13314 h 13314"/>
                  <a:gd name="connsiteX1" fmla="*/ 6657 w 79835"/>
                  <a:gd name="connsiteY1" fmla="*/ 13314 h 13314"/>
                  <a:gd name="connsiteX2" fmla="*/ 0 w 79835"/>
                  <a:gd name="connsiteY2" fmla="*/ 6657 h 13314"/>
                  <a:gd name="connsiteX3" fmla="*/ 6657 w 79835"/>
                  <a:gd name="connsiteY3" fmla="*/ 0 h 13314"/>
                  <a:gd name="connsiteX4" fmla="*/ 73178 w 79835"/>
                  <a:gd name="connsiteY4" fmla="*/ 0 h 13314"/>
                  <a:gd name="connsiteX5" fmla="*/ 79835 w 79835"/>
                  <a:gd name="connsiteY5" fmla="*/ 6657 h 13314"/>
                  <a:gd name="connsiteX6" fmla="*/ 73178 w 79835"/>
                  <a:gd name="connsiteY6" fmla="*/ 13314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835" h="13314">
                    <a:moveTo>
                      <a:pt x="73178" y="13314"/>
                    </a:moveTo>
                    <a:lnTo>
                      <a:pt x="6657" y="13314"/>
                    </a:lnTo>
                    <a:cubicBezTo>
                      <a:pt x="2993" y="13314"/>
                      <a:pt x="0" y="10347"/>
                      <a:pt x="0" y="6657"/>
                    </a:cubicBezTo>
                    <a:cubicBezTo>
                      <a:pt x="0" y="2967"/>
                      <a:pt x="2967" y="0"/>
                      <a:pt x="6657" y="0"/>
                    </a:cubicBezTo>
                    <a:lnTo>
                      <a:pt x="73178" y="0"/>
                    </a:lnTo>
                    <a:cubicBezTo>
                      <a:pt x="76842" y="0"/>
                      <a:pt x="79835" y="2967"/>
                      <a:pt x="79835" y="6657"/>
                    </a:cubicBezTo>
                    <a:cubicBezTo>
                      <a:pt x="79835" y="10347"/>
                      <a:pt x="76842" y="13314"/>
                      <a:pt x="73178" y="13314"/>
                    </a:cubicBezTo>
                    <a:close/>
                  </a:path>
                </a:pathLst>
              </a:custGeom>
              <a:grpFill/>
              <a:ln w="2573" cap="flat">
                <a:noFill/>
                <a:prstDash val="solid"/>
                <a:miter/>
              </a:ln>
            </p:spPr>
            <p:txBody>
              <a:bodyPr rtlCol="0" anchor="ctr"/>
              <a:lstStyle/>
              <a:p>
                <a:endParaRPr lang="en-GB" dirty="0"/>
              </a:p>
            </p:txBody>
          </p:sp>
        </p:grpSp>
      </p:grpSp>
      <p:sp>
        <p:nvSpPr>
          <p:cNvPr id="1504" name="TextBox 1413">
            <a:extLst>
              <a:ext uri="{FF2B5EF4-FFF2-40B4-BE49-F238E27FC236}">
                <a16:creationId xmlns:a16="http://schemas.microsoft.com/office/drawing/2014/main" id="{40D2420E-72D5-4C9E-8B26-927314F35E69}"/>
              </a:ext>
            </a:extLst>
          </p:cNvPr>
          <p:cNvSpPr txBox="1"/>
          <p:nvPr/>
        </p:nvSpPr>
        <p:spPr>
          <a:xfrm>
            <a:off x="596881" y="2077494"/>
            <a:ext cx="394339" cy="215444"/>
          </a:xfrm>
          <a:prstGeom prst="rect">
            <a:avLst/>
          </a:prstGeom>
          <a:noFill/>
          <a:effectLst/>
        </p:spPr>
        <p:txBody>
          <a:bodyPr wrap="none" lIns="0" tIns="0" rIns="0" bIns="0" rtlCol="0" anchor="t" anchorCtr="0">
            <a:spAutoFit/>
          </a:bodyPr>
          <a:lstStyle/>
          <a:p>
            <a:pPr algn="ctr"/>
            <a:r>
              <a:rPr lang="en-GB" sz="700" dirty="0">
                <a:solidFill>
                  <a:schemeClr val="tx2"/>
                </a:solidFill>
              </a:rPr>
              <a:t>Influencer</a:t>
            </a:r>
            <a:br>
              <a:rPr lang="en-GB" sz="700" dirty="0">
                <a:solidFill>
                  <a:schemeClr val="tx2"/>
                </a:solidFill>
              </a:rPr>
            </a:br>
            <a:r>
              <a:rPr lang="en-GB" sz="700" dirty="0">
                <a:solidFill>
                  <a:schemeClr val="tx2"/>
                </a:solidFill>
              </a:rPr>
              <a:t>discovery</a:t>
            </a:r>
          </a:p>
        </p:txBody>
      </p:sp>
      <p:grpSp>
        <p:nvGrpSpPr>
          <p:cNvPr id="40" name="Group 39">
            <a:extLst>
              <a:ext uri="{FF2B5EF4-FFF2-40B4-BE49-F238E27FC236}">
                <a16:creationId xmlns:a16="http://schemas.microsoft.com/office/drawing/2014/main" id="{D15DD40C-FBEF-A850-3FD6-F82A6C052F4A}"/>
              </a:ext>
            </a:extLst>
          </p:cNvPr>
          <p:cNvGrpSpPr/>
          <p:nvPr/>
        </p:nvGrpSpPr>
        <p:grpSpPr>
          <a:xfrm>
            <a:off x="3683743" y="1626716"/>
            <a:ext cx="493216" cy="432000"/>
            <a:chOff x="3683743" y="1626716"/>
            <a:chExt cx="493216" cy="432000"/>
          </a:xfrm>
        </p:grpSpPr>
        <p:grpSp>
          <p:nvGrpSpPr>
            <p:cNvPr id="1506" name="Grafik 312">
              <a:extLst>
                <a:ext uri="{FF2B5EF4-FFF2-40B4-BE49-F238E27FC236}">
                  <a16:creationId xmlns:a16="http://schemas.microsoft.com/office/drawing/2014/main" id="{D8E868F0-123A-4054-8080-9C78BB4B9E04}"/>
                </a:ext>
              </a:extLst>
            </p:cNvPr>
            <p:cNvGrpSpPr/>
            <p:nvPr/>
          </p:nvGrpSpPr>
          <p:grpSpPr>
            <a:xfrm>
              <a:off x="3818627" y="1744556"/>
              <a:ext cx="358332" cy="314160"/>
              <a:chOff x="3493921" y="1744132"/>
              <a:chExt cx="356916" cy="312919"/>
            </a:xfrm>
            <a:solidFill>
              <a:schemeClr val="accent1"/>
            </a:solidFill>
          </p:grpSpPr>
          <p:grpSp>
            <p:nvGrpSpPr>
              <p:cNvPr id="1515" name="Grafik 312">
                <a:extLst>
                  <a:ext uri="{FF2B5EF4-FFF2-40B4-BE49-F238E27FC236}">
                    <a16:creationId xmlns:a16="http://schemas.microsoft.com/office/drawing/2014/main" id="{6B4BE2C5-F071-46F5-A5A8-B7BBBE2131B7}"/>
                  </a:ext>
                </a:extLst>
              </p:cNvPr>
              <p:cNvGrpSpPr/>
              <p:nvPr/>
            </p:nvGrpSpPr>
            <p:grpSpPr>
              <a:xfrm>
                <a:off x="3493921" y="1744132"/>
                <a:ext cx="304231" cy="312919"/>
                <a:chOff x="3493921" y="1744132"/>
                <a:chExt cx="304231" cy="312919"/>
              </a:xfrm>
              <a:solidFill>
                <a:schemeClr val="accent1"/>
              </a:solidFill>
            </p:grpSpPr>
            <p:sp>
              <p:nvSpPr>
                <p:cNvPr id="1520" name="Freihandform: Form 1519">
                  <a:extLst>
                    <a:ext uri="{FF2B5EF4-FFF2-40B4-BE49-F238E27FC236}">
                      <a16:creationId xmlns:a16="http://schemas.microsoft.com/office/drawing/2014/main" id="{05D0A693-1C2E-4507-A321-CC15BFE06FDE}"/>
                    </a:ext>
                  </a:extLst>
                </p:cNvPr>
                <p:cNvSpPr/>
                <p:nvPr/>
              </p:nvSpPr>
              <p:spPr>
                <a:xfrm>
                  <a:off x="3493921" y="1904987"/>
                  <a:ext cx="37763" cy="80822"/>
                </a:xfrm>
                <a:custGeom>
                  <a:avLst/>
                  <a:gdLst>
                    <a:gd name="connsiteX0" fmla="*/ 31099 w 37763"/>
                    <a:gd name="connsiteY0" fmla="*/ 80822 h 80822"/>
                    <a:gd name="connsiteX1" fmla="*/ 24855 w 37763"/>
                    <a:gd name="connsiteY1" fmla="*/ 76436 h 80822"/>
                    <a:gd name="connsiteX2" fmla="*/ 394 w 37763"/>
                    <a:gd name="connsiteY2" fmla="*/ 8909 h 80822"/>
                    <a:gd name="connsiteX3" fmla="*/ 4393 w 37763"/>
                    <a:gd name="connsiteY3" fmla="*/ 394 h 80822"/>
                    <a:gd name="connsiteX4" fmla="*/ 12908 w 37763"/>
                    <a:gd name="connsiteY4" fmla="*/ 4393 h 80822"/>
                    <a:gd name="connsiteX5" fmla="*/ 37369 w 37763"/>
                    <a:gd name="connsiteY5" fmla="*/ 71920 h 80822"/>
                    <a:gd name="connsiteX6" fmla="*/ 33370 w 37763"/>
                    <a:gd name="connsiteY6" fmla="*/ 80435 h 80822"/>
                    <a:gd name="connsiteX7" fmla="*/ 31099 w 37763"/>
                    <a:gd name="connsiteY7" fmla="*/ 80822 h 80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63" h="80822">
                      <a:moveTo>
                        <a:pt x="31099" y="80822"/>
                      </a:moveTo>
                      <a:cubicBezTo>
                        <a:pt x="28390" y="80822"/>
                        <a:pt x="25835" y="79145"/>
                        <a:pt x="24855" y="76436"/>
                      </a:cubicBezTo>
                      <a:lnTo>
                        <a:pt x="394" y="8909"/>
                      </a:lnTo>
                      <a:cubicBezTo>
                        <a:pt x="-845" y="5451"/>
                        <a:pt x="935" y="1632"/>
                        <a:pt x="4393" y="394"/>
                      </a:cubicBezTo>
                      <a:cubicBezTo>
                        <a:pt x="7851" y="-845"/>
                        <a:pt x="11670" y="935"/>
                        <a:pt x="12908" y="4393"/>
                      </a:cubicBezTo>
                      <a:lnTo>
                        <a:pt x="37369" y="71920"/>
                      </a:lnTo>
                      <a:cubicBezTo>
                        <a:pt x="38608" y="75378"/>
                        <a:pt x="36828" y="79196"/>
                        <a:pt x="33370" y="80435"/>
                      </a:cubicBezTo>
                      <a:cubicBezTo>
                        <a:pt x="32622" y="80693"/>
                        <a:pt x="31847" y="80822"/>
                        <a:pt x="31099" y="80822"/>
                      </a:cubicBezTo>
                      <a:close/>
                    </a:path>
                  </a:pathLst>
                </a:custGeom>
                <a:solidFill>
                  <a:schemeClr val="accent1"/>
                </a:solidFill>
                <a:ln w="2573" cap="flat">
                  <a:noFill/>
                  <a:prstDash val="solid"/>
                  <a:miter/>
                </a:ln>
              </p:spPr>
              <p:txBody>
                <a:bodyPr rtlCol="0" anchor="ctr"/>
                <a:lstStyle/>
                <a:p>
                  <a:endParaRPr lang="en-GB" dirty="0"/>
                </a:p>
              </p:txBody>
            </p:sp>
            <p:sp>
              <p:nvSpPr>
                <p:cNvPr id="1521" name="Freihandform: Form 1520">
                  <a:extLst>
                    <a:ext uri="{FF2B5EF4-FFF2-40B4-BE49-F238E27FC236}">
                      <a16:creationId xmlns:a16="http://schemas.microsoft.com/office/drawing/2014/main" id="{6CE41ABD-F308-46CE-B8CC-E4B0F38A49F0}"/>
                    </a:ext>
                  </a:extLst>
                </p:cNvPr>
                <p:cNvSpPr/>
                <p:nvPr/>
              </p:nvSpPr>
              <p:spPr>
                <a:xfrm>
                  <a:off x="3510331" y="1853432"/>
                  <a:ext cx="123120" cy="141124"/>
                </a:xfrm>
                <a:custGeom>
                  <a:avLst/>
                  <a:gdLst>
                    <a:gd name="connsiteX0" fmla="*/ 43330 w 123120"/>
                    <a:gd name="connsiteY0" fmla="*/ 141124 h 141124"/>
                    <a:gd name="connsiteX1" fmla="*/ 37086 w 123120"/>
                    <a:gd name="connsiteY1" fmla="*/ 136738 h 141124"/>
                    <a:gd name="connsiteX2" fmla="*/ 394 w 123120"/>
                    <a:gd name="connsiteY2" fmla="*/ 35434 h 141124"/>
                    <a:gd name="connsiteX3" fmla="*/ 626 w 123120"/>
                    <a:gd name="connsiteY3" fmla="*/ 30351 h 141124"/>
                    <a:gd name="connsiteX4" fmla="*/ 4393 w 123120"/>
                    <a:gd name="connsiteY4" fmla="*/ 26919 h 141124"/>
                    <a:gd name="connsiteX5" fmla="*/ 77519 w 123120"/>
                    <a:gd name="connsiteY5" fmla="*/ 394 h 141124"/>
                    <a:gd name="connsiteX6" fmla="*/ 86035 w 123120"/>
                    <a:gd name="connsiteY6" fmla="*/ 4393 h 141124"/>
                    <a:gd name="connsiteX7" fmla="*/ 122727 w 123120"/>
                    <a:gd name="connsiteY7" fmla="*/ 105696 h 141124"/>
                    <a:gd name="connsiteX8" fmla="*/ 122495 w 123120"/>
                    <a:gd name="connsiteY8" fmla="*/ 110780 h 141124"/>
                    <a:gd name="connsiteX9" fmla="*/ 118727 w 123120"/>
                    <a:gd name="connsiteY9" fmla="*/ 114211 h 141124"/>
                    <a:gd name="connsiteX10" fmla="*/ 45575 w 123120"/>
                    <a:gd name="connsiteY10" fmla="*/ 140711 h 141124"/>
                    <a:gd name="connsiteX11" fmla="*/ 43330 w 123120"/>
                    <a:gd name="connsiteY11" fmla="*/ 141124 h 141124"/>
                    <a:gd name="connsiteX12" fmla="*/ 15153 w 123120"/>
                    <a:gd name="connsiteY12" fmla="*/ 37163 h 141124"/>
                    <a:gd name="connsiteX13" fmla="*/ 47330 w 123120"/>
                    <a:gd name="connsiteY13" fmla="*/ 125952 h 141124"/>
                    <a:gd name="connsiteX14" fmla="*/ 107967 w 123120"/>
                    <a:gd name="connsiteY14" fmla="*/ 103968 h 141124"/>
                    <a:gd name="connsiteX15" fmla="*/ 75791 w 123120"/>
                    <a:gd name="connsiteY15" fmla="*/ 15179 h 141124"/>
                    <a:gd name="connsiteX16" fmla="*/ 15153 w 123120"/>
                    <a:gd name="connsiteY16" fmla="*/ 37163 h 141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120" h="141124">
                      <a:moveTo>
                        <a:pt x="43330" y="141124"/>
                      </a:moveTo>
                      <a:cubicBezTo>
                        <a:pt x="40621" y="141124"/>
                        <a:pt x="38066" y="139447"/>
                        <a:pt x="37086" y="136738"/>
                      </a:cubicBezTo>
                      <a:lnTo>
                        <a:pt x="394" y="35434"/>
                      </a:lnTo>
                      <a:cubicBezTo>
                        <a:pt x="-200" y="33783"/>
                        <a:pt x="-122" y="31951"/>
                        <a:pt x="626" y="30351"/>
                      </a:cubicBezTo>
                      <a:cubicBezTo>
                        <a:pt x="1374" y="28751"/>
                        <a:pt x="2716" y="27513"/>
                        <a:pt x="4393" y="26919"/>
                      </a:cubicBezTo>
                      <a:lnTo>
                        <a:pt x="77519" y="394"/>
                      </a:lnTo>
                      <a:cubicBezTo>
                        <a:pt x="80951" y="-845"/>
                        <a:pt x="84796" y="935"/>
                        <a:pt x="86035" y="4393"/>
                      </a:cubicBezTo>
                      <a:lnTo>
                        <a:pt x="122727" y="105696"/>
                      </a:lnTo>
                      <a:cubicBezTo>
                        <a:pt x="123320" y="107348"/>
                        <a:pt x="123243" y="109180"/>
                        <a:pt x="122495" y="110780"/>
                      </a:cubicBezTo>
                      <a:cubicBezTo>
                        <a:pt x="121746" y="112379"/>
                        <a:pt x="120404" y="113618"/>
                        <a:pt x="118727" y="114211"/>
                      </a:cubicBezTo>
                      <a:lnTo>
                        <a:pt x="45575" y="140711"/>
                      </a:lnTo>
                      <a:cubicBezTo>
                        <a:pt x="44827" y="140995"/>
                        <a:pt x="44079" y="141124"/>
                        <a:pt x="43330" y="141124"/>
                      </a:cubicBezTo>
                      <a:close/>
                      <a:moveTo>
                        <a:pt x="15153" y="37163"/>
                      </a:moveTo>
                      <a:lnTo>
                        <a:pt x="47330" y="125952"/>
                      </a:lnTo>
                      <a:lnTo>
                        <a:pt x="107967" y="103968"/>
                      </a:lnTo>
                      <a:lnTo>
                        <a:pt x="75791" y="15179"/>
                      </a:lnTo>
                      <a:lnTo>
                        <a:pt x="15153" y="37163"/>
                      </a:lnTo>
                      <a:close/>
                    </a:path>
                  </a:pathLst>
                </a:custGeom>
                <a:solidFill>
                  <a:schemeClr val="accent1"/>
                </a:solidFill>
                <a:ln w="2573" cap="flat">
                  <a:noFill/>
                  <a:prstDash val="solid"/>
                  <a:miter/>
                </a:ln>
              </p:spPr>
              <p:txBody>
                <a:bodyPr rtlCol="0" anchor="ctr"/>
                <a:lstStyle/>
                <a:p>
                  <a:endParaRPr lang="en-GB" dirty="0"/>
                </a:p>
              </p:txBody>
            </p:sp>
            <p:sp>
              <p:nvSpPr>
                <p:cNvPr id="1522" name="Freihandform: Form 1521">
                  <a:extLst>
                    <a:ext uri="{FF2B5EF4-FFF2-40B4-BE49-F238E27FC236}">
                      <a16:creationId xmlns:a16="http://schemas.microsoft.com/office/drawing/2014/main" id="{076D0909-C408-4BB5-BCC5-21BC02B09447}"/>
                    </a:ext>
                  </a:extLst>
                </p:cNvPr>
                <p:cNvSpPr/>
                <p:nvPr/>
              </p:nvSpPr>
              <p:spPr>
                <a:xfrm>
                  <a:off x="3583484" y="1744132"/>
                  <a:ext cx="214668" cy="223898"/>
                </a:xfrm>
                <a:custGeom>
                  <a:avLst/>
                  <a:gdLst>
                    <a:gd name="connsiteX0" fmla="*/ 43330 w 214668"/>
                    <a:gd name="connsiteY0" fmla="*/ 223898 h 223898"/>
                    <a:gd name="connsiteX1" fmla="*/ 37086 w 214668"/>
                    <a:gd name="connsiteY1" fmla="*/ 219512 h 223898"/>
                    <a:gd name="connsiteX2" fmla="*/ 393 w 214668"/>
                    <a:gd name="connsiteY2" fmla="*/ 118208 h 223898"/>
                    <a:gd name="connsiteX3" fmla="*/ 2303 w 214668"/>
                    <a:gd name="connsiteY3" fmla="*/ 110906 h 223898"/>
                    <a:gd name="connsiteX4" fmla="*/ 128222 w 214668"/>
                    <a:gd name="connsiteY4" fmla="*/ 1630 h 223898"/>
                    <a:gd name="connsiteX5" fmla="*/ 134260 w 214668"/>
                    <a:gd name="connsiteY5" fmla="*/ 210 h 223898"/>
                    <a:gd name="connsiteX6" fmla="*/ 138827 w 214668"/>
                    <a:gd name="connsiteY6" fmla="*/ 4390 h 223898"/>
                    <a:gd name="connsiteX7" fmla="*/ 214276 w 214668"/>
                    <a:gd name="connsiteY7" fmla="*/ 212596 h 223898"/>
                    <a:gd name="connsiteX8" fmla="*/ 213502 w 214668"/>
                    <a:gd name="connsiteY8" fmla="*/ 218634 h 223898"/>
                    <a:gd name="connsiteX9" fmla="*/ 208135 w 214668"/>
                    <a:gd name="connsiteY9" fmla="*/ 221499 h 223898"/>
                    <a:gd name="connsiteX10" fmla="*/ 43459 w 214668"/>
                    <a:gd name="connsiteY10" fmla="*/ 223847 h 223898"/>
                    <a:gd name="connsiteX11" fmla="*/ 43330 w 214668"/>
                    <a:gd name="connsiteY11" fmla="*/ 223898 h 223898"/>
                    <a:gd name="connsiteX12" fmla="*/ 14430 w 214668"/>
                    <a:gd name="connsiteY12" fmla="*/ 118002 h 223898"/>
                    <a:gd name="connsiteX13" fmla="*/ 47949 w 214668"/>
                    <a:gd name="connsiteY13" fmla="*/ 210558 h 223898"/>
                    <a:gd name="connsiteX14" fmla="*/ 198536 w 214668"/>
                    <a:gd name="connsiteY14" fmla="*/ 208390 h 223898"/>
                    <a:gd name="connsiteX15" fmla="*/ 129590 w 214668"/>
                    <a:gd name="connsiteY15" fmla="*/ 18066 h 223898"/>
                    <a:gd name="connsiteX16" fmla="*/ 14430 w 214668"/>
                    <a:gd name="connsiteY16" fmla="*/ 118002 h 223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4668" h="223898">
                      <a:moveTo>
                        <a:pt x="43330" y="223898"/>
                      </a:moveTo>
                      <a:cubicBezTo>
                        <a:pt x="40543" y="223898"/>
                        <a:pt x="38040" y="222144"/>
                        <a:pt x="37086" y="219512"/>
                      </a:cubicBezTo>
                      <a:lnTo>
                        <a:pt x="393" y="118208"/>
                      </a:lnTo>
                      <a:cubicBezTo>
                        <a:pt x="-536" y="115628"/>
                        <a:pt x="213" y="112712"/>
                        <a:pt x="2303" y="110906"/>
                      </a:cubicBezTo>
                      <a:lnTo>
                        <a:pt x="128222" y="1630"/>
                      </a:lnTo>
                      <a:cubicBezTo>
                        <a:pt x="129874" y="185"/>
                        <a:pt x="132119" y="-331"/>
                        <a:pt x="134260" y="210"/>
                      </a:cubicBezTo>
                      <a:cubicBezTo>
                        <a:pt x="136376" y="752"/>
                        <a:pt x="138105" y="2326"/>
                        <a:pt x="138827" y="4390"/>
                      </a:cubicBezTo>
                      <a:lnTo>
                        <a:pt x="214276" y="212596"/>
                      </a:lnTo>
                      <a:cubicBezTo>
                        <a:pt x="214998" y="214609"/>
                        <a:pt x="214715" y="216880"/>
                        <a:pt x="213502" y="218634"/>
                      </a:cubicBezTo>
                      <a:cubicBezTo>
                        <a:pt x="212263" y="220415"/>
                        <a:pt x="210277" y="221473"/>
                        <a:pt x="208135" y="221499"/>
                      </a:cubicBezTo>
                      <a:lnTo>
                        <a:pt x="43459" y="223847"/>
                      </a:lnTo>
                      <a:cubicBezTo>
                        <a:pt x="43381" y="223898"/>
                        <a:pt x="43356" y="223898"/>
                        <a:pt x="43330" y="223898"/>
                      </a:cubicBezTo>
                      <a:close/>
                      <a:moveTo>
                        <a:pt x="14430" y="118002"/>
                      </a:moveTo>
                      <a:lnTo>
                        <a:pt x="47949" y="210558"/>
                      </a:lnTo>
                      <a:lnTo>
                        <a:pt x="198536" y="208390"/>
                      </a:lnTo>
                      <a:lnTo>
                        <a:pt x="129590" y="18066"/>
                      </a:lnTo>
                      <a:lnTo>
                        <a:pt x="14430" y="118002"/>
                      </a:lnTo>
                      <a:close/>
                    </a:path>
                  </a:pathLst>
                </a:custGeom>
                <a:solidFill>
                  <a:schemeClr val="accent1"/>
                </a:solidFill>
                <a:ln w="2573" cap="flat">
                  <a:noFill/>
                  <a:prstDash val="solid"/>
                  <a:miter/>
                </a:ln>
              </p:spPr>
              <p:txBody>
                <a:bodyPr rtlCol="0" anchor="ctr"/>
                <a:lstStyle/>
                <a:p>
                  <a:endParaRPr lang="en-GB" dirty="0"/>
                </a:p>
              </p:txBody>
            </p:sp>
            <p:sp>
              <p:nvSpPr>
                <p:cNvPr id="1523" name="Freihandform: Form 1522">
                  <a:extLst>
                    <a:ext uri="{FF2B5EF4-FFF2-40B4-BE49-F238E27FC236}">
                      <a16:creationId xmlns:a16="http://schemas.microsoft.com/office/drawing/2014/main" id="{5B8B5F40-DACE-4761-AEC4-EBD515BB20BC}"/>
                    </a:ext>
                  </a:extLst>
                </p:cNvPr>
                <p:cNvSpPr/>
                <p:nvPr/>
              </p:nvSpPr>
              <p:spPr>
                <a:xfrm>
                  <a:off x="3560042" y="1978074"/>
                  <a:ext cx="83258" cy="78976"/>
                </a:xfrm>
                <a:custGeom>
                  <a:avLst/>
                  <a:gdLst>
                    <a:gd name="connsiteX0" fmla="*/ 45484 w 83258"/>
                    <a:gd name="connsiteY0" fmla="*/ 78977 h 78976"/>
                    <a:gd name="connsiteX1" fmla="*/ 39756 w 83258"/>
                    <a:gd name="connsiteY1" fmla="*/ 75700 h 78976"/>
                    <a:gd name="connsiteX2" fmla="*/ 922 w 83258"/>
                    <a:gd name="connsiteY2" fmla="*/ 10031 h 78976"/>
                    <a:gd name="connsiteX3" fmla="*/ 3270 w 83258"/>
                    <a:gd name="connsiteY3" fmla="*/ 922 h 78976"/>
                    <a:gd name="connsiteX4" fmla="*/ 12379 w 83258"/>
                    <a:gd name="connsiteY4" fmla="*/ 3270 h 78976"/>
                    <a:gd name="connsiteX5" fmla="*/ 47858 w 83258"/>
                    <a:gd name="connsiteY5" fmla="*/ 63289 h 78976"/>
                    <a:gd name="connsiteX6" fmla="*/ 67598 w 83258"/>
                    <a:gd name="connsiteY6" fmla="*/ 51935 h 78976"/>
                    <a:gd name="connsiteX7" fmla="*/ 46594 w 83258"/>
                    <a:gd name="connsiteY7" fmla="*/ 14237 h 78976"/>
                    <a:gd name="connsiteX8" fmla="*/ 49149 w 83258"/>
                    <a:gd name="connsiteY8" fmla="*/ 5180 h 78976"/>
                    <a:gd name="connsiteX9" fmla="*/ 58205 w 83258"/>
                    <a:gd name="connsiteY9" fmla="*/ 7760 h 78976"/>
                    <a:gd name="connsiteX10" fmla="*/ 82409 w 83258"/>
                    <a:gd name="connsiteY10" fmla="*/ 51187 h 78976"/>
                    <a:gd name="connsiteX11" fmla="*/ 79932 w 83258"/>
                    <a:gd name="connsiteY11" fmla="*/ 60192 h 78976"/>
                    <a:gd name="connsiteX12" fmla="*/ 48813 w 83258"/>
                    <a:gd name="connsiteY12" fmla="*/ 78100 h 78976"/>
                    <a:gd name="connsiteX13" fmla="*/ 45484 w 83258"/>
                    <a:gd name="connsiteY13" fmla="*/ 78977 h 78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258" h="78976">
                      <a:moveTo>
                        <a:pt x="45484" y="78977"/>
                      </a:moveTo>
                      <a:cubicBezTo>
                        <a:pt x="43214" y="78977"/>
                        <a:pt x="40995" y="77816"/>
                        <a:pt x="39756" y="75700"/>
                      </a:cubicBezTo>
                      <a:lnTo>
                        <a:pt x="922" y="10031"/>
                      </a:lnTo>
                      <a:cubicBezTo>
                        <a:pt x="-936" y="6857"/>
                        <a:pt x="97" y="2780"/>
                        <a:pt x="3270" y="922"/>
                      </a:cubicBezTo>
                      <a:cubicBezTo>
                        <a:pt x="6418" y="-936"/>
                        <a:pt x="10495" y="97"/>
                        <a:pt x="12379" y="3270"/>
                      </a:cubicBezTo>
                      <a:lnTo>
                        <a:pt x="47858" y="63289"/>
                      </a:lnTo>
                      <a:lnTo>
                        <a:pt x="67598" y="51935"/>
                      </a:lnTo>
                      <a:lnTo>
                        <a:pt x="46594" y="14237"/>
                      </a:lnTo>
                      <a:cubicBezTo>
                        <a:pt x="44813" y="11037"/>
                        <a:pt x="45949" y="6986"/>
                        <a:pt x="49149" y="5180"/>
                      </a:cubicBezTo>
                      <a:cubicBezTo>
                        <a:pt x="52348" y="3399"/>
                        <a:pt x="56399" y="4535"/>
                        <a:pt x="58205" y="7760"/>
                      </a:cubicBezTo>
                      <a:lnTo>
                        <a:pt x="82409" y="51187"/>
                      </a:lnTo>
                      <a:cubicBezTo>
                        <a:pt x="84189" y="54361"/>
                        <a:pt x="83080" y="58386"/>
                        <a:pt x="79932" y="60192"/>
                      </a:cubicBezTo>
                      <a:lnTo>
                        <a:pt x="48813" y="78100"/>
                      </a:lnTo>
                      <a:cubicBezTo>
                        <a:pt x="47755" y="78693"/>
                        <a:pt x="46620" y="78977"/>
                        <a:pt x="45484" y="78977"/>
                      </a:cubicBezTo>
                      <a:close/>
                    </a:path>
                  </a:pathLst>
                </a:custGeom>
                <a:solidFill>
                  <a:schemeClr val="accent1"/>
                </a:solidFill>
                <a:ln w="2573" cap="flat">
                  <a:noFill/>
                  <a:prstDash val="solid"/>
                  <a:miter/>
                </a:ln>
              </p:spPr>
              <p:txBody>
                <a:bodyPr rtlCol="0" anchor="ctr"/>
                <a:lstStyle/>
                <a:p>
                  <a:endParaRPr lang="en-GB" dirty="0"/>
                </a:p>
              </p:txBody>
            </p:sp>
          </p:grpSp>
          <p:grpSp>
            <p:nvGrpSpPr>
              <p:cNvPr id="1516" name="Grafik 312">
                <a:extLst>
                  <a:ext uri="{FF2B5EF4-FFF2-40B4-BE49-F238E27FC236}">
                    <a16:creationId xmlns:a16="http://schemas.microsoft.com/office/drawing/2014/main" id="{1FEAFD39-2316-4543-9DF0-48326E456063}"/>
                  </a:ext>
                </a:extLst>
              </p:cNvPr>
              <p:cNvGrpSpPr/>
              <p:nvPr/>
            </p:nvGrpSpPr>
            <p:grpSpPr>
              <a:xfrm>
                <a:off x="3762450" y="1748649"/>
                <a:ext cx="88386" cy="167594"/>
                <a:chOff x="3762450" y="1748649"/>
                <a:chExt cx="88386" cy="167594"/>
              </a:xfrm>
              <a:solidFill>
                <a:schemeClr val="accent1"/>
              </a:solidFill>
            </p:grpSpPr>
            <p:sp>
              <p:nvSpPr>
                <p:cNvPr id="1518" name="Freihandform: Form 1517">
                  <a:extLst>
                    <a:ext uri="{FF2B5EF4-FFF2-40B4-BE49-F238E27FC236}">
                      <a16:creationId xmlns:a16="http://schemas.microsoft.com/office/drawing/2014/main" id="{D9E5258D-E1F1-4E19-A909-009EB4F2C5BA}"/>
                    </a:ext>
                  </a:extLst>
                </p:cNvPr>
                <p:cNvSpPr/>
                <p:nvPr/>
              </p:nvSpPr>
              <p:spPr>
                <a:xfrm>
                  <a:off x="3762450" y="1748649"/>
                  <a:ext cx="34107" cy="40746"/>
                </a:xfrm>
                <a:custGeom>
                  <a:avLst/>
                  <a:gdLst>
                    <a:gd name="connsiteX0" fmla="*/ 6642 w 34107"/>
                    <a:gd name="connsiteY0" fmla="*/ 40746 h 40746"/>
                    <a:gd name="connsiteX1" fmla="*/ 2643 w 34107"/>
                    <a:gd name="connsiteY1" fmla="*/ 39405 h 40746"/>
                    <a:gd name="connsiteX2" fmla="*/ 1352 w 34107"/>
                    <a:gd name="connsiteY2" fmla="*/ 30090 h 40746"/>
                    <a:gd name="connsiteX3" fmla="*/ 22150 w 34107"/>
                    <a:gd name="connsiteY3" fmla="*/ 2635 h 40746"/>
                    <a:gd name="connsiteX4" fmla="*/ 31465 w 34107"/>
                    <a:gd name="connsiteY4" fmla="*/ 1345 h 40746"/>
                    <a:gd name="connsiteX5" fmla="*/ 32755 w 34107"/>
                    <a:gd name="connsiteY5" fmla="*/ 10660 h 40746"/>
                    <a:gd name="connsiteX6" fmla="*/ 11958 w 34107"/>
                    <a:gd name="connsiteY6" fmla="*/ 38114 h 40746"/>
                    <a:gd name="connsiteX7" fmla="*/ 6642 w 34107"/>
                    <a:gd name="connsiteY7" fmla="*/ 40746 h 4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07" h="40746">
                      <a:moveTo>
                        <a:pt x="6642" y="40746"/>
                      </a:moveTo>
                      <a:cubicBezTo>
                        <a:pt x="5249" y="40746"/>
                        <a:pt x="3830" y="40308"/>
                        <a:pt x="2643" y="39405"/>
                      </a:cubicBezTo>
                      <a:cubicBezTo>
                        <a:pt x="-299" y="37186"/>
                        <a:pt x="-867" y="33005"/>
                        <a:pt x="1352" y="30090"/>
                      </a:cubicBezTo>
                      <a:lnTo>
                        <a:pt x="22150" y="2635"/>
                      </a:lnTo>
                      <a:cubicBezTo>
                        <a:pt x="24369" y="-281"/>
                        <a:pt x="28523" y="-874"/>
                        <a:pt x="31465" y="1345"/>
                      </a:cubicBezTo>
                      <a:cubicBezTo>
                        <a:pt x="34406" y="3564"/>
                        <a:pt x="34974" y="7744"/>
                        <a:pt x="32755" y="10660"/>
                      </a:cubicBezTo>
                      <a:lnTo>
                        <a:pt x="11958" y="38114"/>
                      </a:lnTo>
                      <a:cubicBezTo>
                        <a:pt x="10642" y="39843"/>
                        <a:pt x="8655" y="40746"/>
                        <a:pt x="6642" y="40746"/>
                      </a:cubicBezTo>
                      <a:close/>
                    </a:path>
                  </a:pathLst>
                </a:custGeom>
                <a:solidFill>
                  <a:schemeClr val="accent1"/>
                </a:solidFill>
                <a:ln w="2573" cap="flat">
                  <a:noFill/>
                  <a:prstDash val="solid"/>
                  <a:miter/>
                </a:ln>
              </p:spPr>
              <p:txBody>
                <a:bodyPr rtlCol="0" anchor="ctr"/>
                <a:lstStyle/>
                <a:p>
                  <a:endParaRPr lang="en-GB" dirty="0"/>
                </a:p>
              </p:txBody>
            </p:sp>
            <p:sp>
              <p:nvSpPr>
                <p:cNvPr id="1519" name="Freihandform: Form 1518">
                  <a:extLst>
                    <a:ext uri="{FF2B5EF4-FFF2-40B4-BE49-F238E27FC236}">
                      <a16:creationId xmlns:a16="http://schemas.microsoft.com/office/drawing/2014/main" id="{87DDB3AD-F77A-4B10-BDDC-6B3BB78C139B}"/>
                    </a:ext>
                  </a:extLst>
                </p:cNvPr>
                <p:cNvSpPr/>
                <p:nvPr/>
              </p:nvSpPr>
              <p:spPr>
                <a:xfrm>
                  <a:off x="3804004" y="1895084"/>
                  <a:ext cx="46832" cy="21159"/>
                </a:xfrm>
                <a:custGeom>
                  <a:avLst/>
                  <a:gdLst>
                    <a:gd name="connsiteX0" fmla="*/ 40175 w 46832"/>
                    <a:gd name="connsiteY0" fmla="*/ 21160 h 21159"/>
                    <a:gd name="connsiteX1" fmla="*/ 38653 w 46832"/>
                    <a:gd name="connsiteY1" fmla="*/ 20979 h 21159"/>
                    <a:gd name="connsiteX2" fmla="*/ 5135 w 46832"/>
                    <a:gd name="connsiteY2" fmla="*/ 13135 h 21159"/>
                    <a:gd name="connsiteX3" fmla="*/ 181 w 46832"/>
                    <a:gd name="connsiteY3" fmla="*/ 5136 h 21159"/>
                    <a:gd name="connsiteX4" fmla="*/ 8179 w 46832"/>
                    <a:gd name="connsiteY4" fmla="*/ 182 h 21159"/>
                    <a:gd name="connsiteX5" fmla="*/ 41698 w 46832"/>
                    <a:gd name="connsiteY5" fmla="*/ 8026 h 21159"/>
                    <a:gd name="connsiteX6" fmla="*/ 46652 w 46832"/>
                    <a:gd name="connsiteY6" fmla="*/ 16025 h 21159"/>
                    <a:gd name="connsiteX7" fmla="*/ 40175 w 46832"/>
                    <a:gd name="connsiteY7" fmla="*/ 21160 h 21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32" h="21159">
                      <a:moveTo>
                        <a:pt x="40175" y="21160"/>
                      </a:moveTo>
                      <a:cubicBezTo>
                        <a:pt x="39685" y="21160"/>
                        <a:pt x="39169" y="21108"/>
                        <a:pt x="38653" y="20979"/>
                      </a:cubicBezTo>
                      <a:lnTo>
                        <a:pt x="5135" y="13135"/>
                      </a:lnTo>
                      <a:cubicBezTo>
                        <a:pt x="1574" y="12309"/>
                        <a:pt x="-671" y="8723"/>
                        <a:pt x="181" y="5136"/>
                      </a:cubicBezTo>
                      <a:cubicBezTo>
                        <a:pt x="1006" y="1549"/>
                        <a:pt x="4541" y="-670"/>
                        <a:pt x="8179" y="182"/>
                      </a:cubicBezTo>
                      <a:lnTo>
                        <a:pt x="41698" y="8026"/>
                      </a:lnTo>
                      <a:cubicBezTo>
                        <a:pt x="45259" y="8852"/>
                        <a:pt x="47504" y="12438"/>
                        <a:pt x="46652" y="16025"/>
                      </a:cubicBezTo>
                      <a:cubicBezTo>
                        <a:pt x="45904" y="19096"/>
                        <a:pt x="43195" y="21160"/>
                        <a:pt x="40175" y="21160"/>
                      </a:cubicBezTo>
                      <a:close/>
                    </a:path>
                  </a:pathLst>
                </a:custGeom>
                <a:solidFill>
                  <a:schemeClr val="accent1"/>
                </a:solidFill>
                <a:ln w="2573" cap="flat">
                  <a:noFill/>
                  <a:prstDash val="solid"/>
                  <a:miter/>
                </a:ln>
              </p:spPr>
              <p:txBody>
                <a:bodyPr rtlCol="0" anchor="ctr"/>
                <a:lstStyle/>
                <a:p>
                  <a:endParaRPr lang="en-GB" dirty="0"/>
                </a:p>
              </p:txBody>
            </p:sp>
          </p:grpSp>
          <p:sp>
            <p:nvSpPr>
              <p:cNvPr id="1517" name="Freihandform: Form 1516">
                <a:extLst>
                  <a:ext uri="{FF2B5EF4-FFF2-40B4-BE49-F238E27FC236}">
                    <a16:creationId xmlns:a16="http://schemas.microsoft.com/office/drawing/2014/main" id="{7BCDB1C7-CA53-49BA-9B88-EE348ACB8D00}"/>
                  </a:ext>
                </a:extLst>
              </p:cNvPr>
              <p:cNvSpPr/>
              <p:nvPr/>
            </p:nvSpPr>
            <p:spPr>
              <a:xfrm>
                <a:off x="3783032" y="1823048"/>
                <a:ext cx="40370" cy="23165"/>
              </a:xfrm>
              <a:custGeom>
                <a:avLst/>
                <a:gdLst>
                  <a:gd name="connsiteX0" fmla="*/ 6651 w 40370"/>
                  <a:gd name="connsiteY0" fmla="*/ 23165 h 23165"/>
                  <a:gd name="connsiteX1" fmla="*/ 407 w 40370"/>
                  <a:gd name="connsiteY1" fmla="*/ 18779 h 23165"/>
                  <a:gd name="connsiteX2" fmla="*/ 4380 w 40370"/>
                  <a:gd name="connsiteY2" fmla="*/ 10264 h 23165"/>
                  <a:gd name="connsiteX3" fmla="*/ 31422 w 40370"/>
                  <a:gd name="connsiteY3" fmla="*/ 407 h 23165"/>
                  <a:gd name="connsiteX4" fmla="*/ 39963 w 40370"/>
                  <a:gd name="connsiteY4" fmla="*/ 4381 h 23165"/>
                  <a:gd name="connsiteX5" fmla="*/ 35989 w 40370"/>
                  <a:gd name="connsiteY5" fmla="*/ 12896 h 23165"/>
                  <a:gd name="connsiteX6" fmla="*/ 8948 w 40370"/>
                  <a:gd name="connsiteY6" fmla="*/ 22753 h 23165"/>
                  <a:gd name="connsiteX7" fmla="*/ 6651 w 40370"/>
                  <a:gd name="connsiteY7" fmla="*/ 23165 h 23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70" h="23165">
                    <a:moveTo>
                      <a:pt x="6651" y="23165"/>
                    </a:moveTo>
                    <a:cubicBezTo>
                      <a:pt x="3942" y="23165"/>
                      <a:pt x="1387" y="21488"/>
                      <a:pt x="407" y="18779"/>
                    </a:cubicBezTo>
                    <a:cubicBezTo>
                      <a:pt x="-857" y="15321"/>
                      <a:pt x="923" y="11502"/>
                      <a:pt x="4380" y="10264"/>
                    </a:cubicBezTo>
                    <a:lnTo>
                      <a:pt x="31422" y="407"/>
                    </a:lnTo>
                    <a:cubicBezTo>
                      <a:pt x="34880" y="-857"/>
                      <a:pt x="38699" y="923"/>
                      <a:pt x="39963" y="4381"/>
                    </a:cubicBezTo>
                    <a:cubicBezTo>
                      <a:pt x="41227" y="7838"/>
                      <a:pt x="39447" y="11657"/>
                      <a:pt x="35989" y="12896"/>
                    </a:cubicBezTo>
                    <a:lnTo>
                      <a:pt x="8948" y="22753"/>
                    </a:lnTo>
                    <a:cubicBezTo>
                      <a:pt x="8174" y="23036"/>
                      <a:pt x="7400" y="23165"/>
                      <a:pt x="6651" y="23165"/>
                    </a:cubicBezTo>
                    <a:close/>
                  </a:path>
                </a:pathLst>
              </a:custGeom>
              <a:solidFill>
                <a:schemeClr val="accent1"/>
              </a:solidFill>
              <a:ln w="2573" cap="flat">
                <a:noFill/>
                <a:prstDash val="solid"/>
                <a:miter/>
              </a:ln>
            </p:spPr>
            <p:txBody>
              <a:bodyPr rtlCol="0" anchor="ctr"/>
              <a:lstStyle/>
              <a:p>
                <a:endParaRPr lang="en-GB" dirty="0"/>
              </a:p>
            </p:txBody>
          </p:sp>
        </p:grpSp>
        <p:grpSp>
          <p:nvGrpSpPr>
            <p:cNvPr id="1507" name="Gruppieren 1506">
              <a:extLst>
                <a:ext uri="{FF2B5EF4-FFF2-40B4-BE49-F238E27FC236}">
                  <a16:creationId xmlns:a16="http://schemas.microsoft.com/office/drawing/2014/main" id="{33C0200A-4D1E-49E8-90BC-D6890983F2E8}"/>
                </a:ext>
              </a:extLst>
            </p:cNvPr>
            <p:cNvGrpSpPr/>
            <p:nvPr/>
          </p:nvGrpSpPr>
          <p:grpSpPr>
            <a:xfrm>
              <a:off x="3683743" y="1626716"/>
              <a:ext cx="320555" cy="300503"/>
              <a:chOff x="3359570" y="1626758"/>
              <a:chExt cx="319288" cy="299316"/>
            </a:xfrm>
            <a:solidFill>
              <a:schemeClr val="tx2"/>
            </a:solidFill>
          </p:grpSpPr>
          <p:grpSp>
            <p:nvGrpSpPr>
              <p:cNvPr id="1508" name="Grafik 312">
                <a:extLst>
                  <a:ext uri="{FF2B5EF4-FFF2-40B4-BE49-F238E27FC236}">
                    <a16:creationId xmlns:a16="http://schemas.microsoft.com/office/drawing/2014/main" id="{C47E7D91-F5EF-47E7-B9BF-40281D371586}"/>
                  </a:ext>
                </a:extLst>
              </p:cNvPr>
              <p:cNvGrpSpPr/>
              <p:nvPr/>
            </p:nvGrpSpPr>
            <p:grpSpPr>
              <a:xfrm>
                <a:off x="3359570" y="1731080"/>
                <a:ext cx="319288" cy="194994"/>
                <a:chOff x="3359570" y="1731080"/>
                <a:chExt cx="319288" cy="194994"/>
              </a:xfrm>
              <a:grpFill/>
            </p:grpSpPr>
            <p:sp>
              <p:nvSpPr>
                <p:cNvPr id="1510" name="Freihandform: Form 1509">
                  <a:extLst>
                    <a:ext uri="{FF2B5EF4-FFF2-40B4-BE49-F238E27FC236}">
                      <a16:creationId xmlns:a16="http://schemas.microsoft.com/office/drawing/2014/main" id="{0BBB5861-81FE-484C-92AB-AD4CEA637075}"/>
                    </a:ext>
                  </a:extLst>
                </p:cNvPr>
                <p:cNvSpPr/>
                <p:nvPr/>
              </p:nvSpPr>
              <p:spPr>
                <a:xfrm>
                  <a:off x="3359596" y="1731106"/>
                  <a:ext cx="119752" cy="194968"/>
                </a:xfrm>
                <a:custGeom>
                  <a:avLst/>
                  <a:gdLst>
                    <a:gd name="connsiteX0" fmla="*/ 113070 w 119752"/>
                    <a:gd name="connsiteY0" fmla="*/ 194969 h 194968"/>
                    <a:gd name="connsiteX1" fmla="*/ 6657 w 119752"/>
                    <a:gd name="connsiteY1" fmla="*/ 194969 h 194968"/>
                    <a:gd name="connsiteX2" fmla="*/ 0 w 119752"/>
                    <a:gd name="connsiteY2" fmla="*/ 188312 h 194968"/>
                    <a:gd name="connsiteX3" fmla="*/ 0 w 119752"/>
                    <a:gd name="connsiteY3" fmla="*/ 6657 h 194968"/>
                    <a:gd name="connsiteX4" fmla="*/ 6657 w 119752"/>
                    <a:gd name="connsiteY4" fmla="*/ 0 h 194968"/>
                    <a:gd name="connsiteX5" fmla="*/ 13315 w 119752"/>
                    <a:gd name="connsiteY5" fmla="*/ 6657 h 194968"/>
                    <a:gd name="connsiteX6" fmla="*/ 13315 w 119752"/>
                    <a:gd name="connsiteY6" fmla="*/ 181680 h 194968"/>
                    <a:gd name="connsiteX7" fmla="*/ 113095 w 119752"/>
                    <a:gd name="connsiteY7" fmla="*/ 181680 h 194968"/>
                    <a:gd name="connsiteX8" fmla="*/ 119753 w 119752"/>
                    <a:gd name="connsiteY8" fmla="*/ 188337 h 194968"/>
                    <a:gd name="connsiteX9" fmla="*/ 113070 w 119752"/>
                    <a:gd name="connsiteY9" fmla="*/ 194969 h 194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752" h="194968">
                      <a:moveTo>
                        <a:pt x="113070" y="194969"/>
                      </a:moveTo>
                      <a:lnTo>
                        <a:pt x="6657" y="194969"/>
                      </a:lnTo>
                      <a:cubicBezTo>
                        <a:pt x="2993" y="194969"/>
                        <a:pt x="0" y="192002"/>
                        <a:pt x="0" y="188312"/>
                      </a:cubicBezTo>
                      <a:lnTo>
                        <a:pt x="0" y="6657"/>
                      </a:lnTo>
                      <a:cubicBezTo>
                        <a:pt x="0" y="2993"/>
                        <a:pt x="2967" y="0"/>
                        <a:pt x="6657" y="0"/>
                      </a:cubicBezTo>
                      <a:cubicBezTo>
                        <a:pt x="10347" y="0"/>
                        <a:pt x="13315" y="2967"/>
                        <a:pt x="13315" y="6657"/>
                      </a:cubicBezTo>
                      <a:lnTo>
                        <a:pt x="13315" y="181680"/>
                      </a:lnTo>
                      <a:lnTo>
                        <a:pt x="113095" y="181680"/>
                      </a:lnTo>
                      <a:cubicBezTo>
                        <a:pt x="116760" y="181680"/>
                        <a:pt x="119753" y="184648"/>
                        <a:pt x="119753" y="188337"/>
                      </a:cubicBezTo>
                      <a:cubicBezTo>
                        <a:pt x="119753" y="192027"/>
                        <a:pt x="116734" y="194969"/>
                        <a:pt x="113070" y="194969"/>
                      </a:cubicBezTo>
                      <a:close/>
                    </a:path>
                  </a:pathLst>
                </a:custGeom>
                <a:grpFill/>
                <a:ln w="2573" cap="flat">
                  <a:noFill/>
                  <a:prstDash val="solid"/>
                  <a:miter/>
                </a:ln>
              </p:spPr>
              <p:txBody>
                <a:bodyPr rtlCol="0" anchor="ctr"/>
                <a:lstStyle/>
                <a:p>
                  <a:endParaRPr lang="en-GB" dirty="0"/>
                </a:p>
              </p:txBody>
            </p:sp>
            <p:sp>
              <p:nvSpPr>
                <p:cNvPr id="1511" name="Freihandform: Form 1510">
                  <a:extLst>
                    <a:ext uri="{FF2B5EF4-FFF2-40B4-BE49-F238E27FC236}">
                      <a16:creationId xmlns:a16="http://schemas.microsoft.com/office/drawing/2014/main" id="{7D01FFDC-F86A-49BC-9E3C-419F3080F590}"/>
                    </a:ext>
                  </a:extLst>
                </p:cNvPr>
                <p:cNvSpPr/>
                <p:nvPr/>
              </p:nvSpPr>
              <p:spPr>
                <a:xfrm>
                  <a:off x="3665544" y="1731080"/>
                  <a:ext cx="13314" cy="28693"/>
                </a:xfrm>
                <a:custGeom>
                  <a:avLst/>
                  <a:gdLst>
                    <a:gd name="connsiteX0" fmla="*/ 6657 w 13314"/>
                    <a:gd name="connsiteY0" fmla="*/ 28693 h 28693"/>
                    <a:gd name="connsiteX1" fmla="*/ 0 w 13314"/>
                    <a:gd name="connsiteY1" fmla="*/ 22036 h 28693"/>
                    <a:gd name="connsiteX2" fmla="*/ 0 w 13314"/>
                    <a:gd name="connsiteY2" fmla="*/ 6657 h 28693"/>
                    <a:gd name="connsiteX3" fmla="*/ 6657 w 13314"/>
                    <a:gd name="connsiteY3" fmla="*/ 0 h 28693"/>
                    <a:gd name="connsiteX4" fmla="*/ 13315 w 13314"/>
                    <a:gd name="connsiteY4" fmla="*/ 6657 h 28693"/>
                    <a:gd name="connsiteX5" fmla="*/ 13315 w 13314"/>
                    <a:gd name="connsiteY5" fmla="*/ 22036 h 28693"/>
                    <a:gd name="connsiteX6" fmla="*/ 6657 w 13314"/>
                    <a:gd name="connsiteY6" fmla="*/ 28693 h 2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28693">
                      <a:moveTo>
                        <a:pt x="6657" y="28693"/>
                      </a:moveTo>
                      <a:cubicBezTo>
                        <a:pt x="2993" y="28693"/>
                        <a:pt x="0" y="25726"/>
                        <a:pt x="0" y="22036"/>
                      </a:cubicBezTo>
                      <a:lnTo>
                        <a:pt x="0" y="6657"/>
                      </a:lnTo>
                      <a:cubicBezTo>
                        <a:pt x="0" y="2993"/>
                        <a:pt x="2967" y="0"/>
                        <a:pt x="6657" y="0"/>
                      </a:cubicBezTo>
                      <a:cubicBezTo>
                        <a:pt x="10321" y="0"/>
                        <a:pt x="13315" y="2967"/>
                        <a:pt x="13315" y="6657"/>
                      </a:cubicBezTo>
                      <a:lnTo>
                        <a:pt x="13315" y="22036"/>
                      </a:lnTo>
                      <a:cubicBezTo>
                        <a:pt x="13315" y="25726"/>
                        <a:pt x="10347" y="28693"/>
                        <a:pt x="6657" y="28693"/>
                      </a:cubicBezTo>
                      <a:close/>
                    </a:path>
                  </a:pathLst>
                </a:custGeom>
                <a:grpFill/>
                <a:ln w="2573" cap="flat">
                  <a:noFill/>
                  <a:prstDash val="solid"/>
                  <a:miter/>
                </a:ln>
              </p:spPr>
              <p:txBody>
                <a:bodyPr rtlCol="0" anchor="ctr"/>
                <a:lstStyle/>
                <a:p>
                  <a:endParaRPr lang="en-GB" dirty="0"/>
                </a:p>
              </p:txBody>
            </p:sp>
            <p:sp>
              <p:nvSpPr>
                <p:cNvPr id="1512" name="Freihandform: Form 1511">
                  <a:extLst>
                    <a:ext uri="{FF2B5EF4-FFF2-40B4-BE49-F238E27FC236}">
                      <a16:creationId xmlns:a16="http://schemas.microsoft.com/office/drawing/2014/main" id="{89510763-E357-4B61-BB20-252DE678DDBF}"/>
                    </a:ext>
                  </a:extLst>
                </p:cNvPr>
                <p:cNvSpPr/>
                <p:nvPr/>
              </p:nvSpPr>
              <p:spPr>
                <a:xfrm>
                  <a:off x="3552460" y="1731080"/>
                  <a:ext cx="126355" cy="85227"/>
                </a:xfrm>
                <a:custGeom>
                  <a:avLst/>
                  <a:gdLst>
                    <a:gd name="connsiteX0" fmla="*/ 6672 w 126355"/>
                    <a:gd name="connsiteY0" fmla="*/ 85228 h 85227"/>
                    <a:gd name="connsiteX1" fmla="*/ 1047 w 126355"/>
                    <a:gd name="connsiteY1" fmla="*/ 82157 h 85227"/>
                    <a:gd name="connsiteX2" fmla="*/ 3086 w 126355"/>
                    <a:gd name="connsiteY2" fmla="*/ 72971 h 85227"/>
                    <a:gd name="connsiteX3" fmla="*/ 96880 w 126355"/>
                    <a:gd name="connsiteY3" fmla="*/ 13314 h 85227"/>
                    <a:gd name="connsiteX4" fmla="*/ 93113 w 126355"/>
                    <a:gd name="connsiteY4" fmla="*/ 13314 h 85227"/>
                    <a:gd name="connsiteX5" fmla="*/ 86456 w 126355"/>
                    <a:gd name="connsiteY5" fmla="*/ 6657 h 85227"/>
                    <a:gd name="connsiteX6" fmla="*/ 93113 w 126355"/>
                    <a:gd name="connsiteY6" fmla="*/ 0 h 85227"/>
                    <a:gd name="connsiteX7" fmla="*/ 119716 w 126355"/>
                    <a:gd name="connsiteY7" fmla="*/ 0 h 85227"/>
                    <a:gd name="connsiteX8" fmla="*/ 126089 w 126355"/>
                    <a:gd name="connsiteY8" fmla="*/ 4799 h 85227"/>
                    <a:gd name="connsiteX9" fmla="*/ 123277 w 126355"/>
                    <a:gd name="connsiteY9" fmla="*/ 12282 h 85227"/>
                    <a:gd name="connsiteX10" fmla="*/ 10207 w 126355"/>
                    <a:gd name="connsiteY10" fmla="*/ 84196 h 85227"/>
                    <a:gd name="connsiteX11" fmla="*/ 6672 w 126355"/>
                    <a:gd name="connsiteY11" fmla="*/ 85228 h 8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355" h="85227">
                      <a:moveTo>
                        <a:pt x="6672" y="85228"/>
                      </a:moveTo>
                      <a:cubicBezTo>
                        <a:pt x="4479" y="85228"/>
                        <a:pt x="2312" y="84144"/>
                        <a:pt x="1047" y="82157"/>
                      </a:cubicBezTo>
                      <a:cubicBezTo>
                        <a:pt x="-940" y="79061"/>
                        <a:pt x="-11" y="74958"/>
                        <a:pt x="3086" y="72971"/>
                      </a:cubicBezTo>
                      <a:lnTo>
                        <a:pt x="96880" y="13314"/>
                      </a:lnTo>
                      <a:lnTo>
                        <a:pt x="93113" y="13314"/>
                      </a:lnTo>
                      <a:cubicBezTo>
                        <a:pt x="89449" y="13314"/>
                        <a:pt x="86456" y="10347"/>
                        <a:pt x="86456" y="6657"/>
                      </a:cubicBezTo>
                      <a:cubicBezTo>
                        <a:pt x="86456" y="2967"/>
                        <a:pt x="89423" y="0"/>
                        <a:pt x="93113" y="0"/>
                      </a:cubicBezTo>
                      <a:lnTo>
                        <a:pt x="119716" y="0"/>
                      </a:lnTo>
                      <a:cubicBezTo>
                        <a:pt x="122683" y="0"/>
                        <a:pt x="125264" y="1961"/>
                        <a:pt x="126089" y="4799"/>
                      </a:cubicBezTo>
                      <a:cubicBezTo>
                        <a:pt x="126915" y="7638"/>
                        <a:pt x="125780" y="10683"/>
                        <a:pt x="123277" y="12282"/>
                      </a:cubicBezTo>
                      <a:lnTo>
                        <a:pt x="10207" y="84196"/>
                      </a:lnTo>
                      <a:cubicBezTo>
                        <a:pt x="9123" y="84918"/>
                        <a:pt x="7911" y="85228"/>
                        <a:pt x="6672" y="85228"/>
                      </a:cubicBezTo>
                      <a:close/>
                    </a:path>
                  </a:pathLst>
                </a:custGeom>
                <a:grpFill/>
                <a:ln w="2573" cap="flat">
                  <a:noFill/>
                  <a:prstDash val="solid"/>
                  <a:miter/>
                </a:ln>
              </p:spPr>
              <p:txBody>
                <a:bodyPr rtlCol="0" anchor="ctr"/>
                <a:lstStyle/>
                <a:p>
                  <a:endParaRPr lang="en-GB" dirty="0"/>
                </a:p>
              </p:txBody>
            </p:sp>
            <p:sp>
              <p:nvSpPr>
                <p:cNvPr id="1513" name="Freihandform: Form 1512">
                  <a:extLst>
                    <a:ext uri="{FF2B5EF4-FFF2-40B4-BE49-F238E27FC236}">
                      <a16:creationId xmlns:a16="http://schemas.microsoft.com/office/drawing/2014/main" id="{3AA64E0D-DA6E-4D46-9CEE-B3677D533AD7}"/>
                    </a:ext>
                  </a:extLst>
                </p:cNvPr>
                <p:cNvSpPr/>
                <p:nvPr/>
              </p:nvSpPr>
              <p:spPr>
                <a:xfrm>
                  <a:off x="3359587" y="1731080"/>
                  <a:ext cx="126355" cy="85227"/>
                </a:xfrm>
                <a:custGeom>
                  <a:avLst/>
                  <a:gdLst>
                    <a:gd name="connsiteX0" fmla="*/ 119710 w 126355"/>
                    <a:gd name="connsiteY0" fmla="*/ 85228 h 85227"/>
                    <a:gd name="connsiteX1" fmla="*/ 116149 w 126355"/>
                    <a:gd name="connsiteY1" fmla="*/ 84196 h 85227"/>
                    <a:gd name="connsiteX2" fmla="*/ 3079 w 126355"/>
                    <a:gd name="connsiteY2" fmla="*/ 12282 h 85227"/>
                    <a:gd name="connsiteX3" fmla="*/ 267 w 126355"/>
                    <a:gd name="connsiteY3" fmla="*/ 4799 h 85227"/>
                    <a:gd name="connsiteX4" fmla="*/ 6640 w 126355"/>
                    <a:gd name="connsiteY4" fmla="*/ 0 h 85227"/>
                    <a:gd name="connsiteX5" fmla="*/ 33243 w 126355"/>
                    <a:gd name="connsiteY5" fmla="*/ 0 h 85227"/>
                    <a:gd name="connsiteX6" fmla="*/ 39900 w 126355"/>
                    <a:gd name="connsiteY6" fmla="*/ 6657 h 85227"/>
                    <a:gd name="connsiteX7" fmla="*/ 33243 w 126355"/>
                    <a:gd name="connsiteY7" fmla="*/ 13314 h 85227"/>
                    <a:gd name="connsiteX8" fmla="*/ 29476 w 126355"/>
                    <a:gd name="connsiteY8" fmla="*/ 13314 h 85227"/>
                    <a:gd name="connsiteX9" fmla="*/ 123270 w 126355"/>
                    <a:gd name="connsiteY9" fmla="*/ 72971 h 85227"/>
                    <a:gd name="connsiteX10" fmla="*/ 125309 w 126355"/>
                    <a:gd name="connsiteY10" fmla="*/ 82157 h 85227"/>
                    <a:gd name="connsiteX11" fmla="*/ 119710 w 126355"/>
                    <a:gd name="connsiteY11" fmla="*/ 85228 h 85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6355" h="85227">
                      <a:moveTo>
                        <a:pt x="119710" y="85228"/>
                      </a:moveTo>
                      <a:cubicBezTo>
                        <a:pt x="118497" y="85228"/>
                        <a:pt x="117258" y="84892"/>
                        <a:pt x="116149" y="84196"/>
                      </a:cubicBezTo>
                      <a:lnTo>
                        <a:pt x="3079" y="12282"/>
                      </a:lnTo>
                      <a:cubicBezTo>
                        <a:pt x="576" y="10683"/>
                        <a:pt x="-559" y="7664"/>
                        <a:pt x="267" y="4799"/>
                      </a:cubicBezTo>
                      <a:cubicBezTo>
                        <a:pt x="1092" y="1961"/>
                        <a:pt x="3698" y="0"/>
                        <a:pt x="6640" y="0"/>
                      </a:cubicBezTo>
                      <a:lnTo>
                        <a:pt x="33243" y="0"/>
                      </a:lnTo>
                      <a:cubicBezTo>
                        <a:pt x="36907" y="0"/>
                        <a:pt x="39900" y="2967"/>
                        <a:pt x="39900" y="6657"/>
                      </a:cubicBezTo>
                      <a:cubicBezTo>
                        <a:pt x="39900" y="10347"/>
                        <a:pt x="36933" y="13314"/>
                        <a:pt x="33243" y="13314"/>
                      </a:cubicBezTo>
                      <a:lnTo>
                        <a:pt x="29476" y="13314"/>
                      </a:lnTo>
                      <a:lnTo>
                        <a:pt x="123270" y="72971"/>
                      </a:lnTo>
                      <a:cubicBezTo>
                        <a:pt x="126367" y="74932"/>
                        <a:pt x="127296" y="79061"/>
                        <a:pt x="125309" y="82157"/>
                      </a:cubicBezTo>
                      <a:cubicBezTo>
                        <a:pt x="124070" y="84144"/>
                        <a:pt x="121929" y="85228"/>
                        <a:pt x="119710" y="85228"/>
                      </a:cubicBezTo>
                      <a:close/>
                    </a:path>
                  </a:pathLst>
                </a:custGeom>
                <a:grpFill/>
                <a:ln w="2573" cap="flat">
                  <a:noFill/>
                  <a:prstDash val="solid"/>
                  <a:miter/>
                </a:ln>
              </p:spPr>
              <p:txBody>
                <a:bodyPr rtlCol="0" anchor="ctr"/>
                <a:lstStyle/>
                <a:p>
                  <a:endParaRPr lang="en-GB" dirty="0"/>
                </a:p>
              </p:txBody>
            </p:sp>
            <p:sp>
              <p:nvSpPr>
                <p:cNvPr id="1514" name="Freihandform: Form 1513">
                  <a:extLst>
                    <a:ext uri="{FF2B5EF4-FFF2-40B4-BE49-F238E27FC236}">
                      <a16:creationId xmlns:a16="http://schemas.microsoft.com/office/drawing/2014/main" id="{0DF3E58E-06EC-4DFB-8CC2-A52F8DC68892}"/>
                    </a:ext>
                  </a:extLst>
                </p:cNvPr>
                <p:cNvSpPr/>
                <p:nvPr/>
              </p:nvSpPr>
              <p:spPr>
                <a:xfrm>
                  <a:off x="3359570" y="1812378"/>
                  <a:ext cx="186227" cy="113696"/>
                </a:xfrm>
                <a:custGeom>
                  <a:avLst/>
                  <a:gdLst>
                    <a:gd name="connsiteX0" fmla="*/ 99781 w 186227"/>
                    <a:gd name="connsiteY0" fmla="*/ 113696 h 113696"/>
                    <a:gd name="connsiteX1" fmla="*/ 6657 w 186227"/>
                    <a:gd name="connsiteY1" fmla="*/ 113696 h 113696"/>
                    <a:gd name="connsiteX2" fmla="*/ 284 w 186227"/>
                    <a:gd name="connsiteY2" fmla="*/ 108948 h 113696"/>
                    <a:gd name="connsiteX3" fmla="*/ 2993 w 186227"/>
                    <a:gd name="connsiteY3" fmla="*/ 101491 h 113696"/>
                    <a:gd name="connsiteX4" fmla="*/ 155980 w 186227"/>
                    <a:gd name="connsiteY4" fmla="*/ 1091 h 113696"/>
                    <a:gd name="connsiteX5" fmla="*/ 163438 w 186227"/>
                    <a:gd name="connsiteY5" fmla="*/ 1194 h 113696"/>
                    <a:gd name="connsiteX6" fmla="*/ 183383 w 186227"/>
                    <a:gd name="connsiteY6" fmla="*/ 15128 h 113696"/>
                    <a:gd name="connsiteX7" fmla="*/ 185035 w 186227"/>
                    <a:gd name="connsiteY7" fmla="*/ 24391 h 113696"/>
                    <a:gd name="connsiteX8" fmla="*/ 175772 w 186227"/>
                    <a:gd name="connsiteY8" fmla="*/ 26043 h 113696"/>
                    <a:gd name="connsiteX9" fmla="*/ 159515 w 186227"/>
                    <a:gd name="connsiteY9" fmla="*/ 14689 h 113696"/>
                    <a:gd name="connsiteX10" fmla="*/ 28900 w 186227"/>
                    <a:gd name="connsiteY10" fmla="*/ 100407 h 113696"/>
                    <a:gd name="connsiteX11" fmla="*/ 99755 w 186227"/>
                    <a:gd name="connsiteY11" fmla="*/ 100407 h 113696"/>
                    <a:gd name="connsiteX12" fmla="*/ 106413 w 186227"/>
                    <a:gd name="connsiteY12" fmla="*/ 107065 h 113696"/>
                    <a:gd name="connsiteX13" fmla="*/ 99781 w 186227"/>
                    <a:gd name="connsiteY13" fmla="*/ 113696 h 113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227" h="113696">
                      <a:moveTo>
                        <a:pt x="99781" y="113696"/>
                      </a:moveTo>
                      <a:lnTo>
                        <a:pt x="6657" y="113696"/>
                      </a:lnTo>
                      <a:cubicBezTo>
                        <a:pt x="3716" y="113696"/>
                        <a:pt x="1135" y="111761"/>
                        <a:pt x="284" y="108948"/>
                      </a:cubicBezTo>
                      <a:cubicBezTo>
                        <a:pt x="-568" y="106136"/>
                        <a:pt x="542" y="103091"/>
                        <a:pt x="2993" y="101491"/>
                      </a:cubicBezTo>
                      <a:lnTo>
                        <a:pt x="155980" y="1091"/>
                      </a:lnTo>
                      <a:cubicBezTo>
                        <a:pt x="158251" y="-406"/>
                        <a:pt x="161193" y="-354"/>
                        <a:pt x="163438" y="1194"/>
                      </a:cubicBezTo>
                      <a:lnTo>
                        <a:pt x="183383" y="15128"/>
                      </a:lnTo>
                      <a:cubicBezTo>
                        <a:pt x="186402" y="17218"/>
                        <a:pt x="187125" y="21372"/>
                        <a:pt x="185035" y="24391"/>
                      </a:cubicBezTo>
                      <a:cubicBezTo>
                        <a:pt x="182945" y="27410"/>
                        <a:pt x="178765" y="28158"/>
                        <a:pt x="175772" y="26043"/>
                      </a:cubicBezTo>
                      <a:lnTo>
                        <a:pt x="159515" y="14689"/>
                      </a:lnTo>
                      <a:lnTo>
                        <a:pt x="28900" y="100407"/>
                      </a:lnTo>
                      <a:lnTo>
                        <a:pt x="99755" y="100407"/>
                      </a:lnTo>
                      <a:cubicBezTo>
                        <a:pt x="103419" y="100407"/>
                        <a:pt x="106413" y="103375"/>
                        <a:pt x="106413" y="107065"/>
                      </a:cubicBezTo>
                      <a:cubicBezTo>
                        <a:pt x="106413" y="110754"/>
                        <a:pt x="103471" y="113696"/>
                        <a:pt x="99781" y="113696"/>
                      </a:cubicBezTo>
                      <a:close/>
                    </a:path>
                  </a:pathLst>
                </a:custGeom>
                <a:grpFill/>
                <a:ln w="2573" cap="flat">
                  <a:noFill/>
                  <a:prstDash val="solid"/>
                  <a:miter/>
                </a:ln>
              </p:spPr>
              <p:txBody>
                <a:bodyPr rtlCol="0" anchor="ctr"/>
                <a:lstStyle/>
                <a:p>
                  <a:endParaRPr lang="en-GB" dirty="0"/>
                </a:p>
              </p:txBody>
            </p:sp>
          </p:grpSp>
          <p:sp>
            <p:nvSpPr>
              <p:cNvPr id="1509" name="Freihandform: Form 1508">
                <a:extLst>
                  <a:ext uri="{FF2B5EF4-FFF2-40B4-BE49-F238E27FC236}">
                    <a16:creationId xmlns:a16="http://schemas.microsoft.com/office/drawing/2014/main" id="{A9498574-B0CA-4C04-A90E-9A77C08F6975}"/>
                  </a:ext>
                </a:extLst>
              </p:cNvPr>
              <p:cNvSpPr/>
              <p:nvPr/>
            </p:nvSpPr>
            <p:spPr>
              <a:xfrm>
                <a:off x="3386173" y="1626758"/>
                <a:ext cx="266056" cy="133041"/>
              </a:xfrm>
              <a:custGeom>
                <a:avLst/>
                <a:gdLst>
                  <a:gd name="connsiteX0" fmla="*/ 259425 w 266056"/>
                  <a:gd name="connsiteY0" fmla="*/ 133015 h 133041"/>
                  <a:gd name="connsiteX1" fmla="*/ 252768 w 266056"/>
                  <a:gd name="connsiteY1" fmla="*/ 126358 h 133041"/>
                  <a:gd name="connsiteX2" fmla="*/ 252768 w 266056"/>
                  <a:gd name="connsiteY2" fmla="*/ 13314 h 133041"/>
                  <a:gd name="connsiteX3" fmla="*/ 13314 w 266056"/>
                  <a:gd name="connsiteY3" fmla="*/ 13314 h 133041"/>
                  <a:gd name="connsiteX4" fmla="*/ 13314 w 266056"/>
                  <a:gd name="connsiteY4" fmla="*/ 126384 h 133041"/>
                  <a:gd name="connsiteX5" fmla="*/ 6657 w 266056"/>
                  <a:gd name="connsiteY5" fmla="*/ 133041 h 133041"/>
                  <a:gd name="connsiteX6" fmla="*/ 0 w 266056"/>
                  <a:gd name="connsiteY6" fmla="*/ 126384 h 133041"/>
                  <a:gd name="connsiteX7" fmla="*/ 0 w 266056"/>
                  <a:gd name="connsiteY7" fmla="*/ 6657 h 133041"/>
                  <a:gd name="connsiteX8" fmla="*/ 6657 w 266056"/>
                  <a:gd name="connsiteY8" fmla="*/ 0 h 133041"/>
                  <a:gd name="connsiteX9" fmla="*/ 259399 w 266056"/>
                  <a:gd name="connsiteY9" fmla="*/ 0 h 133041"/>
                  <a:gd name="connsiteX10" fmla="*/ 266056 w 266056"/>
                  <a:gd name="connsiteY10" fmla="*/ 6657 h 133041"/>
                  <a:gd name="connsiteX11" fmla="*/ 266056 w 266056"/>
                  <a:gd name="connsiteY11" fmla="*/ 126384 h 133041"/>
                  <a:gd name="connsiteX12" fmla="*/ 259425 w 266056"/>
                  <a:gd name="connsiteY12" fmla="*/ 133015 h 133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056" h="133041">
                    <a:moveTo>
                      <a:pt x="259425" y="133015"/>
                    </a:moveTo>
                    <a:cubicBezTo>
                      <a:pt x="255761" y="133015"/>
                      <a:pt x="252768" y="130048"/>
                      <a:pt x="252768" y="126358"/>
                    </a:cubicBezTo>
                    <a:lnTo>
                      <a:pt x="252768" y="13314"/>
                    </a:lnTo>
                    <a:lnTo>
                      <a:pt x="13314" y="13314"/>
                    </a:lnTo>
                    <a:lnTo>
                      <a:pt x="13314" y="126384"/>
                    </a:lnTo>
                    <a:cubicBezTo>
                      <a:pt x="13314" y="130048"/>
                      <a:pt x="10347" y="133041"/>
                      <a:pt x="6657" y="133041"/>
                    </a:cubicBezTo>
                    <a:cubicBezTo>
                      <a:pt x="2993" y="133041"/>
                      <a:pt x="0" y="130074"/>
                      <a:pt x="0" y="126384"/>
                    </a:cubicBezTo>
                    <a:lnTo>
                      <a:pt x="0" y="6657"/>
                    </a:lnTo>
                    <a:cubicBezTo>
                      <a:pt x="0" y="2993"/>
                      <a:pt x="2967" y="0"/>
                      <a:pt x="6657" y="0"/>
                    </a:cubicBezTo>
                    <a:lnTo>
                      <a:pt x="259399" y="0"/>
                    </a:lnTo>
                    <a:cubicBezTo>
                      <a:pt x="263064" y="0"/>
                      <a:pt x="266056" y="2967"/>
                      <a:pt x="266056" y="6657"/>
                    </a:cubicBezTo>
                    <a:lnTo>
                      <a:pt x="266056" y="126384"/>
                    </a:lnTo>
                    <a:cubicBezTo>
                      <a:pt x="266082" y="130048"/>
                      <a:pt x="263089" y="133015"/>
                      <a:pt x="259425" y="133015"/>
                    </a:cubicBezTo>
                    <a:close/>
                  </a:path>
                </a:pathLst>
              </a:custGeom>
              <a:grpFill/>
              <a:ln w="2573" cap="flat">
                <a:noFill/>
                <a:prstDash val="solid"/>
                <a:miter/>
              </a:ln>
            </p:spPr>
            <p:txBody>
              <a:bodyPr rtlCol="0" anchor="ctr"/>
              <a:lstStyle/>
              <a:p>
                <a:endParaRPr lang="en-GB" dirty="0"/>
              </a:p>
            </p:txBody>
          </p:sp>
        </p:grpSp>
      </p:grpSp>
      <p:sp>
        <p:nvSpPr>
          <p:cNvPr id="1524" name="TextBox 1414">
            <a:extLst>
              <a:ext uri="{FF2B5EF4-FFF2-40B4-BE49-F238E27FC236}">
                <a16:creationId xmlns:a16="http://schemas.microsoft.com/office/drawing/2014/main" id="{68B234F2-1C4F-4644-B505-73BAFFA28DCA}"/>
              </a:ext>
            </a:extLst>
          </p:cNvPr>
          <p:cNvSpPr txBox="1"/>
          <p:nvPr/>
        </p:nvSpPr>
        <p:spPr>
          <a:xfrm>
            <a:off x="3669062" y="2077494"/>
            <a:ext cx="522579" cy="215444"/>
          </a:xfrm>
          <a:prstGeom prst="rect">
            <a:avLst/>
          </a:prstGeom>
          <a:noFill/>
          <a:effectLst/>
        </p:spPr>
        <p:txBody>
          <a:bodyPr wrap="none" lIns="0" tIns="0" rIns="0" bIns="0" rtlCol="0" anchor="t" anchorCtr="0">
            <a:spAutoFit/>
          </a:bodyPr>
          <a:lstStyle/>
          <a:p>
            <a:pPr algn="ctr"/>
            <a:r>
              <a:rPr lang="en-GB" sz="700" dirty="0">
                <a:solidFill>
                  <a:schemeClr val="tx2"/>
                </a:solidFill>
              </a:rPr>
              <a:t>Advertising</a:t>
            </a:r>
            <a:br>
              <a:rPr lang="en-GB" sz="700" dirty="0">
                <a:solidFill>
                  <a:schemeClr val="tx2"/>
                </a:solidFill>
              </a:rPr>
            </a:br>
            <a:r>
              <a:rPr lang="en-GB" sz="700" dirty="0">
                <a:solidFill>
                  <a:schemeClr val="tx2"/>
                </a:solidFill>
              </a:rPr>
              <a:t>subscriptions</a:t>
            </a:r>
          </a:p>
        </p:txBody>
      </p:sp>
      <p:grpSp>
        <p:nvGrpSpPr>
          <p:cNvPr id="17" name="Group 16">
            <a:extLst>
              <a:ext uri="{FF2B5EF4-FFF2-40B4-BE49-F238E27FC236}">
                <a16:creationId xmlns:a16="http://schemas.microsoft.com/office/drawing/2014/main" id="{CB90A66B-E163-F90B-5DAD-C3AF20ADB3A6}"/>
              </a:ext>
            </a:extLst>
          </p:cNvPr>
          <p:cNvGrpSpPr/>
          <p:nvPr/>
        </p:nvGrpSpPr>
        <p:grpSpPr>
          <a:xfrm>
            <a:off x="1542173" y="1626716"/>
            <a:ext cx="594623" cy="432000"/>
            <a:chOff x="1542173" y="1626716"/>
            <a:chExt cx="594623" cy="432000"/>
          </a:xfrm>
        </p:grpSpPr>
        <p:grpSp>
          <p:nvGrpSpPr>
            <p:cNvPr id="1526" name="Gruppieren 1525">
              <a:extLst>
                <a:ext uri="{FF2B5EF4-FFF2-40B4-BE49-F238E27FC236}">
                  <a16:creationId xmlns:a16="http://schemas.microsoft.com/office/drawing/2014/main" id="{C3489D4B-42CF-4C06-B663-7B8E9F7E4432}"/>
                </a:ext>
              </a:extLst>
            </p:cNvPr>
            <p:cNvGrpSpPr/>
            <p:nvPr/>
          </p:nvGrpSpPr>
          <p:grpSpPr>
            <a:xfrm>
              <a:off x="1542173" y="1677052"/>
              <a:ext cx="594623" cy="381664"/>
              <a:chOff x="1678062" y="1704074"/>
              <a:chExt cx="490955" cy="315124"/>
            </a:xfrm>
            <a:solidFill>
              <a:schemeClr val="tx2"/>
            </a:solidFill>
          </p:grpSpPr>
          <p:grpSp>
            <p:nvGrpSpPr>
              <p:cNvPr id="1533" name="Grafik 312">
                <a:extLst>
                  <a:ext uri="{FF2B5EF4-FFF2-40B4-BE49-F238E27FC236}">
                    <a16:creationId xmlns:a16="http://schemas.microsoft.com/office/drawing/2014/main" id="{EE2CCD51-A6F6-4AB6-9B71-D8E8A294A9A1}"/>
                  </a:ext>
                </a:extLst>
              </p:cNvPr>
              <p:cNvGrpSpPr/>
              <p:nvPr/>
            </p:nvGrpSpPr>
            <p:grpSpPr>
              <a:xfrm>
                <a:off x="1678062" y="1704074"/>
                <a:ext cx="490955" cy="299358"/>
                <a:chOff x="1678062" y="1704074"/>
                <a:chExt cx="490955" cy="299358"/>
              </a:xfrm>
              <a:grpFill/>
            </p:grpSpPr>
            <p:grpSp>
              <p:nvGrpSpPr>
                <p:cNvPr id="1535" name="Grafik 312">
                  <a:extLst>
                    <a:ext uri="{FF2B5EF4-FFF2-40B4-BE49-F238E27FC236}">
                      <a16:creationId xmlns:a16="http://schemas.microsoft.com/office/drawing/2014/main" id="{7532FA5A-7FD7-4931-89AC-2760C18520F9}"/>
                    </a:ext>
                  </a:extLst>
                </p:cNvPr>
                <p:cNvGrpSpPr/>
                <p:nvPr/>
              </p:nvGrpSpPr>
              <p:grpSpPr>
                <a:xfrm>
                  <a:off x="2053886" y="1704100"/>
                  <a:ext cx="115131" cy="299332"/>
                  <a:chOff x="2053886" y="1704100"/>
                  <a:chExt cx="115131" cy="299332"/>
                </a:xfrm>
                <a:grpFill/>
              </p:grpSpPr>
              <p:sp>
                <p:nvSpPr>
                  <p:cNvPr id="1541" name="Freihandform: Form 1540">
                    <a:extLst>
                      <a:ext uri="{FF2B5EF4-FFF2-40B4-BE49-F238E27FC236}">
                        <a16:creationId xmlns:a16="http://schemas.microsoft.com/office/drawing/2014/main" id="{4837FCD4-6C0B-4735-A276-0FE70207F86F}"/>
                      </a:ext>
                    </a:extLst>
                  </p:cNvPr>
                  <p:cNvSpPr/>
                  <p:nvPr/>
                </p:nvSpPr>
                <p:spPr>
                  <a:xfrm>
                    <a:off x="2053886" y="1945200"/>
                    <a:ext cx="75742" cy="58232"/>
                  </a:xfrm>
                  <a:custGeom>
                    <a:avLst/>
                    <a:gdLst>
                      <a:gd name="connsiteX0" fmla="*/ 30284 w 75742"/>
                      <a:gd name="connsiteY0" fmla="*/ 58233 h 58232"/>
                      <a:gd name="connsiteX1" fmla="*/ 3371 w 75742"/>
                      <a:gd name="connsiteY1" fmla="*/ 50105 h 58232"/>
                      <a:gd name="connsiteX2" fmla="*/ 17 w 75742"/>
                      <a:gd name="connsiteY2" fmla="*/ 43809 h 58232"/>
                      <a:gd name="connsiteX3" fmla="*/ 19343 w 75742"/>
                      <a:gd name="connsiteY3" fmla="*/ 6394 h 58232"/>
                      <a:gd name="connsiteX4" fmla="*/ 71517 w 75742"/>
                      <a:gd name="connsiteY4" fmla="*/ 5026 h 58232"/>
                      <a:gd name="connsiteX5" fmla="*/ 75568 w 75742"/>
                      <a:gd name="connsiteY5" fmla="*/ 12690 h 58232"/>
                      <a:gd name="connsiteX6" fmla="*/ 45147 w 75742"/>
                      <a:gd name="connsiteY6" fmla="*/ 55110 h 58232"/>
                      <a:gd name="connsiteX7" fmla="*/ 30284 w 75742"/>
                      <a:gd name="connsiteY7" fmla="*/ 58233 h 58232"/>
                      <a:gd name="connsiteX8" fmla="*/ 13770 w 75742"/>
                      <a:gd name="connsiteY8" fmla="*/ 40583 h 58232"/>
                      <a:gd name="connsiteX9" fmla="*/ 39779 w 75742"/>
                      <a:gd name="connsiteY9" fmla="*/ 42983 h 58232"/>
                      <a:gd name="connsiteX10" fmla="*/ 60835 w 75742"/>
                      <a:gd name="connsiteY10" fmla="*/ 15632 h 58232"/>
                      <a:gd name="connsiteX11" fmla="*/ 26388 w 75742"/>
                      <a:gd name="connsiteY11" fmla="*/ 17722 h 58232"/>
                      <a:gd name="connsiteX12" fmla="*/ 13770 w 75742"/>
                      <a:gd name="connsiteY12" fmla="*/ 40583 h 5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742" h="58232">
                        <a:moveTo>
                          <a:pt x="30284" y="58233"/>
                        </a:moveTo>
                        <a:cubicBezTo>
                          <a:pt x="21898" y="58233"/>
                          <a:pt x="12893" y="55523"/>
                          <a:pt x="3371" y="50105"/>
                        </a:cubicBezTo>
                        <a:cubicBezTo>
                          <a:pt x="1126" y="48840"/>
                          <a:pt x="-164" y="46363"/>
                          <a:pt x="17" y="43809"/>
                        </a:cubicBezTo>
                        <a:cubicBezTo>
                          <a:pt x="1410" y="26159"/>
                          <a:pt x="7913" y="13567"/>
                          <a:pt x="19343" y="6394"/>
                        </a:cubicBezTo>
                        <a:cubicBezTo>
                          <a:pt x="40528" y="-6869"/>
                          <a:pt x="70279" y="4536"/>
                          <a:pt x="71517" y="5026"/>
                        </a:cubicBezTo>
                        <a:cubicBezTo>
                          <a:pt x="74588" y="6213"/>
                          <a:pt x="76317" y="9490"/>
                          <a:pt x="75568" y="12690"/>
                        </a:cubicBezTo>
                        <a:cubicBezTo>
                          <a:pt x="75285" y="14006"/>
                          <a:pt x="68008" y="45021"/>
                          <a:pt x="45147" y="55110"/>
                        </a:cubicBezTo>
                        <a:cubicBezTo>
                          <a:pt x="40476" y="57200"/>
                          <a:pt x="35496" y="58233"/>
                          <a:pt x="30284" y="58233"/>
                        </a:cubicBezTo>
                        <a:close/>
                        <a:moveTo>
                          <a:pt x="13770" y="40583"/>
                        </a:moveTo>
                        <a:cubicBezTo>
                          <a:pt x="23704" y="45383"/>
                          <a:pt x="32426" y="46208"/>
                          <a:pt x="39779" y="42983"/>
                        </a:cubicBezTo>
                        <a:cubicBezTo>
                          <a:pt x="51494" y="37822"/>
                          <a:pt x="57997" y="23708"/>
                          <a:pt x="60835" y="15632"/>
                        </a:cubicBezTo>
                        <a:cubicBezTo>
                          <a:pt x="52552" y="13464"/>
                          <a:pt x="37225" y="10910"/>
                          <a:pt x="26388" y="17722"/>
                        </a:cubicBezTo>
                        <a:cubicBezTo>
                          <a:pt x="19601" y="21979"/>
                          <a:pt x="15370" y="29643"/>
                          <a:pt x="13770" y="40583"/>
                        </a:cubicBezTo>
                        <a:close/>
                      </a:path>
                    </a:pathLst>
                  </a:custGeom>
                  <a:grpFill/>
                  <a:ln w="2573" cap="flat">
                    <a:noFill/>
                    <a:prstDash val="solid"/>
                    <a:miter/>
                  </a:ln>
                </p:spPr>
                <p:txBody>
                  <a:bodyPr rtlCol="0" anchor="ctr"/>
                  <a:lstStyle/>
                  <a:p>
                    <a:endParaRPr lang="en-GB" dirty="0"/>
                  </a:p>
                </p:txBody>
              </p:sp>
              <p:sp>
                <p:nvSpPr>
                  <p:cNvPr id="1542" name="Freihandform: Form 1541">
                    <a:extLst>
                      <a:ext uri="{FF2B5EF4-FFF2-40B4-BE49-F238E27FC236}">
                        <a16:creationId xmlns:a16="http://schemas.microsoft.com/office/drawing/2014/main" id="{1394F026-EF77-4F22-8B02-ABCC33F3C7B9}"/>
                      </a:ext>
                    </a:extLst>
                  </p:cNvPr>
                  <p:cNvSpPr/>
                  <p:nvPr/>
                </p:nvSpPr>
                <p:spPr>
                  <a:xfrm>
                    <a:off x="2104338" y="1863546"/>
                    <a:ext cx="64679" cy="65263"/>
                  </a:xfrm>
                  <a:custGeom>
                    <a:avLst/>
                    <a:gdLst>
                      <a:gd name="connsiteX0" fmla="*/ 21246 w 64679"/>
                      <a:gd name="connsiteY0" fmla="*/ 65264 h 65263"/>
                      <a:gd name="connsiteX1" fmla="*/ 6977 w 64679"/>
                      <a:gd name="connsiteY1" fmla="*/ 63664 h 65263"/>
                      <a:gd name="connsiteX2" fmla="*/ 1894 w 64679"/>
                      <a:gd name="connsiteY2" fmla="*/ 58658 h 65263"/>
                      <a:gd name="connsiteX3" fmla="*/ 9015 w 64679"/>
                      <a:gd name="connsiteY3" fmla="*/ 17167 h 65263"/>
                      <a:gd name="connsiteX4" fmla="*/ 58325 w 64679"/>
                      <a:gd name="connsiteY4" fmla="*/ 85 h 65263"/>
                      <a:gd name="connsiteX5" fmla="*/ 64518 w 64679"/>
                      <a:gd name="connsiteY5" fmla="*/ 6174 h 65263"/>
                      <a:gd name="connsiteX6" fmla="*/ 48365 w 64679"/>
                      <a:gd name="connsiteY6" fmla="*/ 55794 h 65263"/>
                      <a:gd name="connsiteX7" fmla="*/ 21246 w 64679"/>
                      <a:gd name="connsiteY7" fmla="*/ 65264 h 65263"/>
                      <a:gd name="connsiteX8" fmla="*/ 13995 w 64679"/>
                      <a:gd name="connsiteY8" fmla="*/ 51407 h 65263"/>
                      <a:gd name="connsiteX9" fmla="*/ 39541 w 64679"/>
                      <a:gd name="connsiteY9" fmla="*/ 45782 h 65263"/>
                      <a:gd name="connsiteX10" fmla="*/ 51358 w 64679"/>
                      <a:gd name="connsiteY10" fmla="*/ 13373 h 65263"/>
                      <a:gd name="connsiteX11" fmla="*/ 19104 w 64679"/>
                      <a:gd name="connsiteY11" fmla="*/ 25785 h 65263"/>
                      <a:gd name="connsiteX12" fmla="*/ 13995 w 64679"/>
                      <a:gd name="connsiteY12" fmla="*/ 51407 h 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679" h="65263">
                        <a:moveTo>
                          <a:pt x="21246" y="65264"/>
                        </a:moveTo>
                        <a:cubicBezTo>
                          <a:pt x="16782" y="65264"/>
                          <a:pt x="12034" y="64722"/>
                          <a:pt x="6977" y="63664"/>
                        </a:cubicBezTo>
                        <a:cubicBezTo>
                          <a:pt x="4448" y="63122"/>
                          <a:pt x="2461" y="61187"/>
                          <a:pt x="1894" y="58658"/>
                        </a:cubicBezTo>
                        <a:cubicBezTo>
                          <a:pt x="-2132" y="41396"/>
                          <a:pt x="268" y="27436"/>
                          <a:pt x="9015" y="17167"/>
                        </a:cubicBezTo>
                        <a:cubicBezTo>
                          <a:pt x="25194" y="-1876"/>
                          <a:pt x="56984" y="7"/>
                          <a:pt x="58325" y="85"/>
                        </a:cubicBezTo>
                        <a:cubicBezTo>
                          <a:pt x="61602" y="291"/>
                          <a:pt x="64234" y="2872"/>
                          <a:pt x="64518" y="6174"/>
                        </a:cubicBezTo>
                        <a:cubicBezTo>
                          <a:pt x="64621" y="7516"/>
                          <a:pt x="67098" y="39280"/>
                          <a:pt x="48365" y="55794"/>
                        </a:cubicBezTo>
                        <a:cubicBezTo>
                          <a:pt x="41166" y="62090"/>
                          <a:pt x="32084" y="65264"/>
                          <a:pt x="21246" y="65264"/>
                        </a:cubicBezTo>
                        <a:close/>
                        <a:moveTo>
                          <a:pt x="13995" y="51407"/>
                        </a:moveTo>
                        <a:cubicBezTo>
                          <a:pt x="24936" y="52981"/>
                          <a:pt x="33503" y="51098"/>
                          <a:pt x="39541" y="45782"/>
                        </a:cubicBezTo>
                        <a:cubicBezTo>
                          <a:pt x="48598" y="37783"/>
                          <a:pt x="51049" y="22869"/>
                          <a:pt x="51358" y="13373"/>
                        </a:cubicBezTo>
                        <a:cubicBezTo>
                          <a:pt x="42818" y="13812"/>
                          <a:pt x="27387" y="16005"/>
                          <a:pt x="19104" y="25785"/>
                        </a:cubicBezTo>
                        <a:cubicBezTo>
                          <a:pt x="13918" y="31900"/>
                          <a:pt x="12215" y="40518"/>
                          <a:pt x="13995" y="51407"/>
                        </a:cubicBezTo>
                        <a:close/>
                      </a:path>
                    </a:pathLst>
                  </a:custGeom>
                  <a:grpFill/>
                  <a:ln w="2573" cap="flat">
                    <a:noFill/>
                    <a:prstDash val="solid"/>
                    <a:miter/>
                  </a:ln>
                </p:spPr>
                <p:txBody>
                  <a:bodyPr rtlCol="0" anchor="ctr"/>
                  <a:lstStyle/>
                  <a:p>
                    <a:endParaRPr lang="en-GB" dirty="0"/>
                  </a:p>
                </p:txBody>
              </p:sp>
              <p:sp>
                <p:nvSpPr>
                  <p:cNvPr id="1543" name="Freihandform: Form 1542">
                    <a:extLst>
                      <a:ext uri="{FF2B5EF4-FFF2-40B4-BE49-F238E27FC236}">
                        <a16:creationId xmlns:a16="http://schemas.microsoft.com/office/drawing/2014/main" id="{E93F7725-9A9B-4932-A789-94EE4C6DC78E}"/>
                      </a:ext>
                    </a:extLst>
                  </p:cNvPr>
                  <p:cNvSpPr/>
                  <p:nvPr/>
                </p:nvSpPr>
                <p:spPr>
                  <a:xfrm>
                    <a:off x="2089877" y="1784076"/>
                    <a:ext cx="61674" cy="69104"/>
                  </a:xfrm>
                  <a:custGeom>
                    <a:avLst/>
                    <a:gdLst>
                      <a:gd name="connsiteX0" fmla="*/ 17284 w 61674"/>
                      <a:gd name="connsiteY0" fmla="*/ 69104 h 69104"/>
                      <a:gd name="connsiteX1" fmla="*/ 9389 w 61674"/>
                      <a:gd name="connsiteY1" fmla="*/ 68691 h 69104"/>
                      <a:gd name="connsiteX2" fmla="*/ 3789 w 61674"/>
                      <a:gd name="connsiteY2" fmla="*/ 64253 h 69104"/>
                      <a:gd name="connsiteX3" fmla="*/ 6473 w 61674"/>
                      <a:gd name="connsiteY3" fmla="*/ 22220 h 69104"/>
                      <a:gd name="connsiteX4" fmla="*/ 53718 w 61674"/>
                      <a:gd name="connsiteY4" fmla="*/ 3 h 69104"/>
                      <a:gd name="connsiteX5" fmla="*/ 60505 w 61674"/>
                      <a:gd name="connsiteY5" fmla="*/ 5396 h 69104"/>
                      <a:gd name="connsiteX6" fmla="*/ 49693 w 61674"/>
                      <a:gd name="connsiteY6" fmla="*/ 56461 h 69104"/>
                      <a:gd name="connsiteX7" fmla="*/ 17284 w 61674"/>
                      <a:gd name="connsiteY7" fmla="*/ 69104 h 69104"/>
                      <a:gd name="connsiteX8" fmla="*/ 15091 w 61674"/>
                      <a:gd name="connsiteY8" fmla="*/ 55764 h 69104"/>
                      <a:gd name="connsiteX9" fmla="*/ 39888 w 61674"/>
                      <a:gd name="connsiteY9" fmla="*/ 47481 h 69104"/>
                      <a:gd name="connsiteX10" fmla="*/ 48197 w 61674"/>
                      <a:gd name="connsiteY10" fmla="*/ 14015 h 69104"/>
                      <a:gd name="connsiteX11" fmla="*/ 17439 w 61674"/>
                      <a:gd name="connsiteY11" fmla="*/ 29780 h 69104"/>
                      <a:gd name="connsiteX12" fmla="*/ 15091 w 61674"/>
                      <a:gd name="connsiteY12" fmla="*/ 55764 h 6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674" h="69104">
                        <a:moveTo>
                          <a:pt x="17284" y="69104"/>
                        </a:moveTo>
                        <a:cubicBezTo>
                          <a:pt x="14756" y="69104"/>
                          <a:pt x="12124" y="68975"/>
                          <a:pt x="9389" y="68691"/>
                        </a:cubicBezTo>
                        <a:cubicBezTo>
                          <a:pt x="6834" y="68433"/>
                          <a:pt x="4641" y="66705"/>
                          <a:pt x="3789" y="64253"/>
                        </a:cubicBezTo>
                        <a:cubicBezTo>
                          <a:pt x="-2042" y="47507"/>
                          <a:pt x="-1139" y="33393"/>
                          <a:pt x="6473" y="22220"/>
                        </a:cubicBezTo>
                        <a:cubicBezTo>
                          <a:pt x="20536" y="1577"/>
                          <a:pt x="52351" y="55"/>
                          <a:pt x="53718" y="3"/>
                        </a:cubicBezTo>
                        <a:cubicBezTo>
                          <a:pt x="56944" y="-100"/>
                          <a:pt x="59885" y="2145"/>
                          <a:pt x="60505" y="5396"/>
                        </a:cubicBezTo>
                        <a:cubicBezTo>
                          <a:pt x="60763" y="6712"/>
                          <a:pt x="66568" y="38037"/>
                          <a:pt x="49693" y="56461"/>
                        </a:cubicBezTo>
                        <a:cubicBezTo>
                          <a:pt x="42004" y="64873"/>
                          <a:pt x="31115" y="69104"/>
                          <a:pt x="17284" y="69104"/>
                        </a:cubicBezTo>
                        <a:close/>
                        <a:moveTo>
                          <a:pt x="15091" y="55764"/>
                        </a:moveTo>
                        <a:cubicBezTo>
                          <a:pt x="26161" y="56203"/>
                          <a:pt x="34469" y="53390"/>
                          <a:pt x="39888" y="47481"/>
                        </a:cubicBezTo>
                        <a:cubicBezTo>
                          <a:pt x="48042" y="38579"/>
                          <a:pt x="48893" y="23484"/>
                          <a:pt x="48197" y="14015"/>
                        </a:cubicBezTo>
                        <a:cubicBezTo>
                          <a:pt x="39733" y="15356"/>
                          <a:pt x="24638" y="19149"/>
                          <a:pt x="17439" y="29780"/>
                        </a:cubicBezTo>
                        <a:cubicBezTo>
                          <a:pt x="12949" y="36386"/>
                          <a:pt x="12149" y="45107"/>
                          <a:pt x="15091" y="55764"/>
                        </a:cubicBezTo>
                        <a:close/>
                      </a:path>
                    </a:pathLst>
                  </a:custGeom>
                  <a:grpFill/>
                  <a:ln w="2573" cap="flat">
                    <a:noFill/>
                    <a:prstDash val="solid"/>
                    <a:miter/>
                  </a:ln>
                </p:spPr>
                <p:txBody>
                  <a:bodyPr rtlCol="0" anchor="ctr"/>
                  <a:lstStyle/>
                  <a:p>
                    <a:endParaRPr lang="en-GB" dirty="0"/>
                  </a:p>
                </p:txBody>
              </p:sp>
              <p:sp>
                <p:nvSpPr>
                  <p:cNvPr id="1544" name="Freihandform: Form 1543">
                    <a:extLst>
                      <a:ext uri="{FF2B5EF4-FFF2-40B4-BE49-F238E27FC236}">
                        <a16:creationId xmlns:a16="http://schemas.microsoft.com/office/drawing/2014/main" id="{42019529-2BFB-4E6B-8C19-4EBFD453F024}"/>
                      </a:ext>
                    </a:extLst>
                  </p:cNvPr>
                  <p:cNvSpPr/>
                  <p:nvPr/>
                </p:nvSpPr>
                <p:spPr>
                  <a:xfrm>
                    <a:off x="2058270" y="1704100"/>
                    <a:ext cx="56908" cy="79153"/>
                  </a:xfrm>
                  <a:custGeom>
                    <a:avLst/>
                    <a:gdLst>
                      <a:gd name="connsiteX0" fmla="*/ 16792 w 56908"/>
                      <a:gd name="connsiteY0" fmla="*/ 79154 h 79153"/>
                      <a:gd name="connsiteX1" fmla="*/ 11425 w 56908"/>
                      <a:gd name="connsiteY1" fmla="*/ 76445 h 79153"/>
                      <a:gd name="connsiteX2" fmla="*/ 1646 w 56908"/>
                      <a:gd name="connsiteY2" fmla="*/ 35495 h 79153"/>
                      <a:gd name="connsiteX3" fmla="*/ 40273 w 56908"/>
                      <a:gd name="connsiteY3" fmla="*/ 377 h 79153"/>
                      <a:gd name="connsiteX4" fmla="*/ 48349 w 56908"/>
                      <a:gd name="connsiteY4" fmla="*/ 3525 h 79153"/>
                      <a:gd name="connsiteX5" fmla="*/ 53020 w 56908"/>
                      <a:gd name="connsiteY5" fmla="*/ 55518 h 79153"/>
                      <a:gd name="connsiteX6" fmla="*/ 18082 w 56908"/>
                      <a:gd name="connsiteY6" fmla="*/ 79051 h 79153"/>
                      <a:gd name="connsiteX7" fmla="*/ 16792 w 56908"/>
                      <a:gd name="connsiteY7" fmla="*/ 79154 h 79153"/>
                      <a:gd name="connsiteX8" fmla="*/ 39060 w 56908"/>
                      <a:gd name="connsiteY8" fmla="*/ 15368 h 79153"/>
                      <a:gd name="connsiteX9" fmla="*/ 14341 w 56908"/>
                      <a:gd name="connsiteY9" fmla="*/ 39443 h 79153"/>
                      <a:gd name="connsiteX10" fmla="*/ 19708 w 56908"/>
                      <a:gd name="connsiteY10" fmla="*/ 65014 h 79153"/>
                      <a:gd name="connsiteX11" fmla="*/ 40970 w 56908"/>
                      <a:gd name="connsiteY11" fmla="*/ 49842 h 79153"/>
                      <a:gd name="connsiteX12" fmla="*/ 39060 w 56908"/>
                      <a:gd name="connsiteY12" fmla="*/ 15368 h 7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08" h="79153">
                        <a:moveTo>
                          <a:pt x="16792" y="79154"/>
                        </a:moveTo>
                        <a:cubicBezTo>
                          <a:pt x="14702" y="79154"/>
                          <a:pt x="12689" y="78173"/>
                          <a:pt x="11425" y="76445"/>
                        </a:cubicBezTo>
                        <a:cubicBezTo>
                          <a:pt x="949" y="62150"/>
                          <a:pt x="-2354" y="48371"/>
                          <a:pt x="1646" y="35495"/>
                        </a:cubicBezTo>
                        <a:cubicBezTo>
                          <a:pt x="9025" y="11627"/>
                          <a:pt x="38983" y="841"/>
                          <a:pt x="40273" y="377"/>
                        </a:cubicBezTo>
                        <a:cubicBezTo>
                          <a:pt x="43369" y="-707"/>
                          <a:pt x="46801" y="609"/>
                          <a:pt x="48349" y="3525"/>
                        </a:cubicBezTo>
                        <a:cubicBezTo>
                          <a:pt x="48994" y="4712"/>
                          <a:pt x="63728" y="32940"/>
                          <a:pt x="53020" y="55518"/>
                        </a:cubicBezTo>
                        <a:cubicBezTo>
                          <a:pt x="47214" y="67697"/>
                          <a:pt x="35474" y="75619"/>
                          <a:pt x="18082" y="79051"/>
                        </a:cubicBezTo>
                        <a:cubicBezTo>
                          <a:pt x="17644" y="79102"/>
                          <a:pt x="17205" y="79154"/>
                          <a:pt x="16792" y="79154"/>
                        </a:cubicBezTo>
                        <a:close/>
                        <a:moveTo>
                          <a:pt x="39060" y="15368"/>
                        </a:moveTo>
                        <a:cubicBezTo>
                          <a:pt x="31371" y="19136"/>
                          <a:pt x="18082" y="27212"/>
                          <a:pt x="14341" y="39443"/>
                        </a:cubicBezTo>
                        <a:cubicBezTo>
                          <a:pt x="11993" y="47106"/>
                          <a:pt x="13799" y="55699"/>
                          <a:pt x="19708" y="65014"/>
                        </a:cubicBezTo>
                        <a:cubicBezTo>
                          <a:pt x="30365" y="62175"/>
                          <a:pt x="37512" y="57066"/>
                          <a:pt x="40970" y="49842"/>
                        </a:cubicBezTo>
                        <a:cubicBezTo>
                          <a:pt x="46492" y="38282"/>
                          <a:pt x="42182" y="23342"/>
                          <a:pt x="39060" y="15368"/>
                        </a:cubicBezTo>
                        <a:close/>
                      </a:path>
                    </a:pathLst>
                  </a:custGeom>
                  <a:grpFill/>
                  <a:ln w="2573" cap="flat">
                    <a:noFill/>
                    <a:prstDash val="solid"/>
                    <a:miter/>
                  </a:ln>
                </p:spPr>
                <p:txBody>
                  <a:bodyPr rtlCol="0" anchor="ctr"/>
                  <a:lstStyle/>
                  <a:p>
                    <a:endParaRPr lang="en-GB" dirty="0"/>
                  </a:p>
                </p:txBody>
              </p:sp>
            </p:grpSp>
            <p:grpSp>
              <p:nvGrpSpPr>
                <p:cNvPr id="1536" name="Grafik 312">
                  <a:extLst>
                    <a:ext uri="{FF2B5EF4-FFF2-40B4-BE49-F238E27FC236}">
                      <a16:creationId xmlns:a16="http://schemas.microsoft.com/office/drawing/2014/main" id="{45822080-A062-4BC4-B0CB-0F94A96C2697}"/>
                    </a:ext>
                  </a:extLst>
                </p:cNvPr>
                <p:cNvGrpSpPr/>
                <p:nvPr/>
              </p:nvGrpSpPr>
              <p:grpSpPr>
                <a:xfrm>
                  <a:off x="1678062" y="1704074"/>
                  <a:ext cx="115069" cy="299358"/>
                  <a:chOff x="1678062" y="1704074"/>
                  <a:chExt cx="115069" cy="299358"/>
                </a:xfrm>
                <a:grpFill/>
              </p:grpSpPr>
              <p:sp>
                <p:nvSpPr>
                  <p:cNvPr id="1537" name="Freihandform: Form 1536">
                    <a:extLst>
                      <a:ext uri="{FF2B5EF4-FFF2-40B4-BE49-F238E27FC236}">
                        <a16:creationId xmlns:a16="http://schemas.microsoft.com/office/drawing/2014/main" id="{B092D884-0632-47A5-B4C1-FF4FD16A455F}"/>
                      </a:ext>
                    </a:extLst>
                  </p:cNvPr>
                  <p:cNvSpPr/>
                  <p:nvPr/>
                </p:nvSpPr>
                <p:spPr>
                  <a:xfrm>
                    <a:off x="1717395" y="1945200"/>
                    <a:ext cx="75736" cy="58232"/>
                  </a:xfrm>
                  <a:custGeom>
                    <a:avLst/>
                    <a:gdLst>
                      <a:gd name="connsiteX0" fmla="*/ 45500 w 75736"/>
                      <a:gd name="connsiteY0" fmla="*/ 58233 h 58232"/>
                      <a:gd name="connsiteX1" fmla="*/ 30585 w 75736"/>
                      <a:gd name="connsiteY1" fmla="*/ 55110 h 58232"/>
                      <a:gd name="connsiteX2" fmla="*/ 164 w 75736"/>
                      <a:gd name="connsiteY2" fmla="*/ 12690 h 58232"/>
                      <a:gd name="connsiteX3" fmla="*/ 4215 w 75736"/>
                      <a:gd name="connsiteY3" fmla="*/ 5026 h 58232"/>
                      <a:gd name="connsiteX4" fmla="*/ 56389 w 75736"/>
                      <a:gd name="connsiteY4" fmla="*/ 6394 h 58232"/>
                      <a:gd name="connsiteX5" fmla="*/ 75715 w 75736"/>
                      <a:gd name="connsiteY5" fmla="*/ 43809 h 58232"/>
                      <a:gd name="connsiteX6" fmla="*/ 72361 w 75736"/>
                      <a:gd name="connsiteY6" fmla="*/ 50105 h 58232"/>
                      <a:gd name="connsiteX7" fmla="*/ 45500 w 75736"/>
                      <a:gd name="connsiteY7" fmla="*/ 58233 h 58232"/>
                      <a:gd name="connsiteX8" fmla="*/ 14923 w 75736"/>
                      <a:gd name="connsiteY8" fmla="*/ 15580 h 58232"/>
                      <a:gd name="connsiteX9" fmla="*/ 36004 w 75736"/>
                      <a:gd name="connsiteY9" fmla="*/ 42957 h 58232"/>
                      <a:gd name="connsiteX10" fmla="*/ 62014 w 75736"/>
                      <a:gd name="connsiteY10" fmla="*/ 40557 h 58232"/>
                      <a:gd name="connsiteX11" fmla="*/ 49370 w 75736"/>
                      <a:gd name="connsiteY11" fmla="*/ 17670 h 58232"/>
                      <a:gd name="connsiteX12" fmla="*/ 14923 w 75736"/>
                      <a:gd name="connsiteY12" fmla="*/ 15580 h 5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736" h="58232">
                        <a:moveTo>
                          <a:pt x="45500" y="58233"/>
                        </a:moveTo>
                        <a:cubicBezTo>
                          <a:pt x="40287" y="58233"/>
                          <a:pt x="35307" y="57200"/>
                          <a:pt x="30585" y="55110"/>
                        </a:cubicBezTo>
                        <a:cubicBezTo>
                          <a:pt x="7724" y="45021"/>
                          <a:pt x="473" y="14006"/>
                          <a:pt x="164" y="12690"/>
                        </a:cubicBezTo>
                        <a:cubicBezTo>
                          <a:pt x="-559" y="9490"/>
                          <a:pt x="1170" y="6239"/>
                          <a:pt x="4215" y="5026"/>
                        </a:cubicBezTo>
                        <a:cubicBezTo>
                          <a:pt x="5453" y="4536"/>
                          <a:pt x="35230" y="-6869"/>
                          <a:pt x="56389" y="6394"/>
                        </a:cubicBezTo>
                        <a:cubicBezTo>
                          <a:pt x="67820" y="13567"/>
                          <a:pt x="74322" y="26133"/>
                          <a:pt x="75715" y="43809"/>
                        </a:cubicBezTo>
                        <a:cubicBezTo>
                          <a:pt x="75922" y="46389"/>
                          <a:pt x="74606" y="48840"/>
                          <a:pt x="72361" y="50105"/>
                        </a:cubicBezTo>
                        <a:cubicBezTo>
                          <a:pt x="62891" y="55523"/>
                          <a:pt x="53886" y="58233"/>
                          <a:pt x="45500" y="58233"/>
                        </a:cubicBezTo>
                        <a:close/>
                        <a:moveTo>
                          <a:pt x="14923" y="15580"/>
                        </a:moveTo>
                        <a:cubicBezTo>
                          <a:pt x="17761" y="23656"/>
                          <a:pt x="24264" y="37796"/>
                          <a:pt x="36004" y="42957"/>
                        </a:cubicBezTo>
                        <a:cubicBezTo>
                          <a:pt x="43358" y="46182"/>
                          <a:pt x="52080" y="45383"/>
                          <a:pt x="62014" y="40557"/>
                        </a:cubicBezTo>
                        <a:cubicBezTo>
                          <a:pt x="60414" y="29617"/>
                          <a:pt x="56182" y="21927"/>
                          <a:pt x="49370" y="17670"/>
                        </a:cubicBezTo>
                        <a:cubicBezTo>
                          <a:pt x="39126" y="11271"/>
                          <a:pt x="24109" y="13180"/>
                          <a:pt x="14923" y="15580"/>
                        </a:cubicBezTo>
                        <a:close/>
                      </a:path>
                    </a:pathLst>
                  </a:custGeom>
                  <a:grpFill/>
                  <a:ln w="2573" cap="flat">
                    <a:noFill/>
                    <a:prstDash val="solid"/>
                    <a:miter/>
                  </a:ln>
                </p:spPr>
                <p:txBody>
                  <a:bodyPr rtlCol="0" anchor="ctr"/>
                  <a:lstStyle/>
                  <a:p>
                    <a:endParaRPr lang="en-GB" dirty="0"/>
                  </a:p>
                </p:txBody>
              </p:sp>
              <p:sp>
                <p:nvSpPr>
                  <p:cNvPr id="1538" name="Freihandform: Form 1537">
                    <a:extLst>
                      <a:ext uri="{FF2B5EF4-FFF2-40B4-BE49-F238E27FC236}">
                        <a16:creationId xmlns:a16="http://schemas.microsoft.com/office/drawing/2014/main" id="{23E4676A-CE75-4FA0-896B-8B0E39113828}"/>
                      </a:ext>
                    </a:extLst>
                  </p:cNvPr>
                  <p:cNvSpPr/>
                  <p:nvPr/>
                </p:nvSpPr>
                <p:spPr>
                  <a:xfrm>
                    <a:off x="1678062" y="1863529"/>
                    <a:ext cx="64673" cy="65280"/>
                  </a:xfrm>
                  <a:custGeom>
                    <a:avLst/>
                    <a:gdLst>
                      <a:gd name="connsiteX0" fmla="*/ 43418 w 64673"/>
                      <a:gd name="connsiteY0" fmla="*/ 65280 h 65280"/>
                      <a:gd name="connsiteX1" fmla="*/ 16325 w 64673"/>
                      <a:gd name="connsiteY1" fmla="*/ 55785 h 65280"/>
                      <a:gd name="connsiteX2" fmla="*/ 172 w 64673"/>
                      <a:gd name="connsiteY2" fmla="*/ 6165 h 65280"/>
                      <a:gd name="connsiteX3" fmla="*/ 6365 w 64673"/>
                      <a:gd name="connsiteY3" fmla="*/ 76 h 65280"/>
                      <a:gd name="connsiteX4" fmla="*/ 55675 w 64673"/>
                      <a:gd name="connsiteY4" fmla="*/ 17157 h 65280"/>
                      <a:gd name="connsiteX5" fmla="*/ 62796 w 64673"/>
                      <a:gd name="connsiteY5" fmla="*/ 58649 h 65280"/>
                      <a:gd name="connsiteX6" fmla="*/ 57713 w 64673"/>
                      <a:gd name="connsiteY6" fmla="*/ 63655 h 65280"/>
                      <a:gd name="connsiteX7" fmla="*/ 43418 w 64673"/>
                      <a:gd name="connsiteY7" fmla="*/ 65280 h 65280"/>
                      <a:gd name="connsiteX8" fmla="*/ 56294 w 64673"/>
                      <a:gd name="connsiteY8" fmla="*/ 57152 h 65280"/>
                      <a:gd name="connsiteX9" fmla="*/ 56371 w 64673"/>
                      <a:gd name="connsiteY9" fmla="*/ 57152 h 65280"/>
                      <a:gd name="connsiteX10" fmla="*/ 56294 w 64673"/>
                      <a:gd name="connsiteY10" fmla="*/ 57152 h 65280"/>
                      <a:gd name="connsiteX11" fmla="*/ 13332 w 64673"/>
                      <a:gd name="connsiteY11" fmla="*/ 13338 h 65280"/>
                      <a:gd name="connsiteX12" fmla="*/ 25150 w 64673"/>
                      <a:gd name="connsiteY12" fmla="*/ 45825 h 65280"/>
                      <a:gd name="connsiteX13" fmla="*/ 50669 w 64673"/>
                      <a:gd name="connsiteY13" fmla="*/ 51424 h 65280"/>
                      <a:gd name="connsiteX14" fmla="*/ 45534 w 64673"/>
                      <a:gd name="connsiteY14" fmla="*/ 25776 h 65280"/>
                      <a:gd name="connsiteX15" fmla="*/ 13332 w 64673"/>
                      <a:gd name="connsiteY15" fmla="*/ 13338 h 6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73" h="65280">
                        <a:moveTo>
                          <a:pt x="43418" y="65280"/>
                        </a:moveTo>
                        <a:cubicBezTo>
                          <a:pt x="32581" y="65280"/>
                          <a:pt x="23498" y="62106"/>
                          <a:pt x="16325" y="55785"/>
                        </a:cubicBezTo>
                        <a:cubicBezTo>
                          <a:pt x="-2408" y="39271"/>
                          <a:pt x="43" y="7507"/>
                          <a:pt x="172" y="6165"/>
                        </a:cubicBezTo>
                        <a:cubicBezTo>
                          <a:pt x="456" y="2888"/>
                          <a:pt x="3088" y="308"/>
                          <a:pt x="6365" y="76"/>
                        </a:cubicBezTo>
                        <a:cubicBezTo>
                          <a:pt x="7732" y="24"/>
                          <a:pt x="39522" y="-1886"/>
                          <a:pt x="55675" y="17157"/>
                        </a:cubicBezTo>
                        <a:cubicBezTo>
                          <a:pt x="64396" y="27453"/>
                          <a:pt x="66796" y="41412"/>
                          <a:pt x="62796" y="58649"/>
                        </a:cubicBezTo>
                        <a:cubicBezTo>
                          <a:pt x="62203" y="61152"/>
                          <a:pt x="60216" y="63113"/>
                          <a:pt x="57713" y="63655"/>
                        </a:cubicBezTo>
                        <a:cubicBezTo>
                          <a:pt x="52630" y="64738"/>
                          <a:pt x="47882" y="65280"/>
                          <a:pt x="43418" y="65280"/>
                        </a:cubicBezTo>
                        <a:close/>
                        <a:moveTo>
                          <a:pt x="56294" y="57152"/>
                        </a:moveTo>
                        <a:lnTo>
                          <a:pt x="56371" y="57152"/>
                        </a:lnTo>
                        <a:lnTo>
                          <a:pt x="56294" y="57152"/>
                        </a:lnTo>
                        <a:close/>
                        <a:moveTo>
                          <a:pt x="13332" y="13338"/>
                        </a:moveTo>
                        <a:cubicBezTo>
                          <a:pt x="13590" y="21879"/>
                          <a:pt x="15499" y="37335"/>
                          <a:pt x="25150" y="45825"/>
                        </a:cubicBezTo>
                        <a:cubicBezTo>
                          <a:pt x="31162" y="51114"/>
                          <a:pt x="39728" y="52998"/>
                          <a:pt x="50669" y="51424"/>
                        </a:cubicBezTo>
                        <a:cubicBezTo>
                          <a:pt x="52449" y="40509"/>
                          <a:pt x="50721" y="31917"/>
                          <a:pt x="45534" y="25776"/>
                        </a:cubicBezTo>
                        <a:cubicBezTo>
                          <a:pt x="37716" y="16564"/>
                          <a:pt x="22827" y="13854"/>
                          <a:pt x="13332" y="13338"/>
                        </a:cubicBezTo>
                        <a:close/>
                      </a:path>
                    </a:pathLst>
                  </a:custGeom>
                  <a:grpFill/>
                  <a:ln w="2573" cap="flat">
                    <a:noFill/>
                    <a:prstDash val="solid"/>
                    <a:miter/>
                  </a:ln>
                </p:spPr>
                <p:txBody>
                  <a:bodyPr rtlCol="0" anchor="ctr"/>
                  <a:lstStyle/>
                  <a:p>
                    <a:endParaRPr lang="en-GB" dirty="0"/>
                  </a:p>
                </p:txBody>
              </p:sp>
              <p:sp>
                <p:nvSpPr>
                  <p:cNvPr id="1539" name="Freihandform: Form 1538">
                    <a:extLst>
                      <a:ext uri="{FF2B5EF4-FFF2-40B4-BE49-F238E27FC236}">
                        <a16:creationId xmlns:a16="http://schemas.microsoft.com/office/drawing/2014/main" id="{8DF3CA62-240D-452F-91D0-F412EC1A55F6}"/>
                      </a:ext>
                    </a:extLst>
                  </p:cNvPr>
                  <p:cNvSpPr/>
                  <p:nvPr/>
                </p:nvSpPr>
                <p:spPr>
                  <a:xfrm>
                    <a:off x="1695514" y="1784078"/>
                    <a:ext cx="61655" cy="69102"/>
                  </a:xfrm>
                  <a:custGeom>
                    <a:avLst/>
                    <a:gdLst>
                      <a:gd name="connsiteX0" fmla="*/ 44390 w 61655"/>
                      <a:gd name="connsiteY0" fmla="*/ 69103 h 69102"/>
                      <a:gd name="connsiteX1" fmla="*/ 11981 w 61655"/>
                      <a:gd name="connsiteY1" fmla="*/ 56459 h 69102"/>
                      <a:gd name="connsiteX2" fmla="*/ 1170 w 61655"/>
                      <a:gd name="connsiteY2" fmla="*/ 5395 h 69102"/>
                      <a:gd name="connsiteX3" fmla="*/ 7956 w 61655"/>
                      <a:gd name="connsiteY3" fmla="*/ 2 h 69102"/>
                      <a:gd name="connsiteX4" fmla="*/ 55202 w 61655"/>
                      <a:gd name="connsiteY4" fmla="*/ 22218 h 69102"/>
                      <a:gd name="connsiteX5" fmla="*/ 57885 w 61655"/>
                      <a:gd name="connsiteY5" fmla="*/ 64252 h 69102"/>
                      <a:gd name="connsiteX6" fmla="*/ 52286 w 61655"/>
                      <a:gd name="connsiteY6" fmla="*/ 68690 h 69102"/>
                      <a:gd name="connsiteX7" fmla="*/ 44390 w 61655"/>
                      <a:gd name="connsiteY7" fmla="*/ 69103 h 69102"/>
                      <a:gd name="connsiteX8" fmla="*/ 51589 w 61655"/>
                      <a:gd name="connsiteY8" fmla="*/ 62059 h 69102"/>
                      <a:gd name="connsiteX9" fmla="*/ 51641 w 61655"/>
                      <a:gd name="connsiteY9" fmla="*/ 62059 h 69102"/>
                      <a:gd name="connsiteX10" fmla="*/ 51589 w 61655"/>
                      <a:gd name="connsiteY10" fmla="*/ 62059 h 69102"/>
                      <a:gd name="connsiteX11" fmla="*/ 13504 w 61655"/>
                      <a:gd name="connsiteY11" fmla="*/ 13987 h 69102"/>
                      <a:gd name="connsiteX12" fmla="*/ 21813 w 61655"/>
                      <a:gd name="connsiteY12" fmla="*/ 47480 h 69102"/>
                      <a:gd name="connsiteX13" fmla="*/ 46584 w 61655"/>
                      <a:gd name="connsiteY13" fmla="*/ 55737 h 69102"/>
                      <a:gd name="connsiteX14" fmla="*/ 44210 w 61655"/>
                      <a:gd name="connsiteY14" fmla="*/ 29727 h 69102"/>
                      <a:gd name="connsiteX15" fmla="*/ 13504 w 61655"/>
                      <a:gd name="connsiteY15" fmla="*/ 13987 h 6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655" h="69102">
                        <a:moveTo>
                          <a:pt x="44390" y="69103"/>
                        </a:moveTo>
                        <a:cubicBezTo>
                          <a:pt x="30560" y="69103"/>
                          <a:pt x="19697" y="64871"/>
                          <a:pt x="11981" y="56459"/>
                        </a:cubicBezTo>
                        <a:cubicBezTo>
                          <a:pt x="-4894" y="38036"/>
                          <a:pt x="912" y="6737"/>
                          <a:pt x="1170" y="5395"/>
                        </a:cubicBezTo>
                        <a:cubicBezTo>
                          <a:pt x="1789" y="2169"/>
                          <a:pt x="4731" y="-75"/>
                          <a:pt x="7956" y="2"/>
                        </a:cubicBezTo>
                        <a:cubicBezTo>
                          <a:pt x="9298" y="54"/>
                          <a:pt x="41113" y="1576"/>
                          <a:pt x="55202" y="22218"/>
                        </a:cubicBezTo>
                        <a:cubicBezTo>
                          <a:pt x="62788" y="33365"/>
                          <a:pt x="63691" y="47506"/>
                          <a:pt x="57885" y="64252"/>
                        </a:cubicBezTo>
                        <a:cubicBezTo>
                          <a:pt x="57034" y="66677"/>
                          <a:pt x="54866" y="68406"/>
                          <a:pt x="52286" y="68690"/>
                        </a:cubicBezTo>
                        <a:cubicBezTo>
                          <a:pt x="49551" y="68948"/>
                          <a:pt x="46919" y="69103"/>
                          <a:pt x="44390" y="69103"/>
                        </a:cubicBezTo>
                        <a:close/>
                        <a:moveTo>
                          <a:pt x="51589" y="62059"/>
                        </a:moveTo>
                        <a:lnTo>
                          <a:pt x="51641" y="62059"/>
                        </a:lnTo>
                        <a:lnTo>
                          <a:pt x="51589" y="62059"/>
                        </a:lnTo>
                        <a:close/>
                        <a:moveTo>
                          <a:pt x="13504" y="13987"/>
                        </a:moveTo>
                        <a:cubicBezTo>
                          <a:pt x="12859" y="22528"/>
                          <a:pt x="13143" y="38062"/>
                          <a:pt x="21813" y="47480"/>
                        </a:cubicBezTo>
                        <a:cubicBezTo>
                          <a:pt x="27231" y="53389"/>
                          <a:pt x="35514" y="56227"/>
                          <a:pt x="46584" y="55737"/>
                        </a:cubicBezTo>
                        <a:cubicBezTo>
                          <a:pt x="49499" y="45106"/>
                          <a:pt x="48725" y="36359"/>
                          <a:pt x="44210" y="29727"/>
                        </a:cubicBezTo>
                        <a:cubicBezTo>
                          <a:pt x="37011" y="19148"/>
                          <a:pt x="21967" y="15329"/>
                          <a:pt x="13504" y="13987"/>
                        </a:cubicBezTo>
                        <a:close/>
                      </a:path>
                    </a:pathLst>
                  </a:custGeom>
                  <a:grpFill/>
                  <a:ln w="2573" cap="flat">
                    <a:noFill/>
                    <a:prstDash val="solid"/>
                    <a:miter/>
                  </a:ln>
                </p:spPr>
                <p:txBody>
                  <a:bodyPr rtlCol="0" anchor="ctr"/>
                  <a:lstStyle/>
                  <a:p>
                    <a:endParaRPr lang="en-GB" dirty="0"/>
                  </a:p>
                </p:txBody>
              </p:sp>
              <p:sp>
                <p:nvSpPr>
                  <p:cNvPr id="1540" name="Freihandform: Form 1539">
                    <a:extLst>
                      <a:ext uri="{FF2B5EF4-FFF2-40B4-BE49-F238E27FC236}">
                        <a16:creationId xmlns:a16="http://schemas.microsoft.com/office/drawing/2014/main" id="{59606D25-693D-4B3E-B15C-9D7A6EE571CA}"/>
                      </a:ext>
                    </a:extLst>
                  </p:cNvPr>
                  <p:cNvSpPr/>
                  <p:nvPr/>
                </p:nvSpPr>
                <p:spPr>
                  <a:xfrm>
                    <a:off x="1731876" y="1704074"/>
                    <a:ext cx="56908" cy="79179"/>
                  </a:xfrm>
                  <a:custGeom>
                    <a:avLst/>
                    <a:gdLst>
                      <a:gd name="connsiteX0" fmla="*/ 40127 w 56908"/>
                      <a:gd name="connsiteY0" fmla="*/ 79180 h 79179"/>
                      <a:gd name="connsiteX1" fmla="*/ 38837 w 56908"/>
                      <a:gd name="connsiteY1" fmla="*/ 79051 h 79179"/>
                      <a:gd name="connsiteX2" fmla="*/ 3900 w 56908"/>
                      <a:gd name="connsiteY2" fmla="*/ 55518 h 79179"/>
                      <a:gd name="connsiteX3" fmla="*/ 8570 w 56908"/>
                      <a:gd name="connsiteY3" fmla="*/ 3525 h 79179"/>
                      <a:gd name="connsiteX4" fmla="*/ 16647 w 56908"/>
                      <a:gd name="connsiteY4" fmla="*/ 377 h 79179"/>
                      <a:gd name="connsiteX5" fmla="*/ 55274 w 56908"/>
                      <a:gd name="connsiteY5" fmla="*/ 35495 h 79179"/>
                      <a:gd name="connsiteX6" fmla="*/ 45495 w 56908"/>
                      <a:gd name="connsiteY6" fmla="*/ 76445 h 79179"/>
                      <a:gd name="connsiteX7" fmla="*/ 40127 w 56908"/>
                      <a:gd name="connsiteY7" fmla="*/ 79180 h 79179"/>
                      <a:gd name="connsiteX8" fmla="*/ 17859 w 56908"/>
                      <a:gd name="connsiteY8" fmla="*/ 15368 h 79179"/>
                      <a:gd name="connsiteX9" fmla="*/ 15950 w 56908"/>
                      <a:gd name="connsiteY9" fmla="*/ 49867 h 79179"/>
                      <a:gd name="connsiteX10" fmla="*/ 37212 w 56908"/>
                      <a:gd name="connsiteY10" fmla="*/ 65040 h 79179"/>
                      <a:gd name="connsiteX11" fmla="*/ 42579 w 56908"/>
                      <a:gd name="connsiteY11" fmla="*/ 39443 h 79179"/>
                      <a:gd name="connsiteX12" fmla="*/ 17859 w 56908"/>
                      <a:gd name="connsiteY12" fmla="*/ 15368 h 79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08" h="79179">
                        <a:moveTo>
                          <a:pt x="40127" y="79180"/>
                        </a:moveTo>
                        <a:cubicBezTo>
                          <a:pt x="39715" y="79180"/>
                          <a:pt x="39276" y="79128"/>
                          <a:pt x="38837" y="79051"/>
                        </a:cubicBezTo>
                        <a:cubicBezTo>
                          <a:pt x="21446" y="75619"/>
                          <a:pt x="9706" y="67723"/>
                          <a:pt x="3900" y="55518"/>
                        </a:cubicBezTo>
                        <a:cubicBezTo>
                          <a:pt x="-6834" y="32966"/>
                          <a:pt x="7925" y="4712"/>
                          <a:pt x="8570" y="3525"/>
                        </a:cubicBezTo>
                        <a:cubicBezTo>
                          <a:pt x="10118" y="609"/>
                          <a:pt x="13550" y="-707"/>
                          <a:pt x="16647" y="377"/>
                        </a:cubicBezTo>
                        <a:cubicBezTo>
                          <a:pt x="17911" y="815"/>
                          <a:pt x="47894" y="11627"/>
                          <a:pt x="55274" y="35495"/>
                        </a:cubicBezTo>
                        <a:cubicBezTo>
                          <a:pt x="59248" y="48397"/>
                          <a:pt x="55971" y="62175"/>
                          <a:pt x="45495" y="76445"/>
                        </a:cubicBezTo>
                        <a:cubicBezTo>
                          <a:pt x="44230" y="78199"/>
                          <a:pt x="42218" y="79180"/>
                          <a:pt x="40127" y="79180"/>
                        </a:cubicBezTo>
                        <a:close/>
                        <a:moveTo>
                          <a:pt x="17859" y="15368"/>
                        </a:moveTo>
                        <a:cubicBezTo>
                          <a:pt x="14737" y="23342"/>
                          <a:pt x="10402" y="38282"/>
                          <a:pt x="15950" y="49867"/>
                        </a:cubicBezTo>
                        <a:cubicBezTo>
                          <a:pt x="19408" y="57092"/>
                          <a:pt x="26555" y="62201"/>
                          <a:pt x="37212" y="65040"/>
                        </a:cubicBezTo>
                        <a:cubicBezTo>
                          <a:pt x="43146" y="55725"/>
                          <a:pt x="44953" y="47106"/>
                          <a:pt x="42579" y="39443"/>
                        </a:cubicBezTo>
                        <a:cubicBezTo>
                          <a:pt x="38992" y="27909"/>
                          <a:pt x="26374" y="19549"/>
                          <a:pt x="17859" y="15368"/>
                        </a:cubicBezTo>
                        <a:close/>
                      </a:path>
                    </a:pathLst>
                  </a:custGeom>
                  <a:grpFill/>
                  <a:ln w="2573" cap="flat">
                    <a:noFill/>
                    <a:prstDash val="solid"/>
                    <a:miter/>
                  </a:ln>
                </p:spPr>
                <p:txBody>
                  <a:bodyPr rtlCol="0" anchor="ctr"/>
                  <a:lstStyle/>
                  <a:p>
                    <a:endParaRPr lang="en-GB" dirty="0"/>
                  </a:p>
                </p:txBody>
              </p:sp>
            </p:grpSp>
          </p:grpSp>
          <p:sp>
            <p:nvSpPr>
              <p:cNvPr id="1534" name="Freihandform: Form 1533">
                <a:extLst>
                  <a:ext uri="{FF2B5EF4-FFF2-40B4-BE49-F238E27FC236}">
                    <a16:creationId xmlns:a16="http://schemas.microsoft.com/office/drawing/2014/main" id="{3E49B634-21B9-4C89-816F-9A0D9DEF5CD5}"/>
                  </a:ext>
                </a:extLst>
              </p:cNvPr>
              <p:cNvSpPr/>
              <p:nvPr/>
            </p:nvSpPr>
            <p:spPr>
              <a:xfrm>
                <a:off x="1789240" y="1799720"/>
                <a:ext cx="266056" cy="219478"/>
              </a:xfrm>
              <a:custGeom>
                <a:avLst/>
                <a:gdLst>
                  <a:gd name="connsiteX0" fmla="*/ 133015 w 266056"/>
                  <a:gd name="connsiteY0" fmla="*/ 219478 h 219478"/>
                  <a:gd name="connsiteX1" fmla="*/ 0 w 266056"/>
                  <a:gd name="connsiteY1" fmla="*/ 86463 h 219478"/>
                  <a:gd name="connsiteX2" fmla="*/ 29751 w 266056"/>
                  <a:gd name="connsiteY2" fmla="*/ 2603 h 219478"/>
                  <a:gd name="connsiteX3" fmla="*/ 39118 w 266056"/>
                  <a:gd name="connsiteY3" fmla="*/ 1648 h 219478"/>
                  <a:gd name="connsiteX4" fmla="*/ 40072 w 266056"/>
                  <a:gd name="connsiteY4" fmla="*/ 11014 h 219478"/>
                  <a:gd name="connsiteX5" fmla="*/ 13289 w 266056"/>
                  <a:gd name="connsiteY5" fmla="*/ 86489 h 219478"/>
                  <a:gd name="connsiteX6" fmla="*/ 133015 w 266056"/>
                  <a:gd name="connsiteY6" fmla="*/ 206216 h 219478"/>
                  <a:gd name="connsiteX7" fmla="*/ 252742 w 266056"/>
                  <a:gd name="connsiteY7" fmla="*/ 86489 h 219478"/>
                  <a:gd name="connsiteX8" fmla="*/ 225829 w 266056"/>
                  <a:gd name="connsiteY8" fmla="*/ 10860 h 219478"/>
                  <a:gd name="connsiteX9" fmla="*/ 226784 w 266056"/>
                  <a:gd name="connsiteY9" fmla="*/ 1493 h 219478"/>
                  <a:gd name="connsiteX10" fmla="*/ 236151 w 266056"/>
                  <a:gd name="connsiteY10" fmla="*/ 2448 h 219478"/>
                  <a:gd name="connsiteX11" fmla="*/ 266057 w 266056"/>
                  <a:gd name="connsiteY11" fmla="*/ 86489 h 219478"/>
                  <a:gd name="connsiteX12" fmla="*/ 133015 w 266056"/>
                  <a:gd name="connsiteY12" fmla="*/ 219478 h 219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056" h="219478">
                    <a:moveTo>
                      <a:pt x="133015" y="219478"/>
                    </a:moveTo>
                    <a:cubicBezTo>
                      <a:pt x="59657" y="219478"/>
                      <a:pt x="0" y="159796"/>
                      <a:pt x="0" y="86463"/>
                    </a:cubicBezTo>
                    <a:cubicBezTo>
                      <a:pt x="0" y="55989"/>
                      <a:pt x="10579" y="26187"/>
                      <a:pt x="29751" y="2603"/>
                    </a:cubicBezTo>
                    <a:cubicBezTo>
                      <a:pt x="32073" y="-236"/>
                      <a:pt x="36253" y="-674"/>
                      <a:pt x="39118" y="1648"/>
                    </a:cubicBezTo>
                    <a:cubicBezTo>
                      <a:pt x="41982" y="3970"/>
                      <a:pt x="42395" y="8150"/>
                      <a:pt x="40072" y="11014"/>
                    </a:cubicBezTo>
                    <a:cubicBezTo>
                      <a:pt x="22810" y="32250"/>
                      <a:pt x="13289" y="59060"/>
                      <a:pt x="13289" y="86489"/>
                    </a:cubicBezTo>
                    <a:cubicBezTo>
                      <a:pt x="13289" y="152493"/>
                      <a:pt x="66985" y="206216"/>
                      <a:pt x="133015" y="206216"/>
                    </a:cubicBezTo>
                    <a:cubicBezTo>
                      <a:pt x="199046" y="206216"/>
                      <a:pt x="252742" y="152519"/>
                      <a:pt x="252742" y="86489"/>
                    </a:cubicBezTo>
                    <a:cubicBezTo>
                      <a:pt x="252742" y="58983"/>
                      <a:pt x="243195" y="32121"/>
                      <a:pt x="225829" y="10860"/>
                    </a:cubicBezTo>
                    <a:cubicBezTo>
                      <a:pt x="223507" y="8021"/>
                      <a:pt x="223920" y="3815"/>
                      <a:pt x="226784" y="1493"/>
                    </a:cubicBezTo>
                    <a:cubicBezTo>
                      <a:pt x="229648" y="-829"/>
                      <a:pt x="233828" y="-391"/>
                      <a:pt x="236151" y="2448"/>
                    </a:cubicBezTo>
                    <a:cubicBezTo>
                      <a:pt x="255426" y="26083"/>
                      <a:pt x="266057" y="55938"/>
                      <a:pt x="266057" y="86489"/>
                    </a:cubicBezTo>
                    <a:cubicBezTo>
                      <a:pt x="266031" y="159796"/>
                      <a:pt x="206348" y="219478"/>
                      <a:pt x="133015" y="219478"/>
                    </a:cubicBezTo>
                    <a:close/>
                  </a:path>
                </a:pathLst>
              </a:custGeom>
              <a:grpFill/>
              <a:ln w="2573" cap="flat">
                <a:noFill/>
                <a:prstDash val="solid"/>
                <a:miter/>
              </a:ln>
            </p:spPr>
            <p:txBody>
              <a:bodyPr rtlCol="0" anchor="ctr"/>
              <a:lstStyle/>
              <a:p>
                <a:endParaRPr lang="en-GB" dirty="0"/>
              </a:p>
            </p:txBody>
          </p:sp>
        </p:grpSp>
        <p:grpSp>
          <p:nvGrpSpPr>
            <p:cNvPr id="1527" name="Gruppieren 1526">
              <a:extLst>
                <a:ext uri="{FF2B5EF4-FFF2-40B4-BE49-F238E27FC236}">
                  <a16:creationId xmlns:a16="http://schemas.microsoft.com/office/drawing/2014/main" id="{9EDB3EE4-8F81-4534-AB55-C2B1B0EF17E2}"/>
                </a:ext>
              </a:extLst>
            </p:cNvPr>
            <p:cNvGrpSpPr/>
            <p:nvPr/>
          </p:nvGrpSpPr>
          <p:grpSpPr>
            <a:xfrm>
              <a:off x="1712263" y="1626716"/>
              <a:ext cx="253611" cy="385278"/>
              <a:chOff x="1818498" y="1662514"/>
              <a:chExt cx="209396" cy="318108"/>
            </a:xfrm>
          </p:grpSpPr>
          <p:sp>
            <p:nvSpPr>
              <p:cNvPr id="1528" name="Freihandform: Form 1527">
                <a:extLst>
                  <a:ext uri="{FF2B5EF4-FFF2-40B4-BE49-F238E27FC236}">
                    <a16:creationId xmlns:a16="http://schemas.microsoft.com/office/drawing/2014/main" id="{826AE1BA-33A5-46BE-A4EB-55BCD2623072}"/>
                  </a:ext>
                </a:extLst>
              </p:cNvPr>
              <p:cNvSpPr/>
              <p:nvPr/>
            </p:nvSpPr>
            <p:spPr>
              <a:xfrm>
                <a:off x="1835050" y="1828922"/>
                <a:ext cx="174362" cy="151700"/>
              </a:xfrm>
              <a:custGeom>
                <a:avLst/>
                <a:gdLst>
                  <a:gd name="connsiteX0" fmla="*/ 88160 w 174362"/>
                  <a:gd name="connsiteY0" fmla="*/ 151700 h 151700"/>
                  <a:gd name="connsiteX1" fmla="*/ 80677 w 174362"/>
                  <a:gd name="connsiteY1" fmla="*/ 147081 h 151700"/>
                  <a:gd name="connsiteX2" fmla="*/ 42101 w 174362"/>
                  <a:gd name="connsiteY2" fmla="*/ 113331 h 151700"/>
                  <a:gd name="connsiteX3" fmla="*/ 33406 w 174362"/>
                  <a:gd name="connsiteY3" fmla="*/ 108325 h 151700"/>
                  <a:gd name="connsiteX4" fmla="*/ 5977 w 174362"/>
                  <a:gd name="connsiteY4" fmla="*/ 77129 h 151700"/>
                  <a:gd name="connsiteX5" fmla="*/ 5642 w 174362"/>
                  <a:gd name="connsiteY5" fmla="*/ 76535 h 151700"/>
                  <a:gd name="connsiteX6" fmla="*/ 507 w 174362"/>
                  <a:gd name="connsiteY6" fmla="*/ 43482 h 151700"/>
                  <a:gd name="connsiteX7" fmla="*/ 533 w 174362"/>
                  <a:gd name="connsiteY7" fmla="*/ 43275 h 151700"/>
                  <a:gd name="connsiteX8" fmla="*/ 31522 w 174362"/>
                  <a:gd name="connsiteY8" fmla="*/ 4957 h 151700"/>
                  <a:gd name="connsiteX9" fmla="*/ 72446 w 174362"/>
                  <a:gd name="connsiteY9" fmla="*/ 4674 h 151700"/>
                  <a:gd name="connsiteX10" fmla="*/ 87128 w 174362"/>
                  <a:gd name="connsiteY10" fmla="*/ 16801 h 151700"/>
                  <a:gd name="connsiteX11" fmla="*/ 101191 w 174362"/>
                  <a:gd name="connsiteY11" fmla="*/ 4493 h 151700"/>
                  <a:gd name="connsiteX12" fmla="*/ 142011 w 174362"/>
                  <a:gd name="connsiteY12" fmla="*/ 4028 h 151700"/>
                  <a:gd name="connsiteX13" fmla="*/ 173698 w 174362"/>
                  <a:gd name="connsiteY13" fmla="*/ 41804 h 151700"/>
                  <a:gd name="connsiteX14" fmla="*/ 169363 w 174362"/>
                  <a:gd name="connsiteY14" fmla="*/ 74703 h 151700"/>
                  <a:gd name="connsiteX15" fmla="*/ 168847 w 174362"/>
                  <a:gd name="connsiteY15" fmla="*/ 75710 h 151700"/>
                  <a:gd name="connsiteX16" fmla="*/ 141702 w 174362"/>
                  <a:gd name="connsiteY16" fmla="*/ 107577 h 151700"/>
                  <a:gd name="connsiteX17" fmla="*/ 133393 w 174362"/>
                  <a:gd name="connsiteY17" fmla="*/ 112531 h 151700"/>
                  <a:gd name="connsiteX18" fmla="*/ 95617 w 174362"/>
                  <a:gd name="connsiteY18" fmla="*/ 146798 h 151700"/>
                  <a:gd name="connsiteX19" fmla="*/ 88883 w 174362"/>
                  <a:gd name="connsiteY19" fmla="*/ 151674 h 151700"/>
                  <a:gd name="connsiteX20" fmla="*/ 88160 w 174362"/>
                  <a:gd name="connsiteY20" fmla="*/ 151700 h 151700"/>
                  <a:gd name="connsiteX21" fmla="*/ 83206 w 174362"/>
                  <a:gd name="connsiteY21" fmla="*/ 142153 h 151700"/>
                  <a:gd name="connsiteX22" fmla="*/ 83206 w 174362"/>
                  <a:gd name="connsiteY22" fmla="*/ 142153 h 151700"/>
                  <a:gd name="connsiteX23" fmla="*/ 83206 w 174362"/>
                  <a:gd name="connsiteY23" fmla="*/ 142153 h 151700"/>
                  <a:gd name="connsiteX24" fmla="*/ 92392 w 174362"/>
                  <a:gd name="connsiteY24" fmla="*/ 140785 h 151700"/>
                  <a:gd name="connsiteX25" fmla="*/ 92495 w 174362"/>
                  <a:gd name="connsiteY25" fmla="*/ 140992 h 151700"/>
                  <a:gd name="connsiteX26" fmla="*/ 92392 w 174362"/>
                  <a:gd name="connsiteY26" fmla="*/ 140785 h 151700"/>
                  <a:gd name="connsiteX27" fmla="*/ 13718 w 174362"/>
                  <a:gd name="connsiteY27" fmla="*/ 45236 h 151700"/>
                  <a:gd name="connsiteX28" fmla="*/ 17588 w 174362"/>
                  <a:gd name="connsiteY28" fmla="*/ 70626 h 151700"/>
                  <a:gd name="connsiteX29" fmla="*/ 17717 w 174362"/>
                  <a:gd name="connsiteY29" fmla="*/ 70807 h 151700"/>
                  <a:gd name="connsiteX30" fmla="*/ 40785 w 174362"/>
                  <a:gd name="connsiteY30" fmla="*/ 97230 h 151700"/>
                  <a:gd name="connsiteX31" fmla="*/ 48372 w 174362"/>
                  <a:gd name="connsiteY31" fmla="*/ 101565 h 151700"/>
                  <a:gd name="connsiteX32" fmla="*/ 88031 w 174362"/>
                  <a:gd name="connsiteY32" fmla="*/ 133560 h 151700"/>
                  <a:gd name="connsiteX33" fmla="*/ 126968 w 174362"/>
                  <a:gd name="connsiteY33" fmla="*/ 100868 h 151700"/>
                  <a:gd name="connsiteX34" fmla="*/ 134193 w 174362"/>
                  <a:gd name="connsiteY34" fmla="*/ 96584 h 151700"/>
                  <a:gd name="connsiteX35" fmla="*/ 157055 w 174362"/>
                  <a:gd name="connsiteY35" fmla="*/ 69569 h 151700"/>
                  <a:gd name="connsiteX36" fmla="*/ 157364 w 174362"/>
                  <a:gd name="connsiteY36" fmla="*/ 68949 h 151700"/>
                  <a:gd name="connsiteX37" fmla="*/ 160564 w 174362"/>
                  <a:gd name="connsiteY37" fmla="*/ 43817 h 151700"/>
                  <a:gd name="connsiteX38" fmla="*/ 137625 w 174362"/>
                  <a:gd name="connsiteY38" fmla="*/ 16517 h 151700"/>
                  <a:gd name="connsiteX39" fmla="*/ 107461 w 174362"/>
                  <a:gd name="connsiteY39" fmla="*/ 16182 h 151700"/>
                  <a:gd name="connsiteX40" fmla="*/ 93759 w 174362"/>
                  <a:gd name="connsiteY40" fmla="*/ 32489 h 151700"/>
                  <a:gd name="connsiteX41" fmla="*/ 87463 w 174362"/>
                  <a:gd name="connsiteY41" fmla="*/ 37263 h 151700"/>
                  <a:gd name="connsiteX42" fmla="*/ 81064 w 174362"/>
                  <a:gd name="connsiteY42" fmla="*/ 32696 h 151700"/>
                  <a:gd name="connsiteX43" fmla="*/ 66537 w 174362"/>
                  <a:gd name="connsiteY43" fmla="*/ 16517 h 151700"/>
                  <a:gd name="connsiteX44" fmla="*/ 36193 w 174362"/>
                  <a:gd name="connsiteY44" fmla="*/ 17395 h 151700"/>
                  <a:gd name="connsiteX45" fmla="*/ 13718 w 174362"/>
                  <a:gd name="connsiteY45" fmla="*/ 45236 h 15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4362" h="151700">
                    <a:moveTo>
                      <a:pt x="88160" y="151700"/>
                    </a:moveTo>
                    <a:cubicBezTo>
                      <a:pt x="85012" y="151700"/>
                      <a:pt x="82122" y="149946"/>
                      <a:pt x="80677" y="147081"/>
                    </a:cubicBezTo>
                    <a:cubicBezTo>
                      <a:pt x="70898" y="128632"/>
                      <a:pt x="53558" y="119420"/>
                      <a:pt x="42101" y="113331"/>
                    </a:cubicBezTo>
                    <a:cubicBezTo>
                      <a:pt x="38644" y="111499"/>
                      <a:pt x="35651" y="109899"/>
                      <a:pt x="33406" y="108325"/>
                    </a:cubicBezTo>
                    <a:cubicBezTo>
                      <a:pt x="17330" y="98210"/>
                      <a:pt x="9667" y="83967"/>
                      <a:pt x="5977" y="77129"/>
                    </a:cubicBezTo>
                    <a:lnTo>
                      <a:pt x="5642" y="76535"/>
                    </a:lnTo>
                    <a:cubicBezTo>
                      <a:pt x="687" y="65569"/>
                      <a:pt x="-938" y="54887"/>
                      <a:pt x="507" y="43482"/>
                    </a:cubicBezTo>
                    <a:cubicBezTo>
                      <a:pt x="507" y="43404"/>
                      <a:pt x="533" y="43353"/>
                      <a:pt x="533" y="43275"/>
                    </a:cubicBezTo>
                    <a:cubicBezTo>
                      <a:pt x="4197" y="19897"/>
                      <a:pt x="24142" y="7667"/>
                      <a:pt x="31522" y="4957"/>
                    </a:cubicBezTo>
                    <a:cubicBezTo>
                      <a:pt x="47185" y="-823"/>
                      <a:pt x="60938" y="-926"/>
                      <a:pt x="72446" y="4674"/>
                    </a:cubicBezTo>
                    <a:cubicBezTo>
                      <a:pt x="79052" y="7873"/>
                      <a:pt x="83799" y="12492"/>
                      <a:pt x="87128" y="16801"/>
                    </a:cubicBezTo>
                    <a:cubicBezTo>
                      <a:pt x="90250" y="12466"/>
                      <a:pt x="94792" y="7822"/>
                      <a:pt x="101191" y="4493"/>
                    </a:cubicBezTo>
                    <a:cubicBezTo>
                      <a:pt x="112467" y="-1339"/>
                      <a:pt x="126220" y="-1493"/>
                      <a:pt x="142011" y="4028"/>
                    </a:cubicBezTo>
                    <a:cubicBezTo>
                      <a:pt x="149443" y="6635"/>
                      <a:pt x="169621" y="18504"/>
                      <a:pt x="173698" y="41804"/>
                    </a:cubicBezTo>
                    <a:cubicBezTo>
                      <a:pt x="175349" y="53416"/>
                      <a:pt x="173930" y="64124"/>
                      <a:pt x="169363" y="74703"/>
                    </a:cubicBezTo>
                    <a:lnTo>
                      <a:pt x="168847" y="75710"/>
                    </a:lnTo>
                    <a:cubicBezTo>
                      <a:pt x="165570" y="82083"/>
                      <a:pt x="157880" y="96997"/>
                      <a:pt x="141702" y="107577"/>
                    </a:cubicBezTo>
                    <a:cubicBezTo>
                      <a:pt x="139741" y="108996"/>
                      <a:pt x="136799" y="110647"/>
                      <a:pt x="133393" y="112531"/>
                    </a:cubicBezTo>
                    <a:cubicBezTo>
                      <a:pt x="122143" y="118801"/>
                      <a:pt x="105190" y="128219"/>
                      <a:pt x="95617" y="146798"/>
                    </a:cubicBezTo>
                    <a:cubicBezTo>
                      <a:pt x="94482" y="149533"/>
                      <a:pt x="91902" y="151416"/>
                      <a:pt x="88883" y="151674"/>
                    </a:cubicBezTo>
                    <a:cubicBezTo>
                      <a:pt x="88650" y="151700"/>
                      <a:pt x="88392" y="151700"/>
                      <a:pt x="88160" y="151700"/>
                    </a:cubicBezTo>
                    <a:close/>
                    <a:moveTo>
                      <a:pt x="83206" y="142153"/>
                    </a:moveTo>
                    <a:cubicBezTo>
                      <a:pt x="83206" y="142153"/>
                      <a:pt x="83180" y="142153"/>
                      <a:pt x="83206" y="142153"/>
                    </a:cubicBezTo>
                    <a:cubicBezTo>
                      <a:pt x="83180" y="142153"/>
                      <a:pt x="83206" y="142153"/>
                      <a:pt x="83206" y="142153"/>
                    </a:cubicBezTo>
                    <a:close/>
                    <a:moveTo>
                      <a:pt x="92392" y="140785"/>
                    </a:moveTo>
                    <a:cubicBezTo>
                      <a:pt x="92418" y="140863"/>
                      <a:pt x="92469" y="140914"/>
                      <a:pt x="92495" y="140992"/>
                    </a:cubicBezTo>
                    <a:cubicBezTo>
                      <a:pt x="92469" y="140914"/>
                      <a:pt x="92443" y="140863"/>
                      <a:pt x="92392" y="140785"/>
                    </a:cubicBezTo>
                    <a:close/>
                    <a:moveTo>
                      <a:pt x="13718" y="45236"/>
                    </a:moveTo>
                    <a:cubicBezTo>
                      <a:pt x="12608" y="54241"/>
                      <a:pt x="13821" y="62292"/>
                      <a:pt x="17588" y="70626"/>
                    </a:cubicBezTo>
                    <a:lnTo>
                      <a:pt x="17717" y="70807"/>
                    </a:lnTo>
                    <a:cubicBezTo>
                      <a:pt x="20865" y="76639"/>
                      <a:pt x="27419" y="88792"/>
                      <a:pt x="40785" y="97230"/>
                    </a:cubicBezTo>
                    <a:cubicBezTo>
                      <a:pt x="42643" y="98520"/>
                      <a:pt x="45301" y="99939"/>
                      <a:pt x="48372" y="101565"/>
                    </a:cubicBezTo>
                    <a:cubicBezTo>
                      <a:pt x="59054" y="107241"/>
                      <a:pt x="76084" y="116298"/>
                      <a:pt x="88031" y="133560"/>
                    </a:cubicBezTo>
                    <a:cubicBezTo>
                      <a:pt x="99668" y="116092"/>
                      <a:pt x="116440" y="106725"/>
                      <a:pt x="126968" y="100868"/>
                    </a:cubicBezTo>
                    <a:cubicBezTo>
                      <a:pt x="129987" y="99191"/>
                      <a:pt x="132619" y="97720"/>
                      <a:pt x="134193" y="96584"/>
                    </a:cubicBezTo>
                    <a:cubicBezTo>
                      <a:pt x="147688" y="87734"/>
                      <a:pt x="154010" y="75477"/>
                      <a:pt x="157055" y="69569"/>
                    </a:cubicBezTo>
                    <a:lnTo>
                      <a:pt x="157364" y="68949"/>
                    </a:lnTo>
                    <a:cubicBezTo>
                      <a:pt x="160770" y="60976"/>
                      <a:pt x="161854" y="52874"/>
                      <a:pt x="160564" y="43817"/>
                    </a:cubicBezTo>
                    <a:cubicBezTo>
                      <a:pt x="157596" y="26813"/>
                      <a:pt x="141728" y="17962"/>
                      <a:pt x="137625" y="16517"/>
                    </a:cubicBezTo>
                    <a:cubicBezTo>
                      <a:pt x="125497" y="12285"/>
                      <a:pt x="115357" y="12156"/>
                      <a:pt x="107461" y="16182"/>
                    </a:cubicBezTo>
                    <a:cubicBezTo>
                      <a:pt x="97165" y="21446"/>
                      <a:pt x="93785" y="32386"/>
                      <a:pt x="93759" y="32489"/>
                    </a:cubicBezTo>
                    <a:cubicBezTo>
                      <a:pt x="92934" y="35276"/>
                      <a:pt x="90379" y="37211"/>
                      <a:pt x="87463" y="37263"/>
                    </a:cubicBezTo>
                    <a:cubicBezTo>
                      <a:pt x="84677" y="37237"/>
                      <a:pt x="81967" y="35457"/>
                      <a:pt x="81064" y="32696"/>
                    </a:cubicBezTo>
                    <a:cubicBezTo>
                      <a:pt x="81038" y="32618"/>
                      <a:pt x="77220" y="21626"/>
                      <a:pt x="66537" y="16517"/>
                    </a:cubicBezTo>
                    <a:cubicBezTo>
                      <a:pt x="58461" y="12647"/>
                      <a:pt x="48243" y="12931"/>
                      <a:pt x="36193" y="17395"/>
                    </a:cubicBezTo>
                    <a:cubicBezTo>
                      <a:pt x="32116" y="18917"/>
                      <a:pt x="16453" y="28025"/>
                      <a:pt x="13718" y="45236"/>
                    </a:cubicBezTo>
                    <a:close/>
                  </a:path>
                </a:pathLst>
              </a:custGeom>
              <a:solidFill>
                <a:schemeClr val="accent1"/>
              </a:solidFill>
              <a:ln w="2573" cap="flat">
                <a:noFill/>
                <a:prstDash val="solid"/>
                <a:miter/>
              </a:ln>
            </p:spPr>
            <p:txBody>
              <a:bodyPr rtlCol="0" anchor="ctr"/>
              <a:lstStyle/>
              <a:p>
                <a:endParaRPr lang="en-GB" dirty="0"/>
              </a:p>
            </p:txBody>
          </p:sp>
          <p:grpSp>
            <p:nvGrpSpPr>
              <p:cNvPr id="1529" name="Grafik 312">
                <a:extLst>
                  <a:ext uri="{FF2B5EF4-FFF2-40B4-BE49-F238E27FC236}">
                    <a16:creationId xmlns:a16="http://schemas.microsoft.com/office/drawing/2014/main" id="{DE0A9791-0FB1-44BC-955A-D4274D0CABBF}"/>
                  </a:ext>
                </a:extLst>
              </p:cNvPr>
              <p:cNvGrpSpPr/>
              <p:nvPr/>
            </p:nvGrpSpPr>
            <p:grpSpPr>
              <a:xfrm>
                <a:off x="1818498" y="1662514"/>
                <a:ext cx="209396" cy="138285"/>
                <a:chOff x="1818498" y="1662514"/>
                <a:chExt cx="209396" cy="138285"/>
              </a:xfrm>
              <a:solidFill>
                <a:schemeClr val="accent1"/>
              </a:solidFill>
            </p:grpSpPr>
            <p:sp>
              <p:nvSpPr>
                <p:cNvPr id="1530" name="Freihandform: Form 1529">
                  <a:extLst>
                    <a:ext uri="{FF2B5EF4-FFF2-40B4-BE49-F238E27FC236}">
                      <a16:creationId xmlns:a16="http://schemas.microsoft.com/office/drawing/2014/main" id="{D671E1E6-8D2A-472B-948C-83E7848888FC}"/>
                    </a:ext>
                  </a:extLst>
                </p:cNvPr>
                <p:cNvSpPr/>
                <p:nvPr/>
              </p:nvSpPr>
              <p:spPr>
                <a:xfrm>
                  <a:off x="1818498" y="1662514"/>
                  <a:ext cx="209396" cy="138285"/>
                </a:xfrm>
                <a:custGeom>
                  <a:avLst/>
                  <a:gdLst>
                    <a:gd name="connsiteX0" fmla="*/ 104686 w 209396"/>
                    <a:gd name="connsiteY0" fmla="*/ 138286 h 138285"/>
                    <a:gd name="connsiteX1" fmla="*/ 20852 w 209396"/>
                    <a:gd name="connsiteY1" fmla="*/ 127036 h 138285"/>
                    <a:gd name="connsiteX2" fmla="*/ 16465 w 209396"/>
                    <a:gd name="connsiteY2" fmla="*/ 122030 h 138285"/>
                    <a:gd name="connsiteX3" fmla="*/ 132 w 209396"/>
                    <a:gd name="connsiteY3" fmla="*/ 40337 h 138285"/>
                    <a:gd name="connsiteX4" fmla="*/ 3073 w 209396"/>
                    <a:gd name="connsiteY4" fmla="*/ 33422 h 138285"/>
                    <a:gd name="connsiteX5" fmla="*/ 10582 w 209396"/>
                    <a:gd name="connsiteY5" fmla="*/ 33654 h 138285"/>
                    <a:gd name="connsiteX6" fmla="*/ 64124 w 209396"/>
                    <a:gd name="connsiteY6" fmla="*/ 72617 h 138285"/>
                    <a:gd name="connsiteX7" fmla="*/ 98726 w 209396"/>
                    <a:gd name="connsiteY7" fmla="*/ 3387 h 138285"/>
                    <a:gd name="connsiteX8" fmla="*/ 110621 w 209396"/>
                    <a:gd name="connsiteY8" fmla="*/ 3387 h 138285"/>
                    <a:gd name="connsiteX9" fmla="*/ 145249 w 209396"/>
                    <a:gd name="connsiteY9" fmla="*/ 72617 h 138285"/>
                    <a:gd name="connsiteX10" fmla="*/ 198816 w 209396"/>
                    <a:gd name="connsiteY10" fmla="*/ 33680 h 138285"/>
                    <a:gd name="connsiteX11" fmla="*/ 206325 w 209396"/>
                    <a:gd name="connsiteY11" fmla="*/ 33447 h 138285"/>
                    <a:gd name="connsiteX12" fmla="*/ 209266 w 209396"/>
                    <a:gd name="connsiteY12" fmla="*/ 40363 h 138285"/>
                    <a:gd name="connsiteX13" fmla="*/ 192933 w 209396"/>
                    <a:gd name="connsiteY13" fmla="*/ 122056 h 138285"/>
                    <a:gd name="connsiteX14" fmla="*/ 188546 w 209396"/>
                    <a:gd name="connsiteY14" fmla="*/ 127061 h 138285"/>
                    <a:gd name="connsiteX15" fmla="*/ 104686 w 209396"/>
                    <a:gd name="connsiteY15" fmla="*/ 138286 h 138285"/>
                    <a:gd name="connsiteX16" fmla="*/ 28722 w 209396"/>
                    <a:gd name="connsiteY16" fmla="*/ 115527 h 138285"/>
                    <a:gd name="connsiteX17" fmla="*/ 104686 w 209396"/>
                    <a:gd name="connsiteY17" fmla="*/ 124997 h 138285"/>
                    <a:gd name="connsiteX18" fmla="*/ 180651 w 209396"/>
                    <a:gd name="connsiteY18" fmla="*/ 115527 h 138285"/>
                    <a:gd name="connsiteX19" fmla="*/ 192856 w 209396"/>
                    <a:gd name="connsiteY19" fmla="*/ 54451 h 138285"/>
                    <a:gd name="connsiteX20" fmla="*/ 146719 w 209396"/>
                    <a:gd name="connsiteY20" fmla="*/ 87995 h 138285"/>
                    <a:gd name="connsiteX21" fmla="*/ 141223 w 209396"/>
                    <a:gd name="connsiteY21" fmla="*/ 89079 h 138285"/>
                    <a:gd name="connsiteX22" fmla="*/ 136837 w 209396"/>
                    <a:gd name="connsiteY22" fmla="*/ 85596 h 138285"/>
                    <a:gd name="connsiteX23" fmla="*/ 104660 w 209396"/>
                    <a:gd name="connsiteY23" fmla="*/ 21242 h 138285"/>
                    <a:gd name="connsiteX24" fmla="*/ 72484 w 209396"/>
                    <a:gd name="connsiteY24" fmla="*/ 85596 h 138285"/>
                    <a:gd name="connsiteX25" fmla="*/ 68097 w 209396"/>
                    <a:gd name="connsiteY25" fmla="*/ 89079 h 138285"/>
                    <a:gd name="connsiteX26" fmla="*/ 62601 w 209396"/>
                    <a:gd name="connsiteY26" fmla="*/ 87995 h 138285"/>
                    <a:gd name="connsiteX27" fmla="*/ 16465 w 209396"/>
                    <a:gd name="connsiteY27" fmla="*/ 54451 h 138285"/>
                    <a:gd name="connsiteX28" fmla="*/ 28722 w 209396"/>
                    <a:gd name="connsiteY28" fmla="*/ 115527 h 13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9396" h="138285">
                      <a:moveTo>
                        <a:pt x="104686" y="138286"/>
                      </a:moveTo>
                      <a:cubicBezTo>
                        <a:pt x="54705" y="138286"/>
                        <a:pt x="22219" y="127500"/>
                        <a:pt x="20852" y="127036"/>
                      </a:cubicBezTo>
                      <a:cubicBezTo>
                        <a:pt x="18607" y="126287"/>
                        <a:pt x="16929" y="124378"/>
                        <a:pt x="16465" y="122030"/>
                      </a:cubicBezTo>
                      <a:lnTo>
                        <a:pt x="132" y="40337"/>
                      </a:lnTo>
                      <a:cubicBezTo>
                        <a:pt x="-410" y="37653"/>
                        <a:pt x="751" y="34918"/>
                        <a:pt x="3073" y="33422"/>
                      </a:cubicBezTo>
                      <a:cubicBezTo>
                        <a:pt x="5395" y="31951"/>
                        <a:pt x="8363" y="32028"/>
                        <a:pt x="10582" y="33654"/>
                      </a:cubicBezTo>
                      <a:lnTo>
                        <a:pt x="64124" y="72617"/>
                      </a:lnTo>
                      <a:lnTo>
                        <a:pt x="98726" y="3387"/>
                      </a:lnTo>
                      <a:cubicBezTo>
                        <a:pt x="100970" y="-1129"/>
                        <a:pt x="108376" y="-1129"/>
                        <a:pt x="110621" y="3387"/>
                      </a:cubicBezTo>
                      <a:lnTo>
                        <a:pt x="145249" y="72617"/>
                      </a:lnTo>
                      <a:lnTo>
                        <a:pt x="198816" y="33680"/>
                      </a:lnTo>
                      <a:cubicBezTo>
                        <a:pt x="201035" y="32080"/>
                        <a:pt x="204003" y="31977"/>
                        <a:pt x="206325" y="33447"/>
                      </a:cubicBezTo>
                      <a:cubicBezTo>
                        <a:pt x="208621" y="34918"/>
                        <a:pt x="209808" y="37679"/>
                        <a:pt x="209266" y="40363"/>
                      </a:cubicBezTo>
                      <a:lnTo>
                        <a:pt x="192933" y="122056"/>
                      </a:lnTo>
                      <a:cubicBezTo>
                        <a:pt x="192469" y="124378"/>
                        <a:pt x="190791" y="126287"/>
                        <a:pt x="188546" y="127061"/>
                      </a:cubicBezTo>
                      <a:cubicBezTo>
                        <a:pt x="187153" y="127500"/>
                        <a:pt x="154667" y="138286"/>
                        <a:pt x="104686" y="138286"/>
                      </a:cubicBezTo>
                      <a:close/>
                      <a:moveTo>
                        <a:pt x="28722" y="115527"/>
                      </a:moveTo>
                      <a:cubicBezTo>
                        <a:pt x="38295" y="118211"/>
                        <a:pt x="66291" y="124997"/>
                        <a:pt x="104686" y="124997"/>
                      </a:cubicBezTo>
                      <a:cubicBezTo>
                        <a:pt x="143081" y="124997"/>
                        <a:pt x="171052" y="118211"/>
                        <a:pt x="180651" y="115527"/>
                      </a:cubicBezTo>
                      <a:lnTo>
                        <a:pt x="192856" y="54451"/>
                      </a:lnTo>
                      <a:lnTo>
                        <a:pt x="146719" y="87995"/>
                      </a:lnTo>
                      <a:cubicBezTo>
                        <a:pt x="145146" y="89156"/>
                        <a:pt x="143133" y="89544"/>
                        <a:pt x="141223" y="89079"/>
                      </a:cubicBezTo>
                      <a:cubicBezTo>
                        <a:pt x="139314" y="88615"/>
                        <a:pt x="137714" y="87350"/>
                        <a:pt x="136837" y="85596"/>
                      </a:cubicBezTo>
                      <a:lnTo>
                        <a:pt x="104660" y="21242"/>
                      </a:lnTo>
                      <a:lnTo>
                        <a:pt x="72484" y="85596"/>
                      </a:lnTo>
                      <a:cubicBezTo>
                        <a:pt x="71606" y="87350"/>
                        <a:pt x="70007" y="88615"/>
                        <a:pt x="68097" y="89079"/>
                      </a:cubicBezTo>
                      <a:cubicBezTo>
                        <a:pt x="66188" y="89544"/>
                        <a:pt x="64201" y="89156"/>
                        <a:pt x="62601" y="87995"/>
                      </a:cubicBezTo>
                      <a:lnTo>
                        <a:pt x="16465" y="54451"/>
                      </a:lnTo>
                      <a:lnTo>
                        <a:pt x="28722" y="115527"/>
                      </a:lnTo>
                      <a:close/>
                    </a:path>
                  </a:pathLst>
                </a:custGeom>
                <a:solidFill>
                  <a:schemeClr val="accent1"/>
                </a:solidFill>
                <a:ln w="2573" cap="flat">
                  <a:noFill/>
                  <a:prstDash val="solid"/>
                  <a:miter/>
                </a:ln>
              </p:spPr>
              <p:txBody>
                <a:bodyPr rtlCol="0" anchor="ctr"/>
                <a:lstStyle/>
                <a:p>
                  <a:endParaRPr lang="en-GB" dirty="0"/>
                </a:p>
              </p:txBody>
            </p:sp>
            <p:sp>
              <p:nvSpPr>
                <p:cNvPr id="1531" name="Freihandform: Form 1530">
                  <a:extLst>
                    <a:ext uri="{FF2B5EF4-FFF2-40B4-BE49-F238E27FC236}">
                      <a16:creationId xmlns:a16="http://schemas.microsoft.com/office/drawing/2014/main" id="{742D2C3B-8F76-44CB-B0A2-07A6B70053B2}"/>
                    </a:ext>
                  </a:extLst>
                </p:cNvPr>
                <p:cNvSpPr/>
                <p:nvPr/>
              </p:nvSpPr>
              <p:spPr>
                <a:xfrm>
                  <a:off x="1850488" y="1692189"/>
                  <a:ext cx="54140" cy="35768"/>
                </a:xfrm>
                <a:custGeom>
                  <a:avLst/>
                  <a:gdLst>
                    <a:gd name="connsiteX0" fmla="*/ 6640 w 54140"/>
                    <a:gd name="connsiteY0" fmla="*/ 35768 h 35768"/>
                    <a:gd name="connsiteX1" fmla="*/ 2744 w 54140"/>
                    <a:gd name="connsiteY1" fmla="*/ 34504 h 35768"/>
                    <a:gd name="connsiteX2" fmla="*/ 1273 w 54140"/>
                    <a:gd name="connsiteY2" fmla="*/ 25215 h 35768"/>
                    <a:gd name="connsiteX3" fmla="*/ 17607 w 54140"/>
                    <a:gd name="connsiteY3" fmla="*/ 2740 h 35768"/>
                    <a:gd name="connsiteX4" fmla="*/ 26560 w 54140"/>
                    <a:gd name="connsiteY4" fmla="*/ 1037 h 35768"/>
                    <a:gd name="connsiteX5" fmla="*/ 51073 w 54140"/>
                    <a:gd name="connsiteY5" fmla="*/ 16700 h 35768"/>
                    <a:gd name="connsiteX6" fmla="*/ 53086 w 54140"/>
                    <a:gd name="connsiteY6" fmla="*/ 25886 h 35768"/>
                    <a:gd name="connsiteX7" fmla="*/ 43900 w 54140"/>
                    <a:gd name="connsiteY7" fmla="*/ 27898 h 35768"/>
                    <a:gd name="connsiteX8" fmla="*/ 24677 w 54140"/>
                    <a:gd name="connsiteY8" fmla="*/ 15616 h 35768"/>
                    <a:gd name="connsiteX9" fmla="*/ 12033 w 54140"/>
                    <a:gd name="connsiteY9" fmla="*/ 33033 h 35768"/>
                    <a:gd name="connsiteX10" fmla="*/ 6640 w 54140"/>
                    <a:gd name="connsiteY10" fmla="*/ 35768 h 3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40" h="35768">
                      <a:moveTo>
                        <a:pt x="6640" y="35768"/>
                      </a:moveTo>
                      <a:cubicBezTo>
                        <a:pt x="5299" y="35768"/>
                        <a:pt x="3905" y="35356"/>
                        <a:pt x="2744" y="34504"/>
                      </a:cubicBezTo>
                      <a:cubicBezTo>
                        <a:pt x="-223" y="32337"/>
                        <a:pt x="-894" y="28182"/>
                        <a:pt x="1273" y="25215"/>
                      </a:cubicBezTo>
                      <a:lnTo>
                        <a:pt x="17607" y="2740"/>
                      </a:lnTo>
                      <a:cubicBezTo>
                        <a:pt x="19671" y="-98"/>
                        <a:pt x="23593" y="-846"/>
                        <a:pt x="26560" y="1037"/>
                      </a:cubicBezTo>
                      <a:lnTo>
                        <a:pt x="51073" y="16700"/>
                      </a:lnTo>
                      <a:cubicBezTo>
                        <a:pt x="54170" y="18687"/>
                        <a:pt x="55073" y="22789"/>
                        <a:pt x="53086" y="25886"/>
                      </a:cubicBezTo>
                      <a:cubicBezTo>
                        <a:pt x="51099" y="28982"/>
                        <a:pt x="46997" y="29885"/>
                        <a:pt x="43900" y="27898"/>
                      </a:cubicBezTo>
                      <a:lnTo>
                        <a:pt x="24677" y="15616"/>
                      </a:lnTo>
                      <a:lnTo>
                        <a:pt x="12033" y="33033"/>
                      </a:lnTo>
                      <a:cubicBezTo>
                        <a:pt x="10743" y="34814"/>
                        <a:pt x="8705" y="35768"/>
                        <a:pt x="6640" y="35768"/>
                      </a:cubicBezTo>
                      <a:close/>
                    </a:path>
                  </a:pathLst>
                </a:custGeom>
                <a:solidFill>
                  <a:schemeClr val="accent1"/>
                </a:solidFill>
                <a:ln w="2573" cap="flat">
                  <a:noFill/>
                  <a:prstDash val="solid"/>
                  <a:miter/>
                </a:ln>
              </p:spPr>
              <p:txBody>
                <a:bodyPr rtlCol="0" anchor="ctr"/>
                <a:lstStyle/>
                <a:p>
                  <a:endParaRPr lang="en-GB" dirty="0"/>
                </a:p>
              </p:txBody>
            </p:sp>
            <p:sp>
              <p:nvSpPr>
                <p:cNvPr id="1532" name="Freihandform: Form 1531">
                  <a:extLst>
                    <a:ext uri="{FF2B5EF4-FFF2-40B4-BE49-F238E27FC236}">
                      <a16:creationId xmlns:a16="http://schemas.microsoft.com/office/drawing/2014/main" id="{7F356A9A-CBFD-4B92-AFD6-257F5512032C}"/>
                    </a:ext>
                  </a:extLst>
                </p:cNvPr>
                <p:cNvSpPr/>
                <p:nvPr/>
              </p:nvSpPr>
              <p:spPr>
                <a:xfrm>
                  <a:off x="1940346" y="1693152"/>
                  <a:ext cx="54140" cy="35786"/>
                </a:xfrm>
                <a:custGeom>
                  <a:avLst/>
                  <a:gdLst>
                    <a:gd name="connsiteX0" fmla="*/ 47500 w 54140"/>
                    <a:gd name="connsiteY0" fmla="*/ 35787 h 35786"/>
                    <a:gd name="connsiteX1" fmla="*/ 42108 w 54140"/>
                    <a:gd name="connsiteY1" fmla="*/ 33051 h 35786"/>
                    <a:gd name="connsiteX2" fmla="*/ 29464 w 54140"/>
                    <a:gd name="connsiteY2" fmla="*/ 15634 h 35786"/>
                    <a:gd name="connsiteX3" fmla="*/ 10241 w 54140"/>
                    <a:gd name="connsiteY3" fmla="*/ 27917 h 35786"/>
                    <a:gd name="connsiteX4" fmla="*/ 1055 w 54140"/>
                    <a:gd name="connsiteY4" fmla="*/ 25904 h 35786"/>
                    <a:gd name="connsiteX5" fmla="*/ 3067 w 54140"/>
                    <a:gd name="connsiteY5" fmla="*/ 16718 h 35786"/>
                    <a:gd name="connsiteX6" fmla="*/ 27580 w 54140"/>
                    <a:gd name="connsiteY6" fmla="*/ 1055 h 35786"/>
                    <a:gd name="connsiteX7" fmla="*/ 36534 w 54140"/>
                    <a:gd name="connsiteY7" fmla="*/ 2758 h 35786"/>
                    <a:gd name="connsiteX8" fmla="*/ 52867 w 54140"/>
                    <a:gd name="connsiteY8" fmla="*/ 25233 h 35786"/>
                    <a:gd name="connsiteX9" fmla="*/ 51397 w 54140"/>
                    <a:gd name="connsiteY9" fmla="*/ 34522 h 35786"/>
                    <a:gd name="connsiteX10" fmla="*/ 47500 w 54140"/>
                    <a:gd name="connsiteY10" fmla="*/ 35787 h 3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40" h="35786">
                      <a:moveTo>
                        <a:pt x="47500" y="35787"/>
                      </a:moveTo>
                      <a:cubicBezTo>
                        <a:pt x="45436" y="35787"/>
                        <a:pt x="43424" y="34832"/>
                        <a:pt x="42108" y="33051"/>
                      </a:cubicBezTo>
                      <a:lnTo>
                        <a:pt x="29464" y="15634"/>
                      </a:lnTo>
                      <a:lnTo>
                        <a:pt x="10241" y="27917"/>
                      </a:lnTo>
                      <a:cubicBezTo>
                        <a:pt x="7144" y="29903"/>
                        <a:pt x="3042" y="29000"/>
                        <a:pt x="1055" y="25904"/>
                      </a:cubicBezTo>
                      <a:cubicBezTo>
                        <a:pt x="-932" y="22808"/>
                        <a:pt x="-29" y="18705"/>
                        <a:pt x="3067" y="16718"/>
                      </a:cubicBezTo>
                      <a:lnTo>
                        <a:pt x="27580" y="1055"/>
                      </a:lnTo>
                      <a:cubicBezTo>
                        <a:pt x="30548" y="-854"/>
                        <a:pt x="34470" y="-106"/>
                        <a:pt x="36534" y="2758"/>
                      </a:cubicBezTo>
                      <a:lnTo>
                        <a:pt x="52867" y="25233"/>
                      </a:lnTo>
                      <a:cubicBezTo>
                        <a:pt x="55035" y="28200"/>
                        <a:pt x="54364" y="32355"/>
                        <a:pt x="51397" y="34522"/>
                      </a:cubicBezTo>
                      <a:cubicBezTo>
                        <a:pt x="50210" y="35374"/>
                        <a:pt x="48842" y="35787"/>
                        <a:pt x="47500" y="35787"/>
                      </a:cubicBezTo>
                      <a:close/>
                    </a:path>
                  </a:pathLst>
                </a:custGeom>
                <a:solidFill>
                  <a:schemeClr val="accent1"/>
                </a:solidFill>
                <a:ln w="2573" cap="flat">
                  <a:noFill/>
                  <a:prstDash val="solid"/>
                  <a:miter/>
                </a:ln>
              </p:spPr>
              <p:txBody>
                <a:bodyPr rtlCol="0" anchor="ctr"/>
                <a:lstStyle/>
                <a:p>
                  <a:endParaRPr lang="en-GB" dirty="0"/>
                </a:p>
              </p:txBody>
            </p:sp>
          </p:grpSp>
        </p:grpSp>
      </p:grpSp>
      <p:sp>
        <p:nvSpPr>
          <p:cNvPr id="1545" name="TextBox 1416">
            <a:extLst>
              <a:ext uri="{FF2B5EF4-FFF2-40B4-BE49-F238E27FC236}">
                <a16:creationId xmlns:a16="http://schemas.microsoft.com/office/drawing/2014/main" id="{A46C4624-F5CE-48ED-B919-DE3BA12BD33A}"/>
              </a:ext>
            </a:extLst>
          </p:cNvPr>
          <p:cNvSpPr txBox="1"/>
          <p:nvPr/>
        </p:nvSpPr>
        <p:spPr>
          <a:xfrm>
            <a:off x="1642315" y="2077494"/>
            <a:ext cx="394339" cy="215444"/>
          </a:xfrm>
          <a:prstGeom prst="rect">
            <a:avLst/>
          </a:prstGeom>
          <a:noFill/>
          <a:effectLst/>
        </p:spPr>
        <p:txBody>
          <a:bodyPr wrap="none" lIns="0" tIns="0" rIns="0" bIns="0" rtlCol="0" anchor="t" anchorCtr="0">
            <a:spAutoFit/>
          </a:bodyPr>
          <a:lstStyle/>
          <a:p>
            <a:pPr algn="ctr"/>
            <a:r>
              <a:rPr lang="en-GB" sz="700" dirty="0">
                <a:solidFill>
                  <a:schemeClr val="tx2"/>
                </a:solidFill>
              </a:rPr>
              <a:t>Influencer</a:t>
            </a:r>
            <a:br>
              <a:rPr lang="en-GB" sz="700" dirty="0">
                <a:solidFill>
                  <a:schemeClr val="tx2"/>
                </a:solidFill>
              </a:rPr>
            </a:br>
            <a:r>
              <a:rPr lang="en-GB" sz="700" dirty="0">
                <a:solidFill>
                  <a:schemeClr val="tx2"/>
                </a:solidFill>
              </a:rPr>
              <a:t>marketing</a:t>
            </a:r>
          </a:p>
        </p:txBody>
      </p:sp>
      <p:grpSp>
        <p:nvGrpSpPr>
          <p:cNvPr id="51" name="Group 50">
            <a:extLst>
              <a:ext uri="{FF2B5EF4-FFF2-40B4-BE49-F238E27FC236}">
                <a16:creationId xmlns:a16="http://schemas.microsoft.com/office/drawing/2014/main" id="{334DB1E6-3387-750B-49D6-1328A85C677C}"/>
              </a:ext>
            </a:extLst>
          </p:cNvPr>
          <p:cNvGrpSpPr/>
          <p:nvPr/>
        </p:nvGrpSpPr>
        <p:grpSpPr>
          <a:xfrm>
            <a:off x="2682384" y="4097454"/>
            <a:ext cx="405069" cy="432000"/>
            <a:chOff x="2682384" y="4097454"/>
            <a:chExt cx="405069" cy="432000"/>
          </a:xfrm>
        </p:grpSpPr>
        <p:grpSp>
          <p:nvGrpSpPr>
            <p:cNvPr id="1547" name="Gruppieren 1546">
              <a:extLst>
                <a:ext uri="{FF2B5EF4-FFF2-40B4-BE49-F238E27FC236}">
                  <a16:creationId xmlns:a16="http://schemas.microsoft.com/office/drawing/2014/main" id="{8653F61E-715C-45A2-92C3-64574CA67CE5}"/>
                </a:ext>
              </a:extLst>
            </p:cNvPr>
            <p:cNvGrpSpPr/>
            <p:nvPr/>
          </p:nvGrpSpPr>
          <p:grpSpPr>
            <a:xfrm>
              <a:off x="2682384" y="4121387"/>
              <a:ext cx="405069" cy="306365"/>
              <a:chOff x="2551100" y="4166859"/>
              <a:chExt cx="436470" cy="330115"/>
            </a:xfrm>
          </p:grpSpPr>
          <p:grpSp>
            <p:nvGrpSpPr>
              <p:cNvPr id="1562" name="Grafik 312">
                <a:extLst>
                  <a:ext uri="{FF2B5EF4-FFF2-40B4-BE49-F238E27FC236}">
                    <a16:creationId xmlns:a16="http://schemas.microsoft.com/office/drawing/2014/main" id="{8FFF4B4D-5783-4732-B7CD-D1D37F355A29}"/>
                  </a:ext>
                </a:extLst>
              </p:cNvPr>
              <p:cNvGrpSpPr/>
              <p:nvPr/>
            </p:nvGrpSpPr>
            <p:grpSpPr>
              <a:xfrm>
                <a:off x="2551100" y="4166859"/>
                <a:ext cx="126048" cy="330115"/>
                <a:chOff x="2551100" y="4166859"/>
                <a:chExt cx="126048" cy="330115"/>
              </a:xfrm>
              <a:solidFill>
                <a:schemeClr val="accent1"/>
              </a:solidFill>
            </p:grpSpPr>
            <p:sp>
              <p:nvSpPr>
                <p:cNvPr id="1568" name="Freihandform: Form 1567">
                  <a:extLst>
                    <a:ext uri="{FF2B5EF4-FFF2-40B4-BE49-F238E27FC236}">
                      <a16:creationId xmlns:a16="http://schemas.microsoft.com/office/drawing/2014/main" id="{3C87E3C6-FA66-4AEE-8C85-62ECC5423ECD}"/>
                    </a:ext>
                  </a:extLst>
                </p:cNvPr>
                <p:cNvSpPr/>
                <p:nvPr/>
              </p:nvSpPr>
              <p:spPr>
                <a:xfrm>
                  <a:off x="2594652" y="4433893"/>
                  <a:ext cx="82496" cy="63081"/>
                </a:xfrm>
                <a:custGeom>
                  <a:avLst/>
                  <a:gdLst>
                    <a:gd name="connsiteX0" fmla="*/ 49680 w 82496"/>
                    <a:gd name="connsiteY0" fmla="*/ 63081 h 63081"/>
                    <a:gd name="connsiteX1" fmla="*/ 33449 w 82496"/>
                    <a:gd name="connsiteY1" fmla="*/ 59675 h 63081"/>
                    <a:gd name="connsiteX2" fmla="*/ 163 w 82496"/>
                    <a:gd name="connsiteY2" fmla="*/ 13178 h 63081"/>
                    <a:gd name="connsiteX3" fmla="*/ 4240 w 82496"/>
                    <a:gd name="connsiteY3" fmla="*/ 5515 h 63081"/>
                    <a:gd name="connsiteX4" fmla="*/ 61394 w 82496"/>
                    <a:gd name="connsiteY4" fmla="*/ 6985 h 63081"/>
                    <a:gd name="connsiteX5" fmla="*/ 82476 w 82496"/>
                    <a:gd name="connsiteY5" fmla="*/ 47883 h 63081"/>
                    <a:gd name="connsiteX6" fmla="*/ 79121 w 82496"/>
                    <a:gd name="connsiteY6" fmla="*/ 54179 h 63081"/>
                    <a:gd name="connsiteX7" fmla="*/ 49680 w 82496"/>
                    <a:gd name="connsiteY7" fmla="*/ 63081 h 63081"/>
                    <a:gd name="connsiteX8" fmla="*/ 14923 w 82496"/>
                    <a:gd name="connsiteY8" fmla="*/ 16094 h 63081"/>
                    <a:gd name="connsiteX9" fmla="*/ 38868 w 82496"/>
                    <a:gd name="connsiteY9" fmla="*/ 47522 h 63081"/>
                    <a:gd name="connsiteX10" fmla="*/ 68748 w 82496"/>
                    <a:gd name="connsiteY10" fmla="*/ 44632 h 63081"/>
                    <a:gd name="connsiteX11" fmla="*/ 54376 w 82496"/>
                    <a:gd name="connsiteY11" fmla="*/ 18287 h 63081"/>
                    <a:gd name="connsiteX12" fmla="*/ 14923 w 82496"/>
                    <a:gd name="connsiteY12" fmla="*/ 16094 h 6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496" h="63081">
                      <a:moveTo>
                        <a:pt x="49680" y="63081"/>
                      </a:moveTo>
                      <a:cubicBezTo>
                        <a:pt x="44003" y="63081"/>
                        <a:pt x="38584" y="61946"/>
                        <a:pt x="33449" y="59675"/>
                      </a:cubicBezTo>
                      <a:cubicBezTo>
                        <a:pt x="8446" y="48657"/>
                        <a:pt x="499" y="14623"/>
                        <a:pt x="163" y="13178"/>
                      </a:cubicBezTo>
                      <a:cubicBezTo>
                        <a:pt x="-559" y="9978"/>
                        <a:pt x="1170" y="6727"/>
                        <a:pt x="4240" y="5515"/>
                      </a:cubicBezTo>
                      <a:cubicBezTo>
                        <a:pt x="5608" y="4972"/>
                        <a:pt x="38223" y="-7516"/>
                        <a:pt x="61394" y="6985"/>
                      </a:cubicBezTo>
                      <a:cubicBezTo>
                        <a:pt x="73857" y="14804"/>
                        <a:pt x="80953" y="28557"/>
                        <a:pt x="82476" y="47883"/>
                      </a:cubicBezTo>
                      <a:cubicBezTo>
                        <a:pt x="82682" y="50463"/>
                        <a:pt x="81366" y="52915"/>
                        <a:pt x="79121" y="54179"/>
                      </a:cubicBezTo>
                      <a:cubicBezTo>
                        <a:pt x="68722" y="60114"/>
                        <a:pt x="58866" y="63081"/>
                        <a:pt x="49680" y="63081"/>
                      </a:cubicBezTo>
                      <a:close/>
                      <a:moveTo>
                        <a:pt x="14923" y="16094"/>
                      </a:moveTo>
                      <a:cubicBezTo>
                        <a:pt x="17968" y="24996"/>
                        <a:pt x="25296" y="41561"/>
                        <a:pt x="38868" y="47522"/>
                      </a:cubicBezTo>
                      <a:cubicBezTo>
                        <a:pt x="47332" y="51238"/>
                        <a:pt x="57369" y="50257"/>
                        <a:pt x="68748" y="44632"/>
                      </a:cubicBezTo>
                      <a:cubicBezTo>
                        <a:pt x="67019" y="32040"/>
                        <a:pt x="62194" y="23190"/>
                        <a:pt x="54376" y="18287"/>
                      </a:cubicBezTo>
                      <a:cubicBezTo>
                        <a:pt x="41810" y="10391"/>
                        <a:pt x="24006" y="13617"/>
                        <a:pt x="14923" y="16094"/>
                      </a:cubicBezTo>
                      <a:close/>
                    </a:path>
                  </a:pathLst>
                </a:custGeom>
                <a:solidFill>
                  <a:schemeClr val="accent1"/>
                </a:solidFill>
                <a:ln w="2573" cap="flat">
                  <a:noFill/>
                  <a:prstDash val="solid"/>
                  <a:miter/>
                </a:ln>
              </p:spPr>
              <p:txBody>
                <a:bodyPr rtlCol="0" anchor="ctr"/>
                <a:lstStyle/>
                <a:p>
                  <a:endParaRPr lang="en-GB" dirty="0"/>
                </a:p>
              </p:txBody>
            </p:sp>
            <p:sp>
              <p:nvSpPr>
                <p:cNvPr id="1569" name="Freihandform: Form 1568">
                  <a:extLst>
                    <a:ext uri="{FF2B5EF4-FFF2-40B4-BE49-F238E27FC236}">
                      <a16:creationId xmlns:a16="http://schemas.microsoft.com/office/drawing/2014/main" id="{11DDC8C9-A781-456F-BFE0-FAE03A8996E5}"/>
                    </a:ext>
                  </a:extLst>
                </p:cNvPr>
                <p:cNvSpPr/>
                <p:nvPr/>
              </p:nvSpPr>
              <p:spPr>
                <a:xfrm>
                  <a:off x="2551100" y="4343459"/>
                  <a:ext cx="70197" cy="70867"/>
                </a:xfrm>
                <a:custGeom>
                  <a:avLst/>
                  <a:gdLst>
                    <a:gd name="connsiteX0" fmla="*/ 47379 w 70197"/>
                    <a:gd name="connsiteY0" fmla="*/ 70868 h 70867"/>
                    <a:gd name="connsiteX1" fmla="*/ 17835 w 70197"/>
                    <a:gd name="connsiteY1" fmla="*/ 60521 h 70867"/>
                    <a:gd name="connsiteX2" fmla="*/ 185 w 70197"/>
                    <a:gd name="connsiteY2" fmla="*/ 6154 h 70867"/>
                    <a:gd name="connsiteX3" fmla="*/ 6378 w 70197"/>
                    <a:gd name="connsiteY3" fmla="*/ 90 h 70867"/>
                    <a:gd name="connsiteX4" fmla="*/ 60410 w 70197"/>
                    <a:gd name="connsiteY4" fmla="*/ 18771 h 70867"/>
                    <a:gd name="connsiteX5" fmla="*/ 68125 w 70197"/>
                    <a:gd name="connsiteY5" fmla="*/ 64107 h 70867"/>
                    <a:gd name="connsiteX6" fmla="*/ 63042 w 70197"/>
                    <a:gd name="connsiteY6" fmla="*/ 69113 h 70867"/>
                    <a:gd name="connsiteX7" fmla="*/ 47379 w 70197"/>
                    <a:gd name="connsiteY7" fmla="*/ 70868 h 70867"/>
                    <a:gd name="connsiteX8" fmla="*/ 61649 w 70197"/>
                    <a:gd name="connsiteY8" fmla="*/ 62585 h 70867"/>
                    <a:gd name="connsiteX9" fmla="*/ 61726 w 70197"/>
                    <a:gd name="connsiteY9" fmla="*/ 62585 h 70867"/>
                    <a:gd name="connsiteX10" fmla="*/ 61649 w 70197"/>
                    <a:gd name="connsiteY10" fmla="*/ 62585 h 70867"/>
                    <a:gd name="connsiteX11" fmla="*/ 13345 w 70197"/>
                    <a:gd name="connsiteY11" fmla="*/ 13353 h 70867"/>
                    <a:gd name="connsiteX12" fmla="*/ 26685 w 70197"/>
                    <a:gd name="connsiteY12" fmla="*/ 50561 h 70867"/>
                    <a:gd name="connsiteX13" fmla="*/ 56049 w 70197"/>
                    <a:gd name="connsiteY13" fmla="*/ 56857 h 70867"/>
                    <a:gd name="connsiteX14" fmla="*/ 50321 w 70197"/>
                    <a:gd name="connsiteY14" fmla="*/ 27390 h 70867"/>
                    <a:gd name="connsiteX15" fmla="*/ 13345 w 70197"/>
                    <a:gd name="connsiteY15" fmla="*/ 13353 h 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197" h="70867">
                      <a:moveTo>
                        <a:pt x="47379" y="70868"/>
                      </a:moveTo>
                      <a:cubicBezTo>
                        <a:pt x="35536" y="70868"/>
                        <a:pt x="25653" y="67410"/>
                        <a:pt x="17835" y="60521"/>
                      </a:cubicBezTo>
                      <a:cubicBezTo>
                        <a:pt x="-2653" y="42459"/>
                        <a:pt x="56" y="7625"/>
                        <a:pt x="185" y="6154"/>
                      </a:cubicBezTo>
                      <a:cubicBezTo>
                        <a:pt x="469" y="2877"/>
                        <a:pt x="3101" y="296"/>
                        <a:pt x="6378" y="90"/>
                      </a:cubicBezTo>
                      <a:cubicBezTo>
                        <a:pt x="7849" y="12"/>
                        <a:pt x="42709" y="-2052"/>
                        <a:pt x="60410" y="18771"/>
                      </a:cubicBezTo>
                      <a:cubicBezTo>
                        <a:pt x="69931" y="29970"/>
                        <a:pt x="72512" y="45246"/>
                        <a:pt x="68125" y="64107"/>
                      </a:cubicBezTo>
                      <a:cubicBezTo>
                        <a:pt x="67532" y="66611"/>
                        <a:pt x="65571" y="68572"/>
                        <a:pt x="63042" y="69113"/>
                      </a:cubicBezTo>
                      <a:cubicBezTo>
                        <a:pt x="57494" y="70274"/>
                        <a:pt x="52256" y="70868"/>
                        <a:pt x="47379" y="70868"/>
                      </a:cubicBezTo>
                      <a:close/>
                      <a:moveTo>
                        <a:pt x="61649" y="62585"/>
                      </a:moveTo>
                      <a:lnTo>
                        <a:pt x="61726" y="62585"/>
                      </a:lnTo>
                      <a:lnTo>
                        <a:pt x="61649" y="62585"/>
                      </a:lnTo>
                      <a:close/>
                      <a:moveTo>
                        <a:pt x="13345" y="13353"/>
                      </a:moveTo>
                      <a:cubicBezTo>
                        <a:pt x="13577" y="22771"/>
                        <a:pt x="15538" y="40756"/>
                        <a:pt x="26685" y="50561"/>
                      </a:cubicBezTo>
                      <a:cubicBezTo>
                        <a:pt x="33600" y="56651"/>
                        <a:pt x="43457" y="58766"/>
                        <a:pt x="56049" y="56857"/>
                      </a:cubicBezTo>
                      <a:cubicBezTo>
                        <a:pt x="58191" y="44342"/>
                        <a:pt x="56282" y="34434"/>
                        <a:pt x="50321" y="27390"/>
                      </a:cubicBezTo>
                      <a:cubicBezTo>
                        <a:pt x="40696" y="16062"/>
                        <a:pt x="22737" y="13765"/>
                        <a:pt x="13345" y="13353"/>
                      </a:cubicBezTo>
                      <a:close/>
                    </a:path>
                  </a:pathLst>
                </a:custGeom>
                <a:solidFill>
                  <a:schemeClr val="accent1"/>
                </a:solidFill>
                <a:ln w="2573" cap="flat">
                  <a:noFill/>
                  <a:prstDash val="solid"/>
                  <a:miter/>
                </a:ln>
              </p:spPr>
              <p:txBody>
                <a:bodyPr rtlCol="0" anchor="ctr"/>
                <a:lstStyle/>
                <a:p>
                  <a:endParaRPr lang="en-GB" dirty="0"/>
                </a:p>
              </p:txBody>
            </p:sp>
            <p:sp>
              <p:nvSpPr>
                <p:cNvPr id="1570" name="Freihandform: Form 1569">
                  <a:extLst>
                    <a:ext uri="{FF2B5EF4-FFF2-40B4-BE49-F238E27FC236}">
                      <a16:creationId xmlns:a16="http://schemas.microsoft.com/office/drawing/2014/main" id="{1EE9DEC6-FFC1-467A-9C96-D6B02FAB46F6}"/>
                    </a:ext>
                  </a:extLst>
                </p:cNvPr>
                <p:cNvSpPr/>
                <p:nvPr/>
              </p:nvSpPr>
              <p:spPr>
                <a:xfrm>
                  <a:off x="2570389" y="4255441"/>
                  <a:ext cx="66854" cy="75128"/>
                </a:xfrm>
                <a:custGeom>
                  <a:avLst/>
                  <a:gdLst>
                    <a:gd name="connsiteX0" fmla="*/ 48475 w 66854"/>
                    <a:gd name="connsiteY0" fmla="*/ 75129 h 75128"/>
                    <a:gd name="connsiteX1" fmla="*/ 13099 w 66854"/>
                    <a:gd name="connsiteY1" fmla="*/ 61350 h 75128"/>
                    <a:gd name="connsiteX2" fmla="*/ 1281 w 66854"/>
                    <a:gd name="connsiteY2" fmla="*/ 5408 h 75128"/>
                    <a:gd name="connsiteX3" fmla="*/ 8067 w 66854"/>
                    <a:gd name="connsiteY3" fmla="*/ 16 h 75128"/>
                    <a:gd name="connsiteX4" fmla="*/ 59828 w 66854"/>
                    <a:gd name="connsiteY4" fmla="*/ 24296 h 75128"/>
                    <a:gd name="connsiteX5" fmla="*/ 62718 w 66854"/>
                    <a:gd name="connsiteY5" fmla="*/ 70200 h 75128"/>
                    <a:gd name="connsiteX6" fmla="*/ 57119 w 66854"/>
                    <a:gd name="connsiteY6" fmla="*/ 74638 h 75128"/>
                    <a:gd name="connsiteX7" fmla="*/ 48475 w 66854"/>
                    <a:gd name="connsiteY7" fmla="*/ 75129 h 75128"/>
                    <a:gd name="connsiteX8" fmla="*/ 56448 w 66854"/>
                    <a:gd name="connsiteY8" fmla="*/ 68033 h 75128"/>
                    <a:gd name="connsiteX9" fmla="*/ 56525 w 66854"/>
                    <a:gd name="connsiteY9" fmla="*/ 68033 h 75128"/>
                    <a:gd name="connsiteX10" fmla="*/ 56448 w 66854"/>
                    <a:gd name="connsiteY10" fmla="*/ 68033 h 75128"/>
                    <a:gd name="connsiteX11" fmla="*/ 13615 w 66854"/>
                    <a:gd name="connsiteY11" fmla="*/ 13975 h 75128"/>
                    <a:gd name="connsiteX12" fmla="*/ 22930 w 66854"/>
                    <a:gd name="connsiteY12" fmla="*/ 52370 h 75128"/>
                    <a:gd name="connsiteX13" fmla="*/ 51442 w 66854"/>
                    <a:gd name="connsiteY13" fmla="*/ 61737 h 75128"/>
                    <a:gd name="connsiteX14" fmla="*/ 48862 w 66854"/>
                    <a:gd name="connsiteY14" fmla="*/ 31831 h 75128"/>
                    <a:gd name="connsiteX15" fmla="*/ 13615 w 66854"/>
                    <a:gd name="connsiteY15" fmla="*/ 13975 h 75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6854" h="75128">
                      <a:moveTo>
                        <a:pt x="48475" y="75129"/>
                      </a:moveTo>
                      <a:cubicBezTo>
                        <a:pt x="33354" y="75129"/>
                        <a:pt x="21485" y="70510"/>
                        <a:pt x="13099" y="61350"/>
                      </a:cubicBezTo>
                      <a:cubicBezTo>
                        <a:pt x="-5351" y="41223"/>
                        <a:pt x="997" y="6853"/>
                        <a:pt x="1281" y="5408"/>
                      </a:cubicBezTo>
                      <a:cubicBezTo>
                        <a:pt x="1900" y="2183"/>
                        <a:pt x="4584" y="-217"/>
                        <a:pt x="8067" y="16"/>
                      </a:cubicBezTo>
                      <a:cubicBezTo>
                        <a:pt x="9538" y="67"/>
                        <a:pt x="44449" y="1718"/>
                        <a:pt x="59828" y="24296"/>
                      </a:cubicBezTo>
                      <a:cubicBezTo>
                        <a:pt x="68111" y="36450"/>
                        <a:pt x="69066" y="51906"/>
                        <a:pt x="62718" y="70200"/>
                      </a:cubicBezTo>
                      <a:cubicBezTo>
                        <a:pt x="61866" y="72626"/>
                        <a:pt x="59699" y="74355"/>
                        <a:pt x="57119" y="74638"/>
                      </a:cubicBezTo>
                      <a:cubicBezTo>
                        <a:pt x="54151" y="74974"/>
                        <a:pt x="51261" y="75129"/>
                        <a:pt x="48475" y="75129"/>
                      </a:cubicBezTo>
                      <a:close/>
                      <a:moveTo>
                        <a:pt x="56448" y="68033"/>
                      </a:moveTo>
                      <a:lnTo>
                        <a:pt x="56525" y="68033"/>
                      </a:lnTo>
                      <a:lnTo>
                        <a:pt x="56448" y="68033"/>
                      </a:lnTo>
                      <a:close/>
                      <a:moveTo>
                        <a:pt x="13615" y="13975"/>
                      </a:moveTo>
                      <a:cubicBezTo>
                        <a:pt x="12840" y="23368"/>
                        <a:pt x="12892" y="41456"/>
                        <a:pt x="22930" y="52370"/>
                      </a:cubicBezTo>
                      <a:cubicBezTo>
                        <a:pt x="29174" y="59157"/>
                        <a:pt x="38773" y="62253"/>
                        <a:pt x="51442" y="61737"/>
                      </a:cubicBezTo>
                      <a:cubicBezTo>
                        <a:pt x="54900" y="49506"/>
                        <a:pt x="54048" y="39469"/>
                        <a:pt x="48862" y="31831"/>
                      </a:cubicBezTo>
                      <a:cubicBezTo>
                        <a:pt x="40553" y="19548"/>
                        <a:pt x="22930" y="15368"/>
                        <a:pt x="13615" y="13975"/>
                      </a:cubicBezTo>
                      <a:close/>
                    </a:path>
                  </a:pathLst>
                </a:custGeom>
                <a:solidFill>
                  <a:schemeClr val="accent1"/>
                </a:solidFill>
                <a:ln w="2573" cap="flat">
                  <a:noFill/>
                  <a:prstDash val="solid"/>
                  <a:miter/>
                </a:ln>
              </p:spPr>
              <p:txBody>
                <a:bodyPr rtlCol="0" anchor="ctr"/>
                <a:lstStyle/>
                <a:p>
                  <a:endParaRPr lang="en-GB" dirty="0"/>
                </a:p>
              </p:txBody>
            </p:sp>
            <p:sp>
              <p:nvSpPr>
                <p:cNvPr id="1571" name="Freihandform: Form 1570">
                  <a:extLst>
                    <a:ext uri="{FF2B5EF4-FFF2-40B4-BE49-F238E27FC236}">
                      <a16:creationId xmlns:a16="http://schemas.microsoft.com/office/drawing/2014/main" id="{111738A9-A3FE-46E2-AF46-F602F9DC7088}"/>
                    </a:ext>
                  </a:extLst>
                </p:cNvPr>
                <p:cNvSpPr/>
                <p:nvPr/>
              </p:nvSpPr>
              <p:spPr>
                <a:xfrm>
                  <a:off x="2610724" y="4166859"/>
                  <a:ext cx="61573" cy="86249"/>
                </a:xfrm>
                <a:custGeom>
                  <a:avLst/>
                  <a:gdLst>
                    <a:gd name="connsiteX0" fmla="*/ 43697 w 61573"/>
                    <a:gd name="connsiteY0" fmla="*/ 86250 h 86249"/>
                    <a:gd name="connsiteX1" fmla="*/ 42407 w 61573"/>
                    <a:gd name="connsiteY1" fmla="*/ 86121 h 86249"/>
                    <a:gd name="connsiteX2" fmla="*/ 4244 w 61573"/>
                    <a:gd name="connsiteY2" fmla="*/ 60472 h 86249"/>
                    <a:gd name="connsiteX3" fmla="*/ 9405 w 61573"/>
                    <a:gd name="connsiteY3" fmla="*/ 3525 h 86249"/>
                    <a:gd name="connsiteX4" fmla="*/ 17481 w 61573"/>
                    <a:gd name="connsiteY4" fmla="*/ 377 h 86249"/>
                    <a:gd name="connsiteX5" fmla="*/ 59798 w 61573"/>
                    <a:gd name="connsiteY5" fmla="*/ 38798 h 86249"/>
                    <a:gd name="connsiteX6" fmla="*/ 49064 w 61573"/>
                    <a:gd name="connsiteY6" fmla="*/ 83515 h 86249"/>
                    <a:gd name="connsiteX7" fmla="*/ 43697 w 61573"/>
                    <a:gd name="connsiteY7" fmla="*/ 86250 h 86249"/>
                    <a:gd name="connsiteX8" fmla="*/ 18668 w 61573"/>
                    <a:gd name="connsiteY8" fmla="*/ 15317 h 86249"/>
                    <a:gd name="connsiteX9" fmla="*/ 16268 w 61573"/>
                    <a:gd name="connsiteY9" fmla="*/ 54821 h 86249"/>
                    <a:gd name="connsiteX10" fmla="*/ 40781 w 61573"/>
                    <a:gd name="connsiteY10" fmla="*/ 72161 h 86249"/>
                    <a:gd name="connsiteX11" fmla="*/ 47077 w 61573"/>
                    <a:gd name="connsiteY11" fmla="*/ 42771 h 86249"/>
                    <a:gd name="connsiteX12" fmla="*/ 18668 w 61573"/>
                    <a:gd name="connsiteY12" fmla="*/ 15317 h 86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73" h="86249">
                      <a:moveTo>
                        <a:pt x="43697" y="86250"/>
                      </a:moveTo>
                      <a:cubicBezTo>
                        <a:pt x="43258" y="86250"/>
                        <a:pt x="42845" y="86198"/>
                        <a:pt x="42407" y="86121"/>
                      </a:cubicBezTo>
                      <a:cubicBezTo>
                        <a:pt x="23390" y="82379"/>
                        <a:pt x="10540" y="73735"/>
                        <a:pt x="4244" y="60472"/>
                      </a:cubicBezTo>
                      <a:cubicBezTo>
                        <a:pt x="-7471" y="35805"/>
                        <a:pt x="8708" y="4841"/>
                        <a:pt x="9405" y="3525"/>
                      </a:cubicBezTo>
                      <a:cubicBezTo>
                        <a:pt x="10953" y="609"/>
                        <a:pt x="14385" y="-707"/>
                        <a:pt x="17481" y="377"/>
                      </a:cubicBezTo>
                      <a:cubicBezTo>
                        <a:pt x="18874" y="867"/>
                        <a:pt x="51748" y="12711"/>
                        <a:pt x="59798" y="38798"/>
                      </a:cubicBezTo>
                      <a:cubicBezTo>
                        <a:pt x="64133" y="52835"/>
                        <a:pt x="60521" y="67878"/>
                        <a:pt x="49064" y="83515"/>
                      </a:cubicBezTo>
                      <a:cubicBezTo>
                        <a:pt x="47800" y="85269"/>
                        <a:pt x="45787" y="86250"/>
                        <a:pt x="43697" y="86250"/>
                      </a:cubicBezTo>
                      <a:close/>
                      <a:moveTo>
                        <a:pt x="18668" y="15317"/>
                      </a:moveTo>
                      <a:cubicBezTo>
                        <a:pt x="15159" y="24038"/>
                        <a:pt x="9869" y="41404"/>
                        <a:pt x="16268" y="54821"/>
                      </a:cubicBezTo>
                      <a:cubicBezTo>
                        <a:pt x="20242" y="63156"/>
                        <a:pt x="28473" y="68962"/>
                        <a:pt x="40781" y="72161"/>
                      </a:cubicBezTo>
                      <a:cubicBezTo>
                        <a:pt x="47696" y="61479"/>
                        <a:pt x="49812" y="51622"/>
                        <a:pt x="47077" y="42771"/>
                      </a:cubicBezTo>
                      <a:cubicBezTo>
                        <a:pt x="42974" y="29431"/>
                        <a:pt x="28215" y="19884"/>
                        <a:pt x="18668" y="15317"/>
                      </a:cubicBezTo>
                      <a:close/>
                    </a:path>
                  </a:pathLst>
                </a:custGeom>
                <a:solidFill>
                  <a:schemeClr val="accent1"/>
                </a:solidFill>
                <a:ln w="2573" cap="flat">
                  <a:noFill/>
                  <a:prstDash val="solid"/>
                  <a:miter/>
                </a:ln>
              </p:spPr>
              <p:txBody>
                <a:bodyPr rtlCol="0" anchor="ctr"/>
                <a:lstStyle/>
                <a:p>
                  <a:endParaRPr lang="en-GB" dirty="0"/>
                </a:p>
              </p:txBody>
            </p:sp>
          </p:grpSp>
          <p:grpSp>
            <p:nvGrpSpPr>
              <p:cNvPr id="1563" name="Grafik 312">
                <a:extLst>
                  <a:ext uri="{FF2B5EF4-FFF2-40B4-BE49-F238E27FC236}">
                    <a16:creationId xmlns:a16="http://schemas.microsoft.com/office/drawing/2014/main" id="{F2636099-433B-41F6-81F9-6E619B635936}"/>
                  </a:ext>
                </a:extLst>
              </p:cNvPr>
              <p:cNvGrpSpPr/>
              <p:nvPr/>
            </p:nvGrpSpPr>
            <p:grpSpPr>
              <a:xfrm>
                <a:off x="2861500" y="4166888"/>
                <a:ext cx="126070" cy="330086"/>
                <a:chOff x="2861500" y="4166888"/>
                <a:chExt cx="126070" cy="330086"/>
              </a:xfrm>
              <a:solidFill>
                <a:schemeClr val="accent1"/>
              </a:solidFill>
            </p:grpSpPr>
            <p:sp>
              <p:nvSpPr>
                <p:cNvPr id="1564" name="Freihandform: Form 1563">
                  <a:extLst>
                    <a:ext uri="{FF2B5EF4-FFF2-40B4-BE49-F238E27FC236}">
                      <a16:creationId xmlns:a16="http://schemas.microsoft.com/office/drawing/2014/main" id="{C264C620-CC94-4704-B22B-B6C963A97BC8}"/>
                    </a:ext>
                  </a:extLst>
                </p:cNvPr>
                <p:cNvSpPr/>
                <p:nvPr/>
              </p:nvSpPr>
              <p:spPr>
                <a:xfrm>
                  <a:off x="2861500" y="4433893"/>
                  <a:ext cx="82492" cy="63081"/>
                </a:xfrm>
                <a:custGeom>
                  <a:avLst/>
                  <a:gdLst>
                    <a:gd name="connsiteX0" fmla="*/ 32813 w 82492"/>
                    <a:gd name="connsiteY0" fmla="*/ 63081 h 63081"/>
                    <a:gd name="connsiteX1" fmla="*/ 3371 w 82492"/>
                    <a:gd name="connsiteY1" fmla="*/ 54179 h 63081"/>
                    <a:gd name="connsiteX2" fmla="*/ 17 w 82492"/>
                    <a:gd name="connsiteY2" fmla="*/ 47883 h 63081"/>
                    <a:gd name="connsiteX3" fmla="*/ 21098 w 82492"/>
                    <a:gd name="connsiteY3" fmla="*/ 6985 h 63081"/>
                    <a:gd name="connsiteX4" fmla="*/ 78252 w 82492"/>
                    <a:gd name="connsiteY4" fmla="*/ 5515 h 63081"/>
                    <a:gd name="connsiteX5" fmla="*/ 82329 w 82492"/>
                    <a:gd name="connsiteY5" fmla="*/ 13178 h 63081"/>
                    <a:gd name="connsiteX6" fmla="*/ 49043 w 82492"/>
                    <a:gd name="connsiteY6" fmla="*/ 59675 h 63081"/>
                    <a:gd name="connsiteX7" fmla="*/ 32813 w 82492"/>
                    <a:gd name="connsiteY7" fmla="*/ 63081 h 63081"/>
                    <a:gd name="connsiteX8" fmla="*/ 13744 w 82492"/>
                    <a:gd name="connsiteY8" fmla="*/ 44658 h 63081"/>
                    <a:gd name="connsiteX9" fmla="*/ 43650 w 82492"/>
                    <a:gd name="connsiteY9" fmla="*/ 47522 h 63081"/>
                    <a:gd name="connsiteX10" fmla="*/ 67621 w 82492"/>
                    <a:gd name="connsiteY10" fmla="*/ 16120 h 63081"/>
                    <a:gd name="connsiteX11" fmla="*/ 28116 w 82492"/>
                    <a:gd name="connsiteY11" fmla="*/ 18313 h 63081"/>
                    <a:gd name="connsiteX12" fmla="*/ 13744 w 82492"/>
                    <a:gd name="connsiteY12" fmla="*/ 44658 h 6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492" h="63081">
                      <a:moveTo>
                        <a:pt x="32813" y="63081"/>
                      </a:moveTo>
                      <a:cubicBezTo>
                        <a:pt x="23627" y="63081"/>
                        <a:pt x="13796" y="60114"/>
                        <a:pt x="3371" y="54179"/>
                      </a:cubicBezTo>
                      <a:cubicBezTo>
                        <a:pt x="1126" y="52915"/>
                        <a:pt x="-164" y="50438"/>
                        <a:pt x="17" y="47883"/>
                      </a:cubicBezTo>
                      <a:cubicBezTo>
                        <a:pt x="1539" y="28557"/>
                        <a:pt x="8635" y="14804"/>
                        <a:pt x="21098" y="6985"/>
                      </a:cubicBezTo>
                      <a:cubicBezTo>
                        <a:pt x="44243" y="-7516"/>
                        <a:pt x="76859" y="4972"/>
                        <a:pt x="78252" y="5515"/>
                      </a:cubicBezTo>
                      <a:cubicBezTo>
                        <a:pt x="81323" y="6727"/>
                        <a:pt x="83051" y="9978"/>
                        <a:pt x="82329" y="13178"/>
                      </a:cubicBezTo>
                      <a:cubicBezTo>
                        <a:pt x="81994" y="14623"/>
                        <a:pt x="74046" y="48632"/>
                        <a:pt x="49043" y="59675"/>
                      </a:cubicBezTo>
                      <a:cubicBezTo>
                        <a:pt x="43882" y="61946"/>
                        <a:pt x="38463" y="63081"/>
                        <a:pt x="32813" y="63081"/>
                      </a:cubicBezTo>
                      <a:close/>
                      <a:moveTo>
                        <a:pt x="13744" y="44658"/>
                      </a:moveTo>
                      <a:cubicBezTo>
                        <a:pt x="25149" y="50283"/>
                        <a:pt x="35187" y="51264"/>
                        <a:pt x="43650" y="47522"/>
                      </a:cubicBezTo>
                      <a:cubicBezTo>
                        <a:pt x="56397" y="41897"/>
                        <a:pt x="64163" y="26131"/>
                        <a:pt x="67621" y="16120"/>
                      </a:cubicBezTo>
                      <a:cubicBezTo>
                        <a:pt x="58538" y="13668"/>
                        <a:pt x="40683" y="10391"/>
                        <a:pt x="28116" y="18313"/>
                      </a:cubicBezTo>
                      <a:cubicBezTo>
                        <a:pt x="20298" y="23215"/>
                        <a:pt x="15473" y="32066"/>
                        <a:pt x="13744" y="44658"/>
                      </a:cubicBezTo>
                      <a:close/>
                    </a:path>
                  </a:pathLst>
                </a:custGeom>
                <a:solidFill>
                  <a:schemeClr val="accent1"/>
                </a:solidFill>
                <a:ln w="2573" cap="flat">
                  <a:noFill/>
                  <a:prstDash val="solid"/>
                  <a:miter/>
                </a:ln>
              </p:spPr>
              <p:txBody>
                <a:bodyPr rtlCol="0" anchor="ctr"/>
                <a:lstStyle/>
                <a:p>
                  <a:endParaRPr lang="en-GB" dirty="0"/>
                </a:p>
              </p:txBody>
            </p:sp>
            <p:sp>
              <p:nvSpPr>
                <p:cNvPr id="1565" name="Freihandform: Form 1564">
                  <a:extLst>
                    <a:ext uri="{FF2B5EF4-FFF2-40B4-BE49-F238E27FC236}">
                      <a16:creationId xmlns:a16="http://schemas.microsoft.com/office/drawing/2014/main" id="{D0036601-6F78-4055-82E1-DD3904166633}"/>
                    </a:ext>
                  </a:extLst>
                </p:cNvPr>
                <p:cNvSpPr/>
                <p:nvPr/>
              </p:nvSpPr>
              <p:spPr>
                <a:xfrm>
                  <a:off x="2917373" y="4343459"/>
                  <a:ext cx="70197" cy="70867"/>
                </a:xfrm>
                <a:custGeom>
                  <a:avLst/>
                  <a:gdLst>
                    <a:gd name="connsiteX0" fmla="*/ 22792 w 70197"/>
                    <a:gd name="connsiteY0" fmla="*/ 70868 h 70867"/>
                    <a:gd name="connsiteX1" fmla="*/ 7155 w 70197"/>
                    <a:gd name="connsiteY1" fmla="*/ 69113 h 70867"/>
                    <a:gd name="connsiteX2" fmla="*/ 2072 w 70197"/>
                    <a:gd name="connsiteY2" fmla="*/ 64107 h 70867"/>
                    <a:gd name="connsiteX3" fmla="*/ 9787 w 70197"/>
                    <a:gd name="connsiteY3" fmla="*/ 18771 h 70867"/>
                    <a:gd name="connsiteX4" fmla="*/ 63819 w 70197"/>
                    <a:gd name="connsiteY4" fmla="*/ 90 h 70867"/>
                    <a:gd name="connsiteX5" fmla="*/ 70012 w 70197"/>
                    <a:gd name="connsiteY5" fmla="*/ 6154 h 70867"/>
                    <a:gd name="connsiteX6" fmla="*/ 52363 w 70197"/>
                    <a:gd name="connsiteY6" fmla="*/ 60521 h 70867"/>
                    <a:gd name="connsiteX7" fmla="*/ 22792 w 70197"/>
                    <a:gd name="connsiteY7" fmla="*/ 70868 h 70867"/>
                    <a:gd name="connsiteX8" fmla="*/ 14148 w 70197"/>
                    <a:gd name="connsiteY8" fmla="*/ 56857 h 70867"/>
                    <a:gd name="connsiteX9" fmla="*/ 43512 w 70197"/>
                    <a:gd name="connsiteY9" fmla="*/ 50561 h 70867"/>
                    <a:gd name="connsiteX10" fmla="*/ 56852 w 70197"/>
                    <a:gd name="connsiteY10" fmla="*/ 13353 h 70867"/>
                    <a:gd name="connsiteX11" fmla="*/ 19902 w 70197"/>
                    <a:gd name="connsiteY11" fmla="*/ 27390 h 70867"/>
                    <a:gd name="connsiteX12" fmla="*/ 14148 w 70197"/>
                    <a:gd name="connsiteY12" fmla="*/ 56857 h 70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197" h="70867">
                      <a:moveTo>
                        <a:pt x="22792" y="70868"/>
                      </a:moveTo>
                      <a:cubicBezTo>
                        <a:pt x="17890" y="70868"/>
                        <a:pt x="12677" y="70274"/>
                        <a:pt x="7155" y="69113"/>
                      </a:cubicBezTo>
                      <a:cubicBezTo>
                        <a:pt x="4627" y="68572"/>
                        <a:pt x="2640" y="66636"/>
                        <a:pt x="2072" y="64107"/>
                      </a:cubicBezTo>
                      <a:cubicBezTo>
                        <a:pt x="-2314" y="45220"/>
                        <a:pt x="266" y="29970"/>
                        <a:pt x="9787" y="18771"/>
                      </a:cubicBezTo>
                      <a:cubicBezTo>
                        <a:pt x="27462" y="-2052"/>
                        <a:pt x="62348" y="12"/>
                        <a:pt x="63819" y="90"/>
                      </a:cubicBezTo>
                      <a:cubicBezTo>
                        <a:pt x="67096" y="322"/>
                        <a:pt x="69728" y="2877"/>
                        <a:pt x="70012" y="6154"/>
                      </a:cubicBezTo>
                      <a:cubicBezTo>
                        <a:pt x="70141" y="7625"/>
                        <a:pt x="72850" y="42459"/>
                        <a:pt x="52363" y="60521"/>
                      </a:cubicBezTo>
                      <a:cubicBezTo>
                        <a:pt x="44518" y="67410"/>
                        <a:pt x="34636" y="70868"/>
                        <a:pt x="22792" y="70868"/>
                      </a:cubicBezTo>
                      <a:close/>
                      <a:moveTo>
                        <a:pt x="14148" y="56857"/>
                      </a:moveTo>
                      <a:cubicBezTo>
                        <a:pt x="26714" y="58766"/>
                        <a:pt x="36571" y="56651"/>
                        <a:pt x="43512" y="50561"/>
                      </a:cubicBezTo>
                      <a:cubicBezTo>
                        <a:pt x="54659" y="40756"/>
                        <a:pt x="56620" y="22771"/>
                        <a:pt x="56852" y="13353"/>
                      </a:cubicBezTo>
                      <a:cubicBezTo>
                        <a:pt x="47434" y="13740"/>
                        <a:pt x="29475" y="16062"/>
                        <a:pt x="19902" y="27390"/>
                      </a:cubicBezTo>
                      <a:cubicBezTo>
                        <a:pt x="13916" y="34434"/>
                        <a:pt x="12006" y="44342"/>
                        <a:pt x="14148" y="56857"/>
                      </a:cubicBezTo>
                      <a:close/>
                    </a:path>
                  </a:pathLst>
                </a:custGeom>
                <a:solidFill>
                  <a:schemeClr val="accent1"/>
                </a:solidFill>
                <a:ln w="2573" cap="flat">
                  <a:noFill/>
                  <a:prstDash val="solid"/>
                  <a:miter/>
                </a:ln>
              </p:spPr>
              <p:txBody>
                <a:bodyPr rtlCol="0" anchor="ctr"/>
                <a:lstStyle/>
                <a:p>
                  <a:endParaRPr lang="en-GB" dirty="0"/>
                </a:p>
              </p:txBody>
            </p:sp>
            <p:sp>
              <p:nvSpPr>
                <p:cNvPr id="1566" name="Freihandform: Form 1565">
                  <a:extLst>
                    <a:ext uri="{FF2B5EF4-FFF2-40B4-BE49-F238E27FC236}">
                      <a16:creationId xmlns:a16="http://schemas.microsoft.com/office/drawing/2014/main" id="{A10FBD69-6462-4E4E-B5E1-FE847FBD319F}"/>
                    </a:ext>
                  </a:extLst>
                </p:cNvPr>
                <p:cNvSpPr/>
                <p:nvPr/>
              </p:nvSpPr>
              <p:spPr>
                <a:xfrm>
                  <a:off x="2901364" y="4255467"/>
                  <a:ext cx="66872" cy="75102"/>
                </a:xfrm>
                <a:custGeom>
                  <a:avLst/>
                  <a:gdLst>
                    <a:gd name="connsiteX0" fmla="*/ 18390 w 66872"/>
                    <a:gd name="connsiteY0" fmla="*/ 75103 h 75102"/>
                    <a:gd name="connsiteX1" fmla="*/ 9746 w 66872"/>
                    <a:gd name="connsiteY1" fmla="*/ 74638 h 75102"/>
                    <a:gd name="connsiteX2" fmla="*/ 4147 w 66872"/>
                    <a:gd name="connsiteY2" fmla="*/ 70200 h 75102"/>
                    <a:gd name="connsiteX3" fmla="*/ 7037 w 66872"/>
                    <a:gd name="connsiteY3" fmla="*/ 24296 h 75102"/>
                    <a:gd name="connsiteX4" fmla="*/ 58798 w 66872"/>
                    <a:gd name="connsiteY4" fmla="*/ 16 h 75102"/>
                    <a:gd name="connsiteX5" fmla="*/ 65584 w 66872"/>
                    <a:gd name="connsiteY5" fmla="*/ 5408 h 75102"/>
                    <a:gd name="connsiteX6" fmla="*/ 53766 w 66872"/>
                    <a:gd name="connsiteY6" fmla="*/ 61350 h 75102"/>
                    <a:gd name="connsiteX7" fmla="*/ 18390 w 66872"/>
                    <a:gd name="connsiteY7" fmla="*/ 75103 h 75102"/>
                    <a:gd name="connsiteX8" fmla="*/ 15423 w 66872"/>
                    <a:gd name="connsiteY8" fmla="*/ 61711 h 75102"/>
                    <a:gd name="connsiteX9" fmla="*/ 43987 w 66872"/>
                    <a:gd name="connsiteY9" fmla="*/ 52319 h 75102"/>
                    <a:gd name="connsiteX10" fmla="*/ 53328 w 66872"/>
                    <a:gd name="connsiteY10" fmla="*/ 13949 h 75102"/>
                    <a:gd name="connsiteX11" fmla="*/ 18029 w 66872"/>
                    <a:gd name="connsiteY11" fmla="*/ 31805 h 75102"/>
                    <a:gd name="connsiteX12" fmla="*/ 15423 w 66872"/>
                    <a:gd name="connsiteY12" fmla="*/ 61711 h 75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872" h="75102">
                      <a:moveTo>
                        <a:pt x="18390" y="75103"/>
                      </a:moveTo>
                      <a:cubicBezTo>
                        <a:pt x="15629" y="75103"/>
                        <a:pt x="12739" y="74948"/>
                        <a:pt x="9746" y="74638"/>
                      </a:cubicBezTo>
                      <a:cubicBezTo>
                        <a:pt x="7192" y="74380"/>
                        <a:pt x="4998" y="72652"/>
                        <a:pt x="4147" y="70200"/>
                      </a:cubicBezTo>
                      <a:cubicBezTo>
                        <a:pt x="-2226" y="51906"/>
                        <a:pt x="-1246" y="36450"/>
                        <a:pt x="7037" y="24296"/>
                      </a:cubicBezTo>
                      <a:cubicBezTo>
                        <a:pt x="22416" y="1718"/>
                        <a:pt x="57301" y="67"/>
                        <a:pt x="58798" y="16"/>
                      </a:cubicBezTo>
                      <a:cubicBezTo>
                        <a:pt x="62282" y="-217"/>
                        <a:pt x="64965" y="2183"/>
                        <a:pt x="65584" y="5408"/>
                      </a:cubicBezTo>
                      <a:cubicBezTo>
                        <a:pt x="65868" y="6853"/>
                        <a:pt x="72242" y="41223"/>
                        <a:pt x="53766" y="61350"/>
                      </a:cubicBezTo>
                      <a:cubicBezTo>
                        <a:pt x="45380" y="70484"/>
                        <a:pt x="33511" y="75103"/>
                        <a:pt x="18390" y="75103"/>
                      </a:cubicBezTo>
                      <a:close/>
                      <a:moveTo>
                        <a:pt x="15423" y="61711"/>
                      </a:moveTo>
                      <a:cubicBezTo>
                        <a:pt x="28144" y="62227"/>
                        <a:pt x="37717" y="59131"/>
                        <a:pt x="43987" y="52319"/>
                      </a:cubicBezTo>
                      <a:cubicBezTo>
                        <a:pt x="53405" y="42049"/>
                        <a:pt x="54179" y="24503"/>
                        <a:pt x="53328" y="13949"/>
                      </a:cubicBezTo>
                      <a:cubicBezTo>
                        <a:pt x="44039" y="15342"/>
                        <a:pt x="26389" y="19523"/>
                        <a:pt x="18029" y="31805"/>
                      </a:cubicBezTo>
                      <a:cubicBezTo>
                        <a:pt x="12817" y="39443"/>
                        <a:pt x="11965" y="49506"/>
                        <a:pt x="15423" y="61711"/>
                      </a:cubicBezTo>
                      <a:close/>
                    </a:path>
                  </a:pathLst>
                </a:custGeom>
                <a:solidFill>
                  <a:schemeClr val="accent1"/>
                </a:solidFill>
                <a:ln w="2573" cap="flat">
                  <a:noFill/>
                  <a:prstDash val="solid"/>
                  <a:miter/>
                </a:ln>
              </p:spPr>
              <p:txBody>
                <a:bodyPr rtlCol="0" anchor="ctr"/>
                <a:lstStyle/>
                <a:p>
                  <a:endParaRPr lang="en-GB" dirty="0"/>
                </a:p>
              </p:txBody>
            </p:sp>
            <p:sp>
              <p:nvSpPr>
                <p:cNvPr id="1567" name="Freihandform: Form 1566">
                  <a:extLst>
                    <a:ext uri="{FF2B5EF4-FFF2-40B4-BE49-F238E27FC236}">
                      <a16:creationId xmlns:a16="http://schemas.microsoft.com/office/drawing/2014/main" id="{FC9D4683-BA67-4EE2-943A-64278D2B366D}"/>
                    </a:ext>
                  </a:extLst>
                </p:cNvPr>
                <p:cNvSpPr/>
                <p:nvPr/>
              </p:nvSpPr>
              <p:spPr>
                <a:xfrm>
                  <a:off x="2866321" y="4166888"/>
                  <a:ext cx="61589" cy="86220"/>
                </a:xfrm>
                <a:custGeom>
                  <a:avLst/>
                  <a:gdLst>
                    <a:gd name="connsiteX0" fmla="*/ 17877 w 61589"/>
                    <a:gd name="connsiteY0" fmla="*/ 86221 h 86220"/>
                    <a:gd name="connsiteX1" fmla="*/ 12510 w 61589"/>
                    <a:gd name="connsiteY1" fmla="*/ 83511 h 86220"/>
                    <a:gd name="connsiteX2" fmla="*/ 1775 w 61589"/>
                    <a:gd name="connsiteY2" fmla="*/ 38795 h 86220"/>
                    <a:gd name="connsiteX3" fmla="*/ 44118 w 61589"/>
                    <a:gd name="connsiteY3" fmla="*/ 374 h 86220"/>
                    <a:gd name="connsiteX4" fmla="*/ 52195 w 61589"/>
                    <a:gd name="connsiteY4" fmla="*/ 3521 h 86220"/>
                    <a:gd name="connsiteX5" fmla="*/ 57330 w 61589"/>
                    <a:gd name="connsiteY5" fmla="*/ 60443 h 86220"/>
                    <a:gd name="connsiteX6" fmla="*/ 19167 w 61589"/>
                    <a:gd name="connsiteY6" fmla="*/ 86118 h 86220"/>
                    <a:gd name="connsiteX7" fmla="*/ 17877 w 61589"/>
                    <a:gd name="connsiteY7" fmla="*/ 86221 h 86220"/>
                    <a:gd name="connsiteX8" fmla="*/ 42983 w 61589"/>
                    <a:gd name="connsiteY8" fmla="*/ 15288 h 86220"/>
                    <a:gd name="connsiteX9" fmla="*/ 14496 w 61589"/>
                    <a:gd name="connsiteY9" fmla="*/ 42742 h 86220"/>
                    <a:gd name="connsiteX10" fmla="*/ 20818 w 61589"/>
                    <a:gd name="connsiteY10" fmla="*/ 72081 h 86220"/>
                    <a:gd name="connsiteX11" fmla="*/ 45357 w 61589"/>
                    <a:gd name="connsiteY11" fmla="*/ 54715 h 86220"/>
                    <a:gd name="connsiteX12" fmla="*/ 42983 w 61589"/>
                    <a:gd name="connsiteY12" fmla="*/ 15288 h 8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89" h="86220">
                      <a:moveTo>
                        <a:pt x="17877" y="86221"/>
                      </a:moveTo>
                      <a:cubicBezTo>
                        <a:pt x="15787" y="86221"/>
                        <a:pt x="13774" y="85240"/>
                        <a:pt x="12510" y="83511"/>
                      </a:cubicBezTo>
                      <a:cubicBezTo>
                        <a:pt x="1053" y="67875"/>
                        <a:pt x="-2559" y="52832"/>
                        <a:pt x="1775" y="38795"/>
                      </a:cubicBezTo>
                      <a:cubicBezTo>
                        <a:pt x="9852" y="12707"/>
                        <a:pt x="42699" y="864"/>
                        <a:pt x="44118" y="374"/>
                      </a:cubicBezTo>
                      <a:cubicBezTo>
                        <a:pt x="47215" y="-710"/>
                        <a:pt x="50647" y="632"/>
                        <a:pt x="52195" y="3521"/>
                      </a:cubicBezTo>
                      <a:cubicBezTo>
                        <a:pt x="52892" y="4837"/>
                        <a:pt x="69070" y="35775"/>
                        <a:pt x="57330" y="60443"/>
                      </a:cubicBezTo>
                      <a:cubicBezTo>
                        <a:pt x="51008" y="73732"/>
                        <a:pt x="38184" y="82350"/>
                        <a:pt x="19167" y="86118"/>
                      </a:cubicBezTo>
                      <a:cubicBezTo>
                        <a:pt x="18754" y="86195"/>
                        <a:pt x="18315" y="86221"/>
                        <a:pt x="17877" y="86221"/>
                      </a:cubicBezTo>
                      <a:close/>
                      <a:moveTo>
                        <a:pt x="42983" y="15288"/>
                      </a:moveTo>
                      <a:cubicBezTo>
                        <a:pt x="34494" y="19339"/>
                        <a:pt x="18857" y="28551"/>
                        <a:pt x="14496" y="42742"/>
                      </a:cubicBezTo>
                      <a:cubicBezTo>
                        <a:pt x="11787" y="51567"/>
                        <a:pt x="13903" y="61424"/>
                        <a:pt x="20818" y="72081"/>
                      </a:cubicBezTo>
                      <a:cubicBezTo>
                        <a:pt x="33126" y="68907"/>
                        <a:pt x="41383" y="63075"/>
                        <a:pt x="45357" y="54715"/>
                      </a:cubicBezTo>
                      <a:cubicBezTo>
                        <a:pt x="51318" y="42149"/>
                        <a:pt x="46905" y="25145"/>
                        <a:pt x="42983" y="15288"/>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1548" name="Gruppieren 1547">
              <a:extLst>
                <a:ext uri="{FF2B5EF4-FFF2-40B4-BE49-F238E27FC236}">
                  <a16:creationId xmlns:a16="http://schemas.microsoft.com/office/drawing/2014/main" id="{92421495-DE67-4E16-ACDF-977166135DBF}"/>
                </a:ext>
              </a:extLst>
            </p:cNvPr>
            <p:cNvGrpSpPr/>
            <p:nvPr/>
          </p:nvGrpSpPr>
          <p:grpSpPr>
            <a:xfrm>
              <a:off x="2786138" y="4097454"/>
              <a:ext cx="197561" cy="432000"/>
              <a:chOff x="2661207" y="4141071"/>
              <a:chExt cx="212876" cy="465489"/>
            </a:xfrm>
            <a:solidFill>
              <a:schemeClr val="tx2"/>
            </a:solidFill>
          </p:grpSpPr>
          <p:grpSp>
            <p:nvGrpSpPr>
              <p:cNvPr id="1549" name="Grafik 312">
                <a:extLst>
                  <a:ext uri="{FF2B5EF4-FFF2-40B4-BE49-F238E27FC236}">
                    <a16:creationId xmlns:a16="http://schemas.microsoft.com/office/drawing/2014/main" id="{1CB850A7-FC85-4C2E-9DAF-311769E1209A}"/>
                  </a:ext>
                </a:extLst>
              </p:cNvPr>
              <p:cNvGrpSpPr/>
              <p:nvPr/>
            </p:nvGrpSpPr>
            <p:grpSpPr>
              <a:xfrm>
                <a:off x="2669628" y="4141071"/>
                <a:ext cx="185250" cy="400245"/>
                <a:chOff x="2669628" y="4141071"/>
                <a:chExt cx="185250" cy="400245"/>
              </a:xfrm>
              <a:grpFill/>
            </p:grpSpPr>
            <p:sp>
              <p:nvSpPr>
                <p:cNvPr id="1554" name="Freihandform: Form 1553">
                  <a:extLst>
                    <a:ext uri="{FF2B5EF4-FFF2-40B4-BE49-F238E27FC236}">
                      <a16:creationId xmlns:a16="http://schemas.microsoft.com/office/drawing/2014/main" id="{EBD676F6-68E1-497B-9F24-C1D83ABC111A}"/>
                    </a:ext>
                  </a:extLst>
                </p:cNvPr>
                <p:cNvSpPr/>
                <p:nvPr/>
              </p:nvSpPr>
              <p:spPr>
                <a:xfrm>
                  <a:off x="2728734" y="4141071"/>
                  <a:ext cx="77770" cy="88556"/>
                </a:xfrm>
                <a:custGeom>
                  <a:avLst/>
                  <a:gdLst>
                    <a:gd name="connsiteX0" fmla="*/ 38885 w 77770"/>
                    <a:gd name="connsiteY0" fmla="*/ 88557 h 88556"/>
                    <a:gd name="connsiteX1" fmla="*/ 0 w 77770"/>
                    <a:gd name="connsiteY1" fmla="*/ 44278 h 88556"/>
                    <a:gd name="connsiteX2" fmla="*/ 38885 w 77770"/>
                    <a:gd name="connsiteY2" fmla="*/ 0 h 88556"/>
                    <a:gd name="connsiteX3" fmla="*/ 77771 w 77770"/>
                    <a:gd name="connsiteY3" fmla="*/ 44278 h 88556"/>
                    <a:gd name="connsiteX4" fmla="*/ 38885 w 77770"/>
                    <a:gd name="connsiteY4" fmla="*/ 88557 h 88556"/>
                    <a:gd name="connsiteX5" fmla="*/ 38885 w 77770"/>
                    <a:gd name="connsiteY5" fmla="*/ 13340 h 88556"/>
                    <a:gd name="connsiteX6" fmla="*/ 13289 w 77770"/>
                    <a:gd name="connsiteY6" fmla="*/ 44304 h 88556"/>
                    <a:gd name="connsiteX7" fmla="*/ 38885 w 77770"/>
                    <a:gd name="connsiteY7" fmla="*/ 75268 h 88556"/>
                    <a:gd name="connsiteX8" fmla="*/ 64482 w 77770"/>
                    <a:gd name="connsiteY8" fmla="*/ 44304 h 88556"/>
                    <a:gd name="connsiteX9" fmla="*/ 38885 w 77770"/>
                    <a:gd name="connsiteY9" fmla="*/ 13340 h 88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770" h="88556">
                      <a:moveTo>
                        <a:pt x="38885" y="88557"/>
                      </a:moveTo>
                      <a:cubicBezTo>
                        <a:pt x="15972" y="88557"/>
                        <a:pt x="0" y="70365"/>
                        <a:pt x="0" y="44278"/>
                      </a:cubicBezTo>
                      <a:cubicBezTo>
                        <a:pt x="0" y="18217"/>
                        <a:pt x="15998" y="0"/>
                        <a:pt x="38885" y="0"/>
                      </a:cubicBezTo>
                      <a:cubicBezTo>
                        <a:pt x="61773" y="0"/>
                        <a:pt x="77771" y="18191"/>
                        <a:pt x="77771" y="44278"/>
                      </a:cubicBezTo>
                      <a:cubicBezTo>
                        <a:pt x="77771" y="70365"/>
                        <a:pt x="61799" y="88557"/>
                        <a:pt x="38885" y="88557"/>
                      </a:cubicBezTo>
                      <a:close/>
                      <a:moveTo>
                        <a:pt x="38885" y="13340"/>
                      </a:moveTo>
                      <a:cubicBezTo>
                        <a:pt x="19997" y="13340"/>
                        <a:pt x="13289" y="30009"/>
                        <a:pt x="13289" y="44304"/>
                      </a:cubicBezTo>
                      <a:cubicBezTo>
                        <a:pt x="13289" y="58599"/>
                        <a:pt x="19997" y="75268"/>
                        <a:pt x="38885" y="75268"/>
                      </a:cubicBezTo>
                      <a:cubicBezTo>
                        <a:pt x="57773" y="75268"/>
                        <a:pt x="64482" y="58599"/>
                        <a:pt x="64482" y="44304"/>
                      </a:cubicBezTo>
                      <a:cubicBezTo>
                        <a:pt x="64482" y="30009"/>
                        <a:pt x="57773" y="13340"/>
                        <a:pt x="38885" y="13340"/>
                      </a:cubicBezTo>
                      <a:close/>
                    </a:path>
                  </a:pathLst>
                </a:custGeom>
                <a:grpFill/>
                <a:ln w="2573" cap="flat">
                  <a:noFill/>
                  <a:prstDash val="solid"/>
                  <a:miter/>
                </a:ln>
              </p:spPr>
              <p:txBody>
                <a:bodyPr rtlCol="0" anchor="ctr"/>
                <a:lstStyle/>
                <a:p>
                  <a:endParaRPr lang="en-GB" dirty="0"/>
                </a:p>
              </p:txBody>
            </p:sp>
            <p:sp>
              <p:nvSpPr>
                <p:cNvPr id="1555" name="Freihandform: Form 1554">
                  <a:extLst>
                    <a:ext uri="{FF2B5EF4-FFF2-40B4-BE49-F238E27FC236}">
                      <a16:creationId xmlns:a16="http://schemas.microsoft.com/office/drawing/2014/main" id="{00DADA12-D557-4175-A962-ED28B05720F1}"/>
                    </a:ext>
                  </a:extLst>
                </p:cNvPr>
                <p:cNvSpPr/>
                <p:nvPr/>
              </p:nvSpPr>
              <p:spPr>
                <a:xfrm>
                  <a:off x="2809317" y="4350671"/>
                  <a:ext cx="13314" cy="190633"/>
                </a:xfrm>
                <a:custGeom>
                  <a:avLst/>
                  <a:gdLst>
                    <a:gd name="connsiteX0" fmla="*/ 6657 w 13314"/>
                    <a:gd name="connsiteY0" fmla="*/ 190634 h 190633"/>
                    <a:gd name="connsiteX1" fmla="*/ 0 w 13314"/>
                    <a:gd name="connsiteY1" fmla="*/ 183977 h 190633"/>
                    <a:gd name="connsiteX2" fmla="*/ 0 w 13314"/>
                    <a:gd name="connsiteY2" fmla="*/ 6657 h 190633"/>
                    <a:gd name="connsiteX3" fmla="*/ 6657 w 13314"/>
                    <a:gd name="connsiteY3" fmla="*/ 0 h 190633"/>
                    <a:gd name="connsiteX4" fmla="*/ 13314 w 13314"/>
                    <a:gd name="connsiteY4" fmla="*/ 6657 h 190633"/>
                    <a:gd name="connsiteX5" fmla="*/ 13314 w 13314"/>
                    <a:gd name="connsiteY5" fmla="*/ 183977 h 190633"/>
                    <a:gd name="connsiteX6" fmla="*/ 6657 w 13314"/>
                    <a:gd name="connsiteY6" fmla="*/ 190634 h 19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190633">
                      <a:moveTo>
                        <a:pt x="6657" y="190634"/>
                      </a:moveTo>
                      <a:cubicBezTo>
                        <a:pt x="2993" y="190634"/>
                        <a:pt x="0" y="187667"/>
                        <a:pt x="0" y="183977"/>
                      </a:cubicBezTo>
                      <a:lnTo>
                        <a:pt x="0" y="6657"/>
                      </a:lnTo>
                      <a:cubicBezTo>
                        <a:pt x="0" y="2993"/>
                        <a:pt x="2967" y="0"/>
                        <a:pt x="6657" y="0"/>
                      </a:cubicBezTo>
                      <a:cubicBezTo>
                        <a:pt x="10321" y="0"/>
                        <a:pt x="13314" y="2967"/>
                        <a:pt x="13314" y="6657"/>
                      </a:cubicBezTo>
                      <a:lnTo>
                        <a:pt x="13314" y="183977"/>
                      </a:lnTo>
                      <a:cubicBezTo>
                        <a:pt x="13314" y="187641"/>
                        <a:pt x="10347" y="190634"/>
                        <a:pt x="6657" y="190634"/>
                      </a:cubicBezTo>
                      <a:close/>
                    </a:path>
                  </a:pathLst>
                </a:custGeom>
                <a:grpFill/>
                <a:ln w="2573" cap="flat">
                  <a:noFill/>
                  <a:prstDash val="solid"/>
                  <a:miter/>
                </a:ln>
              </p:spPr>
              <p:txBody>
                <a:bodyPr rtlCol="0" anchor="ctr"/>
                <a:lstStyle/>
                <a:p>
                  <a:endParaRPr lang="en-GB" dirty="0"/>
                </a:p>
              </p:txBody>
            </p:sp>
            <p:sp>
              <p:nvSpPr>
                <p:cNvPr id="1556" name="Freihandform: Form 1555">
                  <a:extLst>
                    <a:ext uri="{FF2B5EF4-FFF2-40B4-BE49-F238E27FC236}">
                      <a16:creationId xmlns:a16="http://schemas.microsoft.com/office/drawing/2014/main" id="{7DC79690-635D-446C-A3C6-465FC5B30C47}"/>
                    </a:ext>
                  </a:extLst>
                </p:cNvPr>
                <p:cNvSpPr/>
                <p:nvPr/>
              </p:nvSpPr>
              <p:spPr>
                <a:xfrm>
                  <a:off x="2744823" y="4419281"/>
                  <a:ext cx="45545" cy="122035"/>
                </a:xfrm>
                <a:custGeom>
                  <a:avLst/>
                  <a:gdLst>
                    <a:gd name="connsiteX0" fmla="*/ 38923 w 45545"/>
                    <a:gd name="connsiteY0" fmla="*/ 122023 h 122035"/>
                    <a:gd name="connsiteX1" fmla="*/ 32318 w 45545"/>
                    <a:gd name="connsiteY1" fmla="*/ 116114 h 122035"/>
                    <a:gd name="connsiteX2" fmla="*/ 22796 w 45545"/>
                    <a:gd name="connsiteY2" fmla="*/ 30087 h 122035"/>
                    <a:gd name="connsiteX3" fmla="*/ 13275 w 45545"/>
                    <a:gd name="connsiteY3" fmla="*/ 116114 h 122035"/>
                    <a:gd name="connsiteX4" fmla="*/ 5921 w 45545"/>
                    <a:gd name="connsiteY4" fmla="*/ 121998 h 122035"/>
                    <a:gd name="connsiteX5" fmla="*/ 38 w 45545"/>
                    <a:gd name="connsiteY5" fmla="*/ 114644 h 122035"/>
                    <a:gd name="connsiteX6" fmla="*/ 12062 w 45545"/>
                    <a:gd name="connsiteY6" fmla="*/ 5909 h 122035"/>
                    <a:gd name="connsiteX7" fmla="*/ 18668 w 45545"/>
                    <a:gd name="connsiteY7" fmla="*/ 0 h 122035"/>
                    <a:gd name="connsiteX8" fmla="*/ 26873 w 45545"/>
                    <a:gd name="connsiteY8" fmla="*/ 0 h 122035"/>
                    <a:gd name="connsiteX9" fmla="*/ 33479 w 45545"/>
                    <a:gd name="connsiteY9" fmla="*/ 5909 h 122035"/>
                    <a:gd name="connsiteX10" fmla="*/ 45503 w 45545"/>
                    <a:gd name="connsiteY10" fmla="*/ 114644 h 122035"/>
                    <a:gd name="connsiteX11" fmla="*/ 39620 w 45545"/>
                    <a:gd name="connsiteY11" fmla="*/ 121998 h 122035"/>
                    <a:gd name="connsiteX12" fmla="*/ 38923 w 45545"/>
                    <a:gd name="connsiteY12" fmla="*/ 122023 h 122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545" h="122035">
                      <a:moveTo>
                        <a:pt x="38923" y="122023"/>
                      </a:moveTo>
                      <a:cubicBezTo>
                        <a:pt x="35569" y="122023"/>
                        <a:pt x="32705" y="119495"/>
                        <a:pt x="32318" y="116114"/>
                      </a:cubicBezTo>
                      <a:lnTo>
                        <a:pt x="22796" y="30087"/>
                      </a:lnTo>
                      <a:lnTo>
                        <a:pt x="13275" y="116114"/>
                      </a:lnTo>
                      <a:cubicBezTo>
                        <a:pt x="12862" y="119753"/>
                        <a:pt x="9714" y="122385"/>
                        <a:pt x="5921" y="121998"/>
                      </a:cubicBezTo>
                      <a:cubicBezTo>
                        <a:pt x="2283" y="121585"/>
                        <a:pt x="-349" y="118308"/>
                        <a:pt x="38" y="114644"/>
                      </a:cubicBezTo>
                      <a:lnTo>
                        <a:pt x="12062" y="5909"/>
                      </a:lnTo>
                      <a:cubicBezTo>
                        <a:pt x="12449" y="2554"/>
                        <a:pt x="15288" y="0"/>
                        <a:pt x="18668" y="0"/>
                      </a:cubicBezTo>
                      <a:lnTo>
                        <a:pt x="26873" y="0"/>
                      </a:lnTo>
                      <a:cubicBezTo>
                        <a:pt x="30253" y="0"/>
                        <a:pt x="33117" y="2554"/>
                        <a:pt x="33479" y="5909"/>
                      </a:cubicBezTo>
                      <a:lnTo>
                        <a:pt x="45503" y="114644"/>
                      </a:lnTo>
                      <a:cubicBezTo>
                        <a:pt x="45916" y="118308"/>
                        <a:pt x="43284" y="121585"/>
                        <a:pt x="39620" y="121998"/>
                      </a:cubicBezTo>
                      <a:cubicBezTo>
                        <a:pt x="39413" y="121998"/>
                        <a:pt x="39155" y="122023"/>
                        <a:pt x="38923" y="122023"/>
                      </a:cubicBezTo>
                      <a:close/>
                    </a:path>
                  </a:pathLst>
                </a:custGeom>
                <a:grpFill/>
                <a:ln w="2573" cap="flat">
                  <a:noFill/>
                  <a:prstDash val="solid"/>
                  <a:miter/>
                </a:ln>
              </p:spPr>
              <p:txBody>
                <a:bodyPr rtlCol="0" anchor="ctr"/>
                <a:lstStyle/>
                <a:p>
                  <a:endParaRPr lang="en-GB" dirty="0"/>
                </a:p>
              </p:txBody>
            </p:sp>
            <p:sp>
              <p:nvSpPr>
                <p:cNvPr id="1557" name="Freihandform: Form 1556">
                  <a:extLst>
                    <a:ext uri="{FF2B5EF4-FFF2-40B4-BE49-F238E27FC236}">
                      <a16:creationId xmlns:a16="http://schemas.microsoft.com/office/drawing/2014/main" id="{D534A722-9586-4321-9EA7-A7D54F2B4CE1}"/>
                    </a:ext>
                  </a:extLst>
                </p:cNvPr>
                <p:cNvSpPr/>
                <p:nvPr/>
              </p:nvSpPr>
              <p:spPr>
                <a:xfrm>
                  <a:off x="2712607" y="4350671"/>
                  <a:ext cx="13314" cy="190633"/>
                </a:xfrm>
                <a:custGeom>
                  <a:avLst/>
                  <a:gdLst>
                    <a:gd name="connsiteX0" fmla="*/ 6657 w 13314"/>
                    <a:gd name="connsiteY0" fmla="*/ 190634 h 190633"/>
                    <a:gd name="connsiteX1" fmla="*/ 0 w 13314"/>
                    <a:gd name="connsiteY1" fmla="*/ 183977 h 190633"/>
                    <a:gd name="connsiteX2" fmla="*/ 0 w 13314"/>
                    <a:gd name="connsiteY2" fmla="*/ 6657 h 190633"/>
                    <a:gd name="connsiteX3" fmla="*/ 6657 w 13314"/>
                    <a:gd name="connsiteY3" fmla="*/ 0 h 190633"/>
                    <a:gd name="connsiteX4" fmla="*/ 13315 w 13314"/>
                    <a:gd name="connsiteY4" fmla="*/ 6657 h 190633"/>
                    <a:gd name="connsiteX5" fmla="*/ 13315 w 13314"/>
                    <a:gd name="connsiteY5" fmla="*/ 183977 h 190633"/>
                    <a:gd name="connsiteX6" fmla="*/ 6657 w 13314"/>
                    <a:gd name="connsiteY6" fmla="*/ 190634 h 190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190633">
                      <a:moveTo>
                        <a:pt x="6657" y="190634"/>
                      </a:moveTo>
                      <a:cubicBezTo>
                        <a:pt x="2993" y="190634"/>
                        <a:pt x="0" y="187667"/>
                        <a:pt x="0" y="183977"/>
                      </a:cubicBezTo>
                      <a:lnTo>
                        <a:pt x="0" y="6657"/>
                      </a:lnTo>
                      <a:cubicBezTo>
                        <a:pt x="0" y="2993"/>
                        <a:pt x="2967" y="0"/>
                        <a:pt x="6657" y="0"/>
                      </a:cubicBezTo>
                      <a:cubicBezTo>
                        <a:pt x="10321" y="0"/>
                        <a:pt x="13315" y="2967"/>
                        <a:pt x="13315" y="6657"/>
                      </a:cubicBezTo>
                      <a:lnTo>
                        <a:pt x="13315" y="183977"/>
                      </a:lnTo>
                      <a:cubicBezTo>
                        <a:pt x="13315" y="187641"/>
                        <a:pt x="10321" y="190634"/>
                        <a:pt x="6657" y="190634"/>
                      </a:cubicBezTo>
                      <a:close/>
                    </a:path>
                  </a:pathLst>
                </a:custGeom>
                <a:grpFill/>
                <a:ln w="2573" cap="flat">
                  <a:noFill/>
                  <a:prstDash val="solid"/>
                  <a:miter/>
                </a:ln>
              </p:spPr>
              <p:txBody>
                <a:bodyPr rtlCol="0" anchor="ctr"/>
                <a:lstStyle/>
                <a:p>
                  <a:endParaRPr lang="en-GB" dirty="0"/>
                </a:p>
              </p:txBody>
            </p:sp>
            <p:sp>
              <p:nvSpPr>
                <p:cNvPr id="1558" name="Freihandform: Form 1557">
                  <a:extLst>
                    <a:ext uri="{FF2B5EF4-FFF2-40B4-BE49-F238E27FC236}">
                      <a16:creationId xmlns:a16="http://schemas.microsoft.com/office/drawing/2014/main" id="{1A7C6403-94B1-48DF-8A0A-76C6ADCE8041}"/>
                    </a:ext>
                  </a:extLst>
                </p:cNvPr>
                <p:cNvSpPr/>
                <p:nvPr/>
              </p:nvSpPr>
              <p:spPr>
                <a:xfrm>
                  <a:off x="2755595" y="4237808"/>
                  <a:ext cx="24048" cy="13314"/>
                </a:xfrm>
                <a:custGeom>
                  <a:avLst/>
                  <a:gdLst>
                    <a:gd name="connsiteX0" fmla="*/ 17391 w 24048"/>
                    <a:gd name="connsiteY0" fmla="*/ 13315 h 13314"/>
                    <a:gd name="connsiteX1" fmla="*/ 6657 w 24048"/>
                    <a:gd name="connsiteY1" fmla="*/ 13315 h 13314"/>
                    <a:gd name="connsiteX2" fmla="*/ 0 w 24048"/>
                    <a:gd name="connsiteY2" fmla="*/ 6657 h 13314"/>
                    <a:gd name="connsiteX3" fmla="*/ 6657 w 24048"/>
                    <a:gd name="connsiteY3" fmla="*/ 0 h 13314"/>
                    <a:gd name="connsiteX4" fmla="*/ 17391 w 24048"/>
                    <a:gd name="connsiteY4" fmla="*/ 0 h 13314"/>
                    <a:gd name="connsiteX5" fmla="*/ 24049 w 24048"/>
                    <a:gd name="connsiteY5" fmla="*/ 6657 h 13314"/>
                    <a:gd name="connsiteX6" fmla="*/ 17391 w 24048"/>
                    <a:gd name="connsiteY6" fmla="*/ 13315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48" h="13314">
                      <a:moveTo>
                        <a:pt x="17391" y="13315"/>
                      </a:moveTo>
                      <a:lnTo>
                        <a:pt x="6657" y="13315"/>
                      </a:lnTo>
                      <a:cubicBezTo>
                        <a:pt x="2993" y="13315"/>
                        <a:pt x="0" y="10347"/>
                        <a:pt x="0" y="6657"/>
                      </a:cubicBezTo>
                      <a:cubicBezTo>
                        <a:pt x="0" y="2993"/>
                        <a:pt x="2967" y="0"/>
                        <a:pt x="6657" y="0"/>
                      </a:cubicBezTo>
                      <a:lnTo>
                        <a:pt x="17391" y="0"/>
                      </a:lnTo>
                      <a:cubicBezTo>
                        <a:pt x="21055" y="0"/>
                        <a:pt x="24049" y="2967"/>
                        <a:pt x="24049" y="6657"/>
                      </a:cubicBezTo>
                      <a:cubicBezTo>
                        <a:pt x="24049" y="10347"/>
                        <a:pt x="21081" y="13315"/>
                        <a:pt x="17391" y="13315"/>
                      </a:cubicBezTo>
                      <a:close/>
                    </a:path>
                  </a:pathLst>
                </a:custGeom>
                <a:grpFill/>
                <a:ln w="2573" cap="flat">
                  <a:noFill/>
                  <a:prstDash val="solid"/>
                  <a:miter/>
                </a:ln>
              </p:spPr>
              <p:txBody>
                <a:bodyPr rtlCol="0" anchor="ctr"/>
                <a:lstStyle/>
                <a:p>
                  <a:endParaRPr lang="en-GB" dirty="0"/>
                </a:p>
              </p:txBody>
            </p:sp>
            <p:sp>
              <p:nvSpPr>
                <p:cNvPr id="1559" name="Freihandform: Form 1558">
                  <a:extLst>
                    <a:ext uri="{FF2B5EF4-FFF2-40B4-BE49-F238E27FC236}">
                      <a16:creationId xmlns:a16="http://schemas.microsoft.com/office/drawing/2014/main" id="{D2C28B45-0B87-4FB5-A4CE-26B28FF2BAB5}"/>
                    </a:ext>
                  </a:extLst>
                </p:cNvPr>
                <p:cNvSpPr/>
                <p:nvPr/>
              </p:nvSpPr>
              <p:spPr>
                <a:xfrm>
                  <a:off x="2760962" y="4237808"/>
                  <a:ext cx="13314" cy="72429"/>
                </a:xfrm>
                <a:custGeom>
                  <a:avLst/>
                  <a:gdLst>
                    <a:gd name="connsiteX0" fmla="*/ 6657 w 13314"/>
                    <a:gd name="connsiteY0" fmla="*/ 72430 h 72429"/>
                    <a:gd name="connsiteX1" fmla="*/ 0 w 13314"/>
                    <a:gd name="connsiteY1" fmla="*/ 65772 h 72429"/>
                    <a:gd name="connsiteX2" fmla="*/ 0 w 13314"/>
                    <a:gd name="connsiteY2" fmla="*/ 6657 h 72429"/>
                    <a:gd name="connsiteX3" fmla="*/ 6657 w 13314"/>
                    <a:gd name="connsiteY3" fmla="*/ 0 h 72429"/>
                    <a:gd name="connsiteX4" fmla="*/ 13315 w 13314"/>
                    <a:gd name="connsiteY4" fmla="*/ 6657 h 72429"/>
                    <a:gd name="connsiteX5" fmla="*/ 13315 w 13314"/>
                    <a:gd name="connsiteY5" fmla="*/ 65772 h 72429"/>
                    <a:gd name="connsiteX6" fmla="*/ 6657 w 13314"/>
                    <a:gd name="connsiteY6" fmla="*/ 72430 h 7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72429">
                      <a:moveTo>
                        <a:pt x="6657" y="72430"/>
                      </a:moveTo>
                      <a:cubicBezTo>
                        <a:pt x="2993" y="72430"/>
                        <a:pt x="0" y="69462"/>
                        <a:pt x="0" y="65772"/>
                      </a:cubicBezTo>
                      <a:lnTo>
                        <a:pt x="0" y="6657"/>
                      </a:lnTo>
                      <a:cubicBezTo>
                        <a:pt x="0" y="2993"/>
                        <a:pt x="2967" y="0"/>
                        <a:pt x="6657" y="0"/>
                      </a:cubicBezTo>
                      <a:cubicBezTo>
                        <a:pt x="10347" y="0"/>
                        <a:pt x="13315" y="2967"/>
                        <a:pt x="13315" y="6657"/>
                      </a:cubicBezTo>
                      <a:lnTo>
                        <a:pt x="13315" y="65772"/>
                      </a:lnTo>
                      <a:cubicBezTo>
                        <a:pt x="13315" y="69462"/>
                        <a:pt x="10347" y="72430"/>
                        <a:pt x="6657" y="72430"/>
                      </a:cubicBezTo>
                      <a:close/>
                    </a:path>
                  </a:pathLst>
                </a:custGeom>
                <a:grpFill/>
                <a:ln w="2573" cap="flat">
                  <a:noFill/>
                  <a:prstDash val="solid"/>
                  <a:miter/>
                </a:ln>
              </p:spPr>
              <p:txBody>
                <a:bodyPr rtlCol="0" anchor="ctr"/>
                <a:lstStyle/>
                <a:p>
                  <a:endParaRPr lang="en-GB" dirty="0"/>
                </a:p>
              </p:txBody>
            </p:sp>
            <p:sp>
              <p:nvSpPr>
                <p:cNvPr id="1560" name="Freihandform: Form 1559">
                  <a:extLst>
                    <a:ext uri="{FF2B5EF4-FFF2-40B4-BE49-F238E27FC236}">
                      <a16:creationId xmlns:a16="http://schemas.microsoft.com/office/drawing/2014/main" id="{E1F505C4-EC20-4180-B287-C12B3B89680A}"/>
                    </a:ext>
                  </a:extLst>
                </p:cNvPr>
                <p:cNvSpPr/>
                <p:nvPr/>
              </p:nvSpPr>
              <p:spPr>
                <a:xfrm>
                  <a:off x="2669628" y="4237859"/>
                  <a:ext cx="185250" cy="121197"/>
                </a:xfrm>
                <a:custGeom>
                  <a:avLst/>
                  <a:gdLst>
                    <a:gd name="connsiteX0" fmla="*/ 161725 w 185250"/>
                    <a:gd name="connsiteY0" fmla="*/ 121172 h 121197"/>
                    <a:gd name="connsiteX1" fmla="*/ 121808 w 185250"/>
                    <a:gd name="connsiteY1" fmla="*/ 121172 h 121197"/>
                    <a:gd name="connsiteX2" fmla="*/ 107306 w 185250"/>
                    <a:gd name="connsiteY2" fmla="*/ 118566 h 121197"/>
                    <a:gd name="connsiteX3" fmla="*/ 106765 w 185250"/>
                    <a:gd name="connsiteY3" fmla="*/ 118643 h 121197"/>
                    <a:gd name="connsiteX4" fmla="*/ 75852 w 185250"/>
                    <a:gd name="connsiteY4" fmla="*/ 121172 h 121197"/>
                    <a:gd name="connsiteX5" fmla="*/ 23446 w 185250"/>
                    <a:gd name="connsiteY5" fmla="*/ 121198 h 121197"/>
                    <a:gd name="connsiteX6" fmla="*/ 4429 w 185250"/>
                    <a:gd name="connsiteY6" fmla="*/ 113018 h 121197"/>
                    <a:gd name="connsiteX7" fmla="*/ 197 w 185250"/>
                    <a:gd name="connsiteY7" fmla="*/ 98620 h 121197"/>
                    <a:gd name="connsiteX8" fmla="*/ 11370 w 185250"/>
                    <a:gd name="connsiteY8" fmla="*/ 36279 h 121197"/>
                    <a:gd name="connsiteX9" fmla="*/ 59158 w 185250"/>
                    <a:gd name="connsiteY9" fmla="*/ 0 h 121197"/>
                    <a:gd name="connsiteX10" fmla="*/ 65737 w 185250"/>
                    <a:gd name="connsiteY10" fmla="*/ 0 h 121197"/>
                    <a:gd name="connsiteX11" fmla="*/ 71801 w 185250"/>
                    <a:gd name="connsiteY11" fmla="*/ 3922 h 121197"/>
                    <a:gd name="connsiteX12" fmla="*/ 97991 w 185250"/>
                    <a:gd name="connsiteY12" fmla="*/ 62057 h 121197"/>
                    <a:gd name="connsiteX13" fmla="*/ 124156 w 185250"/>
                    <a:gd name="connsiteY13" fmla="*/ 3922 h 121197"/>
                    <a:gd name="connsiteX14" fmla="*/ 130220 w 185250"/>
                    <a:gd name="connsiteY14" fmla="*/ 0 h 121197"/>
                    <a:gd name="connsiteX15" fmla="*/ 134064 w 185250"/>
                    <a:gd name="connsiteY15" fmla="*/ 0 h 121197"/>
                    <a:gd name="connsiteX16" fmla="*/ 176536 w 185250"/>
                    <a:gd name="connsiteY16" fmla="*/ 36150 h 121197"/>
                    <a:gd name="connsiteX17" fmla="*/ 184974 w 185250"/>
                    <a:gd name="connsiteY17" fmla="*/ 98723 h 121197"/>
                    <a:gd name="connsiteX18" fmla="*/ 181181 w 185250"/>
                    <a:gd name="connsiteY18" fmla="*/ 112399 h 121197"/>
                    <a:gd name="connsiteX19" fmla="*/ 161725 w 185250"/>
                    <a:gd name="connsiteY19" fmla="*/ 121172 h 121197"/>
                    <a:gd name="connsiteX20" fmla="*/ 106481 w 185250"/>
                    <a:gd name="connsiteY20" fmla="*/ 104193 h 121197"/>
                    <a:gd name="connsiteX21" fmla="*/ 121808 w 185250"/>
                    <a:gd name="connsiteY21" fmla="*/ 107883 h 121197"/>
                    <a:gd name="connsiteX22" fmla="*/ 161725 w 185250"/>
                    <a:gd name="connsiteY22" fmla="*/ 107883 h 121197"/>
                    <a:gd name="connsiteX23" fmla="*/ 170911 w 185250"/>
                    <a:gd name="connsiteY23" fmla="*/ 103909 h 121197"/>
                    <a:gd name="connsiteX24" fmla="*/ 171866 w 185250"/>
                    <a:gd name="connsiteY24" fmla="*/ 100865 h 121197"/>
                    <a:gd name="connsiteX25" fmla="*/ 163428 w 185250"/>
                    <a:gd name="connsiteY25" fmla="*/ 38318 h 121197"/>
                    <a:gd name="connsiteX26" fmla="*/ 134529 w 185250"/>
                    <a:gd name="connsiteY26" fmla="*/ 13263 h 121197"/>
                    <a:gd name="connsiteX27" fmla="*/ 108777 w 185250"/>
                    <a:gd name="connsiteY27" fmla="*/ 70417 h 121197"/>
                    <a:gd name="connsiteX28" fmla="*/ 97991 w 185250"/>
                    <a:gd name="connsiteY28" fmla="*/ 77151 h 121197"/>
                    <a:gd name="connsiteX29" fmla="*/ 87412 w 185250"/>
                    <a:gd name="connsiteY29" fmla="*/ 70830 h 121197"/>
                    <a:gd name="connsiteX30" fmla="*/ 61454 w 185250"/>
                    <a:gd name="connsiteY30" fmla="*/ 13263 h 121197"/>
                    <a:gd name="connsiteX31" fmla="*/ 59158 w 185250"/>
                    <a:gd name="connsiteY31" fmla="*/ 13263 h 121197"/>
                    <a:gd name="connsiteX32" fmla="*/ 24427 w 185250"/>
                    <a:gd name="connsiteY32" fmla="*/ 38756 h 121197"/>
                    <a:gd name="connsiteX33" fmla="*/ 13331 w 185250"/>
                    <a:gd name="connsiteY33" fmla="*/ 100761 h 121197"/>
                    <a:gd name="connsiteX34" fmla="*/ 14492 w 185250"/>
                    <a:gd name="connsiteY34" fmla="*/ 104322 h 121197"/>
                    <a:gd name="connsiteX35" fmla="*/ 23446 w 185250"/>
                    <a:gd name="connsiteY35" fmla="*/ 107883 h 121197"/>
                    <a:gd name="connsiteX36" fmla="*/ 75311 w 185250"/>
                    <a:gd name="connsiteY36" fmla="*/ 107883 h 121197"/>
                    <a:gd name="connsiteX37" fmla="*/ 86561 w 185250"/>
                    <a:gd name="connsiteY37" fmla="*/ 106954 h 121197"/>
                    <a:gd name="connsiteX38" fmla="*/ 40605 w 185250"/>
                    <a:gd name="connsiteY38" fmla="*/ 91704 h 121197"/>
                    <a:gd name="connsiteX39" fmla="*/ 34980 w 185250"/>
                    <a:gd name="connsiteY39" fmla="*/ 89511 h 121197"/>
                    <a:gd name="connsiteX40" fmla="*/ 33458 w 185250"/>
                    <a:gd name="connsiteY40" fmla="*/ 83680 h 121197"/>
                    <a:gd name="connsiteX41" fmla="*/ 39392 w 185250"/>
                    <a:gd name="connsiteY41" fmla="*/ 56638 h 121197"/>
                    <a:gd name="connsiteX42" fmla="*/ 47314 w 185250"/>
                    <a:gd name="connsiteY42" fmla="*/ 51555 h 121197"/>
                    <a:gd name="connsiteX43" fmla="*/ 52397 w 185250"/>
                    <a:gd name="connsiteY43" fmla="*/ 59476 h 121197"/>
                    <a:gd name="connsiteX44" fmla="*/ 48243 w 185250"/>
                    <a:gd name="connsiteY44" fmla="*/ 78493 h 121197"/>
                    <a:gd name="connsiteX45" fmla="*/ 106481 w 185250"/>
                    <a:gd name="connsiteY45" fmla="*/ 104193 h 121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85250" h="121197">
                      <a:moveTo>
                        <a:pt x="161725" y="121172"/>
                      </a:moveTo>
                      <a:lnTo>
                        <a:pt x="121808" y="121172"/>
                      </a:lnTo>
                      <a:cubicBezTo>
                        <a:pt x="117912" y="121172"/>
                        <a:pt x="112209" y="120010"/>
                        <a:pt x="107306" y="118566"/>
                      </a:cubicBezTo>
                      <a:cubicBezTo>
                        <a:pt x="107126" y="118591"/>
                        <a:pt x="106945" y="118617"/>
                        <a:pt x="106765" y="118643"/>
                      </a:cubicBezTo>
                      <a:lnTo>
                        <a:pt x="75852" y="121172"/>
                      </a:lnTo>
                      <a:lnTo>
                        <a:pt x="23446" y="121198"/>
                      </a:lnTo>
                      <a:cubicBezTo>
                        <a:pt x="16066" y="121198"/>
                        <a:pt x="8764" y="118075"/>
                        <a:pt x="4429" y="113018"/>
                      </a:cubicBezTo>
                      <a:cubicBezTo>
                        <a:pt x="946" y="108967"/>
                        <a:pt x="-577" y="103858"/>
                        <a:pt x="197" y="98620"/>
                      </a:cubicBezTo>
                      <a:lnTo>
                        <a:pt x="11370" y="36279"/>
                      </a:lnTo>
                      <a:cubicBezTo>
                        <a:pt x="15395" y="16540"/>
                        <a:pt x="37251" y="0"/>
                        <a:pt x="59158" y="0"/>
                      </a:cubicBezTo>
                      <a:lnTo>
                        <a:pt x="65737" y="0"/>
                      </a:lnTo>
                      <a:cubicBezTo>
                        <a:pt x="68344" y="0"/>
                        <a:pt x="70717" y="1522"/>
                        <a:pt x="71801" y="3922"/>
                      </a:cubicBezTo>
                      <a:lnTo>
                        <a:pt x="97991" y="62057"/>
                      </a:lnTo>
                      <a:lnTo>
                        <a:pt x="124156" y="3922"/>
                      </a:lnTo>
                      <a:cubicBezTo>
                        <a:pt x="125240" y="1548"/>
                        <a:pt x="127613" y="0"/>
                        <a:pt x="130220" y="0"/>
                      </a:cubicBezTo>
                      <a:lnTo>
                        <a:pt x="134064" y="0"/>
                      </a:lnTo>
                      <a:cubicBezTo>
                        <a:pt x="154423" y="0"/>
                        <a:pt x="172279" y="15198"/>
                        <a:pt x="176536" y="36150"/>
                      </a:cubicBezTo>
                      <a:lnTo>
                        <a:pt x="184974" y="98723"/>
                      </a:lnTo>
                      <a:cubicBezTo>
                        <a:pt x="185877" y="103264"/>
                        <a:pt x="184561" y="108270"/>
                        <a:pt x="181181" y="112399"/>
                      </a:cubicBezTo>
                      <a:cubicBezTo>
                        <a:pt x="176820" y="117714"/>
                        <a:pt x="169157" y="121172"/>
                        <a:pt x="161725" y="121172"/>
                      </a:cubicBezTo>
                      <a:close/>
                      <a:moveTo>
                        <a:pt x="106481" y="104193"/>
                      </a:moveTo>
                      <a:cubicBezTo>
                        <a:pt x="110248" y="105896"/>
                        <a:pt x="118376" y="107883"/>
                        <a:pt x="121808" y="107883"/>
                      </a:cubicBezTo>
                      <a:lnTo>
                        <a:pt x="161725" y="107883"/>
                      </a:lnTo>
                      <a:cubicBezTo>
                        <a:pt x="165157" y="107883"/>
                        <a:pt x="169028" y="106232"/>
                        <a:pt x="170911" y="103909"/>
                      </a:cubicBezTo>
                      <a:cubicBezTo>
                        <a:pt x="172176" y="102387"/>
                        <a:pt x="171943" y="101278"/>
                        <a:pt x="171866" y="100865"/>
                      </a:cubicBezTo>
                      <a:lnTo>
                        <a:pt x="163428" y="38318"/>
                      </a:lnTo>
                      <a:cubicBezTo>
                        <a:pt x="160538" y="24126"/>
                        <a:pt x="148385" y="13495"/>
                        <a:pt x="134529" y="13263"/>
                      </a:cubicBezTo>
                      <a:lnTo>
                        <a:pt x="108777" y="70417"/>
                      </a:lnTo>
                      <a:cubicBezTo>
                        <a:pt x="106481" y="74726"/>
                        <a:pt x="102404" y="77151"/>
                        <a:pt x="97991" y="77151"/>
                      </a:cubicBezTo>
                      <a:cubicBezTo>
                        <a:pt x="93553" y="77151"/>
                        <a:pt x="89502" y="74726"/>
                        <a:pt x="87412" y="70830"/>
                      </a:cubicBezTo>
                      <a:lnTo>
                        <a:pt x="61454" y="13263"/>
                      </a:lnTo>
                      <a:lnTo>
                        <a:pt x="59158" y="13263"/>
                      </a:lnTo>
                      <a:cubicBezTo>
                        <a:pt x="43418" y="13263"/>
                        <a:pt x="27188" y="25184"/>
                        <a:pt x="24427" y="38756"/>
                      </a:cubicBezTo>
                      <a:lnTo>
                        <a:pt x="13331" y="100761"/>
                      </a:lnTo>
                      <a:cubicBezTo>
                        <a:pt x="13151" y="101974"/>
                        <a:pt x="13512" y="103187"/>
                        <a:pt x="14492" y="104322"/>
                      </a:cubicBezTo>
                      <a:cubicBezTo>
                        <a:pt x="16350" y="106464"/>
                        <a:pt x="19937" y="107883"/>
                        <a:pt x="23446" y="107883"/>
                      </a:cubicBezTo>
                      <a:lnTo>
                        <a:pt x="75311" y="107883"/>
                      </a:lnTo>
                      <a:lnTo>
                        <a:pt x="86561" y="106954"/>
                      </a:lnTo>
                      <a:cubicBezTo>
                        <a:pt x="74381" y="99600"/>
                        <a:pt x="55468" y="90260"/>
                        <a:pt x="40605" y="91704"/>
                      </a:cubicBezTo>
                      <a:cubicBezTo>
                        <a:pt x="38463" y="91937"/>
                        <a:pt x="36399" y="91085"/>
                        <a:pt x="34980" y="89511"/>
                      </a:cubicBezTo>
                      <a:cubicBezTo>
                        <a:pt x="33561" y="87911"/>
                        <a:pt x="32993" y="85744"/>
                        <a:pt x="33458" y="83680"/>
                      </a:cubicBezTo>
                      <a:lnTo>
                        <a:pt x="39392" y="56638"/>
                      </a:lnTo>
                      <a:cubicBezTo>
                        <a:pt x="40167" y="53051"/>
                        <a:pt x="43702" y="50755"/>
                        <a:pt x="47314" y="51555"/>
                      </a:cubicBezTo>
                      <a:cubicBezTo>
                        <a:pt x="50901" y="52329"/>
                        <a:pt x="53171" y="55890"/>
                        <a:pt x="52397" y="59476"/>
                      </a:cubicBezTo>
                      <a:lnTo>
                        <a:pt x="48243" y="78493"/>
                      </a:lnTo>
                      <a:cubicBezTo>
                        <a:pt x="73840" y="80712"/>
                        <a:pt x="101991" y="100865"/>
                        <a:pt x="106481" y="104193"/>
                      </a:cubicBezTo>
                      <a:close/>
                    </a:path>
                  </a:pathLst>
                </a:custGeom>
                <a:grpFill/>
                <a:ln w="2573" cap="flat">
                  <a:noFill/>
                  <a:prstDash val="solid"/>
                  <a:miter/>
                </a:ln>
              </p:spPr>
              <p:txBody>
                <a:bodyPr rtlCol="0" anchor="ctr"/>
                <a:lstStyle/>
                <a:p>
                  <a:endParaRPr lang="en-GB" dirty="0"/>
                </a:p>
              </p:txBody>
            </p:sp>
            <p:sp>
              <p:nvSpPr>
                <p:cNvPr id="1561" name="Freihandform: Form 1560">
                  <a:extLst>
                    <a:ext uri="{FF2B5EF4-FFF2-40B4-BE49-F238E27FC236}">
                      <a16:creationId xmlns:a16="http://schemas.microsoft.com/office/drawing/2014/main" id="{2DD4A3CB-8C40-441A-A5AD-02C16973C7D5}"/>
                    </a:ext>
                  </a:extLst>
                </p:cNvPr>
                <p:cNvSpPr/>
                <p:nvPr/>
              </p:nvSpPr>
              <p:spPr>
                <a:xfrm>
                  <a:off x="2703941" y="4287790"/>
                  <a:ext cx="117044" cy="40251"/>
                </a:xfrm>
                <a:custGeom>
                  <a:avLst/>
                  <a:gdLst>
                    <a:gd name="connsiteX0" fmla="*/ 6653 w 117044"/>
                    <a:gd name="connsiteY0" fmla="*/ 40252 h 40251"/>
                    <a:gd name="connsiteX1" fmla="*/ 2757 w 117044"/>
                    <a:gd name="connsiteY1" fmla="*/ 38987 h 40251"/>
                    <a:gd name="connsiteX2" fmla="*/ 1261 w 117044"/>
                    <a:gd name="connsiteY2" fmla="*/ 29698 h 40251"/>
                    <a:gd name="connsiteX3" fmla="*/ 7763 w 117044"/>
                    <a:gd name="connsiteY3" fmla="*/ 20693 h 40251"/>
                    <a:gd name="connsiteX4" fmla="*/ 23709 w 117044"/>
                    <a:gd name="connsiteY4" fmla="*/ 14758 h 40251"/>
                    <a:gd name="connsiteX5" fmla="*/ 44558 w 117044"/>
                    <a:gd name="connsiteY5" fmla="*/ 18680 h 40251"/>
                    <a:gd name="connsiteX6" fmla="*/ 102719 w 117044"/>
                    <a:gd name="connsiteY6" fmla="*/ 21364 h 40251"/>
                    <a:gd name="connsiteX7" fmla="*/ 101325 w 117044"/>
                    <a:gd name="connsiteY7" fmla="*/ 7301 h 40251"/>
                    <a:gd name="connsiteX8" fmla="*/ 107286 w 117044"/>
                    <a:gd name="connsiteY8" fmla="*/ 25 h 40251"/>
                    <a:gd name="connsiteX9" fmla="*/ 114562 w 117044"/>
                    <a:gd name="connsiteY9" fmla="*/ 5985 h 40251"/>
                    <a:gd name="connsiteX10" fmla="*/ 117014 w 117044"/>
                    <a:gd name="connsiteY10" fmla="*/ 30808 h 40251"/>
                    <a:gd name="connsiteX11" fmla="*/ 114072 w 117044"/>
                    <a:gd name="connsiteY11" fmla="*/ 37001 h 40251"/>
                    <a:gd name="connsiteX12" fmla="*/ 107234 w 117044"/>
                    <a:gd name="connsiteY12" fmla="*/ 37336 h 40251"/>
                    <a:gd name="connsiteX13" fmla="*/ 45126 w 117044"/>
                    <a:gd name="connsiteY13" fmla="*/ 31995 h 40251"/>
                    <a:gd name="connsiteX14" fmla="*/ 43062 w 117044"/>
                    <a:gd name="connsiteY14" fmla="*/ 31917 h 40251"/>
                    <a:gd name="connsiteX15" fmla="*/ 20613 w 117044"/>
                    <a:gd name="connsiteY15" fmla="*/ 27712 h 40251"/>
                    <a:gd name="connsiteX16" fmla="*/ 19245 w 117044"/>
                    <a:gd name="connsiteY16" fmla="*/ 27299 h 40251"/>
                    <a:gd name="connsiteX17" fmla="*/ 18523 w 117044"/>
                    <a:gd name="connsiteY17" fmla="*/ 28460 h 40251"/>
                    <a:gd name="connsiteX18" fmla="*/ 12020 w 117044"/>
                    <a:gd name="connsiteY18" fmla="*/ 37491 h 40251"/>
                    <a:gd name="connsiteX19" fmla="*/ 6653 w 117044"/>
                    <a:gd name="connsiteY19" fmla="*/ 40252 h 4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7044" h="40251">
                      <a:moveTo>
                        <a:pt x="6653" y="40252"/>
                      </a:moveTo>
                      <a:cubicBezTo>
                        <a:pt x="5312" y="40252"/>
                        <a:pt x="3944" y="39839"/>
                        <a:pt x="2757" y="38987"/>
                      </a:cubicBezTo>
                      <a:cubicBezTo>
                        <a:pt x="-236" y="36846"/>
                        <a:pt x="-881" y="32691"/>
                        <a:pt x="1261" y="29698"/>
                      </a:cubicBezTo>
                      <a:lnTo>
                        <a:pt x="7763" y="20693"/>
                      </a:lnTo>
                      <a:cubicBezTo>
                        <a:pt x="11143" y="15997"/>
                        <a:pt x="17310" y="12488"/>
                        <a:pt x="23709" y="14758"/>
                      </a:cubicBezTo>
                      <a:lnTo>
                        <a:pt x="44558" y="18680"/>
                      </a:lnTo>
                      <a:cubicBezTo>
                        <a:pt x="50674" y="17984"/>
                        <a:pt x="80631" y="15120"/>
                        <a:pt x="102719" y="21364"/>
                      </a:cubicBezTo>
                      <a:lnTo>
                        <a:pt x="101325" y="7301"/>
                      </a:lnTo>
                      <a:cubicBezTo>
                        <a:pt x="100964" y="3637"/>
                        <a:pt x="103622" y="386"/>
                        <a:pt x="107286" y="25"/>
                      </a:cubicBezTo>
                      <a:cubicBezTo>
                        <a:pt x="111002" y="-285"/>
                        <a:pt x="114201" y="2347"/>
                        <a:pt x="114562" y="5985"/>
                      </a:cubicBezTo>
                      <a:lnTo>
                        <a:pt x="117014" y="30808"/>
                      </a:lnTo>
                      <a:cubicBezTo>
                        <a:pt x="117246" y="33259"/>
                        <a:pt x="116136" y="35633"/>
                        <a:pt x="114072" y="37001"/>
                      </a:cubicBezTo>
                      <a:cubicBezTo>
                        <a:pt x="112008" y="38368"/>
                        <a:pt x="109376" y="38471"/>
                        <a:pt x="107234" y="37336"/>
                      </a:cubicBezTo>
                      <a:cubicBezTo>
                        <a:pt x="91056" y="28615"/>
                        <a:pt x="56918" y="30524"/>
                        <a:pt x="45126" y="31995"/>
                      </a:cubicBezTo>
                      <a:cubicBezTo>
                        <a:pt x="44455" y="32072"/>
                        <a:pt x="43758" y="32046"/>
                        <a:pt x="43062" y="31917"/>
                      </a:cubicBezTo>
                      <a:lnTo>
                        <a:pt x="20613" y="27712"/>
                      </a:lnTo>
                      <a:cubicBezTo>
                        <a:pt x="20149" y="27634"/>
                        <a:pt x="19684" y="27479"/>
                        <a:pt x="19245" y="27299"/>
                      </a:cubicBezTo>
                      <a:cubicBezTo>
                        <a:pt x="19503" y="27454"/>
                        <a:pt x="18936" y="27892"/>
                        <a:pt x="18523" y="28460"/>
                      </a:cubicBezTo>
                      <a:lnTo>
                        <a:pt x="12020" y="37491"/>
                      </a:lnTo>
                      <a:cubicBezTo>
                        <a:pt x="10756" y="39297"/>
                        <a:pt x="8718" y="40252"/>
                        <a:pt x="6653" y="40252"/>
                      </a:cubicBezTo>
                      <a:close/>
                    </a:path>
                  </a:pathLst>
                </a:custGeom>
                <a:grpFill/>
                <a:ln w="2573" cap="flat">
                  <a:noFill/>
                  <a:prstDash val="solid"/>
                  <a:miter/>
                </a:ln>
              </p:spPr>
              <p:txBody>
                <a:bodyPr rtlCol="0" anchor="ctr"/>
                <a:lstStyle/>
                <a:p>
                  <a:endParaRPr lang="en-GB" dirty="0"/>
                </a:p>
              </p:txBody>
            </p:sp>
          </p:grpSp>
          <p:sp>
            <p:nvSpPr>
              <p:cNvPr id="1550" name="Freihandform: Form 1549">
                <a:extLst>
                  <a:ext uri="{FF2B5EF4-FFF2-40B4-BE49-F238E27FC236}">
                    <a16:creationId xmlns:a16="http://schemas.microsoft.com/office/drawing/2014/main" id="{2DA55F3F-DF69-41F9-A1DE-7B865B4C9DA5}"/>
                  </a:ext>
                </a:extLst>
              </p:cNvPr>
              <p:cNvSpPr/>
              <p:nvPr/>
            </p:nvSpPr>
            <p:spPr>
              <a:xfrm>
                <a:off x="2661207" y="4533383"/>
                <a:ext cx="13314" cy="73177"/>
              </a:xfrm>
              <a:custGeom>
                <a:avLst/>
                <a:gdLst>
                  <a:gd name="connsiteX0" fmla="*/ 6657 w 13314"/>
                  <a:gd name="connsiteY0" fmla="*/ 73178 h 73177"/>
                  <a:gd name="connsiteX1" fmla="*/ 0 w 13314"/>
                  <a:gd name="connsiteY1" fmla="*/ 66521 h 73177"/>
                  <a:gd name="connsiteX2" fmla="*/ 0 w 13314"/>
                  <a:gd name="connsiteY2" fmla="*/ 6657 h 73177"/>
                  <a:gd name="connsiteX3" fmla="*/ 6657 w 13314"/>
                  <a:gd name="connsiteY3" fmla="*/ 0 h 73177"/>
                  <a:gd name="connsiteX4" fmla="*/ 13314 w 13314"/>
                  <a:gd name="connsiteY4" fmla="*/ 6657 h 73177"/>
                  <a:gd name="connsiteX5" fmla="*/ 13314 w 13314"/>
                  <a:gd name="connsiteY5" fmla="*/ 66521 h 73177"/>
                  <a:gd name="connsiteX6" fmla="*/ 6657 w 13314"/>
                  <a:gd name="connsiteY6" fmla="*/ 73178 h 7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73177">
                    <a:moveTo>
                      <a:pt x="6657" y="73178"/>
                    </a:moveTo>
                    <a:cubicBezTo>
                      <a:pt x="2993" y="73178"/>
                      <a:pt x="0" y="70211"/>
                      <a:pt x="0" y="66521"/>
                    </a:cubicBezTo>
                    <a:lnTo>
                      <a:pt x="0" y="6657"/>
                    </a:lnTo>
                    <a:cubicBezTo>
                      <a:pt x="0" y="2993"/>
                      <a:pt x="2967" y="0"/>
                      <a:pt x="6657" y="0"/>
                    </a:cubicBezTo>
                    <a:cubicBezTo>
                      <a:pt x="10321" y="0"/>
                      <a:pt x="13314" y="2967"/>
                      <a:pt x="13314" y="6657"/>
                    </a:cubicBezTo>
                    <a:lnTo>
                      <a:pt x="13314" y="66521"/>
                    </a:lnTo>
                    <a:cubicBezTo>
                      <a:pt x="13289" y="70211"/>
                      <a:pt x="10321" y="73178"/>
                      <a:pt x="6657" y="73178"/>
                    </a:cubicBezTo>
                    <a:close/>
                  </a:path>
                </a:pathLst>
              </a:custGeom>
              <a:grpFill/>
              <a:ln w="2573" cap="flat">
                <a:noFill/>
                <a:prstDash val="solid"/>
                <a:miter/>
              </a:ln>
            </p:spPr>
            <p:txBody>
              <a:bodyPr rtlCol="0" anchor="ctr"/>
              <a:lstStyle/>
              <a:p>
                <a:endParaRPr lang="en-GB" dirty="0"/>
              </a:p>
            </p:txBody>
          </p:sp>
          <p:sp>
            <p:nvSpPr>
              <p:cNvPr id="1551" name="Freihandform: Form 1550">
                <a:extLst>
                  <a:ext uri="{FF2B5EF4-FFF2-40B4-BE49-F238E27FC236}">
                    <a16:creationId xmlns:a16="http://schemas.microsoft.com/office/drawing/2014/main" id="{5D51883E-9003-4B28-B923-A3EB786A158A}"/>
                  </a:ext>
                </a:extLst>
              </p:cNvPr>
              <p:cNvSpPr/>
              <p:nvPr/>
            </p:nvSpPr>
            <p:spPr>
              <a:xfrm>
                <a:off x="2860743" y="4533383"/>
                <a:ext cx="13314" cy="73177"/>
              </a:xfrm>
              <a:custGeom>
                <a:avLst/>
                <a:gdLst>
                  <a:gd name="connsiteX0" fmla="*/ 6657 w 13314"/>
                  <a:gd name="connsiteY0" fmla="*/ 73178 h 73177"/>
                  <a:gd name="connsiteX1" fmla="*/ 0 w 13314"/>
                  <a:gd name="connsiteY1" fmla="*/ 66521 h 73177"/>
                  <a:gd name="connsiteX2" fmla="*/ 0 w 13314"/>
                  <a:gd name="connsiteY2" fmla="*/ 6657 h 73177"/>
                  <a:gd name="connsiteX3" fmla="*/ 6657 w 13314"/>
                  <a:gd name="connsiteY3" fmla="*/ 0 h 73177"/>
                  <a:gd name="connsiteX4" fmla="*/ 13314 w 13314"/>
                  <a:gd name="connsiteY4" fmla="*/ 6657 h 73177"/>
                  <a:gd name="connsiteX5" fmla="*/ 13314 w 13314"/>
                  <a:gd name="connsiteY5" fmla="*/ 66521 h 73177"/>
                  <a:gd name="connsiteX6" fmla="*/ 6657 w 13314"/>
                  <a:gd name="connsiteY6" fmla="*/ 73178 h 7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73177">
                    <a:moveTo>
                      <a:pt x="6657" y="73178"/>
                    </a:moveTo>
                    <a:cubicBezTo>
                      <a:pt x="2993" y="73178"/>
                      <a:pt x="0" y="70211"/>
                      <a:pt x="0" y="66521"/>
                    </a:cubicBezTo>
                    <a:lnTo>
                      <a:pt x="0" y="6657"/>
                    </a:lnTo>
                    <a:cubicBezTo>
                      <a:pt x="0" y="2993"/>
                      <a:pt x="2967" y="0"/>
                      <a:pt x="6657" y="0"/>
                    </a:cubicBezTo>
                    <a:cubicBezTo>
                      <a:pt x="10321" y="0"/>
                      <a:pt x="13314" y="2967"/>
                      <a:pt x="13314" y="6657"/>
                    </a:cubicBezTo>
                    <a:lnTo>
                      <a:pt x="13314" y="66521"/>
                    </a:lnTo>
                    <a:cubicBezTo>
                      <a:pt x="13289" y="70211"/>
                      <a:pt x="10321" y="73178"/>
                      <a:pt x="6657" y="73178"/>
                    </a:cubicBezTo>
                    <a:close/>
                  </a:path>
                </a:pathLst>
              </a:custGeom>
              <a:grpFill/>
              <a:ln w="2573" cap="flat">
                <a:noFill/>
                <a:prstDash val="solid"/>
                <a:miter/>
              </a:ln>
            </p:spPr>
            <p:txBody>
              <a:bodyPr rtlCol="0" anchor="ctr"/>
              <a:lstStyle/>
              <a:p>
                <a:endParaRPr lang="en-GB" dirty="0"/>
              </a:p>
            </p:txBody>
          </p:sp>
          <p:sp>
            <p:nvSpPr>
              <p:cNvPr id="1552" name="Freihandform: Form 1551">
                <a:extLst>
                  <a:ext uri="{FF2B5EF4-FFF2-40B4-BE49-F238E27FC236}">
                    <a16:creationId xmlns:a16="http://schemas.microsoft.com/office/drawing/2014/main" id="{E7740043-D2DF-4835-93C0-A115C54909E3}"/>
                  </a:ext>
                </a:extLst>
              </p:cNvPr>
              <p:cNvSpPr/>
              <p:nvPr/>
            </p:nvSpPr>
            <p:spPr>
              <a:xfrm>
                <a:off x="2747153" y="4506791"/>
                <a:ext cx="38764" cy="13561"/>
              </a:xfrm>
              <a:custGeom>
                <a:avLst/>
                <a:gdLst>
                  <a:gd name="connsiteX0" fmla="*/ 6636 w 38764"/>
                  <a:gd name="connsiteY0" fmla="*/ 13561 h 13561"/>
                  <a:gd name="connsiteX1" fmla="*/ 4 w 38764"/>
                  <a:gd name="connsiteY1" fmla="*/ 7162 h 13561"/>
                  <a:gd name="connsiteX2" fmla="*/ 6403 w 38764"/>
                  <a:gd name="connsiteY2" fmla="*/ 273 h 13561"/>
                  <a:gd name="connsiteX3" fmla="*/ 32336 w 38764"/>
                  <a:gd name="connsiteY3" fmla="*/ 195 h 13561"/>
                  <a:gd name="connsiteX4" fmla="*/ 38761 w 38764"/>
                  <a:gd name="connsiteY4" fmla="*/ 7059 h 13561"/>
                  <a:gd name="connsiteX5" fmla="*/ 32129 w 38764"/>
                  <a:gd name="connsiteY5" fmla="*/ 13484 h 13561"/>
                  <a:gd name="connsiteX6" fmla="*/ 31897 w 38764"/>
                  <a:gd name="connsiteY6" fmla="*/ 13484 h 13561"/>
                  <a:gd name="connsiteX7" fmla="*/ 6868 w 38764"/>
                  <a:gd name="connsiteY7" fmla="*/ 13561 h 13561"/>
                  <a:gd name="connsiteX8" fmla="*/ 6636 w 38764"/>
                  <a:gd name="connsiteY8" fmla="*/ 13561 h 13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764" h="13561">
                    <a:moveTo>
                      <a:pt x="6636" y="13561"/>
                    </a:moveTo>
                    <a:cubicBezTo>
                      <a:pt x="3075" y="13561"/>
                      <a:pt x="133" y="10749"/>
                      <a:pt x="4" y="7162"/>
                    </a:cubicBezTo>
                    <a:cubicBezTo>
                      <a:pt x="-125" y="3498"/>
                      <a:pt x="2739" y="402"/>
                      <a:pt x="6403" y="273"/>
                    </a:cubicBezTo>
                    <a:cubicBezTo>
                      <a:pt x="14867" y="-63"/>
                      <a:pt x="23795" y="-89"/>
                      <a:pt x="32336" y="195"/>
                    </a:cubicBezTo>
                    <a:cubicBezTo>
                      <a:pt x="36000" y="324"/>
                      <a:pt x="38890" y="3395"/>
                      <a:pt x="38761" y="7059"/>
                    </a:cubicBezTo>
                    <a:cubicBezTo>
                      <a:pt x="38657" y="10646"/>
                      <a:pt x="35690" y="13484"/>
                      <a:pt x="32129" y="13484"/>
                    </a:cubicBezTo>
                    <a:cubicBezTo>
                      <a:pt x="32052" y="13484"/>
                      <a:pt x="31974" y="13484"/>
                      <a:pt x="31897" y="13484"/>
                    </a:cubicBezTo>
                    <a:cubicBezTo>
                      <a:pt x="23666" y="13226"/>
                      <a:pt x="15047" y="13252"/>
                      <a:pt x="6868" y="13561"/>
                    </a:cubicBezTo>
                    <a:cubicBezTo>
                      <a:pt x="6790" y="13561"/>
                      <a:pt x="6713" y="13561"/>
                      <a:pt x="6636" y="13561"/>
                    </a:cubicBezTo>
                    <a:close/>
                  </a:path>
                </a:pathLst>
              </a:custGeom>
              <a:grpFill/>
              <a:ln w="2573" cap="flat">
                <a:noFill/>
                <a:prstDash val="solid"/>
                <a:miter/>
              </a:ln>
            </p:spPr>
            <p:txBody>
              <a:bodyPr rtlCol="0" anchor="ctr"/>
              <a:lstStyle/>
              <a:p>
                <a:endParaRPr lang="en-GB" dirty="0"/>
              </a:p>
            </p:txBody>
          </p:sp>
          <p:sp>
            <p:nvSpPr>
              <p:cNvPr id="1553" name="Freihandform: Form 1552">
                <a:extLst>
                  <a:ext uri="{FF2B5EF4-FFF2-40B4-BE49-F238E27FC236}">
                    <a16:creationId xmlns:a16="http://schemas.microsoft.com/office/drawing/2014/main" id="{AF1FD14B-EBB7-4D36-834E-B2986C879636}"/>
                  </a:ext>
                </a:extLst>
              </p:cNvPr>
              <p:cNvSpPr/>
              <p:nvPr/>
            </p:nvSpPr>
            <p:spPr>
              <a:xfrm>
                <a:off x="2661207" y="4510505"/>
                <a:ext cx="212876" cy="62795"/>
              </a:xfrm>
              <a:custGeom>
                <a:avLst/>
                <a:gdLst>
                  <a:gd name="connsiteX0" fmla="*/ 106412 w 212876"/>
                  <a:gd name="connsiteY0" fmla="*/ 62795 h 62795"/>
                  <a:gd name="connsiteX1" fmla="*/ 0 w 212876"/>
                  <a:gd name="connsiteY1" fmla="*/ 29535 h 62795"/>
                  <a:gd name="connsiteX2" fmla="*/ 54367 w 212876"/>
                  <a:gd name="connsiteY2" fmla="*/ 93 h 62795"/>
                  <a:gd name="connsiteX3" fmla="*/ 61979 w 212876"/>
                  <a:gd name="connsiteY3" fmla="*/ 5615 h 62795"/>
                  <a:gd name="connsiteX4" fmla="*/ 56457 w 212876"/>
                  <a:gd name="connsiteY4" fmla="*/ 13227 h 62795"/>
                  <a:gd name="connsiteX5" fmla="*/ 13314 w 212876"/>
                  <a:gd name="connsiteY5" fmla="*/ 29535 h 62795"/>
                  <a:gd name="connsiteX6" fmla="*/ 106438 w 212876"/>
                  <a:gd name="connsiteY6" fmla="*/ 49481 h 62795"/>
                  <a:gd name="connsiteX7" fmla="*/ 199562 w 212876"/>
                  <a:gd name="connsiteY7" fmla="*/ 29535 h 62795"/>
                  <a:gd name="connsiteX8" fmla="*/ 156419 w 212876"/>
                  <a:gd name="connsiteY8" fmla="*/ 13227 h 62795"/>
                  <a:gd name="connsiteX9" fmla="*/ 150897 w 212876"/>
                  <a:gd name="connsiteY9" fmla="*/ 5615 h 62795"/>
                  <a:gd name="connsiteX10" fmla="*/ 158509 w 212876"/>
                  <a:gd name="connsiteY10" fmla="*/ 93 h 62795"/>
                  <a:gd name="connsiteX11" fmla="*/ 212876 w 212876"/>
                  <a:gd name="connsiteY11" fmla="*/ 29535 h 62795"/>
                  <a:gd name="connsiteX12" fmla="*/ 106412 w 212876"/>
                  <a:gd name="connsiteY12" fmla="*/ 62795 h 62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2876" h="62795">
                    <a:moveTo>
                      <a:pt x="106412" y="62795"/>
                    </a:moveTo>
                    <a:cubicBezTo>
                      <a:pt x="55167" y="62795"/>
                      <a:pt x="0" y="52397"/>
                      <a:pt x="0" y="29535"/>
                    </a:cubicBezTo>
                    <a:cubicBezTo>
                      <a:pt x="0" y="12350"/>
                      <a:pt x="29571" y="4041"/>
                      <a:pt x="54367" y="93"/>
                    </a:cubicBezTo>
                    <a:cubicBezTo>
                      <a:pt x="58057" y="-526"/>
                      <a:pt x="61412" y="2003"/>
                      <a:pt x="61979" y="5615"/>
                    </a:cubicBezTo>
                    <a:cubicBezTo>
                      <a:pt x="62547" y="9254"/>
                      <a:pt x="60070" y="12660"/>
                      <a:pt x="56457" y="13227"/>
                    </a:cubicBezTo>
                    <a:cubicBezTo>
                      <a:pt x="23532" y="18465"/>
                      <a:pt x="13314" y="27006"/>
                      <a:pt x="13314" y="29535"/>
                    </a:cubicBezTo>
                    <a:cubicBezTo>
                      <a:pt x="13314" y="35495"/>
                      <a:pt x="45001" y="49481"/>
                      <a:pt x="106438" y="49481"/>
                    </a:cubicBezTo>
                    <a:cubicBezTo>
                      <a:pt x="167876" y="49481"/>
                      <a:pt x="199562" y="35495"/>
                      <a:pt x="199562" y="29535"/>
                    </a:cubicBezTo>
                    <a:cubicBezTo>
                      <a:pt x="199562" y="27006"/>
                      <a:pt x="189344" y="18465"/>
                      <a:pt x="156419" y="13227"/>
                    </a:cubicBezTo>
                    <a:cubicBezTo>
                      <a:pt x="152806" y="12660"/>
                      <a:pt x="150329" y="9254"/>
                      <a:pt x="150897" y="5615"/>
                    </a:cubicBezTo>
                    <a:cubicBezTo>
                      <a:pt x="151465" y="2003"/>
                      <a:pt x="154819" y="-500"/>
                      <a:pt x="158509" y="93"/>
                    </a:cubicBezTo>
                    <a:cubicBezTo>
                      <a:pt x="183306" y="4041"/>
                      <a:pt x="212876" y="12350"/>
                      <a:pt x="212876" y="29535"/>
                    </a:cubicBezTo>
                    <a:cubicBezTo>
                      <a:pt x="212825" y="52397"/>
                      <a:pt x="157683" y="62795"/>
                      <a:pt x="106412" y="62795"/>
                    </a:cubicBezTo>
                    <a:close/>
                  </a:path>
                </a:pathLst>
              </a:custGeom>
              <a:grpFill/>
              <a:ln w="2573" cap="flat">
                <a:noFill/>
                <a:prstDash val="solid"/>
                <a:miter/>
              </a:ln>
            </p:spPr>
            <p:txBody>
              <a:bodyPr rtlCol="0" anchor="ctr"/>
              <a:lstStyle/>
              <a:p>
                <a:endParaRPr lang="en-GB" dirty="0"/>
              </a:p>
            </p:txBody>
          </p:sp>
        </p:grpSp>
      </p:grpSp>
      <p:sp>
        <p:nvSpPr>
          <p:cNvPr id="1572" name="TextBox 1423">
            <a:extLst>
              <a:ext uri="{FF2B5EF4-FFF2-40B4-BE49-F238E27FC236}">
                <a16:creationId xmlns:a16="http://schemas.microsoft.com/office/drawing/2014/main" id="{6EC9C0AD-ABE5-433E-90EF-436983DCD4BD}"/>
              </a:ext>
            </a:extLst>
          </p:cNvPr>
          <p:cNvSpPr txBox="1"/>
          <p:nvPr/>
        </p:nvSpPr>
        <p:spPr>
          <a:xfrm>
            <a:off x="2591569" y="4547732"/>
            <a:ext cx="586699" cy="107722"/>
          </a:xfrm>
          <a:prstGeom prst="rect">
            <a:avLst/>
          </a:prstGeom>
          <a:noFill/>
          <a:effectLst/>
        </p:spPr>
        <p:txBody>
          <a:bodyPr wrap="none" lIns="0" tIns="0" rIns="0" bIns="0" rtlCol="0" anchor="t" anchorCtr="0">
            <a:spAutoFit/>
          </a:bodyPr>
          <a:lstStyle/>
          <a:p>
            <a:pPr algn="ctr"/>
            <a:r>
              <a:rPr lang="en-GB" sz="700" dirty="0">
                <a:solidFill>
                  <a:schemeClr val="tx2"/>
                </a:solidFill>
              </a:rPr>
              <a:t>Personification</a:t>
            </a:r>
          </a:p>
        </p:txBody>
      </p:sp>
      <p:grpSp>
        <p:nvGrpSpPr>
          <p:cNvPr id="49" name="Group 48">
            <a:extLst>
              <a:ext uri="{FF2B5EF4-FFF2-40B4-BE49-F238E27FC236}">
                <a16:creationId xmlns:a16="http://schemas.microsoft.com/office/drawing/2014/main" id="{94F0AF00-DED0-9863-B270-5C2CAD5B4130}"/>
              </a:ext>
            </a:extLst>
          </p:cNvPr>
          <p:cNvGrpSpPr/>
          <p:nvPr/>
        </p:nvGrpSpPr>
        <p:grpSpPr>
          <a:xfrm>
            <a:off x="525691" y="4097454"/>
            <a:ext cx="536719" cy="432000"/>
            <a:chOff x="525691" y="4097454"/>
            <a:chExt cx="536719" cy="432000"/>
          </a:xfrm>
        </p:grpSpPr>
        <p:grpSp>
          <p:nvGrpSpPr>
            <p:cNvPr id="1574" name="Grafik 312">
              <a:extLst>
                <a:ext uri="{FF2B5EF4-FFF2-40B4-BE49-F238E27FC236}">
                  <a16:creationId xmlns:a16="http://schemas.microsoft.com/office/drawing/2014/main" id="{3D3D0E84-E7F6-44AA-B538-B6900514D669}"/>
                </a:ext>
              </a:extLst>
            </p:cNvPr>
            <p:cNvGrpSpPr/>
            <p:nvPr/>
          </p:nvGrpSpPr>
          <p:grpSpPr>
            <a:xfrm>
              <a:off x="525691" y="4097454"/>
              <a:ext cx="245162" cy="432000"/>
              <a:chOff x="805493" y="4167571"/>
              <a:chExt cx="249128" cy="438989"/>
            </a:xfrm>
            <a:solidFill>
              <a:schemeClr val="accent1"/>
            </a:solidFill>
          </p:grpSpPr>
          <p:grpSp>
            <p:nvGrpSpPr>
              <p:cNvPr id="1580" name="Grafik 312">
                <a:extLst>
                  <a:ext uri="{FF2B5EF4-FFF2-40B4-BE49-F238E27FC236}">
                    <a16:creationId xmlns:a16="http://schemas.microsoft.com/office/drawing/2014/main" id="{A5F45BC4-51DC-4F14-A4E1-050BF3874E10}"/>
                  </a:ext>
                </a:extLst>
              </p:cNvPr>
              <p:cNvGrpSpPr/>
              <p:nvPr/>
            </p:nvGrpSpPr>
            <p:grpSpPr>
              <a:xfrm>
                <a:off x="890776" y="4346052"/>
                <a:ext cx="163846" cy="133015"/>
                <a:chOff x="890776" y="4346052"/>
                <a:chExt cx="163846" cy="133015"/>
              </a:xfrm>
              <a:solidFill>
                <a:schemeClr val="accent1"/>
              </a:solidFill>
            </p:grpSpPr>
            <p:grpSp>
              <p:nvGrpSpPr>
                <p:cNvPr id="1589" name="Grafik 312">
                  <a:extLst>
                    <a:ext uri="{FF2B5EF4-FFF2-40B4-BE49-F238E27FC236}">
                      <a16:creationId xmlns:a16="http://schemas.microsoft.com/office/drawing/2014/main" id="{4AC57F67-EDC7-4C45-807C-A62713CA1F00}"/>
                    </a:ext>
                  </a:extLst>
                </p:cNvPr>
                <p:cNvGrpSpPr/>
                <p:nvPr/>
              </p:nvGrpSpPr>
              <p:grpSpPr>
                <a:xfrm>
                  <a:off x="890776" y="4346052"/>
                  <a:ext cx="163846" cy="133015"/>
                  <a:chOff x="890776" y="4346052"/>
                  <a:chExt cx="163846" cy="133015"/>
                </a:xfrm>
                <a:solidFill>
                  <a:schemeClr val="accent1"/>
                </a:solidFill>
              </p:grpSpPr>
              <p:sp>
                <p:nvSpPr>
                  <p:cNvPr id="1591" name="Freihandform: Form 1590">
                    <a:extLst>
                      <a:ext uri="{FF2B5EF4-FFF2-40B4-BE49-F238E27FC236}">
                        <a16:creationId xmlns:a16="http://schemas.microsoft.com/office/drawing/2014/main" id="{CD33840F-1EFF-4A38-8412-DC6D9CDD897B}"/>
                      </a:ext>
                    </a:extLst>
                  </p:cNvPr>
                  <p:cNvSpPr/>
                  <p:nvPr/>
                </p:nvSpPr>
                <p:spPr>
                  <a:xfrm>
                    <a:off x="1005404" y="4372659"/>
                    <a:ext cx="19170" cy="33256"/>
                  </a:xfrm>
                  <a:custGeom>
                    <a:avLst/>
                    <a:gdLst>
                      <a:gd name="connsiteX0" fmla="*/ 6670 w 19170"/>
                      <a:gd name="connsiteY0" fmla="*/ 33256 h 33256"/>
                      <a:gd name="connsiteX1" fmla="*/ 4786 w 19170"/>
                      <a:gd name="connsiteY1" fmla="*/ 32972 h 33256"/>
                      <a:gd name="connsiteX2" fmla="*/ 270 w 19170"/>
                      <a:gd name="connsiteY2" fmla="*/ 24715 h 33256"/>
                      <a:gd name="connsiteX3" fmla="*/ 6128 w 19170"/>
                      <a:gd name="connsiteY3" fmla="*/ 4770 h 33256"/>
                      <a:gd name="connsiteX4" fmla="*/ 14385 w 19170"/>
                      <a:gd name="connsiteY4" fmla="*/ 280 h 33256"/>
                      <a:gd name="connsiteX5" fmla="*/ 18900 w 19170"/>
                      <a:gd name="connsiteY5" fmla="*/ 8537 h 33256"/>
                      <a:gd name="connsiteX6" fmla="*/ 13043 w 19170"/>
                      <a:gd name="connsiteY6" fmla="*/ 28483 h 33256"/>
                      <a:gd name="connsiteX7" fmla="*/ 6670 w 19170"/>
                      <a:gd name="connsiteY7" fmla="*/ 33256 h 33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70" h="33256">
                        <a:moveTo>
                          <a:pt x="6670" y="33256"/>
                        </a:moveTo>
                        <a:cubicBezTo>
                          <a:pt x="6050" y="33256"/>
                          <a:pt x="5405" y="33179"/>
                          <a:pt x="4786" y="32972"/>
                        </a:cubicBezTo>
                        <a:cubicBezTo>
                          <a:pt x="1251" y="31940"/>
                          <a:pt x="-762" y="28250"/>
                          <a:pt x="270" y="24715"/>
                        </a:cubicBezTo>
                        <a:lnTo>
                          <a:pt x="6128" y="4770"/>
                        </a:lnTo>
                        <a:cubicBezTo>
                          <a:pt x="7160" y="1260"/>
                          <a:pt x="10850" y="-778"/>
                          <a:pt x="14385" y="280"/>
                        </a:cubicBezTo>
                        <a:cubicBezTo>
                          <a:pt x="17920" y="1312"/>
                          <a:pt x="19932" y="5002"/>
                          <a:pt x="18900" y="8537"/>
                        </a:cubicBezTo>
                        <a:lnTo>
                          <a:pt x="13043" y="28483"/>
                        </a:lnTo>
                        <a:cubicBezTo>
                          <a:pt x="12191" y="31372"/>
                          <a:pt x="9534" y="33256"/>
                          <a:pt x="6670" y="33256"/>
                        </a:cubicBezTo>
                        <a:close/>
                      </a:path>
                    </a:pathLst>
                  </a:custGeom>
                  <a:solidFill>
                    <a:schemeClr val="accent1"/>
                  </a:solidFill>
                  <a:ln w="2573" cap="flat">
                    <a:noFill/>
                    <a:prstDash val="solid"/>
                    <a:miter/>
                  </a:ln>
                </p:spPr>
                <p:txBody>
                  <a:bodyPr rtlCol="0" anchor="ctr"/>
                  <a:lstStyle/>
                  <a:p>
                    <a:endParaRPr lang="en-GB" dirty="0"/>
                  </a:p>
                </p:txBody>
              </p:sp>
              <p:sp>
                <p:nvSpPr>
                  <p:cNvPr id="1592" name="Freihandform: Form 1591">
                    <a:extLst>
                      <a:ext uri="{FF2B5EF4-FFF2-40B4-BE49-F238E27FC236}">
                        <a16:creationId xmlns:a16="http://schemas.microsoft.com/office/drawing/2014/main" id="{D9ACDDC8-6B82-4817-84F1-34111D5EC948}"/>
                      </a:ext>
                    </a:extLst>
                  </p:cNvPr>
                  <p:cNvSpPr/>
                  <p:nvPr/>
                </p:nvSpPr>
                <p:spPr>
                  <a:xfrm>
                    <a:off x="890776" y="4346052"/>
                    <a:ext cx="114265" cy="133015"/>
                  </a:xfrm>
                  <a:custGeom>
                    <a:avLst/>
                    <a:gdLst>
                      <a:gd name="connsiteX0" fmla="*/ 99778 w 114265"/>
                      <a:gd name="connsiteY0" fmla="*/ 133016 h 133015"/>
                      <a:gd name="connsiteX1" fmla="*/ 6654 w 114265"/>
                      <a:gd name="connsiteY1" fmla="*/ 133016 h 133015"/>
                      <a:gd name="connsiteX2" fmla="*/ 1261 w 114265"/>
                      <a:gd name="connsiteY2" fmla="*/ 130280 h 133015"/>
                      <a:gd name="connsiteX3" fmla="*/ 333 w 114265"/>
                      <a:gd name="connsiteY3" fmla="*/ 124320 h 133015"/>
                      <a:gd name="connsiteX4" fmla="*/ 35167 w 114265"/>
                      <a:gd name="connsiteY4" fmla="*/ 17882 h 133015"/>
                      <a:gd name="connsiteX5" fmla="*/ 58570 w 114265"/>
                      <a:gd name="connsiteY5" fmla="*/ 0 h 133015"/>
                      <a:gd name="connsiteX6" fmla="*/ 71317 w 114265"/>
                      <a:gd name="connsiteY6" fmla="*/ 0 h 133015"/>
                      <a:gd name="connsiteX7" fmla="*/ 77974 w 114265"/>
                      <a:gd name="connsiteY7" fmla="*/ 6657 h 133015"/>
                      <a:gd name="connsiteX8" fmla="*/ 71317 w 114265"/>
                      <a:gd name="connsiteY8" fmla="*/ 13315 h 133015"/>
                      <a:gd name="connsiteX9" fmla="*/ 58570 w 114265"/>
                      <a:gd name="connsiteY9" fmla="*/ 13315 h 133015"/>
                      <a:gd name="connsiteX10" fmla="*/ 47810 w 114265"/>
                      <a:gd name="connsiteY10" fmla="*/ 22036 h 133015"/>
                      <a:gd name="connsiteX11" fmla="*/ 15840 w 114265"/>
                      <a:gd name="connsiteY11" fmla="*/ 119753 h 133015"/>
                      <a:gd name="connsiteX12" fmla="*/ 94798 w 114265"/>
                      <a:gd name="connsiteY12" fmla="*/ 119753 h 133015"/>
                      <a:gd name="connsiteX13" fmla="*/ 101223 w 114265"/>
                      <a:gd name="connsiteY13" fmla="*/ 97923 h 133015"/>
                      <a:gd name="connsiteX14" fmla="*/ 109480 w 114265"/>
                      <a:gd name="connsiteY14" fmla="*/ 93433 h 133015"/>
                      <a:gd name="connsiteX15" fmla="*/ 113996 w 114265"/>
                      <a:gd name="connsiteY15" fmla="*/ 101690 h 133015"/>
                      <a:gd name="connsiteX16" fmla="*/ 106177 w 114265"/>
                      <a:gd name="connsiteY16" fmla="*/ 128293 h 133015"/>
                      <a:gd name="connsiteX17" fmla="*/ 99778 w 114265"/>
                      <a:gd name="connsiteY17" fmla="*/ 133016 h 133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4265" h="133015">
                        <a:moveTo>
                          <a:pt x="99778" y="133016"/>
                        </a:moveTo>
                        <a:lnTo>
                          <a:pt x="6654" y="133016"/>
                        </a:lnTo>
                        <a:cubicBezTo>
                          <a:pt x="4513" y="133016"/>
                          <a:pt x="2526" y="131983"/>
                          <a:pt x="1261" y="130280"/>
                        </a:cubicBezTo>
                        <a:cubicBezTo>
                          <a:pt x="23" y="128552"/>
                          <a:pt x="-338" y="126332"/>
                          <a:pt x="333" y="124320"/>
                        </a:cubicBezTo>
                        <a:lnTo>
                          <a:pt x="35167" y="17882"/>
                        </a:lnTo>
                        <a:cubicBezTo>
                          <a:pt x="38444" y="7844"/>
                          <a:pt x="48739" y="0"/>
                          <a:pt x="58570" y="0"/>
                        </a:cubicBezTo>
                        <a:lnTo>
                          <a:pt x="71317" y="0"/>
                        </a:lnTo>
                        <a:cubicBezTo>
                          <a:pt x="74981" y="0"/>
                          <a:pt x="77974" y="2967"/>
                          <a:pt x="77974" y="6657"/>
                        </a:cubicBezTo>
                        <a:cubicBezTo>
                          <a:pt x="77974" y="10347"/>
                          <a:pt x="75007" y="13315"/>
                          <a:pt x="71317" y="13315"/>
                        </a:cubicBezTo>
                        <a:lnTo>
                          <a:pt x="58570" y="13315"/>
                        </a:lnTo>
                        <a:cubicBezTo>
                          <a:pt x="54442" y="13315"/>
                          <a:pt x="49307" y="17469"/>
                          <a:pt x="47810" y="22036"/>
                        </a:cubicBezTo>
                        <a:lnTo>
                          <a:pt x="15840" y="119753"/>
                        </a:lnTo>
                        <a:lnTo>
                          <a:pt x="94798" y="119753"/>
                        </a:lnTo>
                        <a:lnTo>
                          <a:pt x="101223" y="97923"/>
                        </a:lnTo>
                        <a:cubicBezTo>
                          <a:pt x="102255" y="94414"/>
                          <a:pt x="105971" y="92350"/>
                          <a:pt x="109480" y="93433"/>
                        </a:cubicBezTo>
                        <a:cubicBezTo>
                          <a:pt x="113015" y="94465"/>
                          <a:pt x="115028" y="98155"/>
                          <a:pt x="113996" y="101690"/>
                        </a:cubicBezTo>
                        <a:lnTo>
                          <a:pt x="106177" y="128293"/>
                        </a:lnTo>
                        <a:cubicBezTo>
                          <a:pt x="105326" y="131080"/>
                          <a:pt x="102745" y="133016"/>
                          <a:pt x="99778" y="133016"/>
                        </a:cubicBezTo>
                        <a:close/>
                      </a:path>
                    </a:pathLst>
                  </a:custGeom>
                  <a:solidFill>
                    <a:schemeClr val="accent1"/>
                  </a:solidFill>
                  <a:ln w="2573" cap="flat">
                    <a:noFill/>
                    <a:prstDash val="solid"/>
                    <a:miter/>
                  </a:ln>
                </p:spPr>
                <p:txBody>
                  <a:bodyPr rtlCol="0" anchor="ctr"/>
                  <a:lstStyle/>
                  <a:p>
                    <a:endParaRPr lang="en-GB" dirty="0"/>
                  </a:p>
                </p:txBody>
              </p:sp>
              <p:sp>
                <p:nvSpPr>
                  <p:cNvPr id="1593" name="Freihandform: Form 1592">
                    <a:extLst>
                      <a:ext uri="{FF2B5EF4-FFF2-40B4-BE49-F238E27FC236}">
                        <a16:creationId xmlns:a16="http://schemas.microsoft.com/office/drawing/2014/main" id="{5F490E35-178E-4D85-A38B-A5801DC28673}"/>
                      </a:ext>
                    </a:extLst>
                  </p:cNvPr>
                  <p:cNvSpPr/>
                  <p:nvPr/>
                </p:nvSpPr>
                <p:spPr>
                  <a:xfrm>
                    <a:off x="942689" y="4346052"/>
                    <a:ext cx="111933" cy="39891"/>
                  </a:xfrm>
                  <a:custGeom>
                    <a:avLst/>
                    <a:gdLst>
                      <a:gd name="connsiteX0" fmla="*/ 100942 w 111933"/>
                      <a:gd name="connsiteY0" fmla="*/ 39892 h 39891"/>
                      <a:gd name="connsiteX1" fmla="*/ 10941 w 111933"/>
                      <a:gd name="connsiteY1" fmla="*/ 39892 h 39891"/>
                      <a:gd name="connsiteX2" fmla="*/ 5573 w 111933"/>
                      <a:gd name="connsiteY2" fmla="*/ 37182 h 39891"/>
                      <a:gd name="connsiteX3" fmla="*/ 4593 w 111933"/>
                      <a:gd name="connsiteY3" fmla="*/ 31248 h 39891"/>
                      <a:gd name="connsiteX4" fmla="*/ 8825 w 111933"/>
                      <a:gd name="connsiteY4" fmla="*/ 17933 h 39891"/>
                      <a:gd name="connsiteX5" fmla="*/ 8747 w 111933"/>
                      <a:gd name="connsiteY5" fmla="*/ 14063 h 39891"/>
                      <a:gd name="connsiteX6" fmla="*/ 6657 w 111933"/>
                      <a:gd name="connsiteY6" fmla="*/ 13315 h 39891"/>
                      <a:gd name="connsiteX7" fmla="*/ 0 w 111933"/>
                      <a:gd name="connsiteY7" fmla="*/ 6657 h 39891"/>
                      <a:gd name="connsiteX8" fmla="*/ 6657 w 111933"/>
                      <a:gd name="connsiteY8" fmla="*/ 0 h 39891"/>
                      <a:gd name="connsiteX9" fmla="*/ 95781 w 111933"/>
                      <a:gd name="connsiteY9" fmla="*/ 0 h 39891"/>
                      <a:gd name="connsiteX10" fmla="*/ 108709 w 111933"/>
                      <a:gd name="connsiteY10" fmla="*/ 6167 h 39891"/>
                      <a:gd name="connsiteX11" fmla="*/ 111134 w 111933"/>
                      <a:gd name="connsiteY11" fmla="*/ 21778 h 39891"/>
                      <a:gd name="connsiteX12" fmla="*/ 107341 w 111933"/>
                      <a:gd name="connsiteY12" fmla="*/ 35092 h 39891"/>
                      <a:gd name="connsiteX13" fmla="*/ 100942 w 111933"/>
                      <a:gd name="connsiteY13" fmla="*/ 39892 h 39891"/>
                      <a:gd name="connsiteX14" fmla="*/ 20023 w 111933"/>
                      <a:gd name="connsiteY14" fmla="*/ 26603 h 39891"/>
                      <a:gd name="connsiteX15" fmla="*/ 95936 w 111933"/>
                      <a:gd name="connsiteY15" fmla="*/ 26603 h 39891"/>
                      <a:gd name="connsiteX16" fmla="*/ 98336 w 111933"/>
                      <a:gd name="connsiteY16" fmla="*/ 18140 h 39891"/>
                      <a:gd name="connsiteX17" fmla="*/ 98078 w 111933"/>
                      <a:gd name="connsiteY17" fmla="*/ 14192 h 39891"/>
                      <a:gd name="connsiteX18" fmla="*/ 95781 w 111933"/>
                      <a:gd name="connsiteY18" fmla="*/ 13315 h 39891"/>
                      <a:gd name="connsiteX19" fmla="*/ 22320 w 111933"/>
                      <a:gd name="connsiteY19" fmla="*/ 13315 h 39891"/>
                      <a:gd name="connsiteX20" fmla="*/ 21494 w 111933"/>
                      <a:gd name="connsiteY20" fmla="*/ 21984 h 39891"/>
                      <a:gd name="connsiteX21" fmla="*/ 20023 w 111933"/>
                      <a:gd name="connsiteY21" fmla="*/ 26603 h 39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1933" h="39891">
                        <a:moveTo>
                          <a:pt x="100942" y="39892"/>
                        </a:moveTo>
                        <a:lnTo>
                          <a:pt x="10941" y="39892"/>
                        </a:lnTo>
                        <a:cubicBezTo>
                          <a:pt x="8825" y="39892"/>
                          <a:pt x="6838" y="38886"/>
                          <a:pt x="5573" y="37182"/>
                        </a:cubicBezTo>
                        <a:cubicBezTo>
                          <a:pt x="4309" y="35479"/>
                          <a:pt x="3948" y="33260"/>
                          <a:pt x="4593" y="31248"/>
                        </a:cubicBezTo>
                        <a:lnTo>
                          <a:pt x="8825" y="17933"/>
                        </a:lnTo>
                        <a:cubicBezTo>
                          <a:pt x="9444" y="15998"/>
                          <a:pt x="9186" y="14656"/>
                          <a:pt x="8747" y="14063"/>
                        </a:cubicBezTo>
                        <a:cubicBezTo>
                          <a:pt x="8283" y="13443"/>
                          <a:pt x="7354" y="13315"/>
                          <a:pt x="6657" y="13315"/>
                        </a:cubicBezTo>
                        <a:cubicBezTo>
                          <a:pt x="2993" y="13315"/>
                          <a:pt x="0" y="10347"/>
                          <a:pt x="0" y="6657"/>
                        </a:cubicBezTo>
                        <a:cubicBezTo>
                          <a:pt x="0" y="2967"/>
                          <a:pt x="2967" y="0"/>
                          <a:pt x="6657" y="0"/>
                        </a:cubicBezTo>
                        <a:lnTo>
                          <a:pt x="95781" y="0"/>
                        </a:lnTo>
                        <a:cubicBezTo>
                          <a:pt x="101019" y="0"/>
                          <a:pt x="105741" y="2245"/>
                          <a:pt x="108709" y="6167"/>
                        </a:cubicBezTo>
                        <a:cubicBezTo>
                          <a:pt x="111883" y="10373"/>
                          <a:pt x="112760" y="16050"/>
                          <a:pt x="111134" y="21778"/>
                        </a:cubicBezTo>
                        <a:lnTo>
                          <a:pt x="107341" y="35092"/>
                        </a:lnTo>
                        <a:cubicBezTo>
                          <a:pt x="106541" y="37931"/>
                          <a:pt x="103935" y="39892"/>
                          <a:pt x="100942" y="39892"/>
                        </a:cubicBezTo>
                        <a:close/>
                        <a:moveTo>
                          <a:pt x="20023" y="26603"/>
                        </a:moveTo>
                        <a:lnTo>
                          <a:pt x="95936" y="26603"/>
                        </a:lnTo>
                        <a:lnTo>
                          <a:pt x="98336" y="18140"/>
                        </a:lnTo>
                        <a:cubicBezTo>
                          <a:pt x="98800" y="16488"/>
                          <a:pt x="98697" y="15018"/>
                          <a:pt x="98078" y="14192"/>
                        </a:cubicBezTo>
                        <a:cubicBezTo>
                          <a:pt x="97639" y="13598"/>
                          <a:pt x="96865" y="13315"/>
                          <a:pt x="95781" y="13315"/>
                        </a:cubicBezTo>
                        <a:lnTo>
                          <a:pt x="22320" y="13315"/>
                        </a:lnTo>
                        <a:cubicBezTo>
                          <a:pt x="22707" y="16075"/>
                          <a:pt x="22449" y="19017"/>
                          <a:pt x="21494" y="21984"/>
                        </a:cubicBezTo>
                        <a:lnTo>
                          <a:pt x="20023" y="26603"/>
                        </a:lnTo>
                        <a:close/>
                      </a:path>
                    </a:pathLst>
                  </a:custGeom>
                  <a:solidFill>
                    <a:schemeClr val="accent1"/>
                  </a:solidFill>
                  <a:ln w="2573" cap="flat">
                    <a:noFill/>
                    <a:prstDash val="solid"/>
                    <a:miter/>
                  </a:ln>
                </p:spPr>
                <p:txBody>
                  <a:bodyPr rtlCol="0" anchor="ctr"/>
                  <a:lstStyle/>
                  <a:p>
                    <a:endParaRPr lang="en-GB" dirty="0"/>
                  </a:p>
                </p:txBody>
              </p:sp>
            </p:grpSp>
            <p:sp>
              <p:nvSpPr>
                <p:cNvPr id="1590" name="Freihandform: Form 1589">
                  <a:extLst>
                    <a:ext uri="{FF2B5EF4-FFF2-40B4-BE49-F238E27FC236}">
                      <a16:creationId xmlns:a16="http://schemas.microsoft.com/office/drawing/2014/main" id="{1BFB21B3-C675-479B-B0FA-27E6FDA54ECB}"/>
                    </a:ext>
                  </a:extLst>
                </p:cNvPr>
                <p:cNvSpPr/>
                <p:nvPr/>
              </p:nvSpPr>
              <p:spPr>
                <a:xfrm>
                  <a:off x="980492" y="4399284"/>
                  <a:ext cx="47328" cy="53180"/>
                </a:xfrm>
                <a:custGeom>
                  <a:avLst/>
                  <a:gdLst>
                    <a:gd name="connsiteX0" fmla="*/ 23453 w 47328"/>
                    <a:gd name="connsiteY0" fmla="*/ 53180 h 53180"/>
                    <a:gd name="connsiteX1" fmla="*/ 12306 w 47328"/>
                    <a:gd name="connsiteY1" fmla="*/ 53180 h 53180"/>
                    <a:gd name="connsiteX2" fmla="*/ 2372 w 47328"/>
                    <a:gd name="connsiteY2" fmla="*/ 48407 h 53180"/>
                    <a:gd name="connsiteX3" fmla="*/ 617 w 47328"/>
                    <a:gd name="connsiteY3" fmla="*/ 36976 h 53180"/>
                    <a:gd name="connsiteX4" fmla="*/ 7945 w 47328"/>
                    <a:gd name="connsiteY4" fmla="*/ 12411 h 53180"/>
                    <a:gd name="connsiteX5" fmla="*/ 24098 w 47328"/>
                    <a:gd name="connsiteY5" fmla="*/ 0 h 53180"/>
                    <a:gd name="connsiteX6" fmla="*/ 35090 w 47328"/>
                    <a:gd name="connsiteY6" fmla="*/ 0 h 53180"/>
                    <a:gd name="connsiteX7" fmla="*/ 44921 w 47328"/>
                    <a:gd name="connsiteY7" fmla="*/ 4722 h 53180"/>
                    <a:gd name="connsiteX8" fmla="*/ 46753 w 47328"/>
                    <a:gd name="connsiteY8" fmla="*/ 16153 h 53180"/>
                    <a:gd name="connsiteX9" fmla="*/ 39658 w 47328"/>
                    <a:gd name="connsiteY9" fmla="*/ 40718 h 53180"/>
                    <a:gd name="connsiteX10" fmla="*/ 23453 w 47328"/>
                    <a:gd name="connsiteY10" fmla="*/ 53180 h 53180"/>
                    <a:gd name="connsiteX11" fmla="*/ 13648 w 47328"/>
                    <a:gd name="connsiteY11" fmla="*/ 39866 h 53180"/>
                    <a:gd name="connsiteX12" fmla="*/ 23479 w 47328"/>
                    <a:gd name="connsiteY12" fmla="*/ 39866 h 53180"/>
                    <a:gd name="connsiteX13" fmla="*/ 26911 w 47328"/>
                    <a:gd name="connsiteY13" fmla="*/ 37002 h 53180"/>
                    <a:gd name="connsiteX14" fmla="*/ 33774 w 47328"/>
                    <a:gd name="connsiteY14" fmla="*/ 13263 h 53180"/>
                    <a:gd name="connsiteX15" fmla="*/ 24124 w 47328"/>
                    <a:gd name="connsiteY15" fmla="*/ 13263 h 53180"/>
                    <a:gd name="connsiteX16" fmla="*/ 20718 w 47328"/>
                    <a:gd name="connsiteY16" fmla="*/ 16179 h 53180"/>
                    <a:gd name="connsiteX17" fmla="*/ 13648 w 47328"/>
                    <a:gd name="connsiteY17" fmla="*/ 39866 h 53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328" h="53180">
                      <a:moveTo>
                        <a:pt x="23453" y="53180"/>
                      </a:moveTo>
                      <a:lnTo>
                        <a:pt x="12306" y="53180"/>
                      </a:lnTo>
                      <a:cubicBezTo>
                        <a:pt x="8255" y="53180"/>
                        <a:pt x="4643" y="51452"/>
                        <a:pt x="2372" y="48407"/>
                      </a:cubicBezTo>
                      <a:cubicBezTo>
                        <a:pt x="24" y="45259"/>
                        <a:pt x="-621" y="41105"/>
                        <a:pt x="617" y="36976"/>
                      </a:cubicBezTo>
                      <a:lnTo>
                        <a:pt x="7945" y="12411"/>
                      </a:lnTo>
                      <a:cubicBezTo>
                        <a:pt x="10061" y="5341"/>
                        <a:pt x="17002" y="0"/>
                        <a:pt x="24098" y="0"/>
                      </a:cubicBezTo>
                      <a:lnTo>
                        <a:pt x="35090" y="0"/>
                      </a:lnTo>
                      <a:cubicBezTo>
                        <a:pt x="39090" y="0"/>
                        <a:pt x="42677" y="1729"/>
                        <a:pt x="44921" y="4722"/>
                      </a:cubicBezTo>
                      <a:cubicBezTo>
                        <a:pt x="47270" y="7844"/>
                        <a:pt x="47940" y="12024"/>
                        <a:pt x="46753" y="16153"/>
                      </a:cubicBezTo>
                      <a:lnTo>
                        <a:pt x="39658" y="40718"/>
                      </a:lnTo>
                      <a:cubicBezTo>
                        <a:pt x="37619" y="47813"/>
                        <a:pt x="30652" y="53180"/>
                        <a:pt x="23453" y="53180"/>
                      </a:cubicBezTo>
                      <a:close/>
                      <a:moveTo>
                        <a:pt x="13648" y="39866"/>
                      </a:moveTo>
                      <a:lnTo>
                        <a:pt x="23479" y="39866"/>
                      </a:lnTo>
                      <a:cubicBezTo>
                        <a:pt x="24614" y="39866"/>
                        <a:pt x="26472" y="38473"/>
                        <a:pt x="26911" y="37002"/>
                      </a:cubicBezTo>
                      <a:lnTo>
                        <a:pt x="33774" y="13263"/>
                      </a:lnTo>
                      <a:lnTo>
                        <a:pt x="24124" y="13263"/>
                      </a:lnTo>
                      <a:cubicBezTo>
                        <a:pt x="23118" y="13263"/>
                        <a:pt x="21208" y="14579"/>
                        <a:pt x="20718" y="16179"/>
                      </a:cubicBezTo>
                      <a:lnTo>
                        <a:pt x="13648" y="39866"/>
                      </a:lnTo>
                      <a:close/>
                    </a:path>
                  </a:pathLst>
                </a:custGeom>
                <a:solidFill>
                  <a:schemeClr val="accent1"/>
                </a:solidFill>
                <a:ln w="2573" cap="flat">
                  <a:noFill/>
                  <a:prstDash val="solid"/>
                  <a:miter/>
                </a:ln>
              </p:spPr>
              <p:txBody>
                <a:bodyPr rtlCol="0" anchor="ctr"/>
                <a:lstStyle/>
                <a:p>
                  <a:endParaRPr lang="en-GB" dirty="0"/>
                </a:p>
              </p:txBody>
            </p:sp>
          </p:grpSp>
          <p:sp>
            <p:nvSpPr>
              <p:cNvPr id="1581" name="Freihandform: Form 1580">
                <a:extLst>
                  <a:ext uri="{FF2B5EF4-FFF2-40B4-BE49-F238E27FC236}">
                    <a16:creationId xmlns:a16="http://schemas.microsoft.com/office/drawing/2014/main" id="{DC86CDE7-52EA-49E2-AF15-F4AFEA53F780}"/>
                  </a:ext>
                </a:extLst>
              </p:cNvPr>
              <p:cNvSpPr/>
              <p:nvPr/>
            </p:nvSpPr>
            <p:spPr>
              <a:xfrm>
                <a:off x="845540" y="4446916"/>
                <a:ext cx="13314" cy="159644"/>
              </a:xfrm>
              <a:custGeom>
                <a:avLst/>
                <a:gdLst>
                  <a:gd name="connsiteX0" fmla="*/ 6657 w 13314"/>
                  <a:gd name="connsiteY0" fmla="*/ 159644 h 159644"/>
                  <a:gd name="connsiteX1" fmla="*/ 0 w 13314"/>
                  <a:gd name="connsiteY1" fmla="*/ 152987 h 159644"/>
                  <a:gd name="connsiteX2" fmla="*/ 0 w 13314"/>
                  <a:gd name="connsiteY2" fmla="*/ 6657 h 159644"/>
                  <a:gd name="connsiteX3" fmla="*/ 6657 w 13314"/>
                  <a:gd name="connsiteY3" fmla="*/ 0 h 159644"/>
                  <a:gd name="connsiteX4" fmla="*/ 13314 w 13314"/>
                  <a:gd name="connsiteY4" fmla="*/ 6657 h 159644"/>
                  <a:gd name="connsiteX5" fmla="*/ 13314 w 13314"/>
                  <a:gd name="connsiteY5" fmla="*/ 152987 h 159644"/>
                  <a:gd name="connsiteX6" fmla="*/ 6657 w 13314"/>
                  <a:gd name="connsiteY6" fmla="*/ 159644 h 15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159644">
                    <a:moveTo>
                      <a:pt x="6657" y="159644"/>
                    </a:moveTo>
                    <a:cubicBezTo>
                      <a:pt x="2993" y="159644"/>
                      <a:pt x="0" y="156677"/>
                      <a:pt x="0" y="152987"/>
                    </a:cubicBezTo>
                    <a:lnTo>
                      <a:pt x="0" y="6657"/>
                    </a:lnTo>
                    <a:cubicBezTo>
                      <a:pt x="0" y="2993"/>
                      <a:pt x="2967" y="0"/>
                      <a:pt x="6657" y="0"/>
                    </a:cubicBezTo>
                    <a:cubicBezTo>
                      <a:pt x="10321" y="0"/>
                      <a:pt x="13314" y="2967"/>
                      <a:pt x="13314" y="6657"/>
                    </a:cubicBezTo>
                    <a:lnTo>
                      <a:pt x="13314" y="152987"/>
                    </a:lnTo>
                    <a:cubicBezTo>
                      <a:pt x="13314" y="156677"/>
                      <a:pt x="10321" y="159644"/>
                      <a:pt x="6657" y="159644"/>
                    </a:cubicBezTo>
                    <a:close/>
                  </a:path>
                </a:pathLst>
              </a:custGeom>
              <a:solidFill>
                <a:schemeClr val="accent1"/>
              </a:solidFill>
              <a:ln w="2573" cap="flat">
                <a:noFill/>
                <a:prstDash val="solid"/>
                <a:miter/>
              </a:ln>
            </p:spPr>
            <p:txBody>
              <a:bodyPr rtlCol="0" anchor="ctr"/>
              <a:lstStyle/>
              <a:p>
                <a:endParaRPr lang="en-GB" dirty="0"/>
              </a:p>
            </p:txBody>
          </p:sp>
          <p:sp>
            <p:nvSpPr>
              <p:cNvPr id="1582" name="Freihandform: Form 1581">
                <a:extLst>
                  <a:ext uri="{FF2B5EF4-FFF2-40B4-BE49-F238E27FC236}">
                    <a16:creationId xmlns:a16="http://schemas.microsoft.com/office/drawing/2014/main" id="{7EDE9FDA-B57B-4635-91D1-46E5578DE445}"/>
                  </a:ext>
                </a:extLst>
              </p:cNvPr>
              <p:cNvSpPr/>
              <p:nvPr/>
            </p:nvSpPr>
            <p:spPr>
              <a:xfrm>
                <a:off x="965267" y="4473520"/>
                <a:ext cx="13314" cy="133041"/>
              </a:xfrm>
              <a:custGeom>
                <a:avLst/>
                <a:gdLst>
                  <a:gd name="connsiteX0" fmla="*/ 6657 w 13314"/>
                  <a:gd name="connsiteY0" fmla="*/ 133041 h 133041"/>
                  <a:gd name="connsiteX1" fmla="*/ 0 w 13314"/>
                  <a:gd name="connsiteY1" fmla="*/ 126384 h 133041"/>
                  <a:gd name="connsiteX2" fmla="*/ 0 w 13314"/>
                  <a:gd name="connsiteY2" fmla="*/ 6657 h 133041"/>
                  <a:gd name="connsiteX3" fmla="*/ 6657 w 13314"/>
                  <a:gd name="connsiteY3" fmla="*/ 0 h 133041"/>
                  <a:gd name="connsiteX4" fmla="*/ 13314 w 13314"/>
                  <a:gd name="connsiteY4" fmla="*/ 6657 h 133041"/>
                  <a:gd name="connsiteX5" fmla="*/ 13314 w 13314"/>
                  <a:gd name="connsiteY5" fmla="*/ 126384 h 133041"/>
                  <a:gd name="connsiteX6" fmla="*/ 6657 w 13314"/>
                  <a:gd name="connsiteY6" fmla="*/ 133041 h 133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133041">
                    <a:moveTo>
                      <a:pt x="6657" y="133041"/>
                    </a:moveTo>
                    <a:cubicBezTo>
                      <a:pt x="2993" y="133041"/>
                      <a:pt x="0" y="130074"/>
                      <a:pt x="0" y="126384"/>
                    </a:cubicBezTo>
                    <a:lnTo>
                      <a:pt x="0" y="6657"/>
                    </a:lnTo>
                    <a:cubicBezTo>
                      <a:pt x="0" y="2993"/>
                      <a:pt x="2967" y="0"/>
                      <a:pt x="6657" y="0"/>
                    </a:cubicBezTo>
                    <a:cubicBezTo>
                      <a:pt x="10321" y="0"/>
                      <a:pt x="13314" y="2967"/>
                      <a:pt x="13314" y="6657"/>
                    </a:cubicBezTo>
                    <a:lnTo>
                      <a:pt x="13314" y="126384"/>
                    </a:lnTo>
                    <a:cubicBezTo>
                      <a:pt x="13314" y="130074"/>
                      <a:pt x="10321" y="133041"/>
                      <a:pt x="6657" y="133041"/>
                    </a:cubicBezTo>
                    <a:close/>
                  </a:path>
                </a:pathLst>
              </a:custGeom>
              <a:solidFill>
                <a:schemeClr val="accent1"/>
              </a:solidFill>
              <a:ln w="2573" cap="flat">
                <a:noFill/>
                <a:prstDash val="solid"/>
                <a:miter/>
              </a:ln>
            </p:spPr>
            <p:txBody>
              <a:bodyPr rtlCol="0" anchor="ctr"/>
              <a:lstStyle/>
              <a:p>
                <a:endParaRPr lang="en-GB" dirty="0"/>
              </a:p>
            </p:txBody>
          </p:sp>
          <p:sp>
            <p:nvSpPr>
              <p:cNvPr id="1583" name="Freihandform: Form 1582">
                <a:extLst>
                  <a:ext uri="{FF2B5EF4-FFF2-40B4-BE49-F238E27FC236}">
                    <a16:creationId xmlns:a16="http://schemas.microsoft.com/office/drawing/2014/main" id="{AF541936-ABBC-4FB3-9FC5-27262E87CAF0}"/>
                  </a:ext>
                </a:extLst>
              </p:cNvPr>
              <p:cNvSpPr/>
              <p:nvPr/>
            </p:nvSpPr>
            <p:spPr>
              <a:xfrm>
                <a:off x="905403" y="4513437"/>
                <a:ext cx="13314" cy="93123"/>
              </a:xfrm>
              <a:custGeom>
                <a:avLst/>
                <a:gdLst>
                  <a:gd name="connsiteX0" fmla="*/ 6657 w 13314"/>
                  <a:gd name="connsiteY0" fmla="*/ 93124 h 93123"/>
                  <a:gd name="connsiteX1" fmla="*/ 0 w 13314"/>
                  <a:gd name="connsiteY1" fmla="*/ 86467 h 93123"/>
                  <a:gd name="connsiteX2" fmla="*/ 0 w 13314"/>
                  <a:gd name="connsiteY2" fmla="*/ 6657 h 93123"/>
                  <a:gd name="connsiteX3" fmla="*/ 6657 w 13314"/>
                  <a:gd name="connsiteY3" fmla="*/ 0 h 93123"/>
                  <a:gd name="connsiteX4" fmla="*/ 13314 w 13314"/>
                  <a:gd name="connsiteY4" fmla="*/ 6657 h 93123"/>
                  <a:gd name="connsiteX5" fmla="*/ 13314 w 13314"/>
                  <a:gd name="connsiteY5" fmla="*/ 86467 h 93123"/>
                  <a:gd name="connsiteX6" fmla="*/ 6657 w 13314"/>
                  <a:gd name="connsiteY6" fmla="*/ 93124 h 9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93123">
                    <a:moveTo>
                      <a:pt x="6657" y="93124"/>
                    </a:moveTo>
                    <a:cubicBezTo>
                      <a:pt x="2993" y="93124"/>
                      <a:pt x="0" y="90156"/>
                      <a:pt x="0" y="86467"/>
                    </a:cubicBezTo>
                    <a:lnTo>
                      <a:pt x="0" y="6657"/>
                    </a:lnTo>
                    <a:cubicBezTo>
                      <a:pt x="0" y="2993"/>
                      <a:pt x="2967" y="0"/>
                      <a:pt x="6657" y="0"/>
                    </a:cubicBezTo>
                    <a:cubicBezTo>
                      <a:pt x="10321" y="0"/>
                      <a:pt x="13314" y="2967"/>
                      <a:pt x="13314" y="6657"/>
                    </a:cubicBezTo>
                    <a:lnTo>
                      <a:pt x="13314" y="86467"/>
                    </a:lnTo>
                    <a:cubicBezTo>
                      <a:pt x="13314" y="90156"/>
                      <a:pt x="10321" y="93124"/>
                      <a:pt x="6657" y="93124"/>
                    </a:cubicBezTo>
                    <a:close/>
                  </a:path>
                </a:pathLst>
              </a:custGeom>
              <a:solidFill>
                <a:schemeClr val="accent1"/>
              </a:solidFill>
              <a:ln w="2573" cap="flat">
                <a:noFill/>
                <a:prstDash val="solid"/>
                <a:miter/>
              </a:ln>
            </p:spPr>
            <p:txBody>
              <a:bodyPr rtlCol="0" anchor="ctr"/>
              <a:lstStyle/>
              <a:p>
                <a:endParaRPr lang="en-GB" dirty="0"/>
              </a:p>
            </p:txBody>
          </p:sp>
          <p:sp>
            <p:nvSpPr>
              <p:cNvPr id="1584" name="Freihandform: Form 1583">
                <a:extLst>
                  <a:ext uri="{FF2B5EF4-FFF2-40B4-BE49-F238E27FC236}">
                    <a16:creationId xmlns:a16="http://schemas.microsoft.com/office/drawing/2014/main" id="{5DC8932F-AD81-4D72-A18F-4649783006F8}"/>
                  </a:ext>
                </a:extLst>
              </p:cNvPr>
              <p:cNvSpPr/>
              <p:nvPr/>
            </p:nvSpPr>
            <p:spPr>
              <a:xfrm>
                <a:off x="872143" y="4287272"/>
                <a:ext cx="137146" cy="71345"/>
              </a:xfrm>
              <a:custGeom>
                <a:avLst/>
                <a:gdLst>
                  <a:gd name="connsiteX0" fmla="*/ 130513 w 137146"/>
                  <a:gd name="connsiteY0" fmla="*/ 71346 h 71345"/>
                  <a:gd name="connsiteX1" fmla="*/ 124062 w 137146"/>
                  <a:gd name="connsiteY1" fmla="*/ 66237 h 71345"/>
                  <a:gd name="connsiteX2" fmla="*/ 59889 w 137146"/>
                  <a:gd name="connsiteY2" fmla="*/ 13315 h 71345"/>
                  <a:gd name="connsiteX3" fmla="*/ 6657 w 137146"/>
                  <a:gd name="connsiteY3" fmla="*/ 13315 h 71345"/>
                  <a:gd name="connsiteX4" fmla="*/ 0 w 137146"/>
                  <a:gd name="connsiteY4" fmla="*/ 6657 h 71345"/>
                  <a:gd name="connsiteX5" fmla="*/ 6657 w 137146"/>
                  <a:gd name="connsiteY5" fmla="*/ 0 h 71345"/>
                  <a:gd name="connsiteX6" fmla="*/ 59863 w 137146"/>
                  <a:gd name="connsiteY6" fmla="*/ 0 h 71345"/>
                  <a:gd name="connsiteX7" fmla="*/ 136963 w 137146"/>
                  <a:gd name="connsiteY7" fmla="*/ 63115 h 71345"/>
                  <a:gd name="connsiteX8" fmla="*/ 132035 w 137146"/>
                  <a:gd name="connsiteY8" fmla="*/ 71140 h 71345"/>
                  <a:gd name="connsiteX9" fmla="*/ 130513 w 137146"/>
                  <a:gd name="connsiteY9" fmla="*/ 71346 h 71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146" h="71345">
                    <a:moveTo>
                      <a:pt x="130513" y="71346"/>
                    </a:moveTo>
                    <a:cubicBezTo>
                      <a:pt x="127494" y="71346"/>
                      <a:pt x="124784" y="69282"/>
                      <a:pt x="124062" y="66237"/>
                    </a:cubicBezTo>
                    <a:cubicBezTo>
                      <a:pt x="116372" y="34086"/>
                      <a:pt x="91188" y="13315"/>
                      <a:pt x="59889" y="13315"/>
                    </a:cubicBezTo>
                    <a:lnTo>
                      <a:pt x="6657" y="13315"/>
                    </a:lnTo>
                    <a:cubicBezTo>
                      <a:pt x="2993" y="13315"/>
                      <a:pt x="0" y="10347"/>
                      <a:pt x="0" y="6657"/>
                    </a:cubicBezTo>
                    <a:cubicBezTo>
                      <a:pt x="0" y="2967"/>
                      <a:pt x="2967" y="0"/>
                      <a:pt x="6657" y="0"/>
                    </a:cubicBezTo>
                    <a:lnTo>
                      <a:pt x="59863" y="0"/>
                    </a:lnTo>
                    <a:cubicBezTo>
                      <a:pt x="97536" y="0"/>
                      <a:pt x="127803" y="24771"/>
                      <a:pt x="136963" y="63115"/>
                    </a:cubicBezTo>
                    <a:cubicBezTo>
                      <a:pt x="137815" y="66676"/>
                      <a:pt x="135622" y="70288"/>
                      <a:pt x="132035" y="71140"/>
                    </a:cubicBezTo>
                    <a:cubicBezTo>
                      <a:pt x="131545" y="71268"/>
                      <a:pt x="131003" y="71346"/>
                      <a:pt x="130513" y="71346"/>
                    </a:cubicBezTo>
                    <a:close/>
                  </a:path>
                </a:pathLst>
              </a:custGeom>
              <a:solidFill>
                <a:schemeClr val="accent1"/>
              </a:solidFill>
              <a:ln w="2573" cap="flat">
                <a:noFill/>
                <a:prstDash val="solid"/>
                <a:miter/>
              </a:ln>
            </p:spPr>
            <p:txBody>
              <a:bodyPr rtlCol="0" anchor="ctr"/>
              <a:lstStyle/>
              <a:p>
                <a:endParaRPr lang="en-GB" dirty="0"/>
              </a:p>
            </p:txBody>
          </p:sp>
          <p:sp>
            <p:nvSpPr>
              <p:cNvPr id="1585" name="Freihandform: Form 1584">
                <a:extLst>
                  <a:ext uri="{FF2B5EF4-FFF2-40B4-BE49-F238E27FC236}">
                    <a16:creationId xmlns:a16="http://schemas.microsoft.com/office/drawing/2014/main" id="{0AA8949D-849A-4D64-9905-3570C8C42E83}"/>
                  </a:ext>
                </a:extLst>
              </p:cNvPr>
              <p:cNvSpPr/>
              <p:nvPr/>
            </p:nvSpPr>
            <p:spPr>
              <a:xfrm>
                <a:off x="858854" y="4167571"/>
                <a:ext cx="93097" cy="106412"/>
              </a:xfrm>
              <a:custGeom>
                <a:avLst/>
                <a:gdLst>
                  <a:gd name="connsiteX0" fmla="*/ 46549 w 93097"/>
                  <a:gd name="connsiteY0" fmla="*/ 106412 h 106412"/>
                  <a:gd name="connsiteX1" fmla="*/ 0 w 93097"/>
                  <a:gd name="connsiteY1" fmla="*/ 53206 h 106412"/>
                  <a:gd name="connsiteX2" fmla="*/ 46549 w 93097"/>
                  <a:gd name="connsiteY2" fmla="*/ 0 h 106412"/>
                  <a:gd name="connsiteX3" fmla="*/ 93098 w 93097"/>
                  <a:gd name="connsiteY3" fmla="*/ 53206 h 106412"/>
                  <a:gd name="connsiteX4" fmla="*/ 46549 w 93097"/>
                  <a:gd name="connsiteY4" fmla="*/ 106412 h 106412"/>
                  <a:gd name="connsiteX5" fmla="*/ 46549 w 93097"/>
                  <a:gd name="connsiteY5" fmla="*/ 13289 h 106412"/>
                  <a:gd name="connsiteX6" fmla="*/ 13289 w 93097"/>
                  <a:gd name="connsiteY6" fmla="*/ 53206 h 106412"/>
                  <a:gd name="connsiteX7" fmla="*/ 46549 w 93097"/>
                  <a:gd name="connsiteY7" fmla="*/ 93124 h 106412"/>
                  <a:gd name="connsiteX8" fmla="*/ 79809 w 93097"/>
                  <a:gd name="connsiteY8" fmla="*/ 53206 h 106412"/>
                  <a:gd name="connsiteX9" fmla="*/ 46549 w 93097"/>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7" h="106412">
                    <a:moveTo>
                      <a:pt x="46549" y="106412"/>
                    </a:moveTo>
                    <a:cubicBezTo>
                      <a:pt x="18707" y="106412"/>
                      <a:pt x="0" y="85022"/>
                      <a:pt x="0" y="53206"/>
                    </a:cubicBezTo>
                    <a:cubicBezTo>
                      <a:pt x="0" y="21391"/>
                      <a:pt x="18707" y="0"/>
                      <a:pt x="46549" y="0"/>
                    </a:cubicBezTo>
                    <a:cubicBezTo>
                      <a:pt x="74391" y="0"/>
                      <a:pt x="93098" y="21391"/>
                      <a:pt x="93098" y="53206"/>
                    </a:cubicBezTo>
                    <a:cubicBezTo>
                      <a:pt x="93098" y="85022"/>
                      <a:pt x="74391" y="106412"/>
                      <a:pt x="46549" y="106412"/>
                    </a:cubicBezTo>
                    <a:close/>
                    <a:moveTo>
                      <a:pt x="46549" y="13289"/>
                    </a:moveTo>
                    <a:cubicBezTo>
                      <a:pt x="22010" y="13289"/>
                      <a:pt x="13289" y="34783"/>
                      <a:pt x="13289" y="53206"/>
                    </a:cubicBezTo>
                    <a:cubicBezTo>
                      <a:pt x="13289" y="71630"/>
                      <a:pt x="22010" y="93124"/>
                      <a:pt x="46549" y="93124"/>
                    </a:cubicBezTo>
                    <a:cubicBezTo>
                      <a:pt x="71088" y="93124"/>
                      <a:pt x="79809" y="71630"/>
                      <a:pt x="79809" y="53206"/>
                    </a:cubicBezTo>
                    <a:cubicBezTo>
                      <a:pt x="79809" y="34783"/>
                      <a:pt x="71088" y="13289"/>
                      <a:pt x="46549" y="13289"/>
                    </a:cubicBezTo>
                    <a:close/>
                  </a:path>
                </a:pathLst>
              </a:custGeom>
              <a:solidFill>
                <a:schemeClr val="accent1"/>
              </a:solidFill>
              <a:ln w="2573" cap="flat">
                <a:noFill/>
                <a:prstDash val="solid"/>
                <a:miter/>
              </a:ln>
            </p:spPr>
            <p:txBody>
              <a:bodyPr rtlCol="0" anchor="ctr"/>
              <a:lstStyle/>
              <a:p>
                <a:endParaRPr lang="en-GB" dirty="0"/>
              </a:p>
            </p:txBody>
          </p:sp>
          <p:sp>
            <p:nvSpPr>
              <p:cNvPr id="1586" name="Freihandform: Form 1585">
                <a:extLst>
                  <a:ext uri="{FF2B5EF4-FFF2-40B4-BE49-F238E27FC236}">
                    <a16:creationId xmlns:a16="http://schemas.microsoft.com/office/drawing/2014/main" id="{F56D7FC1-7CF5-4772-B171-AD013D524767}"/>
                  </a:ext>
                </a:extLst>
              </p:cNvPr>
              <p:cNvSpPr/>
              <p:nvPr/>
            </p:nvSpPr>
            <p:spPr>
              <a:xfrm>
                <a:off x="805493" y="4287324"/>
                <a:ext cx="96452" cy="172907"/>
              </a:xfrm>
              <a:custGeom>
                <a:avLst/>
                <a:gdLst>
                  <a:gd name="connsiteX0" fmla="*/ 96427 w 96452"/>
                  <a:gd name="connsiteY0" fmla="*/ 172907 h 172907"/>
                  <a:gd name="connsiteX1" fmla="*/ 26603 w 96452"/>
                  <a:gd name="connsiteY1" fmla="*/ 172907 h 172907"/>
                  <a:gd name="connsiteX2" fmla="*/ 0 w 96452"/>
                  <a:gd name="connsiteY2" fmla="*/ 146304 h 172907"/>
                  <a:gd name="connsiteX3" fmla="*/ 0 w 96452"/>
                  <a:gd name="connsiteY3" fmla="*/ 73152 h 172907"/>
                  <a:gd name="connsiteX4" fmla="*/ 73152 w 96452"/>
                  <a:gd name="connsiteY4" fmla="*/ 0 h 172907"/>
                  <a:gd name="connsiteX5" fmla="*/ 95498 w 96452"/>
                  <a:gd name="connsiteY5" fmla="*/ 0 h 172907"/>
                  <a:gd name="connsiteX6" fmla="*/ 95498 w 96452"/>
                  <a:gd name="connsiteY6" fmla="*/ 13315 h 172907"/>
                  <a:gd name="connsiteX7" fmla="*/ 73152 w 96452"/>
                  <a:gd name="connsiteY7" fmla="*/ 13315 h 172907"/>
                  <a:gd name="connsiteX8" fmla="*/ 13289 w 96452"/>
                  <a:gd name="connsiteY8" fmla="*/ 73178 h 172907"/>
                  <a:gd name="connsiteX9" fmla="*/ 13289 w 96452"/>
                  <a:gd name="connsiteY9" fmla="*/ 146330 h 172907"/>
                  <a:gd name="connsiteX10" fmla="*/ 26603 w 96452"/>
                  <a:gd name="connsiteY10" fmla="*/ 159644 h 172907"/>
                  <a:gd name="connsiteX11" fmla="*/ 96452 w 96452"/>
                  <a:gd name="connsiteY11" fmla="*/ 159644 h 172907"/>
                  <a:gd name="connsiteX12" fmla="*/ 96452 w 96452"/>
                  <a:gd name="connsiteY12" fmla="*/ 172907 h 172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452" h="172907">
                    <a:moveTo>
                      <a:pt x="96427" y="172907"/>
                    </a:moveTo>
                    <a:lnTo>
                      <a:pt x="26603" y="172907"/>
                    </a:lnTo>
                    <a:cubicBezTo>
                      <a:pt x="11921" y="172907"/>
                      <a:pt x="0" y="160986"/>
                      <a:pt x="0" y="146304"/>
                    </a:cubicBezTo>
                    <a:lnTo>
                      <a:pt x="0" y="73152"/>
                    </a:lnTo>
                    <a:cubicBezTo>
                      <a:pt x="0" y="32822"/>
                      <a:pt x="32822" y="0"/>
                      <a:pt x="73152" y="0"/>
                    </a:cubicBezTo>
                    <a:lnTo>
                      <a:pt x="95498" y="0"/>
                    </a:lnTo>
                    <a:lnTo>
                      <a:pt x="95498" y="13315"/>
                    </a:lnTo>
                    <a:lnTo>
                      <a:pt x="73152" y="13315"/>
                    </a:lnTo>
                    <a:cubicBezTo>
                      <a:pt x="40150" y="13315"/>
                      <a:pt x="13289" y="40176"/>
                      <a:pt x="13289" y="73178"/>
                    </a:cubicBezTo>
                    <a:lnTo>
                      <a:pt x="13289" y="146330"/>
                    </a:lnTo>
                    <a:cubicBezTo>
                      <a:pt x="13289" y="153658"/>
                      <a:pt x="19249" y="159644"/>
                      <a:pt x="26603" y="159644"/>
                    </a:cubicBezTo>
                    <a:lnTo>
                      <a:pt x="96452" y="159644"/>
                    </a:lnTo>
                    <a:lnTo>
                      <a:pt x="96452" y="172907"/>
                    </a:lnTo>
                    <a:close/>
                  </a:path>
                </a:pathLst>
              </a:custGeom>
              <a:solidFill>
                <a:schemeClr val="accent1"/>
              </a:solidFill>
              <a:ln w="2573" cap="flat">
                <a:noFill/>
                <a:prstDash val="solid"/>
                <a:miter/>
              </a:ln>
            </p:spPr>
            <p:txBody>
              <a:bodyPr rtlCol="0" anchor="ctr"/>
              <a:lstStyle/>
              <a:p>
                <a:endParaRPr lang="en-GB" dirty="0"/>
              </a:p>
            </p:txBody>
          </p:sp>
          <p:sp>
            <p:nvSpPr>
              <p:cNvPr id="1587" name="Freihandform: Form 1586">
                <a:extLst>
                  <a:ext uri="{FF2B5EF4-FFF2-40B4-BE49-F238E27FC236}">
                    <a16:creationId xmlns:a16="http://schemas.microsoft.com/office/drawing/2014/main" id="{4A19F485-7AFD-4FE8-A1DF-9544D9BC4C71}"/>
                  </a:ext>
                </a:extLst>
              </p:cNvPr>
              <p:cNvSpPr/>
              <p:nvPr/>
            </p:nvSpPr>
            <p:spPr>
              <a:xfrm>
                <a:off x="845385" y="4367082"/>
                <a:ext cx="76506" cy="53231"/>
              </a:xfrm>
              <a:custGeom>
                <a:avLst/>
                <a:gdLst>
                  <a:gd name="connsiteX0" fmla="*/ 69849 w 76506"/>
                  <a:gd name="connsiteY0" fmla="*/ 53232 h 53231"/>
                  <a:gd name="connsiteX1" fmla="*/ 6657 w 76506"/>
                  <a:gd name="connsiteY1" fmla="*/ 53232 h 53231"/>
                  <a:gd name="connsiteX2" fmla="*/ 0 w 76506"/>
                  <a:gd name="connsiteY2" fmla="*/ 46575 h 53231"/>
                  <a:gd name="connsiteX3" fmla="*/ 0 w 76506"/>
                  <a:gd name="connsiteY3" fmla="*/ 6657 h 53231"/>
                  <a:gd name="connsiteX4" fmla="*/ 6657 w 76506"/>
                  <a:gd name="connsiteY4" fmla="*/ 0 h 53231"/>
                  <a:gd name="connsiteX5" fmla="*/ 13314 w 76506"/>
                  <a:gd name="connsiteY5" fmla="*/ 6657 h 53231"/>
                  <a:gd name="connsiteX6" fmla="*/ 13314 w 76506"/>
                  <a:gd name="connsiteY6" fmla="*/ 39917 h 53231"/>
                  <a:gd name="connsiteX7" fmla="*/ 69849 w 76506"/>
                  <a:gd name="connsiteY7" fmla="*/ 39917 h 53231"/>
                  <a:gd name="connsiteX8" fmla="*/ 76506 w 76506"/>
                  <a:gd name="connsiteY8" fmla="*/ 46575 h 53231"/>
                  <a:gd name="connsiteX9" fmla="*/ 69849 w 76506"/>
                  <a:gd name="connsiteY9" fmla="*/ 53232 h 53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506" h="53231">
                    <a:moveTo>
                      <a:pt x="69849" y="53232"/>
                    </a:moveTo>
                    <a:lnTo>
                      <a:pt x="6657" y="53232"/>
                    </a:lnTo>
                    <a:cubicBezTo>
                      <a:pt x="2993" y="53232"/>
                      <a:pt x="0" y="50265"/>
                      <a:pt x="0" y="46575"/>
                    </a:cubicBezTo>
                    <a:lnTo>
                      <a:pt x="0" y="6657"/>
                    </a:lnTo>
                    <a:cubicBezTo>
                      <a:pt x="0" y="2993"/>
                      <a:pt x="2967" y="0"/>
                      <a:pt x="6657" y="0"/>
                    </a:cubicBezTo>
                    <a:cubicBezTo>
                      <a:pt x="10347" y="0"/>
                      <a:pt x="13314" y="2967"/>
                      <a:pt x="13314" y="6657"/>
                    </a:cubicBezTo>
                    <a:lnTo>
                      <a:pt x="13314" y="39917"/>
                    </a:lnTo>
                    <a:lnTo>
                      <a:pt x="69849" y="39917"/>
                    </a:lnTo>
                    <a:cubicBezTo>
                      <a:pt x="73513" y="39917"/>
                      <a:pt x="76506" y="42885"/>
                      <a:pt x="76506" y="46575"/>
                    </a:cubicBezTo>
                    <a:cubicBezTo>
                      <a:pt x="76506" y="50265"/>
                      <a:pt x="73513" y="53232"/>
                      <a:pt x="69849" y="53232"/>
                    </a:cubicBezTo>
                    <a:close/>
                  </a:path>
                </a:pathLst>
              </a:custGeom>
              <a:solidFill>
                <a:schemeClr val="accent1"/>
              </a:solidFill>
              <a:ln w="2573" cap="flat">
                <a:noFill/>
                <a:prstDash val="solid"/>
                <a:miter/>
              </a:ln>
            </p:spPr>
            <p:txBody>
              <a:bodyPr rtlCol="0" anchor="ctr"/>
              <a:lstStyle/>
              <a:p>
                <a:endParaRPr lang="en-GB" dirty="0"/>
              </a:p>
            </p:txBody>
          </p:sp>
          <p:sp>
            <p:nvSpPr>
              <p:cNvPr id="1588" name="Freihandform: Form 1587">
                <a:extLst>
                  <a:ext uri="{FF2B5EF4-FFF2-40B4-BE49-F238E27FC236}">
                    <a16:creationId xmlns:a16="http://schemas.microsoft.com/office/drawing/2014/main" id="{CAF323F6-0086-403E-8390-C4B1F3F5DF90}"/>
                  </a:ext>
                </a:extLst>
              </p:cNvPr>
              <p:cNvSpPr/>
              <p:nvPr/>
            </p:nvSpPr>
            <p:spPr>
              <a:xfrm>
                <a:off x="900841" y="4381253"/>
                <a:ext cx="22309" cy="34364"/>
              </a:xfrm>
              <a:custGeom>
                <a:avLst/>
                <a:gdLst>
                  <a:gd name="connsiteX0" fmla="*/ 15657 w 22309"/>
                  <a:gd name="connsiteY0" fmla="*/ 34365 h 34364"/>
                  <a:gd name="connsiteX1" fmla="*/ 9542 w 22309"/>
                  <a:gd name="connsiteY1" fmla="*/ 30339 h 34364"/>
                  <a:gd name="connsiteX2" fmla="*/ 537 w 22309"/>
                  <a:gd name="connsiteY2" fmla="*/ 9284 h 34364"/>
                  <a:gd name="connsiteX3" fmla="*/ 4046 w 22309"/>
                  <a:gd name="connsiteY3" fmla="*/ 537 h 34364"/>
                  <a:gd name="connsiteX4" fmla="*/ 12767 w 22309"/>
                  <a:gd name="connsiteY4" fmla="*/ 4046 h 34364"/>
                  <a:gd name="connsiteX5" fmla="*/ 21773 w 22309"/>
                  <a:gd name="connsiteY5" fmla="*/ 25101 h 34364"/>
                  <a:gd name="connsiteX6" fmla="*/ 18263 w 22309"/>
                  <a:gd name="connsiteY6" fmla="*/ 33849 h 34364"/>
                  <a:gd name="connsiteX7" fmla="*/ 15657 w 22309"/>
                  <a:gd name="connsiteY7" fmla="*/ 34365 h 34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09" h="34364">
                    <a:moveTo>
                      <a:pt x="15657" y="34365"/>
                    </a:moveTo>
                    <a:cubicBezTo>
                      <a:pt x="13077" y="34365"/>
                      <a:pt x="10626" y="32842"/>
                      <a:pt x="9542" y="30339"/>
                    </a:cubicBezTo>
                    <a:lnTo>
                      <a:pt x="537" y="9284"/>
                    </a:lnTo>
                    <a:cubicBezTo>
                      <a:pt x="-908" y="5904"/>
                      <a:pt x="666" y="2008"/>
                      <a:pt x="4046" y="537"/>
                    </a:cubicBezTo>
                    <a:cubicBezTo>
                      <a:pt x="7400" y="-908"/>
                      <a:pt x="11322" y="666"/>
                      <a:pt x="12767" y="4046"/>
                    </a:cubicBezTo>
                    <a:lnTo>
                      <a:pt x="21773" y="25101"/>
                    </a:lnTo>
                    <a:cubicBezTo>
                      <a:pt x="23218" y="28482"/>
                      <a:pt x="21644" y="32378"/>
                      <a:pt x="18263" y="33849"/>
                    </a:cubicBezTo>
                    <a:cubicBezTo>
                      <a:pt x="17412" y="34184"/>
                      <a:pt x="16535" y="34365"/>
                      <a:pt x="15657" y="34365"/>
                    </a:cubicBezTo>
                    <a:close/>
                  </a:path>
                </a:pathLst>
              </a:custGeom>
              <a:solidFill>
                <a:schemeClr val="accent1"/>
              </a:solidFill>
              <a:ln w="2573" cap="flat">
                <a:noFill/>
                <a:prstDash val="solid"/>
                <a:miter/>
              </a:ln>
            </p:spPr>
            <p:txBody>
              <a:bodyPr rtlCol="0" anchor="ctr"/>
              <a:lstStyle/>
              <a:p>
                <a:endParaRPr lang="en-GB" dirty="0"/>
              </a:p>
            </p:txBody>
          </p:sp>
        </p:grpSp>
        <p:grpSp>
          <p:nvGrpSpPr>
            <p:cNvPr id="1575" name="Grafik 312">
              <a:extLst>
                <a:ext uri="{FF2B5EF4-FFF2-40B4-BE49-F238E27FC236}">
                  <a16:creationId xmlns:a16="http://schemas.microsoft.com/office/drawing/2014/main" id="{C241CB02-92C6-4D79-8BD8-C173887CC5A5}"/>
                </a:ext>
              </a:extLst>
            </p:cNvPr>
            <p:cNvGrpSpPr/>
            <p:nvPr/>
          </p:nvGrpSpPr>
          <p:grpSpPr>
            <a:xfrm>
              <a:off x="735128" y="4339647"/>
              <a:ext cx="327282" cy="189807"/>
              <a:chOff x="1018318" y="4413682"/>
              <a:chExt cx="332577" cy="192878"/>
            </a:xfrm>
            <a:solidFill>
              <a:schemeClr val="tx2"/>
            </a:solidFill>
          </p:grpSpPr>
          <p:sp>
            <p:nvSpPr>
              <p:cNvPr id="1576" name="Freihandform: Form 1575">
                <a:extLst>
                  <a:ext uri="{FF2B5EF4-FFF2-40B4-BE49-F238E27FC236}">
                    <a16:creationId xmlns:a16="http://schemas.microsoft.com/office/drawing/2014/main" id="{97F949FC-7323-473D-8A18-44D9A2D7FC0E}"/>
                  </a:ext>
                </a:extLst>
              </p:cNvPr>
              <p:cNvSpPr/>
              <p:nvPr/>
            </p:nvSpPr>
            <p:spPr>
              <a:xfrm>
                <a:off x="1177936" y="4533383"/>
                <a:ext cx="172958" cy="73177"/>
              </a:xfrm>
              <a:custGeom>
                <a:avLst/>
                <a:gdLst>
                  <a:gd name="connsiteX0" fmla="*/ 166302 w 172958"/>
                  <a:gd name="connsiteY0" fmla="*/ 73178 h 73177"/>
                  <a:gd name="connsiteX1" fmla="*/ 6657 w 172958"/>
                  <a:gd name="connsiteY1" fmla="*/ 73178 h 73177"/>
                  <a:gd name="connsiteX2" fmla="*/ 0 w 172958"/>
                  <a:gd name="connsiteY2" fmla="*/ 66521 h 73177"/>
                  <a:gd name="connsiteX3" fmla="*/ 66521 w 172958"/>
                  <a:gd name="connsiteY3" fmla="*/ 0 h 73177"/>
                  <a:gd name="connsiteX4" fmla="*/ 106438 w 172958"/>
                  <a:gd name="connsiteY4" fmla="*/ 0 h 73177"/>
                  <a:gd name="connsiteX5" fmla="*/ 172959 w 172958"/>
                  <a:gd name="connsiteY5" fmla="*/ 66521 h 73177"/>
                  <a:gd name="connsiteX6" fmla="*/ 166302 w 172958"/>
                  <a:gd name="connsiteY6" fmla="*/ 73178 h 73177"/>
                  <a:gd name="connsiteX7" fmla="*/ 13727 w 172958"/>
                  <a:gd name="connsiteY7" fmla="*/ 59864 h 73177"/>
                  <a:gd name="connsiteX8" fmla="*/ 159231 w 172958"/>
                  <a:gd name="connsiteY8" fmla="*/ 59864 h 73177"/>
                  <a:gd name="connsiteX9" fmla="*/ 106438 w 172958"/>
                  <a:gd name="connsiteY9" fmla="*/ 13315 h 73177"/>
                  <a:gd name="connsiteX10" fmla="*/ 66521 w 172958"/>
                  <a:gd name="connsiteY10" fmla="*/ 13315 h 73177"/>
                  <a:gd name="connsiteX11" fmla="*/ 13727 w 172958"/>
                  <a:gd name="connsiteY11" fmla="*/ 59864 h 7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958" h="73177">
                    <a:moveTo>
                      <a:pt x="166302" y="73178"/>
                    </a:moveTo>
                    <a:lnTo>
                      <a:pt x="6657" y="73178"/>
                    </a:lnTo>
                    <a:cubicBezTo>
                      <a:pt x="2993" y="73178"/>
                      <a:pt x="0" y="70211"/>
                      <a:pt x="0" y="66521"/>
                    </a:cubicBezTo>
                    <a:cubicBezTo>
                      <a:pt x="0" y="29854"/>
                      <a:pt x="29829" y="0"/>
                      <a:pt x="66521" y="0"/>
                    </a:cubicBezTo>
                    <a:lnTo>
                      <a:pt x="106438" y="0"/>
                    </a:lnTo>
                    <a:cubicBezTo>
                      <a:pt x="143104" y="0"/>
                      <a:pt x="172959" y="29829"/>
                      <a:pt x="172959" y="66521"/>
                    </a:cubicBezTo>
                    <a:cubicBezTo>
                      <a:pt x="172959" y="70211"/>
                      <a:pt x="169966" y="73178"/>
                      <a:pt x="166302" y="73178"/>
                    </a:cubicBezTo>
                    <a:close/>
                    <a:moveTo>
                      <a:pt x="13727" y="59864"/>
                    </a:moveTo>
                    <a:lnTo>
                      <a:pt x="159231" y="59864"/>
                    </a:lnTo>
                    <a:cubicBezTo>
                      <a:pt x="155954" y="33647"/>
                      <a:pt x="133531" y="13315"/>
                      <a:pt x="106438" y="13315"/>
                    </a:cubicBezTo>
                    <a:lnTo>
                      <a:pt x="66521" y="13315"/>
                    </a:lnTo>
                    <a:cubicBezTo>
                      <a:pt x="39453" y="13315"/>
                      <a:pt x="17030" y="33673"/>
                      <a:pt x="13727" y="59864"/>
                    </a:cubicBezTo>
                    <a:close/>
                  </a:path>
                </a:pathLst>
              </a:custGeom>
              <a:grpFill/>
              <a:ln w="2573" cap="flat">
                <a:noFill/>
                <a:prstDash val="solid"/>
                <a:miter/>
              </a:ln>
            </p:spPr>
            <p:txBody>
              <a:bodyPr rtlCol="0" anchor="ctr"/>
              <a:lstStyle/>
              <a:p>
                <a:endParaRPr lang="en-GB" dirty="0"/>
              </a:p>
            </p:txBody>
          </p:sp>
          <p:sp>
            <p:nvSpPr>
              <p:cNvPr id="1577" name="Freihandform: Form 1576">
                <a:extLst>
                  <a:ext uri="{FF2B5EF4-FFF2-40B4-BE49-F238E27FC236}">
                    <a16:creationId xmlns:a16="http://schemas.microsoft.com/office/drawing/2014/main" id="{11016E94-DFBB-43F8-AA0F-CB5E2F4C3B22}"/>
                  </a:ext>
                </a:extLst>
              </p:cNvPr>
              <p:cNvSpPr/>
              <p:nvPr/>
            </p:nvSpPr>
            <p:spPr>
              <a:xfrm>
                <a:off x="1018318" y="4533383"/>
                <a:ext cx="172958" cy="73177"/>
              </a:xfrm>
              <a:custGeom>
                <a:avLst/>
                <a:gdLst>
                  <a:gd name="connsiteX0" fmla="*/ 166276 w 172958"/>
                  <a:gd name="connsiteY0" fmla="*/ 73178 h 73177"/>
                  <a:gd name="connsiteX1" fmla="*/ 6657 w 172958"/>
                  <a:gd name="connsiteY1" fmla="*/ 73178 h 73177"/>
                  <a:gd name="connsiteX2" fmla="*/ 0 w 172958"/>
                  <a:gd name="connsiteY2" fmla="*/ 66521 h 73177"/>
                  <a:gd name="connsiteX3" fmla="*/ 66521 w 172958"/>
                  <a:gd name="connsiteY3" fmla="*/ 0 h 73177"/>
                  <a:gd name="connsiteX4" fmla="*/ 106438 w 172958"/>
                  <a:gd name="connsiteY4" fmla="*/ 0 h 73177"/>
                  <a:gd name="connsiteX5" fmla="*/ 172959 w 172958"/>
                  <a:gd name="connsiteY5" fmla="*/ 66521 h 73177"/>
                  <a:gd name="connsiteX6" fmla="*/ 166276 w 172958"/>
                  <a:gd name="connsiteY6" fmla="*/ 73178 h 73177"/>
                  <a:gd name="connsiteX7" fmla="*/ 13727 w 172958"/>
                  <a:gd name="connsiteY7" fmla="*/ 59864 h 73177"/>
                  <a:gd name="connsiteX8" fmla="*/ 159231 w 172958"/>
                  <a:gd name="connsiteY8" fmla="*/ 59864 h 73177"/>
                  <a:gd name="connsiteX9" fmla="*/ 106438 w 172958"/>
                  <a:gd name="connsiteY9" fmla="*/ 13315 h 73177"/>
                  <a:gd name="connsiteX10" fmla="*/ 66521 w 172958"/>
                  <a:gd name="connsiteY10" fmla="*/ 13315 h 73177"/>
                  <a:gd name="connsiteX11" fmla="*/ 13727 w 172958"/>
                  <a:gd name="connsiteY11" fmla="*/ 59864 h 7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958" h="73177">
                    <a:moveTo>
                      <a:pt x="166276" y="73178"/>
                    </a:moveTo>
                    <a:lnTo>
                      <a:pt x="6657" y="73178"/>
                    </a:lnTo>
                    <a:cubicBezTo>
                      <a:pt x="2993" y="73178"/>
                      <a:pt x="0" y="70211"/>
                      <a:pt x="0" y="66521"/>
                    </a:cubicBezTo>
                    <a:cubicBezTo>
                      <a:pt x="0" y="29854"/>
                      <a:pt x="29828" y="0"/>
                      <a:pt x="66521" y="0"/>
                    </a:cubicBezTo>
                    <a:lnTo>
                      <a:pt x="106438" y="0"/>
                    </a:lnTo>
                    <a:cubicBezTo>
                      <a:pt x="143104" y="0"/>
                      <a:pt x="172959" y="29829"/>
                      <a:pt x="172959" y="66521"/>
                    </a:cubicBezTo>
                    <a:cubicBezTo>
                      <a:pt x="172933" y="70211"/>
                      <a:pt x="169966" y="73178"/>
                      <a:pt x="166276" y="73178"/>
                    </a:cubicBezTo>
                    <a:close/>
                    <a:moveTo>
                      <a:pt x="13727" y="59864"/>
                    </a:moveTo>
                    <a:lnTo>
                      <a:pt x="159231" y="59864"/>
                    </a:lnTo>
                    <a:cubicBezTo>
                      <a:pt x="155954" y="33647"/>
                      <a:pt x="133531" y="13315"/>
                      <a:pt x="106438" y="13315"/>
                    </a:cubicBezTo>
                    <a:lnTo>
                      <a:pt x="66521" y="13315"/>
                    </a:lnTo>
                    <a:cubicBezTo>
                      <a:pt x="39427" y="13315"/>
                      <a:pt x="17004" y="33673"/>
                      <a:pt x="13727" y="59864"/>
                    </a:cubicBezTo>
                    <a:close/>
                  </a:path>
                </a:pathLst>
              </a:custGeom>
              <a:grpFill/>
              <a:ln w="2573" cap="flat">
                <a:noFill/>
                <a:prstDash val="solid"/>
                <a:miter/>
              </a:ln>
            </p:spPr>
            <p:txBody>
              <a:bodyPr rtlCol="0" anchor="ctr"/>
              <a:lstStyle/>
              <a:p>
                <a:endParaRPr lang="en-GB" dirty="0"/>
              </a:p>
            </p:txBody>
          </p:sp>
          <p:sp>
            <p:nvSpPr>
              <p:cNvPr id="1578" name="Freihandform: Form 1577">
                <a:extLst>
                  <a:ext uri="{FF2B5EF4-FFF2-40B4-BE49-F238E27FC236}">
                    <a16:creationId xmlns:a16="http://schemas.microsoft.com/office/drawing/2014/main" id="{06F03E35-C976-463E-ADEE-1D7A91407A02}"/>
                  </a:ext>
                </a:extLst>
              </p:cNvPr>
              <p:cNvSpPr/>
              <p:nvPr/>
            </p:nvSpPr>
            <p:spPr>
              <a:xfrm>
                <a:off x="1217880" y="4413682"/>
                <a:ext cx="93097" cy="106412"/>
              </a:xfrm>
              <a:custGeom>
                <a:avLst/>
                <a:gdLst>
                  <a:gd name="connsiteX0" fmla="*/ 46549 w 93097"/>
                  <a:gd name="connsiteY0" fmla="*/ 106413 h 106412"/>
                  <a:gd name="connsiteX1" fmla="*/ 0 w 93097"/>
                  <a:gd name="connsiteY1" fmla="*/ 53206 h 106412"/>
                  <a:gd name="connsiteX2" fmla="*/ 46549 w 93097"/>
                  <a:gd name="connsiteY2" fmla="*/ 0 h 106412"/>
                  <a:gd name="connsiteX3" fmla="*/ 93098 w 93097"/>
                  <a:gd name="connsiteY3" fmla="*/ 53206 h 106412"/>
                  <a:gd name="connsiteX4" fmla="*/ 46549 w 93097"/>
                  <a:gd name="connsiteY4" fmla="*/ 106413 h 106412"/>
                  <a:gd name="connsiteX5" fmla="*/ 46549 w 93097"/>
                  <a:gd name="connsiteY5" fmla="*/ 13289 h 106412"/>
                  <a:gd name="connsiteX6" fmla="*/ 13289 w 93097"/>
                  <a:gd name="connsiteY6" fmla="*/ 53206 h 106412"/>
                  <a:gd name="connsiteX7" fmla="*/ 46549 w 93097"/>
                  <a:gd name="connsiteY7" fmla="*/ 93124 h 106412"/>
                  <a:gd name="connsiteX8" fmla="*/ 79809 w 93097"/>
                  <a:gd name="connsiteY8" fmla="*/ 53206 h 106412"/>
                  <a:gd name="connsiteX9" fmla="*/ 46549 w 93097"/>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7" h="106412">
                    <a:moveTo>
                      <a:pt x="46549" y="106413"/>
                    </a:moveTo>
                    <a:cubicBezTo>
                      <a:pt x="18707" y="106413"/>
                      <a:pt x="0" y="85022"/>
                      <a:pt x="0" y="53206"/>
                    </a:cubicBezTo>
                    <a:cubicBezTo>
                      <a:pt x="0" y="21391"/>
                      <a:pt x="18707" y="0"/>
                      <a:pt x="46549" y="0"/>
                    </a:cubicBezTo>
                    <a:cubicBezTo>
                      <a:pt x="74391" y="0"/>
                      <a:pt x="93098" y="21391"/>
                      <a:pt x="93098" y="53206"/>
                    </a:cubicBezTo>
                    <a:cubicBezTo>
                      <a:pt x="93098" y="85022"/>
                      <a:pt x="74391" y="106413"/>
                      <a:pt x="46549" y="106413"/>
                    </a:cubicBezTo>
                    <a:close/>
                    <a:moveTo>
                      <a:pt x="46549" y="13289"/>
                    </a:moveTo>
                    <a:cubicBezTo>
                      <a:pt x="22010" y="13289"/>
                      <a:pt x="13289" y="34783"/>
                      <a:pt x="13289" y="53206"/>
                    </a:cubicBezTo>
                    <a:cubicBezTo>
                      <a:pt x="13289" y="71604"/>
                      <a:pt x="22010" y="93124"/>
                      <a:pt x="46549" y="93124"/>
                    </a:cubicBezTo>
                    <a:cubicBezTo>
                      <a:pt x="71088" y="93124"/>
                      <a:pt x="79809" y="71630"/>
                      <a:pt x="79809" y="53206"/>
                    </a:cubicBezTo>
                    <a:cubicBezTo>
                      <a:pt x="79809" y="34783"/>
                      <a:pt x="71088" y="13289"/>
                      <a:pt x="46549" y="13289"/>
                    </a:cubicBezTo>
                    <a:close/>
                  </a:path>
                </a:pathLst>
              </a:custGeom>
              <a:grpFill/>
              <a:ln w="2573" cap="flat">
                <a:noFill/>
                <a:prstDash val="solid"/>
                <a:miter/>
              </a:ln>
            </p:spPr>
            <p:txBody>
              <a:bodyPr rtlCol="0" anchor="ctr"/>
              <a:lstStyle/>
              <a:p>
                <a:endParaRPr lang="en-GB" dirty="0"/>
              </a:p>
            </p:txBody>
          </p:sp>
          <p:sp>
            <p:nvSpPr>
              <p:cNvPr id="1579" name="Freihandform: Form 1578">
                <a:extLst>
                  <a:ext uri="{FF2B5EF4-FFF2-40B4-BE49-F238E27FC236}">
                    <a16:creationId xmlns:a16="http://schemas.microsoft.com/office/drawing/2014/main" id="{2D5EE794-CD88-4B74-8221-2FBB63D51BE1}"/>
                  </a:ext>
                </a:extLst>
              </p:cNvPr>
              <p:cNvSpPr/>
              <p:nvPr/>
            </p:nvSpPr>
            <p:spPr>
              <a:xfrm>
                <a:off x="1058236" y="4413682"/>
                <a:ext cx="93097" cy="106412"/>
              </a:xfrm>
              <a:custGeom>
                <a:avLst/>
                <a:gdLst>
                  <a:gd name="connsiteX0" fmla="*/ 46549 w 93097"/>
                  <a:gd name="connsiteY0" fmla="*/ 106413 h 106412"/>
                  <a:gd name="connsiteX1" fmla="*/ 0 w 93097"/>
                  <a:gd name="connsiteY1" fmla="*/ 53206 h 106412"/>
                  <a:gd name="connsiteX2" fmla="*/ 46549 w 93097"/>
                  <a:gd name="connsiteY2" fmla="*/ 0 h 106412"/>
                  <a:gd name="connsiteX3" fmla="*/ 93098 w 93097"/>
                  <a:gd name="connsiteY3" fmla="*/ 53206 h 106412"/>
                  <a:gd name="connsiteX4" fmla="*/ 46549 w 93097"/>
                  <a:gd name="connsiteY4" fmla="*/ 106413 h 106412"/>
                  <a:gd name="connsiteX5" fmla="*/ 46549 w 93097"/>
                  <a:gd name="connsiteY5" fmla="*/ 13289 h 106412"/>
                  <a:gd name="connsiteX6" fmla="*/ 13289 w 93097"/>
                  <a:gd name="connsiteY6" fmla="*/ 53206 h 106412"/>
                  <a:gd name="connsiteX7" fmla="*/ 46549 w 93097"/>
                  <a:gd name="connsiteY7" fmla="*/ 93124 h 106412"/>
                  <a:gd name="connsiteX8" fmla="*/ 79809 w 93097"/>
                  <a:gd name="connsiteY8" fmla="*/ 53206 h 106412"/>
                  <a:gd name="connsiteX9" fmla="*/ 46549 w 93097"/>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7" h="106412">
                    <a:moveTo>
                      <a:pt x="46549" y="106413"/>
                    </a:moveTo>
                    <a:cubicBezTo>
                      <a:pt x="18707" y="106413"/>
                      <a:pt x="0" y="85022"/>
                      <a:pt x="0" y="53206"/>
                    </a:cubicBezTo>
                    <a:cubicBezTo>
                      <a:pt x="0" y="21391"/>
                      <a:pt x="18707" y="0"/>
                      <a:pt x="46549" y="0"/>
                    </a:cubicBezTo>
                    <a:cubicBezTo>
                      <a:pt x="74391" y="0"/>
                      <a:pt x="93098" y="21391"/>
                      <a:pt x="93098" y="53206"/>
                    </a:cubicBezTo>
                    <a:cubicBezTo>
                      <a:pt x="93124" y="85022"/>
                      <a:pt x="74391" y="106413"/>
                      <a:pt x="46549" y="106413"/>
                    </a:cubicBezTo>
                    <a:close/>
                    <a:moveTo>
                      <a:pt x="46549" y="13289"/>
                    </a:moveTo>
                    <a:cubicBezTo>
                      <a:pt x="22010" y="13289"/>
                      <a:pt x="13289" y="34783"/>
                      <a:pt x="13289" y="53206"/>
                    </a:cubicBezTo>
                    <a:cubicBezTo>
                      <a:pt x="13289" y="71604"/>
                      <a:pt x="22010" y="93124"/>
                      <a:pt x="46549" y="93124"/>
                    </a:cubicBezTo>
                    <a:cubicBezTo>
                      <a:pt x="71088" y="93124"/>
                      <a:pt x="79809" y="71630"/>
                      <a:pt x="79809" y="53206"/>
                    </a:cubicBezTo>
                    <a:cubicBezTo>
                      <a:pt x="79809" y="34783"/>
                      <a:pt x="71088" y="13289"/>
                      <a:pt x="46549" y="13289"/>
                    </a:cubicBezTo>
                    <a:close/>
                  </a:path>
                </a:pathLst>
              </a:custGeom>
              <a:grpFill/>
              <a:ln w="2573" cap="flat">
                <a:noFill/>
                <a:prstDash val="solid"/>
                <a:miter/>
              </a:ln>
            </p:spPr>
            <p:txBody>
              <a:bodyPr rtlCol="0" anchor="ctr"/>
              <a:lstStyle/>
              <a:p>
                <a:endParaRPr lang="en-GB" dirty="0"/>
              </a:p>
            </p:txBody>
          </p:sp>
        </p:grpSp>
      </p:grpSp>
      <p:sp>
        <p:nvSpPr>
          <p:cNvPr id="1594" name="TextBox 1421">
            <a:extLst>
              <a:ext uri="{FF2B5EF4-FFF2-40B4-BE49-F238E27FC236}">
                <a16:creationId xmlns:a16="http://schemas.microsoft.com/office/drawing/2014/main" id="{099D1564-BE64-4ADF-B3C6-DA9498E7A18F}"/>
              </a:ext>
            </a:extLst>
          </p:cNvPr>
          <p:cNvSpPr txBox="1"/>
          <p:nvPr/>
        </p:nvSpPr>
        <p:spPr>
          <a:xfrm>
            <a:off x="557608" y="4547732"/>
            <a:ext cx="472885" cy="107722"/>
          </a:xfrm>
          <a:prstGeom prst="rect">
            <a:avLst/>
          </a:prstGeom>
          <a:noFill/>
          <a:effectLst/>
        </p:spPr>
        <p:txBody>
          <a:bodyPr wrap="none" lIns="0" tIns="0" rIns="0" bIns="0" rtlCol="0" anchor="t" anchorCtr="0">
            <a:spAutoFit/>
          </a:bodyPr>
          <a:lstStyle/>
          <a:p>
            <a:pPr algn="ctr"/>
            <a:r>
              <a:rPr lang="en-GB" sz="700" dirty="0">
                <a:solidFill>
                  <a:schemeClr val="tx2"/>
                </a:solidFill>
              </a:rPr>
              <a:t>Spokesman</a:t>
            </a:r>
          </a:p>
        </p:txBody>
      </p:sp>
      <p:sp>
        <p:nvSpPr>
          <p:cNvPr id="1595" name="TextBox 1422">
            <a:extLst>
              <a:ext uri="{FF2B5EF4-FFF2-40B4-BE49-F238E27FC236}">
                <a16:creationId xmlns:a16="http://schemas.microsoft.com/office/drawing/2014/main" id="{E5291403-EA1B-4997-93FB-276475EDDF7F}"/>
              </a:ext>
            </a:extLst>
          </p:cNvPr>
          <p:cNvSpPr txBox="1"/>
          <p:nvPr/>
        </p:nvSpPr>
        <p:spPr>
          <a:xfrm>
            <a:off x="3766043" y="4547732"/>
            <a:ext cx="328616" cy="107722"/>
          </a:xfrm>
          <a:prstGeom prst="rect">
            <a:avLst/>
          </a:prstGeom>
          <a:noFill/>
          <a:effectLst/>
        </p:spPr>
        <p:txBody>
          <a:bodyPr wrap="none" lIns="0" tIns="0" rIns="0" bIns="0" rtlCol="0" anchor="t" anchorCtr="0">
            <a:spAutoFit/>
          </a:bodyPr>
          <a:lstStyle/>
          <a:p>
            <a:pPr algn="ctr"/>
            <a:r>
              <a:rPr lang="en-GB" sz="700" dirty="0">
                <a:solidFill>
                  <a:schemeClr val="tx2"/>
                </a:solidFill>
              </a:rPr>
              <a:t>Lifestyle</a:t>
            </a:r>
          </a:p>
        </p:txBody>
      </p:sp>
      <p:grpSp>
        <p:nvGrpSpPr>
          <p:cNvPr id="50" name="Group 49">
            <a:extLst>
              <a:ext uri="{FF2B5EF4-FFF2-40B4-BE49-F238E27FC236}">
                <a16:creationId xmlns:a16="http://schemas.microsoft.com/office/drawing/2014/main" id="{2CD5952F-66F2-873F-630B-1D891B97CC94}"/>
              </a:ext>
            </a:extLst>
          </p:cNvPr>
          <p:cNvGrpSpPr/>
          <p:nvPr/>
        </p:nvGrpSpPr>
        <p:grpSpPr>
          <a:xfrm>
            <a:off x="1590828" y="4097454"/>
            <a:ext cx="497312" cy="432000"/>
            <a:chOff x="1590828" y="4097454"/>
            <a:chExt cx="497312" cy="432000"/>
          </a:xfrm>
        </p:grpSpPr>
        <p:grpSp>
          <p:nvGrpSpPr>
            <p:cNvPr id="1597" name="Grafik 312">
              <a:extLst>
                <a:ext uri="{FF2B5EF4-FFF2-40B4-BE49-F238E27FC236}">
                  <a16:creationId xmlns:a16="http://schemas.microsoft.com/office/drawing/2014/main" id="{65140DF8-3825-472E-8DFE-6334F198948B}"/>
                </a:ext>
              </a:extLst>
            </p:cNvPr>
            <p:cNvGrpSpPr/>
            <p:nvPr/>
          </p:nvGrpSpPr>
          <p:grpSpPr>
            <a:xfrm>
              <a:off x="1590828" y="4255249"/>
              <a:ext cx="497312" cy="274205"/>
              <a:chOff x="1683447" y="4340504"/>
              <a:chExt cx="482159" cy="265850"/>
            </a:xfrm>
            <a:solidFill>
              <a:schemeClr val="tx2"/>
            </a:solidFill>
          </p:grpSpPr>
          <p:sp>
            <p:nvSpPr>
              <p:cNvPr id="1601" name="Freihandform: Form 1600">
                <a:extLst>
                  <a:ext uri="{FF2B5EF4-FFF2-40B4-BE49-F238E27FC236}">
                    <a16:creationId xmlns:a16="http://schemas.microsoft.com/office/drawing/2014/main" id="{04CFFCF8-5793-49E6-879C-23FDDE9E790C}"/>
                  </a:ext>
                </a:extLst>
              </p:cNvPr>
              <p:cNvSpPr/>
              <p:nvPr/>
            </p:nvSpPr>
            <p:spPr>
              <a:xfrm>
                <a:off x="1756083" y="4526081"/>
                <a:ext cx="13314" cy="77022"/>
              </a:xfrm>
              <a:custGeom>
                <a:avLst/>
                <a:gdLst>
                  <a:gd name="connsiteX0" fmla="*/ 6657 w 13314"/>
                  <a:gd name="connsiteY0" fmla="*/ 77022 h 77022"/>
                  <a:gd name="connsiteX1" fmla="*/ 0 w 13314"/>
                  <a:gd name="connsiteY1" fmla="*/ 70365 h 77022"/>
                  <a:gd name="connsiteX2" fmla="*/ 0 w 13314"/>
                  <a:gd name="connsiteY2" fmla="*/ 6657 h 77022"/>
                  <a:gd name="connsiteX3" fmla="*/ 6657 w 13314"/>
                  <a:gd name="connsiteY3" fmla="*/ 0 h 77022"/>
                  <a:gd name="connsiteX4" fmla="*/ 13314 w 13314"/>
                  <a:gd name="connsiteY4" fmla="*/ 6657 h 77022"/>
                  <a:gd name="connsiteX5" fmla="*/ 13314 w 13314"/>
                  <a:gd name="connsiteY5" fmla="*/ 70365 h 77022"/>
                  <a:gd name="connsiteX6" fmla="*/ 6657 w 13314"/>
                  <a:gd name="connsiteY6" fmla="*/ 77022 h 77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77022">
                    <a:moveTo>
                      <a:pt x="6657" y="77022"/>
                    </a:moveTo>
                    <a:cubicBezTo>
                      <a:pt x="2993" y="77022"/>
                      <a:pt x="0" y="74055"/>
                      <a:pt x="0" y="70365"/>
                    </a:cubicBezTo>
                    <a:lnTo>
                      <a:pt x="0" y="6657"/>
                    </a:lnTo>
                    <a:cubicBezTo>
                      <a:pt x="0" y="2993"/>
                      <a:pt x="2967" y="0"/>
                      <a:pt x="6657" y="0"/>
                    </a:cubicBezTo>
                    <a:cubicBezTo>
                      <a:pt x="10321" y="0"/>
                      <a:pt x="13314" y="2967"/>
                      <a:pt x="13314" y="6657"/>
                    </a:cubicBezTo>
                    <a:lnTo>
                      <a:pt x="13314" y="70365"/>
                    </a:lnTo>
                    <a:cubicBezTo>
                      <a:pt x="13314" y="74029"/>
                      <a:pt x="10321" y="77022"/>
                      <a:pt x="6657" y="77022"/>
                    </a:cubicBezTo>
                    <a:close/>
                  </a:path>
                </a:pathLst>
              </a:custGeom>
              <a:grpFill/>
              <a:ln w="2573" cap="flat">
                <a:noFill/>
                <a:prstDash val="solid"/>
                <a:miter/>
              </a:ln>
            </p:spPr>
            <p:txBody>
              <a:bodyPr rtlCol="0" anchor="ctr"/>
              <a:lstStyle/>
              <a:p>
                <a:endParaRPr lang="en-GB" dirty="0"/>
              </a:p>
            </p:txBody>
          </p:sp>
          <p:sp>
            <p:nvSpPr>
              <p:cNvPr id="1602" name="Freihandform: Form 1601">
                <a:extLst>
                  <a:ext uri="{FF2B5EF4-FFF2-40B4-BE49-F238E27FC236}">
                    <a16:creationId xmlns:a16="http://schemas.microsoft.com/office/drawing/2014/main" id="{7569EFAA-98EC-4A7A-B744-3AAC1C9F4F01}"/>
                  </a:ext>
                </a:extLst>
              </p:cNvPr>
              <p:cNvSpPr/>
              <p:nvPr/>
            </p:nvSpPr>
            <p:spPr>
              <a:xfrm>
                <a:off x="1683447" y="4455408"/>
                <a:ext cx="194891" cy="150946"/>
              </a:xfrm>
              <a:custGeom>
                <a:avLst/>
                <a:gdLst>
                  <a:gd name="connsiteX0" fmla="*/ 6657 w 194891"/>
                  <a:gd name="connsiteY0" fmla="*/ 150946 h 150946"/>
                  <a:gd name="connsiteX1" fmla="*/ 0 w 194891"/>
                  <a:gd name="connsiteY1" fmla="*/ 144289 h 150946"/>
                  <a:gd name="connsiteX2" fmla="*/ 0 w 194891"/>
                  <a:gd name="connsiteY2" fmla="*/ 46856 h 150946"/>
                  <a:gd name="connsiteX3" fmla="*/ 32873 w 194891"/>
                  <a:gd name="connsiteY3" fmla="*/ 204 h 150946"/>
                  <a:gd name="connsiteX4" fmla="*/ 34499 w 194891"/>
                  <a:gd name="connsiteY4" fmla="*/ 23 h 150946"/>
                  <a:gd name="connsiteX5" fmla="*/ 66830 w 194891"/>
                  <a:gd name="connsiteY5" fmla="*/ 307 h 150946"/>
                  <a:gd name="connsiteX6" fmla="*/ 67656 w 194891"/>
                  <a:gd name="connsiteY6" fmla="*/ 359 h 150946"/>
                  <a:gd name="connsiteX7" fmla="*/ 83628 w 194891"/>
                  <a:gd name="connsiteY7" fmla="*/ 9338 h 150946"/>
                  <a:gd name="connsiteX8" fmla="*/ 123984 w 194891"/>
                  <a:gd name="connsiteY8" fmla="*/ 59500 h 150946"/>
                  <a:gd name="connsiteX9" fmla="*/ 166508 w 194891"/>
                  <a:gd name="connsiteY9" fmla="*/ 59500 h 150946"/>
                  <a:gd name="connsiteX10" fmla="*/ 194891 w 194891"/>
                  <a:gd name="connsiteY10" fmla="*/ 87883 h 150946"/>
                  <a:gd name="connsiteX11" fmla="*/ 194891 w 194891"/>
                  <a:gd name="connsiteY11" fmla="*/ 97275 h 150946"/>
                  <a:gd name="connsiteX12" fmla="*/ 188234 w 194891"/>
                  <a:gd name="connsiteY12" fmla="*/ 103933 h 150946"/>
                  <a:gd name="connsiteX13" fmla="*/ 109870 w 194891"/>
                  <a:gd name="connsiteY13" fmla="*/ 103933 h 150946"/>
                  <a:gd name="connsiteX14" fmla="*/ 88376 w 194891"/>
                  <a:gd name="connsiteY14" fmla="*/ 95031 h 150946"/>
                  <a:gd name="connsiteX15" fmla="*/ 53825 w 194891"/>
                  <a:gd name="connsiteY15" fmla="*/ 60480 h 150946"/>
                  <a:gd name="connsiteX16" fmla="*/ 53825 w 194891"/>
                  <a:gd name="connsiteY16" fmla="*/ 51062 h 150946"/>
                  <a:gd name="connsiteX17" fmla="*/ 63218 w 194891"/>
                  <a:gd name="connsiteY17" fmla="*/ 51062 h 150946"/>
                  <a:gd name="connsiteX18" fmla="*/ 97768 w 194891"/>
                  <a:gd name="connsiteY18" fmla="*/ 85613 h 150946"/>
                  <a:gd name="connsiteX19" fmla="*/ 109844 w 194891"/>
                  <a:gd name="connsiteY19" fmla="*/ 90618 h 150946"/>
                  <a:gd name="connsiteX20" fmla="*/ 181551 w 194891"/>
                  <a:gd name="connsiteY20" fmla="*/ 90618 h 150946"/>
                  <a:gd name="connsiteX21" fmla="*/ 181551 w 194891"/>
                  <a:gd name="connsiteY21" fmla="*/ 87883 h 150946"/>
                  <a:gd name="connsiteX22" fmla="*/ 166482 w 194891"/>
                  <a:gd name="connsiteY22" fmla="*/ 72814 h 150946"/>
                  <a:gd name="connsiteX23" fmla="*/ 120759 w 194891"/>
                  <a:gd name="connsiteY23" fmla="*/ 72814 h 150946"/>
                  <a:gd name="connsiteX24" fmla="*/ 115572 w 194891"/>
                  <a:gd name="connsiteY24" fmla="*/ 70337 h 150946"/>
                  <a:gd name="connsiteX25" fmla="*/ 73023 w 194891"/>
                  <a:gd name="connsiteY25" fmla="*/ 17441 h 150946"/>
                  <a:gd name="connsiteX26" fmla="*/ 72584 w 194891"/>
                  <a:gd name="connsiteY26" fmla="*/ 16821 h 150946"/>
                  <a:gd name="connsiteX27" fmla="*/ 67011 w 194891"/>
                  <a:gd name="connsiteY27" fmla="*/ 13673 h 150946"/>
                  <a:gd name="connsiteX28" fmla="*/ 66366 w 194891"/>
                  <a:gd name="connsiteY28" fmla="*/ 13622 h 150946"/>
                  <a:gd name="connsiteX29" fmla="*/ 35221 w 194891"/>
                  <a:gd name="connsiteY29" fmla="*/ 13338 h 150946"/>
                  <a:gd name="connsiteX30" fmla="*/ 13263 w 194891"/>
                  <a:gd name="connsiteY30" fmla="*/ 46882 h 150946"/>
                  <a:gd name="connsiteX31" fmla="*/ 13263 w 194891"/>
                  <a:gd name="connsiteY31" fmla="*/ 144315 h 150946"/>
                  <a:gd name="connsiteX32" fmla="*/ 6657 w 194891"/>
                  <a:gd name="connsiteY32" fmla="*/ 150946 h 150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4891" h="150946">
                    <a:moveTo>
                      <a:pt x="6657" y="150946"/>
                    </a:moveTo>
                    <a:cubicBezTo>
                      <a:pt x="2993" y="150946"/>
                      <a:pt x="0" y="147979"/>
                      <a:pt x="0" y="144289"/>
                    </a:cubicBezTo>
                    <a:lnTo>
                      <a:pt x="0" y="46856"/>
                    </a:lnTo>
                    <a:cubicBezTo>
                      <a:pt x="0" y="24046"/>
                      <a:pt x="13521" y="4874"/>
                      <a:pt x="32873" y="204"/>
                    </a:cubicBezTo>
                    <a:cubicBezTo>
                      <a:pt x="33415" y="75"/>
                      <a:pt x="33828" y="-54"/>
                      <a:pt x="34499" y="23"/>
                    </a:cubicBezTo>
                    <a:lnTo>
                      <a:pt x="66830" y="307"/>
                    </a:lnTo>
                    <a:cubicBezTo>
                      <a:pt x="67114" y="307"/>
                      <a:pt x="67398" y="333"/>
                      <a:pt x="67656" y="359"/>
                    </a:cubicBezTo>
                    <a:cubicBezTo>
                      <a:pt x="70494" y="565"/>
                      <a:pt x="78209" y="1081"/>
                      <a:pt x="83628" y="9338"/>
                    </a:cubicBezTo>
                    <a:lnTo>
                      <a:pt x="123984" y="59500"/>
                    </a:lnTo>
                    <a:lnTo>
                      <a:pt x="166508" y="59500"/>
                    </a:lnTo>
                    <a:cubicBezTo>
                      <a:pt x="182145" y="59500"/>
                      <a:pt x="194891" y="72221"/>
                      <a:pt x="194891" y="87883"/>
                    </a:cubicBezTo>
                    <a:lnTo>
                      <a:pt x="194891" y="97275"/>
                    </a:lnTo>
                    <a:cubicBezTo>
                      <a:pt x="194891" y="100940"/>
                      <a:pt x="191924" y="103933"/>
                      <a:pt x="188234" y="103933"/>
                    </a:cubicBezTo>
                    <a:lnTo>
                      <a:pt x="109870" y="103933"/>
                    </a:lnTo>
                    <a:cubicBezTo>
                      <a:pt x="101871" y="103933"/>
                      <a:pt x="94027" y="100682"/>
                      <a:pt x="88376" y="95031"/>
                    </a:cubicBezTo>
                    <a:lnTo>
                      <a:pt x="53825" y="60480"/>
                    </a:lnTo>
                    <a:cubicBezTo>
                      <a:pt x="51219" y="57874"/>
                      <a:pt x="51219" y="53668"/>
                      <a:pt x="53825" y="51062"/>
                    </a:cubicBezTo>
                    <a:cubicBezTo>
                      <a:pt x="56432" y="48456"/>
                      <a:pt x="60637" y="48456"/>
                      <a:pt x="63218" y="51062"/>
                    </a:cubicBezTo>
                    <a:lnTo>
                      <a:pt x="97768" y="85613"/>
                    </a:lnTo>
                    <a:cubicBezTo>
                      <a:pt x="100942" y="88786"/>
                      <a:pt x="105354" y="90618"/>
                      <a:pt x="109844" y="90618"/>
                    </a:cubicBezTo>
                    <a:lnTo>
                      <a:pt x="181551" y="90618"/>
                    </a:lnTo>
                    <a:lnTo>
                      <a:pt x="181551" y="87883"/>
                    </a:lnTo>
                    <a:cubicBezTo>
                      <a:pt x="181551" y="79575"/>
                      <a:pt x="174791" y="72814"/>
                      <a:pt x="166482" y="72814"/>
                    </a:cubicBezTo>
                    <a:lnTo>
                      <a:pt x="120759" y="72814"/>
                    </a:lnTo>
                    <a:cubicBezTo>
                      <a:pt x="118746" y="72814"/>
                      <a:pt x="116837" y="71911"/>
                      <a:pt x="115572" y="70337"/>
                    </a:cubicBezTo>
                    <a:lnTo>
                      <a:pt x="73023" y="17441"/>
                    </a:lnTo>
                    <a:cubicBezTo>
                      <a:pt x="72868" y="17234"/>
                      <a:pt x="72713" y="17028"/>
                      <a:pt x="72584" y="16821"/>
                    </a:cubicBezTo>
                    <a:cubicBezTo>
                      <a:pt x="70752" y="13931"/>
                      <a:pt x="68765" y="13802"/>
                      <a:pt x="67011" y="13673"/>
                    </a:cubicBezTo>
                    <a:cubicBezTo>
                      <a:pt x="66779" y="13648"/>
                      <a:pt x="66546" y="13648"/>
                      <a:pt x="66366" y="13622"/>
                    </a:cubicBezTo>
                    <a:lnTo>
                      <a:pt x="35221" y="13338"/>
                    </a:lnTo>
                    <a:cubicBezTo>
                      <a:pt x="22242" y="16899"/>
                      <a:pt x="13263" y="30548"/>
                      <a:pt x="13263" y="46882"/>
                    </a:cubicBezTo>
                    <a:lnTo>
                      <a:pt x="13263" y="144315"/>
                    </a:lnTo>
                    <a:cubicBezTo>
                      <a:pt x="13314" y="147953"/>
                      <a:pt x="10321" y="150946"/>
                      <a:pt x="6657" y="150946"/>
                    </a:cubicBezTo>
                    <a:close/>
                  </a:path>
                </a:pathLst>
              </a:custGeom>
              <a:grpFill/>
              <a:ln w="2573" cap="flat">
                <a:noFill/>
                <a:prstDash val="solid"/>
                <a:miter/>
              </a:ln>
            </p:spPr>
            <p:txBody>
              <a:bodyPr rtlCol="0" anchor="ctr"/>
              <a:lstStyle/>
              <a:p>
                <a:endParaRPr lang="en-GB" dirty="0"/>
              </a:p>
            </p:txBody>
          </p:sp>
          <p:sp>
            <p:nvSpPr>
              <p:cNvPr id="1603" name="Freihandform: Form 1602">
                <a:extLst>
                  <a:ext uri="{FF2B5EF4-FFF2-40B4-BE49-F238E27FC236}">
                    <a16:creationId xmlns:a16="http://schemas.microsoft.com/office/drawing/2014/main" id="{482D81EE-B340-441C-B72B-F5F1E7990BC2}"/>
                  </a:ext>
                </a:extLst>
              </p:cNvPr>
              <p:cNvSpPr/>
              <p:nvPr/>
            </p:nvSpPr>
            <p:spPr>
              <a:xfrm>
                <a:off x="2079732" y="4526081"/>
                <a:ext cx="13314" cy="77022"/>
              </a:xfrm>
              <a:custGeom>
                <a:avLst/>
                <a:gdLst>
                  <a:gd name="connsiteX0" fmla="*/ 6657 w 13314"/>
                  <a:gd name="connsiteY0" fmla="*/ 77022 h 77022"/>
                  <a:gd name="connsiteX1" fmla="*/ 0 w 13314"/>
                  <a:gd name="connsiteY1" fmla="*/ 70365 h 77022"/>
                  <a:gd name="connsiteX2" fmla="*/ 0 w 13314"/>
                  <a:gd name="connsiteY2" fmla="*/ 6657 h 77022"/>
                  <a:gd name="connsiteX3" fmla="*/ 6657 w 13314"/>
                  <a:gd name="connsiteY3" fmla="*/ 0 h 77022"/>
                  <a:gd name="connsiteX4" fmla="*/ 13314 w 13314"/>
                  <a:gd name="connsiteY4" fmla="*/ 6657 h 77022"/>
                  <a:gd name="connsiteX5" fmla="*/ 13314 w 13314"/>
                  <a:gd name="connsiteY5" fmla="*/ 70365 h 77022"/>
                  <a:gd name="connsiteX6" fmla="*/ 6657 w 13314"/>
                  <a:gd name="connsiteY6" fmla="*/ 77022 h 77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4" h="77022">
                    <a:moveTo>
                      <a:pt x="6657" y="77022"/>
                    </a:moveTo>
                    <a:cubicBezTo>
                      <a:pt x="2993" y="77022"/>
                      <a:pt x="0" y="74055"/>
                      <a:pt x="0" y="70365"/>
                    </a:cubicBezTo>
                    <a:lnTo>
                      <a:pt x="0" y="6657"/>
                    </a:lnTo>
                    <a:cubicBezTo>
                      <a:pt x="0" y="2993"/>
                      <a:pt x="2967" y="0"/>
                      <a:pt x="6657" y="0"/>
                    </a:cubicBezTo>
                    <a:cubicBezTo>
                      <a:pt x="10321" y="0"/>
                      <a:pt x="13314" y="2967"/>
                      <a:pt x="13314" y="6657"/>
                    </a:cubicBezTo>
                    <a:lnTo>
                      <a:pt x="13314" y="70365"/>
                    </a:lnTo>
                    <a:cubicBezTo>
                      <a:pt x="13314" y="74029"/>
                      <a:pt x="10321" y="77022"/>
                      <a:pt x="6657" y="77022"/>
                    </a:cubicBezTo>
                    <a:close/>
                  </a:path>
                </a:pathLst>
              </a:custGeom>
              <a:grpFill/>
              <a:ln w="2573" cap="flat">
                <a:noFill/>
                <a:prstDash val="solid"/>
                <a:miter/>
              </a:ln>
            </p:spPr>
            <p:txBody>
              <a:bodyPr rtlCol="0" anchor="ctr"/>
              <a:lstStyle/>
              <a:p>
                <a:endParaRPr lang="en-GB" dirty="0"/>
              </a:p>
            </p:txBody>
          </p:sp>
          <p:sp>
            <p:nvSpPr>
              <p:cNvPr id="1604" name="Freihandform: Form 1603">
                <a:extLst>
                  <a:ext uri="{FF2B5EF4-FFF2-40B4-BE49-F238E27FC236}">
                    <a16:creationId xmlns:a16="http://schemas.microsoft.com/office/drawing/2014/main" id="{ABF0FA1C-EA28-47B3-9611-99F0995E14A3}"/>
                  </a:ext>
                </a:extLst>
              </p:cNvPr>
              <p:cNvSpPr/>
              <p:nvPr/>
            </p:nvSpPr>
            <p:spPr>
              <a:xfrm>
                <a:off x="1970739" y="4455289"/>
                <a:ext cx="194867" cy="151065"/>
              </a:xfrm>
              <a:custGeom>
                <a:avLst/>
                <a:gdLst>
                  <a:gd name="connsiteX0" fmla="*/ 188286 w 194867"/>
                  <a:gd name="connsiteY0" fmla="*/ 151065 h 151065"/>
                  <a:gd name="connsiteX1" fmla="*/ 181629 w 194867"/>
                  <a:gd name="connsiteY1" fmla="*/ 144408 h 151065"/>
                  <a:gd name="connsiteX2" fmla="*/ 181629 w 194867"/>
                  <a:gd name="connsiteY2" fmla="*/ 46976 h 151065"/>
                  <a:gd name="connsiteX3" fmla="*/ 159644 w 194867"/>
                  <a:gd name="connsiteY3" fmla="*/ 13431 h 151065"/>
                  <a:gd name="connsiteX4" fmla="*/ 129119 w 194867"/>
                  <a:gd name="connsiteY4" fmla="*/ 13354 h 151065"/>
                  <a:gd name="connsiteX5" fmla="*/ 117095 w 194867"/>
                  <a:gd name="connsiteY5" fmla="*/ 23572 h 151065"/>
                  <a:gd name="connsiteX6" fmla="*/ 79319 w 194867"/>
                  <a:gd name="connsiteY6" fmla="*/ 70431 h 151065"/>
                  <a:gd name="connsiteX7" fmla="*/ 74133 w 194867"/>
                  <a:gd name="connsiteY7" fmla="*/ 72908 h 151065"/>
                  <a:gd name="connsiteX8" fmla="*/ 28409 w 194867"/>
                  <a:gd name="connsiteY8" fmla="*/ 72908 h 151065"/>
                  <a:gd name="connsiteX9" fmla="*/ 13340 w 194867"/>
                  <a:gd name="connsiteY9" fmla="*/ 87977 h 151065"/>
                  <a:gd name="connsiteX10" fmla="*/ 13340 w 194867"/>
                  <a:gd name="connsiteY10" fmla="*/ 90712 h 151065"/>
                  <a:gd name="connsiteX11" fmla="*/ 85047 w 194867"/>
                  <a:gd name="connsiteY11" fmla="*/ 90712 h 151065"/>
                  <a:gd name="connsiteX12" fmla="*/ 97123 w 194867"/>
                  <a:gd name="connsiteY12" fmla="*/ 85706 h 151065"/>
                  <a:gd name="connsiteX13" fmla="*/ 131674 w 194867"/>
                  <a:gd name="connsiteY13" fmla="*/ 51156 h 151065"/>
                  <a:gd name="connsiteX14" fmla="*/ 141066 w 194867"/>
                  <a:gd name="connsiteY14" fmla="*/ 51156 h 151065"/>
                  <a:gd name="connsiteX15" fmla="*/ 141066 w 194867"/>
                  <a:gd name="connsiteY15" fmla="*/ 60574 h 151065"/>
                  <a:gd name="connsiteX16" fmla="*/ 106516 w 194867"/>
                  <a:gd name="connsiteY16" fmla="*/ 95124 h 151065"/>
                  <a:gd name="connsiteX17" fmla="*/ 85021 w 194867"/>
                  <a:gd name="connsiteY17" fmla="*/ 104026 h 151065"/>
                  <a:gd name="connsiteX18" fmla="*/ 6657 w 194867"/>
                  <a:gd name="connsiteY18" fmla="*/ 104026 h 151065"/>
                  <a:gd name="connsiteX19" fmla="*/ 0 w 194867"/>
                  <a:gd name="connsiteY19" fmla="*/ 97369 h 151065"/>
                  <a:gd name="connsiteX20" fmla="*/ 0 w 194867"/>
                  <a:gd name="connsiteY20" fmla="*/ 87977 h 151065"/>
                  <a:gd name="connsiteX21" fmla="*/ 28384 w 194867"/>
                  <a:gd name="connsiteY21" fmla="*/ 59593 h 151065"/>
                  <a:gd name="connsiteX22" fmla="*/ 70907 w 194867"/>
                  <a:gd name="connsiteY22" fmla="*/ 59593 h 151065"/>
                  <a:gd name="connsiteX23" fmla="*/ 106645 w 194867"/>
                  <a:gd name="connsiteY23" fmla="*/ 15263 h 151065"/>
                  <a:gd name="connsiteX24" fmla="*/ 127003 w 194867"/>
                  <a:gd name="connsiteY24" fmla="*/ 91 h 151065"/>
                  <a:gd name="connsiteX25" fmla="*/ 127906 w 194867"/>
                  <a:gd name="connsiteY25" fmla="*/ 39 h 151065"/>
                  <a:gd name="connsiteX26" fmla="*/ 160444 w 194867"/>
                  <a:gd name="connsiteY26" fmla="*/ 117 h 151065"/>
                  <a:gd name="connsiteX27" fmla="*/ 161992 w 194867"/>
                  <a:gd name="connsiteY27" fmla="*/ 298 h 151065"/>
                  <a:gd name="connsiteX28" fmla="*/ 194866 w 194867"/>
                  <a:gd name="connsiteY28" fmla="*/ 46950 h 151065"/>
                  <a:gd name="connsiteX29" fmla="*/ 194866 w 194867"/>
                  <a:gd name="connsiteY29" fmla="*/ 144383 h 151065"/>
                  <a:gd name="connsiteX30" fmla="*/ 188286 w 194867"/>
                  <a:gd name="connsiteY30" fmla="*/ 151065 h 151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94867" h="151065">
                    <a:moveTo>
                      <a:pt x="188286" y="151065"/>
                    </a:moveTo>
                    <a:cubicBezTo>
                      <a:pt x="184622" y="151065"/>
                      <a:pt x="181629" y="148098"/>
                      <a:pt x="181629" y="144408"/>
                    </a:cubicBezTo>
                    <a:lnTo>
                      <a:pt x="181629" y="46976"/>
                    </a:lnTo>
                    <a:cubicBezTo>
                      <a:pt x="181629" y="30642"/>
                      <a:pt x="172623" y="16966"/>
                      <a:pt x="159644" y="13431"/>
                    </a:cubicBezTo>
                    <a:lnTo>
                      <a:pt x="129119" y="13354"/>
                    </a:lnTo>
                    <a:cubicBezTo>
                      <a:pt x="127055" y="14412"/>
                      <a:pt x="121456" y="17999"/>
                      <a:pt x="117095" y="23572"/>
                    </a:cubicBezTo>
                    <a:lnTo>
                      <a:pt x="79319" y="70431"/>
                    </a:lnTo>
                    <a:cubicBezTo>
                      <a:pt x="78055" y="72004"/>
                      <a:pt x="76145" y="72908"/>
                      <a:pt x="74133" y="72908"/>
                    </a:cubicBezTo>
                    <a:lnTo>
                      <a:pt x="28409" y="72908"/>
                    </a:lnTo>
                    <a:cubicBezTo>
                      <a:pt x="20101" y="72908"/>
                      <a:pt x="13340" y="79668"/>
                      <a:pt x="13340" y="87977"/>
                    </a:cubicBezTo>
                    <a:lnTo>
                      <a:pt x="13340" y="90712"/>
                    </a:lnTo>
                    <a:lnTo>
                      <a:pt x="85047" y="90712"/>
                    </a:lnTo>
                    <a:cubicBezTo>
                      <a:pt x="89537" y="90712"/>
                      <a:pt x="93949" y="88880"/>
                      <a:pt x="97123" y="85706"/>
                    </a:cubicBezTo>
                    <a:lnTo>
                      <a:pt x="131674" y="51156"/>
                    </a:lnTo>
                    <a:cubicBezTo>
                      <a:pt x="134280" y="48549"/>
                      <a:pt x="138486" y="48549"/>
                      <a:pt x="141066" y="51156"/>
                    </a:cubicBezTo>
                    <a:cubicBezTo>
                      <a:pt x="143672" y="53762"/>
                      <a:pt x="143672" y="57968"/>
                      <a:pt x="141066" y="60574"/>
                    </a:cubicBezTo>
                    <a:lnTo>
                      <a:pt x="106516" y="95124"/>
                    </a:lnTo>
                    <a:cubicBezTo>
                      <a:pt x="100865" y="100775"/>
                      <a:pt x="93020" y="104026"/>
                      <a:pt x="85021" y="104026"/>
                    </a:cubicBezTo>
                    <a:lnTo>
                      <a:pt x="6657" y="104026"/>
                    </a:lnTo>
                    <a:cubicBezTo>
                      <a:pt x="2993" y="104026"/>
                      <a:pt x="0" y="101059"/>
                      <a:pt x="0" y="97369"/>
                    </a:cubicBezTo>
                    <a:lnTo>
                      <a:pt x="0" y="87977"/>
                    </a:lnTo>
                    <a:cubicBezTo>
                      <a:pt x="0" y="72340"/>
                      <a:pt x="12721" y="59593"/>
                      <a:pt x="28384" y="59593"/>
                    </a:cubicBezTo>
                    <a:lnTo>
                      <a:pt x="70907" y="59593"/>
                    </a:lnTo>
                    <a:lnTo>
                      <a:pt x="106645" y="15263"/>
                    </a:lnTo>
                    <a:cubicBezTo>
                      <a:pt x="112863" y="7342"/>
                      <a:pt x="122539" y="710"/>
                      <a:pt x="127003" y="91"/>
                    </a:cubicBezTo>
                    <a:cubicBezTo>
                      <a:pt x="127313" y="65"/>
                      <a:pt x="127597" y="-64"/>
                      <a:pt x="127906" y="39"/>
                    </a:cubicBezTo>
                    <a:lnTo>
                      <a:pt x="160444" y="117"/>
                    </a:lnTo>
                    <a:cubicBezTo>
                      <a:pt x="160960" y="117"/>
                      <a:pt x="161476" y="194"/>
                      <a:pt x="161992" y="298"/>
                    </a:cubicBezTo>
                    <a:cubicBezTo>
                      <a:pt x="181345" y="4968"/>
                      <a:pt x="194866" y="24166"/>
                      <a:pt x="194866" y="46950"/>
                    </a:cubicBezTo>
                    <a:lnTo>
                      <a:pt x="194866" y="144383"/>
                    </a:lnTo>
                    <a:cubicBezTo>
                      <a:pt x="194943" y="148072"/>
                      <a:pt x="191950" y="151065"/>
                      <a:pt x="188286" y="151065"/>
                    </a:cubicBezTo>
                    <a:close/>
                  </a:path>
                </a:pathLst>
              </a:custGeom>
              <a:grpFill/>
              <a:ln w="2573" cap="flat">
                <a:noFill/>
                <a:prstDash val="solid"/>
                <a:miter/>
              </a:ln>
            </p:spPr>
            <p:txBody>
              <a:bodyPr rtlCol="0" anchor="ctr"/>
              <a:lstStyle/>
              <a:p>
                <a:endParaRPr lang="en-GB" dirty="0"/>
              </a:p>
            </p:txBody>
          </p:sp>
          <p:sp>
            <p:nvSpPr>
              <p:cNvPr id="1605" name="Freihandform: Form 1604">
                <a:extLst>
                  <a:ext uri="{FF2B5EF4-FFF2-40B4-BE49-F238E27FC236}">
                    <a16:creationId xmlns:a16="http://schemas.microsoft.com/office/drawing/2014/main" id="{7A427C74-8C6E-4D54-B575-F7FE80338E79}"/>
                  </a:ext>
                </a:extLst>
              </p:cNvPr>
              <p:cNvSpPr/>
              <p:nvPr/>
            </p:nvSpPr>
            <p:spPr>
              <a:xfrm>
                <a:off x="1859992" y="4545691"/>
                <a:ext cx="128112" cy="13314"/>
              </a:xfrm>
              <a:custGeom>
                <a:avLst/>
                <a:gdLst>
                  <a:gd name="connsiteX0" fmla="*/ 121456 w 128112"/>
                  <a:gd name="connsiteY0" fmla="*/ 13315 h 13314"/>
                  <a:gd name="connsiteX1" fmla="*/ 6657 w 128112"/>
                  <a:gd name="connsiteY1" fmla="*/ 13315 h 13314"/>
                  <a:gd name="connsiteX2" fmla="*/ 0 w 128112"/>
                  <a:gd name="connsiteY2" fmla="*/ 6657 h 13314"/>
                  <a:gd name="connsiteX3" fmla="*/ 6657 w 128112"/>
                  <a:gd name="connsiteY3" fmla="*/ 0 h 13314"/>
                  <a:gd name="connsiteX4" fmla="*/ 121456 w 128112"/>
                  <a:gd name="connsiteY4" fmla="*/ 0 h 13314"/>
                  <a:gd name="connsiteX5" fmla="*/ 128113 w 128112"/>
                  <a:gd name="connsiteY5" fmla="*/ 6657 h 13314"/>
                  <a:gd name="connsiteX6" fmla="*/ 121456 w 128112"/>
                  <a:gd name="connsiteY6" fmla="*/ 13315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12" h="13314">
                    <a:moveTo>
                      <a:pt x="121456" y="13315"/>
                    </a:moveTo>
                    <a:lnTo>
                      <a:pt x="6657" y="13315"/>
                    </a:lnTo>
                    <a:cubicBezTo>
                      <a:pt x="2993" y="13315"/>
                      <a:pt x="0" y="10347"/>
                      <a:pt x="0" y="6657"/>
                    </a:cubicBezTo>
                    <a:cubicBezTo>
                      <a:pt x="0" y="2967"/>
                      <a:pt x="2967" y="0"/>
                      <a:pt x="6657" y="0"/>
                    </a:cubicBezTo>
                    <a:lnTo>
                      <a:pt x="121456" y="0"/>
                    </a:lnTo>
                    <a:cubicBezTo>
                      <a:pt x="125120" y="0"/>
                      <a:pt x="128113" y="2967"/>
                      <a:pt x="128113" y="6657"/>
                    </a:cubicBezTo>
                    <a:cubicBezTo>
                      <a:pt x="128113" y="10347"/>
                      <a:pt x="125145" y="13315"/>
                      <a:pt x="121456" y="13315"/>
                    </a:cubicBezTo>
                    <a:close/>
                  </a:path>
                </a:pathLst>
              </a:custGeom>
              <a:grpFill/>
              <a:ln w="2573" cap="flat">
                <a:noFill/>
                <a:prstDash val="solid"/>
                <a:miter/>
              </a:ln>
            </p:spPr>
            <p:txBody>
              <a:bodyPr rtlCol="0" anchor="ctr"/>
              <a:lstStyle/>
              <a:p>
                <a:endParaRPr lang="en-GB" dirty="0"/>
              </a:p>
            </p:txBody>
          </p:sp>
          <p:sp>
            <p:nvSpPr>
              <p:cNvPr id="1606" name="Freihandform: Form 1605">
                <a:extLst>
                  <a:ext uri="{FF2B5EF4-FFF2-40B4-BE49-F238E27FC236}">
                    <a16:creationId xmlns:a16="http://schemas.microsoft.com/office/drawing/2014/main" id="{211847C7-92D4-406F-9EC9-55D2282D4048}"/>
                  </a:ext>
                </a:extLst>
              </p:cNvPr>
              <p:cNvSpPr/>
              <p:nvPr/>
            </p:nvSpPr>
            <p:spPr>
              <a:xfrm>
                <a:off x="1688065" y="4340504"/>
                <a:ext cx="92194" cy="102722"/>
              </a:xfrm>
              <a:custGeom>
                <a:avLst/>
                <a:gdLst>
                  <a:gd name="connsiteX0" fmla="*/ 46085 w 92194"/>
                  <a:gd name="connsiteY0" fmla="*/ 102723 h 102722"/>
                  <a:gd name="connsiteX1" fmla="*/ 0 w 92194"/>
                  <a:gd name="connsiteY1" fmla="*/ 51348 h 102722"/>
                  <a:gd name="connsiteX2" fmla="*/ 46085 w 92194"/>
                  <a:gd name="connsiteY2" fmla="*/ 0 h 102722"/>
                  <a:gd name="connsiteX3" fmla="*/ 92195 w 92194"/>
                  <a:gd name="connsiteY3" fmla="*/ 51348 h 102722"/>
                  <a:gd name="connsiteX4" fmla="*/ 46085 w 92194"/>
                  <a:gd name="connsiteY4" fmla="*/ 102723 h 102722"/>
                  <a:gd name="connsiteX5" fmla="*/ 46085 w 92194"/>
                  <a:gd name="connsiteY5" fmla="*/ 13289 h 102722"/>
                  <a:gd name="connsiteX6" fmla="*/ 13289 w 92194"/>
                  <a:gd name="connsiteY6" fmla="*/ 51348 h 102722"/>
                  <a:gd name="connsiteX7" fmla="*/ 46085 w 92194"/>
                  <a:gd name="connsiteY7" fmla="*/ 89408 h 102722"/>
                  <a:gd name="connsiteX8" fmla="*/ 78880 w 92194"/>
                  <a:gd name="connsiteY8" fmla="*/ 51348 h 102722"/>
                  <a:gd name="connsiteX9" fmla="*/ 46085 w 92194"/>
                  <a:gd name="connsiteY9" fmla="*/ 13289 h 10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194" h="102722">
                    <a:moveTo>
                      <a:pt x="46085" y="102723"/>
                    </a:moveTo>
                    <a:cubicBezTo>
                      <a:pt x="20668" y="102723"/>
                      <a:pt x="0" y="79680"/>
                      <a:pt x="0" y="51348"/>
                    </a:cubicBezTo>
                    <a:cubicBezTo>
                      <a:pt x="0" y="23017"/>
                      <a:pt x="20668" y="0"/>
                      <a:pt x="46085" y="0"/>
                    </a:cubicBezTo>
                    <a:cubicBezTo>
                      <a:pt x="71501" y="0"/>
                      <a:pt x="92195" y="23042"/>
                      <a:pt x="92195" y="51348"/>
                    </a:cubicBezTo>
                    <a:cubicBezTo>
                      <a:pt x="92195" y="79680"/>
                      <a:pt x="71501" y="102723"/>
                      <a:pt x="46085" y="102723"/>
                    </a:cubicBezTo>
                    <a:close/>
                    <a:moveTo>
                      <a:pt x="46085" y="13289"/>
                    </a:moveTo>
                    <a:cubicBezTo>
                      <a:pt x="27996" y="13289"/>
                      <a:pt x="13289" y="30370"/>
                      <a:pt x="13289" y="51348"/>
                    </a:cubicBezTo>
                    <a:cubicBezTo>
                      <a:pt x="13289" y="72352"/>
                      <a:pt x="27996" y="89408"/>
                      <a:pt x="46085" y="89408"/>
                    </a:cubicBezTo>
                    <a:cubicBezTo>
                      <a:pt x="64173" y="89408"/>
                      <a:pt x="78880" y="72326"/>
                      <a:pt x="78880" y="51348"/>
                    </a:cubicBezTo>
                    <a:cubicBezTo>
                      <a:pt x="78880" y="30370"/>
                      <a:pt x="64173" y="13289"/>
                      <a:pt x="46085" y="13289"/>
                    </a:cubicBezTo>
                    <a:close/>
                  </a:path>
                </a:pathLst>
              </a:custGeom>
              <a:grpFill/>
              <a:ln w="2573" cap="flat">
                <a:noFill/>
                <a:prstDash val="solid"/>
                <a:miter/>
              </a:ln>
            </p:spPr>
            <p:txBody>
              <a:bodyPr rtlCol="0" anchor="ctr"/>
              <a:lstStyle/>
              <a:p>
                <a:endParaRPr lang="en-GB" dirty="0"/>
              </a:p>
            </p:txBody>
          </p:sp>
          <p:sp>
            <p:nvSpPr>
              <p:cNvPr id="1607" name="Freihandform: Form 1606">
                <a:extLst>
                  <a:ext uri="{FF2B5EF4-FFF2-40B4-BE49-F238E27FC236}">
                    <a16:creationId xmlns:a16="http://schemas.microsoft.com/office/drawing/2014/main" id="{7453F4F9-40A9-4A62-A70F-1602ECCB6093}"/>
                  </a:ext>
                </a:extLst>
              </p:cNvPr>
              <p:cNvSpPr/>
              <p:nvPr/>
            </p:nvSpPr>
            <p:spPr>
              <a:xfrm>
                <a:off x="2067063" y="4340504"/>
                <a:ext cx="92194" cy="102722"/>
              </a:xfrm>
              <a:custGeom>
                <a:avLst/>
                <a:gdLst>
                  <a:gd name="connsiteX0" fmla="*/ 46084 w 92194"/>
                  <a:gd name="connsiteY0" fmla="*/ 102723 h 102722"/>
                  <a:gd name="connsiteX1" fmla="*/ 0 w 92194"/>
                  <a:gd name="connsiteY1" fmla="*/ 51348 h 102722"/>
                  <a:gd name="connsiteX2" fmla="*/ 46084 w 92194"/>
                  <a:gd name="connsiteY2" fmla="*/ 0 h 102722"/>
                  <a:gd name="connsiteX3" fmla="*/ 92195 w 92194"/>
                  <a:gd name="connsiteY3" fmla="*/ 51348 h 102722"/>
                  <a:gd name="connsiteX4" fmla="*/ 46084 w 92194"/>
                  <a:gd name="connsiteY4" fmla="*/ 102723 h 102722"/>
                  <a:gd name="connsiteX5" fmla="*/ 46084 w 92194"/>
                  <a:gd name="connsiteY5" fmla="*/ 13289 h 102722"/>
                  <a:gd name="connsiteX6" fmla="*/ 13289 w 92194"/>
                  <a:gd name="connsiteY6" fmla="*/ 51348 h 102722"/>
                  <a:gd name="connsiteX7" fmla="*/ 46084 w 92194"/>
                  <a:gd name="connsiteY7" fmla="*/ 89408 h 102722"/>
                  <a:gd name="connsiteX8" fmla="*/ 78880 w 92194"/>
                  <a:gd name="connsiteY8" fmla="*/ 51348 h 102722"/>
                  <a:gd name="connsiteX9" fmla="*/ 46084 w 92194"/>
                  <a:gd name="connsiteY9" fmla="*/ 13289 h 10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194" h="102722">
                    <a:moveTo>
                      <a:pt x="46084" y="102723"/>
                    </a:moveTo>
                    <a:cubicBezTo>
                      <a:pt x="20668" y="102723"/>
                      <a:pt x="0" y="79680"/>
                      <a:pt x="0" y="51348"/>
                    </a:cubicBezTo>
                    <a:cubicBezTo>
                      <a:pt x="0" y="23017"/>
                      <a:pt x="20668" y="0"/>
                      <a:pt x="46084" y="0"/>
                    </a:cubicBezTo>
                    <a:cubicBezTo>
                      <a:pt x="71501" y="0"/>
                      <a:pt x="92195" y="23042"/>
                      <a:pt x="92195" y="51348"/>
                    </a:cubicBezTo>
                    <a:cubicBezTo>
                      <a:pt x="92169" y="79680"/>
                      <a:pt x="71501" y="102723"/>
                      <a:pt x="46084" y="102723"/>
                    </a:cubicBezTo>
                    <a:close/>
                    <a:moveTo>
                      <a:pt x="46084" y="13289"/>
                    </a:moveTo>
                    <a:cubicBezTo>
                      <a:pt x="27996" y="13289"/>
                      <a:pt x="13289" y="30370"/>
                      <a:pt x="13289" y="51348"/>
                    </a:cubicBezTo>
                    <a:cubicBezTo>
                      <a:pt x="13289" y="72352"/>
                      <a:pt x="27996" y="89408"/>
                      <a:pt x="46084" y="89408"/>
                    </a:cubicBezTo>
                    <a:cubicBezTo>
                      <a:pt x="64173" y="89408"/>
                      <a:pt x="78880" y="72326"/>
                      <a:pt x="78880" y="51348"/>
                    </a:cubicBezTo>
                    <a:cubicBezTo>
                      <a:pt x="78880" y="30370"/>
                      <a:pt x="64173" y="13289"/>
                      <a:pt x="46084" y="13289"/>
                    </a:cubicBezTo>
                    <a:close/>
                  </a:path>
                </a:pathLst>
              </a:custGeom>
              <a:grpFill/>
              <a:ln w="2573" cap="flat">
                <a:noFill/>
                <a:prstDash val="solid"/>
                <a:miter/>
              </a:ln>
            </p:spPr>
            <p:txBody>
              <a:bodyPr rtlCol="0" anchor="ctr"/>
              <a:lstStyle/>
              <a:p>
                <a:endParaRPr lang="en-GB" dirty="0"/>
              </a:p>
            </p:txBody>
          </p:sp>
        </p:grpSp>
        <p:grpSp>
          <p:nvGrpSpPr>
            <p:cNvPr id="1598" name="Gruppieren 1597">
              <a:extLst>
                <a:ext uri="{FF2B5EF4-FFF2-40B4-BE49-F238E27FC236}">
                  <a16:creationId xmlns:a16="http://schemas.microsoft.com/office/drawing/2014/main" id="{55D4D64D-A443-4A5F-B3C8-ED3F65F73A32}"/>
                </a:ext>
              </a:extLst>
            </p:cNvPr>
            <p:cNvGrpSpPr/>
            <p:nvPr/>
          </p:nvGrpSpPr>
          <p:grpSpPr>
            <a:xfrm>
              <a:off x="1686878" y="4097454"/>
              <a:ext cx="336136" cy="202986"/>
              <a:chOff x="1776570" y="4187517"/>
              <a:chExt cx="325894" cy="196801"/>
            </a:xfrm>
          </p:grpSpPr>
          <p:sp>
            <p:nvSpPr>
              <p:cNvPr id="1599" name="Freihandform: Form 1598">
                <a:extLst>
                  <a:ext uri="{FF2B5EF4-FFF2-40B4-BE49-F238E27FC236}">
                    <a16:creationId xmlns:a16="http://schemas.microsoft.com/office/drawing/2014/main" id="{511927E7-1AE1-4196-B8EC-3E3257AF6C21}"/>
                  </a:ext>
                </a:extLst>
              </p:cNvPr>
              <p:cNvSpPr/>
              <p:nvPr/>
            </p:nvSpPr>
            <p:spPr>
              <a:xfrm>
                <a:off x="1776570" y="4234092"/>
                <a:ext cx="212850" cy="150226"/>
              </a:xfrm>
              <a:custGeom>
                <a:avLst/>
                <a:gdLst>
                  <a:gd name="connsiteX0" fmla="*/ 46575 w 212850"/>
                  <a:gd name="connsiteY0" fmla="*/ 150226 h 150226"/>
                  <a:gd name="connsiteX1" fmla="*/ 41466 w 212850"/>
                  <a:gd name="connsiteY1" fmla="*/ 149194 h 150226"/>
                  <a:gd name="connsiteX2" fmla="*/ 33260 w 212850"/>
                  <a:gd name="connsiteY2" fmla="*/ 136912 h 150226"/>
                  <a:gd name="connsiteX3" fmla="*/ 33260 w 212850"/>
                  <a:gd name="connsiteY3" fmla="*/ 106412 h 150226"/>
                  <a:gd name="connsiteX4" fmla="*/ 19946 w 212850"/>
                  <a:gd name="connsiteY4" fmla="*/ 106412 h 150226"/>
                  <a:gd name="connsiteX5" fmla="*/ 0 w 212850"/>
                  <a:gd name="connsiteY5" fmla="*/ 86467 h 150226"/>
                  <a:gd name="connsiteX6" fmla="*/ 0 w 212850"/>
                  <a:gd name="connsiteY6" fmla="*/ 19946 h 150226"/>
                  <a:gd name="connsiteX7" fmla="*/ 19946 w 212850"/>
                  <a:gd name="connsiteY7" fmla="*/ 0 h 150226"/>
                  <a:gd name="connsiteX8" fmla="*/ 119701 w 212850"/>
                  <a:gd name="connsiteY8" fmla="*/ 0 h 150226"/>
                  <a:gd name="connsiteX9" fmla="*/ 126358 w 212850"/>
                  <a:gd name="connsiteY9" fmla="*/ 6657 h 150226"/>
                  <a:gd name="connsiteX10" fmla="*/ 119701 w 212850"/>
                  <a:gd name="connsiteY10" fmla="*/ 13315 h 150226"/>
                  <a:gd name="connsiteX11" fmla="*/ 19946 w 212850"/>
                  <a:gd name="connsiteY11" fmla="*/ 13315 h 150226"/>
                  <a:gd name="connsiteX12" fmla="*/ 13289 w 212850"/>
                  <a:gd name="connsiteY12" fmla="*/ 19972 h 150226"/>
                  <a:gd name="connsiteX13" fmla="*/ 13289 w 212850"/>
                  <a:gd name="connsiteY13" fmla="*/ 86492 h 150226"/>
                  <a:gd name="connsiteX14" fmla="*/ 19946 w 212850"/>
                  <a:gd name="connsiteY14" fmla="*/ 93149 h 150226"/>
                  <a:gd name="connsiteX15" fmla="*/ 39892 w 212850"/>
                  <a:gd name="connsiteY15" fmla="*/ 93149 h 150226"/>
                  <a:gd name="connsiteX16" fmla="*/ 46549 w 212850"/>
                  <a:gd name="connsiteY16" fmla="*/ 99807 h 150226"/>
                  <a:gd name="connsiteX17" fmla="*/ 46549 w 212850"/>
                  <a:gd name="connsiteY17" fmla="*/ 136964 h 150226"/>
                  <a:gd name="connsiteX18" fmla="*/ 88402 w 212850"/>
                  <a:gd name="connsiteY18" fmla="*/ 95111 h 150226"/>
                  <a:gd name="connsiteX19" fmla="*/ 93098 w 212850"/>
                  <a:gd name="connsiteY19" fmla="*/ 93149 h 150226"/>
                  <a:gd name="connsiteX20" fmla="*/ 192879 w 212850"/>
                  <a:gd name="connsiteY20" fmla="*/ 93149 h 150226"/>
                  <a:gd name="connsiteX21" fmla="*/ 199536 w 212850"/>
                  <a:gd name="connsiteY21" fmla="*/ 86492 h 150226"/>
                  <a:gd name="connsiteX22" fmla="*/ 199536 w 212850"/>
                  <a:gd name="connsiteY22" fmla="*/ 53232 h 150226"/>
                  <a:gd name="connsiteX23" fmla="*/ 206193 w 212850"/>
                  <a:gd name="connsiteY23" fmla="*/ 46575 h 150226"/>
                  <a:gd name="connsiteX24" fmla="*/ 212850 w 212850"/>
                  <a:gd name="connsiteY24" fmla="*/ 53232 h 150226"/>
                  <a:gd name="connsiteX25" fmla="*/ 212850 w 212850"/>
                  <a:gd name="connsiteY25" fmla="*/ 86492 h 150226"/>
                  <a:gd name="connsiteX26" fmla="*/ 192905 w 212850"/>
                  <a:gd name="connsiteY26" fmla="*/ 106438 h 150226"/>
                  <a:gd name="connsiteX27" fmla="*/ 95885 w 212850"/>
                  <a:gd name="connsiteY27" fmla="*/ 106438 h 150226"/>
                  <a:gd name="connsiteX28" fmla="*/ 55967 w 212850"/>
                  <a:gd name="connsiteY28" fmla="*/ 146356 h 150226"/>
                  <a:gd name="connsiteX29" fmla="*/ 46575 w 212850"/>
                  <a:gd name="connsiteY29" fmla="*/ 150226 h 15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12850" h="150226">
                    <a:moveTo>
                      <a:pt x="46575" y="150226"/>
                    </a:moveTo>
                    <a:cubicBezTo>
                      <a:pt x="44872" y="150226"/>
                      <a:pt x="43117" y="149891"/>
                      <a:pt x="41466" y="149194"/>
                    </a:cubicBezTo>
                    <a:cubicBezTo>
                      <a:pt x="36486" y="147130"/>
                      <a:pt x="33260" y="142305"/>
                      <a:pt x="33260" y="136912"/>
                    </a:cubicBezTo>
                    <a:lnTo>
                      <a:pt x="33260" y="106412"/>
                    </a:lnTo>
                    <a:lnTo>
                      <a:pt x="19946" y="106412"/>
                    </a:lnTo>
                    <a:cubicBezTo>
                      <a:pt x="8954" y="106412"/>
                      <a:pt x="0" y="97459"/>
                      <a:pt x="0" y="86467"/>
                    </a:cubicBezTo>
                    <a:lnTo>
                      <a:pt x="0" y="19946"/>
                    </a:lnTo>
                    <a:cubicBezTo>
                      <a:pt x="0" y="8954"/>
                      <a:pt x="8954" y="0"/>
                      <a:pt x="19946" y="0"/>
                    </a:cubicBezTo>
                    <a:lnTo>
                      <a:pt x="119701" y="0"/>
                    </a:lnTo>
                    <a:cubicBezTo>
                      <a:pt x="123365" y="0"/>
                      <a:pt x="126358" y="2967"/>
                      <a:pt x="126358" y="6657"/>
                    </a:cubicBezTo>
                    <a:cubicBezTo>
                      <a:pt x="126358" y="10321"/>
                      <a:pt x="123391" y="13315"/>
                      <a:pt x="119701" y="13315"/>
                    </a:cubicBezTo>
                    <a:lnTo>
                      <a:pt x="19946" y="13315"/>
                    </a:lnTo>
                    <a:cubicBezTo>
                      <a:pt x="16282" y="13315"/>
                      <a:pt x="13289" y="16308"/>
                      <a:pt x="13289" y="19972"/>
                    </a:cubicBezTo>
                    <a:lnTo>
                      <a:pt x="13289" y="86492"/>
                    </a:lnTo>
                    <a:cubicBezTo>
                      <a:pt x="13289" y="90156"/>
                      <a:pt x="16282" y="93149"/>
                      <a:pt x="19946" y="93149"/>
                    </a:cubicBezTo>
                    <a:lnTo>
                      <a:pt x="39892" y="93149"/>
                    </a:lnTo>
                    <a:cubicBezTo>
                      <a:pt x="43556" y="93149"/>
                      <a:pt x="46549" y="96117"/>
                      <a:pt x="46549" y="99807"/>
                    </a:cubicBezTo>
                    <a:lnTo>
                      <a:pt x="46549" y="136964"/>
                    </a:lnTo>
                    <a:lnTo>
                      <a:pt x="88402" y="95111"/>
                    </a:lnTo>
                    <a:cubicBezTo>
                      <a:pt x="89640" y="93872"/>
                      <a:pt x="91343" y="93149"/>
                      <a:pt x="93098" y="93149"/>
                    </a:cubicBezTo>
                    <a:lnTo>
                      <a:pt x="192879" y="93149"/>
                    </a:lnTo>
                    <a:cubicBezTo>
                      <a:pt x="196543" y="93149"/>
                      <a:pt x="199536" y="90156"/>
                      <a:pt x="199536" y="86492"/>
                    </a:cubicBezTo>
                    <a:lnTo>
                      <a:pt x="199536" y="53232"/>
                    </a:lnTo>
                    <a:cubicBezTo>
                      <a:pt x="199536" y="49568"/>
                      <a:pt x="202503" y="46575"/>
                      <a:pt x="206193" y="46575"/>
                    </a:cubicBezTo>
                    <a:cubicBezTo>
                      <a:pt x="209857" y="46575"/>
                      <a:pt x="212850" y="49542"/>
                      <a:pt x="212850" y="53232"/>
                    </a:cubicBezTo>
                    <a:lnTo>
                      <a:pt x="212850" y="86492"/>
                    </a:lnTo>
                    <a:cubicBezTo>
                      <a:pt x="212850" y="97485"/>
                      <a:pt x="203897" y="106438"/>
                      <a:pt x="192905" y="106438"/>
                    </a:cubicBezTo>
                    <a:lnTo>
                      <a:pt x="95885" y="106438"/>
                    </a:lnTo>
                    <a:lnTo>
                      <a:pt x="55967" y="146356"/>
                    </a:lnTo>
                    <a:cubicBezTo>
                      <a:pt x="53413" y="148859"/>
                      <a:pt x="50032" y="150226"/>
                      <a:pt x="46575" y="150226"/>
                    </a:cubicBezTo>
                    <a:close/>
                  </a:path>
                </a:pathLst>
              </a:custGeom>
              <a:solidFill>
                <a:schemeClr val="accent1"/>
              </a:solidFill>
              <a:ln w="2573" cap="flat">
                <a:noFill/>
                <a:prstDash val="solid"/>
                <a:miter/>
              </a:ln>
            </p:spPr>
            <p:txBody>
              <a:bodyPr rtlCol="0" anchor="ctr"/>
              <a:lstStyle/>
              <a:p>
                <a:endParaRPr lang="en-GB" dirty="0"/>
              </a:p>
            </p:txBody>
          </p:sp>
          <p:sp>
            <p:nvSpPr>
              <p:cNvPr id="1600" name="Freihandform: Form 1599">
                <a:extLst>
                  <a:ext uri="{FF2B5EF4-FFF2-40B4-BE49-F238E27FC236}">
                    <a16:creationId xmlns:a16="http://schemas.microsoft.com/office/drawing/2014/main" id="{497EC0A6-2BCA-4A4B-A1F7-4A4AC992A63A}"/>
                  </a:ext>
                </a:extLst>
              </p:cNvPr>
              <p:cNvSpPr/>
              <p:nvPr/>
            </p:nvSpPr>
            <p:spPr>
              <a:xfrm>
                <a:off x="1889640" y="4187517"/>
                <a:ext cx="212824" cy="150226"/>
              </a:xfrm>
              <a:custGeom>
                <a:avLst/>
                <a:gdLst>
                  <a:gd name="connsiteX0" fmla="*/ 166276 w 212824"/>
                  <a:gd name="connsiteY0" fmla="*/ 150226 h 150226"/>
                  <a:gd name="connsiteX1" fmla="*/ 156883 w 212824"/>
                  <a:gd name="connsiteY1" fmla="*/ 146330 h 150226"/>
                  <a:gd name="connsiteX2" fmla="*/ 116966 w 212824"/>
                  <a:gd name="connsiteY2" fmla="*/ 106412 h 150226"/>
                  <a:gd name="connsiteX3" fmla="*/ 19946 w 212824"/>
                  <a:gd name="connsiteY3" fmla="*/ 106412 h 150226"/>
                  <a:gd name="connsiteX4" fmla="*/ 0 w 212824"/>
                  <a:gd name="connsiteY4" fmla="*/ 86467 h 150226"/>
                  <a:gd name="connsiteX5" fmla="*/ 0 w 212824"/>
                  <a:gd name="connsiteY5" fmla="*/ 19946 h 150226"/>
                  <a:gd name="connsiteX6" fmla="*/ 19946 w 212824"/>
                  <a:gd name="connsiteY6" fmla="*/ 0 h 150226"/>
                  <a:gd name="connsiteX7" fmla="*/ 192879 w 212824"/>
                  <a:gd name="connsiteY7" fmla="*/ 0 h 150226"/>
                  <a:gd name="connsiteX8" fmla="*/ 212825 w 212824"/>
                  <a:gd name="connsiteY8" fmla="*/ 19946 h 150226"/>
                  <a:gd name="connsiteX9" fmla="*/ 212825 w 212824"/>
                  <a:gd name="connsiteY9" fmla="*/ 86467 h 150226"/>
                  <a:gd name="connsiteX10" fmla="*/ 192879 w 212824"/>
                  <a:gd name="connsiteY10" fmla="*/ 106412 h 150226"/>
                  <a:gd name="connsiteX11" fmla="*/ 179564 w 212824"/>
                  <a:gd name="connsiteY11" fmla="*/ 106412 h 150226"/>
                  <a:gd name="connsiteX12" fmla="*/ 179564 w 212824"/>
                  <a:gd name="connsiteY12" fmla="*/ 136912 h 150226"/>
                  <a:gd name="connsiteX13" fmla="*/ 171359 w 212824"/>
                  <a:gd name="connsiteY13" fmla="*/ 149194 h 150226"/>
                  <a:gd name="connsiteX14" fmla="*/ 166276 w 212824"/>
                  <a:gd name="connsiteY14" fmla="*/ 150226 h 150226"/>
                  <a:gd name="connsiteX15" fmla="*/ 19972 w 212824"/>
                  <a:gd name="connsiteY15" fmla="*/ 13315 h 150226"/>
                  <a:gd name="connsiteX16" fmla="*/ 13314 w 212824"/>
                  <a:gd name="connsiteY16" fmla="*/ 19972 h 150226"/>
                  <a:gd name="connsiteX17" fmla="*/ 13314 w 212824"/>
                  <a:gd name="connsiteY17" fmla="*/ 86492 h 150226"/>
                  <a:gd name="connsiteX18" fmla="*/ 19972 w 212824"/>
                  <a:gd name="connsiteY18" fmla="*/ 93150 h 150226"/>
                  <a:gd name="connsiteX19" fmla="*/ 119753 w 212824"/>
                  <a:gd name="connsiteY19" fmla="*/ 93150 h 150226"/>
                  <a:gd name="connsiteX20" fmla="*/ 124449 w 212824"/>
                  <a:gd name="connsiteY20" fmla="*/ 95111 h 150226"/>
                  <a:gd name="connsiteX21" fmla="*/ 166302 w 212824"/>
                  <a:gd name="connsiteY21" fmla="*/ 136963 h 150226"/>
                  <a:gd name="connsiteX22" fmla="*/ 166302 w 212824"/>
                  <a:gd name="connsiteY22" fmla="*/ 99807 h 150226"/>
                  <a:gd name="connsiteX23" fmla="*/ 172959 w 212824"/>
                  <a:gd name="connsiteY23" fmla="*/ 93150 h 150226"/>
                  <a:gd name="connsiteX24" fmla="*/ 192905 w 212824"/>
                  <a:gd name="connsiteY24" fmla="*/ 93150 h 150226"/>
                  <a:gd name="connsiteX25" fmla="*/ 199562 w 212824"/>
                  <a:gd name="connsiteY25" fmla="*/ 86492 h 150226"/>
                  <a:gd name="connsiteX26" fmla="*/ 199562 w 212824"/>
                  <a:gd name="connsiteY26" fmla="*/ 19972 h 150226"/>
                  <a:gd name="connsiteX27" fmla="*/ 192905 w 212824"/>
                  <a:gd name="connsiteY27" fmla="*/ 13315 h 150226"/>
                  <a:gd name="connsiteX28" fmla="*/ 19972 w 212824"/>
                  <a:gd name="connsiteY28" fmla="*/ 13315 h 150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2824" h="150226">
                    <a:moveTo>
                      <a:pt x="166276" y="150226"/>
                    </a:moveTo>
                    <a:cubicBezTo>
                      <a:pt x="162818" y="150226"/>
                      <a:pt x="159438" y="148884"/>
                      <a:pt x="156883" y="146330"/>
                    </a:cubicBezTo>
                    <a:lnTo>
                      <a:pt x="116966" y="106412"/>
                    </a:lnTo>
                    <a:lnTo>
                      <a:pt x="19946" y="106412"/>
                    </a:lnTo>
                    <a:cubicBezTo>
                      <a:pt x="8954" y="106412"/>
                      <a:pt x="0" y="97459"/>
                      <a:pt x="0" y="86467"/>
                    </a:cubicBezTo>
                    <a:lnTo>
                      <a:pt x="0" y="19946"/>
                    </a:lnTo>
                    <a:cubicBezTo>
                      <a:pt x="0" y="8954"/>
                      <a:pt x="8954" y="0"/>
                      <a:pt x="19946" y="0"/>
                    </a:cubicBezTo>
                    <a:lnTo>
                      <a:pt x="192879" y="0"/>
                    </a:lnTo>
                    <a:cubicBezTo>
                      <a:pt x="203871" y="0"/>
                      <a:pt x="212825" y="8954"/>
                      <a:pt x="212825" y="19946"/>
                    </a:cubicBezTo>
                    <a:lnTo>
                      <a:pt x="212825" y="86467"/>
                    </a:lnTo>
                    <a:cubicBezTo>
                      <a:pt x="212825" y="97459"/>
                      <a:pt x="203871" y="106412"/>
                      <a:pt x="192879" y="106412"/>
                    </a:cubicBezTo>
                    <a:lnTo>
                      <a:pt x="179564" y="106412"/>
                    </a:lnTo>
                    <a:lnTo>
                      <a:pt x="179564" y="136912"/>
                    </a:lnTo>
                    <a:cubicBezTo>
                      <a:pt x="179564" y="142304"/>
                      <a:pt x="176339" y="147130"/>
                      <a:pt x="171359" y="149194"/>
                    </a:cubicBezTo>
                    <a:cubicBezTo>
                      <a:pt x="169733" y="149917"/>
                      <a:pt x="167979" y="150226"/>
                      <a:pt x="166276" y="150226"/>
                    </a:cubicBezTo>
                    <a:close/>
                    <a:moveTo>
                      <a:pt x="19972" y="13315"/>
                    </a:moveTo>
                    <a:cubicBezTo>
                      <a:pt x="16308" y="13315"/>
                      <a:pt x="13314" y="16308"/>
                      <a:pt x="13314" y="19972"/>
                    </a:cubicBezTo>
                    <a:lnTo>
                      <a:pt x="13314" y="86492"/>
                    </a:lnTo>
                    <a:cubicBezTo>
                      <a:pt x="13314" y="90156"/>
                      <a:pt x="16308" y="93150"/>
                      <a:pt x="19972" y="93150"/>
                    </a:cubicBezTo>
                    <a:lnTo>
                      <a:pt x="119753" y="93150"/>
                    </a:lnTo>
                    <a:cubicBezTo>
                      <a:pt x="121507" y="93150"/>
                      <a:pt x="123210" y="93846"/>
                      <a:pt x="124449" y="95111"/>
                    </a:cubicBezTo>
                    <a:lnTo>
                      <a:pt x="166302" y="136963"/>
                    </a:lnTo>
                    <a:lnTo>
                      <a:pt x="166302" y="99807"/>
                    </a:lnTo>
                    <a:cubicBezTo>
                      <a:pt x="166302" y="96143"/>
                      <a:pt x="169269" y="93150"/>
                      <a:pt x="172959" y="93150"/>
                    </a:cubicBezTo>
                    <a:lnTo>
                      <a:pt x="192905" y="93150"/>
                    </a:lnTo>
                    <a:cubicBezTo>
                      <a:pt x="196569" y="93150"/>
                      <a:pt x="199562" y="90156"/>
                      <a:pt x="199562" y="86492"/>
                    </a:cubicBezTo>
                    <a:lnTo>
                      <a:pt x="199562" y="19972"/>
                    </a:lnTo>
                    <a:cubicBezTo>
                      <a:pt x="199562" y="16308"/>
                      <a:pt x="196569" y="13315"/>
                      <a:pt x="192905" y="13315"/>
                    </a:cubicBezTo>
                    <a:lnTo>
                      <a:pt x="19972" y="13315"/>
                    </a:lnTo>
                    <a:close/>
                  </a:path>
                </a:pathLst>
              </a:custGeom>
              <a:solidFill>
                <a:schemeClr val="accent1"/>
              </a:solidFill>
              <a:ln w="2573" cap="flat">
                <a:noFill/>
                <a:prstDash val="solid"/>
                <a:miter/>
              </a:ln>
            </p:spPr>
            <p:txBody>
              <a:bodyPr rtlCol="0" anchor="ctr"/>
              <a:lstStyle/>
              <a:p>
                <a:endParaRPr lang="en-GB" dirty="0"/>
              </a:p>
            </p:txBody>
          </p:sp>
        </p:grpSp>
      </p:grpSp>
      <p:sp>
        <p:nvSpPr>
          <p:cNvPr id="1608" name="TextBox 1424">
            <a:extLst>
              <a:ext uri="{FF2B5EF4-FFF2-40B4-BE49-F238E27FC236}">
                <a16:creationId xmlns:a16="http://schemas.microsoft.com/office/drawing/2014/main" id="{AC744246-FE35-46AA-AABE-5A8EAC374299}"/>
              </a:ext>
            </a:extLst>
          </p:cNvPr>
          <p:cNvSpPr txBox="1"/>
          <p:nvPr/>
        </p:nvSpPr>
        <p:spPr>
          <a:xfrm>
            <a:off x="1640712" y="4547732"/>
            <a:ext cx="397545" cy="107722"/>
          </a:xfrm>
          <a:prstGeom prst="rect">
            <a:avLst/>
          </a:prstGeom>
          <a:noFill/>
          <a:effectLst/>
        </p:spPr>
        <p:txBody>
          <a:bodyPr wrap="none" lIns="0" tIns="0" rIns="0" bIns="0" rtlCol="0" anchor="t" anchorCtr="0">
            <a:spAutoFit/>
          </a:bodyPr>
          <a:lstStyle/>
          <a:p>
            <a:pPr algn="ctr"/>
            <a:r>
              <a:rPr lang="en-GB" sz="700" dirty="0">
                <a:solidFill>
                  <a:schemeClr val="tx2"/>
                </a:solidFill>
              </a:rPr>
              <a:t>Discourse</a:t>
            </a:r>
          </a:p>
        </p:txBody>
      </p:sp>
      <p:grpSp>
        <p:nvGrpSpPr>
          <p:cNvPr id="52" name="Group 51">
            <a:extLst>
              <a:ext uri="{FF2B5EF4-FFF2-40B4-BE49-F238E27FC236}">
                <a16:creationId xmlns:a16="http://schemas.microsoft.com/office/drawing/2014/main" id="{E9D4D404-F905-4A4B-5487-3B98EB392E86}"/>
              </a:ext>
            </a:extLst>
          </p:cNvPr>
          <p:cNvGrpSpPr/>
          <p:nvPr/>
        </p:nvGrpSpPr>
        <p:grpSpPr>
          <a:xfrm>
            <a:off x="3701248" y="4097454"/>
            <a:ext cx="458206" cy="432000"/>
            <a:chOff x="3701248" y="4097454"/>
            <a:chExt cx="458206" cy="432000"/>
          </a:xfrm>
        </p:grpSpPr>
        <p:grpSp>
          <p:nvGrpSpPr>
            <p:cNvPr id="1610" name="Gruppieren 1609">
              <a:extLst>
                <a:ext uri="{FF2B5EF4-FFF2-40B4-BE49-F238E27FC236}">
                  <a16:creationId xmlns:a16="http://schemas.microsoft.com/office/drawing/2014/main" id="{1819CA99-7E6A-49DC-AB68-35F926B59B1D}"/>
                </a:ext>
              </a:extLst>
            </p:cNvPr>
            <p:cNvGrpSpPr/>
            <p:nvPr/>
          </p:nvGrpSpPr>
          <p:grpSpPr>
            <a:xfrm>
              <a:off x="3701248" y="4222867"/>
              <a:ext cx="405814" cy="208395"/>
              <a:chOff x="3386173" y="4295013"/>
              <a:chExt cx="412379" cy="211766"/>
            </a:xfrm>
          </p:grpSpPr>
          <p:sp>
            <p:nvSpPr>
              <p:cNvPr id="1618" name="Freihandform: Form 1617">
                <a:extLst>
                  <a:ext uri="{FF2B5EF4-FFF2-40B4-BE49-F238E27FC236}">
                    <a16:creationId xmlns:a16="http://schemas.microsoft.com/office/drawing/2014/main" id="{EA974251-E8F1-42E0-AB05-B87077CE07C5}"/>
                  </a:ext>
                </a:extLst>
              </p:cNvPr>
              <p:cNvSpPr/>
              <p:nvPr/>
            </p:nvSpPr>
            <p:spPr>
              <a:xfrm>
                <a:off x="3639486" y="4295013"/>
                <a:ext cx="159066" cy="138615"/>
              </a:xfrm>
              <a:custGeom>
                <a:avLst/>
                <a:gdLst>
                  <a:gd name="connsiteX0" fmla="*/ 80426 w 159066"/>
                  <a:gd name="connsiteY0" fmla="*/ 138615 h 138615"/>
                  <a:gd name="connsiteX1" fmla="*/ 73097 w 159066"/>
                  <a:gd name="connsiteY1" fmla="*/ 134100 h 138615"/>
                  <a:gd name="connsiteX2" fmla="*/ 38444 w 159066"/>
                  <a:gd name="connsiteY2" fmla="*/ 103807 h 138615"/>
                  <a:gd name="connsiteX3" fmla="*/ 30496 w 159066"/>
                  <a:gd name="connsiteY3" fmla="*/ 99240 h 138615"/>
                  <a:gd name="connsiteX4" fmla="*/ 5493 w 159066"/>
                  <a:gd name="connsiteY4" fmla="*/ 70804 h 138615"/>
                  <a:gd name="connsiteX5" fmla="*/ 4977 w 159066"/>
                  <a:gd name="connsiteY5" fmla="*/ 69798 h 138615"/>
                  <a:gd name="connsiteX6" fmla="*/ 461 w 159066"/>
                  <a:gd name="connsiteY6" fmla="*/ 39944 h 138615"/>
                  <a:gd name="connsiteX7" fmla="*/ 487 w 159066"/>
                  <a:gd name="connsiteY7" fmla="*/ 39737 h 138615"/>
                  <a:gd name="connsiteX8" fmla="*/ 28948 w 159066"/>
                  <a:gd name="connsiteY8" fmla="*/ 4542 h 138615"/>
                  <a:gd name="connsiteX9" fmla="*/ 66492 w 159066"/>
                  <a:gd name="connsiteY9" fmla="*/ 4310 h 138615"/>
                  <a:gd name="connsiteX10" fmla="*/ 79471 w 159066"/>
                  <a:gd name="connsiteY10" fmla="*/ 14811 h 138615"/>
                  <a:gd name="connsiteX11" fmla="*/ 91934 w 159066"/>
                  <a:gd name="connsiteY11" fmla="*/ 4155 h 138615"/>
                  <a:gd name="connsiteX12" fmla="*/ 129374 w 159066"/>
                  <a:gd name="connsiteY12" fmla="*/ 3690 h 138615"/>
                  <a:gd name="connsiteX13" fmla="*/ 158455 w 159066"/>
                  <a:gd name="connsiteY13" fmla="*/ 38396 h 138615"/>
                  <a:gd name="connsiteX14" fmla="*/ 154481 w 159066"/>
                  <a:gd name="connsiteY14" fmla="*/ 68534 h 138615"/>
                  <a:gd name="connsiteX15" fmla="*/ 154016 w 159066"/>
                  <a:gd name="connsiteY15" fmla="*/ 69489 h 138615"/>
                  <a:gd name="connsiteX16" fmla="*/ 129245 w 159066"/>
                  <a:gd name="connsiteY16" fmla="*/ 98569 h 138615"/>
                  <a:gd name="connsiteX17" fmla="*/ 121685 w 159066"/>
                  <a:gd name="connsiteY17" fmla="*/ 103084 h 138615"/>
                  <a:gd name="connsiteX18" fmla="*/ 87754 w 159066"/>
                  <a:gd name="connsiteY18" fmla="*/ 133816 h 138615"/>
                  <a:gd name="connsiteX19" fmla="*/ 81122 w 159066"/>
                  <a:gd name="connsiteY19" fmla="*/ 138590 h 138615"/>
                  <a:gd name="connsiteX20" fmla="*/ 80426 w 159066"/>
                  <a:gd name="connsiteY20" fmla="*/ 138615 h 138615"/>
                  <a:gd name="connsiteX21" fmla="*/ 75316 w 159066"/>
                  <a:gd name="connsiteY21" fmla="*/ 129145 h 138615"/>
                  <a:gd name="connsiteX22" fmla="*/ 75316 w 159066"/>
                  <a:gd name="connsiteY22" fmla="*/ 129145 h 138615"/>
                  <a:gd name="connsiteX23" fmla="*/ 75316 w 159066"/>
                  <a:gd name="connsiteY23" fmla="*/ 129145 h 138615"/>
                  <a:gd name="connsiteX24" fmla="*/ 84786 w 159066"/>
                  <a:gd name="connsiteY24" fmla="*/ 127778 h 138615"/>
                  <a:gd name="connsiteX25" fmla="*/ 84890 w 159066"/>
                  <a:gd name="connsiteY25" fmla="*/ 127984 h 138615"/>
                  <a:gd name="connsiteX26" fmla="*/ 84786 w 159066"/>
                  <a:gd name="connsiteY26" fmla="*/ 127778 h 138615"/>
                  <a:gd name="connsiteX27" fmla="*/ 13647 w 159066"/>
                  <a:gd name="connsiteY27" fmla="*/ 41673 h 138615"/>
                  <a:gd name="connsiteX28" fmla="*/ 17105 w 159066"/>
                  <a:gd name="connsiteY28" fmla="*/ 64328 h 138615"/>
                  <a:gd name="connsiteX29" fmla="*/ 37850 w 159066"/>
                  <a:gd name="connsiteY29" fmla="*/ 88144 h 138615"/>
                  <a:gd name="connsiteX30" fmla="*/ 44688 w 159066"/>
                  <a:gd name="connsiteY30" fmla="*/ 92040 h 138615"/>
                  <a:gd name="connsiteX31" fmla="*/ 80297 w 159066"/>
                  <a:gd name="connsiteY31" fmla="*/ 120476 h 138615"/>
                  <a:gd name="connsiteX32" fmla="*/ 115260 w 159066"/>
                  <a:gd name="connsiteY32" fmla="*/ 91447 h 138615"/>
                  <a:gd name="connsiteX33" fmla="*/ 121736 w 159066"/>
                  <a:gd name="connsiteY33" fmla="*/ 87602 h 138615"/>
                  <a:gd name="connsiteX34" fmla="*/ 142224 w 159066"/>
                  <a:gd name="connsiteY34" fmla="*/ 63373 h 138615"/>
                  <a:gd name="connsiteX35" fmla="*/ 145346 w 159066"/>
                  <a:gd name="connsiteY35" fmla="*/ 40460 h 138615"/>
                  <a:gd name="connsiteX36" fmla="*/ 125013 w 159066"/>
                  <a:gd name="connsiteY36" fmla="*/ 16257 h 138615"/>
                  <a:gd name="connsiteX37" fmla="*/ 98204 w 159066"/>
                  <a:gd name="connsiteY37" fmla="*/ 15895 h 138615"/>
                  <a:gd name="connsiteX38" fmla="*/ 86102 w 159066"/>
                  <a:gd name="connsiteY38" fmla="*/ 30293 h 138615"/>
                  <a:gd name="connsiteX39" fmla="*/ 79806 w 159066"/>
                  <a:gd name="connsiteY39" fmla="*/ 35041 h 138615"/>
                  <a:gd name="connsiteX40" fmla="*/ 79729 w 159066"/>
                  <a:gd name="connsiteY40" fmla="*/ 35041 h 138615"/>
                  <a:gd name="connsiteX41" fmla="*/ 73407 w 159066"/>
                  <a:gd name="connsiteY41" fmla="*/ 30474 h 138615"/>
                  <a:gd name="connsiteX42" fmla="*/ 60583 w 159066"/>
                  <a:gd name="connsiteY42" fmla="*/ 16205 h 138615"/>
                  <a:gd name="connsiteX43" fmla="*/ 33593 w 159066"/>
                  <a:gd name="connsiteY43" fmla="*/ 17005 h 138615"/>
                  <a:gd name="connsiteX44" fmla="*/ 13647 w 159066"/>
                  <a:gd name="connsiteY44" fmla="*/ 41673 h 138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59066" h="138615">
                    <a:moveTo>
                      <a:pt x="80426" y="138615"/>
                    </a:moveTo>
                    <a:cubicBezTo>
                      <a:pt x="77329" y="138615"/>
                      <a:pt x="74517" y="136886"/>
                      <a:pt x="73097" y="134100"/>
                    </a:cubicBezTo>
                    <a:cubicBezTo>
                      <a:pt x="64324" y="117560"/>
                      <a:pt x="48739" y="109277"/>
                      <a:pt x="38444" y="103807"/>
                    </a:cubicBezTo>
                    <a:cubicBezTo>
                      <a:pt x="35296" y="102130"/>
                      <a:pt x="32561" y="100684"/>
                      <a:pt x="30496" y="99240"/>
                    </a:cubicBezTo>
                    <a:cubicBezTo>
                      <a:pt x="15866" y="90028"/>
                      <a:pt x="8847" y="77049"/>
                      <a:pt x="5493" y="70804"/>
                    </a:cubicBezTo>
                    <a:cubicBezTo>
                      <a:pt x="5416" y="70675"/>
                      <a:pt x="5029" y="69953"/>
                      <a:pt x="4977" y="69798"/>
                    </a:cubicBezTo>
                    <a:cubicBezTo>
                      <a:pt x="642" y="60148"/>
                      <a:pt x="-854" y="50394"/>
                      <a:pt x="461" y="39944"/>
                    </a:cubicBezTo>
                    <a:cubicBezTo>
                      <a:pt x="461" y="39866"/>
                      <a:pt x="487" y="39815"/>
                      <a:pt x="487" y="39737"/>
                    </a:cubicBezTo>
                    <a:cubicBezTo>
                      <a:pt x="3842" y="18295"/>
                      <a:pt x="22188" y="7070"/>
                      <a:pt x="28948" y="4542"/>
                    </a:cubicBezTo>
                    <a:cubicBezTo>
                      <a:pt x="43295" y="-748"/>
                      <a:pt x="55913" y="-825"/>
                      <a:pt x="66492" y="4310"/>
                    </a:cubicBezTo>
                    <a:cubicBezTo>
                      <a:pt x="72246" y="7096"/>
                      <a:pt x="76452" y="11044"/>
                      <a:pt x="79471" y="14811"/>
                    </a:cubicBezTo>
                    <a:cubicBezTo>
                      <a:pt x="82335" y="11018"/>
                      <a:pt x="86386" y="7019"/>
                      <a:pt x="91934" y="4155"/>
                    </a:cubicBezTo>
                    <a:cubicBezTo>
                      <a:pt x="102307" y="-1212"/>
                      <a:pt x="114899" y="-1393"/>
                      <a:pt x="129374" y="3690"/>
                    </a:cubicBezTo>
                    <a:cubicBezTo>
                      <a:pt x="136212" y="6090"/>
                      <a:pt x="154739" y="16979"/>
                      <a:pt x="158455" y="38396"/>
                    </a:cubicBezTo>
                    <a:cubicBezTo>
                      <a:pt x="159977" y="49052"/>
                      <a:pt x="158661" y="58858"/>
                      <a:pt x="154481" y="68534"/>
                    </a:cubicBezTo>
                    <a:cubicBezTo>
                      <a:pt x="154429" y="68688"/>
                      <a:pt x="154068" y="69359"/>
                      <a:pt x="154016" y="69489"/>
                    </a:cubicBezTo>
                    <a:cubicBezTo>
                      <a:pt x="151023" y="75294"/>
                      <a:pt x="144004" y="88893"/>
                      <a:pt x="129245" y="98569"/>
                    </a:cubicBezTo>
                    <a:cubicBezTo>
                      <a:pt x="127465" y="99859"/>
                      <a:pt x="124807" y="101355"/>
                      <a:pt x="121685" y="103084"/>
                    </a:cubicBezTo>
                    <a:cubicBezTo>
                      <a:pt x="111570" y="108709"/>
                      <a:pt x="96346" y="117199"/>
                      <a:pt x="87754" y="133816"/>
                    </a:cubicBezTo>
                    <a:cubicBezTo>
                      <a:pt x="86618" y="136499"/>
                      <a:pt x="84115" y="138331"/>
                      <a:pt x="81122" y="138590"/>
                    </a:cubicBezTo>
                    <a:cubicBezTo>
                      <a:pt x="80890" y="138590"/>
                      <a:pt x="80658" y="138615"/>
                      <a:pt x="80426" y="138615"/>
                    </a:cubicBezTo>
                    <a:close/>
                    <a:moveTo>
                      <a:pt x="75316" y="129145"/>
                    </a:moveTo>
                    <a:cubicBezTo>
                      <a:pt x="75316" y="129145"/>
                      <a:pt x="75316" y="129145"/>
                      <a:pt x="75316" y="129145"/>
                    </a:cubicBezTo>
                    <a:cubicBezTo>
                      <a:pt x="75316" y="129145"/>
                      <a:pt x="75316" y="129145"/>
                      <a:pt x="75316" y="129145"/>
                    </a:cubicBezTo>
                    <a:close/>
                    <a:moveTo>
                      <a:pt x="84786" y="127778"/>
                    </a:moveTo>
                    <a:cubicBezTo>
                      <a:pt x="84838" y="127855"/>
                      <a:pt x="84864" y="127907"/>
                      <a:pt x="84890" y="127984"/>
                    </a:cubicBezTo>
                    <a:cubicBezTo>
                      <a:pt x="84864" y="127907"/>
                      <a:pt x="84838" y="127855"/>
                      <a:pt x="84786" y="127778"/>
                    </a:cubicBezTo>
                    <a:close/>
                    <a:moveTo>
                      <a:pt x="13647" y="41673"/>
                    </a:moveTo>
                    <a:cubicBezTo>
                      <a:pt x="12666" y="49697"/>
                      <a:pt x="13750" y="56897"/>
                      <a:pt x="17105" y="64328"/>
                    </a:cubicBezTo>
                    <a:cubicBezTo>
                      <a:pt x="20020" y="69721"/>
                      <a:pt x="25904" y="80610"/>
                      <a:pt x="37850" y="88144"/>
                    </a:cubicBezTo>
                    <a:cubicBezTo>
                      <a:pt x="39527" y="89305"/>
                      <a:pt x="41927" y="90570"/>
                      <a:pt x="44688" y="92040"/>
                    </a:cubicBezTo>
                    <a:cubicBezTo>
                      <a:pt x="54261" y="97124"/>
                      <a:pt x="69434" y="105200"/>
                      <a:pt x="80297" y="120476"/>
                    </a:cubicBezTo>
                    <a:cubicBezTo>
                      <a:pt x="90876" y="105020"/>
                      <a:pt x="105842" y="96685"/>
                      <a:pt x="115260" y="91447"/>
                    </a:cubicBezTo>
                    <a:cubicBezTo>
                      <a:pt x="117969" y="89925"/>
                      <a:pt x="120343" y="88609"/>
                      <a:pt x="121736" y="87602"/>
                    </a:cubicBezTo>
                    <a:cubicBezTo>
                      <a:pt x="133838" y="79681"/>
                      <a:pt x="139515" y="68663"/>
                      <a:pt x="142224" y="63373"/>
                    </a:cubicBezTo>
                    <a:cubicBezTo>
                      <a:pt x="145527" y="55761"/>
                      <a:pt x="146482" y="48536"/>
                      <a:pt x="145346" y="40460"/>
                    </a:cubicBezTo>
                    <a:cubicBezTo>
                      <a:pt x="142740" y="25391"/>
                      <a:pt x="128626" y="17521"/>
                      <a:pt x="125013" y="16257"/>
                    </a:cubicBezTo>
                    <a:cubicBezTo>
                      <a:pt x="114202" y="12464"/>
                      <a:pt x="105171" y="12360"/>
                      <a:pt x="98204" y="15895"/>
                    </a:cubicBezTo>
                    <a:cubicBezTo>
                      <a:pt x="89121" y="20514"/>
                      <a:pt x="86128" y="30216"/>
                      <a:pt x="86102" y="30293"/>
                    </a:cubicBezTo>
                    <a:cubicBezTo>
                      <a:pt x="85277" y="33080"/>
                      <a:pt x="82696" y="35015"/>
                      <a:pt x="79806" y="35041"/>
                    </a:cubicBezTo>
                    <a:cubicBezTo>
                      <a:pt x="79781" y="35041"/>
                      <a:pt x="79755" y="35041"/>
                      <a:pt x="79729" y="35041"/>
                    </a:cubicBezTo>
                    <a:cubicBezTo>
                      <a:pt x="76839" y="35041"/>
                      <a:pt x="74285" y="33209"/>
                      <a:pt x="73407" y="30474"/>
                    </a:cubicBezTo>
                    <a:cubicBezTo>
                      <a:pt x="73381" y="30422"/>
                      <a:pt x="70001" y="20695"/>
                      <a:pt x="60583" y="16205"/>
                    </a:cubicBezTo>
                    <a:cubicBezTo>
                      <a:pt x="53410" y="12799"/>
                      <a:pt x="44327" y="13057"/>
                      <a:pt x="33593" y="17005"/>
                    </a:cubicBezTo>
                    <a:cubicBezTo>
                      <a:pt x="29980" y="18346"/>
                      <a:pt x="16072" y="26423"/>
                      <a:pt x="13647" y="41673"/>
                    </a:cubicBezTo>
                    <a:close/>
                  </a:path>
                </a:pathLst>
              </a:custGeom>
              <a:solidFill>
                <a:schemeClr val="accent1"/>
              </a:solidFill>
              <a:ln w="2573" cap="flat">
                <a:noFill/>
                <a:prstDash val="solid"/>
                <a:miter/>
              </a:ln>
            </p:spPr>
            <p:txBody>
              <a:bodyPr rtlCol="0" anchor="ctr"/>
              <a:lstStyle/>
              <a:p>
                <a:endParaRPr lang="en-GB" dirty="0"/>
              </a:p>
            </p:txBody>
          </p:sp>
          <p:grpSp>
            <p:nvGrpSpPr>
              <p:cNvPr id="1619" name="Grafik 312">
                <a:extLst>
                  <a:ext uri="{FF2B5EF4-FFF2-40B4-BE49-F238E27FC236}">
                    <a16:creationId xmlns:a16="http://schemas.microsoft.com/office/drawing/2014/main" id="{6566AAC2-C91C-4294-8D3D-C3764A707507}"/>
                  </a:ext>
                </a:extLst>
              </p:cNvPr>
              <p:cNvGrpSpPr/>
              <p:nvPr/>
            </p:nvGrpSpPr>
            <p:grpSpPr>
              <a:xfrm>
                <a:off x="3386173" y="4313901"/>
                <a:ext cx="172958" cy="192878"/>
                <a:chOff x="3386173" y="4313901"/>
                <a:chExt cx="172958" cy="192878"/>
              </a:xfrm>
              <a:solidFill>
                <a:schemeClr val="accent1"/>
              </a:solidFill>
            </p:grpSpPr>
            <p:sp>
              <p:nvSpPr>
                <p:cNvPr id="1620" name="Freihandform: Form 1619">
                  <a:extLst>
                    <a:ext uri="{FF2B5EF4-FFF2-40B4-BE49-F238E27FC236}">
                      <a16:creationId xmlns:a16="http://schemas.microsoft.com/office/drawing/2014/main" id="{108A05B9-2C41-43B6-8AE5-B39B616B68C5}"/>
                    </a:ext>
                  </a:extLst>
                </p:cNvPr>
                <p:cNvSpPr/>
                <p:nvPr/>
              </p:nvSpPr>
              <p:spPr>
                <a:xfrm>
                  <a:off x="3386173" y="4433602"/>
                  <a:ext cx="172958" cy="73177"/>
                </a:xfrm>
                <a:custGeom>
                  <a:avLst/>
                  <a:gdLst>
                    <a:gd name="connsiteX0" fmla="*/ 166302 w 172958"/>
                    <a:gd name="connsiteY0" fmla="*/ 73178 h 73177"/>
                    <a:gd name="connsiteX1" fmla="*/ 6657 w 172958"/>
                    <a:gd name="connsiteY1" fmla="*/ 73178 h 73177"/>
                    <a:gd name="connsiteX2" fmla="*/ 0 w 172958"/>
                    <a:gd name="connsiteY2" fmla="*/ 66520 h 73177"/>
                    <a:gd name="connsiteX3" fmla="*/ 66521 w 172958"/>
                    <a:gd name="connsiteY3" fmla="*/ 0 h 73177"/>
                    <a:gd name="connsiteX4" fmla="*/ 106438 w 172958"/>
                    <a:gd name="connsiteY4" fmla="*/ 0 h 73177"/>
                    <a:gd name="connsiteX5" fmla="*/ 172959 w 172958"/>
                    <a:gd name="connsiteY5" fmla="*/ 66520 h 73177"/>
                    <a:gd name="connsiteX6" fmla="*/ 166302 w 172958"/>
                    <a:gd name="connsiteY6" fmla="*/ 73178 h 73177"/>
                    <a:gd name="connsiteX7" fmla="*/ 13753 w 172958"/>
                    <a:gd name="connsiteY7" fmla="*/ 59889 h 73177"/>
                    <a:gd name="connsiteX8" fmla="*/ 159257 w 172958"/>
                    <a:gd name="connsiteY8" fmla="*/ 59889 h 73177"/>
                    <a:gd name="connsiteX9" fmla="*/ 106464 w 172958"/>
                    <a:gd name="connsiteY9" fmla="*/ 13340 h 73177"/>
                    <a:gd name="connsiteX10" fmla="*/ 66546 w 172958"/>
                    <a:gd name="connsiteY10" fmla="*/ 13340 h 73177"/>
                    <a:gd name="connsiteX11" fmla="*/ 13753 w 172958"/>
                    <a:gd name="connsiteY11" fmla="*/ 59889 h 7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958" h="73177">
                      <a:moveTo>
                        <a:pt x="166302" y="73178"/>
                      </a:moveTo>
                      <a:lnTo>
                        <a:pt x="6657" y="73178"/>
                      </a:lnTo>
                      <a:cubicBezTo>
                        <a:pt x="2993" y="73178"/>
                        <a:pt x="0" y="70210"/>
                        <a:pt x="0" y="66520"/>
                      </a:cubicBezTo>
                      <a:cubicBezTo>
                        <a:pt x="0" y="29854"/>
                        <a:pt x="29828" y="0"/>
                        <a:pt x="66521" y="0"/>
                      </a:cubicBezTo>
                      <a:lnTo>
                        <a:pt x="106438" y="0"/>
                      </a:lnTo>
                      <a:cubicBezTo>
                        <a:pt x="143105" y="0"/>
                        <a:pt x="172959" y="29828"/>
                        <a:pt x="172959" y="66520"/>
                      </a:cubicBezTo>
                      <a:cubicBezTo>
                        <a:pt x="172959" y="70210"/>
                        <a:pt x="169991" y="73178"/>
                        <a:pt x="166302" y="73178"/>
                      </a:cubicBezTo>
                      <a:close/>
                      <a:moveTo>
                        <a:pt x="13753" y="59889"/>
                      </a:moveTo>
                      <a:lnTo>
                        <a:pt x="159257" y="59889"/>
                      </a:lnTo>
                      <a:cubicBezTo>
                        <a:pt x="155980" y="33673"/>
                        <a:pt x="133557" y="13340"/>
                        <a:pt x="106464" y="13340"/>
                      </a:cubicBezTo>
                      <a:lnTo>
                        <a:pt x="66546" y="13340"/>
                      </a:lnTo>
                      <a:cubicBezTo>
                        <a:pt x="39453" y="13314"/>
                        <a:pt x="17030" y="33673"/>
                        <a:pt x="13753" y="59889"/>
                      </a:cubicBezTo>
                      <a:close/>
                    </a:path>
                  </a:pathLst>
                </a:custGeom>
                <a:solidFill>
                  <a:schemeClr val="accent1"/>
                </a:solidFill>
                <a:ln w="2573" cap="flat">
                  <a:noFill/>
                  <a:prstDash val="solid"/>
                  <a:miter/>
                </a:ln>
              </p:spPr>
              <p:txBody>
                <a:bodyPr rtlCol="0" anchor="ctr"/>
                <a:lstStyle/>
                <a:p>
                  <a:endParaRPr lang="en-GB" dirty="0"/>
                </a:p>
              </p:txBody>
            </p:sp>
            <p:sp>
              <p:nvSpPr>
                <p:cNvPr id="1621" name="Freihandform: Form 1620">
                  <a:extLst>
                    <a:ext uri="{FF2B5EF4-FFF2-40B4-BE49-F238E27FC236}">
                      <a16:creationId xmlns:a16="http://schemas.microsoft.com/office/drawing/2014/main" id="{BCE1CD39-D6A4-4C11-A9F9-2EA42B420026}"/>
                    </a:ext>
                  </a:extLst>
                </p:cNvPr>
                <p:cNvSpPr/>
                <p:nvPr/>
              </p:nvSpPr>
              <p:spPr>
                <a:xfrm>
                  <a:off x="3426116" y="4313901"/>
                  <a:ext cx="93097" cy="106412"/>
                </a:xfrm>
                <a:custGeom>
                  <a:avLst/>
                  <a:gdLst>
                    <a:gd name="connsiteX0" fmla="*/ 46549 w 93097"/>
                    <a:gd name="connsiteY0" fmla="*/ 106412 h 106412"/>
                    <a:gd name="connsiteX1" fmla="*/ 0 w 93097"/>
                    <a:gd name="connsiteY1" fmla="*/ 53206 h 106412"/>
                    <a:gd name="connsiteX2" fmla="*/ 46549 w 93097"/>
                    <a:gd name="connsiteY2" fmla="*/ 0 h 106412"/>
                    <a:gd name="connsiteX3" fmla="*/ 93098 w 93097"/>
                    <a:gd name="connsiteY3" fmla="*/ 53206 h 106412"/>
                    <a:gd name="connsiteX4" fmla="*/ 46549 w 93097"/>
                    <a:gd name="connsiteY4" fmla="*/ 106412 h 106412"/>
                    <a:gd name="connsiteX5" fmla="*/ 46549 w 93097"/>
                    <a:gd name="connsiteY5" fmla="*/ 13289 h 106412"/>
                    <a:gd name="connsiteX6" fmla="*/ 13289 w 93097"/>
                    <a:gd name="connsiteY6" fmla="*/ 53206 h 106412"/>
                    <a:gd name="connsiteX7" fmla="*/ 46549 w 93097"/>
                    <a:gd name="connsiteY7" fmla="*/ 93124 h 106412"/>
                    <a:gd name="connsiteX8" fmla="*/ 79809 w 93097"/>
                    <a:gd name="connsiteY8" fmla="*/ 53206 h 106412"/>
                    <a:gd name="connsiteX9" fmla="*/ 46549 w 93097"/>
                    <a:gd name="connsiteY9" fmla="*/ 13289 h 106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097" h="106412">
                      <a:moveTo>
                        <a:pt x="46549" y="106412"/>
                      </a:moveTo>
                      <a:cubicBezTo>
                        <a:pt x="18707" y="106412"/>
                        <a:pt x="0" y="85021"/>
                        <a:pt x="0" y="53206"/>
                      </a:cubicBezTo>
                      <a:cubicBezTo>
                        <a:pt x="0" y="21391"/>
                        <a:pt x="18707" y="0"/>
                        <a:pt x="46549" y="0"/>
                      </a:cubicBezTo>
                      <a:cubicBezTo>
                        <a:pt x="74391" y="0"/>
                        <a:pt x="93098" y="21391"/>
                        <a:pt x="93098" y="53206"/>
                      </a:cubicBezTo>
                      <a:cubicBezTo>
                        <a:pt x="93098" y="85047"/>
                        <a:pt x="74391" y="106412"/>
                        <a:pt x="46549" y="106412"/>
                      </a:cubicBezTo>
                      <a:close/>
                      <a:moveTo>
                        <a:pt x="46549" y="13289"/>
                      </a:moveTo>
                      <a:cubicBezTo>
                        <a:pt x="22010" y="13289"/>
                        <a:pt x="13289" y="34783"/>
                        <a:pt x="13289" y="53206"/>
                      </a:cubicBezTo>
                      <a:cubicBezTo>
                        <a:pt x="13289" y="71604"/>
                        <a:pt x="22010" y="93124"/>
                        <a:pt x="46549" y="93124"/>
                      </a:cubicBezTo>
                      <a:cubicBezTo>
                        <a:pt x="71088" y="93124"/>
                        <a:pt x="79809" y="71630"/>
                        <a:pt x="79809" y="53206"/>
                      </a:cubicBezTo>
                      <a:cubicBezTo>
                        <a:pt x="79809" y="34808"/>
                        <a:pt x="71088" y="13289"/>
                        <a:pt x="46549" y="13289"/>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1611" name="Gruppieren 1610">
              <a:extLst>
                <a:ext uri="{FF2B5EF4-FFF2-40B4-BE49-F238E27FC236}">
                  <a16:creationId xmlns:a16="http://schemas.microsoft.com/office/drawing/2014/main" id="{4564BBAA-07DF-43FB-9F11-1433DB4156EB}"/>
                </a:ext>
              </a:extLst>
            </p:cNvPr>
            <p:cNvGrpSpPr/>
            <p:nvPr/>
          </p:nvGrpSpPr>
          <p:grpSpPr>
            <a:xfrm>
              <a:off x="3773261" y="4097454"/>
              <a:ext cx="386193" cy="432000"/>
              <a:chOff x="3459351" y="4167571"/>
              <a:chExt cx="392441" cy="438989"/>
            </a:xfrm>
            <a:solidFill>
              <a:schemeClr val="tx2"/>
            </a:solidFill>
          </p:grpSpPr>
          <p:grpSp>
            <p:nvGrpSpPr>
              <p:cNvPr id="1612" name="Grafik 312">
                <a:extLst>
                  <a:ext uri="{FF2B5EF4-FFF2-40B4-BE49-F238E27FC236}">
                    <a16:creationId xmlns:a16="http://schemas.microsoft.com/office/drawing/2014/main" id="{B26190E4-04DB-4F59-ADBD-269B0B26D795}"/>
                  </a:ext>
                </a:extLst>
              </p:cNvPr>
              <p:cNvGrpSpPr/>
              <p:nvPr/>
            </p:nvGrpSpPr>
            <p:grpSpPr>
              <a:xfrm>
                <a:off x="3459351" y="4167571"/>
                <a:ext cx="292685" cy="438989"/>
                <a:chOff x="3459351" y="4167571"/>
                <a:chExt cx="292685" cy="438989"/>
              </a:xfrm>
              <a:grpFill/>
            </p:grpSpPr>
            <p:sp>
              <p:nvSpPr>
                <p:cNvPr id="1614" name="Freihandform: Form 1613">
                  <a:extLst>
                    <a:ext uri="{FF2B5EF4-FFF2-40B4-BE49-F238E27FC236}">
                      <a16:creationId xmlns:a16="http://schemas.microsoft.com/office/drawing/2014/main" id="{3FAC50BC-2F7B-48B5-B563-CEF93FCCAD39}"/>
                    </a:ext>
                  </a:extLst>
                </p:cNvPr>
                <p:cNvSpPr/>
                <p:nvPr/>
              </p:nvSpPr>
              <p:spPr>
                <a:xfrm>
                  <a:off x="3459351" y="4167571"/>
                  <a:ext cx="292685" cy="152987"/>
                </a:xfrm>
                <a:custGeom>
                  <a:avLst/>
                  <a:gdLst>
                    <a:gd name="connsiteX0" fmla="*/ 6657 w 292685"/>
                    <a:gd name="connsiteY0" fmla="*/ 152987 h 152987"/>
                    <a:gd name="connsiteX1" fmla="*/ 0 w 292685"/>
                    <a:gd name="connsiteY1" fmla="*/ 146330 h 152987"/>
                    <a:gd name="connsiteX2" fmla="*/ 0 w 292685"/>
                    <a:gd name="connsiteY2" fmla="*/ 39917 h 152987"/>
                    <a:gd name="connsiteX3" fmla="*/ 39918 w 292685"/>
                    <a:gd name="connsiteY3" fmla="*/ 0 h 152987"/>
                    <a:gd name="connsiteX4" fmla="*/ 252768 w 292685"/>
                    <a:gd name="connsiteY4" fmla="*/ 0 h 152987"/>
                    <a:gd name="connsiteX5" fmla="*/ 292686 w 292685"/>
                    <a:gd name="connsiteY5" fmla="*/ 39917 h 152987"/>
                    <a:gd name="connsiteX6" fmla="*/ 292686 w 292685"/>
                    <a:gd name="connsiteY6" fmla="*/ 93124 h 152987"/>
                    <a:gd name="connsiteX7" fmla="*/ 286029 w 292685"/>
                    <a:gd name="connsiteY7" fmla="*/ 99781 h 152987"/>
                    <a:gd name="connsiteX8" fmla="*/ 279371 w 292685"/>
                    <a:gd name="connsiteY8" fmla="*/ 93124 h 152987"/>
                    <a:gd name="connsiteX9" fmla="*/ 279371 w 292685"/>
                    <a:gd name="connsiteY9" fmla="*/ 39917 h 152987"/>
                    <a:gd name="connsiteX10" fmla="*/ 252768 w 292685"/>
                    <a:gd name="connsiteY10" fmla="*/ 13314 h 152987"/>
                    <a:gd name="connsiteX11" fmla="*/ 39918 w 292685"/>
                    <a:gd name="connsiteY11" fmla="*/ 13314 h 152987"/>
                    <a:gd name="connsiteX12" fmla="*/ 13315 w 292685"/>
                    <a:gd name="connsiteY12" fmla="*/ 39917 h 152987"/>
                    <a:gd name="connsiteX13" fmla="*/ 13315 w 292685"/>
                    <a:gd name="connsiteY13" fmla="*/ 146330 h 152987"/>
                    <a:gd name="connsiteX14" fmla="*/ 6657 w 292685"/>
                    <a:gd name="connsiteY14" fmla="*/ 152987 h 15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685" h="152987">
                      <a:moveTo>
                        <a:pt x="6657" y="152987"/>
                      </a:moveTo>
                      <a:cubicBezTo>
                        <a:pt x="2993" y="152987"/>
                        <a:pt x="0" y="150020"/>
                        <a:pt x="0" y="146330"/>
                      </a:cubicBezTo>
                      <a:lnTo>
                        <a:pt x="0" y="39917"/>
                      </a:lnTo>
                      <a:cubicBezTo>
                        <a:pt x="0" y="17907"/>
                        <a:pt x="17908" y="0"/>
                        <a:pt x="39918" y="0"/>
                      </a:cubicBezTo>
                      <a:lnTo>
                        <a:pt x="252768" y="0"/>
                      </a:lnTo>
                      <a:cubicBezTo>
                        <a:pt x="274778" y="0"/>
                        <a:pt x="292686" y="17907"/>
                        <a:pt x="292686" y="39917"/>
                      </a:cubicBezTo>
                      <a:lnTo>
                        <a:pt x="292686" y="93124"/>
                      </a:lnTo>
                      <a:cubicBezTo>
                        <a:pt x="292686" y="96788"/>
                        <a:pt x="289718" y="99781"/>
                        <a:pt x="286029" y="99781"/>
                      </a:cubicBezTo>
                      <a:cubicBezTo>
                        <a:pt x="282339" y="99781"/>
                        <a:pt x="279371" y="96814"/>
                        <a:pt x="279371" y="93124"/>
                      </a:cubicBezTo>
                      <a:lnTo>
                        <a:pt x="279371" y="39917"/>
                      </a:lnTo>
                      <a:cubicBezTo>
                        <a:pt x="279371" y="25235"/>
                        <a:pt x="267450" y="13314"/>
                        <a:pt x="252768" y="13314"/>
                      </a:cubicBezTo>
                      <a:lnTo>
                        <a:pt x="39918" y="13314"/>
                      </a:lnTo>
                      <a:cubicBezTo>
                        <a:pt x="25236" y="13314"/>
                        <a:pt x="13315" y="25235"/>
                        <a:pt x="13315" y="39917"/>
                      </a:cubicBezTo>
                      <a:lnTo>
                        <a:pt x="13315" y="146330"/>
                      </a:lnTo>
                      <a:cubicBezTo>
                        <a:pt x="13315" y="149994"/>
                        <a:pt x="10347" y="152987"/>
                        <a:pt x="6657" y="152987"/>
                      </a:cubicBezTo>
                      <a:close/>
                    </a:path>
                  </a:pathLst>
                </a:custGeom>
                <a:grpFill/>
                <a:ln w="2573" cap="flat">
                  <a:noFill/>
                  <a:prstDash val="solid"/>
                  <a:miter/>
                </a:ln>
              </p:spPr>
              <p:txBody>
                <a:bodyPr rtlCol="0" anchor="ctr"/>
                <a:lstStyle/>
                <a:p>
                  <a:endParaRPr lang="en-GB" dirty="0"/>
                </a:p>
              </p:txBody>
            </p:sp>
            <p:sp>
              <p:nvSpPr>
                <p:cNvPr id="1615" name="Freihandform: Form 1614">
                  <a:extLst>
                    <a:ext uri="{FF2B5EF4-FFF2-40B4-BE49-F238E27FC236}">
                      <a16:creationId xmlns:a16="http://schemas.microsoft.com/office/drawing/2014/main" id="{F21974B5-321E-423E-9D5E-A4074DE02FDA}"/>
                    </a:ext>
                  </a:extLst>
                </p:cNvPr>
                <p:cNvSpPr/>
                <p:nvPr/>
              </p:nvSpPr>
              <p:spPr>
                <a:xfrm>
                  <a:off x="3459351" y="4480177"/>
                  <a:ext cx="292685" cy="126383"/>
                </a:xfrm>
                <a:custGeom>
                  <a:avLst/>
                  <a:gdLst>
                    <a:gd name="connsiteX0" fmla="*/ 252768 w 292685"/>
                    <a:gd name="connsiteY0" fmla="*/ 126384 h 126383"/>
                    <a:gd name="connsiteX1" fmla="*/ 39918 w 292685"/>
                    <a:gd name="connsiteY1" fmla="*/ 126384 h 126383"/>
                    <a:gd name="connsiteX2" fmla="*/ 0 w 292685"/>
                    <a:gd name="connsiteY2" fmla="*/ 86467 h 126383"/>
                    <a:gd name="connsiteX3" fmla="*/ 0 w 292685"/>
                    <a:gd name="connsiteY3" fmla="*/ 46549 h 126383"/>
                    <a:gd name="connsiteX4" fmla="*/ 6657 w 292685"/>
                    <a:gd name="connsiteY4" fmla="*/ 39892 h 126383"/>
                    <a:gd name="connsiteX5" fmla="*/ 13315 w 292685"/>
                    <a:gd name="connsiteY5" fmla="*/ 46549 h 126383"/>
                    <a:gd name="connsiteX6" fmla="*/ 13315 w 292685"/>
                    <a:gd name="connsiteY6" fmla="*/ 86467 h 126383"/>
                    <a:gd name="connsiteX7" fmla="*/ 39918 w 292685"/>
                    <a:gd name="connsiteY7" fmla="*/ 113070 h 126383"/>
                    <a:gd name="connsiteX8" fmla="*/ 252768 w 292685"/>
                    <a:gd name="connsiteY8" fmla="*/ 113070 h 126383"/>
                    <a:gd name="connsiteX9" fmla="*/ 279371 w 292685"/>
                    <a:gd name="connsiteY9" fmla="*/ 86467 h 126383"/>
                    <a:gd name="connsiteX10" fmla="*/ 279371 w 292685"/>
                    <a:gd name="connsiteY10" fmla="*/ 6657 h 126383"/>
                    <a:gd name="connsiteX11" fmla="*/ 286029 w 292685"/>
                    <a:gd name="connsiteY11" fmla="*/ 0 h 126383"/>
                    <a:gd name="connsiteX12" fmla="*/ 292686 w 292685"/>
                    <a:gd name="connsiteY12" fmla="*/ 6657 h 126383"/>
                    <a:gd name="connsiteX13" fmla="*/ 292686 w 292685"/>
                    <a:gd name="connsiteY13" fmla="*/ 86467 h 126383"/>
                    <a:gd name="connsiteX14" fmla="*/ 252768 w 292685"/>
                    <a:gd name="connsiteY14" fmla="*/ 126384 h 126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2685" h="126383">
                      <a:moveTo>
                        <a:pt x="252768" y="126384"/>
                      </a:moveTo>
                      <a:lnTo>
                        <a:pt x="39918" y="126384"/>
                      </a:lnTo>
                      <a:cubicBezTo>
                        <a:pt x="17908" y="126384"/>
                        <a:pt x="0" y="108477"/>
                        <a:pt x="0" y="86467"/>
                      </a:cubicBezTo>
                      <a:lnTo>
                        <a:pt x="0" y="46549"/>
                      </a:lnTo>
                      <a:cubicBezTo>
                        <a:pt x="0" y="42885"/>
                        <a:pt x="2967" y="39892"/>
                        <a:pt x="6657" y="39892"/>
                      </a:cubicBezTo>
                      <a:cubicBezTo>
                        <a:pt x="10321" y="39892"/>
                        <a:pt x="13315" y="42859"/>
                        <a:pt x="13315" y="46549"/>
                      </a:cubicBezTo>
                      <a:lnTo>
                        <a:pt x="13315" y="86467"/>
                      </a:lnTo>
                      <a:cubicBezTo>
                        <a:pt x="13315" y="101149"/>
                        <a:pt x="25236" y="113070"/>
                        <a:pt x="39918" y="113070"/>
                      </a:cubicBezTo>
                      <a:lnTo>
                        <a:pt x="252768" y="113070"/>
                      </a:lnTo>
                      <a:cubicBezTo>
                        <a:pt x="267450" y="113070"/>
                        <a:pt x="279371" y="101149"/>
                        <a:pt x="279371" y="86467"/>
                      </a:cubicBezTo>
                      <a:lnTo>
                        <a:pt x="279371" y="6657"/>
                      </a:lnTo>
                      <a:cubicBezTo>
                        <a:pt x="279371" y="2993"/>
                        <a:pt x="282339" y="0"/>
                        <a:pt x="286029" y="0"/>
                      </a:cubicBezTo>
                      <a:cubicBezTo>
                        <a:pt x="289718" y="0"/>
                        <a:pt x="292686" y="2967"/>
                        <a:pt x="292686" y="6657"/>
                      </a:cubicBezTo>
                      <a:lnTo>
                        <a:pt x="292686" y="86467"/>
                      </a:lnTo>
                      <a:cubicBezTo>
                        <a:pt x="292660" y="108477"/>
                        <a:pt x="274778" y="126384"/>
                        <a:pt x="252768" y="126384"/>
                      </a:cubicBezTo>
                      <a:close/>
                    </a:path>
                  </a:pathLst>
                </a:custGeom>
                <a:grpFill/>
                <a:ln w="2573" cap="flat">
                  <a:noFill/>
                  <a:prstDash val="solid"/>
                  <a:miter/>
                </a:ln>
              </p:spPr>
              <p:txBody>
                <a:bodyPr rtlCol="0" anchor="ctr"/>
                <a:lstStyle/>
                <a:p>
                  <a:endParaRPr lang="en-GB" dirty="0"/>
                </a:p>
              </p:txBody>
            </p:sp>
            <p:sp>
              <p:nvSpPr>
                <p:cNvPr id="1616" name="Freihandform: Form 1615">
                  <a:extLst>
                    <a:ext uri="{FF2B5EF4-FFF2-40B4-BE49-F238E27FC236}">
                      <a16:creationId xmlns:a16="http://schemas.microsoft.com/office/drawing/2014/main" id="{A8F31BD6-D5D2-4F8A-A6C4-236F9646EADC}"/>
                    </a:ext>
                  </a:extLst>
                </p:cNvPr>
                <p:cNvSpPr/>
                <p:nvPr/>
              </p:nvSpPr>
              <p:spPr>
                <a:xfrm>
                  <a:off x="3459377" y="4214120"/>
                  <a:ext cx="292659" cy="13314"/>
                </a:xfrm>
                <a:custGeom>
                  <a:avLst/>
                  <a:gdLst>
                    <a:gd name="connsiteX0" fmla="*/ 286003 w 292659"/>
                    <a:gd name="connsiteY0" fmla="*/ 13315 h 13314"/>
                    <a:gd name="connsiteX1" fmla="*/ 6657 w 292659"/>
                    <a:gd name="connsiteY1" fmla="*/ 13315 h 13314"/>
                    <a:gd name="connsiteX2" fmla="*/ 0 w 292659"/>
                    <a:gd name="connsiteY2" fmla="*/ 6657 h 13314"/>
                    <a:gd name="connsiteX3" fmla="*/ 6657 w 292659"/>
                    <a:gd name="connsiteY3" fmla="*/ 0 h 13314"/>
                    <a:gd name="connsiteX4" fmla="*/ 286003 w 292659"/>
                    <a:gd name="connsiteY4" fmla="*/ 0 h 13314"/>
                    <a:gd name="connsiteX5" fmla="*/ 292660 w 292659"/>
                    <a:gd name="connsiteY5" fmla="*/ 6657 h 13314"/>
                    <a:gd name="connsiteX6" fmla="*/ 286003 w 292659"/>
                    <a:gd name="connsiteY6" fmla="*/ 13315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659" h="13314">
                      <a:moveTo>
                        <a:pt x="286003" y="13315"/>
                      </a:moveTo>
                      <a:lnTo>
                        <a:pt x="6657" y="13315"/>
                      </a:lnTo>
                      <a:cubicBezTo>
                        <a:pt x="2993" y="13315"/>
                        <a:pt x="0" y="10347"/>
                        <a:pt x="0" y="6657"/>
                      </a:cubicBezTo>
                      <a:cubicBezTo>
                        <a:pt x="0" y="2993"/>
                        <a:pt x="2967" y="0"/>
                        <a:pt x="6657" y="0"/>
                      </a:cubicBezTo>
                      <a:lnTo>
                        <a:pt x="286003" y="0"/>
                      </a:lnTo>
                      <a:cubicBezTo>
                        <a:pt x="289667" y="0"/>
                        <a:pt x="292660" y="2967"/>
                        <a:pt x="292660" y="6657"/>
                      </a:cubicBezTo>
                      <a:cubicBezTo>
                        <a:pt x="292634" y="10347"/>
                        <a:pt x="289667" y="13315"/>
                        <a:pt x="286003" y="13315"/>
                      </a:cubicBezTo>
                      <a:close/>
                    </a:path>
                  </a:pathLst>
                </a:custGeom>
                <a:grpFill/>
                <a:ln w="2573" cap="flat">
                  <a:noFill/>
                  <a:prstDash val="solid"/>
                  <a:miter/>
                </a:ln>
              </p:spPr>
              <p:txBody>
                <a:bodyPr rtlCol="0" anchor="ctr"/>
                <a:lstStyle/>
                <a:p>
                  <a:endParaRPr lang="en-GB" dirty="0"/>
                </a:p>
              </p:txBody>
            </p:sp>
            <p:sp>
              <p:nvSpPr>
                <p:cNvPr id="1617" name="Freihandform: Form 1616">
                  <a:extLst>
                    <a:ext uri="{FF2B5EF4-FFF2-40B4-BE49-F238E27FC236}">
                      <a16:creationId xmlns:a16="http://schemas.microsoft.com/office/drawing/2014/main" id="{D3EA3DD9-8511-4EAA-9737-EA66818356F4}"/>
                    </a:ext>
                  </a:extLst>
                </p:cNvPr>
                <p:cNvSpPr/>
                <p:nvPr/>
              </p:nvSpPr>
              <p:spPr>
                <a:xfrm>
                  <a:off x="3459377" y="4546672"/>
                  <a:ext cx="292659" cy="13314"/>
                </a:xfrm>
                <a:custGeom>
                  <a:avLst/>
                  <a:gdLst>
                    <a:gd name="connsiteX0" fmla="*/ 286003 w 292659"/>
                    <a:gd name="connsiteY0" fmla="*/ 13315 h 13314"/>
                    <a:gd name="connsiteX1" fmla="*/ 6657 w 292659"/>
                    <a:gd name="connsiteY1" fmla="*/ 13315 h 13314"/>
                    <a:gd name="connsiteX2" fmla="*/ 0 w 292659"/>
                    <a:gd name="connsiteY2" fmla="*/ 6657 h 13314"/>
                    <a:gd name="connsiteX3" fmla="*/ 6657 w 292659"/>
                    <a:gd name="connsiteY3" fmla="*/ 0 h 13314"/>
                    <a:gd name="connsiteX4" fmla="*/ 286003 w 292659"/>
                    <a:gd name="connsiteY4" fmla="*/ 0 h 13314"/>
                    <a:gd name="connsiteX5" fmla="*/ 292660 w 292659"/>
                    <a:gd name="connsiteY5" fmla="*/ 6657 h 13314"/>
                    <a:gd name="connsiteX6" fmla="*/ 286003 w 292659"/>
                    <a:gd name="connsiteY6" fmla="*/ 13315 h 13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659" h="13314">
                      <a:moveTo>
                        <a:pt x="286003" y="13315"/>
                      </a:moveTo>
                      <a:lnTo>
                        <a:pt x="6657" y="13315"/>
                      </a:lnTo>
                      <a:cubicBezTo>
                        <a:pt x="2993" y="13315"/>
                        <a:pt x="0" y="10347"/>
                        <a:pt x="0" y="6657"/>
                      </a:cubicBezTo>
                      <a:cubicBezTo>
                        <a:pt x="0" y="2967"/>
                        <a:pt x="2967" y="0"/>
                        <a:pt x="6657" y="0"/>
                      </a:cubicBezTo>
                      <a:lnTo>
                        <a:pt x="286003" y="0"/>
                      </a:lnTo>
                      <a:cubicBezTo>
                        <a:pt x="289667" y="0"/>
                        <a:pt x="292660" y="2967"/>
                        <a:pt x="292660" y="6657"/>
                      </a:cubicBezTo>
                      <a:cubicBezTo>
                        <a:pt x="292660" y="10347"/>
                        <a:pt x="289667" y="13315"/>
                        <a:pt x="286003" y="13315"/>
                      </a:cubicBezTo>
                      <a:close/>
                    </a:path>
                  </a:pathLst>
                </a:custGeom>
                <a:grpFill/>
                <a:ln w="2573" cap="flat">
                  <a:noFill/>
                  <a:prstDash val="solid"/>
                  <a:miter/>
                </a:ln>
              </p:spPr>
              <p:txBody>
                <a:bodyPr rtlCol="0" anchor="ctr"/>
                <a:lstStyle/>
                <a:p>
                  <a:endParaRPr lang="en-GB" dirty="0"/>
                </a:p>
              </p:txBody>
            </p:sp>
          </p:grpSp>
          <p:sp>
            <p:nvSpPr>
              <p:cNvPr id="1613" name="Freihandform: Form 1612">
                <a:extLst>
                  <a:ext uri="{FF2B5EF4-FFF2-40B4-BE49-F238E27FC236}">
                    <a16:creationId xmlns:a16="http://schemas.microsoft.com/office/drawing/2014/main" id="{5F35854D-5949-4234-8834-5237258ACD09}"/>
                  </a:ext>
                </a:extLst>
              </p:cNvPr>
              <p:cNvSpPr/>
              <p:nvPr/>
            </p:nvSpPr>
            <p:spPr>
              <a:xfrm>
                <a:off x="3585761" y="4254064"/>
                <a:ext cx="266031" cy="256638"/>
              </a:xfrm>
              <a:custGeom>
                <a:avLst/>
                <a:gdLst>
                  <a:gd name="connsiteX0" fmla="*/ 53206 w 266031"/>
                  <a:gd name="connsiteY0" fmla="*/ 256639 h 256638"/>
                  <a:gd name="connsiteX1" fmla="*/ 48097 w 266031"/>
                  <a:gd name="connsiteY1" fmla="*/ 255606 h 256638"/>
                  <a:gd name="connsiteX2" fmla="*/ 39892 w 266031"/>
                  <a:gd name="connsiteY2" fmla="*/ 243324 h 256638"/>
                  <a:gd name="connsiteX3" fmla="*/ 39892 w 266031"/>
                  <a:gd name="connsiteY3" fmla="*/ 212824 h 256638"/>
                  <a:gd name="connsiteX4" fmla="*/ 19946 w 266031"/>
                  <a:gd name="connsiteY4" fmla="*/ 212824 h 256638"/>
                  <a:gd name="connsiteX5" fmla="*/ 0 w 266031"/>
                  <a:gd name="connsiteY5" fmla="*/ 192879 h 256638"/>
                  <a:gd name="connsiteX6" fmla="*/ 0 w 266031"/>
                  <a:gd name="connsiteY6" fmla="*/ 19946 h 256638"/>
                  <a:gd name="connsiteX7" fmla="*/ 19946 w 266031"/>
                  <a:gd name="connsiteY7" fmla="*/ 0 h 256638"/>
                  <a:gd name="connsiteX8" fmla="*/ 246085 w 266031"/>
                  <a:gd name="connsiteY8" fmla="*/ 0 h 256638"/>
                  <a:gd name="connsiteX9" fmla="*/ 266031 w 266031"/>
                  <a:gd name="connsiteY9" fmla="*/ 19946 h 256638"/>
                  <a:gd name="connsiteX10" fmla="*/ 266031 w 266031"/>
                  <a:gd name="connsiteY10" fmla="*/ 192879 h 256638"/>
                  <a:gd name="connsiteX11" fmla="*/ 246085 w 266031"/>
                  <a:gd name="connsiteY11" fmla="*/ 212824 h 256638"/>
                  <a:gd name="connsiteX12" fmla="*/ 102516 w 266031"/>
                  <a:gd name="connsiteY12" fmla="*/ 212824 h 256638"/>
                  <a:gd name="connsiteX13" fmla="*/ 62599 w 266031"/>
                  <a:gd name="connsiteY13" fmla="*/ 252742 h 256638"/>
                  <a:gd name="connsiteX14" fmla="*/ 53206 w 266031"/>
                  <a:gd name="connsiteY14" fmla="*/ 256639 h 256638"/>
                  <a:gd name="connsiteX15" fmla="*/ 19920 w 266031"/>
                  <a:gd name="connsiteY15" fmla="*/ 13263 h 256638"/>
                  <a:gd name="connsiteX16" fmla="*/ 13263 w 266031"/>
                  <a:gd name="connsiteY16" fmla="*/ 19920 h 256638"/>
                  <a:gd name="connsiteX17" fmla="*/ 13263 w 266031"/>
                  <a:gd name="connsiteY17" fmla="*/ 192853 h 256638"/>
                  <a:gd name="connsiteX18" fmla="*/ 19920 w 266031"/>
                  <a:gd name="connsiteY18" fmla="*/ 199510 h 256638"/>
                  <a:gd name="connsiteX19" fmla="*/ 53181 w 266031"/>
                  <a:gd name="connsiteY19" fmla="*/ 199510 h 256638"/>
                  <a:gd name="connsiteX20" fmla="*/ 53181 w 266031"/>
                  <a:gd name="connsiteY20" fmla="*/ 243324 h 256638"/>
                  <a:gd name="connsiteX21" fmla="*/ 96994 w 266031"/>
                  <a:gd name="connsiteY21" fmla="*/ 199510 h 256638"/>
                  <a:gd name="connsiteX22" fmla="*/ 246085 w 266031"/>
                  <a:gd name="connsiteY22" fmla="*/ 199510 h 256638"/>
                  <a:gd name="connsiteX23" fmla="*/ 252742 w 266031"/>
                  <a:gd name="connsiteY23" fmla="*/ 192853 h 256638"/>
                  <a:gd name="connsiteX24" fmla="*/ 252742 w 266031"/>
                  <a:gd name="connsiteY24" fmla="*/ 19920 h 256638"/>
                  <a:gd name="connsiteX25" fmla="*/ 246085 w 266031"/>
                  <a:gd name="connsiteY25" fmla="*/ 13263 h 256638"/>
                  <a:gd name="connsiteX26" fmla="*/ 19920 w 266031"/>
                  <a:gd name="connsiteY26" fmla="*/ 13263 h 25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6031" h="256638">
                    <a:moveTo>
                      <a:pt x="53206" y="256639"/>
                    </a:moveTo>
                    <a:cubicBezTo>
                      <a:pt x="51503" y="256639"/>
                      <a:pt x="49749" y="256303"/>
                      <a:pt x="48097" y="255606"/>
                    </a:cubicBezTo>
                    <a:cubicBezTo>
                      <a:pt x="43117" y="253542"/>
                      <a:pt x="39892" y="248717"/>
                      <a:pt x="39892" y="243324"/>
                    </a:cubicBezTo>
                    <a:lnTo>
                      <a:pt x="39892" y="212824"/>
                    </a:lnTo>
                    <a:lnTo>
                      <a:pt x="19946" y="212824"/>
                    </a:lnTo>
                    <a:cubicBezTo>
                      <a:pt x="8954" y="212824"/>
                      <a:pt x="0" y="203871"/>
                      <a:pt x="0" y="192879"/>
                    </a:cubicBezTo>
                    <a:lnTo>
                      <a:pt x="0" y="19946"/>
                    </a:lnTo>
                    <a:cubicBezTo>
                      <a:pt x="0" y="8954"/>
                      <a:pt x="8954" y="0"/>
                      <a:pt x="19946" y="0"/>
                    </a:cubicBezTo>
                    <a:lnTo>
                      <a:pt x="246085" y="0"/>
                    </a:lnTo>
                    <a:cubicBezTo>
                      <a:pt x="257077" y="0"/>
                      <a:pt x="266031" y="8954"/>
                      <a:pt x="266031" y="19946"/>
                    </a:cubicBezTo>
                    <a:lnTo>
                      <a:pt x="266031" y="192879"/>
                    </a:lnTo>
                    <a:cubicBezTo>
                      <a:pt x="266031" y="203871"/>
                      <a:pt x="257077" y="212824"/>
                      <a:pt x="246085" y="212824"/>
                    </a:cubicBezTo>
                    <a:lnTo>
                      <a:pt x="102516" y="212824"/>
                    </a:lnTo>
                    <a:lnTo>
                      <a:pt x="62599" y="252742"/>
                    </a:lnTo>
                    <a:cubicBezTo>
                      <a:pt x="60044" y="255271"/>
                      <a:pt x="56664" y="256639"/>
                      <a:pt x="53206" y="256639"/>
                    </a:cubicBezTo>
                    <a:close/>
                    <a:moveTo>
                      <a:pt x="19920" y="13263"/>
                    </a:moveTo>
                    <a:cubicBezTo>
                      <a:pt x="16256" y="13263"/>
                      <a:pt x="13263" y="16256"/>
                      <a:pt x="13263" y="19920"/>
                    </a:cubicBezTo>
                    <a:lnTo>
                      <a:pt x="13263" y="192853"/>
                    </a:lnTo>
                    <a:cubicBezTo>
                      <a:pt x="13263" y="196517"/>
                      <a:pt x="16256" y="199510"/>
                      <a:pt x="19920" y="199510"/>
                    </a:cubicBezTo>
                    <a:lnTo>
                      <a:pt x="53181" y="199510"/>
                    </a:lnTo>
                    <a:lnTo>
                      <a:pt x="53181" y="243324"/>
                    </a:lnTo>
                    <a:lnTo>
                      <a:pt x="96994" y="199510"/>
                    </a:lnTo>
                    <a:lnTo>
                      <a:pt x="246085" y="199510"/>
                    </a:lnTo>
                    <a:cubicBezTo>
                      <a:pt x="249749" y="199510"/>
                      <a:pt x="252742" y="196517"/>
                      <a:pt x="252742" y="192853"/>
                    </a:cubicBezTo>
                    <a:lnTo>
                      <a:pt x="252742" y="19920"/>
                    </a:lnTo>
                    <a:cubicBezTo>
                      <a:pt x="252742" y="16256"/>
                      <a:pt x="249749" y="13263"/>
                      <a:pt x="246085" y="13263"/>
                    </a:cubicBezTo>
                    <a:lnTo>
                      <a:pt x="19920" y="13263"/>
                    </a:lnTo>
                    <a:close/>
                  </a:path>
                </a:pathLst>
              </a:custGeom>
              <a:grpFill/>
              <a:ln w="2573" cap="flat">
                <a:noFill/>
                <a:prstDash val="solid"/>
                <a:miter/>
              </a:ln>
            </p:spPr>
            <p:txBody>
              <a:bodyPr rtlCol="0" anchor="ctr"/>
              <a:lstStyle/>
              <a:p>
                <a:endParaRPr lang="en-GB" dirty="0"/>
              </a:p>
            </p:txBody>
          </p:sp>
        </p:grpSp>
      </p:grpSp>
      <p:grpSp>
        <p:nvGrpSpPr>
          <p:cNvPr id="20" name="Group 19">
            <a:extLst>
              <a:ext uri="{FF2B5EF4-FFF2-40B4-BE49-F238E27FC236}">
                <a16:creationId xmlns:a16="http://schemas.microsoft.com/office/drawing/2014/main" id="{71CF34FD-5F04-4579-9BF7-E976B280C5F6}"/>
              </a:ext>
            </a:extLst>
          </p:cNvPr>
          <p:cNvGrpSpPr/>
          <p:nvPr/>
        </p:nvGrpSpPr>
        <p:grpSpPr>
          <a:xfrm>
            <a:off x="7054019" y="1626716"/>
            <a:ext cx="500235" cy="432000"/>
            <a:chOff x="7053607" y="1626716"/>
            <a:chExt cx="500235" cy="432000"/>
          </a:xfrm>
        </p:grpSpPr>
        <p:grpSp>
          <p:nvGrpSpPr>
            <p:cNvPr id="1037" name="Gruppieren 1036">
              <a:extLst>
                <a:ext uri="{FF2B5EF4-FFF2-40B4-BE49-F238E27FC236}">
                  <a16:creationId xmlns:a16="http://schemas.microsoft.com/office/drawing/2014/main" id="{1B8A089D-2730-439F-A248-C5C79AE9600A}"/>
                </a:ext>
              </a:extLst>
            </p:cNvPr>
            <p:cNvGrpSpPr/>
            <p:nvPr/>
          </p:nvGrpSpPr>
          <p:grpSpPr>
            <a:xfrm>
              <a:off x="7099107" y="1626716"/>
              <a:ext cx="409265" cy="432000"/>
              <a:chOff x="7058509" y="1686825"/>
              <a:chExt cx="360432" cy="380455"/>
            </a:xfrm>
          </p:grpSpPr>
          <p:sp>
            <p:nvSpPr>
              <p:cNvPr id="1050" name="Freihandform: Form 1049">
                <a:extLst>
                  <a:ext uri="{FF2B5EF4-FFF2-40B4-BE49-F238E27FC236}">
                    <a16:creationId xmlns:a16="http://schemas.microsoft.com/office/drawing/2014/main" id="{AC6AB128-B559-42C6-A081-CF3E9965EE67}"/>
                  </a:ext>
                </a:extLst>
              </p:cNvPr>
              <p:cNvSpPr/>
              <p:nvPr/>
            </p:nvSpPr>
            <p:spPr>
              <a:xfrm>
                <a:off x="7058509" y="1706848"/>
                <a:ext cx="360432" cy="253645"/>
              </a:xfrm>
              <a:custGeom>
                <a:avLst/>
                <a:gdLst>
                  <a:gd name="connsiteX0" fmla="*/ 333736 w 360432"/>
                  <a:gd name="connsiteY0" fmla="*/ 253645 h 253645"/>
                  <a:gd name="connsiteX1" fmla="*/ 26697 w 360432"/>
                  <a:gd name="connsiteY1" fmla="*/ 253645 h 253645"/>
                  <a:gd name="connsiteX2" fmla="*/ 0 w 360432"/>
                  <a:gd name="connsiteY2" fmla="*/ 226949 h 253645"/>
                  <a:gd name="connsiteX3" fmla="*/ 0 w 360432"/>
                  <a:gd name="connsiteY3" fmla="*/ 26697 h 253645"/>
                  <a:gd name="connsiteX4" fmla="*/ 26697 w 360432"/>
                  <a:gd name="connsiteY4" fmla="*/ 0 h 253645"/>
                  <a:gd name="connsiteX5" fmla="*/ 333736 w 360432"/>
                  <a:gd name="connsiteY5" fmla="*/ 0 h 253645"/>
                  <a:gd name="connsiteX6" fmla="*/ 360433 w 360432"/>
                  <a:gd name="connsiteY6" fmla="*/ 26697 h 253645"/>
                  <a:gd name="connsiteX7" fmla="*/ 360433 w 360432"/>
                  <a:gd name="connsiteY7" fmla="*/ 226949 h 253645"/>
                  <a:gd name="connsiteX8" fmla="*/ 333736 w 360432"/>
                  <a:gd name="connsiteY8" fmla="*/ 253645 h 253645"/>
                  <a:gd name="connsiteX9" fmla="*/ 26697 w 360432"/>
                  <a:gd name="connsiteY9" fmla="*/ 13348 h 253645"/>
                  <a:gd name="connsiteX10" fmla="*/ 13348 w 360432"/>
                  <a:gd name="connsiteY10" fmla="*/ 26697 h 253645"/>
                  <a:gd name="connsiteX11" fmla="*/ 13348 w 360432"/>
                  <a:gd name="connsiteY11" fmla="*/ 226949 h 253645"/>
                  <a:gd name="connsiteX12" fmla="*/ 26697 w 360432"/>
                  <a:gd name="connsiteY12" fmla="*/ 240297 h 253645"/>
                  <a:gd name="connsiteX13" fmla="*/ 333736 w 360432"/>
                  <a:gd name="connsiteY13" fmla="*/ 240297 h 253645"/>
                  <a:gd name="connsiteX14" fmla="*/ 347084 w 360432"/>
                  <a:gd name="connsiteY14" fmla="*/ 226949 h 253645"/>
                  <a:gd name="connsiteX15" fmla="*/ 347084 w 360432"/>
                  <a:gd name="connsiteY15" fmla="*/ 26697 h 253645"/>
                  <a:gd name="connsiteX16" fmla="*/ 333736 w 360432"/>
                  <a:gd name="connsiteY16" fmla="*/ 13348 h 253645"/>
                  <a:gd name="connsiteX17" fmla="*/ 26697 w 360432"/>
                  <a:gd name="connsiteY17" fmla="*/ 13348 h 25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0432" h="253645">
                    <a:moveTo>
                      <a:pt x="333736" y="253645"/>
                    </a:moveTo>
                    <a:lnTo>
                      <a:pt x="26697" y="253645"/>
                    </a:lnTo>
                    <a:cubicBezTo>
                      <a:pt x="11968" y="253645"/>
                      <a:pt x="0" y="241678"/>
                      <a:pt x="0" y="226949"/>
                    </a:cubicBezTo>
                    <a:lnTo>
                      <a:pt x="0" y="26697"/>
                    </a:lnTo>
                    <a:cubicBezTo>
                      <a:pt x="0" y="11968"/>
                      <a:pt x="11968" y="0"/>
                      <a:pt x="26697" y="0"/>
                    </a:cubicBezTo>
                    <a:lnTo>
                      <a:pt x="333736" y="0"/>
                    </a:lnTo>
                    <a:cubicBezTo>
                      <a:pt x="348465" y="0"/>
                      <a:pt x="360433" y="11968"/>
                      <a:pt x="360433" y="26697"/>
                    </a:cubicBezTo>
                    <a:lnTo>
                      <a:pt x="360433" y="226949"/>
                    </a:lnTo>
                    <a:cubicBezTo>
                      <a:pt x="360433" y="241678"/>
                      <a:pt x="348440" y="253645"/>
                      <a:pt x="333736" y="253645"/>
                    </a:cubicBezTo>
                    <a:close/>
                    <a:moveTo>
                      <a:pt x="26697" y="13348"/>
                    </a:moveTo>
                    <a:cubicBezTo>
                      <a:pt x="19332" y="13348"/>
                      <a:pt x="13348" y="19332"/>
                      <a:pt x="13348" y="26697"/>
                    </a:cubicBezTo>
                    <a:lnTo>
                      <a:pt x="13348" y="226949"/>
                    </a:lnTo>
                    <a:cubicBezTo>
                      <a:pt x="13348" y="234313"/>
                      <a:pt x="19332" y="240297"/>
                      <a:pt x="26697" y="240297"/>
                    </a:cubicBezTo>
                    <a:lnTo>
                      <a:pt x="333736" y="240297"/>
                    </a:lnTo>
                    <a:cubicBezTo>
                      <a:pt x="341100" y="240297"/>
                      <a:pt x="347084" y="234313"/>
                      <a:pt x="347084" y="226949"/>
                    </a:cubicBezTo>
                    <a:lnTo>
                      <a:pt x="347084" y="26697"/>
                    </a:lnTo>
                    <a:cubicBezTo>
                      <a:pt x="347084" y="19332"/>
                      <a:pt x="341100" y="13348"/>
                      <a:pt x="333736" y="13348"/>
                    </a:cubicBezTo>
                    <a:lnTo>
                      <a:pt x="26697" y="13348"/>
                    </a:lnTo>
                    <a:close/>
                  </a:path>
                </a:pathLst>
              </a:custGeom>
              <a:solidFill>
                <a:schemeClr val="tx2"/>
              </a:solidFill>
              <a:ln w="2553" cap="flat">
                <a:noFill/>
                <a:prstDash val="solid"/>
                <a:miter/>
              </a:ln>
            </p:spPr>
            <p:txBody>
              <a:bodyPr rtlCol="0" anchor="ctr"/>
              <a:lstStyle/>
              <a:p>
                <a:endParaRPr lang="en-GB" dirty="0"/>
              </a:p>
            </p:txBody>
          </p:sp>
          <p:sp>
            <p:nvSpPr>
              <p:cNvPr id="1051" name="Freihandform: Form 1050">
                <a:extLst>
                  <a:ext uri="{FF2B5EF4-FFF2-40B4-BE49-F238E27FC236}">
                    <a16:creationId xmlns:a16="http://schemas.microsoft.com/office/drawing/2014/main" id="{E37FF61C-ED25-4A94-9EB7-DB5CA3DC495E}"/>
                  </a:ext>
                </a:extLst>
              </p:cNvPr>
              <p:cNvSpPr/>
              <p:nvPr/>
            </p:nvSpPr>
            <p:spPr>
              <a:xfrm>
                <a:off x="7232039" y="1947145"/>
                <a:ext cx="13348" cy="120135"/>
              </a:xfrm>
              <a:custGeom>
                <a:avLst/>
                <a:gdLst>
                  <a:gd name="connsiteX0" fmla="*/ 6674 w 13348"/>
                  <a:gd name="connsiteY0" fmla="*/ 120136 h 120135"/>
                  <a:gd name="connsiteX1" fmla="*/ 0 w 13348"/>
                  <a:gd name="connsiteY1" fmla="*/ 113462 h 120135"/>
                  <a:gd name="connsiteX2" fmla="*/ 0 w 13348"/>
                  <a:gd name="connsiteY2" fmla="*/ 6674 h 120135"/>
                  <a:gd name="connsiteX3" fmla="*/ 6674 w 13348"/>
                  <a:gd name="connsiteY3" fmla="*/ 0 h 120135"/>
                  <a:gd name="connsiteX4" fmla="*/ 13348 w 13348"/>
                  <a:gd name="connsiteY4" fmla="*/ 6674 h 120135"/>
                  <a:gd name="connsiteX5" fmla="*/ 13348 w 13348"/>
                  <a:gd name="connsiteY5" fmla="*/ 113462 h 120135"/>
                  <a:gd name="connsiteX6" fmla="*/ 6674 w 13348"/>
                  <a:gd name="connsiteY6" fmla="*/ 120136 h 12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120135">
                    <a:moveTo>
                      <a:pt x="6674" y="120136"/>
                    </a:moveTo>
                    <a:cubicBezTo>
                      <a:pt x="2992" y="120136"/>
                      <a:pt x="0" y="117144"/>
                      <a:pt x="0" y="113462"/>
                    </a:cubicBezTo>
                    <a:lnTo>
                      <a:pt x="0" y="6674"/>
                    </a:lnTo>
                    <a:cubicBezTo>
                      <a:pt x="0" y="2992"/>
                      <a:pt x="2992" y="0"/>
                      <a:pt x="6674" y="0"/>
                    </a:cubicBezTo>
                    <a:cubicBezTo>
                      <a:pt x="10356" y="0"/>
                      <a:pt x="13348" y="2992"/>
                      <a:pt x="13348" y="6674"/>
                    </a:cubicBezTo>
                    <a:lnTo>
                      <a:pt x="13348" y="113462"/>
                    </a:lnTo>
                    <a:cubicBezTo>
                      <a:pt x="13348" y="117169"/>
                      <a:pt x="10356" y="120136"/>
                      <a:pt x="6674" y="120136"/>
                    </a:cubicBezTo>
                    <a:close/>
                  </a:path>
                </a:pathLst>
              </a:custGeom>
              <a:solidFill>
                <a:schemeClr val="tx2"/>
              </a:solidFill>
              <a:ln w="2553" cap="flat">
                <a:noFill/>
                <a:prstDash val="solid"/>
                <a:miter/>
              </a:ln>
            </p:spPr>
            <p:txBody>
              <a:bodyPr rtlCol="0" anchor="ctr"/>
              <a:lstStyle/>
              <a:p>
                <a:endParaRPr lang="en-GB" dirty="0"/>
              </a:p>
            </p:txBody>
          </p:sp>
          <p:sp>
            <p:nvSpPr>
              <p:cNvPr id="1052" name="Freihandform: Form 1051">
                <a:extLst>
                  <a:ext uri="{FF2B5EF4-FFF2-40B4-BE49-F238E27FC236}">
                    <a16:creationId xmlns:a16="http://schemas.microsoft.com/office/drawing/2014/main" id="{C7F15EBC-CA6F-465C-B64C-32AE5B062F26}"/>
                  </a:ext>
                </a:extLst>
              </p:cNvPr>
              <p:cNvSpPr/>
              <p:nvPr/>
            </p:nvSpPr>
            <p:spPr>
              <a:xfrm>
                <a:off x="7272091" y="1947153"/>
                <a:ext cx="73401" cy="120127"/>
              </a:xfrm>
              <a:custGeom>
                <a:avLst/>
                <a:gdLst>
                  <a:gd name="connsiteX0" fmla="*/ 66760 w 73401"/>
                  <a:gd name="connsiteY0" fmla="*/ 120127 h 120127"/>
                  <a:gd name="connsiteX1" fmla="*/ 60930 w 73401"/>
                  <a:gd name="connsiteY1" fmla="*/ 116726 h 120127"/>
                  <a:gd name="connsiteX2" fmla="*/ 862 w 73401"/>
                  <a:gd name="connsiteY2" fmla="*/ 9939 h 120127"/>
                  <a:gd name="connsiteX3" fmla="*/ 3394 w 73401"/>
                  <a:gd name="connsiteY3" fmla="*/ 861 h 120127"/>
                  <a:gd name="connsiteX4" fmla="*/ 12471 w 73401"/>
                  <a:gd name="connsiteY4" fmla="*/ 3418 h 120127"/>
                  <a:gd name="connsiteX5" fmla="*/ 72539 w 73401"/>
                  <a:gd name="connsiteY5" fmla="*/ 110206 h 120127"/>
                  <a:gd name="connsiteX6" fmla="*/ 70008 w 73401"/>
                  <a:gd name="connsiteY6" fmla="*/ 119283 h 120127"/>
                  <a:gd name="connsiteX7" fmla="*/ 66760 w 73401"/>
                  <a:gd name="connsiteY7" fmla="*/ 120127 h 12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401" h="120127">
                    <a:moveTo>
                      <a:pt x="66760" y="120127"/>
                    </a:moveTo>
                    <a:cubicBezTo>
                      <a:pt x="64433" y="120127"/>
                      <a:pt x="62157" y="118900"/>
                      <a:pt x="60930" y="116726"/>
                    </a:cubicBezTo>
                    <a:lnTo>
                      <a:pt x="862" y="9939"/>
                    </a:lnTo>
                    <a:cubicBezTo>
                      <a:pt x="-954" y="6717"/>
                      <a:pt x="197" y="2651"/>
                      <a:pt x="3394" y="861"/>
                    </a:cubicBezTo>
                    <a:cubicBezTo>
                      <a:pt x="6616" y="-955"/>
                      <a:pt x="10656" y="196"/>
                      <a:pt x="12471" y="3418"/>
                    </a:cubicBezTo>
                    <a:lnTo>
                      <a:pt x="72539" y="110206"/>
                    </a:lnTo>
                    <a:cubicBezTo>
                      <a:pt x="74355" y="113428"/>
                      <a:pt x="73204" y="117493"/>
                      <a:pt x="70008" y="119283"/>
                    </a:cubicBezTo>
                    <a:cubicBezTo>
                      <a:pt x="68985" y="119872"/>
                      <a:pt x="67860" y="120127"/>
                      <a:pt x="66760" y="120127"/>
                    </a:cubicBezTo>
                    <a:close/>
                  </a:path>
                </a:pathLst>
              </a:custGeom>
              <a:solidFill>
                <a:schemeClr val="tx2"/>
              </a:solidFill>
              <a:ln w="2553" cap="flat">
                <a:noFill/>
                <a:prstDash val="solid"/>
                <a:miter/>
              </a:ln>
            </p:spPr>
            <p:txBody>
              <a:bodyPr rtlCol="0" anchor="ctr"/>
              <a:lstStyle/>
              <a:p>
                <a:endParaRPr lang="en-GB" dirty="0"/>
              </a:p>
            </p:txBody>
          </p:sp>
          <p:sp>
            <p:nvSpPr>
              <p:cNvPr id="1053" name="Freihandform: Form 1052">
                <a:extLst>
                  <a:ext uri="{FF2B5EF4-FFF2-40B4-BE49-F238E27FC236}">
                    <a16:creationId xmlns:a16="http://schemas.microsoft.com/office/drawing/2014/main" id="{1D4B6ADD-C5C9-4C17-81AB-A6DD27D055CC}"/>
                  </a:ext>
                </a:extLst>
              </p:cNvPr>
              <p:cNvSpPr/>
              <p:nvPr/>
            </p:nvSpPr>
            <p:spPr>
              <a:xfrm>
                <a:off x="7131902" y="1947128"/>
                <a:ext cx="73412" cy="120152"/>
              </a:xfrm>
              <a:custGeom>
                <a:avLst/>
                <a:gdLst>
                  <a:gd name="connsiteX0" fmla="*/ 6672 w 73412"/>
                  <a:gd name="connsiteY0" fmla="*/ 120153 h 120152"/>
                  <a:gd name="connsiteX1" fmla="*/ 3399 w 73412"/>
                  <a:gd name="connsiteY1" fmla="*/ 119283 h 120152"/>
                  <a:gd name="connsiteX2" fmla="*/ 867 w 73412"/>
                  <a:gd name="connsiteY2" fmla="*/ 110206 h 120152"/>
                  <a:gd name="connsiteX3" fmla="*/ 60935 w 73412"/>
                  <a:gd name="connsiteY3" fmla="*/ 3418 h 120152"/>
                  <a:gd name="connsiteX4" fmla="*/ 70013 w 73412"/>
                  <a:gd name="connsiteY4" fmla="*/ 861 h 120152"/>
                  <a:gd name="connsiteX5" fmla="*/ 72545 w 73412"/>
                  <a:gd name="connsiteY5" fmla="*/ 9939 h 120152"/>
                  <a:gd name="connsiteX6" fmla="*/ 12477 w 73412"/>
                  <a:gd name="connsiteY6" fmla="*/ 116726 h 120152"/>
                  <a:gd name="connsiteX7" fmla="*/ 6672 w 73412"/>
                  <a:gd name="connsiteY7" fmla="*/ 120153 h 12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412" h="120152">
                    <a:moveTo>
                      <a:pt x="6672" y="120153"/>
                    </a:moveTo>
                    <a:cubicBezTo>
                      <a:pt x="5573" y="120153"/>
                      <a:pt x="4447" y="119872"/>
                      <a:pt x="3399" y="119283"/>
                    </a:cubicBezTo>
                    <a:cubicBezTo>
                      <a:pt x="177" y="117468"/>
                      <a:pt x="-948" y="113402"/>
                      <a:pt x="867" y="110206"/>
                    </a:cubicBezTo>
                    <a:lnTo>
                      <a:pt x="60935" y="3418"/>
                    </a:lnTo>
                    <a:cubicBezTo>
                      <a:pt x="62725" y="196"/>
                      <a:pt x="66791" y="-955"/>
                      <a:pt x="70013" y="861"/>
                    </a:cubicBezTo>
                    <a:cubicBezTo>
                      <a:pt x="73235" y="2677"/>
                      <a:pt x="74360" y="6743"/>
                      <a:pt x="72545" y="9939"/>
                    </a:cubicBezTo>
                    <a:lnTo>
                      <a:pt x="12477" y="116726"/>
                    </a:lnTo>
                    <a:cubicBezTo>
                      <a:pt x="11275" y="118951"/>
                      <a:pt x="9025" y="120153"/>
                      <a:pt x="6672" y="120153"/>
                    </a:cubicBezTo>
                    <a:close/>
                  </a:path>
                </a:pathLst>
              </a:custGeom>
              <a:solidFill>
                <a:schemeClr val="tx2"/>
              </a:solidFill>
              <a:ln w="2553" cap="flat">
                <a:noFill/>
                <a:prstDash val="solid"/>
                <a:miter/>
              </a:ln>
            </p:spPr>
            <p:txBody>
              <a:bodyPr rtlCol="0" anchor="ctr"/>
              <a:lstStyle/>
              <a:p>
                <a:endParaRPr lang="en-GB" dirty="0"/>
              </a:p>
            </p:txBody>
          </p:sp>
          <p:sp>
            <p:nvSpPr>
              <p:cNvPr id="1054" name="Freihandform: Form 1053">
                <a:extLst>
                  <a:ext uri="{FF2B5EF4-FFF2-40B4-BE49-F238E27FC236}">
                    <a16:creationId xmlns:a16="http://schemas.microsoft.com/office/drawing/2014/main" id="{F4F97CD0-BAF6-48AD-AD85-0B67B8698920}"/>
                  </a:ext>
                </a:extLst>
              </p:cNvPr>
              <p:cNvSpPr/>
              <p:nvPr/>
            </p:nvSpPr>
            <p:spPr>
              <a:xfrm>
                <a:off x="7232039" y="1686825"/>
                <a:ext cx="13348" cy="33371"/>
              </a:xfrm>
              <a:custGeom>
                <a:avLst/>
                <a:gdLst>
                  <a:gd name="connsiteX0" fmla="*/ 6674 w 13348"/>
                  <a:gd name="connsiteY0" fmla="*/ 33371 h 33371"/>
                  <a:gd name="connsiteX1" fmla="*/ 0 w 13348"/>
                  <a:gd name="connsiteY1" fmla="*/ 26697 h 33371"/>
                  <a:gd name="connsiteX2" fmla="*/ 0 w 13348"/>
                  <a:gd name="connsiteY2" fmla="*/ 6674 h 33371"/>
                  <a:gd name="connsiteX3" fmla="*/ 6674 w 13348"/>
                  <a:gd name="connsiteY3" fmla="*/ 0 h 33371"/>
                  <a:gd name="connsiteX4" fmla="*/ 13348 w 13348"/>
                  <a:gd name="connsiteY4" fmla="*/ 6674 h 33371"/>
                  <a:gd name="connsiteX5" fmla="*/ 13348 w 13348"/>
                  <a:gd name="connsiteY5" fmla="*/ 26697 h 33371"/>
                  <a:gd name="connsiteX6" fmla="*/ 6674 w 13348"/>
                  <a:gd name="connsiteY6" fmla="*/ 33371 h 33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33371">
                    <a:moveTo>
                      <a:pt x="6674" y="33371"/>
                    </a:moveTo>
                    <a:cubicBezTo>
                      <a:pt x="2992" y="33371"/>
                      <a:pt x="0" y="30379"/>
                      <a:pt x="0" y="26697"/>
                    </a:cubicBezTo>
                    <a:lnTo>
                      <a:pt x="0" y="6674"/>
                    </a:lnTo>
                    <a:cubicBezTo>
                      <a:pt x="0" y="2992"/>
                      <a:pt x="2992" y="0"/>
                      <a:pt x="6674" y="0"/>
                    </a:cubicBezTo>
                    <a:cubicBezTo>
                      <a:pt x="10356" y="0"/>
                      <a:pt x="13348" y="2992"/>
                      <a:pt x="13348" y="6674"/>
                    </a:cubicBezTo>
                    <a:lnTo>
                      <a:pt x="13348" y="26697"/>
                    </a:lnTo>
                    <a:cubicBezTo>
                      <a:pt x="13348" y="30379"/>
                      <a:pt x="10356" y="33371"/>
                      <a:pt x="6674" y="33371"/>
                    </a:cubicBezTo>
                    <a:close/>
                  </a:path>
                </a:pathLst>
              </a:custGeom>
              <a:solidFill>
                <a:schemeClr val="tx2"/>
              </a:solidFill>
              <a:ln w="2553" cap="flat">
                <a:noFill/>
                <a:prstDash val="solid"/>
                <a:miter/>
              </a:ln>
            </p:spPr>
            <p:txBody>
              <a:bodyPr rtlCol="0" anchor="ctr"/>
              <a:lstStyle/>
              <a:p>
                <a:endParaRPr lang="en-GB" dirty="0"/>
              </a:p>
            </p:txBody>
          </p:sp>
        </p:grpSp>
        <p:grpSp>
          <p:nvGrpSpPr>
            <p:cNvPr id="1038" name="Gruppieren 1037">
              <a:extLst>
                <a:ext uri="{FF2B5EF4-FFF2-40B4-BE49-F238E27FC236}">
                  <a16:creationId xmlns:a16="http://schemas.microsoft.com/office/drawing/2014/main" id="{A0218320-A5B8-4735-91A4-7054F8140695}"/>
                </a:ext>
              </a:extLst>
            </p:cNvPr>
            <p:cNvGrpSpPr/>
            <p:nvPr/>
          </p:nvGrpSpPr>
          <p:grpSpPr>
            <a:xfrm>
              <a:off x="7053607" y="1672188"/>
              <a:ext cx="500235" cy="242539"/>
              <a:chOff x="7018438" y="1726871"/>
              <a:chExt cx="440548" cy="213600"/>
            </a:xfrm>
          </p:grpSpPr>
          <p:sp>
            <p:nvSpPr>
              <p:cNvPr id="1039" name="Freihandform: Form 1038">
                <a:extLst>
                  <a:ext uri="{FF2B5EF4-FFF2-40B4-BE49-F238E27FC236}">
                    <a16:creationId xmlns:a16="http://schemas.microsoft.com/office/drawing/2014/main" id="{BC88E07B-EEE7-4EBF-AA7D-00465DC013AB}"/>
                  </a:ext>
                </a:extLst>
              </p:cNvPr>
              <p:cNvSpPr/>
              <p:nvPr/>
            </p:nvSpPr>
            <p:spPr>
              <a:xfrm>
                <a:off x="7432290" y="1726871"/>
                <a:ext cx="26696" cy="213600"/>
              </a:xfrm>
              <a:custGeom>
                <a:avLst/>
                <a:gdLst>
                  <a:gd name="connsiteX0" fmla="*/ 6674 w 26696"/>
                  <a:gd name="connsiteY0" fmla="*/ 213600 h 213600"/>
                  <a:gd name="connsiteX1" fmla="*/ 0 w 26696"/>
                  <a:gd name="connsiteY1" fmla="*/ 206926 h 213600"/>
                  <a:gd name="connsiteX2" fmla="*/ 6674 w 26696"/>
                  <a:gd name="connsiteY2" fmla="*/ 200252 h 213600"/>
                  <a:gd name="connsiteX3" fmla="*/ 13348 w 26696"/>
                  <a:gd name="connsiteY3" fmla="*/ 193578 h 213600"/>
                  <a:gd name="connsiteX4" fmla="*/ 13348 w 26696"/>
                  <a:gd name="connsiteY4" fmla="*/ 20023 h 213600"/>
                  <a:gd name="connsiteX5" fmla="*/ 6674 w 26696"/>
                  <a:gd name="connsiteY5" fmla="*/ 13348 h 213600"/>
                  <a:gd name="connsiteX6" fmla="*/ 0 w 26696"/>
                  <a:gd name="connsiteY6" fmla="*/ 6674 h 213600"/>
                  <a:gd name="connsiteX7" fmla="*/ 6674 w 26696"/>
                  <a:gd name="connsiteY7" fmla="*/ 0 h 213600"/>
                  <a:gd name="connsiteX8" fmla="*/ 26697 w 26696"/>
                  <a:gd name="connsiteY8" fmla="*/ 20023 h 213600"/>
                  <a:gd name="connsiteX9" fmla="*/ 26697 w 26696"/>
                  <a:gd name="connsiteY9" fmla="*/ 193578 h 213600"/>
                  <a:gd name="connsiteX10" fmla="*/ 6674 w 26696"/>
                  <a:gd name="connsiteY10" fmla="*/ 213600 h 2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96" h="213600">
                    <a:moveTo>
                      <a:pt x="6674" y="213600"/>
                    </a:moveTo>
                    <a:cubicBezTo>
                      <a:pt x="2992" y="213600"/>
                      <a:pt x="0" y="210608"/>
                      <a:pt x="0" y="206926"/>
                    </a:cubicBezTo>
                    <a:cubicBezTo>
                      <a:pt x="0" y="203244"/>
                      <a:pt x="2992" y="200252"/>
                      <a:pt x="6674" y="200252"/>
                    </a:cubicBezTo>
                    <a:cubicBezTo>
                      <a:pt x="10356" y="200252"/>
                      <a:pt x="13348" y="197260"/>
                      <a:pt x="13348" y="193578"/>
                    </a:cubicBezTo>
                    <a:lnTo>
                      <a:pt x="13348" y="20023"/>
                    </a:lnTo>
                    <a:cubicBezTo>
                      <a:pt x="13348" y="16340"/>
                      <a:pt x="10356" y="13348"/>
                      <a:pt x="6674" y="13348"/>
                    </a:cubicBezTo>
                    <a:cubicBezTo>
                      <a:pt x="2992" y="13348"/>
                      <a:pt x="0" y="10357"/>
                      <a:pt x="0" y="6674"/>
                    </a:cubicBezTo>
                    <a:cubicBezTo>
                      <a:pt x="0" y="2992"/>
                      <a:pt x="2992" y="0"/>
                      <a:pt x="6674" y="0"/>
                    </a:cubicBezTo>
                    <a:cubicBezTo>
                      <a:pt x="17721" y="0"/>
                      <a:pt x="26697" y="8976"/>
                      <a:pt x="26697" y="20023"/>
                    </a:cubicBezTo>
                    <a:lnTo>
                      <a:pt x="26697" y="193578"/>
                    </a:lnTo>
                    <a:cubicBezTo>
                      <a:pt x="26697" y="204625"/>
                      <a:pt x="17721" y="213600"/>
                      <a:pt x="6674" y="213600"/>
                    </a:cubicBezTo>
                    <a:close/>
                  </a:path>
                </a:pathLst>
              </a:custGeom>
              <a:solidFill>
                <a:schemeClr val="accent1"/>
              </a:solidFill>
              <a:ln w="2553" cap="flat">
                <a:noFill/>
                <a:prstDash val="solid"/>
                <a:miter/>
              </a:ln>
            </p:spPr>
            <p:txBody>
              <a:bodyPr rtlCol="0" anchor="ctr"/>
              <a:lstStyle/>
              <a:p>
                <a:endParaRPr lang="en-GB" dirty="0"/>
              </a:p>
            </p:txBody>
          </p:sp>
          <p:sp>
            <p:nvSpPr>
              <p:cNvPr id="1040" name="Freihandform: Form 1039">
                <a:extLst>
                  <a:ext uri="{FF2B5EF4-FFF2-40B4-BE49-F238E27FC236}">
                    <a16:creationId xmlns:a16="http://schemas.microsoft.com/office/drawing/2014/main" id="{CC800226-BC25-4ADA-B4DA-E92F6A0BBA04}"/>
                  </a:ext>
                </a:extLst>
              </p:cNvPr>
              <p:cNvSpPr/>
              <p:nvPr/>
            </p:nvSpPr>
            <p:spPr>
              <a:xfrm>
                <a:off x="7018438" y="1726871"/>
                <a:ext cx="26696" cy="213600"/>
              </a:xfrm>
              <a:custGeom>
                <a:avLst/>
                <a:gdLst>
                  <a:gd name="connsiteX0" fmla="*/ 20023 w 26696"/>
                  <a:gd name="connsiteY0" fmla="*/ 213600 h 213600"/>
                  <a:gd name="connsiteX1" fmla="*/ 0 w 26696"/>
                  <a:gd name="connsiteY1" fmla="*/ 193578 h 213600"/>
                  <a:gd name="connsiteX2" fmla="*/ 0 w 26696"/>
                  <a:gd name="connsiteY2" fmla="*/ 20023 h 213600"/>
                  <a:gd name="connsiteX3" fmla="*/ 20023 w 26696"/>
                  <a:gd name="connsiteY3" fmla="*/ 0 h 213600"/>
                  <a:gd name="connsiteX4" fmla="*/ 26697 w 26696"/>
                  <a:gd name="connsiteY4" fmla="*/ 6674 h 213600"/>
                  <a:gd name="connsiteX5" fmla="*/ 20023 w 26696"/>
                  <a:gd name="connsiteY5" fmla="*/ 13348 h 213600"/>
                  <a:gd name="connsiteX6" fmla="*/ 13348 w 26696"/>
                  <a:gd name="connsiteY6" fmla="*/ 20023 h 213600"/>
                  <a:gd name="connsiteX7" fmla="*/ 13348 w 26696"/>
                  <a:gd name="connsiteY7" fmla="*/ 193578 h 213600"/>
                  <a:gd name="connsiteX8" fmla="*/ 20023 w 26696"/>
                  <a:gd name="connsiteY8" fmla="*/ 200252 h 213600"/>
                  <a:gd name="connsiteX9" fmla="*/ 26697 w 26696"/>
                  <a:gd name="connsiteY9" fmla="*/ 206926 h 213600"/>
                  <a:gd name="connsiteX10" fmla="*/ 20023 w 26696"/>
                  <a:gd name="connsiteY10" fmla="*/ 213600 h 21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96" h="213600">
                    <a:moveTo>
                      <a:pt x="20023" y="213600"/>
                    </a:moveTo>
                    <a:cubicBezTo>
                      <a:pt x="8976" y="213600"/>
                      <a:pt x="0" y="204625"/>
                      <a:pt x="0" y="193578"/>
                    </a:cubicBezTo>
                    <a:lnTo>
                      <a:pt x="0" y="20023"/>
                    </a:lnTo>
                    <a:cubicBezTo>
                      <a:pt x="0" y="8976"/>
                      <a:pt x="8976" y="0"/>
                      <a:pt x="20023" y="0"/>
                    </a:cubicBezTo>
                    <a:cubicBezTo>
                      <a:pt x="23705" y="0"/>
                      <a:pt x="26697" y="2992"/>
                      <a:pt x="26697" y="6674"/>
                    </a:cubicBezTo>
                    <a:cubicBezTo>
                      <a:pt x="26697" y="10357"/>
                      <a:pt x="23705" y="13348"/>
                      <a:pt x="20023" y="13348"/>
                    </a:cubicBezTo>
                    <a:cubicBezTo>
                      <a:pt x="16340" y="13348"/>
                      <a:pt x="13348" y="16340"/>
                      <a:pt x="13348" y="20023"/>
                    </a:cubicBezTo>
                    <a:lnTo>
                      <a:pt x="13348" y="193578"/>
                    </a:lnTo>
                    <a:cubicBezTo>
                      <a:pt x="13348" y="197260"/>
                      <a:pt x="16340" y="200252"/>
                      <a:pt x="20023" y="200252"/>
                    </a:cubicBezTo>
                    <a:cubicBezTo>
                      <a:pt x="23705" y="200252"/>
                      <a:pt x="26697" y="203244"/>
                      <a:pt x="26697" y="206926"/>
                    </a:cubicBezTo>
                    <a:cubicBezTo>
                      <a:pt x="26697" y="210608"/>
                      <a:pt x="23731" y="213600"/>
                      <a:pt x="20023" y="213600"/>
                    </a:cubicBezTo>
                    <a:close/>
                  </a:path>
                </a:pathLst>
              </a:custGeom>
              <a:solidFill>
                <a:schemeClr val="accent1"/>
              </a:solidFill>
              <a:ln w="2553" cap="flat">
                <a:noFill/>
                <a:prstDash val="solid"/>
                <a:miter/>
              </a:ln>
            </p:spPr>
            <p:txBody>
              <a:bodyPr rtlCol="0" anchor="ctr"/>
              <a:lstStyle/>
              <a:p>
                <a:endParaRPr lang="en-GB" dirty="0"/>
              </a:p>
            </p:txBody>
          </p:sp>
          <p:sp>
            <p:nvSpPr>
              <p:cNvPr id="1041" name="Freihandform: Form 1040">
                <a:extLst>
                  <a:ext uri="{FF2B5EF4-FFF2-40B4-BE49-F238E27FC236}">
                    <a16:creationId xmlns:a16="http://schemas.microsoft.com/office/drawing/2014/main" id="{77563BFE-B99C-4C0E-8BA3-8ED56F5B92A2}"/>
                  </a:ext>
                </a:extLst>
              </p:cNvPr>
              <p:cNvSpPr/>
              <p:nvPr/>
            </p:nvSpPr>
            <p:spPr>
              <a:xfrm>
                <a:off x="7098554" y="1746919"/>
                <a:ext cx="40045" cy="40045"/>
              </a:xfrm>
              <a:custGeom>
                <a:avLst/>
                <a:gdLst>
                  <a:gd name="connsiteX0" fmla="*/ 20023 w 40045"/>
                  <a:gd name="connsiteY0" fmla="*/ 40045 h 40045"/>
                  <a:gd name="connsiteX1" fmla="*/ 0 w 40045"/>
                  <a:gd name="connsiteY1" fmla="*/ 20023 h 40045"/>
                  <a:gd name="connsiteX2" fmla="*/ 20023 w 40045"/>
                  <a:gd name="connsiteY2" fmla="*/ 0 h 40045"/>
                  <a:gd name="connsiteX3" fmla="*/ 40045 w 40045"/>
                  <a:gd name="connsiteY3" fmla="*/ 20023 h 40045"/>
                  <a:gd name="connsiteX4" fmla="*/ 20023 w 40045"/>
                  <a:gd name="connsiteY4" fmla="*/ 40045 h 40045"/>
                  <a:gd name="connsiteX5" fmla="*/ 20023 w 40045"/>
                  <a:gd name="connsiteY5" fmla="*/ 13323 h 40045"/>
                  <a:gd name="connsiteX6" fmla="*/ 13348 w 40045"/>
                  <a:gd name="connsiteY6" fmla="*/ 19997 h 40045"/>
                  <a:gd name="connsiteX7" fmla="*/ 20023 w 40045"/>
                  <a:gd name="connsiteY7" fmla="*/ 26671 h 40045"/>
                  <a:gd name="connsiteX8" fmla="*/ 26697 w 40045"/>
                  <a:gd name="connsiteY8" fmla="*/ 19997 h 40045"/>
                  <a:gd name="connsiteX9" fmla="*/ 20023 w 40045"/>
                  <a:gd name="connsiteY9" fmla="*/ 13323 h 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45" h="40045">
                    <a:moveTo>
                      <a:pt x="20023" y="40045"/>
                    </a:moveTo>
                    <a:cubicBezTo>
                      <a:pt x="8976" y="40045"/>
                      <a:pt x="0" y="31070"/>
                      <a:pt x="0" y="20023"/>
                    </a:cubicBezTo>
                    <a:cubicBezTo>
                      <a:pt x="0" y="8976"/>
                      <a:pt x="8976" y="0"/>
                      <a:pt x="20023" y="0"/>
                    </a:cubicBezTo>
                    <a:cubicBezTo>
                      <a:pt x="31070" y="0"/>
                      <a:pt x="40045" y="8976"/>
                      <a:pt x="40045" y="20023"/>
                    </a:cubicBezTo>
                    <a:cubicBezTo>
                      <a:pt x="40045" y="31070"/>
                      <a:pt x="31044" y="40045"/>
                      <a:pt x="20023" y="40045"/>
                    </a:cubicBezTo>
                    <a:close/>
                    <a:moveTo>
                      <a:pt x="20023" y="13323"/>
                    </a:moveTo>
                    <a:cubicBezTo>
                      <a:pt x="16340" y="13323"/>
                      <a:pt x="13348" y="16315"/>
                      <a:pt x="13348" y="19997"/>
                    </a:cubicBezTo>
                    <a:cubicBezTo>
                      <a:pt x="13348" y="23679"/>
                      <a:pt x="16340" y="26671"/>
                      <a:pt x="20023" y="26671"/>
                    </a:cubicBezTo>
                    <a:cubicBezTo>
                      <a:pt x="23705" y="26671"/>
                      <a:pt x="26697" y="23679"/>
                      <a:pt x="26697" y="19997"/>
                    </a:cubicBezTo>
                    <a:cubicBezTo>
                      <a:pt x="26697" y="16315"/>
                      <a:pt x="23705" y="13323"/>
                      <a:pt x="20023" y="13323"/>
                    </a:cubicBezTo>
                    <a:close/>
                  </a:path>
                </a:pathLst>
              </a:custGeom>
              <a:solidFill>
                <a:schemeClr val="accent1"/>
              </a:solidFill>
              <a:ln w="2553" cap="flat">
                <a:noFill/>
                <a:prstDash val="solid"/>
                <a:miter/>
              </a:ln>
            </p:spPr>
            <p:txBody>
              <a:bodyPr rtlCol="0" anchor="ctr"/>
              <a:lstStyle/>
              <a:p>
                <a:endParaRPr lang="en-GB" dirty="0"/>
              </a:p>
            </p:txBody>
          </p:sp>
          <p:sp>
            <p:nvSpPr>
              <p:cNvPr id="1042" name="Freihandform: Form 1041">
                <a:extLst>
                  <a:ext uri="{FF2B5EF4-FFF2-40B4-BE49-F238E27FC236}">
                    <a16:creationId xmlns:a16="http://schemas.microsoft.com/office/drawing/2014/main" id="{132C83E1-846C-4A49-9C02-C0085E55CB18}"/>
                  </a:ext>
                </a:extLst>
              </p:cNvPr>
              <p:cNvSpPr/>
              <p:nvPr/>
            </p:nvSpPr>
            <p:spPr>
              <a:xfrm>
                <a:off x="7098554" y="1813661"/>
                <a:ext cx="40045" cy="40045"/>
              </a:xfrm>
              <a:custGeom>
                <a:avLst/>
                <a:gdLst>
                  <a:gd name="connsiteX0" fmla="*/ 20023 w 40045"/>
                  <a:gd name="connsiteY0" fmla="*/ 40045 h 40045"/>
                  <a:gd name="connsiteX1" fmla="*/ 0 w 40045"/>
                  <a:gd name="connsiteY1" fmla="*/ 20023 h 40045"/>
                  <a:gd name="connsiteX2" fmla="*/ 20023 w 40045"/>
                  <a:gd name="connsiteY2" fmla="*/ 0 h 40045"/>
                  <a:gd name="connsiteX3" fmla="*/ 40045 w 40045"/>
                  <a:gd name="connsiteY3" fmla="*/ 20023 h 40045"/>
                  <a:gd name="connsiteX4" fmla="*/ 20023 w 40045"/>
                  <a:gd name="connsiteY4" fmla="*/ 40045 h 40045"/>
                  <a:gd name="connsiteX5" fmla="*/ 20023 w 40045"/>
                  <a:gd name="connsiteY5" fmla="*/ 13348 h 40045"/>
                  <a:gd name="connsiteX6" fmla="*/ 13348 w 40045"/>
                  <a:gd name="connsiteY6" fmla="*/ 20023 h 40045"/>
                  <a:gd name="connsiteX7" fmla="*/ 20023 w 40045"/>
                  <a:gd name="connsiteY7" fmla="*/ 26697 h 40045"/>
                  <a:gd name="connsiteX8" fmla="*/ 26697 w 40045"/>
                  <a:gd name="connsiteY8" fmla="*/ 20023 h 40045"/>
                  <a:gd name="connsiteX9" fmla="*/ 20023 w 40045"/>
                  <a:gd name="connsiteY9" fmla="*/ 13348 h 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45" h="40045">
                    <a:moveTo>
                      <a:pt x="20023" y="40045"/>
                    </a:moveTo>
                    <a:cubicBezTo>
                      <a:pt x="8976" y="40045"/>
                      <a:pt x="0" y="31070"/>
                      <a:pt x="0" y="20023"/>
                    </a:cubicBezTo>
                    <a:cubicBezTo>
                      <a:pt x="0" y="8976"/>
                      <a:pt x="8976" y="0"/>
                      <a:pt x="20023" y="0"/>
                    </a:cubicBezTo>
                    <a:cubicBezTo>
                      <a:pt x="31070" y="0"/>
                      <a:pt x="40045" y="8976"/>
                      <a:pt x="40045" y="20023"/>
                    </a:cubicBezTo>
                    <a:cubicBezTo>
                      <a:pt x="40045" y="31044"/>
                      <a:pt x="31044" y="40045"/>
                      <a:pt x="20023" y="40045"/>
                    </a:cubicBezTo>
                    <a:close/>
                    <a:moveTo>
                      <a:pt x="20023" y="13348"/>
                    </a:moveTo>
                    <a:cubicBezTo>
                      <a:pt x="16340" y="13348"/>
                      <a:pt x="13348" y="16340"/>
                      <a:pt x="13348" y="20023"/>
                    </a:cubicBezTo>
                    <a:cubicBezTo>
                      <a:pt x="13348" y="23705"/>
                      <a:pt x="16340" y="26697"/>
                      <a:pt x="20023" y="26697"/>
                    </a:cubicBezTo>
                    <a:cubicBezTo>
                      <a:pt x="23705" y="26697"/>
                      <a:pt x="26697" y="23705"/>
                      <a:pt x="26697" y="20023"/>
                    </a:cubicBezTo>
                    <a:cubicBezTo>
                      <a:pt x="26697" y="16340"/>
                      <a:pt x="23705" y="13348"/>
                      <a:pt x="20023" y="13348"/>
                    </a:cubicBezTo>
                    <a:close/>
                  </a:path>
                </a:pathLst>
              </a:custGeom>
              <a:solidFill>
                <a:schemeClr val="accent1"/>
              </a:solidFill>
              <a:ln w="2553" cap="flat">
                <a:noFill/>
                <a:prstDash val="solid"/>
                <a:miter/>
              </a:ln>
            </p:spPr>
            <p:txBody>
              <a:bodyPr rtlCol="0" anchor="ctr"/>
              <a:lstStyle/>
              <a:p>
                <a:endParaRPr lang="en-GB" dirty="0"/>
              </a:p>
            </p:txBody>
          </p:sp>
          <p:sp>
            <p:nvSpPr>
              <p:cNvPr id="1043" name="Freihandform: Form 1042">
                <a:extLst>
                  <a:ext uri="{FF2B5EF4-FFF2-40B4-BE49-F238E27FC236}">
                    <a16:creationId xmlns:a16="http://schemas.microsoft.com/office/drawing/2014/main" id="{5F8E1AEB-6774-4DAC-A56F-8756CBEE063F}"/>
                  </a:ext>
                </a:extLst>
              </p:cNvPr>
              <p:cNvSpPr/>
              <p:nvPr/>
            </p:nvSpPr>
            <p:spPr>
              <a:xfrm>
                <a:off x="7098554" y="1880403"/>
                <a:ext cx="40045" cy="40045"/>
              </a:xfrm>
              <a:custGeom>
                <a:avLst/>
                <a:gdLst>
                  <a:gd name="connsiteX0" fmla="*/ 20023 w 40045"/>
                  <a:gd name="connsiteY0" fmla="*/ 40045 h 40045"/>
                  <a:gd name="connsiteX1" fmla="*/ 0 w 40045"/>
                  <a:gd name="connsiteY1" fmla="*/ 20023 h 40045"/>
                  <a:gd name="connsiteX2" fmla="*/ 20023 w 40045"/>
                  <a:gd name="connsiteY2" fmla="*/ 0 h 40045"/>
                  <a:gd name="connsiteX3" fmla="*/ 40045 w 40045"/>
                  <a:gd name="connsiteY3" fmla="*/ 20023 h 40045"/>
                  <a:gd name="connsiteX4" fmla="*/ 20023 w 40045"/>
                  <a:gd name="connsiteY4" fmla="*/ 40045 h 40045"/>
                  <a:gd name="connsiteX5" fmla="*/ 20023 w 40045"/>
                  <a:gd name="connsiteY5" fmla="*/ 13348 h 40045"/>
                  <a:gd name="connsiteX6" fmla="*/ 13348 w 40045"/>
                  <a:gd name="connsiteY6" fmla="*/ 20023 h 40045"/>
                  <a:gd name="connsiteX7" fmla="*/ 20023 w 40045"/>
                  <a:gd name="connsiteY7" fmla="*/ 26697 h 40045"/>
                  <a:gd name="connsiteX8" fmla="*/ 26697 w 40045"/>
                  <a:gd name="connsiteY8" fmla="*/ 20023 h 40045"/>
                  <a:gd name="connsiteX9" fmla="*/ 20023 w 40045"/>
                  <a:gd name="connsiteY9" fmla="*/ 13348 h 4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45" h="40045">
                    <a:moveTo>
                      <a:pt x="20023" y="40045"/>
                    </a:moveTo>
                    <a:cubicBezTo>
                      <a:pt x="8976" y="40045"/>
                      <a:pt x="0" y="31070"/>
                      <a:pt x="0" y="20023"/>
                    </a:cubicBezTo>
                    <a:cubicBezTo>
                      <a:pt x="0" y="8976"/>
                      <a:pt x="8976" y="0"/>
                      <a:pt x="20023" y="0"/>
                    </a:cubicBezTo>
                    <a:cubicBezTo>
                      <a:pt x="31070" y="0"/>
                      <a:pt x="40045" y="8976"/>
                      <a:pt x="40045" y="20023"/>
                    </a:cubicBezTo>
                    <a:cubicBezTo>
                      <a:pt x="40045" y="31070"/>
                      <a:pt x="31044" y="40045"/>
                      <a:pt x="20023" y="40045"/>
                    </a:cubicBezTo>
                    <a:close/>
                    <a:moveTo>
                      <a:pt x="20023" y="13348"/>
                    </a:moveTo>
                    <a:cubicBezTo>
                      <a:pt x="16340" y="13348"/>
                      <a:pt x="13348" y="16340"/>
                      <a:pt x="13348" y="20023"/>
                    </a:cubicBezTo>
                    <a:cubicBezTo>
                      <a:pt x="13348" y="23705"/>
                      <a:pt x="16340" y="26697"/>
                      <a:pt x="20023" y="26697"/>
                    </a:cubicBezTo>
                    <a:cubicBezTo>
                      <a:pt x="23705" y="26697"/>
                      <a:pt x="26697" y="23705"/>
                      <a:pt x="26697" y="20023"/>
                    </a:cubicBezTo>
                    <a:cubicBezTo>
                      <a:pt x="26697" y="16340"/>
                      <a:pt x="23705" y="13348"/>
                      <a:pt x="20023" y="13348"/>
                    </a:cubicBezTo>
                    <a:close/>
                  </a:path>
                </a:pathLst>
              </a:custGeom>
              <a:solidFill>
                <a:schemeClr val="accent1"/>
              </a:solidFill>
              <a:ln w="2553" cap="flat">
                <a:noFill/>
                <a:prstDash val="solid"/>
                <a:miter/>
              </a:ln>
            </p:spPr>
            <p:txBody>
              <a:bodyPr rtlCol="0" anchor="ctr"/>
              <a:lstStyle/>
              <a:p>
                <a:endParaRPr lang="en-GB" dirty="0"/>
              </a:p>
            </p:txBody>
          </p:sp>
          <p:sp>
            <p:nvSpPr>
              <p:cNvPr id="1044" name="Freihandform: Form 1043">
                <a:extLst>
                  <a:ext uri="{FF2B5EF4-FFF2-40B4-BE49-F238E27FC236}">
                    <a16:creationId xmlns:a16="http://schemas.microsoft.com/office/drawing/2014/main" id="{31D8D8CE-6CF2-4B76-A051-FA82937F5ED3}"/>
                  </a:ext>
                </a:extLst>
              </p:cNvPr>
              <p:cNvSpPr/>
              <p:nvPr/>
            </p:nvSpPr>
            <p:spPr>
              <a:xfrm>
                <a:off x="7232039" y="1746893"/>
                <a:ext cx="146832" cy="13348"/>
              </a:xfrm>
              <a:custGeom>
                <a:avLst/>
                <a:gdLst>
                  <a:gd name="connsiteX0" fmla="*/ 140158 w 146832"/>
                  <a:gd name="connsiteY0" fmla="*/ 13348 h 13348"/>
                  <a:gd name="connsiteX1" fmla="*/ 140158 w 146832"/>
                  <a:gd name="connsiteY1" fmla="*/ 13348 h 13348"/>
                  <a:gd name="connsiteX2" fmla="*/ 6674 w 146832"/>
                  <a:gd name="connsiteY2" fmla="*/ 13348 h 13348"/>
                  <a:gd name="connsiteX3" fmla="*/ 0 w 146832"/>
                  <a:gd name="connsiteY3" fmla="*/ 6674 h 13348"/>
                  <a:gd name="connsiteX4" fmla="*/ 6674 w 146832"/>
                  <a:gd name="connsiteY4" fmla="*/ 0 h 13348"/>
                  <a:gd name="connsiteX5" fmla="*/ 6674 w 146832"/>
                  <a:gd name="connsiteY5" fmla="*/ 0 h 13348"/>
                  <a:gd name="connsiteX6" fmla="*/ 140158 w 146832"/>
                  <a:gd name="connsiteY6" fmla="*/ 0 h 13348"/>
                  <a:gd name="connsiteX7" fmla="*/ 146832 w 146832"/>
                  <a:gd name="connsiteY7" fmla="*/ 6674 h 13348"/>
                  <a:gd name="connsiteX8" fmla="*/ 140158 w 146832"/>
                  <a:gd name="connsiteY8"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6832" h="13348">
                    <a:moveTo>
                      <a:pt x="140158" y="13348"/>
                    </a:moveTo>
                    <a:lnTo>
                      <a:pt x="140158" y="13348"/>
                    </a:lnTo>
                    <a:lnTo>
                      <a:pt x="6674" y="13348"/>
                    </a:lnTo>
                    <a:cubicBezTo>
                      <a:pt x="2992" y="13348"/>
                      <a:pt x="0" y="10357"/>
                      <a:pt x="0" y="6674"/>
                    </a:cubicBezTo>
                    <a:cubicBezTo>
                      <a:pt x="0" y="2992"/>
                      <a:pt x="2992" y="0"/>
                      <a:pt x="6674" y="0"/>
                    </a:cubicBezTo>
                    <a:lnTo>
                      <a:pt x="6674" y="0"/>
                    </a:lnTo>
                    <a:lnTo>
                      <a:pt x="140158" y="0"/>
                    </a:lnTo>
                    <a:cubicBezTo>
                      <a:pt x="143841" y="0"/>
                      <a:pt x="146832" y="2992"/>
                      <a:pt x="146832" y="6674"/>
                    </a:cubicBezTo>
                    <a:cubicBezTo>
                      <a:pt x="146832" y="10357"/>
                      <a:pt x="143866" y="13348"/>
                      <a:pt x="140158" y="13348"/>
                    </a:cubicBezTo>
                    <a:close/>
                  </a:path>
                </a:pathLst>
              </a:custGeom>
              <a:solidFill>
                <a:schemeClr val="accent1"/>
              </a:solidFill>
              <a:ln w="2553" cap="flat">
                <a:noFill/>
                <a:prstDash val="solid"/>
                <a:miter/>
              </a:ln>
            </p:spPr>
            <p:txBody>
              <a:bodyPr rtlCol="0" anchor="ctr"/>
              <a:lstStyle/>
              <a:p>
                <a:endParaRPr lang="en-GB" dirty="0"/>
              </a:p>
            </p:txBody>
          </p:sp>
          <p:sp>
            <p:nvSpPr>
              <p:cNvPr id="1045" name="Freihandform: Form 1044">
                <a:extLst>
                  <a:ext uri="{FF2B5EF4-FFF2-40B4-BE49-F238E27FC236}">
                    <a16:creationId xmlns:a16="http://schemas.microsoft.com/office/drawing/2014/main" id="{05E5D2B6-6387-4881-A732-051466CA6481}"/>
                  </a:ext>
                </a:extLst>
              </p:cNvPr>
              <p:cNvSpPr/>
              <p:nvPr/>
            </p:nvSpPr>
            <p:spPr>
              <a:xfrm>
                <a:off x="7165271" y="1773616"/>
                <a:ext cx="166880" cy="13348"/>
              </a:xfrm>
              <a:custGeom>
                <a:avLst/>
                <a:gdLst>
                  <a:gd name="connsiteX0" fmla="*/ 160206 w 166880"/>
                  <a:gd name="connsiteY0" fmla="*/ 13348 h 13348"/>
                  <a:gd name="connsiteX1" fmla="*/ 6674 w 166880"/>
                  <a:gd name="connsiteY1" fmla="*/ 13348 h 13348"/>
                  <a:gd name="connsiteX2" fmla="*/ 0 w 166880"/>
                  <a:gd name="connsiteY2" fmla="*/ 6674 h 13348"/>
                  <a:gd name="connsiteX3" fmla="*/ 6674 w 166880"/>
                  <a:gd name="connsiteY3" fmla="*/ 0 h 13348"/>
                  <a:gd name="connsiteX4" fmla="*/ 160206 w 166880"/>
                  <a:gd name="connsiteY4" fmla="*/ 0 h 13348"/>
                  <a:gd name="connsiteX5" fmla="*/ 166881 w 166880"/>
                  <a:gd name="connsiteY5" fmla="*/ 6674 h 13348"/>
                  <a:gd name="connsiteX6" fmla="*/ 160206 w 16688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880" h="13348">
                    <a:moveTo>
                      <a:pt x="160206" y="13348"/>
                    </a:moveTo>
                    <a:lnTo>
                      <a:pt x="6674" y="13348"/>
                    </a:lnTo>
                    <a:cubicBezTo>
                      <a:pt x="2992" y="13348"/>
                      <a:pt x="0" y="10357"/>
                      <a:pt x="0" y="6674"/>
                    </a:cubicBezTo>
                    <a:cubicBezTo>
                      <a:pt x="0" y="2992"/>
                      <a:pt x="2992" y="0"/>
                      <a:pt x="6674" y="0"/>
                    </a:cubicBezTo>
                    <a:lnTo>
                      <a:pt x="160206" y="0"/>
                    </a:lnTo>
                    <a:cubicBezTo>
                      <a:pt x="163889" y="0"/>
                      <a:pt x="166881" y="2992"/>
                      <a:pt x="166881" y="6674"/>
                    </a:cubicBezTo>
                    <a:cubicBezTo>
                      <a:pt x="166881" y="10357"/>
                      <a:pt x="163914" y="13348"/>
                      <a:pt x="160206" y="13348"/>
                    </a:cubicBezTo>
                    <a:close/>
                  </a:path>
                </a:pathLst>
              </a:custGeom>
              <a:solidFill>
                <a:schemeClr val="accent1"/>
              </a:solidFill>
              <a:ln w="2553" cap="flat">
                <a:noFill/>
                <a:prstDash val="solid"/>
                <a:miter/>
              </a:ln>
            </p:spPr>
            <p:txBody>
              <a:bodyPr rtlCol="0" anchor="ctr"/>
              <a:lstStyle/>
              <a:p>
                <a:endParaRPr lang="en-GB" dirty="0"/>
              </a:p>
            </p:txBody>
          </p:sp>
          <p:sp>
            <p:nvSpPr>
              <p:cNvPr id="1046" name="Freihandform: Form 1045">
                <a:extLst>
                  <a:ext uri="{FF2B5EF4-FFF2-40B4-BE49-F238E27FC236}">
                    <a16:creationId xmlns:a16="http://schemas.microsoft.com/office/drawing/2014/main" id="{BD6694B6-C1FD-46BE-85E5-2DDA679551B9}"/>
                  </a:ext>
                </a:extLst>
              </p:cNvPr>
              <p:cNvSpPr/>
              <p:nvPr/>
            </p:nvSpPr>
            <p:spPr>
              <a:xfrm>
                <a:off x="7165271" y="1813661"/>
                <a:ext cx="213600" cy="13348"/>
              </a:xfrm>
              <a:custGeom>
                <a:avLst/>
                <a:gdLst>
                  <a:gd name="connsiteX0" fmla="*/ 206926 w 213600"/>
                  <a:gd name="connsiteY0" fmla="*/ 13348 h 13348"/>
                  <a:gd name="connsiteX1" fmla="*/ 6674 w 213600"/>
                  <a:gd name="connsiteY1" fmla="*/ 13348 h 13348"/>
                  <a:gd name="connsiteX2" fmla="*/ 0 w 213600"/>
                  <a:gd name="connsiteY2" fmla="*/ 6674 h 13348"/>
                  <a:gd name="connsiteX3" fmla="*/ 6674 w 213600"/>
                  <a:gd name="connsiteY3" fmla="*/ 0 h 13348"/>
                  <a:gd name="connsiteX4" fmla="*/ 206926 w 213600"/>
                  <a:gd name="connsiteY4" fmla="*/ 0 h 13348"/>
                  <a:gd name="connsiteX5" fmla="*/ 213600 w 213600"/>
                  <a:gd name="connsiteY5" fmla="*/ 6674 h 13348"/>
                  <a:gd name="connsiteX6" fmla="*/ 206926 w 21360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600" h="13348">
                    <a:moveTo>
                      <a:pt x="206926" y="13348"/>
                    </a:moveTo>
                    <a:lnTo>
                      <a:pt x="6674" y="13348"/>
                    </a:lnTo>
                    <a:cubicBezTo>
                      <a:pt x="2992" y="13348"/>
                      <a:pt x="0" y="10357"/>
                      <a:pt x="0" y="6674"/>
                    </a:cubicBezTo>
                    <a:cubicBezTo>
                      <a:pt x="0" y="2992"/>
                      <a:pt x="2992" y="0"/>
                      <a:pt x="6674" y="0"/>
                    </a:cubicBezTo>
                    <a:lnTo>
                      <a:pt x="206926" y="0"/>
                    </a:lnTo>
                    <a:cubicBezTo>
                      <a:pt x="210608" y="0"/>
                      <a:pt x="213600" y="2992"/>
                      <a:pt x="213600" y="6674"/>
                    </a:cubicBezTo>
                    <a:cubicBezTo>
                      <a:pt x="213626" y="10357"/>
                      <a:pt x="210634" y="13348"/>
                      <a:pt x="206926" y="13348"/>
                    </a:cubicBezTo>
                    <a:close/>
                  </a:path>
                </a:pathLst>
              </a:custGeom>
              <a:solidFill>
                <a:schemeClr val="accent1"/>
              </a:solidFill>
              <a:ln w="2553" cap="flat">
                <a:noFill/>
                <a:prstDash val="solid"/>
                <a:miter/>
              </a:ln>
            </p:spPr>
            <p:txBody>
              <a:bodyPr rtlCol="0" anchor="ctr"/>
              <a:lstStyle/>
              <a:p>
                <a:endParaRPr lang="en-GB" dirty="0"/>
              </a:p>
            </p:txBody>
          </p:sp>
          <p:sp>
            <p:nvSpPr>
              <p:cNvPr id="1047" name="Freihandform: Form 1046">
                <a:extLst>
                  <a:ext uri="{FF2B5EF4-FFF2-40B4-BE49-F238E27FC236}">
                    <a16:creationId xmlns:a16="http://schemas.microsoft.com/office/drawing/2014/main" id="{C8D4B916-D61A-4FBD-B356-7BA84A03EB19}"/>
                  </a:ext>
                </a:extLst>
              </p:cNvPr>
              <p:cNvSpPr/>
              <p:nvPr/>
            </p:nvSpPr>
            <p:spPr>
              <a:xfrm>
                <a:off x="7165271" y="1840358"/>
                <a:ext cx="213600" cy="13348"/>
              </a:xfrm>
              <a:custGeom>
                <a:avLst/>
                <a:gdLst>
                  <a:gd name="connsiteX0" fmla="*/ 206926 w 213600"/>
                  <a:gd name="connsiteY0" fmla="*/ 13348 h 13348"/>
                  <a:gd name="connsiteX1" fmla="*/ 6674 w 213600"/>
                  <a:gd name="connsiteY1" fmla="*/ 13348 h 13348"/>
                  <a:gd name="connsiteX2" fmla="*/ 0 w 213600"/>
                  <a:gd name="connsiteY2" fmla="*/ 6674 h 13348"/>
                  <a:gd name="connsiteX3" fmla="*/ 6674 w 213600"/>
                  <a:gd name="connsiteY3" fmla="*/ 0 h 13348"/>
                  <a:gd name="connsiteX4" fmla="*/ 206926 w 213600"/>
                  <a:gd name="connsiteY4" fmla="*/ 0 h 13348"/>
                  <a:gd name="connsiteX5" fmla="*/ 213600 w 213600"/>
                  <a:gd name="connsiteY5" fmla="*/ 6674 h 13348"/>
                  <a:gd name="connsiteX6" fmla="*/ 206926 w 21360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600" h="13348">
                    <a:moveTo>
                      <a:pt x="206926" y="13348"/>
                    </a:moveTo>
                    <a:lnTo>
                      <a:pt x="6674" y="13348"/>
                    </a:lnTo>
                    <a:cubicBezTo>
                      <a:pt x="2992" y="13348"/>
                      <a:pt x="0" y="10357"/>
                      <a:pt x="0" y="6674"/>
                    </a:cubicBezTo>
                    <a:cubicBezTo>
                      <a:pt x="0" y="2992"/>
                      <a:pt x="2992" y="0"/>
                      <a:pt x="6674" y="0"/>
                    </a:cubicBezTo>
                    <a:lnTo>
                      <a:pt x="206926" y="0"/>
                    </a:lnTo>
                    <a:cubicBezTo>
                      <a:pt x="210608" y="0"/>
                      <a:pt x="213600" y="2992"/>
                      <a:pt x="213600" y="6674"/>
                    </a:cubicBezTo>
                    <a:cubicBezTo>
                      <a:pt x="213626" y="10357"/>
                      <a:pt x="210634" y="13348"/>
                      <a:pt x="206926" y="13348"/>
                    </a:cubicBezTo>
                    <a:close/>
                  </a:path>
                </a:pathLst>
              </a:custGeom>
              <a:solidFill>
                <a:schemeClr val="accent1"/>
              </a:solidFill>
              <a:ln w="2553" cap="flat">
                <a:noFill/>
                <a:prstDash val="solid"/>
                <a:miter/>
              </a:ln>
            </p:spPr>
            <p:txBody>
              <a:bodyPr rtlCol="0" anchor="ctr"/>
              <a:lstStyle/>
              <a:p>
                <a:endParaRPr lang="en-GB" dirty="0"/>
              </a:p>
            </p:txBody>
          </p:sp>
          <p:sp>
            <p:nvSpPr>
              <p:cNvPr id="1048" name="Freihandform: Form 1047">
                <a:extLst>
                  <a:ext uri="{FF2B5EF4-FFF2-40B4-BE49-F238E27FC236}">
                    <a16:creationId xmlns:a16="http://schemas.microsoft.com/office/drawing/2014/main" id="{5001C828-A7E0-4AD4-A07B-88AA07A95DCB}"/>
                  </a:ext>
                </a:extLst>
              </p:cNvPr>
              <p:cNvSpPr/>
              <p:nvPr/>
            </p:nvSpPr>
            <p:spPr>
              <a:xfrm>
                <a:off x="7165271" y="1880403"/>
                <a:ext cx="213600" cy="13348"/>
              </a:xfrm>
              <a:custGeom>
                <a:avLst/>
                <a:gdLst>
                  <a:gd name="connsiteX0" fmla="*/ 206926 w 213600"/>
                  <a:gd name="connsiteY0" fmla="*/ 13348 h 13348"/>
                  <a:gd name="connsiteX1" fmla="*/ 6674 w 213600"/>
                  <a:gd name="connsiteY1" fmla="*/ 13348 h 13348"/>
                  <a:gd name="connsiteX2" fmla="*/ 0 w 213600"/>
                  <a:gd name="connsiteY2" fmla="*/ 6674 h 13348"/>
                  <a:gd name="connsiteX3" fmla="*/ 6674 w 213600"/>
                  <a:gd name="connsiteY3" fmla="*/ 0 h 13348"/>
                  <a:gd name="connsiteX4" fmla="*/ 206926 w 213600"/>
                  <a:gd name="connsiteY4" fmla="*/ 0 h 13348"/>
                  <a:gd name="connsiteX5" fmla="*/ 213600 w 213600"/>
                  <a:gd name="connsiteY5" fmla="*/ 6674 h 13348"/>
                  <a:gd name="connsiteX6" fmla="*/ 206926 w 21360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600" h="13348">
                    <a:moveTo>
                      <a:pt x="206926" y="13348"/>
                    </a:moveTo>
                    <a:lnTo>
                      <a:pt x="6674" y="13348"/>
                    </a:lnTo>
                    <a:cubicBezTo>
                      <a:pt x="2992" y="13348"/>
                      <a:pt x="0" y="10357"/>
                      <a:pt x="0" y="6674"/>
                    </a:cubicBezTo>
                    <a:cubicBezTo>
                      <a:pt x="0" y="2992"/>
                      <a:pt x="2992" y="0"/>
                      <a:pt x="6674" y="0"/>
                    </a:cubicBezTo>
                    <a:lnTo>
                      <a:pt x="206926" y="0"/>
                    </a:lnTo>
                    <a:cubicBezTo>
                      <a:pt x="210608" y="0"/>
                      <a:pt x="213600" y="2992"/>
                      <a:pt x="213600" y="6674"/>
                    </a:cubicBezTo>
                    <a:cubicBezTo>
                      <a:pt x="213626" y="10357"/>
                      <a:pt x="210634" y="13348"/>
                      <a:pt x="206926" y="13348"/>
                    </a:cubicBezTo>
                    <a:close/>
                  </a:path>
                </a:pathLst>
              </a:custGeom>
              <a:solidFill>
                <a:schemeClr val="accent1"/>
              </a:solidFill>
              <a:ln w="2553" cap="flat">
                <a:noFill/>
                <a:prstDash val="solid"/>
                <a:miter/>
              </a:ln>
            </p:spPr>
            <p:txBody>
              <a:bodyPr rtlCol="0" anchor="ctr"/>
              <a:lstStyle/>
              <a:p>
                <a:endParaRPr lang="en-GB" dirty="0"/>
              </a:p>
            </p:txBody>
          </p:sp>
          <p:sp>
            <p:nvSpPr>
              <p:cNvPr id="1049" name="Freihandform: Form 1048">
                <a:extLst>
                  <a:ext uri="{FF2B5EF4-FFF2-40B4-BE49-F238E27FC236}">
                    <a16:creationId xmlns:a16="http://schemas.microsoft.com/office/drawing/2014/main" id="{29472CA6-1B78-48FE-AB10-FE7C65B8958E}"/>
                  </a:ext>
                </a:extLst>
              </p:cNvPr>
              <p:cNvSpPr/>
              <p:nvPr/>
            </p:nvSpPr>
            <p:spPr>
              <a:xfrm>
                <a:off x="7165297" y="1907100"/>
                <a:ext cx="106787" cy="13348"/>
              </a:xfrm>
              <a:custGeom>
                <a:avLst/>
                <a:gdLst>
                  <a:gd name="connsiteX0" fmla="*/ 100113 w 106787"/>
                  <a:gd name="connsiteY0" fmla="*/ 13348 h 13348"/>
                  <a:gd name="connsiteX1" fmla="*/ 6674 w 106787"/>
                  <a:gd name="connsiteY1" fmla="*/ 13348 h 13348"/>
                  <a:gd name="connsiteX2" fmla="*/ 0 w 106787"/>
                  <a:gd name="connsiteY2" fmla="*/ 6674 h 13348"/>
                  <a:gd name="connsiteX3" fmla="*/ 6674 w 106787"/>
                  <a:gd name="connsiteY3" fmla="*/ 0 h 13348"/>
                  <a:gd name="connsiteX4" fmla="*/ 100113 w 106787"/>
                  <a:gd name="connsiteY4" fmla="*/ 0 h 13348"/>
                  <a:gd name="connsiteX5" fmla="*/ 106787 w 106787"/>
                  <a:gd name="connsiteY5" fmla="*/ 6674 h 13348"/>
                  <a:gd name="connsiteX6" fmla="*/ 100113 w 106787"/>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87" h="13348">
                    <a:moveTo>
                      <a:pt x="100113" y="13348"/>
                    </a:moveTo>
                    <a:lnTo>
                      <a:pt x="6674" y="13348"/>
                    </a:lnTo>
                    <a:cubicBezTo>
                      <a:pt x="2992" y="13348"/>
                      <a:pt x="0" y="10357"/>
                      <a:pt x="0" y="6674"/>
                    </a:cubicBezTo>
                    <a:cubicBezTo>
                      <a:pt x="0" y="2992"/>
                      <a:pt x="2992" y="0"/>
                      <a:pt x="6674" y="0"/>
                    </a:cubicBezTo>
                    <a:lnTo>
                      <a:pt x="100113" y="0"/>
                    </a:lnTo>
                    <a:cubicBezTo>
                      <a:pt x="103795" y="0"/>
                      <a:pt x="106787" y="2992"/>
                      <a:pt x="106787" y="6674"/>
                    </a:cubicBezTo>
                    <a:cubicBezTo>
                      <a:pt x="106787" y="10357"/>
                      <a:pt x="103795" y="13348"/>
                      <a:pt x="100113" y="13348"/>
                    </a:cubicBezTo>
                    <a:close/>
                  </a:path>
                </a:pathLst>
              </a:custGeom>
              <a:solidFill>
                <a:schemeClr val="accent1"/>
              </a:solidFill>
              <a:ln w="2553" cap="flat">
                <a:noFill/>
                <a:prstDash val="solid"/>
                <a:miter/>
              </a:ln>
            </p:spPr>
            <p:txBody>
              <a:bodyPr rtlCol="0" anchor="ctr"/>
              <a:lstStyle/>
              <a:p>
                <a:endParaRPr lang="en-GB" dirty="0"/>
              </a:p>
            </p:txBody>
          </p:sp>
        </p:grpSp>
      </p:grpSp>
      <p:sp>
        <p:nvSpPr>
          <p:cNvPr id="1055" name="TextBox 1415">
            <a:extLst>
              <a:ext uri="{FF2B5EF4-FFF2-40B4-BE49-F238E27FC236}">
                <a16:creationId xmlns:a16="http://schemas.microsoft.com/office/drawing/2014/main" id="{0A6F849F-8E6C-400C-BD3A-67D1F99CC5FD}"/>
              </a:ext>
            </a:extLst>
          </p:cNvPr>
          <p:cNvSpPr txBox="1"/>
          <p:nvPr/>
        </p:nvSpPr>
        <p:spPr>
          <a:xfrm>
            <a:off x="7052465" y="2077494"/>
            <a:ext cx="503343" cy="215444"/>
          </a:xfrm>
          <a:prstGeom prst="rect">
            <a:avLst/>
          </a:prstGeom>
          <a:noFill/>
          <a:effectLst/>
        </p:spPr>
        <p:txBody>
          <a:bodyPr wrap="none" lIns="0" tIns="0" rIns="0" bIns="0" rtlCol="0" anchor="t" anchorCtr="0">
            <a:spAutoFit/>
          </a:bodyPr>
          <a:lstStyle/>
          <a:p>
            <a:pPr algn="ctr"/>
            <a:r>
              <a:rPr lang="en-GB" sz="700" dirty="0">
                <a:solidFill>
                  <a:schemeClr val="tx2"/>
                </a:solidFill>
              </a:rPr>
              <a:t>Presentation</a:t>
            </a:r>
            <a:br>
              <a:rPr lang="en-GB" sz="700" dirty="0">
                <a:solidFill>
                  <a:schemeClr val="tx2"/>
                </a:solidFill>
              </a:rPr>
            </a:br>
            <a:r>
              <a:rPr lang="en-GB" sz="700" dirty="0">
                <a:solidFill>
                  <a:schemeClr val="tx2"/>
                </a:solidFill>
              </a:rPr>
              <a:t>tools</a:t>
            </a:r>
          </a:p>
        </p:txBody>
      </p:sp>
      <p:grpSp>
        <p:nvGrpSpPr>
          <p:cNvPr id="19" name="Group 18">
            <a:extLst>
              <a:ext uri="{FF2B5EF4-FFF2-40B4-BE49-F238E27FC236}">
                <a16:creationId xmlns:a16="http://schemas.microsoft.com/office/drawing/2014/main" id="{FA4B270C-A024-4CB0-BFC4-FF3671256EFE}"/>
              </a:ext>
            </a:extLst>
          </p:cNvPr>
          <p:cNvGrpSpPr/>
          <p:nvPr/>
        </p:nvGrpSpPr>
        <p:grpSpPr>
          <a:xfrm>
            <a:off x="5069264" y="1626716"/>
            <a:ext cx="288008" cy="432000"/>
            <a:chOff x="5068852" y="1626716"/>
            <a:chExt cx="288008" cy="432000"/>
          </a:xfrm>
        </p:grpSpPr>
        <p:grpSp>
          <p:nvGrpSpPr>
            <p:cNvPr id="1057" name="Gruppieren 1056">
              <a:extLst>
                <a:ext uri="{FF2B5EF4-FFF2-40B4-BE49-F238E27FC236}">
                  <a16:creationId xmlns:a16="http://schemas.microsoft.com/office/drawing/2014/main" id="{2A513DA4-C088-4677-BFBE-B9C2B93ACF64}"/>
                </a:ext>
              </a:extLst>
            </p:cNvPr>
            <p:cNvGrpSpPr/>
            <p:nvPr/>
          </p:nvGrpSpPr>
          <p:grpSpPr>
            <a:xfrm>
              <a:off x="5068852" y="1626716"/>
              <a:ext cx="288008" cy="432000"/>
              <a:chOff x="5396479" y="1626758"/>
              <a:chExt cx="293690" cy="440523"/>
            </a:xfrm>
          </p:grpSpPr>
          <p:sp>
            <p:nvSpPr>
              <p:cNvPr id="1066" name="Freihandform: Form 1065">
                <a:extLst>
                  <a:ext uri="{FF2B5EF4-FFF2-40B4-BE49-F238E27FC236}">
                    <a16:creationId xmlns:a16="http://schemas.microsoft.com/office/drawing/2014/main" id="{2C189580-BC1B-4E11-AFBA-D7879043A342}"/>
                  </a:ext>
                </a:extLst>
              </p:cNvPr>
              <p:cNvSpPr/>
              <p:nvPr/>
            </p:nvSpPr>
            <p:spPr>
              <a:xfrm>
                <a:off x="5396479" y="1626758"/>
                <a:ext cx="293690" cy="440523"/>
              </a:xfrm>
              <a:custGeom>
                <a:avLst/>
                <a:gdLst>
                  <a:gd name="connsiteX0" fmla="*/ 253645 w 293690"/>
                  <a:gd name="connsiteY0" fmla="*/ 440523 h 440523"/>
                  <a:gd name="connsiteX1" fmla="*/ 40045 w 293690"/>
                  <a:gd name="connsiteY1" fmla="*/ 440523 h 440523"/>
                  <a:gd name="connsiteX2" fmla="*/ 0 w 293690"/>
                  <a:gd name="connsiteY2" fmla="*/ 400478 h 440523"/>
                  <a:gd name="connsiteX3" fmla="*/ 0 w 293690"/>
                  <a:gd name="connsiteY3" fmla="*/ 40045 h 440523"/>
                  <a:gd name="connsiteX4" fmla="*/ 40045 w 293690"/>
                  <a:gd name="connsiteY4" fmla="*/ 0 h 440523"/>
                  <a:gd name="connsiteX5" fmla="*/ 253645 w 293690"/>
                  <a:gd name="connsiteY5" fmla="*/ 0 h 440523"/>
                  <a:gd name="connsiteX6" fmla="*/ 293691 w 293690"/>
                  <a:gd name="connsiteY6" fmla="*/ 40045 h 440523"/>
                  <a:gd name="connsiteX7" fmla="*/ 293691 w 293690"/>
                  <a:gd name="connsiteY7" fmla="*/ 400478 h 440523"/>
                  <a:gd name="connsiteX8" fmla="*/ 253645 w 293690"/>
                  <a:gd name="connsiteY8" fmla="*/ 440523 h 440523"/>
                  <a:gd name="connsiteX9" fmla="*/ 40045 w 293690"/>
                  <a:gd name="connsiteY9" fmla="*/ 13348 h 440523"/>
                  <a:gd name="connsiteX10" fmla="*/ 13348 w 293690"/>
                  <a:gd name="connsiteY10" fmla="*/ 40045 h 440523"/>
                  <a:gd name="connsiteX11" fmla="*/ 13348 w 293690"/>
                  <a:gd name="connsiteY11" fmla="*/ 400478 h 440523"/>
                  <a:gd name="connsiteX12" fmla="*/ 40045 w 293690"/>
                  <a:gd name="connsiteY12" fmla="*/ 427175 h 440523"/>
                  <a:gd name="connsiteX13" fmla="*/ 253645 w 293690"/>
                  <a:gd name="connsiteY13" fmla="*/ 427175 h 440523"/>
                  <a:gd name="connsiteX14" fmla="*/ 280342 w 293690"/>
                  <a:gd name="connsiteY14" fmla="*/ 400478 h 440523"/>
                  <a:gd name="connsiteX15" fmla="*/ 280342 w 293690"/>
                  <a:gd name="connsiteY15" fmla="*/ 40045 h 440523"/>
                  <a:gd name="connsiteX16" fmla="*/ 253645 w 293690"/>
                  <a:gd name="connsiteY16" fmla="*/ 13348 h 440523"/>
                  <a:gd name="connsiteX17" fmla="*/ 40045 w 293690"/>
                  <a:gd name="connsiteY17" fmla="*/ 13348 h 44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3690" h="440523">
                    <a:moveTo>
                      <a:pt x="253645" y="440523"/>
                    </a:moveTo>
                    <a:lnTo>
                      <a:pt x="40045" y="440523"/>
                    </a:lnTo>
                    <a:cubicBezTo>
                      <a:pt x="17951" y="440523"/>
                      <a:pt x="0" y="422546"/>
                      <a:pt x="0" y="400478"/>
                    </a:cubicBezTo>
                    <a:lnTo>
                      <a:pt x="0" y="40045"/>
                    </a:lnTo>
                    <a:cubicBezTo>
                      <a:pt x="0" y="17977"/>
                      <a:pt x="17951" y="0"/>
                      <a:pt x="40045" y="0"/>
                    </a:cubicBezTo>
                    <a:lnTo>
                      <a:pt x="253645" y="0"/>
                    </a:lnTo>
                    <a:cubicBezTo>
                      <a:pt x="275739" y="0"/>
                      <a:pt x="293691" y="17977"/>
                      <a:pt x="293691" y="40045"/>
                    </a:cubicBezTo>
                    <a:lnTo>
                      <a:pt x="293691" y="400478"/>
                    </a:lnTo>
                    <a:cubicBezTo>
                      <a:pt x="293691" y="422572"/>
                      <a:pt x="275714" y="440523"/>
                      <a:pt x="253645" y="440523"/>
                    </a:cubicBezTo>
                    <a:close/>
                    <a:moveTo>
                      <a:pt x="40045" y="13348"/>
                    </a:moveTo>
                    <a:cubicBezTo>
                      <a:pt x="25316" y="13348"/>
                      <a:pt x="13348" y="25316"/>
                      <a:pt x="13348" y="40045"/>
                    </a:cubicBezTo>
                    <a:lnTo>
                      <a:pt x="13348" y="400478"/>
                    </a:lnTo>
                    <a:cubicBezTo>
                      <a:pt x="13348" y="415207"/>
                      <a:pt x="25316" y="427175"/>
                      <a:pt x="40045" y="427175"/>
                    </a:cubicBezTo>
                    <a:lnTo>
                      <a:pt x="253645" y="427175"/>
                    </a:lnTo>
                    <a:cubicBezTo>
                      <a:pt x="268375" y="427175"/>
                      <a:pt x="280342" y="415207"/>
                      <a:pt x="280342" y="400478"/>
                    </a:cubicBezTo>
                    <a:lnTo>
                      <a:pt x="280342" y="40045"/>
                    </a:lnTo>
                    <a:cubicBezTo>
                      <a:pt x="280342" y="25316"/>
                      <a:pt x="268375" y="13348"/>
                      <a:pt x="253645" y="13348"/>
                    </a:cubicBezTo>
                    <a:lnTo>
                      <a:pt x="40045" y="13348"/>
                    </a:lnTo>
                    <a:close/>
                  </a:path>
                </a:pathLst>
              </a:custGeom>
              <a:solidFill>
                <a:schemeClr val="tx2"/>
              </a:solidFill>
              <a:ln w="2553" cap="flat">
                <a:noFill/>
                <a:prstDash val="solid"/>
                <a:miter/>
              </a:ln>
            </p:spPr>
            <p:txBody>
              <a:bodyPr rtlCol="0" anchor="ctr"/>
              <a:lstStyle/>
              <a:p>
                <a:endParaRPr lang="en-GB" dirty="0"/>
              </a:p>
            </p:txBody>
          </p:sp>
          <p:sp>
            <p:nvSpPr>
              <p:cNvPr id="1067" name="Freihandform: Form 1066">
                <a:extLst>
                  <a:ext uri="{FF2B5EF4-FFF2-40B4-BE49-F238E27FC236}">
                    <a16:creationId xmlns:a16="http://schemas.microsoft.com/office/drawing/2014/main" id="{D62ACFB6-9DB5-4140-9B6D-2A9C0998E85E}"/>
                  </a:ext>
                </a:extLst>
              </p:cNvPr>
              <p:cNvSpPr/>
              <p:nvPr/>
            </p:nvSpPr>
            <p:spPr>
              <a:xfrm>
                <a:off x="5396479" y="1673477"/>
                <a:ext cx="293690" cy="13348"/>
              </a:xfrm>
              <a:custGeom>
                <a:avLst/>
                <a:gdLst>
                  <a:gd name="connsiteX0" fmla="*/ 287016 w 293690"/>
                  <a:gd name="connsiteY0" fmla="*/ 13348 h 13348"/>
                  <a:gd name="connsiteX1" fmla="*/ 6674 w 293690"/>
                  <a:gd name="connsiteY1" fmla="*/ 13348 h 13348"/>
                  <a:gd name="connsiteX2" fmla="*/ 0 w 293690"/>
                  <a:gd name="connsiteY2" fmla="*/ 6674 h 13348"/>
                  <a:gd name="connsiteX3" fmla="*/ 6674 w 293690"/>
                  <a:gd name="connsiteY3" fmla="*/ 0 h 13348"/>
                  <a:gd name="connsiteX4" fmla="*/ 287016 w 293690"/>
                  <a:gd name="connsiteY4" fmla="*/ 0 h 13348"/>
                  <a:gd name="connsiteX5" fmla="*/ 293691 w 293690"/>
                  <a:gd name="connsiteY5" fmla="*/ 6674 h 13348"/>
                  <a:gd name="connsiteX6" fmla="*/ 287016 w 29369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690" h="13348">
                    <a:moveTo>
                      <a:pt x="287016" y="13348"/>
                    </a:moveTo>
                    <a:lnTo>
                      <a:pt x="6674" y="13348"/>
                    </a:lnTo>
                    <a:cubicBezTo>
                      <a:pt x="2992" y="13348"/>
                      <a:pt x="0" y="10357"/>
                      <a:pt x="0" y="6674"/>
                    </a:cubicBezTo>
                    <a:cubicBezTo>
                      <a:pt x="0" y="2992"/>
                      <a:pt x="2992" y="0"/>
                      <a:pt x="6674" y="0"/>
                    </a:cubicBezTo>
                    <a:lnTo>
                      <a:pt x="287016" y="0"/>
                    </a:lnTo>
                    <a:cubicBezTo>
                      <a:pt x="290699" y="0"/>
                      <a:pt x="293691" y="2992"/>
                      <a:pt x="293691" y="6674"/>
                    </a:cubicBezTo>
                    <a:cubicBezTo>
                      <a:pt x="293691" y="10357"/>
                      <a:pt x="290699" y="13348"/>
                      <a:pt x="287016" y="13348"/>
                    </a:cubicBezTo>
                    <a:close/>
                  </a:path>
                </a:pathLst>
              </a:custGeom>
              <a:solidFill>
                <a:schemeClr val="tx2"/>
              </a:solidFill>
              <a:ln w="2553" cap="flat">
                <a:noFill/>
                <a:prstDash val="solid"/>
                <a:miter/>
              </a:ln>
            </p:spPr>
            <p:txBody>
              <a:bodyPr rtlCol="0" anchor="ctr"/>
              <a:lstStyle/>
              <a:p>
                <a:endParaRPr lang="en-GB" dirty="0"/>
              </a:p>
            </p:txBody>
          </p:sp>
          <p:sp>
            <p:nvSpPr>
              <p:cNvPr id="1068" name="Freihandform: Form 1067">
                <a:extLst>
                  <a:ext uri="{FF2B5EF4-FFF2-40B4-BE49-F238E27FC236}">
                    <a16:creationId xmlns:a16="http://schemas.microsoft.com/office/drawing/2014/main" id="{7C3B4912-B827-42B7-BC13-57CC801DD19B}"/>
                  </a:ext>
                </a:extLst>
              </p:cNvPr>
              <p:cNvSpPr/>
              <p:nvPr/>
            </p:nvSpPr>
            <p:spPr>
              <a:xfrm>
                <a:off x="5396479" y="2007213"/>
                <a:ext cx="293690" cy="13348"/>
              </a:xfrm>
              <a:custGeom>
                <a:avLst/>
                <a:gdLst>
                  <a:gd name="connsiteX0" fmla="*/ 287016 w 293690"/>
                  <a:gd name="connsiteY0" fmla="*/ 13348 h 13348"/>
                  <a:gd name="connsiteX1" fmla="*/ 6674 w 293690"/>
                  <a:gd name="connsiteY1" fmla="*/ 13348 h 13348"/>
                  <a:gd name="connsiteX2" fmla="*/ 0 w 293690"/>
                  <a:gd name="connsiteY2" fmla="*/ 6674 h 13348"/>
                  <a:gd name="connsiteX3" fmla="*/ 6674 w 293690"/>
                  <a:gd name="connsiteY3" fmla="*/ 0 h 13348"/>
                  <a:gd name="connsiteX4" fmla="*/ 287016 w 293690"/>
                  <a:gd name="connsiteY4" fmla="*/ 0 h 13348"/>
                  <a:gd name="connsiteX5" fmla="*/ 293691 w 293690"/>
                  <a:gd name="connsiteY5" fmla="*/ 6674 h 13348"/>
                  <a:gd name="connsiteX6" fmla="*/ 287016 w 29369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690" h="13348">
                    <a:moveTo>
                      <a:pt x="287016" y="13348"/>
                    </a:moveTo>
                    <a:lnTo>
                      <a:pt x="6674" y="13348"/>
                    </a:lnTo>
                    <a:cubicBezTo>
                      <a:pt x="2992" y="13348"/>
                      <a:pt x="0" y="10357"/>
                      <a:pt x="0" y="6674"/>
                    </a:cubicBezTo>
                    <a:cubicBezTo>
                      <a:pt x="0" y="2992"/>
                      <a:pt x="2992" y="0"/>
                      <a:pt x="6674" y="0"/>
                    </a:cubicBezTo>
                    <a:lnTo>
                      <a:pt x="287016" y="0"/>
                    </a:lnTo>
                    <a:cubicBezTo>
                      <a:pt x="290699" y="0"/>
                      <a:pt x="293691" y="2992"/>
                      <a:pt x="293691" y="6674"/>
                    </a:cubicBezTo>
                    <a:cubicBezTo>
                      <a:pt x="293691" y="10357"/>
                      <a:pt x="290699" y="13348"/>
                      <a:pt x="287016" y="13348"/>
                    </a:cubicBezTo>
                    <a:close/>
                  </a:path>
                </a:pathLst>
              </a:custGeom>
              <a:solidFill>
                <a:schemeClr val="tx2"/>
              </a:solidFill>
              <a:ln w="2553" cap="flat">
                <a:noFill/>
                <a:prstDash val="solid"/>
                <a:miter/>
              </a:ln>
            </p:spPr>
            <p:txBody>
              <a:bodyPr rtlCol="0" anchor="ctr"/>
              <a:lstStyle/>
              <a:p>
                <a:endParaRPr lang="en-GB" dirty="0"/>
              </a:p>
            </p:txBody>
          </p:sp>
        </p:grpSp>
        <p:grpSp>
          <p:nvGrpSpPr>
            <p:cNvPr id="1058" name="Gruppieren 1057">
              <a:extLst>
                <a:ext uri="{FF2B5EF4-FFF2-40B4-BE49-F238E27FC236}">
                  <a16:creationId xmlns:a16="http://schemas.microsoft.com/office/drawing/2014/main" id="{746CE501-5A56-442F-A0A2-762A686D7DCE}"/>
                </a:ext>
              </a:extLst>
            </p:cNvPr>
            <p:cNvGrpSpPr/>
            <p:nvPr/>
          </p:nvGrpSpPr>
          <p:grpSpPr>
            <a:xfrm>
              <a:off x="5108122" y="1711827"/>
              <a:ext cx="209467" cy="268347"/>
              <a:chOff x="5436524" y="1713548"/>
              <a:chExt cx="213600" cy="273641"/>
            </a:xfrm>
          </p:grpSpPr>
          <p:sp>
            <p:nvSpPr>
              <p:cNvPr id="1059" name="Freihandform: Form 1058">
                <a:extLst>
                  <a:ext uri="{FF2B5EF4-FFF2-40B4-BE49-F238E27FC236}">
                    <a16:creationId xmlns:a16="http://schemas.microsoft.com/office/drawing/2014/main" id="{6566A35B-E71A-406E-8996-55FE8DDE344D}"/>
                  </a:ext>
                </a:extLst>
              </p:cNvPr>
              <p:cNvSpPr/>
              <p:nvPr/>
            </p:nvSpPr>
            <p:spPr>
              <a:xfrm>
                <a:off x="5436524" y="1860380"/>
                <a:ext cx="66742" cy="66742"/>
              </a:xfrm>
              <a:custGeom>
                <a:avLst/>
                <a:gdLst>
                  <a:gd name="connsiteX0" fmla="*/ 60068 w 66742"/>
                  <a:gd name="connsiteY0" fmla="*/ 66742 h 66742"/>
                  <a:gd name="connsiteX1" fmla="*/ 40045 w 66742"/>
                  <a:gd name="connsiteY1" fmla="*/ 66742 h 66742"/>
                  <a:gd name="connsiteX2" fmla="*/ 0 w 66742"/>
                  <a:gd name="connsiteY2" fmla="*/ 26697 h 66742"/>
                  <a:gd name="connsiteX3" fmla="*/ 0 w 66742"/>
                  <a:gd name="connsiteY3" fmla="*/ 6674 h 66742"/>
                  <a:gd name="connsiteX4" fmla="*/ 6674 w 66742"/>
                  <a:gd name="connsiteY4" fmla="*/ 0 h 66742"/>
                  <a:gd name="connsiteX5" fmla="*/ 13348 w 66742"/>
                  <a:gd name="connsiteY5" fmla="*/ 6674 h 66742"/>
                  <a:gd name="connsiteX6" fmla="*/ 13348 w 66742"/>
                  <a:gd name="connsiteY6" fmla="*/ 26697 h 66742"/>
                  <a:gd name="connsiteX7" fmla="*/ 40045 w 66742"/>
                  <a:gd name="connsiteY7" fmla="*/ 53394 h 66742"/>
                  <a:gd name="connsiteX8" fmla="*/ 60068 w 66742"/>
                  <a:gd name="connsiteY8" fmla="*/ 53394 h 66742"/>
                  <a:gd name="connsiteX9" fmla="*/ 66742 w 66742"/>
                  <a:gd name="connsiteY9" fmla="*/ 60068 h 66742"/>
                  <a:gd name="connsiteX10" fmla="*/ 60068 w 66742"/>
                  <a:gd name="connsiteY10"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742" h="66742">
                    <a:moveTo>
                      <a:pt x="60068" y="66742"/>
                    </a:moveTo>
                    <a:lnTo>
                      <a:pt x="40045" y="66742"/>
                    </a:lnTo>
                    <a:cubicBezTo>
                      <a:pt x="17951" y="66742"/>
                      <a:pt x="0" y="48765"/>
                      <a:pt x="0" y="26697"/>
                    </a:cubicBezTo>
                    <a:lnTo>
                      <a:pt x="0" y="6674"/>
                    </a:lnTo>
                    <a:cubicBezTo>
                      <a:pt x="0" y="2992"/>
                      <a:pt x="2992" y="0"/>
                      <a:pt x="6674" y="0"/>
                    </a:cubicBezTo>
                    <a:cubicBezTo>
                      <a:pt x="10357" y="0"/>
                      <a:pt x="13348" y="2992"/>
                      <a:pt x="13348" y="6674"/>
                    </a:cubicBezTo>
                    <a:lnTo>
                      <a:pt x="13348" y="26697"/>
                    </a:lnTo>
                    <a:cubicBezTo>
                      <a:pt x="13348" y="41426"/>
                      <a:pt x="25316" y="53394"/>
                      <a:pt x="40045" y="53394"/>
                    </a:cubicBezTo>
                    <a:lnTo>
                      <a:pt x="60068" y="53394"/>
                    </a:lnTo>
                    <a:cubicBezTo>
                      <a:pt x="63750" y="53394"/>
                      <a:pt x="66742" y="56386"/>
                      <a:pt x="66742" y="60068"/>
                    </a:cubicBezTo>
                    <a:cubicBezTo>
                      <a:pt x="66742" y="63750"/>
                      <a:pt x="63750" y="66742"/>
                      <a:pt x="60068" y="66742"/>
                    </a:cubicBezTo>
                    <a:close/>
                  </a:path>
                </a:pathLst>
              </a:custGeom>
              <a:solidFill>
                <a:schemeClr val="accent1"/>
              </a:solidFill>
              <a:ln w="2553" cap="flat">
                <a:noFill/>
                <a:prstDash val="solid"/>
                <a:miter/>
              </a:ln>
            </p:spPr>
            <p:txBody>
              <a:bodyPr rtlCol="0" anchor="ctr"/>
              <a:lstStyle/>
              <a:p>
                <a:endParaRPr lang="en-GB" dirty="0"/>
              </a:p>
            </p:txBody>
          </p:sp>
          <p:sp>
            <p:nvSpPr>
              <p:cNvPr id="1060" name="Freihandform: Form 1059">
                <a:extLst>
                  <a:ext uri="{FF2B5EF4-FFF2-40B4-BE49-F238E27FC236}">
                    <a16:creationId xmlns:a16="http://schemas.microsoft.com/office/drawing/2014/main" id="{FCE659F5-AB22-47D3-9B2E-D8CB12E31393}"/>
                  </a:ext>
                </a:extLst>
              </p:cNvPr>
              <p:cNvSpPr/>
              <p:nvPr/>
            </p:nvSpPr>
            <p:spPr>
              <a:xfrm>
                <a:off x="5583382" y="1860380"/>
                <a:ext cx="66742" cy="66742"/>
              </a:xfrm>
              <a:custGeom>
                <a:avLst/>
                <a:gdLst>
                  <a:gd name="connsiteX0" fmla="*/ 26697 w 66742"/>
                  <a:gd name="connsiteY0" fmla="*/ 66742 h 66742"/>
                  <a:gd name="connsiteX1" fmla="*/ 6674 w 66742"/>
                  <a:gd name="connsiteY1" fmla="*/ 66742 h 66742"/>
                  <a:gd name="connsiteX2" fmla="*/ 0 w 66742"/>
                  <a:gd name="connsiteY2" fmla="*/ 60068 h 66742"/>
                  <a:gd name="connsiteX3" fmla="*/ 6674 w 66742"/>
                  <a:gd name="connsiteY3" fmla="*/ 53394 h 66742"/>
                  <a:gd name="connsiteX4" fmla="*/ 26697 w 66742"/>
                  <a:gd name="connsiteY4" fmla="*/ 53394 h 66742"/>
                  <a:gd name="connsiteX5" fmla="*/ 53394 w 66742"/>
                  <a:gd name="connsiteY5" fmla="*/ 26697 h 66742"/>
                  <a:gd name="connsiteX6" fmla="*/ 53394 w 66742"/>
                  <a:gd name="connsiteY6" fmla="*/ 6674 h 66742"/>
                  <a:gd name="connsiteX7" fmla="*/ 60068 w 66742"/>
                  <a:gd name="connsiteY7" fmla="*/ 0 h 66742"/>
                  <a:gd name="connsiteX8" fmla="*/ 66742 w 66742"/>
                  <a:gd name="connsiteY8" fmla="*/ 6674 h 66742"/>
                  <a:gd name="connsiteX9" fmla="*/ 66742 w 66742"/>
                  <a:gd name="connsiteY9" fmla="*/ 26697 h 66742"/>
                  <a:gd name="connsiteX10" fmla="*/ 26697 w 66742"/>
                  <a:gd name="connsiteY10"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742" h="66742">
                    <a:moveTo>
                      <a:pt x="26697" y="66742"/>
                    </a:moveTo>
                    <a:lnTo>
                      <a:pt x="6674" y="66742"/>
                    </a:lnTo>
                    <a:cubicBezTo>
                      <a:pt x="2992" y="66742"/>
                      <a:pt x="0" y="63750"/>
                      <a:pt x="0" y="60068"/>
                    </a:cubicBezTo>
                    <a:cubicBezTo>
                      <a:pt x="0" y="56386"/>
                      <a:pt x="2992" y="53394"/>
                      <a:pt x="6674" y="53394"/>
                    </a:cubicBezTo>
                    <a:lnTo>
                      <a:pt x="26697" y="53394"/>
                    </a:lnTo>
                    <a:cubicBezTo>
                      <a:pt x="41426" y="53394"/>
                      <a:pt x="53394" y="41426"/>
                      <a:pt x="53394" y="26697"/>
                    </a:cubicBezTo>
                    <a:lnTo>
                      <a:pt x="53394" y="6674"/>
                    </a:lnTo>
                    <a:cubicBezTo>
                      <a:pt x="53394" y="2992"/>
                      <a:pt x="56386" y="0"/>
                      <a:pt x="60068" y="0"/>
                    </a:cubicBezTo>
                    <a:cubicBezTo>
                      <a:pt x="63750" y="0"/>
                      <a:pt x="66742" y="2992"/>
                      <a:pt x="66742" y="6674"/>
                    </a:cubicBezTo>
                    <a:lnTo>
                      <a:pt x="66742" y="26697"/>
                    </a:lnTo>
                    <a:cubicBezTo>
                      <a:pt x="66742" y="48765"/>
                      <a:pt x="48765" y="66742"/>
                      <a:pt x="26697" y="66742"/>
                    </a:cubicBezTo>
                    <a:close/>
                  </a:path>
                </a:pathLst>
              </a:custGeom>
              <a:solidFill>
                <a:schemeClr val="accent1"/>
              </a:solidFill>
              <a:ln w="2553" cap="flat">
                <a:noFill/>
                <a:prstDash val="solid"/>
                <a:miter/>
              </a:ln>
            </p:spPr>
            <p:txBody>
              <a:bodyPr rtlCol="0" anchor="ctr"/>
              <a:lstStyle/>
              <a:p>
                <a:endParaRPr lang="en-GB" dirty="0"/>
              </a:p>
            </p:txBody>
          </p:sp>
          <p:sp>
            <p:nvSpPr>
              <p:cNvPr id="1061" name="Freihandform: Form 1060">
                <a:extLst>
                  <a:ext uri="{FF2B5EF4-FFF2-40B4-BE49-F238E27FC236}">
                    <a16:creationId xmlns:a16="http://schemas.microsoft.com/office/drawing/2014/main" id="{1AEE8EFA-80F6-4615-9B19-A19A95A85ED9}"/>
                  </a:ext>
                </a:extLst>
              </p:cNvPr>
              <p:cNvSpPr/>
              <p:nvPr/>
            </p:nvSpPr>
            <p:spPr>
              <a:xfrm>
                <a:off x="5583382" y="1713548"/>
                <a:ext cx="66742" cy="66742"/>
              </a:xfrm>
              <a:custGeom>
                <a:avLst/>
                <a:gdLst>
                  <a:gd name="connsiteX0" fmla="*/ 60068 w 66742"/>
                  <a:gd name="connsiteY0" fmla="*/ 66742 h 66742"/>
                  <a:gd name="connsiteX1" fmla="*/ 53394 w 66742"/>
                  <a:gd name="connsiteY1" fmla="*/ 60068 h 66742"/>
                  <a:gd name="connsiteX2" fmla="*/ 53394 w 66742"/>
                  <a:gd name="connsiteY2" fmla="*/ 40045 h 66742"/>
                  <a:gd name="connsiteX3" fmla="*/ 26697 w 66742"/>
                  <a:gd name="connsiteY3" fmla="*/ 13348 h 66742"/>
                  <a:gd name="connsiteX4" fmla="*/ 6674 w 66742"/>
                  <a:gd name="connsiteY4" fmla="*/ 13348 h 66742"/>
                  <a:gd name="connsiteX5" fmla="*/ 0 w 66742"/>
                  <a:gd name="connsiteY5" fmla="*/ 6674 h 66742"/>
                  <a:gd name="connsiteX6" fmla="*/ 6674 w 66742"/>
                  <a:gd name="connsiteY6" fmla="*/ 0 h 66742"/>
                  <a:gd name="connsiteX7" fmla="*/ 26697 w 66742"/>
                  <a:gd name="connsiteY7" fmla="*/ 0 h 66742"/>
                  <a:gd name="connsiteX8" fmla="*/ 66742 w 66742"/>
                  <a:gd name="connsiteY8" fmla="*/ 40045 h 66742"/>
                  <a:gd name="connsiteX9" fmla="*/ 66742 w 66742"/>
                  <a:gd name="connsiteY9" fmla="*/ 60068 h 66742"/>
                  <a:gd name="connsiteX10" fmla="*/ 60068 w 66742"/>
                  <a:gd name="connsiteY10"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742" h="66742">
                    <a:moveTo>
                      <a:pt x="60068" y="66742"/>
                    </a:moveTo>
                    <a:cubicBezTo>
                      <a:pt x="56386" y="66742"/>
                      <a:pt x="53394" y="63750"/>
                      <a:pt x="53394" y="60068"/>
                    </a:cubicBezTo>
                    <a:lnTo>
                      <a:pt x="53394" y="40045"/>
                    </a:lnTo>
                    <a:cubicBezTo>
                      <a:pt x="53394" y="25316"/>
                      <a:pt x="41426" y="13348"/>
                      <a:pt x="26697" y="13348"/>
                    </a:cubicBezTo>
                    <a:lnTo>
                      <a:pt x="6674" y="13348"/>
                    </a:lnTo>
                    <a:cubicBezTo>
                      <a:pt x="2992" y="13348"/>
                      <a:pt x="0" y="10357"/>
                      <a:pt x="0" y="6674"/>
                    </a:cubicBezTo>
                    <a:cubicBezTo>
                      <a:pt x="0" y="2992"/>
                      <a:pt x="2992" y="0"/>
                      <a:pt x="6674" y="0"/>
                    </a:cubicBezTo>
                    <a:lnTo>
                      <a:pt x="26697" y="0"/>
                    </a:lnTo>
                    <a:cubicBezTo>
                      <a:pt x="48791" y="0"/>
                      <a:pt x="66742" y="17977"/>
                      <a:pt x="66742" y="40045"/>
                    </a:cubicBezTo>
                    <a:lnTo>
                      <a:pt x="66742" y="60068"/>
                    </a:lnTo>
                    <a:cubicBezTo>
                      <a:pt x="66742" y="63750"/>
                      <a:pt x="63750" y="66742"/>
                      <a:pt x="60068" y="66742"/>
                    </a:cubicBezTo>
                    <a:close/>
                  </a:path>
                </a:pathLst>
              </a:custGeom>
              <a:solidFill>
                <a:schemeClr val="accent1"/>
              </a:solidFill>
              <a:ln w="2553" cap="flat">
                <a:noFill/>
                <a:prstDash val="solid"/>
                <a:miter/>
              </a:ln>
            </p:spPr>
            <p:txBody>
              <a:bodyPr rtlCol="0" anchor="ctr"/>
              <a:lstStyle/>
              <a:p>
                <a:endParaRPr lang="en-GB" dirty="0"/>
              </a:p>
            </p:txBody>
          </p:sp>
          <p:sp>
            <p:nvSpPr>
              <p:cNvPr id="1062" name="Freihandform: Form 1061">
                <a:extLst>
                  <a:ext uri="{FF2B5EF4-FFF2-40B4-BE49-F238E27FC236}">
                    <a16:creationId xmlns:a16="http://schemas.microsoft.com/office/drawing/2014/main" id="{D82C64A7-5C82-4E4B-BDD1-450F26B630F7}"/>
                  </a:ext>
                </a:extLst>
              </p:cNvPr>
              <p:cNvSpPr/>
              <p:nvPr/>
            </p:nvSpPr>
            <p:spPr>
              <a:xfrm>
                <a:off x="5436524" y="1713548"/>
                <a:ext cx="66742" cy="66742"/>
              </a:xfrm>
              <a:custGeom>
                <a:avLst/>
                <a:gdLst>
                  <a:gd name="connsiteX0" fmla="*/ 6674 w 66742"/>
                  <a:gd name="connsiteY0" fmla="*/ 66742 h 66742"/>
                  <a:gd name="connsiteX1" fmla="*/ 0 w 66742"/>
                  <a:gd name="connsiteY1" fmla="*/ 60068 h 66742"/>
                  <a:gd name="connsiteX2" fmla="*/ 0 w 66742"/>
                  <a:gd name="connsiteY2" fmla="*/ 40045 h 66742"/>
                  <a:gd name="connsiteX3" fmla="*/ 40045 w 66742"/>
                  <a:gd name="connsiteY3" fmla="*/ 0 h 66742"/>
                  <a:gd name="connsiteX4" fmla="*/ 60068 w 66742"/>
                  <a:gd name="connsiteY4" fmla="*/ 0 h 66742"/>
                  <a:gd name="connsiteX5" fmla="*/ 66742 w 66742"/>
                  <a:gd name="connsiteY5" fmla="*/ 6674 h 66742"/>
                  <a:gd name="connsiteX6" fmla="*/ 60068 w 66742"/>
                  <a:gd name="connsiteY6" fmla="*/ 13348 h 66742"/>
                  <a:gd name="connsiteX7" fmla="*/ 40045 w 66742"/>
                  <a:gd name="connsiteY7" fmla="*/ 13348 h 66742"/>
                  <a:gd name="connsiteX8" fmla="*/ 13348 w 66742"/>
                  <a:gd name="connsiteY8" fmla="*/ 40045 h 66742"/>
                  <a:gd name="connsiteX9" fmla="*/ 13348 w 66742"/>
                  <a:gd name="connsiteY9" fmla="*/ 60068 h 66742"/>
                  <a:gd name="connsiteX10" fmla="*/ 6674 w 66742"/>
                  <a:gd name="connsiteY10"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742" h="66742">
                    <a:moveTo>
                      <a:pt x="6674" y="66742"/>
                    </a:moveTo>
                    <a:cubicBezTo>
                      <a:pt x="2992" y="66742"/>
                      <a:pt x="0" y="63750"/>
                      <a:pt x="0" y="60068"/>
                    </a:cubicBezTo>
                    <a:lnTo>
                      <a:pt x="0" y="40045"/>
                    </a:lnTo>
                    <a:cubicBezTo>
                      <a:pt x="0" y="17951"/>
                      <a:pt x="17977" y="0"/>
                      <a:pt x="40045" y="0"/>
                    </a:cubicBezTo>
                    <a:lnTo>
                      <a:pt x="60068" y="0"/>
                    </a:lnTo>
                    <a:cubicBezTo>
                      <a:pt x="63750" y="0"/>
                      <a:pt x="66742" y="2992"/>
                      <a:pt x="66742" y="6674"/>
                    </a:cubicBezTo>
                    <a:cubicBezTo>
                      <a:pt x="66742" y="10357"/>
                      <a:pt x="63750" y="13348"/>
                      <a:pt x="60068" y="13348"/>
                    </a:cubicBezTo>
                    <a:lnTo>
                      <a:pt x="40045" y="13348"/>
                    </a:lnTo>
                    <a:cubicBezTo>
                      <a:pt x="25316" y="13348"/>
                      <a:pt x="13348" y="25316"/>
                      <a:pt x="13348" y="40045"/>
                    </a:cubicBezTo>
                    <a:lnTo>
                      <a:pt x="13348" y="60068"/>
                    </a:lnTo>
                    <a:cubicBezTo>
                      <a:pt x="13348" y="63750"/>
                      <a:pt x="10357" y="66742"/>
                      <a:pt x="6674" y="66742"/>
                    </a:cubicBezTo>
                    <a:close/>
                  </a:path>
                </a:pathLst>
              </a:custGeom>
              <a:solidFill>
                <a:schemeClr val="accent1"/>
              </a:solidFill>
              <a:ln w="2553" cap="flat">
                <a:noFill/>
                <a:prstDash val="solid"/>
                <a:miter/>
              </a:ln>
            </p:spPr>
            <p:txBody>
              <a:bodyPr rtlCol="0" anchor="ctr"/>
              <a:lstStyle/>
              <a:p>
                <a:endParaRPr lang="en-GB" dirty="0"/>
              </a:p>
            </p:txBody>
          </p:sp>
          <p:sp>
            <p:nvSpPr>
              <p:cNvPr id="1063" name="Freihandform: Form 1062">
                <a:extLst>
                  <a:ext uri="{FF2B5EF4-FFF2-40B4-BE49-F238E27FC236}">
                    <a16:creationId xmlns:a16="http://schemas.microsoft.com/office/drawing/2014/main" id="{4FEC9522-363C-46B5-A744-725913DDC9C9}"/>
                  </a:ext>
                </a:extLst>
              </p:cNvPr>
              <p:cNvSpPr/>
              <p:nvPr/>
            </p:nvSpPr>
            <p:spPr>
              <a:xfrm>
                <a:off x="5495646" y="1771089"/>
                <a:ext cx="98553" cy="98573"/>
              </a:xfrm>
              <a:custGeom>
                <a:avLst/>
                <a:gdLst>
                  <a:gd name="connsiteX0" fmla="*/ 14601 w 98553"/>
                  <a:gd name="connsiteY0" fmla="*/ 98574 h 98573"/>
                  <a:gd name="connsiteX1" fmla="*/ 6930 w 98553"/>
                  <a:gd name="connsiteY1" fmla="*/ 96375 h 98573"/>
                  <a:gd name="connsiteX2" fmla="*/ 0 w 98553"/>
                  <a:gd name="connsiteY2" fmla="*/ 83972 h 98573"/>
                  <a:gd name="connsiteX3" fmla="*/ 0 w 98553"/>
                  <a:gd name="connsiteY3" fmla="*/ 14597 h 98573"/>
                  <a:gd name="connsiteX4" fmla="*/ 6930 w 98553"/>
                  <a:gd name="connsiteY4" fmla="*/ 2194 h 98573"/>
                  <a:gd name="connsiteX5" fmla="*/ 21122 w 98553"/>
                  <a:gd name="connsiteY5" fmla="*/ 1555 h 98573"/>
                  <a:gd name="connsiteX6" fmla="*/ 90498 w 98553"/>
                  <a:gd name="connsiteY6" fmla="*/ 36230 h 98573"/>
                  <a:gd name="connsiteX7" fmla="*/ 98553 w 98553"/>
                  <a:gd name="connsiteY7" fmla="*/ 49272 h 98573"/>
                  <a:gd name="connsiteX8" fmla="*/ 90498 w 98553"/>
                  <a:gd name="connsiteY8" fmla="*/ 62313 h 98573"/>
                  <a:gd name="connsiteX9" fmla="*/ 21122 w 98553"/>
                  <a:gd name="connsiteY9" fmla="*/ 96988 h 98573"/>
                  <a:gd name="connsiteX10" fmla="*/ 14601 w 98553"/>
                  <a:gd name="connsiteY10" fmla="*/ 98574 h 98573"/>
                  <a:gd name="connsiteX11" fmla="*/ 14601 w 98553"/>
                  <a:gd name="connsiteY11" fmla="*/ 13369 h 98573"/>
                  <a:gd name="connsiteX12" fmla="*/ 13962 w 98553"/>
                  <a:gd name="connsiteY12" fmla="*/ 13574 h 98573"/>
                  <a:gd name="connsiteX13" fmla="*/ 13374 w 98553"/>
                  <a:gd name="connsiteY13" fmla="*/ 14622 h 98573"/>
                  <a:gd name="connsiteX14" fmla="*/ 13374 w 98553"/>
                  <a:gd name="connsiteY14" fmla="*/ 83998 h 98573"/>
                  <a:gd name="connsiteX15" fmla="*/ 13962 w 98553"/>
                  <a:gd name="connsiteY15" fmla="*/ 85046 h 98573"/>
                  <a:gd name="connsiteX16" fmla="*/ 15164 w 98553"/>
                  <a:gd name="connsiteY16" fmla="*/ 85098 h 98573"/>
                  <a:gd name="connsiteX17" fmla="*/ 84514 w 98553"/>
                  <a:gd name="connsiteY17" fmla="*/ 50422 h 98573"/>
                  <a:gd name="connsiteX18" fmla="*/ 85205 w 98553"/>
                  <a:gd name="connsiteY18" fmla="*/ 49323 h 98573"/>
                  <a:gd name="connsiteX19" fmla="*/ 84514 w 98553"/>
                  <a:gd name="connsiteY19" fmla="*/ 48223 h 98573"/>
                  <a:gd name="connsiteX20" fmla="*/ 15138 w 98553"/>
                  <a:gd name="connsiteY20" fmla="*/ 13548 h 98573"/>
                  <a:gd name="connsiteX21" fmla="*/ 14601 w 98553"/>
                  <a:gd name="connsiteY21" fmla="*/ 13369 h 9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8553" h="98573">
                    <a:moveTo>
                      <a:pt x="14601" y="98574"/>
                    </a:moveTo>
                    <a:cubicBezTo>
                      <a:pt x="11942" y="98574"/>
                      <a:pt x="9308" y="97832"/>
                      <a:pt x="6930" y="96375"/>
                    </a:cubicBezTo>
                    <a:cubicBezTo>
                      <a:pt x="2583" y="93690"/>
                      <a:pt x="0" y="89061"/>
                      <a:pt x="0" y="83972"/>
                    </a:cubicBezTo>
                    <a:lnTo>
                      <a:pt x="0" y="14597"/>
                    </a:lnTo>
                    <a:cubicBezTo>
                      <a:pt x="0" y="9508"/>
                      <a:pt x="2583" y="4854"/>
                      <a:pt x="6930" y="2194"/>
                    </a:cubicBezTo>
                    <a:cubicBezTo>
                      <a:pt x="11252" y="-491"/>
                      <a:pt x="16570" y="-721"/>
                      <a:pt x="21122" y="1555"/>
                    </a:cubicBezTo>
                    <a:lnTo>
                      <a:pt x="90498" y="36230"/>
                    </a:lnTo>
                    <a:cubicBezTo>
                      <a:pt x="95459" y="38711"/>
                      <a:pt x="98553" y="43723"/>
                      <a:pt x="98553" y="49272"/>
                    </a:cubicBezTo>
                    <a:cubicBezTo>
                      <a:pt x="98553" y="54821"/>
                      <a:pt x="95459" y="59833"/>
                      <a:pt x="90498" y="62313"/>
                    </a:cubicBezTo>
                    <a:lnTo>
                      <a:pt x="21122" y="96988"/>
                    </a:lnTo>
                    <a:cubicBezTo>
                      <a:pt x="19076" y="98062"/>
                      <a:pt x="16826" y="98574"/>
                      <a:pt x="14601" y="98574"/>
                    </a:cubicBezTo>
                    <a:close/>
                    <a:moveTo>
                      <a:pt x="14601" y="13369"/>
                    </a:moveTo>
                    <a:cubicBezTo>
                      <a:pt x="14371" y="13369"/>
                      <a:pt x="14167" y="13446"/>
                      <a:pt x="13962" y="13574"/>
                    </a:cubicBezTo>
                    <a:cubicBezTo>
                      <a:pt x="13579" y="13804"/>
                      <a:pt x="13374" y="14162"/>
                      <a:pt x="13374" y="14622"/>
                    </a:cubicBezTo>
                    <a:lnTo>
                      <a:pt x="13374" y="83998"/>
                    </a:lnTo>
                    <a:cubicBezTo>
                      <a:pt x="13374" y="84458"/>
                      <a:pt x="13579" y="84816"/>
                      <a:pt x="13962" y="85046"/>
                    </a:cubicBezTo>
                    <a:cubicBezTo>
                      <a:pt x="14346" y="85277"/>
                      <a:pt x="14755" y="85302"/>
                      <a:pt x="15164" y="85098"/>
                    </a:cubicBezTo>
                    <a:lnTo>
                      <a:pt x="84514" y="50422"/>
                    </a:lnTo>
                    <a:cubicBezTo>
                      <a:pt x="84975" y="50192"/>
                      <a:pt x="85205" y="49834"/>
                      <a:pt x="85205" y="49323"/>
                    </a:cubicBezTo>
                    <a:cubicBezTo>
                      <a:pt x="85205" y="48811"/>
                      <a:pt x="84975" y="48428"/>
                      <a:pt x="84514" y="48223"/>
                    </a:cubicBezTo>
                    <a:lnTo>
                      <a:pt x="15138" y="13548"/>
                    </a:lnTo>
                    <a:cubicBezTo>
                      <a:pt x="14985" y="13395"/>
                      <a:pt x="14806" y="13369"/>
                      <a:pt x="14601" y="13369"/>
                    </a:cubicBezTo>
                    <a:close/>
                  </a:path>
                </a:pathLst>
              </a:custGeom>
              <a:solidFill>
                <a:schemeClr val="accent1"/>
              </a:solidFill>
              <a:ln w="2553" cap="flat">
                <a:noFill/>
                <a:prstDash val="solid"/>
                <a:miter/>
              </a:ln>
            </p:spPr>
            <p:txBody>
              <a:bodyPr rtlCol="0" anchor="ctr"/>
              <a:lstStyle/>
              <a:p>
                <a:endParaRPr lang="en-GB" dirty="0"/>
              </a:p>
            </p:txBody>
          </p:sp>
          <p:sp>
            <p:nvSpPr>
              <p:cNvPr id="1064" name="Freihandform: Form 1063">
                <a:extLst>
                  <a:ext uri="{FF2B5EF4-FFF2-40B4-BE49-F238E27FC236}">
                    <a16:creationId xmlns:a16="http://schemas.microsoft.com/office/drawing/2014/main" id="{573823C2-F234-4540-B4A4-EE847FF79AE1}"/>
                  </a:ext>
                </a:extLst>
              </p:cNvPr>
              <p:cNvSpPr/>
              <p:nvPr/>
            </p:nvSpPr>
            <p:spPr>
              <a:xfrm>
                <a:off x="5436524" y="1967168"/>
                <a:ext cx="213600" cy="13348"/>
              </a:xfrm>
              <a:custGeom>
                <a:avLst/>
                <a:gdLst>
                  <a:gd name="connsiteX0" fmla="*/ 206926 w 213600"/>
                  <a:gd name="connsiteY0" fmla="*/ 13348 h 13348"/>
                  <a:gd name="connsiteX1" fmla="*/ 6674 w 213600"/>
                  <a:gd name="connsiteY1" fmla="*/ 13348 h 13348"/>
                  <a:gd name="connsiteX2" fmla="*/ 0 w 213600"/>
                  <a:gd name="connsiteY2" fmla="*/ 6674 h 13348"/>
                  <a:gd name="connsiteX3" fmla="*/ 6674 w 213600"/>
                  <a:gd name="connsiteY3" fmla="*/ 0 h 13348"/>
                  <a:gd name="connsiteX4" fmla="*/ 206926 w 213600"/>
                  <a:gd name="connsiteY4" fmla="*/ 0 h 13348"/>
                  <a:gd name="connsiteX5" fmla="*/ 213600 w 213600"/>
                  <a:gd name="connsiteY5" fmla="*/ 6674 h 13348"/>
                  <a:gd name="connsiteX6" fmla="*/ 206926 w 21360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600" h="13348">
                    <a:moveTo>
                      <a:pt x="206926" y="13348"/>
                    </a:moveTo>
                    <a:lnTo>
                      <a:pt x="6674" y="13348"/>
                    </a:lnTo>
                    <a:cubicBezTo>
                      <a:pt x="2992" y="13348"/>
                      <a:pt x="0" y="10357"/>
                      <a:pt x="0" y="6674"/>
                    </a:cubicBezTo>
                    <a:cubicBezTo>
                      <a:pt x="0" y="2992"/>
                      <a:pt x="2992" y="0"/>
                      <a:pt x="6674" y="0"/>
                    </a:cubicBezTo>
                    <a:lnTo>
                      <a:pt x="206926" y="0"/>
                    </a:lnTo>
                    <a:cubicBezTo>
                      <a:pt x="210608" y="0"/>
                      <a:pt x="213600" y="2992"/>
                      <a:pt x="213600" y="6674"/>
                    </a:cubicBezTo>
                    <a:cubicBezTo>
                      <a:pt x="213600" y="10357"/>
                      <a:pt x="210608" y="13348"/>
                      <a:pt x="206926" y="13348"/>
                    </a:cubicBezTo>
                    <a:close/>
                  </a:path>
                </a:pathLst>
              </a:custGeom>
              <a:solidFill>
                <a:schemeClr val="accent1"/>
              </a:solidFill>
              <a:ln w="2553" cap="flat">
                <a:noFill/>
                <a:prstDash val="solid"/>
                <a:miter/>
              </a:ln>
            </p:spPr>
            <p:txBody>
              <a:bodyPr rtlCol="0" anchor="ctr"/>
              <a:lstStyle/>
              <a:p>
                <a:endParaRPr lang="en-GB" dirty="0"/>
              </a:p>
            </p:txBody>
          </p:sp>
          <p:sp>
            <p:nvSpPr>
              <p:cNvPr id="1065" name="Freihandform: Form 1064">
                <a:extLst>
                  <a:ext uri="{FF2B5EF4-FFF2-40B4-BE49-F238E27FC236}">
                    <a16:creationId xmlns:a16="http://schemas.microsoft.com/office/drawing/2014/main" id="{C6D23731-9120-4639-B95D-7E4E3F68B60C}"/>
                  </a:ext>
                </a:extLst>
              </p:cNvPr>
              <p:cNvSpPr/>
              <p:nvPr/>
            </p:nvSpPr>
            <p:spPr>
              <a:xfrm>
                <a:off x="5590056" y="1960493"/>
                <a:ext cx="13348" cy="26696"/>
              </a:xfrm>
              <a:custGeom>
                <a:avLst/>
                <a:gdLst>
                  <a:gd name="connsiteX0" fmla="*/ 6674 w 13348"/>
                  <a:gd name="connsiteY0" fmla="*/ 26697 h 26696"/>
                  <a:gd name="connsiteX1" fmla="*/ 0 w 13348"/>
                  <a:gd name="connsiteY1" fmla="*/ 20023 h 26696"/>
                  <a:gd name="connsiteX2" fmla="*/ 0 w 13348"/>
                  <a:gd name="connsiteY2" fmla="*/ 6674 h 26696"/>
                  <a:gd name="connsiteX3" fmla="*/ 6674 w 13348"/>
                  <a:gd name="connsiteY3" fmla="*/ 0 h 26696"/>
                  <a:gd name="connsiteX4" fmla="*/ 13348 w 13348"/>
                  <a:gd name="connsiteY4" fmla="*/ 6674 h 26696"/>
                  <a:gd name="connsiteX5" fmla="*/ 13348 w 13348"/>
                  <a:gd name="connsiteY5" fmla="*/ 20023 h 26696"/>
                  <a:gd name="connsiteX6" fmla="*/ 6674 w 13348"/>
                  <a:gd name="connsiteY6" fmla="*/ 26697 h 2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26696">
                    <a:moveTo>
                      <a:pt x="6674" y="26697"/>
                    </a:moveTo>
                    <a:cubicBezTo>
                      <a:pt x="2992" y="26697"/>
                      <a:pt x="0" y="23705"/>
                      <a:pt x="0" y="20023"/>
                    </a:cubicBezTo>
                    <a:lnTo>
                      <a:pt x="0" y="6674"/>
                    </a:lnTo>
                    <a:cubicBezTo>
                      <a:pt x="0" y="2992"/>
                      <a:pt x="2992" y="0"/>
                      <a:pt x="6674" y="0"/>
                    </a:cubicBezTo>
                    <a:cubicBezTo>
                      <a:pt x="10357" y="0"/>
                      <a:pt x="13348" y="2992"/>
                      <a:pt x="13348" y="6674"/>
                    </a:cubicBezTo>
                    <a:lnTo>
                      <a:pt x="13348" y="20023"/>
                    </a:lnTo>
                    <a:cubicBezTo>
                      <a:pt x="13348" y="23705"/>
                      <a:pt x="10357" y="26697"/>
                      <a:pt x="6674" y="26697"/>
                    </a:cubicBezTo>
                    <a:close/>
                  </a:path>
                </a:pathLst>
              </a:custGeom>
              <a:solidFill>
                <a:schemeClr val="accent1"/>
              </a:solidFill>
              <a:ln w="2553" cap="flat">
                <a:noFill/>
                <a:prstDash val="solid"/>
                <a:miter/>
              </a:ln>
            </p:spPr>
            <p:txBody>
              <a:bodyPr rtlCol="0" anchor="ctr"/>
              <a:lstStyle/>
              <a:p>
                <a:endParaRPr lang="en-GB" dirty="0"/>
              </a:p>
            </p:txBody>
          </p:sp>
        </p:grpSp>
      </p:grpSp>
      <p:sp>
        <p:nvSpPr>
          <p:cNvPr id="1069" name="Freihandform: Form 1068">
            <a:extLst>
              <a:ext uri="{FF2B5EF4-FFF2-40B4-BE49-F238E27FC236}">
                <a16:creationId xmlns:a16="http://schemas.microsoft.com/office/drawing/2014/main" id="{F1F00A5E-CD56-4358-ADB2-0F17325C3AC3}"/>
              </a:ext>
            </a:extLst>
          </p:cNvPr>
          <p:cNvSpPr/>
          <p:nvPr/>
        </p:nvSpPr>
        <p:spPr>
          <a:xfrm>
            <a:off x="5190281" y="2134600"/>
            <a:ext cx="45974" cy="45720"/>
          </a:xfrm>
          <a:custGeom>
            <a:avLst/>
            <a:gdLst/>
            <a:ahLst/>
            <a:cxnLst/>
            <a:rect l="l" t="t" r="r" b="b"/>
            <a:pathLst>
              <a:path w="361" h="361"/>
            </a:pathLst>
          </a:custGeom>
          <a:noFill/>
          <a:ln w="723" cap="rnd">
            <a:solidFill>
              <a:srgbClr val="20201D"/>
            </a:solidFill>
            <a:prstDash val="solid"/>
            <a:round/>
          </a:ln>
        </p:spPr>
        <p:txBody>
          <a:bodyPr rtlCol="0" anchor="ctr"/>
          <a:lstStyle/>
          <a:p>
            <a:endParaRPr lang="en-GB" dirty="0"/>
          </a:p>
        </p:txBody>
      </p:sp>
      <p:sp>
        <p:nvSpPr>
          <p:cNvPr id="1070" name="Freihandform: Form 1069">
            <a:extLst>
              <a:ext uri="{FF2B5EF4-FFF2-40B4-BE49-F238E27FC236}">
                <a16:creationId xmlns:a16="http://schemas.microsoft.com/office/drawing/2014/main" id="{22BBE74A-A669-4E7D-B2F3-3380372B26B0}"/>
              </a:ext>
            </a:extLst>
          </p:cNvPr>
          <p:cNvSpPr/>
          <p:nvPr/>
        </p:nvSpPr>
        <p:spPr>
          <a:xfrm>
            <a:off x="5190281" y="2134600"/>
            <a:ext cx="45974" cy="45720"/>
          </a:xfrm>
          <a:custGeom>
            <a:avLst/>
            <a:gdLst/>
            <a:ahLst/>
            <a:cxnLst/>
            <a:rect l="l" t="t" r="r" b="b"/>
            <a:pathLst>
              <a:path w="361" h="361"/>
            </a:pathLst>
          </a:custGeom>
          <a:noFill/>
          <a:ln w="723" cap="rnd">
            <a:solidFill>
              <a:srgbClr val="20201D"/>
            </a:solidFill>
            <a:prstDash val="solid"/>
            <a:round/>
          </a:ln>
        </p:spPr>
        <p:txBody>
          <a:bodyPr rtlCol="0" anchor="ctr"/>
          <a:lstStyle/>
          <a:p>
            <a:endParaRPr lang="en-GB" dirty="0"/>
          </a:p>
        </p:txBody>
      </p:sp>
      <p:sp>
        <p:nvSpPr>
          <p:cNvPr id="1071" name="TextBox 1413">
            <a:extLst>
              <a:ext uri="{FF2B5EF4-FFF2-40B4-BE49-F238E27FC236}">
                <a16:creationId xmlns:a16="http://schemas.microsoft.com/office/drawing/2014/main" id="{8CFB1FB9-0E7A-4F26-981A-C068164B2CBD}"/>
              </a:ext>
            </a:extLst>
          </p:cNvPr>
          <p:cNvSpPr txBox="1"/>
          <p:nvPr/>
        </p:nvSpPr>
        <p:spPr>
          <a:xfrm>
            <a:off x="5065792" y="2077494"/>
            <a:ext cx="294953" cy="215444"/>
          </a:xfrm>
          <a:prstGeom prst="rect">
            <a:avLst/>
          </a:prstGeom>
          <a:noFill/>
          <a:effectLst/>
        </p:spPr>
        <p:txBody>
          <a:bodyPr wrap="none" lIns="0" tIns="0" rIns="0" bIns="0" rtlCol="0" anchor="t" anchorCtr="0">
            <a:spAutoFit/>
          </a:bodyPr>
          <a:lstStyle/>
          <a:p>
            <a:pPr algn="ctr"/>
            <a:r>
              <a:rPr lang="en-GB" sz="700" dirty="0">
                <a:solidFill>
                  <a:schemeClr val="tx2"/>
                </a:solidFill>
              </a:rPr>
              <a:t>Mobile</a:t>
            </a:r>
            <a:br>
              <a:rPr lang="en-GB" sz="700" dirty="0">
                <a:solidFill>
                  <a:schemeClr val="tx2"/>
                </a:solidFill>
              </a:rPr>
            </a:br>
            <a:r>
              <a:rPr lang="en-GB" sz="700" dirty="0">
                <a:solidFill>
                  <a:schemeClr val="tx2"/>
                </a:solidFill>
              </a:rPr>
              <a:t>content</a:t>
            </a:r>
          </a:p>
        </p:txBody>
      </p:sp>
      <p:grpSp>
        <p:nvGrpSpPr>
          <p:cNvPr id="54" name="Group 53">
            <a:extLst>
              <a:ext uri="{FF2B5EF4-FFF2-40B4-BE49-F238E27FC236}">
                <a16:creationId xmlns:a16="http://schemas.microsoft.com/office/drawing/2014/main" id="{9919D9D0-A5D6-5C58-3BDE-51C80BE137C2}"/>
              </a:ext>
            </a:extLst>
          </p:cNvPr>
          <p:cNvGrpSpPr/>
          <p:nvPr/>
        </p:nvGrpSpPr>
        <p:grpSpPr>
          <a:xfrm>
            <a:off x="8198664" y="1626716"/>
            <a:ext cx="288008" cy="432000"/>
            <a:chOff x="8198252" y="1626716"/>
            <a:chExt cx="288008" cy="432000"/>
          </a:xfrm>
        </p:grpSpPr>
        <p:grpSp>
          <p:nvGrpSpPr>
            <p:cNvPr id="1073" name="Gruppieren 1072">
              <a:extLst>
                <a:ext uri="{FF2B5EF4-FFF2-40B4-BE49-F238E27FC236}">
                  <a16:creationId xmlns:a16="http://schemas.microsoft.com/office/drawing/2014/main" id="{F92EF3BE-7895-46BC-B4BC-5B0AE1D61CF1}"/>
                </a:ext>
              </a:extLst>
            </p:cNvPr>
            <p:cNvGrpSpPr/>
            <p:nvPr/>
          </p:nvGrpSpPr>
          <p:grpSpPr>
            <a:xfrm>
              <a:off x="8227318" y="1731461"/>
              <a:ext cx="226217" cy="255257"/>
              <a:chOff x="7962520" y="1733570"/>
              <a:chExt cx="230680" cy="260293"/>
            </a:xfrm>
          </p:grpSpPr>
          <p:sp>
            <p:nvSpPr>
              <p:cNvPr id="1080" name="Freihandform: Form 1079">
                <a:extLst>
                  <a:ext uri="{FF2B5EF4-FFF2-40B4-BE49-F238E27FC236}">
                    <a16:creationId xmlns:a16="http://schemas.microsoft.com/office/drawing/2014/main" id="{28B82A02-3D9D-406C-8CFC-FE727DAE4BD3}"/>
                  </a:ext>
                </a:extLst>
              </p:cNvPr>
              <p:cNvSpPr/>
              <p:nvPr/>
            </p:nvSpPr>
            <p:spPr>
              <a:xfrm>
                <a:off x="7962520" y="1909861"/>
                <a:ext cx="230677" cy="84002"/>
              </a:xfrm>
              <a:custGeom>
                <a:avLst/>
                <a:gdLst>
                  <a:gd name="connsiteX0" fmla="*/ 224007 w 230677"/>
                  <a:gd name="connsiteY0" fmla="*/ 84003 h 84002"/>
                  <a:gd name="connsiteX1" fmla="*/ 218151 w 230677"/>
                  <a:gd name="connsiteY1" fmla="*/ 80525 h 84002"/>
                  <a:gd name="connsiteX2" fmla="*/ 217333 w 230677"/>
                  <a:gd name="connsiteY2" fmla="*/ 78991 h 84002"/>
                  <a:gd name="connsiteX3" fmla="*/ 208281 w 230677"/>
                  <a:gd name="connsiteY3" fmla="*/ 68507 h 84002"/>
                  <a:gd name="connsiteX4" fmla="*/ 187542 w 230677"/>
                  <a:gd name="connsiteY4" fmla="*/ 76178 h 84002"/>
                  <a:gd name="connsiteX5" fmla="*/ 186954 w 230677"/>
                  <a:gd name="connsiteY5" fmla="*/ 76536 h 84002"/>
                  <a:gd name="connsiteX6" fmla="*/ 171202 w 230677"/>
                  <a:gd name="connsiteY6" fmla="*/ 77840 h 84002"/>
                  <a:gd name="connsiteX7" fmla="*/ 157930 w 230677"/>
                  <a:gd name="connsiteY7" fmla="*/ 63213 h 84002"/>
                  <a:gd name="connsiteX8" fmla="*/ 147395 w 230677"/>
                  <a:gd name="connsiteY8" fmla="*/ 48254 h 84002"/>
                  <a:gd name="connsiteX9" fmla="*/ 138853 w 230677"/>
                  <a:gd name="connsiteY9" fmla="*/ 59147 h 84002"/>
                  <a:gd name="connsiteX10" fmla="*/ 119368 w 230677"/>
                  <a:gd name="connsiteY10" fmla="*/ 74388 h 84002"/>
                  <a:gd name="connsiteX11" fmla="*/ 105303 w 230677"/>
                  <a:gd name="connsiteY11" fmla="*/ 67791 h 84002"/>
                  <a:gd name="connsiteX12" fmla="*/ 84718 w 230677"/>
                  <a:gd name="connsiteY12" fmla="*/ 30737 h 84002"/>
                  <a:gd name="connsiteX13" fmla="*/ 78709 w 230677"/>
                  <a:gd name="connsiteY13" fmla="*/ 18488 h 84002"/>
                  <a:gd name="connsiteX14" fmla="*/ 74132 w 230677"/>
                  <a:gd name="connsiteY14" fmla="*/ 13323 h 84002"/>
                  <a:gd name="connsiteX15" fmla="*/ 69733 w 230677"/>
                  <a:gd name="connsiteY15" fmla="*/ 18054 h 84002"/>
                  <a:gd name="connsiteX16" fmla="*/ 69401 w 230677"/>
                  <a:gd name="connsiteY16" fmla="*/ 18718 h 84002"/>
                  <a:gd name="connsiteX17" fmla="*/ 27387 w 230677"/>
                  <a:gd name="connsiteY17" fmla="*/ 66333 h 84002"/>
                  <a:gd name="connsiteX18" fmla="*/ 23960 w 230677"/>
                  <a:gd name="connsiteY18" fmla="*/ 64671 h 84002"/>
                  <a:gd name="connsiteX19" fmla="*/ 11532 w 230677"/>
                  <a:gd name="connsiteY19" fmla="*/ 66486 h 84002"/>
                  <a:gd name="connsiteX20" fmla="*/ 2096 w 230677"/>
                  <a:gd name="connsiteY20" fmla="*/ 66768 h 84002"/>
                  <a:gd name="connsiteX21" fmla="*/ 1841 w 230677"/>
                  <a:gd name="connsiteY21" fmla="*/ 57332 h 84002"/>
                  <a:gd name="connsiteX22" fmla="*/ 30327 w 230677"/>
                  <a:gd name="connsiteY22" fmla="*/ 52933 h 84002"/>
                  <a:gd name="connsiteX23" fmla="*/ 31376 w 230677"/>
                  <a:gd name="connsiteY23" fmla="*/ 53496 h 84002"/>
                  <a:gd name="connsiteX24" fmla="*/ 57357 w 230677"/>
                  <a:gd name="connsiteY24" fmla="*/ 13016 h 84002"/>
                  <a:gd name="connsiteX25" fmla="*/ 57766 w 230677"/>
                  <a:gd name="connsiteY25" fmla="*/ 12147 h 84002"/>
                  <a:gd name="connsiteX26" fmla="*/ 74106 w 230677"/>
                  <a:gd name="connsiteY26" fmla="*/ 0 h 84002"/>
                  <a:gd name="connsiteX27" fmla="*/ 74234 w 230677"/>
                  <a:gd name="connsiteY27" fmla="*/ 0 h 84002"/>
                  <a:gd name="connsiteX28" fmla="*/ 90600 w 230677"/>
                  <a:gd name="connsiteY28" fmla="*/ 12505 h 84002"/>
                  <a:gd name="connsiteX29" fmla="*/ 96737 w 230677"/>
                  <a:gd name="connsiteY29" fmla="*/ 25009 h 84002"/>
                  <a:gd name="connsiteX30" fmla="*/ 115200 w 230677"/>
                  <a:gd name="connsiteY30" fmla="*/ 58917 h 84002"/>
                  <a:gd name="connsiteX31" fmla="*/ 118243 w 230677"/>
                  <a:gd name="connsiteY31" fmla="*/ 61116 h 84002"/>
                  <a:gd name="connsiteX32" fmla="*/ 127167 w 230677"/>
                  <a:gd name="connsiteY32" fmla="*/ 52652 h 84002"/>
                  <a:gd name="connsiteX33" fmla="*/ 147625 w 230677"/>
                  <a:gd name="connsiteY33" fmla="*/ 34931 h 84002"/>
                  <a:gd name="connsiteX34" fmla="*/ 170409 w 230677"/>
                  <a:gd name="connsiteY34" fmla="*/ 58559 h 84002"/>
                  <a:gd name="connsiteX35" fmla="*/ 175856 w 230677"/>
                  <a:gd name="connsiteY35" fmla="*/ 65387 h 84002"/>
                  <a:gd name="connsiteX36" fmla="*/ 180433 w 230677"/>
                  <a:gd name="connsiteY36" fmla="*/ 64926 h 84002"/>
                  <a:gd name="connsiteX37" fmla="*/ 211477 w 230677"/>
                  <a:gd name="connsiteY37" fmla="*/ 55618 h 84002"/>
                  <a:gd name="connsiteX38" fmla="*/ 229070 w 230677"/>
                  <a:gd name="connsiteY38" fmla="*/ 72726 h 84002"/>
                  <a:gd name="connsiteX39" fmla="*/ 229863 w 230677"/>
                  <a:gd name="connsiteY39" fmla="*/ 74183 h 84002"/>
                  <a:gd name="connsiteX40" fmla="*/ 227204 w 230677"/>
                  <a:gd name="connsiteY40" fmla="*/ 83236 h 84002"/>
                  <a:gd name="connsiteX41" fmla="*/ 224007 w 230677"/>
                  <a:gd name="connsiteY41" fmla="*/ 84003 h 8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230677" h="84002">
                    <a:moveTo>
                      <a:pt x="224007" y="84003"/>
                    </a:moveTo>
                    <a:cubicBezTo>
                      <a:pt x="221629" y="84003"/>
                      <a:pt x="219353" y="82750"/>
                      <a:pt x="218151" y="80525"/>
                    </a:cubicBezTo>
                    <a:lnTo>
                      <a:pt x="217333" y="78991"/>
                    </a:lnTo>
                    <a:cubicBezTo>
                      <a:pt x="214239" y="73263"/>
                      <a:pt x="211963" y="69427"/>
                      <a:pt x="208281" y="68507"/>
                    </a:cubicBezTo>
                    <a:cubicBezTo>
                      <a:pt x="205187" y="67714"/>
                      <a:pt x="199126" y="68455"/>
                      <a:pt x="187542" y="76178"/>
                    </a:cubicBezTo>
                    <a:cubicBezTo>
                      <a:pt x="187363" y="76306"/>
                      <a:pt x="187158" y="76408"/>
                      <a:pt x="186954" y="76536"/>
                    </a:cubicBezTo>
                    <a:cubicBezTo>
                      <a:pt x="181814" y="79272"/>
                      <a:pt x="176214" y="79732"/>
                      <a:pt x="171202" y="77840"/>
                    </a:cubicBezTo>
                    <a:cubicBezTo>
                      <a:pt x="167136" y="76306"/>
                      <a:pt x="161510" y="72547"/>
                      <a:pt x="157930" y="63213"/>
                    </a:cubicBezTo>
                    <a:cubicBezTo>
                      <a:pt x="155629" y="56897"/>
                      <a:pt x="149824" y="48714"/>
                      <a:pt x="147395" y="48254"/>
                    </a:cubicBezTo>
                    <a:cubicBezTo>
                      <a:pt x="146934" y="48254"/>
                      <a:pt x="144223" y="49046"/>
                      <a:pt x="138853" y="59147"/>
                    </a:cubicBezTo>
                    <a:cubicBezTo>
                      <a:pt x="137345" y="61730"/>
                      <a:pt x="129903" y="73519"/>
                      <a:pt x="119368" y="74388"/>
                    </a:cubicBezTo>
                    <a:cubicBezTo>
                      <a:pt x="115686" y="74695"/>
                      <a:pt x="110290" y="73774"/>
                      <a:pt x="105303" y="67791"/>
                    </a:cubicBezTo>
                    <a:cubicBezTo>
                      <a:pt x="100087" y="62446"/>
                      <a:pt x="93182" y="48433"/>
                      <a:pt x="84718" y="30737"/>
                    </a:cubicBezTo>
                    <a:cubicBezTo>
                      <a:pt x="82289" y="25674"/>
                      <a:pt x="80192" y="21276"/>
                      <a:pt x="78709" y="18488"/>
                    </a:cubicBezTo>
                    <a:cubicBezTo>
                      <a:pt x="76868" y="14627"/>
                      <a:pt x="74975" y="13323"/>
                      <a:pt x="74132" y="13323"/>
                    </a:cubicBezTo>
                    <a:cubicBezTo>
                      <a:pt x="73697" y="13246"/>
                      <a:pt x="71626" y="14269"/>
                      <a:pt x="69733" y="18054"/>
                    </a:cubicBezTo>
                    <a:lnTo>
                      <a:pt x="69401" y="18718"/>
                    </a:lnTo>
                    <a:cubicBezTo>
                      <a:pt x="46898" y="66205"/>
                      <a:pt x="35109" y="69120"/>
                      <a:pt x="27387" y="66333"/>
                    </a:cubicBezTo>
                    <a:cubicBezTo>
                      <a:pt x="26159" y="65821"/>
                      <a:pt x="25111" y="65284"/>
                      <a:pt x="23960" y="64671"/>
                    </a:cubicBezTo>
                    <a:cubicBezTo>
                      <a:pt x="19383" y="62216"/>
                      <a:pt x="16877" y="60835"/>
                      <a:pt x="11532" y="66486"/>
                    </a:cubicBezTo>
                    <a:cubicBezTo>
                      <a:pt x="9001" y="69171"/>
                      <a:pt x="4781" y="69274"/>
                      <a:pt x="2096" y="66768"/>
                    </a:cubicBezTo>
                    <a:cubicBezTo>
                      <a:pt x="-589" y="64236"/>
                      <a:pt x="-717" y="60017"/>
                      <a:pt x="1841" y="57332"/>
                    </a:cubicBezTo>
                    <a:cubicBezTo>
                      <a:pt x="14217" y="44239"/>
                      <a:pt x="25494" y="50325"/>
                      <a:pt x="30327" y="52933"/>
                    </a:cubicBezTo>
                    <a:cubicBezTo>
                      <a:pt x="30685" y="53138"/>
                      <a:pt x="31044" y="53317"/>
                      <a:pt x="31376" y="53496"/>
                    </a:cubicBezTo>
                    <a:cubicBezTo>
                      <a:pt x="34240" y="52038"/>
                      <a:pt x="43215" y="42833"/>
                      <a:pt x="57357" y="13016"/>
                    </a:cubicBezTo>
                    <a:lnTo>
                      <a:pt x="57766" y="12147"/>
                    </a:lnTo>
                    <a:cubicBezTo>
                      <a:pt x="61602" y="4398"/>
                      <a:pt x="67560" y="0"/>
                      <a:pt x="74106" y="0"/>
                    </a:cubicBezTo>
                    <a:cubicBezTo>
                      <a:pt x="74157" y="0"/>
                      <a:pt x="74183" y="0"/>
                      <a:pt x="74234" y="0"/>
                    </a:cubicBezTo>
                    <a:cubicBezTo>
                      <a:pt x="80883" y="51"/>
                      <a:pt x="86866" y="4603"/>
                      <a:pt x="90600" y="12505"/>
                    </a:cubicBezTo>
                    <a:cubicBezTo>
                      <a:pt x="92006" y="15113"/>
                      <a:pt x="94205" y="19716"/>
                      <a:pt x="96737" y="25009"/>
                    </a:cubicBezTo>
                    <a:cubicBezTo>
                      <a:pt x="102312" y="36670"/>
                      <a:pt x="110725" y="54289"/>
                      <a:pt x="115200" y="58917"/>
                    </a:cubicBezTo>
                    <a:cubicBezTo>
                      <a:pt x="116274" y="60170"/>
                      <a:pt x="117373" y="61193"/>
                      <a:pt x="118243" y="61116"/>
                    </a:cubicBezTo>
                    <a:cubicBezTo>
                      <a:pt x="120698" y="60912"/>
                      <a:pt x="124917" y="56488"/>
                      <a:pt x="127167" y="52652"/>
                    </a:cubicBezTo>
                    <a:cubicBezTo>
                      <a:pt x="131770" y="44009"/>
                      <a:pt x="137933" y="34931"/>
                      <a:pt x="147625" y="34931"/>
                    </a:cubicBezTo>
                    <a:cubicBezTo>
                      <a:pt x="161766" y="35314"/>
                      <a:pt x="170332" y="58303"/>
                      <a:pt x="170409" y="58559"/>
                    </a:cubicBezTo>
                    <a:cubicBezTo>
                      <a:pt x="171790" y="62114"/>
                      <a:pt x="173733" y="64594"/>
                      <a:pt x="175856" y="65387"/>
                    </a:cubicBezTo>
                    <a:cubicBezTo>
                      <a:pt x="177211" y="65898"/>
                      <a:pt x="178745" y="65770"/>
                      <a:pt x="180433" y="64926"/>
                    </a:cubicBezTo>
                    <a:cubicBezTo>
                      <a:pt x="193168" y="56462"/>
                      <a:pt x="203064" y="53522"/>
                      <a:pt x="211477" y="55618"/>
                    </a:cubicBezTo>
                    <a:cubicBezTo>
                      <a:pt x="221169" y="58022"/>
                      <a:pt x="225721" y="66512"/>
                      <a:pt x="229070" y="72726"/>
                    </a:cubicBezTo>
                    <a:lnTo>
                      <a:pt x="229863" y="74183"/>
                    </a:lnTo>
                    <a:cubicBezTo>
                      <a:pt x="231628" y="77431"/>
                      <a:pt x="230426" y="81471"/>
                      <a:pt x="227204" y="83236"/>
                    </a:cubicBezTo>
                    <a:cubicBezTo>
                      <a:pt x="226206" y="83747"/>
                      <a:pt x="225107" y="84003"/>
                      <a:pt x="224007" y="84003"/>
                    </a:cubicBezTo>
                    <a:close/>
                  </a:path>
                </a:pathLst>
              </a:custGeom>
              <a:solidFill>
                <a:schemeClr val="accent1"/>
              </a:solidFill>
              <a:ln w="2553" cap="flat">
                <a:noFill/>
                <a:prstDash val="solid"/>
                <a:miter/>
              </a:ln>
            </p:spPr>
            <p:txBody>
              <a:bodyPr rtlCol="0" anchor="ctr"/>
              <a:lstStyle/>
              <a:p>
                <a:endParaRPr lang="en-GB" dirty="0"/>
              </a:p>
            </p:txBody>
          </p:sp>
          <p:sp>
            <p:nvSpPr>
              <p:cNvPr id="1081" name="Freihandform: Form 1080">
                <a:extLst>
                  <a:ext uri="{FF2B5EF4-FFF2-40B4-BE49-F238E27FC236}">
                    <a16:creationId xmlns:a16="http://schemas.microsoft.com/office/drawing/2014/main" id="{BBE23A2C-C183-4F2A-A191-1B8075C1AC6B}"/>
                  </a:ext>
                </a:extLst>
              </p:cNvPr>
              <p:cNvSpPr/>
              <p:nvPr/>
            </p:nvSpPr>
            <p:spPr>
              <a:xfrm>
                <a:off x="7966278" y="1733570"/>
                <a:ext cx="226922" cy="120135"/>
              </a:xfrm>
              <a:custGeom>
                <a:avLst/>
                <a:gdLst>
                  <a:gd name="connsiteX0" fmla="*/ 220249 w 226922"/>
                  <a:gd name="connsiteY0" fmla="*/ 120136 h 120135"/>
                  <a:gd name="connsiteX1" fmla="*/ 173529 w 226922"/>
                  <a:gd name="connsiteY1" fmla="*/ 120136 h 120135"/>
                  <a:gd name="connsiteX2" fmla="*/ 166855 w 226922"/>
                  <a:gd name="connsiteY2" fmla="*/ 113462 h 120135"/>
                  <a:gd name="connsiteX3" fmla="*/ 155169 w 226922"/>
                  <a:gd name="connsiteY3" fmla="*/ 80116 h 120135"/>
                  <a:gd name="connsiteX4" fmla="*/ 156217 w 226922"/>
                  <a:gd name="connsiteY4" fmla="*/ 70731 h 120135"/>
                  <a:gd name="connsiteX5" fmla="*/ 165602 w 226922"/>
                  <a:gd name="connsiteY5" fmla="*/ 71780 h 120135"/>
                  <a:gd name="connsiteX6" fmla="*/ 179871 w 226922"/>
                  <a:gd name="connsiteY6" fmla="*/ 106787 h 120135"/>
                  <a:gd name="connsiteX7" fmla="*/ 213370 w 226922"/>
                  <a:gd name="connsiteY7" fmla="*/ 106787 h 120135"/>
                  <a:gd name="connsiteX8" fmla="*/ 113461 w 226922"/>
                  <a:gd name="connsiteY8" fmla="*/ 13348 h 120135"/>
                  <a:gd name="connsiteX9" fmla="*/ 13553 w 226922"/>
                  <a:gd name="connsiteY9" fmla="*/ 106787 h 120135"/>
                  <a:gd name="connsiteX10" fmla="*/ 47026 w 226922"/>
                  <a:gd name="connsiteY10" fmla="*/ 106787 h 120135"/>
                  <a:gd name="connsiteX11" fmla="*/ 113436 w 226922"/>
                  <a:gd name="connsiteY11" fmla="*/ 46719 h 120135"/>
                  <a:gd name="connsiteX12" fmla="*/ 118065 w 226922"/>
                  <a:gd name="connsiteY12" fmla="*/ 46873 h 120135"/>
                  <a:gd name="connsiteX13" fmla="*/ 124278 w 226922"/>
                  <a:gd name="connsiteY13" fmla="*/ 53982 h 120135"/>
                  <a:gd name="connsiteX14" fmla="*/ 117169 w 226922"/>
                  <a:gd name="connsiteY14" fmla="*/ 60196 h 120135"/>
                  <a:gd name="connsiteX15" fmla="*/ 113461 w 226922"/>
                  <a:gd name="connsiteY15" fmla="*/ 60068 h 120135"/>
                  <a:gd name="connsiteX16" fmla="*/ 60068 w 226922"/>
                  <a:gd name="connsiteY16" fmla="*/ 113462 h 120135"/>
                  <a:gd name="connsiteX17" fmla="*/ 53394 w 226922"/>
                  <a:gd name="connsiteY17" fmla="*/ 120136 h 120135"/>
                  <a:gd name="connsiteX18" fmla="*/ 6674 w 226922"/>
                  <a:gd name="connsiteY18" fmla="*/ 120136 h 120135"/>
                  <a:gd name="connsiteX19" fmla="*/ 0 w 226922"/>
                  <a:gd name="connsiteY19" fmla="*/ 113462 h 120135"/>
                  <a:gd name="connsiteX20" fmla="*/ 113461 w 226922"/>
                  <a:gd name="connsiteY20" fmla="*/ 0 h 120135"/>
                  <a:gd name="connsiteX21" fmla="*/ 226923 w 226922"/>
                  <a:gd name="connsiteY21" fmla="*/ 113462 h 120135"/>
                  <a:gd name="connsiteX22" fmla="*/ 220249 w 226922"/>
                  <a:gd name="connsiteY22" fmla="*/ 120136 h 12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6922" h="120135">
                    <a:moveTo>
                      <a:pt x="220249" y="120136"/>
                    </a:moveTo>
                    <a:lnTo>
                      <a:pt x="173529" y="120136"/>
                    </a:lnTo>
                    <a:cubicBezTo>
                      <a:pt x="169847" y="120136"/>
                      <a:pt x="166855" y="117144"/>
                      <a:pt x="166855" y="113462"/>
                    </a:cubicBezTo>
                    <a:cubicBezTo>
                      <a:pt x="166855" y="101213"/>
                      <a:pt x="162815" y="89680"/>
                      <a:pt x="155169" y="80116"/>
                    </a:cubicBezTo>
                    <a:cubicBezTo>
                      <a:pt x="152868" y="77226"/>
                      <a:pt x="153328" y="73033"/>
                      <a:pt x="156217" y="70731"/>
                    </a:cubicBezTo>
                    <a:cubicBezTo>
                      <a:pt x="159107" y="68430"/>
                      <a:pt x="163301" y="68890"/>
                      <a:pt x="165602" y="71780"/>
                    </a:cubicBezTo>
                    <a:cubicBezTo>
                      <a:pt x="173632" y="81804"/>
                      <a:pt x="178592" y="94053"/>
                      <a:pt x="179871" y="106787"/>
                    </a:cubicBezTo>
                    <a:lnTo>
                      <a:pt x="213370" y="106787"/>
                    </a:lnTo>
                    <a:cubicBezTo>
                      <a:pt x="209918" y="54672"/>
                      <a:pt x="166420" y="13348"/>
                      <a:pt x="113461" y="13348"/>
                    </a:cubicBezTo>
                    <a:cubicBezTo>
                      <a:pt x="60503" y="13348"/>
                      <a:pt x="17005" y="54698"/>
                      <a:pt x="13553" y="106787"/>
                    </a:cubicBezTo>
                    <a:lnTo>
                      <a:pt x="47026" y="106787"/>
                    </a:lnTo>
                    <a:cubicBezTo>
                      <a:pt x="50376" y="73109"/>
                      <a:pt x="78889" y="46719"/>
                      <a:pt x="113436" y="46719"/>
                    </a:cubicBezTo>
                    <a:cubicBezTo>
                      <a:pt x="114996" y="46719"/>
                      <a:pt x="116530" y="46771"/>
                      <a:pt x="118065" y="46873"/>
                    </a:cubicBezTo>
                    <a:cubicBezTo>
                      <a:pt x="121747" y="47129"/>
                      <a:pt x="124508" y="50299"/>
                      <a:pt x="124278" y="53982"/>
                    </a:cubicBezTo>
                    <a:cubicBezTo>
                      <a:pt x="124023" y="57664"/>
                      <a:pt x="120801" y="60451"/>
                      <a:pt x="117169" y="60196"/>
                    </a:cubicBezTo>
                    <a:cubicBezTo>
                      <a:pt x="115942" y="60119"/>
                      <a:pt x="114714" y="60068"/>
                      <a:pt x="113461" y="60068"/>
                    </a:cubicBezTo>
                    <a:cubicBezTo>
                      <a:pt x="84028" y="60068"/>
                      <a:pt x="60068" y="84029"/>
                      <a:pt x="60068" y="113462"/>
                    </a:cubicBezTo>
                    <a:cubicBezTo>
                      <a:pt x="60068" y="117144"/>
                      <a:pt x="57076" y="120136"/>
                      <a:pt x="53394" y="120136"/>
                    </a:cubicBezTo>
                    <a:lnTo>
                      <a:pt x="6674" y="120136"/>
                    </a:lnTo>
                    <a:cubicBezTo>
                      <a:pt x="2992" y="120136"/>
                      <a:pt x="0" y="117144"/>
                      <a:pt x="0" y="113462"/>
                    </a:cubicBezTo>
                    <a:cubicBezTo>
                      <a:pt x="0" y="50888"/>
                      <a:pt x="50913" y="0"/>
                      <a:pt x="113461" y="0"/>
                    </a:cubicBezTo>
                    <a:cubicBezTo>
                      <a:pt x="176035" y="0"/>
                      <a:pt x="226923" y="50913"/>
                      <a:pt x="226923" y="113462"/>
                    </a:cubicBezTo>
                    <a:cubicBezTo>
                      <a:pt x="226923" y="117144"/>
                      <a:pt x="223931" y="120136"/>
                      <a:pt x="220249" y="120136"/>
                    </a:cubicBezTo>
                    <a:close/>
                  </a:path>
                </a:pathLst>
              </a:custGeom>
              <a:solidFill>
                <a:schemeClr val="accent1"/>
              </a:solidFill>
              <a:ln w="2553" cap="flat">
                <a:noFill/>
                <a:prstDash val="solid"/>
                <a:miter/>
              </a:ln>
            </p:spPr>
            <p:txBody>
              <a:bodyPr rtlCol="0" anchor="ctr"/>
              <a:lstStyle/>
              <a:p>
                <a:endParaRPr lang="en-GB" dirty="0"/>
              </a:p>
            </p:txBody>
          </p:sp>
        </p:grpSp>
        <p:grpSp>
          <p:nvGrpSpPr>
            <p:cNvPr id="1074" name="Gruppieren 1073">
              <a:extLst>
                <a:ext uri="{FF2B5EF4-FFF2-40B4-BE49-F238E27FC236}">
                  <a16:creationId xmlns:a16="http://schemas.microsoft.com/office/drawing/2014/main" id="{11CBE09E-AEA6-4304-A039-52EEED10A365}"/>
                </a:ext>
              </a:extLst>
            </p:cNvPr>
            <p:cNvGrpSpPr/>
            <p:nvPr/>
          </p:nvGrpSpPr>
          <p:grpSpPr>
            <a:xfrm>
              <a:off x="8198252" y="1626716"/>
              <a:ext cx="288008" cy="432000"/>
              <a:chOff x="7932881" y="1626758"/>
              <a:chExt cx="293690" cy="440523"/>
            </a:xfrm>
            <a:solidFill>
              <a:schemeClr val="tx2"/>
            </a:solidFill>
          </p:grpSpPr>
          <p:grpSp>
            <p:nvGrpSpPr>
              <p:cNvPr id="1075" name="Grafik 313">
                <a:extLst>
                  <a:ext uri="{FF2B5EF4-FFF2-40B4-BE49-F238E27FC236}">
                    <a16:creationId xmlns:a16="http://schemas.microsoft.com/office/drawing/2014/main" id="{6F62D56F-CD0A-4F4A-93BD-2BC72C820E12}"/>
                  </a:ext>
                </a:extLst>
              </p:cNvPr>
              <p:cNvGrpSpPr/>
              <p:nvPr/>
            </p:nvGrpSpPr>
            <p:grpSpPr>
              <a:xfrm>
                <a:off x="7932881" y="1626758"/>
                <a:ext cx="293690" cy="440523"/>
                <a:chOff x="7932881" y="1626758"/>
                <a:chExt cx="293690" cy="440523"/>
              </a:xfrm>
              <a:grpFill/>
            </p:grpSpPr>
            <p:sp>
              <p:nvSpPr>
                <p:cNvPr id="1077" name="Freihandform: Form 1076">
                  <a:extLst>
                    <a:ext uri="{FF2B5EF4-FFF2-40B4-BE49-F238E27FC236}">
                      <a16:creationId xmlns:a16="http://schemas.microsoft.com/office/drawing/2014/main" id="{FAC742AB-9C45-4D77-9B2A-F137FB21C243}"/>
                    </a:ext>
                  </a:extLst>
                </p:cNvPr>
                <p:cNvSpPr/>
                <p:nvPr/>
              </p:nvSpPr>
              <p:spPr>
                <a:xfrm>
                  <a:off x="7932881" y="1626758"/>
                  <a:ext cx="293690" cy="440523"/>
                </a:xfrm>
                <a:custGeom>
                  <a:avLst/>
                  <a:gdLst>
                    <a:gd name="connsiteX0" fmla="*/ 253646 w 293690"/>
                    <a:gd name="connsiteY0" fmla="*/ 440523 h 440523"/>
                    <a:gd name="connsiteX1" fmla="*/ 40045 w 293690"/>
                    <a:gd name="connsiteY1" fmla="*/ 440523 h 440523"/>
                    <a:gd name="connsiteX2" fmla="*/ 0 w 293690"/>
                    <a:gd name="connsiteY2" fmla="*/ 400478 h 440523"/>
                    <a:gd name="connsiteX3" fmla="*/ 0 w 293690"/>
                    <a:gd name="connsiteY3" fmla="*/ 40045 h 440523"/>
                    <a:gd name="connsiteX4" fmla="*/ 40045 w 293690"/>
                    <a:gd name="connsiteY4" fmla="*/ 0 h 440523"/>
                    <a:gd name="connsiteX5" fmla="*/ 253646 w 293690"/>
                    <a:gd name="connsiteY5" fmla="*/ 0 h 440523"/>
                    <a:gd name="connsiteX6" fmla="*/ 293691 w 293690"/>
                    <a:gd name="connsiteY6" fmla="*/ 40045 h 440523"/>
                    <a:gd name="connsiteX7" fmla="*/ 293691 w 293690"/>
                    <a:gd name="connsiteY7" fmla="*/ 400478 h 440523"/>
                    <a:gd name="connsiteX8" fmla="*/ 253646 w 293690"/>
                    <a:gd name="connsiteY8" fmla="*/ 440523 h 440523"/>
                    <a:gd name="connsiteX9" fmla="*/ 40045 w 293690"/>
                    <a:gd name="connsiteY9" fmla="*/ 13348 h 440523"/>
                    <a:gd name="connsiteX10" fmla="*/ 13349 w 293690"/>
                    <a:gd name="connsiteY10" fmla="*/ 40045 h 440523"/>
                    <a:gd name="connsiteX11" fmla="*/ 13349 w 293690"/>
                    <a:gd name="connsiteY11" fmla="*/ 400478 h 440523"/>
                    <a:gd name="connsiteX12" fmla="*/ 40045 w 293690"/>
                    <a:gd name="connsiteY12" fmla="*/ 427175 h 440523"/>
                    <a:gd name="connsiteX13" fmla="*/ 253646 w 293690"/>
                    <a:gd name="connsiteY13" fmla="*/ 427175 h 440523"/>
                    <a:gd name="connsiteX14" fmla="*/ 280342 w 293690"/>
                    <a:gd name="connsiteY14" fmla="*/ 400478 h 440523"/>
                    <a:gd name="connsiteX15" fmla="*/ 280342 w 293690"/>
                    <a:gd name="connsiteY15" fmla="*/ 40045 h 440523"/>
                    <a:gd name="connsiteX16" fmla="*/ 253646 w 293690"/>
                    <a:gd name="connsiteY16" fmla="*/ 13348 h 440523"/>
                    <a:gd name="connsiteX17" fmla="*/ 40045 w 293690"/>
                    <a:gd name="connsiteY17" fmla="*/ 13348 h 44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3690" h="440523">
                      <a:moveTo>
                        <a:pt x="253646" y="440523"/>
                      </a:moveTo>
                      <a:lnTo>
                        <a:pt x="40045" y="440523"/>
                      </a:lnTo>
                      <a:cubicBezTo>
                        <a:pt x="17951" y="440523"/>
                        <a:pt x="0" y="422546"/>
                        <a:pt x="0" y="400478"/>
                      </a:cubicBezTo>
                      <a:lnTo>
                        <a:pt x="0" y="40045"/>
                      </a:lnTo>
                      <a:cubicBezTo>
                        <a:pt x="0" y="17951"/>
                        <a:pt x="17977" y="0"/>
                        <a:pt x="40045" y="0"/>
                      </a:cubicBezTo>
                      <a:lnTo>
                        <a:pt x="253646" y="0"/>
                      </a:lnTo>
                      <a:cubicBezTo>
                        <a:pt x="275740" y="0"/>
                        <a:pt x="293691" y="17977"/>
                        <a:pt x="293691" y="40045"/>
                      </a:cubicBezTo>
                      <a:lnTo>
                        <a:pt x="293691" y="400478"/>
                      </a:lnTo>
                      <a:cubicBezTo>
                        <a:pt x="293691" y="422572"/>
                        <a:pt x="275740" y="440523"/>
                        <a:pt x="253646" y="440523"/>
                      </a:cubicBezTo>
                      <a:close/>
                      <a:moveTo>
                        <a:pt x="40045" y="13348"/>
                      </a:moveTo>
                      <a:cubicBezTo>
                        <a:pt x="25316" y="13348"/>
                        <a:pt x="13349" y="25316"/>
                        <a:pt x="13349" y="40045"/>
                      </a:cubicBezTo>
                      <a:lnTo>
                        <a:pt x="13349" y="400478"/>
                      </a:lnTo>
                      <a:cubicBezTo>
                        <a:pt x="13349" y="415207"/>
                        <a:pt x="25316" y="427175"/>
                        <a:pt x="40045" y="427175"/>
                      </a:cubicBezTo>
                      <a:lnTo>
                        <a:pt x="253646" y="427175"/>
                      </a:lnTo>
                      <a:cubicBezTo>
                        <a:pt x="268375" y="427175"/>
                        <a:pt x="280342" y="415207"/>
                        <a:pt x="280342" y="400478"/>
                      </a:cubicBezTo>
                      <a:lnTo>
                        <a:pt x="280342" y="40045"/>
                      </a:lnTo>
                      <a:cubicBezTo>
                        <a:pt x="280342" y="25316"/>
                        <a:pt x="268375" y="13348"/>
                        <a:pt x="253646" y="13348"/>
                      </a:cubicBezTo>
                      <a:lnTo>
                        <a:pt x="40045" y="13348"/>
                      </a:lnTo>
                      <a:close/>
                    </a:path>
                  </a:pathLst>
                </a:custGeom>
                <a:grpFill/>
                <a:ln w="2553" cap="flat">
                  <a:noFill/>
                  <a:prstDash val="solid"/>
                  <a:miter/>
                </a:ln>
              </p:spPr>
              <p:txBody>
                <a:bodyPr rtlCol="0" anchor="ctr"/>
                <a:lstStyle/>
                <a:p>
                  <a:endParaRPr lang="en-GB" dirty="0"/>
                </a:p>
              </p:txBody>
            </p:sp>
            <p:sp>
              <p:nvSpPr>
                <p:cNvPr id="1078" name="Freihandform: Form 1077">
                  <a:extLst>
                    <a:ext uri="{FF2B5EF4-FFF2-40B4-BE49-F238E27FC236}">
                      <a16:creationId xmlns:a16="http://schemas.microsoft.com/office/drawing/2014/main" id="{70010C8B-0419-4D26-B9A9-BDA91CC42F91}"/>
                    </a:ext>
                  </a:extLst>
                </p:cNvPr>
                <p:cNvSpPr/>
                <p:nvPr/>
              </p:nvSpPr>
              <p:spPr>
                <a:xfrm>
                  <a:off x="7932881" y="1673477"/>
                  <a:ext cx="293690" cy="13348"/>
                </a:xfrm>
                <a:custGeom>
                  <a:avLst/>
                  <a:gdLst>
                    <a:gd name="connsiteX0" fmla="*/ 287016 w 293690"/>
                    <a:gd name="connsiteY0" fmla="*/ 13348 h 13348"/>
                    <a:gd name="connsiteX1" fmla="*/ 6674 w 293690"/>
                    <a:gd name="connsiteY1" fmla="*/ 13348 h 13348"/>
                    <a:gd name="connsiteX2" fmla="*/ 0 w 293690"/>
                    <a:gd name="connsiteY2" fmla="*/ 6674 h 13348"/>
                    <a:gd name="connsiteX3" fmla="*/ 6674 w 293690"/>
                    <a:gd name="connsiteY3" fmla="*/ 0 h 13348"/>
                    <a:gd name="connsiteX4" fmla="*/ 287016 w 293690"/>
                    <a:gd name="connsiteY4" fmla="*/ 0 h 13348"/>
                    <a:gd name="connsiteX5" fmla="*/ 293691 w 293690"/>
                    <a:gd name="connsiteY5" fmla="*/ 6674 h 13348"/>
                    <a:gd name="connsiteX6" fmla="*/ 287016 w 29369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690" h="13348">
                      <a:moveTo>
                        <a:pt x="287016" y="13348"/>
                      </a:moveTo>
                      <a:lnTo>
                        <a:pt x="6674" y="13348"/>
                      </a:lnTo>
                      <a:cubicBezTo>
                        <a:pt x="2992" y="13348"/>
                        <a:pt x="0" y="10357"/>
                        <a:pt x="0" y="6674"/>
                      </a:cubicBezTo>
                      <a:cubicBezTo>
                        <a:pt x="0" y="2992"/>
                        <a:pt x="2992" y="0"/>
                        <a:pt x="6674" y="0"/>
                      </a:cubicBezTo>
                      <a:lnTo>
                        <a:pt x="287016" y="0"/>
                      </a:lnTo>
                      <a:cubicBezTo>
                        <a:pt x="290699" y="0"/>
                        <a:pt x="293691" y="2992"/>
                        <a:pt x="293691" y="6674"/>
                      </a:cubicBezTo>
                      <a:cubicBezTo>
                        <a:pt x="293691" y="10357"/>
                        <a:pt x="290724" y="13348"/>
                        <a:pt x="287016" y="13348"/>
                      </a:cubicBezTo>
                      <a:close/>
                    </a:path>
                  </a:pathLst>
                </a:custGeom>
                <a:grpFill/>
                <a:ln w="2553" cap="flat">
                  <a:noFill/>
                  <a:prstDash val="solid"/>
                  <a:miter/>
                </a:ln>
              </p:spPr>
              <p:txBody>
                <a:bodyPr rtlCol="0" anchor="ctr"/>
                <a:lstStyle/>
                <a:p>
                  <a:endParaRPr lang="en-GB" dirty="0"/>
                </a:p>
              </p:txBody>
            </p:sp>
            <p:sp>
              <p:nvSpPr>
                <p:cNvPr id="1079" name="Freihandform: Form 1078">
                  <a:extLst>
                    <a:ext uri="{FF2B5EF4-FFF2-40B4-BE49-F238E27FC236}">
                      <a16:creationId xmlns:a16="http://schemas.microsoft.com/office/drawing/2014/main" id="{345826EA-B11D-470C-8820-1E74C3ED2418}"/>
                    </a:ext>
                  </a:extLst>
                </p:cNvPr>
                <p:cNvSpPr/>
                <p:nvPr/>
              </p:nvSpPr>
              <p:spPr>
                <a:xfrm>
                  <a:off x="7932881" y="2007213"/>
                  <a:ext cx="293690" cy="13348"/>
                </a:xfrm>
                <a:custGeom>
                  <a:avLst/>
                  <a:gdLst>
                    <a:gd name="connsiteX0" fmla="*/ 287016 w 293690"/>
                    <a:gd name="connsiteY0" fmla="*/ 13348 h 13348"/>
                    <a:gd name="connsiteX1" fmla="*/ 6674 w 293690"/>
                    <a:gd name="connsiteY1" fmla="*/ 13348 h 13348"/>
                    <a:gd name="connsiteX2" fmla="*/ 0 w 293690"/>
                    <a:gd name="connsiteY2" fmla="*/ 6674 h 13348"/>
                    <a:gd name="connsiteX3" fmla="*/ 6674 w 293690"/>
                    <a:gd name="connsiteY3" fmla="*/ 0 h 13348"/>
                    <a:gd name="connsiteX4" fmla="*/ 287016 w 293690"/>
                    <a:gd name="connsiteY4" fmla="*/ 0 h 13348"/>
                    <a:gd name="connsiteX5" fmla="*/ 293691 w 293690"/>
                    <a:gd name="connsiteY5" fmla="*/ 6674 h 13348"/>
                    <a:gd name="connsiteX6" fmla="*/ 287016 w 29369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690" h="13348">
                      <a:moveTo>
                        <a:pt x="287016" y="13348"/>
                      </a:moveTo>
                      <a:lnTo>
                        <a:pt x="6674" y="13348"/>
                      </a:lnTo>
                      <a:cubicBezTo>
                        <a:pt x="2992" y="13348"/>
                        <a:pt x="0" y="10357"/>
                        <a:pt x="0" y="6674"/>
                      </a:cubicBezTo>
                      <a:cubicBezTo>
                        <a:pt x="0" y="2992"/>
                        <a:pt x="2992" y="0"/>
                        <a:pt x="6674" y="0"/>
                      </a:cubicBezTo>
                      <a:lnTo>
                        <a:pt x="287016" y="0"/>
                      </a:lnTo>
                      <a:cubicBezTo>
                        <a:pt x="290699" y="0"/>
                        <a:pt x="293691" y="2992"/>
                        <a:pt x="293691" y="6674"/>
                      </a:cubicBezTo>
                      <a:cubicBezTo>
                        <a:pt x="293691" y="10357"/>
                        <a:pt x="290724" y="13348"/>
                        <a:pt x="287016" y="13348"/>
                      </a:cubicBezTo>
                      <a:close/>
                    </a:path>
                  </a:pathLst>
                </a:custGeom>
                <a:grpFill/>
                <a:ln w="2553" cap="flat">
                  <a:noFill/>
                  <a:prstDash val="solid"/>
                  <a:miter/>
                </a:ln>
              </p:spPr>
              <p:txBody>
                <a:bodyPr rtlCol="0" anchor="ctr"/>
                <a:lstStyle/>
                <a:p>
                  <a:endParaRPr lang="en-GB" dirty="0"/>
                </a:p>
              </p:txBody>
            </p:sp>
          </p:grpSp>
          <p:sp>
            <p:nvSpPr>
              <p:cNvPr id="1076" name="Freihandform: Form 1075">
                <a:extLst>
                  <a:ext uri="{FF2B5EF4-FFF2-40B4-BE49-F238E27FC236}">
                    <a16:creationId xmlns:a16="http://schemas.microsoft.com/office/drawing/2014/main" id="{10AEE4BA-4298-4B65-84C3-3217AA007E30}"/>
                  </a:ext>
                </a:extLst>
              </p:cNvPr>
              <p:cNvSpPr/>
              <p:nvPr/>
            </p:nvSpPr>
            <p:spPr>
              <a:xfrm>
                <a:off x="8048213" y="1764827"/>
                <a:ext cx="65082" cy="126622"/>
              </a:xfrm>
              <a:custGeom>
                <a:avLst/>
                <a:gdLst>
                  <a:gd name="connsiteX0" fmla="*/ 27358 w 65082"/>
                  <a:gd name="connsiteY0" fmla="*/ 126623 h 126622"/>
                  <a:gd name="connsiteX1" fmla="*/ 19891 w 65082"/>
                  <a:gd name="connsiteY1" fmla="*/ 125600 h 126622"/>
                  <a:gd name="connsiteX2" fmla="*/ 866 w 65082"/>
                  <a:gd name="connsiteY2" fmla="*/ 94070 h 126622"/>
                  <a:gd name="connsiteX3" fmla="*/ 2989 w 65082"/>
                  <a:gd name="connsiteY3" fmla="*/ 88955 h 126622"/>
                  <a:gd name="connsiteX4" fmla="*/ 37127 w 65082"/>
                  <a:gd name="connsiteY4" fmla="*/ 8533 h 126622"/>
                  <a:gd name="connsiteX5" fmla="*/ 54260 w 65082"/>
                  <a:gd name="connsiteY5" fmla="*/ 580 h 126622"/>
                  <a:gd name="connsiteX6" fmla="*/ 64949 w 65082"/>
                  <a:gd name="connsiteY6" fmla="*/ 16204 h 126622"/>
                  <a:gd name="connsiteX7" fmla="*/ 53160 w 65082"/>
                  <a:gd name="connsiteY7" fmla="*/ 102764 h 126622"/>
                  <a:gd name="connsiteX8" fmla="*/ 52342 w 65082"/>
                  <a:gd name="connsiteY8" fmla="*/ 108237 h 126622"/>
                  <a:gd name="connsiteX9" fmla="*/ 39863 w 65082"/>
                  <a:gd name="connsiteY9" fmla="*/ 123554 h 126622"/>
                  <a:gd name="connsiteX10" fmla="*/ 27358 w 65082"/>
                  <a:gd name="connsiteY10" fmla="*/ 126623 h 126622"/>
                  <a:gd name="connsiteX11" fmla="*/ 50143 w 65082"/>
                  <a:gd name="connsiteY11" fmla="*/ 13366 h 126622"/>
                  <a:gd name="connsiteX12" fmla="*/ 49427 w 65082"/>
                  <a:gd name="connsiteY12" fmla="*/ 13749 h 126622"/>
                  <a:gd name="connsiteX13" fmla="*/ 14803 w 65082"/>
                  <a:gd name="connsiteY13" fmla="*/ 95169 h 126622"/>
                  <a:gd name="connsiteX14" fmla="*/ 13755 w 65082"/>
                  <a:gd name="connsiteY14" fmla="*/ 97599 h 126622"/>
                  <a:gd name="connsiteX15" fmla="*/ 23446 w 65082"/>
                  <a:gd name="connsiteY15" fmla="*/ 112712 h 126622"/>
                  <a:gd name="connsiteX16" fmla="*/ 33675 w 65082"/>
                  <a:gd name="connsiteY16" fmla="*/ 111714 h 126622"/>
                  <a:gd name="connsiteX17" fmla="*/ 39505 w 65082"/>
                  <a:gd name="connsiteY17" fmla="*/ 104682 h 126622"/>
                  <a:gd name="connsiteX18" fmla="*/ 39837 w 65082"/>
                  <a:gd name="connsiteY18" fmla="*/ 102048 h 126622"/>
                  <a:gd name="connsiteX19" fmla="*/ 39889 w 65082"/>
                  <a:gd name="connsiteY19" fmla="*/ 101307 h 126622"/>
                  <a:gd name="connsiteX20" fmla="*/ 51703 w 65082"/>
                  <a:gd name="connsiteY20" fmla="*/ 14388 h 126622"/>
                  <a:gd name="connsiteX21" fmla="*/ 50731 w 65082"/>
                  <a:gd name="connsiteY21" fmla="*/ 13442 h 126622"/>
                  <a:gd name="connsiteX22" fmla="*/ 50143 w 65082"/>
                  <a:gd name="connsiteY22" fmla="*/ 13366 h 12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082" h="126622">
                    <a:moveTo>
                      <a:pt x="27358" y="126623"/>
                    </a:moveTo>
                    <a:cubicBezTo>
                      <a:pt x="24878" y="126623"/>
                      <a:pt x="22372" y="126290"/>
                      <a:pt x="19891" y="125600"/>
                    </a:cubicBezTo>
                    <a:cubicBezTo>
                      <a:pt x="5699" y="121687"/>
                      <a:pt x="-2842" y="107546"/>
                      <a:pt x="866" y="94070"/>
                    </a:cubicBezTo>
                    <a:cubicBezTo>
                      <a:pt x="1326" y="92357"/>
                      <a:pt x="2017" y="90669"/>
                      <a:pt x="2989" y="88955"/>
                    </a:cubicBezTo>
                    <a:lnTo>
                      <a:pt x="37127" y="8533"/>
                    </a:lnTo>
                    <a:cubicBezTo>
                      <a:pt x="39965" y="1858"/>
                      <a:pt x="47049" y="-1415"/>
                      <a:pt x="54260" y="580"/>
                    </a:cubicBezTo>
                    <a:cubicBezTo>
                      <a:pt x="61522" y="2574"/>
                      <a:pt x="65920" y="8993"/>
                      <a:pt x="64949" y="16204"/>
                    </a:cubicBezTo>
                    <a:lnTo>
                      <a:pt x="53160" y="102764"/>
                    </a:lnTo>
                    <a:cubicBezTo>
                      <a:pt x="53084" y="104733"/>
                      <a:pt x="52828" y="106549"/>
                      <a:pt x="52342" y="108237"/>
                    </a:cubicBezTo>
                    <a:cubicBezTo>
                      <a:pt x="50527" y="114834"/>
                      <a:pt x="46102" y="120281"/>
                      <a:pt x="39863" y="123554"/>
                    </a:cubicBezTo>
                    <a:cubicBezTo>
                      <a:pt x="36002" y="125600"/>
                      <a:pt x="31706" y="126623"/>
                      <a:pt x="27358" y="126623"/>
                    </a:cubicBezTo>
                    <a:close/>
                    <a:moveTo>
                      <a:pt x="50143" y="13366"/>
                    </a:moveTo>
                    <a:cubicBezTo>
                      <a:pt x="49785" y="13366"/>
                      <a:pt x="49555" y="13493"/>
                      <a:pt x="49427" y="13749"/>
                    </a:cubicBezTo>
                    <a:lnTo>
                      <a:pt x="14803" y="95169"/>
                    </a:lnTo>
                    <a:cubicBezTo>
                      <a:pt x="14291" y="96064"/>
                      <a:pt x="13959" y="96857"/>
                      <a:pt x="13755" y="97599"/>
                    </a:cubicBezTo>
                    <a:cubicBezTo>
                      <a:pt x="11990" y="103992"/>
                      <a:pt x="16337" y="110768"/>
                      <a:pt x="23446" y="112712"/>
                    </a:cubicBezTo>
                    <a:cubicBezTo>
                      <a:pt x="26975" y="113683"/>
                      <a:pt x="30606" y="113325"/>
                      <a:pt x="33675" y="111714"/>
                    </a:cubicBezTo>
                    <a:cubicBezTo>
                      <a:pt x="36590" y="110180"/>
                      <a:pt x="38661" y="107674"/>
                      <a:pt x="39505" y="104682"/>
                    </a:cubicBezTo>
                    <a:cubicBezTo>
                      <a:pt x="39710" y="103915"/>
                      <a:pt x="39837" y="103071"/>
                      <a:pt x="39837" y="102048"/>
                    </a:cubicBezTo>
                    <a:lnTo>
                      <a:pt x="39889" y="101307"/>
                    </a:lnTo>
                    <a:lnTo>
                      <a:pt x="51703" y="14388"/>
                    </a:lnTo>
                    <a:cubicBezTo>
                      <a:pt x="51754" y="13954"/>
                      <a:pt x="51447" y="13647"/>
                      <a:pt x="50731" y="13442"/>
                    </a:cubicBezTo>
                    <a:cubicBezTo>
                      <a:pt x="50501" y="13391"/>
                      <a:pt x="50296" y="13366"/>
                      <a:pt x="50143" y="13366"/>
                    </a:cubicBezTo>
                    <a:close/>
                  </a:path>
                </a:pathLst>
              </a:custGeom>
              <a:grpFill/>
              <a:ln w="2553" cap="flat">
                <a:noFill/>
                <a:prstDash val="solid"/>
                <a:miter/>
              </a:ln>
            </p:spPr>
            <p:txBody>
              <a:bodyPr rtlCol="0" anchor="ctr"/>
              <a:lstStyle/>
              <a:p>
                <a:endParaRPr lang="en-GB" dirty="0"/>
              </a:p>
            </p:txBody>
          </p:sp>
        </p:grpSp>
      </p:grpSp>
      <p:sp>
        <p:nvSpPr>
          <p:cNvPr id="1082" name="TextBox 1414">
            <a:extLst>
              <a:ext uri="{FF2B5EF4-FFF2-40B4-BE49-F238E27FC236}">
                <a16:creationId xmlns:a16="http://schemas.microsoft.com/office/drawing/2014/main" id="{9E7C6BC5-090C-46E1-97D7-BBCF1C03FE8F}"/>
              </a:ext>
            </a:extLst>
          </p:cNvPr>
          <p:cNvSpPr txBox="1"/>
          <p:nvPr/>
        </p:nvSpPr>
        <p:spPr>
          <a:xfrm>
            <a:off x="8197596" y="2077494"/>
            <a:ext cx="290144" cy="107722"/>
          </a:xfrm>
          <a:prstGeom prst="rect">
            <a:avLst/>
          </a:prstGeom>
          <a:noFill/>
          <a:effectLst/>
        </p:spPr>
        <p:txBody>
          <a:bodyPr wrap="none" lIns="0" tIns="0" rIns="0" bIns="0" rtlCol="0" anchor="t" anchorCtr="0">
            <a:spAutoFit/>
          </a:bodyPr>
          <a:lstStyle/>
          <a:p>
            <a:pPr algn="ctr"/>
            <a:r>
              <a:rPr lang="en-GB" sz="700" dirty="0">
                <a:solidFill>
                  <a:schemeClr val="tx2"/>
                </a:solidFill>
              </a:rPr>
              <a:t>Metrics</a:t>
            </a:r>
          </a:p>
        </p:txBody>
      </p:sp>
      <p:grpSp>
        <p:nvGrpSpPr>
          <p:cNvPr id="53" name="Group 52">
            <a:extLst>
              <a:ext uri="{FF2B5EF4-FFF2-40B4-BE49-F238E27FC236}">
                <a16:creationId xmlns:a16="http://schemas.microsoft.com/office/drawing/2014/main" id="{7D8BDE65-82AC-D187-A7DE-D7E5BCB3CA54}"/>
              </a:ext>
            </a:extLst>
          </p:cNvPr>
          <p:cNvGrpSpPr/>
          <p:nvPr/>
        </p:nvGrpSpPr>
        <p:grpSpPr>
          <a:xfrm>
            <a:off x="5941065" y="1626716"/>
            <a:ext cx="635284" cy="432000"/>
            <a:chOff x="5940653" y="1626716"/>
            <a:chExt cx="635284" cy="432000"/>
          </a:xfrm>
        </p:grpSpPr>
        <p:grpSp>
          <p:nvGrpSpPr>
            <p:cNvPr id="1084" name="Grafik 313">
              <a:extLst>
                <a:ext uri="{FF2B5EF4-FFF2-40B4-BE49-F238E27FC236}">
                  <a16:creationId xmlns:a16="http://schemas.microsoft.com/office/drawing/2014/main" id="{D16DC267-19A3-4F89-BDEE-AB03971E68C9}"/>
                </a:ext>
              </a:extLst>
            </p:cNvPr>
            <p:cNvGrpSpPr/>
            <p:nvPr/>
          </p:nvGrpSpPr>
          <p:grpSpPr>
            <a:xfrm>
              <a:off x="6164422" y="1626716"/>
              <a:ext cx="411515" cy="346453"/>
              <a:chOff x="6298663" y="1631024"/>
              <a:chExt cx="414790" cy="349210"/>
            </a:xfrm>
            <a:solidFill>
              <a:schemeClr val="tx2"/>
            </a:solidFill>
          </p:grpSpPr>
          <p:grpSp>
            <p:nvGrpSpPr>
              <p:cNvPr id="1098" name="Grafik 313">
                <a:extLst>
                  <a:ext uri="{FF2B5EF4-FFF2-40B4-BE49-F238E27FC236}">
                    <a16:creationId xmlns:a16="http://schemas.microsoft.com/office/drawing/2014/main" id="{0B84EABF-9DE0-49B3-B878-821EB422C680}"/>
                  </a:ext>
                </a:extLst>
              </p:cNvPr>
              <p:cNvGrpSpPr/>
              <p:nvPr/>
            </p:nvGrpSpPr>
            <p:grpSpPr>
              <a:xfrm>
                <a:off x="6298663" y="1662816"/>
                <a:ext cx="312058" cy="317418"/>
                <a:chOff x="6298663" y="1662816"/>
                <a:chExt cx="312058" cy="317418"/>
              </a:xfrm>
              <a:grpFill/>
            </p:grpSpPr>
            <p:sp>
              <p:nvSpPr>
                <p:cNvPr id="1102" name="Freihandform: Form 1101">
                  <a:extLst>
                    <a:ext uri="{FF2B5EF4-FFF2-40B4-BE49-F238E27FC236}">
                      <a16:creationId xmlns:a16="http://schemas.microsoft.com/office/drawing/2014/main" id="{909E9EDD-3463-4CBF-8BCE-664BF211BBDF}"/>
                    </a:ext>
                  </a:extLst>
                </p:cNvPr>
                <p:cNvSpPr/>
                <p:nvPr/>
              </p:nvSpPr>
              <p:spPr>
                <a:xfrm>
                  <a:off x="6298663" y="1817217"/>
                  <a:ext cx="34873" cy="84691"/>
                </a:xfrm>
                <a:custGeom>
                  <a:avLst/>
                  <a:gdLst>
                    <a:gd name="connsiteX0" fmla="*/ 28215 w 34873"/>
                    <a:gd name="connsiteY0" fmla="*/ 84691 h 84691"/>
                    <a:gd name="connsiteX1" fmla="*/ 21822 w 34873"/>
                    <a:gd name="connsiteY1" fmla="*/ 79935 h 84691"/>
                    <a:gd name="connsiteX2" fmla="*/ 291 w 34873"/>
                    <a:gd name="connsiteY2" fmla="*/ 8590 h 84691"/>
                    <a:gd name="connsiteX3" fmla="*/ 4740 w 34873"/>
                    <a:gd name="connsiteY3" fmla="*/ 279 h 84691"/>
                    <a:gd name="connsiteX4" fmla="*/ 13051 w 34873"/>
                    <a:gd name="connsiteY4" fmla="*/ 4729 h 84691"/>
                    <a:gd name="connsiteX5" fmla="*/ 34582 w 34873"/>
                    <a:gd name="connsiteY5" fmla="*/ 76074 h 84691"/>
                    <a:gd name="connsiteX6" fmla="*/ 30133 w 34873"/>
                    <a:gd name="connsiteY6" fmla="*/ 84385 h 84691"/>
                    <a:gd name="connsiteX7" fmla="*/ 28215 w 34873"/>
                    <a:gd name="connsiteY7" fmla="*/ 84691 h 84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3" h="84691">
                      <a:moveTo>
                        <a:pt x="28215" y="84691"/>
                      </a:moveTo>
                      <a:cubicBezTo>
                        <a:pt x="25351" y="84691"/>
                        <a:pt x="22692" y="82825"/>
                        <a:pt x="21822" y="79935"/>
                      </a:cubicBezTo>
                      <a:lnTo>
                        <a:pt x="291" y="8590"/>
                      </a:lnTo>
                      <a:cubicBezTo>
                        <a:pt x="-783" y="5061"/>
                        <a:pt x="1211" y="1328"/>
                        <a:pt x="4740" y="279"/>
                      </a:cubicBezTo>
                      <a:cubicBezTo>
                        <a:pt x="8295" y="-769"/>
                        <a:pt x="12003" y="1225"/>
                        <a:pt x="13051" y="4729"/>
                      </a:cubicBezTo>
                      <a:lnTo>
                        <a:pt x="34582" y="76074"/>
                      </a:lnTo>
                      <a:cubicBezTo>
                        <a:pt x="35656" y="79603"/>
                        <a:pt x="33662" y="83336"/>
                        <a:pt x="30133" y="84385"/>
                      </a:cubicBezTo>
                      <a:cubicBezTo>
                        <a:pt x="29519" y="84615"/>
                        <a:pt x="28854" y="84691"/>
                        <a:pt x="28215" y="84691"/>
                      </a:cubicBezTo>
                      <a:close/>
                    </a:path>
                  </a:pathLst>
                </a:custGeom>
                <a:grpFill/>
                <a:ln w="2553" cap="flat">
                  <a:noFill/>
                  <a:prstDash val="solid"/>
                  <a:miter/>
                </a:ln>
              </p:spPr>
              <p:txBody>
                <a:bodyPr rtlCol="0" anchor="ctr"/>
                <a:lstStyle/>
                <a:p>
                  <a:endParaRPr lang="en-GB" dirty="0"/>
                </a:p>
              </p:txBody>
            </p:sp>
            <p:sp>
              <p:nvSpPr>
                <p:cNvPr id="1103" name="Freihandform: Form 1102">
                  <a:extLst>
                    <a:ext uri="{FF2B5EF4-FFF2-40B4-BE49-F238E27FC236}">
                      <a16:creationId xmlns:a16="http://schemas.microsoft.com/office/drawing/2014/main" id="{686BF545-CF27-4891-B5CE-D2C6DD396990}"/>
                    </a:ext>
                  </a:extLst>
                </p:cNvPr>
                <p:cNvSpPr/>
                <p:nvPr/>
              </p:nvSpPr>
              <p:spPr>
                <a:xfrm>
                  <a:off x="6317055" y="1768881"/>
                  <a:ext cx="122956" cy="143691"/>
                </a:xfrm>
                <a:custGeom>
                  <a:avLst/>
                  <a:gdLst>
                    <a:gd name="connsiteX0" fmla="*/ 38975 w 122956"/>
                    <a:gd name="connsiteY0" fmla="*/ 143691 h 143691"/>
                    <a:gd name="connsiteX1" fmla="*/ 32582 w 122956"/>
                    <a:gd name="connsiteY1" fmla="*/ 138935 h 143691"/>
                    <a:gd name="connsiteX2" fmla="*/ 285 w 122956"/>
                    <a:gd name="connsiteY2" fmla="*/ 31943 h 143691"/>
                    <a:gd name="connsiteX3" fmla="*/ 797 w 122956"/>
                    <a:gd name="connsiteY3" fmla="*/ 26854 h 143691"/>
                    <a:gd name="connsiteX4" fmla="*/ 4760 w 122956"/>
                    <a:gd name="connsiteY4" fmla="*/ 23607 h 143691"/>
                    <a:gd name="connsiteX5" fmla="*/ 82038 w 122956"/>
                    <a:gd name="connsiteY5" fmla="*/ 285 h 143691"/>
                    <a:gd name="connsiteX6" fmla="*/ 87127 w 122956"/>
                    <a:gd name="connsiteY6" fmla="*/ 797 h 143691"/>
                    <a:gd name="connsiteX7" fmla="*/ 90374 w 122956"/>
                    <a:gd name="connsiteY7" fmla="*/ 4760 h 143691"/>
                    <a:gd name="connsiteX8" fmla="*/ 122671 w 122956"/>
                    <a:gd name="connsiteY8" fmla="*/ 111752 h 143691"/>
                    <a:gd name="connsiteX9" fmla="*/ 122160 w 122956"/>
                    <a:gd name="connsiteY9" fmla="*/ 116841 h 143691"/>
                    <a:gd name="connsiteX10" fmla="*/ 118196 w 122956"/>
                    <a:gd name="connsiteY10" fmla="*/ 120089 h 143691"/>
                    <a:gd name="connsiteX11" fmla="*/ 40919 w 122956"/>
                    <a:gd name="connsiteY11" fmla="*/ 143410 h 143691"/>
                    <a:gd name="connsiteX12" fmla="*/ 38975 w 122956"/>
                    <a:gd name="connsiteY12" fmla="*/ 143691 h 143691"/>
                    <a:gd name="connsiteX13" fmla="*/ 15015 w 122956"/>
                    <a:gd name="connsiteY13" fmla="*/ 34475 h 143691"/>
                    <a:gd name="connsiteX14" fmla="*/ 43450 w 122956"/>
                    <a:gd name="connsiteY14" fmla="*/ 128681 h 143691"/>
                    <a:gd name="connsiteX15" fmla="*/ 107942 w 122956"/>
                    <a:gd name="connsiteY15" fmla="*/ 109221 h 143691"/>
                    <a:gd name="connsiteX16" fmla="*/ 79506 w 122956"/>
                    <a:gd name="connsiteY16" fmla="*/ 14989 h 143691"/>
                    <a:gd name="connsiteX17" fmla="*/ 15015 w 122956"/>
                    <a:gd name="connsiteY17" fmla="*/ 34475 h 143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956" h="143691">
                      <a:moveTo>
                        <a:pt x="38975" y="143691"/>
                      </a:moveTo>
                      <a:cubicBezTo>
                        <a:pt x="36111" y="143691"/>
                        <a:pt x="33452" y="141825"/>
                        <a:pt x="32582" y="138935"/>
                      </a:cubicBezTo>
                      <a:lnTo>
                        <a:pt x="285" y="31943"/>
                      </a:lnTo>
                      <a:cubicBezTo>
                        <a:pt x="-226" y="30255"/>
                        <a:pt x="-47" y="28414"/>
                        <a:pt x="797" y="26854"/>
                      </a:cubicBezTo>
                      <a:cubicBezTo>
                        <a:pt x="1641" y="25295"/>
                        <a:pt x="3047" y="24118"/>
                        <a:pt x="4760" y="23607"/>
                      </a:cubicBezTo>
                      <a:lnTo>
                        <a:pt x="82038" y="285"/>
                      </a:lnTo>
                      <a:cubicBezTo>
                        <a:pt x="83726" y="-226"/>
                        <a:pt x="85567" y="-47"/>
                        <a:pt x="87127" y="797"/>
                      </a:cubicBezTo>
                      <a:cubicBezTo>
                        <a:pt x="88687" y="1641"/>
                        <a:pt x="89863" y="3047"/>
                        <a:pt x="90374" y="4760"/>
                      </a:cubicBezTo>
                      <a:lnTo>
                        <a:pt x="122671" y="111752"/>
                      </a:lnTo>
                      <a:cubicBezTo>
                        <a:pt x="123183" y="113440"/>
                        <a:pt x="123004" y="115281"/>
                        <a:pt x="122160" y="116841"/>
                      </a:cubicBezTo>
                      <a:cubicBezTo>
                        <a:pt x="121316" y="118401"/>
                        <a:pt x="119910" y="119577"/>
                        <a:pt x="118196" y="120089"/>
                      </a:cubicBezTo>
                      <a:lnTo>
                        <a:pt x="40919" y="143410"/>
                      </a:lnTo>
                      <a:cubicBezTo>
                        <a:pt x="40280" y="143589"/>
                        <a:pt x="39615" y="143691"/>
                        <a:pt x="38975" y="143691"/>
                      </a:cubicBezTo>
                      <a:close/>
                      <a:moveTo>
                        <a:pt x="15015" y="34475"/>
                      </a:moveTo>
                      <a:lnTo>
                        <a:pt x="43450" y="128681"/>
                      </a:lnTo>
                      <a:lnTo>
                        <a:pt x="107942" y="109221"/>
                      </a:lnTo>
                      <a:lnTo>
                        <a:pt x="79506" y="14989"/>
                      </a:lnTo>
                      <a:lnTo>
                        <a:pt x="15015" y="34475"/>
                      </a:lnTo>
                      <a:close/>
                    </a:path>
                  </a:pathLst>
                </a:custGeom>
                <a:grpFill/>
                <a:ln w="2553" cap="flat">
                  <a:noFill/>
                  <a:prstDash val="solid"/>
                  <a:miter/>
                </a:ln>
              </p:spPr>
              <p:txBody>
                <a:bodyPr rtlCol="0" anchor="ctr"/>
                <a:lstStyle/>
                <a:p>
                  <a:endParaRPr lang="en-GB" dirty="0"/>
                </a:p>
              </p:txBody>
            </p:sp>
            <p:sp>
              <p:nvSpPr>
                <p:cNvPr id="1104" name="Freihandform: Form 1103">
                  <a:extLst>
                    <a:ext uri="{FF2B5EF4-FFF2-40B4-BE49-F238E27FC236}">
                      <a16:creationId xmlns:a16="http://schemas.microsoft.com/office/drawing/2014/main" id="{3D28D17A-40C4-4BA4-A1C3-B5B84F36D755}"/>
                    </a:ext>
                  </a:extLst>
                </p:cNvPr>
                <p:cNvSpPr/>
                <p:nvPr/>
              </p:nvSpPr>
              <p:spPr>
                <a:xfrm>
                  <a:off x="6394388" y="1662816"/>
                  <a:ext cx="216333" cy="233287"/>
                </a:xfrm>
                <a:custGeom>
                  <a:avLst/>
                  <a:gdLst>
                    <a:gd name="connsiteX0" fmla="*/ 209636 w 216333"/>
                    <a:gd name="connsiteY0" fmla="*/ 233288 h 233287"/>
                    <a:gd name="connsiteX1" fmla="*/ 209381 w 216333"/>
                    <a:gd name="connsiteY1" fmla="*/ 233288 h 233287"/>
                    <a:gd name="connsiteX2" fmla="*/ 38690 w 216333"/>
                    <a:gd name="connsiteY2" fmla="*/ 226435 h 233287"/>
                    <a:gd name="connsiteX3" fmla="*/ 32578 w 216333"/>
                    <a:gd name="connsiteY3" fmla="*/ 221704 h 233287"/>
                    <a:gd name="connsiteX4" fmla="*/ 281 w 216333"/>
                    <a:gd name="connsiteY4" fmla="*/ 114712 h 233287"/>
                    <a:gd name="connsiteX5" fmla="*/ 2583 w 216333"/>
                    <a:gd name="connsiteY5" fmla="*/ 107501 h 233287"/>
                    <a:gd name="connsiteX6" fmla="*/ 139186 w 216333"/>
                    <a:gd name="connsiteY6" fmla="*/ 1404 h 233287"/>
                    <a:gd name="connsiteX7" fmla="*/ 145298 w 216333"/>
                    <a:gd name="connsiteY7" fmla="*/ 330 h 233287"/>
                    <a:gd name="connsiteX8" fmla="*/ 149671 w 216333"/>
                    <a:gd name="connsiteY8" fmla="*/ 4754 h 233287"/>
                    <a:gd name="connsiteX9" fmla="*/ 216055 w 216333"/>
                    <a:gd name="connsiteY9" fmla="*/ 224696 h 233287"/>
                    <a:gd name="connsiteX10" fmla="*/ 214930 w 216333"/>
                    <a:gd name="connsiteY10" fmla="*/ 230705 h 233287"/>
                    <a:gd name="connsiteX11" fmla="*/ 209636 w 216333"/>
                    <a:gd name="connsiteY11" fmla="*/ 233288 h 233287"/>
                    <a:gd name="connsiteX12" fmla="*/ 43957 w 216333"/>
                    <a:gd name="connsiteY12" fmla="*/ 213291 h 233287"/>
                    <a:gd name="connsiteX13" fmla="*/ 200533 w 216333"/>
                    <a:gd name="connsiteY13" fmla="*/ 219582 h 233287"/>
                    <a:gd name="connsiteX14" fmla="*/ 139672 w 216333"/>
                    <a:gd name="connsiteY14" fmla="*/ 17923 h 233287"/>
                    <a:gd name="connsiteX15" fmla="*/ 14346 w 216333"/>
                    <a:gd name="connsiteY15" fmla="*/ 115249 h 233287"/>
                    <a:gd name="connsiteX16" fmla="*/ 43957 w 216333"/>
                    <a:gd name="connsiteY16" fmla="*/ 213291 h 23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6333" h="233287">
                      <a:moveTo>
                        <a:pt x="209636" y="233288"/>
                      </a:moveTo>
                      <a:cubicBezTo>
                        <a:pt x="209560" y="233288"/>
                        <a:pt x="209457" y="233288"/>
                        <a:pt x="209381" y="233288"/>
                      </a:cubicBezTo>
                      <a:lnTo>
                        <a:pt x="38690" y="226435"/>
                      </a:lnTo>
                      <a:cubicBezTo>
                        <a:pt x="35851" y="226333"/>
                        <a:pt x="33396" y="224415"/>
                        <a:pt x="32578" y="221704"/>
                      </a:cubicBezTo>
                      <a:lnTo>
                        <a:pt x="281" y="114712"/>
                      </a:lnTo>
                      <a:cubicBezTo>
                        <a:pt x="-512" y="112078"/>
                        <a:pt x="409" y="109214"/>
                        <a:pt x="2583" y="107501"/>
                      </a:cubicBezTo>
                      <a:lnTo>
                        <a:pt x="139186" y="1404"/>
                      </a:lnTo>
                      <a:cubicBezTo>
                        <a:pt x="140925" y="49"/>
                        <a:pt x="143201" y="-360"/>
                        <a:pt x="145298" y="330"/>
                      </a:cubicBezTo>
                      <a:cubicBezTo>
                        <a:pt x="147395" y="995"/>
                        <a:pt x="149032" y="2657"/>
                        <a:pt x="149671" y="4754"/>
                      </a:cubicBezTo>
                      <a:lnTo>
                        <a:pt x="216055" y="224696"/>
                      </a:lnTo>
                      <a:cubicBezTo>
                        <a:pt x="216668" y="226767"/>
                        <a:pt x="216259" y="228992"/>
                        <a:pt x="214930" y="230705"/>
                      </a:cubicBezTo>
                      <a:cubicBezTo>
                        <a:pt x="213651" y="232342"/>
                        <a:pt x="211682" y="233288"/>
                        <a:pt x="209636" y="233288"/>
                      </a:cubicBezTo>
                      <a:close/>
                      <a:moveTo>
                        <a:pt x="43957" y="213291"/>
                      </a:moveTo>
                      <a:lnTo>
                        <a:pt x="200533" y="219582"/>
                      </a:lnTo>
                      <a:lnTo>
                        <a:pt x="139672" y="17923"/>
                      </a:lnTo>
                      <a:lnTo>
                        <a:pt x="14346" y="115249"/>
                      </a:lnTo>
                      <a:lnTo>
                        <a:pt x="43957" y="213291"/>
                      </a:lnTo>
                      <a:close/>
                    </a:path>
                  </a:pathLst>
                </a:custGeom>
                <a:grpFill/>
                <a:ln w="2553" cap="flat">
                  <a:noFill/>
                  <a:prstDash val="solid"/>
                  <a:miter/>
                </a:ln>
              </p:spPr>
              <p:txBody>
                <a:bodyPr rtlCol="0" anchor="ctr"/>
                <a:lstStyle/>
                <a:p>
                  <a:endParaRPr lang="en-GB" dirty="0"/>
                </a:p>
              </p:txBody>
            </p:sp>
            <p:sp>
              <p:nvSpPr>
                <p:cNvPr id="1105" name="Freihandform: Form 1104">
                  <a:extLst>
                    <a:ext uri="{FF2B5EF4-FFF2-40B4-BE49-F238E27FC236}">
                      <a16:creationId xmlns:a16="http://schemas.microsoft.com/office/drawing/2014/main" id="{8C333A21-04C0-41AF-B2D4-7A0F4F579CA1}"/>
                    </a:ext>
                  </a:extLst>
                </p:cNvPr>
                <p:cNvSpPr/>
                <p:nvPr/>
              </p:nvSpPr>
              <p:spPr>
                <a:xfrm>
                  <a:off x="6363043" y="1896647"/>
                  <a:ext cx="83146" cy="83587"/>
                </a:xfrm>
                <a:custGeom>
                  <a:avLst/>
                  <a:gdLst>
                    <a:gd name="connsiteX0" fmla="*/ 43210 w 83146"/>
                    <a:gd name="connsiteY0" fmla="*/ 83588 h 83587"/>
                    <a:gd name="connsiteX1" fmla="*/ 37277 w 83146"/>
                    <a:gd name="connsiteY1" fmla="*/ 79982 h 83587"/>
                    <a:gd name="connsiteX2" fmla="*/ 761 w 83146"/>
                    <a:gd name="connsiteY2" fmla="*/ 9762 h 83587"/>
                    <a:gd name="connsiteX3" fmla="*/ 3600 w 83146"/>
                    <a:gd name="connsiteY3" fmla="*/ 761 h 83587"/>
                    <a:gd name="connsiteX4" fmla="*/ 12601 w 83146"/>
                    <a:gd name="connsiteY4" fmla="*/ 3600 h 83587"/>
                    <a:gd name="connsiteX5" fmla="*/ 46074 w 83146"/>
                    <a:gd name="connsiteY5" fmla="*/ 67963 h 83587"/>
                    <a:gd name="connsiteX6" fmla="*/ 67554 w 83146"/>
                    <a:gd name="connsiteY6" fmla="*/ 57121 h 83587"/>
                    <a:gd name="connsiteX7" fmla="*/ 47839 w 83146"/>
                    <a:gd name="connsiteY7" fmla="*/ 16692 h 83587"/>
                    <a:gd name="connsiteX8" fmla="*/ 50907 w 83146"/>
                    <a:gd name="connsiteY8" fmla="*/ 7768 h 83587"/>
                    <a:gd name="connsiteX9" fmla="*/ 59832 w 83146"/>
                    <a:gd name="connsiteY9" fmla="*/ 10836 h 83587"/>
                    <a:gd name="connsiteX10" fmla="*/ 82463 w 83146"/>
                    <a:gd name="connsiteY10" fmla="*/ 57172 h 83587"/>
                    <a:gd name="connsiteX11" fmla="*/ 79471 w 83146"/>
                    <a:gd name="connsiteY11" fmla="*/ 66046 h 83587"/>
                    <a:gd name="connsiteX12" fmla="*/ 46228 w 83146"/>
                    <a:gd name="connsiteY12" fmla="*/ 82846 h 83587"/>
                    <a:gd name="connsiteX13" fmla="*/ 43210 w 83146"/>
                    <a:gd name="connsiteY13" fmla="*/ 83588 h 83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46" h="83587">
                      <a:moveTo>
                        <a:pt x="43210" y="83588"/>
                      </a:moveTo>
                      <a:cubicBezTo>
                        <a:pt x="40806" y="83588"/>
                        <a:pt x="38479" y="82284"/>
                        <a:pt x="37277" y="79982"/>
                      </a:cubicBezTo>
                      <a:lnTo>
                        <a:pt x="761" y="9762"/>
                      </a:lnTo>
                      <a:cubicBezTo>
                        <a:pt x="-952" y="6489"/>
                        <a:pt x="326" y="2474"/>
                        <a:pt x="3600" y="761"/>
                      </a:cubicBezTo>
                      <a:cubicBezTo>
                        <a:pt x="6873" y="-952"/>
                        <a:pt x="10887" y="326"/>
                        <a:pt x="12601" y="3600"/>
                      </a:cubicBezTo>
                      <a:lnTo>
                        <a:pt x="46074" y="67963"/>
                      </a:lnTo>
                      <a:lnTo>
                        <a:pt x="67554" y="57121"/>
                      </a:lnTo>
                      <a:lnTo>
                        <a:pt x="47839" y="16692"/>
                      </a:lnTo>
                      <a:cubicBezTo>
                        <a:pt x="46228" y="13394"/>
                        <a:pt x="47583" y="9379"/>
                        <a:pt x="50907" y="7768"/>
                      </a:cubicBezTo>
                      <a:cubicBezTo>
                        <a:pt x="54232" y="6131"/>
                        <a:pt x="58221" y="7512"/>
                        <a:pt x="59832" y="10836"/>
                      </a:cubicBezTo>
                      <a:lnTo>
                        <a:pt x="82463" y="57172"/>
                      </a:lnTo>
                      <a:cubicBezTo>
                        <a:pt x="84074" y="60445"/>
                        <a:pt x="82744" y="64409"/>
                        <a:pt x="79471" y="66046"/>
                      </a:cubicBezTo>
                      <a:lnTo>
                        <a:pt x="46228" y="82846"/>
                      </a:lnTo>
                      <a:cubicBezTo>
                        <a:pt x="45256" y="83358"/>
                        <a:pt x="44233" y="83588"/>
                        <a:pt x="43210" y="83588"/>
                      </a:cubicBezTo>
                      <a:close/>
                    </a:path>
                  </a:pathLst>
                </a:custGeom>
                <a:grpFill/>
                <a:ln w="2553" cap="flat">
                  <a:noFill/>
                  <a:prstDash val="solid"/>
                  <a:miter/>
                </a:ln>
              </p:spPr>
              <p:txBody>
                <a:bodyPr rtlCol="0" anchor="ctr"/>
                <a:lstStyle/>
                <a:p>
                  <a:endParaRPr lang="en-GB" dirty="0"/>
                </a:p>
              </p:txBody>
            </p:sp>
          </p:grpSp>
          <p:sp>
            <p:nvSpPr>
              <p:cNvPr id="1099" name="Freihandform: Form 1098">
                <a:extLst>
                  <a:ext uri="{FF2B5EF4-FFF2-40B4-BE49-F238E27FC236}">
                    <a16:creationId xmlns:a16="http://schemas.microsoft.com/office/drawing/2014/main" id="{82EEFB6F-A88C-43E9-A688-63EB014CD1A5}"/>
                  </a:ext>
                </a:extLst>
              </p:cNvPr>
              <p:cNvSpPr/>
              <p:nvPr/>
            </p:nvSpPr>
            <p:spPr>
              <a:xfrm>
                <a:off x="6590109" y="1631024"/>
                <a:ext cx="56572" cy="79429"/>
              </a:xfrm>
              <a:custGeom>
                <a:avLst/>
                <a:gdLst>
                  <a:gd name="connsiteX0" fmla="*/ 6678 w 56572"/>
                  <a:gd name="connsiteY0" fmla="*/ 79430 h 79429"/>
                  <a:gd name="connsiteX1" fmla="*/ 3022 w 56572"/>
                  <a:gd name="connsiteY1" fmla="*/ 78330 h 79429"/>
                  <a:gd name="connsiteX2" fmla="*/ 1078 w 56572"/>
                  <a:gd name="connsiteY2" fmla="*/ 69099 h 79429"/>
                  <a:gd name="connsiteX3" fmla="*/ 44320 w 56572"/>
                  <a:gd name="connsiteY3" fmla="*/ 3022 h 79429"/>
                  <a:gd name="connsiteX4" fmla="*/ 53551 w 56572"/>
                  <a:gd name="connsiteY4" fmla="*/ 1078 h 79429"/>
                  <a:gd name="connsiteX5" fmla="*/ 55495 w 56572"/>
                  <a:gd name="connsiteY5" fmla="*/ 10310 h 79429"/>
                  <a:gd name="connsiteX6" fmla="*/ 12253 w 56572"/>
                  <a:gd name="connsiteY6" fmla="*/ 76387 h 79429"/>
                  <a:gd name="connsiteX7" fmla="*/ 6678 w 56572"/>
                  <a:gd name="connsiteY7" fmla="*/ 79430 h 79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572" h="79429">
                    <a:moveTo>
                      <a:pt x="6678" y="79430"/>
                    </a:moveTo>
                    <a:cubicBezTo>
                      <a:pt x="5425" y="79430"/>
                      <a:pt x="4147" y="79072"/>
                      <a:pt x="3022" y="78330"/>
                    </a:cubicBezTo>
                    <a:cubicBezTo>
                      <a:pt x="-72" y="76310"/>
                      <a:pt x="-916" y="72167"/>
                      <a:pt x="1078" y="69099"/>
                    </a:cubicBezTo>
                    <a:lnTo>
                      <a:pt x="44320" y="3022"/>
                    </a:lnTo>
                    <a:cubicBezTo>
                      <a:pt x="46340" y="-73"/>
                      <a:pt x="50483" y="-916"/>
                      <a:pt x="53551" y="1078"/>
                    </a:cubicBezTo>
                    <a:cubicBezTo>
                      <a:pt x="56645" y="3098"/>
                      <a:pt x="57489" y="7241"/>
                      <a:pt x="55495" y="10310"/>
                    </a:cubicBezTo>
                    <a:lnTo>
                      <a:pt x="12253" y="76387"/>
                    </a:lnTo>
                    <a:cubicBezTo>
                      <a:pt x="10974" y="78356"/>
                      <a:pt x="8852" y="79430"/>
                      <a:pt x="6678" y="79430"/>
                    </a:cubicBezTo>
                    <a:close/>
                  </a:path>
                </a:pathLst>
              </a:custGeom>
              <a:grpFill/>
              <a:ln w="2553" cap="flat">
                <a:noFill/>
                <a:prstDash val="solid"/>
                <a:miter/>
              </a:ln>
            </p:spPr>
            <p:txBody>
              <a:bodyPr rtlCol="0" anchor="ctr"/>
              <a:lstStyle/>
              <a:p>
                <a:endParaRPr lang="en-GB" dirty="0"/>
              </a:p>
            </p:txBody>
          </p:sp>
          <p:sp>
            <p:nvSpPr>
              <p:cNvPr id="1100" name="Freihandform: Form 1099">
                <a:extLst>
                  <a:ext uri="{FF2B5EF4-FFF2-40B4-BE49-F238E27FC236}">
                    <a16:creationId xmlns:a16="http://schemas.microsoft.com/office/drawing/2014/main" id="{5FE384C5-23D0-419D-9D5E-D69BB2D3DC67}"/>
                  </a:ext>
                </a:extLst>
              </p:cNvPr>
              <p:cNvSpPr/>
              <p:nvPr/>
            </p:nvSpPr>
            <p:spPr>
              <a:xfrm>
                <a:off x="6608208" y="1737843"/>
                <a:ext cx="77245" cy="32627"/>
              </a:xfrm>
              <a:custGeom>
                <a:avLst/>
                <a:gdLst>
                  <a:gd name="connsiteX0" fmla="*/ 6684 w 77245"/>
                  <a:gd name="connsiteY0" fmla="*/ 32627 h 32627"/>
                  <a:gd name="connsiteX1" fmla="*/ 291 w 77245"/>
                  <a:gd name="connsiteY1" fmla="*/ 27871 h 32627"/>
                  <a:gd name="connsiteX2" fmla="*/ 4740 w 77245"/>
                  <a:gd name="connsiteY2" fmla="*/ 19560 h 32627"/>
                  <a:gd name="connsiteX3" fmla="*/ 68644 w 77245"/>
                  <a:gd name="connsiteY3" fmla="*/ 279 h 32627"/>
                  <a:gd name="connsiteX4" fmla="*/ 76955 w 77245"/>
                  <a:gd name="connsiteY4" fmla="*/ 4729 h 32627"/>
                  <a:gd name="connsiteX5" fmla="*/ 72505 w 77245"/>
                  <a:gd name="connsiteY5" fmla="*/ 13040 h 32627"/>
                  <a:gd name="connsiteX6" fmla="*/ 8602 w 77245"/>
                  <a:gd name="connsiteY6" fmla="*/ 32321 h 32627"/>
                  <a:gd name="connsiteX7" fmla="*/ 6684 w 77245"/>
                  <a:gd name="connsiteY7" fmla="*/ 32627 h 3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45" h="32627">
                    <a:moveTo>
                      <a:pt x="6684" y="32627"/>
                    </a:moveTo>
                    <a:cubicBezTo>
                      <a:pt x="3820" y="32627"/>
                      <a:pt x="1160" y="30761"/>
                      <a:pt x="291" y="27871"/>
                    </a:cubicBezTo>
                    <a:cubicBezTo>
                      <a:pt x="-783" y="24342"/>
                      <a:pt x="1211" y="20609"/>
                      <a:pt x="4740" y="19560"/>
                    </a:cubicBezTo>
                    <a:lnTo>
                      <a:pt x="68644" y="279"/>
                    </a:lnTo>
                    <a:cubicBezTo>
                      <a:pt x="72198" y="-769"/>
                      <a:pt x="75906" y="1225"/>
                      <a:pt x="76955" y="4729"/>
                    </a:cubicBezTo>
                    <a:cubicBezTo>
                      <a:pt x="78029" y="8258"/>
                      <a:pt x="76034" y="11991"/>
                      <a:pt x="72505" y="13040"/>
                    </a:cubicBezTo>
                    <a:lnTo>
                      <a:pt x="8602" y="32321"/>
                    </a:lnTo>
                    <a:cubicBezTo>
                      <a:pt x="7988" y="32525"/>
                      <a:pt x="7323" y="32627"/>
                      <a:pt x="6684" y="32627"/>
                    </a:cubicBezTo>
                    <a:close/>
                  </a:path>
                </a:pathLst>
              </a:custGeom>
              <a:grpFill/>
              <a:ln w="2553" cap="flat">
                <a:noFill/>
                <a:prstDash val="solid"/>
                <a:miter/>
              </a:ln>
            </p:spPr>
            <p:txBody>
              <a:bodyPr rtlCol="0" anchor="ctr"/>
              <a:lstStyle/>
              <a:p>
                <a:endParaRPr lang="en-GB" dirty="0"/>
              </a:p>
            </p:txBody>
          </p:sp>
          <p:sp>
            <p:nvSpPr>
              <p:cNvPr id="1101" name="Freihandform: Form 1100">
                <a:extLst>
                  <a:ext uri="{FF2B5EF4-FFF2-40B4-BE49-F238E27FC236}">
                    <a16:creationId xmlns:a16="http://schemas.microsoft.com/office/drawing/2014/main" id="{C88EFAA6-1671-4A73-B501-0173043FAAD5}"/>
                  </a:ext>
                </a:extLst>
              </p:cNvPr>
              <p:cNvSpPr/>
              <p:nvPr/>
            </p:nvSpPr>
            <p:spPr>
              <a:xfrm>
                <a:off x="6627490" y="1821020"/>
                <a:ext cx="85964" cy="44474"/>
              </a:xfrm>
              <a:custGeom>
                <a:avLst/>
                <a:gdLst>
                  <a:gd name="connsiteX0" fmla="*/ 79281 w 85964"/>
                  <a:gd name="connsiteY0" fmla="*/ 44474 h 44474"/>
                  <a:gd name="connsiteX1" fmla="*/ 76647 w 85964"/>
                  <a:gd name="connsiteY1" fmla="*/ 43937 h 44474"/>
                  <a:gd name="connsiteX2" fmla="*/ 4049 w 85964"/>
                  <a:gd name="connsiteY2" fmla="*/ 12817 h 44474"/>
                  <a:gd name="connsiteX3" fmla="*/ 546 w 85964"/>
                  <a:gd name="connsiteY3" fmla="*/ 4046 h 44474"/>
                  <a:gd name="connsiteX4" fmla="*/ 9317 w 85964"/>
                  <a:gd name="connsiteY4" fmla="*/ 542 h 44474"/>
                  <a:gd name="connsiteX5" fmla="*/ 81915 w 85964"/>
                  <a:gd name="connsiteY5" fmla="*/ 31663 h 44474"/>
                  <a:gd name="connsiteX6" fmla="*/ 85418 w 85964"/>
                  <a:gd name="connsiteY6" fmla="*/ 40434 h 44474"/>
                  <a:gd name="connsiteX7" fmla="*/ 79281 w 85964"/>
                  <a:gd name="connsiteY7" fmla="*/ 44474 h 4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964" h="44474">
                    <a:moveTo>
                      <a:pt x="79281" y="44474"/>
                    </a:moveTo>
                    <a:cubicBezTo>
                      <a:pt x="78412" y="44474"/>
                      <a:pt x="77517" y="44295"/>
                      <a:pt x="76647" y="43937"/>
                    </a:cubicBezTo>
                    <a:lnTo>
                      <a:pt x="4049" y="12817"/>
                    </a:lnTo>
                    <a:cubicBezTo>
                      <a:pt x="648" y="11359"/>
                      <a:pt x="-912" y="7447"/>
                      <a:pt x="546" y="4046"/>
                    </a:cubicBezTo>
                    <a:cubicBezTo>
                      <a:pt x="2004" y="670"/>
                      <a:pt x="5916" y="-915"/>
                      <a:pt x="9317" y="542"/>
                    </a:cubicBezTo>
                    <a:lnTo>
                      <a:pt x="81915" y="31663"/>
                    </a:lnTo>
                    <a:cubicBezTo>
                      <a:pt x="85316" y="33121"/>
                      <a:pt x="86876" y="37033"/>
                      <a:pt x="85418" y="40434"/>
                    </a:cubicBezTo>
                    <a:cubicBezTo>
                      <a:pt x="84344" y="42966"/>
                      <a:pt x="81864" y="44474"/>
                      <a:pt x="79281" y="44474"/>
                    </a:cubicBezTo>
                    <a:close/>
                  </a:path>
                </a:pathLst>
              </a:custGeom>
              <a:grpFill/>
              <a:ln w="2553" cap="flat">
                <a:noFill/>
                <a:prstDash val="solid"/>
                <a:miter/>
              </a:ln>
            </p:spPr>
            <p:txBody>
              <a:bodyPr rtlCol="0" anchor="ctr"/>
              <a:lstStyle/>
              <a:p>
                <a:endParaRPr lang="en-GB" dirty="0"/>
              </a:p>
            </p:txBody>
          </p:sp>
        </p:grpSp>
        <p:grpSp>
          <p:nvGrpSpPr>
            <p:cNvPr id="1085" name="Grafik 313">
              <a:extLst>
                <a:ext uri="{FF2B5EF4-FFF2-40B4-BE49-F238E27FC236}">
                  <a16:creationId xmlns:a16="http://schemas.microsoft.com/office/drawing/2014/main" id="{693AD822-F6B4-45EC-A0F5-9CFB14617B30}"/>
                </a:ext>
              </a:extLst>
            </p:cNvPr>
            <p:cNvGrpSpPr/>
            <p:nvPr/>
          </p:nvGrpSpPr>
          <p:grpSpPr>
            <a:xfrm>
              <a:off x="5940653" y="1714170"/>
              <a:ext cx="315942" cy="344546"/>
              <a:chOff x="6073105" y="1719174"/>
              <a:chExt cx="318456" cy="347288"/>
            </a:xfrm>
            <a:solidFill>
              <a:schemeClr val="accent1"/>
            </a:solidFill>
          </p:grpSpPr>
          <p:sp>
            <p:nvSpPr>
              <p:cNvPr id="1086" name="Freihandform: Form 1085">
                <a:extLst>
                  <a:ext uri="{FF2B5EF4-FFF2-40B4-BE49-F238E27FC236}">
                    <a16:creationId xmlns:a16="http://schemas.microsoft.com/office/drawing/2014/main" id="{6893E52C-95C6-4924-8D88-1B324B0DDB4A}"/>
                  </a:ext>
                </a:extLst>
              </p:cNvPr>
              <p:cNvSpPr/>
              <p:nvPr/>
            </p:nvSpPr>
            <p:spPr>
              <a:xfrm>
                <a:off x="6134145" y="1719174"/>
                <a:ext cx="248863" cy="232625"/>
              </a:xfrm>
              <a:custGeom>
                <a:avLst/>
                <a:gdLst>
                  <a:gd name="connsiteX0" fmla="*/ 26058 w 248863"/>
                  <a:gd name="connsiteY0" fmla="*/ 232626 h 232625"/>
                  <a:gd name="connsiteX1" fmla="*/ 20278 w 248863"/>
                  <a:gd name="connsiteY1" fmla="*/ 229276 h 232625"/>
                  <a:gd name="connsiteX2" fmla="*/ 0 w 248863"/>
                  <a:gd name="connsiteY2" fmla="*/ 153072 h 232625"/>
                  <a:gd name="connsiteX3" fmla="*/ 153072 w 248863"/>
                  <a:gd name="connsiteY3" fmla="*/ 0 h 232625"/>
                  <a:gd name="connsiteX4" fmla="*/ 246255 w 248863"/>
                  <a:gd name="connsiteY4" fmla="*/ 31632 h 232625"/>
                  <a:gd name="connsiteX5" fmla="*/ 247483 w 248863"/>
                  <a:gd name="connsiteY5" fmla="*/ 40991 h 232625"/>
                  <a:gd name="connsiteX6" fmla="*/ 238123 w 248863"/>
                  <a:gd name="connsiteY6" fmla="*/ 42219 h 232625"/>
                  <a:gd name="connsiteX7" fmla="*/ 153072 w 248863"/>
                  <a:gd name="connsiteY7" fmla="*/ 13348 h 232625"/>
                  <a:gd name="connsiteX8" fmla="*/ 13348 w 248863"/>
                  <a:gd name="connsiteY8" fmla="*/ 153072 h 232625"/>
                  <a:gd name="connsiteX9" fmla="*/ 31862 w 248863"/>
                  <a:gd name="connsiteY9" fmla="*/ 222601 h 232625"/>
                  <a:gd name="connsiteX10" fmla="*/ 29407 w 248863"/>
                  <a:gd name="connsiteY10" fmla="*/ 231705 h 232625"/>
                  <a:gd name="connsiteX11" fmla="*/ 26058 w 248863"/>
                  <a:gd name="connsiteY11" fmla="*/ 232626 h 23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8863" h="232625">
                    <a:moveTo>
                      <a:pt x="26058" y="232626"/>
                    </a:moveTo>
                    <a:cubicBezTo>
                      <a:pt x="23756" y="232626"/>
                      <a:pt x="21506" y="231424"/>
                      <a:pt x="20278" y="229276"/>
                    </a:cubicBezTo>
                    <a:cubicBezTo>
                      <a:pt x="7007" y="206210"/>
                      <a:pt x="0" y="179846"/>
                      <a:pt x="0" y="153072"/>
                    </a:cubicBezTo>
                    <a:cubicBezTo>
                      <a:pt x="0" y="68686"/>
                      <a:pt x="68660" y="0"/>
                      <a:pt x="153072" y="0"/>
                    </a:cubicBezTo>
                    <a:cubicBezTo>
                      <a:pt x="187108" y="0"/>
                      <a:pt x="219354" y="10945"/>
                      <a:pt x="246255" y="31632"/>
                    </a:cubicBezTo>
                    <a:cubicBezTo>
                      <a:pt x="249170" y="33882"/>
                      <a:pt x="249733" y="38076"/>
                      <a:pt x="247483" y="40991"/>
                    </a:cubicBezTo>
                    <a:cubicBezTo>
                      <a:pt x="245232" y="43907"/>
                      <a:pt x="241039" y="44469"/>
                      <a:pt x="238123" y="42219"/>
                    </a:cubicBezTo>
                    <a:cubicBezTo>
                      <a:pt x="213549" y="23347"/>
                      <a:pt x="184142" y="13348"/>
                      <a:pt x="153072" y="13348"/>
                    </a:cubicBezTo>
                    <a:cubicBezTo>
                      <a:pt x="76025" y="13348"/>
                      <a:pt x="13348" y="76025"/>
                      <a:pt x="13348" y="153072"/>
                    </a:cubicBezTo>
                    <a:cubicBezTo>
                      <a:pt x="13348" y="177519"/>
                      <a:pt x="19741" y="201556"/>
                      <a:pt x="31862" y="222601"/>
                    </a:cubicBezTo>
                    <a:cubicBezTo>
                      <a:pt x="33703" y="225798"/>
                      <a:pt x="32604" y="229889"/>
                      <a:pt x="29407" y="231705"/>
                    </a:cubicBezTo>
                    <a:cubicBezTo>
                      <a:pt x="28333" y="232344"/>
                      <a:pt x="27183" y="232626"/>
                      <a:pt x="26058" y="232626"/>
                    </a:cubicBezTo>
                    <a:close/>
                  </a:path>
                </a:pathLst>
              </a:custGeom>
              <a:solidFill>
                <a:schemeClr val="accent1"/>
              </a:solidFill>
              <a:ln w="2553" cap="flat">
                <a:noFill/>
                <a:prstDash val="solid"/>
                <a:miter/>
              </a:ln>
            </p:spPr>
            <p:txBody>
              <a:bodyPr rtlCol="0" anchor="ctr"/>
              <a:lstStyle/>
              <a:p>
                <a:endParaRPr lang="en-GB" dirty="0"/>
              </a:p>
            </p:txBody>
          </p:sp>
          <p:sp>
            <p:nvSpPr>
              <p:cNvPr id="1087" name="Freihandform: Form 1086">
                <a:extLst>
                  <a:ext uri="{FF2B5EF4-FFF2-40B4-BE49-F238E27FC236}">
                    <a16:creationId xmlns:a16="http://schemas.microsoft.com/office/drawing/2014/main" id="{2FC414D0-A188-4CB0-BE67-81B6FFCE7F73}"/>
                  </a:ext>
                </a:extLst>
              </p:cNvPr>
              <p:cNvSpPr/>
              <p:nvPr/>
            </p:nvSpPr>
            <p:spPr>
              <a:xfrm>
                <a:off x="6166710" y="1957693"/>
                <a:ext cx="223183" cy="67624"/>
              </a:xfrm>
              <a:custGeom>
                <a:avLst/>
                <a:gdLst>
                  <a:gd name="connsiteX0" fmla="*/ 120481 w 223183"/>
                  <a:gd name="connsiteY0" fmla="*/ 67625 h 67624"/>
                  <a:gd name="connsiteX1" fmla="*/ 1496 w 223183"/>
                  <a:gd name="connsiteY1" fmla="*/ 10881 h 67624"/>
                  <a:gd name="connsiteX2" fmla="*/ 2468 w 223183"/>
                  <a:gd name="connsiteY2" fmla="*/ 1496 h 67624"/>
                  <a:gd name="connsiteX3" fmla="*/ 11853 w 223183"/>
                  <a:gd name="connsiteY3" fmla="*/ 2468 h 67624"/>
                  <a:gd name="connsiteX4" fmla="*/ 120456 w 223183"/>
                  <a:gd name="connsiteY4" fmla="*/ 54276 h 67624"/>
                  <a:gd name="connsiteX5" fmla="*/ 212130 w 223183"/>
                  <a:gd name="connsiteY5" fmla="*/ 19985 h 67624"/>
                  <a:gd name="connsiteX6" fmla="*/ 221541 w 223183"/>
                  <a:gd name="connsiteY6" fmla="*/ 20650 h 67624"/>
                  <a:gd name="connsiteX7" fmla="*/ 220901 w 223183"/>
                  <a:gd name="connsiteY7" fmla="*/ 30060 h 67624"/>
                  <a:gd name="connsiteX8" fmla="*/ 120481 w 223183"/>
                  <a:gd name="connsiteY8" fmla="*/ 67625 h 6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183" h="67624">
                    <a:moveTo>
                      <a:pt x="120481" y="67625"/>
                    </a:moveTo>
                    <a:cubicBezTo>
                      <a:pt x="74094" y="67625"/>
                      <a:pt x="30750" y="46937"/>
                      <a:pt x="1496" y="10881"/>
                    </a:cubicBezTo>
                    <a:cubicBezTo>
                      <a:pt x="-831" y="8017"/>
                      <a:pt x="-396" y="3823"/>
                      <a:pt x="2468" y="1496"/>
                    </a:cubicBezTo>
                    <a:cubicBezTo>
                      <a:pt x="5332" y="-831"/>
                      <a:pt x="9526" y="-396"/>
                      <a:pt x="11853" y="2468"/>
                    </a:cubicBezTo>
                    <a:cubicBezTo>
                      <a:pt x="38550" y="35404"/>
                      <a:pt x="78135" y="54276"/>
                      <a:pt x="120456" y="54276"/>
                    </a:cubicBezTo>
                    <a:cubicBezTo>
                      <a:pt x="154185" y="54276"/>
                      <a:pt x="186738" y="42104"/>
                      <a:pt x="212130" y="19985"/>
                    </a:cubicBezTo>
                    <a:cubicBezTo>
                      <a:pt x="214918" y="17581"/>
                      <a:pt x="219137" y="17862"/>
                      <a:pt x="221541" y="20650"/>
                    </a:cubicBezTo>
                    <a:cubicBezTo>
                      <a:pt x="223970" y="23437"/>
                      <a:pt x="223663" y="27656"/>
                      <a:pt x="220901" y="30060"/>
                    </a:cubicBezTo>
                    <a:cubicBezTo>
                      <a:pt x="193079" y="54276"/>
                      <a:pt x="157407" y="67625"/>
                      <a:pt x="120481" y="67625"/>
                    </a:cubicBezTo>
                    <a:close/>
                  </a:path>
                </a:pathLst>
              </a:custGeom>
              <a:solidFill>
                <a:schemeClr val="accent1"/>
              </a:solidFill>
              <a:ln w="2553" cap="flat">
                <a:noFill/>
                <a:prstDash val="solid"/>
                <a:miter/>
              </a:ln>
            </p:spPr>
            <p:txBody>
              <a:bodyPr rtlCol="0" anchor="ctr"/>
              <a:lstStyle/>
              <a:p>
                <a:endParaRPr lang="en-GB" dirty="0"/>
              </a:p>
            </p:txBody>
          </p:sp>
          <p:sp>
            <p:nvSpPr>
              <p:cNvPr id="1088" name="Freihandform: Form 1087">
                <a:extLst>
                  <a:ext uri="{FF2B5EF4-FFF2-40B4-BE49-F238E27FC236}">
                    <a16:creationId xmlns:a16="http://schemas.microsoft.com/office/drawing/2014/main" id="{378DAFEE-AFDF-47A3-B07B-13B0BF864712}"/>
                  </a:ext>
                </a:extLst>
              </p:cNvPr>
              <p:cNvSpPr/>
              <p:nvPr/>
            </p:nvSpPr>
            <p:spPr>
              <a:xfrm>
                <a:off x="6233644" y="1819678"/>
                <a:ext cx="50744" cy="81590"/>
              </a:xfrm>
              <a:custGeom>
                <a:avLst/>
                <a:gdLst>
                  <a:gd name="connsiteX0" fmla="*/ 12351 w 50744"/>
                  <a:gd name="connsiteY0" fmla="*/ 81591 h 81590"/>
                  <a:gd name="connsiteX1" fmla="*/ 6470 w 50744"/>
                  <a:gd name="connsiteY1" fmla="*/ 78088 h 81590"/>
                  <a:gd name="connsiteX2" fmla="*/ 0 w 50744"/>
                  <a:gd name="connsiteY2" fmla="*/ 52567 h 81590"/>
                  <a:gd name="connsiteX3" fmla="*/ 42730 w 50744"/>
                  <a:gd name="connsiteY3" fmla="*/ 145 h 81590"/>
                  <a:gd name="connsiteX4" fmla="*/ 50606 w 50744"/>
                  <a:gd name="connsiteY4" fmla="*/ 5336 h 81590"/>
                  <a:gd name="connsiteX5" fmla="*/ 45415 w 50744"/>
                  <a:gd name="connsiteY5" fmla="*/ 13212 h 81590"/>
                  <a:gd name="connsiteX6" fmla="*/ 13348 w 50744"/>
                  <a:gd name="connsiteY6" fmla="*/ 52567 h 81590"/>
                  <a:gd name="connsiteX7" fmla="*/ 18181 w 50744"/>
                  <a:gd name="connsiteY7" fmla="*/ 71720 h 81590"/>
                  <a:gd name="connsiteX8" fmla="*/ 15496 w 50744"/>
                  <a:gd name="connsiteY8" fmla="*/ 80773 h 81590"/>
                  <a:gd name="connsiteX9" fmla="*/ 12351 w 50744"/>
                  <a:gd name="connsiteY9" fmla="*/ 81591 h 8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44" h="81590">
                    <a:moveTo>
                      <a:pt x="12351" y="81591"/>
                    </a:moveTo>
                    <a:cubicBezTo>
                      <a:pt x="9973" y="81591"/>
                      <a:pt x="7697" y="80338"/>
                      <a:pt x="6470" y="78088"/>
                    </a:cubicBezTo>
                    <a:cubicBezTo>
                      <a:pt x="2250" y="70314"/>
                      <a:pt x="0" y="61492"/>
                      <a:pt x="0" y="52567"/>
                    </a:cubicBezTo>
                    <a:cubicBezTo>
                      <a:pt x="0" y="27251"/>
                      <a:pt x="17977" y="5208"/>
                      <a:pt x="42730" y="145"/>
                    </a:cubicBezTo>
                    <a:cubicBezTo>
                      <a:pt x="46336" y="-622"/>
                      <a:pt x="49865" y="1731"/>
                      <a:pt x="50606" y="5336"/>
                    </a:cubicBezTo>
                    <a:cubicBezTo>
                      <a:pt x="51348" y="8942"/>
                      <a:pt x="49021" y="12471"/>
                      <a:pt x="45415" y="13212"/>
                    </a:cubicBezTo>
                    <a:cubicBezTo>
                      <a:pt x="26825" y="17022"/>
                      <a:pt x="13348" y="33567"/>
                      <a:pt x="13348" y="52567"/>
                    </a:cubicBezTo>
                    <a:cubicBezTo>
                      <a:pt x="13348" y="59267"/>
                      <a:pt x="15011" y="65890"/>
                      <a:pt x="18181" y="71720"/>
                    </a:cubicBezTo>
                    <a:cubicBezTo>
                      <a:pt x="19946" y="74968"/>
                      <a:pt x="18744" y="79008"/>
                      <a:pt x="15496" y="80773"/>
                    </a:cubicBezTo>
                    <a:cubicBezTo>
                      <a:pt x="14525" y="81310"/>
                      <a:pt x="13425" y="81591"/>
                      <a:pt x="12351" y="81591"/>
                    </a:cubicBezTo>
                    <a:close/>
                  </a:path>
                </a:pathLst>
              </a:custGeom>
              <a:solidFill>
                <a:schemeClr val="accent1"/>
              </a:solidFill>
              <a:ln w="2553" cap="flat">
                <a:noFill/>
                <a:prstDash val="solid"/>
                <a:miter/>
              </a:ln>
            </p:spPr>
            <p:txBody>
              <a:bodyPr rtlCol="0" anchor="ctr"/>
              <a:lstStyle/>
              <a:p>
                <a:endParaRPr lang="en-GB" dirty="0"/>
              </a:p>
            </p:txBody>
          </p:sp>
          <p:sp>
            <p:nvSpPr>
              <p:cNvPr id="1089" name="Freihandform: Form 1088">
                <a:extLst>
                  <a:ext uri="{FF2B5EF4-FFF2-40B4-BE49-F238E27FC236}">
                    <a16:creationId xmlns:a16="http://schemas.microsoft.com/office/drawing/2014/main" id="{D0C7B7CF-D4A9-49F5-A0B3-FA9C08BA0018}"/>
                  </a:ext>
                </a:extLst>
              </p:cNvPr>
              <p:cNvSpPr/>
              <p:nvPr/>
            </p:nvSpPr>
            <p:spPr>
              <a:xfrm>
                <a:off x="6256238" y="1905631"/>
                <a:ext cx="55875" cy="20135"/>
              </a:xfrm>
              <a:custGeom>
                <a:avLst/>
                <a:gdLst>
                  <a:gd name="connsiteX0" fmla="*/ 30953 w 55875"/>
                  <a:gd name="connsiteY0" fmla="*/ 20136 h 20135"/>
                  <a:gd name="connsiteX1" fmla="*/ 3208 w 55875"/>
                  <a:gd name="connsiteY1" fmla="*/ 12388 h 20135"/>
                  <a:gd name="connsiteX2" fmla="*/ 957 w 55875"/>
                  <a:gd name="connsiteY2" fmla="*/ 3208 h 20135"/>
                  <a:gd name="connsiteX3" fmla="*/ 10137 w 55875"/>
                  <a:gd name="connsiteY3" fmla="*/ 957 h 20135"/>
                  <a:gd name="connsiteX4" fmla="*/ 46603 w 55875"/>
                  <a:gd name="connsiteY4" fmla="*/ 3617 h 20135"/>
                  <a:gd name="connsiteX5" fmla="*/ 55348 w 55875"/>
                  <a:gd name="connsiteY5" fmla="*/ 7171 h 20135"/>
                  <a:gd name="connsiteX6" fmla="*/ 51794 w 55875"/>
                  <a:gd name="connsiteY6" fmla="*/ 15917 h 20135"/>
                  <a:gd name="connsiteX7" fmla="*/ 30953 w 55875"/>
                  <a:gd name="connsiteY7" fmla="*/ 20136 h 2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75" h="20135">
                    <a:moveTo>
                      <a:pt x="30953" y="20136"/>
                    </a:moveTo>
                    <a:cubicBezTo>
                      <a:pt x="21133" y="20136"/>
                      <a:pt x="11544" y="17451"/>
                      <a:pt x="3208" y="12388"/>
                    </a:cubicBezTo>
                    <a:cubicBezTo>
                      <a:pt x="62" y="10470"/>
                      <a:pt x="-935" y="6378"/>
                      <a:pt x="957" y="3208"/>
                    </a:cubicBezTo>
                    <a:cubicBezTo>
                      <a:pt x="2875" y="62"/>
                      <a:pt x="6967" y="-935"/>
                      <a:pt x="10137" y="957"/>
                    </a:cubicBezTo>
                    <a:cubicBezTo>
                      <a:pt x="21005" y="7555"/>
                      <a:pt x="34916" y="8552"/>
                      <a:pt x="46603" y="3617"/>
                    </a:cubicBezTo>
                    <a:cubicBezTo>
                      <a:pt x="50004" y="2185"/>
                      <a:pt x="53916" y="3770"/>
                      <a:pt x="55348" y="7171"/>
                    </a:cubicBezTo>
                    <a:cubicBezTo>
                      <a:pt x="56780" y="10572"/>
                      <a:pt x="55195" y="14485"/>
                      <a:pt x="51794" y="15917"/>
                    </a:cubicBezTo>
                    <a:cubicBezTo>
                      <a:pt x="45171" y="18730"/>
                      <a:pt x="38164" y="20136"/>
                      <a:pt x="30953" y="20136"/>
                    </a:cubicBezTo>
                    <a:close/>
                  </a:path>
                </a:pathLst>
              </a:custGeom>
              <a:solidFill>
                <a:schemeClr val="accent1"/>
              </a:solidFill>
              <a:ln w="2553" cap="flat">
                <a:noFill/>
                <a:prstDash val="solid"/>
                <a:miter/>
              </a:ln>
            </p:spPr>
            <p:txBody>
              <a:bodyPr rtlCol="0" anchor="ctr"/>
              <a:lstStyle/>
              <a:p>
                <a:endParaRPr lang="en-GB" dirty="0"/>
              </a:p>
            </p:txBody>
          </p:sp>
          <p:sp>
            <p:nvSpPr>
              <p:cNvPr id="1090" name="Freihandform: Form 1089">
                <a:extLst>
                  <a:ext uri="{FF2B5EF4-FFF2-40B4-BE49-F238E27FC236}">
                    <a16:creationId xmlns:a16="http://schemas.microsoft.com/office/drawing/2014/main" id="{ACC84106-9D9B-458B-9CB0-E5D1D2CC4019}"/>
                  </a:ext>
                </a:extLst>
              </p:cNvPr>
              <p:cNvSpPr/>
              <p:nvPr/>
            </p:nvSpPr>
            <p:spPr>
              <a:xfrm>
                <a:off x="6180966" y="1766046"/>
                <a:ext cx="133059" cy="162763"/>
              </a:xfrm>
              <a:custGeom>
                <a:avLst/>
                <a:gdLst>
                  <a:gd name="connsiteX0" fmla="*/ 20048 w 133059"/>
                  <a:gd name="connsiteY0" fmla="*/ 162764 h 162763"/>
                  <a:gd name="connsiteX1" fmla="*/ 14269 w 133059"/>
                  <a:gd name="connsiteY1" fmla="*/ 159439 h 162763"/>
                  <a:gd name="connsiteX2" fmla="*/ 0 w 133059"/>
                  <a:gd name="connsiteY2" fmla="*/ 106225 h 162763"/>
                  <a:gd name="connsiteX3" fmla="*/ 106225 w 133059"/>
                  <a:gd name="connsiteY3" fmla="*/ 0 h 162763"/>
                  <a:gd name="connsiteX4" fmla="*/ 127730 w 133059"/>
                  <a:gd name="connsiteY4" fmla="*/ 2174 h 162763"/>
                  <a:gd name="connsiteX5" fmla="*/ 132921 w 133059"/>
                  <a:gd name="connsiteY5" fmla="*/ 10050 h 162763"/>
                  <a:gd name="connsiteX6" fmla="*/ 125045 w 133059"/>
                  <a:gd name="connsiteY6" fmla="*/ 15241 h 162763"/>
                  <a:gd name="connsiteX7" fmla="*/ 106225 w 133059"/>
                  <a:gd name="connsiteY7" fmla="*/ 13323 h 162763"/>
                  <a:gd name="connsiteX8" fmla="*/ 13348 w 133059"/>
                  <a:gd name="connsiteY8" fmla="*/ 106199 h 162763"/>
                  <a:gd name="connsiteX9" fmla="*/ 25827 w 133059"/>
                  <a:gd name="connsiteY9" fmla="*/ 152714 h 162763"/>
                  <a:gd name="connsiteX10" fmla="*/ 23398 w 133059"/>
                  <a:gd name="connsiteY10" fmla="*/ 161843 h 162763"/>
                  <a:gd name="connsiteX11" fmla="*/ 20048 w 133059"/>
                  <a:gd name="connsiteY11" fmla="*/ 162764 h 1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059" h="162763">
                    <a:moveTo>
                      <a:pt x="20048" y="162764"/>
                    </a:moveTo>
                    <a:cubicBezTo>
                      <a:pt x="17747" y="162764"/>
                      <a:pt x="15496" y="161562"/>
                      <a:pt x="14269" y="159439"/>
                    </a:cubicBezTo>
                    <a:cubicBezTo>
                      <a:pt x="4935" y="143329"/>
                      <a:pt x="0" y="124943"/>
                      <a:pt x="0" y="106225"/>
                    </a:cubicBezTo>
                    <a:cubicBezTo>
                      <a:pt x="0" y="47666"/>
                      <a:pt x="47640" y="0"/>
                      <a:pt x="106225" y="0"/>
                    </a:cubicBezTo>
                    <a:cubicBezTo>
                      <a:pt x="113461" y="0"/>
                      <a:pt x="120698" y="742"/>
                      <a:pt x="127730" y="2174"/>
                    </a:cubicBezTo>
                    <a:cubicBezTo>
                      <a:pt x="131336" y="2915"/>
                      <a:pt x="133663" y="6444"/>
                      <a:pt x="132921" y="10050"/>
                    </a:cubicBezTo>
                    <a:cubicBezTo>
                      <a:pt x="132180" y="13655"/>
                      <a:pt x="128625" y="15982"/>
                      <a:pt x="125045" y="15241"/>
                    </a:cubicBezTo>
                    <a:cubicBezTo>
                      <a:pt x="118908" y="13988"/>
                      <a:pt x="112566" y="13323"/>
                      <a:pt x="106225" y="13323"/>
                    </a:cubicBezTo>
                    <a:cubicBezTo>
                      <a:pt x="55005" y="13323"/>
                      <a:pt x="13348" y="54979"/>
                      <a:pt x="13348" y="106199"/>
                    </a:cubicBezTo>
                    <a:cubicBezTo>
                      <a:pt x="13348" y="122565"/>
                      <a:pt x="17670" y="138650"/>
                      <a:pt x="25827" y="152714"/>
                    </a:cubicBezTo>
                    <a:cubicBezTo>
                      <a:pt x="27669" y="155910"/>
                      <a:pt x="26595" y="159976"/>
                      <a:pt x="23398" y="161843"/>
                    </a:cubicBezTo>
                    <a:cubicBezTo>
                      <a:pt x="22350" y="162457"/>
                      <a:pt x="21199" y="162764"/>
                      <a:pt x="20048" y="162764"/>
                    </a:cubicBezTo>
                    <a:close/>
                  </a:path>
                </a:pathLst>
              </a:custGeom>
              <a:solidFill>
                <a:schemeClr val="accent1"/>
              </a:solidFill>
              <a:ln w="2553" cap="flat">
                <a:noFill/>
                <a:prstDash val="solid"/>
                <a:miter/>
              </a:ln>
            </p:spPr>
            <p:txBody>
              <a:bodyPr rtlCol="0" anchor="ctr"/>
              <a:lstStyle/>
              <a:p>
                <a:endParaRPr lang="en-GB" dirty="0"/>
              </a:p>
            </p:txBody>
          </p:sp>
          <p:sp>
            <p:nvSpPr>
              <p:cNvPr id="1091" name="Freihandform: Form 1090">
                <a:extLst>
                  <a:ext uri="{FF2B5EF4-FFF2-40B4-BE49-F238E27FC236}">
                    <a16:creationId xmlns:a16="http://schemas.microsoft.com/office/drawing/2014/main" id="{EF3D1372-8F8F-40C6-BB7D-12384E7EB908}"/>
                  </a:ext>
                </a:extLst>
              </p:cNvPr>
              <p:cNvSpPr/>
              <p:nvPr/>
            </p:nvSpPr>
            <p:spPr>
              <a:xfrm>
                <a:off x="6208313" y="1934088"/>
                <a:ext cx="157474" cy="44381"/>
              </a:xfrm>
              <a:custGeom>
                <a:avLst/>
                <a:gdLst>
                  <a:gd name="connsiteX0" fmla="*/ 78878 w 157474"/>
                  <a:gd name="connsiteY0" fmla="*/ 44382 h 44381"/>
                  <a:gd name="connsiteX1" fmla="*/ 1831 w 157474"/>
                  <a:gd name="connsiteY1" fmla="*/ 11267 h 44381"/>
                  <a:gd name="connsiteX2" fmla="*/ 2086 w 157474"/>
                  <a:gd name="connsiteY2" fmla="*/ 1831 h 44381"/>
                  <a:gd name="connsiteX3" fmla="*/ 11522 w 157474"/>
                  <a:gd name="connsiteY3" fmla="*/ 2086 h 44381"/>
                  <a:gd name="connsiteX4" fmla="*/ 78904 w 157474"/>
                  <a:gd name="connsiteY4" fmla="*/ 31034 h 44381"/>
                  <a:gd name="connsiteX5" fmla="*/ 145978 w 157474"/>
                  <a:gd name="connsiteY5" fmla="*/ 2393 h 44381"/>
                  <a:gd name="connsiteX6" fmla="*/ 155414 w 157474"/>
                  <a:gd name="connsiteY6" fmla="*/ 2189 h 44381"/>
                  <a:gd name="connsiteX7" fmla="*/ 155619 w 157474"/>
                  <a:gd name="connsiteY7" fmla="*/ 11625 h 44381"/>
                  <a:gd name="connsiteX8" fmla="*/ 78878 w 157474"/>
                  <a:gd name="connsiteY8" fmla="*/ 44382 h 4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474" h="44381">
                    <a:moveTo>
                      <a:pt x="78878" y="44382"/>
                    </a:moveTo>
                    <a:cubicBezTo>
                      <a:pt x="49445" y="44382"/>
                      <a:pt x="22083" y="32619"/>
                      <a:pt x="1831" y="11267"/>
                    </a:cubicBezTo>
                    <a:cubicBezTo>
                      <a:pt x="-701" y="8582"/>
                      <a:pt x="-599" y="4362"/>
                      <a:pt x="2086" y="1831"/>
                    </a:cubicBezTo>
                    <a:cubicBezTo>
                      <a:pt x="4746" y="-701"/>
                      <a:pt x="8991" y="-599"/>
                      <a:pt x="11522" y="2086"/>
                    </a:cubicBezTo>
                    <a:cubicBezTo>
                      <a:pt x="29244" y="20754"/>
                      <a:pt x="53153" y="31034"/>
                      <a:pt x="78904" y="31034"/>
                    </a:cubicBezTo>
                    <a:cubicBezTo>
                      <a:pt x="104475" y="31034"/>
                      <a:pt x="128283" y="20856"/>
                      <a:pt x="145978" y="2393"/>
                    </a:cubicBezTo>
                    <a:cubicBezTo>
                      <a:pt x="148535" y="-266"/>
                      <a:pt x="152755" y="-343"/>
                      <a:pt x="155414" y="2189"/>
                    </a:cubicBezTo>
                    <a:cubicBezTo>
                      <a:pt x="158074" y="4746"/>
                      <a:pt x="158176" y="8965"/>
                      <a:pt x="155619" y="11625"/>
                    </a:cubicBezTo>
                    <a:cubicBezTo>
                      <a:pt x="135366" y="32747"/>
                      <a:pt x="108107" y="44382"/>
                      <a:pt x="78878" y="44382"/>
                    </a:cubicBezTo>
                    <a:close/>
                  </a:path>
                </a:pathLst>
              </a:custGeom>
              <a:solidFill>
                <a:schemeClr val="accent1"/>
              </a:solidFill>
              <a:ln w="2553" cap="flat">
                <a:noFill/>
                <a:prstDash val="solid"/>
                <a:miter/>
              </a:ln>
            </p:spPr>
            <p:txBody>
              <a:bodyPr rtlCol="0" anchor="ctr"/>
              <a:lstStyle/>
              <a:p>
                <a:endParaRPr lang="en-GB" dirty="0"/>
              </a:p>
            </p:txBody>
          </p:sp>
          <p:sp>
            <p:nvSpPr>
              <p:cNvPr id="1092" name="Freihandform: Form 1091">
                <a:extLst>
                  <a:ext uri="{FF2B5EF4-FFF2-40B4-BE49-F238E27FC236}">
                    <a16:creationId xmlns:a16="http://schemas.microsoft.com/office/drawing/2014/main" id="{8B31B573-1DA9-4ED4-B5D7-9AE84FDFFED5}"/>
                  </a:ext>
                </a:extLst>
              </p:cNvPr>
              <p:cNvSpPr/>
              <p:nvPr/>
            </p:nvSpPr>
            <p:spPr>
              <a:xfrm>
                <a:off x="6186210" y="1992819"/>
                <a:ext cx="56763" cy="73643"/>
              </a:xfrm>
              <a:custGeom>
                <a:avLst/>
                <a:gdLst>
                  <a:gd name="connsiteX0" fmla="*/ 24240 w 56763"/>
                  <a:gd name="connsiteY0" fmla="*/ 73644 h 73643"/>
                  <a:gd name="connsiteX1" fmla="*/ 12145 w 56763"/>
                  <a:gd name="connsiteY1" fmla="*/ 70371 h 73643"/>
                  <a:gd name="connsiteX2" fmla="*/ 842 w 56763"/>
                  <a:gd name="connsiteY2" fmla="*/ 55667 h 73643"/>
                  <a:gd name="connsiteX3" fmla="*/ 3271 w 56763"/>
                  <a:gd name="connsiteY3" fmla="*/ 37281 h 73643"/>
                  <a:gd name="connsiteX4" fmla="*/ 22859 w 56763"/>
                  <a:gd name="connsiteY4" fmla="*/ 3347 h 73643"/>
                  <a:gd name="connsiteX5" fmla="*/ 31988 w 56763"/>
                  <a:gd name="connsiteY5" fmla="*/ 892 h 73643"/>
                  <a:gd name="connsiteX6" fmla="*/ 34443 w 56763"/>
                  <a:gd name="connsiteY6" fmla="*/ 10021 h 73643"/>
                  <a:gd name="connsiteX7" fmla="*/ 14855 w 56763"/>
                  <a:gd name="connsiteY7" fmla="*/ 43955 h 73643"/>
                  <a:gd name="connsiteX8" fmla="*/ 13756 w 56763"/>
                  <a:gd name="connsiteY8" fmla="*/ 52215 h 73643"/>
                  <a:gd name="connsiteX9" fmla="*/ 18819 w 56763"/>
                  <a:gd name="connsiteY9" fmla="*/ 58838 h 73643"/>
                  <a:gd name="connsiteX10" fmla="*/ 27078 w 56763"/>
                  <a:gd name="connsiteY10" fmla="*/ 59937 h 73643"/>
                  <a:gd name="connsiteX11" fmla="*/ 33676 w 56763"/>
                  <a:gd name="connsiteY11" fmla="*/ 54874 h 73643"/>
                  <a:gd name="connsiteX12" fmla="*/ 44391 w 56763"/>
                  <a:gd name="connsiteY12" fmla="*/ 37383 h 73643"/>
                  <a:gd name="connsiteX13" fmla="*/ 53571 w 56763"/>
                  <a:gd name="connsiteY13" fmla="*/ 35184 h 73643"/>
                  <a:gd name="connsiteX14" fmla="*/ 55770 w 56763"/>
                  <a:gd name="connsiteY14" fmla="*/ 44364 h 73643"/>
                  <a:gd name="connsiteX15" fmla="*/ 45158 w 56763"/>
                  <a:gd name="connsiteY15" fmla="*/ 61727 h 73643"/>
                  <a:gd name="connsiteX16" fmla="*/ 30531 w 56763"/>
                  <a:gd name="connsiteY16" fmla="*/ 72877 h 73643"/>
                  <a:gd name="connsiteX17" fmla="*/ 24240 w 56763"/>
                  <a:gd name="connsiteY17" fmla="*/ 73644 h 7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763" h="73643">
                    <a:moveTo>
                      <a:pt x="24240" y="73644"/>
                    </a:moveTo>
                    <a:cubicBezTo>
                      <a:pt x="20046" y="73644"/>
                      <a:pt x="15904" y="72544"/>
                      <a:pt x="12145" y="70371"/>
                    </a:cubicBezTo>
                    <a:cubicBezTo>
                      <a:pt x="6544" y="67149"/>
                      <a:pt x="2530" y="61906"/>
                      <a:pt x="842" y="55667"/>
                    </a:cubicBezTo>
                    <a:cubicBezTo>
                      <a:pt x="-846" y="49402"/>
                      <a:pt x="24" y="42881"/>
                      <a:pt x="3271" y="37281"/>
                    </a:cubicBezTo>
                    <a:lnTo>
                      <a:pt x="22859" y="3347"/>
                    </a:lnTo>
                    <a:cubicBezTo>
                      <a:pt x="24700" y="151"/>
                      <a:pt x="28766" y="-949"/>
                      <a:pt x="31988" y="892"/>
                    </a:cubicBezTo>
                    <a:cubicBezTo>
                      <a:pt x="35185" y="2734"/>
                      <a:pt x="36284" y="6825"/>
                      <a:pt x="34443" y="10021"/>
                    </a:cubicBezTo>
                    <a:lnTo>
                      <a:pt x="14855" y="43955"/>
                    </a:lnTo>
                    <a:cubicBezTo>
                      <a:pt x="13398" y="46487"/>
                      <a:pt x="13014" y="49402"/>
                      <a:pt x="13756" y="52215"/>
                    </a:cubicBezTo>
                    <a:cubicBezTo>
                      <a:pt x="14497" y="55028"/>
                      <a:pt x="16313" y="57380"/>
                      <a:pt x="18819" y="58838"/>
                    </a:cubicBezTo>
                    <a:cubicBezTo>
                      <a:pt x="21350" y="60295"/>
                      <a:pt x="24266" y="60679"/>
                      <a:pt x="27078" y="59937"/>
                    </a:cubicBezTo>
                    <a:cubicBezTo>
                      <a:pt x="29891" y="59196"/>
                      <a:pt x="32244" y="57380"/>
                      <a:pt x="33676" y="54874"/>
                    </a:cubicBezTo>
                    <a:lnTo>
                      <a:pt x="44391" y="37383"/>
                    </a:lnTo>
                    <a:cubicBezTo>
                      <a:pt x="46308" y="34238"/>
                      <a:pt x="50425" y="33241"/>
                      <a:pt x="53571" y="35184"/>
                    </a:cubicBezTo>
                    <a:cubicBezTo>
                      <a:pt x="56716" y="37102"/>
                      <a:pt x="57713" y="41219"/>
                      <a:pt x="55770" y="44364"/>
                    </a:cubicBezTo>
                    <a:lnTo>
                      <a:pt x="45158" y="61727"/>
                    </a:lnTo>
                    <a:cubicBezTo>
                      <a:pt x="42012" y="67200"/>
                      <a:pt x="36770" y="71189"/>
                      <a:pt x="30531" y="72877"/>
                    </a:cubicBezTo>
                    <a:cubicBezTo>
                      <a:pt x="28459" y="73362"/>
                      <a:pt x="26337" y="73644"/>
                      <a:pt x="24240" y="73644"/>
                    </a:cubicBezTo>
                    <a:close/>
                  </a:path>
                </a:pathLst>
              </a:custGeom>
              <a:solidFill>
                <a:schemeClr val="accent1"/>
              </a:solidFill>
              <a:ln w="2553" cap="flat">
                <a:noFill/>
                <a:prstDash val="solid"/>
                <a:miter/>
              </a:ln>
            </p:spPr>
            <p:txBody>
              <a:bodyPr rtlCol="0" anchor="ctr"/>
              <a:lstStyle/>
              <a:p>
                <a:endParaRPr lang="en-GB" dirty="0"/>
              </a:p>
            </p:txBody>
          </p:sp>
          <p:sp>
            <p:nvSpPr>
              <p:cNvPr id="1093" name="Freihandform: Form 1092">
                <a:extLst>
                  <a:ext uri="{FF2B5EF4-FFF2-40B4-BE49-F238E27FC236}">
                    <a16:creationId xmlns:a16="http://schemas.microsoft.com/office/drawing/2014/main" id="{C52C4E93-5DBE-4081-AAEB-2775740267DB}"/>
                  </a:ext>
                </a:extLst>
              </p:cNvPr>
              <p:cNvSpPr/>
              <p:nvPr/>
            </p:nvSpPr>
            <p:spPr>
              <a:xfrm>
                <a:off x="6334769" y="1992767"/>
                <a:ext cx="56792" cy="73694"/>
              </a:xfrm>
              <a:custGeom>
                <a:avLst/>
                <a:gdLst>
                  <a:gd name="connsiteX0" fmla="*/ 32564 w 56792"/>
                  <a:gd name="connsiteY0" fmla="*/ 73695 h 73694"/>
                  <a:gd name="connsiteX1" fmla="*/ 26247 w 56792"/>
                  <a:gd name="connsiteY1" fmla="*/ 72851 h 73694"/>
                  <a:gd name="connsiteX2" fmla="*/ 11518 w 56792"/>
                  <a:gd name="connsiteY2" fmla="*/ 61548 h 73694"/>
                  <a:gd name="connsiteX3" fmla="*/ 983 w 56792"/>
                  <a:gd name="connsiteY3" fmla="*/ 44339 h 73694"/>
                  <a:gd name="connsiteX4" fmla="*/ 3182 w 56792"/>
                  <a:gd name="connsiteY4" fmla="*/ 35158 h 73694"/>
                  <a:gd name="connsiteX5" fmla="*/ 12362 w 56792"/>
                  <a:gd name="connsiteY5" fmla="*/ 37358 h 73694"/>
                  <a:gd name="connsiteX6" fmla="*/ 22974 w 56792"/>
                  <a:gd name="connsiteY6" fmla="*/ 54721 h 73694"/>
                  <a:gd name="connsiteX7" fmla="*/ 29674 w 56792"/>
                  <a:gd name="connsiteY7" fmla="*/ 59937 h 73694"/>
                  <a:gd name="connsiteX8" fmla="*/ 37934 w 56792"/>
                  <a:gd name="connsiteY8" fmla="*/ 58838 h 73694"/>
                  <a:gd name="connsiteX9" fmla="*/ 43022 w 56792"/>
                  <a:gd name="connsiteY9" fmla="*/ 52215 h 73694"/>
                  <a:gd name="connsiteX10" fmla="*/ 41948 w 56792"/>
                  <a:gd name="connsiteY10" fmla="*/ 43955 h 73694"/>
                  <a:gd name="connsiteX11" fmla="*/ 22361 w 56792"/>
                  <a:gd name="connsiteY11" fmla="*/ 10021 h 73694"/>
                  <a:gd name="connsiteX12" fmla="*/ 24815 w 56792"/>
                  <a:gd name="connsiteY12" fmla="*/ 892 h 73694"/>
                  <a:gd name="connsiteX13" fmla="*/ 33944 w 56792"/>
                  <a:gd name="connsiteY13" fmla="*/ 3347 h 73694"/>
                  <a:gd name="connsiteX14" fmla="*/ 53532 w 56792"/>
                  <a:gd name="connsiteY14" fmla="*/ 37281 h 73694"/>
                  <a:gd name="connsiteX15" fmla="*/ 55962 w 56792"/>
                  <a:gd name="connsiteY15" fmla="*/ 55667 h 73694"/>
                  <a:gd name="connsiteX16" fmla="*/ 44659 w 56792"/>
                  <a:gd name="connsiteY16" fmla="*/ 70396 h 73694"/>
                  <a:gd name="connsiteX17" fmla="*/ 32564 w 56792"/>
                  <a:gd name="connsiteY17" fmla="*/ 73695 h 73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792" h="73694">
                    <a:moveTo>
                      <a:pt x="32564" y="73695"/>
                    </a:moveTo>
                    <a:cubicBezTo>
                      <a:pt x="30467" y="73695"/>
                      <a:pt x="28344" y="73414"/>
                      <a:pt x="26247" y="72851"/>
                    </a:cubicBezTo>
                    <a:cubicBezTo>
                      <a:pt x="19982" y="71163"/>
                      <a:pt x="14766" y="67174"/>
                      <a:pt x="11518" y="61548"/>
                    </a:cubicBezTo>
                    <a:lnTo>
                      <a:pt x="983" y="44339"/>
                    </a:lnTo>
                    <a:cubicBezTo>
                      <a:pt x="-935" y="41193"/>
                      <a:pt x="36" y="37076"/>
                      <a:pt x="3182" y="35158"/>
                    </a:cubicBezTo>
                    <a:cubicBezTo>
                      <a:pt x="6327" y="33241"/>
                      <a:pt x="10444" y="34238"/>
                      <a:pt x="12362" y="37358"/>
                    </a:cubicBezTo>
                    <a:lnTo>
                      <a:pt x="22974" y="54721"/>
                    </a:lnTo>
                    <a:cubicBezTo>
                      <a:pt x="24509" y="57380"/>
                      <a:pt x="26861" y="59196"/>
                      <a:pt x="29674" y="59937"/>
                    </a:cubicBezTo>
                    <a:cubicBezTo>
                      <a:pt x="32487" y="60679"/>
                      <a:pt x="35428" y="60295"/>
                      <a:pt x="37934" y="58838"/>
                    </a:cubicBezTo>
                    <a:cubicBezTo>
                      <a:pt x="40465" y="57380"/>
                      <a:pt x="42255" y="55028"/>
                      <a:pt x="43022" y="52215"/>
                    </a:cubicBezTo>
                    <a:cubicBezTo>
                      <a:pt x="43790" y="49402"/>
                      <a:pt x="43380" y="46461"/>
                      <a:pt x="41948" y="43955"/>
                    </a:cubicBezTo>
                    <a:lnTo>
                      <a:pt x="22361" y="10021"/>
                    </a:lnTo>
                    <a:cubicBezTo>
                      <a:pt x="20519" y="6825"/>
                      <a:pt x="21619" y="2759"/>
                      <a:pt x="24815" y="892"/>
                    </a:cubicBezTo>
                    <a:cubicBezTo>
                      <a:pt x="28012" y="-949"/>
                      <a:pt x="32078" y="151"/>
                      <a:pt x="33944" y="3347"/>
                    </a:cubicBezTo>
                    <a:lnTo>
                      <a:pt x="53532" y="37281"/>
                    </a:lnTo>
                    <a:cubicBezTo>
                      <a:pt x="56780" y="42881"/>
                      <a:pt x="57624" y="49427"/>
                      <a:pt x="55962" y="55667"/>
                    </a:cubicBezTo>
                    <a:cubicBezTo>
                      <a:pt x="54274" y="61932"/>
                      <a:pt x="50285" y="67149"/>
                      <a:pt x="44659" y="70396"/>
                    </a:cubicBezTo>
                    <a:cubicBezTo>
                      <a:pt x="40900" y="72595"/>
                      <a:pt x="36757" y="73695"/>
                      <a:pt x="32564" y="73695"/>
                    </a:cubicBezTo>
                    <a:close/>
                  </a:path>
                </a:pathLst>
              </a:custGeom>
              <a:solidFill>
                <a:schemeClr val="accent1"/>
              </a:solidFill>
              <a:ln w="2553" cap="flat">
                <a:noFill/>
                <a:prstDash val="solid"/>
                <a:miter/>
              </a:ln>
            </p:spPr>
            <p:txBody>
              <a:bodyPr rtlCol="0" anchor="ctr"/>
              <a:lstStyle/>
              <a:p>
                <a:endParaRPr lang="en-GB" dirty="0"/>
              </a:p>
            </p:txBody>
          </p:sp>
          <p:grpSp>
            <p:nvGrpSpPr>
              <p:cNvPr id="1094" name="Grafik 313">
                <a:extLst>
                  <a:ext uri="{FF2B5EF4-FFF2-40B4-BE49-F238E27FC236}">
                    <a16:creationId xmlns:a16="http://schemas.microsoft.com/office/drawing/2014/main" id="{74517E26-37B4-436B-861E-F41D29C13719}"/>
                  </a:ext>
                </a:extLst>
              </p:cNvPr>
              <p:cNvGrpSpPr/>
              <p:nvPr/>
            </p:nvGrpSpPr>
            <p:grpSpPr>
              <a:xfrm>
                <a:off x="6073105" y="1865574"/>
                <a:ext cx="220732" cy="150000"/>
                <a:chOff x="6073105" y="1865574"/>
                <a:chExt cx="220732" cy="150000"/>
              </a:xfrm>
              <a:solidFill>
                <a:schemeClr val="accent1"/>
              </a:solidFill>
            </p:grpSpPr>
            <p:sp>
              <p:nvSpPr>
                <p:cNvPr id="1095" name="Freihandform: Form 1094">
                  <a:extLst>
                    <a:ext uri="{FF2B5EF4-FFF2-40B4-BE49-F238E27FC236}">
                      <a16:creationId xmlns:a16="http://schemas.microsoft.com/office/drawing/2014/main" id="{5593747E-7092-4BAD-9DBE-D9CE7A23ECE5}"/>
                    </a:ext>
                  </a:extLst>
                </p:cNvPr>
                <p:cNvSpPr/>
                <p:nvPr/>
              </p:nvSpPr>
              <p:spPr>
                <a:xfrm>
                  <a:off x="6073105" y="1931015"/>
                  <a:ext cx="78684" cy="50395"/>
                </a:xfrm>
                <a:custGeom>
                  <a:avLst/>
                  <a:gdLst>
                    <a:gd name="connsiteX0" fmla="*/ 36517 w 78684"/>
                    <a:gd name="connsiteY0" fmla="*/ 50396 h 50395"/>
                    <a:gd name="connsiteX1" fmla="*/ 33269 w 78684"/>
                    <a:gd name="connsiteY1" fmla="*/ 49552 h 50395"/>
                    <a:gd name="connsiteX2" fmla="*/ 3427 w 78684"/>
                    <a:gd name="connsiteY2" fmla="*/ 32982 h 50395"/>
                    <a:gd name="connsiteX3" fmla="*/ 0 w 78684"/>
                    <a:gd name="connsiteY3" fmla="*/ 27202 h 50395"/>
                    <a:gd name="connsiteX4" fmla="*/ 3350 w 78684"/>
                    <a:gd name="connsiteY4" fmla="*/ 21372 h 50395"/>
                    <a:gd name="connsiteX5" fmla="*/ 38844 w 78684"/>
                    <a:gd name="connsiteY5" fmla="*/ 889 h 50395"/>
                    <a:gd name="connsiteX6" fmla="*/ 45416 w 78684"/>
                    <a:gd name="connsiteY6" fmla="*/ 838 h 50395"/>
                    <a:gd name="connsiteX7" fmla="*/ 75258 w 78684"/>
                    <a:gd name="connsiteY7" fmla="*/ 17408 h 50395"/>
                    <a:gd name="connsiteX8" fmla="*/ 78684 w 78684"/>
                    <a:gd name="connsiteY8" fmla="*/ 23188 h 50395"/>
                    <a:gd name="connsiteX9" fmla="*/ 75334 w 78684"/>
                    <a:gd name="connsiteY9" fmla="*/ 29018 h 50395"/>
                    <a:gd name="connsiteX10" fmla="*/ 39841 w 78684"/>
                    <a:gd name="connsiteY10" fmla="*/ 49501 h 50395"/>
                    <a:gd name="connsiteX11" fmla="*/ 36517 w 78684"/>
                    <a:gd name="connsiteY11" fmla="*/ 50396 h 50395"/>
                    <a:gd name="connsiteX12" fmla="*/ 20227 w 78684"/>
                    <a:gd name="connsiteY12" fmla="*/ 27049 h 50395"/>
                    <a:gd name="connsiteX13" fmla="*/ 36466 w 78684"/>
                    <a:gd name="connsiteY13" fmla="*/ 36076 h 50395"/>
                    <a:gd name="connsiteX14" fmla="*/ 58483 w 78684"/>
                    <a:gd name="connsiteY14" fmla="*/ 23367 h 50395"/>
                    <a:gd name="connsiteX15" fmla="*/ 42245 w 78684"/>
                    <a:gd name="connsiteY15" fmla="*/ 14340 h 50395"/>
                    <a:gd name="connsiteX16" fmla="*/ 20227 w 78684"/>
                    <a:gd name="connsiteY16" fmla="*/ 27049 h 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4" h="50395">
                      <a:moveTo>
                        <a:pt x="36517" y="50396"/>
                      </a:moveTo>
                      <a:cubicBezTo>
                        <a:pt x="35392" y="50396"/>
                        <a:pt x="34292" y="50115"/>
                        <a:pt x="33269" y="49552"/>
                      </a:cubicBezTo>
                      <a:lnTo>
                        <a:pt x="3427" y="32982"/>
                      </a:lnTo>
                      <a:cubicBezTo>
                        <a:pt x="1330" y="31805"/>
                        <a:pt x="0" y="29606"/>
                        <a:pt x="0" y="27202"/>
                      </a:cubicBezTo>
                      <a:cubicBezTo>
                        <a:pt x="-25" y="24799"/>
                        <a:pt x="1253" y="22574"/>
                        <a:pt x="3350" y="21372"/>
                      </a:cubicBezTo>
                      <a:lnTo>
                        <a:pt x="38844" y="889"/>
                      </a:lnTo>
                      <a:cubicBezTo>
                        <a:pt x="40889" y="-262"/>
                        <a:pt x="43370" y="-313"/>
                        <a:pt x="45416" y="838"/>
                      </a:cubicBezTo>
                      <a:lnTo>
                        <a:pt x="75258" y="17408"/>
                      </a:lnTo>
                      <a:cubicBezTo>
                        <a:pt x="77355" y="18585"/>
                        <a:pt x="78684" y="20784"/>
                        <a:pt x="78684" y="23188"/>
                      </a:cubicBezTo>
                      <a:cubicBezTo>
                        <a:pt x="78710" y="25591"/>
                        <a:pt x="77431" y="27816"/>
                        <a:pt x="75334" y="29018"/>
                      </a:cubicBezTo>
                      <a:lnTo>
                        <a:pt x="39841" y="49501"/>
                      </a:lnTo>
                      <a:cubicBezTo>
                        <a:pt x="38844" y="50115"/>
                        <a:pt x="37693" y="50396"/>
                        <a:pt x="36517" y="50396"/>
                      </a:cubicBezTo>
                      <a:close/>
                      <a:moveTo>
                        <a:pt x="20227" y="27049"/>
                      </a:moveTo>
                      <a:lnTo>
                        <a:pt x="36466" y="36076"/>
                      </a:lnTo>
                      <a:lnTo>
                        <a:pt x="58483" y="23367"/>
                      </a:lnTo>
                      <a:lnTo>
                        <a:pt x="42245" y="14340"/>
                      </a:lnTo>
                      <a:lnTo>
                        <a:pt x="20227" y="27049"/>
                      </a:lnTo>
                      <a:close/>
                    </a:path>
                  </a:pathLst>
                </a:custGeom>
                <a:solidFill>
                  <a:schemeClr val="accent1"/>
                </a:solidFill>
                <a:ln w="2553" cap="flat">
                  <a:noFill/>
                  <a:prstDash val="solid"/>
                  <a:miter/>
                </a:ln>
              </p:spPr>
              <p:txBody>
                <a:bodyPr rtlCol="0" anchor="ctr"/>
                <a:lstStyle/>
                <a:p>
                  <a:endParaRPr lang="en-GB" dirty="0"/>
                </a:p>
              </p:txBody>
            </p:sp>
            <p:sp>
              <p:nvSpPr>
                <p:cNvPr id="1096" name="Freihandform: Form 1095">
                  <a:extLst>
                    <a:ext uri="{FF2B5EF4-FFF2-40B4-BE49-F238E27FC236}">
                      <a16:creationId xmlns:a16="http://schemas.microsoft.com/office/drawing/2014/main" id="{138E4411-F4D4-4AAD-BC30-046D1EFA21F8}"/>
                    </a:ext>
                  </a:extLst>
                </p:cNvPr>
                <p:cNvSpPr/>
                <p:nvPr/>
              </p:nvSpPr>
              <p:spPr>
                <a:xfrm>
                  <a:off x="6102384" y="1947602"/>
                  <a:ext cx="49430" cy="67972"/>
                </a:xfrm>
                <a:custGeom>
                  <a:avLst/>
                  <a:gdLst>
                    <a:gd name="connsiteX0" fmla="*/ 6675 w 49430"/>
                    <a:gd name="connsiteY0" fmla="*/ 67973 h 67972"/>
                    <a:gd name="connsiteX1" fmla="*/ 3299 w 49430"/>
                    <a:gd name="connsiteY1" fmla="*/ 67052 h 67972"/>
                    <a:gd name="connsiteX2" fmla="*/ 0 w 49430"/>
                    <a:gd name="connsiteY2" fmla="*/ 61196 h 67972"/>
                    <a:gd name="connsiteX3" fmla="*/ 563 w 49430"/>
                    <a:gd name="connsiteY3" fmla="*/ 27058 h 67972"/>
                    <a:gd name="connsiteX4" fmla="*/ 3913 w 49430"/>
                    <a:gd name="connsiteY4" fmla="*/ 21381 h 67972"/>
                    <a:gd name="connsiteX5" fmla="*/ 39406 w 49430"/>
                    <a:gd name="connsiteY5" fmla="*/ 898 h 67972"/>
                    <a:gd name="connsiteX6" fmla="*/ 46132 w 49430"/>
                    <a:gd name="connsiteY6" fmla="*/ 924 h 67972"/>
                    <a:gd name="connsiteX7" fmla="*/ 49430 w 49430"/>
                    <a:gd name="connsiteY7" fmla="*/ 6780 h 67972"/>
                    <a:gd name="connsiteX8" fmla="*/ 48868 w 49430"/>
                    <a:gd name="connsiteY8" fmla="*/ 40918 h 67972"/>
                    <a:gd name="connsiteX9" fmla="*/ 45518 w 49430"/>
                    <a:gd name="connsiteY9" fmla="*/ 46595 h 67972"/>
                    <a:gd name="connsiteX10" fmla="*/ 10025 w 49430"/>
                    <a:gd name="connsiteY10" fmla="*/ 67103 h 67972"/>
                    <a:gd name="connsiteX11" fmla="*/ 6675 w 49430"/>
                    <a:gd name="connsiteY11" fmla="*/ 67973 h 67972"/>
                    <a:gd name="connsiteX12" fmla="*/ 13860 w 49430"/>
                    <a:gd name="connsiteY12" fmla="*/ 31047 h 67972"/>
                    <a:gd name="connsiteX13" fmla="*/ 13553 w 49430"/>
                    <a:gd name="connsiteY13" fmla="*/ 49612 h 67972"/>
                    <a:gd name="connsiteX14" fmla="*/ 35571 w 49430"/>
                    <a:gd name="connsiteY14" fmla="*/ 36903 h 67972"/>
                    <a:gd name="connsiteX15" fmla="*/ 35877 w 49430"/>
                    <a:gd name="connsiteY15" fmla="*/ 18338 h 67972"/>
                    <a:gd name="connsiteX16" fmla="*/ 13860 w 49430"/>
                    <a:gd name="connsiteY16" fmla="*/ 31047 h 6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430" h="67972">
                      <a:moveTo>
                        <a:pt x="6675" y="67973"/>
                      </a:moveTo>
                      <a:cubicBezTo>
                        <a:pt x="5498" y="67973"/>
                        <a:pt x="4322" y="67666"/>
                        <a:pt x="3299" y="67052"/>
                      </a:cubicBezTo>
                      <a:cubicBezTo>
                        <a:pt x="1228" y="65825"/>
                        <a:pt x="-25" y="63600"/>
                        <a:pt x="0" y="61196"/>
                      </a:cubicBezTo>
                      <a:lnTo>
                        <a:pt x="563" y="27058"/>
                      </a:lnTo>
                      <a:cubicBezTo>
                        <a:pt x="614" y="24705"/>
                        <a:pt x="1867" y="22557"/>
                        <a:pt x="3913" y="21381"/>
                      </a:cubicBezTo>
                      <a:lnTo>
                        <a:pt x="39406" y="898"/>
                      </a:lnTo>
                      <a:cubicBezTo>
                        <a:pt x="41478" y="-304"/>
                        <a:pt x="44060" y="-304"/>
                        <a:pt x="46132" y="924"/>
                      </a:cubicBezTo>
                      <a:cubicBezTo>
                        <a:pt x="48203" y="2151"/>
                        <a:pt x="49456" y="4376"/>
                        <a:pt x="49430" y="6780"/>
                      </a:cubicBezTo>
                      <a:lnTo>
                        <a:pt x="48868" y="40918"/>
                      </a:lnTo>
                      <a:cubicBezTo>
                        <a:pt x="48817" y="43270"/>
                        <a:pt x="47564" y="45419"/>
                        <a:pt x="45518" y="46595"/>
                      </a:cubicBezTo>
                      <a:lnTo>
                        <a:pt x="10025" y="67103"/>
                      </a:lnTo>
                      <a:cubicBezTo>
                        <a:pt x="8976" y="67666"/>
                        <a:pt x="7825" y="67973"/>
                        <a:pt x="6675" y="67973"/>
                      </a:cubicBezTo>
                      <a:close/>
                      <a:moveTo>
                        <a:pt x="13860" y="31047"/>
                      </a:moveTo>
                      <a:lnTo>
                        <a:pt x="13553" y="49612"/>
                      </a:lnTo>
                      <a:lnTo>
                        <a:pt x="35571" y="36903"/>
                      </a:lnTo>
                      <a:lnTo>
                        <a:pt x="35877" y="18338"/>
                      </a:lnTo>
                      <a:lnTo>
                        <a:pt x="13860" y="31047"/>
                      </a:lnTo>
                      <a:close/>
                    </a:path>
                  </a:pathLst>
                </a:custGeom>
                <a:solidFill>
                  <a:schemeClr val="accent1"/>
                </a:solidFill>
                <a:ln w="2553" cap="flat">
                  <a:noFill/>
                  <a:prstDash val="solid"/>
                  <a:miter/>
                </a:ln>
              </p:spPr>
              <p:txBody>
                <a:bodyPr rtlCol="0" anchor="ctr"/>
                <a:lstStyle/>
                <a:p>
                  <a:endParaRPr lang="en-GB" dirty="0"/>
                </a:p>
              </p:txBody>
            </p:sp>
            <p:sp>
              <p:nvSpPr>
                <p:cNvPr id="1097" name="Freihandform: Form 1096">
                  <a:extLst>
                    <a:ext uri="{FF2B5EF4-FFF2-40B4-BE49-F238E27FC236}">
                      <a16:creationId xmlns:a16="http://schemas.microsoft.com/office/drawing/2014/main" id="{FB0099DA-BBEA-4A53-8703-C26B693AFA07}"/>
                    </a:ext>
                  </a:extLst>
                </p:cNvPr>
                <p:cNvSpPr/>
                <p:nvPr/>
              </p:nvSpPr>
              <p:spPr>
                <a:xfrm>
                  <a:off x="6087760" y="1865574"/>
                  <a:ext cx="206076" cy="124633"/>
                </a:xfrm>
                <a:custGeom>
                  <a:avLst/>
                  <a:gdLst>
                    <a:gd name="connsiteX0" fmla="*/ 6672 w 206076"/>
                    <a:gd name="connsiteY0" fmla="*/ 124634 h 124633"/>
                    <a:gd name="connsiteX1" fmla="*/ 892 w 206076"/>
                    <a:gd name="connsiteY1" fmla="*/ 121284 h 124633"/>
                    <a:gd name="connsiteX2" fmla="*/ 3347 w 206076"/>
                    <a:gd name="connsiteY2" fmla="*/ 112155 h 124633"/>
                    <a:gd name="connsiteX3" fmla="*/ 196055 w 206076"/>
                    <a:gd name="connsiteY3" fmla="*/ 892 h 124633"/>
                    <a:gd name="connsiteX4" fmla="*/ 205184 w 206076"/>
                    <a:gd name="connsiteY4" fmla="*/ 3347 h 124633"/>
                    <a:gd name="connsiteX5" fmla="*/ 202730 w 206076"/>
                    <a:gd name="connsiteY5" fmla="*/ 12476 h 124633"/>
                    <a:gd name="connsiteX6" fmla="*/ 10021 w 206076"/>
                    <a:gd name="connsiteY6" fmla="*/ 123739 h 124633"/>
                    <a:gd name="connsiteX7" fmla="*/ 6672 w 206076"/>
                    <a:gd name="connsiteY7" fmla="*/ 124634 h 12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076" h="124633">
                      <a:moveTo>
                        <a:pt x="6672" y="124634"/>
                      </a:moveTo>
                      <a:cubicBezTo>
                        <a:pt x="4370" y="124634"/>
                        <a:pt x="2120" y="123432"/>
                        <a:pt x="892" y="121284"/>
                      </a:cubicBezTo>
                      <a:cubicBezTo>
                        <a:pt x="-949" y="118087"/>
                        <a:pt x="151" y="114021"/>
                        <a:pt x="3347" y="112155"/>
                      </a:cubicBezTo>
                      <a:lnTo>
                        <a:pt x="196055" y="892"/>
                      </a:lnTo>
                      <a:cubicBezTo>
                        <a:pt x="199252" y="-949"/>
                        <a:pt x="203318" y="151"/>
                        <a:pt x="205184" y="3347"/>
                      </a:cubicBezTo>
                      <a:cubicBezTo>
                        <a:pt x="207026" y="6544"/>
                        <a:pt x="205926" y="10610"/>
                        <a:pt x="202730" y="12476"/>
                      </a:cubicBezTo>
                      <a:lnTo>
                        <a:pt x="10021" y="123739"/>
                      </a:lnTo>
                      <a:cubicBezTo>
                        <a:pt x="8947" y="124352"/>
                        <a:pt x="7797" y="124634"/>
                        <a:pt x="6672" y="124634"/>
                      </a:cubicBezTo>
                      <a:close/>
                    </a:path>
                  </a:pathLst>
                </a:custGeom>
                <a:solidFill>
                  <a:schemeClr val="accent1"/>
                </a:solidFill>
                <a:ln w="2553" cap="flat">
                  <a:noFill/>
                  <a:prstDash val="solid"/>
                  <a:miter/>
                </a:ln>
              </p:spPr>
              <p:txBody>
                <a:bodyPr rtlCol="0" anchor="ctr"/>
                <a:lstStyle/>
                <a:p>
                  <a:endParaRPr lang="en-GB" dirty="0"/>
                </a:p>
              </p:txBody>
            </p:sp>
          </p:grpSp>
        </p:grpSp>
      </p:grpSp>
      <p:sp>
        <p:nvSpPr>
          <p:cNvPr id="1106" name="TextBox 1416">
            <a:extLst>
              <a:ext uri="{FF2B5EF4-FFF2-40B4-BE49-F238E27FC236}">
                <a16:creationId xmlns:a16="http://schemas.microsoft.com/office/drawing/2014/main" id="{10409E0C-4543-49A0-BAFC-C3AB3D093C8A}"/>
              </a:ext>
            </a:extLst>
          </p:cNvPr>
          <p:cNvSpPr txBox="1"/>
          <p:nvPr/>
        </p:nvSpPr>
        <p:spPr>
          <a:xfrm>
            <a:off x="5888409" y="2077494"/>
            <a:ext cx="740587" cy="215444"/>
          </a:xfrm>
          <a:prstGeom prst="rect">
            <a:avLst/>
          </a:prstGeom>
          <a:noFill/>
          <a:effectLst/>
        </p:spPr>
        <p:txBody>
          <a:bodyPr wrap="none" lIns="0" tIns="0" rIns="0" bIns="0" rtlCol="0" anchor="t" anchorCtr="0">
            <a:spAutoFit/>
          </a:bodyPr>
          <a:lstStyle/>
          <a:p>
            <a:pPr algn="ctr"/>
            <a:r>
              <a:rPr lang="en-GB" sz="700" dirty="0">
                <a:solidFill>
                  <a:schemeClr val="tx2"/>
                </a:solidFill>
              </a:rPr>
              <a:t>Digital</a:t>
            </a:r>
            <a:br>
              <a:rPr lang="en-GB" sz="700" dirty="0">
                <a:solidFill>
                  <a:schemeClr val="tx2"/>
                </a:solidFill>
              </a:rPr>
            </a:br>
            <a:r>
              <a:rPr lang="en-GB" sz="700" dirty="0">
                <a:solidFill>
                  <a:schemeClr val="tx2"/>
                </a:solidFill>
              </a:rPr>
              <a:t>marketing strategy</a:t>
            </a:r>
          </a:p>
        </p:txBody>
      </p:sp>
      <p:grpSp>
        <p:nvGrpSpPr>
          <p:cNvPr id="56" name="Group 55">
            <a:extLst>
              <a:ext uri="{FF2B5EF4-FFF2-40B4-BE49-F238E27FC236}">
                <a16:creationId xmlns:a16="http://schemas.microsoft.com/office/drawing/2014/main" id="{552EFA05-5021-786C-16AD-0AE594E29D79}"/>
              </a:ext>
            </a:extLst>
          </p:cNvPr>
          <p:cNvGrpSpPr/>
          <p:nvPr/>
        </p:nvGrpSpPr>
        <p:grpSpPr>
          <a:xfrm>
            <a:off x="7030223" y="2449341"/>
            <a:ext cx="547826" cy="432000"/>
            <a:chOff x="7029811" y="2449341"/>
            <a:chExt cx="547826" cy="432000"/>
          </a:xfrm>
        </p:grpSpPr>
        <p:grpSp>
          <p:nvGrpSpPr>
            <p:cNvPr id="1108" name="Grafik 313">
              <a:extLst>
                <a:ext uri="{FF2B5EF4-FFF2-40B4-BE49-F238E27FC236}">
                  <a16:creationId xmlns:a16="http://schemas.microsoft.com/office/drawing/2014/main" id="{774AEF9A-00D8-4E02-A573-4B21B67F6CE6}"/>
                </a:ext>
              </a:extLst>
            </p:cNvPr>
            <p:cNvGrpSpPr/>
            <p:nvPr/>
          </p:nvGrpSpPr>
          <p:grpSpPr>
            <a:xfrm>
              <a:off x="7384411" y="2449341"/>
              <a:ext cx="193226" cy="429598"/>
              <a:chOff x="7306734" y="2515169"/>
              <a:chExt cx="179001" cy="397971"/>
            </a:xfrm>
            <a:solidFill>
              <a:schemeClr val="accent1"/>
            </a:solidFill>
          </p:grpSpPr>
          <p:sp>
            <p:nvSpPr>
              <p:cNvPr id="1122" name="Freihandform: Form 1121">
                <a:extLst>
                  <a:ext uri="{FF2B5EF4-FFF2-40B4-BE49-F238E27FC236}">
                    <a16:creationId xmlns:a16="http://schemas.microsoft.com/office/drawing/2014/main" id="{2F30FA07-C397-4568-9BAE-39EC868741DB}"/>
                  </a:ext>
                </a:extLst>
              </p:cNvPr>
              <p:cNvSpPr/>
              <p:nvPr/>
            </p:nvSpPr>
            <p:spPr>
              <a:xfrm>
                <a:off x="7440320" y="2563243"/>
                <a:ext cx="45415" cy="349897"/>
              </a:xfrm>
              <a:custGeom>
                <a:avLst/>
                <a:gdLst>
                  <a:gd name="connsiteX0" fmla="*/ 17363 w 45415"/>
                  <a:gd name="connsiteY0" fmla="*/ 349897 h 349897"/>
                  <a:gd name="connsiteX1" fmla="*/ 10689 w 45415"/>
                  <a:gd name="connsiteY1" fmla="*/ 343223 h 349897"/>
                  <a:gd name="connsiteX2" fmla="*/ 10689 w 45415"/>
                  <a:gd name="connsiteY2" fmla="*/ 216515 h 349897"/>
                  <a:gd name="connsiteX3" fmla="*/ 12837 w 45415"/>
                  <a:gd name="connsiteY3" fmla="*/ 211606 h 349897"/>
                  <a:gd name="connsiteX4" fmla="*/ 32067 w 45415"/>
                  <a:gd name="connsiteY4" fmla="*/ 166957 h 349897"/>
                  <a:gd name="connsiteX5" fmla="*/ 32067 w 45415"/>
                  <a:gd name="connsiteY5" fmla="*/ 22708 h 349897"/>
                  <a:gd name="connsiteX6" fmla="*/ 22708 w 45415"/>
                  <a:gd name="connsiteY6" fmla="*/ 13348 h 349897"/>
                  <a:gd name="connsiteX7" fmla="*/ 13348 w 45415"/>
                  <a:gd name="connsiteY7" fmla="*/ 22708 h 349897"/>
                  <a:gd name="connsiteX8" fmla="*/ 13348 w 45415"/>
                  <a:gd name="connsiteY8" fmla="*/ 70782 h 349897"/>
                  <a:gd name="connsiteX9" fmla="*/ 6674 w 45415"/>
                  <a:gd name="connsiteY9" fmla="*/ 77457 h 349897"/>
                  <a:gd name="connsiteX10" fmla="*/ 0 w 45415"/>
                  <a:gd name="connsiteY10" fmla="*/ 70782 h 349897"/>
                  <a:gd name="connsiteX11" fmla="*/ 0 w 45415"/>
                  <a:gd name="connsiteY11" fmla="*/ 22708 h 349897"/>
                  <a:gd name="connsiteX12" fmla="*/ 22708 w 45415"/>
                  <a:gd name="connsiteY12" fmla="*/ 0 h 349897"/>
                  <a:gd name="connsiteX13" fmla="*/ 45415 w 45415"/>
                  <a:gd name="connsiteY13" fmla="*/ 22708 h 349897"/>
                  <a:gd name="connsiteX14" fmla="*/ 45415 w 45415"/>
                  <a:gd name="connsiteY14" fmla="*/ 166957 h 349897"/>
                  <a:gd name="connsiteX15" fmla="*/ 24037 w 45415"/>
                  <a:gd name="connsiteY15" fmla="*/ 219354 h 349897"/>
                  <a:gd name="connsiteX16" fmla="*/ 24037 w 45415"/>
                  <a:gd name="connsiteY16" fmla="*/ 343223 h 349897"/>
                  <a:gd name="connsiteX17" fmla="*/ 17363 w 45415"/>
                  <a:gd name="connsiteY17" fmla="*/ 349897 h 34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5415" h="349897">
                    <a:moveTo>
                      <a:pt x="17363" y="349897"/>
                    </a:moveTo>
                    <a:cubicBezTo>
                      <a:pt x="13681" y="349897"/>
                      <a:pt x="10689" y="346905"/>
                      <a:pt x="10689" y="343223"/>
                    </a:cubicBezTo>
                    <a:lnTo>
                      <a:pt x="10689" y="216515"/>
                    </a:lnTo>
                    <a:cubicBezTo>
                      <a:pt x="10689" y="214649"/>
                      <a:pt x="11456" y="212884"/>
                      <a:pt x="12837" y="211606"/>
                    </a:cubicBezTo>
                    <a:cubicBezTo>
                      <a:pt x="25418" y="199971"/>
                      <a:pt x="32067" y="184551"/>
                      <a:pt x="32067" y="166957"/>
                    </a:cubicBezTo>
                    <a:lnTo>
                      <a:pt x="32067" y="22708"/>
                    </a:lnTo>
                    <a:cubicBezTo>
                      <a:pt x="32067" y="17542"/>
                      <a:pt x="27873" y="13348"/>
                      <a:pt x="22708" y="13348"/>
                    </a:cubicBezTo>
                    <a:cubicBezTo>
                      <a:pt x="17542" y="13348"/>
                      <a:pt x="13348" y="17542"/>
                      <a:pt x="13348" y="22708"/>
                    </a:cubicBezTo>
                    <a:lnTo>
                      <a:pt x="13348" y="70782"/>
                    </a:lnTo>
                    <a:cubicBezTo>
                      <a:pt x="13348" y="74465"/>
                      <a:pt x="10356" y="77457"/>
                      <a:pt x="6674" y="77457"/>
                    </a:cubicBezTo>
                    <a:cubicBezTo>
                      <a:pt x="2992" y="77457"/>
                      <a:pt x="0" y="74465"/>
                      <a:pt x="0" y="70782"/>
                    </a:cubicBezTo>
                    <a:lnTo>
                      <a:pt x="0" y="22708"/>
                    </a:lnTo>
                    <a:cubicBezTo>
                      <a:pt x="0" y="10178"/>
                      <a:pt x="10177" y="0"/>
                      <a:pt x="22708" y="0"/>
                    </a:cubicBezTo>
                    <a:cubicBezTo>
                      <a:pt x="35212" y="0"/>
                      <a:pt x="45415" y="10178"/>
                      <a:pt x="45415" y="22708"/>
                    </a:cubicBezTo>
                    <a:lnTo>
                      <a:pt x="45415" y="166957"/>
                    </a:lnTo>
                    <a:cubicBezTo>
                      <a:pt x="45415" y="187031"/>
                      <a:pt x="37846" y="205545"/>
                      <a:pt x="24037" y="219354"/>
                    </a:cubicBezTo>
                    <a:lnTo>
                      <a:pt x="24037" y="343223"/>
                    </a:lnTo>
                    <a:cubicBezTo>
                      <a:pt x="24037" y="346905"/>
                      <a:pt x="21045" y="349897"/>
                      <a:pt x="17363" y="349897"/>
                    </a:cubicBezTo>
                    <a:close/>
                  </a:path>
                </a:pathLst>
              </a:custGeom>
              <a:solidFill>
                <a:schemeClr val="accent1"/>
              </a:solidFill>
              <a:ln w="2553" cap="flat">
                <a:noFill/>
                <a:prstDash val="solid"/>
                <a:miter/>
              </a:ln>
            </p:spPr>
            <p:txBody>
              <a:bodyPr rtlCol="0" anchor="ctr"/>
              <a:lstStyle/>
              <a:p>
                <a:endParaRPr lang="en-GB" dirty="0"/>
              </a:p>
            </p:txBody>
          </p:sp>
          <p:sp>
            <p:nvSpPr>
              <p:cNvPr id="1123" name="Freihandform: Form 1122">
                <a:extLst>
                  <a:ext uri="{FF2B5EF4-FFF2-40B4-BE49-F238E27FC236}">
                    <a16:creationId xmlns:a16="http://schemas.microsoft.com/office/drawing/2014/main" id="{7BA5CCDF-CC24-4603-B502-EBD44D9369FD}"/>
                  </a:ext>
                </a:extLst>
              </p:cNvPr>
              <p:cNvSpPr/>
              <p:nvPr/>
            </p:nvSpPr>
            <p:spPr>
              <a:xfrm>
                <a:off x="7306734" y="2611344"/>
                <a:ext cx="98808" cy="301796"/>
              </a:xfrm>
              <a:custGeom>
                <a:avLst/>
                <a:gdLst>
                  <a:gd name="connsiteX0" fmla="*/ 44086 w 98808"/>
                  <a:gd name="connsiteY0" fmla="*/ 301797 h 301796"/>
                  <a:gd name="connsiteX1" fmla="*/ 37411 w 98808"/>
                  <a:gd name="connsiteY1" fmla="*/ 295123 h 301796"/>
                  <a:gd name="connsiteX2" fmla="*/ 37411 w 98808"/>
                  <a:gd name="connsiteY2" fmla="*/ 183477 h 301796"/>
                  <a:gd name="connsiteX3" fmla="*/ 0 w 98808"/>
                  <a:gd name="connsiteY3" fmla="*/ 118857 h 301796"/>
                  <a:gd name="connsiteX4" fmla="*/ 0 w 98808"/>
                  <a:gd name="connsiteY4" fmla="*/ 25367 h 301796"/>
                  <a:gd name="connsiteX5" fmla="*/ 25367 w 98808"/>
                  <a:gd name="connsiteY5" fmla="*/ 0 h 301796"/>
                  <a:gd name="connsiteX6" fmla="*/ 50734 w 98808"/>
                  <a:gd name="connsiteY6" fmla="*/ 25367 h 301796"/>
                  <a:gd name="connsiteX7" fmla="*/ 50734 w 98808"/>
                  <a:gd name="connsiteY7" fmla="*/ 69862 h 301796"/>
                  <a:gd name="connsiteX8" fmla="*/ 98809 w 98808"/>
                  <a:gd name="connsiteY8" fmla="*/ 124227 h 301796"/>
                  <a:gd name="connsiteX9" fmla="*/ 92135 w 98808"/>
                  <a:gd name="connsiteY9" fmla="*/ 130901 h 301796"/>
                  <a:gd name="connsiteX10" fmla="*/ 85460 w 98808"/>
                  <a:gd name="connsiteY10" fmla="*/ 124227 h 301796"/>
                  <a:gd name="connsiteX11" fmla="*/ 44060 w 98808"/>
                  <a:gd name="connsiteY11" fmla="*/ 82827 h 301796"/>
                  <a:gd name="connsiteX12" fmla="*/ 37386 w 98808"/>
                  <a:gd name="connsiteY12" fmla="*/ 76152 h 301796"/>
                  <a:gd name="connsiteX13" fmla="*/ 37386 w 98808"/>
                  <a:gd name="connsiteY13" fmla="*/ 25393 h 301796"/>
                  <a:gd name="connsiteX14" fmla="*/ 25367 w 98808"/>
                  <a:gd name="connsiteY14" fmla="*/ 13374 h 301796"/>
                  <a:gd name="connsiteX15" fmla="*/ 13348 w 98808"/>
                  <a:gd name="connsiteY15" fmla="*/ 25393 h 301796"/>
                  <a:gd name="connsiteX16" fmla="*/ 13348 w 98808"/>
                  <a:gd name="connsiteY16" fmla="*/ 118883 h 301796"/>
                  <a:gd name="connsiteX17" fmla="*/ 47103 w 98808"/>
                  <a:gd name="connsiteY17" fmla="*/ 173606 h 301796"/>
                  <a:gd name="connsiteX18" fmla="*/ 50734 w 98808"/>
                  <a:gd name="connsiteY18" fmla="*/ 179539 h 301796"/>
                  <a:gd name="connsiteX19" fmla="*/ 50734 w 98808"/>
                  <a:gd name="connsiteY19" fmla="*/ 295148 h 301796"/>
                  <a:gd name="connsiteX20" fmla="*/ 44086 w 98808"/>
                  <a:gd name="connsiteY20" fmla="*/ 301797 h 301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8808" h="301796">
                    <a:moveTo>
                      <a:pt x="44086" y="301797"/>
                    </a:moveTo>
                    <a:cubicBezTo>
                      <a:pt x="40403" y="301797"/>
                      <a:pt x="37411" y="298805"/>
                      <a:pt x="37411" y="295123"/>
                    </a:cubicBezTo>
                    <a:lnTo>
                      <a:pt x="37411" y="183477"/>
                    </a:lnTo>
                    <a:cubicBezTo>
                      <a:pt x="13911" y="169898"/>
                      <a:pt x="0" y="146040"/>
                      <a:pt x="0" y="118857"/>
                    </a:cubicBezTo>
                    <a:lnTo>
                      <a:pt x="0" y="25367"/>
                    </a:lnTo>
                    <a:cubicBezTo>
                      <a:pt x="0" y="11379"/>
                      <a:pt x="11379" y="0"/>
                      <a:pt x="25367" y="0"/>
                    </a:cubicBezTo>
                    <a:cubicBezTo>
                      <a:pt x="39355" y="0"/>
                      <a:pt x="50734" y="11379"/>
                      <a:pt x="50734" y="25367"/>
                    </a:cubicBezTo>
                    <a:lnTo>
                      <a:pt x="50734" y="69862"/>
                    </a:lnTo>
                    <a:cubicBezTo>
                      <a:pt x="77789" y="73161"/>
                      <a:pt x="98809" y="96277"/>
                      <a:pt x="98809" y="124227"/>
                    </a:cubicBezTo>
                    <a:cubicBezTo>
                      <a:pt x="98809" y="127909"/>
                      <a:pt x="95817" y="130901"/>
                      <a:pt x="92135" y="130901"/>
                    </a:cubicBezTo>
                    <a:cubicBezTo>
                      <a:pt x="88452" y="130901"/>
                      <a:pt x="85460" y="127909"/>
                      <a:pt x="85460" y="124227"/>
                    </a:cubicBezTo>
                    <a:cubicBezTo>
                      <a:pt x="85460" y="101392"/>
                      <a:pt x="66895" y="82827"/>
                      <a:pt x="44060" y="82827"/>
                    </a:cubicBezTo>
                    <a:cubicBezTo>
                      <a:pt x="40378" y="82827"/>
                      <a:pt x="37386" y="79835"/>
                      <a:pt x="37386" y="76152"/>
                    </a:cubicBezTo>
                    <a:lnTo>
                      <a:pt x="37386" y="25393"/>
                    </a:lnTo>
                    <a:cubicBezTo>
                      <a:pt x="37386" y="18770"/>
                      <a:pt x="31990" y="13374"/>
                      <a:pt x="25367" y="13374"/>
                    </a:cubicBezTo>
                    <a:cubicBezTo>
                      <a:pt x="18744" y="13374"/>
                      <a:pt x="13348" y="18770"/>
                      <a:pt x="13348" y="25393"/>
                    </a:cubicBezTo>
                    <a:lnTo>
                      <a:pt x="13348" y="118883"/>
                    </a:lnTo>
                    <a:cubicBezTo>
                      <a:pt x="13348" y="142664"/>
                      <a:pt x="25648" y="162610"/>
                      <a:pt x="47103" y="173606"/>
                    </a:cubicBezTo>
                    <a:cubicBezTo>
                      <a:pt x="49328" y="174757"/>
                      <a:pt x="50734" y="177033"/>
                      <a:pt x="50734" y="179539"/>
                    </a:cubicBezTo>
                    <a:lnTo>
                      <a:pt x="50734" y="295148"/>
                    </a:lnTo>
                    <a:cubicBezTo>
                      <a:pt x="50760" y="298805"/>
                      <a:pt x="47768" y="301797"/>
                      <a:pt x="44086" y="301797"/>
                    </a:cubicBezTo>
                    <a:close/>
                  </a:path>
                </a:pathLst>
              </a:custGeom>
              <a:solidFill>
                <a:schemeClr val="accent1"/>
              </a:solidFill>
              <a:ln w="2553" cap="flat">
                <a:noFill/>
                <a:prstDash val="solid"/>
                <a:miter/>
              </a:ln>
            </p:spPr>
            <p:txBody>
              <a:bodyPr rtlCol="0" anchor="ctr"/>
              <a:lstStyle/>
              <a:p>
                <a:endParaRPr lang="en-GB" dirty="0"/>
              </a:p>
            </p:txBody>
          </p:sp>
          <p:sp>
            <p:nvSpPr>
              <p:cNvPr id="1124" name="Freihandform: Form 1123">
                <a:extLst>
                  <a:ext uri="{FF2B5EF4-FFF2-40B4-BE49-F238E27FC236}">
                    <a16:creationId xmlns:a16="http://schemas.microsoft.com/office/drawing/2014/main" id="{9C78F466-4AE8-4A1B-8032-16BB426165D0}"/>
                  </a:ext>
                </a:extLst>
              </p:cNvPr>
              <p:cNvSpPr/>
              <p:nvPr/>
            </p:nvSpPr>
            <p:spPr>
              <a:xfrm>
                <a:off x="7376186" y="2515169"/>
                <a:ext cx="45415" cy="120212"/>
              </a:xfrm>
              <a:custGeom>
                <a:avLst/>
                <a:gdLst>
                  <a:gd name="connsiteX0" fmla="*/ 38741 w 45415"/>
                  <a:gd name="connsiteY0" fmla="*/ 120212 h 120212"/>
                  <a:gd name="connsiteX1" fmla="*/ 32067 w 45415"/>
                  <a:gd name="connsiteY1" fmla="*/ 113538 h 120212"/>
                  <a:gd name="connsiteX2" fmla="*/ 32067 w 45415"/>
                  <a:gd name="connsiteY2" fmla="*/ 22708 h 120212"/>
                  <a:gd name="connsiteX3" fmla="*/ 22708 w 45415"/>
                  <a:gd name="connsiteY3" fmla="*/ 13348 h 120212"/>
                  <a:gd name="connsiteX4" fmla="*/ 13348 w 45415"/>
                  <a:gd name="connsiteY4" fmla="*/ 22708 h 120212"/>
                  <a:gd name="connsiteX5" fmla="*/ 13348 w 45415"/>
                  <a:gd name="connsiteY5" fmla="*/ 113538 h 120212"/>
                  <a:gd name="connsiteX6" fmla="*/ 6674 w 45415"/>
                  <a:gd name="connsiteY6" fmla="*/ 120212 h 120212"/>
                  <a:gd name="connsiteX7" fmla="*/ 0 w 45415"/>
                  <a:gd name="connsiteY7" fmla="*/ 113538 h 120212"/>
                  <a:gd name="connsiteX8" fmla="*/ 0 w 45415"/>
                  <a:gd name="connsiteY8" fmla="*/ 22708 h 120212"/>
                  <a:gd name="connsiteX9" fmla="*/ 22708 w 45415"/>
                  <a:gd name="connsiteY9" fmla="*/ 0 h 120212"/>
                  <a:gd name="connsiteX10" fmla="*/ 45415 w 45415"/>
                  <a:gd name="connsiteY10" fmla="*/ 22708 h 120212"/>
                  <a:gd name="connsiteX11" fmla="*/ 45415 w 45415"/>
                  <a:gd name="connsiteY11" fmla="*/ 113538 h 120212"/>
                  <a:gd name="connsiteX12" fmla="*/ 38741 w 45415"/>
                  <a:gd name="connsiteY12" fmla="*/ 120212 h 12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415" h="120212">
                    <a:moveTo>
                      <a:pt x="38741" y="120212"/>
                    </a:moveTo>
                    <a:cubicBezTo>
                      <a:pt x="35059" y="120212"/>
                      <a:pt x="32067" y="117221"/>
                      <a:pt x="32067" y="113538"/>
                    </a:cubicBezTo>
                    <a:lnTo>
                      <a:pt x="32067" y="22708"/>
                    </a:lnTo>
                    <a:cubicBezTo>
                      <a:pt x="32067" y="17542"/>
                      <a:pt x="27873" y="13348"/>
                      <a:pt x="22708" y="13348"/>
                    </a:cubicBezTo>
                    <a:cubicBezTo>
                      <a:pt x="17542" y="13348"/>
                      <a:pt x="13348" y="17542"/>
                      <a:pt x="13348" y="22708"/>
                    </a:cubicBezTo>
                    <a:lnTo>
                      <a:pt x="13348" y="113538"/>
                    </a:lnTo>
                    <a:cubicBezTo>
                      <a:pt x="13348" y="117221"/>
                      <a:pt x="10356" y="120212"/>
                      <a:pt x="6674" y="120212"/>
                    </a:cubicBezTo>
                    <a:cubicBezTo>
                      <a:pt x="2992" y="120212"/>
                      <a:pt x="0" y="117221"/>
                      <a:pt x="0" y="113538"/>
                    </a:cubicBezTo>
                    <a:lnTo>
                      <a:pt x="0" y="22708"/>
                    </a:lnTo>
                    <a:cubicBezTo>
                      <a:pt x="0" y="10177"/>
                      <a:pt x="10177" y="0"/>
                      <a:pt x="22708" y="0"/>
                    </a:cubicBezTo>
                    <a:cubicBezTo>
                      <a:pt x="35238" y="0"/>
                      <a:pt x="45415" y="10177"/>
                      <a:pt x="45415" y="22708"/>
                    </a:cubicBezTo>
                    <a:lnTo>
                      <a:pt x="45415" y="113538"/>
                    </a:lnTo>
                    <a:cubicBezTo>
                      <a:pt x="45415" y="117221"/>
                      <a:pt x="42423" y="120212"/>
                      <a:pt x="38741" y="120212"/>
                    </a:cubicBezTo>
                    <a:close/>
                  </a:path>
                </a:pathLst>
              </a:custGeom>
              <a:solidFill>
                <a:schemeClr val="accent1"/>
              </a:solidFill>
              <a:ln w="2553" cap="flat">
                <a:noFill/>
                <a:prstDash val="solid"/>
                <a:miter/>
              </a:ln>
            </p:spPr>
            <p:txBody>
              <a:bodyPr rtlCol="0" anchor="ctr"/>
              <a:lstStyle/>
              <a:p>
                <a:endParaRPr lang="en-GB" dirty="0"/>
              </a:p>
            </p:txBody>
          </p:sp>
          <p:sp>
            <p:nvSpPr>
              <p:cNvPr id="1125" name="Freihandform: Form 1124">
                <a:extLst>
                  <a:ext uri="{FF2B5EF4-FFF2-40B4-BE49-F238E27FC236}">
                    <a16:creationId xmlns:a16="http://schemas.microsoft.com/office/drawing/2014/main" id="{36614D2B-C8AA-4A83-B011-FDA46C0EB74B}"/>
                  </a:ext>
                </a:extLst>
              </p:cNvPr>
              <p:cNvSpPr/>
              <p:nvPr/>
            </p:nvSpPr>
            <p:spPr>
              <a:xfrm>
                <a:off x="7408253" y="2541891"/>
                <a:ext cx="45415" cy="104178"/>
              </a:xfrm>
              <a:custGeom>
                <a:avLst/>
                <a:gdLst>
                  <a:gd name="connsiteX0" fmla="*/ 38741 w 45415"/>
                  <a:gd name="connsiteY0" fmla="*/ 104179 h 104178"/>
                  <a:gd name="connsiteX1" fmla="*/ 32067 w 45415"/>
                  <a:gd name="connsiteY1" fmla="*/ 97505 h 104178"/>
                  <a:gd name="connsiteX2" fmla="*/ 32067 w 45415"/>
                  <a:gd name="connsiteY2" fmla="*/ 22708 h 104178"/>
                  <a:gd name="connsiteX3" fmla="*/ 22708 w 45415"/>
                  <a:gd name="connsiteY3" fmla="*/ 13348 h 104178"/>
                  <a:gd name="connsiteX4" fmla="*/ 13348 w 45415"/>
                  <a:gd name="connsiteY4" fmla="*/ 22708 h 104178"/>
                  <a:gd name="connsiteX5" fmla="*/ 13348 w 45415"/>
                  <a:gd name="connsiteY5" fmla="*/ 97505 h 104178"/>
                  <a:gd name="connsiteX6" fmla="*/ 6674 w 45415"/>
                  <a:gd name="connsiteY6" fmla="*/ 104179 h 104178"/>
                  <a:gd name="connsiteX7" fmla="*/ 0 w 45415"/>
                  <a:gd name="connsiteY7" fmla="*/ 97505 h 104178"/>
                  <a:gd name="connsiteX8" fmla="*/ 0 w 45415"/>
                  <a:gd name="connsiteY8" fmla="*/ 22708 h 104178"/>
                  <a:gd name="connsiteX9" fmla="*/ 22708 w 45415"/>
                  <a:gd name="connsiteY9" fmla="*/ 0 h 104178"/>
                  <a:gd name="connsiteX10" fmla="*/ 45415 w 45415"/>
                  <a:gd name="connsiteY10" fmla="*/ 22708 h 104178"/>
                  <a:gd name="connsiteX11" fmla="*/ 45415 w 45415"/>
                  <a:gd name="connsiteY11" fmla="*/ 97505 h 104178"/>
                  <a:gd name="connsiteX12" fmla="*/ 38741 w 45415"/>
                  <a:gd name="connsiteY12" fmla="*/ 104179 h 104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415" h="104178">
                    <a:moveTo>
                      <a:pt x="38741" y="104179"/>
                    </a:moveTo>
                    <a:cubicBezTo>
                      <a:pt x="35059" y="104179"/>
                      <a:pt x="32067" y="101187"/>
                      <a:pt x="32067" y="97505"/>
                    </a:cubicBezTo>
                    <a:lnTo>
                      <a:pt x="32067" y="22708"/>
                    </a:lnTo>
                    <a:cubicBezTo>
                      <a:pt x="32067" y="17542"/>
                      <a:pt x="27873" y="13348"/>
                      <a:pt x="22708" y="13348"/>
                    </a:cubicBezTo>
                    <a:cubicBezTo>
                      <a:pt x="17542" y="13348"/>
                      <a:pt x="13348" y="17542"/>
                      <a:pt x="13348" y="22708"/>
                    </a:cubicBezTo>
                    <a:lnTo>
                      <a:pt x="13348" y="97505"/>
                    </a:lnTo>
                    <a:cubicBezTo>
                      <a:pt x="13348" y="101187"/>
                      <a:pt x="10357" y="104179"/>
                      <a:pt x="6674" y="104179"/>
                    </a:cubicBezTo>
                    <a:cubicBezTo>
                      <a:pt x="2992" y="104179"/>
                      <a:pt x="0" y="101187"/>
                      <a:pt x="0" y="97505"/>
                    </a:cubicBezTo>
                    <a:lnTo>
                      <a:pt x="0" y="22708"/>
                    </a:lnTo>
                    <a:cubicBezTo>
                      <a:pt x="0" y="10178"/>
                      <a:pt x="10178" y="0"/>
                      <a:pt x="22708" y="0"/>
                    </a:cubicBezTo>
                    <a:cubicBezTo>
                      <a:pt x="35238" y="0"/>
                      <a:pt x="45415" y="10178"/>
                      <a:pt x="45415" y="22708"/>
                    </a:cubicBezTo>
                    <a:lnTo>
                      <a:pt x="45415" y="97505"/>
                    </a:lnTo>
                    <a:cubicBezTo>
                      <a:pt x="45415" y="101187"/>
                      <a:pt x="42423" y="104179"/>
                      <a:pt x="38741" y="104179"/>
                    </a:cubicBezTo>
                    <a:close/>
                  </a:path>
                </a:pathLst>
              </a:custGeom>
              <a:solidFill>
                <a:schemeClr val="accent1"/>
              </a:solidFill>
              <a:ln w="2553" cap="flat">
                <a:noFill/>
                <a:prstDash val="solid"/>
                <a:miter/>
              </a:ln>
            </p:spPr>
            <p:txBody>
              <a:bodyPr rtlCol="0" anchor="ctr"/>
              <a:lstStyle/>
              <a:p>
                <a:endParaRPr lang="en-GB" dirty="0"/>
              </a:p>
            </p:txBody>
          </p:sp>
          <p:sp>
            <p:nvSpPr>
              <p:cNvPr id="1126" name="Freihandform: Form 1125">
                <a:extLst>
                  <a:ext uri="{FF2B5EF4-FFF2-40B4-BE49-F238E27FC236}">
                    <a16:creationId xmlns:a16="http://schemas.microsoft.com/office/drawing/2014/main" id="{1AD50791-BAF9-445C-B392-182D422B7DBB}"/>
                  </a:ext>
                </a:extLst>
              </p:cNvPr>
              <p:cNvSpPr/>
              <p:nvPr/>
            </p:nvSpPr>
            <p:spPr>
              <a:xfrm>
                <a:off x="7344145" y="2541865"/>
                <a:ext cx="45415" cy="120212"/>
              </a:xfrm>
              <a:custGeom>
                <a:avLst/>
                <a:gdLst>
                  <a:gd name="connsiteX0" fmla="*/ 6674 w 45415"/>
                  <a:gd name="connsiteY0" fmla="*/ 120212 h 120212"/>
                  <a:gd name="connsiteX1" fmla="*/ 0 w 45415"/>
                  <a:gd name="connsiteY1" fmla="*/ 113538 h 120212"/>
                  <a:gd name="connsiteX2" fmla="*/ 0 w 45415"/>
                  <a:gd name="connsiteY2" fmla="*/ 22708 h 120212"/>
                  <a:gd name="connsiteX3" fmla="*/ 22708 w 45415"/>
                  <a:gd name="connsiteY3" fmla="*/ 0 h 120212"/>
                  <a:gd name="connsiteX4" fmla="*/ 45415 w 45415"/>
                  <a:gd name="connsiteY4" fmla="*/ 22708 h 120212"/>
                  <a:gd name="connsiteX5" fmla="*/ 45415 w 45415"/>
                  <a:gd name="connsiteY5" fmla="*/ 97530 h 120212"/>
                  <a:gd name="connsiteX6" fmla="*/ 38741 w 45415"/>
                  <a:gd name="connsiteY6" fmla="*/ 104205 h 120212"/>
                  <a:gd name="connsiteX7" fmla="*/ 32067 w 45415"/>
                  <a:gd name="connsiteY7" fmla="*/ 97530 h 120212"/>
                  <a:gd name="connsiteX8" fmla="*/ 32067 w 45415"/>
                  <a:gd name="connsiteY8" fmla="*/ 22733 h 120212"/>
                  <a:gd name="connsiteX9" fmla="*/ 22708 w 45415"/>
                  <a:gd name="connsiteY9" fmla="*/ 13374 h 120212"/>
                  <a:gd name="connsiteX10" fmla="*/ 13348 w 45415"/>
                  <a:gd name="connsiteY10" fmla="*/ 22733 h 120212"/>
                  <a:gd name="connsiteX11" fmla="*/ 13348 w 45415"/>
                  <a:gd name="connsiteY11" fmla="*/ 113564 h 120212"/>
                  <a:gd name="connsiteX12" fmla="*/ 6674 w 45415"/>
                  <a:gd name="connsiteY12" fmla="*/ 120212 h 12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415" h="120212">
                    <a:moveTo>
                      <a:pt x="6674" y="120212"/>
                    </a:moveTo>
                    <a:cubicBezTo>
                      <a:pt x="2992" y="120212"/>
                      <a:pt x="0" y="117221"/>
                      <a:pt x="0" y="113538"/>
                    </a:cubicBezTo>
                    <a:lnTo>
                      <a:pt x="0" y="22708"/>
                    </a:lnTo>
                    <a:cubicBezTo>
                      <a:pt x="0" y="10178"/>
                      <a:pt x="10178" y="0"/>
                      <a:pt x="22708" y="0"/>
                    </a:cubicBezTo>
                    <a:cubicBezTo>
                      <a:pt x="35212" y="0"/>
                      <a:pt x="45415" y="10178"/>
                      <a:pt x="45415" y="22708"/>
                    </a:cubicBezTo>
                    <a:lnTo>
                      <a:pt x="45415" y="97530"/>
                    </a:lnTo>
                    <a:cubicBezTo>
                      <a:pt x="45415" y="101213"/>
                      <a:pt x="42423" y="104205"/>
                      <a:pt x="38741" y="104205"/>
                    </a:cubicBezTo>
                    <a:cubicBezTo>
                      <a:pt x="35059" y="104205"/>
                      <a:pt x="32067" y="101213"/>
                      <a:pt x="32067" y="97530"/>
                    </a:cubicBezTo>
                    <a:lnTo>
                      <a:pt x="32067" y="22733"/>
                    </a:lnTo>
                    <a:cubicBezTo>
                      <a:pt x="32067" y="17568"/>
                      <a:pt x="27873" y="13374"/>
                      <a:pt x="22708" y="13374"/>
                    </a:cubicBezTo>
                    <a:cubicBezTo>
                      <a:pt x="17542" y="13374"/>
                      <a:pt x="13348" y="17568"/>
                      <a:pt x="13348" y="22733"/>
                    </a:cubicBezTo>
                    <a:lnTo>
                      <a:pt x="13348" y="113564"/>
                    </a:lnTo>
                    <a:cubicBezTo>
                      <a:pt x="13348" y="117221"/>
                      <a:pt x="10357" y="120212"/>
                      <a:pt x="6674" y="120212"/>
                    </a:cubicBezTo>
                    <a:close/>
                  </a:path>
                </a:pathLst>
              </a:custGeom>
              <a:solidFill>
                <a:schemeClr val="accent1"/>
              </a:solidFill>
              <a:ln w="2553" cap="flat">
                <a:noFill/>
                <a:prstDash val="solid"/>
                <a:miter/>
              </a:ln>
            </p:spPr>
            <p:txBody>
              <a:bodyPr rtlCol="0" anchor="ctr"/>
              <a:lstStyle/>
              <a:p>
                <a:endParaRPr lang="en-GB" dirty="0"/>
              </a:p>
            </p:txBody>
          </p:sp>
        </p:grpSp>
        <p:grpSp>
          <p:nvGrpSpPr>
            <p:cNvPr id="1109" name="Gruppieren 1108">
              <a:extLst>
                <a:ext uri="{FF2B5EF4-FFF2-40B4-BE49-F238E27FC236}">
                  <a16:creationId xmlns:a16="http://schemas.microsoft.com/office/drawing/2014/main" id="{271C0725-C984-4370-8448-180EEFBEE269}"/>
                </a:ext>
              </a:extLst>
            </p:cNvPr>
            <p:cNvGrpSpPr/>
            <p:nvPr/>
          </p:nvGrpSpPr>
          <p:grpSpPr>
            <a:xfrm>
              <a:off x="7029811" y="2501898"/>
              <a:ext cx="323766" cy="379443"/>
              <a:chOff x="6978240" y="2563857"/>
              <a:chExt cx="299930" cy="351508"/>
            </a:xfrm>
            <a:solidFill>
              <a:schemeClr val="tx2"/>
            </a:solidFill>
          </p:grpSpPr>
          <p:grpSp>
            <p:nvGrpSpPr>
              <p:cNvPr id="1110" name="Grafik 313">
                <a:extLst>
                  <a:ext uri="{FF2B5EF4-FFF2-40B4-BE49-F238E27FC236}">
                    <a16:creationId xmlns:a16="http://schemas.microsoft.com/office/drawing/2014/main" id="{B4A0DA25-A5ED-47E2-BA9B-FFF760C5CE56}"/>
                  </a:ext>
                </a:extLst>
              </p:cNvPr>
              <p:cNvGrpSpPr/>
              <p:nvPr/>
            </p:nvGrpSpPr>
            <p:grpSpPr>
              <a:xfrm>
                <a:off x="7127911" y="2563857"/>
                <a:ext cx="150259" cy="351508"/>
                <a:chOff x="7127911" y="2563857"/>
                <a:chExt cx="150259" cy="351508"/>
              </a:xfrm>
              <a:grpFill/>
            </p:grpSpPr>
            <p:sp>
              <p:nvSpPr>
                <p:cNvPr id="1117" name="Freihandform: Form 1116">
                  <a:extLst>
                    <a:ext uri="{FF2B5EF4-FFF2-40B4-BE49-F238E27FC236}">
                      <a16:creationId xmlns:a16="http://schemas.microsoft.com/office/drawing/2014/main" id="{766A0207-0404-4157-9AFC-FE971A22C6EA}"/>
                    </a:ext>
                  </a:extLst>
                </p:cNvPr>
                <p:cNvSpPr/>
                <p:nvPr/>
              </p:nvSpPr>
              <p:spPr>
                <a:xfrm>
                  <a:off x="7238329" y="2603570"/>
                  <a:ext cx="39840" cy="311795"/>
                </a:xfrm>
                <a:custGeom>
                  <a:avLst/>
                  <a:gdLst>
                    <a:gd name="connsiteX0" fmla="*/ 15496 w 39840"/>
                    <a:gd name="connsiteY0" fmla="*/ 311795 h 311795"/>
                    <a:gd name="connsiteX1" fmla="*/ 8822 w 39840"/>
                    <a:gd name="connsiteY1" fmla="*/ 305121 h 311795"/>
                    <a:gd name="connsiteX2" fmla="*/ 8822 w 39840"/>
                    <a:gd name="connsiteY2" fmla="*/ 180101 h 311795"/>
                    <a:gd name="connsiteX3" fmla="*/ 10970 w 39840"/>
                    <a:gd name="connsiteY3" fmla="*/ 175192 h 311795"/>
                    <a:gd name="connsiteX4" fmla="*/ 26492 w 39840"/>
                    <a:gd name="connsiteY4" fmla="*/ 139135 h 311795"/>
                    <a:gd name="connsiteX5" fmla="*/ 26492 w 39840"/>
                    <a:gd name="connsiteY5" fmla="*/ 19920 h 311795"/>
                    <a:gd name="connsiteX6" fmla="*/ 19920 w 39840"/>
                    <a:gd name="connsiteY6" fmla="*/ 13348 h 311795"/>
                    <a:gd name="connsiteX7" fmla="*/ 13348 w 39840"/>
                    <a:gd name="connsiteY7" fmla="*/ 19920 h 311795"/>
                    <a:gd name="connsiteX8" fmla="*/ 13348 w 39840"/>
                    <a:gd name="connsiteY8" fmla="*/ 59659 h 311795"/>
                    <a:gd name="connsiteX9" fmla="*/ 6674 w 39840"/>
                    <a:gd name="connsiteY9" fmla="*/ 66333 h 311795"/>
                    <a:gd name="connsiteX10" fmla="*/ 0 w 39840"/>
                    <a:gd name="connsiteY10" fmla="*/ 59659 h 311795"/>
                    <a:gd name="connsiteX11" fmla="*/ 0 w 39840"/>
                    <a:gd name="connsiteY11" fmla="*/ 19920 h 311795"/>
                    <a:gd name="connsiteX12" fmla="*/ 19920 w 39840"/>
                    <a:gd name="connsiteY12" fmla="*/ 0 h 311795"/>
                    <a:gd name="connsiteX13" fmla="*/ 39841 w 39840"/>
                    <a:gd name="connsiteY13" fmla="*/ 19920 h 311795"/>
                    <a:gd name="connsiteX14" fmla="*/ 39841 w 39840"/>
                    <a:gd name="connsiteY14" fmla="*/ 139135 h 311795"/>
                    <a:gd name="connsiteX15" fmla="*/ 22171 w 39840"/>
                    <a:gd name="connsiteY15" fmla="*/ 182914 h 311795"/>
                    <a:gd name="connsiteX16" fmla="*/ 22171 w 39840"/>
                    <a:gd name="connsiteY16" fmla="*/ 305121 h 311795"/>
                    <a:gd name="connsiteX17" fmla="*/ 15496 w 39840"/>
                    <a:gd name="connsiteY17" fmla="*/ 311795 h 311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840" h="311795">
                      <a:moveTo>
                        <a:pt x="15496" y="311795"/>
                      </a:moveTo>
                      <a:cubicBezTo>
                        <a:pt x="11814" y="311795"/>
                        <a:pt x="8822" y="308804"/>
                        <a:pt x="8822" y="305121"/>
                      </a:cubicBezTo>
                      <a:lnTo>
                        <a:pt x="8822" y="180101"/>
                      </a:lnTo>
                      <a:cubicBezTo>
                        <a:pt x="8822" y="178235"/>
                        <a:pt x="9589" y="176470"/>
                        <a:pt x="10970" y="175192"/>
                      </a:cubicBezTo>
                      <a:cubicBezTo>
                        <a:pt x="21122" y="165807"/>
                        <a:pt x="26492" y="153328"/>
                        <a:pt x="26492" y="139135"/>
                      </a:cubicBezTo>
                      <a:lnTo>
                        <a:pt x="26492" y="19920"/>
                      </a:lnTo>
                      <a:cubicBezTo>
                        <a:pt x="26492" y="16289"/>
                        <a:pt x="23551" y="13348"/>
                        <a:pt x="19920" y="13348"/>
                      </a:cubicBezTo>
                      <a:cubicBezTo>
                        <a:pt x="16289" y="13348"/>
                        <a:pt x="13348" y="16289"/>
                        <a:pt x="13348" y="19920"/>
                      </a:cubicBezTo>
                      <a:lnTo>
                        <a:pt x="13348" y="59659"/>
                      </a:lnTo>
                      <a:cubicBezTo>
                        <a:pt x="13348" y="63341"/>
                        <a:pt x="10356" y="66333"/>
                        <a:pt x="6674" y="66333"/>
                      </a:cubicBezTo>
                      <a:cubicBezTo>
                        <a:pt x="2992" y="66333"/>
                        <a:pt x="0" y="63341"/>
                        <a:pt x="0" y="59659"/>
                      </a:cubicBezTo>
                      <a:lnTo>
                        <a:pt x="0" y="19920"/>
                      </a:lnTo>
                      <a:cubicBezTo>
                        <a:pt x="0" y="8925"/>
                        <a:pt x="8924" y="0"/>
                        <a:pt x="19920" y="0"/>
                      </a:cubicBezTo>
                      <a:cubicBezTo>
                        <a:pt x="30916" y="0"/>
                        <a:pt x="39841" y="8925"/>
                        <a:pt x="39841" y="19920"/>
                      </a:cubicBezTo>
                      <a:lnTo>
                        <a:pt x="39841" y="139135"/>
                      </a:lnTo>
                      <a:cubicBezTo>
                        <a:pt x="39841" y="155885"/>
                        <a:pt x="33601" y="171305"/>
                        <a:pt x="22171" y="182914"/>
                      </a:cubicBezTo>
                      <a:lnTo>
                        <a:pt x="22171" y="305121"/>
                      </a:lnTo>
                      <a:cubicBezTo>
                        <a:pt x="22171" y="308829"/>
                        <a:pt x="19179" y="311795"/>
                        <a:pt x="15496" y="311795"/>
                      </a:cubicBezTo>
                      <a:close/>
                    </a:path>
                  </a:pathLst>
                </a:custGeom>
                <a:grpFill/>
                <a:ln w="2553" cap="flat">
                  <a:noFill/>
                  <a:prstDash val="solid"/>
                  <a:miter/>
                </a:ln>
              </p:spPr>
              <p:txBody>
                <a:bodyPr rtlCol="0" anchor="ctr"/>
                <a:lstStyle/>
                <a:p>
                  <a:endParaRPr lang="en-GB" dirty="0"/>
                </a:p>
              </p:txBody>
            </p:sp>
            <p:sp>
              <p:nvSpPr>
                <p:cNvPr id="1118" name="Freihandform: Form 1117">
                  <a:extLst>
                    <a:ext uri="{FF2B5EF4-FFF2-40B4-BE49-F238E27FC236}">
                      <a16:creationId xmlns:a16="http://schemas.microsoft.com/office/drawing/2014/main" id="{FC713FCF-66FE-47B0-B1E3-D10478D29CDF}"/>
                    </a:ext>
                  </a:extLst>
                </p:cNvPr>
                <p:cNvSpPr/>
                <p:nvPr/>
              </p:nvSpPr>
              <p:spPr>
                <a:xfrm>
                  <a:off x="7127911" y="2643308"/>
                  <a:ext cx="83977" cy="272057"/>
                </a:xfrm>
                <a:custGeom>
                  <a:avLst/>
                  <a:gdLst>
                    <a:gd name="connsiteX0" fmla="*/ 37590 w 83977"/>
                    <a:gd name="connsiteY0" fmla="*/ 272057 h 272057"/>
                    <a:gd name="connsiteX1" fmla="*/ 30916 w 83977"/>
                    <a:gd name="connsiteY1" fmla="*/ 265383 h 272057"/>
                    <a:gd name="connsiteX2" fmla="*/ 30916 w 83977"/>
                    <a:gd name="connsiteY2" fmla="*/ 153481 h 272057"/>
                    <a:gd name="connsiteX3" fmla="*/ 0 w 83977"/>
                    <a:gd name="connsiteY3" fmla="*/ 99397 h 272057"/>
                    <a:gd name="connsiteX4" fmla="*/ 0 w 83977"/>
                    <a:gd name="connsiteY4" fmla="*/ 22119 h 272057"/>
                    <a:gd name="connsiteX5" fmla="*/ 22120 w 83977"/>
                    <a:gd name="connsiteY5" fmla="*/ 0 h 272057"/>
                    <a:gd name="connsiteX6" fmla="*/ 44239 w 83977"/>
                    <a:gd name="connsiteY6" fmla="*/ 22119 h 272057"/>
                    <a:gd name="connsiteX7" fmla="*/ 44239 w 83977"/>
                    <a:gd name="connsiteY7" fmla="*/ 57869 h 272057"/>
                    <a:gd name="connsiteX8" fmla="*/ 83977 w 83977"/>
                    <a:gd name="connsiteY8" fmla="*/ 103795 h 272057"/>
                    <a:gd name="connsiteX9" fmla="*/ 77303 w 83977"/>
                    <a:gd name="connsiteY9" fmla="*/ 110470 h 272057"/>
                    <a:gd name="connsiteX10" fmla="*/ 70629 w 83977"/>
                    <a:gd name="connsiteY10" fmla="*/ 103795 h 272057"/>
                    <a:gd name="connsiteX11" fmla="*/ 37565 w 83977"/>
                    <a:gd name="connsiteY11" fmla="*/ 70731 h 272057"/>
                    <a:gd name="connsiteX12" fmla="*/ 30891 w 83977"/>
                    <a:gd name="connsiteY12" fmla="*/ 64057 h 272057"/>
                    <a:gd name="connsiteX13" fmla="*/ 30891 w 83977"/>
                    <a:gd name="connsiteY13" fmla="*/ 22119 h 272057"/>
                    <a:gd name="connsiteX14" fmla="*/ 22120 w 83977"/>
                    <a:gd name="connsiteY14" fmla="*/ 13348 h 272057"/>
                    <a:gd name="connsiteX15" fmla="*/ 13348 w 83977"/>
                    <a:gd name="connsiteY15" fmla="*/ 22119 h 272057"/>
                    <a:gd name="connsiteX16" fmla="*/ 13348 w 83977"/>
                    <a:gd name="connsiteY16" fmla="*/ 99397 h 272057"/>
                    <a:gd name="connsiteX17" fmla="*/ 40633 w 83977"/>
                    <a:gd name="connsiteY17" fmla="*/ 143585 h 272057"/>
                    <a:gd name="connsiteX18" fmla="*/ 44265 w 83977"/>
                    <a:gd name="connsiteY18" fmla="*/ 149518 h 272057"/>
                    <a:gd name="connsiteX19" fmla="*/ 44265 w 83977"/>
                    <a:gd name="connsiteY19" fmla="*/ 265357 h 272057"/>
                    <a:gd name="connsiteX20" fmla="*/ 37590 w 83977"/>
                    <a:gd name="connsiteY20" fmla="*/ 272057 h 27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3977" h="272057">
                      <a:moveTo>
                        <a:pt x="37590" y="272057"/>
                      </a:moveTo>
                      <a:cubicBezTo>
                        <a:pt x="33908" y="272057"/>
                        <a:pt x="30916" y="269065"/>
                        <a:pt x="30916" y="265383"/>
                      </a:cubicBezTo>
                      <a:lnTo>
                        <a:pt x="30916" y="153481"/>
                      </a:lnTo>
                      <a:cubicBezTo>
                        <a:pt x="11482" y="141999"/>
                        <a:pt x="0" y="122079"/>
                        <a:pt x="0" y="99397"/>
                      </a:cubicBezTo>
                      <a:lnTo>
                        <a:pt x="0" y="22119"/>
                      </a:lnTo>
                      <a:cubicBezTo>
                        <a:pt x="0" y="9922"/>
                        <a:pt x="9922" y="0"/>
                        <a:pt x="22120" y="0"/>
                      </a:cubicBezTo>
                      <a:cubicBezTo>
                        <a:pt x="34317" y="0"/>
                        <a:pt x="44239" y="9922"/>
                        <a:pt x="44239" y="22119"/>
                      </a:cubicBezTo>
                      <a:lnTo>
                        <a:pt x="44239" y="57869"/>
                      </a:lnTo>
                      <a:cubicBezTo>
                        <a:pt x="66691" y="61116"/>
                        <a:pt x="83977" y="80474"/>
                        <a:pt x="83977" y="103795"/>
                      </a:cubicBezTo>
                      <a:cubicBezTo>
                        <a:pt x="83977" y="107478"/>
                        <a:pt x="80986" y="110470"/>
                        <a:pt x="77303" y="110470"/>
                      </a:cubicBezTo>
                      <a:cubicBezTo>
                        <a:pt x="73621" y="110470"/>
                        <a:pt x="70629" y="107478"/>
                        <a:pt x="70629" y="103795"/>
                      </a:cubicBezTo>
                      <a:cubicBezTo>
                        <a:pt x="70629" y="85563"/>
                        <a:pt x="55797" y="70731"/>
                        <a:pt x="37565" y="70731"/>
                      </a:cubicBezTo>
                      <a:cubicBezTo>
                        <a:pt x="33882" y="70731"/>
                        <a:pt x="30891" y="67739"/>
                        <a:pt x="30891" y="64057"/>
                      </a:cubicBezTo>
                      <a:lnTo>
                        <a:pt x="30891" y="22119"/>
                      </a:lnTo>
                      <a:cubicBezTo>
                        <a:pt x="30891" y="17286"/>
                        <a:pt x="26953" y="13348"/>
                        <a:pt x="22120" y="13348"/>
                      </a:cubicBezTo>
                      <a:cubicBezTo>
                        <a:pt x="17286" y="13348"/>
                        <a:pt x="13348" y="17286"/>
                        <a:pt x="13348" y="22119"/>
                      </a:cubicBezTo>
                      <a:lnTo>
                        <a:pt x="13348" y="99397"/>
                      </a:lnTo>
                      <a:cubicBezTo>
                        <a:pt x="13348" y="118601"/>
                        <a:pt x="23296" y="134712"/>
                        <a:pt x="40633" y="143585"/>
                      </a:cubicBezTo>
                      <a:cubicBezTo>
                        <a:pt x="42858" y="144736"/>
                        <a:pt x="44265" y="147012"/>
                        <a:pt x="44265" y="149518"/>
                      </a:cubicBezTo>
                      <a:lnTo>
                        <a:pt x="44265" y="265357"/>
                      </a:lnTo>
                      <a:cubicBezTo>
                        <a:pt x="44265" y="269091"/>
                        <a:pt x="41298" y="272057"/>
                        <a:pt x="37590" y="272057"/>
                      </a:cubicBezTo>
                      <a:close/>
                    </a:path>
                  </a:pathLst>
                </a:custGeom>
                <a:grpFill/>
                <a:ln w="2553" cap="flat">
                  <a:noFill/>
                  <a:prstDash val="solid"/>
                  <a:miter/>
                </a:ln>
              </p:spPr>
              <p:txBody>
                <a:bodyPr rtlCol="0" anchor="ctr"/>
                <a:lstStyle/>
                <a:p>
                  <a:endParaRPr lang="en-GB" dirty="0"/>
                </a:p>
              </p:txBody>
            </p:sp>
            <p:sp>
              <p:nvSpPr>
                <p:cNvPr id="1119" name="Freihandform: Form 1118">
                  <a:extLst>
                    <a:ext uri="{FF2B5EF4-FFF2-40B4-BE49-F238E27FC236}">
                      <a16:creationId xmlns:a16="http://schemas.microsoft.com/office/drawing/2014/main" id="{F8F46BF5-7EF6-4BE3-9214-C0D27F65279F}"/>
                    </a:ext>
                  </a:extLst>
                </p:cNvPr>
                <p:cNvSpPr/>
                <p:nvPr/>
              </p:nvSpPr>
              <p:spPr>
                <a:xfrm>
                  <a:off x="7185345" y="2563857"/>
                  <a:ext cx="39840" cy="101647"/>
                </a:xfrm>
                <a:custGeom>
                  <a:avLst/>
                  <a:gdLst>
                    <a:gd name="connsiteX0" fmla="*/ 33167 w 39840"/>
                    <a:gd name="connsiteY0" fmla="*/ 101647 h 101647"/>
                    <a:gd name="connsiteX1" fmla="*/ 26492 w 39840"/>
                    <a:gd name="connsiteY1" fmla="*/ 94973 h 101647"/>
                    <a:gd name="connsiteX2" fmla="*/ 26492 w 39840"/>
                    <a:gd name="connsiteY2" fmla="*/ 19920 h 101647"/>
                    <a:gd name="connsiteX3" fmla="*/ 19920 w 39840"/>
                    <a:gd name="connsiteY3" fmla="*/ 13348 h 101647"/>
                    <a:gd name="connsiteX4" fmla="*/ 13348 w 39840"/>
                    <a:gd name="connsiteY4" fmla="*/ 19920 h 101647"/>
                    <a:gd name="connsiteX5" fmla="*/ 13348 w 39840"/>
                    <a:gd name="connsiteY5" fmla="*/ 94973 h 101647"/>
                    <a:gd name="connsiteX6" fmla="*/ 6674 w 39840"/>
                    <a:gd name="connsiteY6" fmla="*/ 101647 h 101647"/>
                    <a:gd name="connsiteX7" fmla="*/ 0 w 39840"/>
                    <a:gd name="connsiteY7" fmla="*/ 94973 h 101647"/>
                    <a:gd name="connsiteX8" fmla="*/ 0 w 39840"/>
                    <a:gd name="connsiteY8" fmla="*/ 19920 h 101647"/>
                    <a:gd name="connsiteX9" fmla="*/ 19920 w 39840"/>
                    <a:gd name="connsiteY9" fmla="*/ 0 h 101647"/>
                    <a:gd name="connsiteX10" fmla="*/ 39841 w 39840"/>
                    <a:gd name="connsiteY10" fmla="*/ 19920 h 101647"/>
                    <a:gd name="connsiteX11" fmla="*/ 39841 w 39840"/>
                    <a:gd name="connsiteY11" fmla="*/ 94973 h 101647"/>
                    <a:gd name="connsiteX12" fmla="*/ 33167 w 39840"/>
                    <a:gd name="connsiteY12" fmla="*/ 101647 h 10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40" h="101647">
                      <a:moveTo>
                        <a:pt x="33167" y="101647"/>
                      </a:moveTo>
                      <a:cubicBezTo>
                        <a:pt x="29484" y="101647"/>
                        <a:pt x="26492" y="98656"/>
                        <a:pt x="26492" y="94973"/>
                      </a:cubicBezTo>
                      <a:lnTo>
                        <a:pt x="26492" y="19920"/>
                      </a:lnTo>
                      <a:cubicBezTo>
                        <a:pt x="26492" y="16289"/>
                        <a:pt x="23552" y="13348"/>
                        <a:pt x="19920" y="13348"/>
                      </a:cubicBezTo>
                      <a:cubicBezTo>
                        <a:pt x="16289" y="13348"/>
                        <a:pt x="13348" y="16289"/>
                        <a:pt x="13348" y="19920"/>
                      </a:cubicBezTo>
                      <a:lnTo>
                        <a:pt x="13348" y="94973"/>
                      </a:lnTo>
                      <a:cubicBezTo>
                        <a:pt x="13348" y="98656"/>
                        <a:pt x="10356" y="101647"/>
                        <a:pt x="6674" y="101647"/>
                      </a:cubicBezTo>
                      <a:cubicBezTo>
                        <a:pt x="2992" y="101647"/>
                        <a:pt x="0" y="98656"/>
                        <a:pt x="0" y="94973"/>
                      </a:cubicBezTo>
                      <a:lnTo>
                        <a:pt x="0" y="19920"/>
                      </a:lnTo>
                      <a:cubicBezTo>
                        <a:pt x="0" y="8925"/>
                        <a:pt x="8924" y="0"/>
                        <a:pt x="19920" y="0"/>
                      </a:cubicBezTo>
                      <a:cubicBezTo>
                        <a:pt x="30916" y="0"/>
                        <a:pt x="39841" y="8925"/>
                        <a:pt x="39841" y="19920"/>
                      </a:cubicBezTo>
                      <a:lnTo>
                        <a:pt x="39841" y="94973"/>
                      </a:lnTo>
                      <a:cubicBezTo>
                        <a:pt x="39841" y="98656"/>
                        <a:pt x="36849" y="101647"/>
                        <a:pt x="33167" y="101647"/>
                      </a:cubicBezTo>
                      <a:close/>
                    </a:path>
                  </a:pathLst>
                </a:custGeom>
                <a:grpFill/>
                <a:ln w="2553" cap="flat">
                  <a:noFill/>
                  <a:prstDash val="solid"/>
                  <a:miter/>
                </a:ln>
              </p:spPr>
              <p:txBody>
                <a:bodyPr rtlCol="0" anchor="ctr"/>
                <a:lstStyle/>
                <a:p>
                  <a:endParaRPr lang="en-GB" dirty="0"/>
                </a:p>
              </p:txBody>
            </p:sp>
            <p:sp>
              <p:nvSpPr>
                <p:cNvPr id="1120" name="Freihandform: Form 1119">
                  <a:extLst>
                    <a:ext uri="{FF2B5EF4-FFF2-40B4-BE49-F238E27FC236}">
                      <a16:creationId xmlns:a16="http://schemas.microsoft.com/office/drawing/2014/main" id="{5D0AA36E-C89A-408B-A59C-0A9E44DDA607}"/>
                    </a:ext>
                  </a:extLst>
                </p:cNvPr>
                <p:cNvSpPr/>
                <p:nvPr/>
              </p:nvSpPr>
              <p:spPr>
                <a:xfrm>
                  <a:off x="7211837" y="2585900"/>
                  <a:ext cx="39840" cy="88426"/>
                </a:xfrm>
                <a:custGeom>
                  <a:avLst/>
                  <a:gdLst>
                    <a:gd name="connsiteX0" fmla="*/ 33167 w 39840"/>
                    <a:gd name="connsiteY0" fmla="*/ 88427 h 88426"/>
                    <a:gd name="connsiteX1" fmla="*/ 26492 w 39840"/>
                    <a:gd name="connsiteY1" fmla="*/ 81753 h 88426"/>
                    <a:gd name="connsiteX2" fmla="*/ 26492 w 39840"/>
                    <a:gd name="connsiteY2" fmla="*/ 19920 h 88426"/>
                    <a:gd name="connsiteX3" fmla="*/ 19920 w 39840"/>
                    <a:gd name="connsiteY3" fmla="*/ 13348 h 88426"/>
                    <a:gd name="connsiteX4" fmla="*/ 13348 w 39840"/>
                    <a:gd name="connsiteY4" fmla="*/ 19920 h 88426"/>
                    <a:gd name="connsiteX5" fmla="*/ 13348 w 39840"/>
                    <a:gd name="connsiteY5" fmla="*/ 81753 h 88426"/>
                    <a:gd name="connsiteX6" fmla="*/ 6674 w 39840"/>
                    <a:gd name="connsiteY6" fmla="*/ 88427 h 88426"/>
                    <a:gd name="connsiteX7" fmla="*/ 0 w 39840"/>
                    <a:gd name="connsiteY7" fmla="*/ 81753 h 88426"/>
                    <a:gd name="connsiteX8" fmla="*/ 0 w 39840"/>
                    <a:gd name="connsiteY8" fmla="*/ 19920 h 88426"/>
                    <a:gd name="connsiteX9" fmla="*/ 19920 w 39840"/>
                    <a:gd name="connsiteY9" fmla="*/ 0 h 88426"/>
                    <a:gd name="connsiteX10" fmla="*/ 39841 w 39840"/>
                    <a:gd name="connsiteY10" fmla="*/ 19920 h 88426"/>
                    <a:gd name="connsiteX11" fmla="*/ 39841 w 39840"/>
                    <a:gd name="connsiteY11" fmla="*/ 81753 h 88426"/>
                    <a:gd name="connsiteX12" fmla="*/ 33167 w 39840"/>
                    <a:gd name="connsiteY12" fmla="*/ 88427 h 88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40" h="88426">
                      <a:moveTo>
                        <a:pt x="33167" y="88427"/>
                      </a:moveTo>
                      <a:cubicBezTo>
                        <a:pt x="29484" y="88427"/>
                        <a:pt x="26492" y="85435"/>
                        <a:pt x="26492" y="81753"/>
                      </a:cubicBezTo>
                      <a:lnTo>
                        <a:pt x="26492" y="19920"/>
                      </a:lnTo>
                      <a:cubicBezTo>
                        <a:pt x="26492" y="16289"/>
                        <a:pt x="23552" y="13348"/>
                        <a:pt x="19920" y="13348"/>
                      </a:cubicBezTo>
                      <a:cubicBezTo>
                        <a:pt x="16289" y="13348"/>
                        <a:pt x="13348" y="16289"/>
                        <a:pt x="13348" y="19920"/>
                      </a:cubicBezTo>
                      <a:lnTo>
                        <a:pt x="13348" y="81753"/>
                      </a:lnTo>
                      <a:cubicBezTo>
                        <a:pt x="13348" y="85435"/>
                        <a:pt x="10357" y="88427"/>
                        <a:pt x="6674" y="88427"/>
                      </a:cubicBezTo>
                      <a:cubicBezTo>
                        <a:pt x="2992" y="88427"/>
                        <a:pt x="0" y="85435"/>
                        <a:pt x="0" y="81753"/>
                      </a:cubicBezTo>
                      <a:lnTo>
                        <a:pt x="0" y="19920"/>
                      </a:lnTo>
                      <a:cubicBezTo>
                        <a:pt x="0" y="8925"/>
                        <a:pt x="8924" y="0"/>
                        <a:pt x="19920" y="0"/>
                      </a:cubicBezTo>
                      <a:cubicBezTo>
                        <a:pt x="30916" y="0"/>
                        <a:pt x="39841" y="8925"/>
                        <a:pt x="39841" y="19920"/>
                      </a:cubicBezTo>
                      <a:lnTo>
                        <a:pt x="39841" y="81753"/>
                      </a:lnTo>
                      <a:cubicBezTo>
                        <a:pt x="39841" y="85435"/>
                        <a:pt x="36849" y="88427"/>
                        <a:pt x="33167" y="88427"/>
                      </a:cubicBezTo>
                      <a:close/>
                    </a:path>
                  </a:pathLst>
                </a:custGeom>
                <a:grpFill/>
                <a:ln w="2553" cap="flat">
                  <a:noFill/>
                  <a:prstDash val="solid"/>
                  <a:miter/>
                </a:ln>
              </p:spPr>
              <p:txBody>
                <a:bodyPr rtlCol="0" anchor="ctr"/>
                <a:lstStyle/>
                <a:p>
                  <a:endParaRPr lang="en-GB" dirty="0"/>
                </a:p>
              </p:txBody>
            </p:sp>
            <p:sp>
              <p:nvSpPr>
                <p:cNvPr id="1121" name="Freihandform: Form 1120">
                  <a:extLst>
                    <a:ext uri="{FF2B5EF4-FFF2-40B4-BE49-F238E27FC236}">
                      <a16:creationId xmlns:a16="http://schemas.microsoft.com/office/drawing/2014/main" id="{318A9D5C-111F-4D2A-8FA6-632497E2AC08}"/>
                    </a:ext>
                  </a:extLst>
                </p:cNvPr>
                <p:cNvSpPr/>
                <p:nvPr/>
              </p:nvSpPr>
              <p:spPr>
                <a:xfrm>
                  <a:off x="7158827" y="2585925"/>
                  <a:ext cx="39840" cy="101647"/>
                </a:xfrm>
                <a:custGeom>
                  <a:avLst/>
                  <a:gdLst>
                    <a:gd name="connsiteX0" fmla="*/ 6674 w 39840"/>
                    <a:gd name="connsiteY0" fmla="*/ 101647 h 101647"/>
                    <a:gd name="connsiteX1" fmla="*/ 0 w 39840"/>
                    <a:gd name="connsiteY1" fmla="*/ 94973 h 101647"/>
                    <a:gd name="connsiteX2" fmla="*/ 0 w 39840"/>
                    <a:gd name="connsiteY2" fmla="*/ 19920 h 101647"/>
                    <a:gd name="connsiteX3" fmla="*/ 19920 w 39840"/>
                    <a:gd name="connsiteY3" fmla="*/ 0 h 101647"/>
                    <a:gd name="connsiteX4" fmla="*/ 39841 w 39840"/>
                    <a:gd name="connsiteY4" fmla="*/ 19920 h 101647"/>
                    <a:gd name="connsiteX5" fmla="*/ 39841 w 39840"/>
                    <a:gd name="connsiteY5" fmla="*/ 81753 h 101647"/>
                    <a:gd name="connsiteX6" fmla="*/ 33166 w 39840"/>
                    <a:gd name="connsiteY6" fmla="*/ 88427 h 101647"/>
                    <a:gd name="connsiteX7" fmla="*/ 26492 w 39840"/>
                    <a:gd name="connsiteY7" fmla="*/ 81753 h 101647"/>
                    <a:gd name="connsiteX8" fmla="*/ 26492 w 39840"/>
                    <a:gd name="connsiteY8" fmla="*/ 19920 h 101647"/>
                    <a:gd name="connsiteX9" fmla="*/ 19920 w 39840"/>
                    <a:gd name="connsiteY9" fmla="*/ 13348 h 101647"/>
                    <a:gd name="connsiteX10" fmla="*/ 13348 w 39840"/>
                    <a:gd name="connsiteY10" fmla="*/ 19920 h 101647"/>
                    <a:gd name="connsiteX11" fmla="*/ 13348 w 39840"/>
                    <a:gd name="connsiteY11" fmla="*/ 94973 h 101647"/>
                    <a:gd name="connsiteX12" fmla="*/ 6674 w 39840"/>
                    <a:gd name="connsiteY12" fmla="*/ 101647 h 10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840" h="101647">
                      <a:moveTo>
                        <a:pt x="6674" y="101647"/>
                      </a:moveTo>
                      <a:cubicBezTo>
                        <a:pt x="2992" y="101647"/>
                        <a:pt x="0" y="98656"/>
                        <a:pt x="0" y="94973"/>
                      </a:cubicBezTo>
                      <a:lnTo>
                        <a:pt x="0" y="19920"/>
                      </a:lnTo>
                      <a:cubicBezTo>
                        <a:pt x="0" y="8924"/>
                        <a:pt x="8924" y="0"/>
                        <a:pt x="19920" y="0"/>
                      </a:cubicBezTo>
                      <a:cubicBezTo>
                        <a:pt x="30916" y="0"/>
                        <a:pt x="39841" y="8924"/>
                        <a:pt x="39841" y="19920"/>
                      </a:cubicBezTo>
                      <a:lnTo>
                        <a:pt x="39841" y="81753"/>
                      </a:lnTo>
                      <a:cubicBezTo>
                        <a:pt x="39841" y="85435"/>
                        <a:pt x="36849" y="88427"/>
                        <a:pt x="33166" y="88427"/>
                      </a:cubicBezTo>
                      <a:cubicBezTo>
                        <a:pt x="29484" y="88427"/>
                        <a:pt x="26492" y="85435"/>
                        <a:pt x="26492" y="81753"/>
                      </a:cubicBezTo>
                      <a:lnTo>
                        <a:pt x="26492" y="19920"/>
                      </a:lnTo>
                      <a:cubicBezTo>
                        <a:pt x="26492" y="16289"/>
                        <a:pt x="23552" y="13348"/>
                        <a:pt x="19920" y="13348"/>
                      </a:cubicBezTo>
                      <a:cubicBezTo>
                        <a:pt x="16289" y="13348"/>
                        <a:pt x="13348" y="16289"/>
                        <a:pt x="13348" y="19920"/>
                      </a:cubicBezTo>
                      <a:lnTo>
                        <a:pt x="13348" y="94973"/>
                      </a:lnTo>
                      <a:cubicBezTo>
                        <a:pt x="13348" y="98656"/>
                        <a:pt x="10382" y="101647"/>
                        <a:pt x="6674" y="101647"/>
                      </a:cubicBezTo>
                      <a:close/>
                    </a:path>
                  </a:pathLst>
                </a:custGeom>
                <a:grpFill/>
                <a:ln w="2553" cap="flat">
                  <a:noFill/>
                  <a:prstDash val="solid"/>
                  <a:miter/>
                </a:ln>
              </p:spPr>
              <p:txBody>
                <a:bodyPr rtlCol="0" anchor="ctr"/>
                <a:lstStyle/>
                <a:p>
                  <a:endParaRPr lang="en-GB" dirty="0"/>
                </a:p>
              </p:txBody>
            </p:sp>
          </p:grpSp>
          <p:grpSp>
            <p:nvGrpSpPr>
              <p:cNvPr id="1111" name="Grafik 313">
                <a:extLst>
                  <a:ext uri="{FF2B5EF4-FFF2-40B4-BE49-F238E27FC236}">
                    <a16:creationId xmlns:a16="http://schemas.microsoft.com/office/drawing/2014/main" id="{3AF0E6C4-1E72-4550-A455-7CD2408D0ED2}"/>
                  </a:ext>
                </a:extLst>
              </p:cNvPr>
              <p:cNvGrpSpPr/>
              <p:nvPr/>
            </p:nvGrpSpPr>
            <p:grpSpPr>
              <a:xfrm>
                <a:off x="6978240" y="2675043"/>
                <a:ext cx="126656" cy="239222"/>
                <a:chOff x="6978240" y="2675043"/>
                <a:chExt cx="126656" cy="239222"/>
              </a:xfrm>
              <a:grpFill/>
            </p:grpSpPr>
            <p:sp>
              <p:nvSpPr>
                <p:cNvPr id="1112" name="Freihandform: Form 1111">
                  <a:extLst>
                    <a:ext uri="{FF2B5EF4-FFF2-40B4-BE49-F238E27FC236}">
                      <a16:creationId xmlns:a16="http://schemas.microsoft.com/office/drawing/2014/main" id="{7E3A41B6-F774-4562-98AE-AC740FD72127}"/>
                    </a:ext>
                  </a:extLst>
                </p:cNvPr>
                <p:cNvSpPr/>
                <p:nvPr/>
              </p:nvSpPr>
              <p:spPr>
                <a:xfrm>
                  <a:off x="7069607" y="2707928"/>
                  <a:ext cx="35288" cy="206337"/>
                </a:xfrm>
                <a:custGeom>
                  <a:avLst/>
                  <a:gdLst>
                    <a:gd name="connsiteX0" fmla="*/ 13988 w 35288"/>
                    <a:gd name="connsiteY0" fmla="*/ 206338 h 206337"/>
                    <a:gd name="connsiteX1" fmla="*/ 7313 w 35288"/>
                    <a:gd name="connsiteY1" fmla="*/ 199664 h 206337"/>
                    <a:gd name="connsiteX2" fmla="*/ 7313 w 35288"/>
                    <a:gd name="connsiteY2" fmla="*/ 150234 h 206337"/>
                    <a:gd name="connsiteX3" fmla="*/ 9462 w 35288"/>
                    <a:gd name="connsiteY3" fmla="*/ 145324 h 206337"/>
                    <a:gd name="connsiteX4" fmla="*/ 21941 w 35288"/>
                    <a:gd name="connsiteY4" fmla="*/ 116326 h 206337"/>
                    <a:gd name="connsiteX5" fmla="*/ 21941 w 35288"/>
                    <a:gd name="connsiteY5" fmla="*/ 17645 h 206337"/>
                    <a:gd name="connsiteX6" fmla="*/ 17645 w 35288"/>
                    <a:gd name="connsiteY6" fmla="*/ 13348 h 206337"/>
                    <a:gd name="connsiteX7" fmla="*/ 13348 w 35288"/>
                    <a:gd name="connsiteY7" fmla="*/ 17645 h 206337"/>
                    <a:gd name="connsiteX8" fmla="*/ 13348 w 35288"/>
                    <a:gd name="connsiteY8" fmla="*/ 50530 h 206337"/>
                    <a:gd name="connsiteX9" fmla="*/ 6674 w 35288"/>
                    <a:gd name="connsiteY9" fmla="*/ 57204 h 206337"/>
                    <a:gd name="connsiteX10" fmla="*/ 0 w 35288"/>
                    <a:gd name="connsiteY10" fmla="*/ 50530 h 206337"/>
                    <a:gd name="connsiteX11" fmla="*/ 0 w 35288"/>
                    <a:gd name="connsiteY11" fmla="*/ 17645 h 206337"/>
                    <a:gd name="connsiteX12" fmla="*/ 17645 w 35288"/>
                    <a:gd name="connsiteY12" fmla="*/ 0 h 206337"/>
                    <a:gd name="connsiteX13" fmla="*/ 35289 w 35288"/>
                    <a:gd name="connsiteY13" fmla="*/ 17645 h 206337"/>
                    <a:gd name="connsiteX14" fmla="*/ 35289 w 35288"/>
                    <a:gd name="connsiteY14" fmla="*/ 116326 h 206337"/>
                    <a:gd name="connsiteX15" fmla="*/ 20662 w 35288"/>
                    <a:gd name="connsiteY15" fmla="*/ 153021 h 206337"/>
                    <a:gd name="connsiteX16" fmla="*/ 20662 w 35288"/>
                    <a:gd name="connsiteY16" fmla="*/ 199638 h 206337"/>
                    <a:gd name="connsiteX17" fmla="*/ 13988 w 35288"/>
                    <a:gd name="connsiteY17" fmla="*/ 206338 h 20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288" h="206337">
                      <a:moveTo>
                        <a:pt x="13988" y="206338"/>
                      </a:moveTo>
                      <a:cubicBezTo>
                        <a:pt x="10305" y="206338"/>
                        <a:pt x="7313" y="203346"/>
                        <a:pt x="7313" y="199664"/>
                      </a:cubicBezTo>
                      <a:lnTo>
                        <a:pt x="7313" y="150234"/>
                      </a:lnTo>
                      <a:cubicBezTo>
                        <a:pt x="7313" y="148367"/>
                        <a:pt x="8081" y="146602"/>
                        <a:pt x="9462" y="145324"/>
                      </a:cubicBezTo>
                      <a:cubicBezTo>
                        <a:pt x="17619" y="137780"/>
                        <a:pt x="21941" y="127756"/>
                        <a:pt x="21941" y="116326"/>
                      </a:cubicBezTo>
                      <a:lnTo>
                        <a:pt x="21941" y="17645"/>
                      </a:lnTo>
                      <a:cubicBezTo>
                        <a:pt x="21941" y="15317"/>
                        <a:pt x="19971" y="13348"/>
                        <a:pt x="17645" y="13348"/>
                      </a:cubicBezTo>
                      <a:cubicBezTo>
                        <a:pt x="15317" y="13348"/>
                        <a:pt x="13348" y="15317"/>
                        <a:pt x="13348" y="17645"/>
                      </a:cubicBezTo>
                      <a:lnTo>
                        <a:pt x="13348" y="50530"/>
                      </a:lnTo>
                      <a:cubicBezTo>
                        <a:pt x="13348" y="54212"/>
                        <a:pt x="10356" y="57204"/>
                        <a:pt x="6674" y="57204"/>
                      </a:cubicBezTo>
                      <a:cubicBezTo>
                        <a:pt x="2992" y="57204"/>
                        <a:pt x="0" y="54212"/>
                        <a:pt x="0" y="50530"/>
                      </a:cubicBezTo>
                      <a:lnTo>
                        <a:pt x="0" y="17645"/>
                      </a:lnTo>
                      <a:cubicBezTo>
                        <a:pt x="0" y="7927"/>
                        <a:pt x="7902" y="0"/>
                        <a:pt x="17645" y="0"/>
                      </a:cubicBezTo>
                      <a:cubicBezTo>
                        <a:pt x="27362" y="0"/>
                        <a:pt x="35289" y="7902"/>
                        <a:pt x="35289" y="17645"/>
                      </a:cubicBezTo>
                      <a:lnTo>
                        <a:pt x="35289" y="116326"/>
                      </a:lnTo>
                      <a:cubicBezTo>
                        <a:pt x="35289" y="130339"/>
                        <a:pt x="30124" y="143253"/>
                        <a:pt x="20662" y="153021"/>
                      </a:cubicBezTo>
                      <a:lnTo>
                        <a:pt x="20662" y="199638"/>
                      </a:lnTo>
                      <a:cubicBezTo>
                        <a:pt x="20662" y="203346"/>
                        <a:pt x="17670" y="206338"/>
                        <a:pt x="13988" y="206338"/>
                      </a:cubicBezTo>
                      <a:close/>
                    </a:path>
                  </a:pathLst>
                </a:custGeom>
                <a:grpFill/>
                <a:ln w="2553" cap="flat">
                  <a:noFill/>
                  <a:prstDash val="solid"/>
                  <a:miter/>
                </a:ln>
              </p:spPr>
              <p:txBody>
                <a:bodyPr rtlCol="0" anchor="ctr"/>
                <a:lstStyle/>
                <a:p>
                  <a:endParaRPr lang="en-GB" dirty="0"/>
                </a:p>
              </p:txBody>
            </p:sp>
            <p:sp>
              <p:nvSpPr>
                <p:cNvPr id="1113" name="Freihandform: Form 1112">
                  <a:extLst>
                    <a:ext uri="{FF2B5EF4-FFF2-40B4-BE49-F238E27FC236}">
                      <a16:creationId xmlns:a16="http://schemas.microsoft.com/office/drawing/2014/main" id="{7387135A-8F71-45EB-80E9-031E1032FEAE}"/>
                    </a:ext>
                  </a:extLst>
                </p:cNvPr>
                <p:cNvSpPr/>
                <p:nvPr/>
              </p:nvSpPr>
              <p:spPr>
                <a:xfrm>
                  <a:off x="6978240" y="2740839"/>
                  <a:ext cx="71805" cy="173427"/>
                </a:xfrm>
                <a:custGeom>
                  <a:avLst/>
                  <a:gdLst>
                    <a:gd name="connsiteX0" fmla="*/ 32246 w 71805"/>
                    <a:gd name="connsiteY0" fmla="*/ 173427 h 173427"/>
                    <a:gd name="connsiteX1" fmla="*/ 25572 w 71805"/>
                    <a:gd name="connsiteY1" fmla="*/ 166753 h 173427"/>
                    <a:gd name="connsiteX2" fmla="*/ 25572 w 71805"/>
                    <a:gd name="connsiteY2" fmla="*/ 128830 h 173427"/>
                    <a:gd name="connsiteX3" fmla="*/ 0 w 71805"/>
                    <a:gd name="connsiteY3" fmla="*/ 83415 h 173427"/>
                    <a:gd name="connsiteX4" fmla="*/ 0 w 71805"/>
                    <a:gd name="connsiteY4" fmla="*/ 19460 h 173427"/>
                    <a:gd name="connsiteX5" fmla="*/ 19460 w 71805"/>
                    <a:gd name="connsiteY5" fmla="*/ 0 h 173427"/>
                    <a:gd name="connsiteX6" fmla="*/ 38920 w 71805"/>
                    <a:gd name="connsiteY6" fmla="*/ 19460 h 173427"/>
                    <a:gd name="connsiteX7" fmla="*/ 38920 w 71805"/>
                    <a:gd name="connsiteY7" fmla="*/ 48075 h 173427"/>
                    <a:gd name="connsiteX8" fmla="*/ 71805 w 71805"/>
                    <a:gd name="connsiteY8" fmla="*/ 87072 h 173427"/>
                    <a:gd name="connsiteX9" fmla="*/ 65131 w 71805"/>
                    <a:gd name="connsiteY9" fmla="*/ 93746 h 173427"/>
                    <a:gd name="connsiteX10" fmla="*/ 58457 w 71805"/>
                    <a:gd name="connsiteY10" fmla="*/ 87072 h 173427"/>
                    <a:gd name="connsiteX11" fmla="*/ 32246 w 71805"/>
                    <a:gd name="connsiteY11" fmla="*/ 60861 h 173427"/>
                    <a:gd name="connsiteX12" fmla="*/ 25572 w 71805"/>
                    <a:gd name="connsiteY12" fmla="*/ 54186 h 173427"/>
                    <a:gd name="connsiteX13" fmla="*/ 25572 w 71805"/>
                    <a:gd name="connsiteY13" fmla="*/ 19460 h 173427"/>
                    <a:gd name="connsiteX14" fmla="*/ 19460 w 71805"/>
                    <a:gd name="connsiteY14" fmla="*/ 13348 h 173427"/>
                    <a:gd name="connsiteX15" fmla="*/ 13348 w 71805"/>
                    <a:gd name="connsiteY15" fmla="*/ 19460 h 173427"/>
                    <a:gd name="connsiteX16" fmla="*/ 13348 w 71805"/>
                    <a:gd name="connsiteY16" fmla="*/ 83415 h 173427"/>
                    <a:gd name="connsiteX17" fmla="*/ 35289 w 71805"/>
                    <a:gd name="connsiteY17" fmla="*/ 118959 h 173427"/>
                    <a:gd name="connsiteX18" fmla="*/ 38920 w 71805"/>
                    <a:gd name="connsiteY18" fmla="*/ 124892 h 173427"/>
                    <a:gd name="connsiteX19" fmla="*/ 38920 w 71805"/>
                    <a:gd name="connsiteY19" fmla="*/ 166727 h 173427"/>
                    <a:gd name="connsiteX20" fmla="*/ 32246 w 71805"/>
                    <a:gd name="connsiteY20" fmla="*/ 173427 h 173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1805" h="173427">
                      <a:moveTo>
                        <a:pt x="32246" y="173427"/>
                      </a:moveTo>
                      <a:cubicBezTo>
                        <a:pt x="28564" y="173427"/>
                        <a:pt x="25572" y="170435"/>
                        <a:pt x="25572" y="166753"/>
                      </a:cubicBezTo>
                      <a:lnTo>
                        <a:pt x="25572" y="128830"/>
                      </a:lnTo>
                      <a:cubicBezTo>
                        <a:pt x="9462" y="119062"/>
                        <a:pt x="0" y="102363"/>
                        <a:pt x="0" y="83415"/>
                      </a:cubicBezTo>
                      <a:lnTo>
                        <a:pt x="0" y="19460"/>
                      </a:lnTo>
                      <a:cubicBezTo>
                        <a:pt x="0" y="8720"/>
                        <a:pt x="8745" y="0"/>
                        <a:pt x="19460" y="0"/>
                      </a:cubicBezTo>
                      <a:cubicBezTo>
                        <a:pt x="30200" y="0"/>
                        <a:pt x="38920" y="8720"/>
                        <a:pt x="38920" y="19460"/>
                      </a:cubicBezTo>
                      <a:lnTo>
                        <a:pt x="38920" y="48075"/>
                      </a:lnTo>
                      <a:cubicBezTo>
                        <a:pt x="57562" y="51246"/>
                        <a:pt x="71805" y="67535"/>
                        <a:pt x="71805" y="87072"/>
                      </a:cubicBezTo>
                      <a:cubicBezTo>
                        <a:pt x="71805" y="90754"/>
                        <a:pt x="68813" y="93746"/>
                        <a:pt x="65131" y="93746"/>
                      </a:cubicBezTo>
                      <a:cubicBezTo>
                        <a:pt x="61449" y="93746"/>
                        <a:pt x="58457" y="90754"/>
                        <a:pt x="58457" y="87072"/>
                      </a:cubicBezTo>
                      <a:cubicBezTo>
                        <a:pt x="58457" y="72624"/>
                        <a:pt x="46694" y="60861"/>
                        <a:pt x="32246" y="60861"/>
                      </a:cubicBezTo>
                      <a:cubicBezTo>
                        <a:pt x="28564" y="60861"/>
                        <a:pt x="25572" y="57869"/>
                        <a:pt x="25572" y="54186"/>
                      </a:cubicBezTo>
                      <a:lnTo>
                        <a:pt x="25572" y="19460"/>
                      </a:lnTo>
                      <a:cubicBezTo>
                        <a:pt x="25572" y="16085"/>
                        <a:pt x="22835" y="13348"/>
                        <a:pt x="19460" y="13348"/>
                      </a:cubicBezTo>
                      <a:cubicBezTo>
                        <a:pt x="16085" y="13348"/>
                        <a:pt x="13348" y="16085"/>
                        <a:pt x="13348" y="19460"/>
                      </a:cubicBezTo>
                      <a:lnTo>
                        <a:pt x="13348" y="83415"/>
                      </a:lnTo>
                      <a:cubicBezTo>
                        <a:pt x="13348" y="98860"/>
                        <a:pt x="21352" y="111825"/>
                        <a:pt x="35289" y="118959"/>
                      </a:cubicBezTo>
                      <a:cubicBezTo>
                        <a:pt x="37514" y="120110"/>
                        <a:pt x="38920" y="122386"/>
                        <a:pt x="38920" y="124892"/>
                      </a:cubicBezTo>
                      <a:lnTo>
                        <a:pt x="38920" y="166727"/>
                      </a:lnTo>
                      <a:cubicBezTo>
                        <a:pt x="38920" y="170435"/>
                        <a:pt x="35954" y="173427"/>
                        <a:pt x="32246" y="173427"/>
                      </a:cubicBezTo>
                      <a:close/>
                    </a:path>
                  </a:pathLst>
                </a:custGeom>
                <a:grpFill/>
                <a:ln w="2553" cap="flat">
                  <a:noFill/>
                  <a:prstDash val="solid"/>
                  <a:miter/>
                </a:ln>
              </p:spPr>
              <p:txBody>
                <a:bodyPr rtlCol="0" anchor="ctr"/>
                <a:lstStyle/>
                <a:p>
                  <a:endParaRPr lang="en-GB" dirty="0"/>
                </a:p>
              </p:txBody>
            </p:sp>
            <p:sp>
              <p:nvSpPr>
                <p:cNvPr id="1114" name="Freihandform: Form 1113">
                  <a:extLst>
                    <a:ext uri="{FF2B5EF4-FFF2-40B4-BE49-F238E27FC236}">
                      <a16:creationId xmlns:a16="http://schemas.microsoft.com/office/drawing/2014/main" id="{4491C1CE-F746-4DDA-8D5F-18CF090902E5}"/>
                    </a:ext>
                  </a:extLst>
                </p:cNvPr>
                <p:cNvSpPr/>
                <p:nvPr/>
              </p:nvSpPr>
              <p:spPr>
                <a:xfrm>
                  <a:off x="7025726" y="2675043"/>
                  <a:ext cx="35288" cy="86457"/>
                </a:xfrm>
                <a:custGeom>
                  <a:avLst/>
                  <a:gdLst>
                    <a:gd name="connsiteX0" fmla="*/ 28615 w 35288"/>
                    <a:gd name="connsiteY0" fmla="*/ 86458 h 86457"/>
                    <a:gd name="connsiteX1" fmla="*/ 21941 w 35288"/>
                    <a:gd name="connsiteY1" fmla="*/ 79784 h 86457"/>
                    <a:gd name="connsiteX2" fmla="*/ 21941 w 35288"/>
                    <a:gd name="connsiteY2" fmla="*/ 17644 h 86457"/>
                    <a:gd name="connsiteX3" fmla="*/ 17644 w 35288"/>
                    <a:gd name="connsiteY3" fmla="*/ 13348 h 86457"/>
                    <a:gd name="connsiteX4" fmla="*/ 13348 w 35288"/>
                    <a:gd name="connsiteY4" fmla="*/ 17644 h 86457"/>
                    <a:gd name="connsiteX5" fmla="*/ 13348 w 35288"/>
                    <a:gd name="connsiteY5" fmla="*/ 79784 h 86457"/>
                    <a:gd name="connsiteX6" fmla="*/ 6674 w 35288"/>
                    <a:gd name="connsiteY6" fmla="*/ 86458 h 86457"/>
                    <a:gd name="connsiteX7" fmla="*/ 0 w 35288"/>
                    <a:gd name="connsiteY7" fmla="*/ 79784 h 86457"/>
                    <a:gd name="connsiteX8" fmla="*/ 0 w 35288"/>
                    <a:gd name="connsiteY8" fmla="*/ 17644 h 86457"/>
                    <a:gd name="connsiteX9" fmla="*/ 17644 w 35288"/>
                    <a:gd name="connsiteY9" fmla="*/ 0 h 86457"/>
                    <a:gd name="connsiteX10" fmla="*/ 35289 w 35288"/>
                    <a:gd name="connsiteY10" fmla="*/ 17644 h 86457"/>
                    <a:gd name="connsiteX11" fmla="*/ 35289 w 35288"/>
                    <a:gd name="connsiteY11" fmla="*/ 79784 h 86457"/>
                    <a:gd name="connsiteX12" fmla="*/ 28615 w 35288"/>
                    <a:gd name="connsiteY12" fmla="*/ 86458 h 86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88" h="86457">
                      <a:moveTo>
                        <a:pt x="28615" y="86458"/>
                      </a:moveTo>
                      <a:cubicBezTo>
                        <a:pt x="24932" y="86458"/>
                        <a:pt x="21941" y="83466"/>
                        <a:pt x="21941" y="79784"/>
                      </a:cubicBezTo>
                      <a:lnTo>
                        <a:pt x="21941" y="17644"/>
                      </a:lnTo>
                      <a:cubicBezTo>
                        <a:pt x="21941" y="15317"/>
                        <a:pt x="19971" y="13348"/>
                        <a:pt x="17644" y="13348"/>
                      </a:cubicBezTo>
                      <a:cubicBezTo>
                        <a:pt x="15317" y="13348"/>
                        <a:pt x="13348" y="15317"/>
                        <a:pt x="13348" y="17644"/>
                      </a:cubicBezTo>
                      <a:lnTo>
                        <a:pt x="13348" y="79784"/>
                      </a:lnTo>
                      <a:cubicBezTo>
                        <a:pt x="13348" y="83466"/>
                        <a:pt x="10356" y="86458"/>
                        <a:pt x="6674" y="86458"/>
                      </a:cubicBezTo>
                      <a:cubicBezTo>
                        <a:pt x="2992" y="86458"/>
                        <a:pt x="0" y="83466"/>
                        <a:pt x="0" y="79784"/>
                      </a:cubicBezTo>
                      <a:lnTo>
                        <a:pt x="0" y="17644"/>
                      </a:lnTo>
                      <a:cubicBezTo>
                        <a:pt x="0" y="7927"/>
                        <a:pt x="7902" y="0"/>
                        <a:pt x="17644" y="0"/>
                      </a:cubicBezTo>
                      <a:cubicBezTo>
                        <a:pt x="27362" y="0"/>
                        <a:pt x="35289" y="7902"/>
                        <a:pt x="35289" y="17644"/>
                      </a:cubicBezTo>
                      <a:lnTo>
                        <a:pt x="35289" y="79784"/>
                      </a:lnTo>
                      <a:cubicBezTo>
                        <a:pt x="35289" y="83491"/>
                        <a:pt x="32323" y="86458"/>
                        <a:pt x="28615" y="86458"/>
                      </a:cubicBezTo>
                      <a:close/>
                    </a:path>
                  </a:pathLst>
                </a:custGeom>
                <a:grpFill/>
                <a:ln w="2553" cap="flat">
                  <a:noFill/>
                  <a:prstDash val="solid"/>
                  <a:miter/>
                </a:ln>
              </p:spPr>
              <p:txBody>
                <a:bodyPr rtlCol="0" anchor="ctr"/>
                <a:lstStyle/>
                <a:p>
                  <a:endParaRPr lang="en-GB" dirty="0"/>
                </a:p>
              </p:txBody>
            </p:sp>
            <p:sp>
              <p:nvSpPr>
                <p:cNvPr id="1115" name="Freihandform: Form 1114">
                  <a:extLst>
                    <a:ext uri="{FF2B5EF4-FFF2-40B4-BE49-F238E27FC236}">
                      <a16:creationId xmlns:a16="http://schemas.microsoft.com/office/drawing/2014/main" id="{2FA996B4-1B93-46A4-B9DB-C1BEAEC8E77C}"/>
                    </a:ext>
                  </a:extLst>
                </p:cNvPr>
                <p:cNvSpPr/>
                <p:nvPr/>
              </p:nvSpPr>
              <p:spPr>
                <a:xfrm>
                  <a:off x="7047667" y="2693326"/>
                  <a:ext cx="35288" cy="75487"/>
                </a:xfrm>
                <a:custGeom>
                  <a:avLst/>
                  <a:gdLst>
                    <a:gd name="connsiteX0" fmla="*/ 28615 w 35288"/>
                    <a:gd name="connsiteY0" fmla="*/ 75488 h 75487"/>
                    <a:gd name="connsiteX1" fmla="*/ 21940 w 35288"/>
                    <a:gd name="connsiteY1" fmla="*/ 68813 h 75487"/>
                    <a:gd name="connsiteX2" fmla="*/ 21940 w 35288"/>
                    <a:gd name="connsiteY2" fmla="*/ 17644 h 75487"/>
                    <a:gd name="connsiteX3" fmla="*/ 17644 w 35288"/>
                    <a:gd name="connsiteY3" fmla="*/ 13348 h 75487"/>
                    <a:gd name="connsiteX4" fmla="*/ 13348 w 35288"/>
                    <a:gd name="connsiteY4" fmla="*/ 17644 h 75487"/>
                    <a:gd name="connsiteX5" fmla="*/ 13348 w 35288"/>
                    <a:gd name="connsiteY5" fmla="*/ 68813 h 75487"/>
                    <a:gd name="connsiteX6" fmla="*/ 6674 w 35288"/>
                    <a:gd name="connsiteY6" fmla="*/ 75488 h 75487"/>
                    <a:gd name="connsiteX7" fmla="*/ 0 w 35288"/>
                    <a:gd name="connsiteY7" fmla="*/ 68813 h 75487"/>
                    <a:gd name="connsiteX8" fmla="*/ 0 w 35288"/>
                    <a:gd name="connsiteY8" fmla="*/ 17644 h 75487"/>
                    <a:gd name="connsiteX9" fmla="*/ 17644 w 35288"/>
                    <a:gd name="connsiteY9" fmla="*/ 0 h 75487"/>
                    <a:gd name="connsiteX10" fmla="*/ 35289 w 35288"/>
                    <a:gd name="connsiteY10" fmla="*/ 17644 h 75487"/>
                    <a:gd name="connsiteX11" fmla="*/ 35289 w 35288"/>
                    <a:gd name="connsiteY11" fmla="*/ 68813 h 75487"/>
                    <a:gd name="connsiteX12" fmla="*/ 28615 w 35288"/>
                    <a:gd name="connsiteY12" fmla="*/ 75488 h 75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88" h="75487">
                      <a:moveTo>
                        <a:pt x="28615" y="75488"/>
                      </a:moveTo>
                      <a:cubicBezTo>
                        <a:pt x="24932" y="75488"/>
                        <a:pt x="21940" y="72496"/>
                        <a:pt x="21940" y="68813"/>
                      </a:cubicBezTo>
                      <a:lnTo>
                        <a:pt x="21940" y="17644"/>
                      </a:lnTo>
                      <a:cubicBezTo>
                        <a:pt x="21940" y="15317"/>
                        <a:pt x="19971" y="13348"/>
                        <a:pt x="17644" y="13348"/>
                      </a:cubicBezTo>
                      <a:cubicBezTo>
                        <a:pt x="15317" y="13348"/>
                        <a:pt x="13348" y="15317"/>
                        <a:pt x="13348" y="17644"/>
                      </a:cubicBezTo>
                      <a:lnTo>
                        <a:pt x="13348" y="68813"/>
                      </a:lnTo>
                      <a:cubicBezTo>
                        <a:pt x="13348" y="72496"/>
                        <a:pt x="10356" y="75488"/>
                        <a:pt x="6674" y="75488"/>
                      </a:cubicBezTo>
                      <a:cubicBezTo>
                        <a:pt x="2992" y="75488"/>
                        <a:pt x="0" y="72496"/>
                        <a:pt x="0" y="68813"/>
                      </a:cubicBezTo>
                      <a:lnTo>
                        <a:pt x="0" y="17644"/>
                      </a:lnTo>
                      <a:cubicBezTo>
                        <a:pt x="0" y="7927"/>
                        <a:pt x="7902" y="0"/>
                        <a:pt x="17644" y="0"/>
                      </a:cubicBezTo>
                      <a:cubicBezTo>
                        <a:pt x="27387" y="0"/>
                        <a:pt x="35289" y="7902"/>
                        <a:pt x="35289" y="17644"/>
                      </a:cubicBezTo>
                      <a:lnTo>
                        <a:pt x="35289" y="68813"/>
                      </a:lnTo>
                      <a:cubicBezTo>
                        <a:pt x="35289" y="72496"/>
                        <a:pt x="32297" y="75488"/>
                        <a:pt x="28615" y="75488"/>
                      </a:cubicBezTo>
                      <a:close/>
                    </a:path>
                  </a:pathLst>
                </a:custGeom>
                <a:grpFill/>
                <a:ln w="2553" cap="flat">
                  <a:noFill/>
                  <a:prstDash val="solid"/>
                  <a:miter/>
                </a:ln>
              </p:spPr>
              <p:txBody>
                <a:bodyPr rtlCol="0" anchor="ctr"/>
                <a:lstStyle/>
                <a:p>
                  <a:endParaRPr lang="en-GB" dirty="0"/>
                </a:p>
              </p:txBody>
            </p:sp>
            <p:sp>
              <p:nvSpPr>
                <p:cNvPr id="1116" name="Freihandform: Form 1115">
                  <a:extLst>
                    <a:ext uri="{FF2B5EF4-FFF2-40B4-BE49-F238E27FC236}">
                      <a16:creationId xmlns:a16="http://schemas.microsoft.com/office/drawing/2014/main" id="{6FCA9131-01BF-4FE8-B0F4-494FD6D21E77}"/>
                    </a:ext>
                  </a:extLst>
                </p:cNvPr>
                <p:cNvSpPr/>
                <p:nvPr/>
              </p:nvSpPr>
              <p:spPr>
                <a:xfrm>
                  <a:off x="7003811" y="2693326"/>
                  <a:ext cx="35288" cy="86457"/>
                </a:xfrm>
                <a:custGeom>
                  <a:avLst/>
                  <a:gdLst>
                    <a:gd name="connsiteX0" fmla="*/ 6674 w 35288"/>
                    <a:gd name="connsiteY0" fmla="*/ 86458 h 86457"/>
                    <a:gd name="connsiteX1" fmla="*/ 0 w 35288"/>
                    <a:gd name="connsiteY1" fmla="*/ 79784 h 86457"/>
                    <a:gd name="connsiteX2" fmla="*/ 0 w 35288"/>
                    <a:gd name="connsiteY2" fmla="*/ 17644 h 86457"/>
                    <a:gd name="connsiteX3" fmla="*/ 17645 w 35288"/>
                    <a:gd name="connsiteY3" fmla="*/ 0 h 86457"/>
                    <a:gd name="connsiteX4" fmla="*/ 35289 w 35288"/>
                    <a:gd name="connsiteY4" fmla="*/ 17644 h 86457"/>
                    <a:gd name="connsiteX5" fmla="*/ 35289 w 35288"/>
                    <a:gd name="connsiteY5" fmla="*/ 68813 h 86457"/>
                    <a:gd name="connsiteX6" fmla="*/ 28615 w 35288"/>
                    <a:gd name="connsiteY6" fmla="*/ 75488 h 86457"/>
                    <a:gd name="connsiteX7" fmla="*/ 21941 w 35288"/>
                    <a:gd name="connsiteY7" fmla="*/ 68813 h 86457"/>
                    <a:gd name="connsiteX8" fmla="*/ 21941 w 35288"/>
                    <a:gd name="connsiteY8" fmla="*/ 17644 h 86457"/>
                    <a:gd name="connsiteX9" fmla="*/ 17645 w 35288"/>
                    <a:gd name="connsiteY9" fmla="*/ 13348 h 86457"/>
                    <a:gd name="connsiteX10" fmla="*/ 13348 w 35288"/>
                    <a:gd name="connsiteY10" fmla="*/ 17644 h 86457"/>
                    <a:gd name="connsiteX11" fmla="*/ 13348 w 35288"/>
                    <a:gd name="connsiteY11" fmla="*/ 79784 h 86457"/>
                    <a:gd name="connsiteX12" fmla="*/ 6674 w 35288"/>
                    <a:gd name="connsiteY12" fmla="*/ 86458 h 86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288" h="86457">
                      <a:moveTo>
                        <a:pt x="6674" y="86458"/>
                      </a:moveTo>
                      <a:cubicBezTo>
                        <a:pt x="2992" y="86458"/>
                        <a:pt x="0" y="83466"/>
                        <a:pt x="0" y="79784"/>
                      </a:cubicBezTo>
                      <a:lnTo>
                        <a:pt x="0" y="17644"/>
                      </a:lnTo>
                      <a:cubicBezTo>
                        <a:pt x="0" y="7927"/>
                        <a:pt x="7902" y="0"/>
                        <a:pt x="17645" y="0"/>
                      </a:cubicBezTo>
                      <a:cubicBezTo>
                        <a:pt x="27362" y="0"/>
                        <a:pt x="35289" y="7902"/>
                        <a:pt x="35289" y="17644"/>
                      </a:cubicBezTo>
                      <a:lnTo>
                        <a:pt x="35289" y="68813"/>
                      </a:lnTo>
                      <a:cubicBezTo>
                        <a:pt x="35289" y="72496"/>
                        <a:pt x="32297" y="75488"/>
                        <a:pt x="28615" y="75488"/>
                      </a:cubicBezTo>
                      <a:cubicBezTo>
                        <a:pt x="24932" y="75488"/>
                        <a:pt x="21941" y="72496"/>
                        <a:pt x="21941" y="68813"/>
                      </a:cubicBezTo>
                      <a:lnTo>
                        <a:pt x="21941" y="17644"/>
                      </a:lnTo>
                      <a:cubicBezTo>
                        <a:pt x="21941" y="15317"/>
                        <a:pt x="19971" y="13348"/>
                        <a:pt x="17645" y="13348"/>
                      </a:cubicBezTo>
                      <a:cubicBezTo>
                        <a:pt x="15317" y="13348"/>
                        <a:pt x="13348" y="15317"/>
                        <a:pt x="13348" y="17644"/>
                      </a:cubicBezTo>
                      <a:lnTo>
                        <a:pt x="13348" y="79784"/>
                      </a:lnTo>
                      <a:cubicBezTo>
                        <a:pt x="13348" y="83466"/>
                        <a:pt x="10382" y="86458"/>
                        <a:pt x="6674" y="86458"/>
                      </a:cubicBezTo>
                      <a:close/>
                    </a:path>
                  </a:pathLst>
                </a:custGeom>
                <a:grpFill/>
                <a:ln w="2553" cap="flat">
                  <a:noFill/>
                  <a:prstDash val="solid"/>
                  <a:miter/>
                </a:ln>
              </p:spPr>
              <p:txBody>
                <a:bodyPr rtlCol="0" anchor="ctr"/>
                <a:lstStyle/>
                <a:p>
                  <a:endParaRPr lang="en-GB" dirty="0"/>
                </a:p>
              </p:txBody>
            </p:sp>
          </p:grpSp>
        </p:grpSp>
      </p:grpSp>
      <p:sp>
        <p:nvSpPr>
          <p:cNvPr id="1127" name="TextBox 1419">
            <a:extLst>
              <a:ext uri="{FF2B5EF4-FFF2-40B4-BE49-F238E27FC236}">
                <a16:creationId xmlns:a16="http://schemas.microsoft.com/office/drawing/2014/main" id="{EA7AD96B-F94D-49B1-89ED-E6E4C5726E46}"/>
              </a:ext>
            </a:extLst>
          </p:cNvPr>
          <p:cNvSpPr txBox="1"/>
          <p:nvPr/>
        </p:nvSpPr>
        <p:spPr>
          <a:xfrm>
            <a:off x="7078914" y="2899619"/>
            <a:ext cx="450444" cy="215444"/>
          </a:xfrm>
          <a:prstGeom prst="rect">
            <a:avLst/>
          </a:prstGeom>
          <a:noFill/>
          <a:effectLst/>
        </p:spPr>
        <p:txBody>
          <a:bodyPr wrap="none" lIns="0" tIns="0" rIns="0" bIns="0" rtlCol="0" anchor="t" anchorCtr="0">
            <a:spAutoFit/>
          </a:bodyPr>
          <a:lstStyle/>
          <a:p>
            <a:pPr algn="ctr"/>
            <a:r>
              <a:rPr lang="en-GB" sz="700" dirty="0">
                <a:solidFill>
                  <a:schemeClr val="tx2"/>
                </a:solidFill>
              </a:rPr>
              <a:t>Audience</a:t>
            </a:r>
            <a:br>
              <a:rPr lang="en-GB" sz="700" dirty="0">
                <a:solidFill>
                  <a:schemeClr val="tx2"/>
                </a:solidFill>
              </a:rPr>
            </a:br>
            <a:r>
              <a:rPr lang="en-GB" sz="700" dirty="0">
                <a:solidFill>
                  <a:schemeClr val="tx2"/>
                </a:solidFill>
              </a:rPr>
              <a:t>growth rate</a:t>
            </a:r>
          </a:p>
        </p:txBody>
      </p:sp>
      <p:grpSp>
        <p:nvGrpSpPr>
          <p:cNvPr id="26" name="Group 25">
            <a:extLst>
              <a:ext uri="{FF2B5EF4-FFF2-40B4-BE49-F238E27FC236}">
                <a16:creationId xmlns:a16="http://schemas.microsoft.com/office/drawing/2014/main" id="{A972BBD5-32DD-42DF-9A6C-038B207F2704}"/>
              </a:ext>
            </a:extLst>
          </p:cNvPr>
          <p:cNvGrpSpPr/>
          <p:nvPr/>
        </p:nvGrpSpPr>
        <p:grpSpPr>
          <a:xfrm>
            <a:off x="4927830" y="2449341"/>
            <a:ext cx="570877" cy="432000"/>
            <a:chOff x="4927418" y="2449341"/>
            <a:chExt cx="570877" cy="432000"/>
          </a:xfrm>
        </p:grpSpPr>
        <p:grpSp>
          <p:nvGrpSpPr>
            <p:cNvPr id="1129" name="Grafik 313">
              <a:extLst>
                <a:ext uri="{FF2B5EF4-FFF2-40B4-BE49-F238E27FC236}">
                  <a16:creationId xmlns:a16="http://schemas.microsoft.com/office/drawing/2014/main" id="{B2008F69-F247-41BE-ABF6-467F2C916E50}"/>
                </a:ext>
              </a:extLst>
            </p:cNvPr>
            <p:cNvGrpSpPr/>
            <p:nvPr/>
          </p:nvGrpSpPr>
          <p:grpSpPr>
            <a:xfrm>
              <a:off x="5003624" y="2604816"/>
              <a:ext cx="413555" cy="118052"/>
              <a:chOff x="5362302" y="2642351"/>
              <a:chExt cx="357822" cy="102143"/>
            </a:xfrm>
            <a:solidFill>
              <a:schemeClr val="accent1"/>
            </a:solidFill>
          </p:grpSpPr>
          <p:sp>
            <p:nvSpPr>
              <p:cNvPr id="1141" name="Freihandform: Form 1140">
                <a:extLst>
                  <a:ext uri="{FF2B5EF4-FFF2-40B4-BE49-F238E27FC236}">
                    <a16:creationId xmlns:a16="http://schemas.microsoft.com/office/drawing/2014/main" id="{12730803-6E55-4B3D-BD0A-CA41804A5C2B}"/>
                  </a:ext>
                </a:extLst>
              </p:cNvPr>
              <p:cNvSpPr/>
              <p:nvPr/>
            </p:nvSpPr>
            <p:spPr>
              <a:xfrm>
                <a:off x="5362302" y="2676656"/>
                <a:ext cx="102897" cy="67838"/>
              </a:xfrm>
              <a:custGeom>
                <a:avLst/>
                <a:gdLst>
                  <a:gd name="connsiteX0" fmla="*/ 6687 w 102897"/>
                  <a:gd name="connsiteY0" fmla="*/ 67839 h 67838"/>
                  <a:gd name="connsiteX1" fmla="*/ 2008 w 102897"/>
                  <a:gd name="connsiteY1" fmla="*/ 65946 h 67838"/>
                  <a:gd name="connsiteX2" fmla="*/ 1906 w 102897"/>
                  <a:gd name="connsiteY2" fmla="*/ 56511 h 67838"/>
                  <a:gd name="connsiteX3" fmla="*/ 55171 w 102897"/>
                  <a:gd name="connsiteY3" fmla="*/ 2017 h 67838"/>
                  <a:gd name="connsiteX4" fmla="*/ 62587 w 102897"/>
                  <a:gd name="connsiteY4" fmla="*/ 560 h 67838"/>
                  <a:gd name="connsiteX5" fmla="*/ 98873 w 102897"/>
                  <a:gd name="connsiteY5" fmla="*/ 16286 h 67838"/>
                  <a:gd name="connsiteX6" fmla="*/ 102351 w 102897"/>
                  <a:gd name="connsiteY6" fmla="*/ 25057 h 67838"/>
                  <a:gd name="connsiteX7" fmla="*/ 93580 w 102897"/>
                  <a:gd name="connsiteY7" fmla="*/ 28535 h 67838"/>
                  <a:gd name="connsiteX8" fmla="*/ 61513 w 102897"/>
                  <a:gd name="connsiteY8" fmla="*/ 14650 h 67838"/>
                  <a:gd name="connsiteX9" fmla="*/ 11469 w 102897"/>
                  <a:gd name="connsiteY9" fmla="*/ 65870 h 67838"/>
                  <a:gd name="connsiteX10" fmla="*/ 6687 w 102897"/>
                  <a:gd name="connsiteY10" fmla="*/ 67839 h 67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897" h="67838">
                    <a:moveTo>
                      <a:pt x="6687" y="67839"/>
                    </a:moveTo>
                    <a:cubicBezTo>
                      <a:pt x="5000" y="67839"/>
                      <a:pt x="3312" y="67200"/>
                      <a:pt x="2008" y="65946"/>
                    </a:cubicBezTo>
                    <a:cubicBezTo>
                      <a:pt x="-626" y="63364"/>
                      <a:pt x="-677" y="59144"/>
                      <a:pt x="1906" y="56511"/>
                    </a:cubicBezTo>
                    <a:lnTo>
                      <a:pt x="55171" y="2017"/>
                    </a:lnTo>
                    <a:cubicBezTo>
                      <a:pt x="57089" y="48"/>
                      <a:pt x="60055" y="-565"/>
                      <a:pt x="62587" y="560"/>
                    </a:cubicBezTo>
                    <a:lnTo>
                      <a:pt x="98873" y="16286"/>
                    </a:lnTo>
                    <a:cubicBezTo>
                      <a:pt x="102249" y="17744"/>
                      <a:pt x="103809" y="21682"/>
                      <a:pt x="102351" y="25057"/>
                    </a:cubicBezTo>
                    <a:cubicBezTo>
                      <a:pt x="100893" y="28433"/>
                      <a:pt x="96955" y="29993"/>
                      <a:pt x="93580" y="28535"/>
                    </a:cubicBezTo>
                    <a:lnTo>
                      <a:pt x="61513" y="14650"/>
                    </a:lnTo>
                    <a:lnTo>
                      <a:pt x="11469" y="65870"/>
                    </a:lnTo>
                    <a:cubicBezTo>
                      <a:pt x="10140" y="67174"/>
                      <a:pt x="8426" y="67839"/>
                      <a:pt x="6687" y="67839"/>
                    </a:cubicBezTo>
                    <a:close/>
                  </a:path>
                </a:pathLst>
              </a:custGeom>
              <a:solidFill>
                <a:schemeClr val="accent1"/>
              </a:solidFill>
              <a:ln w="2553" cap="flat">
                <a:noFill/>
                <a:prstDash val="solid"/>
                <a:miter/>
              </a:ln>
            </p:spPr>
            <p:txBody>
              <a:bodyPr rtlCol="0" anchor="ctr"/>
              <a:lstStyle/>
              <a:p>
                <a:endParaRPr lang="en-GB" dirty="0"/>
              </a:p>
            </p:txBody>
          </p:sp>
          <p:sp>
            <p:nvSpPr>
              <p:cNvPr id="1142" name="Freihandform: Form 1141">
                <a:extLst>
                  <a:ext uri="{FF2B5EF4-FFF2-40B4-BE49-F238E27FC236}">
                    <a16:creationId xmlns:a16="http://schemas.microsoft.com/office/drawing/2014/main" id="{433C9B8E-5EEB-433B-A561-40611FD358E6}"/>
                  </a:ext>
                </a:extLst>
              </p:cNvPr>
              <p:cNvSpPr/>
              <p:nvPr/>
            </p:nvSpPr>
            <p:spPr>
              <a:xfrm>
                <a:off x="5615982" y="2642351"/>
                <a:ext cx="104142" cy="84039"/>
              </a:xfrm>
              <a:custGeom>
                <a:avLst/>
                <a:gdLst>
                  <a:gd name="connsiteX0" fmla="*/ 34372 w 104142"/>
                  <a:gd name="connsiteY0" fmla="*/ 84039 h 84039"/>
                  <a:gd name="connsiteX1" fmla="*/ 30332 w 104142"/>
                  <a:gd name="connsiteY1" fmla="*/ 82684 h 84039"/>
                  <a:gd name="connsiteX2" fmla="*/ 2638 w 104142"/>
                  <a:gd name="connsiteY2" fmla="*/ 61664 h 84039"/>
                  <a:gd name="connsiteX3" fmla="*/ 1359 w 104142"/>
                  <a:gd name="connsiteY3" fmla="*/ 52305 h 84039"/>
                  <a:gd name="connsiteX4" fmla="*/ 10718 w 104142"/>
                  <a:gd name="connsiteY4" fmla="*/ 51026 h 84039"/>
                  <a:gd name="connsiteX5" fmla="*/ 33503 w 104142"/>
                  <a:gd name="connsiteY5" fmla="*/ 68312 h 84039"/>
                  <a:gd name="connsiteX6" fmla="*/ 92471 w 104142"/>
                  <a:gd name="connsiteY6" fmla="*/ 2235 h 84039"/>
                  <a:gd name="connsiteX7" fmla="*/ 101907 w 104142"/>
                  <a:gd name="connsiteY7" fmla="*/ 1698 h 84039"/>
                  <a:gd name="connsiteX8" fmla="*/ 102444 w 104142"/>
                  <a:gd name="connsiteY8" fmla="*/ 11134 h 84039"/>
                  <a:gd name="connsiteX9" fmla="*/ 39359 w 104142"/>
                  <a:gd name="connsiteY9" fmla="*/ 81814 h 84039"/>
                  <a:gd name="connsiteX10" fmla="*/ 34372 w 104142"/>
                  <a:gd name="connsiteY10" fmla="*/ 84039 h 84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142" h="84039">
                    <a:moveTo>
                      <a:pt x="34372" y="84039"/>
                    </a:moveTo>
                    <a:cubicBezTo>
                      <a:pt x="32966" y="84039"/>
                      <a:pt x="31534" y="83604"/>
                      <a:pt x="30332" y="82684"/>
                    </a:cubicBezTo>
                    <a:lnTo>
                      <a:pt x="2638" y="61664"/>
                    </a:lnTo>
                    <a:cubicBezTo>
                      <a:pt x="-303" y="59439"/>
                      <a:pt x="-866" y="55245"/>
                      <a:pt x="1359" y="52305"/>
                    </a:cubicBezTo>
                    <a:cubicBezTo>
                      <a:pt x="3584" y="49364"/>
                      <a:pt x="7777" y="48801"/>
                      <a:pt x="10718" y="51026"/>
                    </a:cubicBezTo>
                    <a:lnTo>
                      <a:pt x="33503" y="68312"/>
                    </a:lnTo>
                    <a:lnTo>
                      <a:pt x="92471" y="2235"/>
                    </a:lnTo>
                    <a:cubicBezTo>
                      <a:pt x="94926" y="-526"/>
                      <a:pt x="99145" y="-757"/>
                      <a:pt x="101907" y="1698"/>
                    </a:cubicBezTo>
                    <a:cubicBezTo>
                      <a:pt x="104669" y="4153"/>
                      <a:pt x="104899" y="8372"/>
                      <a:pt x="102444" y="11134"/>
                    </a:cubicBezTo>
                    <a:lnTo>
                      <a:pt x="39359" y="81814"/>
                    </a:lnTo>
                    <a:cubicBezTo>
                      <a:pt x="38029" y="83272"/>
                      <a:pt x="36213" y="84039"/>
                      <a:pt x="34372" y="84039"/>
                    </a:cubicBezTo>
                    <a:close/>
                  </a:path>
                </a:pathLst>
              </a:custGeom>
              <a:solidFill>
                <a:schemeClr val="accent1"/>
              </a:solidFill>
              <a:ln w="2553" cap="flat">
                <a:noFill/>
                <a:prstDash val="solid"/>
                <a:miter/>
              </a:ln>
            </p:spPr>
            <p:txBody>
              <a:bodyPr rtlCol="0" anchor="ctr"/>
              <a:lstStyle/>
              <a:p>
                <a:endParaRPr lang="en-GB" dirty="0"/>
              </a:p>
            </p:txBody>
          </p:sp>
          <p:sp>
            <p:nvSpPr>
              <p:cNvPr id="1143" name="Freihandform: Form 1142">
                <a:extLst>
                  <a:ext uri="{FF2B5EF4-FFF2-40B4-BE49-F238E27FC236}">
                    <a16:creationId xmlns:a16="http://schemas.microsoft.com/office/drawing/2014/main" id="{C055299A-9A10-4977-ABC8-A44C92617785}"/>
                  </a:ext>
                </a:extLst>
              </p:cNvPr>
              <p:cNvSpPr/>
              <p:nvPr/>
            </p:nvSpPr>
            <p:spPr>
              <a:xfrm>
                <a:off x="5679941" y="2642362"/>
                <a:ext cx="40173" cy="40173"/>
              </a:xfrm>
              <a:custGeom>
                <a:avLst/>
                <a:gdLst>
                  <a:gd name="connsiteX0" fmla="*/ 33499 w 40173"/>
                  <a:gd name="connsiteY0" fmla="*/ 40173 h 40173"/>
                  <a:gd name="connsiteX1" fmla="*/ 26825 w 40173"/>
                  <a:gd name="connsiteY1" fmla="*/ 33499 h 40173"/>
                  <a:gd name="connsiteX2" fmla="*/ 26825 w 40173"/>
                  <a:gd name="connsiteY2" fmla="*/ 13348 h 40173"/>
                  <a:gd name="connsiteX3" fmla="*/ 6674 w 40173"/>
                  <a:gd name="connsiteY3" fmla="*/ 13348 h 40173"/>
                  <a:gd name="connsiteX4" fmla="*/ 0 w 40173"/>
                  <a:gd name="connsiteY4" fmla="*/ 6674 h 40173"/>
                  <a:gd name="connsiteX5" fmla="*/ 6674 w 40173"/>
                  <a:gd name="connsiteY5" fmla="*/ 0 h 40173"/>
                  <a:gd name="connsiteX6" fmla="*/ 33499 w 40173"/>
                  <a:gd name="connsiteY6" fmla="*/ 0 h 40173"/>
                  <a:gd name="connsiteX7" fmla="*/ 40173 w 40173"/>
                  <a:gd name="connsiteY7" fmla="*/ 6674 h 40173"/>
                  <a:gd name="connsiteX8" fmla="*/ 40173 w 40173"/>
                  <a:gd name="connsiteY8" fmla="*/ 33499 h 40173"/>
                  <a:gd name="connsiteX9" fmla="*/ 33499 w 40173"/>
                  <a:gd name="connsiteY9" fmla="*/ 40173 h 4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173" h="40173">
                    <a:moveTo>
                      <a:pt x="33499" y="40173"/>
                    </a:moveTo>
                    <a:cubicBezTo>
                      <a:pt x="29817" y="40173"/>
                      <a:pt x="26825" y="37181"/>
                      <a:pt x="26825" y="33499"/>
                    </a:cubicBezTo>
                    <a:lnTo>
                      <a:pt x="26825" y="13348"/>
                    </a:lnTo>
                    <a:lnTo>
                      <a:pt x="6674" y="13348"/>
                    </a:lnTo>
                    <a:cubicBezTo>
                      <a:pt x="2992" y="13348"/>
                      <a:pt x="0" y="10356"/>
                      <a:pt x="0" y="6674"/>
                    </a:cubicBezTo>
                    <a:cubicBezTo>
                      <a:pt x="0" y="2992"/>
                      <a:pt x="2992" y="0"/>
                      <a:pt x="6674" y="0"/>
                    </a:cubicBezTo>
                    <a:lnTo>
                      <a:pt x="33499" y="0"/>
                    </a:lnTo>
                    <a:cubicBezTo>
                      <a:pt x="37181" y="0"/>
                      <a:pt x="40173" y="2992"/>
                      <a:pt x="40173" y="6674"/>
                    </a:cubicBezTo>
                    <a:lnTo>
                      <a:pt x="40173" y="33499"/>
                    </a:lnTo>
                    <a:cubicBezTo>
                      <a:pt x="40173" y="37181"/>
                      <a:pt x="37181" y="40173"/>
                      <a:pt x="33499" y="40173"/>
                    </a:cubicBezTo>
                    <a:close/>
                  </a:path>
                </a:pathLst>
              </a:custGeom>
              <a:solidFill>
                <a:schemeClr val="accent1"/>
              </a:solidFill>
              <a:ln w="2553" cap="flat">
                <a:noFill/>
                <a:prstDash val="solid"/>
                <a:miter/>
              </a:ln>
            </p:spPr>
            <p:txBody>
              <a:bodyPr rtlCol="0" anchor="ctr"/>
              <a:lstStyle/>
              <a:p>
                <a:endParaRPr lang="en-GB" dirty="0"/>
              </a:p>
            </p:txBody>
          </p:sp>
        </p:grpSp>
        <p:grpSp>
          <p:nvGrpSpPr>
            <p:cNvPr id="1130" name="Gruppieren 1129">
              <a:extLst>
                <a:ext uri="{FF2B5EF4-FFF2-40B4-BE49-F238E27FC236}">
                  <a16:creationId xmlns:a16="http://schemas.microsoft.com/office/drawing/2014/main" id="{DC26A751-8A85-400B-AECF-0BFCD366D68F}"/>
                </a:ext>
              </a:extLst>
            </p:cNvPr>
            <p:cNvGrpSpPr/>
            <p:nvPr/>
          </p:nvGrpSpPr>
          <p:grpSpPr>
            <a:xfrm>
              <a:off x="4927418" y="2449341"/>
              <a:ext cx="570877" cy="432000"/>
              <a:chOff x="5296366" y="2507829"/>
              <a:chExt cx="493942" cy="373781"/>
            </a:xfrm>
          </p:grpSpPr>
          <p:sp>
            <p:nvSpPr>
              <p:cNvPr id="1131" name="Freihandform: Form 1130">
                <a:extLst>
                  <a:ext uri="{FF2B5EF4-FFF2-40B4-BE49-F238E27FC236}">
                    <a16:creationId xmlns:a16="http://schemas.microsoft.com/office/drawing/2014/main" id="{D2E0F058-76B8-40FE-B84C-D1E98C7C21A0}"/>
                  </a:ext>
                </a:extLst>
              </p:cNvPr>
              <p:cNvSpPr/>
              <p:nvPr/>
            </p:nvSpPr>
            <p:spPr>
              <a:xfrm>
                <a:off x="5323062" y="2541201"/>
                <a:ext cx="440523" cy="307039"/>
              </a:xfrm>
              <a:custGeom>
                <a:avLst/>
                <a:gdLst>
                  <a:gd name="connsiteX0" fmla="*/ 413826 w 440523"/>
                  <a:gd name="connsiteY0" fmla="*/ 307039 h 307039"/>
                  <a:gd name="connsiteX1" fmla="*/ 26697 w 440523"/>
                  <a:gd name="connsiteY1" fmla="*/ 307039 h 307039"/>
                  <a:gd name="connsiteX2" fmla="*/ 0 w 440523"/>
                  <a:gd name="connsiteY2" fmla="*/ 280342 h 307039"/>
                  <a:gd name="connsiteX3" fmla="*/ 0 w 440523"/>
                  <a:gd name="connsiteY3" fmla="*/ 26697 h 307039"/>
                  <a:gd name="connsiteX4" fmla="*/ 26697 w 440523"/>
                  <a:gd name="connsiteY4" fmla="*/ 0 h 307039"/>
                  <a:gd name="connsiteX5" fmla="*/ 413826 w 440523"/>
                  <a:gd name="connsiteY5" fmla="*/ 0 h 307039"/>
                  <a:gd name="connsiteX6" fmla="*/ 440523 w 440523"/>
                  <a:gd name="connsiteY6" fmla="*/ 26697 h 307039"/>
                  <a:gd name="connsiteX7" fmla="*/ 440523 w 440523"/>
                  <a:gd name="connsiteY7" fmla="*/ 280342 h 307039"/>
                  <a:gd name="connsiteX8" fmla="*/ 413826 w 440523"/>
                  <a:gd name="connsiteY8" fmla="*/ 307039 h 307039"/>
                  <a:gd name="connsiteX9" fmla="*/ 26697 w 440523"/>
                  <a:gd name="connsiteY9" fmla="*/ 13348 h 307039"/>
                  <a:gd name="connsiteX10" fmla="*/ 13348 w 440523"/>
                  <a:gd name="connsiteY10" fmla="*/ 26697 h 307039"/>
                  <a:gd name="connsiteX11" fmla="*/ 13348 w 440523"/>
                  <a:gd name="connsiteY11" fmla="*/ 280342 h 307039"/>
                  <a:gd name="connsiteX12" fmla="*/ 26697 w 440523"/>
                  <a:gd name="connsiteY12" fmla="*/ 293691 h 307039"/>
                  <a:gd name="connsiteX13" fmla="*/ 413826 w 440523"/>
                  <a:gd name="connsiteY13" fmla="*/ 293691 h 307039"/>
                  <a:gd name="connsiteX14" fmla="*/ 427175 w 440523"/>
                  <a:gd name="connsiteY14" fmla="*/ 280342 h 307039"/>
                  <a:gd name="connsiteX15" fmla="*/ 427175 w 440523"/>
                  <a:gd name="connsiteY15" fmla="*/ 26697 h 307039"/>
                  <a:gd name="connsiteX16" fmla="*/ 413826 w 440523"/>
                  <a:gd name="connsiteY16" fmla="*/ 13348 h 307039"/>
                  <a:gd name="connsiteX17" fmla="*/ 26697 w 440523"/>
                  <a:gd name="connsiteY17" fmla="*/ 13348 h 30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0523" h="307039">
                    <a:moveTo>
                      <a:pt x="413826" y="307039"/>
                    </a:moveTo>
                    <a:lnTo>
                      <a:pt x="26697" y="307039"/>
                    </a:lnTo>
                    <a:cubicBezTo>
                      <a:pt x="11968" y="307039"/>
                      <a:pt x="0" y="295071"/>
                      <a:pt x="0" y="280342"/>
                    </a:cubicBezTo>
                    <a:lnTo>
                      <a:pt x="0" y="26697"/>
                    </a:lnTo>
                    <a:cubicBezTo>
                      <a:pt x="0" y="11968"/>
                      <a:pt x="11968" y="0"/>
                      <a:pt x="26697" y="0"/>
                    </a:cubicBezTo>
                    <a:lnTo>
                      <a:pt x="413826" y="0"/>
                    </a:lnTo>
                    <a:cubicBezTo>
                      <a:pt x="428556" y="0"/>
                      <a:pt x="440523" y="11968"/>
                      <a:pt x="440523" y="26697"/>
                    </a:cubicBezTo>
                    <a:lnTo>
                      <a:pt x="440523" y="280342"/>
                    </a:lnTo>
                    <a:cubicBezTo>
                      <a:pt x="440523" y="295071"/>
                      <a:pt x="428556" y="307039"/>
                      <a:pt x="413826" y="307039"/>
                    </a:cubicBezTo>
                    <a:close/>
                    <a:moveTo>
                      <a:pt x="26697" y="13348"/>
                    </a:moveTo>
                    <a:cubicBezTo>
                      <a:pt x="19332" y="13348"/>
                      <a:pt x="13348" y="19332"/>
                      <a:pt x="13348" y="26697"/>
                    </a:cubicBezTo>
                    <a:lnTo>
                      <a:pt x="13348" y="280342"/>
                    </a:lnTo>
                    <a:cubicBezTo>
                      <a:pt x="13348" y="287707"/>
                      <a:pt x="19332" y="293691"/>
                      <a:pt x="26697" y="293691"/>
                    </a:cubicBezTo>
                    <a:lnTo>
                      <a:pt x="413826" y="293691"/>
                    </a:lnTo>
                    <a:cubicBezTo>
                      <a:pt x="421191" y="293691"/>
                      <a:pt x="427175" y="287707"/>
                      <a:pt x="427175" y="280342"/>
                    </a:cubicBezTo>
                    <a:lnTo>
                      <a:pt x="427175" y="26697"/>
                    </a:lnTo>
                    <a:cubicBezTo>
                      <a:pt x="427175" y="19332"/>
                      <a:pt x="421191" y="13348"/>
                      <a:pt x="413826" y="13348"/>
                    </a:cubicBezTo>
                    <a:lnTo>
                      <a:pt x="26697" y="13348"/>
                    </a:lnTo>
                    <a:close/>
                  </a:path>
                </a:pathLst>
              </a:custGeom>
              <a:solidFill>
                <a:schemeClr val="tx2"/>
              </a:solidFill>
              <a:ln w="2553" cap="flat">
                <a:noFill/>
                <a:prstDash val="solid"/>
                <a:miter/>
              </a:ln>
            </p:spPr>
            <p:txBody>
              <a:bodyPr rtlCol="0" anchor="ctr"/>
              <a:lstStyle/>
              <a:p>
                <a:endParaRPr lang="en-GB" dirty="0"/>
              </a:p>
            </p:txBody>
          </p:sp>
          <p:sp>
            <p:nvSpPr>
              <p:cNvPr id="1132" name="Freihandform: Form 1131">
                <a:extLst>
                  <a:ext uri="{FF2B5EF4-FFF2-40B4-BE49-F238E27FC236}">
                    <a16:creationId xmlns:a16="http://schemas.microsoft.com/office/drawing/2014/main" id="{1E163C9E-2326-4F2E-B649-9477E4D797C6}"/>
                  </a:ext>
                </a:extLst>
              </p:cNvPr>
              <p:cNvSpPr/>
              <p:nvPr/>
            </p:nvSpPr>
            <p:spPr>
              <a:xfrm>
                <a:off x="5296366" y="2507829"/>
                <a:ext cx="493942" cy="13348"/>
              </a:xfrm>
              <a:custGeom>
                <a:avLst/>
                <a:gdLst>
                  <a:gd name="connsiteX0" fmla="*/ 487243 w 493942"/>
                  <a:gd name="connsiteY0" fmla="*/ 13348 h 13348"/>
                  <a:gd name="connsiteX1" fmla="*/ 6674 w 493942"/>
                  <a:gd name="connsiteY1" fmla="*/ 13348 h 13348"/>
                  <a:gd name="connsiteX2" fmla="*/ 0 w 493942"/>
                  <a:gd name="connsiteY2" fmla="*/ 6674 h 13348"/>
                  <a:gd name="connsiteX3" fmla="*/ 6674 w 493942"/>
                  <a:gd name="connsiteY3" fmla="*/ 0 h 13348"/>
                  <a:gd name="connsiteX4" fmla="*/ 487268 w 493942"/>
                  <a:gd name="connsiteY4" fmla="*/ 0 h 13348"/>
                  <a:gd name="connsiteX5" fmla="*/ 493942 w 493942"/>
                  <a:gd name="connsiteY5" fmla="*/ 6674 h 13348"/>
                  <a:gd name="connsiteX6" fmla="*/ 487243 w 493942"/>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3942" h="13348">
                    <a:moveTo>
                      <a:pt x="487243" y="13348"/>
                    </a:moveTo>
                    <a:lnTo>
                      <a:pt x="6674" y="13348"/>
                    </a:lnTo>
                    <a:cubicBezTo>
                      <a:pt x="2992" y="13348"/>
                      <a:pt x="0" y="10357"/>
                      <a:pt x="0" y="6674"/>
                    </a:cubicBezTo>
                    <a:cubicBezTo>
                      <a:pt x="0" y="2992"/>
                      <a:pt x="2992" y="0"/>
                      <a:pt x="6674" y="0"/>
                    </a:cubicBezTo>
                    <a:lnTo>
                      <a:pt x="487268" y="0"/>
                    </a:lnTo>
                    <a:cubicBezTo>
                      <a:pt x="490951" y="0"/>
                      <a:pt x="493942" y="2992"/>
                      <a:pt x="493942" y="6674"/>
                    </a:cubicBezTo>
                    <a:cubicBezTo>
                      <a:pt x="493917" y="10357"/>
                      <a:pt x="490925" y="13348"/>
                      <a:pt x="487243" y="13348"/>
                    </a:cubicBezTo>
                    <a:close/>
                  </a:path>
                </a:pathLst>
              </a:custGeom>
              <a:solidFill>
                <a:schemeClr val="tx2"/>
              </a:solidFill>
              <a:ln w="2553" cap="flat">
                <a:noFill/>
                <a:prstDash val="solid"/>
                <a:miter/>
              </a:ln>
            </p:spPr>
            <p:txBody>
              <a:bodyPr rtlCol="0" anchor="ctr"/>
              <a:lstStyle/>
              <a:p>
                <a:endParaRPr lang="en-GB" dirty="0"/>
              </a:p>
            </p:txBody>
          </p:sp>
          <p:sp>
            <p:nvSpPr>
              <p:cNvPr id="1133" name="Freihandform: Form 1132">
                <a:extLst>
                  <a:ext uri="{FF2B5EF4-FFF2-40B4-BE49-F238E27FC236}">
                    <a16:creationId xmlns:a16="http://schemas.microsoft.com/office/drawing/2014/main" id="{1DF39F74-6B9A-4EB8-B2F3-B57CC2D241C7}"/>
                  </a:ext>
                </a:extLst>
              </p:cNvPr>
              <p:cNvSpPr/>
              <p:nvPr/>
            </p:nvSpPr>
            <p:spPr>
              <a:xfrm>
                <a:off x="5296366" y="2868262"/>
                <a:ext cx="493942" cy="13348"/>
              </a:xfrm>
              <a:custGeom>
                <a:avLst/>
                <a:gdLst>
                  <a:gd name="connsiteX0" fmla="*/ 487243 w 493942"/>
                  <a:gd name="connsiteY0" fmla="*/ 13348 h 13348"/>
                  <a:gd name="connsiteX1" fmla="*/ 6674 w 493942"/>
                  <a:gd name="connsiteY1" fmla="*/ 13348 h 13348"/>
                  <a:gd name="connsiteX2" fmla="*/ 0 w 493942"/>
                  <a:gd name="connsiteY2" fmla="*/ 6674 h 13348"/>
                  <a:gd name="connsiteX3" fmla="*/ 6674 w 493942"/>
                  <a:gd name="connsiteY3" fmla="*/ 0 h 13348"/>
                  <a:gd name="connsiteX4" fmla="*/ 487268 w 493942"/>
                  <a:gd name="connsiteY4" fmla="*/ 0 h 13348"/>
                  <a:gd name="connsiteX5" fmla="*/ 493942 w 493942"/>
                  <a:gd name="connsiteY5" fmla="*/ 6674 h 13348"/>
                  <a:gd name="connsiteX6" fmla="*/ 487243 w 493942"/>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3942" h="13348">
                    <a:moveTo>
                      <a:pt x="487243" y="13348"/>
                    </a:moveTo>
                    <a:lnTo>
                      <a:pt x="6674" y="13348"/>
                    </a:lnTo>
                    <a:cubicBezTo>
                      <a:pt x="2992" y="13348"/>
                      <a:pt x="0" y="10356"/>
                      <a:pt x="0" y="6674"/>
                    </a:cubicBezTo>
                    <a:cubicBezTo>
                      <a:pt x="0" y="2992"/>
                      <a:pt x="2992" y="0"/>
                      <a:pt x="6674" y="0"/>
                    </a:cubicBezTo>
                    <a:lnTo>
                      <a:pt x="487268" y="0"/>
                    </a:lnTo>
                    <a:cubicBezTo>
                      <a:pt x="490951" y="0"/>
                      <a:pt x="493942" y="2992"/>
                      <a:pt x="493942" y="6674"/>
                    </a:cubicBezTo>
                    <a:cubicBezTo>
                      <a:pt x="493917" y="10356"/>
                      <a:pt x="490925" y="13348"/>
                      <a:pt x="487243" y="13348"/>
                    </a:cubicBezTo>
                    <a:close/>
                  </a:path>
                </a:pathLst>
              </a:custGeom>
              <a:solidFill>
                <a:schemeClr val="tx2"/>
              </a:solidFill>
              <a:ln w="2553" cap="flat">
                <a:noFill/>
                <a:prstDash val="solid"/>
                <a:miter/>
              </a:ln>
            </p:spPr>
            <p:txBody>
              <a:bodyPr rtlCol="0" anchor="ctr"/>
              <a:lstStyle/>
              <a:p>
                <a:endParaRPr lang="en-GB" dirty="0"/>
              </a:p>
            </p:txBody>
          </p:sp>
          <p:grpSp>
            <p:nvGrpSpPr>
              <p:cNvPr id="1134" name="Grafik 313">
                <a:extLst>
                  <a:ext uri="{FF2B5EF4-FFF2-40B4-BE49-F238E27FC236}">
                    <a16:creationId xmlns:a16="http://schemas.microsoft.com/office/drawing/2014/main" id="{A6AE7633-07B4-4622-826F-86E7B4644699}"/>
                  </a:ext>
                </a:extLst>
              </p:cNvPr>
              <p:cNvGrpSpPr/>
              <p:nvPr/>
            </p:nvGrpSpPr>
            <p:grpSpPr>
              <a:xfrm>
                <a:off x="5480366" y="2632300"/>
                <a:ext cx="126630" cy="124853"/>
                <a:chOff x="5480366" y="2632300"/>
                <a:chExt cx="126630" cy="124853"/>
              </a:xfrm>
              <a:solidFill>
                <a:schemeClr val="tx2"/>
              </a:solidFill>
            </p:grpSpPr>
            <p:sp>
              <p:nvSpPr>
                <p:cNvPr id="1137" name="Freihandform: Form 1136">
                  <a:extLst>
                    <a:ext uri="{FF2B5EF4-FFF2-40B4-BE49-F238E27FC236}">
                      <a16:creationId xmlns:a16="http://schemas.microsoft.com/office/drawing/2014/main" id="{5D070BDF-ABA7-4FBF-BB16-23612E4F93B1}"/>
                    </a:ext>
                  </a:extLst>
                </p:cNvPr>
                <p:cNvSpPr/>
                <p:nvPr/>
              </p:nvSpPr>
              <p:spPr>
                <a:xfrm>
                  <a:off x="5588918" y="2739087"/>
                  <a:ext cx="18079" cy="18066"/>
                </a:xfrm>
                <a:custGeom>
                  <a:avLst/>
                  <a:gdLst>
                    <a:gd name="connsiteX0" fmla="*/ 11418 w 18079"/>
                    <a:gd name="connsiteY0" fmla="*/ 18066 h 18066"/>
                    <a:gd name="connsiteX1" fmla="*/ 6687 w 18079"/>
                    <a:gd name="connsiteY1" fmla="*/ 16123 h 18066"/>
                    <a:gd name="connsiteX2" fmla="*/ 1956 w 18079"/>
                    <a:gd name="connsiteY2" fmla="*/ 11392 h 18066"/>
                    <a:gd name="connsiteX3" fmla="*/ 1956 w 18079"/>
                    <a:gd name="connsiteY3" fmla="*/ 1956 h 18066"/>
                    <a:gd name="connsiteX4" fmla="*/ 11392 w 18079"/>
                    <a:gd name="connsiteY4" fmla="*/ 1956 h 18066"/>
                    <a:gd name="connsiteX5" fmla="*/ 16123 w 18079"/>
                    <a:gd name="connsiteY5" fmla="*/ 6687 h 18066"/>
                    <a:gd name="connsiteX6" fmla="*/ 16123 w 18079"/>
                    <a:gd name="connsiteY6" fmla="*/ 16123 h 18066"/>
                    <a:gd name="connsiteX7" fmla="*/ 11418 w 18079"/>
                    <a:gd name="connsiteY7" fmla="*/ 18066 h 1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79" h="18066">
                      <a:moveTo>
                        <a:pt x="11418" y="18066"/>
                      </a:moveTo>
                      <a:cubicBezTo>
                        <a:pt x="9704" y="18066"/>
                        <a:pt x="7991" y="17427"/>
                        <a:pt x="6687" y="16123"/>
                      </a:cubicBezTo>
                      <a:lnTo>
                        <a:pt x="1956" y="11392"/>
                      </a:lnTo>
                      <a:cubicBezTo>
                        <a:pt x="-652" y="8784"/>
                        <a:pt x="-652" y="4564"/>
                        <a:pt x="1956" y="1956"/>
                      </a:cubicBezTo>
                      <a:cubicBezTo>
                        <a:pt x="4565" y="-652"/>
                        <a:pt x="8784" y="-652"/>
                        <a:pt x="11392" y="1956"/>
                      </a:cubicBezTo>
                      <a:lnTo>
                        <a:pt x="16123" y="6687"/>
                      </a:lnTo>
                      <a:cubicBezTo>
                        <a:pt x="18731" y="9295"/>
                        <a:pt x="18731" y="13515"/>
                        <a:pt x="16123" y="16123"/>
                      </a:cubicBezTo>
                      <a:cubicBezTo>
                        <a:pt x="14819" y="17402"/>
                        <a:pt x="13105" y="18066"/>
                        <a:pt x="11418" y="18066"/>
                      </a:cubicBezTo>
                      <a:close/>
                    </a:path>
                  </a:pathLst>
                </a:custGeom>
                <a:solidFill>
                  <a:schemeClr val="accent1"/>
                </a:solidFill>
                <a:ln w="2553" cap="flat">
                  <a:noFill/>
                  <a:prstDash val="solid"/>
                  <a:miter/>
                </a:ln>
              </p:spPr>
              <p:txBody>
                <a:bodyPr rtlCol="0" anchor="ctr"/>
                <a:lstStyle/>
                <a:p>
                  <a:endParaRPr lang="en-GB" dirty="0"/>
                </a:p>
              </p:txBody>
            </p:sp>
            <p:sp>
              <p:nvSpPr>
                <p:cNvPr id="1138" name="Freihandform: Form 1137">
                  <a:extLst>
                    <a:ext uri="{FF2B5EF4-FFF2-40B4-BE49-F238E27FC236}">
                      <a16:creationId xmlns:a16="http://schemas.microsoft.com/office/drawing/2014/main" id="{C19C60E1-3118-4977-B6C4-18F818BE7A28}"/>
                    </a:ext>
                  </a:extLst>
                </p:cNvPr>
                <p:cNvSpPr/>
                <p:nvPr/>
              </p:nvSpPr>
              <p:spPr>
                <a:xfrm>
                  <a:off x="5482131" y="2632300"/>
                  <a:ext cx="18079" cy="18066"/>
                </a:xfrm>
                <a:custGeom>
                  <a:avLst/>
                  <a:gdLst>
                    <a:gd name="connsiteX0" fmla="*/ 11418 w 18079"/>
                    <a:gd name="connsiteY0" fmla="*/ 18066 h 18066"/>
                    <a:gd name="connsiteX1" fmla="*/ 6687 w 18079"/>
                    <a:gd name="connsiteY1" fmla="*/ 16123 h 18066"/>
                    <a:gd name="connsiteX2" fmla="*/ 1956 w 18079"/>
                    <a:gd name="connsiteY2" fmla="*/ 11392 h 18066"/>
                    <a:gd name="connsiteX3" fmla="*/ 1956 w 18079"/>
                    <a:gd name="connsiteY3" fmla="*/ 1956 h 18066"/>
                    <a:gd name="connsiteX4" fmla="*/ 11392 w 18079"/>
                    <a:gd name="connsiteY4" fmla="*/ 1956 h 18066"/>
                    <a:gd name="connsiteX5" fmla="*/ 16123 w 18079"/>
                    <a:gd name="connsiteY5" fmla="*/ 6687 h 18066"/>
                    <a:gd name="connsiteX6" fmla="*/ 16123 w 18079"/>
                    <a:gd name="connsiteY6" fmla="*/ 16123 h 18066"/>
                    <a:gd name="connsiteX7" fmla="*/ 11418 w 18079"/>
                    <a:gd name="connsiteY7" fmla="*/ 18066 h 1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79" h="18066">
                      <a:moveTo>
                        <a:pt x="11418" y="18066"/>
                      </a:moveTo>
                      <a:cubicBezTo>
                        <a:pt x="9704" y="18066"/>
                        <a:pt x="7991" y="17402"/>
                        <a:pt x="6687" y="16123"/>
                      </a:cubicBezTo>
                      <a:lnTo>
                        <a:pt x="1956" y="11392"/>
                      </a:lnTo>
                      <a:cubicBezTo>
                        <a:pt x="-652" y="8784"/>
                        <a:pt x="-652" y="4565"/>
                        <a:pt x="1956" y="1956"/>
                      </a:cubicBezTo>
                      <a:cubicBezTo>
                        <a:pt x="4565" y="-652"/>
                        <a:pt x="8784" y="-652"/>
                        <a:pt x="11392" y="1956"/>
                      </a:cubicBezTo>
                      <a:lnTo>
                        <a:pt x="16123" y="6687"/>
                      </a:lnTo>
                      <a:cubicBezTo>
                        <a:pt x="18731" y="9295"/>
                        <a:pt x="18731" y="13515"/>
                        <a:pt x="16123" y="16123"/>
                      </a:cubicBezTo>
                      <a:cubicBezTo>
                        <a:pt x="14819" y="17402"/>
                        <a:pt x="13131" y="18066"/>
                        <a:pt x="11418" y="18066"/>
                      </a:cubicBezTo>
                      <a:close/>
                    </a:path>
                  </a:pathLst>
                </a:custGeom>
                <a:solidFill>
                  <a:schemeClr val="accent1"/>
                </a:solidFill>
                <a:ln w="2553" cap="flat">
                  <a:noFill/>
                  <a:prstDash val="solid"/>
                  <a:miter/>
                </a:ln>
              </p:spPr>
              <p:txBody>
                <a:bodyPr rtlCol="0" anchor="ctr"/>
                <a:lstStyle/>
                <a:p>
                  <a:endParaRPr lang="en-GB" dirty="0"/>
                </a:p>
              </p:txBody>
            </p:sp>
            <p:sp>
              <p:nvSpPr>
                <p:cNvPr id="1139" name="Freihandform: Form 1138">
                  <a:extLst>
                    <a:ext uri="{FF2B5EF4-FFF2-40B4-BE49-F238E27FC236}">
                      <a16:creationId xmlns:a16="http://schemas.microsoft.com/office/drawing/2014/main" id="{09D50677-053C-4DB6-B618-8E9932EF934F}"/>
                    </a:ext>
                  </a:extLst>
                </p:cNvPr>
                <p:cNvSpPr/>
                <p:nvPr/>
              </p:nvSpPr>
              <p:spPr>
                <a:xfrm>
                  <a:off x="5588918" y="2632990"/>
                  <a:ext cx="16136" cy="15611"/>
                </a:xfrm>
                <a:custGeom>
                  <a:avLst/>
                  <a:gdLst>
                    <a:gd name="connsiteX0" fmla="*/ 6687 w 16136"/>
                    <a:gd name="connsiteY0" fmla="*/ 15612 h 15611"/>
                    <a:gd name="connsiteX1" fmla="*/ 1496 w 16136"/>
                    <a:gd name="connsiteY1" fmla="*/ 13157 h 15611"/>
                    <a:gd name="connsiteX2" fmla="*/ 2468 w 16136"/>
                    <a:gd name="connsiteY2" fmla="*/ 3772 h 15611"/>
                    <a:gd name="connsiteX3" fmla="*/ 5255 w 16136"/>
                    <a:gd name="connsiteY3" fmla="*/ 1496 h 15611"/>
                    <a:gd name="connsiteX4" fmla="*/ 14640 w 16136"/>
                    <a:gd name="connsiteY4" fmla="*/ 2468 h 15611"/>
                    <a:gd name="connsiteX5" fmla="*/ 13669 w 16136"/>
                    <a:gd name="connsiteY5" fmla="*/ 11853 h 15611"/>
                    <a:gd name="connsiteX6" fmla="*/ 10881 w 16136"/>
                    <a:gd name="connsiteY6" fmla="*/ 14129 h 15611"/>
                    <a:gd name="connsiteX7" fmla="*/ 6687 w 16136"/>
                    <a:gd name="connsiteY7" fmla="*/ 15612 h 15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136" h="15611">
                      <a:moveTo>
                        <a:pt x="6687" y="15612"/>
                      </a:moveTo>
                      <a:cubicBezTo>
                        <a:pt x="4744" y="15612"/>
                        <a:pt x="2826" y="14768"/>
                        <a:pt x="1496" y="13157"/>
                      </a:cubicBezTo>
                      <a:cubicBezTo>
                        <a:pt x="-831" y="10293"/>
                        <a:pt x="-396" y="6099"/>
                        <a:pt x="2468" y="3772"/>
                      </a:cubicBezTo>
                      <a:lnTo>
                        <a:pt x="5255" y="1496"/>
                      </a:lnTo>
                      <a:cubicBezTo>
                        <a:pt x="8119" y="-831"/>
                        <a:pt x="12313" y="-396"/>
                        <a:pt x="14640" y="2468"/>
                      </a:cubicBezTo>
                      <a:cubicBezTo>
                        <a:pt x="16967" y="5332"/>
                        <a:pt x="16533" y="9526"/>
                        <a:pt x="13669" y="11853"/>
                      </a:cubicBezTo>
                      <a:lnTo>
                        <a:pt x="10881" y="14129"/>
                      </a:lnTo>
                      <a:cubicBezTo>
                        <a:pt x="9654" y="15126"/>
                        <a:pt x="8171" y="15612"/>
                        <a:pt x="6687" y="15612"/>
                      </a:cubicBezTo>
                      <a:close/>
                    </a:path>
                  </a:pathLst>
                </a:custGeom>
                <a:solidFill>
                  <a:schemeClr val="accent1"/>
                </a:solidFill>
                <a:ln w="2553" cap="flat">
                  <a:noFill/>
                  <a:prstDash val="solid"/>
                  <a:miter/>
                </a:ln>
              </p:spPr>
              <p:txBody>
                <a:bodyPr rtlCol="0" anchor="ctr"/>
                <a:lstStyle/>
                <a:p>
                  <a:endParaRPr lang="en-GB" dirty="0"/>
                </a:p>
              </p:txBody>
            </p:sp>
            <p:sp>
              <p:nvSpPr>
                <p:cNvPr id="1140" name="Freihandform: Form 1139">
                  <a:extLst>
                    <a:ext uri="{FF2B5EF4-FFF2-40B4-BE49-F238E27FC236}">
                      <a16:creationId xmlns:a16="http://schemas.microsoft.com/office/drawing/2014/main" id="{ABA2B1BD-64D0-41CE-8AD0-E7D77579CAF9}"/>
                    </a:ext>
                  </a:extLst>
                </p:cNvPr>
                <p:cNvSpPr/>
                <p:nvPr/>
              </p:nvSpPr>
              <p:spPr>
                <a:xfrm>
                  <a:off x="5480366" y="2739087"/>
                  <a:ext cx="18079" cy="18066"/>
                </a:xfrm>
                <a:custGeom>
                  <a:avLst/>
                  <a:gdLst>
                    <a:gd name="connsiteX0" fmla="*/ 6687 w 18079"/>
                    <a:gd name="connsiteY0" fmla="*/ 18066 h 18066"/>
                    <a:gd name="connsiteX1" fmla="*/ 1956 w 18079"/>
                    <a:gd name="connsiteY1" fmla="*/ 16123 h 18066"/>
                    <a:gd name="connsiteX2" fmla="*/ 1956 w 18079"/>
                    <a:gd name="connsiteY2" fmla="*/ 6687 h 18066"/>
                    <a:gd name="connsiteX3" fmla="*/ 6687 w 18079"/>
                    <a:gd name="connsiteY3" fmla="*/ 1956 h 18066"/>
                    <a:gd name="connsiteX4" fmla="*/ 16123 w 18079"/>
                    <a:gd name="connsiteY4" fmla="*/ 1956 h 18066"/>
                    <a:gd name="connsiteX5" fmla="*/ 16123 w 18079"/>
                    <a:gd name="connsiteY5" fmla="*/ 11392 h 18066"/>
                    <a:gd name="connsiteX6" fmla="*/ 11392 w 18079"/>
                    <a:gd name="connsiteY6" fmla="*/ 16123 h 18066"/>
                    <a:gd name="connsiteX7" fmla="*/ 6687 w 18079"/>
                    <a:gd name="connsiteY7" fmla="*/ 18066 h 1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79" h="18066">
                      <a:moveTo>
                        <a:pt x="6687" y="18066"/>
                      </a:moveTo>
                      <a:cubicBezTo>
                        <a:pt x="4974" y="18066"/>
                        <a:pt x="3260" y="17427"/>
                        <a:pt x="1956" y="16123"/>
                      </a:cubicBezTo>
                      <a:cubicBezTo>
                        <a:pt x="-652" y="13515"/>
                        <a:pt x="-652" y="9295"/>
                        <a:pt x="1956" y="6687"/>
                      </a:cubicBezTo>
                      <a:lnTo>
                        <a:pt x="6687" y="1956"/>
                      </a:lnTo>
                      <a:cubicBezTo>
                        <a:pt x="9295" y="-652"/>
                        <a:pt x="13515" y="-652"/>
                        <a:pt x="16123" y="1956"/>
                      </a:cubicBezTo>
                      <a:cubicBezTo>
                        <a:pt x="18731" y="4564"/>
                        <a:pt x="18731" y="8784"/>
                        <a:pt x="16123" y="11392"/>
                      </a:cubicBezTo>
                      <a:lnTo>
                        <a:pt x="11392" y="16123"/>
                      </a:lnTo>
                      <a:cubicBezTo>
                        <a:pt x="10114" y="17402"/>
                        <a:pt x="8400" y="18066"/>
                        <a:pt x="6687" y="18066"/>
                      </a:cubicBezTo>
                      <a:close/>
                    </a:path>
                  </a:pathLst>
                </a:custGeom>
                <a:solidFill>
                  <a:schemeClr val="accent1"/>
                </a:solidFill>
                <a:ln w="2553" cap="flat">
                  <a:noFill/>
                  <a:prstDash val="solid"/>
                  <a:miter/>
                </a:ln>
              </p:spPr>
              <p:txBody>
                <a:bodyPr rtlCol="0" anchor="ctr"/>
                <a:lstStyle/>
                <a:p>
                  <a:endParaRPr lang="en-GB" dirty="0"/>
                </a:p>
              </p:txBody>
            </p:sp>
          </p:grpSp>
          <p:sp>
            <p:nvSpPr>
              <p:cNvPr id="1135" name="Freihandform: Form 1134">
                <a:extLst>
                  <a:ext uri="{FF2B5EF4-FFF2-40B4-BE49-F238E27FC236}">
                    <a16:creationId xmlns:a16="http://schemas.microsoft.com/office/drawing/2014/main" id="{0946060F-9D0B-460D-B129-9879A24165D1}"/>
                  </a:ext>
                </a:extLst>
              </p:cNvPr>
              <p:cNvSpPr/>
              <p:nvPr/>
            </p:nvSpPr>
            <p:spPr>
              <a:xfrm>
                <a:off x="5456546" y="2607968"/>
                <a:ext cx="173529" cy="173529"/>
              </a:xfrm>
              <a:custGeom>
                <a:avLst/>
                <a:gdLst>
                  <a:gd name="connsiteX0" fmla="*/ 86765 w 173529"/>
                  <a:gd name="connsiteY0" fmla="*/ 173529 h 173529"/>
                  <a:gd name="connsiteX1" fmla="*/ 0 w 173529"/>
                  <a:gd name="connsiteY1" fmla="*/ 86765 h 173529"/>
                  <a:gd name="connsiteX2" fmla="*/ 86765 w 173529"/>
                  <a:gd name="connsiteY2" fmla="*/ 0 h 173529"/>
                  <a:gd name="connsiteX3" fmla="*/ 173529 w 173529"/>
                  <a:gd name="connsiteY3" fmla="*/ 86765 h 173529"/>
                  <a:gd name="connsiteX4" fmla="*/ 86765 w 173529"/>
                  <a:gd name="connsiteY4" fmla="*/ 173529 h 173529"/>
                  <a:gd name="connsiteX5" fmla="*/ 86765 w 173529"/>
                  <a:gd name="connsiteY5" fmla="*/ 13323 h 173529"/>
                  <a:gd name="connsiteX6" fmla="*/ 13348 w 173529"/>
                  <a:gd name="connsiteY6" fmla="*/ 86739 h 173529"/>
                  <a:gd name="connsiteX7" fmla="*/ 86765 w 173529"/>
                  <a:gd name="connsiteY7" fmla="*/ 160155 h 173529"/>
                  <a:gd name="connsiteX8" fmla="*/ 160181 w 173529"/>
                  <a:gd name="connsiteY8" fmla="*/ 86739 h 173529"/>
                  <a:gd name="connsiteX9" fmla="*/ 86765 w 173529"/>
                  <a:gd name="connsiteY9" fmla="*/ 13323 h 1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529" h="173529">
                    <a:moveTo>
                      <a:pt x="86765" y="173529"/>
                    </a:moveTo>
                    <a:cubicBezTo>
                      <a:pt x="38920" y="173529"/>
                      <a:pt x="0" y="134609"/>
                      <a:pt x="0" y="86765"/>
                    </a:cubicBezTo>
                    <a:cubicBezTo>
                      <a:pt x="0" y="38920"/>
                      <a:pt x="38920" y="0"/>
                      <a:pt x="86765" y="0"/>
                    </a:cubicBezTo>
                    <a:cubicBezTo>
                      <a:pt x="134609" y="0"/>
                      <a:pt x="173529" y="38920"/>
                      <a:pt x="173529" y="86765"/>
                    </a:cubicBezTo>
                    <a:cubicBezTo>
                      <a:pt x="173529" y="134609"/>
                      <a:pt x="134635" y="173529"/>
                      <a:pt x="86765" y="173529"/>
                    </a:cubicBezTo>
                    <a:close/>
                    <a:moveTo>
                      <a:pt x="86765" y="13323"/>
                    </a:moveTo>
                    <a:cubicBezTo>
                      <a:pt x="46285" y="13323"/>
                      <a:pt x="13348" y="46259"/>
                      <a:pt x="13348" y="86739"/>
                    </a:cubicBezTo>
                    <a:cubicBezTo>
                      <a:pt x="13348" y="127219"/>
                      <a:pt x="46285" y="160155"/>
                      <a:pt x="86765" y="160155"/>
                    </a:cubicBezTo>
                    <a:cubicBezTo>
                      <a:pt x="127245" y="160155"/>
                      <a:pt x="160181" y="127219"/>
                      <a:pt x="160181" y="86739"/>
                    </a:cubicBezTo>
                    <a:cubicBezTo>
                      <a:pt x="160181" y="46259"/>
                      <a:pt x="127270" y="13323"/>
                      <a:pt x="86765" y="13323"/>
                    </a:cubicBezTo>
                    <a:close/>
                  </a:path>
                </a:pathLst>
              </a:custGeom>
              <a:solidFill>
                <a:schemeClr val="tx2"/>
              </a:solidFill>
              <a:ln w="2553" cap="flat">
                <a:noFill/>
                <a:prstDash val="solid"/>
                <a:miter/>
              </a:ln>
            </p:spPr>
            <p:txBody>
              <a:bodyPr rtlCol="0" anchor="ctr"/>
              <a:lstStyle/>
              <a:p>
                <a:endParaRPr lang="en-GB" dirty="0"/>
              </a:p>
            </p:txBody>
          </p:sp>
          <p:sp>
            <p:nvSpPr>
              <p:cNvPr id="1136" name="Freihandform: Form 1135">
                <a:extLst>
                  <a:ext uri="{FF2B5EF4-FFF2-40B4-BE49-F238E27FC236}">
                    <a16:creationId xmlns:a16="http://schemas.microsoft.com/office/drawing/2014/main" id="{663C449F-4176-49D1-980C-8A9E558FF9B5}"/>
                  </a:ext>
                </a:extLst>
              </p:cNvPr>
              <p:cNvSpPr/>
              <p:nvPr/>
            </p:nvSpPr>
            <p:spPr>
              <a:xfrm>
                <a:off x="5525120" y="2671581"/>
                <a:ext cx="71771" cy="43199"/>
              </a:xfrm>
              <a:custGeom>
                <a:avLst/>
                <a:gdLst>
                  <a:gd name="connsiteX0" fmla="*/ 700 w 71771"/>
                  <a:gd name="connsiteY0" fmla="*/ 14790 h 43199"/>
                  <a:gd name="connsiteX1" fmla="*/ 25275 w 71771"/>
                  <a:gd name="connsiteY1" fmla="*/ 700 h 43199"/>
                  <a:gd name="connsiteX2" fmla="*/ 30849 w 71771"/>
                  <a:gd name="connsiteY2" fmla="*/ 3257 h 43199"/>
                  <a:gd name="connsiteX3" fmla="*/ 64604 w 71771"/>
                  <a:gd name="connsiteY3" fmla="*/ 19342 h 43199"/>
                  <a:gd name="connsiteX4" fmla="*/ 71304 w 71771"/>
                  <a:gd name="connsiteY4" fmla="*/ 33943 h 43199"/>
                  <a:gd name="connsiteX5" fmla="*/ 58134 w 71771"/>
                  <a:gd name="connsiteY5" fmla="*/ 43149 h 43199"/>
                  <a:gd name="connsiteX6" fmla="*/ 20876 w 71771"/>
                  <a:gd name="connsiteY6" fmla="*/ 39953 h 43199"/>
                  <a:gd name="connsiteX7" fmla="*/ 14765 w 71771"/>
                  <a:gd name="connsiteY7" fmla="*/ 39314 h 43199"/>
                  <a:gd name="connsiteX8" fmla="*/ 700 w 71771"/>
                  <a:gd name="connsiteY8" fmla="*/ 14790 h 43199"/>
                  <a:gd name="connsiteX9" fmla="*/ 54861 w 71771"/>
                  <a:gd name="connsiteY9" fmla="*/ 29494 h 43199"/>
                  <a:gd name="connsiteX10" fmla="*/ 24661 w 71771"/>
                  <a:gd name="connsiteY10" fmla="*/ 15097 h 43199"/>
                  <a:gd name="connsiteX11" fmla="*/ 23741 w 71771"/>
                  <a:gd name="connsiteY11" fmla="*/ 14560 h 43199"/>
                  <a:gd name="connsiteX12" fmla="*/ 21746 w 71771"/>
                  <a:gd name="connsiteY12" fmla="*/ 13588 h 43199"/>
                  <a:gd name="connsiteX13" fmla="*/ 13563 w 71771"/>
                  <a:gd name="connsiteY13" fmla="*/ 18294 h 43199"/>
                  <a:gd name="connsiteX14" fmla="*/ 18268 w 71771"/>
                  <a:gd name="connsiteY14" fmla="*/ 26477 h 43199"/>
                  <a:gd name="connsiteX15" fmla="*/ 20467 w 71771"/>
                  <a:gd name="connsiteY15" fmla="*/ 26630 h 43199"/>
                  <a:gd name="connsiteX16" fmla="*/ 21516 w 71771"/>
                  <a:gd name="connsiteY16" fmla="*/ 26630 h 43199"/>
                  <a:gd name="connsiteX17" fmla="*/ 54861 w 71771"/>
                  <a:gd name="connsiteY17" fmla="*/ 29494 h 43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771" h="43199">
                    <a:moveTo>
                      <a:pt x="700" y="14790"/>
                    </a:moveTo>
                    <a:cubicBezTo>
                      <a:pt x="3590" y="4127"/>
                      <a:pt x="14611" y="-2189"/>
                      <a:pt x="25275" y="700"/>
                    </a:cubicBezTo>
                    <a:cubicBezTo>
                      <a:pt x="27218" y="1237"/>
                      <a:pt x="29059" y="2056"/>
                      <a:pt x="30849" y="3257"/>
                    </a:cubicBezTo>
                    <a:lnTo>
                      <a:pt x="64604" y="19342"/>
                    </a:lnTo>
                    <a:cubicBezTo>
                      <a:pt x="70179" y="22002"/>
                      <a:pt x="72940" y="28011"/>
                      <a:pt x="71304" y="33943"/>
                    </a:cubicBezTo>
                    <a:cubicBezTo>
                      <a:pt x="69693" y="39902"/>
                      <a:pt x="64272" y="43686"/>
                      <a:pt x="58134" y="43149"/>
                    </a:cubicBezTo>
                    <a:lnTo>
                      <a:pt x="20876" y="39953"/>
                    </a:lnTo>
                    <a:cubicBezTo>
                      <a:pt x="18703" y="40055"/>
                      <a:pt x="16708" y="39851"/>
                      <a:pt x="14765" y="39314"/>
                    </a:cubicBezTo>
                    <a:cubicBezTo>
                      <a:pt x="4127" y="36475"/>
                      <a:pt x="-2189" y="25454"/>
                      <a:pt x="700" y="14790"/>
                    </a:cubicBezTo>
                    <a:close/>
                    <a:moveTo>
                      <a:pt x="54861" y="29494"/>
                    </a:moveTo>
                    <a:lnTo>
                      <a:pt x="24661" y="15097"/>
                    </a:lnTo>
                    <a:cubicBezTo>
                      <a:pt x="24329" y="14944"/>
                      <a:pt x="24047" y="14765"/>
                      <a:pt x="23741" y="14560"/>
                    </a:cubicBezTo>
                    <a:cubicBezTo>
                      <a:pt x="23050" y="14074"/>
                      <a:pt x="22385" y="13767"/>
                      <a:pt x="21746" y="13588"/>
                    </a:cubicBezTo>
                    <a:cubicBezTo>
                      <a:pt x="18191" y="12617"/>
                      <a:pt x="14509" y="14739"/>
                      <a:pt x="13563" y="18294"/>
                    </a:cubicBezTo>
                    <a:cubicBezTo>
                      <a:pt x="12591" y="21848"/>
                      <a:pt x="14714" y="25530"/>
                      <a:pt x="18268" y="26477"/>
                    </a:cubicBezTo>
                    <a:cubicBezTo>
                      <a:pt x="18907" y="26656"/>
                      <a:pt x="19623" y="26707"/>
                      <a:pt x="20467" y="26630"/>
                    </a:cubicBezTo>
                    <a:cubicBezTo>
                      <a:pt x="20825" y="26604"/>
                      <a:pt x="21158" y="26604"/>
                      <a:pt x="21516" y="26630"/>
                    </a:cubicBezTo>
                    <a:lnTo>
                      <a:pt x="54861" y="29494"/>
                    </a:lnTo>
                    <a:close/>
                  </a:path>
                </a:pathLst>
              </a:custGeom>
              <a:solidFill>
                <a:schemeClr val="tx2"/>
              </a:solidFill>
              <a:ln w="2553" cap="flat">
                <a:noFill/>
                <a:prstDash val="solid"/>
                <a:miter/>
              </a:ln>
            </p:spPr>
            <p:txBody>
              <a:bodyPr rtlCol="0" anchor="ctr"/>
              <a:lstStyle/>
              <a:p>
                <a:endParaRPr lang="en-GB" dirty="0"/>
              </a:p>
            </p:txBody>
          </p:sp>
        </p:grpSp>
      </p:grpSp>
      <p:sp>
        <p:nvSpPr>
          <p:cNvPr id="1144" name="TextBox 1417">
            <a:extLst>
              <a:ext uri="{FF2B5EF4-FFF2-40B4-BE49-F238E27FC236}">
                <a16:creationId xmlns:a16="http://schemas.microsoft.com/office/drawing/2014/main" id="{568DBD03-A82D-461E-B9DB-154CAC2F3C4B}"/>
              </a:ext>
            </a:extLst>
          </p:cNvPr>
          <p:cNvSpPr txBox="1"/>
          <p:nvPr/>
        </p:nvSpPr>
        <p:spPr>
          <a:xfrm>
            <a:off x="5141133" y="2899619"/>
            <a:ext cx="144270" cy="107722"/>
          </a:xfrm>
          <a:prstGeom prst="rect">
            <a:avLst/>
          </a:prstGeom>
          <a:noFill/>
          <a:effectLst/>
        </p:spPr>
        <p:txBody>
          <a:bodyPr wrap="none" lIns="0" tIns="0" rIns="0" bIns="0" rtlCol="0" anchor="t" anchorCtr="0">
            <a:spAutoFit/>
          </a:bodyPr>
          <a:lstStyle/>
          <a:p>
            <a:pPr algn="ctr"/>
            <a:r>
              <a:rPr lang="en-GB" sz="700" dirty="0">
                <a:solidFill>
                  <a:schemeClr val="tx2"/>
                </a:solidFill>
              </a:rPr>
              <a:t>KPI</a:t>
            </a:r>
          </a:p>
        </p:txBody>
      </p:sp>
      <p:grpSp>
        <p:nvGrpSpPr>
          <p:cNvPr id="23" name="Group 22">
            <a:extLst>
              <a:ext uri="{FF2B5EF4-FFF2-40B4-BE49-F238E27FC236}">
                <a16:creationId xmlns:a16="http://schemas.microsoft.com/office/drawing/2014/main" id="{7ACCB9EF-AAB4-477A-A41F-CA8E3CF225C8}"/>
              </a:ext>
            </a:extLst>
          </p:cNvPr>
          <p:cNvGrpSpPr/>
          <p:nvPr/>
        </p:nvGrpSpPr>
        <p:grpSpPr>
          <a:xfrm>
            <a:off x="8126668" y="2449341"/>
            <a:ext cx="432000" cy="432000"/>
            <a:chOff x="8126256" y="2449341"/>
            <a:chExt cx="432000" cy="432000"/>
          </a:xfrm>
        </p:grpSpPr>
        <p:grpSp>
          <p:nvGrpSpPr>
            <p:cNvPr id="1146" name="Grafik 313">
              <a:extLst>
                <a:ext uri="{FF2B5EF4-FFF2-40B4-BE49-F238E27FC236}">
                  <a16:creationId xmlns:a16="http://schemas.microsoft.com/office/drawing/2014/main" id="{7AB566FA-53DD-486E-96D7-5170696F07FE}"/>
                </a:ext>
              </a:extLst>
            </p:cNvPr>
            <p:cNvGrpSpPr/>
            <p:nvPr/>
          </p:nvGrpSpPr>
          <p:grpSpPr>
            <a:xfrm>
              <a:off x="8172799" y="2583439"/>
              <a:ext cx="234193" cy="232451"/>
              <a:chOff x="7906926" y="2611202"/>
              <a:chExt cx="238813" cy="237037"/>
            </a:xfrm>
            <a:solidFill>
              <a:schemeClr val="accent1"/>
            </a:solidFill>
          </p:grpSpPr>
          <p:grpSp>
            <p:nvGrpSpPr>
              <p:cNvPr id="1151" name="Grafik 313">
                <a:extLst>
                  <a:ext uri="{FF2B5EF4-FFF2-40B4-BE49-F238E27FC236}">
                    <a16:creationId xmlns:a16="http://schemas.microsoft.com/office/drawing/2014/main" id="{B11D7926-78B0-43B0-9039-F781838AADF8}"/>
                  </a:ext>
                </a:extLst>
              </p:cNvPr>
              <p:cNvGrpSpPr/>
              <p:nvPr/>
            </p:nvGrpSpPr>
            <p:grpSpPr>
              <a:xfrm>
                <a:off x="7906926" y="2741452"/>
                <a:ext cx="238813" cy="106787"/>
                <a:chOff x="7906926" y="2741452"/>
                <a:chExt cx="238813" cy="106787"/>
              </a:xfrm>
              <a:solidFill>
                <a:schemeClr val="accent1"/>
              </a:solidFill>
            </p:grpSpPr>
            <p:sp>
              <p:nvSpPr>
                <p:cNvPr id="1153" name="Freihandform: Form 1152">
                  <a:extLst>
                    <a:ext uri="{FF2B5EF4-FFF2-40B4-BE49-F238E27FC236}">
                      <a16:creationId xmlns:a16="http://schemas.microsoft.com/office/drawing/2014/main" id="{904F67EC-D57C-4962-904B-2198532AD949}"/>
                    </a:ext>
                  </a:extLst>
                </p:cNvPr>
                <p:cNvSpPr/>
                <p:nvPr/>
              </p:nvSpPr>
              <p:spPr>
                <a:xfrm>
                  <a:off x="7906952" y="2834891"/>
                  <a:ext cx="132742" cy="13348"/>
                </a:xfrm>
                <a:custGeom>
                  <a:avLst/>
                  <a:gdLst>
                    <a:gd name="connsiteX0" fmla="*/ 126068 w 132742"/>
                    <a:gd name="connsiteY0" fmla="*/ 13348 h 13348"/>
                    <a:gd name="connsiteX1" fmla="*/ 6674 w 132742"/>
                    <a:gd name="connsiteY1" fmla="*/ 13348 h 13348"/>
                    <a:gd name="connsiteX2" fmla="*/ 0 w 132742"/>
                    <a:gd name="connsiteY2" fmla="*/ 6674 h 13348"/>
                    <a:gd name="connsiteX3" fmla="*/ 6674 w 132742"/>
                    <a:gd name="connsiteY3" fmla="*/ 0 h 13348"/>
                    <a:gd name="connsiteX4" fmla="*/ 126068 w 132742"/>
                    <a:gd name="connsiteY4" fmla="*/ 0 h 13348"/>
                    <a:gd name="connsiteX5" fmla="*/ 132742 w 132742"/>
                    <a:gd name="connsiteY5" fmla="*/ 6674 h 13348"/>
                    <a:gd name="connsiteX6" fmla="*/ 126068 w 132742"/>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742" h="13348">
                      <a:moveTo>
                        <a:pt x="126068" y="13348"/>
                      </a:moveTo>
                      <a:lnTo>
                        <a:pt x="6674" y="13348"/>
                      </a:lnTo>
                      <a:cubicBezTo>
                        <a:pt x="2992" y="13348"/>
                        <a:pt x="0" y="10356"/>
                        <a:pt x="0" y="6674"/>
                      </a:cubicBezTo>
                      <a:cubicBezTo>
                        <a:pt x="0" y="2992"/>
                        <a:pt x="2992" y="0"/>
                        <a:pt x="6674" y="0"/>
                      </a:cubicBezTo>
                      <a:lnTo>
                        <a:pt x="126068" y="0"/>
                      </a:lnTo>
                      <a:cubicBezTo>
                        <a:pt x="129751" y="0"/>
                        <a:pt x="132742" y="2992"/>
                        <a:pt x="132742" y="6674"/>
                      </a:cubicBezTo>
                      <a:cubicBezTo>
                        <a:pt x="132742" y="10356"/>
                        <a:pt x="129751" y="13348"/>
                        <a:pt x="126068" y="13348"/>
                      </a:cubicBezTo>
                      <a:close/>
                    </a:path>
                  </a:pathLst>
                </a:custGeom>
                <a:solidFill>
                  <a:schemeClr val="accent1"/>
                </a:solidFill>
                <a:ln w="2553" cap="flat">
                  <a:noFill/>
                  <a:prstDash val="solid"/>
                  <a:miter/>
                </a:ln>
              </p:spPr>
              <p:txBody>
                <a:bodyPr rtlCol="0" anchor="ctr"/>
                <a:lstStyle/>
                <a:p>
                  <a:endParaRPr lang="en-GB" dirty="0"/>
                </a:p>
              </p:txBody>
            </p:sp>
            <p:sp>
              <p:nvSpPr>
                <p:cNvPr id="1154" name="Freihandform: Form 1153">
                  <a:extLst>
                    <a:ext uri="{FF2B5EF4-FFF2-40B4-BE49-F238E27FC236}">
                      <a16:creationId xmlns:a16="http://schemas.microsoft.com/office/drawing/2014/main" id="{45E8539D-8320-4258-B082-598D7D2B695A}"/>
                    </a:ext>
                  </a:extLst>
                </p:cNvPr>
                <p:cNvSpPr/>
                <p:nvPr/>
              </p:nvSpPr>
              <p:spPr>
                <a:xfrm>
                  <a:off x="7906926" y="2788172"/>
                  <a:ext cx="238813" cy="13348"/>
                </a:xfrm>
                <a:custGeom>
                  <a:avLst/>
                  <a:gdLst>
                    <a:gd name="connsiteX0" fmla="*/ 232139 w 238813"/>
                    <a:gd name="connsiteY0" fmla="*/ 13348 h 13348"/>
                    <a:gd name="connsiteX1" fmla="*/ 6674 w 238813"/>
                    <a:gd name="connsiteY1" fmla="*/ 13348 h 13348"/>
                    <a:gd name="connsiteX2" fmla="*/ 0 w 238813"/>
                    <a:gd name="connsiteY2" fmla="*/ 6674 h 13348"/>
                    <a:gd name="connsiteX3" fmla="*/ 6674 w 238813"/>
                    <a:gd name="connsiteY3" fmla="*/ 0 h 13348"/>
                    <a:gd name="connsiteX4" fmla="*/ 232139 w 238813"/>
                    <a:gd name="connsiteY4" fmla="*/ 0 h 13348"/>
                    <a:gd name="connsiteX5" fmla="*/ 238814 w 238813"/>
                    <a:gd name="connsiteY5" fmla="*/ 6674 h 13348"/>
                    <a:gd name="connsiteX6" fmla="*/ 232139 w 238813"/>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813" h="13348">
                      <a:moveTo>
                        <a:pt x="232139" y="13348"/>
                      </a:moveTo>
                      <a:lnTo>
                        <a:pt x="6674" y="13348"/>
                      </a:lnTo>
                      <a:cubicBezTo>
                        <a:pt x="2992" y="13348"/>
                        <a:pt x="0" y="10357"/>
                        <a:pt x="0" y="6674"/>
                      </a:cubicBezTo>
                      <a:cubicBezTo>
                        <a:pt x="0" y="2992"/>
                        <a:pt x="2992" y="0"/>
                        <a:pt x="6674" y="0"/>
                      </a:cubicBezTo>
                      <a:lnTo>
                        <a:pt x="232139" y="0"/>
                      </a:lnTo>
                      <a:cubicBezTo>
                        <a:pt x="235822" y="0"/>
                        <a:pt x="238814" y="2992"/>
                        <a:pt x="238814" y="6674"/>
                      </a:cubicBezTo>
                      <a:cubicBezTo>
                        <a:pt x="238814" y="10357"/>
                        <a:pt x="235822" y="13348"/>
                        <a:pt x="232139" y="13348"/>
                      </a:cubicBezTo>
                      <a:close/>
                    </a:path>
                  </a:pathLst>
                </a:custGeom>
                <a:solidFill>
                  <a:schemeClr val="accent1"/>
                </a:solidFill>
                <a:ln w="2553" cap="flat">
                  <a:noFill/>
                  <a:prstDash val="solid"/>
                  <a:miter/>
                </a:ln>
              </p:spPr>
              <p:txBody>
                <a:bodyPr rtlCol="0" anchor="ctr"/>
                <a:lstStyle/>
                <a:p>
                  <a:endParaRPr lang="en-GB" dirty="0"/>
                </a:p>
              </p:txBody>
            </p:sp>
            <p:sp>
              <p:nvSpPr>
                <p:cNvPr id="1155" name="Freihandform: Form 1154">
                  <a:extLst>
                    <a:ext uri="{FF2B5EF4-FFF2-40B4-BE49-F238E27FC236}">
                      <a16:creationId xmlns:a16="http://schemas.microsoft.com/office/drawing/2014/main" id="{70B61CC7-A9C5-465C-BEFF-6F0B46A43DB6}"/>
                    </a:ext>
                  </a:extLst>
                </p:cNvPr>
                <p:cNvSpPr/>
                <p:nvPr/>
              </p:nvSpPr>
              <p:spPr>
                <a:xfrm>
                  <a:off x="7906926" y="2741452"/>
                  <a:ext cx="238813" cy="13348"/>
                </a:xfrm>
                <a:custGeom>
                  <a:avLst/>
                  <a:gdLst>
                    <a:gd name="connsiteX0" fmla="*/ 232139 w 238813"/>
                    <a:gd name="connsiteY0" fmla="*/ 13348 h 13348"/>
                    <a:gd name="connsiteX1" fmla="*/ 6674 w 238813"/>
                    <a:gd name="connsiteY1" fmla="*/ 13348 h 13348"/>
                    <a:gd name="connsiteX2" fmla="*/ 0 w 238813"/>
                    <a:gd name="connsiteY2" fmla="*/ 6674 h 13348"/>
                    <a:gd name="connsiteX3" fmla="*/ 6674 w 238813"/>
                    <a:gd name="connsiteY3" fmla="*/ 0 h 13348"/>
                    <a:gd name="connsiteX4" fmla="*/ 232139 w 238813"/>
                    <a:gd name="connsiteY4" fmla="*/ 0 h 13348"/>
                    <a:gd name="connsiteX5" fmla="*/ 238814 w 238813"/>
                    <a:gd name="connsiteY5" fmla="*/ 6674 h 13348"/>
                    <a:gd name="connsiteX6" fmla="*/ 232139 w 238813"/>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813" h="13348">
                      <a:moveTo>
                        <a:pt x="232139" y="13348"/>
                      </a:moveTo>
                      <a:lnTo>
                        <a:pt x="6674" y="13348"/>
                      </a:lnTo>
                      <a:cubicBezTo>
                        <a:pt x="2992" y="13348"/>
                        <a:pt x="0" y="10356"/>
                        <a:pt x="0" y="6674"/>
                      </a:cubicBezTo>
                      <a:cubicBezTo>
                        <a:pt x="0" y="2992"/>
                        <a:pt x="2992" y="0"/>
                        <a:pt x="6674" y="0"/>
                      </a:cubicBezTo>
                      <a:lnTo>
                        <a:pt x="232139" y="0"/>
                      </a:lnTo>
                      <a:cubicBezTo>
                        <a:pt x="235822" y="0"/>
                        <a:pt x="238814" y="2992"/>
                        <a:pt x="238814" y="6674"/>
                      </a:cubicBezTo>
                      <a:cubicBezTo>
                        <a:pt x="238814" y="10356"/>
                        <a:pt x="235822" y="13348"/>
                        <a:pt x="232139" y="13348"/>
                      </a:cubicBezTo>
                      <a:close/>
                    </a:path>
                  </a:pathLst>
                </a:custGeom>
                <a:solidFill>
                  <a:schemeClr val="accent1"/>
                </a:solidFill>
                <a:ln w="2553" cap="flat">
                  <a:noFill/>
                  <a:prstDash val="solid"/>
                  <a:miter/>
                </a:ln>
              </p:spPr>
              <p:txBody>
                <a:bodyPr rtlCol="0" anchor="ctr"/>
                <a:lstStyle/>
                <a:p>
                  <a:endParaRPr lang="en-GB" dirty="0"/>
                </a:p>
              </p:txBody>
            </p:sp>
          </p:grpSp>
          <p:sp>
            <p:nvSpPr>
              <p:cNvPr id="1152" name="Freihandform: Form 1151">
                <a:extLst>
                  <a:ext uri="{FF2B5EF4-FFF2-40B4-BE49-F238E27FC236}">
                    <a16:creationId xmlns:a16="http://schemas.microsoft.com/office/drawing/2014/main" id="{F904068A-36F4-4419-8E1E-3918741B12DD}"/>
                  </a:ext>
                </a:extLst>
              </p:cNvPr>
              <p:cNvSpPr/>
              <p:nvPr/>
            </p:nvSpPr>
            <p:spPr>
              <a:xfrm>
                <a:off x="7979601" y="2611202"/>
                <a:ext cx="96891" cy="96879"/>
              </a:xfrm>
              <a:custGeom>
                <a:avLst/>
                <a:gdLst>
                  <a:gd name="connsiteX0" fmla="*/ 14704 w 96891"/>
                  <a:gd name="connsiteY0" fmla="*/ 96880 h 96879"/>
                  <a:gd name="connsiteX1" fmla="*/ 6981 w 96891"/>
                  <a:gd name="connsiteY1" fmla="*/ 94680 h 96879"/>
                  <a:gd name="connsiteX2" fmla="*/ 0 w 96891"/>
                  <a:gd name="connsiteY2" fmla="*/ 82176 h 96879"/>
                  <a:gd name="connsiteX3" fmla="*/ 0 w 96891"/>
                  <a:gd name="connsiteY3" fmla="*/ 14718 h 96879"/>
                  <a:gd name="connsiteX4" fmla="*/ 6981 w 96891"/>
                  <a:gd name="connsiteY4" fmla="*/ 2213 h 96879"/>
                  <a:gd name="connsiteX5" fmla="*/ 21301 w 96891"/>
                  <a:gd name="connsiteY5" fmla="*/ 1574 h 96879"/>
                  <a:gd name="connsiteX6" fmla="*/ 88759 w 96891"/>
                  <a:gd name="connsiteY6" fmla="*/ 35303 h 96879"/>
                  <a:gd name="connsiteX7" fmla="*/ 96891 w 96891"/>
                  <a:gd name="connsiteY7" fmla="*/ 48447 h 96879"/>
                  <a:gd name="connsiteX8" fmla="*/ 88759 w 96891"/>
                  <a:gd name="connsiteY8" fmla="*/ 61591 h 96879"/>
                  <a:gd name="connsiteX9" fmla="*/ 21301 w 96891"/>
                  <a:gd name="connsiteY9" fmla="*/ 95320 h 96879"/>
                  <a:gd name="connsiteX10" fmla="*/ 14704 w 96891"/>
                  <a:gd name="connsiteY10" fmla="*/ 96880 h 96879"/>
                  <a:gd name="connsiteX11" fmla="*/ 14704 w 96891"/>
                  <a:gd name="connsiteY11" fmla="*/ 13311 h 96879"/>
                  <a:gd name="connsiteX12" fmla="*/ 13988 w 96891"/>
                  <a:gd name="connsiteY12" fmla="*/ 13516 h 96879"/>
                  <a:gd name="connsiteX13" fmla="*/ 13348 w 96891"/>
                  <a:gd name="connsiteY13" fmla="*/ 14667 h 96879"/>
                  <a:gd name="connsiteX14" fmla="*/ 13348 w 96891"/>
                  <a:gd name="connsiteY14" fmla="*/ 82125 h 96879"/>
                  <a:gd name="connsiteX15" fmla="*/ 13988 w 96891"/>
                  <a:gd name="connsiteY15" fmla="*/ 83276 h 96879"/>
                  <a:gd name="connsiteX16" fmla="*/ 15292 w 96891"/>
                  <a:gd name="connsiteY16" fmla="*/ 83327 h 96879"/>
                  <a:gd name="connsiteX17" fmla="*/ 82750 w 96891"/>
                  <a:gd name="connsiteY17" fmla="*/ 49598 h 96879"/>
                  <a:gd name="connsiteX18" fmla="*/ 83492 w 96891"/>
                  <a:gd name="connsiteY18" fmla="*/ 48396 h 96879"/>
                  <a:gd name="connsiteX19" fmla="*/ 82750 w 96891"/>
                  <a:gd name="connsiteY19" fmla="*/ 47194 h 96879"/>
                  <a:gd name="connsiteX20" fmla="*/ 15292 w 96891"/>
                  <a:gd name="connsiteY20" fmla="*/ 13465 h 96879"/>
                  <a:gd name="connsiteX21" fmla="*/ 14704 w 96891"/>
                  <a:gd name="connsiteY21" fmla="*/ 13311 h 96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891" h="96879">
                    <a:moveTo>
                      <a:pt x="14704" y="96880"/>
                    </a:moveTo>
                    <a:cubicBezTo>
                      <a:pt x="12019" y="96880"/>
                      <a:pt x="9359" y="96138"/>
                      <a:pt x="6981" y="94680"/>
                    </a:cubicBezTo>
                    <a:cubicBezTo>
                      <a:pt x="2608" y="91970"/>
                      <a:pt x="0" y="87316"/>
                      <a:pt x="0" y="82176"/>
                    </a:cubicBezTo>
                    <a:lnTo>
                      <a:pt x="0" y="14718"/>
                    </a:lnTo>
                    <a:cubicBezTo>
                      <a:pt x="0" y="9578"/>
                      <a:pt x="2608" y="4898"/>
                      <a:pt x="6981" y="2213"/>
                    </a:cubicBezTo>
                    <a:cubicBezTo>
                      <a:pt x="11354" y="-497"/>
                      <a:pt x="16698" y="-727"/>
                      <a:pt x="21301" y="1574"/>
                    </a:cubicBezTo>
                    <a:lnTo>
                      <a:pt x="88759" y="35303"/>
                    </a:lnTo>
                    <a:cubicBezTo>
                      <a:pt x="93771" y="37809"/>
                      <a:pt x="96891" y="42847"/>
                      <a:pt x="96891" y="48447"/>
                    </a:cubicBezTo>
                    <a:cubicBezTo>
                      <a:pt x="96891" y="54047"/>
                      <a:pt x="93771" y="59085"/>
                      <a:pt x="88759" y="61591"/>
                    </a:cubicBezTo>
                    <a:lnTo>
                      <a:pt x="21301" y="95320"/>
                    </a:lnTo>
                    <a:cubicBezTo>
                      <a:pt x="19204" y="96343"/>
                      <a:pt x="16954" y="96880"/>
                      <a:pt x="14704" y="96880"/>
                    </a:cubicBezTo>
                    <a:close/>
                    <a:moveTo>
                      <a:pt x="14704" y="13311"/>
                    </a:moveTo>
                    <a:cubicBezTo>
                      <a:pt x="14422" y="13311"/>
                      <a:pt x="14167" y="13414"/>
                      <a:pt x="13988" y="13516"/>
                    </a:cubicBezTo>
                    <a:cubicBezTo>
                      <a:pt x="13706" y="13695"/>
                      <a:pt x="13348" y="14053"/>
                      <a:pt x="13348" y="14667"/>
                    </a:cubicBezTo>
                    <a:lnTo>
                      <a:pt x="13348" y="82125"/>
                    </a:lnTo>
                    <a:cubicBezTo>
                      <a:pt x="13348" y="82738"/>
                      <a:pt x="13706" y="83097"/>
                      <a:pt x="13988" y="83276"/>
                    </a:cubicBezTo>
                    <a:cubicBezTo>
                      <a:pt x="14269" y="83454"/>
                      <a:pt x="14755" y="83633"/>
                      <a:pt x="15292" y="83327"/>
                    </a:cubicBezTo>
                    <a:lnTo>
                      <a:pt x="82750" y="49598"/>
                    </a:lnTo>
                    <a:cubicBezTo>
                      <a:pt x="83236" y="49342"/>
                      <a:pt x="83492" y="48933"/>
                      <a:pt x="83492" y="48396"/>
                    </a:cubicBezTo>
                    <a:cubicBezTo>
                      <a:pt x="83492" y="47859"/>
                      <a:pt x="83236" y="47424"/>
                      <a:pt x="82750" y="47194"/>
                    </a:cubicBezTo>
                    <a:lnTo>
                      <a:pt x="15292" y="13465"/>
                    </a:lnTo>
                    <a:cubicBezTo>
                      <a:pt x="15113" y="13363"/>
                      <a:pt x="14908" y="13311"/>
                      <a:pt x="14704" y="13311"/>
                    </a:cubicBezTo>
                    <a:close/>
                  </a:path>
                </a:pathLst>
              </a:custGeom>
              <a:solidFill>
                <a:schemeClr val="accent1"/>
              </a:solidFill>
              <a:ln w="2553" cap="flat">
                <a:noFill/>
                <a:prstDash val="solid"/>
                <a:miter/>
              </a:ln>
            </p:spPr>
            <p:txBody>
              <a:bodyPr rtlCol="0" anchor="ctr"/>
              <a:lstStyle/>
              <a:p>
                <a:endParaRPr lang="en-GB" dirty="0"/>
              </a:p>
            </p:txBody>
          </p:sp>
        </p:grpSp>
        <p:grpSp>
          <p:nvGrpSpPr>
            <p:cNvPr id="1147" name="Gruppieren 1146">
              <a:extLst>
                <a:ext uri="{FF2B5EF4-FFF2-40B4-BE49-F238E27FC236}">
                  <a16:creationId xmlns:a16="http://schemas.microsoft.com/office/drawing/2014/main" id="{B21E5A97-7A7E-4680-B359-94FC253E8C65}"/>
                </a:ext>
              </a:extLst>
            </p:cNvPr>
            <p:cNvGrpSpPr/>
            <p:nvPr/>
          </p:nvGrpSpPr>
          <p:grpSpPr>
            <a:xfrm>
              <a:off x="8126256" y="2449341"/>
              <a:ext cx="432000" cy="432000"/>
              <a:chOff x="7859465" y="2474458"/>
              <a:chExt cx="440523" cy="440523"/>
            </a:xfrm>
          </p:grpSpPr>
          <p:sp>
            <p:nvSpPr>
              <p:cNvPr id="1148" name="Freihandform: Form 1147">
                <a:extLst>
                  <a:ext uri="{FF2B5EF4-FFF2-40B4-BE49-F238E27FC236}">
                    <a16:creationId xmlns:a16="http://schemas.microsoft.com/office/drawing/2014/main" id="{C8672F10-3E06-47A0-97DC-26D6F4CCC86F}"/>
                  </a:ext>
                </a:extLst>
              </p:cNvPr>
              <p:cNvSpPr/>
              <p:nvPr/>
            </p:nvSpPr>
            <p:spPr>
              <a:xfrm>
                <a:off x="7859465" y="2474458"/>
                <a:ext cx="440523" cy="440523"/>
              </a:xfrm>
              <a:custGeom>
                <a:avLst/>
                <a:gdLst>
                  <a:gd name="connsiteX0" fmla="*/ 381938 w 440523"/>
                  <a:gd name="connsiteY0" fmla="*/ 440523 h 440523"/>
                  <a:gd name="connsiteX1" fmla="*/ 60068 w 440523"/>
                  <a:gd name="connsiteY1" fmla="*/ 440523 h 440523"/>
                  <a:gd name="connsiteX2" fmla="*/ 0 w 440523"/>
                  <a:gd name="connsiteY2" fmla="*/ 379765 h 440523"/>
                  <a:gd name="connsiteX3" fmla="*/ 0 w 440523"/>
                  <a:gd name="connsiteY3" fmla="*/ 40045 h 440523"/>
                  <a:gd name="connsiteX4" fmla="*/ 40045 w 440523"/>
                  <a:gd name="connsiteY4" fmla="*/ 0 h 440523"/>
                  <a:gd name="connsiteX5" fmla="*/ 293691 w 440523"/>
                  <a:gd name="connsiteY5" fmla="*/ 0 h 440523"/>
                  <a:gd name="connsiteX6" fmla="*/ 333736 w 440523"/>
                  <a:gd name="connsiteY6" fmla="*/ 40045 h 440523"/>
                  <a:gd name="connsiteX7" fmla="*/ 333736 w 440523"/>
                  <a:gd name="connsiteY7" fmla="*/ 379790 h 440523"/>
                  <a:gd name="connsiteX8" fmla="*/ 380455 w 440523"/>
                  <a:gd name="connsiteY8" fmla="*/ 427200 h 440523"/>
                  <a:gd name="connsiteX9" fmla="*/ 427175 w 440523"/>
                  <a:gd name="connsiteY9" fmla="*/ 379790 h 440523"/>
                  <a:gd name="connsiteX10" fmla="*/ 427175 w 440523"/>
                  <a:gd name="connsiteY10" fmla="*/ 240297 h 440523"/>
                  <a:gd name="connsiteX11" fmla="*/ 411602 w 440523"/>
                  <a:gd name="connsiteY11" fmla="*/ 240297 h 440523"/>
                  <a:gd name="connsiteX12" fmla="*/ 404927 w 440523"/>
                  <a:gd name="connsiteY12" fmla="*/ 233623 h 440523"/>
                  <a:gd name="connsiteX13" fmla="*/ 411602 w 440523"/>
                  <a:gd name="connsiteY13" fmla="*/ 226949 h 440523"/>
                  <a:gd name="connsiteX14" fmla="*/ 433849 w 440523"/>
                  <a:gd name="connsiteY14" fmla="*/ 226949 h 440523"/>
                  <a:gd name="connsiteX15" fmla="*/ 440523 w 440523"/>
                  <a:gd name="connsiteY15" fmla="*/ 233623 h 440523"/>
                  <a:gd name="connsiteX16" fmla="*/ 440523 w 440523"/>
                  <a:gd name="connsiteY16" fmla="*/ 379790 h 440523"/>
                  <a:gd name="connsiteX17" fmla="*/ 382680 w 440523"/>
                  <a:gd name="connsiteY17" fmla="*/ 440498 h 440523"/>
                  <a:gd name="connsiteX18" fmla="*/ 381938 w 440523"/>
                  <a:gd name="connsiteY18" fmla="*/ 440523 h 440523"/>
                  <a:gd name="connsiteX19" fmla="*/ 40045 w 440523"/>
                  <a:gd name="connsiteY19" fmla="*/ 13348 h 440523"/>
                  <a:gd name="connsiteX20" fmla="*/ 13348 w 440523"/>
                  <a:gd name="connsiteY20" fmla="*/ 40045 h 440523"/>
                  <a:gd name="connsiteX21" fmla="*/ 13348 w 440523"/>
                  <a:gd name="connsiteY21" fmla="*/ 379790 h 440523"/>
                  <a:gd name="connsiteX22" fmla="*/ 60068 w 440523"/>
                  <a:gd name="connsiteY22" fmla="*/ 427200 h 440523"/>
                  <a:gd name="connsiteX23" fmla="*/ 342916 w 440523"/>
                  <a:gd name="connsiteY23" fmla="*/ 427200 h 440523"/>
                  <a:gd name="connsiteX24" fmla="*/ 320388 w 440523"/>
                  <a:gd name="connsiteY24" fmla="*/ 379790 h 440523"/>
                  <a:gd name="connsiteX25" fmla="*/ 320388 w 440523"/>
                  <a:gd name="connsiteY25" fmla="*/ 40045 h 440523"/>
                  <a:gd name="connsiteX26" fmla="*/ 293691 w 440523"/>
                  <a:gd name="connsiteY26" fmla="*/ 13348 h 440523"/>
                  <a:gd name="connsiteX27" fmla="*/ 40045 w 440523"/>
                  <a:gd name="connsiteY27" fmla="*/ 13348 h 44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0523" h="440523">
                    <a:moveTo>
                      <a:pt x="381938" y="440523"/>
                    </a:moveTo>
                    <a:lnTo>
                      <a:pt x="60068" y="440523"/>
                    </a:lnTo>
                    <a:cubicBezTo>
                      <a:pt x="26953" y="440523"/>
                      <a:pt x="0" y="413264"/>
                      <a:pt x="0" y="379765"/>
                    </a:cubicBezTo>
                    <a:lnTo>
                      <a:pt x="0" y="40045"/>
                    </a:lnTo>
                    <a:cubicBezTo>
                      <a:pt x="0" y="17951"/>
                      <a:pt x="17977" y="0"/>
                      <a:pt x="40045" y="0"/>
                    </a:cubicBezTo>
                    <a:lnTo>
                      <a:pt x="293691" y="0"/>
                    </a:lnTo>
                    <a:cubicBezTo>
                      <a:pt x="315785" y="0"/>
                      <a:pt x="333736" y="17977"/>
                      <a:pt x="333736" y="40045"/>
                    </a:cubicBezTo>
                    <a:lnTo>
                      <a:pt x="333736" y="379790"/>
                    </a:lnTo>
                    <a:cubicBezTo>
                      <a:pt x="333736" y="405925"/>
                      <a:pt x="354705" y="427200"/>
                      <a:pt x="380455" y="427200"/>
                    </a:cubicBezTo>
                    <a:cubicBezTo>
                      <a:pt x="406206" y="427200"/>
                      <a:pt x="427175" y="405950"/>
                      <a:pt x="427175" y="379790"/>
                    </a:cubicBezTo>
                    <a:lnTo>
                      <a:pt x="427175" y="240297"/>
                    </a:lnTo>
                    <a:lnTo>
                      <a:pt x="411602" y="240297"/>
                    </a:lnTo>
                    <a:cubicBezTo>
                      <a:pt x="407919" y="240297"/>
                      <a:pt x="404927" y="237305"/>
                      <a:pt x="404927" y="233623"/>
                    </a:cubicBezTo>
                    <a:cubicBezTo>
                      <a:pt x="404927" y="229941"/>
                      <a:pt x="407919" y="226949"/>
                      <a:pt x="411602" y="226949"/>
                    </a:cubicBezTo>
                    <a:lnTo>
                      <a:pt x="433849" y="226949"/>
                    </a:lnTo>
                    <a:cubicBezTo>
                      <a:pt x="437531" y="226949"/>
                      <a:pt x="440523" y="229941"/>
                      <a:pt x="440523" y="233623"/>
                    </a:cubicBezTo>
                    <a:lnTo>
                      <a:pt x="440523" y="379790"/>
                    </a:lnTo>
                    <a:cubicBezTo>
                      <a:pt x="440523" y="412522"/>
                      <a:pt x="414772" y="439296"/>
                      <a:pt x="382680" y="440498"/>
                    </a:cubicBezTo>
                    <a:cubicBezTo>
                      <a:pt x="382450" y="440523"/>
                      <a:pt x="382194" y="440523"/>
                      <a:pt x="381938" y="440523"/>
                    </a:cubicBezTo>
                    <a:close/>
                    <a:moveTo>
                      <a:pt x="40045" y="13348"/>
                    </a:moveTo>
                    <a:cubicBezTo>
                      <a:pt x="25316" y="13348"/>
                      <a:pt x="13348" y="25316"/>
                      <a:pt x="13348" y="40045"/>
                    </a:cubicBezTo>
                    <a:lnTo>
                      <a:pt x="13348" y="379790"/>
                    </a:lnTo>
                    <a:cubicBezTo>
                      <a:pt x="13348" y="405925"/>
                      <a:pt x="34317" y="427200"/>
                      <a:pt x="60068" y="427200"/>
                    </a:cubicBezTo>
                    <a:lnTo>
                      <a:pt x="342916" y="427200"/>
                    </a:lnTo>
                    <a:cubicBezTo>
                      <a:pt x="329184" y="416051"/>
                      <a:pt x="320388" y="398944"/>
                      <a:pt x="320388" y="379790"/>
                    </a:cubicBezTo>
                    <a:lnTo>
                      <a:pt x="320388" y="40045"/>
                    </a:lnTo>
                    <a:cubicBezTo>
                      <a:pt x="320388" y="25316"/>
                      <a:pt x="308420" y="13348"/>
                      <a:pt x="293691" y="13348"/>
                    </a:cubicBezTo>
                    <a:lnTo>
                      <a:pt x="40045" y="13348"/>
                    </a:lnTo>
                    <a:close/>
                  </a:path>
                </a:pathLst>
              </a:custGeom>
              <a:solidFill>
                <a:schemeClr val="tx2"/>
              </a:solidFill>
              <a:ln w="2553" cap="flat">
                <a:noFill/>
                <a:prstDash val="solid"/>
                <a:miter/>
              </a:ln>
            </p:spPr>
            <p:txBody>
              <a:bodyPr rtlCol="0" anchor="ctr"/>
              <a:lstStyle/>
              <a:p>
                <a:endParaRPr lang="en-GB" dirty="0"/>
              </a:p>
            </p:txBody>
          </p:sp>
          <p:sp>
            <p:nvSpPr>
              <p:cNvPr id="1149" name="Freihandform: Form 1148">
                <a:extLst>
                  <a:ext uri="{FF2B5EF4-FFF2-40B4-BE49-F238E27FC236}">
                    <a16:creationId xmlns:a16="http://schemas.microsoft.com/office/drawing/2014/main" id="{605F9236-EC56-47D5-9208-54693555BB83}"/>
                  </a:ext>
                </a:extLst>
              </p:cNvPr>
              <p:cNvSpPr/>
              <p:nvPr/>
            </p:nvSpPr>
            <p:spPr>
              <a:xfrm>
                <a:off x="8210999" y="2594645"/>
                <a:ext cx="35595" cy="266277"/>
              </a:xfrm>
              <a:custGeom>
                <a:avLst/>
                <a:gdLst>
                  <a:gd name="connsiteX0" fmla="*/ 28922 w 35595"/>
                  <a:gd name="connsiteY0" fmla="*/ 266278 h 266277"/>
                  <a:gd name="connsiteX1" fmla="*/ 22248 w 35595"/>
                  <a:gd name="connsiteY1" fmla="*/ 259604 h 266277"/>
                  <a:gd name="connsiteX2" fmla="*/ 22248 w 35595"/>
                  <a:gd name="connsiteY2" fmla="*/ 13348 h 266277"/>
                  <a:gd name="connsiteX3" fmla="*/ 6674 w 35595"/>
                  <a:gd name="connsiteY3" fmla="*/ 13348 h 266277"/>
                  <a:gd name="connsiteX4" fmla="*/ 0 w 35595"/>
                  <a:gd name="connsiteY4" fmla="*/ 6674 h 266277"/>
                  <a:gd name="connsiteX5" fmla="*/ 6674 w 35595"/>
                  <a:gd name="connsiteY5" fmla="*/ 0 h 266277"/>
                  <a:gd name="connsiteX6" fmla="*/ 28922 w 35595"/>
                  <a:gd name="connsiteY6" fmla="*/ 0 h 266277"/>
                  <a:gd name="connsiteX7" fmla="*/ 35596 w 35595"/>
                  <a:gd name="connsiteY7" fmla="*/ 6674 h 266277"/>
                  <a:gd name="connsiteX8" fmla="*/ 35596 w 35595"/>
                  <a:gd name="connsiteY8" fmla="*/ 259604 h 266277"/>
                  <a:gd name="connsiteX9" fmla="*/ 28922 w 35595"/>
                  <a:gd name="connsiteY9" fmla="*/ 266278 h 26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95" h="266277">
                    <a:moveTo>
                      <a:pt x="28922" y="266278"/>
                    </a:moveTo>
                    <a:cubicBezTo>
                      <a:pt x="25239" y="266278"/>
                      <a:pt x="22248" y="263286"/>
                      <a:pt x="22248" y="259604"/>
                    </a:cubicBezTo>
                    <a:lnTo>
                      <a:pt x="22248" y="13348"/>
                    </a:lnTo>
                    <a:lnTo>
                      <a:pt x="6674" y="13348"/>
                    </a:lnTo>
                    <a:cubicBezTo>
                      <a:pt x="2992" y="13348"/>
                      <a:pt x="0" y="10356"/>
                      <a:pt x="0" y="6674"/>
                    </a:cubicBezTo>
                    <a:cubicBezTo>
                      <a:pt x="0" y="2992"/>
                      <a:pt x="2992" y="0"/>
                      <a:pt x="6674" y="0"/>
                    </a:cubicBezTo>
                    <a:lnTo>
                      <a:pt x="28922" y="0"/>
                    </a:lnTo>
                    <a:cubicBezTo>
                      <a:pt x="32604" y="0"/>
                      <a:pt x="35596" y="2992"/>
                      <a:pt x="35596" y="6674"/>
                    </a:cubicBezTo>
                    <a:lnTo>
                      <a:pt x="35596" y="259604"/>
                    </a:lnTo>
                    <a:cubicBezTo>
                      <a:pt x="35596" y="263286"/>
                      <a:pt x="32629" y="266278"/>
                      <a:pt x="28922" y="266278"/>
                    </a:cubicBezTo>
                    <a:close/>
                  </a:path>
                </a:pathLst>
              </a:custGeom>
              <a:solidFill>
                <a:schemeClr val="tx2"/>
              </a:solidFill>
              <a:ln w="2553" cap="flat">
                <a:noFill/>
                <a:prstDash val="solid"/>
                <a:miter/>
              </a:ln>
            </p:spPr>
            <p:txBody>
              <a:bodyPr rtlCol="0" anchor="ctr"/>
              <a:lstStyle/>
              <a:p>
                <a:endParaRPr lang="en-GB" dirty="0"/>
              </a:p>
            </p:txBody>
          </p:sp>
          <p:sp>
            <p:nvSpPr>
              <p:cNvPr id="1150" name="Freihandform: Form 1149">
                <a:extLst>
                  <a:ext uri="{FF2B5EF4-FFF2-40B4-BE49-F238E27FC236}">
                    <a16:creationId xmlns:a16="http://schemas.microsoft.com/office/drawing/2014/main" id="{5C388A09-FA4D-4B0B-BC71-3FDB37AA8ED0}"/>
                  </a:ext>
                </a:extLst>
              </p:cNvPr>
              <p:cNvSpPr/>
              <p:nvPr/>
            </p:nvSpPr>
            <p:spPr>
              <a:xfrm>
                <a:off x="7859465" y="2521178"/>
                <a:ext cx="333735" cy="13348"/>
              </a:xfrm>
              <a:custGeom>
                <a:avLst/>
                <a:gdLst>
                  <a:gd name="connsiteX0" fmla="*/ 327062 w 333735"/>
                  <a:gd name="connsiteY0" fmla="*/ 13348 h 13348"/>
                  <a:gd name="connsiteX1" fmla="*/ 6674 w 333735"/>
                  <a:gd name="connsiteY1" fmla="*/ 13348 h 13348"/>
                  <a:gd name="connsiteX2" fmla="*/ 0 w 333735"/>
                  <a:gd name="connsiteY2" fmla="*/ 6674 h 13348"/>
                  <a:gd name="connsiteX3" fmla="*/ 6674 w 333735"/>
                  <a:gd name="connsiteY3" fmla="*/ 0 h 13348"/>
                  <a:gd name="connsiteX4" fmla="*/ 327062 w 333735"/>
                  <a:gd name="connsiteY4" fmla="*/ 0 h 13348"/>
                  <a:gd name="connsiteX5" fmla="*/ 333736 w 333735"/>
                  <a:gd name="connsiteY5" fmla="*/ 6674 h 13348"/>
                  <a:gd name="connsiteX6" fmla="*/ 327062 w 333735"/>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735" h="13348">
                    <a:moveTo>
                      <a:pt x="327062" y="13348"/>
                    </a:moveTo>
                    <a:lnTo>
                      <a:pt x="6674" y="13348"/>
                    </a:lnTo>
                    <a:cubicBezTo>
                      <a:pt x="2992" y="13348"/>
                      <a:pt x="0" y="10357"/>
                      <a:pt x="0" y="6674"/>
                    </a:cubicBezTo>
                    <a:cubicBezTo>
                      <a:pt x="0" y="2992"/>
                      <a:pt x="2992" y="0"/>
                      <a:pt x="6674" y="0"/>
                    </a:cubicBezTo>
                    <a:lnTo>
                      <a:pt x="327062" y="0"/>
                    </a:lnTo>
                    <a:cubicBezTo>
                      <a:pt x="330744" y="0"/>
                      <a:pt x="333736" y="2992"/>
                      <a:pt x="333736" y="6674"/>
                    </a:cubicBezTo>
                    <a:cubicBezTo>
                      <a:pt x="333736" y="10357"/>
                      <a:pt x="330744" y="13348"/>
                      <a:pt x="327062" y="13348"/>
                    </a:cubicBezTo>
                    <a:close/>
                  </a:path>
                </a:pathLst>
              </a:custGeom>
              <a:solidFill>
                <a:schemeClr val="tx2"/>
              </a:solidFill>
              <a:ln w="2553" cap="flat">
                <a:noFill/>
                <a:prstDash val="solid"/>
                <a:miter/>
              </a:ln>
            </p:spPr>
            <p:txBody>
              <a:bodyPr rtlCol="0" anchor="ctr"/>
              <a:lstStyle/>
              <a:p>
                <a:endParaRPr lang="en-GB" dirty="0"/>
              </a:p>
            </p:txBody>
          </p:sp>
        </p:grpSp>
      </p:grpSp>
      <p:sp>
        <p:nvSpPr>
          <p:cNvPr id="1156" name="TextBox 1418">
            <a:extLst>
              <a:ext uri="{FF2B5EF4-FFF2-40B4-BE49-F238E27FC236}">
                <a16:creationId xmlns:a16="http://schemas.microsoft.com/office/drawing/2014/main" id="{CC18DB4C-3228-48AC-953A-A3AA142E2C4E}"/>
              </a:ext>
            </a:extLst>
          </p:cNvPr>
          <p:cNvSpPr txBox="1"/>
          <p:nvPr/>
        </p:nvSpPr>
        <p:spPr>
          <a:xfrm>
            <a:off x="8131072" y="2899619"/>
            <a:ext cx="423193" cy="107722"/>
          </a:xfrm>
          <a:prstGeom prst="rect">
            <a:avLst/>
          </a:prstGeom>
          <a:noFill/>
          <a:effectLst/>
        </p:spPr>
        <p:txBody>
          <a:bodyPr wrap="none" lIns="0" tIns="0" rIns="0" bIns="0" rtlCol="0" anchor="t" anchorCtr="0">
            <a:spAutoFit/>
          </a:bodyPr>
          <a:lstStyle/>
          <a:p>
            <a:pPr algn="ctr"/>
            <a:r>
              <a:rPr lang="en-GB" sz="700" dirty="0">
                <a:solidFill>
                  <a:schemeClr val="tx2"/>
                </a:solidFill>
              </a:rPr>
              <a:t>News feed</a:t>
            </a:r>
          </a:p>
        </p:txBody>
      </p:sp>
      <p:grpSp>
        <p:nvGrpSpPr>
          <p:cNvPr id="55" name="Group 54">
            <a:extLst>
              <a:ext uri="{FF2B5EF4-FFF2-40B4-BE49-F238E27FC236}">
                <a16:creationId xmlns:a16="http://schemas.microsoft.com/office/drawing/2014/main" id="{6B5F2692-9427-696A-25EB-FBEE84EEDADA}"/>
              </a:ext>
            </a:extLst>
          </p:cNvPr>
          <p:cNvGrpSpPr/>
          <p:nvPr/>
        </p:nvGrpSpPr>
        <p:grpSpPr>
          <a:xfrm>
            <a:off x="5945556" y="2449341"/>
            <a:ext cx="626293" cy="432000"/>
            <a:chOff x="5945144" y="2449341"/>
            <a:chExt cx="626293" cy="432000"/>
          </a:xfrm>
        </p:grpSpPr>
        <p:grpSp>
          <p:nvGrpSpPr>
            <p:cNvPr id="1158" name="Grafik 313">
              <a:extLst>
                <a:ext uri="{FF2B5EF4-FFF2-40B4-BE49-F238E27FC236}">
                  <a16:creationId xmlns:a16="http://schemas.microsoft.com/office/drawing/2014/main" id="{915027A1-D540-4B0A-A26E-680BBA944131}"/>
                </a:ext>
              </a:extLst>
            </p:cNvPr>
            <p:cNvGrpSpPr/>
            <p:nvPr/>
          </p:nvGrpSpPr>
          <p:grpSpPr>
            <a:xfrm>
              <a:off x="5945144" y="2449341"/>
              <a:ext cx="401338" cy="384061"/>
              <a:chOff x="6144041" y="2558299"/>
              <a:chExt cx="300364" cy="287434"/>
            </a:xfrm>
            <a:solidFill>
              <a:schemeClr val="tx2"/>
            </a:solidFill>
          </p:grpSpPr>
          <p:sp>
            <p:nvSpPr>
              <p:cNvPr id="1164" name="Freihandform: Form 1163">
                <a:extLst>
                  <a:ext uri="{FF2B5EF4-FFF2-40B4-BE49-F238E27FC236}">
                    <a16:creationId xmlns:a16="http://schemas.microsoft.com/office/drawing/2014/main" id="{EB2BD900-5629-440C-AF15-E91F996E6363}"/>
                  </a:ext>
                </a:extLst>
              </p:cNvPr>
              <p:cNvSpPr/>
              <p:nvPr/>
            </p:nvSpPr>
            <p:spPr>
              <a:xfrm>
                <a:off x="6144041" y="2645073"/>
                <a:ext cx="13348" cy="93438"/>
              </a:xfrm>
              <a:custGeom>
                <a:avLst/>
                <a:gdLst>
                  <a:gd name="connsiteX0" fmla="*/ 6674 w 13348"/>
                  <a:gd name="connsiteY0" fmla="*/ 93439 h 93438"/>
                  <a:gd name="connsiteX1" fmla="*/ 0 w 13348"/>
                  <a:gd name="connsiteY1" fmla="*/ 86765 h 93438"/>
                  <a:gd name="connsiteX2" fmla="*/ 0 w 13348"/>
                  <a:gd name="connsiteY2" fmla="*/ 6674 h 93438"/>
                  <a:gd name="connsiteX3" fmla="*/ 6674 w 13348"/>
                  <a:gd name="connsiteY3" fmla="*/ 0 h 93438"/>
                  <a:gd name="connsiteX4" fmla="*/ 13348 w 13348"/>
                  <a:gd name="connsiteY4" fmla="*/ 6674 h 93438"/>
                  <a:gd name="connsiteX5" fmla="*/ 13348 w 13348"/>
                  <a:gd name="connsiteY5" fmla="*/ 86765 h 93438"/>
                  <a:gd name="connsiteX6" fmla="*/ 6674 w 13348"/>
                  <a:gd name="connsiteY6" fmla="*/ 93439 h 9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93438">
                    <a:moveTo>
                      <a:pt x="6674" y="93439"/>
                    </a:moveTo>
                    <a:cubicBezTo>
                      <a:pt x="2992" y="93439"/>
                      <a:pt x="0" y="90447"/>
                      <a:pt x="0" y="86765"/>
                    </a:cubicBezTo>
                    <a:lnTo>
                      <a:pt x="0" y="6674"/>
                    </a:lnTo>
                    <a:cubicBezTo>
                      <a:pt x="0" y="2992"/>
                      <a:pt x="2992" y="0"/>
                      <a:pt x="6674" y="0"/>
                    </a:cubicBezTo>
                    <a:cubicBezTo>
                      <a:pt x="10356" y="0"/>
                      <a:pt x="13348" y="2992"/>
                      <a:pt x="13348" y="6674"/>
                    </a:cubicBezTo>
                    <a:lnTo>
                      <a:pt x="13348" y="86765"/>
                    </a:lnTo>
                    <a:cubicBezTo>
                      <a:pt x="13348" y="90473"/>
                      <a:pt x="10382" y="93439"/>
                      <a:pt x="6674" y="93439"/>
                    </a:cubicBezTo>
                    <a:close/>
                  </a:path>
                </a:pathLst>
              </a:custGeom>
              <a:grpFill/>
              <a:ln w="2553" cap="flat">
                <a:noFill/>
                <a:prstDash val="solid"/>
                <a:miter/>
              </a:ln>
            </p:spPr>
            <p:txBody>
              <a:bodyPr rtlCol="0" anchor="ctr"/>
              <a:lstStyle/>
              <a:p>
                <a:endParaRPr lang="en-GB" dirty="0"/>
              </a:p>
            </p:txBody>
          </p:sp>
          <p:sp>
            <p:nvSpPr>
              <p:cNvPr id="1165" name="Freihandform: Form 1164">
                <a:extLst>
                  <a:ext uri="{FF2B5EF4-FFF2-40B4-BE49-F238E27FC236}">
                    <a16:creationId xmlns:a16="http://schemas.microsoft.com/office/drawing/2014/main" id="{5323C101-4F13-429D-869A-04C89C10974D}"/>
                  </a:ext>
                </a:extLst>
              </p:cNvPr>
              <p:cNvSpPr/>
              <p:nvPr/>
            </p:nvSpPr>
            <p:spPr>
              <a:xfrm>
                <a:off x="6170763" y="2625050"/>
                <a:ext cx="100113" cy="133509"/>
              </a:xfrm>
              <a:custGeom>
                <a:avLst/>
                <a:gdLst>
                  <a:gd name="connsiteX0" fmla="*/ 93439 w 100113"/>
                  <a:gd name="connsiteY0" fmla="*/ 133510 h 133509"/>
                  <a:gd name="connsiteX1" fmla="*/ 6674 w 100113"/>
                  <a:gd name="connsiteY1" fmla="*/ 133510 h 133509"/>
                  <a:gd name="connsiteX2" fmla="*/ 0 w 100113"/>
                  <a:gd name="connsiteY2" fmla="*/ 126835 h 133509"/>
                  <a:gd name="connsiteX3" fmla="*/ 0 w 100113"/>
                  <a:gd name="connsiteY3" fmla="*/ 6674 h 133509"/>
                  <a:gd name="connsiteX4" fmla="*/ 6674 w 100113"/>
                  <a:gd name="connsiteY4" fmla="*/ 0 h 133509"/>
                  <a:gd name="connsiteX5" fmla="*/ 93439 w 100113"/>
                  <a:gd name="connsiteY5" fmla="*/ 0 h 133509"/>
                  <a:gd name="connsiteX6" fmla="*/ 100113 w 100113"/>
                  <a:gd name="connsiteY6" fmla="*/ 6674 h 133509"/>
                  <a:gd name="connsiteX7" fmla="*/ 100113 w 100113"/>
                  <a:gd name="connsiteY7" fmla="*/ 126810 h 133509"/>
                  <a:gd name="connsiteX8" fmla="*/ 93439 w 100113"/>
                  <a:gd name="connsiteY8" fmla="*/ 133510 h 133509"/>
                  <a:gd name="connsiteX9" fmla="*/ 13348 w 100113"/>
                  <a:gd name="connsiteY9" fmla="*/ 120161 h 133509"/>
                  <a:gd name="connsiteX10" fmla="*/ 86765 w 100113"/>
                  <a:gd name="connsiteY10" fmla="*/ 120161 h 133509"/>
                  <a:gd name="connsiteX11" fmla="*/ 86765 w 100113"/>
                  <a:gd name="connsiteY11" fmla="*/ 13374 h 133509"/>
                  <a:gd name="connsiteX12" fmla="*/ 13348 w 100113"/>
                  <a:gd name="connsiteY12" fmla="*/ 13374 h 133509"/>
                  <a:gd name="connsiteX13" fmla="*/ 13348 w 100113"/>
                  <a:gd name="connsiteY13" fmla="*/ 120161 h 13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113" h="133509">
                    <a:moveTo>
                      <a:pt x="93439" y="133510"/>
                    </a:moveTo>
                    <a:lnTo>
                      <a:pt x="6674" y="133510"/>
                    </a:lnTo>
                    <a:cubicBezTo>
                      <a:pt x="2992" y="133510"/>
                      <a:pt x="0" y="130518"/>
                      <a:pt x="0" y="126835"/>
                    </a:cubicBezTo>
                    <a:lnTo>
                      <a:pt x="0" y="6674"/>
                    </a:lnTo>
                    <a:cubicBezTo>
                      <a:pt x="0" y="2992"/>
                      <a:pt x="2992" y="0"/>
                      <a:pt x="6674" y="0"/>
                    </a:cubicBezTo>
                    <a:lnTo>
                      <a:pt x="93439" y="0"/>
                    </a:lnTo>
                    <a:cubicBezTo>
                      <a:pt x="97121" y="0"/>
                      <a:pt x="100113" y="2992"/>
                      <a:pt x="100113" y="6674"/>
                    </a:cubicBezTo>
                    <a:lnTo>
                      <a:pt x="100113" y="126810"/>
                    </a:lnTo>
                    <a:cubicBezTo>
                      <a:pt x="100113" y="130518"/>
                      <a:pt x="97121" y="133510"/>
                      <a:pt x="93439" y="133510"/>
                    </a:cubicBezTo>
                    <a:close/>
                    <a:moveTo>
                      <a:pt x="13348" y="120161"/>
                    </a:moveTo>
                    <a:lnTo>
                      <a:pt x="86765" y="120161"/>
                    </a:lnTo>
                    <a:lnTo>
                      <a:pt x="86765" y="13374"/>
                    </a:lnTo>
                    <a:lnTo>
                      <a:pt x="13348" y="13374"/>
                    </a:lnTo>
                    <a:lnTo>
                      <a:pt x="13348" y="120161"/>
                    </a:lnTo>
                    <a:close/>
                  </a:path>
                </a:pathLst>
              </a:custGeom>
              <a:grpFill/>
              <a:ln w="2553" cap="flat">
                <a:noFill/>
                <a:prstDash val="solid"/>
                <a:miter/>
              </a:ln>
            </p:spPr>
            <p:txBody>
              <a:bodyPr rtlCol="0" anchor="ctr"/>
              <a:lstStyle/>
              <a:p>
                <a:endParaRPr lang="en-GB" dirty="0"/>
              </a:p>
            </p:txBody>
          </p:sp>
          <p:sp>
            <p:nvSpPr>
              <p:cNvPr id="1166" name="Freihandform: Form 1165">
                <a:extLst>
                  <a:ext uri="{FF2B5EF4-FFF2-40B4-BE49-F238E27FC236}">
                    <a16:creationId xmlns:a16="http://schemas.microsoft.com/office/drawing/2014/main" id="{5508A6C1-5003-4E1E-8E25-E71530D2D0DD}"/>
                  </a:ext>
                </a:extLst>
              </p:cNvPr>
              <p:cNvSpPr/>
              <p:nvPr/>
            </p:nvSpPr>
            <p:spPr>
              <a:xfrm>
                <a:off x="6257528" y="2558299"/>
                <a:ext cx="186877" cy="238260"/>
              </a:xfrm>
              <a:custGeom>
                <a:avLst/>
                <a:gdLst>
                  <a:gd name="connsiteX0" fmla="*/ 116453 w 186877"/>
                  <a:gd name="connsiteY0" fmla="*/ 238261 h 238260"/>
                  <a:gd name="connsiteX1" fmla="*/ 114280 w 186877"/>
                  <a:gd name="connsiteY1" fmla="*/ 237877 h 238260"/>
                  <a:gd name="connsiteX2" fmla="*/ 4501 w 186877"/>
                  <a:gd name="connsiteY2" fmla="*/ 199878 h 238260"/>
                  <a:gd name="connsiteX3" fmla="*/ 0 w 186877"/>
                  <a:gd name="connsiteY3" fmla="*/ 193561 h 238260"/>
                  <a:gd name="connsiteX4" fmla="*/ 0 w 186877"/>
                  <a:gd name="connsiteY4" fmla="*/ 73426 h 238260"/>
                  <a:gd name="connsiteX5" fmla="*/ 4270 w 186877"/>
                  <a:gd name="connsiteY5" fmla="*/ 67186 h 238260"/>
                  <a:gd name="connsiteX6" fmla="*/ 177825 w 186877"/>
                  <a:gd name="connsiteY6" fmla="*/ 444 h 238260"/>
                  <a:gd name="connsiteX7" fmla="*/ 183988 w 186877"/>
                  <a:gd name="connsiteY7" fmla="*/ 1186 h 238260"/>
                  <a:gd name="connsiteX8" fmla="*/ 186878 w 186877"/>
                  <a:gd name="connsiteY8" fmla="*/ 6684 h 238260"/>
                  <a:gd name="connsiteX9" fmla="*/ 186878 w 186877"/>
                  <a:gd name="connsiteY9" fmla="*/ 163131 h 238260"/>
                  <a:gd name="connsiteX10" fmla="*/ 180204 w 186877"/>
                  <a:gd name="connsiteY10" fmla="*/ 169805 h 238260"/>
                  <a:gd name="connsiteX11" fmla="*/ 173529 w 186877"/>
                  <a:gd name="connsiteY11" fmla="*/ 163131 h 238260"/>
                  <a:gd name="connsiteX12" fmla="*/ 173529 w 186877"/>
                  <a:gd name="connsiteY12" fmla="*/ 16401 h 238260"/>
                  <a:gd name="connsiteX13" fmla="*/ 13323 w 186877"/>
                  <a:gd name="connsiteY13" fmla="*/ 78003 h 238260"/>
                  <a:gd name="connsiteX14" fmla="*/ 13323 w 186877"/>
                  <a:gd name="connsiteY14" fmla="*/ 188805 h 238260"/>
                  <a:gd name="connsiteX15" fmla="*/ 118627 w 186877"/>
                  <a:gd name="connsiteY15" fmla="*/ 225245 h 238260"/>
                  <a:gd name="connsiteX16" fmla="*/ 122744 w 186877"/>
                  <a:gd name="connsiteY16" fmla="*/ 233734 h 238260"/>
                  <a:gd name="connsiteX17" fmla="*/ 116453 w 186877"/>
                  <a:gd name="connsiteY17" fmla="*/ 238261 h 23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877" h="238260">
                    <a:moveTo>
                      <a:pt x="116453" y="238261"/>
                    </a:moveTo>
                    <a:cubicBezTo>
                      <a:pt x="115737" y="238261"/>
                      <a:pt x="114996" y="238133"/>
                      <a:pt x="114280" y="237877"/>
                    </a:cubicBezTo>
                    <a:lnTo>
                      <a:pt x="4501" y="199878"/>
                    </a:lnTo>
                    <a:cubicBezTo>
                      <a:pt x="1816" y="198957"/>
                      <a:pt x="0" y="196425"/>
                      <a:pt x="0" y="193561"/>
                    </a:cubicBezTo>
                    <a:lnTo>
                      <a:pt x="0" y="73426"/>
                    </a:lnTo>
                    <a:cubicBezTo>
                      <a:pt x="0" y="70664"/>
                      <a:pt x="1713" y="68184"/>
                      <a:pt x="4270" y="67186"/>
                    </a:cubicBezTo>
                    <a:lnTo>
                      <a:pt x="177825" y="444"/>
                    </a:lnTo>
                    <a:cubicBezTo>
                      <a:pt x="179871" y="-349"/>
                      <a:pt x="182173" y="-67"/>
                      <a:pt x="183988" y="1186"/>
                    </a:cubicBezTo>
                    <a:cubicBezTo>
                      <a:pt x="185804" y="2439"/>
                      <a:pt x="186878" y="4484"/>
                      <a:pt x="186878" y="6684"/>
                    </a:cubicBezTo>
                    <a:lnTo>
                      <a:pt x="186878" y="163131"/>
                    </a:lnTo>
                    <a:cubicBezTo>
                      <a:pt x="186878" y="166813"/>
                      <a:pt x="183886" y="169805"/>
                      <a:pt x="180204" y="169805"/>
                    </a:cubicBezTo>
                    <a:cubicBezTo>
                      <a:pt x="176521" y="169805"/>
                      <a:pt x="173529" y="166813"/>
                      <a:pt x="173529" y="163131"/>
                    </a:cubicBezTo>
                    <a:lnTo>
                      <a:pt x="173529" y="16401"/>
                    </a:lnTo>
                    <a:lnTo>
                      <a:pt x="13323" y="78003"/>
                    </a:lnTo>
                    <a:lnTo>
                      <a:pt x="13323" y="188805"/>
                    </a:lnTo>
                    <a:lnTo>
                      <a:pt x="118627" y="225245"/>
                    </a:lnTo>
                    <a:cubicBezTo>
                      <a:pt x="122105" y="226447"/>
                      <a:pt x="123946" y="230257"/>
                      <a:pt x="122744" y="233734"/>
                    </a:cubicBezTo>
                    <a:cubicBezTo>
                      <a:pt x="121798" y="236522"/>
                      <a:pt x="119215" y="238261"/>
                      <a:pt x="116453" y="238261"/>
                    </a:cubicBezTo>
                    <a:close/>
                  </a:path>
                </a:pathLst>
              </a:custGeom>
              <a:grpFill/>
              <a:ln w="2553" cap="flat">
                <a:noFill/>
                <a:prstDash val="solid"/>
                <a:miter/>
              </a:ln>
            </p:spPr>
            <p:txBody>
              <a:bodyPr rtlCol="0" anchor="ctr"/>
              <a:lstStyle/>
              <a:p>
                <a:endParaRPr lang="en-GB" dirty="0"/>
              </a:p>
            </p:txBody>
          </p:sp>
          <p:sp>
            <p:nvSpPr>
              <p:cNvPr id="1167" name="Freihandform: Form 1166">
                <a:extLst>
                  <a:ext uri="{FF2B5EF4-FFF2-40B4-BE49-F238E27FC236}">
                    <a16:creationId xmlns:a16="http://schemas.microsoft.com/office/drawing/2014/main" id="{337EA9BD-3B49-4C6F-A468-779F438804EF}"/>
                  </a:ext>
                </a:extLst>
              </p:cNvPr>
              <p:cNvSpPr/>
              <p:nvPr/>
            </p:nvSpPr>
            <p:spPr>
              <a:xfrm>
                <a:off x="6187513" y="2752064"/>
                <a:ext cx="66619" cy="93669"/>
              </a:xfrm>
              <a:custGeom>
                <a:avLst/>
                <a:gdLst>
                  <a:gd name="connsiteX0" fmla="*/ 20508 w 66619"/>
                  <a:gd name="connsiteY0" fmla="*/ 93669 h 93669"/>
                  <a:gd name="connsiteX1" fmla="*/ 16647 w 66619"/>
                  <a:gd name="connsiteY1" fmla="*/ 92442 h 93669"/>
                  <a:gd name="connsiteX2" fmla="*/ 13911 w 66619"/>
                  <a:gd name="connsiteY2" fmla="*/ 88069 h 93669"/>
                  <a:gd name="connsiteX3" fmla="*/ 0 w 66619"/>
                  <a:gd name="connsiteY3" fmla="*/ 2122 h 93669"/>
                  <a:gd name="connsiteX4" fmla="*/ 13169 w 66619"/>
                  <a:gd name="connsiteY4" fmla="*/ 0 h 93669"/>
                  <a:gd name="connsiteX5" fmla="*/ 26006 w 66619"/>
                  <a:gd name="connsiteY5" fmla="*/ 79247 h 93669"/>
                  <a:gd name="connsiteX6" fmla="*/ 52320 w 66619"/>
                  <a:gd name="connsiteY6" fmla="*/ 74618 h 93669"/>
                  <a:gd name="connsiteX7" fmla="*/ 43370 w 66619"/>
                  <a:gd name="connsiteY7" fmla="*/ 17951 h 93669"/>
                  <a:gd name="connsiteX8" fmla="*/ 56565 w 66619"/>
                  <a:gd name="connsiteY8" fmla="*/ 15880 h 93669"/>
                  <a:gd name="connsiteX9" fmla="*/ 66537 w 66619"/>
                  <a:gd name="connsiteY9" fmla="*/ 79016 h 93669"/>
                  <a:gd name="connsiteX10" fmla="*/ 61116 w 66619"/>
                  <a:gd name="connsiteY10" fmla="*/ 86637 h 93669"/>
                  <a:gd name="connsiteX11" fmla="*/ 21685 w 66619"/>
                  <a:gd name="connsiteY11" fmla="*/ 93592 h 93669"/>
                  <a:gd name="connsiteX12" fmla="*/ 20508 w 66619"/>
                  <a:gd name="connsiteY12" fmla="*/ 93669 h 93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19" h="93669">
                    <a:moveTo>
                      <a:pt x="20508" y="93669"/>
                    </a:moveTo>
                    <a:cubicBezTo>
                      <a:pt x="19128" y="93669"/>
                      <a:pt x="17772" y="93234"/>
                      <a:pt x="16647" y="92442"/>
                    </a:cubicBezTo>
                    <a:cubicBezTo>
                      <a:pt x="15190" y="91419"/>
                      <a:pt x="14218" y="89833"/>
                      <a:pt x="13911" y="88069"/>
                    </a:cubicBezTo>
                    <a:lnTo>
                      <a:pt x="0" y="2122"/>
                    </a:lnTo>
                    <a:lnTo>
                      <a:pt x="13169" y="0"/>
                    </a:lnTo>
                    <a:lnTo>
                      <a:pt x="26006" y="79247"/>
                    </a:lnTo>
                    <a:lnTo>
                      <a:pt x="52320" y="74618"/>
                    </a:lnTo>
                    <a:lnTo>
                      <a:pt x="43370" y="17951"/>
                    </a:lnTo>
                    <a:lnTo>
                      <a:pt x="56565" y="15880"/>
                    </a:lnTo>
                    <a:lnTo>
                      <a:pt x="66537" y="79016"/>
                    </a:lnTo>
                    <a:cubicBezTo>
                      <a:pt x="67100" y="82622"/>
                      <a:pt x="64696" y="85998"/>
                      <a:pt x="61116" y="86637"/>
                    </a:cubicBezTo>
                    <a:lnTo>
                      <a:pt x="21685" y="93592"/>
                    </a:lnTo>
                    <a:cubicBezTo>
                      <a:pt x="21276" y="93643"/>
                      <a:pt x="20892" y="93669"/>
                      <a:pt x="20508" y="93669"/>
                    </a:cubicBezTo>
                    <a:close/>
                  </a:path>
                </a:pathLst>
              </a:custGeom>
              <a:grpFill/>
              <a:ln w="2553" cap="flat">
                <a:noFill/>
                <a:prstDash val="solid"/>
                <a:miter/>
              </a:ln>
            </p:spPr>
            <p:txBody>
              <a:bodyPr rtlCol="0" anchor="ctr"/>
              <a:lstStyle/>
              <a:p>
                <a:endParaRPr lang="en-GB" dirty="0"/>
              </a:p>
            </p:txBody>
          </p:sp>
        </p:grpSp>
        <p:grpSp>
          <p:nvGrpSpPr>
            <p:cNvPr id="1159" name="Gruppieren 1158">
              <a:extLst>
                <a:ext uri="{FF2B5EF4-FFF2-40B4-BE49-F238E27FC236}">
                  <a16:creationId xmlns:a16="http://schemas.microsoft.com/office/drawing/2014/main" id="{35658285-513A-4046-8E78-C56AA752AE97}"/>
                </a:ext>
              </a:extLst>
            </p:cNvPr>
            <p:cNvGrpSpPr/>
            <p:nvPr/>
          </p:nvGrpSpPr>
          <p:grpSpPr>
            <a:xfrm>
              <a:off x="6224717" y="2560283"/>
              <a:ext cx="346720" cy="321058"/>
              <a:chOff x="6353275" y="2641329"/>
              <a:chExt cx="259488" cy="240282"/>
            </a:xfrm>
          </p:grpSpPr>
          <p:grpSp>
            <p:nvGrpSpPr>
              <p:cNvPr id="1160" name="Grafik 313">
                <a:extLst>
                  <a:ext uri="{FF2B5EF4-FFF2-40B4-BE49-F238E27FC236}">
                    <a16:creationId xmlns:a16="http://schemas.microsoft.com/office/drawing/2014/main" id="{C6B2350F-576A-4303-BC74-AE8C50E9250C}"/>
                  </a:ext>
                </a:extLst>
              </p:cNvPr>
              <p:cNvGrpSpPr/>
              <p:nvPr/>
            </p:nvGrpSpPr>
            <p:grpSpPr>
              <a:xfrm>
                <a:off x="6353275" y="2734753"/>
                <a:ext cx="259488" cy="146858"/>
                <a:chOff x="6353275" y="2734753"/>
                <a:chExt cx="259488" cy="146858"/>
              </a:xfrm>
              <a:solidFill>
                <a:schemeClr val="accent1"/>
              </a:solidFill>
            </p:grpSpPr>
            <p:sp>
              <p:nvSpPr>
                <p:cNvPr id="1162" name="Freihandform: Form 1161">
                  <a:extLst>
                    <a:ext uri="{FF2B5EF4-FFF2-40B4-BE49-F238E27FC236}">
                      <a16:creationId xmlns:a16="http://schemas.microsoft.com/office/drawing/2014/main" id="{6A322141-51FB-4600-891A-96EB61F271C3}"/>
                    </a:ext>
                  </a:extLst>
                </p:cNvPr>
                <p:cNvSpPr/>
                <p:nvPr/>
              </p:nvSpPr>
              <p:spPr>
                <a:xfrm>
                  <a:off x="6353275" y="2734753"/>
                  <a:ext cx="259488" cy="146858"/>
                </a:xfrm>
                <a:custGeom>
                  <a:avLst/>
                  <a:gdLst>
                    <a:gd name="connsiteX0" fmla="*/ 129744 w 259488"/>
                    <a:gd name="connsiteY0" fmla="*/ 146858 h 146858"/>
                    <a:gd name="connsiteX1" fmla="*/ 1093 w 259488"/>
                    <a:gd name="connsiteY1" fmla="*/ 77073 h 146858"/>
                    <a:gd name="connsiteX2" fmla="*/ 1093 w 259488"/>
                    <a:gd name="connsiteY2" fmla="*/ 69785 h 146858"/>
                    <a:gd name="connsiteX3" fmla="*/ 129744 w 259488"/>
                    <a:gd name="connsiteY3" fmla="*/ 0 h 146858"/>
                    <a:gd name="connsiteX4" fmla="*/ 258395 w 259488"/>
                    <a:gd name="connsiteY4" fmla="*/ 69785 h 146858"/>
                    <a:gd name="connsiteX5" fmla="*/ 258395 w 259488"/>
                    <a:gd name="connsiteY5" fmla="*/ 77073 h 146858"/>
                    <a:gd name="connsiteX6" fmla="*/ 129744 w 259488"/>
                    <a:gd name="connsiteY6" fmla="*/ 146858 h 146858"/>
                    <a:gd name="connsiteX7" fmla="*/ 14748 w 259488"/>
                    <a:gd name="connsiteY7" fmla="*/ 73442 h 146858"/>
                    <a:gd name="connsiteX8" fmla="*/ 129744 w 259488"/>
                    <a:gd name="connsiteY8" fmla="*/ 133510 h 146858"/>
                    <a:gd name="connsiteX9" fmla="*/ 244740 w 259488"/>
                    <a:gd name="connsiteY9" fmla="*/ 73442 h 146858"/>
                    <a:gd name="connsiteX10" fmla="*/ 129744 w 259488"/>
                    <a:gd name="connsiteY10" fmla="*/ 13374 h 146858"/>
                    <a:gd name="connsiteX11" fmla="*/ 14748 w 259488"/>
                    <a:gd name="connsiteY11" fmla="*/ 73442 h 146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488" h="146858">
                      <a:moveTo>
                        <a:pt x="129744" y="146858"/>
                      </a:moveTo>
                      <a:cubicBezTo>
                        <a:pt x="77680" y="146858"/>
                        <a:pt x="29606" y="120775"/>
                        <a:pt x="1093" y="77073"/>
                      </a:cubicBezTo>
                      <a:cubicBezTo>
                        <a:pt x="-364" y="74848"/>
                        <a:pt x="-364" y="71984"/>
                        <a:pt x="1093" y="69785"/>
                      </a:cubicBezTo>
                      <a:cubicBezTo>
                        <a:pt x="29580" y="26083"/>
                        <a:pt x="77680" y="0"/>
                        <a:pt x="129744" y="0"/>
                      </a:cubicBezTo>
                      <a:cubicBezTo>
                        <a:pt x="181808" y="0"/>
                        <a:pt x="229883" y="26083"/>
                        <a:pt x="258395" y="69785"/>
                      </a:cubicBezTo>
                      <a:cubicBezTo>
                        <a:pt x="259853" y="72010"/>
                        <a:pt x="259853" y="74874"/>
                        <a:pt x="258395" y="77073"/>
                      </a:cubicBezTo>
                      <a:cubicBezTo>
                        <a:pt x="229883" y="120775"/>
                        <a:pt x="181783" y="146858"/>
                        <a:pt x="129744" y="146858"/>
                      </a:cubicBezTo>
                      <a:close/>
                      <a:moveTo>
                        <a:pt x="14748" y="73442"/>
                      </a:moveTo>
                      <a:cubicBezTo>
                        <a:pt x="41036" y="111134"/>
                        <a:pt x="83690" y="133510"/>
                        <a:pt x="129744" y="133510"/>
                      </a:cubicBezTo>
                      <a:cubicBezTo>
                        <a:pt x="175799" y="133510"/>
                        <a:pt x="218478" y="111134"/>
                        <a:pt x="244740" y="73442"/>
                      </a:cubicBezTo>
                      <a:cubicBezTo>
                        <a:pt x="218452" y="35749"/>
                        <a:pt x="175799" y="13374"/>
                        <a:pt x="129744" y="13374"/>
                      </a:cubicBezTo>
                      <a:cubicBezTo>
                        <a:pt x="83690" y="13374"/>
                        <a:pt x="41011" y="35749"/>
                        <a:pt x="14748" y="73442"/>
                      </a:cubicBezTo>
                      <a:close/>
                    </a:path>
                  </a:pathLst>
                </a:custGeom>
                <a:solidFill>
                  <a:schemeClr val="accent1"/>
                </a:solidFill>
                <a:ln w="2553" cap="flat">
                  <a:noFill/>
                  <a:prstDash val="solid"/>
                  <a:miter/>
                </a:ln>
              </p:spPr>
              <p:txBody>
                <a:bodyPr rtlCol="0" anchor="ctr"/>
                <a:lstStyle/>
                <a:p>
                  <a:endParaRPr lang="en-GB" dirty="0"/>
                </a:p>
              </p:txBody>
            </p:sp>
            <p:sp>
              <p:nvSpPr>
                <p:cNvPr id="1163" name="Freihandform: Form 1162">
                  <a:extLst>
                    <a:ext uri="{FF2B5EF4-FFF2-40B4-BE49-F238E27FC236}">
                      <a16:creationId xmlns:a16="http://schemas.microsoft.com/office/drawing/2014/main" id="{4369D313-72AE-4C43-9E0B-D705662CB5E3}"/>
                    </a:ext>
                  </a:extLst>
                </p:cNvPr>
                <p:cNvSpPr/>
                <p:nvPr/>
              </p:nvSpPr>
              <p:spPr>
                <a:xfrm>
                  <a:off x="6442974" y="2768149"/>
                  <a:ext cx="80090" cy="80090"/>
                </a:xfrm>
                <a:custGeom>
                  <a:avLst/>
                  <a:gdLst>
                    <a:gd name="connsiteX0" fmla="*/ 40045 w 80090"/>
                    <a:gd name="connsiteY0" fmla="*/ 80090 h 80090"/>
                    <a:gd name="connsiteX1" fmla="*/ 0 w 80090"/>
                    <a:gd name="connsiteY1" fmla="*/ 40045 h 80090"/>
                    <a:gd name="connsiteX2" fmla="*/ 40045 w 80090"/>
                    <a:gd name="connsiteY2" fmla="*/ 0 h 80090"/>
                    <a:gd name="connsiteX3" fmla="*/ 80090 w 80090"/>
                    <a:gd name="connsiteY3" fmla="*/ 40045 h 80090"/>
                    <a:gd name="connsiteX4" fmla="*/ 40045 w 80090"/>
                    <a:gd name="connsiteY4" fmla="*/ 80090 h 80090"/>
                    <a:gd name="connsiteX5" fmla="*/ 40045 w 80090"/>
                    <a:gd name="connsiteY5" fmla="*/ 13348 h 80090"/>
                    <a:gd name="connsiteX6" fmla="*/ 13348 w 80090"/>
                    <a:gd name="connsiteY6" fmla="*/ 40045 h 80090"/>
                    <a:gd name="connsiteX7" fmla="*/ 40045 w 80090"/>
                    <a:gd name="connsiteY7" fmla="*/ 66742 h 80090"/>
                    <a:gd name="connsiteX8" fmla="*/ 66742 w 80090"/>
                    <a:gd name="connsiteY8" fmla="*/ 40045 h 80090"/>
                    <a:gd name="connsiteX9" fmla="*/ 40045 w 80090"/>
                    <a:gd name="connsiteY9" fmla="*/ 13348 h 80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90" h="80090">
                      <a:moveTo>
                        <a:pt x="40045" y="80090"/>
                      </a:moveTo>
                      <a:cubicBezTo>
                        <a:pt x="17951" y="80090"/>
                        <a:pt x="0" y="62114"/>
                        <a:pt x="0" y="40045"/>
                      </a:cubicBezTo>
                      <a:cubicBezTo>
                        <a:pt x="0" y="17951"/>
                        <a:pt x="17977" y="0"/>
                        <a:pt x="40045" y="0"/>
                      </a:cubicBezTo>
                      <a:cubicBezTo>
                        <a:pt x="62139" y="0"/>
                        <a:pt x="80090" y="17977"/>
                        <a:pt x="80090" y="40045"/>
                      </a:cubicBezTo>
                      <a:cubicBezTo>
                        <a:pt x="80090" y="62139"/>
                        <a:pt x="62114" y="80090"/>
                        <a:pt x="40045" y="80090"/>
                      </a:cubicBezTo>
                      <a:close/>
                      <a:moveTo>
                        <a:pt x="40045" y="13348"/>
                      </a:moveTo>
                      <a:cubicBezTo>
                        <a:pt x="25316" y="13348"/>
                        <a:pt x="13348" y="25316"/>
                        <a:pt x="13348" y="40045"/>
                      </a:cubicBezTo>
                      <a:cubicBezTo>
                        <a:pt x="13348" y="54774"/>
                        <a:pt x="25316" y="66742"/>
                        <a:pt x="40045" y="66742"/>
                      </a:cubicBezTo>
                      <a:cubicBezTo>
                        <a:pt x="54774" y="66742"/>
                        <a:pt x="66742" y="54774"/>
                        <a:pt x="66742" y="40045"/>
                      </a:cubicBezTo>
                      <a:cubicBezTo>
                        <a:pt x="66742" y="25316"/>
                        <a:pt x="54749" y="13348"/>
                        <a:pt x="40045" y="13348"/>
                      </a:cubicBezTo>
                      <a:close/>
                    </a:path>
                  </a:pathLst>
                </a:custGeom>
                <a:solidFill>
                  <a:schemeClr val="accent1"/>
                </a:solidFill>
                <a:ln w="2553" cap="flat">
                  <a:noFill/>
                  <a:prstDash val="solid"/>
                  <a:miter/>
                </a:ln>
              </p:spPr>
              <p:txBody>
                <a:bodyPr rtlCol="0" anchor="ctr"/>
                <a:lstStyle/>
                <a:p>
                  <a:endParaRPr lang="en-GB" dirty="0"/>
                </a:p>
              </p:txBody>
            </p:sp>
          </p:grpSp>
          <p:sp>
            <p:nvSpPr>
              <p:cNvPr id="1161" name="Freihandform: Form 1160">
                <a:extLst>
                  <a:ext uri="{FF2B5EF4-FFF2-40B4-BE49-F238E27FC236}">
                    <a16:creationId xmlns:a16="http://schemas.microsoft.com/office/drawing/2014/main" id="{9A438018-8749-4BED-8404-4803435FD9BC}"/>
                  </a:ext>
                </a:extLst>
              </p:cNvPr>
              <p:cNvSpPr/>
              <p:nvPr/>
            </p:nvSpPr>
            <p:spPr>
              <a:xfrm>
                <a:off x="6472222" y="2641329"/>
                <a:ext cx="139075" cy="71202"/>
              </a:xfrm>
              <a:custGeom>
                <a:avLst/>
                <a:gdLst>
                  <a:gd name="connsiteX0" fmla="*/ 6680 w 139075"/>
                  <a:gd name="connsiteY0" fmla="*/ 71202 h 71202"/>
                  <a:gd name="connsiteX1" fmla="*/ 1463 w 139075"/>
                  <a:gd name="connsiteY1" fmla="*/ 68696 h 71202"/>
                  <a:gd name="connsiteX2" fmla="*/ 2512 w 139075"/>
                  <a:gd name="connsiteY2" fmla="*/ 59311 h 71202"/>
                  <a:gd name="connsiteX3" fmla="*/ 41458 w 139075"/>
                  <a:gd name="connsiteY3" fmla="*/ 28165 h 71202"/>
                  <a:gd name="connsiteX4" fmla="*/ 48950 w 139075"/>
                  <a:gd name="connsiteY4" fmla="*/ 27577 h 71202"/>
                  <a:gd name="connsiteX5" fmla="*/ 90555 w 139075"/>
                  <a:gd name="connsiteY5" fmla="*/ 51359 h 71202"/>
                  <a:gd name="connsiteX6" fmla="*/ 127071 w 139075"/>
                  <a:gd name="connsiteY6" fmla="*/ 2670 h 71202"/>
                  <a:gd name="connsiteX7" fmla="*/ 136405 w 139075"/>
                  <a:gd name="connsiteY7" fmla="*/ 1340 h 71202"/>
                  <a:gd name="connsiteX8" fmla="*/ 137735 w 139075"/>
                  <a:gd name="connsiteY8" fmla="*/ 10674 h 71202"/>
                  <a:gd name="connsiteX9" fmla="*/ 97690 w 139075"/>
                  <a:gd name="connsiteY9" fmla="*/ 64068 h 71202"/>
                  <a:gd name="connsiteX10" fmla="*/ 89046 w 139075"/>
                  <a:gd name="connsiteY10" fmla="*/ 65858 h 71202"/>
                  <a:gd name="connsiteX11" fmla="*/ 46265 w 139075"/>
                  <a:gd name="connsiteY11" fmla="*/ 41411 h 71202"/>
                  <a:gd name="connsiteX12" fmla="*/ 10874 w 139075"/>
                  <a:gd name="connsiteY12" fmla="*/ 69719 h 71202"/>
                  <a:gd name="connsiteX13" fmla="*/ 6680 w 139075"/>
                  <a:gd name="connsiteY13" fmla="*/ 71202 h 7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075" h="71202">
                    <a:moveTo>
                      <a:pt x="6680" y="71202"/>
                    </a:moveTo>
                    <a:cubicBezTo>
                      <a:pt x="4711" y="71202"/>
                      <a:pt x="2793" y="70333"/>
                      <a:pt x="1463" y="68696"/>
                    </a:cubicBezTo>
                    <a:cubicBezTo>
                      <a:pt x="-838" y="65806"/>
                      <a:pt x="-378" y="61613"/>
                      <a:pt x="2512" y="59311"/>
                    </a:cubicBezTo>
                    <a:lnTo>
                      <a:pt x="41458" y="28165"/>
                    </a:lnTo>
                    <a:cubicBezTo>
                      <a:pt x="43580" y="26452"/>
                      <a:pt x="46546" y="26222"/>
                      <a:pt x="48950" y="27577"/>
                    </a:cubicBezTo>
                    <a:lnTo>
                      <a:pt x="90555" y="51359"/>
                    </a:lnTo>
                    <a:lnTo>
                      <a:pt x="127071" y="2670"/>
                    </a:lnTo>
                    <a:cubicBezTo>
                      <a:pt x="129271" y="-271"/>
                      <a:pt x="133464" y="-884"/>
                      <a:pt x="136405" y="1340"/>
                    </a:cubicBezTo>
                    <a:cubicBezTo>
                      <a:pt x="139346" y="3540"/>
                      <a:pt x="139960" y="7733"/>
                      <a:pt x="137735" y="10674"/>
                    </a:cubicBezTo>
                    <a:lnTo>
                      <a:pt x="97690" y="64068"/>
                    </a:lnTo>
                    <a:cubicBezTo>
                      <a:pt x="95669" y="66753"/>
                      <a:pt x="91962" y="67520"/>
                      <a:pt x="89046" y="65858"/>
                    </a:cubicBezTo>
                    <a:lnTo>
                      <a:pt x="46265" y="41411"/>
                    </a:lnTo>
                    <a:lnTo>
                      <a:pt x="10874" y="69719"/>
                    </a:lnTo>
                    <a:cubicBezTo>
                      <a:pt x="9621" y="70716"/>
                      <a:pt x="8138" y="71202"/>
                      <a:pt x="6680" y="71202"/>
                    </a:cubicBezTo>
                    <a:close/>
                  </a:path>
                </a:pathLst>
              </a:custGeom>
              <a:solidFill>
                <a:schemeClr val="accent1"/>
              </a:solidFill>
              <a:ln w="2553" cap="flat">
                <a:noFill/>
                <a:prstDash val="solid"/>
                <a:miter/>
              </a:ln>
            </p:spPr>
            <p:txBody>
              <a:bodyPr rtlCol="0" anchor="ctr"/>
              <a:lstStyle/>
              <a:p>
                <a:endParaRPr lang="en-GB" dirty="0"/>
              </a:p>
            </p:txBody>
          </p:sp>
        </p:grpSp>
      </p:grpSp>
      <p:sp>
        <p:nvSpPr>
          <p:cNvPr id="1168" name="TextBox 1420">
            <a:extLst>
              <a:ext uri="{FF2B5EF4-FFF2-40B4-BE49-F238E27FC236}">
                <a16:creationId xmlns:a16="http://schemas.microsoft.com/office/drawing/2014/main" id="{075AB616-6E32-4022-A511-A9B79A67B4D7}"/>
              </a:ext>
            </a:extLst>
          </p:cNvPr>
          <p:cNvSpPr txBox="1"/>
          <p:nvPr/>
        </p:nvSpPr>
        <p:spPr>
          <a:xfrm>
            <a:off x="6003023" y="2899619"/>
            <a:ext cx="511358" cy="215444"/>
          </a:xfrm>
          <a:prstGeom prst="rect">
            <a:avLst/>
          </a:prstGeom>
          <a:noFill/>
          <a:effectLst/>
        </p:spPr>
        <p:txBody>
          <a:bodyPr wrap="none" lIns="0" tIns="0" rIns="0" bIns="0" rtlCol="0" anchor="t" anchorCtr="0">
            <a:spAutoFit/>
          </a:bodyPr>
          <a:lstStyle/>
          <a:p>
            <a:pPr algn="ctr"/>
            <a:r>
              <a:rPr lang="en-GB" sz="700" dirty="0">
                <a:solidFill>
                  <a:schemeClr val="tx2"/>
                </a:solidFill>
              </a:rPr>
              <a:t>Social media</a:t>
            </a:r>
            <a:br>
              <a:rPr lang="en-GB" sz="700" dirty="0">
                <a:solidFill>
                  <a:schemeClr val="tx2"/>
                </a:solidFill>
              </a:rPr>
            </a:br>
            <a:r>
              <a:rPr lang="en-GB" sz="700" dirty="0">
                <a:solidFill>
                  <a:schemeClr val="tx2"/>
                </a:solidFill>
              </a:rPr>
              <a:t>performance</a:t>
            </a:r>
          </a:p>
        </p:txBody>
      </p:sp>
      <p:grpSp>
        <p:nvGrpSpPr>
          <p:cNvPr id="59" name="Group 58">
            <a:extLst>
              <a:ext uri="{FF2B5EF4-FFF2-40B4-BE49-F238E27FC236}">
                <a16:creationId xmlns:a16="http://schemas.microsoft.com/office/drawing/2014/main" id="{AF693094-ACBE-B8B4-D604-3638F49ACDE5}"/>
              </a:ext>
            </a:extLst>
          </p:cNvPr>
          <p:cNvGrpSpPr/>
          <p:nvPr/>
        </p:nvGrpSpPr>
        <p:grpSpPr>
          <a:xfrm>
            <a:off x="6998136" y="3310290"/>
            <a:ext cx="612000" cy="395107"/>
            <a:chOff x="6997724" y="3310290"/>
            <a:chExt cx="612000" cy="395107"/>
          </a:xfrm>
        </p:grpSpPr>
        <p:grpSp>
          <p:nvGrpSpPr>
            <p:cNvPr id="29" name="Group 28">
              <a:extLst>
                <a:ext uri="{FF2B5EF4-FFF2-40B4-BE49-F238E27FC236}">
                  <a16:creationId xmlns:a16="http://schemas.microsoft.com/office/drawing/2014/main" id="{AC1A4D0A-C12A-492E-A82E-43451931D215}"/>
                </a:ext>
              </a:extLst>
            </p:cNvPr>
            <p:cNvGrpSpPr/>
            <p:nvPr/>
          </p:nvGrpSpPr>
          <p:grpSpPr>
            <a:xfrm>
              <a:off x="6997724" y="3310290"/>
              <a:ext cx="612000" cy="299152"/>
              <a:chOff x="6997724" y="3310290"/>
              <a:chExt cx="612000" cy="299152"/>
            </a:xfrm>
            <a:solidFill>
              <a:schemeClr val="tx2"/>
            </a:solidFill>
          </p:grpSpPr>
          <p:grpSp>
            <p:nvGrpSpPr>
              <p:cNvPr id="1170" name="Grafik 313">
                <a:extLst>
                  <a:ext uri="{FF2B5EF4-FFF2-40B4-BE49-F238E27FC236}">
                    <a16:creationId xmlns:a16="http://schemas.microsoft.com/office/drawing/2014/main" id="{2147F246-7187-4919-AD66-05A1AF82A428}"/>
                  </a:ext>
                </a:extLst>
              </p:cNvPr>
              <p:cNvGrpSpPr/>
              <p:nvPr/>
            </p:nvGrpSpPr>
            <p:grpSpPr>
              <a:xfrm>
                <a:off x="6997724" y="3310290"/>
                <a:ext cx="220431" cy="299152"/>
                <a:chOff x="6966468" y="3402250"/>
                <a:chExt cx="196735" cy="266993"/>
              </a:xfrm>
              <a:grpFill/>
            </p:grpSpPr>
            <p:sp>
              <p:nvSpPr>
                <p:cNvPr id="1185" name="Freihandform: Form 1184">
                  <a:extLst>
                    <a:ext uri="{FF2B5EF4-FFF2-40B4-BE49-F238E27FC236}">
                      <a16:creationId xmlns:a16="http://schemas.microsoft.com/office/drawing/2014/main" id="{D40D3C79-C0B5-4D9E-9C6B-D41B80944839}"/>
                    </a:ext>
                  </a:extLst>
                </p:cNvPr>
                <p:cNvSpPr/>
                <p:nvPr/>
              </p:nvSpPr>
              <p:spPr>
                <a:xfrm>
                  <a:off x="7071858" y="3522386"/>
                  <a:ext cx="26696" cy="13348"/>
                </a:xfrm>
                <a:custGeom>
                  <a:avLst/>
                  <a:gdLst>
                    <a:gd name="connsiteX0" fmla="*/ 20023 w 26696"/>
                    <a:gd name="connsiteY0" fmla="*/ 13348 h 13348"/>
                    <a:gd name="connsiteX1" fmla="*/ 6674 w 26696"/>
                    <a:gd name="connsiteY1" fmla="*/ 13348 h 13348"/>
                    <a:gd name="connsiteX2" fmla="*/ 0 w 26696"/>
                    <a:gd name="connsiteY2" fmla="*/ 6674 h 13348"/>
                    <a:gd name="connsiteX3" fmla="*/ 6674 w 26696"/>
                    <a:gd name="connsiteY3" fmla="*/ 0 h 13348"/>
                    <a:gd name="connsiteX4" fmla="*/ 20023 w 26696"/>
                    <a:gd name="connsiteY4" fmla="*/ 0 h 13348"/>
                    <a:gd name="connsiteX5" fmla="*/ 26697 w 26696"/>
                    <a:gd name="connsiteY5" fmla="*/ 6674 h 13348"/>
                    <a:gd name="connsiteX6" fmla="*/ 20023 w 26696"/>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96" h="13348">
                      <a:moveTo>
                        <a:pt x="20023" y="13348"/>
                      </a:moveTo>
                      <a:lnTo>
                        <a:pt x="6674" y="13348"/>
                      </a:lnTo>
                      <a:cubicBezTo>
                        <a:pt x="2992" y="13348"/>
                        <a:pt x="0" y="10356"/>
                        <a:pt x="0" y="6674"/>
                      </a:cubicBezTo>
                      <a:cubicBezTo>
                        <a:pt x="0" y="2992"/>
                        <a:pt x="2992" y="0"/>
                        <a:pt x="6674" y="0"/>
                      </a:cubicBezTo>
                      <a:lnTo>
                        <a:pt x="20023" y="0"/>
                      </a:lnTo>
                      <a:cubicBezTo>
                        <a:pt x="23705" y="0"/>
                        <a:pt x="26697" y="2992"/>
                        <a:pt x="26697" y="6674"/>
                      </a:cubicBezTo>
                      <a:cubicBezTo>
                        <a:pt x="26697" y="10382"/>
                        <a:pt x="23705" y="13348"/>
                        <a:pt x="20023" y="13348"/>
                      </a:cubicBezTo>
                      <a:close/>
                    </a:path>
                  </a:pathLst>
                </a:custGeom>
                <a:grpFill/>
                <a:ln w="2553" cap="flat">
                  <a:noFill/>
                  <a:prstDash val="solid"/>
                  <a:miter/>
                </a:ln>
              </p:spPr>
              <p:txBody>
                <a:bodyPr rtlCol="0" anchor="ctr"/>
                <a:lstStyle/>
                <a:p>
                  <a:endParaRPr lang="en-GB" dirty="0"/>
                </a:p>
              </p:txBody>
            </p:sp>
            <p:sp>
              <p:nvSpPr>
                <p:cNvPr id="1186" name="Freihandform: Form 1185">
                  <a:extLst>
                    <a:ext uri="{FF2B5EF4-FFF2-40B4-BE49-F238E27FC236}">
                      <a16:creationId xmlns:a16="http://schemas.microsoft.com/office/drawing/2014/main" id="{B56DA524-6D08-4C74-83B9-93F423343EC9}"/>
                    </a:ext>
                  </a:extLst>
                </p:cNvPr>
                <p:cNvSpPr/>
                <p:nvPr/>
              </p:nvSpPr>
              <p:spPr>
                <a:xfrm>
                  <a:off x="7038487" y="3402250"/>
                  <a:ext cx="93438" cy="106787"/>
                </a:xfrm>
                <a:custGeom>
                  <a:avLst/>
                  <a:gdLst>
                    <a:gd name="connsiteX0" fmla="*/ 46719 w 93438"/>
                    <a:gd name="connsiteY0" fmla="*/ 106787 h 106787"/>
                    <a:gd name="connsiteX1" fmla="*/ 0 w 93438"/>
                    <a:gd name="connsiteY1" fmla="*/ 53394 h 106787"/>
                    <a:gd name="connsiteX2" fmla="*/ 46719 w 93438"/>
                    <a:gd name="connsiteY2" fmla="*/ 0 h 106787"/>
                    <a:gd name="connsiteX3" fmla="*/ 93439 w 93438"/>
                    <a:gd name="connsiteY3" fmla="*/ 53394 h 106787"/>
                    <a:gd name="connsiteX4" fmla="*/ 46719 w 93438"/>
                    <a:gd name="connsiteY4" fmla="*/ 106787 h 106787"/>
                    <a:gd name="connsiteX5" fmla="*/ 46719 w 93438"/>
                    <a:gd name="connsiteY5" fmla="*/ 13348 h 106787"/>
                    <a:gd name="connsiteX6" fmla="*/ 13348 w 93438"/>
                    <a:gd name="connsiteY6" fmla="*/ 53394 h 106787"/>
                    <a:gd name="connsiteX7" fmla="*/ 46719 w 93438"/>
                    <a:gd name="connsiteY7" fmla="*/ 93439 h 106787"/>
                    <a:gd name="connsiteX8" fmla="*/ 80090 w 93438"/>
                    <a:gd name="connsiteY8" fmla="*/ 53394 h 106787"/>
                    <a:gd name="connsiteX9" fmla="*/ 46719 w 93438"/>
                    <a:gd name="connsiteY9" fmla="*/ 13348 h 10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38" h="106787">
                      <a:moveTo>
                        <a:pt x="46719" y="106787"/>
                      </a:moveTo>
                      <a:cubicBezTo>
                        <a:pt x="18770" y="106787"/>
                        <a:pt x="0" y="85333"/>
                        <a:pt x="0" y="53394"/>
                      </a:cubicBezTo>
                      <a:cubicBezTo>
                        <a:pt x="0" y="21455"/>
                        <a:pt x="18770" y="0"/>
                        <a:pt x="46719" y="0"/>
                      </a:cubicBezTo>
                      <a:cubicBezTo>
                        <a:pt x="74669" y="0"/>
                        <a:pt x="93439" y="21455"/>
                        <a:pt x="93439" y="53394"/>
                      </a:cubicBezTo>
                      <a:cubicBezTo>
                        <a:pt x="93439" y="85333"/>
                        <a:pt x="74644" y="106787"/>
                        <a:pt x="46719" y="106787"/>
                      </a:cubicBezTo>
                      <a:close/>
                      <a:moveTo>
                        <a:pt x="46719" y="13348"/>
                      </a:moveTo>
                      <a:cubicBezTo>
                        <a:pt x="22094" y="13348"/>
                        <a:pt x="13348" y="34931"/>
                        <a:pt x="13348" y="53394"/>
                      </a:cubicBezTo>
                      <a:cubicBezTo>
                        <a:pt x="13348" y="71856"/>
                        <a:pt x="22094" y="93439"/>
                        <a:pt x="46719" y="93439"/>
                      </a:cubicBezTo>
                      <a:cubicBezTo>
                        <a:pt x="71345" y="93439"/>
                        <a:pt x="80090" y="71856"/>
                        <a:pt x="80090" y="53394"/>
                      </a:cubicBezTo>
                      <a:cubicBezTo>
                        <a:pt x="80090" y="34931"/>
                        <a:pt x="71345" y="13348"/>
                        <a:pt x="46719" y="13348"/>
                      </a:cubicBezTo>
                      <a:close/>
                    </a:path>
                  </a:pathLst>
                </a:custGeom>
                <a:grpFill/>
                <a:ln w="2553" cap="flat">
                  <a:noFill/>
                  <a:prstDash val="solid"/>
                  <a:miter/>
                </a:ln>
              </p:spPr>
              <p:txBody>
                <a:bodyPr rtlCol="0" anchor="ctr"/>
                <a:lstStyle/>
                <a:p>
                  <a:endParaRPr lang="en-GB" dirty="0"/>
                </a:p>
              </p:txBody>
            </p:sp>
            <p:sp>
              <p:nvSpPr>
                <p:cNvPr id="1187" name="Freihandform: Form 1186">
                  <a:extLst>
                    <a:ext uri="{FF2B5EF4-FFF2-40B4-BE49-F238E27FC236}">
                      <a16:creationId xmlns:a16="http://schemas.microsoft.com/office/drawing/2014/main" id="{A3687B42-5A68-4CAD-ABF0-71251A7F47F8}"/>
                    </a:ext>
                  </a:extLst>
                </p:cNvPr>
                <p:cNvSpPr/>
                <p:nvPr/>
              </p:nvSpPr>
              <p:spPr>
                <a:xfrm>
                  <a:off x="7078532" y="3522411"/>
                  <a:ext cx="13348" cy="66742"/>
                </a:xfrm>
                <a:custGeom>
                  <a:avLst/>
                  <a:gdLst>
                    <a:gd name="connsiteX0" fmla="*/ 6674 w 13348"/>
                    <a:gd name="connsiteY0" fmla="*/ 66742 h 66742"/>
                    <a:gd name="connsiteX1" fmla="*/ 0 w 13348"/>
                    <a:gd name="connsiteY1" fmla="*/ 60068 h 66742"/>
                    <a:gd name="connsiteX2" fmla="*/ 0 w 13348"/>
                    <a:gd name="connsiteY2" fmla="*/ 6674 h 66742"/>
                    <a:gd name="connsiteX3" fmla="*/ 6674 w 13348"/>
                    <a:gd name="connsiteY3" fmla="*/ 0 h 66742"/>
                    <a:gd name="connsiteX4" fmla="*/ 13348 w 13348"/>
                    <a:gd name="connsiteY4" fmla="*/ 6674 h 66742"/>
                    <a:gd name="connsiteX5" fmla="*/ 13348 w 13348"/>
                    <a:gd name="connsiteY5" fmla="*/ 60068 h 66742"/>
                    <a:gd name="connsiteX6" fmla="*/ 6674 w 13348"/>
                    <a:gd name="connsiteY6"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66742">
                      <a:moveTo>
                        <a:pt x="6674" y="66742"/>
                      </a:moveTo>
                      <a:cubicBezTo>
                        <a:pt x="2992" y="66742"/>
                        <a:pt x="0" y="63750"/>
                        <a:pt x="0" y="60068"/>
                      </a:cubicBezTo>
                      <a:lnTo>
                        <a:pt x="0" y="6674"/>
                      </a:lnTo>
                      <a:cubicBezTo>
                        <a:pt x="0" y="2992"/>
                        <a:pt x="2992" y="0"/>
                        <a:pt x="6674" y="0"/>
                      </a:cubicBezTo>
                      <a:cubicBezTo>
                        <a:pt x="10357" y="0"/>
                        <a:pt x="13348" y="2992"/>
                        <a:pt x="13348" y="6674"/>
                      </a:cubicBezTo>
                      <a:lnTo>
                        <a:pt x="13348" y="60068"/>
                      </a:lnTo>
                      <a:cubicBezTo>
                        <a:pt x="13348" y="63750"/>
                        <a:pt x="10357" y="66742"/>
                        <a:pt x="6674" y="66742"/>
                      </a:cubicBezTo>
                      <a:close/>
                    </a:path>
                  </a:pathLst>
                </a:custGeom>
                <a:grpFill/>
                <a:ln w="2553" cap="flat">
                  <a:noFill/>
                  <a:prstDash val="solid"/>
                  <a:miter/>
                </a:ln>
              </p:spPr>
              <p:txBody>
                <a:bodyPr rtlCol="0" anchor="ctr"/>
                <a:lstStyle/>
                <a:p>
                  <a:endParaRPr lang="en-GB" dirty="0"/>
                </a:p>
              </p:txBody>
            </p:sp>
            <p:sp>
              <p:nvSpPr>
                <p:cNvPr id="1188" name="Freihandform: Form 1187">
                  <a:extLst>
                    <a:ext uri="{FF2B5EF4-FFF2-40B4-BE49-F238E27FC236}">
                      <a16:creationId xmlns:a16="http://schemas.microsoft.com/office/drawing/2014/main" id="{986F3BE1-59BB-4EF7-897E-9D8D5EF79B18}"/>
                    </a:ext>
                  </a:extLst>
                </p:cNvPr>
                <p:cNvSpPr/>
                <p:nvPr/>
              </p:nvSpPr>
              <p:spPr>
                <a:xfrm>
                  <a:off x="7077506" y="3617896"/>
                  <a:ext cx="35240" cy="51347"/>
                </a:xfrm>
                <a:custGeom>
                  <a:avLst/>
                  <a:gdLst>
                    <a:gd name="connsiteX0" fmla="*/ 27722 w 35240"/>
                    <a:gd name="connsiteY0" fmla="*/ 51348 h 51347"/>
                    <a:gd name="connsiteX1" fmla="*/ 19411 w 35240"/>
                    <a:gd name="connsiteY1" fmla="*/ 51348 h 51347"/>
                    <a:gd name="connsiteX2" fmla="*/ 1000 w 35240"/>
                    <a:gd name="connsiteY2" fmla="*/ 32936 h 51347"/>
                    <a:gd name="connsiteX3" fmla="*/ 1000 w 35240"/>
                    <a:gd name="connsiteY3" fmla="*/ 10587 h 51347"/>
                    <a:gd name="connsiteX4" fmla="*/ 3 w 35240"/>
                    <a:gd name="connsiteY4" fmla="*/ 7032 h 51347"/>
                    <a:gd name="connsiteX5" fmla="*/ 7367 w 35240"/>
                    <a:gd name="connsiteY5" fmla="*/ 51 h 51347"/>
                    <a:gd name="connsiteX6" fmla="*/ 9132 w 35240"/>
                    <a:gd name="connsiteY6" fmla="*/ 204 h 51347"/>
                    <a:gd name="connsiteX7" fmla="*/ 28464 w 35240"/>
                    <a:gd name="connsiteY7" fmla="*/ 0 h 51347"/>
                    <a:gd name="connsiteX8" fmla="*/ 35240 w 35240"/>
                    <a:gd name="connsiteY8" fmla="*/ 6572 h 51347"/>
                    <a:gd name="connsiteX9" fmla="*/ 28668 w 35240"/>
                    <a:gd name="connsiteY9" fmla="*/ 13348 h 51347"/>
                    <a:gd name="connsiteX10" fmla="*/ 14399 w 35240"/>
                    <a:gd name="connsiteY10" fmla="*/ 13527 h 51347"/>
                    <a:gd name="connsiteX11" fmla="*/ 14399 w 35240"/>
                    <a:gd name="connsiteY11" fmla="*/ 32911 h 51347"/>
                    <a:gd name="connsiteX12" fmla="*/ 19463 w 35240"/>
                    <a:gd name="connsiteY12" fmla="*/ 37974 h 51347"/>
                    <a:gd name="connsiteX13" fmla="*/ 27773 w 35240"/>
                    <a:gd name="connsiteY13" fmla="*/ 37974 h 51347"/>
                    <a:gd name="connsiteX14" fmla="*/ 34448 w 35240"/>
                    <a:gd name="connsiteY14" fmla="*/ 44648 h 51347"/>
                    <a:gd name="connsiteX15" fmla="*/ 27722 w 35240"/>
                    <a:gd name="connsiteY15" fmla="*/ 51348 h 51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40" h="51347">
                      <a:moveTo>
                        <a:pt x="27722" y="51348"/>
                      </a:moveTo>
                      <a:lnTo>
                        <a:pt x="19411" y="51348"/>
                      </a:lnTo>
                      <a:cubicBezTo>
                        <a:pt x="9259" y="51348"/>
                        <a:pt x="1000" y="43088"/>
                        <a:pt x="1000" y="32936"/>
                      </a:cubicBezTo>
                      <a:lnTo>
                        <a:pt x="1000" y="10587"/>
                      </a:lnTo>
                      <a:cubicBezTo>
                        <a:pt x="412" y="9692"/>
                        <a:pt x="54" y="8541"/>
                        <a:pt x="3" y="7032"/>
                      </a:cubicBezTo>
                      <a:cubicBezTo>
                        <a:pt x="-23" y="6342"/>
                        <a:pt x="3" y="409"/>
                        <a:pt x="7367" y="51"/>
                      </a:cubicBezTo>
                      <a:cubicBezTo>
                        <a:pt x="7981" y="25"/>
                        <a:pt x="8543" y="77"/>
                        <a:pt x="9132" y="204"/>
                      </a:cubicBezTo>
                      <a:cubicBezTo>
                        <a:pt x="11459" y="204"/>
                        <a:pt x="16726" y="179"/>
                        <a:pt x="28464" y="0"/>
                      </a:cubicBezTo>
                      <a:cubicBezTo>
                        <a:pt x="32172" y="51"/>
                        <a:pt x="35189" y="2890"/>
                        <a:pt x="35240" y="6572"/>
                      </a:cubicBezTo>
                      <a:cubicBezTo>
                        <a:pt x="35291" y="10254"/>
                        <a:pt x="32351" y="13297"/>
                        <a:pt x="28668" y="13348"/>
                      </a:cubicBezTo>
                      <a:cubicBezTo>
                        <a:pt x="22250" y="13451"/>
                        <a:pt x="17647" y="13502"/>
                        <a:pt x="14399" y="13527"/>
                      </a:cubicBezTo>
                      <a:lnTo>
                        <a:pt x="14399" y="32911"/>
                      </a:lnTo>
                      <a:cubicBezTo>
                        <a:pt x="14399" y="35698"/>
                        <a:pt x="16675" y="37974"/>
                        <a:pt x="19463" y="37974"/>
                      </a:cubicBezTo>
                      <a:lnTo>
                        <a:pt x="27773" y="37974"/>
                      </a:lnTo>
                      <a:cubicBezTo>
                        <a:pt x="31456" y="37974"/>
                        <a:pt x="34448" y="40966"/>
                        <a:pt x="34448" y="44648"/>
                      </a:cubicBezTo>
                      <a:cubicBezTo>
                        <a:pt x="34448" y="48330"/>
                        <a:pt x="31404" y="51348"/>
                        <a:pt x="27722" y="51348"/>
                      </a:cubicBezTo>
                      <a:close/>
                    </a:path>
                  </a:pathLst>
                </a:custGeom>
                <a:grpFill/>
                <a:ln w="2553" cap="flat">
                  <a:noFill/>
                  <a:prstDash val="solid"/>
                  <a:miter/>
                </a:ln>
              </p:spPr>
              <p:txBody>
                <a:bodyPr rtlCol="0" anchor="ctr"/>
                <a:lstStyle/>
                <a:p>
                  <a:endParaRPr lang="en-GB" dirty="0"/>
                </a:p>
              </p:txBody>
            </p:sp>
            <p:sp>
              <p:nvSpPr>
                <p:cNvPr id="1189" name="Freihandform: Form 1188">
                  <a:extLst>
                    <a:ext uri="{FF2B5EF4-FFF2-40B4-BE49-F238E27FC236}">
                      <a16:creationId xmlns:a16="http://schemas.microsoft.com/office/drawing/2014/main" id="{523ED397-B97A-4B28-8AFA-69480F4B7213}"/>
                    </a:ext>
                  </a:extLst>
                </p:cNvPr>
                <p:cNvSpPr/>
                <p:nvPr/>
              </p:nvSpPr>
              <p:spPr>
                <a:xfrm>
                  <a:off x="6966468" y="3522360"/>
                  <a:ext cx="196735" cy="146883"/>
                </a:xfrm>
                <a:custGeom>
                  <a:avLst/>
                  <a:gdLst>
                    <a:gd name="connsiteX0" fmla="*/ 107001 w 196735"/>
                    <a:gd name="connsiteY0" fmla="*/ 146884 h 146883"/>
                    <a:gd name="connsiteX1" fmla="*/ 25274 w 196735"/>
                    <a:gd name="connsiteY1" fmla="*/ 146884 h 146883"/>
                    <a:gd name="connsiteX2" fmla="*/ 5021 w 196735"/>
                    <a:gd name="connsiteY2" fmla="*/ 137473 h 146883"/>
                    <a:gd name="connsiteX3" fmla="*/ 2234 w 196735"/>
                    <a:gd name="connsiteY3" fmla="*/ 106890 h 146883"/>
                    <a:gd name="connsiteX4" fmla="*/ 22895 w 196735"/>
                    <a:gd name="connsiteY4" fmla="*/ 42909 h 146883"/>
                    <a:gd name="connsiteX5" fmla="*/ 73911 w 196735"/>
                    <a:gd name="connsiteY5" fmla="*/ 0 h 146883"/>
                    <a:gd name="connsiteX6" fmla="*/ 78693 w 196735"/>
                    <a:gd name="connsiteY6" fmla="*/ 0 h 146883"/>
                    <a:gd name="connsiteX7" fmla="*/ 84395 w 196735"/>
                    <a:gd name="connsiteY7" fmla="*/ 3196 h 146883"/>
                    <a:gd name="connsiteX8" fmla="*/ 118559 w 196735"/>
                    <a:gd name="connsiteY8" fmla="*/ 59019 h 146883"/>
                    <a:gd name="connsiteX9" fmla="*/ 153107 w 196735"/>
                    <a:gd name="connsiteY9" fmla="*/ 3196 h 146883"/>
                    <a:gd name="connsiteX10" fmla="*/ 158809 w 196735"/>
                    <a:gd name="connsiteY10" fmla="*/ 0 h 146883"/>
                    <a:gd name="connsiteX11" fmla="*/ 163591 w 196735"/>
                    <a:gd name="connsiteY11" fmla="*/ 0 h 146883"/>
                    <a:gd name="connsiteX12" fmla="*/ 194354 w 196735"/>
                    <a:gd name="connsiteY12" fmla="*/ 10791 h 146883"/>
                    <a:gd name="connsiteX13" fmla="*/ 195172 w 196735"/>
                    <a:gd name="connsiteY13" fmla="*/ 20202 h 146883"/>
                    <a:gd name="connsiteX14" fmla="*/ 185761 w 196735"/>
                    <a:gd name="connsiteY14" fmla="*/ 21020 h 146883"/>
                    <a:gd name="connsiteX15" fmla="*/ 163591 w 196735"/>
                    <a:gd name="connsiteY15" fmla="*/ 13374 h 146883"/>
                    <a:gd name="connsiteX16" fmla="*/ 162568 w 196735"/>
                    <a:gd name="connsiteY16" fmla="*/ 13374 h 146883"/>
                    <a:gd name="connsiteX17" fmla="*/ 130348 w 196735"/>
                    <a:gd name="connsiteY17" fmla="*/ 66026 h 146883"/>
                    <a:gd name="connsiteX18" fmla="*/ 118789 w 196735"/>
                    <a:gd name="connsiteY18" fmla="*/ 72726 h 146883"/>
                    <a:gd name="connsiteX19" fmla="*/ 107026 w 196735"/>
                    <a:gd name="connsiteY19" fmla="*/ 65719 h 146883"/>
                    <a:gd name="connsiteX20" fmla="*/ 74985 w 196735"/>
                    <a:gd name="connsiteY20" fmla="*/ 13400 h 146883"/>
                    <a:gd name="connsiteX21" fmla="*/ 73962 w 196735"/>
                    <a:gd name="connsiteY21" fmla="*/ 13400 h 146883"/>
                    <a:gd name="connsiteX22" fmla="*/ 35579 w 196735"/>
                    <a:gd name="connsiteY22" fmla="*/ 47231 h 146883"/>
                    <a:gd name="connsiteX23" fmla="*/ 14994 w 196735"/>
                    <a:gd name="connsiteY23" fmla="*/ 110981 h 146883"/>
                    <a:gd name="connsiteX24" fmla="*/ 15838 w 196735"/>
                    <a:gd name="connsiteY24" fmla="*/ 129597 h 146883"/>
                    <a:gd name="connsiteX25" fmla="*/ 25325 w 196735"/>
                    <a:gd name="connsiteY25" fmla="*/ 133535 h 146883"/>
                    <a:gd name="connsiteX26" fmla="*/ 107052 w 196735"/>
                    <a:gd name="connsiteY26" fmla="*/ 133535 h 146883"/>
                    <a:gd name="connsiteX27" fmla="*/ 112115 w 196735"/>
                    <a:gd name="connsiteY27" fmla="*/ 128472 h 146883"/>
                    <a:gd name="connsiteX28" fmla="*/ 112115 w 196735"/>
                    <a:gd name="connsiteY28" fmla="*/ 108884 h 146883"/>
                    <a:gd name="connsiteX29" fmla="*/ 51306 w 196735"/>
                    <a:gd name="connsiteY29" fmla="*/ 108910 h 146883"/>
                    <a:gd name="connsiteX30" fmla="*/ 45757 w 196735"/>
                    <a:gd name="connsiteY30" fmla="*/ 106071 h 146883"/>
                    <a:gd name="connsiteX31" fmla="*/ 44964 w 196735"/>
                    <a:gd name="connsiteY31" fmla="*/ 99883 h 146883"/>
                    <a:gd name="connsiteX32" fmla="*/ 55090 w 196735"/>
                    <a:gd name="connsiteY32" fmla="*/ 72803 h 146883"/>
                    <a:gd name="connsiteX33" fmla="*/ 63682 w 196735"/>
                    <a:gd name="connsiteY33" fmla="*/ 68890 h 146883"/>
                    <a:gd name="connsiteX34" fmla="*/ 67595 w 196735"/>
                    <a:gd name="connsiteY34" fmla="*/ 77482 h 146883"/>
                    <a:gd name="connsiteX35" fmla="*/ 60869 w 196735"/>
                    <a:gd name="connsiteY35" fmla="*/ 95459 h 146883"/>
                    <a:gd name="connsiteX36" fmla="*/ 118866 w 196735"/>
                    <a:gd name="connsiteY36" fmla="*/ 95613 h 146883"/>
                    <a:gd name="connsiteX37" fmla="*/ 125464 w 196735"/>
                    <a:gd name="connsiteY37" fmla="*/ 102287 h 146883"/>
                    <a:gd name="connsiteX38" fmla="*/ 125464 w 196735"/>
                    <a:gd name="connsiteY38" fmla="*/ 128472 h 146883"/>
                    <a:gd name="connsiteX39" fmla="*/ 107001 w 196735"/>
                    <a:gd name="connsiteY39" fmla="*/ 146884 h 14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6735" h="146883">
                      <a:moveTo>
                        <a:pt x="107001" y="146884"/>
                      </a:moveTo>
                      <a:lnTo>
                        <a:pt x="25274" y="146884"/>
                      </a:lnTo>
                      <a:cubicBezTo>
                        <a:pt x="14227" y="146884"/>
                        <a:pt x="8166" y="141769"/>
                        <a:pt x="5021" y="137473"/>
                      </a:cubicBezTo>
                      <a:cubicBezTo>
                        <a:pt x="-503" y="129930"/>
                        <a:pt x="-1525" y="118780"/>
                        <a:pt x="2234" y="106890"/>
                      </a:cubicBezTo>
                      <a:lnTo>
                        <a:pt x="22895" y="42909"/>
                      </a:lnTo>
                      <a:cubicBezTo>
                        <a:pt x="33022" y="14397"/>
                        <a:pt x="50181" y="0"/>
                        <a:pt x="73911" y="0"/>
                      </a:cubicBezTo>
                      <a:lnTo>
                        <a:pt x="78693" y="0"/>
                      </a:lnTo>
                      <a:cubicBezTo>
                        <a:pt x="81020" y="0"/>
                        <a:pt x="83168" y="1202"/>
                        <a:pt x="84395" y="3196"/>
                      </a:cubicBezTo>
                      <a:lnTo>
                        <a:pt x="118559" y="59019"/>
                      </a:lnTo>
                      <a:lnTo>
                        <a:pt x="153107" y="3196"/>
                      </a:lnTo>
                      <a:cubicBezTo>
                        <a:pt x="154308" y="1202"/>
                        <a:pt x="156482" y="0"/>
                        <a:pt x="158809" y="0"/>
                      </a:cubicBezTo>
                      <a:lnTo>
                        <a:pt x="163591" y="0"/>
                      </a:lnTo>
                      <a:cubicBezTo>
                        <a:pt x="175482" y="0"/>
                        <a:pt x="185864" y="3631"/>
                        <a:pt x="194354" y="10791"/>
                      </a:cubicBezTo>
                      <a:cubicBezTo>
                        <a:pt x="197166" y="13169"/>
                        <a:pt x="197550" y="17363"/>
                        <a:pt x="195172" y="20202"/>
                      </a:cubicBezTo>
                      <a:cubicBezTo>
                        <a:pt x="192794" y="23015"/>
                        <a:pt x="188600" y="23398"/>
                        <a:pt x="185761" y="21020"/>
                      </a:cubicBezTo>
                      <a:cubicBezTo>
                        <a:pt x="179650" y="15880"/>
                        <a:pt x="172387" y="13374"/>
                        <a:pt x="163591" y="13374"/>
                      </a:cubicBezTo>
                      <a:lnTo>
                        <a:pt x="162568" y="13374"/>
                      </a:lnTo>
                      <a:lnTo>
                        <a:pt x="130348" y="66026"/>
                      </a:lnTo>
                      <a:cubicBezTo>
                        <a:pt x="128200" y="70041"/>
                        <a:pt x="123699" y="72726"/>
                        <a:pt x="118789" y="72726"/>
                      </a:cubicBezTo>
                      <a:cubicBezTo>
                        <a:pt x="113879" y="72726"/>
                        <a:pt x="109379" y="70041"/>
                        <a:pt x="107026" y="65719"/>
                      </a:cubicBezTo>
                      <a:lnTo>
                        <a:pt x="74985" y="13400"/>
                      </a:lnTo>
                      <a:lnTo>
                        <a:pt x="73962" y="13400"/>
                      </a:lnTo>
                      <a:cubicBezTo>
                        <a:pt x="55985" y="13400"/>
                        <a:pt x="43788" y="24140"/>
                        <a:pt x="35579" y="47231"/>
                      </a:cubicBezTo>
                      <a:lnTo>
                        <a:pt x="14994" y="110981"/>
                      </a:lnTo>
                      <a:cubicBezTo>
                        <a:pt x="12616" y="118499"/>
                        <a:pt x="12948" y="125634"/>
                        <a:pt x="15838" y="129597"/>
                      </a:cubicBezTo>
                      <a:cubicBezTo>
                        <a:pt x="17781" y="132257"/>
                        <a:pt x="20875" y="133535"/>
                        <a:pt x="25325" y="133535"/>
                      </a:cubicBezTo>
                      <a:lnTo>
                        <a:pt x="107052" y="133535"/>
                      </a:lnTo>
                      <a:cubicBezTo>
                        <a:pt x="109839" y="133535"/>
                        <a:pt x="112115" y="131259"/>
                        <a:pt x="112115" y="128472"/>
                      </a:cubicBezTo>
                      <a:lnTo>
                        <a:pt x="112115" y="108884"/>
                      </a:lnTo>
                      <a:cubicBezTo>
                        <a:pt x="99841" y="108782"/>
                        <a:pt x="72811" y="108629"/>
                        <a:pt x="51306" y="108910"/>
                      </a:cubicBezTo>
                      <a:cubicBezTo>
                        <a:pt x="49285" y="108986"/>
                        <a:pt x="47035" y="107887"/>
                        <a:pt x="45757" y="106071"/>
                      </a:cubicBezTo>
                      <a:cubicBezTo>
                        <a:pt x="44478" y="104281"/>
                        <a:pt x="44197" y="101954"/>
                        <a:pt x="44964" y="99883"/>
                      </a:cubicBezTo>
                      <a:lnTo>
                        <a:pt x="55090" y="72803"/>
                      </a:lnTo>
                      <a:cubicBezTo>
                        <a:pt x="56394" y="69350"/>
                        <a:pt x="60205" y="67612"/>
                        <a:pt x="63682" y="68890"/>
                      </a:cubicBezTo>
                      <a:cubicBezTo>
                        <a:pt x="67135" y="70169"/>
                        <a:pt x="68873" y="74030"/>
                        <a:pt x="67595" y="77482"/>
                      </a:cubicBezTo>
                      <a:lnTo>
                        <a:pt x="60869" y="95459"/>
                      </a:lnTo>
                      <a:cubicBezTo>
                        <a:pt x="87899" y="95254"/>
                        <a:pt x="118534" y="95613"/>
                        <a:pt x="118866" y="95613"/>
                      </a:cubicBezTo>
                      <a:cubicBezTo>
                        <a:pt x="122523" y="95664"/>
                        <a:pt x="125464" y="98630"/>
                        <a:pt x="125464" y="102287"/>
                      </a:cubicBezTo>
                      <a:lnTo>
                        <a:pt x="125464" y="128472"/>
                      </a:lnTo>
                      <a:cubicBezTo>
                        <a:pt x="125412" y="138624"/>
                        <a:pt x="117153" y="146884"/>
                        <a:pt x="107001" y="146884"/>
                      </a:cubicBezTo>
                      <a:close/>
                    </a:path>
                  </a:pathLst>
                </a:custGeom>
                <a:grpFill/>
                <a:ln w="2553" cap="flat">
                  <a:noFill/>
                  <a:prstDash val="solid"/>
                  <a:miter/>
                </a:ln>
              </p:spPr>
              <p:txBody>
                <a:bodyPr rtlCol="0" anchor="ctr"/>
                <a:lstStyle/>
                <a:p>
                  <a:endParaRPr lang="en-GB" dirty="0"/>
                </a:p>
              </p:txBody>
            </p:sp>
          </p:grpSp>
          <p:grpSp>
            <p:nvGrpSpPr>
              <p:cNvPr id="1171" name="Grafik 313">
                <a:extLst>
                  <a:ext uri="{FF2B5EF4-FFF2-40B4-BE49-F238E27FC236}">
                    <a16:creationId xmlns:a16="http://schemas.microsoft.com/office/drawing/2014/main" id="{1DA697F5-2C69-4CD0-943E-CFF2EF54FF70}"/>
                  </a:ext>
                </a:extLst>
              </p:cNvPr>
              <p:cNvGrpSpPr/>
              <p:nvPr/>
            </p:nvGrpSpPr>
            <p:grpSpPr>
              <a:xfrm>
                <a:off x="7389275" y="3310290"/>
                <a:ext cx="220449" cy="299152"/>
                <a:chOff x="7315927" y="3402250"/>
                <a:chExt cx="196751" cy="266993"/>
              </a:xfrm>
              <a:grpFill/>
            </p:grpSpPr>
            <p:sp>
              <p:nvSpPr>
                <p:cNvPr id="1180" name="Freihandform: Form 1179">
                  <a:extLst>
                    <a:ext uri="{FF2B5EF4-FFF2-40B4-BE49-F238E27FC236}">
                      <a16:creationId xmlns:a16="http://schemas.microsoft.com/office/drawing/2014/main" id="{5E828B6D-A994-4EE8-8AAF-7F44DA982F22}"/>
                    </a:ext>
                  </a:extLst>
                </p:cNvPr>
                <p:cNvSpPr/>
                <p:nvPr/>
              </p:nvSpPr>
              <p:spPr>
                <a:xfrm>
                  <a:off x="7380559" y="3522386"/>
                  <a:ext cx="26696" cy="13348"/>
                </a:xfrm>
                <a:custGeom>
                  <a:avLst/>
                  <a:gdLst>
                    <a:gd name="connsiteX0" fmla="*/ 20023 w 26696"/>
                    <a:gd name="connsiteY0" fmla="*/ 13348 h 13348"/>
                    <a:gd name="connsiteX1" fmla="*/ 6674 w 26696"/>
                    <a:gd name="connsiteY1" fmla="*/ 13348 h 13348"/>
                    <a:gd name="connsiteX2" fmla="*/ 0 w 26696"/>
                    <a:gd name="connsiteY2" fmla="*/ 6674 h 13348"/>
                    <a:gd name="connsiteX3" fmla="*/ 6674 w 26696"/>
                    <a:gd name="connsiteY3" fmla="*/ 0 h 13348"/>
                    <a:gd name="connsiteX4" fmla="*/ 20023 w 26696"/>
                    <a:gd name="connsiteY4" fmla="*/ 0 h 13348"/>
                    <a:gd name="connsiteX5" fmla="*/ 26697 w 26696"/>
                    <a:gd name="connsiteY5" fmla="*/ 6674 h 13348"/>
                    <a:gd name="connsiteX6" fmla="*/ 20023 w 26696"/>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96" h="13348">
                      <a:moveTo>
                        <a:pt x="20023" y="13348"/>
                      </a:moveTo>
                      <a:lnTo>
                        <a:pt x="6674" y="13348"/>
                      </a:lnTo>
                      <a:cubicBezTo>
                        <a:pt x="2992" y="13348"/>
                        <a:pt x="0" y="10356"/>
                        <a:pt x="0" y="6674"/>
                      </a:cubicBezTo>
                      <a:cubicBezTo>
                        <a:pt x="0" y="2992"/>
                        <a:pt x="2992" y="0"/>
                        <a:pt x="6674" y="0"/>
                      </a:cubicBezTo>
                      <a:lnTo>
                        <a:pt x="20023" y="0"/>
                      </a:lnTo>
                      <a:cubicBezTo>
                        <a:pt x="23705" y="0"/>
                        <a:pt x="26697" y="2992"/>
                        <a:pt x="26697" y="6674"/>
                      </a:cubicBezTo>
                      <a:cubicBezTo>
                        <a:pt x="26697" y="10382"/>
                        <a:pt x="23705" y="13348"/>
                        <a:pt x="20023" y="13348"/>
                      </a:cubicBezTo>
                      <a:close/>
                    </a:path>
                  </a:pathLst>
                </a:custGeom>
                <a:grpFill/>
                <a:ln w="2553" cap="flat">
                  <a:noFill/>
                  <a:prstDash val="solid"/>
                  <a:miter/>
                </a:ln>
              </p:spPr>
              <p:txBody>
                <a:bodyPr rtlCol="0" anchor="ctr"/>
                <a:lstStyle/>
                <a:p>
                  <a:endParaRPr lang="en-GB" dirty="0"/>
                </a:p>
              </p:txBody>
            </p:sp>
            <p:sp>
              <p:nvSpPr>
                <p:cNvPr id="1181" name="Freihandform: Form 1180">
                  <a:extLst>
                    <a:ext uri="{FF2B5EF4-FFF2-40B4-BE49-F238E27FC236}">
                      <a16:creationId xmlns:a16="http://schemas.microsoft.com/office/drawing/2014/main" id="{AA2CC67A-0878-4125-B9BA-95D88671F75B}"/>
                    </a:ext>
                  </a:extLst>
                </p:cNvPr>
                <p:cNvSpPr/>
                <p:nvPr/>
              </p:nvSpPr>
              <p:spPr>
                <a:xfrm>
                  <a:off x="7347188" y="3402250"/>
                  <a:ext cx="93438" cy="106787"/>
                </a:xfrm>
                <a:custGeom>
                  <a:avLst/>
                  <a:gdLst>
                    <a:gd name="connsiteX0" fmla="*/ 46719 w 93438"/>
                    <a:gd name="connsiteY0" fmla="*/ 106787 h 106787"/>
                    <a:gd name="connsiteX1" fmla="*/ 0 w 93438"/>
                    <a:gd name="connsiteY1" fmla="*/ 53394 h 106787"/>
                    <a:gd name="connsiteX2" fmla="*/ 46719 w 93438"/>
                    <a:gd name="connsiteY2" fmla="*/ 0 h 106787"/>
                    <a:gd name="connsiteX3" fmla="*/ 93439 w 93438"/>
                    <a:gd name="connsiteY3" fmla="*/ 53394 h 106787"/>
                    <a:gd name="connsiteX4" fmla="*/ 46719 w 93438"/>
                    <a:gd name="connsiteY4" fmla="*/ 106787 h 106787"/>
                    <a:gd name="connsiteX5" fmla="*/ 46719 w 93438"/>
                    <a:gd name="connsiteY5" fmla="*/ 13348 h 106787"/>
                    <a:gd name="connsiteX6" fmla="*/ 13348 w 93438"/>
                    <a:gd name="connsiteY6" fmla="*/ 53394 h 106787"/>
                    <a:gd name="connsiteX7" fmla="*/ 46719 w 93438"/>
                    <a:gd name="connsiteY7" fmla="*/ 93439 h 106787"/>
                    <a:gd name="connsiteX8" fmla="*/ 80090 w 93438"/>
                    <a:gd name="connsiteY8" fmla="*/ 53394 h 106787"/>
                    <a:gd name="connsiteX9" fmla="*/ 46719 w 93438"/>
                    <a:gd name="connsiteY9" fmla="*/ 13348 h 10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38" h="106787">
                      <a:moveTo>
                        <a:pt x="46719" y="106787"/>
                      </a:moveTo>
                      <a:cubicBezTo>
                        <a:pt x="18770" y="106787"/>
                        <a:pt x="0" y="85333"/>
                        <a:pt x="0" y="53394"/>
                      </a:cubicBezTo>
                      <a:cubicBezTo>
                        <a:pt x="0" y="21455"/>
                        <a:pt x="18770" y="0"/>
                        <a:pt x="46719" y="0"/>
                      </a:cubicBezTo>
                      <a:cubicBezTo>
                        <a:pt x="74669" y="0"/>
                        <a:pt x="93439" y="21455"/>
                        <a:pt x="93439" y="53394"/>
                      </a:cubicBezTo>
                      <a:cubicBezTo>
                        <a:pt x="93439" y="85333"/>
                        <a:pt x="74669" y="106787"/>
                        <a:pt x="46719" y="106787"/>
                      </a:cubicBezTo>
                      <a:close/>
                      <a:moveTo>
                        <a:pt x="46719" y="13348"/>
                      </a:moveTo>
                      <a:cubicBezTo>
                        <a:pt x="22094" y="13348"/>
                        <a:pt x="13348" y="34931"/>
                        <a:pt x="13348" y="53394"/>
                      </a:cubicBezTo>
                      <a:cubicBezTo>
                        <a:pt x="13348" y="71856"/>
                        <a:pt x="22094" y="93439"/>
                        <a:pt x="46719" y="93439"/>
                      </a:cubicBezTo>
                      <a:cubicBezTo>
                        <a:pt x="71345" y="93439"/>
                        <a:pt x="80090" y="71856"/>
                        <a:pt x="80090" y="53394"/>
                      </a:cubicBezTo>
                      <a:cubicBezTo>
                        <a:pt x="80090" y="34931"/>
                        <a:pt x="71345" y="13348"/>
                        <a:pt x="46719" y="13348"/>
                      </a:cubicBezTo>
                      <a:close/>
                    </a:path>
                  </a:pathLst>
                </a:custGeom>
                <a:grpFill/>
                <a:ln w="2553" cap="flat">
                  <a:noFill/>
                  <a:prstDash val="solid"/>
                  <a:miter/>
                </a:ln>
              </p:spPr>
              <p:txBody>
                <a:bodyPr rtlCol="0" anchor="ctr"/>
                <a:lstStyle/>
                <a:p>
                  <a:endParaRPr lang="en-GB" dirty="0"/>
                </a:p>
              </p:txBody>
            </p:sp>
            <p:sp>
              <p:nvSpPr>
                <p:cNvPr id="1182" name="Freihandform: Form 1181">
                  <a:extLst>
                    <a:ext uri="{FF2B5EF4-FFF2-40B4-BE49-F238E27FC236}">
                      <a16:creationId xmlns:a16="http://schemas.microsoft.com/office/drawing/2014/main" id="{FEBA901A-2868-471F-8162-BF08A8527310}"/>
                    </a:ext>
                  </a:extLst>
                </p:cNvPr>
                <p:cNvSpPr/>
                <p:nvPr/>
              </p:nvSpPr>
              <p:spPr>
                <a:xfrm>
                  <a:off x="7387233" y="3522411"/>
                  <a:ext cx="13348" cy="66742"/>
                </a:xfrm>
                <a:custGeom>
                  <a:avLst/>
                  <a:gdLst>
                    <a:gd name="connsiteX0" fmla="*/ 6674 w 13348"/>
                    <a:gd name="connsiteY0" fmla="*/ 66742 h 66742"/>
                    <a:gd name="connsiteX1" fmla="*/ 0 w 13348"/>
                    <a:gd name="connsiteY1" fmla="*/ 60068 h 66742"/>
                    <a:gd name="connsiteX2" fmla="*/ 0 w 13348"/>
                    <a:gd name="connsiteY2" fmla="*/ 6674 h 66742"/>
                    <a:gd name="connsiteX3" fmla="*/ 6674 w 13348"/>
                    <a:gd name="connsiteY3" fmla="*/ 0 h 66742"/>
                    <a:gd name="connsiteX4" fmla="*/ 13348 w 13348"/>
                    <a:gd name="connsiteY4" fmla="*/ 6674 h 66742"/>
                    <a:gd name="connsiteX5" fmla="*/ 13348 w 13348"/>
                    <a:gd name="connsiteY5" fmla="*/ 60068 h 66742"/>
                    <a:gd name="connsiteX6" fmla="*/ 6674 w 13348"/>
                    <a:gd name="connsiteY6"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66742">
                      <a:moveTo>
                        <a:pt x="6674" y="66742"/>
                      </a:moveTo>
                      <a:cubicBezTo>
                        <a:pt x="2992" y="66742"/>
                        <a:pt x="0" y="63750"/>
                        <a:pt x="0" y="60068"/>
                      </a:cubicBezTo>
                      <a:lnTo>
                        <a:pt x="0" y="6674"/>
                      </a:lnTo>
                      <a:cubicBezTo>
                        <a:pt x="0" y="2992"/>
                        <a:pt x="2992" y="0"/>
                        <a:pt x="6674" y="0"/>
                      </a:cubicBezTo>
                      <a:cubicBezTo>
                        <a:pt x="10356" y="0"/>
                        <a:pt x="13348" y="2992"/>
                        <a:pt x="13348" y="6674"/>
                      </a:cubicBezTo>
                      <a:lnTo>
                        <a:pt x="13348" y="60068"/>
                      </a:lnTo>
                      <a:cubicBezTo>
                        <a:pt x="13348" y="63750"/>
                        <a:pt x="10356" y="66742"/>
                        <a:pt x="6674" y="66742"/>
                      </a:cubicBezTo>
                      <a:close/>
                    </a:path>
                  </a:pathLst>
                </a:custGeom>
                <a:grpFill/>
                <a:ln w="2553" cap="flat">
                  <a:noFill/>
                  <a:prstDash val="solid"/>
                  <a:miter/>
                </a:ln>
              </p:spPr>
              <p:txBody>
                <a:bodyPr rtlCol="0" anchor="ctr"/>
                <a:lstStyle/>
                <a:p>
                  <a:endParaRPr lang="en-GB" dirty="0"/>
                </a:p>
              </p:txBody>
            </p:sp>
            <p:sp>
              <p:nvSpPr>
                <p:cNvPr id="1183" name="Freihandform: Form 1182">
                  <a:extLst>
                    <a:ext uri="{FF2B5EF4-FFF2-40B4-BE49-F238E27FC236}">
                      <a16:creationId xmlns:a16="http://schemas.microsoft.com/office/drawing/2014/main" id="{7DDE8DA8-4579-4B8B-BD1B-82ADCE8B33BE}"/>
                    </a:ext>
                  </a:extLst>
                </p:cNvPr>
                <p:cNvSpPr/>
                <p:nvPr/>
              </p:nvSpPr>
              <p:spPr>
                <a:xfrm>
                  <a:off x="7366391" y="3617921"/>
                  <a:ext cx="35238" cy="51322"/>
                </a:xfrm>
                <a:custGeom>
                  <a:avLst/>
                  <a:gdLst>
                    <a:gd name="connsiteX0" fmla="*/ 15778 w 35238"/>
                    <a:gd name="connsiteY0" fmla="*/ 51322 h 51322"/>
                    <a:gd name="connsiteX1" fmla="*/ 7493 w 35238"/>
                    <a:gd name="connsiteY1" fmla="*/ 51322 h 51322"/>
                    <a:gd name="connsiteX2" fmla="*/ 819 w 35238"/>
                    <a:gd name="connsiteY2" fmla="*/ 44648 h 51322"/>
                    <a:gd name="connsiteX3" fmla="*/ 7493 w 35238"/>
                    <a:gd name="connsiteY3" fmla="*/ 37974 h 51322"/>
                    <a:gd name="connsiteX4" fmla="*/ 15778 w 35238"/>
                    <a:gd name="connsiteY4" fmla="*/ 37974 h 51322"/>
                    <a:gd name="connsiteX5" fmla="*/ 20842 w 35238"/>
                    <a:gd name="connsiteY5" fmla="*/ 32911 h 51322"/>
                    <a:gd name="connsiteX6" fmla="*/ 20842 w 35238"/>
                    <a:gd name="connsiteY6" fmla="*/ 13528 h 51322"/>
                    <a:gd name="connsiteX7" fmla="*/ 6573 w 35238"/>
                    <a:gd name="connsiteY7" fmla="*/ 13348 h 51322"/>
                    <a:gd name="connsiteX8" fmla="*/ 1 w 35238"/>
                    <a:gd name="connsiteY8" fmla="*/ 6572 h 51322"/>
                    <a:gd name="connsiteX9" fmla="*/ 6777 w 35238"/>
                    <a:gd name="connsiteY9" fmla="*/ 0 h 51322"/>
                    <a:gd name="connsiteX10" fmla="*/ 26109 w 35238"/>
                    <a:gd name="connsiteY10" fmla="*/ 205 h 51322"/>
                    <a:gd name="connsiteX11" fmla="*/ 27874 w 35238"/>
                    <a:gd name="connsiteY11" fmla="*/ 51 h 51322"/>
                    <a:gd name="connsiteX12" fmla="*/ 35238 w 35238"/>
                    <a:gd name="connsiteY12" fmla="*/ 7032 h 51322"/>
                    <a:gd name="connsiteX13" fmla="*/ 34241 w 35238"/>
                    <a:gd name="connsiteY13" fmla="*/ 10587 h 51322"/>
                    <a:gd name="connsiteX14" fmla="*/ 34241 w 35238"/>
                    <a:gd name="connsiteY14" fmla="*/ 32936 h 51322"/>
                    <a:gd name="connsiteX15" fmla="*/ 15778 w 35238"/>
                    <a:gd name="connsiteY15" fmla="*/ 51322 h 5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238" h="51322">
                      <a:moveTo>
                        <a:pt x="15778" y="51322"/>
                      </a:moveTo>
                      <a:lnTo>
                        <a:pt x="7493" y="51322"/>
                      </a:lnTo>
                      <a:cubicBezTo>
                        <a:pt x="3811" y="51322"/>
                        <a:pt x="819" y="48331"/>
                        <a:pt x="819" y="44648"/>
                      </a:cubicBezTo>
                      <a:cubicBezTo>
                        <a:pt x="819" y="40966"/>
                        <a:pt x="3811" y="37974"/>
                        <a:pt x="7493" y="37974"/>
                      </a:cubicBezTo>
                      <a:lnTo>
                        <a:pt x="15778" y="37974"/>
                      </a:lnTo>
                      <a:cubicBezTo>
                        <a:pt x="18566" y="37974"/>
                        <a:pt x="20842" y="35698"/>
                        <a:pt x="20842" y="32911"/>
                      </a:cubicBezTo>
                      <a:lnTo>
                        <a:pt x="20842" y="13528"/>
                      </a:lnTo>
                      <a:cubicBezTo>
                        <a:pt x="17568" y="13502"/>
                        <a:pt x="12966" y="13451"/>
                        <a:pt x="6573" y="13348"/>
                      </a:cubicBezTo>
                      <a:cubicBezTo>
                        <a:pt x="2890" y="13297"/>
                        <a:pt x="-50" y="10254"/>
                        <a:pt x="1" y="6572"/>
                      </a:cubicBezTo>
                      <a:cubicBezTo>
                        <a:pt x="52" y="2890"/>
                        <a:pt x="3172" y="26"/>
                        <a:pt x="6777" y="0"/>
                      </a:cubicBezTo>
                      <a:cubicBezTo>
                        <a:pt x="18489" y="179"/>
                        <a:pt x="23757" y="179"/>
                        <a:pt x="26109" y="205"/>
                      </a:cubicBezTo>
                      <a:cubicBezTo>
                        <a:pt x="26672" y="77"/>
                        <a:pt x="27235" y="26"/>
                        <a:pt x="27874" y="51"/>
                      </a:cubicBezTo>
                      <a:cubicBezTo>
                        <a:pt x="35213" y="409"/>
                        <a:pt x="35238" y="6342"/>
                        <a:pt x="35238" y="7032"/>
                      </a:cubicBezTo>
                      <a:cubicBezTo>
                        <a:pt x="35187" y="8541"/>
                        <a:pt x="34829" y="9692"/>
                        <a:pt x="34241" y="10587"/>
                      </a:cubicBezTo>
                      <a:lnTo>
                        <a:pt x="34241" y="32936"/>
                      </a:lnTo>
                      <a:cubicBezTo>
                        <a:pt x="34190" y="43063"/>
                        <a:pt x="25930" y="51322"/>
                        <a:pt x="15778" y="51322"/>
                      </a:cubicBezTo>
                      <a:close/>
                    </a:path>
                  </a:pathLst>
                </a:custGeom>
                <a:grpFill/>
                <a:ln w="2553" cap="flat">
                  <a:noFill/>
                  <a:prstDash val="solid"/>
                  <a:miter/>
                </a:ln>
              </p:spPr>
              <p:txBody>
                <a:bodyPr rtlCol="0" anchor="ctr"/>
                <a:lstStyle/>
                <a:p>
                  <a:endParaRPr lang="en-GB" dirty="0"/>
                </a:p>
              </p:txBody>
            </p:sp>
            <p:sp>
              <p:nvSpPr>
                <p:cNvPr id="1184" name="Freihandform: Form 1183">
                  <a:extLst>
                    <a:ext uri="{FF2B5EF4-FFF2-40B4-BE49-F238E27FC236}">
                      <a16:creationId xmlns:a16="http://schemas.microsoft.com/office/drawing/2014/main" id="{1417528B-2E6B-4629-9FFA-828F9E6D8771}"/>
                    </a:ext>
                  </a:extLst>
                </p:cNvPr>
                <p:cNvSpPr/>
                <p:nvPr/>
              </p:nvSpPr>
              <p:spPr>
                <a:xfrm>
                  <a:off x="7315927" y="3522411"/>
                  <a:ext cx="196751" cy="146832"/>
                </a:xfrm>
                <a:custGeom>
                  <a:avLst/>
                  <a:gdLst>
                    <a:gd name="connsiteX0" fmla="*/ 171419 w 196751"/>
                    <a:gd name="connsiteY0" fmla="*/ 146833 h 146832"/>
                    <a:gd name="connsiteX1" fmla="*/ 89692 w 196751"/>
                    <a:gd name="connsiteY1" fmla="*/ 146833 h 146832"/>
                    <a:gd name="connsiteX2" fmla="*/ 71280 w 196751"/>
                    <a:gd name="connsiteY2" fmla="*/ 128421 h 146832"/>
                    <a:gd name="connsiteX3" fmla="*/ 71280 w 196751"/>
                    <a:gd name="connsiteY3" fmla="*/ 102235 h 146832"/>
                    <a:gd name="connsiteX4" fmla="*/ 77878 w 196751"/>
                    <a:gd name="connsiteY4" fmla="*/ 95561 h 146832"/>
                    <a:gd name="connsiteX5" fmla="*/ 135874 w 196751"/>
                    <a:gd name="connsiteY5" fmla="*/ 95408 h 146832"/>
                    <a:gd name="connsiteX6" fmla="*/ 129149 w 196751"/>
                    <a:gd name="connsiteY6" fmla="*/ 77431 h 146832"/>
                    <a:gd name="connsiteX7" fmla="*/ 133061 w 196751"/>
                    <a:gd name="connsiteY7" fmla="*/ 68839 h 146832"/>
                    <a:gd name="connsiteX8" fmla="*/ 141654 w 196751"/>
                    <a:gd name="connsiteY8" fmla="*/ 72751 h 146832"/>
                    <a:gd name="connsiteX9" fmla="*/ 151780 w 196751"/>
                    <a:gd name="connsiteY9" fmla="*/ 99832 h 146832"/>
                    <a:gd name="connsiteX10" fmla="*/ 150987 w 196751"/>
                    <a:gd name="connsiteY10" fmla="*/ 106020 h 146832"/>
                    <a:gd name="connsiteX11" fmla="*/ 145438 w 196751"/>
                    <a:gd name="connsiteY11" fmla="*/ 108859 h 146832"/>
                    <a:gd name="connsiteX12" fmla="*/ 84629 w 196751"/>
                    <a:gd name="connsiteY12" fmla="*/ 108833 h 146832"/>
                    <a:gd name="connsiteX13" fmla="*/ 84629 w 196751"/>
                    <a:gd name="connsiteY13" fmla="*/ 128421 h 146832"/>
                    <a:gd name="connsiteX14" fmla="*/ 89692 w 196751"/>
                    <a:gd name="connsiteY14" fmla="*/ 133484 h 146832"/>
                    <a:gd name="connsiteX15" fmla="*/ 171419 w 196751"/>
                    <a:gd name="connsiteY15" fmla="*/ 133484 h 146832"/>
                    <a:gd name="connsiteX16" fmla="*/ 180906 w 196751"/>
                    <a:gd name="connsiteY16" fmla="*/ 129546 h 146832"/>
                    <a:gd name="connsiteX17" fmla="*/ 181750 w 196751"/>
                    <a:gd name="connsiteY17" fmla="*/ 110879 h 146832"/>
                    <a:gd name="connsiteX18" fmla="*/ 161114 w 196751"/>
                    <a:gd name="connsiteY18" fmla="*/ 47001 h 146832"/>
                    <a:gd name="connsiteX19" fmla="*/ 122782 w 196751"/>
                    <a:gd name="connsiteY19" fmla="*/ 13348 h 146832"/>
                    <a:gd name="connsiteX20" fmla="*/ 121759 w 196751"/>
                    <a:gd name="connsiteY20" fmla="*/ 13348 h 146832"/>
                    <a:gd name="connsiteX21" fmla="*/ 89538 w 196751"/>
                    <a:gd name="connsiteY21" fmla="*/ 66000 h 146832"/>
                    <a:gd name="connsiteX22" fmla="*/ 77980 w 196751"/>
                    <a:gd name="connsiteY22" fmla="*/ 72700 h 146832"/>
                    <a:gd name="connsiteX23" fmla="*/ 66217 w 196751"/>
                    <a:gd name="connsiteY23" fmla="*/ 65694 h 146832"/>
                    <a:gd name="connsiteX24" fmla="*/ 34176 w 196751"/>
                    <a:gd name="connsiteY24" fmla="*/ 13374 h 146832"/>
                    <a:gd name="connsiteX25" fmla="*/ 33153 w 196751"/>
                    <a:gd name="connsiteY25" fmla="*/ 13374 h 146832"/>
                    <a:gd name="connsiteX26" fmla="*/ 10982 w 196751"/>
                    <a:gd name="connsiteY26" fmla="*/ 21020 h 146832"/>
                    <a:gd name="connsiteX27" fmla="*/ 1572 w 196751"/>
                    <a:gd name="connsiteY27" fmla="*/ 20202 h 146832"/>
                    <a:gd name="connsiteX28" fmla="*/ 2390 w 196751"/>
                    <a:gd name="connsiteY28" fmla="*/ 10791 h 146832"/>
                    <a:gd name="connsiteX29" fmla="*/ 33153 w 196751"/>
                    <a:gd name="connsiteY29" fmla="*/ 0 h 146832"/>
                    <a:gd name="connsiteX30" fmla="*/ 37935 w 196751"/>
                    <a:gd name="connsiteY30" fmla="*/ 0 h 146832"/>
                    <a:gd name="connsiteX31" fmla="*/ 43637 w 196751"/>
                    <a:gd name="connsiteY31" fmla="*/ 3196 h 146832"/>
                    <a:gd name="connsiteX32" fmla="*/ 77801 w 196751"/>
                    <a:gd name="connsiteY32" fmla="*/ 59019 h 146832"/>
                    <a:gd name="connsiteX33" fmla="*/ 112348 w 196751"/>
                    <a:gd name="connsiteY33" fmla="*/ 3196 h 146832"/>
                    <a:gd name="connsiteX34" fmla="*/ 118051 w 196751"/>
                    <a:gd name="connsiteY34" fmla="*/ 0 h 146832"/>
                    <a:gd name="connsiteX35" fmla="*/ 122833 w 196751"/>
                    <a:gd name="connsiteY35" fmla="*/ 0 h 146832"/>
                    <a:gd name="connsiteX36" fmla="*/ 173797 w 196751"/>
                    <a:gd name="connsiteY36" fmla="*/ 42705 h 146832"/>
                    <a:gd name="connsiteX37" fmla="*/ 194510 w 196751"/>
                    <a:gd name="connsiteY37" fmla="*/ 106813 h 146832"/>
                    <a:gd name="connsiteX38" fmla="*/ 191723 w 196751"/>
                    <a:gd name="connsiteY38" fmla="*/ 137422 h 146832"/>
                    <a:gd name="connsiteX39" fmla="*/ 171419 w 196751"/>
                    <a:gd name="connsiteY39" fmla="*/ 146833 h 14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96751" h="146832">
                      <a:moveTo>
                        <a:pt x="171419" y="146833"/>
                      </a:moveTo>
                      <a:lnTo>
                        <a:pt x="89692" y="146833"/>
                      </a:lnTo>
                      <a:cubicBezTo>
                        <a:pt x="79540" y="146833"/>
                        <a:pt x="71280" y="138573"/>
                        <a:pt x="71280" y="128421"/>
                      </a:cubicBezTo>
                      <a:lnTo>
                        <a:pt x="71280" y="102235"/>
                      </a:lnTo>
                      <a:cubicBezTo>
                        <a:pt x="71280" y="98579"/>
                        <a:pt x="74221" y="95613"/>
                        <a:pt x="77878" y="95561"/>
                      </a:cubicBezTo>
                      <a:cubicBezTo>
                        <a:pt x="78210" y="95561"/>
                        <a:pt x="108845" y="95203"/>
                        <a:pt x="135874" y="95408"/>
                      </a:cubicBezTo>
                      <a:lnTo>
                        <a:pt x="129149" y="77431"/>
                      </a:lnTo>
                      <a:cubicBezTo>
                        <a:pt x="127870" y="73979"/>
                        <a:pt x="129609" y="70117"/>
                        <a:pt x="133061" y="68839"/>
                      </a:cubicBezTo>
                      <a:cubicBezTo>
                        <a:pt x="136514" y="67560"/>
                        <a:pt x="140375" y="69299"/>
                        <a:pt x="141654" y="72751"/>
                      </a:cubicBezTo>
                      <a:lnTo>
                        <a:pt x="151780" y="99832"/>
                      </a:lnTo>
                      <a:cubicBezTo>
                        <a:pt x="152547" y="101903"/>
                        <a:pt x="152266" y="104205"/>
                        <a:pt x="150987" y="106020"/>
                      </a:cubicBezTo>
                      <a:cubicBezTo>
                        <a:pt x="149709" y="107836"/>
                        <a:pt x="147637" y="108935"/>
                        <a:pt x="145438" y="108859"/>
                      </a:cubicBezTo>
                      <a:cubicBezTo>
                        <a:pt x="123932" y="108577"/>
                        <a:pt x="96903" y="108731"/>
                        <a:pt x="84629" y="108833"/>
                      </a:cubicBezTo>
                      <a:lnTo>
                        <a:pt x="84629" y="128421"/>
                      </a:lnTo>
                      <a:cubicBezTo>
                        <a:pt x="84629" y="131208"/>
                        <a:pt x="86905" y="133484"/>
                        <a:pt x="89692" y="133484"/>
                      </a:cubicBezTo>
                      <a:lnTo>
                        <a:pt x="171419" y="133484"/>
                      </a:lnTo>
                      <a:cubicBezTo>
                        <a:pt x="175868" y="133484"/>
                        <a:pt x="178963" y="132206"/>
                        <a:pt x="180906" y="129546"/>
                      </a:cubicBezTo>
                      <a:cubicBezTo>
                        <a:pt x="183796" y="125582"/>
                        <a:pt x="184128" y="118448"/>
                        <a:pt x="181750" y="110879"/>
                      </a:cubicBezTo>
                      <a:lnTo>
                        <a:pt x="161114" y="47001"/>
                      </a:lnTo>
                      <a:cubicBezTo>
                        <a:pt x="152982" y="24088"/>
                        <a:pt x="140784" y="13348"/>
                        <a:pt x="122782" y="13348"/>
                      </a:cubicBezTo>
                      <a:lnTo>
                        <a:pt x="121759" y="13348"/>
                      </a:lnTo>
                      <a:lnTo>
                        <a:pt x="89538" y="66000"/>
                      </a:lnTo>
                      <a:cubicBezTo>
                        <a:pt x="87390" y="70015"/>
                        <a:pt x="82890" y="72700"/>
                        <a:pt x="77980" y="72700"/>
                      </a:cubicBezTo>
                      <a:cubicBezTo>
                        <a:pt x="73070" y="72700"/>
                        <a:pt x="68570" y="70015"/>
                        <a:pt x="66217" y="65694"/>
                      </a:cubicBezTo>
                      <a:lnTo>
                        <a:pt x="34176" y="13374"/>
                      </a:lnTo>
                      <a:lnTo>
                        <a:pt x="33153" y="13374"/>
                      </a:lnTo>
                      <a:cubicBezTo>
                        <a:pt x="24356" y="13374"/>
                        <a:pt x="17094" y="15880"/>
                        <a:pt x="10982" y="21020"/>
                      </a:cubicBezTo>
                      <a:cubicBezTo>
                        <a:pt x="8144" y="23398"/>
                        <a:pt x="3950" y="23015"/>
                        <a:pt x="1572" y="20202"/>
                      </a:cubicBezTo>
                      <a:cubicBezTo>
                        <a:pt x="-806" y="17389"/>
                        <a:pt x="-448" y="13169"/>
                        <a:pt x="2390" y="10791"/>
                      </a:cubicBezTo>
                      <a:cubicBezTo>
                        <a:pt x="10906" y="3631"/>
                        <a:pt x="21262" y="0"/>
                        <a:pt x="33153" y="0"/>
                      </a:cubicBezTo>
                      <a:lnTo>
                        <a:pt x="37935" y="0"/>
                      </a:lnTo>
                      <a:cubicBezTo>
                        <a:pt x="40262" y="0"/>
                        <a:pt x="42410" y="1202"/>
                        <a:pt x="43637" y="3196"/>
                      </a:cubicBezTo>
                      <a:lnTo>
                        <a:pt x="77801" y="59019"/>
                      </a:lnTo>
                      <a:lnTo>
                        <a:pt x="112348" y="3196"/>
                      </a:lnTo>
                      <a:cubicBezTo>
                        <a:pt x="113550" y="1202"/>
                        <a:pt x="115724" y="0"/>
                        <a:pt x="118051" y="0"/>
                      </a:cubicBezTo>
                      <a:lnTo>
                        <a:pt x="122833" y="0"/>
                      </a:lnTo>
                      <a:cubicBezTo>
                        <a:pt x="146589" y="0"/>
                        <a:pt x="163722" y="14371"/>
                        <a:pt x="173797" y="42705"/>
                      </a:cubicBezTo>
                      <a:lnTo>
                        <a:pt x="194510" y="106813"/>
                      </a:lnTo>
                      <a:cubicBezTo>
                        <a:pt x="198269" y="118729"/>
                        <a:pt x="197272" y="129878"/>
                        <a:pt x="191723" y="137422"/>
                      </a:cubicBezTo>
                      <a:cubicBezTo>
                        <a:pt x="188526" y="141718"/>
                        <a:pt x="182466" y="146833"/>
                        <a:pt x="171419" y="146833"/>
                      </a:cubicBezTo>
                      <a:close/>
                    </a:path>
                  </a:pathLst>
                </a:custGeom>
                <a:grpFill/>
                <a:ln w="2553" cap="flat">
                  <a:noFill/>
                  <a:prstDash val="solid"/>
                  <a:miter/>
                </a:ln>
              </p:spPr>
              <p:txBody>
                <a:bodyPr rtlCol="0" anchor="ctr"/>
                <a:lstStyle/>
                <a:p>
                  <a:endParaRPr lang="en-GB" dirty="0"/>
                </a:p>
              </p:txBody>
            </p:sp>
          </p:grpSp>
        </p:grpSp>
        <p:grpSp>
          <p:nvGrpSpPr>
            <p:cNvPr id="1172" name="Grafik 313">
              <a:extLst>
                <a:ext uri="{FF2B5EF4-FFF2-40B4-BE49-F238E27FC236}">
                  <a16:creationId xmlns:a16="http://schemas.microsoft.com/office/drawing/2014/main" id="{A5D843D3-C86D-40E7-9A20-C96112E3168F}"/>
                </a:ext>
              </a:extLst>
            </p:cNvPr>
            <p:cNvGrpSpPr/>
            <p:nvPr/>
          </p:nvGrpSpPr>
          <p:grpSpPr>
            <a:xfrm>
              <a:off x="7119590" y="3442203"/>
              <a:ext cx="314997" cy="263194"/>
              <a:chOff x="7075233" y="3519982"/>
              <a:chExt cx="281135" cy="234901"/>
            </a:xfrm>
            <a:solidFill>
              <a:schemeClr val="accent1"/>
            </a:solidFill>
          </p:grpSpPr>
          <p:sp>
            <p:nvSpPr>
              <p:cNvPr id="1173" name="Freihandform: Form 1172">
                <a:extLst>
                  <a:ext uri="{FF2B5EF4-FFF2-40B4-BE49-F238E27FC236}">
                    <a16:creationId xmlns:a16="http://schemas.microsoft.com/office/drawing/2014/main" id="{C2B2AAD3-62E5-4B2E-8EE5-631035748DA2}"/>
                  </a:ext>
                </a:extLst>
              </p:cNvPr>
              <p:cNvSpPr/>
              <p:nvPr/>
            </p:nvSpPr>
            <p:spPr>
              <a:xfrm>
                <a:off x="7121467" y="3519982"/>
                <a:ext cx="234901" cy="234901"/>
              </a:xfrm>
              <a:custGeom>
                <a:avLst/>
                <a:gdLst>
                  <a:gd name="connsiteX0" fmla="*/ 117425 w 234901"/>
                  <a:gd name="connsiteY0" fmla="*/ 234901 h 234901"/>
                  <a:gd name="connsiteX1" fmla="*/ 33064 w 234901"/>
                  <a:gd name="connsiteY1" fmla="*/ 199178 h 234901"/>
                  <a:gd name="connsiteX2" fmla="*/ 33218 w 234901"/>
                  <a:gd name="connsiteY2" fmla="*/ 189742 h 234901"/>
                  <a:gd name="connsiteX3" fmla="*/ 42654 w 234901"/>
                  <a:gd name="connsiteY3" fmla="*/ 189895 h 234901"/>
                  <a:gd name="connsiteX4" fmla="*/ 117425 w 234901"/>
                  <a:gd name="connsiteY4" fmla="*/ 221579 h 234901"/>
                  <a:gd name="connsiteX5" fmla="*/ 221527 w 234901"/>
                  <a:gd name="connsiteY5" fmla="*/ 117476 h 234901"/>
                  <a:gd name="connsiteX6" fmla="*/ 117425 w 234901"/>
                  <a:gd name="connsiteY6" fmla="*/ 13348 h 234901"/>
                  <a:gd name="connsiteX7" fmla="*/ 13323 w 234901"/>
                  <a:gd name="connsiteY7" fmla="*/ 117476 h 234901"/>
                  <a:gd name="connsiteX8" fmla="*/ 27106 w 234901"/>
                  <a:gd name="connsiteY8" fmla="*/ 169285 h 234901"/>
                  <a:gd name="connsiteX9" fmla="*/ 24651 w 234901"/>
                  <a:gd name="connsiteY9" fmla="*/ 178388 h 234901"/>
                  <a:gd name="connsiteX10" fmla="*/ 15547 w 234901"/>
                  <a:gd name="connsiteY10" fmla="*/ 175933 h 234901"/>
                  <a:gd name="connsiteX11" fmla="*/ 0 w 234901"/>
                  <a:gd name="connsiteY11" fmla="*/ 117476 h 234901"/>
                  <a:gd name="connsiteX12" fmla="*/ 117451 w 234901"/>
                  <a:gd name="connsiteY12" fmla="*/ 0 h 234901"/>
                  <a:gd name="connsiteX13" fmla="*/ 234901 w 234901"/>
                  <a:gd name="connsiteY13" fmla="*/ 117476 h 234901"/>
                  <a:gd name="connsiteX14" fmla="*/ 117425 w 234901"/>
                  <a:gd name="connsiteY14" fmla="*/ 234901 h 23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901" h="234901">
                    <a:moveTo>
                      <a:pt x="117425" y="234901"/>
                    </a:moveTo>
                    <a:cubicBezTo>
                      <a:pt x="85358" y="234901"/>
                      <a:pt x="55388" y="222218"/>
                      <a:pt x="33064" y="199178"/>
                    </a:cubicBezTo>
                    <a:cubicBezTo>
                      <a:pt x="30507" y="196544"/>
                      <a:pt x="30558" y="192299"/>
                      <a:pt x="33218" y="189742"/>
                    </a:cubicBezTo>
                    <a:cubicBezTo>
                      <a:pt x="35851" y="187185"/>
                      <a:pt x="40071" y="187236"/>
                      <a:pt x="42654" y="189895"/>
                    </a:cubicBezTo>
                    <a:cubicBezTo>
                      <a:pt x="62446" y="210327"/>
                      <a:pt x="89015" y="221579"/>
                      <a:pt x="117425" y="221579"/>
                    </a:cubicBezTo>
                    <a:cubicBezTo>
                      <a:pt x="174833" y="221579"/>
                      <a:pt x="221527" y="174885"/>
                      <a:pt x="221527" y="117476"/>
                    </a:cubicBezTo>
                    <a:cubicBezTo>
                      <a:pt x="221527" y="60068"/>
                      <a:pt x="174833" y="13348"/>
                      <a:pt x="117425" y="13348"/>
                    </a:cubicBezTo>
                    <a:cubicBezTo>
                      <a:pt x="60017" y="13348"/>
                      <a:pt x="13323" y="60042"/>
                      <a:pt x="13323" y="117476"/>
                    </a:cubicBezTo>
                    <a:cubicBezTo>
                      <a:pt x="13323" y="135683"/>
                      <a:pt x="18079" y="153609"/>
                      <a:pt x="27106" y="169285"/>
                    </a:cubicBezTo>
                    <a:cubicBezTo>
                      <a:pt x="28947" y="172481"/>
                      <a:pt x="27848" y="176547"/>
                      <a:pt x="24651" y="178388"/>
                    </a:cubicBezTo>
                    <a:cubicBezTo>
                      <a:pt x="21455" y="180229"/>
                      <a:pt x="17389" y="179130"/>
                      <a:pt x="15547" y="175933"/>
                    </a:cubicBezTo>
                    <a:cubicBezTo>
                      <a:pt x="5370" y="158212"/>
                      <a:pt x="0" y="138010"/>
                      <a:pt x="0" y="117476"/>
                    </a:cubicBezTo>
                    <a:cubicBezTo>
                      <a:pt x="0" y="52703"/>
                      <a:pt x="52703" y="0"/>
                      <a:pt x="117451" y="0"/>
                    </a:cubicBezTo>
                    <a:cubicBezTo>
                      <a:pt x="182224" y="0"/>
                      <a:pt x="234901" y="52703"/>
                      <a:pt x="234901" y="117476"/>
                    </a:cubicBezTo>
                    <a:cubicBezTo>
                      <a:pt x="234901" y="182224"/>
                      <a:pt x="182198" y="234901"/>
                      <a:pt x="117425" y="234901"/>
                    </a:cubicBezTo>
                    <a:close/>
                  </a:path>
                </a:pathLst>
              </a:custGeom>
              <a:solidFill>
                <a:schemeClr val="accent1"/>
              </a:solidFill>
              <a:ln w="2553" cap="flat">
                <a:noFill/>
                <a:prstDash val="solid"/>
                <a:miter/>
              </a:ln>
            </p:spPr>
            <p:txBody>
              <a:bodyPr rtlCol="0" anchor="ctr"/>
              <a:lstStyle/>
              <a:p>
                <a:endParaRPr lang="en-GB" dirty="0"/>
              </a:p>
            </p:txBody>
          </p:sp>
          <p:sp>
            <p:nvSpPr>
              <p:cNvPr id="1174" name="Freihandform: Form 1173">
                <a:extLst>
                  <a:ext uri="{FF2B5EF4-FFF2-40B4-BE49-F238E27FC236}">
                    <a16:creationId xmlns:a16="http://schemas.microsoft.com/office/drawing/2014/main" id="{601B82E9-B223-4A2D-8EFE-85829FB8D915}"/>
                  </a:ext>
                </a:extLst>
              </p:cNvPr>
              <p:cNvSpPr/>
              <p:nvPr/>
            </p:nvSpPr>
            <p:spPr>
              <a:xfrm>
                <a:off x="7196775" y="3595342"/>
                <a:ext cx="84233" cy="84207"/>
              </a:xfrm>
              <a:custGeom>
                <a:avLst/>
                <a:gdLst>
                  <a:gd name="connsiteX0" fmla="*/ 42116 w 84233"/>
                  <a:gd name="connsiteY0" fmla="*/ 84208 h 84207"/>
                  <a:gd name="connsiteX1" fmla="*/ 25239 w 84233"/>
                  <a:gd name="connsiteY1" fmla="*/ 80704 h 84207"/>
                  <a:gd name="connsiteX2" fmla="*/ 21813 w 84233"/>
                  <a:gd name="connsiteY2" fmla="*/ 71908 h 84207"/>
                  <a:gd name="connsiteX3" fmla="*/ 30609 w 84233"/>
                  <a:gd name="connsiteY3" fmla="*/ 68481 h 84207"/>
                  <a:gd name="connsiteX4" fmla="*/ 42116 w 84233"/>
                  <a:gd name="connsiteY4" fmla="*/ 70885 h 84207"/>
                  <a:gd name="connsiteX5" fmla="*/ 70885 w 84233"/>
                  <a:gd name="connsiteY5" fmla="*/ 42116 h 84207"/>
                  <a:gd name="connsiteX6" fmla="*/ 42116 w 84233"/>
                  <a:gd name="connsiteY6" fmla="*/ 13348 h 84207"/>
                  <a:gd name="connsiteX7" fmla="*/ 13348 w 84233"/>
                  <a:gd name="connsiteY7" fmla="*/ 42116 h 84207"/>
                  <a:gd name="connsiteX8" fmla="*/ 16826 w 84233"/>
                  <a:gd name="connsiteY8" fmla="*/ 55823 h 84207"/>
                  <a:gd name="connsiteX9" fmla="*/ 14141 w 84233"/>
                  <a:gd name="connsiteY9" fmla="*/ 64875 h 84207"/>
                  <a:gd name="connsiteX10" fmla="*/ 5089 w 84233"/>
                  <a:gd name="connsiteY10" fmla="*/ 62190 h 84207"/>
                  <a:gd name="connsiteX11" fmla="*/ 0 w 84233"/>
                  <a:gd name="connsiteY11" fmla="*/ 42116 h 84207"/>
                  <a:gd name="connsiteX12" fmla="*/ 42116 w 84233"/>
                  <a:gd name="connsiteY12" fmla="*/ 0 h 84207"/>
                  <a:gd name="connsiteX13" fmla="*/ 84233 w 84233"/>
                  <a:gd name="connsiteY13" fmla="*/ 42116 h 84207"/>
                  <a:gd name="connsiteX14" fmla="*/ 42116 w 84233"/>
                  <a:gd name="connsiteY14" fmla="*/ 84208 h 84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233" h="84207">
                    <a:moveTo>
                      <a:pt x="42116" y="84208"/>
                    </a:moveTo>
                    <a:cubicBezTo>
                      <a:pt x="36235" y="84208"/>
                      <a:pt x="30558" y="83031"/>
                      <a:pt x="25239" y="80704"/>
                    </a:cubicBezTo>
                    <a:cubicBezTo>
                      <a:pt x="21864" y="79221"/>
                      <a:pt x="20329" y="75283"/>
                      <a:pt x="21813" y="71908"/>
                    </a:cubicBezTo>
                    <a:cubicBezTo>
                      <a:pt x="23296" y="68532"/>
                      <a:pt x="27208" y="66972"/>
                      <a:pt x="30609" y="68481"/>
                    </a:cubicBezTo>
                    <a:cubicBezTo>
                      <a:pt x="34240" y="70066"/>
                      <a:pt x="38102" y="70885"/>
                      <a:pt x="42116" y="70885"/>
                    </a:cubicBezTo>
                    <a:cubicBezTo>
                      <a:pt x="57971" y="70885"/>
                      <a:pt x="70885" y="57971"/>
                      <a:pt x="70885" y="42116"/>
                    </a:cubicBezTo>
                    <a:cubicBezTo>
                      <a:pt x="70885" y="26262"/>
                      <a:pt x="57971" y="13348"/>
                      <a:pt x="42116" y="13348"/>
                    </a:cubicBezTo>
                    <a:cubicBezTo>
                      <a:pt x="26262" y="13348"/>
                      <a:pt x="13348" y="26262"/>
                      <a:pt x="13348" y="42116"/>
                    </a:cubicBezTo>
                    <a:cubicBezTo>
                      <a:pt x="13348" y="46898"/>
                      <a:pt x="14550" y="51655"/>
                      <a:pt x="16826" y="55823"/>
                    </a:cubicBezTo>
                    <a:cubicBezTo>
                      <a:pt x="18590" y="59071"/>
                      <a:pt x="17389" y="63111"/>
                      <a:pt x="14141" y="64875"/>
                    </a:cubicBezTo>
                    <a:cubicBezTo>
                      <a:pt x="10893" y="66640"/>
                      <a:pt x="6853" y="65438"/>
                      <a:pt x="5089" y="62190"/>
                    </a:cubicBezTo>
                    <a:cubicBezTo>
                      <a:pt x="1764" y="56053"/>
                      <a:pt x="0" y="49123"/>
                      <a:pt x="0" y="42116"/>
                    </a:cubicBezTo>
                    <a:cubicBezTo>
                      <a:pt x="0" y="18897"/>
                      <a:pt x="18897" y="0"/>
                      <a:pt x="42116" y="0"/>
                    </a:cubicBezTo>
                    <a:cubicBezTo>
                      <a:pt x="65336" y="0"/>
                      <a:pt x="84233" y="18897"/>
                      <a:pt x="84233" y="42116"/>
                    </a:cubicBezTo>
                    <a:cubicBezTo>
                      <a:pt x="84259" y="65310"/>
                      <a:pt x="65361" y="84208"/>
                      <a:pt x="42116" y="84208"/>
                    </a:cubicBezTo>
                    <a:close/>
                  </a:path>
                </a:pathLst>
              </a:custGeom>
              <a:solidFill>
                <a:schemeClr val="accent1"/>
              </a:solidFill>
              <a:ln w="2553" cap="flat">
                <a:noFill/>
                <a:prstDash val="solid"/>
                <a:miter/>
              </a:ln>
            </p:spPr>
            <p:txBody>
              <a:bodyPr rtlCol="0" anchor="ctr"/>
              <a:lstStyle/>
              <a:p>
                <a:endParaRPr lang="en-GB" dirty="0"/>
              </a:p>
            </p:txBody>
          </p:sp>
          <p:sp>
            <p:nvSpPr>
              <p:cNvPr id="1175" name="Freihandform: Form 1174">
                <a:extLst>
                  <a:ext uri="{FF2B5EF4-FFF2-40B4-BE49-F238E27FC236}">
                    <a16:creationId xmlns:a16="http://schemas.microsoft.com/office/drawing/2014/main" id="{3E1766A5-DB82-4E83-863F-F5497F865BB7}"/>
                  </a:ext>
                </a:extLst>
              </p:cNvPr>
              <p:cNvSpPr/>
              <p:nvPr/>
            </p:nvSpPr>
            <p:spPr>
              <a:xfrm>
                <a:off x="7156858" y="3555399"/>
                <a:ext cx="164016" cy="164042"/>
              </a:xfrm>
              <a:custGeom>
                <a:avLst/>
                <a:gdLst>
                  <a:gd name="connsiteX0" fmla="*/ 82034 w 164016"/>
                  <a:gd name="connsiteY0" fmla="*/ 164042 h 164042"/>
                  <a:gd name="connsiteX1" fmla="*/ 29075 w 164016"/>
                  <a:gd name="connsiteY1" fmla="*/ 144659 h 164042"/>
                  <a:gd name="connsiteX2" fmla="*/ 28282 w 164016"/>
                  <a:gd name="connsiteY2" fmla="*/ 135248 h 164042"/>
                  <a:gd name="connsiteX3" fmla="*/ 37693 w 164016"/>
                  <a:gd name="connsiteY3" fmla="*/ 134456 h 164042"/>
                  <a:gd name="connsiteX4" fmla="*/ 82008 w 164016"/>
                  <a:gd name="connsiteY4" fmla="*/ 150668 h 164042"/>
                  <a:gd name="connsiteX5" fmla="*/ 150668 w 164016"/>
                  <a:gd name="connsiteY5" fmla="*/ 82008 h 164042"/>
                  <a:gd name="connsiteX6" fmla="*/ 82008 w 164016"/>
                  <a:gd name="connsiteY6" fmla="*/ 13348 h 164042"/>
                  <a:gd name="connsiteX7" fmla="*/ 13348 w 164016"/>
                  <a:gd name="connsiteY7" fmla="*/ 82008 h 164042"/>
                  <a:gd name="connsiteX8" fmla="*/ 22580 w 164016"/>
                  <a:gd name="connsiteY8" fmla="*/ 116402 h 164042"/>
                  <a:gd name="connsiteX9" fmla="*/ 20150 w 164016"/>
                  <a:gd name="connsiteY9" fmla="*/ 125531 h 164042"/>
                  <a:gd name="connsiteX10" fmla="*/ 11021 w 164016"/>
                  <a:gd name="connsiteY10" fmla="*/ 123102 h 164042"/>
                  <a:gd name="connsiteX11" fmla="*/ 0 w 164016"/>
                  <a:gd name="connsiteY11" fmla="*/ 82008 h 164042"/>
                  <a:gd name="connsiteX12" fmla="*/ 82008 w 164016"/>
                  <a:gd name="connsiteY12" fmla="*/ 0 h 164042"/>
                  <a:gd name="connsiteX13" fmla="*/ 164017 w 164016"/>
                  <a:gd name="connsiteY13" fmla="*/ 82008 h 164042"/>
                  <a:gd name="connsiteX14" fmla="*/ 82034 w 164016"/>
                  <a:gd name="connsiteY14" fmla="*/ 164042 h 164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4016" h="164042">
                    <a:moveTo>
                      <a:pt x="82034" y="164042"/>
                    </a:moveTo>
                    <a:cubicBezTo>
                      <a:pt x="62651" y="164042"/>
                      <a:pt x="43855" y="157163"/>
                      <a:pt x="29075" y="144659"/>
                    </a:cubicBezTo>
                    <a:cubicBezTo>
                      <a:pt x="26262" y="142281"/>
                      <a:pt x="25904" y="138061"/>
                      <a:pt x="28282" y="135248"/>
                    </a:cubicBezTo>
                    <a:cubicBezTo>
                      <a:pt x="30660" y="132436"/>
                      <a:pt x="34854" y="132103"/>
                      <a:pt x="37693" y="134456"/>
                    </a:cubicBezTo>
                    <a:cubicBezTo>
                      <a:pt x="50044" y="144915"/>
                      <a:pt x="65796" y="150668"/>
                      <a:pt x="82008" y="150668"/>
                    </a:cubicBezTo>
                    <a:cubicBezTo>
                      <a:pt x="119854" y="150668"/>
                      <a:pt x="150668" y="119880"/>
                      <a:pt x="150668" y="82008"/>
                    </a:cubicBezTo>
                    <a:cubicBezTo>
                      <a:pt x="150668" y="44162"/>
                      <a:pt x="119880" y="13348"/>
                      <a:pt x="82008" y="13348"/>
                    </a:cubicBezTo>
                    <a:cubicBezTo>
                      <a:pt x="44162" y="13348"/>
                      <a:pt x="13348" y="44162"/>
                      <a:pt x="13348" y="82008"/>
                    </a:cubicBezTo>
                    <a:cubicBezTo>
                      <a:pt x="13348" y="94104"/>
                      <a:pt x="16545" y="105994"/>
                      <a:pt x="22580" y="116402"/>
                    </a:cubicBezTo>
                    <a:cubicBezTo>
                      <a:pt x="24421" y="119599"/>
                      <a:pt x="23347" y="123665"/>
                      <a:pt x="20150" y="125531"/>
                    </a:cubicBezTo>
                    <a:cubicBezTo>
                      <a:pt x="16954" y="127398"/>
                      <a:pt x="12888" y="126298"/>
                      <a:pt x="11021" y="123102"/>
                    </a:cubicBezTo>
                    <a:cubicBezTo>
                      <a:pt x="3810" y="110674"/>
                      <a:pt x="0" y="96456"/>
                      <a:pt x="0" y="82008"/>
                    </a:cubicBezTo>
                    <a:cubicBezTo>
                      <a:pt x="0" y="36772"/>
                      <a:pt x="36798" y="0"/>
                      <a:pt x="82008" y="0"/>
                    </a:cubicBezTo>
                    <a:cubicBezTo>
                      <a:pt x="127219" y="0"/>
                      <a:pt x="164017" y="36798"/>
                      <a:pt x="164017" y="82008"/>
                    </a:cubicBezTo>
                    <a:cubicBezTo>
                      <a:pt x="164042" y="127245"/>
                      <a:pt x="127245" y="164042"/>
                      <a:pt x="82034" y="164042"/>
                    </a:cubicBezTo>
                    <a:close/>
                  </a:path>
                </a:pathLst>
              </a:custGeom>
              <a:solidFill>
                <a:schemeClr val="accent1"/>
              </a:solidFill>
              <a:ln w="2553" cap="flat">
                <a:noFill/>
                <a:prstDash val="solid"/>
                <a:miter/>
              </a:ln>
            </p:spPr>
            <p:txBody>
              <a:bodyPr rtlCol="0" anchor="ctr"/>
              <a:lstStyle/>
              <a:p>
                <a:endParaRPr lang="en-GB" dirty="0"/>
              </a:p>
            </p:txBody>
          </p:sp>
          <p:grpSp>
            <p:nvGrpSpPr>
              <p:cNvPr id="1176" name="Grafik 313">
                <a:extLst>
                  <a:ext uri="{FF2B5EF4-FFF2-40B4-BE49-F238E27FC236}">
                    <a16:creationId xmlns:a16="http://schemas.microsoft.com/office/drawing/2014/main" id="{11DC8825-830E-4939-8D5D-60BCBF23B042}"/>
                  </a:ext>
                </a:extLst>
              </p:cNvPr>
              <p:cNvGrpSpPr/>
              <p:nvPr/>
            </p:nvGrpSpPr>
            <p:grpSpPr>
              <a:xfrm>
                <a:off x="7075233" y="3630730"/>
                <a:ext cx="170305" cy="116788"/>
                <a:chOff x="7075233" y="3630730"/>
                <a:chExt cx="170305" cy="116788"/>
              </a:xfrm>
              <a:solidFill>
                <a:schemeClr val="accent1"/>
              </a:solidFill>
            </p:grpSpPr>
            <p:sp>
              <p:nvSpPr>
                <p:cNvPr id="1177" name="Freihandform: Form 1176">
                  <a:extLst>
                    <a:ext uri="{FF2B5EF4-FFF2-40B4-BE49-F238E27FC236}">
                      <a16:creationId xmlns:a16="http://schemas.microsoft.com/office/drawing/2014/main" id="{055A964A-FB3A-414C-8519-3D4782A4724A}"/>
                    </a:ext>
                  </a:extLst>
                </p:cNvPr>
                <p:cNvSpPr/>
                <p:nvPr/>
              </p:nvSpPr>
              <p:spPr>
                <a:xfrm>
                  <a:off x="7075233" y="3680287"/>
                  <a:ext cx="62804" cy="41378"/>
                </a:xfrm>
                <a:custGeom>
                  <a:avLst/>
                  <a:gdLst>
                    <a:gd name="connsiteX0" fmla="*/ 29280 w 62804"/>
                    <a:gd name="connsiteY0" fmla="*/ 41378 h 41378"/>
                    <a:gd name="connsiteX1" fmla="*/ 26032 w 62804"/>
                    <a:gd name="connsiteY1" fmla="*/ 40535 h 41378"/>
                    <a:gd name="connsiteX2" fmla="*/ 3427 w 62804"/>
                    <a:gd name="connsiteY2" fmla="*/ 28004 h 41378"/>
                    <a:gd name="connsiteX3" fmla="*/ 0 w 62804"/>
                    <a:gd name="connsiteY3" fmla="*/ 22225 h 41378"/>
                    <a:gd name="connsiteX4" fmla="*/ 3350 w 62804"/>
                    <a:gd name="connsiteY4" fmla="*/ 16395 h 41378"/>
                    <a:gd name="connsiteX5" fmla="*/ 30201 w 62804"/>
                    <a:gd name="connsiteY5" fmla="*/ 899 h 41378"/>
                    <a:gd name="connsiteX6" fmla="*/ 36772 w 62804"/>
                    <a:gd name="connsiteY6" fmla="*/ 847 h 41378"/>
                    <a:gd name="connsiteX7" fmla="*/ 59378 w 62804"/>
                    <a:gd name="connsiteY7" fmla="*/ 13377 h 41378"/>
                    <a:gd name="connsiteX8" fmla="*/ 62804 w 62804"/>
                    <a:gd name="connsiteY8" fmla="*/ 19157 h 41378"/>
                    <a:gd name="connsiteX9" fmla="*/ 59455 w 62804"/>
                    <a:gd name="connsiteY9" fmla="*/ 24987 h 41378"/>
                    <a:gd name="connsiteX10" fmla="*/ 32604 w 62804"/>
                    <a:gd name="connsiteY10" fmla="*/ 40483 h 41378"/>
                    <a:gd name="connsiteX11" fmla="*/ 29280 w 62804"/>
                    <a:gd name="connsiteY11" fmla="*/ 41378 h 41378"/>
                    <a:gd name="connsiteX12" fmla="*/ 20253 w 62804"/>
                    <a:gd name="connsiteY12" fmla="*/ 22046 h 41378"/>
                    <a:gd name="connsiteX13" fmla="*/ 29229 w 62804"/>
                    <a:gd name="connsiteY13" fmla="*/ 27033 h 41378"/>
                    <a:gd name="connsiteX14" fmla="*/ 42603 w 62804"/>
                    <a:gd name="connsiteY14" fmla="*/ 19310 h 41378"/>
                    <a:gd name="connsiteX15" fmla="*/ 33627 w 62804"/>
                    <a:gd name="connsiteY15" fmla="*/ 14324 h 41378"/>
                    <a:gd name="connsiteX16" fmla="*/ 20253 w 62804"/>
                    <a:gd name="connsiteY16" fmla="*/ 22046 h 41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804" h="41378">
                      <a:moveTo>
                        <a:pt x="29280" y="41378"/>
                      </a:moveTo>
                      <a:cubicBezTo>
                        <a:pt x="28155" y="41378"/>
                        <a:pt x="27055" y="41097"/>
                        <a:pt x="26032" y="40535"/>
                      </a:cubicBezTo>
                      <a:lnTo>
                        <a:pt x="3427" y="28004"/>
                      </a:lnTo>
                      <a:cubicBezTo>
                        <a:pt x="1330" y="26828"/>
                        <a:pt x="0" y="24629"/>
                        <a:pt x="0" y="22225"/>
                      </a:cubicBezTo>
                      <a:cubicBezTo>
                        <a:pt x="-25" y="19821"/>
                        <a:pt x="1253" y="17597"/>
                        <a:pt x="3350" y="16395"/>
                      </a:cubicBezTo>
                      <a:lnTo>
                        <a:pt x="30201" y="899"/>
                      </a:lnTo>
                      <a:cubicBezTo>
                        <a:pt x="32221" y="-278"/>
                        <a:pt x="34727" y="-303"/>
                        <a:pt x="36772" y="847"/>
                      </a:cubicBezTo>
                      <a:lnTo>
                        <a:pt x="59378" y="13377"/>
                      </a:lnTo>
                      <a:cubicBezTo>
                        <a:pt x="61475" y="14554"/>
                        <a:pt x="62804" y="16753"/>
                        <a:pt x="62804" y="19157"/>
                      </a:cubicBezTo>
                      <a:cubicBezTo>
                        <a:pt x="62830" y="21560"/>
                        <a:pt x="61551" y="23785"/>
                        <a:pt x="59455" y="24987"/>
                      </a:cubicBezTo>
                      <a:lnTo>
                        <a:pt x="32604" y="40483"/>
                      </a:lnTo>
                      <a:cubicBezTo>
                        <a:pt x="31607" y="41071"/>
                        <a:pt x="30431" y="41378"/>
                        <a:pt x="29280" y="41378"/>
                      </a:cubicBezTo>
                      <a:close/>
                      <a:moveTo>
                        <a:pt x="20253" y="22046"/>
                      </a:moveTo>
                      <a:lnTo>
                        <a:pt x="29229" y="27033"/>
                      </a:lnTo>
                      <a:lnTo>
                        <a:pt x="42603" y="19310"/>
                      </a:lnTo>
                      <a:lnTo>
                        <a:pt x="33627" y="14324"/>
                      </a:lnTo>
                      <a:lnTo>
                        <a:pt x="20253" y="22046"/>
                      </a:lnTo>
                      <a:close/>
                    </a:path>
                  </a:pathLst>
                </a:custGeom>
                <a:solidFill>
                  <a:schemeClr val="accent1"/>
                </a:solidFill>
                <a:ln w="2553" cap="flat">
                  <a:noFill/>
                  <a:prstDash val="solid"/>
                  <a:miter/>
                </a:ln>
              </p:spPr>
              <p:txBody>
                <a:bodyPr rtlCol="0" anchor="ctr"/>
                <a:lstStyle/>
                <a:p>
                  <a:endParaRPr lang="en-GB" dirty="0"/>
                </a:p>
              </p:txBody>
            </p:sp>
            <p:sp>
              <p:nvSpPr>
                <p:cNvPr id="1178" name="Freihandform: Form 1177">
                  <a:extLst>
                    <a:ext uri="{FF2B5EF4-FFF2-40B4-BE49-F238E27FC236}">
                      <a16:creationId xmlns:a16="http://schemas.microsoft.com/office/drawing/2014/main" id="{01E9070A-8533-4D62-9A24-ECDB38EA0D3B}"/>
                    </a:ext>
                  </a:extLst>
                </p:cNvPr>
                <p:cNvSpPr/>
                <p:nvPr/>
              </p:nvSpPr>
              <p:spPr>
                <a:xfrm>
                  <a:off x="7097402" y="3692853"/>
                  <a:ext cx="40660" cy="54666"/>
                </a:xfrm>
                <a:custGeom>
                  <a:avLst/>
                  <a:gdLst>
                    <a:gd name="connsiteX0" fmla="*/ 6676 w 40660"/>
                    <a:gd name="connsiteY0" fmla="*/ 54666 h 54666"/>
                    <a:gd name="connsiteX1" fmla="*/ 3275 w 40660"/>
                    <a:gd name="connsiteY1" fmla="*/ 53745 h 54666"/>
                    <a:gd name="connsiteX2" fmla="*/ 2 w 40660"/>
                    <a:gd name="connsiteY2" fmla="*/ 47889 h 54666"/>
                    <a:gd name="connsiteX3" fmla="*/ 436 w 40660"/>
                    <a:gd name="connsiteY3" fmla="*/ 22062 h 54666"/>
                    <a:gd name="connsiteX4" fmla="*/ 3786 w 40660"/>
                    <a:gd name="connsiteY4" fmla="*/ 16385 h 54666"/>
                    <a:gd name="connsiteX5" fmla="*/ 30636 w 40660"/>
                    <a:gd name="connsiteY5" fmla="*/ 889 h 54666"/>
                    <a:gd name="connsiteX6" fmla="*/ 37362 w 40660"/>
                    <a:gd name="connsiteY6" fmla="*/ 914 h 54666"/>
                    <a:gd name="connsiteX7" fmla="*/ 40661 w 40660"/>
                    <a:gd name="connsiteY7" fmla="*/ 6770 h 54666"/>
                    <a:gd name="connsiteX8" fmla="*/ 40226 w 40660"/>
                    <a:gd name="connsiteY8" fmla="*/ 32598 h 54666"/>
                    <a:gd name="connsiteX9" fmla="*/ 36876 w 40660"/>
                    <a:gd name="connsiteY9" fmla="*/ 38274 h 54666"/>
                    <a:gd name="connsiteX10" fmla="*/ 10000 w 40660"/>
                    <a:gd name="connsiteY10" fmla="*/ 53771 h 54666"/>
                    <a:gd name="connsiteX11" fmla="*/ 6676 w 40660"/>
                    <a:gd name="connsiteY11" fmla="*/ 54666 h 54666"/>
                    <a:gd name="connsiteX12" fmla="*/ 13733 w 40660"/>
                    <a:gd name="connsiteY12" fmla="*/ 26026 h 54666"/>
                    <a:gd name="connsiteX13" fmla="*/ 13555 w 40660"/>
                    <a:gd name="connsiteY13" fmla="*/ 36305 h 54666"/>
                    <a:gd name="connsiteX14" fmla="*/ 26954 w 40660"/>
                    <a:gd name="connsiteY14" fmla="*/ 28583 h 54666"/>
                    <a:gd name="connsiteX15" fmla="*/ 27133 w 40660"/>
                    <a:gd name="connsiteY15" fmla="*/ 18303 h 54666"/>
                    <a:gd name="connsiteX16" fmla="*/ 13733 w 40660"/>
                    <a:gd name="connsiteY16" fmla="*/ 26026 h 54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660" h="54666">
                      <a:moveTo>
                        <a:pt x="6676" y="54666"/>
                      </a:moveTo>
                      <a:cubicBezTo>
                        <a:pt x="5499" y="54666"/>
                        <a:pt x="4323" y="54359"/>
                        <a:pt x="3275" y="53745"/>
                      </a:cubicBezTo>
                      <a:cubicBezTo>
                        <a:pt x="1203" y="52518"/>
                        <a:pt x="-50" y="50293"/>
                        <a:pt x="2" y="47889"/>
                      </a:cubicBezTo>
                      <a:lnTo>
                        <a:pt x="436" y="22062"/>
                      </a:lnTo>
                      <a:cubicBezTo>
                        <a:pt x="487" y="19709"/>
                        <a:pt x="1740" y="17561"/>
                        <a:pt x="3786" y="16385"/>
                      </a:cubicBezTo>
                      <a:lnTo>
                        <a:pt x="30636" y="889"/>
                      </a:lnTo>
                      <a:cubicBezTo>
                        <a:pt x="32733" y="-313"/>
                        <a:pt x="35291" y="-288"/>
                        <a:pt x="37362" y="914"/>
                      </a:cubicBezTo>
                      <a:cubicBezTo>
                        <a:pt x="39433" y="2142"/>
                        <a:pt x="40686" y="4366"/>
                        <a:pt x="40661" y="6770"/>
                      </a:cubicBezTo>
                      <a:lnTo>
                        <a:pt x="40226" y="32598"/>
                      </a:lnTo>
                      <a:cubicBezTo>
                        <a:pt x="40175" y="34950"/>
                        <a:pt x="38922" y="37098"/>
                        <a:pt x="36876" y="38274"/>
                      </a:cubicBezTo>
                      <a:lnTo>
                        <a:pt x="10000" y="53771"/>
                      </a:lnTo>
                      <a:cubicBezTo>
                        <a:pt x="8977" y="54359"/>
                        <a:pt x="7826" y="54666"/>
                        <a:pt x="6676" y="54666"/>
                      </a:cubicBezTo>
                      <a:close/>
                      <a:moveTo>
                        <a:pt x="13733" y="26026"/>
                      </a:moveTo>
                      <a:lnTo>
                        <a:pt x="13555" y="36305"/>
                      </a:lnTo>
                      <a:lnTo>
                        <a:pt x="26954" y="28583"/>
                      </a:lnTo>
                      <a:lnTo>
                        <a:pt x="27133" y="18303"/>
                      </a:lnTo>
                      <a:lnTo>
                        <a:pt x="13733" y="26026"/>
                      </a:lnTo>
                      <a:close/>
                    </a:path>
                  </a:pathLst>
                </a:custGeom>
                <a:solidFill>
                  <a:schemeClr val="accent1"/>
                </a:solidFill>
                <a:ln w="2553" cap="flat">
                  <a:noFill/>
                  <a:prstDash val="solid"/>
                  <a:miter/>
                </a:ln>
              </p:spPr>
              <p:txBody>
                <a:bodyPr rtlCol="0" anchor="ctr"/>
                <a:lstStyle/>
                <a:p>
                  <a:endParaRPr lang="en-GB" dirty="0"/>
                </a:p>
              </p:txBody>
            </p:sp>
            <p:sp>
              <p:nvSpPr>
                <p:cNvPr id="1179" name="Freihandform: Form 1178">
                  <a:extLst>
                    <a:ext uri="{FF2B5EF4-FFF2-40B4-BE49-F238E27FC236}">
                      <a16:creationId xmlns:a16="http://schemas.microsoft.com/office/drawing/2014/main" id="{747A9D7D-F970-4827-83CD-092EEAFFA0D9}"/>
                    </a:ext>
                  </a:extLst>
                </p:cNvPr>
                <p:cNvSpPr/>
                <p:nvPr/>
              </p:nvSpPr>
              <p:spPr>
                <a:xfrm>
                  <a:off x="7086334" y="3630730"/>
                  <a:ext cx="159203" cy="97584"/>
                </a:xfrm>
                <a:custGeom>
                  <a:avLst/>
                  <a:gdLst>
                    <a:gd name="connsiteX0" fmla="*/ 6672 w 159203"/>
                    <a:gd name="connsiteY0" fmla="*/ 97584 h 97584"/>
                    <a:gd name="connsiteX1" fmla="*/ 892 w 159203"/>
                    <a:gd name="connsiteY1" fmla="*/ 94235 h 97584"/>
                    <a:gd name="connsiteX2" fmla="*/ 3347 w 159203"/>
                    <a:gd name="connsiteY2" fmla="*/ 85106 h 97584"/>
                    <a:gd name="connsiteX3" fmla="*/ 149182 w 159203"/>
                    <a:gd name="connsiteY3" fmla="*/ 898 h 97584"/>
                    <a:gd name="connsiteX4" fmla="*/ 158312 w 159203"/>
                    <a:gd name="connsiteY4" fmla="*/ 3353 h 97584"/>
                    <a:gd name="connsiteX5" fmla="*/ 155857 w 159203"/>
                    <a:gd name="connsiteY5" fmla="*/ 12482 h 97584"/>
                    <a:gd name="connsiteX6" fmla="*/ 10021 w 159203"/>
                    <a:gd name="connsiteY6" fmla="*/ 96689 h 97584"/>
                    <a:gd name="connsiteX7" fmla="*/ 6672 w 159203"/>
                    <a:gd name="connsiteY7" fmla="*/ 97584 h 97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203" h="97584">
                      <a:moveTo>
                        <a:pt x="6672" y="97584"/>
                      </a:moveTo>
                      <a:cubicBezTo>
                        <a:pt x="4370" y="97584"/>
                        <a:pt x="2120" y="96383"/>
                        <a:pt x="892" y="94235"/>
                      </a:cubicBezTo>
                      <a:cubicBezTo>
                        <a:pt x="-949" y="91038"/>
                        <a:pt x="151" y="86972"/>
                        <a:pt x="3347" y="85106"/>
                      </a:cubicBezTo>
                      <a:lnTo>
                        <a:pt x="149182" y="898"/>
                      </a:lnTo>
                      <a:cubicBezTo>
                        <a:pt x="152353" y="-943"/>
                        <a:pt x="156445" y="131"/>
                        <a:pt x="158312" y="3353"/>
                      </a:cubicBezTo>
                      <a:cubicBezTo>
                        <a:pt x="160153" y="6549"/>
                        <a:pt x="159053" y="10615"/>
                        <a:pt x="155857" y="12482"/>
                      </a:cubicBezTo>
                      <a:lnTo>
                        <a:pt x="10021" y="96689"/>
                      </a:lnTo>
                      <a:cubicBezTo>
                        <a:pt x="8973" y="97303"/>
                        <a:pt x="7822" y="97584"/>
                        <a:pt x="6672" y="97584"/>
                      </a:cubicBezTo>
                      <a:close/>
                    </a:path>
                  </a:pathLst>
                </a:custGeom>
                <a:solidFill>
                  <a:schemeClr val="accent1"/>
                </a:solidFill>
                <a:ln w="2553" cap="flat">
                  <a:noFill/>
                  <a:prstDash val="solid"/>
                  <a:miter/>
                </a:ln>
              </p:spPr>
              <p:txBody>
                <a:bodyPr rtlCol="0" anchor="ctr"/>
                <a:lstStyle/>
                <a:p>
                  <a:endParaRPr lang="en-GB" dirty="0"/>
                </a:p>
              </p:txBody>
            </p:sp>
          </p:grpSp>
        </p:grpSp>
      </p:grpSp>
      <p:sp>
        <p:nvSpPr>
          <p:cNvPr id="1190" name="TextBox 1427">
            <a:extLst>
              <a:ext uri="{FF2B5EF4-FFF2-40B4-BE49-F238E27FC236}">
                <a16:creationId xmlns:a16="http://schemas.microsoft.com/office/drawing/2014/main" id="{8262E141-F47E-46D2-BC95-3216EA597745}"/>
              </a:ext>
            </a:extLst>
          </p:cNvPr>
          <p:cNvSpPr txBox="1"/>
          <p:nvPr/>
        </p:nvSpPr>
        <p:spPr>
          <a:xfrm>
            <a:off x="7118188" y="3723675"/>
            <a:ext cx="371897" cy="215444"/>
          </a:xfrm>
          <a:prstGeom prst="rect">
            <a:avLst/>
          </a:prstGeom>
          <a:noFill/>
          <a:effectLst/>
        </p:spPr>
        <p:txBody>
          <a:bodyPr wrap="none" lIns="0" tIns="0" rIns="0" bIns="0" rtlCol="0" anchor="t" anchorCtr="0">
            <a:spAutoFit/>
          </a:bodyPr>
          <a:lstStyle/>
          <a:p>
            <a:pPr algn="ctr"/>
            <a:r>
              <a:rPr lang="en-GB" sz="700" dirty="0">
                <a:solidFill>
                  <a:schemeClr val="tx2"/>
                </a:solidFill>
              </a:rPr>
              <a:t>Audience</a:t>
            </a:r>
            <a:br>
              <a:rPr lang="en-GB" sz="700" dirty="0">
                <a:solidFill>
                  <a:schemeClr val="tx2"/>
                </a:solidFill>
              </a:rPr>
            </a:br>
            <a:r>
              <a:rPr lang="en-GB" sz="700" dirty="0">
                <a:solidFill>
                  <a:schemeClr val="tx2"/>
                </a:solidFill>
              </a:rPr>
              <a:t>reach</a:t>
            </a:r>
          </a:p>
        </p:txBody>
      </p:sp>
      <p:grpSp>
        <p:nvGrpSpPr>
          <p:cNvPr id="57" name="Group 56">
            <a:extLst>
              <a:ext uri="{FF2B5EF4-FFF2-40B4-BE49-F238E27FC236}">
                <a16:creationId xmlns:a16="http://schemas.microsoft.com/office/drawing/2014/main" id="{9EACBF56-3AED-B348-EA34-35EA58216026}"/>
              </a:ext>
            </a:extLst>
          </p:cNvPr>
          <p:cNvGrpSpPr/>
          <p:nvPr/>
        </p:nvGrpSpPr>
        <p:grpSpPr>
          <a:xfrm>
            <a:off x="4986716" y="3273397"/>
            <a:ext cx="453105" cy="432000"/>
            <a:chOff x="4986304" y="3273397"/>
            <a:chExt cx="453105" cy="432000"/>
          </a:xfrm>
        </p:grpSpPr>
        <p:grpSp>
          <p:nvGrpSpPr>
            <p:cNvPr id="1192" name="Grafik 313">
              <a:extLst>
                <a:ext uri="{FF2B5EF4-FFF2-40B4-BE49-F238E27FC236}">
                  <a16:creationId xmlns:a16="http://schemas.microsoft.com/office/drawing/2014/main" id="{0DC04C30-C6B6-4753-9FB1-E6C77C5A0968}"/>
                </a:ext>
              </a:extLst>
            </p:cNvPr>
            <p:cNvGrpSpPr/>
            <p:nvPr/>
          </p:nvGrpSpPr>
          <p:grpSpPr>
            <a:xfrm>
              <a:off x="5144977" y="3273397"/>
              <a:ext cx="294432" cy="359600"/>
              <a:chOff x="5485110" y="3358215"/>
              <a:chExt cx="263624" cy="321973"/>
            </a:xfrm>
            <a:solidFill>
              <a:schemeClr val="tx2"/>
            </a:solidFill>
          </p:grpSpPr>
          <p:grpSp>
            <p:nvGrpSpPr>
              <p:cNvPr id="1201" name="Grafik 313">
                <a:extLst>
                  <a:ext uri="{FF2B5EF4-FFF2-40B4-BE49-F238E27FC236}">
                    <a16:creationId xmlns:a16="http://schemas.microsoft.com/office/drawing/2014/main" id="{77543BA5-BE33-41D4-8E72-7DDFFE4600EB}"/>
                  </a:ext>
                </a:extLst>
              </p:cNvPr>
              <p:cNvGrpSpPr/>
              <p:nvPr/>
            </p:nvGrpSpPr>
            <p:grpSpPr>
              <a:xfrm>
                <a:off x="5559476" y="3358215"/>
                <a:ext cx="189258" cy="321973"/>
                <a:chOff x="5559476" y="3358215"/>
                <a:chExt cx="189258" cy="321973"/>
              </a:xfrm>
              <a:grpFill/>
            </p:grpSpPr>
            <p:grpSp>
              <p:nvGrpSpPr>
                <p:cNvPr id="1204" name="Grafik 313">
                  <a:extLst>
                    <a:ext uri="{FF2B5EF4-FFF2-40B4-BE49-F238E27FC236}">
                      <a16:creationId xmlns:a16="http://schemas.microsoft.com/office/drawing/2014/main" id="{3FA3EB4A-04A0-43D2-B46C-06A37154D130}"/>
                    </a:ext>
                  </a:extLst>
                </p:cNvPr>
                <p:cNvGrpSpPr/>
                <p:nvPr/>
              </p:nvGrpSpPr>
              <p:grpSpPr>
                <a:xfrm>
                  <a:off x="5559476" y="3390633"/>
                  <a:ext cx="189258" cy="289555"/>
                  <a:chOff x="5559476" y="3390633"/>
                  <a:chExt cx="189258" cy="289555"/>
                </a:xfrm>
                <a:grpFill/>
              </p:grpSpPr>
              <p:sp>
                <p:nvSpPr>
                  <p:cNvPr id="1206" name="Freihandform: Form 1205">
                    <a:extLst>
                      <a:ext uri="{FF2B5EF4-FFF2-40B4-BE49-F238E27FC236}">
                        <a16:creationId xmlns:a16="http://schemas.microsoft.com/office/drawing/2014/main" id="{9CC6D8C2-0653-45E4-9950-7971D7DEFA96}"/>
                      </a:ext>
                    </a:extLst>
                  </p:cNvPr>
                  <p:cNvSpPr/>
                  <p:nvPr/>
                </p:nvSpPr>
                <p:spPr>
                  <a:xfrm>
                    <a:off x="5658172" y="3616624"/>
                    <a:ext cx="90562" cy="63563"/>
                  </a:xfrm>
                  <a:custGeom>
                    <a:avLst/>
                    <a:gdLst>
                      <a:gd name="connsiteX0" fmla="*/ 34708 w 90562"/>
                      <a:gd name="connsiteY0" fmla="*/ 63564 h 63563"/>
                      <a:gd name="connsiteX1" fmla="*/ 30309 w 90562"/>
                      <a:gd name="connsiteY1" fmla="*/ 63410 h 63563"/>
                      <a:gd name="connsiteX2" fmla="*/ 2180 w 90562"/>
                      <a:gd name="connsiteY2" fmla="*/ 49193 h 63563"/>
                      <a:gd name="connsiteX3" fmla="*/ 1746 w 90562"/>
                      <a:gd name="connsiteY3" fmla="*/ 39757 h 63563"/>
                      <a:gd name="connsiteX4" fmla="*/ 11182 w 90562"/>
                      <a:gd name="connsiteY4" fmla="*/ 39322 h 63563"/>
                      <a:gd name="connsiteX5" fmla="*/ 31639 w 90562"/>
                      <a:gd name="connsiteY5" fmla="*/ 50113 h 63563"/>
                      <a:gd name="connsiteX6" fmla="*/ 66365 w 90562"/>
                      <a:gd name="connsiteY6" fmla="*/ 38632 h 63563"/>
                      <a:gd name="connsiteX7" fmla="*/ 77157 w 90562"/>
                      <a:gd name="connsiteY7" fmla="*/ 6948 h 63563"/>
                      <a:gd name="connsiteX8" fmla="*/ 83575 w 90562"/>
                      <a:gd name="connsiteY8" fmla="*/ 18 h 63563"/>
                      <a:gd name="connsiteX9" fmla="*/ 90505 w 90562"/>
                      <a:gd name="connsiteY9" fmla="*/ 6437 h 63563"/>
                      <a:gd name="connsiteX10" fmla="*/ 75673 w 90562"/>
                      <a:gd name="connsiteY10" fmla="*/ 48195 h 63563"/>
                      <a:gd name="connsiteX11" fmla="*/ 34708 w 90562"/>
                      <a:gd name="connsiteY11" fmla="*/ 63564 h 6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562" h="63563">
                        <a:moveTo>
                          <a:pt x="34708" y="63564"/>
                        </a:moveTo>
                        <a:cubicBezTo>
                          <a:pt x="33250" y="63564"/>
                          <a:pt x="31792" y="63513"/>
                          <a:pt x="30309" y="63410"/>
                        </a:cubicBezTo>
                        <a:cubicBezTo>
                          <a:pt x="19978" y="62004"/>
                          <a:pt x="11437" y="57631"/>
                          <a:pt x="2180" y="49193"/>
                        </a:cubicBezTo>
                        <a:cubicBezTo>
                          <a:pt x="-556" y="46712"/>
                          <a:pt x="-735" y="42493"/>
                          <a:pt x="1746" y="39757"/>
                        </a:cubicBezTo>
                        <a:cubicBezTo>
                          <a:pt x="4226" y="37020"/>
                          <a:pt x="8445" y="36841"/>
                          <a:pt x="11182" y="39322"/>
                        </a:cubicBezTo>
                        <a:cubicBezTo>
                          <a:pt x="20336" y="47658"/>
                          <a:pt x="26908" y="49474"/>
                          <a:pt x="31639" y="50113"/>
                        </a:cubicBezTo>
                        <a:cubicBezTo>
                          <a:pt x="44962" y="51008"/>
                          <a:pt x="58131" y="46686"/>
                          <a:pt x="66365" y="38632"/>
                        </a:cubicBezTo>
                        <a:cubicBezTo>
                          <a:pt x="74062" y="31139"/>
                          <a:pt x="77693" y="20476"/>
                          <a:pt x="77157" y="6948"/>
                        </a:cubicBezTo>
                        <a:cubicBezTo>
                          <a:pt x="77003" y="3266"/>
                          <a:pt x="79893" y="172"/>
                          <a:pt x="83575" y="18"/>
                        </a:cubicBezTo>
                        <a:cubicBezTo>
                          <a:pt x="87257" y="-263"/>
                          <a:pt x="90351" y="2754"/>
                          <a:pt x="90505" y="6437"/>
                        </a:cubicBezTo>
                        <a:cubicBezTo>
                          <a:pt x="91170" y="23647"/>
                          <a:pt x="86055" y="38094"/>
                          <a:pt x="75673" y="48195"/>
                        </a:cubicBezTo>
                        <a:cubicBezTo>
                          <a:pt x="65700" y="57964"/>
                          <a:pt x="50613" y="63564"/>
                          <a:pt x="34708" y="63564"/>
                        </a:cubicBezTo>
                        <a:close/>
                      </a:path>
                    </a:pathLst>
                  </a:custGeom>
                  <a:grpFill/>
                  <a:ln w="2553" cap="flat">
                    <a:noFill/>
                    <a:prstDash val="solid"/>
                    <a:miter/>
                  </a:ln>
                </p:spPr>
                <p:txBody>
                  <a:bodyPr rtlCol="0" anchor="ctr"/>
                  <a:lstStyle/>
                  <a:p>
                    <a:endParaRPr lang="en-GB" dirty="0"/>
                  </a:p>
                </p:txBody>
              </p:sp>
              <p:sp>
                <p:nvSpPr>
                  <p:cNvPr id="1207" name="Freihandform: Form 1206">
                    <a:extLst>
                      <a:ext uri="{FF2B5EF4-FFF2-40B4-BE49-F238E27FC236}">
                        <a16:creationId xmlns:a16="http://schemas.microsoft.com/office/drawing/2014/main" id="{06B3FD60-9719-4E4C-B508-557905C84F99}"/>
                      </a:ext>
                    </a:extLst>
                  </p:cNvPr>
                  <p:cNvSpPr/>
                  <p:nvPr/>
                </p:nvSpPr>
                <p:spPr>
                  <a:xfrm>
                    <a:off x="5559476" y="3390633"/>
                    <a:ext cx="175373" cy="207675"/>
                  </a:xfrm>
                  <a:custGeom>
                    <a:avLst/>
                    <a:gdLst>
                      <a:gd name="connsiteX0" fmla="*/ 50603 w 175373"/>
                      <a:gd name="connsiteY0" fmla="*/ 207675 h 207675"/>
                      <a:gd name="connsiteX1" fmla="*/ 44952 w 175373"/>
                      <a:gd name="connsiteY1" fmla="*/ 204581 h 207675"/>
                      <a:gd name="connsiteX2" fmla="*/ 21349 w 175373"/>
                      <a:gd name="connsiteY2" fmla="*/ 163257 h 207675"/>
                      <a:gd name="connsiteX3" fmla="*/ 13550 w 175373"/>
                      <a:gd name="connsiteY3" fmla="*/ 149014 h 207675"/>
                      <a:gd name="connsiteX4" fmla="*/ 59067 w 175373"/>
                      <a:gd name="connsiteY4" fmla="*/ 12717 h 207675"/>
                      <a:gd name="connsiteX5" fmla="*/ 60116 w 175373"/>
                      <a:gd name="connsiteY5" fmla="*/ 12052 h 207675"/>
                      <a:gd name="connsiteX6" fmla="*/ 126986 w 175373"/>
                      <a:gd name="connsiteY6" fmla="*/ 4483 h 207675"/>
                      <a:gd name="connsiteX7" fmla="*/ 175009 w 175373"/>
                      <a:gd name="connsiteY7" fmla="*/ 58132 h 207675"/>
                      <a:gd name="connsiteX8" fmla="*/ 170867 w 175373"/>
                      <a:gd name="connsiteY8" fmla="*/ 66596 h 207675"/>
                      <a:gd name="connsiteX9" fmla="*/ 162377 w 175373"/>
                      <a:gd name="connsiteY9" fmla="*/ 62454 h 207675"/>
                      <a:gd name="connsiteX10" fmla="*/ 121999 w 175373"/>
                      <a:gd name="connsiteY10" fmla="*/ 16859 h 207675"/>
                      <a:gd name="connsiteX11" fmla="*/ 66688 w 175373"/>
                      <a:gd name="connsiteY11" fmla="*/ 23662 h 207675"/>
                      <a:gd name="connsiteX12" fmla="*/ 25313 w 175373"/>
                      <a:gd name="connsiteY12" fmla="*/ 142647 h 207675"/>
                      <a:gd name="connsiteX13" fmla="*/ 33112 w 175373"/>
                      <a:gd name="connsiteY13" fmla="*/ 156890 h 207675"/>
                      <a:gd name="connsiteX14" fmla="*/ 56254 w 175373"/>
                      <a:gd name="connsiteY14" fmla="*/ 197395 h 207675"/>
                      <a:gd name="connsiteX15" fmla="*/ 54183 w 175373"/>
                      <a:gd name="connsiteY15" fmla="*/ 206601 h 207675"/>
                      <a:gd name="connsiteX16" fmla="*/ 50603 w 175373"/>
                      <a:gd name="connsiteY16" fmla="*/ 207675 h 20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5373" h="207675">
                        <a:moveTo>
                          <a:pt x="50603" y="207675"/>
                        </a:moveTo>
                        <a:cubicBezTo>
                          <a:pt x="48378" y="207675"/>
                          <a:pt x="46230" y="206576"/>
                          <a:pt x="44952" y="204581"/>
                        </a:cubicBezTo>
                        <a:cubicBezTo>
                          <a:pt x="36078" y="190568"/>
                          <a:pt x="27921" y="175429"/>
                          <a:pt x="21349" y="163257"/>
                        </a:cubicBezTo>
                        <a:cubicBezTo>
                          <a:pt x="18510" y="158015"/>
                          <a:pt x="15902" y="153182"/>
                          <a:pt x="13550" y="149014"/>
                        </a:cubicBezTo>
                        <a:cubicBezTo>
                          <a:pt x="-26803" y="70790"/>
                          <a:pt x="33368" y="30106"/>
                          <a:pt x="59067" y="12717"/>
                        </a:cubicBezTo>
                        <a:lnTo>
                          <a:pt x="60116" y="12052"/>
                        </a:lnTo>
                        <a:cubicBezTo>
                          <a:pt x="84511" y="-862"/>
                          <a:pt x="106988" y="-3419"/>
                          <a:pt x="126986" y="4483"/>
                        </a:cubicBezTo>
                        <a:cubicBezTo>
                          <a:pt x="160894" y="17908"/>
                          <a:pt x="174447" y="56496"/>
                          <a:pt x="175009" y="58132"/>
                        </a:cubicBezTo>
                        <a:cubicBezTo>
                          <a:pt x="176211" y="61610"/>
                          <a:pt x="174344" y="65394"/>
                          <a:pt x="170867" y="66596"/>
                        </a:cubicBezTo>
                        <a:cubicBezTo>
                          <a:pt x="167389" y="67798"/>
                          <a:pt x="163579" y="65932"/>
                          <a:pt x="162377" y="62454"/>
                        </a:cubicBezTo>
                        <a:cubicBezTo>
                          <a:pt x="162249" y="62121"/>
                          <a:pt x="150153" y="27958"/>
                          <a:pt x="121999" y="16859"/>
                        </a:cubicBezTo>
                        <a:cubicBezTo>
                          <a:pt x="105914" y="10518"/>
                          <a:pt x="87324" y="12819"/>
                          <a:pt x="66688" y="23662"/>
                        </a:cubicBezTo>
                        <a:cubicBezTo>
                          <a:pt x="39633" y="41971"/>
                          <a:pt x="-9363" y="75419"/>
                          <a:pt x="25313" y="142647"/>
                        </a:cubicBezTo>
                        <a:cubicBezTo>
                          <a:pt x="27588" y="146661"/>
                          <a:pt x="30222" y="151571"/>
                          <a:pt x="33112" y="156890"/>
                        </a:cubicBezTo>
                        <a:cubicBezTo>
                          <a:pt x="39914" y="169497"/>
                          <a:pt x="47637" y="183791"/>
                          <a:pt x="56254" y="197395"/>
                        </a:cubicBezTo>
                        <a:cubicBezTo>
                          <a:pt x="58223" y="200515"/>
                          <a:pt x="57303" y="204632"/>
                          <a:pt x="54183" y="206601"/>
                        </a:cubicBezTo>
                        <a:cubicBezTo>
                          <a:pt x="53058" y="207343"/>
                          <a:pt x="51830" y="207675"/>
                          <a:pt x="50603" y="207675"/>
                        </a:cubicBezTo>
                        <a:close/>
                      </a:path>
                    </a:pathLst>
                  </a:custGeom>
                  <a:grpFill/>
                  <a:ln w="2553" cap="flat">
                    <a:noFill/>
                    <a:prstDash val="solid"/>
                    <a:miter/>
                  </a:ln>
                </p:spPr>
                <p:txBody>
                  <a:bodyPr rtlCol="0" anchor="ctr"/>
                  <a:lstStyle/>
                  <a:p>
                    <a:endParaRPr lang="en-GB" dirty="0"/>
                  </a:p>
                </p:txBody>
              </p:sp>
              <p:sp>
                <p:nvSpPr>
                  <p:cNvPr id="1208" name="Freihandform: Form 1207">
                    <a:extLst>
                      <a:ext uri="{FF2B5EF4-FFF2-40B4-BE49-F238E27FC236}">
                        <a16:creationId xmlns:a16="http://schemas.microsoft.com/office/drawing/2014/main" id="{8AFC5CE5-F755-42F6-B8A3-4F53720121E9}"/>
                      </a:ext>
                    </a:extLst>
                  </p:cNvPr>
                  <p:cNvSpPr/>
                  <p:nvPr/>
                </p:nvSpPr>
                <p:spPr>
                  <a:xfrm>
                    <a:off x="5597568" y="3431964"/>
                    <a:ext cx="115161" cy="116478"/>
                  </a:xfrm>
                  <a:custGeom>
                    <a:avLst/>
                    <a:gdLst>
                      <a:gd name="connsiteX0" fmla="*/ 107509 w 115161"/>
                      <a:gd name="connsiteY0" fmla="*/ 116479 h 116478"/>
                      <a:gd name="connsiteX1" fmla="*/ 79278 w 115161"/>
                      <a:gd name="connsiteY1" fmla="*/ 89015 h 116478"/>
                      <a:gd name="connsiteX2" fmla="*/ 95439 w 115161"/>
                      <a:gd name="connsiteY2" fmla="*/ 65259 h 116478"/>
                      <a:gd name="connsiteX3" fmla="*/ 101730 w 115161"/>
                      <a:gd name="connsiteY3" fmla="*/ 59914 h 116478"/>
                      <a:gd name="connsiteX4" fmla="*/ 91808 w 115161"/>
                      <a:gd name="connsiteY4" fmla="*/ 29919 h 116478"/>
                      <a:gd name="connsiteX5" fmla="*/ 56698 w 115161"/>
                      <a:gd name="connsiteY5" fmla="*/ 13323 h 116478"/>
                      <a:gd name="connsiteX6" fmla="*/ 13354 w 115161"/>
                      <a:gd name="connsiteY6" fmla="*/ 75462 h 116478"/>
                      <a:gd name="connsiteX7" fmla="*/ 6373 w 115161"/>
                      <a:gd name="connsiteY7" fmla="*/ 81829 h 116478"/>
                      <a:gd name="connsiteX8" fmla="*/ 6 w 115161"/>
                      <a:gd name="connsiteY8" fmla="*/ 74874 h 116478"/>
                      <a:gd name="connsiteX9" fmla="*/ 56698 w 115161"/>
                      <a:gd name="connsiteY9" fmla="*/ 0 h 116478"/>
                      <a:gd name="connsiteX10" fmla="*/ 101628 w 115161"/>
                      <a:gd name="connsiteY10" fmla="*/ 20918 h 116478"/>
                      <a:gd name="connsiteX11" fmla="*/ 114925 w 115161"/>
                      <a:gd name="connsiteY11" fmla="*/ 62651 h 116478"/>
                      <a:gd name="connsiteX12" fmla="*/ 114823 w 115161"/>
                      <a:gd name="connsiteY12" fmla="*/ 63929 h 116478"/>
                      <a:gd name="connsiteX13" fmla="*/ 114235 w 115161"/>
                      <a:gd name="connsiteY13" fmla="*/ 65080 h 116478"/>
                      <a:gd name="connsiteX14" fmla="*/ 103520 w 115161"/>
                      <a:gd name="connsiteY14" fmla="*/ 75897 h 116478"/>
                      <a:gd name="connsiteX15" fmla="*/ 92626 w 115161"/>
                      <a:gd name="connsiteY15" fmla="*/ 89041 h 116478"/>
                      <a:gd name="connsiteX16" fmla="*/ 107509 w 115161"/>
                      <a:gd name="connsiteY16" fmla="*/ 103156 h 116478"/>
                      <a:gd name="connsiteX17" fmla="*/ 114183 w 115161"/>
                      <a:gd name="connsiteY17" fmla="*/ 109830 h 116478"/>
                      <a:gd name="connsiteX18" fmla="*/ 107509 w 115161"/>
                      <a:gd name="connsiteY18" fmla="*/ 116479 h 11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5161" h="116478">
                        <a:moveTo>
                          <a:pt x="107509" y="116479"/>
                        </a:moveTo>
                        <a:cubicBezTo>
                          <a:pt x="90888" y="116479"/>
                          <a:pt x="79278" y="105202"/>
                          <a:pt x="79278" y="89015"/>
                        </a:cubicBezTo>
                        <a:cubicBezTo>
                          <a:pt x="79278" y="77559"/>
                          <a:pt x="88612" y="70450"/>
                          <a:pt x="95439" y="65259"/>
                        </a:cubicBezTo>
                        <a:cubicBezTo>
                          <a:pt x="97715" y="63520"/>
                          <a:pt x="100451" y="61449"/>
                          <a:pt x="101730" y="59914"/>
                        </a:cubicBezTo>
                        <a:cubicBezTo>
                          <a:pt x="102369" y="47870"/>
                          <a:pt x="99045" y="37795"/>
                          <a:pt x="91808" y="29919"/>
                        </a:cubicBezTo>
                        <a:cubicBezTo>
                          <a:pt x="79355" y="16417"/>
                          <a:pt x="59307" y="13323"/>
                          <a:pt x="56698" y="13323"/>
                        </a:cubicBezTo>
                        <a:cubicBezTo>
                          <a:pt x="16704" y="13323"/>
                          <a:pt x="13380" y="74848"/>
                          <a:pt x="13354" y="75462"/>
                        </a:cubicBezTo>
                        <a:cubicBezTo>
                          <a:pt x="13175" y="79144"/>
                          <a:pt x="10107" y="82111"/>
                          <a:pt x="6373" y="81829"/>
                        </a:cubicBezTo>
                        <a:cubicBezTo>
                          <a:pt x="2691" y="81676"/>
                          <a:pt x="-148" y="78556"/>
                          <a:pt x="6" y="74874"/>
                        </a:cubicBezTo>
                        <a:cubicBezTo>
                          <a:pt x="1157" y="48970"/>
                          <a:pt x="14505" y="0"/>
                          <a:pt x="56698" y="0"/>
                        </a:cubicBezTo>
                        <a:cubicBezTo>
                          <a:pt x="61787" y="0"/>
                          <a:pt x="85799" y="3734"/>
                          <a:pt x="101628" y="20918"/>
                        </a:cubicBezTo>
                        <a:cubicBezTo>
                          <a:pt x="111805" y="31965"/>
                          <a:pt x="116280" y="46003"/>
                          <a:pt x="114925" y="62651"/>
                        </a:cubicBezTo>
                        <a:lnTo>
                          <a:pt x="114823" y="63929"/>
                        </a:lnTo>
                        <a:lnTo>
                          <a:pt x="114235" y="65080"/>
                        </a:lnTo>
                        <a:cubicBezTo>
                          <a:pt x="112087" y="69350"/>
                          <a:pt x="107918" y="72547"/>
                          <a:pt x="103520" y="75897"/>
                        </a:cubicBezTo>
                        <a:cubicBezTo>
                          <a:pt x="98176" y="79963"/>
                          <a:pt x="92626" y="84182"/>
                          <a:pt x="92626" y="89041"/>
                        </a:cubicBezTo>
                        <a:cubicBezTo>
                          <a:pt x="92626" y="97888"/>
                          <a:pt x="98201" y="103156"/>
                          <a:pt x="107509" y="103156"/>
                        </a:cubicBezTo>
                        <a:cubicBezTo>
                          <a:pt x="111192" y="103156"/>
                          <a:pt x="114183" y="106148"/>
                          <a:pt x="114183" y="109830"/>
                        </a:cubicBezTo>
                        <a:cubicBezTo>
                          <a:pt x="114183" y="113487"/>
                          <a:pt x="111192" y="116479"/>
                          <a:pt x="107509" y="116479"/>
                        </a:cubicBezTo>
                        <a:close/>
                      </a:path>
                    </a:pathLst>
                  </a:custGeom>
                  <a:grpFill/>
                  <a:ln w="2553" cap="flat">
                    <a:noFill/>
                    <a:prstDash val="solid"/>
                    <a:miter/>
                  </a:ln>
                </p:spPr>
                <p:txBody>
                  <a:bodyPr rtlCol="0" anchor="ctr"/>
                  <a:lstStyle/>
                  <a:p>
                    <a:endParaRPr lang="en-GB" dirty="0"/>
                  </a:p>
                </p:txBody>
              </p:sp>
              <p:sp>
                <p:nvSpPr>
                  <p:cNvPr id="1209" name="Freihandform: Form 1208">
                    <a:extLst>
                      <a:ext uri="{FF2B5EF4-FFF2-40B4-BE49-F238E27FC236}">
                        <a16:creationId xmlns:a16="http://schemas.microsoft.com/office/drawing/2014/main" id="{7455AFD2-D046-46B6-ACEC-01EE97F22402}"/>
                      </a:ext>
                    </a:extLst>
                  </p:cNvPr>
                  <p:cNvSpPr/>
                  <p:nvPr/>
                </p:nvSpPr>
                <p:spPr>
                  <a:xfrm>
                    <a:off x="5641452" y="3558933"/>
                    <a:ext cx="62599" cy="48452"/>
                  </a:xfrm>
                  <a:custGeom>
                    <a:avLst/>
                    <a:gdLst>
                      <a:gd name="connsiteX0" fmla="*/ 41404 w 62599"/>
                      <a:gd name="connsiteY0" fmla="*/ 48452 h 48452"/>
                      <a:gd name="connsiteX1" fmla="*/ 745 w 62599"/>
                      <a:gd name="connsiteY1" fmla="*/ 9762 h 48452"/>
                      <a:gd name="connsiteX2" fmla="*/ 3583 w 62599"/>
                      <a:gd name="connsiteY2" fmla="*/ 761 h 48452"/>
                      <a:gd name="connsiteX3" fmla="*/ 12585 w 62599"/>
                      <a:gd name="connsiteY3" fmla="*/ 3600 h 48452"/>
                      <a:gd name="connsiteX4" fmla="*/ 41378 w 62599"/>
                      <a:gd name="connsiteY4" fmla="*/ 35078 h 48452"/>
                      <a:gd name="connsiteX5" fmla="*/ 41506 w 62599"/>
                      <a:gd name="connsiteY5" fmla="*/ 35078 h 48452"/>
                      <a:gd name="connsiteX6" fmla="*/ 49868 w 62599"/>
                      <a:gd name="connsiteY6" fmla="*/ 26205 h 48452"/>
                      <a:gd name="connsiteX7" fmla="*/ 58716 w 62599"/>
                      <a:gd name="connsiteY7" fmla="*/ 22932 h 48452"/>
                      <a:gd name="connsiteX8" fmla="*/ 61989 w 62599"/>
                      <a:gd name="connsiteY8" fmla="*/ 31780 h 48452"/>
                      <a:gd name="connsiteX9" fmla="*/ 41813 w 62599"/>
                      <a:gd name="connsiteY9" fmla="*/ 48427 h 48452"/>
                      <a:gd name="connsiteX10" fmla="*/ 41404 w 62599"/>
                      <a:gd name="connsiteY10" fmla="*/ 48452 h 4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599" h="48452">
                        <a:moveTo>
                          <a:pt x="41404" y="48452"/>
                        </a:moveTo>
                        <a:cubicBezTo>
                          <a:pt x="21816" y="48452"/>
                          <a:pt x="4120" y="16258"/>
                          <a:pt x="745" y="9762"/>
                        </a:cubicBezTo>
                        <a:cubicBezTo>
                          <a:pt x="-943" y="6489"/>
                          <a:pt x="336" y="2474"/>
                          <a:pt x="3583" y="761"/>
                        </a:cubicBezTo>
                        <a:cubicBezTo>
                          <a:pt x="6857" y="-952"/>
                          <a:pt x="10871" y="326"/>
                          <a:pt x="12585" y="3600"/>
                        </a:cubicBezTo>
                        <a:cubicBezTo>
                          <a:pt x="19208" y="16360"/>
                          <a:pt x="32914" y="35078"/>
                          <a:pt x="41378" y="35078"/>
                        </a:cubicBezTo>
                        <a:cubicBezTo>
                          <a:pt x="41430" y="35078"/>
                          <a:pt x="41481" y="35078"/>
                          <a:pt x="41506" y="35078"/>
                        </a:cubicBezTo>
                        <a:cubicBezTo>
                          <a:pt x="45086" y="34976"/>
                          <a:pt x="48027" y="30194"/>
                          <a:pt x="49868" y="26205"/>
                        </a:cubicBezTo>
                        <a:cubicBezTo>
                          <a:pt x="51402" y="22855"/>
                          <a:pt x="55366" y="21372"/>
                          <a:pt x="58716" y="22932"/>
                        </a:cubicBezTo>
                        <a:cubicBezTo>
                          <a:pt x="62066" y="24466"/>
                          <a:pt x="63523" y="28430"/>
                          <a:pt x="61989" y="31780"/>
                        </a:cubicBezTo>
                        <a:cubicBezTo>
                          <a:pt x="57003" y="42622"/>
                          <a:pt x="50226" y="48222"/>
                          <a:pt x="41813" y="48427"/>
                        </a:cubicBezTo>
                        <a:cubicBezTo>
                          <a:pt x="41685" y="48427"/>
                          <a:pt x="41557" y="48452"/>
                          <a:pt x="41404" y="48452"/>
                        </a:cubicBezTo>
                        <a:close/>
                      </a:path>
                    </a:pathLst>
                  </a:custGeom>
                  <a:grpFill/>
                  <a:ln w="2553" cap="flat">
                    <a:noFill/>
                    <a:prstDash val="solid"/>
                    <a:miter/>
                  </a:ln>
                </p:spPr>
                <p:txBody>
                  <a:bodyPr rtlCol="0" anchor="ctr"/>
                  <a:lstStyle/>
                  <a:p>
                    <a:endParaRPr lang="en-GB" dirty="0"/>
                  </a:p>
                </p:txBody>
              </p:sp>
            </p:grpSp>
            <p:sp>
              <p:nvSpPr>
                <p:cNvPr id="1205" name="Freihandform: Form 1204">
                  <a:extLst>
                    <a:ext uri="{FF2B5EF4-FFF2-40B4-BE49-F238E27FC236}">
                      <a16:creationId xmlns:a16="http://schemas.microsoft.com/office/drawing/2014/main" id="{767DDB11-FF98-4F66-8D69-44DAA0B17EEE}"/>
                    </a:ext>
                  </a:extLst>
                </p:cNvPr>
                <p:cNvSpPr/>
                <p:nvPr/>
              </p:nvSpPr>
              <p:spPr>
                <a:xfrm>
                  <a:off x="5642273" y="3358215"/>
                  <a:ext cx="13348" cy="44878"/>
                </a:xfrm>
                <a:custGeom>
                  <a:avLst/>
                  <a:gdLst>
                    <a:gd name="connsiteX0" fmla="*/ 6674 w 13348"/>
                    <a:gd name="connsiteY0" fmla="*/ 44878 h 44878"/>
                    <a:gd name="connsiteX1" fmla="*/ 0 w 13348"/>
                    <a:gd name="connsiteY1" fmla="*/ 38204 h 44878"/>
                    <a:gd name="connsiteX2" fmla="*/ 0 w 13348"/>
                    <a:gd name="connsiteY2" fmla="*/ 6674 h 44878"/>
                    <a:gd name="connsiteX3" fmla="*/ 6674 w 13348"/>
                    <a:gd name="connsiteY3" fmla="*/ 0 h 44878"/>
                    <a:gd name="connsiteX4" fmla="*/ 13348 w 13348"/>
                    <a:gd name="connsiteY4" fmla="*/ 6674 h 44878"/>
                    <a:gd name="connsiteX5" fmla="*/ 13348 w 13348"/>
                    <a:gd name="connsiteY5" fmla="*/ 38204 h 44878"/>
                    <a:gd name="connsiteX6" fmla="*/ 6674 w 13348"/>
                    <a:gd name="connsiteY6" fmla="*/ 44878 h 4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44878">
                      <a:moveTo>
                        <a:pt x="6674" y="44878"/>
                      </a:moveTo>
                      <a:cubicBezTo>
                        <a:pt x="2992" y="44878"/>
                        <a:pt x="0" y="41886"/>
                        <a:pt x="0" y="38204"/>
                      </a:cubicBezTo>
                      <a:lnTo>
                        <a:pt x="0" y="6674"/>
                      </a:lnTo>
                      <a:cubicBezTo>
                        <a:pt x="0" y="2992"/>
                        <a:pt x="2992" y="0"/>
                        <a:pt x="6674" y="0"/>
                      </a:cubicBezTo>
                      <a:cubicBezTo>
                        <a:pt x="10357" y="0"/>
                        <a:pt x="13348" y="2992"/>
                        <a:pt x="13348" y="6674"/>
                      </a:cubicBezTo>
                      <a:lnTo>
                        <a:pt x="13348" y="38204"/>
                      </a:lnTo>
                      <a:cubicBezTo>
                        <a:pt x="13348" y="41912"/>
                        <a:pt x="10382" y="44878"/>
                        <a:pt x="6674" y="44878"/>
                      </a:cubicBezTo>
                      <a:close/>
                    </a:path>
                  </a:pathLst>
                </a:custGeom>
                <a:grpFill/>
                <a:ln w="2553" cap="flat">
                  <a:noFill/>
                  <a:prstDash val="solid"/>
                  <a:miter/>
                </a:ln>
              </p:spPr>
              <p:txBody>
                <a:bodyPr rtlCol="0" anchor="ctr"/>
                <a:lstStyle/>
                <a:p>
                  <a:endParaRPr lang="en-GB" dirty="0"/>
                </a:p>
              </p:txBody>
            </p:sp>
          </p:grpSp>
          <p:sp>
            <p:nvSpPr>
              <p:cNvPr id="1202" name="Freihandform: Form 1201">
                <a:extLst>
                  <a:ext uri="{FF2B5EF4-FFF2-40B4-BE49-F238E27FC236}">
                    <a16:creationId xmlns:a16="http://schemas.microsoft.com/office/drawing/2014/main" id="{60DED616-E583-4C56-9447-021698CF6F73}"/>
                  </a:ext>
                </a:extLst>
              </p:cNvPr>
              <p:cNvSpPr/>
              <p:nvPr/>
            </p:nvSpPr>
            <p:spPr>
              <a:xfrm>
                <a:off x="5532149" y="3363522"/>
                <a:ext cx="46387" cy="46374"/>
              </a:xfrm>
              <a:custGeom>
                <a:avLst/>
                <a:gdLst>
                  <a:gd name="connsiteX0" fmla="*/ 39726 w 46387"/>
                  <a:gd name="connsiteY0" fmla="*/ 46374 h 46374"/>
                  <a:gd name="connsiteX1" fmla="*/ 34995 w 46387"/>
                  <a:gd name="connsiteY1" fmla="*/ 44431 h 46374"/>
                  <a:gd name="connsiteX2" fmla="*/ 1956 w 46387"/>
                  <a:gd name="connsiteY2" fmla="*/ 11392 h 46374"/>
                  <a:gd name="connsiteX3" fmla="*/ 1956 w 46387"/>
                  <a:gd name="connsiteY3" fmla="*/ 1956 h 46374"/>
                  <a:gd name="connsiteX4" fmla="*/ 11392 w 46387"/>
                  <a:gd name="connsiteY4" fmla="*/ 1956 h 46374"/>
                  <a:gd name="connsiteX5" fmla="*/ 44431 w 46387"/>
                  <a:gd name="connsiteY5" fmla="*/ 34995 h 46374"/>
                  <a:gd name="connsiteX6" fmla="*/ 44431 w 46387"/>
                  <a:gd name="connsiteY6" fmla="*/ 44431 h 46374"/>
                  <a:gd name="connsiteX7" fmla="*/ 39726 w 46387"/>
                  <a:gd name="connsiteY7" fmla="*/ 46374 h 4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87" h="46374">
                    <a:moveTo>
                      <a:pt x="39726" y="46374"/>
                    </a:moveTo>
                    <a:cubicBezTo>
                      <a:pt x="38012" y="46374"/>
                      <a:pt x="36299" y="45709"/>
                      <a:pt x="34995" y="44431"/>
                    </a:cubicBezTo>
                    <a:lnTo>
                      <a:pt x="1956" y="11392"/>
                    </a:lnTo>
                    <a:cubicBezTo>
                      <a:pt x="-652" y="8784"/>
                      <a:pt x="-652" y="4565"/>
                      <a:pt x="1956" y="1956"/>
                    </a:cubicBezTo>
                    <a:cubicBezTo>
                      <a:pt x="4565" y="-652"/>
                      <a:pt x="8784" y="-652"/>
                      <a:pt x="11392" y="1956"/>
                    </a:cubicBezTo>
                    <a:lnTo>
                      <a:pt x="44431" y="34995"/>
                    </a:lnTo>
                    <a:cubicBezTo>
                      <a:pt x="47039" y="37603"/>
                      <a:pt x="47039" y="41823"/>
                      <a:pt x="44431" y="44431"/>
                    </a:cubicBezTo>
                    <a:cubicBezTo>
                      <a:pt x="43152" y="45735"/>
                      <a:pt x="41439" y="46374"/>
                      <a:pt x="39726" y="46374"/>
                    </a:cubicBezTo>
                    <a:close/>
                  </a:path>
                </a:pathLst>
              </a:custGeom>
              <a:grpFill/>
              <a:ln w="2553" cap="flat">
                <a:noFill/>
                <a:prstDash val="solid"/>
                <a:miter/>
              </a:ln>
            </p:spPr>
            <p:txBody>
              <a:bodyPr rtlCol="0" anchor="ctr"/>
              <a:lstStyle/>
              <a:p>
                <a:endParaRPr lang="en-GB" dirty="0"/>
              </a:p>
            </p:txBody>
          </p:sp>
          <p:sp>
            <p:nvSpPr>
              <p:cNvPr id="1203" name="Freihandform: Form 1202">
                <a:extLst>
                  <a:ext uri="{FF2B5EF4-FFF2-40B4-BE49-F238E27FC236}">
                    <a16:creationId xmlns:a16="http://schemas.microsoft.com/office/drawing/2014/main" id="{745DE64B-E176-4139-A64B-6103E5E62AB5}"/>
                  </a:ext>
                </a:extLst>
              </p:cNvPr>
              <p:cNvSpPr/>
              <p:nvPr/>
            </p:nvSpPr>
            <p:spPr>
              <a:xfrm>
                <a:off x="5485110" y="3470322"/>
                <a:ext cx="60067" cy="13348"/>
              </a:xfrm>
              <a:custGeom>
                <a:avLst/>
                <a:gdLst>
                  <a:gd name="connsiteX0" fmla="*/ 53394 w 60067"/>
                  <a:gd name="connsiteY0" fmla="*/ 13348 h 13348"/>
                  <a:gd name="connsiteX1" fmla="*/ 6674 w 60067"/>
                  <a:gd name="connsiteY1" fmla="*/ 13348 h 13348"/>
                  <a:gd name="connsiteX2" fmla="*/ 0 w 60067"/>
                  <a:gd name="connsiteY2" fmla="*/ 6674 h 13348"/>
                  <a:gd name="connsiteX3" fmla="*/ 6674 w 60067"/>
                  <a:gd name="connsiteY3" fmla="*/ 0 h 13348"/>
                  <a:gd name="connsiteX4" fmla="*/ 53394 w 60067"/>
                  <a:gd name="connsiteY4" fmla="*/ 0 h 13348"/>
                  <a:gd name="connsiteX5" fmla="*/ 60068 w 60067"/>
                  <a:gd name="connsiteY5" fmla="*/ 6674 h 13348"/>
                  <a:gd name="connsiteX6" fmla="*/ 53394 w 60067"/>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67" h="13348">
                    <a:moveTo>
                      <a:pt x="53394" y="13348"/>
                    </a:moveTo>
                    <a:lnTo>
                      <a:pt x="6674" y="13348"/>
                    </a:lnTo>
                    <a:cubicBezTo>
                      <a:pt x="2992" y="13348"/>
                      <a:pt x="0" y="10356"/>
                      <a:pt x="0" y="6674"/>
                    </a:cubicBezTo>
                    <a:cubicBezTo>
                      <a:pt x="0" y="2992"/>
                      <a:pt x="2992" y="0"/>
                      <a:pt x="6674" y="0"/>
                    </a:cubicBezTo>
                    <a:lnTo>
                      <a:pt x="53394" y="0"/>
                    </a:lnTo>
                    <a:cubicBezTo>
                      <a:pt x="57076" y="0"/>
                      <a:pt x="60068" y="2992"/>
                      <a:pt x="60068" y="6674"/>
                    </a:cubicBezTo>
                    <a:cubicBezTo>
                      <a:pt x="60068" y="10356"/>
                      <a:pt x="57076" y="13348"/>
                      <a:pt x="53394" y="13348"/>
                    </a:cubicBezTo>
                    <a:close/>
                  </a:path>
                </a:pathLst>
              </a:custGeom>
              <a:grpFill/>
              <a:ln w="2553" cap="flat">
                <a:noFill/>
                <a:prstDash val="solid"/>
                <a:miter/>
              </a:ln>
            </p:spPr>
            <p:txBody>
              <a:bodyPr rtlCol="0" anchor="ctr"/>
              <a:lstStyle/>
              <a:p>
                <a:endParaRPr lang="en-GB" dirty="0"/>
              </a:p>
            </p:txBody>
          </p:sp>
        </p:grpSp>
        <p:grpSp>
          <p:nvGrpSpPr>
            <p:cNvPr id="1193" name="Grafik 313">
              <a:extLst>
                <a:ext uri="{FF2B5EF4-FFF2-40B4-BE49-F238E27FC236}">
                  <a16:creationId xmlns:a16="http://schemas.microsoft.com/office/drawing/2014/main" id="{966A2823-C17F-4B05-9A10-34DBE30EF7D5}"/>
                </a:ext>
              </a:extLst>
            </p:cNvPr>
            <p:cNvGrpSpPr/>
            <p:nvPr/>
          </p:nvGrpSpPr>
          <p:grpSpPr>
            <a:xfrm>
              <a:off x="4986304" y="3496366"/>
              <a:ext cx="372837" cy="209031"/>
              <a:chOff x="5343040" y="3557853"/>
              <a:chExt cx="333825" cy="187159"/>
            </a:xfrm>
            <a:solidFill>
              <a:schemeClr val="accent1"/>
            </a:solidFill>
          </p:grpSpPr>
          <p:grpSp>
            <p:nvGrpSpPr>
              <p:cNvPr id="1194" name="Grafik 313">
                <a:extLst>
                  <a:ext uri="{FF2B5EF4-FFF2-40B4-BE49-F238E27FC236}">
                    <a16:creationId xmlns:a16="http://schemas.microsoft.com/office/drawing/2014/main" id="{5D332DDB-C56A-4062-A4D0-95679E41C761}"/>
                  </a:ext>
                </a:extLst>
              </p:cNvPr>
              <p:cNvGrpSpPr/>
              <p:nvPr/>
            </p:nvGrpSpPr>
            <p:grpSpPr>
              <a:xfrm>
                <a:off x="5443224" y="3585036"/>
                <a:ext cx="133484" cy="133484"/>
                <a:chOff x="5443224" y="3585036"/>
                <a:chExt cx="133484" cy="133484"/>
              </a:xfrm>
              <a:solidFill>
                <a:schemeClr val="accent1"/>
              </a:solidFill>
            </p:grpSpPr>
            <p:sp>
              <p:nvSpPr>
                <p:cNvPr id="1196" name="Freihandform: Form 1195">
                  <a:extLst>
                    <a:ext uri="{FF2B5EF4-FFF2-40B4-BE49-F238E27FC236}">
                      <a16:creationId xmlns:a16="http://schemas.microsoft.com/office/drawing/2014/main" id="{7592DA27-C1FF-4BFD-9B2D-BB3DFD43BF98}"/>
                    </a:ext>
                  </a:extLst>
                </p:cNvPr>
                <p:cNvSpPr/>
                <p:nvPr/>
              </p:nvSpPr>
              <p:spPr>
                <a:xfrm>
                  <a:off x="5443224" y="3585036"/>
                  <a:ext cx="133484" cy="133484"/>
                </a:xfrm>
                <a:custGeom>
                  <a:avLst/>
                  <a:gdLst>
                    <a:gd name="connsiteX0" fmla="*/ 66742 w 133484"/>
                    <a:gd name="connsiteY0" fmla="*/ 133484 h 133484"/>
                    <a:gd name="connsiteX1" fmla="*/ 0 w 133484"/>
                    <a:gd name="connsiteY1" fmla="*/ 66742 h 133484"/>
                    <a:gd name="connsiteX2" fmla="*/ 66742 w 133484"/>
                    <a:gd name="connsiteY2" fmla="*/ 0 h 133484"/>
                    <a:gd name="connsiteX3" fmla="*/ 133484 w 133484"/>
                    <a:gd name="connsiteY3" fmla="*/ 66742 h 133484"/>
                    <a:gd name="connsiteX4" fmla="*/ 66742 w 133484"/>
                    <a:gd name="connsiteY4" fmla="*/ 133484 h 133484"/>
                    <a:gd name="connsiteX5" fmla="*/ 66742 w 133484"/>
                    <a:gd name="connsiteY5" fmla="*/ 13323 h 133484"/>
                    <a:gd name="connsiteX6" fmla="*/ 13348 w 133484"/>
                    <a:gd name="connsiteY6" fmla="*/ 66717 h 133484"/>
                    <a:gd name="connsiteX7" fmla="*/ 66742 w 133484"/>
                    <a:gd name="connsiteY7" fmla="*/ 120110 h 133484"/>
                    <a:gd name="connsiteX8" fmla="*/ 120136 w 133484"/>
                    <a:gd name="connsiteY8" fmla="*/ 66717 h 133484"/>
                    <a:gd name="connsiteX9" fmla="*/ 66742 w 133484"/>
                    <a:gd name="connsiteY9" fmla="*/ 13323 h 13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484" h="133484">
                      <a:moveTo>
                        <a:pt x="66742" y="133484"/>
                      </a:moveTo>
                      <a:cubicBezTo>
                        <a:pt x="29944" y="133484"/>
                        <a:pt x="0" y="103540"/>
                        <a:pt x="0" y="66742"/>
                      </a:cubicBezTo>
                      <a:cubicBezTo>
                        <a:pt x="0" y="29944"/>
                        <a:pt x="29944" y="0"/>
                        <a:pt x="66742" y="0"/>
                      </a:cubicBezTo>
                      <a:cubicBezTo>
                        <a:pt x="103540" y="0"/>
                        <a:pt x="133484" y="29944"/>
                        <a:pt x="133484" y="66742"/>
                      </a:cubicBezTo>
                      <a:cubicBezTo>
                        <a:pt x="133484" y="103540"/>
                        <a:pt x="103540" y="133484"/>
                        <a:pt x="66742" y="133484"/>
                      </a:cubicBezTo>
                      <a:close/>
                      <a:moveTo>
                        <a:pt x="66742" y="13323"/>
                      </a:moveTo>
                      <a:cubicBezTo>
                        <a:pt x="37309" y="13323"/>
                        <a:pt x="13348" y="37284"/>
                        <a:pt x="13348" y="66717"/>
                      </a:cubicBezTo>
                      <a:cubicBezTo>
                        <a:pt x="13348" y="96150"/>
                        <a:pt x="37309" y="120110"/>
                        <a:pt x="66742" y="120110"/>
                      </a:cubicBezTo>
                      <a:cubicBezTo>
                        <a:pt x="96175" y="120110"/>
                        <a:pt x="120136" y="96150"/>
                        <a:pt x="120136" y="66717"/>
                      </a:cubicBezTo>
                      <a:cubicBezTo>
                        <a:pt x="120136" y="37284"/>
                        <a:pt x="96175" y="13323"/>
                        <a:pt x="66742" y="13323"/>
                      </a:cubicBezTo>
                      <a:close/>
                    </a:path>
                  </a:pathLst>
                </a:custGeom>
                <a:solidFill>
                  <a:schemeClr val="accent1"/>
                </a:solidFill>
                <a:ln w="2553" cap="flat">
                  <a:noFill/>
                  <a:prstDash val="solid"/>
                  <a:miter/>
                </a:ln>
              </p:spPr>
              <p:txBody>
                <a:bodyPr rtlCol="0" anchor="ctr"/>
                <a:lstStyle/>
                <a:p>
                  <a:endParaRPr lang="en-GB" dirty="0"/>
                </a:p>
              </p:txBody>
            </p:sp>
            <p:sp>
              <p:nvSpPr>
                <p:cNvPr id="1197" name="Freihandform: Form 1196">
                  <a:extLst>
                    <a:ext uri="{FF2B5EF4-FFF2-40B4-BE49-F238E27FC236}">
                      <a16:creationId xmlns:a16="http://schemas.microsoft.com/office/drawing/2014/main" id="{28573A60-A19A-431B-90E5-2C3C746AF499}"/>
                    </a:ext>
                  </a:extLst>
                </p:cNvPr>
                <p:cNvSpPr/>
                <p:nvPr/>
              </p:nvSpPr>
              <p:spPr>
                <a:xfrm>
                  <a:off x="5503291" y="3631730"/>
                  <a:ext cx="20022" cy="13348"/>
                </a:xfrm>
                <a:custGeom>
                  <a:avLst/>
                  <a:gdLst>
                    <a:gd name="connsiteX0" fmla="*/ 13348 w 20022"/>
                    <a:gd name="connsiteY0" fmla="*/ 13348 h 13348"/>
                    <a:gd name="connsiteX1" fmla="*/ 6674 w 20022"/>
                    <a:gd name="connsiteY1" fmla="*/ 13348 h 13348"/>
                    <a:gd name="connsiteX2" fmla="*/ 0 w 20022"/>
                    <a:gd name="connsiteY2" fmla="*/ 6674 h 13348"/>
                    <a:gd name="connsiteX3" fmla="*/ 6674 w 20022"/>
                    <a:gd name="connsiteY3" fmla="*/ 0 h 13348"/>
                    <a:gd name="connsiteX4" fmla="*/ 13348 w 20022"/>
                    <a:gd name="connsiteY4" fmla="*/ 0 h 13348"/>
                    <a:gd name="connsiteX5" fmla="*/ 20023 w 20022"/>
                    <a:gd name="connsiteY5" fmla="*/ 6674 h 13348"/>
                    <a:gd name="connsiteX6" fmla="*/ 13348 w 20022"/>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22" h="13348">
                      <a:moveTo>
                        <a:pt x="13348" y="13348"/>
                      </a:moveTo>
                      <a:lnTo>
                        <a:pt x="6674" y="13348"/>
                      </a:lnTo>
                      <a:cubicBezTo>
                        <a:pt x="2992" y="13348"/>
                        <a:pt x="0" y="10356"/>
                        <a:pt x="0" y="6674"/>
                      </a:cubicBezTo>
                      <a:cubicBezTo>
                        <a:pt x="0" y="2992"/>
                        <a:pt x="2992" y="0"/>
                        <a:pt x="6674" y="0"/>
                      </a:cubicBezTo>
                      <a:lnTo>
                        <a:pt x="13348" y="0"/>
                      </a:lnTo>
                      <a:cubicBezTo>
                        <a:pt x="17031" y="0"/>
                        <a:pt x="20023" y="2992"/>
                        <a:pt x="20023" y="6674"/>
                      </a:cubicBezTo>
                      <a:cubicBezTo>
                        <a:pt x="20023" y="10382"/>
                        <a:pt x="17031" y="13348"/>
                        <a:pt x="13348" y="13348"/>
                      </a:cubicBezTo>
                      <a:close/>
                    </a:path>
                  </a:pathLst>
                </a:custGeom>
                <a:solidFill>
                  <a:schemeClr val="accent1"/>
                </a:solidFill>
                <a:ln w="2553" cap="flat">
                  <a:noFill/>
                  <a:prstDash val="solid"/>
                  <a:miter/>
                </a:ln>
              </p:spPr>
              <p:txBody>
                <a:bodyPr rtlCol="0" anchor="ctr"/>
                <a:lstStyle/>
                <a:p>
                  <a:endParaRPr lang="en-GB" dirty="0"/>
                </a:p>
              </p:txBody>
            </p:sp>
            <p:sp>
              <p:nvSpPr>
                <p:cNvPr id="1198" name="Freihandform: Form 1197">
                  <a:extLst>
                    <a:ext uri="{FF2B5EF4-FFF2-40B4-BE49-F238E27FC236}">
                      <a16:creationId xmlns:a16="http://schemas.microsoft.com/office/drawing/2014/main" id="{56903982-F001-4E56-BF22-D1A193421925}"/>
                    </a:ext>
                  </a:extLst>
                </p:cNvPr>
                <p:cNvSpPr/>
                <p:nvPr/>
              </p:nvSpPr>
              <p:spPr>
                <a:xfrm>
                  <a:off x="5503291" y="3631730"/>
                  <a:ext cx="13348" cy="60067"/>
                </a:xfrm>
                <a:custGeom>
                  <a:avLst/>
                  <a:gdLst>
                    <a:gd name="connsiteX0" fmla="*/ 6674 w 13348"/>
                    <a:gd name="connsiteY0" fmla="*/ 60068 h 60067"/>
                    <a:gd name="connsiteX1" fmla="*/ 0 w 13348"/>
                    <a:gd name="connsiteY1" fmla="*/ 53394 h 60067"/>
                    <a:gd name="connsiteX2" fmla="*/ 0 w 13348"/>
                    <a:gd name="connsiteY2" fmla="*/ 6674 h 60067"/>
                    <a:gd name="connsiteX3" fmla="*/ 6674 w 13348"/>
                    <a:gd name="connsiteY3" fmla="*/ 0 h 60067"/>
                    <a:gd name="connsiteX4" fmla="*/ 13348 w 13348"/>
                    <a:gd name="connsiteY4" fmla="*/ 6674 h 60067"/>
                    <a:gd name="connsiteX5" fmla="*/ 13348 w 13348"/>
                    <a:gd name="connsiteY5" fmla="*/ 53394 h 60067"/>
                    <a:gd name="connsiteX6" fmla="*/ 6674 w 13348"/>
                    <a:gd name="connsiteY6" fmla="*/ 60068 h 6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60067">
                      <a:moveTo>
                        <a:pt x="6674" y="60068"/>
                      </a:moveTo>
                      <a:cubicBezTo>
                        <a:pt x="2992" y="60068"/>
                        <a:pt x="0" y="57076"/>
                        <a:pt x="0" y="53394"/>
                      </a:cubicBezTo>
                      <a:lnTo>
                        <a:pt x="0" y="6674"/>
                      </a:lnTo>
                      <a:cubicBezTo>
                        <a:pt x="0" y="2992"/>
                        <a:pt x="2992" y="0"/>
                        <a:pt x="6674" y="0"/>
                      </a:cubicBezTo>
                      <a:cubicBezTo>
                        <a:pt x="10357" y="0"/>
                        <a:pt x="13348" y="2992"/>
                        <a:pt x="13348" y="6674"/>
                      </a:cubicBezTo>
                      <a:lnTo>
                        <a:pt x="13348" y="53394"/>
                      </a:lnTo>
                      <a:cubicBezTo>
                        <a:pt x="13348" y="57102"/>
                        <a:pt x="10357" y="60068"/>
                        <a:pt x="6674" y="60068"/>
                      </a:cubicBezTo>
                      <a:close/>
                    </a:path>
                  </a:pathLst>
                </a:custGeom>
                <a:solidFill>
                  <a:schemeClr val="accent1"/>
                </a:solidFill>
                <a:ln w="2553" cap="flat">
                  <a:noFill/>
                  <a:prstDash val="solid"/>
                  <a:miter/>
                </a:ln>
              </p:spPr>
              <p:txBody>
                <a:bodyPr rtlCol="0" anchor="ctr"/>
                <a:lstStyle/>
                <a:p>
                  <a:endParaRPr lang="en-GB" dirty="0"/>
                </a:p>
              </p:txBody>
            </p:sp>
            <p:sp>
              <p:nvSpPr>
                <p:cNvPr id="1199" name="Freihandform: Form 1198">
                  <a:extLst>
                    <a:ext uri="{FF2B5EF4-FFF2-40B4-BE49-F238E27FC236}">
                      <a16:creationId xmlns:a16="http://schemas.microsoft.com/office/drawing/2014/main" id="{9AEC3AE6-FE71-4D3F-9258-F79FEFC7FE71}"/>
                    </a:ext>
                  </a:extLst>
                </p:cNvPr>
                <p:cNvSpPr/>
                <p:nvPr/>
              </p:nvSpPr>
              <p:spPr>
                <a:xfrm>
                  <a:off x="5489943" y="3678450"/>
                  <a:ext cx="40045" cy="13348"/>
                </a:xfrm>
                <a:custGeom>
                  <a:avLst/>
                  <a:gdLst>
                    <a:gd name="connsiteX0" fmla="*/ 33371 w 40045"/>
                    <a:gd name="connsiteY0" fmla="*/ 13348 h 13348"/>
                    <a:gd name="connsiteX1" fmla="*/ 6674 w 40045"/>
                    <a:gd name="connsiteY1" fmla="*/ 13348 h 13348"/>
                    <a:gd name="connsiteX2" fmla="*/ 0 w 40045"/>
                    <a:gd name="connsiteY2" fmla="*/ 6674 h 13348"/>
                    <a:gd name="connsiteX3" fmla="*/ 6674 w 40045"/>
                    <a:gd name="connsiteY3" fmla="*/ 0 h 13348"/>
                    <a:gd name="connsiteX4" fmla="*/ 33371 w 40045"/>
                    <a:gd name="connsiteY4" fmla="*/ 0 h 13348"/>
                    <a:gd name="connsiteX5" fmla="*/ 40045 w 40045"/>
                    <a:gd name="connsiteY5" fmla="*/ 6674 h 13348"/>
                    <a:gd name="connsiteX6" fmla="*/ 33371 w 40045"/>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45" h="13348">
                      <a:moveTo>
                        <a:pt x="33371" y="13348"/>
                      </a:moveTo>
                      <a:lnTo>
                        <a:pt x="6674" y="13348"/>
                      </a:lnTo>
                      <a:cubicBezTo>
                        <a:pt x="2992" y="13348"/>
                        <a:pt x="0" y="10356"/>
                        <a:pt x="0" y="6674"/>
                      </a:cubicBezTo>
                      <a:cubicBezTo>
                        <a:pt x="0" y="2992"/>
                        <a:pt x="2992" y="0"/>
                        <a:pt x="6674" y="0"/>
                      </a:cubicBezTo>
                      <a:lnTo>
                        <a:pt x="33371" y="0"/>
                      </a:lnTo>
                      <a:cubicBezTo>
                        <a:pt x="37053" y="0"/>
                        <a:pt x="40045" y="2992"/>
                        <a:pt x="40045" y="6674"/>
                      </a:cubicBezTo>
                      <a:cubicBezTo>
                        <a:pt x="40045" y="10382"/>
                        <a:pt x="37053" y="13348"/>
                        <a:pt x="33371" y="13348"/>
                      </a:cubicBezTo>
                      <a:close/>
                    </a:path>
                  </a:pathLst>
                </a:custGeom>
                <a:solidFill>
                  <a:schemeClr val="accent1"/>
                </a:solidFill>
                <a:ln w="2553" cap="flat">
                  <a:noFill/>
                  <a:prstDash val="solid"/>
                  <a:miter/>
                </a:ln>
              </p:spPr>
              <p:txBody>
                <a:bodyPr rtlCol="0" anchor="ctr"/>
                <a:lstStyle/>
                <a:p>
                  <a:endParaRPr lang="en-GB" dirty="0"/>
                </a:p>
              </p:txBody>
            </p:sp>
            <p:sp>
              <p:nvSpPr>
                <p:cNvPr id="1200" name="Freihandform: Form 1199">
                  <a:extLst>
                    <a:ext uri="{FF2B5EF4-FFF2-40B4-BE49-F238E27FC236}">
                      <a16:creationId xmlns:a16="http://schemas.microsoft.com/office/drawing/2014/main" id="{A821E796-6496-4A74-967A-3E3C61378ADB}"/>
                    </a:ext>
                  </a:extLst>
                </p:cNvPr>
                <p:cNvSpPr/>
                <p:nvPr/>
              </p:nvSpPr>
              <p:spPr>
                <a:xfrm>
                  <a:off x="5503291" y="3611707"/>
                  <a:ext cx="20022" cy="13348"/>
                </a:xfrm>
                <a:custGeom>
                  <a:avLst/>
                  <a:gdLst>
                    <a:gd name="connsiteX0" fmla="*/ 13348 w 20022"/>
                    <a:gd name="connsiteY0" fmla="*/ 13348 h 13348"/>
                    <a:gd name="connsiteX1" fmla="*/ 6674 w 20022"/>
                    <a:gd name="connsiteY1" fmla="*/ 13348 h 13348"/>
                    <a:gd name="connsiteX2" fmla="*/ 0 w 20022"/>
                    <a:gd name="connsiteY2" fmla="*/ 6674 h 13348"/>
                    <a:gd name="connsiteX3" fmla="*/ 6674 w 20022"/>
                    <a:gd name="connsiteY3" fmla="*/ 0 h 13348"/>
                    <a:gd name="connsiteX4" fmla="*/ 13348 w 20022"/>
                    <a:gd name="connsiteY4" fmla="*/ 0 h 13348"/>
                    <a:gd name="connsiteX5" fmla="*/ 20023 w 20022"/>
                    <a:gd name="connsiteY5" fmla="*/ 6674 h 13348"/>
                    <a:gd name="connsiteX6" fmla="*/ 13348 w 20022"/>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22" h="13348">
                      <a:moveTo>
                        <a:pt x="13348" y="13348"/>
                      </a:moveTo>
                      <a:lnTo>
                        <a:pt x="6674" y="13348"/>
                      </a:lnTo>
                      <a:cubicBezTo>
                        <a:pt x="2992" y="13348"/>
                        <a:pt x="0" y="10357"/>
                        <a:pt x="0" y="6674"/>
                      </a:cubicBezTo>
                      <a:cubicBezTo>
                        <a:pt x="0" y="2992"/>
                        <a:pt x="2992" y="0"/>
                        <a:pt x="6674" y="0"/>
                      </a:cubicBezTo>
                      <a:lnTo>
                        <a:pt x="13348" y="0"/>
                      </a:lnTo>
                      <a:cubicBezTo>
                        <a:pt x="17031" y="0"/>
                        <a:pt x="20023" y="2992"/>
                        <a:pt x="20023" y="6674"/>
                      </a:cubicBezTo>
                      <a:cubicBezTo>
                        <a:pt x="20023" y="10382"/>
                        <a:pt x="17031" y="13348"/>
                        <a:pt x="13348" y="13348"/>
                      </a:cubicBezTo>
                      <a:close/>
                    </a:path>
                  </a:pathLst>
                </a:custGeom>
                <a:solidFill>
                  <a:schemeClr val="accent1"/>
                </a:solidFill>
                <a:ln w="2553" cap="flat">
                  <a:noFill/>
                  <a:prstDash val="solid"/>
                  <a:miter/>
                </a:ln>
              </p:spPr>
              <p:txBody>
                <a:bodyPr rtlCol="0" anchor="ctr"/>
                <a:lstStyle/>
                <a:p>
                  <a:endParaRPr lang="en-GB" dirty="0"/>
                </a:p>
              </p:txBody>
            </p:sp>
          </p:grpSp>
          <p:sp>
            <p:nvSpPr>
              <p:cNvPr id="1195" name="Freihandform: Form 1194">
                <a:extLst>
                  <a:ext uri="{FF2B5EF4-FFF2-40B4-BE49-F238E27FC236}">
                    <a16:creationId xmlns:a16="http://schemas.microsoft.com/office/drawing/2014/main" id="{2BADF3B7-C6ED-49AA-B86F-FD43B9500663}"/>
                  </a:ext>
                </a:extLst>
              </p:cNvPr>
              <p:cNvSpPr/>
              <p:nvPr/>
            </p:nvSpPr>
            <p:spPr>
              <a:xfrm>
                <a:off x="5343040" y="3557853"/>
                <a:ext cx="333825" cy="187159"/>
              </a:xfrm>
              <a:custGeom>
                <a:avLst/>
                <a:gdLst>
                  <a:gd name="connsiteX0" fmla="*/ 166925 w 333825"/>
                  <a:gd name="connsiteY0" fmla="*/ 187159 h 187159"/>
                  <a:gd name="connsiteX1" fmla="*/ 1093 w 333825"/>
                  <a:gd name="connsiteY1" fmla="*/ 97224 h 187159"/>
                  <a:gd name="connsiteX2" fmla="*/ 1093 w 333825"/>
                  <a:gd name="connsiteY2" fmla="*/ 89936 h 187159"/>
                  <a:gd name="connsiteX3" fmla="*/ 166925 w 333825"/>
                  <a:gd name="connsiteY3" fmla="*/ 0 h 187159"/>
                  <a:gd name="connsiteX4" fmla="*/ 332732 w 333825"/>
                  <a:gd name="connsiteY4" fmla="*/ 89936 h 187159"/>
                  <a:gd name="connsiteX5" fmla="*/ 332732 w 333825"/>
                  <a:gd name="connsiteY5" fmla="*/ 97224 h 187159"/>
                  <a:gd name="connsiteX6" fmla="*/ 166925 w 333825"/>
                  <a:gd name="connsiteY6" fmla="*/ 187159 h 187159"/>
                  <a:gd name="connsiteX7" fmla="*/ 14723 w 333825"/>
                  <a:gd name="connsiteY7" fmla="*/ 93567 h 187159"/>
                  <a:gd name="connsiteX8" fmla="*/ 166925 w 333825"/>
                  <a:gd name="connsiteY8" fmla="*/ 173811 h 187159"/>
                  <a:gd name="connsiteX9" fmla="*/ 319128 w 333825"/>
                  <a:gd name="connsiteY9" fmla="*/ 93567 h 187159"/>
                  <a:gd name="connsiteX10" fmla="*/ 166925 w 333825"/>
                  <a:gd name="connsiteY10" fmla="*/ 13323 h 187159"/>
                  <a:gd name="connsiteX11" fmla="*/ 14723 w 333825"/>
                  <a:gd name="connsiteY11" fmla="*/ 93567 h 18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825" h="187159">
                    <a:moveTo>
                      <a:pt x="166925" y="187159"/>
                    </a:moveTo>
                    <a:cubicBezTo>
                      <a:pt x="99825" y="187159"/>
                      <a:pt x="37840" y="153532"/>
                      <a:pt x="1093" y="97224"/>
                    </a:cubicBezTo>
                    <a:cubicBezTo>
                      <a:pt x="-364" y="94999"/>
                      <a:pt x="-364" y="92160"/>
                      <a:pt x="1093" y="89936"/>
                    </a:cubicBezTo>
                    <a:cubicBezTo>
                      <a:pt x="37840" y="33601"/>
                      <a:pt x="99825" y="0"/>
                      <a:pt x="166925" y="0"/>
                    </a:cubicBezTo>
                    <a:cubicBezTo>
                      <a:pt x="234026" y="0"/>
                      <a:pt x="296011" y="33627"/>
                      <a:pt x="332732" y="89936"/>
                    </a:cubicBezTo>
                    <a:cubicBezTo>
                      <a:pt x="334190" y="92160"/>
                      <a:pt x="334190" y="94999"/>
                      <a:pt x="332732" y="97224"/>
                    </a:cubicBezTo>
                    <a:cubicBezTo>
                      <a:pt x="296011" y="153532"/>
                      <a:pt x="234026" y="187159"/>
                      <a:pt x="166925" y="187159"/>
                    </a:cubicBezTo>
                    <a:close/>
                    <a:moveTo>
                      <a:pt x="14723" y="93567"/>
                    </a:moveTo>
                    <a:cubicBezTo>
                      <a:pt x="49245" y="143892"/>
                      <a:pt x="105809" y="173811"/>
                      <a:pt x="166925" y="173811"/>
                    </a:cubicBezTo>
                    <a:cubicBezTo>
                      <a:pt x="228016" y="173811"/>
                      <a:pt x="284606" y="143892"/>
                      <a:pt x="319128" y="93567"/>
                    </a:cubicBezTo>
                    <a:cubicBezTo>
                      <a:pt x="284606" y="43242"/>
                      <a:pt x="228042" y="13323"/>
                      <a:pt x="166925" y="13323"/>
                    </a:cubicBezTo>
                    <a:cubicBezTo>
                      <a:pt x="105809" y="13323"/>
                      <a:pt x="49245" y="43242"/>
                      <a:pt x="14723" y="93567"/>
                    </a:cubicBezTo>
                    <a:close/>
                  </a:path>
                </a:pathLst>
              </a:custGeom>
              <a:solidFill>
                <a:schemeClr val="accent1"/>
              </a:solidFill>
              <a:ln w="2553" cap="flat">
                <a:noFill/>
                <a:prstDash val="solid"/>
                <a:miter/>
              </a:ln>
            </p:spPr>
            <p:txBody>
              <a:bodyPr rtlCol="0" anchor="ctr"/>
              <a:lstStyle/>
              <a:p>
                <a:endParaRPr lang="en-GB" dirty="0"/>
              </a:p>
            </p:txBody>
          </p:sp>
        </p:grpSp>
      </p:grpSp>
      <p:sp>
        <p:nvSpPr>
          <p:cNvPr id="1210" name="TextBox 1425">
            <a:extLst>
              <a:ext uri="{FF2B5EF4-FFF2-40B4-BE49-F238E27FC236}">
                <a16:creationId xmlns:a16="http://schemas.microsoft.com/office/drawing/2014/main" id="{39BBC18E-BBAD-4B26-9DBA-5BC620D75988}"/>
              </a:ext>
            </a:extLst>
          </p:cNvPr>
          <p:cNvSpPr txBox="1"/>
          <p:nvPr/>
        </p:nvSpPr>
        <p:spPr>
          <a:xfrm>
            <a:off x="4931140" y="3723675"/>
            <a:ext cx="564257" cy="107722"/>
          </a:xfrm>
          <a:prstGeom prst="rect">
            <a:avLst/>
          </a:prstGeom>
          <a:noFill/>
          <a:effectLst/>
        </p:spPr>
        <p:txBody>
          <a:bodyPr wrap="none" lIns="0" tIns="0" rIns="0" bIns="0" rtlCol="0" anchor="t" anchorCtr="0">
            <a:spAutoFit/>
          </a:bodyPr>
          <a:lstStyle/>
          <a:p>
            <a:pPr algn="ctr"/>
            <a:r>
              <a:rPr lang="en-GB" sz="700" dirty="0">
                <a:solidFill>
                  <a:schemeClr val="tx2"/>
                </a:solidFill>
              </a:rPr>
              <a:t>Gathering info</a:t>
            </a:r>
          </a:p>
        </p:txBody>
      </p:sp>
      <p:grpSp>
        <p:nvGrpSpPr>
          <p:cNvPr id="60" name="Group 59">
            <a:extLst>
              <a:ext uri="{FF2B5EF4-FFF2-40B4-BE49-F238E27FC236}">
                <a16:creationId xmlns:a16="http://schemas.microsoft.com/office/drawing/2014/main" id="{95BA3EBD-34C6-0E61-6884-FA8B824C0906}"/>
              </a:ext>
            </a:extLst>
          </p:cNvPr>
          <p:cNvGrpSpPr/>
          <p:nvPr/>
        </p:nvGrpSpPr>
        <p:grpSpPr>
          <a:xfrm>
            <a:off x="8079872" y="3273397"/>
            <a:ext cx="525592" cy="432000"/>
            <a:chOff x="8079460" y="3273397"/>
            <a:chExt cx="525592" cy="432000"/>
          </a:xfrm>
        </p:grpSpPr>
        <p:grpSp>
          <p:nvGrpSpPr>
            <p:cNvPr id="1212" name="Gruppieren 1211">
              <a:extLst>
                <a:ext uri="{FF2B5EF4-FFF2-40B4-BE49-F238E27FC236}">
                  <a16:creationId xmlns:a16="http://schemas.microsoft.com/office/drawing/2014/main" id="{6B44E843-CECB-4197-97F4-D5A973791A99}"/>
                </a:ext>
              </a:extLst>
            </p:cNvPr>
            <p:cNvGrpSpPr/>
            <p:nvPr/>
          </p:nvGrpSpPr>
          <p:grpSpPr>
            <a:xfrm>
              <a:off x="8079460" y="3385948"/>
              <a:ext cx="525592" cy="319449"/>
              <a:chOff x="7804870" y="3416008"/>
              <a:chExt cx="568535" cy="345549"/>
            </a:xfrm>
            <a:solidFill>
              <a:schemeClr val="tx2"/>
            </a:solidFill>
          </p:grpSpPr>
          <p:grpSp>
            <p:nvGrpSpPr>
              <p:cNvPr id="1223" name="Grafik 313">
                <a:extLst>
                  <a:ext uri="{FF2B5EF4-FFF2-40B4-BE49-F238E27FC236}">
                    <a16:creationId xmlns:a16="http://schemas.microsoft.com/office/drawing/2014/main" id="{3CA582F6-C055-4E6A-A58E-B4FDDB5BA78E}"/>
                  </a:ext>
                </a:extLst>
              </p:cNvPr>
              <p:cNvGrpSpPr/>
              <p:nvPr/>
            </p:nvGrpSpPr>
            <p:grpSpPr>
              <a:xfrm>
                <a:off x="7804870" y="3416008"/>
                <a:ext cx="295634" cy="345549"/>
                <a:chOff x="7804870" y="3416008"/>
                <a:chExt cx="295634" cy="345549"/>
              </a:xfrm>
              <a:grpFill/>
            </p:grpSpPr>
            <p:sp>
              <p:nvSpPr>
                <p:cNvPr id="1230" name="Freihandform: Form 1229">
                  <a:extLst>
                    <a:ext uri="{FF2B5EF4-FFF2-40B4-BE49-F238E27FC236}">
                      <a16:creationId xmlns:a16="http://schemas.microsoft.com/office/drawing/2014/main" id="{C7EC85C2-0893-47FB-B237-14790D43EF6F}"/>
                    </a:ext>
                  </a:extLst>
                </p:cNvPr>
                <p:cNvSpPr/>
                <p:nvPr/>
              </p:nvSpPr>
              <p:spPr>
                <a:xfrm>
                  <a:off x="7804870" y="3416008"/>
                  <a:ext cx="295634" cy="61141"/>
                </a:xfrm>
                <a:custGeom>
                  <a:avLst/>
                  <a:gdLst>
                    <a:gd name="connsiteX0" fmla="*/ 147804 w 295634"/>
                    <a:gd name="connsiteY0" fmla="*/ 61141 h 61141"/>
                    <a:gd name="connsiteX1" fmla="*/ 0 w 295634"/>
                    <a:gd name="connsiteY1" fmla="*/ 30557 h 61141"/>
                    <a:gd name="connsiteX2" fmla="*/ 119190 w 295634"/>
                    <a:gd name="connsiteY2" fmla="*/ 25 h 61141"/>
                    <a:gd name="connsiteX3" fmla="*/ 126119 w 295634"/>
                    <a:gd name="connsiteY3" fmla="*/ 6418 h 61141"/>
                    <a:gd name="connsiteX4" fmla="*/ 119726 w 295634"/>
                    <a:gd name="connsiteY4" fmla="*/ 13348 h 61141"/>
                    <a:gd name="connsiteX5" fmla="*/ 14192 w 295634"/>
                    <a:gd name="connsiteY5" fmla="*/ 30660 h 61141"/>
                    <a:gd name="connsiteX6" fmla="*/ 147804 w 295634"/>
                    <a:gd name="connsiteY6" fmla="*/ 47793 h 61141"/>
                    <a:gd name="connsiteX7" fmla="*/ 281493 w 295634"/>
                    <a:gd name="connsiteY7" fmla="*/ 30634 h 61141"/>
                    <a:gd name="connsiteX8" fmla="*/ 177416 w 295634"/>
                    <a:gd name="connsiteY8" fmla="*/ 13782 h 61141"/>
                    <a:gd name="connsiteX9" fmla="*/ 171023 w 295634"/>
                    <a:gd name="connsiteY9" fmla="*/ 6852 h 61141"/>
                    <a:gd name="connsiteX10" fmla="*/ 177953 w 295634"/>
                    <a:gd name="connsiteY10" fmla="*/ 460 h 61141"/>
                    <a:gd name="connsiteX11" fmla="*/ 295634 w 295634"/>
                    <a:gd name="connsiteY11" fmla="*/ 30583 h 61141"/>
                    <a:gd name="connsiteX12" fmla="*/ 147804 w 295634"/>
                    <a:gd name="connsiteY12" fmla="*/ 61141 h 6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5634" h="61141">
                      <a:moveTo>
                        <a:pt x="147804" y="61141"/>
                      </a:moveTo>
                      <a:cubicBezTo>
                        <a:pt x="132666" y="61141"/>
                        <a:pt x="0" y="60272"/>
                        <a:pt x="0" y="30557"/>
                      </a:cubicBezTo>
                      <a:cubicBezTo>
                        <a:pt x="0" y="6673"/>
                        <a:pt x="91240" y="1150"/>
                        <a:pt x="119190" y="25"/>
                      </a:cubicBezTo>
                      <a:cubicBezTo>
                        <a:pt x="122821" y="-308"/>
                        <a:pt x="125966" y="2735"/>
                        <a:pt x="126119" y="6418"/>
                      </a:cubicBezTo>
                      <a:cubicBezTo>
                        <a:pt x="126273" y="10100"/>
                        <a:pt x="123409" y="13194"/>
                        <a:pt x="119726" y="13348"/>
                      </a:cubicBezTo>
                      <a:cubicBezTo>
                        <a:pt x="55951" y="15930"/>
                        <a:pt x="21352" y="25315"/>
                        <a:pt x="14192" y="30660"/>
                      </a:cubicBezTo>
                      <a:cubicBezTo>
                        <a:pt x="22273" y="37053"/>
                        <a:pt x="66793" y="47793"/>
                        <a:pt x="147804" y="47793"/>
                      </a:cubicBezTo>
                      <a:cubicBezTo>
                        <a:pt x="229020" y="47793"/>
                        <a:pt x="273566" y="37001"/>
                        <a:pt x="281493" y="30634"/>
                      </a:cubicBezTo>
                      <a:cubicBezTo>
                        <a:pt x="274256" y="24880"/>
                        <a:pt x="238711" y="16263"/>
                        <a:pt x="177416" y="13782"/>
                      </a:cubicBezTo>
                      <a:cubicBezTo>
                        <a:pt x="173734" y="13629"/>
                        <a:pt x="170870" y="10535"/>
                        <a:pt x="171023" y="6852"/>
                      </a:cubicBezTo>
                      <a:cubicBezTo>
                        <a:pt x="171177" y="3170"/>
                        <a:pt x="174220" y="102"/>
                        <a:pt x="177953" y="460"/>
                      </a:cubicBezTo>
                      <a:cubicBezTo>
                        <a:pt x="213344" y="1892"/>
                        <a:pt x="295634" y="7671"/>
                        <a:pt x="295634" y="30583"/>
                      </a:cubicBezTo>
                      <a:cubicBezTo>
                        <a:pt x="295608" y="60272"/>
                        <a:pt x="162943" y="61141"/>
                        <a:pt x="147804" y="61141"/>
                      </a:cubicBezTo>
                      <a:close/>
                    </a:path>
                  </a:pathLst>
                </a:custGeom>
                <a:grpFill/>
                <a:ln w="2553" cap="flat">
                  <a:noFill/>
                  <a:prstDash val="solid"/>
                  <a:miter/>
                </a:ln>
              </p:spPr>
              <p:txBody>
                <a:bodyPr rtlCol="0" anchor="ctr"/>
                <a:lstStyle/>
                <a:p>
                  <a:endParaRPr lang="en-GB" dirty="0"/>
                </a:p>
              </p:txBody>
            </p:sp>
            <p:sp>
              <p:nvSpPr>
                <p:cNvPr id="1231" name="Freihandform: Form 1230">
                  <a:extLst>
                    <a:ext uri="{FF2B5EF4-FFF2-40B4-BE49-F238E27FC236}">
                      <a16:creationId xmlns:a16="http://schemas.microsoft.com/office/drawing/2014/main" id="{3420BA0C-A53F-408A-A0B2-8C4CFE1A34D7}"/>
                    </a:ext>
                  </a:extLst>
                </p:cNvPr>
                <p:cNvSpPr/>
                <p:nvPr/>
              </p:nvSpPr>
              <p:spPr>
                <a:xfrm>
                  <a:off x="7805541" y="3441116"/>
                  <a:ext cx="294819" cy="320441"/>
                </a:xfrm>
                <a:custGeom>
                  <a:avLst/>
                  <a:gdLst>
                    <a:gd name="connsiteX0" fmla="*/ 146775 w 294819"/>
                    <a:gd name="connsiteY0" fmla="*/ 320441 h 320441"/>
                    <a:gd name="connsiteX1" fmla="*/ 86630 w 294819"/>
                    <a:gd name="connsiteY1" fmla="*/ 306863 h 320441"/>
                    <a:gd name="connsiteX2" fmla="*/ 275 w 294819"/>
                    <a:gd name="connsiteY2" fmla="*/ 11663 h 320441"/>
                    <a:gd name="connsiteX3" fmla="*/ 4801 w 294819"/>
                    <a:gd name="connsiteY3" fmla="*/ 3378 h 320441"/>
                    <a:gd name="connsiteX4" fmla="*/ 13086 w 294819"/>
                    <a:gd name="connsiteY4" fmla="*/ 7904 h 320441"/>
                    <a:gd name="connsiteX5" fmla="*/ 98905 w 294819"/>
                    <a:gd name="connsiteY5" fmla="*/ 301288 h 320441"/>
                    <a:gd name="connsiteX6" fmla="*/ 146775 w 294819"/>
                    <a:gd name="connsiteY6" fmla="*/ 307093 h 320441"/>
                    <a:gd name="connsiteX7" fmla="*/ 194517 w 294819"/>
                    <a:gd name="connsiteY7" fmla="*/ 301697 h 320441"/>
                    <a:gd name="connsiteX8" fmla="*/ 281742 w 294819"/>
                    <a:gd name="connsiteY8" fmla="*/ 4810 h 320441"/>
                    <a:gd name="connsiteX9" fmla="*/ 290027 w 294819"/>
                    <a:gd name="connsiteY9" fmla="*/ 284 h 320441"/>
                    <a:gd name="connsiteX10" fmla="*/ 294554 w 294819"/>
                    <a:gd name="connsiteY10" fmla="*/ 8569 h 320441"/>
                    <a:gd name="connsiteX11" fmla="*/ 207226 w 294819"/>
                    <a:gd name="connsiteY11" fmla="*/ 305891 h 320441"/>
                    <a:gd name="connsiteX12" fmla="*/ 146775 w 294819"/>
                    <a:gd name="connsiteY12" fmla="*/ 320441 h 320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4819" h="320441">
                      <a:moveTo>
                        <a:pt x="146775" y="320441"/>
                      </a:moveTo>
                      <a:cubicBezTo>
                        <a:pt x="126190" y="320441"/>
                        <a:pt x="91003" y="318677"/>
                        <a:pt x="86630" y="306863"/>
                      </a:cubicBezTo>
                      <a:lnTo>
                        <a:pt x="275" y="11663"/>
                      </a:lnTo>
                      <a:cubicBezTo>
                        <a:pt x="-774" y="8135"/>
                        <a:pt x="1272" y="4427"/>
                        <a:pt x="4801" y="3378"/>
                      </a:cubicBezTo>
                      <a:cubicBezTo>
                        <a:pt x="8330" y="2330"/>
                        <a:pt x="12038" y="4375"/>
                        <a:pt x="13086" y="7904"/>
                      </a:cubicBezTo>
                      <a:lnTo>
                        <a:pt x="98905" y="301288"/>
                      </a:lnTo>
                      <a:cubicBezTo>
                        <a:pt x="102562" y="303334"/>
                        <a:pt x="117905" y="307093"/>
                        <a:pt x="146775" y="307093"/>
                      </a:cubicBezTo>
                      <a:cubicBezTo>
                        <a:pt x="173600" y="307093"/>
                        <a:pt x="190170" y="303820"/>
                        <a:pt x="194517" y="301697"/>
                      </a:cubicBezTo>
                      <a:lnTo>
                        <a:pt x="281742" y="4810"/>
                      </a:lnTo>
                      <a:cubicBezTo>
                        <a:pt x="282791" y="1281"/>
                        <a:pt x="286448" y="-790"/>
                        <a:pt x="290027" y="284"/>
                      </a:cubicBezTo>
                      <a:cubicBezTo>
                        <a:pt x="293556" y="1332"/>
                        <a:pt x="295576" y="5040"/>
                        <a:pt x="294554" y="8569"/>
                      </a:cubicBezTo>
                      <a:lnTo>
                        <a:pt x="207226" y="305891"/>
                      </a:lnTo>
                      <a:cubicBezTo>
                        <a:pt x="205488" y="315557"/>
                        <a:pt x="185183" y="320441"/>
                        <a:pt x="146775" y="320441"/>
                      </a:cubicBezTo>
                      <a:close/>
                    </a:path>
                  </a:pathLst>
                </a:custGeom>
                <a:grpFill/>
                <a:ln w="2553" cap="flat">
                  <a:noFill/>
                  <a:prstDash val="solid"/>
                  <a:miter/>
                </a:ln>
              </p:spPr>
              <p:txBody>
                <a:bodyPr rtlCol="0" anchor="ctr"/>
                <a:lstStyle/>
                <a:p>
                  <a:endParaRPr lang="en-GB" dirty="0"/>
                </a:p>
              </p:txBody>
            </p:sp>
          </p:grpSp>
          <p:sp>
            <p:nvSpPr>
              <p:cNvPr id="1224" name="Freihandform: Form 1223">
                <a:extLst>
                  <a:ext uri="{FF2B5EF4-FFF2-40B4-BE49-F238E27FC236}">
                    <a16:creationId xmlns:a16="http://schemas.microsoft.com/office/drawing/2014/main" id="{2B6CAB34-D4F7-4721-B6D4-93F535072932}"/>
                  </a:ext>
                </a:extLst>
              </p:cNvPr>
              <p:cNvSpPr/>
              <p:nvPr/>
            </p:nvSpPr>
            <p:spPr>
              <a:xfrm>
                <a:off x="7818499" y="3487992"/>
                <a:ext cx="267358" cy="26978"/>
              </a:xfrm>
              <a:custGeom>
                <a:avLst/>
                <a:gdLst>
                  <a:gd name="connsiteX0" fmla="*/ 134174 w 267358"/>
                  <a:gd name="connsiteY0" fmla="*/ 26978 h 26978"/>
                  <a:gd name="connsiteX1" fmla="*/ 4449 w 267358"/>
                  <a:gd name="connsiteY1" fmla="*/ 12965 h 26978"/>
                  <a:gd name="connsiteX2" fmla="*/ 383 w 267358"/>
                  <a:gd name="connsiteY2" fmla="*/ 4449 h 26978"/>
                  <a:gd name="connsiteX3" fmla="*/ 8899 w 267358"/>
                  <a:gd name="connsiteY3" fmla="*/ 383 h 26978"/>
                  <a:gd name="connsiteX4" fmla="*/ 134149 w 267358"/>
                  <a:gd name="connsiteY4" fmla="*/ 13630 h 26978"/>
                  <a:gd name="connsiteX5" fmla="*/ 258529 w 267358"/>
                  <a:gd name="connsiteY5" fmla="*/ 690 h 26978"/>
                  <a:gd name="connsiteX6" fmla="*/ 266994 w 267358"/>
                  <a:gd name="connsiteY6" fmla="*/ 4859 h 26978"/>
                  <a:gd name="connsiteX7" fmla="*/ 262826 w 267358"/>
                  <a:gd name="connsiteY7" fmla="*/ 13323 h 26978"/>
                  <a:gd name="connsiteX8" fmla="*/ 134174 w 267358"/>
                  <a:gd name="connsiteY8" fmla="*/ 26978 h 2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358" h="26978">
                    <a:moveTo>
                      <a:pt x="134174" y="26978"/>
                    </a:moveTo>
                    <a:cubicBezTo>
                      <a:pt x="78479" y="26978"/>
                      <a:pt x="28768" y="21608"/>
                      <a:pt x="4449" y="12965"/>
                    </a:cubicBezTo>
                    <a:cubicBezTo>
                      <a:pt x="972" y="11737"/>
                      <a:pt x="-844" y="7902"/>
                      <a:pt x="383" y="4449"/>
                    </a:cubicBezTo>
                    <a:cubicBezTo>
                      <a:pt x="1611" y="972"/>
                      <a:pt x="5447" y="-844"/>
                      <a:pt x="8899" y="383"/>
                    </a:cubicBezTo>
                    <a:cubicBezTo>
                      <a:pt x="31530" y="8439"/>
                      <a:pt x="80704" y="13630"/>
                      <a:pt x="134149" y="13630"/>
                    </a:cubicBezTo>
                    <a:cubicBezTo>
                      <a:pt x="186724" y="13630"/>
                      <a:pt x="235540" y="8541"/>
                      <a:pt x="258529" y="690"/>
                    </a:cubicBezTo>
                    <a:cubicBezTo>
                      <a:pt x="261982" y="-486"/>
                      <a:pt x="265792" y="1355"/>
                      <a:pt x="266994" y="4859"/>
                    </a:cubicBezTo>
                    <a:cubicBezTo>
                      <a:pt x="268196" y="8336"/>
                      <a:pt x="266329" y="12146"/>
                      <a:pt x="262826" y="13323"/>
                    </a:cubicBezTo>
                    <a:cubicBezTo>
                      <a:pt x="238251" y="21736"/>
                      <a:pt x="188923" y="26978"/>
                      <a:pt x="134174" y="26978"/>
                    </a:cubicBezTo>
                    <a:close/>
                  </a:path>
                </a:pathLst>
              </a:custGeom>
              <a:grpFill/>
              <a:ln w="2553" cap="flat">
                <a:noFill/>
                <a:prstDash val="solid"/>
                <a:miter/>
              </a:ln>
            </p:spPr>
            <p:txBody>
              <a:bodyPr rtlCol="0" anchor="ctr"/>
              <a:lstStyle/>
              <a:p>
                <a:endParaRPr lang="en-GB" dirty="0"/>
              </a:p>
            </p:txBody>
          </p:sp>
          <p:grpSp>
            <p:nvGrpSpPr>
              <p:cNvPr id="1225" name="Grafik 313">
                <a:extLst>
                  <a:ext uri="{FF2B5EF4-FFF2-40B4-BE49-F238E27FC236}">
                    <a16:creationId xmlns:a16="http://schemas.microsoft.com/office/drawing/2014/main" id="{8BA21B2D-314D-481C-AA4D-ABEB27CDD1A3}"/>
                  </a:ext>
                </a:extLst>
              </p:cNvPr>
              <p:cNvGrpSpPr/>
              <p:nvPr/>
            </p:nvGrpSpPr>
            <p:grpSpPr>
              <a:xfrm>
                <a:off x="8039669" y="3558800"/>
                <a:ext cx="333736" cy="193551"/>
                <a:chOff x="8039669" y="3558800"/>
                <a:chExt cx="333736" cy="193551"/>
              </a:xfrm>
              <a:grpFill/>
            </p:grpSpPr>
            <p:sp>
              <p:nvSpPr>
                <p:cNvPr id="1226" name="Freihandform: Form 1225">
                  <a:extLst>
                    <a:ext uri="{FF2B5EF4-FFF2-40B4-BE49-F238E27FC236}">
                      <a16:creationId xmlns:a16="http://schemas.microsoft.com/office/drawing/2014/main" id="{F0BF2247-FD90-4759-B24B-FE5E7B8DBD4F}"/>
                    </a:ext>
                  </a:extLst>
                </p:cNvPr>
                <p:cNvSpPr/>
                <p:nvPr/>
              </p:nvSpPr>
              <p:spPr>
                <a:xfrm>
                  <a:off x="8199875" y="3678935"/>
                  <a:ext cx="173529" cy="73416"/>
                </a:xfrm>
                <a:custGeom>
                  <a:avLst/>
                  <a:gdLst>
                    <a:gd name="connsiteX0" fmla="*/ 166881 w 173529"/>
                    <a:gd name="connsiteY0" fmla="*/ 73416 h 73416"/>
                    <a:gd name="connsiteX1" fmla="*/ 6674 w 173529"/>
                    <a:gd name="connsiteY1" fmla="*/ 73416 h 73416"/>
                    <a:gd name="connsiteX2" fmla="*/ 0 w 173529"/>
                    <a:gd name="connsiteY2" fmla="*/ 66742 h 73416"/>
                    <a:gd name="connsiteX3" fmla="*/ 66742 w 173529"/>
                    <a:gd name="connsiteY3" fmla="*/ 0 h 73416"/>
                    <a:gd name="connsiteX4" fmla="*/ 106787 w 173529"/>
                    <a:gd name="connsiteY4" fmla="*/ 0 h 73416"/>
                    <a:gd name="connsiteX5" fmla="*/ 173529 w 173529"/>
                    <a:gd name="connsiteY5" fmla="*/ 66742 h 73416"/>
                    <a:gd name="connsiteX6" fmla="*/ 166881 w 173529"/>
                    <a:gd name="connsiteY6" fmla="*/ 73416 h 73416"/>
                    <a:gd name="connsiteX7" fmla="*/ 13783 w 173529"/>
                    <a:gd name="connsiteY7" fmla="*/ 60068 h 73416"/>
                    <a:gd name="connsiteX8" fmla="*/ 159797 w 173529"/>
                    <a:gd name="connsiteY8" fmla="*/ 60068 h 73416"/>
                    <a:gd name="connsiteX9" fmla="*/ 106813 w 173529"/>
                    <a:gd name="connsiteY9" fmla="*/ 13348 h 73416"/>
                    <a:gd name="connsiteX10" fmla="*/ 66768 w 173529"/>
                    <a:gd name="connsiteY10" fmla="*/ 13348 h 73416"/>
                    <a:gd name="connsiteX11" fmla="*/ 13783 w 173529"/>
                    <a:gd name="connsiteY11" fmla="*/ 60068 h 7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529" h="73416">
                      <a:moveTo>
                        <a:pt x="166881" y="73416"/>
                      </a:moveTo>
                      <a:lnTo>
                        <a:pt x="6674" y="73416"/>
                      </a:lnTo>
                      <a:cubicBezTo>
                        <a:pt x="2992" y="73416"/>
                        <a:pt x="0" y="70424"/>
                        <a:pt x="0" y="66742"/>
                      </a:cubicBezTo>
                      <a:cubicBezTo>
                        <a:pt x="0" y="29944"/>
                        <a:pt x="29944" y="0"/>
                        <a:pt x="66742" y="0"/>
                      </a:cubicBezTo>
                      <a:lnTo>
                        <a:pt x="106787" y="0"/>
                      </a:lnTo>
                      <a:cubicBezTo>
                        <a:pt x="143585" y="0"/>
                        <a:pt x="173529" y="29944"/>
                        <a:pt x="173529" y="66742"/>
                      </a:cubicBezTo>
                      <a:cubicBezTo>
                        <a:pt x="173555" y="70450"/>
                        <a:pt x="170563" y="73416"/>
                        <a:pt x="166881" y="73416"/>
                      </a:cubicBezTo>
                      <a:close/>
                      <a:moveTo>
                        <a:pt x="13783" y="60068"/>
                      </a:moveTo>
                      <a:lnTo>
                        <a:pt x="159797" y="60068"/>
                      </a:lnTo>
                      <a:cubicBezTo>
                        <a:pt x="156499" y="33754"/>
                        <a:pt x="133996" y="13348"/>
                        <a:pt x="106813" y="13348"/>
                      </a:cubicBezTo>
                      <a:lnTo>
                        <a:pt x="66768" y="13348"/>
                      </a:lnTo>
                      <a:cubicBezTo>
                        <a:pt x="39559" y="13348"/>
                        <a:pt x="17056" y="33780"/>
                        <a:pt x="13783" y="60068"/>
                      </a:cubicBezTo>
                      <a:close/>
                    </a:path>
                  </a:pathLst>
                </a:custGeom>
                <a:grpFill/>
                <a:ln w="2553" cap="flat">
                  <a:noFill/>
                  <a:prstDash val="solid"/>
                  <a:miter/>
                </a:ln>
              </p:spPr>
              <p:txBody>
                <a:bodyPr rtlCol="0" anchor="ctr"/>
                <a:lstStyle/>
                <a:p>
                  <a:endParaRPr lang="en-GB" dirty="0"/>
                </a:p>
              </p:txBody>
            </p:sp>
            <p:sp>
              <p:nvSpPr>
                <p:cNvPr id="1227" name="Freihandform: Form 1226">
                  <a:extLst>
                    <a:ext uri="{FF2B5EF4-FFF2-40B4-BE49-F238E27FC236}">
                      <a16:creationId xmlns:a16="http://schemas.microsoft.com/office/drawing/2014/main" id="{90F81CC3-B088-4DC3-A0A2-521E2F98F7A4}"/>
                    </a:ext>
                  </a:extLst>
                </p:cNvPr>
                <p:cNvSpPr/>
                <p:nvPr/>
              </p:nvSpPr>
              <p:spPr>
                <a:xfrm>
                  <a:off x="8039669" y="3678935"/>
                  <a:ext cx="173529" cy="73416"/>
                </a:xfrm>
                <a:custGeom>
                  <a:avLst/>
                  <a:gdLst>
                    <a:gd name="connsiteX0" fmla="*/ 166881 w 173529"/>
                    <a:gd name="connsiteY0" fmla="*/ 73416 h 73416"/>
                    <a:gd name="connsiteX1" fmla="*/ 6674 w 173529"/>
                    <a:gd name="connsiteY1" fmla="*/ 73416 h 73416"/>
                    <a:gd name="connsiteX2" fmla="*/ 0 w 173529"/>
                    <a:gd name="connsiteY2" fmla="*/ 66742 h 73416"/>
                    <a:gd name="connsiteX3" fmla="*/ 66742 w 173529"/>
                    <a:gd name="connsiteY3" fmla="*/ 0 h 73416"/>
                    <a:gd name="connsiteX4" fmla="*/ 106787 w 173529"/>
                    <a:gd name="connsiteY4" fmla="*/ 0 h 73416"/>
                    <a:gd name="connsiteX5" fmla="*/ 173529 w 173529"/>
                    <a:gd name="connsiteY5" fmla="*/ 66742 h 73416"/>
                    <a:gd name="connsiteX6" fmla="*/ 166881 w 173529"/>
                    <a:gd name="connsiteY6" fmla="*/ 73416 h 73416"/>
                    <a:gd name="connsiteX7" fmla="*/ 13783 w 173529"/>
                    <a:gd name="connsiteY7" fmla="*/ 60068 h 73416"/>
                    <a:gd name="connsiteX8" fmla="*/ 159797 w 173529"/>
                    <a:gd name="connsiteY8" fmla="*/ 60068 h 73416"/>
                    <a:gd name="connsiteX9" fmla="*/ 106813 w 173529"/>
                    <a:gd name="connsiteY9" fmla="*/ 13348 h 73416"/>
                    <a:gd name="connsiteX10" fmla="*/ 66768 w 173529"/>
                    <a:gd name="connsiteY10" fmla="*/ 13348 h 73416"/>
                    <a:gd name="connsiteX11" fmla="*/ 13783 w 173529"/>
                    <a:gd name="connsiteY11" fmla="*/ 60068 h 7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529" h="73416">
                      <a:moveTo>
                        <a:pt x="166881" y="73416"/>
                      </a:moveTo>
                      <a:lnTo>
                        <a:pt x="6674" y="73416"/>
                      </a:lnTo>
                      <a:cubicBezTo>
                        <a:pt x="2992" y="73416"/>
                        <a:pt x="0" y="70424"/>
                        <a:pt x="0" y="66742"/>
                      </a:cubicBezTo>
                      <a:cubicBezTo>
                        <a:pt x="0" y="29944"/>
                        <a:pt x="29945" y="0"/>
                        <a:pt x="66742" y="0"/>
                      </a:cubicBezTo>
                      <a:lnTo>
                        <a:pt x="106787" y="0"/>
                      </a:lnTo>
                      <a:cubicBezTo>
                        <a:pt x="143585" y="0"/>
                        <a:pt x="173529" y="29944"/>
                        <a:pt x="173529" y="66742"/>
                      </a:cubicBezTo>
                      <a:cubicBezTo>
                        <a:pt x="173555" y="70450"/>
                        <a:pt x="170589" y="73416"/>
                        <a:pt x="166881" y="73416"/>
                      </a:cubicBezTo>
                      <a:close/>
                      <a:moveTo>
                        <a:pt x="13783" y="60068"/>
                      </a:moveTo>
                      <a:lnTo>
                        <a:pt x="159797" y="60068"/>
                      </a:lnTo>
                      <a:cubicBezTo>
                        <a:pt x="156499" y="33754"/>
                        <a:pt x="133996" y="13348"/>
                        <a:pt x="106813" y="13348"/>
                      </a:cubicBezTo>
                      <a:lnTo>
                        <a:pt x="66768" y="13348"/>
                      </a:lnTo>
                      <a:cubicBezTo>
                        <a:pt x="39585" y="13348"/>
                        <a:pt x="17082" y="33780"/>
                        <a:pt x="13783" y="60068"/>
                      </a:cubicBezTo>
                      <a:close/>
                    </a:path>
                  </a:pathLst>
                </a:custGeom>
                <a:grpFill/>
                <a:ln w="2553" cap="flat">
                  <a:noFill/>
                  <a:prstDash val="solid"/>
                  <a:miter/>
                </a:ln>
              </p:spPr>
              <p:txBody>
                <a:bodyPr rtlCol="0" anchor="ctr"/>
                <a:lstStyle/>
                <a:p>
                  <a:endParaRPr lang="en-GB" dirty="0"/>
                </a:p>
              </p:txBody>
            </p:sp>
            <p:sp>
              <p:nvSpPr>
                <p:cNvPr id="1228" name="Freihandform: Form 1227">
                  <a:extLst>
                    <a:ext uri="{FF2B5EF4-FFF2-40B4-BE49-F238E27FC236}">
                      <a16:creationId xmlns:a16="http://schemas.microsoft.com/office/drawing/2014/main" id="{61F0B873-F5A6-4BBF-BEC6-9522B6239E35}"/>
                    </a:ext>
                  </a:extLst>
                </p:cNvPr>
                <p:cNvSpPr/>
                <p:nvPr/>
              </p:nvSpPr>
              <p:spPr>
                <a:xfrm>
                  <a:off x="8239946" y="3558800"/>
                  <a:ext cx="93438" cy="106787"/>
                </a:xfrm>
                <a:custGeom>
                  <a:avLst/>
                  <a:gdLst>
                    <a:gd name="connsiteX0" fmla="*/ 46719 w 93438"/>
                    <a:gd name="connsiteY0" fmla="*/ 106787 h 106787"/>
                    <a:gd name="connsiteX1" fmla="*/ 0 w 93438"/>
                    <a:gd name="connsiteY1" fmla="*/ 53394 h 106787"/>
                    <a:gd name="connsiteX2" fmla="*/ 46719 w 93438"/>
                    <a:gd name="connsiteY2" fmla="*/ 0 h 106787"/>
                    <a:gd name="connsiteX3" fmla="*/ 93439 w 93438"/>
                    <a:gd name="connsiteY3" fmla="*/ 53394 h 106787"/>
                    <a:gd name="connsiteX4" fmla="*/ 46719 w 93438"/>
                    <a:gd name="connsiteY4" fmla="*/ 106787 h 106787"/>
                    <a:gd name="connsiteX5" fmla="*/ 46719 w 93438"/>
                    <a:gd name="connsiteY5" fmla="*/ 13348 h 106787"/>
                    <a:gd name="connsiteX6" fmla="*/ 13348 w 93438"/>
                    <a:gd name="connsiteY6" fmla="*/ 53394 h 106787"/>
                    <a:gd name="connsiteX7" fmla="*/ 46719 w 93438"/>
                    <a:gd name="connsiteY7" fmla="*/ 93439 h 106787"/>
                    <a:gd name="connsiteX8" fmla="*/ 80090 w 93438"/>
                    <a:gd name="connsiteY8" fmla="*/ 53394 h 106787"/>
                    <a:gd name="connsiteX9" fmla="*/ 46719 w 93438"/>
                    <a:gd name="connsiteY9" fmla="*/ 13348 h 10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38" h="106787">
                      <a:moveTo>
                        <a:pt x="46719" y="106787"/>
                      </a:moveTo>
                      <a:cubicBezTo>
                        <a:pt x="18770" y="106787"/>
                        <a:pt x="0" y="85333"/>
                        <a:pt x="0" y="53394"/>
                      </a:cubicBezTo>
                      <a:cubicBezTo>
                        <a:pt x="0" y="21455"/>
                        <a:pt x="18770" y="0"/>
                        <a:pt x="46719" y="0"/>
                      </a:cubicBezTo>
                      <a:cubicBezTo>
                        <a:pt x="74669" y="0"/>
                        <a:pt x="93439" y="21455"/>
                        <a:pt x="93439" y="53394"/>
                      </a:cubicBezTo>
                      <a:cubicBezTo>
                        <a:pt x="93439" y="85333"/>
                        <a:pt x="74644" y="106787"/>
                        <a:pt x="46719" y="106787"/>
                      </a:cubicBezTo>
                      <a:close/>
                      <a:moveTo>
                        <a:pt x="46719" y="13348"/>
                      </a:moveTo>
                      <a:cubicBezTo>
                        <a:pt x="22094" y="13348"/>
                        <a:pt x="13348" y="34931"/>
                        <a:pt x="13348" y="53394"/>
                      </a:cubicBezTo>
                      <a:cubicBezTo>
                        <a:pt x="13348" y="71856"/>
                        <a:pt x="22094" y="93439"/>
                        <a:pt x="46719" y="93439"/>
                      </a:cubicBezTo>
                      <a:cubicBezTo>
                        <a:pt x="71345" y="93439"/>
                        <a:pt x="80090" y="71856"/>
                        <a:pt x="80090" y="53394"/>
                      </a:cubicBezTo>
                      <a:cubicBezTo>
                        <a:pt x="80090" y="34931"/>
                        <a:pt x="71345" y="13348"/>
                        <a:pt x="46719" y="13348"/>
                      </a:cubicBezTo>
                      <a:close/>
                    </a:path>
                  </a:pathLst>
                </a:custGeom>
                <a:grpFill/>
                <a:ln w="2553" cap="flat">
                  <a:noFill/>
                  <a:prstDash val="solid"/>
                  <a:miter/>
                </a:ln>
              </p:spPr>
              <p:txBody>
                <a:bodyPr rtlCol="0" anchor="ctr"/>
                <a:lstStyle/>
                <a:p>
                  <a:endParaRPr lang="en-GB" dirty="0"/>
                </a:p>
              </p:txBody>
            </p:sp>
            <p:sp>
              <p:nvSpPr>
                <p:cNvPr id="1229" name="Freihandform: Form 1228">
                  <a:extLst>
                    <a:ext uri="{FF2B5EF4-FFF2-40B4-BE49-F238E27FC236}">
                      <a16:creationId xmlns:a16="http://schemas.microsoft.com/office/drawing/2014/main" id="{6DE1F562-33A5-4875-ABEC-D6952C645C99}"/>
                    </a:ext>
                  </a:extLst>
                </p:cNvPr>
                <p:cNvSpPr/>
                <p:nvPr/>
              </p:nvSpPr>
              <p:spPr>
                <a:xfrm>
                  <a:off x="8079739" y="3558800"/>
                  <a:ext cx="93438" cy="106787"/>
                </a:xfrm>
                <a:custGeom>
                  <a:avLst/>
                  <a:gdLst>
                    <a:gd name="connsiteX0" fmla="*/ 46719 w 93438"/>
                    <a:gd name="connsiteY0" fmla="*/ 106787 h 106787"/>
                    <a:gd name="connsiteX1" fmla="*/ 0 w 93438"/>
                    <a:gd name="connsiteY1" fmla="*/ 53394 h 106787"/>
                    <a:gd name="connsiteX2" fmla="*/ 46719 w 93438"/>
                    <a:gd name="connsiteY2" fmla="*/ 0 h 106787"/>
                    <a:gd name="connsiteX3" fmla="*/ 93439 w 93438"/>
                    <a:gd name="connsiteY3" fmla="*/ 53394 h 106787"/>
                    <a:gd name="connsiteX4" fmla="*/ 46719 w 93438"/>
                    <a:gd name="connsiteY4" fmla="*/ 106787 h 106787"/>
                    <a:gd name="connsiteX5" fmla="*/ 46719 w 93438"/>
                    <a:gd name="connsiteY5" fmla="*/ 13348 h 106787"/>
                    <a:gd name="connsiteX6" fmla="*/ 13348 w 93438"/>
                    <a:gd name="connsiteY6" fmla="*/ 53394 h 106787"/>
                    <a:gd name="connsiteX7" fmla="*/ 46719 w 93438"/>
                    <a:gd name="connsiteY7" fmla="*/ 93439 h 106787"/>
                    <a:gd name="connsiteX8" fmla="*/ 80090 w 93438"/>
                    <a:gd name="connsiteY8" fmla="*/ 53394 h 106787"/>
                    <a:gd name="connsiteX9" fmla="*/ 46719 w 93438"/>
                    <a:gd name="connsiteY9" fmla="*/ 13348 h 10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38" h="106787">
                      <a:moveTo>
                        <a:pt x="46719" y="106787"/>
                      </a:moveTo>
                      <a:cubicBezTo>
                        <a:pt x="18770" y="106787"/>
                        <a:pt x="0" y="85333"/>
                        <a:pt x="0" y="53394"/>
                      </a:cubicBezTo>
                      <a:cubicBezTo>
                        <a:pt x="0" y="21455"/>
                        <a:pt x="18770" y="0"/>
                        <a:pt x="46719" y="0"/>
                      </a:cubicBezTo>
                      <a:cubicBezTo>
                        <a:pt x="74669" y="0"/>
                        <a:pt x="93439" y="21455"/>
                        <a:pt x="93439" y="53394"/>
                      </a:cubicBezTo>
                      <a:cubicBezTo>
                        <a:pt x="93439" y="85333"/>
                        <a:pt x="74669" y="106787"/>
                        <a:pt x="46719" y="106787"/>
                      </a:cubicBezTo>
                      <a:close/>
                      <a:moveTo>
                        <a:pt x="46719" y="13348"/>
                      </a:moveTo>
                      <a:cubicBezTo>
                        <a:pt x="22094" y="13348"/>
                        <a:pt x="13348" y="34931"/>
                        <a:pt x="13348" y="53394"/>
                      </a:cubicBezTo>
                      <a:cubicBezTo>
                        <a:pt x="13348" y="71856"/>
                        <a:pt x="22094" y="93439"/>
                        <a:pt x="46719" y="93439"/>
                      </a:cubicBezTo>
                      <a:cubicBezTo>
                        <a:pt x="71345" y="93439"/>
                        <a:pt x="80090" y="71856"/>
                        <a:pt x="80090" y="53394"/>
                      </a:cubicBezTo>
                      <a:cubicBezTo>
                        <a:pt x="80090" y="34931"/>
                        <a:pt x="71345" y="13348"/>
                        <a:pt x="46719" y="13348"/>
                      </a:cubicBezTo>
                      <a:close/>
                    </a:path>
                  </a:pathLst>
                </a:custGeom>
                <a:grpFill/>
                <a:ln w="2553" cap="flat">
                  <a:noFill/>
                  <a:prstDash val="solid"/>
                  <a:miter/>
                </a:ln>
              </p:spPr>
              <p:txBody>
                <a:bodyPr rtlCol="0" anchor="ctr"/>
                <a:lstStyle/>
                <a:p>
                  <a:endParaRPr lang="en-GB" dirty="0"/>
                </a:p>
              </p:txBody>
            </p:sp>
          </p:grpSp>
        </p:grpSp>
        <p:grpSp>
          <p:nvGrpSpPr>
            <p:cNvPr id="1213" name="Gruppieren 1212">
              <a:extLst>
                <a:ext uri="{FF2B5EF4-FFF2-40B4-BE49-F238E27FC236}">
                  <a16:creationId xmlns:a16="http://schemas.microsoft.com/office/drawing/2014/main" id="{30E2FBE9-4AC2-452B-AB98-93CDA0B4DDD7}"/>
                </a:ext>
              </a:extLst>
            </p:cNvPr>
            <p:cNvGrpSpPr/>
            <p:nvPr/>
          </p:nvGrpSpPr>
          <p:grpSpPr>
            <a:xfrm>
              <a:off x="8099955" y="3273397"/>
              <a:ext cx="203566" cy="396753"/>
              <a:chOff x="7827040" y="3294261"/>
              <a:chExt cx="220198" cy="429169"/>
            </a:xfrm>
          </p:grpSpPr>
          <p:sp>
            <p:nvSpPr>
              <p:cNvPr id="1214" name="Freihandform: Form 1213">
                <a:extLst>
                  <a:ext uri="{FF2B5EF4-FFF2-40B4-BE49-F238E27FC236}">
                    <a16:creationId xmlns:a16="http://schemas.microsoft.com/office/drawing/2014/main" id="{E377A055-7AAC-4178-B676-45B781C97E39}"/>
                  </a:ext>
                </a:extLst>
              </p:cNvPr>
              <p:cNvSpPr/>
              <p:nvPr/>
            </p:nvSpPr>
            <p:spPr>
              <a:xfrm>
                <a:off x="7980496" y="3294261"/>
                <a:ext cx="66742" cy="66742"/>
              </a:xfrm>
              <a:custGeom>
                <a:avLst/>
                <a:gdLst>
                  <a:gd name="connsiteX0" fmla="*/ 33371 w 66742"/>
                  <a:gd name="connsiteY0" fmla="*/ 66742 h 66742"/>
                  <a:gd name="connsiteX1" fmla="*/ 0 w 66742"/>
                  <a:gd name="connsiteY1" fmla="*/ 33371 h 66742"/>
                  <a:gd name="connsiteX2" fmla="*/ 33371 w 66742"/>
                  <a:gd name="connsiteY2" fmla="*/ 0 h 66742"/>
                  <a:gd name="connsiteX3" fmla="*/ 66742 w 66742"/>
                  <a:gd name="connsiteY3" fmla="*/ 33371 h 66742"/>
                  <a:gd name="connsiteX4" fmla="*/ 33371 w 66742"/>
                  <a:gd name="connsiteY4" fmla="*/ 66742 h 66742"/>
                  <a:gd name="connsiteX5" fmla="*/ 33371 w 66742"/>
                  <a:gd name="connsiteY5" fmla="*/ 13348 h 66742"/>
                  <a:gd name="connsiteX6" fmla="*/ 13349 w 66742"/>
                  <a:gd name="connsiteY6" fmla="*/ 33371 h 66742"/>
                  <a:gd name="connsiteX7" fmla="*/ 33371 w 66742"/>
                  <a:gd name="connsiteY7" fmla="*/ 53394 h 66742"/>
                  <a:gd name="connsiteX8" fmla="*/ 53394 w 66742"/>
                  <a:gd name="connsiteY8" fmla="*/ 33371 h 66742"/>
                  <a:gd name="connsiteX9" fmla="*/ 33371 w 66742"/>
                  <a:gd name="connsiteY9" fmla="*/ 13348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2" h="66742">
                    <a:moveTo>
                      <a:pt x="33371" y="66742"/>
                    </a:moveTo>
                    <a:cubicBezTo>
                      <a:pt x="14960" y="66742"/>
                      <a:pt x="0" y="51757"/>
                      <a:pt x="0" y="33371"/>
                    </a:cubicBezTo>
                    <a:cubicBezTo>
                      <a:pt x="0" y="14985"/>
                      <a:pt x="14960" y="0"/>
                      <a:pt x="33371" y="0"/>
                    </a:cubicBezTo>
                    <a:cubicBezTo>
                      <a:pt x="51783" y="0"/>
                      <a:pt x="66742" y="14985"/>
                      <a:pt x="66742" y="33371"/>
                    </a:cubicBezTo>
                    <a:cubicBezTo>
                      <a:pt x="66742" y="51757"/>
                      <a:pt x="51757" y="66742"/>
                      <a:pt x="33371" y="66742"/>
                    </a:cubicBezTo>
                    <a:close/>
                    <a:moveTo>
                      <a:pt x="33371" y="13348"/>
                    </a:moveTo>
                    <a:cubicBezTo>
                      <a:pt x="22324" y="13348"/>
                      <a:pt x="13349" y="22324"/>
                      <a:pt x="13349" y="33371"/>
                    </a:cubicBezTo>
                    <a:cubicBezTo>
                      <a:pt x="13349" y="44418"/>
                      <a:pt x="22324" y="53394"/>
                      <a:pt x="33371" y="53394"/>
                    </a:cubicBezTo>
                    <a:cubicBezTo>
                      <a:pt x="44418" y="53394"/>
                      <a:pt x="53394" y="44418"/>
                      <a:pt x="53394" y="33371"/>
                    </a:cubicBezTo>
                    <a:cubicBezTo>
                      <a:pt x="53394" y="22324"/>
                      <a:pt x="44393" y="13348"/>
                      <a:pt x="33371" y="13348"/>
                    </a:cubicBezTo>
                    <a:close/>
                  </a:path>
                </a:pathLst>
              </a:custGeom>
              <a:solidFill>
                <a:schemeClr val="accent1"/>
              </a:solidFill>
              <a:ln w="2553" cap="flat">
                <a:noFill/>
                <a:prstDash val="solid"/>
                <a:miter/>
              </a:ln>
            </p:spPr>
            <p:txBody>
              <a:bodyPr rtlCol="0" anchor="ctr"/>
              <a:lstStyle/>
              <a:p>
                <a:endParaRPr lang="en-GB" dirty="0"/>
              </a:p>
            </p:txBody>
          </p:sp>
          <p:sp>
            <p:nvSpPr>
              <p:cNvPr id="1215" name="Freihandform: Form 1214">
                <a:extLst>
                  <a:ext uri="{FF2B5EF4-FFF2-40B4-BE49-F238E27FC236}">
                    <a16:creationId xmlns:a16="http://schemas.microsoft.com/office/drawing/2014/main" id="{98AC0911-6003-4709-BFB0-6DF7D911FD4F}"/>
                  </a:ext>
                </a:extLst>
              </p:cNvPr>
              <p:cNvSpPr/>
              <p:nvPr/>
            </p:nvSpPr>
            <p:spPr>
              <a:xfrm>
                <a:off x="7919430" y="3378340"/>
                <a:ext cx="66742" cy="66742"/>
              </a:xfrm>
              <a:custGeom>
                <a:avLst/>
                <a:gdLst>
                  <a:gd name="connsiteX0" fmla="*/ 33371 w 66742"/>
                  <a:gd name="connsiteY0" fmla="*/ 66742 h 66742"/>
                  <a:gd name="connsiteX1" fmla="*/ 0 w 66742"/>
                  <a:gd name="connsiteY1" fmla="*/ 33371 h 66742"/>
                  <a:gd name="connsiteX2" fmla="*/ 33371 w 66742"/>
                  <a:gd name="connsiteY2" fmla="*/ 0 h 66742"/>
                  <a:gd name="connsiteX3" fmla="*/ 66742 w 66742"/>
                  <a:gd name="connsiteY3" fmla="*/ 33371 h 66742"/>
                  <a:gd name="connsiteX4" fmla="*/ 33371 w 66742"/>
                  <a:gd name="connsiteY4" fmla="*/ 66742 h 66742"/>
                  <a:gd name="connsiteX5" fmla="*/ 33371 w 66742"/>
                  <a:gd name="connsiteY5" fmla="*/ 13323 h 66742"/>
                  <a:gd name="connsiteX6" fmla="*/ 13349 w 66742"/>
                  <a:gd name="connsiteY6" fmla="*/ 33346 h 66742"/>
                  <a:gd name="connsiteX7" fmla="*/ 33371 w 66742"/>
                  <a:gd name="connsiteY7" fmla="*/ 53368 h 66742"/>
                  <a:gd name="connsiteX8" fmla="*/ 53394 w 66742"/>
                  <a:gd name="connsiteY8" fmla="*/ 33346 h 66742"/>
                  <a:gd name="connsiteX9" fmla="*/ 33371 w 66742"/>
                  <a:gd name="connsiteY9" fmla="*/ 13323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42" h="66742">
                    <a:moveTo>
                      <a:pt x="33371" y="66742"/>
                    </a:moveTo>
                    <a:cubicBezTo>
                      <a:pt x="14960" y="66742"/>
                      <a:pt x="0" y="51783"/>
                      <a:pt x="0" y="33371"/>
                    </a:cubicBezTo>
                    <a:cubicBezTo>
                      <a:pt x="0" y="14960"/>
                      <a:pt x="14960" y="0"/>
                      <a:pt x="33371" y="0"/>
                    </a:cubicBezTo>
                    <a:cubicBezTo>
                      <a:pt x="51783" y="0"/>
                      <a:pt x="66742" y="14985"/>
                      <a:pt x="66742" y="33371"/>
                    </a:cubicBezTo>
                    <a:cubicBezTo>
                      <a:pt x="66742" y="51757"/>
                      <a:pt x="51783" y="66742"/>
                      <a:pt x="33371" y="66742"/>
                    </a:cubicBezTo>
                    <a:close/>
                    <a:moveTo>
                      <a:pt x="33371" y="13323"/>
                    </a:moveTo>
                    <a:cubicBezTo>
                      <a:pt x="22324" y="13323"/>
                      <a:pt x="13349" y="22299"/>
                      <a:pt x="13349" y="33346"/>
                    </a:cubicBezTo>
                    <a:cubicBezTo>
                      <a:pt x="13349" y="44393"/>
                      <a:pt x="22324" y="53368"/>
                      <a:pt x="33371" y="53368"/>
                    </a:cubicBezTo>
                    <a:cubicBezTo>
                      <a:pt x="44418" y="53368"/>
                      <a:pt x="53394" y="44393"/>
                      <a:pt x="53394" y="33346"/>
                    </a:cubicBezTo>
                    <a:cubicBezTo>
                      <a:pt x="53394" y="22324"/>
                      <a:pt x="44418" y="13323"/>
                      <a:pt x="33371" y="13323"/>
                    </a:cubicBezTo>
                    <a:close/>
                  </a:path>
                </a:pathLst>
              </a:custGeom>
              <a:solidFill>
                <a:schemeClr val="accent1"/>
              </a:solidFill>
              <a:ln w="2553" cap="flat">
                <a:noFill/>
                <a:prstDash val="solid"/>
                <a:miter/>
              </a:ln>
            </p:spPr>
            <p:txBody>
              <a:bodyPr rtlCol="0" anchor="ctr"/>
              <a:lstStyle/>
              <a:p>
                <a:endParaRPr lang="en-GB" dirty="0"/>
              </a:p>
            </p:txBody>
          </p:sp>
          <p:sp>
            <p:nvSpPr>
              <p:cNvPr id="1216" name="Freihandform: Form 1215">
                <a:extLst>
                  <a:ext uri="{FF2B5EF4-FFF2-40B4-BE49-F238E27FC236}">
                    <a16:creationId xmlns:a16="http://schemas.microsoft.com/office/drawing/2014/main" id="{5DBFA0CA-BCDC-47C8-820E-C3AE986F13F0}"/>
                  </a:ext>
                </a:extLst>
              </p:cNvPr>
              <p:cNvSpPr/>
              <p:nvPr/>
            </p:nvSpPr>
            <p:spPr>
              <a:xfrm>
                <a:off x="7827040" y="3340776"/>
                <a:ext cx="53393" cy="53393"/>
              </a:xfrm>
              <a:custGeom>
                <a:avLst/>
                <a:gdLst>
                  <a:gd name="connsiteX0" fmla="*/ 26697 w 53393"/>
                  <a:gd name="connsiteY0" fmla="*/ 53394 h 53393"/>
                  <a:gd name="connsiteX1" fmla="*/ 0 w 53393"/>
                  <a:gd name="connsiteY1" fmla="*/ 26697 h 53393"/>
                  <a:gd name="connsiteX2" fmla="*/ 26697 w 53393"/>
                  <a:gd name="connsiteY2" fmla="*/ 0 h 53393"/>
                  <a:gd name="connsiteX3" fmla="*/ 53393 w 53393"/>
                  <a:gd name="connsiteY3" fmla="*/ 26697 h 53393"/>
                  <a:gd name="connsiteX4" fmla="*/ 26697 w 53393"/>
                  <a:gd name="connsiteY4" fmla="*/ 53394 h 53393"/>
                  <a:gd name="connsiteX5" fmla="*/ 26697 w 53393"/>
                  <a:gd name="connsiteY5" fmla="*/ 13348 h 53393"/>
                  <a:gd name="connsiteX6" fmla="*/ 13348 w 53393"/>
                  <a:gd name="connsiteY6" fmla="*/ 26697 h 53393"/>
                  <a:gd name="connsiteX7" fmla="*/ 26697 w 53393"/>
                  <a:gd name="connsiteY7" fmla="*/ 40045 h 53393"/>
                  <a:gd name="connsiteX8" fmla="*/ 40045 w 53393"/>
                  <a:gd name="connsiteY8" fmla="*/ 26697 h 53393"/>
                  <a:gd name="connsiteX9" fmla="*/ 26697 w 53393"/>
                  <a:gd name="connsiteY9" fmla="*/ 13348 h 53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393" h="53393">
                    <a:moveTo>
                      <a:pt x="26697" y="53394"/>
                    </a:moveTo>
                    <a:cubicBezTo>
                      <a:pt x="11967" y="53394"/>
                      <a:pt x="0" y="41426"/>
                      <a:pt x="0" y="26697"/>
                    </a:cubicBezTo>
                    <a:cubicBezTo>
                      <a:pt x="0" y="11968"/>
                      <a:pt x="11967" y="0"/>
                      <a:pt x="26697" y="0"/>
                    </a:cubicBezTo>
                    <a:cubicBezTo>
                      <a:pt x="41426" y="0"/>
                      <a:pt x="53393" y="11968"/>
                      <a:pt x="53393" y="26697"/>
                    </a:cubicBezTo>
                    <a:cubicBezTo>
                      <a:pt x="53393" y="41426"/>
                      <a:pt x="41426" y="53394"/>
                      <a:pt x="26697" y="53394"/>
                    </a:cubicBezTo>
                    <a:close/>
                    <a:moveTo>
                      <a:pt x="26697" y="13348"/>
                    </a:moveTo>
                    <a:cubicBezTo>
                      <a:pt x="19332" y="13348"/>
                      <a:pt x="13348" y="19332"/>
                      <a:pt x="13348" y="26697"/>
                    </a:cubicBezTo>
                    <a:cubicBezTo>
                      <a:pt x="13348" y="34061"/>
                      <a:pt x="19332" y="40045"/>
                      <a:pt x="26697" y="40045"/>
                    </a:cubicBezTo>
                    <a:cubicBezTo>
                      <a:pt x="34061" y="40045"/>
                      <a:pt x="40045" y="34061"/>
                      <a:pt x="40045" y="26697"/>
                    </a:cubicBezTo>
                    <a:cubicBezTo>
                      <a:pt x="40045" y="19332"/>
                      <a:pt x="34061" y="13348"/>
                      <a:pt x="26697" y="13348"/>
                    </a:cubicBezTo>
                    <a:close/>
                  </a:path>
                </a:pathLst>
              </a:custGeom>
              <a:solidFill>
                <a:schemeClr val="accent1"/>
              </a:solidFill>
              <a:ln w="2553" cap="flat">
                <a:noFill/>
                <a:prstDash val="solid"/>
                <a:miter/>
              </a:ln>
            </p:spPr>
            <p:txBody>
              <a:bodyPr rtlCol="0" anchor="ctr"/>
              <a:lstStyle/>
              <a:p>
                <a:endParaRPr lang="en-GB" dirty="0"/>
              </a:p>
            </p:txBody>
          </p:sp>
          <p:grpSp>
            <p:nvGrpSpPr>
              <p:cNvPr id="1217" name="Grafik 313">
                <a:extLst>
                  <a:ext uri="{FF2B5EF4-FFF2-40B4-BE49-F238E27FC236}">
                    <a16:creationId xmlns:a16="http://schemas.microsoft.com/office/drawing/2014/main" id="{87731D35-6A74-4756-AB78-44BAC467CAD7}"/>
                  </a:ext>
                </a:extLst>
              </p:cNvPr>
              <p:cNvGrpSpPr/>
              <p:nvPr/>
            </p:nvGrpSpPr>
            <p:grpSpPr>
              <a:xfrm>
                <a:off x="7866344" y="3549901"/>
                <a:ext cx="173529" cy="173529"/>
                <a:chOff x="7866344" y="3549901"/>
                <a:chExt cx="173529" cy="173529"/>
              </a:xfrm>
              <a:solidFill>
                <a:schemeClr val="accent1"/>
              </a:solidFill>
            </p:grpSpPr>
            <p:sp>
              <p:nvSpPr>
                <p:cNvPr id="1218" name="Freihandform: Form 1217">
                  <a:extLst>
                    <a:ext uri="{FF2B5EF4-FFF2-40B4-BE49-F238E27FC236}">
                      <a16:creationId xmlns:a16="http://schemas.microsoft.com/office/drawing/2014/main" id="{43464207-BF15-4AEF-989A-8D063401B520}"/>
                    </a:ext>
                  </a:extLst>
                </p:cNvPr>
                <p:cNvSpPr/>
                <p:nvPr/>
              </p:nvSpPr>
              <p:spPr>
                <a:xfrm>
                  <a:off x="7932126" y="3586835"/>
                  <a:ext cx="70848" cy="70492"/>
                </a:xfrm>
                <a:custGeom>
                  <a:avLst/>
                  <a:gdLst>
                    <a:gd name="connsiteX0" fmla="*/ 17505 w 70848"/>
                    <a:gd name="connsiteY0" fmla="*/ 70492 h 70492"/>
                    <a:gd name="connsiteX1" fmla="*/ 6049 w 70848"/>
                    <a:gd name="connsiteY1" fmla="*/ 65762 h 70492"/>
                    <a:gd name="connsiteX2" fmla="*/ 5410 w 70848"/>
                    <a:gd name="connsiteY2" fmla="*/ 65148 h 70492"/>
                    <a:gd name="connsiteX3" fmla="*/ 142 w 70848"/>
                    <a:gd name="connsiteY3" fmla="*/ 50419 h 70492"/>
                    <a:gd name="connsiteX4" fmla="*/ 48089 w 70848"/>
                    <a:gd name="connsiteY4" fmla="*/ 6589 h 70492"/>
                    <a:gd name="connsiteX5" fmla="*/ 56809 w 70848"/>
                    <a:gd name="connsiteY5" fmla="*/ 1321 h 70492"/>
                    <a:gd name="connsiteX6" fmla="*/ 68035 w 70848"/>
                    <a:gd name="connsiteY6" fmla="*/ 2830 h 70492"/>
                    <a:gd name="connsiteX7" fmla="*/ 69518 w 70848"/>
                    <a:gd name="connsiteY7" fmla="*/ 14056 h 70492"/>
                    <a:gd name="connsiteX8" fmla="*/ 65554 w 70848"/>
                    <a:gd name="connsiteY8" fmla="*/ 20500 h 70492"/>
                    <a:gd name="connsiteX9" fmla="*/ 19551 w 70848"/>
                    <a:gd name="connsiteY9" fmla="*/ 70339 h 70492"/>
                    <a:gd name="connsiteX10" fmla="*/ 17505 w 70848"/>
                    <a:gd name="connsiteY10" fmla="*/ 70492 h 70492"/>
                    <a:gd name="connsiteX11" fmla="*/ 15025 w 70848"/>
                    <a:gd name="connsiteY11" fmla="*/ 55891 h 70492"/>
                    <a:gd name="connsiteX12" fmla="*/ 15076 w 70848"/>
                    <a:gd name="connsiteY12" fmla="*/ 55942 h 70492"/>
                    <a:gd name="connsiteX13" fmla="*/ 17966 w 70848"/>
                    <a:gd name="connsiteY13" fmla="*/ 57144 h 70492"/>
                    <a:gd name="connsiteX14" fmla="*/ 49291 w 70848"/>
                    <a:gd name="connsiteY14" fmla="*/ 21497 h 70492"/>
                    <a:gd name="connsiteX15" fmla="*/ 13388 w 70848"/>
                    <a:gd name="connsiteY15" fmla="*/ 52158 h 70492"/>
                    <a:gd name="connsiteX16" fmla="*/ 14974 w 70848"/>
                    <a:gd name="connsiteY16" fmla="*/ 55865 h 70492"/>
                    <a:gd name="connsiteX17" fmla="*/ 15025 w 70848"/>
                    <a:gd name="connsiteY17" fmla="*/ 55891 h 70492"/>
                    <a:gd name="connsiteX18" fmla="*/ 58241 w 70848"/>
                    <a:gd name="connsiteY18" fmla="*/ 6998 h 70492"/>
                    <a:gd name="connsiteX19" fmla="*/ 58241 w 70848"/>
                    <a:gd name="connsiteY19" fmla="*/ 6998 h 70492"/>
                    <a:gd name="connsiteX20" fmla="*/ 58241 w 70848"/>
                    <a:gd name="connsiteY20" fmla="*/ 6998 h 70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848" h="70492">
                      <a:moveTo>
                        <a:pt x="17505" y="70492"/>
                      </a:moveTo>
                      <a:cubicBezTo>
                        <a:pt x="13286" y="70492"/>
                        <a:pt x="9373" y="68881"/>
                        <a:pt x="6049" y="65762"/>
                      </a:cubicBezTo>
                      <a:cubicBezTo>
                        <a:pt x="5819" y="65583"/>
                        <a:pt x="5614" y="65378"/>
                        <a:pt x="5410" y="65148"/>
                      </a:cubicBezTo>
                      <a:cubicBezTo>
                        <a:pt x="1293" y="60980"/>
                        <a:pt x="-549" y="55865"/>
                        <a:pt x="142" y="50419"/>
                      </a:cubicBezTo>
                      <a:cubicBezTo>
                        <a:pt x="2085" y="35178"/>
                        <a:pt x="23003" y="21548"/>
                        <a:pt x="48089" y="6589"/>
                      </a:cubicBezTo>
                      <a:cubicBezTo>
                        <a:pt x="51336" y="4645"/>
                        <a:pt x="54303" y="2881"/>
                        <a:pt x="56809" y="1321"/>
                      </a:cubicBezTo>
                      <a:cubicBezTo>
                        <a:pt x="60338" y="-904"/>
                        <a:pt x="64966" y="-264"/>
                        <a:pt x="68035" y="2830"/>
                      </a:cubicBezTo>
                      <a:cubicBezTo>
                        <a:pt x="71129" y="5924"/>
                        <a:pt x="71743" y="10552"/>
                        <a:pt x="69518" y="14056"/>
                      </a:cubicBezTo>
                      <a:cubicBezTo>
                        <a:pt x="68316" y="15974"/>
                        <a:pt x="66986" y="18147"/>
                        <a:pt x="65554" y="20500"/>
                      </a:cubicBezTo>
                      <a:cubicBezTo>
                        <a:pt x="50135" y="45688"/>
                        <a:pt x="35022" y="68447"/>
                        <a:pt x="19551" y="70339"/>
                      </a:cubicBezTo>
                      <a:cubicBezTo>
                        <a:pt x="18886" y="70467"/>
                        <a:pt x="18196" y="70492"/>
                        <a:pt x="17505" y="70492"/>
                      </a:cubicBezTo>
                      <a:close/>
                      <a:moveTo>
                        <a:pt x="15025" y="55891"/>
                      </a:moveTo>
                      <a:cubicBezTo>
                        <a:pt x="15050" y="55917"/>
                        <a:pt x="15050" y="55917"/>
                        <a:pt x="15076" y="55942"/>
                      </a:cubicBezTo>
                      <a:cubicBezTo>
                        <a:pt x="16355" y="57195"/>
                        <a:pt x="17198" y="57221"/>
                        <a:pt x="17966" y="57144"/>
                      </a:cubicBezTo>
                      <a:cubicBezTo>
                        <a:pt x="26583" y="56096"/>
                        <a:pt x="40162" y="36099"/>
                        <a:pt x="49291" y="21497"/>
                      </a:cubicBezTo>
                      <a:cubicBezTo>
                        <a:pt x="34817" y="30243"/>
                        <a:pt x="14513" y="43361"/>
                        <a:pt x="13388" y="52158"/>
                      </a:cubicBezTo>
                      <a:cubicBezTo>
                        <a:pt x="13260" y="53129"/>
                        <a:pt x="13363" y="54254"/>
                        <a:pt x="14974" y="55865"/>
                      </a:cubicBezTo>
                      <a:cubicBezTo>
                        <a:pt x="14999" y="55840"/>
                        <a:pt x="15025" y="55865"/>
                        <a:pt x="15025" y="55891"/>
                      </a:cubicBezTo>
                      <a:close/>
                      <a:moveTo>
                        <a:pt x="58241" y="6998"/>
                      </a:moveTo>
                      <a:lnTo>
                        <a:pt x="58241" y="6998"/>
                      </a:lnTo>
                      <a:lnTo>
                        <a:pt x="58241" y="6998"/>
                      </a:lnTo>
                      <a:close/>
                    </a:path>
                  </a:pathLst>
                </a:custGeom>
                <a:solidFill>
                  <a:schemeClr val="accent1"/>
                </a:solidFill>
                <a:ln w="2553" cap="flat">
                  <a:noFill/>
                  <a:prstDash val="solid"/>
                  <a:miter/>
                </a:ln>
              </p:spPr>
              <p:txBody>
                <a:bodyPr rtlCol="0" anchor="ctr"/>
                <a:lstStyle/>
                <a:p>
                  <a:endParaRPr lang="en-GB" dirty="0"/>
                </a:p>
              </p:txBody>
            </p:sp>
            <p:sp>
              <p:nvSpPr>
                <p:cNvPr id="1219" name="Freihandform: Form 1218">
                  <a:extLst>
                    <a:ext uri="{FF2B5EF4-FFF2-40B4-BE49-F238E27FC236}">
                      <a16:creationId xmlns:a16="http://schemas.microsoft.com/office/drawing/2014/main" id="{21C0CD6D-8D6B-4694-B0A2-DB8C0A6C5B04}"/>
                    </a:ext>
                  </a:extLst>
                </p:cNvPr>
                <p:cNvSpPr/>
                <p:nvPr/>
              </p:nvSpPr>
              <p:spPr>
                <a:xfrm>
                  <a:off x="7866344" y="3549901"/>
                  <a:ext cx="173529" cy="173529"/>
                </a:xfrm>
                <a:custGeom>
                  <a:avLst/>
                  <a:gdLst>
                    <a:gd name="connsiteX0" fmla="*/ 86765 w 173529"/>
                    <a:gd name="connsiteY0" fmla="*/ 173529 h 173529"/>
                    <a:gd name="connsiteX1" fmla="*/ 0 w 173529"/>
                    <a:gd name="connsiteY1" fmla="*/ 86765 h 173529"/>
                    <a:gd name="connsiteX2" fmla="*/ 86765 w 173529"/>
                    <a:gd name="connsiteY2" fmla="*/ 0 h 173529"/>
                    <a:gd name="connsiteX3" fmla="*/ 173529 w 173529"/>
                    <a:gd name="connsiteY3" fmla="*/ 86765 h 173529"/>
                    <a:gd name="connsiteX4" fmla="*/ 86765 w 173529"/>
                    <a:gd name="connsiteY4" fmla="*/ 173529 h 173529"/>
                    <a:gd name="connsiteX5" fmla="*/ 86765 w 173529"/>
                    <a:gd name="connsiteY5" fmla="*/ 13348 h 173529"/>
                    <a:gd name="connsiteX6" fmla="*/ 13348 w 173529"/>
                    <a:gd name="connsiteY6" fmla="*/ 86765 h 173529"/>
                    <a:gd name="connsiteX7" fmla="*/ 86765 w 173529"/>
                    <a:gd name="connsiteY7" fmla="*/ 160181 h 173529"/>
                    <a:gd name="connsiteX8" fmla="*/ 160181 w 173529"/>
                    <a:gd name="connsiteY8" fmla="*/ 86765 h 173529"/>
                    <a:gd name="connsiteX9" fmla="*/ 86765 w 173529"/>
                    <a:gd name="connsiteY9" fmla="*/ 13348 h 17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529" h="173529">
                      <a:moveTo>
                        <a:pt x="86765" y="173529"/>
                      </a:moveTo>
                      <a:cubicBezTo>
                        <a:pt x="38920" y="173529"/>
                        <a:pt x="0" y="134609"/>
                        <a:pt x="0" y="86765"/>
                      </a:cubicBezTo>
                      <a:cubicBezTo>
                        <a:pt x="0" y="38920"/>
                        <a:pt x="38920" y="0"/>
                        <a:pt x="86765" y="0"/>
                      </a:cubicBezTo>
                      <a:cubicBezTo>
                        <a:pt x="134609" y="0"/>
                        <a:pt x="173529" y="38920"/>
                        <a:pt x="173529" y="86765"/>
                      </a:cubicBezTo>
                      <a:cubicBezTo>
                        <a:pt x="173529" y="134609"/>
                        <a:pt x="134609" y="173529"/>
                        <a:pt x="86765" y="173529"/>
                      </a:cubicBezTo>
                      <a:close/>
                      <a:moveTo>
                        <a:pt x="86765" y="13348"/>
                      </a:moveTo>
                      <a:cubicBezTo>
                        <a:pt x="46285" y="13348"/>
                        <a:pt x="13348" y="46285"/>
                        <a:pt x="13348" y="86765"/>
                      </a:cubicBezTo>
                      <a:cubicBezTo>
                        <a:pt x="13348" y="127245"/>
                        <a:pt x="46285" y="160181"/>
                        <a:pt x="86765" y="160181"/>
                      </a:cubicBezTo>
                      <a:cubicBezTo>
                        <a:pt x="127244" y="160181"/>
                        <a:pt x="160181" y="127245"/>
                        <a:pt x="160181" y="86765"/>
                      </a:cubicBezTo>
                      <a:cubicBezTo>
                        <a:pt x="160181" y="46285"/>
                        <a:pt x="127244" y="13348"/>
                        <a:pt x="86765" y="13348"/>
                      </a:cubicBezTo>
                      <a:close/>
                    </a:path>
                  </a:pathLst>
                </a:custGeom>
                <a:solidFill>
                  <a:schemeClr val="accent1"/>
                </a:solidFill>
                <a:ln w="2553" cap="flat">
                  <a:noFill/>
                  <a:prstDash val="solid"/>
                  <a:miter/>
                </a:ln>
              </p:spPr>
              <p:txBody>
                <a:bodyPr rtlCol="0" anchor="ctr"/>
                <a:lstStyle/>
                <a:p>
                  <a:endParaRPr lang="en-GB" dirty="0"/>
                </a:p>
              </p:txBody>
            </p:sp>
            <p:sp>
              <p:nvSpPr>
                <p:cNvPr id="1220" name="Freihandform: Form 1219">
                  <a:extLst>
                    <a:ext uri="{FF2B5EF4-FFF2-40B4-BE49-F238E27FC236}">
                      <a16:creationId xmlns:a16="http://schemas.microsoft.com/office/drawing/2014/main" id="{8ED9F438-1064-483A-A29A-12996805D04E}"/>
                    </a:ext>
                  </a:extLst>
                </p:cNvPr>
                <p:cNvSpPr/>
                <p:nvPr/>
              </p:nvSpPr>
              <p:spPr>
                <a:xfrm>
                  <a:off x="7899945" y="3667939"/>
                  <a:ext cx="17798" cy="13348"/>
                </a:xfrm>
                <a:custGeom>
                  <a:avLst/>
                  <a:gdLst>
                    <a:gd name="connsiteX0" fmla="*/ 11124 w 17798"/>
                    <a:gd name="connsiteY0" fmla="*/ 13348 h 13348"/>
                    <a:gd name="connsiteX1" fmla="*/ 6674 w 17798"/>
                    <a:gd name="connsiteY1" fmla="*/ 13348 h 13348"/>
                    <a:gd name="connsiteX2" fmla="*/ 0 w 17798"/>
                    <a:gd name="connsiteY2" fmla="*/ 6674 h 13348"/>
                    <a:gd name="connsiteX3" fmla="*/ 6674 w 17798"/>
                    <a:gd name="connsiteY3" fmla="*/ 0 h 13348"/>
                    <a:gd name="connsiteX4" fmla="*/ 11124 w 17798"/>
                    <a:gd name="connsiteY4" fmla="*/ 0 h 13348"/>
                    <a:gd name="connsiteX5" fmla="*/ 17798 w 17798"/>
                    <a:gd name="connsiteY5" fmla="*/ 6674 h 13348"/>
                    <a:gd name="connsiteX6" fmla="*/ 11124 w 17798"/>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98" h="13348">
                      <a:moveTo>
                        <a:pt x="11124" y="13348"/>
                      </a:moveTo>
                      <a:lnTo>
                        <a:pt x="6674" y="13348"/>
                      </a:lnTo>
                      <a:cubicBezTo>
                        <a:pt x="2992" y="13348"/>
                        <a:pt x="0" y="10357"/>
                        <a:pt x="0" y="6674"/>
                      </a:cubicBezTo>
                      <a:cubicBezTo>
                        <a:pt x="0" y="2992"/>
                        <a:pt x="2992" y="0"/>
                        <a:pt x="6674" y="0"/>
                      </a:cubicBezTo>
                      <a:lnTo>
                        <a:pt x="11124" y="0"/>
                      </a:lnTo>
                      <a:cubicBezTo>
                        <a:pt x="14806" y="0"/>
                        <a:pt x="17798" y="2992"/>
                        <a:pt x="17798" y="6674"/>
                      </a:cubicBezTo>
                      <a:cubicBezTo>
                        <a:pt x="17798" y="10357"/>
                        <a:pt x="14832" y="13348"/>
                        <a:pt x="11124" y="13348"/>
                      </a:cubicBezTo>
                      <a:close/>
                    </a:path>
                  </a:pathLst>
                </a:custGeom>
                <a:solidFill>
                  <a:schemeClr val="accent1"/>
                </a:solidFill>
                <a:ln w="2553" cap="flat">
                  <a:noFill/>
                  <a:prstDash val="solid"/>
                  <a:miter/>
                </a:ln>
              </p:spPr>
              <p:txBody>
                <a:bodyPr rtlCol="0" anchor="ctr"/>
                <a:lstStyle/>
                <a:p>
                  <a:endParaRPr lang="en-GB" dirty="0"/>
                </a:p>
              </p:txBody>
            </p:sp>
            <p:sp>
              <p:nvSpPr>
                <p:cNvPr id="1221" name="Freihandform: Form 1220">
                  <a:extLst>
                    <a:ext uri="{FF2B5EF4-FFF2-40B4-BE49-F238E27FC236}">
                      <a16:creationId xmlns:a16="http://schemas.microsoft.com/office/drawing/2014/main" id="{1C29070E-2AED-4153-9E05-AB418BF67E61}"/>
                    </a:ext>
                  </a:extLst>
                </p:cNvPr>
                <p:cNvSpPr/>
                <p:nvPr/>
              </p:nvSpPr>
              <p:spPr>
                <a:xfrm>
                  <a:off x="7943980" y="3688116"/>
                  <a:ext cx="17797" cy="13348"/>
                </a:xfrm>
                <a:custGeom>
                  <a:avLst/>
                  <a:gdLst>
                    <a:gd name="connsiteX0" fmla="*/ 11124 w 17797"/>
                    <a:gd name="connsiteY0" fmla="*/ 13348 h 13348"/>
                    <a:gd name="connsiteX1" fmla="*/ 6674 w 17797"/>
                    <a:gd name="connsiteY1" fmla="*/ 13348 h 13348"/>
                    <a:gd name="connsiteX2" fmla="*/ 0 w 17797"/>
                    <a:gd name="connsiteY2" fmla="*/ 6674 h 13348"/>
                    <a:gd name="connsiteX3" fmla="*/ 6674 w 17797"/>
                    <a:gd name="connsiteY3" fmla="*/ 0 h 13348"/>
                    <a:gd name="connsiteX4" fmla="*/ 11124 w 17797"/>
                    <a:gd name="connsiteY4" fmla="*/ 0 h 13348"/>
                    <a:gd name="connsiteX5" fmla="*/ 17798 w 17797"/>
                    <a:gd name="connsiteY5" fmla="*/ 6674 h 13348"/>
                    <a:gd name="connsiteX6" fmla="*/ 11124 w 17797"/>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97" h="13348">
                      <a:moveTo>
                        <a:pt x="11124" y="13348"/>
                      </a:moveTo>
                      <a:lnTo>
                        <a:pt x="6674" y="13348"/>
                      </a:lnTo>
                      <a:cubicBezTo>
                        <a:pt x="2992" y="13348"/>
                        <a:pt x="0" y="10356"/>
                        <a:pt x="0" y="6674"/>
                      </a:cubicBezTo>
                      <a:cubicBezTo>
                        <a:pt x="0" y="2992"/>
                        <a:pt x="2992" y="0"/>
                        <a:pt x="6674" y="0"/>
                      </a:cubicBezTo>
                      <a:lnTo>
                        <a:pt x="11124" y="0"/>
                      </a:lnTo>
                      <a:cubicBezTo>
                        <a:pt x="14806" y="0"/>
                        <a:pt x="17798" y="2992"/>
                        <a:pt x="17798" y="6674"/>
                      </a:cubicBezTo>
                      <a:cubicBezTo>
                        <a:pt x="17798" y="10356"/>
                        <a:pt x="14831" y="13348"/>
                        <a:pt x="11124" y="13348"/>
                      </a:cubicBezTo>
                      <a:close/>
                    </a:path>
                  </a:pathLst>
                </a:custGeom>
                <a:solidFill>
                  <a:schemeClr val="accent1"/>
                </a:solidFill>
                <a:ln w="2553" cap="flat">
                  <a:noFill/>
                  <a:prstDash val="solid"/>
                  <a:miter/>
                </a:ln>
              </p:spPr>
              <p:txBody>
                <a:bodyPr rtlCol="0" anchor="ctr"/>
                <a:lstStyle/>
                <a:p>
                  <a:endParaRPr lang="en-GB" dirty="0"/>
                </a:p>
              </p:txBody>
            </p:sp>
            <p:sp>
              <p:nvSpPr>
                <p:cNvPr id="1222" name="Freihandform: Form 1221">
                  <a:extLst>
                    <a:ext uri="{FF2B5EF4-FFF2-40B4-BE49-F238E27FC236}">
                      <a16:creationId xmlns:a16="http://schemas.microsoft.com/office/drawing/2014/main" id="{F449D1B6-6A6B-4101-9F8B-1E7AE5131FBF}"/>
                    </a:ext>
                  </a:extLst>
                </p:cNvPr>
                <p:cNvSpPr/>
                <p:nvPr/>
              </p:nvSpPr>
              <p:spPr>
                <a:xfrm>
                  <a:off x="7988960" y="3667939"/>
                  <a:ext cx="17797" cy="13348"/>
                </a:xfrm>
                <a:custGeom>
                  <a:avLst/>
                  <a:gdLst>
                    <a:gd name="connsiteX0" fmla="*/ 11124 w 17797"/>
                    <a:gd name="connsiteY0" fmla="*/ 13348 h 13348"/>
                    <a:gd name="connsiteX1" fmla="*/ 6674 w 17797"/>
                    <a:gd name="connsiteY1" fmla="*/ 13348 h 13348"/>
                    <a:gd name="connsiteX2" fmla="*/ 0 w 17797"/>
                    <a:gd name="connsiteY2" fmla="*/ 6674 h 13348"/>
                    <a:gd name="connsiteX3" fmla="*/ 6674 w 17797"/>
                    <a:gd name="connsiteY3" fmla="*/ 0 h 13348"/>
                    <a:gd name="connsiteX4" fmla="*/ 11124 w 17797"/>
                    <a:gd name="connsiteY4" fmla="*/ 0 h 13348"/>
                    <a:gd name="connsiteX5" fmla="*/ 17798 w 17797"/>
                    <a:gd name="connsiteY5" fmla="*/ 6674 h 13348"/>
                    <a:gd name="connsiteX6" fmla="*/ 11124 w 17797"/>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797" h="13348">
                      <a:moveTo>
                        <a:pt x="11124" y="13348"/>
                      </a:moveTo>
                      <a:lnTo>
                        <a:pt x="6674" y="13348"/>
                      </a:lnTo>
                      <a:cubicBezTo>
                        <a:pt x="2992" y="13348"/>
                        <a:pt x="0" y="10357"/>
                        <a:pt x="0" y="6674"/>
                      </a:cubicBezTo>
                      <a:cubicBezTo>
                        <a:pt x="0" y="2992"/>
                        <a:pt x="2992" y="0"/>
                        <a:pt x="6674" y="0"/>
                      </a:cubicBezTo>
                      <a:lnTo>
                        <a:pt x="11124" y="0"/>
                      </a:lnTo>
                      <a:cubicBezTo>
                        <a:pt x="14806" y="0"/>
                        <a:pt x="17798" y="2992"/>
                        <a:pt x="17798" y="6674"/>
                      </a:cubicBezTo>
                      <a:cubicBezTo>
                        <a:pt x="17798" y="10357"/>
                        <a:pt x="14806" y="13348"/>
                        <a:pt x="11124" y="13348"/>
                      </a:cubicBezTo>
                      <a:close/>
                    </a:path>
                  </a:pathLst>
                </a:custGeom>
                <a:solidFill>
                  <a:schemeClr val="accent1"/>
                </a:solidFill>
                <a:ln w="2553" cap="flat">
                  <a:noFill/>
                  <a:prstDash val="solid"/>
                  <a:miter/>
                </a:ln>
              </p:spPr>
              <p:txBody>
                <a:bodyPr rtlCol="0" anchor="ctr"/>
                <a:lstStyle/>
                <a:p>
                  <a:endParaRPr lang="en-GB" dirty="0"/>
                </a:p>
              </p:txBody>
            </p:sp>
          </p:grpSp>
        </p:grpSp>
      </p:grpSp>
      <p:sp>
        <p:nvSpPr>
          <p:cNvPr id="1232" name="TextBox 1426">
            <a:extLst>
              <a:ext uri="{FF2B5EF4-FFF2-40B4-BE49-F238E27FC236}">
                <a16:creationId xmlns:a16="http://schemas.microsoft.com/office/drawing/2014/main" id="{B0ADC199-0E0D-4938-9474-24AFF018FC2D}"/>
              </a:ext>
            </a:extLst>
          </p:cNvPr>
          <p:cNvSpPr txBox="1"/>
          <p:nvPr/>
        </p:nvSpPr>
        <p:spPr>
          <a:xfrm>
            <a:off x="8116645" y="3723675"/>
            <a:ext cx="452047" cy="215444"/>
          </a:xfrm>
          <a:prstGeom prst="rect">
            <a:avLst/>
          </a:prstGeom>
          <a:noFill/>
          <a:effectLst/>
        </p:spPr>
        <p:txBody>
          <a:bodyPr wrap="none" lIns="0" tIns="0" rIns="0" bIns="0" rtlCol="0" anchor="t" anchorCtr="0">
            <a:spAutoFit/>
          </a:bodyPr>
          <a:lstStyle/>
          <a:p>
            <a:pPr algn="ctr"/>
            <a:r>
              <a:rPr lang="en-GB" sz="700" dirty="0">
                <a:solidFill>
                  <a:schemeClr val="tx2"/>
                </a:solidFill>
              </a:rPr>
              <a:t>Conversion</a:t>
            </a:r>
            <a:br>
              <a:rPr lang="en-GB" sz="700" dirty="0">
                <a:solidFill>
                  <a:schemeClr val="tx2"/>
                </a:solidFill>
              </a:rPr>
            </a:br>
            <a:r>
              <a:rPr lang="en-GB" sz="700" dirty="0">
                <a:solidFill>
                  <a:schemeClr val="tx2"/>
                </a:solidFill>
              </a:rPr>
              <a:t>rate</a:t>
            </a:r>
          </a:p>
        </p:txBody>
      </p:sp>
      <p:grpSp>
        <p:nvGrpSpPr>
          <p:cNvPr id="58" name="Group 57">
            <a:extLst>
              <a:ext uri="{FF2B5EF4-FFF2-40B4-BE49-F238E27FC236}">
                <a16:creationId xmlns:a16="http://schemas.microsoft.com/office/drawing/2014/main" id="{DC317F1D-0D6C-72D0-19FF-CA505731DCE9}"/>
              </a:ext>
            </a:extLst>
          </p:cNvPr>
          <p:cNvGrpSpPr/>
          <p:nvPr/>
        </p:nvGrpSpPr>
        <p:grpSpPr>
          <a:xfrm>
            <a:off x="5970702" y="3374376"/>
            <a:ext cx="576000" cy="331021"/>
            <a:chOff x="5970290" y="3374376"/>
            <a:chExt cx="576000" cy="331021"/>
          </a:xfrm>
        </p:grpSpPr>
        <p:grpSp>
          <p:nvGrpSpPr>
            <p:cNvPr id="1234" name="Grafik 313">
              <a:extLst>
                <a:ext uri="{FF2B5EF4-FFF2-40B4-BE49-F238E27FC236}">
                  <a16:creationId xmlns:a16="http://schemas.microsoft.com/office/drawing/2014/main" id="{F15FD5F6-CF32-41A9-9055-8322DABD9F87}"/>
                </a:ext>
              </a:extLst>
            </p:cNvPr>
            <p:cNvGrpSpPr/>
            <p:nvPr/>
          </p:nvGrpSpPr>
          <p:grpSpPr>
            <a:xfrm>
              <a:off x="6013767" y="3374376"/>
              <a:ext cx="532523" cy="331021"/>
              <a:chOff x="6164063" y="3468992"/>
              <a:chExt cx="493942" cy="307039"/>
            </a:xfrm>
            <a:solidFill>
              <a:schemeClr val="tx2"/>
            </a:solidFill>
          </p:grpSpPr>
          <p:sp>
            <p:nvSpPr>
              <p:cNvPr id="1243" name="Freihandform: Form 1242">
                <a:extLst>
                  <a:ext uri="{FF2B5EF4-FFF2-40B4-BE49-F238E27FC236}">
                    <a16:creationId xmlns:a16="http://schemas.microsoft.com/office/drawing/2014/main" id="{F7E0D759-6B1E-442C-ACDF-2ECC1915D845}"/>
                  </a:ext>
                </a:extLst>
              </p:cNvPr>
              <p:cNvSpPr/>
              <p:nvPr/>
            </p:nvSpPr>
            <p:spPr>
              <a:xfrm>
                <a:off x="6164063" y="3715963"/>
                <a:ext cx="493942" cy="60067"/>
              </a:xfrm>
              <a:custGeom>
                <a:avLst/>
                <a:gdLst>
                  <a:gd name="connsiteX0" fmla="*/ 448399 w 493942"/>
                  <a:gd name="connsiteY0" fmla="*/ 60068 h 60067"/>
                  <a:gd name="connsiteX1" fmla="*/ 45543 w 493942"/>
                  <a:gd name="connsiteY1" fmla="*/ 60068 h 60067"/>
                  <a:gd name="connsiteX2" fmla="*/ 0 w 493942"/>
                  <a:gd name="connsiteY2" fmla="*/ 14525 h 60067"/>
                  <a:gd name="connsiteX3" fmla="*/ 0 w 493942"/>
                  <a:gd name="connsiteY3" fmla="*/ 0 h 60067"/>
                  <a:gd name="connsiteX4" fmla="*/ 493942 w 493942"/>
                  <a:gd name="connsiteY4" fmla="*/ 0 h 60067"/>
                  <a:gd name="connsiteX5" fmla="*/ 493942 w 493942"/>
                  <a:gd name="connsiteY5" fmla="*/ 14525 h 60067"/>
                  <a:gd name="connsiteX6" fmla="*/ 448399 w 493942"/>
                  <a:gd name="connsiteY6" fmla="*/ 60068 h 60067"/>
                  <a:gd name="connsiteX7" fmla="*/ 13374 w 493942"/>
                  <a:gd name="connsiteY7" fmla="*/ 13348 h 60067"/>
                  <a:gd name="connsiteX8" fmla="*/ 13374 w 493942"/>
                  <a:gd name="connsiteY8" fmla="*/ 14525 h 60067"/>
                  <a:gd name="connsiteX9" fmla="*/ 45569 w 493942"/>
                  <a:gd name="connsiteY9" fmla="*/ 46719 h 60067"/>
                  <a:gd name="connsiteX10" fmla="*/ 448399 w 493942"/>
                  <a:gd name="connsiteY10" fmla="*/ 46719 h 60067"/>
                  <a:gd name="connsiteX11" fmla="*/ 480594 w 493942"/>
                  <a:gd name="connsiteY11" fmla="*/ 14525 h 60067"/>
                  <a:gd name="connsiteX12" fmla="*/ 480594 w 493942"/>
                  <a:gd name="connsiteY12" fmla="*/ 13348 h 60067"/>
                  <a:gd name="connsiteX13" fmla="*/ 13374 w 493942"/>
                  <a:gd name="connsiteY13" fmla="*/ 13348 h 6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3942" h="60067">
                    <a:moveTo>
                      <a:pt x="448399" y="60068"/>
                    </a:moveTo>
                    <a:lnTo>
                      <a:pt x="45543" y="60068"/>
                    </a:lnTo>
                    <a:cubicBezTo>
                      <a:pt x="20432" y="60068"/>
                      <a:pt x="0" y="39636"/>
                      <a:pt x="0" y="14525"/>
                    </a:cubicBezTo>
                    <a:lnTo>
                      <a:pt x="0" y="0"/>
                    </a:lnTo>
                    <a:lnTo>
                      <a:pt x="493942" y="0"/>
                    </a:lnTo>
                    <a:lnTo>
                      <a:pt x="493942" y="14525"/>
                    </a:lnTo>
                    <a:cubicBezTo>
                      <a:pt x="493942" y="39636"/>
                      <a:pt x="473511" y="60068"/>
                      <a:pt x="448399" y="60068"/>
                    </a:cubicBezTo>
                    <a:close/>
                    <a:moveTo>
                      <a:pt x="13374" y="13348"/>
                    </a:moveTo>
                    <a:lnTo>
                      <a:pt x="13374" y="14525"/>
                    </a:lnTo>
                    <a:cubicBezTo>
                      <a:pt x="13374" y="32271"/>
                      <a:pt x="27822" y="46719"/>
                      <a:pt x="45569" y="46719"/>
                    </a:cubicBezTo>
                    <a:lnTo>
                      <a:pt x="448399" y="46719"/>
                    </a:lnTo>
                    <a:cubicBezTo>
                      <a:pt x="466146" y="46719"/>
                      <a:pt x="480594" y="32271"/>
                      <a:pt x="480594" y="14525"/>
                    </a:cubicBezTo>
                    <a:lnTo>
                      <a:pt x="480594" y="13348"/>
                    </a:lnTo>
                    <a:lnTo>
                      <a:pt x="13374" y="13348"/>
                    </a:lnTo>
                    <a:close/>
                  </a:path>
                </a:pathLst>
              </a:custGeom>
              <a:grpFill/>
              <a:ln w="2553" cap="flat">
                <a:noFill/>
                <a:prstDash val="solid"/>
                <a:miter/>
              </a:ln>
            </p:spPr>
            <p:txBody>
              <a:bodyPr rtlCol="0" anchor="ctr"/>
              <a:lstStyle/>
              <a:p>
                <a:endParaRPr lang="en-GB" dirty="0"/>
              </a:p>
            </p:txBody>
          </p:sp>
          <p:sp>
            <p:nvSpPr>
              <p:cNvPr id="1244" name="Freihandform: Form 1243">
                <a:extLst>
                  <a:ext uri="{FF2B5EF4-FFF2-40B4-BE49-F238E27FC236}">
                    <a16:creationId xmlns:a16="http://schemas.microsoft.com/office/drawing/2014/main" id="{68C1FADA-B9A1-4F8A-8F10-146F076073AA}"/>
                  </a:ext>
                </a:extLst>
              </p:cNvPr>
              <p:cNvSpPr/>
              <p:nvPr/>
            </p:nvSpPr>
            <p:spPr>
              <a:xfrm>
                <a:off x="6210425" y="3468992"/>
                <a:ext cx="400861" cy="260319"/>
              </a:xfrm>
              <a:custGeom>
                <a:avLst/>
                <a:gdLst>
                  <a:gd name="connsiteX0" fmla="*/ 394187 w 400861"/>
                  <a:gd name="connsiteY0" fmla="*/ 260320 h 260319"/>
                  <a:gd name="connsiteX1" fmla="*/ 387513 w 400861"/>
                  <a:gd name="connsiteY1" fmla="*/ 253645 h 260319"/>
                  <a:gd name="connsiteX2" fmla="*/ 387513 w 400861"/>
                  <a:gd name="connsiteY2" fmla="*/ 20023 h 260319"/>
                  <a:gd name="connsiteX3" fmla="*/ 380839 w 400861"/>
                  <a:gd name="connsiteY3" fmla="*/ 13348 h 260319"/>
                  <a:gd name="connsiteX4" fmla="*/ 20023 w 400861"/>
                  <a:gd name="connsiteY4" fmla="*/ 13348 h 260319"/>
                  <a:gd name="connsiteX5" fmla="*/ 13348 w 400861"/>
                  <a:gd name="connsiteY5" fmla="*/ 20023 h 260319"/>
                  <a:gd name="connsiteX6" fmla="*/ 13348 w 400861"/>
                  <a:gd name="connsiteY6" fmla="*/ 133484 h 260319"/>
                  <a:gd name="connsiteX7" fmla="*/ 6674 w 400861"/>
                  <a:gd name="connsiteY7" fmla="*/ 140158 h 260319"/>
                  <a:gd name="connsiteX8" fmla="*/ 0 w 400861"/>
                  <a:gd name="connsiteY8" fmla="*/ 133484 h 260319"/>
                  <a:gd name="connsiteX9" fmla="*/ 0 w 400861"/>
                  <a:gd name="connsiteY9" fmla="*/ 20023 h 260319"/>
                  <a:gd name="connsiteX10" fmla="*/ 20023 w 400861"/>
                  <a:gd name="connsiteY10" fmla="*/ 0 h 260319"/>
                  <a:gd name="connsiteX11" fmla="*/ 380839 w 400861"/>
                  <a:gd name="connsiteY11" fmla="*/ 0 h 260319"/>
                  <a:gd name="connsiteX12" fmla="*/ 400862 w 400861"/>
                  <a:gd name="connsiteY12" fmla="*/ 20023 h 260319"/>
                  <a:gd name="connsiteX13" fmla="*/ 400862 w 400861"/>
                  <a:gd name="connsiteY13" fmla="*/ 253645 h 260319"/>
                  <a:gd name="connsiteX14" fmla="*/ 394187 w 400861"/>
                  <a:gd name="connsiteY14" fmla="*/ 260320 h 260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0861" h="260319">
                    <a:moveTo>
                      <a:pt x="394187" y="260320"/>
                    </a:moveTo>
                    <a:cubicBezTo>
                      <a:pt x="390505" y="260320"/>
                      <a:pt x="387513" y="257328"/>
                      <a:pt x="387513" y="253645"/>
                    </a:cubicBezTo>
                    <a:lnTo>
                      <a:pt x="387513" y="20023"/>
                    </a:lnTo>
                    <a:cubicBezTo>
                      <a:pt x="387513" y="16340"/>
                      <a:pt x="384521" y="13348"/>
                      <a:pt x="380839" y="13348"/>
                    </a:cubicBezTo>
                    <a:lnTo>
                      <a:pt x="20023" y="13348"/>
                    </a:lnTo>
                    <a:cubicBezTo>
                      <a:pt x="16340" y="13348"/>
                      <a:pt x="13348" y="16340"/>
                      <a:pt x="13348" y="20023"/>
                    </a:cubicBezTo>
                    <a:lnTo>
                      <a:pt x="13348" y="133484"/>
                    </a:lnTo>
                    <a:cubicBezTo>
                      <a:pt x="13348" y="137166"/>
                      <a:pt x="10357" y="140158"/>
                      <a:pt x="6674" y="140158"/>
                    </a:cubicBezTo>
                    <a:cubicBezTo>
                      <a:pt x="2992" y="140158"/>
                      <a:pt x="0" y="137166"/>
                      <a:pt x="0" y="133484"/>
                    </a:cubicBezTo>
                    <a:lnTo>
                      <a:pt x="0" y="20023"/>
                    </a:lnTo>
                    <a:cubicBezTo>
                      <a:pt x="0" y="8976"/>
                      <a:pt x="8976" y="0"/>
                      <a:pt x="20023" y="0"/>
                    </a:cubicBezTo>
                    <a:lnTo>
                      <a:pt x="380839" y="0"/>
                    </a:lnTo>
                    <a:cubicBezTo>
                      <a:pt x="391886" y="0"/>
                      <a:pt x="400862" y="8976"/>
                      <a:pt x="400862" y="20023"/>
                    </a:cubicBezTo>
                    <a:lnTo>
                      <a:pt x="400862" y="253645"/>
                    </a:lnTo>
                    <a:cubicBezTo>
                      <a:pt x="400862" y="257328"/>
                      <a:pt x="397870" y="260320"/>
                      <a:pt x="394187" y="260320"/>
                    </a:cubicBezTo>
                    <a:close/>
                  </a:path>
                </a:pathLst>
              </a:custGeom>
              <a:grpFill/>
              <a:ln w="2553" cap="flat">
                <a:noFill/>
                <a:prstDash val="solid"/>
                <a:miter/>
              </a:ln>
            </p:spPr>
            <p:txBody>
              <a:bodyPr rtlCol="0" anchor="ctr"/>
              <a:lstStyle/>
              <a:p>
                <a:endParaRPr lang="en-GB" dirty="0"/>
              </a:p>
            </p:txBody>
          </p:sp>
          <p:sp>
            <p:nvSpPr>
              <p:cNvPr id="1245" name="Freihandform: Form 1244">
                <a:extLst>
                  <a:ext uri="{FF2B5EF4-FFF2-40B4-BE49-F238E27FC236}">
                    <a16:creationId xmlns:a16="http://schemas.microsoft.com/office/drawing/2014/main" id="{0809BCCE-4ED9-4EDC-9D91-C9CDC19CB9AF}"/>
                  </a:ext>
                </a:extLst>
              </p:cNvPr>
              <p:cNvSpPr/>
              <p:nvPr/>
            </p:nvSpPr>
            <p:spPr>
              <a:xfrm>
                <a:off x="6210399" y="3660882"/>
                <a:ext cx="13348" cy="68429"/>
              </a:xfrm>
              <a:custGeom>
                <a:avLst/>
                <a:gdLst>
                  <a:gd name="connsiteX0" fmla="*/ 6674 w 13348"/>
                  <a:gd name="connsiteY0" fmla="*/ 68430 h 68429"/>
                  <a:gd name="connsiteX1" fmla="*/ 0 w 13348"/>
                  <a:gd name="connsiteY1" fmla="*/ 61755 h 68429"/>
                  <a:gd name="connsiteX2" fmla="*/ 0 w 13348"/>
                  <a:gd name="connsiteY2" fmla="*/ 6674 h 68429"/>
                  <a:gd name="connsiteX3" fmla="*/ 6674 w 13348"/>
                  <a:gd name="connsiteY3" fmla="*/ 0 h 68429"/>
                  <a:gd name="connsiteX4" fmla="*/ 13348 w 13348"/>
                  <a:gd name="connsiteY4" fmla="*/ 6674 h 68429"/>
                  <a:gd name="connsiteX5" fmla="*/ 13348 w 13348"/>
                  <a:gd name="connsiteY5" fmla="*/ 61755 h 68429"/>
                  <a:gd name="connsiteX6" fmla="*/ 6674 w 13348"/>
                  <a:gd name="connsiteY6" fmla="*/ 68430 h 6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68429">
                    <a:moveTo>
                      <a:pt x="6674" y="68430"/>
                    </a:moveTo>
                    <a:cubicBezTo>
                      <a:pt x="2992" y="68430"/>
                      <a:pt x="0" y="65438"/>
                      <a:pt x="0" y="61755"/>
                    </a:cubicBezTo>
                    <a:lnTo>
                      <a:pt x="0" y="6674"/>
                    </a:lnTo>
                    <a:cubicBezTo>
                      <a:pt x="0" y="2992"/>
                      <a:pt x="2992" y="0"/>
                      <a:pt x="6674" y="0"/>
                    </a:cubicBezTo>
                    <a:cubicBezTo>
                      <a:pt x="10357" y="0"/>
                      <a:pt x="13348" y="2992"/>
                      <a:pt x="13348" y="6674"/>
                    </a:cubicBezTo>
                    <a:lnTo>
                      <a:pt x="13348" y="61755"/>
                    </a:lnTo>
                    <a:cubicBezTo>
                      <a:pt x="13374" y="65438"/>
                      <a:pt x="10382" y="68430"/>
                      <a:pt x="6674" y="68430"/>
                    </a:cubicBezTo>
                    <a:close/>
                  </a:path>
                </a:pathLst>
              </a:custGeom>
              <a:grpFill/>
              <a:ln w="2553" cap="flat">
                <a:noFill/>
                <a:prstDash val="solid"/>
                <a:miter/>
              </a:ln>
            </p:spPr>
            <p:txBody>
              <a:bodyPr rtlCol="0" anchor="ctr"/>
              <a:lstStyle/>
              <a:p>
                <a:endParaRPr lang="en-GB" dirty="0"/>
              </a:p>
            </p:txBody>
          </p:sp>
          <p:sp>
            <p:nvSpPr>
              <p:cNvPr id="1246" name="Freihandform: Form 1245">
                <a:extLst>
                  <a:ext uri="{FF2B5EF4-FFF2-40B4-BE49-F238E27FC236}">
                    <a16:creationId xmlns:a16="http://schemas.microsoft.com/office/drawing/2014/main" id="{18DAF7C3-BA0E-4B37-940B-76BFB4FEB8E2}"/>
                  </a:ext>
                </a:extLst>
              </p:cNvPr>
              <p:cNvSpPr/>
              <p:nvPr/>
            </p:nvSpPr>
            <p:spPr>
              <a:xfrm>
                <a:off x="6237505" y="3495689"/>
                <a:ext cx="347084" cy="206926"/>
              </a:xfrm>
              <a:custGeom>
                <a:avLst/>
                <a:gdLst>
                  <a:gd name="connsiteX0" fmla="*/ 340410 w 347084"/>
                  <a:gd name="connsiteY0" fmla="*/ 206926 h 206926"/>
                  <a:gd name="connsiteX1" fmla="*/ 333736 w 347084"/>
                  <a:gd name="connsiteY1" fmla="*/ 200252 h 206926"/>
                  <a:gd name="connsiteX2" fmla="*/ 333736 w 347084"/>
                  <a:gd name="connsiteY2" fmla="*/ 13348 h 206926"/>
                  <a:gd name="connsiteX3" fmla="*/ 13348 w 347084"/>
                  <a:gd name="connsiteY3" fmla="*/ 13348 h 206926"/>
                  <a:gd name="connsiteX4" fmla="*/ 13348 w 347084"/>
                  <a:gd name="connsiteY4" fmla="*/ 26697 h 206926"/>
                  <a:gd name="connsiteX5" fmla="*/ 6674 w 347084"/>
                  <a:gd name="connsiteY5" fmla="*/ 33371 h 206926"/>
                  <a:gd name="connsiteX6" fmla="*/ 0 w 347084"/>
                  <a:gd name="connsiteY6" fmla="*/ 26697 h 206926"/>
                  <a:gd name="connsiteX7" fmla="*/ 0 w 347084"/>
                  <a:gd name="connsiteY7" fmla="*/ 6674 h 206926"/>
                  <a:gd name="connsiteX8" fmla="*/ 6674 w 347084"/>
                  <a:gd name="connsiteY8" fmla="*/ 0 h 206926"/>
                  <a:gd name="connsiteX9" fmla="*/ 340410 w 347084"/>
                  <a:gd name="connsiteY9" fmla="*/ 0 h 206926"/>
                  <a:gd name="connsiteX10" fmla="*/ 347084 w 347084"/>
                  <a:gd name="connsiteY10" fmla="*/ 6674 h 206926"/>
                  <a:gd name="connsiteX11" fmla="*/ 347084 w 347084"/>
                  <a:gd name="connsiteY11" fmla="*/ 200252 h 206926"/>
                  <a:gd name="connsiteX12" fmla="*/ 340410 w 347084"/>
                  <a:gd name="connsiteY12" fmla="*/ 206926 h 206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084" h="206926">
                    <a:moveTo>
                      <a:pt x="340410" y="206926"/>
                    </a:moveTo>
                    <a:cubicBezTo>
                      <a:pt x="336728" y="206926"/>
                      <a:pt x="333736" y="203934"/>
                      <a:pt x="333736" y="200252"/>
                    </a:cubicBezTo>
                    <a:lnTo>
                      <a:pt x="333736" y="13348"/>
                    </a:lnTo>
                    <a:lnTo>
                      <a:pt x="13348" y="13348"/>
                    </a:lnTo>
                    <a:lnTo>
                      <a:pt x="13348" y="26697"/>
                    </a:lnTo>
                    <a:cubicBezTo>
                      <a:pt x="13348" y="30379"/>
                      <a:pt x="10357" y="33371"/>
                      <a:pt x="6674" y="33371"/>
                    </a:cubicBezTo>
                    <a:cubicBezTo>
                      <a:pt x="2992" y="33371"/>
                      <a:pt x="0" y="30379"/>
                      <a:pt x="0" y="26697"/>
                    </a:cubicBezTo>
                    <a:lnTo>
                      <a:pt x="0" y="6674"/>
                    </a:lnTo>
                    <a:cubicBezTo>
                      <a:pt x="0" y="2992"/>
                      <a:pt x="2992" y="0"/>
                      <a:pt x="6674" y="0"/>
                    </a:cubicBezTo>
                    <a:lnTo>
                      <a:pt x="340410" y="0"/>
                    </a:lnTo>
                    <a:cubicBezTo>
                      <a:pt x="344092" y="0"/>
                      <a:pt x="347084" y="2992"/>
                      <a:pt x="347084" y="6674"/>
                    </a:cubicBezTo>
                    <a:lnTo>
                      <a:pt x="347084" y="200252"/>
                    </a:lnTo>
                    <a:cubicBezTo>
                      <a:pt x="347084" y="203934"/>
                      <a:pt x="344092" y="206926"/>
                      <a:pt x="340410" y="206926"/>
                    </a:cubicBezTo>
                    <a:close/>
                  </a:path>
                </a:pathLst>
              </a:custGeom>
              <a:grpFill/>
              <a:ln w="2553" cap="flat">
                <a:noFill/>
                <a:prstDash val="solid"/>
                <a:miter/>
              </a:ln>
            </p:spPr>
            <p:txBody>
              <a:bodyPr rtlCol="0" anchor="ctr"/>
              <a:lstStyle/>
              <a:p>
                <a:endParaRPr lang="en-GB" dirty="0"/>
              </a:p>
            </p:txBody>
          </p:sp>
          <p:sp>
            <p:nvSpPr>
              <p:cNvPr id="1247" name="Freihandform: Form 1246">
                <a:extLst>
                  <a:ext uri="{FF2B5EF4-FFF2-40B4-BE49-F238E27FC236}">
                    <a16:creationId xmlns:a16="http://schemas.microsoft.com/office/drawing/2014/main" id="{35372F0A-D555-4E73-8D1F-28C4EA915A37}"/>
                  </a:ext>
                </a:extLst>
              </p:cNvPr>
              <p:cNvSpPr/>
              <p:nvPr/>
            </p:nvSpPr>
            <p:spPr>
              <a:xfrm>
                <a:off x="6237122" y="3629198"/>
                <a:ext cx="13348" cy="73416"/>
              </a:xfrm>
              <a:custGeom>
                <a:avLst/>
                <a:gdLst>
                  <a:gd name="connsiteX0" fmla="*/ 6674 w 13348"/>
                  <a:gd name="connsiteY0" fmla="*/ 73416 h 73416"/>
                  <a:gd name="connsiteX1" fmla="*/ 0 w 13348"/>
                  <a:gd name="connsiteY1" fmla="*/ 66742 h 73416"/>
                  <a:gd name="connsiteX2" fmla="*/ 0 w 13348"/>
                  <a:gd name="connsiteY2" fmla="*/ 6674 h 73416"/>
                  <a:gd name="connsiteX3" fmla="*/ 6674 w 13348"/>
                  <a:gd name="connsiteY3" fmla="*/ 0 h 73416"/>
                  <a:gd name="connsiteX4" fmla="*/ 13348 w 13348"/>
                  <a:gd name="connsiteY4" fmla="*/ 6674 h 73416"/>
                  <a:gd name="connsiteX5" fmla="*/ 13348 w 13348"/>
                  <a:gd name="connsiteY5" fmla="*/ 66742 h 73416"/>
                  <a:gd name="connsiteX6" fmla="*/ 6674 w 13348"/>
                  <a:gd name="connsiteY6" fmla="*/ 73416 h 7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73416">
                    <a:moveTo>
                      <a:pt x="6674" y="73416"/>
                    </a:moveTo>
                    <a:cubicBezTo>
                      <a:pt x="2992" y="73416"/>
                      <a:pt x="0" y="70424"/>
                      <a:pt x="0" y="66742"/>
                    </a:cubicBezTo>
                    <a:lnTo>
                      <a:pt x="0" y="6674"/>
                    </a:lnTo>
                    <a:cubicBezTo>
                      <a:pt x="0" y="2992"/>
                      <a:pt x="2992" y="0"/>
                      <a:pt x="6674" y="0"/>
                    </a:cubicBezTo>
                    <a:cubicBezTo>
                      <a:pt x="10356" y="0"/>
                      <a:pt x="13348" y="2992"/>
                      <a:pt x="13348" y="6674"/>
                    </a:cubicBezTo>
                    <a:lnTo>
                      <a:pt x="13348" y="66742"/>
                    </a:lnTo>
                    <a:cubicBezTo>
                      <a:pt x="13348" y="70424"/>
                      <a:pt x="10356" y="73416"/>
                      <a:pt x="6674" y="73416"/>
                    </a:cubicBezTo>
                    <a:close/>
                  </a:path>
                </a:pathLst>
              </a:custGeom>
              <a:grpFill/>
              <a:ln w="2553" cap="flat">
                <a:noFill/>
                <a:prstDash val="solid"/>
                <a:miter/>
              </a:ln>
            </p:spPr>
            <p:txBody>
              <a:bodyPr rtlCol="0" anchor="ctr"/>
              <a:lstStyle/>
              <a:p>
                <a:endParaRPr lang="en-GB" dirty="0"/>
              </a:p>
            </p:txBody>
          </p:sp>
        </p:grpSp>
        <p:grpSp>
          <p:nvGrpSpPr>
            <p:cNvPr id="1235" name="Gruppieren 1234">
              <a:extLst>
                <a:ext uri="{FF2B5EF4-FFF2-40B4-BE49-F238E27FC236}">
                  <a16:creationId xmlns:a16="http://schemas.microsoft.com/office/drawing/2014/main" id="{D37F560A-B920-4248-9BE7-34CB8E27B11E}"/>
                </a:ext>
              </a:extLst>
            </p:cNvPr>
            <p:cNvGrpSpPr/>
            <p:nvPr/>
          </p:nvGrpSpPr>
          <p:grpSpPr>
            <a:xfrm>
              <a:off x="5970290" y="3433845"/>
              <a:ext cx="457888" cy="195957"/>
              <a:chOff x="6123736" y="3524153"/>
              <a:chExt cx="424714" cy="181760"/>
            </a:xfrm>
          </p:grpSpPr>
          <p:sp>
            <p:nvSpPr>
              <p:cNvPr id="1236" name="Freihandform: Form 1235">
                <a:extLst>
                  <a:ext uri="{FF2B5EF4-FFF2-40B4-BE49-F238E27FC236}">
                    <a16:creationId xmlns:a16="http://schemas.microsoft.com/office/drawing/2014/main" id="{0C62ED65-C9CA-4A97-BC7B-FB25E1922E2D}"/>
                  </a:ext>
                </a:extLst>
              </p:cNvPr>
              <p:cNvSpPr/>
              <p:nvPr/>
            </p:nvSpPr>
            <p:spPr>
              <a:xfrm>
                <a:off x="6255036" y="3549249"/>
                <a:ext cx="104893" cy="93297"/>
              </a:xfrm>
              <a:custGeom>
                <a:avLst/>
                <a:gdLst>
                  <a:gd name="connsiteX0" fmla="*/ 6660 w 104893"/>
                  <a:gd name="connsiteY0" fmla="*/ 93298 h 93297"/>
                  <a:gd name="connsiteX1" fmla="*/ 37 w 104893"/>
                  <a:gd name="connsiteY1" fmla="*/ 87340 h 93297"/>
                  <a:gd name="connsiteX2" fmla="*/ 5970 w 104893"/>
                  <a:gd name="connsiteY2" fmla="*/ 79975 h 93297"/>
                  <a:gd name="connsiteX3" fmla="*/ 26785 w 104893"/>
                  <a:gd name="connsiteY3" fmla="*/ 61257 h 93297"/>
                  <a:gd name="connsiteX4" fmla="*/ 32002 w 104893"/>
                  <a:gd name="connsiteY4" fmla="*/ 53790 h 93297"/>
                  <a:gd name="connsiteX5" fmla="*/ 62023 w 104893"/>
                  <a:gd name="connsiteY5" fmla="*/ 49212 h 93297"/>
                  <a:gd name="connsiteX6" fmla="*/ 63301 w 104893"/>
                  <a:gd name="connsiteY6" fmla="*/ 49928 h 93297"/>
                  <a:gd name="connsiteX7" fmla="*/ 91763 w 104893"/>
                  <a:gd name="connsiteY7" fmla="*/ 4718 h 93297"/>
                  <a:gd name="connsiteX8" fmla="*/ 92197 w 104893"/>
                  <a:gd name="connsiteY8" fmla="*/ 3797 h 93297"/>
                  <a:gd name="connsiteX9" fmla="*/ 101096 w 104893"/>
                  <a:gd name="connsiteY9" fmla="*/ 652 h 93297"/>
                  <a:gd name="connsiteX10" fmla="*/ 104242 w 104893"/>
                  <a:gd name="connsiteY10" fmla="*/ 9551 h 93297"/>
                  <a:gd name="connsiteX11" fmla="*/ 103884 w 104893"/>
                  <a:gd name="connsiteY11" fmla="*/ 10318 h 93297"/>
                  <a:gd name="connsiteX12" fmla="*/ 59159 w 104893"/>
                  <a:gd name="connsiteY12" fmla="*/ 62714 h 93297"/>
                  <a:gd name="connsiteX13" fmla="*/ 55553 w 104893"/>
                  <a:gd name="connsiteY13" fmla="*/ 60899 h 93297"/>
                  <a:gd name="connsiteX14" fmla="*/ 41642 w 104893"/>
                  <a:gd name="connsiteY14" fmla="*/ 63021 h 93297"/>
                  <a:gd name="connsiteX15" fmla="*/ 38216 w 104893"/>
                  <a:gd name="connsiteY15" fmla="*/ 68186 h 93297"/>
                  <a:gd name="connsiteX16" fmla="*/ 7402 w 104893"/>
                  <a:gd name="connsiteY16" fmla="*/ 93298 h 93297"/>
                  <a:gd name="connsiteX17" fmla="*/ 6660 w 104893"/>
                  <a:gd name="connsiteY17" fmla="*/ 93298 h 93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4893" h="93297">
                    <a:moveTo>
                      <a:pt x="6660" y="93298"/>
                    </a:moveTo>
                    <a:cubicBezTo>
                      <a:pt x="3285" y="93298"/>
                      <a:pt x="395" y="90766"/>
                      <a:pt x="37" y="87340"/>
                    </a:cubicBezTo>
                    <a:cubicBezTo>
                      <a:pt x="-346" y="83657"/>
                      <a:pt x="2287" y="80384"/>
                      <a:pt x="5970" y="79975"/>
                    </a:cubicBezTo>
                    <a:cubicBezTo>
                      <a:pt x="16147" y="78875"/>
                      <a:pt x="22284" y="68698"/>
                      <a:pt x="26785" y="61257"/>
                    </a:cubicBezTo>
                    <a:cubicBezTo>
                      <a:pt x="28703" y="58086"/>
                      <a:pt x="30212" y="55580"/>
                      <a:pt x="32002" y="53790"/>
                    </a:cubicBezTo>
                    <a:cubicBezTo>
                      <a:pt x="44941" y="39725"/>
                      <a:pt x="56909" y="46374"/>
                      <a:pt x="62023" y="49212"/>
                    </a:cubicBezTo>
                    <a:cubicBezTo>
                      <a:pt x="62483" y="49468"/>
                      <a:pt x="62918" y="49698"/>
                      <a:pt x="63301" y="49928"/>
                    </a:cubicBezTo>
                    <a:cubicBezTo>
                      <a:pt x="66344" y="48547"/>
                      <a:pt x="76138" y="38549"/>
                      <a:pt x="91763" y="4718"/>
                    </a:cubicBezTo>
                    <a:lnTo>
                      <a:pt x="92197" y="3797"/>
                    </a:lnTo>
                    <a:cubicBezTo>
                      <a:pt x="93783" y="473"/>
                      <a:pt x="97772" y="-934"/>
                      <a:pt x="101096" y="652"/>
                    </a:cubicBezTo>
                    <a:cubicBezTo>
                      <a:pt x="104421" y="2237"/>
                      <a:pt x="105827" y="6226"/>
                      <a:pt x="104242" y="9551"/>
                    </a:cubicBezTo>
                    <a:lnTo>
                      <a:pt x="103884" y="10318"/>
                    </a:lnTo>
                    <a:cubicBezTo>
                      <a:pt x="76727" y="69158"/>
                      <a:pt x="64427" y="64658"/>
                      <a:pt x="59159" y="62714"/>
                    </a:cubicBezTo>
                    <a:cubicBezTo>
                      <a:pt x="57855" y="62177"/>
                      <a:pt x="56730" y="61563"/>
                      <a:pt x="55553" y="60899"/>
                    </a:cubicBezTo>
                    <a:cubicBezTo>
                      <a:pt x="50618" y="58162"/>
                      <a:pt x="47652" y="56500"/>
                      <a:pt x="41642" y="63021"/>
                    </a:cubicBezTo>
                    <a:cubicBezTo>
                      <a:pt x="40824" y="63865"/>
                      <a:pt x="39366" y="66243"/>
                      <a:pt x="38216" y="68186"/>
                    </a:cubicBezTo>
                    <a:cubicBezTo>
                      <a:pt x="32973" y="76906"/>
                      <a:pt x="24177" y="91482"/>
                      <a:pt x="7402" y="93298"/>
                    </a:cubicBezTo>
                    <a:cubicBezTo>
                      <a:pt x="7120" y="93272"/>
                      <a:pt x="6890" y="93298"/>
                      <a:pt x="6660" y="93298"/>
                    </a:cubicBezTo>
                    <a:close/>
                  </a:path>
                </a:pathLst>
              </a:custGeom>
              <a:solidFill>
                <a:schemeClr val="accent1"/>
              </a:solidFill>
              <a:ln w="2553" cap="flat">
                <a:noFill/>
                <a:prstDash val="solid"/>
                <a:miter/>
              </a:ln>
            </p:spPr>
            <p:txBody>
              <a:bodyPr rtlCol="0" anchor="ctr"/>
              <a:lstStyle/>
              <a:p>
                <a:endParaRPr lang="en-GB" dirty="0"/>
              </a:p>
            </p:txBody>
          </p:sp>
          <p:sp>
            <p:nvSpPr>
              <p:cNvPr id="1237" name="Freihandform: Form 1236">
                <a:extLst>
                  <a:ext uri="{FF2B5EF4-FFF2-40B4-BE49-F238E27FC236}">
                    <a16:creationId xmlns:a16="http://schemas.microsoft.com/office/drawing/2014/main" id="{C1E75C6F-C311-4954-89EA-F9EC2DA9AEB7}"/>
                  </a:ext>
                </a:extLst>
              </p:cNvPr>
              <p:cNvSpPr/>
              <p:nvPr/>
            </p:nvSpPr>
            <p:spPr>
              <a:xfrm>
                <a:off x="6364480" y="3561296"/>
                <a:ext cx="183970" cy="101273"/>
              </a:xfrm>
              <a:custGeom>
                <a:avLst/>
                <a:gdLst>
                  <a:gd name="connsiteX0" fmla="*/ 177379 w 183970"/>
                  <a:gd name="connsiteY0" fmla="*/ 101274 h 101273"/>
                  <a:gd name="connsiteX1" fmla="*/ 175692 w 183970"/>
                  <a:gd name="connsiteY1" fmla="*/ 101069 h 101273"/>
                  <a:gd name="connsiteX2" fmla="*/ 168148 w 183970"/>
                  <a:gd name="connsiteY2" fmla="*/ 98358 h 101273"/>
                  <a:gd name="connsiteX3" fmla="*/ 156564 w 183970"/>
                  <a:gd name="connsiteY3" fmla="*/ 85010 h 101273"/>
                  <a:gd name="connsiteX4" fmla="*/ 144264 w 183970"/>
                  <a:gd name="connsiteY4" fmla="*/ 71968 h 101273"/>
                  <a:gd name="connsiteX5" fmla="*/ 124957 w 183970"/>
                  <a:gd name="connsiteY5" fmla="*/ 81226 h 101273"/>
                  <a:gd name="connsiteX6" fmla="*/ 110944 w 183970"/>
                  <a:gd name="connsiteY6" fmla="*/ 83859 h 101273"/>
                  <a:gd name="connsiteX7" fmla="*/ 93249 w 183970"/>
                  <a:gd name="connsiteY7" fmla="*/ 67749 h 101273"/>
                  <a:gd name="connsiteX8" fmla="*/ 81409 w 183970"/>
                  <a:gd name="connsiteY8" fmla="*/ 50642 h 101273"/>
                  <a:gd name="connsiteX9" fmla="*/ 71692 w 183970"/>
                  <a:gd name="connsiteY9" fmla="*/ 63018 h 101273"/>
                  <a:gd name="connsiteX10" fmla="*/ 51055 w 183970"/>
                  <a:gd name="connsiteY10" fmla="*/ 79563 h 101273"/>
                  <a:gd name="connsiteX11" fmla="*/ 36300 w 183970"/>
                  <a:gd name="connsiteY11" fmla="*/ 72454 h 101273"/>
                  <a:gd name="connsiteX12" fmla="*/ 14207 w 183970"/>
                  <a:gd name="connsiteY12" fmla="*/ 31591 h 101273"/>
                  <a:gd name="connsiteX13" fmla="*/ 7711 w 183970"/>
                  <a:gd name="connsiteY13" fmla="*/ 18012 h 101273"/>
                  <a:gd name="connsiteX14" fmla="*/ 2367 w 183970"/>
                  <a:gd name="connsiteY14" fmla="*/ 11773 h 101273"/>
                  <a:gd name="connsiteX15" fmla="*/ 1574 w 183970"/>
                  <a:gd name="connsiteY15" fmla="*/ 2362 h 101273"/>
                  <a:gd name="connsiteX16" fmla="*/ 10985 w 183970"/>
                  <a:gd name="connsiteY16" fmla="*/ 1595 h 101273"/>
                  <a:gd name="connsiteX17" fmla="*/ 19679 w 183970"/>
                  <a:gd name="connsiteY17" fmla="*/ 12131 h 101273"/>
                  <a:gd name="connsiteX18" fmla="*/ 26302 w 183970"/>
                  <a:gd name="connsiteY18" fmla="*/ 25965 h 101273"/>
                  <a:gd name="connsiteX19" fmla="*/ 46325 w 183970"/>
                  <a:gd name="connsiteY19" fmla="*/ 63658 h 101273"/>
                  <a:gd name="connsiteX20" fmla="*/ 49956 w 183970"/>
                  <a:gd name="connsiteY20" fmla="*/ 66240 h 101273"/>
                  <a:gd name="connsiteX21" fmla="*/ 59954 w 183970"/>
                  <a:gd name="connsiteY21" fmla="*/ 56625 h 101273"/>
                  <a:gd name="connsiteX22" fmla="*/ 81588 w 183970"/>
                  <a:gd name="connsiteY22" fmla="*/ 37293 h 101273"/>
                  <a:gd name="connsiteX23" fmla="*/ 105676 w 183970"/>
                  <a:gd name="connsiteY23" fmla="*/ 63018 h 101273"/>
                  <a:gd name="connsiteX24" fmla="*/ 112172 w 183970"/>
                  <a:gd name="connsiteY24" fmla="*/ 70332 h 101273"/>
                  <a:gd name="connsiteX25" fmla="*/ 116519 w 183970"/>
                  <a:gd name="connsiteY25" fmla="*/ 70843 h 101273"/>
                  <a:gd name="connsiteX26" fmla="*/ 146386 w 183970"/>
                  <a:gd name="connsiteY26" fmla="*/ 58799 h 101273"/>
                  <a:gd name="connsiteX27" fmla="*/ 167943 w 183970"/>
                  <a:gd name="connsiteY27" fmla="*/ 78157 h 101273"/>
                  <a:gd name="connsiteX28" fmla="*/ 173927 w 183970"/>
                  <a:gd name="connsiteY28" fmla="*/ 86365 h 101273"/>
                  <a:gd name="connsiteX29" fmla="*/ 178990 w 183970"/>
                  <a:gd name="connsiteY29" fmla="*/ 88130 h 101273"/>
                  <a:gd name="connsiteX30" fmla="*/ 183747 w 183970"/>
                  <a:gd name="connsiteY30" fmla="*/ 96287 h 101273"/>
                  <a:gd name="connsiteX31" fmla="*/ 177379 w 183970"/>
                  <a:gd name="connsiteY31" fmla="*/ 101274 h 101273"/>
                  <a:gd name="connsiteX32" fmla="*/ 116417 w 183970"/>
                  <a:gd name="connsiteY32" fmla="*/ 70997 h 101273"/>
                  <a:gd name="connsiteX33" fmla="*/ 116059 w 183970"/>
                  <a:gd name="connsiteY33" fmla="*/ 71304 h 101273"/>
                  <a:gd name="connsiteX34" fmla="*/ 116417 w 183970"/>
                  <a:gd name="connsiteY34" fmla="*/ 70997 h 101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3970" h="101273">
                    <a:moveTo>
                      <a:pt x="177379" y="101274"/>
                    </a:moveTo>
                    <a:cubicBezTo>
                      <a:pt x="176817" y="101274"/>
                      <a:pt x="176254" y="101197"/>
                      <a:pt x="175692" y="101069"/>
                    </a:cubicBezTo>
                    <a:cubicBezTo>
                      <a:pt x="175257" y="100941"/>
                      <a:pt x="171242" y="99893"/>
                      <a:pt x="168148" y="98358"/>
                    </a:cubicBezTo>
                    <a:cubicBezTo>
                      <a:pt x="163059" y="95878"/>
                      <a:pt x="159914" y="90585"/>
                      <a:pt x="156564" y="85010"/>
                    </a:cubicBezTo>
                    <a:cubicBezTo>
                      <a:pt x="152984" y="79001"/>
                      <a:pt x="149276" y="72812"/>
                      <a:pt x="144264" y="71968"/>
                    </a:cubicBezTo>
                    <a:cubicBezTo>
                      <a:pt x="139738" y="71227"/>
                      <a:pt x="133064" y="74423"/>
                      <a:pt x="124957" y="81226"/>
                    </a:cubicBezTo>
                    <a:cubicBezTo>
                      <a:pt x="122170" y="83911"/>
                      <a:pt x="116544" y="85061"/>
                      <a:pt x="110944" y="83859"/>
                    </a:cubicBezTo>
                    <a:cubicBezTo>
                      <a:pt x="106392" y="82888"/>
                      <a:pt x="98005" y="79487"/>
                      <a:pt x="93249" y="67749"/>
                    </a:cubicBezTo>
                    <a:cubicBezTo>
                      <a:pt x="90589" y="60282"/>
                      <a:pt x="84120" y="51000"/>
                      <a:pt x="81409" y="50642"/>
                    </a:cubicBezTo>
                    <a:cubicBezTo>
                      <a:pt x="80565" y="50642"/>
                      <a:pt x="77496" y="51844"/>
                      <a:pt x="71692" y="63018"/>
                    </a:cubicBezTo>
                    <a:cubicBezTo>
                      <a:pt x="70106" y="65806"/>
                      <a:pt x="62230" y="78668"/>
                      <a:pt x="51055" y="79563"/>
                    </a:cubicBezTo>
                    <a:cubicBezTo>
                      <a:pt x="47220" y="79896"/>
                      <a:pt x="41543" y="78898"/>
                      <a:pt x="36300" y="72454"/>
                    </a:cubicBezTo>
                    <a:cubicBezTo>
                      <a:pt x="30726" y="66573"/>
                      <a:pt x="23285" y="51128"/>
                      <a:pt x="14207" y="31591"/>
                    </a:cubicBezTo>
                    <a:cubicBezTo>
                      <a:pt x="11598" y="25991"/>
                      <a:pt x="9322" y="21081"/>
                      <a:pt x="7711" y="18012"/>
                    </a:cubicBezTo>
                    <a:cubicBezTo>
                      <a:pt x="6816" y="16120"/>
                      <a:pt x="4336" y="13435"/>
                      <a:pt x="2367" y="11773"/>
                    </a:cubicBezTo>
                    <a:cubicBezTo>
                      <a:pt x="-446" y="9395"/>
                      <a:pt x="-804" y="5175"/>
                      <a:pt x="1574" y="2362"/>
                    </a:cubicBezTo>
                    <a:cubicBezTo>
                      <a:pt x="3952" y="-450"/>
                      <a:pt x="8172" y="-808"/>
                      <a:pt x="10985" y="1595"/>
                    </a:cubicBezTo>
                    <a:cubicBezTo>
                      <a:pt x="12468" y="2823"/>
                      <a:pt x="17429" y="7272"/>
                      <a:pt x="19679" y="12131"/>
                    </a:cubicBezTo>
                    <a:cubicBezTo>
                      <a:pt x="21213" y="15046"/>
                      <a:pt x="23591" y="20135"/>
                      <a:pt x="26302" y="25965"/>
                    </a:cubicBezTo>
                    <a:cubicBezTo>
                      <a:pt x="32337" y="38904"/>
                      <a:pt x="41440" y="58467"/>
                      <a:pt x="46325" y="63658"/>
                    </a:cubicBezTo>
                    <a:cubicBezTo>
                      <a:pt x="47910" y="65576"/>
                      <a:pt x="48958" y="66419"/>
                      <a:pt x="49956" y="66240"/>
                    </a:cubicBezTo>
                    <a:cubicBezTo>
                      <a:pt x="52769" y="66010"/>
                      <a:pt x="57397" y="61075"/>
                      <a:pt x="59954" y="56625"/>
                    </a:cubicBezTo>
                    <a:cubicBezTo>
                      <a:pt x="64864" y="47190"/>
                      <a:pt x="71359" y="37293"/>
                      <a:pt x="81588" y="37293"/>
                    </a:cubicBezTo>
                    <a:cubicBezTo>
                      <a:pt x="96292" y="37728"/>
                      <a:pt x="105574" y="62763"/>
                      <a:pt x="105676" y="63018"/>
                    </a:cubicBezTo>
                    <a:cubicBezTo>
                      <a:pt x="107108" y="66547"/>
                      <a:pt x="109410" y="69181"/>
                      <a:pt x="112172" y="70332"/>
                    </a:cubicBezTo>
                    <a:cubicBezTo>
                      <a:pt x="114243" y="71201"/>
                      <a:pt x="115956" y="70997"/>
                      <a:pt x="116519" y="70843"/>
                    </a:cubicBezTo>
                    <a:cubicBezTo>
                      <a:pt x="128077" y="61203"/>
                      <a:pt x="137769" y="57316"/>
                      <a:pt x="146386" y="58799"/>
                    </a:cubicBezTo>
                    <a:cubicBezTo>
                      <a:pt x="157485" y="60666"/>
                      <a:pt x="163289" y="70358"/>
                      <a:pt x="167943" y="78157"/>
                    </a:cubicBezTo>
                    <a:cubicBezTo>
                      <a:pt x="169836" y="81302"/>
                      <a:pt x="172393" y="85624"/>
                      <a:pt x="173927" y="86365"/>
                    </a:cubicBezTo>
                    <a:cubicBezTo>
                      <a:pt x="175538" y="87158"/>
                      <a:pt x="178121" y="87900"/>
                      <a:pt x="178990" y="88130"/>
                    </a:cubicBezTo>
                    <a:cubicBezTo>
                      <a:pt x="182545" y="89076"/>
                      <a:pt x="184693" y="92707"/>
                      <a:pt x="183747" y="96287"/>
                    </a:cubicBezTo>
                    <a:cubicBezTo>
                      <a:pt x="183056" y="99279"/>
                      <a:pt x="180346" y="101274"/>
                      <a:pt x="177379" y="101274"/>
                    </a:cubicBezTo>
                    <a:close/>
                    <a:moveTo>
                      <a:pt x="116417" y="70997"/>
                    </a:moveTo>
                    <a:cubicBezTo>
                      <a:pt x="116314" y="71074"/>
                      <a:pt x="116186" y="71176"/>
                      <a:pt x="116059" y="71304"/>
                    </a:cubicBezTo>
                    <a:cubicBezTo>
                      <a:pt x="116186" y="71201"/>
                      <a:pt x="116289" y="71099"/>
                      <a:pt x="116417" y="70997"/>
                    </a:cubicBezTo>
                    <a:close/>
                  </a:path>
                </a:pathLst>
              </a:custGeom>
              <a:solidFill>
                <a:schemeClr val="accent1"/>
              </a:solidFill>
              <a:ln w="2553" cap="flat">
                <a:noFill/>
                <a:prstDash val="solid"/>
                <a:miter/>
              </a:ln>
            </p:spPr>
            <p:txBody>
              <a:bodyPr rtlCol="0" anchor="ctr"/>
              <a:lstStyle/>
              <a:p>
                <a:endParaRPr lang="en-GB" dirty="0"/>
              </a:p>
            </p:txBody>
          </p:sp>
          <p:grpSp>
            <p:nvGrpSpPr>
              <p:cNvPr id="1238" name="Grafik 313">
                <a:extLst>
                  <a:ext uri="{FF2B5EF4-FFF2-40B4-BE49-F238E27FC236}">
                    <a16:creationId xmlns:a16="http://schemas.microsoft.com/office/drawing/2014/main" id="{8B1D494D-9856-464D-B520-6885BF76D367}"/>
                  </a:ext>
                </a:extLst>
              </p:cNvPr>
              <p:cNvGrpSpPr/>
              <p:nvPr/>
            </p:nvGrpSpPr>
            <p:grpSpPr>
              <a:xfrm>
                <a:off x="6123736" y="3524153"/>
                <a:ext cx="261095" cy="181760"/>
                <a:chOff x="6123736" y="3524153"/>
                <a:chExt cx="261095" cy="181760"/>
              </a:xfrm>
              <a:solidFill>
                <a:schemeClr val="accent1"/>
              </a:solidFill>
            </p:grpSpPr>
            <p:sp>
              <p:nvSpPr>
                <p:cNvPr id="1239" name="Freihandform: Form 1238">
                  <a:extLst>
                    <a:ext uri="{FF2B5EF4-FFF2-40B4-BE49-F238E27FC236}">
                      <a16:creationId xmlns:a16="http://schemas.microsoft.com/office/drawing/2014/main" id="{09858E08-8715-45AA-BBB8-5B341F020E63}"/>
                    </a:ext>
                  </a:extLst>
                </p:cNvPr>
                <p:cNvSpPr/>
                <p:nvPr/>
              </p:nvSpPr>
              <p:spPr>
                <a:xfrm>
                  <a:off x="6237965" y="3524153"/>
                  <a:ext cx="146866" cy="146803"/>
                </a:xfrm>
                <a:custGeom>
                  <a:avLst/>
                  <a:gdLst>
                    <a:gd name="connsiteX0" fmla="*/ 73570 w 146866"/>
                    <a:gd name="connsiteY0" fmla="*/ 146804 h 146803"/>
                    <a:gd name="connsiteX1" fmla="*/ 7646 w 146866"/>
                    <a:gd name="connsiteY1" fmla="*/ 105940 h 146803"/>
                    <a:gd name="connsiteX2" fmla="*/ 3913 w 146866"/>
                    <a:gd name="connsiteY2" fmla="*/ 49887 h 146803"/>
                    <a:gd name="connsiteX3" fmla="*/ 40915 w 146866"/>
                    <a:gd name="connsiteY3" fmla="*/ 7591 h 146803"/>
                    <a:gd name="connsiteX4" fmla="*/ 40915 w 146866"/>
                    <a:gd name="connsiteY4" fmla="*/ 7591 h 146803"/>
                    <a:gd name="connsiteX5" fmla="*/ 139264 w 146866"/>
                    <a:gd name="connsiteY5" fmla="*/ 40860 h 146803"/>
                    <a:gd name="connsiteX6" fmla="*/ 106021 w 146866"/>
                    <a:gd name="connsiteY6" fmla="*/ 139209 h 146803"/>
                    <a:gd name="connsiteX7" fmla="*/ 73570 w 146866"/>
                    <a:gd name="connsiteY7" fmla="*/ 146804 h 146803"/>
                    <a:gd name="connsiteX8" fmla="*/ 46822 w 146866"/>
                    <a:gd name="connsiteY8" fmla="*/ 19559 h 146803"/>
                    <a:gd name="connsiteX9" fmla="*/ 19614 w 146866"/>
                    <a:gd name="connsiteY9" fmla="*/ 100033 h 146803"/>
                    <a:gd name="connsiteX10" fmla="*/ 54212 w 146866"/>
                    <a:gd name="connsiteY10" fmla="*/ 130310 h 146803"/>
                    <a:gd name="connsiteX11" fmla="*/ 100088 w 146866"/>
                    <a:gd name="connsiteY11" fmla="*/ 127241 h 146803"/>
                    <a:gd name="connsiteX12" fmla="*/ 127296 w 146866"/>
                    <a:gd name="connsiteY12" fmla="*/ 46793 h 146803"/>
                    <a:gd name="connsiteX13" fmla="*/ 46822 w 146866"/>
                    <a:gd name="connsiteY13" fmla="*/ 19559 h 146803"/>
                    <a:gd name="connsiteX14" fmla="*/ 46822 w 146866"/>
                    <a:gd name="connsiteY14" fmla="*/ 19559 h 146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6866" h="146803">
                      <a:moveTo>
                        <a:pt x="73570" y="146804"/>
                      </a:moveTo>
                      <a:cubicBezTo>
                        <a:pt x="46515" y="146804"/>
                        <a:pt x="20432" y="131793"/>
                        <a:pt x="7646" y="105940"/>
                      </a:cubicBezTo>
                      <a:cubicBezTo>
                        <a:pt x="-1048" y="88372"/>
                        <a:pt x="-2378" y="68452"/>
                        <a:pt x="3913" y="49887"/>
                      </a:cubicBezTo>
                      <a:cubicBezTo>
                        <a:pt x="10204" y="31322"/>
                        <a:pt x="23322" y="16286"/>
                        <a:pt x="40915" y="7591"/>
                      </a:cubicBezTo>
                      <a:lnTo>
                        <a:pt x="40915" y="7591"/>
                      </a:lnTo>
                      <a:cubicBezTo>
                        <a:pt x="77201" y="-10334"/>
                        <a:pt x="121312" y="4574"/>
                        <a:pt x="139264" y="40860"/>
                      </a:cubicBezTo>
                      <a:cubicBezTo>
                        <a:pt x="157215" y="77146"/>
                        <a:pt x="142281" y="121257"/>
                        <a:pt x="106021" y="139209"/>
                      </a:cubicBezTo>
                      <a:cubicBezTo>
                        <a:pt x="95562" y="144349"/>
                        <a:pt x="84489" y="146804"/>
                        <a:pt x="73570" y="146804"/>
                      </a:cubicBezTo>
                      <a:close/>
                      <a:moveTo>
                        <a:pt x="46822" y="19559"/>
                      </a:moveTo>
                      <a:cubicBezTo>
                        <a:pt x="17133" y="34237"/>
                        <a:pt x="4936" y="70344"/>
                        <a:pt x="19614" y="100033"/>
                      </a:cubicBezTo>
                      <a:cubicBezTo>
                        <a:pt x="26723" y="114404"/>
                        <a:pt x="39023" y="125170"/>
                        <a:pt x="54212" y="130310"/>
                      </a:cubicBezTo>
                      <a:cubicBezTo>
                        <a:pt x="69402" y="135450"/>
                        <a:pt x="85691" y="134350"/>
                        <a:pt x="100088" y="127241"/>
                      </a:cubicBezTo>
                      <a:cubicBezTo>
                        <a:pt x="129777" y="112563"/>
                        <a:pt x="141974" y="76456"/>
                        <a:pt x="127296" y="46793"/>
                      </a:cubicBezTo>
                      <a:cubicBezTo>
                        <a:pt x="112592" y="17078"/>
                        <a:pt x="76511" y="4906"/>
                        <a:pt x="46822" y="19559"/>
                      </a:cubicBezTo>
                      <a:lnTo>
                        <a:pt x="46822" y="19559"/>
                      </a:lnTo>
                      <a:close/>
                    </a:path>
                  </a:pathLst>
                </a:custGeom>
                <a:solidFill>
                  <a:schemeClr val="accent1"/>
                </a:solidFill>
                <a:ln w="2553" cap="flat">
                  <a:noFill/>
                  <a:prstDash val="solid"/>
                  <a:miter/>
                </a:ln>
              </p:spPr>
              <p:txBody>
                <a:bodyPr rtlCol="0" anchor="ctr"/>
                <a:lstStyle/>
                <a:p>
                  <a:endParaRPr lang="en-GB" dirty="0"/>
                </a:p>
              </p:txBody>
            </p:sp>
            <p:grpSp>
              <p:nvGrpSpPr>
                <p:cNvPr id="1240" name="Grafik 313">
                  <a:extLst>
                    <a:ext uri="{FF2B5EF4-FFF2-40B4-BE49-F238E27FC236}">
                      <a16:creationId xmlns:a16="http://schemas.microsoft.com/office/drawing/2014/main" id="{F6FC4DF7-E629-4EE5-9B71-5E2F2205F295}"/>
                    </a:ext>
                  </a:extLst>
                </p:cNvPr>
                <p:cNvGrpSpPr/>
                <p:nvPr/>
              </p:nvGrpSpPr>
              <p:grpSpPr>
                <a:xfrm>
                  <a:off x="6123736" y="3622202"/>
                  <a:ext cx="135099" cy="83711"/>
                  <a:chOff x="6123736" y="3622202"/>
                  <a:chExt cx="135099" cy="83711"/>
                </a:xfrm>
                <a:solidFill>
                  <a:schemeClr val="accent1"/>
                </a:solidFill>
              </p:grpSpPr>
              <p:sp>
                <p:nvSpPr>
                  <p:cNvPr id="1241" name="Freihandform: Form 1240">
                    <a:extLst>
                      <a:ext uri="{FF2B5EF4-FFF2-40B4-BE49-F238E27FC236}">
                        <a16:creationId xmlns:a16="http://schemas.microsoft.com/office/drawing/2014/main" id="{0E1E2D64-C7CB-4FBB-9362-5559A00CAA2B}"/>
                      </a:ext>
                    </a:extLst>
                  </p:cNvPr>
                  <p:cNvSpPr/>
                  <p:nvPr/>
                </p:nvSpPr>
                <p:spPr>
                  <a:xfrm>
                    <a:off x="6204667" y="3622202"/>
                    <a:ext cx="54169" cy="33642"/>
                  </a:xfrm>
                  <a:custGeom>
                    <a:avLst/>
                    <a:gdLst>
                      <a:gd name="connsiteX0" fmla="*/ 6678 w 54169"/>
                      <a:gd name="connsiteY0" fmla="*/ 33642 h 33642"/>
                      <a:gd name="connsiteX1" fmla="*/ 695 w 54169"/>
                      <a:gd name="connsiteY1" fmla="*/ 29934 h 33642"/>
                      <a:gd name="connsiteX2" fmla="*/ 3712 w 54169"/>
                      <a:gd name="connsiteY2" fmla="*/ 20984 h 33642"/>
                      <a:gd name="connsiteX3" fmla="*/ 44524 w 54169"/>
                      <a:gd name="connsiteY3" fmla="*/ 706 h 33642"/>
                      <a:gd name="connsiteX4" fmla="*/ 53474 w 54169"/>
                      <a:gd name="connsiteY4" fmla="*/ 3723 h 33642"/>
                      <a:gd name="connsiteX5" fmla="*/ 50457 w 54169"/>
                      <a:gd name="connsiteY5" fmla="*/ 12673 h 33642"/>
                      <a:gd name="connsiteX6" fmla="*/ 9645 w 54169"/>
                      <a:gd name="connsiteY6" fmla="*/ 32952 h 33642"/>
                      <a:gd name="connsiteX7" fmla="*/ 6678 w 54169"/>
                      <a:gd name="connsiteY7" fmla="*/ 33642 h 3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69" h="33642">
                        <a:moveTo>
                          <a:pt x="6678" y="33642"/>
                        </a:moveTo>
                        <a:cubicBezTo>
                          <a:pt x="4223" y="33642"/>
                          <a:pt x="1871" y="32287"/>
                          <a:pt x="695" y="29934"/>
                        </a:cubicBezTo>
                        <a:cubicBezTo>
                          <a:pt x="-942" y="26635"/>
                          <a:pt x="413" y="22621"/>
                          <a:pt x="3712" y="20984"/>
                        </a:cubicBezTo>
                        <a:lnTo>
                          <a:pt x="44524" y="706"/>
                        </a:lnTo>
                        <a:cubicBezTo>
                          <a:pt x="47798" y="-956"/>
                          <a:pt x="51838" y="424"/>
                          <a:pt x="53474" y="3723"/>
                        </a:cubicBezTo>
                        <a:cubicBezTo>
                          <a:pt x="55111" y="7022"/>
                          <a:pt x="53756" y="11037"/>
                          <a:pt x="50457" y="12673"/>
                        </a:cubicBezTo>
                        <a:lnTo>
                          <a:pt x="9645" y="32952"/>
                        </a:lnTo>
                        <a:cubicBezTo>
                          <a:pt x="8673" y="33412"/>
                          <a:pt x="7676" y="33642"/>
                          <a:pt x="6678" y="33642"/>
                        </a:cubicBezTo>
                        <a:close/>
                      </a:path>
                    </a:pathLst>
                  </a:custGeom>
                  <a:solidFill>
                    <a:schemeClr val="accent1"/>
                  </a:solidFill>
                  <a:ln w="2553" cap="flat">
                    <a:noFill/>
                    <a:prstDash val="solid"/>
                    <a:miter/>
                  </a:ln>
                </p:spPr>
                <p:txBody>
                  <a:bodyPr rtlCol="0" anchor="ctr"/>
                  <a:lstStyle/>
                  <a:p>
                    <a:endParaRPr lang="en-GB" dirty="0"/>
                  </a:p>
                </p:txBody>
              </p:sp>
              <p:sp>
                <p:nvSpPr>
                  <p:cNvPr id="1242" name="Freihandform: Form 1241">
                    <a:extLst>
                      <a:ext uri="{FF2B5EF4-FFF2-40B4-BE49-F238E27FC236}">
                        <a16:creationId xmlns:a16="http://schemas.microsoft.com/office/drawing/2014/main" id="{BFEDC661-F84F-4BF4-AE08-F6F89044DB86}"/>
                      </a:ext>
                    </a:extLst>
                  </p:cNvPr>
                  <p:cNvSpPr/>
                  <p:nvPr/>
                </p:nvSpPr>
                <p:spPr>
                  <a:xfrm>
                    <a:off x="6123736" y="3624975"/>
                    <a:ext cx="102105" cy="80938"/>
                  </a:xfrm>
                  <a:custGeom>
                    <a:avLst/>
                    <a:gdLst>
                      <a:gd name="connsiteX0" fmla="*/ 26723 w 102105"/>
                      <a:gd name="connsiteY0" fmla="*/ 80939 h 80938"/>
                      <a:gd name="connsiteX1" fmla="*/ 18156 w 102105"/>
                      <a:gd name="connsiteY1" fmla="*/ 79507 h 80938"/>
                      <a:gd name="connsiteX2" fmla="*/ 2788 w 102105"/>
                      <a:gd name="connsiteY2" fmla="*/ 66056 h 80938"/>
                      <a:gd name="connsiteX3" fmla="*/ 1432 w 102105"/>
                      <a:gd name="connsiteY3" fmla="*/ 45675 h 80938"/>
                      <a:gd name="connsiteX4" fmla="*/ 14883 w 102105"/>
                      <a:gd name="connsiteY4" fmla="*/ 30281 h 80938"/>
                      <a:gd name="connsiteX5" fmla="*/ 74721 w 102105"/>
                      <a:gd name="connsiteY5" fmla="*/ 695 h 80938"/>
                      <a:gd name="connsiteX6" fmla="*/ 83671 w 102105"/>
                      <a:gd name="connsiteY6" fmla="*/ 3712 h 80938"/>
                      <a:gd name="connsiteX7" fmla="*/ 101418 w 102105"/>
                      <a:gd name="connsiteY7" fmla="*/ 39615 h 80938"/>
                      <a:gd name="connsiteX8" fmla="*/ 101750 w 102105"/>
                      <a:gd name="connsiteY8" fmla="*/ 44703 h 80938"/>
                      <a:gd name="connsiteX9" fmla="*/ 98375 w 102105"/>
                      <a:gd name="connsiteY9" fmla="*/ 48539 h 80938"/>
                      <a:gd name="connsiteX10" fmla="*/ 38537 w 102105"/>
                      <a:gd name="connsiteY10" fmla="*/ 78126 h 80938"/>
                      <a:gd name="connsiteX11" fmla="*/ 26723 w 102105"/>
                      <a:gd name="connsiteY11" fmla="*/ 80939 h 80938"/>
                      <a:gd name="connsiteX12" fmla="*/ 74619 w 102105"/>
                      <a:gd name="connsiteY12" fmla="*/ 15629 h 80938"/>
                      <a:gd name="connsiteX13" fmla="*/ 20765 w 102105"/>
                      <a:gd name="connsiteY13" fmla="*/ 42274 h 80938"/>
                      <a:gd name="connsiteX14" fmla="*/ 14039 w 102105"/>
                      <a:gd name="connsiteY14" fmla="*/ 49971 h 80938"/>
                      <a:gd name="connsiteX15" fmla="*/ 14730 w 102105"/>
                      <a:gd name="connsiteY15" fmla="*/ 60174 h 80938"/>
                      <a:gd name="connsiteX16" fmla="*/ 14730 w 102105"/>
                      <a:gd name="connsiteY16" fmla="*/ 60174 h 80938"/>
                      <a:gd name="connsiteX17" fmla="*/ 22427 w 102105"/>
                      <a:gd name="connsiteY17" fmla="*/ 66900 h 80938"/>
                      <a:gd name="connsiteX18" fmla="*/ 32630 w 102105"/>
                      <a:gd name="connsiteY18" fmla="*/ 66235 h 80938"/>
                      <a:gd name="connsiteX19" fmla="*/ 86484 w 102105"/>
                      <a:gd name="connsiteY19" fmla="*/ 39589 h 80938"/>
                      <a:gd name="connsiteX20" fmla="*/ 74619 w 102105"/>
                      <a:gd name="connsiteY20" fmla="*/ 15629 h 80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105" h="80938">
                        <a:moveTo>
                          <a:pt x="26723" y="80939"/>
                        </a:moveTo>
                        <a:cubicBezTo>
                          <a:pt x="23833" y="80939"/>
                          <a:pt x="20944" y="80478"/>
                          <a:pt x="18156" y="79507"/>
                        </a:cubicBezTo>
                        <a:cubicBezTo>
                          <a:pt x="11405" y="77231"/>
                          <a:pt x="5933" y="72449"/>
                          <a:pt x="2788" y="66056"/>
                        </a:cubicBezTo>
                        <a:cubicBezTo>
                          <a:pt x="-383" y="59663"/>
                          <a:pt x="-869" y="52426"/>
                          <a:pt x="1432" y="45675"/>
                        </a:cubicBezTo>
                        <a:cubicBezTo>
                          <a:pt x="3708" y="38924"/>
                          <a:pt x="8490" y="33452"/>
                          <a:pt x="14883" y="30281"/>
                        </a:cubicBezTo>
                        <a:lnTo>
                          <a:pt x="74721" y="695"/>
                        </a:lnTo>
                        <a:cubicBezTo>
                          <a:pt x="78020" y="-942"/>
                          <a:pt x="82034" y="413"/>
                          <a:pt x="83671" y="3712"/>
                        </a:cubicBezTo>
                        <a:lnTo>
                          <a:pt x="101418" y="39615"/>
                        </a:lnTo>
                        <a:cubicBezTo>
                          <a:pt x="102210" y="41200"/>
                          <a:pt x="102313" y="43041"/>
                          <a:pt x="101750" y="44703"/>
                        </a:cubicBezTo>
                        <a:cubicBezTo>
                          <a:pt x="101188" y="46366"/>
                          <a:pt x="99986" y="47772"/>
                          <a:pt x="98375" y="48539"/>
                        </a:cubicBezTo>
                        <a:lnTo>
                          <a:pt x="38537" y="78126"/>
                        </a:lnTo>
                        <a:cubicBezTo>
                          <a:pt x="34803" y="79992"/>
                          <a:pt x="30763" y="80939"/>
                          <a:pt x="26723" y="80939"/>
                        </a:cubicBezTo>
                        <a:close/>
                        <a:moveTo>
                          <a:pt x="74619" y="15629"/>
                        </a:moveTo>
                        <a:lnTo>
                          <a:pt x="20765" y="42274"/>
                        </a:lnTo>
                        <a:cubicBezTo>
                          <a:pt x="17568" y="43860"/>
                          <a:pt x="15190" y="46570"/>
                          <a:pt x="14039" y="49971"/>
                        </a:cubicBezTo>
                        <a:cubicBezTo>
                          <a:pt x="12889" y="53347"/>
                          <a:pt x="13144" y="56978"/>
                          <a:pt x="14730" y="60174"/>
                        </a:cubicBezTo>
                        <a:lnTo>
                          <a:pt x="14730" y="60174"/>
                        </a:lnTo>
                        <a:cubicBezTo>
                          <a:pt x="16315" y="63371"/>
                          <a:pt x="19051" y="65749"/>
                          <a:pt x="22427" y="66900"/>
                        </a:cubicBezTo>
                        <a:cubicBezTo>
                          <a:pt x="25802" y="68050"/>
                          <a:pt x="29433" y="67795"/>
                          <a:pt x="32630" y="66235"/>
                        </a:cubicBezTo>
                        <a:lnTo>
                          <a:pt x="86484" y="39589"/>
                        </a:lnTo>
                        <a:lnTo>
                          <a:pt x="74619" y="15629"/>
                        </a:lnTo>
                        <a:close/>
                      </a:path>
                    </a:pathLst>
                  </a:custGeom>
                  <a:solidFill>
                    <a:schemeClr val="accent1"/>
                  </a:solidFill>
                  <a:ln w="2553" cap="flat">
                    <a:noFill/>
                    <a:prstDash val="solid"/>
                    <a:miter/>
                  </a:ln>
                </p:spPr>
                <p:txBody>
                  <a:bodyPr rtlCol="0" anchor="ctr"/>
                  <a:lstStyle/>
                  <a:p>
                    <a:endParaRPr lang="en-GB" dirty="0"/>
                  </a:p>
                </p:txBody>
              </p:sp>
            </p:grpSp>
          </p:grpSp>
        </p:grpSp>
      </p:grpSp>
      <p:sp>
        <p:nvSpPr>
          <p:cNvPr id="1248" name="TextBox 1428">
            <a:extLst>
              <a:ext uri="{FF2B5EF4-FFF2-40B4-BE49-F238E27FC236}">
                <a16:creationId xmlns:a16="http://schemas.microsoft.com/office/drawing/2014/main" id="{04769FAE-5C8E-46E8-B3A3-AFC0855775A9}"/>
              </a:ext>
            </a:extLst>
          </p:cNvPr>
          <p:cNvSpPr txBox="1"/>
          <p:nvPr/>
        </p:nvSpPr>
        <p:spPr>
          <a:xfrm>
            <a:off x="6049510" y="3723675"/>
            <a:ext cx="418384" cy="215444"/>
          </a:xfrm>
          <a:prstGeom prst="rect">
            <a:avLst/>
          </a:prstGeom>
          <a:noFill/>
          <a:effectLst/>
        </p:spPr>
        <p:txBody>
          <a:bodyPr wrap="none" lIns="0" tIns="0" rIns="0" bIns="0" rtlCol="0" anchor="t" anchorCtr="0">
            <a:spAutoFit/>
          </a:bodyPr>
          <a:lstStyle/>
          <a:p>
            <a:pPr algn="ctr"/>
            <a:r>
              <a:rPr lang="en-GB" sz="700" dirty="0">
                <a:solidFill>
                  <a:schemeClr val="tx2"/>
                </a:solidFill>
              </a:rPr>
              <a:t>Measuring</a:t>
            </a:r>
            <a:br>
              <a:rPr lang="en-GB" sz="700" dirty="0">
                <a:solidFill>
                  <a:schemeClr val="tx2"/>
                </a:solidFill>
              </a:rPr>
            </a:br>
            <a:r>
              <a:rPr lang="en-GB" sz="700" dirty="0">
                <a:solidFill>
                  <a:schemeClr val="tx2"/>
                </a:solidFill>
              </a:rPr>
              <a:t>analytics</a:t>
            </a:r>
          </a:p>
        </p:txBody>
      </p:sp>
      <p:sp>
        <p:nvSpPr>
          <p:cNvPr id="1622" name="TextBox 1423">
            <a:extLst>
              <a:ext uri="{FF2B5EF4-FFF2-40B4-BE49-F238E27FC236}">
                <a16:creationId xmlns:a16="http://schemas.microsoft.com/office/drawing/2014/main" id="{70FF5E9F-D2AB-4260-BB14-2A57F83B9279}"/>
              </a:ext>
            </a:extLst>
          </p:cNvPr>
          <p:cNvSpPr txBox="1"/>
          <p:nvPr/>
        </p:nvSpPr>
        <p:spPr>
          <a:xfrm>
            <a:off x="7107768" y="4547732"/>
            <a:ext cx="392736" cy="107722"/>
          </a:xfrm>
          <a:prstGeom prst="rect">
            <a:avLst/>
          </a:prstGeom>
          <a:noFill/>
          <a:effectLst/>
        </p:spPr>
        <p:txBody>
          <a:bodyPr wrap="none" lIns="0" tIns="0" rIns="0" bIns="0" rtlCol="0" anchor="t" anchorCtr="0">
            <a:spAutoFit/>
          </a:bodyPr>
          <a:lstStyle/>
          <a:p>
            <a:pPr algn="ctr"/>
            <a:r>
              <a:rPr lang="en-GB" sz="700" dirty="0">
                <a:solidFill>
                  <a:schemeClr val="tx2"/>
                </a:solidFill>
              </a:rPr>
              <a:t>Feedback</a:t>
            </a:r>
          </a:p>
        </p:txBody>
      </p:sp>
      <p:grpSp>
        <p:nvGrpSpPr>
          <p:cNvPr id="61" name="Group 60">
            <a:extLst>
              <a:ext uri="{FF2B5EF4-FFF2-40B4-BE49-F238E27FC236}">
                <a16:creationId xmlns:a16="http://schemas.microsoft.com/office/drawing/2014/main" id="{3240B18C-409C-DA12-A909-F8A22933BC42}"/>
              </a:ext>
            </a:extLst>
          </p:cNvPr>
          <p:cNvGrpSpPr/>
          <p:nvPr/>
        </p:nvGrpSpPr>
        <p:grpSpPr>
          <a:xfrm>
            <a:off x="4970378" y="4097454"/>
            <a:ext cx="485781" cy="432000"/>
            <a:chOff x="4969966" y="4097454"/>
            <a:chExt cx="485781" cy="432000"/>
          </a:xfrm>
        </p:grpSpPr>
        <p:grpSp>
          <p:nvGrpSpPr>
            <p:cNvPr id="1624" name="Gruppieren 1623">
              <a:extLst>
                <a:ext uri="{FF2B5EF4-FFF2-40B4-BE49-F238E27FC236}">
                  <a16:creationId xmlns:a16="http://schemas.microsoft.com/office/drawing/2014/main" id="{646F3019-28EB-4717-985E-D35E6F681C96}"/>
                </a:ext>
              </a:extLst>
            </p:cNvPr>
            <p:cNvGrpSpPr/>
            <p:nvPr/>
          </p:nvGrpSpPr>
          <p:grpSpPr>
            <a:xfrm>
              <a:off x="5034686" y="4097454"/>
              <a:ext cx="354404" cy="347985"/>
              <a:chOff x="5362160" y="4177353"/>
              <a:chExt cx="360283" cy="353758"/>
            </a:xfrm>
            <a:solidFill>
              <a:schemeClr val="tx2"/>
            </a:solidFill>
          </p:grpSpPr>
          <p:grpSp>
            <p:nvGrpSpPr>
              <p:cNvPr id="1634" name="Grafik 313">
                <a:extLst>
                  <a:ext uri="{FF2B5EF4-FFF2-40B4-BE49-F238E27FC236}">
                    <a16:creationId xmlns:a16="http://schemas.microsoft.com/office/drawing/2014/main" id="{09737C3C-D7A4-4B39-A8F3-6D300C0BAFEB}"/>
                  </a:ext>
                </a:extLst>
              </p:cNvPr>
              <p:cNvGrpSpPr/>
              <p:nvPr/>
            </p:nvGrpSpPr>
            <p:grpSpPr>
              <a:xfrm>
                <a:off x="5496592" y="4177353"/>
                <a:ext cx="93438" cy="206925"/>
                <a:chOff x="5496592" y="4177353"/>
                <a:chExt cx="93438" cy="206925"/>
              </a:xfrm>
              <a:grpFill/>
            </p:grpSpPr>
            <p:sp>
              <p:nvSpPr>
                <p:cNvPr id="1636" name="Freihandform: Form 1635">
                  <a:extLst>
                    <a:ext uri="{FF2B5EF4-FFF2-40B4-BE49-F238E27FC236}">
                      <a16:creationId xmlns:a16="http://schemas.microsoft.com/office/drawing/2014/main" id="{CA7D2111-0912-492A-A49F-E4A2785F00FD}"/>
                    </a:ext>
                  </a:extLst>
                </p:cNvPr>
                <p:cNvSpPr/>
                <p:nvPr/>
              </p:nvSpPr>
              <p:spPr>
                <a:xfrm>
                  <a:off x="5496592" y="4177353"/>
                  <a:ext cx="93438" cy="106787"/>
                </a:xfrm>
                <a:custGeom>
                  <a:avLst/>
                  <a:gdLst>
                    <a:gd name="connsiteX0" fmla="*/ 46719 w 93438"/>
                    <a:gd name="connsiteY0" fmla="*/ 106787 h 106787"/>
                    <a:gd name="connsiteX1" fmla="*/ 0 w 93438"/>
                    <a:gd name="connsiteY1" fmla="*/ 53394 h 106787"/>
                    <a:gd name="connsiteX2" fmla="*/ 46719 w 93438"/>
                    <a:gd name="connsiteY2" fmla="*/ 0 h 106787"/>
                    <a:gd name="connsiteX3" fmla="*/ 93439 w 93438"/>
                    <a:gd name="connsiteY3" fmla="*/ 53394 h 106787"/>
                    <a:gd name="connsiteX4" fmla="*/ 46719 w 93438"/>
                    <a:gd name="connsiteY4" fmla="*/ 106787 h 106787"/>
                    <a:gd name="connsiteX5" fmla="*/ 46719 w 93438"/>
                    <a:gd name="connsiteY5" fmla="*/ 13348 h 106787"/>
                    <a:gd name="connsiteX6" fmla="*/ 13348 w 93438"/>
                    <a:gd name="connsiteY6" fmla="*/ 53394 h 106787"/>
                    <a:gd name="connsiteX7" fmla="*/ 46719 w 93438"/>
                    <a:gd name="connsiteY7" fmla="*/ 93439 h 106787"/>
                    <a:gd name="connsiteX8" fmla="*/ 80090 w 93438"/>
                    <a:gd name="connsiteY8" fmla="*/ 53394 h 106787"/>
                    <a:gd name="connsiteX9" fmla="*/ 46719 w 93438"/>
                    <a:gd name="connsiteY9" fmla="*/ 13348 h 10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38" h="106787">
                      <a:moveTo>
                        <a:pt x="46719" y="106787"/>
                      </a:moveTo>
                      <a:cubicBezTo>
                        <a:pt x="18770" y="106787"/>
                        <a:pt x="0" y="85333"/>
                        <a:pt x="0" y="53394"/>
                      </a:cubicBezTo>
                      <a:cubicBezTo>
                        <a:pt x="0" y="21455"/>
                        <a:pt x="18770" y="0"/>
                        <a:pt x="46719" y="0"/>
                      </a:cubicBezTo>
                      <a:cubicBezTo>
                        <a:pt x="74669" y="0"/>
                        <a:pt x="93439" y="21455"/>
                        <a:pt x="93439" y="53394"/>
                      </a:cubicBezTo>
                      <a:cubicBezTo>
                        <a:pt x="93439" y="85333"/>
                        <a:pt x="74669" y="106787"/>
                        <a:pt x="46719" y="106787"/>
                      </a:cubicBezTo>
                      <a:close/>
                      <a:moveTo>
                        <a:pt x="46719" y="13348"/>
                      </a:moveTo>
                      <a:cubicBezTo>
                        <a:pt x="22094" y="13348"/>
                        <a:pt x="13348" y="34931"/>
                        <a:pt x="13348" y="53394"/>
                      </a:cubicBezTo>
                      <a:cubicBezTo>
                        <a:pt x="13348" y="71856"/>
                        <a:pt x="22094" y="93439"/>
                        <a:pt x="46719" y="93439"/>
                      </a:cubicBezTo>
                      <a:cubicBezTo>
                        <a:pt x="71345" y="93439"/>
                        <a:pt x="80090" y="71856"/>
                        <a:pt x="80090" y="53394"/>
                      </a:cubicBezTo>
                      <a:cubicBezTo>
                        <a:pt x="80090" y="34931"/>
                        <a:pt x="71371" y="13348"/>
                        <a:pt x="46719" y="13348"/>
                      </a:cubicBezTo>
                      <a:close/>
                    </a:path>
                  </a:pathLst>
                </a:custGeom>
                <a:grpFill/>
                <a:ln w="2553" cap="flat">
                  <a:noFill/>
                  <a:prstDash val="solid"/>
                  <a:miter/>
                </a:ln>
              </p:spPr>
              <p:txBody>
                <a:bodyPr rtlCol="0" anchor="ctr"/>
                <a:lstStyle/>
                <a:p>
                  <a:endParaRPr lang="en-GB" dirty="0"/>
                </a:p>
              </p:txBody>
            </p:sp>
            <p:sp>
              <p:nvSpPr>
                <p:cNvPr id="1637" name="Freihandform: Form 1636">
                  <a:extLst>
                    <a:ext uri="{FF2B5EF4-FFF2-40B4-BE49-F238E27FC236}">
                      <a16:creationId xmlns:a16="http://schemas.microsoft.com/office/drawing/2014/main" id="{188A1095-1035-4696-AB7B-52C6CD44F98E}"/>
                    </a:ext>
                  </a:extLst>
                </p:cNvPr>
                <p:cNvSpPr/>
                <p:nvPr/>
              </p:nvSpPr>
              <p:spPr>
                <a:xfrm>
                  <a:off x="5529963" y="4297514"/>
                  <a:ext cx="26696" cy="13348"/>
                </a:xfrm>
                <a:custGeom>
                  <a:avLst/>
                  <a:gdLst>
                    <a:gd name="connsiteX0" fmla="*/ 20023 w 26696"/>
                    <a:gd name="connsiteY0" fmla="*/ 13348 h 13348"/>
                    <a:gd name="connsiteX1" fmla="*/ 6674 w 26696"/>
                    <a:gd name="connsiteY1" fmla="*/ 13348 h 13348"/>
                    <a:gd name="connsiteX2" fmla="*/ 0 w 26696"/>
                    <a:gd name="connsiteY2" fmla="*/ 6674 h 13348"/>
                    <a:gd name="connsiteX3" fmla="*/ 6674 w 26696"/>
                    <a:gd name="connsiteY3" fmla="*/ 0 h 13348"/>
                    <a:gd name="connsiteX4" fmla="*/ 20023 w 26696"/>
                    <a:gd name="connsiteY4" fmla="*/ 0 h 13348"/>
                    <a:gd name="connsiteX5" fmla="*/ 26697 w 26696"/>
                    <a:gd name="connsiteY5" fmla="*/ 6674 h 13348"/>
                    <a:gd name="connsiteX6" fmla="*/ 20023 w 26696"/>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96" h="13348">
                      <a:moveTo>
                        <a:pt x="20023" y="13348"/>
                      </a:moveTo>
                      <a:lnTo>
                        <a:pt x="6674" y="13348"/>
                      </a:lnTo>
                      <a:cubicBezTo>
                        <a:pt x="2992" y="13348"/>
                        <a:pt x="0" y="10356"/>
                        <a:pt x="0" y="6674"/>
                      </a:cubicBezTo>
                      <a:cubicBezTo>
                        <a:pt x="0" y="2992"/>
                        <a:pt x="2992" y="0"/>
                        <a:pt x="6674" y="0"/>
                      </a:cubicBezTo>
                      <a:lnTo>
                        <a:pt x="20023" y="0"/>
                      </a:lnTo>
                      <a:cubicBezTo>
                        <a:pt x="23705" y="0"/>
                        <a:pt x="26697" y="2992"/>
                        <a:pt x="26697" y="6674"/>
                      </a:cubicBezTo>
                      <a:cubicBezTo>
                        <a:pt x="26697" y="10356"/>
                        <a:pt x="23731" y="13348"/>
                        <a:pt x="20023" y="13348"/>
                      </a:cubicBezTo>
                      <a:close/>
                    </a:path>
                  </a:pathLst>
                </a:custGeom>
                <a:grpFill/>
                <a:ln w="2553" cap="flat">
                  <a:noFill/>
                  <a:prstDash val="solid"/>
                  <a:miter/>
                </a:ln>
              </p:spPr>
              <p:txBody>
                <a:bodyPr rtlCol="0" anchor="ctr"/>
                <a:lstStyle/>
                <a:p>
                  <a:endParaRPr lang="en-GB" dirty="0"/>
                </a:p>
              </p:txBody>
            </p:sp>
            <p:sp>
              <p:nvSpPr>
                <p:cNvPr id="1638" name="Freihandform: Form 1637">
                  <a:extLst>
                    <a:ext uri="{FF2B5EF4-FFF2-40B4-BE49-F238E27FC236}">
                      <a16:creationId xmlns:a16="http://schemas.microsoft.com/office/drawing/2014/main" id="{0ED8C16C-2196-405C-8C93-72FC6555DB7F}"/>
                    </a:ext>
                  </a:extLst>
                </p:cNvPr>
                <p:cNvSpPr/>
                <p:nvPr/>
              </p:nvSpPr>
              <p:spPr>
                <a:xfrm>
                  <a:off x="5536637" y="4297514"/>
                  <a:ext cx="13348" cy="86764"/>
                </a:xfrm>
                <a:custGeom>
                  <a:avLst/>
                  <a:gdLst>
                    <a:gd name="connsiteX0" fmla="*/ 6674 w 13348"/>
                    <a:gd name="connsiteY0" fmla="*/ 86765 h 86764"/>
                    <a:gd name="connsiteX1" fmla="*/ 0 w 13348"/>
                    <a:gd name="connsiteY1" fmla="*/ 80090 h 86764"/>
                    <a:gd name="connsiteX2" fmla="*/ 0 w 13348"/>
                    <a:gd name="connsiteY2" fmla="*/ 6674 h 86764"/>
                    <a:gd name="connsiteX3" fmla="*/ 6674 w 13348"/>
                    <a:gd name="connsiteY3" fmla="*/ 0 h 86764"/>
                    <a:gd name="connsiteX4" fmla="*/ 13348 w 13348"/>
                    <a:gd name="connsiteY4" fmla="*/ 6674 h 86764"/>
                    <a:gd name="connsiteX5" fmla="*/ 13348 w 13348"/>
                    <a:gd name="connsiteY5" fmla="*/ 80090 h 86764"/>
                    <a:gd name="connsiteX6" fmla="*/ 6674 w 13348"/>
                    <a:gd name="connsiteY6" fmla="*/ 86765 h 8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86764">
                      <a:moveTo>
                        <a:pt x="6674" y="86765"/>
                      </a:moveTo>
                      <a:cubicBezTo>
                        <a:pt x="2992" y="86765"/>
                        <a:pt x="0" y="83773"/>
                        <a:pt x="0" y="80090"/>
                      </a:cubicBezTo>
                      <a:lnTo>
                        <a:pt x="0" y="6674"/>
                      </a:lnTo>
                      <a:cubicBezTo>
                        <a:pt x="0" y="2992"/>
                        <a:pt x="2992" y="0"/>
                        <a:pt x="6674" y="0"/>
                      </a:cubicBezTo>
                      <a:cubicBezTo>
                        <a:pt x="10356" y="0"/>
                        <a:pt x="13348" y="2992"/>
                        <a:pt x="13348" y="6674"/>
                      </a:cubicBezTo>
                      <a:lnTo>
                        <a:pt x="13348" y="80090"/>
                      </a:lnTo>
                      <a:cubicBezTo>
                        <a:pt x="13348" y="83773"/>
                        <a:pt x="10382" y="86765"/>
                        <a:pt x="6674" y="86765"/>
                      </a:cubicBezTo>
                      <a:close/>
                    </a:path>
                  </a:pathLst>
                </a:custGeom>
                <a:grpFill/>
                <a:ln w="2553" cap="flat">
                  <a:noFill/>
                  <a:prstDash val="solid"/>
                  <a:miter/>
                </a:ln>
              </p:spPr>
              <p:txBody>
                <a:bodyPr rtlCol="0" anchor="ctr"/>
                <a:lstStyle/>
                <a:p>
                  <a:endParaRPr lang="en-GB" dirty="0"/>
                </a:p>
              </p:txBody>
            </p:sp>
          </p:grpSp>
          <p:sp>
            <p:nvSpPr>
              <p:cNvPr id="1635" name="Freihandform: Form 1634">
                <a:extLst>
                  <a:ext uri="{FF2B5EF4-FFF2-40B4-BE49-F238E27FC236}">
                    <a16:creationId xmlns:a16="http://schemas.microsoft.com/office/drawing/2014/main" id="{C91B1986-7F2A-43E4-BB6F-C8037DB10382}"/>
                  </a:ext>
                </a:extLst>
              </p:cNvPr>
              <p:cNvSpPr/>
              <p:nvPr/>
            </p:nvSpPr>
            <p:spPr>
              <a:xfrm>
                <a:off x="5362160" y="4201746"/>
                <a:ext cx="360283" cy="329365"/>
              </a:xfrm>
              <a:custGeom>
                <a:avLst/>
                <a:gdLst>
                  <a:gd name="connsiteX0" fmla="*/ 247918 w 360283"/>
                  <a:gd name="connsiteY0" fmla="*/ 329365 h 329365"/>
                  <a:gd name="connsiteX1" fmla="*/ 241244 w 360283"/>
                  <a:gd name="connsiteY1" fmla="*/ 322691 h 329365"/>
                  <a:gd name="connsiteX2" fmla="*/ 241244 w 360283"/>
                  <a:gd name="connsiteY2" fmla="*/ 162485 h 329365"/>
                  <a:gd name="connsiteX3" fmla="*/ 242753 w 360283"/>
                  <a:gd name="connsiteY3" fmla="*/ 158265 h 329365"/>
                  <a:gd name="connsiteX4" fmla="*/ 344554 w 360283"/>
                  <a:gd name="connsiteY4" fmla="*/ 33936 h 329365"/>
                  <a:gd name="connsiteX5" fmla="*/ 346778 w 360283"/>
                  <a:gd name="connsiteY5" fmla="*/ 24295 h 329365"/>
                  <a:gd name="connsiteX6" fmla="*/ 341485 w 360283"/>
                  <a:gd name="connsiteY6" fmla="*/ 15550 h 329365"/>
                  <a:gd name="connsiteX7" fmla="*/ 321769 w 360283"/>
                  <a:gd name="connsiteY7" fmla="*/ 19513 h 329365"/>
                  <a:gd name="connsiteX8" fmla="*/ 226643 w 360283"/>
                  <a:gd name="connsiteY8" fmla="*/ 106483 h 329365"/>
                  <a:gd name="connsiteX9" fmla="*/ 187160 w 360283"/>
                  <a:gd name="connsiteY9" fmla="*/ 185474 h 329365"/>
                  <a:gd name="connsiteX10" fmla="*/ 181202 w 360283"/>
                  <a:gd name="connsiteY10" fmla="*/ 189156 h 329365"/>
                  <a:gd name="connsiteX11" fmla="*/ 181202 w 360283"/>
                  <a:gd name="connsiteY11" fmla="*/ 189156 h 329365"/>
                  <a:gd name="connsiteX12" fmla="*/ 175244 w 360283"/>
                  <a:gd name="connsiteY12" fmla="*/ 185499 h 329365"/>
                  <a:gd name="connsiteX13" fmla="*/ 135326 w 360283"/>
                  <a:gd name="connsiteY13" fmla="*/ 106534 h 329365"/>
                  <a:gd name="connsiteX14" fmla="*/ 38410 w 360283"/>
                  <a:gd name="connsiteY14" fmla="*/ 20229 h 329365"/>
                  <a:gd name="connsiteX15" fmla="*/ 18796 w 360283"/>
                  <a:gd name="connsiteY15" fmla="*/ 16342 h 329365"/>
                  <a:gd name="connsiteX16" fmla="*/ 15958 w 360283"/>
                  <a:gd name="connsiteY16" fmla="*/ 35010 h 329365"/>
                  <a:gd name="connsiteX17" fmla="*/ 119574 w 360283"/>
                  <a:gd name="connsiteY17" fmla="*/ 158163 h 329365"/>
                  <a:gd name="connsiteX18" fmla="*/ 121134 w 360283"/>
                  <a:gd name="connsiteY18" fmla="*/ 162459 h 329365"/>
                  <a:gd name="connsiteX19" fmla="*/ 121134 w 360283"/>
                  <a:gd name="connsiteY19" fmla="*/ 322666 h 329365"/>
                  <a:gd name="connsiteX20" fmla="*/ 114460 w 360283"/>
                  <a:gd name="connsiteY20" fmla="*/ 329340 h 329365"/>
                  <a:gd name="connsiteX21" fmla="*/ 107786 w 360283"/>
                  <a:gd name="connsiteY21" fmla="*/ 322666 h 329365"/>
                  <a:gd name="connsiteX22" fmla="*/ 107786 w 360283"/>
                  <a:gd name="connsiteY22" fmla="*/ 164914 h 329365"/>
                  <a:gd name="connsiteX23" fmla="*/ 5473 w 360283"/>
                  <a:gd name="connsiteY23" fmla="*/ 43295 h 329365"/>
                  <a:gd name="connsiteX24" fmla="*/ 308 w 360283"/>
                  <a:gd name="connsiteY24" fmla="*/ 23119 h 329365"/>
                  <a:gd name="connsiteX25" fmla="*/ 10895 w 360283"/>
                  <a:gd name="connsiteY25" fmla="*/ 5628 h 329365"/>
                  <a:gd name="connsiteX26" fmla="*/ 47539 w 360283"/>
                  <a:gd name="connsiteY26" fmla="*/ 10538 h 329365"/>
                  <a:gd name="connsiteX27" fmla="*/ 145146 w 360283"/>
                  <a:gd name="connsiteY27" fmla="*/ 97430 h 329365"/>
                  <a:gd name="connsiteX28" fmla="*/ 146655 w 360283"/>
                  <a:gd name="connsiteY28" fmla="*/ 99399 h 329365"/>
                  <a:gd name="connsiteX29" fmla="*/ 181151 w 360283"/>
                  <a:gd name="connsiteY29" fmla="*/ 167650 h 329365"/>
                  <a:gd name="connsiteX30" fmla="*/ 215263 w 360283"/>
                  <a:gd name="connsiteY30" fmla="*/ 99425 h 329365"/>
                  <a:gd name="connsiteX31" fmla="*/ 216721 w 360283"/>
                  <a:gd name="connsiteY31" fmla="*/ 97481 h 329365"/>
                  <a:gd name="connsiteX32" fmla="*/ 312947 w 360283"/>
                  <a:gd name="connsiteY32" fmla="*/ 9515 h 329365"/>
                  <a:gd name="connsiteX33" fmla="*/ 349387 w 360283"/>
                  <a:gd name="connsiteY33" fmla="*/ 4784 h 329365"/>
                  <a:gd name="connsiteX34" fmla="*/ 359973 w 360283"/>
                  <a:gd name="connsiteY34" fmla="*/ 22275 h 329365"/>
                  <a:gd name="connsiteX35" fmla="*/ 355089 w 360283"/>
                  <a:gd name="connsiteY35" fmla="*/ 42119 h 329365"/>
                  <a:gd name="connsiteX36" fmla="*/ 254593 w 360283"/>
                  <a:gd name="connsiteY36" fmla="*/ 164863 h 329365"/>
                  <a:gd name="connsiteX37" fmla="*/ 254593 w 360283"/>
                  <a:gd name="connsiteY37" fmla="*/ 322666 h 329365"/>
                  <a:gd name="connsiteX38" fmla="*/ 247918 w 360283"/>
                  <a:gd name="connsiteY38" fmla="*/ 329365 h 329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0283" h="329365">
                    <a:moveTo>
                      <a:pt x="247918" y="329365"/>
                    </a:moveTo>
                    <a:cubicBezTo>
                      <a:pt x="244236" y="329365"/>
                      <a:pt x="241244" y="326373"/>
                      <a:pt x="241244" y="322691"/>
                    </a:cubicBezTo>
                    <a:lnTo>
                      <a:pt x="241244" y="162485"/>
                    </a:lnTo>
                    <a:cubicBezTo>
                      <a:pt x="241244" y="160950"/>
                      <a:pt x="241781" y="159441"/>
                      <a:pt x="242753" y="158265"/>
                    </a:cubicBezTo>
                    <a:lnTo>
                      <a:pt x="344554" y="33936"/>
                    </a:lnTo>
                    <a:cubicBezTo>
                      <a:pt x="346446" y="31353"/>
                      <a:pt x="347315" y="27824"/>
                      <a:pt x="346778" y="24295"/>
                    </a:cubicBezTo>
                    <a:cubicBezTo>
                      <a:pt x="346241" y="20766"/>
                      <a:pt x="344375" y="17672"/>
                      <a:pt x="341485" y="15550"/>
                    </a:cubicBezTo>
                    <a:cubicBezTo>
                      <a:pt x="336141" y="11637"/>
                      <a:pt x="329492" y="12967"/>
                      <a:pt x="321769" y="19513"/>
                    </a:cubicBezTo>
                    <a:lnTo>
                      <a:pt x="226643" y="106483"/>
                    </a:lnTo>
                    <a:lnTo>
                      <a:pt x="187160" y="185474"/>
                    </a:lnTo>
                    <a:cubicBezTo>
                      <a:pt x="186035" y="187724"/>
                      <a:pt x="183734" y="189156"/>
                      <a:pt x="181202" y="189156"/>
                    </a:cubicBezTo>
                    <a:cubicBezTo>
                      <a:pt x="181202" y="189156"/>
                      <a:pt x="181202" y="189156"/>
                      <a:pt x="181202" y="189156"/>
                    </a:cubicBezTo>
                    <a:cubicBezTo>
                      <a:pt x="178670" y="189156"/>
                      <a:pt x="176369" y="187749"/>
                      <a:pt x="175244" y="185499"/>
                    </a:cubicBezTo>
                    <a:lnTo>
                      <a:pt x="135326" y="106534"/>
                    </a:lnTo>
                    <a:lnTo>
                      <a:pt x="38410" y="20229"/>
                    </a:lnTo>
                    <a:cubicBezTo>
                      <a:pt x="35034" y="16905"/>
                      <a:pt x="26928" y="10384"/>
                      <a:pt x="18796" y="16342"/>
                    </a:cubicBezTo>
                    <a:cubicBezTo>
                      <a:pt x="12864" y="20715"/>
                      <a:pt x="11585" y="29077"/>
                      <a:pt x="15958" y="35010"/>
                    </a:cubicBezTo>
                    <a:lnTo>
                      <a:pt x="119574" y="158163"/>
                    </a:lnTo>
                    <a:cubicBezTo>
                      <a:pt x="120597" y="159365"/>
                      <a:pt x="121134" y="160899"/>
                      <a:pt x="121134" y="162459"/>
                    </a:cubicBezTo>
                    <a:lnTo>
                      <a:pt x="121134" y="322666"/>
                    </a:lnTo>
                    <a:cubicBezTo>
                      <a:pt x="121134" y="326348"/>
                      <a:pt x="118142" y="329340"/>
                      <a:pt x="114460" y="329340"/>
                    </a:cubicBezTo>
                    <a:cubicBezTo>
                      <a:pt x="110778" y="329340"/>
                      <a:pt x="107786" y="326348"/>
                      <a:pt x="107786" y="322666"/>
                    </a:cubicBezTo>
                    <a:lnTo>
                      <a:pt x="107786" y="164914"/>
                    </a:lnTo>
                    <a:lnTo>
                      <a:pt x="5473" y="43295"/>
                    </a:lnTo>
                    <a:cubicBezTo>
                      <a:pt x="973" y="37209"/>
                      <a:pt x="-766" y="30151"/>
                      <a:pt x="308" y="23119"/>
                    </a:cubicBezTo>
                    <a:cubicBezTo>
                      <a:pt x="1382" y="16061"/>
                      <a:pt x="5141" y="9873"/>
                      <a:pt x="10895" y="5628"/>
                    </a:cubicBezTo>
                    <a:cubicBezTo>
                      <a:pt x="22121" y="-2606"/>
                      <a:pt x="36134" y="-739"/>
                      <a:pt x="47539" y="10538"/>
                    </a:cubicBezTo>
                    <a:lnTo>
                      <a:pt x="145146" y="97430"/>
                    </a:lnTo>
                    <a:cubicBezTo>
                      <a:pt x="145760" y="97993"/>
                      <a:pt x="146297" y="98658"/>
                      <a:pt x="146655" y="99399"/>
                    </a:cubicBezTo>
                    <a:lnTo>
                      <a:pt x="181151" y="167650"/>
                    </a:lnTo>
                    <a:lnTo>
                      <a:pt x="215263" y="99425"/>
                    </a:lnTo>
                    <a:cubicBezTo>
                      <a:pt x="215621" y="98683"/>
                      <a:pt x="216133" y="98044"/>
                      <a:pt x="216721" y="97481"/>
                    </a:cubicBezTo>
                    <a:lnTo>
                      <a:pt x="312947" y="9515"/>
                    </a:lnTo>
                    <a:cubicBezTo>
                      <a:pt x="325656" y="-1276"/>
                      <a:pt x="338877" y="-2939"/>
                      <a:pt x="349387" y="4784"/>
                    </a:cubicBezTo>
                    <a:cubicBezTo>
                      <a:pt x="355140" y="9003"/>
                      <a:pt x="358899" y="15217"/>
                      <a:pt x="359973" y="22275"/>
                    </a:cubicBezTo>
                    <a:cubicBezTo>
                      <a:pt x="361047" y="29333"/>
                      <a:pt x="359309" y="36365"/>
                      <a:pt x="355089" y="42119"/>
                    </a:cubicBezTo>
                    <a:lnTo>
                      <a:pt x="254593" y="164863"/>
                    </a:lnTo>
                    <a:lnTo>
                      <a:pt x="254593" y="322666"/>
                    </a:lnTo>
                    <a:cubicBezTo>
                      <a:pt x="254593" y="326373"/>
                      <a:pt x="251601" y="329365"/>
                      <a:pt x="247918" y="329365"/>
                    </a:cubicBezTo>
                    <a:close/>
                  </a:path>
                </a:pathLst>
              </a:custGeom>
              <a:grpFill/>
              <a:ln w="2553" cap="flat">
                <a:noFill/>
                <a:prstDash val="solid"/>
                <a:miter/>
              </a:ln>
            </p:spPr>
            <p:txBody>
              <a:bodyPr rtlCol="0" anchor="ctr"/>
              <a:lstStyle/>
              <a:p>
                <a:endParaRPr lang="en-GB" dirty="0"/>
              </a:p>
            </p:txBody>
          </p:sp>
        </p:grpSp>
        <p:grpSp>
          <p:nvGrpSpPr>
            <p:cNvPr id="1625" name="Grafik 313">
              <a:extLst>
                <a:ext uri="{FF2B5EF4-FFF2-40B4-BE49-F238E27FC236}">
                  <a16:creationId xmlns:a16="http://schemas.microsoft.com/office/drawing/2014/main" id="{81FE55CE-6577-4888-8B7D-0F6606769DDE}"/>
                </a:ext>
              </a:extLst>
            </p:cNvPr>
            <p:cNvGrpSpPr/>
            <p:nvPr/>
          </p:nvGrpSpPr>
          <p:grpSpPr>
            <a:xfrm>
              <a:off x="4969966" y="4339036"/>
              <a:ext cx="485781" cy="190418"/>
              <a:chOff x="5296366" y="4422943"/>
              <a:chExt cx="493840" cy="193577"/>
            </a:xfrm>
            <a:solidFill>
              <a:schemeClr val="accent1"/>
            </a:solidFill>
          </p:grpSpPr>
          <p:sp>
            <p:nvSpPr>
              <p:cNvPr id="1626" name="Freihandform: Form 1625">
                <a:extLst>
                  <a:ext uri="{FF2B5EF4-FFF2-40B4-BE49-F238E27FC236}">
                    <a16:creationId xmlns:a16="http://schemas.microsoft.com/office/drawing/2014/main" id="{599ACE64-4933-445F-936F-FDC6CEDB9E04}"/>
                  </a:ext>
                </a:extLst>
              </p:cNvPr>
              <p:cNvSpPr/>
              <p:nvPr/>
            </p:nvSpPr>
            <p:spPr>
              <a:xfrm>
                <a:off x="5296366" y="4543104"/>
                <a:ext cx="173529" cy="73416"/>
              </a:xfrm>
              <a:custGeom>
                <a:avLst/>
                <a:gdLst>
                  <a:gd name="connsiteX0" fmla="*/ 166855 w 173529"/>
                  <a:gd name="connsiteY0" fmla="*/ 73416 h 73416"/>
                  <a:gd name="connsiteX1" fmla="*/ 6674 w 173529"/>
                  <a:gd name="connsiteY1" fmla="*/ 73416 h 73416"/>
                  <a:gd name="connsiteX2" fmla="*/ 0 w 173529"/>
                  <a:gd name="connsiteY2" fmla="*/ 66742 h 73416"/>
                  <a:gd name="connsiteX3" fmla="*/ 66742 w 173529"/>
                  <a:gd name="connsiteY3" fmla="*/ 0 h 73416"/>
                  <a:gd name="connsiteX4" fmla="*/ 106787 w 173529"/>
                  <a:gd name="connsiteY4" fmla="*/ 0 h 73416"/>
                  <a:gd name="connsiteX5" fmla="*/ 173529 w 173529"/>
                  <a:gd name="connsiteY5" fmla="*/ 66742 h 73416"/>
                  <a:gd name="connsiteX6" fmla="*/ 166855 w 173529"/>
                  <a:gd name="connsiteY6" fmla="*/ 73416 h 73416"/>
                  <a:gd name="connsiteX7" fmla="*/ 13758 w 173529"/>
                  <a:gd name="connsiteY7" fmla="*/ 60042 h 73416"/>
                  <a:gd name="connsiteX8" fmla="*/ 159772 w 173529"/>
                  <a:gd name="connsiteY8" fmla="*/ 60042 h 73416"/>
                  <a:gd name="connsiteX9" fmla="*/ 106787 w 173529"/>
                  <a:gd name="connsiteY9" fmla="*/ 13323 h 73416"/>
                  <a:gd name="connsiteX10" fmla="*/ 66742 w 173529"/>
                  <a:gd name="connsiteY10" fmla="*/ 13323 h 73416"/>
                  <a:gd name="connsiteX11" fmla="*/ 13758 w 173529"/>
                  <a:gd name="connsiteY11" fmla="*/ 60042 h 7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529" h="73416">
                    <a:moveTo>
                      <a:pt x="166855" y="73416"/>
                    </a:moveTo>
                    <a:lnTo>
                      <a:pt x="6674" y="73416"/>
                    </a:lnTo>
                    <a:cubicBezTo>
                      <a:pt x="2992" y="73416"/>
                      <a:pt x="0" y="70424"/>
                      <a:pt x="0" y="66742"/>
                    </a:cubicBezTo>
                    <a:cubicBezTo>
                      <a:pt x="0" y="29945"/>
                      <a:pt x="29944" y="0"/>
                      <a:pt x="66742" y="0"/>
                    </a:cubicBezTo>
                    <a:lnTo>
                      <a:pt x="106787" y="0"/>
                    </a:lnTo>
                    <a:cubicBezTo>
                      <a:pt x="143585" y="0"/>
                      <a:pt x="173529" y="29945"/>
                      <a:pt x="173529" y="66742"/>
                    </a:cubicBezTo>
                    <a:cubicBezTo>
                      <a:pt x="173529" y="70424"/>
                      <a:pt x="170537" y="73416"/>
                      <a:pt x="166855" y="73416"/>
                    </a:cubicBezTo>
                    <a:close/>
                    <a:moveTo>
                      <a:pt x="13758" y="60042"/>
                    </a:moveTo>
                    <a:lnTo>
                      <a:pt x="159772" y="60042"/>
                    </a:lnTo>
                    <a:cubicBezTo>
                      <a:pt x="156473" y="33729"/>
                      <a:pt x="133970" y="13323"/>
                      <a:pt x="106787" y="13323"/>
                    </a:cubicBezTo>
                    <a:lnTo>
                      <a:pt x="66742" y="13323"/>
                    </a:lnTo>
                    <a:cubicBezTo>
                      <a:pt x="39559" y="13323"/>
                      <a:pt x="17056" y="33755"/>
                      <a:pt x="13758" y="60042"/>
                    </a:cubicBezTo>
                    <a:close/>
                  </a:path>
                </a:pathLst>
              </a:custGeom>
              <a:solidFill>
                <a:schemeClr val="accent1"/>
              </a:solidFill>
              <a:ln w="2553" cap="flat">
                <a:noFill/>
                <a:prstDash val="solid"/>
                <a:miter/>
              </a:ln>
            </p:spPr>
            <p:txBody>
              <a:bodyPr rtlCol="0" anchor="ctr"/>
              <a:lstStyle/>
              <a:p>
                <a:endParaRPr lang="en-GB" dirty="0"/>
              </a:p>
            </p:txBody>
          </p:sp>
          <p:grpSp>
            <p:nvGrpSpPr>
              <p:cNvPr id="1627" name="Grafik 313">
                <a:extLst>
                  <a:ext uri="{FF2B5EF4-FFF2-40B4-BE49-F238E27FC236}">
                    <a16:creationId xmlns:a16="http://schemas.microsoft.com/office/drawing/2014/main" id="{111589A6-4166-4AD1-963C-CB52B583A39B}"/>
                  </a:ext>
                </a:extLst>
              </p:cNvPr>
              <p:cNvGrpSpPr/>
              <p:nvPr/>
            </p:nvGrpSpPr>
            <p:grpSpPr>
              <a:xfrm>
                <a:off x="5456546" y="4422943"/>
                <a:ext cx="173529" cy="193577"/>
                <a:chOff x="5456546" y="4422943"/>
                <a:chExt cx="173529" cy="193577"/>
              </a:xfrm>
              <a:solidFill>
                <a:schemeClr val="accent1"/>
              </a:solidFill>
            </p:grpSpPr>
            <p:sp>
              <p:nvSpPr>
                <p:cNvPr id="1632" name="Freihandform: Form 1631">
                  <a:extLst>
                    <a:ext uri="{FF2B5EF4-FFF2-40B4-BE49-F238E27FC236}">
                      <a16:creationId xmlns:a16="http://schemas.microsoft.com/office/drawing/2014/main" id="{49FDF07B-A85F-46B6-95EE-B7890720A6C6}"/>
                    </a:ext>
                  </a:extLst>
                </p:cNvPr>
                <p:cNvSpPr/>
                <p:nvPr/>
              </p:nvSpPr>
              <p:spPr>
                <a:xfrm>
                  <a:off x="5456546" y="4543104"/>
                  <a:ext cx="173529" cy="73416"/>
                </a:xfrm>
                <a:custGeom>
                  <a:avLst/>
                  <a:gdLst>
                    <a:gd name="connsiteX0" fmla="*/ 166881 w 173529"/>
                    <a:gd name="connsiteY0" fmla="*/ 73416 h 73416"/>
                    <a:gd name="connsiteX1" fmla="*/ 6674 w 173529"/>
                    <a:gd name="connsiteY1" fmla="*/ 73416 h 73416"/>
                    <a:gd name="connsiteX2" fmla="*/ 0 w 173529"/>
                    <a:gd name="connsiteY2" fmla="*/ 66742 h 73416"/>
                    <a:gd name="connsiteX3" fmla="*/ 66742 w 173529"/>
                    <a:gd name="connsiteY3" fmla="*/ 0 h 73416"/>
                    <a:gd name="connsiteX4" fmla="*/ 106787 w 173529"/>
                    <a:gd name="connsiteY4" fmla="*/ 0 h 73416"/>
                    <a:gd name="connsiteX5" fmla="*/ 173529 w 173529"/>
                    <a:gd name="connsiteY5" fmla="*/ 66742 h 73416"/>
                    <a:gd name="connsiteX6" fmla="*/ 166881 w 173529"/>
                    <a:gd name="connsiteY6" fmla="*/ 73416 h 73416"/>
                    <a:gd name="connsiteX7" fmla="*/ 13758 w 173529"/>
                    <a:gd name="connsiteY7" fmla="*/ 60042 h 73416"/>
                    <a:gd name="connsiteX8" fmla="*/ 159772 w 173529"/>
                    <a:gd name="connsiteY8" fmla="*/ 60042 h 73416"/>
                    <a:gd name="connsiteX9" fmla="*/ 106787 w 173529"/>
                    <a:gd name="connsiteY9" fmla="*/ 13323 h 73416"/>
                    <a:gd name="connsiteX10" fmla="*/ 66742 w 173529"/>
                    <a:gd name="connsiteY10" fmla="*/ 13323 h 73416"/>
                    <a:gd name="connsiteX11" fmla="*/ 13758 w 173529"/>
                    <a:gd name="connsiteY11" fmla="*/ 60042 h 7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529" h="73416">
                      <a:moveTo>
                        <a:pt x="166881" y="73416"/>
                      </a:moveTo>
                      <a:lnTo>
                        <a:pt x="6674" y="73416"/>
                      </a:lnTo>
                      <a:cubicBezTo>
                        <a:pt x="2992" y="73416"/>
                        <a:pt x="0" y="70424"/>
                        <a:pt x="0" y="66742"/>
                      </a:cubicBezTo>
                      <a:cubicBezTo>
                        <a:pt x="0" y="29945"/>
                        <a:pt x="29944" y="0"/>
                        <a:pt x="66742" y="0"/>
                      </a:cubicBezTo>
                      <a:lnTo>
                        <a:pt x="106787" y="0"/>
                      </a:lnTo>
                      <a:cubicBezTo>
                        <a:pt x="143585" y="0"/>
                        <a:pt x="173529" y="29945"/>
                        <a:pt x="173529" y="66742"/>
                      </a:cubicBezTo>
                      <a:cubicBezTo>
                        <a:pt x="173555" y="70424"/>
                        <a:pt x="170563" y="73416"/>
                        <a:pt x="166881" y="73416"/>
                      </a:cubicBezTo>
                      <a:close/>
                      <a:moveTo>
                        <a:pt x="13758" y="60042"/>
                      </a:moveTo>
                      <a:lnTo>
                        <a:pt x="159772" y="60042"/>
                      </a:lnTo>
                      <a:cubicBezTo>
                        <a:pt x="156473" y="33729"/>
                        <a:pt x="133970" y="13323"/>
                        <a:pt x="106787" y="13323"/>
                      </a:cubicBezTo>
                      <a:lnTo>
                        <a:pt x="66742" y="13323"/>
                      </a:lnTo>
                      <a:cubicBezTo>
                        <a:pt x="39559" y="13323"/>
                        <a:pt x="17056" y="33755"/>
                        <a:pt x="13758" y="60042"/>
                      </a:cubicBezTo>
                      <a:close/>
                    </a:path>
                  </a:pathLst>
                </a:custGeom>
                <a:solidFill>
                  <a:schemeClr val="accent1"/>
                </a:solidFill>
                <a:ln w="2553" cap="flat">
                  <a:noFill/>
                  <a:prstDash val="solid"/>
                  <a:miter/>
                </a:ln>
              </p:spPr>
              <p:txBody>
                <a:bodyPr rtlCol="0" anchor="ctr"/>
                <a:lstStyle/>
                <a:p>
                  <a:endParaRPr lang="en-GB" dirty="0"/>
                </a:p>
              </p:txBody>
            </p:sp>
            <p:sp>
              <p:nvSpPr>
                <p:cNvPr id="1633" name="Freihandform: Form 1632">
                  <a:extLst>
                    <a:ext uri="{FF2B5EF4-FFF2-40B4-BE49-F238E27FC236}">
                      <a16:creationId xmlns:a16="http://schemas.microsoft.com/office/drawing/2014/main" id="{D2ADFFF2-F6B8-4F9F-A7C6-B6672CB14BD1}"/>
                    </a:ext>
                  </a:extLst>
                </p:cNvPr>
                <p:cNvSpPr/>
                <p:nvPr/>
              </p:nvSpPr>
              <p:spPr>
                <a:xfrm>
                  <a:off x="5496592" y="4422943"/>
                  <a:ext cx="93438" cy="106787"/>
                </a:xfrm>
                <a:custGeom>
                  <a:avLst/>
                  <a:gdLst>
                    <a:gd name="connsiteX0" fmla="*/ 46719 w 93438"/>
                    <a:gd name="connsiteY0" fmla="*/ 106787 h 106787"/>
                    <a:gd name="connsiteX1" fmla="*/ 0 w 93438"/>
                    <a:gd name="connsiteY1" fmla="*/ 53394 h 106787"/>
                    <a:gd name="connsiteX2" fmla="*/ 46719 w 93438"/>
                    <a:gd name="connsiteY2" fmla="*/ 0 h 106787"/>
                    <a:gd name="connsiteX3" fmla="*/ 93439 w 93438"/>
                    <a:gd name="connsiteY3" fmla="*/ 53394 h 106787"/>
                    <a:gd name="connsiteX4" fmla="*/ 46719 w 93438"/>
                    <a:gd name="connsiteY4" fmla="*/ 106787 h 106787"/>
                    <a:gd name="connsiteX5" fmla="*/ 46719 w 93438"/>
                    <a:gd name="connsiteY5" fmla="*/ 13348 h 106787"/>
                    <a:gd name="connsiteX6" fmla="*/ 13348 w 93438"/>
                    <a:gd name="connsiteY6" fmla="*/ 53394 h 106787"/>
                    <a:gd name="connsiteX7" fmla="*/ 46719 w 93438"/>
                    <a:gd name="connsiteY7" fmla="*/ 93439 h 106787"/>
                    <a:gd name="connsiteX8" fmla="*/ 80090 w 93438"/>
                    <a:gd name="connsiteY8" fmla="*/ 53394 h 106787"/>
                    <a:gd name="connsiteX9" fmla="*/ 46719 w 93438"/>
                    <a:gd name="connsiteY9" fmla="*/ 13348 h 10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38" h="106787">
                      <a:moveTo>
                        <a:pt x="46719" y="106787"/>
                      </a:moveTo>
                      <a:cubicBezTo>
                        <a:pt x="18770" y="106787"/>
                        <a:pt x="0" y="85333"/>
                        <a:pt x="0" y="53394"/>
                      </a:cubicBezTo>
                      <a:cubicBezTo>
                        <a:pt x="0" y="21455"/>
                        <a:pt x="18770" y="0"/>
                        <a:pt x="46719" y="0"/>
                      </a:cubicBezTo>
                      <a:cubicBezTo>
                        <a:pt x="74669" y="0"/>
                        <a:pt x="93439" y="21455"/>
                        <a:pt x="93439" y="53394"/>
                      </a:cubicBezTo>
                      <a:cubicBezTo>
                        <a:pt x="93464" y="85333"/>
                        <a:pt x="74669" y="106787"/>
                        <a:pt x="46719" y="106787"/>
                      </a:cubicBezTo>
                      <a:close/>
                      <a:moveTo>
                        <a:pt x="46719" y="13348"/>
                      </a:moveTo>
                      <a:cubicBezTo>
                        <a:pt x="22094" y="13348"/>
                        <a:pt x="13348" y="34931"/>
                        <a:pt x="13348" y="53394"/>
                      </a:cubicBezTo>
                      <a:cubicBezTo>
                        <a:pt x="13348" y="71856"/>
                        <a:pt x="22094" y="93439"/>
                        <a:pt x="46719" y="93439"/>
                      </a:cubicBezTo>
                      <a:cubicBezTo>
                        <a:pt x="71345" y="93439"/>
                        <a:pt x="80090" y="71856"/>
                        <a:pt x="80090" y="53394"/>
                      </a:cubicBezTo>
                      <a:cubicBezTo>
                        <a:pt x="80116" y="34931"/>
                        <a:pt x="71371" y="13348"/>
                        <a:pt x="46719" y="13348"/>
                      </a:cubicBezTo>
                      <a:close/>
                    </a:path>
                  </a:pathLst>
                </a:custGeom>
                <a:solidFill>
                  <a:schemeClr val="accent1"/>
                </a:solidFill>
                <a:ln w="2553" cap="flat">
                  <a:noFill/>
                  <a:prstDash val="solid"/>
                  <a:miter/>
                </a:ln>
              </p:spPr>
              <p:txBody>
                <a:bodyPr rtlCol="0" anchor="ctr"/>
                <a:lstStyle/>
                <a:p>
                  <a:endParaRPr lang="en-GB" dirty="0"/>
                </a:p>
              </p:txBody>
            </p:sp>
          </p:grpSp>
          <p:grpSp>
            <p:nvGrpSpPr>
              <p:cNvPr id="1628" name="Grafik 313">
                <a:extLst>
                  <a:ext uri="{FF2B5EF4-FFF2-40B4-BE49-F238E27FC236}">
                    <a16:creationId xmlns:a16="http://schemas.microsoft.com/office/drawing/2014/main" id="{4584AA86-CC86-48E4-93B5-7206AB8CC303}"/>
                  </a:ext>
                </a:extLst>
              </p:cNvPr>
              <p:cNvGrpSpPr/>
              <p:nvPr/>
            </p:nvGrpSpPr>
            <p:grpSpPr>
              <a:xfrm>
                <a:off x="5616676" y="4422943"/>
                <a:ext cx="173529" cy="193577"/>
                <a:chOff x="5616676" y="4422943"/>
                <a:chExt cx="173529" cy="193577"/>
              </a:xfrm>
              <a:solidFill>
                <a:schemeClr val="accent1"/>
              </a:solidFill>
            </p:grpSpPr>
            <p:sp>
              <p:nvSpPr>
                <p:cNvPr id="1630" name="Freihandform: Form 1629">
                  <a:extLst>
                    <a:ext uri="{FF2B5EF4-FFF2-40B4-BE49-F238E27FC236}">
                      <a16:creationId xmlns:a16="http://schemas.microsoft.com/office/drawing/2014/main" id="{86272B35-E62F-4036-ADD4-A3BDB9506C7C}"/>
                    </a:ext>
                  </a:extLst>
                </p:cNvPr>
                <p:cNvSpPr/>
                <p:nvPr/>
              </p:nvSpPr>
              <p:spPr>
                <a:xfrm>
                  <a:off x="5616676" y="4543104"/>
                  <a:ext cx="173529" cy="73416"/>
                </a:xfrm>
                <a:custGeom>
                  <a:avLst/>
                  <a:gdLst>
                    <a:gd name="connsiteX0" fmla="*/ 166881 w 173529"/>
                    <a:gd name="connsiteY0" fmla="*/ 73416 h 73416"/>
                    <a:gd name="connsiteX1" fmla="*/ 6674 w 173529"/>
                    <a:gd name="connsiteY1" fmla="*/ 73416 h 73416"/>
                    <a:gd name="connsiteX2" fmla="*/ 0 w 173529"/>
                    <a:gd name="connsiteY2" fmla="*/ 66742 h 73416"/>
                    <a:gd name="connsiteX3" fmla="*/ 66742 w 173529"/>
                    <a:gd name="connsiteY3" fmla="*/ 0 h 73416"/>
                    <a:gd name="connsiteX4" fmla="*/ 106787 w 173529"/>
                    <a:gd name="connsiteY4" fmla="*/ 0 h 73416"/>
                    <a:gd name="connsiteX5" fmla="*/ 173529 w 173529"/>
                    <a:gd name="connsiteY5" fmla="*/ 66742 h 73416"/>
                    <a:gd name="connsiteX6" fmla="*/ 166881 w 173529"/>
                    <a:gd name="connsiteY6" fmla="*/ 73416 h 73416"/>
                    <a:gd name="connsiteX7" fmla="*/ 13783 w 173529"/>
                    <a:gd name="connsiteY7" fmla="*/ 60042 h 73416"/>
                    <a:gd name="connsiteX8" fmla="*/ 159797 w 173529"/>
                    <a:gd name="connsiteY8" fmla="*/ 60042 h 73416"/>
                    <a:gd name="connsiteX9" fmla="*/ 106813 w 173529"/>
                    <a:gd name="connsiteY9" fmla="*/ 13323 h 73416"/>
                    <a:gd name="connsiteX10" fmla="*/ 66768 w 173529"/>
                    <a:gd name="connsiteY10" fmla="*/ 13323 h 73416"/>
                    <a:gd name="connsiteX11" fmla="*/ 13783 w 173529"/>
                    <a:gd name="connsiteY11" fmla="*/ 60042 h 73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3529" h="73416">
                      <a:moveTo>
                        <a:pt x="166881" y="73416"/>
                      </a:moveTo>
                      <a:lnTo>
                        <a:pt x="6674" y="73416"/>
                      </a:lnTo>
                      <a:cubicBezTo>
                        <a:pt x="2992" y="73416"/>
                        <a:pt x="0" y="70424"/>
                        <a:pt x="0" y="66742"/>
                      </a:cubicBezTo>
                      <a:cubicBezTo>
                        <a:pt x="0" y="29945"/>
                        <a:pt x="29944" y="0"/>
                        <a:pt x="66742" y="0"/>
                      </a:cubicBezTo>
                      <a:lnTo>
                        <a:pt x="106787" y="0"/>
                      </a:lnTo>
                      <a:cubicBezTo>
                        <a:pt x="143585" y="0"/>
                        <a:pt x="173529" y="29945"/>
                        <a:pt x="173529" y="66742"/>
                      </a:cubicBezTo>
                      <a:cubicBezTo>
                        <a:pt x="173555" y="70424"/>
                        <a:pt x="170563" y="73416"/>
                        <a:pt x="166881" y="73416"/>
                      </a:cubicBezTo>
                      <a:close/>
                      <a:moveTo>
                        <a:pt x="13783" y="60042"/>
                      </a:moveTo>
                      <a:lnTo>
                        <a:pt x="159797" y="60042"/>
                      </a:lnTo>
                      <a:cubicBezTo>
                        <a:pt x="156499" y="33729"/>
                        <a:pt x="133996" y="13323"/>
                        <a:pt x="106813" y="13323"/>
                      </a:cubicBezTo>
                      <a:lnTo>
                        <a:pt x="66768" y="13323"/>
                      </a:lnTo>
                      <a:cubicBezTo>
                        <a:pt x="39585" y="13323"/>
                        <a:pt x="17082" y="33755"/>
                        <a:pt x="13783" y="60042"/>
                      </a:cubicBezTo>
                      <a:close/>
                    </a:path>
                  </a:pathLst>
                </a:custGeom>
                <a:solidFill>
                  <a:schemeClr val="accent1"/>
                </a:solidFill>
                <a:ln w="2553" cap="flat">
                  <a:noFill/>
                  <a:prstDash val="solid"/>
                  <a:miter/>
                </a:ln>
              </p:spPr>
              <p:txBody>
                <a:bodyPr rtlCol="0" anchor="ctr"/>
                <a:lstStyle/>
                <a:p>
                  <a:endParaRPr lang="en-GB" dirty="0"/>
                </a:p>
              </p:txBody>
            </p:sp>
            <p:sp>
              <p:nvSpPr>
                <p:cNvPr id="1631" name="Freihandform: Form 1630">
                  <a:extLst>
                    <a:ext uri="{FF2B5EF4-FFF2-40B4-BE49-F238E27FC236}">
                      <a16:creationId xmlns:a16="http://schemas.microsoft.com/office/drawing/2014/main" id="{CCEA96DA-42ED-48F6-A629-4D01F51C57C7}"/>
                    </a:ext>
                  </a:extLst>
                </p:cNvPr>
                <p:cNvSpPr/>
                <p:nvPr/>
              </p:nvSpPr>
              <p:spPr>
                <a:xfrm>
                  <a:off x="5656747" y="4422943"/>
                  <a:ext cx="93438" cy="106787"/>
                </a:xfrm>
                <a:custGeom>
                  <a:avLst/>
                  <a:gdLst>
                    <a:gd name="connsiteX0" fmla="*/ 46719 w 93438"/>
                    <a:gd name="connsiteY0" fmla="*/ 106787 h 106787"/>
                    <a:gd name="connsiteX1" fmla="*/ 0 w 93438"/>
                    <a:gd name="connsiteY1" fmla="*/ 53394 h 106787"/>
                    <a:gd name="connsiteX2" fmla="*/ 46719 w 93438"/>
                    <a:gd name="connsiteY2" fmla="*/ 0 h 106787"/>
                    <a:gd name="connsiteX3" fmla="*/ 93439 w 93438"/>
                    <a:gd name="connsiteY3" fmla="*/ 53394 h 106787"/>
                    <a:gd name="connsiteX4" fmla="*/ 46719 w 93438"/>
                    <a:gd name="connsiteY4" fmla="*/ 106787 h 106787"/>
                    <a:gd name="connsiteX5" fmla="*/ 46719 w 93438"/>
                    <a:gd name="connsiteY5" fmla="*/ 13348 h 106787"/>
                    <a:gd name="connsiteX6" fmla="*/ 13348 w 93438"/>
                    <a:gd name="connsiteY6" fmla="*/ 53394 h 106787"/>
                    <a:gd name="connsiteX7" fmla="*/ 46719 w 93438"/>
                    <a:gd name="connsiteY7" fmla="*/ 93439 h 106787"/>
                    <a:gd name="connsiteX8" fmla="*/ 80090 w 93438"/>
                    <a:gd name="connsiteY8" fmla="*/ 53394 h 106787"/>
                    <a:gd name="connsiteX9" fmla="*/ 46719 w 93438"/>
                    <a:gd name="connsiteY9" fmla="*/ 13348 h 10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38" h="106787">
                      <a:moveTo>
                        <a:pt x="46719" y="106787"/>
                      </a:moveTo>
                      <a:cubicBezTo>
                        <a:pt x="18770" y="106787"/>
                        <a:pt x="0" y="85333"/>
                        <a:pt x="0" y="53394"/>
                      </a:cubicBezTo>
                      <a:cubicBezTo>
                        <a:pt x="0" y="21455"/>
                        <a:pt x="18770" y="0"/>
                        <a:pt x="46719" y="0"/>
                      </a:cubicBezTo>
                      <a:cubicBezTo>
                        <a:pt x="74669" y="0"/>
                        <a:pt x="93439" y="21455"/>
                        <a:pt x="93439" y="53394"/>
                      </a:cubicBezTo>
                      <a:cubicBezTo>
                        <a:pt x="93439" y="85333"/>
                        <a:pt x="74669" y="106787"/>
                        <a:pt x="46719" y="106787"/>
                      </a:cubicBezTo>
                      <a:close/>
                      <a:moveTo>
                        <a:pt x="46719" y="13348"/>
                      </a:moveTo>
                      <a:cubicBezTo>
                        <a:pt x="22094" y="13348"/>
                        <a:pt x="13348" y="34931"/>
                        <a:pt x="13348" y="53394"/>
                      </a:cubicBezTo>
                      <a:cubicBezTo>
                        <a:pt x="13348" y="71856"/>
                        <a:pt x="22094" y="93439"/>
                        <a:pt x="46719" y="93439"/>
                      </a:cubicBezTo>
                      <a:cubicBezTo>
                        <a:pt x="71345" y="93439"/>
                        <a:pt x="80090" y="71856"/>
                        <a:pt x="80090" y="53394"/>
                      </a:cubicBezTo>
                      <a:cubicBezTo>
                        <a:pt x="80090" y="34931"/>
                        <a:pt x="71345" y="13348"/>
                        <a:pt x="46719" y="13348"/>
                      </a:cubicBezTo>
                      <a:close/>
                    </a:path>
                  </a:pathLst>
                </a:custGeom>
                <a:solidFill>
                  <a:schemeClr val="accent1"/>
                </a:solidFill>
                <a:ln w="2553" cap="flat">
                  <a:noFill/>
                  <a:prstDash val="solid"/>
                  <a:miter/>
                </a:ln>
              </p:spPr>
              <p:txBody>
                <a:bodyPr rtlCol="0" anchor="ctr"/>
                <a:lstStyle/>
                <a:p>
                  <a:endParaRPr lang="en-GB" dirty="0"/>
                </a:p>
              </p:txBody>
            </p:sp>
          </p:grpSp>
          <p:sp>
            <p:nvSpPr>
              <p:cNvPr id="1629" name="Freihandform: Form 1628">
                <a:extLst>
                  <a:ext uri="{FF2B5EF4-FFF2-40B4-BE49-F238E27FC236}">
                    <a16:creationId xmlns:a16="http://schemas.microsoft.com/office/drawing/2014/main" id="{038CD347-0DC0-4B88-8278-2B18E14A3EEB}"/>
                  </a:ext>
                </a:extLst>
              </p:cNvPr>
              <p:cNvSpPr/>
              <p:nvPr/>
            </p:nvSpPr>
            <p:spPr>
              <a:xfrm>
                <a:off x="5336411" y="4422943"/>
                <a:ext cx="93438" cy="106787"/>
              </a:xfrm>
              <a:custGeom>
                <a:avLst/>
                <a:gdLst>
                  <a:gd name="connsiteX0" fmla="*/ 46719 w 93438"/>
                  <a:gd name="connsiteY0" fmla="*/ 106787 h 106787"/>
                  <a:gd name="connsiteX1" fmla="*/ 0 w 93438"/>
                  <a:gd name="connsiteY1" fmla="*/ 53394 h 106787"/>
                  <a:gd name="connsiteX2" fmla="*/ 46719 w 93438"/>
                  <a:gd name="connsiteY2" fmla="*/ 0 h 106787"/>
                  <a:gd name="connsiteX3" fmla="*/ 93439 w 93438"/>
                  <a:gd name="connsiteY3" fmla="*/ 53394 h 106787"/>
                  <a:gd name="connsiteX4" fmla="*/ 46719 w 93438"/>
                  <a:gd name="connsiteY4" fmla="*/ 106787 h 106787"/>
                  <a:gd name="connsiteX5" fmla="*/ 46719 w 93438"/>
                  <a:gd name="connsiteY5" fmla="*/ 13348 h 106787"/>
                  <a:gd name="connsiteX6" fmla="*/ 13348 w 93438"/>
                  <a:gd name="connsiteY6" fmla="*/ 53394 h 106787"/>
                  <a:gd name="connsiteX7" fmla="*/ 46719 w 93438"/>
                  <a:gd name="connsiteY7" fmla="*/ 93439 h 106787"/>
                  <a:gd name="connsiteX8" fmla="*/ 80090 w 93438"/>
                  <a:gd name="connsiteY8" fmla="*/ 53394 h 106787"/>
                  <a:gd name="connsiteX9" fmla="*/ 46719 w 93438"/>
                  <a:gd name="connsiteY9" fmla="*/ 13348 h 10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38" h="106787">
                    <a:moveTo>
                      <a:pt x="46719" y="106787"/>
                    </a:moveTo>
                    <a:cubicBezTo>
                      <a:pt x="18770" y="106787"/>
                      <a:pt x="0" y="85333"/>
                      <a:pt x="0" y="53394"/>
                    </a:cubicBezTo>
                    <a:cubicBezTo>
                      <a:pt x="0" y="21455"/>
                      <a:pt x="18770" y="0"/>
                      <a:pt x="46719" y="0"/>
                    </a:cubicBezTo>
                    <a:cubicBezTo>
                      <a:pt x="74669" y="0"/>
                      <a:pt x="93439" y="21455"/>
                      <a:pt x="93439" y="53394"/>
                    </a:cubicBezTo>
                    <a:cubicBezTo>
                      <a:pt x="93439" y="85333"/>
                      <a:pt x="74669" y="106787"/>
                      <a:pt x="46719" y="106787"/>
                    </a:cubicBezTo>
                    <a:close/>
                    <a:moveTo>
                      <a:pt x="46719" y="13348"/>
                    </a:moveTo>
                    <a:cubicBezTo>
                      <a:pt x="22094" y="13348"/>
                      <a:pt x="13348" y="34931"/>
                      <a:pt x="13348" y="53394"/>
                    </a:cubicBezTo>
                    <a:cubicBezTo>
                      <a:pt x="13348" y="71856"/>
                      <a:pt x="22094" y="93439"/>
                      <a:pt x="46719" y="93439"/>
                    </a:cubicBezTo>
                    <a:cubicBezTo>
                      <a:pt x="71345" y="93439"/>
                      <a:pt x="80090" y="71856"/>
                      <a:pt x="80090" y="53394"/>
                    </a:cubicBezTo>
                    <a:cubicBezTo>
                      <a:pt x="80090" y="34931"/>
                      <a:pt x="71345" y="13348"/>
                      <a:pt x="46719" y="13348"/>
                    </a:cubicBezTo>
                    <a:close/>
                  </a:path>
                </a:pathLst>
              </a:custGeom>
              <a:solidFill>
                <a:schemeClr val="accent1"/>
              </a:solidFill>
              <a:ln w="2553" cap="flat">
                <a:noFill/>
                <a:prstDash val="solid"/>
                <a:miter/>
              </a:ln>
            </p:spPr>
            <p:txBody>
              <a:bodyPr rtlCol="0" anchor="ctr"/>
              <a:lstStyle/>
              <a:p>
                <a:endParaRPr lang="en-GB" dirty="0"/>
              </a:p>
            </p:txBody>
          </p:sp>
        </p:grpSp>
      </p:grpSp>
      <p:sp>
        <p:nvSpPr>
          <p:cNvPr id="1639" name="TextBox 1421">
            <a:extLst>
              <a:ext uri="{FF2B5EF4-FFF2-40B4-BE49-F238E27FC236}">
                <a16:creationId xmlns:a16="http://schemas.microsoft.com/office/drawing/2014/main" id="{C347FC60-EAF8-47E3-800F-7ECCEA6947B8}"/>
              </a:ext>
            </a:extLst>
          </p:cNvPr>
          <p:cNvSpPr txBox="1"/>
          <p:nvPr/>
        </p:nvSpPr>
        <p:spPr>
          <a:xfrm>
            <a:off x="5027320" y="4547732"/>
            <a:ext cx="371897" cy="107722"/>
          </a:xfrm>
          <a:prstGeom prst="rect">
            <a:avLst/>
          </a:prstGeom>
          <a:noFill/>
          <a:effectLst/>
        </p:spPr>
        <p:txBody>
          <a:bodyPr wrap="none" lIns="0" tIns="0" rIns="0" bIns="0" rtlCol="0" anchor="t" anchorCtr="0">
            <a:spAutoFit/>
          </a:bodyPr>
          <a:lstStyle/>
          <a:p>
            <a:pPr algn="ctr"/>
            <a:r>
              <a:rPr lang="en-GB" sz="700" dirty="0">
                <a:solidFill>
                  <a:schemeClr val="tx2"/>
                </a:solidFill>
              </a:rPr>
              <a:t>Audience</a:t>
            </a:r>
          </a:p>
        </p:txBody>
      </p:sp>
      <p:grpSp>
        <p:nvGrpSpPr>
          <p:cNvPr id="62" name="Group 61">
            <a:extLst>
              <a:ext uri="{FF2B5EF4-FFF2-40B4-BE49-F238E27FC236}">
                <a16:creationId xmlns:a16="http://schemas.microsoft.com/office/drawing/2014/main" id="{3E066603-3529-F0F5-CA9A-EB1F0ECB5C9E}"/>
              </a:ext>
            </a:extLst>
          </p:cNvPr>
          <p:cNvGrpSpPr/>
          <p:nvPr/>
        </p:nvGrpSpPr>
        <p:grpSpPr>
          <a:xfrm>
            <a:off x="8113478" y="4097454"/>
            <a:ext cx="458381" cy="432000"/>
            <a:chOff x="8113066" y="4097454"/>
            <a:chExt cx="458381" cy="432000"/>
          </a:xfrm>
        </p:grpSpPr>
        <p:grpSp>
          <p:nvGrpSpPr>
            <p:cNvPr id="1641" name="Gruppieren 1640">
              <a:extLst>
                <a:ext uri="{FF2B5EF4-FFF2-40B4-BE49-F238E27FC236}">
                  <a16:creationId xmlns:a16="http://schemas.microsoft.com/office/drawing/2014/main" id="{E800D2B4-ACD7-4DF2-AF28-027A3EBA0647}"/>
                </a:ext>
              </a:extLst>
            </p:cNvPr>
            <p:cNvGrpSpPr/>
            <p:nvPr/>
          </p:nvGrpSpPr>
          <p:grpSpPr>
            <a:xfrm>
              <a:off x="8113066" y="4097454"/>
              <a:ext cx="366528" cy="366530"/>
              <a:chOff x="7859459" y="4176522"/>
              <a:chExt cx="373792" cy="373794"/>
            </a:xfrm>
            <a:solidFill>
              <a:schemeClr val="tx2"/>
            </a:solidFill>
          </p:grpSpPr>
          <p:grpSp>
            <p:nvGrpSpPr>
              <p:cNvPr id="1651" name="Grafik 313">
                <a:extLst>
                  <a:ext uri="{FF2B5EF4-FFF2-40B4-BE49-F238E27FC236}">
                    <a16:creationId xmlns:a16="http://schemas.microsoft.com/office/drawing/2014/main" id="{0D050489-0069-4CBB-A1EB-C83291352CE2}"/>
                  </a:ext>
                </a:extLst>
              </p:cNvPr>
              <p:cNvGrpSpPr/>
              <p:nvPr/>
            </p:nvGrpSpPr>
            <p:grpSpPr>
              <a:xfrm>
                <a:off x="7859459" y="4176522"/>
                <a:ext cx="373792" cy="373794"/>
                <a:chOff x="7859459" y="4176522"/>
                <a:chExt cx="373792" cy="373794"/>
              </a:xfrm>
              <a:grpFill/>
            </p:grpSpPr>
            <p:sp>
              <p:nvSpPr>
                <p:cNvPr id="1653" name="Freihandform: Form 1652">
                  <a:extLst>
                    <a:ext uri="{FF2B5EF4-FFF2-40B4-BE49-F238E27FC236}">
                      <a16:creationId xmlns:a16="http://schemas.microsoft.com/office/drawing/2014/main" id="{3290A26B-02AB-42D5-9863-1E3E9F593B16}"/>
                    </a:ext>
                  </a:extLst>
                </p:cNvPr>
                <p:cNvSpPr/>
                <p:nvPr/>
              </p:nvSpPr>
              <p:spPr>
                <a:xfrm>
                  <a:off x="7859465" y="4306694"/>
                  <a:ext cx="186903" cy="243621"/>
                </a:xfrm>
                <a:custGeom>
                  <a:avLst/>
                  <a:gdLst>
                    <a:gd name="connsiteX0" fmla="*/ 180229 w 186903"/>
                    <a:gd name="connsiteY0" fmla="*/ 243621 h 243621"/>
                    <a:gd name="connsiteX1" fmla="*/ 6674 w 186903"/>
                    <a:gd name="connsiteY1" fmla="*/ 243621 h 243621"/>
                    <a:gd name="connsiteX2" fmla="*/ 0 w 186903"/>
                    <a:gd name="connsiteY2" fmla="*/ 236947 h 243621"/>
                    <a:gd name="connsiteX3" fmla="*/ 0 w 186903"/>
                    <a:gd name="connsiteY3" fmla="*/ 6674 h 243621"/>
                    <a:gd name="connsiteX4" fmla="*/ 6674 w 186903"/>
                    <a:gd name="connsiteY4" fmla="*/ 0 h 243621"/>
                    <a:gd name="connsiteX5" fmla="*/ 13348 w 186903"/>
                    <a:gd name="connsiteY5" fmla="*/ 6674 h 243621"/>
                    <a:gd name="connsiteX6" fmla="*/ 13348 w 186903"/>
                    <a:gd name="connsiteY6" fmla="*/ 230273 h 243621"/>
                    <a:gd name="connsiteX7" fmla="*/ 180229 w 186903"/>
                    <a:gd name="connsiteY7" fmla="*/ 230273 h 243621"/>
                    <a:gd name="connsiteX8" fmla="*/ 186903 w 186903"/>
                    <a:gd name="connsiteY8" fmla="*/ 236947 h 243621"/>
                    <a:gd name="connsiteX9" fmla="*/ 180229 w 186903"/>
                    <a:gd name="connsiteY9" fmla="*/ 243621 h 243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903" h="243621">
                      <a:moveTo>
                        <a:pt x="180229" y="243621"/>
                      </a:moveTo>
                      <a:lnTo>
                        <a:pt x="6674" y="243621"/>
                      </a:lnTo>
                      <a:cubicBezTo>
                        <a:pt x="2992" y="243621"/>
                        <a:pt x="0" y="240629"/>
                        <a:pt x="0" y="236947"/>
                      </a:cubicBezTo>
                      <a:lnTo>
                        <a:pt x="0" y="6674"/>
                      </a:lnTo>
                      <a:cubicBezTo>
                        <a:pt x="0" y="2992"/>
                        <a:pt x="2992" y="0"/>
                        <a:pt x="6674" y="0"/>
                      </a:cubicBezTo>
                      <a:cubicBezTo>
                        <a:pt x="10357" y="0"/>
                        <a:pt x="13348" y="2992"/>
                        <a:pt x="13348" y="6674"/>
                      </a:cubicBezTo>
                      <a:lnTo>
                        <a:pt x="13348" y="230273"/>
                      </a:lnTo>
                      <a:lnTo>
                        <a:pt x="180229" y="230273"/>
                      </a:lnTo>
                      <a:cubicBezTo>
                        <a:pt x="183912" y="230273"/>
                        <a:pt x="186903" y="233265"/>
                        <a:pt x="186903" y="236947"/>
                      </a:cubicBezTo>
                      <a:cubicBezTo>
                        <a:pt x="186903" y="240629"/>
                        <a:pt x="183912" y="243621"/>
                        <a:pt x="180229" y="243621"/>
                      </a:cubicBezTo>
                      <a:close/>
                    </a:path>
                  </a:pathLst>
                </a:custGeom>
                <a:grpFill/>
                <a:ln w="2553" cap="flat">
                  <a:noFill/>
                  <a:prstDash val="solid"/>
                  <a:miter/>
                </a:ln>
              </p:spPr>
              <p:txBody>
                <a:bodyPr rtlCol="0" anchor="ctr"/>
                <a:lstStyle/>
                <a:p>
                  <a:endParaRPr lang="en-GB" dirty="0"/>
                </a:p>
              </p:txBody>
            </p:sp>
            <p:sp>
              <p:nvSpPr>
                <p:cNvPr id="1654" name="Freihandform: Form 1653">
                  <a:extLst>
                    <a:ext uri="{FF2B5EF4-FFF2-40B4-BE49-F238E27FC236}">
                      <a16:creationId xmlns:a16="http://schemas.microsoft.com/office/drawing/2014/main" id="{8663580B-81EF-49B8-9DBD-D0509C363357}"/>
                    </a:ext>
                  </a:extLst>
                </p:cNvPr>
                <p:cNvSpPr/>
                <p:nvPr/>
              </p:nvSpPr>
              <p:spPr>
                <a:xfrm>
                  <a:off x="8219898" y="4306669"/>
                  <a:ext cx="13348" cy="123485"/>
                </a:xfrm>
                <a:custGeom>
                  <a:avLst/>
                  <a:gdLst>
                    <a:gd name="connsiteX0" fmla="*/ 6674 w 13348"/>
                    <a:gd name="connsiteY0" fmla="*/ 123486 h 123485"/>
                    <a:gd name="connsiteX1" fmla="*/ 0 w 13348"/>
                    <a:gd name="connsiteY1" fmla="*/ 116812 h 123485"/>
                    <a:gd name="connsiteX2" fmla="*/ 0 w 13348"/>
                    <a:gd name="connsiteY2" fmla="*/ 6674 h 123485"/>
                    <a:gd name="connsiteX3" fmla="*/ 6674 w 13348"/>
                    <a:gd name="connsiteY3" fmla="*/ 0 h 123485"/>
                    <a:gd name="connsiteX4" fmla="*/ 13349 w 13348"/>
                    <a:gd name="connsiteY4" fmla="*/ 6674 h 123485"/>
                    <a:gd name="connsiteX5" fmla="*/ 13349 w 13348"/>
                    <a:gd name="connsiteY5" fmla="*/ 116812 h 123485"/>
                    <a:gd name="connsiteX6" fmla="*/ 6674 w 13348"/>
                    <a:gd name="connsiteY6" fmla="*/ 123486 h 12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123485">
                      <a:moveTo>
                        <a:pt x="6674" y="123486"/>
                      </a:moveTo>
                      <a:cubicBezTo>
                        <a:pt x="2992" y="123486"/>
                        <a:pt x="0" y="120494"/>
                        <a:pt x="0" y="116812"/>
                      </a:cubicBezTo>
                      <a:lnTo>
                        <a:pt x="0" y="6674"/>
                      </a:lnTo>
                      <a:cubicBezTo>
                        <a:pt x="0" y="2992"/>
                        <a:pt x="2992" y="0"/>
                        <a:pt x="6674" y="0"/>
                      </a:cubicBezTo>
                      <a:cubicBezTo>
                        <a:pt x="10357" y="0"/>
                        <a:pt x="13349" y="2992"/>
                        <a:pt x="13349" y="6674"/>
                      </a:cubicBezTo>
                      <a:lnTo>
                        <a:pt x="13349" y="116812"/>
                      </a:lnTo>
                      <a:cubicBezTo>
                        <a:pt x="13349" y="120519"/>
                        <a:pt x="10382" y="123486"/>
                        <a:pt x="6674" y="123486"/>
                      </a:cubicBezTo>
                      <a:close/>
                    </a:path>
                  </a:pathLst>
                </a:custGeom>
                <a:grpFill/>
                <a:ln w="2553" cap="flat">
                  <a:noFill/>
                  <a:prstDash val="solid"/>
                  <a:miter/>
                </a:ln>
              </p:spPr>
              <p:txBody>
                <a:bodyPr rtlCol="0" anchor="ctr"/>
                <a:lstStyle/>
                <a:p>
                  <a:endParaRPr lang="en-GB" dirty="0"/>
                </a:p>
              </p:txBody>
            </p:sp>
            <p:sp>
              <p:nvSpPr>
                <p:cNvPr id="1655" name="Freihandform: Form 1654">
                  <a:extLst>
                    <a:ext uri="{FF2B5EF4-FFF2-40B4-BE49-F238E27FC236}">
                      <a16:creationId xmlns:a16="http://schemas.microsoft.com/office/drawing/2014/main" id="{126B76A7-55E2-4A27-88BF-2D01B12687EF}"/>
                    </a:ext>
                  </a:extLst>
                </p:cNvPr>
                <p:cNvSpPr/>
                <p:nvPr/>
              </p:nvSpPr>
              <p:spPr>
                <a:xfrm>
                  <a:off x="8174860" y="4274136"/>
                  <a:ext cx="58391" cy="45881"/>
                </a:xfrm>
                <a:custGeom>
                  <a:avLst/>
                  <a:gdLst>
                    <a:gd name="connsiteX0" fmla="*/ 51712 w 58391"/>
                    <a:gd name="connsiteY0" fmla="*/ 45881 h 45881"/>
                    <a:gd name="connsiteX1" fmla="*/ 47799 w 58391"/>
                    <a:gd name="connsiteY1" fmla="*/ 44628 h 45881"/>
                    <a:gd name="connsiteX2" fmla="*/ 2768 w 58391"/>
                    <a:gd name="connsiteY2" fmla="*/ 12101 h 45881"/>
                    <a:gd name="connsiteX3" fmla="*/ 1259 w 58391"/>
                    <a:gd name="connsiteY3" fmla="*/ 2767 h 45881"/>
                    <a:gd name="connsiteX4" fmla="*/ 10592 w 58391"/>
                    <a:gd name="connsiteY4" fmla="*/ 1259 h 45881"/>
                    <a:gd name="connsiteX5" fmla="*/ 55624 w 58391"/>
                    <a:gd name="connsiteY5" fmla="*/ 33786 h 45881"/>
                    <a:gd name="connsiteX6" fmla="*/ 57133 w 58391"/>
                    <a:gd name="connsiteY6" fmla="*/ 43094 h 45881"/>
                    <a:gd name="connsiteX7" fmla="*/ 51712 w 58391"/>
                    <a:gd name="connsiteY7" fmla="*/ 45881 h 45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391" h="45881">
                      <a:moveTo>
                        <a:pt x="51712" y="45881"/>
                      </a:moveTo>
                      <a:cubicBezTo>
                        <a:pt x="50356" y="45881"/>
                        <a:pt x="49001" y="45472"/>
                        <a:pt x="47799" y="44628"/>
                      </a:cubicBezTo>
                      <a:lnTo>
                        <a:pt x="2768" y="12101"/>
                      </a:lnTo>
                      <a:cubicBezTo>
                        <a:pt x="-224" y="9953"/>
                        <a:pt x="-889" y="5785"/>
                        <a:pt x="1259" y="2767"/>
                      </a:cubicBezTo>
                      <a:cubicBezTo>
                        <a:pt x="3407" y="-225"/>
                        <a:pt x="7575" y="-889"/>
                        <a:pt x="10592" y="1259"/>
                      </a:cubicBezTo>
                      <a:lnTo>
                        <a:pt x="55624" y="33786"/>
                      </a:lnTo>
                      <a:cubicBezTo>
                        <a:pt x="58616" y="35934"/>
                        <a:pt x="59281" y="40102"/>
                        <a:pt x="57133" y="43094"/>
                      </a:cubicBezTo>
                      <a:cubicBezTo>
                        <a:pt x="55829" y="44935"/>
                        <a:pt x="53783" y="45881"/>
                        <a:pt x="51712" y="45881"/>
                      </a:cubicBezTo>
                      <a:close/>
                    </a:path>
                  </a:pathLst>
                </a:custGeom>
                <a:grpFill/>
                <a:ln w="2553" cap="flat">
                  <a:noFill/>
                  <a:prstDash val="solid"/>
                  <a:miter/>
                </a:ln>
              </p:spPr>
              <p:txBody>
                <a:bodyPr rtlCol="0" anchor="ctr"/>
                <a:lstStyle/>
                <a:p>
                  <a:endParaRPr lang="en-GB" dirty="0"/>
                </a:p>
              </p:txBody>
            </p:sp>
            <p:sp>
              <p:nvSpPr>
                <p:cNvPr id="1656" name="Freihandform: Form 1655">
                  <a:extLst>
                    <a:ext uri="{FF2B5EF4-FFF2-40B4-BE49-F238E27FC236}">
                      <a16:creationId xmlns:a16="http://schemas.microsoft.com/office/drawing/2014/main" id="{13F2D1DD-D7F7-4DD9-9579-6BE5F7040329}"/>
                    </a:ext>
                  </a:extLst>
                </p:cNvPr>
                <p:cNvSpPr/>
                <p:nvPr/>
              </p:nvSpPr>
              <p:spPr>
                <a:xfrm>
                  <a:off x="7977294" y="4176522"/>
                  <a:ext cx="138124" cy="58398"/>
                </a:xfrm>
                <a:custGeom>
                  <a:avLst/>
                  <a:gdLst>
                    <a:gd name="connsiteX0" fmla="*/ 6680 w 138124"/>
                    <a:gd name="connsiteY0" fmla="*/ 58393 h 58398"/>
                    <a:gd name="connsiteX1" fmla="*/ 1259 w 138124"/>
                    <a:gd name="connsiteY1" fmla="*/ 55631 h 58398"/>
                    <a:gd name="connsiteX2" fmla="*/ 2768 w 138124"/>
                    <a:gd name="connsiteY2" fmla="*/ 46323 h 58398"/>
                    <a:gd name="connsiteX3" fmla="*/ 65162 w 138124"/>
                    <a:gd name="connsiteY3" fmla="*/ 1266 h 58398"/>
                    <a:gd name="connsiteX4" fmla="*/ 72987 w 138124"/>
                    <a:gd name="connsiteY4" fmla="*/ 1266 h 58398"/>
                    <a:gd name="connsiteX5" fmla="*/ 135357 w 138124"/>
                    <a:gd name="connsiteY5" fmla="*/ 46298 h 58398"/>
                    <a:gd name="connsiteX6" fmla="*/ 136865 w 138124"/>
                    <a:gd name="connsiteY6" fmla="*/ 55631 h 58398"/>
                    <a:gd name="connsiteX7" fmla="*/ 127531 w 138124"/>
                    <a:gd name="connsiteY7" fmla="*/ 57140 h 58398"/>
                    <a:gd name="connsiteX8" fmla="*/ 69075 w 138124"/>
                    <a:gd name="connsiteY8" fmla="*/ 14921 h 58398"/>
                    <a:gd name="connsiteX9" fmla="*/ 10592 w 138124"/>
                    <a:gd name="connsiteY9" fmla="*/ 57166 h 58398"/>
                    <a:gd name="connsiteX10" fmla="*/ 6680 w 138124"/>
                    <a:gd name="connsiteY10" fmla="*/ 58393 h 5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124" h="58398">
                      <a:moveTo>
                        <a:pt x="6680" y="58393"/>
                      </a:moveTo>
                      <a:cubicBezTo>
                        <a:pt x="4609" y="58393"/>
                        <a:pt x="2563" y="57447"/>
                        <a:pt x="1259" y="55631"/>
                      </a:cubicBezTo>
                      <a:cubicBezTo>
                        <a:pt x="-889" y="52639"/>
                        <a:pt x="-224" y="48471"/>
                        <a:pt x="2768" y="46323"/>
                      </a:cubicBezTo>
                      <a:lnTo>
                        <a:pt x="65162" y="1266"/>
                      </a:lnTo>
                      <a:cubicBezTo>
                        <a:pt x="67489" y="-422"/>
                        <a:pt x="70660" y="-422"/>
                        <a:pt x="72987" y="1266"/>
                      </a:cubicBezTo>
                      <a:lnTo>
                        <a:pt x="135357" y="46298"/>
                      </a:lnTo>
                      <a:cubicBezTo>
                        <a:pt x="138349" y="48446"/>
                        <a:pt x="139013" y="52614"/>
                        <a:pt x="136865" y="55631"/>
                      </a:cubicBezTo>
                      <a:cubicBezTo>
                        <a:pt x="134692" y="58623"/>
                        <a:pt x="130549" y="59288"/>
                        <a:pt x="127531" y="57140"/>
                      </a:cubicBezTo>
                      <a:lnTo>
                        <a:pt x="69075" y="14921"/>
                      </a:lnTo>
                      <a:lnTo>
                        <a:pt x="10592" y="57166"/>
                      </a:lnTo>
                      <a:cubicBezTo>
                        <a:pt x="9416" y="57984"/>
                        <a:pt x="8035" y="58393"/>
                        <a:pt x="6680" y="58393"/>
                      </a:cubicBezTo>
                      <a:close/>
                    </a:path>
                  </a:pathLst>
                </a:custGeom>
                <a:grpFill/>
                <a:ln w="2553" cap="flat">
                  <a:noFill/>
                  <a:prstDash val="solid"/>
                  <a:miter/>
                </a:ln>
              </p:spPr>
              <p:txBody>
                <a:bodyPr rtlCol="0" anchor="ctr"/>
                <a:lstStyle/>
                <a:p>
                  <a:endParaRPr lang="en-GB" dirty="0"/>
                </a:p>
              </p:txBody>
            </p:sp>
            <p:sp>
              <p:nvSpPr>
                <p:cNvPr id="1657" name="Freihandform: Form 1656">
                  <a:extLst>
                    <a:ext uri="{FF2B5EF4-FFF2-40B4-BE49-F238E27FC236}">
                      <a16:creationId xmlns:a16="http://schemas.microsoft.com/office/drawing/2014/main" id="{C6257C41-2385-4141-8551-C0310709B330}"/>
                    </a:ext>
                  </a:extLst>
                </p:cNvPr>
                <p:cNvSpPr/>
                <p:nvPr/>
              </p:nvSpPr>
              <p:spPr>
                <a:xfrm>
                  <a:off x="7859459" y="4274150"/>
                  <a:ext cx="58391" cy="45866"/>
                </a:xfrm>
                <a:custGeom>
                  <a:avLst/>
                  <a:gdLst>
                    <a:gd name="connsiteX0" fmla="*/ 6680 w 58391"/>
                    <a:gd name="connsiteY0" fmla="*/ 45867 h 45866"/>
                    <a:gd name="connsiteX1" fmla="*/ 1259 w 58391"/>
                    <a:gd name="connsiteY1" fmla="*/ 43105 h 45866"/>
                    <a:gd name="connsiteX2" fmla="*/ 2767 w 58391"/>
                    <a:gd name="connsiteY2" fmla="*/ 33797 h 45866"/>
                    <a:gd name="connsiteX3" fmla="*/ 47825 w 58391"/>
                    <a:gd name="connsiteY3" fmla="*/ 1270 h 45866"/>
                    <a:gd name="connsiteX4" fmla="*/ 57133 w 58391"/>
                    <a:gd name="connsiteY4" fmla="*/ 2778 h 45866"/>
                    <a:gd name="connsiteX5" fmla="*/ 55624 w 58391"/>
                    <a:gd name="connsiteY5" fmla="*/ 12087 h 45866"/>
                    <a:gd name="connsiteX6" fmla="*/ 10567 w 58391"/>
                    <a:gd name="connsiteY6" fmla="*/ 44614 h 45866"/>
                    <a:gd name="connsiteX7" fmla="*/ 6680 w 58391"/>
                    <a:gd name="connsiteY7" fmla="*/ 45867 h 4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391" h="45866">
                      <a:moveTo>
                        <a:pt x="6680" y="45867"/>
                      </a:moveTo>
                      <a:cubicBezTo>
                        <a:pt x="4609" y="45867"/>
                        <a:pt x="2563" y="44921"/>
                        <a:pt x="1259" y="43105"/>
                      </a:cubicBezTo>
                      <a:cubicBezTo>
                        <a:pt x="-889" y="40113"/>
                        <a:pt x="-224" y="35945"/>
                        <a:pt x="2767" y="33797"/>
                      </a:cubicBezTo>
                      <a:lnTo>
                        <a:pt x="47825" y="1270"/>
                      </a:lnTo>
                      <a:cubicBezTo>
                        <a:pt x="50817" y="-904"/>
                        <a:pt x="54985" y="-214"/>
                        <a:pt x="57133" y="2778"/>
                      </a:cubicBezTo>
                      <a:cubicBezTo>
                        <a:pt x="59281" y="5770"/>
                        <a:pt x="58616" y="9939"/>
                        <a:pt x="55624" y="12087"/>
                      </a:cubicBezTo>
                      <a:lnTo>
                        <a:pt x="10567" y="44614"/>
                      </a:lnTo>
                      <a:cubicBezTo>
                        <a:pt x="9416" y="45458"/>
                        <a:pt x="8035" y="45867"/>
                        <a:pt x="6680" y="45867"/>
                      </a:cubicBezTo>
                      <a:close/>
                    </a:path>
                  </a:pathLst>
                </a:custGeom>
                <a:grpFill/>
                <a:ln w="2553" cap="flat">
                  <a:noFill/>
                  <a:prstDash val="solid"/>
                  <a:miter/>
                </a:ln>
              </p:spPr>
              <p:txBody>
                <a:bodyPr rtlCol="0" anchor="ctr"/>
                <a:lstStyle/>
                <a:p>
                  <a:endParaRPr lang="en-GB" dirty="0"/>
                </a:p>
              </p:txBody>
            </p:sp>
            <p:sp>
              <p:nvSpPr>
                <p:cNvPr id="1658" name="Freihandform: Form 1657">
                  <a:extLst>
                    <a:ext uri="{FF2B5EF4-FFF2-40B4-BE49-F238E27FC236}">
                      <a16:creationId xmlns:a16="http://schemas.microsoft.com/office/drawing/2014/main" id="{6314B6BA-E3A2-4D5C-AC77-277D08D64391}"/>
                    </a:ext>
                  </a:extLst>
                </p:cNvPr>
                <p:cNvSpPr/>
                <p:nvPr/>
              </p:nvSpPr>
              <p:spPr>
                <a:xfrm>
                  <a:off x="7859459" y="4306678"/>
                  <a:ext cx="373766" cy="143499"/>
                </a:xfrm>
                <a:custGeom>
                  <a:avLst/>
                  <a:gdLst>
                    <a:gd name="connsiteX0" fmla="*/ 186909 w 373766"/>
                    <a:gd name="connsiteY0" fmla="*/ 143499 h 143499"/>
                    <a:gd name="connsiteX1" fmla="*/ 182997 w 373766"/>
                    <a:gd name="connsiteY1" fmla="*/ 142246 h 143499"/>
                    <a:gd name="connsiteX2" fmla="*/ 2767 w 373766"/>
                    <a:gd name="connsiteY2" fmla="*/ 12087 h 143499"/>
                    <a:gd name="connsiteX3" fmla="*/ 1259 w 373766"/>
                    <a:gd name="connsiteY3" fmla="*/ 2778 h 143499"/>
                    <a:gd name="connsiteX4" fmla="*/ 10567 w 373766"/>
                    <a:gd name="connsiteY4" fmla="*/ 1270 h 143499"/>
                    <a:gd name="connsiteX5" fmla="*/ 186883 w 373766"/>
                    <a:gd name="connsiteY5" fmla="*/ 128617 h 143499"/>
                    <a:gd name="connsiteX6" fmla="*/ 363200 w 373766"/>
                    <a:gd name="connsiteY6" fmla="*/ 1270 h 143499"/>
                    <a:gd name="connsiteX7" fmla="*/ 372508 w 373766"/>
                    <a:gd name="connsiteY7" fmla="*/ 2778 h 143499"/>
                    <a:gd name="connsiteX8" fmla="*/ 370999 w 373766"/>
                    <a:gd name="connsiteY8" fmla="*/ 12087 h 143499"/>
                    <a:gd name="connsiteX9" fmla="*/ 190770 w 373766"/>
                    <a:gd name="connsiteY9" fmla="*/ 142246 h 143499"/>
                    <a:gd name="connsiteX10" fmla="*/ 186909 w 373766"/>
                    <a:gd name="connsiteY10" fmla="*/ 143499 h 143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3766" h="143499">
                      <a:moveTo>
                        <a:pt x="186909" y="143499"/>
                      </a:moveTo>
                      <a:cubicBezTo>
                        <a:pt x="185528" y="143499"/>
                        <a:pt x="184173" y="143065"/>
                        <a:pt x="182997" y="142246"/>
                      </a:cubicBezTo>
                      <a:lnTo>
                        <a:pt x="2767" y="12087"/>
                      </a:lnTo>
                      <a:cubicBezTo>
                        <a:pt x="-224" y="9939"/>
                        <a:pt x="-889" y="5770"/>
                        <a:pt x="1259" y="2778"/>
                      </a:cubicBezTo>
                      <a:cubicBezTo>
                        <a:pt x="3407" y="-213"/>
                        <a:pt x="7575" y="-878"/>
                        <a:pt x="10567" y="1270"/>
                      </a:cubicBezTo>
                      <a:lnTo>
                        <a:pt x="186883" y="128617"/>
                      </a:lnTo>
                      <a:lnTo>
                        <a:pt x="363200" y="1270"/>
                      </a:lnTo>
                      <a:cubicBezTo>
                        <a:pt x="366192" y="-904"/>
                        <a:pt x="370360" y="-213"/>
                        <a:pt x="372508" y="2778"/>
                      </a:cubicBezTo>
                      <a:cubicBezTo>
                        <a:pt x="374656" y="5770"/>
                        <a:pt x="373991" y="9939"/>
                        <a:pt x="370999" y="12087"/>
                      </a:cubicBezTo>
                      <a:lnTo>
                        <a:pt x="190770" y="142246"/>
                      </a:lnTo>
                      <a:cubicBezTo>
                        <a:pt x="189645" y="143090"/>
                        <a:pt x="188264" y="143499"/>
                        <a:pt x="186909" y="143499"/>
                      </a:cubicBezTo>
                      <a:close/>
                    </a:path>
                  </a:pathLst>
                </a:custGeom>
                <a:grpFill/>
                <a:ln w="2553" cap="flat">
                  <a:noFill/>
                  <a:prstDash val="solid"/>
                  <a:miter/>
                </a:ln>
              </p:spPr>
              <p:txBody>
                <a:bodyPr rtlCol="0" anchor="ctr"/>
                <a:lstStyle/>
                <a:p>
                  <a:endParaRPr lang="en-GB" dirty="0"/>
                </a:p>
              </p:txBody>
            </p:sp>
            <p:sp>
              <p:nvSpPr>
                <p:cNvPr id="1659" name="Freihandform: Form 1658">
                  <a:extLst>
                    <a:ext uri="{FF2B5EF4-FFF2-40B4-BE49-F238E27FC236}">
                      <a16:creationId xmlns:a16="http://schemas.microsoft.com/office/drawing/2014/main" id="{59D3B507-19ED-431A-A2DC-27B97D329105}"/>
                    </a:ext>
                  </a:extLst>
                </p:cNvPr>
                <p:cNvSpPr/>
                <p:nvPr/>
              </p:nvSpPr>
              <p:spPr>
                <a:xfrm>
                  <a:off x="7859459" y="4440187"/>
                  <a:ext cx="147278" cy="110128"/>
                </a:xfrm>
                <a:custGeom>
                  <a:avLst/>
                  <a:gdLst>
                    <a:gd name="connsiteX0" fmla="*/ 6680 w 147278"/>
                    <a:gd name="connsiteY0" fmla="*/ 110129 h 110128"/>
                    <a:gd name="connsiteX1" fmla="*/ 1259 w 147278"/>
                    <a:gd name="connsiteY1" fmla="*/ 107367 h 110128"/>
                    <a:gd name="connsiteX2" fmla="*/ 2767 w 147278"/>
                    <a:gd name="connsiteY2" fmla="*/ 98059 h 110128"/>
                    <a:gd name="connsiteX3" fmla="*/ 136686 w 147278"/>
                    <a:gd name="connsiteY3" fmla="*/ 1270 h 110128"/>
                    <a:gd name="connsiteX4" fmla="*/ 146020 w 147278"/>
                    <a:gd name="connsiteY4" fmla="*/ 2779 h 110128"/>
                    <a:gd name="connsiteX5" fmla="*/ 144511 w 147278"/>
                    <a:gd name="connsiteY5" fmla="*/ 12086 h 110128"/>
                    <a:gd name="connsiteX6" fmla="*/ 10592 w 147278"/>
                    <a:gd name="connsiteY6" fmla="*/ 108876 h 110128"/>
                    <a:gd name="connsiteX7" fmla="*/ 6680 w 147278"/>
                    <a:gd name="connsiteY7" fmla="*/ 110129 h 110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7278" h="110128">
                      <a:moveTo>
                        <a:pt x="6680" y="110129"/>
                      </a:moveTo>
                      <a:cubicBezTo>
                        <a:pt x="4609" y="110129"/>
                        <a:pt x="2563" y="109182"/>
                        <a:pt x="1259" y="107367"/>
                      </a:cubicBezTo>
                      <a:cubicBezTo>
                        <a:pt x="-889" y="104375"/>
                        <a:pt x="-224" y="100207"/>
                        <a:pt x="2767" y="98059"/>
                      </a:cubicBezTo>
                      <a:lnTo>
                        <a:pt x="136686" y="1270"/>
                      </a:lnTo>
                      <a:cubicBezTo>
                        <a:pt x="139678" y="-904"/>
                        <a:pt x="143846" y="-213"/>
                        <a:pt x="146020" y="2779"/>
                      </a:cubicBezTo>
                      <a:cubicBezTo>
                        <a:pt x="148168" y="5770"/>
                        <a:pt x="147503" y="9939"/>
                        <a:pt x="144511" y="12086"/>
                      </a:cubicBezTo>
                      <a:lnTo>
                        <a:pt x="10592" y="108876"/>
                      </a:lnTo>
                      <a:cubicBezTo>
                        <a:pt x="9416" y="109719"/>
                        <a:pt x="8035" y="110129"/>
                        <a:pt x="6680" y="110129"/>
                      </a:cubicBezTo>
                      <a:close/>
                    </a:path>
                  </a:pathLst>
                </a:custGeom>
                <a:grpFill/>
                <a:ln w="2553" cap="flat">
                  <a:noFill/>
                  <a:prstDash val="solid"/>
                  <a:miter/>
                </a:ln>
              </p:spPr>
              <p:txBody>
                <a:bodyPr rtlCol="0" anchor="ctr"/>
                <a:lstStyle/>
                <a:p>
                  <a:endParaRPr lang="en-GB" dirty="0"/>
                </a:p>
              </p:txBody>
            </p:sp>
            <p:sp>
              <p:nvSpPr>
                <p:cNvPr id="1660" name="Freihandform: Form 1659">
                  <a:extLst>
                    <a:ext uri="{FF2B5EF4-FFF2-40B4-BE49-F238E27FC236}">
                      <a16:creationId xmlns:a16="http://schemas.microsoft.com/office/drawing/2014/main" id="{51F84785-E9D3-48A9-B355-DB6F1EC754DC}"/>
                    </a:ext>
                  </a:extLst>
                </p:cNvPr>
                <p:cNvSpPr/>
                <p:nvPr/>
              </p:nvSpPr>
              <p:spPr>
                <a:xfrm>
                  <a:off x="8085590" y="4440173"/>
                  <a:ext cx="34712" cy="28722"/>
                </a:xfrm>
                <a:custGeom>
                  <a:avLst/>
                  <a:gdLst>
                    <a:gd name="connsiteX0" fmla="*/ 28007 w 34712"/>
                    <a:gd name="connsiteY0" fmla="*/ 28723 h 28722"/>
                    <a:gd name="connsiteX1" fmla="*/ 24120 w 34712"/>
                    <a:gd name="connsiteY1" fmla="*/ 27470 h 28722"/>
                    <a:gd name="connsiteX2" fmla="*/ 2768 w 34712"/>
                    <a:gd name="connsiteY2" fmla="*/ 12101 h 28722"/>
                    <a:gd name="connsiteX3" fmla="*/ 1259 w 34712"/>
                    <a:gd name="connsiteY3" fmla="*/ 2768 h 28722"/>
                    <a:gd name="connsiteX4" fmla="*/ 10593 w 34712"/>
                    <a:gd name="connsiteY4" fmla="*/ 1259 h 28722"/>
                    <a:gd name="connsiteX5" fmla="*/ 31945 w 34712"/>
                    <a:gd name="connsiteY5" fmla="*/ 16627 h 28722"/>
                    <a:gd name="connsiteX6" fmla="*/ 33454 w 34712"/>
                    <a:gd name="connsiteY6" fmla="*/ 25961 h 28722"/>
                    <a:gd name="connsiteX7" fmla="*/ 28007 w 34712"/>
                    <a:gd name="connsiteY7" fmla="*/ 28723 h 28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12" h="28722">
                      <a:moveTo>
                        <a:pt x="28007" y="28723"/>
                      </a:moveTo>
                      <a:cubicBezTo>
                        <a:pt x="26651" y="28723"/>
                        <a:pt x="25296" y="28314"/>
                        <a:pt x="24120" y="27470"/>
                      </a:cubicBezTo>
                      <a:lnTo>
                        <a:pt x="2768" y="12101"/>
                      </a:lnTo>
                      <a:cubicBezTo>
                        <a:pt x="-224" y="9953"/>
                        <a:pt x="-889" y="5785"/>
                        <a:pt x="1259" y="2768"/>
                      </a:cubicBezTo>
                      <a:cubicBezTo>
                        <a:pt x="3407" y="-224"/>
                        <a:pt x="7575" y="-889"/>
                        <a:pt x="10593" y="1259"/>
                      </a:cubicBezTo>
                      <a:lnTo>
                        <a:pt x="31945" y="16627"/>
                      </a:lnTo>
                      <a:cubicBezTo>
                        <a:pt x="34937" y="18775"/>
                        <a:pt x="35601" y="22944"/>
                        <a:pt x="33454" y="25961"/>
                      </a:cubicBezTo>
                      <a:cubicBezTo>
                        <a:pt x="32124" y="27751"/>
                        <a:pt x="30078" y="28723"/>
                        <a:pt x="28007" y="28723"/>
                      </a:cubicBezTo>
                      <a:close/>
                    </a:path>
                  </a:pathLst>
                </a:custGeom>
                <a:grpFill/>
                <a:ln w="2553" cap="flat">
                  <a:noFill/>
                  <a:prstDash val="solid"/>
                  <a:miter/>
                </a:ln>
              </p:spPr>
              <p:txBody>
                <a:bodyPr rtlCol="0" anchor="ctr"/>
                <a:lstStyle/>
                <a:p>
                  <a:endParaRPr lang="en-GB" dirty="0"/>
                </a:p>
              </p:txBody>
            </p:sp>
          </p:grpSp>
          <p:sp>
            <p:nvSpPr>
              <p:cNvPr id="1652" name="Freihandform: Form 1651">
                <a:extLst>
                  <a:ext uri="{FF2B5EF4-FFF2-40B4-BE49-F238E27FC236}">
                    <a16:creationId xmlns:a16="http://schemas.microsoft.com/office/drawing/2014/main" id="{81358F8B-12E3-4AAC-9090-7E5D5F6E3276}"/>
                  </a:ext>
                </a:extLst>
              </p:cNvPr>
              <p:cNvSpPr/>
              <p:nvPr/>
            </p:nvSpPr>
            <p:spPr>
              <a:xfrm>
                <a:off x="7906185" y="4223254"/>
                <a:ext cx="280342" cy="126809"/>
              </a:xfrm>
              <a:custGeom>
                <a:avLst/>
                <a:gdLst>
                  <a:gd name="connsiteX0" fmla="*/ 273668 w 280342"/>
                  <a:gd name="connsiteY0" fmla="*/ 126810 h 126809"/>
                  <a:gd name="connsiteX1" fmla="*/ 266994 w 280342"/>
                  <a:gd name="connsiteY1" fmla="*/ 120136 h 126809"/>
                  <a:gd name="connsiteX2" fmla="*/ 266994 w 280342"/>
                  <a:gd name="connsiteY2" fmla="*/ 13348 h 126809"/>
                  <a:gd name="connsiteX3" fmla="*/ 13348 w 280342"/>
                  <a:gd name="connsiteY3" fmla="*/ 13348 h 126809"/>
                  <a:gd name="connsiteX4" fmla="*/ 13348 w 280342"/>
                  <a:gd name="connsiteY4" fmla="*/ 120136 h 126809"/>
                  <a:gd name="connsiteX5" fmla="*/ 6674 w 280342"/>
                  <a:gd name="connsiteY5" fmla="*/ 126810 h 126809"/>
                  <a:gd name="connsiteX6" fmla="*/ 0 w 280342"/>
                  <a:gd name="connsiteY6" fmla="*/ 120136 h 126809"/>
                  <a:gd name="connsiteX7" fmla="*/ 0 w 280342"/>
                  <a:gd name="connsiteY7" fmla="*/ 6674 h 126809"/>
                  <a:gd name="connsiteX8" fmla="*/ 6674 w 280342"/>
                  <a:gd name="connsiteY8" fmla="*/ 0 h 126809"/>
                  <a:gd name="connsiteX9" fmla="*/ 273668 w 280342"/>
                  <a:gd name="connsiteY9" fmla="*/ 0 h 126809"/>
                  <a:gd name="connsiteX10" fmla="*/ 280342 w 280342"/>
                  <a:gd name="connsiteY10" fmla="*/ 6674 h 126809"/>
                  <a:gd name="connsiteX11" fmla="*/ 280342 w 280342"/>
                  <a:gd name="connsiteY11" fmla="*/ 120136 h 126809"/>
                  <a:gd name="connsiteX12" fmla="*/ 273668 w 280342"/>
                  <a:gd name="connsiteY12" fmla="*/ 126810 h 126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0342" h="126809">
                    <a:moveTo>
                      <a:pt x="273668" y="126810"/>
                    </a:moveTo>
                    <a:cubicBezTo>
                      <a:pt x="269986" y="126810"/>
                      <a:pt x="266994" y="123818"/>
                      <a:pt x="266994" y="120136"/>
                    </a:cubicBezTo>
                    <a:lnTo>
                      <a:pt x="266994" y="13348"/>
                    </a:lnTo>
                    <a:lnTo>
                      <a:pt x="13348" y="13348"/>
                    </a:lnTo>
                    <a:lnTo>
                      <a:pt x="13348" y="120136"/>
                    </a:lnTo>
                    <a:cubicBezTo>
                      <a:pt x="13348" y="123818"/>
                      <a:pt x="10357" y="126810"/>
                      <a:pt x="6674" y="126810"/>
                    </a:cubicBezTo>
                    <a:cubicBezTo>
                      <a:pt x="2992" y="126810"/>
                      <a:pt x="0" y="123818"/>
                      <a:pt x="0" y="120136"/>
                    </a:cubicBezTo>
                    <a:lnTo>
                      <a:pt x="0" y="6674"/>
                    </a:lnTo>
                    <a:cubicBezTo>
                      <a:pt x="0" y="2992"/>
                      <a:pt x="2992" y="0"/>
                      <a:pt x="6674" y="0"/>
                    </a:cubicBezTo>
                    <a:lnTo>
                      <a:pt x="273668" y="0"/>
                    </a:lnTo>
                    <a:cubicBezTo>
                      <a:pt x="277350" y="0"/>
                      <a:pt x="280342" y="2992"/>
                      <a:pt x="280342" y="6674"/>
                    </a:cubicBezTo>
                    <a:lnTo>
                      <a:pt x="280342" y="120136"/>
                    </a:lnTo>
                    <a:cubicBezTo>
                      <a:pt x="280342" y="123818"/>
                      <a:pt x="277350" y="126810"/>
                      <a:pt x="273668" y="126810"/>
                    </a:cubicBezTo>
                    <a:close/>
                  </a:path>
                </a:pathLst>
              </a:custGeom>
              <a:grpFill/>
              <a:ln w="2553" cap="flat">
                <a:noFill/>
                <a:prstDash val="solid"/>
                <a:miter/>
              </a:ln>
            </p:spPr>
            <p:txBody>
              <a:bodyPr rtlCol="0" anchor="ctr"/>
              <a:lstStyle/>
              <a:p>
                <a:endParaRPr lang="en-GB" dirty="0"/>
              </a:p>
            </p:txBody>
          </p:sp>
        </p:grpSp>
        <p:grpSp>
          <p:nvGrpSpPr>
            <p:cNvPr id="1642" name="Gruppieren 1641">
              <a:extLst>
                <a:ext uri="{FF2B5EF4-FFF2-40B4-BE49-F238E27FC236}">
                  <a16:creationId xmlns:a16="http://schemas.microsoft.com/office/drawing/2014/main" id="{A23FD5F1-3810-4252-83AF-2DE1A693DDEF}"/>
                </a:ext>
              </a:extLst>
            </p:cNvPr>
            <p:cNvGrpSpPr/>
            <p:nvPr/>
          </p:nvGrpSpPr>
          <p:grpSpPr>
            <a:xfrm>
              <a:off x="8196521" y="4195634"/>
              <a:ext cx="374926" cy="333820"/>
              <a:chOff x="7944568" y="4276648"/>
              <a:chExt cx="382356" cy="340435"/>
            </a:xfrm>
          </p:grpSpPr>
          <p:grpSp>
            <p:nvGrpSpPr>
              <p:cNvPr id="1643" name="Grafik 313">
                <a:extLst>
                  <a:ext uri="{FF2B5EF4-FFF2-40B4-BE49-F238E27FC236}">
                    <a16:creationId xmlns:a16="http://schemas.microsoft.com/office/drawing/2014/main" id="{7D0765F0-A0B9-42E0-A864-308A992A3E2F}"/>
                  </a:ext>
                </a:extLst>
              </p:cNvPr>
              <p:cNvGrpSpPr/>
              <p:nvPr/>
            </p:nvGrpSpPr>
            <p:grpSpPr>
              <a:xfrm>
                <a:off x="7944568" y="4326691"/>
                <a:ext cx="203576" cy="53419"/>
                <a:chOff x="7944568" y="4326691"/>
                <a:chExt cx="203576" cy="53419"/>
              </a:xfrm>
              <a:solidFill>
                <a:schemeClr val="accent1"/>
              </a:solidFill>
            </p:grpSpPr>
            <p:sp>
              <p:nvSpPr>
                <p:cNvPr id="1649" name="Freihandform: Form 1648">
                  <a:extLst>
                    <a:ext uri="{FF2B5EF4-FFF2-40B4-BE49-F238E27FC236}">
                      <a16:creationId xmlns:a16="http://schemas.microsoft.com/office/drawing/2014/main" id="{9978B2F1-B6A1-46A2-934F-C0BCEBF80FE3}"/>
                    </a:ext>
                  </a:extLst>
                </p:cNvPr>
                <p:cNvSpPr/>
                <p:nvPr/>
              </p:nvSpPr>
              <p:spPr>
                <a:xfrm>
                  <a:off x="7987963" y="4366762"/>
                  <a:ext cx="116811" cy="13348"/>
                </a:xfrm>
                <a:custGeom>
                  <a:avLst/>
                  <a:gdLst>
                    <a:gd name="connsiteX0" fmla="*/ 110137 w 116811"/>
                    <a:gd name="connsiteY0" fmla="*/ 13348 h 13348"/>
                    <a:gd name="connsiteX1" fmla="*/ 6674 w 116811"/>
                    <a:gd name="connsiteY1" fmla="*/ 13348 h 13348"/>
                    <a:gd name="connsiteX2" fmla="*/ 0 w 116811"/>
                    <a:gd name="connsiteY2" fmla="*/ 6674 h 13348"/>
                    <a:gd name="connsiteX3" fmla="*/ 6674 w 116811"/>
                    <a:gd name="connsiteY3" fmla="*/ 0 h 13348"/>
                    <a:gd name="connsiteX4" fmla="*/ 110137 w 116811"/>
                    <a:gd name="connsiteY4" fmla="*/ 0 h 13348"/>
                    <a:gd name="connsiteX5" fmla="*/ 116812 w 116811"/>
                    <a:gd name="connsiteY5" fmla="*/ 6674 h 13348"/>
                    <a:gd name="connsiteX6" fmla="*/ 110137 w 116811"/>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811" h="13348">
                      <a:moveTo>
                        <a:pt x="110137" y="13348"/>
                      </a:moveTo>
                      <a:lnTo>
                        <a:pt x="6674" y="13348"/>
                      </a:lnTo>
                      <a:cubicBezTo>
                        <a:pt x="2992" y="13348"/>
                        <a:pt x="0" y="10357"/>
                        <a:pt x="0" y="6674"/>
                      </a:cubicBezTo>
                      <a:cubicBezTo>
                        <a:pt x="0" y="2992"/>
                        <a:pt x="2992" y="0"/>
                        <a:pt x="6674" y="0"/>
                      </a:cubicBezTo>
                      <a:lnTo>
                        <a:pt x="110137" y="0"/>
                      </a:lnTo>
                      <a:cubicBezTo>
                        <a:pt x="113820" y="0"/>
                        <a:pt x="116812" y="2992"/>
                        <a:pt x="116812" y="6674"/>
                      </a:cubicBezTo>
                      <a:cubicBezTo>
                        <a:pt x="116812" y="10357"/>
                        <a:pt x="113820" y="13348"/>
                        <a:pt x="110137" y="13348"/>
                      </a:cubicBezTo>
                      <a:close/>
                    </a:path>
                  </a:pathLst>
                </a:custGeom>
                <a:solidFill>
                  <a:schemeClr val="accent1"/>
                </a:solidFill>
                <a:ln w="2553" cap="flat">
                  <a:noFill/>
                  <a:prstDash val="solid"/>
                  <a:miter/>
                </a:ln>
              </p:spPr>
              <p:txBody>
                <a:bodyPr rtlCol="0" anchor="ctr"/>
                <a:lstStyle/>
                <a:p>
                  <a:endParaRPr lang="en-GB" dirty="0"/>
                </a:p>
              </p:txBody>
            </p:sp>
            <p:sp>
              <p:nvSpPr>
                <p:cNvPr id="1650" name="Freihandform: Form 1649">
                  <a:extLst>
                    <a:ext uri="{FF2B5EF4-FFF2-40B4-BE49-F238E27FC236}">
                      <a16:creationId xmlns:a16="http://schemas.microsoft.com/office/drawing/2014/main" id="{ED041C22-F471-45A9-8447-7173D9893D57}"/>
                    </a:ext>
                  </a:extLst>
                </p:cNvPr>
                <p:cNvSpPr/>
                <p:nvPr/>
              </p:nvSpPr>
              <p:spPr>
                <a:xfrm>
                  <a:off x="7944568" y="4326691"/>
                  <a:ext cx="203576" cy="13348"/>
                </a:xfrm>
                <a:custGeom>
                  <a:avLst/>
                  <a:gdLst>
                    <a:gd name="connsiteX0" fmla="*/ 196902 w 203576"/>
                    <a:gd name="connsiteY0" fmla="*/ 13349 h 13348"/>
                    <a:gd name="connsiteX1" fmla="*/ 6674 w 203576"/>
                    <a:gd name="connsiteY1" fmla="*/ 13349 h 13348"/>
                    <a:gd name="connsiteX2" fmla="*/ 0 w 203576"/>
                    <a:gd name="connsiteY2" fmla="*/ 6674 h 13348"/>
                    <a:gd name="connsiteX3" fmla="*/ 6674 w 203576"/>
                    <a:gd name="connsiteY3" fmla="*/ 0 h 13348"/>
                    <a:gd name="connsiteX4" fmla="*/ 196902 w 203576"/>
                    <a:gd name="connsiteY4" fmla="*/ 0 h 13348"/>
                    <a:gd name="connsiteX5" fmla="*/ 203576 w 203576"/>
                    <a:gd name="connsiteY5" fmla="*/ 6674 h 13348"/>
                    <a:gd name="connsiteX6" fmla="*/ 196902 w 203576"/>
                    <a:gd name="connsiteY6" fmla="*/ 13349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3576" h="13348">
                      <a:moveTo>
                        <a:pt x="196902" y="13349"/>
                      </a:moveTo>
                      <a:lnTo>
                        <a:pt x="6674" y="13349"/>
                      </a:lnTo>
                      <a:cubicBezTo>
                        <a:pt x="2992" y="13349"/>
                        <a:pt x="0" y="10357"/>
                        <a:pt x="0" y="6674"/>
                      </a:cubicBezTo>
                      <a:cubicBezTo>
                        <a:pt x="0" y="2992"/>
                        <a:pt x="2992" y="0"/>
                        <a:pt x="6674" y="0"/>
                      </a:cubicBezTo>
                      <a:lnTo>
                        <a:pt x="196902" y="0"/>
                      </a:lnTo>
                      <a:cubicBezTo>
                        <a:pt x="200584" y="0"/>
                        <a:pt x="203576" y="2992"/>
                        <a:pt x="203576" y="6674"/>
                      </a:cubicBezTo>
                      <a:cubicBezTo>
                        <a:pt x="203576" y="10382"/>
                        <a:pt x="200610" y="13349"/>
                        <a:pt x="196902" y="13349"/>
                      </a:cubicBezTo>
                      <a:close/>
                    </a:path>
                  </a:pathLst>
                </a:custGeom>
                <a:solidFill>
                  <a:schemeClr val="accent1"/>
                </a:solidFill>
                <a:ln w="2553" cap="flat">
                  <a:noFill/>
                  <a:prstDash val="solid"/>
                  <a:miter/>
                </a:ln>
              </p:spPr>
              <p:txBody>
                <a:bodyPr rtlCol="0" anchor="ctr"/>
                <a:lstStyle/>
                <a:p>
                  <a:endParaRPr lang="en-GB" dirty="0"/>
                </a:p>
              </p:txBody>
            </p:sp>
          </p:grpSp>
          <p:sp>
            <p:nvSpPr>
              <p:cNvPr id="1644" name="Freihandform: Form 1643">
                <a:extLst>
                  <a:ext uri="{FF2B5EF4-FFF2-40B4-BE49-F238E27FC236}">
                    <a16:creationId xmlns:a16="http://schemas.microsoft.com/office/drawing/2014/main" id="{D86874AC-5330-4436-9633-6A52EA833EED}"/>
                  </a:ext>
                </a:extLst>
              </p:cNvPr>
              <p:cNvSpPr/>
              <p:nvPr/>
            </p:nvSpPr>
            <p:spPr>
              <a:xfrm>
                <a:off x="7994637" y="4276648"/>
                <a:ext cx="103463" cy="13348"/>
              </a:xfrm>
              <a:custGeom>
                <a:avLst/>
                <a:gdLst>
                  <a:gd name="connsiteX0" fmla="*/ 96789 w 103463"/>
                  <a:gd name="connsiteY0" fmla="*/ 13348 h 13348"/>
                  <a:gd name="connsiteX1" fmla="*/ 6674 w 103463"/>
                  <a:gd name="connsiteY1" fmla="*/ 13348 h 13348"/>
                  <a:gd name="connsiteX2" fmla="*/ 0 w 103463"/>
                  <a:gd name="connsiteY2" fmla="*/ 6674 h 13348"/>
                  <a:gd name="connsiteX3" fmla="*/ 6674 w 103463"/>
                  <a:gd name="connsiteY3" fmla="*/ 0 h 13348"/>
                  <a:gd name="connsiteX4" fmla="*/ 96789 w 103463"/>
                  <a:gd name="connsiteY4" fmla="*/ 0 h 13348"/>
                  <a:gd name="connsiteX5" fmla="*/ 103463 w 103463"/>
                  <a:gd name="connsiteY5" fmla="*/ 6674 h 13348"/>
                  <a:gd name="connsiteX6" fmla="*/ 96789 w 103463"/>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463" h="13348">
                    <a:moveTo>
                      <a:pt x="96789" y="13348"/>
                    </a:moveTo>
                    <a:lnTo>
                      <a:pt x="6674" y="13348"/>
                    </a:lnTo>
                    <a:cubicBezTo>
                      <a:pt x="2992" y="13348"/>
                      <a:pt x="0" y="10357"/>
                      <a:pt x="0" y="6674"/>
                    </a:cubicBezTo>
                    <a:cubicBezTo>
                      <a:pt x="0" y="2992"/>
                      <a:pt x="2992" y="0"/>
                      <a:pt x="6674" y="0"/>
                    </a:cubicBezTo>
                    <a:lnTo>
                      <a:pt x="96789" y="0"/>
                    </a:lnTo>
                    <a:cubicBezTo>
                      <a:pt x="100471" y="0"/>
                      <a:pt x="103463" y="2992"/>
                      <a:pt x="103463" y="6674"/>
                    </a:cubicBezTo>
                    <a:cubicBezTo>
                      <a:pt x="103463" y="10357"/>
                      <a:pt x="100471" y="13348"/>
                      <a:pt x="96789" y="13348"/>
                    </a:cubicBezTo>
                    <a:close/>
                  </a:path>
                </a:pathLst>
              </a:custGeom>
              <a:solidFill>
                <a:schemeClr val="accent1"/>
              </a:solidFill>
              <a:ln w="2553" cap="flat">
                <a:noFill/>
                <a:prstDash val="solid"/>
                <a:miter/>
              </a:ln>
            </p:spPr>
            <p:txBody>
              <a:bodyPr rtlCol="0" anchor="ctr"/>
              <a:lstStyle/>
              <a:p>
                <a:endParaRPr lang="en-GB" dirty="0"/>
              </a:p>
            </p:txBody>
          </p:sp>
          <p:grpSp>
            <p:nvGrpSpPr>
              <p:cNvPr id="1645" name="Grafik 313">
                <a:extLst>
                  <a:ext uri="{FF2B5EF4-FFF2-40B4-BE49-F238E27FC236}">
                    <a16:creationId xmlns:a16="http://schemas.microsoft.com/office/drawing/2014/main" id="{2B825947-1172-42F7-827B-3F38258EBB04}"/>
                  </a:ext>
                </a:extLst>
              </p:cNvPr>
              <p:cNvGrpSpPr/>
              <p:nvPr/>
            </p:nvGrpSpPr>
            <p:grpSpPr>
              <a:xfrm>
                <a:off x="8024167" y="4414037"/>
                <a:ext cx="302757" cy="203046"/>
                <a:chOff x="8024167" y="4414037"/>
                <a:chExt cx="302757" cy="203046"/>
              </a:xfrm>
              <a:solidFill>
                <a:schemeClr val="accent1"/>
              </a:solidFill>
            </p:grpSpPr>
            <p:sp>
              <p:nvSpPr>
                <p:cNvPr id="1646" name="Freihandform: Form 1645">
                  <a:extLst>
                    <a:ext uri="{FF2B5EF4-FFF2-40B4-BE49-F238E27FC236}">
                      <a16:creationId xmlns:a16="http://schemas.microsoft.com/office/drawing/2014/main" id="{DD80F96C-C55D-41FB-91BB-FB9AB7DA99D2}"/>
                    </a:ext>
                  </a:extLst>
                </p:cNvPr>
                <p:cNvSpPr/>
                <p:nvPr/>
              </p:nvSpPr>
              <p:spPr>
                <a:xfrm>
                  <a:off x="8024167" y="4414037"/>
                  <a:ext cx="302757" cy="197420"/>
                </a:xfrm>
                <a:custGeom>
                  <a:avLst/>
                  <a:gdLst>
                    <a:gd name="connsiteX0" fmla="*/ 186679 w 302757"/>
                    <a:gd name="connsiteY0" fmla="*/ 197420 h 197420"/>
                    <a:gd name="connsiteX1" fmla="*/ 183610 w 302757"/>
                    <a:gd name="connsiteY1" fmla="*/ 196679 h 197420"/>
                    <a:gd name="connsiteX2" fmla="*/ 106384 w 302757"/>
                    <a:gd name="connsiteY2" fmla="*/ 156813 h 197420"/>
                    <a:gd name="connsiteX3" fmla="*/ 102804 w 302757"/>
                    <a:gd name="connsiteY3" fmla="*/ 151622 h 197420"/>
                    <a:gd name="connsiteX4" fmla="*/ 105156 w 302757"/>
                    <a:gd name="connsiteY4" fmla="*/ 145766 h 197420"/>
                    <a:gd name="connsiteX5" fmla="*/ 150392 w 302757"/>
                    <a:gd name="connsiteY5" fmla="*/ 107792 h 197420"/>
                    <a:gd name="connsiteX6" fmla="*/ 85134 w 302757"/>
                    <a:gd name="connsiteY6" fmla="*/ 144922 h 197420"/>
                    <a:gd name="connsiteX7" fmla="*/ 78587 w 302757"/>
                    <a:gd name="connsiteY7" fmla="*/ 144948 h 197420"/>
                    <a:gd name="connsiteX8" fmla="*/ 3432 w 302757"/>
                    <a:gd name="connsiteY8" fmla="*/ 103010 h 197420"/>
                    <a:gd name="connsiteX9" fmla="*/ 31 w 302757"/>
                    <a:gd name="connsiteY9" fmla="*/ 96489 h 197420"/>
                    <a:gd name="connsiteX10" fmla="*/ 4685 w 302757"/>
                    <a:gd name="connsiteY10" fmla="*/ 90812 h 197420"/>
                    <a:gd name="connsiteX11" fmla="*/ 294080 w 302757"/>
                    <a:gd name="connsiteY11" fmla="*/ 314 h 197420"/>
                    <a:gd name="connsiteX12" fmla="*/ 301317 w 302757"/>
                    <a:gd name="connsiteY12" fmla="*/ 2539 h 197420"/>
                    <a:gd name="connsiteX13" fmla="*/ 301828 w 302757"/>
                    <a:gd name="connsiteY13" fmla="*/ 10083 h 197420"/>
                    <a:gd name="connsiteX14" fmla="*/ 192407 w 302757"/>
                    <a:gd name="connsiteY14" fmla="*/ 194173 h 197420"/>
                    <a:gd name="connsiteX15" fmla="*/ 186679 w 302757"/>
                    <a:gd name="connsiteY15" fmla="*/ 197420 h 197420"/>
                    <a:gd name="connsiteX16" fmla="*/ 121445 w 302757"/>
                    <a:gd name="connsiteY16" fmla="*/ 149550 h 197420"/>
                    <a:gd name="connsiteX17" fmla="*/ 184173 w 302757"/>
                    <a:gd name="connsiteY17" fmla="*/ 181950 h 197420"/>
                    <a:gd name="connsiteX18" fmla="*/ 281473 w 302757"/>
                    <a:gd name="connsiteY18" fmla="*/ 18265 h 197420"/>
                    <a:gd name="connsiteX19" fmla="*/ 23531 w 302757"/>
                    <a:gd name="connsiteY19" fmla="*/ 98919 h 197420"/>
                    <a:gd name="connsiteX20" fmla="*/ 81835 w 302757"/>
                    <a:gd name="connsiteY20" fmla="*/ 131446 h 197420"/>
                    <a:gd name="connsiteX21" fmla="*/ 207724 w 302757"/>
                    <a:gd name="connsiteY21" fmla="*/ 59819 h 197420"/>
                    <a:gd name="connsiteX22" fmla="*/ 216495 w 302757"/>
                    <a:gd name="connsiteY22" fmla="*/ 61814 h 197420"/>
                    <a:gd name="connsiteX23" fmla="*/ 215293 w 302757"/>
                    <a:gd name="connsiteY23" fmla="*/ 70738 h 197420"/>
                    <a:gd name="connsiteX24" fmla="*/ 121445 w 302757"/>
                    <a:gd name="connsiteY24" fmla="*/ 149550 h 19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02757" h="197420">
                      <a:moveTo>
                        <a:pt x="186679" y="197420"/>
                      </a:moveTo>
                      <a:cubicBezTo>
                        <a:pt x="185656" y="197420"/>
                        <a:pt x="184607" y="197190"/>
                        <a:pt x="183610" y="196679"/>
                      </a:cubicBezTo>
                      <a:lnTo>
                        <a:pt x="106384" y="156813"/>
                      </a:lnTo>
                      <a:cubicBezTo>
                        <a:pt x="104389" y="155790"/>
                        <a:pt x="103059" y="153846"/>
                        <a:pt x="102804" y="151622"/>
                      </a:cubicBezTo>
                      <a:cubicBezTo>
                        <a:pt x="102548" y="149397"/>
                        <a:pt x="103443" y="147198"/>
                        <a:pt x="105156" y="145766"/>
                      </a:cubicBezTo>
                      <a:lnTo>
                        <a:pt x="150392" y="107792"/>
                      </a:lnTo>
                      <a:lnTo>
                        <a:pt x="85134" y="144922"/>
                      </a:lnTo>
                      <a:cubicBezTo>
                        <a:pt x="83088" y="146073"/>
                        <a:pt x="80608" y="146098"/>
                        <a:pt x="78587" y="144948"/>
                      </a:cubicBezTo>
                      <a:lnTo>
                        <a:pt x="3432" y="103010"/>
                      </a:lnTo>
                      <a:cubicBezTo>
                        <a:pt x="1105" y="101706"/>
                        <a:pt x="-224" y="99149"/>
                        <a:pt x="31" y="96489"/>
                      </a:cubicBezTo>
                      <a:cubicBezTo>
                        <a:pt x="312" y="93830"/>
                        <a:pt x="2128" y="91605"/>
                        <a:pt x="4685" y="90812"/>
                      </a:cubicBezTo>
                      <a:lnTo>
                        <a:pt x="294080" y="314"/>
                      </a:lnTo>
                      <a:cubicBezTo>
                        <a:pt x="296714" y="-530"/>
                        <a:pt x="299603" y="365"/>
                        <a:pt x="301317" y="2539"/>
                      </a:cubicBezTo>
                      <a:cubicBezTo>
                        <a:pt x="303030" y="4712"/>
                        <a:pt x="303234" y="7704"/>
                        <a:pt x="301828" y="10083"/>
                      </a:cubicBezTo>
                      <a:lnTo>
                        <a:pt x="192407" y="194173"/>
                      </a:lnTo>
                      <a:cubicBezTo>
                        <a:pt x="191205" y="196244"/>
                        <a:pt x="188980" y="197420"/>
                        <a:pt x="186679" y="197420"/>
                      </a:cubicBezTo>
                      <a:close/>
                      <a:moveTo>
                        <a:pt x="121445" y="149550"/>
                      </a:moveTo>
                      <a:lnTo>
                        <a:pt x="184173" y="181950"/>
                      </a:lnTo>
                      <a:lnTo>
                        <a:pt x="281473" y="18265"/>
                      </a:lnTo>
                      <a:lnTo>
                        <a:pt x="23531" y="98919"/>
                      </a:lnTo>
                      <a:lnTo>
                        <a:pt x="81835" y="131446"/>
                      </a:lnTo>
                      <a:lnTo>
                        <a:pt x="207724" y="59819"/>
                      </a:lnTo>
                      <a:cubicBezTo>
                        <a:pt x="210716" y="58106"/>
                        <a:pt x="214526" y="58976"/>
                        <a:pt x="216495" y="61814"/>
                      </a:cubicBezTo>
                      <a:cubicBezTo>
                        <a:pt x="218464" y="64652"/>
                        <a:pt x="217953" y="68514"/>
                        <a:pt x="215293" y="70738"/>
                      </a:cubicBezTo>
                      <a:lnTo>
                        <a:pt x="121445" y="149550"/>
                      </a:lnTo>
                      <a:close/>
                    </a:path>
                  </a:pathLst>
                </a:custGeom>
                <a:solidFill>
                  <a:schemeClr val="accent1"/>
                </a:solidFill>
                <a:ln w="2553" cap="flat">
                  <a:noFill/>
                  <a:prstDash val="solid"/>
                  <a:miter/>
                </a:ln>
              </p:spPr>
              <p:txBody>
                <a:bodyPr rtlCol="0" anchor="ctr"/>
                <a:lstStyle/>
                <a:p>
                  <a:endParaRPr lang="en-GB" dirty="0"/>
                </a:p>
              </p:txBody>
            </p:sp>
            <p:sp>
              <p:nvSpPr>
                <p:cNvPr id="1647" name="Freihandform: Form 1646">
                  <a:extLst>
                    <a:ext uri="{FF2B5EF4-FFF2-40B4-BE49-F238E27FC236}">
                      <a16:creationId xmlns:a16="http://schemas.microsoft.com/office/drawing/2014/main" id="{AE79429F-2037-4517-984E-7FA1334BE8D2}"/>
                    </a:ext>
                  </a:extLst>
                </p:cNvPr>
                <p:cNvSpPr/>
                <p:nvPr/>
              </p:nvSpPr>
              <p:spPr>
                <a:xfrm>
                  <a:off x="8099174" y="4547145"/>
                  <a:ext cx="64255" cy="69938"/>
                </a:xfrm>
                <a:custGeom>
                  <a:avLst/>
                  <a:gdLst>
                    <a:gd name="connsiteX0" fmla="*/ 6854 w 64255"/>
                    <a:gd name="connsiteY0" fmla="*/ 69938 h 69938"/>
                    <a:gd name="connsiteX1" fmla="*/ 3478 w 64255"/>
                    <a:gd name="connsiteY1" fmla="*/ 69018 h 69938"/>
                    <a:gd name="connsiteX2" fmla="*/ 179 w 64255"/>
                    <a:gd name="connsiteY2" fmla="*/ 63290 h 69938"/>
                    <a:gd name="connsiteX3" fmla="*/ 0 w 64255"/>
                    <a:gd name="connsiteY3" fmla="*/ 6700 h 69938"/>
                    <a:gd name="connsiteX4" fmla="*/ 6649 w 64255"/>
                    <a:gd name="connsiteY4" fmla="*/ 0 h 69938"/>
                    <a:gd name="connsiteX5" fmla="*/ 6674 w 64255"/>
                    <a:gd name="connsiteY5" fmla="*/ 0 h 69938"/>
                    <a:gd name="connsiteX6" fmla="*/ 13348 w 64255"/>
                    <a:gd name="connsiteY6" fmla="*/ 6649 h 69938"/>
                    <a:gd name="connsiteX7" fmla="*/ 13476 w 64255"/>
                    <a:gd name="connsiteY7" fmla="*/ 51936 h 69938"/>
                    <a:gd name="connsiteX8" fmla="*/ 54340 w 64255"/>
                    <a:gd name="connsiteY8" fmla="*/ 29279 h 69938"/>
                    <a:gd name="connsiteX9" fmla="*/ 63418 w 64255"/>
                    <a:gd name="connsiteY9" fmla="*/ 31888 h 69938"/>
                    <a:gd name="connsiteX10" fmla="*/ 60810 w 64255"/>
                    <a:gd name="connsiteY10" fmla="*/ 40966 h 69938"/>
                    <a:gd name="connsiteX11" fmla="*/ 10076 w 64255"/>
                    <a:gd name="connsiteY11" fmla="*/ 69095 h 69938"/>
                    <a:gd name="connsiteX12" fmla="*/ 6854 w 64255"/>
                    <a:gd name="connsiteY12" fmla="*/ 69938 h 6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255" h="69938">
                      <a:moveTo>
                        <a:pt x="6854" y="69938"/>
                      </a:moveTo>
                      <a:cubicBezTo>
                        <a:pt x="5677" y="69938"/>
                        <a:pt x="4526" y="69632"/>
                        <a:pt x="3478" y="69018"/>
                      </a:cubicBezTo>
                      <a:cubicBezTo>
                        <a:pt x="1432" y="67816"/>
                        <a:pt x="179" y="65642"/>
                        <a:pt x="179" y="63290"/>
                      </a:cubicBezTo>
                      <a:lnTo>
                        <a:pt x="0" y="6700"/>
                      </a:lnTo>
                      <a:cubicBezTo>
                        <a:pt x="-25" y="3017"/>
                        <a:pt x="2967" y="26"/>
                        <a:pt x="6649" y="0"/>
                      </a:cubicBezTo>
                      <a:cubicBezTo>
                        <a:pt x="6649" y="0"/>
                        <a:pt x="6674" y="0"/>
                        <a:pt x="6674" y="0"/>
                      </a:cubicBezTo>
                      <a:cubicBezTo>
                        <a:pt x="10357" y="0"/>
                        <a:pt x="13348" y="2966"/>
                        <a:pt x="13348" y="6649"/>
                      </a:cubicBezTo>
                      <a:lnTo>
                        <a:pt x="13476" y="51936"/>
                      </a:lnTo>
                      <a:lnTo>
                        <a:pt x="54340" y="29279"/>
                      </a:lnTo>
                      <a:cubicBezTo>
                        <a:pt x="57562" y="27490"/>
                        <a:pt x="61628" y="28666"/>
                        <a:pt x="63418" y="31888"/>
                      </a:cubicBezTo>
                      <a:cubicBezTo>
                        <a:pt x="65208" y="35110"/>
                        <a:pt x="64032" y="39176"/>
                        <a:pt x="60810" y="40966"/>
                      </a:cubicBezTo>
                      <a:lnTo>
                        <a:pt x="10076" y="69095"/>
                      </a:lnTo>
                      <a:cubicBezTo>
                        <a:pt x="9104" y="69657"/>
                        <a:pt x="7979" y="69938"/>
                        <a:pt x="6854" y="69938"/>
                      </a:cubicBezTo>
                      <a:close/>
                    </a:path>
                  </a:pathLst>
                </a:custGeom>
                <a:solidFill>
                  <a:schemeClr val="accent1"/>
                </a:solidFill>
                <a:ln w="2553" cap="flat">
                  <a:noFill/>
                  <a:prstDash val="solid"/>
                  <a:miter/>
                </a:ln>
              </p:spPr>
              <p:txBody>
                <a:bodyPr rtlCol="0" anchor="ctr"/>
                <a:lstStyle/>
                <a:p>
                  <a:endParaRPr lang="en-GB" dirty="0"/>
                </a:p>
              </p:txBody>
            </p:sp>
            <p:sp>
              <p:nvSpPr>
                <p:cNvPr id="1648" name="Freihandform: Form 1647">
                  <a:extLst>
                    <a:ext uri="{FF2B5EF4-FFF2-40B4-BE49-F238E27FC236}">
                      <a16:creationId xmlns:a16="http://schemas.microsoft.com/office/drawing/2014/main" id="{E6369D59-4E97-402D-82E0-B69F06FE7C54}"/>
                    </a:ext>
                  </a:extLst>
                </p:cNvPr>
                <p:cNvSpPr/>
                <p:nvPr/>
              </p:nvSpPr>
              <p:spPr>
                <a:xfrm>
                  <a:off x="8099554" y="4558418"/>
                  <a:ext cx="40794" cy="58511"/>
                </a:xfrm>
                <a:custGeom>
                  <a:avLst/>
                  <a:gdLst>
                    <a:gd name="connsiteX0" fmla="*/ 6652 w 40794"/>
                    <a:gd name="connsiteY0" fmla="*/ 58512 h 58511"/>
                    <a:gd name="connsiteX1" fmla="*/ 3200 w 40794"/>
                    <a:gd name="connsiteY1" fmla="*/ 57540 h 58511"/>
                    <a:gd name="connsiteX2" fmla="*/ 976 w 40794"/>
                    <a:gd name="connsiteY2" fmla="*/ 48360 h 58511"/>
                    <a:gd name="connsiteX3" fmla="*/ 28414 w 40794"/>
                    <a:gd name="connsiteY3" fmla="*/ 3200 h 58511"/>
                    <a:gd name="connsiteX4" fmla="*/ 37594 w 40794"/>
                    <a:gd name="connsiteY4" fmla="*/ 976 h 58511"/>
                    <a:gd name="connsiteX5" fmla="*/ 39819 w 40794"/>
                    <a:gd name="connsiteY5" fmla="*/ 10156 h 58511"/>
                    <a:gd name="connsiteX6" fmla="*/ 12380 w 40794"/>
                    <a:gd name="connsiteY6" fmla="*/ 55315 h 58511"/>
                    <a:gd name="connsiteX7" fmla="*/ 6652 w 40794"/>
                    <a:gd name="connsiteY7" fmla="*/ 58512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94" h="58511">
                      <a:moveTo>
                        <a:pt x="6652" y="58512"/>
                      </a:moveTo>
                      <a:cubicBezTo>
                        <a:pt x="5476" y="58512"/>
                        <a:pt x="4274" y="58205"/>
                        <a:pt x="3200" y="57540"/>
                      </a:cubicBezTo>
                      <a:cubicBezTo>
                        <a:pt x="55" y="55622"/>
                        <a:pt x="-942" y="51505"/>
                        <a:pt x="976" y="48360"/>
                      </a:cubicBezTo>
                      <a:lnTo>
                        <a:pt x="28414" y="3200"/>
                      </a:lnTo>
                      <a:cubicBezTo>
                        <a:pt x="30332" y="55"/>
                        <a:pt x="34449" y="-942"/>
                        <a:pt x="37594" y="976"/>
                      </a:cubicBezTo>
                      <a:cubicBezTo>
                        <a:pt x="40740" y="2893"/>
                        <a:pt x="41737" y="7010"/>
                        <a:pt x="39819" y="10156"/>
                      </a:cubicBezTo>
                      <a:lnTo>
                        <a:pt x="12380" y="55315"/>
                      </a:lnTo>
                      <a:cubicBezTo>
                        <a:pt x="11102" y="57361"/>
                        <a:pt x="8903" y="58512"/>
                        <a:pt x="6652" y="58512"/>
                      </a:cubicBezTo>
                      <a:close/>
                    </a:path>
                  </a:pathLst>
                </a:custGeom>
                <a:solidFill>
                  <a:schemeClr val="accent1"/>
                </a:solidFill>
                <a:ln w="2553" cap="flat">
                  <a:noFill/>
                  <a:prstDash val="solid"/>
                  <a:miter/>
                </a:ln>
              </p:spPr>
              <p:txBody>
                <a:bodyPr rtlCol="0" anchor="ctr"/>
                <a:lstStyle/>
                <a:p>
                  <a:endParaRPr lang="en-GB" dirty="0"/>
                </a:p>
              </p:txBody>
            </p:sp>
          </p:grpSp>
        </p:grpSp>
      </p:grpSp>
      <p:sp>
        <p:nvSpPr>
          <p:cNvPr id="1661" name="TextBox 1422">
            <a:extLst>
              <a:ext uri="{FF2B5EF4-FFF2-40B4-BE49-F238E27FC236}">
                <a16:creationId xmlns:a16="http://schemas.microsoft.com/office/drawing/2014/main" id="{1ACF1C92-11B3-41B9-91BB-6159ACFAFEC2}"/>
              </a:ext>
            </a:extLst>
          </p:cNvPr>
          <p:cNvSpPr txBox="1"/>
          <p:nvPr/>
        </p:nvSpPr>
        <p:spPr>
          <a:xfrm>
            <a:off x="8096608" y="4547732"/>
            <a:ext cx="492121" cy="107722"/>
          </a:xfrm>
          <a:prstGeom prst="rect">
            <a:avLst/>
          </a:prstGeom>
          <a:noFill/>
          <a:effectLst/>
        </p:spPr>
        <p:txBody>
          <a:bodyPr wrap="none" lIns="0" tIns="0" rIns="0" bIns="0" rtlCol="0" anchor="t" anchorCtr="0">
            <a:spAutoFit/>
          </a:bodyPr>
          <a:lstStyle/>
          <a:p>
            <a:pPr algn="ctr"/>
            <a:r>
              <a:rPr lang="en-GB" sz="700" dirty="0">
                <a:solidFill>
                  <a:schemeClr val="tx2"/>
                </a:solidFill>
              </a:rPr>
              <a:t>Subscription</a:t>
            </a:r>
          </a:p>
        </p:txBody>
      </p:sp>
      <p:grpSp>
        <p:nvGrpSpPr>
          <p:cNvPr id="34" name="Group 33">
            <a:extLst>
              <a:ext uri="{FF2B5EF4-FFF2-40B4-BE49-F238E27FC236}">
                <a16:creationId xmlns:a16="http://schemas.microsoft.com/office/drawing/2014/main" id="{2F3B5EC8-C322-4D81-904C-966E468FB053}"/>
              </a:ext>
            </a:extLst>
          </p:cNvPr>
          <p:cNvGrpSpPr/>
          <p:nvPr/>
        </p:nvGrpSpPr>
        <p:grpSpPr>
          <a:xfrm>
            <a:off x="5983783" y="4097454"/>
            <a:ext cx="549839" cy="432000"/>
            <a:chOff x="5983371" y="4097454"/>
            <a:chExt cx="549839" cy="432000"/>
          </a:xfrm>
        </p:grpSpPr>
        <p:grpSp>
          <p:nvGrpSpPr>
            <p:cNvPr id="1663" name="Gruppieren 1662">
              <a:extLst>
                <a:ext uri="{FF2B5EF4-FFF2-40B4-BE49-F238E27FC236}">
                  <a16:creationId xmlns:a16="http://schemas.microsoft.com/office/drawing/2014/main" id="{7709EF15-804A-45DF-A817-E76DC967609A}"/>
                </a:ext>
              </a:extLst>
            </p:cNvPr>
            <p:cNvGrpSpPr/>
            <p:nvPr/>
          </p:nvGrpSpPr>
          <p:grpSpPr>
            <a:xfrm>
              <a:off x="5983371" y="4191703"/>
              <a:ext cx="251358" cy="239321"/>
              <a:chOff x="6157389" y="4283322"/>
              <a:chExt cx="213600" cy="203371"/>
            </a:xfrm>
          </p:grpSpPr>
          <p:sp>
            <p:nvSpPr>
              <p:cNvPr id="1673" name="Freihandform: Form 1672">
                <a:extLst>
                  <a:ext uri="{FF2B5EF4-FFF2-40B4-BE49-F238E27FC236}">
                    <a16:creationId xmlns:a16="http://schemas.microsoft.com/office/drawing/2014/main" id="{2904AD3D-CA75-4D3E-B7F9-39318C58BA07}"/>
                  </a:ext>
                </a:extLst>
              </p:cNvPr>
              <p:cNvSpPr/>
              <p:nvPr/>
            </p:nvSpPr>
            <p:spPr>
              <a:xfrm>
                <a:off x="6157389" y="4283322"/>
                <a:ext cx="213600" cy="203371"/>
              </a:xfrm>
              <a:custGeom>
                <a:avLst/>
                <a:gdLst>
                  <a:gd name="connsiteX0" fmla="*/ 106813 w 213600"/>
                  <a:gd name="connsiteY0" fmla="*/ 203372 h 203371"/>
                  <a:gd name="connsiteX1" fmla="*/ 95485 w 213600"/>
                  <a:gd name="connsiteY1" fmla="*/ 197081 h 203371"/>
                  <a:gd name="connsiteX2" fmla="*/ 69632 w 213600"/>
                  <a:gd name="connsiteY2" fmla="*/ 153507 h 203371"/>
                  <a:gd name="connsiteX3" fmla="*/ 20023 w 213600"/>
                  <a:gd name="connsiteY3" fmla="*/ 153507 h 203371"/>
                  <a:gd name="connsiteX4" fmla="*/ 0 w 213600"/>
                  <a:gd name="connsiteY4" fmla="*/ 133484 h 203371"/>
                  <a:gd name="connsiteX5" fmla="*/ 0 w 213600"/>
                  <a:gd name="connsiteY5" fmla="*/ 20023 h 203371"/>
                  <a:gd name="connsiteX6" fmla="*/ 20023 w 213600"/>
                  <a:gd name="connsiteY6" fmla="*/ 0 h 203371"/>
                  <a:gd name="connsiteX7" fmla="*/ 193577 w 213600"/>
                  <a:gd name="connsiteY7" fmla="*/ 0 h 203371"/>
                  <a:gd name="connsiteX8" fmla="*/ 213600 w 213600"/>
                  <a:gd name="connsiteY8" fmla="*/ 20023 h 203371"/>
                  <a:gd name="connsiteX9" fmla="*/ 213600 w 213600"/>
                  <a:gd name="connsiteY9" fmla="*/ 133484 h 203371"/>
                  <a:gd name="connsiteX10" fmla="*/ 193577 w 213600"/>
                  <a:gd name="connsiteY10" fmla="*/ 153507 h 203371"/>
                  <a:gd name="connsiteX11" fmla="*/ 143968 w 213600"/>
                  <a:gd name="connsiteY11" fmla="*/ 153507 h 203371"/>
                  <a:gd name="connsiteX12" fmla="*/ 118192 w 213600"/>
                  <a:gd name="connsiteY12" fmla="*/ 196953 h 203371"/>
                  <a:gd name="connsiteX13" fmla="*/ 106813 w 213600"/>
                  <a:gd name="connsiteY13" fmla="*/ 203372 h 203371"/>
                  <a:gd name="connsiteX14" fmla="*/ 20048 w 213600"/>
                  <a:gd name="connsiteY14" fmla="*/ 13348 h 203371"/>
                  <a:gd name="connsiteX15" fmla="*/ 13374 w 213600"/>
                  <a:gd name="connsiteY15" fmla="*/ 20023 h 203371"/>
                  <a:gd name="connsiteX16" fmla="*/ 13374 w 213600"/>
                  <a:gd name="connsiteY16" fmla="*/ 133484 h 203371"/>
                  <a:gd name="connsiteX17" fmla="*/ 20048 w 213600"/>
                  <a:gd name="connsiteY17" fmla="*/ 140158 h 203371"/>
                  <a:gd name="connsiteX18" fmla="*/ 73442 w 213600"/>
                  <a:gd name="connsiteY18" fmla="*/ 140158 h 203371"/>
                  <a:gd name="connsiteX19" fmla="*/ 79170 w 213600"/>
                  <a:gd name="connsiteY19" fmla="*/ 143431 h 203371"/>
                  <a:gd name="connsiteX20" fmla="*/ 106890 w 213600"/>
                  <a:gd name="connsiteY20" fmla="*/ 190151 h 203371"/>
                  <a:gd name="connsiteX21" fmla="*/ 134456 w 213600"/>
                  <a:gd name="connsiteY21" fmla="*/ 143431 h 203371"/>
                  <a:gd name="connsiteX22" fmla="*/ 140184 w 213600"/>
                  <a:gd name="connsiteY22" fmla="*/ 140158 h 203371"/>
                  <a:gd name="connsiteX23" fmla="*/ 193577 w 213600"/>
                  <a:gd name="connsiteY23" fmla="*/ 140158 h 203371"/>
                  <a:gd name="connsiteX24" fmla="*/ 200252 w 213600"/>
                  <a:gd name="connsiteY24" fmla="*/ 133484 h 203371"/>
                  <a:gd name="connsiteX25" fmla="*/ 200252 w 213600"/>
                  <a:gd name="connsiteY25" fmla="*/ 20023 h 203371"/>
                  <a:gd name="connsiteX26" fmla="*/ 193577 w 213600"/>
                  <a:gd name="connsiteY26" fmla="*/ 13348 h 203371"/>
                  <a:gd name="connsiteX27" fmla="*/ 20048 w 213600"/>
                  <a:gd name="connsiteY27" fmla="*/ 13348 h 203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13600" h="203371">
                    <a:moveTo>
                      <a:pt x="106813" y="203372"/>
                    </a:moveTo>
                    <a:cubicBezTo>
                      <a:pt x="102184" y="203372"/>
                      <a:pt x="97939" y="201019"/>
                      <a:pt x="95485" y="197081"/>
                    </a:cubicBezTo>
                    <a:lnTo>
                      <a:pt x="69632" y="153507"/>
                    </a:lnTo>
                    <a:lnTo>
                      <a:pt x="20023" y="153507"/>
                    </a:lnTo>
                    <a:cubicBezTo>
                      <a:pt x="8976" y="153507"/>
                      <a:pt x="0" y="144531"/>
                      <a:pt x="0" y="133484"/>
                    </a:cubicBezTo>
                    <a:lnTo>
                      <a:pt x="0" y="20023"/>
                    </a:lnTo>
                    <a:cubicBezTo>
                      <a:pt x="0" y="8976"/>
                      <a:pt x="8976" y="0"/>
                      <a:pt x="20023" y="0"/>
                    </a:cubicBezTo>
                    <a:lnTo>
                      <a:pt x="193577" y="0"/>
                    </a:lnTo>
                    <a:cubicBezTo>
                      <a:pt x="204624" y="0"/>
                      <a:pt x="213600" y="8976"/>
                      <a:pt x="213600" y="20023"/>
                    </a:cubicBezTo>
                    <a:lnTo>
                      <a:pt x="213600" y="133484"/>
                    </a:lnTo>
                    <a:cubicBezTo>
                      <a:pt x="213600" y="144531"/>
                      <a:pt x="204624" y="153507"/>
                      <a:pt x="193577" y="153507"/>
                    </a:cubicBezTo>
                    <a:lnTo>
                      <a:pt x="143968" y="153507"/>
                    </a:lnTo>
                    <a:lnTo>
                      <a:pt x="118192" y="196953"/>
                    </a:lnTo>
                    <a:cubicBezTo>
                      <a:pt x="115686" y="201019"/>
                      <a:pt x="111441" y="203372"/>
                      <a:pt x="106813" y="203372"/>
                    </a:cubicBezTo>
                    <a:close/>
                    <a:moveTo>
                      <a:pt x="20048" y="13348"/>
                    </a:moveTo>
                    <a:cubicBezTo>
                      <a:pt x="16366" y="13348"/>
                      <a:pt x="13374" y="16340"/>
                      <a:pt x="13374" y="20023"/>
                    </a:cubicBezTo>
                    <a:lnTo>
                      <a:pt x="13374" y="133484"/>
                    </a:lnTo>
                    <a:cubicBezTo>
                      <a:pt x="13374" y="137166"/>
                      <a:pt x="16366" y="140158"/>
                      <a:pt x="20048" y="140158"/>
                    </a:cubicBezTo>
                    <a:lnTo>
                      <a:pt x="73442" y="140158"/>
                    </a:lnTo>
                    <a:cubicBezTo>
                      <a:pt x="75794" y="140158"/>
                      <a:pt x="77994" y="141411"/>
                      <a:pt x="79170" y="143431"/>
                    </a:cubicBezTo>
                    <a:lnTo>
                      <a:pt x="106890" y="190151"/>
                    </a:lnTo>
                    <a:lnTo>
                      <a:pt x="134456" y="143431"/>
                    </a:lnTo>
                    <a:cubicBezTo>
                      <a:pt x="135658" y="141411"/>
                      <a:pt x="137831" y="140158"/>
                      <a:pt x="140184" y="140158"/>
                    </a:cubicBezTo>
                    <a:lnTo>
                      <a:pt x="193577" y="140158"/>
                    </a:lnTo>
                    <a:cubicBezTo>
                      <a:pt x="197260" y="140158"/>
                      <a:pt x="200252" y="137166"/>
                      <a:pt x="200252" y="133484"/>
                    </a:cubicBezTo>
                    <a:lnTo>
                      <a:pt x="200252" y="20023"/>
                    </a:lnTo>
                    <a:cubicBezTo>
                      <a:pt x="200252" y="16340"/>
                      <a:pt x="197260" y="13348"/>
                      <a:pt x="193577" y="13348"/>
                    </a:cubicBezTo>
                    <a:lnTo>
                      <a:pt x="20048" y="13348"/>
                    </a:lnTo>
                    <a:close/>
                  </a:path>
                </a:pathLst>
              </a:custGeom>
              <a:solidFill>
                <a:schemeClr val="accent1"/>
              </a:solidFill>
              <a:ln w="2553" cap="flat">
                <a:noFill/>
                <a:prstDash val="solid"/>
                <a:miter/>
              </a:ln>
            </p:spPr>
            <p:txBody>
              <a:bodyPr rtlCol="0" anchor="ctr"/>
              <a:lstStyle/>
              <a:p>
                <a:endParaRPr lang="en-GB" dirty="0"/>
              </a:p>
            </p:txBody>
          </p:sp>
          <p:sp>
            <p:nvSpPr>
              <p:cNvPr id="1674" name="Freihandform: Form 1673">
                <a:extLst>
                  <a:ext uri="{FF2B5EF4-FFF2-40B4-BE49-F238E27FC236}">
                    <a16:creationId xmlns:a16="http://schemas.microsoft.com/office/drawing/2014/main" id="{567D8DFC-57A7-40AC-B69B-1921FF84A2D4}"/>
                  </a:ext>
                </a:extLst>
              </p:cNvPr>
              <p:cNvSpPr/>
              <p:nvPr/>
            </p:nvSpPr>
            <p:spPr>
              <a:xfrm>
                <a:off x="6190786" y="4330041"/>
                <a:ext cx="146832" cy="13348"/>
              </a:xfrm>
              <a:custGeom>
                <a:avLst/>
                <a:gdLst>
                  <a:gd name="connsiteX0" fmla="*/ 140158 w 146832"/>
                  <a:gd name="connsiteY0" fmla="*/ 13348 h 13348"/>
                  <a:gd name="connsiteX1" fmla="*/ 6674 w 146832"/>
                  <a:gd name="connsiteY1" fmla="*/ 13348 h 13348"/>
                  <a:gd name="connsiteX2" fmla="*/ 0 w 146832"/>
                  <a:gd name="connsiteY2" fmla="*/ 6674 h 13348"/>
                  <a:gd name="connsiteX3" fmla="*/ 6674 w 146832"/>
                  <a:gd name="connsiteY3" fmla="*/ 0 h 13348"/>
                  <a:gd name="connsiteX4" fmla="*/ 140158 w 146832"/>
                  <a:gd name="connsiteY4" fmla="*/ 0 h 13348"/>
                  <a:gd name="connsiteX5" fmla="*/ 146832 w 146832"/>
                  <a:gd name="connsiteY5" fmla="*/ 6674 h 13348"/>
                  <a:gd name="connsiteX6" fmla="*/ 140158 w 146832"/>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832" h="13348">
                    <a:moveTo>
                      <a:pt x="140158" y="13348"/>
                    </a:moveTo>
                    <a:lnTo>
                      <a:pt x="6674" y="13348"/>
                    </a:lnTo>
                    <a:cubicBezTo>
                      <a:pt x="2992" y="13348"/>
                      <a:pt x="0" y="10356"/>
                      <a:pt x="0" y="6674"/>
                    </a:cubicBezTo>
                    <a:cubicBezTo>
                      <a:pt x="0" y="2992"/>
                      <a:pt x="2992" y="0"/>
                      <a:pt x="6674" y="0"/>
                    </a:cubicBezTo>
                    <a:lnTo>
                      <a:pt x="140158" y="0"/>
                    </a:lnTo>
                    <a:cubicBezTo>
                      <a:pt x="143841" y="0"/>
                      <a:pt x="146832" y="2992"/>
                      <a:pt x="146832" y="6674"/>
                    </a:cubicBezTo>
                    <a:cubicBezTo>
                      <a:pt x="146832" y="10356"/>
                      <a:pt x="143841" y="13348"/>
                      <a:pt x="140158" y="13348"/>
                    </a:cubicBezTo>
                    <a:close/>
                  </a:path>
                </a:pathLst>
              </a:custGeom>
              <a:solidFill>
                <a:schemeClr val="accent1"/>
              </a:solidFill>
              <a:ln w="2553" cap="flat">
                <a:noFill/>
                <a:prstDash val="solid"/>
                <a:miter/>
              </a:ln>
            </p:spPr>
            <p:txBody>
              <a:bodyPr rtlCol="0" anchor="ctr"/>
              <a:lstStyle/>
              <a:p>
                <a:endParaRPr lang="en-GB" dirty="0"/>
              </a:p>
            </p:txBody>
          </p:sp>
          <p:sp>
            <p:nvSpPr>
              <p:cNvPr id="1675" name="Freihandform: Form 1674">
                <a:extLst>
                  <a:ext uri="{FF2B5EF4-FFF2-40B4-BE49-F238E27FC236}">
                    <a16:creationId xmlns:a16="http://schemas.microsoft.com/office/drawing/2014/main" id="{DB831068-FDAA-4978-894E-5153F27DD592}"/>
                  </a:ext>
                </a:extLst>
              </p:cNvPr>
              <p:cNvSpPr/>
              <p:nvPr/>
            </p:nvSpPr>
            <p:spPr>
              <a:xfrm>
                <a:off x="6190786" y="4370087"/>
                <a:ext cx="146832" cy="13348"/>
              </a:xfrm>
              <a:custGeom>
                <a:avLst/>
                <a:gdLst>
                  <a:gd name="connsiteX0" fmla="*/ 140158 w 146832"/>
                  <a:gd name="connsiteY0" fmla="*/ 13348 h 13348"/>
                  <a:gd name="connsiteX1" fmla="*/ 6674 w 146832"/>
                  <a:gd name="connsiteY1" fmla="*/ 13348 h 13348"/>
                  <a:gd name="connsiteX2" fmla="*/ 0 w 146832"/>
                  <a:gd name="connsiteY2" fmla="*/ 6674 h 13348"/>
                  <a:gd name="connsiteX3" fmla="*/ 6674 w 146832"/>
                  <a:gd name="connsiteY3" fmla="*/ 0 h 13348"/>
                  <a:gd name="connsiteX4" fmla="*/ 140158 w 146832"/>
                  <a:gd name="connsiteY4" fmla="*/ 0 h 13348"/>
                  <a:gd name="connsiteX5" fmla="*/ 146832 w 146832"/>
                  <a:gd name="connsiteY5" fmla="*/ 6674 h 13348"/>
                  <a:gd name="connsiteX6" fmla="*/ 140158 w 146832"/>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832" h="13348">
                    <a:moveTo>
                      <a:pt x="140158" y="13348"/>
                    </a:moveTo>
                    <a:lnTo>
                      <a:pt x="6674" y="13348"/>
                    </a:lnTo>
                    <a:cubicBezTo>
                      <a:pt x="2992" y="13348"/>
                      <a:pt x="0" y="10356"/>
                      <a:pt x="0" y="6674"/>
                    </a:cubicBezTo>
                    <a:cubicBezTo>
                      <a:pt x="0" y="2992"/>
                      <a:pt x="2992" y="0"/>
                      <a:pt x="6674" y="0"/>
                    </a:cubicBezTo>
                    <a:lnTo>
                      <a:pt x="140158" y="0"/>
                    </a:lnTo>
                    <a:cubicBezTo>
                      <a:pt x="143841" y="0"/>
                      <a:pt x="146832" y="2992"/>
                      <a:pt x="146832" y="6674"/>
                    </a:cubicBezTo>
                    <a:cubicBezTo>
                      <a:pt x="146832" y="10356"/>
                      <a:pt x="143841" y="13348"/>
                      <a:pt x="140158" y="13348"/>
                    </a:cubicBezTo>
                    <a:close/>
                  </a:path>
                </a:pathLst>
              </a:custGeom>
              <a:solidFill>
                <a:schemeClr val="accent1"/>
              </a:solidFill>
              <a:ln w="2553" cap="flat">
                <a:noFill/>
                <a:prstDash val="solid"/>
                <a:miter/>
              </a:ln>
            </p:spPr>
            <p:txBody>
              <a:bodyPr rtlCol="0" anchor="ctr"/>
              <a:lstStyle/>
              <a:p>
                <a:endParaRPr lang="en-GB" dirty="0"/>
              </a:p>
            </p:txBody>
          </p:sp>
        </p:grpSp>
        <p:grpSp>
          <p:nvGrpSpPr>
            <p:cNvPr id="1664" name="Gruppieren 1663">
              <a:extLst>
                <a:ext uri="{FF2B5EF4-FFF2-40B4-BE49-F238E27FC236}">
                  <a16:creationId xmlns:a16="http://schemas.microsoft.com/office/drawing/2014/main" id="{64232C55-3587-4601-9A20-ACA42BECAEF7}"/>
                </a:ext>
              </a:extLst>
            </p:cNvPr>
            <p:cNvGrpSpPr/>
            <p:nvPr/>
          </p:nvGrpSpPr>
          <p:grpSpPr>
            <a:xfrm>
              <a:off x="6101211" y="4097454"/>
              <a:ext cx="431999" cy="432000"/>
              <a:chOff x="6257528" y="4203231"/>
              <a:chExt cx="367106" cy="367107"/>
            </a:xfrm>
          </p:grpSpPr>
          <p:sp>
            <p:nvSpPr>
              <p:cNvPr id="1665" name="Freihandform: Form 1664">
                <a:extLst>
                  <a:ext uri="{FF2B5EF4-FFF2-40B4-BE49-F238E27FC236}">
                    <a16:creationId xmlns:a16="http://schemas.microsoft.com/office/drawing/2014/main" id="{D0A8C9E7-7E6E-4E5E-ABF0-854E1EE2B157}"/>
                  </a:ext>
                </a:extLst>
              </p:cNvPr>
              <p:cNvSpPr/>
              <p:nvPr/>
            </p:nvSpPr>
            <p:spPr>
              <a:xfrm>
                <a:off x="6257553" y="4203231"/>
                <a:ext cx="367081" cy="367106"/>
              </a:xfrm>
              <a:custGeom>
                <a:avLst/>
                <a:gdLst>
                  <a:gd name="connsiteX0" fmla="*/ 316245 w 367081"/>
                  <a:gd name="connsiteY0" fmla="*/ 367107 h 367106"/>
                  <a:gd name="connsiteX1" fmla="*/ 312818 w 367081"/>
                  <a:gd name="connsiteY1" fmla="*/ 367005 h 367106"/>
                  <a:gd name="connsiteX2" fmla="*/ 266968 w 367081"/>
                  <a:gd name="connsiteY2" fmla="*/ 313713 h 367106"/>
                  <a:gd name="connsiteX3" fmla="*/ 266968 w 367081"/>
                  <a:gd name="connsiteY3" fmla="*/ 89527 h 367106"/>
                  <a:gd name="connsiteX4" fmla="*/ 190790 w 367081"/>
                  <a:gd name="connsiteY4" fmla="*/ 13348 h 367106"/>
                  <a:gd name="connsiteX5" fmla="*/ 17721 w 367081"/>
                  <a:gd name="connsiteY5" fmla="*/ 13348 h 367106"/>
                  <a:gd name="connsiteX6" fmla="*/ 13348 w 367081"/>
                  <a:gd name="connsiteY6" fmla="*/ 17721 h 367106"/>
                  <a:gd name="connsiteX7" fmla="*/ 13348 w 367081"/>
                  <a:gd name="connsiteY7" fmla="*/ 86765 h 367106"/>
                  <a:gd name="connsiteX8" fmla="*/ 6674 w 367081"/>
                  <a:gd name="connsiteY8" fmla="*/ 93439 h 367106"/>
                  <a:gd name="connsiteX9" fmla="*/ 0 w 367081"/>
                  <a:gd name="connsiteY9" fmla="*/ 86765 h 367106"/>
                  <a:gd name="connsiteX10" fmla="*/ 0 w 367081"/>
                  <a:gd name="connsiteY10" fmla="*/ 17721 h 367106"/>
                  <a:gd name="connsiteX11" fmla="*/ 17721 w 367081"/>
                  <a:gd name="connsiteY11" fmla="*/ 0 h 367106"/>
                  <a:gd name="connsiteX12" fmla="*/ 193552 w 367081"/>
                  <a:gd name="connsiteY12" fmla="*/ 0 h 367106"/>
                  <a:gd name="connsiteX13" fmla="*/ 198283 w 367081"/>
                  <a:gd name="connsiteY13" fmla="*/ 1943 h 367106"/>
                  <a:gd name="connsiteX14" fmla="*/ 278373 w 367081"/>
                  <a:gd name="connsiteY14" fmla="*/ 82034 h 367106"/>
                  <a:gd name="connsiteX15" fmla="*/ 280317 w 367081"/>
                  <a:gd name="connsiteY15" fmla="*/ 86765 h 367106"/>
                  <a:gd name="connsiteX16" fmla="*/ 280317 w 367081"/>
                  <a:gd name="connsiteY16" fmla="*/ 313713 h 367106"/>
                  <a:gd name="connsiteX17" fmla="*/ 313688 w 367081"/>
                  <a:gd name="connsiteY17" fmla="*/ 353682 h 367106"/>
                  <a:gd name="connsiteX18" fmla="*/ 341868 w 367081"/>
                  <a:gd name="connsiteY18" fmla="*/ 343607 h 367106"/>
                  <a:gd name="connsiteX19" fmla="*/ 353733 w 367081"/>
                  <a:gd name="connsiteY19" fmla="*/ 316219 h 367106"/>
                  <a:gd name="connsiteX20" fmla="*/ 353733 w 367081"/>
                  <a:gd name="connsiteY20" fmla="*/ 194626 h 367106"/>
                  <a:gd name="connsiteX21" fmla="*/ 347059 w 367081"/>
                  <a:gd name="connsiteY21" fmla="*/ 186903 h 367106"/>
                  <a:gd name="connsiteX22" fmla="*/ 340384 w 367081"/>
                  <a:gd name="connsiteY22" fmla="*/ 186903 h 367106"/>
                  <a:gd name="connsiteX23" fmla="*/ 333710 w 367081"/>
                  <a:gd name="connsiteY23" fmla="*/ 180229 h 367106"/>
                  <a:gd name="connsiteX24" fmla="*/ 340384 w 367081"/>
                  <a:gd name="connsiteY24" fmla="*/ 173555 h 367106"/>
                  <a:gd name="connsiteX25" fmla="*/ 347059 w 367081"/>
                  <a:gd name="connsiteY25" fmla="*/ 173555 h 367106"/>
                  <a:gd name="connsiteX26" fmla="*/ 367081 w 367081"/>
                  <a:gd name="connsiteY26" fmla="*/ 194626 h 367106"/>
                  <a:gd name="connsiteX27" fmla="*/ 367081 w 367081"/>
                  <a:gd name="connsiteY27" fmla="*/ 316219 h 367106"/>
                  <a:gd name="connsiteX28" fmla="*/ 350997 w 367081"/>
                  <a:gd name="connsiteY28" fmla="*/ 353349 h 367106"/>
                  <a:gd name="connsiteX29" fmla="*/ 316245 w 367081"/>
                  <a:gd name="connsiteY29" fmla="*/ 367107 h 367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7081" h="367106">
                    <a:moveTo>
                      <a:pt x="316245" y="367107"/>
                    </a:moveTo>
                    <a:cubicBezTo>
                      <a:pt x="315120" y="367107"/>
                      <a:pt x="313969" y="367056"/>
                      <a:pt x="312818" y="367005"/>
                    </a:cubicBezTo>
                    <a:cubicBezTo>
                      <a:pt x="287119" y="365343"/>
                      <a:pt x="266968" y="341944"/>
                      <a:pt x="266968" y="313713"/>
                    </a:cubicBezTo>
                    <a:lnTo>
                      <a:pt x="266968" y="89527"/>
                    </a:lnTo>
                    <a:lnTo>
                      <a:pt x="190790" y="13348"/>
                    </a:lnTo>
                    <a:lnTo>
                      <a:pt x="17721" y="13348"/>
                    </a:lnTo>
                    <a:cubicBezTo>
                      <a:pt x="15317" y="13348"/>
                      <a:pt x="13348" y="15317"/>
                      <a:pt x="13348" y="17721"/>
                    </a:cubicBezTo>
                    <a:lnTo>
                      <a:pt x="13348" y="86765"/>
                    </a:lnTo>
                    <a:cubicBezTo>
                      <a:pt x="13348" y="90447"/>
                      <a:pt x="10357" y="93439"/>
                      <a:pt x="6674" y="93439"/>
                    </a:cubicBezTo>
                    <a:cubicBezTo>
                      <a:pt x="2992" y="93439"/>
                      <a:pt x="0" y="90447"/>
                      <a:pt x="0" y="86765"/>
                    </a:cubicBezTo>
                    <a:lnTo>
                      <a:pt x="0" y="17721"/>
                    </a:lnTo>
                    <a:cubicBezTo>
                      <a:pt x="0" y="7953"/>
                      <a:pt x="7953" y="0"/>
                      <a:pt x="17721" y="0"/>
                    </a:cubicBezTo>
                    <a:lnTo>
                      <a:pt x="193552" y="0"/>
                    </a:lnTo>
                    <a:cubicBezTo>
                      <a:pt x="195316" y="0"/>
                      <a:pt x="197030" y="716"/>
                      <a:pt x="198283" y="1943"/>
                    </a:cubicBezTo>
                    <a:lnTo>
                      <a:pt x="278373" y="82034"/>
                    </a:lnTo>
                    <a:cubicBezTo>
                      <a:pt x="279626" y="83287"/>
                      <a:pt x="280317" y="84975"/>
                      <a:pt x="280317" y="86765"/>
                    </a:cubicBezTo>
                    <a:lnTo>
                      <a:pt x="280317" y="313713"/>
                    </a:lnTo>
                    <a:cubicBezTo>
                      <a:pt x="280317" y="332304"/>
                      <a:pt x="292796" y="352326"/>
                      <a:pt x="313688" y="353682"/>
                    </a:cubicBezTo>
                    <a:cubicBezTo>
                      <a:pt x="324223" y="354398"/>
                      <a:pt x="334222" y="350792"/>
                      <a:pt x="341868" y="343607"/>
                    </a:cubicBezTo>
                    <a:cubicBezTo>
                      <a:pt x="349539" y="336421"/>
                      <a:pt x="353733" y="326704"/>
                      <a:pt x="353733" y="316219"/>
                    </a:cubicBezTo>
                    <a:lnTo>
                      <a:pt x="353733" y="194626"/>
                    </a:lnTo>
                    <a:cubicBezTo>
                      <a:pt x="353733" y="191864"/>
                      <a:pt x="350357" y="186903"/>
                      <a:pt x="347059" y="186903"/>
                    </a:cubicBezTo>
                    <a:lnTo>
                      <a:pt x="340384" y="186903"/>
                    </a:lnTo>
                    <a:cubicBezTo>
                      <a:pt x="336702" y="186903"/>
                      <a:pt x="333710" y="183911"/>
                      <a:pt x="333710" y="180229"/>
                    </a:cubicBezTo>
                    <a:cubicBezTo>
                      <a:pt x="333710" y="176547"/>
                      <a:pt x="336702" y="173555"/>
                      <a:pt x="340384" y="173555"/>
                    </a:cubicBezTo>
                    <a:lnTo>
                      <a:pt x="347059" y="173555"/>
                    </a:lnTo>
                    <a:cubicBezTo>
                      <a:pt x="358336" y="173555"/>
                      <a:pt x="367081" y="184883"/>
                      <a:pt x="367081" y="194626"/>
                    </a:cubicBezTo>
                    <a:lnTo>
                      <a:pt x="367081" y="316219"/>
                    </a:lnTo>
                    <a:cubicBezTo>
                      <a:pt x="367081" y="330232"/>
                      <a:pt x="361225" y="343760"/>
                      <a:pt x="350997" y="353349"/>
                    </a:cubicBezTo>
                    <a:cubicBezTo>
                      <a:pt x="341459" y="362274"/>
                      <a:pt x="329210" y="367107"/>
                      <a:pt x="316245" y="367107"/>
                    </a:cubicBezTo>
                    <a:close/>
                  </a:path>
                </a:pathLst>
              </a:custGeom>
              <a:solidFill>
                <a:schemeClr val="tx2"/>
              </a:solidFill>
              <a:ln w="2553" cap="flat">
                <a:noFill/>
                <a:prstDash val="solid"/>
                <a:miter/>
              </a:ln>
            </p:spPr>
            <p:txBody>
              <a:bodyPr rtlCol="0" anchor="ctr"/>
              <a:lstStyle/>
              <a:p>
                <a:endParaRPr lang="en-GB" dirty="0"/>
              </a:p>
            </p:txBody>
          </p:sp>
          <p:sp>
            <p:nvSpPr>
              <p:cNvPr id="1666" name="Freihandform: Form 1665">
                <a:extLst>
                  <a:ext uri="{FF2B5EF4-FFF2-40B4-BE49-F238E27FC236}">
                    <a16:creationId xmlns:a16="http://schemas.microsoft.com/office/drawing/2014/main" id="{730E157C-505F-4BF7-8CD7-386479EEF053}"/>
                  </a:ext>
                </a:extLst>
              </p:cNvPr>
              <p:cNvSpPr/>
              <p:nvPr/>
            </p:nvSpPr>
            <p:spPr>
              <a:xfrm>
                <a:off x="6257528" y="4503596"/>
                <a:ext cx="322893" cy="66742"/>
              </a:xfrm>
              <a:custGeom>
                <a:avLst/>
                <a:gdLst>
                  <a:gd name="connsiteX0" fmla="*/ 316219 w 322893"/>
                  <a:gd name="connsiteY0" fmla="*/ 66742 h 66742"/>
                  <a:gd name="connsiteX1" fmla="*/ 50888 w 322893"/>
                  <a:gd name="connsiteY1" fmla="*/ 66742 h 66742"/>
                  <a:gd name="connsiteX2" fmla="*/ 0 w 322893"/>
                  <a:gd name="connsiteY2" fmla="*/ 15854 h 66742"/>
                  <a:gd name="connsiteX3" fmla="*/ 0 w 322893"/>
                  <a:gd name="connsiteY3" fmla="*/ 6674 h 66742"/>
                  <a:gd name="connsiteX4" fmla="*/ 6674 w 322893"/>
                  <a:gd name="connsiteY4" fmla="*/ 0 h 66742"/>
                  <a:gd name="connsiteX5" fmla="*/ 13348 w 322893"/>
                  <a:gd name="connsiteY5" fmla="*/ 6674 h 66742"/>
                  <a:gd name="connsiteX6" fmla="*/ 13348 w 322893"/>
                  <a:gd name="connsiteY6" fmla="*/ 15854 h 66742"/>
                  <a:gd name="connsiteX7" fmla="*/ 50888 w 322893"/>
                  <a:gd name="connsiteY7" fmla="*/ 53394 h 66742"/>
                  <a:gd name="connsiteX8" fmla="*/ 316219 w 322893"/>
                  <a:gd name="connsiteY8" fmla="*/ 53394 h 66742"/>
                  <a:gd name="connsiteX9" fmla="*/ 322893 w 322893"/>
                  <a:gd name="connsiteY9" fmla="*/ 60068 h 66742"/>
                  <a:gd name="connsiteX10" fmla="*/ 316219 w 322893"/>
                  <a:gd name="connsiteY10"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2893" h="66742">
                    <a:moveTo>
                      <a:pt x="316219" y="66742"/>
                    </a:moveTo>
                    <a:lnTo>
                      <a:pt x="50888" y="66742"/>
                    </a:lnTo>
                    <a:cubicBezTo>
                      <a:pt x="22835" y="66742"/>
                      <a:pt x="0" y="43907"/>
                      <a:pt x="0" y="15854"/>
                    </a:cubicBezTo>
                    <a:lnTo>
                      <a:pt x="0" y="6674"/>
                    </a:lnTo>
                    <a:cubicBezTo>
                      <a:pt x="0" y="2992"/>
                      <a:pt x="2992" y="0"/>
                      <a:pt x="6674" y="0"/>
                    </a:cubicBezTo>
                    <a:cubicBezTo>
                      <a:pt x="10356" y="0"/>
                      <a:pt x="13348" y="2992"/>
                      <a:pt x="13348" y="6674"/>
                    </a:cubicBezTo>
                    <a:lnTo>
                      <a:pt x="13348" y="15854"/>
                    </a:lnTo>
                    <a:cubicBezTo>
                      <a:pt x="13348" y="36568"/>
                      <a:pt x="30200" y="53394"/>
                      <a:pt x="50888" y="53394"/>
                    </a:cubicBezTo>
                    <a:lnTo>
                      <a:pt x="316219" y="53394"/>
                    </a:lnTo>
                    <a:cubicBezTo>
                      <a:pt x="319902" y="53394"/>
                      <a:pt x="322893" y="56386"/>
                      <a:pt x="322893" y="60068"/>
                    </a:cubicBezTo>
                    <a:cubicBezTo>
                      <a:pt x="322893" y="63750"/>
                      <a:pt x="319902" y="66742"/>
                      <a:pt x="316219" y="66742"/>
                    </a:cubicBezTo>
                    <a:close/>
                  </a:path>
                </a:pathLst>
              </a:custGeom>
              <a:solidFill>
                <a:schemeClr val="tx2"/>
              </a:solidFill>
              <a:ln w="2553" cap="flat">
                <a:noFill/>
                <a:prstDash val="solid"/>
                <a:miter/>
              </a:ln>
            </p:spPr>
            <p:txBody>
              <a:bodyPr rtlCol="0" anchor="ctr"/>
              <a:lstStyle/>
              <a:p>
                <a:endParaRPr lang="en-GB" dirty="0"/>
              </a:p>
            </p:txBody>
          </p:sp>
          <p:sp>
            <p:nvSpPr>
              <p:cNvPr id="1667" name="Freihandform: Form 1666">
                <a:extLst>
                  <a:ext uri="{FF2B5EF4-FFF2-40B4-BE49-F238E27FC236}">
                    <a16:creationId xmlns:a16="http://schemas.microsoft.com/office/drawing/2014/main" id="{12C586AD-011E-438B-80C0-1C9FD001014A}"/>
                  </a:ext>
                </a:extLst>
              </p:cNvPr>
              <p:cNvSpPr/>
              <p:nvPr/>
            </p:nvSpPr>
            <p:spPr>
              <a:xfrm>
                <a:off x="6551219" y="4303344"/>
                <a:ext cx="33370" cy="220274"/>
              </a:xfrm>
              <a:custGeom>
                <a:avLst/>
                <a:gdLst>
                  <a:gd name="connsiteX0" fmla="*/ 26697 w 33370"/>
                  <a:gd name="connsiteY0" fmla="*/ 220274 h 220274"/>
                  <a:gd name="connsiteX1" fmla="*/ 20023 w 33370"/>
                  <a:gd name="connsiteY1" fmla="*/ 213600 h 220274"/>
                  <a:gd name="connsiteX2" fmla="*/ 20023 w 33370"/>
                  <a:gd name="connsiteY2" fmla="*/ 20023 h 220274"/>
                  <a:gd name="connsiteX3" fmla="*/ 13297 w 33370"/>
                  <a:gd name="connsiteY3" fmla="*/ 13349 h 220274"/>
                  <a:gd name="connsiteX4" fmla="*/ 6674 w 33370"/>
                  <a:gd name="connsiteY4" fmla="*/ 13349 h 220274"/>
                  <a:gd name="connsiteX5" fmla="*/ 0 w 33370"/>
                  <a:gd name="connsiteY5" fmla="*/ 6674 h 220274"/>
                  <a:gd name="connsiteX6" fmla="*/ 6674 w 33370"/>
                  <a:gd name="connsiteY6" fmla="*/ 0 h 220274"/>
                  <a:gd name="connsiteX7" fmla="*/ 13348 w 33370"/>
                  <a:gd name="connsiteY7" fmla="*/ 0 h 220274"/>
                  <a:gd name="connsiteX8" fmla="*/ 33371 w 33370"/>
                  <a:gd name="connsiteY8" fmla="*/ 20023 h 220274"/>
                  <a:gd name="connsiteX9" fmla="*/ 33371 w 33370"/>
                  <a:gd name="connsiteY9" fmla="*/ 213600 h 220274"/>
                  <a:gd name="connsiteX10" fmla="*/ 26697 w 33370"/>
                  <a:gd name="connsiteY10" fmla="*/ 220274 h 22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370" h="220274">
                    <a:moveTo>
                      <a:pt x="26697" y="220274"/>
                    </a:moveTo>
                    <a:cubicBezTo>
                      <a:pt x="23015" y="220274"/>
                      <a:pt x="20023" y="217283"/>
                      <a:pt x="20023" y="213600"/>
                    </a:cubicBezTo>
                    <a:lnTo>
                      <a:pt x="20023" y="20023"/>
                    </a:lnTo>
                    <a:cubicBezTo>
                      <a:pt x="20023" y="13400"/>
                      <a:pt x="15317" y="13374"/>
                      <a:pt x="13297" y="13349"/>
                    </a:cubicBezTo>
                    <a:lnTo>
                      <a:pt x="6674" y="13349"/>
                    </a:lnTo>
                    <a:cubicBezTo>
                      <a:pt x="2992" y="13349"/>
                      <a:pt x="0" y="10357"/>
                      <a:pt x="0" y="6674"/>
                    </a:cubicBezTo>
                    <a:cubicBezTo>
                      <a:pt x="0" y="2992"/>
                      <a:pt x="2992" y="0"/>
                      <a:pt x="6674" y="0"/>
                    </a:cubicBezTo>
                    <a:lnTo>
                      <a:pt x="13348" y="0"/>
                    </a:lnTo>
                    <a:cubicBezTo>
                      <a:pt x="27208" y="128"/>
                      <a:pt x="33371" y="10152"/>
                      <a:pt x="33371" y="20023"/>
                    </a:cubicBezTo>
                    <a:lnTo>
                      <a:pt x="33371" y="213600"/>
                    </a:lnTo>
                    <a:cubicBezTo>
                      <a:pt x="33371" y="217283"/>
                      <a:pt x="30379" y="220274"/>
                      <a:pt x="26697" y="220274"/>
                    </a:cubicBezTo>
                    <a:close/>
                  </a:path>
                </a:pathLst>
              </a:custGeom>
              <a:solidFill>
                <a:schemeClr val="tx2"/>
              </a:solidFill>
              <a:ln w="2553" cap="flat">
                <a:noFill/>
                <a:prstDash val="solid"/>
                <a:miter/>
              </a:ln>
            </p:spPr>
            <p:txBody>
              <a:bodyPr rtlCol="0" anchor="ctr"/>
              <a:lstStyle/>
              <a:p>
                <a:endParaRPr lang="en-GB" dirty="0"/>
              </a:p>
            </p:txBody>
          </p:sp>
          <p:sp>
            <p:nvSpPr>
              <p:cNvPr id="1668" name="Freihandform: Form 1667">
                <a:extLst>
                  <a:ext uri="{FF2B5EF4-FFF2-40B4-BE49-F238E27FC236}">
                    <a16:creationId xmlns:a16="http://schemas.microsoft.com/office/drawing/2014/main" id="{F8DD04FD-B59B-4093-83E6-9739106822B8}"/>
                  </a:ext>
                </a:extLst>
              </p:cNvPr>
              <p:cNvSpPr/>
              <p:nvPr/>
            </p:nvSpPr>
            <p:spPr>
              <a:xfrm>
                <a:off x="6444406" y="4203231"/>
                <a:ext cx="93438" cy="93438"/>
              </a:xfrm>
              <a:custGeom>
                <a:avLst/>
                <a:gdLst>
                  <a:gd name="connsiteX0" fmla="*/ 86765 w 93438"/>
                  <a:gd name="connsiteY0" fmla="*/ 93439 h 93438"/>
                  <a:gd name="connsiteX1" fmla="*/ 6674 w 93438"/>
                  <a:gd name="connsiteY1" fmla="*/ 93439 h 93438"/>
                  <a:gd name="connsiteX2" fmla="*/ 0 w 93438"/>
                  <a:gd name="connsiteY2" fmla="*/ 86765 h 93438"/>
                  <a:gd name="connsiteX3" fmla="*/ 0 w 93438"/>
                  <a:gd name="connsiteY3" fmla="*/ 6674 h 93438"/>
                  <a:gd name="connsiteX4" fmla="*/ 6674 w 93438"/>
                  <a:gd name="connsiteY4" fmla="*/ 0 h 93438"/>
                  <a:gd name="connsiteX5" fmla="*/ 13348 w 93438"/>
                  <a:gd name="connsiteY5" fmla="*/ 6674 h 93438"/>
                  <a:gd name="connsiteX6" fmla="*/ 13348 w 93438"/>
                  <a:gd name="connsiteY6" fmla="*/ 80090 h 93438"/>
                  <a:gd name="connsiteX7" fmla="*/ 86765 w 93438"/>
                  <a:gd name="connsiteY7" fmla="*/ 80090 h 93438"/>
                  <a:gd name="connsiteX8" fmla="*/ 93439 w 93438"/>
                  <a:gd name="connsiteY8" fmla="*/ 86765 h 93438"/>
                  <a:gd name="connsiteX9" fmla="*/ 86765 w 93438"/>
                  <a:gd name="connsiteY9" fmla="*/ 93439 h 9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38" h="93438">
                    <a:moveTo>
                      <a:pt x="86765" y="93439"/>
                    </a:moveTo>
                    <a:lnTo>
                      <a:pt x="6674" y="93439"/>
                    </a:lnTo>
                    <a:cubicBezTo>
                      <a:pt x="2992" y="93439"/>
                      <a:pt x="0" y="90447"/>
                      <a:pt x="0" y="86765"/>
                    </a:cubicBezTo>
                    <a:lnTo>
                      <a:pt x="0" y="6674"/>
                    </a:lnTo>
                    <a:cubicBezTo>
                      <a:pt x="0" y="2992"/>
                      <a:pt x="2992" y="0"/>
                      <a:pt x="6674" y="0"/>
                    </a:cubicBezTo>
                    <a:cubicBezTo>
                      <a:pt x="10357" y="0"/>
                      <a:pt x="13348" y="2992"/>
                      <a:pt x="13348" y="6674"/>
                    </a:cubicBezTo>
                    <a:lnTo>
                      <a:pt x="13348" y="80090"/>
                    </a:lnTo>
                    <a:lnTo>
                      <a:pt x="86765" y="80090"/>
                    </a:lnTo>
                    <a:cubicBezTo>
                      <a:pt x="90447" y="80090"/>
                      <a:pt x="93439" y="83082"/>
                      <a:pt x="93439" y="86765"/>
                    </a:cubicBezTo>
                    <a:cubicBezTo>
                      <a:pt x="93439" y="90447"/>
                      <a:pt x="90473" y="93439"/>
                      <a:pt x="86765" y="93439"/>
                    </a:cubicBezTo>
                    <a:close/>
                  </a:path>
                </a:pathLst>
              </a:custGeom>
              <a:solidFill>
                <a:schemeClr val="tx2"/>
              </a:solidFill>
              <a:ln w="2553" cap="flat">
                <a:noFill/>
                <a:prstDash val="solid"/>
                <a:miter/>
              </a:ln>
            </p:spPr>
            <p:txBody>
              <a:bodyPr rtlCol="0" anchor="ctr"/>
              <a:lstStyle/>
              <a:p>
                <a:endParaRPr lang="en-GB" dirty="0"/>
              </a:p>
            </p:txBody>
          </p:sp>
          <p:sp>
            <p:nvSpPr>
              <p:cNvPr id="1669" name="Freihandform: Form 1668">
                <a:extLst>
                  <a:ext uri="{FF2B5EF4-FFF2-40B4-BE49-F238E27FC236}">
                    <a16:creationId xmlns:a16="http://schemas.microsoft.com/office/drawing/2014/main" id="{6E5FFE8E-CA76-4498-ABA1-8C82CC1840E4}"/>
                  </a:ext>
                </a:extLst>
              </p:cNvPr>
              <p:cNvSpPr/>
              <p:nvPr/>
            </p:nvSpPr>
            <p:spPr>
              <a:xfrm>
                <a:off x="6391012" y="4283322"/>
                <a:ext cx="40045" cy="13348"/>
              </a:xfrm>
              <a:custGeom>
                <a:avLst/>
                <a:gdLst>
                  <a:gd name="connsiteX0" fmla="*/ 33371 w 40045"/>
                  <a:gd name="connsiteY0" fmla="*/ 13348 h 13348"/>
                  <a:gd name="connsiteX1" fmla="*/ 6674 w 40045"/>
                  <a:gd name="connsiteY1" fmla="*/ 13348 h 13348"/>
                  <a:gd name="connsiteX2" fmla="*/ 0 w 40045"/>
                  <a:gd name="connsiteY2" fmla="*/ 6674 h 13348"/>
                  <a:gd name="connsiteX3" fmla="*/ 6674 w 40045"/>
                  <a:gd name="connsiteY3" fmla="*/ 0 h 13348"/>
                  <a:gd name="connsiteX4" fmla="*/ 33371 w 40045"/>
                  <a:gd name="connsiteY4" fmla="*/ 0 h 13348"/>
                  <a:gd name="connsiteX5" fmla="*/ 40045 w 40045"/>
                  <a:gd name="connsiteY5" fmla="*/ 6674 h 13348"/>
                  <a:gd name="connsiteX6" fmla="*/ 33371 w 40045"/>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45" h="13348">
                    <a:moveTo>
                      <a:pt x="33371" y="13348"/>
                    </a:moveTo>
                    <a:lnTo>
                      <a:pt x="6674" y="13348"/>
                    </a:lnTo>
                    <a:cubicBezTo>
                      <a:pt x="2992" y="13348"/>
                      <a:pt x="0" y="10357"/>
                      <a:pt x="0" y="6674"/>
                    </a:cubicBezTo>
                    <a:cubicBezTo>
                      <a:pt x="0" y="2992"/>
                      <a:pt x="2992" y="0"/>
                      <a:pt x="6674" y="0"/>
                    </a:cubicBezTo>
                    <a:lnTo>
                      <a:pt x="33371" y="0"/>
                    </a:lnTo>
                    <a:cubicBezTo>
                      <a:pt x="37053" y="0"/>
                      <a:pt x="40045" y="2992"/>
                      <a:pt x="40045" y="6674"/>
                    </a:cubicBezTo>
                    <a:cubicBezTo>
                      <a:pt x="40045" y="10357"/>
                      <a:pt x="37053" y="13348"/>
                      <a:pt x="33371" y="13348"/>
                    </a:cubicBezTo>
                    <a:close/>
                  </a:path>
                </a:pathLst>
              </a:custGeom>
              <a:solidFill>
                <a:schemeClr val="tx2"/>
              </a:solidFill>
              <a:ln w="2553" cap="flat">
                <a:noFill/>
                <a:prstDash val="solid"/>
                <a:miter/>
              </a:ln>
            </p:spPr>
            <p:txBody>
              <a:bodyPr rtlCol="0" anchor="ctr"/>
              <a:lstStyle/>
              <a:p>
                <a:endParaRPr lang="en-GB" dirty="0"/>
              </a:p>
            </p:txBody>
          </p:sp>
          <p:sp>
            <p:nvSpPr>
              <p:cNvPr id="1670" name="Freihandform: Form 1669">
                <a:extLst>
                  <a:ext uri="{FF2B5EF4-FFF2-40B4-BE49-F238E27FC236}">
                    <a16:creationId xmlns:a16="http://schemas.microsoft.com/office/drawing/2014/main" id="{7DDC6224-A79E-491F-AECC-504D322095D3}"/>
                  </a:ext>
                </a:extLst>
              </p:cNvPr>
              <p:cNvSpPr/>
              <p:nvPr/>
            </p:nvSpPr>
            <p:spPr>
              <a:xfrm>
                <a:off x="6391012" y="4330041"/>
                <a:ext cx="106787" cy="13348"/>
              </a:xfrm>
              <a:custGeom>
                <a:avLst/>
                <a:gdLst>
                  <a:gd name="connsiteX0" fmla="*/ 100139 w 106787"/>
                  <a:gd name="connsiteY0" fmla="*/ 13348 h 13348"/>
                  <a:gd name="connsiteX1" fmla="*/ 6674 w 106787"/>
                  <a:gd name="connsiteY1" fmla="*/ 13348 h 13348"/>
                  <a:gd name="connsiteX2" fmla="*/ 0 w 106787"/>
                  <a:gd name="connsiteY2" fmla="*/ 6674 h 13348"/>
                  <a:gd name="connsiteX3" fmla="*/ 6674 w 106787"/>
                  <a:gd name="connsiteY3" fmla="*/ 0 h 13348"/>
                  <a:gd name="connsiteX4" fmla="*/ 100113 w 106787"/>
                  <a:gd name="connsiteY4" fmla="*/ 0 h 13348"/>
                  <a:gd name="connsiteX5" fmla="*/ 106787 w 106787"/>
                  <a:gd name="connsiteY5" fmla="*/ 6674 h 13348"/>
                  <a:gd name="connsiteX6" fmla="*/ 100139 w 106787"/>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87" h="13348">
                    <a:moveTo>
                      <a:pt x="100139" y="13348"/>
                    </a:moveTo>
                    <a:lnTo>
                      <a:pt x="6674" y="13348"/>
                    </a:lnTo>
                    <a:cubicBezTo>
                      <a:pt x="2992" y="13348"/>
                      <a:pt x="0" y="10356"/>
                      <a:pt x="0" y="6674"/>
                    </a:cubicBezTo>
                    <a:cubicBezTo>
                      <a:pt x="0" y="2992"/>
                      <a:pt x="2992" y="0"/>
                      <a:pt x="6674" y="0"/>
                    </a:cubicBezTo>
                    <a:lnTo>
                      <a:pt x="100113" y="0"/>
                    </a:lnTo>
                    <a:cubicBezTo>
                      <a:pt x="103795" y="0"/>
                      <a:pt x="106787" y="2992"/>
                      <a:pt x="106787" y="6674"/>
                    </a:cubicBezTo>
                    <a:cubicBezTo>
                      <a:pt x="106813" y="10356"/>
                      <a:pt x="103821" y="13348"/>
                      <a:pt x="100139" y="13348"/>
                    </a:cubicBezTo>
                    <a:close/>
                  </a:path>
                </a:pathLst>
              </a:custGeom>
              <a:solidFill>
                <a:schemeClr val="tx2"/>
              </a:solidFill>
              <a:ln w="2553" cap="flat">
                <a:noFill/>
                <a:prstDash val="solid"/>
                <a:miter/>
              </a:ln>
            </p:spPr>
            <p:txBody>
              <a:bodyPr rtlCol="0" anchor="ctr"/>
              <a:lstStyle/>
              <a:p>
                <a:endParaRPr lang="en-GB" dirty="0"/>
              </a:p>
            </p:txBody>
          </p:sp>
          <p:sp>
            <p:nvSpPr>
              <p:cNvPr id="1671" name="Freihandform: Form 1670">
                <a:extLst>
                  <a:ext uri="{FF2B5EF4-FFF2-40B4-BE49-F238E27FC236}">
                    <a16:creationId xmlns:a16="http://schemas.microsoft.com/office/drawing/2014/main" id="{D22CAE47-0E89-4EC2-A764-09822FB64DAE}"/>
                  </a:ext>
                </a:extLst>
              </p:cNvPr>
              <p:cNvSpPr/>
              <p:nvPr/>
            </p:nvSpPr>
            <p:spPr>
              <a:xfrm>
                <a:off x="6391012" y="4376761"/>
                <a:ext cx="106787" cy="13348"/>
              </a:xfrm>
              <a:custGeom>
                <a:avLst/>
                <a:gdLst>
                  <a:gd name="connsiteX0" fmla="*/ 100139 w 106787"/>
                  <a:gd name="connsiteY0" fmla="*/ 13348 h 13348"/>
                  <a:gd name="connsiteX1" fmla="*/ 6674 w 106787"/>
                  <a:gd name="connsiteY1" fmla="*/ 13348 h 13348"/>
                  <a:gd name="connsiteX2" fmla="*/ 0 w 106787"/>
                  <a:gd name="connsiteY2" fmla="*/ 6674 h 13348"/>
                  <a:gd name="connsiteX3" fmla="*/ 6674 w 106787"/>
                  <a:gd name="connsiteY3" fmla="*/ 0 h 13348"/>
                  <a:gd name="connsiteX4" fmla="*/ 100113 w 106787"/>
                  <a:gd name="connsiteY4" fmla="*/ 0 h 13348"/>
                  <a:gd name="connsiteX5" fmla="*/ 106787 w 106787"/>
                  <a:gd name="connsiteY5" fmla="*/ 6674 h 13348"/>
                  <a:gd name="connsiteX6" fmla="*/ 100139 w 106787"/>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787" h="13348">
                    <a:moveTo>
                      <a:pt x="100139" y="13348"/>
                    </a:moveTo>
                    <a:lnTo>
                      <a:pt x="6674" y="13348"/>
                    </a:lnTo>
                    <a:cubicBezTo>
                      <a:pt x="2992" y="13348"/>
                      <a:pt x="0" y="10356"/>
                      <a:pt x="0" y="6674"/>
                    </a:cubicBezTo>
                    <a:cubicBezTo>
                      <a:pt x="0" y="2992"/>
                      <a:pt x="2992" y="0"/>
                      <a:pt x="6674" y="0"/>
                    </a:cubicBezTo>
                    <a:lnTo>
                      <a:pt x="100113" y="0"/>
                    </a:lnTo>
                    <a:cubicBezTo>
                      <a:pt x="103795" y="0"/>
                      <a:pt x="106787" y="2992"/>
                      <a:pt x="106787" y="6674"/>
                    </a:cubicBezTo>
                    <a:cubicBezTo>
                      <a:pt x="106813" y="10356"/>
                      <a:pt x="103821" y="13348"/>
                      <a:pt x="100139" y="13348"/>
                    </a:cubicBezTo>
                    <a:close/>
                  </a:path>
                </a:pathLst>
              </a:custGeom>
              <a:solidFill>
                <a:schemeClr val="tx2"/>
              </a:solidFill>
              <a:ln w="2553" cap="flat">
                <a:noFill/>
                <a:prstDash val="solid"/>
                <a:miter/>
              </a:ln>
            </p:spPr>
            <p:txBody>
              <a:bodyPr rtlCol="0" anchor="ctr"/>
              <a:lstStyle/>
              <a:p>
                <a:endParaRPr lang="en-GB" dirty="0"/>
              </a:p>
            </p:txBody>
          </p:sp>
          <p:sp>
            <p:nvSpPr>
              <p:cNvPr id="1672" name="Freihandform: Form 1671">
                <a:extLst>
                  <a:ext uri="{FF2B5EF4-FFF2-40B4-BE49-F238E27FC236}">
                    <a16:creationId xmlns:a16="http://schemas.microsoft.com/office/drawing/2014/main" id="{6045631E-4B35-4190-9DF0-2CA34D6D4340}"/>
                  </a:ext>
                </a:extLst>
              </p:cNvPr>
              <p:cNvSpPr/>
              <p:nvPr/>
            </p:nvSpPr>
            <p:spPr>
              <a:xfrm>
                <a:off x="6297573" y="4423506"/>
                <a:ext cx="200251" cy="106787"/>
              </a:xfrm>
              <a:custGeom>
                <a:avLst/>
                <a:gdLst>
                  <a:gd name="connsiteX0" fmla="*/ 193577 w 200251"/>
                  <a:gd name="connsiteY0" fmla="*/ 106787 h 106787"/>
                  <a:gd name="connsiteX1" fmla="*/ 6674 w 200251"/>
                  <a:gd name="connsiteY1" fmla="*/ 106787 h 106787"/>
                  <a:gd name="connsiteX2" fmla="*/ 0 w 200251"/>
                  <a:gd name="connsiteY2" fmla="*/ 100113 h 106787"/>
                  <a:gd name="connsiteX3" fmla="*/ 0 w 200251"/>
                  <a:gd name="connsiteY3" fmla="*/ 40045 h 106787"/>
                  <a:gd name="connsiteX4" fmla="*/ 6674 w 200251"/>
                  <a:gd name="connsiteY4" fmla="*/ 33371 h 106787"/>
                  <a:gd name="connsiteX5" fmla="*/ 13348 w 200251"/>
                  <a:gd name="connsiteY5" fmla="*/ 40045 h 106787"/>
                  <a:gd name="connsiteX6" fmla="*/ 13348 w 200251"/>
                  <a:gd name="connsiteY6" fmla="*/ 93439 h 106787"/>
                  <a:gd name="connsiteX7" fmla="*/ 186903 w 200251"/>
                  <a:gd name="connsiteY7" fmla="*/ 93439 h 106787"/>
                  <a:gd name="connsiteX8" fmla="*/ 186903 w 200251"/>
                  <a:gd name="connsiteY8" fmla="*/ 13349 h 106787"/>
                  <a:gd name="connsiteX9" fmla="*/ 93464 w 200251"/>
                  <a:gd name="connsiteY9" fmla="*/ 13349 h 106787"/>
                  <a:gd name="connsiteX10" fmla="*/ 86790 w 200251"/>
                  <a:gd name="connsiteY10" fmla="*/ 6674 h 106787"/>
                  <a:gd name="connsiteX11" fmla="*/ 93464 w 200251"/>
                  <a:gd name="connsiteY11" fmla="*/ 0 h 106787"/>
                  <a:gd name="connsiteX12" fmla="*/ 193577 w 200251"/>
                  <a:gd name="connsiteY12" fmla="*/ 0 h 106787"/>
                  <a:gd name="connsiteX13" fmla="*/ 200252 w 200251"/>
                  <a:gd name="connsiteY13" fmla="*/ 6674 h 106787"/>
                  <a:gd name="connsiteX14" fmla="*/ 200252 w 200251"/>
                  <a:gd name="connsiteY14" fmla="*/ 100113 h 106787"/>
                  <a:gd name="connsiteX15" fmla="*/ 193577 w 200251"/>
                  <a:gd name="connsiteY15" fmla="*/ 106787 h 106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251" h="106787">
                    <a:moveTo>
                      <a:pt x="193577" y="106787"/>
                    </a:moveTo>
                    <a:lnTo>
                      <a:pt x="6674" y="106787"/>
                    </a:lnTo>
                    <a:cubicBezTo>
                      <a:pt x="2992" y="106787"/>
                      <a:pt x="0" y="103796"/>
                      <a:pt x="0" y="100113"/>
                    </a:cubicBezTo>
                    <a:lnTo>
                      <a:pt x="0" y="40045"/>
                    </a:lnTo>
                    <a:cubicBezTo>
                      <a:pt x="0" y="36363"/>
                      <a:pt x="2992" y="33371"/>
                      <a:pt x="6674" y="33371"/>
                    </a:cubicBezTo>
                    <a:cubicBezTo>
                      <a:pt x="10356" y="33371"/>
                      <a:pt x="13348" y="36363"/>
                      <a:pt x="13348" y="40045"/>
                    </a:cubicBezTo>
                    <a:lnTo>
                      <a:pt x="13348" y="93439"/>
                    </a:lnTo>
                    <a:lnTo>
                      <a:pt x="186903" y="93439"/>
                    </a:lnTo>
                    <a:lnTo>
                      <a:pt x="186903" y="13349"/>
                    </a:lnTo>
                    <a:lnTo>
                      <a:pt x="93464" y="13349"/>
                    </a:lnTo>
                    <a:cubicBezTo>
                      <a:pt x="89782" y="13349"/>
                      <a:pt x="86790" y="10357"/>
                      <a:pt x="86790" y="6674"/>
                    </a:cubicBezTo>
                    <a:cubicBezTo>
                      <a:pt x="86790" y="2992"/>
                      <a:pt x="89782" y="0"/>
                      <a:pt x="93464" y="0"/>
                    </a:cubicBezTo>
                    <a:lnTo>
                      <a:pt x="193577" y="0"/>
                    </a:lnTo>
                    <a:cubicBezTo>
                      <a:pt x="197260" y="0"/>
                      <a:pt x="200252" y="2992"/>
                      <a:pt x="200252" y="6674"/>
                    </a:cubicBezTo>
                    <a:lnTo>
                      <a:pt x="200252" y="100113"/>
                    </a:lnTo>
                    <a:cubicBezTo>
                      <a:pt x="200252" y="103796"/>
                      <a:pt x="197260" y="106787"/>
                      <a:pt x="193577" y="106787"/>
                    </a:cubicBezTo>
                    <a:close/>
                  </a:path>
                </a:pathLst>
              </a:custGeom>
              <a:solidFill>
                <a:schemeClr val="tx2"/>
              </a:solidFill>
              <a:ln w="2553" cap="flat">
                <a:noFill/>
                <a:prstDash val="solid"/>
                <a:miter/>
              </a:ln>
            </p:spPr>
            <p:txBody>
              <a:bodyPr rtlCol="0" anchor="ctr"/>
              <a:lstStyle/>
              <a:p>
                <a:endParaRPr lang="en-GB" dirty="0"/>
              </a:p>
            </p:txBody>
          </p:sp>
        </p:grpSp>
      </p:grpSp>
      <p:sp>
        <p:nvSpPr>
          <p:cNvPr id="1676" name="TextBox 1424">
            <a:extLst>
              <a:ext uri="{FF2B5EF4-FFF2-40B4-BE49-F238E27FC236}">
                <a16:creationId xmlns:a16="http://schemas.microsoft.com/office/drawing/2014/main" id="{CE7C375B-D69E-40F1-A579-FA6391DD7DB0}"/>
              </a:ext>
            </a:extLst>
          </p:cNvPr>
          <p:cNvSpPr txBox="1"/>
          <p:nvPr/>
        </p:nvSpPr>
        <p:spPr>
          <a:xfrm>
            <a:off x="6168934" y="4547732"/>
            <a:ext cx="179536" cy="107722"/>
          </a:xfrm>
          <a:prstGeom prst="rect">
            <a:avLst/>
          </a:prstGeom>
          <a:noFill/>
          <a:effectLst/>
        </p:spPr>
        <p:txBody>
          <a:bodyPr wrap="none" lIns="0" tIns="0" rIns="0" bIns="0" rtlCol="0" anchor="t" anchorCtr="0">
            <a:spAutoFit/>
          </a:bodyPr>
          <a:lstStyle/>
          <a:p>
            <a:pPr algn="ctr"/>
            <a:r>
              <a:rPr lang="en-GB" sz="700" dirty="0">
                <a:solidFill>
                  <a:schemeClr val="tx2"/>
                </a:solidFill>
              </a:rPr>
              <a:t>Post</a:t>
            </a:r>
          </a:p>
        </p:txBody>
      </p:sp>
      <p:grpSp>
        <p:nvGrpSpPr>
          <p:cNvPr id="33" name="Group 32">
            <a:extLst>
              <a:ext uri="{FF2B5EF4-FFF2-40B4-BE49-F238E27FC236}">
                <a16:creationId xmlns:a16="http://schemas.microsoft.com/office/drawing/2014/main" id="{EC8B227C-8721-484D-A473-A76138D6E34F}"/>
              </a:ext>
            </a:extLst>
          </p:cNvPr>
          <p:cNvGrpSpPr/>
          <p:nvPr/>
        </p:nvGrpSpPr>
        <p:grpSpPr>
          <a:xfrm>
            <a:off x="7088111" y="4097454"/>
            <a:ext cx="432051" cy="432000"/>
            <a:chOff x="7087699" y="4097454"/>
            <a:chExt cx="432051" cy="432000"/>
          </a:xfrm>
        </p:grpSpPr>
        <p:grpSp>
          <p:nvGrpSpPr>
            <p:cNvPr id="1678" name="Gruppieren 1677">
              <a:extLst>
                <a:ext uri="{FF2B5EF4-FFF2-40B4-BE49-F238E27FC236}">
                  <a16:creationId xmlns:a16="http://schemas.microsoft.com/office/drawing/2014/main" id="{8738F1C6-8EAE-45A2-86C9-5BE595FD168C}"/>
                </a:ext>
              </a:extLst>
            </p:cNvPr>
            <p:cNvGrpSpPr/>
            <p:nvPr/>
          </p:nvGrpSpPr>
          <p:grpSpPr>
            <a:xfrm>
              <a:off x="7120474" y="4241446"/>
              <a:ext cx="399276" cy="288008"/>
              <a:chOff x="7052142" y="4318457"/>
              <a:chExt cx="407152" cy="293690"/>
            </a:xfrm>
          </p:grpSpPr>
          <p:sp>
            <p:nvSpPr>
              <p:cNvPr id="1685" name="Freihandform: Form 1684">
                <a:extLst>
                  <a:ext uri="{FF2B5EF4-FFF2-40B4-BE49-F238E27FC236}">
                    <a16:creationId xmlns:a16="http://schemas.microsoft.com/office/drawing/2014/main" id="{777DB0BB-178C-43E0-82C3-6F6073F16844}"/>
                  </a:ext>
                </a:extLst>
              </p:cNvPr>
              <p:cNvSpPr/>
              <p:nvPr/>
            </p:nvSpPr>
            <p:spPr>
              <a:xfrm>
                <a:off x="7345827" y="4512636"/>
                <a:ext cx="27302" cy="25942"/>
              </a:xfrm>
              <a:custGeom>
                <a:avLst/>
                <a:gdLst>
                  <a:gd name="connsiteX0" fmla="*/ 6679 w 27302"/>
                  <a:gd name="connsiteY0" fmla="*/ 25942 h 25942"/>
                  <a:gd name="connsiteX1" fmla="*/ 1488 w 27302"/>
                  <a:gd name="connsiteY1" fmla="*/ 23462 h 25942"/>
                  <a:gd name="connsiteX2" fmla="*/ 2460 w 27302"/>
                  <a:gd name="connsiteY2" fmla="*/ 14077 h 25942"/>
                  <a:gd name="connsiteX3" fmla="*/ 15911 w 27302"/>
                  <a:gd name="connsiteY3" fmla="*/ 1956 h 25942"/>
                  <a:gd name="connsiteX4" fmla="*/ 25347 w 27302"/>
                  <a:gd name="connsiteY4" fmla="*/ 1956 h 25942"/>
                  <a:gd name="connsiteX5" fmla="*/ 25347 w 27302"/>
                  <a:gd name="connsiteY5" fmla="*/ 11392 h 25942"/>
                  <a:gd name="connsiteX6" fmla="*/ 10873 w 27302"/>
                  <a:gd name="connsiteY6" fmla="*/ 24459 h 25942"/>
                  <a:gd name="connsiteX7" fmla="*/ 6679 w 27302"/>
                  <a:gd name="connsiteY7" fmla="*/ 25942 h 25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02" h="25942">
                    <a:moveTo>
                      <a:pt x="6679" y="25942"/>
                    </a:moveTo>
                    <a:cubicBezTo>
                      <a:pt x="4736" y="25942"/>
                      <a:pt x="2818" y="25098"/>
                      <a:pt x="1488" y="23462"/>
                    </a:cubicBezTo>
                    <a:cubicBezTo>
                      <a:pt x="-839" y="20598"/>
                      <a:pt x="-378" y="16378"/>
                      <a:pt x="2460" y="14077"/>
                    </a:cubicBezTo>
                    <a:cubicBezTo>
                      <a:pt x="7114" y="10292"/>
                      <a:pt x="11640" y="6227"/>
                      <a:pt x="15911" y="1956"/>
                    </a:cubicBezTo>
                    <a:cubicBezTo>
                      <a:pt x="18519" y="-652"/>
                      <a:pt x="22738" y="-652"/>
                      <a:pt x="25347" y="1956"/>
                    </a:cubicBezTo>
                    <a:cubicBezTo>
                      <a:pt x="27955" y="4564"/>
                      <a:pt x="27955" y="8784"/>
                      <a:pt x="25347" y="11392"/>
                    </a:cubicBezTo>
                    <a:cubicBezTo>
                      <a:pt x="20769" y="15969"/>
                      <a:pt x="15885" y="20368"/>
                      <a:pt x="10873" y="24459"/>
                    </a:cubicBezTo>
                    <a:cubicBezTo>
                      <a:pt x="9620" y="25456"/>
                      <a:pt x="8137" y="25942"/>
                      <a:pt x="6679" y="25942"/>
                    </a:cubicBezTo>
                    <a:close/>
                  </a:path>
                </a:pathLst>
              </a:custGeom>
              <a:solidFill>
                <a:schemeClr val="tx2"/>
              </a:solidFill>
              <a:ln w="2553" cap="flat">
                <a:noFill/>
                <a:prstDash val="solid"/>
                <a:miter/>
              </a:ln>
            </p:spPr>
            <p:txBody>
              <a:bodyPr rtlCol="0" anchor="ctr"/>
              <a:lstStyle/>
              <a:p>
                <a:endParaRPr lang="en-GB" dirty="0"/>
              </a:p>
            </p:txBody>
          </p:sp>
          <p:sp>
            <p:nvSpPr>
              <p:cNvPr id="1686" name="Freihandform: Form 1685">
                <a:extLst>
                  <a:ext uri="{FF2B5EF4-FFF2-40B4-BE49-F238E27FC236}">
                    <a16:creationId xmlns:a16="http://schemas.microsoft.com/office/drawing/2014/main" id="{EF0EBF8B-9611-49E1-BC41-EFF89CC8BFF6}"/>
                  </a:ext>
                </a:extLst>
              </p:cNvPr>
              <p:cNvSpPr/>
              <p:nvPr/>
            </p:nvSpPr>
            <p:spPr>
              <a:xfrm>
                <a:off x="7052142" y="4318457"/>
                <a:ext cx="407152" cy="293690"/>
              </a:xfrm>
              <a:custGeom>
                <a:avLst/>
                <a:gdLst>
                  <a:gd name="connsiteX0" fmla="*/ 186878 w 407152"/>
                  <a:gd name="connsiteY0" fmla="*/ 293691 h 293690"/>
                  <a:gd name="connsiteX1" fmla="*/ 35903 w 407152"/>
                  <a:gd name="connsiteY1" fmla="*/ 233828 h 293690"/>
                  <a:gd name="connsiteX2" fmla="*/ 11379 w 407152"/>
                  <a:gd name="connsiteY2" fmla="*/ 258351 h 293690"/>
                  <a:gd name="connsiteX3" fmla="*/ 4117 w 407152"/>
                  <a:gd name="connsiteY3" fmla="*/ 259808 h 293690"/>
                  <a:gd name="connsiteX4" fmla="*/ 0 w 407152"/>
                  <a:gd name="connsiteY4" fmla="*/ 253646 h 293690"/>
                  <a:gd name="connsiteX5" fmla="*/ 0 w 407152"/>
                  <a:gd name="connsiteY5" fmla="*/ 173555 h 293690"/>
                  <a:gd name="connsiteX6" fmla="*/ 6674 w 407152"/>
                  <a:gd name="connsiteY6" fmla="*/ 166881 h 293690"/>
                  <a:gd name="connsiteX7" fmla="*/ 86765 w 407152"/>
                  <a:gd name="connsiteY7" fmla="*/ 166881 h 293690"/>
                  <a:gd name="connsiteX8" fmla="*/ 92927 w 407152"/>
                  <a:gd name="connsiteY8" fmla="*/ 170998 h 293690"/>
                  <a:gd name="connsiteX9" fmla="*/ 91470 w 407152"/>
                  <a:gd name="connsiteY9" fmla="*/ 178260 h 293690"/>
                  <a:gd name="connsiteX10" fmla="*/ 68967 w 407152"/>
                  <a:gd name="connsiteY10" fmla="*/ 200763 h 293690"/>
                  <a:gd name="connsiteX11" fmla="*/ 186878 w 407152"/>
                  <a:gd name="connsiteY11" fmla="*/ 246971 h 293690"/>
                  <a:gd name="connsiteX12" fmla="*/ 270420 w 407152"/>
                  <a:gd name="connsiteY12" fmla="*/ 225568 h 293690"/>
                  <a:gd name="connsiteX13" fmla="*/ 279498 w 407152"/>
                  <a:gd name="connsiteY13" fmla="*/ 228202 h 293690"/>
                  <a:gd name="connsiteX14" fmla="*/ 276864 w 407152"/>
                  <a:gd name="connsiteY14" fmla="*/ 237280 h 293690"/>
                  <a:gd name="connsiteX15" fmla="*/ 186878 w 407152"/>
                  <a:gd name="connsiteY15" fmla="*/ 260345 h 293690"/>
                  <a:gd name="connsiteX16" fmla="*/ 54723 w 407152"/>
                  <a:gd name="connsiteY16" fmla="*/ 205596 h 293690"/>
                  <a:gd name="connsiteX17" fmla="*/ 52780 w 407152"/>
                  <a:gd name="connsiteY17" fmla="*/ 200866 h 293690"/>
                  <a:gd name="connsiteX18" fmla="*/ 54723 w 407152"/>
                  <a:gd name="connsiteY18" fmla="*/ 196135 h 293690"/>
                  <a:gd name="connsiteX19" fmla="*/ 70629 w 407152"/>
                  <a:gd name="connsiteY19" fmla="*/ 180229 h 293690"/>
                  <a:gd name="connsiteX20" fmla="*/ 13323 w 407152"/>
                  <a:gd name="connsiteY20" fmla="*/ 180229 h 293690"/>
                  <a:gd name="connsiteX21" fmla="*/ 13323 w 407152"/>
                  <a:gd name="connsiteY21" fmla="*/ 237535 h 293690"/>
                  <a:gd name="connsiteX22" fmla="*/ 31121 w 407152"/>
                  <a:gd name="connsiteY22" fmla="*/ 219738 h 293690"/>
                  <a:gd name="connsiteX23" fmla="*/ 40557 w 407152"/>
                  <a:gd name="connsiteY23" fmla="*/ 219738 h 293690"/>
                  <a:gd name="connsiteX24" fmla="*/ 186878 w 407152"/>
                  <a:gd name="connsiteY24" fmla="*/ 280342 h 293690"/>
                  <a:gd name="connsiteX25" fmla="*/ 393804 w 407152"/>
                  <a:gd name="connsiteY25" fmla="*/ 73416 h 293690"/>
                  <a:gd name="connsiteX26" fmla="*/ 384956 w 407152"/>
                  <a:gd name="connsiteY26" fmla="*/ 13374 h 293690"/>
                  <a:gd name="connsiteX27" fmla="*/ 26697 w 407152"/>
                  <a:gd name="connsiteY27" fmla="*/ 13348 h 293690"/>
                  <a:gd name="connsiteX28" fmla="*/ 20023 w 407152"/>
                  <a:gd name="connsiteY28" fmla="*/ 6674 h 293690"/>
                  <a:gd name="connsiteX29" fmla="*/ 26697 w 407152"/>
                  <a:gd name="connsiteY29" fmla="*/ 0 h 293690"/>
                  <a:gd name="connsiteX30" fmla="*/ 26697 w 407152"/>
                  <a:gd name="connsiteY30" fmla="*/ 0 h 293690"/>
                  <a:gd name="connsiteX31" fmla="*/ 389866 w 407152"/>
                  <a:gd name="connsiteY31" fmla="*/ 26 h 293690"/>
                  <a:gd name="connsiteX32" fmla="*/ 396207 w 407152"/>
                  <a:gd name="connsiteY32" fmla="*/ 4603 h 293690"/>
                  <a:gd name="connsiteX33" fmla="*/ 407152 w 407152"/>
                  <a:gd name="connsiteY33" fmla="*/ 73416 h 293690"/>
                  <a:gd name="connsiteX34" fmla="*/ 186878 w 407152"/>
                  <a:gd name="connsiteY34" fmla="*/ 293691 h 293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7152" h="293690">
                    <a:moveTo>
                      <a:pt x="186878" y="293691"/>
                    </a:moveTo>
                    <a:cubicBezTo>
                      <a:pt x="130185" y="293691"/>
                      <a:pt x="76843" y="272492"/>
                      <a:pt x="35903" y="233828"/>
                    </a:cubicBezTo>
                    <a:lnTo>
                      <a:pt x="11379" y="258351"/>
                    </a:lnTo>
                    <a:cubicBezTo>
                      <a:pt x="9461" y="260269"/>
                      <a:pt x="6597" y="260831"/>
                      <a:pt x="4117" y="259808"/>
                    </a:cubicBezTo>
                    <a:cubicBezTo>
                      <a:pt x="1611" y="258786"/>
                      <a:pt x="0" y="256330"/>
                      <a:pt x="0" y="253646"/>
                    </a:cubicBezTo>
                    <a:lnTo>
                      <a:pt x="0" y="173555"/>
                    </a:lnTo>
                    <a:cubicBezTo>
                      <a:pt x="0" y="169873"/>
                      <a:pt x="2992" y="166881"/>
                      <a:pt x="6674" y="166881"/>
                    </a:cubicBezTo>
                    <a:lnTo>
                      <a:pt x="86765" y="166881"/>
                    </a:lnTo>
                    <a:cubicBezTo>
                      <a:pt x="89475" y="166881"/>
                      <a:pt x="91904" y="168517"/>
                      <a:pt x="92927" y="170998"/>
                    </a:cubicBezTo>
                    <a:cubicBezTo>
                      <a:pt x="93976" y="173504"/>
                      <a:pt x="93388" y="176368"/>
                      <a:pt x="91470" y="178260"/>
                    </a:cubicBezTo>
                    <a:lnTo>
                      <a:pt x="68967" y="200763"/>
                    </a:lnTo>
                    <a:cubicBezTo>
                      <a:pt x="101136" y="230605"/>
                      <a:pt x="142767" y="246971"/>
                      <a:pt x="186878" y="246971"/>
                    </a:cubicBezTo>
                    <a:cubicBezTo>
                      <a:pt x="216106" y="246971"/>
                      <a:pt x="245002" y="239581"/>
                      <a:pt x="270420" y="225568"/>
                    </a:cubicBezTo>
                    <a:cubicBezTo>
                      <a:pt x="273668" y="223803"/>
                      <a:pt x="277708" y="224954"/>
                      <a:pt x="279498" y="228202"/>
                    </a:cubicBezTo>
                    <a:cubicBezTo>
                      <a:pt x="281288" y="231424"/>
                      <a:pt x="280086" y="235489"/>
                      <a:pt x="276864" y="237280"/>
                    </a:cubicBezTo>
                    <a:cubicBezTo>
                      <a:pt x="249477" y="252367"/>
                      <a:pt x="218356" y="260345"/>
                      <a:pt x="186878" y="260345"/>
                    </a:cubicBezTo>
                    <a:cubicBezTo>
                      <a:pt x="136936" y="260345"/>
                      <a:pt x="90012" y="240911"/>
                      <a:pt x="54723" y="205596"/>
                    </a:cubicBezTo>
                    <a:cubicBezTo>
                      <a:pt x="53470" y="204343"/>
                      <a:pt x="52780" y="202656"/>
                      <a:pt x="52780" y="200866"/>
                    </a:cubicBezTo>
                    <a:cubicBezTo>
                      <a:pt x="52780" y="199101"/>
                      <a:pt x="53496" y="197388"/>
                      <a:pt x="54723" y="196135"/>
                    </a:cubicBezTo>
                    <a:lnTo>
                      <a:pt x="70629" y="180229"/>
                    </a:lnTo>
                    <a:lnTo>
                      <a:pt x="13323" y="180229"/>
                    </a:lnTo>
                    <a:lnTo>
                      <a:pt x="13323" y="237535"/>
                    </a:lnTo>
                    <a:lnTo>
                      <a:pt x="31121" y="219738"/>
                    </a:lnTo>
                    <a:cubicBezTo>
                      <a:pt x="33729" y="217129"/>
                      <a:pt x="37948" y="217129"/>
                      <a:pt x="40557" y="219738"/>
                    </a:cubicBezTo>
                    <a:cubicBezTo>
                      <a:pt x="79707" y="258862"/>
                      <a:pt x="131592" y="280342"/>
                      <a:pt x="186878" y="280342"/>
                    </a:cubicBezTo>
                    <a:cubicBezTo>
                      <a:pt x="300978" y="280342"/>
                      <a:pt x="393804" y="187517"/>
                      <a:pt x="393804" y="73416"/>
                    </a:cubicBezTo>
                    <a:cubicBezTo>
                      <a:pt x="393804" y="52934"/>
                      <a:pt x="390837" y="32757"/>
                      <a:pt x="384956" y="13374"/>
                    </a:cubicBezTo>
                    <a:lnTo>
                      <a:pt x="26697" y="13348"/>
                    </a:lnTo>
                    <a:cubicBezTo>
                      <a:pt x="23015" y="13348"/>
                      <a:pt x="20023" y="10357"/>
                      <a:pt x="20023" y="6674"/>
                    </a:cubicBezTo>
                    <a:cubicBezTo>
                      <a:pt x="20023" y="2992"/>
                      <a:pt x="23015" y="0"/>
                      <a:pt x="26697" y="0"/>
                    </a:cubicBezTo>
                    <a:lnTo>
                      <a:pt x="26697" y="0"/>
                    </a:lnTo>
                    <a:lnTo>
                      <a:pt x="389866" y="26"/>
                    </a:lnTo>
                    <a:cubicBezTo>
                      <a:pt x="392755" y="26"/>
                      <a:pt x="395312" y="1867"/>
                      <a:pt x="396207" y="4603"/>
                    </a:cubicBezTo>
                    <a:cubicBezTo>
                      <a:pt x="403470" y="26748"/>
                      <a:pt x="407152" y="49890"/>
                      <a:pt x="407152" y="73416"/>
                    </a:cubicBezTo>
                    <a:cubicBezTo>
                      <a:pt x="407152" y="194882"/>
                      <a:pt x="308343" y="293691"/>
                      <a:pt x="186878" y="293691"/>
                    </a:cubicBezTo>
                    <a:close/>
                  </a:path>
                </a:pathLst>
              </a:custGeom>
              <a:solidFill>
                <a:schemeClr val="tx2"/>
              </a:solidFill>
              <a:ln w="2553" cap="flat">
                <a:noFill/>
                <a:prstDash val="solid"/>
                <a:miter/>
              </a:ln>
            </p:spPr>
            <p:txBody>
              <a:bodyPr rtlCol="0" anchor="ctr"/>
              <a:lstStyle/>
              <a:p>
                <a:endParaRPr lang="en-GB" dirty="0"/>
              </a:p>
            </p:txBody>
          </p:sp>
          <p:sp>
            <p:nvSpPr>
              <p:cNvPr id="1687" name="Freihandform: Form 1686">
                <a:extLst>
                  <a:ext uri="{FF2B5EF4-FFF2-40B4-BE49-F238E27FC236}">
                    <a16:creationId xmlns:a16="http://schemas.microsoft.com/office/drawing/2014/main" id="{BA57D16A-61FD-42A6-AB48-52162B7E85FE}"/>
                  </a:ext>
                </a:extLst>
              </p:cNvPr>
              <p:cNvSpPr/>
              <p:nvPr/>
            </p:nvSpPr>
            <p:spPr>
              <a:xfrm>
                <a:off x="7174163" y="4318470"/>
                <a:ext cx="111575" cy="96673"/>
              </a:xfrm>
              <a:custGeom>
                <a:avLst/>
                <a:gdLst>
                  <a:gd name="connsiteX0" fmla="*/ 26678 w 111575"/>
                  <a:gd name="connsiteY0" fmla="*/ 96674 h 96673"/>
                  <a:gd name="connsiteX1" fmla="*/ 7806 w 111575"/>
                  <a:gd name="connsiteY1" fmla="*/ 88849 h 96673"/>
                  <a:gd name="connsiteX2" fmla="*/ 7806 w 111575"/>
                  <a:gd name="connsiteY2" fmla="*/ 51079 h 96673"/>
                  <a:gd name="connsiteX3" fmla="*/ 56929 w 111575"/>
                  <a:gd name="connsiteY3" fmla="*/ 1956 h 96673"/>
                  <a:gd name="connsiteX4" fmla="*/ 66365 w 111575"/>
                  <a:gd name="connsiteY4" fmla="*/ 1956 h 96673"/>
                  <a:gd name="connsiteX5" fmla="*/ 66365 w 111575"/>
                  <a:gd name="connsiteY5" fmla="*/ 11392 h 96673"/>
                  <a:gd name="connsiteX6" fmla="*/ 17242 w 111575"/>
                  <a:gd name="connsiteY6" fmla="*/ 60515 h 96673"/>
                  <a:gd name="connsiteX7" fmla="*/ 17242 w 111575"/>
                  <a:gd name="connsiteY7" fmla="*/ 79387 h 96673"/>
                  <a:gd name="connsiteX8" fmla="*/ 36114 w 111575"/>
                  <a:gd name="connsiteY8" fmla="*/ 79387 h 96673"/>
                  <a:gd name="connsiteX9" fmla="*/ 73525 w 111575"/>
                  <a:gd name="connsiteY9" fmla="*/ 41976 h 96673"/>
                  <a:gd name="connsiteX10" fmla="*/ 78256 w 111575"/>
                  <a:gd name="connsiteY10" fmla="*/ 40033 h 96673"/>
                  <a:gd name="connsiteX11" fmla="*/ 104901 w 111575"/>
                  <a:gd name="connsiteY11" fmla="*/ 40033 h 96673"/>
                  <a:gd name="connsiteX12" fmla="*/ 111576 w 111575"/>
                  <a:gd name="connsiteY12" fmla="*/ 46707 h 96673"/>
                  <a:gd name="connsiteX13" fmla="*/ 104901 w 111575"/>
                  <a:gd name="connsiteY13" fmla="*/ 53381 h 96673"/>
                  <a:gd name="connsiteX14" fmla="*/ 81017 w 111575"/>
                  <a:gd name="connsiteY14" fmla="*/ 53381 h 96673"/>
                  <a:gd name="connsiteX15" fmla="*/ 45575 w 111575"/>
                  <a:gd name="connsiteY15" fmla="*/ 88823 h 96673"/>
                  <a:gd name="connsiteX16" fmla="*/ 26678 w 111575"/>
                  <a:gd name="connsiteY16" fmla="*/ 96674 h 9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1575" h="96673">
                    <a:moveTo>
                      <a:pt x="26678" y="96674"/>
                    </a:moveTo>
                    <a:cubicBezTo>
                      <a:pt x="19543" y="96674"/>
                      <a:pt x="12843" y="93886"/>
                      <a:pt x="7806" y="88849"/>
                    </a:cubicBezTo>
                    <a:cubicBezTo>
                      <a:pt x="-2602" y="78441"/>
                      <a:pt x="-2602" y="61487"/>
                      <a:pt x="7806" y="51079"/>
                    </a:cubicBezTo>
                    <a:lnTo>
                      <a:pt x="56929" y="1956"/>
                    </a:lnTo>
                    <a:cubicBezTo>
                      <a:pt x="59537" y="-652"/>
                      <a:pt x="63757" y="-652"/>
                      <a:pt x="66365" y="1956"/>
                    </a:cubicBezTo>
                    <a:cubicBezTo>
                      <a:pt x="68973" y="4565"/>
                      <a:pt x="68973" y="8784"/>
                      <a:pt x="66365" y="11392"/>
                    </a:cubicBezTo>
                    <a:lnTo>
                      <a:pt x="17242" y="60515"/>
                    </a:lnTo>
                    <a:cubicBezTo>
                      <a:pt x="12025" y="65732"/>
                      <a:pt x="12025" y="74196"/>
                      <a:pt x="17242" y="79387"/>
                    </a:cubicBezTo>
                    <a:cubicBezTo>
                      <a:pt x="22279" y="84425"/>
                      <a:pt x="31076" y="84425"/>
                      <a:pt x="36114" y="79387"/>
                    </a:cubicBezTo>
                    <a:lnTo>
                      <a:pt x="73525" y="41976"/>
                    </a:lnTo>
                    <a:cubicBezTo>
                      <a:pt x="74778" y="40723"/>
                      <a:pt x="76466" y="40033"/>
                      <a:pt x="78256" y="40033"/>
                    </a:cubicBezTo>
                    <a:lnTo>
                      <a:pt x="104901" y="40033"/>
                    </a:lnTo>
                    <a:cubicBezTo>
                      <a:pt x="108584" y="40033"/>
                      <a:pt x="111576" y="43024"/>
                      <a:pt x="111576" y="46707"/>
                    </a:cubicBezTo>
                    <a:cubicBezTo>
                      <a:pt x="111576" y="50389"/>
                      <a:pt x="108584" y="53381"/>
                      <a:pt x="104901" y="53381"/>
                    </a:cubicBezTo>
                    <a:lnTo>
                      <a:pt x="81017" y="53381"/>
                    </a:lnTo>
                    <a:lnTo>
                      <a:pt x="45575" y="88823"/>
                    </a:lnTo>
                    <a:cubicBezTo>
                      <a:pt x="40512" y="93886"/>
                      <a:pt x="33812" y="96674"/>
                      <a:pt x="26678" y="96674"/>
                    </a:cubicBezTo>
                    <a:close/>
                  </a:path>
                </a:pathLst>
              </a:custGeom>
              <a:solidFill>
                <a:schemeClr val="tx2"/>
              </a:solidFill>
              <a:ln w="2553" cap="flat">
                <a:noFill/>
                <a:prstDash val="solid"/>
                <a:miter/>
              </a:ln>
            </p:spPr>
            <p:txBody>
              <a:bodyPr rtlCol="0" anchor="ctr"/>
              <a:lstStyle/>
              <a:p>
                <a:endParaRPr lang="en-GB" dirty="0"/>
              </a:p>
            </p:txBody>
          </p:sp>
          <p:sp>
            <p:nvSpPr>
              <p:cNvPr id="1688" name="Freihandform: Form 1687">
                <a:extLst>
                  <a:ext uri="{FF2B5EF4-FFF2-40B4-BE49-F238E27FC236}">
                    <a16:creationId xmlns:a16="http://schemas.microsoft.com/office/drawing/2014/main" id="{C7A6CF08-F323-4181-AFA2-5A9641562F7E}"/>
                  </a:ext>
                </a:extLst>
              </p:cNvPr>
              <p:cNvSpPr/>
              <p:nvPr/>
            </p:nvSpPr>
            <p:spPr>
              <a:xfrm>
                <a:off x="7350819" y="4445293"/>
                <a:ext cx="57561" cy="13348"/>
              </a:xfrm>
              <a:custGeom>
                <a:avLst/>
                <a:gdLst>
                  <a:gd name="connsiteX0" fmla="*/ 50888 w 57561"/>
                  <a:gd name="connsiteY0" fmla="*/ 13349 h 13348"/>
                  <a:gd name="connsiteX1" fmla="*/ 6674 w 57561"/>
                  <a:gd name="connsiteY1" fmla="*/ 13349 h 13348"/>
                  <a:gd name="connsiteX2" fmla="*/ 0 w 57561"/>
                  <a:gd name="connsiteY2" fmla="*/ 6674 h 13348"/>
                  <a:gd name="connsiteX3" fmla="*/ 6674 w 57561"/>
                  <a:gd name="connsiteY3" fmla="*/ 0 h 13348"/>
                  <a:gd name="connsiteX4" fmla="*/ 50888 w 57561"/>
                  <a:gd name="connsiteY4" fmla="*/ 0 h 13348"/>
                  <a:gd name="connsiteX5" fmla="*/ 57562 w 57561"/>
                  <a:gd name="connsiteY5" fmla="*/ 6674 h 13348"/>
                  <a:gd name="connsiteX6" fmla="*/ 50888 w 57561"/>
                  <a:gd name="connsiteY6" fmla="*/ 13349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61" h="13348">
                    <a:moveTo>
                      <a:pt x="50888" y="13349"/>
                    </a:moveTo>
                    <a:lnTo>
                      <a:pt x="6674" y="13349"/>
                    </a:lnTo>
                    <a:cubicBezTo>
                      <a:pt x="2992" y="13349"/>
                      <a:pt x="0" y="10357"/>
                      <a:pt x="0" y="6674"/>
                    </a:cubicBezTo>
                    <a:cubicBezTo>
                      <a:pt x="0" y="2992"/>
                      <a:pt x="2992" y="0"/>
                      <a:pt x="6674" y="0"/>
                    </a:cubicBezTo>
                    <a:lnTo>
                      <a:pt x="50888" y="0"/>
                    </a:lnTo>
                    <a:cubicBezTo>
                      <a:pt x="54570" y="0"/>
                      <a:pt x="57562" y="2992"/>
                      <a:pt x="57562" y="6674"/>
                    </a:cubicBezTo>
                    <a:cubicBezTo>
                      <a:pt x="57562" y="10357"/>
                      <a:pt x="54595" y="13349"/>
                      <a:pt x="50888" y="13349"/>
                    </a:cubicBezTo>
                    <a:close/>
                  </a:path>
                </a:pathLst>
              </a:custGeom>
              <a:solidFill>
                <a:schemeClr val="tx2"/>
              </a:solidFill>
              <a:ln w="2553" cap="flat">
                <a:noFill/>
                <a:prstDash val="solid"/>
                <a:miter/>
              </a:ln>
            </p:spPr>
            <p:txBody>
              <a:bodyPr rtlCol="0" anchor="ctr"/>
              <a:lstStyle/>
              <a:p>
                <a:endParaRPr lang="en-GB" dirty="0"/>
              </a:p>
            </p:txBody>
          </p:sp>
        </p:grpSp>
        <p:grpSp>
          <p:nvGrpSpPr>
            <p:cNvPr id="1679" name="Gruppieren 1678">
              <a:extLst>
                <a:ext uri="{FF2B5EF4-FFF2-40B4-BE49-F238E27FC236}">
                  <a16:creationId xmlns:a16="http://schemas.microsoft.com/office/drawing/2014/main" id="{B4C5BD12-F13E-452D-8FC3-14B216F45B0C}"/>
                </a:ext>
              </a:extLst>
            </p:cNvPr>
            <p:cNvGrpSpPr/>
            <p:nvPr/>
          </p:nvGrpSpPr>
          <p:grpSpPr>
            <a:xfrm>
              <a:off x="7087699" y="4097454"/>
              <a:ext cx="399276" cy="336608"/>
              <a:chOff x="7018720" y="4171625"/>
              <a:chExt cx="407152" cy="343248"/>
            </a:xfrm>
          </p:grpSpPr>
          <p:sp>
            <p:nvSpPr>
              <p:cNvPr id="1680" name="Freihandform: Form 1679">
                <a:extLst>
                  <a:ext uri="{FF2B5EF4-FFF2-40B4-BE49-F238E27FC236}">
                    <a16:creationId xmlns:a16="http://schemas.microsoft.com/office/drawing/2014/main" id="{6C173560-7E05-45E5-AF88-0B7D50F5DD55}"/>
                  </a:ext>
                </a:extLst>
              </p:cNvPr>
              <p:cNvSpPr/>
              <p:nvPr/>
            </p:nvSpPr>
            <p:spPr>
              <a:xfrm>
                <a:off x="7018720" y="4171625"/>
                <a:ext cx="407152" cy="343248"/>
              </a:xfrm>
              <a:custGeom>
                <a:avLst/>
                <a:gdLst>
                  <a:gd name="connsiteX0" fmla="*/ 187415 w 407152"/>
                  <a:gd name="connsiteY0" fmla="*/ 343249 h 343248"/>
                  <a:gd name="connsiteX1" fmla="*/ 186724 w 407152"/>
                  <a:gd name="connsiteY1" fmla="*/ 343249 h 343248"/>
                  <a:gd name="connsiteX2" fmla="*/ 168671 w 407152"/>
                  <a:gd name="connsiteY2" fmla="*/ 334938 h 343248"/>
                  <a:gd name="connsiteX3" fmla="*/ 117527 w 407152"/>
                  <a:gd name="connsiteY3" fmla="*/ 287017 h 343248"/>
                  <a:gd name="connsiteX4" fmla="*/ 15266 w 407152"/>
                  <a:gd name="connsiteY4" fmla="*/ 287042 h 343248"/>
                  <a:gd name="connsiteX5" fmla="*/ 8848 w 407152"/>
                  <a:gd name="connsiteY5" fmla="*/ 282235 h 343248"/>
                  <a:gd name="connsiteX6" fmla="*/ 0 w 407152"/>
                  <a:gd name="connsiteY6" fmla="*/ 220274 h 343248"/>
                  <a:gd name="connsiteX7" fmla="*/ 220274 w 407152"/>
                  <a:gd name="connsiteY7" fmla="*/ 0 h 343248"/>
                  <a:gd name="connsiteX8" fmla="*/ 371249 w 407152"/>
                  <a:gd name="connsiteY8" fmla="*/ 59863 h 343248"/>
                  <a:gd name="connsiteX9" fmla="*/ 395773 w 407152"/>
                  <a:gd name="connsiteY9" fmla="*/ 35340 h 343248"/>
                  <a:gd name="connsiteX10" fmla="*/ 403035 w 407152"/>
                  <a:gd name="connsiteY10" fmla="*/ 33882 h 343248"/>
                  <a:gd name="connsiteX11" fmla="*/ 407152 w 407152"/>
                  <a:gd name="connsiteY11" fmla="*/ 40045 h 343248"/>
                  <a:gd name="connsiteX12" fmla="*/ 407152 w 407152"/>
                  <a:gd name="connsiteY12" fmla="*/ 120136 h 343248"/>
                  <a:gd name="connsiteX13" fmla="*/ 400478 w 407152"/>
                  <a:gd name="connsiteY13" fmla="*/ 126810 h 343248"/>
                  <a:gd name="connsiteX14" fmla="*/ 320387 w 407152"/>
                  <a:gd name="connsiteY14" fmla="*/ 126810 h 343248"/>
                  <a:gd name="connsiteX15" fmla="*/ 314225 w 407152"/>
                  <a:gd name="connsiteY15" fmla="*/ 122693 h 343248"/>
                  <a:gd name="connsiteX16" fmla="*/ 315682 w 407152"/>
                  <a:gd name="connsiteY16" fmla="*/ 115430 h 343248"/>
                  <a:gd name="connsiteX17" fmla="*/ 338185 w 407152"/>
                  <a:gd name="connsiteY17" fmla="*/ 92928 h 343248"/>
                  <a:gd name="connsiteX18" fmla="*/ 220274 w 407152"/>
                  <a:gd name="connsiteY18" fmla="*/ 46719 h 343248"/>
                  <a:gd name="connsiteX19" fmla="*/ 136732 w 407152"/>
                  <a:gd name="connsiteY19" fmla="*/ 68123 h 343248"/>
                  <a:gd name="connsiteX20" fmla="*/ 127654 w 407152"/>
                  <a:gd name="connsiteY20" fmla="*/ 65489 h 343248"/>
                  <a:gd name="connsiteX21" fmla="*/ 130288 w 407152"/>
                  <a:gd name="connsiteY21" fmla="*/ 56411 h 343248"/>
                  <a:gd name="connsiteX22" fmla="*/ 220274 w 407152"/>
                  <a:gd name="connsiteY22" fmla="*/ 33345 h 343248"/>
                  <a:gd name="connsiteX23" fmla="*/ 352429 w 407152"/>
                  <a:gd name="connsiteY23" fmla="*/ 88094 h 343248"/>
                  <a:gd name="connsiteX24" fmla="*/ 354372 w 407152"/>
                  <a:gd name="connsiteY24" fmla="*/ 92825 h 343248"/>
                  <a:gd name="connsiteX25" fmla="*/ 352429 w 407152"/>
                  <a:gd name="connsiteY25" fmla="*/ 97556 h 343248"/>
                  <a:gd name="connsiteX26" fmla="*/ 336523 w 407152"/>
                  <a:gd name="connsiteY26" fmla="*/ 113462 h 343248"/>
                  <a:gd name="connsiteX27" fmla="*/ 393829 w 407152"/>
                  <a:gd name="connsiteY27" fmla="*/ 113462 h 343248"/>
                  <a:gd name="connsiteX28" fmla="*/ 393829 w 407152"/>
                  <a:gd name="connsiteY28" fmla="*/ 56155 h 343248"/>
                  <a:gd name="connsiteX29" fmla="*/ 376031 w 407152"/>
                  <a:gd name="connsiteY29" fmla="*/ 73953 h 343248"/>
                  <a:gd name="connsiteX30" fmla="*/ 366595 w 407152"/>
                  <a:gd name="connsiteY30" fmla="*/ 73953 h 343248"/>
                  <a:gd name="connsiteX31" fmla="*/ 220274 w 407152"/>
                  <a:gd name="connsiteY31" fmla="*/ 13348 h 343248"/>
                  <a:gd name="connsiteX32" fmla="*/ 13348 w 407152"/>
                  <a:gd name="connsiteY32" fmla="*/ 220274 h 343248"/>
                  <a:gd name="connsiteX33" fmla="*/ 20304 w 407152"/>
                  <a:gd name="connsiteY33" fmla="*/ 273694 h 343248"/>
                  <a:gd name="connsiteX34" fmla="*/ 120136 w 407152"/>
                  <a:gd name="connsiteY34" fmla="*/ 273668 h 343248"/>
                  <a:gd name="connsiteX35" fmla="*/ 124687 w 407152"/>
                  <a:gd name="connsiteY35" fmla="*/ 275484 h 343248"/>
                  <a:gd name="connsiteX36" fmla="*/ 178158 w 407152"/>
                  <a:gd name="connsiteY36" fmla="*/ 325630 h 343248"/>
                  <a:gd name="connsiteX37" fmla="*/ 187031 w 407152"/>
                  <a:gd name="connsiteY37" fmla="*/ 329926 h 343248"/>
                  <a:gd name="connsiteX38" fmla="*/ 196595 w 407152"/>
                  <a:gd name="connsiteY38" fmla="*/ 326064 h 343248"/>
                  <a:gd name="connsiteX39" fmla="*/ 200507 w 407152"/>
                  <a:gd name="connsiteY39" fmla="*/ 316628 h 343248"/>
                  <a:gd name="connsiteX40" fmla="*/ 196595 w 407152"/>
                  <a:gd name="connsiteY40" fmla="*/ 307192 h 343248"/>
                  <a:gd name="connsiteX41" fmla="*/ 187645 w 407152"/>
                  <a:gd name="connsiteY41" fmla="*/ 298549 h 343248"/>
                  <a:gd name="connsiteX42" fmla="*/ 187492 w 407152"/>
                  <a:gd name="connsiteY42" fmla="*/ 289113 h 343248"/>
                  <a:gd name="connsiteX43" fmla="*/ 196927 w 407152"/>
                  <a:gd name="connsiteY43" fmla="*/ 288960 h 343248"/>
                  <a:gd name="connsiteX44" fmla="*/ 205954 w 407152"/>
                  <a:gd name="connsiteY44" fmla="*/ 297680 h 343248"/>
                  <a:gd name="connsiteX45" fmla="*/ 213881 w 407152"/>
                  <a:gd name="connsiteY45" fmla="*/ 316628 h 343248"/>
                  <a:gd name="connsiteX46" fmla="*/ 206056 w 407152"/>
                  <a:gd name="connsiteY46" fmla="*/ 335526 h 343248"/>
                  <a:gd name="connsiteX47" fmla="*/ 187415 w 407152"/>
                  <a:gd name="connsiteY47" fmla="*/ 343249 h 34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07152" h="343248">
                    <a:moveTo>
                      <a:pt x="187415" y="343249"/>
                    </a:moveTo>
                    <a:cubicBezTo>
                      <a:pt x="187185" y="343249"/>
                      <a:pt x="186954" y="343249"/>
                      <a:pt x="186724" y="343249"/>
                    </a:cubicBezTo>
                    <a:cubicBezTo>
                      <a:pt x="179718" y="343069"/>
                      <a:pt x="173299" y="340103"/>
                      <a:pt x="168671" y="334938"/>
                    </a:cubicBezTo>
                    <a:lnTo>
                      <a:pt x="117527" y="287017"/>
                    </a:lnTo>
                    <a:lnTo>
                      <a:pt x="15266" y="287042"/>
                    </a:lnTo>
                    <a:cubicBezTo>
                      <a:pt x="12300" y="287042"/>
                      <a:pt x="9692" y="285099"/>
                      <a:pt x="8848" y="282235"/>
                    </a:cubicBezTo>
                    <a:cubicBezTo>
                      <a:pt x="2992" y="262186"/>
                      <a:pt x="0" y="241345"/>
                      <a:pt x="0" y="220274"/>
                    </a:cubicBezTo>
                    <a:cubicBezTo>
                      <a:pt x="0" y="98809"/>
                      <a:pt x="98809" y="0"/>
                      <a:pt x="220274" y="0"/>
                    </a:cubicBezTo>
                    <a:cubicBezTo>
                      <a:pt x="276864" y="0"/>
                      <a:pt x="330232" y="21199"/>
                      <a:pt x="371249" y="59863"/>
                    </a:cubicBezTo>
                    <a:lnTo>
                      <a:pt x="395773" y="35340"/>
                    </a:lnTo>
                    <a:cubicBezTo>
                      <a:pt x="397691" y="33422"/>
                      <a:pt x="400555" y="32860"/>
                      <a:pt x="403035" y="33882"/>
                    </a:cubicBezTo>
                    <a:cubicBezTo>
                      <a:pt x="405515" y="34905"/>
                      <a:pt x="407152" y="37360"/>
                      <a:pt x="407152" y="40045"/>
                    </a:cubicBezTo>
                    <a:lnTo>
                      <a:pt x="407152" y="120136"/>
                    </a:lnTo>
                    <a:cubicBezTo>
                      <a:pt x="407152" y="123818"/>
                      <a:pt x="404160" y="126810"/>
                      <a:pt x="400478" y="126810"/>
                    </a:cubicBezTo>
                    <a:lnTo>
                      <a:pt x="320387" y="126810"/>
                    </a:lnTo>
                    <a:cubicBezTo>
                      <a:pt x="317677" y="126810"/>
                      <a:pt x="315247" y="125173"/>
                      <a:pt x="314225" y="122693"/>
                    </a:cubicBezTo>
                    <a:cubicBezTo>
                      <a:pt x="313176" y="120187"/>
                      <a:pt x="313764" y="117323"/>
                      <a:pt x="315682" y="115430"/>
                    </a:cubicBezTo>
                    <a:lnTo>
                      <a:pt x="338185" y="92928"/>
                    </a:lnTo>
                    <a:cubicBezTo>
                      <a:pt x="306016" y="63085"/>
                      <a:pt x="264385" y="46719"/>
                      <a:pt x="220274" y="46719"/>
                    </a:cubicBezTo>
                    <a:cubicBezTo>
                      <a:pt x="191046" y="46719"/>
                      <a:pt x="162175" y="54110"/>
                      <a:pt x="136732" y="68123"/>
                    </a:cubicBezTo>
                    <a:cubicBezTo>
                      <a:pt x="133484" y="69887"/>
                      <a:pt x="129444" y="68737"/>
                      <a:pt x="127654" y="65489"/>
                    </a:cubicBezTo>
                    <a:cubicBezTo>
                      <a:pt x="125864" y="62267"/>
                      <a:pt x="127066" y="58201"/>
                      <a:pt x="130288" y="56411"/>
                    </a:cubicBezTo>
                    <a:cubicBezTo>
                      <a:pt x="157700" y="41324"/>
                      <a:pt x="188821" y="33345"/>
                      <a:pt x="220274" y="33345"/>
                    </a:cubicBezTo>
                    <a:cubicBezTo>
                      <a:pt x="270216" y="33345"/>
                      <a:pt x="317140" y="52780"/>
                      <a:pt x="352429" y="88094"/>
                    </a:cubicBezTo>
                    <a:cubicBezTo>
                      <a:pt x="353682" y="89347"/>
                      <a:pt x="354372" y="91035"/>
                      <a:pt x="354372" y="92825"/>
                    </a:cubicBezTo>
                    <a:cubicBezTo>
                      <a:pt x="354372" y="94590"/>
                      <a:pt x="353656" y="96303"/>
                      <a:pt x="352429" y="97556"/>
                    </a:cubicBezTo>
                    <a:lnTo>
                      <a:pt x="336523" y="113462"/>
                    </a:lnTo>
                    <a:lnTo>
                      <a:pt x="393829" y="113462"/>
                    </a:lnTo>
                    <a:lnTo>
                      <a:pt x="393829" y="56155"/>
                    </a:lnTo>
                    <a:lnTo>
                      <a:pt x="376031" y="73953"/>
                    </a:lnTo>
                    <a:cubicBezTo>
                      <a:pt x="373525" y="76459"/>
                      <a:pt x="369101" y="76459"/>
                      <a:pt x="366595" y="73953"/>
                    </a:cubicBezTo>
                    <a:cubicBezTo>
                      <a:pt x="327343" y="34803"/>
                      <a:pt x="275458" y="13348"/>
                      <a:pt x="220274" y="13348"/>
                    </a:cubicBezTo>
                    <a:cubicBezTo>
                      <a:pt x="106173" y="13348"/>
                      <a:pt x="13348" y="106173"/>
                      <a:pt x="13348" y="220274"/>
                    </a:cubicBezTo>
                    <a:cubicBezTo>
                      <a:pt x="13348" y="238405"/>
                      <a:pt x="15701" y="256356"/>
                      <a:pt x="20304" y="273694"/>
                    </a:cubicBezTo>
                    <a:lnTo>
                      <a:pt x="120136" y="273668"/>
                    </a:lnTo>
                    <a:cubicBezTo>
                      <a:pt x="121823" y="273668"/>
                      <a:pt x="123460" y="274307"/>
                      <a:pt x="124687" y="275484"/>
                    </a:cubicBezTo>
                    <a:lnTo>
                      <a:pt x="178158" y="325630"/>
                    </a:lnTo>
                    <a:cubicBezTo>
                      <a:pt x="180715" y="328443"/>
                      <a:pt x="183732" y="329824"/>
                      <a:pt x="187031" y="329926"/>
                    </a:cubicBezTo>
                    <a:cubicBezTo>
                      <a:pt x="190790" y="330130"/>
                      <a:pt x="194038" y="328621"/>
                      <a:pt x="196595" y="326064"/>
                    </a:cubicBezTo>
                    <a:cubicBezTo>
                      <a:pt x="199127" y="323533"/>
                      <a:pt x="200507" y="320183"/>
                      <a:pt x="200507" y="316628"/>
                    </a:cubicBezTo>
                    <a:cubicBezTo>
                      <a:pt x="200507" y="313074"/>
                      <a:pt x="199101" y="309724"/>
                      <a:pt x="196595" y="307192"/>
                    </a:cubicBezTo>
                    <a:lnTo>
                      <a:pt x="187645" y="298549"/>
                    </a:lnTo>
                    <a:cubicBezTo>
                      <a:pt x="184985" y="295992"/>
                      <a:pt x="184909" y="291773"/>
                      <a:pt x="187492" y="289113"/>
                    </a:cubicBezTo>
                    <a:cubicBezTo>
                      <a:pt x="190049" y="286454"/>
                      <a:pt x="194294" y="286403"/>
                      <a:pt x="196927" y="288960"/>
                    </a:cubicBezTo>
                    <a:lnTo>
                      <a:pt x="205954" y="297680"/>
                    </a:lnTo>
                    <a:cubicBezTo>
                      <a:pt x="211094" y="302794"/>
                      <a:pt x="213881" y="309494"/>
                      <a:pt x="213881" y="316628"/>
                    </a:cubicBezTo>
                    <a:cubicBezTo>
                      <a:pt x="213881" y="323763"/>
                      <a:pt x="211120" y="330463"/>
                      <a:pt x="206056" y="335526"/>
                    </a:cubicBezTo>
                    <a:cubicBezTo>
                      <a:pt x="201121" y="340436"/>
                      <a:pt x="194370" y="343249"/>
                      <a:pt x="187415" y="343249"/>
                    </a:cubicBezTo>
                    <a:close/>
                  </a:path>
                </a:pathLst>
              </a:custGeom>
              <a:solidFill>
                <a:schemeClr val="accent1"/>
              </a:solidFill>
              <a:ln w="2553" cap="flat">
                <a:noFill/>
                <a:prstDash val="solid"/>
                <a:miter/>
              </a:ln>
            </p:spPr>
            <p:txBody>
              <a:bodyPr rtlCol="0" anchor="ctr"/>
              <a:lstStyle/>
              <a:p>
                <a:endParaRPr lang="en-GB" dirty="0"/>
              </a:p>
            </p:txBody>
          </p:sp>
          <p:sp>
            <p:nvSpPr>
              <p:cNvPr id="1681" name="Freihandform: Form 1680">
                <a:extLst>
                  <a:ext uri="{FF2B5EF4-FFF2-40B4-BE49-F238E27FC236}">
                    <a16:creationId xmlns:a16="http://schemas.microsoft.com/office/drawing/2014/main" id="{6DA2B3E5-E8B3-4054-90E7-88C8955D99CE}"/>
                  </a:ext>
                </a:extLst>
              </p:cNvPr>
              <p:cNvSpPr/>
              <p:nvPr/>
            </p:nvSpPr>
            <p:spPr>
              <a:xfrm>
                <a:off x="7104909" y="4245207"/>
                <a:ext cx="27311" cy="25917"/>
              </a:xfrm>
              <a:custGeom>
                <a:avLst/>
                <a:gdLst>
                  <a:gd name="connsiteX0" fmla="*/ 6687 w 27311"/>
                  <a:gd name="connsiteY0" fmla="*/ 25917 h 25917"/>
                  <a:gd name="connsiteX1" fmla="*/ 1956 w 27311"/>
                  <a:gd name="connsiteY1" fmla="*/ 23974 h 25917"/>
                  <a:gd name="connsiteX2" fmla="*/ 1956 w 27311"/>
                  <a:gd name="connsiteY2" fmla="*/ 14538 h 25917"/>
                  <a:gd name="connsiteX3" fmla="*/ 16430 w 27311"/>
                  <a:gd name="connsiteY3" fmla="*/ 1496 h 25917"/>
                  <a:gd name="connsiteX4" fmla="*/ 25815 w 27311"/>
                  <a:gd name="connsiteY4" fmla="*/ 2468 h 25917"/>
                  <a:gd name="connsiteX5" fmla="*/ 24843 w 27311"/>
                  <a:gd name="connsiteY5" fmla="*/ 11853 h 25917"/>
                  <a:gd name="connsiteX6" fmla="*/ 11392 w 27311"/>
                  <a:gd name="connsiteY6" fmla="*/ 23974 h 25917"/>
                  <a:gd name="connsiteX7" fmla="*/ 6687 w 27311"/>
                  <a:gd name="connsiteY7" fmla="*/ 25917 h 25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311" h="25917">
                    <a:moveTo>
                      <a:pt x="6687" y="25917"/>
                    </a:moveTo>
                    <a:cubicBezTo>
                      <a:pt x="4974" y="25917"/>
                      <a:pt x="3260" y="25278"/>
                      <a:pt x="1956" y="23974"/>
                    </a:cubicBezTo>
                    <a:cubicBezTo>
                      <a:pt x="-652" y="21365"/>
                      <a:pt x="-652" y="17146"/>
                      <a:pt x="1956" y="14538"/>
                    </a:cubicBezTo>
                    <a:cubicBezTo>
                      <a:pt x="6534" y="9961"/>
                      <a:pt x="11392" y="5588"/>
                      <a:pt x="16430" y="1496"/>
                    </a:cubicBezTo>
                    <a:cubicBezTo>
                      <a:pt x="19294" y="-831"/>
                      <a:pt x="23513" y="-396"/>
                      <a:pt x="25815" y="2468"/>
                    </a:cubicBezTo>
                    <a:cubicBezTo>
                      <a:pt x="28142" y="5332"/>
                      <a:pt x="27707" y="9526"/>
                      <a:pt x="24843" y="11853"/>
                    </a:cubicBezTo>
                    <a:cubicBezTo>
                      <a:pt x="20163" y="15663"/>
                      <a:pt x="15637" y="19729"/>
                      <a:pt x="11392" y="23974"/>
                    </a:cubicBezTo>
                    <a:cubicBezTo>
                      <a:pt x="10088" y="25278"/>
                      <a:pt x="8375" y="25917"/>
                      <a:pt x="6687" y="25917"/>
                    </a:cubicBezTo>
                    <a:close/>
                  </a:path>
                </a:pathLst>
              </a:custGeom>
              <a:solidFill>
                <a:schemeClr val="accent1"/>
              </a:solidFill>
              <a:ln w="2553" cap="flat">
                <a:noFill/>
                <a:prstDash val="solid"/>
                <a:miter/>
              </a:ln>
            </p:spPr>
            <p:txBody>
              <a:bodyPr rtlCol="0" anchor="ctr"/>
              <a:lstStyle/>
              <a:p>
                <a:endParaRPr lang="en-GB" dirty="0"/>
              </a:p>
            </p:txBody>
          </p:sp>
          <p:sp>
            <p:nvSpPr>
              <p:cNvPr id="1682" name="Freihandform: Form 1681">
                <a:extLst>
                  <a:ext uri="{FF2B5EF4-FFF2-40B4-BE49-F238E27FC236}">
                    <a16:creationId xmlns:a16="http://schemas.microsoft.com/office/drawing/2014/main" id="{CF96F3F4-44DB-4617-B5B1-63E4F9A7AC55}"/>
                  </a:ext>
                </a:extLst>
              </p:cNvPr>
              <p:cNvSpPr/>
              <p:nvPr/>
            </p:nvSpPr>
            <p:spPr>
              <a:xfrm>
                <a:off x="7260947" y="4359391"/>
                <a:ext cx="103450" cy="119119"/>
              </a:xfrm>
              <a:custGeom>
                <a:avLst/>
                <a:gdLst>
                  <a:gd name="connsiteX0" fmla="*/ 76779 w 103450"/>
                  <a:gd name="connsiteY0" fmla="*/ 119119 h 119119"/>
                  <a:gd name="connsiteX1" fmla="*/ 57907 w 103450"/>
                  <a:gd name="connsiteY1" fmla="*/ 111294 h 119119"/>
                  <a:gd name="connsiteX2" fmla="*/ 1956 w 103450"/>
                  <a:gd name="connsiteY2" fmla="*/ 55344 h 119119"/>
                  <a:gd name="connsiteX3" fmla="*/ 1956 w 103450"/>
                  <a:gd name="connsiteY3" fmla="*/ 45907 h 119119"/>
                  <a:gd name="connsiteX4" fmla="*/ 11392 w 103450"/>
                  <a:gd name="connsiteY4" fmla="*/ 45907 h 119119"/>
                  <a:gd name="connsiteX5" fmla="*/ 67343 w 103450"/>
                  <a:gd name="connsiteY5" fmla="*/ 101858 h 119119"/>
                  <a:gd name="connsiteX6" fmla="*/ 86189 w 103450"/>
                  <a:gd name="connsiteY6" fmla="*/ 101858 h 119119"/>
                  <a:gd name="connsiteX7" fmla="*/ 90102 w 103450"/>
                  <a:gd name="connsiteY7" fmla="*/ 92423 h 119119"/>
                  <a:gd name="connsiteX8" fmla="*/ 86189 w 103450"/>
                  <a:gd name="connsiteY8" fmla="*/ 82986 h 119119"/>
                  <a:gd name="connsiteX9" fmla="*/ 14282 w 103450"/>
                  <a:gd name="connsiteY9" fmla="*/ 11386 h 119119"/>
                  <a:gd name="connsiteX10" fmla="*/ 14256 w 103450"/>
                  <a:gd name="connsiteY10" fmla="*/ 1950 h 119119"/>
                  <a:gd name="connsiteX11" fmla="*/ 23692 w 103450"/>
                  <a:gd name="connsiteY11" fmla="*/ 1924 h 119119"/>
                  <a:gd name="connsiteX12" fmla="*/ 95600 w 103450"/>
                  <a:gd name="connsiteY12" fmla="*/ 73525 h 119119"/>
                  <a:gd name="connsiteX13" fmla="*/ 103450 w 103450"/>
                  <a:gd name="connsiteY13" fmla="*/ 92397 h 119119"/>
                  <a:gd name="connsiteX14" fmla="*/ 95625 w 103450"/>
                  <a:gd name="connsiteY14" fmla="*/ 111294 h 119119"/>
                  <a:gd name="connsiteX15" fmla="*/ 76779 w 103450"/>
                  <a:gd name="connsiteY15" fmla="*/ 119119 h 119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450" h="119119">
                    <a:moveTo>
                      <a:pt x="76779" y="119119"/>
                    </a:moveTo>
                    <a:cubicBezTo>
                      <a:pt x="69644" y="119119"/>
                      <a:pt x="62945" y="116332"/>
                      <a:pt x="57907" y="111294"/>
                    </a:cubicBezTo>
                    <a:lnTo>
                      <a:pt x="1956" y="55344"/>
                    </a:lnTo>
                    <a:cubicBezTo>
                      <a:pt x="-652" y="52735"/>
                      <a:pt x="-652" y="48516"/>
                      <a:pt x="1956" y="45907"/>
                    </a:cubicBezTo>
                    <a:cubicBezTo>
                      <a:pt x="4564" y="43299"/>
                      <a:pt x="8784" y="43299"/>
                      <a:pt x="11392" y="45907"/>
                    </a:cubicBezTo>
                    <a:lnTo>
                      <a:pt x="67343" y="101858"/>
                    </a:lnTo>
                    <a:cubicBezTo>
                      <a:pt x="72381" y="106896"/>
                      <a:pt x="81152" y="106896"/>
                      <a:pt x="86189" y="101858"/>
                    </a:cubicBezTo>
                    <a:cubicBezTo>
                      <a:pt x="88721" y="99327"/>
                      <a:pt x="90102" y="95977"/>
                      <a:pt x="90102" y="92423"/>
                    </a:cubicBezTo>
                    <a:cubicBezTo>
                      <a:pt x="90102" y="88868"/>
                      <a:pt x="88695" y="85518"/>
                      <a:pt x="86189" y="82986"/>
                    </a:cubicBezTo>
                    <a:lnTo>
                      <a:pt x="14282" y="11386"/>
                    </a:lnTo>
                    <a:cubicBezTo>
                      <a:pt x="11673" y="8778"/>
                      <a:pt x="11673" y="4558"/>
                      <a:pt x="14256" y="1950"/>
                    </a:cubicBezTo>
                    <a:cubicBezTo>
                      <a:pt x="16865" y="-633"/>
                      <a:pt x="21084" y="-658"/>
                      <a:pt x="23692" y="1924"/>
                    </a:cubicBezTo>
                    <a:lnTo>
                      <a:pt x="95600" y="73525"/>
                    </a:lnTo>
                    <a:cubicBezTo>
                      <a:pt x="100663" y="78563"/>
                      <a:pt x="103450" y="85262"/>
                      <a:pt x="103450" y="92397"/>
                    </a:cubicBezTo>
                    <a:cubicBezTo>
                      <a:pt x="103450" y="99532"/>
                      <a:pt x="100688" y="106231"/>
                      <a:pt x="95625" y="111294"/>
                    </a:cubicBezTo>
                    <a:cubicBezTo>
                      <a:pt x="90613" y="116332"/>
                      <a:pt x="83913" y="119119"/>
                      <a:pt x="76779" y="119119"/>
                    </a:cubicBezTo>
                    <a:close/>
                  </a:path>
                </a:pathLst>
              </a:custGeom>
              <a:solidFill>
                <a:schemeClr val="accent1"/>
              </a:solidFill>
              <a:ln w="2553" cap="flat">
                <a:noFill/>
                <a:prstDash val="solid"/>
                <a:miter/>
              </a:ln>
            </p:spPr>
            <p:txBody>
              <a:bodyPr rtlCol="0" anchor="ctr"/>
              <a:lstStyle/>
              <a:p>
                <a:endParaRPr lang="en-GB" dirty="0"/>
              </a:p>
            </p:txBody>
          </p:sp>
          <p:sp>
            <p:nvSpPr>
              <p:cNvPr id="1683" name="Freihandform: Form 1682">
                <a:extLst>
                  <a:ext uri="{FF2B5EF4-FFF2-40B4-BE49-F238E27FC236}">
                    <a16:creationId xmlns:a16="http://schemas.microsoft.com/office/drawing/2014/main" id="{EBC810B8-4836-49E4-AFEA-FA5873556392}"/>
                  </a:ext>
                </a:extLst>
              </p:cNvPr>
              <p:cNvSpPr/>
              <p:nvPr/>
            </p:nvSpPr>
            <p:spPr>
              <a:xfrm>
                <a:off x="7232128" y="4401668"/>
                <a:ext cx="81688" cy="83696"/>
              </a:xfrm>
              <a:custGeom>
                <a:avLst/>
                <a:gdLst>
                  <a:gd name="connsiteX0" fmla="*/ 55094 w 81688"/>
                  <a:gd name="connsiteY0" fmla="*/ 83696 h 83696"/>
                  <a:gd name="connsiteX1" fmla="*/ 54532 w 81688"/>
                  <a:gd name="connsiteY1" fmla="*/ 83670 h 83696"/>
                  <a:gd name="connsiteX2" fmla="*/ 36478 w 81688"/>
                  <a:gd name="connsiteY2" fmla="*/ 74286 h 83696"/>
                  <a:gd name="connsiteX3" fmla="*/ 1956 w 81688"/>
                  <a:gd name="connsiteY3" fmla="*/ 39789 h 83696"/>
                  <a:gd name="connsiteX4" fmla="*/ 1956 w 81688"/>
                  <a:gd name="connsiteY4" fmla="*/ 30354 h 83696"/>
                  <a:gd name="connsiteX5" fmla="*/ 11392 w 81688"/>
                  <a:gd name="connsiteY5" fmla="*/ 30354 h 83696"/>
                  <a:gd name="connsiteX6" fmla="*/ 46144 w 81688"/>
                  <a:gd name="connsiteY6" fmla="*/ 65105 h 83696"/>
                  <a:gd name="connsiteX7" fmla="*/ 54890 w 81688"/>
                  <a:gd name="connsiteY7" fmla="*/ 70322 h 83696"/>
                  <a:gd name="connsiteX8" fmla="*/ 64453 w 81688"/>
                  <a:gd name="connsiteY8" fmla="*/ 65387 h 83696"/>
                  <a:gd name="connsiteX9" fmla="*/ 68366 w 81688"/>
                  <a:gd name="connsiteY9" fmla="*/ 55951 h 83696"/>
                  <a:gd name="connsiteX10" fmla="*/ 64428 w 81688"/>
                  <a:gd name="connsiteY10" fmla="*/ 46515 h 83696"/>
                  <a:gd name="connsiteX11" fmla="*/ 29113 w 81688"/>
                  <a:gd name="connsiteY11" fmla="*/ 11405 h 83696"/>
                  <a:gd name="connsiteX12" fmla="*/ 29088 w 81688"/>
                  <a:gd name="connsiteY12" fmla="*/ 1969 h 83696"/>
                  <a:gd name="connsiteX13" fmla="*/ 38524 w 81688"/>
                  <a:gd name="connsiteY13" fmla="*/ 1944 h 83696"/>
                  <a:gd name="connsiteX14" fmla="*/ 73838 w 81688"/>
                  <a:gd name="connsiteY14" fmla="*/ 37053 h 83696"/>
                  <a:gd name="connsiteX15" fmla="*/ 81689 w 81688"/>
                  <a:gd name="connsiteY15" fmla="*/ 55925 h 83696"/>
                  <a:gd name="connsiteX16" fmla="*/ 73864 w 81688"/>
                  <a:gd name="connsiteY16" fmla="*/ 74823 h 83696"/>
                  <a:gd name="connsiteX17" fmla="*/ 55094 w 81688"/>
                  <a:gd name="connsiteY17" fmla="*/ 83696 h 83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688" h="83696">
                    <a:moveTo>
                      <a:pt x="55094" y="83696"/>
                    </a:moveTo>
                    <a:cubicBezTo>
                      <a:pt x="54915" y="83696"/>
                      <a:pt x="54711" y="83696"/>
                      <a:pt x="54532" y="83670"/>
                    </a:cubicBezTo>
                    <a:cubicBezTo>
                      <a:pt x="47985" y="83492"/>
                      <a:pt x="41925" y="80321"/>
                      <a:pt x="36478" y="74286"/>
                    </a:cubicBezTo>
                    <a:lnTo>
                      <a:pt x="1956" y="39789"/>
                    </a:lnTo>
                    <a:cubicBezTo>
                      <a:pt x="-652" y="37181"/>
                      <a:pt x="-652" y="32962"/>
                      <a:pt x="1956" y="30354"/>
                    </a:cubicBezTo>
                    <a:cubicBezTo>
                      <a:pt x="4565" y="27745"/>
                      <a:pt x="8784" y="27745"/>
                      <a:pt x="11392" y="30354"/>
                    </a:cubicBezTo>
                    <a:lnTo>
                      <a:pt x="46144" y="65105"/>
                    </a:lnTo>
                    <a:cubicBezTo>
                      <a:pt x="49289" y="68583"/>
                      <a:pt x="52153" y="70271"/>
                      <a:pt x="54890" y="70322"/>
                    </a:cubicBezTo>
                    <a:cubicBezTo>
                      <a:pt x="58521" y="70169"/>
                      <a:pt x="62126" y="67688"/>
                      <a:pt x="64453" y="65387"/>
                    </a:cubicBezTo>
                    <a:cubicBezTo>
                      <a:pt x="66985" y="62855"/>
                      <a:pt x="68366" y="59505"/>
                      <a:pt x="68366" y="55951"/>
                    </a:cubicBezTo>
                    <a:cubicBezTo>
                      <a:pt x="68366" y="52396"/>
                      <a:pt x="66959" y="49046"/>
                      <a:pt x="64428" y="46515"/>
                    </a:cubicBezTo>
                    <a:lnTo>
                      <a:pt x="29113" y="11405"/>
                    </a:lnTo>
                    <a:cubicBezTo>
                      <a:pt x="26505" y="8797"/>
                      <a:pt x="26480" y="4577"/>
                      <a:pt x="29088" y="1969"/>
                    </a:cubicBezTo>
                    <a:cubicBezTo>
                      <a:pt x="31696" y="-639"/>
                      <a:pt x="35916" y="-665"/>
                      <a:pt x="38524" y="1944"/>
                    </a:cubicBezTo>
                    <a:lnTo>
                      <a:pt x="73838" y="37053"/>
                    </a:lnTo>
                    <a:cubicBezTo>
                      <a:pt x="78901" y="42091"/>
                      <a:pt x="81689" y="48791"/>
                      <a:pt x="81689" y="55925"/>
                    </a:cubicBezTo>
                    <a:cubicBezTo>
                      <a:pt x="81689" y="63060"/>
                      <a:pt x="78927" y="69760"/>
                      <a:pt x="73864" y="74823"/>
                    </a:cubicBezTo>
                    <a:cubicBezTo>
                      <a:pt x="68085" y="80653"/>
                      <a:pt x="61589" y="83696"/>
                      <a:pt x="55094" y="83696"/>
                    </a:cubicBezTo>
                    <a:close/>
                  </a:path>
                </a:pathLst>
              </a:custGeom>
              <a:solidFill>
                <a:schemeClr val="accent1"/>
              </a:solidFill>
              <a:ln w="2553" cap="flat">
                <a:noFill/>
                <a:prstDash val="solid"/>
                <a:miter/>
              </a:ln>
            </p:spPr>
            <p:txBody>
              <a:bodyPr rtlCol="0" anchor="ctr"/>
              <a:lstStyle/>
              <a:p>
                <a:endParaRPr lang="en-GB" dirty="0"/>
              </a:p>
            </p:txBody>
          </p:sp>
          <p:sp>
            <p:nvSpPr>
              <p:cNvPr id="1684" name="Freihandform: Form 1683">
                <a:extLst>
                  <a:ext uri="{FF2B5EF4-FFF2-40B4-BE49-F238E27FC236}">
                    <a16:creationId xmlns:a16="http://schemas.microsoft.com/office/drawing/2014/main" id="{77DE7000-A47A-4815-B814-3706EE131944}"/>
                  </a:ext>
                </a:extLst>
              </p:cNvPr>
              <p:cNvSpPr/>
              <p:nvPr/>
            </p:nvSpPr>
            <p:spPr>
              <a:xfrm>
                <a:off x="7204715" y="4430154"/>
                <a:ext cx="70130" cy="70808"/>
              </a:xfrm>
              <a:custGeom>
                <a:avLst/>
                <a:gdLst>
                  <a:gd name="connsiteX0" fmla="*/ 43689 w 70130"/>
                  <a:gd name="connsiteY0" fmla="*/ 70808 h 70808"/>
                  <a:gd name="connsiteX1" fmla="*/ 42999 w 70130"/>
                  <a:gd name="connsiteY1" fmla="*/ 70808 h 70808"/>
                  <a:gd name="connsiteX2" fmla="*/ 24945 w 70130"/>
                  <a:gd name="connsiteY2" fmla="*/ 62497 h 70808"/>
                  <a:gd name="connsiteX3" fmla="*/ 1956 w 70130"/>
                  <a:gd name="connsiteY3" fmla="*/ 39534 h 70808"/>
                  <a:gd name="connsiteX4" fmla="*/ 1956 w 70130"/>
                  <a:gd name="connsiteY4" fmla="*/ 30098 h 70808"/>
                  <a:gd name="connsiteX5" fmla="*/ 11392 w 70130"/>
                  <a:gd name="connsiteY5" fmla="*/ 30098 h 70808"/>
                  <a:gd name="connsiteX6" fmla="*/ 34611 w 70130"/>
                  <a:gd name="connsiteY6" fmla="*/ 53317 h 70808"/>
                  <a:gd name="connsiteX7" fmla="*/ 43331 w 70130"/>
                  <a:gd name="connsiteY7" fmla="*/ 57460 h 70808"/>
                  <a:gd name="connsiteX8" fmla="*/ 52895 w 70130"/>
                  <a:gd name="connsiteY8" fmla="*/ 53598 h 70808"/>
                  <a:gd name="connsiteX9" fmla="*/ 56807 w 70130"/>
                  <a:gd name="connsiteY9" fmla="*/ 44163 h 70808"/>
                  <a:gd name="connsiteX10" fmla="*/ 52869 w 70130"/>
                  <a:gd name="connsiteY10" fmla="*/ 34726 h 70808"/>
                  <a:gd name="connsiteX11" fmla="*/ 29267 w 70130"/>
                  <a:gd name="connsiteY11" fmla="*/ 11431 h 70808"/>
                  <a:gd name="connsiteX12" fmla="*/ 29190 w 70130"/>
                  <a:gd name="connsiteY12" fmla="*/ 1995 h 70808"/>
                  <a:gd name="connsiteX13" fmla="*/ 38626 w 70130"/>
                  <a:gd name="connsiteY13" fmla="*/ 1918 h 70808"/>
                  <a:gd name="connsiteX14" fmla="*/ 62254 w 70130"/>
                  <a:gd name="connsiteY14" fmla="*/ 25239 h 70808"/>
                  <a:gd name="connsiteX15" fmla="*/ 70130 w 70130"/>
                  <a:gd name="connsiteY15" fmla="*/ 44137 h 70808"/>
                  <a:gd name="connsiteX16" fmla="*/ 62305 w 70130"/>
                  <a:gd name="connsiteY16" fmla="*/ 63034 h 70808"/>
                  <a:gd name="connsiteX17" fmla="*/ 43689 w 70130"/>
                  <a:gd name="connsiteY17" fmla="*/ 70808 h 70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0130" h="70808">
                    <a:moveTo>
                      <a:pt x="43689" y="70808"/>
                    </a:moveTo>
                    <a:cubicBezTo>
                      <a:pt x="43459" y="70808"/>
                      <a:pt x="43229" y="70808"/>
                      <a:pt x="42999" y="70808"/>
                    </a:cubicBezTo>
                    <a:cubicBezTo>
                      <a:pt x="35992" y="70604"/>
                      <a:pt x="29574" y="67663"/>
                      <a:pt x="24945" y="62497"/>
                    </a:cubicBezTo>
                    <a:lnTo>
                      <a:pt x="1956" y="39534"/>
                    </a:lnTo>
                    <a:cubicBezTo>
                      <a:pt x="-652" y="36926"/>
                      <a:pt x="-652" y="32706"/>
                      <a:pt x="1956" y="30098"/>
                    </a:cubicBezTo>
                    <a:cubicBezTo>
                      <a:pt x="4564" y="27490"/>
                      <a:pt x="8784" y="27490"/>
                      <a:pt x="11392" y="30098"/>
                    </a:cubicBezTo>
                    <a:lnTo>
                      <a:pt x="34611" y="53317"/>
                    </a:lnTo>
                    <a:cubicBezTo>
                      <a:pt x="37015" y="56002"/>
                      <a:pt x="40032" y="57383"/>
                      <a:pt x="43331" y="57460"/>
                    </a:cubicBezTo>
                    <a:cubicBezTo>
                      <a:pt x="47065" y="57690"/>
                      <a:pt x="50338" y="56156"/>
                      <a:pt x="52895" y="53598"/>
                    </a:cubicBezTo>
                    <a:cubicBezTo>
                      <a:pt x="55427" y="51067"/>
                      <a:pt x="56807" y="47717"/>
                      <a:pt x="56807" y="44163"/>
                    </a:cubicBezTo>
                    <a:cubicBezTo>
                      <a:pt x="56807" y="40608"/>
                      <a:pt x="55401" y="37258"/>
                      <a:pt x="52869" y="34726"/>
                    </a:cubicBezTo>
                    <a:lnTo>
                      <a:pt x="29267" y="11431"/>
                    </a:lnTo>
                    <a:cubicBezTo>
                      <a:pt x="26633" y="8848"/>
                      <a:pt x="26607" y="4603"/>
                      <a:pt x="29190" y="1995"/>
                    </a:cubicBezTo>
                    <a:cubicBezTo>
                      <a:pt x="31798" y="-639"/>
                      <a:pt x="36018" y="-665"/>
                      <a:pt x="38626" y="1918"/>
                    </a:cubicBezTo>
                    <a:lnTo>
                      <a:pt x="62254" y="25239"/>
                    </a:lnTo>
                    <a:cubicBezTo>
                      <a:pt x="67343" y="30303"/>
                      <a:pt x="70130" y="37002"/>
                      <a:pt x="70130" y="44137"/>
                    </a:cubicBezTo>
                    <a:cubicBezTo>
                      <a:pt x="70130" y="51271"/>
                      <a:pt x="67368" y="57971"/>
                      <a:pt x="62305" y="63034"/>
                    </a:cubicBezTo>
                    <a:cubicBezTo>
                      <a:pt x="57396" y="67995"/>
                      <a:pt x="50645" y="70808"/>
                      <a:pt x="43689" y="70808"/>
                    </a:cubicBezTo>
                    <a:close/>
                  </a:path>
                </a:pathLst>
              </a:custGeom>
              <a:solidFill>
                <a:schemeClr val="accent1"/>
              </a:solidFill>
              <a:ln w="2553"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762382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a:extLst>
              <a:ext uri="{FF2B5EF4-FFF2-40B4-BE49-F238E27FC236}">
                <a16:creationId xmlns:a16="http://schemas.microsoft.com/office/drawing/2014/main" id="{3F9016D6-9CD2-4380-B7AE-B59A30218F30}"/>
              </a:ext>
            </a:extLst>
          </p:cNvPr>
          <p:cNvGraphicFramePr>
            <a:graphicFrameLocks noChangeAspect="1"/>
          </p:cNvGraphicFramePr>
          <p:nvPr>
            <p:custDataLst>
              <p:tags r:id="rId1"/>
            </p:custDataLst>
            <p:extLst>
              <p:ext uri="{D42A27DB-BD31-4B8C-83A1-F6EECF244321}">
                <p14:modId xmlns:p14="http://schemas.microsoft.com/office/powerpoint/2010/main" val="4254783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21" name="Objekt 20" hidden="1">
                        <a:extLst>
                          <a:ext uri="{FF2B5EF4-FFF2-40B4-BE49-F238E27FC236}">
                            <a16:creationId xmlns:a16="http://schemas.microsoft.com/office/drawing/2014/main" id="{3F9016D6-9CD2-4380-B7AE-B59A30218F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A77AFE9-5475-4FEF-BB3A-5EA6DD79304C}"/>
              </a:ext>
            </a:extLst>
          </p:cNvPr>
          <p:cNvSpPr>
            <a:spLocks noGrp="1"/>
          </p:cNvSpPr>
          <p:nvPr>
            <p:ph type="sldNum" sz="quarter" idx="11"/>
          </p:nvPr>
        </p:nvSpPr>
        <p:spPr/>
        <p:txBody>
          <a:bodyPr/>
          <a:lstStyle/>
          <a:p>
            <a:fld id="{D56DB8AA-803C-49D2-90AA-1140CE72DCD7}" type="slidenum">
              <a:rPr lang="en-GB" smtClean="0"/>
              <a:pPr/>
              <a:t>28</a:t>
            </a:fld>
            <a:endParaRPr lang="en-GB" dirty="0"/>
          </a:p>
        </p:txBody>
      </p:sp>
      <p:sp>
        <p:nvSpPr>
          <p:cNvPr id="3" name="Title 2">
            <a:extLst>
              <a:ext uri="{FF2B5EF4-FFF2-40B4-BE49-F238E27FC236}">
                <a16:creationId xmlns:a16="http://schemas.microsoft.com/office/drawing/2014/main" id="{EB69BFC8-4028-2D02-2904-A4BF387493B7}"/>
              </a:ext>
            </a:extLst>
          </p:cNvPr>
          <p:cNvSpPr>
            <a:spLocks noGrp="1"/>
          </p:cNvSpPr>
          <p:nvPr>
            <p:ph type="title"/>
          </p:nvPr>
        </p:nvSpPr>
        <p:spPr>
          <a:xfrm>
            <a:off x="252000" y="252000"/>
            <a:ext cx="6748875" cy="576000"/>
          </a:xfrm>
        </p:spPr>
        <p:txBody>
          <a:bodyPr/>
          <a:lstStyle/>
          <a:p>
            <a:r>
              <a:rPr lang="en-US" dirty="0"/>
              <a:t>Marketing/Brand 4/4</a:t>
            </a:r>
            <a:br>
              <a:rPr lang="en-US" dirty="0"/>
            </a:br>
            <a:endParaRPr lang="en-US" dirty="0"/>
          </a:p>
        </p:txBody>
      </p:sp>
      <p:sp>
        <p:nvSpPr>
          <p:cNvPr id="5" name="TextBox 4">
            <a:extLst>
              <a:ext uri="{FF2B5EF4-FFF2-40B4-BE49-F238E27FC236}">
                <a16:creationId xmlns:a16="http://schemas.microsoft.com/office/drawing/2014/main" id="{F8E769D7-3C0F-4EF2-87C0-012C8931B9CB}"/>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irect marketing</a:t>
            </a:r>
          </a:p>
        </p:txBody>
      </p:sp>
      <p:sp>
        <p:nvSpPr>
          <p:cNvPr id="6" name="TextBox 5">
            <a:extLst>
              <a:ext uri="{FF2B5EF4-FFF2-40B4-BE49-F238E27FC236}">
                <a16:creationId xmlns:a16="http://schemas.microsoft.com/office/drawing/2014/main" id="{04DD5B50-FEA3-4D20-A49E-31B15E3ED61D}"/>
              </a:ext>
            </a:extLst>
          </p:cNvPr>
          <p:cNvSpPr txBox="1"/>
          <p:nvPr/>
        </p:nvSpPr>
        <p:spPr>
          <a:xfrm>
            <a:off x="3588420"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arketplace</a:t>
            </a:r>
          </a:p>
        </p:txBody>
      </p:sp>
      <p:sp>
        <p:nvSpPr>
          <p:cNvPr id="7" name="TextBox 6">
            <a:extLst>
              <a:ext uri="{FF2B5EF4-FFF2-40B4-BE49-F238E27FC236}">
                <a16:creationId xmlns:a16="http://schemas.microsoft.com/office/drawing/2014/main" id="{1BF5190D-7321-464C-B765-AFEBF858ABF7}"/>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Global</a:t>
            </a:r>
            <a:br>
              <a:rPr lang="en-GB" sz="700" dirty="0">
                <a:solidFill>
                  <a:schemeClr val="tx2"/>
                </a:solidFill>
              </a:rPr>
            </a:br>
            <a:r>
              <a:rPr lang="en-GB" sz="700" dirty="0">
                <a:solidFill>
                  <a:schemeClr val="tx2"/>
                </a:solidFill>
              </a:rPr>
              <a:t>marketing</a:t>
            </a:r>
          </a:p>
        </p:txBody>
      </p:sp>
      <p:sp>
        <p:nvSpPr>
          <p:cNvPr id="8" name="TextBox 7">
            <a:extLst>
              <a:ext uri="{FF2B5EF4-FFF2-40B4-BE49-F238E27FC236}">
                <a16:creationId xmlns:a16="http://schemas.microsoft.com/office/drawing/2014/main" id="{15824D86-8C93-46F4-8F58-F4F5145AA2F5}"/>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GPR</a:t>
            </a:r>
          </a:p>
        </p:txBody>
      </p:sp>
      <p:sp>
        <p:nvSpPr>
          <p:cNvPr id="9" name="TextBox 8">
            <a:extLst>
              <a:ext uri="{FF2B5EF4-FFF2-40B4-BE49-F238E27FC236}">
                <a16:creationId xmlns:a16="http://schemas.microsoft.com/office/drawing/2014/main" id="{6E997570-92DF-4C4C-AD34-91D744D49883}"/>
              </a:ext>
            </a:extLst>
          </p:cNvPr>
          <p:cNvSpPr txBox="1"/>
          <p:nvPr/>
        </p:nvSpPr>
        <p:spPr>
          <a:xfrm>
            <a:off x="3588420"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obile</a:t>
            </a:r>
            <a:br>
              <a:rPr lang="en-GB" sz="700" dirty="0">
                <a:solidFill>
                  <a:schemeClr val="tx2"/>
                </a:solidFill>
              </a:rPr>
            </a:br>
            <a:r>
              <a:rPr lang="en-GB" sz="700" dirty="0">
                <a:solidFill>
                  <a:schemeClr val="tx2"/>
                </a:solidFill>
              </a:rPr>
              <a:t>content</a:t>
            </a:r>
          </a:p>
        </p:txBody>
      </p:sp>
      <p:sp>
        <p:nvSpPr>
          <p:cNvPr id="10" name="TextBox 9">
            <a:extLst>
              <a:ext uri="{FF2B5EF4-FFF2-40B4-BE49-F238E27FC236}">
                <a16:creationId xmlns:a16="http://schemas.microsoft.com/office/drawing/2014/main" id="{B4B18DAA-B9F3-4153-B34D-8421085B9319}"/>
              </a:ext>
            </a:extLst>
          </p:cNvPr>
          <p:cNvSpPr txBox="1"/>
          <p:nvPr/>
        </p:nvSpPr>
        <p:spPr>
          <a:xfrm>
            <a:off x="254298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arget</a:t>
            </a:r>
            <a:br>
              <a:rPr lang="en-GB" sz="700" dirty="0">
                <a:solidFill>
                  <a:schemeClr val="tx2"/>
                </a:solidFill>
              </a:rPr>
            </a:br>
            <a:r>
              <a:rPr lang="en-GB" sz="700" dirty="0">
                <a:solidFill>
                  <a:schemeClr val="tx2"/>
                </a:solidFill>
              </a:rPr>
              <a:t>market</a:t>
            </a:r>
          </a:p>
        </p:txBody>
      </p:sp>
      <p:sp>
        <p:nvSpPr>
          <p:cNvPr id="11" name="TextBox 10">
            <a:extLst>
              <a:ext uri="{FF2B5EF4-FFF2-40B4-BE49-F238E27FC236}">
                <a16:creationId xmlns:a16="http://schemas.microsoft.com/office/drawing/2014/main" id="{13530A49-130D-48E3-8E2C-7F9A5EEFE7E2}"/>
              </a:ext>
            </a:extLst>
          </p:cNvPr>
          <p:cNvSpPr txBox="1"/>
          <p:nvPr/>
        </p:nvSpPr>
        <p:spPr>
          <a:xfrm>
            <a:off x="1497553"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fluencer</a:t>
            </a:r>
            <a:br>
              <a:rPr lang="en-GB" sz="700" dirty="0">
                <a:solidFill>
                  <a:schemeClr val="tx2"/>
                </a:solidFill>
              </a:rPr>
            </a:br>
            <a:r>
              <a:rPr lang="en-GB" sz="700" dirty="0">
                <a:solidFill>
                  <a:schemeClr val="tx2"/>
                </a:solidFill>
              </a:rPr>
              <a:t>marketing</a:t>
            </a:r>
          </a:p>
        </p:txBody>
      </p:sp>
      <p:sp>
        <p:nvSpPr>
          <p:cNvPr id="12" name="TextBox 11">
            <a:extLst>
              <a:ext uri="{FF2B5EF4-FFF2-40B4-BE49-F238E27FC236}">
                <a16:creationId xmlns:a16="http://schemas.microsoft.com/office/drawing/2014/main" id="{D0D45E7F-D354-4765-A337-863E271E7DCC}"/>
              </a:ext>
            </a:extLst>
          </p:cNvPr>
          <p:cNvSpPr txBox="1"/>
          <p:nvPr/>
        </p:nvSpPr>
        <p:spPr>
          <a:xfrm>
            <a:off x="399381" y="3723675"/>
            <a:ext cx="789340" cy="215444"/>
          </a:xfrm>
          <a:prstGeom prst="rect">
            <a:avLst/>
          </a:prstGeom>
          <a:noFill/>
          <a:effectLst/>
        </p:spPr>
        <p:txBody>
          <a:bodyPr wrap="square" lIns="0" tIns="0" rIns="0" bIns="0" rtlCol="0" anchor="t">
            <a:spAutoFit/>
          </a:bodyPr>
          <a:lstStyle/>
          <a:p>
            <a:pPr algn="ctr"/>
            <a:r>
              <a:rPr lang="en-GB" sz="700" dirty="0">
                <a:solidFill>
                  <a:schemeClr val="tx2"/>
                </a:solidFill>
              </a:rPr>
              <a:t>Digital</a:t>
            </a:r>
            <a:br>
              <a:rPr lang="en-GB" sz="700" dirty="0">
                <a:solidFill>
                  <a:schemeClr val="tx2"/>
                </a:solidFill>
              </a:rPr>
            </a:br>
            <a:r>
              <a:rPr lang="en-GB" sz="700" dirty="0">
                <a:solidFill>
                  <a:schemeClr val="tx2"/>
                </a:solidFill>
              </a:rPr>
              <a:t>marketing strategy</a:t>
            </a:r>
          </a:p>
        </p:txBody>
      </p:sp>
      <p:sp>
        <p:nvSpPr>
          <p:cNvPr id="13" name="TextBox 12">
            <a:extLst>
              <a:ext uri="{FF2B5EF4-FFF2-40B4-BE49-F238E27FC236}">
                <a16:creationId xmlns:a16="http://schemas.microsoft.com/office/drawing/2014/main" id="{C1E79B41-8ABB-4A0A-9247-A47B30AC39C2}"/>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Gathering info</a:t>
            </a:r>
          </a:p>
        </p:txBody>
      </p:sp>
      <p:sp>
        <p:nvSpPr>
          <p:cNvPr id="14" name="TextBox 13">
            <a:extLst>
              <a:ext uri="{FF2B5EF4-FFF2-40B4-BE49-F238E27FC236}">
                <a16:creationId xmlns:a16="http://schemas.microsoft.com/office/drawing/2014/main" id="{51DF327E-BC46-44C3-8B54-B0A9F3192EAB}"/>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News feed</a:t>
            </a:r>
          </a:p>
        </p:txBody>
      </p:sp>
      <p:sp>
        <p:nvSpPr>
          <p:cNvPr id="15" name="TextBox 14">
            <a:extLst>
              <a:ext uri="{FF2B5EF4-FFF2-40B4-BE49-F238E27FC236}">
                <a16:creationId xmlns:a16="http://schemas.microsoft.com/office/drawing/2014/main" id="{C05504FB-CF50-4C2E-A295-E3DCBB76EF1E}"/>
              </a:ext>
            </a:extLst>
          </p:cNvPr>
          <p:cNvSpPr txBox="1"/>
          <p:nvPr/>
        </p:nvSpPr>
        <p:spPr>
          <a:xfrm>
            <a:off x="1497553"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ocial media</a:t>
            </a:r>
            <a:br>
              <a:rPr lang="en-GB" sz="700" dirty="0">
                <a:solidFill>
                  <a:schemeClr val="tx2"/>
                </a:solidFill>
              </a:rPr>
            </a:br>
            <a:r>
              <a:rPr lang="en-GB" sz="700" dirty="0">
                <a:solidFill>
                  <a:schemeClr val="tx2"/>
                </a:solidFill>
              </a:rPr>
              <a:t>performance</a:t>
            </a:r>
          </a:p>
        </p:txBody>
      </p:sp>
      <p:sp>
        <p:nvSpPr>
          <p:cNvPr id="16" name="TextBox 15">
            <a:extLst>
              <a:ext uri="{FF2B5EF4-FFF2-40B4-BE49-F238E27FC236}">
                <a16:creationId xmlns:a16="http://schemas.microsoft.com/office/drawing/2014/main" id="{CD1F2C5C-A48B-4454-8717-4EBFC3602B08}"/>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marketing</a:t>
            </a:r>
          </a:p>
        </p:txBody>
      </p:sp>
      <p:sp>
        <p:nvSpPr>
          <p:cNvPr id="17" name="TextBox 16">
            <a:extLst>
              <a:ext uri="{FF2B5EF4-FFF2-40B4-BE49-F238E27FC236}">
                <a16:creationId xmlns:a16="http://schemas.microsoft.com/office/drawing/2014/main" id="{8847B8AB-5975-437F-89C1-1B4C697F68A0}"/>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Launch</a:t>
            </a:r>
          </a:p>
        </p:txBody>
      </p:sp>
      <p:sp>
        <p:nvSpPr>
          <p:cNvPr id="18" name="TextBox 17">
            <a:extLst>
              <a:ext uri="{FF2B5EF4-FFF2-40B4-BE49-F238E27FC236}">
                <a16:creationId xmlns:a16="http://schemas.microsoft.com/office/drawing/2014/main" id="{68DE316F-2E62-41C7-8A51-06635D94ACAB}"/>
              </a:ext>
            </a:extLst>
          </p:cNvPr>
          <p:cNvSpPr txBox="1"/>
          <p:nvPr/>
        </p:nvSpPr>
        <p:spPr>
          <a:xfrm>
            <a:off x="2460217" y="4547732"/>
            <a:ext cx="849404" cy="215444"/>
          </a:xfrm>
          <a:prstGeom prst="rect">
            <a:avLst/>
          </a:prstGeom>
          <a:noFill/>
          <a:effectLst/>
        </p:spPr>
        <p:txBody>
          <a:bodyPr wrap="square" lIns="0" tIns="0" rIns="0" bIns="0" rtlCol="0" anchor="t">
            <a:spAutoFit/>
          </a:bodyPr>
          <a:lstStyle/>
          <a:p>
            <a:pPr algn="ctr"/>
            <a:r>
              <a:rPr lang="en-GB" sz="700" dirty="0">
                <a:solidFill>
                  <a:schemeClr val="tx2"/>
                </a:solidFill>
              </a:rPr>
              <a:t>Marketing</a:t>
            </a:r>
            <a:br>
              <a:rPr lang="en-GB" sz="700" dirty="0">
                <a:solidFill>
                  <a:schemeClr val="tx2"/>
                </a:solidFill>
              </a:rPr>
            </a:br>
            <a:r>
              <a:rPr lang="en-GB" sz="700" dirty="0">
                <a:solidFill>
                  <a:schemeClr val="tx2"/>
                </a:solidFill>
              </a:rPr>
              <a:t>research strategy</a:t>
            </a:r>
          </a:p>
        </p:txBody>
      </p:sp>
      <p:sp>
        <p:nvSpPr>
          <p:cNvPr id="19" name="TextBox 18">
            <a:extLst>
              <a:ext uri="{FF2B5EF4-FFF2-40B4-BE49-F238E27FC236}">
                <a16:creationId xmlns:a16="http://schemas.microsoft.com/office/drawing/2014/main" id="{A0C13858-2AB4-43B0-B263-AD53062C886C}"/>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arket</a:t>
            </a:r>
          </a:p>
        </p:txBody>
      </p:sp>
      <p:sp>
        <p:nvSpPr>
          <p:cNvPr id="36" name="TextBox 35">
            <a:extLst>
              <a:ext uri="{FF2B5EF4-FFF2-40B4-BE49-F238E27FC236}">
                <a16:creationId xmlns:a16="http://schemas.microsoft.com/office/drawing/2014/main" id="{16466171-2DD8-4E47-9F88-1DF50B90EB09}"/>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ost-campaign</a:t>
            </a:r>
          </a:p>
        </p:txBody>
      </p:sp>
      <p:grpSp>
        <p:nvGrpSpPr>
          <p:cNvPr id="29" name="Group 28">
            <a:extLst>
              <a:ext uri="{FF2B5EF4-FFF2-40B4-BE49-F238E27FC236}">
                <a16:creationId xmlns:a16="http://schemas.microsoft.com/office/drawing/2014/main" id="{56A8DAA6-E935-8056-FC0C-01C08B9ADF0F}"/>
              </a:ext>
            </a:extLst>
          </p:cNvPr>
          <p:cNvGrpSpPr/>
          <p:nvPr/>
        </p:nvGrpSpPr>
        <p:grpSpPr>
          <a:xfrm>
            <a:off x="476413" y="3197068"/>
            <a:ext cx="635284" cy="432000"/>
            <a:chOff x="476413" y="3197068"/>
            <a:chExt cx="635284" cy="432000"/>
          </a:xfrm>
        </p:grpSpPr>
        <p:grpSp>
          <p:nvGrpSpPr>
            <p:cNvPr id="210" name="Grafik 313">
              <a:extLst>
                <a:ext uri="{FF2B5EF4-FFF2-40B4-BE49-F238E27FC236}">
                  <a16:creationId xmlns:a16="http://schemas.microsoft.com/office/drawing/2014/main" id="{75819729-CE9F-47C5-BB26-3A33DAB716ED}"/>
                </a:ext>
              </a:extLst>
            </p:cNvPr>
            <p:cNvGrpSpPr/>
            <p:nvPr/>
          </p:nvGrpSpPr>
          <p:grpSpPr>
            <a:xfrm>
              <a:off x="700182" y="3197068"/>
              <a:ext cx="411515" cy="346453"/>
              <a:chOff x="6298663" y="1631024"/>
              <a:chExt cx="414790" cy="349210"/>
            </a:xfrm>
            <a:solidFill>
              <a:schemeClr val="tx2"/>
            </a:solidFill>
          </p:grpSpPr>
          <p:grpSp>
            <p:nvGrpSpPr>
              <p:cNvPr id="224" name="Grafik 313">
                <a:extLst>
                  <a:ext uri="{FF2B5EF4-FFF2-40B4-BE49-F238E27FC236}">
                    <a16:creationId xmlns:a16="http://schemas.microsoft.com/office/drawing/2014/main" id="{D82EDE6E-1E93-48FF-A975-C25D6AF3C634}"/>
                  </a:ext>
                </a:extLst>
              </p:cNvPr>
              <p:cNvGrpSpPr/>
              <p:nvPr/>
            </p:nvGrpSpPr>
            <p:grpSpPr>
              <a:xfrm>
                <a:off x="6298663" y="1662816"/>
                <a:ext cx="312058" cy="317418"/>
                <a:chOff x="6298663" y="1662816"/>
                <a:chExt cx="312058" cy="317418"/>
              </a:xfrm>
              <a:grpFill/>
            </p:grpSpPr>
            <p:sp>
              <p:nvSpPr>
                <p:cNvPr id="228" name="Freihandform: Form 826">
                  <a:extLst>
                    <a:ext uri="{FF2B5EF4-FFF2-40B4-BE49-F238E27FC236}">
                      <a16:creationId xmlns:a16="http://schemas.microsoft.com/office/drawing/2014/main" id="{25CFE5FC-6F9C-4BF9-B419-1758D00D6E18}"/>
                    </a:ext>
                  </a:extLst>
                </p:cNvPr>
                <p:cNvSpPr/>
                <p:nvPr/>
              </p:nvSpPr>
              <p:spPr>
                <a:xfrm>
                  <a:off x="6298663" y="1817217"/>
                  <a:ext cx="34873" cy="84691"/>
                </a:xfrm>
                <a:custGeom>
                  <a:avLst/>
                  <a:gdLst>
                    <a:gd name="connsiteX0" fmla="*/ 28215 w 34873"/>
                    <a:gd name="connsiteY0" fmla="*/ 84691 h 84691"/>
                    <a:gd name="connsiteX1" fmla="*/ 21822 w 34873"/>
                    <a:gd name="connsiteY1" fmla="*/ 79935 h 84691"/>
                    <a:gd name="connsiteX2" fmla="*/ 291 w 34873"/>
                    <a:gd name="connsiteY2" fmla="*/ 8590 h 84691"/>
                    <a:gd name="connsiteX3" fmla="*/ 4740 w 34873"/>
                    <a:gd name="connsiteY3" fmla="*/ 279 h 84691"/>
                    <a:gd name="connsiteX4" fmla="*/ 13051 w 34873"/>
                    <a:gd name="connsiteY4" fmla="*/ 4729 h 84691"/>
                    <a:gd name="connsiteX5" fmla="*/ 34582 w 34873"/>
                    <a:gd name="connsiteY5" fmla="*/ 76074 h 84691"/>
                    <a:gd name="connsiteX6" fmla="*/ 30133 w 34873"/>
                    <a:gd name="connsiteY6" fmla="*/ 84385 h 84691"/>
                    <a:gd name="connsiteX7" fmla="*/ 28215 w 34873"/>
                    <a:gd name="connsiteY7" fmla="*/ 84691 h 84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3" h="84691">
                      <a:moveTo>
                        <a:pt x="28215" y="84691"/>
                      </a:moveTo>
                      <a:cubicBezTo>
                        <a:pt x="25351" y="84691"/>
                        <a:pt x="22692" y="82825"/>
                        <a:pt x="21822" y="79935"/>
                      </a:cubicBezTo>
                      <a:lnTo>
                        <a:pt x="291" y="8590"/>
                      </a:lnTo>
                      <a:cubicBezTo>
                        <a:pt x="-783" y="5061"/>
                        <a:pt x="1211" y="1328"/>
                        <a:pt x="4740" y="279"/>
                      </a:cubicBezTo>
                      <a:cubicBezTo>
                        <a:pt x="8295" y="-769"/>
                        <a:pt x="12003" y="1225"/>
                        <a:pt x="13051" y="4729"/>
                      </a:cubicBezTo>
                      <a:lnTo>
                        <a:pt x="34582" y="76074"/>
                      </a:lnTo>
                      <a:cubicBezTo>
                        <a:pt x="35656" y="79603"/>
                        <a:pt x="33662" y="83336"/>
                        <a:pt x="30133" y="84385"/>
                      </a:cubicBezTo>
                      <a:cubicBezTo>
                        <a:pt x="29519" y="84615"/>
                        <a:pt x="28854" y="84691"/>
                        <a:pt x="28215" y="84691"/>
                      </a:cubicBezTo>
                      <a:close/>
                    </a:path>
                  </a:pathLst>
                </a:custGeom>
                <a:grpFill/>
                <a:ln w="2553" cap="flat">
                  <a:noFill/>
                  <a:prstDash val="solid"/>
                  <a:miter/>
                </a:ln>
              </p:spPr>
              <p:txBody>
                <a:bodyPr rtlCol="0" anchor="ctr"/>
                <a:lstStyle/>
                <a:p>
                  <a:endParaRPr lang="en-GB" dirty="0"/>
                </a:p>
              </p:txBody>
            </p:sp>
            <p:sp>
              <p:nvSpPr>
                <p:cNvPr id="229" name="Freihandform: Form 827">
                  <a:extLst>
                    <a:ext uri="{FF2B5EF4-FFF2-40B4-BE49-F238E27FC236}">
                      <a16:creationId xmlns:a16="http://schemas.microsoft.com/office/drawing/2014/main" id="{C0B19A05-DB5A-42DE-8ECE-9E92A9B57DAE}"/>
                    </a:ext>
                  </a:extLst>
                </p:cNvPr>
                <p:cNvSpPr/>
                <p:nvPr/>
              </p:nvSpPr>
              <p:spPr>
                <a:xfrm>
                  <a:off x="6317055" y="1768881"/>
                  <a:ext cx="122956" cy="143691"/>
                </a:xfrm>
                <a:custGeom>
                  <a:avLst/>
                  <a:gdLst>
                    <a:gd name="connsiteX0" fmla="*/ 38975 w 122956"/>
                    <a:gd name="connsiteY0" fmla="*/ 143691 h 143691"/>
                    <a:gd name="connsiteX1" fmla="*/ 32582 w 122956"/>
                    <a:gd name="connsiteY1" fmla="*/ 138935 h 143691"/>
                    <a:gd name="connsiteX2" fmla="*/ 285 w 122956"/>
                    <a:gd name="connsiteY2" fmla="*/ 31943 h 143691"/>
                    <a:gd name="connsiteX3" fmla="*/ 797 w 122956"/>
                    <a:gd name="connsiteY3" fmla="*/ 26854 h 143691"/>
                    <a:gd name="connsiteX4" fmla="*/ 4760 w 122956"/>
                    <a:gd name="connsiteY4" fmla="*/ 23607 h 143691"/>
                    <a:gd name="connsiteX5" fmla="*/ 82038 w 122956"/>
                    <a:gd name="connsiteY5" fmla="*/ 285 h 143691"/>
                    <a:gd name="connsiteX6" fmla="*/ 87127 w 122956"/>
                    <a:gd name="connsiteY6" fmla="*/ 797 h 143691"/>
                    <a:gd name="connsiteX7" fmla="*/ 90374 w 122956"/>
                    <a:gd name="connsiteY7" fmla="*/ 4760 h 143691"/>
                    <a:gd name="connsiteX8" fmla="*/ 122671 w 122956"/>
                    <a:gd name="connsiteY8" fmla="*/ 111752 h 143691"/>
                    <a:gd name="connsiteX9" fmla="*/ 122160 w 122956"/>
                    <a:gd name="connsiteY9" fmla="*/ 116841 h 143691"/>
                    <a:gd name="connsiteX10" fmla="*/ 118196 w 122956"/>
                    <a:gd name="connsiteY10" fmla="*/ 120089 h 143691"/>
                    <a:gd name="connsiteX11" fmla="*/ 40919 w 122956"/>
                    <a:gd name="connsiteY11" fmla="*/ 143410 h 143691"/>
                    <a:gd name="connsiteX12" fmla="*/ 38975 w 122956"/>
                    <a:gd name="connsiteY12" fmla="*/ 143691 h 143691"/>
                    <a:gd name="connsiteX13" fmla="*/ 15015 w 122956"/>
                    <a:gd name="connsiteY13" fmla="*/ 34475 h 143691"/>
                    <a:gd name="connsiteX14" fmla="*/ 43450 w 122956"/>
                    <a:gd name="connsiteY14" fmla="*/ 128681 h 143691"/>
                    <a:gd name="connsiteX15" fmla="*/ 107942 w 122956"/>
                    <a:gd name="connsiteY15" fmla="*/ 109221 h 143691"/>
                    <a:gd name="connsiteX16" fmla="*/ 79506 w 122956"/>
                    <a:gd name="connsiteY16" fmla="*/ 14989 h 143691"/>
                    <a:gd name="connsiteX17" fmla="*/ 15015 w 122956"/>
                    <a:gd name="connsiteY17" fmla="*/ 34475 h 143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956" h="143691">
                      <a:moveTo>
                        <a:pt x="38975" y="143691"/>
                      </a:moveTo>
                      <a:cubicBezTo>
                        <a:pt x="36111" y="143691"/>
                        <a:pt x="33452" y="141825"/>
                        <a:pt x="32582" y="138935"/>
                      </a:cubicBezTo>
                      <a:lnTo>
                        <a:pt x="285" y="31943"/>
                      </a:lnTo>
                      <a:cubicBezTo>
                        <a:pt x="-226" y="30255"/>
                        <a:pt x="-47" y="28414"/>
                        <a:pt x="797" y="26854"/>
                      </a:cubicBezTo>
                      <a:cubicBezTo>
                        <a:pt x="1641" y="25295"/>
                        <a:pt x="3047" y="24118"/>
                        <a:pt x="4760" y="23607"/>
                      </a:cubicBezTo>
                      <a:lnTo>
                        <a:pt x="82038" y="285"/>
                      </a:lnTo>
                      <a:cubicBezTo>
                        <a:pt x="83726" y="-226"/>
                        <a:pt x="85567" y="-47"/>
                        <a:pt x="87127" y="797"/>
                      </a:cubicBezTo>
                      <a:cubicBezTo>
                        <a:pt x="88687" y="1641"/>
                        <a:pt x="89863" y="3047"/>
                        <a:pt x="90374" y="4760"/>
                      </a:cubicBezTo>
                      <a:lnTo>
                        <a:pt x="122671" y="111752"/>
                      </a:lnTo>
                      <a:cubicBezTo>
                        <a:pt x="123183" y="113440"/>
                        <a:pt x="123004" y="115281"/>
                        <a:pt x="122160" y="116841"/>
                      </a:cubicBezTo>
                      <a:cubicBezTo>
                        <a:pt x="121316" y="118401"/>
                        <a:pt x="119910" y="119577"/>
                        <a:pt x="118196" y="120089"/>
                      </a:cubicBezTo>
                      <a:lnTo>
                        <a:pt x="40919" y="143410"/>
                      </a:lnTo>
                      <a:cubicBezTo>
                        <a:pt x="40280" y="143589"/>
                        <a:pt x="39615" y="143691"/>
                        <a:pt x="38975" y="143691"/>
                      </a:cubicBezTo>
                      <a:close/>
                      <a:moveTo>
                        <a:pt x="15015" y="34475"/>
                      </a:moveTo>
                      <a:lnTo>
                        <a:pt x="43450" y="128681"/>
                      </a:lnTo>
                      <a:lnTo>
                        <a:pt x="107942" y="109221"/>
                      </a:lnTo>
                      <a:lnTo>
                        <a:pt x="79506" y="14989"/>
                      </a:lnTo>
                      <a:lnTo>
                        <a:pt x="15015" y="34475"/>
                      </a:lnTo>
                      <a:close/>
                    </a:path>
                  </a:pathLst>
                </a:custGeom>
                <a:grpFill/>
                <a:ln w="2553" cap="flat">
                  <a:noFill/>
                  <a:prstDash val="solid"/>
                  <a:miter/>
                </a:ln>
              </p:spPr>
              <p:txBody>
                <a:bodyPr rtlCol="0" anchor="ctr"/>
                <a:lstStyle/>
                <a:p>
                  <a:endParaRPr lang="en-GB" dirty="0"/>
                </a:p>
              </p:txBody>
            </p:sp>
            <p:sp>
              <p:nvSpPr>
                <p:cNvPr id="230" name="Freihandform: Form 828">
                  <a:extLst>
                    <a:ext uri="{FF2B5EF4-FFF2-40B4-BE49-F238E27FC236}">
                      <a16:creationId xmlns:a16="http://schemas.microsoft.com/office/drawing/2014/main" id="{7408A8DE-7070-4049-AE4F-5475CBF56976}"/>
                    </a:ext>
                  </a:extLst>
                </p:cNvPr>
                <p:cNvSpPr/>
                <p:nvPr/>
              </p:nvSpPr>
              <p:spPr>
                <a:xfrm>
                  <a:off x="6394388" y="1662816"/>
                  <a:ext cx="216333" cy="233287"/>
                </a:xfrm>
                <a:custGeom>
                  <a:avLst/>
                  <a:gdLst>
                    <a:gd name="connsiteX0" fmla="*/ 209636 w 216333"/>
                    <a:gd name="connsiteY0" fmla="*/ 233288 h 233287"/>
                    <a:gd name="connsiteX1" fmla="*/ 209381 w 216333"/>
                    <a:gd name="connsiteY1" fmla="*/ 233288 h 233287"/>
                    <a:gd name="connsiteX2" fmla="*/ 38690 w 216333"/>
                    <a:gd name="connsiteY2" fmla="*/ 226435 h 233287"/>
                    <a:gd name="connsiteX3" fmla="*/ 32578 w 216333"/>
                    <a:gd name="connsiteY3" fmla="*/ 221704 h 233287"/>
                    <a:gd name="connsiteX4" fmla="*/ 281 w 216333"/>
                    <a:gd name="connsiteY4" fmla="*/ 114712 h 233287"/>
                    <a:gd name="connsiteX5" fmla="*/ 2583 w 216333"/>
                    <a:gd name="connsiteY5" fmla="*/ 107501 h 233287"/>
                    <a:gd name="connsiteX6" fmla="*/ 139186 w 216333"/>
                    <a:gd name="connsiteY6" fmla="*/ 1404 h 233287"/>
                    <a:gd name="connsiteX7" fmla="*/ 145298 w 216333"/>
                    <a:gd name="connsiteY7" fmla="*/ 330 h 233287"/>
                    <a:gd name="connsiteX8" fmla="*/ 149671 w 216333"/>
                    <a:gd name="connsiteY8" fmla="*/ 4754 h 233287"/>
                    <a:gd name="connsiteX9" fmla="*/ 216055 w 216333"/>
                    <a:gd name="connsiteY9" fmla="*/ 224696 h 233287"/>
                    <a:gd name="connsiteX10" fmla="*/ 214930 w 216333"/>
                    <a:gd name="connsiteY10" fmla="*/ 230705 h 233287"/>
                    <a:gd name="connsiteX11" fmla="*/ 209636 w 216333"/>
                    <a:gd name="connsiteY11" fmla="*/ 233288 h 233287"/>
                    <a:gd name="connsiteX12" fmla="*/ 43957 w 216333"/>
                    <a:gd name="connsiteY12" fmla="*/ 213291 h 233287"/>
                    <a:gd name="connsiteX13" fmla="*/ 200533 w 216333"/>
                    <a:gd name="connsiteY13" fmla="*/ 219582 h 233287"/>
                    <a:gd name="connsiteX14" fmla="*/ 139672 w 216333"/>
                    <a:gd name="connsiteY14" fmla="*/ 17923 h 233287"/>
                    <a:gd name="connsiteX15" fmla="*/ 14346 w 216333"/>
                    <a:gd name="connsiteY15" fmla="*/ 115249 h 233287"/>
                    <a:gd name="connsiteX16" fmla="*/ 43957 w 216333"/>
                    <a:gd name="connsiteY16" fmla="*/ 213291 h 23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6333" h="233287">
                      <a:moveTo>
                        <a:pt x="209636" y="233288"/>
                      </a:moveTo>
                      <a:cubicBezTo>
                        <a:pt x="209560" y="233288"/>
                        <a:pt x="209457" y="233288"/>
                        <a:pt x="209381" y="233288"/>
                      </a:cubicBezTo>
                      <a:lnTo>
                        <a:pt x="38690" y="226435"/>
                      </a:lnTo>
                      <a:cubicBezTo>
                        <a:pt x="35851" y="226333"/>
                        <a:pt x="33396" y="224415"/>
                        <a:pt x="32578" y="221704"/>
                      </a:cubicBezTo>
                      <a:lnTo>
                        <a:pt x="281" y="114712"/>
                      </a:lnTo>
                      <a:cubicBezTo>
                        <a:pt x="-512" y="112078"/>
                        <a:pt x="409" y="109214"/>
                        <a:pt x="2583" y="107501"/>
                      </a:cubicBezTo>
                      <a:lnTo>
                        <a:pt x="139186" y="1404"/>
                      </a:lnTo>
                      <a:cubicBezTo>
                        <a:pt x="140925" y="49"/>
                        <a:pt x="143201" y="-360"/>
                        <a:pt x="145298" y="330"/>
                      </a:cubicBezTo>
                      <a:cubicBezTo>
                        <a:pt x="147395" y="995"/>
                        <a:pt x="149032" y="2657"/>
                        <a:pt x="149671" y="4754"/>
                      </a:cubicBezTo>
                      <a:lnTo>
                        <a:pt x="216055" y="224696"/>
                      </a:lnTo>
                      <a:cubicBezTo>
                        <a:pt x="216668" y="226767"/>
                        <a:pt x="216259" y="228992"/>
                        <a:pt x="214930" y="230705"/>
                      </a:cubicBezTo>
                      <a:cubicBezTo>
                        <a:pt x="213651" y="232342"/>
                        <a:pt x="211682" y="233288"/>
                        <a:pt x="209636" y="233288"/>
                      </a:cubicBezTo>
                      <a:close/>
                      <a:moveTo>
                        <a:pt x="43957" y="213291"/>
                      </a:moveTo>
                      <a:lnTo>
                        <a:pt x="200533" y="219582"/>
                      </a:lnTo>
                      <a:lnTo>
                        <a:pt x="139672" y="17923"/>
                      </a:lnTo>
                      <a:lnTo>
                        <a:pt x="14346" y="115249"/>
                      </a:lnTo>
                      <a:lnTo>
                        <a:pt x="43957" y="213291"/>
                      </a:lnTo>
                      <a:close/>
                    </a:path>
                  </a:pathLst>
                </a:custGeom>
                <a:grpFill/>
                <a:ln w="2553" cap="flat">
                  <a:noFill/>
                  <a:prstDash val="solid"/>
                  <a:miter/>
                </a:ln>
              </p:spPr>
              <p:txBody>
                <a:bodyPr rtlCol="0" anchor="ctr"/>
                <a:lstStyle/>
                <a:p>
                  <a:endParaRPr lang="en-GB" dirty="0"/>
                </a:p>
              </p:txBody>
            </p:sp>
            <p:sp>
              <p:nvSpPr>
                <p:cNvPr id="231" name="Freihandform: Form 829">
                  <a:extLst>
                    <a:ext uri="{FF2B5EF4-FFF2-40B4-BE49-F238E27FC236}">
                      <a16:creationId xmlns:a16="http://schemas.microsoft.com/office/drawing/2014/main" id="{9192947B-2F37-403F-8EBA-778F70DD5F64}"/>
                    </a:ext>
                  </a:extLst>
                </p:cNvPr>
                <p:cNvSpPr/>
                <p:nvPr/>
              </p:nvSpPr>
              <p:spPr>
                <a:xfrm>
                  <a:off x="6363043" y="1896647"/>
                  <a:ext cx="83146" cy="83587"/>
                </a:xfrm>
                <a:custGeom>
                  <a:avLst/>
                  <a:gdLst>
                    <a:gd name="connsiteX0" fmla="*/ 43210 w 83146"/>
                    <a:gd name="connsiteY0" fmla="*/ 83588 h 83587"/>
                    <a:gd name="connsiteX1" fmla="*/ 37277 w 83146"/>
                    <a:gd name="connsiteY1" fmla="*/ 79982 h 83587"/>
                    <a:gd name="connsiteX2" fmla="*/ 761 w 83146"/>
                    <a:gd name="connsiteY2" fmla="*/ 9762 h 83587"/>
                    <a:gd name="connsiteX3" fmla="*/ 3600 w 83146"/>
                    <a:gd name="connsiteY3" fmla="*/ 761 h 83587"/>
                    <a:gd name="connsiteX4" fmla="*/ 12601 w 83146"/>
                    <a:gd name="connsiteY4" fmla="*/ 3600 h 83587"/>
                    <a:gd name="connsiteX5" fmla="*/ 46074 w 83146"/>
                    <a:gd name="connsiteY5" fmla="*/ 67963 h 83587"/>
                    <a:gd name="connsiteX6" fmla="*/ 67554 w 83146"/>
                    <a:gd name="connsiteY6" fmla="*/ 57121 h 83587"/>
                    <a:gd name="connsiteX7" fmla="*/ 47839 w 83146"/>
                    <a:gd name="connsiteY7" fmla="*/ 16692 h 83587"/>
                    <a:gd name="connsiteX8" fmla="*/ 50907 w 83146"/>
                    <a:gd name="connsiteY8" fmla="*/ 7768 h 83587"/>
                    <a:gd name="connsiteX9" fmla="*/ 59832 w 83146"/>
                    <a:gd name="connsiteY9" fmla="*/ 10836 h 83587"/>
                    <a:gd name="connsiteX10" fmla="*/ 82463 w 83146"/>
                    <a:gd name="connsiteY10" fmla="*/ 57172 h 83587"/>
                    <a:gd name="connsiteX11" fmla="*/ 79471 w 83146"/>
                    <a:gd name="connsiteY11" fmla="*/ 66046 h 83587"/>
                    <a:gd name="connsiteX12" fmla="*/ 46228 w 83146"/>
                    <a:gd name="connsiteY12" fmla="*/ 82846 h 83587"/>
                    <a:gd name="connsiteX13" fmla="*/ 43210 w 83146"/>
                    <a:gd name="connsiteY13" fmla="*/ 83588 h 83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146" h="83587">
                      <a:moveTo>
                        <a:pt x="43210" y="83588"/>
                      </a:moveTo>
                      <a:cubicBezTo>
                        <a:pt x="40806" y="83588"/>
                        <a:pt x="38479" y="82284"/>
                        <a:pt x="37277" y="79982"/>
                      </a:cubicBezTo>
                      <a:lnTo>
                        <a:pt x="761" y="9762"/>
                      </a:lnTo>
                      <a:cubicBezTo>
                        <a:pt x="-952" y="6489"/>
                        <a:pt x="326" y="2474"/>
                        <a:pt x="3600" y="761"/>
                      </a:cubicBezTo>
                      <a:cubicBezTo>
                        <a:pt x="6873" y="-952"/>
                        <a:pt x="10887" y="326"/>
                        <a:pt x="12601" y="3600"/>
                      </a:cubicBezTo>
                      <a:lnTo>
                        <a:pt x="46074" y="67963"/>
                      </a:lnTo>
                      <a:lnTo>
                        <a:pt x="67554" y="57121"/>
                      </a:lnTo>
                      <a:lnTo>
                        <a:pt x="47839" y="16692"/>
                      </a:lnTo>
                      <a:cubicBezTo>
                        <a:pt x="46228" y="13394"/>
                        <a:pt x="47583" y="9379"/>
                        <a:pt x="50907" y="7768"/>
                      </a:cubicBezTo>
                      <a:cubicBezTo>
                        <a:pt x="54232" y="6131"/>
                        <a:pt x="58221" y="7512"/>
                        <a:pt x="59832" y="10836"/>
                      </a:cubicBezTo>
                      <a:lnTo>
                        <a:pt x="82463" y="57172"/>
                      </a:lnTo>
                      <a:cubicBezTo>
                        <a:pt x="84074" y="60445"/>
                        <a:pt x="82744" y="64409"/>
                        <a:pt x="79471" y="66046"/>
                      </a:cubicBezTo>
                      <a:lnTo>
                        <a:pt x="46228" y="82846"/>
                      </a:lnTo>
                      <a:cubicBezTo>
                        <a:pt x="45256" y="83358"/>
                        <a:pt x="44233" y="83588"/>
                        <a:pt x="43210" y="83588"/>
                      </a:cubicBezTo>
                      <a:close/>
                    </a:path>
                  </a:pathLst>
                </a:custGeom>
                <a:grpFill/>
                <a:ln w="2553" cap="flat">
                  <a:noFill/>
                  <a:prstDash val="solid"/>
                  <a:miter/>
                </a:ln>
              </p:spPr>
              <p:txBody>
                <a:bodyPr rtlCol="0" anchor="ctr"/>
                <a:lstStyle/>
                <a:p>
                  <a:endParaRPr lang="en-GB" dirty="0"/>
                </a:p>
              </p:txBody>
            </p:sp>
          </p:grpSp>
          <p:sp>
            <p:nvSpPr>
              <p:cNvPr id="225" name="Freihandform: Form 830">
                <a:extLst>
                  <a:ext uri="{FF2B5EF4-FFF2-40B4-BE49-F238E27FC236}">
                    <a16:creationId xmlns:a16="http://schemas.microsoft.com/office/drawing/2014/main" id="{D629B840-C2AE-4BA5-BA90-669AE7059B35}"/>
                  </a:ext>
                </a:extLst>
              </p:cNvPr>
              <p:cNvSpPr/>
              <p:nvPr/>
            </p:nvSpPr>
            <p:spPr>
              <a:xfrm>
                <a:off x="6590109" y="1631024"/>
                <a:ext cx="56572" cy="79429"/>
              </a:xfrm>
              <a:custGeom>
                <a:avLst/>
                <a:gdLst>
                  <a:gd name="connsiteX0" fmla="*/ 6678 w 56572"/>
                  <a:gd name="connsiteY0" fmla="*/ 79430 h 79429"/>
                  <a:gd name="connsiteX1" fmla="*/ 3022 w 56572"/>
                  <a:gd name="connsiteY1" fmla="*/ 78330 h 79429"/>
                  <a:gd name="connsiteX2" fmla="*/ 1078 w 56572"/>
                  <a:gd name="connsiteY2" fmla="*/ 69099 h 79429"/>
                  <a:gd name="connsiteX3" fmla="*/ 44320 w 56572"/>
                  <a:gd name="connsiteY3" fmla="*/ 3022 h 79429"/>
                  <a:gd name="connsiteX4" fmla="*/ 53551 w 56572"/>
                  <a:gd name="connsiteY4" fmla="*/ 1078 h 79429"/>
                  <a:gd name="connsiteX5" fmla="*/ 55495 w 56572"/>
                  <a:gd name="connsiteY5" fmla="*/ 10310 h 79429"/>
                  <a:gd name="connsiteX6" fmla="*/ 12253 w 56572"/>
                  <a:gd name="connsiteY6" fmla="*/ 76387 h 79429"/>
                  <a:gd name="connsiteX7" fmla="*/ 6678 w 56572"/>
                  <a:gd name="connsiteY7" fmla="*/ 79430 h 79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572" h="79429">
                    <a:moveTo>
                      <a:pt x="6678" y="79430"/>
                    </a:moveTo>
                    <a:cubicBezTo>
                      <a:pt x="5425" y="79430"/>
                      <a:pt x="4147" y="79072"/>
                      <a:pt x="3022" y="78330"/>
                    </a:cubicBezTo>
                    <a:cubicBezTo>
                      <a:pt x="-72" y="76310"/>
                      <a:pt x="-916" y="72167"/>
                      <a:pt x="1078" y="69099"/>
                    </a:cubicBezTo>
                    <a:lnTo>
                      <a:pt x="44320" y="3022"/>
                    </a:lnTo>
                    <a:cubicBezTo>
                      <a:pt x="46340" y="-73"/>
                      <a:pt x="50483" y="-916"/>
                      <a:pt x="53551" y="1078"/>
                    </a:cubicBezTo>
                    <a:cubicBezTo>
                      <a:pt x="56645" y="3098"/>
                      <a:pt x="57489" y="7241"/>
                      <a:pt x="55495" y="10310"/>
                    </a:cubicBezTo>
                    <a:lnTo>
                      <a:pt x="12253" y="76387"/>
                    </a:lnTo>
                    <a:cubicBezTo>
                      <a:pt x="10974" y="78356"/>
                      <a:pt x="8852" y="79430"/>
                      <a:pt x="6678" y="79430"/>
                    </a:cubicBezTo>
                    <a:close/>
                  </a:path>
                </a:pathLst>
              </a:custGeom>
              <a:grpFill/>
              <a:ln w="2553" cap="flat">
                <a:noFill/>
                <a:prstDash val="solid"/>
                <a:miter/>
              </a:ln>
            </p:spPr>
            <p:txBody>
              <a:bodyPr rtlCol="0" anchor="ctr"/>
              <a:lstStyle/>
              <a:p>
                <a:endParaRPr lang="en-GB" dirty="0"/>
              </a:p>
            </p:txBody>
          </p:sp>
          <p:sp>
            <p:nvSpPr>
              <p:cNvPr id="226" name="Freihandform: Form 831">
                <a:extLst>
                  <a:ext uri="{FF2B5EF4-FFF2-40B4-BE49-F238E27FC236}">
                    <a16:creationId xmlns:a16="http://schemas.microsoft.com/office/drawing/2014/main" id="{E94E4524-7998-4D47-8CB5-A092F4C75B7D}"/>
                  </a:ext>
                </a:extLst>
              </p:cNvPr>
              <p:cNvSpPr/>
              <p:nvPr/>
            </p:nvSpPr>
            <p:spPr>
              <a:xfrm>
                <a:off x="6608208" y="1737843"/>
                <a:ext cx="77245" cy="32627"/>
              </a:xfrm>
              <a:custGeom>
                <a:avLst/>
                <a:gdLst>
                  <a:gd name="connsiteX0" fmla="*/ 6684 w 77245"/>
                  <a:gd name="connsiteY0" fmla="*/ 32627 h 32627"/>
                  <a:gd name="connsiteX1" fmla="*/ 291 w 77245"/>
                  <a:gd name="connsiteY1" fmla="*/ 27871 h 32627"/>
                  <a:gd name="connsiteX2" fmla="*/ 4740 w 77245"/>
                  <a:gd name="connsiteY2" fmla="*/ 19560 h 32627"/>
                  <a:gd name="connsiteX3" fmla="*/ 68644 w 77245"/>
                  <a:gd name="connsiteY3" fmla="*/ 279 h 32627"/>
                  <a:gd name="connsiteX4" fmla="*/ 76955 w 77245"/>
                  <a:gd name="connsiteY4" fmla="*/ 4729 h 32627"/>
                  <a:gd name="connsiteX5" fmla="*/ 72505 w 77245"/>
                  <a:gd name="connsiteY5" fmla="*/ 13040 h 32627"/>
                  <a:gd name="connsiteX6" fmla="*/ 8602 w 77245"/>
                  <a:gd name="connsiteY6" fmla="*/ 32321 h 32627"/>
                  <a:gd name="connsiteX7" fmla="*/ 6684 w 77245"/>
                  <a:gd name="connsiteY7" fmla="*/ 32627 h 32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245" h="32627">
                    <a:moveTo>
                      <a:pt x="6684" y="32627"/>
                    </a:moveTo>
                    <a:cubicBezTo>
                      <a:pt x="3820" y="32627"/>
                      <a:pt x="1160" y="30761"/>
                      <a:pt x="291" y="27871"/>
                    </a:cubicBezTo>
                    <a:cubicBezTo>
                      <a:pt x="-783" y="24342"/>
                      <a:pt x="1211" y="20609"/>
                      <a:pt x="4740" y="19560"/>
                    </a:cubicBezTo>
                    <a:lnTo>
                      <a:pt x="68644" y="279"/>
                    </a:lnTo>
                    <a:cubicBezTo>
                      <a:pt x="72198" y="-769"/>
                      <a:pt x="75906" y="1225"/>
                      <a:pt x="76955" y="4729"/>
                    </a:cubicBezTo>
                    <a:cubicBezTo>
                      <a:pt x="78029" y="8258"/>
                      <a:pt x="76034" y="11991"/>
                      <a:pt x="72505" y="13040"/>
                    </a:cubicBezTo>
                    <a:lnTo>
                      <a:pt x="8602" y="32321"/>
                    </a:lnTo>
                    <a:cubicBezTo>
                      <a:pt x="7988" y="32525"/>
                      <a:pt x="7323" y="32627"/>
                      <a:pt x="6684" y="32627"/>
                    </a:cubicBezTo>
                    <a:close/>
                  </a:path>
                </a:pathLst>
              </a:custGeom>
              <a:grpFill/>
              <a:ln w="2553" cap="flat">
                <a:noFill/>
                <a:prstDash val="solid"/>
                <a:miter/>
              </a:ln>
            </p:spPr>
            <p:txBody>
              <a:bodyPr rtlCol="0" anchor="ctr"/>
              <a:lstStyle/>
              <a:p>
                <a:endParaRPr lang="en-GB" dirty="0"/>
              </a:p>
            </p:txBody>
          </p:sp>
          <p:sp>
            <p:nvSpPr>
              <p:cNvPr id="227" name="Freihandform: Form 832">
                <a:extLst>
                  <a:ext uri="{FF2B5EF4-FFF2-40B4-BE49-F238E27FC236}">
                    <a16:creationId xmlns:a16="http://schemas.microsoft.com/office/drawing/2014/main" id="{E66DF4BD-33F7-4284-8F15-AFE230D742B5}"/>
                  </a:ext>
                </a:extLst>
              </p:cNvPr>
              <p:cNvSpPr/>
              <p:nvPr/>
            </p:nvSpPr>
            <p:spPr>
              <a:xfrm>
                <a:off x="6627490" y="1821020"/>
                <a:ext cx="85964" cy="44474"/>
              </a:xfrm>
              <a:custGeom>
                <a:avLst/>
                <a:gdLst>
                  <a:gd name="connsiteX0" fmla="*/ 79281 w 85964"/>
                  <a:gd name="connsiteY0" fmla="*/ 44474 h 44474"/>
                  <a:gd name="connsiteX1" fmla="*/ 76647 w 85964"/>
                  <a:gd name="connsiteY1" fmla="*/ 43937 h 44474"/>
                  <a:gd name="connsiteX2" fmla="*/ 4049 w 85964"/>
                  <a:gd name="connsiteY2" fmla="*/ 12817 h 44474"/>
                  <a:gd name="connsiteX3" fmla="*/ 546 w 85964"/>
                  <a:gd name="connsiteY3" fmla="*/ 4046 h 44474"/>
                  <a:gd name="connsiteX4" fmla="*/ 9317 w 85964"/>
                  <a:gd name="connsiteY4" fmla="*/ 542 h 44474"/>
                  <a:gd name="connsiteX5" fmla="*/ 81915 w 85964"/>
                  <a:gd name="connsiteY5" fmla="*/ 31663 h 44474"/>
                  <a:gd name="connsiteX6" fmla="*/ 85418 w 85964"/>
                  <a:gd name="connsiteY6" fmla="*/ 40434 h 44474"/>
                  <a:gd name="connsiteX7" fmla="*/ 79281 w 85964"/>
                  <a:gd name="connsiteY7" fmla="*/ 44474 h 4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964" h="44474">
                    <a:moveTo>
                      <a:pt x="79281" y="44474"/>
                    </a:moveTo>
                    <a:cubicBezTo>
                      <a:pt x="78412" y="44474"/>
                      <a:pt x="77517" y="44295"/>
                      <a:pt x="76647" y="43937"/>
                    </a:cubicBezTo>
                    <a:lnTo>
                      <a:pt x="4049" y="12817"/>
                    </a:lnTo>
                    <a:cubicBezTo>
                      <a:pt x="648" y="11359"/>
                      <a:pt x="-912" y="7447"/>
                      <a:pt x="546" y="4046"/>
                    </a:cubicBezTo>
                    <a:cubicBezTo>
                      <a:pt x="2004" y="670"/>
                      <a:pt x="5916" y="-915"/>
                      <a:pt x="9317" y="542"/>
                    </a:cubicBezTo>
                    <a:lnTo>
                      <a:pt x="81915" y="31663"/>
                    </a:lnTo>
                    <a:cubicBezTo>
                      <a:pt x="85316" y="33121"/>
                      <a:pt x="86876" y="37033"/>
                      <a:pt x="85418" y="40434"/>
                    </a:cubicBezTo>
                    <a:cubicBezTo>
                      <a:pt x="84344" y="42966"/>
                      <a:pt x="81864" y="44474"/>
                      <a:pt x="79281" y="44474"/>
                    </a:cubicBezTo>
                    <a:close/>
                  </a:path>
                </a:pathLst>
              </a:custGeom>
              <a:grpFill/>
              <a:ln w="2553" cap="flat">
                <a:noFill/>
                <a:prstDash val="solid"/>
                <a:miter/>
              </a:ln>
            </p:spPr>
            <p:txBody>
              <a:bodyPr rtlCol="0" anchor="ctr"/>
              <a:lstStyle/>
              <a:p>
                <a:endParaRPr lang="en-GB" dirty="0"/>
              </a:p>
            </p:txBody>
          </p:sp>
        </p:grpSp>
        <p:grpSp>
          <p:nvGrpSpPr>
            <p:cNvPr id="211" name="Grafik 313">
              <a:extLst>
                <a:ext uri="{FF2B5EF4-FFF2-40B4-BE49-F238E27FC236}">
                  <a16:creationId xmlns:a16="http://schemas.microsoft.com/office/drawing/2014/main" id="{F18E2D6D-2588-416D-8B20-9E3CDE9A20DE}"/>
                </a:ext>
              </a:extLst>
            </p:cNvPr>
            <p:cNvGrpSpPr/>
            <p:nvPr/>
          </p:nvGrpSpPr>
          <p:grpSpPr>
            <a:xfrm>
              <a:off x="476413" y="3284522"/>
              <a:ext cx="315942" cy="344546"/>
              <a:chOff x="6073105" y="1719174"/>
              <a:chExt cx="318456" cy="347288"/>
            </a:xfrm>
            <a:solidFill>
              <a:schemeClr val="accent1"/>
            </a:solidFill>
          </p:grpSpPr>
          <p:sp>
            <p:nvSpPr>
              <p:cNvPr id="212" name="Freihandform: Form 834">
                <a:extLst>
                  <a:ext uri="{FF2B5EF4-FFF2-40B4-BE49-F238E27FC236}">
                    <a16:creationId xmlns:a16="http://schemas.microsoft.com/office/drawing/2014/main" id="{DAA61EE3-38C3-4957-B1C3-FA7CD1207F6D}"/>
                  </a:ext>
                </a:extLst>
              </p:cNvPr>
              <p:cNvSpPr/>
              <p:nvPr/>
            </p:nvSpPr>
            <p:spPr>
              <a:xfrm>
                <a:off x="6134145" y="1719174"/>
                <a:ext cx="248863" cy="232625"/>
              </a:xfrm>
              <a:custGeom>
                <a:avLst/>
                <a:gdLst>
                  <a:gd name="connsiteX0" fmla="*/ 26058 w 248863"/>
                  <a:gd name="connsiteY0" fmla="*/ 232626 h 232625"/>
                  <a:gd name="connsiteX1" fmla="*/ 20278 w 248863"/>
                  <a:gd name="connsiteY1" fmla="*/ 229276 h 232625"/>
                  <a:gd name="connsiteX2" fmla="*/ 0 w 248863"/>
                  <a:gd name="connsiteY2" fmla="*/ 153072 h 232625"/>
                  <a:gd name="connsiteX3" fmla="*/ 153072 w 248863"/>
                  <a:gd name="connsiteY3" fmla="*/ 0 h 232625"/>
                  <a:gd name="connsiteX4" fmla="*/ 246255 w 248863"/>
                  <a:gd name="connsiteY4" fmla="*/ 31632 h 232625"/>
                  <a:gd name="connsiteX5" fmla="*/ 247483 w 248863"/>
                  <a:gd name="connsiteY5" fmla="*/ 40991 h 232625"/>
                  <a:gd name="connsiteX6" fmla="*/ 238123 w 248863"/>
                  <a:gd name="connsiteY6" fmla="*/ 42219 h 232625"/>
                  <a:gd name="connsiteX7" fmla="*/ 153072 w 248863"/>
                  <a:gd name="connsiteY7" fmla="*/ 13348 h 232625"/>
                  <a:gd name="connsiteX8" fmla="*/ 13348 w 248863"/>
                  <a:gd name="connsiteY8" fmla="*/ 153072 h 232625"/>
                  <a:gd name="connsiteX9" fmla="*/ 31862 w 248863"/>
                  <a:gd name="connsiteY9" fmla="*/ 222601 h 232625"/>
                  <a:gd name="connsiteX10" fmla="*/ 29407 w 248863"/>
                  <a:gd name="connsiteY10" fmla="*/ 231705 h 232625"/>
                  <a:gd name="connsiteX11" fmla="*/ 26058 w 248863"/>
                  <a:gd name="connsiteY11" fmla="*/ 232626 h 23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8863" h="232625">
                    <a:moveTo>
                      <a:pt x="26058" y="232626"/>
                    </a:moveTo>
                    <a:cubicBezTo>
                      <a:pt x="23756" y="232626"/>
                      <a:pt x="21506" y="231424"/>
                      <a:pt x="20278" y="229276"/>
                    </a:cubicBezTo>
                    <a:cubicBezTo>
                      <a:pt x="7007" y="206210"/>
                      <a:pt x="0" y="179846"/>
                      <a:pt x="0" y="153072"/>
                    </a:cubicBezTo>
                    <a:cubicBezTo>
                      <a:pt x="0" y="68686"/>
                      <a:pt x="68660" y="0"/>
                      <a:pt x="153072" y="0"/>
                    </a:cubicBezTo>
                    <a:cubicBezTo>
                      <a:pt x="187108" y="0"/>
                      <a:pt x="219354" y="10945"/>
                      <a:pt x="246255" y="31632"/>
                    </a:cubicBezTo>
                    <a:cubicBezTo>
                      <a:pt x="249170" y="33882"/>
                      <a:pt x="249733" y="38076"/>
                      <a:pt x="247483" y="40991"/>
                    </a:cubicBezTo>
                    <a:cubicBezTo>
                      <a:pt x="245232" y="43907"/>
                      <a:pt x="241039" y="44469"/>
                      <a:pt x="238123" y="42219"/>
                    </a:cubicBezTo>
                    <a:cubicBezTo>
                      <a:pt x="213549" y="23347"/>
                      <a:pt x="184142" y="13348"/>
                      <a:pt x="153072" y="13348"/>
                    </a:cubicBezTo>
                    <a:cubicBezTo>
                      <a:pt x="76025" y="13348"/>
                      <a:pt x="13348" y="76025"/>
                      <a:pt x="13348" y="153072"/>
                    </a:cubicBezTo>
                    <a:cubicBezTo>
                      <a:pt x="13348" y="177519"/>
                      <a:pt x="19741" y="201556"/>
                      <a:pt x="31862" y="222601"/>
                    </a:cubicBezTo>
                    <a:cubicBezTo>
                      <a:pt x="33703" y="225798"/>
                      <a:pt x="32604" y="229889"/>
                      <a:pt x="29407" y="231705"/>
                    </a:cubicBezTo>
                    <a:cubicBezTo>
                      <a:pt x="28333" y="232344"/>
                      <a:pt x="27183" y="232626"/>
                      <a:pt x="26058" y="232626"/>
                    </a:cubicBezTo>
                    <a:close/>
                  </a:path>
                </a:pathLst>
              </a:custGeom>
              <a:solidFill>
                <a:schemeClr val="accent1"/>
              </a:solidFill>
              <a:ln w="2553" cap="flat">
                <a:noFill/>
                <a:prstDash val="solid"/>
                <a:miter/>
              </a:ln>
            </p:spPr>
            <p:txBody>
              <a:bodyPr rtlCol="0" anchor="ctr"/>
              <a:lstStyle/>
              <a:p>
                <a:endParaRPr lang="en-GB" dirty="0"/>
              </a:p>
            </p:txBody>
          </p:sp>
          <p:sp>
            <p:nvSpPr>
              <p:cNvPr id="213" name="Freihandform: Form 835">
                <a:extLst>
                  <a:ext uri="{FF2B5EF4-FFF2-40B4-BE49-F238E27FC236}">
                    <a16:creationId xmlns:a16="http://schemas.microsoft.com/office/drawing/2014/main" id="{C560CF0B-89C0-4D2D-940E-F5C77E64B9CC}"/>
                  </a:ext>
                </a:extLst>
              </p:cNvPr>
              <p:cNvSpPr/>
              <p:nvPr/>
            </p:nvSpPr>
            <p:spPr>
              <a:xfrm>
                <a:off x="6166710" y="1957693"/>
                <a:ext cx="223183" cy="67624"/>
              </a:xfrm>
              <a:custGeom>
                <a:avLst/>
                <a:gdLst>
                  <a:gd name="connsiteX0" fmla="*/ 120481 w 223183"/>
                  <a:gd name="connsiteY0" fmla="*/ 67625 h 67624"/>
                  <a:gd name="connsiteX1" fmla="*/ 1496 w 223183"/>
                  <a:gd name="connsiteY1" fmla="*/ 10881 h 67624"/>
                  <a:gd name="connsiteX2" fmla="*/ 2468 w 223183"/>
                  <a:gd name="connsiteY2" fmla="*/ 1496 h 67624"/>
                  <a:gd name="connsiteX3" fmla="*/ 11853 w 223183"/>
                  <a:gd name="connsiteY3" fmla="*/ 2468 h 67624"/>
                  <a:gd name="connsiteX4" fmla="*/ 120456 w 223183"/>
                  <a:gd name="connsiteY4" fmla="*/ 54276 h 67624"/>
                  <a:gd name="connsiteX5" fmla="*/ 212130 w 223183"/>
                  <a:gd name="connsiteY5" fmla="*/ 19985 h 67624"/>
                  <a:gd name="connsiteX6" fmla="*/ 221541 w 223183"/>
                  <a:gd name="connsiteY6" fmla="*/ 20650 h 67624"/>
                  <a:gd name="connsiteX7" fmla="*/ 220901 w 223183"/>
                  <a:gd name="connsiteY7" fmla="*/ 30060 h 67624"/>
                  <a:gd name="connsiteX8" fmla="*/ 120481 w 223183"/>
                  <a:gd name="connsiteY8" fmla="*/ 67625 h 67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183" h="67624">
                    <a:moveTo>
                      <a:pt x="120481" y="67625"/>
                    </a:moveTo>
                    <a:cubicBezTo>
                      <a:pt x="74094" y="67625"/>
                      <a:pt x="30750" y="46937"/>
                      <a:pt x="1496" y="10881"/>
                    </a:cubicBezTo>
                    <a:cubicBezTo>
                      <a:pt x="-831" y="8017"/>
                      <a:pt x="-396" y="3823"/>
                      <a:pt x="2468" y="1496"/>
                    </a:cubicBezTo>
                    <a:cubicBezTo>
                      <a:pt x="5332" y="-831"/>
                      <a:pt x="9526" y="-396"/>
                      <a:pt x="11853" y="2468"/>
                    </a:cubicBezTo>
                    <a:cubicBezTo>
                      <a:pt x="38550" y="35404"/>
                      <a:pt x="78135" y="54276"/>
                      <a:pt x="120456" y="54276"/>
                    </a:cubicBezTo>
                    <a:cubicBezTo>
                      <a:pt x="154185" y="54276"/>
                      <a:pt x="186738" y="42104"/>
                      <a:pt x="212130" y="19985"/>
                    </a:cubicBezTo>
                    <a:cubicBezTo>
                      <a:pt x="214918" y="17581"/>
                      <a:pt x="219137" y="17862"/>
                      <a:pt x="221541" y="20650"/>
                    </a:cubicBezTo>
                    <a:cubicBezTo>
                      <a:pt x="223970" y="23437"/>
                      <a:pt x="223663" y="27656"/>
                      <a:pt x="220901" y="30060"/>
                    </a:cubicBezTo>
                    <a:cubicBezTo>
                      <a:pt x="193079" y="54276"/>
                      <a:pt x="157407" y="67625"/>
                      <a:pt x="120481" y="67625"/>
                    </a:cubicBezTo>
                    <a:close/>
                  </a:path>
                </a:pathLst>
              </a:custGeom>
              <a:solidFill>
                <a:schemeClr val="accent1"/>
              </a:solidFill>
              <a:ln w="2553" cap="flat">
                <a:noFill/>
                <a:prstDash val="solid"/>
                <a:miter/>
              </a:ln>
            </p:spPr>
            <p:txBody>
              <a:bodyPr rtlCol="0" anchor="ctr"/>
              <a:lstStyle/>
              <a:p>
                <a:endParaRPr lang="en-GB" dirty="0"/>
              </a:p>
            </p:txBody>
          </p:sp>
          <p:sp>
            <p:nvSpPr>
              <p:cNvPr id="214" name="Freihandform: Form 836">
                <a:extLst>
                  <a:ext uri="{FF2B5EF4-FFF2-40B4-BE49-F238E27FC236}">
                    <a16:creationId xmlns:a16="http://schemas.microsoft.com/office/drawing/2014/main" id="{090DCFF0-8A23-42A1-82FB-284FA1C029C6}"/>
                  </a:ext>
                </a:extLst>
              </p:cNvPr>
              <p:cNvSpPr/>
              <p:nvPr/>
            </p:nvSpPr>
            <p:spPr>
              <a:xfrm>
                <a:off x="6233644" y="1819678"/>
                <a:ext cx="50744" cy="81590"/>
              </a:xfrm>
              <a:custGeom>
                <a:avLst/>
                <a:gdLst>
                  <a:gd name="connsiteX0" fmla="*/ 12351 w 50744"/>
                  <a:gd name="connsiteY0" fmla="*/ 81591 h 81590"/>
                  <a:gd name="connsiteX1" fmla="*/ 6470 w 50744"/>
                  <a:gd name="connsiteY1" fmla="*/ 78088 h 81590"/>
                  <a:gd name="connsiteX2" fmla="*/ 0 w 50744"/>
                  <a:gd name="connsiteY2" fmla="*/ 52567 h 81590"/>
                  <a:gd name="connsiteX3" fmla="*/ 42730 w 50744"/>
                  <a:gd name="connsiteY3" fmla="*/ 145 h 81590"/>
                  <a:gd name="connsiteX4" fmla="*/ 50606 w 50744"/>
                  <a:gd name="connsiteY4" fmla="*/ 5336 h 81590"/>
                  <a:gd name="connsiteX5" fmla="*/ 45415 w 50744"/>
                  <a:gd name="connsiteY5" fmla="*/ 13212 h 81590"/>
                  <a:gd name="connsiteX6" fmla="*/ 13348 w 50744"/>
                  <a:gd name="connsiteY6" fmla="*/ 52567 h 81590"/>
                  <a:gd name="connsiteX7" fmla="*/ 18181 w 50744"/>
                  <a:gd name="connsiteY7" fmla="*/ 71720 h 81590"/>
                  <a:gd name="connsiteX8" fmla="*/ 15496 w 50744"/>
                  <a:gd name="connsiteY8" fmla="*/ 80773 h 81590"/>
                  <a:gd name="connsiteX9" fmla="*/ 12351 w 50744"/>
                  <a:gd name="connsiteY9" fmla="*/ 81591 h 8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744" h="81590">
                    <a:moveTo>
                      <a:pt x="12351" y="81591"/>
                    </a:moveTo>
                    <a:cubicBezTo>
                      <a:pt x="9973" y="81591"/>
                      <a:pt x="7697" y="80338"/>
                      <a:pt x="6470" y="78088"/>
                    </a:cubicBezTo>
                    <a:cubicBezTo>
                      <a:pt x="2250" y="70314"/>
                      <a:pt x="0" y="61492"/>
                      <a:pt x="0" y="52567"/>
                    </a:cubicBezTo>
                    <a:cubicBezTo>
                      <a:pt x="0" y="27251"/>
                      <a:pt x="17977" y="5208"/>
                      <a:pt x="42730" y="145"/>
                    </a:cubicBezTo>
                    <a:cubicBezTo>
                      <a:pt x="46336" y="-622"/>
                      <a:pt x="49865" y="1731"/>
                      <a:pt x="50606" y="5336"/>
                    </a:cubicBezTo>
                    <a:cubicBezTo>
                      <a:pt x="51348" y="8942"/>
                      <a:pt x="49021" y="12471"/>
                      <a:pt x="45415" y="13212"/>
                    </a:cubicBezTo>
                    <a:cubicBezTo>
                      <a:pt x="26825" y="17022"/>
                      <a:pt x="13348" y="33567"/>
                      <a:pt x="13348" y="52567"/>
                    </a:cubicBezTo>
                    <a:cubicBezTo>
                      <a:pt x="13348" y="59267"/>
                      <a:pt x="15011" y="65890"/>
                      <a:pt x="18181" y="71720"/>
                    </a:cubicBezTo>
                    <a:cubicBezTo>
                      <a:pt x="19946" y="74968"/>
                      <a:pt x="18744" y="79008"/>
                      <a:pt x="15496" y="80773"/>
                    </a:cubicBezTo>
                    <a:cubicBezTo>
                      <a:pt x="14525" y="81310"/>
                      <a:pt x="13425" y="81591"/>
                      <a:pt x="12351" y="81591"/>
                    </a:cubicBezTo>
                    <a:close/>
                  </a:path>
                </a:pathLst>
              </a:custGeom>
              <a:solidFill>
                <a:schemeClr val="accent1"/>
              </a:solidFill>
              <a:ln w="2553" cap="flat">
                <a:noFill/>
                <a:prstDash val="solid"/>
                <a:miter/>
              </a:ln>
            </p:spPr>
            <p:txBody>
              <a:bodyPr rtlCol="0" anchor="ctr"/>
              <a:lstStyle/>
              <a:p>
                <a:endParaRPr lang="en-GB" dirty="0"/>
              </a:p>
            </p:txBody>
          </p:sp>
          <p:sp>
            <p:nvSpPr>
              <p:cNvPr id="215" name="Freihandform: Form 837">
                <a:extLst>
                  <a:ext uri="{FF2B5EF4-FFF2-40B4-BE49-F238E27FC236}">
                    <a16:creationId xmlns:a16="http://schemas.microsoft.com/office/drawing/2014/main" id="{8DFCA972-4BDC-4313-8E28-2596201F408F}"/>
                  </a:ext>
                </a:extLst>
              </p:cNvPr>
              <p:cNvSpPr/>
              <p:nvPr/>
            </p:nvSpPr>
            <p:spPr>
              <a:xfrm>
                <a:off x="6256238" y="1905631"/>
                <a:ext cx="55875" cy="20135"/>
              </a:xfrm>
              <a:custGeom>
                <a:avLst/>
                <a:gdLst>
                  <a:gd name="connsiteX0" fmla="*/ 30953 w 55875"/>
                  <a:gd name="connsiteY0" fmla="*/ 20136 h 20135"/>
                  <a:gd name="connsiteX1" fmla="*/ 3208 w 55875"/>
                  <a:gd name="connsiteY1" fmla="*/ 12388 h 20135"/>
                  <a:gd name="connsiteX2" fmla="*/ 957 w 55875"/>
                  <a:gd name="connsiteY2" fmla="*/ 3208 h 20135"/>
                  <a:gd name="connsiteX3" fmla="*/ 10137 w 55875"/>
                  <a:gd name="connsiteY3" fmla="*/ 957 h 20135"/>
                  <a:gd name="connsiteX4" fmla="*/ 46603 w 55875"/>
                  <a:gd name="connsiteY4" fmla="*/ 3617 h 20135"/>
                  <a:gd name="connsiteX5" fmla="*/ 55348 w 55875"/>
                  <a:gd name="connsiteY5" fmla="*/ 7171 h 20135"/>
                  <a:gd name="connsiteX6" fmla="*/ 51794 w 55875"/>
                  <a:gd name="connsiteY6" fmla="*/ 15917 h 20135"/>
                  <a:gd name="connsiteX7" fmla="*/ 30953 w 55875"/>
                  <a:gd name="connsiteY7" fmla="*/ 20136 h 20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75" h="20135">
                    <a:moveTo>
                      <a:pt x="30953" y="20136"/>
                    </a:moveTo>
                    <a:cubicBezTo>
                      <a:pt x="21133" y="20136"/>
                      <a:pt x="11544" y="17451"/>
                      <a:pt x="3208" y="12388"/>
                    </a:cubicBezTo>
                    <a:cubicBezTo>
                      <a:pt x="62" y="10470"/>
                      <a:pt x="-935" y="6378"/>
                      <a:pt x="957" y="3208"/>
                    </a:cubicBezTo>
                    <a:cubicBezTo>
                      <a:pt x="2875" y="62"/>
                      <a:pt x="6967" y="-935"/>
                      <a:pt x="10137" y="957"/>
                    </a:cubicBezTo>
                    <a:cubicBezTo>
                      <a:pt x="21005" y="7555"/>
                      <a:pt x="34916" y="8552"/>
                      <a:pt x="46603" y="3617"/>
                    </a:cubicBezTo>
                    <a:cubicBezTo>
                      <a:pt x="50004" y="2185"/>
                      <a:pt x="53916" y="3770"/>
                      <a:pt x="55348" y="7171"/>
                    </a:cubicBezTo>
                    <a:cubicBezTo>
                      <a:pt x="56780" y="10572"/>
                      <a:pt x="55195" y="14485"/>
                      <a:pt x="51794" y="15917"/>
                    </a:cubicBezTo>
                    <a:cubicBezTo>
                      <a:pt x="45171" y="18730"/>
                      <a:pt x="38164" y="20136"/>
                      <a:pt x="30953" y="20136"/>
                    </a:cubicBezTo>
                    <a:close/>
                  </a:path>
                </a:pathLst>
              </a:custGeom>
              <a:solidFill>
                <a:schemeClr val="accent1"/>
              </a:solidFill>
              <a:ln w="2553" cap="flat">
                <a:noFill/>
                <a:prstDash val="solid"/>
                <a:miter/>
              </a:ln>
            </p:spPr>
            <p:txBody>
              <a:bodyPr rtlCol="0" anchor="ctr"/>
              <a:lstStyle/>
              <a:p>
                <a:endParaRPr lang="en-GB" dirty="0"/>
              </a:p>
            </p:txBody>
          </p:sp>
          <p:sp>
            <p:nvSpPr>
              <p:cNvPr id="216" name="Freihandform: Form 838">
                <a:extLst>
                  <a:ext uri="{FF2B5EF4-FFF2-40B4-BE49-F238E27FC236}">
                    <a16:creationId xmlns:a16="http://schemas.microsoft.com/office/drawing/2014/main" id="{9C082D75-FAA2-475F-8EAB-DD4AE8B1D278}"/>
                  </a:ext>
                </a:extLst>
              </p:cNvPr>
              <p:cNvSpPr/>
              <p:nvPr/>
            </p:nvSpPr>
            <p:spPr>
              <a:xfrm>
                <a:off x="6180966" y="1766046"/>
                <a:ext cx="133059" cy="162763"/>
              </a:xfrm>
              <a:custGeom>
                <a:avLst/>
                <a:gdLst>
                  <a:gd name="connsiteX0" fmla="*/ 20048 w 133059"/>
                  <a:gd name="connsiteY0" fmla="*/ 162764 h 162763"/>
                  <a:gd name="connsiteX1" fmla="*/ 14269 w 133059"/>
                  <a:gd name="connsiteY1" fmla="*/ 159439 h 162763"/>
                  <a:gd name="connsiteX2" fmla="*/ 0 w 133059"/>
                  <a:gd name="connsiteY2" fmla="*/ 106225 h 162763"/>
                  <a:gd name="connsiteX3" fmla="*/ 106225 w 133059"/>
                  <a:gd name="connsiteY3" fmla="*/ 0 h 162763"/>
                  <a:gd name="connsiteX4" fmla="*/ 127730 w 133059"/>
                  <a:gd name="connsiteY4" fmla="*/ 2174 h 162763"/>
                  <a:gd name="connsiteX5" fmla="*/ 132921 w 133059"/>
                  <a:gd name="connsiteY5" fmla="*/ 10050 h 162763"/>
                  <a:gd name="connsiteX6" fmla="*/ 125045 w 133059"/>
                  <a:gd name="connsiteY6" fmla="*/ 15241 h 162763"/>
                  <a:gd name="connsiteX7" fmla="*/ 106225 w 133059"/>
                  <a:gd name="connsiteY7" fmla="*/ 13323 h 162763"/>
                  <a:gd name="connsiteX8" fmla="*/ 13348 w 133059"/>
                  <a:gd name="connsiteY8" fmla="*/ 106199 h 162763"/>
                  <a:gd name="connsiteX9" fmla="*/ 25827 w 133059"/>
                  <a:gd name="connsiteY9" fmla="*/ 152714 h 162763"/>
                  <a:gd name="connsiteX10" fmla="*/ 23398 w 133059"/>
                  <a:gd name="connsiteY10" fmla="*/ 161843 h 162763"/>
                  <a:gd name="connsiteX11" fmla="*/ 20048 w 133059"/>
                  <a:gd name="connsiteY11" fmla="*/ 162764 h 1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059" h="162763">
                    <a:moveTo>
                      <a:pt x="20048" y="162764"/>
                    </a:moveTo>
                    <a:cubicBezTo>
                      <a:pt x="17747" y="162764"/>
                      <a:pt x="15496" y="161562"/>
                      <a:pt x="14269" y="159439"/>
                    </a:cubicBezTo>
                    <a:cubicBezTo>
                      <a:pt x="4935" y="143329"/>
                      <a:pt x="0" y="124943"/>
                      <a:pt x="0" y="106225"/>
                    </a:cubicBezTo>
                    <a:cubicBezTo>
                      <a:pt x="0" y="47666"/>
                      <a:pt x="47640" y="0"/>
                      <a:pt x="106225" y="0"/>
                    </a:cubicBezTo>
                    <a:cubicBezTo>
                      <a:pt x="113461" y="0"/>
                      <a:pt x="120698" y="742"/>
                      <a:pt x="127730" y="2174"/>
                    </a:cubicBezTo>
                    <a:cubicBezTo>
                      <a:pt x="131336" y="2915"/>
                      <a:pt x="133663" y="6444"/>
                      <a:pt x="132921" y="10050"/>
                    </a:cubicBezTo>
                    <a:cubicBezTo>
                      <a:pt x="132180" y="13655"/>
                      <a:pt x="128625" y="15982"/>
                      <a:pt x="125045" y="15241"/>
                    </a:cubicBezTo>
                    <a:cubicBezTo>
                      <a:pt x="118908" y="13988"/>
                      <a:pt x="112566" y="13323"/>
                      <a:pt x="106225" y="13323"/>
                    </a:cubicBezTo>
                    <a:cubicBezTo>
                      <a:pt x="55005" y="13323"/>
                      <a:pt x="13348" y="54979"/>
                      <a:pt x="13348" y="106199"/>
                    </a:cubicBezTo>
                    <a:cubicBezTo>
                      <a:pt x="13348" y="122565"/>
                      <a:pt x="17670" y="138650"/>
                      <a:pt x="25827" y="152714"/>
                    </a:cubicBezTo>
                    <a:cubicBezTo>
                      <a:pt x="27669" y="155910"/>
                      <a:pt x="26595" y="159976"/>
                      <a:pt x="23398" y="161843"/>
                    </a:cubicBezTo>
                    <a:cubicBezTo>
                      <a:pt x="22350" y="162457"/>
                      <a:pt x="21199" y="162764"/>
                      <a:pt x="20048" y="162764"/>
                    </a:cubicBezTo>
                    <a:close/>
                  </a:path>
                </a:pathLst>
              </a:custGeom>
              <a:solidFill>
                <a:schemeClr val="accent1"/>
              </a:solidFill>
              <a:ln w="2553" cap="flat">
                <a:noFill/>
                <a:prstDash val="solid"/>
                <a:miter/>
              </a:ln>
            </p:spPr>
            <p:txBody>
              <a:bodyPr rtlCol="0" anchor="ctr"/>
              <a:lstStyle/>
              <a:p>
                <a:endParaRPr lang="en-GB" dirty="0"/>
              </a:p>
            </p:txBody>
          </p:sp>
          <p:sp>
            <p:nvSpPr>
              <p:cNvPr id="217" name="Freihandform: Form 839">
                <a:extLst>
                  <a:ext uri="{FF2B5EF4-FFF2-40B4-BE49-F238E27FC236}">
                    <a16:creationId xmlns:a16="http://schemas.microsoft.com/office/drawing/2014/main" id="{D8EEBBE5-C462-458F-B496-A4F065AA1BA3}"/>
                  </a:ext>
                </a:extLst>
              </p:cNvPr>
              <p:cNvSpPr/>
              <p:nvPr/>
            </p:nvSpPr>
            <p:spPr>
              <a:xfrm>
                <a:off x="6208313" y="1934088"/>
                <a:ext cx="157474" cy="44381"/>
              </a:xfrm>
              <a:custGeom>
                <a:avLst/>
                <a:gdLst>
                  <a:gd name="connsiteX0" fmla="*/ 78878 w 157474"/>
                  <a:gd name="connsiteY0" fmla="*/ 44382 h 44381"/>
                  <a:gd name="connsiteX1" fmla="*/ 1831 w 157474"/>
                  <a:gd name="connsiteY1" fmla="*/ 11267 h 44381"/>
                  <a:gd name="connsiteX2" fmla="*/ 2086 w 157474"/>
                  <a:gd name="connsiteY2" fmla="*/ 1831 h 44381"/>
                  <a:gd name="connsiteX3" fmla="*/ 11522 w 157474"/>
                  <a:gd name="connsiteY3" fmla="*/ 2086 h 44381"/>
                  <a:gd name="connsiteX4" fmla="*/ 78904 w 157474"/>
                  <a:gd name="connsiteY4" fmla="*/ 31034 h 44381"/>
                  <a:gd name="connsiteX5" fmla="*/ 145978 w 157474"/>
                  <a:gd name="connsiteY5" fmla="*/ 2393 h 44381"/>
                  <a:gd name="connsiteX6" fmla="*/ 155414 w 157474"/>
                  <a:gd name="connsiteY6" fmla="*/ 2189 h 44381"/>
                  <a:gd name="connsiteX7" fmla="*/ 155619 w 157474"/>
                  <a:gd name="connsiteY7" fmla="*/ 11625 h 44381"/>
                  <a:gd name="connsiteX8" fmla="*/ 78878 w 157474"/>
                  <a:gd name="connsiteY8" fmla="*/ 44382 h 4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7474" h="44381">
                    <a:moveTo>
                      <a:pt x="78878" y="44382"/>
                    </a:moveTo>
                    <a:cubicBezTo>
                      <a:pt x="49445" y="44382"/>
                      <a:pt x="22083" y="32619"/>
                      <a:pt x="1831" y="11267"/>
                    </a:cubicBezTo>
                    <a:cubicBezTo>
                      <a:pt x="-701" y="8582"/>
                      <a:pt x="-599" y="4362"/>
                      <a:pt x="2086" y="1831"/>
                    </a:cubicBezTo>
                    <a:cubicBezTo>
                      <a:pt x="4746" y="-701"/>
                      <a:pt x="8991" y="-599"/>
                      <a:pt x="11522" y="2086"/>
                    </a:cubicBezTo>
                    <a:cubicBezTo>
                      <a:pt x="29244" y="20754"/>
                      <a:pt x="53153" y="31034"/>
                      <a:pt x="78904" y="31034"/>
                    </a:cubicBezTo>
                    <a:cubicBezTo>
                      <a:pt x="104475" y="31034"/>
                      <a:pt x="128283" y="20856"/>
                      <a:pt x="145978" y="2393"/>
                    </a:cubicBezTo>
                    <a:cubicBezTo>
                      <a:pt x="148535" y="-266"/>
                      <a:pt x="152755" y="-343"/>
                      <a:pt x="155414" y="2189"/>
                    </a:cubicBezTo>
                    <a:cubicBezTo>
                      <a:pt x="158074" y="4746"/>
                      <a:pt x="158176" y="8965"/>
                      <a:pt x="155619" y="11625"/>
                    </a:cubicBezTo>
                    <a:cubicBezTo>
                      <a:pt x="135366" y="32747"/>
                      <a:pt x="108107" y="44382"/>
                      <a:pt x="78878" y="44382"/>
                    </a:cubicBezTo>
                    <a:close/>
                  </a:path>
                </a:pathLst>
              </a:custGeom>
              <a:solidFill>
                <a:schemeClr val="accent1"/>
              </a:solidFill>
              <a:ln w="2553" cap="flat">
                <a:noFill/>
                <a:prstDash val="solid"/>
                <a:miter/>
              </a:ln>
            </p:spPr>
            <p:txBody>
              <a:bodyPr rtlCol="0" anchor="ctr"/>
              <a:lstStyle/>
              <a:p>
                <a:endParaRPr lang="en-GB" dirty="0"/>
              </a:p>
            </p:txBody>
          </p:sp>
          <p:sp>
            <p:nvSpPr>
              <p:cNvPr id="218" name="Freihandform: Form 840">
                <a:extLst>
                  <a:ext uri="{FF2B5EF4-FFF2-40B4-BE49-F238E27FC236}">
                    <a16:creationId xmlns:a16="http://schemas.microsoft.com/office/drawing/2014/main" id="{A63C9724-AB88-4DBE-9CAD-7056B12C2FB0}"/>
                  </a:ext>
                </a:extLst>
              </p:cNvPr>
              <p:cNvSpPr/>
              <p:nvPr/>
            </p:nvSpPr>
            <p:spPr>
              <a:xfrm>
                <a:off x="6186210" y="1992819"/>
                <a:ext cx="56763" cy="73643"/>
              </a:xfrm>
              <a:custGeom>
                <a:avLst/>
                <a:gdLst>
                  <a:gd name="connsiteX0" fmla="*/ 24240 w 56763"/>
                  <a:gd name="connsiteY0" fmla="*/ 73644 h 73643"/>
                  <a:gd name="connsiteX1" fmla="*/ 12145 w 56763"/>
                  <a:gd name="connsiteY1" fmla="*/ 70371 h 73643"/>
                  <a:gd name="connsiteX2" fmla="*/ 842 w 56763"/>
                  <a:gd name="connsiteY2" fmla="*/ 55667 h 73643"/>
                  <a:gd name="connsiteX3" fmla="*/ 3271 w 56763"/>
                  <a:gd name="connsiteY3" fmla="*/ 37281 h 73643"/>
                  <a:gd name="connsiteX4" fmla="*/ 22859 w 56763"/>
                  <a:gd name="connsiteY4" fmla="*/ 3347 h 73643"/>
                  <a:gd name="connsiteX5" fmla="*/ 31988 w 56763"/>
                  <a:gd name="connsiteY5" fmla="*/ 892 h 73643"/>
                  <a:gd name="connsiteX6" fmla="*/ 34443 w 56763"/>
                  <a:gd name="connsiteY6" fmla="*/ 10021 h 73643"/>
                  <a:gd name="connsiteX7" fmla="*/ 14855 w 56763"/>
                  <a:gd name="connsiteY7" fmla="*/ 43955 h 73643"/>
                  <a:gd name="connsiteX8" fmla="*/ 13756 w 56763"/>
                  <a:gd name="connsiteY8" fmla="*/ 52215 h 73643"/>
                  <a:gd name="connsiteX9" fmla="*/ 18819 w 56763"/>
                  <a:gd name="connsiteY9" fmla="*/ 58838 h 73643"/>
                  <a:gd name="connsiteX10" fmla="*/ 27078 w 56763"/>
                  <a:gd name="connsiteY10" fmla="*/ 59937 h 73643"/>
                  <a:gd name="connsiteX11" fmla="*/ 33676 w 56763"/>
                  <a:gd name="connsiteY11" fmla="*/ 54874 h 73643"/>
                  <a:gd name="connsiteX12" fmla="*/ 44391 w 56763"/>
                  <a:gd name="connsiteY12" fmla="*/ 37383 h 73643"/>
                  <a:gd name="connsiteX13" fmla="*/ 53571 w 56763"/>
                  <a:gd name="connsiteY13" fmla="*/ 35184 h 73643"/>
                  <a:gd name="connsiteX14" fmla="*/ 55770 w 56763"/>
                  <a:gd name="connsiteY14" fmla="*/ 44364 h 73643"/>
                  <a:gd name="connsiteX15" fmla="*/ 45158 w 56763"/>
                  <a:gd name="connsiteY15" fmla="*/ 61727 h 73643"/>
                  <a:gd name="connsiteX16" fmla="*/ 30531 w 56763"/>
                  <a:gd name="connsiteY16" fmla="*/ 72877 h 73643"/>
                  <a:gd name="connsiteX17" fmla="*/ 24240 w 56763"/>
                  <a:gd name="connsiteY17" fmla="*/ 73644 h 7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763" h="73643">
                    <a:moveTo>
                      <a:pt x="24240" y="73644"/>
                    </a:moveTo>
                    <a:cubicBezTo>
                      <a:pt x="20046" y="73644"/>
                      <a:pt x="15904" y="72544"/>
                      <a:pt x="12145" y="70371"/>
                    </a:cubicBezTo>
                    <a:cubicBezTo>
                      <a:pt x="6544" y="67149"/>
                      <a:pt x="2530" y="61906"/>
                      <a:pt x="842" y="55667"/>
                    </a:cubicBezTo>
                    <a:cubicBezTo>
                      <a:pt x="-846" y="49402"/>
                      <a:pt x="24" y="42881"/>
                      <a:pt x="3271" y="37281"/>
                    </a:cubicBezTo>
                    <a:lnTo>
                      <a:pt x="22859" y="3347"/>
                    </a:lnTo>
                    <a:cubicBezTo>
                      <a:pt x="24700" y="151"/>
                      <a:pt x="28766" y="-949"/>
                      <a:pt x="31988" y="892"/>
                    </a:cubicBezTo>
                    <a:cubicBezTo>
                      <a:pt x="35185" y="2734"/>
                      <a:pt x="36284" y="6825"/>
                      <a:pt x="34443" y="10021"/>
                    </a:cubicBezTo>
                    <a:lnTo>
                      <a:pt x="14855" y="43955"/>
                    </a:lnTo>
                    <a:cubicBezTo>
                      <a:pt x="13398" y="46487"/>
                      <a:pt x="13014" y="49402"/>
                      <a:pt x="13756" y="52215"/>
                    </a:cubicBezTo>
                    <a:cubicBezTo>
                      <a:pt x="14497" y="55028"/>
                      <a:pt x="16313" y="57380"/>
                      <a:pt x="18819" y="58838"/>
                    </a:cubicBezTo>
                    <a:cubicBezTo>
                      <a:pt x="21350" y="60295"/>
                      <a:pt x="24266" y="60679"/>
                      <a:pt x="27078" y="59937"/>
                    </a:cubicBezTo>
                    <a:cubicBezTo>
                      <a:pt x="29891" y="59196"/>
                      <a:pt x="32244" y="57380"/>
                      <a:pt x="33676" y="54874"/>
                    </a:cubicBezTo>
                    <a:lnTo>
                      <a:pt x="44391" y="37383"/>
                    </a:lnTo>
                    <a:cubicBezTo>
                      <a:pt x="46308" y="34238"/>
                      <a:pt x="50425" y="33241"/>
                      <a:pt x="53571" y="35184"/>
                    </a:cubicBezTo>
                    <a:cubicBezTo>
                      <a:pt x="56716" y="37102"/>
                      <a:pt x="57713" y="41219"/>
                      <a:pt x="55770" y="44364"/>
                    </a:cubicBezTo>
                    <a:lnTo>
                      <a:pt x="45158" y="61727"/>
                    </a:lnTo>
                    <a:cubicBezTo>
                      <a:pt x="42012" y="67200"/>
                      <a:pt x="36770" y="71189"/>
                      <a:pt x="30531" y="72877"/>
                    </a:cubicBezTo>
                    <a:cubicBezTo>
                      <a:pt x="28459" y="73362"/>
                      <a:pt x="26337" y="73644"/>
                      <a:pt x="24240" y="73644"/>
                    </a:cubicBezTo>
                    <a:close/>
                  </a:path>
                </a:pathLst>
              </a:custGeom>
              <a:solidFill>
                <a:schemeClr val="accent1"/>
              </a:solidFill>
              <a:ln w="2553" cap="flat">
                <a:noFill/>
                <a:prstDash val="solid"/>
                <a:miter/>
              </a:ln>
            </p:spPr>
            <p:txBody>
              <a:bodyPr rtlCol="0" anchor="ctr"/>
              <a:lstStyle/>
              <a:p>
                <a:endParaRPr lang="en-GB" dirty="0"/>
              </a:p>
            </p:txBody>
          </p:sp>
          <p:sp>
            <p:nvSpPr>
              <p:cNvPr id="219" name="Freihandform: Form 841">
                <a:extLst>
                  <a:ext uri="{FF2B5EF4-FFF2-40B4-BE49-F238E27FC236}">
                    <a16:creationId xmlns:a16="http://schemas.microsoft.com/office/drawing/2014/main" id="{FACA27D5-3068-4F15-844D-2BB00A68AEF3}"/>
                  </a:ext>
                </a:extLst>
              </p:cNvPr>
              <p:cNvSpPr/>
              <p:nvPr/>
            </p:nvSpPr>
            <p:spPr>
              <a:xfrm>
                <a:off x="6334769" y="1992767"/>
                <a:ext cx="56792" cy="73694"/>
              </a:xfrm>
              <a:custGeom>
                <a:avLst/>
                <a:gdLst>
                  <a:gd name="connsiteX0" fmla="*/ 32564 w 56792"/>
                  <a:gd name="connsiteY0" fmla="*/ 73695 h 73694"/>
                  <a:gd name="connsiteX1" fmla="*/ 26247 w 56792"/>
                  <a:gd name="connsiteY1" fmla="*/ 72851 h 73694"/>
                  <a:gd name="connsiteX2" fmla="*/ 11518 w 56792"/>
                  <a:gd name="connsiteY2" fmla="*/ 61548 h 73694"/>
                  <a:gd name="connsiteX3" fmla="*/ 983 w 56792"/>
                  <a:gd name="connsiteY3" fmla="*/ 44339 h 73694"/>
                  <a:gd name="connsiteX4" fmla="*/ 3182 w 56792"/>
                  <a:gd name="connsiteY4" fmla="*/ 35158 h 73694"/>
                  <a:gd name="connsiteX5" fmla="*/ 12362 w 56792"/>
                  <a:gd name="connsiteY5" fmla="*/ 37358 h 73694"/>
                  <a:gd name="connsiteX6" fmla="*/ 22974 w 56792"/>
                  <a:gd name="connsiteY6" fmla="*/ 54721 h 73694"/>
                  <a:gd name="connsiteX7" fmla="*/ 29674 w 56792"/>
                  <a:gd name="connsiteY7" fmla="*/ 59937 h 73694"/>
                  <a:gd name="connsiteX8" fmla="*/ 37934 w 56792"/>
                  <a:gd name="connsiteY8" fmla="*/ 58838 h 73694"/>
                  <a:gd name="connsiteX9" fmla="*/ 43022 w 56792"/>
                  <a:gd name="connsiteY9" fmla="*/ 52215 h 73694"/>
                  <a:gd name="connsiteX10" fmla="*/ 41948 w 56792"/>
                  <a:gd name="connsiteY10" fmla="*/ 43955 h 73694"/>
                  <a:gd name="connsiteX11" fmla="*/ 22361 w 56792"/>
                  <a:gd name="connsiteY11" fmla="*/ 10021 h 73694"/>
                  <a:gd name="connsiteX12" fmla="*/ 24815 w 56792"/>
                  <a:gd name="connsiteY12" fmla="*/ 892 h 73694"/>
                  <a:gd name="connsiteX13" fmla="*/ 33944 w 56792"/>
                  <a:gd name="connsiteY13" fmla="*/ 3347 h 73694"/>
                  <a:gd name="connsiteX14" fmla="*/ 53532 w 56792"/>
                  <a:gd name="connsiteY14" fmla="*/ 37281 h 73694"/>
                  <a:gd name="connsiteX15" fmla="*/ 55962 w 56792"/>
                  <a:gd name="connsiteY15" fmla="*/ 55667 h 73694"/>
                  <a:gd name="connsiteX16" fmla="*/ 44659 w 56792"/>
                  <a:gd name="connsiteY16" fmla="*/ 70396 h 73694"/>
                  <a:gd name="connsiteX17" fmla="*/ 32564 w 56792"/>
                  <a:gd name="connsiteY17" fmla="*/ 73695 h 73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6792" h="73694">
                    <a:moveTo>
                      <a:pt x="32564" y="73695"/>
                    </a:moveTo>
                    <a:cubicBezTo>
                      <a:pt x="30467" y="73695"/>
                      <a:pt x="28344" y="73414"/>
                      <a:pt x="26247" y="72851"/>
                    </a:cubicBezTo>
                    <a:cubicBezTo>
                      <a:pt x="19982" y="71163"/>
                      <a:pt x="14766" y="67174"/>
                      <a:pt x="11518" y="61548"/>
                    </a:cubicBezTo>
                    <a:lnTo>
                      <a:pt x="983" y="44339"/>
                    </a:lnTo>
                    <a:cubicBezTo>
                      <a:pt x="-935" y="41193"/>
                      <a:pt x="36" y="37076"/>
                      <a:pt x="3182" y="35158"/>
                    </a:cubicBezTo>
                    <a:cubicBezTo>
                      <a:pt x="6327" y="33241"/>
                      <a:pt x="10444" y="34238"/>
                      <a:pt x="12362" y="37358"/>
                    </a:cubicBezTo>
                    <a:lnTo>
                      <a:pt x="22974" y="54721"/>
                    </a:lnTo>
                    <a:cubicBezTo>
                      <a:pt x="24509" y="57380"/>
                      <a:pt x="26861" y="59196"/>
                      <a:pt x="29674" y="59937"/>
                    </a:cubicBezTo>
                    <a:cubicBezTo>
                      <a:pt x="32487" y="60679"/>
                      <a:pt x="35428" y="60295"/>
                      <a:pt x="37934" y="58838"/>
                    </a:cubicBezTo>
                    <a:cubicBezTo>
                      <a:pt x="40465" y="57380"/>
                      <a:pt x="42255" y="55028"/>
                      <a:pt x="43022" y="52215"/>
                    </a:cubicBezTo>
                    <a:cubicBezTo>
                      <a:pt x="43790" y="49402"/>
                      <a:pt x="43380" y="46461"/>
                      <a:pt x="41948" y="43955"/>
                    </a:cubicBezTo>
                    <a:lnTo>
                      <a:pt x="22361" y="10021"/>
                    </a:lnTo>
                    <a:cubicBezTo>
                      <a:pt x="20519" y="6825"/>
                      <a:pt x="21619" y="2759"/>
                      <a:pt x="24815" y="892"/>
                    </a:cubicBezTo>
                    <a:cubicBezTo>
                      <a:pt x="28012" y="-949"/>
                      <a:pt x="32078" y="151"/>
                      <a:pt x="33944" y="3347"/>
                    </a:cubicBezTo>
                    <a:lnTo>
                      <a:pt x="53532" y="37281"/>
                    </a:lnTo>
                    <a:cubicBezTo>
                      <a:pt x="56780" y="42881"/>
                      <a:pt x="57624" y="49427"/>
                      <a:pt x="55962" y="55667"/>
                    </a:cubicBezTo>
                    <a:cubicBezTo>
                      <a:pt x="54274" y="61932"/>
                      <a:pt x="50285" y="67149"/>
                      <a:pt x="44659" y="70396"/>
                    </a:cubicBezTo>
                    <a:cubicBezTo>
                      <a:pt x="40900" y="72595"/>
                      <a:pt x="36757" y="73695"/>
                      <a:pt x="32564" y="73695"/>
                    </a:cubicBezTo>
                    <a:close/>
                  </a:path>
                </a:pathLst>
              </a:custGeom>
              <a:solidFill>
                <a:schemeClr val="accent1"/>
              </a:solidFill>
              <a:ln w="2553" cap="flat">
                <a:noFill/>
                <a:prstDash val="solid"/>
                <a:miter/>
              </a:ln>
            </p:spPr>
            <p:txBody>
              <a:bodyPr rtlCol="0" anchor="ctr"/>
              <a:lstStyle/>
              <a:p>
                <a:endParaRPr lang="en-GB" dirty="0"/>
              </a:p>
            </p:txBody>
          </p:sp>
          <p:grpSp>
            <p:nvGrpSpPr>
              <p:cNvPr id="220" name="Grafik 313">
                <a:extLst>
                  <a:ext uri="{FF2B5EF4-FFF2-40B4-BE49-F238E27FC236}">
                    <a16:creationId xmlns:a16="http://schemas.microsoft.com/office/drawing/2014/main" id="{43D65556-438C-4D3D-9763-4711E48EB157}"/>
                  </a:ext>
                </a:extLst>
              </p:cNvPr>
              <p:cNvGrpSpPr/>
              <p:nvPr/>
            </p:nvGrpSpPr>
            <p:grpSpPr>
              <a:xfrm>
                <a:off x="6073105" y="1865574"/>
                <a:ext cx="220732" cy="150000"/>
                <a:chOff x="6073105" y="1865574"/>
                <a:chExt cx="220732" cy="150000"/>
              </a:xfrm>
              <a:solidFill>
                <a:schemeClr val="accent1"/>
              </a:solidFill>
            </p:grpSpPr>
            <p:sp>
              <p:nvSpPr>
                <p:cNvPr id="221" name="Freihandform: Form 843">
                  <a:extLst>
                    <a:ext uri="{FF2B5EF4-FFF2-40B4-BE49-F238E27FC236}">
                      <a16:creationId xmlns:a16="http://schemas.microsoft.com/office/drawing/2014/main" id="{7BA2A881-4A95-4D4E-8EEC-88487CF678B6}"/>
                    </a:ext>
                  </a:extLst>
                </p:cNvPr>
                <p:cNvSpPr/>
                <p:nvPr/>
              </p:nvSpPr>
              <p:spPr>
                <a:xfrm>
                  <a:off x="6073105" y="1931015"/>
                  <a:ext cx="78684" cy="50395"/>
                </a:xfrm>
                <a:custGeom>
                  <a:avLst/>
                  <a:gdLst>
                    <a:gd name="connsiteX0" fmla="*/ 36517 w 78684"/>
                    <a:gd name="connsiteY0" fmla="*/ 50396 h 50395"/>
                    <a:gd name="connsiteX1" fmla="*/ 33269 w 78684"/>
                    <a:gd name="connsiteY1" fmla="*/ 49552 h 50395"/>
                    <a:gd name="connsiteX2" fmla="*/ 3427 w 78684"/>
                    <a:gd name="connsiteY2" fmla="*/ 32982 h 50395"/>
                    <a:gd name="connsiteX3" fmla="*/ 0 w 78684"/>
                    <a:gd name="connsiteY3" fmla="*/ 27202 h 50395"/>
                    <a:gd name="connsiteX4" fmla="*/ 3350 w 78684"/>
                    <a:gd name="connsiteY4" fmla="*/ 21372 h 50395"/>
                    <a:gd name="connsiteX5" fmla="*/ 38844 w 78684"/>
                    <a:gd name="connsiteY5" fmla="*/ 889 h 50395"/>
                    <a:gd name="connsiteX6" fmla="*/ 45416 w 78684"/>
                    <a:gd name="connsiteY6" fmla="*/ 838 h 50395"/>
                    <a:gd name="connsiteX7" fmla="*/ 75258 w 78684"/>
                    <a:gd name="connsiteY7" fmla="*/ 17408 h 50395"/>
                    <a:gd name="connsiteX8" fmla="*/ 78684 w 78684"/>
                    <a:gd name="connsiteY8" fmla="*/ 23188 h 50395"/>
                    <a:gd name="connsiteX9" fmla="*/ 75334 w 78684"/>
                    <a:gd name="connsiteY9" fmla="*/ 29018 h 50395"/>
                    <a:gd name="connsiteX10" fmla="*/ 39841 w 78684"/>
                    <a:gd name="connsiteY10" fmla="*/ 49501 h 50395"/>
                    <a:gd name="connsiteX11" fmla="*/ 36517 w 78684"/>
                    <a:gd name="connsiteY11" fmla="*/ 50396 h 50395"/>
                    <a:gd name="connsiteX12" fmla="*/ 20227 w 78684"/>
                    <a:gd name="connsiteY12" fmla="*/ 27049 h 50395"/>
                    <a:gd name="connsiteX13" fmla="*/ 36466 w 78684"/>
                    <a:gd name="connsiteY13" fmla="*/ 36076 h 50395"/>
                    <a:gd name="connsiteX14" fmla="*/ 58483 w 78684"/>
                    <a:gd name="connsiteY14" fmla="*/ 23367 h 50395"/>
                    <a:gd name="connsiteX15" fmla="*/ 42245 w 78684"/>
                    <a:gd name="connsiteY15" fmla="*/ 14340 h 50395"/>
                    <a:gd name="connsiteX16" fmla="*/ 20227 w 78684"/>
                    <a:gd name="connsiteY16" fmla="*/ 27049 h 5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8684" h="50395">
                      <a:moveTo>
                        <a:pt x="36517" y="50396"/>
                      </a:moveTo>
                      <a:cubicBezTo>
                        <a:pt x="35392" y="50396"/>
                        <a:pt x="34292" y="50115"/>
                        <a:pt x="33269" y="49552"/>
                      </a:cubicBezTo>
                      <a:lnTo>
                        <a:pt x="3427" y="32982"/>
                      </a:lnTo>
                      <a:cubicBezTo>
                        <a:pt x="1330" y="31805"/>
                        <a:pt x="0" y="29606"/>
                        <a:pt x="0" y="27202"/>
                      </a:cubicBezTo>
                      <a:cubicBezTo>
                        <a:pt x="-25" y="24799"/>
                        <a:pt x="1253" y="22574"/>
                        <a:pt x="3350" y="21372"/>
                      </a:cubicBezTo>
                      <a:lnTo>
                        <a:pt x="38844" y="889"/>
                      </a:lnTo>
                      <a:cubicBezTo>
                        <a:pt x="40889" y="-262"/>
                        <a:pt x="43370" y="-313"/>
                        <a:pt x="45416" y="838"/>
                      </a:cubicBezTo>
                      <a:lnTo>
                        <a:pt x="75258" y="17408"/>
                      </a:lnTo>
                      <a:cubicBezTo>
                        <a:pt x="77355" y="18585"/>
                        <a:pt x="78684" y="20784"/>
                        <a:pt x="78684" y="23188"/>
                      </a:cubicBezTo>
                      <a:cubicBezTo>
                        <a:pt x="78710" y="25591"/>
                        <a:pt x="77431" y="27816"/>
                        <a:pt x="75334" y="29018"/>
                      </a:cubicBezTo>
                      <a:lnTo>
                        <a:pt x="39841" y="49501"/>
                      </a:lnTo>
                      <a:cubicBezTo>
                        <a:pt x="38844" y="50115"/>
                        <a:pt x="37693" y="50396"/>
                        <a:pt x="36517" y="50396"/>
                      </a:cubicBezTo>
                      <a:close/>
                      <a:moveTo>
                        <a:pt x="20227" y="27049"/>
                      </a:moveTo>
                      <a:lnTo>
                        <a:pt x="36466" y="36076"/>
                      </a:lnTo>
                      <a:lnTo>
                        <a:pt x="58483" y="23367"/>
                      </a:lnTo>
                      <a:lnTo>
                        <a:pt x="42245" y="14340"/>
                      </a:lnTo>
                      <a:lnTo>
                        <a:pt x="20227" y="27049"/>
                      </a:lnTo>
                      <a:close/>
                    </a:path>
                  </a:pathLst>
                </a:custGeom>
                <a:solidFill>
                  <a:schemeClr val="accent1"/>
                </a:solidFill>
                <a:ln w="2553" cap="flat">
                  <a:noFill/>
                  <a:prstDash val="solid"/>
                  <a:miter/>
                </a:ln>
              </p:spPr>
              <p:txBody>
                <a:bodyPr rtlCol="0" anchor="ctr"/>
                <a:lstStyle/>
                <a:p>
                  <a:endParaRPr lang="en-GB" dirty="0"/>
                </a:p>
              </p:txBody>
            </p:sp>
            <p:sp>
              <p:nvSpPr>
                <p:cNvPr id="222" name="Freihandform: Form 844">
                  <a:extLst>
                    <a:ext uri="{FF2B5EF4-FFF2-40B4-BE49-F238E27FC236}">
                      <a16:creationId xmlns:a16="http://schemas.microsoft.com/office/drawing/2014/main" id="{FD6CB1B7-B334-413E-B1D3-FBC3B3DB706E}"/>
                    </a:ext>
                  </a:extLst>
                </p:cNvPr>
                <p:cNvSpPr/>
                <p:nvPr/>
              </p:nvSpPr>
              <p:spPr>
                <a:xfrm>
                  <a:off x="6102384" y="1947602"/>
                  <a:ext cx="49430" cy="67972"/>
                </a:xfrm>
                <a:custGeom>
                  <a:avLst/>
                  <a:gdLst>
                    <a:gd name="connsiteX0" fmla="*/ 6675 w 49430"/>
                    <a:gd name="connsiteY0" fmla="*/ 67973 h 67972"/>
                    <a:gd name="connsiteX1" fmla="*/ 3299 w 49430"/>
                    <a:gd name="connsiteY1" fmla="*/ 67052 h 67972"/>
                    <a:gd name="connsiteX2" fmla="*/ 0 w 49430"/>
                    <a:gd name="connsiteY2" fmla="*/ 61196 h 67972"/>
                    <a:gd name="connsiteX3" fmla="*/ 563 w 49430"/>
                    <a:gd name="connsiteY3" fmla="*/ 27058 h 67972"/>
                    <a:gd name="connsiteX4" fmla="*/ 3913 w 49430"/>
                    <a:gd name="connsiteY4" fmla="*/ 21381 h 67972"/>
                    <a:gd name="connsiteX5" fmla="*/ 39406 w 49430"/>
                    <a:gd name="connsiteY5" fmla="*/ 898 h 67972"/>
                    <a:gd name="connsiteX6" fmla="*/ 46132 w 49430"/>
                    <a:gd name="connsiteY6" fmla="*/ 924 h 67972"/>
                    <a:gd name="connsiteX7" fmla="*/ 49430 w 49430"/>
                    <a:gd name="connsiteY7" fmla="*/ 6780 h 67972"/>
                    <a:gd name="connsiteX8" fmla="*/ 48868 w 49430"/>
                    <a:gd name="connsiteY8" fmla="*/ 40918 h 67972"/>
                    <a:gd name="connsiteX9" fmla="*/ 45518 w 49430"/>
                    <a:gd name="connsiteY9" fmla="*/ 46595 h 67972"/>
                    <a:gd name="connsiteX10" fmla="*/ 10025 w 49430"/>
                    <a:gd name="connsiteY10" fmla="*/ 67103 h 67972"/>
                    <a:gd name="connsiteX11" fmla="*/ 6675 w 49430"/>
                    <a:gd name="connsiteY11" fmla="*/ 67973 h 67972"/>
                    <a:gd name="connsiteX12" fmla="*/ 13860 w 49430"/>
                    <a:gd name="connsiteY12" fmla="*/ 31047 h 67972"/>
                    <a:gd name="connsiteX13" fmla="*/ 13553 w 49430"/>
                    <a:gd name="connsiteY13" fmla="*/ 49612 h 67972"/>
                    <a:gd name="connsiteX14" fmla="*/ 35571 w 49430"/>
                    <a:gd name="connsiteY14" fmla="*/ 36903 h 67972"/>
                    <a:gd name="connsiteX15" fmla="*/ 35877 w 49430"/>
                    <a:gd name="connsiteY15" fmla="*/ 18338 h 67972"/>
                    <a:gd name="connsiteX16" fmla="*/ 13860 w 49430"/>
                    <a:gd name="connsiteY16" fmla="*/ 31047 h 6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9430" h="67972">
                      <a:moveTo>
                        <a:pt x="6675" y="67973"/>
                      </a:moveTo>
                      <a:cubicBezTo>
                        <a:pt x="5498" y="67973"/>
                        <a:pt x="4322" y="67666"/>
                        <a:pt x="3299" y="67052"/>
                      </a:cubicBezTo>
                      <a:cubicBezTo>
                        <a:pt x="1228" y="65825"/>
                        <a:pt x="-25" y="63600"/>
                        <a:pt x="0" y="61196"/>
                      </a:cubicBezTo>
                      <a:lnTo>
                        <a:pt x="563" y="27058"/>
                      </a:lnTo>
                      <a:cubicBezTo>
                        <a:pt x="614" y="24705"/>
                        <a:pt x="1867" y="22557"/>
                        <a:pt x="3913" y="21381"/>
                      </a:cubicBezTo>
                      <a:lnTo>
                        <a:pt x="39406" y="898"/>
                      </a:lnTo>
                      <a:cubicBezTo>
                        <a:pt x="41478" y="-304"/>
                        <a:pt x="44060" y="-304"/>
                        <a:pt x="46132" y="924"/>
                      </a:cubicBezTo>
                      <a:cubicBezTo>
                        <a:pt x="48203" y="2151"/>
                        <a:pt x="49456" y="4376"/>
                        <a:pt x="49430" y="6780"/>
                      </a:cubicBezTo>
                      <a:lnTo>
                        <a:pt x="48868" y="40918"/>
                      </a:lnTo>
                      <a:cubicBezTo>
                        <a:pt x="48817" y="43270"/>
                        <a:pt x="47564" y="45419"/>
                        <a:pt x="45518" y="46595"/>
                      </a:cubicBezTo>
                      <a:lnTo>
                        <a:pt x="10025" y="67103"/>
                      </a:lnTo>
                      <a:cubicBezTo>
                        <a:pt x="8976" y="67666"/>
                        <a:pt x="7825" y="67973"/>
                        <a:pt x="6675" y="67973"/>
                      </a:cubicBezTo>
                      <a:close/>
                      <a:moveTo>
                        <a:pt x="13860" y="31047"/>
                      </a:moveTo>
                      <a:lnTo>
                        <a:pt x="13553" y="49612"/>
                      </a:lnTo>
                      <a:lnTo>
                        <a:pt x="35571" y="36903"/>
                      </a:lnTo>
                      <a:lnTo>
                        <a:pt x="35877" y="18338"/>
                      </a:lnTo>
                      <a:lnTo>
                        <a:pt x="13860" y="31047"/>
                      </a:lnTo>
                      <a:close/>
                    </a:path>
                  </a:pathLst>
                </a:custGeom>
                <a:solidFill>
                  <a:schemeClr val="accent1"/>
                </a:solidFill>
                <a:ln w="2553" cap="flat">
                  <a:noFill/>
                  <a:prstDash val="solid"/>
                  <a:miter/>
                </a:ln>
              </p:spPr>
              <p:txBody>
                <a:bodyPr rtlCol="0" anchor="ctr"/>
                <a:lstStyle/>
                <a:p>
                  <a:endParaRPr lang="en-GB" dirty="0"/>
                </a:p>
              </p:txBody>
            </p:sp>
            <p:sp>
              <p:nvSpPr>
                <p:cNvPr id="223" name="Freihandform: Form 845">
                  <a:extLst>
                    <a:ext uri="{FF2B5EF4-FFF2-40B4-BE49-F238E27FC236}">
                      <a16:creationId xmlns:a16="http://schemas.microsoft.com/office/drawing/2014/main" id="{349DDFC5-A8B7-4413-AE09-FFA8A49176AB}"/>
                    </a:ext>
                  </a:extLst>
                </p:cNvPr>
                <p:cNvSpPr/>
                <p:nvPr/>
              </p:nvSpPr>
              <p:spPr>
                <a:xfrm>
                  <a:off x="6087760" y="1865574"/>
                  <a:ext cx="206076" cy="124633"/>
                </a:xfrm>
                <a:custGeom>
                  <a:avLst/>
                  <a:gdLst>
                    <a:gd name="connsiteX0" fmla="*/ 6672 w 206076"/>
                    <a:gd name="connsiteY0" fmla="*/ 124634 h 124633"/>
                    <a:gd name="connsiteX1" fmla="*/ 892 w 206076"/>
                    <a:gd name="connsiteY1" fmla="*/ 121284 h 124633"/>
                    <a:gd name="connsiteX2" fmla="*/ 3347 w 206076"/>
                    <a:gd name="connsiteY2" fmla="*/ 112155 h 124633"/>
                    <a:gd name="connsiteX3" fmla="*/ 196055 w 206076"/>
                    <a:gd name="connsiteY3" fmla="*/ 892 h 124633"/>
                    <a:gd name="connsiteX4" fmla="*/ 205184 w 206076"/>
                    <a:gd name="connsiteY4" fmla="*/ 3347 h 124633"/>
                    <a:gd name="connsiteX5" fmla="*/ 202730 w 206076"/>
                    <a:gd name="connsiteY5" fmla="*/ 12476 h 124633"/>
                    <a:gd name="connsiteX6" fmla="*/ 10021 w 206076"/>
                    <a:gd name="connsiteY6" fmla="*/ 123739 h 124633"/>
                    <a:gd name="connsiteX7" fmla="*/ 6672 w 206076"/>
                    <a:gd name="connsiteY7" fmla="*/ 124634 h 12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076" h="124633">
                      <a:moveTo>
                        <a:pt x="6672" y="124634"/>
                      </a:moveTo>
                      <a:cubicBezTo>
                        <a:pt x="4370" y="124634"/>
                        <a:pt x="2120" y="123432"/>
                        <a:pt x="892" y="121284"/>
                      </a:cubicBezTo>
                      <a:cubicBezTo>
                        <a:pt x="-949" y="118087"/>
                        <a:pt x="151" y="114021"/>
                        <a:pt x="3347" y="112155"/>
                      </a:cubicBezTo>
                      <a:lnTo>
                        <a:pt x="196055" y="892"/>
                      </a:lnTo>
                      <a:cubicBezTo>
                        <a:pt x="199252" y="-949"/>
                        <a:pt x="203318" y="151"/>
                        <a:pt x="205184" y="3347"/>
                      </a:cubicBezTo>
                      <a:cubicBezTo>
                        <a:pt x="207026" y="6544"/>
                        <a:pt x="205926" y="10610"/>
                        <a:pt x="202730" y="12476"/>
                      </a:cubicBezTo>
                      <a:lnTo>
                        <a:pt x="10021" y="123739"/>
                      </a:lnTo>
                      <a:cubicBezTo>
                        <a:pt x="8947" y="124352"/>
                        <a:pt x="7797" y="124634"/>
                        <a:pt x="6672" y="124634"/>
                      </a:cubicBezTo>
                      <a:close/>
                    </a:path>
                  </a:pathLst>
                </a:custGeom>
                <a:solidFill>
                  <a:schemeClr val="accent1"/>
                </a:solidFill>
                <a:ln w="2553" cap="flat">
                  <a:noFill/>
                  <a:prstDash val="solid"/>
                  <a:miter/>
                </a:ln>
              </p:spPr>
              <p:txBody>
                <a:bodyPr rtlCol="0" anchor="ctr"/>
                <a:lstStyle/>
                <a:p>
                  <a:endParaRPr lang="en-GB" dirty="0"/>
                </a:p>
              </p:txBody>
            </p:sp>
          </p:grpSp>
        </p:grpSp>
      </p:grpSp>
      <p:grpSp>
        <p:nvGrpSpPr>
          <p:cNvPr id="30" name="Group 29">
            <a:extLst>
              <a:ext uri="{FF2B5EF4-FFF2-40B4-BE49-F238E27FC236}">
                <a16:creationId xmlns:a16="http://schemas.microsoft.com/office/drawing/2014/main" id="{21CCA177-1FAF-A771-9DF8-14E16CDE8B8A}"/>
              </a:ext>
            </a:extLst>
          </p:cNvPr>
          <p:cNvGrpSpPr/>
          <p:nvPr/>
        </p:nvGrpSpPr>
        <p:grpSpPr>
          <a:xfrm>
            <a:off x="1526332" y="3197068"/>
            <a:ext cx="626281" cy="432003"/>
            <a:chOff x="1526332" y="3197068"/>
            <a:chExt cx="626281" cy="432003"/>
          </a:xfrm>
        </p:grpSpPr>
        <p:grpSp>
          <p:nvGrpSpPr>
            <p:cNvPr id="233" name="Grafik 313">
              <a:extLst>
                <a:ext uri="{FF2B5EF4-FFF2-40B4-BE49-F238E27FC236}">
                  <a16:creationId xmlns:a16="http://schemas.microsoft.com/office/drawing/2014/main" id="{61BB56C5-02C0-464B-8953-68187FF07550}"/>
                </a:ext>
              </a:extLst>
            </p:cNvPr>
            <p:cNvGrpSpPr/>
            <p:nvPr/>
          </p:nvGrpSpPr>
          <p:grpSpPr>
            <a:xfrm>
              <a:off x="1526332" y="3197068"/>
              <a:ext cx="401338" cy="384061"/>
              <a:chOff x="6144041" y="2558299"/>
              <a:chExt cx="300364" cy="287434"/>
            </a:xfrm>
            <a:solidFill>
              <a:schemeClr val="tx2"/>
            </a:solidFill>
          </p:grpSpPr>
          <p:sp>
            <p:nvSpPr>
              <p:cNvPr id="239" name="Freihandform: Form 880">
                <a:extLst>
                  <a:ext uri="{FF2B5EF4-FFF2-40B4-BE49-F238E27FC236}">
                    <a16:creationId xmlns:a16="http://schemas.microsoft.com/office/drawing/2014/main" id="{3DA1CAC3-21E9-41A8-B2E9-CAEE99A4F62A}"/>
                  </a:ext>
                </a:extLst>
              </p:cNvPr>
              <p:cNvSpPr/>
              <p:nvPr/>
            </p:nvSpPr>
            <p:spPr>
              <a:xfrm>
                <a:off x="6144041" y="2645073"/>
                <a:ext cx="13348" cy="93438"/>
              </a:xfrm>
              <a:custGeom>
                <a:avLst/>
                <a:gdLst>
                  <a:gd name="connsiteX0" fmla="*/ 6674 w 13348"/>
                  <a:gd name="connsiteY0" fmla="*/ 93439 h 93438"/>
                  <a:gd name="connsiteX1" fmla="*/ 0 w 13348"/>
                  <a:gd name="connsiteY1" fmla="*/ 86765 h 93438"/>
                  <a:gd name="connsiteX2" fmla="*/ 0 w 13348"/>
                  <a:gd name="connsiteY2" fmla="*/ 6674 h 93438"/>
                  <a:gd name="connsiteX3" fmla="*/ 6674 w 13348"/>
                  <a:gd name="connsiteY3" fmla="*/ 0 h 93438"/>
                  <a:gd name="connsiteX4" fmla="*/ 13348 w 13348"/>
                  <a:gd name="connsiteY4" fmla="*/ 6674 h 93438"/>
                  <a:gd name="connsiteX5" fmla="*/ 13348 w 13348"/>
                  <a:gd name="connsiteY5" fmla="*/ 86765 h 93438"/>
                  <a:gd name="connsiteX6" fmla="*/ 6674 w 13348"/>
                  <a:gd name="connsiteY6" fmla="*/ 93439 h 93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93438">
                    <a:moveTo>
                      <a:pt x="6674" y="93439"/>
                    </a:moveTo>
                    <a:cubicBezTo>
                      <a:pt x="2992" y="93439"/>
                      <a:pt x="0" y="90447"/>
                      <a:pt x="0" y="86765"/>
                    </a:cubicBezTo>
                    <a:lnTo>
                      <a:pt x="0" y="6674"/>
                    </a:lnTo>
                    <a:cubicBezTo>
                      <a:pt x="0" y="2992"/>
                      <a:pt x="2992" y="0"/>
                      <a:pt x="6674" y="0"/>
                    </a:cubicBezTo>
                    <a:cubicBezTo>
                      <a:pt x="10356" y="0"/>
                      <a:pt x="13348" y="2992"/>
                      <a:pt x="13348" y="6674"/>
                    </a:cubicBezTo>
                    <a:lnTo>
                      <a:pt x="13348" y="86765"/>
                    </a:lnTo>
                    <a:cubicBezTo>
                      <a:pt x="13348" y="90473"/>
                      <a:pt x="10382" y="93439"/>
                      <a:pt x="6674" y="93439"/>
                    </a:cubicBezTo>
                    <a:close/>
                  </a:path>
                </a:pathLst>
              </a:custGeom>
              <a:grpFill/>
              <a:ln w="2553" cap="flat">
                <a:noFill/>
                <a:prstDash val="solid"/>
                <a:miter/>
              </a:ln>
            </p:spPr>
            <p:txBody>
              <a:bodyPr rtlCol="0" anchor="ctr"/>
              <a:lstStyle/>
              <a:p>
                <a:endParaRPr lang="en-GB" dirty="0"/>
              </a:p>
            </p:txBody>
          </p:sp>
          <p:sp>
            <p:nvSpPr>
              <p:cNvPr id="240" name="Freihandform: Form 881">
                <a:extLst>
                  <a:ext uri="{FF2B5EF4-FFF2-40B4-BE49-F238E27FC236}">
                    <a16:creationId xmlns:a16="http://schemas.microsoft.com/office/drawing/2014/main" id="{5FA5452B-968C-4578-B409-721F469E6256}"/>
                  </a:ext>
                </a:extLst>
              </p:cNvPr>
              <p:cNvSpPr/>
              <p:nvPr/>
            </p:nvSpPr>
            <p:spPr>
              <a:xfrm>
                <a:off x="6170763" y="2625050"/>
                <a:ext cx="100113" cy="133509"/>
              </a:xfrm>
              <a:custGeom>
                <a:avLst/>
                <a:gdLst>
                  <a:gd name="connsiteX0" fmla="*/ 93439 w 100113"/>
                  <a:gd name="connsiteY0" fmla="*/ 133510 h 133509"/>
                  <a:gd name="connsiteX1" fmla="*/ 6674 w 100113"/>
                  <a:gd name="connsiteY1" fmla="*/ 133510 h 133509"/>
                  <a:gd name="connsiteX2" fmla="*/ 0 w 100113"/>
                  <a:gd name="connsiteY2" fmla="*/ 126835 h 133509"/>
                  <a:gd name="connsiteX3" fmla="*/ 0 w 100113"/>
                  <a:gd name="connsiteY3" fmla="*/ 6674 h 133509"/>
                  <a:gd name="connsiteX4" fmla="*/ 6674 w 100113"/>
                  <a:gd name="connsiteY4" fmla="*/ 0 h 133509"/>
                  <a:gd name="connsiteX5" fmla="*/ 93439 w 100113"/>
                  <a:gd name="connsiteY5" fmla="*/ 0 h 133509"/>
                  <a:gd name="connsiteX6" fmla="*/ 100113 w 100113"/>
                  <a:gd name="connsiteY6" fmla="*/ 6674 h 133509"/>
                  <a:gd name="connsiteX7" fmla="*/ 100113 w 100113"/>
                  <a:gd name="connsiteY7" fmla="*/ 126810 h 133509"/>
                  <a:gd name="connsiteX8" fmla="*/ 93439 w 100113"/>
                  <a:gd name="connsiteY8" fmla="*/ 133510 h 133509"/>
                  <a:gd name="connsiteX9" fmla="*/ 13348 w 100113"/>
                  <a:gd name="connsiteY9" fmla="*/ 120161 h 133509"/>
                  <a:gd name="connsiteX10" fmla="*/ 86765 w 100113"/>
                  <a:gd name="connsiteY10" fmla="*/ 120161 h 133509"/>
                  <a:gd name="connsiteX11" fmla="*/ 86765 w 100113"/>
                  <a:gd name="connsiteY11" fmla="*/ 13374 h 133509"/>
                  <a:gd name="connsiteX12" fmla="*/ 13348 w 100113"/>
                  <a:gd name="connsiteY12" fmla="*/ 13374 h 133509"/>
                  <a:gd name="connsiteX13" fmla="*/ 13348 w 100113"/>
                  <a:gd name="connsiteY13" fmla="*/ 120161 h 133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113" h="133509">
                    <a:moveTo>
                      <a:pt x="93439" y="133510"/>
                    </a:moveTo>
                    <a:lnTo>
                      <a:pt x="6674" y="133510"/>
                    </a:lnTo>
                    <a:cubicBezTo>
                      <a:pt x="2992" y="133510"/>
                      <a:pt x="0" y="130518"/>
                      <a:pt x="0" y="126835"/>
                    </a:cubicBezTo>
                    <a:lnTo>
                      <a:pt x="0" y="6674"/>
                    </a:lnTo>
                    <a:cubicBezTo>
                      <a:pt x="0" y="2992"/>
                      <a:pt x="2992" y="0"/>
                      <a:pt x="6674" y="0"/>
                    </a:cubicBezTo>
                    <a:lnTo>
                      <a:pt x="93439" y="0"/>
                    </a:lnTo>
                    <a:cubicBezTo>
                      <a:pt x="97121" y="0"/>
                      <a:pt x="100113" y="2992"/>
                      <a:pt x="100113" y="6674"/>
                    </a:cubicBezTo>
                    <a:lnTo>
                      <a:pt x="100113" y="126810"/>
                    </a:lnTo>
                    <a:cubicBezTo>
                      <a:pt x="100113" y="130518"/>
                      <a:pt x="97121" y="133510"/>
                      <a:pt x="93439" y="133510"/>
                    </a:cubicBezTo>
                    <a:close/>
                    <a:moveTo>
                      <a:pt x="13348" y="120161"/>
                    </a:moveTo>
                    <a:lnTo>
                      <a:pt x="86765" y="120161"/>
                    </a:lnTo>
                    <a:lnTo>
                      <a:pt x="86765" y="13374"/>
                    </a:lnTo>
                    <a:lnTo>
                      <a:pt x="13348" y="13374"/>
                    </a:lnTo>
                    <a:lnTo>
                      <a:pt x="13348" y="120161"/>
                    </a:lnTo>
                    <a:close/>
                  </a:path>
                </a:pathLst>
              </a:custGeom>
              <a:grpFill/>
              <a:ln w="2553" cap="flat">
                <a:noFill/>
                <a:prstDash val="solid"/>
                <a:miter/>
              </a:ln>
            </p:spPr>
            <p:txBody>
              <a:bodyPr rtlCol="0" anchor="ctr"/>
              <a:lstStyle/>
              <a:p>
                <a:endParaRPr lang="en-GB" dirty="0"/>
              </a:p>
            </p:txBody>
          </p:sp>
          <p:sp>
            <p:nvSpPr>
              <p:cNvPr id="241" name="Freihandform: Form 882">
                <a:extLst>
                  <a:ext uri="{FF2B5EF4-FFF2-40B4-BE49-F238E27FC236}">
                    <a16:creationId xmlns:a16="http://schemas.microsoft.com/office/drawing/2014/main" id="{A9DACEE6-8500-41E4-B1CE-AB0BDAA6F5A8}"/>
                  </a:ext>
                </a:extLst>
              </p:cNvPr>
              <p:cNvSpPr/>
              <p:nvPr/>
            </p:nvSpPr>
            <p:spPr>
              <a:xfrm>
                <a:off x="6257528" y="2558299"/>
                <a:ext cx="186877" cy="238260"/>
              </a:xfrm>
              <a:custGeom>
                <a:avLst/>
                <a:gdLst>
                  <a:gd name="connsiteX0" fmla="*/ 116453 w 186877"/>
                  <a:gd name="connsiteY0" fmla="*/ 238261 h 238260"/>
                  <a:gd name="connsiteX1" fmla="*/ 114280 w 186877"/>
                  <a:gd name="connsiteY1" fmla="*/ 237877 h 238260"/>
                  <a:gd name="connsiteX2" fmla="*/ 4501 w 186877"/>
                  <a:gd name="connsiteY2" fmla="*/ 199878 h 238260"/>
                  <a:gd name="connsiteX3" fmla="*/ 0 w 186877"/>
                  <a:gd name="connsiteY3" fmla="*/ 193561 h 238260"/>
                  <a:gd name="connsiteX4" fmla="*/ 0 w 186877"/>
                  <a:gd name="connsiteY4" fmla="*/ 73426 h 238260"/>
                  <a:gd name="connsiteX5" fmla="*/ 4270 w 186877"/>
                  <a:gd name="connsiteY5" fmla="*/ 67186 h 238260"/>
                  <a:gd name="connsiteX6" fmla="*/ 177825 w 186877"/>
                  <a:gd name="connsiteY6" fmla="*/ 444 h 238260"/>
                  <a:gd name="connsiteX7" fmla="*/ 183988 w 186877"/>
                  <a:gd name="connsiteY7" fmla="*/ 1186 h 238260"/>
                  <a:gd name="connsiteX8" fmla="*/ 186878 w 186877"/>
                  <a:gd name="connsiteY8" fmla="*/ 6684 h 238260"/>
                  <a:gd name="connsiteX9" fmla="*/ 186878 w 186877"/>
                  <a:gd name="connsiteY9" fmla="*/ 163131 h 238260"/>
                  <a:gd name="connsiteX10" fmla="*/ 180204 w 186877"/>
                  <a:gd name="connsiteY10" fmla="*/ 169805 h 238260"/>
                  <a:gd name="connsiteX11" fmla="*/ 173529 w 186877"/>
                  <a:gd name="connsiteY11" fmla="*/ 163131 h 238260"/>
                  <a:gd name="connsiteX12" fmla="*/ 173529 w 186877"/>
                  <a:gd name="connsiteY12" fmla="*/ 16401 h 238260"/>
                  <a:gd name="connsiteX13" fmla="*/ 13323 w 186877"/>
                  <a:gd name="connsiteY13" fmla="*/ 78003 h 238260"/>
                  <a:gd name="connsiteX14" fmla="*/ 13323 w 186877"/>
                  <a:gd name="connsiteY14" fmla="*/ 188805 h 238260"/>
                  <a:gd name="connsiteX15" fmla="*/ 118627 w 186877"/>
                  <a:gd name="connsiteY15" fmla="*/ 225245 h 238260"/>
                  <a:gd name="connsiteX16" fmla="*/ 122744 w 186877"/>
                  <a:gd name="connsiteY16" fmla="*/ 233734 h 238260"/>
                  <a:gd name="connsiteX17" fmla="*/ 116453 w 186877"/>
                  <a:gd name="connsiteY17" fmla="*/ 238261 h 23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6877" h="238260">
                    <a:moveTo>
                      <a:pt x="116453" y="238261"/>
                    </a:moveTo>
                    <a:cubicBezTo>
                      <a:pt x="115737" y="238261"/>
                      <a:pt x="114996" y="238133"/>
                      <a:pt x="114280" y="237877"/>
                    </a:cubicBezTo>
                    <a:lnTo>
                      <a:pt x="4501" y="199878"/>
                    </a:lnTo>
                    <a:cubicBezTo>
                      <a:pt x="1816" y="198957"/>
                      <a:pt x="0" y="196425"/>
                      <a:pt x="0" y="193561"/>
                    </a:cubicBezTo>
                    <a:lnTo>
                      <a:pt x="0" y="73426"/>
                    </a:lnTo>
                    <a:cubicBezTo>
                      <a:pt x="0" y="70664"/>
                      <a:pt x="1713" y="68184"/>
                      <a:pt x="4270" y="67186"/>
                    </a:cubicBezTo>
                    <a:lnTo>
                      <a:pt x="177825" y="444"/>
                    </a:lnTo>
                    <a:cubicBezTo>
                      <a:pt x="179871" y="-349"/>
                      <a:pt x="182173" y="-67"/>
                      <a:pt x="183988" y="1186"/>
                    </a:cubicBezTo>
                    <a:cubicBezTo>
                      <a:pt x="185804" y="2439"/>
                      <a:pt x="186878" y="4484"/>
                      <a:pt x="186878" y="6684"/>
                    </a:cubicBezTo>
                    <a:lnTo>
                      <a:pt x="186878" y="163131"/>
                    </a:lnTo>
                    <a:cubicBezTo>
                      <a:pt x="186878" y="166813"/>
                      <a:pt x="183886" y="169805"/>
                      <a:pt x="180204" y="169805"/>
                    </a:cubicBezTo>
                    <a:cubicBezTo>
                      <a:pt x="176521" y="169805"/>
                      <a:pt x="173529" y="166813"/>
                      <a:pt x="173529" y="163131"/>
                    </a:cubicBezTo>
                    <a:lnTo>
                      <a:pt x="173529" y="16401"/>
                    </a:lnTo>
                    <a:lnTo>
                      <a:pt x="13323" y="78003"/>
                    </a:lnTo>
                    <a:lnTo>
                      <a:pt x="13323" y="188805"/>
                    </a:lnTo>
                    <a:lnTo>
                      <a:pt x="118627" y="225245"/>
                    </a:lnTo>
                    <a:cubicBezTo>
                      <a:pt x="122105" y="226447"/>
                      <a:pt x="123946" y="230257"/>
                      <a:pt x="122744" y="233734"/>
                    </a:cubicBezTo>
                    <a:cubicBezTo>
                      <a:pt x="121798" y="236522"/>
                      <a:pt x="119215" y="238261"/>
                      <a:pt x="116453" y="238261"/>
                    </a:cubicBezTo>
                    <a:close/>
                  </a:path>
                </a:pathLst>
              </a:custGeom>
              <a:grpFill/>
              <a:ln w="2553" cap="flat">
                <a:noFill/>
                <a:prstDash val="solid"/>
                <a:miter/>
              </a:ln>
            </p:spPr>
            <p:txBody>
              <a:bodyPr rtlCol="0" anchor="ctr"/>
              <a:lstStyle/>
              <a:p>
                <a:endParaRPr lang="en-GB" dirty="0"/>
              </a:p>
            </p:txBody>
          </p:sp>
          <p:sp>
            <p:nvSpPr>
              <p:cNvPr id="242" name="Freihandform: Form 883">
                <a:extLst>
                  <a:ext uri="{FF2B5EF4-FFF2-40B4-BE49-F238E27FC236}">
                    <a16:creationId xmlns:a16="http://schemas.microsoft.com/office/drawing/2014/main" id="{6F7B0C8E-A849-4048-9AD6-0B22FD6C1A93}"/>
                  </a:ext>
                </a:extLst>
              </p:cNvPr>
              <p:cNvSpPr/>
              <p:nvPr/>
            </p:nvSpPr>
            <p:spPr>
              <a:xfrm>
                <a:off x="6187513" y="2752064"/>
                <a:ext cx="66619" cy="93669"/>
              </a:xfrm>
              <a:custGeom>
                <a:avLst/>
                <a:gdLst>
                  <a:gd name="connsiteX0" fmla="*/ 20508 w 66619"/>
                  <a:gd name="connsiteY0" fmla="*/ 93669 h 93669"/>
                  <a:gd name="connsiteX1" fmla="*/ 16647 w 66619"/>
                  <a:gd name="connsiteY1" fmla="*/ 92442 h 93669"/>
                  <a:gd name="connsiteX2" fmla="*/ 13911 w 66619"/>
                  <a:gd name="connsiteY2" fmla="*/ 88069 h 93669"/>
                  <a:gd name="connsiteX3" fmla="*/ 0 w 66619"/>
                  <a:gd name="connsiteY3" fmla="*/ 2122 h 93669"/>
                  <a:gd name="connsiteX4" fmla="*/ 13169 w 66619"/>
                  <a:gd name="connsiteY4" fmla="*/ 0 h 93669"/>
                  <a:gd name="connsiteX5" fmla="*/ 26006 w 66619"/>
                  <a:gd name="connsiteY5" fmla="*/ 79247 h 93669"/>
                  <a:gd name="connsiteX6" fmla="*/ 52320 w 66619"/>
                  <a:gd name="connsiteY6" fmla="*/ 74618 h 93669"/>
                  <a:gd name="connsiteX7" fmla="*/ 43370 w 66619"/>
                  <a:gd name="connsiteY7" fmla="*/ 17951 h 93669"/>
                  <a:gd name="connsiteX8" fmla="*/ 56565 w 66619"/>
                  <a:gd name="connsiteY8" fmla="*/ 15880 h 93669"/>
                  <a:gd name="connsiteX9" fmla="*/ 66537 w 66619"/>
                  <a:gd name="connsiteY9" fmla="*/ 79016 h 93669"/>
                  <a:gd name="connsiteX10" fmla="*/ 61116 w 66619"/>
                  <a:gd name="connsiteY10" fmla="*/ 86637 h 93669"/>
                  <a:gd name="connsiteX11" fmla="*/ 21685 w 66619"/>
                  <a:gd name="connsiteY11" fmla="*/ 93592 h 93669"/>
                  <a:gd name="connsiteX12" fmla="*/ 20508 w 66619"/>
                  <a:gd name="connsiteY12" fmla="*/ 93669 h 93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619" h="93669">
                    <a:moveTo>
                      <a:pt x="20508" y="93669"/>
                    </a:moveTo>
                    <a:cubicBezTo>
                      <a:pt x="19128" y="93669"/>
                      <a:pt x="17772" y="93234"/>
                      <a:pt x="16647" y="92442"/>
                    </a:cubicBezTo>
                    <a:cubicBezTo>
                      <a:pt x="15190" y="91419"/>
                      <a:pt x="14218" y="89833"/>
                      <a:pt x="13911" y="88069"/>
                    </a:cubicBezTo>
                    <a:lnTo>
                      <a:pt x="0" y="2122"/>
                    </a:lnTo>
                    <a:lnTo>
                      <a:pt x="13169" y="0"/>
                    </a:lnTo>
                    <a:lnTo>
                      <a:pt x="26006" y="79247"/>
                    </a:lnTo>
                    <a:lnTo>
                      <a:pt x="52320" y="74618"/>
                    </a:lnTo>
                    <a:lnTo>
                      <a:pt x="43370" y="17951"/>
                    </a:lnTo>
                    <a:lnTo>
                      <a:pt x="56565" y="15880"/>
                    </a:lnTo>
                    <a:lnTo>
                      <a:pt x="66537" y="79016"/>
                    </a:lnTo>
                    <a:cubicBezTo>
                      <a:pt x="67100" y="82622"/>
                      <a:pt x="64696" y="85998"/>
                      <a:pt x="61116" y="86637"/>
                    </a:cubicBezTo>
                    <a:lnTo>
                      <a:pt x="21685" y="93592"/>
                    </a:lnTo>
                    <a:cubicBezTo>
                      <a:pt x="21276" y="93643"/>
                      <a:pt x="20892" y="93669"/>
                      <a:pt x="20508" y="93669"/>
                    </a:cubicBezTo>
                    <a:close/>
                  </a:path>
                </a:pathLst>
              </a:custGeom>
              <a:grpFill/>
              <a:ln w="2553" cap="flat">
                <a:noFill/>
                <a:prstDash val="solid"/>
                <a:miter/>
              </a:ln>
            </p:spPr>
            <p:txBody>
              <a:bodyPr rtlCol="0" anchor="ctr"/>
              <a:lstStyle/>
              <a:p>
                <a:endParaRPr lang="en-GB" dirty="0"/>
              </a:p>
            </p:txBody>
          </p:sp>
        </p:grpSp>
        <p:grpSp>
          <p:nvGrpSpPr>
            <p:cNvPr id="234" name="Gruppieren 1105">
              <a:extLst>
                <a:ext uri="{FF2B5EF4-FFF2-40B4-BE49-F238E27FC236}">
                  <a16:creationId xmlns:a16="http://schemas.microsoft.com/office/drawing/2014/main" id="{C4362784-7A65-4FCF-A0FE-06B994C4F148}"/>
                </a:ext>
              </a:extLst>
            </p:cNvPr>
            <p:cNvGrpSpPr/>
            <p:nvPr/>
          </p:nvGrpSpPr>
          <p:grpSpPr>
            <a:xfrm>
              <a:off x="1805893" y="3308013"/>
              <a:ext cx="346720" cy="321058"/>
              <a:chOff x="6353275" y="2641329"/>
              <a:chExt cx="259488" cy="240282"/>
            </a:xfrm>
          </p:grpSpPr>
          <p:grpSp>
            <p:nvGrpSpPr>
              <p:cNvPr id="235" name="Grafik 313">
                <a:extLst>
                  <a:ext uri="{FF2B5EF4-FFF2-40B4-BE49-F238E27FC236}">
                    <a16:creationId xmlns:a16="http://schemas.microsoft.com/office/drawing/2014/main" id="{71E16247-BA8D-4ABE-99DF-70833C961D2D}"/>
                  </a:ext>
                </a:extLst>
              </p:cNvPr>
              <p:cNvGrpSpPr/>
              <p:nvPr/>
            </p:nvGrpSpPr>
            <p:grpSpPr>
              <a:xfrm>
                <a:off x="6353275" y="2734753"/>
                <a:ext cx="259488" cy="146858"/>
                <a:chOff x="6353275" y="2734753"/>
                <a:chExt cx="259488" cy="146858"/>
              </a:xfrm>
              <a:solidFill>
                <a:schemeClr val="accent1"/>
              </a:solidFill>
            </p:grpSpPr>
            <p:sp>
              <p:nvSpPr>
                <p:cNvPr id="237" name="Freihandform: Form 885">
                  <a:extLst>
                    <a:ext uri="{FF2B5EF4-FFF2-40B4-BE49-F238E27FC236}">
                      <a16:creationId xmlns:a16="http://schemas.microsoft.com/office/drawing/2014/main" id="{336F3AD6-9615-4412-9B37-70C61E1AF2B2}"/>
                    </a:ext>
                  </a:extLst>
                </p:cNvPr>
                <p:cNvSpPr/>
                <p:nvPr/>
              </p:nvSpPr>
              <p:spPr>
                <a:xfrm>
                  <a:off x="6353275" y="2734753"/>
                  <a:ext cx="259488" cy="146858"/>
                </a:xfrm>
                <a:custGeom>
                  <a:avLst/>
                  <a:gdLst>
                    <a:gd name="connsiteX0" fmla="*/ 129744 w 259488"/>
                    <a:gd name="connsiteY0" fmla="*/ 146858 h 146858"/>
                    <a:gd name="connsiteX1" fmla="*/ 1093 w 259488"/>
                    <a:gd name="connsiteY1" fmla="*/ 77073 h 146858"/>
                    <a:gd name="connsiteX2" fmla="*/ 1093 w 259488"/>
                    <a:gd name="connsiteY2" fmla="*/ 69785 h 146858"/>
                    <a:gd name="connsiteX3" fmla="*/ 129744 w 259488"/>
                    <a:gd name="connsiteY3" fmla="*/ 0 h 146858"/>
                    <a:gd name="connsiteX4" fmla="*/ 258395 w 259488"/>
                    <a:gd name="connsiteY4" fmla="*/ 69785 h 146858"/>
                    <a:gd name="connsiteX5" fmla="*/ 258395 w 259488"/>
                    <a:gd name="connsiteY5" fmla="*/ 77073 h 146858"/>
                    <a:gd name="connsiteX6" fmla="*/ 129744 w 259488"/>
                    <a:gd name="connsiteY6" fmla="*/ 146858 h 146858"/>
                    <a:gd name="connsiteX7" fmla="*/ 14748 w 259488"/>
                    <a:gd name="connsiteY7" fmla="*/ 73442 h 146858"/>
                    <a:gd name="connsiteX8" fmla="*/ 129744 w 259488"/>
                    <a:gd name="connsiteY8" fmla="*/ 133510 h 146858"/>
                    <a:gd name="connsiteX9" fmla="*/ 244740 w 259488"/>
                    <a:gd name="connsiteY9" fmla="*/ 73442 h 146858"/>
                    <a:gd name="connsiteX10" fmla="*/ 129744 w 259488"/>
                    <a:gd name="connsiteY10" fmla="*/ 13374 h 146858"/>
                    <a:gd name="connsiteX11" fmla="*/ 14748 w 259488"/>
                    <a:gd name="connsiteY11" fmla="*/ 73442 h 146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488" h="146858">
                      <a:moveTo>
                        <a:pt x="129744" y="146858"/>
                      </a:moveTo>
                      <a:cubicBezTo>
                        <a:pt x="77680" y="146858"/>
                        <a:pt x="29606" y="120775"/>
                        <a:pt x="1093" y="77073"/>
                      </a:cubicBezTo>
                      <a:cubicBezTo>
                        <a:pt x="-364" y="74848"/>
                        <a:pt x="-364" y="71984"/>
                        <a:pt x="1093" y="69785"/>
                      </a:cubicBezTo>
                      <a:cubicBezTo>
                        <a:pt x="29580" y="26083"/>
                        <a:pt x="77680" y="0"/>
                        <a:pt x="129744" y="0"/>
                      </a:cubicBezTo>
                      <a:cubicBezTo>
                        <a:pt x="181808" y="0"/>
                        <a:pt x="229883" y="26083"/>
                        <a:pt x="258395" y="69785"/>
                      </a:cubicBezTo>
                      <a:cubicBezTo>
                        <a:pt x="259853" y="72010"/>
                        <a:pt x="259853" y="74874"/>
                        <a:pt x="258395" y="77073"/>
                      </a:cubicBezTo>
                      <a:cubicBezTo>
                        <a:pt x="229883" y="120775"/>
                        <a:pt x="181783" y="146858"/>
                        <a:pt x="129744" y="146858"/>
                      </a:cubicBezTo>
                      <a:close/>
                      <a:moveTo>
                        <a:pt x="14748" y="73442"/>
                      </a:moveTo>
                      <a:cubicBezTo>
                        <a:pt x="41036" y="111134"/>
                        <a:pt x="83690" y="133510"/>
                        <a:pt x="129744" y="133510"/>
                      </a:cubicBezTo>
                      <a:cubicBezTo>
                        <a:pt x="175799" y="133510"/>
                        <a:pt x="218478" y="111134"/>
                        <a:pt x="244740" y="73442"/>
                      </a:cubicBezTo>
                      <a:cubicBezTo>
                        <a:pt x="218452" y="35749"/>
                        <a:pt x="175799" y="13374"/>
                        <a:pt x="129744" y="13374"/>
                      </a:cubicBezTo>
                      <a:cubicBezTo>
                        <a:pt x="83690" y="13374"/>
                        <a:pt x="41011" y="35749"/>
                        <a:pt x="14748" y="73442"/>
                      </a:cubicBezTo>
                      <a:close/>
                    </a:path>
                  </a:pathLst>
                </a:custGeom>
                <a:solidFill>
                  <a:schemeClr val="accent1"/>
                </a:solidFill>
                <a:ln w="2553" cap="flat">
                  <a:noFill/>
                  <a:prstDash val="solid"/>
                  <a:miter/>
                </a:ln>
              </p:spPr>
              <p:txBody>
                <a:bodyPr rtlCol="0" anchor="ctr"/>
                <a:lstStyle/>
                <a:p>
                  <a:endParaRPr lang="en-GB" dirty="0"/>
                </a:p>
              </p:txBody>
            </p:sp>
            <p:sp>
              <p:nvSpPr>
                <p:cNvPr id="238" name="Freihandform: Form 886">
                  <a:extLst>
                    <a:ext uri="{FF2B5EF4-FFF2-40B4-BE49-F238E27FC236}">
                      <a16:creationId xmlns:a16="http://schemas.microsoft.com/office/drawing/2014/main" id="{67BF48D9-3366-4900-A662-163EE2940680}"/>
                    </a:ext>
                  </a:extLst>
                </p:cNvPr>
                <p:cNvSpPr/>
                <p:nvPr/>
              </p:nvSpPr>
              <p:spPr>
                <a:xfrm>
                  <a:off x="6442974" y="2768149"/>
                  <a:ext cx="80090" cy="80090"/>
                </a:xfrm>
                <a:custGeom>
                  <a:avLst/>
                  <a:gdLst>
                    <a:gd name="connsiteX0" fmla="*/ 40045 w 80090"/>
                    <a:gd name="connsiteY0" fmla="*/ 80090 h 80090"/>
                    <a:gd name="connsiteX1" fmla="*/ 0 w 80090"/>
                    <a:gd name="connsiteY1" fmla="*/ 40045 h 80090"/>
                    <a:gd name="connsiteX2" fmla="*/ 40045 w 80090"/>
                    <a:gd name="connsiteY2" fmla="*/ 0 h 80090"/>
                    <a:gd name="connsiteX3" fmla="*/ 80090 w 80090"/>
                    <a:gd name="connsiteY3" fmla="*/ 40045 h 80090"/>
                    <a:gd name="connsiteX4" fmla="*/ 40045 w 80090"/>
                    <a:gd name="connsiteY4" fmla="*/ 80090 h 80090"/>
                    <a:gd name="connsiteX5" fmla="*/ 40045 w 80090"/>
                    <a:gd name="connsiteY5" fmla="*/ 13348 h 80090"/>
                    <a:gd name="connsiteX6" fmla="*/ 13348 w 80090"/>
                    <a:gd name="connsiteY6" fmla="*/ 40045 h 80090"/>
                    <a:gd name="connsiteX7" fmla="*/ 40045 w 80090"/>
                    <a:gd name="connsiteY7" fmla="*/ 66742 h 80090"/>
                    <a:gd name="connsiteX8" fmla="*/ 66742 w 80090"/>
                    <a:gd name="connsiteY8" fmla="*/ 40045 h 80090"/>
                    <a:gd name="connsiteX9" fmla="*/ 40045 w 80090"/>
                    <a:gd name="connsiteY9" fmla="*/ 13348 h 80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90" h="80090">
                      <a:moveTo>
                        <a:pt x="40045" y="80090"/>
                      </a:moveTo>
                      <a:cubicBezTo>
                        <a:pt x="17951" y="80090"/>
                        <a:pt x="0" y="62114"/>
                        <a:pt x="0" y="40045"/>
                      </a:cubicBezTo>
                      <a:cubicBezTo>
                        <a:pt x="0" y="17951"/>
                        <a:pt x="17977" y="0"/>
                        <a:pt x="40045" y="0"/>
                      </a:cubicBezTo>
                      <a:cubicBezTo>
                        <a:pt x="62139" y="0"/>
                        <a:pt x="80090" y="17977"/>
                        <a:pt x="80090" y="40045"/>
                      </a:cubicBezTo>
                      <a:cubicBezTo>
                        <a:pt x="80090" y="62139"/>
                        <a:pt x="62114" y="80090"/>
                        <a:pt x="40045" y="80090"/>
                      </a:cubicBezTo>
                      <a:close/>
                      <a:moveTo>
                        <a:pt x="40045" y="13348"/>
                      </a:moveTo>
                      <a:cubicBezTo>
                        <a:pt x="25316" y="13348"/>
                        <a:pt x="13348" y="25316"/>
                        <a:pt x="13348" y="40045"/>
                      </a:cubicBezTo>
                      <a:cubicBezTo>
                        <a:pt x="13348" y="54774"/>
                        <a:pt x="25316" y="66742"/>
                        <a:pt x="40045" y="66742"/>
                      </a:cubicBezTo>
                      <a:cubicBezTo>
                        <a:pt x="54774" y="66742"/>
                        <a:pt x="66742" y="54774"/>
                        <a:pt x="66742" y="40045"/>
                      </a:cubicBezTo>
                      <a:cubicBezTo>
                        <a:pt x="66742" y="25316"/>
                        <a:pt x="54749" y="13348"/>
                        <a:pt x="40045" y="13348"/>
                      </a:cubicBezTo>
                      <a:close/>
                    </a:path>
                  </a:pathLst>
                </a:custGeom>
                <a:solidFill>
                  <a:schemeClr val="accent1"/>
                </a:solidFill>
                <a:ln w="2553" cap="flat">
                  <a:noFill/>
                  <a:prstDash val="solid"/>
                  <a:miter/>
                </a:ln>
              </p:spPr>
              <p:txBody>
                <a:bodyPr rtlCol="0" anchor="ctr"/>
                <a:lstStyle/>
                <a:p>
                  <a:endParaRPr lang="en-GB" dirty="0"/>
                </a:p>
              </p:txBody>
            </p:sp>
          </p:grpSp>
          <p:sp>
            <p:nvSpPr>
              <p:cNvPr id="236" name="Freihandform: Form 887">
                <a:extLst>
                  <a:ext uri="{FF2B5EF4-FFF2-40B4-BE49-F238E27FC236}">
                    <a16:creationId xmlns:a16="http://schemas.microsoft.com/office/drawing/2014/main" id="{1B76CEC7-FB55-4E14-8F62-059E7EC53B86}"/>
                  </a:ext>
                </a:extLst>
              </p:cNvPr>
              <p:cNvSpPr/>
              <p:nvPr/>
            </p:nvSpPr>
            <p:spPr>
              <a:xfrm>
                <a:off x="6472222" y="2641329"/>
                <a:ext cx="139075" cy="71202"/>
              </a:xfrm>
              <a:custGeom>
                <a:avLst/>
                <a:gdLst>
                  <a:gd name="connsiteX0" fmla="*/ 6680 w 139075"/>
                  <a:gd name="connsiteY0" fmla="*/ 71202 h 71202"/>
                  <a:gd name="connsiteX1" fmla="*/ 1463 w 139075"/>
                  <a:gd name="connsiteY1" fmla="*/ 68696 h 71202"/>
                  <a:gd name="connsiteX2" fmla="*/ 2512 w 139075"/>
                  <a:gd name="connsiteY2" fmla="*/ 59311 h 71202"/>
                  <a:gd name="connsiteX3" fmla="*/ 41458 w 139075"/>
                  <a:gd name="connsiteY3" fmla="*/ 28165 h 71202"/>
                  <a:gd name="connsiteX4" fmla="*/ 48950 w 139075"/>
                  <a:gd name="connsiteY4" fmla="*/ 27577 h 71202"/>
                  <a:gd name="connsiteX5" fmla="*/ 90555 w 139075"/>
                  <a:gd name="connsiteY5" fmla="*/ 51359 h 71202"/>
                  <a:gd name="connsiteX6" fmla="*/ 127071 w 139075"/>
                  <a:gd name="connsiteY6" fmla="*/ 2670 h 71202"/>
                  <a:gd name="connsiteX7" fmla="*/ 136405 w 139075"/>
                  <a:gd name="connsiteY7" fmla="*/ 1340 h 71202"/>
                  <a:gd name="connsiteX8" fmla="*/ 137735 w 139075"/>
                  <a:gd name="connsiteY8" fmla="*/ 10674 h 71202"/>
                  <a:gd name="connsiteX9" fmla="*/ 97690 w 139075"/>
                  <a:gd name="connsiteY9" fmla="*/ 64068 h 71202"/>
                  <a:gd name="connsiteX10" fmla="*/ 89046 w 139075"/>
                  <a:gd name="connsiteY10" fmla="*/ 65858 h 71202"/>
                  <a:gd name="connsiteX11" fmla="*/ 46265 w 139075"/>
                  <a:gd name="connsiteY11" fmla="*/ 41411 h 71202"/>
                  <a:gd name="connsiteX12" fmla="*/ 10874 w 139075"/>
                  <a:gd name="connsiteY12" fmla="*/ 69719 h 71202"/>
                  <a:gd name="connsiteX13" fmla="*/ 6680 w 139075"/>
                  <a:gd name="connsiteY13" fmla="*/ 71202 h 71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9075" h="71202">
                    <a:moveTo>
                      <a:pt x="6680" y="71202"/>
                    </a:moveTo>
                    <a:cubicBezTo>
                      <a:pt x="4711" y="71202"/>
                      <a:pt x="2793" y="70333"/>
                      <a:pt x="1463" y="68696"/>
                    </a:cubicBezTo>
                    <a:cubicBezTo>
                      <a:pt x="-838" y="65806"/>
                      <a:pt x="-378" y="61613"/>
                      <a:pt x="2512" y="59311"/>
                    </a:cubicBezTo>
                    <a:lnTo>
                      <a:pt x="41458" y="28165"/>
                    </a:lnTo>
                    <a:cubicBezTo>
                      <a:pt x="43580" y="26452"/>
                      <a:pt x="46546" y="26222"/>
                      <a:pt x="48950" y="27577"/>
                    </a:cubicBezTo>
                    <a:lnTo>
                      <a:pt x="90555" y="51359"/>
                    </a:lnTo>
                    <a:lnTo>
                      <a:pt x="127071" y="2670"/>
                    </a:lnTo>
                    <a:cubicBezTo>
                      <a:pt x="129271" y="-271"/>
                      <a:pt x="133464" y="-884"/>
                      <a:pt x="136405" y="1340"/>
                    </a:cubicBezTo>
                    <a:cubicBezTo>
                      <a:pt x="139346" y="3540"/>
                      <a:pt x="139960" y="7733"/>
                      <a:pt x="137735" y="10674"/>
                    </a:cubicBezTo>
                    <a:lnTo>
                      <a:pt x="97690" y="64068"/>
                    </a:lnTo>
                    <a:cubicBezTo>
                      <a:pt x="95669" y="66753"/>
                      <a:pt x="91962" y="67520"/>
                      <a:pt x="89046" y="65858"/>
                    </a:cubicBezTo>
                    <a:lnTo>
                      <a:pt x="46265" y="41411"/>
                    </a:lnTo>
                    <a:lnTo>
                      <a:pt x="10874" y="69719"/>
                    </a:lnTo>
                    <a:cubicBezTo>
                      <a:pt x="9621" y="70716"/>
                      <a:pt x="8138" y="71202"/>
                      <a:pt x="6680" y="71202"/>
                    </a:cubicBezTo>
                    <a:close/>
                  </a:path>
                </a:pathLst>
              </a:custGeom>
              <a:solidFill>
                <a:schemeClr val="accent1"/>
              </a:solidFill>
              <a:ln w="2553" cap="flat">
                <a:noFill/>
                <a:prstDash val="solid"/>
                <a:miter/>
              </a:ln>
            </p:spPr>
            <p:txBody>
              <a:bodyPr rtlCol="0" anchor="ctr"/>
              <a:lstStyle/>
              <a:p>
                <a:endParaRPr lang="en-GB" dirty="0"/>
              </a:p>
            </p:txBody>
          </p:sp>
        </p:grpSp>
      </p:grpSp>
      <p:grpSp>
        <p:nvGrpSpPr>
          <p:cNvPr id="243" name="Gruppieren 1110">
            <a:extLst>
              <a:ext uri="{FF2B5EF4-FFF2-40B4-BE49-F238E27FC236}">
                <a16:creationId xmlns:a16="http://schemas.microsoft.com/office/drawing/2014/main" id="{E269CA20-6B58-41DD-966E-738ED73F98CA}"/>
              </a:ext>
            </a:extLst>
          </p:cNvPr>
          <p:cNvGrpSpPr>
            <a:grpSpLocks noChangeAspect="1"/>
          </p:cNvGrpSpPr>
          <p:nvPr/>
        </p:nvGrpSpPr>
        <p:grpSpPr>
          <a:xfrm>
            <a:off x="2668918" y="3197068"/>
            <a:ext cx="432000" cy="432000"/>
            <a:chOff x="7859465" y="2474458"/>
            <a:chExt cx="440523" cy="440523"/>
          </a:xfrm>
        </p:grpSpPr>
        <p:grpSp>
          <p:nvGrpSpPr>
            <p:cNvPr id="244" name="Grafik 313">
              <a:extLst>
                <a:ext uri="{FF2B5EF4-FFF2-40B4-BE49-F238E27FC236}">
                  <a16:creationId xmlns:a16="http://schemas.microsoft.com/office/drawing/2014/main" id="{B5D61DB5-4CB6-4EB0-A786-550A98732065}"/>
                </a:ext>
              </a:extLst>
            </p:cNvPr>
            <p:cNvGrpSpPr/>
            <p:nvPr/>
          </p:nvGrpSpPr>
          <p:grpSpPr>
            <a:xfrm>
              <a:off x="7906926" y="2611202"/>
              <a:ext cx="238813" cy="237037"/>
              <a:chOff x="7906926" y="2611202"/>
              <a:chExt cx="238813" cy="237037"/>
            </a:xfrm>
            <a:solidFill>
              <a:schemeClr val="accent1"/>
            </a:solidFill>
          </p:grpSpPr>
          <p:grpSp>
            <p:nvGrpSpPr>
              <p:cNvPr id="249" name="Grafik 313">
                <a:extLst>
                  <a:ext uri="{FF2B5EF4-FFF2-40B4-BE49-F238E27FC236}">
                    <a16:creationId xmlns:a16="http://schemas.microsoft.com/office/drawing/2014/main" id="{1E27AC5B-CFBE-499C-ADB6-A5194DC19392}"/>
                  </a:ext>
                </a:extLst>
              </p:cNvPr>
              <p:cNvGrpSpPr/>
              <p:nvPr/>
            </p:nvGrpSpPr>
            <p:grpSpPr>
              <a:xfrm>
                <a:off x="7906926" y="2741452"/>
                <a:ext cx="238813" cy="106787"/>
                <a:chOff x="7906926" y="2741452"/>
                <a:chExt cx="238813" cy="106787"/>
              </a:xfrm>
              <a:solidFill>
                <a:schemeClr val="accent1"/>
              </a:solidFill>
            </p:grpSpPr>
            <p:sp>
              <p:nvSpPr>
                <p:cNvPr id="251" name="Freihandform: Form 920">
                  <a:extLst>
                    <a:ext uri="{FF2B5EF4-FFF2-40B4-BE49-F238E27FC236}">
                      <a16:creationId xmlns:a16="http://schemas.microsoft.com/office/drawing/2014/main" id="{06349356-579E-4DDD-9937-EB603BBBCB34}"/>
                    </a:ext>
                  </a:extLst>
                </p:cNvPr>
                <p:cNvSpPr/>
                <p:nvPr/>
              </p:nvSpPr>
              <p:spPr>
                <a:xfrm>
                  <a:off x="7906952" y="2834891"/>
                  <a:ext cx="132742" cy="13348"/>
                </a:xfrm>
                <a:custGeom>
                  <a:avLst/>
                  <a:gdLst>
                    <a:gd name="connsiteX0" fmla="*/ 126068 w 132742"/>
                    <a:gd name="connsiteY0" fmla="*/ 13348 h 13348"/>
                    <a:gd name="connsiteX1" fmla="*/ 6674 w 132742"/>
                    <a:gd name="connsiteY1" fmla="*/ 13348 h 13348"/>
                    <a:gd name="connsiteX2" fmla="*/ 0 w 132742"/>
                    <a:gd name="connsiteY2" fmla="*/ 6674 h 13348"/>
                    <a:gd name="connsiteX3" fmla="*/ 6674 w 132742"/>
                    <a:gd name="connsiteY3" fmla="*/ 0 h 13348"/>
                    <a:gd name="connsiteX4" fmla="*/ 126068 w 132742"/>
                    <a:gd name="connsiteY4" fmla="*/ 0 h 13348"/>
                    <a:gd name="connsiteX5" fmla="*/ 132742 w 132742"/>
                    <a:gd name="connsiteY5" fmla="*/ 6674 h 13348"/>
                    <a:gd name="connsiteX6" fmla="*/ 126068 w 132742"/>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742" h="13348">
                      <a:moveTo>
                        <a:pt x="126068" y="13348"/>
                      </a:moveTo>
                      <a:lnTo>
                        <a:pt x="6674" y="13348"/>
                      </a:lnTo>
                      <a:cubicBezTo>
                        <a:pt x="2992" y="13348"/>
                        <a:pt x="0" y="10356"/>
                        <a:pt x="0" y="6674"/>
                      </a:cubicBezTo>
                      <a:cubicBezTo>
                        <a:pt x="0" y="2992"/>
                        <a:pt x="2992" y="0"/>
                        <a:pt x="6674" y="0"/>
                      </a:cubicBezTo>
                      <a:lnTo>
                        <a:pt x="126068" y="0"/>
                      </a:lnTo>
                      <a:cubicBezTo>
                        <a:pt x="129751" y="0"/>
                        <a:pt x="132742" y="2992"/>
                        <a:pt x="132742" y="6674"/>
                      </a:cubicBezTo>
                      <a:cubicBezTo>
                        <a:pt x="132742" y="10356"/>
                        <a:pt x="129751" y="13348"/>
                        <a:pt x="126068" y="13348"/>
                      </a:cubicBezTo>
                      <a:close/>
                    </a:path>
                  </a:pathLst>
                </a:custGeom>
                <a:solidFill>
                  <a:schemeClr val="accent1"/>
                </a:solidFill>
                <a:ln w="2553" cap="flat">
                  <a:noFill/>
                  <a:prstDash val="solid"/>
                  <a:miter/>
                </a:ln>
              </p:spPr>
              <p:txBody>
                <a:bodyPr rtlCol="0" anchor="ctr"/>
                <a:lstStyle/>
                <a:p>
                  <a:endParaRPr lang="en-GB" dirty="0"/>
                </a:p>
              </p:txBody>
            </p:sp>
            <p:sp>
              <p:nvSpPr>
                <p:cNvPr id="252" name="Freihandform: Form 921">
                  <a:extLst>
                    <a:ext uri="{FF2B5EF4-FFF2-40B4-BE49-F238E27FC236}">
                      <a16:creationId xmlns:a16="http://schemas.microsoft.com/office/drawing/2014/main" id="{D132F9D2-E8B9-4A92-ADE1-85FE54EC6229}"/>
                    </a:ext>
                  </a:extLst>
                </p:cNvPr>
                <p:cNvSpPr/>
                <p:nvPr/>
              </p:nvSpPr>
              <p:spPr>
                <a:xfrm>
                  <a:off x="7906926" y="2788172"/>
                  <a:ext cx="238813" cy="13348"/>
                </a:xfrm>
                <a:custGeom>
                  <a:avLst/>
                  <a:gdLst>
                    <a:gd name="connsiteX0" fmla="*/ 232139 w 238813"/>
                    <a:gd name="connsiteY0" fmla="*/ 13348 h 13348"/>
                    <a:gd name="connsiteX1" fmla="*/ 6674 w 238813"/>
                    <a:gd name="connsiteY1" fmla="*/ 13348 h 13348"/>
                    <a:gd name="connsiteX2" fmla="*/ 0 w 238813"/>
                    <a:gd name="connsiteY2" fmla="*/ 6674 h 13348"/>
                    <a:gd name="connsiteX3" fmla="*/ 6674 w 238813"/>
                    <a:gd name="connsiteY3" fmla="*/ 0 h 13348"/>
                    <a:gd name="connsiteX4" fmla="*/ 232139 w 238813"/>
                    <a:gd name="connsiteY4" fmla="*/ 0 h 13348"/>
                    <a:gd name="connsiteX5" fmla="*/ 238814 w 238813"/>
                    <a:gd name="connsiteY5" fmla="*/ 6674 h 13348"/>
                    <a:gd name="connsiteX6" fmla="*/ 232139 w 238813"/>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813" h="13348">
                      <a:moveTo>
                        <a:pt x="232139" y="13348"/>
                      </a:moveTo>
                      <a:lnTo>
                        <a:pt x="6674" y="13348"/>
                      </a:lnTo>
                      <a:cubicBezTo>
                        <a:pt x="2992" y="13348"/>
                        <a:pt x="0" y="10357"/>
                        <a:pt x="0" y="6674"/>
                      </a:cubicBezTo>
                      <a:cubicBezTo>
                        <a:pt x="0" y="2992"/>
                        <a:pt x="2992" y="0"/>
                        <a:pt x="6674" y="0"/>
                      </a:cubicBezTo>
                      <a:lnTo>
                        <a:pt x="232139" y="0"/>
                      </a:lnTo>
                      <a:cubicBezTo>
                        <a:pt x="235822" y="0"/>
                        <a:pt x="238814" y="2992"/>
                        <a:pt x="238814" y="6674"/>
                      </a:cubicBezTo>
                      <a:cubicBezTo>
                        <a:pt x="238814" y="10357"/>
                        <a:pt x="235822" y="13348"/>
                        <a:pt x="232139" y="13348"/>
                      </a:cubicBezTo>
                      <a:close/>
                    </a:path>
                  </a:pathLst>
                </a:custGeom>
                <a:solidFill>
                  <a:schemeClr val="accent1"/>
                </a:solidFill>
                <a:ln w="2553" cap="flat">
                  <a:noFill/>
                  <a:prstDash val="solid"/>
                  <a:miter/>
                </a:ln>
              </p:spPr>
              <p:txBody>
                <a:bodyPr rtlCol="0" anchor="ctr"/>
                <a:lstStyle/>
                <a:p>
                  <a:endParaRPr lang="en-GB" dirty="0"/>
                </a:p>
              </p:txBody>
            </p:sp>
            <p:sp>
              <p:nvSpPr>
                <p:cNvPr id="253" name="Freihandform: Form 922">
                  <a:extLst>
                    <a:ext uri="{FF2B5EF4-FFF2-40B4-BE49-F238E27FC236}">
                      <a16:creationId xmlns:a16="http://schemas.microsoft.com/office/drawing/2014/main" id="{C52BD858-B323-46EF-A4D9-2D6450977CFE}"/>
                    </a:ext>
                  </a:extLst>
                </p:cNvPr>
                <p:cNvSpPr/>
                <p:nvPr/>
              </p:nvSpPr>
              <p:spPr>
                <a:xfrm>
                  <a:off x="7906926" y="2741452"/>
                  <a:ext cx="238813" cy="13348"/>
                </a:xfrm>
                <a:custGeom>
                  <a:avLst/>
                  <a:gdLst>
                    <a:gd name="connsiteX0" fmla="*/ 232139 w 238813"/>
                    <a:gd name="connsiteY0" fmla="*/ 13348 h 13348"/>
                    <a:gd name="connsiteX1" fmla="*/ 6674 w 238813"/>
                    <a:gd name="connsiteY1" fmla="*/ 13348 h 13348"/>
                    <a:gd name="connsiteX2" fmla="*/ 0 w 238813"/>
                    <a:gd name="connsiteY2" fmla="*/ 6674 h 13348"/>
                    <a:gd name="connsiteX3" fmla="*/ 6674 w 238813"/>
                    <a:gd name="connsiteY3" fmla="*/ 0 h 13348"/>
                    <a:gd name="connsiteX4" fmla="*/ 232139 w 238813"/>
                    <a:gd name="connsiteY4" fmla="*/ 0 h 13348"/>
                    <a:gd name="connsiteX5" fmla="*/ 238814 w 238813"/>
                    <a:gd name="connsiteY5" fmla="*/ 6674 h 13348"/>
                    <a:gd name="connsiteX6" fmla="*/ 232139 w 238813"/>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813" h="13348">
                      <a:moveTo>
                        <a:pt x="232139" y="13348"/>
                      </a:moveTo>
                      <a:lnTo>
                        <a:pt x="6674" y="13348"/>
                      </a:lnTo>
                      <a:cubicBezTo>
                        <a:pt x="2992" y="13348"/>
                        <a:pt x="0" y="10356"/>
                        <a:pt x="0" y="6674"/>
                      </a:cubicBezTo>
                      <a:cubicBezTo>
                        <a:pt x="0" y="2992"/>
                        <a:pt x="2992" y="0"/>
                        <a:pt x="6674" y="0"/>
                      </a:cubicBezTo>
                      <a:lnTo>
                        <a:pt x="232139" y="0"/>
                      </a:lnTo>
                      <a:cubicBezTo>
                        <a:pt x="235822" y="0"/>
                        <a:pt x="238814" y="2992"/>
                        <a:pt x="238814" y="6674"/>
                      </a:cubicBezTo>
                      <a:cubicBezTo>
                        <a:pt x="238814" y="10356"/>
                        <a:pt x="235822" y="13348"/>
                        <a:pt x="232139" y="13348"/>
                      </a:cubicBezTo>
                      <a:close/>
                    </a:path>
                  </a:pathLst>
                </a:custGeom>
                <a:solidFill>
                  <a:schemeClr val="accent1"/>
                </a:solidFill>
                <a:ln w="2553" cap="flat">
                  <a:noFill/>
                  <a:prstDash val="solid"/>
                  <a:miter/>
                </a:ln>
              </p:spPr>
              <p:txBody>
                <a:bodyPr rtlCol="0" anchor="ctr"/>
                <a:lstStyle/>
                <a:p>
                  <a:endParaRPr lang="en-GB" dirty="0"/>
                </a:p>
              </p:txBody>
            </p:sp>
          </p:grpSp>
          <p:sp>
            <p:nvSpPr>
              <p:cNvPr id="250" name="Freihandform: Form 923">
                <a:extLst>
                  <a:ext uri="{FF2B5EF4-FFF2-40B4-BE49-F238E27FC236}">
                    <a16:creationId xmlns:a16="http://schemas.microsoft.com/office/drawing/2014/main" id="{792E2B82-556E-46CE-BF8C-B5C900F253A5}"/>
                  </a:ext>
                </a:extLst>
              </p:cNvPr>
              <p:cNvSpPr/>
              <p:nvPr/>
            </p:nvSpPr>
            <p:spPr>
              <a:xfrm>
                <a:off x="7979601" y="2611202"/>
                <a:ext cx="96891" cy="96879"/>
              </a:xfrm>
              <a:custGeom>
                <a:avLst/>
                <a:gdLst>
                  <a:gd name="connsiteX0" fmla="*/ 14704 w 96891"/>
                  <a:gd name="connsiteY0" fmla="*/ 96880 h 96879"/>
                  <a:gd name="connsiteX1" fmla="*/ 6981 w 96891"/>
                  <a:gd name="connsiteY1" fmla="*/ 94680 h 96879"/>
                  <a:gd name="connsiteX2" fmla="*/ 0 w 96891"/>
                  <a:gd name="connsiteY2" fmla="*/ 82176 h 96879"/>
                  <a:gd name="connsiteX3" fmla="*/ 0 w 96891"/>
                  <a:gd name="connsiteY3" fmla="*/ 14718 h 96879"/>
                  <a:gd name="connsiteX4" fmla="*/ 6981 w 96891"/>
                  <a:gd name="connsiteY4" fmla="*/ 2213 h 96879"/>
                  <a:gd name="connsiteX5" fmla="*/ 21301 w 96891"/>
                  <a:gd name="connsiteY5" fmla="*/ 1574 h 96879"/>
                  <a:gd name="connsiteX6" fmla="*/ 88759 w 96891"/>
                  <a:gd name="connsiteY6" fmla="*/ 35303 h 96879"/>
                  <a:gd name="connsiteX7" fmla="*/ 96891 w 96891"/>
                  <a:gd name="connsiteY7" fmla="*/ 48447 h 96879"/>
                  <a:gd name="connsiteX8" fmla="*/ 88759 w 96891"/>
                  <a:gd name="connsiteY8" fmla="*/ 61591 h 96879"/>
                  <a:gd name="connsiteX9" fmla="*/ 21301 w 96891"/>
                  <a:gd name="connsiteY9" fmla="*/ 95320 h 96879"/>
                  <a:gd name="connsiteX10" fmla="*/ 14704 w 96891"/>
                  <a:gd name="connsiteY10" fmla="*/ 96880 h 96879"/>
                  <a:gd name="connsiteX11" fmla="*/ 14704 w 96891"/>
                  <a:gd name="connsiteY11" fmla="*/ 13311 h 96879"/>
                  <a:gd name="connsiteX12" fmla="*/ 13988 w 96891"/>
                  <a:gd name="connsiteY12" fmla="*/ 13516 h 96879"/>
                  <a:gd name="connsiteX13" fmla="*/ 13348 w 96891"/>
                  <a:gd name="connsiteY13" fmla="*/ 14667 h 96879"/>
                  <a:gd name="connsiteX14" fmla="*/ 13348 w 96891"/>
                  <a:gd name="connsiteY14" fmla="*/ 82125 h 96879"/>
                  <a:gd name="connsiteX15" fmla="*/ 13988 w 96891"/>
                  <a:gd name="connsiteY15" fmla="*/ 83276 h 96879"/>
                  <a:gd name="connsiteX16" fmla="*/ 15292 w 96891"/>
                  <a:gd name="connsiteY16" fmla="*/ 83327 h 96879"/>
                  <a:gd name="connsiteX17" fmla="*/ 82750 w 96891"/>
                  <a:gd name="connsiteY17" fmla="*/ 49598 h 96879"/>
                  <a:gd name="connsiteX18" fmla="*/ 83492 w 96891"/>
                  <a:gd name="connsiteY18" fmla="*/ 48396 h 96879"/>
                  <a:gd name="connsiteX19" fmla="*/ 82750 w 96891"/>
                  <a:gd name="connsiteY19" fmla="*/ 47194 h 96879"/>
                  <a:gd name="connsiteX20" fmla="*/ 15292 w 96891"/>
                  <a:gd name="connsiteY20" fmla="*/ 13465 h 96879"/>
                  <a:gd name="connsiteX21" fmla="*/ 14704 w 96891"/>
                  <a:gd name="connsiteY21" fmla="*/ 13311 h 96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6891" h="96879">
                    <a:moveTo>
                      <a:pt x="14704" y="96880"/>
                    </a:moveTo>
                    <a:cubicBezTo>
                      <a:pt x="12019" y="96880"/>
                      <a:pt x="9359" y="96138"/>
                      <a:pt x="6981" y="94680"/>
                    </a:cubicBezTo>
                    <a:cubicBezTo>
                      <a:pt x="2608" y="91970"/>
                      <a:pt x="0" y="87316"/>
                      <a:pt x="0" y="82176"/>
                    </a:cubicBezTo>
                    <a:lnTo>
                      <a:pt x="0" y="14718"/>
                    </a:lnTo>
                    <a:cubicBezTo>
                      <a:pt x="0" y="9578"/>
                      <a:pt x="2608" y="4898"/>
                      <a:pt x="6981" y="2213"/>
                    </a:cubicBezTo>
                    <a:cubicBezTo>
                      <a:pt x="11354" y="-497"/>
                      <a:pt x="16698" y="-727"/>
                      <a:pt x="21301" y="1574"/>
                    </a:cubicBezTo>
                    <a:lnTo>
                      <a:pt x="88759" y="35303"/>
                    </a:lnTo>
                    <a:cubicBezTo>
                      <a:pt x="93771" y="37809"/>
                      <a:pt x="96891" y="42847"/>
                      <a:pt x="96891" y="48447"/>
                    </a:cubicBezTo>
                    <a:cubicBezTo>
                      <a:pt x="96891" y="54047"/>
                      <a:pt x="93771" y="59085"/>
                      <a:pt x="88759" y="61591"/>
                    </a:cubicBezTo>
                    <a:lnTo>
                      <a:pt x="21301" y="95320"/>
                    </a:lnTo>
                    <a:cubicBezTo>
                      <a:pt x="19204" y="96343"/>
                      <a:pt x="16954" y="96880"/>
                      <a:pt x="14704" y="96880"/>
                    </a:cubicBezTo>
                    <a:close/>
                    <a:moveTo>
                      <a:pt x="14704" y="13311"/>
                    </a:moveTo>
                    <a:cubicBezTo>
                      <a:pt x="14422" y="13311"/>
                      <a:pt x="14167" y="13414"/>
                      <a:pt x="13988" y="13516"/>
                    </a:cubicBezTo>
                    <a:cubicBezTo>
                      <a:pt x="13706" y="13695"/>
                      <a:pt x="13348" y="14053"/>
                      <a:pt x="13348" y="14667"/>
                    </a:cubicBezTo>
                    <a:lnTo>
                      <a:pt x="13348" y="82125"/>
                    </a:lnTo>
                    <a:cubicBezTo>
                      <a:pt x="13348" y="82738"/>
                      <a:pt x="13706" y="83097"/>
                      <a:pt x="13988" y="83276"/>
                    </a:cubicBezTo>
                    <a:cubicBezTo>
                      <a:pt x="14269" y="83454"/>
                      <a:pt x="14755" y="83633"/>
                      <a:pt x="15292" y="83327"/>
                    </a:cubicBezTo>
                    <a:lnTo>
                      <a:pt x="82750" y="49598"/>
                    </a:lnTo>
                    <a:cubicBezTo>
                      <a:pt x="83236" y="49342"/>
                      <a:pt x="83492" y="48933"/>
                      <a:pt x="83492" y="48396"/>
                    </a:cubicBezTo>
                    <a:cubicBezTo>
                      <a:pt x="83492" y="47859"/>
                      <a:pt x="83236" y="47424"/>
                      <a:pt x="82750" y="47194"/>
                    </a:cubicBezTo>
                    <a:lnTo>
                      <a:pt x="15292" y="13465"/>
                    </a:lnTo>
                    <a:cubicBezTo>
                      <a:pt x="15113" y="13363"/>
                      <a:pt x="14908" y="13311"/>
                      <a:pt x="14704" y="13311"/>
                    </a:cubicBezTo>
                    <a:close/>
                  </a:path>
                </a:pathLst>
              </a:custGeom>
              <a:solidFill>
                <a:schemeClr val="accent1"/>
              </a:solidFill>
              <a:ln w="2553" cap="flat">
                <a:noFill/>
                <a:prstDash val="solid"/>
                <a:miter/>
              </a:ln>
            </p:spPr>
            <p:txBody>
              <a:bodyPr rtlCol="0" anchor="ctr"/>
              <a:lstStyle/>
              <a:p>
                <a:endParaRPr lang="en-GB" dirty="0"/>
              </a:p>
            </p:txBody>
          </p:sp>
        </p:grpSp>
        <p:grpSp>
          <p:nvGrpSpPr>
            <p:cNvPr id="245" name="Gruppieren 1109">
              <a:extLst>
                <a:ext uri="{FF2B5EF4-FFF2-40B4-BE49-F238E27FC236}">
                  <a16:creationId xmlns:a16="http://schemas.microsoft.com/office/drawing/2014/main" id="{EAAD3087-8A16-4846-9A0A-F3F6E2211EBF}"/>
                </a:ext>
              </a:extLst>
            </p:cNvPr>
            <p:cNvGrpSpPr/>
            <p:nvPr/>
          </p:nvGrpSpPr>
          <p:grpSpPr>
            <a:xfrm>
              <a:off x="7859465" y="2474458"/>
              <a:ext cx="440523" cy="440523"/>
              <a:chOff x="7859465" y="2474458"/>
              <a:chExt cx="440523" cy="440523"/>
            </a:xfrm>
          </p:grpSpPr>
          <p:sp>
            <p:nvSpPr>
              <p:cNvPr id="246" name="Freihandform: Form 916">
                <a:extLst>
                  <a:ext uri="{FF2B5EF4-FFF2-40B4-BE49-F238E27FC236}">
                    <a16:creationId xmlns:a16="http://schemas.microsoft.com/office/drawing/2014/main" id="{0FF0AEBE-CB16-4F64-B682-ABC9E0EC9A68}"/>
                  </a:ext>
                </a:extLst>
              </p:cNvPr>
              <p:cNvSpPr/>
              <p:nvPr/>
            </p:nvSpPr>
            <p:spPr>
              <a:xfrm>
                <a:off x="7859465" y="2474458"/>
                <a:ext cx="440523" cy="440523"/>
              </a:xfrm>
              <a:custGeom>
                <a:avLst/>
                <a:gdLst>
                  <a:gd name="connsiteX0" fmla="*/ 381938 w 440523"/>
                  <a:gd name="connsiteY0" fmla="*/ 440523 h 440523"/>
                  <a:gd name="connsiteX1" fmla="*/ 60068 w 440523"/>
                  <a:gd name="connsiteY1" fmla="*/ 440523 h 440523"/>
                  <a:gd name="connsiteX2" fmla="*/ 0 w 440523"/>
                  <a:gd name="connsiteY2" fmla="*/ 379765 h 440523"/>
                  <a:gd name="connsiteX3" fmla="*/ 0 w 440523"/>
                  <a:gd name="connsiteY3" fmla="*/ 40045 h 440523"/>
                  <a:gd name="connsiteX4" fmla="*/ 40045 w 440523"/>
                  <a:gd name="connsiteY4" fmla="*/ 0 h 440523"/>
                  <a:gd name="connsiteX5" fmla="*/ 293691 w 440523"/>
                  <a:gd name="connsiteY5" fmla="*/ 0 h 440523"/>
                  <a:gd name="connsiteX6" fmla="*/ 333736 w 440523"/>
                  <a:gd name="connsiteY6" fmla="*/ 40045 h 440523"/>
                  <a:gd name="connsiteX7" fmla="*/ 333736 w 440523"/>
                  <a:gd name="connsiteY7" fmla="*/ 379790 h 440523"/>
                  <a:gd name="connsiteX8" fmla="*/ 380455 w 440523"/>
                  <a:gd name="connsiteY8" fmla="*/ 427200 h 440523"/>
                  <a:gd name="connsiteX9" fmla="*/ 427175 w 440523"/>
                  <a:gd name="connsiteY9" fmla="*/ 379790 h 440523"/>
                  <a:gd name="connsiteX10" fmla="*/ 427175 w 440523"/>
                  <a:gd name="connsiteY10" fmla="*/ 240297 h 440523"/>
                  <a:gd name="connsiteX11" fmla="*/ 411602 w 440523"/>
                  <a:gd name="connsiteY11" fmla="*/ 240297 h 440523"/>
                  <a:gd name="connsiteX12" fmla="*/ 404927 w 440523"/>
                  <a:gd name="connsiteY12" fmla="*/ 233623 h 440523"/>
                  <a:gd name="connsiteX13" fmla="*/ 411602 w 440523"/>
                  <a:gd name="connsiteY13" fmla="*/ 226949 h 440523"/>
                  <a:gd name="connsiteX14" fmla="*/ 433849 w 440523"/>
                  <a:gd name="connsiteY14" fmla="*/ 226949 h 440523"/>
                  <a:gd name="connsiteX15" fmla="*/ 440523 w 440523"/>
                  <a:gd name="connsiteY15" fmla="*/ 233623 h 440523"/>
                  <a:gd name="connsiteX16" fmla="*/ 440523 w 440523"/>
                  <a:gd name="connsiteY16" fmla="*/ 379790 h 440523"/>
                  <a:gd name="connsiteX17" fmla="*/ 382680 w 440523"/>
                  <a:gd name="connsiteY17" fmla="*/ 440498 h 440523"/>
                  <a:gd name="connsiteX18" fmla="*/ 381938 w 440523"/>
                  <a:gd name="connsiteY18" fmla="*/ 440523 h 440523"/>
                  <a:gd name="connsiteX19" fmla="*/ 40045 w 440523"/>
                  <a:gd name="connsiteY19" fmla="*/ 13348 h 440523"/>
                  <a:gd name="connsiteX20" fmla="*/ 13348 w 440523"/>
                  <a:gd name="connsiteY20" fmla="*/ 40045 h 440523"/>
                  <a:gd name="connsiteX21" fmla="*/ 13348 w 440523"/>
                  <a:gd name="connsiteY21" fmla="*/ 379790 h 440523"/>
                  <a:gd name="connsiteX22" fmla="*/ 60068 w 440523"/>
                  <a:gd name="connsiteY22" fmla="*/ 427200 h 440523"/>
                  <a:gd name="connsiteX23" fmla="*/ 342916 w 440523"/>
                  <a:gd name="connsiteY23" fmla="*/ 427200 h 440523"/>
                  <a:gd name="connsiteX24" fmla="*/ 320388 w 440523"/>
                  <a:gd name="connsiteY24" fmla="*/ 379790 h 440523"/>
                  <a:gd name="connsiteX25" fmla="*/ 320388 w 440523"/>
                  <a:gd name="connsiteY25" fmla="*/ 40045 h 440523"/>
                  <a:gd name="connsiteX26" fmla="*/ 293691 w 440523"/>
                  <a:gd name="connsiteY26" fmla="*/ 13348 h 440523"/>
                  <a:gd name="connsiteX27" fmla="*/ 40045 w 440523"/>
                  <a:gd name="connsiteY27" fmla="*/ 13348 h 44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40523" h="440523">
                    <a:moveTo>
                      <a:pt x="381938" y="440523"/>
                    </a:moveTo>
                    <a:lnTo>
                      <a:pt x="60068" y="440523"/>
                    </a:lnTo>
                    <a:cubicBezTo>
                      <a:pt x="26953" y="440523"/>
                      <a:pt x="0" y="413264"/>
                      <a:pt x="0" y="379765"/>
                    </a:cubicBezTo>
                    <a:lnTo>
                      <a:pt x="0" y="40045"/>
                    </a:lnTo>
                    <a:cubicBezTo>
                      <a:pt x="0" y="17951"/>
                      <a:pt x="17977" y="0"/>
                      <a:pt x="40045" y="0"/>
                    </a:cubicBezTo>
                    <a:lnTo>
                      <a:pt x="293691" y="0"/>
                    </a:lnTo>
                    <a:cubicBezTo>
                      <a:pt x="315785" y="0"/>
                      <a:pt x="333736" y="17977"/>
                      <a:pt x="333736" y="40045"/>
                    </a:cubicBezTo>
                    <a:lnTo>
                      <a:pt x="333736" y="379790"/>
                    </a:lnTo>
                    <a:cubicBezTo>
                      <a:pt x="333736" y="405925"/>
                      <a:pt x="354705" y="427200"/>
                      <a:pt x="380455" y="427200"/>
                    </a:cubicBezTo>
                    <a:cubicBezTo>
                      <a:pt x="406206" y="427200"/>
                      <a:pt x="427175" y="405950"/>
                      <a:pt x="427175" y="379790"/>
                    </a:cubicBezTo>
                    <a:lnTo>
                      <a:pt x="427175" y="240297"/>
                    </a:lnTo>
                    <a:lnTo>
                      <a:pt x="411602" y="240297"/>
                    </a:lnTo>
                    <a:cubicBezTo>
                      <a:pt x="407919" y="240297"/>
                      <a:pt x="404927" y="237305"/>
                      <a:pt x="404927" y="233623"/>
                    </a:cubicBezTo>
                    <a:cubicBezTo>
                      <a:pt x="404927" y="229941"/>
                      <a:pt x="407919" y="226949"/>
                      <a:pt x="411602" y="226949"/>
                    </a:cubicBezTo>
                    <a:lnTo>
                      <a:pt x="433849" y="226949"/>
                    </a:lnTo>
                    <a:cubicBezTo>
                      <a:pt x="437531" y="226949"/>
                      <a:pt x="440523" y="229941"/>
                      <a:pt x="440523" y="233623"/>
                    </a:cubicBezTo>
                    <a:lnTo>
                      <a:pt x="440523" y="379790"/>
                    </a:lnTo>
                    <a:cubicBezTo>
                      <a:pt x="440523" y="412522"/>
                      <a:pt x="414772" y="439296"/>
                      <a:pt x="382680" y="440498"/>
                    </a:cubicBezTo>
                    <a:cubicBezTo>
                      <a:pt x="382450" y="440523"/>
                      <a:pt x="382194" y="440523"/>
                      <a:pt x="381938" y="440523"/>
                    </a:cubicBezTo>
                    <a:close/>
                    <a:moveTo>
                      <a:pt x="40045" y="13348"/>
                    </a:moveTo>
                    <a:cubicBezTo>
                      <a:pt x="25316" y="13348"/>
                      <a:pt x="13348" y="25316"/>
                      <a:pt x="13348" y="40045"/>
                    </a:cubicBezTo>
                    <a:lnTo>
                      <a:pt x="13348" y="379790"/>
                    </a:lnTo>
                    <a:cubicBezTo>
                      <a:pt x="13348" y="405925"/>
                      <a:pt x="34317" y="427200"/>
                      <a:pt x="60068" y="427200"/>
                    </a:cubicBezTo>
                    <a:lnTo>
                      <a:pt x="342916" y="427200"/>
                    </a:lnTo>
                    <a:cubicBezTo>
                      <a:pt x="329184" y="416051"/>
                      <a:pt x="320388" y="398944"/>
                      <a:pt x="320388" y="379790"/>
                    </a:cubicBezTo>
                    <a:lnTo>
                      <a:pt x="320388" y="40045"/>
                    </a:lnTo>
                    <a:cubicBezTo>
                      <a:pt x="320388" y="25316"/>
                      <a:pt x="308420" y="13348"/>
                      <a:pt x="293691" y="13348"/>
                    </a:cubicBezTo>
                    <a:lnTo>
                      <a:pt x="40045" y="13348"/>
                    </a:lnTo>
                    <a:close/>
                  </a:path>
                </a:pathLst>
              </a:custGeom>
              <a:solidFill>
                <a:schemeClr val="tx2"/>
              </a:solidFill>
              <a:ln w="2553" cap="flat">
                <a:noFill/>
                <a:prstDash val="solid"/>
                <a:miter/>
              </a:ln>
            </p:spPr>
            <p:txBody>
              <a:bodyPr rtlCol="0" anchor="ctr"/>
              <a:lstStyle/>
              <a:p>
                <a:endParaRPr lang="en-GB" dirty="0"/>
              </a:p>
            </p:txBody>
          </p:sp>
          <p:sp>
            <p:nvSpPr>
              <p:cNvPr id="247" name="Freihandform: Form 917">
                <a:extLst>
                  <a:ext uri="{FF2B5EF4-FFF2-40B4-BE49-F238E27FC236}">
                    <a16:creationId xmlns:a16="http://schemas.microsoft.com/office/drawing/2014/main" id="{49E9CE52-3ABE-412E-A16C-842D360FBACF}"/>
                  </a:ext>
                </a:extLst>
              </p:cNvPr>
              <p:cNvSpPr/>
              <p:nvPr/>
            </p:nvSpPr>
            <p:spPr>
              <a:xfrm>
                <a:off x="8210999" y="2594645"/>
                <a:ext cx="35595" cy="266277"/>
              </a:xfrm>
              <a:custGeom>
                <a:avLst/>
                <a:gdLst>
                  <a:gd name="connsiteX0" fmla="*/ 28922 w 35595"/>
                  <a:gd name="connsiteY0" fmla="*/ 266278 h 266277"/>
                  <a:gd name="connsiteX1" fmla="*/ 22248 w 35595"/>
                  <a:gd name="connsiteY1" fmla="*/ 259604 h 266277"/>
                  <a:gd name="connsiteX2" fmla="*/ 22248 w 35595"/>
                  <a:gd name="connsiteY2" fmla="*/ 13348 h 266277"/>
                  <a:gd name="connsiteX3" fmla="*/ 6674 w 35595"/>
                  <a:gd name="connsiteY3" fmla="*/ 13348 h 266277"/>
                  <a:gd name="connsiteX4" fmla="*/ 0 w 35595"/>
                  <a:gd name="connsiteY4" fmla="*/ 6674 h 266277"/>
                  <a:gd name="connsiteX5" fmla="*/ 6674 w 35595"/>
                  <a:gd name="connsiteY5" fmla="*/ 0 h 266277"/>
                  <a:gd name="connsiteX6" fmla="*/ 28922 w 35595"/>
                  <a:gd name="connsiteY6" fmla="*/ 0 h 266277"/>
                  <a:gd name="connsiteX7" fmla="*/ 35596 w 35595"/>
                  <a:gd name="connsiteY7" fmla="*/ 6674 h 266277"/>
                  <a:gd name="connsiteX8" fmla="*/ 35596 w 35595"/>
                  <a:gd name="connsiteY8" fmla="*/ 259604 h 266277"/>
                  <a:gd name="connsiteX9" fmla="*/ 28922 w 35595"/>
                  <a:gd name="connsiteY9" fmla="*/ 266278 h 266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595" h="266277">
                    <a:moveTo>
                      <a:pt x="28922" y="266278"/>
                    </a:moveTo>
                    <a:cubicBezTo>
                      <a:pt x="25239" y="266278"/>
                      <a:pt x="22248" y="263286"/>
                      <a:pt x="22248" y="259604"/>
                    </a:cubicBezTo>
                    <a:lnTo>
                      <a:pt x="22248" y="13348"/>
                    </a:lnTo>
                    <a:lnTo>
                      <a:pt x="6674" y="13348"/>
                    </a:lnTo>
                    <a:cubicBezTo>
                      <a:pt x="2992" y="13348"/>
                      <a:pt x="0" y="10356"/>
                      <a:pt x="0" y="6674"/>
                    </a:cubicBezTo>
                    <a:cubicBezTo>
                      <a:pt x="0" y="2992"/>
                      <a:pt x="2992" y="0"/>
                      <a:pt x="6674" y="0"/>
                    </a:cubicBezTo>
                    <a:lnTo>
                      <a:pt x="28922" y="0"/>
                    </a:lnTo>
                    <a:cubicBezTo>
                      <a:pt x="32604" y="0"/>
                      <a:pt x="35596" y="2992"/>
                      <a:pt x="35596" y="6674"/>
                    </a:cubicBezTo>
                    <a:lnTo>
                      <a:pt x="35596" y="259604"/>
                    </a:lnTo>
                    <a:cubicBezTo>
                      <a:pt x="35596" y="263286"/>
                      <a:pt x="32629" y="266278"/>
                      <a:pt x="28922" y="266278"/>
                    </a:cubicBezTo>
                    <a:close/>
                  </a:path>
                </a:pathLst>
              </a:custGeom>
              <a:solidFill>
                <a:schemeClr val="tx2"/>
              </a:solidFill>
              <a:ln w="2553" cap="flat">
                <a:noFill/>
                <a:prstDash val="solid"/>
                <a:miter/>
              </a:ln>
            </p:spPr>
            <p:txBody>
              <a:bodyPr rtlCol="0" anchor="ctr"/>
              <a:lstStyle/>
              <a:p>
                <a:endParaRPr lang="en-GB" dirty="0"/>
              </a:p>
            </p:txBody>
          </p:sp>
          <p:sp>
            <p:nvSpPr>
              <p:cNvPr id="248" name="Freihandform: Form 924">
                <a:extLst>
                  <a:ext uri="{FF2B5EF4-FFF2-40B4-BE49-F238E27FC236}">
                    <a16:creationId xmlns:a16="http://schemas.microsoft.com/office/drawing/2014/main" id="{6EF5019F-85A5-44B2-9418-C558CC8AE67F}"/>
                  </a:ext>
                </a:extLst>
              </p:cNvPr>
              <p:cNvSpPr/>
              <p:nvPr/>
            </p:nvSpPr>
            <p:spPr>
              <a:xfrm>
                <a:off x="7859465" y="2521178"/>
                <a:ext cx="333735" cy="13348"/>
              </a:xfrm>
              <a:custGeom>
                <a:avLst/>
                <a:gdLst>
                  <a:gd name="connsiteX0" fmla="*/ 327062 w 333735"/>
                  <a:gd name="connsiteY0" fmla="*/ 13348 h 13348"/>
                  <a:gd name="connsiteX1" fmla="*/ 6674 w 333735"/>
                  <a:gd name="connsiteY1" fmla="*/ 13348 h 13348"/>
                  <a:gd name="connsiteX2" fmla="*/ 0 w 333735"/>
                  <a:gd name="connsiteY2" fmla="*/ 6674 h 13348"/>
                  <a:gd name="connsiteX3" fmla="*/ 6674 w 333735"/>
                  <a:gd name="connsiteY3" fmla="*/ 0 h 13348"/>
                  <a:gd name="connsiteX4" fmla="*/ 327062 w 333735"/>
                  <a:gd name="connsiteY4" fmla="*/ 0 h 13348"/>
                  <a:gd name="connsiteX5" fmla="*/ 333736 w 333735"/>
                  <a:gd name="connsiteY5" fmla="*/ 6674 h 13348"/>
                  <a:gd name="connsiteX6" fmla="*/ 327062 w 333735"/>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3735" h="13348">
                    <a:moveTo>
                      <a:pt x="327062" y="13348"/>
                    </a:moveTo>
                    <a:lnTo>
                      <a:pt x="6674" y="13348"/>
                    </a:lnTo>
                    <a:cubicBezTo>
                      <a:pt x="2992" y="13348"/>
                      <a:pt x="0" y="10357"/>
                      <a:pt x="0" y="6674"/>
                    </a:cubicBezTo>
                    <a:cubicBezTo>
                      <a:pt x="0" y="2992"/>
                      <a:pt x="2992" y="0"/>
                      <a:pt x="6674" y="0"/>
                    </a:cubicBezTo>
                    <a:lnTo>
                      <a:pt x="327062" y="0"/>
                    </a:lnTo>
                    <a:cubicBezTo>
                      <a:pt x="330744" y="0"/>
                      <a:pt x="333736" y="2992"/>
                      <a:pt x="333736" y="6674"/>
                    </a:cubicBezTo>
                    <a:cubicBezTo>
                      <a:pt x="333736" y="10357"/>
                      <a:pt x="330744" y="13348"/>
                      <a:pt x="327062" y="13348"/>
                    </a:cubicBezTo>
                    <a:close/>
                  </a:path>
                </a:pathLst>
              </a:custGeom>
              <a:solidFill>
                <a:schemeClr val="tx2"/>
              </a:solidFill>
              <a:ln w="2553" cap="flat">
                <a:noFill/>
                <a:prstDash val="solid"/>
                <a:miter/>
              </a:ln>
            </p:spPr>
            <p:txBody>
              <a:bodyPr rtlCol="0" anchor="ctr"/>
              <a:lstStyle/>
              <a:p>
                <a:endParaRPr lang="en-GB" dirty="0"/>
              </a:p>
            </p:txBody>
          </p:sp>
        </p:grpSp>
      </p:grpSp>
      <p:grpSp>
        <p:nvGrpSpPr>
          <p:cNvPr id="31" name="Group 30">
            <a:extLst>
              <a:ext uri="{FF2B5EF4-FFF2-40B4-BE49-F238E27FC236}">
                <a16:creationId xmlns:a16="http://schemas.microsoft.com/office/drawing/2014/main" id="{AFF40D4A-9DAB-4061-BEDE-BC68C9EBDE4C}"/>
              </a:ext>
            </a:extLst>
          </p:cNvPr>
          <p:cNvGrpSpPr/>
          <p:nvPr/>
        </p:nvGrpSpPr>
        <p:grpSpPr>
          <a:xfrm>
            <a:off x="3730797" y="3197070"/>
            <a:ext cx="453107" cy="431994"/>
            <a:chOff x="3730797" y="3197070"/>
            <a:chExt cx="453107" cy="431994"/>
          </a:xfrm>
        </p:grpSpPr>
        <p:grpSp>
          <p:nvGrpSpPr>
            <p:cNvPr id="255" name="Grafik 313">
              <a:extLst>
                <a:ext uri="{FF2B5EF4-FFF2-40B4-BE49-F238E27FC236}">
                  <a16:creationId xmlns:a16="http://schemas.microsoft.com/office/drawing/2014/main" id="{705AB150-0AD8-407C-BD2B-683100D68786}"/>
                </a:ext>
              </a:extLst>
            </p:cNvPr>
            <p:cNvGrpSpPr/>
            <p:nvPr/>
          </p:nvGrpSpPr>
          <p:grpSpPr>
            <a:xfrm>
              <a:off x="3889472" y="3197070"/>
              <a:ext cx="294432" cy="359600"/>
              <a:chOff x="5485110" y="3358215"/>
              <a:chExt cx="263624" cy="321973"/>
            </a:xfrm>
            <a:solidFill>
              <a:schemeClr val="tx2"/>
            </a:solidFill>
          </p:grpSpPr>
          <p:grpSp>
            <p:nvGrpSpPr>
              <p:cNvPr id="264" name="Grafik 313">
                <a:extLst>
                  <a:ext uri="{FF2B5EF4-FFF2-40B4-BE49-F238E27FC236}">
                    <a16:creationId xmlns:a16="http://schemas.microsoft.com/office/drawing/2014/main" id="{CEDE6DE5-D12A-42B9-AAF0-9ADBA9750DD3}"/>
                  </a:ext>
                </a:extLst>
              </p:cNvPr>
              <p:cNvGrpSpPr/>
              <p:nvPr/>
            </p:nvGrpSpPr>
            <p:grpSpPr>
              <a:xfrm>
                <a:off x="5559476" y="3358215"/>
                <a:ext cx="189258" cy="321973"/>
                <a:chOff x="5559476" y="3358215"/>
                <a:chExt cx="189258" cy="321973"/>
              </a:xfrm>
              <a:grpFill/>
            </p:grpSpPr>
            <p:grpSp>
              <p:nvGrpSpPr>
                <p:cNvPr id="267" name="Grafik 313">
                  <a:extLst>
                    <a:ext uri="{FF2B5EF4-FFF2-40B4-BE49-F238E27FC236}">
                      <a16:creationId xmlns:a16="http://schemas.microsoft.com/office/drawing/2014/main" id="{2FE79FAC-98E7-43DD-848F-9321242F949B}"/>
                    </a:ext>
                  </a:extLst>
                </p:cNvPr>
                <p:cNvGrpSpPr/>
                <p:nvPr/>
              </p:nvGrpSpPr>
              <p:grpSpPr>
                <a:xfrm>
                  <a:off x="5559476" y="3390633"/>
                  <a:ext cx="189258" cy="289555"/>
                  <a:chOff x="5559476" y="3390633"/>
                  <a:chExt cx="189258" cy="289555"/>
                </a:xfrm>
                <a:grpFill/>
              </p:grpSpPr>
              <p:sp>
                <p:nvSpPr>
                  <p:cNvPr id="269" name="Freihandform: Form 1026">
                    <a:extLst>
                      <a:ext uri="{FF2B5EF4-FFF2-40B4-BE49-F238E27FC236}">
                        <a16:creationId xmlns:a16="http://schemas.microsoft.com/office/drawing/2014/main" id="{A85F8CFC-FE2F-4455-83A8-DE773BC17CF6}"/>
                      </a:ext>
                    </a:extLst>
                  </p:cNvPr>
                  <p:cNvSpPr/>
                  <p:nvPr/>
                </p:nvSpPr>
                <p:spPr>
                  <a:xfrm>
                    <a:off x="5658172" y="3616624"/>
                    <a:ext cx="90562" cy="63563"/>
                  </a:xfrm>
                  <a:custGeom>
                    <a:avLst/>
                    <a:gdLst>
                      <a:gd name="connsiteX0" fmla="*/ 34708 w 90562"/>
                      <a:gd name="connsiteY0" fmla="*/ 63564 h 63563"/>
                      <a:gd name="connsiteX1" fmla="*/ 30309 w 90562"/>
                      <a:gd name="connsiteY1" fmla="*/ 63410 h 63563"/>
                      <a:gd name="connsiteX2" fmla="*/ 2180 w 90562"/>
                      <a:gd name="connsiteY2" fmla="*/ 49193 h 63563"/>
                      <a:gd name="connsiteX3" fmla="*/ 1746 w 90562"/>
                      <a:gd name="connsiteY3" fmla="*/ 39757 h 63563"/>
                      <a:gd name="connsiteX4" fmla="*/ 11182 w 90562"/>
                      <a:gd name="connsiteY4" fmla="*/ 39322 h 63563"/>
                      <a:gd name="connsiteX5" fmla="*/ 31639 w 90562"/>
                      <a:gd name="connsiteY5" fmla="*/ 50113 h 63563"/>
                      <a:gd name="connsiteX6" fmla="*/ 66365 w 90562"/>
                      <a:gd name="connsiteY6" fmla="*/ 38632 h 63563"/>
                      <a:gd name="connsiteX7" fmla="*/ 77157 w 90562"/>
                      <a:gd name="connsiteY7" fmla="*/ 6948 h 63563"/>
                      <a:gd name="connsiteX8" fmla="*/ 83575 w 90562"/>
                      <a:gd name="connsiteY8" fmla="*/ 18 h 63563"/>
                      <a:gd name="connsiteX9" fmla="*/ 90505 w 90562"/>
                      <a:gd name="connsiteY9" fmla="*/ 6437 h 63563"/>
                      <a:gd name="connsiteX10" fmla="*/ 75673 w 90562"/>
                      <a:gd name="connsiteY10" fmla="*/ 48195 h 63563"/>
                      <a:gd name="connsiteX11" fmla="*/ 34708 w 90562"/>
                      <a:gd name="connsiteY11" fmla="*/ 63564 h 63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0562" h="63563">
                        <a:moveTo>
                          <a:pt x="34708" y="63564"/>
                        </a:moveTo>
                        <a:cubicBezTo>
                          <a:pt x="33250" y="63564"/>
                          <a:pt x="31792" y="63513"/>
                          <a:pt x="30309" y="63410"/>
                        </a:cubicBezTo>
                        <a:cubicBezTo>
                          <a:pt x="19978" y="62004"/>
                          <a:pt x="11437" y="57631"/>
                          <a:pt x="2180" y="49193"/>
                        </a:cubicBezTo>
                        <a:cubicBezTo>
                          <a:pt x="-556" y="46712"/>
                          <a:pt x="-735" y="42493"/>
                          <a:pt x="1746" y="39757"/>
                        </a:cubicBezTo>
                        <a:cubicBezTo>
                          <a:pt x="4226" y="37020"/>
                          <a:pt x="8445" y="36841"/>
                          <a:pt x="11182" y="39322"/>
                        </a:cubicBezTo>
                        <a:cubicBezTo>
                          <a:pt x="20336" y="47658"/>
                          <a:pt x="26908" y="49474"/>
                          <a:pt x="31639" y="50113"/>
                        </a:cubicBezTo>
                        <a:cubicBezTo>
                          <a:pt x="44962" y="51008"/>
                          <a:pt x="58131" y="46686"/>
                          <a:pt x="66365" y="38632"/>
                        </a:cubicBezTo>
                        <a:cubicBezTo>
                          <a:pt x="74062" y="31139"/>
                          <a:pt x="77693" y="20476"/>
                          <a:pt x="77157" y="6948"/>
                        </a:cubicBezTo>
                        <a:cubicBezTo>
                          <a:pt x="77003" y="3266"/>
                          <a:pt x="79893" y="172"/>
                          <a:pt x="83575" y="18"/>
                        </a:cubicBezTo>
                        <a:cubicBezTo>
                          <a:pt x="87257" y="-263"/>
                          <a:pt x="90351" y="2754"/>
                          <a:pt x="90505" y="6437"/>
                        </a:cubicBezTo>
                        <a:cubicBezTo>
                          <a:pt x="91170" y="23647"/>
                          <a:pt x="86055" y="38094"/>
                          <a:pt x="75673" y="48195"/>
                        </a:cubicBezTo>
                        <a:cubicBezTo>
                          <a:pt x="65700" y="57964"/>
                          <a:pt x="50613" y="63564"/>
                          <a:pt x="34708" y="63564"/>
                        </a:cubicBezTo>
                        <a:close/>
                      </a:path>
                    </a:pathLst>
                  </a:custGeom>
                  <a:grpFill/>
                  <a:ln w="2553" cap="flat">
                    <a:noFill/>
                    <a:prstDash val="solid"/>
                    <a:miter/>
                  </a:ln>
                </p:spPr>
                <p:txBody>
                  <a:bodyPr rtlCol="0" anchor="ctr"/>
                  <a:lstStyle/>
                  <a:p>
                    <a:endParaRPr lang="en-GB" dirty="0"/>
                  </a:p>
                </p:txBody>
              </p:sp>
              <p:sp>
                <p:nvSpPr>
                  <p:cNvPr id="270" name="Freihandform: Form 1027">
                    <a:extLst>
                      <a:ext uri="{FF2B5EF4-FFF2-40B4-BE49-F238E27FC236}">
                        <a16:creationId xmlns:a16="http://schemas.microsoft.com/office/drawing/2014/main" id="{2C690B0A-E585-471A-B6B6-A99F27FE1D7D}"/>
                      </a:ext>
                    </a:extLst>
                  </p:cNvPr>
                  <p:cNvSpPr/>
                  <p:nvPr/>
                </p:nvSpPr>
                <p:spPr>
                  <a:xfrm>
                    <a:off x="5559476" y="3390633"/>
                    <a:ext cx="175373" cy="207675"/>
                  </a:xfrm>
                  <a:custGeom>
                    <a:avLst/>
                    <a:gdLst>
                      <a:gd name="connsiteX0" fmla="*/ 50603 w 175373"/>
                      <a:gd name="connsiteY0" fmla="*/ 207675 h 207675"/>
                      <a:gd name="connsiteX1" fmla="*/ 44952 w 175373"/>
                      <a:gd name="connsiteY1" fmla="*/ 204581 h 207675"/>
                      <a:gd name="connsiteX2" fmla="*/ 21349 w 175373"/>
                      <a:gd name="connsiteY2" fmla="*/ 163257 h 207675"/>
                      <a:gd name="connsiteX3" fmla="*/ 13550 w 175373"/>
                      <a:gd name="connsiteY3" fmla="*/ 149014 h 207675"/>
                      <a:gd name="connsiteX4" fmla="*/ 59067 w 175373"/>
                      <a:gd name="connsiteY4" fmla="*/ 12717 h 207675"/>
                      <a:gd name="connsiteX5" fmla="*/ 60116 w 175373"/>
                      <a:gd name="connsiteY5" fmla="*/ 12052 h 207675"/>
                      <a:gd name="connsiteX6" fmla="*/ 126986 w 175373"/>
                      <a:gd name="connsiteY6" fmla="*/ 4483 h 207675"/>
                      <a:gd name="connsiteX7" fmla="*/ 175009 w 175373"/>
                      <a:gd name="connsiteY7" fmla="*/ 58132 h 207675"/>
                      <a:gd name="connsiteX8" fmla="*/ 170867 w 175373"/>
                      <a:gd name="connsiteY8" fmla="*/ 66596 h 207675"/>
                      <a:gd name="connsiteX9" fmla="*/ 162377 w 175373"/>
                      <a:gd name="connsiteY9" fmla="*/ 62454 h 207675"/>
                      <a:gd name="connsiteX10" fmla="*/ 121999 w 175373"/>
                      <a:gd name="connsiteY10" fmla="*/ 16859 h 207675"/>
                      <a:gd name="connsiteX11" fmla="*/ 66688 w 175373"/>
                      <a:gd name="connsiteY11" fmla="*/ 23662 h 207675"/>
                      <a:gd name="connsiteX12" fmla="*/ 25313 w 175373"/>
                      <a:gd name="connsiteY12" fmla="*/ 142647 h 207675"/>
                      <a:gd name="connsiteX13" fmla="*/ 33112 w 175373"/>
                      <a:gd name="connsiteY13" fmla="*/ 156890 h 207675"/>
                      <a:gd name="connsiteX14" fmla="*/ 56254 w 175373"/>
                      <a:gd name="connsiteY14" fmla="*/ 197395 h 207675"/>
                      <a:gd name="connsiteX15" fmla="*/ 54183 w 175373"/>
                      <a:gd name="connsiteY15" fmla="*/ 206601 h 207675"/>
                      <a:gd name="connsiteX16" fmla="*/ 50603 w 175373"/>
                      <a:gd name="connsiteY16" fmla="*/ 207675 h 207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5373" h="207675">
                        <a:moveTo>
                          <a:pt x="50603" y="207675"/>
                        </a:moveTo>
                        <a:cubicBezTo>
                          <a:pt x="48378" y="207675"/>
                          <a:pt x="46230" y="206576"/>
                          <a:pt x="44952" y="204581"/>
                        </a:cubicBezTo>
                        <a:cubicBezTo>
                          <a:pt x="36078" y="190568"/>
                          <a:pt x="27921" y="175429"/>
                          <a:pt x="21349" y="163257"/>
                        </a:cubicBezTo>
                        <a:cubicBezTo>
                          <a:pt x="18510" y="158015"/>
                          <a:pt x="15902" y="153182"/>
                          <a:pt x="13550" y="149014"/>
                        </a:cubicBezTo>
                        <a:cubicBezTo>
                          <a:pt x="-26803" y="70790"/>
                          <a:pt x="33368" y="30106"/>
                          <a:pt x="59067" y="12717"/>
                        </a:cubicBezTo>
                        <a:lnTo>
                          <a:pt x="60116" y="12052"/>
                        </a:lnTo>
                        <a:cubicBezTo>
                          <a:pt x="84511" y="-862"/>
                          <a:pt x="106988" y="-3419"/>
                          <a:pt x="126986" y="4483"/>
                        </a:cubicBezTo>
                        <a:cubicBezTo>
                          <a:pt x="160894" y="17908"/>
                          <a:pt x="174447" y="56496"/>
                          <a:pt x="175009" y="58132"/>
                        </a:cubicBezTo>
                        <a:cubicBezTo>
                          <a:pt x="176211" y="61610"/>
                          <a:pt x="174344" y="65394"/>
                          <a:pt x="170867" y="66596"/>
                        </a:cubicBezTo>
                        <a:cubicBezTo>
                          <a:pt x="167389" y="67798"/>
                          <a:pt x="163579" y="65932"/>
                          <a:pt x="162377" y="62454"/>
                        </a:cubicBezTo>
                        <a:cubicBezTo>
                          <a:pt x="162249" y="62121"/>
                          <a:pt x="150153" y="27958"/>
                          <a:pt x="121999" y="16859"/>
                        </a:cubicBezTo>
                        <a:cubicBezTo>
                          <a:pt x="105914" y="10518"/>
                          <a:pt x="87324" y="12819"/>
                          <a:pt x="66688" y="23662"/>
                        </a:cubicBezTo>
                        <a:cubicBezTo>
                          <a:pt x="39633" y="41971"/>
                          <a:pt x="-9363" y="75419"/>
                          <a:pt x="25313" y="142647"/>
                        </a:cubicBezTo>
                        <a:cubicBezTo>
                          <a:pt x="27588" y="146661"/>
                          <a:pt x="30222" y="151571"/>
                          <a:pt x="33112" y="156890"/>
                        </a:cubicBezTo>
                        <a:cubicBezTo>
                          <a:pt x="39914" y="169497"/>
                          <a:pt x="47637" y="183791"/>
                          <a:pt x="56254" y="197395"/>
                        </a:cubicBezTo>
                        <a:cubicBezTo>
                          <a:pt x="58223" y="200515"/>
                          <a:pt x="57303" y="204632"/>
                          <a:pt x="54183" y="206601"/>
                        </a:cubicBezTo>
                        <a:cubicBezTo>
                          <a:pt x="53058" y="207343"/>
                          <a:pt x="51830" y="207675"/>
                          <a:pt x="50603" y="207675"/>
                        </a:cubicBezTo>
                        <a:close/>
                      </a:path>
                    </a:pathLst>
                  </a:custGeom>
                  <a:grpFill/>
                  <a:ln w="2553" cap="flat">
                    <a:noFill/>
                    <a:prstDash val="solid"/>
                    <a:miter/>
                  </a:ln>
                </p:spPr>
                <p:txBody>
                  <a:bodyPr rtlCol="0" anchor="ctr"/>
                  <a:lstStyle/>
                  <a:p>
                    <a:endParaRPr lang="en-GB" dirty="0"/>
                  </a:p>
                </p:txBody>
              </p:sp>
              <p:sp>
                <p:nvSpPr>
                  <p:cNvPr id="271" name="Freihandform: Form 1028">
                    <a:extLst>
                      <a:ext uri="{FF2B5EF4-FFF2-40B4-BE49-F238E27FC236}">
                        <a16:creationId xmlns:a16="http://schemas.microsoft.com/office/drawing/2014/main" id="{B01121E2-948C-4F8B-B355-EB49FEF59FF9}"/>
                      </a:ext>
                    </a:extLst>
                  </p:cNvPr>
                  <p:cNvSpPr/>
                  <p:nvPr/>
                </p:nvSpPr>
                <p:spPr>
                  <a:xfrm>
                    <a:off x="5597568" y="3431964"/>
                    <a:ext cx="115161" cy="116478"/>
                  </a:xfrm>
                  <a:custGeom>
                    <a:avLst/>
                    <a:gdLst>
                      <a:gd name="connsiteX0" fmla="*/ 107509 w 115161"/>
                      <a:gd name="connsiteY0" fmla="*/ 116479 h 116478"/>
                      <a:gd name="connsiteX1" fmla="*/ 79278 w 115161"/>
                      <a:gd name="connsiteY1" fmla="*/ 89015 h 116478"/>
                      <a:gd name="connsiteX2" fmla="*/ 95439 w 115161"/>
                      <a:gd name="connsiteY2" fmla="*/ 65259 h 116478"/>
                      <a:gd name="connsiteX3" fmla="*/ 101730 w 115161"/>
                      <a:gd name="connsiteY3" fmla="*/ 59914 h 116478"/>
                      <a:gd name="connsiteX4" fmla="*/ 91808 w 115161"/>
                      <a:gd name="connsiteY4" fmla="*/ 29919 h 116478"/>
                      <a:gd name="connsiteX5" fmla="*/ 56698 w 115161"/>
                      <a:gd name="connsiteY5" fmla="*/ 13323 h 116478"/>
                      <a:gd name="connsiteX6" fmla="*/ 13354 w 115161"/>
                      <a:gd name="connsiteY6" fmla="*/ 75462 h 116478"/>
                      <a:gd name="connsiteX7" fmla="*/ 6373 w 115161"/>
                      <a:gd name="connsiteY7" fmla="*/ 81829 h 116478"/>
                      <a:gd name="connsiteX8" fmla="*/ 6 w 115161"/>
                      <a:gd name="connsiteY8" fmla="*/ 74874 h 116478"/>
                      <a:gd name="connsiteX9" fmla="*/ 56698 w 115161"/>
                      <a:gd name="connsiteY9" fmla="*/ 0 h 116478"/>
                      <a:gd name="connsiteX10" fmla="*/ 101628 w 115161"/>
                      <a:gd name="connsiteY10" fmla="*/ 20918 h 116478"/>
                      <a:gd name="connsiteX11" fmla="*/ 114925 w 115161"/>
                      <a:gd name="connsiteY11" fmla="*/ 62651 h 116478"/>
                      <a:gd name="connsiteX12" fmla="*/ 114823 w 115161"/>
                      <a:gd name="connsiteY12" fmla="*/ 63929 h 116478"/>
                      <a:gd name="connsiteX13" fmla="*/ 114235 w 115161"/>
                      <a:gd name="connsiteY13" fmla="*/ 65080 h 116478"/>
                      <a:gd name="connsiteX14" fmla="*/ 103520 w 115161"/>
                      <a:gd name="connsiteY14" fmla="*/ 75897 h 116478"/>
                      <a:gd name="connsiteX15" fmla="*/ 92626 w 115161"/>
                      <a:gd name="connsiteY15" fmla="*/ 89041 h 116478"/>
                      <a:gd name="connsiteX16" fmla="*/ 107509 w 115161"/>
                      <a:gd name="connsiteY16" fmla="*/ 103156 h 116478"/>
                      <a:gd name="connsiteX17" fmla="*/ 114183 w 115161"/>
                      <a:gd name="connsiteY17" fmla="*/ 109830 h 116478"/>
                      <a:gd name="connsiteX18" fmla="*/ 107509 w 115161"/>
                      <a:gd name="connsiteY18" fmla="*/ 116479 h 116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5161" h="116478">
                        <a:moveTo>
                          <a:pt x="107509" y="116479"/>
                        </a:moveTo>
                        <a:cubicBezTo>
                          <a:pt x="90888" y="116479"/>
                          <a:pt x="79278" y="105202"/>
                          <a:pt x="79278" y="89015"/>
                        </a:cubicBezTo>
                        <a:cubicBezTo>
                          <a:pt x="79278" y="77559"/>
                          <a:pt x="88612" y="70450"/>
                          <a:pt x="95439" y="65259"/>
                        </a:cubicBezTo>
                        <a:cubicBezTo>
                          <a:pt x="97715" y="63520"/>
                          <a:pt x="100451" y="61449"/>
                          <a:pt x="101730" y="59914"/>
                        </a:cubicBezTo>
                        <a:cubicBezTo>
                          <a:pt x="102369" y="47870"/>
                          <a:pt x="99045" y="37795"/>
                          <a:pt x="91808" y="29919"/>
                        </a:cubicBezTo>
                        <a:cubicBezTo>
                          <a:pt x="79355" y="16417"/>
                          <a:pt x="59307" y="13323"/>
                          <a:pt x="56698" y="13323"/>
                        </a:cubicBezTo>
                        <a:cubicBezTo>
                          <a:pt x="16704" y="13323"/>
                          <a:pt x="13380" y="74848"/>
                          <a:pt x="13354" y="75462"/>
                        </a:cubicBezTo>
                        <a:cubicBezTo>
                          <a:pt x="13175" y="79144"/>
                          <a:pt x="10107" y="82111"/>
                          <a:pt x="6373" y="81829"/>
                        </a:cubicBezTo>
                        <a:cubicBezTo>
                          <a:pt x="2691" y="81676"/>
                          <a:pt x="-148" y="78556"/>
                          <a:pt x="6" y="74874"/>
                        </a:cubicBezTo>
                        <a:cubicBezTo>
                          <a:pt x="1157" y="48970"/>
                          <a:pt x="14505" y="0"/>
                          <a:pt x="56698" y="0"/>
                        </a:cubicBezTo>
                        <a:cubicBezTo>
                          <a:pt x="61787" y="0"/>
                          <a:pt x="85799" y="3734"/>
                          <a:pt x="101628" y="20918"/>
                        </a:cubicBezTo>
                        <a:cubicBezTo>
                          <a:pt x="111805" y="31965"/>
                          <a:pt x="116280" y="46003"/>
                          <a:pt x="114925" y="62651"/>
                        </a:cubicBezTo>
                        <a:lnTo>
                          <a:pt x="114823" y="63929"/>
                        </a:lnTo>
                        <a:lnTo>
                          <a:pt x="114235" y="65080"/>
                        </a:lnTo>
                        <a:cubicBezTo>
                          <a:pt x="112087" y="69350"/>
                          <a:pt x="107918" y="72547"/>
                          <a:pt x="103520" y="75897"/>
                        </a:cubicBezTo>
                        <a:cubicBezTo>
                          <a:pt x="98176" y="79963"/>
                          <a:pt x="92626" y="84182"/>
                          <a:pt x="92626" y="89041"/>
                        </a:cubicBezTo>
                        <a:cubicBezTo>
                          <a:pt x="92626" y="97888"/>
                          <a:pt x="98201" y="103156"/>
                          <a:pt x="107509" y="103156"/>
                        </a:cubicBezTo>
                        <a:cubicBezTo>
                          <a:pt x="111192" y="103156"/>
                          <a:pt x="114183" y="106148"/>
                          <a:pt x="114183" y="109830"/>
                        </a:cubicBezTo>
                        <a:cubicBezTo>
                          <a:pt x="114183" y="113487"/>
                          <a:pt x="111192" y="116479"/>
                          <a:pt x="107509" y="116479"/>
                        </a:cubicBezTo>
                        <a:close/>
                      </a:path>
                    </a:pathLst>
                  </a:custGeom>
                  <a:grpFill/>
                  <a:ln w="2553" cap="flat">
                    <a:noFill/>
                    <a:prstDash val="solid"/>
                    <a:miter/>
                  </a:ln>
                </p:spPr>
                <p:txBody>
                  <a:bodyPr rtlCol="0" anchor="ctr"/>
                  <a:lstStyle/>
                  <a:p>
                    <a:endParaRPr lang="en-GB" dirty="0"/>
                  </a:p>
                </p:txBody>
              </p:sp>
              <p:sp>
                <p:nvSpPr>
                  <p:cNvPr id="272" name="Freihandform: Form 1029">
                    <a:extLst>
                      <a:ext uri="{FF2B5EF4-FFF2-40B4-BE49-F238E27FC236}">
                        <a16:creationId xmlns:a16="http://schemas.microsoft.com/office/drawing/2014/main" id="{506A2528-8D15-4832-AEF8-98D71E8086A6}"/>
                      </a:ext>
                    </a:extLst>
                  </p:cNvPr>
                  <p:cNvSpPr/>
                  <p:nvPr/>
                </p:nvSpPr>
                <p:spPr>
                  <a:xfrm>
                    <a:off x="5641452" y="3558933"/>
                    <a:ext cx="62599" cy="48452"/>
                  </a:xfrm>
                  <a:custGeom>
                    <a:avLst/>
                    <a:gdLst>
                      <a:gd name="connsiteX0" fmla="*/ 41404 w 62599"/>
                      <a:gd name="connsiteY0" fmla="*/ 48452 h 48452"/>
                      <a:gd name="connsiteX1" fmla="*/ 745 w 62599"/>
                      <a:gd name="connsiteY1" fmla="*/ 9762 h 48452"/>
                      <a:gd name="connsiteX2" fmla="*/ 3583 w 62599"/>
                      <a:gd name="connsiteY2" fmla="*/ 761 h 48452"/>
                      <a:gd name="connsiteX3" fmla="*/ 12585 w 62599"/>
                      <a:gd name="connsiteY3" fmla="*/ 3600 h 48452"/>
                      <a:gd name="connsiteX4" fmla="*/ 41378 w 62599"/>
                      <a:gd name="connsiteY4" fmla="*/ 35078 h 48452"/>
                      <a:gd name="connsiteX5" fmla="*/ 41506 w 62599"/>
                      <a:gd name="connsiteY5" fmla="*/ 35078 h 48452"/>
                      <a:gd name="connsiteX6" fmla="*/ 49868 w 62599"/>
                      <a:gd name="connsiteY6" fmla="*/ 26205 h 48452"/>
                      <a:gd name="connsiteX7" fmla="*/ 58716 w 62599"/>
                      <a:gd name="connsiteY7" fmla="*/ 22932 h 48452"/>
                      <a:gd name="connsiteX8" fmla="*/ 61989 w 62599"/>
                      <a:gd name="connsiteY8" fmla="*/ 31780 h 48452"/>
                      <a:gd name="connsiteX9" fmla="*/ 41813 w 62599"/>
                      <a:gd name="connsiteY9" fmla="*/ 48427 h 48452"/>
                      <a:gd name="connsiteX10" fmla="*/ 41404 w 62599"/>
                      <a:gd name="connsiteY10" fmla="*/ 48452 h 48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599" h="48452">
                        <a:moveTo>
                          <a:pt x="41404" y="48452"/>
                        </a:moveTo>
                        <a:cubicBezTo>
                          <a:pt x="21816" y="48452"/>
                          <a:pt x="4120" y="16258"/>
                          <a:pt x="745" y="9762"/>
                        </a:cubicBezTo>
                        <a:cubicBezTo>
                          <a:pt x="-943" y="6489"/>
                          <a:pt x="336" y="2474"/>
                          <a:pt x="3583" y="761"/>
                        </a:cubicBezTo>
                        <a:cubicBezTo>
                          <a:pt x="6857" y="-952"/>
                          <a:pt x="10871" y="326"/>
                          <a:pt x="12585" y="3600"/>
                        </a:cubicBezTo>
                        <a:cubicBezTo>
                          <a:pt x="19208" y="16360"/>
                          <a:pt x="32914" y="35078"/>
                          <a:pt x="41378" y="35078"/>
                        </a:cubicBezTo>
                        <a:cubicBezTo>
                          <a:pt x="41430" y="35078"/>
                          <a:pt x="41481" y="35078"/>
                          <a:pt x="41506" y="35078"/>
                        </a:cubicBezTo>
                        <a:cubicBezTo>
                          <a:pt x="45086" y="34976"/>
                          <a:pt x="48027" y="30194"/>
                          <a:pt x="49868" y="26205"/>
                        </a:cubicBezTo>
                        <a:cubicBezTo>
                          <a:pt x="51402" y="22855"/>
                          <a:pt x="55366" y="21372"/>
                          <a:pt x="58716" y="22932"/>
                        </a:cubicBezTo>
                        <a:cubicBezTo>
                          <a:pt x="62066" y="24466"/>
                          <a:pt x="63523" y="28430"/>
                          <a:pt x="61989" y="31780"/>
                        </a:cubicBezTo>
                        <a:cubicBezTo>
                          <a:pt x="57003" y="42622"/>
                          <a:pt x="50226" y="48222"/>
                          <a:pt x="41813" y="48427"/>
                        </a:cubicBezTo>
                        <a:cubicBezTo>
                          <a:pt x="41685" y="48427"/>
                          <a:pt x="41557" y="48452"/>
                          <a:pt x="41404" y="48452"/>
                        </a:cubicBezTo>
                        <a:close/>
                      </a:path>
                    </a:pathLst>
                  </a:custGeom>
                  <a:grpFill/>
                  <a:ln w="2553" cap="flat">
                    <a:noFill/>
                    <a:prstDash val="solid"/>
                    <a:miter/>
                  </a:ln>
                </p:spPr>
                <p:txBody>
                  <a:bodyPr rtlCol="0" anchor="ctr"/>
                  <a:lstStyle/>
                  <a:p>
                    <a:endParaRPr lang="en-GB" dirty="0"/>
                  </a:p>
                </p:txBody>
              </p:sp>
            </p:grpSp>
            <p:sp>
              <p:nvSpPr>
                <p:cNvPr id="268" name="Freihandform: Form 1030">
                  <a:extLst>
                    <a:ext uri="{FF2B5EF4-FFF2-40B4-BE49-F238E27FC236}">
                      <a16:creationId xmlns:a16="http://schemas.microsoft.com/office/drawing/2014/main" id="{BF538872-A3D2-4E57-8FE5-2F25FB3F2749}"/>
                    </a:ext>
                  </a:extLst>
                </p:cNvPr>
                <p:cNvSpPr/>
                <p:nvPr/>
              </p:nvSpPr>
              <p:spPr>
                <a:xfrm>
                  <a:off x="5642273" y="3358215"/>
                  <a:ext cx="13348" cy="44878"/>
                </a:xfrm>
                <a:custGeom>
                  <a:avLst/>
                  <a:gdLst>
                    <a:gd name="connsiteX0" fmla="*/ 6674 w 13348"/>
                    <a:gd name="connsiteY0" fmla="*/ 44878 h 44878"/>
                    <a:gd name="connsiteX1" fmla="*/ 0 w 13348"/>
                    <a:gd name="connsiteY1" fmla="*/ 38204 h 44878"/>
                    <a:gd name="connsiteX2" fmla="*/ 0 w 13348"/>
                    <a:gd name="connsiteY2" fmla="*/ 6674 h 44878"/>
                    <a:gd name="connsiteX3" fmla="*/ 6674 w 13348"/>
                    <a:gd name="connsiteY3" fmla="*/ 0 h 44878"/>
                    <a:gd name="connsiteX4" fmla="*/ 13348 w 13348"/>
                    <a:gd name="connsiteY4" fmla="*/ 6674 h 44878"/>
                    <a:gd name="connsiteX5" fmla="*/ 13348 w 13348"/>
                    <a:gd name="connsiteY5" fmla="*/ 38204 h 44878"/>
                    <a:gd name="connsiteX6" fmla="*/ 6674 w 13348"/>
                    <a:gd name="connsiteY6" fmla="*/ 44878 h 4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44878">
                      <a:moveTo>
                        <a:pt x="6674" y="44878"/>
                      </a:moveTo>
                      <a:cubicBezTo>
                        <a:pt x="2992" y="44878"/>
                        <a:pt x="0" y="41886"/>
                        <a:pt x="0" y="38204"/>
                      </a:cubicBezTo>
                      <a:lnTo>
                        <a:pt x="0" y="6674"/>
                      </a:lnTo>
                      <a:cubicBezTo>
                        <a:pt x="0" y="2992"/>
                        <a:pt x="2992" y="0"/>
                        <a:pt x="6674" y="0"/>
                      </a:cubicBezTo>
                      <a:cubicBezTo>
                        <a:pt x="10357" y="0"/>
                        <a:pt x="13348" y="2992"/>
                        <a:pt x="13348" y="6674"/>
                      </a:cubicBezTo>
                      <a:lnTo>
                        <a:pt x="13348" y="38204"/>
                      </a:lnTo>
                      <a:cubicBezTo>
                        <a:pt x="13348" y="41912"/>
                        <a:pt x="10382" y="44878"/>
                        <a:pt x="6674" y="44878"/>
                      </a:cubicBezTo>
                      <a:close/>
                    </a:path>
                  </a:pathLst>
                </a:custGeom>
                <a:grpFill/>
                <a:ln w="2553" cap="flat">
                  <a:noFill/>
                  <a:prstDash val="solid"/>
                  <a:miter/>
                </a:ln>
              </p:spPr>
              <p:txBody>
                <a:bodyPr rtlCol="0" anchor="ctr"/>
                <a:lstStyle/>
                <a:p>
                  <a:endParaRPr lang="en-GB" dirty="0"/>
                </a:p>
              </p:txBody>
            </p:sp>
          </p:grpSp>
          <p:sp>
            <p:nvSpPr>
              <p:cNvPr id="265" name="Freihandform: Form 1031">
                <a:extLst>
                  <a:ext uri="{FF2B5EF4-FFF2-40B4-BE49-F238E27FC236}">
                    <a16:creationId xmlns:a16="http://schemas.microsoft.com/office/drawing/2014/main" id="{FB1AF146-BE92-4984-8299-E54EFAA61B4D}"/>
                  </a:ext>
                </a:extLst>
              </p:cNvPr>
              <p:cNvSpPr/>
              <p:nvPr/>
            </p:nvSpPr>
            <p:spPr>
              <a:xfrm>
                <a:off x="5532149" y="3363522"/>
                <a:ext cx="46387" cy="46374"/>
              </a:xfrm>
              <a:custGeom>
                <a:avLst/>
                <a:gdLst>
                  <a:gd name="connsiteX0" fmla="*/ 39726 w 46387"/>
                  <a:gd name="connsiteY0" fmla="*/ 46374 h 46374"/>
                  <a:gd name="connsiteX1" fmla="*/ 34995 w 46387"/>
                  <a:gd name="connsiteY1" fmla="*/ 44431 h 46374"/>
                  <a:gd name="connsiteX2" fmla="*/ 1956 w 46387"/>
                  <a:gd name="connsiteY2" fmla="*/ 11392 h 46374"/>
                  <a:gd name="connsiteX3" fmla="*/ 1956 w 46387"/>
                  <a:gd name="connsiteY3" fmla="*/ 1956 h 46374"/>
                  <a:gd name="connsiteX4" fmla="*/ 11392 w 46387"/>
                  <a:gd name="connsiteY4" fmla="*/ 1956 h 46374"/>
                  <a:gd name="connsiteX5" fmla="*/ 44431 w 46387"/>
                  <a:gd name="connsiteY5" fmla="*/ 34995 h 46374"/>
                  <a:gd name="connsiteX6" fmla="*/ 44431 w 46387"/>
                  <a:gd name="connsiteY6" fmla="*/ 44431 h 46374"/>
                  <a:gd name="connsiteX7" fmla="*/ 39726 w 46387"/>
                  <a:gd name="connsiteY7" fmla="*/ 46374 h 46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387" h="46374">
                    <a:moveTo>
                      <a:pt x="39726" y="46374"/>
                    </a:moveTo>
                    <a:cubicBezTo>
                      <a:pt x="38012" y="46374"/>
                      <a:pt x="36299" y="45709"/>
                      <a:pt x="34995" y="44431"/>
                    </a:cubicBezTo>
                    <a:lnTo>
                      <a:pt x="1956" y="11392"/>
                    </a:lnTo>
                    <a:cubicBezTo>
                      <a:pt x="-652" y="8784"/>
                      <a:pt x="-652" y="4565"/>
                      <a:pt x="1956" y="1956"/>
                    </a:cubicBezTo>
                    <a:cubicBezTo>
                      <a:pt x="4565" y="-652"/>
                      <a:pt x="8784" y="-652"/>
                      <a:pt x="11392" y="1956"/>
                    </a:cubicBezTo>
                    <a:lnTo>
                      <a:pt x="44431" y="34995"/>
                    </a:lnTo>
                    <a:cubicBezTo>
                      <a:pt x="47039" y="37603"/>
                      <a:pt x="47039" y="41823"/>
                      <a:pt x="44431" y="44431"/>
                    </a:cubicBezTo>
                    <a:cubicBezTo>
                      <a:pt x="43152" y="45735"/>
                      <a:pt x="41439" y="46374"/>
                      <a:pt x="39726" y="46374"/>
                    </a:cubicBezTo>
                    <a:close/>
                  </a:path>
                </a:pathLst>
              </a:custGeom>
              <a:grpFill/>
              <a:ln w="2553" cap="flat">
                <a:noFill/>
                <a:prstDash val="solid"/>
                <a:miter/>
              </a:ln>
            </p:spPr>
            <p:txBody>
              <a:bodyPr rtlCol="0" anchor="ctr"/>
              <a:lstStyle/>
              <a:p>
                <a:endParaRPr lang="en-GB" dirty="0"/>
              </a:p>
            </p:txBody>
          </p:sp>
          <p:sp>
            <p:nvSpPr>
              <p:cNvPr id="266" name="Freihandform: Form 1032">
                <a:extLst>
                  <a:ext uri="{FF2B5EF4-FFF2-40B4-BE49-F238E27FC236}">
                    <a16:creationId xmlns:a16="http://schemas.microsoft.com/office/drawing/2014/main" id="{BB2F3DA8-C989-418D-9588-4F17D9A904F5}"/>
                  </a:ext>
                </a:extLst>
              </p:cNvPr>
              <p:cNvSpPr/>
              <p:nvPr/>
            </p:nvSpPr>
            <p:spPr>
              <a:xfrm>
                <a:off x="5485110" y="3470322"/>
                <a:ext cx="60067" cy="13348"/>
              </a:xfrm>
              <a:custGeom>
                <a:avLst/>
                <a:gdLst>
                  <a:gd name="connsiteX0" fmla="*/ 53394 w 60067"/>
                  <a:gd name="connsiteY0" fmla="*/ 13348 h 13348"/>
                  <a:gd name="connsiteX1" fmla="*/ 6674 w 60067"/>
                  <a:gd name="connsiteY1" fmla="*/ 13348 h 13348"/>
                  <a:gd name="connsiteX2" fmla="*/ 0 w 60067"/>
                  <a:gd name="connsiteY2" fmla="*/ 6674 h 13348"/>
                  <a:gd name="connsiteX3" fmla="*/ 6674 w 60067"/>
                  <a:gd name="connsiteY3" fmla="*/ 0 h 13348"/>
                  <a:gd name="connsiteX4" fmla="*/ 53394 w 60067"/>
                  <a:gd name="connsiteY4" fmla="*/ 0 h 13348"/>
                  <a:gd name="connsiteX5" fmla="*/ 60068 w 60067"/>
                  <a:gd name="connsiteY5" fmla="*/ 6674 h 13348"/>
                  <a:gd name="connsiteX6" fmla="*/ 53394 w 60067"/>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067" h="13348">
                    <a:moveTo>
                      <a:pt x="53394" y="13348"/>
                    </a:moveTo>
                    <a:lnTo>
                      <a:pt x="6674" y="13348"/>
                    </a:lnTo>
                    <a:cubicBezTo>
                      <a:pt x="2992" y="13348"/>
                      <a:pt x="0" y="10356"/>
                      <a:pt x="0" y="6674"/>
                    </a:cubicBezTo>
                    <a:cubicBezTo>
                      <a:pt x="0" y="2992"/>
                      <a:pt x="2992" y="0"/>
                      <a:pt x="6674" y="0"/>
                    </a:cubicBezTo>
                    <a:lnTo>
                      <a:pt x="53394" y="0"/>
                    </a:lnTo>
                    <a:cubicBezTo>
                      <a:pt x="57076" y="0"/>
                      <a:pt x="60068" y="2992"/>
                      <a:pt x="60068" y="6674"/>
                    </a:cubicBezTo>
                    <a:cubicBezTo>
                      <a:pt x="60068" y="10356"/>
                      <a:pt x="57076" y="13348"/>
                      <a:pt x="53394" y="13348"/>
                    </a:cubicBezTo>
                    <a:close/>
                  </a:path>
                </a:pathLst>
              </a:custGeom>
              <a:grpFill/>
              <a:ln w="2553" cap="flat">
                <a:noFill/>
                <a:prstDash val="solid"/>
                <a:miter/>
              </a:ln>
            </p:spPr>
            <p:txBody>
              <a:bodyPr rtlCol="0" anchor="ctr"/>
              <a:lstStyle/>
              <a:p>
                <a:endParaRPr lang="en-GB" dirty="0"/>
              </a:p>
            </p:txBody>
          </p:sp>
        </p:grpSp>
        <p:grpSp>
          <p:nvGrpSpPr>
            <p:cNvPr id="256" name="Grafik 313">
              <a:extLst>
                <a:ext uri="{FF2B5EF4-FFF2-40B4-BE49-F238E27FC236}">
                  <a16:creationId xmlns:a16="http://schemas.microsoft.com/office/drawing/2014/main" id="{D82D79DC-3D67-4DAA-9BF8-AF6ECC64D6A1}"/>
                </a:ext>
              </a:extLst>
            </p:cNvPr>
            <p:cNvGrpSpPr/>
            <p:nvPr/>
          </p:nvGrpSpPr>
          <p:grpSpPr>
            <a:xfrm>
              <a:off x="3730797" y="3420033"/>
              <a:ext cx="372837" cy="209031"/>
              <a:chOff x="5343040" y="3557853"/>
              <a:chExt cx="333825" cy="187159"/>
            </a:xfrm>
            <a:solidFill>
              <a:schemeClr val="accent1"/>
            </a:solidFill>
          </p:grpSpPr>
          <p:grpSp>
            <p:nvGrpSpPr>
              <p:cNvPr id="257" name="Grafik 313">
                <a:extLst>
                  <a:ext uri="{FF2B5EF4-FFF2-40B4-BE49-F238E27FC236}">
                    <a16:creationId xmlns:a16="http://schemas.microsoft.com/office/drawing/2014/main" id="{876158C1-47CF-4C95-A17B-D95DDBC84628}"/>
                  </a:ext>
                </a:extLst>
              </p:cNvPr>
              <p:cNvGrpSpPr/>
              <p:nvPr/>
            </p:nvGrpSpPr>
            <p:grpSpPr>
              <a:xfrm>
                <a:off x="5443224" y="3585036"/>
                <a:ext cx="133484" cy="133484"/>
                <a:chOff x="5443224" y="3585036"/>
                <a:chExt cx="133484" cy="133484"/>
              </a:xfrm>
              <a:solidFill>
                <a:schemeClr val="accent1"/>
              </a:solidFill>
            </p:grpSpPr>
            <p:sp>
              <p:nvSpPr>
                <p:cNvPr id="259" name="Freihandform: Form 1035">
                  <a:extLst>
                    <a:ext uri="{FF2B5EF4-FFF2-40B4-BE49-F238E27FC236}">
                      <a16:creationId xmlns:a16="http://schemas.microsoft.com/office/drawing/2014/main" id="{CDEE0AAD-378A-4FAB-B519-ED6F7078FA8A}"/>
                    </a:ext>
                  </a:extLst>
                </p:cNvPr>
                <p:cNvSpPr/>
                <p:nvPr/>
              </p:nvSpPr>
              <p:spPr>
                <a:xfrm>
                  <a:off x="5443224" y="3585036"/>
                  <a:ext cx="133484" cy="133484"/>
                </a:xfrm>
                <a:custGeom>
                  <a:avLst/>
                  <a:gdLst>
                    <a:gd name="connsiteX0" fmla="*/ 66742 w 133484"/>
                    <a:gd name="connsiteY0" fmla="*/ 133484 h 133484"/>
                    <a:gd name="connsiteX1" fmla="*/ 0 w 133484"/>
                    <a:gd name="connsiteY1" fmla="*/ 66742 h 133484"/>
                    <a:gd name="connsiteX2" fmla="*/ 66742 w 133484"/>
                    <a:gd name="connsiteY2" fmla="*/ 0 h 133484"/>
                    <a:gd name="connsiteX3" fmla="*/ 133484 w 133484"/>
                    <a:gd name="connsiteY3" fmla="*/ 66742 h 133484"/>
                    <a:gd name="connsiteX4" fmla="*/ 66742 w 133484"/>
                    <a:gd name="connsiteY4" fmla="*/ 133484 h 133484"/>
                    <a:gd name="connsiteX5" fmla="*/ 66742 w 133484"/>
                    <a:gd name="connsiteY5" fmla="*/ 13323 h 133484"/>
                    <a:gd name="connsiteX6" fmla="*/ 13348 w 133484"/>
                    <a:gd name="connsiteY6" fmla="*/ 66717 h 133484"/>
                    <a:gd name="connsiteX7" fmla="*/ 66742 w 133484"/>
                    <a:gd name="connsiteY7" fmla="*/ 120110 h 133484"/>
                    <a:gd name="connsiteX8" fmla="*/ 120136 w 133484"/>
                    <a:gd name="connsiteY8" fmla="*/ 66717 h 133484"/>
                    <a:gd name="connsiteX9" fmla="*/ 66742 w 133484"/>
                    <a:gd name="connsiteY9" fmla="*/ 13323 h 13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484" h="133484">
                      <a:moveTo>
                        <a:pt x="66742" y="133484"/>
                      </a:moveTo>
                      <a:cubicBezTo>
                        <a:pt x="29944" y="133484"/>
                        <a:pt x="0" y="103540"/>
                        <a:pt x="0" y="66742"/>
                      </a:cubicBezTo>
                      <a:cubicBezTo>
                        <a:pt x="0" y="29944"/>
                        <a:pt x="29944" y="0"/>
                        <a:pt x="66742" y="0"/>
                      </a:cubicBezTo>
                      <a:cubicBezTo>
                        <a:pt x="103540" y="0"/>
                        <a:pt x="133484" y="29944"/>
                        <a:pt x="133484" y="66742"/>
                      </a:cubicBezTo>
                      <a:cubicBezTo>
                        <a:pt x="133484" y="103540"/>
                        <a:pt x="103540" y="133484"/>
                        <a:pt x="66742" y="133484"/>
                      </a:cubicBezTo>
                      <a:close/>
                      <a:moveTo>
                        <a:pt x="66742" y="13323"/>
                      </a:moveTo>
                      <a:cubicBezTo>
                        <a:pt x="37309" y="13323"/>
                        <a:pt x="13348" y="37284"/>
                        <a:pt x="13348" y="66717"/>
                      </a:cubicBezTo>
                      <a:cubicBezTo>
                        <a:pt x="13348" y="96150"/>
                        <a:pt x="37309" y="120110"/>
                        <a:pt x="66742" y="120110"/>
                      </a:cubicBezTo>
                      <a:cubicBezTo>
                        <a:pt x="96175" y="120110"/>
                        <a:pt x="120136" y="96150"/>
                        <a:pt x="120136" y="66717"/>
                      </a:cubicBezTo>
                      <a:cubicBezTo>
                        <a:pt x="120136" y="37284"/>
                        <a:pt x="96175" y="13323"/>
                        <a:pt x="66742" y="13323"/>
                      </a:cubicBezTo>
                      <a:close/>
                    </a:path>
                  </a:pathLst>
                </a:custGeom>
                <a:solidFill>
                  <a:schemeClr val="accent1"/>
                </a:solidFill>
                <a:ln w="2553" cap="flat">
                  <a:noFill/>
                  <a:prstDash val="solid"/>
                  <a:miter/>
                </a:ln>
              </p:spPr>
              <p:txBody>
                <a:bodyPr rtlCol="0" anchor="ctr"/>
                <a:lstStyle/>
                <a:p>
                  <a:endParaRPr lang="en-GB" dirty="0"/>
                </a:p>
              </p:txBody>
            </p:sp>
            <p:sp>
              <p:nvSpPr>
                <p:cNvPr id="260" name="Freihandform: Form 1036">
                  <a:extLst>
                    <a:ext uri="{FF2B5EF4-FFF2-40B4-BE49-F238E27FC236}">
                      <a16:creationId xmlns:a16="http://schemas.microsoft.com/office/drawing/2014/main" id="{F40BBADA-B1E8-4CB7-A7E1-C94451B93D8C}"/>
                    </a:ext>
                  </a:extLst>
                </p:cNvPr>
                <p:cNvSpPr/>
                <p:nvPr/>
              </p:nvSpPr>
              <p:spPr>
                <a:xfrm>
                  <a:off x="5503291" y="3631730"/>
                  <a:ext cx="20022" cy="13348"/>
                </a:xfrm>
                <a:custGeom>
                  <a:avLst/>
                  <a:gdLst>
                    <a:gd name="connsiteX0" fmla="*/ 13348 w 20022"/>
                    <a:gd name="connsiteY0" fmla="*/ 13348 h 13348"/>
                    <a:gd name="connsiteX1" fmla="*/ 6674 w 20022"/>
                    <a:gd name="connsiteY1" fmla="*/ 13348 h 13348"/>
                    <a:gd name="connsiteX2" fmla="*/ 0 w 20022"/>
                    <a:gd name="connsiteY2" fmla="*/ 6674 h 13348"/>
                    <a:gd name="connsiteX3" fmla="*/ 6674 w 20022"/>
                    <a:gd name="connsiteY3" fmla="*/ 0 h 13348"/>
                    <a:gd name="connsiteX4" fmla="*/ 13348 w 20022"/>
                    <a:gd name="connsiteY4" fmla="*/ 0 h 13348"/>
                    <a:gd name="connsiteX5" fmla="*/ 20023 w 20022"/>
                    <a:gd name="connsiteY5" fmla="*/ 6674 h 13348"/>
                    <a:gd name="connsiteX6" fmla="*/ 13348 w 20022"/>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22" h="13348">
                      <a:moveTo>
                        <a:pt x="13348" y="13348"/>
                      </a:moveTo>
                      <a:lnTo>
                        <a:pt x="6674" y="13348"/>
                      </a:lnTo>
                      <a:cubicBezTo>
                        <a:pt x="2992" y="13348"/>
                        <a:pt x="0" y="10356"/>
                        <a:pt x="0" y="6674"/>
                      </a:cubicBezTo>
                      <a:cubicBezTo>
                        <a:pt x="0" y="2992"/>
                        <a:pt x="2992" y="0"/>
                        <a:pt x="6674" y="0"/>
                      </a:cubicBezTo>
                      <a:lnTo>
                        <a:pt x="13348" y="0"/>
                      </a:lnTo>
                      <a:cubicBezTo>
                        <a:pt x="17031" y="0"/>
                        <a:pt x="20023" y="2992"/>
                        <a:pt x="20023" y="6674"/>
                      </a:cubicBezTo>
                      <a:cubicBezTo>
                        <a:pt x="20023" y="10382"/>
                        <a:pt x="17031" y="13348"/>
                        <a:pt x="13348" y="13348"/>
                      </a:cubicBezTo>
                      <a:close/>
                    </a:path>
                  </a:pathLst>
                </a:custGeom>
                <a:solidFill>
                  <a:schemeClr val="accent1"/>
                </a:solidFill>
                <a:ln w="2553" cap="flat">
                  <a:noFill/>
                  <a:prstDash val="solid"/>
                  <a:miter/>
                </a:ln>
              </p:spPr>
              <p:txBody>
                <a:bodyPr rtlCol="0" anchor="ctr"/>
                <a:lstStyle/>
                <a:p>
                  <a:endParaRPr lang="en-GB" dirty="0"/>
                </a:p>
              </p:txBody>
            </p:sp>
            <p:sp>
              <p:nvSpPr>
                <p:cNvPr id="261" name="Freihandform: Form 1037">
                  <a:extLst>
                    <a:ext uri="{FF2B5EF4-FFF2-40B4-BE49-F238E27FC236}">
                      <a16:creationId xmlns:a16="http://schemas.microsoft.com/office/drawing/2014/main" id="{411F53D3-7D3D-4A23-84C4-8AA0B24C93DB}"/>
                    </a:ext>
                  </a:extLst>
                </p:cNvPr>
                <p:cNvSpPr/>
                <p:nvPr/>
              </p:nvSpPr>
              <p:spPr>
                <a:xfrm>
                  <a:off x="5503291" y="3631730"/>
                  <a:ext cx="13348" cy="60067"/>
                </a:xfrm>
                <a:custGeom>
                  <a:avLst/>
                  <a:gdLst>
                    <a:gd name="connsiteX0" fmla="*/ 6674 w 13348"/>
                    <a:gd name="connsiteY0" fmla="*/ 60068 h 60067"/>
                    <a:gd name="connsiteX1" fmla="*/ 0 w 13348"/>
                    <a:gd name="connsiteY1" fmla="*/ 53394 h 60067"/>
                    <a:gd name="connsiteX2" fmla="*/ 0 w 13348"/>
                    <a:gd name="connsiteY2" fmla="*/ 6674 h 60067"/>
                    <a:gd name="connsiteX3" fmla="*/ 6674 w 13348"/>
                    <a:gd name="connsiteY3" fmla="*/ 0 h 60067"/>
                    <a:gd name="connsiteX4" fmla="*/ 13348 w 13348"/>
                    <a:gd name="connsiteY4" fmla="*/ 6674 h 60067"/>
                    <a:gd name="connsiteX5" fmla="*/ 13348 w 13348"/>
                    <a:gd name="connsiteY5" fmla="*/ 53394 h 60067"/>
                    <a:gd name="connsiteX6" fmla="*/ 6674 w 13348"/>
                    <a:gd name="connsiteY6" fmla="*/ 60068 h 60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60067">
                      <a:moveTo>
                        <a:pt x="6674" y="60068"/>
                      </a:moveTo>
                      <a:cubicBezTo>
                        <a:pt x="2992" y="60068"/>
                        <a:pt x="0" y="57076"/>
                        <a:pt x="0" y="53394"/>
                      </a:cubicBezTo>
                      <a:lnTo>
                        <a:pt x="0" y="6674"/>
                      </a:lnTo>
                      <a:cubicBezTo>
                        <a:pt x="0" y="2992"/>
                        <a:pt x="2992" y="0"/>
                        <a:pt x="6674" y="0"/>
                      </a:cubicBezTo>
                      <a:cubicBezTo>
                        <a:pt x="10357" y="0"/>
                        <a:pt x="13348" y="2992"/>
                        <a:pt x="13348" y="6674"/>
                      </a:cubicBezTo>
                      <a:lnTo>
                        <a:pt x="13348" y="53394"/>
                      </a:lnTo>
                      <a:cubicBezTo>
                        <a:pt x="13348" y="57102"/>
                        <a:pt x="10357" y="60068"/>
                        <a:pt x="6674" y="60068"/>
                      </a:cubicBezTo>
                      <a:close/>
                    </a:path>
                  </a:pathLst>
                </a:custGeom>
                <a:solidFill>
                  <a:schemeClr val="accent1"/>
                </a:solidFill>
                <a:ln w="2553" cap="flat">
                  <a:noFill/>
                  <a:prstDash val="solid"/>
                  <a:miter/>
                </a:ln>
              </p:spPr>
              <p:txBody>
                <a:bodyPr rtlCol="0" anchor="ctr"/>
                <a:lstStyle/>
                <a:p>
                  <a:endParaRPr lang="en-GB" dirty="0"/>
                </a:p>
              </p:txBody>
            </p:sp>
            <p:sp>
              <p:nvSpPr>
                <p:cNvPr id="262" name="Freihandform: Form 1038">
                  <a:extLst>
                    <a:ext uri="{FF2B5EF4-FFF2-40B4-BE49-F238E27FC236}">
                      <a16:creationId xmlns:a16="http://schemas.microsoft.com/office/drawing/2014/main" id="{944702F4-EAC3-42BB-B9D0-87D9D6CBCA35}"/>
                    </a:ext>
                  </a:extLst>
                </p:cNvPr>
                <p:cNvSpPr/>
                <p:nvPr/>
              </p:nvSpPr>
              <p:spPr>
                <a:xfrm>
                  <a:off x="5489943" y="3678450"/>
                  <a:ext cx="40045" cy="13348"/>
                </a:xfrm>
                <a:custGeom>
                  <a:avLst/>
                  <a:gdLst>
                    <a:gd name="connsiteX0" fmla="*/ 33371 w 40045"/>
                    <a:gd name="connsiteY0" fmla="*/ 13348 h 13348"/>
                    <a:gd name="connsiteX1" fmla="*/ 6674 w 40045"/>
                    <a:gd name="connsiteY1" fmla="*/ 13348 h 13348"/>
                    <a:gd name="connsiteX2" fmla="*/ 0 w 40045"/>
                    <a:gd name="connsiteY2" fmla="*/ 6674 h 13348"/>
                    <a:gd name="connsiteX3" fmla="*/ 6674 w 40045"/>
                    <a:gd name="connsiteY3" fmla="*/ 0 h 13348"/>
                    <a:gd name="connsiteX4" fmla="*/ 33371 w 40045"/>
                    <a:gd name="connsiteY4" fmla="*/ 0 h 13348"/>
                    <a:gd name="connsiteX5" fmla="*/ 40045 w 40045"/>
                    <a:gd name="connsiteY5" fmla="*/ 6674 h 13348"/>
                    <a:gd name="connsiteX6" fmla="*/ 33371 w 40045"/>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045" h="13348">
                      <a:moveTo>
                        <a:pt x="33371" y="13348"/>
                      </a:moveTo>
                      <a:lnTo>
                        <a:pt x="6674" y="13348"/>
                      </a:lnTo>
                      <a:cubicBezTo>
                        <a:pt x="2992" y="13348"/>
                        <a:pt x="0" y="10356"/>
                        <a:pt x="0" y="6674"/>
                      </a:cubicBezTo>
                      <a:cubicBezTo>
                        <a:pt x="0" y="2992"/>
                        <a:pt x="2992" y="0"/>
                        <a:pt x="6674" y="0"/>
                      </a:cubicBezTo>
                      <a:lnTo>
                        <a:pt x="33371" y="0"/>
                      </a:lnTo>
                      <a:cubicBezTo>
                        <a:pt x="37053" y="0"/>
                        <a:pt x="40045" y="2992"/>
                        <a:pt x="40045" y="6674"/>
                      </a:cubicBezTo>
                      <a:cubicBezTo>
                        <a:pt x="40045" y="10382"/>
                        <a:pt x="37053" y="13348"/>
                        <a:pt x="33371" y="13348"/>
                      </a:cubicBezTo>
                      <a:close/>
                    </a:path>
                  </a:pathLst>
                </a:custGeom>
                <a:solidFill>
                  <a:schemeClr val="accent1"/>
                </a:solidFill>
                <a:ln w="2553" cap="flat">
                  <a:noFill/>
                  <a:prstDash val="solid"/>
                  <a:miter/>
                </a:ln>
              </p:spPr>
              <p:txBody>
                <a:bodyPr rtlCol="0" anchor="ctr"/>
                <a:lstStyle/>
                <a:p>
                  <a:endParaRPr lang="en-GB" dirty="0"/>
                </a:p>
              </p:txBody>
            </p:sp>
            <p:sp>
              <p:nvSpPr>
                <p:cNvPr id="263" name="Freihandform: Form 1039">
                  <a:extLst>
                    <a:ext uri="{FF2B5EF4-FFF2-40B4-BE49-F238E27FC236}">
                      <a16:creationId xmlns:a16="http://schemas.microsoft.com/office/drawing/2014/main" id="{E1D1BEE1-5657-45F5-A0E4-5E620E2164AB}"/>
                    </a:ext>
                  </a:extLst>
                </p:cNvPr>
                <p:cNvSpPr/>
                <p:nvPr/>
              </p:nvSpPr>
              <p:spPr>
                <a:xfrm>
                  <a:off x="5503291" y="3611707"/>
                  <a:ext cx="20022" cy="13348"/>
                </a:xfrm>
                <a:custGeom>
                  <a:avLst/>
                  <a:gdLst>
                    <a:gd name="connsiteX0" fmla="*/ 13348 w 20022"/>
                    <a:gd name="connsiteY0" fmla="*/ 13348 h 13348"/>
                    <a:gd name="connsiteX1" fmla="*/ 6674 w 20022"/>
                    <a:gd name="connsiteY1" fmla="*/ 13348 h 13348"/>
                    <a:gd name="connsiteX2" fmla="*/ 0 w 20022"/>
                    <a:gd name="connsiteY2" fmla="*/ 6674 h 13348"/>
                    <a:gd name="connsiteX3" fmla="*/ 6674 w 20022"/>
                    <a:gd name="connsiteY3" fmla="*/ 0 h 13348"/>
                    <a:gd name="connsiteX4" fmla="*/ 13348 w 20022"/>
                    <a:gd name="connsiteY4" fmla="*/ 0 h 13348"/>
                    <a:gd name="connsiteX5" fmla="*/ 20023 w 20022"/>
                    <a:gd name="connsiteY5" fmla="*/ 6674 h 13348"/>
                    <a:gd name="connsiteX6" fmla="*/ 13348 w 20022"/>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22" h="13348">
                      <a:moveTo>
                        <a:pt x="13348" y="13348"/>
                      </a:moveTo>
                      <a:lnTo>
                        <a:pt x="6674" y="13348"/>
                      </a:lnTo>
                      <a:cubicBezTo>
                        <a:pt x="2992" y="13348"/>
                        <a:pt x="0" y="10357"/>
                        <a:pt x="0" y="6674"/>
                      </a:cubicBezTo>
                      <a:cubicBezTo>
                        <a:pt x="0" y="2992"/>
                        <a:pt x="2992" y="0"/>
                        <a:pt x="6674" y="0"/>
                      </a:cubicBezTo>
                      <a:lnTo>
                        <a:pt x="13348" y="0"/>
                      </a:lnTo>
                      <a:cubicBezTo>
                        <a:pt x="17031" y="0"/>
                        <a:pt x="20023" y="2992"/>
                        <a:pt x="20023" y="6674"/>
                      </a:cubicBezTo>
                      <a:cubicBezTo>
                        <a:pt x="20023" y="10382"/>
                        <a:pt x="17031" y="13348"/>
                        <a:pt x="13348" y="13348"/>
                      </a:cubicBezTo>
                      <a:close/>
                    </a:path>
                  </a:pathLst>
                </a:custGeom>
                <a:solidFill>
                  <a:schemeClr val="accent1"/>
                </a:solidFill>
                <a:ln w="2553" cap="flat">
                  <a:noFill/>
                  <a:prstDash val="solid"/>
                  <a:miter/>
                </a:ln>
              </p:spPr>
              <p:txBody>
                <a:bodyPr rtlCol="0" anchor="ctr"/>
                <a:lstStyle/>
                <a:p>
                  <a:endParaRPr lang="en-GB" dirty="0"/>
                </a:p>
              </p:txBody>
            </p:sp>
          </p:grpSp>
          <p:sp>
            <p:nvSpPr>
              <p:cNvPr id="258" name="Freihandform: Form 1040">
                <a:extLst>
                  <a:ext uri="{FF2B5EF4-FFF2-40B4-BE49-F238E27FC236}">
                    <a16:creationId xmlns:a16="http://schemas.microsoft.com/office/drawing/2014/main" id="{69D0BADD-5D6F-42E2-AA0F-0FB554365D8F}"/>
                  </a:ext>
                </a:extLst>
              </p:cNvPr>
              <p:cNvSpPr/>
              <p:nvPr/>
            </p:nvSpPr>
            <p:spPr>
              <a:xfrm>
                <a:off x="5343040" y="3557853"/>
                <a:ext cx="333825" cy="187159"/>
              </a:xfrm>
              <a:custGeom>
                <a:avLst/>
                <a:gdLst>
                  <a:gd name="connsiteX0" fmla="*/ 166925 w 333825"/>
                  <a:gd name="connsiteY0" fmla="*/ 187159 h 187159"/>
                  <a:gd name="connsiteX1" fmla="*/ 1093 w 333825"/>
                  <a:gd name="connsiteY1" fmla="*/ 97224 h 187159"/>
                  <a:gd name="connsiteX2" fmla="*/ 1093 w 333825"/>
                  <a:gd name="connsiteY2" fmla="*/ 89936 h 187159"/>
                  <a:gd name="connsiteX3" fmla="*/ 166925 w 333825"/>
                  <a:gd name="connsiteY3" fmla="*/ 0 h 187159"/>
                  <a:gd name="connsiteX4" fmla="*/ 332732 w 333825"/>
                  <a:gd name="connsiteY4" fmla="*/ 89936 h 187159"/>
                  <a:gd name="connsiteX5" fmla="*/ 332732 w 333825"/>
                  <a:gd name="connsiteY5" fmla="*/ 97224 h 187159"/>
                  <a:gd name="connsiteX6" fmla="*/ 166925 w 333825"/>
                  <a:gd name="connsiteY6" fmla="*/ 187159 h 187159"/>
                  <a:gd name="connsiteX7" fmla="*/ 14723 w 333825"/>
                  <a:gd name="connsiteY7" fmla="*/ 93567 h 187159"/>
                  <a:gd name="connsiteX8" fmla="*/ 166925 w 333825"/>
                  <a:gd name="connsiteY8" fmla="*/ 173811 h 187159"/>
                  <a:gd name="connsiteX9" fmla="*/ 319128 w 333825"/>
                  <a:gd name="connsiteY9" fmla="*/ 93567 h 187159"/>
                  <a:gd name="connsiteX10" fmla="*/ 166925 w 333825"/>
                  <a:gd name="connsiteY10" fmla="*/ 13323 h 187159"/>
                  <a:gd name="connsiteX11" fmla="*/ 14723 w 333825"/>
                  <a:gd name="connsiteY11" fmla="*/ 93567 h 187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33825" h="187159">
                    <a:moveTo>
                      <a:pt x="166925" y="187159"/>
                    </a:moveTo>
                    <a:cubicBezTo>
                      <a:pt x="99825" y="187159"/>
                      <a:pt x="37840" y="153532"/>
                      <a:pt x="1093" y="97224"/>
                    </a:cubicBezTo>
                    <a:cubicBezTo>
                      <a:pt x="-364" y="94999"/>
                      <a:pt x="-364" y="92160"/>
                      <a:pt x="1093" y="89936"/>
                    </a:cubicBezTo>
                    <a:cubicBezTo>
                      <a:pt x="37840" y="33601"/>
                      <a:pt x="99825" y="0"/>
                      <a:pt x="166925" y="0"/>
                    </a:cubicBezTo>
                    <a:cubicBezTo>
                      <a:pt x="234026" y="0"/>
                      <a:pt x="296011" y="33627"/>
                      <a:pt x="332732" y="89936"/>
                    </a:cubicBezTo>
                    <a:cubicBezTo>
                      <a:pt x="334190" y="92160"/>
                      <a:pt x="334190" y="94999"/>
                      <a:pt x="332732" y="97224"/>
                    </a:cubicBezTo>
                    <a:cubicBezTo>
                      <a:pt x="296011" y="153532"/>
                      <a:pt x="234026" y="187159"/>
                      <a:pt x="166925" y="187159"/>
                    </a:cubicBezTo>
                    <a:close/>
                    <a:moveTo>
                      <a:pt x="14723" y="93567"/>
                    </a:moveTo>
                    <a:cubicBezTo>
                      <a:pt x="49245" y="143892"/>
                      <a:pt x="105809" y="173811"/>
                      <a:pt x="166925" y="173811"/>
                    </a:cubicBezTo>
                    <a:cubicBezTo>
                      <a:pt x="228016" y="173811"/>
                      <a:pt x="284606" y="143892"/>
                      <a:pt x="319128" y="93567"/>
                    </a:cubicBezTo>
                    <a:cubicBezTo>
                      <a:pt x="284606" y="43242"/>
                      <a:pt x="228042" y="13323"/>
                      <a:pt x="166925" y="13323"/>
                    </a:cubicBezTo>
                    <a:cubicBezTo>
                      <a:pt x="105809" y="13323"/>
                      <a:pt x="49245" y="43242"/>
                      <a:pt x="14723" y="93567"/>
                    </a:cubicBezTo>
                    <a:close/>
                  </a:path>
                </a:pathLst>
              </a:custGeom>
              <a:solidFill>
                <a:schemeClr val="accent1"/>
              </a:solidFill>
              <a:ln w="2553" cap="flat">
                <a:noFill/>
                <a:prstDash val="solid"/>
                <a:miter/>
              </a:ln>
            </p:spPr>
            <p:txBody>
              <a:bodyPr rtlCol="0" anchor="ctr"/>
              <a:lstStyle/>
              <a:p>
                <a:endParaRPr lang="en-GB" dirty="0"/>
              </a:p>
            </p:txBody>
          </p:sp>
        </p:grpSp>
      </p:grpSp>
      <p:grpSp>
        <p:nvGrpSpPr>
          <p:cNvPr id="33" name="Group 32">
            <a:extLst>
              <a:ext uri="{FF2B5EF4-FFF2-40B4-BE49-F238E27FC236}">
                <a16:creationId xmlns:a16="http://schemas.microsoft.com/office/drawing/2014/main" id="{BCB6E3E9-508B-0B12-3A3F-1BD3A9CEC774}"/>
              </a:ext>
            </a:extLst>
          </p:cNvPr>
          <p:cNvGrpSpPr/>
          <p:nvPr/>
        </p:nvGrpSpPr>
        <p:grpSpPr>
          <a:xfrm>
            <a:off x="558863" y="4032591"/>
            <a:ext cx="470375" cy="432000"/>
            <a:chOff x="558863" y="4032591"/>
            <a:chExt cx="470375" cy="432000"/>
          </a:xfrm>
        </p:grpSpPr>
        <p:grpSp>
          <p:nvGrpSpPr>
            <p:cNvPr id="274" name="Graphic 6">
              <a:extLst>
                <a:ext uri="{FF2B5EF4-FFF2-40B4-BE49-F238E27FC236}">
                  <a16:creationId xmlns:a16="http://schemas.microsoft.com/office/drawing/2014/main" id="{1122FA6F-B075-416F-A5F7-C66C9986BDF8}"/>
                </a:ext>
              </a:extLst>
            </p:cNvPr>
            <p:cNvGrpSpPr/>
            <p:nvPr/>
          </p:nvGrpSpPr>
          <p:grpSpPr>
            <a:xfrm>
              <a:off x="569084" y="4089356"/>
              <a:ext cx="387244" cy="323022"/>
              <a:chOff x="928583" y="2534725"/>
              <a:chExt cx="342786" cy="285937"/>
            </a:xfrm>
            <a:solidFill>
              <a:schemeClr val="tx2"/>
            </a:solidFill>
          </p:grpSpPr>
          <p:sp>
            <p:nvSpPr>
              <p:cNvPr id="282" name="Freihandform: Form 238">
                <a:extLst>
                  <a:ext uri="{FF2B5EF4-FFF2-40B4-BE49-F238E27FC236}">
                    <a16:creationId xmlns:a16="http://schemas.microsoft.com/office/drawing/2014/main" id="{0BC870D3-4511-4140-9C1D-CFC971F1AB21}"/>
                  </a:ext>
                </a:extLst>
              </p:cNvPr>
              <p:cNvSpPr/>
              <p:nvPr/>
            </p:nvSpPr>
            <p:spPr>
              <a:xfrm>
                <a:off x="985432" y="2534725"/>
                <a:ext cx="285937" cy="285937"/>
              </a:xfrm>
              <a:custGeom>
                <a:avLst/>
                <a:gdLst>
                  <a:gd name="connsiteX0" fmla="*/ 142969 w 285937"/>
                  <a:gd name="connsiteY0" fmla="*/ 285937 h 285937"/>
                  <a:gd name="connsiteX1" fmla="*/ 34599 w 285937"/>
                  <a:gd name="connsiteY1" fmla="*/ 236227 h 285937"/>
                  <a:gd name="connsiteX2" fmla="*/ 35288 w 285937"/>
                  <a:gd name="connsiteY2" fmla="*/ 226969 h 285937"/>
                  <a:gd name="connsiteX3" fmla="*/ 44546 w 285937"/>
                  <a:gd name="connsiteY3" fmla="*/ 227658 h 285937"/>
                  <a:gd name="connsiteX4" fmla="*/ 142969 w 285937"/>
                  <a:gd name="connsiteY4" fmla="*/ 272814 h 285937"/>
                  <a:gd name="connsiteX5" fmla="*/ 272814 w 285937"/>
                  <a:gd name="connsiteY5" fmla="*/ 142969 h 285937"/>
                  <a:gd name="connsiteX6" fmla="*/ 142969 w 285937"/>
                  <a:gd name="connsiteY6" fmla="*/ 13123 h 285937"/>
                  <a:gd name="connsiteX7" fmla="*/ 13123 w 285937"/>
                  <a:gd name="connsiteY7" fmla="*/ 142969 h 285937"/>
                  <a:gd name="connsiteX8" fmla="*/ 30321 w 285937"/>
                  <a:gd name="connsiteY8" fmla="*/ 207593 h 285937"/>
                  <a:gd name="connsiteX9" fmla="*/ 27906 w 285937"/>
                  <a:gd name="connsiteY9" fmla="*/ 216556 h 285937"/>
                  <a:gd name="connsiteX10" fmla="*/ 18950 w 285937"/>
                  <a:gd name="connsiteY10" fmla="*/ 214135 h 285937"/>
                  <a:gd name="connsiteX11" fmla="*/ 0 w 285937"/>
                  <a:gd name="connsiteY11" fmla="*/ 142969 h 285937"/>
                  <a:gd name="connsiteX12" fmla="*/ 142969 w 285937"/>
                  <a:gd name="connsiteY12" fmla="*/ 0 h 285937"/>
                  <a:gd name="connsiteX13" fmla="*/ 285937 w 285937"/>
                  <a:gd name="connsiteY13" fmla="*/ 142969 h 285937"/>
                  <a:gd name="connsiteX14" fmla="*/ 142969 w 285937"/>
                  <a:gd name="connsiteY14" fmla="*/ 285937 h 28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5937" h="285937">
                    <a:moveTo>
                      <a:pt x="142969" y="285937"/>
                    </a:moveTo>
                    <a:cubicBezTo>
                      <a:pt x="101310" y="285937"/>
                      <a:pt x="61809" y="267814"/>
                      <a:pt x="34599" y="236227"/>
                    </a:cubicBezTo>
                    <a:cubicBezTo>
                      <a:pt x="32237" y="233485"/>
                      <a:pt x="32545" y="229338"/>
                      <a:pt x="35288" y="226969"/>
                    </a:cubicBezTo>
                    <a:cubicBezTo>
                      <a:pt x="38037" y="224600"/>
                      <a:pt x="42177" y="224915"/>
                      <a:pt x="44546" y="227658"/>
                    </a:cubicBezTo>
                    <a:cubicBezTo>
                      <a:pt x="69263" y="256358"/>
                      <a:pt x="105135" y="272814"/>
                      <a:pt x="142969" y="272814"/>
                    </a:cubicBezTo>
                    <a:cubicBezTo>
                      <a:pt x="214568" y="272814"/>
                      <a:pt x="272814" y="214568"/>
                      <a:pt x="272814" y="142969"/>
                    </a:cubicBezTo>
                    <a:cubicBezTo>
                      <a:pt x="272814" y="71370"/>
                      <a:pt x="214568" y="13123"/>
                      <a:pt x="142969" y="13123"/>
                    </a:cubicBezTo>
                    <a:cubicBezTo>
                      <a:pt x="71369" y="13123"/>
                      <a:pt x="13123" y="71370"/>
                      <a:pt x="13123" y="142969"/>
                    </a:cubicBezTo>
                    <a:cubicBezTo>
                      <a:pt x="13123" y="165671"/>
                      <a:pt x="19068" y="188020"/>
                      <a:pt x="30321" y="207593"/>
                    </a:cubicBezTo>
                    <a:cubicBezTo>
                      <a:pt x="32125" y="210736"/>
                      <a:pt x="31042" y="214745"/>
                      <a:pt x="27906" y="216556"/>
                    </a:cubicBezTo>
                    <a:cubicBezTo>
                      <a:pt x="24763" y="218347"/>
                      <a:pt x="20747" y="217278"/>
                      <a:pt x="18950" y="214135"/>
                    </a:cubicBezTo>
                    <a:cubicBezTo>
                      <a:pt x="6555" y="192574"/>
                      <a:pt x="0" y="167968"/>
                      <a:pt x="0" y="142969"/>
                    </a:cubicBezTo>
                    <a:cubicBezTo>
                      <a:pt x="0" y="64139"/>
                      <a:pt x="64132" y="0"/>
                      <a:pt x="142969" y="0"/>
                    </a:cubicBezTo>
                    <a:cubicBezTo>
                      <a:pt x="221805" y="0"/>
                      <a:pt x="285937" y="64132"/>
                      <a:pt x="285937" y="142969"/>
                    </a:cubicBezTo>
                    <a:cubicBezTo>
                      <a:pt x="285937" y="221805"/>
                      <a:pt x="221805" y="285937"/>
                      <a:pt x="142969" y="285937"/>
                    </a:cubicBezTo>
                    <a:close/>
                  </a:path>
                </a:pathLst>
              </a:custGeom>
              <a:grpFill/>
              <a:ln w="655" cap="flat">
                <a:noFill/>
                <a:prstDash val="solid"/>
                <a:miter/>
              </a:ln>
            </p:spPr>
            <p:txBody>
              <a:bodyPr rtlCol="0" anchor="ctr"/>
              <a:lstStyle/>
              <a:p>
                <a:endParaRPr lang="en-GB" dirty="0"/>
              </a:p>
            </p:txBody>
          </p:sp>
          <p:sp>
            <p:nvSpPr>
              <p:cNvPr id="283" name="Freihandform: Form 239">
                <a:extLst>
                  <a:ext uri="{FF2B5EF4-FFF2-40B4-BE49-F238E27FC236}">
                    <a16:creationId xmlns:a16="http://schemas.microsoft.com/office/drawing/2014/main" id="{FA8159C6-55C8-47E7-8C81-E8561DB62234}"/>
                  </a:ext>
                </a:extLst>
              </p:cNvPr>
              <p:cNvSpPr/>
              <p:nvPr/>
            </p:nvSpPr>
            <p:spPr>
              <a:xfrm>
                <a:off x="1078199" y="2627485"/>
                <a:ext cx="100417" cy="100417"/>
              </a:xfrm>
              <a:custGeom>
                <a:avLst/>
                <a:gdLst>
                  <a:gd name="connsiteX0" fmla="*/ 50202 w 100417"/>
                  <a:gd name="connsiteY0" fmla="*/ 100417 h 100417"/>
                  <a:gd name="connsiteX1" fmla="*/ 24166 w 100417"/>
                  <a:gd name="connsiteY1" fmla="*/ 93147 h 100417"/>
                  <a:gd name="connsiteX2" fmla="*/ 21968 w 100417"/>
                  <a:gd name="connsiteY2" fmla="*/ 84132 h 100417"/>
                  <a:gd name="connsiteX3" fmla="*/ 30983 w 100417"/>
                  <a:gd name="connsiteY3" fmla="*/ 81934 h 100417"/>
                  <a:gd name="connsiteX4" fmla="*/ 50209 w 100417"/>
                  <a:gd name="connsiteY4" fmla="*/ 87294 h 100417"/>
                  <a:gd name="connsiteX5" fmla="*/ 87294 w 100417"/>
                  <a:gd name="connsiteY5" fmla="*/ 50209 h 100417"/>
                  <a:gd name="connsiteX6" fmla="*/ 50209 w 100417"/>
                  <a:gd name="connsiteY6" fmla="*/ 13123 h 100417"/>
                  <a:gd name="connsiteX7" fmla="*/ 13123 w 100417"/>
                  <a:gd name="connsiteY7" fmla="*/ 50209 h 100417"/>
                  <a:gd name="connsiteX8" fmla="*/ 17598 w 100417"/>
                  <a:gd name="connsiteY8" fmla="*/ 67879 h 100417"/>
                  <a:gd name="connsiteX9" fmla="*/ 14967 w 100417"/>
                  <a:gd name="connsiteY9" fmla="*/ 76776 h 100417"/>
                  <a:gd name="connsiteX10" fmla="*/ 6069 w 100417"/>
                  <a:gd name="connsiteY10" fmla="*/ 74145 h 100417"/>
                  <a:gd name="connsiteX11" fmla="*/ 0 w 100417"/>
                  <a:gd name="connsiteY11" fmla="*/ 50209 h 100417"/>
                  <a:gd name="connsiteX12" fmla="*/ 50209 w 100417"/>
                  <a:gd name="connsiteY12" fmla="*/ 0 h 100417"/>
                  <a:gd name="connsiteX13" fmla="*/ 100417 w 100417"/>
                  <a:gd name="connsiteY13" fmla="*/ 50209 h 100417"/>
                  <a:gd name="connsiteX14" fmla="*/ 50202 w 100417"/>
                  <a:gd name="connsiteY14" fmla="*/ 100417 h 10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417" h="100417">
                    <a:moveTo>
                      <a:pt x="50202" y="100417"/>
                    </a:moveTo>
                    <a:cubicBezTo>
                      <a:pt x="41003" y="100417"/>
                      <a:pt x="32000" y="97904"/>
                      <a:pt x="24166" y="93147"/>
                    </a:cubicBezTo>
                    <a:cubicBezTo>
                      <a:pt x="21069" y="91264"/>
                      <a:pt x="20078" y="87229"/>
                      <a:pt x="21968" y="84132"/>
                    </a:cubicBezTo>
                    <a:cubicBezTo>
                      <a:pt x="23845" y="81035"/>
                      <a:pt x="27880" y="80044"/>
                      <a:pt x="30983" y="81934"/>
                    </a:cubicBezTo>
                    <a:cubicBezTo>
                      <a:pt x="36764" y="85444"/>
                      <a:pt x="43411" y="87294"/>
                      <a:pt x="50209" y="87294"/>
                    </a:cubicBezTo>
                    <a:cubicBezTo>
                      <a:pt x="70661" y="87294"/>
                      <a:pt x="87294" y="70654"/>
                      <a:pt x="87294" y="50209"/>
                    </a:cubicBezTo>
                    <a:cubicBezTo>
                      <a:pt x="87294" y="29763"/>
                      <a:pt x="70654" y="13123"/>
                      <a:pt x="50209" y="13123"/>
                    </a:cubicBezTo>
                    <a:cubicBezTo>
                      <a:pt x="29763" y="13123"/>
                      <a:pt x="13123" y="29763"/>
                      <a:pt x="13123" y="50209"/>
                    </a:cubicBezTo>
                    <a:cubicBezTo>
                      <a:pt x="13123" y="56383"/>
                      <a:pt x="14672" y="62498"/>
                      <a:pt x="17598" y="67879"/>
                    </a:cubicBezTo>
                    <a:cubicBezTo>
                      <a:pt x="19330" y="71061"/>
                      <a:pt x="18149" y="75044"/>
                      <a:pt x="14967" y="76776"/>
                    </a:cubicBezTo>
                    <a:cubicBezTo>
                      <a:pt x="11771" y="78515"/>
                      <a:pt x="7795" y="77321"/>
                      <a:pt x="6069" y="74145"/>
                    </a:cubicBezTo>
                    <a:cubicBezTo>
                      <a:pt x="2100" y="66842"/>
                      <a:pt x="0" y="58561"/>
                      <a:pt x="0" y="50209"/>
                    </a:cubicBezTo>
                    <a:cubicBezTo>
                      <a:pt x="0" y="22519"/>
                      <a:pt x="22526" y="0"/>
                      <a:pt x="50209" y="0"/>
                    </a:cubicBezTo>
                    <a:cubicBezTo>
                      <a:pt x="77892" y="0"/>
                      <a:pt x="100417" y="22526"/>
                      <a:pt x="100417" y="50209"/>
                    </a:cubicBezTo>
                    <a:cubicBezTo>
                      <a:pt x="100417" y="77892"/>
                      <a:pt x="77892" y="100417"/>
                      <a:pt x="50202" y="100417"/>
                    </a:cubicBezTo>
                    <a:close/>
                  </a:path>
                </a:pathLst>
              </a:custGeom>
              <a:grpFill/>
              <a:ln w="655" cap="flat">
                <a:noFill/>
                <a:prstDash val="solid"/>
                <a:miter/>
              </a:ln>
            </p:spPr>
            <p:txBody>
              <a:bodyPr rtlCol="0" anchor="ctr"/>
              <a:lstStyle/>
              <a:p>
                <a:endParaRPr lang="en-GB" dirty="0"/>
              </a:p>
            </p:txBody>
          </p:sp>
          <p:sp>
            <p:nvSpPr>
              <p:cNvPr id="284" name="Freihandform: Form 240">
                <a:extLst>
                  <a:ext uri="{FF2B5EF4-FFF2-40B4-BE49-F238E27FC236}">
                    <a16:creationId xmlns:a16="http://schemas.microsoft.com/office/drawing/2014/main" id="{701A1F9A-F074-4C03-A710-73C124690CB6}"/>
                  </a:ext>
                </a:extLst>
              </p:cNvPr>
              <p:cNvSpPr/>
              <p:nvPr/>
            </p:nvSpPr>
            <p:spPr>
              <a:xfrm>
                <a:off x="1029079" y="2578379"/>
                <a:ext cx="198629" cy="198629"/>
              </a:xfrm>
              <a:custGeom>
                <a:avLst/>
                <a:gdLst>
                  <a:gd name="connsiteX0" fmla="*/ 99322 w 198629"/>
                  <a:gd name="connsiteY0" fmla="*/ 198630 h 198629"/>
                  <a:gd name="connsiteX1" fmla="*/ 29481 w 198629"/>
                  <a:gd name="connsiteY1" fmla="*/ 169923 h 198629"/>
                  <a:gd name="connsiteX2" fmla="*/ 29428 w 198629"/>
                  <a:gd name="connsiteY2" fmla="*/ 160645 h 198629"/>
                  <a:gd name="connsiteX3" fmla="*/ 38706 w 198629"/>
                  <a:gd name="connsiteY3" fmla="*/ 160593 h 198629"/>
                  <a:gd name="connsiteX4" fmla="*/ 99315 w 198629"/>
                  <a:gd name="connsiteY4" fmla="*/ 185500 h 198629"/>
                  <a:gd name="connsiteX5" fmla="*/ 185507 w 198629"/>
                  <a:gd name="connsiteY5" fmla="*/ 99308 h 198629"/>
                  <a:gd name="connsiteX6" fmla="*/ 99315 w 198629"/>
                  <a:gd name="connsiteY6" fmla="*/ 13116 h 198629"/>
                  <a:gd name="connsiteX7" fmla="*/ 13123 w 198629"/>
                  <a:gd name="connsiteY7" fmla="*/ 99308 h 198629"/>
                  <a:gd name="connsiteX8" fmla="*/ 24704 w 198629"/>
                  <a:gd name="connsiteY8" fmla="*/ 142490 h 198629"/>
                  <a:gd name="connsiteX9" fmla="*/ 22322 w 198629"/>
                  <a:gd name="connsiteY9" fmla="*/ 151459 h 198629"/>
                  <a:gd name="connsiteX10" fmla="*/ 13353 w 198629"/>
                  <a:gd name="connsiteY10" fmla="*/ 149077 h 198629"/>
                  <a:gd name="connsiteX11" fmla="*/ 0 w 198629"/>
                  <a:gd name="connsiteY11" fmla="*/ 99315 h 198629"/>
                  <a:gd name="connsiteX12" fmla="*/ 99315 w 198629"/>
                  <a:gd name="connsiteY12" fmla="*/ 0 h 198629"/>
                  <a:gd name="connsiteX13" fmla="*/ 198630 w 198629"/>
                  <a:gd name="connsiteY13" fmla="*/ 99315 h 198629"/>
                  <a:gd name="connsiteX14" fmla="*/ 99322 w 198629"/>
                  <a:gd name="connsiteY14" fmla="*/ 198630 h 19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8629" h="198629">
                    <a:moveTo>
                      <a:pt x="99322" y="198630"/>
                    </a:moveTo>
                    <a:cubicBezTo>
                      <a:pt x="72997" y="198630"/>
                      <a:pt x="48201" y="188433"/>
                      <a:pt x="29481" y="169923"/>
                    </a:cubicBezTo>
                    <a:cubicBezTo>
                      <a:pt x="26902" y="167377"/>
                      <a:pt x="26882" y="163224"/>
                      <a:pt x="29428" y="160645"/>
                    </a:cubicBezTo>
                    <a:cubicBezTo>
                      <a:pt x="31974" y="158067"/>
                      <a:pt x="36128" y="158047"/>
                      <a:pt x="38706" y="160593"/>
                    </a:cubicBezTo>
                    <a:cubicBezTo>
                      <a:pt x="54946" y="176655"/>
                      <a:pt x="76474" y="185500"/>
                      <a:pt x="99315" y="185500"/>
                    </a:cubicBezTo>
                    <a:cubicBezTo>
                      <a:pt x="146840" y="185500"/>
                      <a:pt x="185507" y="146833"/>
                      <a:pt x="185507" y="99308"/>
                    </a:cubicBezTo>
                    <a:cubicBezTo>
                      <a:pt x="185507" y="51783"/>
                      <a:pt x="146840" y="13116"/>
                      <a:pt x="99315" y="13116"/>
                    </a:cubicBezTo>
                    <a:cubicBezTo>
                      <a:pt x="51790" y="13116"/>
                      <a:pt x="13123" y="51783"/>
                      <a:pt x="13123" y="99308"/>
                    </a:cubicBezTo>
                    <a:cubicBezTo>
                      <a:pt x="13123" y="114498"/>
                      <a:pt x="17126" y="129426"/>
                      <a:pt x="24704" y="142490"/>
                    </a:cubicBezTo>
                    <a:cubicBezTo>
                      <a:pt x="26522" y="145626"/>
                      <a:pt x="25452" y="149642"/>
                      <a:pt x="22322" y="151459"/>
                    </a:cubicBezTo>
                    <a:cubicBezTo>
                      <a:pt x="19179" y="153264"/>
                      <a:pt x="15170" y="152207"/>
                      <a:pt x="13353" y="149077"/>
                    </a:cubicBezTo>
                    <a:cubicBezTo>
                      <a:pt x="4619" y="134019"/>
                      <a:pt x="0" y="116808"/>
                      <a:pt x="0" y="99315"/>
                    </a:cubicBezTo>
                    <a:cubicBezTo>
                      <a:pt x="0" y="44553"/>
                      <a:pt x="44553" y="0"/>
                      <a:pt x="99315" y="0"/>
                    </a:cubicBezTo>
                    <a:cubicBezTo>
                      <a:pt x="154077" y="0"/>
                      <a:pt x="198630" y="44553"/>
                      <a:pt x="198630" y="99315"/>
                    </a:cubicBezTo>
                    <a:cubicBezTo>
                      <a:pt x="198630" y="154077"/>
                      <a:pt x="154090" y="198630"/>
                      <a:pt x="99322" y="198630"/>
                    </a:cubicBezTo>
                    <a:close/>
                  </a:path>
                </a:pathLst>
              </a:custGeom>
              <a:grpFill/>
              <a:ln w="655" cap="flat">
                <a:noFill/>
                <a:prstDash val="solid"/>
                <a:miter/>
              </a:ln>
            </p:spPr>
            <p:txBody>
              <a:bodyPr rtlCol="0" anchor="ctr"/>
              <a:lstStyle/>
              <a:p>
                <a:endParaRPr lang="en-GB" dirty="0"/>
              </a:p>
            </p:txBody>
          </p:sp>
          <p:grpSp>
            <p:nvGrpSpPr>
              <p:cNvPr id="285" name="Graphic 6">
                <a:extLst>
                  <a:ext uri="{FF2B5EF4-FFF2-40B4-BE49-F238E27FC236}">
                    <a16:creationId xmlns:a16="http://schemas.microsoft.com/office/drawing/2014/main" id="{C82B7BCC-38BE-42C4-8597-F106C3ECBE12}"/>
                  </a:ext>
                </a:extLst>
              </p:cNvPr>
              <p:cNvGrpSpPr/>
              <p:nvPr/>
            </p:nvGrpSpPr>
            <p:grpSpPr>
              <a:xfrm>
                <a:off x="928583" y="2671149"/>
                <a:ext cx="206313" cy="140419"/>
                <a:chOff x="928583" y="2671149"/>
                <a:chExt cx="206313" cy="140419"/>
              </a:xfrm>
              <a:grpFill/>
            </p:grpSpPr>
            <p:sp>
              <p:nvSpPr>
                <p:cNvPr id="286" name="Freihandform: Form 242">
                  <a:extLst>
                    <a:ext uri="{FF2B5EF4-FFF2-40B4-BE49-F238E27FC236}">
                      <a16:creationId xmlns:a16="http://schemas.microsoft.com/office/drawing/2014/main" id="{0AD035B1-C3E1-4FD8-BEB5-4F2F806CEB23}"/>
                    </a:ext>
                  </a:extLst>
                </p:cNvPr>
                <p:cNvSpPr/>
                <p:nvPr/>
              </p:nvSpPr>
              <p:spPr>
                <a:xfrm>
                  <a:off x="928583" y="2732099"/>
                  <a:ext cx="74014" cy="47658"/>
                </a:xfrm>
                <a:custGeom>
                  <a:avLst/>
                  <a:gdLst>
                    <a:gd name="connsiteX0" fmla="*/ 34376 w 74014"/>
                    <a:gd name="connsiteY0" fmla="*/ 47659 h 47658"/>
                    <a:gd name="connsiteX1" fmla="*/ 31194 w 74014"/>
                    <a:gd name="connsiteY1" fmla="*/ 46839 h 47658"/>
                    <a:gd name="connsiteX2" fmla="*/ 3379 w 74014"/>
                    <a:gd name="connsiteY2" fmla="*/ 31393 h 47658"/>
                    <a:gd name="connsiteX3" fmla="*/ 0 w 74014"/>
                    <a:gd name="connsiteY3" fmla="*/ 25711 h 47658"/>
                    <a:gd name="connsiteX4" fmla="*/ 3281 w 74014"/>
                    <a:gd name="connsiteY4" fmla="*/ 19969 h 47658"/>
                    <a:gd name="connsiteX5" fmla="*/ 36358 w 74014"/>
                    <a:gd name="connsiteY5" fmla="*/ 875 h 47658"/>
                    <a:gd name="connsiteX6" fmla="*/ 42821 w 74014"/>
                    <a:gd name="connsiteY6" fmla="*/ 823 h 47658"/>
                    <a:gd name="connsiteX7" fmla="*/ 70635 w 74014"/>
                    <a:gd name="connsiteY7" fmla="*/ 16262 h 47658"/>
                    <a:gd name="connsiteX8" fmla="*/ 74014 w 74014"/>
                    <a:gd name="connsiteY8" fmla="*/ 21944 h 47658"/>
                    <a:gd name="connsiteX9" fmla="*/ 70733 w 74014"/>
                    <a:gd name="connsiteY9" fmla="*/ 27686 h 47658"/>
                    <a:gd name="connsiteX10" fmla="*/ 37657 w 74014"/>
                    <a:gd name="connsiteY10" fmla="*/ 46780 h 47658"/>
                    <a:gd name="connsiteX11" fmla="*/ 34376 w 74014"/>
                    <a:gd name="connsiteY11" fmla="*/ 47659 h 47658"/>
                    <a:gd name="connsiteX12" fmla="*/ 19875 w 74014"/>
                    <a:gd name="connsiteY12" fmla="*/ 25547 h 47658"/>
                    <a:gd name="connsiteX13" fmla="*/ 34310 w 74014"/>
                    <a:gd name="connsiteY13" fmla="*/ 33565 h 47658"/>
                    <a:gd name="connsiteX14" fmla="*/ 54133 w 74014"/>
                    <a:gd name="connsiteY14" fmla="*/ 22115 h 47658"/>
                    <a:gd name="connsiteX15" fmla="*/ 39697 w 74014"/>
                    <a:gd name="connsiteY15" fmla="*/ 14103 h 47658"/>
                    <a:gd name="connsiteX16" fmla="*/ 19875 w 74014"/>
                    <a:gd name="connsiteY16" fmla="*/ 25547 h 47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014" h="47658">
                      <a:moveTo>
                        <a:pt x="34376" y="47659"/>
                      </a:moveTo>
                      <a:cubicBezTo>
                        <a:pt x="33280" y="47659"/>
                        <a:pt x="32184" y="47383"/>
                        <a:pt x="31194" y="46839"/>
                      </a:cubicBezTo>
                      <a:lnTo>
                        <a:pt x="3379" y="31393"/>
                      </a:lnTo>
                      <a:cubicBezTo>
                        <a:pt x="1313" y="30245"/>
                        <a:pt x="20" y="28073"/>
                        <a:pt x="0" y="25711"/>
                      </a:cubicBezTo>
                      <a:cubicBezTo>
                        <a:pt x="-19" y="23349"/>
                        <a:pt x="1234" y="21157"/>
                        <a:pt x="3281" y="19969"/>
                      </a:cubicBezTo>
                      <a:lnTo>
                        <a:pt x="36358" y="875"/>
                      </a:lnTo>
                      <a:cubicBezTo>
                        <a:pt x="38352" y="-273"/>
                        <a:pt x="40806" y="-293"/>
                        <a:pt x="42821" y="823"/>
                      </a:cubicBezTo>
                      <a:lnTo>
                        <a:pt x="70635" y="16262"/>
                      </a:lnTo>
                      <a:cubicBezTo>
                        <a:pt x="72702" y="17410"/>
                        <a:pt x="73994" y="19582"/>
                        <a:pt x="74014" y="21944"/>
                      </a:cubicBezTo>
                      <a:cubicBezTo>
                        <a:pt x="74034" y="24306"/>
                        <a:pt x="72780" y="26498"/>
                        <a:pt x="70733" y="27686"/>
                      </a:cubicBezTo>
                      <a:lnTo>
                        <a:pt x="37657" y="46780"/>
                      </a:lnTo>
                      <a:cubicBezTo>
                        <a:pt x="36640" y="47364"/>
                        <a:pt x="35505" y="47659"/>
                        <a:pt x="34376" y="47659"/>
                      </a:cubicBezTo>
                      <a:close/>
                      <a:moveTo>
                        <a:pt x="19875" y="25547"/>
                      </a:moveTo>
                      <a:lnTo>
                        <a:pt x="34310" y="33565"/>
                      </a:lnTo>
                      <a:lnTo>
                        <a:pt x="54133" y="22115"/>
                      </a:lnTo>
                      <a:lnTo>
                        <a:pt x="39697" y="14103"/>
                      </a:lnTo>
                      <a:lnTo>
                        <a:pt x="19875" y="25547"/>
                      </a:lnTo>
                      <a:close/>
                    </a:path>
                  </a:pathLst>
                </a:custGeom>
                <a:grpFill/>
                <a:ln w="655" cap="flat">
                  <a:noFill/>
                  <a:prstDash val="solid"/>
                  <a:miter/>
                </a:ln>
              </p:spPr>
              <p:txBody>
                <a:bodyPr rtlCol="0" anchor="ctr"/>
                <a:lstStyle/>
                <a:p>
                  <a:endParaRPr lang="en-GB" dirty="0"/>
                </a:p>
              </p:txBody>
            </p:sp>
            <p:sp>
              <p:nvSpPr>
                <p:cNvPr id="287" name="Freihandform: Form 243">
                  <a:extLst>
                    <a:ext uri="{FF2B5EF4-FFF2-40B4-BE49-F238E27FC236}">
                      <a16:creationId xmlns:a16="http://schemas.microsoft.com/office/drawing/2014/main" id="{D1ABCBEC-B957-4018-BE25-2CD2B8859E03}"/>
                    </a:ext>
                  </a:extLst>
                </p:cNvPr>
                <p:cNvSpPr/>
                <p:nvPr/>
              </p:nvSpPr>
              <p:spPr>
                <a:xfrm>
                  <a:off x="955859" y="2747536"/>
                  <a:ext cx="46739" cy="64032"/>
                </a:xfrm>
                <a:custGeom>
                  <a:avLst/>
                  <a:gdLst>
                    <a:gd name="connsiteX0" fmla="*/ 6562 w 46739"/>
                    <a:gd name="connsiteY0" fmla="*/ 64032 h 64032"/>
                    <a:gd name="connsiteX1" fmla="*/ 3236 w 46739"/>
                    <a:gd name="connsiteY1" fmla="*/ 63127 h 64032"/>
                    <a:gd name="connsiteX2" fmla="*/ 1 w 46739"/>
                    <a:gd name="connsiteY2" fmla="*/ 57366 h 64032"/>
                    <a:gd name="connsiteX3" fmla="*/ 539 w 46739"/>
                    <a:gd name="connsiteY3" fmla="*/ 25555 h 64032"/>
                    <a:gd name="connsiteX4" fmla="*/ 3820 w 46739"/>
                    <a:gd name="connsiteY4" fmla="*/ 19978 h 64032"/>
                    <a:gd name="connsiteX5" fmla="*/ 36896 w 46739"/>
                    <a:gd name="connsiteY5" fmla="*/ 878 h 64032"/>
                    <a:gd name="connsiteX6" fmla="*/ 43504 w 46739"/>
                    <a:gd name="connsiteY6" fmla="*/ 904 h 64032"/>
                    <a:gd name="connsiteX7" fmla="*/ 46739 w 46739"/>
                    <a:gd name="connsiteY7" fmla="*/ 6665 h 64032"/>
                    <a:gd name="connsiteX8" fmla="*/ 46200 w 46739"/>
                    <a:gd name="connsiteY8" fmla="*/ 38475 h 64032"/>
                    <a:gd name="connsiteX9" fmla="*/ 42920 w 46739"/>
                    <a:gd name="connsiteY9" fmla="*/ 44052 h 64032"/>
                    <a:gd name="connsiteX10" fmla="*/ 9843 w 46739"/>
                    <a:gd name="connsiteY10" fmla="*/ 63146 h 64032"/>
                    <a:gd name="connsiteX11" fmla="*/ 6562 w 46739"/>
                    <a:gd name="connsiteY11" fmla="*/ 64032 h 64032"/>
                    <a:gd name="connsiteX12" fmla="*/ 13596 w 46739"/>
                    <a:gd name="connsiteY12" fmla="*/ 29486 h 64032"/>
                    <a:gd name="connsiteX13" fmla="*/ 13321 w 46739"/>
                    <a:gd name="connsiteY13" fmla="*/ 45994 h 64032"/>
                    <a:gd name="connsiteX14" fmla="*/ 33143 w 46739"/>
                    <a:gd name="connsiteY14" fmla="*/ 34551 h 64032"/>
                    <a:gd name="connsiteX15" fmla="*/ 33419 w 46739"/>
                    <a:gd name="connsiteY15" fmla="*/ 18043 h 64032"/>
                    <a:gd name="connsiteX16" fmla="*/ 13596 w 46739"/>
                    <a:gd name="connsiteY16" fmla="*/ 29486 h 64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739" h="64032">
                      <a:moveTo>
                        <a:pt x="6562" y="64032"/>
                      </a:moveTo>
                      <a:cubicBezTo>
                        <a:pt x="5414" y="64032"/>
                        <a:pt x="4259" y="63730"/>
                        <a:pt x="3236" y="63127"/>
                      </a:cubicBezTo>
                      <a:cubicBezTo>
                        <a:pt x="1195" y="61926"/>
                        <a:pt x="-38" y="59721"/>
                        <a:pt x="1" y="57366"/>
                      </a:cubicBezTo>
                      <a:lnTo>
                        <a:pt x="539" y="25555"/>
                      </a:lnTo>
                      <a:cubicBezTo>
                        <a:pt x="578" y="23246"/>
                        <a:pt x="1825" y="21133"/>
                        <a:pt x="3820" y="19978"/>
                      </a:cubicBezTo>
                      <a:lnTo>
                        <a:pt x="36896" y="878"/>
                      </a:lnTo>
                      <a:cubicBezTo>
                        <a:pt x="38950" y="-297"/>
                        <a:pt x="41463" y="-297"/>
                        <a:pt x="43504" y="904"/>
                      </a:cubicBezTo>
                      <a:cubicBezTo>
                        <a:pt x="45544" y="2105"/>
                        <a:pt x="46778" y="4309"/>
                        <a:pt x="46739" y="6665"/>
                      </a:cubicBezTo>
                      <a:lnTo>
                        <a:pt x="46200" y="38475"/>
                      </a:lnTo>
                      <a:cubicBezTo>
                        <a:pt x="46161" y="40785"/>
                        <a:pt x="44914" y="42897"/>
                        <a:pt x="42920" y="44052"/>
                      </a:cubicBezTo>
                      <a:lnTo>
                        <a:pt x="9843" y="63146"/>
                      </a:lnTo>
                      <a:cubicBezTo>
                        <a:pt x="8826" y="63737"/>
                        <a:pt x="7691" y="64032"/>
                        <a:pt x="6562" y="64032"/>
                      </a:cubicBezTo>
                      <a:close/>
                      <a:moveTo>
                        <a:pt x="13596" y="29486"/>
                      </a:moveTo>
                      <a:lnTo>
                        <a:pt x="13321" y="45994"/>
                      </a:lnTo>
                      <a:lnTo>
                        <a:pt x="33143" y="34551"/>
                      </a:lnTo>
                      <a:lnTo>
                        <a:pt x="33419" y="18043"/>
                      </a:lnTo>
                      <a:lnTo>
                        <a:pt x="13596" y="29486"/>
                      </a:lnTo>
                      <a:close/>
                    </a:path>
                  </a:pathLst>
                </a:custGeom>
                <a:grpFill/>
                <a:ln w="655" cap="flat">
                  <a:noFill/>
                  <a:prstDash val="solid"/>
                  <a:miter/>
                </a:ln>
              </p:spPr>
              <p:txBody>
                <a:bodyPr rtlCol="0" anchor="ctr"/>
                <a:lstStyle/>
                <a:p>
                  <a:endParaRPr lang="en-GB" dirty="0"/>
                </a:p>
              </p:txBody>
            </p:sp>
            <p:sp>
              <p:nvSpPr>
                <p:cNvPr id="288" name="Freihandform: Form 244">
                  <a:extLst>
                    <a:ext uri="{FF2B5EF4-FFF2-40B4-BE49-F238E27FC236}">
                      <a16:creationId xmlns:a16="http://schemas.microsoft.com/office/drawing/2014/main" id="{F9D1D8DB-3AA8-47AE-B25F-9310913057D2}"/>
                    </a:ext>
                  </a:extLst>
                </p:cNvPr>
                <p:cNvSpPr/>
                <p:nvPr/>
              </p:nvSpPr>
              <p:spPr>
                <a:xfrm>
                  <a:off x="942218" y="2671149"/>
                  <a:ext cx="192678" cy="116791"/>
                </a:xfrm>
                <a:custGeom>
                  <a:avLst/>
                  <a:gdLst>
                    <a:gd name="connsiteX0" fmla="*/ 6568 w 192678"/>
                    <a:gd name="connsiteY0" fmla="*/ 116791 h 116791"/>
                    <a:gd name="connsiteX1" fmla="*/ 879 w 192678"/>
                    <a:gd name="connsiteY1" fmla="*/ 113510 h 116791"/>
                    <a:gd name="connsiteX2" fmla="*/ 3281 w 192678"/>
                    <a:gd name="connsiteY2" fmla="*/ 104548 h 116791"/>
                    <a:gd name="connsiteX3" fmla="*/ 182836 w 192678"/>
                    <a:gd name="connsiteY3" fmla="*/ 882 h 116791"/>
                    <a:gd name="connsiteX4" fmla="*/ 191800 w 192678"/>
                    <a:gd name="connsiteY4" fmla="*/ 3284 h 116791"/>
                    <a:gd name="connsiteX5" fmla="*/ 189398 w 192678"/>
                    <a:gd name="connsiteY5" fmla="*/ 12247 h 116791"/>
                    <a:gd name="connsiteX6" fmla="*/ 9842 w 192678"/>
                    <a:gd name="connsiteY6" fmla="*/ 115912 h 116791"/>
                    <a:gd name="connsiteX7" fmla="*/ 6568 w 192678"/>
                    <a:gd name="connsiteY7" fmla="*/ 116791 h 11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678" h="116791">
                      <a:moveTo>
                        <a:pt x="6568" y="116791"/>
                      </a:moveTo>
                      <a:cubicBezTo>
                        <a:pt x="4298" y="116791"/>
                        <a:pt x="2093" y="115617"/>
                        <a:pt x="879" y="113510"/>
                      </a:cubicBezTo>
                      <a:cubicBezTo>
                        <a:pt x="-932" y="110368"/>
                        <a:pt x="144" y="106358"/>
                        <a:pt x="3281" y="104548"/>
                      </a:cubicBezTo>
                      <a:lnTo>
                        <a:pt x="182836" y="882"/>
                      </a:lnTo>
                      <a:cubicBezTo>
                        <a:pt x="185966" y="-935"/>
                        <a:pt x="189982" y="147"/>
                        <a:pt x="191800" y="3284"/>
                      </a:cubicBezTo>
                      <a:cubicBezTo>
                        <a:pt x="193610" y="6427"/>
                        <a:pt x="192534" y="10436"/>
                        <a:pt x="189398" y="12247"/>
                      </a:cubicBezTo>
                      <a:lnTo>
                        <a:pt x="9842" y="115912"/>
                      </a:lnTo>
                      <a:cubicBezTo>
                        <a:pt x="8812" y="116509"/>
                        <a:pt x="7684" y="116791"/>
                        <a:pt x="6568" y="116791"/>
                      </a:cubicBezTo>
                      <a:close/>
                    </a:path>
                  </a:pathLst>
                </a:custGeom>
                <a:grpFill/>
                <a:ln w="655" cap="flat">
                  <a:noFill/>
                  <a:prstDash val="solid"/>
                  <a:miter/>
                </a:ln>
              </p:spPr>
              <p:txBody>
                <a:bodyPr rtlCol="0" anchor="ctr"/>
                <a:lstStyle/>
                <a:p>
                  <a:endParaRPr lang="en-GB" dirty="0"/>
                </a:p>
              </p:txBody>
            </p:sp>
          </p:grpSp>
        </p:grpSp>
        <p:grpSp>
          <p:nvGrpSpPr>
            <p:cNvPr id="275" name="Gruppieren 826">
              <a:extLst>
                <a:ext uri="{FF2B5EF4-FFF2-40B4-BE49-F238E27FC236}">
                  <a16:creationId xmlns:a16="http://schemas.microsoft.com/office/drawing/2014/main" id="{5C1C3C89-F510-4021-A411-E9E8AEB0F305}"/>
                </a:ext>
              </a:extLst>
            </p:cNvPr>
            <p:cNvGrpSpPr/>
            <p:nvPr/>
          </p:nvGrpSpPr>
          <p:grpSpPr>
            <a:xfrm>
              <a:off x="558863" y="4032591"/>
              <a:ext cx="470375" cy="432000"/>
              <a:chOff x="919535" y="2484477"/>
              <a:chExt cx="416373" cy="382404"/>
            </a:xfrm>
          </p:grpSpPr>
          <p:grpSp>
            <p:nvGrpSpPr>
              <p:cNvPr id="276" name="Graphic 6">
                <a:extLst>
                  <a:ext uri="{FF2B5EF4-FFF2-40B4-BE49-F238E27FC236}">
                    <a16:creationId xmlns:a16="http://schemas.microsoft.com/office/drawing/2014/main" id="{0B889A9F-E16F-486F-8B79-80F555A2CEB2}"/>
                  </a:ext>
                </a:extLst>
              </p:cNvPr>
              <p:cNvGrpSpPr/>
              <p:nvPr/>
            </p:nvGrpSpPr>
            <p:grpSpPr>
              <a:xfrm>
                <a:off x="936293" y="2484477"/>
                <a:ext cx="382411" cy="382404"/>
                <a:chOff x="936293" y="2484477"/>
                <a:chExt cx="382411" cy="382404"/>
              </a:xfrm>
              <a:solidFill>
                <a:schemeClr val="accent1"/>
              </a:solidFill>
            </p:grpSpPr>
            <p:sp>
              <p:nvSpPr>
                <p:cNvPr id="279" name="Freihandform: Form 234">
                  <a:extLst>
                    <a:ext uri="{FF2B5EF4-FFF2-40B4-BE49-F238E27FC236}">
                      <a16:creationId xmlns:a16="http://schemas.microsoft.com/office/drawing/2014/main" id="{ADBE6A75-9E08-4E3F-A207-AA5D4482889B}"/>
                    </a:ext>
                  </a:extLst>
                </p:cNvPr>
                <p:cNvSpPr/>
                <p:nvPr/>
              </p:nvSpPr>
              <p:spPr>
                <a:xfrm>
                  <a:off x="945489" y="2484477"/>
                  <a:ext cx="373215" cy="197763"/>
                </a:xfrm>
                <a:custGeom>
                  <a:avLst/>
                  <a:gdLst>
                    <a:gd name="connsiteX0" fmla="*/ 366654 w 373215"/>
                    <a:gd name="connsiteY0" fmla="*/ 197764 h 197763"/>
                    <a:gd name="connsiteX1" fmla="*/ 360092 w 373215"/>
                    <a:gd name="connsiteY1" fmla="*/ 191202 h 197763"/>
                    <a:gd name="connsiteX2" fmla="*/ 182013 w 373215"/>
                    <a:gd name="connsiteY2" fmla="*/ 13123 h 197763"/>
                    <a:gd name="connsiteX3" fmla="*/ 12798 w 373215"/>
                    <a:gd name="connsiteY3" fmla="*/ 135554 h 197763"/>
                    <a:gd name="connsiteX4" fmla="*/ 4518 w 373215"/>
                    <a:gd name="connsiteY4" fmla="*/ 139740 h 197763"/>
                    <a:gd name="connsiteX5" fmla="*/ 331 w 373215"/>
                    <a:gd name="connsiteY5" fmla="*/ 131460 h 197763"/>
                    <a:gd name="connsiteX6" fmla="*/ 182013 w 373215"/>
                    <a:gd name="connsiteY6" fmla="*/ 0 h 197763"/>
                    <a:gd name="connsiteX7" fmla="*/ 373215 w 373215"/>
                    <a:gd name="connsiteY7" fmla="*/ 191202 h 197763"/>
                    <a:gd name="connsiteX8" fmla="*/ 366654 w 373215"/>
                    <a:gd name="connsiteY8" fmla="*/ 197764 h 197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3215" h="197763">
                      <a:moveTo>
                        <a:pt x="366654" y="197764"/>
                      </a:moveTo>
                      <a:cubicBezTo>
                        <a:pt x="363032" y="197764"/>
                        <a:pt x="360092" y="194824"/>
                        <a:pt x="360092" y="191202"/>
                      </a:cubicBezTo>
                      <a:cubicBezTo>
                        <a:pt x="360092" y="93009"/>
                        <a:pt x="280206" y="13123"/>
                        <a:pt x="182013" y="13123"/>
                      </a:cubicBezTo>
                      <a:cubicBezTo>
                        <a:pt x="104869" y="13123"/>
                        <a:pt x="36866" y="62328"/>
                        <a:pt x="12798" y="135554"/>
                      </a:cubicBezTo>
                      <a:cubicBezTo>
                        <a:pt x="11663" y="138999"/>
                        <a:pt x="7962" y="140856"/>
                        <a:pt x="4518" y="139740"/>
                      </a:cubicBezTo>
                      <a:cubicBezTo>
                        <a:pt x="1073" y="138605"/>
                        <a:pt x="-804" y="134898"/>
                        <a:pt x="331" y="131460"/>
                      </a:cubicBezTo>
                      <a:cubicBezTo>
                        <a:pt x="26170" y="52833"/>
                        <a:pt x="99187" y="0"/>
                        <a:pt x="182013" y="0"/>
                      </a:cubicBezTo>
                      <a:cubicBezTo>
                        <a:pt x="287443" y="0"/>
                        <a:pt x="373215" y="85772"/>
                        <a:pt x="373215" y="191202"/>
                      </a:cubicBezTo>
                      <a:cubicBezTo>
                        <a:pt x="373215" y="194824"/>
                        <a:pt x="370276" y="197764"/>
                        <a:pt x="366654" y="197764"/>
                      </a:cubicBezTo>
                      <a:close/>
                    </a:path>
                  </a:pathLst>
                </a:custGeom>
                <a:solidFill>
                  <a:schemeClr val="accent1"/>
                </a:solidFill>
                <a:ln w="655" cap="flat">
                  <a:noFill/>
                  <a:prstDash val="solid"/>
                  <a:miter/>
                </a:ln>
              </p:spPr>
              <p:txBody>
                <a:bodyPr rtlCol="0" anchor="ctr"/>
                <a:lstStyle/>
                <a:p>
                  <a:endParaRPr lang="en-GB" dirty="0"/>
                </a:p>
              </p:txBody>
            </p:sp>
            <p:sp>
              <p:nvSpPr>
                <p:cNvPr id="280" name="Freihandform: Form 235">
                  <a:extLst>
                    <a:ext uri="{FF2B5EF4-FFF2-40B4-BE49-F238E27FC236}">
                      <a16:creationId xmlns:a16="http://schemas.microsoft.com/office/drawing/2014/main" id="{21958F2D-55B9-4B82-8FE4-A485EE88171F}"/>
                    </a:ext>
                  </a:extLst>
                </p:cNvPr>
                <p:cNvSpPr/>
                <p:nvPr/>
              </p:nvSpPr>
              <p:spPr>
                <a:xfrm>
                  <a:off x="936293" y="2669118"/>
                  <a:ext cx="18233" cy="56435"/>
                </a:xfrm>
                <a:custGeom>
                  <a:avLst/>
                  <a:gdLst>
                    <a:gd name="connsiteX0" fmla="*/ 11666 w 18233"/>
                    <a:gd name="connsiteY0" fmla="*/ 56436 h 56435"/>
                    <a:gd name="connsiteX1" fmla="*/ 5295 w 18233"/>
                    <a:gd name="connsiteY1" fmla="*/ 51409 h 56435"/>
                    <a:gd name="connsiteX2" fmla="*/ 0 w 18233"/>
                    <a:gd name="connsiteY2" fmla="*/ 6562 h 56435"/>
                    <a:gd name="connsiteX3" fmla="*/ 6562 w 18233"/>
                    <a:gd name="connsiteY3" fmla="*/ 0 h 56435"/>
                    <a:gd name="connsiteX4" fmla="*/ 13123 w 18233"/>
                    <a:gd name="connsiteY4" fmla="*/ 6562 h 56435"/>
                    <a:gd name="connsiteX5" fmla="*/ 18051 w 18233"/>
                    <a:gd name="connsiteY5" fmla="*/ 48345 h 56435"/>
                    <a:gd name="connsiteX6" fmla="*/ 13208 w 18233"/>
                    <a:gd name="connsiteY6" fmla="*/ 56258 h 56435"/>
                    <a:gd name="connsiteX7" fmla="*/ 11666 w 18233"/>
                    <a:gd name="connsiteY7" fmla="*/ 56436 h 5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33" h="56435">
                      <a:moveTo>
                        <a:pt x="11666" y="56436"/>
                      </a:moveTo>
                      <a:cubicBezTo>
                        <a:pt x="8701" y="56436"/>
                        <a:pt x="6017" y="54415"/>
                        <a:pt x="5295" y="51409"/>
                      </a:cubicBezTo>
                      <a:cubicBezTo>
                        <a:pt x="1785" y="36803"/>
                        <a:pt x="0" y="21719"/>
                        <a:pt x="0" y="6562"/>
                      </a:cubicBezTo>
                      <a:cubicBezTo>
                        <a:pt x="0" y="2940"/>
                        <a:pt x="2940" y="0"/>
                        <a:pt x="6562" y="0"/>
                      </a:cubicBezTo>
                      <a:cubicBezTo>
                        <a:pt x="10183" y="0"/>
                        <a:pt x="13123" y="2940"/>
                        <a:pt x="13123" y="6562"/>
                      </a:cubicBezTo>
                      <a:cubicBezTo>
                        <a:pt x="13123" y="20688"/>
                        <a:pt x="14783" y="34743"/>
                        <a:pt x="18051" y="48345"/>
                      </a:cubicBezTo>
                      <a:cubicBezTo>
                        <a:pt x="18897" y="51869"/>
                        <a:pt x="16732" y="55412"/>
                        <a:pt x="13208" y="56258"/>
                      </a:cubicBezTo>
                      <a:cubicBezTo>
                        <a:pt x="12697" y="56383"/>
                        <a:pt x="12178" y="56436"/>
                        <a:pt x="11666" y="56436"/>
                      </a:cubicBezTo>
                      <a:close/>
                    </a:path>
                  </a:pathLst>
                </a:custGeom>
                <a:solidFill>
                  <a:schemeClr val="accent1"/>
                </a:solidFill>
                <a:ln w="655" cap="flat">
                  <a:noFill/>
                  <a:prstDash val="solid"/>
                  <a:miter/>
                </a:ln>
              </p:spPr>
              <p:txBody>
                <a:bodyPr rtlCol="0" anchor="ctr"/>
                <a:lstStyle/>
                <a:p>
                  <a:endParaRPr lang="en-GB" dirty="0"/>
                </a:p>
              </p:txBody>
            </p:sp>
            <p:sp>
              <p:nvSpPr>
                <p:cNvPr id="281" name="Freihandform: Form 236">
                  <a:extLst>
                    <a:ext uri="{FF2B5EF4-FFF2-40B4-BE49-F238E27FC236}">
                      <a16:creationId xmlns:a16="http://schemas.microsoft.com/office/drawing/2014/main" id="{38145756-0983-4E99-B486-1E9CECD6BCE1}"/>
                    </a:ext>
                  </a:extLst>
                </p:cNvPr>
                <p:cNvSpPr/>
                <p:nvPr/>
              </p:nvSpPr>
              <p:spPr>
                <a:xfrm>
                  <a:off x="999137" y="2732583"/>
                  <a:ext cx="308368" cy="134299"/>
                </a:xfrm>
                <a:custGeom>
                  <a:avLst/>
                  <a:gdLst>
                    <a:gd name="connsiteX0" fmla="*/ 128364 w 308368"/>
                    <a:gd name="connsiteY0" fmla="*/ 134299 h 134299"/>
                    <a:gd name="connsiteX1" fmla="*/ 2233 w 308368"/>
                    <a:gd name="connsiteY1" fmla="*/ 86801 h 134299"/>
                    <a:gd name="connsiteX2" fmla="*/ 1629 w 308368"/>
                    <a:gd name="connsiteY2" fmla="*/ 77542 h 134299"/>
                    <a:gd name="connsiteX3" fmla="*/ 10887 w 308368"/>
                    <a:gd name="connsiteY3" fmla="*/ 76939 h 134299"/>
                    <a:gd name="connsiteX4" fmla="*/ 128358 w 308368"/>
                    <a:gd name="connsiteY4" fmla="*/ 121176 h 134299"/>
                    <a:gd name="connsiteX5" fmla="*/ 295643 w 308368"/>
                    <a:gd name="connsiteY5" fmla="*/ 4309 h 134299"/>
                    <a:gd name="connsiteX6" fmla="*/ 304062 w 308368"/>
                    <a:gd name="connsiteY6" fmla="*/ 405 h 134299"/>
                    <a:gd name="connsiteX7" fmla="*/ 307966 w 308368"/>
                    <a:gd name="connsiteY7" fmla="*/ 8824 h 134299"/>
                    <a:gd name="connsiteX8" fmla="*/ 128364 w 308368"/>
                    <a:gd name="connsiteY8" fmla="*/ 134299 h 134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368" h="134299">
                      <a:moveTo>
                        <a:pt x="128364" y="134299"/>
                      </a:moveTo>
                      <a:cubicBezTo>
                        <a:pt x="81902" y="134299"/>
                        <a:pt x="37107" y="117430"/>
                        <a:pt x="2233" y="86801"/>
                      </a:cubicBezTo>
                      <a:cubicBezTo>
                        <a:pt x="-490" y="84406"/>
                        <a:pt x="-759" y="80259"/>
                        <a:pt x="1629" y="77542"/>
                      </a:cubicBezTo>
                      <a:cubicBezTo>
                        <a:pt x="4017" y="74813"/>
                        <a:pt x="8171" y="74557"/>
                        <a:pt x="10887" y="76939"/>
                      </a:cubicBezTo>
                      <a:cubicBezTo>
                        <a:pt x="43367" y="105468"/>
                        <a:pt x="85085" y="121176"/>
                        <a:pt x="128358" y="121176"/>
                      </a:cubicBezTo>
                      <a:cubicBezTo>
                        <a:pt x="202824" y="121176"/>
                        <a:pt x="270054" y="74209"/>
                        <a:pt x="295643" y="4309"/>
                      </a:cubicBezTo>
                      <a:cubicBezTo>
                        <a:pt x="296890" y="904"/>
                        <a:pt x="300663" y="-848"/>
                        <a:pt x="304062" y="405"/>
                      </a:cubicBezTo>
                      <a:cubicBezTo>
                        <a:pt x="307467" y="1652"/>
                        <a:pt x="309213" y="5418"/>
                        <a:pt x="307966" y="8824"/>
                      </a:cubicBezTo>
                      <a:cubicBezTo>
                        <a:pt x="280493" y="83874"/>
                        <a:pt x="208316" y="134299"/>
                        <a:pt x="128364" y="134299"/>
                      </a:cubicBezTo>
                      <a:close/>
                    </a:path>
                  </a:pathLst>
                </a:custGeom>
                <a:solidFill>
                  <a:schemeClr val="accent1"/>
                </a:solidFill>
                <a:ln w="655" cap="flat">
                  <a:noFill/>
                  <a:prstDash val="solid"/>
                  <a:miter/>
                </a:ln>
              </p:spPr>
              <p:txBody>
                <a:bodyPr rtlCol="0" anchor="ctr"/>
                <a:lstStyle/>
                <a:p>
                  <a:endParaRPr lang="en-GB" dirty="0"/>
                </a:p>
              </p:txBody>
            </p:sp>
          </p:grpSp>
          <p:sp>
            <p:nvSpPr>
              <p:cNvPr id="277" name="Freihandform: Form 245">
                <a:extLst>
                  <a:ext uri="{FF2B5EF4-FFF2-40B4-BE49-F238E27FC236}">
                    <a16:creationId xmlns:a16="http://schemas.microsoft.com/office/drawing/2014/main" id="{96ABE64E-B8ED-450C-8391-E3BB31143CCA}"/>
                  </a:ext>
                </a:extLst>
              </p:cNvPr>
              <p:cNvSpPr/>
              <p:nvPr/>
            </p:nvSpPr>
            <p:spPr>
              <a:xfrm>
                <a:off x="919535" y="2669347"/>
                <a:ext cx="50064" cy="33385"/>
              </a:xfrm>
              <a:custGeom>
                <a:avLst/>
                <a:gdLst>
                  <a:gd name="connsiteX0" fmla="*/ 6555 w 50064"/>
                  <a:gd name="connsiteY0" fmla="*/ 33385 h 33385"/>
                  <a:gd name="connsiteX1" fmla="*/ 2389 w 50064"/>
                  <a:gd name="connsiteY1" fmla="*/ 31889 h 33385"/>
                  <a:gd name="connsiteX2" fmla="*/ 1496 w 50064"/>
                  <a:gd name="connsiteY2" fmla="*/ 22651 h 33385"/>
                  <a:gd name="connsiteX3" fmla="*/ 18182 w 50064"/>
                  <a:gd name="connsiteY3" fmla="*/ 2389 h 33385"/>
                  <a:gd name="connsiteX4" fmla="*/ 22618 w 50064"/>
                  <a:gd name="connsiteY4" fmla="*/ 33 h 33385"/>
                  <a:gd name="connsiteX5" fmla="*/ 27421 w 50064"/>
                  <a:gd name="connsiteY5" fmla="*/ 1496 h 33385"/>
                  <a:gd name="connsiteX6" fmla="*/ 47676 w 50064"/>
                  <a:gd name="connsiteY6" fmla="*/ 18182 h 33385"/>
                  <a:gd name="connsiteX7" fmla="*/ 48569 w 50064"/>
                  <a:gd name="connsiteY7" fmla="*/ 27421 h 33385"/>
                  <a:gd name="connsiteX8" fmla="*/ 39330 w 50064"/>
                  <a:gd name="connsiteY8" fmla="*/ 28313 h 33385"/>
                  <a:gd name="connsiteX9" fmla="*/ 24140 w 50064"/>
                  <a:gd name="connsiteY9" fmla="*/ 15794 h 33385"/>
                  <a:gd name="connsiteX10" fmla="*/ 11627 w 50064"/>
                  <a:gd name="connsiteY10" fmla="*/ 30990 h 33385"/>
                  <a:gd name="connsiteX11" fmla="*/ 6555 w 50064"/>
                  <a:gd name="connsiteY11" fmla="*/ 33385 h 33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064" h="33385">
                    <a:moveTo>
                      <a:pt x="6555" y="33385"/>
                    </a:moveTo>
                    <a:cubicBezTo>
                      <a:pt x="5085" y="33385"/>
                      <a:pt x="3609" y="32893"/>
                      <a:pt x="2389" y="31889"/>
                    </a:cubicBezTo>
                    <a:cubicBezTo>
                      <a:pt x="-407" y="29586"/>
                      <a:pt x="-807" y="25452"/>
                      <a:pt x="1496" y="22651"/>
                    </a:cubicBezTo>
                    <a:lnTo>
                      <a:pt x="18182" y="2389"/>
                    </a:lnTo>
                    <a:cubicBezTo>
                      <a:pt x="19285" y="1044"/>
                      <a:pt x="20886" y="197"/>
                      <a:pt x="22618" y="33"/>
                    </a:cubicBezTo>
                    <a:cubicBezTo>
                      <a:pt x="24363" y="-144"/>
                      <a:pt x="26082" y="394"/>
                      <a:pt x="27421" y="1496"/>
                    </a:cubicBezTo>
                    <a:lnTo>
                      <a:pt x="47676" y="18182"/>
                    </a:lnTo>
                    <a:cubicBezTo>
                      <a:pt x="50471" y="20492"/>
                      <a:pt x="50872" y="24619"/>
                      <a:pt x="48569" y="27421"/>
                    </a:cubicBezTo>
                    <a:cubicBezTo>
                      <a:pt x="46259" y="30223"/>
                      <a:pt x="42125" y="30616"/>
                      <a:pt x="39330" y="28313"/>
                    </a:cubicBezTo>
                    <a:lnTo>
                      <a:pt x="24140" y="15794"/>
                    </a:lnTo>
                    <a:lnTo>
                      <a:pt x="11627" y="30990"/>
                    </a:lnTo>
                    <a:cubicBezTo>
                      <a:pt x="10328" y="32572"/>
                      <a:pt x="8445" y="33385"/>
                      <a:pt x="6555" y="33385"/>
                    </a:cubicBezTo>
                    <a:close/>
                  </a:path>
                </a:pathLst>
              </a:custGeom>
              <a:solidFill>
                <a:schemeClr val="accent1"/>
              </a:solidFill>
              <a:ln w="655" cap="flat">
                <a:noFill/>
                <a:prstDash val="solid"/>
                <a:miter/>
              </a:ln>
            </p:spPr>
            <p:txBody>
              <a:bodyPr rtlCol="0" anchor="ctr"/>
              <a:lstStyle/>
              <a:p>
                <a:endParaRPr lang="en-GB" dirty="0"/>
              </a:p>
            </p:txBody>
          </p:sp>
          <p:sp>
            <p:nvSpPr>
              <p:cNvPr id="278" name="Freihandform: Form 246">
                <a:extLst>
                  <a:ext uri="{FF2B5EF4-FFF2-40B4-BE49-F238E27FC236}">
                    <a16:creationId xmlns:a16="http://schemas.microsoft.com/office/drawing/2014/main" id="{027F761E-2817-4861-A1EB-65718012C1FC}"/>
                  </a:ext>
                </a:extLst>
              </p:cNvPr>
              <p:cNvSpPr/>
              <p:nvPr/>
            </p:nvSpPr>
            <p:spPr>
              <a:xfrm>
                <a:off x="1285883" y="2651594"/>
                <a:ext cx="50025" cy="33547"/>
              </a:xfrm>
              <a:custGeom>
                <a:avLst/>
                <a:gdLst>
                  <a:gd name="connsiteX0" fmla="*/ 26988 w 50025"/>
                  <a:gd name="connsiteY0" fmla="*/ 33547 h 33547"/>
                  <a:gd name="connsiteX1" fmla="*/ 22874 w 50025"/>
                  <a:gd name="connsiteY1" fmla="*/ 32091 h 33547"/>
                  <a:gd name="connsiteX2" fmla="*/ 2441 w 50025"/>
                  <a:gd name="connsiteY2" fmla="*/ 15615 h 33547"/>
                  <a:gd name="connsiteX3" fmla="*/ 1457 w 50025"/>
                  <a:gd name="connsiteY3" fmla="*/ 6389 h 33547"/>
                  <a:gd name="connsiteX4" fmla="*/ 10682 w 50025"/>
                  <a:gd name="connsiteY4" fmla="*/ 5405 h 33547"/>
                  <a:gd name="connsiteX5" fmla="*/ 26004 w 50025"/>
                  <a:gd name="connsiteY5" fmla="*/ 17760 h 33547"/>
                  <a:gd name="connsiteX6" fmla="*/ 38359 w 50025"/>
                  <a:gd name="connsiteY6" fmla="*/ 2439 h 33547"/>
                  <a:gd name="connsiteX7" fmla="*/ 47584 w 50025"/>
                  <a:gd name="connsiteY7" fmla="*/ 1455 h 33547"/>
                  <a:gd name="connsiteX8" fmla="*/ 48569 w 50025"/>
                  <a:gd name="connsiteY8" fmla="*/ 10680 h 33547"/>
                  <a:gd name="connsiteX9" fmla="*/ 32093 w 50025"/>
                  <a:gd name="connsiteY9" fmla="*/ 31106 h 33547"/>
                  <a:gd name="connsiteX10" fmla="*/ 26988 w 50025"/>
                  <a:gd name="connsiteY10" fmla="*/ 33547 h 33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025" h="33547">
                    <a:moveTo>
                      <a:pt x="26988" y="33547"/>
                    </a:moveTo>
                    <a:cubicBezTo>
                      <a:pt x="25538" y="33547"/>
                      <a:pt x="24088" y="33075"/>
                      <a:pt x="22874" y="32091"/>
                    </a:cubicBezTo>
                    <a:lnTo>
                      <a:pt x="2441" y="15615"/>
                    </a:lnTo>
                    <a:cubicBezTo>
                      <a:pt x="-380" y="13338"/>
                      <a:pt x="-820" y="9211"/>
                      <a:pt x="1457" y="6389"/>
                    </a:cubicBezTo>
                    <a:cubicBezTo>
                      <a:pt x="3734" y="3574"/>
                      <a:pt x="7861" y="3128"/>
                      <a:pt x="10682" y="5405"/>
                    </a:cubicBezTo>
                    <a:lnTo>
                      <a:pt x="26004" y="17760"/>
                    </a:lnTo>
                    <a:lnTo>
                      <a:pt x="38359" y="2439"/>
                    </a:lnTo>
                    <a:cubicBezTo>
                      <a:pt x="40642" y="-376"/>
                      <a:pt x="44763" y="-822"/>
                      <a:pt x="47584" y="1455"/>
                    </a:cubicBezTo>
                    <a:cubicBezTo>
                      <a:pt x="50406" y="3732"/>
                      <a:pt x="50845" y="7859"/>
                      <a:pt x="48569" y="10680"/>
                    </a:cubicBezTo>
                    <a:lnTo>
                      <a:pt x="32093" y="31106"/>
                    </a:lnTo>
                    <a:cubicBezTo>
                      <a:pt x="30800" y="32707"/>
                      <a:pt x="28904" y="33547"/>
                      <a:pt x="26988" y="33547"/>
                    </a:cubicBezTo>
                    <a:close/>
                  </a:path>
                </a:pathLst>
              </a:custGeom>
              <a:solidFill>
                <a:schemeClr val="accent1"/>
              </a:solidFill>
              <a:ln w="655" cap="flat">
                <a:noFill/>
                <a:prstDash val="solid"/>
                <a:miter/>
              </a:ln>
            </p:spPr>
            <p:txBody>
              <a:bodyPr rtlCol="0" anchor="ctr"/>
              <a:lstStyle/>
              <a:p>
                <a:endParaRPr lang="en-GB" dirty="0"/>
              </a:p>
            </p:txBody>
          </p:sp>
        </p:grpSp>
      </p:grpSp>
      <p:grpSp>
        <p:nvGrpSpPr>
          <p:cNvPr id="289" name="Gruppieren 831">
            <a:extLst>
              <a:ext uri="{FF2B5EF4-FFF2-40B4-BE49-F238E27FC236}">
                <a16:creationId xmlns:a16="http://schemas.microsoft.com/office/drawing/2014/main" id="{D80E40E0-4DE5-40DD-AAC4-839DC89B16FF}"/>
              </a:ext>
            </a:extLst>
          </p:cNvPr>
          <p:cNvGrpSpPr>
            <a:grpSpLocks noChangeAspect="1"/>
          </p:cNvGrpSpPr>
          <p:nvPr/>
        </p:nvGrpSpPr>
        <p:grpSpPr>
          <a:xfrm>
            <a:off x="1587484" y="4053926"/>
            <a:ext cx="504000" cy="389337"/>
            <a:chOff x="2580749" y="2558489"/>
            <a:chExt cx="433193" cy="334639"/>
          </a:xfrm>
        </p:grpSpPr>
        <p:grpSp>
          <p:nvGrpSpPr>
            <p:cNvPr id="290" name="Graphic 6">
              <a:extLst>
                <a:ext uri="{FF2B5EF4-FFF2-40B4-BE49-F238E27FC236}">
                  <a16:creationId xmlns:a16="http://schemas.microsoft.com/office/drawing/2014/main" id="{F8D83871-5599-4DD8-B865-51A1C593BE81}"/>
                </a:ext>
              </a:extLst>
            </p:cNvPr>
            <p:cNvGrpSpPr/>
            <p:nvPr/>
          </p:nvGrpSpPr>
          <p:grpSpPr>
            <a:xfrm>
              <a:off x="2580749" y="2558489"/>
              <a:ext cx="433193" cy="101565"/>
              <a:chOff x="2580749" y="2558491"/>
              <a:chExt cx="433193" cy="101565"/>
            </a:xfrm>
            <a:solidFill>
              <a:schemeClr val="accent1"/>
            </a:solidFill>
          </p:grpSpPr>
          <p:sp>
            <p:nvSpPr>
              <p:cNvPr id="296" name="Freihandform: Form 261">
                <a:extLst>
                  <a:ext uri="{FF2B5EF4-FFF2-40B4-BE49-F238E27FC236}">
                    <a16:creationId xmlns:a16="http://schemas.microsoft.com/office/drawing/2014/main" id="{A33D4130-818A-41A8-9A72-7F5BB558BF0F}"/>
                  </a:ext>
                </a:extLst>
              </p:cNvPr>
              <p:cNvSpPr/>
              <p:nvPr/>
            </p:nvSpPr>
            <p:spPr>
              <a:xfrm>
                <a:off x="2743778" y="2612040"/>
                <a:ext cx="106552" cy="48017"/>
              </a:xfrm>
              <a:custGeom>
                <a:avLst/>
                <a:gdLst>
                  <a:gd name="connsiteX0" fmla="*/ 53279 w 106552"/>
                  <a:gd name="connsiteY0" fmla="*/ 48017 h 48017"/>
                  <a:gd name="connsiteX1" fmla="*/ 0 w 106552"/>
                  <a:gd name="connsiteY1" fmla="*/ 7382 h 48017"/>
                  <a:gd name="connsiteX2" fmla="*/ 0 w 106552"/>
                  <a:gd name="connsiteY2" fmla="*/ 6562 h 48017"/>
                  <a:gd name="connsiteX3" fmla="*/ 6562 w 106552"/>
                  <a:gd name="connsiteY3" fmla="*/ 0 h 48017"/>
                  <a:gd name="connsiteX4" fmla="*/ 99991 w 106552"/>
                  <a:gd name="connsiteY4" fmla="*/ 0 h 48017"/>
                  <a:gd name="connsiteX5" fmla="*/ 106552 w 106552"/>
                  <a:gd name="connsiteY5" fmla="*/ 6562 h 48017"/>
                  <a:gd name="connsiteX6" fmla="*/ 106552 w 106552"/>
                  <a:gd name="connsiteY6" fmla="*/ 7382 h 48017"/>
                  <a:gd name="connsiteX7" fmla="*/ 53279 w 106552"/>
                  <a:gd name="connsiteY7" fmla="*/ 48017 h 48017"/>
                  <a:gd name="connsiteX8" fmla="*/ 14002 w 106552"/>
                  <a:gd name="connsiteY8" fmla="*/ 13116 h 48017"/>
                  <a:gd name="connsiteX9" fmla="*/ 53279 w 106552"/>
                  <a:gd name="connsiteY9" fmla="*/ 34894 h 48017"/>
                  <a:gd name="connsiteX10" fmla="*/ 92550 w 106552"/>
                  <a:gd name="connsiteY10" fmla="*/ 13116 h 48017"/>
                  <a:gd name="connsiteX11" fmla="*/ 14002 w 106552"/>
                  <a:gd name="connsiteY11" fmla="*/ 13116 h 48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6552" h="48017">
                    <a:moveTo>
                      <a:pt x="53279" y="48017"/>
                    </a:moveTo>
                    <a:cubicBezTo>
                      <a:pt x="23897" y="48017"/>
                      <a:pt x="0" y="29789"/>
                      <a:pt x="0" y="7382"/>
                    </a:cubicBezTo>
                    <a:lnTo>
                      <a:pt x="0" y="6562"/>
                    </a:lnTo>
                    <a:cubicBezTo>
                      <a:pt x="0" y="2940"/>
                      <a:pt x="2933" y="0"/>
                      <a:pt x="6562" y="0"/>
                    </a:cubicBezTo>
                    <a:lnTo>
                      <a:pt x="99991" y="0"/>
                    </a:lnTo>
                    <a:cubicBezTo>
                      <a:pt x="103619" y="0"/>
                      <a:pt x="106552" y="2940"/>
                      <a:pt x="106552" y="6562"/>
                    </a:cubicBezTo>
                    <a:lnTo>
                      <a:pt x="106552" y="7382"/>
                    </a:lnTo>
                    <a:cubicBezTo>
                      <a:pt x="106552" y="29783"/>
                      <a:pt x="82649" y="48017"/>
                      <a:pt x="53279" y="48017"/>
                    </a:cubicBezTo>
                    <a:close/>
                    <a:moveTo>
                      <a:pt x="14002" y="13116"/>
                    </a:moveTo>
                    <a:cubicBezTo>
                      <a:pt x="17867" y="25544"/>
                      <a:pt x="34008" y="34894"/>
                      <a:pt x="53279" y="34894"/>
                    </a:cubicBezTo>
                    <a:cubicBezTo>
                      <a:pt x="72551" y="34894"/>
                      <a:pt x="88685" y="25544"/>
                      <a:pt x="92550" y="13116"/>
                    </a:cubicBezTo>
                    <a:lnTo>
                      <a:pt x="14002" y="13116"/>
                    </a:lnTo>
                    <a:close/>
                  </a:path>
                </a:pathLst>
              </a:custGeom>
              <a:solidFill>
                <a:schemeClr val="accent1"/>
              </a:solidFill>
              <a:ln w="655" cap="flat">
                <a:noFill/>
                <a:prstDash val="solid"/>
                <a:miter/>
              </a:ln>
            </p:spPr>
            <p:txBody>
              <a:bodyPr rtlCol="0" anchor="ctr"/>
              <a:lstStyle/>
              <a:p>
                <a:endParaRPr lang="en-GB" dirty="0"/>
              </a:p>
            </p:txBody>
          </p:sp>
          <p:grpSp>
            <p:nvGrpSpPr>
              <p:cNvPr id="297" name="Graphic 6">
                <a:extLst>
                  <a:ext uri="{FF2B5EF4-FFF2-40B4-BE49-F238E27FC236}">
                    <a16:creationId xmlns:a16="http://schemas.microsoft.com/office/drawing/2014/main" id="{36E06A97-4295-4708-A330-132737B7CA5B}"/>
                  </a:ext>
                </a:extLst>
              </p:cNvPr>
              <p:cNvGrpSpPr/>
              <p:nvPr/>
            </p:nvGrpSpPr>
            <p:grpSpPr>
              <a:xfrm>
                <a:off x="2580915" y="2612505"/>
                <a:ext cx="176287" cy="47328"/>
                <a:chOff x="2580915" y="2612505"/>
                <a:chExt cx="176287" cy="47328"/>
              </a:xfrm>
              <a:solidFill>
                <a:schemeClr val="accent1"/>
              </a:solidFill>
            </p:grpSpPr>
            <p:sp>
              <p:nvSpPr>
                <p:cNvPr id="306" name="Freihandform: Form 263">
                  <a:extLst>
                    <a:ext uri="{FF2B5EF4-FFF2-40B4-BE49-F238E27FC236}">
                      <a16:creationId xmlns:a16="http://schemas.microsoft.com/office/drawing/2014/main" id="{33278BF0-B0F3-42E2-9F79-A59D2A48C372}"/>
                    </a:ext>
                  </a:extLst>
                </p:cNvPr>
                <p:cNvSpPr/>
                <p:nvPr/>
              </p:nvSpPr>
              <p:spPr>
                <a:xfrm>
                  <a:off x="2580915" y="2612630"/>
                  <a:ext cx="94682" cy="47203"/>
                </a:xfrm>
                <a:custGeom>
                  <a:avLst/>
                  <a:gdLst>
                    <a:gd name="connsiteX0" fmla="*/ 47341 w 94682"/>
                    <a:gd name="connsiteY0" fmla="*/ 47203 h 47203"/>
                    <a:gd name="connsiteX1" fmla="*/ 0 w 94682"/>
                    <a:gd name="connsiteY1" fmla="*/ 9540 h 47203"/>
                    <a:gd name="connsiteX2" fmla="*/ 0 w 94682"/>
                    <a:gd name="connsiteY2" fmla="*/ 6562 h 47203"/>
                    <a:gd name="connsiteX3" fmla="*/ 6562 w 94682"/>
                    <a:gd name="connsiteY3" fmla="*/ 0 h 47203"/>
                    <a:gd name="connsiteX4" fmla="*/ 88121 w 94682"/>
                    <a:gd name="connsiteY4" fmla="*/ 0 h 47203"/>
                    <a:gd name="connsiteX5" fmla="*/ 94682 w 94682"/>
                    <a:gd name="connsiteY5" fmla="*/ 6562 h 47203"/>
                    <a:gd name="connsiteX6" fmla="*/ 94682 w 94682"/>
                    <a:gd name="connsiteY6" fmla="*/ 9540 h 47203"/>
                    <a:gd name="connsiteX7" fmla="*/ 47341 w 94682"/>
                    <a:gd name="connsiteY7" fmla="*/ 47203 h 47203"/>
                    <a:gd name="connsiteX8" fmla="*/ 13490 w 94682"/>
                    <a:gd name="connsiteY8" fmla="*/ 13123 h 47203"/>
                    <a:gd name="connsiteX9" fmla="*/ 47341 w 94682"/>
                    <a:gd name="connsiteY9" fmla="*/ 34080 h 47203"/>
                    <a:gd name="connsiteX10" fmla="*/ 81192 w 94682"/>
                    <a:gd name="connsiteY10" fmla="*/ 13123 h 47203"/>
                    <a:gd name="connsiteX11" fmla="*/ 13490 w 94682"/>
                    <a:gd name="connsiteY11" fmla="*/ 13123 h 4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682" h="47203">
                      <a:moveTo>
                        <a:pt x="47341" y="47203"/>
                      </a:moveTo>
                      <a:cubicBezTo>
                        <a:pt x="21233" y="47203"/>
                        <a:pt x="0" y="30308"/>
                        <a:pt x="0" y="9540"/>
                      </a:cubicBezTo>
                      <a:lnTo>
                        <a:pt x="0" y="6562"/>
                      </a:lnTo>
                      <a:cubicBezTo>
                        <a:pt x="0" y="2940"/>
                        <a:pt x="2933" y="0"/>
                        <a:pt x="6562" y="0"/>
                      </a:cubicBezTo>
                      <a:lnTo>
                        <a:pt x="88121" y="0"/>
                      </a:lnTo>
                      <a:cubicBezTo>
                        <a:pt x="91749" y="0"/>
                        <a:pt x="94682" y="2940"/>
                        <a:pt x="94682" y="6562"/>
                      </a:cubicBezTo>
                      <a:lnTo>
                        <a:pt x="94682" y="9540"/>
                      </a:lnTo>
                      <a:cubicBezTo>
                        <a:pt x="94682" y="30308"/>
                        <a:pt x="73449" y="47203"/>
                        <a:pt x="47341" y="47203"/>
                      </a:cubicBezTo>
                      <a:close/>
                      <a:moveTo>
                        <a:pt x="13490" y="13123"/>
                      </a:moveTo>
                      <a:cubicBezTo>
                        <a:pt x="15912" y="24960"/>
                        <a:pt x="30170" y="34080"/>
                        <a:pt x="47341" y="34080"/>
                      </a:cubicBezTo>
                      <a:cubicBezTo>
                        <a:pt x="64513" y="34080"/>
                        <a:pt x="78771" y="24960"/>
                        <a:pt x="81192" y="13123"/>
                      </a:cubicBezTo>
                      <a:lnTo>
                        <a:pt x="13490" y="13123"/>
                      </a:lnTo>
                      <a:close/>
                    </a:path>
                  </a:pathLst>
                </a:custGeom>
                <a:solidFill>
                  <a:schemeClr val="accent1"/>
                </a:solidFill>
                <a:ln w="655" cap="flat">
                  <a:noFill/>
                  <a:prstDash val="solid"/>
                  <a:miter/>
                </a:ln>
              </p:spPr>
              <p:txBody>
                <a:bodyPr rtlCol="0" anchor="ctr"/>
                <a:lstStyle/>
                <a:p>
                  <a:endParaRPr lang="en-GB" dirty="0"/>
                </a:p>
              </p:txBody>
            </p:sp>
            <p:sp>
              <p:nvSpPr>
                <p:cNvPr id="307" name="Freihandform: Form 264">
                  <a:extLst>
                    <a:ext uri="{FF2B5EF4-FFF2-40B4-BE49-F238E27FC236}">
                      <a16:creationId xmlns:a16="http://schemas.microsoft.com/office/drawing/2014/main" id="{FED69C60-6771-46E6-BCB3-AAE14CD9B81A}"/>
                    </a:ext>
                  </a:extLst>
                </p:cNvPr>
                <p:cNvSpPr/>
                <p:nvPr/>
              </p:nvSpPr>
              <p:spPr>
                <a:xfrm>
                  <a:off x="2662520" y="2612505"/>
                  <a:ext cx="94682" cy="47203"/>
                </a:xfrm>
                <a:custGeom>
                  <a:avLst/>
                  <a:gdLst>
                    <a:gd name="connsiteX0" fmla="*/ 47341 w 94682"/>
                    <a:gd name="connsiteY0" fmla="*/ 47204 h 47203"/>
                    <a:gd name="connsiteX1" fmla="*/ 0 w 94682"/>
                    <a:gd name="connsiteY1" fmla="*/ 9540 h 47203"/>
                    <a:gd name="connsiteX2" fmla="*/ 0 w 94682"/>
                    <a:gd name="connsiteY2" fmla="*/ 6562 h 47203"/>
                    <a:gd name="connsiteX3" fmla="*/ 6562 w 94682"/>
                    <a:gd name="connsiteY3" fmla="*/ 0 h 47203"/>
                    <a:gd name="connsiteX4" fmla="*/ 88121 w 94682"/>
                    <a:gd name="connsiteY4" fmla="*/ 0 h 47203"/>
                    <a:gd name="connsiteX5" fmla="*/ 94683 w 94682"/>
                    <a:gd name="connsiteY5" fmla="*/ 6562 h 47203"/>
                    <a:gd name="connsiteX6" fmla="*/ 94683 w 94682"/>
                    <a:gd name="connsiteY6" fmla="*/ 9540 h 47203"/>
                    <a:gd name="connsiteX7" fmla="*/ 47341 w 94682"/>
                    <a:gd name="connsiteY7" fmla="*/ 47204 h 47203"/>
                    <a:gd name="connsiteX8" fmla="*/ 13490 w 94682"/>
                    <a:gd name="connsiteY8" fmla="*/ 13130 h 47203"/>
                    <a:gd name="connsiteX9" fmla="*/ 47341 w 94682"/>
                    <a:gd name="connsiteY9" fmla="*/ 34080 h 47203"/>
                    <a:gd name="connsiteX10" fmla="*/ 81192 w 94682"/>
                    <a:gd name="connsiteY10" fmla="*/ 13130 h 47203"/>
                    <a:gd name="connsiteX11" fmla="*/ 13490 w 94682"/>
                    <a:gd name="connsiteY11" fmla="*/ 13130 h 4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682" h="47203">
                      <a:moveTo>
                        <a:pt x="47341" y="47204"/>
                      </a:moveTo>
                      <a:cubicBezTo>
                        <a:pt x="21233" y="47204"/>
                        <a:pt x="0" y="30308"/>
                        <a:pt x="0" y="9540"/>
                      </a:cubicBezTo>
                      <a:lnTo>
                        <a:pt x="0" y="6562"/>
                      </a:lnTo>
                      <a:cubicBezTo>
                        <a:pt x="0" y="2940"/>
                        <a:pt x="2933" y="0"/>
                        <a:pt x="6562" y="0"/>
                      </a:cubicBezTo>
                      <a:lnTo>
                        <a:pt x="88121" y="0"/>
                      </a:lnTo>
                      <a:cubicBezTo>
                        <a:pt x="91750" y="0"/>
                        <a:pt x="94683" y="2940"/>
                        <a:pt x="94683" y="6562"/>
                      </a:cubicBezTo>
                      <a:lnTo>
                        <a:pt x="94683" y="9540"/>
                      </a:lnTo>
                      <a:cubicBezTo>
                        <a:pt x="94683" y="30314"/>
                        <a:pt x="73443" y="47204"/>
                        <a:pt x="47341" y="47204"/>
                      </a:cubicBezTo>
                      <a:close/>
                      <a:moveTo>
                        <a:pt x="13490" y="13130"/>
                      </a:moveTo>
                      <a:cubicBezTo>
                        <a:pt x="15912" y="24967"/>
                        <a:pt x="30170" y="34080"/>
                        <a:pt x="47341" y="34080"/>
                      </a:cubicBezTo>
                      <a:cubicBezTo>
                        <a:pt x="64513" y="34080"/>
                        <a:pt x="78771" y="24967"/>
                        <a:pt x="81192" y="13130"/>
                      </a:cubicBezTo>
                      <a:lnTo>
                        <a:pt x="13490" y="13130"/>
                      </a:lnTo>
                      <a:close/>
                    </a:path>
                  </a:pathLst>
                </a:custGeom>
                <a:solidFill>
                  <a:schemeClr val="accent1"/>
                </a:solidFill>
                <a:ln w="655" cap="flat">
                  <a:noFill/>
                  <a:prstDash val="solid"/>
                  <a:miter/>
                </a:ln>
              </p:spPr>
              <p:txBody>
                <a:bodyPr rtlCol="0" anchor="ctr"/>
                <a:lstStyle/>
                <a:p>
                  <a:endParaRPr lang="en-GB" dirty="0"/>
                </a:p>
              </p:txBody>
            </p:sp>
          </p:grpSp>
          <p:sp>
            <p:nvSpPr>
              <p:cNvPr id="298" name="Freihandform: Form 265">
                <a:extLst>
                  <a:ext uri="{FF2B5EF4-FFF2-40B4-BE49-F238E27FC236}">
                    <a16:creationId xmlns:a16="http://schemas.microsoft.com/office/drawing/2014/main" id="{6C0B6636-931B-4F0A-B309-495AE3887DFA}"/>
                  </a:ext>
                </a:extLst>
              </p:cNvPr>
              <p:cNvSpPr/>
              <p:nvPr/>
            </p:nvSpPr>
            <p:spPr>
              <a:xfrm>
                <a:off x="2919121" y="2612853"/>
                <a:ext cx="94675" cy="47203"/>
              </a:xfrm>
              <a:custGeom>
                <a:avLst/>
                <a:gdLst>
                  <a:gd name="connsiteX0" fmla="*/ 47341 w 94675"/>
                  <a:gd name="connsiteY0" fmla="*/ 47204 h 47203"/>
                  <a:gd name="connsiteX1" fmla="*/ 0 w 94675"/>
                  <a:gd name="connsiteY1" fmla="*/ 9540 h 47203"/>
                  <a:gd name="connsiteX2" fmla="*/ 0 w 94675"/>
                  <a:gd name="connsiteY2" fmla="*/ 6562 h 47203"/>
                  <a:gd name="connsiteX3" fmla="*/ 6562 w 94675"/>
                  <a:gd name="connsiteY3" fmla="*/ 0 h 47203"/>
                  <a:gd name="connsiteX4" fmla="*/ 88114 w 94675"/>
                  <a:gd name="connsiteY4" fmla="*/ 0 h 47203"/>
                  <a:gd name="connsiteX5" fmla="*/ 94676 w 94675"/>
                  <a:gd name="connsiteY5" fmla="*/ 6562 h 47203"/>
                  <a:gd name="connsiteX6" fmla="*/ 94676 w 94675"/>
                  <a:gd name="connsiteY6" fmla="*/ 9540 h 47203"/>
                  <a:gd name="connsiteX7" fmla="*/ 47341 w 94675"/>
                  <a:gd name="connsiteY7" fmla="*/ 47204 h 47203"/>
                  <a:gd name="connsiteX8" fmla="*/ 13490 w 94675"/>
                  <a:gd name="connsiteY8" fmla="*/ 13123 h 47203"/>
                  <a:gd name="connsiteX9" fmla="*/ 47341 w 94675"/>
                  <a:gd name="connsiteY9" fmla="*/ 34074 h 47203"/>
                  <a:gd name="connsiteX10" fmla="*/ 81185 w 94675"/>
                  <a:gd name="connsiteY10" fmla="*/ 13123 h 47203"/>
                  <a:gd name="connsiteX11" fmla="*/ 13490 w 94675"/>
                  <a:gd name="connsiteY11" fmla="*/ 13123 h 4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675" h="47203">
                    <a:moveTo>
                      <a:pt x="47341" y="47204"/>
                    </a:moveTo>
                    <a:cubicBezTo>
                      <a:pt x="21233" y="47204"/>
                      <a:pt x="0" y="30308"/>
                      <a:pt x="0" y="9540"/>
                    </a:cubicBezTo>
                    <a:lnTo>
                      <a:pt x="0" y="6562"/>
                    </a:lnTo>
                    <a:cubicBezTo>
                      <a:pt x="0" y="2940"/>
                      <a:pt x="2933" y="0"/>
                      <a:pt x="6562" y="0"/>
                    </a:cubicBezTo>
                    <a:lnTo>
                      <a:pt x="88114" y="0"/>
                    </a:lnTo>
                    <a:cubicBezTo>
                      <a:pt x="91743" y="0"/>
                      <a:pt x="94676" y="2940"/>
                      <a:pt x="94676" y="6562"/>
                    </a:cubicBezTo>
                    <a:lnTo>
                      <a:pt x="94676" y="9540"/>
                    </a:lnTo>
                    <a:cubicBezTo>
                      <a:pt x="94676" y="30308"/>
                      <a:pt x="73443" y="47204"/>
                      <a:pt x="47341" y="47204"/>
                    </a:cubicBezTo>
                    <a:close/>
                    <a:moveTo>
                      <a:pt x="13490" y="13123"/>
                    </a:moveTo>
                    <a:cubicBezTo>
                      <a:pt x="15912" y="24960"/>
                      <a:pt x="30170" y="34074"/>
                      <a:pt x="47341" y="34074"/>
                    </a:cubicBezTo>
                    <a:cubicBezTo>
                      <a:pt x="64506" y="34074"/>
                      <a:pt x="78764" y="24960"/>
                      <a:pt x="81185" y="13123"/>
                    </a:cubicBezTo>
                    <a:lnTo>
                      <a:pt x="13490" y="13123"/>
                    </a:lnTo>
                    <a:close/>
                  </a:path>
                </a:pathLst>
              </a:custGeom>
              <a:solidFill>
                <a:schemeClr val="accent1"/>
              </a:solidFill>
              <a:ln w="655" cap="flat">
                <a:noFill/>
                <a:prstDash val="solid"/>
                <a:miter/>
              </a:ln>
            </p:spPr>
            <p:txBody>
              <a:bodyPr rtlCol="0" anchor="ctr"/>
              <a:lstStyle/>
              <a:p>
                <a:endParaRPr lang="en-GB" dirty="0"/>
              </a:p>
            </p:txBody>
          </p:sp>
          <p:sp>
            <p:nvSpPr>
              <p:cNvPr id="299" name="Freihandform: Form 266">
                <a:extLst>
                  <a:ext uri="{FF2B5EF4-FFF2-40B4-BE49-F238E27FC236}">
                    <a16:creationId xmlns:a16="http://schemas.microsoft.com/office/drawing/2014/main" id="{02E8E93A-FDC4-4476-AAF6-F84FB4BD9BDD}"/>
                  </a:ext>
                </a:extLst>
              </p:cNvPr>
              <p:cNvSpPr/>
              <p:nvPr/>
            </p:nvSpPr>
            <p:spPr>
              <a:xfrm>
                <a:off x="2837522" y="2612853"/>
                <a:ext cx="94682" cy="47203"/>
              </a:xfrm>
              <a:custGeom>
                <a:avLst/>
                <a:gdLst>
                  <a:gd name="connsiteX0" fmla="*/ 47341 w 94682"/>
                  <a:gd name="connsiteY0" fmla="*/ 47204 h 47203"/>
                  <a:gd name="connsiteX1" fmla="*/ 0 w 94682"/>
                  <a:gd name="connsiteY1" fmla="*/ 9540 h 47203"/>
                  <a:gd name="connsiteX2" fmla="*/ 0 w 94682"/>
                  <a:gd name="connsiteY2" fmla="*/ 6562 h 47203"/>
                  <a:gd name="connsiteX3" fmla="*/ 6562 w 94682"/>
                  <a:gd name="connsiteY3" fmla="*/ 0 h 47203"/>
                  <a:gd name="connsiteX4" fmla="*/ 88121 w 94682"/>
                  <a:gd name="connsiteY4" fmla="*/ 0 h 47203"/>
                  <a:gd name="connsiteX5" fmla="*/ 94683 w 94682"/>
                  <a:gd name="connsiteY5" fmla="*/ 6562 h 47203"/>
                  <a:gd name="connsiteX6" fmla="*/ 94683 w 94682"/>
                  <a:gd name="connsiteY6" fmla="*/ 9540 h 47203"/>
                  <a:gd name="connsiteX7" fmla="*/ 47341 w 94682"/>
                  <a:gd name="connsiteY7" fmla="*/ 47204 h 47203"/>
                  <a:gd name="connsiteX8" fmla="*/ 13490 w 94682"/>
                  <a:gd name="connsiteY8" fmla="*/ 13123 h 47203"/>
                  <a:gd name="connsiteX9" fmla="*/ 47341 w 94682"/>
                  <a:gd name="connsiteY9" fmla="*/ 34074 h 47203"/>
                  <a:gd name="connsiteX10" fmla="*/ 81192 w 94682"/>
                  <a:gd name="connsiteY10" fmla="*/ 13123 h 47203"/>
                  <a:gd name="connsiteX11" fmla="*/ 13490 w 94682"/>
                  <a:gd name="connsiteY11" fmla="*/ 13123 h 4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682" h="47203">
                    <a:moveTo>
                      <a:pt x="47341" y="47204"/>
                    </a:moveTo>
                    <a:cubicBezTo>
                      <a:pt x="21233" y="47204"/>
                      <a:pt x="0" y="30308"/>
                      <a:pt x="0" y="9540"/>
                    </a:cubicBezTo>
                    <a:lnTo>
                      <a:pt x="0" y="6562"/>
                    </a:lnTo>
                    <a:cubicBezTo>
                      <a:pt x="0" y="2940"/>
                      <a:pt x="2933" y="0"/>
                      <a:pt x="6562" y="0"/>
                    </a:cubicBezTo>
                    <a:lnTo>
                      <a:pt x="88121" y="0"/>
                    </a:lnTo>
                    <a:cubicBezTo>
                      <a:pt x="91750" y="0"/>
                      <a:pt x="94683" y="2940"/>
                      <a:pt x="94683" y="6562"/>
                    </a:cubicBezTo>
                    <a:lnTo>
                      <a:pt x="94683" y="9540"/>
                    </a:lnTo>
                    <a:cubicBezTo>
                      <a:pt x="94683" y="30308"/>
                      <a:pt x="73443" y="47204"/>
                      <a:pt x="47341" y="47204"/>
                    </a:cubicBezTo>
                    <a:close/>
                    <a:moveTo>
                      <a:pt x="13490" y="13123"/>
                    </a:moveTo>
                    <a:cubicBezTo>
                      <a:pt x="15912" y="24960"/>
                      <a:pt x="30170" y="34074"/>
                      <a:pt x="47341" y="34074"/>
                    </a:cubicBezTo>
                    <a:cubicBezTo>
                      <a:pt x="64513" y="34074"/>
                      <a:pt x="78771" y="24960"/>
                      <a:pt x="81192" y="13123"/>
                    </a:cubicBezTo>
                    <a:lnTo>
                      <a:pt x="13490" y="13123"/>
                    </a:lnTo>
                    <a:close/>
                  </a:path>
                </a:pathLst>
              </a:custGeom>
              <a:solidFill>
                <a:schemeClr val="accent1"/>
              </a:solidFill>
              <a:ln w="655" cap="flat">
                <a:noFill/>
                <a:prstDash val="solid"/>
                <a:miter/>
              </a:ln>
            </p:spPr>
            <p:txBody>
              <a:bodyPr rtlCol="0" anchor="ctr"/>
              <a:lstStyle/>
              <a:p>
                <a:endParaRPr lang="en-GB" dirty="0"/>
              </a:p>
            </p:txBody>
          </p:sp>
          <p:grpSp>
            <p:nvGrpSpPr>
              <p:cNvPr id="300" name="Graphic 6">
                <a:extLst>
                  <a:ext uri="{FF2B5EF4-FFF2-40B4-BE49-F238E27FC236}">
                    <a16:creationId xmlns:a16="http://schemas.microsoft.com/office/drawing/2014/main" id="{EBBAEA2F-3519-4481-9692-361AA6F005DD}"/>
                  </a:ext>
                </a:extLst>
              </p:cNvPr>
              <p:cNvGrpSpPr/>
              <p:nvPr/>
            </p:nvGrpSpPr>
            <p:grpSpPr>
              <a:xfrm>
                <a:off x="2580749" y="2558491"/>
                <a:ext cx="433193" cy="67517"/>
                <a:chOff x="2580749" y="2558491"/>
                <a:chExt cx="433193" cy="67517"/>
              </a:xfrm>
              <a:solidFill>
                <a:schemeClr val="accent1"/>
              </a:solidFill>
            </p:grpSpPr>
            <p:sp>
              <p:nvSpPr>
                <p:cNvPr id="301" name="Freihandform: Form 268">
                  <a:extLst>
                    <a:ext uri="{FF2B5EF4-FFF2-40B4-BE49-F238E27FC236}">
                      <a16:creationId xmlns:a16="http://schemas.microsoft.com/office/drawing/2014/main" id="{D8658973-A236-4EA8-B580-5DD80EFFB373}"/>
                    </a:ext>
                  </a:extLst>
                </p:cNvPr>
                <p:cNvSpPr/>
                <p:nvPr/>
              </p:nvSpPr>
              <p:spPr>
                <a:xfrm>
                  <a:off x="2744119" y="2558491"/>
                  <a:ext cx="106466" cy="67517"/>
                </a:xfrm>
                <a:custGeom>
                  <a:avLst/>
                  <a:gdLst>
                    <a:gd name="connsiteX0" fmla="*/ 99905 w 106466"/>
                    <a:gd name="connsiteY0" fmla="*/ 67518 h 67517"/>
                    <a:gd name="connsiteX1" fmla="*/ 6562 w 106466"/>
                    <a:gd name="connsiteY1" fmla="*/ 67518 h 67517"/>
                    <a:gd name="connsiteX2" fmla="*/ 0 w 106466"/>
                    <a:gd name="connsiteY2" fmla="*/ 60956 h 67517"/>
                    <a:gd name="connsiteX3" fmla="*/ 0 w 106466"/>
                    <a:gd name="connsiteY3" fmla="*/ 6562 h 67517"/>
                    <a:gd name="connsiteX4" fmla="*/ 6562 w 106466"/>
                    <a:gd name="connsiteY4" fmla="*/ 0 h 67517"/>
                    <a:gd name="connsiteX5" fmla="*/ 99905 w 106466"/>
                    <a:gd name="connsiteY5" fmla="*/ 0 h 67517"/>
                    <a:gd name="connsiteX6" fmla="*/ 106467 w 106466"/>
                    <a:gd name="connsiteY6" fmla="*/ 6562 h 67517"/>
                    <a:gd name="connsiteX7" fmla="*/ 106467 w 106466"/>
                    <a:gd name="connsiteY7" fmla="*/ 60956 h 67517"/>
                    <a:gd name="connsiteX8" fmla="*/ 99905 w 106466"/>
                    <a:gd name="connsiteY8" fmla="*/ 67518 h 67517"/>
                    <a:gd name="connsiteX9" fmla="*/ 13130 w 106466"/>
                    <a:gd name="connsiteY9" fmla="*/ 54395 h 67517"/>
                    <a:gd name="connsiteX10" fmla="*/ 93351 w 106466"/>
                    <a:gd name="connsiteY10" fmla="*/ 54395 h 67517"/>
                    <a:gd name="connsiteX11" fmla="*/ 93351 w 106466"/>
                    <a:gd name="connsiteY11" fmla="*/ 13123 h 67517"/>
                    <a:gd name="connsiteX12" fmla="*/ 13130 w 106466"/>
                    <a:gd name="connsiteY12" fmla="*/ 13123 h 67517"/>
                    <a:gd name="connsiteX13" fmla="*/ 13130 w 106466"/>
                    <a:gd name="connsiteY13" fmla="*/ 54395 h 67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466" h="67517">
                      <a:moveTo>
                        <a:pt x="99905" y="67518"/>
                      </a:moveTo>
                      <a:lnTo>
                        <a:pt x="6562" y="67518"/>
                      </a:lnTo>
                      <a:cubicBezTo>
                        <a:pt x="2933" y="67518"/>
                        <a:pt x="0" y="64578"/>
                        <a:pt x="0" y="60956"/>
                      </a:cubicBezTo>
                      <a:lnTo>
                        <a:pt x="0" y="6562"/>
                      </a:lnTo>
                      <a:cubicBezTo>
                        <a:pt x="0" y="2940"/>
                        <a:pt x="2933" y="0"/>
                        <a:pt x="6562" y="0"/>
                      </a:cubicBezTo>
                      <a:lnTo>
                        <a:pt x="99905" y="0"/>
                      </a:lnTo>
                      <a:cubicBezTo>
                        <a:pt x="103534" y="0"/>
                        <a:pt x="106467" y="2940"/>
                        <a:pt x="106467" y="6562"/>
                      </a:cubicBezTo>
                      <a:lnTo>
                        <a:pt x="106467" y="60956"/>
                      </a:lnTo>
                      <a:cubicBezTo>
                        <a:pt x="106467" y="64578"/>
                        <a:pt x="103534" y="67518"/>
                        <a:pt x="99905" y="67518"/>
                      </a:cubicBezTo>
                      <a:close/>
                      <a:moveTo>
                        <a:pt x="13130" y="54395"/>
                      </a:moveTo>
                      <a:lnTo>
                        <a:pt x="93351" y="54395"/>
                      </a:lnTo>
                      <a:lnTo>
                        <a:pt x="93351" y="13123"/>
                      </a:lnTo>
                      <a:lnTo>
                        <a:pt x="13130" y="13123"/>
                      </a:lnTo>
                      <a:lnTo>
                        <a:pt x="13130" y="54395"/>
                      </a:lnTo>
                      <a:close/>
                    </a:path>
                  </a:pathLst>
                </a:custGeom>
                <a:solidFill>
                  <a:schemeClr val="accent1"/>
                </a:solidFill>
                <a:ln w="655" cap="flat">
                  <a:noFill/>
                  <a:prstDash val="solid"/>
                  <a:miter/>
                </a:ln>
              </p:spPr>
              <p:txBody>
                <a:bodyPr rtlCol="0" anchor="ctr"/>
                <a:lstStyle/>
                <a:p>
                  <a:endParaRPr lang="en-GB" dirty="0"/>
                </a:p>
              </p:txBody>
            </p:sp>
            <p:sp>
              <p:nvSpPr>
                <p:cNvPr id="302" name="Freihandform: Form 269">
                  <a:extLst>
                    <a:ext uri="{FF2B5EF4-FFF2-40B4-BE49-F238E27FC236}">
                      <a16:creationId xmlns:a16="http://schemas.microsoft.com/office/drawing/2014/main" id="{29E8F6BF-D0E5-4835-BDB1-0F88050E917C}"/>
                    </a:ext>
                  </a:extLst>
                </p:cNvPr>
                <p:cNvSpPr/>
                <p:nvPr/>
              </p:nvSpPr>
              <p:spPr>
                <a:xfrm>
                  <a:off x="2662444" y="2558491"/>
                  <a:ext cx="94810" cy="67517"/>
                </a:xfrm>
                <a:custGeom>
                  <a:avLst/>
                  <a:gdLst>
                    <a:gd name="connsiteX0" fmla="*/ 88243 w 94810"/>
                    <a:gd name="connsiteY0" fmla="*/ 67518 h 67517"/>
                    <a:gd name="connsiteX1" fmla="*/ 6559 w 94810"/>
                    <a:gd name="connsiteY1" fmla="*/ 67518 h 67517"/>
                    <a:gd name="connsiteX2" fmla="*/ 1460 w 94810"/>
                    <a:gd name="connsiteY2" fmla="*/ 65077 h 67517"/>
                    <a:gd name="connsiteX3" fmla="*/ 148 w 94810"/>
                    <a:gd name="connsiteY3" fmla="*/ 59578 h 67517"/>
                    <a:gd name="connsiteX4" fmla="*/ 11814 w 94810"/>
                    <a:gd name="connsiteY4" fmla="*/ 5184 h 67517"/>
                    <a:gd name="connsiteX5" fmla="*/ 18232 w 94810"/>
                    <a:gd name="connsiteY5" fmla="*/ 0 h 67517"/>
                    <a:gd name="connsiteX6" fmla="*/ 88249 w 94810"/>
                    <a:gd name="connsiteY6" fmla="*/ 0 h 67517"/>
                    <a:gd name="connsiteX7" fmla="*/ 94811 w 94810"/>
                    <a:gd name="connsiteY7" fmla="*/ 6562 h 67517"/>
                    <a:gd name="connsiteX8" fmla="*/ 94811 w 94810"/>
                    <a:gd name="connsiteY8" fmla="*/ 60956 h 67517"/>
                    <a:gd name="connsiteX9" fmla="*/ 88243 w 94810"/>
                    <a:gd name="connsiteY9" fmla="*/ 67518 h 67517"/>
                    <a:gd name="connsiteX10" fmla="*/ 14675 w 94810"/>
                    <a:gd name="connsiteY10" fmla="*/ 54395 h 67517"/>
                    <a:gd name="connsiteX11" fmla="*/ 81681 w 94810"/>
                    <a:gd name="connsiteY11" fmla="*/ 54395 h 67517"/>
                    <a:gd name="connsiteX12" fmla="*/ 81681 w 94810"/>
                    <a:gd name="connsiteY12" fmla="*/ 13123 h 67517"/>
                    <a:gd name="connsiteX13" fmla="*/ 23533 w 94810"/>
                    <a:gd name="connsiteY13" fmla="*/ 13123 h 67517"/>
                    <a:gd name="connsiteX14" fmla="*/ 14675 w 94810"/>
                    <a:gd name="connsiteY14" fmla="*/ 54395 h 67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810" h="67517">
                      <a:moveTo>
                        <a:pt x="88243" y="67518"/>
                      </a:moveTo>
                      <a:lnTo>
                        <a:pt x="6559" y="67518"/>
                      </a:lnTo>
                      <a:cubicBezTo>
                        <a:pt x="4577" y="67518"/>
                        <a:pt x="2700" y="66619"/>
                        <a:pt x="1460" y="65077"/>
                      </a:cubicBezTo>
                      <a:cubicBezTo>
                        <a:pt x="213" y="63535"/>
                        <a:pt x="-272" y="61514"/>
                        <a:pt x="148" y="59578"/>
                      </a:cubicBezTo>
                      <a:lnTo>
                        <a:pt x="11814" y="5184"/>
                      </a:lnTo>
                      <a:cubicBezTo>
                        <a:pt x="12464" y="2159"/>
                        <a:pt x="15134" y="0"/>
                        <a:pt x="18232" y="0"/>
                      </a:cubicBezTo>
                      <a:lnTo>
                        <a:pt x="88249" y="0"/>
                      </a:lnTo>
                      <a:cubicBezTo>
                        <a:pt x="91878" y="0"/>
                        <a:pt x="94811" y="2940"/>
                        <a:pt x="94811" y="6562"/>
                      </a:cubicBezTo>
                      <a:lnTo>
                        <a:pt x="94811" y="60956"/>
                      </a:lnTo>
                      <a:cubicBezTo>
                        <a:pt x="94804" y="64578"/>
                        <a:pt x="91865" y="67518"/>
                        <a:pt x="88243" y="67518"/>
                      </a:cubicBezTo>
                      <a:close/>
                      <a:moveTo>
                        <a:pt x="14675" y="54395"/>
                      </a:moveTo>
                      <a:lnTo>
                        <a:pt x="81681" y="54395"/>
                      </a:lnTo>
                      <a:lnTo>
                        <a:pt x="81681" y="13123"/>
                      </a:lnTo>
                      <a:lnTo>
                        <a:pt x="23533" y="13123"/>
                      </a:lnTo>
                      <a:lnTo>
                        <a:pt x="14675" y="54395"/>
                      </a:lnTo>
                      <a:close/>
                    </a:path>
                  </a:pathLst>
                </a:custGeom>
                <a:solidFill>
                  <a:schemeClr val="accent1"/>
                </a:solidFill>
                <a:ln w="655" cap="flat">
                  <a:noFill/>
                  <a:prstDash val="solid"/>
                  <a:miter/>
                </a:ln>
              </p:spPr>
              <p:txBody>
                <a:bodyPr rtlCol="0" anchor="ctr"/>
                <a:lstStyle/>
                <a:p>
                  <a:endParaRPr lang="en-GB" dirty="0"/>
                </a:p>
              </p:txBody>
            </p:sp>
            <p:sp>
              <p:nvSpPr>
                <p:cNvPr id="303" name="Freihandform: Form 270">
                  <a:extLst>
                    <a:ext uri="{FF2B5EF4-FFF2-40B4-BE49-F238E27FC236}">
                      <a16:creationId xmlns:a16="http://schemas.microsoft.com/office/drawing/2014/main" id="{5D0E16AC-76E2-4E88-A23B-1505216259CB}"/>
                    </a:ext>
                  </a:extLst>
                </p:cNvPr>
                <p:cNvSpPr/>
                <p:nvPr/>
              </p:nvSpPr>
              <p:spPr>
                <a:xfrm>
                  <a:off x="2837463" y="2558491"/>
                  <a:ext cx="94794" cy="67517"/>
                </a:xfrm>
                <a:custGeom>
                  <a:avLst/>
                  <a:gdLst>
                    <a:gd name="connsiteX0" fmla="*/ 88233 w 94794"/>
                    <a:gd name="connsiteY0" fmla="*/ 67518 h 67517"/>
                    <a:gd name="connsiteX1" fmla="*/ 6562 w 94794"/>
                    <a:gd name="connsiteY1" fmla="*/ 67518 h 67517"/>
                    <a:gd name="connsiteX2" fmla="*/ 0 w 94794"/>
                    <a:gd name="connsiteY2" fmla="*/ 60956 h 67517"/>
                    <a:gd name="connsiteX3" fmla="*/ 0 w 94794"/>
                    <a:gd name="connsiteY3" fmla="*/ 6562 h 67517"/>
                    <a:gd name="connsiteX4" fmla="*/ 6562 w 94794"/>
                    <a:gd name="connsiteY4" fmla="*/ 0 h 67517"/>
                    <a:gd name="connsiteX5" fmla="*/ 76566 w 94794"/>
                    <a:gd name="connsiteY5" fmla="*/ 0 h 67517"/>
                    <a:gd name="connsiteX6" fmla="*/ 82983 w 94794"/>
                    <a:gd name="connsiteY6" fmla="*/ 5184 h 67517"/>
                    <a:gd name="connsiteX7" fmla="*/ 94650 w 94794"/>
                    <a:gd name="connsiteY7" fmla="*/ 59578 h 67517"/>
                    <a:gd name="connsiteX8" fmla="*/ 93337 w 94794"/>
                    <a:gd name="connsiteY8" fmla="*/ 65077 h 67517"/>
                    <a:gd name="connsiteX9" fmla="*/ 88233 w 94794"/>
                    <a:gd name="connsiteY9" fmla="*/ 67518 h 67517"/>
                    <a:gd name="connsiteX10" fmla="*/ 13123 w 94794"/>
                    <a:gd name="connsiteY10" fmla="*/ 54395 h 67517"/>
                    <a:gd name="connsiteX11" fmla="*/ 80116 w 94794"/>
                    <a:gd name="connsiteY11" fmla="*/ 54395 h 67517"/>
                    <a:gd name="connsiteX12" fmla="*/ 71258 w 94794"/>
                    <a:gd name="connsiteY12" fmla="*/ 13123 h 67517"/>
                    <a:gd name="connsiteX13" fmla="*/ 13123 w 94794"/>
                    <a:gd name="connsiteY13" fmla="*/ 13123 h 67517"/>
                    <a:gd name="connsiteX14" fmla="*/ 13123 w 94794"/>
                    <a:gd name="connsiteY14" fmla="*/ 54395 h 67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4794" h="67517">
                      <a:moveTo>
                        <a:pt x="88233" y="67518"/>
                      </a:moveTo>
                      <a:lnTo>
                        <a:pt x="6562" y="67518"/>
                      </a:lnTo>
                      <a:cubicBezTo>
                        <a:pt x="2933" y="67518"/>
                        <a:pt x="0" y="64578"/>
                        <a:pt x="0" y="60956"/>
                      </a:cubicBezTo>
                      <a:lnTo>
                        <a:pt x="0" y="6562"/>
                      </a:lnTo>
                      <a:cubicBezTo>
                        <a:pt x="0" y="2940"/>
                        <a:pt x="2933" y="0"/>
                        <a:pt x="6562" y="0"/>
                      </a:cubicBezTo>
                      <a:lnTo>
                        <a:pt x="76566" y="0"/>
                      </a:lnTo>
                      <a:cubicBezTo>
                        <a:pt x="79663" y="0"/>
                        <a:pt x="82334" y="2159"/>
                        <a:pt x="82983" y="5184"/>
                      </a:cubicBezTo>
                      <a:lnTo>
                        <a:pt x="94650" y="59578"/>
                      </a:lnTo>
                      <a:cubicBezTo>
                        <a:pt x="95063" y="61514"/>
                        <a:pt x="94584" y="63542"/>
                        <a:pt x="93337" y="65077"/>
                      </a:cubicBezTo>
                      <a:cubicBezTo>
                        <a:pt x="92091" y="66619"/>
                        <a:pt x="90214" y="67518"/>
                        <a:pt x="88233" y="67518"/>
                      </a:cubicBezTo>
                      <a:close/>
                      <a:moveTo>
                        <a:pt x="13123" y="54395"/>
                      </a:moveTo>
                      <a:lnTo>
                        <a:pt x="80116" y="54395"/>
                      </a:lnTo>
                      <a:lnTo>
                        <a:pt x="71258" y="13123"/>
                      </a:lnTo>
                      <a:lnTo>
                        <a:pt x="13123" y="13123"/>
                      </a:lnTo>
                      <a:lnTo>
                        <a:pt x="13123" y="54395"/>
                      </a:lnTo>
                      <a:close/>
                    </a:path>
                  </a:pathLst>
                </a:custGeom>
                <a:solidFill>
                  <a:schemeClr val="accent1"/>
                </a:solidFill>
                <a:ln w="655" cap="flat">
                  <a:noFill/>
                  <a:prstDash val="solid"/>
                  <a:miter/>
                </a:ln>
              </p:spPr>
              <p:txBody>
                <a:bodyPr rtlCol="0" anchor="ctr"/>
                <a:lstStyle/>
                <a:p>
                  <a:endParaRPr lang="en-GB" dirty="0"/>
                </a:p>
              </p:txBody>
            </p:sp>
            <p:sp>
              <p:nvSpPr>
                <p:cNvPr id="304" name="Freihandform: Form 271">
                  <a:extLst>
                    <a:ext uri="{FF2B5EF4-FFF2-40B4-BE49-F238E27FC236}">
                      <a16:creationId xmlns:a16="http://schemas.microsoft.com/office/drawing/2014/main" id="{743D2706-F7D8-4CEB-A7EA-E381838BE49E}"/>
                    </a:ext>
                  </a:extLst>
                </p:cNvPr>
                <p:cNvSpPr/>
                <p:nvPr/>
              </p:nvSpPr>
              <p:spPr>
                <a:xfrm>
                  <a:off x="2580749" y="2558491"/>
                  <a:ext cx="106478" cy="67517"/>
                </a:xfrm>
                <a:custGeom>
                  <a:avLst/>
                  <a:gdLst>
                    <a:gd name="connsiteX0" fmla="*/ 88247 w 106478"/>
                    <a:gd name="connsiteY0" fmla="*/ 67518 h 67517"/>
                    <a:gd name="connsiteX1" fmla="*/ 6563 w 106478"/>
                    <a:gd name="connsiteY1" fmla="*/ 67518 h 67517"/>
                    <a:gd name="connsiteX2" fmla="*/ 1084 w 106478"/>
                    <a:gd name="connsiteY2" fmla="*/ 64565 h 67517"/>
                    <a:gd name="connsiteX3" fmla="*/ 533 w 106478"/>
                    <a:gd name="connsiteY3" fmla="*/ 58371 h 67517"/>
                    <a:gd name="connsiteX4" fmla="*/ 23866 w 106478"/>
                    <a:gd name="connsiteY4" fmla="*/ 3976 h 67517"/>
                    <a:gd name="connsiteX5" fmla="*/ 29896 w 106478"/>
                    <a:gd name="connsiteY5" fmla="*/ 0 h 67517"/>
                    <a:gd name="connsiteX6" fmla="*/ 99920 w 106478"/>
                    <a:gd name="connsiteY6" fmla="*/ 0 h 67517"/>
                    <a:gd name="connsiteX7" fmla="*/ 105018 w 106478"/>
                    <a:gd name="connsiteY7" fmla="*/ 2441 h 67517"/>
                    <a:gd name="connsiteX8" fmla="*/ 106331 w 106478"/>
                    <a:gd name="connsiteY8" fmla="*/ 7939 h 67517"/>
                    <a:gd name="connsiteX9" fmla="*/ 94664 w 106478"/>
                    <a:gd name="connsiteY9" fmla="*/ 62334 h 67517"/>
                    <a:gd name="connsiteX10" fmla="*/ 88247 w 106478"/>
                    <a:gd name="connsiteY10" fmla="*/ 67518 h 67517"/>
                    <a:gd name="connsiteX11" fmla="*/ 16517 w 106478"/>
                    <a:gd name="connsiteY11" fmla="*/ 54395 h 67517"/>
                    <a:gd name="connsiteX12" fmla="*/ 82945 w 106478"/>
                    <a:gd name="connsiteY12" fmla="*/ 54395 h 67517"/>
                    <a:gd name="connsiteX13" fmla="*/ 91803 w 106478"/>
                    <a:gd name="connsiteY13" fmla="*/ 13123 h 67517"/>
                    <a:gd name="connsiteX14" fmla="*/ 34226 w 106478"/>
                    <a:gd name="connsiteY14" fmla="*/ 13123 h 67517"/>
                    <a:gd name="connsiteX15" fmla="*/ 16517 w 106478"/>
                    <a:gd name="connsiteY15" fmla="*/ 54395 h 67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478" h="67517">
                      <a:moveTo>
                        <a:pt x="88247" y="67518"/>
                      </a:moveTo>
                      <a:lnTo>
                        <a:pt x="6563" y="67518"/>
                      </a:lnTo>
                      <a:cubicBezTo>
                        <a:pt x="4358" y="67518"/>
                        <a:pt x="2305" y="66409"/>
                        <a:pt x="1084" y="64565"/>
                      </a:cubicBezTo>
                      <a:cubicBezTo>
                        <a:pt x="-130" y="62721"/>
                        <a:pt x="-340" y="60392"/>
                        <a:pt x="533" y="58371"/>
                      </a:cubicBezTo>
                      <a:lnTo>
                        <a:pt x="23866" y="3976"/>
                      </a:lnTo>
                      <a:cubicBezTo>
                        <a:pt x="24896" y="1562"/>
                        <a:pt x="27271" y="0"/>
                        <a:pt x="29896" y="0"/>
                      </a:cubicBezTo>
                      <a:lnTo>
                        <a:pt x="99920" y="0"/>
                      </a:lnTo>
                      <a:cubicBezTo>
                        <a:pt x="101901" y="0"/>
                        <a:pt x="103778" y="899"/>
                        <a:pt x="105018" y="2441"/>
                      </a:cubicBezTo>
                      <a:cubicBezTo>
                        <a:pt x="106265" y="3983"/>
                        <a:pt x="106751" y="6004"/>
                        <a:pt x="106331" y="7939"/>
                      </a:cubicBezTo>
                      <a:lnTo>
                        <a:pt x="94664" y="62334"/>
                      </a:lnTo>
                      <a:cubicBezTo>
                        <a:pt x="94015" y="65359"/>
                        <a:pt x="91344" y="67518"/>
                        <a:pt x="88247" y="67518"/>
                      </a:cubicBezTo>
                      <a:close/>
                      <a:moveTo>
                        <a:pt x="16517" y="54395"/>
                      </a:moveTo>
                      <a:lnTo>
                        <a:pt x="82945" y="54395"/>
                      </a:lnTo>
                      <a:lnTo>
                        <a:pt x="91803" y="13123"/>
                      </a:lnTo>
                      <a:lnTo>
                        <a:pt x="34226" y="13123"/>
                      </a:lnTo>
                      <a:lnTo>
                        <a:pt x="16517" y="54395"/>
                      </a:lnTo>
                      <a:close/>
                    </a:path>
                  </a:pathLst>
                </a:custGeom>
                <a:solidFill>
                  <a:schemeClr val="accent1"/>
                </a:solidFill>
                <a:ln w="655" cap="flat">
                  <a:noFill/>
                  <a:prstDash val="solid"/>
                  <a:miter/>
                </a:ln>
              </p:spPr>
              <p:txBody>
                <a:bodyPr rtlCol="0" anchor="ctr"/>
                <a:lstStyle/>
                <a:p>
                  <a:endParaRPr lang="en-GB" dirty="0"/>
                </a:p>
              </p:txBody>
            </p:sp>
            <p:sp>
              <p:nvSpPr>
                <p:cNvPr id="305" name="Freihandform: Form 272">
                  <a:extLst>
                    <a:ext uri="{FF2B5EF4-FFF2-40B4-BE49-F238E27FC236}">
                      <a16:creationId xmlns:a16="http://schemas.microsoft.com/office/drawing/2014/main" id="{2B9E2126-C7A6-4742-A33E-B3BD918C3227}"/>
                    </a:ext>
                  </a:extLst>
                </p:cNvPr>
                <p:cNvSpPr/>
                <p:nvPr/>
              </p:nvSpPr>
              <p:spPr>
                <a:xfrm>
                  <a:off x="2907473" y="2558491"/>
                  <a:ext cx="106469" cy="67517"/>
                </a:xfrm>
                <a:custGeom>
                  <a:avLst/>
                  <a:gdLst>
                    <a:gd name="connsiteX0" fmla="*/ 99906 w 106469"/>
                    <a:gd name="connsiteY0" fmla="*/ 67518 h 67517"/>
                    <a:gd name="connsiteX1" fmla="*/ 18229 w 106469"/>
                    <a:gd name="connsiteY1" fmla="*/ 67518 h 67517"/>
                    <a:gd name="connsiteX2" fmla="*/ 11812 w 106469"/>
                    <a:gd name="connsiteY2" fmla="*/ 62334 h 67517"/>
                    <a:gd name="connsiteX3" fmla="*/ 145 w 106469"/>
                    <a:gd name="connsiteY3" fmla="*/ 7939 h 67517"/>
                    <a:gd name="connsiteX4" fmla="*/ 1457 w 106469"/>
                    <a:gd name="connsiteY4" fmla="*/ 2441 h 67517"/>
                    <a:gd name="connsiteX5" fmla="*/ 6556 w 106469"/>
                    <a:gd name="connsiteY5" fmla="*/ 0 h 67517"/>
                    <a:gd name="connsiteX6" fmla="*/ 76567 w 106469"/>
                    <a:gd name="connsiteY6" fmla="*/ 0 h 67517"/>
                    <a:gd name="connsiteX7" fmla="*/ 82597 w 106469"/>
                    <a:gd name="connsiteY7" fmla="*/ 3976 h 67517"/>
                    <a:gd name="connsiteX8" fmla="*/ 105936 w 106469"/>
                    <a:gd name="connsiteY8" fmla="*/ 58371 h 67517"/>
                    <a:gd name="connsiteX9" fmla="*/ 105385 w 106469"/>
                    <a:gd name="connsiteY9" fmla="*/ 64565 h 67517"/>
                    <a:gd name="connsiteX10" fmla="*/ 99906 w 106469"/>
                    <a:gd name="connsiteY10" fmla="*/ 67518 h 67517"/>
                    <a:gd name="connsiteX11" fmla="*/ 23530 w 106469"/>
                    <a:gd name="connsiteY11" fmla="*/ 54395 h 67517"/>
                    <a:gd name="connsiteX12" fmla="*/ 89946 w 106469"/>
                    <a:gd name="connsiteY12" fmla="*/ 54395 h 67517"/>
                    <a:gd name="connsiteX13" fmla="*/ 72243 w 106469"/>
                    <a:gd name="connsiteY13" fmla="*/ 13123 h 67517"/>
                    <a:gd name="connsiteX14" fmla="*/ 14679 w 106469"/>
                    <a:gd name="connsiteY14" fmla="*/ 13123 h 67517"/>
                    <a:gd name="connsiteX15" fmla="*/ 23530 w 106469"/>
                    <a:gd name="connsiteY15" fmla="*/ 54395 h 67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469" h="67517">
                      <a:moveTo>
                        <a:pt x="99906" y="67518"/>
                      </a:moveTo>
                      <a:lnTo>
                        <a:pt x="18229" y="67518"/>
                      </a:lnTo>
                      <a:cubicBezTo>
                        <a:pt x="15132" y="67518"/>
                        <a:pt x="12461" y="65359"/>
                        <a:pt x="11812" y="62334"/>
                      </a:cubicBezTo>
                      <a:lnTo>
                        <a:pt x="145" y="7939"/>
                      </a:lnTo>
                      <a:cubicBezTo>
                        <a:pt x="-268" y="6004"/>
                        <a:pt x="211" y="3976"/>
                        <a:pt x="1457" y="2441"/>
                      </a:cubicBezTo>
                      <a:cubicBezTo>
                        <a:pt x="2698" y="899"/>
                        <a:pt x="4581" y="0"/>
                        <a:pt x="6556" y="0"/>
                      </a:cubicBezTo>
                      <a:lnTo>
                        <a:pt x="76567" y="0"/>
                      </a:lnTo>
                      <a:cubicBezTo>
                        <a:pt x="79185" y="0"/>
                        <a:pt x="81567" y="1562"/>
                        <a:pt x="82597" y="3976"/>
                      </a:cubicBezTo>
                      <a:lnTo>
                        <a:pt x="105936" y="58371"/>
                      </a:lnTo>
                      <a:cubicBezTo>
                        <a:pt x="106809" y="60399"/>
                        <a:pt x="106599" y="62728"/>
                        <a:pt x="105385" y="64565"/>
                      </a:cubicBezTo>
                      <a:cubicBezTo>
                        <a:pt x="104171" y="66402"/>
                        <a:pt x="102111" y="67518"/>
                        <a:pt x="99906" y="67518"/>
                      </a:cubicBezTo>
                      <a:close/>
                      <a:moveTo>
                        <a:pt x="23530" y="54395"/>
                      </a:moveTo>
                      <a:lnTo>
                        <a:pt x="89946" y="54395"/>
                      </a:lnTo>
                      <a:lnTo>
                        <a:pt x="72243" y="13123"/>
                      </a:lnTo>
                      <a:lnTo>
                        <a:pt x="14679" y="13123"/>
                      </a:lnTo>
                      <a:lnTo>
                        <a:pt x="23530" y="54395"/>
                      </a:lnTo>
                      <a:close/>
                    </a:path>
                  </a:pathLst>
                </a:custGeom>
                <a:solidFill>
                  <a:schemeClr val="accent1"/>
                </a:solidFill>
                <a:ln w="655" cap="flat">
                  <a:noFill/>
                  <a:prstDash val="solid"/>
                  <a:miter/>
                </a:ln>
              </p:spPr>
              <p:txBody>
                <a:bodyPr rtlCol="0" anchor="ctr"/>
                <a:lstStyle/>
                <a:p>
                  <a:endParaRPr lang="en-GB" dirty="0"/>
                </a:p>
              </p:txBody>
            </p:sp>
          </p:grpSp>
        </p:grpSp>
        <p:grpSp>
          <p:nvGrpSpPr>
            <p:cNvPr id="291" name="Gruppieren 830">
              <a:extLst>
                <a:ext uri="{FF2B5EF4-FFF2-40B4-BE49-F238E27FC236}">
                  <a16:creationId xmlns:a16="http://schemas.microsoft.com/office/drawing/2014/main" id="{01B20375-1BA7-45DB-8B62-71EB52810280}"/>
                </a:ext>
              </a:extLst>
            </p:cNvPr>
            <p:cNvGrpSpPr/>
            <p:nvPr/>
          </p:nvGrpSpPr>
          <p:grpSpPr>
            <a:xfrm>
              <a:off x="2580751" y="2650214"/>
              <a:ext cx="433059" cy="242914"/>
              <a:chOff x="2580751" y="2650214"/>
              <a:chExt cx="433059" cy="242914"/>
            </a:xfrm>
          </p:grpSpPr>
          <p:sp>
            <p:nvSpPr>
              <p:cNvPr id="292" name="Freihandform: Form 259">
                <a:extLst>
                  <a:ext uri="{FF2B5EF4-FFF2-40B4-BE49-F238E27FC236}">
                    <a16:creationId xmlns:a16="http://schemas.microsoft.com/office/drawing/2014/main" id="{21201A1C-97A3-49BA-8C01-2FD94F5723AD}"/>
                  </a:ext>
                </a:extLst>
              </p:cNvPr>
              <p:cNvSpPr/>
              <p:nvPr/>
            </p:nvSpPr>
            <p:spPr>
              <a:xfrm>
                <a:off x="2613689" y="2650214"/>
                <a:ext cx="367313" cy="242913"/>
              </a:xfrm>
              <a:custGeom>
                <a:avLst/>
                <a:gdLst>
                  <a:gd name="connsiteX0" fmla="*/ 360752 w 367313"/>
                  <a:gd name="connsiteY0" fmla="*/ 242913 h 242913"/>
                  <a:gd name="connsiteX1" fmla="*/ 6562 w 367313"/>
                  <a:gd name="connsiteY1" fmla="*/ 242913 h 242913"/>
                  <a:gd name="connsiteX2" fmla="*/ 0 w 367313"/>
                  <a:gd name="connsiteY2" fmla="*/ 236352 h 242913"/>
                  <a:gd name="connsiteX3" fmla="*/ 0 w 367313"/>
                  <a:gd name="connsiteY3" fmla="*/ 6562 h 242913"/>
                  <a:gd name="connsiteX4" fmla="*/ 6562 w 367313"/>
                  <a:gd name="connsiteY4" fmla="*/ 0 h 242913"/>
                  <a:gd name="connsiteX5" fmla="*/ 13123 w 367313"/>
                  <a:gd name="connsiteY5" fmla="*/ 6562 h 242913"/>
                  <a:gd name="connsiteX6" fmla="*/ 13123 w 367313"/>
                  <a:gd name="connsiteY6" fmla="*/ 229790 h 242913"/>
                  <a:gd name="connsiteX7" fmla="*/ 354190 w 367313"/>
                  <a:gd name="connsiteY7" fmla="*/ 229790 h 242913"/>
                  <a:gd name="connsiteX8" fmla="*/ 354190 w 367313"/>
                  <a:gd name="connsiteY8" fmla="*/ 6699 h 242913"/>
                  <a:gd name="connsiteX9" fmla="*/ 360752 w 367313"/>
                  <a:gd name="connsiteY9" fmla="*/ 138 h 242913"/>
                  <a:gd name="connsiteX10" fmla="*/ 367313 w 367313"/>
                  <a:gd name="connsiteY10" fmla="*/ 6699 h 242913"/>
                  <a:gd name="connsiteX11" fmla="*/ 367313 w 367313"/>
                  <a:gd name="connsiteY11" fmla="*/ 236352 h 242913"/>
                  <a:gd name="connsiteX12" fmla="*/ 360752 w 367313"/>
                  <a:gd name="connsiteY12" fmla="*/ 242913 h 24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7313" h="242913">
                    <a:moveTo>
                      <a:pt x="360752" y="242913"/>
                    </a:moveTo>
                    <a:lnTo>
                      <a:pt x="6562" y="242913"/>
                    </a:lnTo>
                    <a:cubicBezTo>
                      <a:pt x="2933" y="242913"/>
                      <a:pt x="0" y="239974"/>
                      <a:pt x="0" y="236352"/>
                    </a:cubicBezTo>
                    <a:lnTo>
                      <a:pt x="0" y="6562"/>
                    </a:lnTo>
                    <a:cubicBezTo>
                      <a:pt x="0" y="2940"/>
                      <a:pt x="2933" y="0"/>
                      <a:pt x="6562" y="0"/>
                    </a:cubicBezTo>
                    <a:cubicBezTo>
                      <a:pt x="10190" y="0"/>
                      <a:pt x="13123" y="2940"/>
                      <a:pt x="13123" y="6562"/>
                    </a:cubicBezTo>
                    <a:lnTo>
                      <a:pt x="13123" y="229790"/>
                    </a:lnTo>
                    <a:lnTo>
                      <a:pt x="354190" y="229790"/>
                    </a:lnTo>
                    <a:lnTo>
                      <a:pt x="354190" y="6699"/>
                    </a:lnTo>
                    <a:cubicBezTo>
                      <a:pt x="354190" y="3077"/>
                      <a:pt x="357123" y="138"/>
                      <a:pt x="360752" y="138"/>
                    </a:cubicBezTo>
                    <a:cubicBezTo>
                      <a:pt x="364380" y="138"/>
                      <a:pt x="367313" y="3077"/>
                      <a:pt x="367313" y="6699"/>
                    </a:cubicBezTo>
                    <a:lnTo>
                      <a:pt x="367313" y="236352"/>
                    </a:lnTo>
                    <a:cubicBezTo>
                      <a:pt x="367313" y="239974"/>
                      <a:pt x="364380" y="242913"/>
                      <a:pt x="360752" y="242913"/>
                    </a:cubicBezTo>
                    <a:close/>
                  </a:path>
                </a:pathLst>
              </a:custGeom>
              <a:solidFill>
                <a:schemeClr val="tx2"/>
              </a:solidFill>
              <a:ln w="655" cap="flat">
                <a:noFill/>
                <a:prstDash val="solid"/>
                <a:miter/>
              </a:ln>
            </p:spPr>
            <p:txBody>
              <a:bodyPr rtlCol="0" anchor="ctr"/>
              <a:lstStyle/>
              <a:p>
                <a:endParaRPr lang="en-GB" dirty="0"/>
              </a:p>
            </p:txBody>
          </p:sp>
          <p:sp>
            <p:nvSpPr>
              <p:cNvPr id="293" name="Freihandform: Form 273">
                <a:extLst>
                  <a:ext uri="{FF2B5EF4-FFF2-40B4-BE49-F238E27FC236}">
                    <a16:creationId xmlns:a16="http://schemas.microsoft.com/office/drawing/2014/main" id="{54C4DDB3-FF68-4BC1-BA59-D5F69868371C}"/>
                  </a:ext>
                </a:extLst>
              </p:cNvPr>
              <p:cNvSpPr/>
              <p:nvPr/>
            </p:nvSpPr>
            <p:spPr>
              <a:xfrm>
                <a:off x="2659489" y="2775021"/>
                <a:ext cx="78738" cy="118107"/>
              </a:xfrm>
              <a:custGeom>
                <a:avLst/>
                <a:gdLst>
                  <a:gd name="connsiteX0" fmla="*/ 72177 w 78738"/>
                  <a:gd name="connsiteY0" fmla="*/ 118107 h 118107"/>
                  <a:gd name="connsiteX1" fmla="*/ 6562 w 78738"/>
                  <a:gd name="connsiteY1" fmla="*/ 118107 h 118107"/>
                  <a:gd name="connsiteX2" fmla="*/ 0 w 78738"/>
                  <a:gd name="connsiteY2" fmla="*/ 111546 h 118107"/>
                  <a:gd name="connsiteX3" fmla="*/ 0 w 78738"/>
                  <a:gd name="connsiteY3" fmla="*/ 6562 h 118107"/>
                  <a:gd name="connsiteX4" fmla="*/ 6562 w 78738"/>
                  <a:gd name="connsiteY4" fmla="*/ 0 h 118107"/>
                  <a:gd name="connsiteX5" fmla="*/ 72177 w 78738"/>
                  <a:gd name="connsiteY5" fmla="*/ 0 h 118107"/>
                  <a:gd name="connsiteX6" fmla="*/ 78738 w 78738"/>
                  <a:gd name="connsiteY6" fmla="*/ 6562 h 118107"/>
                  <a:gd name="connsiteX7" fmla="*/ 78738 w 78738"/>
                  <a:gd name="connsiteY7" fmla="*/ 111546 h 118107"/>
                  <a:gd name="connsiteX8" fmla="*/ 72177 w 78738"/>
                  <a:gd name="connsiteY8" fmla="*/ 118107 h 118107"/>
                  <a:gd name="connsiteX9" fmla="*/ 13123 w 78738"/>
                  <a:gd name="connsiteY9" fmla="*/ 104984 h 118107"/>
                  <a:gd name="connsiteX10" fmla="*/ 65615 w 78738"/>
                  <a:gd name="connsiteY10" fmla="*/ 104984 h 118107"/>
                  <a:gd name="connsiteX11" fmla="*/ 65615 w 78738"/>
                  <a:gd name="connsiteY11" fmla="*/ 13123 h 118107"/>
                  <a:gd name="connsiteX12" fmla="*/ 13123 w 78738"/>
                  <a:gd name="connsiteY12" fmla="*/ 13123 h 118107"/>
                  <a:gd name="connsiteX13" fmla="*/ 13123 w 78738"/>
                  <a:gd name="connsiteY13" fmla="*/ 104984 h 11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738" h="118107">
                    <a:moveTo>
                      <a:pt x="72177" y="118107"/>
                    </a:moveTo>
                    <a:lnTo>
                      <a:pt x="6562" y="118107"/>
                    </a:lnTo>
                    <a:cubicBezTo>
                      <a:pt x="2933" y="118107"/>
                      <a:pt x="0" y="115168"/>
                      <a:pt x="0" y="111546"/>
                    </a:cubicBezTo>
                    <a:lnTo>
                      <a:pt x="0" y="6562"/>
                    </a:lnTo>
                    <a:cubicBezTo>
                      <a:pt x="0" y="2940"/>
                      <a:pt x="2933" y="0"/>
                      <a:pt x="6562" y="0"/>
                    </a:cubicBezTo>
                    <a:lnTo>
                      <a:pt x="72177" y="0"/>
                    </a:lnTo>
                    <a:cubicBezTo>
                      <a:pt x="75805" y="0"/>
                      <a:pt x="78738" y="2940"/>
                      <a:pt x="78738" y="6562"/>
                    </a:cubicBezTo>
                    <a:lnTo>
                      <a:pt x="78738" y="111546"/>
                    </a:lnTo>
                    <a:cubicBezTo>
                      <a:pt x="78738" y="115168"/>
                      <a:pt x="75805" y="118107"/>
                      <a:pt x="72177" y="118107"/>
                    </a:cubicBezTo>
                    <a:close/>
                    <a:moveTo>
                      <a:pt x="13123" y="104984"/>
                    </a:moveTo>
                    <a:lnTo>
                      <a:pt x="65615" y="104984"/>
                    </a:lnTo>
                    <a:lnTo>
                      <a:pt x="65615" y="13123"/>
                    </a:lnTo>
                    <a:lnTo>
                      <a:pt x="13123" y="13123"/>
                    </a:lnTo>
                    <a:lnTo>
                      <a:pt x="13123" y="104984"/>
                    </a:lnTo>
                    <a:close/>
                  </a:path>
                </a:pathLst>
              </a:custGeom>
              <a:solidFill>
                <a:schemeClr val="tx2"/>
              </a:solidFill>
              <a:ln w="655" cap="flat">
                <a:noFill/>
                <a:prstDash val="solid"/>
                <a:miter/>
              </a:ln>
            </p:spPr>
            <p:txBody>
              <a:bodyPr rtlCol="0" anchor="ctr"/>
              <a:lstStyle/>
              <a:p>
                <a:endParaRPr lang="en-GB" dirty="0"/>
              </a:p>
            </p:txBody>
          </p:sp>
          <p:sp>
            <p:nvSpPr>
              <p:cNvPr id="294" name="Freihandform: Form 274">
                <a:extLst>
                  <a:ext uri="{FF2B5EF4-FFF2-40B4-BE49-F238E27FC236}">
                    <a16:creationId xmlns:a16="http://schemas.microsoft.com/office/drawing/2014/main" id="{07045382-7718-426D-AD27-029C570E6B73}"/>
                  </a:ext>
                </a:extLst>
              </p:cNvPr>
              <p:cNvSpPr/>
              <p:nvPr/>
            </p:nvSpPr>
            <p:spPr>
              <a:xfrm>
                <a:off x="2777596" y="2689721"/>
                <a:ext cx="164037" cy="164037"/>
              </a:xfrm>
              <a:custGeom>
                <a:avLst/>
                <a:gdLst>
                  <a:gd name="connsiteX0" fmla="*/ 157476 w 164037"/>
                  <a:gd name="connsiteY0" fmla="*/ 164038 h 164037"/>
                  <a:gd name="connsiteX1" fmla="*/ 6562 w 164037"/>
                  <a:gd name="connsiteY1" fmla="*/ 164038 h 164037"/>
                  <a:gd name="connsiteX2" fmla="*/ 0 w 164037"/>
                  <a:gd name="connsiteY2" fmla="*/ 157476 h 164037"/>
                  <a:gd name="connsiteX3" fmla="*/ 0 w 164037"/>
                  <a:gd name="connsiteY3" fmla="*/ 6562 h 164037"/>
                  <a:gd name="connsiteX4" fmla="*/ 6562 w 164037"/>
                  <a:gd name="connsiteY4" fmla="*/ 0 h 164037"/>
                  <a:gd name="connsiteX5" fmla="*/ 157476 w 164037"/>
                  <a:gd name="connsiteY5" fmla="*/ 0 h 164037"/>
                  <a:gd name="connsiteX6" fmla="*/ 164038 w 164037"/>
                  <a:gd name="connsiteY6" fmla="*/ 6562 h 164037"/>
                  <a:gd name="connsiteX7" fmla="*/ 164038 w 164037"/>
                  <a:gd name="connsiteY7" fmla="*/ 157476 h 164037"/>
                  <a:gd name="connsiteX8" fmla="*/ 157476 w 164037"/>
                  <a:gd name="connsiteY8" fmla="*/ 164038 h 164037"/>
                  <a:gd name="connsiteX9" fmla="*/ 13123 w 164037"/>
                  <a:gd name="connsiteY9" fmla="*/ 150915 h 164037"/>
                  <a:gd name="connsiteX10" fmla="*/ 150915 w 164037"/>
                  <a:gd name="connsiteY10" fmla="*/ 150915 h 164037"/>
                  <a:gd name="connsiteX11" fmla="*/ 150915 w 164037"/>
                  <a:gd name="connsiteY11" fmla="*/ 13123 h 164037"/>
                  <a:gd name="connsiteX12" fmla="*/ 13123 w 164037"/>
                  <a:gd name="connsiteY12" fmla="*/ 13123 h 164037"/>
                  <a:gd name="connsiteX13" fmla="*/ 13123 w 164037"/>
                  <a:gd name="connsiteY13" fmla="*/ 150915 h 16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037" h="164037">
                    <a:moveTo>
                      <a:pt x="157476" y="164038"/>
                    </a:moveTo>
                    <a:lnTo>
                      <a:pt x="6562" y="164038"/>
                    </a:lnTo>
                    <a:cubicBezTo>
                      <a:pt x="2933" y="164038"/>
                      <a:pt x="0" y="161098"/>
                      <a:pt x="0" y="157476"/>
                    </a:cubicBezTo>
                    <a:lnTo>
                      <a:pt x="0" y="6562"/>
                    </a:lnTo>
                    <a:cubicBezTo>
                      <a:pt x="0" y="2940"/>
                      <a:pt x="2933" y="0"/>
                      <a:pt x="6562" y="0"/>
                    </a:cubicBezTo>
                    <a:lnTo>
                      <a:pt x="157476" y="0"/>
                    </a:lnTo>
                    <a:cubicBezTo>
                      <a:pt x="161105" y="0"/>
                      <a:pt x="164038" y="2940"/>
                      <a:pt x="164038" y="6562"/>
                    </a:cubicBezTo>
                    <a:lnTo>
                      <a:pt x="164038" y="157476"/>
                    </a:lnTo>
                    <a:cubicBezTo>
                      <a:pt x="164038" y="161098"/>
                      <a:pt x="161105" y="164038"/>
                      <a:pt x="157476" y="164038"/>
                    </a:cubicBezTo>
                    <a:close/>
                    <a:moveTo>
                      <a:pt x="13123" y="150915"/>
                    </a:moveTo>
                    <a:lnTo>
                      <a:pt x="150915" y="150915"/>
                    </a:lnTo>
                    <a:lnTo>
                      <a:pt x="150915" y="13123"/>
                    </a:lnTo>
                    <a:lnTo>
                      <a:pt x="13123" y="13123"/>
                    </a:lnTo>
                    <a:lnTo>
                      <a:pt x="13123" y="150915"/>
                    </a:lnTo>
                    <a:close/>
                  </a:path>
                </a:pathLst>
              </a:custGeom>
              <a:solidFill>
                <a:schemeClr val="tx2"/>
              </a:solidFill>
              <a:ln w="655" cap="flat">
                <a:noFill/>
                <a:prstDash val="solid"/>
                <a:miter/>
              </a:ln>
            </p:spPr>
            <p:txBody>
              <a:bodyPr rtlCol="0" anchor="ctr"/>
              <a:lstStyle/>
              <a:p>
                <a:endParaRPr lang="en-GB" dirty="0"/>
              </a:p>
            </p:txBody>
          </p:sp>
          <p:sp>
            <p:nvSpPr>
              <p:cNvPr id="295" name="Freihandform: Form 275">
                <a:extLst>
                  <a:ext uri="{FF2B5EF4-FFF2-40B4-BE49-F238E27FC236}">
                    <a16:creationId xmlns:a16="http://schemas.microsoft.com/office/drawing/2014/main" id="{8E31BD0A-1D82-4F13-8B45-26041150762A}"/>
                  </a:ext>
                </a:extLst>
              </p:cNvPr>
              <p:cNvSpPr/>
              <p:nvPr/>
            </p:nvSpPr>
            <p:spPr>
              <a:xfrm>
                <a:off x="2580751" y="2880005"/>
                <a:ext cx="433059" cy="13123"/>
              </a:xfrm>
              <a:custGeom>
                <a:avLst/>
                <a:gdLst>
                  <a:gd name="connsiteX0" fmla="*/ 426498 w 433059"/>
                  <a:gd name="connsiteY0" fmla="*/ 13123 h 13123"/>
                  <a:gd name="connsiteX1" fmla="*/ 6562 w 433059"/>
                  <a:gd name="connsiteY1" fmla="*/ 13123 h 13123"/>
                  <a:gd name="connsiteX2" fmla="*/ 0 w 433059"/>
                  <a:gd name="connsiteY2" fmla="*/ 6562 h 13123"/>
                  <a:gd name="connsiteX3" fmla="*/ 6562 w 433059"/>
                  <a:gd name="connsiteY3" fmla="*/ 0 h 13123"/>
                  <a:gd name="connsiteX4" fmla="*/ 426498 w 433059"/>
                  <a:gd name="connsiteY4" fmla="*/ 0 h 13123"/>
                  <a:gd name="connsiteX5" fmla="*/ 433059 w 433059"/>
                  <a:gd name="connsiteY5" fmla="*/ 6562 h 13123"/>
                  <a:gd name="connsiteX6" fmla="*/ 426498 w 433059"/>
                  <a:gd name="connsiteY6" fmla="*/ 13123 h 1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059" h="13123">
                    <a:moveTo>
                      <a:pt x="426498" y="13123"/>
                    </a:moveTo>
                    <a:lnTo>
                      <a:pt x="6562" y="13123"/>
                    </a:lnTo>
                    <a:cubicBezTo>
                      <a:pt x="2933" y="13123"/>
                      <a:pt x="0" y="10183"/>
                      <a:pt x="0" y="6562"/>
                    </a:cubicBezTo>
                    <a:cubicBezTo>
                      <a:pt x="0" y="2940"/>
                      <a:pt x="2933" y="0"/>
                      <a:pt x="6562" y="0"/>
                    </a:cubicBezTo>
                    <a:lnTo>
                      <a:pt x="426498" y="0"/>
                    </a:lnTo>
                    <a:cubicBezTo>
                      <a:pt x="430126" y="0"/>
                      <a:pt x="433059" y="2940"/>
                      <a:pt x="433059" y="6562"/>
                    </a:cubicBezTo>
                    <a:cubicBezTo>
                      <a:pt x="433059" y="10183"/>
                      <a:pt x="430126" y="13123"/>
                      <a:pt x="426498" y="13123"/>
                    </a:cubicBezTo>
                    <a:close/>
                  </a:path>
                </a:pathLst>
              </a:custGeom>
              <a:solidFill>
                <a:schemeClr val="tx2"/>
              </a:solidFill>
              <a:ln w="655" cap="flat">
                <a:noFill/>
                <a:prstDash val="solid"/>
                <a:miter/>
              </a:ln>
            </p:spPr>
            <p:txBody>
              <a:bodyPr rtlCol="0" anchor="ctr"/>
              <a:lstStyle/>
              <a:p>
                <a:endParaRPr lang="en-GB" dirty="0"/>
              </a:p>
            </p:txBody>
          </p:sp>
        </p:grpSp>
      </p:grpSp>
      <p:grpSp>
        <p:nvGrpSpPr>
          <p:cNvPr id="32" name="Group 31">
            <a:extLst>
              <a:ext uri="{FF2B5EF4-FFF2-40B4-BE49-F238E27FC236}">
                <a16:creationId xmlns:a16="http://schemas.microsoft.com/office/drawing/2014/main" id="{32214A9F-86FF-B04E-68D5-A27D5CA4231F}"/>
              </a:ext>
            </a:extLst>
          </p:cNvPr>
          <p:cNvGrpSpPr/>
          <p:nvPr/>
        </p:nvGrpSpPr>
        <p:grpSpPr>
          <a:xfrm>
            <a:off x="2565209" y="4032593"/>
            <a:ext cx="639423" cy="432001"/>
            <a:chOff x="2565209" y="4032593"/>
            <a:chExt cx="639423" cy="432001"/>
          </a:xfrm>
        </p:grpSpPr>
        <p:grpSp>
          <p:nvGrpSpPr>
            <p:cNvPr id="309" name="Gruppieren 852">
              <a:extLst>
                <a:ext uri="{FF2B5EF4-FFF2-40B4-BE49-F238E27FC236}">
                  <a16:creationId xmlns:a16="http://schemas.microsoft.com/office/drawing/2014/main" id="{F5DF3E87-47FF-46A3-AA2F-E8AA5343F107}"/>
                </a:ext>
              </a:extLst>
            </p:cNvPr>
            <p:cNvGrpSpPr/>
            <p:nvPr/>
          </p:nvGrpSpPr>
          <p:grpSpPr>
            <a:xfrm>
              <a:off x="2755312" y="4032593"/>
              <a:ext cx="449320" cy="432001"/>
              <a:chOff x="6258220" y="1739962"/>
              <a:chExt cx="346305" cy="332956"/>
            </a:xfrm>
            <a:solidFill>
              <a:schemeClr val="tx2"/>
            </a:solidFill>
          </p:grpSpPr>
          <p:sp>
            <p:nvSpPr>
              <p:cNvPr id="316" name="Freihandform: Form 489">
                <a:extLst>
                  <a:ext uri="{FF2B5EF4-FFF2-40B4-BE49-F238E27FC236}">
                    <a16:creationId xmlns:a16="http://schemas.microsoft.com/office/drawing/2014/main" id="{2C4AA53B-0C41-439E-84CF-9B3316D201D5}"/>
                  </a:ext>
                </a:extLst>
              </p:cNvPr>
              <p:cNvSpPr/>
              <p:nvPr/>
            </p:nvSpPr>
            <p:spPr>
              <a:xfrm>
                <a:off x="6324818" y="2059601"/>
                <a:ext cx="213107" cy="13317"/>
              </a:xfrm>
              <a:custGeom>
                <a:avLst/>
                <a:gdLst>
                  <a:gd name="connsiteX0" fmla="*/ 206448 w 213107"/>
                  <a:gd name="connsiteY0" fmla="*/ 13317 h 13317"/>
                  <a:gd name="connsiteX1" fmla="*/ 6659 w 213107"/>
                  <a:gd name="connsiteY1" fmla="*/ 13317 h 13317"/>
                  <a:gd name="connsiteX2" fmla="*/ 0 w 213107"/>
                  <a:gd name="connsiteY2" fmla="*/ 6658 h 13317"/>
                  <a:gd name="connsiteX3" fmla="*/ 6659 w 213107"/>
                  <a:gd name="connsiteY3" fmla="*/ 0 h 13317"/>
                  <a:gd name="connsiteX4" fmla="*/ 206448 w 213107"/>
                  <a:gd name="connsiteY4" fmla="*/ 0 h 13317"/>
                  <a:gd name="connsiteX5" fmla="*/ 213107 w 213107"/>
                  <a:gd name="connsiteY5" fmla="*/ 6658 h 13317"/>
                  <a:gd name="connsiteX6" fmla="*/ 206448 w 213107"/>
                  <a:gd name="connsiteY6" fmla="*/ 13317 h 1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07" h="13317">
                    <a:moveTo>
                      <a:pt x="206448" y="13317"/>
                    </a:moveTo>
                    <a:lnTo>
                      <a:pt x="6659" y="13317"/>
                    </a:lnTo>
                    <a:cubicBezTo>
                      <a:pt x="2981" y="13317"/>
                      <a:pt x="0" y="10336"/>
                      <a:pt x="0" y="6658"/>
                    </a:cubicBezTo>
                    <a:cubicBezTo>
                      <a:pt x="0" y="2981"/>
                      <a:pt x="2981" y="0"/>
                      <a:pt x="6659" y="0"/>
                    </a:cubicBezTo>
                    <a:lnTo>
                      <a:pt x="206448" y="0"/>
                    </a:lnTo>
                    <a:cubicBezTo>
                      <a:pt x="210126" y="0"/>
                      <a:pt x="213107" y="2981"/>
                      <a:pt x="213107" y="6658"/>
                    </a:cubicBezTo>
                    <a:cubicBezTo>
                      <a:pt x="213110" y="10336"/>
                      <a:pt x="210126" y="13317"/>
                      <a:pt x="206448" y="13317"/>
                    </a:cubicBezTo>
                    <a:close/>
                  </a:path>
                </a:pathLst>
              </a:custGeom>
              <a:grpFill/>
              <a:ln w="254" cap="flat">
                <a:noFill/>
                <a:prstDash val="solid"/>
                <a:miter/>
              </a:ln>
            </p:spPr>
            <p:txBody>
              <a:bodyPr rtlCol="0" anchor="ctr"/>
              <a:lstStyle/>
              <a:p>
                <a:endParaRPr lang="en-GB" dirty="0"/>
              </a:p>
            </p:txBody>
          </p:sp>
          <p:sp>
            <p:nvSpPr>
              <p:cNvPr id="317" name="Freihandform: Form 490">
                <a:extLst>
                  <a:ext uri="{FF2B5EF4-FFF2-40B4-BE49-F238E27FC236}">
                    <a16:creationId xmlns:a16="http://schemas.microsoft.com/office/drawing/2014/main" id="{0FF2E140-CFA0-46F1-9EF6-D3D9CA0F2530}"/>
                  </a:ext>
                </a:extLst>
              </p:cNvPr>
              <p:cNvSpPr/>
              <p:nvPr/>
            </p:nvSpPr>
            <p:spPr>
              <a:xfrm>
                <a:off x="6391416" y="1979691"/>
                <a:ext cx="79913" cy="93226"/>
              </a:xfrm>
              <a:custGeom>
                <a:avLst/>
                <a:gdLst>
                  <a:gd name="connsiteX0" fmla="*/ 73254 w 79913"/>
                  <a:gd name="connsiteY0" fmla="*/ 93227 h 93226"/>
                  <a:gd name="connsiteX1" fmla="*/ 6659 w 79913"/>
                  <a:gd name="connsiteY1" fmla="*/ 93227 h 93226"/>
                  <a:gd name="connsiteX2" fmla="*/ 0 w 79913"/>
                  <a:gd name="connsiteY2" fmla="*/ 86568 h 93226"/>
                  <a:gd name="connsiteX3" fmla="*/ 0 w 79913"/>
                  <a:gd name="connsiteY3" fmla="*/ 6659 h 93226"/>
                  <a:gd name="connsiteX4" fmla="*/ 6659 w 79913"/>
                  <a:gd name="connsiteY4" fmla="*/ 0 h 93226"/>
                  <a:gd name="connsiteX5" fmla="*/ 73254 w 79913"/>
                  <a:gd name="connsiteY5" fmla="*/ 0 h 93226"/>
                  <a:gd name="connsiteX6" fmla="*/ 79914 w 79913"/>
                  <a:gd name="connsiteY6" fmla="*/ 6659 h 93226"/>
                  <a:gd name="connsiteX7" fmla="*/ 79914 w 79913"/>
                  <a:gd name="connsiteY7" fmla="*/ 86568 h 93226"/>
                  <a:gd name="connsiteX8" fmla="*/ 73254 w 79913"/>
                  <a:gd name="connsiteY8" fmla="*/ 93227 h 93226"/>
                  <a:gd name="connsiteX9" fmla="*/ 13318 w 79913"/>
                  <a:gd name="connsiteY9" fmla="*/ 79907 h 93226"/>
                  <a:gd name="connsiteX10" fmla="*/ 66596 w 79913"/>
                  <a:gd name="connsiteY10" fmla="*/ 79907 h 93226"/>
                  <a:gd name="connsiteX11" fmla="*/ 66596 w 79913"/>
                  <a:gd name="connsiteY11" fmla="*/ 13317 h 93226"/>
                  <a:gd name="connsiteX12" fmla="*/ 13318 w 79913"/>
                  <a:gd name="connsiteY12" fmla="*/ 13317 h 93226"/>
                  <a:gd name="connsiteX13" fmla="*/ 13318 w 79913"/>
                  <a:gd name="connsiteY13" fmla="*/ 79907 h 9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913" h="93226">
                    <a:moveTo>
                      <a:pt x="73254" y="93227"/>
                    </a:moveTo>
                    <a:lnTo>
                      <a:pt x="6659" y="93227"/>
                    </a:lnTo>
                    <a:cubicBezTo>
                      <a:pt x="2981" y="93227"/>
                      <a:pt x="0" y="90246"/>
                      <a:pt x="0" y="86568"/>
                    </a:cubicBezTo>
                    <a:lnTo>
                      <a:pt x="0" y="6659"/>
                    </a:lnTo>
                    <a:cubicBezTo>
                      <a:pt x="0" y="2981"/>
                      <a:pt x="2981" y="0"/>
                      <a:pt x="6659" y="0"/>
                    </a:cubicBezTo>
                    <a:lnTo>
                      <a:pt x="73254" y="0"/>
                    </a:lnTo>
                    <a:cubicBezTo>
                      <a:pt x="76932" y="0"/>
                      <a:pt x="79914" y="2981"/>
                      <a:pt x="79914" y="6659"/>
                    </a:cubicBezTo>
                    <a:lnTo>
                      <a:pt x="79914" y="86568"/>
                    </a:lnTo>
                    <a:cubicBezTo>
                      <a:pt x="79914" y="90246"/>
                      <a:pt x="76932" y="93227"/>
                      <a:pt x="73254" y="93227"/>
                    </a:cubicBezTo>
                    <a:close/>
                    <a:moveTo>
                      <a:pt x="13318" y="79907"/>
                    </a:moveTo>
                    <a:lnTo>
                      <a:pt x="66596" y="79907"/>
                    </a:lnTo>
                    <a:lnTo>
                      <a:pt x="66596" y="13317"/>
                    </a:lnTo>
                    <a:lnTo>
                      <a:pt x="13318" y="13317"/>
                    </a:lnTo>
                    <a:lnTo>
                      <a:pt x="13318" y="79907"/>
                    </a:lnTo>
                    <a:close/>
                  </a:path>
                </a:pathLst>
              </a:custGeom>
              <a:grpFill/>
              <a:ln w="254" cap="flat">
                <a:noFill/>
                <a:prstDash val="solid"/>
                <a:miter/>
              </a:ln>
            </p:spPr>
            <p:txBody>
              <a:bodyPr rtlCol="0" anchor="ctr"/>
              <a:lstStyle/>
              <a:p>
                <a:endParaRPr lang="en-GB" dirty="0"/>
              </a:p>
            </p:txBody>
          </p:sp>
          <p:sp>
            <p:nvSpPr>
              <p:cNvPr id="318" name="Freihandform: Form 491">
                <a:extLst>
                  <a:ext uri="{FF2B5EF4-FFF2-40B4-BE49-F238E27FC236}">
                    <a16:creationId xmlns:a16="http://schemas.microsoft.com/office/drawing/2014/main" id="{AFA35D09-252F-4389-8339-00E7DF3BDA49}"/>
                  </a:ext>
                </a:extLst>
              </p:cNvPr>
              <p:cNvSpPr/>
              <p:nvPr/>
            </p:nvSpPr>
            <p:spPr>
              <a:xfrm>
                <a:off x="6258220" y="1739962"/>
                <a:ext cx="346305" cy="253045"/>
              </a:xfrm>
              <a:custGeom>
                <a:avLst/>
                <a:gdLst>
                  <a:gd name="connsiteX0" fmla="*/ 326324 w 346305"/>
                  <a:gd name="connsiteY0" fmla="*/ 253046 h 253045"/>
                  <a:gd name="connsiteX1" fmla="*/ 19980 w 346305"/>
                  <a:gd name="connsiteY1" fmla="*/ 253046 h 253045"/>
                  <a:gd name="connsiteX2" fmla="*/ 0 w 346305"/>
                  <a:gd name="connsiteY2" fmla="*/ 233068 h 253045"/>
                  <a:gd name="connsiteX3" fmla="*/ 6659 w 346305"/>
                  <a:gd name="connsiteY3" fmla="*/ 226409 h 253045"/>
                  <a:gd name="connsiteX4" fmla="*/ 13318 w 346305"/>
                  <a:gd name="connsiteY4" fmla="*/ 233068 h 253045"/>
                  <a:gd name="connsiteX5" fmla="*/ 19977 w 346305"/>
                  <a:gd name="connsiteY5" fmla="*/ 239726 h 253045"/>
                  <a:gd name="connsiteX6" fmla="*/ 326321 w 346305"/>
                  <a:gd name="connsiteY6" fmla="*/ 239726 h 253045"/>
                  <a:gd name="connsiteX7" fmla="*/ 332980 w 346305"/>
                  <a:gd name="connsiteY7" fmla="*/ 233068 h 253045"/>
                  <a:gd name="connsiteX8" fmla="*/ 332980 w 346305"/>
                  <a:gd name="connsiteY8" fmla="*/ 19978 h 253045"/>
                  <a:gd name="connsiteX9" fmla="*/ 326321 w 346305"/>
                  <a:gd name="connsiteY9" fmla="*/ 13320 h 253045"/>
                  <a:gd name="connsiteX10" fmla="*/ 19980 w 346305"/>
                  <a:gd name="connsiteY10" fmla="*/ 13320 h 253045"/>
                  <a:gd name="connsiteX11" fmla="*/ 13321 w 346305"/>
                  <a:gd name="connsiteY11" fmla="*/ 19978 h 253045"/>
                  <a:gd name="connsiteX12" fmla="*/ 6662 w 346305"/>
                  <a:gd name="connsiteY12" fmla="*/ 26637 h 253045"/>
                  <a:gd name="connsiteX13" fmla="*/ 3 w 346305"/>
                  <a:gd name="connsiteY13" fmla="*/ 19978 h 253045"/>
                  <a:gd name="connsiteX14" fmla="*/ 19982 w 346305"/>
                  <a:gd name="connsiteY14" fmla="*/ 0 h 253045"/>
                  <a:gd name="connsiteX15" fmla="*/ 326326 w 346305"/>
                  <a:gd name="connsiteY15" fmla="*/ 0 h 253045"/>
                  <a:gd name="connsiteX16" fmla="*/ 346306 w 346305"/>
                  <a:gd name="connsiteY16" fmla="*/ 19978 h 253045"/>
                  <a:gd name="connsiteX17" fmla="*/ 346306 w 346305"/>
                  <a:gd name="connsiteY17" fmla="*/ 233070 h 253045"/>
                  <a:gd name="connsiteX18" fmla="*/ 326324 w 346305"/>
                  <a:gd name="connsiteY18" fmla="*/ 253046 h 25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6305" h="253045">
                    <a:moveTo>
                      <a:pt x="326324" y="253046"/>
                    </a:moveTo>
                    <a:lnTo>
                      <a:pt x="19980" y="253046"/>
                    </a:lnTo>
                    <a:cubicBezTo>
                      <a:pt x="8962" y="253046"/>
                      <a:pt x="0" y="244085"/>
                      <a:pt x="0" y="233068"/>
                    </a:cubicBezTo>
                    <a:cubicBezTo>
                      <a:pt x="0" y="229390"/>
                      <a:pt x="2981" y="226409"/>
                      <a:pt x="6659" y="226409"/>
                    </a:cubicBezTo>
                    <a:cubicBezTo>
                      <a:pt x="10337" y="226409"/>
                      <a:pt x="13318" y="229390"/>
                      <a:pt x="13318" y="233068"/>
                    </a:cubicBezTo>
                    <a:cubicBezTo>
                      <a:pt x="13318" y="236738"/>
                      <a:pt x="16307" y="239726"/>
                      <a:pt x="19977" y="239726"/>
                    </a:cubicBezTo>
                    <a:lnTo>
                      <a:pt x="326321" y="239726"/>
                    </a:lnTo>
                    <a:cubicBezTo>
                      <a:pt x="329991" y="239726"/>
                      <a:pt x="332980" y="236738"/>
                      <a:pt x="332980" y="233068"/>
                    </a:cubicBezTo>
                    <a:lnTo>
                      <a:pt x="332980" y="19978"/>
                    </a:lnTo>
                    <a:cubicBezTo>
                      <a:pt x="332980" y="16308"/>
                      <a:pt x="329991" y="13320"/>
                      <a:pt x="326321" y="13320"/>
                    </a:cubicBezTo>
                    <a:lnTo>
                      <a:pt x="19980" y="13320"/>
                    </a:lnTo>
                    <a:cubicBezTo>
                      <a:pt x="16310" y="13320"/>
                      <a:pt x="13321" y="16308"/>
                      <a:pt x="13321" y="19978"/>
                    </a:cubicBezTo>
                    <a:cubicBezTo>
                      <a:pt x="13321" y="23655"/>
                      <a:pt x="10339" y="26637"/>
                      <a:pt x="6662" y="26637"/>
                    </a:cubicBezTo>
                    <a:cubicBezTo>
                      <a:pt x="2984" y="26637"/>
                      <a:pt x="3" y="23655"/>
                      <a:pt x="3" y="19978"/>
                    </a:cubicBezTo>
                    <a:cubicBezTo>
                      <a:pt x="3" y="8961"/>
                      <a:pt x="8964" y="0"/>
                      <a:pt x="19982" y="0"/>
                    </a:cubicBezTo>
                    <a:lnTo>
                      <a:pt x="326326" y="0"/>
                    </a:lnTo>
                    <a:cubicBezTo>
                      <a:pt x="337344" y="0"/>
                      <a:pt x="346306" y="8961"/>
                      <a:pt x="346306" y="19978"/>
                    </a:cubicBezTo>
                    <a:lnTo>
                      <a:pt x="346306" y="233070"/>
                    </a:lnTo>
                    <a:cubicBezTo>
                      <a:pt x="346303" y="244085"/>
                      <a:pt x="337342" y="253046"/>
                      <a:pt x="326324" y="253046"/>
                    </a:cubicBezTo>
                    <a:close/>
                  </a:path>
                </a:pathLst>
              </a:custGeom>
              <a:grpFill/>
              <a:ln w="254" cap="flat">
                <a:noFill/>
                <a:prstDash val="solid"/>
                <a:miter/>
              </a:ln>
            </p:spPr>
            <p:txBody>
              <a:bodyPr rtlCol="0" anchor="ctr"/>
              <a:lstStyle/>
              <a:p>
                <a:endParaRPr lang="en-GB" dirty="0"/>
              </a:p>
            </p:txBody>
          </p:sp>
          <p:sp>
            <p:nvSpPr>
              <p:cNvPr id="319" name="Freihandform: Form 492">
                <a:extLst>
                  <a:ext uri="{FF2B5EF4-FFF2-40B4-BE49-F238E27FC236}">
                    <a16:creationId xmlns:a16="http://schemas.microsoft.com/office/drawing/2014/main" id="{644EF8F2-E43A-48BE-9CD5-6AE51A769287}"/>
                  </a:ext>
                </a:extLst>
              </p:cNvPr>
              <p:cNvSpPr/>
              <p:nvPr/>
            </p:nvSpPr>
            <p:spPr>
              <a:xfrm>
                <a:off x="6391416" y="1773260"/>
                <a:ext cx="213107" cy="13316"/>
              </a:xfrm>
              <a:custGeom>
                <a:avLst/>
                <a:gdLst>
                  <a:gd name="connsiteX0" fmla="*/ 206448 w 213107"/>
                  <a:gd name="connsiteY0" fmla="*/ 13317 h 13316"/>
                  <a:gd name="connsiteX1" fmla="*/ 6659 w 213107"/>
                  <a:gd name="connsiteY1" fmla="*/ 13317 h 13316"/>
                  <a:gd name="connsiteX2" fmla="*/ 0 w 213107"/>
                  <a:gd name="connsiteY2" fmla="*/ 6658 h 13316"/>
                  <a:gd name="connsiteX3" fmla="*/ 6659 w 213107"/>
                  <a:gd name="connsiteY3" fmla="*/ 0 h 13316"/>
                  <a:gd name="connsiteX4" fmla="*/ 206448 w 213107"/>
                  <a:gd name="connsiteY4" fmla="*/ 0 h 13316"/>
                  <a:gd name="connsiteX5" fmla="*/ 213107 w 213107"/>
                  <a:gd name="connsiteY5" fmla="*/ 6658 h 13316"/>
                  <a:gd name="connsiteX6" fmla="*/ 206448 w 213107"/>
                  <a:gd name="connsiteY6" fmla="*/ 13317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107" h="13316">
                    <a:moveTo>
                      <a:pt x="206448" y="13317"/>
                    </a:moveTo>
                    <a:lnTo>
                      <a:pt x="6659" y="13317"/>
                    </a:lnTo>
                    <a:cubicBezTo>
                      <a:pt x="2981" y="13317"/>
                      <a:pt x="0" y="10336"/>
                      <a:pt x="0" y="6658"/>
                    </a:cubicBezTo>
                    <a:cubicBezTo>
                      <a:pt x="0" y="2981"/>
                      <a:pt x="2981" y="0"/>
                      <a:pt x="6659" y="0"/>
                    </a:cubicBezTo>
                    <a:lnTo>
                      <a:pt x="206448" y="0"/>
                    </a:lnTo>
                    <a:cubicBezTo>
                      <a:pt x="210126" y="0"/>
                      <a:pt x="213107" y="2981"/>
                      <a:pt x="213107" y="6658"/>
                    </a:cubicBezTo>
                    <a:cubicBezTo>
                      <a:pt x="213107" y="10336"/>
                      <a:pt x="210126" y="13317"/>
                      <a:pt x="206448" y="13317"/>
                    </a:cubicBezTo>
                    <a:close/>
                  </a:path>
                </a:pathLst>
              </a:custGeom>
              <a:grpFill/>
              <a:ln w="254" cap="flat">
                <a:noFill/>
                <a:prstDash val="solid"/>
                <a:miter/>
              </a:ln>
            </p:spPr>
            <p:txBody>
              <a:bodyPr rtlCol="0" anchor="ctr"/>
              <a:lstStyle/>
              <a:p>
                <a:endParaRPr lang="en-GB" dirty="0"/>
              </a:p>
            </p:txBody>
          </p:sp>
          <p:sp>
            <p:nvSpPr>
              <p:cNvPr id="320" name="Freihandform: Form 493">
                <a:extLst>
                  <a:ext uri="{FF2B5EF4-FFF2-40B4-BE49-F238E27FC236}">
                    <a16:creationId xmlns:a16="http://schemas.microsoft.com/office/drawing/2014/main" id="{8449CA63-7CCB-48C3-BE67-A4F17F1B8E07}"/>
                  </a:ext>
                </a:extLst>
              </p:cNvPr>
              <p:cNvSpPr/>
              <p:nvPr/>
            </p:nvSpPr>
            <p:spPr>
              <a:xfrm>
                <a:off x="6398075" y="1946396"/>
                <a:ext cx="206448" cy="13317"/>
              </a:xfrm>
              <a:custGeom>
                <a:avLst/>
                <a:gdLst>
                  <a:gd name="connsiteX0" fmla="*/ 199789 w 206448"/>
                  <a:gd name="connsiteY0" fmla="*/ 13317 h 13317"/>
                  <a:gd name="connsiteX1" fmla="*/ 6659 w 206448"/>
                  <a:gd name="connsiteY1" fmla="*/ 13317 h 13317"/>
                  <a:gd name="connsiteX2" fmla="*/ 0 w 206448"/>
                  <a:gd name="connsiteY2" fmla="*/ 6659 h 13317"/>
                  <a:gd name="connsiteX3" fmla="*/ 6659 w 206448"/>
                  <a:gd name="connsiteY3" fmla="*/ 0 h 13317"/>
                  <a:gd name="connsiteX4" fmla="*/ 199789 w 206448"/>
                  <a:gd name="connsiteY4" fmla="*/ 0 h 13317"/>
                  <a:gd name="connsiteX5" fmla="*/ 206448 w 206448"/>
                  <a:gd name="connsiteY5" fmla="*/ 6659 h 13317"/>
                  <a:gd name="connsiteX6" fmla="*/ 199789 w 206448"/>
                  <a:gd name="connsiteY6" fmla="*/ 13317 h 13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448" h="13317">
                    <a:moveTo>
                      <a:pt x="199789" y="13317"/>
                    </a:moveTo>
                    <a:lnTo>
                      <a:pt x="6659" y="13317"/>
                    </a:lnTo>
                    <a:cubicBezTo>
                      <a:pt x="2981" y="13317"/>
                      <a:pt x="0" y="10336"/>
                      <a:pt x="0" y="6659"/>
                    </a:cubicBezTo>
                    <a:cubicBezTo>
                      <a:pt x="0" y="2981"/>
                      <a:pt x="2981" y="0"/>
                      <a:pt x="6659" y="0"/>
                    </a:cubicBezTo>
                    <a:lnTo>
                      <a:pt x="199789" y="0"/>
                    </a:lnTo>
                    <a:cubicBezTo>
                      <a:pt x="203467" y="0"/>
                      <a:pt x="206448" y="2981"/>
                      <a:pt x="206448" y="6659"/>
                    </a:cubicBezTo>
                    <a:cubicBezTo>
                      <a:pt x="206448" y="10336"/>
                      <a:pt x="203467" y="13317"/>
                      <a:pt x="199789" y="13317"/>
                    </a:cubicBezTo>
                    <a:close/>
                  </a:path>
                </a:pathLst>
              </a:custGeom>
              <a:grpFill/>
              <a:ln w="254" cap="flat">
                <a:noFill/>
                <a:prstDash val="solid"/>
                <a:miter/>
              </a:ln>
            </p:spPr>
            <p:txBody>
              <a:bodyPr rtlCol="0" anchor="ctr"/>
              <a:lstStyle/>
              <a:p>
                <a:endParaRPr lang="en-GB" dirty="0"/>
              </a:p>
            </p:txBody>
          </p:sp>
          <p:sp>
            <p:nvSpPr>
              <p:cNvPr id="321" name="Freihandform: Form 494">
                <a:extLst>
                  <a:ext uri="{FF2B5EF4-FFF2-40B4-BE49-F238E27FC236}">
                    <a16:creationId xmlns:a16="http://schemas.microsoft.com/office/drawing/2014/main" id="{79BA8F4E-54AC-4BF6-AB56-30D2C0908E2E}"/>
                  </a:ext>
                </a:extLst>
              </p:cNvPr>
              <p:cNvSpPr/>
              <p:nvPr/>
            </p:nvSpPr>
            <p:spPr>
              <a:xfrm>
                <a:off x="6431373" y="1853167"/>
                <a:ext cx="53274" cy="73251"/>
              </a:xfrm>
              <a:custGeom>
                <a:avLst/>
                <a:gdLst>
                  <a:gd name="connsiteX0" fmla="*/ 46616 w 53274"/>
                  <a:gd name="connsiteY0" fmla="*/ 73251 h 73251"/>
                  <a:gd name="connsiteX1" fmla="*/ 6659 w 53274"/>
                  <a:gd name="connsiteY1" fmla="*/ 73251 h 73251"/>
                  <a:gd name="connsiteX2" fmla="*/ 0 w 53274"/>
                  <a:gd name="connsiteY2" fmla="*/ 66593 h 73251"/>
                  <a:gd name="connsiteX3" fmla="*/ 0 w 53274"/>
                  <a:gd name="connsiteY3" fmla="*/ 6659 h 73251"/>
                  <a:gd name="connsiteX4" fmla="*/ 6659 w 53274"/>
                  <a:gd name="connsiteY4" fmla="*/ 0 h 73251"/>
                  <a:gd name="connsiteX5" fmla="*/ 46616 w 53274"/>
                  <a:gd name="connsiteY5" fmla="*/ 0 h 73251"/>
                  <a:gd name="connsiteX6" fmla="*/ 53275 w 53274"/>
                  <a:gd name="connsiteY6" fmla="*/ 6659 h 73251"/>
                  <a:gd name="connsiteX7" fmla="*/ 53275 w 53274"/>
                  <a:gd name="connsiteY7" fmla="*/ 66590 h 73251"/>
                  <a:gd name="connsiteX8" fmla="*/ 46616 w 53274"/>
                  <a:gd name="connsiteY8" fmla="*/ 73251 h 73251"/>
                  <a:gd name="connsiteX9" fmla="*/ 13318 w 53274"/>
                  <a:gd name="connsiteY9" fmla="*/ 59932 h 73251"/>
                  <a:gd name="connsiteX10" fmla="*/ 39957 w 53274"/>
                  <a:gd name="connsiteY10" fmla="*/ 59932 h 73251"/>
                  <a:gd name="connsiteX11" fmla="*/ 39957 w 53274"/>
                  <a:gd name="connsiteY11" fmla="*/ 13317 h 73251"/>
                  <a:gd name="connsiteX12" fmla="*/ 13318 w 53274"/>
                  <a:gd name="connsiteY12" fmla="*/ 13317 h 73251"/>
                  <a:gd name="connsiteX13" fmla="*/ 13318 w 53274"/>
                  <a:gd name="connsiteY13" fmla="*/ 59932 h 73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274" h="73251">
                    <a:moveTo>
                      <a:pt x="46616" y="73251"/>
                    </a:moveTo>
                    <a:lnTo>
                      <a:pt x="6659" y="73251"/>
                    </a:lnTo>
                    <a:cubicBezTo>
                      <a:pt x="2981" y="73251"/>
                      <a:pt x="0" y="70270"/>
                      <a:pt x="0" y="66593"/>
                    </a:cubicBezTo>
                    <a:lnTo>
                      <a:pt x="0" y="6659"/>
                    </a:lnTo>
                    <a:cubicBezTo>
                      <a:pt x="0" y="2981"/>
                      <a:pt x="2981" y="0"/>
                      <a:pt x="6659" y="0"/>
                    </a:cubicBezTo>
                    <a:lnTo>
                      <a:pt x="46616" y="0"/>
                    </a:lnTo>
                    <a:cubicBezTo>
                      <a:pt x="50294" y="0"/>
                      <a:pt x="53275" y="2981"/>
                      <a:pt x="53275" y="6659"/>
                    </a:cubicBezTo>
                    <a:lnTo>
                      <a:pt x="53275" y="66590"/>
                    </a:lnTo>
                    <a:cubicBezTo>
                      <a:pt x="53277" y="70268"/>
                      <a:pt x="50294" y="73251"/>
                      <a:pt x="46616" y="73251"/>
                    </a:cubicBezTo>
                    <a:close/>
                    <a:moveTo>
                      <a:pt x="13318" y="59932"/>
                    </a:moveTo>
                    <a:lnTo>
                      <a:pt x="39957" y="59932"/>
                    </a:lnTo>
                    <a:lnTo>
                      <a:pt x="39957" y="13317"/>
                    </a:lnTo>
                    <a:lnTo>
                      <a:pt x="13318" y="13317"/>
                    </a:lnTo>
                    <a:lnTo>
                      <a:pt x="13318" y="59932"/>
                    </a:lnTo>
                    <a:close/>
                  </a:path>
                </a:pathLst>
              </a:custGeom>
              <a:grpFill/>
              <a:ln w="254" cap="flat">
                <a:noFill/>
                <a:prstDash val="solid"/>
                <a:miter/>
              </a:ln>
            </p:spPr>
            <p:txBody>
              <a:bodyPr rtlCol="0" anchor="ctr"/>
              <a:lstStyle/>
              <a:p>
                <a:endParaRPr lang="en-GB" dirty="0"/>
              </a:p>
            </p:txBody>
          </p:sp>
          <p:sp>
            <p:nvSpPr>
              <p:cNvPr id="322" name="Freihandform: Form 495">
                <a:extLst>
                  <a:ext uri="{FF2B5EF4-FFF2-40B4-BE49-F238E27FC236}">
                    <a16:creationId xmlns:a16="http://schemas.microsoft.com/office/drawing/2014/main" id="{D47AE000-D15C-42C1-8021-C623EBB2D4FB}"/>
                  </a:ext>
                </a:extLst>
              </p:cNvPr>
              <p:cNvSpPr/>
              <p:nvPr/>
            </p:nvSpPr>
            <p:spPr>
              <a:xfrm>
                <a:off x="6511289" y="1826530"/>
                <a:ext cx="53274" cy="99887"/>
              </a:xfrm>
              <a:custGeom>
                <a:avLst/>
                <a:gdLst>
                  <a:gd name="connsiteX0" fmla="*/ 46616 w 53274"/>
                  <a:gd name="connsiteY0" fmla="*/ 99888 h 99887"/>
                  <a:gd name="connsiteX1" fmla="*/ 6659 w 53274"/>
                  <a:gd name="connsiteY1" fmla="*/ 99888 h 99887"/>
                  <a:gd name="connsiteX2" fmla="*/ 0 w 53274"/>
                  <a:gd name="connsiteY2" fmla="*/ 93229 h 99887"/>
                  <a:gd name="connsiteX3" fmla="*/ 0 w 53274"/>
                  <a:gd name="connsiteY3" fmla="*/ 6659 h 99887"/>
                  <a:gd name="connsiteX4" fmla="*/ 6659 w 53274"/>
                  <a:gd name="connsiteY4" fmla="*/ 0 h 99887"/>
                  <a:gd name="connsiteX5" fmla="*/ 46616 w 53274"/>
                  <a:gd name="connsiteY5" fmla="*/ 0 h 99887"/>
                  <a:gd name="connsiteX6" fmla="*/ 53275 w 53274"/>
                  <a:gd name="connsiteY6" fmla="*/ 6659 h 99887"/>
                  <a:gd name="connsiteX7" fmla="*/ 53275 w 53274"/>
                  <a:gd name="connsiteY7" fmla="*/ 93227 h 99887"/>
                  <a:gd name="connsiteX8" fmla="*/ 46616 w 53274"/>
                  <a:gd name="connsiteY8" fmla="*/ 99888 h 99887"/>
                  <a:gd name="connsiteX9" fmla="*/ 13318 w 53274"/>
                  <a:gd name="connsiteY9" fmla="*/ 86568 h 99887"/>
                  <a:gd name="connsiteX10" fmla="*/ 39957 w 53274"/>
                  <a:gd name="connsiteY10" fmla="*/ 86568 h 99887"/>
                  <a:gd name="connsiteX11" fmla="*/ 39957 w 53274"/>
                  <a:gd name="connsiteY11" fmla="*/ 13320 h 99887"/>
                  <a:gd name="connsiteX12" fmla="*/ 13318 w 53274"/>
                  <a:gd name="connsiteY12" fmla="*/ 13320 h 99887"/>
                  <a:gd name="connsiteX13" fmla="*/ 13318 w 53274"/>
                  <a:gd name="connsiteY13" fmla="*/ 86568 h 9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274" h="99887">
                    <a:moveTo>
                      <a:pt x="46616" y="99888"/>
                    </a:moveTo>
                    <a:lnTo>
                      <a:pt x="6659" y="99888"/>
                    </a:lnTo>
                    <a:cubicBezTo>
                      <a:pt x="2981" y="99888"/>
                      <a:pt x="0" y="96907"/>
                      <a:pt x="0" y="93229"/>
                    </a:cubicBezTo>
                    <a:lnTo>
                      <a:pt x="0" y="6659"/>
                    </a:lnTo>
                    <a:cubicBezTo>
                      <a:pt x="0" y="2981"/>
                      <a:pt x="2981" y="0"/>
                      <a:pt x="6659" y="0"/>
                    </a:cubicBezTo>
                    <a:lnTo>
                      <a:pt x="46616" y="0"/>
                    </a:lnTo>
                    <a:cubicBezTo>
                      <a:pt x="50294" y="0"/>
                      <a:pt x="53275" y="2981"/>
                      <a:pt x="53275" y="6659"/>
                    </a:cubicBezTo>
                    <a:lnTo>
                      <a:pt x="53275" y="93227"/>
                    </a:lnTo>
                    <a:cubicBezTo>
                      <a:pt x="53277" y="96904"/>
                      <a:pt x="50294" y="99888"/>
                      <a:pt x="46616" y="99888"/>
                    </a:cubicBezTo>
                    <a:close/>
                    <a:moveTo>
                      <a:pt x="13318" y="86568"/>
                    </a:moveTo>
                    <a:lnTo>
                      <a:pt x="39957" y="86568"/>
                    </a:lnTo>
                    <a:lnTo>
                      <a:pt x="39957" y="13320"/>
                    </a:lnTo>
                    <a:lnTo>
                      <a:pt x="13318" y="13320"/>
                    </a:lnTo>
                    <a:lnTo>
                      <a:pt x="13318" y="86568"/>
                    </a:lnTo>
                    <a:close/>
                  </a:path>
                </a:pathLst>
              </a:custGeom>
              <a:grpFill/>
              <a:ln w="254" cap="flat">
                <a:noFill/>
                <a:prstDash val="solid"/>
                <a:miter/>
              </a:ln>
            </p:spPr>
            <p:txBody>
              <a:bodyPr rtlCol="0" anchor="ctr"/>
              <a:lstStyle/>
              <a:p>
                <a:endParaRPr lang="en-GB" dirty="0"/>
              </a:p>
            </p:txBody>
          </p:sp>
        </p:grpSp>
        <p:grpSp>
          <p:nvGrpSpPr>
            <p:cNvPr id="310" name="Grafik 354">
              <a:extLst>
                <a:ext uri="{FF2B5EF4-FFF2-40B4-BE49-F238E27FC236}">
                  <a16:creationId xmlns:a16="http://schemas.microsoft.com/office/drawing/2014/main" id="{9BAD07EE-6FCB-42A9-A74E-FFE3FCC91173}"/>
                </a:ext>
              </a:extLst>
            </p:cNvPr>
            <p:cNvGrpSpPr/>
            <p:nvPr/>
          </p:nvGrpSpPr>
          <p:grpSpPr>
            <a:xfrm>
              <a:off x="2565209" y="4075795"/>
              <a:ext cx="394602" cy="293868"/>
              <a:chOff x="6111701" y="1773257"/>
              <a:chExt cx="304132" cy="226493"/>
            </a:xfrm>
            <a:solidFill>
              <a:schemeClr val="accent1"/>
            </a:solidFill>
          </p:grpSpPr>
          <p:grpSp>
            <p:nvGrpSpPr>
              <p:cNvPr id="311" name="Grafik 354">
                <a:extLst>
                  <a:ext uri="{FF2B5EF4-FFF2-40B4-BE49-F238E27FC236}">
                    <a16:creationId xmlns:a16="http://schemas.microsoft.com/office/drawing/2014/main" id="{98C3A15F-2AA0-4B00-84C0-3D0F5A69347C}"/>
                  </a:ext>
                </a:extLst>
              </p:cNvPr>
              <p:cNvGrpSpPr/>
              <p:nvPr/>
            </p:nvGrpSpPr>
            <p:grpSpPr>
              <a:xfrm>
                <a:off x="6229360" y="1773257"/>
                <a:ext cx="186473" cy="186455"/>
                <a:chOff x="6229360" y="1773257"/>
                <a:chExt cx="186473" cy="186455"/>
              </a:xfrm>
              <a:solidFill>
                <a:schemeClr val="accent1"/>
              </a:solidFill>
            </p:grpSpPr>
            <p:sp>
              <p:nvSpPr>
                <p:cNvPr id="314" name="Freihandform: Form 498">
                  <a:extLst>
                    <a:ext uri="{FF2B5EF4-FFF2-40B4-BE49-F238E27FC236}">
                      <a16:creationId xmlns:a16="http://schemas.microsoft.com/office/drawing/2014/main" id="{A3782E47-B1F7-483A-BFBD-C8F02DDD103D}"/>
                    </a:ext>
                  </a:extLst>
                </p:cNvPr>
                <p:cNvSpPr/>
                <p:nvPr/>
              </p:nvSpPr>
              <p:spPr>
                <a:xfrm>
                  <a:off x="6229360" y="1773257"/>
                  <a:ext cx="99664" cy="161941"/>
                </a:xfrm>
                <a:custGeom>
                  <a:avLst/>
                  <a:gdLst>
                    <a:gd name="connsiteX0" fmla="*/ 33699 w 99664"/>
                    <a:gd name="connsiteY0" fmla="*/ 161941 h 161941"/>
                    <a:gd name="connsiteX1" fmla="*/ 29129 w 99664"/>
                    <a:gd name="connsiteY1" fmla="*/ 160127 h 161941"/>
                    <a:gd name="connsiteX2" fmla="*/ 28156 w 99664"/>
                    <a:gd name="connsiteY2" fmla="*/ 159263 h 161941"/>
                    <a:gd name="connsiteX3" fmla="*/ 0 w 99664"/>
                    <a:gd name="connsiteY3" fmla="*/ 92721 h 161941"/>
                    <a:gd name="connsiteX4" fmla="*/ 92718 w 99664"/>
                    <a:gd name="connsiteY4" fmla="*/ 0 h 161941"/>
                    <a:gd name="connsiteX5" fmla="*/ 99665 w 99664"/>
                    <a:gd name="connsiteY5" fmla="*/ 6671 h 161941"/>
                    <a:gd name="connsiteX6" fmla="*/ 99657 w 99664"/>
                    <a:gd name="connsiteY6" fmla="*/ 95999 h 161941"/>
                    <a:gd name="connsiteX7" fmla="*/ 97705 w 99664"/>
                    <a:gd name="connsiteY7" fmla="*/ 100693 h 161941"/>
                    <a:gd name="connsiteX8" fmla="*/ 38406 w 99664"/>
                    <a:gd name="connsiteY8" fmla="*/ 159987 h 161941"/>
                    <a:gd name="connsiteX9" fmla="*/ 33699 w 99664"/>
                    <a:gd name="connsiteY9" fmla="*/ 161941 h 161941"/>
                    <a:gd name="connsiteX10" fmla="*/ 86346 w 99664"/>
                    <a:gd name="connsiteY10" fmla="*/ 13602 h 161941"/>
                    <a:gd name="connsiteX11" fmla="*/ 13321 w 99664"/>
                    <a:gd name="connsiteY11" fmla="*/ 92721 h 161941"/>
                    <a:gd name="connsiteX12" fmla="*/ 33712 w 99664"/>
                    <a:gd name="connsiteY12" fmla="*/ 145854 h 161941"/>
                    <a:gd name="connsiteX13" fmla="*/ 86346 w 99664"/>
                    <a:gd name="connsiteY13" fmla="*/ 93072 h 161941"/>
                    <a:gd name="connsiteX14" fmla="*/ 86346 w 99664"/>
                    <a:gd name="connsiteY14" fmla="*/ 13602 h 161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664" h="161941">
                      <a:moveTo>
                        <a:pt x="33699" y="161941"/>
                      </a:moveTo>
                      <a:cubicBezTo>
                        <a:pt x="32057" y="161941"/>
                        <a:pt x="30416" y="161339"/>
                        <a:pt x="29129" y="160127"/>
                      </a:cubicBezTo>
                      <a:cubicBezTo>
                        <a:pt x="29058" y="160061"/>
                        <a:pt x="28202" y="159311"/>
                        <a:pt x="28156" y="159263"/>
                      </a:cubicBezTo>
                      <a:cubicBezTo>
                        <a:pt x="9994" y="141635"/>
                        <a:pt x="0" y="118008"/>
                        <a:pt x="0" y="92721"/>
                      </a:cubicBezTo>
                      <a:cubicBezTo>
                        <a:pt x="0" y="41595"/>
                        <a:pt x="41594" y="0"/>
                        <a:pt x="92718" y="0"/>
                      </a:cubicBezTo>
                      <a:cubicBezTo>
                        <a:pt x="96396" y="0"/>
                        <a:pt x="99665" y="2994"/>
                        <a:pt x="99665" y="6671"/>
                      </a:cubicBezTo>
                      <a:lnTo>
                        <a:pt x="99657" y="95999"/>
                      </a:lnTo>
                      <a:cubicBezTo>
                        <a:pt x="99654" y="97761"/>
                        <a:pt x="98950" y="99448"/>
                        <a:pt x="97705" y="100693"/>
                      </a:cubicBezTo>
                      <a:lnTo>
                        <a:pt x="38406" y="159987"/>
                      </a:lnTo>
                      <a:cubicBezTo>
                        <a:pt x="37113" y="161288"/>
                        <a:pt x="35407" y="161941"/>
                        <a:pt x="33699" y="161941"/>
                      </a:cubicBezTo>
                      <a:close/>
                      <a:moveTo>
                        <a:pt x="86346" y="13602"/>
                      </a:moveTo>
                      <a:cubicBezTo>
                        <a:pt x="45403" y="16964"/>
                        <a:pt x="13321" y="51164"/>
                        <a:pt x="13321" y="92721"/>
                      </a:cubicBezTo>
                      <a:cubicBezTo>
                        <a:pt x="13321" y="112585"/>
                        <a:pt x="20524" y="131254"/>
                        <a:pt x="33712" y="145854"/>
                      </a:cubicBezTo>
                      <a:lnTo>
                        <a:pt x="86346" y="93072"/>
                      </a:lnTo>
                      <a:lnTo>
                        <a:pt x="86346" y="13602"/>
                      </a:lnTo>
                      <a:close/>
                    </a:path>
                  </a:pathLst>
                </a:custGeom>
                <a:solidFill>
                  <a:schemeClr val="accent1"/>
                </a:solidFill>
                <a:ln w="254" cap="flat">
                  <a:noFill/>
                  <a:prstDash val="solid"/>
                  <a:miter/>
                </a:ln>
              </p:spPr>
              <p:txBody>
                <a:bodyPr rtlCol="0" anchor="ctr"/>
                <a:lstStyle/>
                <a:p>
                  <a:endParaRPr lang="en-GB" dirty="0"/>
                </a:p>
              </p:txBody>
            </p:sp>
            <p:sp>
              <p:nvSpPr>
                <p:cNvPr id="315" name="Freihandform: Form 499">
                  <a:extLst>
                    <a:ext uri="{FF2B5EF4-FFF2-40B4-BE49-F238E27FC236}">
                      <a16:creationId xmlns:a16="http://schemas.microsoft.com/office/drawing/2014/main" id="{62AC1D56-BD0B-4D57-9C6C-2BCD1F8EF1FA}"/>
                    </a:ext>
                  </a:extLst>
                </p:cNvPr>
                <p:cNvSpPr/>
                <p:nvPr/>
              </p:nvSpPr>
              <p:spPr>
                <a:xfrm>
                  <a:off x="6277209" y="1776800"/>
                  <a:ext cx="138623" cy="182912"/>
                </a:xfrm>
                <a:custGeom>
                  <a:avLst/>
                  <a:gdLst>
                    <a:gd name="connsiteX0" fmla="*/ 45387 w 138623"/>
                    <a:gd name="connsiteY0" fmla="*/ 182913 h 182912"/>
                    <a:gd name="connsiteX1" fmla="*/ 3677 w 138623"/>
                    <a:gd name="connsiteY1" fmla="*/ 173082 h 182912"/>
                    <a:gd name="connsiteX2" fmla="*/ 708 w 138623"/>
                    <a:gd name="connsiteY2" fmla="*/ 164144 h 182912"/>
                    <a:gd name="connsiteX3" fmla="*/ 9647 w 138623"/>
                    <a:gd name="connsiteY3" fmla="*/ 161176 h 182912"/>
                    <a:gd name="connsiteX4" fmla="*/ 45387 w 138623"/>
                    <a:gd name="connsiteY4" fmla="*/ 169593 h 182912"/>
                    <a:gd name="connsiteX5" fmla="*/ 125303 w 138623"/>
                    <a:gd name="connsiteY5" fmla="*/ 89684 h 182912"/>
                    <a:gd name="connsiteX6" fmla="*/ 68101 w 138623"/>
                    <a:gd name="connsiteY6" fmla="*/ 13045 h 182912"/>
                    <a:gd name="connsiteX7" fmla="*/ 63605 w 138623"/>
                    <a:gd name="connsiteY7" fmla="*/ 4770 h 182912"/>
                    <a:gd name="connsiteX8" fmla="*/ 71881 w 138623"/>
                    <a:gd name="connsiteY8" fmla="*/ 274 h 182912"/>
                    <a:gd name="connsiteX9" fmla="*/ 138624 w 138623"/>
                    <a:gd name="connsiteY9" fmla="*/ 89684 h 182912"/>
                    <a:gd name="connsiteX10" fmla="*/ 45387 w 138623"/>
                    <a:gd name="connsiteY10" fmla="*/ 182913 h 182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623" h="182912">
                      <a:moveTo>
                        <a:pt x="45387" y="182913"/>
                      </a:moveTo>
                      <a:cubicBezTo>
                        <a:pt x="30724" y="182913"/>
                        <a:pt x="16690" y="179606"/>
                        <a:pt x="3677" y="173082"/>
                      </a:cubicBezTo>
                      <a:cubicBezTo>
                        <a:pt x="390" y="171433"/>
                        <a:pt x="-942" y="167430"/>
                        <a:pt x="708" y="164144"/>
                      </a:cubicBezTo>
                      <a:cubicBezTo>
                        <a:pt x="2352" y="160861"/>
                        <a:pt x="6343" y="159522"/>
                        <a:pt x="9647" y="161176"/>
                      </a:cubicBezTo>
                      <a:cubicBezTo>
                        <a:pt x="20792" y="166762"/>
                        <a:pt x="32816" y="169593"/>
                        <a:pt x="45387" y="169593"/>
                      </a:cubicBezTo>
                      <a:cubicBezTo>
                        <a:pt x="89451" y="169593"/>
                        <a:pt x="125303" y="133744"/>
                        <a:pt x="125303" y="89684"/>
                      </a:cubicBezTo>
                      <a:cubicBezTo>
                        <a:pt x="125303" y="54520"/>
                        <a:pt x="101781" y="23007"/>
                        <a:pt x="68101" y="13045"/>
                      </a:cubicBezTo>
                      <a:cubicBezTo>
                        <a:pt x="64574" y="12000"/>
                        <a:pt x="62561" y="8297"/>
                        <a:pt x="63605" y="4770"/>
                      </a:cubicBezTo>
                      <a:cubicBezTo>
                        <a:pt x="64653" y="1242"/>
                        <a:pt x="68361" y="-765"/>
                        <a:pt x="71881" y="274"/>
                      </a:cubicBezTo>
                      <a:cubicBezTo>
                        <a:pt x="111179" y="11898"/>
                        <a:pt x="138624" y="48665"/>
                        <a:pt x="138624" y="89684"/>
                      </a:cubicBezTo>
                      <a:cubicBezTo>
                        <a:pt x="138621" y="141091"/>
                        <a:pt x="96799" y="182913"/>
                        <a:pt x="45387" y="182913"/>
                      </a:cubicBezTo>
                      <a:close/>
                    </a:path>
                  </a:pathLst>
                </a:custGeom>
                <a:solidFill>
                  <a:schemeClr val="accent1"/>
                </a:solidFill>
                <a:ln w="254" cap="flat">
                  <a:noFill/>
                  <a:prstDash val="solid"/>
                  <a:miter/>
                </a:ln>
              </p:spPr>
              <p:txBody>
                <a:bodyPr rtlCol="0" anchor="ctr"/>
                <a:lstStyle/>
                <a:p>
                  <a:endParaRPr lang="en-GB" dirty="0"/>
                </a:p>
              </p:txBody>
            </p:sp>
          </p:grpSp>
          <p:sp>
            <p:nvSpPr>
              <p:cNvPr id="312" name="Freihandform: Form 500">
                <a:extLst>
                  <a:ext uri="{FF2B5EF4-FFF2-40B4-BE49-F238E27FC236}">
                    <a16:creationId xmlns:a16="http://schemas.microsoft.com/office/drawing/2014/main" id="{111DB70C-FAB7-4172-ABB4-53F152B8A556}"/>
                  </a:ext>
                </a:extLst>
              </p:cNvPr>
              <p:cNvSpPr/>
              <p:nvPr/>
            </p:nvSpPr>
            <p:spPr>
              <a:xfrm>
                <a:off x="6189959" y="1903664"/>
                <a:ext cx="65488" cy="43285"/>
              </a:xfrm>
              <a:custGeom>
                <a:avLst/>
                <a:gdLst>
                  <a:gd name="connsiteX0" fmla="*/ 6667 w 65488"/>
                  <a:gd name="connsiteY0" fmla="*/ 43286 h 43285"/>
                  <a:gd name="connsiteX1" fmla="*/ 885 w 65488"/>
                  <a:gd name="connsiteY1" fmla="*/ 39944 h 43285"/>
                  <a:gd name="connsiteX2" fmla="*/ 3343 w 65488"/>
                  <a:gd name="connsiteY2" fmla="*/ 30853 h 43285"/>
                  <a:gd name="connsiteX3" fmla="*/ 55512 w 65488"/>
                  <a:gd name="connsiteY3" fmla="*/ 887 h 43285"/>
                  <a:gd name="connsiteX4" fmla="*/ 64604 w 65488"/>
                  <a:gd name="connsiteY4" fmla="*/ 3345 h 43285"/>
                  <a:gd name="connsiteX5" fmla="*/ 62146 w 65488"/>
                  <a:gd name="connsiteY5" fmla="*/ 12436 h 43285"/>
                  <a:gd name="connsiteX6" fmla="*/ 9977 w 65488"/>
                  <a:gd name="connsiteY6" fmla="*/ 42401 h 43285"/>
                  <a:gd name="connsiteX7" fmla="*/ 6667 w 65488"/>
                  <a:gd name="connsiteY7" fmla="*/ 43286 h 4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488" h="43285">
                    <a:moveTo>
                      <a:pt x="6667" y="43286"/>
                    </a:moveTo>
                    <a:cubicBezTo>
                      <a:pt x="4362" y="43286"/>
                      <a:pt x="2118" y="42086"/>
                      <a:pt x="885" y="39944"/>
                    </a:cubicBezTo>
                    <a:cubicBezTo>
                      <a:pt x="-945" y="36754"/>
                      <a:pt x="153" y="32686"/>
                      <a:pt x="3343" y="30853"/>
                    </a:cubicBezTo>
                    <a:lnTo>
                      <a:pt x="55512" y="887"/>
                    </a:lnTo>
                    <a:cubicBezTo>
                      <a:pt x="58692" y="-948"/>
                      <a:pt x="62774" y="155"/>
                      <a:pt x="64604" y="3345"/>
                    </a:cubicBezTo>
                    <a:cubicBezTo>
                      <a:pt x="66434" y="6534"/>
                      <a:pt x="65336" y="10603"/>
                      <a:pt x="62146" y="12436"/>
                    </a:cubicBezTo>
                    <a:lnTo>
                      <a:pt x="9977" y="42401"/>
                    </a:lnTo>
                    <a:cubicBezTo>
                      <a:pt x="8934" y="43004"/>
                      <a:pt x="7793" y="43286"/>
                      <a:pt x="6667" y="43286"/>
                    </a:cubicBezTo>
                    <a:close/>
                  </a:path>
                </a:pathLst>
              </a:custGeom>
              <a:solidFill>
                <a:schemeClr val="accent1"/>
              </a:solidFill>
              <a:ln w="254" cap="flat">
                <a:noFill/>
                <a:prstDash val="solid"/>
                <a:miter/>
              </a:ln>
            </p:spPr>
            <p:txBody>
              <a:bodyPr rtlCol="0" anchor="ctr"/>
              <a:lstStyle/>
              <a:p>
                <a:endParaRPr lang="en-GB" dirty="0"/>
              </a:p>
            </p:txBody>
          </p:sp>
          <p:sp>
            <p:nvSpPr>
              <p:cNvPr id="313" name="Freihandform: Form 501">
                <a:extLst>
                  <a:ext uri="{FF2B5EF4-FFF2-40B4-BE49-F238E27FC236}">
                    <a16:creationId xmlns:a16="http://schemas.microsoft.com/office/drawing/2014/main" id="{FAB3CC53-5591-48B1-A656-1F450E0C24F1}"/>
                  </a:ext>
                </a:extLst>
              </p:cNvPr>
              <p:cNvSpPr/>
              <p:nvPr/>
            </p:nvSpPr>
            <p:spPr>
              <a:xfrm>
                <a:off x="6111701" y="1915970"/>
                <a:ext cx="101014" cy="83780"/>
              </a:xfrm>
              <a:custGeom>
                <a:avLst/>
                <a:gdLst>
                  <a:gd name="connsiteX0" fmla="*/ 26692 w 101014"/>
                  <a:gd name="connsiteY0" fmla="*/ 83780 h 83780"/>
                  <a:gd name="connsiteX1" fmla="*/ 19687 w 101014"/>
                  <a:gd name="connsiteY1" fmla="*/ 82840 h 83780"/>
                  <a:gd name="connsiteX2" fmla="*/ 3545 w 101014"/>
                  <a:gd name="connsiteY2" fmla="*/ 70387 h 83780"/>
                  <a:gd name="connsiteX3" fmla="*/ 938 w 101014"/>
                  <a:gd name="connsiteY3" fmla="*/ 50170 h 83780"/>
                  <a:gd name="connsiteX4" fmla="*/ 13392 w 101014"/>
                  <a:gd name="connsiteY4" fmla="*/ 34030 h 83780"/>
                  <a:gd name="connsiteX5" fmla="*/ 71150 w 101014"/>
                  <a:gd name="connsiteY5" fmla="*/ 885 h 83780"/>
                  <a:gd name="connsiteX6" fmla="*/ 80239 w 101014"/>
                  <a:gd name="connsiteY6" fmla="*/ 3342 h 83780"/>
                  <a:gd name="connsiteX7" fmla="*/ 100130 w 101014"/>
                  <a:gd name="connsiteY7" fmla="*/ 37994 h 83780"/>
                  <a:gd name="connsiteX8" fmla="*/ 100783 w 101014"/>
                  <a:gd name="connsiteY8" fmla="*/ 43049 h 83780"/>
                  <a:gd name="connsiteX9" fmla="*/ 97667 w 101014"/>
                  <a:gd name="connsiteY9" fmla="*/ 47085 h 83780"/>
                  <a:gd name="connsiteX10" fmla="*/ 39906 w 101014"/>
                  <a:gd name="connsiteY10" fmla="*/ 80235 h 83780"/>
                  <a:gd name="connsiteX11" fmla="*/ 26692 w 101014"/>
                  <a:gd name="connsiteY11" fmla="*/ 83780 h 83780"/>
                  <a:gd name="connsiteX12" fmla="*/ 72004 w 101014"/>
                  <a:gd name="connsiteY12" fmla="*/ 15749 h 83780"/>
                  <a:gd name="connsiteX13" fmla="*/ 20020 w 101014"/>
                  <a:gd name="connsiteY13" fmla="*/ 45578 h 83780"/>
                  <a:gd name="connsiteX14" fmla="*/ 15097 w 101014"/>
                  <a:gd name="connsiteY14" fmla="*/ 63759 h 83780"/>
                  <a:gd name="connsiteX15" fmla="*/ 33280 w 101014"/>
                  <a:gd name="connsiteY15" fmla="*/ 68682 h 83780"/>
                  <a:gd name="connsiteX16" fmla="*/ 85264 w 101014"/>
                  <a:gd name="connsiteY16" fmla="*/ 38846 h 83780"/>
                  <a:gd name="connsiteX17" fmla="*/ 72004 w 101014"/>
                  <a:gd name="connsiteY17" fmla="*/ 15749 h 8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014" h="83780">
                    <a:moveTo>
                      <a:pt x="26692" y="83780"/>
                    </a:moveTo>
                    <a:cubicBezTo>
                      <a:pt x="24356" y="83780"/>
                      <a:pt x="22003" y="83468"/>
                      <a:pt x="19687" y="82840"/>
                    </a:cubicBezTo>
                    <a:cubicBezTo>
                      <a:pt x="12820" y="80980"/>
                      <a:pt x="7086" y="76558"/>
                      <a:pt x="3545" y="70387"/>
                    </a:cubicBezTo>
                    <a:cubicBezTo>
                      <a:pt x="5" y="64219"/>
                      <a:pt x="-923" y="57037"/>
                      <a:pt x="938" y="50170"/>
                    </a:cubicBezTo>
                    <a:cubicBezTo>
                      <a:pt x="2798" y="43303"/>
                      <a:pt x="7221" y="37570"/>
                      <a:pt x="13392" y="34030"/>
                    </a:cubicBezTo>
                    <a:lnTo>
                      <a:pt x="71150" y="885"/>
                    </a:lnTo>
                    <a:cubicBezTo>
                      <a:pt x="74335" y="-945"/>
                      <a:pt x="78411" y="155"/>
                      <a:pt x="80239" y="3342"/>
                    </a:cubicBezTo>
                    <a:lnTo>
                      <a:pt x="100130" y="37994"/>
                    </a:lnTo>
                    <a:cubicBezTo>
                      <a:pt x="101011" y="39529"/>
                      <a:pt x="101245" y="41346"/>
                      <a:pt x="100783" y="43049"/>
                    </a:cubicBezTo>
                    <a:cubicBezTo>
                      <a:pt x="100320" y="44752"/>
                      <a:pt x="99202" y="46206"/>
                      <a:pt x="97667" y="47085"/>
                    </a:cubicBezTo>
                    <a:lnTo>
                      <a:pt x="39906" y="80235"/>
                    </a:lnTo>
                    <a:cubicBezTo>
                      <a:pt x="35821" y="82581"/>
                      <a:pt x="31285" y="83780"/>
                      <a:pt x="26692" y="83780"/>
                    </a:cubicBezTo>
                    <a:close/>
                    <a:moveTo>
                      <a:pt x="72004" y="15749"/>
                    </a:moveTo>
                    <a:lnTo>
                      <a:pt x="20020" y="45578"/>
                    </a:lnTo>
                    <a:cubicBezTo>
                      <a:pt x="13651" y="49235"/>
                      <a:pt x="11442" y="57390"/>
                      <a:pt x="15097" y="63759"/>
                    </a:cubicBezTo>
                    <a:cubicBezTo>
                      <a:pt x="18760" y="70128"/>
                      <a:pt x="26918" y="72344"/>
                      <a:pt x="33280" y="68682"/>
                    </a:cubicBezTo>
                    <a:lnTo>
                      <a:pt x="85264" y="38846"/>
                    </a:lnTo>
                    <a:lnTo>
                      <a:pt x="72004" y="15749"/>
                    </a:lnTo>
                    <a:close/>
                  </a:path>
                </a:pathLst>
              </a:custGeom>
              <a:solidFill>
                <a:schemeClr val="accent1"/>
              </a:solidFill>
              <a:ln w="254" cap="flat">
                <a:noFill/>
                <a:prstDash val="solid"/>
                <a:miter/>
              </a:ln>
            </p:spPr>
            <p:txBody>
              <a:bodyPr rtlCol="0" anchor="ctr"/>
              <a:lstStyle/>
              <a:p>
                <a:endParaRPr lang="en-GB" dirty="0"/>
              </a:p>
            </p:txBody>
          </p:sp>
        </p:grpSp>
      </p:grpSp>
      <p:grpSp>
        <p:nvGrpSpPr>
          <p:cNvPr id="34" name="Group 33">
            <a:extLst>
              <a:ext uri="{FF2B5EF4-FFF2-40B4-BE49-F238E27FC236}">
                <a16:creationId xmlns:a16="http://schemas.microsoft.com/office/drawing/2014/main" id="{1FACD59F-1B24-AE41-ECB9-C311890C51C4}"/>
              </a:ext>
            </a:extLst>
          </p:cNvPr>
          <p:cNvGrpSpPr/>
          <p:nvPr/>
        </p:nvGrpSpPr>
        <p:grpSpPr>
          <a:xfrm>
            <a:off x="3823072" y="4032594"/>
            <a:ext cx="268560" cy="432008"/>
            <a:chOff x="3823072" y="4032594"/>
            <a:chExt cx="268560" cy="432008"/>
          </a:xfrm>
        </p:grpSpPr>
        <p:grpSp>
          <p:nvGrpSpPr>
            <p:cNvPr id="324" name="Grafik 354">
              <a:extLst>
                <a:ext uri="{FF2B5EF4-FFF2-40B4-BE49-F238E27FC236}">
                  <a16:creationId xmlns:a16="http://schemas.microsoft.com/office/drawing/2014/main" id="{66F7F037-96EB-44BA-BD47-B24DF13AD63F}"/>
                </a:ext>
              </a:extLst>
            </p:cNvPr>
            <p:cNvGrpSpPr/>
            <p:nvPr/>
          </p:nvGrpSpPr>
          <p:grpSpPr>
            <a:xfrm>
              <a:off x="3834749" y="4032594"/>
              <a:ext cx="245206" cy="297730"/>
              <a:chOff x="7064040" y="2425849"/>
              <a:chExt cx="279701" cy="339614"/>
            </a:xfrm>
            <a:solidFill>
              <a:schemeClr val="tx2"/>
            </a:solidFill>
          </p:grpSpPr>
          <p:sp>
            <p:nvSpPr>
              <p:cNvPr id="332" name="Freihandform: Form 588">
                <a:extLst>
                  <a:ext uri="{FF2B5EF4-FFF2-40B4-BE49-F238E27FC236}">
                    <a16:creationId xmlns:a16="http://schemas.microsoft.com/office/drawing/2014/main" id="{6D2B5A19-C1C6-4930-8AC5-0E7C60E9DFBD}"/>
                  </a:ext>
                </a:extLst>
              </p:cNvPr>
              <p:cNvSpPr/>
              <p:nvPr/>
            </p:nvSpPr>
            <p:spPr>
              <a:xfrm>
                <a:off x="7250509" y="2579010"/>
                <a:ext cx="93232" cy="139841"/>
              </a:xfrm>
              <a:custGeom>
                <a:avLst/>
                <a:gdLst>
                  <a:gd name="connsiteX0" fmla="*/ 86568 w 93232"/>
                  <a:gd name="connsiteY0" fmla="*/ 139841 h 139841"/>
                  <a:gd name="connsiteX1" fmla="*/ 6659 w 93232"/>
                  <a:gd name="connsiteY1" fmla="*/ 139841 h 139841"/>
                  <a:gd name="connsiteX2" fmla="*/ 0 w 93232"/>
                  <a:gd name="connsiteY2" fmla="*/ 133183 h 139841"/>
                  <a:gd name="connsiteX3" fmla="*/ 0 w 93232"/>
                  <a:gd name="connsiteY3" fmla="*/ 0 h 139841"/>
                  <a:gd name="connsiteX4" fmla="*/ 13318 w 93232"/>
                  <a:gd name="connsiteY4" fmla="*/ 0 h 139841"/>
                  <a:gd name="connsiteX5" fmla="*/ 13318 w 93232"/>
                  <a:gd name="connsiteY5" fmla="*/ 2818 h 139841"/>
                  <a:gd name="connsiteX6" fmla="*/ 68110 w 93232"/>
                  <a:gd name="connsiteY6" fmla="*/ 59131 h 139841"/>
                  <a:gd name="connsiteX7" fmla="*/ 93227 w 93232"/>
                  <a:gd name="connsiteY7" fmla="*/ 105016 h 139841"/>
                  <a:gd name="connsiteX8" fmla="*/ 93227 w 93232"/>
                  <a:gd name="connsiteY8" fmla="*/ 133180 h 139841"/>
                  <a:gd name="connsiteX9" fmla="*/ 86568 w 93232"/>
                  <a:gd name="connsiteY9" fmla="*/ 139841 h 139841"/>
                  <a:gd name="connsiteX10" fmla="*/ 13318 w 93232"/>
                  <a:gd name="connsiteY10" fmla="*/ 126522 h 139841"/>
                  <a:gd name="connsiteX11" fmla="*/ 79909 w 93232"/>
                  <a:gd name="connsiteY11" fmla="*/ 126522 h 139841"/>
                  <a:gd name="connsiteX12" fmla="*/ 79909 w 93232"/>
                  <a:gd name="connsiteY12" fmla="*/ 104841 h 139841"/>
                  <a:gd name="connsiteX13" fmla="*/ 62478 w 93232"/>
                  <a:gd name="connsiteY13" fmla="*/ 71200 h 139841"/>
                  <a:gd name="connsiteX14" fmla="*/ 13318 w 93232"/>
                  <a:gd name="connsiteY14" fmla="*/ 36495 h 139841"/>
                  <a:gd name="connsiteX15" fmla="*/ 13318 w 93232"/>
                  <a:gd name="connsiteY15" fmla="*/ 126522 h 13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3232" h="139841">
                    <a:moveTo>
                      <a:pt x="86568" y="139841"/>
                    </a:moveTo>
                    <a:lnTo>
                      <a:pt x="6659" y="139841"/>
                    </a:lnTo>
                    <a:cubicBezTo>
                      <a:pt x="2979" y="139841"/>
                      <a:pt x="0" y="136860"/>
                      <a:pt x="0" y="133183"/>
                    </a:cubicBezTo>
                    <a:lnTo>
                      <a:pt x="0" y="0"/>
                    </a:lnTo>
                    <a:lnTo>
                      <a:pt x="13318" y="0"/>
                    </a:lnTo>
                    <a:lnTo>
                      <a:pt x="13318" y="2818"/>
                    </a:lnTo>
                    <a:cubicBezTo>
                      <a:pt x="13318" y="28222"/>
                      <a:pt x="43119" y="47466"/>
                      <a:pt x="68110" y="59131"/>
                    </a:cubicBezTo>
                    <a:cubicBezTo>
                      <a:pt x="93819" y="71137"/>
                      <a:pt x="93260" y="103639"/>
                      <a:pt x="93227" y="105016"/>
                    </a:cubicBezTo>
                    <a:lnTo>
                      <a:pt x="93227" y="133180"/>
                    </a:lnTo>
                    <a:cubicBezTo>
                      <a:pt x="93229" y="136858"/>
                      <a:pt x="90250" y="139841"/>
                      <a:pt x="86568" y="139841"/>
                    </a:cubicBezTo>
                    <a:close/>
                    <a:moveTo>
                      <a:pt x="13318" y="126522"/>
                    </a:moveTo>
                    <a:lnTo>
                      <a:pt x="79909" y="126522"/>
                    </a:lnTo>
                    <a:lnTo>
                      <a:pt x="79909" y="104841"/>
                    </a:lnTo>
                    <a:cubicBezTo>
                      <a:pt x="79916" y="104434"/>
                      <a:pt x="80221" y="79485"/>
                      <a:pt x="62478" y="71200"/>
                    </a:cubicBezTo>
                    <a:cubicBezTo>
                      <a:pt x="40287" y="60841"/>
                      <a:pt x="23774" y="49136"/>
                      <a:pt x="13318" y="36495"/>
                    </a:cubicBezTo>
                    <a:lnTo>
                      <a:pt x="13318" y="126522"/>
                    </a:lnTo>
                    <a:close/>
                  </a:path>
                </a:pathLst>
              </a:custGeom>
              <a:grpFill/>
              <a:ln w="254" cap="flat">
                <a:noFill/>
                <a:prstDash val="solid"/>
                <a:miter/>
              </a:ln>
            </p:spPr>
            <p:txBody>
              <a:bodyPr rtlCol="0" anchor="ctr"/>
              <a:lstStyle/>
              <a:p>
                <a:endParaRPr lang="en-GB" dirty="0"/>
              </a:p>
            </p:txBody>
          </p:sp>
          <p:sp>
            <p:nvSpPr>
              <p:cNvPr id="333" name="Freihandform: Form 589">
                <a:extLst>
                  <a:ext uri="{FF2B5EF4-FFF2-40B4-BE49-F238E27FC236}">
                    <a16:creationId xmlns:a16="http://schemas.microsoft.com/office/drawing/2014/main" id="{BE436DEE-875E-43EC-B476-18DD40F6AA08}"/>
                  </a:ext>
                </a:extLst>
              </p:cNvPr>
              <p:cNvSpPr/>
              <p:nvPr/>
            </p:nvSpPr>
            <p:spPr>
              <a:xfrm>
                <a:off x="7064040" y="2579012"/>
                <a:ext cx="93232" cy="139838"/>
              </a:xfrm>
              <a:custGeom>
                <a:avLst/>
                <a:gdLst>
                  <a:gd name="connsiteX0" fmla="*/ 86573 w 93232"/>
                  <a:gd name="connsiteY0" fmla="*/ 139839 h 139838"/>
                  <a:gd name="connsiteX1" fmla="*/ 6665 w 93232"/>
                  <a:gd name="connsiteY1" fmla="*/ 139839 h 139838"/>
                  <a:gd name="connsiteX2" fmla="*/ 6 w 93232"/>
                  <a:gd name="connsiteY2" fmla="*/ 133180 h 139838"/>
                  <a:gd name="connsiteX3" fmla="*/ 6 w 93232"/>
                  <a:gd name="connsiteY3" fmla="*/ 104841 h 139838"/>
                  <a:gd name="connsiteX4" fmla="*/ 25122 w 93232"/>
                  <a:gd name="connsiteY4" fmla="*/ 59131 h 139838"/>
                  <a:gd name="connsiteX5" fmla="*/ 79914 w 93232"/>
                  <a:gd name="connsiteY5" fmla="*/ 2818 h 139838"/>
                  <a:gd name="connsiteX6" fmla="*/ 79914 w 93232"/>
                  <a:gd name="connsiteY6" fmla="*/ 0 h 139838"/>
                  <a:gd name="connsiteX7" fmla="*/ 93232 w 93232"/>
                  <a:gd name="connsiteY7" fmla="*/ 0 h 139838"/>
                  <a:gd name="connsiteX8" fmla="*/ 93232 w 93232"/>
                  <a:gd name="connsiteY8" fmla="*/ 133183 h 139838"/>
                  <a:gd name="connsiteX9" fmla="*/ 86573 w 93232"/>
                  <a:gd name="connsiteY9" fmla="*/ 139839 h 139838"/>
                  <a:gd name="connsiteX10" fmla="*/ 13324 w 93232"/>
                  <a:gd name="connsiteY10" fmla="*/ 133178 h 139838"/>
                  <a:gd name="connsiteX11" fmla="*/ 13390 w 93232"/>
                  <a:gd name="connsiteY11" fmla="*/ 133178 h 139838"/>
                  <a:gd name="connsiteX12" fmla="*/ 13324 w 93232"/>
                  <a:gd name="connsiteY12" fmla="*/ 133178 h 139838"/>
                  <a:gd name="connsiteX13" fmla="*/ 13324 w 93232"/>
                  <a:gd name="connsiteY13" fmla="*/ 126519 h 139838"/>
                  <a:gd name="connsiteX14" fmla="*/ 79914 w 93232"/>
                  <a:gd name="connsiteY14" fmla="*/ 126519 h 139838"/>
                  <a:gd name="connsiteX15" fmla="*/ 79914 w 93232"/>
                  <a:gd name="connsiteY15" fmla="*/ 36492 h 139838"/>
                  <a:gd name="connsiteX16" fmla="*/ 30754 w 93232"/>
                  <a:gd name="connsiteY16" fmla="*/ 71198 h 139838"/>
                  <a:gd name="connsiteX17" fmla="*/ 13324 w 93232"/>
                  <a:gd name="connsiteY17" fmla="*/ 104681 h 139838"/>
                  <a:gd name="connsiteX18" fmla="*/ 13324 w 93232"/>
                  <a:gd name="connsiteY18" fmla="*/ 126519 h 13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3232" h="139838">
                    <a:moveTo>
                      <a:pt x="86573" y="139839"/>
                    </a:moveTo>
                    <a:lnTo>
                      <a:pt x="6665" y="139839"/>
                    </a:lnTo>
                    <a:cubicBezTo>
                      <a:pt x="2985" y="139839"/>
                      <a:pt x="6" y="136858"/>
                      <a:pt x="6" y="133180"/>
                    </a:cubicBezTo>
                    <a:lnTo>
                      <a:pt x="6" y="104841"/>
                    </a:lnTo>
                    <a:cubicBezTo>
                      <a:pt x="-27" y="103639"/>
                      <a:pt x="-586" y="71137"/>
                      <a:pt x="25122" y="59131"/>
                    </a:cubicBezTo>
                    <a:cubicBezTo>
                      <a:pt x="50116" y="47463"/>
                      <a:pt x="79914" y="28222"/>
                      <a:pt x="79914" y="2818"/>
                    </a:cubicBezTo>
                    <a:lnTo>
                      <a:pt x="79914" y="0"/>
                    </a:lnTo>
                    <a:lnTo>
                      <a:pt x="93232" y="0"/>
                    </a:lnTo>
                    <a:lnTo>
                      <a:pt x="93232" y="133183"/>
                    </a:lnTo>
                    <a:cubicBezTo>
                      <a:pt x="93232" y="136855"/>
                      <a:pt x="90256" y="139839"/>
                      <a:pt x="86573" y="139839"/>
                    </a:cubicBezTo>
                    <a:close/>
                    <a:moveTo>
                      <a:pt x="13324" y="133178"/>
                    </a:moveTo>
                    <a:lnTo>
                      <a:pt x="13390" y="133178"/>
                    </a:lnTo>
                    <a:lnTo>
                      <a:pt x="13324" y="133178"/>
                    </a:lnTo>
                    <a:close/>
                    <a:moveTo>
                      <a:pt x="13324" y="126519"/>
                    </a:moveTo>
                    <a:lnTo>
                      <a:pt x="79914" y="126519"/>
                    </a:lnTo>
                    <a:lnTo>
                      <a:pt x="79914" y="36492"/>
                    </a:lnTo>
                    <a:cubicBezTo>
                      <a:pt x="69456" y="49133"/>
                      <a:pt x="52945" y="60839"/>
                      <a:pt x="30754" y="71198"/>
                    </a:cubicBezTo>
                    <a:cubicBezTo>
                      <a:pt x="13014" y="79483"/>
                      <a:pt x="13319" y="104432"/>
                      <a:pt x="13324" y="104681"/>
                    </a:cubicBezTo>
                    <a:lnTo>
                      <a:pt x="13324" y="126519"/>
                    </a:lnTo>
                    <a:close/>
                  </a:path>
                </a:pathLst>
              </a:custGeom>
              <a:grpFill/>
              <a:ln w="254" cap="flat">
                <a:noFill/>
                <a:prstDash val="solid"/>
                <a:miter/>
              </a:ln>
            </p:spPr>
            <p:txBody>
              <a:bodyPr rtlCol="0" anchor="ctr"/>
              <a:lstStyle/>
              <a:p>
                <a:endParaRPr lang="en-GB" dirty="0"/>
              </a:p>
            </p:txBody>
          </p:sp>
          <p:sp>
            <p:nvSpPr>
              <p:cNvPr id="334" name="Freihandform: Form 590">
                <a:extLst>
                  <a:ext uri="{FF2B5EF4-FFF2-40B4-BE49-F238E27FC236}">
                    <a16:creationId xmlns:a16="http://schemas.microsoft.com/office/drawing/2014/main" id="{8EFD565F-0D25-4438-B08B-EE7D907CDC43}"/>
                  </a:ext>
                </a:extLst>
              </p:cNvPr>
              <p:cNvSpPr/>
              <p:nvPr/>
            </p:nvSpPr>
            <p:spPr>
              <a:xfrm>
                <a:off x="7143954" y="2425849"/>
                <a:ext cx="119872" cy="306318"/>
              </a:xfrm>
              <a:custGeom>
                <a:avLst/>
                <a:gdLst>
                  <a:gd name="connsiteX0" fmla="*/ 113214 w 119872"/>
                  <a:gd name="connsiteY0" fmla="*/ 306319 h 306318"/>
                  <a:gd name="connsiteX1" fmla="*/ 6659 w 119872"/>
                  <a:gd name="connsiteY1" fmla="*/ 306319 h 306318"/>
                  <a:gd name="connsiteX2" fmla="*/ 0 w 119872"/>
                  <a:gd name="connsiteY2" fmla="*/ 299661 h 306318"/>
                  <a:gd name="connsiteX3" fmla="*/ 0 w 119872"/>
                  <a:gd name="connsiteY3" fmla="*/ 59932 h 306318"/>
                  <a:gd name="connsiteX4" fmla="*/ 59936 w 119872"/>
                  <a:gd name="connsiteY4" fmla="*/ 0 h 306318"/>
                  <a:gd name="connsiteX5" fmla="*/ 119873 w 119872"/>
                  <a:gd name="connsiteY5" fmla="*/ 59932 h 306318"/>
                  <a:gd name="connsiteX6" fmla="*/ 119873 w 119872"/>
                  <a:gd name="connsiteY6" fmla="*/ 299658 h 306318"/>
                  <a:gd name="connsiteX7" fmla="*/ 113214 w 119872"/>
                  <a:gd name="connsiteY7" fmla="*/ 306319 h 306318"/>
                  <a:gd name="connsiteX8" fmla="*/ 13318 w 119872"/>
                  <a:gd name="connsiteY8" fmla="*/ 293002 h 306318"/>
                  <a:gd name="connsiteX9" fmla="*/ 106552 w 119872"/>
                  <a:gd name="connsiteY9" fmla="*/ 293002 h 306318"/>
                  <a:gd name="connsiteX10" fmla="*/ 106552 w 119872"/>
                  <a:gd name="connsiteY10" fmla="*/ 59932 h 306318"/>
                  <a:gd name="connsiteX11" fmla="*/ 59934 w 119872"/>
                  <a:gd name="connsiteY11" fmla="*/ 13317 h 306318"/>
                  <a:gd name="connsiteX12" fmla="*/ 13316 w 119872"/>
                  <a:gd name="connsiteY12" fmla="*/ 59932 h 306318"/>
                  <a:gd name="connsiteX13" fmla="*/ 13316 w 119872"/>
                  <a:gd name="connsiteY13" fmla="*/ 293002 h 30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9872" h="306318">
                    <a:moveTo>
                      <a:pt x="113214" y="306319"/>
                    </a:moveTo>
                    <a:lnTo>
                      <a:pt x="6659" y="306319"/>
                    </a:lnTo>
                    <a:cubicBezTo>
                      <a:pt x="2979" y="306319"/>
                      <a:pt x="0" y="303338"/>
                      <a:pt x="0" y="299661"/>
                    </a:cubicBezTo>
                    <a:lnTo>
                      <a:pt x="0" y="59932"/>
                    </a:lnTo>
                    <a:cubicBezTo>
                      <a:pt x="0" y="26886"/>
                      <a:pt x="26885" y="0"/>
                      <a:pt x="59936" y="0"/>
                    </a:cubicBezTo>
                    <a:cubicBezTo>
                      <a:pt x="92988" y="0"/>
                      <a:pt x="119873" y="26886"/>
                      <a:pt x="119873" y="59932"/>
                    </a:cubicBezTo>
                    <a:lnTo>
                      <a:pt x="119873" y="299658"/>
                    </a:lnTo>
                    <a:cubicBezTo>
                      <a:pt x="119873" y="303338"/>
                      <a:pt x="116894" y="306319"/>
                      <a:pt x="113214" y="306319"/>
                    </a:cubicBezTo>
                    <a:close/>
                    <a:moveTo>
                      <a:pt x="13318" y="293002"/>
                    </a:moveTo>
                    <a:lnTo>
                      <a:pt x="106552" y="293002"/>
                    </a:lnTo>
                    <a:lnTo>
                      <a:pt x="106552" y="59932"/>
                    </a:lnTo>
                    <a:cubicBezTo>
                      <a:pt x="106552" y="34228"/>
                      <a:pt x="85637" y="13317"/>
                      <a:pt x="59934" y="13317"/>
                    </a:cubicBezTo>
                    <a:cubicBezTo>
                      <a:pt x="34233" y="13317"/>
                      <a:pt x="13316" y="34228"/>
                      <a:pt x="13316" y="59932"/>
                    </a:cubicBezTo>
                    <a:lnTo>
                      <a:pt x="13316" y="293002"/>
                    </a:lnTo>
                    <a:close/>
                  </a:path>
                </a:pathLst>
              </a:custGeom>
              <a:grpFill/>
              <a:ln w="254" cap="flat">
                <a:noFill/>
                <a:prstDash val="solid"/>
                <a:miter/>
              </a:ln>
            </p:spPr>
            <p:txBody>
              <a:bodyPr rtlCol="0" anchor="ctr"/>
              <a:lstStyle/>
              <a:p>
                <a:endParaRPr lang="en-GB" dirty="0"/>
              </a:p>
            </p:txBody>
          </p:sp>
          <p:sp>
            <p:nvSpPr>
              <p:cNvPr id="335" name="Freihandform: Form 591">
                <a:extLst>
                  <a:ext uri="{FF2B5EF4-FFF2-40B4-BE49-F238E27FC236}">
                    <a16:creationId xmlns:a16="http://schemas.microsoft.com/office/drawing/2014/main" id="{B081BDD4-5D2F-42A7-909B-07719E12445D}"/>
                  </a:ext>
                </a:extLst>
              </p:cNvPr>
              <p:cNvSpPr/>
              <p:nvPr/>
            </p:nvSpPr>
            <p:spPr>
              <a:xfrm>
                <a:off x="7157275" y="2718851"/>
                <a:ext cx="93234" cy="46612"/>
              </a:xfrm>
              <a:custGeom>
                <a:avLst/>
                <a:gdLst>
                  <a:gd name="connsiteX0" fmla="*/ 86575 w 93234"/>
                  <a:gd name="connsiteY0" fmla="*/ 46612 h 46612"/>
                  <a:gd name="connsiteX1" fmla="*/ 6659 w 93234"/>
                  <a:gd name="connsiteY1" fmla="*/ 46612 h 46612"/>
                  <a:gd name="connsiteX2" fmla="*/ 0 w 93234"/>
                  <a:gd name="connsiteY2" fmla="*/ 39954 h 46612"/>
                  <a:gd name="connsiteX3" fmla="*/ 0 w 93234"/>
                  <a:gd name="connsiteY3" fmla="*/ 6659 h 46612"/>
                  <a:gd name="connsiteX4" fmla="*/ 6659 w 93234"/>
                  <a:gd name="connsiteY4" fmla="*/ 0 h 46612"/>
                  <a:gd name="connsiteX5" fmla="*/ 86575 w 93234"/>
                  <a:gd name="connsiteY5" fmla="*/ 0 h 46612"/>
                  <a:gd name="connsiteX6" fmla="*/ 93234 w 93234"/>
                  <a:gd name="connsiteY6" fmla="*/ 6659 h 46612"/>
                  <a:gd name="connsiteX7" fmla="*/ 93234 w 93234"/>
                  <a:gd name="connsiteY7" fmla="*/ 39954 h 46612"/>
                  <a:gd name="connsiteX8" fmla="*/ 86575 w 93234"/>
                  <a:gd name="connsiteY8" fmla="*/ 46612 h 46612"/>
                  <a:gd name="connsiteX9" fmla="*/ 13318 w 93234"/>
                  <a:gd name="connsiteY9" fmla="*/ 33295 h 46612"/>
                  <a:gd name="connsiteX10" fmla="*/ 79914 w 93234"/>
                  <a:gd name="connsiteY10" fmla="*/ 33295 h 46612"/>
                  <a:gd name="connsiteX11" fmla="*/ 79914 w 93234"/>
                  <a:gd name="connsiteY11" fmla="*/ 13317 h 46612"/>
                  <a:gd name="connsiteX12" fmla="*/ 13318 w 93234"/>
                  <a:gd name="connsiteY12" fmla="*/ 13317 h 46612"/>
                  <a:gd name="connsiteX13" fmla="*/ 13318 w 93234"/>
                  <a:gd name="connsiteY13" fmla="*/ 33295 h 4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3234" h="46612">
                    <a:moveTo>
                      <a:pt x="86575" y="46612"/>
                    </a:moveTo>
                    <a:lnTo>
                      <a:pt x="6659" y="46612"/>
                    </a:lnTo>
                    <a:cubicBezTo>
                      <a:pt x="2979" y="46612"/>
                      <a:pt x="0" y="43631"/>
                      <a:pt x="0" y="39954"/>
                    </a:cubicBezTo>
                    <a:lnTo>
                      <a:pt x="0" y="6659"/>
                    </a:lnTo>
                    <a:cubicBezTo>
                      <a:pt x="0" y="2981"/>
                      <a:pt x="2979" y="0"/>
                      <a:pt x="6659" y="0"/>
                    </a:cubicBezTo>
                    <a:lnTo>
                      <a:pt x="86575" y="0"/>
                    </a:lnTo>
                    <a:cubicBezTo>
                      <a:pt x="90255" y="0"/>
                      <a:pt x="93234" y="2981"/>
                      <a:pt x="93234" y="6659"/>
                    </a:cubicBezTo>
                    <a:lnTo>
                      <a:pt x="93234" y="39954"/>
                    </a:lnTo>
                    <a:cubicBezTo>
                      <a:pt x="93234" y="43631"/>
                      <a:pt x="90255" y="46612"/>
                      <a:pt x="86575" y="46612"/>
                    </a:cubicBezTo>
                    <a:close/>
                    <a:moveTo>
                      <a:pt x="13318" y="33295"/>
                    </a:moveTo>
                    <a:lnTo>
                      <a:pt x="79914" y="33295"/>
                    </a:lnTo>
                    <a:lnTo>
                      <a:pt x="79914" y="13317"/>
                    </a:lnTo>
                    <a:lnTo>
                      <a:pt x="13318" y="13317"/>
                    </a:lnTo>
                    <a:lnTo>
                      <a:pt x="13318" y="33295"/>
                    </a:lnTo>
                    <a:close/>
                  </a:path>
                </a:pathLst>
              </a:custGeom>
              <a:grpFill/>
              <a:ln w="254" cap="flat">
                <a:noFill/>
                <a:prstDash val="solid"/>
                <a:miter/>
              </a:ln>
            </p:spPr>
            <p:txBody>
              <a:bodyPr rtlCol="0" anchor="ctr"/>
              <a:lstStyle/>
              <a:p>
                <a:endParaRPr lang="en-GB" dirty="0"/>
              </a:p>
            </p:txBody>
          </p:sp>
          <p:sp>
            <p:nvSpPr>
              <p:cNvPr id="336" name="Freihandform: Form 592">
                <a:extLst>
                  <a:ext uri="{FF2B5EF4-FFF2-40B4-BE49-F238E27FC236}">
                    <a16:creationId xmlns:a16="http://schemas.microsoft.com/office/drawing/2014/main" id="{0C7A2982-8D94-4EA1-AA63-DF0474C43421}"/>
                  </a:ext>
                </a:extLst>
              </p:cNvPr>
              <p:cNvSpPr/>
              <p:nvPr/>
            </p:nvSpPr>
            <p:spPr>
              <a:xfrm>
                <a:off x="7170593" y="2598988"/>
                <a:ext cx="66595" cy="39953"/>
              </a:xfrm>
              <a:custGeom>
                <a:avLst/>
                <a:gdLst>
                  <a:gd name="connsiteX0" fmla="*/ 59936 w 66595"/>
                  <a:gd name="connsiteY0" fmla="*/ 39954 h 39953"/>
                  <a:gd name="connsiteX1" fmla="*/ 53277 w 66595"/>
                  <a:gd name="connsiteY1" fmla="*/ 33295 h 39953"/>
                  <a:gd name="connsiteX2" fmla="*/ 33298 w 66595"/>
                  <a:gd name="connsiteY2" fmla="*/ 13317 h 39953"/>
                  <a:gd name="connsiteX3" fmla="*/ 13318 w 66595"/>
                  <a:gd name="connsiteY3" fmla="*/ 33295 h 39953"/>
                  <a:gd name="connsiteX4" fmla="*/ 6659 w 66595"/>
                  <a:gd name="connsiteY4" fmla="*/ 39954 h 39953"/>
                  <a:gd name="connsiteX5" fmla="*/ 0 w 66595"/>
                  <a:gd name="connsiteY5" fmla="*/ 33295 h 39953"/>
                  <a:gd name="connsiteX6" fmla="*/ 33298 w 66595"/>
                  <a:gd name="connsiteY6" fmla="*/ 0 h 39953"/>
                  <a:gd name="connsiteX7" fmla="*/ 66596 w 66595"/>
                  <a:gd name="connsiteY7" fmla="*/ 33295 h 39953"/>
                  <a:gd name="connsiteX8" fmla="*/ 59936 w 66595"/>
                  <a:gd name="connsiteY8" fmla="*/ 39954 h 39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595" h="39953">
                    <a:moveTo>
                      <a:pt x="59936" y="39954"/>
                    </a:moveTo>
                    <a:cubicBezTo>
                      <a:pt x="56256" y="39954"/>
                      <a:pt x="53277" y="36972"/>
                      <a:pt x="53277" y="33295"/>
                    </a:cubicBezTo>
                    <a:cubicBezTo>
                      <a:pt x="53277" y="22278"/>
                      <a:pt x="44316" y="13317"/>
                      <a:pt x="33298" y="13317"/>
                    </a:cubicBezTo>
                    <a:cubicBezTo>
                      <a:pt x="22280" y="13317"/>
                      <a:pt x="13318" y="22278"/>
                      <a:pt x="13318" y="33295"/>
                    </a:cubicBezTo>
                    <a:cubicBezTo>
                      <a:pt x="13318" y="36972"/>
                      <a:pt x="10339" y="39954"/>
                      <a:pt x="6659" y="39954"/>
                    </a:cubicBezTo>
                    <a:cubicBezTo>
                      <a:pt x="2979" y="39954"/>
                      <a:pt x="0" y="36972"/>
                      <a:pt x="0" y="33295"/>
                    </a:cubicBezTo>
                    <a:cubicBezTo>
                      <a:pt x="0" y="14936"/>
                      <a:pt x="14940" y="0"/>
                      <a:pt x="33298" y="0"/>
                    </a:cubicBezTo>
                    <a:cubicBezTo>
                      <a:pt x="51656" y="0"/>
                      <a:pt x="66596" y="14938"/>
                      <a:pt x="66596" y="33295"/>
                    </a:cubicBezTo>
                    <a:cubicBezTo>
                      <a:pt x="66596" y="36972"/>
                      <a:pt x="63617" y="39954"/>
                      <a:pt x="59936" y="39954"/>
                    </a:cubicBezTo>
                    <a:close/>
                  </a:path>
                </a:pathLst>
              </a:custGeom>
              <a:grpFill/>
              <a:ln w="254" cap="flat">
                <a:noFill/>
                <a:prstDash val="solid"/>
                <a:miter/>
              </a:ln>
            </p:spPr>
            <p:txBody>
              <a:bodyPr rtlCol="0" anchor="ctr"/>
              <a:lstStyle/>
              <a:p>
                <a:endParaRPr lang="en-GB" dirty="0"/>
              </a:p>
            </p:txBody>
          </p:sp>
          <p:sp>
            <p:nvSpPr>
              <p:cNvPr id="337" name="Freihandform: Form 593">
                <a:extLst>
                  <a:ext uri="{FF2B5EF4-FFF2-40B4-BE49-F238E27FC236}">
                    <a16:creationId xmlns:a16="http://schemas.microsoft.com/office/drawing/2014/main" id="{FD2F4755-73B9-4884-981C-206994544220}"/>
                  </a:ext>
                </a:extLst>
              </p:cNvPr>
              <p:cNvSpPr/>
              <p:nvPr/>
            </p:nvSpPr>
            <p:spPr>
              <a:xfrm>
                <a:off x="7170593" y="2492442"/>
                <a:ext cx="66595" cy="13316"/>
              </a:xfrm>
              <a:custGeom>
                <a:avLst/>
                <a:gdLst>
                  <a:gd name="connsiteX0" fmla="*/ 59936 w 66595"/>
                  <a:gd name="connsiteY0" fmla="*/ 13317 h 13316"/>
                  <a:gd name="connsiteX1" fmla="*/ 6659 w 66595"/>
                  <a:gd name="connsiteY1" fmla="*/ 13317 h 13316"/>
                  <a:gd name="connsiteX2" fmla="*/ 0 w 66595"/>
                  <a:gd name="connsiteY2" fmla="*/ 6658 h 13316"/>
                  <a:gd name="connsiteX3" fmla="*/ 6659 w 66595"/>
                  <a:gd name="connsiteY3" fmla="*/ 0 h 13316"/>
                  <a:gd name="connsiteX4" fmla="*/ 59936 w 66595"/>
                  <a:gd name="connsiteY4" fmla="*/ 0 h 13316"/>
                  <a:gd name="connsiteX5" fmla="*/ 66596 w 66595"/>
                  <a:gd name="connsiteY5" fmla="*/ 6658 h 13316"/>
                  <a:gd name="connsiteX6" fmla="*/ 59936 w 66595"/>
                  <a:gd name="connsiteY6" fmla="*/ 13317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595" h="13316">
                    <a:moveTo>
                      <a:pt x="59936" y="13317"/>
                    </a:moveTo>
                    <a:lnTo>
                      <a:pt x="6659" y="13317"/>
                    </a:lnTo>
                    <a:cubicBezTo>
                      <a:pt x="2979" y="13317"/>
                      <a:pt x="0" y="10336"/>
                      <a:pt x="0" y="6658"/>
                    </a:cubicBezTo>
                    <a:cubicBezTo>
                      <a:pt x="0" y="2981"/>
                      <a:pt x="2979" y="0"/>
                      <a:pt x="6659" y="0"/>
                    </a:cubicBezTo>
                    <a:lnTo>
                      <a:pt x="59936" y="0"/>
                    </a:lnTo>
                    <a:cubicBezTo>
                      <a:pt x="63617" y="0"/>
                      <a:pt x="66596" y="2981"/>
                      <a:pt x="66596" y="6658"/>
                    </a:cubicBezTo>
                    <a:cubicBezTo>
                      <a:pt x="66596" y="10336"/>
                      <a:pt x="63617" y="13317"/>
                      <a:pt x="59936" y="13317"/>
                    </a:cubicBezTo>
                    <a:close/>
                  </a:path>
                </a:pathLst>
              </a:custGeom>
              <a:grpFill/>
              <a:ln w="254" cap="flat">
                <a:noFill/>
                <a:prstDash val="solid"/>
                <a:miter/>
              </a:ln>
            </p:spPr>
            <p:txBody>
              <a:bodyPr rtlCol="0" anchor="ctr"/>
              <a:lstStyle/>
              <a:p>
                <a:endParaRPr lang="en-GB" dirty="0"/>
              </a:p>
            </p:txBody>
          </p:sp>
        </p:grpSp>
        <p:grpSp>
          <p:nvGrpSpPr>
            <p:cNvPr id="325" name="Grafik 354">
              <a:extLst>
                <a:ext uri="{FF2B5EF4-FFF2-40B4-BE49-F238E27FC236}">
                  <a16:creationId xmlns:a16="http://schemas.microsoft.com/office/drawing/2014/main" id="{92D1BABC-9375-46BE-8C96-7869A746EF4C}"/>
                </a:ext>
              </a:extLst>
            </p:cNvPr>
            <p:cNvGrpSpPr/>
            <p:nvPr/>
          </p:nvGrpSpPr>
          <p:grpSpPr>
            <a:xfrm>
              <a:off x="3823072" y="4347845"/>
              <a:ext cx="268560" cy="116757"/>
              <a:chOff x="7050720" y="2785441"/>
              <a:chExt cx="306341" cy="133182"/>
            </a:xfrm>
            <a:solidFill>
              <a:schemeClr val="accent1"/>
            </a:solidFill>
          </p:grpSpPr>
          <p:grpSp>
            <p:nvGrpSpPr>
              <p:cNvPr id="326" name="Grafik 354">
                <a:extLst>
                  <a:ext uri="{FF2B5EF4-FFF2-40B4-BE49-F238E27FC236}">
                    <a16:creationId xmlns:a16="http://schemas.microsoft.com/office/drawing/2014/main" id="{8770DAC6-863E-472C-8B05-2B1C078CE560}"/>
                  </a:ext>
                </a:extLst>
              </p:cNvPr>
              <p:cNvGrpSpPr/>
              <p:nvPr/>
            </p:nvGrpSpPr>
            <p:grpSpPr>
              <a:xfrm>
                <a:off x="7050720" y="2785441"/>
                <a:ext cx="306341" cy="133182"/>
                <a:chOff x="7050720" y="2785441"/>
                <a:chExt cx="306341" cy="133182"/>
              </a:xfrm>
              <a:solidFill>
                <a:schemeClr val="accent1"/>
              </a:solidFill>
            </p:grpSpPr>
            <p:sp>
              <p:nvSpPr>
                <p:cNvPr id="330" name="Freihandform: Form 596">
                  <a:extLst>
                    <a:ext uri="{FF2B5EF4-FFF2-40B4-BE49-F238E27FC236}">
                      <a16:creationId xmlns:a16="http://schemas.microsoft.com/office/drawing/2014/main" id="{BEA5E6E8-6DA0-4D51-988B-1FAAC2B225EB}"/>
                    </a:ext>
                  </a:extLst>
                </p:cNvPr>
                <p:cNvSpPr/>
                <p:nvPr/>
              </p:nvSpPr>
              <p:spPr>
                <a:xfrm>
                  <a:off x="7230529" y="2785446"/>
                  <a:ext cx="126532" cy="133177"/>
                </a:xfrm>
                <a:custGeom>
                  <a:avLst/>
                  <a:gdLst>
                    <a:gd name="connsiteX0" fmla="*/ 119873 w 126532"/>
                    <a:gd name="connsiteY0" fmla="*/ 133178 h 133177"/>
                    <a:gd name="connsiteX1" fmla="*/ 113214 w 126532"/>
                    <a:gd name="connsiteY1" fmla="*/ 126519 h 133177"/>
                    <a:gd name="connsiteX2" fmla="*/ 73257 w 126532"/>
                    <a:gd name="connsiteY2" fmla="*/ 86566 h 133177"/>
                    <a:gd name="connsiteX3" fmla="*/ 66956 w 126532"/>
                    <a:gd name="connsiteY3" fmla="*/ 87120 h 133177"/>
                    <a:gd name="connsiteX4" fmla="*/ 61141 w 126532"/>
                    <a:gd name="connsiteY4" fmla="*/ 85198 h 133177"/>
                    <a:gd name="connsiteX5" fmla="*/ 59352 w 126532"/>
                    <a:gd name="connsiteY5" fmla="*/ 79343 h 133177"/>
                    <a:gd name="connsiteX6" fmla="*/ 59937 w 126532"/>
                    <a:gd name="connsiteY6" fmla="*/ 73249 h 133177"/>
                    <a:gd name="connsiteX7" fmla="*/ 26639 w 126532"/>
                    <a:gd name="connsiteY7" fmla="*/ 39954 h 133177"/>
                    <a:gd name="connsiteX8" fmla="*/ 9996 w 126532"/>
                    <a:gd name="connsiteY8" fmla="*/ 44444 h 133177"/>
                    <a:gd name="connsiteX9" fmla="*/ 3337 w 126532"/>
                    <a:gd name="connsiteY9" fmla="*/ 44452 h 133177"/>
                    <a:gd name="connsiteX10" fmla="*/ 0 w 126532"/>
                    <a:gd name="connsiteY10" fmla="*/ 38683 h 133177"/>
                    <a:gd name="connsiteX11" fmla="*/ 0 w 126532"/>
                    <a:gd name="connsiteY11" fmla="*/ 6659 h 133177"/>
                    <a:gd name="connsiteX12" fmla="*/ 6659 w 126532"/>
                    <a:gd name="connsiteY12" fmla="*/ 0 h 133177"/>
                    <a:gd name="connsiteX13" fmla="*/ 13318 w 126532"/>
                    <a:gd name="connsiteY13" fmla="*/ 6659 h 133177"/>
                    <a:gd name="connsiteX14" fmla="*/ 13318 w 126532"/>
                    <a:gd name="connsiteY14" fmla="*/ 28596 h 133177"/>
                    <a:gd name="connsiteX15" fmla="*/ 26636 w 126532"/>
                    <a:gd name="connsiteY15" fmla="*/ 26637 h 133177"/>
                    <a:gd name="connsiteX16" fmla="*/ 73255 w 126532"/>
                    <a:gd name="connsiteY16" fmla="*/ 73251 h 133177"/>
                    <a:gd name="connsiteX17" fmla="*/ 126532 w 126532"/>
                    <a:gd name="connsiteY17" fmla="*/ 126524 h 133177"/>
                    <a:gd name="connsiteX18" fmla="*/ 119873 w 126532"/>
                    <a:gd name="connsiteY18" fmla="*/ 133178 h 133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6532" h="133177">
                      <a:moveTo>
                        <a:pt x="119873" y="133178"/>
                      </a:moveTo>
                      <a:cubicBezTo>
                        <a:pt x="116193" y="133178"/>
                        <a:pt x="113214" y="130197"/>
                        <a:pt x="113214" y="126519"/>
                      </a:cubicBezTo>
                      <a:cubicBezTo>
                        <a:pt x="113214" y="104488"/>
                        <a:pt x="95290" y="86566"/>
                        <a:pt x="73257" y="86566"/>
                      </a:cubicBezTo>
                      <a:cubicBezTo>
                        <a:pt x="71346" y="86566"/>
                        <a:pt x="69285" y="86749"/>
                        <a:pt x="66956" y="87120"/>
                      </a:cubicBezTo>
                      <a:cubicBezTo>
                        <a:pt x="64824" y="87458"/>
                        <a:pt x="62651" y="86746"/>
                        <a:pt x="61141" y="85198"/>
                      </a:cubicBezTo>
                      <a:cubicBezTo>
                        <a:pt x="59626" y="83653"/>
                        <a:pt x="58963" y="81470"/>
                        <a:pt x="59352" y="79343"/>
                      </a:cubicBezTo>
                      <a:cubicBezTo>
                        <a:pt x="59748" y="77198"/>
                        <a:pt x="59937" y="75203"/>
                        <a:pt x="59937" y="73249"/>
                      </a:cubicBezTo>
                      <a:cubicBezTo>
                        <a:pt x="59937" y="54889"/>
                        <a:pt x="44997" y="39954"/>
                        <a:pt x="26639" y="39954"/>
                      </a:cubicBezTo>
                      <a:cubicBezTo>
                        <a:pt x="20824" y="39954"/>
                        <a:pt x="15069" y="41509"/>
                        <a:pt x="9996" y="44444"/>
                      </a:cubicBezTo>
                      <a:cubicBezTo>
                        <a:pt x="7927" y="45641"/>
                        <a:pt x="5391" y="45641"/>
                        <a:pt x="3337" y="44452"/>
                      </a:cubicBezTo>
                      <a:cubicBezTo>
                        <a:pt x="1268" y="43265"/>
                        <a:pt x="0" y="41064"/>
                        <a:pt x="0" y="38683"/>
                      </a:cubicBezTo>
                      <a:lnTo>
                        <a:pt x="0" y="6659"/>
                      </a:lnTo>
                      <a:cubicBezTo>
                        <a:pt x="0" y="2981"/>
                        <a:pt x="2979" y="0"/>
                        <a:pt x="6659" y="0"/>
                      </a:cubicBezTo>
                      <a:cubicBezTo>
                        <a:pt x="10339" y="0"/>
                        <a:pt x="13318" y="2981"/>
                        <a:pt x="13318" y="6659"/>
                      </a:cubicBezTo>
                      <a:lnTo>
                        <a:pt x="13318" y="28596"/>
                      </a:lnTo>
                      <a:cubicBezTo>
                        <a:pt x="17629" y="27302"/>
                        <a:pt x="22117" y="26637"/>
                        <a:pt x="26636" y="26637"/>
                      </a:cubicBezTo>
                      <a:cubicBezTo>
                        <a:pt x="52337" y="26637"/>
                        <a:pt x="73255" y="47547"/>
                        <a:pt x="73255" y="73251"/>
                      </a:cubicBezTo>
                      <a:cubicBezTo>
                        <a:pt x="102631" y="73251"/>
                        <a:pt x="126532" y="97151"/>
                        <a:pt x="126532" y="126524"/>
                      </a:cubicBezTo>
                      <a:cubicBezTo>
                        <a:pt x="126535" y="130197"/>
                        <a:pt x="123556" y="133178"/>
                        <a:pt x="119873" y="133178"/>
                      </a:cubicBezTo>
                      <a:close/>
                    </a:path>
                  </a:pathLst>
                </a:custGeom>
                <a:solidFill>
                  <a:schemeClr val="accent1"/>
                </a:solidFill>
                <a:ln w="254" cap="flat">
                  <a:noFill/>
                  <a:prstDash val="solid"/>
                  <a:miter/>
                </a:ln>
              </p:spPr>
              <p:txBody>
                <a:bodyPr rtlCol="0" anchor="ctr"/>
                <a:lstStyle/>
                <a:p>
                  <a:endParaRPr lang="en-GB" dirty="0"/>
                </a:p>
              </p:txBody>
            </p:sp>
            <p:sp>
              <p:nvSpPr>
                <p:cNvPr id="331" name="Freihandform: Form 597">
                  <a:extLst>
                    <a:ext uri="{FF2B5EF4-FFF2-40B4-BE49-F238E27FC236}">
                      <a16:creationId xmlns:a16="http://schemas.microsoft.com/office/drawing/2014/main" id="{7C4A4394-80CA-407C-891A-DE36EE3119F0}"/>
                    </a:ext>
                  </a:extLst>
                </p:cNvPr>
                <p:cNvSpPr/>
                <p:nvPr/>
              </p:nvSpPr>
              <p:spPr>
                <a:xfrm>
                  <a:off x="7050720" y="2785441"/>
                  <a:ext cx="126531" cy="133182"/>
                </a:xfrm>
                <a:custGeom>
                  <a:avLst/>
                  <a:gdLst>
                    <a:gd name="connsiteX0" fmla="*/ 6659 w 126531"/>
                    <a:gd name="connsiteY0" fmla="*/ 133183 h 133182"/>
                    <a:gd name="connsiteX1" fmla="*/ 0 w 126531"/>
                    <a:gd name="connsiteY1" fmla="*/ 126524 h 133182"/>
                    <a:gd name="connsiteX2" fmla="*/ 53277 w 126531"/>
                    <a:gd name="connsiteY2" fmla="*/ 73251 h 133182"/>
                    <a:gd name="connsiteX3" fmla="*/ 99896 w 126531"/>
                    <a:gd name="connsiteY3" fmla="*/ 26637 h 133182"/>
                    <a:gd name="connsiteX4" fmla="*/ 113214 w 126531"/>
                    <a:gd name="connsiteY4" fmla="*/ 28596 h 133182"/>
                    <a:gd name="connsiteX5" fmla="*/ 113214 w 126531"/>
                    <a:gd name="connsiteY5" fmla="*/ 6659 h 133182"/>
                    <a:gd name="connsiteX6" fmla="*/ 119873 w 126531"/>
                    <a:gd name="connsiteY6" fmla="*/ 0 h 133182"/>
                    <a:gd name="connsiteX7" fmla="*/ 126532 w 126531"/>
                    <a:gd name="connsiteY7" fmla="*/ 6659 h 133182"/>
                    <a:gd name="connsiteX8" fmla="*/ 126532 w 126531"/>
                    <a:gd name="connsiteY8" fmla="*/ 38683 h 133182"/>
                    <a:gd name="connsiteX9" fmla="*/ 123195 w 126531"/>
                    <a:gd name="connsiteY9" fmla="*/ 44452 h 133182"/>
                    <a:gd name="connsiteX10" fmla="*/ 116536 w 126531"/>
                    <a:gd name="connsiteY10" fmla="*/ 44444 h 133182"/>
                    <a:gd name="connsiteX11" fmla="*/ 99893 w 126531"/>
                    <a:gd name="connsiteY11" fmla="*/ 39954 h 133182"/>
                    <a:gd name="connsiteX12" fmla="*/ 66596 w 126531"/>
                    <a:gd name="connsiteY12" fmla="*/ 73249 h 133182"/>
                    <a:gd name="connsiteX13" fmla="*/ 67180 w 126531"/>
                    <a:gd name="connsiteY13" fmla="*/ 79343 h 133182"/>
                    <a:gd name="connsiteX14" fmla="*/ 65391 w 126531"/>
                    <a:gd name="connsiteY14" fmla="*/ 85198 h 133182"/>
                    <a:gd name="connsiteX15" fmla="*/ 59576 w 126531"/>
                    <a:gd name="connsiteY15" fmla="*/ 87120 h 133182"/>
                    <a:gd name="connsiteX16" fmla="*/ 53275 w 126531"/>
                    <a:gd name="connsiteY16" fmla="*/ 86566 h 133182"/>
                    <a:gd name="connsiteX17" fmla="*/ 13318 w 126531"/>
                    <a:gd name="connsiteY17" fmla="*/ 126519 h 133182"/>
                    <a:gd name="connsiteX18" fmla="*/ 6659 w 126531"/>
                    <a:gd name="connsiteY18" fmla="*/ 133183 h 13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6531" h="133182">
                      <a:moveTo>
                        <a:pt x="6659" y="133183"/>
                      </a:moveTo>
                      <a:cubicBezTo>
                        <a:pt x="2979" y="133183"/>
                        <a:pt x="0" y="130202"/>
                        <a:pt x="0" y="126524"/>
                      </a:cubicBezTo>
                      <a:cubicBezTo>
                        <a:pt x="0" y="97151"/>
                        <a:pt x="23901" y="73251"/>
                        <a:pt x="53277" y="73251"/>
                      </a:cubicBezTo>
                      <a:cubicBezTo>
                        <a:pt x="53277" y="47547"/>
                        <a:pt x="74192" y="26637"/>
                        <a:pt x="99896" y="26637"/>
                      </a:cubicBezTo>
                      <a:cubicBezTo>
                        <a:pt x="104415" y="26637"/>
                        <a:pt x="108903" y="27302"/>
                        <a:pt x="113214" y="28596"/>
                      </a:cubicBezTo>
                      <a:lnTo>
                        <a:pt x="113214" y="6659"/>
                      </a:lnTo>
                      <a:cubicBezTo>
                        <a:pt x="113214" y="2981"/>
                        <a:pt x="116193" y="0"/>
                        <a:pt x="119873" y="0"/>
                      </a:cubicBezTo>
                      <a:cubicBezTo>
                        <a:pt x="123553" y="0"/>
                        <a:pt x="126532" y="2981"/>
                        <a:pt x="126532" y="6659"/>
                      </a:cubicBezTo>
                      <a:lnTo>
                        <a:pt x="126532" y="38683"/>
                      </a:lnTo>
                      <a:cubicBezTo>
                        <a:pt x="126532" y="41064"/>
                        <a:pt x="125264" y="43265"/>
                        <a:pt x="123195" y="44452"/>
                      </a:cubicBezTo>
                      <a:cubicBezTo>
                        <a:pt x="121139" y="45641"/>
                        <a:pt x="118602" y="45641"/>
                        <a:pt x="116536" y="44444"/>
                      </a:cubicBezTo>
                      <a:cubicBezTo>
                        <a:pt x="111463" y="41509"/>
                        <a:pt x="105709" y="39954"/>
                        <a:pt x="99893" y="39954"/>
                      </a:cubicBezTo>
                      <a:cubicBezTo>
                        <a:pt x="81533" y="39954"/>
                        <a:pt x="66596" y="54892"/>
                        <a:pt x="66596" y="73249"/>
                      </a:cubicBezTo>
                      <a:cubicBezTo>
                        <a:pt x="66596" y="75203"/>
                        <a:pt x="66784" y="77195"/>
                        <a:pt x="67180" y="79343"/>
                      </a:cubicBezTo>
                      <a:cubicBezTo>
                        <a:pt x="67571" y="81470"/>
                        <a:pt x="66908" y="83653"/>
                        <a:pt x="65391" y="85198"/>
                      </a:cubicBezTo>
                      <a:cubicBezTo>
                        <a:pt x="63881" y="86746"/>
                        <a:pt x="61698" y="87458"/>
                        <a:pt x="59576" y="87120"/>
                      </a:cubicBezTo>
                      <a:cubicBezTo>
                        <a:pt x="57248" y="86749"/>
                        <a:pt x="55186" y="86566"/>
                        <a:pt x="53275" y="86566"/>
                      </a:cubicBezTo>
                      <a:cubicBezTo>
                        <a:pt x="31242" y="86566"/>
                        <a:pt x="13318" y="104488"/>
                        <a:pt x="13318" y="126519"/>
                      </a:cubicBezTo>
                      <a:cubicBezTo>
                        <a:pt x="13318" y="130202"/>
                        <a:pt x="10339" y="133183"/>
                        <a:pt x="6659" y="133183"/>
                      </a:cubicBezTo>
                      <a:close/>
                    </a:path>
                  </a:pathLst>
                </a:custGeom>
                <a:solidFill>
                  <a:schemeClr val="accent1"/>
                </a:solidFill>
                <a:ln w="254" cap="flat">
                  <a:noFill/>
                  <a:prstDash val="solid"/>
                  <a:miter/>
                </a:ln>
              </p:spPr>
              <p:txBody>
                <a:bodyPr rtlCol="0" anchor="ctr"/>
                <a:lstStyle/>
                <a:p>
                  <a:endParaRPr lang="en-GB" dirty="0"/>
                </a:p>
              </p:txBody>
            </p:sp>
          </p:grpSp>
          <p:sp>
            <p:nvSpPr>
              <p:cNvPr id="327" name="Freihandform: Form 598">
                <a:extLst>
                  <a:ext uri="{FF2B5EF4-FFF2-40B4-BE49-F238E27FC236}">
                    <a16:creationId xmlns:a16="http://schemas.microsoft.com/office/drawing/2014/main" id="{BE82D43B-8A56-4AED-964E-61D946E3C76E}"/>
                  </a:ext>
                </a:extLst>
              </p:cNvPr>
              <p:cNvSpPr/>
              <p:nvPr/>
            </p:nvSpPr>
            <p:spPr>
              <a:xfrm>
                <a:off x="7123977" y="2872012"/>
                <a:ext cx="59950" cy="46611"/>
              </a:xfrm>
              <a:custGeom>
                <a:avLst/>
                <a:gdLst>
                  <a:gd name="connsiteX0" fmla="*/ 6659 w 59950"/>
                  <a:gd name="connsiteY0" fmla="*/ 46612 h 46611"/>
                  <a:gd name="connsiteX1" fmla="*/ 0 w 59950"/>
                  <a:gd name="connsiteY1" fmla="*/ 39954 h 46611"/>
                  <a:gd name="connsiteX2" fmla="*/ 39957 w 59950"/>
                  <a:gd name="connsiteY2" fmla="*/ 0 h 46611"/>
                  <a:gd name="connsiteX3" fmla="*/ 55956 w 59950"/>
                  <a:gd name="connsiteY3" fmla="*/ 3332 h 46611"/>
                  <a:gd name="connsiteX4" fmla="*/ 59390 w 59950"/>
                  <a:gd name="connsiteY4" fmla="*/ 12102 h 46611"/>
                  <a:gd name="connsiteX5" fmla="*/ 50624 w 59950"/>
                  <a:gd name="connsiteY5" fmla="*/ 15538 h 46611"/>
                  <a:gd name="connsiteX6" fmla="*/ 39959 w 59950"/>
                  <a:gd name="connsiteY6" fmla="*/ 13317 h 46611"/>
                  <a:gd name="connsiteX7" fmla="*/ 13321 w 59950"/>
                  <a:gd name="connsiteY7" fmla="*/ 39954 h 46611"/>
                  <a:gd name="connsiteX8" fmla="*/ 6659 w 59950"/>
                  <a:gd name="connsiteY8" fmla="*/ 46612 h 4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50" h="46611">
                    <a:moveTo>
                      <a:pt x="6659" y="46612"/>
                    </a:moveTo>
                    <a:cubicBezTo>
                      <a:pt x="2979" y="46612"/>
                      <a:pt x="0" y="43631"/>
                      <a:pt x="0" y="39954"/>
                    </a:cubicBezTo>
                    <a:cubicBezTo>
                      <a:pt x="0" y="17922"/>
                      <a:pt x="17924" y="0"/>
                      <a:pt x="39957" y="0"/>
                    </a:cubicBezTo>
                    <a:cubicBezTo>
                      <a:pt x="45510" y="0"/>
                      <a:pt x="50896" y="1121"/>
                      <a:pt x="55956" y="3332"/>
                    </a:cubicBezTo>
                    <a:cubicBezTo>
                      <a:pt x="59324" y="4806"/>
                      <a:pt x="60867" y="8732"/>
                      <a:pt x="59390" y="12102"/>
                    </a:cubicBezTo>
                    <a:cubicBezTo>
                      <a:pt x="57926" y="15470"/>
                      <a:pt x="54012" y="17015"/>
                      <a:pt x="50624" y="15538"/>
                    </a:cubicBezTo>
                    <a:cubicBezTo>
                      <a:pt x="47256" y="14064"/>
                      <a:pt x="43665" y="13317"/>
                      <a:pt x="39959" y="13317"/>
                    </a:cubicBezTo>
                    <a:cubicBezTo>
                      <a:pt x="25269" y="13317"/>
                      <a:pt x="13321" y="25267"/>
                      <a:pt x="13321" y="39954"/>
                    </a:cubicBezTo>
                    <a:cubicBezTo>
                      <a:pt x="13318" y="43631"/>
                      <a:pt x="10339" y="46612"/>
                      <a:pt x="6659" y="46612"/>
                    </a:cubicBezTo>
                    <a:close/>
                  </a:path>
                </a:pathLst>
              </a:custGeom>
              <a:solidFill>
                <a:schemeClr val="accent1"/>
              </a:solidFill>
              <a:ln w="254" cap="flat">
                <a:noFill/>
                <a:prstDash val="solid"/>
                <a:miter/>
              </a:ln>
            </p:spPr>
            <p:txBody>
              <a:bodyPr rtlCol="0" anchor="ctr"/>
              <a:lstStyle/>
              <a:p>
                <a:endParaRPr lang="en-GB" dirty="0"/>
              </a:p>
            </p:txBody>
          </p:sp>
          <p:sp>
            <p:nvSpPr>
              <p:cNvPr id="328" name="Freihandform: Form 599">
                <a:extLst>
                  <a:ext uri="{FF2B5EF4-FFF2-40B4-BE49-F238E27FC236}">
                    <a16:creationId xmlns:a16="http://schemas.microsoft.com/office/drawing/2014/main" id="{78D5C77A-8F26-40C4-B38D-7F15F4B505BB}"/>
                  </a:ext>
                </a:extLst>
              </p:cNvPr>
              <p:cNvSpPr/>
              <p:nvPr/>
            </p:nvSpPr>
            <p:spPr>
              <a:xfrm>
                <a:off x="7223858" y="2872012"/>
                <a:ext cx="59950" cy="46611"/>
              </a:xfrm>
              <a:custGeom>
                <a:avLst/>
                <a:gdLst>
                  <a:gd name="connsiteX0" fmla="*/ 53289 w 59950"/>
                  <a:gd name="connsiteY0" fmla="*/ 46612 h 46611"/>
                  <a:gd name="connsiteX1" fmla="*/ 46630 w 59950"/>
                  <a:gd name="connsiteY1" fmla="*/ 39954 h 46611"/>
                  <a:gd name="connsiteX2" fmla="*/ 19991 w 59950"/>
                  <a:gd name="connsiteY2" fmla="*/ 13317 h 46611"/>
                  <a:gd name="connsiteX3" fmla="*/ 9327 w 59950"/>
                  <a:gd name="connsiteY3" fmla="*/ 15538 h 46611"/>
                  <a:gd name="connsiteX4" fmla="*/ 561 w 59950"/>
                  <a:gd name="connsiteY4" fmla="*/ 12102 h 46611"/>
                  <a:gd name="connsiteX5" fmla="*/ 3994 w 59950"/>
                  <a:gd name="connsiteY5" fmla="*/ 3332 h 46611"/>
                  <a:gd name="connsiteX6" fmla="*/ 19994 w 59950"/>
                  <a:gd name="connsiteY6" fmla="*/ 0 h 46611"/>
                  <a:gd name="connsiteX7" fmla="*/ 59951 w 59950"/>
                  <a:gd name="connsiteY7" fmla="*/ 39954 h 46611"/>
                  <a:gd name="connsiteX8" fmla="*/ 53289 w 59950"/>
                  <a:gd name="connsiteY8" fmla="*/ 46612 h 4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9950" h="46611">
                    <a:moveTo>
                      <a:pt x="53289" y="46612"/>
                    </a:moveTo>
                    <a:cubicBezTo>
                      <a:pt x="49609" y="46612"/>
                      <a:pt x="46630" y="43631"/>
                      <a:pt x="46630" y="39954"/>
                    </a:cubicBezTo>
                    <a:cubicBezTo>
                      <a:pt x="46630" y="25267"/>
                      <a:pt x="34682" y="13317"/>
                      <a:pt x="19991" y="13317"/>
                    </a:cubicBezTo>
                    <a:cubicBezTo>
                      <a:pt x="16283" y="13317"/>
                      <a:pt x="12694" y="14064"/>
                      <a:pt x="9327" y="15538"/>
                    </a:cubicBezTo>
                    <a:cubicBezTo>
                      <a:pt x="5959" y="17015"/>
                      <a:pt x="2030" y="15470"/>
                      <a:pt x="561" y="12102"/>
                    </a:cubicBezTo>
                    <a:cubicBezTo>
                      <a:pt x="-916" y="8735"/>
                      <a:pt x="627" y="4806"/>
                      <a:pt x="3994" y="3332"/>
                    </a:cubicBezTo>
                    <a:cubicBezTo>
                      <a:pt x="9055" y="1121"/>
                      <a:pt x="14438" y="0"/>
                      <a:pt x="19994" y="0"/>
                    </a:cubicBezTo>
                    <a:cubicBezTo>
                      <a:pt x="42027" y="0"/>
                      <a:pt x="59951" y="17922"/>
                      <a:pt x="59951" y="39954"/>
                    </a:cubicBezTo>
                    <a:cubicBezTo>
                      <a:pt x="59948" y="43631"/>
                      <a:pt x="56969" y="46612"/>
                      <a:pt x="53289" y="46612"/>
                    </a:cubicBezTo>
                    <a:close/>
                  </a:path>
                </a:pathLst>
              </a:custGeom>
              <a:solidFill>
                <a:schemeClr val="accent1"/>
              </a:solidFill>
              <a:ln w="254" cap="flat">
                <a:noFill/>
                <a:prstDash val="solid"/>
                <a:miter/>
              </a:ln>
            </p:spPr>
            <p:txBody>
              <a:bodyPr rtlCol="0" anchor="ctr"/>
              <a:lstStyle/>
              <a:p>
                <a:endParaRPr lang="en-GB" dirty="0"/>
              </a:p>
            </p:txBody>
          </p:sp>
          <p:sp>
            <p:nvSpPr>
              <p:cNvPr id="329" name="Freihandform: Form 600">
                <a:extLst>
                  <a:ext uri="{FF2B5EF4-FFF2-40B4-BE49-F238E27FC236}">
                    <a16:creationId xmlns:a16="http://schemas.microsoft.com/office/drawing/2014/main" id="{0B87D66B-DF21-4D42-BA75-72EEBD1C064C}"/>
                  </a:ext>
                </a:extLst>
              </p:cNvPr>
              <p:cNvSpPr/>
              <p:nvPr/>
            </p:nvSpPr>
            <p:spPr>
              <a:xfrm>
                <a:off x="7197231" y="2805422"/>
                <a:ext cx="13318" cy="26633"/>
              </a:xfrm>
              <a:custGeom>
                <a:avLst/>
                <a:gdLst>
                  <a:gd name="connsiteX0" fmla="*/ 6659 w 13318"/>
                  <a:gd name="connsiteY0" fmla="*/ 26634 h 26633"/>
                  <a:gd name="connsiteX1" fmla="*/ 0 w 13318"/>
                  <a:gd name="connsiteY1" fmla="*/ 19976 h 26633"/>
                  <a:gd name="connsiteX2" fmla="*/ 0 w 13318"/>
                  <a:gd name="connsiteY2" fmla="*/ 6658 h 26633"/>
                  <a:gd name="connsiteX3" fmla="*/ 6659 w 13318"/>
                  <a:gd name="connsiteY3" fmla="*/ 0 h 26633"/>
                  <a:gd name="connsiteX4" fmla="*/ 13318 w 13318"/>
                  <a:gd name="connsiteY4" fmla="*/ 6658 h 26633"/>
                  <a:gd name="connsiteX5" fmla="*/ 13318 w 13318"/>
                  <a:gd name="connsiteY5" fmla="*/ 19976 h 26633"/>
                  <a:gd name="connsiteX6" fmla="*/ 6659 w 13318"/>
                  <a:gd name="connsiteY6" fmla="*/ 26634 h 2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8" h="26633">
                    <a:moveTo>
                      <a:pt x="6659" y="26634"/>
                    </a:moveTo>
                    <a:cubicBezTo>
                      <a:pt x="2979" y="26634"/>
                      <a:pt x="0" y="23653"/>
                      <a:pt x="0" y="19976"/>
                    </a:cubicBezTo>
                    <a:lnTo>
                      <a:pt x="0" y="6658"/>
                    </a:lnTo>
                    <a:cubicBezTo>
                      <a:pt x="0" y="2981"/>
                      <a:pt x="2979" y="0"/>
                      <a:pt x="6659" y="0"/>
                    </a:cubicBezTo>
                    <a:cubicBezTo>
                      <a:pt x="10339" y="0"/>
                      <a:pt x="13318" y="2981"/>
                      <a:pt x="13318" y="6658"/>
                    </a:cubicBezTo>
                    <a:lnTo>
                      <a:pt x="13318" y="19976"/>
                    </a:lnTo>
                    <a:cubicBezTo>
                      <a:pt x="13318" y="23650"/>
                      <a:pt x="10339" y="26634"/>
                      <a:pt x="6659" y="26634"/>
                    </a:cubicBezTo>
                    <a:close/>
                  </a:path>
                </a:pathLst>
              </a:custGeom>
              <a:solidFill>
                <a:schemeClr val="accent1"/>
              </a:solidFill>
              <a:ln w="254" cap="flat">
                <a:noFill/>
                <a:prstDash val="solid"/>
                <a:miter/>
              </a:ln>
            </p:spPr>
            <p:txBody>
              <a:bodyPr rtlCol="0" anchor="ctr"/>
              <a:lstStyle/>
              <a:p>
                <a:endParaRPr lang="en-GB" dirty="0"/>
              </a:p>
            </p:txBody>
          </p:sp>
        </p:grpSp>
      </p:grpSp>
      <p:grpSp>
        <p:nvGrpSpPr>
          <p:cNvPr id="22" name="Group 21">
            <a:extLst>
              <a:ext uri="{FF2B5EF4-FFF2-40B4-BE49-F238E27FC236}">
                <a16:creationId xmlns:a16="http://schemas.microsoft.com/office/drawing/2014/main" id="{8430685F-CC9E-91DB-841B-808D49624A82}"/>
              </a:ext>
            </a:extLst>
          </p:cNvPr>
          <p:cNvGrpSpPr/>
          <p:nvPr/>
        </p:nvGrpSpPr>
        <p:grpSpPr>
          <a:xfrm>
            <a:off x="552923" y="1585983"/>
            <a:ext cx="482255" cy="432000"/>
            <a:chOff x="552923" y="1585983"/>
            <a:chExt cx="482255" cy="432000"/>
          </a:xfrm>
        </p:grpSpPr>
        <p:grpSp>
          <p:nvGrpSpPr>
            <p:cNvPr id="51" name="Gruppieren 6">
              <a:extLst>
                <a:ext uri="{FF2B5EF4-FFF2-40B4-BE49-F238E27FC236}">
                  <a16:creationId xmlns:a16="http://schemas.microsoft.com/office/drawing/2014/main" id="{0A8553B6-08B6-499C-A274-0CF3F8813EDD}"/>
                </a:ext>
              </a:extLst>
            </p:cNvPr>
            <p:cNvGrpSpPr/>
            <p:nvPr/>
          </p:nvGrpSpPr>
          <p:grpSpPr>
            <a:xfrm>
              <a:off x="552923" y="1585983"/>
              <a:ext cx="482255" cy="432000"/>
              <a:chOff x="852218" y="1671462"/>
              <a:chExt cx="439639" cy="393825"/>
            </a:xfrm>
            <a:solidFill>
              <a:schemeClr val="tx2"/>
            </a:solidFill>
          </p:grpSpPr>
          <p:sp>
            <p:nvSpPr>
              <p:cNvPr id="62" name="Freihandform: Form 186">
                <a:extLst>
                  <a:ext uri="{FF2B5EF4-FFF2-40B4-BE49-F238E27FC236}">
                    <a16:creationId xmlns:a16="http://schemas.microsoft.com/office/drawing/2014/main" id="{A65A3156-F353-4A00-8420-148FC31FD0D4}"/>
                  </a:ext>
                </a:extLst>
              </p:cNvPr>
              <p:cNvSpPr/>
              <p:nvPr/>
            </p:nvSpPr>
            <p:spPr>
              <a:xfrm>
                <a:off x="852218" y="2010516"/>
                <a:ext cx="439639" cy="54771"/>
              </a:xfrm>
              <a:custGeom>
                <a:avLst/>
                <a:gdLst>
                  <a:gd name="connsiteX0" fmla="*/ 398496 w 439639"/>
                  <a:gd name="connsiteY0" fmla="*/ 54771 h 54771"/>
                  <a:gd name="connsiteX1" fmla="*/ 41141 w 439639"/>
                  <a:gd name="connsiteY1" fmla="*/ 54771 h 54771"/>
                  <a:gd name="connsiteX2" fmla="*/ 0 w 439639"/>
                  <a:gd name="connsiteY2" fmla="*/ 13631 h 54771"/>
                  <a:gd name="connsiteX3" fmla="*/ 0 w 439639"/>
                  <a:gd name="connsiteY3" fmla="*/ 6662 h 54771"/>
                  <a:gd name="connsiteX4" fmla="*/ 6662 w 439639"/>
                  <a:gd name="connsiteY4" fmla="*/ 0 h 54771"/>
                  <a:gd name="connsiteX5" fmla="*/ 432977 w 439639"/>
                  <a:gd name="connsiteY5" fmla="*/ 0 h 54771"/>
                  <a:gd name="connsiteX6" fmla="*/ 439639 w 439639"/>
                  <a:gd name="connsiteY6" fmla="*/ 6662 h 54771"/>
                  <a:gd name="connsiteX7" fmla="*/ 439639 w 439639"/>
                  <a:gd name="connsiteY7" fmla="*/ 13628 h 54771"/>
                  <a:gd name="connsiteX8" fmla="*/ 398496 w 439639"/>
                  <a:gd name="connsiteY8" fmla="*/ 54771 h 54771"/>
                  <a:gd name="connsiteX9" fmla="*/ 13321 w 439639"/>
                  <a:gd name="connsiteY9" fmla="*/ 13324 h 54771"/>
                  <a:gd name="connsiteX10" fmla="*/ 13321 w 439639"/>
                  <a:gd name="connsiteY10" fmla="*/ 13628 h 54771"/>
                  <a:gd name="connsiteX11" fmla="*/ 41141 w 439639"/>
                  <a:gd name="connsiteY11" fmla="*/ 41448 h 54771"/>
                  <a:gd name="connsiteX12" fmla="*/ 398496 w 439639"/>
                  <a:gd name="connsiteY12" fmla="*/ 41448 h 54771"/>
                  <a:gd name="connsiteX13" fmla="*/ 426316 w 439639"/>
                  <a:gd name="connsiteY13" fmla="*/ 13628 h 54771"/>
                  <a:gd name="connsiteX14" fmla="*/ 426316 w 439639"/>
                  <a:gd name="connsiteY14" fmla="*/ 13324 h 54771"/>
                  <a:gd name="connsiteX15" fmla="*/ 13321 w 439639"/>
                  <a:gd name="connsiteY15" fmla="*/ 13324 h 54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39639" h="54771">
                    <a:moveTo>
                      <a:pt x="398496" y="54771"/>
                    </a:moveTo>
                    <a:lnTo>
                      <a:pt x="41141" y="54771"/>
                    </a:lnTo>
                    <a:cubicBezTo>
                      <a:pt x="18454" y="54771"/>
                      <a:pt x="0" y="36317"/>
                      <a:pt x="0" y="13631"/>
                    </a:cubicBezTo>
                    <a:lnTo>
                      <a:pt x="0" y="6662"/>
                    </a:lnTo>
                    <a:cubicBezTo>
                      <a:pt x="0" y="2983"/>
                      <a:pt x="2983" y="0"/>
                      <a:pt x="6662" y="0"/>
                    </a:cubicBezTo>
                    <a:lnTo>
                      <a:pt x="432977" y="0"/>
                    </a:lnTo>
                    <a:cubicBezTo>
                      <a:pt x="436656" y="0"/>
                      <a:pt x="439639" y="2983"/>
                      <a:pt x="439639" y="6662"/>
                    </a:cubicBezTo>
                    <a:lnTo>
                      <a:pt x="439639" y="13628"/>
                    </a:lnTo>
                    <a:cubicBezTo>
                      <a:pt x="439639" y="36315"/>
                      <a:pt x="421183" y="54771"/>
                      <a:pt x="398496" y="54771"/>
                    </a:cubicBezTo>
                    <a:close/>
                    <a:moveTo>
                      <a:pt x="13321" y="13324"/>
                    </a:moveTo>
                    <a:lnTo>
                      <a:pt x="13321" y="13628"/>
                    </a:lnTo>
                    <a:cubicBezTo>
                      <a:pt x="13321" y="28966"/>
                      <a:pt x="25801" y="41448"/>
                      <a:pt x="41141" y="41448"/>
                    </a:cubicBezTo>
                    <a:lnTo>
                      <a:pt x="398496" y="41448"/>
                    </a:lnTo>
                    <a:cubicBezTo>
                      <a:pt x="413834" y="41448"/>
                      <a:pt x="426316" y="28968"/>
                      <a:pt x="426316" y="13628"/>
                    </a:cubicBezTo>
                    <a:lnTo>
                      <a:pt x="426316" y="13324"/>
                    </a:lnTo>
                    <a:lnTo>
                      <a:pt x="13321" y="13324"/>
                    </a:lnTo>
                    <a:close/>
                  </a:path>
                </a:pathLst>
              </a:custGeom>
              <a:grpFill/>
              <a:ln w="234" cap="flat">
                <a:noFill/>
                <a:prstDash val="solid"/>
                <a:miter/>
              </a:ln>
            </p:spPr>
            <p:txBody>
              <a:bodyPr rtlCol="0" anchor="ctr"/>
              <a:lstStyle/>
              <a:p>
                <a:endParaRPr lang="en-GB" dirty="0"/>
              </a:p>
            </p:txBody>
          </p:sp>
          <p:grpSp>
            <p:nvGrpSpPr>
              <p:cNvPr id="63" name="Grafik 337">
                <a:extLst>
                  <a:ext uri="{FF2B5EF4-FFF2-40B4-BE49-F238E27FC236}">
                    <a16:creationId xmlns:a16="http://schemas.microsoft.com/office/drawing/2014/main" id="{D8311821-8792-4E70-AAAA-32ED70629D6E}"/>
                  </a:ext>
                </a:extLst>
              </p:cNvPr>
              <p:cNvGrpSpPr/>
              <p:nvPr/>
            </p:nvGrpSpPr>
            <p:grpSpPr>
              <a:xfrm>
                <a:off x="896257" y="1671462"/>
                <a:ext cx="350824" cy="352377"/>
                <a:chOff x="896257" y="1671462"/>
                <a:chExt cx="350824" cy="352377"/>
              </a:xfrm>
              <a:grpFill/>
            </p:grpSpPr>
            <p:sp>
              <p:nvSpPr>
                <p:cNvPr id="66" name="Freihandform: Form 188">
                  <a:extLst>
                    <a:ext uri="{FF2B5EF4-FFF2-40B4-BE49-F238E27FC236}">
                      <a16:creationId xmlns:a16="http://schemas.microsoft.com/office/drawing/2014/main" id="{3561369D-610D-41D1-92D9-1F12BEFA063C}"/>
                    </a:ext>
                  </a:extLst>
                </p:cNvPr>
                <p:cNvSpPr/>
                <p:nvPr/>
              </p:nvSpPr>
              <p:spPr>
                <a:xfrm>
                  <a:off x="896257" y="1794889"/>
                  <a:ext cx="350824" cy="228950"/>
                </a:xfrm>
                <a:custGeom>
                  <a:avLst/>
                  <a:gdLst>
                    <a:gd name="connsiteX0" fmla="*/ 344161 w 350824"/>
                    <a:gd name="connsiteY0" fmla="*/ 228950 h 228950"/>
                    <a:gd name="connsiteX1" fmla="*/ 6662 w 350824"/>
                    <a:gd name="connsiteY1" fmla="*/ 228950 h 228950"/>
                    <a:gd name="connsiteX2" fmla="*/ 0 w 350824"/>
                    <a:gd name="connsiteY2" fmla="*/ 222289 h 228950"/>
                    <a:gd name="connsiteX3" fmla="*/ 0 w 350824"/>
                    <a:gd name="connsiteY3" fmla="*/ 6662 h 228950"/>
                    <a:gd name="connsiteX4" fmla="*/ 6662 w 350824"/>
                    <a:gd name="connsiteY4" fmla="*/ 0 h 228950"/>
                    <a:gd name="connsiteX5" fmla="*/ 13324 w 350824"/>
                    <a:gd name="connsiteY5" fmla="*/ 6662 h 228950"/>
                    <a:gd name="connsiteX6" fmla="*/ 13324 w 350824"/>
                    <a:gd name="connsiteY6" fmla="*/ 215627 h 228950"/>
                    <a:gd name="connsiteX7" fmla="*/ 337501 w 350824"/>
                    <a:gd name="connsiteY7" fmla="*/ 215627 h 228950"/>
                    <a:gd name="connsiteX8" fmla="*/ 337501 w 350824"/>
                    <a:gd name="connsiteY8" fmla="*/ 6662 h 228950"/>
                    <a:gd name="connsiteX9" fmla="*/ 344163 w 350824"/>
                    <a:gd name="connsiteY9" fmla="*/ 0 h 228950"/>
                    <a:gd name="connsiteX10" fmla="*/ 350825 w 350824"/>
                    <a:gd name="connsiteY10" fmla="*/ 6662 h 228950"/>
                    <a:gd name="connsiteX11" fmla="*/ 350825 w 350824"/>
                    <a:gd name="connsiteY11" fmla="*/ 222289 h 228950"/>
                    <a:gd name="connsiteX12" fmla="*/ 344161 w 350824"/>
                    <a:gd name="connsiteY12" fmla="*/ 228950 h 228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0824" h="228950">
                      <a:moveTo>
                        <a:pt x="344161" y="228950"/>
                      </a:moveTo>
                      <a:lnTo>
                        <a:pt x="6662" y="228950"/>
                      </a:lnTo>
                      <a:cubicBezTo>
                        <a:pt x="2983" y="228950"/>
                        <a:pt x="0" y="225968"/>
                        <a:pt x="0" y="222289"/>
                      </a:cubicBezTo>
                      <a:lnTo>
                        <a:pt x="0" y="6662"/>
                      </a:lnTo>
                      <a:cubicBezTo>
                        <a:pt x="0" y="2983"/>
                        <a:pt x="2983" y="0"/>
                        <a:pt x="6662" y="0"/>
                      </a:cubicBezTo>
                      <a:cubicBezTo>
                        <a:pt x="10341" y="0"/>
                        <a:pt x="13324" y="2983"/>
                        <a:pt x="13324" y="6662"/>
                      </a:cubicBezTo>
                      <a:lnTo>
                        <a:pt x="13324" y="215627"/>
                      </a:lnTo>
                      <a:lnTo>
                        <a:pt x="337501" y="215627"/>
                      </a:lnTo>
                      <a:lnTo>
                        <a:pt x="337501" y="6662"/>
                      </a:lnTo>
                      <a:cubicBezTo>
                        <a:pt x="337501" y="2983"/>
                        <a:pt x="340484" y="0"/>
                        <a:pt x="344163" y="0"/>
                      </a:cubicBezTo>
                      <a:cubicBezTo>
                        <a:pt x="347842" y="0"/>
                        <a:pt x="350825" y="2983"/>
                        <a:pt x="350825" y="6662"/>
                      </a:cubicBezTo>
                      <a:lnTo>
                        <a:pt x="350825" y="222289"/>
                      </a:lnTo>
                      <a:cubicBezTo>
                        <a:pt x="350823" y="225968"/>
                        <a:pt x="347840" y="228950"/>
                        <a:pt x="344161" y="228950"/>
                      </a:cubicBezTo>
                      <a:close/>
                    </a:path>
                  </a:pathLst>
                </a:custGeom>
                <a:grpFill/>
                <a:ln w="234" cap="flat">
                  <a:noFill/>
                  <a:prstDash val="solid"/>
                  <a:miter/>
                </a:ln>
              </p:spPr>
              <p:txBody>
                <a:bodyPr rtlCol="0" anchor="ctr"/>
                <a:lstStyle/>
                <a:p>
                  <a:endParaRPr lang="en-GB" dirty="0"/>
                </a:p>
              </p:txBody>
            </p:sp>
            <p:sp>
              <p:nvSpPr>
                <p:cNvPr id="67" name="Freihandform: Form 189">
                  <a:extLst>
                    <a:ext uri="{FF2B5EF4-FFF2-40B4-BE49-F238E27FC236}">
                      <a16:creationId xmlns:a16="http://schemas.microsoft.com/office/drawing/2014/main" id="{D18FFBC8-4261-4BF2-BA4F-BE7DEC868E9E}"/>
                    </a:ext>
                  </a:extLst>
                </p:cNvPr>
                <p:cNvSpPr/>
                <p:nvPr/>
              </p:nvSpPr>
              <p:spPr>
                <a:xfrm>
                  <a:off x="1191584" y="1764434"/>
                  <a:ext cx="55497" cy="43778"/>
                </a:xfrm>
                <a:custGeom>
                  <a:avLst/>
                  <a:gdLst>
                    <a:gd name="connsiteX0" fmla="*/ 48827 w 55497"/>
                    <a:gd name="connsiteY0" fmla="*/ 43779 h 43778"/>
                    <a:gd name="connsiteX1" fmla="*/ 44934 w 55497"/>
                    <a:gd name="connsiteY1" fmla="*/ 42517 h 43778"/>
                    <a:gd name="connsiteX2" fmla="*/ 2762 w 55497"/>
                    <a:gd name="connsiteY2" fmla="*/ 12060 h 43778"/>
                    <a:gd name="connsiteX3" fmla="*/ 1264 w 55497"/>
                    <a:gd name="connsiteY3" fmla="*/ 2760 h 43778"/>
                    <a:gd name="connsiteX4" fmla="*/ 10563 w 55497"/>
                    <a:gd name="connsiteY4" fmla="*/ 1262 h 43778"/>
                    <a:gd name="connsiteX5" fmla="*/ 52736 w 55497"/>
                    <a:gd name="connsiteY5" fmla="*/ 31719 h 43778"/>
                    <a:gd name="connsiteX6" fmla="*/ 54234 w 55497"/>
                    <a:gd name="connsiteY6" fmla="*/ 41019 h 43778"/>
                    <a:gd name="connsiteX7" fmla="*/ 48827 w 55497"/>
                    <a:gd name="connsiteY7" fmla="*/ 43779 h 4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97" h="43778">
                      <a:moveTo>
                        <a:pt x="48827" y="43779"/>
                      </a:moveTo>
                      <a:cubicBezTo>
                        <a:pt x="47476" y="43779"/>
                        <a:pt x="46114" y="43368"/>
                        <a:pt x="44934" y="42517"/>
                      </a:cubicBezTo>
                      <a:lnTo>
                        <a:pt x="2762" y="12060"/>
                      </a:lnTo>
                      <a:cubicBezTo>
                        <a:pt x="-221" y="9907"/>
                        <a:pt x="-894" y="5743"/>
                        <a:pt x="1264" y="2760"/>
                      </a:cubicBezTo>
                      <a:cubicBezTo>
                        <a:pt x="3414" y="-216"/>
                        <a:pt x="7576" y="-896"/>
                        <a:pt x="10563" y="1262"/>
                      </a:cubicBezTo>
                      <a:lnTo>
                        <a:pt x="52736" y="31719"/>
                      </a:lnTo>
                      <a:cubicBezTo>
                        <a:pt x="55719" y="33872"/>
                        <a:pt x="56392" y="38036"/>
                        <a:pt x="54234" y="41019"/>
                      </a:cubicBezTo>
                      <a:cubicBezTo>
                        <a:pt x="52933" y="42820"/>
                        <a:pt x="50895" y="43779"/>
                        <a:pt x="48827" y="43779"/>
                      </a:cubicBezTo>
                      <a:close/>
                    </a:path>
                  </a:pathLst>
                </a:custGeom>
                <a:grpFill/>
                <a:ln w="234" cap="flat">
                  <a:noFill/>
                  <a:prstDash val="solid"/>
                  <a:miter/>
                </a:ln>
              </p:spPr>
              <p:txBody>
                <a:bodyPr rtlCol="0" anchor="ctr"/>
                <a:lstStyle/>
                <a:p>
                  <a:endParaRPr lang="en-GB" dirty="0"/>
                </a:p>
              </p:txBody>
            </p:sp>
            <p:sp>
              <p:nvSpPr>
                <p:cNvPr id="68" name="Freihandform: Form 190">
                  <a:extLst>
                    <a:ext uri="{FF2B5EF4-FFF2-40B4-BE49-F238E27FC236}">
                      <a16:creationId xmlns:a16="http://schemas.microsoft.com/office/drawing/2014/main" id="{6436BED2-77E2-4FF1-831A-443F657970B1}"/>
                    </a:ext>
                  </a:extLst>
                </p:cNvPr>
                <p:cNvSpPr/>
                <p:nvPr/>
              </p:nvSpPr>
              <p:spPr>
                <a:xfrm>
                  <a:off x="1006593" y="1671462"/>
                  <a:ext cx="130135" cy="57064"/>
                </a:xfrm>
                <a:custGeom>
                  <a:avLst/>
                  <a:gdLst>
                    <a:gd name="connsiteX0" fmla="*/ 6669 w 130135"/>
                    <a:gd name="connsiteY0" fmla="*/ 57065 h 57064"/>
                    <a:gd name="connsiteX1" fmla="*/ 1264 w 130135"/>
                    <a:gd name="connsiteY1" fmla="*/ 54302 h 57064"/>
                    <a:gd name="connsiteX2" fmla="*/ 2762 w 130135"/>
                    <a:gd name="connsiteY2" fmla="*/ 45003 h 57064"/>
                    <a:gd name="connsiteX3" fmla="*/ 65075 w 130135"/>
                    <a:gd name="connsiteY3" fmla="*/ 0 h 57064"/>
                    <a:gd name="connsiteX4" fmla="*/ 127373 w 130135"/>
                    <a:gd name="connsiteY4" fmla="*/ 44993 h 57064"/>
                    <a:gd name="connsiteX5" fmla="*/ 128871 w 130135"/>
                    <a:gd name="connsiteY5" fmla="*/ 54293 h 57064"/>
                    <a:gd name="connsiteX6" fmla="*/ 119572 w 130135"/>
                    <a:gd name="connsiteY6" fmla="*/ 55791 h 57064"/>
                    <a:gd name="connsiteX7" fmla="*/ 65072 w 130135"/>
                    <a:gd name="connsiteY7" fmla="*/ 16433 h 57064"/>
                    <a:gd name="connsiteX8" fmla="*/ 10559 w 130135"/>
                    <a:gd name="connsiteY8" fmla="*/ 55801 h 57064"/>
                    <a:gd name="connsiteX9" fmla="*/ 6669 w 130135"/>
                    <a:gd name="connsiteY9" fmla="*/ 57065 h 5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135" h="57064">
                      <a:moveTo>
                        <a:pt x="6669" y="57065"/>
                      </a:moveTo>
                      <a:cubicBezTo>
                        <a:pt x="4600" y="57065"/>
                        <a:pt x="2563" y="56106"/>
                        <a:pt x="1264" y="54302"/>
                      </a:cubicBezTo>
                      <a:cubicBezTo>
                        <a:pt x="-894" y="51320"/>
                        <a:pt x="-221" y="47158"/>
                        <a:pt x="2762" y="45003"/>
                      </a:cubicBezTo>
                      <a:lnTo>
                        <a:pt x="65075" y="0"/>
                      </a:lnTo>
                      <a:lnTo>
                        <a:pt x="127373" y="44993"/>
                      </a:lnTo>
                      <a:cubicBezTo>
                        <a:pt x="130356" y="47146"/>
                        <a:pt x="131029" y="51310"/>
                        <a:pt x="128871" y="54293"/>
                      </a:cubicBezTo>
                      <a:cubicBezTo>
                        <a:pt x="126721" y="57273"/>
                        <a:pt x="122568" y="57958"/>
                        <a:pt x="119572" y="55791"/>
                      </a:cubicBezTo>
                      <a:lnTo>
                        <a:pt x="65072" y="16433"/>
                      </a:lnTo>
                      <a:lnTo>
                        <a:pt x="10559" y="55801"/>
                      </a:lnTo>
                      <a:cubicBezTo>
                        <a:pt x="9384" y="56654"/>
                        <a:pt x="8017" y="57065"/>
                        <a:pt x="6669" y="57065"/>
                      </a:cubicBezTo>
                      <a:close/>
                    </a:path>
                  </a:pathLst>
                </a:custGeom>
                <a:grpFill/>
                <a:ln w="234" cap="flat">
                  <a:noFill/>
                  <a:prstDash val="solid"/>
                  <a:miter/>
                </a:ln>
              </p:spPr>
              <p:txBody>
                <a:bodyPr rtlCol="0" anchor="ctr"/>
                <a:lstStyle/>
                <a:p>
                  <a:endParaRPr lang="en-GB" dirty="0"/>
                </a:p>
              </p:txBody>
            </p:sp>
            <p:sp>
              <p:nvSpPr>
                <p:cNvPr id="69" name="Freihandform: Form 191">
                  <a:extLst>
                    <a:ext uri="{FF2B5EF4-FFF2-40B4-BE49-F238E27FC236}">
                      <a16:creationId xmlns:a16="http://schemas.microsoft.com/office/drawing/2014/main" id="{DE853318-EF94-4D43-BBC0-96BEC8BDCD3F}"/>
                    </a:ext>
                  </a:extLst>
                </p:cNvPr>
                <p:cNvSpPr/>
                <p:nvPr/>
              </p:nvSpPr>
              <p:spPr>
                <a:xfrm>
                  <a:off x="896257" y="1764422"/>
                  <a:ext cx="55511" cy="43790"/>
                </a:xfrm>
                <a:custGeom>
                  <a:avLst/>
                  <a:gdLst>
                    <a:gd name="connsiteX0" fmla="*/ 6669 w 55511"/>
                    <a:gd name="connsiteY0" fmla="*/ 43791 h 43790"/>
                    <a:gd name="connsiteX1" fmla="*/ 1264 w 55511"/>
                    <a:gd name="connsiteY1" fmla="*/ 41028 h 43790"/>
                    <a:gd name="connsiteX2" fmla="*/ 2762 w 55511"/>
                    <a:gd name="connsiteY2" fmla="*/ 31729 h 43790"/>
                    <a:gd name="connsiteX3" fmla="*/ 44949 w 55511"/>
                    <a:gd name="connsiteY3" fmla="*/ 1262 h 43790"/>
                    <a:gd name="connsiteX4" fmla="*/ 54248 w 55511"/>
                    <a:gd name="connsiteY4" fmla="*/ 2760 h 43790"/>
                    <a:gd name="connsiteX5" fmla="*/ 52750 w 55511"/>
                    <a:gd name="connsiteY5" fmla="*/ 12060 h 43790"/>
                    <a:gd name="connsiteX6" fmla="*/ 10561 w 55511"/>
                    <a:gd name="connsiteY6" fmla="*/ 42529 h 43790"/>
                    <a:gd name="connsiteX7" fmla="*/ 6669 w 55511"/>
                    <a:gd name="connsiteY7" fmla="*/ 43791 h 4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11" h="43790">
                      <a:moveTo>
                        <a:pt x="6669" y="43791"/>
                      </a:moveTo>
                      <a:cubicBezTo>
                        <a:pt x="4600" y="43791"/>
                        <a:pt x="2563" y="42831"/>
                        <a:pt x="1264" y="41028"/>
                      </a:cubicBezTo>
                      <a:cubicBezTo>
                        <a:pt x="-894" y="38046"/>
                        <a:pt x="-221" y="33883"/>
                        <a:pt x="2762" y="31729"/>
                      </a:cubicBezTo>
                      <a:lnTo>
                        <a:pt x="44949" y="1262"/>
                      </a:lnTo>
                      <a:cubicBezTo>
                        <a:pt x="47931" y="-896"/>
                        <a:pt x="52098" y="-216"/>
                        <a:pt x="54248" y="2760"/>
                      </a:cubicBezTo>
                      <a:cubicBezTo>
                        <a:pt x="56406" y="5743"/>
                        <a:pt x="55733" y="9905"/>
                        <a:pt x="52750" y="12060"/>
                      </a:cubicBezTo>
                      <a:lnTo>
                        <a:pt x="10561" y="42529"/>
                      </a:lnTo>
                      <a:cubicBezTo>
                        <a:pt x="9384" y="43380"/>
                        <a:pt x="8017" y="43791"/>
                        <a:pt x="6669" y="43791"/>
                      </a:cubicBezTo>
                      <a:close/>
                    </a:path>
                  </a:pathLst>
                </a:custGeom>
                <a:grpFill/>
                <a:ln w="234" cap="flat">
                  <a:noFill/>
                  <a:prstDash val="solid"/>
                  <a:miter/>
                </a:ln>
              </p:spPr>
              <p:txBody>
                <a:bodyPr rtlCol="0" anchor="ctr"/>
                <a:lstStyle/>
                <a:p>
                  <a:endParaRPr lang="en-GB" dirty="0"/>
                </a:p>
              </p:txBody>
            </p:sp>
            <p:sp>
              <p:nvSpPr>
                <p:cNvPr id="70" name="Freihandform: Form 192">
                  <a:extLst>
                    <a:ext uri="{FF2B5EF4-FFF2-40B4-BE49-F238E27FC236}">
                      <a16:creationId xmlns:a16="http://schemas.microsoft.com/office/drawing/2014/main" id="{053E4C31-65B9-43EE-B12B-9641C1880D24}"/>
                    </a:ext>
                  </a:extLst>
                </p:cNvPr>
                <p:cNvSpPr/>
                <p:nvPr/>
              </p:nvSpPr>
              <p:spPr>
                <a:xfrm>
                  <a:off x="896257" y="1794891"/>
                  <a:ext cx="67993" cy="52806"/>
                </a:xfrm>
                <a:custGeom>
                  <a:avLst/>
                  <a:gdLst>
                    <a:gd name="connsiteX0" fmla="*/ 61327 w 67993"/>
                    <a:gd name="connsiteY0" fmla="*/ 52807 h 52806"/>
                    <a:gd name="connsiteX1" fmla="*/ 57435 w 67993"/>
                    <a:gd name="connsiteY1" fmla="*/ 51545 h 52806"/>
                    <a:gd name="connsiteX2" fmla="*/ 2762 w 67993"/>
                    <a:gd name="connsiteY2" fmla="*/ 12060 h 52806"/>
                    <a:gd name="connsiteX3" fmla="*/ 1264 w 67993"/>
                    <a:gd name="connsiteY3" fmla="*/ 2760 h 52806"/>
                    <a:gd name="connsiteX4" fmla="*/ 10563 w 67993"/>
                    <a:gd name="connsiteY4" fmla="*/ 1262 h 52806"/>
                    <a:gd name="connsiteX5" fmla="*/ 65232 w 67993"/>
                    <a:gd name="connsiteY5" fmla="*/ 40747 h 52806"/>
                    <a:gd name="connsiteX6" fmla="*/ 66730 w 67993"/>
                    <a:gd name="connsiteY6" fmla="*/ 50047 h 52806"/>
                    <a:gd name="connsiteX7" fmla="*/ 61327 w 67993"/>
                    <a:gd name="connsiteY7" fmla="*/ 52807 h 52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993" h="52806">
                      <a:moveTo>
                        <a:pt x="61327" y="52807"/>
                      </a:moveTo>
                      <a:cubicBezTo>
                        <a:pt x="59977" y="52807"/>
                        <a:pt x="58614" y="52397"/>
                        <a:pt x="57435" y="51545"/>
                      </a:cubicBezTo>
                      <a:lnTo>
                        <a:pt x="2762" y="12060"/>
                      </a:lnTo>
                      <a:cubicBezTo>
                        <a:pt x="-221" y="9908"/>
                        <a:pt x="-894" y="5743"/>
                        <a:pt x="1264" y="2760"/>
                      </a:cubicBezTo>
                      <a:cubicBezTo>
                        <a:pt x="3414" y="-220"/>
                        <a:pt x="7576" y="-893"/>
                        <a:pt x="10563" y="1262"/>
                      </a:cubicBezTo>
                      <a:lnTo>
                        <a:pt x="65232" y="40747"/>
                      </a:lnTo>
                      <a:cubicBezTo>
                        <a:pt x="68214" y="42900"/>
                        <a:pt x="68887" y="47064"/>
                        <a:pt x="66730" y="50047"/>
                      </a:cubicBezTo>
                      <a:cubicBezTo>
                        <a:pt x="65431" y="51848"/>
                        <a:pt x="63396" y="52807"/>
                        <a:pt x="61327" y="52807"/>
                      </a:cubicBezTo>
                      <a:close/>
                    </a:path>
                  </a:pathLst>
                </a:custGeom>
                <a:grpFill/>
                <a:ln w="234" cap="flat">
                  <a:noFill/>
                  <a:prstDash val="solid"/>
                  <a:miter/>
                </a:ln>
              </p:spPr>
              <p:txBody>
                <a:bodyPr rtlCol="0" anchor="ctr"/>
                <a:lstStyle/>
                <a:p>
                  <a:endParaRPr lang="en-GB" dirty="0"/>
                </a:p>
              </p:txBody>
            </p:sp>
            <p:sp>
              <p:nvSpPr>
                <p:cNvPr id="71" name="Freihandform: Form 193">
                  <a:extLst>
                    <a:ext uri="{FF2B5EF4-FFF2-40B4-BE49-F238E27FC236}">
                      <a16:creationId xmlns:a16="http://schemas.microsoft.com/office/drawing/2014/main" id="{1706206C-3CC2-4104-8F00-B1DF2ACF7490}"/>
                    </a:ext>
                  </a:extLst>
                </p:cNvPr>
                <p:cNvSpPr/>
                <p:nvPr/>
              </p:nvSpPr>
              <p:spPr>
                <a:xfrm>
                  <a:off x="1220249" y="1794893"/>
                  <a:ext cx="26832" cy="23929"/>
                </a:xfrm>
                <a:custGeom>
                  <a:avLst/>
                  <a:gdLst>
                    <a:gd name="connsiteX0" fmla="*/ 6665 w 26832"/>
                    <a:gd name="connsiteY0" fmla="*/ 23930 h 23929"/>
                    <a:gd name="connsiteX1" fmla="*/ 1422 w 26832"/>
                    <a:gd name="connsiteY1" fmla="*/ 21383 h 23929"/>
                    <a:gd name="connsiteX2" fmla="*/ 2548 w 26832"/>
                    <a:gd name="connsiteY2" fmla="*/ 12030 h 23929"/>
                    <a:gd name="connsiteX3" fmla="*/ 16056 w 26832"/>
                    <a:gd name="connsiteY3" fmla="*/ 1419 h 23929"/>
                    <a:gd name="connsiteX4" fmla="*/ 25410 w 26832"/>
                    <a:gd name="connsiteY4" fmla="*/ 2545 h 23929"/>
                    <a:gd name="connsiteX5" fmla="*/ 24285 w 26832"/>
                    <a:gd name="connsiteY5" fmla="*/ 11898 h 23929"/>
                    <a:gd name="connsiteX6" fmla="*/ 10776 w 26832"/>
                    <a:gd name="connsiteY6" fmla="*/ 22509 h 23929"/>
                    <a:gd name="connsiteX7" fmla="*/ 6665 w 26832"/>
                    <a:gd name="connsiteY7" fmla="*/ 23930 h 23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32" h="23929">
                      <a:moveTo>
                        <a:pt x="6665" y="23930"/>
                      </a:moveTo>
                      <a:cubicBezTo>
                        <a:pt x="4691" y="23930"/>
                        <a:pt x="2735" y="23055"/>
                        <a:pt x="1422" y="21383"/>
                      </a:cubicBezTo>
                      <a:cubicBezTo>
                        <a:pt x="-848" y="18492"/>
                        <a:pt x="-348" y="14302"/>
                        <a:pt x="2548" y="12030"/>
                      </a:cubicBezTo>
                      <a:lnTo>
                        <a:pt x="16056" y="1419"/>
                      </a:lnTo>
                      <a:cubicBezTo>
                        <a:pt x="18945" y="-844"/>
                        <a:pt x="23140" y="-351"/>
                        <a:pt x="25410" y="2545"/>
                      </a:cubicBezTo>
                      <a:cubicBezTo>
                        <a:pt x="27680" y="5436"/>
                        <a:pt x="27180" y="9626"/>
                        <a:pt x="24285" y="11898"/>
                      </a:cubicBezTo>
                      <a:lnTo>
                        <a:pt x="10776" y="22509"/>
                      </a:lnTo>
                      <a:cubicBezTo>
                        <a:pt x="9556" y="23466"/>
                        <a:pt x="8105" y="23930"/>
                        <a:pt x="6665" y="23930"/>
                      </a:cubicBezTo>
                      <a:close/>
                    </a:path>
                  </a:pathLst>
                </a:custGeom>
                <a:grpFill/>
                <a:ln w="234" cap="flat">
                  <a:noFill/>
                  <a:prstDash val="solid"/>
                  <a:miter/>
                </a:ln>
              </p:spPr>
              <p:txBody>
                <a:bodyPr rtlCol="0" anchor="ctr"/>
                <a:lstStyle/>
                <a:p>
                  <a:endParaRPr lang="en-GB" dirty="0"/>
                </a:p>
              </p:txBody>
            </p:sp>
            <p:sp>
              <p:nvSpPr>
                <p:cNvPr id="72" name="Freihandform: Form 194">
                  <a:extLst>
                    <a:ext uri="{FF2B5EF4-FFF2-40B4-BE49-F238E27FC236}">
                      <a16:creationId xmlns:a16="http://schemas.microsoft.com/office/drawing/2014/main" id="{5E262A2E-7DE8-4B7A-9E06-7A87712037A2}"/>
                    </a:ext>
                  </a:extLst>
                </p:cNvPr>
                <p:cNvSpPr/>
                <p:nvPr/>
              </p:nvSpPr>
              <p:spPr>
                <a:xfrm>
                  <a:off x="896258" y="1948296"/>
                  <a:ext cx="100427" cy="75543"/>
                </a:xfrm>
                <a:custGeom>
                  <a:avLst/>
                  <a:gdLst>
                    <a:gd name="connsiteX0" fmla="*/ 6668 w 100427"/>
                    <a:gd name="connsiteY0" fmla="*/ 75544 h 75543"/>
                    <a:gd name="connsiteX1" fmla="*/ 1240 w 100427"/>
                    <a:gd name="connsiteY1" fmla="*/ 72753 h 75543"/>
                    <a:gd name="connsiteX2" fmla="*/ 2792 w 100427"/>
                    <a:gd name="connsiteY2" fmla="*/ 63461 h 75543"/>
                    <a:gd name="connsiteX3" fmla="*/ 89895 w 100427"/>
                    <a:gd name="connsiteY3" fmla="*/ 1242 h 75543"/>
                    <a:gd name="connsiteX4" fmla="*/ 99187 w 100427"/>
                    <a:gd name="connsiteY4" fmla="*/ 2794 h 75543"/>
                    <a:gd name="connsiteX5" fmla="*/ 97635 w 100427"/>
                    <a:gd name="connsiteY5" fmla="*/ 12087 h 75543"/>
                    <a:gd name="connsiteX6" fmla="*/ 10530 w 100427"/>
                    <a:gd name="connsiteY6" fmla="*/ 74306 h 75543"/>
                    <a:gd name="connsiteX7" fmla="*/ 6668 w 100427"/>
                    <a:gd name="connsiteY7" fmla="*/ 75544 h 7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427" h="75543">
                      <a:moveTo>
                        <a:pt x="6668" y="75544"/>
                      </a:moveTo>
                      <a:cubicBezTo>
                        <a:pt x="4591" y="75544"/>
                        <a:pt x="2541" y="74575"/>
                        <a:pt x="1240" y="72753"/>
                      </a:cubicBezTo>
                      <a:cubicBezTo>
                        <a:pt x="-896" y="69761"/>
                        <a:pt x="-204" y="65602"/>
                        <a:pt x="2792" y="63461"/>
                      </a:cubicBezTo>
                      <a:lnTo>
                        <a:pt x="89895" y="1242"/>
                      </a:lnTo>
                      <a:cubicBezTo>
                        <a:pt x="92880" y="-894"/>
                        <a:pt x="97040" y="-210"/>
                        <a:pt x="99187" y="2794"/>
                      </a:cubicBezTo>
                      <a:cubicBezTo>
                        <a:pt x="101324" y="5786"/>
                        <a:pt x="100632" y="9946"/>
                        <a:pt x="97635" y="12087"/>
                      </a:cubicBezTo>
                      <a:lnTo>
                        <a:pt x="10530" y="74306"/>
                      </a:lnTo>
                      <a:cubicBezTo>
                        <a:pt x="9360" y="75140"/>
                        <a:pt x="8007" y="75544"/>
                        <a:pt x="6668" y="75544"/>
                      </a:cubicBezTo>
                      <a:close/>
                    </a:path>
                  </a:pathLst>
                </a:custGeom>
                <a:grpFill/>
                <a:ln w="234" cap="flat">
                  <a:noFill/>
                  <a:prstDash val="solid"/>
                  <a:miter/>
                </a:ln>
              </p:spPr>
              <p:txBody>
                <a:bodyPr rtlCol="0" anchor="ctr"/>
                <a:lstStyle/>
                <a:p>
                  <a:endParaRPr lang="en-GB" dirty="0"/>
                </a:p>
              </p:txBody>
            </p:sp>
            <p:sp>
              <p:nvSpPr>
                <p:cNvPr id="73" name="Freihandform: Form 195">
                  <a:extLst>
                    <a:ext uri="{FF2B5EF4-FFF2-40B4-BE49-F238E27FC236}">
                      <a16:creationId xmlns:a16="http://schemas.microsoft.com/office/drawing/2014/main" id="{DE5EB4AD-A5F7-40BB-87A8-04182636991B}"/>
                    </a:ext>
                  </a:extLst>
                </p:cNvPr>
                <p:cNvSpPr/>
                <p:nvPr/>
              </p:nvSpPr>
              <p:spPr>
                <a:xfrm>
                  <a:off x="1177366" y="1969537"/>
                  <a:ext cx="69713" cy="54302"/>
                </a:xfrm>
                <a:custGeom>
                  <a:avLst/>
                  <a:gdLst>
                    <a:gd name="connsiteX0" fmla="*/ 63045 w 69713"/>
                    <a:gd name="connsiteY0" fmla="*/ 54302 h 54302"/>
                    <a:gd name="connsiteX1" fmla="*/ 59136 w 69713"/>
                    <a:gd name="connsiteY1" fmla="*/ 53032 h 54302"/>
                    <a:gd name="connsiteX2" fmla="*/ 2746 w 69713"/>
                    <a:gd name="connsiteY2" fmla="*/ 12046 h 54302"/>
                    <a:gd name="connsiteX3" fmla="*/ 1274 w 69713"/>
                    <a:gd name="connsiteY3" fmla="*/ 2741 h 54302"/>
                    <a:gd name="connsiteX4" fmla="*/ 10578 w 69713"/>
                    <a:gd name="connsiteY4" fmla="*/ 1269 h 54302"/>
                    <a:gd name="connsiteX5" fmla="*/ 66967 w 69713"/>
                    <a:gd name="connsiteY5" fmla="*/ 42255 h 54302"/>
                    <a:gd name="connsiteX6" fmla="*/ 68440 w 69713"/>
                    <a:gd name="connsiteY6" fmla="*/ 51559 h 54302"/>
                    <a:gd name="connsiteX7" fmla="*/ 63045 w 69713"/>
                    <a:gd name="connsiteY7" fmla="*/ 54302 h 54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713" h="54302">
                      <a:moveTo>
                        <a:pt x="63045" y="54302"/>
                      </a:moveTo>
                      <a:cubicBezTo>
                        <a:pt x="61689" y="54302"/>
                        <a:pt x="60315" y="53890"/>
                        <a:pt x="59136" y="53032"/>
                      </a:cubicBezTo>
                      <a:lnTo>
                        <a:pt x="2746" y="12046"/>
                      </a:lnTo>
                      <a:cubicBezTo>
                        <a:pt x="-229" y="9884"/>
                        <a:pt x="-891" y="5717"/>
                        <a:pt x="1274" y="2741"/>
                      </a:cubicBezTo>
                      <a:cubicBezTo>
                        <a:pt x="3440" y="-227"/>
                        <a:pt x="7602" y="-889"/>
                        <a:pt x="10578" y="1269"/>
                      </a:cubicBezTo>
                      <a:lnTo>
                        <a:pt x="66967" y="42255"/>
                      </a:lnTo>
                      <a:cubicBezTo>
                        <a:pt x="69943" y="44417"/>
                        <a:pt x="70604" y="48583"/>
                        <a:pt x="68440" y="51559"/>
                      </a:cubicBezTo>
                      <a:cubicBezTo>
                        <a:pt x="67136" y="53350"/>
                        <a:pt x="65103" y="54302"/>
                        <a:pt x="63045" y="54302"/>
                      </a:cubicBezTo>
                      <a:close/>
                    </a:path>
                  </a:pathLst>
                </a:custGeom>
                <a:grpFill/>
                <a:ln w="234" cap="flat">
                  <a:noFill/>
                  <a:prstDash val="solid"/>
                  <a:miter/>
                </a:ln>
              </p:spPr>
              <p:txBody>
                <a:bodyPr rtlCol="0" anchor="ctr"/>
                <a:lstStyle/>
                <a:p>
                  <a:endParaRPr lang="en-GB" dirty="0"/>
                </a:p>
              </p:txBody>
            </p:sp>
          </p:grpSp>
          <p:sp>
            <p:nvSpPr>
              <p:cNvPr id="64" name="Freihandform: Form 196">
                <a:extLst>
                  <a:ext uri="{FF2B5EF4-FFF2-40B4-BE49-F238E27FC236}">
                    <a16:creationId xmlns:a16="http://schemas.microsoft.com/office/drawing/2014/main" id="{14E3CBB6-EA89-49DB-A62A-DC0EE5A88E3C}"/>
                  </a:ext>
                </a:extLst>
              </p:cNvPr>
              <p:cNvSpPr/>
              <p:nvPr/>
            </p:nvSpPr>
            <p:spPr>
              <a:xfrm>
                <a:off x="938441" y="1715204"/>
                <a:ext cx="266447" cy="121133"/>
              </a:xfrm>
              <a:custGeom>
                <a:avLst/>
                <a:gdLst>
                  <a:gd name="connsiteX0" fmla="*/ 6662 w 266447"/>
                  <a:gd name="connsiteY0" fmla="*/ 121133 h 121133"/>
                  <a:gd name="connsiteX1" fmla="*/ 0 w 266447"/>
                  <a:gd name="connsiteY1" fmla="*/ 114472 h 121133"/>
                  <a:gd name="connsiteX2" fmla="*/ 0 w 266447"/>
                  <a:gd name="connsiteY2" fmla="*/ 0 h 121133"/>
                  <a:gd name="connsiteX3" fmla="*/ 266447 w 266447"/>
                  <a:gd name="connsiteY3" fmla="*/ 0 h 121133"/>
                  <a:gd name="connsiteX4" fmla="*/ 266447 w 266447"/>
                  <a:gd name="connsiteY4" fmla="*/ 87827 h 121133"/>
                  <a:gd name="connsiteX5" fmla="*/ 259785 w 266447"/>
                  <a:gd name="connsiteY5" fmla="*/ 94489 h 121133"/>
                  <a:gd name="connsiteX6" fmla="*/ 253124 w 266447"/>
                  <a:gd name="connsiteY6" fmla="*/ 87827 h 121133"/>
                  <a:gd name="connsiteX7" fmla="*/ 253124 w 266447"/>
                  <a:gd name="connsiteY7" fmla="*/ 13324 h 121133"/>
                  <a:gd name="connsiteX8" fmla="*/ 13324 w 266447"/>
                  <a:gd name="connsiteY8" fmla="*/ 13324 h 121133"/>
                  <a:gd name="connsiteX9" fmla="*/ 13324 w 266447"/>
                  <a:gd name="connsiteY9" fmla="*/ 114474 h 121133"/>
                  <a:gd name="connsiteX10" fmla="*/ 6662 w 266447"/>
                  <a:gd name="connsiteY10" fmla="*/ 121133 h 121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6447" h="121133">
                    <a:moveTo>
                      <a:pt x="6662" y="121133"/>
                    </a:moveTo>
                    <a:cubicBezTo>
                      <a:pt x="2983" y="121133"/>
                      <a:pt x="0" y="118151"/>
                      <a:pt x="0" y="114472"/>
                    </a:cubicBezTo>
                    <a:lnTo>
                      <a:pt x="0" y="0"/>
                    </a:lnTo>
                    <a:lnTo>
                      <a:pt x="266447" y="0"/>
                    </a:lnTo>
                    <a:lnTo>
                      <a:pt x="266447" y="87827"/>
                    </a:lnTo>
                    <a:cubicBezTo>
                      <a:pt x="266447" y="91506"/>
                      <a:pt x="263465" y="94489"/>
                      <a:pt x="259785" y="94489"/>
                    </a:cubicBezTo>
                    <a:cubicBezTo>
                      <a:pt x="256106" y="94489"/>
                      <a:pt x="253124" y="91506"/>
                      <a:pt x="253124" y="87827"/>
                    </a:cubicBezTo>
                    <a:lnTo>
                      <a:pt x="253124" y="13324"/>
                    </a:lnTo>
                    <a:lnTo>
                      <a:pt x="13324" y="13324"/>
                    </a:lnTo>
                    <a:lnTo>
                      <a:pt x="13324" y="114474"/>
                    </a:lnTo>
                    <a:cubicBezTo>
                      <a:pt x="13324" y="118151"/>
                      <a:pt x="10341" y="121133"/>
                      <a:pt x="6662" y="121133"/>
                    </a:cubicBezTo>
                    <a:close/>
                  </a:path>
                </a:pathLst>
              </a:custGeom>
              <a:grpFill/>
              <a:ln w="234" cap="flat">
                <a:noFill/>
                <a:prstDash val="solid"/>
                <a:miter/>
              </a:ln>
            </p:spPr>
            <p:txBody>
              <a:bodyPr rtlCol="0" anchor="ctr"/>
              <a:lstStyle/>
              <a:p>
                <a:endParaRPr lang="en-GB" dirty="0"/>
              </a:p>
            </p:txBody>
          </p:sp>
          <p:sp>
            <p:nvSpPr>
              <p:cNvPr id="65" name="Freihandform: Form 197">
                <a:extLst>
                  <a:ext uri="{FF2B5EF4-FFF2-40B4-BE49-F238E27FC236}">
                    <a16:creationId xmlns:a16="http://schemas.microsoft.com/office/drawing/2014/main" id="{7C4E55B2-3671-451C-ABEA-297FD078605C}"/>
                  </a:ext>
                </a:extLst>
              </p:cNvPr>
              <p:cNvSpPr/>
              <p:nvPr/>
            </p:nvSpPr>
            <p:spPr>
              <a:xfrm>
                <a:off x="1022819" y="1773427"/>
                <a:ext cx="97696" cy="13323"/>
              </a:xfrm>
              <a:custGeom>
                <a:avLst/>
                <a:gdLst>
                  <a:gd name="connsiteX0" fmla="*/ 91035 w 97696"/>
                  <a:gd name="connsiteY0" fmla="*/ 13324 h 13323"/>
                  <a:gd name="connsiteX1" fmla="*/ 6662 w 97696"/>
                  <a:gd name="connsiteY1" fmla="*/ 13324 h 13323"/>
                  <a:gd name="connsiteX2" fmla="*/ 0 w 97696"/>
                  <a:gd name="connsiteY2" fmla="*/ 6662 h 13323"/>
                  <a:gd name="connsiteX3" fmla="*/ 6662 w 97696"/>
                  <a:gd name="connsiteY3" fmla="*/ 0 h 13323"/>
                  <a:gd name="connsiteX4" fmla="*/ 91035 w 97696"/>
                  <a:gd name="connsiteY4" fmla="*/ 0 h 13323"/>
                  <a:gd name="connsiteX5" fmla="*/ 97697 w 97696"/>
                  <a:gd name="connsiteY5" fmla="*/ 6662 h 13323"/>
                  <a:gd name="connsiteX6" fmla="*/ 91035 w 97696"/>
                  <a:gd name="connsiteY6" fmla="*/ 13324 h 1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96" h="13323">
                    <a:moveTo>
                      <a:pt x="91035" y="13324"/>
                    </a:moveTo>
                    <a:lnTo>
                      <a:pt x="6662" y="13324"/>
                    </a:lnTo>
                    <a:cubicBezTo>
                      <a:pt x="2983" y="13324"/>
                      <a:pt x="0" y="10341"/>
                      <a:pt x="0" y="6662"/>
                    </a:cubicBezTo>
                    <a:cubicBezTo>
                      <a:pt x="0" y="2983"/>
                      <a:pt x="2983" y="0"/>
                      <a:pt x="6662" y="0"/>
                    </a:cubicBezTo>
                    <a:lnTo>
                      <a:pt x="91035" y="0"/>
                    </a:lnTo>
                    <a:cubicBezTo>
                      <a:pt x="94714" y="0"/>
                      <a:pt x="97697" y="2983"/>
                      <a:pt x="97697" y="6662"/>
                    </a:cubicBezTo>
                    <a:cubicBezTo>
                      <a:pt x="97697" y="10341"/>
                      <a:pt x="94714" y="13324"/>
                      <a:pt x="91035" y="13324"/>
                    </a:cubicBezTo>
                    <a:close/>
                  </a:path>
                </a:pathLst>
              </a:custGeom>
              <a:grpFill/>
              <a:ln w="234" cap="flat">
                <a:noFill/>
                <a:prstDash val="solid"/>
                <a:miter/>
              </a:ln>
            </p:spPr>
            <p:txBody>
              <a:bodyPr rtlCol="0" anchor="ctr"/>
              <a:lstStyle/>
              <a:p>
                <a:endParaRPr lang="en-GB" dirty="0"/>
              </a:p>
            </p:txBody>
          </p:sp>
        </p:grpSp>
        <p:grpSp>
          <p:nvGrpSpPr>
            <p:cNvPr id="52" name="Gruppieren 5">
              <a:extLst>
                <a:ext uri="{FF2B5EF4-FFF2-40B4-BE49-F238E27FC236}">
                  <a16:creationId xmlns:a16="http://schemas.microsoft.com/office/drawing/2014/main" id="{2C4A5F6A-5D9E-4D07-967E-5899AD120CA7}"/>
                </a:ext>
              </a:extLst>
            </p:cNvPr>
            <p:cNvGrpSpPr/>
            <p:nvPr/>
          </p:nvGrpSpPr>
          <p:grpSpPr>
            <a:xfrm>
              <a:off x="675453" y="1726392"/>
              <a:ext cx="275178" cy="194877"/>
              <a:chOff x="963920" y="1799462"/>
              <a:chExt cx="250861" cy="177656"/>
            </a:xfrm>
          </p:grpSpPr>
          <p:sp>
            <p:nvSpPr>
              <p:cNvPr id="53" name="Freihandform: Form 198">
                <a:extLst>
                  <a:ext uri="{FF2B5EF4-FFF2-40B4-BE49-F238E27FC236}">
                    <a16:creationId xmlns:a16="http://schemas.microsoft.com/office/drawing/2014/main" id="{CE28271B-325C-4448-8AD9-14BC1E8004F0}"/>
                  </a:ext>
                </a:extLst>
              </p:cNvPr>
              <p:cNvSpPr/>
              <p:nvPr/>
            </p:nvSpPr>
            <p:spPr>
              <a:xfrm>
                <a:off x="963920" y="1848505"/>
                <a:ext cx="14115" cy="62359"/>
              </a:xfrm>
              <a:custGeom>
                <a:avLst/>
                <a:gdLst>
                  <a:gd name="connsiteX0" fmla="*/ 6665 w 14115"/>
                  <a:gd name="connsiteY0" fmla="*/ 62359 h 62359"/>
                  <a:gd name="connsiteX1" fmla="*/ 6555 w 14115"/>
                  <a:gd name="connsiteY1" fmla="*/ 62359 h 62359"/>
                  <a:gd name="connsiteX2" fmla="*/ 1 w 14115"/>
                  <a:gd name="connsiteY2" fmla="*/ 55590 h 62359"/>
                  <a:gd name="connsiteX3" fmla="*/ 793 w 14115"/>
                  <a:gd name="connsiteY3" fmla="*/ 6554 h 62359"/>
                  <a:gd name="connsiteX4" fmla="*/ 7451 w 14115"/>
                  <a:gd name="connsiteY4" fmla="*/ 0 h 62359"/>
                  <a:gd name="connsiteX5" fmla="*/ 7561 w 14115"/>
                  <a:gd name="connsiteY5" fmla="*/ 0 h 62359"/>
                  <a:gd name="connsiteX6" fmla="*/ 14115 w 14115"/>
                  <a:gd name="connsiteY6" fmla="*/ 6770 h 62359"/>
                  <a:gd name="connsiteX7" fmla="*/ 13322 w 14115"/>
                  <a:gd name="connsiteY7" fmla="*/ 55806 h 62359"/>
                  <a:gd name="connsiteX8" fmla="*/ 6665 w 14115"/>
                  <a:gd name="connsiteY8" fmla="*/ 62359 h 62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115" h="62359">
                    <a:moveTo>
                      <a:pt x="6665" y="62359"/>
                    </a:moveTo>
                    <a:cubicBezTo>
                      <a:pt x="6625" y="62359"/>
                      <a:pt x="6590" y="62359"/>
                      <a:pt x="6555" y="62359"/>
                    </a:cubicBezTo>
                    <a:cubicBezTo>
                      <a:pt x="2876" y="62298"/>
                      <a:pt x="-58" y="59269"/>
                      <a:pt x="1" y="55590"/>
                    </a:cubicBezTo>
                    <a:lnTo>
                      <a:pt x="793" y="6554"/>
                    </a:lnTo>
                    <a:cubicBezTo>
                      <a:pt x="852" y="2910"/>
                      <a:pt x="3825" y="0"/>
                      <a:pt x="7451" y="0"/>
                    </a:cubicBezTo>
                    <a:cubicBezTo>
                      <a:pt x="7490" y="0"/>
                      <a:pt x="7526" y="0"/>
                      <a:pt x="7561" y="0"/>
                    </a:cubicBezTo>
                    <a:cubicBezTo>
                      <a:pt x="11240" y="61"/>
                      <a:pt x="14173" y="3091"/>
                      <a:pt x="14115" y="6770"/>
                    </a:cubicBezTo>
                    <a:lnTo>
                      <a:pt x="13322" y="55806"/>
                    </a:lnTo>
                    <a:cubicBezTo>
                      <a:pt x="13263" y="59447"/>
                      <a:pt x="10290" y="62359"/>
                      <a:pt x="6665" y="62359"/>
                    </a:cubicBezTo>
                    <a:close/>
                  </a:path>
                </a:pathLst>
              </a:custGeom>
              <a:solidFill>
                <a:schemeClr val="accent1"/>
              </a:solidFill>
              <a:ln w="234" cap="flat">
                <a:noFill/>
                <a:prstDash val="solid"/>
                <a:miter/>
              </a:ln>
            </p:spPr>
            <p:txBody>
              <a:bodyPr rtlCol="0" anchor="ctr"/>
              <a:lstStyle/>
              <a:p>
                <a:endParaRPr lang="en-GB" dirty="0"/>
              </a:p>
            </p:txBody>
          </p:sp>
          <p:grpSp>
            <p:nvGrpSpPr>
              <p:cNvPr id="54" name="Grafik 337">
                <a:extLst>
                  <a:ext uri="{FF2B5EF4-FFF2-40B4-BE49-F238E27FC236}">
                    <a16:creationId xmlns:a16="http://schemas.microsoft.com/office/drawing/2014/main" id="{4467CF40-C791-42FF-B725-BAFA3083D024}"/>
                  </a:ext>
                </a:extLst>
              </p:cNvPr>
              <p:cNvGrpSpPr/>
              <p:nvPr/>
            </p:nvGrpSpPr>
            <p:grpSpPr>
              <a:xfrm>
                <a:off x="987542" y="1799462"/>
                <a:ext cx="174534" cy="177656"/>
                <a:chOff x="987542" y="1799462"/>
                <a:chExt cx="174534" cy="177656"/>
              </a:xfrm>
              <a:solidFill>
                <a:schemeClr val="accent1"/>
              </a:solidFill>
            </p:grpSpPr>
            <p:sp>
              <p:nvSpPr>
                <p:cNvPr id="59" name="Freihandform: Form 200">
                  <a:extLst>
                    <a:ext uri="{FF2B5EF4-FFF2-40B4-BE49-F238E27FC236}">
                      <a16:creationId xmlns:a16="http://schemas.microsoft.com/office/drawing/2014/main" id="{44F3DAED-E5CA-4C90-810E-12E24448A8B8}"/>
                    </a:ext>
                  </a:extLst>
                </p:cNvPr>
                <p:cNvSpPr/>
                <p:nvPr/>
              </p:nvSpPr>
              <p:spPr>
                <a:xfrm>
                  <a:off x="987542" y="1837745"/>
                  <a:ext cx="67632" cy="87744"/>
                </a:xfrm>
                <a:custGeom>
                  <a:avLst/>
                  <a:gdLst>
                    <a:gd name="connsiteX0" fmla="*/ 59786 w 67632"/>
                    <a:gd name="connsiteY0" fmla="*/ 87744 h 87744"/>
                    <a:gd name="connsiteX1" fmla="*/ 59678 w 67632"/>
                    <a:gd name="connsiteY1" fmla="*/ 87744 h 87744"/>
                    <a:gd name="connsiteX2" fmla="*/ 6555 w 67632"/>
                    <a:gd name="connsiteY2" fmla="*/ 86886 h 87744"/>
                    <a:gd name="connsiteX3" fmla="*/ 1 w 67632"/>
                    <a:gd name="connsiteY3" fmla="*/ 80116 h 87744"/>
                    <a:gd name="connsiteX4" fmla="*/ 1187 w 67632"/>
                    <a:gd name="connsiteY4" fmla="*/ 6563 h 87744"/>
                    <a:gd name="connsiteX5" fmla="*/ 3213 w 67632"/>
                    <a:gd name="connsiteY5" fmla="*/ 1885 h 87744"/>
                    <a:gd name="connsiteX6" fmla="*/ 7955 w 67632"/>
                    <a:gd name="connsiteY6" fmla="*/ 9 h 87744"/>
                    <a:gd name="connsiteX7" fmla="*/ 61078 w 67632"/>
                    <a:gd name="connsiteY7" fmla="*/ 867 h 87744"/>
                    <a:gd name="connsiteX8" fmla="*/ 67632 w 67632"/>
                    <a:gd name="connsiteY8" fmla="*/ 7637 h 87744"/>
                    <a:gd name="connsiteX9" fmla="*/ 66445 w 67632"/>
                    <a:gd name="connsiteY9" fmla="*/ 81190 h 87744"/>
                    <a:gd name="connsiteX10" fmla="*/ 64419 w 67632"/>
                    <a:gd name="connsiteY10" fmla="*/ 85868 h 87744"/>
                    <a:gd name="connsiteX11" fmla="*/ 59786 w 67632"/>
                    <a:gd name="connsiteY11" fmla="*/ 87744 h 87744"/>
                    <a:gd name="connsiteX12" fmla="*/ 13430 w 67632"/>
                    <a:gd name="connsiteY12" fmla="*/ 73670 h 87744"/>
                    <a:gd name="connsiteX13" fmla="*/ 53232 w 67632"/>
                    <a:gd name="connsiteY13" fmla="*/ 74315 h 87744"/>
                    <a:gd name="connsiteX14" fmla="*/ 54205 w 67632"/>
                    <a:gd name="connsiteY14" fmla="*/ 14085 h 87744"/>
                    <a:gd name="connsiteX15" fmla="*/ 14403 w 67632"/>
                    <a:gd name="connsiteY15" fmla="*/ 13440 h 87744"/>
                    <a:gd name="connsiteX16" fmla="*/ 13430 w 67632"/>
                    <a:gd name="connsiteY16" fmla="*/ 73670 h 87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632" h="87744">
                      <a:moveTo>
                        <a:pt x="59786" y="87744"/>
                      </a:moveTo>
                      <a:cubicBezTo>
                        <a:pt x="59750" y="87744"/>
                        <a:pt x="59713" y="87744"/>
                        <a:pt x="59678" y="87744"/>
                      </a:cubicBezTo>
                      <a:lnTo>
                        <a:pt x="6555" y="86886"/>
                      </a:lnTo>
                      <a:cubicBezTo>
                        <a:pt x="2876" y="86825"/>
                        <a:pt x="-58" y="83795"/>
                        <a:pt x="1" y="80116"/>
                      </a:cubicBezTo>
                      <a:lnTo>
                        <a:pt x="1187" y="6563"/>
                      </a:lnTo>
                      <a:cubicBezTo>
                        <a:pt x="1218" y="4797"/>
                        <a:pt x="1945" y="3111"/>
                        <a:pt x="3213" y="1885"/>
                      </a:cubicBezTo>
                      <a:cubicBezTo>
                        <a:pt x="4484" y="656"/>
                        <a:pt x="6224" y="-90"/>
                        <a:pt x="7955" y="9"/>
                      </a:cubicBezTo>
                      <a:lnTo>
                        <a:pt x="61078" y="867"/>
                      </a:lnTo>
                      <a:cubicBezTo>
                        <a:pt x="64757" y="928"/>
                        <a:pt x="67690" y="3957"/>
                        <a:pt x="67632" y="7637"/>
                      </a:cubicBezTo>
                      <a:lnTo>
                        <a:pt x="66445" y="81190"/>
                      </a:lnTo>
                      <a:cubicBezTo>
                        <a:pt x="66415" y="82956"/>
                        <a:pt x="65688" y="84642"/>
                        <a:pt x="64419" y="85868"/>
                      </a:cubicBezTo>
                      <a:cubicBezTo>
                        <a:pt x="63174" y="87071"/>
                        <a:pt x="61514" y="87744"/>
                        <a:pt x="59786" y="87744"/>
                      </a:cubicBezTo>
                      <a:close/>
                      <a:moveTo>
                        <a:pt x="13430" y="73670"/>
                      </a:moveTo>
                      <a:lnTo>
                        <a:pt x="53232" y="74315"/>
                      </a:lnTo>
                      <a:lnTo>
                        <a:pt x="54205" y="14085"/>
                      </a:lnTo>
                      <a:lnTo>
                        <a:pt x="14403" y="13440"/>
                      </a:lnTo>
                      <a:lnTo>
                        <a:pt x="13430" y="73670"/>
                      </a:lnTo>
                      <a:close/>
                    </a:path>
                  </a:pathLst>
                </a:custGeom>
                <a:solidFill>
                  <a:schemeClr val="accent1"/>
                </a:solidFill>
                <a:ln w="234" cap="flat">
                  <a:noFill/>
                  <a:prstDash val="solid"/>
                  <a:miter/>
                </a:ln>
              </p:spPr>
              <p:txBody>
                <a:bodyPr rtlCol="0" anchor="ctr"/>
                <a:lstStyle/>
                <a:p>
                  <a:endParaRPr lang="en-GB" dirty="0"/>
                </a:p>
              </p:txBody>
            </p:sp>
            <p:sp>
              <p:nvSpPr>
                <p:cNvPr id="60" name="Freihandform: Form 201">
                  <a:extLst>
                    <a:ext uri="{FF2B5EF4-FFF2-40B4-BE49-F238E27FC236}">
                      <a16:creationId xmlns:a16="http://schemas.microsoft.com/office/drawing/2014/main" id="{ECCC1639-8334-4CCE-93BB-F7A67DD0FAFC}"/>
                    </a:ext>
                  </a:extLst>
                </p:cNvPr>
                <p:cNvSpPr/>
                <p:nvPr/>
              </p:nvSpPr>
              <p:spPr>
                <a:xfrm>
                  <a:off x="1040667" y="1799462"/>
                  <a:ext cx="121409" cy="164518"/>
                </a:xfrm>
                <a:custGeom>
                  <a:avLst/>
                  <a:gdLst>
                    <a:gd name="connsiteX0" fmla="*/ 112308 w 121409"/>
                    <a:gd name="connsiteY0" fmla="*/ 164518 h 164518"/>
                    <a:gd name="connsiteX1" fmla="*/ 110029 w 121409"/>
                    <a:gd name="connsiteY1" fmla="*/ 164115 h 164518"/>
                    <a:gd name="connsiteX2" fmla="*/ 4381 w 121409"/>
                    <a:gd name="connsiteY2" fmla="*/ 125624 h 164518"/>
                    <a:gd name="connsiteX3" fmla="*/ 1 w 121409"/>
                    <a:gd name="connsiteY3" fmla="*/ 119258 h 164518"/>
                    <a:gd name="connsiteX4" fmla="*/ 1187 w 121409"/>
                    <a:gd name="connsiteY4" fmla="*/ 45704 h 164518"/>
                    <a:gd name="connsiteX5" fmla="*/ 5558 w 121409"/>
                    <a:gd name="connsiteY5" fmla="*/ 39556 h 164518"/>
                    <a:gd name="connsiteX6" fmla="*/ 112458 w 121409"/>
                    <a:gd name="connsiteY6" fmla="*/ 408 h 164518"/>
                    <a:gd name="connsiteX7" fmla="*/ 118609 w 121409"/>
                    <a:gd name="connsiteY7" fmla="*/ 1233 h 164518"/>
                    <a:gd name="connsiteX8" fmla="*/ 121409 w 121409"/>
                    <a:gd name="connsiteY8" fmla="*/ 6770 h 164518"/>
                    <a:gd name="connsiteX9" fmla="*/ 118970 w 121409"/>
                    <a:gd name="connsiteY9" fmla="*/ 157960 h 164518"/>
                    <a:gd name="connsiteX10" fmla="*/ 116086 w 121409"/>
                    <a:gd name="connsiteY10" fmla="*/ 163339 h 164518"/>
                    <a:gd name="connsiteX11" fmla="*/ 112308 w 121409"/>
                    <a:gd name="connsiteY11" fmla="*/ 164518 h 164518"/>
                    <a:gd name="connsiteX12" fmla="*/ 13397 w 121409"/>
                    <a:gd name="connsiteY12" fmla="*/ 114732 h 164518"/>
                    <a:gd name="connsiteX13" fmla="*/ 105801 w 121409"/>
                    <a:gd name="connsiteY13" fmla="*/ 148395 h 164518"/>
                    <a:gd name="connsiteX14" fmla="*/ 107933 w 121409"/>
                    <a:gd name="connsiteY14" fmla="*/ 16255 h 164518"/>
                    <a:gd name="connsiteX15" fmla="*/ 14434 w 121409"/>
                    <a:gd name="connsiteY15" fmla="*/ 50494 h 164518"/>
                    <a:gd name="connsiteX16" fmla="*/ 13397 w 121409"/>
                    <a:gd name="connsiteY16" fmla="*/ 114732 h 164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1409" h="164518">
                      <a:moveTo>
                        <a:pt x="112308" y="164518"/>
                      </a:moveTo>
                      <a:cubicBezTo>
                        <a:pt x="111542" y="164518"/>
                        <a:pt x="110770" y="164385"/>
                        <a:pt x="110029" y="164115"/>
                      </a:cubicBezTo>
                      <a:lnTo>
                        <a:pt x="4381" y="125624"/>
                      </a:lnTo>
                      <a:cubicBezTo>
                        <a:pt x="1715" y="124651"/>
                        <a:pt x="-46" y="122097"/>
                        <a:pt x="1" y="119258"/>
                      </a:cubicBezTo>
                      <a:lnTo>
                        <a:pt x="1187" y="45704"/>
                      </a:lnTo>
                      <a:cubicBezTo>
                        <a:pt x="1232" y="42949"/>
                        <a:pt x="2970" y="40503"/>
                        <a:pt x="5558" y="39556"/>
                      </a:cubicBezTo>
                      <a:lnTo>
                        <a:pt x="112458" y="408"/>
                      </a:lnTo>
                      <a:cubicBezTo>
                        <a:pt x="114515" y="-349"/>
                        <a:pt x="116817" y="-40"/>
                        <a:pt x="118609" y="1233"/>
                      </a:cubicBezTo>
                      <a:cubicBezTo>
                        <a:pt x="120396" y="2504"/>
                        <a:pt x="121446" y="4575"/>
                        <a:pt x="121409" y="6770"/>
                      </a:cubicBezTo>
                      <a:lnTo>
                        <a:pt x="118970" y="157960"/>
                      </a:lnTo>
                      <a:cubicBezTo>
                        <a:pt x="118935" y="160112"/>
                        <a:pt x="117861" y="162119"/>
                        <a:pt x="116086" y="163339"/>
                      </a:cubicBezTo>
                      <a:cubicBezTo>
                        <a:pt x="114960" y="164120"/>
                        <a:pt x="113640" y="164518"/>
                        <a:pt x="112308" y="164518"/>
                      </a:cubicBezTo>
                      <a:close/>
                      <a:moveTo>
                        <a:pt x="13397" y="114732"/>
                      </a:moveTo>
                      <a:lnTo>
                        <a:pt x="105801" y="148395"/>
                      </a:lnTo>
                      <a:lnTo>
                        <a:pt x="107933" y="16255"/>
                      </a:lnTo>
                      <a:lnTo>
                        <a:pt x="14434" y="50494"/>
                      </a:lnTo>
                      <a:lnTo>
                        <a:pt x="13397" y="114732"/>
                      </a:lnTo>
                      <a:close/>
                    </a:path>
                  </a:pathLst>
                </a:custGeom>
                <a:solidFill>
                  <a:schemeClr val="accent1"/>
                </a:solidFill>
                <a:ln w="234" cap="flat">
                  <a:noFill/>
                  <a:prstDash val="solid"/>
                  <a:miter/>
                </a:ln>
              </p:spPr>
              <p:txBody>
                <a:bodyPr rtlCol="0" anchor="ctr"/>
                <a:lstStyle/>
                <a:p>
                  <a:endParaRPr lang="en-GB" dirty="0"/>
                </a:p>
              </p:txBody>
            </p:sp>
            <p:sp>
              <p:nvSpPr>
                <p:cNvPr id="61" name="Freihandform: Form 202">
                  <a:extLst>
                    <a:ext uri="{FF2B5EF4-FFF2-40B4-BE49-F238E27FC236}">
                      <a16:creationId xmlns:a16="http://schemas.microsoft.com/office/drawing/2014/main" id="{3E00BC5D-E6FE-4241-B524-431305FA904D}"/>
                    </a:ext>
                  </a:extLst>
                </p:cNvPr>
                <p:cNvSpPr/>
                <p:nvPr/>
              </p:nvSpPr>
              <p:spPr>
                <a:xfrm>
                  <a:off x="996742" y="1917988"/>
                  <a:ext cx="46256" cy="59130"/>
                </a:xfrm>
                <a:custGeom>
                  <a:avLst/>
                  <a:gdLst>
                    <a:gd name="connsiteX0" fmla="*/ 15378 w 46256"/>
                    <a:gd name="connsiteY0" fmla="*/ 59131 h 59130"/>
                    <a:gd name="connsiteX1" fmla="*/ 8821 w 46256"/>
                    <a:gd name="connsiteY1" fmla="*/ 53599 h 59130"/>
                    <a:gd name="connsiteX2" fmla="*/ 0 w 46256"/>
                    <a:gd name="connsiteY2" fmla="*/ 2258 h 59130"/>
                    <a:gd name="connsiteX3" fmla="*/ 13127 w 46256"/>
                    <a:gd name="connsiteY3" fmla="*/ 0 h 59130"/>
                    <a:gd name="connsiteX4" fmla="*/ 20834 w 46256"/>
                    <a:gd name="connsiteY4" fmla="*/ 44853 h 59130"/>
                    <a:gd name="connsiteX5" fmla="*/ 32078 w 46256"/>
                    <a:gd name="connsiteY5" fmla="*/ 43054 h 59130"/>
                    <a:gd name="connsiteX6" fmla="*/ 26316 w 46256"/>
                    <a:gd name="connsiteY6" fmla="*/ 2539 h 59130"/>
                    <a:gd name="connsiteX7" fmla="*/ 39509 w 46256"/>
                    <a:gd name="connsiteY7" fmla="*/ 666 h 59130"/>
                    <a:gd name="connsiteX8" fmla="*/ 46189 w 46256"/>
                    <a:gd name="connsiteY8" fmla="*/ 47662 h 59130"/>
                    <a:gd name="connsiteX9" fmla="*/ 40644 w 46256"/>
                    <a:gd name="connsiteY9" fmla="*/ 55175 h 59130"/>
                    <a:gd name="connsiteX10" fmla="*/ 16433 w 46256"/>
                    <a:gd name="connsiteY10" fmla="*/ 59046 h 59130"/>
                    <a:gd name="connsiteX11" fmla="*/ 15378 w 46256"/>
                    <a:gd name="connsiteY11" fmla="*/ 59131 h 5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6256" h="59130">
                      <a:moveTo>
                        <a:pt x="15378" y="59131"/>
                      </a:moveTo>
                      <a:cubicBezTo>
                        <a:pt x="12191" y="59131"/>
                        <a:pt x="9377" y="56837"/>
                        <a:pt x="8821" y="53599"/>
                      </a:cubicBezTo>
                      <a:lnTo>
                        <a:pt x="0" y="2258"/>
                      </a:lnTo>
                      <a:lnTo>
                        <a:pt x="13127" y="0"/>
                      </a:lnTo>
                      <a:lnTo>
                        <a:pt x="20834" y="44853"/>
                      </a:lnTo>
                      <a:lnTo>
                        <a:pt x="32078" y="43054"/>
                      </a:lnTo>
                      <a:lnTo>
                        <a:pt x="26316" y="2539"/>
                      </a:lnTo>
                      <a:lnTo>
                        <a:pt x="39509" y="666"/>
                      </a:lnTo>
                      <a:lnTo>
                        <a:pt x="46189" y="47662"/>
                      </a:lnTo>
                      <a:cubicBezTo>
                        <a:pt x="46700" y="51259"/>
                        <a:pt x="44234" y="54603"/>
                        <a:pt x="40644" y="55175"/>
                      </a:cubicBezTo>
                      <a:lnTo>
                        <a:pt x="16433" y="59046"/>
                      </a:lnTo>
                      <a:cubicBezTo>
                        <a:pt x="16079" y="59105"/>
                        <a:pt x="15725" y="59131"/>
                        <a:pt x="15378" y="59131"/>
                      </a:cubicBezTo>
                      <a:close/>
                    </a:path>
                  </a:pathLst>
                </a:custGeom>
                <a:solidFill>
                  <a:schemeClr val="accent1"/>
                </a:solidFill>
                <a:ln w="234" cap="flat">
                  <a:noFill/>
                  <a:prstDash val="solid"/>
                  <a:miter/>
                </a:ln>
              </p:spPr>
              <p:txBody>
                <a:bodyPr rtlCol="0" anchor="ctr"/>
                <a:lstStyle/>
                <a:p>
                  <a:endParaRPr lang="en-GB" dirty="0"/>
                </a:p>
              </p:txBody>
            </p:sp>
          </p:grpSp>
          <p:grpSp>
            <p:nvGrpSpPr>
              <p:cNvPr id="55" name="Grafik 337">
                <a:extLst>
                  <a:ext uri="{FF2B5EF4-FFF2-40B4-BE49-F238E27FC236}">
                    <a16:creationId xmlns:a16="http://schemas.microsoft.com/office/drawing/2014/main" id="{D5DE49DF-D3D8-41CA-88A0-4E907C4563D6}"/>
                  </a:ext>
                </a:extLst>
              </p:cNvPr>
              <p:cNvGrpSpPr/>
              <p:nvPr/>
            </p:nvGrpSpPr>
            <p:grpSpPr>
              <a:xfrm>
                <a:off x="1179121" y="1820273"/>
                <a:ext cx="35660" cy="124961"/>
                <a:chOff x="1179121" y="1820273"/>
                <a:chExt cx="35660" cy="124961"/>
              </a:xfrm>
              <a:solidFill>
                <a:schemeClr val="accent1"/>
              </a:solidFill>
            </p:grpSpPr>
            <p:sp>
              <p:nvSpPr>
                <p:cNvPr id="57" name="Freihandform: Form 204">
                  <a:extLst>
                    <a:ext uri="{FF2B5EF4-FFF2-40B4-BE49-F238E27FC236}">
                      <a16:creationId xmlns:a16="http://schemas.microsoft.com/office/drawing/2014/main" id="{6D5D69E6-F523-448A-B5AF-F3F797DB4242}"/>
                    </a:ext>
                  </a:extLst>
                </p:cNvPr>
                <p:cNvSpPr/>
                <p:nvPr/>
              </p:nvSpPr>
              <p:spPr>
                <a:xfrm>
                  <a:off x="1181517" y="1820273"/>
                  <a:ext cx="33264" cy="25783"/>
                </a:xfrm>
                <a:custGeom>
                  <a:avLst/>
                  <a:gdLst>
                    <a:gd name="connsiteX0" fmla="*/ 6669 w 33264"/>
                    <a:gd name="connsiteY0" fmla="*/ 25783 h 25783"/>
                    <a:gd name="connsiteX1" fmla="*/ 1013 w 33264"/>
                    <a:gd name="connsiteY1" fmla="*/ 22655 h 25783"/>
                    <a:gd name="connsiteX2" fmla="*/ 3130 w 33264"/>
                    <a:gd name="connsiteY2" fmla="*/ 13473 h 25783"/>
                    <a:gd name="connsiteX3" fmla="*/ 23069 w 33264"/>
                    <a:gd name="connsiteY3" fmla="*/ 1010 h 25783"/>
                    <a:gd name="connsiteX4" fmla="*/ 32251 w 33264"/>
                    <a:gd name="connsiteY4" fmla="*/ 3127 h 25783"/>
                    <a:gd name="connsiteX5" fmla="*/ 30134 w 33264"/>
                    <a:gd name="connsiteY5" fmla="*/ 12310 h 25783"/>
                    <a:gd name="connsiteX6" fmla="*/ 10195 w 33264"/>
                    <a:gd name="connsiteY6" fmla="*/ 24773 h 25783"/>
                    <a:gd name="connsiteX7" fmla="*/ 6669 w 33264"/>
                    <a:gd name="connsiteY7" fmla="*/ 25783 h 25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64" h="25783">
                      <a:moveTo>
                        <a:pt x="6669" y="25783"/>
                      </a:moveTo>
                      <a:cubicBezTo>
                        <a:pt x="4448" y="25783"/>
                        <a:pt x="2277" y="24674"/>
                        <a:pt x="1013" y="22655"/>
                      </a:cubicBezTo>
                      <a:cubicBezTo>
                        <a:pt x="-936" y="19532"/>
                        <a:pt x="12" y="15426"/>
                        <a:pt x="3130" y="13473"/>
                      </a:cubicBezTo>
                      <a:lnTo>
                        <a:pt x="23069" y="1010"/>
                      </a:lnTo>
                      <a:cubicBezTo>
                        <a:pt x="26194" y="-932"/>
                        <a:pt x="30303" y="8"/>
                        <a:pt x="32251" y="3127"/>
                      </a:cubicBezTo>
                      <a:cubicBezTo>
                        <a:pt x="34200" y="6251"/>
                        <a:pt x="33252" y="10356"/>
                        <a:pt x="30134" y="12310"/>
                      </a:cubicBezTo>
                      <a:lnTo>
                        <a:pt x="10195" y="24773"/>
                      </a:lnTo>
                      <a:cubicBezTo>
                        <a:pt x="9093" y="25457"/>
                        <a:pt x="7874" y="25783"/>
                        <a:pt x="6669" y="25783"/>
                      </a:cubicBezTo>
                      <a:close/>
                    </a:path>
                  </a:pathLst>
                </a:custGeom>
                <a:solidFill>
                  <a:schemeClr val="accent1"/>
                </a:solidFill>
                <a:ln w="234" cap="flat">
                  <a:noFill/>
                  <a:prstDash val="solid"/>
                  <a:miter/>
                </a:ln>
              </p:spPr>
              <p:txBody>
                <a:bodyPr rtlCol="0" anchor="ctr"/>
                <a:lstStyle/>
                <a:p>
                  <a:endParaRPr lang="en-GB" dirty="0"/>
                </a:p>
              </p:txBody>
            </p:sp>
            <p:sp>
              <p:nvSpPr>
                <p:cNvPr id="58" name="Freihandform: Form 205">
                  <a:extLst>
                    <a:ext uri="{FF2B5EF4-FFF2-40B4-BE49-F238E27FC236}">
                      <a16:creationId xmlns:a16="http://schemas.microsoft.com/office/drawing/2014/main" id="{B5EFA4B3-F42A-46BA-91FE-1D99D6431488}"/>
                    </a:ext>
                  </a:extLst>
                </p:cNvPr>
                <p:cNvSpPr/>
                <p:nvPr/>
              </p:nvSpPr>
              <p:spPr>
                <a:xfrm>
                  <a:off x="1179121" y="1918753"/>
                  <a:ext cx="32806" cy="26482"/>
                </a:xfrm>
                <a:custGeom>
                  <a:avLst/>
                  <a:gdLst>
                    <a:gd name="connsiteX0" fmla="*/ 26140 w 32806"/>
                    <a:gd name="connsiteY0" fmla="*/ 26482 h 26482"/>
                    <a:gd name="connsiteX1" fmla="*/ 22419 w 32806"/>
                    <a:gd name="connsiteY1" fmla="*/ 25340 h 26482"/>
                    <a:gd name="connsiteX2" fmla="*/ 2933 w 32806"/>
                    <a:gd name="connsiteY2" fmla="*/ 12183 h 26482"/>
                    <a:gd name="connsiteX3" fmla="*/ 1142 w 32806"/>
                    <a:gd name="connsiteY3" fmla="*/ 2937 h 26482"/>
                    <a:gd name="connsiteX4" fmla="*/ 10387 w 32806"/>
                    <a:gd name="connsiteY4" fmla="*/ 1146 h 26482"/>
                    <a:gd name="connsiteX5" fmla="*/ 29873 w 32806"/>
                    <a:gd name="connsiteY5" fmla="*/ 14303 h 26482"/>
                    <a:gd name="connsiteX6" fmla="*/ 31665 w 32806"/>
                    <a:gd name="connsiteY6" fmla="*/ 23549 h 26482"/>
                    <a:gd name="connsiteX7" fmla="*/ 26140 w 32806"/>
                    <a:gd name="connsiteY7" fmla="*/ 26482 h 26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06" h="26482">
                      <a:moveTo>
                        <a:pt x="26140" y="26482"/>
                      </a:moveTo>
                      <a:cubicBezTo>
                        <a:pt x="24858" y="26482"/>
                        <a:pt x="23561" y="26114"/>
                        <a:pt x="22419" y="25340"/>
                      </a:cubicBezTo>
                      <a:lnTo>
                        <a:pt x="2933" y="12183"/>
                      </a:lnTo>
                      <a:cubicBezTo>
                        <a:pt x="-115" y="10124"/>
                        <a:pt x="-917" y="5983"/>
                        <a:pt x="1142" y="2937"/>
                      </a:cubicBezTo>
                      <a:cubicBezTo>
                        <a:pt x="3193" y="-111"/>
                        <a:pt x="7344" y="-922"/>
                        <a:pt x="10387" y="1146"/>
                      </a:cubicBezTo>
                      <a:lnTo>
                        <a:pt x="29873" y="14303"/>
                      </a:lnTo>
                      <a:cubicBezTo>
                        <a:pt x="32922" y="16362"/>
                        <a:pt x="33724" y="20503"/>
                        <a:pt x="31665" y="23549"/>
                      </a:cubicBezTo>
                      <a:cubicBezTo>
                        <a:pt x="30382" y="25455"/>
                        <a:pt x="28279" y="26482"/>
                        <a:pt x="26140" y="26482"/>
                      </a:cubicBezTo>
                      <a:close/>
                    </a:path>
                  </a:pathLst>
                </a:custGeom>
                <a:solidFill>
                  <a:schemeClr val="accent1"/>
                </a:solidFill>
                <a:ln w="234" cap="flat">
                  <a:noFill/>
                  <a:prstDash val="solid"/>
                  <a:miter/>
                </a:ln>
              </p:spPr>
              <p:txBody>
                <a:bodyPr rtlCol="0" anchor="ctr"/>
                <a:lstStyle/>
                <a:p>
                  <a:endParaRPr lang="en-GB" dirty="0"/>
                </a:p>
              </p:txBody>
            </p:sp>
          </p:grpSp>
          <p:sp>
            <p:nvSpPr>
              <p:cNvPr id="56" name="Freihandform: Form 206">
                <a:extLst>
                  <a:ext uri="{FF2B5EF4-FFF2-40B4-BE49-F238E27FC236}">
                    <a16:creationId xmlns:a16="http://schemas.microsoft.com/office/drawing/2014/main" id="{2772101C-9133-491E-9166-4E03AB7C877B}"/>
                  </a:ext>
                </a:extLst>
              </p:cNvPr>
              <p:cNvSpPr/>
              <p:nvPr/>
            </p:nvSpPr>
            <p:spPr>
              <a:xfrm>
                <a:off x="1180848" y="1873990"/>
                <a:ext cx="32977" cy="13608"/>
              </a:xfrm>
              <a:custGeom>
                <a:avLst/>
                <a:gdLst>
                  <a:gd name="connsiteX0" fmla="*/ 26319 w 32977"/>
                  <a:gd name="connsiteY0" fmla="*/ 13608 h 13608"/>
                  <a:gd name="connsiteX1" fmla="*/ 26221 w 32977"/>
                  <a:gd name="connsiteY1" fmla="*/ 13608 h 13608"/>
                  <a:gd name="connsiteX2" fmla="*/ 6569 w 32977"/>
                  <a:gd name="connsiteY2" fmla="*/ 13325 h 13608"/>
                  <a:gd name="connsiteX3" fmla="*/ 1 w 32977"/>
                  <a:gd name="connsiteY3" fmla="*/ 6569 h 13608"/>
                  <a:gd name="connsiteX4" fmla="*/ 6756 w 32977"/>
                  <a:gd name="connsiteY4" fmla="*/ 1 h 13608"/>
                  <a:gd name="connsiteX5" fmla="*/ 26409 w 32977"/>
                  <a:gd name="connsiteY5" fmla="*/ 285 h 13608"/>
                  <a:gd name="connsiteX6" fmla="*/ 32977 w 32977"/>
                  <a:gd name="connsiteY6" fmla="*/ 7040 h 13608"/>
                  <a:gd name="connsiteX7" fmla="*/ 26319 w 32977"/>
                  <a:gd name="connsiteY7" fmla="*/ 13608 h 1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77" h="13608">
                    <a:moveTo>
                      <a:pt x="26319" y="13608"/>
                    </a:moveTo>
                    <a:cubicBezTo>
                      <a:pt x="26287" y="13608"/>
                      <a:pt x="26254" y="13608"/>
                      <a:pt x="26221" y="13608"/>
                    </a:cubicBezTo>
                    <a:lnTo>
                      <a:pt x="6569" y="13325"/>
                    </a:lnTo>
                    <a:cubicBezTo>
                      <a:pt x="2890" y="13273"/>
                      <a:pt x="-51" y="10243"/>
                      <a:pt x="1" y="6569"/>
                    </a:cubicBezTo>
                    <a:cubicBezTo>
                      <a:pt x="52" y="2890"/>
                      <a:pt x="2960" y="-62"/>
                      <a:pt x="6756" y="1"/>
                    </a:cubicBezTo>
                    <a:lnTo>
                      <a:pt x="26409" y="285"/>
                    </a:lnTo>
                    <a:cubicBezTo>
                      <a:pt x="30088" y="336"/>
                      <a:pt x="33028" y="3366"/>
                      <a:pt x="32977" y="7040"/>
                    </a:cubicBezTo>
                    <a:cubicBezTo>
                      <a:pt x="32925" y="10687"/>
                      <a:pt x="29952" y="13608"/>
                      <a:pt x="26319" y="13608"/>
                    </a:cubicBezTo>
                    <a:close/>
                  </a:path>
                </a:pathLst>
              </a:custGeom>
              <a:solidFill>
                <a:schemeClr val="accent1"/>
              </a:solidFill>
              <a:ln w="234" cap="flat">
                <a:noFill/>
                <a:prstDash val="solid"/>
                <a:miter/>
              </a:ln>
            </p:spPr>
            <p:txBody>
              <a:bodyPr rtlCol="0" anchor="ctr"/>
              <a:lstStyle/>
              <a:p>
                <a:endParaRPr lang="en-GB" dirty="0"/>
              </a:p>
            </p:txBody>
          </p:sp>
        </p:grpSp>
      </p:grpSp>
      <p:grpSp>
        <p:nvGrpSpPr>
          <p:cNvPr id="4" name="Group 3">
            <a:extLst>
              <a:ext uri="{FF2B5EF4-FFF2-40B4-BE49-F238E27FC236}">
                <a16:creationId xmlns:a16="http://schemas.microsoft.com/office/drawing/2014/main" id="{F3E5E8A7-DD28-E6E0-723C-135A46A4AFDE}"/>
              </a:ext>
            </a:extLst>
          </p:cNvPr>
          <p:cNvGrpSpPr/>
          <p:nvPr/>
        </p:nvGrpSpPr>
        <p:grpSpPr>
          <a:xfrm>
            <a:off x="1577990" y="1585981"/>
            <a:ext cx="522992" cy="432003"/>
            <a:chOff x="1577990" y="1585981"/>
            <a:chExt cx="522992" cy="432003"/>
          </a:xfrm>
        </p:grpSpPr>
        <p:grpSp>
          <p:nvGrpSpPr>
            <p:cNvPr id="75" name="Grafik 337">
              <a:extLst>
                <a:ext uri="{FF2B5EF4-FFF2-40B4-BE49-F238E27FC236}">
                  <a16:creationId xmlns:a16="http://schemas.microsoft.com/office/drawing/2014/main" id="{7CEA39E2-4418-4D30-8054-A71576B36111}"/>
                </a:ext>
              </a:extLst>
            </p:cNvPr>
            <p:cNvGrpSpPr/>
            <p:nvPr/>
          </p:nvGrpSpPr>
          <p:grpSpPr>
            <a:xfrm>
              <a:off x="1719104" y="1714512"/>
              <a:ext cx="381878" cy="303472"/>
              <a:chOff x="2662642" y="1763918"/>
              <a:chExt cx="318685" cy="253254"/>
            </a:xfrm>
            <a:solidFill>
              <a:schemeClr val="accent1"/>
            </a:solidFill>
          </p:grpSpPr>
          <p:sp>
            <p:nvSpPr>
              <p:cNvPr id="82" name="Freihandform: Form 209">
                <a:extLst>
                  <a:ext uri="{FF2B5EF4-FFF2-40B4-BE49-F238E27FC236}">
                    <a16:creationId xmlns:a16="http://schemas.microsoft.com/office/drawing/2014/main" id="{10B735C7-6A62-4340-A1C2-1EE4342CB7D7}"/>
                  </a:ext>
                </a:extLst>
              </p:cNvPr>
              <p:cNvSpPr/>
              <p:nvPr/>
            </p:nvSpPr>
            <p:spPr>
              <a:xfrm>
                <a:off x="2662642" y="1877881"/>
                <a:ext cx="27080" cy="72331"/>
              </a:xfrm>
              <a:custGeom>
                <a:avLst/>
                <a:gdLst>
                  <a:gd name="connsiteX0" fmla="*/ 20413 w 27080"/>
                  <a:gd name="connsiteY0" fmla="*/ 72332 h 72331"/>
                  <a:gd name="connsiteX1" fmla="*/ 13934 w 27080"/>
                  <a:gd name="connsiteY1" fmla="*/ 67182 h 72331"/>
                  <a:gd name="connsiteX2" fmla="*/ 177 w 27080"/>
                  <a:gd name="connsiteY2" fmla="*/ 8171 h 72331"/>
                  <a:gd name="connsiteX3" fmla="*/ 5146 w 27080"/>
                  <a:gd name="connsiteY3" fmla="*/ 171 h 72331"/>
                  <a:gd name="connsiteX4" fmla="*/ 13146 w 27080"/>
                  <a:gd name="connsiteY4" fmla="*/ 5147 h 72331"/>
                  <a:gd name="connsiteX5" fmla="*/ 26903 w 27080"/>
                  <a:gd name="connsiteY5" fmla="*/ 64157 h 72331"/>
                  <a:gd name="connsiteX6" fmla="*/ 21935 w 27080"/>
                  <a:gd name="connsiteY6" fmla="*/ 72158 h 72331"/>
                  <a:gd name="connsiteX7" fmla="*/ 20413 w 27080"/>
                  <a:gd name="connsiteY7" fmla="*/ 72332 h 72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80" h="72331">
                    <a:moveTo>
                      <a:pt x="20413" y="72332"/>
                    </a:moveTo>
                    <a:cubicBezTo>
                      <a:pt x="17388" y="72332"/>
                      <a:pt x="14649" y="70256"/>
                      <a:pt x="13934" y="67182"/>
                    </a:cubicBezTo>
                    <a:lnTo>
                      <a:pt x="177" y="8171"/>
                    </a:lnTo>
                    <a:cubicBezTo>
                      <a:pt x="-663" y="4586"/>
                      <a:pt x="1570" y="1005"/>
                      <a:pt x="5146" y="171"/>
                    </a:cubicBezTo>
                    <a:cubicBezTo>
                      <a:pt x="8775" y="-650"/>
                      <a:pt x="12314" y="1566"/>
                      <a:pt x="13146" y="5147"/>
                    </a:cubicBezTo>
                    <a:lnTo>
                      <a:pt x="26903" y="64157"/>
                    </a:lnTo>
                    <a:cubicBezTo>
                      <a:pt x="27743" y="67743"/>
                      <a:pt x="25511" y="71323"/>
                      <a:pt x="21935" y="72158"/>
                    </a:cubicBezTo>
                    <a:cubicBezTo>
                      <a:pt x="21421" y="72275"/>
                      <a:pt x="20915" y="72332"/>
                      <a:pt x="20413" y="72332"/>
                    </a:cubicBezTo>
                    <a:close/>
                  </a:path>
                </a:pathLst>
              </a:custGeom>
              <a:solidFill>
                <a:schemeClr val="accent1"/>
              </a:solidFill>
              <a:ln w="234" cap="flat">
                <a:noFill/>
                <a:prstDash val="solid"/>
                <a:miter/>
              </a:ln>
            </p:spPr>
            <p:txBody>
              <a:bodyPr rtlCol="0" anchor="ctr"/>
              <a:lstStyle/>
              <a:p>
                <a:endParaRPr lang="en-GB" dirty="0"/>
              </a:p>
            </p:txBody>
          </p:sp>
          <p:grpSp>
            <p:nvGrpSpPr>
              <p:cNvPr id="83" name="Grafik 337">
                <a:extLst>
                  <a:ext uri="{FF2B5EF4-FFF2-40B4-BE49-F238E27FC236}">
                    <a16:creationId xmlns:a16="http://schemas.microsoft.com/office/drawing/2014/main" id="{9DF8A23F-03AC-472F-8ACC-AB34F314BBEF}"/>
                  </a:ext>
                </a:extLst>
              </p:cNvPr>
              <p:cNvGrpSpPr/>
              <p:nvPr/>
            </p:nvGrpSpPr>
            <p:grpSpPr>
              <a:xfrm>
                <a:off x="2688213" y="1763918"/>
                <a:ext cx="236056" cy="253254"/>
                <a:chOff x="2688213" y="1763918"/>
                <a:chExt cx="236056" cy="253254"/>
              </a:xfrm>
              <a:solidFill>
                <a:schemeClr val="accent1"/>
              </a:solidFill>
            </p:grpSpPr>
            <p:sp>
              <p:nvSpPr>
                <p:cNvPr id="88" name="Freihandform: Form 211">
                  <a:extLst>
                    <a:ext uri="{FF2B5EF4-FFF2-40B4-BE49-F238E27FC236}">
                      <a16:creationId xmlns:a16="http://schemas.microsoft.com/office/drawing/2014/main" id="{374732D7-A1AD-442E-ACE7-78854C4DFF1E}"/>
                    </a:ext>
                  </a:extLst>
                </p:cNvPr>
                <p:cNvSpPr/>
                <p:nvPr/>
              </p:nvSpPr>
              <p:spPr>
                <a:xfrm>
                  <a:off x="2688213" y="1842896"/>
                  <a:ext cx="97882" cy="116738"/>
                </a:xfrm>
                <a:custGeom>
                  <a:avLst/>
                  <a:gdLst>
                    <a:gd name="connsiteX0" fmla="*/ 27290 w 97882"/>
                    <a:gd name="connsiteY0" fmla="*/ 116739 h 116738"/>
                    <a:gd name="connsiteX1" fmla="*/ 23771 w 97882"/>
                    <a:gd name="connsiteY1" fmla="*/ 115733 h 116738"/>
                    <a:gd name="connsiteX2" fmla="*/ 20804 w 97882"/>
                    <a:gd name="connsiteY2" fmla="*/ 111589 h 116738"/>
                    <a:gd name="connsiteX3" fmla="*/ 177 w 97882"/>
                    <a:gd name="connsiteY3" fmla="*/ 23071 h 116738"/>
                    <a:gd name="connsiteX4" fmla="*/ 5152 w 97882"/>
                    <a:gd name="connsiteY4" fmla="*/ 15070 h 116738"/>
                    <a:gd name="connsiteX5" fmla="*/ 69078 w 97882"/>
                    <a:gd name="connsiteY5" fmla="*/ 171 h 116738"/>
                    <a:gd name="connsiteX6" fmla="*/ 77072 w 97882"/>
                    <a:gd name="connsiteY6" fmla="*/ 5147 h 116738"/>
                    <a:gd name="connsiteX7" fmla="*/ 97707 w 97882"/>
                    <a:gd name="connsiteY7" fmla="*/ 93665 h 116738"/>
                    <a:gd name="connsiteX8" fmla="*/ 96881 w 97882"/>
                    <a:gd name="connsiteY8" fmla="*/ 98697 h 116738"/>
                    <a:gd name="connsiteX9" fmla="*/ 92731 w 97882"/>
                    <a:gd name="connsiteY9" fmla="*/ 101666 h 116738"/>
                    <a:gd name="connsiteX10" fmla="*/ 28798 w 97882"/>
                    <a:gd name="connsiteY10" fmla="*/ 116565 h 116738"/>
                    <a:gd name="connsiteX11" fmla="*/ 27290 w 97882"/>
                    <a:gd name="connsiteY11" fmla="*/ 116739 h 116738"/>
                    <a:gd name="connsiteX12" fmla="*/ 14663 w 97882"/>
                    <a:gd name="connsiteY12" fmla="*/ 26536 h 116738"/>
                    <a:gd name="connsiteX13" fmla="*/ 32266 w 97882"/>
                    <a:gd name="connsiteY13" fmla="*/ 102079 h 116738"/>
                    <a:gd name="connsiteX14" fmla="*/ 83220 w 97882"/>
                    <a:gd name="connsiteY14" fmla="*/ 90200 h 116738"/>
                    <a:gd name="connsiteX15" fmla="*/ 65610 w 97882"/>
                    <a:gd name="connsiteY15" fmla="*/ 14657 h 116738"/>
                    <a:gd name="connsiteX16" fmla="*/ 14663 w 97882"/>
                    <a:gd name="connsiteY16" fmla="*/ 26536 h 11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882" h="116738">
                      <a:moveTo>
                        <a:pt x="27290" y="116739"/>
                      </a:moveTo>
                      <a:cubicBezTo>
                        <a:pt x="26055" y="116739"/>
                        <a:pt x="24838" y="116396"/>
                        <a:pt x="23771" y="115733"/>
                      </a:cubicBezTo>
                      <a:cubicBezTo>
                        <a:pt x="22275" y="114800"/>
                        <a:pt x="21201" y="113311"/>
                        <a:pt x="20804" y="111589"/>
                      </a:cubicBezTo>
                      <a:lnTo>
                        <a:pt x="177" y="23071"/>
                      </a:lnTo>
                      <a:cubicBezTo>
                        <a:pt x="-663" y="19485"/>
                        <a:pt x="1569" y="15905"/>
                        <a:pt x="5152" y="15070"/>
                      </a:cubicBezTo>
                      <a:lnTo>
                        <a:pt x="69078" y="171"/>
                      </a:lnTo>
                      <a:cubicBezTo>
                        <a:pt x="72650" y="-650"/>
                        <a:pt x="76240" y="1566"/>
                        <a:pt x="77072" y="5147"/>
                      </a:cubicBezTo>
                      <a:lnTo>
                        <a:pt x="97707" y="93665"/>
                      </a:lnTo>
                      <a:cubicBezTo>
                        <a:pt x="98110" y="95386"/>
                        <a:pt x="97810" y="97194"/>
                        <a:pt x="96881" y="98697"/>
                      </a:cubicBezTo>
                      <a:cubicBezTo>
                        <a:pt x="95943" y="100196"/>
                        <a:pt x="94454" y="101263"/>
                        <a:pt x="92731" y="101666"/>
                      </a:cubicBezTo>
                      <a:lnTo>
                        <a:pt x="28798" y="116565"/>
                      </a:lnTo>
                      <a:cubicBezTo>
                        <a:pt x="28306" y="116680"/>
                        <a:pt x="27797" y="116739"/>
                        <a:pt x="27290" y="116739"/>
                      </a:cubicBezTo>
                      <a:close/>
                      <a:moveTo>
                        <a:pt x="14663" y="26536"/>
                      </a:moveTo>
                      <a:lnTo>
                        <a:pt x="32266" y="102079"/>
                      </a:lnTo>
                      <a:lnTo>
                        <a:pt x="83220" y="90200"/>
                      </a:lnTo>
                      <a:lnTo>
                        <a:pt x="65610" y="14657"/>
                      </a:lnTo>
                      <a:lnTo>
                        <a:pt x="14663" y="26536"/>
                      </a:lnTo>
                      <a:close/>
                    </a:path>
                  </a:pathLst>
                </a:custGeom>
                <a:solidFill>
                  <a:schemeClr val="accent1"/>
                </a:solidFill>
                <a:ln w="234" cap="flat">
                  <a:noFill/>
                  <a:prstDash val="solid"/>
                  <a:miter/>
                </a:ln>
              </p:spPr>
              <p:txBody>
                <a:bodyPr rtlCol="0" anchor="ctr"/>
                <a:lstStyle/>
                <a:p>
                  <a:endParaRPr lang="en-GB" dirty="0"/>
                </a:p>
              </p:txBody>
            </p:sp>
            <p:sp>
              <p:nvSpPr>
                <p:cNvPr id="89" name="Freihandform: Form 212">
                  <a:extLst>
                    <a:ext uri="{FF2B5EF4-FFF2-40B4-BE49-F238E27FC236}">
                      <a16:creationId xmlns:a16="http://schemas.microsoft.com/office/drawing/2014/main" id="{39B2DA97-4033-44AC-AE92-A7802EED40C8}"/>
                    </a:ext>
                  </a:extLst>
                </p:cNvPr>
                <p:cNvSpPr/>
                <p:nvPr/>
              </p:nvSpPr>
              <p:spPr>
                <a:xfrm>
                  <a:off x="2752142" y="1763918"/>
                  <a:ext cx="172127" cy="195278"/>
                </a:xfrm>
                <a:custGeom>
                  <a:avLst/>
                  <a:gdLst>
                    <a:gd name="connsiteX0" fmla="*/ 165468 w 172127"/>
                    <a:gd name="connsiteY0" fmla="*/ 195278 h 195278"/>
                    <a:gd name="connsiteX1" fmla="*/ 164772 w 172127"/>
                    <a:gd name="connsiteY1" fmla="*/ 195243 h 195278"/>
                    <a:gd name="connsiteX2" fmla="*/ 26598 w 172127"/>
                    <a:gd name="connsiteY2" fmla="*/ 180782 h 195278"/>
                    <a:gd name="connsiteX3" fmla="*/ 20809 w 172127"/>
                    <a:gd name="connsiteY3" fmla="*/ 175668 h 195278"/>
                    <a:gd name="connsiteX4" fmla="*/ 174 w 172127"/>
                    <a:gd name="connsiteY4" fmla="*/ 87149 h 195278"/>
                    <a:gd name="connsiteX5" fmla="*/ 2920 w 172127"/>
                    <a:gd name="connsiteY5" fmla="*/ 80124 h 195278"/>
                    <a:gd name="connsiteX6" fmla="*/ 119321 w 172127"/>
                    <a:gd name="connsiteY6" fmla="*/ 1149 h 195278"/>
                    <a:gd name="connsiteX7" fmla="*/ 125488 w 172127"/>
                    <a:gd name="connsiteY7" fmla="*/ 460 h 195278"/>
                    <a:gd name="connsiteX8" fmla="*/ 129547 w 172127"/>
                    <a:gd name="connsiteY8" fmla="*/ 5149 h 195278"/>
                    <a:gd name="connsiteX9" fmla="*/ 171954 w 172127"/>
                    <a:gd name="connsiteY9" fmla="*/ 187102 h 195278"/>
                    <a:gd name="connsiteX10" fmla="*/ 170465 w 172127"/>
                    <a:gd name="connsiteY10" fmla="*/ 193020 h 195278"/>
                    <a:gd name="connsiteX11" fmla="*/ 165468 w 172127"/>
                    <a:gd name="connsiteY11" fmla="*/ 195278 h 195278"/>
                    <a:gd name="connsiteX12" fmla="*/ 32707 w 172127"/>
                    <a:gd name="connsiteY12" fmla="*/ 168024 h 195278"/>
                    <a:gd name="connsiteX13" fmla="*/ 156855 w 172127"/>
                    <a:gd name="connsiteY13" fmla="*/ 181017 h 195278"/>
                    <a:gd name="connsiteX14" fmla="*/ 118775 w 172127"/>
                    <a:gd name="connsiteY14" fmla="*/ 17619 h 195278"/>
                    <a:gd name="connsiteX15" fmla="*/ 14187 w 172127"/>
                    <a:gd name="connsiteY15" fmla="*/ 88580 h 195278"/>
                    <a:gd name="connsiteX16" fmla="*/ 32707 w 172127"/>
                    <a:gd name="connsiteY16" fmla="*/ 168024 h 19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127" h="195278">
                      <a:moveTo>
                        <a:pt x="165468" y="195278"/>
                      </a:moveTo>
                      <a:cubicBezTo>
                        <a:pt x="165241" y="195278"/>
                        <a:pt x="165006" y="195264"/>
                        <a:pt x="164772" y="195243"/>
                      </a:cubicBezTo>
                      <a:lnTo>
                        <a:pt x="26598" y="180782"/>
                      </a:lnTo>
                      <a:cubicBezTo>
                        <a:pt x="23775" y="180487"/>
                        <a:pt x="21454" y="178435"/>
                        <a:pt x="20809" y="175668"/>
                      </a:cubicBezTo>
                      <a:lnTo>
                        <a:pt x="174" y="87149"/>
                      </a:lnTo>
                      <a:cubicBezTo>
                        <a:pt x="-450" y="84467"/>
                        <a:pt x="636" y="81672"/>
                        <a:pt x="2920" y="80124"/>
                      </a:cubicBezTo>
                      <a:lnTo>
                        <a:pt x="119321" y="1149"/>
                      </a:lnTo>
                      <a:cubicBezTo>
                        <a:pt x="121143" y="-80"/>
                        <a:pt x="123439" y="-345"/>
                        <a:pt x="125488" y="460"/>
                      </a:cubicBezTo>
                      <a:cubicBezTo>
                        <a:pt x="127531" y="1257"/>
                        <a:pt x="129053" y="3013"/>
                        <a:pt x="129547" y="5149"/>
                      </a:cubicBezTo>
                      <a:lnTo>
                        <a:pt x="171954" y="187102"/>
                      </a:lnTo>
                      <a:cubicBezTo>
                        <a:pt x="172442" y="189200"/>
                        <a:pt x="171889" y="191404"/>
                        <a:pt x="170465" y="193020"/>
                      </a:cubicBezTo>
                      <a:cubicBezTo>
                        <a:pt x="169190" y="194464"/>
                        <a:pt x="167368" y="195278"/>
                        <a:pt x="165468" y="195278"/>
                      </a:cubicBezTo>
                      <a:close/>
                      <a:moveTo>
                        <a:pt x="32707" y="168024"/>
                      </a:moveTo>
                      <a:lnTo>
                        <a:pt x="156855" y="181017"/>
                      </a:lnTo>
                      <a:lnTo>
                        <a:pt x="118775" y="17619"/>
                      </a:lnTo>
                      <a:lnTo>
                        <a:pt x="14187" y="88580"/>
                      </a:lnTo>
                      <a:lnTo>
                        <a:pt x="32707" y="168024"/>
                      </a:lnTo>
                      <a:close/>
                    </a:path>
                  </a:pathLst>
                </a:custGeom>
                <a:solidFill>
                  <a:schemeClr val="accent1"/>
                </a:solidFill>
                <a:ln w="234" cap="flat">
                  <a:noFill/>
                  <a:prstDash val="solid"/>
                  <a:miter/>
                </a:ln>
              </p:spPr>
              <p:txBody>
                <a:bodyPr rtlCol="0" anchor="ctr"/>
                <a:lstStyle/>
                <a:p>
                  <a:endParaRPr lang="en-GB" dirty="0"/>
                </a:p>
              </p:txBody>
            </p:sp>
            <p:sp>
              <p:nvSpPr>
                <p:cNvPr id="90" name="Freihandform: Form 213">
                  <a:extLst>
                    <a:ext uri="{FF2B5EF4-FFF2-40B4-BE49-F238E27FC236}">
                      <a16:creationId xmlns:a16="http://schemas.microsoft.com/office/drawing/2014/main" id="{B6488B80-3FE9-43D4-96CE-F0D2BC69DF5C}"/>
                    </a:ext>
                  </a:extLst>
                </p:cNvPr>
                <p:cNvSpPr/>
                <p:nvPr/>
              </p:nvSpPr>
              <p:spPr>
                <a:xfrm>
                  <a:off x="2720655" y="1941776"/>
                  <a:ext cx="66590" cy="75396"/>
                </a:xfrm>
                <a:custGeom>
                  <a:avLst/>
                  <a:gdLst>
                    <a:gd name="connsiteX0" fmla="*/ 32064 w 66590"/>
                    <a:gd name="connsiteY0" fmla="*/ 75397 h 75396"/>
                    <a:gd name="connsiteX1" fmla="*/ 25969 w 66590"/>
                    <a:gd name="connsiteY1" fmla="*/ 71420 h 75396"/>
                    <a:gd name="connsiteX2" fmla="*/ 0 w 66590"/>
                    <a:gd name="connsiteY2" fmla="*/ 12526 h 75396"/>
                    <a:gd name="connsiteX3" fmla="*/ 12191 w 66590"/>
                    <a:gd name="connsiteY3" fmla="*/ 7154 h 75396"/>
                    <a:gd name="connsiteX4" fmla="*/ 35506 w 66590"/>
                    <a:gd name="connsiteY4" fmla="*/ 60024 h 75396"/>
                    <a:gd name="connsiteX5" fmla="*/ 51287 w 66590"/>
                    <a:gd name="connsiteY5" fmla="*/ 53285 h 75396"/>
                    <a:gd name="connsiteX6" fmla="*/ 31656 w 66590"/>
                    <a:gd name="connsiteY6" fmla="*/ 5023 h 75396"/>
                    <a:gd name="connsiteX7" fmla="*/ 44002 w 66590"/>
                    <a:gd name="connsiteY7" fmla="*/ 0 h 75396"/>
                    <a:gd name="connsiteX8" fmla="*/ 66100 w 66590"/>
                    <a:gd name="connsiteY8" fmla="*/ 54326 h 75396"/>
                    <a:gd name="connsiteX9" fmla="*/ 62542 w 66590"/>
                    <a:gd name="connsiteY9" fmla="*/ 62964 h 75396"/>
                    <a:gd name="connsiteX10" fmla="*/ 34681 w 66590"/>
                    <a:gd name="connsiteY10" fmla="*/ 74860 h 75396"/>
                    <a:gd name="connsiteX11" fmla="*/ 32064 w 66590"/>
                    <a:gd name="connsiteY11" fmla="*/ 75397 h 75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590" h="75396">
                      <a:moveTo>
                        <a:pt x="32064" y="75397"/>
                      </a:moveTo>
                      <a:cubicBezTo>
                        <a:pt x="29508" y="75397"/>
                        <a:pt x="27067" y="73910"/>
                        <a:pt x="25969" y="71420"/>
                      </a:cubicBezTo>
                      <a:lnTo>
                        <a:pt x="0" y="12526"/>
                      </a:lnTo>
                      <a:lnTo>
                        <a:pt x="12191" y="7154"/>
                      </a:lnTo>
                      <a:lnTo>
                        <a:pt x="35506" y="60024"/>
                      </a:lnTo>
                      <a:lnTo>
                        <a:pt x="51287" y="53285"/>
                      </a:lnTo>
                      <a:lnTo>
                        <a:pt x="31656" y="5023"/>
                      </a:lnTo>
                      <a:lnTo>
                        <a:pt x="44002" y="0"/>
                      </a:lnTo>
                      <a:lnTo>
                        <a:pt x="66100" y="54326"/>
                      </a:lnTo>
                      <a:cubicBezTo>
                        <a:pt x="67467" y="57693"/>
                        <a:pt x="65884" y="61536"/>
                        <a:pt x="62542" y="62964"/>
                      </a:cubicBezTo>
                      <a:lnTo>
                        <a:pt x="34681" y="74860"/>
                      </a:lnTo>
                      <a:cubicBezTo>
                        <a:pt x="33827" y="75221"/>
                        <a:pt x="32943" y="75397"/>
                        <a:pt x="32064" y="75397"/>
                      </a:cubicBezTo>
                      <a:close/>
                    </a:path>
                  </a:pathLst>
                </a:custGeom>
                <a:solidFill>
                  <a:schemeClr val="accent1"/>
                </a:solidFill>
                <a:ln w="234" cap="flat">
                  <a:noFill/>
                  <a:prstDash val="solid"/>
                  <a:miter/>
                </a:ln>
              </p:spPr>
              <p:txBody>
                <a:bodyPr rtlCol="0" anchor="ctr"/>
                <a:lstStyle/>
                <a:p>
                  <a:endParaRPr lang="en-GB" dirty="0"/>
                </a:p>
              </p:txBody>
            </p:sp>
          </p:grpSp>
          <p:grpSp>
            <p:nvGrpSpPr>
              <p:cNvPr id="84" name="Grafik 337">
                <a:extLst>
                  <a:ext uri="{FF2B5EF4-FFF2-40B4-BE49-F238E27FC236}">
                    <a16:creationId xmlns:a16="http://schemas.microsoft.com/office/drawing/2014/main" id="{6953E881-E7F7-40E0-A59D-7274F1194535}"/>
                  </a:ext>
                </a:extLst>
              </p:cNvPr>
              <p:cNvGrpSpPr/>
              <p:nvPr/>
            </p:nvGrpSpPr>
            <p:grpSpPr>
              <a:xfrm>
                <a:off x="2917780" y="1773056"/>
                <a:ext cx="63548" cy="147994"/>
                <a:chOff x="2917780" y="1773056"/>
                <a:chExt cx="63548" cy="147994"/>
              </a:xfrm>
              <a:solidFill>
                <a:schemeClr val="accent1"/>
              </a:solidFill>
            </p:grpSpPr>
            <p:sp>
              <p:nvSpPr>
                <p:cNvPr id="86" name="Freihandform: Form 215">
                  <a:extLst>
                    <a:ext uri="{FF2B5EF4-FFF2-40B4-BE49-F238E27FC236}">
                      <a16:creationId xmlns:a16="http://schemas.microsoft.com/office/drawing/2014/main" id="{41C39FC8-E6AE-4D85-97D7-60B55883FADE}"/>
                    </a:ext>
                  </a:extLst>
                </p:cNvPr>
                <p:cNvSpPr/>
                <p:nvPr/>
              </p:nvSpPr>
              <p:spPr>
                <a:xfrm>
                  <a:off x="2917780" y="1773056"/>
                  <a:ext cx="33489" cy="34237"/>
                </a:xfrm>
                <a:custGeom>
                  <a:avLst/>
                  <a:gdLst>
                    <a:gd name="connsiteX0" fmla="*/ 6661 w 33489"/>
                    <a:gd name="connsiteY0" fmla="*/ 34238 h 34237"/>
                    <a:gd name="connsiteX1" fmla="*/ 2037 w 33489"/>
                    <a:gd name="connsiteY1" fmla="*/ 32371 h 34237"/>
                    <a:gd name="connsiteX2" fmla="*/ 1868 w 33489"/>
                    <a:gd name="connsiteY2" fmla="*/ 22954 h 34237"/>
                    <a:gd name="connsiteX3" fmla="*/ 22034 w 33489"/>
                    <a:gd name="connsiteY3" fmla="*/ 2038 h 34237"/>
                    <a:gd name="connsiteX4" fmla="*/ 31453 w 33489"/>
                    <a:gd name="connsiteY4" fmla="*/ 1865 h 34237"/>
                    <a:gd name="connsiteX5" fmla="*/ 31622 w 33489"/>
                    <a:gd name="connsiteY5" fmla="*/ 11282 h 34237"/>
                    <a:gd name="connsiteX6" fmla="*/ 11456 w 33489"/>
                    <a:gd name="connsiteY6" fmla="*/ 32198 h 34237"/>
                    <a:gd name="connsiteX7" fmla="*/ 6661 w 33489"/>
                    <a:gd name="connsiteY7" fmla="*/ 34238 h 3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89" h="34237">
                      <a:moveTo>
                        <a:pt x="6661" y="34238"/>
                      </a:moveTo>
                      <a:cubicBezTo>
                        <a:pt x="4996" y="34238"/>
                        <a:pt x="3331" y="33619"/>
                        <a:pt x="2037" y="32371"/>
                      </a:cubicBezTo>
                      <a:cubicBezTo>
                        <a:pt x="-611" y="29818"/>
                        <a:pt x="-688" y="25602"/>
                        <a:pt x="1868" y="22954"/>
                      </a:cubicBezTo>
                      <a:lnTo>
                        <a:pt x="22034" y="2038"/>
                      </a:lnTo>
                      <a:cubicBezTo>
                        <a:pt x="24597" y="-611"/>
                        <a:pt x="28806" y="-687"/>
                        <a:pt x="31453" y="1865"/>
                      </a:cubicBezTo>
                      <a:cubicBezTo>
                        <a:pt x="34100" y="4416"/>
                        <a:pt x="34178" y="8634"/>
                        <a:pt x="31622" y="11282"/>
                      </a:cubicBezTo>
                      <a:lnTo>
                        <a:pt x="11456" y="32198"/>
                      </a:lnTo>
                      <a:cubicBezTo>
                        <a:pt x="10148" y="33553"/>
                        <a:pt x="8403" y="34238"/>
                        <a:pt x="6661" y="34238"/>
                      </a:cubicBezTo>
                      <a:close/>
                    </a:path>
                  </a:pathLst>
                </a:custGeom>
                <a:solidFill>
                  <a:schemeClr val="accent1"/>
                </a:solidFill>
                <a:ln w="234" cap="flat">
                  <a:noFill/>
                  <a:prstDash val="solid"/>
                  <a:miter/>
                </a:ln>
              </p:spPr>
              <p:txBody>
                <a:bodyPr rtlCol="0" anchor="ctr"/>
                <a:lstStyle/>
                <a:p>
                  <a:endParaRPr lang="en-GB" dirty="0"/>
                </a:p>
              </p:txBody>
            </p:sp>
            <p:sp>
              <p:nvSpPr>
                <p:cNvPr id="87" name="Freihandform: Form 216">
                  <a:extLst>
                    <a:ext uri="{FF2B5EF4-FFF2-40B4-BE49-F238E27FC236}">
                      <a16:creationId xmlns:a16="http://schemas.microsoft.com/office/drawing/2014/main" id="{E175B7EB-731A-4CA8-80F9-5010F04C9846}"/>
                    </a:ext>
                  </a:extLst>
                </p:cNvPr>
                <p:cNvSpPr/>
                <p:nvPr/>
              </p:nvSpPr>
              <p:spPr>
                <a:xfrm>
                  <a:off x="2940701" y="1897797"/>
                  <a:ext cx="40626" cy="23253"/>
                </a:xfrm>
                <a:custGeom>
                  <a:avLst/>
                  <a:gdLst>
                    <a:gd name="connsiteX0" fmla="*/ 33964 w 40626"/>
                    <a:gd name="connsiteY0" fmla="*/ 23253 h 23253"/>
                    <a:gd name="connsiteX1" fmla="*/ 31687 w 40626"/>
                    <a:gd name="connsiteY1" fmla="*/ 22850 h 23253"/>
                    <a:gd name="connsiteX2" fmla="*/ 4386 w 40626"/>
                    <a:gd name="connsiteY2" fmla="*/ 12924 h 23253"/>
                    <a:gd name="connsiteX3" fmla="*/ 404 w 40626"/>
                    <a:gd name="connsiteY3" fmla="*/ 4386 h 23253"/>
                    <a:gd name="connsiteX4" fmla="*/ 8940 w 40626"/>
                    <a:gd name="connsiteY4" fmla="*/ 403 h 23253"/>
                    <a:gd name="connsiteX5" fmla="*/ 36241 w 40626"/>
                    <a:gd name="connsiteY5" fmla="*/ 10328 h 23253"/>
                    <a:gd name="connsiteX6" fmla="*/ 40223 w 40626"/>
                    <a:gd name="connsiteY6" fmla="*/ 18866 h 23253"/>
                    <a:gd name="connsiteX7" fmla="*/ 33964 w 40626"/>
                    <a:gd name="connsiteY7" fmla="*/ 23253 h 23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26" h="23253">
                      <a:moveTo>
                        <a:pt x="33964" y="23253"/>
                      </a:moveTo>
                      <a:cubicBezTo>
                        <a:pt x="33209" y="23253"/>
                        <a:pt x="32442" y="23124"/>
                        <a:pt x="31687" y="22850"/>
                      </a:cubicBezTo>
                      <a:lnTo>
                        <a:pt x="4386" y="12924"/>
                      </a:lnTo>
                      <a:cubicBezTo>
                        <a:pt x="932" y="11665"/>
                        <a:pt x="-857" y="7843"/>
                        <a:pt x="404" y="4386"/>
                      </a:cubicBezTo>
                      <a:cubicBezTo>
                        <a:pt x="1659" y="930"/>
                        <a:pt x="5479" y="-854"/>
                        <a:pt x="8940" y="403"/>
                      </a:cubicBezTo>
                      <a:lnTo>
                        <a:pt x="36241" y="10328"/>
                      </a:lnTo>
                      <a:cubicBezTo>
                        <a:pt x="39695" y="11588"/>
                        <a:pt x="41484" y="15410"/>
                        <a:pt x="40223" y="18866"/>
                      </a:cubicBezTo>
                      <a:cubicBezTo>
                        <a:pt x="39240" y="21572"/>
                        <a:pt x="36684" y="23253"/>
                        <a:pt x="33964" y="23253"/>
                      </a:cubicBezTo>
                      <a:close/>
                    </a:path>
                  </a:pathLst>
                </a:custGeom>
                <a:solidFill>
                  <a:schemeClr val="accent1"/>
                </a:solidFill>
                <a:ln w="234" cap="flat">
                  <a:noFill/>
                  <a:prstDash val="solid"/>
                  <a:miter/>
                </a:ln>
              </p:spPr>
              <p:txBody>
                <a:bodyPr rtlCol="0" anchor="ctr"/>
                <a:lstStyle/>
                <a:p>
                  <a:endParaRPr lang="en-GB" dirty="0"/>
                </a:p>
              </p:txBody>
            </p:sp>
          </p:grpSp>
          <p:sp>
            <p:nvSpPr>
              <p:cNvPr id="85" name="Freihandform: Form 217">
                <a:extLst>
                  <a:ext uri="{FF2B5EF4-FFF2-40B4-BE49-F238E27FC236}">
                    <a16:creationId xmlns:a16="http://schemas.microsoft.com/office/drawing/2014/main" id="{7E66318F-64F9-41CF-B88C-749F5B90A8EB}"/>
                  </a:ext>
                </a:extLst>
              </p:cNvPr>
              <p:cNvSpPr/>
              <p:nvPr/>
            </p:nvSpPr>
            <p:spPr>
              <a:xfrm>
                <a:off x="2929349" y="1838070"/>
                <a:ext cx="36972" cy="18877"/>
              </a:xfrm>
              <a:custGeom>
                <a:avLst/>
                <a:gdLst>
                  <a:gd name="connsiteX0" fmla="*/ 6656 w 36972"/>
                  <a:gd name="connsiteY0" fmla="*/ 18878 h 18877"/>
                  <a:gd name="connsiteX1" fmla="*/ 177 w 36972"/>
                  <a:gd name="connsiteY1" fmla="*/ 13738 h 18877"/>
                  <a:gd name="connsiteX2" fmla="*/ 5142 w 36972"/>
                  <a:gd name="connsiteY2" fmla="*/ 5730 h 18877"/>
                  <a:gd name="connsiteX3" fmla="*/ 28787 w 36972"/>
                  <a:gd name="connsiteY3" fmla="*/ 175 h 18877"/>
                  <a:gd name="connsiteX4" fmla="*/ 36795 w 36972"/>
                  <a:gd name="connsiteY4" fmla="*/ 5139 h 18877"/>
                  <a:gd name="connsiteX5" fmla="*/ 31831 w 36972"/>
                  <a:gd name="connsiteY5" fmla="*/ 13147 h 18877"/>
                  <a:gd name="connsiteX6" fmla="*/ 8185 w 36972"/>
                  <a:gd name="connsiteY6" fmla="*/ 18702 h 18877"/>
                  <a:gd name="connsiteX7" fmla="*/ 6656 w 36972"/>
                  <a:gd name="connsiteY7" fmla="*/ 18878 h 18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72" h="18877">
                    <a:moveTo>
                      <a:pt x="6656" y="18878"/>
                    </a:moveTo>
                    <a:cubicBezTo>
                      <a:pt x="3638" y="18878"/>
                      <a:pt x="900" y="16810"/>
                      <a:pt x="177" y="13738"/>
                    </a:cubicBezTo>
                    <a:cubicBezTo>
                      <a:pt x="-662" y="10157"/>
                      <a:pt x="1556" y="6572"/>
                      <a:pt x="5142" y="5730"/>
                    </a:cubicBezTo>
                    <a:lnTo>
                      <a:pt x="28787" y="175"/>
                    </a:lnTo>
                    <a:cubicBezTo>
                      <a:pt x="32358" y="-657"/>
                      <a:pt x="35948" y="1554"/>
                      <a:pt x="36795" y="5139"/>
                    </a:cubicBezTo>
                    <a:cubicBezTo>
                      <a:pt x="37634" y="8720"/>
                      <a:pt x="35416" y="12305"/>
                      <a:pt x="31831" y="13147"/>
                    </a:cubicBezTo>
                    <a:lnTo>
                      <a:pt x="8185" y="18702"/>
                    </a:lnTo>
                    <a:cubicBezTo>
                      <a:pt x="7672" y="18824"/>
                      <a:pt x="7163" y="18878"/>
                      <a:pt x="6656" y="18878"/>
                    </a:cubicBezTo>
                    <a:close/>
                  </a:path>
                </a:pathLst>
              </a:custGeom>
              <a:solidFill>
                <a:schemeClr val="accent1"/>
              </a:solidFill>
              <a:ln w="234" cap="flat">
                <a:noFill/>
                <a:prstDash val="solid"/>
                <a:miter/>
              </a:ln>
            </p:spPr>
            <p:txBody>
              <a:bodyPr rtlCol="0" anchor="ctr"/>
              <a:lstStyle/>
              <a:p>
                <a:endParaRPr lang="en-GB" dirty="0"/>
              </a:p>
            </p:txBody>
          </p:sp>
        </p:grpSp>
        <p:grpSp>
          <p:nvGrpSpPr>
            <p:cNvPr id="76" name="Gruppieren 1035">
              <a:extLst>
                <a:ext uri="{FF2B5EF4-FFF2-40B4-BE49-F238E27FC236}">
                  <a16:creationId xmlns:a16="http://schemas.microsoft.com/office/drawing/2014/main" id="{3D41F420-040D-4FE1-8118-7784DEE7811F}"/>
                </a:ext>
              </a:extLst>
            </p:cNvPr>
            <p:cNvGrpSpPr/>
            <p:nvPr/>
          </p:nvGrpSpPr>
          <p:grpSpPr>
            <a:xfrm>
              <a:off x="1577990" y="1585981"/>
              <a:ext cx="324413" cy="320955"/>
              <a:chOff x="2544877" y="1656659"/>
              <a:chExt cx="270729" cy="267844"/>
            </a:xfrm>
            <a:solidFill>
              <a:schemeClr val="tx2"/>
            </a:solidFill>
          </p:grpSpPr>
          <p:grpSp>
            <p:nvGrpSpPr>
              <p:cNvPr id="77" name="Grafik 337">
                <a:extLst>
                  <a:ext uri="{FF2B5EF4-FFF2-40B4-BE49-F238E27FC236}">
                    <a16:creationId xmlns:a16="http://schemas.microsoft.com/office/drawing/2014/main" id="{8573FA7E-5177-4DD3-83BB-9303F700F483}"/>
                  </a:ext>
                </a:extLst>
              </p:cNvPr>
              <p:cNvGrpSpPr/>
              <p:nvPr/>
            </p:nvGrpSpPr>
            <p:grpSpPr>
              <a:xfrm>
                <a:off x="2544877" y="1656659"/>
                <a:ext cx="270729" cy="267844"/>
                <a:chOff x="2544877" y="1656659"/>
                <a:chExt cx="270729" cy="267844"/>
              </a:xfrm>
              <a:grpFill/>
            </p:grpSpPr>
            <p:sp>
              <p:nvSpPr>
                <p:cNvPr id="79" name="Freihandform: Form 219">
                  <a:extLst>
                    <a:ext uri="{FF2B5EF4-FFF2-40B4-BE49-F238E27FC236}">
                      <a16:creationId xmlns:a16="http://schemas.microsoft.com/office/drawing/2014/main" id="{D1942119-DAD9-40F8-B2D1-E6CE569F2B0D}"/>
                    </a:ext>
                  </a:extLst>
                </p:cNvPr>
                <p:cNvSpPr/>
                <p:nvPr/>
              </p:nvSpPr>
              <p:spPr>
                <a:xfrm>
                  <a:off x="2544877" y="1656659"/>
                  <a:ext cx="141862" cy="234592"/>
                </a:xfrm>
                <a:custGeom>
                  <a:avLst/>
                  <a:gdLst>
                    <a:gd name="connsiteX0" fmla="*/ 46914 w 141862"/>
                    <a:gd name="connsiteY0" fmla="*/ 234592 h 234592"/>
                    <a:gd name="connsiteX1" fmla="*/ 42348 w 141862"/>
                    <a:gd name="connsiteY1" fmla="*/ 232780 h 234592"/>
                    <a:gd name="connsiteX2" fmla="*/ 40937 w 141862"/>
                    <a:gd name="connsiteY2" fmla="*/ 231527 h 234592"/>
                    <a:gd name="connsiteX3" fmla="*/ 0 w 141862"/>
                    <a:gd name="connsiteY3" fmla="*/ 134788 h 234592"/>
                    <a:gd name="connsiteX4" fmla="*/ 134778 w 141862"/>
                    <a:gd name="connsiteY4" fmla="*/ 0 h 234592"/>
                    <a:gd name="connsiteX5" fmla="*/ 135533 w 141862"/>
                    <a:gd name="connsiteY5" fmla="*/ 33 h 234592"/>
                    <a:gd name="connsiteX6" fmla="*/ 141862 w 141862"/>
                    <a:gd name="connsiteY6" fmla="*/ 6685 h 234592"/>
                    <a:gd name="connsiteX7" fmla="*/ 141862 w 141862"/>
                    <a:gd name="connsiteY7" fmla="*/ 113871 h 234592"/>
                    <a:gd name="connsiteX8" fmla="*/ 135200 w 141862"/>
                    <a:gd name="connsiteY8" fmla="*/ 120533 h 234592"/>
                    <a:gd name="connsiteX9" fmla="*/ 128539 w 141862"/>
                    <a:gd name="connsiteY9" fmla="*/ 113871 h 234592"/>
                    <a:gd name="connsiteX10" fmla="*/ 128539 w 141862"/>
                    <a:gd name="connsiteY10" fmla="*/ 13455 h 234592"/>
                    <a:gd name="connsiteX11" fmla="*/ 13321 w 141862"/>
                    <a:gd name="connsiteY11" fmla="*/ 134788 h 234592"/>
                    <a:gd name="connsiteX12" fmla="*/ 46848 w 141862"/>
                    <a:gd name="connsiteY12" fmla="*/ 218577 h 234592"/>
                    <a:gd name="connsiteX13" fmla="*/ 114969 w 141862"/>
                    <a:gd name="connsiteY13" fmla="*/ 150451 h 234592"/>
                    <a:gd name="connsiteX14" fmla="*/ 124388 w 141862"/>
                    <a:gd name="connsiteY14" fmla="*/ 150451 h 234592"/>
                    <a:gd name="connsiteX15" fmla="*/ 124388 w 141862"/>
                    <a:gd name="connsiteY15" fmla="*/ 159871 h 234592"/>
                    <a:gd name="connsiteX16" fmla="*/ 51622 w 141862"/>
                    <a:gd name="connsiteY16" fmla="*/ 232639 h 234592"/>
                    <a:gd name="connsiteX17" fmla="*/ 46914 w 141862"/>
                    <a:gd name="connsiteY17" fmla="*/ 234592 h 234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1862" h="234592">
                      <a:moveTo>
                        <a:pt x="46914" y="234592"/>
                      </a:moveTo>
                      <a:cubicBezTo>
                        <a:pt x="45275" y="234592"/>
                        <a:pt x="43636" y="233990"/>
                        <a:pt x="42348" y="232780"/>
                      </a:cubicBezTo>
                      <a:cubicBezTo>
                        <a:pt x="41607" y="232142"/>
                        <a:pt x="41263" y="231846"/>
                        <a:pt x="40937" y="231527"/>
                      </a:cubicBezTo>
                      <a:cubicBezTo>
                        <a:pt x="14533" y="205891"/>
                        <a:pt x="0" y="171541"/>
                        <a:pt x="0" y="134788"/>
                      </a:cubicBezTo>
                      <a:cubicBezTo>
                        <a:pt x="0" y="60465"/>
                        <a:pt x="60465" y="0"/>
                        <a:pt x="134778" y="0"/>
                      </a:cubicBezTo>
                      <a:cubicBezTo>
                        <a:pt x="134961" y="0"/>
                        <a:pt x="135350" y="19"/>
                        <a:pt x="135533" y="33"/>
                      </a:cubicBezTo>
                      <a:cubicBezTo>
                        <a:pt x="138987" y="317"/>
                        <a:pt x="141862" y="3215"/>
                        <a:pt x="141862" y="6685"/>
                      </a:cubicBezTo>
                      <a:lnTo>
                        <a:pt x="141862" y="113871"/>
                      </a:lnTo>
                      <a:cubicBezTo>
                        <a:pt x="141862" y="117551"/>
                        <a:pt x="138882" y="120533"/>
                        <a:pt x="135200" y="120533"/>
                      </a:cubicBezTo>
                      <a:cubicBezTo>
                        <a:pt x="131519" y="120533"/>
                        <a:pt x="128539" y="117551"/>
                        <a:pt x="128539" y="113871"/>
                      </a:cubicBezTo>
                      <a:lnTo>
                        <a:pt x="128539" y="13455"/>
                      </a:lnTo>
                      <a:cubicBezTo>
                        <a:pt x="64613" y="16571"/>
                        <a:pt x="13321" y="69802"/>
                        <a:pt x="13321" y="134788"/>
                      </a:cubicBezTo>
                      <a:cubicBezTo>
                        <a:pt x="13321" y="166317"/>
                        <a:pt x="25193" y="195890"/>
                        <a:pt x="46848" y="218577"/>
                      </a:cubicBezTo>
                      <a:lnTo>
                        <a:pt x="114969" y="150451"/>
                      </a:lnTo>
                      <a:cubicBezTo>
                        <a:pt x="117572" y="147849"/>
                        <a:pt x="121785" y="147849"/>
                        <a:pt x="124388" y="150451"/>
                      </a:cubicBezTo>
                      <a:cubicBezTo>
                        <a:pt x="126991" y="153054"/>
                        <a:pt x="126991" y="157268"/>
                        <a:pt x="124388" y="159871"/>
                      </a:cubicBezTo>
                      <a:lnTo>
                        <a:pt x="51622" y="232639"/>
                      </a:lnTo>
                      <a:cubicBezTo>
                        <a:pt x="50321" y="233938"/>
                        <a:pt x="48619" y="234592"/>
                        <a:pt x="46914" y="234592"/>
                      </a:cubicBezTo>
                      <a:close/>
                    </a:path>
                  </a:pathLst>
                </a:custGeom>
                <a:grpFill/>
                <a:ln w="234" cap="flat">
                  <a:noFill/>
                  <a:prstDash val="solid"/>
                  <a:miter/>
                </a:ln>
              </p:spPr>
              <p:txBody>
                <a:bodyPr rtlCol="0" anchor="ctr"/>
                <a:lstStyle/>
                <a:p>
                  <a:endParaRPr lang="en-GB" dirty="0"/>
                </a:p>
              </p:txBody>
            </p:sp>
            <p:sp>
              <p:nvSpPr>
                <p:cNvPr id="80" name="Freihandform: Form 220">
                  <a:extLst>
                    <a:ext uri="{FF2B5EF4-FFF2-40B4-BE49-F238E27FC236}">
                      <a16:creationId xmlns:a16="http://schemas.microsoft.com/office/drawing/2014/main" id="{528E747B-14F0-493E-A70C-DE9F4C749A58}"/>
                    </a:ext>
                  </a:extLst>
                </p:cNvPr>
                <p:cNvSpPr/>
                <p:nvPr/>
              </p:nvSpPr>
              <p:spPr>
                <a:xfrm>
                  <a:off x="2710380" y="1661935"/>
                  <a:ext cx="105226" cy="127328"/>
                </a:xfrm>
                <a:custGeom>
                  <a:avLst/>
                  <a:gdLst>
                    <a:gd name="connsiteX0" fmla="*/ 98562 w 105226"/>
                    <a:gd name="connsiteY0" fmla="*/ 127329 h 127328"/>
                    <a:gd name="connsiteX1" fmla="*/ 91926 w 105226"/>
                    <a:gd name="connsiteY1" fmla="*/ 121155 h 127328"/>
                    <a:gd name="connsiteX2" fmla="*/ 4777 w 105226"/>
                    <a:gd name="connsiteY2" fmla="*/ 13049 h 127328"/>
                    <a:gd name="connsiteX3" fmla="*/ 274 w 105226"/>
                    <a:gd name="connsiteY3" fmla="*/ 4772 h 127328"/>
                    <a:gd name="connsiteX4" fmla="*/ 8550 w 105226"/>
                    <a:gd name="connsiteY4" fmla="*/ 274 h 127328"/>
                    <a:gd name="connsiteX5" fmla="*/ 105207 w 105226"/>
                    <a:gd name="connsiteY5" fmla="*/ 120179 h 127328"/>
                    <a:gd name="connsiteX6" fmla="*/ 99054 w 105226"/>
                    <a:gd name="connsiteY6" fmla="*/ 127308 h 127328"/>
                    <a:gd name="connsiteX7" fmla="*/ 98562 w 105226"/>
                    <a:gd name="connsiteY7" fmla="*/ 127329 h 12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226" h="127328">
                      <a:moveTo>
                        <a:pt x="98562" y="127329"/>
                      </a:moveTo>
                      <a:cubicBezTo>
                        <a:pt x="95108" y="127329"/>
                        <a:pt x="92182" y="124658"/>
                        <a:pt x="91926" y="121155"/>
                      </a:cubicBezTo>
                      <a:cubicBezTo>
                        <a:pt x="88223" y="70817"/>
                        <a:pt x="53200" y="27374"/>
                        <a:pt x="4777" y="13049"/>
                      </a:cubicBezTo>
                      <a:cubicBezTo>
                        <a:pt x="1245" y="12006"/>
                        <a:pt x="-767" y="8301"/>
                        <a:pt x="274" y="4772"/>
                      </a:cubicBezTo>
                      <a:cubicBezTo>
                        <a:pt x="1323" y="1245"/>
                        <a:pt x="5042" y="-767"/>
                        <a:pt x="8550" y="274"/>
                      </a:cubicBezTo>
                      <a:cubicBezTo>
                        <a:pt x="62261" y="16161"/>
                        <a:pt x="101104" y="64346"/>
                        <a:pt x="105207" y="120179"/>
                      </a:cubicBezTo>
                      <a:cubicBezTo>
                        <a:pt x="105482" y="123849"/>
                        <a:pt x="102722" y="127043"/>
                        <a:pt x="99054" y="127308"/>
                      </a:cubicBezTo>
                      <a:cubicBezTo>
                        <a:pt x="98895" y="127322"/>
                        <a:pt x="98724" y="127329"/>
                        <a:pt x="98562" y="127329"/>
                      </a:cubicBezTo>
                      <a:close/>
                    </a:path>
                  </a:pathLst>
                </a:custGeom>
                <a:grpFill/>
                <a:ln w="234" cap="flat">
                  <a:noFill/>
                  <a:prstDash val="solid"/>
                  <a:miter/>
                </a:ln>
              </p:spPr>
              <p:txBody>
                <a:bodyPr rtlCol="0" anchor="ctr"/>
                <a:lstStyle/>
                <a:p>
                  <a:endParaRPr lang="en-GB" dirty="0"/>
                </a:p>
              </p:txBody>
            </p:sp>
            <p:sp>
              <p:nvSpPr>
                <p:cNvPr id="81" name="Freihandform: Form 221">
                  <a:extLst>
                    <a:ext uri="{FF2B5EF4-FFF2-40B4-BE49-F238E27FC236}">
                      <a16:creationId xmlns:a16="http://schemas.microsoft.com/office/drawing/2014/main" id="{3AA0434F-CACA-4F5F-A889-F09A350B2E99}"/>
                    </a:ext>
                  </a:extLst>
                </p:cNvPr>
                <p:cNvSpPr/>
                <p:nvPr/>
              </p:nvSpPr>
              <p:spPr>
                <a:xfrm>
                  <a:off x="2616105" y="1900834"/>
                  <a:ext cx="42134" cy="23669"/>
                </a:xfrm>
                <a:custGeom>
                  <a:avLst/>
                  <a:gdLst>
                    <a:gd name="connsiteX0" fmla="*/ 35480 w 42134"/>
                    <a:gd name="connsiteY0" fmla="*/ 23670 h 23669"/>
                    <a:gd name="connsiteX1" fmla="*/ 33991 w 42134"/>
                    <a:gd name="connsiteY1" fmla="*/ 23503 h 23669"/>
                    <a:gd name="connsiteX2" fmla="*/ 3676 w 42134"/>
                    <a:gd name="connsiteY2" fmla="*/ 12621 h 23669"/>
                    <a:gd name="connsiteX3" fmla="*/ 710 w 42134"/>
                    <a:gd name="connsiteY3" fmla="*/ 3682 h 23669"/>
                    <a:gd name="connsiteX4" fmla="*/ 9648 w 42134"/>
                    <a:gd name="connsiteY4" fmla="*/ 709 h 23669"/>
                    <a:gd name="connsiteX5" fmla="*/ 36957 w 42134"/>
                    <a:gd name="connsiteY5" fmla="*/ 10513 h 23669"/>
                    <a:gd name="connsiteX6" fmla="*/ 41965 w 42134"/>
                    <a:gd name="connsiteY6" fmla="*/ 18492 h 23669"/>
                    <a:gd name="connsiteX7" fmla="*/ 35480 w 42134"/>
                    <a:gd name="connsiteY7" fmla="*/ 23670 h 23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34" h="23669">
                      <a:moveTo>
                        <a:pt x="35480" y="23670"/>
                      </a:moveTo>
                      <a:cubicBezTo>
                        <a:pt x="34985" y="23670"/>
                        <a:pt x="34490" y="23618"/>
                        <a:pt x="33991" y="23503"/>
                      </a:cubicBezTo>
                      <a:cubicBezTo>
                        <a:pt x="23511" y="21107"/>
                        <a:pt x="13311" y="17446"/>
                        <a:pt x="3676" y="12621"/>
                      </a:cubicBezTo>
                      <a:cubicBezTo>
                        <a:pt x="391" y="10972"/>
                        <a:pt x="-943" y="6972"/>
                        <a:pt x="710" y="3682"/>
                      </a:cubicBezTo>
                      <a:cubicBezTo>
                        <a:pt x="2349" y="390"/>
                        <a:pt x="6363" y="-942"/>
                        <a:pt x="9648" y="709"/>
                      </a:cubicBezTo>
                      <a:cubicBezTo>
                        <a:pt x="18327" y="5058"/>
                        <a:pt x="27512" y="8355"/>
                        <a:pt x="36957" y="10513"/>
                      </a:cubicBezTo>
                      <a:cubicBezTo>
                        <a:pt x="40542" y="11333"/>
                        <a:pt x="42786" y="14904"/>
                        <a:pt x="41965" y="18492"/>
                      </a:cubicBezTo>
                      <a:cubicBezTo>
                        <a:pt x="41262" y="21578"/>
                        <a:pt x="38516" y="23670"/>
                        <a:pt x="35480" y="23670"/>
                      </a:cubicBezTo>
                      <a:close/>
                    </a:path>
                  </a:pathLst>
                </a:custGeom>
                <a:grpFill/>
                <a:ln w="234" cap="flat">
                  <a:noFill/>
                  <a:prstDash val="solid"/>
                  <a:miter/>
                </a:ln>
              </p:spPr>
              <p:txBody>
                <a:bodyPr rtlCol="0" anchor="ctr"/>
                <a:lstStyle/>
                <a:p>
                  <a:endParaRPr lang="en-GB" dirty="0"/>
                </a:p>
              </p:txBody>
            </p:sp>
          </p:grpSp>
          <p:sp>
            <p:nvSpPr>
              <p:cNvPr id="78" name="Freihandform: Form 222">
                <a:extLst>
                  <a:ext uri="{FF2B5EF4-FFF2-40B4-BE49-F238E27FC236}">
                    <a16:creationId xmlns:a16="http://schemas.microsoft.com/office/drawing/2014/main" id="{958CA7B7-9EDC-4FCA-87E1-386F6204677C}"/>
                  </a:ext>
                </a:extLst>
              </p:cNvPr>
              <p:cNvSpPr/>
              <p:nvPr/>
            </p:nvSpPr>
            <p:spPr>
              <a:xfrm>
                <a:off x="2602997" y="1735004"/>
                <a:ext cx="103633" cy="87392"/>
              </a:xfrm>
              <a:custGeom>
                <a:avLst/>
                <a:gdLst>
                  <a:gd name="connsiteX0" fmla="*/ 76461 w 103633"/>
                  <a:gd name="connsiteY0" fmla="*/ 87393 h 87392"/>
                  <a:gd name="connsiteX1" fmla="*/ 59334 w 103633"/>
                  <a:gd name="connsiteY1" fmla="*/ 81805 h 87392"/>
                  <a:gd name="connsiteX2" fmla="*/ 1238 w 103633"/>
                  <a:gd name="connsiteY2" fmla="*/ 10526 h 87392"/>
                  <a:gd name="connsiteX3" fmla="*/ 1465 w 103633"/>
                  <a:gd name="connsiteY3" fmla="*/ 2490 h 87392"/>
                  <a:gd name="connsiteX4" fmla="*/ 9264 w 103633"/>
                  <a:gd name="connsiteY4" fmla="*/ 529 h 87392"/>
                  <a:gd name="connsiteX5" fmla="*/ 92003 w 103633"/>
                  <a:gd name="connsiteY5" fmla="*/ 37351 h 87392"/>
                  <a:gd name="connsiteX6" fmla="*/ 103303 w 103633"/>
                  <a:gd name="connsiteY6" fmla="*/ 54684 h 87392"/>
                  <a:gd name="connsiteX7" fmla="*/ 97649 w 103633"/>
                  <a:gd name="connsiteY7" fmla="*/ 76172 h 87392"/>
                  <a:gd name="connsiteX8" fmla="*/ 76461 w 103633"/>
                  <a:gd name="connsiteY8" fmla="*/ 87393 h 87392"/>
                  <a:gd name="connsiteX9" fmla="*/ 26340 w 103633"/>
                  <a:gd name="connsiteY9" fmla="*/ 22316 h 87392"/>
                  <a:gd name="connsiteX10" fmla="*/ 66697 w 103633"/>
                  <a:gd name="connsiteY10" fmla="*/ 70700 h 87392"/>
                  <a:gd name="connsiteX11" fmla="*/ 87018 w 103633"/>
                  <a:gd name="connsiteY11" fmla="*/ 68144 h 87392"/>
                  <a:gd name="connsiteX12" fmla="*/ 90146 w 103633"/>
                  <a:gd name="connsiteY12" fmla="*/ 56825 h 87392"/>
                  <a:gd name="connsiteX13" fmla="*/ 84481 w 103633"/>
                  <a:gd name="connsiteY13" fmla="*/ 48344 h 87392"/>
                  <a:gd name="connsiteX14" fmla="*/ 26340 w 103633"/>
                  <a:gd name="connsiteY14" fmla="*/ 22316 h 87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3633" h="87392">
                    <a:moveTo>
                      <a:pt x="76461" y="87393"/>
                    </a:moveTo>
                    <a:cubicBezTo>
                      <a:pt x="70855" y="87393"/>
                      <a:pt x="64985" y="85552"/>
                      <a:pt x="59334" y="81805"/>
                    </a:cubicBezTo>
                    <a:cubicBezTo>
                      <a:pt x="45954" y="72930"/>
                      <a:pt x="5777" y="16887"/>
                      <a:pt x="1238" y="10526"/>
                    </a:cubicBezTo>
                    <a:cubicBezTo>
                      <a:pt x="-493" y="8099"/>
                      <a:pt x="-401" y="4813"/>
                      <a:pt x="1465" y="2490"/>
                    </a:cubicBezTo>
                    <a:cubicBezTo>
                      <a:pt x="3339" y="164"/>
                      <a:pt x="6547" y="-634"/>
                      <a:pt x="9264" y="529"/>
                    </a:cubicBezTo>
                    <a:cubicBezTo>
                      <a:pt x="22002" y="5934"/>
                      <a:pt x="85836" y="33121"/>
                      <a:pt x="92003" y="37351"/>
                    </a:cubicBezTo>
                    <a:cubicBezTo>
                      <a:pt x="98151" y="41567"/>
                      <a:pt x="102163" y="47720"/>
                      <a:pt x="103303" y="54684"/>
                    </a:cubicBezTo>
                    <a:cubicBezTo>
                      <a:pt x="104494" y="62000"/>
                      <a:pt x="102437" y="69834"/>
                      <a:pt x="97649" y="76172"/>
                    </a:cubicBezTo>
                    <a:cubicBezTo>
                      <a:pt x="92055" y="83585"/>
                      <a:pt x="84520" y="87393"/>
                      <a:pt x="76461" y="87393"/>
                    </a:cubicBezTo>
                    <a:close/>
                    <a:moveTo>
                      <a:pt x="26340" y="22316"/>
                    </a:moveTo>
                    <a:cubicBezTo>
                      <a:pt x="42050" y="43387"/>
                      <a:pt x="60289" y="66448"/>
                      <a:pt x="66697" y="70700"/>
                    </a:cubicBezTo>
                    <a:cubicBezTo>
                      <a:pt x="74484" y="75868"/>
                      <a:pt x="81887" y="74932"/>
                      <a:pt x="87018" y="68144"/>
                    </a:cubicBezTo>
                    <a:cubicBezTo>
                      <a:pt x="89621" y="64697"/>
                      <a:pt x="90758" y="60567"/>
                      <a:pt x="90146" y="56825"/>
                    </a:cubicBezTo>
                    <a:cubicBezTo>
                      <a:pt x="89599" y="53446"/>
                      <a:pt x="87634" y="50513"/>
                      <a:pt x="84481" y="48344"/>
                    </a:cubicBezTo>
                    <a:cubicBezTo>
                      <a:pt x="80996" y="46076"/>
                      <a:pt x="52412" y="33533"/>
                      <a:pt x="26340" y="22316"/>
                    </a:cubicBezTo>
                    <a:close/>
                  </a:path>
                </a:pathLst>
              </a:custGeom>
              <a:grpFill/>
              <a:ln w="234" cap="flat">
                <a:noFill/>
                <a:prstDash val="solid"/>
                <a:miter/>
              </a:ln>
            </p:spPr>
            <p:txBody>
              <a:bodyPr rtlCol="0" anchor="ctr"/>
              <a:lstStyle/>
              <a:p>
                <a:endParaRPr lang="en-GB" dirty="0"/>
              </a:p>
            </p:txBody>
          </p:sp>
        </p:grpSp>
      </p:grpSp>
      <p:grpSp>
        <p:nvGrpSpPr>
          <p:cNvPr id="23" name="Group 22">
            <a:extLst>
              <a:ext uri="{FF2B5EF4-FFF2-40B4-BE49-F238E27FC236}">
                <a16:creationId xmlns:a16="http://schemas.microsoft.com/office/drawing/2014/main" id="{4CC2AEA9-9E7C-D3ED-0338-E05F6648269C}"/>
              </a:ext>
            </a:extLst>
          </p:cNvPr>
          <p:cNvGrpSpPr/>
          <p:nvPr/>
        </p:nvGrpSpPr>
        <p:grpSpPr>
          <a:xfrm>
            <a:off x="2602670" y="1608995"/>
            <a:ext cx="564496" cy="385988"/>
            <a:chOff x="2602670" y="1608995"/>
            <a:chExt cx="564496" cy="385988"/>
          </a:xfrm>
        </p:grpSpPr>
        <p:grpSp>
          <p:nvGrpSpPr>
            <p:cNvPr id="92" name="Grafik 337">
              <a:extLst>
                <a:ext uri="{FF2B5EF4-FFF2-40B4-BE49-F238E27FC236}">
                  <a16:creationId xmlns:a16="http://schemas.microsoft.com/office/drawing/2014/main" id="{4084C26F-BC83-4953-A5B0-516C3D4A8CD1}"/>
                </a:ext>
              </a:extLst>
            </p:cNvPr>
            <p:cNvGrpSpPr/>
            <p:nvPr/>
          </p:nvGrpSpPr>
          <p:grpSpPr>
            <a:xfrm>
              <a:off x="2602670" y="1608995"/>
              <a:ext cx="564496" cy="385988"/>
              <a:chOff x="1680934" y="4228622"/>
              <a:chExt cx="492928" cy="337051"/>
            </a:xfrm>
            <a:solidFill>
              <a:schemeClr val="tx2"/>
            </a:solidFill>
          </p:grpSpPr>
          <p:sp>
            <p:nvSpPr>
              <p:cNvPr id="101" name="Freihandform: Form 472">
                <a:extLst>
                  <a:ext uri="{FF2B5EF4-FFF2-40B4-BE49-F238E27FC236}">
                    <a16:creationId xmlns:a16="http://schemas.microsoft.com/office/drawing/2014/main" id="{F8FBB901-D233-4AE2-B4B9-DAE694A431E2}"/>
                  </a:ext>
                </a:extLst>
              </p:cNvPr>
              <p:cNvSpPr/>
              <p:nvPr/>
            </p:nvSpPr>
            <p:spPr>
              <a:xfrm>
                <a:off x="1680934" y="4228622"/>
                <a:ext cx="492928" cy="337051"/>
              </a:xfrm>
              <a:custGeom>
                <a:avLst/>
                <a:gdLst>
                  <a:gd name="connsiteX0" fmla="*/ 412994 w 492928"/>
                  <a:gd name="connsiteY0" fmla="*/ 337051 h 337051"/>
                  <a:gd name="connsiteX1" fmla="*/ 408610 w 492928"/>
                  <a:gd name="connsiteY1" fmla="*/ 335386 h 337051"/>
                  <a:gd name="connsiteX2" fmla="*/ 406333 w 492928"/>
                  <a:gd name="connsiteY2" fmla="*/ 330392 h 337051"/>
                  <a:gd name="connsiteX3" fmla="*/ 406333 w 492928"/>
                  <a:gd name="connsiteY3" fmla="*/ 63945 h 337051"/>
                  <a:gd name="connsiteX4" fmla="*/ 412108 w 492928"/>
                  <a:gd name="connsiteY4" fmla="*/ 57332 h 337051"/>
                  <a:gd name="connsiteX5" fmla="*/ 479244 w 492928"/>
                  <a:gd name="connsiteY5" fmla="*/ 39886 h 337051"/>
                  <a:gd name="connsiteX6" fmla="*/ 246464 w 492928"/>
                  <a:gd name="connsiteY6" fmla="*/ 13319 h 337051"/>
                  <a:gd name="connsiteX7" fmla="*/ 13685 w 492928"/>
                  <a:gd name="connsiteY7" fmla="*/ 39886 h 337051"/>
                  <a:gd name="connsiteX8" fmla="*/ 80823 w 492928"/>
                  <a:gd name="connsiteY8" fmla="*/ 57332 h 337051"/>
                  <a:gd name="connsiteX9" fmla="*/ 86598 w 492928"/>
                  <a:gd name="connsiteY9" fmla="*/ 63945 h 337051"/>
                  <a:gd name="connsiteX10" fmla="*/ 86598 w 492928"/>
                  <a:gd name="connsiteY10" fmla="*/ 330392 h 337051"/>
                  <a:gd name="connsiteX11" fmla="*/ 84321 w 492928"/>
                  <a:gd name="connsiteY11" fmla="*/ 335386 h 337051"/>
                  <a:gd name="connsiteX12" fmla="*/ 79052 w 492928"/>
                  <a:gd name="connsiteY12" fmla="*/ 336981 h 337051"/>
                  <a:gd name="connsiteX13" fmla="*/ 0 w 492928"/>
                  <a:gd name="connsiteY13" fmla="*/ 306404 h 337051"/>
                  <a:gd name="connsiteX14" fmla="*/ 24602 w 492928"/>
                  <a:gd name="connsiteY14" fmla="*/ 286730 h 337051"/>
                  <a:gd name="connsiteX15" fmla="*/ 32969 w 492928"/>
                  <a:gd name="connsiteY15" fmla="*/ 291068 h 337051"/>
                  <a:gd name="connsiteX16" fmla="*/ 28636 w 492928"/>
                  <a:gd name="connsiteY16" fmla="*/ 299440 h 337051"/>
                  <a:gd name="connsiteX17" fmla="*/ 13762 w 492928"/>
                  <a:gd name="connsiteY17" fmla="*/ 306404 h 337051"/>
                  <a:gd name="connsiteX18" fmla="*/ 73277 w 492928"/>
                  <a:gd name="connsiteY18" fmla="*/ 322724 h 337051"/>
                  <a:gd name="connsiteX19" fmla="*/ 73277 w 492928"/>
                  <a:gd name="connsiteY19" fmla="*/ 69736 h 337051"/>
                  <a:gd name="connsiteX20" fmla="*/ 0 w 492928"/>
                  <a:gd name="connsiteY20" fmla="*/ 39957 h 337051"/>
                  <a:gd name="connsiteX21" fmla="*/ 246464 w 492928"/>
                  <a:gd name="connsiteY21" fmla="*/ 0 h 337051"/>
                  <a:gd name="connsiteX22" fmla="*/ 492929 w 492928"/>
                  <a:gd name="connsiteY22" fmla="*/ 39957 h 337051"/>
                  <a:gd name="connsiteX23" fmla="*/ 419656 w 492928"/>
                  <a:gd name="connsiteY23" fmla="*/ 69736 h 337051"/>
                  <a:gd name="connsiteX24" fmla="*/ 419656 w 492928"/>
                  <a:gd name="connsiteY24" fmla="*/ 322724 h 337051"/>
                  <a:gd name="connsiteX25" fmla="*/ 479167 w 492928"/>
                  <a:gd name="connsiteY25" fmla="*/ 306404 h 337051"/>
                  <a:gd name="connsiteX26" fmla="*/ 464270 w 492928"/>
                  <a:gd name="connsiteY26" fmla="*/ 299440 h 337051"/>
                  <a:gd name="connsiteX27" fmla="*/ 459936 w 492928"/>
                  <a:gd name="connsiteY27" fmla="*/ 291068 h 337051"/>
                  <a:gd name="connsiteX28" fmla="*/ 468303 w 492928"/>
                  <a:gd name="connsiteY28" fmla="*/ 286730 h 337051"/>
                  <a:gd name="connsiteX29" fmla="*/ 492929 w 492928"/>
                  <a:gd name="connsiteY29" fmla="*/ 306404 h 337051"/>
                  <a:gd name="connsiteX30" fmla="*/ 413878 w 492928"/>
                  <a:gd name="connsiteY30" fmla="*/ 336981 h 337051"/>
                  <a:gd name="connsiteX31" fmla="*/ 412994 w 492928"/>
                  <a:gd name="connsiteY31" fmla="*/ 337051 h 337051"/>
                  <a:gd name="connsiteX32" fmla="*/ 479727 w 492928"/>
                  <a:gd name="connsiteY32" fmla="*/ 307060 h 337051"/>
                  <a:gd name="connsiteX33" fmla="*/ 479795 w 492928"/>
                  <a:gd name="connsiteY33" fmla="*/ 307060 h 337051"/>
                  <a:gd name="connsiteX34" fmla="*/ 479727 w 492928"/>
                  <a:gd name="connsiteY34" fmla="*/ 307060 h 337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92928" h="337051">
                    <a:moveTo>
                      <a:pt x="412994" y="337051"/>
                    </a:moveTo>
                    <a:cubicBezTo>
                      <a:pt x="411391" y="337051"/>
                      <a:pt x="409829" y="336465"/>
                      <a:pt x="408610" y="335386"/>
                    </a:cubicBezTo>
                    <a:cubicBezTo>
                      <a:pt x="407163" y="334120"/>
                      <a:pt x="406333" y="332291"/>
                      <a:pt x="406333" y="330392"/>
                    </a:cubicBezTo>
                    <a:lnTo>
                      <a:pt x="406333" y="63945"/>
                    </a:lnTo>
                    <a:cubicBezTo>
                      <a:pt x="406333" y="60591"/>
                      <a:pt x="408802" y="57778"/>
                      <a:pt x="412108" y="57332"/>
                    </a:cubicBezTo>
                    <a:cubicBezTo>
                      <a:pt x="465388" y="50180"/>
                      <a:pt x="477012" y="42067"/>
                      <a:pt x="479244" y="39886"/>
                    </a:cubicBezTo>
                    <a:cubicBezTo>
                      <a:pt x="470172" y="28772"/>
                      <a:pt x="384443" y="13319"/>
                      <a:pt x="246464" y="13319"/>
                    </a:cubicBezTo>
                    <a:cubicBezTo>
                      <a:pt x="108495" y="13319"/>
                      <a:pt x="22762" y="28772"/>
                      <a:pt x="13685" y="39886"/>
                    </a:cubicBezTo>
                    <a:cubicBezTo>
                      <a:pt x="15917" y="42067"/>
                      <a:pt x="27541" y="50180"/>
                      <a:pt x="80823" y="57332"/>
                    </a:cubicBezTo>
                    <a:cubicBezTo>
                      <a:pt x="84131" y="57778"/>
                      <a:pt x="86598" y="60591"/>
                      <a:pt x="86598" y="63945"/>
                    </a:cubicBezTo>
                    <a:lnTo>
                      <a:pt x="86598" y="330392"/>
                    </a:lnTo>
                    <a:cubicBezTo>
                      <a:pt x="86598" y="332291"/>
                      <a:pt x="85768" y="334120"/>
                      <a:pt x="84321" y="335386"/>
                    </a:cubicBezTo>
                    <a:cubicBezTo>
                      <a:pt x="82877" y="336653"/>
                      <a:pt x="80966" y="337239"/>
                      <a:pt x="79052" y="336981"/>
                    </a:cubicBezTo>
                    <a:cubicBezTo>
                      <a:pt x="0" y="326382"/>
                      <a:pt x="0" y="312383"/>
                      <a:pt x="0" y="306404"/>
                    </a:cubicBezTo>
                    <a:cubicBezTo>
                      <a:pt x="0" y="295782"/>
                      <a:pt x="14041" y="290107"/>
                      <a:pt x="24602" y="286730"/>
                    </a:cubicBezTo>
                    <a:cubicBezTo>
                      <a:pt x="28096" y="285628"/>
                      <a:pt x="31848" y="287575"/>
                      <a:pt x="32969" y="291068"/>
                    </a:cubicBezTo>
                    <a:cubicBezTo>
                      <a:pt x="34080" y="294586"/>
                      <a:pt x="32143" y="298337"/>
                      <a:pt x="28636" y="299440"/>
                    </a:cubicBezTo>
                    <a:cubicBezTo>
                      <a:pt x="18597" y="302628"/>
                      <a:pt x="14974" y="305255"/>
                      <a:pt x="13762" y="306404"/>
                    </a:cubicBezTo>
                    <a:cubicBezTo>
                      <a:pt x="16058" y="308584"/>
                      <a:pt x="26961" y="315924"/>
                      <a:pt x="73277" y="322724"/>
                    </a:cubicBezTo>
                    <a:lnTo>
                      <a:pt x="73277" y="69736"/>
                    </a:lnTo>
                    <a:cubicBezTo>
                      <a:pt x="0" y="59231"/>
                      <a:pt x="0" y="45795"/>
                      <a:pt x="0" y="39957"/>
                    </a:cubicBezTo>
                    <a:cubicBezTo>
                      <a:pt x="0" y="446"/>
                      <a:pt x="236400" y="0"/>
                      <a:pt x="246464" y="0"/>
                    </a:cubicBezTo>
                    <a:cubicBezTo>
                      <a:pt x="256528" y="0"/>
                      <a:pt x="492929" y="446"/>
                      <a:pt x="492929" y="39957"/>
                    </a:cubicBezTo>
                    <a:cubicBezTo>
                      <a:pt x="492929" y="45795"/>
                      <a:pt x="492931" y="59231"/>
                      <a:pt x="419656" y="69736"/>
                    </a:cubicBezTo>
                    <a:lnTo>
                      <a:pt x="419656" y="322724"/>
                    </a:lnTo>
                    <a:cubicBezTo>
                      <a:pt x="465965" y="315924"/>
                      <a:pt x="476869" y="308584"/>
                      <a:pt x="479167" y="306404"/>
                    </a:cubicBezTo>
                    <a:cubicBezTo>
                      <a:pt x="477950" y="305255"/>
                      <a:pt x="474320" y="302628"/>
                      <a:pt x="464270" y="299440"/>
                    </a:cubicBezTo>
                    <a:cubicBezTo>
                      <a:pt x="460764" y="298314"/>
                      <a:pt x="458825" y="294562"/>
                      <a:pt x="459936" y="291068"/>
                    </a:cubicBezTo>
                    <a:cubicBezTo>
                      <a:pt x="461052" y="287551"/>
                      <a:pt x="464802" y="285605"/>
                      <a:pt x="468303" y="286730"/>
                    </a:cubicBezTo>
                    <a:cubicBezTo>
                      <a:pt x="479767" y="290365"/>
                      <a:pt x="492929" y="295899"/>
                      <a:pt x="492929" y="306404"/>
                    </a:cubicBezTo>
                    <a:cubicBezTo>
                      <a:pt x="492929" y="312383"/>
                      <a:pt x="492929" y="326382"/>
                      <a:pt x="413878" y="336981"/>
                    </a:cubicBezTo>
                    <a:cubicBezTo>
                      <a:pt x="413585" y="337028"/>
                      <a:pt x="413287" y="337051"/>
                      <a:pt x="412994" y="337051"/>
                    </a:cubicBezTo>
                    <a:close/>
                    <a:moveTo>
                      <a:pt x="479727" y="307060"/>
                    </a:moveTo>
                    <a:lnTo>
                      <a:pt x="479795" y="307060"/>
                    </a:lnTo>
                    <a:lnTo>
                      <a:pt x="479727" y="307060"/>
                    </a:lnTo>
                    <a:close/>
                  </a:path>
                </a:pathLst>
              </a:custGeom>
              <a:grpFill/>
              <a:ln w="234" cap="flat">
                <a:noFill/>
                <a:prstDash val="solid"/>
                <a:miter/>
              </a:ln>
            </p:spPr>
            <p:txBody>
              <a:bodyPr rtlCol="0" anchor="ctr"/>
              <a:lstStyle/>
              <a:p>
                <a:endParaRPr lang="en-GB" dirty="0"/>
              </a:p>
            </p:txBody>
          </p:sp>
          <p:sp>
            <p:nvSpPr>
              <p:cNvPr id="102" name="Freihandform: Form 473">
                <a:extLst>
                  <a:ext uri="{FF2B5EF4-FFF2-40B4-BE49-F238E27FC236}">
                    <a16:creationId xmlns:a16="http://schemas.microsoft.com/office/drawing/2014/main" id="{4E937F3A-10BC-4309-82BC-55B2BA51F5B4}"/>
                  </a:ext>
                </a:extLst>
              </p:cNvPr>
              <p:cNvSpPr/>
              <p:nvPr/>
            </p:nvSpPr>
            <p:spPr>
              <a:xfrm>
                <a:off x="2048531" y="4500170"/>
                <a:ext cx="72047" cy="20598"/>
              </a:xfrm>
              <a:custGeom>
                <a:avLst/>
                <a:gdLst>
                  <a:gd name="connsiteX0" fmla="*/ 65389 w 72047"/>
                  <a:gd name="connsiteY0" fmla="*/ 20599 h 20598"/>
                  <a:gd name="connsiteX1" fmla="*/ 64257 w 72047"/>
                  <a:gd name="connsiteY1" fmla="*/ 20505 h 20598"/>
                  <a:gd name="connsiteX2" fmla="*/ 6078 w 72047"/>
                  <a:gd name="connsiteY2" fmla="*/ 13306 h 20598"/>
                  <a:gd name="connsiteX3" fmla="*/ 26 w 72047"/>
                  <a:gd name="connsiteY3" fmla="*/ 6084 h 20598"/>
                  <a:gd name="connsiteX4" fmla="*/ 7244 w 72047"/>
                  <a:gd name="connsiteY4" fmla="*/ 34 h 20598"/>
                  <a:gd name="connsiteX5" fmla="*/ 66508 w 72047"/>
                  <a:gd name="connsiteY5" fmla="*/ 7374 h 20598"/>
                  <a:gd name="connsiteX6" fmla="*/ 71950 w 72047"/>
                  <a:gd name="connsiteY6" fmla="*/ 15065 h 20598"/>
                  <a:gd name="connsiteX7" fmla="*/ 65389 w 72047"/>
                  <a:gd name="connsiteY7" fmla="*/ 20599 h 20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047" h="20598">
                    <a:moveTo>
                      <a:pt x="65389" y="20599"/>
                    </a:moveTo>
                    <a:cubicBezTo>
                      <a:pt x="65019" y="20599"/>
                      <a:pt x="64639" y="20552"/>
                      <a:pt x="64257" y="20505"/>
                    </a:cubicBezTo>
                    <a:cubicBezTo>
                      <a:pt x="47761" y="17668"/>
                      <a:pt x="28186" y="15252"/>
                      <a:pt x="6078" y="13306"/>
                    </a:cubicBezTo>
                    <a:cubicBezTo>
                      <a:pt x="2413" y="13001"/>
                      <a:pt x="-297" y="9765"/>
                      <a:pt x="26" y="6084"/>
                    </a:cubicBezTo>
                    <a:cubicBezTo>
                      <a:pt x="345" y="2426"/>
                      <a:pt x="3572" y="-341"/>
                      <a:pt x="7244" y="34"/>
                    </a:cubicBezTo>
                    <a:cubicBezTo>
                      <a:pt x="29712" y="2004"/>
                      <a:pt x="49653" y="4466"/>
                      <a:pt x="66508" y="7374"/>
                    </a:cubicBezTo>
                    <a:cubicBezTo>
                      <a:pt x="70135" y="7983"/>
                      <a:pt x="72572" y="11430"/>
                      <a:pt x="71950" y="15065"/>
                    </a:cubicBezTo>
                    <a:cubicBezTo>
                      <a:pt x="71395" y="18300"/>
                      <a:pt x="68576" y="20599"/>
                      <a:pt x="65389" y="20599"/>
                    </a:cubicBezTo>
                    <a:close/>
                  </a:path>
                </a:pathLst>
              </a:custGeom>
              <a:grpFill/>
              <a:ln w="234" cap="flat">
                <a:noFill/>
                <a:prstDash val="solid"/>
                <a:miter/>
              </a:ln>
            </p:spPr>
            <p:txBody>
              <a:bodyPr rtlCol="0" anchor="ctr"/>
              <a:lstStyle/>
              <a:p>
                <a:endParaRPr lang="en-GB" dirty="0"/>
              </a:p>
            </p:txBody>
          </p:sp>
          <p:sp>
            <p:nvSpPr>
              <p:cNvPr id="103" name="Freihandform: Form 474">
                <a:extLst>
                  <a:ext uri="{FF2B5EF4-FFF2-40B4-BE49-F238E27FC236}">
                    <a16:creationId xmlns:a16="http://schemas.microsoft.com/office/drawing/2014/main" id="{C15289A6-AC48-4F62-A949-D2049B2EBC8C}"/>
                  </a:ext>
                </a:extLst>
              </p:cNvPr>
              <p:cNvSpPr/>
              <p:nvPr/>
            </p:nvSpPr>
            <p:spPr>
              <a:xfrm>
                <a:off x="1734222" y="4500552"/>
                <a:ext cx="67824" cy="20216"/>
              </a:xfrm>
              <a:custGeom>
                <a:avLst/>
                <a:gdLst>
                  <a:gd name="connsiteX0" fmla="*/ 6654 w 67824"/>
                  <a:gd name="connsiteY0" fmla="*/ 20216 h 20216"/>
                  <a:gd name="connsiteX1" fmla="*/ 97 w 67824"/>
                  <a:gd name="connsiteY1" fmla="*/ 14682 h 20216"/>
                  <a:gd name="connsiteX2" fmla="*/ 5533 w 67824"/>
                  <a:gd name="connsiteY2" fmla="*/ 6991 h 20216"/>
                  <a:gd name="connsiteX3" fmla="*/ 60555 w 67824"/>
                  <a:gd name="connsiteY3" fmla="*/ 27 h 20216"/>
                  <a:gd name="connsiteX4" fmla="*/ 67796 w 67824"/>
                  <a:gd name="connsiteY4" fmla="*/ 6053 h 20216"/>
                  <a:gd name="connsiteX5" fmla="*/ 61772 w 67824"/>
                  <a:gd name="connsiteY5" fmla="*/ 13299 h 20216"/>
                  <a:gd name="connsiteX6" fmla="*/ 7789 w 67824"/>
                  <a:gd name="connsiteY6" fmla="*/ 20123 h 20216"/>
                  <a:gd name="connsiteX7" fmla="*/ 6654 w 67824"/>
                  <a:gd name="connsiteY7" fmla="*/ 20216 h 20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24" h="20216">
                    <a:moveTo>
                      <a:pt x="6654" y="20216"/>
                    </a:moveTo>
                    <a:cubicBezTo>
                      <a:pt x="3469" y="20216"/>
                      <a:pt x="653" y="17918"/>
                      <a:pt x="97" y="14682"/>
                    </a:cubicBezTo>
                    <a:cubicBezTo>
                      <a:pt x="-526" y="11048"/>
                      <a:pt x="1910" y="7601"/>
                      <a:pt x="5533" y="6991"/>
                    </a:cubicBezTo>
                    <a:cubicBezTo>
                      <a:pt x="21255" y="4295"/>
                      <a:pt x="39766" y="1950"/>
                      <a:pt x="60555" y="27"/>
                    </a:cubicBezTo>
                    <a:cubicBezTo>
                      <a:pt x="64230" y="-301"/>
                      <a:pt x="67463" y="2395"/>
                      <a:pt x="67796" y="6053"/>
                    </a:cubicBezTo>
                    <a:cubicBezTo>
                      <a:pt x="68134" y="9735"/>
                      <a:pt x="65437" y="12971"/>
                      <a:pt x="61772" y="13299"/>
                    </a:cubicBezTo>
                    <a:cubicBezTo>
                      <a:pt x="41330" y="15175"/>
                      <a:pt x="23169" y="17473"/>
                      <a:pt x="7789" y="20123"/>
                    </a:cubicBezTo>
                    <a:cubicBezTo>
                      <a:pt x="7404" y="20170"/>
                      <a:pt x="7027" y="20216"/>
                      <a:pt x="6654" y="20216"/>
                    </a:cubicBezTo>
                    <a:close/>
                  </a:path>
                </a:pathLst>
              </a:custGeom>
              <a:grpFill/>
              <a:ln w="234" cap="flat">
                <a:noFill/>
                <a:prstDash val="solid"/>
                <a:miter/>
              </a:ln>
            </p:spPr>
            <p:txBody>
              <a:bodyPr rtlCol="0" anchor="ctr"/>
              <a:lstStyle/>
              <a:p>
                <a:endParaRPr lang="en-GB" dirty="0"/>
              </a:p>
            </p:txBody>
          </p:sp>
          <p:sp>
            <p:nvSpPr>
              <p:cNvPr id="104" name="Freihandform: Form 475">
                <a:extLst>
                  <a:ext uri="{FF2B5EF4-FFF2-40B4-BE49-F238E27FC236}">
                    <a16:creationId xmlns:a16="http://schemas.microsoft.com/office/drawing/2014/main" id="{5A6A78AC-9CD2-441A-9923-FB077B355A7E}"/>
                  </a:ext>
                </a:extLst>
              </p:cNvPr>
              <p:cNvSpPr/>
              <p:nvPr/>
            </p:nvSpPr>
            <p:spPr>
              <a:xfrm>
                <a:off x="2160539" y="4261919"/>
                <a:ext cx="13323" cy="279765"/>
              </a:xfrm>
              <a:custGeom>
                <a:avLst/>
                <a:gdLst>
                  <a:gd name="connsiteX0" fmla="*/ 6662 w 13323"/>
                  <a:gd name="connsiteY0" fmla="*/ 279766 h 279765"/>
                  <a:gd name="connsiteX1" fmla="*/ 0 w 13323"/>
                  <a:gd name="connsiteY1" fmla="*/ 273107 h 279765"/>
                  <a:gd name="connsiteX2" fmla="*/ 0 w 13323"/>
                  <a:gd name="connsiteY2" fmla="*/ 6660 h 279765"/>
                  <a:gd name="connsiteX3" fmla="*/ 6662 w 13323"/>
                  <a:gd name="connsiteY3" fmla="*/ 0 h 279765"/>
                  <a:gd name="connsiteX4" fmla="*/ 13323 w 13323"/>
                  <a:gd name="connsiteY4" fmla="*/ 6660 h 279765"/>
                  <a:gd name="connsiteX5" fmla="*/ 13323 w 13323"/>
                  <a:gd name="connsiteY5" fmla="*/ 273107 h 279765"/>
                  <a:gd name="connsiteX6" fmla="*/ 6662 w 13323"/>
                  <a:gd name="connsiteY6" fmla="*/ 279766 h 27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3" h="279765">
                    <a:moveTo>
                      <a:pt x="6662" y="279766"/>
                    </a:moveTo>
                    <a:cubicBezTo>
                      <a:pt x="2983" y="279766"/>
                      <a:pt x="0" y="276788"/>
                      <a:pt x="0" y="273107"/>
                    </a:cubicBezTo>
                    <a:lnTo>
                      <a:pt x="0" y="6660"/>
                    </a:lnTo>
                    <a:cubicBezTo>
                      <a:pt x="0" y="2978"/>
                      <a:pt x="2983" y="0"/>
                      <a:pt x="6662" y="0"/>
                    </a:cubicBezTo>
                    <a:cubicBezTo>
                      <a:pt x="10341" y="0"/>
                      <a:pt x="13323" y="2978"/>
                      <a:pt x="13323" y="6660"/>
                    </a:cubicBezTo>
                    <a:lnTo>
                      <a:pt x="13323" y="273107"/>
                    </a:lnTo>
                    <a:cubicBezTo>
                      <a:pt x="13323" y="276788"/>
                      <a:pt x="10341" y="279766"/>
                      <a:pt x="6662" y="279766"/>
                    </a:cubicBezTo>
                    <a:close/>
                  </a:path>
                </a:pathLst>
              </a:custGeom>
              <a:grpFill/>
              <a:ln w="234" cap="flat">
                <a:noFill/>
                <a:prstDash val="solid"/>
                <a:miter/>
              </a:ln>
            </p:spPr>
            <p:txBody>
              <a:bodyPr rtlCol="0" anchor="ctr"/>
              <a:lstStyle/>
              <a:p>
                <a:endParaRPr lang="en-GB" dirty="0"/>
              </a:p>
            </p:txBody>
          </p:sp>
          <p:sp>
            <p:nvSpPr>
              <p:cNvPr id="105" name="Freihandform: Form 476">
                <a:extLst>
                  <a:ext uri="{FF2B5EF4-FFF2-40B4-BE49-F238E27FC236}">
                    <a16:creationId xmlns:a16="http://schemas.microsoft.com/office/drawing/2014/main" id="{253B757C-2A49-49DF-BEAD-671482B827F3}"/>
                  </a:ext>
                </a:extLst>
              </p:cNvPr>
              <p:cNvSpPr/>
              <p:nvPr/>
            </p:nvSpPr>
            <p:spPr>
              <a:xfrm>
                <a:off x="1680934" y="4265249"/>
                <a:ext cx="13323" cy="279765"/>
              </a:xfrm>
              <a:custGeom>
                <a:avLst/>
                <a:gdLst>
                  <a:gd name="connsiteX0" fmla="*/ 6662 w 13323"/>
                  <a:gd name="connsiteY0" fmla="*/ 279766 h 279765"/>
                  <a:gd name="connsiteX1" fmla="*/ 0 w 13323"/>
                  <a:gd name="connsiteY1" fmla="*/ 273107 h 279765"/>
                  <a:gd name="connsiteX2" fmla="*/ 0 w 13323"/>
                  <a:gd name="connsiteY2" fmla="*/ 6659 h 279765"/>
                  <a:gd name="connsiteX3" fmla="*/ 6662 w 13323"/>
                  <a:gd name="connsiteY3" fmla="*/ 0 h 279765"/>
                  <a:gd name="connsiteX4" fmla="*/ 13324 w 13323"/>
                  <a:gd name="connsiteY4" fmla="*/ 6659 h 279765"/>
                  <a:gd name="connsiteX5" fmla="*/ 13324 w 13323"/>
                  <a:gd name="connsiteY5" fmla="*/ 273107 h 279765"/>
                  <a:gd name="connsiteX6" fmla="*/ 6662 w 13323"/>
                  <a:gd name="connsiteY6" fmla="*/ 279766 h 27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3" h="279765">
                    <a:moveTo>
                      <a:pt x="6662" y="279766"/>
                    </a:moveTo>
                    <a:cubicBezTo>
                      <a:pt x="2983" y="279766"/>
                      <a:pt x="0" y="276788"/>
                      <a:pt x="0" y="273107"/>
                    </a:cubicBezTo>
                    <a:lnTo>
                      <a:pt x="0" y="6659"/>
                    </a:lnTo>
                    <a:cubicBezTo>
                      <a:pt x="0" y="2978"/>
                      <a:pt x="2983" y="0"/>
                      <a:pt x="6662" y="0"/>
                    </a:cubicBezTo>
                    <a:cubicBezTo>
                      <a:pt x="10341" y="0"/>
                      <a:pt x="13324" y="2978"/>
                      <a:pt x="13324" y="6659"/>
                    </a:cubicBezTo>
                    <a:lnTo>
                      <a:pt x="13324" y="273107"/>
                    </a:lnTo>
                    <a:cubicBezTo>
                      <a:pt x="13324" y="276788"/>
                      <a:pt x="10341" y="279766"/>
                      <a:pt x="6662" y="279766"/>
                    </a:cubicBezTo>
                    <a:close/>
                  </a:path>
                </a:pathLst>
              </a:custGeom>
              <a:grpFill/>
              <a:ln w="234" cap="flat">
                <a:noFill/>
                <a:prstDash val="solid"/>
                <a:miter/>
              </a:ln>
            </p:spPr>
            <p:txBody>
              <a:bodyPr rtlCol="0" anchor="ctr"/>
              <a:lstStyle/>
              <a:p>
                <a:endParaRPr lang="en-GB" dirty="0"/>
              </a:p>
            </p:txBody>
          </p:sp>
        </p:grpSp>
        <p:grpSp>
          <p:nvGrpSpPr>
            <p:cNvPr id="93" name="Grafik 337">
              <a:extLst>
                <a:ext uri="{FF2B5EF4-FFF2-40B4-BE49-F238E27FC236}">
                  <a16:creationId xmlns:a16="http://schemas.microsoft.com/office/drawing/2014/main" id="{3EBE3A13-FE61-41EF-8B56-292818420269}"/>
                </a:ext>
              </a:extLst>
            </p:cNvPr>
            <p:cNvGrpSpPr/>
            <p:nvPr/>
          </p:nvGrpSpPr>
          <p:grpSpPr>
            <a:xfrm>
              <a:off x="2747607" y="1717558"/>
              <a:ext cx="274621" cy="274627"/>
              <a:chOff x="1807496" y="4323425"/>
              <a:chExt cx="239804" cy="239809"/>
            </a:xfrm>
            <a:solidFill>
              <a:schemeClr val="accent1"/>
            </a:solidFill>
          </p:grpSpPr>
          <p:sp>
            <p:nvSpPr>
              <p:cNvPr id="94" name="Freihandform: Form 478">
                <a:extLst>
                  <a:ext uri="{FF2B5EF4-FFF2-40B4-BE49-F238E27FC236}">
                    <a16:creationId xmlns:a16="http://schemas.microsoft.com/office/drawing/2014/main" id="{82BAB8C6-B8E5-4C90-AE65-971DC68481A1}"/>
                  </a:ext>
                </a:extLst>
              </p:cNvPr>
              <p:cNvSpPr/>
              <p:nvPr/>
            </p:nvSpPr>
            <p:spPr>
              <a:xfrm>
                <a:off x="1807496" y="4323425"/>
                <a:ext cx="239804" cy="239809"/>
              </a:xfrm>
              <a:custGeom>
                <a:avLst/>
                <a:gdLst>
                  <a:gd name="connsiteX0" fmla="*/ 119902 w 239804"/>
                  <a:gd name="connsiteY0" fmla="*/ 239810 h 239809"/>
                  <a:gd name="connsiteX1" fmla="*/ 0 w 239804"/>
                  <a:gd name="connsiteY1" fmla="*/ 119917 h 239809"/>
                  <a:gd name="connsiteX2" fmla="*/ 119902 w 239804"/>
                  <a:gd name="connsiteY2" fmla="*/ 0 h 239809"/>
                  <a:gd name="connsiteX3" fmla="*/ 239805 w 239804"/>
                  <a:gd name="connsiteY3" fmla="*/ 119917 h 239809"/>
                  <a:gd name="connsiteX4" fmla="*/ 119902 w 239804"/>
                  <a:gd name="connsiteY4" fmla="*/ 239810 h 239809"/>
                  <a:gd name="connsiteX5" fmla="*/ 119902 w 239804"/>
                  <a:gd name="connsiteY5" fmla="*/ 13319 h 239809"/>
                  <a:gd name="connsiteX6" fmla="*/ 13323 w 239804"/>
                  <a:gd name="connsiteY6" fmla="*/ 119917 h 239809"/>
                  <a:gd name="connsiteX7" fmla="*/ 119902 w 239804"/>
                  <a:gd name="connsiteY7" fmla="*/ 226491 h 239809"/>
                  <a:gd name="connsiteX8" fmla="*/ 226481 w 239804"/>
                  <a:gd name="connsiteY8" fmla="*/ 119917 h 239809"/>
                  <a:gd name="connsiteX9" fmla="*/ 119902 w 239804"/>
                  <a:gd name="connsiteY9" fmla="*/ 13319 h 239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804" h="239809">
                    <a:moveTo>
                      <a:pt x="119902" y="239810"/>
                    </a:moveTo>
                    <a:cubicBezTo>
                      <a:pt x="53789" y="239810"/>
                      <a:pt x="0" y="186018"/>
                      <a:pt x="0" y="119917"/>
                    </a:cubicBezTo>
                    <a:cubicBezTo>
                      <a:pt x="0" y="53791"/>
                      <a:pt x="53787" y="0"/>
                      <a:pt x="119902" y="0"/>
                    </a:cubicBezTo>
                    <a:cubicBezTo>
                      <a:pt x="186018" y="0"/>
                      <a:pt x="239805" y="53791"/>
                      <a:pt x="239805" y="119917"/>
                    </a:cubicBezTo>
                    <a:cubicBezTo>
                      <a:pt x="239802" y="186018"/>
                      <a:pt x="186016" y="239810"/>
                      <a:pt x="119902" y="239810"/>
                    </a:cubicBezTo>
                    <a:close/>
                    <a:moveTo>
                      <a:pt x="119902" y="13319"/>
                    </a:moveTo>
                    <a:cubicBezTo>
                      <a:pt x="61135" y="13319"/>
                      <a:pt x="13323" y="61131"/>
                      <a:pt x="13323" y="119917"/>
                    </a:cubicBezTo>
                    <a:cubicBezTo>
                      <a:pt x="13323" y="178679"/>
                      <a:pt x="61135" y="226491"/>
                      <a:pt x="119902" y="226491"/>
                    </a:cubicBezTo>
                    <a:cubicBezTo>
                      <a:pt x="178669" y="226491"/>
                      <a:pt x="226481" y="178679"/>
                      <a:pt x="226481" y="119917"/>
                    </a:cubicBezTo>
                    <a:cubicBezTo>
                      <a:pt x="226481" y="61131"/>
                      <a:pt x="178669" y="13319"/>
                      <a:pt x="119902" y="13319"/>
                    </a:cubicBezTo>
                    <a:close/>
                  </a:path>
                </a:pathLst>
              </a:custGeom>
              <a:solidFill>
                <a:schemeClr val="accent1"/>
              </a:solidFill>
              <a:ln w="234" cap="flat">
                <a:noFill/>
                <a:prstDash val="solid"/>
                <a:miter/>
              </a:ln>
            </p:spPr>
            <p:txBody>
              <a:bodyPr rtlCol="0" anchor="ctr"/>
              <a:lstStyle/>
              <a:p>
                <a:endParaRPr lang="en-GB" dirty="0"/>
              </a:p>
            </p:txBody>
          </p:sp>
          <p:sp>
            <p:nvSpPr>
              <p:cNvPr id="95" name="Freihandform: Form 479">
                <a:extLst>
                  <a:ext uri="{FF2B5EF4-FFF2-40B4-BE49-F238E27FC236}">
                    <a16:creationId xmlns:a16="http://schemas.microsoft.com/office/drawing/2014/main" id="{1E0C9ECC-8A64-4226-928D-75523C50CF6B}"/>
                  </a:ext>
                </a:extLst>
              </p:cNvPr>
              <p:cNvSpPr/>
              <p:nvPr/>
            </p:nvSpPr>
            <p:spPr>
              <a:xfrm>
                <a:off x="1920737" y="4323425"/>
                <a:ext cx="13323" cy="239809"/>
              </a:xfrm>
              <a:custGeom>
                <a:avLst/>
                <a:gdLst>
                  <a:gd name="connsiteX0" fmla="*/ 6662 w 13323"/>
                  <a:gd name="connsiteY0" fmla="*/ 239810 h 239809"/>
                  <a:gd name="connsiteX1" fmla="*/ 0 w 13323"/>
                  <a:gd name="connsiteY1" fmla="*/ 233150 h 239809"/>
                  <a:gd name="connsiteX2" fmla="*/ 0 w 13323"/>
                  <a:gd name="connsiteY2" fmla="*/ 6660 h 239809"/>
                  <a:gd name="connsiteX3" fmla="*/ 6662 w 13323"/>
                  <a:gd name="connsiteY3" fmla="*/ 0 h 239809"/>
                  <a:gd name="connsiteX4" fmla="*/ 13324 w 13323"/>
                  <a:gd name="connsiteY4" fmla="*/ 6660 h 239809"/>
                  <a:gd name="connsiteX5" fmla="*/ 13324 w 13323"/>
                  <a:gd name="connsiteY5" fmla="*/ 233150 h 239809"/>
                  <a:gd name="connsiteX6" fmla="*/ 6662 w 13323"/>
                  <a:gd name="connsiteY6" fmla="*/ 239810 h 239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23" h="239809">
                    <a:moveTo>
                      <a:pt x="6662" y="239810"/>
                    </a:moveTo>
                    <a:cubicBezTo>
                      <a:pt x="2983" y="239810"/>
                      <a:pt x="0" y="236832"/>
                      <a:pt x="0" y="233150"/>
                    </a:cubicBezTo>
                    <a:lnTo>
                      <a:pt x="0" y="6660"/>
                    </a:lnTo>
                    <a:cubicBezTo>
                      <a:pt x="0" y="2978"/>
                      <a:pt x="2983" y="0"/>
                      <a:pt x="6662" y="0"/>
                    </a:cubicBezTo>
                    <a:cubicBezTo>
                      <a:pt x="10341" y="0"/>
                      <a:pt x="13324" y="2978"/>
                      <a:pt x="13324" y="6660"/>
                    </a:cubicBezTo>
                    <a:lnTo>
                      <a:pt x="13324" y="233150"/>
                    </a:lnTo>
                    <a:cubicBezTo>
                      <a:pt x="13324" y="236832"/>
                      <a:pt x="10341" y="239810"/>
                      <a:pt x="6662" y="239810"/>
                    </a:cubicBezTo>
                    <a:close/>
                  </a:path>
                </a:pathLst>
              </a:custGeom>
              <a:solidFill>
                <a:schemeClr val="accent1"/>
              </a:solidFill>
              <a:ln w="234" cap="flat">
                <a:noFill/>
                <a:prstDash val="solid"/>
                <a:miter/>
              </a:ln>
            </p:spPr>
            <p:txBody>
              <a:bodyPr rtlCol="0" anchor="ctr"/>
              <a:lstStyle/>
              <a:p>
                <a:endParaRPr lang="en-GB" dirty="0"/>
              </a:p>
            </p:txBody>
          </p:sp>
          <p:sp>
            <p:nvSpPr>
              <p:cNvPr id="96" name="Freihandform: Form 480">
                <a:extLst>
                  <a:ext uri="{FF2B5EF4-FFF2-40B4-BE49-F238E27FC236}">
                    <a16:creationId xmlns:a16="http://schemas.microsoft.com/office/drawing/2014/main" id="{AD7CEECF-8FB2-4F25-84A9-F4A0E0DBB749}"/>
                  </a:ext>
                </a:extLst>
              </p:cNvPr>
              <p:cNvSpPr/>
              <p:nvPr/>
            </p:nvSpPr>
            <p:spPr>
              <a:xfrm>
                <a:off x="1920734" y="4323435"/>
                <a:ext cx="66613" cy="239799"/>
              </a:xfrm>
              <a:custGeom>
                <a:avLst/>
                <a:gdLst>
                  <a:gd name="connsiteX0" fmla="*/ 6658 w 66613"/>
                  <a:gd name="connsiteY0" fmla="*/ 239799 h 239799"/>
                  <a:gd name="connsiteX1" fmla="*/ 172 w 66613"/>
                  <a:gd name="connsiteY1" fmla="*/ 234617 h 239799"/>
                  <a:gd name="connsiteX2" fmla="*/ 5178 w 66613"/>
                  <a:gd name="connsiteY2" fmla="*/ 226645 h 239799"/>
                  <a:gd name="connsiteX3" fmla="*/ 53293 w 66613"/>
                  <a:gd name="connsiteY3" fmla="*/ 119906 h 239799"/>
                  <a:gd name="connsiteX4" fmla="*/ 5047 w 66613"/>
                  <a:gd name="connsiteY4" fmla="*/ 13121 h 239799"/>
                  <a:gd name="connsiteX5" fmla="*/ 200 w 66613"/>
                  <a:gd name="connsiteY5" fmla="*/ 5031 h 239799"/>
                  <a:gd name="connsiteX6" fmla="*/ 8280 w 66613"/>
                  <a:gd name="connsiteY6" fmla="*/ 201 h 239799"/>
                  <a:gd name="connsiteX7" fmla="*/ 66614 w 66613"/>
                  <a:gd name="connsiteY7" fmla="*/ 119906 h 239799"/>
                  <a:gd name="connsiteX8" fmla="*/ 8149 w 66613"/>
                  <a:gd name="connsiteY8" fmla="*/ 239635 h 239799"/>
                  <a:gd name="connsiteX9" fmla="*/ 6658 w 66613"/>
                  <a:gd name="connsiteY9" fmla="*/ 239799 h 23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13" h="239799">
                    <a:moveTo>
                      <a:pt x="6658" y="239799"/>
                    </a:moveTo>
                    <a:cubicBezTo>
                      <a:pt x="3623" y="239799"/>
                      <a:pt x="878" y="237712"/>
                      <a:pt x="172" y="234617"/>
                    </a:cubicBezTo>
                    <a:cubicBezTo>
                      <a:pt x="-651" y="231029"/>
                      <a:pt x="1591" y="227465"/>
                      <a:pt x="5178" y="226645"/>
                    </a:cubicBezTo>
                    <a:cubicBezTo>
                      <a:pt x="7087" y="226176"/>
                      <a:pt x="53293" y="213654"/>
                      <a:pt x="53293" y="119906"/>
                    </a:cubicBezTo>
                    <a:cubicBezTo>
                      <a:pt x="53293" y="26252"/>
                      <a:pt x="5532" y="13238"/>
                      <a:pt x="5047" y="13121"/>
                    </a:cubicBezTo>
                    <a:cubicBezTo>
                      <a:pt x="1478" y="12230"/>
                      <a:pt x="-691" y="8595"/>
                      <a:pt x="200" y="5031"/>
                    </a:cubicBezTo>
                    <a:cubicBezTo>
                      <a:pt x="1093" y="1467"/>
                      <a:pt x="4719" y="-690"/>
                      <a:pt x="8280" y="201"/>
                    </a:cubicBezTo>
                    <a:cubicBezTo>
                      <a:pt x="10660" y="787"/>
                      <a:pt x="66614" y="15982"/>
                      <a:pt x="66614" y="119906"/>
                    </a:cubicBezTo>
                    <a:cubicBezTo>
                      <a:pt x="66614" y="225027"/>
                      <a:pt x="10536" y="239072"/>
                      <a:pt x="8149" y="239635"/>
                    </a:cubicBezTo>
                    <a:cubicBezTo>
                      <a:pt x="7654" y="239752"/>
                      <a:pt x="7153" y="239799"/>
                      <a:pt x="6658" y="239799"/>
                    </a:cubicBezTo>
                    <a:close/>
                  </a:path>
                </a:pathLst>
              </a:custGeom>
              <a:solidFill>
                <a:schemeClr val="accent1"/>
              </a:solidFill>
              <a:ln w="234" cap="flat">
                <a:noFill/>
                <a:prstDash val="solid"/>
                <a:miter/>
              </a:ln>
            </p:spPr>
            <p:txBody>
              <a:bodyPr rtlCol="0" anchor="ctr"/>
              <a:lstStyle/>
              <a:p>
                <a:endParaRPr lang="en-GB" dirty="0"/>
              </a:p>
            </p:txBody>
          </p:sp>
          <p:sp>
            <p:nvSpPr>
              <p:cNvPr id="97" name="Freihandform: Form 481">
                <a:extLst>
                  <a:ext uri="{FF2B5EF4-FFF2-40B4-BE49-F238E27FC236}">
                    <a16:creationId xmlns:a16="http://schemas.microsoft.com/office/drawing/2014/main" id="{8236A086-6196-407E-B9D4-EFD0B2478E77}"/>
                  </a:ext>
                </a:extLst>
              </p:cNvPr>
              <p:cNvSpPr/>
              <p:nvPr/>
            </p:nvSpPr>
            <p:spPr>
              <a:xfrm>
                <a:off x="1867447" y="4323435"/>
                <a:ext cx="66614" cy="239799"/>
              </a:xfrm>
              <a:custGeom>
                <a:avLst/>
                <a:gdLst>
                  <a:gd name="connsiteX0" fmla="*/ 59958 w 66614"/>
                  <a:gd name="connsiteY0" fmla="*/ 239799 h 239799"/>
                  <a:gd name="connsiteX1" fmla="*/ 58465 w 66614"/>
                  <a:gd name="connsiteY1" fmla="*/ 239635 h 239799"/>
                  <a:gd name="connsiteX2" fmla="*/ 0 w 66614"/>
                  <a:gd name="connsiteY2" fmla="*/ 119906 h 239799"/>
                  <a:gd name="connsiteX3" fmla="*/ 58333 w 66614"/>
                  <a:gd name="connsiteY3" fmla="*/ 201 h 239799"/>
                  <a:gd name="connsiteX4" fmla="*/ 66414 w 66614"/>
                  <a:gd name="connsiteY4" fmla="*/ 5031 h 239799"/>
                  <a:gd name="connsiteX5" fmla="*/ 61616 w 66614"/>
                  <a:gd name="connsiteY5" fmla="*/ 13121 h 239799"/>
                  <a:gd name="connsiteX6" fmla="*/ 13323 w 66614"/>
                  <a:gd name="connsiteY6" fmla="*/ 119906 h 239799"/>
                  <a:gd name="connsiteX7" fmla="*/ 61438 w 66614"/>
                  <a:gd name="connsiteY7" fmla="*/ 226645 h 239799"/>
                  <a:gd name="connsiteX8" fmla="*/ 66444 w 66614"/>
                  <a:gd name="connsiteY8" fmla="*/ 234617 h 239799"/>
                  <a:gd name="connsiteX9" fmla="*/ 59958 w 66614"/>
                  <a:gd name="connsiteY9" fmla="*/ 239799 h 239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14" h="239799">
                    <a:moveTo>
                      <a:pt x="59958" y="239799"/>
                    </a:moveTo>
                    <a:cubicBezTo>
                      <a:pt x="59463" y="239799"/>
                      <a:pt x="58966" y="239752"/>
                      <a:pt x="58465" y="239635"/>
                    </a:cubicBezTo>
                    <a:cubicBezTo>
                      <a:pt x="56077" y="239072"/>
                      <a:pt x="0" y="225027"/>
                      <a:pt x="0" y="119906"/>
                    </a:cubicBezTo>
                    <a:cubicBezTo>
                      <a:pt x="0" y="15982"/>
                      <a:pt x="55953" y="787"/>
                      <a:pt x="58333" y="201"/>
                    </a:cubicBezTo>
                    <a:cubicBezTo>
                      <a:pt x="61907" y="-690"/>
                      <a:pt x="65520" y="1467"/>
                      <a:pt x="66414" y="5031"/>
                    </a:cubicBezTo>
                    <a:cubicBezTo>
                      <a:pt x="67302" y="8595"/>
                      <a:pt x="65154" y="12183"/>
                      <a:pt x="61616" y="13121"/>
                    </a:cubicBezTo>
                    <a:cubicBezTo>
                      <a:pt x="59585" y="13637"/>
                      <a:pt x="13323" y="27167"/>
                      <a:pt x="13323" y="119906"/>
                    </a:cubicBezTo>
                    <a:cubicBezTo>
                      <a:pt x="13323" y="214522"/>
                      <a:pt x="60957" y="226527"/>
                      <a:pt x="61438" y="226645"/>
                    </a:cubicBezTo>
                    <a:cubicBezTo>
                      <a:pt x="65026" y="227465"/>
                      <a:pt x="67267" y="231029"/>
                      <a:pt x="66444" y="234617"/>
                    </a:cubicBezTo>
                    <a:cubicBezTo>
                      <a:pt x="65738" y="237712"/>
                      <a:pt x="62993" y="239799"/>
                      <a:pt x="59958" y="239799"/>
                    </a:cubicBezTo>
                    <a:close/>
                  </a:path>
                </a:pathLst>
              </a:custGeom>
              <a:solidFill>
                <a:schemeClr val="accent1"/>
              </a:solidFill>
              <a:ln w="234" cap="flat">
                <a:noFill/>
                <a:prstDash val="solid"/>
                <a:miter/>
              </a:ln>
            </p:spPr>
            <p:txBody>
              <a:bodyPr rtlCol="0" anchor="ctr"/>
              <a:lstStyle/>
              <a:p>
                <a:endParaRPr lang="en-GB" dirty="0"/>
              </a:p>
            </p:txBody>
          </p:sp>
          <p:sp>
            <p:nvSpPr>
              <p:cNvPr id="98" name="Freihandform: Form 482">
                <a:extLst>
                  <a:ext uri="{FF2B5EF4-FFF2-40B4-BE49-F238E27FC236}">
                    <a16:creationId xmlns:a16="http://schemas.microsoft.com/office/drawing/2014/main" id="{08B97546-C401-4177-AB70-03C58CB6D231}"/>
                  </a:ext>
                </a:extLst>
              </p:cNvPr>
              <p:cNvSpPr/>
              <p:nvPr/>
            </p:nvSpPr>
            <p:spPr>
              <a:xfrm>
                <a:off x="1807496" y="4436658"/>
                <a:ext cx="239804" cy="13342"/>
              </a:xfrm>
              <a:custGeom>
                <a:avLst/>
                <a:gdLst>
                  <a:gd name="connsiteX0" fmla="*/ 233143 w 239804"/>
                  <a:gd name="connsiteY0" fmla="*/ 13342 h 13342"/>
                  <a:gd name="connsiteX1" fmla="*/ 6662 w 239804"/>
                  <a:gd name="connsiteY1" fmla="*/ 13342 h 13342"/>
                  <a:gd name="connsiteX2" fmla="*/ 0 w 239804"/>
                  <a:gd name="connsiteY2" fmla="*/ 6683 h 13342"/>
                  <a:gd name="connsiteX3" fmla="*/ 6662 w 239804"/>
                  <a:gd name="connsiteY3" fmla="*/ 0 h 13342"/>
                  <a:gd name="connsiteX4" fmla="*/ 233143 w 239804"/>
                  <a:gd name="connsiteY4" fmla="*/ 0 h 13342"/>
                  <a:gd name="connsiteX5" fmla="*/ 239805 w 239804"/>
                  <a:gd name="connsiteY5" fmla="*/ 6683 h 13342"/>
                  <a:gd name="connsiteX6" fmla="*/ 233143 w 239804"/>
                  <a:gd name="connsiteY6" fmla="*/ 13342 h 1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804" h="13342">
                    <a:moveTo>
                      <a:pt x="233143" y="13342"/>
                    </a:moveTo>
                    <a:lnTo>
                      <a:pt x="6662" y="13342"/>
                    </a:lnTo>
                    <a:cubicBezTo>
                      <a:pt x="2983" y="13342"/>
                      <a:pt x="0" y="10341"/>
                      <a:pt x="0" y="6683"/>
                    </a:cubicBezTo>
                    <a:cubicBezTo>
                      <a:pt x="0" y="3001"/>
                      <a:pt x="2983" y="0"/>
                      <a:pt x="6662" y="0"/>
                    </a:cubicBezTo>
                    <a:lnTo>
                      <a:pt x="233143" y="0"/>
                    </a:lnTo>
                    <a:cubicBezTo>
                      <a:pt x="236822" y="0"/>
                      <a:pt x="239805" y="3001"/>
                      <a:pt x="239805" y="6683"/>
                    </a:cubicBezTo>
                    <a:cubicBezTo>
                      <a:pt x="239802" y="10364"/>
                      <a:pt x="236822" y="13342"/>
                      <a:pt x="233143" y="13342"/>
                    </a:cubicBezTo>
                    <a:close/>
                  </a:path>
                </a:pathLst>
              </a:custGeom>
              <a:solidFill>
                <a:schemeClr val="accent1"/>
              </a:solidFill>
              <a:ln w="234" cap="flat">
                <a:noFill/>
                <a:prstDash val="solid"/>
                <a:miter/>
              </a:ln>
            </p:spPr>
            <p:txBody>
              <a:bodyPr rtlCol="0" anchor="ctr"/>
              <a:lstStyle/>
              <a:p>
                <a:endParaRPr lang="en-GB" dirty="0"/>
              </a:p>
            </p:txBody>
          </p:sp>
          <p:sp>
            <p:nvSpPr>
              <p:cNvPr id="99" name="Freihandform: Form 483">
                <a:extLst>
                  <a:ext uri="{FF2B5EF4-FFF2-40B4-BE49-F238E27FC236}">
                    <a16:creationId xmlns:a16="http://schemas.microsoft.com/office/drawing/2014/main" id="{902151BF-845A-421A-88FD-2AC92E802565}"/>
                  </a:ext>
                </a:extLst>
              </p:cNvPr>
              <p:cNvSpPr/>
              <p:nvPr/>
            </p:nvSpPr>
            <p:spPr>
              <a:xfrm>
                <a:off x="1827479" y="4376723"/>
                <a:ext cx="199836" cy="13319"/>
              </a:xfrm>
              <a:custGeom>
                <a:avLst/>
                <a:gdLst>
                  <a:gd name="connsiteX0" fmla="*/ 193175 w 199836"/>
                  <a:gd name="connsiteY0" fmla="*/ 13319 h 13319"/>
                  <a:gd name="connsiteX1" fmla="*/ 6662 w 199836"/>
                  <a:gd name="connsiteY1" fmla="*/ 13319 h 13319"/>
                  <a:gd name="connsiteX2" fmla="*/ 0 w 199836"/>
                  <a:gd name="connsiteY2" fmla="*/ 6660 h 13319"/>
                  <a:gd name="connsiteX3" fmla="*/ 6662 w 199836"/>
                  <a:gd name="connsiteY3" fmla="*/ 0 h 13319"/>
                  <a:gd name="connsiteX4" fmla="*/ 193175 w 199836"/>
                  <a:gd name="connsiteY4" fmla="*/ 0 h 13319"/>
                  <a:gd name="connsiteX5" fmla="*/ 199837 w 199836"/>
                  <a:gd name="connsiteY5" fmla="*/ 6660 h 13319"/>
                  <a:gd name="connsiteX6" fmla="*/ 193175 w 199836"/>
                  <a:gd name="connsiteY6" fmla="*/ 13319 h 1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836" h="13319">
                    <a:moveTo>
                      <a:pt x="193175" y="13319"/>
                    </a:moveTo>
                    <a:lnTo>
                      <a:pt x="6662" y="13319"/>
                    </a:lnTo>
                    <a:cubicBezTo>
                      <a:pt x="2983" y="13319"/>
                      <a:pt x="0" y="10341"/>
                      <a:pt x="0" y="6660"/>
                    </a:cubicBezTo>
                    <a:cubicBezTo>
                      <a:pt x="0" y="2978"/>
                      <a:pt x="2983" y="0"/>
                      <a:pt x="6662" y="0"/>
                    </a:cubicBezTo>
                    <a:lnTo>
                      <a:pt x="193175" y="0"/>
                    </a:lnTo>
                    <a:cubicBezTo>
                      <a:pt x="196854" y="0"/>
                      <a:pt x="199837" y="2978"/>
                      <a:pt x="199837" y="6660"/>
                    </a:cubicBezTo>
                    <a:cubicBezTo>
                      <a:pt x="199837" y="10341"/>
                      <a:pt x="196854" y="13319"/>
                      <a:pt x="193175" y="13319"/>
                    </a:cubicBezTo>
                    <a:close/>
                  </a:path>
                </a:pathLst>
              </a:custGeom>
              <a:solidFill>
                <a:schemeClr val="accent1"/>
              </a:solidFill>
              <a:ln w="234" cap="flat">
                <a:noFill/>
                <a:prstDash val="solid"/>
                <a:miter/>
              </a:ln>
            </p:spPr>
            <p:txBody>
              <a:bodyPr rtlCol="0" anchor="ctr"/>
              <a:lstStyle/>
              <a:p>
                <a:endParaRPr lang="en-GB" dirty="0"/>
              </a:p>
            </p:txBody>
          </p:sp>
          <p:sp>
            <p:nvSpPr>
              <p:cNvPr id="100" name="Freihandform: Form 484">
                <a:extLst>
                  <a:ext uri="{FF2B5EF4-FFF2-40B4-BE49-F238E27FC236}">
                    <a16:creationId xmlns:a16="http://schemas.microsoft.com/office/drawing/2014/main" id="{F86437E3-52DF-415C-9983-DCFE5DF584A8}"/>
                  </a:ext>
                </a:extLst>
              </p:cNvPr>
              <p:cNvSpPr/>
              <p:nvPr/>
            </p:nvSpPr>
            <p:spPr>
              <a:xfrm>
                <a:off x="1827479" y="4496617"/>
                <a:ext cx="199836" cy="13318"/>
              </a:xfrm>
              <a:custGeom>
                <a:avLst/>
                <a:gdLst>
                  <a:gd name="connsiteX0" fmla="*/ 193175 w 199836"/>
                  <a:gd name="connsiteY0" fmla="*/ 13319 h 13318"/>
                  <a:gd name="connsiteX1" fmla="*/ 6662 w 199836"/>
                  <a:gd name="connsiteY1" fmla="*/ 13319 h 13318"/>
                  <a:gd name="connsiteX2" fmla="*/ 0 w 199836"/>
                  <a:gd name="connsiteY2" fmla="*/ 6659 h 13318"/>
                  <a:gd name="connsiteX3" fmla="*/ 6662 w 199836"/>
                  <a:gd name="connsiteY3" fmla="*/ 0 h 13318"/>
                  <a:gd name="connsiteX4" fmla="*/ 193175 w 199836"/>
                  <a:gd name="connsiteY4" fmla="*/ 0 h 13318"/>
                  <a:gd name="connsiteX5" fmla="*/ 199837 w 199836"/>
                  <a:gd name="connsiteY5" fmla="*/ 6659 h 13318"/>
                  <a:gd name="connsiteX6" fmla="*/ 193175 w 199836"/>
                  <a:gd name="connsiteY6" fmla="*/ 13319 h 13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836" h="13318">
                    <a:moveTo>
                      <a:pt x="193175" y="13319"/>
                    </a:moveTo>
                    <a:lnTo>
                      <a:pt x="6662" y="13319"/>
                    </a:lnTo>
                    <a:cubicBezTo>
                      <a:pt x="2983" y="13319"/>
                      <a:pt x="0" y="10341"/>
                      <a:pt x="0" y="6659"/>
                    </a:cubicBezTo>
                    <a:cubicBezTo>
                      <a:pt x="0" y="2978"/>
                      <a:pt x="2983" y="0"/>
                      <a:pt x="6662" y="0"/>
                    </a:cubicBezTo>
                    <a:lnTo>
                      <a:pt x="193175" y="0"/>
                    </a:lnTo>
                    <a:cubicBezTo>
                      <a:pt x="196854" y="0"/>
                      <a:pt x="199837" y="2978"/>
                      <a:pt x="199837" y="6659"/>
                    </a:cubicBezTo>
                    <a:cubicBezTo>
                      <a:pt x="199837" y="10341"/>
                      <a:pt x="196854" y="13319"/>
                      <a:pt x="193175" y="13319"/>
                    </a:cubicBezTo>
                    <a:close/>
                  </a:path>
                </a:pathLst>
              </a:custGeom>
              <a:solidFill>
                <a:schemeClr val="accent1"/>
              </a:solidFill>
              <a:ln w="234" cap="flat">
                <a:noFill/>
                <a:prstDash val="solid"/>
                <a:miter/>
              </a:ln>
            </p:spPr>
            <p:txBody>
              <a:bodyPr rtlCol="0" anchor="ctr"/>
              <a:lstStyle/>
              <a:p>
                <a:endParaRPr lang="en-GB" dirty="0"/>
              </a:p>
            </p:txBody>
          </p:sp>
        </p:grpSp>
      </p:grpSp>
      <p:grpSp>
        <p:nvGrpSpPr>
          <p:cNvPr id="25" name="Group 24">
            <a:extLst>
              <a:ext uri="{FF2B5EF4-FFF2-40B4-BE49-F238E27FC236}">
                <a16:creationId xmlns:a16="http://schemas.microsoft.com/office/drawing/2014/main" id="{F3647E5C-CFC2-DB5E-7D0D-51071FDF6052}"/>
              </a:ext>
            </a:extLst>
          </p:cNvPr>
          <p:cNvGrpSpPr/>
          <p:nvPr/>
        </p:nvGrpSpPr>
        <p:grpSpPr>
          <a:xfrm>
            <a:off x="3683810" y="1595951"/>
            <a:ext cx="547088" cy="412057"/>
            <a:chOff x="3683810" y="1595951"/>
            <a:chExt cx="547088" cy="412057"/>
          </a:xfrm>
        </p:grpSpPr>
        <p:grpSp>
          <p:nvGrpSpPr>
            <p:cNvPr id="107" name="Grafik 143">
              <a:extLst>
                <a:ext uri="{FF2B5EF4-FFF2-40B4-BE49-F238E27FC236}">
                  <a16:creationId xmlns:a16="http://schemas.microsoft.com/office/drawing/2014/main" id="{8B8633DE-9523-401A-B1B7-4415BDC51388}"/>
                </a:ext>
              </a:extLst>
            </p:cNvPr>
            <p:cNvGrpSpPr/>
            <p:nvPr/>
          </p:nvGrpSpPr>
          <p:grpSpPr>
            <a:xfrm>
              <a:off x="3683810" y="1714123"/>
              <a:ext cx="547088" cy="293885"/>
              <a:chOff x="5263544" y="1848621"/>
              <a:chExt cx="578829" cy="310938"/>
            </a:xfrm>
            <a:solidFill>
              <a:schemeClr val="tx2"/>
            </a:solidFill>
          </p:grpSpPr>
          <p:sp>
            <p:nvSpPr>
              <p:cNvPr id="118" name="Freihandform: Form 852">
                <a:extLst>
                  <a:ext uri="{FF2B5EF4-FFF2-40B4-BE49-F238E27FC236}">
                    <a16:creationId xmlns:a16="http://schemas.microsoft.com/office/drawing/2014/main" id="{232513A2-C02A-42E9-9326-E3AEBBDA2AAE}"/>
                  </a:ext>
                </a:extLst>
              </p:cNvPr>
              <p:cNvSpPr/>
              <p:nvPr/>
            </p:nvSpPr>
            <p:spPr>
              <a:xfrm>
                <a:off x="5341219" y="1848621"/>
                <a:ext cx="421681" cy="187564"/>
              </a:xfrm>
              <a:custGeom>
                <a:avLst/>
                <a:gdLst>
                  <a:gd name="connsiteX0" fmla="*/ 416812 w 421681"/>
                  <a:gd name="connsiteY0" fmla="*/ 187564 h 187564"/>
                  <a:gd name="connsiteX1" fmla="*/ 4896 w 421681"/>
                  <a:gd name="connsiteY1" fmla="*/ 187564 h 187564"/>
                  <a:gd name="connsiteX2" fmla="*/ 0 w 421681"/>
                  <a:gd name="connsiteY2" fmla="*/ 182668 h 187564"/>
                  <a:gd name="connsiteX3" fmla="*/ 0 w 421681"/>
                  <a:gd name="connsiteY3" fmla="*/ 4896 h 187564"/>
                  <a:gd name="connsiteX4" fmla="*/ 4896 w 421681"/>
                  <a:gd name="connsiteY4" fmla="*/ 0 h 187564"/>
                  <a:gd name="connsiteX5" fmla="*/ 9792 w 421681"/>
                  <a:gd name="connsiteY5" fmla="*/ 4896 h 187564"/>
                  <a:gd name="connsiteX6" fmla="*/ 9792 w 421681"/>
                  <a:gd name="connsiteY6" fmla="*/ 177745 h 187564"/>
                  <a:gd name="connsiteX7" fmla="*/ 411889 w 421681"/>
                  <a:gd name="connsiteY7" fmla="*/ 177745 h 187564"/>
                  <a:gd name="connsiteX8" fmla="*/ 411889 w 421681"/>
                  <a:gd name="connsiteY8" fmla="*/ 8926 h 187564"/>
                  <a:gd name="connsiteX9" fmla="*/ 416785 w 421681"/>
                  <a:gd name="connsiteY9" fmla="*/ 4030 h 187564"/>
                  <a:gd name="connsiteX10" fmla="*/ 421681 w 421681"/>
                  <a:gd name="connsiteY10" fmla="*/ 8926 h 187564"/>
                  <a:gd name="connsiteX11" fmla="*/ 421681 w 421681"/>
                  <a:gd name="connsiteY11" fmla="*/ 182668 h 187564"/>
                  <a:gd name="connsiteX12" fmla="*/ 416812 w 421681"/>
                  <a:gd name="connsiteY12" fmla="*/ 187564 h 187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1681" h="187564">
                    <a:moveTo>
                      <a:pt x="416812" y="187564"/>
                    </a:moveTo>
                    <a:lnTo>
                      <a:pt x="4896" y="187564"/>
                    </a:lnTo>
                    <a:cubicBezTo>
                      <a:pt x="2191" y="187564"/>
                      <a:pt x="0" y="185373"/>
                      <a:pt x="0" y="182668"/>
                    </a:cubicBezTo>
                    <a:lnTo>
                      <a:pt x="0" y="4896"/>
                    </a:lnTo>
                    <a:cubicBezTo>
                      <a:pt x="0" y="2191"/>
                      <a:pt x="2191" y="0"/>
                      <a:pt x="4896" y="0"/>
                    </a:cubicBezTo>
                    <a:cubicBezTo>
                      <a:pt x="7601" y="0"/>
                      <a:pt x="9792" y="2191"/>
                      <a:pt x="9792" y="4896"/>
                    </a:cubicBezTo>
                    <a:lnTo>
                      <a:pt x="9792" y="177745"/>
                    </a:lnTo>
                    <a:lnTo>
                      <a:pt x="411889" y="177745"/>
                    </a:lnTo>
                    <a:lnTo>
                      <a:pt x="411889" y="8926"/>
                    </a:lnTo>
                    <a:cubicBezTo>
                      <a:pt x="411889" y="6221"/>
                      <a:pt x="414080" y="4030"/>
                      <a:pt x="416785" y="4030"/>
                    </a:cubicBezTo>
                    <a:cubicBezTo>
                      <a:pt x="419490" y="4030"/>
                      <a:pt x="421681" y="6221"/>
                      <a:pt x="421681" y="8926"/>
                    </a:cubicBezTo>
                    <a:lnTo>
                      <a:pt x="421681" y="182668"/>
                    </a:lnTo>
                    <a:cubicBezTo>
                      <a:pt x="421708" y="185373"/>
                      <a:pt x="419517" y="187564"/>
                      <a:pt x="416812" y="187564"/>
                    </a:cubicBezTo>
                    <a:close/>
                  </a:path>
                </a:pathLst>
              </a:custGeom>
              <a:grpFill/>
              <a:ln w="2701" cap="flat">
                <a:noFill/>
                <a:prstDash val="solid"/>
                <a:miter/>
              </a:ln>
            </p:spPr>
            <p:txBody>
              <a:bodyPr rtlCol="0" anchor="ctr"/>
              <a:lstStyle/>
              <a:p>
                <a:endParaRPr lang="en-GB" dirty="0"/>
              </a:p>
            </p:txBody>
          </p:sp>
          <p:sp>
            <p:nvSpPr>
              <p:cNvPr id="119" name="Freihandform: Form 853">
                <a:extLst>
                  <a:ext uri="{FF2B5EF4-FFF2-40B4-BE49-F238E27FC236}">
                    <a16:creationId xmlns:a16="http://schemas.microsoft.com/office/drawing/2014/main" id="{9F097222-B759-4FAE-B8BD-2EEFEE7F32C0}"/>
                  </a:ext>
                </a:extLst>
              </p:cNvPr>
              <p:cNvSpPr/>
              <p:nvPr/>
            </p:nvSpPr>
            <p:spPr>
              <a:xfrm>
                <a:off x="5263559" y="2122123"/>
                <a:ext cx="578814" cy="37437"/>
              </a:xfrm>
              <a:custGeom>
                <a:avLst/>
                <a:gdLst>
                  <a:gd name="connsiteX0" fmla="*/ 573945 w 578814"/>
                  <a:gd name="connsiteY0" fmla="*/ 37437 h 37437"/>
                  <a:gd name="connsiteX1" fmla="*/ 4896 w 578814"/>
                  <a:gd name="connsiteY1" fmla="*/ 37437 h 37437"/>
                  <a:gd name="connsiteX2" fmla="*/ 0 w 578814"/>
                  <a:gd name="connsiteY2" fmla="*/ 32541 h 37437"/>
                  <a:gd name="connsiteX3" fmla="*/ 0 w 578814"/>
                  <a:gd name="connsiteY3" fmla="*/ 4896 h 37437"/>
                  <a:gd name="connsiteX4" fmla="*/ 4896 w 578814"/>
                  <a:gd name="connsiteY4" fmla="*/ 0 h 37437"/>
                  <a:gd name="connsiteX5" fmla="*/ 9792 w 578814"/>
                  <a:gd name="connsiteY5" fmla="*/ 4896 h 37437"/>
                  <a:gd name="connsiteX6" fmla="*/ 9792 w 578814"/>
                  <a:gd name="connsiteY6" fmla="*/ 27645 h 37437"/>
                  <a:gd name="connsiteX7" fmla="*/ 569022 w 578814"/>
                  <a:gd name="connsiteY7" fmla="*/ 27645 h 37437"/>
                  <a:gd name="connsiteX8" fmla="*/ 569022 w 578814"/>
                  <a:gd name="connsiteY8" fmla="*/ 4896 h 37437"/>
                  <a:gd name="connsiteX9" fmla="*/ 573918 w 578814"/>
                  <a:gd name="connsiteY9" fmla="*/ 0 h 37437"/>
                  <a:gd name="connsiteX10" fmla="*/ 578814 w 578814"/>
                  <a:gd name="connsiteY10" fmla="*/ 4896 h 37437"/>
                  <a:gd name="connsiteX11" fmla="*/ 578814 w 578814"/>
                  <a:gd name="connsiteY11" fmla="*/ 32541 h 37437"/>
                  <a:gd name="connsiteX12" fmla="*/ 573945 w 578814"/>
                  <a:gd name="connsiteY12" fmla="*/ 37437 h 37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8814" h="37437">
                    <a:moveTo>
                      <a:pt x="573945" y="37437"/>
                    </a:moveTo>
                    <a:lnTo>
                      <a:pt x="4896" y="37437"/>
                    </a:lnTo>
                    <a:cubicBezTo>
                      <a:pt x="2191" y="37437"/>
                      <a:pt x="0" y="35246"/>
                      <a:pt x="0" y="32541"/>
                    </a:cubicBezTo>
                    <a:lnTo>
                      <a:pt x="0" y="4896"/>
                    </a:lnTo>
                    <a:cubicBezTo>
                      <a:pt x="0" y="2191"/>
                      <a:pt x="2191" y="0"/>
                      <a:pt x="4896" y="0"/>
                    </a:cubicBezTo>
                    <a:cubicBezTo>
                      <a:pt x="7601" y="0"/>
                      <a:pt x="9792" y="2191"/>
                      <a:pt x="9792" y="4896"/>
                    </a:cubicBezTo>
                    <a:lnTo>
                      <a:pt x="9792" y="27645"/>
                    </a:lnTo>
                    <a:lnTo>
                      <a:pt x="569022" y="27645"/>
                    </a:lnTo>
                    <a:lnTo>
                      <a:pt x="569022" y="4896"/>
                    </a:lnTo>
                    <a:cubicBezTo>
                      <a:pt x="569022" y="2191"/>
                      <a:pt x="571213" y="0"/>
                      <a:pt x="573918" y="0"/>
                    </a:cubicBezTo>
                    <a:cubicBezTo>
                      <a:pt x="576623" y="0"/>
                      <a:pt x="578814" y="2191"/>
                      <a:pt x="578814" y="4896"/>
                    </a:cubicBezTo>
                    <a:lnTo>
                      <a:pt x="578814" y="32541"/>
                    </a:lnTo>
                    <a:cubicBezTo>
                      <a:pt x="578841" y="35246"/>
                      <a:pt x="576650" y="37437"/>
                      <a:pt x="573945" y="37437"/>
                    </a:cubicBezTo>
                    <a:close/>
                  </a:path>
                </a:pathLst>
              </a:custGeom>
              <a:grpFill/>
              <a:ln w="2701" cap="flat">
                <a:noFill/>
                <a:prstDash val="solid"/>
                <a:miter/>
              </a:ln>
            </p:spPr>
            <p:txBody>
              <a:bodyPr rtlCol="0" anchor="ctr"/>
              <a:lstStyle/>
              <a:p>
                <a:endParaRPr lang="en-GB" dirty="0"/>
              </a:p>
            </p:txBody>
          </p:sp>
          <p:sp>
            <p:nvSpPr>
              <p:cNvPr id="120" name="Freihandform: Form 854">
                <a:extLst>
                  <a:ext uri="{FF2B5EF4-FFF2-40B4-BE49-F238E27FC236}">
                    <a16:creationId xmlns:a16="http://schemas.microsoft.com/office/drawing/2014/main" id="{6F8C49D3-3B2D-4844-9D6A-B98674D5DE05}"/>
                  </a:ext>
                </a:extLst>
              </p:cNvPr>
              <p:cNvSpPr/>
              <p:nvPr/>
            </p:nvSpPr>
            <p:spPr>
              <a:xfrm>
                <a:off x="5263544" y="2026393"/>
                <a:ext cx="578821" cy="105548"/>
              </a:xfrm>
              <a:custGeom>
                <a:avLst/>
                <a:gdLst>
                  <a:gd name="connsiteX0" fmla="*/ 573960 w 578821"/>
                  <a:gd name="connsiteY0" fmla="*/ 105549 h 105548"/>
                  <a:gd name="connsiteX1" fmla="*/ 4911 w 578821"/>
                  <a:gd name="connsiteY1" fmla="*/ 105549 h 105548"/>
                  <a:gd name="connsiteX2" fmla="*/ 475 w 578821"/>
                  <a:gd name="connsiteY2" fmla="*/ 102763 h 105548"/>
                  <a:gd name="connsiteX3" fmla="*/ 1097 w 578821"/>
                  <a:gd name="connsiteY3" fmla="*/ 97569 h 105548"/>
                  <a:gd name="connsiteX4" fmla="*/ 78757 w 578821"/>
                  <a:gd name="connsiteY4" fmla="*/ 1812 h 105548"/>
                  <a:gd name="connsiteX5" fmla="*/ 82571 w 578821"/>
                  <a:gd name="connsiteY5" fmla="*/ 0 h 105548"/>
                  <a:gd name="connsiteX6" fmla="*/ 494460 w 578821"/>
                  <a:gd name="connsiteY6" fmla="*/ 0 h 105548"/>
                  <a:gd name="connsiteX7" fmla="*/ 498220 w 578821"/>
                  <a:gd name="connsiteY7" fmla="*/ 1785 h 105548"/>
                  <a:gd name="connsiteX8" fmla="*/ 577693 w 578821"/>
                  <a:gd name="connsiteY8" fmla="*/ 97542 h 105548"/>
                  <a:gd name="connsiteX9" fmla="*/ 578369 w 578821"/>
                  <a:gd name="connsiteY9" fmla="*/ 102763 h 105548"/>
                  <a:gd name="connsiteX10" fmla="*/ 573960 w 578821"/>
                  <a:gd name="connsiteY10" fmla="*/ 105549 h 105548"/>
                  <a:gd name="connsiteX11" fmla="*/ 15190 w 578821"/>
                  <a:gd name="connsiteY11" fmla="*/ 95757 h 105548"/>
                  <a:gd name="connsiteX12" fmla="*/ 563492 w 578821"/>
                  <a:gd name="connsiteY12" fmla="*/ 95757 h 105548"/>
                  <a:gd name="connsiteX13" fmla="*/ 492161 w 578821"/>
                  <a:gd name="connsiteY13" fmla="*/ 9819 h 105548"/>
                  <a:gd name="connsiteX14" fmla="*/ 84924 w 578821"/>
                  <a:gd name="connsiteY14" fmla="*/ 9819 h 105548"/>
                  <a:gd name="connsiteX15" fmla="*/ 15190 w 578821"/>
                  <a:gd name="connsiteY15" fmla="*/ 95757 h 10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8821" h="105548">
                    <a:moveTo>
                      <a:pt x="573960" y="105549"/>
                    </a:moveTo>
                    <a:lnTo>
                      <a:pt x="4911" y="105549"/>
                    </a:lnTo>
                    <a:cubicBezTo>
                      <a:pt x="3017" y="105549"/>
                      <a:pt x="1286" y="104467"/>
                      <a:pt x="475" y="102763"/>
                    </a:cubicBezTo>
                    <a:cubicBezTo>
                      <a:pt x="-337" y="101059"/>
                      <a:pt x="-94" y="99030"/>
                      <a:pt x="1097" y="97569"/>
                    </a:cubicBezTo>
                    <a:lnTo>
                      <a:pt x="78757" y="1812"/>
                    </a:lnTo>
                    <a:cubicBezTo>
                      <a:pt x="79677" y="676"/>
                      <a:pt x="81083" y="0"/>
                      <a:pt x="82571" y="0"/>
                    </a:cubicBezTo>
                    <a:lnTo>
                      <a:pt x="494460" y="0"/>
                    </a:lnTo>
                    <a:cubicBezTo>
                      <a:pt x="495921" y="0"/>
                      <a:pt x="497301" y="649"/>
                      <a:pt x="498220" y="1785"/>
                    </a:cubicBezTo>
                    <a:lnTo>
                      <a:pt x="577693" y="97542"/>
                    </a:lnTo>
                    <a:cubicBezTo>
                      <a:pt x="578910" y="99003"/>
                      <a:pt x="579154" y="101031"/>
                      <a:pt x="578369" y="102763"/>
                    </a:cubicBezTo>
                    <a:cubicBezTo>
                      <a:pt x="577585" y="104467"/>
                      <a:pt x="575854" y="105549"/>
                      <a:pt x="573960" y="105549"/>
                    </a:cubicBezTo>
                    <a:close/>
                    <a:moveTo>
                      <a:pt x="15190" y="95757"/>
                    </a:moveTo>
                    <a:lnTo>
                      <a:pt x="563492" y="95757"/>
                    </a:lnTo>
                    <a:lnTo>
                      <a:pt x="492161" y="9819"/>
                    </a:lnTo>
                    <a:lnTo>
                      <a:pt x="84924" y="9819"/>
                    </a:lnTo>
                    <a:lnTo>
                      <a:pt x="15190" y="95757"/>
                    </a:lnTo>
                    <a:close/>
                  </a:path>
                </a:pathLst>
              </a:custGeom>
              <a:grpFill/>
              <a:ln w="2701" cap="flat">
                <a:noFill/>
                <a:prstDash val="solid"/>
                <a:miter/>
              </a:ln>
            </p:spPr>
            <p:txBody>
              <a:bodyPr rtlCol="0" anchor="ctr"/>
              <a:lstStyle/>
              <a:p>
                <a:endParaRPr lang="en-GB" dirty="0"/>
              </a:p>
            </p:txBody>
          </p:sp>
          <p:sp>
            <p:nvSpPr>
              <p:cNvPr id="121" name="Freihandform: Form 855">
                <a:extLst>
                  <a:ext uri="{FF2B5EF4-FFF2-40B4-BE49-F238E27FC236}">
                    <a16:creationId xmlns:a16="http://schemas.microsoft.com/office/drawing/2014/main" id="{BB22ACDB-BA79-45B7-BD93-12749FC44C5B}"/>
                  </a:ext>
                </a:extLst>
              </p:cNvPr>
              <p:cNvSpPr/>
              <p:nvPr/>
            </p:nvSpPr>
            <p:spPr>
              <a:xfrm>
                <a:off x="5380252" y="2077436"/>
                <a:ext cx="375669" cy="9792"/>
              </a:xfrm>
              <a:custGeom>
                <a:avLst/>
                <a:gdLst>
                  <a:gd name="connsiteX0" fmla="*/ 370773 w 375669"/>
                  <a:gd name="connsiteY0" fmla="*/ 9792 h 9792"/>
                  <a:gd name="connsiteX1" fmla="*/ 4896 w 375669"/>
                  <a:gd name="connsiteY1" fmla="*/ 9792 h 9792"/>
                  <a:gd name="connsiteX2" fmla="*/ 0 w 375669"/>
                  <a:gd name="connsiteY2" fmla="*/ 4896 h 9792"/>
                  <a:gd name="connsiteX3" fmla="*/ 4896 w 375669"/>
                  <a:gd name="connsiteY3" fmla="*/ 0 h 9792"/>
                  <a:gd name="connsiteX4" fmla="*/ 370773 w 375669"/>
                  <a:gd name="connsiteY4" fmla="*/ 0 h 9792"/>
                  <a:gd name="connsiteX5" fmla="*/ 375669 w 375669"/>
                  <a:gd name="connsiteY5" fmla="*/ 4896 h 9792"/>
                  <a:gd name="connsiteX6" fmla="*/ 370773 w 375669"/>
                  <a:gd name="connsiteY6" fmla="*/ 9792 h 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5669" h="9792">
                    <a:moveTo>
                      <a:pt x="370773" y="9792"/>
                    </a:moveTo>
                    <a:lnTo>
                      <a:pt x="4896" y="9792"/>
                    </a:lnTo>
                    <a:cubicBezTo>
                      <a:pt x="2191" y="9792"/>
                      <a:pt x="0" y="7601"/>
                      <a:pt x="0" y="4896"/>
                    </a:cubicBezTo>
                    <a:cubicBezTo>
                      <a:pt x="0" y="2191"/>
                      <a:pt x="2191" y="0"/>
                      <a:pt x="4896" y="0"/>
                    </a:cubicBezTo>
                    <a:lnTo>
                      <a:pt x="370773" y="0"/>
                    </a:lnTo>
                    <a:cubicBezTo>
                      <a:pt x="373478" y="0"/>
                      <a:pt x="375669" y="2191"/>
                      <a:pt x="375669" y="4896"/>
                    </a:cubicBezTo>
                    <a:cubicBezTo>
                      <a:pt x="375669" y="7601"/>
                      <a:pt x="373478" y="9792"/>
                      <a:pt x="370773" y="9792"/>
                    </a:cubicBezTo>
                    <a:close/>
                  </a:path>
                </a:pathLst>
              </a:custGeom>
              <a:grpFill/>
              <a:ln w="2701" cap="flat">
                <a:noFill/>
                <a:prstDash val="solid"/>
                <a:miter/>
              </a:ln>
            </p:spPr>
            <p:txBody>
              <a:bodyPr rtlCol="0" anchor="ctr"/>
              <a:lstStyle/>
              <a:p>
                <a:endParaRPr lang="en-GB" dirty="0"/>
              </a:p>
            </p:txBody>
          </p:sp>
          <p:sp>
            <p:nvSpPr>
              <p:cNvPr id="122" name="Freihandform: Form 856">
                <a:extLst>
                  <a:ext uri="{FF2B5EF4-FFF2-40B4-BE49-F238E27FC236}">
                    <a16:creationId xmlns:a16="http://schemas.microsoft.com/office/drawing/2014/main" id="{3B3778D9-C2FB-463B-89CA-626611AB6116}"/>
                  </a:ext>
                </a:extLst>
              </p:cNvPr>
              <p:cNvSpPr/>
              <p:nvPr/>
            </p:nvSpPr>
            <p:spPr>
              <a:xfrm>
                <a:off x="5371759" y="1858170"/>
                <a:ext cx="361170" cy="138576"/>
              </a:xfrm>
              <a:custGeom>
                <a:avLst/>
                <a:gdLst>
                  <a:gd name="connsiteX0" fmla="*/ 356275 w 361170"/>
                  <a:gd name="connsiteY0" fmla="*/ 138577 h 138576"/>
                  <a:gd name="connsiteX1" fmla="*/ 4896 w 361170"/>
                  <a:gd name="connsiteY1" fmla="*/ 138577 h 138576"/>
                  <a:gd name="connsiteX2" fmla="*/ 0 w 361170"/>
                  <a:gd name="connsiteY2" fmla="*/ 133681 h 138576"/>
                  <a:gd name="connsiteX3" fmla="*/ 0 w 361170"/>
                  <a:gd name="connsiteY3" fmla="*/ 5572 h 138576"/>
                  <a:gd name="connsiteX4" fmla="*/ 4896 w 361170"/>
                  <a:gd name="connsiteY4" fmla="*/ 676 h 138576"/>
                  <a:gd name="connsiteX5" fmla="*/ 9792 w 361170"/>
                  <a:gd name="connsiteY5" fmla="*/ 5572 h 138576"/>
                  <a:gd name="connsiteX6" fmla="*/ 9792 w 361170"/>
                  <a:gd name="connsiteY6" fmla="*/ 128785 h 138576"/>
                  <a:gd name="connsiteX7" fmla="*/ 351379 w 361170"/>
                  <a:gd name="connsiteY7" fmla="*/ 128785 h 138576"/>
                  <a:gd name="connsiteX8" fmla="*/ 351379 w 361170"/>
                  <a:gd name="connsiteY8" fmla="*/ 4896 h 138576"/>
                  <a:gd name="connsiteX9" fmla="*/ 356275 w 361170"/>
                  <a:gd name="connsiteY9" fmla="*/ 0 h 138576"/>
                  <a:gd name="connsiteX10" fmla="*/ 361171 w 361170"/>
                  <a:gd name="connsiteY10" fmla="*/ 4896 h 138576"/>
                  <a:gd name="connsiteX11" fmla="*/ 361171 w 361170"/>
                  <a:gd name="connsiteY11" fmla="*/ 133681 h 138576"/>
                  <a:gd name="connsiteX12" fmla="*/ 356275 w 361170"/>
                  <a:gd name="connsiteY12" fmla="*/ 138577 h 138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1170" h="138576">
                    <a:moveTo>
                      <a:pt x="356275" y="138577"/>
                    </a:moveTo>
                    <a:lnTo>
                      <a:pt x="4896" y="138577"/>
                    </a:lnTo>
                    <a:cubicBezTo>
                      <a:pt x="2191" y="138577"/>
                      <a:pt x="0" y="136386"/>
                      <a:pt x="0" y="133681"/>
                    </a:cubicBezTo>
                    <a:lnTo>
                      <a:pt x="0" y="5572"/>
                    </a:lnTo>
                    <a:cubicBezTo>
                      <a:pt x="0" y="2867"/>
                      <a:pt x="2191" y="676"/>
                      <a:pt x="4896" y="676"/>
                    </a:cubicBezTo>
                    <a:cubicBezTo>
                      <a:pt x="7601" y="676"/>
                      <a:pt x="9792" y="2867"/>
                      <a:pt x="9792" y="5572"/>
                    </a:cubicBezTo>
                    <a:lnTo>
                      <a:pt x="9792" y="128785"/>
                    </a:lnTo>
                    <a:lnTo>
                      <a:pt x="351379" y="128785"/>
                    </a:lnTo>
                    <a:lnTo>
                      <a:pt x="351379" y="4896"/>
                    </a:lnTo>
                    <a:cubicBezTo>
                      <a:pt x="351379" y="2191"/>
                      <a:pt x="353570" y="0"/>
                      <a:pt x="356275" y="0"/>
                    </a:cubicBezTo>
                    <a:cubicBezTo>
                      <a:pt x="358980" y="0"/>
                      <a:pt x="361171" y="2191"/>
                      <a:pt x="361171" y="4896"/>
                    </a:cubicBezTo>
                    <a:lnTo>
                      <a:pt x="361171" y="133681"/>
                    </a:lnTo>
                    <a:cubicBezTo>
                      <a:pt x="361171" y="136386"/>
                      <a:pt x="358980" y="138577"/>
                      <a:pt x="356275" y="138577"/>
                    </a:cubicBezTo>
                    <a:close/>
                  </a:path>
                </a:pathLst>
              </a:custGeom>
              <a:grpFill/>
              <a:ln w="2701" cap="flat">
                <a:noFill/>
                <a:prstDash val="solid"/>
                <a:miter/>
              </a:ln>
            </p:spPr>
            <p:txBody>
              <a:bodyPr rtlCol="0" anchor="ctr"/>
              <a:lstStyle/>
              <a:p>
                <a:endParaRPr lang="en-GB" dirty="0"/>
              </a:p>
            </p:txBody>
          </p:sp>
        </p:grpSp>
        <p:grpSp>
          <p:nvGrpSpPr>
            <p:cNvPr id="108" name="Grafik 143">
              <a:extLst>
                <a:ext uri="{FF2B5EF4-FFF2-40B4-BE49-F238E27FC236}">
                  <a16:creationId xmlns:a16="http://schemas.microsoft.com/office/drawing/2014/main" id="{314C0FDE-1BA5-4F95-BA5A-64DBD3673ED0}"/>
                </a:ext>
              </a:extLst>
            </p:cNvPr>
            <p:cNvGrpSpPr/>
            <p:nvPr/>
          </p:nvGrpSpPr>
          <p:grpSpPr>
            <a:xfrm>
              <a:off x="3734345" y="1595951"/>
              <a:ext cx="446082" cy="113796"/>
              <a:chOff x="5317016" y="1723596"/>
              <a:chExt cx="471963" cy="120399"/>
            </a:xfrm>
            <a:solidFill>
              <a:schemeClr val="accent1"/>
            </a:solidFill>
          </p:grpSpPr>
          <p:sp>
            <p:nvSpPr>
              <p:cNvPr id="109" name="Freihandform: Form 858">
                <a:extLst>
                  <a:ext uri="{FF2B5EF4-FFF2-40B4-BE49-F238E27FC236}">
                    <a16:creationId xmlns:a16="http://schemas.microsoft.com/office/drawing/2014/main" id="{1F0F361F-1561-4BE5-AF44-5C10B395BE0A}"/>
                  </a:ext>
                </a:extLst>
              </p:cNvPr>
              <p:cNvSpPr/>
              <p:nvPr/>
            </p:nvSpPr>
            <p:spPr>
              <a:xfrm>
                <a:off x="5317016" y="1723596"/>
                <a:ext cx="471963" cy="69328"/>
              </a:xfrm>
              <a:custGeom>
                <a:avLst/>
                <a:gdLst>
                  <a:gd name="connsiteX0" fmla="*/ 467038 w 471963"/>
                  <a:gd name="connsiteY0" fmla="*/ 69329 h 69328"/>
                  <a:gd name="connsiteX1" fmla="*/ 4890 w 471963"/>
                  <a:gd name="connsiteY1" fmla="*/ 69329 h 69328"/>
                  <a:gd name="connsiteX2" fmla="*/ 778 w 471963"/>
                  <a:gd name="connsiteY2" fmla="*/ 67084 h 69328"/>
                  <a:gd name="connsiteX3" fmla="*/ 427 w 471963"/>
                  <a:gd name="connsiteY3" fmla="*/ 62404 h 69328"/>
                  <a:gd name="connsiteX4" fmla="*/ 27395 w 471963"/>
                  <a:gd name="connsiteY4" fmla="*/ 2867 h 69328"/>
                  <a:gd name="connsiteX5" fmla="*/ 31859 w 471963"/>
                  <a:gd name="connsiteY5" fmla="*/ 0 h 69328"/>
                  <a:gd name="connsiteX6" fmla="*/ 440096 w 471963"/>
                  <a:gd name="connsiteY6" fmla="*/ 0 h 69328"/>
                  <a:gd name="connsiteX7" fmla="*/ 444559 w 471963"/>
                  <a:gd name="connsiteY7" fmla="*/ 2867 h 69328"/>
                  <a:gd name="connsiteX8" fmla="*/ 471528 w 471963"/>
                  <a:gd name="connsiteY8" fmla="*/ 62404 h 69328"/>
                  <a:gd name="connsiteX9" fmla="*/ 471177 w 471963"/>
                  <a:gd name="connsiteY9" fmla="*/ 67084 h 69328"/>
                  <a:gd name="connsiteX10" fmla="*/ 467038 w 471963"/>
                  <a:gd name="connsiteY10" fmla="*/ 69329 h 69328"/>
                  <a:gd name="connsiteX11" fmla="*/ 12491 w 471963"/>
                  <a:gd name="connsiteY11" fmla="*/ 59537 h 69328"/>
                  <a:gd name="connsiteX12" fmla="*/ 459437 w 471963"/>
                  <a:gd name="connsiteY12" fmla="*/ 59537 h 69328"/>
                  <a:gd name="connsiteX13" fmla="*/ 436931 w 471963"/>
                  <a:gd name="connsiteY13" fmla="*/ 9819 h 69328"/>
                  <a:gd name="connsiteX14" fmla="*/ 34996 w 471963"/>
                  <a:gd name="connsiteY14" fmla="*/ 9819 h 69328"/>
                  <a:gd name="connsiteX15" fmla="*/ 12491 w 471963"/>
                  <a:gd name="connsiteY15" fmla="*/ 59537 h 69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1963" h="69328">
                    <a:moveTo>
                      <a:pt x="467038" y="69329"/>
                    </a:moveTo>
                    <a:lnTo>
                      <a:pt x="4890" y="69329"/>
                    </a:lnTo>
                    <a:cubicBezTo>
                      <a:pt x="3213" y="69329"/>
                      <a:pt x="1671" y="68490"/>
                      <a:pt x="778" y="67084"/>
                    </a:cubicBezTo>
                    <a:cubicBezTo>
                      <a:pt x="-114" y="65677"/>
                      <a:pt x="-250" y="63919"/>
                      <a:pt x="427" y="62404"/>
                    </a:cubicBezTo>
                    <a:lnTo>
                      <a:pt x="27395" y="2867"/>
                    </a:lnTo>
                    <a:cubicBezTo>
                      <a:pt x="28180" y="1109"/>
                      <a:pt x="29938" y="0"/>
                      <a:pt x="31859" y="0"/>
                    </a:cubicBezTo>
                    <a:lnTo>
                      <a:pt x="440096" y="0"/>
                    </a:lnTo>
                    <a:cubicBezTo>
                      <a:pt x="442017" y="0"/>
                      <a:pt x="443775" y="1136"/>
                      <a:pt x="444559" y="2867"/>
                    </a:cubicBezTo>
                    <a:lnTo>
                      <a:pt x="471528" y="62404"/>
                    </a:lnTo>
                    <a:cubicBezTo>
                      <a:pt x="472205" y="63919"/>
                      <a:pt x="472096" y="65677"/>
                      <a:pt x="471177" y="67084"/>
                    </a:cubicBezTo>
                    <a:cubicBezTo>
                      <a:pt x="470257" y="68490"/>
                      <a:pt x="468688" y="69329"/>
                      <a:pt x="467038" y="69329"/>
                    </a:cubicBezTo>
                    <a:close/>
                    <a:moveTo>
                      <a:pt x="12491" y="59537"/>
                    </a:moveTo>
                    <a:lnTo>
                      <a:pt x="459437" y="59537"/>
                    </a:lnTo>
                    <a:lnTo>
                      <a:pt x="436931" y="9819"/>
                    </a:lnTo>
                    <a:lnTo>
                      <a:pt x="34996" y="9819"/>
                    </a:lnTo>
                    <a:lnTo>
                      <a:pt x="12491" y="59537"/>
                    </a:lnTo>
                    <a:close/>
                  </a:path>
                </a:pathLst>
              </a:custGeom>
              <a:solidFill>
                <a:schemeClr val="accent1"/>
              </a:solidFill>
              <a:ln w="2701" cap="flat">
                <a:noFill/>
                <a:prstDash val="solid"/>
                <a:miter/>
              </a:ln>
            </p:spPr>
            <p:txBody>
              <a:bodyPr rtlCol="0" anchor="ctr"/>
              <a:lstStyle/>
              <a:p>
                <a:endParaRPr lang="en-GB" dirty="0"/>
              </a:p>
            </p:txBody>
          </p:sp>
          <p:grpSp>
            <p:nvGrpSpPr>
              <p:cNvPr id="110" name="Grafik 143">
                <a:extLst>
                  <a:ext uri="{FF2B5EF4-FFF2-40B4-BE49-F238E27FC236}">
                    <a16:creationId xmlns:a16="http://schemas.microsoft.com/office/drawing/2014/main" id="{FB7A9C43-4B24-498B-8EFE-9846AA8B21F1}"/>
                  </a:ext>
                </a:extLst>
              </p:cNvPr>
              <p:cNvGrpSpPr/>
              <p:nvPr/>
            </p:nvGrpSpPr>
            <p:grpSpPr>
              <a:xfrm>
                <a:off x="5317145" y="1783268"/>
                <a:ext cx="471588" cy="60727"/>
                <a:chOff x="5317145" y="1783268"/>
                <a:chExt cx="471588" cy="60727"/>
              </a:xfrm>
              <a:solidFill>
                <a:schemeClr val="accent1"/>
              </a:solidFill>
            </p:grpSpPr>
            <p:sp>
              <p:nvSpPr>
                <p:cNvPr id="114" name="Freihandform: Form 860">
                  <a:extLst>
                    <a:ext uri="{FF2B5EF4-FFF2-40B4-BE49-F238E27FC236}">
                      <a16:creationId xmlns:a16="http://schemas.microsoft.com/office/drawing/2014/main" id="{D2662FB8-BC07-417F-93C1-EED333F05267}"/>
                    </a:ext>
                  </a:extLst>
                </p:cNvPr>
                <p:cNvSpPr/>
                <p:nvPr/>
              </p:nvSpPr>
              <p:spPr>
                <a:xfrm>
                  <a:off x="5317145" y="1783268"/>
                  <a:ext cx="125078" cy="60727"/>
                </a:xfrm>
                <a:custGeom>
                  <a:avLst/>
                  <a:gdLst>
                    <a:gd name="connsiteX0" fmla="*/ 62566 w 125078"/>
                    <a:gd name="connsiteY0" fmla="*/ 60727 h 60727"/>
                    <a:gd name="connsiteX1" fmla="*/ 0 w 125078"/>
                    <a:gd name="connsiteY1" fmla="*/ 4896 h 60727"/>
                    <a:gd name="connsiteX2" fmla="*/ 4896 w 125078"/>
                    <a:gd name="connsiteY2" fmla="*/ 0 h 60727"/>
                    <a:gd name="connsiteX3" fmla="*/ 9792 w 125078"/>
                    <a:gd name="connsiteY3" fmla="*/ 4896 h 60727"/>
                    <a:gd name="connsiteX4" fmla="*/ 62539 w 125078"/>
                    <a:gd name="connsiteY4" fmla="*/ 50935 h 60727"/>
                    <a:gd name="connsiteX5" fmla="*/ 115287 w 125078"/>
                    <a:gd name="connsiteY5" fmla="*/ 4896 h 60727"/>
                    <a:gd name="connsiteX6" fmla="*/ 120183 w 125078"/>
                    <a:gd name="connsiteY6" fmla="*/ 0 h 60727"/>
                    <a:gd name="connsiteX7" fmla="*/ 125079 w 125078"/>
                    <a:gd name="connsiteY7" fmla="*/ 4896 h 60727"/>
                    <a:gd name="connsiteX8" fmla="*/ 62566 w 125078"/>
                    <a:gd name="connsiteY8" fmla="*/ 60727 h 60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78" h="60727">
                      <a:moveTo>
                        <a:pt x="62566" y="60727"/>
                      </a:moveTo>
                      <a:cubicBezTo>
                        <a:pt x="28078" y="60727"/>
                        <a:pt x="0" y="35679"/>
                        <a:pt x="0" y="4896"/>
                      </a:cubicBezTo>
                      <a:cubicBezTo>
                        <a:pt x="0" y="2191"/>
                        <a:pt x="2191" y="0"/>
                        <a:pt x="4896" y="0"/>
                      </a:cubicBezTo>
                      <a:cubicBezTo>
                        <a:pt x="7601" y="0"/>
                        <a:pt x="9792" y="2191"/>
                        <a:pt x="9792" y="4896"/>
                      </a:cubicBezTo>
                      <a:cubicBezTo>
                        <a:pt x="9792" y="30269"/>
                        <a:pt x="33461" y="50935"/>
                        <a:pt x="62539" y="50935"/>
                      </a:cubicBezTo>
                      <a:cubicBezTo>
                        <a:pt x="91618" y="50935"/>
                        <a:pt x="115287" y="30296"/>
                        <a:pt x="115287" y="4896"/>
                      </a:cubicBezTo>
                      <a:cubicBezTo>
                        <a:pt x="115287" y="2191"/>
                        <a:pt x="117478" y="0"/>
                        <a:pt x="120183" y="0"/>
                      </a:cubicBezTo>
                      <a:cubicBezTo>
                        <a:pt x="122888" y="0"/>
                        <a:pt x="125079" y="2191"/>
                        <a:pt x="125079" y="4896"/>
                      </a:cubicBezTo>
                      <a:cubicBezTo>
                        <a:pt x="125133" y="35679"/>
                        <a:pt x="97055" y="60727"/>
                        <a:pt x="62566" y="60727"/>
                      </a:cubicBezTo>
                      <a:close/>
                    </a:path>
                  </a:pathLst>
                </a:custGeom>
                <a:solidFill>
                  <a:schemeClr val="accent1"/>
                </a:solidFill>
                <a:ln w="2701" cap="flat">
                  <a:noFill/>
                  <a:prstDash val="solid"/>
                  <a:miter/>
                </a:ln>
              </p:spPr>
              <p:txBody>
                <a:bodyPr rtlCol="0" anchor="ctr"/>
                <a:lstStyle/>
                <a:p>
                  <a:endParaRPr lang="en-GB" dirty="0"/>
                </a:p>
              </p:txBody>
            </p:sp>
            <p:sp>
              <p:nvSpPr>
                <p:cNvPr id="115" name="Freihandform: Form 861">
                  <a:extLst>
                    <a:ext uri="{FF2B5EF4-FFF2-40B4-BE49-F238E27FC236}">
                      <a16:creationId xmlns:a16="http://schemas.microsoft.com/office/drawing/2014/main" id="{FCD6BA18-9839-460B-8E79-4C0BF17480BE}"/>
                    </a:ext>
                  </a:extLst>
                </p:cNvPr>
                <p:cNvSpPr/>
                <p:nvPr/>
              </p:nvSpPr>
              <p:spPr>
                <a:xfrm>
                  <a:off x="5432648" y="1783268"/>
                  <a:ext cx="125078" cy="60727"/>
                </a:xfrm>
                <a:custGeom>
                  <a:avLst/>
                  <a:gdLst>
                    <a:gd name="connsiteX0" fmla="*/ 62567 w 125078"/>
                    <a:gd name="connsiteY0" fmla="*/ 60727 h 60727"/>
                    <a:gd name="connsiteX1" fmla="*/ 0 w 125078"/>
                    <a:gd name="connsiteY1" fmla="*/ 4896 h 60727"/>
                    <a:gd name="connsiteX2" fmla="*/ 4896 w 125078"/>
                    <a:gd name="connsiteY2" fmla="*/ 0 h 60727"/>
                    <a:gd name="connsiteX3" fmla="*/ 9792 w 125078"/>
                    <a:gd name="connsiteY3" fmla="*/ 4896 h 60727"/>
                    <a:gd name="connsiteX4" fmla="*/ 62539 w 125078"/>
                    <a:gd name="connsiteY4" fmla="*/ 50935 h 60727"/>
                    <a:gd name="connsiteX5" fmla="*/ 115287 w 125078"/>
                    <a:gd name="connsiteY5" fmla="*/ 4896 h 60727"/>
                    <a:gd name="connsiteX6" fmla="*/ 120183 w 125078"/>
                    <a:gd name="connsiteY6" fmla="*/ 0 h 60727"/>
                    <a:gd name="connsiteX7" fmla="*/ 125079 w 125078"/>
                    <a:gd name="connsiteY7" fmla="*/ 4896 h 60727"/>
                    <a:gd name="connsiteX8" fmla="*/ 62567 w 125078"/>
                    <a:gd name="connsiteY8" fmla="*/ 60727 h 60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78" h="60727">
                      <a:moveTo>
                        <a:pt x="62567" y="60727"/>
                      </a:moveTo>
                      <a:cubicBezTo>
                        <a:pt x="28078" y="60727"/>
                        <a:pt x="0" y="35679"/>
                        <a:pt x="0" y="4896"/>
                      </a:cubicBezTo>
                      <a:cubicBezTo>
                        <a:pt x="0" y="2191"/>
                        <a:pt x="2191" y="0"/>
                        <a:pt x="4896" y="0"/>
                      </a:cubicBezTo>
                      <a:cubicBezTo>
                        <a:pt x="7601" y="0"/>
                        <a:pt x="9792" y="2191"/>
                        <a:pt x="9792" y="4896"/>
                      </a:cubicBezTo>
                      <a:cubicBezTo>
                        <a:pt x="9792" y="30269"/>
                        <a:pt x="33461" y="50935"/>
                        <a:pt x="62539" y="50935"/>
                      </a:cubicBezTo>
                      <a:cubicBezTo>
                        <a:pt x="91618" y="50935"/>
                        <a:pt x="115287" y="30296"/>
                        <a:pt x="115287" y="4896"/>
                      </a:cubicBezTo>
                      <a:cubicBezTo>
                        <a:pt x="115287" y="2191"/>
                        <a:pt x="117478" y="0"/>
                        <a:pt x="120183" y="0"/>
                      </a:cubicBezTo>
                      <a:cubicBezTo>
                        <a:pt x="122888" y="0"/>
                        <a:pt x="125079" y="2191"/>
                        <a:pt x="125079" y="4896"/>
                      </a:cubicBezTo>
                      <a:cubicBezTo>
                        <a:pt x="125133" y="35679"/>
                        <a:pt x="97055" y="60727"/>
                        <a:pt x="62567" y="60727"/>
                      </a:cubicBezTo>
                      <a:close/>
                    </a:path>
                  </a:pathLst>
                </a:custGeom>
                <a:solidFill>
                  <a:schemeClr val="accent1"/>
                </a:solidFill>
                <a:ln w="2701" cap="flat">
                  <a:noFill/>
                  <a:prstDash val="solid"/>
                  <a:miter/>
                </a:ln>
              </p:spPr>
              <p:txBody>
                <a:bodyPr rtlCol="0" anchor="ctr"/>
                <a:lstStyle/>
                <a:p>
                  <a:endParaRPr lang="en-GB" dirty="0"/>
                </a:p>
              </p:txBody>
            </p:sp>
            <p:sp>
              <p:nvSpPr>
                <p:cNvPr id="116" name="Freihandform: Form 862">
                  <a:extLst>
                    <a:ext uri="{FF2B5EF4-FFF2-40B4-BE49-F238E27FC236}">
                      <a16:creationId xmlns:a16="http://schemas.microsoft.com/office/drawing/2014/main" id="{F33D56D9-CD1E-47BA-A495-7EB98D58B038}"/>
                    </a:ext>
                  </a:extLst>
                </p:cNvPr>
                <p:cNvSpPr/>
                <p:nvPr/>
              </p:nvSpPr>
              <p:spPr>
                <a:xfrm>
                  <a:off x="5548151" y="1783268"/>
                  <a:ext cx="125078" cy="60727"/>
                </a:xfrm>
                <a:custGeom>
                  <a:avLst/>
                  <a:gdLst>
                    <a:gd name="connsiteX0" fmla="*/ 62566 w 125078"/>
                    <a:gd name="connsiteY0" fmla="*/ 60727 h 60727"/>
                    <a:gd name="connsiteX1" fmla="*/ 0 w 125078"/>
                    <a:gd name="connsiteY1" fmla="*/ 4896 h 60727"/>
                    <a:gd name="connsiteX2" fmla="*/ 4896 w 125078"/>
                    <a:gd name="connsiteY2" fmla="*/ 0 h 60727"/>
                    <a:gd name="connsiteX3" fmla="*/ 9792 w 125078"/>
                    <a:gd name="connsiteY3" fmla="*/ 4896 h 60727"/>
                    <a:gd name="connsiteX4" fmla="*/ 62539 w 125078"/>
                    <a:gd name="connsiteY4" fmla="*/ 50935 h 60727"/>
                    <a:gd name="connsiteX5" fmla="*/ 115287 w 125078"/>
                    <a:gd name="connsiteY5" fmla="*/ 4896 h 60727"/>
                    <a:gd name="connsiteX6" fmla="*/ 120183 w 125078"/>
                    <a:gd name="connsiteY6" fmla="*/ 0 h 60727"/>
                    <a:gd name="connsiteX7" fmla="*/ 125079 w 125078"/>
                    <a:gd name="connsiteY7" fmla="*/ 4896 h 60727"/>
                    <a:gd name="connsiteX8" fmla="*/ 62566 w 125078"/>
                    <a:gd name="connsiteY8" fmla="*/ 60727 h 60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78" h="60727">
                      <a:moveTo>
                        <a:pt x="62566" y="60727"/>
                      </a:moveTo>
                      <a:cubicBezTo>
                        <a:pt x="28078" y="60727"/>
                        <a:pt x="0" y="35679"/>
                        <a:pt x="0" y="4896"/>
                      </a:cubicBezTo>
                      <a:cubicBezTo>
                        <a:pt x="0" y="2191"/>
                        <a:pt x="2191" y="0"/>
                        <a:pt x="4896" y="0"/>
                      </a:cubicBezTo>
                      <a:cubicBezTo>
                        <a:pt x="7601" y="0"/>
                        <a:pt x="9792" y="2191"/>
                        <a:pt x="9792" y="4896"/>
                      </a:cubicBezTo>
                      <a:cubicBezTo>
                        <a:pt x="9792" y="30269"/>
                        <a:pt x="33461" y="50935"/>
                        <a:pt x="62539" y="50935"/>
                      </a:cubicBezTo>
                      <a:cubicBezTo>
                        <a:pt x="91618" y="50935"/>
                        <a:pt x="115287" y="30296"/>
                        <a:pt x="115287" y="4896"/>
                      </a:cubicBezTo>
                      <a:cubicBezTo>
                        <a:pt x="115287" y="2191"/>
                        <a:pt x="117478" y="0"/>
                        <a:pt x="120183" y="0"/>
                      </a:cubicBezTo>
                      <a:cubicBezTo>
                        <a:pt x="122888" y="0"/>
                        <a:pt x="125079" y="2191"/>
                        <a:pt x="125079" y="4896"/>
                      </a:cubicBezTo>
                      <a:cubicBezTo>
                        <a:pt x="125133" y="35679"/>
                        <a:pt x="97055" y="60727"/>
                        <a:pt x="62566" y="60727"/>
                      </a:cubicBezTo>
                      <a:close/>
                    </a:path>
                  </a:pathLst>
                </a:custGeom>
                <a:solidFill>
                  <a:schemeClr val="accent1"/>
                </a:solidFill>
                <a:ln w="2701" cap="flat">
                  <a:noFill/>
                  <a:prstDash val="solid"/>
                  <a:miter/>
                </a:ln>
              </p:spPr>
              <p:txBody>
                <a:bodyPr rtlCol="0" anchor="ctr"/>
                <a:lstStyle/>
                <a:p>
                  <a:endParaRPr lang="en-GB" dirty="0"/>
                </a:p>
              </p:txBody>
            </p:sp>
            <p:sp>
              <p:nvSpPr>
                <p:cNvPr id="117" name="Freihandform: Form 863">
                  <a:extLst>
                    <a:ext uri="{FF2B5EF4-FFF2-40B4-BE49-F238E27FC236}">
                      <a16:creationId xmlns:a16="http://schemas.microsoft.com/office/drawing/2014/main" id="{3146748C-D2D3-4270-AA24-1540F9DE73E5}"/>
                    </a:ext>
                  </a:extLst>
                </p:cNvPr>
                <p:cNvSpPr/>
                <p:nvPr/>
              </p:nvSpPr>
              <p:spPr>
                <a:xfrm>
                  <a:off x="5663655" y="1783268"/>
                  <a:ext cx="125078" cy="60727"/>
                </a:xfrm>
                <a:custGeom>
                  <a:avLst/>
                  <a:gdLst>
                    <a:gd name="connsiteX0" fmla="*/ 62567 w 125078"/>
                    <a:gd name="connsiteY0" fmla="*/ 60727 h 60727"/>
                    <a:gd name="connsiteX1" fmla="*/ 0 w 125078"/>
                    <a:gd name="connsiteY1" fmla="*/ 4896 h 60727"/>
                    <a:gd name="connsiteX2" fmla="*/ 4896 w 125078"/>
                    <a:gd name="connsiteY2" fmla="*/ 0 h 60727"/>
                    <a:gd name="connsiteX3" fmla="*/ 9792 w 125078"/>
                    <a:gd name="connsiteY3" fmla="*/ 4896 h 60727"/>
                    <a:gd name="connsiteX4" fmla="*/ 62539 w 125078"/>
                    <a:gd name="connsiteY4" fmla="*/ 50935 h 60727"/>
                    <a:gd name="connsiteX5" fmla="*/ 115287 w 125078"/>
                    <a:gd name="connsiteY5" fmla="*/ 4896 h 60727"/>
                    <a:gd name="connsiteX6" fmla="*/ 120183 w 125078"/>
                    <a:gd name="connsiteY6" fmla="*/ 0 h 60727"/>
                    <a:gd name="connsiteX7" fmla="*/ 125079 w 125078"/>
                    <a:gd name="connsiteY7" fmla="*/ 4896 h 60727"/>
                    <a:gd name="connsiteX8" fmla="*/ 62567 w 125078"/>
                    <a:gd name="connsiteY8" fmla="*/ 60727 h 60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5078" h="60727">
                      <a:moveTo>
                        <a:pt x="62567" y="60727"/>
                      </a:moveTo>
                      <a:cubicBezTo>
                        <a:pt x="28078" y="60727"/>
                        <a:pt x="0" y="35679"/>
                        <a:pt x="0" y="4896"/>
                      </a:cubicBezTo>
                      <a:cubicBezTo>
                        <a:pt x="0" y="2191"/>
                        <a:pt x="2191" y="0"/>
                        <a:pt x="4896" y="0"/>
                      </a:cubicBezTo>
                      <a:cubicBezTo>
                        <a:pt x="7601" y="0"/>
                        <a:pt x="9792" y="2191"/>
                        <a:pt x="9792" y="4896"/>
                      </a:cubicBezTo>
                      <a:cubicBezTo>
                        <a:pt x="9792" y="30269"/>
                        <a:pt x="33461" y="50935"/>
                        <a:pt x="62539" y="50935"/>
                      </a:cubicBezTo>
                      <a:cubicBezTo>
                        <a:pt x="91618" y="50935"/>
                        <a:pt x="115287" y="30296"/>
                        <a:pt x="115287" y="4896"/>
                      </a:cubicBezTo>
                      <a:cubicBezTo>
                        <a:pt x="115287" y="2191"/>
                        <a:pt x="117478" y="0"/>
                        <a:pt x="120183" y="0"/>
                      </a:cubicBezTo>
                      <a:cubicBezTo>
                        <a:pt x="122888" y="0"/>
                        <a:pt x="125079" y="2191"/>
                        <a:pt x="125079" y="4896"/>
                      </a:cubicBezTo>
                      <a:cubicBezTo>
                        <a:pt x="125133" y="35679"/>
                        <a:pt x="97055" y="60727"/>
                        <a:pt x="62567" y="60727"/>
                      </a:cubicBezTo>
                      <a:close/>
                    </a:path>
                  </a:pathLst>
                </a:custGeom>
                <a:solidFill>
                  <a:schemeClr val="accent1"/>
                </a:solidFill>
                <a:ln w="2701" cap="flat">
                  <a:noFill/>
                  <a:prstDash val="solid"/>
                  <a:miter/>
                </a:ln>
              </p:spPr>
              <p:txBody>
                <a:bodyPr rtlCol="0" anchor="ctr"/>
                <a:lstStyle/>
                <a:p>
                  <a:endParaRPr lang="en-GB" dirty="0"/>
                </a:p>
              </p:txBody>
            </p:sp>
          </p:grpSp>
          <p:sp>
            <p:nvSpPr>
              <p:cNvPr id="111" name="Freihandform: Form 864">
                <a:extLst>
                  <a:ext uri="{FF2B5EF4-FFF2-40B4-BE49-F238E27FC236}">
                    <a16:creationId xmlns:a16="http://schemas.microsoft.com/office/drawing/2014/main" id="{1E6707E3-D791-4EE0-AEE3-1D99650F1046}"/>
                  </a:ext>
                </a:extLst>
              </p:cNvPr>
              <p:cNvSpPr/>
              <p:nvPr/>
            </p:nvSpPr>
            <p:spPr>
              <a:xfrm>
                <a:off x="5432243" y="1724885"/>
                <a:ext cx="28914" cy="68039"/>
              </a:xfrm>
              <a:custGeom>
                <a:avLst/>
                <a:gdLst>
                  <a:gd name="connsiteX0" fmla="*/ 4922 w 28914"/>
                  <a:gd name="connsiteY0" fmla="*/ 68040 h 68039"/>
                  <a:gd name="connsiteX1" fmla="*/ 3380 w 28914"/>
                  <a:gd name="connsiteY1" fmla="*/ 67796 h 68039"/>
                  <a:gd name="connsiteX2" fmla="*/ 242 w 28914"/>
                  <a:gd name="connsiteY2" fmla="*/ 61602 h 68039"/>
                  <a:gd name="connsiteX3" fmla="*/ 19340 w 28914"/>
                  <a:gd name="connsiteY3" fmla="*/ 3391 h 68039"/>
                  <a:gd name="connsiteX4" fmla="*/ 25534 w 28914"/>
                  <a:gd name="connsiteY4" fmla="*/ 253 h 68039"/>
                  <a:gd name="connsiteX5" fmla="*/ 28672 w 28914"/>
                  <a:gd name="connsiteY5" fmla="*/ 6447 h 68039"/>
                  <a:gd name="connsiteX6" fmla="*/ 9575 w 28914"/>
                  <a:gd name="connsiteY6" fmla="*/ 64659 h 68039"/>
                  <a:gd name="connsiteX7" fmla="*/ 4922 w 28914"/>
                  <a:gd name="connsiteY7" fmla="*/ 68040 h 68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4" h="68039">
                    <a:moveTo>
                      <a:pt x="4922" y="68040"/>
                    </a:moveTo>
                    <a:cubicBezTo>
                      <a:pt x="4408" y="68040"/>
                      <a:pt x="3894" y="67959"/>
                      <a:pt x="3380" y="67796"/>
                    </a:cubicBezTo>
                    <a:cubicBezTo>
                      <a:pt x="811" y="66958"/>
                      <a:pt x="-596" y="64172"/>
                      <a:pt x="242" y="61602"/>
                    </a:cubicBezTo>
                    <a:lnTo>
                      <a:pt x="19340" y="3391"/>
                    </a:lnTo>
                    <a:cubicBezTo>
                      <a:pt x="20178" y="821"/>
                      <a:pt x="22937" y="-613"/>
                      <a:pt x="25534" y="253"/>
                    </a:cubicBezTo>
                    <a:cubicBezTo>
                      <a:pt x="28104" y="1091"/>
                      <a:pt x="29510" y="3877"/>
                      <a:pt x="28672" y="6447"/>
                    </a:cubicBezTo>
                    <a:lnTo>
                      <a:pt x="9575" y="64659"/>
                    </a:lnTo>
                    <a:cubicBezTo>
                      <a:pt x="8898" y="66742"/>
                      <a:pt x="6978" y="68040"/>
                      <a:pt x="4922" y="68040"/>
                    </a:cubicBezTo>
                    <a:close/>
                  </a:path>
                </a:pathLst>
              </a:custGeom>
              <a:solidFill>
                <a:schemeClr val="accent1"/>
              </a:solidFill>
              <a:ln w="2701" cap="flat">
                <a:noFill/>
                <a:prstDash val="solid"/>
                <a:miter/>
              </a:ln>
            </p:spPr>
            <p:txBody>
              <a:bodyPr rtlCol="0" anchor="ctr"/>
              <a:lstStyle/>
              <a:p>
                <a:endParaRPr lang="en-GB" dirty="0"/>
              </a:p>
            </p:txBody>
          </p:sp>
          <p:sp>
            <p:nvSpPr>
              <p:cNvPr id="112" name="Freihandform: Form 865">
                <a:extLst>
                  <a:ext uri="{FF2B5EF4-FFF2-40B4-BE49-F238E27FC236}">
                    <a16:creationId xmlns:a16="http://schemas.microsoft.com/office/drawing/2014/main" id="{13188D81-769A-4479-B9C7-6A695B1AFE3C}"/>
                  </a:ext>
                </a:extLst>
              </p:cNvPr>
              <p:cNvSpPr/>
              <p:nvPr/>
            </p:nvSpPr>
            <p:spPr>
              <a:xfrm>
                <a:off x="5644180" y="1724912"/>
                <a:ext cx="28914" cy="68364"/>
              </a:xfrm>
              <a:custGeom>
                <a:avLst/>
                <a:gdLst>
                  <a:gd name="connsiteX0" fmla="*/ 23992 w 28914"/>
                  <a:gd name="connsiteY0" fmla="*/ 68365 h 68364"/>
                  <a:gd name="connsiteX1" fmla="*/ 19340 w 28914"/>
                  <a:gd name="connsiteY1" fmla="*/ 64983 h 68364"/>
                  <a:gd name="connsiteX2" fmla="*/ 242 w 28914"/>
                  <a:gd name="connsiteY2" fmla="*/ 6447 h 68364"/>
                  <a:gd name="connsiteX3" fmla="*/ 3380 w 28914"/>
                  <a:gd name="connsiteY3" fmla="*/ 253 h 68364"/>
                  <a:gd name="connsiteX4" fmla="*/ 9575 w 28914"/>
                  <a:gd name="connsiteY4" fmla="*/ 3391 h 68364"/>
                  <a:gd name="connsiteX5" fmla="*/ 28672 w 28914"/>
                  <a:gd name="connsiteY5" fmla="*/ 61927 h 68364"/>
                  <a:gd name="connsiteX6" fmla="*/ 25534 w 28914"/>
                  <a:gd name="connsiteY6" fmla="*/ 68121 h 68364"/>
                  <a:gd name="connsiteX7" fmla="*/ 23992 w 28914"/>
                  <a:gd name="connsiteY7" fmla="*/ 68365 h 68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14" h="68364">
                    <a:moveTo>
                      <a:pt x="23992" y="68365"/>
                    </a:moveTo>
                    <a:cubicBezTo>
                      <a:pt x="21936" y="68365"/>
                      <a:pt x="20016" y="67066"/>
                      <a:pt x="19340" y="64983"/>
                    </a:cubicBezTo>
                    <a:lnTo>
                      <a:pt x="242" y="6447"/>
                    </a:lnTo>
                    <a:cubicBezTo>
                      <a:pt x="-596" y="3877"/>
                      <a:pt x="811" y="1118"/>
                      <a:pt x="3380" y="253"/>
                    </a:cubicBezTo>
                    <a:cubicBezTo>
                      <a:pt x="5950" y="-613"/>
                      <a:pt x="8709" y="821"/>
                      <a:pt x="9575" y="3391"/>
                    </a:cubicBezTo>
                    <a:lnTo>
                      <a:pt x="28672" y="61927"/>
                    </a:lnTo>
                    <a:cubicBezTo>
                      <a:pt x="29510" y="64496"/>
                      <a:pt x="28104" y="67255"/>
                      <a:pt x="25534" y="68121"/>
                    </a:cubicBezTo>
                    <a:cubicBezTo>
                      <a:pt x="24993" y="68283"/>
                      <a:pt x="24506" y="68365"/>
                      <a:pt x="23992" y="68365"/>
                    </a:cubicBezTo>
                    <a:close/>
                  </a:path>
                </a:pathLst>
              </a:custGeom>
              <a:solidFill>
                <a:schemeClr val="accent1"/>
              </a:solidFill>
              <a:ln w="2701" cap="flat">
                <a:noFill/>
                <a:prstDash val="solid"/>
                <a:miter/>
              </a:ln>
            </p:spPr>
            <p:txBody>
              <a:bodyPr rtlCol="0" anchor="ctr"/>
              <a:lstStyle/>
              <a:p>
                <a:endParaRPr lang="en-GB" dirty="0"/>
              </a:p>
            </p:txBody>
          </p:sp>
          <p:sp>
            <p:nvSpPr>
              <p:cNvPr id="113" name="Freihandform: Form 866">
                <a:extLst>
                  <a:ext uri="{FF2B5EF4-FFF2-40B4-BE49-F238E27FC236}">
                    <a16:creationId xmlns:a16="http://schemas.microsoft.com/office/drawing/2014/main" id="{B8277784-0AC9-49F2-8B1A-48981C4EFCA9}"/>
                  </a:ext>
                </a:extLst>
              </p:cNvPr>
              <p:cNvSpPr/>
              <p:nvPr/>
            </p:nvSpPr>
            <p:spPr>
              <a:xfrm>
                <a:off x="5548476" y="1724597"/>
                <a:ext cx="9792" cy="70735"/>
              </a:xfrm>
              <a:custGeom>
                <a:avLst/>
                <a:gdLst>
                  <a:gd name="connsiteX0" fmla="*/ 4896 w 9792"/>
                  <a:gd name="connsiteY0" fmla="*/ 70736 h 70735"/>
                  <a:gd name="connsiteX1" fmla="*/ 0 w 9792"/>
                  <a:gd name="connsiteY1" fmla="*/ 65840 h 70735"/>
                  <a:gd name="connsiteX2" fmla="*/ 0 w 9792"/>
                  <a:gd name="connsiteY2" fmla="*/ 4896 h 70735"/>
                  <a:gd name="connsiteX3" fmla="*/ 4896 w 9792"/>
                  <a:gd name="connsiteY3" fmla="*/ 0 h 70735"/>
                  <a:gd name="connsiteX4" fmla="*/ 9792 w 9792"/>
                  <a:gd name="connsiteY4" fmla="*/ 4896 h 70735"/>
                  <a:gd name="connsiteX5" fmla="*/ 9792 w 9792"/>
                  <a:gd name="connsiteY5" fmla="*/ 65840 h 70735"/>
                  <a:gd name="connsiteX6" fmla="*/ 4896 w 9792"/>
                  <a:gd name="connsiteY6" fmla="*/ 70736 h 70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2" h="70735">
                    <a:moveTo>
                      <a:pt x="4896" y="70736"/>
                    </a:moveTo>
                    <a:cubicBezTo>
                      <a:pt x="2191" y="70736"/>
                      <a:pt x="0" y="68545"/>
                      <a:pt x="0" y="65840"/>
                    </a:cubicBezTo>
                    <a:lnTo>
                      <a:pt x="0" y="4896"/>
                    </a:lnTo>
                    <a:cubicBezTo>
                      <a:pt x="0" y="2191"/>
                      <a:pt x="2191" y="0"/>
                      <a:pt x="4896" y="0"/>
                    </a:cubicBezTo>
                    <a:cubicBezTo>
                      <a:pt x="7601" y="0"/>
                      <a:pt x="9792" y="2191"/>
                      <a:pt x="9792" y="4896"/>
                    </a:cubicBezTo>
                    <a:lnTo>
                      <a:pt x="9792" y="65840"/>
                    </a:lnTo>
                    <a:cubicBezTo>
                      <a:pt x="9792" y="68545"/>
                      <a:pt x="7601" y="70736"/>
                      <a:pt x="4896" y="70736"/>
                    </a:cubicBezTo>
                    <a:close/>
                  </a:path>
                </a:pathLst>
              </a:custGeom>
              <a:solidFill>
                <a:schemeClr val="accent1"/>
              </a:solidFill>
              <a:ln w="2701" cap="flat">
                <a:noFill/>
                <a:prstDash val="solid"/>
                <a:miter/>
              </a:ln>
            </p:spPr>
            <p:txBody>
              <a:bodyPr rtlCol="0" anchor="ctr"/>
              <a:lstStyle/>
              <a:p>
                <a:endParaRPr lang="en-GB" dirty="0"/>
              </a:p>
            </p:txBody>
          </p:sp>
        </p:grpSp>
      </p:grpSp>
      <p:grpSp>
        <p:nvGrpSpPr>
          <p:cNvPr id="28" name="Group 27">
            <a:extLst>
              <a:ext uri="{FF2B5EF4-FFF2-40B4-BE49-F238E27FC236}">
                <a16:creationId xmlns:a16="http://schemas.microsoft.com/office/drawing/2014/main" id="{2CD57444-C7C8-FAB7-616F-36D79E889E81}"/>
              </a:ext>
            </a:extLst>
          </p:cNvPr>
          <p:cNvGrpSpPr/>
          <p:nvPr/>
        </p:nvGrpSpPr>
        <p:grpSpPr>
          <a:xfrm>
            <a:off x="543238" y="2391526"/>
            <a:ext cx="501624" cy="432000"/>
            <a:chOff x="543238" y="2391526"/>
            <a:chExt cx="501624" cy="432000"/>
          </a:xfrm>
        </p:grpSpPr>
        <p:grpSp>
          <p:nvGrpSpPr>
            <p:cNvPr id="124" name="Grafik 143">
              <a:extLst>
                <a:ext uri="{FF2B5EF4-FFF2-40B4-BE49-F238E27FC236}">
                  <a16:creationId xmlns:a16="http://schemas.microsoft.com/office/drawing/2014/main" id="{53E3FD00-25A9-4100-8BBD-266BF7CA0447}"/>
                </a:ext>
              </a:extLst>
            </p:cNvPr>
            <p:cNvGrpSpPr/>
            <p:nvPr/>
          </p:nvGrpSpPr>
          <p:grpSpPr>
            <a:xfrm>
              <a:off x="666599" y="2565370"/>
              <a:ext cx="254862" cy="210510"/>
              <a:chOff x="7879850" y="3531846"/>
              <a:chExt cx="220512" cy="182138"/>
            </a:xfrm>
            <a:solidFill>
              <a:schemeClr val="accent1"/>
            </a:solidFill>
          </p:grpSpPr>
          <p:grpSp>
            <p:nvGrpSpPr>
              <p:cNvPr id="137" name="Grafik 143">
                <a:extLst>
                  <a:ext uri="{FF2B5EF4-FFF2-40B4-BE49-F238E27FC236}">
                    <a16:creationId xmlns:a16="http://schemas.microsoft.com/office/drawing/2014/main" id="{15A39F04-8C74-45F8-948B-64307433D6CF}"/>
                  </a:ext>
                </a:extLst>
              </p:cNvPr>
              <p:cNvGrpSpPr/>
              <p:nvPr/>
            </p:nvGrpSpPr>
            <p:grpSpPr>
              <a:xfrm>
                <a:off x="7910665" y="3538187"/>
                <a:ext cx="159630" cy="175797"/>
                <a:chOff x="7910665" y="3538187"/>
                <a:chExt cx="159630" cy="175797"/>
              </a:xfrm>
              <a:solidFill>
                <a:schemeClr val="accent1"/>
              </a:solidFill>
            </p:grpSpPr>
            <p:sp>
              <p:nvSpPr>
                <p:cNvPr id="142" name="Freihandform: Form 922">
                  <a:extLst>
                    <a:ext uri="{FF2B5EF4-FFF2-40B4-BE49-F238E27FC236}">
                      <a16:creationId xmlns:a16="http://schemas.microsoft.com/office/drawing/2014/main" id="{CF00CDE8-A500-4C74-A3B0-4DEDEED164D8}"/>
                    </a:ext>
                  </a:extLst>
                </p:cNvPr>
                <p:cNvSpPr/>
                <p:nvPr/>
              </p:nvSpPr>
              <p:spPr>
                <a:xfrm>
                  <a:off x="7910665" y="3621609"/>
                  <a:ext cx="159540" cy="92375"/>
                </a:xfrm>
                <a:custGeom>
                  <a:avLst/>
                  <a:gdLst>
                    <a:gd name="connsiteX0" fmla="*/ 79824 w 159540"/>
                    <a:gd name="connsiteY0" fmla="*/ 92376 h 92375"/>
                    <a:gd name="connsiteX1" fmla="*/ 77363 w 159540"/>
                    <a:gd name="connsiteY1" fmla="*/ 91726 h 92375"/>
                    <a:gd name="connsiteX2" fmla="*/ 2462 w 159540"/>
                    <a:gd name="connsiteY2" fmla="*/ 48474 h 92375"/>
                    <a:gd name="connsiteX3" fmla="*/ 0 w 159540"/>
                    <a:gd name="connsiteY3" fmla="*/ 44227 h 92375"/>
                    <a:gd name="connsiteX4" fmla="*/ 0 w 159540"/>
                    <a:gd name="connsiteY4" fmla="*/ 6276 h 92375"/>
                    <a:gd name="connsiteX5" fmla="*/ 4896 w 159540"/>
                    <a:gd name="connsiteY5" fmla="*/ 1380 h 92375"/>
                    <a:gd name="connsiteX6" fmla="*/ 9792 w 159540"/>
                    <a:gd name="connsiteY6" fmla="*/ 6276 h 92375"/>
                    <a:gd name="connsiteX7" fmla="*/ 9792 w 159540"/>
                    <a:gd name="connsiteY7" fmla="*/ 41414 h 92375"/>
                    <a:gd name="connsiteX8" fmla="*/ 79770 w 159540"/>
                    <a:gd name="connsiteY8" fmla="*/ 81826 h 92375"/>
                    <a:gd name="connsiteX9" fmla="*/ 149748 w 159540"/>
                    <a:gd name="connsiteY9" fmla="*/ 41414 h 92375"/>
                    <a:gd name="connsiteX10" fmla="*/ 149748 w 159540"/>
                    <a:gd name="connsiteY10" fmla="*/ 4896 h 92375"/>
                    <a:gd name="connsiteX11" fmla="*/ 154645 w 159540"/>
                    <a:gd name="connsiteY11" fmla="*/ 0 h 92375"/>
                    <a:gd name="connsiteX12" fmla="*/ 159540 w 159540"/>
                    <a:gd name="connsiteY12" fmla="*/ 4896 h 92375"/>
                    <a:gd name="connsiteX13" fmla="*/ 159540 w 159540"/>
                    <a:gd name="connsiteY13" fmla="*/ 44227 h 92375"/>
                    <a:gd name="connsiteX14" fmla="*/ 157079 w 159540"/>
                    <a:gd name="connsiteY14" fmla="*/ 48474 h 92375"/>
                    <a:gd name="connsiteX15" fmla="*/ 82178 w 159540"/>
                    <a:gd name="connsiteY15" fmla="*/ 91726 h 92375"/>
                    <a:gd name="connsiteX16" fmla="*/ 79824 w 159540"/>
                    <a:gd name="connsiteY16" fmla="*/ 92376 h 92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9540" h="92375">
                      <a:moveTo>
                        <a:pt x="79824" y="92376"/>
                      </a:moveTo>
                      <a:cubicBezTo>
                        <a:pt x="78986" y="92376"/>
                        <a:pt x="78120" y="92159"/>
                        <a:pt x="77363" y="91726"/>
                      </a:cubicBezTo>
                      <a:lnTo>
                        <a:pt x="2462" y="48474"/>
                      </a:lnTo>
                      <a:cubicBezTo>
                        <a:pt x="947" y="47608"/>
                        <a:pt x="0" y="45985"/>
                        <a:pt x="0" y="44227"/>
                      </a:cubicBezTo>
                      <a:lnTo>
                        <a:pt x="0" y="6276"/>
                      </a:lnTo>
                      <a:cubicBezTo>
                        <a:pt x="0" y="3571"/>
                        <a:pt x="2191" y="1380"/>
                        <a:pt x="4896" y="1380"/>
                      </a:cubicBezTo>
                      <a:cubicBezTo>
                        <a:pt x="7601" y="1380"/>
                        <a:pt x="9792" y="3571"/>
                        <a:pt x="9792" y="6276"/>
                      </a:cubicBezTo>
                      <a:lnTo>
                        <a:pt x="9792" y="41414"/>
                      </a:lnTo>
                      <a:lnTo>
                        <a:pt x="79770" y="81826"/>
                      </a:lnTo>
                      <a:lnTo>
                        <a:pt x="149748" y="41414"/>
                      </a:lnTo>
                      <a:lnTo>
                        <a:pt x="149748" y="4896"/>
                      </a:lnTo>
                      <a:cubicBezTo>
                        <a:pt x="149748" y="2191"/>
                        <a:pt x="151940" y="0"/>
                        <a:pt x="154645" y="0"/>
                      </a:cubicBezTo>
                      <a:cubicBezTo>
                        <a:pt x="157350" y="0"/>
                        <a:pt x="159540" y="2191"/>
                        <a:pt x="159540" y="4896"/>
                      </a:cubicBezTo>
                      <a:lnTo>
                        <a:pt x="159540" y="44227"/>
                      </a:lnTo>
                      <a:cubicBezTo>
                        <a:pt x="159540" y="45985"/>
                        <a:pt x="158621" y="47608"/>
                        <a:pt x="157079" y="48474"/>
                      </a:cubicBezTo>
                      <a:lnTo>
                        <a:pt x="82178" y="91726"/>
                      </a:lnTo>
                      <a:cubicBezTo>
                        <a:pt x="81529" y="92159"/>
                        <a:pt x="80690" y="92376"/>
                        <a:pt x="79824" y="92376"/>
                      </a:cubicBezTo>
                      <a:close/>
                    </a:path>
                  </a:pathLst>
                </a:custGeom>
                <a:solidFill>
                  <a:schemeClr val="accent1"/>
                </a:solidFill>
                <a:ln w="2701" cap="flat">
                  <a:noFill/>
                  <a:prstDash val="solid"/>
                  <a:miter/>
                </a:ln>
              </p:spPr>
              <p:txBody>
                <a:bodyPr rtlCol="0" anchor="ctr"/>
                <a:lstStyle/>
                <a:p>
                  <a:endParaRPr lang="en-GB" dirty="0"/>
                </a:p>
              </p:txBody>
            </p:sp>
            <p:sp>
              <p:nvSpPr>
                <p:cNvPr id="143" name="Freihandform: Form 923">
                  <a:extLst>
                    <a:ext uri="{FF2B5EF4-FFF2-40B4-BE49-F238E27FC236}">
                      <a16:creationId xmlns:a16="http://schemas.microsoft.com/office/drawing/2014/main" id="{6B7C8225-51BA-4563-B3FC-A8CA7F913B4E}"/>
                    </a:ext>
                  </a:extLst>
                </p:cNvPr>
                <p:cNvSpPr/>
                <p:nvPr/>
              </p:nvSpPr>
              <p:spPr>
                <a:xfrm>
                  <a:off x="7910710" y="3538187"/>
                  <a:ext cx="159585" cy="46102"/>
                </a:xfrm>
                <a:custGeom>
                  <a:avLst/>
                  <a:gdLst>
                    <a:gd name="connsiteX0" fmla="*/ 4905 w 159585"/>
                    <a:gd name="connsiteY0" fmla="*/ 46093 h 46102"/>
                    <a:gd name="connsiteX1" fmla="*/ 496 w 159585"/>
                    <a:gd name="connsiteY1" fmla="*/ 43334 h 46102"/>
                    <a:gd name="connsiteX2" fmla="*/ 2768 w 159585"/>
                    <a:gd name="connsiteY2" fmla="*/ 36788 h 46102"/>
                    <a:gd name="connsiteX3" fmla="*/ 77669 w 159585"/>
                    <a:gd name="connsiteY3" fmla="*/ 487 h 46102"/>
                    <a:gd name="connsiteX4" fmla="*/ 81943 w 159585"/>
                    <a:gd name="connsiteY4" fmla="*/ 487 h 46102"/>
                    <a:gd name="connsiteX5" fmla="*/ 156817 w 159585"/>
                    <a:gd name="connsiteY5" fmla="*/ 36788 h 46102"/>
                    <a:gd name="connsiteX6" fmla="*/ 159090 w 159585"/>
                    <a:gd name="connsiteY6" fmla="*/ 43334 h 46102"/>
                    <a:gd name="connsiteX7" fmla="*/ 152544 w 159585"/>
                    <a:gd name="connsiteY7" fmla="*/ 45606 h 46102"/>
                    <a:gd name="connsiteX8" fmla="*/ 79806 w 159585"/>
                    <a:gd name="connsiteY8" fmla="*/ 10333 h 46102"/>
                    <a:gd name="connsiteX9" fmla="*/ 7042 w 159585"/>
                    <a:gd name="connsiteY9" fmla="*/ 45606 h 46102"/>
                    <a:gd name="connsiteX10" fmla="*/ 4905 w 159585"/>
                    <a:gd name="connsiteY10" fmla="*/ 46093 h 46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9585" h="46102">
                      <a:moveTo>
                        <a:pt x="4905" y="46093"/>
                      </a:moveTo>
                      <a:cubicBezTo>
                        <a:pt x="3066" y="46093"/>
                        <a:pt x="1334" y="45065"/>
                        <a:pt x="496" y="43334"/>
                      </a:cubicBezTo>
                      <a:cubicBezTo>
                        <a:pt x="-694" y="40899"/>
                        <a:pt x="334" y="37951"/>
                        <a:pt x="2768" y="36788"/>
                      </a:cubicBezTo>
                      <a:lnTo>
                        <a:pt x="77669" y="487"/>
                      </a:lnTo>
                      <a:cubicBezTo>
                        <a:pt x="79022" y="-162"/>
                        <a:pt x="80591" y="-162"/>
                        <a:pt x="81943" y="487"/>
                      </a:cubicBezTo>
                      <a:lnTo>
                        <a:pt x="156817" y="36788"/>
                      </a:lnTo>
                      <a:cubicBezTo>
                        <a:pt x="159252" y="37978"/>
                        <a:pt x="160280" y="40899"/>
                        <a:pt x="159090" y="43334"/>
                      </a:cubicBezTo>
                      <a:cubicBezTo>
                        <a:pt x="157899" y="45768"/>
                        <a:pt x="155005" y="46796"/>
                        <a:pt x="152544" y="45606"/>
                      </a:cubicBezTo>
                      <a:lnTo>
                        <a:pt x="79806" y="10333"/>
                      </a:lnTo>
                      <a:lnTo>
                        <a:pt x="7042" y="45606"/>
                      </a:lnTo>
                      <a:cubicBezTo>
                        <a:pt x="6339" y="45931"/>
                        <a:pt x="5608" y="46093"/>
                        <a:pt x="4905" y="46093"/>
                      </a:cubicBezTo>
                      <a:close/>
                    </a:path>
                  </a:pathLst>
                </a:custGeom>
                <a:solidFill>
                  <a:schemeClr val="accent1"/>
                </a:solidFill>
                <a:ln w="2701" cap="flat">
                  <a:noFill/>
                  <a:prstDash val="solid"/>
                  <a:miter/>
                </a:ln>
              </p:spPr>
              <p:txBody>
                <a:bodyPr rtlCol="0" anchor="ctr"/>
                <a:lstStyle/>
                <a:p>
                  <a:endParaRPr lang="en-GB" dirty="0"/>
                </a:p>
              </p:txBody>
            </p:sp>
            <p:sp>
              <p:nvSpPr>
                <p:cNvPr id="144" name="Freihandform: Form 924">
                  <a:extLst>
                    <a:ext uri="{FF2B5EF4-FFF2-40B4-BE49-F238E27FC236}">
                      <a16:creationId xmlns:a16="http://schemas.microsoft.com/office/drawing/2014/main" id="{CE4BD0E6-E5EC-46BD-B7D9-1FF91BABF1A1}"/>
                    </a:ext>
                  </a:extLst>
                </p:cNvPr>
                <p:cNvSpPr/>
                <p:nvPr/>
              </p:nvSpPr>
              <p:spPr>
                <a:xfrm>
                  <a:off x="7911193" y="3573961"/>
                  <a:ext cx="84110" cy="138616"/>
                </a:xfrm>
                <a:custGeom>
                  <a:avLst/>
                  <a:gdLst>
                    <a:gd name="connsiteX0" fmla="*/ 79188 w 84110"/>
                    <a:gd name="connsiteY0" fmla="*/ 138617 h 138616"/>
                    <a:gd name="connsiteX1" fmla="*/ 74292 w 84110"/>
                    <a:gd name="connsiteY1" fmla="*/ 133721 h 138616"/>
                    <a:gd name="connsiteX2" fmla="*/ 74292 w 84110"/>
                    <a:gd name="connsiteY2" fmla="*/ 46566 h 138616"/>
                    <a:gd name="connsiteX3" fmla="*/ 2637 w 84110"/>
                    <a:gd name="connsiteY3" fmla="*/ 9264 h 138616"/>
                    <a:gd name="connsiteX4" fmla="*/ 554 w 84110"/>
                    <a:gd name="connsiteY4" fmla="*/ 2637 h 138616"/>
                    <a:gd name="connsiteX5" fmla="*/ 7181 w 84110"/>
                    <a:gd name="connsiteY5" fmla="*/ 554 h 138616"/>
                    <a:gd name="connsiteX6" fmla="*/ 81487 w 84110"/>
                    <a:gd name="connsiteY6" fmla="*/ 39208 h 138616"/>
                    <a:gd name="connsiteX7" fmla="*/ 84111 w 84110"/>
                    <a:gd name="connsiteY7" fmla="*/ 43563 h 138616"/>
                    <a:gd name="connsiteX8" fmla="*/ 84111 w 84110"/>
                    <a:gd name="connsiteY8" fmla="*/ 133694 h 138616"/>
                    <a:gd name="connsiteX9" fmla="*/ 79188 w 84110"/>
                    <a:gd name="connsiteY9" fmla="*/ 138617 h 13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10" h="138616">
                      <a:moveTo>
                        <a:pt x="79188" y="138617"/>
                      </a:moveTo>
                      <a:cubicBezTo>
                        <a:pt x="76483" y="138617"/>
                        <a:pt x="74292" y="136426"/>
                        <a:pt x="74292" y="133721"/>
                      </a:cubicBezTo>
                      <a:lnTo>
                        <a:pt x="74292" y="46566"/>
                      </a:lnTo>
                      <a:lnTo>
                        <a:pt x="2637" y="9264"/>
                      </a:lnTo>
                      <a:cubicBezTo>
                        <a:pt x="229" y="8020"/>
                        <a:pt x="-690" y="5044"/>
                        <a:pt x="554" y="2637"/>
                      </a:cubicBezTo>
                      <a:cubicBezTo>
                        <a:pt x="1798" y="229"/>
                        <a:pt x="4747" y="-690"/>
                        <a:pt x="7181" y="554"/>
                      </a:cubicBezTo>
                      <a:lnTo>
                        <a:pt x="81487" y="39208"/>
                      </a:lnTo>
                      <a:cubicBezTo>
                        <a:pt x="83110" y="40047"/>
                        <a:pt x="84111" y="41724"/>
                        <a:pt x="84111" y="43563"/>
                      </a:cubicBezTo>
                      <a:lnTo>
                        <a:pt x="84111" y="133694"/>
                      </a:lnTo>
                      <a:cubicBezTo>
                        <a:pt x="84084" y="136426"/>
                        <a:pt x="81893" y="138617"/>
                        <a:pt x="79188" y="138617"/>
                      </a:cubicBezTo>
                      <a:close/>
                    </a:path>
                  </a:pathLst>
                </a:custGeom>
                <a:solidFill>
                  <a:schemeClr val="accent1"/>
                </a:solidFill>
                <a:ln w="2701" cap="flat">
                  <a:noFill/>
                  <a:prstDash val="solid"/>
                  <a:miter/>
                </a:ln>
              </p:spPr>
              <p:txBody>
                <a:bodyPr rtlCol="0" anchor="ctr"/>
                <a:lstStyle/>
                <a:p>
                  <a:endParaRPr lang="en-GB" dirty="0"/>
                </a:p>
              </p:txBody>
            </p:sp>
            <p:sp>
              <p:nvSpPr>
                <p:cNvPr id="145" name="Freihandform: Form 925">
                  <a:extLst>
                    <a:ext uri="{FF2B5EF4-FFF2-40B4-BE49-F238E27FC236}">
                      <a16:creationId xmlns:a16="http://schemas.microsoft.com/office/drawing/2014/main" id="{85B69149-95D4-49AC-BA91-63FD6D1E9264}"/>
                    </a:ext>
                  </a:extLst>
                </p:cNvPr>
                <p:cNvSpPr/>
                <p:nvPr/>
              </p:nvSpPr>
              <p:spPr>
                <a:xfrm>
                  <a:off x="7986371" y="3575389"/>
                  <a:ext cx="81975" cy="47058"/>
                </a:xfrm>
                <a:custGeom>
                  <a:avLst/>
                  <a:gdLst>
                    <a:gd name="connsiteX0" fmla="*/ 4903 w 81975"/>
                    <a:gd name="connsiteY0" fmla="*/ 47059 h 47058"/>
                    <a:gd name="connsiteX1" fmla="*/ 548 w 81975"/>
                    <a:gd name="connsiteY1" fmla="*/ 44408 h 47058"/>
                    <a:gd name="connsiteX2" fmla="*/ 2658 w 81975"/>
                    <a:gd name="connsiteY2" fmla="*/ 37808 h 47058"/>
                    <a:gd name="connsiteX3" fmla="*/ 74827 w 81975"/>
                    <a:gd name="connsiteY3" fmla="*/ 560 h 47058"/>
                    <a:gd name="connsiteX4" fmla="*/ 81427 w 81975"/>
                    <a:gd name="connsiteY4" fmla="*/ 2670 h 47058"/>
                    <a:gd name="connsiteX5" fmla="*/ 79318 w 81975"/>
                    <a:gd name="connsiteY5" fmla="*/ 9270 h 47058"/>
                    <a:gd name="connsiteX6" fmla="*/ 7148 w 81975"/>
                    <a:gd name="connsiteY6" fmla="*/ 46518 h 47058"/>
                    <a:gd name="connsiteX7" fmla="*/ 4903 w 81975"/>
                    <a:gd name="connsiteY7" fmla="*/ 47059 h 4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975" h="47058">
                      <a:moveTo>
                        <a:pt x="4903" y="47059"/>
                      </a:moveTo>
                      <a:cubicBezTo>
                        <a:pt x="3118" y="47059"/>
                        <a:pt x="1414" y="46085"/>
                        <a:pt x="548" y="44408"/>
                      </a:cubicBezTo>
                      <a:cubicBezTo>
                        <a:pt x="-696" y="42000"/>
                        <a:pt x="251" y="39052"/>
                        <a:pt x="2658" y="37808"/>
                      </a:cubicBezTo>
                      <a:lnTo>
                        <a:pt x="74827" y="560"/>
                      </a:lnTo>
                      <a:cubicBezTo>
                        <a:pt x="77235" y="-711"/>
                        <a:pt x="80210" y="262"/>
                        <a:pt x="81427" y="2670"/>
                      </a:cubicBezTo>
                      <a:cubicBezTo>
                        <a:pt x="82672" y="5077"/>
                        <a:pt x="81725" y="8026"/>
                        <a:pt x="79318" y="9270"/>
                      </a:cubicBezTo>
                      <a:lnTo>
                        <a:pt x="7148" y="46518"/>
                      </a:lnTo>
                      <a:cubicBezTo>
                        <a:pt x="6418" y="46896"/>
                        <a:pt x="5661" y="47059"/>
                        <a:pt x="4903" y="47059"/>
                      </a:cubicBezTo>
                      <a:close/>
                    </a:path>
                  </a:pathLst>
                </a:custGeom>
                <a:solidFill>
                  <a:schemeClr val="accent1"/>
                </a:solidFill>
                <a:ln w="2701" cap="flat">
                  <a:noFill/>
                  <a:prstDash val="solid"/>
                  <a:miter/>
                </a:ln>
              </p:spPr>
              <p:txBody>
                <a:bodyPr rtlCol="0" anchor="ctr"/>
                <a:lstStyle/>
                <a:p>
                  <a:endParaRPr lang="en-GB" dirty="0"/>
                </a:p>
              </p:txBody>
            </p:sp>
          </p:grpSp>
          <p:sp>
            <p:nvSpPr>
              <p:cNvPr id="138" name="Freihandform: Form 926">
                <a:extLst>
                  <a:ext uri="{FF2B5EF4-FFF2-40B4-BE49-F238E27FC236}">
                    <a16:creationId xmlns:a16="http://schemas.microsoft.com/office/drawing/2014/main" id="{FB7E8987-056B-40BF-93EF-6F29B9AD34B0}"/>
                  </a:ext>
                </a:extLst>
              </p:cNvPr>
              <p:cNvSpPr/>
              <p:nvPr/>
            </p:nvSpPr>
            <p:spPr>
              <a:xfrm>
                <a:off x="7985678" y="3574553"/>
                <a:ext cx="114684" cy="79109"/>
              </a:xfrm>
              <a:custGeom>
                <a:avLst/>
                <a:gdLst>
                  <a:gd name="connsiteX0" fmla="*/ 35540 w 114684"/>
                  <a:gd name="connsiteY0" fmla="*/ 79110 h 79109"/>
                  <a:gd name="connsiteX1" fmla="*/ 32050 w 114684"/>
                  <a:gd name="connsiteY1" fmla="*/ 77649 h 79109"/>
                  <a:gd name="connsiteX2" fmla="*/ 1430 w 114684"/>
                  <a:gd name="connsiteY2" fmla="*/ 46785 h 79109"/>
                  <a:gd name="connsiteX3" fmla="*/ 50 w 114684"/>
                  <a:gd name="connsiteY3" fmla="*/ 42565 h 79109"/>
                  <a:gd name="connsiteX4" fmla="*/ 2647 w 114684"/>
                  <a:gd name="connsiteY4" fmla="*/ 38968 h 79109"/>
                  <a:gd name="connsiteX5" fmla="*/ 76899 w 114684"/>
                  <a:gd name="connsiteY5" fmla="*/ 557 h 79109"/>
                  <a:gd name="connsiteX6" fmla="*/ 82634 w 114684"/>
                  <a:gd name="connsiteY6" fmla="*/ 1449 h 79109"/>
                  <a:gd name="connsiteX7" fmla="*/ 113254 w 114684"/>
                  <a:gd name="connsiteY7" fmla="*/ 32313 h 79109"/>
                  <a:gd name="connsiteX8" fmla="*/ 114634 w 114684"/>
                  <a:gd name="connsiteY8" fmla="*/ 36533 h 79109"/>
                  <a:gd name="connsiteX9" fmla="*/ 112037 w 114684"/>
                  <a:gd name="connsiteY9" fmla="*/ 40131 h 79109"/>
                  <a:gd name="connsiteX10" fmla="*/ 37785 w 114684"/>
                  <a:gd name="connsiteY10" fmla="*/ 78542 h 79109"/>
                  <a:gd name="connsiteX11" fmla="*/ 35540 w 114684"/>
                  <a:gd name="connsiteY11" fmla="*/ 79110 h 79109"/>
                  <a:gd name="connsiteX12" fmla="*/ 13088 w 114684"/>
                  <a:gd name="connsiteY12" fmla="*/ 44621 h 79109"/>
                  <a:gd name="connsiteX13" fmla="*/ 36486 w 114684"/>
                  <a:gd name="connsiteY13" fmla="*/ 68182 h 79109"/>
                  <a:gd name="connsiteX14" fmla="*/ 101596 w 114684"/>
                  <a:gd name="connsiteY14" fmla="*/ 34505 h 79109"/>
                  <a:gd name="connsiteX15" fmla="*/ 78198 w 114684"/>
                  <a:gd name="connsiteY15" fmla="*/ 10944 h 79109"/>
                  <a:gd name="connsiteX16" fmla="*/ 13088 w 114684"/>
                  <a:gd name="connsiteY16" fmla="*/ 44621 h 79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684" h="79109">
                    <a:moveTo>
                      <a:pt x="35540" y="79110"/>
                    </a:moveTo>
                    <a:cubicBezTo>
                      <a:pt x="34268" y="79110"/>
                      <a:pt x="32997" y="78623"/>
                      <a:pt x="32050" y="77649"/>
                    </a:cubicBezTo>
                    <a:lnTo>
                      <a:pt x="1430" y="46785"/>
                    </a:lnTo>
                    <a:cubicBezTo>
                      <a:pt x="321" y="45676"/>
                      <a:pt x="-166" y="44107"/>
                      <a:pt x="50" y="42565"/>
                    </a:cubicBezTo>
                    <a:cubicBezTo>
                      <a:pt x="294" y="41023"/>
                      <a:pt x="1268" y="39698"/>
                      <a:pt x="2647" y="38968"/>
                    </a:cubicBezTo>
                    <a:lnTo>
                      <a:pt x="76899" y="557"/>
                    </a:lnTo>
                    <a:cubicBezTo>
                      <a:pt x="78820" y="-444"/>
                      <a:pt x="81119" y="-65"/>
                      <a:pt x="82634" y="1449"/>
                    </a:cubicBezTo>
                    <a:lnTo>
                      <a:pt x="113254" y="32313"/>
                    </a:lnTo>
                    <a:cubicBezTo>
                      <a:pt x="114363" y="33422"/>
                      <a:pt x="114850" y="34991"/>
                      <a:pt x="114634" y="36533"/>
                    </a:cubicBezTo>
                    <a:cubicBezTo>
                      <a:pt x="114390" y="38075"/>
                      <a:pt x="113417" y="39401"/>
                      <a:pt x="112037" y="40131"/>
                    </a:cubicBezTo>
                    <a:lnTo>
                      <a:pt x="37785" y="78542"/>
                    </a:lnTo>
                    <a:cubicBezTo>
                      <a:pt x="37082" y="78920"/>
                      <a:pt x="36297" y="79110"/>
                      <a:pt x="35540" y="79110"/>
                    </a:cubicBezTo>
                    <a:close/>
                    <a:moveTo>
                      <a:pt x="13088" y="44621"/>
                    </a:moveTo>
                    <a:lnTo>
                      <a:pt x="36486" y="68182"/>
                    </a:lnTo>
                    <a:lnTo>
                      <a:pt x="101596" y="34505"/>
                    </a:lnTo>
                    <a:lnTo>
                      <a:pt x="78198" y="10944"/>
                    </a:lnTo>
                    <a:lnTo>
                      <a:pt x="13088" y="44621"/>
                    </a:lnTo>
                    <a:close/>
                  </a:path>
                </a:pathLst>
              </a:custGeom>
              <a:solidFill>
                <a:schemeClr val="accent1"/>
              </a:solidFill>
              <a:ln w="2701" cap="flat">
                <a:noFill/>
                <a:prstDash val="solid"/>
                <a:miter/>
              </a:ln>
            </p:spPr>
            <p:txBody>
              <a:bodyPr rtlCol="0" anchor="ctr"/>
              <a:lstStyle/>
              <a:p>
                <a:endParaRPr lang="en-GB" dirty="0"/>
              </a:p>
            </p:txBody>
          </p:sp>
          <p:sp>
            <p:nvSpPr>
              <p:cNvPr id="139" name="Freihandform: Form 927">
                <a:extLst>
                  <a:ext uri="{FF2B5EF4-FFF2-40B4-BE49-F238E27FC236}">
                    <a16:creationId xmlns:a16="http://schemas.microsoft.com/office/drawing/2014/main" id="{19A2D928-DE42-48BE-AB46-FE969F292605}"/>
                  </a:ext>
                </a:extLst>
              </p:cNvPr>
              <p:cNvSpPr/>
              <p:nvPr/>
            </p:nvSpPr>
            <p:spPr>
              <a:xfrm>
                <a:off x="7884460" y="3533007"/>
                <a:ext cx="110676" cy="50894"/>
              </a:xfrm>
              <a:custGeom>
                <a:avLst/>
                <a:gdLst>
                  <a:gd name="connsiteX0" fmla="*/ 31561 w 110676"/>
                  <a:gd name="connsiteY0" fmla="*/ 50895 h 50894"/>
                  <a:gd name="connsiteX1" fmla="*/ 30669 w 110676"/>
                  <a:gd name="connsiteY1" fmla="*/ 50813 h 50894"/>
                  <a:gd name="connsiteX2" fmla="*/ 4024 w 110676"/>
                  <a:gd name="connsiteY2" fmla="*/ 45890 h 50894"/>
                  <a:gd name="connsiteX3" fmla="*/ 48 w 110676"/>
                  <a:gd name="connsiteY3" fmla="*/ 41725 h 50894"/>
                  <a:gd name="connsiteX4" fmla="*/ 2753 w 110676"/>
                  <a:gd name="connsiteY4" fmla="*/ 36666 h 50894"/>
                  <a:gd name="connsiteX5" fmla="*/ 76951 w 110676"/>
                  <a:gd name="connsiteY5" fmla="*/ 501 h 50894"/>
                  <a:gd name="connsiteX6" fmla="*/ 80008 w 110676"/>
                  <a:gd name="connsiteY6" fmla="*/ 95 h 50894"/>
                  <a:gd name="connsiteX7" fmla="*/ 106652 w 110676"/>
                  <a:gd name="connsiteY7" fmla="*/ 5018 h 50894"/>
                  <a:gd name="connsiteX8" fmla="*/ 110628 w 110676"/>
                  <a:gd name="connsiteY8" fmla="*/ 9183 h 50894"/>
                  <a:gd name="connsiteX9" fmla="*/ 107923 w 110676"/>
                  <a:gd name="connsiteY9" fmla="*/ 14242 h 50894"/>
                  <a:gd name="connsiteX10" fmla="*/ 33725 w 110676"/>
                  <a:gd name="connsiteY10" fmla="*/ 50408 h 50894"/>
                  <a:gd name="connsiteX11" fmla="*/ 31561 w 110676"/>
                  <a:gd name="connsiteY11" fmla="*/ 50895 h 50894"/>
                  <a:gd name="connsiteX12" fmla="*/ 20444 w 110676"/>
                  <a:gd name="connsiteY12" fmla="*/ 38938 h 50894"/>
                  <a:gd name="connsiteX13" fmla="*/ 30858 w 110676"/>
                  <a:gd name="connsiteY13" fmla="*/ 40859 h 50894"/>
                  <a:gd name="connsiteX14" fmla="*/ 90232 w 110676"/>
                  <a:gd name="connsiteY14" fmla="*/ 11916 h 50894"/>
                  <a:gd name="connsiteX15" fmla="*/ 79818 w 110676"/>
                  <a:gd name="connsiteY15" fmla="*/ 9995 h 50894"/>
                  <a:gd name="connsiteX16" fmla="*/ 20444 w 110676"/>
                  <a:gd name="connsiteY16" fmla="*/ 38938 h 5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0676" h="50894">
                    <a:moveTo>
                      <a:pt x="31561" y="50895"/>
                    </a:moveTo>
                    <a:cubicBezTo>
                      <a:pt x="31264" y="50895"/>
                      <a:pt x="30966" y="50868"/>
                      <a:pt x="30669" y="50813"/>
                    </a:cubicBezTo>
                    <a:lnTo>
                      <a:pt x="4024" y="45890"/>
                    </a:lnTo>
                    <a:cubicBezTo>
                      <a:pt x="1941" y="45512"/>
                      <a:pt x="345" y="43834"/>
                      <a:pt x="48" y="41725"/>
                    </a:cubicBezTo>
                    <a:cubicBezTo>
                      <a:pt x="-250" y="39615"/>
                      <a:pt x="859" y="37586"/>
                      <a:pt x="2753" y="36666"/>
                    </a:cubicBezTo>
                    <a:lnTo>
                      <a:pt x="76951" y="501"/>
                    </a:lnTo>
                    <a:cubicBezTo>
                      <a:pt x="77898" y="41"/>
                      <a:pt x="78953" y="-122"/>
                      <a:pt x="80008" y="95"/>
                    </a:cubicBezTo>
                    <a:lnTo>
                      <a:pt x="106652" y="5018"/>
                    </a:lnTo>
                    <a:cubicBezTo>
                      <a:pt x="108735" y="5397"/>
                      <a:pt x="110330" y="7074"/>
                      <a:pt x="110628" y="9183"/>
                    </a:cubicBezTo>
                    <a:cubicBezTo>
                      <a:pt x="110926" y="11293"/>
                      <a:pt x="109817" y="13322"/>
                      <a:pt x="107923" y="14242"/>
                    </a:cubicBezTo>
                    <a:lnTo>
                      <a:pt x="33725" y="50408"/>
                    </a:lnTo>
                    <a:cubicBezTo>
                      <a:pt x="33022" y="50705"/>
                      <a:pt x="32291" y="50895"/>
                      <a:pt x="31561" y="50895"/>
                    </a:cubicBezTo>
                    <a:close/>
                    <a:moveTo>
                      <a:pt x="20444" y="38938"/>
                    </a:moveTo>
                    <a:lnTo>
                      <a:pt x="30858" y="40859"/>
                    </a:lnTo>
                    <a:lnTo>
                      <a:pt x="90232" y="11916"/>
                    </a:lnTo>
                    <a:lnTo>
                      <a:pt x="79818" y="9995"/>
                    </a:lnTo>
                    <a:lnTo>
                      <a:pt x="20444" y="38938"/>
                    </a:lnTo>
                    <a:close/>
                  </a:path>
                </a:pathLst>
              </a:custGeom>
              <a:solidFill>
                <a:schemeClr val="accent1"/>
              </a:solidFill>
              <a:ln w="2701" cap="flat">
                <a:noFill/>
                <a:prstDash val="solid"/>
                <a:miter/>
              </a:ln>
            </p:spPr>
            <p:txBody>
              <a:bodyPr rtlCol="0" anchor="ctr"/>
              <a:lstStyle/>
              <a:p>
                <a:endParaRPr lang="en-GB" dirty="0"/>
              </a:p>
            </p:txBody>
          </p:sp>
          <p:sp>
            <p:nvSpPr>
              <p:cNvPr id="140" name="Freihandform: Form 928">
                <a:extLst>
                  <a:ext uri="{FF2B5EF4-FFF2-40B4-BE49-F238E27FC236}">
                    <a16:creationId xmlns:a16="http://schemas.microsoft.com/office/drawing/2014/main" id="{2C14070B-EF31-4B41-B7CD-0813E5A79388}"/>
                  </a:ext>
                </a:extLst>
              </p:cNvPr>
              <p:cNvSpPr/>
              <p:nvPr/>
            </p:nvSpPr>
            <p:spPr>
              <a:xfrm>
                <a:off x="7879850" y="3573977"/>
                <a:ext cx="115568" cy="80199"/>
              </a:xfrm>
              <a:custGeom>
                <a:avLst/>
                <a:gdLst>
                  <a:gd name="connsiteX0" fmla="*/ 79316 w 115568"/>
                  <a:gd name="connsiteY0" fmla="*/ 80200 h 80199"/>
                  <a:gd name="connsiteX1" fmla="*/ 77044 w 115568"/>
                  <a:gd name="connsiteY1" fmla="*/ 79632 h 80199"/>
                  <a:gd name="connsiteX2" fmla="*/ 2656 w 115568"/>
                  <a:gd name="connsiteY2" fmla="*/ 40977 h 80199"/>
                  <a:gd name="connsiteX3" fmla="*/ 60 w 115568"/>
                  <a:gd name="connsiteY3" fmla="*/ 37380 h 80199"/>
                  <a:gd name="connsiteX4" fmla="*/ 1412 w 115568"/>
                  <a:gd name="connsiteY4" fmla="*/ 33160 h 80199"/>
                  <a:gd name="connsiteX5" fmla="*/ 32790 w 115568"/>
                  <a:gd name="connsiteY5" fmla="*/ 1430 h 80199"/>
                  <a:gd name="connsiteX6" fmla="*/ 38633 w 115568"/>
                  <a:gd name="connsiteY6" fmla="*/ 538 h 80199"/>
                  <a:gd name="connsiteX7" fmla="*/ 112939 w 115568"/>
                  <a:gd name="connsiteY7" fmla="*/ 39192 h 80199"/>
                  <a:gd name="connsiteX8" fmla="*/ 115509 w 115568"/>
                  <a:gd name="connsiteY8" fmla="*/ 42790 h 80199"/>
                  <a:gd name="connsiteX9" fmla="*/ 114156 w 115568"/>
                  <a:gd name="connsiteY9" fmla="*/ 47010 h 80199"/>
                  <a:gd name="connsiteX10" fmla="*/ 82778 w 115568"/>
                  <a:gd name="connsiteY10" fmla="*/ 78739 h 80199"/>
                  <a:gd name="connsiteX11" fmla="*/ 79316 w 115568"/>
                  <a:gd name="connsiteY11" fmla="*/ 80200 h 80199"/>
                  <a:gd name="connsiteX12" fmla="*/ 13071 w 115568"/>
                  <a:gd name="connsiteY12" fmla="*/ 35351 h 80199"/>
                  <a:gd name="connsiteX13" fmla="*/ 78342 w 115568"/>
                  <a:gd name="connsiteY13" fmla="*/ 69272 h 80199"/>
                  <a:gd name="connsiteX14" fmla="*/ 102498 w 115568"/>
                  <a:gd name="connsiteY14" fmla="*/ 44846 h 80199"/>
                  <a:gd name="connsiteX15" fmla="*/ 37226 w 115568"/>
                  <a:gd name="connsiteY15" fmla="*/ 10898 h 80199"/>
                  <a:gd name="connsiteX16" fmla="*/ 13071 w 115568"/>
                  <a:gd name="connsiteY16" fmla="*/ 35351 h 8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568" h="80199">
                    <a:moveTo>
                      <a:pt x="79316" y="80200"/>
                    </a:moveTo>
                    <a:cubicBezTo>
                      <a:pt x="78531" y="80200"/>
                      <a:pt x="77774" y="80010"/>
                      <a:pt x="77044" y="79632"/>
                    </a:cubicBezTo>
                    <a:lnTo>
                      <a:pt x="2656" y="40977"/>
                    </a:lnTo>
                    <a:cubicBezTo>
                      <a:pt x="1277" y="40274"/>
                      <a:pt x="303" y="38922"/>
                      <a:pt x="60" y="37380"/>
                    </a:cubicBezTo>
                    <a:cubicBezTo>
                      <a:pt x="-184" y="35838"/>
                      <a:pt x="330" y="34269"/>
                      <a:pt x="1412" y="33160"/>
                    </a:cubicBezTo>
                    <a:lnTo>
                      <a:pt x="32790" y="1430"/>
                    </a:lnTo>
                    <a:cubicBezTo>
                      <a:pt x="34278" y="-57"/>
                      <a:pt x="36766" y="-436"/>
                      <a:pt x="38633" y="538"/>
                    </a:cubicBezTo>
                    <a:lnTo>
                      <a:pt x="112939" y="39192"/>
                    </a:lnTo>
                    <a:cubicBezTo>
                      <a:pt x="114318" y="39895"/>
                      <a:pt x="115265" y="41248"/>
                      <a:pt x="115509" y="42790"/>
                    </a:cubicBezTo>
                    <a:cubicBezTo>
                      <a:pt x="115752" y="44332"/>
                      <a:pt x="115238" y="45901"/>
                      <a:pt x="114156" y="47010"/>
                    </a:cubicBezTo>
                    <a:lnTo>
                      <a:pt x="82778" y="78739"/>
                    </a:lnTo>
                    <a:cubicBezTo>
                      <a:pt x="81858" y="79686"/>
                      <a:pt x="80587" y="80200"/>
                      <a:pt x="79316" y="80200"/>
                    </a:cubicBezTo>
                    <a:close/>
                    <a:moveTo>
                      <a:pt x="13071" y="35351"/>
                    </a:moveTo>
                    <a:lnTo>
                      <a:pt x="78342" y="69272"/>
                    </a:lnTo>
                    <a:lnTo>
                      <a:pt x="102498" y="44846"/>
                    </a:lnTo>
                    <a:lnTo>
                      <a:pt x="37226" y="10898"/>
                    </a:lnTo>
                    <a:lnTo>
                      <a:pt x="13071" y="35351"/>
                    </a:lnTo>
                    <a:close/>
                  </a:path>
                </a:pathLst>
              </a:custGeom>
              <a:solidFill>
                <a:schemeClr val="accent1"/>
              </a:solidFill>
              <a:ln w="2701" cap="flat">
                <a:noFill/>
                <a:prstDash val="solid"/>
                <a:miter/>
              </a:ln>
            </p:spPr>
            <p:txBody>
              <a:bodyPr rtlCol="0" anchor="ctr"/>
              <a:lstStyle/>
              <a:p>
                <a:endParaRPr lang="en-GB" dirty="0"/>
              </a:p>
            </p:txBody>
          </p:sp>
          <p:sp>
            <p:nvSpPr>
              <p:cNvPr id="141" name="Freihandform: Form 929">
                <a:extLst>
                  <a:ext uri="{FF2B5EF4-FFF2-40B4-BE49-F238E27FC236}">
                    <a16:creationId xmlns:a16="http://schemas.microsoft.com/office/drawing/2014/main" id="{2BB0A128-7A0F-43D7-B959-14CAC8621154}"/>
                  </a:ext>
                </a:extLst>
              </p:cNvPr>
              <p:cNvSpPr/>
              <p:nvPr/>
            </p:nvSpPr>
            <p:spPr>
              <a:xfrm>
                <a:off x="7984938" y="3531846"/>
                <a:ext cx="115218" cy="52406"/>
              </a:xfrm>
              <a:custGeom>
                <a:avLst/>
                <a:gdLst>
                  <a:gd name="connsiteX0" fmla="*/ 80642 w 115218"/>
                  <a:gd name="connsiteY0" fmla="*/ 52407 h 52406"/>
                  <a:gd name="connsiteX1" fmla="*/ 78532 w 115218"/>
                  <a:gd name="connsiteY1" fmla="*/ 51947 h 52406"/>
                  <a:gd name="connsiteX2" fmla="*/ 2792 w 115218"/>
                  <a:gd name="connsiteY2" fmla="*/ 15971 h 52406"/>
                  <a:gd name="connsiteX3" fmla="*/ 33 w 115218"/>
                  <a:gd name="connsiteY3" fmla="*/ 10993 h 52406"/>
                  <a:gd name="connsiteX4" fmla="*/ 3847 w 115218"/>
                  <a:gd name="connsiteY4" fmla="*/ 6747 h 52406"/>
                  <a:gd name="connsiteX5" fmla="*/ 33629 w 115218"/>
                  <a:gd name="connsiteY5" fmla="*/ 119 h 52406"/>
                  <a:gd name="connsiteX6" fmla="*/ 36794 w 115218"/>
                  <a:gd name="connsiteY6" fmla="*/ 471 h 52406"/>
                  <a:gd name="connsiteX7" fmla="*/ 112426 w 115218"/>
                  <a:gd name="connsiteY7" fmla="*/ 36474 h 52406"/>
                  <a:gd name="connsiteX8" fmla="*/ 115185 w 115218"/>
                  <a:gd name="connsiteY8" fmla="*/ 41452 h 52406"/>
                  <a:gd name="connsiteX9" fmla="*/ 111371 w 115218"/>
                  <a:gd name="connsiteY9" fmla="*/ 45698 h 52406"/>
                  <a:gd name="connsiteX10" fmla="*/ 81670 w 115218"/>
                  <a:gd name="connsiteY10" fmla="*/ 52326 h 52406"/>
                  <a:gd name="connsiteX11" fmla="*/ 80642 w 115218"/>
                  <a:gd name="connsiteY11" fmla="*/ 52407 h 52406"/>
                  <a:gd name="connsiteX12" fmla="*/ 19888 w 115218"/>
                  <a:gd name="connsiteY12" fmla="*/ 13211 h 52406"/>
                  <a:gd name="connsiteX13" fmla="*/ 81210 w 115218"/>
                  <a:gd name="connsiteY13" fmla="*/ 42344 h 52406"/>
                  <a:gd name="connsiteX14" fmla="*/ 95357 w 115218"/>
                  <a:gd name="connsiteY14" fmla="*/ 39179 h 52406"/>
                  <a:gd name="connsiteX15" fmla="*/ 34116 w 115218"/>
                  <a:gd name="connsiteY15" fmla="*/ 10047 h 52406"/>
                  <a:gd name="connsiteX16" fmla="*/ 19888 w 115218"/>
                  <a:gd name="connsiteY16" fmla="*/ 13211 h 52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218" h="52406">
                    <a:moveTo>
                      <a:pt x="80642" y="52407"/>
                    </a:moveTo>
                    <a:cubicBezTo>
                      <a:pt x="79912" y="52407"/>
                      <a:pt x="79208" y="52244"/>
                      <a:pt x="78532" y="51947"/>
                    </a:cubicBezTo>
                    <a:lnTo>
                      <a:pt x="2792" y="15971"/>
                    </a:lnTo>
                    <a:cubicBezTo>
                      <a:pt x="899" y="15078"/>
                      <a:pt x="-210" y="13076"/>
                      <a:pt x="33" y="10993"/>
                    </a:cubicBezTo>
                    <a:cubicBezTo>
                      <a:pt x="277" y="8911"/>
                      <a:pt x="1791" y="7206"/>
                      <a:pt x="3847" y="6747"/>
                    </a:cubicBezTo>
                    <a:lnTo>
                      <a:pt x="33629" y="119"/>
                    </a:lnTo>
                    <a:cubicBezTo>
                      <a:pt x="34684" y="-124"/>
                      <a:pt x="35820" y="11"/>
                      <a:pt x="36794" y="471"/>
                    </a:cubicBezTo>
                    <a:lnTo>
                      <a:pt x="112426" y="36474"/>
                    </a:lnTo>
                    <a:cubicBezTo>
                      <a:pt x="114319" y="37367"/>
                      <a:pt x="115428" y="39369"/>
                      <a:pt x="115185" y="41452"/>
                    </a:cubicBezTo>
                    <a:cubicBezTo>
                      <a:pt x="114941" y="43534"/>
                      <a:pt x="113427" y="45239"/>
                      <a:pt x="111371" y="45698"/>
                    </a:cubicBezTo>
                    <a:lnTo>
                      <a:pt x="81670" y="52326"/>
                    </a:lnTo>
                    <a:cubicBezTo>
                      <a:pt x="81345" y="52353"/>
                      <a:pt x="80994" y="52407"/>
                      <a:pt x="80642" y="52407"/>
                    </a:cubicBezTo>
                    <a:close/>
                    <a:moveTo>
                      <a:pt x="19888" y="13211"/>
                    </a:moveTo>
                    <a:lnTo>
                      <a:pt x="81210" y="42344"/>
                    </a:lnTo>
                    <a:lnTo>
                      <a:pt x="95357" y="39179"/>
                    </a:lnTo>
                    <a:lnTo>
                      <a:pt x="34116" y="10047"/>
                    </a:lnTo>
                    <a:lnTo>
                      <a:pt x="19888" y="13211"/>
                    </a:lnTo>
                    <a:close/>
                  </a:path>
                </a:pathLst>
              </a:custGeom>
              <a:solidFill>
                <a:schemeClr val="accent1"/>
              </a:solidFill>
              <a:ln w="2701" cap="flat">
                <a:noFill/>
                <a:prstDash val="solid"/>
                <a:miter/>
              </a:ln>
            </p:spPr>
            <p:txBody>
              <a:bodyPr rtlCol="0" anchor="ctr"/>
              <a:lstStyle/>
              <a:p>
                <a:endParaRPr lang="en-GB" dirty="0"/>
              </a:p>
            </p:txBody>
          </p:sp>
        </p:grpSp>
        <p:grpSp>
          <p:nvGrpSpPr>
            <p:cNvPr id="125" name="Gruppieren 1088">
              <a:extLst>
                <a:ext uri="{FF2B5EF4-FFF2-40B4-BE49-F238E27FC236}">
                  <a16:creationId xmlns:a16="http://schemas.microsoft.com/office/drawing/2014/main" id="{CD39E005-33DD-445C-9892-902F15EAA9CE}"/>
                </a:ext>
              </a:extLst>
            </p:cNvPr>
            <p:cNvGrpSpPr/>
            <p:nvPr/>
          </p:nvGrpSpPr>
          <p:grpSpPr>
            <a:xfrm>
              <a:off x="543238" y="2391526"/>
              <a:ext cx="501624" cy="432000"/>
              <a:chOff x="7773116" y="3381432"/>
              <a:chExt cx="434015" cy="373776"/>
            </a:xfrm>
            <a:solidFill>
              <a:schemeClr val="tx2"/>
            </a:solidFill>
          </p:grpSpPr>
          <p:sp>
            <p:nvSpPr>
              <p:cNvPr id="126" name="Freihandform: Form 930">
                <a:extLst>
                  <a:ext uri="{FF2B5EF4-FFF2-40B4-BE49-F238E27FC236}">
                    <a16:creationId xmlns:a16="http://schemas.microsoft.com/office/drawing/2014/main" id="{D2DEE128-A402-41F4-8BA6-24BF800C50F5}"/>
                  </a:ext>
                </a:extLst>
              </p:cNvPr>
              <p:cNvSpPr/>
              <p:nvPr/>
            </p:nvSpPr>
            <p:spPr>
              <a:xfrm>
                <a:off x="7829840" y="3381432"/>
                <a:ext cx="49825" cy="53342"/>
              </a:xfrm>
              <a:custGeom>
                <a:avLst/>
                <a:gdLst>
                  <a:gd name="connsiteX0" fmla="*/ 44930 w 49825"/>
                  <a:gd name="connsiteY0" fmla="*/ 53343 h 53342"/>
                  <a:gd name="connsiteX1" fmla="*/ 4896 w 49825"/>
                  <a:gd name="connsiteY1" fmla="*/ 53343 h 53342"/>
                  <a:gd name="connsiteX2" fmla="*/ 0 w 49825"/>
                  <a:gd name="connsiteY2" fmla="*/ 48447 h 53342"/>
                  <a:gd name="connsiteX3" fmla="*/ 0 w 49825"/>
                  <a:gd name="connsiteY3" fmla="*/ 4896 h 53342"/>
                  <a:gd name="connsiteX4" fmla="*/ 4896 w 49825"/>
                  <a:gd name="connsiteY4" fmla="*/ 0 h 53342"/>
                  <a:gd name="connsiteX5" fmla="*/ 44930 w 49825"/>
                  <a:gd name="connsiteY5" fmla="*/ 0 h 53342"/>
                  <a:gd name="connsiteX6" fmla="*/ 49826 w 49825"/>
                  <a:gd name="connsiteY6" fmla="*/ 4896 h 53342"/>
                  <a:gd name="connsiteX7" fmla="*/ 49826 w 49825"/>
                  <a:gd name="connsiteY7" fmla="*/ 48447 h 53342"/>
                  <a:gd name="connsiteX8" fmla="*/ 44930 w 49825"/>
                  <a:gd name="connsiteY8" fmla="*/ 53343 h 53342"/>
                  <a:gd name="connsiteX9" fmla="*/ 9792 w 49825"/>
                  <a:gd name="connsiteY9" fmla="*/ 43550 h 53342"/>
                  <a:gd name="connsiteX10" fmla="*/ 40007 w 49825"/>
                  <a:gd name="connsiteY10" fmla="*/ 43550 h 53342"/>
                  <a:gd name="connsiteX11" fmla="*/ 40007 w 49825"/>
                  <a:gd name="connsiteY11" fmla="*/ 9819 h 53342"/>
                  <a:gd name="connsiteX12" fmla="*/ 9792 w 49825"/>
                  <a:gd name="connsiteY12" fmla="*/ 9819 h 53342"/>
                  <a:gd name="connsiteX13" fmla="*/ 9792 w 49825"/>
                  <a:gd name="connsiteY13" fmla="*/ 43550 h 5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825" h="53342">
                    <a:moveTo>
                      <a:pt x="44930" y="53343"/>
                    </a:moveTo>
                    <a:lnTo>
                      <a:pt x="4896" y="53343"/>
                    </a:lnTo>
                    <a:cubicBezTo>
                      <a:pt x="2191" y="53343"/>
                      <a:pt x="0" y="51152"/>
                      <a:pt x="0" y="48447"/>
                    </a:cubicBezTo>
                    <a:lnTo>
                      <a:pt x="0" y="4896"/>
                    </a:lnTo>
                    <a:cubicBezTo>
                      <a:pt x="0" y="2191"/>
                      <a:pt x="2191" y="0"/>
                      <a:pt x="4896" y="0"/>
                    </a:cubicBezTo>
                    <a:lnTo>
                      <a:pt x="44930" y="0"/>
                    </a:lnTo>
                    <a:cubicBezTo>
                      <a:pt x="47635" y="0"/>
                      <a:pt x="49826" y="2191"/>
                      <a:pt x="49826" y="4896"/>
                    </a:cubicBezTo>
                    <a:lnTo>
                      <a:pt x="49826" y="48447"/>
                    </a:lnTo>
                    <a:cubicBezTo>
                      <a:pt x="49826" y="51152"/>
                      <a:pt x="47635" y="53343"/>
                      <a:pt x="44930" y="53343"/>
                    </a:cubicBezTo>
                    <a:close/>
                    <a:moveTo>
                      <a:pt x="9792" y="43550"/>
                    </a:moveTo>
                    <a:lnTo>
                      <a:pt x="40007" y="43550"/>
                    </a:lnTo>
                    <a:lnTo>
                      <a:pt x="40007" y="9819"/>
                    </a:lnTo>
                    <a:lnTo>
                      <a:pt x="9792" y="9819"/>
                    </a:lnTo>
                    <a:lnTo>
                      <a:pt x="9792" y="43550"/>
                    </a:lnTo>
                    <a:close/>
                  </a:path>
                </a:pathLst>
              </a:custGeom>
              <a:grpFill/>
              <a:ln w="2701" cap="flat">
                <a:noFill/>
                <a:prstDash val="solid"/>
                <a:miter/>
              </a:ln>
            </p:spPr>
            <p:txBody>
              <a:bodyPr rtlCol="0" anchor="ctr"/>
              <a:lstStyle/>
              <a:p>
                <a:endParaRPr lang="en-GB" dirty="0"/>
              </a:p>
            </p:txBody>
          </p:sp>
          <p:sp>
            <p:nvSpPr>
              <p:cNvPr id="127" name="Freihandform: Form 931">
                <a:extLst>
                  <a:ext uri="{FF2B5EF4-FFF2-40B4-BE49-F238E27FC236}">
                    <a16:creationId xmlns:a16="http://schemas.microsoft.com/office/drawing/2014/main" id="{A0CB3D37-1812-4DF1-A8B5-FAFF203473E7}"/>
                  </a:ext>
                </a:extLst>
              </p:cNvPr>
              <p:cNvSpPr/>
              <p:nvPr/>
            </p:nvSpPr>
            <p:spPr>
              <a:xfrm>
                <a:off x="7965198" y="3381432"/>
                <a:ext cx="49825" cy="53342"/>
              </a:xfrm>
              <a:custGeom>
                <a:avLst/>
                <a:gdLst>
                  <a:gd name="connsiteX0" fmla="*/ 44930 w 49825"/>
                  <a:gd name="connsiteY0" fmla="*/ 53343 h 53342"/>
                  <a:gd name="connsiteX1" fmla="*/ 4896 w 49825"/>
                  <a:gd name="connsiteY1" fmla="*/ 53343 h 53342"/>
                  <a:gd name="connsiteX2" fmla="*/ 0 w 49825"/>
                  <a:gd name="connsiteY2" fmla="*/ 48447 h 53342"/>
                  <a:gd name="connsiteX3" fmla="*/ 0 w 49825"/>
                  <a:gd name="connsiteY3" fmla="*/ 4896 h 53342"/>
                  <a:gd name="connsiteX4" fmla="*/ 4896 w 49825"/>
                  <a:gd name="connsiteY4" fmla="*/ 0 h 53342"/>
                  <a:gd name="connsiteX5" fmla="*/ 44930 w 49825"/>
                  <a:gd name="connsiteY5" fmla="*/ 0 h 53342"/>
                  <a:gd name="connsiteX6" fmla="*/ 49826 w 49825"/>
                  <a:gd name="connsiteY6" fmla="*/ 4896 h 53342"/>
                  <a:gd name="connsiteX7" fmla="*/ 49826 w 49825"/>
                  <a:gd name="connsiteY7" fmla="*/ 48447 h 53342"/>
                  <a:gd name="connsiteX8" fmla="*/ 44930 w 49825"/>
                  <a:gd name="connsiteY8" fmla="*/ 53343 h 53342"/>
                  <a:gd name="connsiteX9" fmla="*/ 9819 w 49825"/>
                  <a:gd name="connsiteY9" fmla="*/ 43550 h 53342"/>
                  <a:gd name="connsiteX10" fmla="*/ 40034 w 49825"/>
                  <a:gd name="connsiteY10" fmla="*/ 43550 h 53342"/>
                  <a:gd name="connsiteX11" fmla="*/ 40034 w 49825"/>
                  <a:gd name="connsiteY11" fmla="*/ 9819 h 53342"/>
                  <a:gd name="connsiteX12" fmla="*/ 9819 w 49825"/>
                  <a:gd name="connsiteY12" fmla="*/ 9819 h 53342"/>
                  <a:gd name="connsiteX13" fmla="*/ 9819 w 49825"/>
                  <a:gd name="connsiteY13" fmla="*/ 43550 h 5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825" h="53342">
                    <a:moveTo>
                      <a:pt x="44930" y="53343"/>
                    </a:moveTo>
                    <a:lnTo>
                      <a:pt x="4896" y="53343"/>
                    </a:lnTo>
                    <a:cubicBezTo>
                      <a:pt x="2191" y="53343"/>
                      <a:pt x="0" y="51152"/>
                      <a:pt x="0" y="48447"/>
                    </a:cubicBezTo>
                    <a:lnTo>
                      <a:pt x="0" y="4896"/>
                    </a:lnTo>
                    <a:cubicBezTo>
                      <a:pt x="0" y="2191"/>
                      <a:pt x="2191" y="0"/>
                      <a:pt x="4896" y="0"/>
                    </a:cubicBezTo>
                    <a:lnTo>
                      <a:pt x="44930" y="0"/>
                    </a:lnTo>
                    <a:cubicBezTo>
                      <a:pt x="47635" y="0"/>
                      <a:pt x="49826" y="2191"/>
                      <a:pt x="49826" y="4896"/>
                    </a:cubicBezTo>
                    <a:lnTo>
                      <a:pt x="49826" y="48447"/>
                    </a:lnTo>
                    <a:cubicBezTo>
                      <a:pt x="49826" y="51152"/>
                      <a:pt x="47635" y="53343"/>
                      <a:pt x="44930" y="53343"/>
                    </a:cubicBezTo>
                    <a:close/>
                    <a:moveTo>
                      <a:pt x="9819" y="43550"/>
                    </a:moveTo>
                    <a:lnTo>
                      <a:pt x="40034" y="43550"/>
                    </a:lnTo>
                    <a:lnTo>
                      <a:pt x="40034" y="9819"/>
                    </a:lnTo>
                    <a:lnTo>
                      <a:pt x="9819" y="9819"/>
                    </a:lnTo>
                    <a:lnTo>
                      <a:pt x="9819" y="43550"/>
                    </a:lnTo>
                    <a:close/>
                  </a:path>
                </a:pathLst>
              </a:custGeom>
              <a:grpFill/>
              <a:ln w="2701" cap="flat">
                <a:noFill/>
                <a:prstDash val="solid"/>
                <a:miter/>
              </a:ln>
            </p:spPr>
            <p:txBody>
              <a:bodyPr rtlCol="0" anchor="ctr"/>
              <a:lstStyle/>
              <a:p>
                <a:endParaRPr lang="en-GB" dirty="0"/>
              </a:p>
            </p:txBody>
          </p:sp>
          <p:sp>
            <p:nvSpPr>
              <p:cNvPr id="128" name="Freihandform: Form 932">
                <a:extLst>
                  <a:ext uri="{FF2B5EF4-FFF2-40B4-BE49-F238E27FC236}">
                    <a16:creationId xmlns:a16="http://schemas.microsoft.com/office/drawing/2014/main" id="{D53D0FB8-07B3-48B0-AF0F-EDD1B5525A8E}"/>
                  </a:ext>
                </a:extLst>
              </p:cNvPr>
              <p:cNvSpPr/>
              <p:nvPr/>
            </p:nvSpPr>
            <p:spPr>
              <a:xfrm>
                <a:off x="8100556" y="3381432"/>
                <a:ext cx="49826" cy="53342"/>
              </a:xfrm>
              <a:custGeom>
                <a:avLst/>
                <a:gdLst>
                  <a:gd name="connsiteX0" fmla="*/ 44930 w 49826"/>
                  <a:gd name="connsiteY0" fmla="*/ 53343 h 53342"/>
                  <a:gd name="connsiteX1" fmla="*/ 4896 w 49826"/>
                  <a:gd name="connsiteY1" fmla="*/ 53343 h 53342"/>
                  <a:gd name="connsiteX2" fmla="*/ 0 w 49826"/>
                  <a:gd name="connsiteY2" fmla="*/ 48447 h 53342"/>
                  <a:gd name="connsiteX3" fmla="*/ 0 w 49826"/>
                  <a:gd name="connsiteY3" fmla="*/ 4896 h 53342"/>
                  <a:gd name="connsiteX4" fmla="*/ 4896 w 49826"/>
                  <a:gd name="connsiteY4" fmla="*/ 0 h 53342"/>
                  <a:gd name="connsiteX5" fmla="*/ 44930 w 49826"/>
                  <a:gd name="connsiteY5" fmla="*/ 0 h 53342"/>
                  <a:gd name="connsiteX6" fmla="*/ 49826 w 49826"/>
                  <a:gd name="connsiteY6" fmla="*/ 4896 h 53342"/>
                  <a:gd name="connsiteX7" fmla="*/ 49826 w 49826"/>
                  <a:gd name="connsiteY7" fmla="*/ 48447 h 53342"/>
                  <a:gd name="connsiteX8" fmla="*/ 44930 w 49826"/>
                  <a:gd name="connsiteY8" fmla="*/ 53343 h 53342"/>
                  <a:gd name="connsiteX9" fmla="*/ 9819 w 49826"/>
                  <a:gd name="connsiteY9" fmla="*/ 43550 h 53342"/>
                  <a:gd name="connsiteX10" fmla="*/ 40034 w 49826"/>
                  <a:gd name="connsiteY10" fmla="*/ 43550 h 53342"/>
                  <a:gd name="connsiteX11" fmla="*/ 40034 w 49826"/>
                  <a:gd name="connsiteY11" fmla="*/ 9819 h 53342"/>
                  <a:gd name="connsiteX12" fmla="*/ 9819 w 49826"/>
                  <a:gd name="connsiteY12" fmla="*/ 9819 h 53342"/>
                  <a:gd name="connsiteX13" fmla="*/ 9819 w 49826"/>
                  <a:gd name="connsiteY13" fmla="*/ 43550 h 53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826" h="53342">
                    <a:moveTo>
                      <a:pt x="44930" y="53343"/>
                    </a:moveTo>
                    <a:lnTo>
                      <a:pt x="4896" y="53343"/>
                    </a:lnTo>
                    <a:cubicBezTo>
                      <a:pt x="2191" y="53343"/>
                      <a:pt x="0" y="51152"/>
                      <a:pt x="0" y="48447"/>
                    </a:cubicBezTo>
                    <a:lnTo>
                      <a:pt x="0" y="4896"/>
                    </a:lnTo>
                    <a:cubicBezTo>
                      <a:pt x="0" y="2191"/>
                      <a:pt x="2191" y="0"/>
                      <a:pt x="4896" y="0"/>
                    </a:cubicBezTo>
                    <a:lnTo>
                      <a:pt x="44930" y="0"/>
                    </a:lnTo>
                    <a:cubicBezTo>
                      <a:pt x="47635" y="0"/>
                      <a:pt x="49826" y="2191"/>
                      <a:pt x="49826" y="4896"/>
                    </a:cubicBezTo>
                    <a:lnTo>
                      <a:pt x="49826" y="48447"/>
                    </a:lnTo>
                    <a:cubicBezTo>
                      <a:pt x="49826" y="51152"/>
                      <a:pt x="47635" y="53343"/>
                      <a:pt x="44930" y="53343"/>
                    </a:cubicBezTo>
                    <a:close/>
                    <a:moveTo>
                      <a:pt x="9819" y="43550"/>
                    </a:moveTo>
                    <a:lnTo>
                      <a:pt x="40034" y="43550"/>
                    </a:lnTo>
                    <a:lnTo>
                      <a:pt x="40034" y="9819"/>
                    </a:lnTo>
                    <a:lnTo>
                      <a:pt x="9819" y="9819"/>
                    </a:lnTo>
                    <a:lnTo>
                      <a:pt x="9819" y="43550"/>
                    </a:lnTo>
                    <a:close/>
                  </a:path>
                </a:pathLst>
              </a:custGeom>
              <a:grpFill/>
              <a:ln w="2701" cap="flat">
                <a:noFill/>
                <a:prstDash val="solid"/>
                <a:miter/>
              </a:ln>
            </p:spPr>
            <p:txBody>
              <a:bodyPr rtlCol="0" anchor="ctr"/>
              <a:lstStyle/>
              <a:p>
                <a:endParaRPr lang="en-GB" dirty="0"/>
              </a:p>
            </p:txBody>
          </p:sp>
          <p:sp>
            <p:nvSpPr>
              <p:cNvPr id="129" name="Freihandform: Form 933">
                <a:extLst>
                  <a:ext uri="{FF2B5EF4-FFF2-40B4-BE49-F238E27FC236}">
                    <a16:creationId xmlns:a16="http://schemas.microsoft.com/office/drawing/2014/main" id="{77EE24E4-CFFE-4D6B-A5E1-F91DB3B1703A}"/>
                  </a:ext>
                </a:extLst>
              </p:cNvPr>
              <p:cNvSpPr/>
              <p:nvPr/>
            </p:nvSpPr>
            <p:spPr>
              <a:xfrm>
                <a:off x="7773116" y="3410484"/>
                <a:ext cx="433989" cy="344724"/>
              </a:xfrm>
              <a:custGeom>
                <a:avLst/>
                <a:gdLst>
                  <a:gd name="connsiteX0" fmla="*/ 429093 w 433989"/>
                  <a:gd name="connsiteY0" fmla="*/ 344724 h 344724"/>
                  <a:gd name="connsiteX1" fmla="*/ 4896 w 433989"/>
                  <a:gd name="connsiteY1" fmla="*/ 344724 h 344724"/>
                  <a:gd name="connsiteX2" fmla="*/ 0 w 433989"/>
                  <a:gd name="connsiteY2" fmla="*/ 339828 h 344724"/>
                  <a:gd name="connsiteX3" fmla="*/ 0 w 433989"/>
                  <a:gd name="connsiteY3" fmla="*/ 4896 h 344724"/>
                  <a:gd name="connsiteX4" fmla="*/ 4896 w 433989"/>
                  <a:gd name="connsiteY4" fmla="*/ 0 h 344724"/>
                  <a:gd name="connsiteX5" fmla="*/ 9792 w 433989"/>
                  <a:gd name="connsiteY5" fmla="*/ 4896 h 344724"/>
                  <a:gd name="connsiteX6" fmla="*/ 9792 w 433989"/>
                  <a:gd name="connsiteY6" fmla="*/ 334932 h 344724"/>
                  <a:gd name="connsiteX7" fmla="*/ 424197 w 433989"/>
                  <a:gd name="connsiteY7" fmla="*/ 334932 h 344724"/>
                  <a:gd name="connsiteX8" fmla="*/ 424197 w 433989"/>
                  <a:gd name="connsiteY8" fmla="*/ 4896 h 344724"/>
                  <a:gd name="connsiteX9" fmla="*/ 429093 w 433989"/>
                  <a:gd name="connsiteY9" fmla="*/ 0 h 344724"/>
                  <a:gd name="connsiteX10" fmla="*/ 433989 w 433989"/>
                  <a:gd name="connsiteY10" fmla="*/ 4896 h 344724"/>
                  <a:gd name="connsiteX11" fmla="*/ 433989 w 433989"/>
                  <a:gd name="connsiteY11" fmla="*/ 339828 h 344724"/>
                  <a:gd name="connsiteX12" fmla="*/ 429093 w 433989"/>
                  <a:gd name="connsiteY12" fmla="*/ 344724 h 344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989" h="344724">
                    <a:moveTo>
                      <a:pt x="429093" y="344724"/>
                    </a:moveTo>
                    <a:lnTo>
                      <a:pt x="4896" y="344724"/>
                    </a:lnTo>
                    <a:cubicBezTo>
                      <a:pt x="2191" y="344724"/>
                      <a:pt x="0" y="342533"/>
                      <a:pt x="0" y="339828"/>
                    </a:cubicBezTo>
                    <a:lnTo>
                      <a:pt x="0" y="4896"/>
                    </a:lnTo>
                    <a:cubicBezTo>
                      <a:pt x="0" y="2191"/>
                      <a:pt x="2191" y="0"/>
                      <a:pt x="4896" y="0"/>
                    </a:cubicBezTo>
                    <a:cubicBezTo>
                      <a:pt x="7601" y="0"/>
                      <a:pt x="9792" y="2191"/>
                      <a:pt x="9792" y="4896"/>
                    </a:cubicBezTo>
                    <a:lnTo>
                      <a:pt x="9792" y="334932"/>
                    </a:lnTo>
                    <a:lnTo>
                      <a:pt x="424197" y="334932"/>
                    </a:lnTo>
                    <a:lnTo>
                      <a:pt x="424197" y="4896"/>
                    </a:lnTo>
                    <a:cubicBezTo>
                      <a:pt x="424197" y="2191"/>
                      <a:pt x="426388" y="0"/>
                      <a:pt x="429093" y="0"/>
                    </a:cubicBezTo>
                    <a:cubicBezTo>
                      <a:pt x="431798" y="0"/>
                      <a:pt x="433989" y="2191"/>
                      <a:pt x="433989" y="4896"/>
                    </a:cubicBezTo>
                    <a:lnTo>
                      <a:pt x="433989" y="339828"/>
                    </a:lnTo>
                    <a:cubicBezTo>
                      <a:pt x="434016" y="342533"/>
                      <a:pt x="431825" y="344724"/>
                      <a:pt x="429093" y="344724"/>
                    </a:cubicBezTo>
                    <a:close/>
                  </a:path>
                </a:pathLst>
              </a:custGeom>
              <a:grpFill/>
              <a:ln w="2701" cap="flat">
                <a:noFill/>
                <a:prstDash val="solid"/>
                <a:miter/>
              </a:ln>
            </p:spPr>
            <p:txBody>
              <a:bodyPr rtlCol="0" anchor="ctr"/>
              <a:lstStyle/>
              <a:p>
                <a:endParaRPr lang="en-GB" dirty="0"/>
              </a:p>
            </p:txBody>
          </p:sp>
          <p:sp>
            <p:nvSpPr>
              <p:cNvPr id="130" name="Freihandform: Form 934">
                <a:extLst>
                  <a:ext uri="{FF2B5EF4-FFF2-40B4-BE49-F238E27FC236}">
                    <a16:creationId xmlns:a16="http://schemas.microsoft.com/office/drawing/2014/main" id="{3279BD96-65C8-4104-9A49-956FABCB3B13}"/>
                  </a:ext>
                </a:extLst>
              </p:cNvPr>
              <p:cNvSpPr/>
              <p:nvPr/>
            </p:nvSpPr>
            <p:spPr>
              <a:xfrm>
                <a:off x="7870307" y="3410484"/>
                <a:ext cx="103033" cy="9792"/>
              </a:xfrm>
              <a:custGeom>
                <a:avLst/>
                <a:gdLst>
                  <a:gd name="connsiteX0" fmla="*/ 98137 w 103033"/>
                  <a:gd name="connsiteY0" fmla="*/ 9792 h 9792"/>
                  <a:gd name="connsiteX1" fmla="*/ 4896 w 103033"/>
                  <a:gd name="connsiteY1" fmla="*/ 9792 h 9792"/>
                  <a:gd name="connsiteX2" fmla="*/ 0 w 103033"/>
                  <a:gd name="connsiteY2" fmla="*/ 4896 h 9792"/>
                  <a:gd name="connsiteX3" fmla="*/ 4896 w 103033"/>
                  <a:gd name="connsiteY3" fmla="*/ 0 h 9792"/>
                  <a:gd name="connsiteX4" fmla="*/ 98137 w 103033"/>
                  <a:gd name="connsiteY4" fmla="*/ 0 h 9792"/>
                  <a:gd name="connsiteX5" fmla="*/ 103033 w 103033"/>
                  <a:gd name="connsiteY5" fmla="*/ 4896 h 9792"/>
                  <a:gd name="connsiteX6" fmla="*/ 98137 w 103033"/>
                  <a:gd name="connsiteY6" fmla="*/ 9792 h 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33" h="9792">
                    <a:moveTo>
                      <a:pt x="98137" y="9792"/>
                    </a:moveTo>
                    <a:lnTo>
                      <a:pt x="4896" y="9792"/>
                    </a:lnTo>
                    <a:cubicBezTo>
                      <a:pt x="2191" y="9792"/>
                      <a:pt x="0" y="7601"/>
                      <a:pt x="0" y="4896"/>
                    </a:cubicBezTo>
                    <a:cubicBezTo>
                      <a:pt x="0" y="2191"/>
                      <a:pt x="2191" y="0"/>
                      <a:pt x="4896" y="0"/>
                    </a:cubicBezTo>
                    <a:lnTo>
                      <a:pt x="98137" y="0"/>
                    </a:lnTo>
                    <a:cubicBezTo>
                      <a:pt x="100842" y="0"/>
                      <a:pt x="103033" y="2191"/>
                      <a:pt x="103033" y="4896"/>
                    </a:cubicBezTo>
                    <a:cubicBezTo>
                      <a:pt x="103033" y="7601"/>
                      <a:pt x="100842" y="9792"/>
                      <a:pt x="98137" y="9792"/>
                    </a:cubicBezTo>
                    <a:close/>
                  </a:path>
                </a:pathLst>
              </a:custGeom>
              <a:grpFill/>
              <a:ln w="2701" cap="flat">
                <a:noFill/>
                <a:prstDash val="solid"/>
                <a:miter/>
              </a:ln>
            </p:spPr>
            <p:txBody>
              <a:bodyPr rtlCol="0" anchor="ctr"/>
              <a:lstStyle/>
              <a:p>
                <a:endParaRPr lang="en-GB" dirty="0"/>
              </a:p>
            </p:txBody>
          </p:sp>
          <p:sp>
            <p:nvSpPr>
              <p:cNvPr id="131" name="Freihandform: Form 935">
                <a:extLst>
                  <a:ext uri="{FF2B5EF4-FFF2-40B4-BE49-F238E27FC236}">
                    <a16:creationId xmlns:a16="http://schemas.microsoft.com/office/drawing/2014/main" id="{975D13D9-1C30-4413-846E-D21540FE3340}"/>
                  </a:ext>
                </a:extLst>
              </p:cNvPr>
              <p:cNvSpPr/>
              <p:nvPr/>
            </p:nvSpPr>
            <p:spPr>
              <a:xfrm>
                <a:off x="8008748" y="3410484"/>
                <a:ext cx="96892" cy="9792"/>
              </a:xfrm>
              <a:custGeom>
                <a:avLst/>
                <a:gdLst>
                  <a:gd name="connsiteX0" fmla="*/ 91997 w 96892"/>
                  <a:gd name="connsiteY0" fmla="*/ 9792 h 9792"/>
                  <a:gd name="connsiteX1" fmla="*/ 4896 w 96892"/>
                  <a:gd name="connsiteY1" fmla="*/ 9792 h 9792"/>
                  <a:gd name="connsiteX2" fmla="*/ 0 w 96892"/>
                  <a:gd name="connsiteY2" fmla="*/ 4896 h 9792"/>
                  <a:gd name="connsiteX3" fmla="*/ 4896 w 96892"/>
                  <a:gd name="connsiteY3" fmla="*/ 0 h 9792"/>
                  <a:gd name="connsiteX4" fmla="*/ 91997 w 96892"/>
                  <a:gd name="connsiteY4" fmla="*/ 0 h 9792"/>
                  <a:gd name="connsiteX5" fmla="*/ 96893 w 96892"/>
                  <a:gd name="connsiteY5" fmla="*/ 4896 h 9792"/>
                  <a:gd name="connsiteX6" fmla="*/ 91997 w 96892"/>
                  <a:gd name="connsiteY6" fmla="*/ 9792 h 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892" h="9792">
                    <a:moveTo>
                      <a:pt x="91997" y="9792"/>
                    </a:moveTo>
                    <a:lnTo>
                      <a:pt x="4896" y="9792"/>
                    </a:lnTo>
                    <a:cubicBezTo>
                      <a:pt x="2191" y="9792"/>
                      <a:pt x="0" y="7601"/>
                      <a:pt x="0" y="4896"/>
                    </a:cubicBezTo>
                    <a:cubicBezTo>
                      <a:pt x="0" y="2191"/>
                      <a:pt x="2191" y="0"/>
                      <a:pt x="4896" y="0"/>
                    </a:cubicBezTo>
                    <a:lnTo>
                      <a:pt x="91997" y="0"/>
                    </a:lnTo>
                    <a:cubicBezTo>
                      <a:pt x="94702" y="0"/>
                      <a:pt x="96893" y="2191"/>
                      <a:pt x="96893" y="4896"/>
                    </a:cubicBezTo>
                    <a:cubicBezTo>
                      <a:pt x="96893" y="7601"/>
                      <a:pt x="94702" y="9792"/>
                      <a:pt x="91997" y="9792"/>
                    </a:cubicBezTo>
                    <a:close/>
                  </a:path>
                </a:pathLst>
              </a:custGeom>
              <a:grpFill/>
              <a:ln w="2701" cap="flat">
                <a:noFill/>
                <a:prstDash val="solid"/>
                <a:miter/>
              </a:ln>
            </p:spPr>
            <p:txBody>
              <a:bodyPr rtlCol="0" anchor="ctr"/>
              <a:lstStyle/>
              <a:p>
                <a:endParaRPr lang="en-GB" dirty="0"/>
              </a:p>
            </p:txBody>
          </p:sp>
          <p:sp>
            <p:nvSpPr>
              <p:cNvPr id="132" name="Freihandform: Form 936">
                <a:extLst>
                  <a:ext uri="{FF2B5EF4-FFF2-40B4-BE49-F238E27FC236}">
                    <a16:creationId xmlns:a16="http://schemas.microsoft.com/office/drawing/2014/main" id="{55809520-EBFA-45F6-BEB3-007B9D336C7D}"/>
                  </a:ext>
                </a:extLst>
              </p:cNvPr>
              <p:cNvSpPr/>
              <p:nvPr/>
            </p:nvSpPr>
            <p:spPr>
              <a:xfrm>
                <a:off x="7773116" y="3410457"/>
                <a:ext cx="434015" cy="90184"/>
              </a:xfrm>
              <a:custGeom>
                <a:avLst/>
                <a:gdLst>
                  <a:gd name="connsiteX0" fmla="*/ 429093 w 434015"/>
                  <a:gd name="connsiteY0" fmla="*/ 90185 h 90184"/>
                  <a:gd name="connsiteX1" fmla="*/ 4896 w 434015"/>
                  <a:gd name="connsiteY1" fmla="*/ 90185 h 90184"/>
                  <a:gd name="connsiteX2" fmla="*/ 0 w 434015"/>
                  <a:gd name="connsiteY2" fmla="*/ 85289 h 90184"/>
                  <a:gd name="connsiteX3" fmla="*/ 0 w 434015"/>
                  <a:gd name="connsiteY3" fmla="*/ 4896 h 90184"/>
                  <a:gd name="connsiteX4" fmla="*/ 4896 w 434015"/>
                  <a:gd name="connsiteY4" fmla="*/ 0 h 90184"/>
                  <a:gd name="connsiteX5" fmla="*/ 56913 w 434015"/>
                  <a:gd name="connsiteY5" fmla="*/ 0 h 90184"/>
                  <a:gd name="connsiteX6" fmla="*/ 61809 w 434015"/>
                  <a:gd name="connsiteY6" fmla="*/ 4896 h 90184"/>
                  <a:gd name="connsiteX7" fmla="*/ 56913 w 434015"/>
                  <a:gd name="connsiteY7" fmla="*/ 9792 h 90184"/>
                  <a:gd name="connsiteX8" fmla="*/ 9819 w 434015"/>
                  <a:gd name="connsiteY8" fmla="*/ 9792 h 90184"/>
                  <a:gd name="connsiteX9" fmla="*/ 9819 w 434015"/>
                  <a:gd name="connsiteY9" fmla="*/ 80365 h 90184"/>
                  <a:gd name="connsiteX10" fmla="*/ 424224 w 434015"/>
                  <a:gd name="connsiteY10" fmla="*/ 80365 h 90184"/>
                  <a:gd name="connsiteX11" fmla="*/ 424224 w 434015"/>
                  <a:gd name="connsiteY11" fmla="*/ 9792 h 90184"/>
                  <a:gd name="connsiteX12" fmla="*/ 372829 w 434015"/>
                  <a:gd name="connsiteY12" fmla="*/ 9792 h 90184"/>
                  <a:gd name="connsiteX13" fmla="*/ 367933 w 434015"/>
                  <a:gd name="connsiteY13" fmla="*/ 4896 h 90184"/>
                  <a:gd name="connsiteX14" fmla="*/ 372829 w 434015"/>
                  <a:gd name="connsiteY14" fmla="*/ 0 h 90184"/>
                  <a:gd name="connsiteX15" fmla="*/ 429120 w 434015"/>
                  <a:gd name="connsiteY15" fmla="*/ 0 h 90184"/>
                  <a:gd name="connsiteX16" fmla="*/ 434016 w 434015"/>
                  <a:gd name="connsiteY16" fmla="*/ 4896 h 90184"/>
                  <a:gd name="connsiteX17" fmla="*/ 434016 w 434015"/>
                  <a:gd name="connsiteY17" fmla="*/ 85289 h 90184"/>
                  <a:gd name="connsiteX18" fmla="*/ 429093 w 434015"/>
                  <a:gd name="connsiteY18" fmla="*/ 90185 h 9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4015" h="90184">
                    <a:moveTo>
                      <a:pt x="429093" y="90185"/>
                    </a:moveTo>
                    <a:lnTo>
                      <a:pt x="4896" y="90185"/>
                    </a:lnTo>
                    <a:cubicBezTo>
                      <a:pt x="2191" y="90185"/>
                      <a:pt x="0" y="87994"/>
                      <a:pt x="0" y="85289"/>
                    </a:cubicBezTo>
                    <a:lnTo>
                      <a:pt x="0" y="4896"/>
                    </a:lnTo>
                    <a:cubicBezTo>
                      <a:pt x="0" y="2191"/>
                      <a:pt x="2191" y="0"/>
                      <a:pt x="4896" y="0"/>
                    </a:cubicBezTo>
                    <a:lnTo>
                      <a:pt x="56913" y="0"/>
                    </a:lnTo>
                    <a:cubicBezTo>
                      <a:pt x="59618" y="0"/>
                      <a:pt x="61809" y="2191"/>
                      <a:pt x="61809" y="4896"/>
                    </a:cubicBezTo>
                    <a:cubicBezTo>
                      <a:pt x="61809" y="7601"/>
                      <a:pt x="59618" y="9792"/>
                      <a:pt x="56913" y="9792"/>
                    </a:cubicBezTo>
                    <a:lnTo>
                      <a:pt x="9819" y="9792"/>
                    </a:lnTo>
                    <a:lnTo>
                      <a:pt x="9819" y="80365"/>
                    </a:lnTo>
                    <a:lnTo>
                      <a:pt x="424224" y="80365"/>
                    </a:lnTo>
                    <a:lnTo>
                      <a:pt x="424224" y="9792"/>
                    </a:lnTo>
                    <a:lnTo>
                      <a:pt x="372829" y="9792"/>
                    </a:lnTo>
                    <a:cubicBezTo>
                      <a:pt x="370124" y="9792"/>
                      <a:pt x="367933" y="7601"/>
                      <a:pt x="367933" y="4896"/>
                    </a:cubicBezTo>
                    <a:cubicBezTo>
                      <a:pt x="367933" y="2191"/>
                      <a:pt x="370124" y="0"/>
                      <a:pt x="372829" y="0"/>
                    </a:cubicBezTo>
                    <a:lnTo>
                      <a:pt x="429120" y="0"/>
                    </a:lnTo>
                    <a:cubicBezTo>
                      <a:pt x="431825" y="0"/>
                      <a:pt x="434016" y="2191"/>
                      <a:pt x="434016" y="4896"/>
                    </a:cubicBezTo>
                    <a:lnTo>
                      <a:pt x="434016" y="85289"/>
                    </a:lnTo>
                    <a:cubicBezTo>
                      <a:pt x="434016" y="87994"/>
                      <a:pt x="431825" y="90185"/>
                      <a:pt x="429093" y="90185"/>
                    </a:cubicBezTo>
                    <a:close/>
                  </a:path>
                </a:pathLst>
              </a:custGeom>
              <a:grpFill/>
              <a:ln w="2701" cap="flat">
                <a:noFill/>
                <a:prstDash val="solid"/>
                <a:miter/>
              </a:ln>
            </p:spPr>
            <p:txBody>
              <a:bodyPr rtlCol="0" anchor="ctr"/>
              <a:lstStyle/>
              <a:p>
                <a:endParaRPr lang="en-GB" dirty="0"/>
              </a:p>
            </p:txBody>
          </p:sp>
          <p:grpSp>
            <p:nvGrpSpPr>
              <p:cNvPr id="133" name="Grafik 143">
                <a:extLst>
                  <a:ext uri="{FF2B5EF4-FFF2-40B4-BE49-F238E27FC236}">
                    <a16:creationId xmlns:a16="http://schemas.microsoft.com/office/drawing/2014/main" id="{E8C01050-7BA4-4BA1-904A-CF5E357054AA}"/>
                  </a:ext>
                </a:extLst>
              </p:cNvPr>
              <p:cNvGrpSpPr/>
              <p:nvPr/>
            </p:nvGrpSpPr>
            <p:grpSpPr>
              <a:xfrm>
                <a:off x="7811040" y="3454575"/>
                <a:ext cx="358141" cy="9792"/>
                <a:chOff x="7811040" y="3454575"/>
                <a:chExt cx="358141" cy="9792"/>
              </a:xfrm>
              <a:grpFill/>
            </p:grpSpPr>
            <p:sp>
              <p:nvSpPr>
                <p:cNvPr id="134" name="Freihandform: Form 938">
                  <a:extLst>
                    <a:ext uri="{FF2B5EF4-FFF2-40B4-BE49-F238E27FC236}">
                      <a16:creationId xmlns:a16="http://schemas.microsoft.com/office/drawing/2014/main" id="{1F0E8993-D186-46BD-AB44-86482827A660}"/>
                    </a:ext>
                  </a:extLst>
                </p:cNvPr>
                <p:cNvSpPr/>
                <p:nvPr/>
              </p:nvSpPr>
              <p:spPr>
                <a:xfrm>
                  <a:off x="7811040" y="3454575"/>
                  <a:ext cx="39222" cy="9792"/>
                </a:xfrm>
                <a:custGeom>
                  <a:avLst/>
                  <a:gdLst>
                    <a:gd name="connsiteX0" fmla="*/ 34326 w 39222"/>
                    <a:gd name="connsiteY0" fmla="*/ 9792 h 9792"/>
                    <a:gd name="connsiteX1" fmla="*/ 4896 w 39222"/>
                    <a:gd name="connsiteY1" fmla="*/ 9792 h 9792"/>
                    <a:gd name="connsiteX2" fmla="*/ 0 w 39222"/>
                    <a:gd name="connsiteY2" fmla="*/ 4896 h 9792"/>
                    <a:gd name="connsiteX3" fmla="*/ 4896 w 39222"/>
                    <a:gd name="connsiteY3" fmla="*/ 0 h 9792"/>
                    <a:gd name="connsiteX4" fmla="*/ 34326 w 39222"/>
                    <a:gd name="connsiteY4" fmla="*/ 0 h 9792"/>
                    <a:gd name="connsiteX5" fmla="*/ 39222 w 39222"/>
                    <a:gd name="connsiteY5" fmla="*/ 4896 h 9792"/>
                    <a:gd name="connsiteX6" fmla="*/ 34326 w 39222"/>
                    <a:gd name="connsiteY6" fmla="*/ 9792 h 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22" h="9792">
                      <a:moveTo>
                        <a:pt x="34326" y="9792"/>
                      </a:moveTo>
                      <a:lnTo>
                        <a:pt x="4896" y="9792"/>
                      </a:lnTo>
                      <a:cubicBezTo>
                        <a:pt x="2191" y="9792"/>
                        <a:pt x="0" y="7601"/>
                        <a:pt x="0" y="4896"/>
                      </a:cubicBezTo>
                      <a:cubicBezTo>
                        <a:pt x="0" y="2191"/>
                        <a:pt x="2191" y="0"/>
                        <a:pt x="4896" y="0"/>
                      </a:cubicBezTo>
                      <a:lnTo>
                        <a:pt x="34326" y="0"/>
                      </a:lnTo>
                      <a:cubicBezTo>
                        <a:pt x="37031" y="0"/>
                        <a:pt x="39222" y="2191"/>
                        <a:pt x="39222" y="4896"/>
                      </a:cubicBezTo>
                      <a:cubicBezTo>
                        <a:pt x="39222" y="7601"/>
                        <a:pt x="37031" y="9792"/>
                        <a:pt x="34326" y="9792"/>
                      </a:cubicBezTo>
                      <a:close/>
                    </a:path>
                  </a:pathLst>
                </a:custGeom>
                <a:grpFill/>
                <a:ln w="2701" cap="flat">
                  <a:noFill/>
                  <a:prstDash val="solid"/>
                  <a:miter/>
                </a:ln>
              </p:spPr>
              <p:txBody>
                <a:bodyPr rtlCol="0" anchor="ctr"/>
                <a:lstStyle/>
                <a:p>
                  <a:endParaRPr lang="en-GB" dirty="0"/>
                </a:p>
              </p:txBody>
            </p:sp>
            <p:sp>
              <p:nvSpPr>
                <p:cNvPr id="135" name="Freihandform: Form 939">
                  <a:extLst>
                    <a:ext uri="{FF2B5EF4-FFF2-40B4-BE49-F238E27FC236}">
                      <a16:creationId xmlns:a16="http://schemas.microsoft.com/office/drawing/2014/main" id="{0BC5B1C8-452A-4846-9F77-92F6EFF1E30F}"/>
                    </a:ext>
                  </a:extLst>
                </p:cNvPr>
                <p:cNvSpPr/>
                <p:nvPr/>
              </p:nvSpPr>
              <p:spPr>
                <a:xfrm>
                  <a:off x="7898357" y="3454575"/>
                  <a:ext cx="183506" cy="9792"/>
                </a:xfrm>
                <a:custGeom>
                  <a:avLst/>
                  <a:gdLst>
                    <a:gd name="connsiteX0" fmla="*/ 178611 w 183506"/>
                    <a:gd name="connsiteY0" fmla="*/ 9792 h 9792"/>
                    <a:gd name="connsiteX1" fmla="*/ 120697 w 183506"/>
                    <a:gd name="connsiteY1" fmla="*/ 9792 h 9792"/>
                    <a:gd name="connsiteX2" fmla="*/ 115801 w 183506"/>
                    <a:gd name="connsiteY2" fmla="*/ 4896 h 9792"/>
                    <a:gd name="connsiteX3" fmla="*/ 120697 w 183506"/>
                    <a:gd name="connsiteY3" fmla="*/ 0 h 9792"/>
                    <a:gd name="connsiteX4" fmla="*/ 178611 w 183506"/>
                    <a:gd name="connsiteY4" fmla="*/ 0 h 9792"/>
                    <a:gd name="connsiteX5" fmla="*/ 183507 w 183506"/>
                    <a:gd name="connsiteY5" fmla="*/ 4896 h 9792"/>
                    <a:gd name="connsiteX6" fmla="*/ 178611 w 183506"/>
                    <a:gd name="connsiteY6" fmla="*/ 9792 h 9792"/>
                    <a:gd name="connsiteX7" fmla="*/ 62810 w 183506"/>
                    <a:gd name="connsiteY7" fmla="*/ 9792 h 9792"/>
                    <a:gd name="connsiteX8" fmla="*/ 4896 w 183506"/>
                    <a:gd name="connsiteY8" fmla="*/ 9792 h 9792"/>
                    <a:gd name="connsiteX9" fmla="*/ 0 w 183506"/>
                    <a:gd name="connsiteY9" fmla="*/ 4896 h 9792"/>
                    <a:gd name="connsiteX10" fmla="*/ 4896 w 183506"/>
                    <a:gd name="connsiteY10" fmla="*/ 0 h 9792"/>
                    <a:gd name="connsiteX11" fmla="*/ 62810 w 183506"/>
                    <a:gd name="connsiteY11" fmla="*/ 0 h 9792"/>
                    <a:gd name="connsiteX12" fmla="*/ 67706 w 183506"/>
                    <a:gd name="connsiteY12" fmla="*/ 4896 h 9792"/>
                    <a:gd name="connsiteX13" fmla="*/ 62810 w 183506"/>
                    <a:gd name="connsiteY13" fmla="*/ 9792 h 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3506" h="9792">
                      <a:moveTo>
                        <a:pt x="178611" y="9792"/>
                      </a:moveTo>
                      <a:lnTo>
                        <a:pt x="120697" y="9792"/>
                      </a:lnTo>
                      <a:cubicBezTo>
                        <a:pt x="117992" y="9792"/>
                        <a:pt x="115801" y="7601"/>
                        <a:pt x="115801" y="4896"/>
                      </a:cubicBezTo>
                      <a:cubicBezTo>
                        <a:pt x="115801" y="2191"/>
                        <a:pt x="117992" y="0"/>
                        <a:pt x="120697" y="0"/>
                      </a:cubicBezTo>
                      <a:lnTo>
                        <a:pt x="178611" y="0"/>
                      </a:lnTo>
                      <a:cubicBezTo>
                        <a:pt x="181316" y="0"/>
                        <a:pt x="183507" y="2191"/>
                        <a:pt x="183507" y="4896"/>
                      </a:cubicBezTo>
                      <a:cubicBezTo>
                        <a:pt x="183507" y="7601"/>
                        <a:pt x="181316" y="9792"/>
                        <a:pt x="178611" y="9792"/>
                      </a:cubicBezTo>
                      <a:close/>
                      <a:moveTo>
                        <a:pt x="62810" y="9792"/>
                      </a:moveTo>
                      <a:lnTo>
                        <a:pt x="4896" y="9792"/>
                      </a:lnTo>
                      <a:cubicBezTo>
                        <a:pt x="2191" y="9792"/>
                        <a:pt x="0" y="7601"/>
                        <a:pt x="0" y="4896"/>
                      </a:cubicBezTo>
                      <a:cubicBezTo>
                        <a:pt x="0" y="2191"/>
                        <a:pt x="2191" y="0"/>
                        <a:pt x="4896" y="0"/>
                      </a:cubicBezTo>
                      <a:lnTo>
                        <a:pt x="62810" y="0"/>
                      </a:lnTo>
                      <a:cubicBezTo>
                        <a:pt x="65515" y="0"/>
                        <a:pt x="67706" y="2191"/>
                        <a:pt x="67706" y="4896"/>
                      </a:cubicBezTo>
                      <a:cubicBezTo>
                        <a:pt x="67706" y="7601"/>
                        <a:pt x="65515" y="9792"/>
                        <a:pt x="62810" y="9792"/>
                      </a:cubicBezTo>
                      <a:close/>
                    </a:path>
                  </a:pathLst>
                </a:custGeom>
                <a:grpFill/>
                <a:ln w="2701" cap="flat">
                  <a:noFill/>
                  <a:prstDash val="solid"/>
                  <a:miter/>
                </a:ln>
              </p:spPr>
              <p:txBody>
                <a:bodyPr rtlCol="0" anchor="ctr"/>
                <a:lstStyle/>
                <a:p>
                  <a:endParaRPr lang="en-GB" dirty="0"/>
                </a:p>
              </p:txBody>
            </p:sp>
            <p:sp>
              <p:nvSpPr>
                <p:cNvPr id="136" name="Freihandform: Form 940">
                  <a:extLst>
                    <a:ext uri="{FF2B5EF4-FFF2-40B4-BE49-F238E27FC236}">
                      <a16:creationId xmlns:a16="http://schemas.microsoft.com/office/drawing/2014/main" id="{9E4E26B0-F1EB-4659-A05B-7FDC4C2C8838}"/>
                    </a:ext>
                  </a:extLst>
                </p:cNvPr>
                <p:cNvSpPr/>
                <p:nvPr/>
              </p:nvSpPr>
              <p:spPr>
                <a:xfrm>
                  <a:off x="8129959" y="3454575"/>
                  <a:ext cx="39222" cy="9792"/>
                </a:xfrm>
                <a:custGeom>
                  <a:avLst/>
                  <a:gdLst>
                    <a:gd name="connsiteX0" fmla="*/ 34327 w 39222"/>
                    <a:gd name="connsiteY0" fmla="*/ 9792 h 9792"/>
                    <a:gd name="connsiteX1" fmla="*/ 4896 w 39222"/>
                    <a:gd name="connsiteY1" fmla="*/ 9792 h 9792"/>
                    <a:gd name="connsiteX2" fmla="*/ 0 w 39222"/>
                    <a:gd name="connsiteY2" fmla="*/ 4896 h 9792"/>
                    <a:gd name="connsiteX3" fmla="*/ 4896 w 39222"/>
                    <a:gd name="connsiteY3" fmla="*/ 0 h 9792"/>
                    <a:gd name="connsiteX4" fmla="*/ 34327 w 39222"/>
                    <a:gd name="connsiteY4" fmla="*/ 0 h 9792"/>
                    <a:gd name="connsiteX5" fmla="*/ 39222 w 39222"/>
                    <a:gd name="connsiteY5" fmla="*/ 4896 h 9792"/>
                    <a:gd name="connsiteX6" fmla="*/ 34327 w 39222"/>
                    <a:gd name="connsiteY6" fmla="*/ 9792 h 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22" h="9792">
                      <a:moveTo>
                        <a:pt x="34327" y="9792"/>
                      </a:moveTo>
                      <a:lnTo>
                        <a:pt x="4896" y="9792"/>
                      </a:lnTo>
                      <a:cubicBezTo>
                        <a:pt x="2191" y="9792"/>
                        <a:pt x="0" y="7601"/>
                        <a:pt x="0" y="4896"/>
                      </a:cubicBezTo>
                      <a:cubicBezTo>
                        <a:pt x="0" y="2191"/>
                        <a:pt x="2191" y="0"/>
                        <a:pt x="4896" y="0"/>
                      </a:cubicBezTo>
                      <a:lnTo>
                        <a:pt x="34327" y="0"/>
                      </a:lnTo>
                      <a:cubicBezTo>
                        <a:pt x="37032" y="0"/>
                        <a:pt x="39222" y="2191"/>
                        <a:pt x="39222" y="4896"/>
                      </a:cubicBezTo>
                      <a:cubicBezTo>
                        <a:pt x="39249" y="7601"/>
                        <a:pt x="37032" y="9792"/>
                        <a:pt x="34327" y="9792"/>
                      </a:cubicBezTo>
                      <a:close/>
                    </a:path>
                  </a:pathLst>
                </a:custGeom>
                <a:grpFill/>
                <a:ln w="2701" cap="flat">
                  <a:noFill/>
                  <a:prstDash val="solid"/>
                  <a:miter/>
                </a:ln>
              </p:spPr>
              <p:txBody>
                <a:bodyPr rtlCol="0" anchor="ctr"/>
                <a:lstStyle/>
                <a:p>
                  <a:endParaRPr lang="en-GB" dirty="0"/>
                </a:p>
              </p:txBody>
            </p:sp>
          </p:grpSp>
        </p:grpSp>
      </p:grpSp>
      <p:grpSp>
        <p:nvGrpSpPr>
          <p:cNvPr id="27" name="Group 26">
            <a:extLst>
              <a:ext uri="{FF2B5EF4-FFF2-40B4-BE49-F238E27FC236}">
                <a16:creationId xmlns:a16="http://schemas.microsoft.com/office/drawing/2014/main" id="{D6A184E8-0138-0C68-F4EA-FE12DC20682F}"/>
              </a:ext>
            </a:extLst>
          </p:cNvPr>
          <p:cNvGrpSpPr/>
          <p:nvPr/>
        </p:nvGrpSpPr>
        <p:grpSpPr>
          <a:xfrm>
            <a:off x="1542174" y="2391524"/>
            <a:ext cx="594623" cy="432002"/>
            <a:chOff x="1542174" y="2391524"/>
            <a:chExt cx="594623" cy="432002"/>
          </a:xfrm>
        </p:grpSpPr>
        <p:grpSp>
          <p:nvGrpSpPr>
            <p:cNvPr id="147" name="Gruppieren 1062">
              <a:extLst>
                <a:ext uri="{FF2B5EF4-FFF2-40B4-BE49-F238E27FC236}">
                  <a16:creationId xmlns:a16="http://schemas.microsoft.com/office/drawing/2014/main" id="{DD3F77C9-A903-4ADC-90C0-732DBF001CD2}"/>
                </a:ext>
              </a:extLst>
            </p:cNvPr>
            <p:cNvGrpSpPr/>
            <p:nvPr/>
          </p:nvGrpSpPr>
          <p:grpSpPr>
            <a:xfrm>
              <a:off x="1542174" y="2441862"/>
              <a:ext cx="594623" cy="381664"/>
              <a:chOff x="1678062" y="1704074"/>
              <a:chExt cx="490955" cy="315124"/>
            </a:xfrm>
            <a:solidFill>
              <a:schemeClr val="tx2"/>
            </a:solidFill>
          </p:grpSpPr>
          <p:grpSp>
            <p:nvGrpSpPr>
              <p:cNvPr id="154" name="Grafik 312">
                <a:extLst>
                  <a:ext uri="{FF2B5EF4-FFF2-40B4-BE49-F238E27FC236}">
                    <a16:creationId xmlns:a16="http://schemas.microsoft.com/office/drawing/2014/main" id="{0DF2EB06-76E7-4E1C-8007-C596DB3D7F4D}"/>
                  </a:ext>
                </a:extLst>
              </p:cNvPr>
              <p:cNvGrpSpPr/>
              <p:nvPr/>
            </p:nvGrpSpPr>
            <p:grpSpPr>
              <a:xfrm>
                <a:off x="1678062" y="1704074"/>
                <a:ext cx="490955" cy="299358"/>
                <a:chOff x="1678062" y="1704074"/>
                <a:chExt cx="490955" cy="299358"/>
              </a:xfrm>
              <a:grpFill/>
            </p:grpSpPr>
            <p:grpSp>
              <p:nvGrpSpPr>
                <p:cNvPr id="156" name="Grafik 312">
                  <a:extLst>
                    <a:ext uri="{FF2B5EF4-FFF2-40B4-BE49-F238E27FC236}">
                      <a16:creationId xmlns:a16="http://schemas.microsoft.com/office/drawing/2014/main" id="{93866B9A-4772-4D62-869A-287ACC840C72}"/>
                    </a:ext>
                  </a:extLst>
                </p:cNvPr>
                <p:cNvGrpSpPr/>
                <p:nvPr/>
              </p:nvGrpSpPr>
              <p:grpSpPr>
                <a:xfrm>
                  <a:off x="2053886" y="1704100"/>
                  <a:ext cx="115131" cy="299332"/>
                  <a:chOff x="2053886" y="1704100"/>
                  <a:chExt cx="115131" cy="299332"/>
                </a:xfrm>
                <a:grpFill/>
              </p:grpSpPr>
              <p:sp>
                <p:nvSpPr>
                  <p:cNvPr id="162" name="Freihandform: Form 303">
                    <a:extLst>
                      <a:ext uri="{FF2B5EF4-FFF2-40B4-BE49-F238E27FC236}">
                        <a16:creationId xmlns:a16="http://schemas.microsoft.com/office/drawing/2014/main" id="{6EF29AC9-6172-4DB0-85FD-A0D954D54527}"/>
                      </a:ext>
                    </a:extLst>
                  </p:cNvPr>
                  <p:cNvSpPr/>
                  <p:nvPr/>
                </p:nvSpPr>
                <p:spPr>
                  <a:xfrm>
                    <a:off x="2053886" y="1945200"/>
                    <a:ext cx="75742" cy="58232"/>
                  </a:xfrm>
                  <a:custGeom>
                    <a:avLst/>
                    <a:gdLst>
                      <a:gd name="connsiteX0" fmla="*/ 30284 w 75742"/>
                      <a:gd name="connsiteY0" fmla="*/ 58233 h 58232"/>
                      <a:gd name="connsiteX1" fmla="*/ 3371 w 75742"/>
                      <a:gd name="connsiteY1" fmla="*/ 50105 h 58232"/>
                      <a:gd name="connsiteX2" fmla="*/ 17 w 75742"/>
                      <a:gd name="connsiteY2" fmla="*/ 43809 h 58232"/>
                      <a:gd name="connsiteX3" fmla="*/ 19343 w 75742"/>
                      <a:gd name="connsiteY3" fmla="*/ 6394 h 58232"/>
                      <a:gd name="connsiteX4" fmla="*/ 71517 w 75742"/>
                      <a:gd name="connsiteY4" fmla="*/ 5026 h 58232"/>
                      <a:gd name="connsiteX5" fmla="*/ 75568 w 75742"/>
                      <a:gd name="connsiteY5" fmla="*/ 12690 h 58232"/>
                      <a:gd name="connsiteX6" fmla="*/ 45147 w 75742"/>
                      <a:gd name="connsiteY6" fmla="*/ 55110 h 58232"/>
                      <a:gd name="connsiteX7" fmla="*/ 30284 w 75742"/>
                      <a:gd name="connsiteY7" fmla="*/ 58233 h 58232"/>
                      <a:gd name="connsiteX8" fmla="*/ 13770 w 75742"/>
                      <a:gd name="connsiteY8" fmla="*/ 40583 h 58232"/>
                      <a:gd name="connsiteX9" fmla="*/ 39779 w 75742"/>
                      <a:gd name="connsiteY9" fmla="*/ 42983 h 58232"/>
                      <a:gd name="connsiteX10" fmla="*/ 60835 w 75742"/>
                      <a:gd name="connsiteY10" fmla="*/ 15632 h 58232"/>
                      <a:gd name="connsiteX11" fmla="*/ 26388 w 75742"/>
                      <a:gd name="connsiteY11" fmla="*/ 17722 h 58232"/>
                      <a:gd name="connsiteX12" fmla="*/ 13770 w 75742"/>
                      <a:gd name="connsiteY12" fmla="*/ 40583 h 5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742" h="58232">
                        <a:moveTo>
                          <a:pt x="30284" y="58233"/>
                        </a:moveTo>
                        <a:cubicBezTo>
                          <a:pt x="21898" y="58233"/>
                          <a:pt x="12893" y="55523"/>
                          <a:pt x="3371" y="50105"/>
                        </a:cubicBezTo>
                        <a:cubicBezTo>
                          <a:pt x="1126" y="48840"/>
                          <a:pt x="-164" y="46363"/>
                          <a:pt x="17" y="43809"/>
                        </a:cubicBezTo>
                        <a:cubicBezTo>
                          <a:pt x="1410" y="26159"/>
                          <a:pt x="7913" y="13567"/>
                          <a:pt x="19343" y="6394"/>
                        </a:cubicBezTo>
                        <a:cubicBezTo>
                          <a:pt x="40528" y="-6869"/>
                          <a:pt x="70279" y="4536"/>
                          <a:pt x="71517" y="5026"/>
                        </a:cubicBezTo>
                        <a:cubicBezTo>
                          <a:pt x="74588" y="6213"/>
                          <a:pt x="76317" y="9490"/>
                          <a:pt x="75568" y="12690"/>
                        </a:cubicBezTo>
                        <a:cubicBezTo>
                          <a:pt x="75285" y="14006"/>
                          <a:pt x="68008" y="45021"/>
                          <a:pt x="45147" y="55110"/>
                        </a:cubicBezTo>
                        <a:cubicBezTo>
                          <a:pt x="40476" y="57200"/>
                          <a:pt x="35496" y="58233"/>
                          <a:pt x="30284" y="58233"/>
                        </a:cubicBezTo>
                        <a:close/>
                        <a:moveTo>
                          <a:pt x="13770" y="40583"/>
                        </a:moveTo>
                        <a:cubicBezTo>
                          <a:pt x="23704" y="45383"/>
                          <a:pt x="32426" y="46208"/>
                          <a:pt x="39779" y="42983"/>
                        </a:cubicBezTo>
                        <a:cubicBezTo>
                          <a:pt x="51494" y="37822"/>
                          <a:pt x="57997" y="23708"/>
                          <a:pt x="60835" y="15632"/>
                        </a:cubicBezTo>
                        <a:cubicBezTo>
                          <a:pt x="52552" y="13464"/>
                          <a:pt x="37225" y="10910"/>
                          <a:pt x="26388" y="17722"/>
                        </a:cubicBezTo>
                        <a:cubicBezTo>
                          <a:pt x="19601" y="21979"/>
                          <a:pt x="15370" y="29643"/>
                          <a:pt x="13770" y="40583"/>
                        </a:cubicBezTo>
                        <a:close/>
                      </a:path>
                    </a:pathLst>
                  </a:custGeom>
                  <a:grpFill/>
                  <a:ln w="2573" cap="flat">
                    <a:noFill/>
                    <a:prstDash val="solid"/>
                    <a:miter/>
                  </a:ln>
                </p:spPr>
                <p:txBody>
                  <a:bodyPr rtlCol="0" anchor="ctr"/>
                  <a:lstStyle/>
                  <a:p>
                    <a:endParaRPr lang="en-GB" dirty="0"/>
                  </a:p>
                </p:txBody>
              </p:sp>
              <p:sp>
                <p:nvSpPr>
                  <p:cNvPr id="163" name="Freihandform: Form 304">
                    <a:extLst>
                      <a:ext uri="{FF2B5EF4-FFF2-40B4-BE49-F238E27FC236}">
                        <a16:creationId xmlns:a16="http://schemas.microsoft.com/office/drawing/2014/main" id="{95D1DB6F-668B-4D4E-B161-9A8F954729E9}"/>
                      </a:ext>
                    </a:extLst>
                  </p:cNvPr>
                  <p:cNvSpPr/>
                  <p:nvPr/>
                </p:nvSpPr>
                <p:spPr>
                  <a:xfrm>
                    <a:off x="2104338" y="1863546"/>
                    <a:ext cx="64679" cy="65263"/>
                  </a:xfrm>
                  <a:custGeom>
                    <a:avLst/>
                    <a:gdLst>
                      <a:gd name="connsiteX0" fmla="*/ 21246 w 64679"/>
                      <a:gd name="connsiteY0" fmla="*/ 65264 h 65263"/>
                      <a:gd name="connsiteX1" fmla="*/ 6977 w 64679"/>
                      <a:gd name="connsiteY1" fmla="*/ 63664 h 65263"/>
                      <a:gd name="connsiteX2" fmla="*/ 1894 w 64679"/>
                      <a:gd name="connsiteY2" fmla="*/ 58658 h 65263"/>
                      <a:gd name="connsiteX3" fmla="*/ 9015 w 64679"/>
                      <a:gd name="connsiteY3" fmla="*/ 17167 h 65263"/>
                      <a:gd name="connsiteX4" fmla="*/ 58325 w 64679"/>
                      <a:gd name="connsiteY4" fmla="*/ 85 h 65263"/>
                      <a:gd name="connsiteX5" fmla="*/ 64518 w 64679"/>
                      <a:gd name="connsiteY5" fmla="*/ 6174 h 65263"/>
                      <a:gd name="connsiteX6" fmla="*/ 48365 w 64679"/>
                      <a:gd name="connsiteY6" fmla="*/ 55794 h 65263"/>
                      <a:gd name="connsiteX7" fmla="*/ 21246 w 64679"/>
                      <a:gd name="connsiteY7" fmla="*/ 65264 h 65263"/>
                      <a:gd name="connsiteX8" fmla="*/ 13995 w 64679"/>
                      <a:gd name="connsiteY8" fmla="*/ 51407 h 65263"/>
                      <a:gd name="connsiteX9" fmla="*/ 39541 w 64679"/>
                      <a:gd name="connsiteY9" fmla="*/ 45782 h 65263"/>
                      <a:gd name="connsiteX10" fmla="*/ 51358 w 64679"/>
                      <a:gd name="connsiteY10" fmla="*/ 13373 h 65263"/>
                      <a:gd name="connsiteX11" fmla="*/ 19104 w 64679"/>
                      <a:gd name="connsiteY11" fmla="*/ 25785 h 65263"/>
                      <a:gd name="connsiteX12" fmla="*/ 13995 w 64679"/>
                      <a:gd name="connsiteY12" fmla="*/ 51407 h 6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679" h="65263">
                        <a:moveTo>
                          <a:pt x="21246" y="65264"/>
                        </a:moveTo>
                        <a:cubicBezTo>
                          <a:pt x="16782" y="65264"/>
                          <a:pt x="12034" y="64722"/>
                          <a:pt x="6977" y="63664"/>
                        </a:cubicBezTo>
                        <a:cubicBezTo>
                          <a:pt x="4448" y="63122"/>
                          <a:pt x="2461" y="61187"/>
                          <a:pt x="1894" y="58658"/>
                        </a:cubicBezTo>
                        <a:cubicBezTo>
                          <a:pt x="-2132" y="41396"/>
                          <a:pt x="268" y="27436"/>
                          <a:pt x="9015" y="17167"/>
                        </a:cubicBezTo>
                        <a:cubicBezTo>
                          <a:pt x="25194" y="-1876"/>
                          <a:pt x="56984" y="7"/>
                          <a:pt x="58325" y="85"/>
                        </a:cubicBezTo>
                        <a:cubicBezTo>
                          <a:pt x="61602" y="291"/>
                          <a:pt x="64234" y="2872"/>
                          <a:pt x="64518" y="6174"/>
                        </a:cubicBezTo>
                        <a:cubicBezTo>
                          <a:pt x="64621" y="7516"/>
                          <a:pt x="67098" y="39280"/>
                          <a:pt x="48365" y="55794"/>
                        </a:cubicBezTo>
                        <a:cubicBezTo>
                          <a:pt x="41166" y="62090"/>
                          <a:pt x="32084" y="65264"/>
                          <a:pt x="21246" y="65264"/>
                        </a:cubicBezTo>
                        <a:close/>
                        <a:moveTo>
                          <a:pt x="13995" y="51407"/>
                        </a:moveTo>
                        <a:cubicBezTo>
                          <a:pt x="24936" y="52981"/>
                          <a:pt x="33503" y="51098"/>
                          <a:pt x="39541" y="45782"/>
                        </a:cubicBezTo>
                        <a:cubicBezTo>
                          <a:pt x="48598" y="37783"/>
                          <a:pt x="51049" y="22869"/>
                          <a:pt x="51358" y="13373"/>
                        </a:cubicBezTo>
                        <a:cubicBezTo>
                          <a:pt x="42818" y="13812"/>
                          <a:pt x="27387" y="16005"/>
                          <a:pt x="19104" y="25785"/>
                        </a:cubicBezTo>
                        <a:cubicBezTo>
                          <a:pt x="13918" y="31900"/>
                          <a:pt x="12215" y="40518"/>
                          <a:pt x="13995" y="51407"/>
                        </a:cubicBezTo>
                        <a:close/>
                      </a:path>
                    </a:pathLst>
                  </a:custGeom>
                  <a:grpFill/>
                  <a:ln w="2573" cap="flat">
                    <a:noFill/>
                    <a:prstDash val="solid"/>
                    <a:miter/>
                  </a:ln>
                </p:spPr>
                <p:txBody>
                  <a:bodyPr rtlCol="0" anchor="ctr"/>
                  <a:lstStyle/>
                  <a:p>
                    <a:endParaRPr lang="en-GB" dirty="0"/>
                  </a:p>
                </p:txBody>
              </p:sp>
              <p:sp>
                <p:nvSpPr>
                  <p:cNvPr id="164" name="Freihandform: Form 305">
                    <a:extLst>
                      <a:ext uri="{FF2B5EF4-FFF2-40B4-BE49-F238E27FC236}">
                        <a16:creationId xmlns:a16="http://schemas.microsoft.com/office/drawing/2014/main" id="{9BF48C09-5DEE-40AD-988E-2ADB73E0DB7D}"/>
                      </a:ext>
                    </a:extLst>
                  </p:cNvPr>
                  <p:cNvSpPr/>
                  <p:nvPr/>
                </p:nvSpPr>
                <p:spPr>
                  <a:xfrm>
                    <a:off x="2089877" y="1784076"/>
                    <a:ext cx="61674" cy="69104"/>
                  </a:xfrm>
                  <a:custGeom>
                    <a:avLst/>
                    <a:gdLst>
                      <a:gd name="connsiteX0" fmla="*/ 17284 w 61674"/>
                      <a:gd name="connsiteY0" fmla="*/ 69104 h 69104"/>
                      <a:gd name="connsiteX1" fmla="*/ 9389 w 61674"/>
                      <a:gd name="connsiteY1" fmla="*/ 68691 h 69104"/>
                      <a:gd name="connsiteX2" fmla="*/ 3789 w 61674"/>
                      <a:gd name="connsiteY2" fmla="*/ 64253 h 69104"/>
                      <a:gd name="connsiteX3" fmla="*/ 6473 w 61674"/>
                      <a:gd name="connsiteY3" fmla="*/ 22220 h 69104"/>
                      <a:gd name="connsiteX4" fmla="*/ 53718 w 61674"/>
                      <a:gd name="connsiteY4" fmla="*/ 3 h 69104"/>
                      <a:gd name="connsiteX5" fmla="*/ 60505 w 61674"/>
                      <a:gd name="connsiteY5" fmla="*/ 5396 h 69104"/>
                      <a:gd name="connsiteX6" fmla="*/ 49693 w 61674"/>
                      <a:gd name="connsiteY6" fmla="*/ 56461 h 69104"/>
                      <a:gd name="connsiteX7" fmla="*/ 17284 w 61674"/>
                      <a:gd name="connsiteY7" fmla="*/ 69104 h 69104"/>
                      <a:gd name="connsiteX8" fmla="*/ 15091 w 61674"/>
                      <a:gd name="connsiteY8" fmla="*/ 55764 h 69104"/>
                      <a:gd name="connsiteX9" fmla="*/ 39888 w 61674"/>
                      <a:gd name="connsiteY9" fmla="*/ 47481 h 69104"/>
                      <a:gd name="connsiteX10" fmla="*/ 48197 w 61674"/>
                      <a:gd name="connsiteY10" fmla="*/ 14015 h 69104"/>
                      <a:gd name="connsiteX11" fmla="*/ 17439 w 61674"/>
                      <a:gd name="connsiteY11" fmla="*/ 29780 h 69104"/>
                      <a:gd name="connsiteX12" fmla="*/ 15091 w 61674"/>
                      <a:gd name="connsiteY12" fmla="*/ 55764 h 69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674" h="69104">
                        <a:moveTo>
                          <a:pt x="17284" y="69104"/>
                        </a:moveTo>
                        <a:cubicBezTo>
                          <a:pt x="14756" y="69104"/>
                          <a:pt x="12124" y="68975"/>
                          <a:pt x="9389" y="68691"/>
                        </a:cubicBezTo>
                        <a:cubicBezTo>
                          <a:pt x="6834" y="68433"/>
                          <a:pt x="4641" y="66705"/>
                          <a:pt x="3789" y="64253"/>
                        </a:cubicBezTo>
                        <a:cubicBezTo>
                          <a:pt x="-2042" y="47507"/>
                          <a:pt x="-1139" y="33393"/>
                          <a:pt x="6473" y="22220"/>
                        </a:cubicBezTo>
                        <a:cubicBezTo>
                          <a:pt x="20536" y="1577"/>
                          <a:pt x="52351" y="55"/>
                          <a:pt x="53718" y="3"/>
                        </a:cubicBezTo>
                        <a:cubicBezTo>
                          <a:pt x="56944" y="-100"/>
                          <a:pt x="59885" y="2145"/>
                          <a:pt x="60505" y="5396"/>
                        </a:cubicBezTo>
                        <a:cubicBezTo>
                          <a:pt x="60763" y="6712"/>
                          <a:pt x="66568" y="38037"/>
                          <a:pt x="49693" y="56461"/>
                        </a:cubicBezTo>
                        <a:cubicBezTo>
                          <a:pt x="42004" y="64873"/>
                          <a:pt x="31115" y="69104"/>
                          <a:pt x="17284" y="69104"/>
                        </a:cubicBezTo>
                        <a:close/>
                        <a:moveTo>
                          <a:pt x="15091" y="55764"/>
                        </a:moveTo>
                        <a:cubicBezTo>
                          <a:pt x="26161" y="56203"/>
                          <a:pt x="34469" y="53390"/>
                          <a:pt x="39888" y="47481"/>
                        </a:cubicBezTo>
                        <a:cubicBezTo>
                          <a:pt x="48042" y="38579"/>
                          <a:pt x="48893" y="23484"/>
                          <a:pt x="48197" y="14015"/>
                        </a:cubicBezTo>
                        <a:cubicBezTo>
                          <a:pt x="39733" y="15356"/>
                          <a:pt x="24638" y="19149"/>
                          <a:pt x="17439" y="29780"/>
                        </a:cubicBezTo>
                        <a:cubicBezTo>
                          <a:pt x="12949" y="36386"/>
                          <a:pt x="12149" y="45107"/>
                          <a:pt x="15091" y="55764"/>
                        </a:cubicBezTo>
                        <a:close/>
                      </a:path>
                    </a:pathLst>
                  </a:custGeom>
                  <a:grpFill/>
                  <a:ln w="2573" cap="flat">
                    <a:noFill/>
                    <a:prstDash val="solid"/>
                    <a:miter/>
                  </a:ln>
                </p:spPr>
                <p:txBody>
                  <a:bodyPr rtlCol="0" anchor="ctr"/>
                  <a:lstStyle/>
                  <a:p>
                    <a:endParaRPr lang="en-GB" dirty="0"/>
                  </a:p>
                </p:txBody>
              </p:sp>
              <p:sp>
                <p:nvSpPr>
                  <p:cNvPr id="165" name="Freihandform: Form 306">
                    <a:extLst>
                      <a:ext uri="{FF2B5EF4-FFF2-40B4-BE49-F238E27FC236}">
                        <a16:creationId xmlns:a16="http://schemas.microsoft.com/office/drawing/2014/main" id="{E36C2AA3-0E59-467C-99DE-DC123C4A6A99}"/>
                      </a:ext>
                    </a:extLst>
                  </p:cNvPr>
                  <p:cNvSpPr/>
                  <p:nvPr/>
                </p:nvSpPr>
                <p:spPr>
                  <a:xfrm>
                    <a:off x="2058270" y="1704100"/>
                    <a:ext cx="56908" cy="79153"/>
                  </a:xfrm>
                  <a:custGeom>
                    <a:avLst/>
                    <a:gdLst>
                      <a:gd name="connsiteX0" fmla="*/ 16792 w 56908"/>
                      <a:gd name="connsiteY0" fmla="*/ 79154 h 79153"/>
                      <a:gd name="connsiteX1" fmla="*/ 11425 w 56908"/>
                      <a:gd name="connsiteY1" fmla="*/ 76445 h 79153"/>
                      <a:gd name="connsiteX2" fmla="*/ 1646 w 56908"/>
                      <a:gd name="connsiteY2" fmla="*/ 35495 h 79153"/>
                      <a:gd name="connsiteX3" fmla="*/ 40273 w 56908"/>
                      <a:gd name="connsiteY3" fmla="*/ 377 h 79153"/>
                      <a:gd name="connsiteX4" fmla="*/ 48349 w 56908"/>
                      <a:gd name="connsiteY4" fmla="*/ 3525 h 79153"/>
                      <a:gd name="connsiteX5" fmla="*/ 53020 w 56908"/>
                      <a:gd name="connsiteY5" fmla="*/ 55518 h 79153"/>
                      <a:gd name="connsiteX6" fmla="*/ 18082 w 56908"/>
                      <a:gd name="connsiteY6" fmla="*/ 79051 h 79153"/>
                      <a:gd name="connsiteX7" fmla="*/ 16792 w 56908"/>
                      <a:gd name="connsiteY7" fmla="*/ 79154 h 79153"/>
                      <a:gd name="connsiteX8" fmla="*/ 39060 w 56908"/>
                      <a:gd name="connsiteY8" fmla="*/ 15368 h 79153"/>
                      <a:gd name="connsiteX9" fmla="*/ 14341 w 56908"/>
                      <a:gd name="connsiteY9" fmla="*/ 39443 h 79153"/>
                      <a:gd name="connsiteX10" fmla="*/ 19708 w 56908"/>
                      <a:gd name="connsiteY10" fmla="*/ 65014 h 79153"/>
                      <a:gd name="connsiteX11" fmla="*/ 40970 w 56908"/>
                      <a:gd name="connsiteY11" fmla="*/ 49842 h 79153"/>
                      <a:gd name="connsiteX12" fmla="*/ 39060 w 56908"/>
                      <a:gd name="connsiteY12" fmla="*/ 15368 h 79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08" h="79153">
                        <a:moveTo>
                          <a:pt x="16792" y="79154"/>
                        </a:moveTo>
                        <a:cubicBezTo>
                          <a:pt x="14702" y="79154"/>
                          <a:pt x="12689" y="78173"/>
                          <a:pt x="11425" y="76445"/>
                        </a:cubicBezTo>
                        <a:cubicBezTo>
                          <a:pt x="949" y="62150"/>
                          <a:pt x="-2354" y="48371"/>
                          <a:pt x="1646" y="35495"/>
                        </a:cubicBezTo>
                        <a:cubicBezTo>
                          <a:pt x="9025" y="11627"/>
                          <a:pt x="38983" y="841"/>
                          <a:pt x="40273" y="377"/>
                        </a:cubicBezTo>
                        <a:cubicBezTo>
                          <a:pt x="43369" y="-707"/>
                          <a:pt x="46801" y="609"/>
                          <a:pt x="48349" y="3525"/>
                        </a:cubicBezTo>
                        <a:cubicBezTo>
                          <a:pt x="48994" y="4712"/>
                          <a:pt x="63728" y="32940"/>
                          <a:pt x="53020" y="55518"/>
                        </a:cubicBezTo>
                        <a:cubicBezTo>
                          <a:pt x="47214" y="67697"/>
                          <a:pt x="35474" y="75619"/>
                          <a:pt x="18082" y="79051"/>
                        </a:cubicBezTo>
                        <a:cubicBezTo>
                          <a:pt x="17644" y="79102"/>
                          <a:pt x="17205" y="79154"/>
                          <a:pt x="16792" y="79154"/>
                        </a:cubicBezTo>
                        <a:close/>
                        <a:moveTo>
                          <a:pt x="39060" y="15368"/>
                        </a:moveTo>
                        <a:cubicBezTo>
                          <a:pt x="31371" y="19136"/>
                          <a:pt x="18082" y="27212"/>
                          <a:pt x="14341" y="39443"/>
                        </a:cubicBezTo>
                        <a:cubicBezTo>
                          <a:pt x="11993" y="47106"/>
                          <a:pt x="13799" y="55699"/>
                          <a:pt x="19708" y="65014"/>
                        </a:cubicBezTo>
                        <a:cubicBezTo>
                          <a:pt x="30365" y="62175"/>
                          <a:pt x="37512" y="57066"/>
                          <a:pt x="40970" y="49842"/>
                        </a:cubicBezTo>
                        <a:cubicBezTo>
                          <a:pt x="46492" y="38282"/>
                          <a:pt x="42182" y="23342"/>
                          <a:pt x="39060" y="15368"/>
                        </a:cubicBezTo>
                        <a:close/>
                      </a:path>
                    </a:pathLst>
                  </a:custGeom>
                  <a:grpFill/>
                  <a:ln w="2573" cap="flat">
                    <a:noFill/>
                    <a:prstDash val="solid"/>
                    <a:miter/>
                  </a:ln>
                </p:spPr>
                <p:txBody>
                  <a:bodyPr rtlCol="0" anchor="ctr"/>
                  <a:lstStyle/>
                  <a:p>
                    <a:endParaRPr lang="en-GB" dirty="0"/>
                  </a:p>
                </p:txBody>
              </p:sp>
            </p:grpSp>
            <p:grpSp>
              <p:nvGrpSpPr>
                <p:cNvPr id="157" name="Grafik 312">
                  <a:extLst>
                    <a:ext uri="{FF2B5EF4-FFF2-40B4-BE49-F238E27FC236}">
                      <a16:creationId xmlns:a16="http://schemas.microsoft.com/office/drawing/2014/main" id="{9B4765C0-3BDE-4A7E-BD2E-5CEF17A0BA2B}"/>
                    </a:ext>
                  </a:extLst>
                </p:cNvPr>
                <p:cNvGrpSpPr/>
                <p:nvPr/>
              </p:nvGrpSpPr>
              <p:grpSpPr>
                <a:xfrm>
                  <a:off x="1678062" y="1704074"/>
                  <a:ext cx="115069" cy="299358"/>
                  <a:chOff x="1678062" y="1704074"/>
                  <a:chExt cx="115069" cy="299358"/>
                </a:xfrm>
                <a:grpFill/>
              </p:grpSpPr>
              <p:sp>
                <p:nvSpPr>
                  <p:cNvPr id="158" name="Freihandform: Form 308">
                    <a:extLst>
                      <a:ext uri="{FF2B5EF4-FFF2-40B4-BE49-F238E27FC236}">
                        <a16:creationId xmlns:a16="http://schemas.microsoft.com/office/drawing/2014/main" id="{18898B4A-ABD3-47A8-B363-BCD22EDCA67D}"/>
                      </a:ext>
                    </a:extLst>
                  </p:cNvPr>
                  <p:cNvSpPr/>
                  <p:nvPr/>
                </p:nvSpPr>
                <p:spPr>
                  <a:xfrm>
                    <a:off x="1717395" y="1945200"/>
                    <a:ext cx="75736" cy="58232"/>
                  </a:xfrm>
                  <a:custGeom>
                    <a:avLst/>
                    <a:gdLst>
                      <a:gd name="connsiteX0" fmla="*/ 45500 w 75736"/>
                      <a:gd name="connsiteY0" fmla="*/ 58233 h 58232"/>
                      <a:gd name="connsiteX1" fmla="*/ 30585 w 75736"/>
                      <a:gd name="connsiteY1" fmla="*/ 55110 h 58232"/>
                      <a:gd name="connsiteX2" fmla="*/ 164 w 75736"/>
                      <a:gd name="connsiteY2" fmla="*/ 12690 h 58232"/>
                      <a:gd name="connsiteX3" fmla="*/ 4215 w 75736"/>
                      <a:gd name="connsiteY3" fmla="*/ 5026 h 58232"/>
                      <a:gd name="connsiteX4" fmla="*/ 56389 w 75736"/>
                      <a:gd name="connsiteY4" fmla="*/ 6394 h 58232"/>
                      <a:gd name="connsiteX5" fmla="*/ 75715 w 75736"/>
                      <a:gd name="connsiteY5" fmla="*/ 43809 h 58232"/>
                      <a:gd name="connsiteX6" fmla="*/ 72361 w 75736"/>
                      <a:gd name="connsiteY6" fmla="*/ 50105 h 58232"/>
                      <a:gd name="connsiteX7" fmla="*/ 45500 w 75736"/>
                      <a:gd name="connsiteY7" fmla="*/ 58233 h 58232"/>
                      <a:gd name="connsiteX8" fmla="*/ 14923 w 75736"/>
                      <a:gd name="connsiteY8" fmla="*/ 15580 h 58232"/>
                      <a:gd name="connsiteX9" fmla="*/ 36004 w 75736"/>
                      <a:gd name="connsiteY9" fmla="*/ 42957 h 58232"/>
                      <a:gd name="connsiteX10" fmla="*/ 62014 w 75736"/>
                      <a:gd name="connsiteY10" fmla="*/ 40557 h 58232"/>
                      <a:gd name="connsiteX11" fmla="*/ 49370 w 75736"/>
                      <a:gd name="connsiteY11" fmla="*/ 17670 h 58232"/>
                      <a:gd name="connsiteX12" fmla="*/ 14923 w 75736"/>
                      <a:gd name="connsiteY12" fmla="*/ 15580 h 5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736" h="58232">
                        <a:moveTo>
                          <a:pt x="45500" y="58233"/>
                        </a:moveTo>
                        <a:cubicBezTo>
                          <a:pt x="40287" y="58233"/>
                          <a:pt x="35307" y="57200"/>
                          <a:pt x="30585" y="55110"/>
                        </a:cubicBezTo>
                        <a:cubicBezTo>
                          <a:pt x="7724" y="45021"/>
                          <a:pt x="473" y="14006"/>
                          <a:pt x="164" y="12690"/>
                        </a:cubicBezTo>
                        <a:cubicBezTo>
                          <a:pt x="-559" y="9490"/>
                          <a:pt x="1170" y="6239"/>
                          <a:pt x="4215" y="5026"/>
                        </a:cubicBezTo>
                        <a:cubicBezTo>
                          <a:pt x="5453" y="4536"/>
                          <a:pt x="35230" y="-6869"/>
                          <a:pt x="56389" y="6394"/>
                        </a:cubicBezTo>
                        <a:cubicBezTo>
                          <a:pt x="67820" y="13567"/>
                          <a:pt x="74322" y="26133"/>
                          <a:pt x="75715" y="43809"/>
                        </a:cubicBezTo>
                        <a:cubicBezTo>
                          <a:pt x="75922" y="46389"/>
                          <a:pt x="74606" y="48840"/>
                          <a:pt x="72361" y="50105"/>
                        </a:cubicBezTo>
                        <a:cubicBezTo>
                          <a:pt x="62891" y="55523"/>
                          <a:pt x="53886" y="58233"/>
                          <a:pt x="45500" y="58233"/>
                        </a:cubicBezTo>
                        <a:close/>
                        <a:moveTo>
                          <a:pt x="14923" y="15580"/>
                        </a:moveTo>
                        <a:cubicBezTo>
                          <a:pt x="17761" y="23656"/>
                          <a:pt x="24264" y="37796"/>
                          <a:pt x="36004" y="42957"/>
                        </a:cubicBezTo>
                        <a:cubicBezTo>
                          <a:pt x="43358" y="46182"/>
                          <a:pt x="52080" y="45383"/>
                          <a:pt x="62014" y="40557"/>
                        </a:cubicBezTo>
                        <a:cubicBezTo>
                          <a:pt x="60414" y="29617"/>
                          <a:pt x="56182" y="21927"/>
                          <a:pt x="49370" y="17670"/>
                        </a:cubicBezTo>
                        <a:cubicBezTo>
                          <a:pt x="39126" y="11271"/>
                          <a:pt x="24109" y="13180"/>
                          <a:pt x="14923" y="15580"/>
                        </a:cubicBezTo>
                        <a:close/>
                      </a:path>
                    </a:pathLst>
                  </a:custGeom>
                  <a:grpFill/>
                  <a:ln w="2573" cap="flat">
                    <a:noFill/>
                    <a:prstDash val="solid"/>
                    <a:miter/>
                  </a:ln>
                </p:spPr>
                <p:txBody>
                  <a:bodyPr rtlCol="0" anchor="ctr"/>
                  <a:lstStyle/>
                  <a:p>
                    <a:endParaRPr lang="en-GB" dirty="0"/>
                  </a:p>
                </p:txBody>
              </p:sp>
              <p:sp>
                <p:nvSpPr>
                  <p:cNvPr id="159" name="Freihandform: Form 309">
                    <a:extLst>
                      <a:ext uri="{FF2B5EF4-FFF2-40B4-BE49-F238E27FC236}">
                        <a16:creationId xmlns:a16="http://schemas.microsoft.com/office/drawing/2014/main" id="{138E84B3-ACD7-4D08-854D-9B6E407C982F}"/>
                      </a:ext>
                    </a:extLst>
                  </p:cNvPr>
                  <p:cNvSpPr/>
                  <p:nvPr/>
                </p:nvSpPr>
                <p:spPr>
                  <a:xfrm>
                    <a:off x="1678062" y="1863529"/>
                    <a:ext cx="64673" cy="65280"/>
                  </a:xfrm>
                  <a:custGeom>
                    <a:avLst/>
                    <a:gdLst>
                      <a:gd name="connsiteX0" fmla="*/ 43418 w 64673"/>
                      <a:gd name="connsiteY0" fmla="*/ 65280 h 65280"/>
                      <a:gd name="connsiteX1" fmla="*/ 16325 w 64673"/>
                      <a:gd name="connsiteY1" fmla="*/ 55785 h 65280"/>
                      <a:gd name="connsiteX2" fmla="*/ 172 w 64673"/>
                      <a:gd name="connsiteY2" fmla="*/ 6165 h 65280"/>
                      <a:gd name="connsiteX3" fmla="*/ 6365 w 64673"/>
                      <a:gd name="connsiteY3" fmla="*/ 76 h 65280"/>
                      <a:gd name="connsiteX4" fmla="*/ 55675 w 64673"/>
                      <a:gd name="connsiteY4" fmla="*/ 17157 h 65280"/>
                      <a:gd name="connsiteX5" fmla="*/ 62796 w 64673"/>
                      <a:gd name="connsiteY5" fmla="*/ 58649 h 65280"/>
                      <a:gd name="connsiteX6" fmla="*/ 57713 w 64673"/>
                      <a:gd name="connsiteY6" fmla="*/ 63655 h 65280"/>
                      <a:gd name="connsiteX7" fmla="*/ 43418 w 64673"/>
                      <a:gd name="connsiteY7" fmla="*/ 65280 h 65280"/>
                      <a:gd name="connsiteX8" fmla="*/ 56294 w 64673"/>
                      <a:gd name="connsiteY8" fmla="*/ 57152 h 65280"/>
                      <a:gd name="connsiteX9" fmla="*/ 56371 w 64673"/>
                      <a:gd name="connsiteY9" fmla="*/ 57152 h 65280"/>
                      <a:gd name="connsiteX10" fmla="*/ 56294 w 64673"/>
                      <a:gd name="connsiteY10" fmla="*/ 57152 h 65280"/>
                      <a:gd name="connsiteX11" fmla="*/ 13332 w 64673"/>
                      <a:gd name="connsiteY11" fmla="*/ 13338 h 65280"/>
                      <a:gd name="connsiteX12" fmla="*/ 25150 w 64673"/>
                      <a:gd name="connsiteY12" fmla="*/ 45825 h 65280"/>
                      <a:gd name="connsiteX13" fmla="*/ 50669 w 64673"/>
                      <a:gd name="connsiteY13" fmla="*/ 51424 h 65280"/>
                      <a:gd name="connsiteX14" fmla="*/ 45534 w 64673"/>
                      <a:gd name="connsiteY14" fmla="*/ 25776 h 65280"/>
                      <a:gd name="connsiteX15" fmla="*/ 13332 w 64673"/>
                      <a:gd name="connsiteY15" fmla="*/ 13338 h 65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673" h="65280">
                        <a:moveTo>
                          <a:pt x="43418" y="65280"/>
                        </a:moveTo>
                        <a:cubicBezTo>
                          <a:pt x="32581" y="65280"/>
                          <a:pt x="23498" y="62106"/>
                          <a:pt x="16325" y="55785"/>
                        </a:cubicBezTo>
                        <a:cubicBezTo>
                          <a:pt x="-2408" y="39271"/>
                          <a:pt x="43" y="7507"/>
                          <a:pt x="172" y="6165"/>
                        </a:cubicBezTo>
                        <a:cubicBezTo>
                          <a:pt x="456" y="2888"/>
                          <a:pt x="3088" y="308"/>
                          <a:pt x="6365" y="76"/>
                        </a:cubicBezTo>
                        <a:cubicBezTo>
                          <a:pt x="7732" y="24"/>
                          <a:pt x="39522" y="-1886"/>
                          <a:pt x="55675" y="17157"/>
                        </a:cubicBezTo>
                        <a:cubicBezTo>
                          <a:pt x="64396" y="27453"/>
                          <a:pt x="66796" y="41412"/>
                          <a:pt x="62796" y="58649"/>
                        </a:cubicBezTo>
                        <a:cubicBezTo>
                          <a:pt x="62203" y="61152"/>
                          <a:pt x="60216" y="63113"/>
                          <a:pt x="57713" y="63655"/>
                        </a:cubicBezTo>
                        <a:cubicBezTo>
                          <a:pt x="52630" y="64738"/>
                          <a:pt x="47882" y="65280"/>
                          <a:pt x="43418" y="65280"/>
                        </a:cubicBezTo>
                        <a:close/>
                        <a:moveTo>
                          <a:pt x="56294" y="57152"/>
                        </a:moveTo>
                        <a:lnTo>
                          <a:pt x="56371" y="57152"/>
                        </a:lnTo>
                        <a:lnTo>
                          <a:pt x="56294" y="57152"/>
                        </a:lnTo>
                        <a:close/>
                        <a:moveTo>
                          <a:pt x="13332" y="13338"/>
                        </a:moveTo>
                        <a:cubicBezTo>
                          <a:pt x="13590" y="21879"/>
                          <a:pt x="15499" y="37335"/>
                          <a:pt x="25150" y="45825"/>
                        </a:cubicBezTo>
                        <a:cubicBezTo>
                          <a:pt x="31162" y="51114"/>
                          <a:pt x="39728" y="52998"/>
                          <a:pt x="50669" y="51424"/>
                        </a:cubicBezTo>
                        <a:cubicBezTo>
                          <a:pt x="52449" y="40509"/>
                          <a:pt x="50721" y="31917"/>
                          <a:pt x="45534" y="25776"/>
                        </a:cubicBezTo>
                        <a:cubicBezTo>
                          <a:pt x="37716" y="16564"/>
                          <a:pt x="22827" y="13854"/>
                          <a:pt x="13332" y="13338"/>
                        </a:cubicBezTo>
                        <a:close/>
                      </a:path>
                    </a:pathLst>
                  </a:custGeom>
                  <a:grpFill/>
                  <a:ln w="2573" cap="flat">
                    <a:noFill/>
                    <a:prstDash val="solid"/>
                    <a:miter/>
                  </a:ln>
                </p:spPr>
                <p:txBody>
                  <a:bodyPr rtlCol="0" anchor="ctr"/>
                  <a:lstStyle/>
                  <a:p>
                    <a:endParaRPr lang="en-GB" dirty="0"/>
                  </a:p>
                </p:txBody>
              </p:sp>
              <p:sp>
                <p:nvSpPr>
                  <p:cNvPr id="160" name="Freihandform: Form 310">
                    <a:extLst>
                      <a:ext uri="{FF2B5EF4-FFF2-40B4-BE49-F238E27FC236}">
                        <a16:creationId xmlns:a16="http://schemas.microsoft.com/office/drawing/2014/main" id="{F651E662-6C63-4E4E-92CA-E5C2B28B8C35}"/>
                      </a:ext>
                    </a:extLst>
                  </p:cNvPr>
                  <p:cNvSpPr/>
                  <p:nvPr/>
                </p:nvSpPr>
                <p:spPr>
                  <a:xfrm>
                    <a:off x="1695514" y="1784078"/>
                    <a:ext cx="61655" cy="69102"/>
                  </a:xfrm>
                  <a:custGeom>
                    <a:avLst/>
                    <a:gdLst>
                      <a:gd name="connsiteX0" fmla="*/ 44390 w 61655"/>
                      <a:gd name="connsiteY0" fmla="*/ 69103 h 69102"/>
                      <a:gd name="connsiteX1" fmla="*/ 11981 w 61655"/>
                      <a:gd name="connsiteY1" fmla="*/ 56459 h 69102"/>
                      <a:gd name="connsiteX2" fmla="*/ 1170 w 61655"/>
                      <a:gd name="connsiteY2" fmla="*/ 5395 h 69102"/>
                      <a:gd name="connsiteX3" fmla="*/ 7956 w 61655"/>
                      <a:gd name="connsiteY3" fmla="*/ 2 h 69102"/>
                      <a:gd name="connsiteX4" fmla="*/ 55202 w 61655"/>
                      <a:gd name="connsiteY4" fmla="*/ 22218 h 69102"/>
                      <a:gd name="connsiteX5" fmla="*/ 57885 w 61655"/>
                      <a:gd name="connsiteY5" fmla="*/ 64252 h 69102"/>
                      <a:gd name="connsiteX6" fmla="*/ 52286 w 61655"/>
                      <a:gd name="connsiteY6" fmla="*/ 68690 h 69102"/>
                      <a:gd name="connsiteX7" fmla="*/ 44390 w 61655"/>
                      <a:gd name="connsiteY7" fmla="*/ 69103 h 69102"/>
                      <a:gd name="connsiteX8" fmla="*/ 51589 w 61655"/>
                      <a:gd name="connsiteY8" fmla="*/ 62059 h 69102"/>
                      <a:gd name="connsiteX9" fmla="*/ 51641 w 61655"/>
                      <a:gd name="connsiteY9" fmla="*/ 62059 h 69102"/>
                      <a:gd name="connsiteX10" fmla="*/ 51589 w 61655"/>
                      <a:gd name="connsiteY10" fmla="*/ 62059 h 69102"/>
                      <a:gd name="connsiteX11" fmla="*/ 13504 w 61655"/>
                      <a:gd name="connsiteY11" fmla="*/ 13987 h 69102"/>
                      <a:gd name="connsiteX12" fmla="*/ 21813 w 61655"/>
                      <a:gd name="connsiteY12" fmla="*/ 47480 h 69102"/>
                      <a:gd name="connsiteX13" fmla="*/ 46584 w 61655"/>
                      <a:gd name="connsiteY13" fmla="*/ 55737 h 69102"/>
                      <a:gd name="connsiteX14" fmla="*/ 44210 w 61655"/>
                      <a:gd name="connsiteY14" fmla="*/ 29727 h 69102"/>
                      <a:gd name="connsiteX15" fmla="*/ 13504 w 61655"/>
                      <a:gd name="connsiteY15" fmla="*/ 13987 h 6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655" h="69102">
                        <a:moveTo>
                          <a:pt x="44390" y="69103"/>
                        </a:moveTo>
                        <a:cubicBezTo>
                          <a:pt x="30560" y="69103"/>
                          <a:pt x="19697" y="64871"/>
                          <a:pt x="11981" y="56459"/>
                        </a:cubicBezTo>
                        <a:cubicBezTo>
                          <a:pt x="-4894" y="38036"/>
                          <a:pt x="912" y="6737"/>
                          <a:pt x="1170" y="5395"/>
                        </a:cubicBezTo>
                        <a:cubicBezTo>
                          <a:pt x="1789" y="2169"/>
                          <a:pt x="4731" y="-75"/>
                          <a:pt x="7956" y="2"/>
                        </a:cubicBezTo>
                        <a:cubicBezTo>
                          <a:pt x="9298" y="54"/>
                          <a:pt x="41113" y="1576"/>
                          <a:pt x="55202" y="22218"/>
                        </a:cubicBezTo>
                        <a:cubicBezTo>
                          <a:pt x="62788" y="33365"/>
                          <a:pt x="63691" y="47506"/>
                          <a:pt x="57885" y="64252"/>
                        </a:cubicBezTo>
                        <a:cubicBezTo>
                          <a:pt x="57034" y="66677"/>
                          <a:pt x="54866" y="68406"/>
                          <a:pt x="52286" y="68690"/>
                        </a:cubicBezTo>
                        <a:cubicBezTo>
                          <a:pt x="49551" y="68948"/>
                          <a:pt x="46919" y="69103"/>
                          <a:pt x="44390" y="69103"/>
                        </a:cubicBezTo>
                        <a:close/>
                        <a:moveTo>
                          <a:pt x="51589" y="62059"/>
                        </a:moveTo>
                        <a:lnTo>
                          <a:pt x="51641" y="62059"/>
                        </a:lnTo>
                        <a:lnTo>
                          <a:pt x="51589" y="62059"/>
                        </a:lnTo>
                        <a:close/>
                        <a:moveTo>
                          <a:pt x="13504" y="13987"/>
                        </a:moveTo>
                        <a:cubicBezTo>
                          <a:pt x="12859" y="22528"/>
                          <a:pt x="13143" y="38062"/>
                          <a:pt x="21813" y="47480"/>
                        </a:cubicBezTo>
                        <a:cubicBezTo>
                          <a:pt x="27231" y="53389"/>
                          <a:pt x="35514" y="56227"/>
                          <a:pt x="46584" y="55737"/>
                        </a:cubicBezTo>
                        <a:cubicBezTo>
                          <a:pt x="49499" y="45106"/>
                          <a:pt x="48725" y="36359"/>
                          <a:pt x="44210" y="29727"/>
                        </a:cubicBezTo>
                        <a:cubicBezTo>
                          <a:pt x="37011" y="19148"/>
                          <a:pt x="21967" y="15329"/>
                          <a:pt x="13504" y="13987"/>
                        </a:cubicBezTo>
                        <a:close/>
                      </a:path>
                    </a:pathLst>
                  </a:custGeom>
                  <a:grpFill/>
                  <a:ln w="2573" cap="flat">
                    <a:noFill/>
                    <a:prstDash val="solid"/>
                    <a:miter/>
                  </a:ln>
                </p:spPr>
                <p:txBody>
                  <a:bodyPr rtlCol="0" anchor="ctr"/>
                  <a:lstStyle/>
                  <a:p>
                    <a:endParaRPr lang="en-GB" dirty="0"/>
                  </a:p>
                </p:txBody>
              </p:sp>
              <p:sp>
                <p:nvSpPr>
                  <p:cNvPr id="161" name="Freihandform: Form 311">
                    <a:extLst>
                      <a:ext uri="{FF2B5EF4-FFF2-40B4-BE49-F238E27FC236}">
                        <a16:creationId xmlns:a16="http://schemas.microsoft.com/office/drawing/2014/main" id="{AED81335-12AD-45A9-80C2-8C5671482A27}"/>
                      </a:ext>
                    </a:extLst>
                  </p:cNvPr>
                  <p:cNvSpPr/>
                  <p:nvPr/>
                </p:nvSpPr>
                <p:spPr>
                  <a:xfrm>
                    <a:off x="1731876" y="1704074"/>
                    <a:ext cx="56908" cy="79179"/>
                  </a:xfrm>
                  <a:custGeom>
                    <a:avLst/>
                    <a:gdLst>
                      <a:gd name="connsiteX0" fmla="*/ 40127 w 56908"/>
                      <a:gd name="connsiteY0" fmla="*/ 79180 h 79179"/>
                      <a:gd name="connsiteX1" fmla="*/ 38837 w 56908"/>
                      <a:gd name="connsiteY1" fmla="*/ 79051 h 79179"/>
                      <a:gd name="connsiteX2" fmla="*/ 3900 w 56908"/>
                      <a:gd name="connsiteY2" fmla="*/ 55518 h 79179"/>
                      <a:gd name="connsiteX3" fmla="*/ 8570 w 56908"/>
                      <a:gd name="connsiteY3" fmla="*/ 3525 h 79179"/>
                      <a:gd name="connsiteX4" fmla="*/ 16647 w 56908"/>
                      <a:gd name="connsiteY4" fmla="*/ 377 h 79179"/>
                      <a:gd name="connsiteX5" fmla="*/ 55274 w 56908"/>
                      <a:gd name="connsiteY5" fmla="*/ 35495 h 79179"/>
                      <a:gd name="connsiteX6" fmla="*/ 45495 w 56908"/>
                      <a:gd name="connsiteY6" fmla="*/ 76445 h 79179"/>
                      <a:gd name="connsiteX7" fmla="*/ 40127 w 56908"/>
                      <a:gd name="connsiteY7" fmla="*/ 79180 h 79179"/>
                      <a:gd name="connsiteX8" fmla="*/ 17859 w 56908"/>
                      <a:gd name="connsiteY8" fmla="*/ 15368 h 79179"/>
                      <a:gd name="connsiteX9" fmla="*/ 15950 w 56908"/>
                      <a:gd name="connsiteY9" fmla="*/ 49867 h 79179"/>
                      <a:gd name="connsiteX10" fmla="*/ 37212 w 56908"/>
                      <a:gd name="connsiteY10" fmla="*/ 65040 h 79179"/>
                      <a:gd name="connsiteX11" fmla="*/ 42579 w 56908"/>
                      <a:gd name="connsiteY11" fmla="*/ 39443 h 79179"/>
                      <a:gd name="connsiteX12" fmla="*/ 17859 w 56908"/>
                      <a:gd name="connsiteY12" fmla="*/ 15368 h 79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6908" h="79179">
                        <a:moveTo>
                          <a:pt x="40127" y="79180"/>
                        </a:moveTo>
                        <a:cubicBezTo>
                          <a:pt x="39715" y="79180"/>
                          <a:pt x="39276" y="79128"/>
                          <a:pt x="38837" y="79051"/>
                        </a:cubicBezTo>
                        <a:cubicBezTo>
                          <a:pt x="21446" y="75619"/>
                          <a:pt x="9706" y="67723"/>
                          <a:pt x="3900" y="55518"/>
                        </a:cubicBezTo>
                        <a:cubicBezTo>
                          <a:pt x="-6834" y="32966"/>
                          <a:pt x="7925" y="4712"/>
                          <a:pt x="8570" y="3525"/>
                        </a:cubicBezTo>
                        <a:cubicBezTo>
                          <a:pt x="10118" y="609"/>
                          <a:pt x="13550" y="-707"/>
                          <a:pt x="16647" y="377"/>
                        </a:cubicBezTo>
                        <a:cubicBezTo>
                          <a:pt x="17911" y="815"/>
                          <a:pt x="47894" y="11627"/>
                          <a:pt x="55274" y="35495"/>
                        </a:cubicBezTo>
                        <a:cubicBezTo>
                          <a:pt x="59248" y="48397"/>
                          <a:pt x="55971" y="62175"/>
                          <a:pt x="45495" y="76445"/>
                        </a:cubicBezTo>
                        <a:cubicBezTo>
                          <a:pt x="44230" y="78199"/>
                          <a:pt x="42218" y="79180"/>
                          <a:pt x="40127" y="79180"/>
                        </a:cubicBezTo>
                        <a:close/>
                        <a:moveTo>
                          <a:pt x="17859" y="15368"/>
                        </a:moveTo>
                        <a:cubicBezTo>
                          <a:pt x="14737" y="23342"/>
                          <a:pt x="10402" y="38282"/>
                          <a:pt x="15950" y="49867"/>
                        </a:cubicBezTo>
                        <a:cubicBezTo>
                          <a:pt x="19408" y="57092"/>
                          <a:pt x="26555" y="62201"/>
                          <a:pt x="37212" y="65040"/>
                        </a:cubicBezTo>
                        <a:cubicBezTo>
                          <a:pt x="43146" y="55725"/>
                          <a:pt x="44953" y="47106"/>
                          <a:pt x="42579" y="39443"/>
                        </a:cubicBezTo>
                        <a:cubicBezTo>
                          <a:pt x="38992" y="27909"/>
                          <a:pt x="26374" y="19549"/>
                          <a:pt x="17859" y="15368"/>
                        </a:cubicBezTo>
                        <a:close/>
                      </a:path>
                    </a:pathLst>
                  </a:custGeom>
                  <a:grpFill/>
                  <a:ln w="2573" cap="flat">
                    <a:noFill/>
                    <a:prstDash val="solid"/>
                    <a:miter/>
                  </a:ln>
                </p:spPr>
                <p:txBody>
                  <a:bodyPr rtlCol="0" anchor="ctr"/>
                  <a:lstStyle/>
                  <a:p>
                    <a:endParaRPr lang="en-GB" dirty="0"/>
                  </a:p>
                </p:txBody>
              </p:sp>
            </p:grpSp>
          </p:grpSp>
          <p:sp>
            <p:nvSpPr>
              <p:cNvPr id="155" name="Freihandform: Form 314">
                <a:extLst>
                  <a:ext uri="{FF2B5EF4-FFF2-40B4-BE49-F238E27FC236}">
                    <a16:creationId xmlns:a16="http://schemas.microsoft.com/office/drawing/2014/main" id="{BF31EF32-826D-4DB8-B49C-D83982D9194F}"/>
                  </a:ext>
                </a:extLst>
              </p:cNvPr>
              <p:cNvSpPr/>
              <p:nvPr/>
            </p:nvSpPr>
            <p:spPr>
              <a:xfrm>
                <a:off x="1789240" y="1799720"/>
                <a:ext cx="266056" cy="219478"/>
              </a:xfrm>
              <a:custGeom>
                <a:avLst/>
                <a:gdLst>
                  <a:gd name="connsiteX0" fmla="*/ 133015 w 266056"/>
                  <a:gd name="connsiteY0" fmla="*/ 219478 h 219478"/>
                  <a:gd name="connsiteX1" fmla="*/ 0 w 266056"/>
                  <a:gd name="connsiteY1" fmla="*/ 86463 h 219478"/>
                  <a:gd name="connsiteX2" fmla="*/ 29751 w 266056"/>
                  <a:gd name="connsiteY2" fmla="*/ 2603 h 219478"/>
                  <a:gd name="connsiteX3" fmla="*/ 39118 w 266056"/>
                  <a:gd name="connsiteY3" fmla="*/ 1648 h 219478"/>
                  <a:gd name="connsiteX4" fmla="*/ 40072 w 266056"/>
                  <a:gd name="connsiteY4" fmla="*/ 11014 h 219478"/>
                  <a:gd name="connsiteX5" fmla="*/ 13289 w 266056"/>
                  <a:gd name="connsiteY5" fmla="*/ 86489 h 219478"/>
                  <a:gd name="connsiteX6" fmla="*/ 133015 w 266056"/>
                  <a:gd name="connsiteY6" fmla="*/ 206216 h 219478"/>
                  <a:gd name="connsiteX7" fmla="*/ 252742 w 266056"/>
                  <a:gd name="connsiteY7" fmla="*/ 86489 h 219478"/>
                  <a:gd name="connsiteX8" fmla="*/ 225829 w 266056"/>
                  <a:gd name="connsiteY8" fmla="*/ 10860 h 219478"/>
                  <a:gd name="connsiteX9" fmla="*/ 226784 w 266056"/>
                  <a:gd name="connsiteY9" fmla="*/ 1493 h 219478"/>
                  <a:gd name="connsiteX10" fmla="*/ 236151 w 266056"/>
                  <a:gd name="connsiteY10" fmla="*/ 2448 h 219478"/>
                  <a:gd name="connsiteX11" fmla="*/ 266057 w 266056"/>
                  <a:gd name="connsiteY11" fmla="*/ 86489 h 219478"/>
                  <a:gd name="connsiteX12" fmla="*/ 133015 w 266056"/>
                  <a:gd name="connsiteY12" fmla="*/ 219478 h 219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6056" h="219478">
                    <a:moveTo>
                      <a:pt x="133015" y="219478"/>
                    </a:moveTo>
                    <a:cubicBezTo>
                      <a:pt x="59657" y="219478"/>
                      <a:pt x="0" y="159796"/>
                      <a:pt x="0" y="86463"/>
                    </a:cubicBezTo>
                    <a:cubicBezTo>
                      <a:pt x="0" y="55989"/>
                      <a:pt x="10579" y="26187"/>
                      <a:pt x="29751" y="2603"/>
                    </a:cubicBezTo>
                    <a:cubicBezTo>
                      <a:pt x="32073" y="-236"/>
                      <a:pt x="36253" y="-674"/>
                      <a:pt x="39118" y="1648"/>
                    </a:cubicBezTo>
                    <a:cubicBezTo>
                      <a:pt x="41982" y="3970"/>
                      <a:pt x="42395" y="8150"/>
                      <a:pt x="40072" y="11014"/>
                    </a:cubicBezTo>
                    <a:cubicBezTo>
                      <a:pt x="22810" y="32250"/>
                      <a:pt x="13289" y="59060"/>
                      <a:pt x="13289" y="86489"/>
                    </a:cubicBezTo>
                    <a:cubicBezTo>
                      <a:pt x="13289" y="152493"/>
                      <a:pt x="66985" y="206216"/>
                      <a:pt x="133015" y="206216"/>
                    </a:cubicBezTo>
                    <a:cubicBezTo>
                      <a:pt x="199046" y="206216"/>
                      <a:pt x="252742" y="152519"/>
                      <a:pt x="252742" y="86489"/>
                    </a:cubicBezTo>
                    <a:cubicBezTo>
                      <a:pt x="252742" y="58983"/>
                      <a:pt x="243195" y="32121"/>
                      <a:pt x="225829" y="10860"/>
                    </a:cubicBezTo>
                    <a:cubicBezTo>
                      <a:pt x="223507" y="8021"/>
                      <a:pt x="223920" y="3815"/>
                      <a:pt x="226784" y="1493"/>
                    </a:cubicBezTo>
                    <a:cubicBezTo>
                      <a:pt x="229648" y="-829"/>
                      <a:pt x="233828" y="-391"/>
                      <a:pt x="236151" y="2448"/>
                    </a:cubicBezTo>
                    <a:cubicBezTo>
                      <a:pt x="255426" y="26083"/>
                      <a:pt x="266057" y="55938"/>
                      <a:pt x="266057" y="86489"/>
                    </a:cubicBezTo>
                    <a:cubicBezTo>
                      <a:pt x="266031" y="159796"/>
                      <a:pt x="206348" y="219478"/>
                      <a:pt x="133015" y="219478"/>
                    </a:cubicBezTo>
                    <a:close/>
                  </a:path>
                </a:pathLst>
              </a:custGeom>
              <a:grpFill/>
              <a:ln w="2573" cap="flat">
                <a:noFill/>
                <a:prstDash val="solid"/>
                <a:miter/>
              </a:ln>
            </p:spPr>
            <p:txBody>
              <a:bodyPr rtlCol="0" anchor="ctr"/>
              <a:lstStyle/>
              <a:p>
                <a:endParaRPr lang="en-GB" dirty="0"/>
              </a:p>
            </p:txBody>
          </p:sp>
        </p:grpSp>
        <p:grpSp>
          <p:nvGrpSpPr>
            <p:cNvPr id="148" name="Gruppieren 1061">
              <a:extLst>
                <a:ext uri="{FF2B5EF4-FFF2-40B4-BE49-F238E27FC236}">
                  <a16:creationId xmlns:a16="http://schemas.microsoft.com/office/drawing/2014/main" id="{B428689E-5B42-426C-AAB8-DE6BB157B46D}"/>
                </a:ext>
              </a:extLst>
            </p:cNvPr>
            <p:cNvGrpSpPr/>
            <p:nvPr/>
          </p:nvGrpSpPr>
          <p:grpSpPr>
            <a:xfrm>
              <a:off x="1712263" y="2391524"/>
              <a:ext cx="253611" cy="385278"/>
              <a:chOff x="1818498" y="1662514"/>
              <a:chExt cx="209396" cy="318108"/>
            </a:xfrm>
          </p:grpSpPr>
          <p:sp>
            <p:nvSpPr>
              <p:cNvPr id="149" name="Freihandform: Form 313">
                <a:extLst>
                  <a:ext uri="{FF2B5EF4-FFF2-40B4-BE49-F238E27FC236}">
                    <a16:creationId xmlns:a16="http://schemas.microsoft.com/office/drawing/2014/main" id="{3CFEC61E-DCA7-4196-94E3-6EE6868EAE26}"/>
                  </a:ext>
                </a:extLst>
              </p:cNvPr>
              <p:cNvSpPr/>
              <p:nvPr/>
            </p:nvSpPr>
            <p:spPr>
              <a:xfrm>
                <a:off x="1835050" y="1828922"/>
                <a:ext cx="174362" cy="151700"/>
              </a:xfrm>
              <a:custGeom>
                <a:avLst/>
                <a:gdLst>
                  <a:gd name="connsiteX0" fmla="*/ 88160 w 174362"/>
                  <a:gd name="connsiteY0" fmla="*/ 151700 h 151700"/>
                  <a:gd name="connsiteX1" fmla="*/ 80677 w 174362"/>
                  <a:gd name="connsiteY1" fmla="*/ 147081 h 151700"/>
                  <a:gd name="connsiteX2" fmla="*/ 42101 w 174362"/>
                  <a:gd name="connsiteY2" fmla="*/ 113331 h 151700"/>
                  <a:gd name="connsiteX3" fmla="*/ 33406 w 174362"/>
                  <a:gd name="connsiteY3" fmla="*/ 108325 h 151700"/>
                  <a:gd name="connsiteX4" fmla="*/ 5977 w 174362"/>
                  <a:gd name="connsiteY4" fmla="*/ 77129 h 151700"/>
                  <a:gd name="connsiteX5" fmla="*/ 5642 w 174362"/>
                  <a:gd name="connsiteY5" fmla="*/ 76535 h 151700"/>
                  <a:gd name="connsiteX6" fmla="*/ 507 w 174362"/>
                  <a:gd name="connsiteY6" fmla="*/ 43482 h 151700"/>
                  <a:gd name="connsiteX7" fmla="*/ 533 w 174362"/>
                  <a:gd name="connsiteY7" fmla="*/ 43275 h 151700"/>
                  <a:gd name="connsiteX8" fmla="*/ 31522 w 174362"/>
                  <a:gd name="connsiteY8" fmla="*/ 4957 h 151700"/>
                  <a:gd name="connsiteX9" fmla="*/ 72446 w 174362"/>
                  <a:gd name="connsiteY9" fmla="*/ 4674 h 151700"/>
                  <a:gd name="connsiteX10" fmla="*/ 87128 w 174362"/>
                  <a:gd name="connsiteY10" fmla="*/ 16801 h 151700"/>
                  <a:gd name="connsiteX11" fmla="*/ 101191 w 174362"/>
                  <a:gd name="connsiteY11" fmla="*/ 4493 h 151700"/>
                  <a:gd name="connsiteX12" fmla="*/ 142011 w 174362"/>
                  <a:gd name="connsiteY12" fmla="*/ 4028 h 151700"/>
                  <a:gd name="connsiteX13" fmla="*/ 173698 w 174362"/>
                  <a:gd name="connsiteY13" fmla="*/ 41804 h 151700"/>
                  <a:gd name="connsiteX14" fmla="*/ 169363 w 174362"/>
                  <a:gd name="connsiteY14" fmla="*/ 74703 h 151700"/>
                  <a:gd name="connsiteX15" fmla="*/ 168847 w 174362"/>
                  <a:gd name="connsiteY15" fmla="*/ 75710 h 151700"/>
                  <a:gd name="connsiteX16" fmla="*/ 141702 w 174362"/>
                  <a:gd name="connsiteY16" fmla="*/ 107577 h 151700"/>
                  <a:gd name="connsiteX17" fmla="*/ 133393 w 174362"/>
                  <a:gd name="connsiteY17" fmla="*/ 112531 h 151700"/>
                  <a:gd name="connsiteX18" fmla="*/ 95617 w 174362"/>
                  <a:gd name="connsiteY18" fmla="*/ 146798 h 151700"/>
                  <a:gd name="connsiteX19" fmla="*/ 88883 w 174362"/>
                  <a:gd name="connsiteY19" fmla="*/ 151674 h 151700"/>
                  <a:gd name="connsiteX20" fmla="*/ 88160 w 174362"/>
                  <a:gd name="connsiteY20" fmla="*/ 151700 h 151700"/>
                  <a:gd name="connsiteX21" fmla="*/ 83206 w 174362"/>
                  <a:gd name="connsiteY21" fmla="*/ 142153 h 151700"/>
                  <a:gd name="connsiteX22" fmla="*/ 83206 w 174362"/>
                  <a:gd name="connsiteY22" fmla="*/ 142153 h 151700"/>
                  <a:gd name="connsiteX23" fmla="*/ 83206 w 174362"/>
                  <a:gd name="connsiteY23" fmla="*/ 142153 h 151700"/>
                  <a:gd name="connsiteX24" fmla="*/ 92392 w 174362"/>
                  <a:gd name="connsiteY24" fmla="*/ 140785 h 151700"/>
                  <a:gd name="connsiteX25" fmla="*/ 92495 w 174362"/>
                  <a:gd name="connsiteY25" fmla="*/ 140992 h 151700"/>
                  <a:gd name="connsiteX26" fmla="*/ 92392 w 174362"/>
                  <a:gd name="connsiteY26" fmla="*/ 140785 h 151700"/>
                  <a:gd name="connsiteX27" fmla="*/ 13718 w 174362"/>
                  <a:gd name="connsiteY27" fmla="*/ 45236 h 151700"/>
                  <a:gd name="connsiteX28" fmla="*/ 17588 w 174362"/>
                  <a:gd name="connsiteY28" fmla="*/ 70626 h 151700"/>
                  <a:gd name="connsiteX29" fmla="*/ 17717 w 174362"/>
                  <a:gd name="connsiteY29" fmla="*/ 70807 h 151700"/>
                  <a:gd name="connsiteX30" fmla="*/ 40785 w 174362"/>
                  <a:gd name="connsiteY30" fmla="*/ 97230 h 151700"/>
                  <a:gd name="connsiteX31" fmla="*/ 48372 w 174362"/>
                  <a:gd name="connsiteY31" fmla="*/ 101565 h 151700"/>
                  <a:gd name="connsiteX32" fmla="*/ 88031 w 174362"/>
                  <a:gd name="connsiteY32" fmla="*/ 133560 h 151700"/>
                  <a:gd name="connsiteX33" fmla="*/ 126968 w 174362"/>
                  <a:gd name="connsiteY33" fmla="*/ 100868 h 151700"/>
                  <a:gd name="connsiteX34" fmla="*/ 134193 w 174362"/>
                  <a:gd name="connsiteY34" fmla="*/ 96584 h 151700"/>
                  <a:gd name="connsiteX35" fmla="*/ 157055 w 174362"/>
                  <a:gd name="connsiteY35" fmla="*/ 69569 h 151700"/>
                  <a:gd name="connsiteX36" fmla="*/ 157364 w 174362"/>
                  <a:gd name="connsiteY36" fmla="*/ 68949 h 151700"/>
                  <a:gd name="connsiteX37" fmla="*/ 160564 w 174362"/>
                  <a:gd name="connsiteY37" fmla="*/ 43817 h 151700"/>
                  <a:gd name="connsiteX38" fmla="*/ 137625 w 174362"/>
                  <a:gd name="connsiteY38" fmla="*/ 16517 h 151700"/>
                  <a:gd name="connsiteX39" fmla="*/ 107461 w 174362"/>
                  <a:gd name="connsiteY39" fmla="*/ 16182 h 151700"/>
                  <a:gd name="connsiteX40" fmla="*/ 93759 w 174362"/>
                  <a:gd name="connsiteY40" fmla="*/ 32489 h 151700"/>
                  <a:gd name="connsiteX41" fmla="*/ 87463 w 174362"/>
                  <a:gd name="connsiteY41" fmla="*/ 37263 h 151700"/>
                  <a:gd name="connsiteX42" fmla="*/ 81064 w 174362"/>
                  <a:gd name="connsiteY42" fmla="*/ 32696 h 151700"/>
                  <a:gd name="connsiteX43" fmla="*/ 66537 w 174362"/>
                  <a:gd name="connsiteY43" fmla="*/ 16517 h 151700"/>
                  <a:gd name="connsiteX44" fmla="*/ 36193 w 174362"/>
                  <a:gd name="connsiteY44" fmla="*/ 17395 h 151700"/>
                  <a:gd name="connsiteX45" fmla="*/ 13718 w 174362"/>
                  <a:gd name="connsiteY45" fmla="*/ 45236 h 15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74362" h="151700">
                    <a:moveTo>
                      <a:pt x="88160" y="151700"/>
                    </a:moveTo>
                    <a:cubicBezTo>
                      <a:pt x="85012" y="151700"/>
                      <a:pt x="82122" y="149946"/>
                      <a:pt x="80677" y="147081"/>
                    </a:cubicBezTo>
                    <a:cubicBezTo>
                      <a:pt x="70898" y="128632"/>
                      <a:pt x="53558" y="119420"/>
                      <a:pt x="42101" y="113331"/>
                    </a:cubicBezTo>
                    <a:cubicBezTo>
                      <a:pt x="38644" y="111499"/>
                      <a:pt x="35651" y="109899"/>
                      <a:pt x="33406" y="108325"/>
                    </a:cubicBezTo>
                    <a:cubicBezTo>
                      <a:pt x="17330" y="98210"/>
                      <a:pt x="9667" y="83967"/>
                      <a:pt x="5977" y="77129"/>
                    </a:cubicBezTo>
                    <a:lnTo>
                      <a:pt x="5642" y="76535"/>
                    </a:lnTo>
                    <a:cubicBezTo>
                      <a:pt x="687" y="65569"/>
                      <a:pt x="-938" y="54887"/>
                      <a:pt x="507" y="43482"/>
                    </a:cubicBezTo>
                    <a:cubicBezTo>
                      <a:pt x="507" y="43404"/>
                      <a:pt x="533" y="43353"/>
                      <a:pt x="533" y="43275"/>
                    </a:cubicBezTo>
                    <a:cubicBezTo>
                      <a:pt x="4197" y="19897"/>
                      <a:pt x="24142" y="7667"/>
                      <a:pt x="31522" y="4957"/>
                    </a:cubicBezTo>
                    <a:cubicBezTo>
                      <a:pt x="47185" y="-823"/>
                      <a:pt x="60938" y="-926"/>
                      <a:pt x="72446" y="4674"/>
                    </a:cubicBezTo>
                    <a:cubicBezTo>
                      <a:pt x="79052" y="7873"/>
                      <a:pt x="83799" y="12492"/>
                      <a:pt x="87128" y="16801"/>
                    </a:cubicBezTo>
                    <a:cubicBezTo>
                      <a:pt x="90250" y="12466"/>
                      <a:pt x="94792" y="7822"/>
                      <a:pt x="101191" y="4493"/>
                    </a:cubicBezTo>
                    <a:cubicBezTo>
                      <a:pt x="112467" y="-1339"/>
                      <a:pt x="126220" y="-1493"/>
                      <a:pt x="142011" y="4028"/>
                    </a:cubicBezTo>
                    <a:cubicBezTo>
                      <a:pt x="149443" y="6635"/>
                      <a:pt x="169621" y="18504"/>
                      <a:pt x="173698" y="41804"/>
                    </a:cubicBezTo>
                    <a:cubicBezTo>
                      <a:pt x="175349" y="53416"/>
                      <a:pt x="173930" y="64124"/>
                      <a:pt x="169363" y="74703"/>
                    </a:cubicBezTo>
                    <a:lnTo>
                      <a:pt x="168847" y="75710"/>
                    </a:lnTo>
                    <a:cubicBezTo>
                      <a:pt x="165570" y="82083"/>
                      <a:pt x="157880" y="96997"/>
                      <a:pt x="141702" y="107577"/>
                    </a:cubicBezTo>
                    <a:cubicBezTo>
                      <a:pt x="139741" y="108996"/>
                      <a:pt x="136799" y="110647"/>
                      <a:pt x="133393" y="112531"/>
                    </a:cubicBezTo>
                    <a:cubicBezTo>
                      <a:pt x="122143" y="118801"/>
                      <a:pt x="105190" y="128219"/>
                      <a:pt x="95617" y="146798"/>
                    </a:cubicBezTo>
                    <a:cubicBezTo>
                      <a:pt x="94482" y="149533"/>
                      <a:pt x="91902" y="151416"/>
                      <a:pt x="88883" y="151674"/>
                    </a:cubicBezTo>
                    <a:cubicBezTo>
                      <a:pt x="88650" y="151700"/>
                      <a:pt x="88392" y="151700"/>
                      <a:pt x="88160" y="151700"/>
                    </a:cubicBezTo>
                    <a:close/>
                    <a:moveTo>
                      <a:pt x="83206" y="142153"/>
                    </a:moveTo>
                    <a:cubicBezTo>
                      <a:pt x="83206" y="142153"/>
                      <a:pt x="83180" y="142153"/>
                      <a:pt x="83206" y="142153"/>
                    </a:cubicBezTo>
                    <a:cubicBezTo>
                      <a:pt x="83180" y="142153"/>
                      <a:pt x="83206" y="142153"/>
                      <a:pt x="83206" y="142153"/>
                    </a:cubicBezTo>
                    <a:close/>
                    <a:moveTo>
                      <a:pt x="92392" y="140785"/>
                    </a:moveTo>
                    <a:cubicBezTo>
                      <a:pt x="92418" y="140863"/>
                      <a:pt x="92469" y="140914"/>
                      <a:pt x="92495" y="140992"/>
                    </a:cubicBezTo>
                    <a:cubicBezTo>
                      <a:pt x="92469" y="140914"/>
                      <a:pt x="92443" y="140863"/>
                      <a:pt x="92392" y="140785"/>
                    </a:cubicBezTo>
                    <a:close/>
                    <a:moveTo>
                      <a:pt x="13718" y="45236"/>
                    </a:moveTo>
                    <a:cubicBezTo>
                      <a:pt x="12608" y="54241"/>
                      <a:pt x="13821" y="62292"/>
                      <a:pt x="17588" y="70626"/>
                    </a:cubicBezTo>
                    <a:lnTo>
                      <a:pt x="17717" y="70807"/>
                    </a:lnTo>
                    <a:cubicBezTo>
                      <a:pt x="20865" y="76639"/>
                      <a:pt x="27419" y="88792"/>
                      <a:pt x="40785" y="97230"/>
                    </a:cubicBezTo>
                    <a:cubicBezTo>
                      <a:pt x="42643" y="98520"/>
                      <a:pt x="45301" y="99939"/>
                      <a:pt x="48372" y="101565"/>
                    </a:cubicBezTo>
                    <a:cubicBezTo>
                      <a:pt x="59054" y="107241"/>
                      <a:pt x="76084" y="116298"/>
                      <a:pt x="88031" y="133560"/>
                    </a:cubicBezTo>
                    <a:cubicBezTo>
                      <a:pt x="99668" y="116092"/>
                      <a:pt x="116440" y="106725"/>
                      <a:pt x="126968" y="100868"/>
                    </a:cubicBezTo>
                    <a:cubicBezTo>
                      <a:pt x="129987" y="99191"/>
                      <a:pt x="132619" y="97720"/>
                      <a:pt x="134193" y="96584"/>
                    </a:cubicBezTo>
                    <a:cubicBezTo>
                      <a:pt x="147688" y="87734"/>
                      <a:pt x="154010" y="75477"/>
                      <a:pt x="157055" y="69569"/>
                    </a:cubicBezTo>
                    <a:lnTo>
                      <a:pt x="157364" y="68949"/>
                    </a:lnTo>
                    <a:cubicBezTo>
                      <a:pt x="160770" y="60976"/>
                      <a:pt x="161854" y="52874"/>
                      <a:pt x="160564" y="43817"/>
                    </a:cubicBezTo>
                    <a:cubicBezTo>
                      <a:pt x="157596" y="26813"/>
                      <a:pt x="141728" y="17962"/>
                      <a:pt x="137625" y="16517"/>
                    </a:cubicBezTo>
                    <a:cubicBezTo>
                      <a:pt x="125497" y="12285"/>
                      <a:pt x="115357" y="12156"/>
                      <a:pt x="107461" y="16182"/>
                    </a:cubicBezTo>
                    <a:cubicBezTo>
                      <a:pt x="97165" y="21446"/>
                      <a:pt x="93785" y="32386"/>
                      <a:pt x="93759" y="32489"/>
                    </a:cubicBezTo>
                    <a:cubicBezTo>
                      <a:pt x="92934" y="35276"/>
                      <a:pt x="90379" y="37211"/>
                      <a:pt x="87463" y="37263"/>
                    </a:cubicBezTo>
                    <a:cubicBezTo>
                      <a:pt x="84677" y="37237"/>
                      <a:pt x="81967" y="35457"/>
                      <a:pt x="81064" y="32696"/>
                    </a:cubicBezTo>
                    <a:cubicBezTo>
                      <a:pt x="81038" y="32618"/>
                      <a:pt x="77220" y="21626"/>
                      <a:pt x="66537" y="16517"/>
                    </a:cubicBezTo>
                    <a:cubicBezTo>
                      <a:pt x="58461" y="12647"/>
                      <a:pt x="48243" y="12931"/>
                      <a:pt x="36193" y="17395"/>
                    </a:cubicBezTo>
                    <a:cubicBezTo>
                      <a:pt x="32116" y="18917"/>
                      <a:pt x="16453" y="28025"/>
                      <a:pt x="13718" y="45236"/>
                    </a:cubicBezTo>
                    <a:close/>
                  </a:path>
                </a:pathLst>
              </a:custGeom>
              <a:solidFill>
                <a:schemeClr val="accent1"/>
              </a:solidFill>
              <a:ln w="2573" cap="flat">
                <a:noFill/>
                <a:prstDash val="solid"/>
                <a:miter/>
              </a:ln>
            </p:spPr>
            <p:txBody>
              <a:bodyPr rtlCol="0" anchor="ctr"/>
              <a:lstStyle/>
              <a:p>
                <a:endParaRPr lang="en-GB" dirty="0"/>
              </a:p>
            </p:txBody>
          </p:sp>
          <p:grpSp>
            <p:nvGrpSpPr>
              <p:cNvPr id="150" name="Grafik 312">
                <a:extLst>
                  <a:ext uri="{FF2B5EF4-FFF2-40B4-BE49-F238E27FC236}">
                    <a16:creationId xmlns:a16="http://schemas.microsoft.com/office/drawing/2014/main" id="{7DE73082-2657-4E51-B7A6-3A24D6DBE34A}"/>
                  </a:ext>
                </a:extLst>
              </p:cNvPr>
              <p:cNvGrpSpPr/>
              <p:nvPr/>
            </p:nvGrpSpPr>
            <p:grpSpPr>
              <a:xfrm>
                <a:off x="1818498" y="1662514"/>
                <a:ext cx="209396" cy="138285"/>
                <a:chOff x="1818498" y="1662514"/>
                <a:chExt cx="209396" cy="138285"/>
              </a:xfrm>
              <a:solidFill>
                <a:schemeClr val="accent1"/>
              </a:solidFill>
            </p:grpSpPr>
            <p:sp>
              <p:nvSpPr>
                <p:cNvPr id="151" name="Freihandform: Form 316">
                  <a:extLst>
                    <a:ext uri="{FF2B5EF4-FFF2-40B4-BE49-F238E27FC236}">
                      <a16:creationId xmlns:a16="http://schemas.microsoft.com/office/drawing/2014/main" id="{D9AB7ADD-7A3B-4542-A445-2C95C1260993}"/>
                    </a:ext>
                  </a:extLst>
                </p:cNvPr>
                <p:cNvSpPr/>
                <p:nvPr/>
              </p:nvSpPr>
              <p:spPr>
                <a:xfrm>
                  <a:off x="1818498" y="1662514"/>
                  <a:ext cx="209396" cy="138285"/>
                </a:xfrm>
                <a:custGeom>
                  <a:avLst/>
                  <a:gdLst>
                    <a:gd name="connsiteX0" fmla="*/ 104686 w 209396"/>
                    <a:gd name="connsiteY0" fmla="*/ 138286 h 138285"/>
                    <a:gd name="connsiteX1" fmla="*/ 20852 w 209396"/>
                    <a:gd name="connsiteY1" fmla="*/ 127036 h 138285"/>
                    <a:gd name="connsiteX2" fmla="*/ 16465 w 209396"/>
                    <a:gd name="connsiteY2" fmla="*/ 122030 h 138285"/>
                    <a:gd name="connsiteX3" fmla="*/ 132 w 209396"/>
                    <a:gd name="connsiteY3" fmla="*/ 40337 h 138285"/>
                    <a:gd name="connsiteX4" fmla="*/ 3073 w 209396"/>
                    <a:gd name="connsiteY4" fmla="*/ 33422 h 138285"/>
                    <a:gd name="connsiteX5" fmla="*/ 10582 w 209396"/>
                    <a:gd name="connsiteY5" fmla="*/ 33654 h 138285"/>
                    <a:gd name="connsiteX6" fmla="*/ 64124 w 209396"/>
                    <a:gd name="connsiteY6" fmla="*/ 72617 h 138285"/>
                    <a:gd name="connsiteX7" fmla="*/ 98726 w 209396"/>
                    <a:gd name="connsiteY7" fmla="*/ 3387 h 138285"/>
                    <a:gd name="connsiteX8" fmla="*/ 110621 w 209396"/>
                    <a:gd name="connsiteY8" fmla="*/ 3387 h 138285"/>
                    <a:gd name="connsiteX9" fmla="*/ 145249 w 209396"/>
                    <a:gd name="connsiteY9" fmla="*/ 72617 h 138285"/>
                    <a:gd name="connsiteX10" fmla="*/ 198816 w 209396"/>
                    <a:gd name="connsiteY10" fmla="*/ 33680 h 138285"/>
                    <a:gd name="connsiteX11" fmla="*/ 206325 w 209396"/>
                    <a:gd name="connsiteY11" fmla="*/ 33447 h 138285"/>
                    <a:gd name="connsiteX12" fmla="*/ 209266 w 209396"/>
                    <a:gd name="connsiteY12" fmla="*/ 40363 h 138285"/>
                    <a:gd name="connsiteX13" fmla="*/ 192933 w 209396"/>
                    <a:gd name="connsiteY13" fmla="*/ 122056 h 138285"/>
                    <a:gd name="connsiteX14" fmla="*/ 188546 w 209396"/>
                    <a:gd name="connsiteY14" fmla="*/ 127061 h 138285"/>
                    <a:gd name="connsiteX15" fmla="*/ 104686 w 209396"/>
                    <a:gd name="connsiteY15" fmla="*/ 138286 h 138285"/>
                    <a:gd name="connsiteX16" fmla="*/ 28722 w 209396"/>
                    <a:gd name="connsiteY16" fmla="*/ 115527 h 138285"/>
                    <a:gd name="connsiteX17" fmla="*/ 104686 w 209396"/>
                    <a:gd name="connsiteY17" fmla="*/ 124997 h 138285"/>
                    <a:gd name="connsiteX18" fmla="*/ 180651 w 209396"/>
                    <a:gd name="connsiteY18" fmla="*/ 115527 h 138285"/>
                    <a:gd name="connsiteX19" fmla="*/ 192856 w 209396"/>
                    <a:gd name="connsiteY19" fmla="*/ 54451 h 138285"/>
                    <a:gd name="connsiteX20" fmla="*/ 146719 w 209396"/>
                    <a:gd name="connsiteY20" fmla="*/ 87995 h 138285"/>
                    <a:gd name="connsiteX21" fmla="*/ 141223 w 209396"/>
                    <a:gd name="connsiteY21" fmla="*/ 89079 h 138285"/>
                    <a:gd name="connsiteX22" fmla="*/ 136837 w 209396"/>
                    <a:gd name="connsiteY22" fmla="*/ 85596 h 138285"/>
                    <a:gd name="connsiteX23" fmla="*/ 104660 w 209396"/>
                    <a:gd name="connsiteY23" fmla="*/ 21242 h 138285"/>
                    <a:gd name="connsiteX24" fmla="*/ 72484 w 209396"/>
                    <a:gd name="connsiteY24" fmla="*/ 85596 h 138285"/>
                    <a:gd name="connsiteX25" fmla="*/ 68097 w 209396"/>
                    <a:gd name="connsiteY25" fmla="*/ 89079 h 138285"/>
                    <a:gd name="connsiteX26" fmla="*/ 62601 w 209396"/>
                    <a:gd name="connsiteY26" fmla="*/ 87995 h 138285"/>
                    <a:gd name="connsiteX27" fmla="*/ 16465 w 209396"/>
                    <a:gd name="connsiteY27" fmla="*/ 54451 h 138285"/>
                    <a:gd name="connsiteX28" fmla="*/ 28722 w 209396"/>
                    <a:gd name="connsiteY28" fmla="*/ 115527 h 13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9396" h="138285">
                      <a:moveTo>
                        <a:pt x="104686" y="138286"/>
                      </a:moveTo>
                      <a:cubicBezTo>
                        <a:pt x="54705" y="138286"/>
                        <a:pt x="22219" y="127500"/>
                        <a:pt x="20852" y="127036"/>
                      </a:cubicBezTo>
                      <a:cubicBezTo>
                        <a:pt x="18607" y="126287"/>
                        <a:pt x="16929" y="124378"/>
                        <a:pt x="16465" y="122030"/>
                      </a:cubicBezTo>
                      <a:lnTo>
                        <a:pt x="132" y="40337"/>
                      </a:lnTo>
                      <a:cubicBezTo>
                        <a:pt x="-410" y="37653"/>
                        <a:pt x="751" y="34918"/>
                        <a:pt x="3073" y="33422"/>
                      </a:cubicBezTo>
                      <a:cubicBezTo>
                        <a:pt x="5395" y="31951"/>
                        <a:pt x="8363" y="32028"/>
                        <a:pt x="10582" y="33654"/>
                      </a:cubicBezTo>
                      <a:lnTo>
                        <a:pt x="64124" y="72617"/>
                      </a:lnTo>
                      <a:lnTo>
                        <a:pt x="98726" y="3387"/>
                      </a:lnTo>
                      <a:cubicBezTo>
                        <a:pt x="100970" y="-1129"/>
                        <a:pt x="108376" y="-1129"/>
                        <a:pt x="110621" y="3387"/>
                      </a:cubicBezTo>
                      <a:lnTo>
                        <a:pt x="145249" y="72617"/>
                      </a:lnTo>
                      <a:lnTo>
                        <a:pt x="198816" y="33680"/>
                      </a:lnTo>
                      <a:cubicBezTo>
                        <a:pt x="201035" y="32080"/>
                        <a:pt x="204003" y="31977"/>
                        <a:pt x="206325" y="33447"/>
                      </a:cubicBezTo>
                      <a:cubicBezTo>
                        <a:pt x="208621" y="34918"/>
                        <a:pt x="209808" y="37679"/>
                        <a:pt x="209266" y="40363"/>
                      </a:cubicBezTo>
                      <a:lnTo>
                        <a:pt x="192933" y="122056"/>
                      </a:lnTo>
                      <a:cubicBezTo>
                        <a:pt x="192469" y="124378"/>
                        <a:pt x="190791" y="126287"/>
                        <a:pt x="188546" y="127061"/>
                      </a:cubicBezTo>
                      <a:cubicBezTo>
                        <a:pt x="187153" y="127500"/>
                        <a:pt x="154667" y="138286"/>
                        <a:pt x="104686" y="138286"/>
                      </a:cubicBezTo>
                      <a:close/>
                      <a:moveTo>
                        <a:pt x="28722" y="115527"/>
                      </a:moveTo>
                      <a:cubicBezTo>
                        <a:pt x="38295" y="118211"/>
                        <a:pt x="66291" y="124997"/>
                        <a:pt x="104686" y="124997"/>
                      </a:cubicBezTo>
                      <a:cubicBezTo>
                        <a:pt x="143081" y="124997"/>
                        <a:pt x="171052" y="118211"/>
                        <a:pt x="180651" y="115527"/>
                      </a:cubicBezTo>
                      <a:lnTo>
                        <a:pt x="192856" y="54451"/>
                      </a:lnTo>
                      <a:lnTo>
                        <a:pt x="146719" y="87995"/>
                      </a:lnTo>
                      <a:cubicBezTo>
                        <a:pt x="145146" y="89156"/>
                        <a:pt x="143133" y="89544"/>
                        <a:pt x="141223" y="89079"/>
                      </a:cubicBezTo>
                      <a:cubicBezTo>
                        <a:pt x="139314" y="88615"/>
                        <a:pt x="137714" y="87350"/>
                        <a:pt x="136837" y="85596"/>
                      </a:cubicBezTo>
                      <a:lnTo>
                        <a:pt x="104660" y="21242"/>
                      </a:lnTo>
                      <a:lnTo>
                        <a:pt x="72484" y="85596"/>
                      </a:lnTo>
                      <a:cubicBezTo>
                        <a:pt x="71606" y="87350"/>
                        <a:pt x="70007" y="88615"/>
                        <a:pt x="68097" y="89079"/>
                      </a:cubicBezTo>
                      <a:cubicBezTo>
                        <a:pt x="66188" y="89544"/>
                        <a:pt x="64201" y="89156"/>
                        <a:pt x="62601" y="87995"/>
                      </a:cubicBezTo>
                      <a:lnTo>
                        <a:pt x="16465" y="54451"/>
                      </a:lnTo>
                      <a:lnTo>
                        <a:pt x="28722" y="115527"/>
                      </a:lnTo>
                      <a:close/>
                    </a:path>
                  </a:pathLst>
                </a:custGeom>
                <a:solidFill>
                  <a:schemeClr val="accent1"/>
                </a:solidFill>
                <a:ln w="2573" cap="flat">
                  <a:noFill/>
                  <a:prstDash val="solid"/>
                  <a:miter/>
                </a:ln>
              </p:spPr>
              <p:txBody>
                <a:bodyPr rtlCol="0" anchor="ctr"/>
                <a:lstStyle/>
                <a:p>
                  <a:endParaRPr lang="en-GB" dirty="0"/>
                </a:p>
              </p:txBody>
            </p:sp>
            <p:sp>
              <p:nvSpPr>
                <p:cNvPr id="152" name="Freihandform: Form 317">
                  <a:extLst>
                    <a:ext uri="{FF2B5EF4-FFF2-40B4-BE49-F238E27FC236}">
                      <a16:creationId xmlns:a16="http://schemas.microsoft.com/office/drawing/2014/main" id="{274A87C2-9F26-4380-A9C2-F0A098F27638}"/>
                    </a:ext>
                  </a:extLst>
                </p:cNvPr>
                <p:cNvSpPr/>
                <p:nvPr/>
              </p:nvSpPr>
              <p:spPr>
                <a:xfrm>
                  <a:off x="1850488" y="1692189"/>
                  <a:ext cx="54140" cy="35768"/>
                </a:xfrm>
                <a:custGeom>
                  <a:avLst/>
                  <a:gdLst>
                    <a:gd name="connsiteX0" fmla="*/ 6640 w 54140"/>
                    <a:gd name="connsiteY0" fmla="*/ 35768 h 35768"/>
                    <a:gd name="connsiteX1" fmla="*/ 2744 w 54140"/>
                    <a:gd name="connsiteY1" fmla="*/ 34504 h 35768"/>
                    <a:gd name="connsiteX2" fmla="*/ 1273 w 54140"/>
                    <a:gd name="connsiteY2" fmla="*/ 25215 h 35768"/>
                    <a:gd name="connsiteX3" fmla="*/ 17607 w 54140"/>
                    <a:gd name="connsiteY3" fmla="*/ 2740 h 35768"/>
                    <a:gd name="connsiteX4" fmla="*/ 26560 w 54140"/>
                    <a:gd name="connsiteY4" fmla="*/ 1037 h 35768"/>
                    <a:gd name="connsiteX5" fmla="*/ 51073 w 54140"/>
                    <a:gd name="connsiteY5" fmla="*/ 16700 h 35768"/>
                    <a:gd name="connsiteX6" fmla="*/ 53086 w 54140"/>
                    <a:gd name="connsiteY6" fmla="*/ 25886 h 35768"/>
                    <a:gd name="connsiteX7" fmla="*/ 43900 w 54140"/>
                    <a:gd name="connsiteY7" fmla="*/ 27898 h 35768"/>
                    <a:gd name="connsiteX8" fmla="*/ 24677 w 54140"/>
                    <a:gd name="connsiteY8" fmla="*/ 15616 h 35768"/>
                    <a:gd name="connsiteX9" fmla="*/ 12033 w 54140"/>
                    <a:gd name="connsiteY9" fmla="*/ 33033 h 35768"/>
                    <a:gd name="connsiteX10" fmla="*/ 6640 w 54140"/>
                    <a:gd name="connsiteY10" fmla="*/ 35768 h 3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40" h="35768">
                      <a:moveTo>
                        <a:pt x="6640" y="35768"/>
                      </a:moveTo>
                      <a:cubicBezTo>
                        <a:pt x="5299" y="35768"/>
                        <a:pt x="3905" y="35356"/>
                        <a:pt x="2744" y="34504"/>
                      </a:cubicBezTo>
                      <a:cubicBezTo>
                        <a:pt x="-223" y="32337"/>
                        <a:pt x="-894" y="28182"/>
                        <a:pt x="1273" y="25215"/>
                      </a:cubicBezTo>
                      <a:lnTo>
                        <a:pt x="17607" y="2740"/>
                      </a:lnTo>
                      <a:cubicBezTo>
                        <a:pt x="19671" y="-98"/>
                        <a:pt x="23593" y="-846"/>
                        <a:pt x="26560" y="1037"/>
                      </a:cubicBezTo>
                      <a:lnTo>
                        <a:pt x="51073" y="16700"/>
                      </a:lnTo>
                      <a:cubicBezTo>
                        <a:pt x="54170" y="18687"/>
                        <a:pt x="55073" y="22789"/>
                        <a:pt x="53086" y="25886"/>
                      </a:cubicBezTo>
                      <a:cubicBezTo>
                        <a:pt x="51099" y="28982"/>
                        <a:pt x="46997" y="29885"/>
                        <a:pt x="43900" y="27898"/>
                      </a:cubicBezTo>
                      <a:lnTo>
                        <a:pt x="24677" y="15616"/>
                      </a:lnTo>
                      <a:lnTo>
                        <a:pt x="12033" y="33033"/>
                      </a:lnTo>
                      <a:cubicBezTo>
                        <a:pt x="10743" y="34814"/>
                        <a:pt x="8705" y="35768"/>
                        <a:pt x="6640" y="35768"/>
                      </a:cubicBezTo>
                      <a:close/>
                    </a:path>
                  </a:pathLst>
                </a:custGeom>
                <a:solidFill>
                  <a:schemeClr val="accent1"/>
                </a:solidFill>
                <a:ln w="2573" cap="flat">
                  <a:noFill/>
                  <a:prstDash val="solid"/>
                  <a:miter/>
                </a:ln>
              </p:spPr>
              <p:txBody>
                <a:bodyPr rtlCol="0" anchor="ctr"/>
                <a:lstStyle/>
                <a:p>
                  <a:endParaRPr lang="en-GB" dirty="0"/>
                </a:p>
              </p:txBody>
            </p:sp>
            <p:sp>
              <p:nvSpPr>
                <p:cNvPr id="153" name="Freihandform: Form 318">
                  <a:extLst>
                    <a:ext uri="{FF2B5EF4-FFF2-40B4-BE49-F238E27FC236}">
                      <a16:creationId xmlns:a16="http://schemas.microsoft.com/office/drawing/2014/main" id="{B1D05612-BBE9-48F1-8B33-849BCEA1DD4F}"/>
                    </a:ext>
                  </a:extLst>
                </p:cNvPr>
                <p:cNvSpPr/>
                <p:nvPr/>
              </p:nvSpPr>
              <p:spPr>
                <a:xfrm>
                  <a:off x="1940346" y="1693152"/>
                  <a:ext cx="54140" cy="35786"/>
                </a:xfrm>
                <a:custGeom>
                  <a:avLst/>
                  <a:gdLst>
                    <a:gd name="connsiteX0" fmla="*/ 47500 w 54140"/>
                    <a:gd name="connsiteY0" fmla="*/ 35787 h 35786"/>
                    <a:gd name="connsiteX1" fmla="*/ 42108 w 54140"/>
                    <a:gd name="connsiteY1" fmla="*/ 33051 h 35786"/>
                    <a:gd name="connsiteX2" fmla="*/ 29464 w 54140"/>
                    <a:gd name="connsiteY2" fmla="*/ 15634 h 35786"/>
                    <a:gd name="connsiteX3" fmla="*/ 10241 w 54140"/>
                    <a:gd name="connsiteY3" fmla="*/ 27917 h 35786"/>
                    <a:gd name="connsiteX4" fmla="*/ 1055 w 54140"/>
                    <a:gd name="connsiteY4" fmla="*/ 25904 h 35786"/>
                    <a:gd name="connsiteX5" fmla="*/ 3067 w 54140"/>
                    <a:gd name="connsiteY5" fmla="*/ 16718 h 35786"/>
                    <a:gd name="connsiteX6" fmla="*/ 27580 w 54140"/>
                    <a:gd name="connsiteY6" fmla="*/ 1055 h 35786"/>
                    <a:gd name="connsiteX7" fmla="*/ 36534 w 54140"/>
                    <a:gd name="connsiteY7" fmla="*/ 2758 h 35786"/>
                    <a:gd name="connsiteX8" fmla="*/ 52867 w 54140"/>
                    <a:gd name="connsiteY8" fmla="*/ 25233 h 35786"/>
                    <a:gd name="connsiteX9" fmla="*/ 51397 w 54140"/>
                    <a:gd name="connsiteY9" fmla="*/ 34522 h 35786"/>
                    <a:gd name="connsiteX10" fmla="*/ 47500 w 54140"/>
                    <a:gd name="connsiteY10" fmla="*/ 35787 h 35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40" h="35786">
                      <a:moveTo>
                        <a:pt x="47500" y="35787"/>
                      </a:moveTo>
                      <a:cubicBezTo>
                        <a:pt x="45436" y="35787"/>
                        <a:pt x="43424" y="34832"/>
                        <a:pt x="42108" y="33051"/>
                      </a:cubicBezTo>
                      <a:lnTo>
                        <a:pt x="29464" y="15634"/>
                      </a:lnTo>
                      <a:lnTo>
                        <a:pt x="10241" y="27917"/>
                      </a:lnTo>
                      <a:cubicBezTo>
                        <a:pt x="7144" y="29903"/>
                        <a:pt x="3042" y="29000"/>
                        <a:pt x="1055" y="25904"/>
                      </a:cubicBezTo>
                      <a:cubicBezTo>
                        <a:pt x="-932" y="22808"/>
                        <a:pt x="-29" y="18705"/>
                        <a:pt x="3067" y="16718"/>
                      </a:cubicBezTo>
                      <a:lnTo>
                        <a:pt x="27580" y="1055"/>
                      </a:lnTo>
                      <a:cubicBezTo>
                        <a:pt x="30548" y="-854"/>
                        <a:pt x="34470" y="-106"/>
                        <a:pt x="36534" y="2758"/>
                      </a:cubicBezTo>
                      <a:lnTo>
                        <a:pt x="52867" y="25233"/>
                      </a:lnTo>
                      <a:cubicBezTo>
                        <a:pt x="55035" y="28200"/>
                        <a:pt x="54364" y="32355"/>
                        <a:pt x="51397" y="34522"/>
                      </a:cubicBezTo>
                      <a:cubicBezTo>
                        <a:pt x="50210" y="35374"/>
                        <a:pt x="48842" y="35787"/>
                        <a:pt x="47500" y="35787"/>
                      </a:cubicBezTo>
                      <a:close/>
                    </a:path>
                  </a:pathLst>
                </a:custGeom>
                <a:solidFill>
                  <a:schemeClr val="accent1"/>
                </a:solidFill>
                <a:ln w="2573" cap="flat">
                  <a:noFill/>
                  <a:prstDash val="solid"/>
                  <a:miter/>
                </a:ln>
              </p:spPr>
              <p:txBody>
                <a:bodyPr rtlCol="0" anchor="ctr"/>
                <a:lstStyle/>
                <a:p>
                  <a:endParaRPr lang="en-GB" dirty="0"/>
                </a:p>
              </p:txBody>
            </p:sp>
          </p:grpSp>
        </p:grpSp>
      </p:grpSp>
      <p:grpSp>
        <p:nvGrpSpPr>
          <p:cNvPr id="26" name="Group 25">
            <a:extLst>
              <a:ext uri="{FF2B5EF4-FFF2-40B4-BE49-F238E27FC236}">
                <a16:creationId xmlns:a16="http://schemas.microsoft.com/office/drawing/2014/main" id="{EE05CDF1-87DE-2C90-A35A-2A2B6899F9D2}"/>
              </a:ext>
            </a:extLst>
          </p:cNvPr>
          <p:cNvGrpSpPr/>
          <p:nvPr/>
        </p:nvGrpSpPr>
        <p:grpSpPr>
          <a:xfrm>
            <a:off x="2637612" y="2391532"/>
            <a:ext cx="494612" cy="431995"/>
            <a:chOff x="2637612" y="2391532"/>
            <a:chExt cx="494612" cy="431995"/>
          </a:xfrm>
        </p:grpSpPr>
        <p:grpSp>
          <p:nvGrpSpPr>
            <p:cNvPr id="167" name="Grafik 312">
              <a:extLst>
                <a:ext uri="{FF2B5EF4-FFF2-40B4-BE49-F238E27FC236}">
                  <a16:creationId xmlns:a16="http://schemas.microsoft.com/office/drawing/2014/main" id="{041E3C58-F160-4268-830C-EA4A5E2875AF}"/>
                </a:ext>
              </a:extLst>
            </p:cNvPr>
            <p:cNvGrpSpPr/>
            <p:nvPr/>
          </p:nvGrpSpPr>
          <p:grpSpPr>
            <a:xfrm>
              <a:off x="2816818" y="2559931"/>
              <a:ext cx="315406" cy="263596"/>
              <a:chOff x="1862959" y="3492612"/>
              <a:chExt cx="281022" cy="234860"/>
            </a:xfrm>
            <a:solidFill>
              <a:schemeClr val="accent1"/>
            </a:solidFill>
          </p:grpSpPr>
          <p:sp>
            <p:nvSpPr>
              <p:cNvPr id="188" name="Freihandform: Form 483">
                <a:extLst>
                  <a:ext uri="{FF2B5EF4-FFF2-40B4-BE49-F238E27FC236}">
                    <a16:creationId xmlns:a16="http://schemas.microsoft.com/office/drawing/2014/main" id="{EBC11D25-CFBC-499B-9735-414C19585156}"/>
                  </a:ext>
                </a:extLst>
              </p:cNvPr>
              <p:cNvSpPr/>
              <p:nvPr/>
            </p:nvSpPr>
            <p:spPr>
              <a:xfrm>
                <a:off x="1862959" y="3492612"/>
                <a:ext cx="234860" cy="234860"/>
              </a:xfrm>
              <a:custGeom>
                <a:avLst/>
                <a:gdLst>
                  <a:gd name="connsiteX0" fmla="*/ 117430 w 234860"/>
                  <a:gd name="connsiteY0" fmla="*/ 234861 h 234860"/>
                  <a:gd name="connsiteX1" fmla="*/ 0 w 234860"/>
                  <a:gd name="connsiteY1" fmla="*/ 117430 h 234860"/>
                  <a:gd name="connsiteX2" fmla="*/ 117430 w 234860"/>
                  <a:gd name="connsiteY2" fmla="*/ 0 h 234860"/>
                  <a:gd name="connsiteX3" fmla="*/ 234861 w 234860"/>
                  <a:gd name="connsiteY3" fmla="*/ 117430 h 234860"/>
                  <a:gd name="connsiteX4" fmla="*/ 219301 w 234860"/>
                  <a:gd name="connsiteY4" fmla="*/ 175875 h 234860"/>
                  <a:gd name="connsiteX5" fmla="*/ 210219 w 234860"/>
                  <a:gd name="connsiteY5" fmla="*/ 178326 h 234860"/>
                  <a:gd name="connsiteX6" fmla="*/ 207767 w 234860"/>
                  <a:gd name="connsiteY6" fmla="*/ 169243 h 234860"/>
                  <a:gd name="connsiteX7" fmla="*/ 221546 w 234860"/>
                  <a:gd name="connsiteY7" fmla="*/ 117404 h 234860"/>
                  <a:gd name="connsiteX8" fmla="*/ 117430 w 234860"/>
                  <a:gd name="connsiteY8" fmla="*/ 13289 h 234860"/>
                  <a:gd name="connsiteX9" fmla="*/ 13314 w 234860"/>
                  <a:gd name="connsiteY9" fmla="*/ 117404 h 234860"/>
                  <a:gd name="connsiteX10" fmla="*/ 117430 w 234860"/>
                  <a:gd name="connsiteY10" fmla="*/ 221520 h 234860"/>
                  <a:gd name="connsiteX11" fmla="*/ 192853 w 234860"/>
                  <a:gd name="connsiteY11" fmla="*/ 189189 h 234860"/>
                  <a:gd name="connsiteX12" fmla="*/ 202245 w 234860"/>
                  <a:gd name="connsiteY12" fmla="*/ 188957 h 234860"/>
                  <a:gd name="connsiteX13" fmla="*/ 202478 w 234860"/>
                  <a:gd name="connsiteY13" fmla="*/ 198375 h 234860"/>
                  <a:gd name="connsiteX14" fmla="*/ 117430 w 234860"/>
                  <a:gd name="connsiteY14" fmla="*/ 234861 h 234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860" h="234860">
                    <a:moveTo>
                      <a:pt x="117430" y="234861"/>
                    </a:moveTo>
                    <a:cubicBezTo>
                      <a:pt x="52690" y="234861"/>
                      <a:pt x="0" y="182171"/>
                      <a:pt x="0" y="117430"/>
                    </a:cubicBezTo>
                    <a:cubicBezTo>
                      <a:pt x="0" y="52690"/>
                      <a:pt x="52690" y="0"/>
                      <a:pt x="117430" y="0"/>
                    </a:cubicBezTo>
                    <a:cubicBezTo>
                      <a:pt x="182171" y="0"/>
                      <a:pt x="234861" y="52690"/>
                      <a:pt x="234861" y="117430"/>
                    </a:cubicBezTo>
                    <a:cubicBezTo>
                      <a:pt x="234861" y="137970"/>
                      <a:pt x="229468" y="158174"/>
                      <a:pt x="219301" y="175875"/>
                    </a:cubicBezTo>
                    <a:cubicBezTo>
                      <a:pt x="217469" y="179074"/>
                      <a:pt x="213418" y="180158"/>
                      <a:pt x="210219" y="178326"/>
                    </a:cubicBezTo>
                    <a:cubicBezTo>
                      <a:pt x="207045" y="176494"/>
                      <a:pt x="205935" y="172417"/>
                      <a:pt x="207767" y="169243"/>
                    </a:cubicBezTo>
                    <a:cubicBezTo>
                      <a:pt x="216798" y="153555"/>
                      <a:pt x="221546" y="135622"/>
                      <a:pt x="221546" y="117404"/>
                    </a:cubicBezTo>
                    <a:cubicBezTo>
                      <a:pt x="221546" y="59992"/>
                      <a:pt x="174842" y="13289"/>
                      <a:pt x="117430" y="13289"/>
                    </a:cubicBezTo>
                    <a:cubicBezTo>
                      <a:pt x="60018" y="13289"/>
                      <a:pt x="13314" y="59992"/>
                      <a:pt x="13314" y="117404"/>
                    </a:cubicBezTo>
                    <a:cubicBezTo>
                      <a:pt x="13314" y="174817"/>
                      <a:pt x="60018" y="221520"/>
                      <a:pt x="117430" y="221520"/>
                    </a:cubicBezTo>
                    <a:cubicBezTo>
                      <a:pt x="146201" y="221520"/>
                      <a:pt x="172985" y="210038"/>
                      <a:pt x="192853" y="189189"/>
                    </a:cubicBezTo>
                    <a:cubicBezTo>
                      <a:pt x="195382" y="186531"/>
                      <a:pt x="199613" y="186428"/>
                      <a:pt x="202245" y="188957"/>
                    </a:cubicBezTo>
                    <a:cubicBezTo>
                      <a:pt x="204903" y="191486"/>
                      <a:pt x="205006" y="195717"/>
                      <a:pt x="202478" y="198375"/>
                    </a:cubicBezTo>
                    <a:cubicBezTo>
                      <a:pt x="180080" y="221907"/>
                      <a:pt x="149865" y="234861"/>
                      <a:pt x="117430" y="234861"/>
                    </a:cubicBezTo>
                    <a:close/>
                  </a:path>
                </a:pathLst>
              </a:custGeom>
              <a:solidFill>
                <a:schemeClr val="accent1"/>
              </a:solidFill>
              <a:ln w="2573" cap="flat">
                <a:noFill/>
                <a:prstDash val="solid"/>
                <a:miter/>
              </a:ln>
            </p:spPr>
            <p:txBody>
              <a:bodyPr rtlCol="0" anchor="ctr"/>
              <a:lstStyle/>
              <a:p>
                <a:endParaRPr lang="en-GB" dirty="0"/>
              </a:p>
            </p:txBody>
          </p:sp>
          <p:sp>
            <p:nvSpPr>
              <p:cNvPr id="189" name="Freihandform: Form 484">
                <a:extLst>
                  <a:ext uri="{FF2B5EF4-FFF2-40B4-BE49-F238E27FC236}">
                    <a16:creationId xmlns:a16="http://schemas.microsoft.com/office/drawing/2014/main" id="{FA07EE94-6809-49E5-9A7B-9E1849C79D5C}"/>
                  </a:ext>
                </a:extLst>
              </p:cNvPr>
              <p:cNvSpPr/>
              <p:nvPr/>
            </p:nvSpPr>
            <p:spPr>
              <a:xfrm>
                <a:off x="1938279" y="3567957"/>
                <a:ext cx="84221" cy="84195"/>
              </a:xfrm>
              <a:custGeom>
                <a:avLst/>
                <a:gdLst>
                  <a:gd name="connsiteX0" fmla="*/ 42111 w 84221"/>
                  <a:gd name="connsiteY0" fmla="*/ 84196 h 84195"/>
                  <a:gd name="connsiteX1" fmla="*/ 0 w 84221"/>
                  <a:gd name="connsiteY1" fmla="*/ 42111 h 84195"/>
                  <a:gd name="connsiteX2" fmla="*/ 42111 w 84221"/>
                  <a:gd name="connsiteY2" fmla="*/ 0 h 84195"/>
                  <a:gd name="connsiteX3" fmla="*/ 84222 w 84221"/>
                  <a:gd name="connsiteY3" fmla="*/ 42111 h 84195"/>
                  <a:gd name="connsiteX4" fmla="*/ 79138 w 84221"/>
                  <a:gd name="connsiteY4" fmla="*/ 62186 h 84195"/>
                  <a:gd name="connsiteX5" fmla="*/ 70107 w 84221"/>
                  <a:gd name="connsiteY5" fmla="*/ 64843 h 84195"/>
                  <a:gd name="connsiteX6" fmla="*/ 67450 w 84221"/>
                  <a:gd name="connsiteY6" fmla="*/ 55812 h 84195"/>
                  <a:gd name="connsiteX7" fmla="*/ 70933 w 84221"/>
                  <a:gd name="connsiteY7" fmla="*/ 42085 h 84195"/>
                  <a:gd name="connsiteX8" fmla="*/ 42137 w 84221"/>
                  <a:gd name="connsiteY8" fmla="*/ 13289 h 84195"/>
                  <a:gd name="connsiteX9" fmla="*/ 13340 w 84221"/>
                  <a:gd name="connsiteY9" fmla="*/ 42085 h 84195"/>
                  <a:gd name="connsiteX10" fmla="*/ 42137 w 84221"/>
                  <a:gd name="connsiteY10" fmla="*/ 70881 h 84195"/>
                  <a:gd name="connsiteX11" fmla="*/ 51039 w 84221"/>
                  <a:gd name="connsiteY11" fmla="*/ 69488 h 84195"/>
                  <a:gd name="connsiteX12" fmla="*/ 59425 w 84221"/>
                  <a:gd name="connsiteY12" fmla="*/ 73746 h 84195"/>
                  <a:gd name="connsiteX13" fmla="*/ 55167 w 84221"/>
                  <a:gd name="connsiteY13" fmla="*/ 82132 h 84195"/>
                  <a:gd name="connsiteX14" fmla="*/ 42111 w 84221"/>
                  <a:gd name="connsiteY14" fmla="*/ 84196 h 8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4221" h="84195">
                    <a:moveTo>
                      <a:pt x="42111" y="84196"/>
                    </a:moveTo>
                    <a:cubicBezTo>
                      <a:pt x="18888" y="84196"/>
                      <a:pt x="0" y="65308"/>
                      <a:pt x="0" y="42111"/>
                    </a:cubicBezTo>
                    <a:cubicBezTo>
                      <a:pt x="0" y="18914"/>
                      <a:pt x="18888" y="0"/>
                      <a:pt x="42111" y="0"/>
                    </a:cubicBezTo>
                    <a:cubicBezTo>
                      <a:pt x="65334" y="0"/>
                      <a:pt x="84222" y="18888"/>
                      <a:pt x="84222" y="42111"/>
                    </a:cubicBezTo>
                    <a:cubicBezTo>
                      <a:pt x="84222" y="49129"/>
                      <a:pt x="82467" y="56045"/>
                      <a:pt x="79138" y="62186"/>
                    </a:cubicBezTo>
                    <a:cubicBezTo>
                      <a:pt x="77384" y="65411"/>
                      <a:pt x="73359" y="66598"/>
                      <a:pt x="70107" y="64843"/>
                    </a:cubicBezTo>
                    <a:cubicBezTo>
                      <a:pt x="66882" y="63089"/>
                      <a:pt x="65695" y="59038"/>
                      <a:pt x="67450" y="55812"/>
                    </a:cubicBezTo>
                    <a:cubicBezTo>
                      <a:pt x="69720" y="51632"/>
                      <a:pt x="70933" y="46884"/>
                      <a:pt x="70933" y="42085"/>
                    </a:cubicBezTo>
                    <a:cubicBezTo>
                      <a:pt x="70933" y="26216"/>
                      <a:pt x="58006" y="13289"/>
                      <a:pt x="42137" y="13289"/>
                    </a:cubicBezTo>
                    <a:cubicBezTo>
                      <a:pt x="26268" y="13289"/>
                      <a:pt x="13340" y="26216"/>
                      <a:pt x="13340" y="42085"/>
                    </a:cubicBezTo>
                    <a:cubicBezTo>
                      <a:pt x="13340" y="57954"/>
                      <a:pt x="26268" y="70881"/>
                      <a:pt x="42137" y="70881"/>
                    </a:cubicBezTo>
                    <a:cubicBezTo>
                      <a:pt x="45181" y="70881"/>
                      <a:pt x="48175" y="70417"/>
                      <a:pt x="51039" y="69488"/>
                    </a:cubicBezTo>
                    <a:cubicBezTo>
                      <a:pt x="54548" y="68378"/>
                      <a:pt x="58289" y="70262"/>
                      <a:pt x="59425" y="73746"/>
                    </a:cubicBezTo>
                    <a:cubicBezTo>
                      <a:pt x="60560" y="77229"/>
                      <a:pt x="58651" y="80996"/>
                      <a:pt x="55167" y="82132"/>
                    </a:cubicBezTo>
                    <a:cubicBezTo>
                      <a:pt x="50936" y="83499"/>
                      <a:pt x="46549" y="84196"/>
                      <a:pt x="42111" y="84196"/>
                    </a:cubicBezTo>
                    <a:close/>
                  </a:path>
                </a:pathLst>
              </a:custGeom>
              <a:solidFill>
                <a:schemeClr val="accent1"/>
              </a:solidFill>
              <a:ln w="2573" cap="flat">
                <a:noFill/>
                <a:prstDash val="solid"/>
                <a:miter/>
              </a:ln>
            </p:spPr>
            <p:txBody>
              <a:bodyPr rtlCol="0" anchor="ctr"/>
              <a:lstStyle/>
              <a:p>
                <a:endParaRPr lang="en-GB" dirty="0"/>
              </a:p>
            </p:txBody>
          </p:sp>
          <p:sp>
            <p:nvSpPr>
              <p:cNvPr id="190" name="Freihandform: Form 485">
                <a:extLst>
                  <a:ext uri="{FF2B5EF4-FFF2-40B4-BE49-F238E27FC236}">
                    <a16:creationId xmlns:a16="http://schemas.microsoft.com/office/drawing/2014/main" id="{1F9A5943-4518-48B9-98EE-AFAD93CF9297}"/>
                  </a:ext>
                </a:extLst>
              </p:cNvPr>
              <p:cNvSpPr/>
              <p:nvPr/>
            </p:nvSpPr>
            <p:spPr>
              <a:xfrm>
                <a:off x="1898413" y="3528065"/>
                <a:ext cx="163953" cy="163953"/>
              </a:xfrm>
              <a:custGeom>
                <a:avLst/>
                <a:gdLst>
                  <a:gd name="connsiteX0" fmla="*/ 81977 w 163953"/>
                  <a:gd name="connsiteY0" fmla="*/ 163954 h 163953"/>
                  <a:gd name="connsiteX1" fmla="*/ 0 w 163953"/>
                  <a:gd name="connsiteY1" fmla="*/ 81977 h 163953"/>
                  <a:gd name="connsiteX2" fmla="*/ 81977 w 163953"/>
                  <a:gd name="connsiteY2" fmla="*/ 0 h 163953"/>
                  <a:gd name="connsiteX3" fmla="*/ 163953 w 163953"/>
                  <a:gd name="connsiteY3" fmla="*/ 81977 h 163953"/>
                  <a:gd name="connsiteX4" fmla="*/ 152935 w 163953"/>
                  <a:gd name="connsiteY4" fmla="*/ 123055 h 163953"/>
                  <a:gd name="connsiteX5" fmla="*/ 143853 w 163953"/>
                  <a:gd name="connsiteY5" fmla="*/ 125481 h 163953"/>
                  <a:gd name="connsiteX6" fmla="*/ 141427 w 163953"/>
                  <a:gd name="connsiteY6" fmla="*/ 116398 h 163953"/>
                  <a:gd name="connsiteX7" fmla="*/ 150639 w 163953"/>
                  <a:gd name="connsiteY7" fmla="*/ 82003 h 163953"/>
                  <a:gd name="connsiteX8" fmla="*/ 81951 w 163953"/>
                  <a:gd name="connsiteY8" fmla="*/ 13315 h 163953"/>
                  <a:gd name="connsiteX9" fmla="*/ 13263 w 163953"/>
                  <a:gd name="connsiteY9" fmla="*/ 82003 h 163953"/>
                  <a:gd name="connsiteX10" fmla="*/ 81951 w 163953"/>
                  <a:gd name="connsiteY10" fmla="*/ 150691 h 163953"/>
                  <a:gd name="connsiteX11" fmla="*/ 126952 w 163953"/>
                  <a:gd name="connsiteY11" fmla="*/ 133893 h 163953"/>
                  <a:gd name="connsiteX12" fmla="*/ 136344 w 163953"/>
                  <a:gd name="connsiteY12" fmla="*/ 134564 h 163953"/>
                  <a:gd name="connsiteX13" fmla="*/ 135673 w 163953"/>
                  <a:gd name="connsiteY13" fmla="*/ 143956 h 163953"/>
                  <a:gd name="connsiteX14" fmla="*/ 81977 w 163953"/>
                  <a:gd name="connsiteY14" fmla="*/ 163954 h 163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3953" h="163953">
                    <a:moveTo>
                      <a:pt x="81977" y="163954"/>
                    </a:moveTo>
                    <a:cubicBezTo>
                      <a:pt x="36770" y="163954"/>
                      <a:pt x="0" y="127184"/>
                      <a:pt x="0" y="81977"/>
                    </a:cubicBezTo>
                    <a:cubicBezTo>
                      <a:pt x="0" y="36770"/>
                      <a:pt x="36770" y="0"/>
                      <a:pt x="81977" y="0"/>
                    </a:cubicBezTo>
                    <a:cubicBezTo>
                      <a:pt x="127184" y="0"/>
                      <a:pt x="163953" y="36770"/>
                      <a:pt x="163953" y="81977"/>
                    </a:cubicBezTo>
                    <a:cubicBezTo>
                      <a:pt x="163953" y="96426"/>
                      <a:pt x="160135" y="110618"/>
                      <a:pt x="152935" y="123055"/>
                    </a:cubicBezTo>
                    <a:cubicBezTo>
                      <a:pt x="151103" y="126229"/>
                      <a:pt x="147027" y="127339"/>
                      <a:pt x="143853" y="125481"/>
                    </a:cubicBezTo>
                    <a:cubicBezTo>
                      <a:pt x="140679" y="123623"/>
                      <a:pt x="139595" y="119572"/>
                      <a:pt x="141427" y="116398"/>
                    </a:cubicBezTo>
                    <a:cubicBezTo>
                      <a:pt x="147465" y="106000"/>
                      <a:pt x="150639" y="94104"/>
                      <a:pt x="150639" y="82003"/>
                    </a:cubicBezTo>
                    <a:cubicBezTo>
                      <a:pt x="150639" y="44124"/>
                      <a:pt x="119830" y="13315"/>
                      <a:pt x="81951" y="13315"/>
                    </a:cubicBezTo>
                    <a:cubicBezTo>
                      <a:pt x="44072" y="13315"/>
                      <a:pt x="13263" y="44124"/>
                      <a:pt x="13263" y="82003"/>
                    </a:cubicBezTo>
                    <a:cubicBezTo>
                      <a:pt x="13263" y="119882"/>
                      <a:pt x="44072" y="150691"/>
                      <a:pt x="81951" y="150691"/>
                    </a:cubicBezTo>
                    <a:cubicBezTo>
                      <a:pt x="98491" y="150691"/>
                      <a:pt x="114489" y="144730"/>
                      <a:pt x="126952" y="133893"/>
                    </a:cubicBezTo>
                    <a:cubicBezTo>
                      <a:pt x="129738" y="131467"/>
                      <a:pt x="133919" y="131777"/>
                      <a:pt x="136344" y="134564"/>
                    </a:cubicBezTo>
                    <a:cubicBezTo>
                      <a:pt x="138744" y="137325"/>
                      <a:pt x="138460" y="141531"/>
                      <a:pt x="135673" y="143956"/>
                    </a:cubicBezTo>
                    <a:cubicBezTo>
                      <a:pt x="120785" y="156832"/>
                      <a:pt x="101716" y="163954"/>
                      <a:pt x="81977" y="163954"/>
                    </a:cubicBezTo>
                    <a:close/>
                  </a:path>
                </a:pathLst>
              </a:custGeom>
              <a:solidFill>
                <a:schemeClr val="accent1"/>
              </a:solidFill>
              <a:ln w="2573" cap="flat">
                <a:noFill/>
                <a:prstDash val="solid"/>
                <a:miter/>
              </a:ln>
            </p:spPr>
            <p:txBody>
              <a:bodyPr rtlCol="0" anchor="ctr"/>
              <a:lstStyle/>
              <a:p>
                <a:endParaRPr lang="en-GB" dirty="0"/>
              </a:p>
            </p:txBody>
          </p:sp>
          <p:grpSp>
            <p:nvGrpSpPr>
              <p:cNvPr id="191" name="Grafik 312">
                <a:extLst>
                  <a:ext uri="{FF2B5EF4-FFF2-40B4-BE49-F238E27FC236}">
                    <a16:creationId xmlns:a16="http://schemas.microsoft.com/office/drawing/2014/main" id="{57FE184C-BE76-45D7-84F2-9EC9F9E90710}"/>
                  </a:ext>
                </a:extLst>
              </p:cNvPr>
              <p:cNvGrpSpPr/>
              <p:nvPr/>
            </p:nvGrpSpPr>
            <p:grpSpPr>
              <a:xfrm>
                <a:off x="1973785" y="3603406"/>
                <a:ext cx="170197" cy="116686"/>
                <a:chOff x="1973785" y="3603406"/>
                <a:chExt cx="170197" cy="116686"/>
              </a:xfrm>
              <a:solidFill>
                <a:schemeClr val="accent1"/>
              </a:solidFill>
            </p:grpSpPr>
            <p:sp>
              <p:nvSpPr>
                <p:cNvPr id="192" name="Freihandform: Form 487">
                  <a:extLst>
                    <a:ext uri="{FF2B5EF4-FFF2-40B4-BE49-F238E27FC236}">
                      <a16:creationId xmlns:a16="http://schemas.microsoft.com/office/drawing/2014/main" id="{713775E9-9D1E-4000-BC2A-B586D6AD5076}"/>
                    </a:ext>
                  </a:extLst>
                </p:cNvPr>
                <p:cNvSpPr/>
                <p:nvPr/>
              </p:nvSpPr>
              <p:spPr>
                <a:xfrm>
                  <a:off x="2081228" y="3652917"/>
                  <a:ext cx="62754" cy="41346"/>
                </a:xfrm>
                <a:custGeom>
                  <a:avLst/>
                  <a:gdLst>
                    <a:gd name="connsiteX0" fmla="*/ 33519 w 62754"/>
                    <a:gd name="connsiteY0" fmla="*/ 41347 h 41346"/>
                    <a:gd name="connsiteX1" fmla="*/ 30190 w 62754"/>
                    <a:gd name="connsiteY1" fmla="*/ 40469 h 41346"/>
                    <a:gd name="connsiteX2" fmla="*/ 3329 w 62754"/>
                    <a:gd name="connsiteY2" fmla="*/ 24962 h 41346"/>
                    <a:gd name="connsiteX3" fmla="*/ 0 w 62754"/>
                    <a:gd name="connsiteY3" fmla="*/ 19130 h 41346"/>
                    <a:gd name="connsiteX4" fmla="*/ 3432 w 62754"/>
                    <a:gd name="connsiteY4" fmla="*/ 13376 h 41346"/>
                    <a:gd name="connsiteX5" fmla="*/ 26010 w 62754"/>
                    <a:gd name="connsiteY5" fmla="*/ 836 h 41346"/>
                    <a:gd name="connsiteX6" fmla="*/ 32564 w 62754"/>
                    <a:gd name="connsiteY6" fmla="*/ 887 h 41346"/>
                    <a:gd name="connsiteX7" fmla="*/ 59425 w 62754"/>
                    <a:gd name="connsiteY7" fmla="*/ 16395 h 41346"/>
                    <a:gd name="connsiteX8" fmla="*/ 62754 w 62754"/>
                    <a:gd name="connsiteY8" fmla="*/ 22226 h 41346"/>
                    <a:gd name="connsiteX9" fmla="*/ 59322 w 62754"/>
                    <a:gd name="connsiteY9" fmla="*/ 27981 h 41346"/>
                    <a:gd name="connsiteX10" fmla="*/ 36718 w 62754"/>
                    <a:gd name="connsiteY10" fmla="*/ 40521 h 41346"/>
                    <a:gd name="connsiteX11" fmla="*/ 33519 w 62754"/>
                    <a:gd name="connsiteY11" fmla="*/ 41347 h 41346"/>
                    <a:gd name="connsiteX12" fmla="*/ 20153 w 62754"/>
                    <a:gd name="connsiteY12" fmla="*/ 19285 h 41346"/>
                    <a:gd name="connsiteX13" fmla="*/ 33570 w 62754"/>
                    <a:gd name="connsiteY13" fmla="*/ 27026 h 41346"/>
                    <a:gd name="connsiteX14" fmla="*/ 42601 w 62754"/>
                    <a:gd name="connsiteY14" fmla="*/ 22020 h 41346"/>
                    <a:gd name="connsiteX15" fmla="*/ 29184 w 62754"/>
                    <a:gd name="connsiteY15" fmla="*/ 14279 h 41346"/>
                    <a:gd name="connsiteX16" fmla="*/ 20153 w 62754"/>
                    <a:gd name="connsiteY16" fmla="*/ 19285 h 4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2754" h="41346">
                      <a:moveTo>
                        <a:pt x="33519" y="41347"/>
                      </a:moveTo>
                      <a:cubicBezTo>
                        <a:pt x="32358" y="41347"/>
                        <a:pt x="31222" y="41037"/>
                        <a:pt x="30190" y="40469"/>
                      </a:cubicBezTo>
                      <a:lnTo>
                        <a:pt x="3329" y="24962"/>
                      </a:lnTo>
                      <a:cubicBezTo>
                        <a:pt x="1265" y="23749"/>
                        <a:pt x="-25" y="21530"/>
                        <a:pt x="0" y="19130"/>
                      </a:cubicBezTo>
                      <a:cubicBezTo>
                        <a:pt x="26" y="16730"/>
                        <a:pt x="1316" y="14537"/>
                        <a:pt x="3432" y="13376"/>
                      </a:cubicBezTo>
                      <a:lnTo>
                        <a:pt x="26010" y="836"/>
                      </a:lnTo>
                      <a:cubicBezTo>
                        <a:pt x="28049" y="-300"/>
                        <a:pt x="30551" y="-274"/>
                        <a:pt x="32564" y="887"/>
                      </a:cubicBezTo>
                      <a:lnTo>
                        <a:pt x="59425" y="16395"/>
                      </a:lnTo>
                      <a:cubicBezTo>
                        <a:pt x="61489" y="17608"/>
                        <a:pt x="62780" y="19827"/>
                        <a:pt x="62754" y="22226"/>
                      </a:cubicBezTo>
                      <a:cubicBezTo>
                        <a:pt x="62728" y="24626"/>
                        <a:pt x="61438" y="26819"/>
                        <a:pt x="59322" y="27981"/>
                      </a:cubicBezTo>
                      <a:lnTo>
                        <a:pt x="36718" y="40521"/>
                      </a:lnTo>
                      <a:cubicBezTo>
                        <a:pt x="35738" y="41063"/>
                        <a:pt x="34628" y="41347"/>
                        <a:pt x="33519" y="41347"/>
                      </a:cubicBezTo>
                      <a:close/>
                      <a:moveTo>
                        <a:pt x="20153" y="19285"/>
                      </a:moveTo>
                      <a:lnTo>
                        <a:pt x="33570" y="27026"/>
                      </a:lnTo>
                      <a:lnTo>
                        <a:pt x="42601" y="22020"/>
                      </a:lnTo>
                      <a:lnTo>
                        <a:pt x="29184" y="14279"/>
                      </a:lnTo>
                      <a:lnTo>
                        <a:pt x="20153" y="19285"/>
                      </a:lnTo>
                      <a:close/>
                    </a:path>
                  </a:pathLst>
                </a:custGeom>
                <a:solidFill>
                  <a:schemeClr val="accent1"/>
                </a:solidFill>
                <a:ln w="2573" cap="flat">
                  <a:noFill/>
                  <a:prstDash val="solid"/>
                  <a:miter/>
                </a:ln>
              </p:spPr>
              <p:txBody>
                <a:bodyPr rtlCol="0" anchor="ctr"/>
                <a:lstStyle/>
                <a:p>
                  <a:endParaRPr lang="en-GB" dirty="0"/>
                </a:p>
              </p:txBody>
            </p:sp>
            <p:sp>
              <p:nvSpPr>
                <p:cNvPr id="193" name="Freihandform: Form 488">
                  <a:extLst>
                    <a:ext uri="{FF2B5EF4-FFF2-40B4-BE49-F238E27FC236}">
                      <a16:creationId xmlns:a16="http://schemas.microsoft.com/office/drawing/2014/main" id="{FDB85DD8-284C-4B5C-89EB-07AF206D8756}"/>
                    </a:ext>
                  </a:extLst>
                </p:cNvPr>
                <p:cNvSpPr/>
                <p:nvPr/>
              </p:nvSpPr>
              <p:spPr>
                <a:xfrm>
                  <a:off x="2081228" y="3665464"/>
                  <a:ext cx="40616" cy="54628"/>
                </a:xfrm>
                <a:custGeom>
                  <a:avLst/>
                  <a:gdLst>
                    <a:gd name="connsiteX0" fmla="*/ 33957 w 40616"/>
                    <a:gd name="connsiteY0" fmla="*/ 54629 h 54628"/>
                    <a:gd name="connsiteX1" fmla="*/ 30629 w 40616"/>
                    <a:gd name="connsiteY1" fmla="*/ 53751 h 54628"/>
                    <a:gd name="connsiteX2" fmla="*/ 3768 w 40616"/>
                    <a:gd name="connsiteY2" fmla="*/ 38244 h 54628"/>
                    <a:gd name="connsiteX3" fmla="*/ 439 w 40616"/>
                    <a:gd name="connsiteY3" fmla="*/ 32593 h 54628"/>
                    <a:gd name="connsiteX4" fmla="*/ 0 w 40616"/>
                    <a:gd name="connsiteY4" fmla="*/ 6764 h 54628"/>
                    <a:gd name="connsiteX5" fmla="*/ 3277 w 40616"/>
                    <a:gd name="connsiteY5" fmla="*/ 932 h 54628"/>
                    <a:gd name="connsiteX6" fmla="*/ 9986 w 40616"/>
                    <a:gd name="connsiteY6" fmla="*/ 906 h 54628"/>
                    <a:gd name="connsiteX7" fmla="*/ 36847 w 40616"/>
                    <a:gd name="connsiteY7" fmla="*/ 16414 h 54628"/>
                    <a:gd name="connsiteX8" fmla="*/ 40176 w 40616"/>
                    <a:gd name="connsiteY8" fmla="*/ 22065 h 54628"/>
                    <a:gd name="connsiteX9" fmla="*/ 40615 w 40616"/>
                    <a:gd name="connsiteY9" fmla="*/ 47894 h 54628"/>
                    <a:gd name="connsiteX10" fmla="*/ 37338 w 40616"/>
                    <a:gd name="connsiteY10" fmla="*/ 53725 h 54628"/>
                    <a:gd name="connsiteX11" fmla="*/ 33957 w 40616"/>
                    <a:gd name="connsiteY11" fmla="*/ 54629 h 54628"/>
                    <a:gd name="connsiteX12" fmla="*/ 13676 w 40616"/>
                    <a:gd name="connsiteY12" fmla="*/ 28593 h 54628"/>
                    <a:gd name="connsiteX13" fmla="*/ 27094 w 40616"/>
                    <a:gd name="connsiteY13" fmla="*/ 36360 h 54628"/>
                    <a:gd name="connsiteX14" fmla="*/ 26913 w 40616"/>
                    <a:gd name="connsiteY14" fmla="*/ 26039 h 54628"/>
                    <a:gd name="connsiteX15" fmla="*/ 13495 w 40616"/>
                    <a:gd name="connsiteY15" fmla="*/ 18298 h 54628"/>
                    <a:gd name="connsiteX16" fmla="*/ 13676 w 40616"/>
                    <a:gd name="connsiteY16" fmla="*/ 28593 h 54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616" h="54628">
                      <a:moveTo>
                        <a:pt x="33957" y="54629"/>
                      </a:moveTo>
                      <a:cubicBezTo>
                        <a:pt x="32796" y="54629"/>
                        <a:pt x="31661" y="54319"/>
                        <a:pt x="30629" y="53751"/>
                      </a:cubicBezTo>
                      <a:lnTo>
                        <a:pt x="3768" y="38244"/>
                      </a:lnTo>
                      <a:cubicBezTo>
                        <a:pt x="1755" y="37082"/>
                        <a:pt x="491" y="34941"/>
                        <a:pt x="439" y="32593"/>
                      </a:cubicBezTo>
                      <a:lnTo>
                        <a:pt x="0" y="6764"/>
                      </a:lnTo>
                      <a:cubicBezTo>
                        <a:pt x="-25" y="4364"/>
                        <a:pt x="1213" y="2145"/>
                        <a:pt x="3277" y="932"/>
                      </a:cubicBezTo>
                      <a:cubicBezTo>
                        <a:pt x="5342" y="-306"/>
                        <a:pt x="7896" y="-306"/>
                        <a:pt x="9986" y="906"/>
                      </a:cubicBezTo>
                      <a:lnTo>
                        <a:pt x="36847" y="16414"/>
                      </a:lnTo>
                      <a:cubicBezTo>
                        <a:pt x="38860" y="17575"/>
                        <a:pt x="40124" y="19717"/>
                        <a:pt x="40176" y="22065"/>
                      </a:cubicBezTo>
                      <a:lnTo>
                        <a:pt x="40615" y="47894"/>
                      </a:lnTo>
                      <a:cubicBezTo>
                        <a:pt x="40666" y="50294"/>
                        <a:pt x="39402" y="52513"/>
                        <a:pt x="37338" y="53725"/>
                      </a:cubicBezTo>
                      <a:cubicBezTo>
                        <a:pt x="36280" y="54319"/>
                        <a:pt x="35118" y="54629"/>
                        <a:pt x="33957" y="54629"/>
                      </a:cubicBezTo>
                      <a:close/>
                      <a:moveTo>
                        <a:pt x="13676" y="28593"/>
                      </a:moveTo>
                      <a:lnTo>
                        <a:pt x="27094" y="36360"/>
                      </a:lnTo>
                      <a:lnTo>
                        <a:pt x="26913" y="26039"/>
                      </a:lnTo>
                      <a:lnTo>
                        <a:pt x="13495" y="18298"/>
                      </a:lnTo>
                      <a:lnTo>
                        <a:pt x="13676" y="28593"/>
                      </a:lnTo>
                      <a:close/>
                    </a:path>
                  </a:pathLst>
                </a:custGeom>
                <a:solidFill>
                  <a:schemeClr val="accent1"/>
                </a:solidFill>
                <a:ln w="2573" cap="flat">
                  <a:noFill/>
                  <a:prstDash val="solid"/>
                  <a:miter/>
                </a:ln>
              </p:spPr>
              <p:txBody>
                <a:bodyPr rtlCol="0" anchor="ctr"/>
                <a:lstStyle/>
                <a:p>
                  <a:endParaRPr lang="en-GB" dirty="0"/>
                </a:p>
              </p:txBody>
            </p:sp>
            <p:sp>
              <p:nvSpPr>
                <p:cNvPr id="194" name="Freihandform: Form 489">
                  <a:extLst>
                    <a:ext uri="{FF2B5EF4-FFF2-40B4-BE49-F238E27FC236}">
                      <a16:creationId xmlns:a16="http://schemas.microsoft.com/office/drawing/2014/main" id="{3FF69033-E0E9-4551-897A-683D33220A49}"/>
                    </a:ext>
                  </a:extLst>
                </p:cNvPr>
                <p:cNvSpPr/>
                <p:nvPr/>
              </p:nvSpPr>
              <p:spPr>
                <a:xfrm>
                  <a:off x="1973785" y="3603406"/>
                  <a:ext cx="159126" cy="97489"/>
                </a:xfrm>
                <a:custGeom>
                  <a:avLst/>
                  <a:gdLst>
                    <a:gd name="connsiteX0" fmla="*/ 152470 w 159126"/>
                    <a:gd name="connsiteY0" fmla="*/ 97489 h 97489"/>
                    <a:gd name="connsiteX1" fmla="*/ 149142 w 159126"/>
                    <a:gd name="connsiteY1" fmla="*/ 96612 h 97489"/>
                    <a:gd name="connsiteX2" fmla="*/ 3328 w 159126"/>
                    <a:gd name="connsiteY2" fmla="*/ 12416 h 97489"/>
                    <a:gd name="connsiteX3" fmla="*/ 902 w 159126"/>
                    <a:gd name="connsiteY3" fmla="*/ 3333 h 97489"/>
                    <a:gd name="connsiteX4" fmla="*/ 9985 w 159126"/>
                    <a:gd name="connsiteY4" fmla="*/ 908 h 97489"/>
                    <a:gd name="connsiteX5" fmla="*/ 155799 w 159126"/>
                    <a:gd name="connsiteY5" fmla="*/ 85104 h 97489"/>
                    <a:gd name="connsiteX6" fmla="*/ 158224 w 159126"/>
                    <a:gd name="connsiteY6" fmla="*/ 94186 h 97489"/>
                    <a:gd name="connsiteX7" fmla="*/ 152470 w 159126"/>
                    <a:gd name="connsiteY7" fmla="*/ 97489 h 97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9126" h="97489">
                      <a:moveTo>
                        <a:pt x="152470" y="97489"/>
                      </a:moveTo>
                      <a:cubicBezTo>
                        <a:pt x="151335" y="97489"/>
                        <a:pt x="150199" y="97205"/>
                        <a:pt x="149142" y="96612"/>
                      </a:cubicBezTo>
                      <a:lnTo>
                        <a:pt x="3328" y="12416"/>
                      </a:lnTo>
                      <a:cubicBezTo>
                        <a:pt x="154" y="10584"/>
                        <a:pt x="-956" y="6507"/>
                        <a:pt x="902" y="3333"/>
                      </a:cubicBezTo>
                      <a:cubicBezTo>
                        <a:pt x="2734" y="134"/>
                        <a:pt x="6785" y="-950"/>
                        <a:pt x="9985" y="908"/>
                      </a:cubicBezTo>
                      <a:lnTo>
                        <a:pt x="155799" y="85104"/>
                      </a:lnTo>
                      <a:cubicBezTo>
                        <a:pt x="158973" y="86936"/>
                        <a:pt x="160082" y="91013"/>
                        <a:pt x="158224" y="94186"/>
                      </a:cubicBezTo>
                      <a:cubicBezTo>
                        <a:pt x="156986" y="96302"/>
                        <a:pt x="154767" y="97489"/>
                        <a:pt x="152470" y="97489"/>
                      </a:cubicBezTo>
                      <a:close/>
                    </a:path>
                  </a:pathLst>
                </a:custGeom>
                <a:solidFill>
                  <a:schemeClr val="accent1"/>
                </a:solidFill>
                <a:ln w="2573" cap="flat">
                  <a:noFill/>
                  <a:prstDash val="solid"/>
                  <a:miter/>
                </a:ln>
              </p:spPr>
              <p:txBody>
                <a:bodyPr rtlCol="0" anchor="ctr"/>
                <a:lstStyle/>
                <a:p>
                  <a:endParaRPr lang="en-GB" dirty="0"/>
                </a:p>
              </p:txBody>
            </p:sp>
          </p:grpSp>
        </p:grpSp>
        <p:grpSp>
          <p:nvGrpSpPr>
            <p:cNvPr id="168" name="Gruppieren 1079">
              <a:extLst>
                <a:ext uri="{FF2B5EF4-FFF2-40B4-BE49-F238E27FC236}">
                  <a16:creationId xmlns:a16="http://schemas.microsoft.com/office/drawing/2014/main" id="{8F9BAE0D-FF63-4199-89ED-289240BE013A}"/>
                </a:ext>
              </a:extLst>
            </p:cNvPr>
            <p:cNvGrpSpPr/>
            <p:nvPr/>
          </p:nvGrpSpPr>
          <p:grpSpPr>
            <a:xfrm>
              <a:off x="2637612" y="2391532"/>
              <a:ext cx="363923" cy="393744"/>
              <a:chOff x="1703289" y="3342566"/>
              <a:chExt cx="324250" cy="350820"/>
            </a:xfrm>
            <a:solidFill>
              <a:schemeClr val="tx2"/>
            </a:solidFill>
          </p:grpSpPr>
          <p:grpSp>
            <p:nvGrpSpPr>
              <p:cNvPr id="169" name="Grafik 312">
                <a:extLst>
                  <a:ext uri="{FF2B5EF4-FFF2-40B4-BE49-F238E27FC236}">
                    <a16:creationId xmlns:a16="http://schemas.microsoft.com/office/drawing/2014/main" id="{1D500D87-3E5A-4EEF-9B6E-6CAE6CC021A6}"/>
                  </a:ext>
                </a:extLst>
              </p:cNvPr>
              <p:cNvGrpSpPr/>
              <p:nvPr/>
            </p:nvGrpSpPr>
            <p:grpSpPr>
              <a:xfrm>
                <a:off x="1864275" y="3342566"/>
                <a:ext cx="163264" cy="182093"/>
                <a:chOff x="1864275" y="3342566"/>
                <a:chExt cx="163264" cy="182093"/>
              </a:xfrm>
              <a:grpFill/>
            </p:grpSpPr>
            <p:sp>
              <p:nvSpPr>
                <p:cNvPr id="182" name="Freihandform: Form 491">
                  <a:extLst>
                    <a:ext uri="{FF2B5EF4-FFF2-40B4-BE49-F238E27FC236}">
                      <a16:creationId xmlns:a16="http://schemas.microsoft.com/office/drawing/2014/main" id="{8A30B429-3937-49F9-A26E-328E2CA04D85}"/>
                    </a:ext>
                  </a:extLst>
                </p:cNvPr>
                <p:cNvSpPr/>
                <p:nvPr/>
              </p:nvSpPr>
              <p:spPr>
                <a:xfrm>
                  <a:off x="1897685" y="3404932"/>
                  <a:ext cx="30002" cy="28513"/>
                </a:xfrm>
                <a:custGeom>
                  <a:avLst/>
                  <a:gdLst>
                    <a:gd name="connsiteX0" fmla="*/ 6663 w 30002"/>
                    <a:gd name="connsiteY0" fmla="*/ 28513 h 28513"/>
                    <a:gd name="connsiteX1" fmla="*/ 6379 w 30002"/>
                    <a:gd name="connsiteY1" fmla="*/ 28513 h 28513"/>
                    <a:gd name="connsiteX2" fmla="*/ 6 w 30002"/>
                    <a:gd name="connsiteY2" fmla="*/ 21598 h 28513"/>
                    <a:gd name="connsiteX3" fmla="*/ 7411 w 30002"/>
                    <a:gd name="connsiteY3" fmla="*/ 5729 h 28513"/>
                    <a:gd name="connsiteX4" fmla="*/ 23771 w 30002"/>
                    <a:gd name="connsiteY4" fmla="*/ 52 h 28513"/>
                    <a:gd name="connsiteX5" fmla="*/ 29989 w 30002"/>
                    <a:gd name="connsiteY5" fmla="*/ 7097 h 28513"/>
                    <a:gd name="connsiteX6" fmla="*/ 22945 w 30002"/>
                    <a:gd name="connsiteY6" fmla="*/ 13315 h 28513"/>
                    <a:gd name="connsiteX7" fmla="*/ 16339 w 30002"/>
                    <a:gd name="connsiteY7" fmla="*/ 15612 h 28513"/>
                    <a:gd name="connsiteX8" fmla="*/ 13320 w 30002"/>
                    <a:gd name="connsiteY8" fmla="*/ 22166 h 28513"/>
                    <a:gd name="connsiteX9" fmla="*/ 6663 w 30002"/>
                    <a:gd name="connsiteY9" fmla="*/ 28513 h 28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02" h="28513">
                      <a:moveTo>
                        <a:pt x="6663" y="28513"/>
                      </a:moveTo>
                      <a:cubicBezTo>
                        <a:pt x="6560" y="28513"/>
                        <a:pt x="6483" y="28513"/>
                        <a:pt x="6379" y="28513"/>
                      </a:cubicBezTo>
                      <a:cubicBezTo>
                        <a:pt x="2715" y="28358"/>
                        <a:pt x="-149" y="25262"/>
                        <a:pt x="6" y="21598"/>
                      </a:cubicBezTo>
                      <a:cubicBezTo>
                        <a:pt x="264" y="15431"/>
                        <a:pt x="2896" y="9806"/>
                        <a:pt x="7411" y="5729"/>
                      </a:cubicBezTo>
                      <a:cubicBezTo>
                        <a:pt x="11901" y="1678"/>
                        <a:pt x="17707" y="-361"/>
                        <a:pt x="23771" y="52"/>
                      </a:cubicBezTo>
                      <a:cubicBezTo>
                        <a:pt x="27435" y="285"/>
                        <a:pt x="30222" y="3433"/>
                        <a:pt x="29989" y="7097"/>
                      </a:cubicBezTo>
                      <a:cubicBezTo>
                        <a:pt x="29757" y="10761"/>
                        <a:pt x="26635" y="13496"/>
                        <a:pt x="22945" y="13315"/>
                      </a:cubicBezTo>
                      <a:cubicBezTo>
                        <a:pt x="20442" y="13160"/>
                        <a:pt x="18146" y="13960"/>
                        <a:pt x="16339" y="15612"/>
                      </a:cubicBezTo>
                      <a:cubicBezTo>
                        <a:pt x="14482" y="17289"/>
                        <a:pt x="13424" y="19611"/>
                        <a:pt x="13320" y="22166"/>
                      </a:cubicBezTo>
                      <a:cubicBezTo>
                        <a:pt x="13166" y="25701"/>
                        <a:pt x="10224" y="28513"/>
                        <a:pt x="6663" y="28513"/>
                      </a:cubicBezTo>
                      <a:close/>
                    </a:path>
                  </a:pathLst>
                </a:custGeom>
                <a:grpFill/>
                <a:ln w="2573" cap="flat">
                  <a:noFill/>
                  <a:prstDash val="solid"/>
                  <a:miter/>
                </a:ln>
              </p:spPr>
              <p:txBody>
                <a:bodyPr rtlCol="0" anchor="ctr"/>
                <a:lstStyle/>
                <a:p>
                  <a:endParaRPr lang="en-GB" dirty="0"/>
                </a:p>
              </p:txBody>
            </p:sp>
            <p:grpSp>
              <p:nvGrpSpPr>
                <p:cNvPr id="183" name="Grafik 312">
                  <a:extLst>
                    <a:ext uri="{FF2B5EF4-FFF2-40B4-BE49-F238E27FC236}">
                      <a16:creationId xmlns:a16="http://schemas.microsoft.com/office/drawing/2014/main" id="{3756D878-86BA-4674-840A-9B3A76F31512}"/>
                    </a:ext>
                  </a:extLst>
                </p:cNvPr>
                <p:cNvGrpSpPr/>
                <p:nvPr/>
              </p:nvGrpSpPr>
              <p:grpSpPr>
                <a:xfrm>
                  <a:off x="1864275" y="3342566"/>
                  <a:ext cx="163264" cy="182093"/>
                  <a:chOff x="1864275" y="3342566"/>
                  <a:chExt cx="163264" cy="182093"/>
                </a:xfrm>
                <a:grpFill/>
              </p:grpSpPr>
              <p:sp>
                <p:nvSpPr>
                  <p:cNvPr id="184" name="Freihandform: Form 493">
                    <a:extLst>
                      <a:ext uri="{FF2B5EF4-FFF2-40B4-BE49-F238E27FC236}">
                        <a16:creationId xmlns:a16="http://schemas.microsoft.com/office/drawing/2014/main" id="{558B897B-10BC-4D2D-B538-23334556EF2D}"/>
                      </a:ext>
                    </a:extLst>
                  </p:cNvPr>
                  <p:cNvSpPr/>
                  <p:nvPr/>
                </p:nvSpPr>
                <p:spPr>
                  <a:xfrm>
                    <a:off x="1864275" y="3342566"/>
                    <a:ext cx="163264" cy="182093"/>
                  </a:xfrm>
                  <a:custGeom>
                    <a:avLst/>
                    <a:gdLst>
                      <a:gd name="connsiteX0" fmla="*/ 6657 w 163264"/>
                      <a:gd name="connsiteY0" fmla="*/ 182093 h 182093"/>
                      <a:gd name="connsiteX1" fmla="*/ 0 w 163264"/>
                      <a:gd name="connsiteY1" fmla="*/ 175436 h 182093"/>
                      <a:gd name="connsiteX2" fmla="*/ 0 w 163264"/>
                      <a:gd name="connsiteY2" fmla="*/ 165450 h 182093"/>
                      <a:gd name="connsiteX3" fmla="*/ 7818 w 163264"/>
                      <a:gd name="connsiteY3" fmla="*/ 146149 h 182093"/>
                      <a:gd name="connsiteX4" fmla="*/ 8850 w 163264"/>
                      <a:gd name="connsiteY4" fmla="*/ 145091 h 182093"/>
                      <a:gd name="connsiteX5" fmla="*/ 9986 w 163264"/>
                      <a:gd name="connsiteY5" fmla="*/ 132396 h 182093"/>
                      <a:gd name="connsiteX6" fmla="*/ 5909 w 163264"/>
                      <a:gd name="connsiteY6" fmla="*/ 126306 h 182093"/>
                      <a:gd name="connsiteX7" fmla="*/ 0 w 163264"/>
                      <a:gd name="connsiteY7" fmla="*/ 106722 h 182093"/>
                      <a:gd name="connsiteX8" fmla="*/ 0 w 163264"/>
                      <a:gd name="connsiteY8" fmla="*/ 45826 h 182093"/>
                      <a:gd name="connsiteX9" fmla="*/ 52535 w 163264"/>
                      <a:gd name="connsiteY9" fmla="*/ 0 h 182093"/>
                      <a:gd name="connsiteX10" fmla="*/ 105045 w 163264"/>
                      <a:gd name="connsiteY10" fmla="*/ 45826 h 182093"/>
                      <a:gd name="connsiteX11" fmla="*/ 104967 w 163264"/>
                      <a:gd name="connsiteY11" fmla="*/ 48252 h 182093"/>
                      <a:gd name="connsiteX12" fmla="*/ 140937 w 163264"/>
                      <a:gd name="connsiteY12" fmla="*/ 101535 h 182093"/>
                      <a:gd name="connsiteX13" fmla="*/ 140111 w 163264"/>
                      <a:gd name="connsiteY13" fmla="*/ 110670 h 182093"/>
                      <a:gd name="connsiteX14" fmla="*/ 162173 w 163264"/>
                      <a:gd name="connsiteY14" fmla="*/ 132035 h 182093"/>
                      <a:gd name="connsiteX15" fmla="*/ 160289 w 163264"/>
                      <a:gd name="connsiteY15" fmla="*/ 141247 h 182093"/>
                      <a:gd name="connsiteX16" fmla="*/ 151078 w 163264"/>
                      <a:gd name="connsiteY16" fmla="*/ 139363 h 182093"/>
                      <a:gd name="connsiteX17" fmla="*/ 129403 w 163264"/>
                      <a:gd name="connsiteY17" fmla="*/ 119804 h 182093"/>
                      <a:gd name="connsiteX18" fmla="*/ 126152 w 163264"/>
                      <a:gd name="connsiteY18" fmla="*/ 112192 h 182093"/>
                      <a:gd name="connsiteX19" fmla="*/ 127648 w 163264"/>
                      <a:gd name="connsiteY19" fmla="*/ 101535 h 182093"/>
                      <a:gd name="connsiteX20" fmla="*/ 95240 w 163264"/>
                      <a:gd name="connsiteY20" fmla="*/ 58470 h 182093"/>
                      <a:gd name="connsiteX21" fmla="*/ 91214 w 163264"/>
                      <a:gd name="connsiteY21" fmla="*/ 51039 h 182093"/>
                      <a:gd name="connsiteX22" fmla="*/ 91756 w 163264"/>
                      <a:gd name="connsiteY22" fmla="*/ 45852 h 182093"/>
                      <a:gd name="connsiteX23" fmla="*/ 52535 w 163264"/>
                      <a:gd name="connsiteY23" fmla="*/ 13314 h 182093"/>
                      <a:gd name="connsiteX24" fmla="*/ 13314 w 163264"/>
                      <a:gd name="connsiteY24" fmla="*/ 45852 h 182093"/>
                      <a:gd name="connsiteX25" fmla="*/ 13314 w 163264"/>
                      <a:gd name="connsiteY25" fmla="*/ 106748 h 182093"/>
                      <a:gd name="connsiteX26" fmla="*/ 16978 w 163264"/>
                      <a:gd name="connsiteY26" fmla="*/ 118953 h 182093"/>
                      <a:gd name="connsiteX27" fmla="*/ 21055 w 163264"/>
                      <a:gd name="connsiteY27" fmla="*/ 125042 h 182093"/>
                      <a:gd name="connsiteX28" fmla="*/ 18372 w 163264"/>
                      <a:gd name="connsiteY28" fmla="*/ 154406 h 182093"/>
                      <a:gd name="connsiteX29" fmla="*/ 17340 w 163264"/>
                      <a:gd name="connsiteY29" fmla="*/ 155464 h 182093"/>
                      <a:gd name="connsiteX30" fmla="*/ 13314 w 163264"/>
                      <a:gd name="connsiteY30" fmla="*/ 165476 h 182093"/>
                      <a:gd name="connsiteX31" fmla="*/ 13314 w 163264"/>
                      <a:gd name="connsiteY31" fmla="*/ 175462 h 182093"/>
                      <a:gd name="connsiteX32" fmla="*/ 6657 w 163264"/>
                      <a:gd name="connsiteY32" fmla="*/ 182093 h 18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3264" h="182093">
                        <a:moveTo>
                          <a:pt x="6657" y="182093"/>
                        </a:moveTo>
                        <a:cubicBezTo>
                          <a:pt x="2993" y="182093"/>
                          <a:pt x="0" y="179126"/>
                          <a:pt x="0" y="175436"/>
                        </a:cubicBezTo>
                        <a:lnTo>
                          <a:pt x="0" y="165450"/>
                        </a:lnTo>
                        <a:cubicBezTo>
                          <a:pt x="0" y="158174"/>
                          <a:pt x="2787" y="151310"/>
                          <a:pt x="7818" y="146149"/>
                        </a:cubicBezTo>
                        <a:lnTo>
                          <a:pt x="8850" y="145091"/>
                        </a:lnTo>
                        <a:cubicBezTo>
                          <a:pt x="12153" y="141711"/>
                          <a:pt x="12644" y="136370"/>
                          <a:pt x="9986" y="132396"/>
                        </a:cubicBezTo>
                        <a:lnTo>
                          <a:pt x="5909" y="126306"/>
                        </a:lnTo>
                        <a:cubicBezTo>
                          <a:pt x="2038" y="120501"/>
                          <a:pt x="0" y="113740"/>
                          <a:pt x="0" y="106722"/>
                        </a:cubicBezTo>
                        <a:lnTo>
                          <a:pt x="0" y="45826"/>
                        </a:lnTo>
                        <a:cubicBezTo>
                          <a:pt x="0" y="20565"/>
                          <a:pt x="23558" y="0"/>
                          <a:pt x="52535" y="0"/>
                        </a:cubicBezTo>
                        <a:cubicBezTo>
                          <a:pt x="81486" y="0"/>
                          <a:pt x="105045" y="20565"/>
                          <a:pt x="105045" y="45826"/>
                        </a:cubicBezTo>
                        <a:cubicBezTo>
                          <a:pt x="105045" y="46626"/>
                          <a:pt x="105019" y="47426"/>
                          <a:pt x="104967" y="48252"/>
                        </a:cubicBezTo>
                        <a:cubicBezTo>
                          <a:pt x="126977" y="59012"/>
                          <a:pt x="140937" y="79448"/>
                          <a:pt x="140937" y="101535"/>
                        </a:cubicBezTo>
                        <a:cubicBezTo>
                          <a:pt x="140937" y="104529"/>
                          <a:pt x="140653" y="107573"/>
                          <a:pt x="140111" y="110670"/>
                        </a:cubicBezTo>
                        <a:cubicBezTo>
                          <a:pt x="149142" y="116321"/>
                          <a:pt x="156522" y="123494"/>
                          <a:pt x="162173" y="132035"/>
                        </a:cubicBezTo>
                        <a:cubicBezTo>
                          <a:pt x="164186" y="135105"/>
                          <a:pt x="163334" y="139234"/>
                          <a:pt x="160289" y="141247"/>
                        </a:cubicBezTo>
                        <a:cubicBezTo>
                          <a:pt x="157219" y="143259"/>
                          <a:pt x="153090" y="142433"/>
                          <a:pt x="151078" y="139363"/>
                        </a:cubicBezTo>
                        <a:cubicBezTo>
                          <a:pt x="145788" y="131312"/>
                          <a:pt x="138486" y="124733"/>
                          <a:pt x="129403" y="119804"/>
                        </a:cubicBezTo>
                        <a:cubicBezTo>
                          <a:pt x="126694" y="118333"/>
                          <a:pt x="125352" y="115185"/>
                          <a:pt x="126152" y="112192"/>
                        </a:cubicBezTo>
                        <a:cubicBezTo>
                          <a:pt x="127132" y="108580"/>
                          <a:pt x="127648" y="104993"/>
                          <a:pt x="127648" y="101535"/>
                        </a:cubicBezTo>
                        <a:cubicBezTo>
                          <a:pt x="127648" y="83344"/>
                          <a:pt x="114927" y="66443"/>
                          <a:pt x="95240" y="58470"/>
                        </a:cubicBezTo>
                        <a:cubicBezTo>
                          <a:pt x="92298" y="57283"/>
                          <a:pt x="90595" y="54161"/>
                          <a:pt x="91214" y="51039"/>
                        </a:cubicBezTo>
                        <a:cubicBezTo>
                          <a:pt x="91575" y="49129"/>
                          <a:pt x="91756" y="47426"/>
                          <a:pt x="91756" y="45852"/>
                        </a:cubicBezTo>
                        <a:cubicBezTo>
                          <a:pt x="91756" y="27919"/>
                          <a:pt x="74158" y="13314"/>
                          <a:pt x="52535" y="13314"/>
                        </a:cubicBezTo>
                        <a:cubicBezTo>
                          <a:pt x="30912" y="13314"/>
                          <a:pt x="13314" y="27919"/>
                          <a:pt x="13314" y="45852"/>
                        </a:cubicBezTo>
                        <a:lnTo>
                          <a:pt x="13314" y="106748"/>
                        </a:lnTo>
                        <a:cubicBezTo>
                          <a:pt x="13314" y="111109"/>
                          <a:pt x="14579" y="115340"/>
                          <a:pt x="16978" y="118953"/>
                        </a:cubicBezTo>
                        <a:lnTo>
                          <a:pt x="21055" y="125042"/>
                        </a:lnTo>
                        <a:cubicBezTo>
                          <a:pt x="27171" y="134202"/>
                          <a:pt x="26035" y="146562"/>
                          <a:pt x="18372" y="154406"/>
                        </a:cubicBezTo>
                        <a:lnTo>
                          <a:pt x="17340" y="155464"/>
                        </a:lnTo>
                        <a:cubicBezTo>
                          <a:pt x="14785" y="158096"/>
                          <a:pt x="13314" y="161734"/>
                          <a:pt x="13314" y="165476"/>
                        </a:cubicBezTo>
                        <a:lnTo>
                          <a:pt x="13314" y="175462"/>
                        </a:lnTo>
                        <a:cubicBezTo>
                          <a:pt x="13314" y="179126"/>
                          <a:pt x="10347" y="182093"/>
                          <a:pt x="6657" y="182093"/>
                        </a:cubicBezTo>
                        <a:close/>
                      </a:path>
                    </a:pathLst>
                  </a:custGeom>
                  <a:grpFill/>
                  <a:ln w="2573" cap="flat">
                    <a:noFill/>
                    <a:prstDash val="solid"/>
                    <a:miter/>
                  </a:ln>
                </p:spPr>
                <p:txBody>
                  <a:bodyPr rtlCol="0" anchor="ctr"/>
                  <a:lstStyle/>
                  <a:p>
                    <a:endParaRPr lang="en-GB" dirty="0"/>
                  </a:p>
                </p:txBody>
              </p:sp>
              <p:sp>
                <p:nvSpPr>
                  <p:cNvPr id="185" name="Freihandform: Form 494">
                    <a:extLst>
                      <a:ext uri="{FF2B5EF4-FFF2-40B4-BE49-F238E27FC236}">
                        <a16:creationId xmlns:a16="http://schemas.microsoft.com/office/drawing/2014/main" id="{4C64783B-FAF1-4AA4-B40F-312EABED644F}"/>
                      </a:ext>
                    </a:extLst>
                  </p:cNvPr>
                  <p:cNvSpPr/>
                  <p:nvPr/>
                </p:nvSpPr>
                <p:spPr>
                  <a:xfrm>
                    <a:off x="1945505" y="3388186"/>
                    <a:ext cx="23169" cy="36717"/>
                  </a:xfrm>
                  <a:custGeom>
                    <a:avLst/>
                    <a:gdLst>
                      <a:gd name="connsiteX0" fmla="*/ 6656 w 23169"/>
                      <a:gd name="connsiteY0" fmla="*/ 36718 h 36717"/>
                      <a:gd name="connsiteX1" fmla="*/ 2269 w 23169"/>
                      <a:gd name="connsiteY1" fmla="*/ 35066 h 36717"/>
                      <a:gd name="connsiteX2" fmla="*/ 1650 w 23169"/>
                      <a:gd name="connsiteY2" fmla="*/ 25674 h 36717"/>
                      <a:gd name="connsiteX3" fmla="*/ 9855 w 23169"/>
                      <a:gd name="connsiteY3" fmla="*/ 6657 h 36717"/>
                      <a:gd name="connsiteX4" fmla="*/ 16513 w 23169"/>
                      <a:gd name="connsiteY4" fmla="*/ 0 h 36717"/>
                      <a:gd name="connsiteX5" fmla="*/ 23170 w 23169"/>
                      <a:gd name="connsiteY5" fmla="*/ 6657 h 36717"/>
                      <a:gd name="connsiteX6" fmla="*/ 11687 w 23169"/>
                      <a:gd name="connsiteY6" fmla="*/ 34421 h 36717"/>
                      <a:gd name="connsiteX7" fmla="*/ 6656 w 23169"/>
                      <a:gd name="connsiteY7" fmla="*/ 36718 h 36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69" h="36717">
                        <a:moveTo>
                          <a:pt x="6656" y="36718"/>
                        </a:moveTo>
                        <a:cubicBezTo>
                          <a:pt x="5108" y="36718"/>
                          <a:pt x="3534" y="36176"/>
                          <a:pt x="2269" y="35066"/>
                        </a:cubicBezTo>
                        <a:cubicBezTo>
                          <a:pt x="-492" y="32641"/>
                          <a:pt x="-776" y="28435"/>
                          <a:pt x="1650" y="25674"/>
                        </a:cubicBezTo>
                        <a:cubicBezTo>
                          <a:pt x="7172" y="19378"/>
                          <a:pt x="9855" y="13160"/>
                          <a:pt x="9855" y="6657"/>
                        </a:cubicBezTo>
                        <a:cubicBezTo>
                          <a:pt x="9855" y="2993"/>
                          <a:pt x="12823" y="0"/>
                          <a:pt x="16513" y="0"/>
                        </a:cubicBezTo>
                        <a:cubicBezTo>
                          <a:pt x="20177" y="0"/>
                          <a:pt x="23170" y="2967"/>
                          <a:pt x="23170" y="6657"/>
                        </a:cubicBezTo>
                        <a:cubicBezTo>
                          <a:pt x="23170" y="16385"/>
                          <a:pt x="19299" y="25726"/>
                          <a:pt x="11687" y="34421"/>
                        </a:cubicBezTo>
                        <a:cubicBezTo>
                          <a:pt x="10346" y="35944"/>
                          <a:pt x="8514" y="36718"/>
                          <a:pt x="6656" y="36718"/>
                        </a:cubicBezTo>
                        <a:close/>
                      </a:path>
                    </a:pathLst>
                  </a:custGeom>
                  <a:grpFill/>
                  <a:ln w="2573" cap="flat">
                    <a:noFill/>
                    <a:prstDash val="solid"/>
                    <a:miter/>
                  </a:ln>
                </p:spPr>
                <p:txBody>
                  <a:bodyPr rtlCol="0" anchor="ctr"/>
                  <a:lstStyle/>
                  <a:p>
                    <a:endParaRPr lang="en-GB" dirty="0"/>
                  </a:p>
                </p:txBody>
              </p:sp>
              <p:sp>
                <p:nvSpPr>
                  <p:cNvPr id="186" name="Freihandform: Form 495">
                    <a:extLst>
                      <a:ext uri="{FF2B5EF4-FFF2-40B4-BE49-F238E27FC236}">
                        <a16:creationId xmlns:a16="http://schemas.microsoft.com/office/drawing/2014/main" id="{7E10C445-B076-47D1-AAC9-D9FBD3969DDB}"/>
                      </a:ext>
                    </a:extLst>
                  </p:cNvPr>
                  <p:cNvSpPr/>
                  <p:nvPr/>
                </p:nvSpPr>
                <p:spPr>
                  <a:xfrm>
                    <a:off x="1943767" y="3445805"/>
                    <a:ext cx="72637" cy="26345"/>
                  </a:xfrm>
                  <a:custGeom>
                    <a:avLst/>
                    <a:gdLst>
                      <a:gd name="connsiteX0" fmla="*/ 65961 w 72637"/>
                      <a:gd name="connsiteY0" fmla="*/ 26345 h 26345"/>
                      <a:gd name="connsiteX1" fmla="*/ 61885 w 72637"/>
                      <a:gd name="connsiteY1" fmla="*/ 24952 h 26345"/>
                      <a:gd name="connsiteX2" fmla="*/ 29450 w 72637"/>
                      <a:gd name="connsiteY2" fmla="*/ 13315 h 26345"/>
                      <a:gd name="connsiteX3" fmla="*/ 9169 w 72637"/>
                      <a:gd name="connsiteY3" fmla="*/ 17288 h 26345"/>
                      <a:gd name="connsiteX4" fmla="*/ 499 w 72637"/>
                      <a:gd name="connsiteY4" fmla="*/ 13650 h 26345"/>
                      <a:gd name="connsiteX5" fmla="*/ 4137 w 72637"/>
                      <a:gd name="connsiteY5" fmla="*/ 4980 h 26345"/>
                      <a:gd name="connsiteX6" fmla="*/ 29476 w 72637"/>
                      <a:gd name="connsiteY6" fmla="*/ 0 h 26345"/>
                      <a:gd name="connsiteX7" fmla="*/ 70064 w 72637"/>
                      <a:gd name="connsiteY7" fmla="*/ 14424 h 26345"/>
                      <a:gd name="connsiteX8" fmla="*/ 71251 w 72637"/>
                      <a:gd name="connsiteY8" fmla="*/ 23765 h 26345"/>
                      <a:gd name="connsiteX9" fmla="*/ 65961 w 72637"/>
                      <a:gd name="connsiteY9" fmla="*/ 26345 h 2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637" h="26345">
                        <a:moveTo>
                          <a:pt x="65961" y="26345"/>
                        </a:moveTo>
                        <a:cubicBezTo>
                          <a:pt x="64542" y="26345"/>
                          <a:pt x="63097" y="25881"/>
                          <a:pt x="61885" y="24952"/>
                        </a:cubicBezTo>
                        <a:cubicBezTo>
                          <a:pt x="51950" y="17237"/>
                          <a:pt x="41036" y="13315"/>
                          <a:pt x="29450" y="13315"/>
                        </a:cubicBezTo>
                        <a:cubicBezTo>
                          <a:pt x="22431" y="13315"/>
                          <a:pt x="15619" y="14656"/>
                          <a:pt x="9169" y="17288"/>
                        </a:cubicBezTo>
                        <a:cubicBezTo>
                          <a:pt x="5763" y="18707"/>
                          <a:pt x="1892" y="17056"/>
                          <a:pt x="499" y="13650"/>
                        </a:cubicBezTo>
                        <a:cubicBezTo>
                          <a:pt x="-895" y="10244"/>
                          <a:pt x="731" y="6373"/>
                          <a:pt x="4137" y="4980"/>
                        </a:cubicBezTo>
                        <a:cubicBezTo>
                          <a:pt x="12188" y="1677"/>
                          <a:pt x="20728" y="0"/>
                          <a:pt x="29476" y="0"/>
                        </a:cubicBezTo>
                        <a:cubicBezTo>
                          <a:pt x="44080" y="0"/>
                          <a:pt x="57730" y="4851"/>
                          <a:pt x="70064" y="14424"/>
                        </a:cubicBezTo>
                        <a:cubicBezTo>
                          <a:pt x="72954" y="16669"/>
                          <a:pt x="73496" y="20849"/>
                          <a:pt x="71251" y="23765"/>
                        </a:cubicBezTo>
                        <a:cubicBezTo>
                          <a:pt x="69909" y="25442"/>
                          <a:pt x="67948" y="26345"/>
                          <a:pt x="65961" y="26345"/>
                        </a:cubicBezTo>
                        <a:close/>
                      </a:path>
                    </a:pathLst>
                  </a:custGeom>
                  <a:grpFill/>
                  <a:ln w="2573" cap="flat">
                    <a:noFill/>
                    <a:prstDash val="solid"/>
                    <a:miter/>
                  </a:ln>
                </p:spPr>
                <p:txBody>
                  <a:bodyPr rtlCol="0" anchor="ctr"/>
                  <a:lstStyle/>
                  <a:p>
                    <a:endParaRPr lang="en-GB" dirty="0"/>
                  </a:p>
                </p:txBody>
              </p:sp>
              <p:sp>
                <p:nvSpPr>
                  <p:cNvPr id="187" name="Freihandform: Form 496">
                    <a:extLst>
                      <a:ext uri="{FF2B5EF4-FFF2-40B4-BE49-F238E27FC236}">
                        <a16:creationId xmlns:a16="http://schemas.microsoft.com/office/drawing/2014/main" id="{BC479BDD-4057-419A-A4A9-02FB121E419B}"/>
                      </a:ext>
                    </a:extLst>
                  </p:cNvPr>
                  <p:cNvSpPr/>
                  <p:nvPr/>
                </p:nvSpPr>
                <p:spPr>
                  <a:xfrm>
                    <a:off x="1871090" y="3478549"/>
                    <a:ext cx="35435" cy="20642"/>
                  </a:xfrm>
                  <a:custGeom>
                    <a:avLst/>
                    <a:gdLst>
                      <a:gd name="connsiteX0" fmla="*/ 6655 w 35435"/>
                      <a:gd name="connsiteY0" fmla="*/ 20642 h 20642"/>
                      <a:gd name="connsiteX1" fmla="*/ 2010 w 35435"/>
                      <a:gd name="connsiteY1" fmla="*/ 18758 h 20642"/>
                      <a:gd name="connsiteX2" fmla="*/ 1881 w 35435"/>
                      <a:gd name="connsiteY2" fmla="*/ 9340 h 20642"/>
                      <a:gd name="connsiteX3" fmla="*/ 30110 w 35435"/>
                      <a:gd name="connsiteY3" fmla="*/ 619 h 20642"/>
                      <a:gd name="connsiteX4" fmla="*/ 35296 w 35435"/>
                      <a:gd name="connsiteY4" fmla="*/ 8463 h 20642"/>
                      <a:gd name="connsiteX5" fmla="*/ 27452 w 35435"/>
                      <a:gd name="connsiteY5" fmla="*/ 13649 h 20642"/>
                      <a:gd name="connsiteX6" fmla="*/ 11402 w 35435"/>
                      <a:gd name="connsiteY6" fmla="*/ 18629 h 20642"/>
                      <a:gd name="connsiteX7" fmla="*/ 6655 w 35435"/>
                      <a:gd name="connsiteY7" fmla="*/ 20642 h 20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35" h="20642">
                        <a:moveTo>
                          <a:pt x="6655" y="20642"/>
                        </a:moveTo>
                        <a:cubicBezTo>
                          <a:pt x="4977" y="20642"/>
                          <a:pt x="3300" y="20023"/>
                          <a:pt x="2010" y="18758"/>
                        </a:cubicBezTo>
                        <a:cubicBezTo>
                          <a:pt x="-622" y="16204"/>
                          <a:pt x="-674" y="11972"/>
                          <a:pt x="1881" y="9340"/>
                        </a:cubicBezTo>
                        <a:cubicBezTo>
                          <a:pt x="9209" y="1806"/>
                          <a:pt x="19917" y="-1471"/>
                          <a:pt x="30110" y="619"/>
                        </a:cubicBezTo>
                        <a:cubicBezTo>
                          <a:pt x="33696" y="1341"/>
                          <a:pt x="36044" y="4850"/>
                          <a:pt x="35296" y="8463"/>
                        </a:cubicBezTo>
                        <a:cubicBezTo>
                          <a:pt x="34574" y="12076"/>
                          <a:pt x="31064" y="14398"/>
                          <a:pt x="27452" y="13649"/>
                        </a:cubicBezTo>
                        <a:cubicBezTo>
                          <a:pt x="21672" y="12488"/>
                          <a:pt x="15582" y="14346"/>
                          <a:pt x="11402" y="18629"/>
                        </a:cubicBezTo>
                        <a:cubicBezTo>
                          <a:pt x="10112" y="19971"/>
                          <a:pt x="8383" y="20642"/>
                          <a:pt x="6655" y="20642"/>
                        </a:cubicBezTo>
                        <a:close/>
                      </a:path>
                    </a:pathLst>
                  </a:custGeom>
                  <a:grpFill/>
                  <a:ln w="2573" cap="flat">
                    <a:noFill/>
                    <a:prstDash val="solid"/>
                    <a:miter/>
                  </a:ln>
                </p:spPr>
                <p:txBody>
                  <a:bodyPr rtlCol="0" anchor="ctr"/>
                  <a:lstStyle/>
                  <a:p>
                    <a:endParaRPr lang="en-GB" dirty="0"/>
                  </a:p>
                </p:txBody>
              </p:sp>
            </p:grpSp>
          </p:grpSp>
          <p:grpSp>
            <p:nvGrpSpPr>
              <p:cNvPr id="170" name="Grafik 312">
                <a:extLst>
                  <a:ext uri="{FF2B5EF4-FFF2-40B4-BE49-F238E27FC236}">
                    <a16:creationId xmlns:a16="http://schemas.microsoft.com/office/drawing/2014/main" id="{CBF75233-DA39-4435-888F-82DC64AD24C4}"/>
                  </a:ext>
                </a:extLst>
              </p:cNvPr>
              <p:cNvGrpSpPr/>
              <p:nvPr/>
            </p:nvGrpSpPr>
            <p:grpSpPr>
              <a:xfrm>
                <a:off x="1703289" y="3342592"/>
                <a:ext cx="174042" cy="350794"/>
                <a:chOff x="1703289" y="3342592"/>
                <a:chExt cx="174042" cy="350794"/>
              </a:xfrm>
              <a:grpFill/>
            </p:grpSpPr>
            <p:sp>
              <p:nvSpPr>
                <p:cNvPr id="171" name="Freihandform: Form 498">
                  <a:extLst>
                    <a:ext uri="{FF2B5EF4-FFF2-40B4-BE49-F238E27FC236}">
                      <a16:creationId xmlns:a16="http://schemas.microsoft.com/office/drawing/2014/main" id="{43C9C013-9168-450B-98E1-4911338CF8E4}"/>
                    </a:ext>
                  </a:extLst>
                </p:cNvPr>
                <p:cNvSpPr/>
                <p:nvPr/>
              </p:nvSpPr>
              <p:spPr>
                <a:xfrm>
                  <a:off x="1813920" y="3404906"/>
                  <a:ext cx="30002" cy="28539"/>
                </a:xfrm>
                <a:custGeom>
                  <a:avLst/>
                  <a:gdLst>
                    <a:gd name="connsiteX0" fmla="*/ 23314 w 30002"/>
                    <a:gd name="connsiteY0" fmla="*/ 28539 h 28539"/>
                    <a:gd name="connsiteX1" fmla="*/ 16682 w 30002"/>
                    <a:gd name="connsiteY1" fmla="*/ 22166 h 28539"/>
                    <a:gd name="connsiteX2" fmla="*/ 13663 w 30002"/>
                    <a:gd name="connsiteY2" fmla="*/ 15612 h 28539"/>
                    <a:gd name="connsiteX3" fmla="*/ 7058 w 30002"/>
                    <a:gd name="connsiteY3" fmla="*/ 13315 h 28539"/>
                    <a:gd name="connsiteX4" fmla="*/ 14 w 30002"/>
                    <a:gd name="connsiteY4" fmla="*/ 7097 h 28539"/>
                    <a:gd name="connsiteX5" fmla="*/ 6232 w 30002"/>
                    <a:gd name="connsiteY5" fmla="*/ 52 h 28539"/>
                    <a:gd name="connsiteX6" fmla="*/ 22591 w 30002"/>
                    <a:gd name="connsiteY6" fmla="*/ 5729 h 28539"/>
                    <a:gd name="connsiteX7" fmla="*/ 29997 w 30002"/>
                    <a:gd name="connsiteY7" fmla="*/ 21598 h 28539"/>
                    <a:gd name="connsiteX8" fmla="*/ 23623 w 30002"/>
                    <a:gd name="connsiteY8" fmla="*/ 28513 h 28539"/>
                    <a:gd name="connsiteX9" fmla="*/ 23314 w 30002"/>
                    <a:gd name="connsiteY9" fmla="*/ 28539 h 28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002" h="28539">
                      <a:moveTo>
                        <a:pt x="23314" y="28539"/>
                      </a:moveTo>
                      <a:cubicBezTo>
                        <a:pt x="19753" y="28539"/>
                        <a:pt x="16811" y="25752"/>
                        <a:pt x="16682" y="22166"/>
                      </a:cubicBezTo>
                      <a:cubicBezTo>
                        <a:pt x="16579" y="19611"/>
                        <a:pt x="15495" y="17289"/>
                        <a:pt x="13663" y="15612"/>
                      </a:cubicBezTo>
                      <a:cubicBezTo>
                        <a:pt x="11857" y="13986"/>
                        <a:pt x="9509" y="13186"/>
                        <a:pt x="7058" y="13315"/>
                      </a:cubicBezTo>
                      <a:cubicBezTo>
                        <a:pt x="3394" y="13496"/>
                        <a:pt x="220" y="10761"/>
                        <a:pt x="14" y="7097"/>
                      </a:cubicBezTo>
                      <a:cubicBezTo>
                        <a:pt x="-219" y="3433"/>
                        <a:pt x="2568" y="285"/>
                        <a:pt x="6232" y="52"/>
                      </a:cubicBezTo>
                      <a:cubicBezTo>
                        <a:pt x="12244" y="-361"/>
                        <a:pt x="18102" y="1678"/>
                        <a:pt x="22591" y="5729"/>
                      </a:cubicBezTo>
                      <a:cubicBezTo>
                        <a:pt x="27133" y="9806"/>
                        <a:pt x="29765" y="15457"/>
                        <a:pt x="29997" y="21598"/>
                      </a:cubicBezTo>
                      <a:cubicBezTo>
                        <a:pt x="30152" y="25262"/>
                        <a:pt x="27288" y="28358"/>
                        <a:pt x="23623" y="28513"/>
                      </a:cubicBezTo>
                      <a:cubicBezTo>
                        <a:pt x="23494" y="28539"/>
                        <a:pt x="23417" y="28539"/>
                        <a:pt x="23314" y="28539"/>
                      </a:cubicBezTo>
                      <a:close/>
                    </a:path>
                  </a:pathLst>
                </a:custGeom>
                <a:grpFill/>
                <a:ln w="2573" cap="flat">
                  <a:noFill/>
                  <a:prstDash val="solid"/>
                  <a:miter/>
                </a:ln>
              </p:spPr>
              <p:txBody>
                <a:bodyPr rtlCol="0" anchor="ctr"/>
                <a:lstStyle/>
                <a:p>
                  <a:endParaRPr lang="en-GB" dirty="0"/>
                </a:p>
              </p:txBody>
            </p:sp>
            <p:grpSp>
              <p:nvGrpSpPr>
                <p:cNvPr id="172" name="Grafik 312">
                  <a:extLst>
                    <a:ext uri="{FF2B5EF4-FFF2-40B4-BE49-F238E27FC236}">
                      <a16:creationId xmlns:a16="http://schemas.microsoft.com/office/drawing/2014/main" id="{F93B9B74-7BFA-4432-B166-C93F04A5F890}"/>
                    </a:ext>
                  </a:extLst>
                </p:cNvPr>
                <p:cNvGrpSpPr/>
                <p:nvPr/>
              </p:nvGrpSpPr>
              <p:grpSpPr>
                <a:xfrm>
                  <a:off x="1776790" y="3517863"/>
                  <a:ext cx="66690" cy="61705"/>
                  <a:chOff x="1776790" y="3517863"/>
                  <a:chExt cx="66690" cy="61705"/>
                </a:xfrm>
                <a:grpFill/>
              </p:grpSpPr>
              <p:sp>
                <p:nvSpPr>
                  <p:cNvPr id="180" name="Freihandform: Form 500">
                    <a:extLst>
                      <a:ext uri="{FF2B5EF4-FFF2-40B4-BE49-F238E27FC236}">
                        <a16:creationId xmlns:a16="http://schemas.microsoft.com/office/drawing/2014/main" id="{50A416F2-48E9-45DE-A060-7B86D60BDF0D}"/>
                      </a:ext>
                    </a:extLst>
                  </p:cNvPr>
                  <p:cNvSpPr/>
                  <p:nvPr/>
                </p:nvSpPr>
                <p:spPr>
                  <a:xfrm>
                    <a:off x="1776790" y="3541184"/>
                    <a:ext cx="38202" cy="38384"/>
                  </a:xfrm>
                  <a:custGeom>
                    <a:avLst/>
                    <a:gdLst>
                      <a:gd name="connsiteX0" fmla="*/ 29609 w 38202"/>
                      <a:gd name="connsiteY0" fmla="*/ 38385 h 38384"/>
                      <a:gd name="connsiteX1" fmla="*/ 26538 w 38202"/>
                      <a:gd name="connsiteY1" fmla="*/ 37636 h 38384"/>
                      <a:gd name="connsiteX2" fmla="*/ 23726 w 38202"/>
                      <a:gd name="connsiteY2" fmla="*/ 28657 h 38384"/>
                      <a:gd name="connsiteX3" fmla="*/ 19597 w 38202"/>
                      <a:gd name="connsiteY3" fmla="*/ 14517 h 38384"/>
                      <a:gd name="connsiteX4" fmla="*/ 10024 w 38202"/>
                      <a:gd name="connsiteY4" fmla="*/ 14672 h 38384"/>
                      <a:gd name="connsiteX5" fmla="*/ 916 w 38202"/>
                      <a:gd name="connsiteY5" fmla="*/ 12298 h 38384"/>
                      <a:gd name="connsiteX6" fmla="*/ 3289 w 38202"/>
                      <a:gd name="connsiteY6" fmla="*/ 3189 h 38384"/>
                      <a:gd name="connsiteX7" fmla="*/ 25970 w 38202"/>
                      <a:gd name="connsiteY7" fmla="*/ 2854 h 38384"/>
                      <a:gd name="connsiteX8" fmla="*/ 35492 w 38202"/>
                      <a:gd name="connsiteY8" fmla="*/ 34824 h 38384"/>
                      <a:gd name="connsiteX9" fmla="*/ 29609 w 38202"/>
                      <a:gd name="connsiteY9" fmla="*/ 38385 h 3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02" h="38384">
                        <a:moveTo>
                          <a:pt x="29609" y="38385"/>
                        </a:moveTo>
                        <a:cubicBezTo>
                          <a:pt x="28577" y="38385"/>
                          <a:pt x="27519" y="38152"/>
                          <a:pt x="26538" y="37636"/>
                        </a:cubicBezTo>
                        <a:cubicBezTo>
                          <a:pt x="23287" y="35933"/>
                          <a:pt x="22023" y="31908"/>
                          <a:pt x="23726" y="28657"/>
                        </a:cubicBezTo>
                        <a:cubicBezTo>
                          <a:pt x="26383" y="23548"/>
                          <a:pt x="24525" y="17200"/>
                          <a:pt x="19597" y="14517"/>
                        </a:cubicBezTo>
                        <a:cubicBezTo>
                          <a:pt x="16578" y="12865"/>
                          <a:pt x="13017" y="12917"/>
                          <a:pt x="10024" y="14672"/>
                        </a:cubicBezTo>
                        <a:cubicBezTo>
                          <a:pt x="6850" y="16530"/>
                          <a:pt x="2773" y="15471"/>
                          <a:pt x="916" y="12298"/>
                        </a:cubicBezTo>
                        <a:cubicBezTo>
                          <a:pt x="-942" y="9124"/>
                          <a:pt x="116" y="5047"/>
                          <a:pt x="3289" y="3189"/>
                        </a:cubicBezTo>
                        <a:cubicBezTo>
                          <a:pt x="10334" y="-939"/>
                          <a:pt x="18797" y="-1068"/>
                          <a:pt x="25970" y="2854"/>
                        </a:cubicBezTo>
                        <a:cubicBezTo>
                          <a:pt x="37221" y="9021"/>
                          <a:pt x="41478" y="23341"/>
                          <a:pt x="35492" y="34824"/>
                        </a:cubicBezTo>
                        <a:cubicBezTo>
                          <a:pt x="34305" y="37095"/>
                          <a:pt x="32008" y="38385"/>
                          <a:pt x="29609" y="38385"/>
                        </a:cubicBezTo>
                        <a:close/>
                      </a:path>
                    </a:pathLst>
                  </a:custGeom>
                  <a:grpFill/>
                  <a:ln w="2573" cap="flat">
                    <a:noFill/>
                    <a:prstDash val="solid"/>
                    <a:miter/>
                  </a:ln>
                </p:spPr>
                <p:txBody>
                  <a:bodyPr rtlCol="0" anchor="ctr"/>
                  <a:lstStyle/>
                  <a:p>
                    <a:endParaRPr lang="en-GB" dirty="0"/>
                  </a:p>
                </p:txBody>
              </p:sp>
              <p:sp>
                <p:nvSpPr>
                  <p:cNvPr id="181" name="Freihandform: Form 501">
                    <a:extLst>
                      <a:ext uri="{FF2B5EF4-FFF2-40B4-BE49-F238E27FC236}">
                        <a16:creationId xmlns:a16="http://schemas.microsoft.com/office/drawing/2014/main" id="{FCF40374-C9F7-46F4-821E-7DC3FFB3055B}"/>
                      </a:ext>
                    </a:extLst>
                  </p:cNvPr>
                  <p:cNvSpPr/>
                  <p:nvPr/>
                </p:nvSpPr>
                <p:spPr>
                  <a:xfrm>
                    <a:off x="1797870" y="3517863"/>
                    <a:ext cx="45610" cy="46146"/>
                  </a:xfrm>
                  <a:custGeom>
                    <a:avLst/>
                    <a:gdLst>
                      <a:gd name="connsiteX0" fmla="*/ 9096 w 45610"/>
                      <a:gd name="connsiteY0" fmla="*/ 46147 h 46146"/>
                      <a:gd name="connsiteX1" fmla="*/ 3162 w 45610"/>
                      <a:gd name="connsiteY1" fmla="*/ 42482 h 46146"/>
                      <a:gd name="connsiteX2" fmla="*/ 3342 w 45610"/>
                      <a:gd name="connsiteY2" fmla="*/ 15467 h 46146"/>
                      <a:gd name="connsiteX3" fmla="*/ 20450 w 45610"/>
                      <a:gd name="connsiteY3" fmla="*/ 1223 h 46146"/>
                      <a:gd name="connsiteX4" fmla="*/ 42150 w 45610"/>
                      <a:gd name="connsiteY4" fmla="*/ 3494 h 46146"/>
                      <a:gd name="connsiteX5" fmla="*/ 44782 w 45610"/>
                      <a:gd name="connsiteY5" fmla="*/ 12525 h 46146"/>
                      <a:gd name="connsiteX6" fmla="*/ 35751 w 45610"/>
                      <a:gd name="connsiteY6" fmla="*/ 15157 h 46146"/>
                      <a:gd name="connsiteX7" fmla="*/ 24294 w 45610"/>
                      <a:gd name="connsiteY7" fmla="*/ 13944 h 46146"/>
                      <a:gd name="connsiteX8" fmla="*/ 15134 w 45610"/>
                      <a:gd name="connsiteY8" fmla="*/ 21634 h 46146"/>
                      <a:gd name="connsiteX9" fmla="*/ 15031 w 45610"/>
                      <a:gd name="connsiteY9" fmla="*/ 36522 h 46146"/>
                      <a:gd name="connsiteX10" fmla="*/ 12090 w 45610"/>
                      <a:gd name="connsiteY10" fmla="*/ 45450 h 46146"/>
                      <a:gd name="connsiteX11" fmla="*/ 9096 w 45610"/>
                      <a:gd name="connsiteY11" fmla="*/ 46147 h 46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610" h="46146">
                        <a:moveTo>
                          <a:pt x="9096" y="46147"/>
                        </a:moveTo>
                        <a:cubicBezTo>
                          <a:pt x="6671" y="46147"/>
                          <a:pt x="4323" y="44805"/>
                          <a:pt x="3162" y="42482"/>
                        </a:cubicBezTo>
                        <a:cubicBezTo>
                          <a:pt x="-1122" y="33993"/>
                          <a:pt x="-1044" y="23878"/>
                          <a:pt x="3342" y="15467"/>
                        </a:cubicBezTo>
                        <a:cubicBezTo>
                          <a:pt x="6980" y="8525"/>
                          <a:pt x="13044" y="3468"/>
                          <a:pt x="20450" y="1223"/>
                        </a:cubicBezTo>
                        <a:cubicBezTo>
                          <a:pt x="27752" y="-996"/>
                          <a:pt x="35441" y="-170"/>
                          <a:pt x="42150" y="3494"/>
                        </a:cubicBezTo>
                        <a:cubicBezTo>
                          <a:pt x="45376" y="5248"/>
                          <a:pt x="46563" y="9300"/>
                          <a:pt x="44782" y="12525"/>
                        </a:cubicBezTo>
                        <a:cubicBezTo>
                          <a:pt x="43028" y="15750"/>
                          <a:pt x="38976" y="16937"/>
                          <a:pt x="35751" y="15157"/>
                        </a:cubicBezTo>
                        <a:cubicBezTo>
                          <a:pt x="32216" y="13222"/>
                          <a:pt x="28139" y="12783"/>
                          <a:pt x="24294" y="13944"/>
                        </a:cubicBezTo>
                        <a:cubicBezTo>
                          <a:pt x="20347" y="15131"/>
                          <a:pt x="17095" y="17866"/>
                          <a:pt x="15134" y="21634"/>
                        </a:cubicBezTo>
                        <a:cubicBezTo>
                          <a:pt x="12709" y="26278"/>
                          <a:pt x="12683" y="31826"/>
                          <a:pt x="15031" y="36522"/>
                        </a:cubicBezTo>
                        <a:cubicBezTo>
                          <a:pt x="16683" y="39799"/>
                          <a:pt x="15367" y="43798"/>
                          <a:pt x="12090" y="45450"/>
                        </a:cubicBezTo>
                        <a:cubicBezTo>
                          <a:pt x="11109" y="45914"/>
                          <a:pt x="10103" y="46147"/>
                          <a:pt x="9096" y="46147"/>
                        </a:cubicBezTo>
                        <a:close/>
                      </a:path>
                    </a:pathLst>
                  </a:custGeom>
                  <a:grpFill/>
                  <a:ln w="2573" cap="flat">
                    <a:noFill/>
                    <a:prstDash val="solid"/>
                    <a:miter/>
                  </a:ln>
                </p:spPr>
                <p:txBody>
                  <a:bodyPr rtlCol="0" anchor="ctr"/>
                  <a:lstStyle/>
                  <a:p>
                    <a:endParaRPr lang="en-GB" dirty="0"/>
                  </a:p>
                </p:txBody>
              </p:sp>
            </p:grpSp>
            <p:grpSp>
              <p:nvGrpSpPr>
                <p:cNvPr id="173" name="Grafik 312">
                  <a:extLst>
                    <a:ext uri="{FF2B5EF4-FFF2-40B4-BE49-F238E27FC236}">
                      <a16:creationId xmlns:a16="http://schemas.microsoft.com/office/drawing/2014/main" id="{3115CAAB-0517-42AB-BD6A-F6A27162E51E}"/>
                    </a:ext>
                  </a:extLst>
                </p:cNvPr>
                <p:cNvGrpSpPr/>
                <p:nvPr/>
              </p:nvGrpSpPr>
              <p:grpSpPr>
                <a:xfrm>
                  <a:off x="1703289" y="3342592"/>
                  <a:ext cx="174042" cy="350794"/>
                  <a:chOff x="1703289" y="3342592"/>
                  <a:chExt cx="174042" cy="350794"/>
                </a:xfrm>
                <a:grpFill/>
              </p:grpSpPr>
              <p:sp>
                <p:nvSpPr>
                  <p:cNvPr id="174" name="Freihandform: Form 503">
                    <a:extLst>
                      <a:ext uri="{FF2B5EF4-FFF2-40B4-BE49-F238E27FC236}">
                        <a16:creationId xmlns:a16="http://schemas.microsoft.com/office/drawing/2014/main" id="{69809FA1-1DC7-425E-AF00-46412B336B2D}"/>
                      </a:ext>
                    </a:extLst>
                  </p:cNvPr>
                  <p:cNvSpPr/>
                  <p:nvPr/>
                </p:nvSpPr>
                <p:spPr>
                  <a:xfrm>
                    <a:off x="1703289" y="3342592"/>
                    <a:ext cx="174042" cy="350794"/>
                  </a:xfrm>
                  <a:custGeom>
                    <a:avLst/>
                    <a:gdLst>
                      <a:gd name="connsiteX0" fmla="*/ 121507 w 174042"/>
                      <a:gd name="connsiteY0" fmla="*/ 350794 h 350794"/>
                      <a:gd name="connsiteX1" fmla="*/ 68998 w 174042"/>
                      <a:gd name="connsiteY1" fmla="*/ 304968 h 350794"/>
                      <a:gd name="connsiteX2" fmla="*/ 68998 w 174042"/>
                      <a:gd name="connsiteY2" fmla="*/ 304116 h 350794"/>
                      <a:gd name="connsiteX3" fmla="*/ 29725 w 174042"/>
                      <a:gd name="connsiteY3" fmla="*/ 249285 h 350794"/>
                      <a:gd name="connsiteX4" fmla="*/ 31919 w 174042"/>
                      <a:gd name="connsiteY4" fmla="*/ 234267 h 350794"/>
                      <a:gd name="connsiteX5" fmla="*/ 0 w 174042"/>
                      <a:gd name="connsiteY5" fmla="*/ 173088 h 350794"/>
                      <a:gd name="connsiteX6" fmla="*/ 33931 w 174042"/>
                      <a:gd name="connsiteY6" fmla="*/ 110670 h 350794"/>
                      <a:gd name="connsiteX7" fmla="*/ 33105 w 174042"/>
                      <a:gd name="connsiteY7" fmla="*/ 101536 h 350794"/>
                      <a:gd name="connsiteX8" fmla="*/ 69075 w 174042"/>
                      <a:gd name="connsiteY8" fmla="*/ 48252 h 350794"/>
                      <a:gd name="connsiteX9" fmla="*/ 68998 w 174042"/>
                      <a:gd name="connsiteY9" fmla="*/ 45826 h 350794"/>
                      <a:gd name="connsiteX10" fmla="*/ 121507 w 174042"/>
                      <a:gd name="connsiteY10" fmla="*/ 0 h 350794"/>
                      <a:gd name="connsiteX11" fmla="*/ 174042 w 174042"/>
                      <a:gd name="connsiteY11" fmla="*/ 45826 h 350794"/>
                      <a:gd name="connsiteX12" fmla="*/ 174042 w 174042"/>
                      <a:gd name="connsiteY12" fmla="*/ 106722 h 350794"/>
                      <a:gd name="connsiteX13" fmla="*/ 168133 w 174042"/>
                      <a:gd name="connsiteY13" fmla="*/ 126307 h 350794"/>
                      <a:gd name="connsiteX14" fmla="*/ 164057 w 174042"/>
                      <a:gd name="connsiteY14" fmla="*/ 132396 h 350794"/>
                      <a:gd name="connsiteX15" fmla="*/ 165192 w 174042"/>
                      <a:gd name="connsiteY15" fmla="*/ 145091 h 350794"/>
                      <a:gd name="connsiteX16" fmla="*/ 166224 w 174042"/>
                      <a:gd name="connsiteY16" fmla="*/ 146149 h 350794"/>
                      <a:gd name="connsiteX17" fmla="*/ 174042 w 174042"/>
                      <a:gd name="connsiteY17" fmla="*/ 165450 h 350794"/>
                      <a:gd name="connsiteX18" fmla="*/ 167385 w 174042"/>
                      <a:gd name="connsiteY18" fmla="*/ 172107 h 350794"/>
                      <a:gd name="connsiteX19" fmla="*/ 160728 w 174042"/>
                      <a:gd name="connsiteY19" fmla="*/ 165450 h 350794"/>
                      <a:gd name="connsiteX20" fmla="*/ 156703 w 174042"/>
                      <a:gd name="connsiteY20" fmla="*/ 155439 h 350794"/>
                      <a:gd name="connsiteX21" fmla="*/ 155671 w 174042"/>
                      <a:gd name="connsiteY21" fmla="*/ 154381 h 350794"/>
                      <a:gd name="connsiteX22" fmla="*/ 152987 w 174042"/>
                      <a:gd name="connsiteY22" fmla="*/ 125016 h 350794"/>
                      <a:gd name="connsiteX23" fmla="*/ 157064 w 174042"/>
                      <a:gd name="connsiteY23" fmla="*/ 118927 h 350794"/>
                      <a:gd name="connsiteX24" fmla="*/ 160754 w 174042"/>
                      <a:gd name="connsiteY24" fmla="*/ 106722 h 350794"/>
                      <a:gd name="connsiteX25" fmla="*/ 160754 w 174042"/>
                      <a:gd name="connsiteY25" fmla="*/ 45826 h 350794"/>
                      <a:gd name="connsiteX26" fmla="*/ 121533 w 174042"/>
                      <a:gd name="connsiteY26" fmla="*/ 13289 h 350794"/>
                      <a:gd name="connsiteX27" fmla="*/ 82312 w 174042"/>
                      <a:gd name="connsiteY27" fmla="*/ 45826 h 350794"/>
                      <a:gd name="connsiteX28" fmla="*/ 82854 w 174042"/>
                      <a:gd name="connsiteY28" fmla="*/ 51013 h 350794"/>
                      <a:gd name="connsiteX29" fmla="*/ 78829 w 174042"/>
                      <a:gd name="connsiteY29" fmla="*/ 58444 h 350794"/>
                      <a:gd name="connsiteX30" fmla="*/ 46420 w 174042"/>
                      <a:gd name="connsiteY30" fmla="*/ 101510 h 350794"/>
                      <a:gd name="connsiteX31" fmla="*/ 47916 w 174042"/>
                      <a:gd name="connsiteY31" fmla="*/ 112167 h 350794"/>
                      <a:gd name="connsiteX32" fmla="*/ 44665 w 174042"/>
                      <a:gd name="connsiteY32" fmla="*/ 119779 h 350794"/>
                      <a:gd name="connsiteX33" fmla="*/ 13314 w 174042"/>
                      <a:gd name="connsiteY33" fmla="*/ 173062 h 350794"/>
                      <a:gd name="connsiteX34" fmla="*/ 43246 w 174042"/>
                      <a:gd name="connsiteY34" fmla="*/ 225623 h 350794"/>
                      <a:gd name="connsiteX35" fmla="*/ 46110 w 174042"/>
                      <a:gd name="connsiteY35" fmla="*/ 233906 h 350794"/>
                      <a:gd name="connsiteX36" fmla="*/ 43014 w 174042"/>
                      <a:gd name="connsiteY36" fmla="*/ 249259 h 350794"/>
                      <a:gd name="connsiteX37" fmla="*/ 78261 w 174042"/>
                      <a:gd name="connsiteY37" fmla="*/ 293434 h 350794"/>
                      <a:gd name="connsiteX38" fmla="*/ 82648 w 174042"/>
                      <a:gd name="connsiteY38" fmla="*/ 300736 h 350794"/>
                      <a:gd name="connsiteX39" fmla="*/ 82260 w 174042"/>
                      <a:gd name="connsiteY39" fmla="*/ 304942 h 350794"/>
                      <a:gd name="connsiteX40" fmla="*/ 121481 w 174042"/>
                      <a:gd name="connsiteY40" fmla="*/ 337480 h 350794"/>
                      <a:gd name="connsiteX41" fmla="*/ 152445 w 174042"/>
                      <a:gd name="connsiteY41" fmla="*/ 324888 h 350794"/>
                      <a:gd name="connsiteX42" fmla="*/ 161838 w 174042"/>
                      <a:gd name="connsiteY42" fmla="*/ 324578 h 350794"/>
                      <a:gd name="connsiteX43" fmla="*/ 162147 w 174042"/>
                      <a:gd name="connsiteY43" fmla="*/ 333971 h 350794"/>
                      <a:gd name="connsiteX44" fmla="*/ 121507 w 174042"/>
                      <a:gd name="connsiteY44" fmla="*/ 350794 h 350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74042" h="350794">
                        <a:moveTo>
                          <a:pt x="121507" y="350794"/>
                        </a:moveTo>
                        <a:cubicBezTo>
                          <a:pt x="92556" y="350794"/>
                          <a:pt x="68998" y="330229"/>
                          <a:pt x="68998" y="304968"/>
                        </a:cubicBezTo>
                        <a:cubicBezTo>
                          <a:pt x="68998" y="304684"/>
                          <a:pt x="68998" y="304400"/>
                          <a:pt x="68998" y="304116"/>
                        </a:cubicBezTo>
                        <a:cubicBezTo>
                          <a:pt x="44975" y="293873"/>
                          <a:pt x="29725" y="272817"/>
                          <a:pt x="29725" y="249285"/>
                        </a:cubicBezTo>
                        <a:cubicBezTo>
                          <a:pt x="29725" y="244227"/>
                          <a:pt x="30474" y="239221"/>
                          <a:pt x="31919" y="234267"/>
                        </a:cubicBezTo>
                        <a:cubicBezTo>
                          <a:pt x="11560" y="220643"/>
                          <a:pt x="0" y="198659"/>
                          <a:pt x="0" y="173088"/>
                        </a:cubicBezTo>
                        <a:cubicBezTo>
                          <a:pt x="0" y="146743"/>
                          <a:pt x="12282" y="124242"/>
                          <a:pt x="33931" y="110670"/>
                        </a:cubicBezTo>
                        <a:cubicBezTo>
                          <a:pt x="33389" y="107599"/>
                          <a:pt x="33105" y="104555"/>
                          <a:pt x="33105" y="101536"/>
                        </a:cubicBezTo>
                        <a:cubicBezTo>
                          <a:pt x="33105" y="79448"/>
                          <a:pt x="47065" y="59012"/>
                          <a:pt x="69075" y="48252"/>
                        </a:cubicBezTo>
                        <a:cubicBezTo>
                          <a:pt x="69024" y="47426"/>
                          <a:pt x="68998" y="46626"/>
                          <a:pt x="68998" y="45826"/>
                        </a:cubicBezTo>
                        <a:cubicBezTo>
                          <a:pt x="68998" y="20565"/>
                          <a:pt x="92556" y="0"/>
                          <a:pt x="121507" y="0"/>
                        </a:cubicBezTo>
                        <a:cubicBezTo>
                          <a:pt x="150458" y="0"/>
                          <a:pt x="174042" y="20565"/>
                          <a:pt x="174042" y="45826"/>
                        </a:cubicBezTo>
                        <a:lnTo>
                          <a:pt x="174042" y="106722"/>
                        </a:lnTo>
                        <a:cubicBezTo>
                          <a:pt x="174042" y="113740"/>
                          <a:pt x="172004" y="120501"/>
                          <a:pt x="168133" y="126307"/>
                        </a:cubicBezTo>
                        <a:lnTo>
                          <a:pt x="164057" y="132396"/>
                        </a:lnTo>
                        <a:cubicBezTo>
                          <a:pt x="161399" y="136370"/>
                          <a:pt x="161889" y="141711"/>
                          <a:pt x="165192" y="145091"/>
                        </a:cubicBezTo>
                        <a:lnTo>
                          <a:pt x="166224" y="146149"/>
                        </a:lnTo>
                        <a:cubicBezTo>
                          <a:pt x="171256" y="151310"/>
                          <a:pt x="174042" y="158148"/>
                          <a:pt x="174042" y="165450"/>
                        </a:cubicBezTo>
                        <a:cubicBezTo>
                          <a:pt x="174042" y="169114"/>
                          <a:pt x="171075" y="172107"/>
                          <a:pt x="167385" y="172107"/>
                        </a:cubicBezTo>
                        <a:cubicBezTo>
                          <a:pt x="163721" y="172107"/>
                          <a:pt x="160728" y="169140"/>
                          <a:pt x="160728" y="165450"/>
                        </a:cubicBezTo>
                        <a:cubicBezTo>
                          <a:pt x="160728" y="161709"/>
                          <a:pt x="159257" y="158070"/>
                          <a:pt x="156703" y="155439"/>
                        </a:cubicBezTo>
                        <a:lnTo>
                          <a:pt x="155671" y="154381"/>
                        </a:lnTo>
                        <a:cubicBezTo>
                          <a:pt x="148007" y="146536"/>
                          <a:pt x="146872" y="134177"/>
                          <a:pt x="152987" y="125016"/>
                        </a:cubicBezTo>
                        <a:lnTo>
                          <a:pt x="157064" y="118927"/>
                        </a:lnTo>
                        <a:cubicBezTo>
                          <a:pt x="159464" y="115314"/>
                          <a:pt x="160754" y="111109"/>
                          <a:pt x="160754" y="106722"/>
                        </a:cubicBezTo>
                        <a:lnTo>
                          <a:pt x="160754" y="45826"/>
                        </a:lnTo>
                        <a:cubicBezTo>
                          <a:pt x="160754" y="27893"/>
                          <a:pt x="143156" y="13289"/>
                          <a:pt x="121533" y="13289"/>
                        </a:cubicBezTo>
                        <a:cubicBezTo>
                          <a:pt x="99910" y="13289"/>
                          <a:pt x="82312" y="27893"/>
                          <a:pt x="82312" y="45826"/>
                        </a:cubicBezTo>
                        <a:cubicBezTo>
                          <a:pt x="82312" y="47401"/>
                          <a:pt x="82493" y="49104"/>
                          <a:pt x="82854" y="51013"/>
                        </a:cubicBezTo>
                        <a:cubicBezTo>
                          <a:pt x="83473" y="54135"/>
                          <a:pt x="81770" y="57257"/>
                          <a:pt x="78829" y="58444"/>
                        </a:cubicBezTo>
                        <a:cubicBezTo>
                          <a:pt x="59141" y="66418"/>
                          <a:pt x="46420" y="83319"/>
                          <a:pt x="46420" y="101510"/>
                        </a:cubicBezTo>
                        <a:cubicBezTo>
                          <a:pt x="46420" y="104967"/>
                          <a:pt x="46936" y="108554"/>
                          <a:pt x="47916" y="112167"/>
                        </a:cubicBezTo>
                        <a:cubicBezTo>
                          <a:pt x="48716" y="115160"/>
                          <a:pt x="47375" y="118282"/>
                          <a:pt x="44665" y="119779"/>
                        </a:cubicBezTo>
                        <a:cubicBezTo>
                          <a:pt x="24461" y="130745"/>
                          <a:pt x="13314" y="149658"/>
                          <a:pt x="13314" y="173062"/>
                        </a:cubicBezTo>
                        <a:cubicBezTo>
                          <a:pt x="13314" y="195975"/>
                          <a:pt x="23945" y="214631"/>
                          <a:pt x="43246" y="225623"/>
                        </a:cubicBezTo>
                        <a:cubicBezTo>
                          <a:pt x="46136" y="227275"/>
                          <a:pt x="47375" y="230810"/>
                          <a:pt x="46110" y="233906"/>
                        </a:cubicBezTo>
                        <a:cubicBezTo>
                          <a:pt x="44072" y="238938"/>
                          <a:pt x="43014" y="244098"/>
                          <a:pt x="43014" y="249259"/>
                        </a:cubicBezTo>
                        <a:cubicBezTo>
                          <a:pt x="43014" y="268611"/>
                          <a:pt x="56844" y="285977"/>
                          <a:pt x="78261" y="293434"/>
                        </a:cubicBezTo>
                        <a:cubicBezTo>
                          <a:pt x="81306" y="294492"/>
                          <a:pt x="83138" y="297562"/>
                          <a:pt x="82648" y="300736"/>
                        </a:cubicBezTo>
                        <a:cubicBezTo>
                          <a:pt x="82441" y="302104"/>
                          <a:pt x="82260" y="303497"/>
                          <a:pt x="82260" y="304942"/>
                        </a:cubicBezTo>
                        <a:cubicBezTo>
                          <a:pt x="82260" y="322875"/>
                          <a:pt x="99858" y="337480"/>
                          <a:pt x="121481" y="337480"/>
                        </a:cubicBezTo>
                        <a:cubicBezTo>
                          <a:pt x="133660" y="337480"/>
                          <a:pt x="144936" y="332887"/>
                          <a:pt x="152445" y="324888"/>
                        </a:cubicBezTo>
                        <a:cubicBezTo>
                          <a:pt x="154974" y="322205"/>
                          <a:pt x="159180" y="322075"/>
                          <a:pt x="161838" y="324578"/>
                        </a:cubicBezTo>
                        <a:cubicBezTo>
                          <a:pt x="164521" y="327081"/>
                          <a:pt x="164650" y="331313"/>
                          <a:pt x="162147" y="333971"/>
                        </a:cubicBezTo>
                        <a:cubicBezTo>
                          <a:pt x="152161" y="344653"/>
                          <a:pt x="137324" y="350794"/>
                          <a:pt x="121507" y="350794"/>
                        </a:cubicBezTo>
                        <a:close/>
                      </a:path>
                    </a:pathLst>
                  </a:custGeom>
                  <a:grpFill/>
                  <a:ln w="2573" cap="flat">
                    <a:noFill/>
                    <a:prstDash val="solid"/>
                    <a:miter/>
                  </a:ln>
                </p:spPr>
                <p:txBody>
                  <a:bodyPr rtlCol="0" anchor="ctr"/>
                  <a:lstStyle/>
                  <a:p>
                    <a:endParaRPr lang="en-GB" dirty="0"/>
                  </a:p>
                </p:txBody>
              </p:sp>
              <p:sp>
                <p:nvSpPr>
                  <p:cNvPr id="175" name="Freihandform: Form 504">
                    <a:extLst>
                      <a:ext uri="{FF2B5EF4-FFF2-40B4-BE49-F238E27FC236}">
                        <a16:creationId xmlns:a16="http://schemas.microsoft.com/office/drawing/2014/main" id="{3B032FA9-622B-48C4-9458-7B8BD2E8C568}"/>
                      </a:ext>
                    </a:extLst>
                  </p:cNvPr>
                  <p:cNvSpPr/>
                  <p:nvPr/>
                </p:nvSpPr>
                <p:spPr>
                  <a:xfrm>
                    <a:off x="1772958" y="3388212"/>
                    <a:ext cx="23169" cy="36692"/>
                  </a:xfrm>
                  <a:custGeom>
                    <a:avLst/>
                    <a:gdLst>
                      <a:gd name="connsiteX0" fmla="*/ 16488 w 23169"/>
                      <a:gd name="connsiteY0" fmla="*/ 36692 h 36692"/>
                      <a:gd name="connsiteX1" fmla="*/ 11482 w 23169"/>
                      <a:gd name="connsiteY1" fmla="*/ 34421 h 36692"/>
                      <a:gd name="connsiteX2" fmla="*/ 0 w 23169"/>
                      <a:gd name="connsiteY2" fmla="*/ 6657 h 36692"/>
                      <a:gd name="connsiteX3" fmla="*/ 6657 w 23169"/>
                      <a:gd name="connsiteY3" fmla="*/ 0 h 36692"/>
                      <a:gd name="connsiteX4" fmla="*/ 13314 w 23169"/>
                      <a:gd name="connsiteY4" fmla="*/ 6657 h 36692"/>
                      <a:gd name="connsiteX5" fmla="*/ 21520 w 23169"/>
                      <a:gd name="connsiteY5" fmla="*/ 25674 h 36692"/>
                      <a:gd name="connsiteX6" fmla="*/ 20901 w 23169"/>
                      <a:gd name="connsiteY6" fmla="*/ 35066 h 36692"/>
                      <a:gd name="connsiteX7" fmla="*/ 16488 w 23169"/>
                      <a:gd name="connsiteY7" fmla="*/ 36692 h 36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69" h="36692">
                        <a:moveTo>
                          <a:pt x="16488" y="36692"/>
                        </a:moveTo>
                        <a:cubicBezTo>
                          <a:pt x="14630" y="36692"/>
                          <a:pt x="12798" y="35918"/>
                          <a:pt x="11482" y="34421"/>
                        </a:cubicBezTo>
                        <a:cubicBezTo>
                          <a:pt x="3870" y="25726"/>
                          <a:pt x="0" y="16385"/>
                          <a:pt x="0" y="6657"/>
                        </a:cubicBezTo>
                        <a:cubicBezTo>
                          <a:pt x="0" y="2993"/>
                          <a:pt x="2967" y="0"/>
                          <a:pt x="6657" y="0"/>
                        </a:cubicBezTo>
                        <a:cubicBezTo>
                          <a:pt x="10321" y="0"/>
                          <a:pt x="13314" y="2967"/>
                          <a:pt x="13314" y="6657"/>
                        </a:cubicBezTo>
                        <a:cubicBezTo>
                          <a:pt x="13314" y="13134"/>
                          <a:pt x="15998" y="19352"/>
                          <a:pt x="21520" y="25674"/>
                        </a:cubicBezTo>
                        <a:cubicBezTo>
                          <a:pt x="23945" y="28435"/>
                          <a:pt x="23661" y="32641"/>
                          <a:pt x="20901" y="35066"/>
                        </a:cubicBezTo>
                        <a:cubicBezTo>
                          <a:pt x="19585" y="36150"/>
                          <a:pt x="18036" y="36692"/>
                          <a:pt x="16488" y="36692"/>
                        </a:cubicBezTo>
                        <a:close/>
                      </a:path>
                    </a:pathLst>
                  </a:custGeom>
                  <a:grpFill/>
                  <a:ln w="2573" cap="flat">
                    <a:noFill/>
                    <a:prstDash val="solid"/>
                    <a:miter/>
                  </a:ln>
                </p:spPr>
                <p:txBody>
                  <a:bodyPr rtlCol="0" anchor="ctr"/>
                  <a:lstStyle/>
                  <a:p>
                    <a:endParaRPr lang="en-GB" dirty="0"/>
                  </a:p>
                </p:txBody>
              </p:sp>
              <p:sp>
                <p:nvSpPr>
                  <p:cNvPr id="176" name="Freihandform: Form 505">
                    <a:extLst>
                      <a:ext uri="{FF2B5EF4-FFF2-40B4-BE49-F238E27FC236}">
                        <a16:creationId xmlns:a16="http://schemas.microsoft.com/office/drawing/2014/main" id="{4D5CD879-FBC4-4405-8F2C-D5BC70A0DE7D}"/>
                      </a:ext>
                    </a:extLst>
                  </p:cNvPr>
                  <p:cNvSpPr/>
                  <p:nvPr/>
                </p:nvSpPr>
                <p:spPr>
                  <a:xfrm>
                    <a:off x="1725221" y="3445805"/>
                    <a:ext cx="72645" cy="26345"/>
                  </a:xfrm>
                  <a:custGeom>
                    <a:avLst/>
                    <a:gdLst>
                      <a:gd name="connsiteX0" fmla="*/ 6658 w 72645"/>
                      <a:gd name="connsiteY0" fmla="*/ 26345 h 26345"/>
                      <a:gd name="connsiteX1" fmla="*/ 1394 w 72645"/>
                      <a:gd name="connsiteY1" fmla="*/ 23765 h 26345"/>
                      <a:gd name="connsiteX2" fmla="*/ 2581 w 72645"/>
                      <a:gd name="connsiteY2" fmla="*/ 14424 h 26345"/>
                      <a:gd name="connsiteX3" fmla="*/ 43170 w 72645"/>
                      <a:gd name="connsiteY3" fmla="*/ 0 h 26345"/>
                      <a:gd name="connsiteX4" fmla="*/ 68508 w 72645"/>
                      <a:gd name="connsiteY4" fmla="*/ 4980 h 26345"/>
                      <a:gd name="connsiteX5" fmla="*/ 72147 w 72645"/>
                      <a:gd name="connsiteY5" fmla="*/ 13650 h 26345"/>
                      <a:gd name="connsiteX6" fmla="*/ 63477 w 72645"/>
                      <a:gd name="connsiteY6" fmla="*/ 17288 h 26345"/>
                      <a:gd name="connsiteX7" fmla="*/ 43195 w 72645"/>
                      <a:gd name="connsiteY7" fmla="*/ 13315 h 26345"/>
                      <a:gd name="connsiteX8" fmla="*/ 10761 w 72645"/>
                      <a:gd name="connsiteY8" fmla="*/ 24952 h 26345"/>
                      <a:gd name="connsiteX9" fmla="*/ 6658 w 72645"/>
                      <a:gd name="connsiteY9" fmla="*/ 26345 h 26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645" h="26345">
                        <a:moveTo>
                          <a:pt x="6658" y="26345"/>
                        </a:moveTo>
                        <a:cubicBezTo>
                          <a:pt x="4671" y="26345"/>
                          <a:pt x="2710" y="25468"/>
                          <a:pt x="1394" y="23765"/>
                        </a:cubicBezTo>
                        <a:cubicBezTo>
                          <a:pt x="-851" y="20849"/>
                          <a:pt x="-335" y="16695"/>
                          <a:pt x="2581" y="14424"/>
                        </a:cubicBezTo>
                        <a:cubicBezTo>
                          <a:pt x="14915" y="4851"/>
                          <a:pt x="28565" y="0"/>
                          <a:pt x="43170" y="0"/>
                        </a:cubicBezTo>
                        <a:cubicBezTo>
                          <a:pt x="51917" y="0"/>
                          <a:pt x="60432" y="1677"/>
                          <a:pt x="68508" y="4980"/>
                        </a:cubicBezTo>
                        <a:cubicBezTo>
                          <a:pt x="71914" y="6373"/>
                          <a:pt x="73540" y="10244"/>
                          <a:pt x="72147" y="13650"/>
                        </a:cubicBezTo>
                        <a:cubicBezTo>
                          <a:pt x="70753" y="17056"/>
                          <a:pt x="66857" y="18707"/>
                          <a:pt x="63477" y="17288"/>
                        </a:cubicBezTo>
                        <a:cubicBezTo>
                          <a:pt x="57026" y="14656"/>
                          <a:pt x="50188" y="13315"/>
                          <a:pt x="43195" y="13315"/>
                        </a:cubicBezTo>
                        <a:cubicBezTo>
                          <a:pt x="31610" y="13315"/>
                          <a:pt x="20695" y="17237"/>
                          <a:pt x="10761" y="24952"/>
                        </a:cubicBezTo>
                        <a:cubicBezTo>
                          <a:pt x="9522" y="25881"/>
                          <a:pt x="8077" y="26345"/>
                          <a:pt x="6658" y="26345"/>
                        </a:cubicBezTo>
                        <a:close/>
                      </a:path>
                    </a:pathLst>
                  </a:custGeom>
                  <a:grpFill/>
                  <a:ln w="2573" cap="flat">
                    <a:noFill/>
                    <a:prstDash val="solid"/>
                    <a:miter/>
                  </a:ln>
                </p:spPr>
                <p:txBody>
                  <a:bodyPr rtlCol="0" anchor="ctr"/>
                  <a:lstStyle/>
                  <a:p>
                    <a:endParaRPr lang="en-GB" dirty="0"/>
                  </a:p>
                </p:txBody>
              </p:sp>
              <p:sp>
                <p:nvSpPr>
                  <p:cNvPr id="177" name="Freihandform: Form 506">
                    <a:extLst>
                      <a:ext uri="{FF2B5EF4-FFF2-40B4-BE49-F238E27FC236}">
                        <a16:creationId xmlns:a16="http://schemas.microsoft.com/office/drawing/2014/main" id="{D4A6729B-1B8F-452A-A8D3-750A01D5865B}"/>
                      </a:ext>
                    </a:extLst>
                  </p:cNvPr>
                  <p:cNvSpPr/>
                  <p:nvPr/>
                </p:nvSpPr>
                <p:spPr>
                  <a:xfrm>
                    <a:off x="1835064" y="3478552"/>
                    <a:ext cx="35427" cy="20639"/>
                  </a:xfrm>
                  <a:custGeom>
                    <a:avLst/>
                    <a:gdLst>
                      <a:gd name="connsiteX0" fmla="*/ 28799 w 35427"/>
                      <a:gd name="connsiteY0" fmla="*/ 20640 h 20639"/>
                      <a:gd name="connsiteX1" fmla="*/ 24025 w 35427"/>
                      <a:gd name="connsiteY1" fmla="*/ 18627 h 20639"/>
                      <a:gd name="connsiteX2" fmla="*/ 7976 w 35427"/>
                      <a:gd name="connsiteY2" fmla="*/ 13647 h 20639"/>
                      <a:gd name="connsiteX3" fmla="*/ 132 w 35427"/>
                      <a:gd name="connsiteY3" fmla="*/ 8461 h 20639"/>
                      <a:gd name="connsiteX4" fmla="*/ 5318 w 35427"/>
                      <a:gd name="connsiteY4" fmla="*/ 616 h 20639"/>
                      <a:gd name="connsiteX5" fmla="*/ 33547 w 35427"/>
                      <a:gd name="connsiteY5" fmla="*/ 9338 h 20639"/>
                      <a:gd name="connsiteX6" fmla="*/ 33418 w 35427"/>
                      <a:gd name="connsiteY6" fmla="*/ 18756 h 20639"/>
                      <a:gd name="connsiteX7" fmla="*/ 28799 w 35427"/>
                      <a:gd name="connsiteY7" fmla="*/ 20640 h 20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427" h="20639">
                        <a:moveTo>
                          <a:pt x="28799" y="20640"/>
                        </a:moveTo>
                        <a:cubicBezTo>
                          <a:pt x="27070" y="20640"/>
                          <a:pt x="25341" y="19969"/>
                          <a:pt x="24025" y="18627"/>
                        </a:cubicBezTo>
                        <a:cubicBezTo>
                          <a:pt x="19845" y="14344"/>
                          <a:pt x="13756" y="12460"/>
                          <a:pt x="7976" y="13647"/>
                        </a:cubicBezTo>
                        <a:cubicBezTo>
                          <a:pt x="4363" y="14395"/>
                          <a:pt x="854" y="12073"/>
                          <a:pt x="132" y="8461"/>
                        </a:cubicBezTo>
                        <a:cubicBezTo>
                          <a:pt x="-591" y="4874"/>
                          <a:pt x="1732" y="1365"/>
                          <a:pt x="5318" y="616"/>
                        </a:cubicBezTo>
                        <a:cubicBezTo>
                          <a:pt x="15510" y="-1474"/>
                          <a:pt x="26219" y="1829"/>
                          <a:pt x="33547" y="9338"/>
                        </a:cubicBezTo>
                        <a:cubicBezTo>
                          <a:pt x="36101" y="11970"/>
                          <a:pt x="36050" y="16176"/>
                          <a:pt x="33418" y="18756"/>
                        </a:cubicBezTo>
                        <a:cubicBezTo>
                          <a:pt x="32153" y="19995"/>
                          <a:pt x="30476" y="20640"/>
                          <a:pt x="28799" y="20640"/>
                        </a:cubicBezTo>
                        <a:close/>
                      </a:path>
                    </a:pathLst>
                  </a:custGeom>
                  <a:grpFill/>
                  <a:ln w="2573" cap="flat">
                    <a:noFill/>
                    <a:prstDash val="solid"/>
                    <a:miter/>
                  </a:ln>
                </p:spPr>
                <p:txBody>
                  <a:bodyPr rtlCol="0" anchor="ctr"/>
                  <a:lstStyle/>
                  <a:p>
                    <a:endParaRPr lang="en-GB" dirty="0"/>
                  </a:p>
                </p:txBody>
              </p:sp>
              <p:sp>
                <p:nvSpPr>
                  <p:cNvPr id="178" name="Freihandform: Form 507">
                    <a:extLst>
                      <a:ext uri="{FF2B5EF4-FFF2-40B4-BE49-F238E27FC236}">
                        <a16:creationId xmlns:a16="http://schemas.microsoft.com/office/drawing/2014/main" id="{B58E83DB-7943-4CBC-B75C-41E416F742D8}"/>
                      </a:ext>
                    </a:extLst>
                  </p:cNvPr>
                  <p:cNvSpPr/>
                  <p:nvPr/>
                </p:nvSpPr>
                <p:spPr>
                  <a:xfrm>
                    <a:off x="1727879" y="3561892"/>
                    <a:ext cx="40537" cy="22604"/>
                  </a:xfrm>
                  <a:custGeom>
                    <a:avLst/>
                    <a:gdLst>
                      <a:gd name="connsiteX0" fmla="*/ 33855 w 40537"/>
                      <a:gd name="connsiteY0" fmla="*/ 22604 h 22604"/>
                      <a:gd name="connsiteX1" fmla="*/ 2581 w 40537"/>
                      <a:gd name="connsiteY1" fmla="*/ 11896 h 22604"/>
                      <a:gd name="connsiteX2" fmla="*/ 1394 w 40537"/>
                      <a:gd name="connsiteY2" fmla="*/ 2581 h 22604"/>
                      <a:gd name="connsiteX3" fmla="*/ 10735 w 40537"/>
                      <a:gd name="connsiteY3" fmla="*/ 1394 h 22604"/>
                      <a:gd name="connsiteX4" fmla="*/ 33880 w 40537"/>
                      <a:gd name="connsiteY4" fmla="*/ 9316 h 22604"/>
                      <a:gd name="connsiteX5" fmla="*/ 40538 w 40537"/>
                      <a:gd name="connsiteY5" fmla="*/ 15973 h 22604"/>
                      <a:gd name="connsiteX6" fmla="*/ 33855 w 40537"/>
                      <a:gd name="connsiteY6" fmla="*/ 22604 h 22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37" h="22604">
                        <a:moveTo>
                          <a:pt x="33855" y="22604"/>
                        </a:moveTo>
                        <a:cubicBezTo>
                          <a:pt x="22450" y="22604"/>
                          <a:pt x="11638" y="18915"/>
                          <a:pt x="2581" y="11896"/>
                        </a:cubicBezTo>
                        <a:cubicBezTo>
                          <a:pt x="-335" y="9651"/>
                          <a:pt x="-851" y="5471"/>
                          <a:pt x="1394" y="2581"/>
                        </a:cubicBezTo>
                        <a:cubicBezTo>
                          <a:pt x="3639" y="-335"/>
                          <a:pt x="7819" y="-851"/>
                          <a:pt x="10735" y="1394"/>
                        </a:cubicBezTo>
                        <a:cubicBezTo>
                          <a:pt x="17444" y="6581"/>
                          <a:pt x="25443" y="9316"/>
                          <a:pt x="33880" y="9316"/>
                        </a:cubicBezTo>
                        <a:cubicBezTo>
                          <a:pt x="37545" y="9316"/>
                          <a:pt x="40538" y="12283"/>
                          <a:pt x="40538" y="15973"/>
                        </a:cubicBezTo>
                        <a:cubicBezTo>
                          <a:pt x="40512" y="19637"/>
                          <a:pt x="37545" y="22604"/>
                          <a:pt x="33855" y="22604"/>
                        </a:cubicBezTo>
                        <a:close/>
                      </a:path>
                    </a:pathLst>
                  </a:custGeom>
                  <a:grpFill/>
                  <a:ln w="2573" cap="flat">
                    <a:noFill/>
                    <a:prstDash val="solid"/>
                    <a:miter/>
                  </a:ln>
                </p:spPr>
                <p:txBody>
                  <a:bodyPr rtlCol="0" anchor="ctr"/>
                  <a:lstStyle/>
                  <a:p>
                    <a:endParaRPr lang="en-GB" dirty="0"/>
                  </a:p>
                </p:txBody>
              </p:sp>
              <p:sp>
                <p:nvSpPr>
                  <p:cNvPr id="179" name="Freihandform: Form 508">
                    <a:extLst>
                      <a:ext uri="{FF2B5EF4-FFF2-40B4-BE49-F238E27FC236}">
                        <a16:creationId xmlns:a16="http://schemas.microsoft.com/office/drawing/2014/main" id="{79B45E74-FCDA-430D-8BC1-C08170CDA2AE}"/>
                      </a:ext>
                    </a:extLst>
                  </p:cNvPr>
                  <p:cNvSpPr/>
                  <p:nvPr/>
                </p:nvSpPr>
                <p:spPr>
                  <a:xfrm>
                    <a:off x="1772730" y="3626876"/>
                    <a:ext cx="23369" cy="22077"/>
                  </a:xfrm>
                  <a:custGeom>
                    <a:avLst/>
                    <a:gdLst>
                      <a:gd name="connsiteX0" fmla="*/ 6653 w 23369"/>
                      <a:gd name="connsiteY0" fmla="*/ 22077 h 22077"/>
                      <a:gd name="connsiteX1" fmla="*/ 1648 w 23369"/>
                      <a:gd name="connsiteY1" fmla="*/ 19807 h 22077"/>
                      <a:gd name="connsiteX2" fmla="*/ 2293 w 23369"/>
                      <a:gd name="connsiteY2" fmla="*/ 10414 h 22077"/>
                      <a:gd name="connsiteX3" fmla="*/ 12330 w 23369"/>
                      <a:gd name="connsiteY3" fmla="*/ 1641 h 22077"/>
                      <a:gd name="connsiteX4" fmla="*/ 21722 w 23369"/>
                      <a:gd name="connsiteY4" fmla="*/ 2261 h 22077"/>
                      <a:gd name="connsiteX5" fmla="*/ 21077 w 23369"/>
                      <a:gd name="connsiteY5" fmla="*/ 11653 h 22077"/>
                      <a:gd name="connsiteX6" fmla="*/ 11040 w 23369"/>
                      <a:gd name="connsiteY6" fmla="*/ 20426 h 22077"/>
                      <a:gd name="connsiteX7" fmla="*/ 6653 w 23369"/>
                      <a:gd name="connsiteY7" fmla="*/ 22077 h 22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69" h="22077">
                        <a:moveTo>
                          <a:pt x="6653" y="22077"/>
                        </a:moveTo>
                        <a:cubicBezTo>
                          <a:pt x="4796" y="22077"/>
                          <a:pt x="2964" y="21303"/>
                          <a:pt x="1648" y="19807"/>
                        </a:cubicBezTo>
                        <a:cubicBezTo>
                          <a:pt x="-778" y="17046"/>
                          <a:pt x="-494" y="12840"/>
                          <a:pt x="2293" y="10414"/>
                        </a:cubicBezTo>
                        <a:lnTo>
                          <a:pt x="12330" y="1641"/>
                        </a:lnTo>
                        <a:cubicBezTo>
                          <a:pt x="15091" y="-784"/>
                          <a:pt x="19297" y="-475"/>
                          <a:pt x="21722" y="2261"/>
                        </a:cubicBezTo>
                        <a:cubicBezTo>
                          <a:pt x="24148" y="5021"/>
                          <a:pt x="23864" y="9227"/>
                          <a:pt x="21077" y="11653"/>
                        </a:cubicBezTo>
                        <a:lnTo>
                          <a:pt x="11040" y="20426"/>
                        </a:lnTo>
                        <a:cubicBezTo>
                          <a:pt x="9750" y="21535"/>
                          <a:pt x="8202" y="22077"/>
                          <a:pt x="6653" y="22077"/>
                        </a:cubicBezTo>
                        <a:close/>
                      </a:path>
                    </a:pathLst>
                  </a:custGeom>
                  <a:grpFill/>
                  <a:ln w="2573" cap="flat">
                    <a:noFill/>
                    <a:prstDash val="solid"/>
                    <a:miter/>
                  </a:ln>
                </p:spPr>
                <p:txBody>
                  <a:bodyPr rtlCol="0" anchor="ctr"/>
                  <a:lstStyle/>
                  <a:p>
                    <a:endParaRPr lang="en-GB" dirty="0"/>
                  </a:p>
                </p:txBody>
              </p:sp>
            </p:grpSp>
          </p:grpSp>
        </p:grpSp>
      </p:grpSp>
      <p:grpSp>
        <p:nvGrpSpPr>
          <p:cNvPr id="196" name="Gruppieren 1095">
            <a:extLst>
              <a:ext uri="{FF2B5EF4-FFF2-40B4-BE49-F238E27FC236}">
                <a16:creationId xmlns:a16="http://schemas.microsoft.com/office/drawing/2014/main" id="{91834CA8-7585-4E3A-9EA9-C1AEC8F960C7}"/>
              </a:ext>
            </a:extLst>
          </p:cNvPr>
          <p:cNvGrpSpPr>
            <a:grpSpLocks noChangeAspect="1"/>
          </p:cNvGrpSpPr>
          <p:nvPr/>
        </p:nvGrpSpPr>
        <p:grpSpPr>
          <a:xfrm>
            <a:off x="3813354" y="2391525"/>
            <a:ext cx="288008" cy="432000"/>
            <a:chOff x="5396466" y="1626757"/>
            <a:chExt cx="293689" cy="440523"/>
          </a:xfrm>
        </p:grpSpPr>
        <p:grpSp>
          <p:nvGrpSpPr>
            <p:cNvPr id="197" name="Gruppieren 1094">
              <a:extLst>
                <a:ext uri="{FF2B5EF4-FFF2-40B4-BE49-F238E27FC236}">
                  <a16:creationId xmlns:a16="http://schemas.microsoft.com/office/drawing/2014/main" id="{B5456CAA-7798-43EE-8F2D-8DA3468773E8}"/>
                </a:ext>
              </a:extLst>
            </p:cNvPr>
            <p:cNvGrpSpPr/>
            <p:nvPr/>
          </p:nvGrpSpPr>
          <p:grpSpPr>
            <a:xfrm>
              <a:off x="5396466" y="1626757"/>
              <a:ext cx="293689" cy="440523"/>
              <a:chOff x="5396479" y="1626758"/>
              <a:chExt cx="293690" cy="440523"/>
            </a:xfrm>
          </p:grpSpPr>
          <p:sp>
            <p:nvSpPr>
              <p:cNvPr id="206" name="Freihandform: Form 813">
                <a:extLst>
                  <a:ext uri="{FF2B5EF4-FFF2-40B4-BE49-F238E27FC236}">
                    <a16:creationId xmlns:a16="http://schemas.microsoft.com/office/drawing/2014/main" id="{4E21755C-C6D5-4C6D-9C78-D13B985AC6D2}"/>
                  </a:ext>
                </a:extLst>
              </p:cNvPr>
              <p:cNvSpPr/>
              <p:nvPr/>
            </p:nvSpPr>
            <p:spPr>
              <a:xfrm>
                <a:off x="5396479" y="1626758"/>
                <a:ext cx="293690" cy="440523"/>
              </a:xfrm>
              <a:custGeom>
                <a:avLst/>
                <a:gdLst>
                  <a:gd name="connsiteX0" fmla="*/ 253645 w 293690"/>
                  <a:gd name="connsiteY0" fmla="*/ 440523 h 440523"/>
                  <a:gd name="connsiteX1" fmla="*/ 40045 w 293690"/>
                  <a:gd name="connsiteY1" fmla="*/ 440523 h 440523"/>
                  <a:gd name="connsiteX2" fmla="*/ 0 w 293690"/>
                  <a:gd name="connsiteY2" fmla="*/ 400478 h 440523"/>
                  <a:gd name="connsiteX3" fmla="*/ 0 w 293690"/>
                  <a:gd name="connsiteY3" fmla="*/ 40045 h 440523"/>
                  <a:gd name="connsiteX4" fmla="*/ 40045 w 293690"/>
                  <a:gd name="connsiteY4" fmla="*/ 0 h 440523"/>
                  <a:gd name="connsiteX5" fmla="*/ 253645 w 293690"/>
                  <a:gd name="connsiteY5" fmla="*/ 0 h 440523"/>
                  <a:gd name="connsiteX6" fmla="*/ 293691 w 293690"/>
                  <a:gd name="connsiteY6" fmla="*/ 40045 h 440523"/>
                  <a:gd name="connsiteX7" fmla="*/ 293691 w 293690"/>
                  <a:gd name="connsiteY7" fmla="*/ 400478 h 440523"/>
                  <a:gd name="connsiteX8" fmla="*/ 253645 w 293690"/>
                  <a:gd name="connsiteY8" fmla="*/ 440523 h 440523"/>
                  <a:gd name="connsiteX9" fmla="*/ 40045 w 293690"/>
                  <a:gd name="connsiteY9" fmla="*/ 13348 h 440523"/>
                  <a:gd name="connsiteX10" fmla="*/ 13348 w 293690"/>
                  <a:gd name="connsiteY10" fmla="*/ 40045 h 440523"/>
                  <a:gd name="connsiteX11" fmla="*/ 13348 w 293690"/>
                  <a:gd name="connsiteY11" fmla="*/ 400478 h 440523"/>
                  <a:gd name="connsiteX12" fmla="*/ 40045 w 293690"/>
                  <a:gd name="connsiteY12" fmla="*/ 427175 h 440523"/>
                  <a:gd name="connsiteX13" fmla="*/ 253645 w 293690"/>
                  <a:gd name="connsiteY13" fmla="*/ 427175 h 440523"/>
                  <a:gd name="connsiteX14" fmla="*/ 280342 w 293690"/>
                  <a:gd name="connsiteY14" fmla="*/ 400478 h 440523"/>
                  <a:gd name="connsiteX15" fmla="*/ 280342 w 293690"/>
                  <a:gd name="connsiteY15" fmla="*/ 40045 h 440523"/>
                  <a:gd name="connsiteX16" fmla="*/ 253645 w 293690"/>
                  <a:gd name="connsiteY16" fmla="*/ 13348 h 440523"/>
                  <a:gd name="connsiteX17" fmla="*/ 40045 w 293690"/>
                  <a:gd name="connsiteY17" fmla="*/ 13348 h 440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3690" h="440523">
                    <a:moveTo>
                      <a:pt x="253645" y="440523"/>
                    </a:moveTo>
                    <a:lnTo>
                      <a:pt x="40045" y="440523"/>
                    </a:lnTo>
                    <a:cubicBezTo>
                      <a:pt x="17951" y="440523"/>
                      <a:pt x="0" y="422546"/>
                      <a:pt x="0" y="400478"/>
                    </a:cubicBezTo>
                    <a:lnTo>
                      <a:pt x="0" y="40045"/>
                    </a:lnTo>
                    <a:cubicBezTo>
                      <a:pt x="0" y="17977"/>
                      <a:pt x="17951" y="0"/>
                      <a:pt x="40045" y="0"/>
                    </a:cubicBezTo>
                    <a:lnTo>
                      <a:pt x="253645" y="0"/>
                    </a:lnTo>
                    <a:cubicBezTo>
                      <a:pt x="275739" y="0"/>
                      <a:pt x="293691" y="17977"/>
                      <a:pt x="293691" y="40045"/>
                    </a:cubicBezTo>
                    <a:lnTo>
                      <a:pt x="293691" y="400478"/>
                    </a:lnTo>
                    <a:cubicBezTo>
                      <a:pt x="293691" y="422572"/>
                      <a:pt x="275714" y="440523"/>
                      <a:pt x="253645" y="440523"/>
                    </a:cubicBezTo>
                    <a:close/>
                    <a:moveTo>
                      <a:pt x="40045" y="13348"/>
                    </a:moveTo>
                    <a:cubicBezTo>
                      <a:pt x="25316" y="13348"/>
                      <a:pt x="13348" y="25316"/>
                      <a:pt x="13348" y="40045"/>
                    </a:cubicBezTo>
                    <a:lnTo>
                      <a:pt x="13348" y="400478"/>
                    </a:lnTo>
                    <a:cubicBezTo>
                      <a:pt x="13348" y="415207"/>
                      <a:pt x="25316" y="427175"/>
                      <a:pt x="40045" y="427175"/>
                    </a:cubicBezTo>
                    <a:lnTo>
                      <a:pt x="253645" y="427175"/>
                    </a:lnTo>
                    <a:cubicBezTo>
                      <a:pt x="268375" y="427175"/>
                      <a:pt x="280342" y="415207"/>
                      <a:pt x="280342" y="400478"/>
                    </a:cubicBezTo>
                    <a:lnTo>
                      <a:pt x="280342" y="40045"/>
                    </a:lnTo>
                    <a:cubicBezTo>
                      <a:pt x="280342" y="25316"/>
                      <a:pt x="268375" y="13348"/>
                      <a:pt x="253645" y="13348"/>
                    </a:cubicBezTo>
                    <a:lnTo>
                      <a:pt x="40045" y="13348"/>
                    </a:lnTo>
                    <a:close/>
                  </a:path>
                </a:pathLst>
              </a:custGeom>
              <a:solidFill>
                <a:schemeClr val="tx2"/>
              </a:solidFill>
              <a:ln w="2553" cap="flat">
                <a:noFill/>
                <a:prstDash val="solid"/>
                <a:miter/>
              </a:ln>
            </p:spPr>
            <p:txBody>
              <a:bodyPr rtlCol="0" anchor="ctr"/>
              <a:lstStyle/>
              <a:p>
                <a:endParaRPr lang="en-GB" dirty="0"/>
              </a:p>
            </p:txBody>
          </p:sp>
          <p:sp>
            <p:nvSpPr>
              <p:cNvPr id="207" name="Freihandform: Form 814">
                <a:extLst>
                  <a:ext uri="{FF2B5EF4-FFF2-40B4-BE49-F238E27FC236}">
                    <a16:creationId xmlns:a16="http://schemas.microsoft.com/office/drawing/2014/main" id="{7FA14FDD-C95C-4FEF-8711-A706E6903698}"/>
                  </a:ext>
                </a:extLst>
              </p:cNvPr>
              <p:cNvSpPr/>
              <p:nvPr/>
            </p:nvSpPr>
            <p:spPr>
              <a:xfrm>
                <a:off x="5396479" y="1673477"/>
                <a:ext cx="293690" cy="13348"/>
              </a:xfrm>
              <a:custGeom>
                <a:avLst/>
                <a:gdLst>
                  <a:gd name="connsiteX0" fmla="*/ 287016 w 293690"/>
                  <a:gd name="connsiteY0" fmla="*/ 13348 h 13348"/>
                  <a:gd name="connsiteX1" fmla="*/ 6674 w 293690"/>
                  <a:gd name="connsiteY1" fmla="*/ 13348 h 13348"/>
                  <a:gd name="connsiteX2" fmla="*/ 0 w 293690"/>
                  <a:gd name="connsiteY2" fmla="*/ 6674 h 13348"/>
                  <a:gd name="connsiteX3" fmla="*/ 6674 w 293690"/>
                  <a:gd name="connsiteY3" fmla="*/ 0 h 13348"/>
                  <a:gd name="connsiteX4" fmla="*/ 287016 w 293690"/>
                  <a:gd name="connsiteY4" fmla="*/ 0 h 13348"/>
                  <a:gd name="connsiteX5" fmla="*/ 293691 w 293690"/>
                  <a:gd name="connsiteY5" fmla="*/ 6674 h 13348"/>
                  <a:gd name="connsiteX6" fmla="*/ 287016 w 29369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690" h="13348">
                    <a:moveTo>
                      <a:pt x="287016" y="13348"/>
                    </a:moveTo>
                    <a:lnTo>
                      <a:pt x="6674" y="13348"/>
                    </a:lnTo>
                    <a:cubicBezTo>
                      <a:pt x="2992" y="13348"/>
                      <a:pt x="0" y="10357"/>
                      <a:pt x="0" y="6674"/>
                    </a:cubicBezTo>
                    <a:cubicBezTo>
                      <a:pt x="0" y="2992"/>
                      <a:pt x="2992" y="0"/>
                      <a:pt x="6674" y="0"/>
                    </a:cubicBezTo>
                    <a:lnTo>
                      <a:pt x="287016" y="0"/>
                    </a:lnTo>
                    <a:cubicBezTo>
                      <a:pt x="290699" y="0"/>
                      <a:pt x="293691" y="2992"/>
                      <a:pt x="293691" y="6674"/>
                    </a:cubicBezTo>
                    <a:cubicBezTo>
                      <a:pt x="293691" y="10357"/>
                      <a:pt x="290699" y="13348"/>
                      <a:pt x="287016" y="13348"/>
                    </a:cubicBezTo>
                    <a:close/>
                  </a:path>
                </a:pathLst>
              </a:custGeom>
              <a:solidFill>
                <a:schemeClr val="tx2"/>
              </a:solidFill>
              <a:ln w="2553" cap="flat">
                <a:noFill/>
                <a:prstDash val="solid"/>
                <a:miter/>
              </a:ln>
            </p:spPr>
            <p:txBody>
              <a:bodyPr rtlCol="0" anchor="ctr"/>
              <a:lstStyle/>
              <a:p>
                <a:endParaRPr lang="en-GB" dirty="0"/>
              </a:p>
            </p:txBody>
          </p:sp>
          <p:sp>
            <p:nvSpPr>
              <p:cNvPr id="208" name="Freihandform: Form 815">
                <a:extLst>
                  <a:ext uri="{FF2B5EF4-FFF2-40B4-BE49-F238E27FC236}">
                    <a16:creationId xmlns:a16="http://schemas.microsoft.com/office/drawing/2014/main" id="{20994C3C-4CB5-46BB-A7C5-1BCE947FCAC3}"/>
                  </a:ext>
                </a:extLst>
              </p:cNvPr>
              <p:cNvSpPr/>
              <p:nvPr/>
            </p:nvSpPr>
            <p:spPr>
              <a:xfrm>
                <a:off x="5396479" y="2007213"/>
                <a:ext cx="293690" cy="13348"/>
              </a:xfrm>
              <a:custGeom>
                <a:avLst/>
                <a:gdLst>
                  <a:gd name="connsiteX0" fmla="*/ 287016 w 293690"/>
                  <a:gd name="connsiteY0" fmla="*/ 13348 h 13348"/>
                  <a:gd name="connsiteX1" fmla="*/ 6674 w 293690"/>
                  <a:gd name="connsiteY1" fmla="*/ 13348 h 13348"/>
                  <a:gd name="connsiteX2" fmla="*/ 0 w 293690"/>
                  <a:gd name="connsiteY2" fmla="*/ 6674 h 13348"/>
                  <a:gd name="connsiteX3" fmla="*/ 6674 w 293690"/>
                  <a:gd name="connsiteY3" fmla="*/ 0 h 13348"/>
                  <a:gd name="connsiteX4" fmla="*/ 287016 w 293690"/>
                  <a:gd name="connsiteY4" fmla="*/ 0 h 13348"/>
                  <a:gd name="connsiteX5" fmla="*/ 293691 w 293690"/>
                  <a:gd name="connsiteY5" fmla="*/ 6674 h 13348"/>
                  <a:gd name="connsiteX6" fmla="*/ 287016 w 29369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3690" h="13348">
                    <a:moveTo>
                      <a:pt x="287016" y="13348"/>
                    </a:moveTo>
                    <a:lnTo>
                      <a:pt x="6674" y="13348"/>
                    </a:lnTo>
                    <a:cubicBezTo>
                      <a:pt x="2992" y="13348"/>
                      <a:pt x="0" y="10357"/>
                      <a:pt x="0" y="6674"/>
                    </a:cubicBezTo>
                    <a:cubicBezTo>
                      <a:pt x="0" y="2992"/>
                      <a:pt x="2992" y="0"/>
                      <a:pt x="6674" y="0"/>
                    </a:cubicBezTo>
                    <a:lnTo>
                      <a:pt x="287016" y="0"/>
                    </a:lnTo>
                    <a:cubicBezTo>
                      <a:pt x="290699" y="0"/>
                      <a:pt x="293691" y="2992"/>
                      <a:pt x="293691" y="6674"/>
                    </a:cubicBezTo>
                    <a:cubicBezTo>
                      <a:pt x="293691" y="10357"/>
                      <a:pt x="290699" y="13348"/>
                      <a:pt x="287016" y="13348"/>
                    </a:cubicBezTo>
                    <a:close/>
                  </a:path>
                </a:pathLst>
              </a:custGeom>
              <a:solidFill>
                <a:schemeClr val="tx2"/>
              </a:solidFill>
              <a:ln w="2553" cap="flat">
                <a:noFill/>
                <a:prstDash val="solid"/>
                <a:miter/>
              </a:ln>
            </p:spPr>
            <p:txBody>
              <a:bodyPr rtlCol="0" anchor="ctr"/>
              <a:lstStyle/>
              <a:p>
                <a:endParaRPr lang="en-GB" dirty="0"/>
              </a:p>
            </p:txBody>
          </p:sp>
        </p:grpSp>
        <p:grpSp>
          <p:nvGrpSpPr>
            <p:cNvPr id="198" name="Gruppieren 1093">
              <a:extLst>
                <a:ext uri="{FF2B5EF4-FFF2-40B4-BE49-F238E27FC236}">
                  <a16:creationId xmlns:a16="http://schemas.microsoft.com/office/drawing/2014/main" id="{1BDBCA02-E911-41E3-9F2D-1BC15530763E}"/>
                </a:ext>
              </a:extLst>
            </p:cNvPr>
            <p:cNvGrpSpPr/>
            <p:nvPr/>
          </p:nvGrpSpPr>
          <p:grpSpPr>
            <a:xfrm>
              <a:off x="5436524" y="1713548"/>
              <a:ext cx="213599" cy="273641"/>
              <a:chOff x="5436524" y="1713548"/>
              <a:chExt cx="213600" cy="273641"/>
            </a:xfrm>
          </p:grpSpPr>
          <p:sp>
            <p:nvSpPr>
              <p:cNvPr id="199" name="Freihandform: Form 816">
                <a:extLst>
                  <a:ext uri="{FF2B5EF4-FFF2-40B4-BE49-F238E27FC236}">
                    <a16:creationId xmlns:a16="http://schemas.microsoft.com/office/drawing/2014/main" id="{DD5C5CB1-54E0-437B-AA49-F9C5C3BB920F}"/>
                  </a:ext>
                </a:extLst>
              </p:cNvPr>
              <p:cNvSpPr/>
              <p:nvPr/>
            </p:nvSpPr>
            <p:spPr>
              <a:xfrm>
                <a:off x="5436524" y="1860380"/>
                <a:ext cx="66742" cy="66742"/>
              </a:xfrm>
              <a:custGeom>
                <a:avLst/>
                <a:gdLst>
                  <a:gd name="connsiteX0" fmla="*/ 60068 w 66742"/>
                  <a:gd name="connsiteY0" fmla="*/ 66742 h 66742"/>
                  <a:gd name="connsiteX1" fmla="*/ 40045 w 66742"/>
                  <a:gd name="connsiteY1" fmla="*/ 66742 h 66742"/>
                  <a:gd name="connsiteX2" fmla="*/ 0 w 66742"/>
                  <a:gd name="connsiteY2" fmla="*/ 26697 h 66742"/>
                  <a:gd name="connsiteX3" fmla="*/ 0 w 66742"/>
                  <a:gd name="connsiteY3" fmla="*/ 6674 h 66742"/>
                  <a:gd name="connsiteX4" fmla="*/ 6674 w 66742"/>
                  <a:gd name="connsiteY4" fmla="*/ 0 h 66742"/>
                  <a:gd name="connsiteX5" fmla="*/ 13348 w 66742"/>
                  <a:gd name="connsiteY5" fmla="*/ 6674 h 66742"/>
                  <a:gd name="connsiteX6" fmla="*/ 13348 w 66742"/>
                  <a:gd name="connsiteY6" fmla="*/ 26697 h 66742"/>
                  <a:gd name="connsiteX7" fmla="*/ 40045 w 66742"/>
                  <a:gd name="connsiteY7" fmla="*/ 53394 h 66742"/>
                  <a:gd name="connsiteX8" fmla="*/ 60068 w 66742"/>
                  <a:gd name="connsiteY8" fmla="*/ 53394 h 66742"/>
                  <a:gd name="connsiteX9" fmla="*/ 66742 w 66742"/>
                  <a:gd name="connsiteY9" fmla="*/ 60068 h 66742"/>
                  <a:gd name="connsiteX10" fmla="*/ 60068 w 66742"/>
                  <a:gd name="connsiteY10"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742" h="66742">
                    <a:moveTo>
                      <a:pt x="60068" y="66742"/>
                    </a:moveTo>
                    <a:lnTo>
                      <a:pt x="40045" y="66742"/>
                    </a:lnTo>
                    <a:cubicBezTo>
                      <a:pt x="17951" y="66742"/>
                      <a:pt x="0" y="48765"/>
                      <a:pt x="0" y="26697"/>
                    </a:cubicBezTo>
                    <a:lnTo>
                      <a:pt x="0" y="6674"/>
                    </a:lnTo>
                    <a:cubicBezTo>
                      <a:pt x="0" y="2992"/>
                      <a:pt x="2992" y="0"/>
                      <a:pt x="6674" y="0"/>
                    </a:cubicBezTo>
                    <a:cubicBezTo>
                      <a:pt x="10357" y="0"/>
                      <a:pt x="13348" y="2992"/>
                      <a:pt x="13348" y="6674"/>
                    </a:cubicBezTo>
                    <a:lnTo>
                      <a:pt x="13348" y="26697"/>
                    </a:lnTo>
                    <a:cubicBezTo>
                      <a:pt x="13348" y="41426"/>
                      <a:pt x="25316" y="53394"/>
                      <a:pt x="40045" y="53394"/>
                    </a:cubicBezTo>
                    <a:lnTo>
                      <a:pt x="60068" y="53394"/>
                    </a:lnTo>
                    <a:cubicBezTo>
                      <a:pt x="63750" y="53394"/>
                      <a:pt x="66742" y="56386"/>
                      <a:pt x="66742" y="60068"/>
                    </a:cubicBezTo>
                    <a:cubicBezTo>
                      <a:pt x="66742" y="63750"/>
                      <a:pt x="63750" y="66742"/>
                      <a:pt x="60068" y="66742"/>
                    </a:cubicBezTo>
                    <a:close/>
                  </a:path>
                </a:pathLst>
              </a:custGeom>
              <a:solidFill>
                <a:schemeClr val="accent1"/>
              </a:solidFill>
              <a:ln w="2553" cap="flat">
                <a:noFill/>
                <a:prstDash val="solid"/>
                <a:miter/>
              </a:ln>
            </p:spPr>
            <p:txBody>
              <a:bodyPr rtlCol="0" anchor="ctr"/>
              <a:lstStyle/>
              <a:p>
                <a:endParaRPr lang="en-GB" dirty="0"/>
              </a:p>
            </p:txBody>
          </p:sp>
          <p:sp>
            <p:nvSpPr>
              <p:cNvPr id="200" name="Freihandform: Form 817">
                <a:extLst>
                  <a:ext uri="{FF2B5EF4-FFF2-40B4-BE49-F238E27FC236}">
                    <a16:creationId xmlns:a16="http://schemas.microsoft.com/office/drawing/2014/main" id="{CFBBF900-B743-4FFF-9BCE-C16E2CACDAB0}"/>
                  </a:ext>
                </a:extLst>
              </p:cNvPr>
              <p:cNvSpPr/>
              <p:nvPr/>
            </p:nvSpPr>
            <p:spPr>
              <a:xfrm>
                <a:off x="5583382" y="1860380"/>
                <a:ext cx="66742" cy="66742"/>
              </a:xfrm>
              <a:custGeom>
                <a:avLst/>
                <a:gdLst>
                  <a:gd name="connsiteX0" fmla="*/ 26697 w 66742"/>
                  <a:gd name="connsiteY0" fmla="*/ 66742 h 66742"/>
                  <a:gd name="connsiteX1" fmla="*/ 6674 w 66742"/>
                  <a:gd name="connsiteY1" fmla="*/ 66742 h 66742"/>
                  <a:gd name="connsiteX2" fmla="*/ 0 w 66742"/>
                  <a:gd name="connsiteY2" fmla="*/ 60068 h 66742"/>
                  <a:gd name="connsiteX3" fmla="*/ 6674 w 66742"/>
                  <a:gd name="connsiteY3" fmla="*/ 53394 h 66742"/>
                  <a:gd name="connsiteX4" fmla="*/ 26697 w 66742"/>
                  <a:gd name="connsiteY4" fmla="*/ 53394 h 66742"/>
                  <a:gd name="connsiteX5" fmla="*/ 53394 w 66742"/>
                  <a:gd name="connsiteY5" fmla="*/ 26697 h 66742"/>
                  <a:gd name="connsiteX6" fmla="*/ 53394 w 66742"/>
                  <a:gd name="connsiteY6" fmla="*/ 6674 h 66742"/>
                  <a:gd name="connsiteX7" fmla="*/ 60068 w 66742"/>
                  <a:gd name="connsiteY7" fmla="*/ 0 h 66742"/>
                  <a:gd name="connsiteX8" fmla="*/ 66742 w 66742"/>
                  <a:gd name="connsiteY8" fmla="*/ 6674 h 66742"/>
                  <a:gd name="connsiteX9" fmla="*/ 66742 w 66742"/>
                  <a:gd name="connsiteY9" fmla="*/ 26697 h 66742"/>
                  <a:gd name="connsiteX10" fmla="*/ 26697 w 66742"/>
                  <a:gd name="connsiteY10"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742" h="66742">
                    <a:moveTo>
                      <a:pt x="26697" y="66742"/>
                    </a:moveTo>
                    <a:lnTo>
                      <a:pt x="6674" y="66742"/>
                    </a:lnTo>
                    <a:cubicBezTo>
                      <a:pt x="2992" y="66742"/>
                      <a:pt x="0" y="63750"/>
                      <a:pt x="0" y="60068"/>
                    </a:cubicBezTo>
                    <a:cubicBezTo>
                      <a:pt x="0" y="56386"/>
                      <a:pt x="2992" y="53394"/>
                      <a:pt x="6674" y="53394"/>
                    </a:cubicBezTo>
                    <a:lnTo>
                      <a:pt x="26697" y="53394"/>
                    </a:lnTo>
                    <a:cubicBezTo>
                      <a:pt x="41426" y="53394"/>
                      <a:pt x="53394" y="41426"/>
                      <a:pt x="53394" y="26697"/>
                    </a:cubicBezTo>
                    <a:lnTo>
                      <a:pt x="53394" y="6674"/>
                    </a:lnTo>
                    <a:cubicBezTo>
                      <a:pt x="53394" y="2992"/>
                      <a:pt x="56386" y="0"/>
                      <a:pt x="60068" y="0"/>
                    </a:cubicBezTo>
                    <a:cubicBezTo>
                      <a:pt x="63750" y="0"/>
                      <a:pt x="66742" y="2992"/>
                      <a:pt x="66742" y="6674"/>
                    </a:cubicBezTo>
                    <a:lnTo>
                      <a:pt x="66742" y="26697"/>
                    </a:lnTo>
                    <a:cubicBezTo>
                      <a:pt x="66742" y="48765"/>
                      <a:pt x="48765" y="66742"/>
                      <a:pt x="26697" y="66742"/>
                    </a:cubicBezTo>
                    <a:close/>
                  </a:path>
                </a:pathLst>
              </a:custGeom>
              <a:solidFill>
                <a:schemeClr val="accent1"/>
              </a:solidFill>
              <a:ln w="2553" cap="flat">
                <a:noFill/>
                <a:prstDash val="solid"/>
                <a:miter/>
              </a:ln>
            </p:spPr>
            <p:txBody>
              <a:bodyPr rtlCol="0" anchor="ctr"/>
              <a:lstStyle/>
              <a:p>
                <a:endParaRPr lang="en-GB" dirty="0"/>
              </a:p>
            </p:txBody>
          </p:sp>
          <p:sp>
            <p:nvSpPr>
              <p:cNvPr id="201" name="Freihandform: Form 818">
                <a:extLst>
                  <a:ext uri="{FF2B5EF4-FFF2-40B4-BE49-F238E27FC236}">
                    <a16:creationId xmlns:a16="http://schemas.microsoft.com/office/drawing/2014/main" id="{767E2411-057C-4AAD-9566-445E0FB4FD9D}"/>
                  </a:ext>
                </a:extLst>
              </p:cNvPr>
              <p:cNvSpPr/>
              <p:nvPr/>
            </p:nvSpPr>
            <p:spPr>
              <a:xfrm>
                <a:off x="5583382" y="1713548"/>
                <a:ext cx="66742" cy="66742"/>
              </a:xfrm>
              <a:custGeom>
                <a:avLst/>
                <a:gdLst>
                  <a:gd name="connsiteX0" fmla="*/ 60068 w 66742"/>
                  <a:gd name="connsiteY0" fmla="*/ 66742 h 66742"/>
                  <a:gd name="connsiteX1" fmla="*/ 53394 w 66742"/>
                  <a:gd name="connsiteY1" fmla="*/ 60068 h 66742"/>
                  <a:gd name="connsiteX2" fmla="*/ 53394 w 66742"/>
                  <a:gd name="connsiteY2" fmla="*/ 40045 h 66742"/>
                  <a:gd name="connsiteX3" fmla="*/ 26697 w 66742"/>
                  <a:gd name="connsiteY3" fmla="*/ 13348 h 66742"/>
                  <a:gd name="connsiteX4" fmla="*/ 6674 w 66742"/>
                  <a:gd name="connsiteY4" fmla="*/ 13348 h 66742"/>
                  <a:gd name="connsiteX5" fmla="*/ 0 w 66742"/>
                  <a:gd name="connsiteY5" fmla="*/ 6674 h 66742"/>
                  <a:gd name="connsiteX6" fmla="*/ 6674 w 66742"/>
                  <a:gd name="connsiteY6" fmla="*/ 0 h 66742"/>
                  <a:gd name="connsiteX7" fmla="*/ 26697 w 66742"/>
                  <a:gd name="connsiteY7" fmla="*/ 0 h 66742"/>
                  <a:gd name="connsiteX8" fmla="*/ 66742 w 66742"/>
                  <a:gd name="connsiteY8" fmla="*/ 40045 h 66742"/>
                  <a:gd name="connsiteX9" fmla="*/ 66742 w 66742"/>
                  <a:gd name="connsiteY9" fmla="*/ 60068 h 66742"/>
                  <a:gd name="connsiteX10" fmla="*/ 60068 w 66742"/>
                  <a:gd name="connsiteY10"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742" h="66742">
                    <a:moveTo>
                      <a:pt x="60068" y="66742"/>
                    </a:moveTo>
                    <a:cubicBezTo>
                      <a:pt x="56386" y="66742"/>
                      <a:pt x="53394" y="63750"/>
                      <a:pt x="53394" y="60068"/>
                    </a:cubicBezTo>
                    <a:lnTo>
                      <a:pt x="53394" y="40045"/>
                    </a:lnTo>
                    <a:cubicBezTo>
                      <a:pt x="53394" y="25316"/>
                      <a:pt x="41426" y="13348"/>
                      <a:pt x="26697" y="13348"/>
                    </a:cubicBezTo>
                    <a:lnTo>
                      <a:pt x="6674" y="13348"/>
                    </a:lnTo>
                    <a:cubicBezTo>
                      <a:pt x="2992" y="13348"/>
                      <a:pt x="0" y="10357"/>
                      <a:pt x="0" y="6674"/>
                    </a:cubicBezTo>
                    <a:cubicBezTo>
                      <a:pt x="0" y="2992"/>
                      <a:pt x="2992" y="0"/>
                      <a:pt x="6674" y="0"/>
                    </a:cubicBezTo>
                    <a:lnTo>
                      <a:pt x="26697" y="0"/>
                    </a:lnTo>
                    <a:cubicBezTo>
                      <a:pt x="48791" y="0"/>
                      <a:pt x="66742" y="17977"/>
                      <a:pt x="66742" y="40045"/>
                    </a:cubicBezTo>
                    <a:lnTo>
                      <a:pt x="66742" y="60068"/>
                    </a:lnTo>
                    <a:cubicBezTo>
                      <a:pt x="66742" y="63750"/>
                      <a:pt x="63750" y="66742"/>
                      <a:pt x="60068" y="66742"/>
                    </a:cubicBezTo>
                    <a:close/>
                  </a:path>
                </a:pathLst>
              </a:custGeom>
              <a:solidFill>
                <a:schemeClr val="accent1"/>
              </a:solidFill>
              <a:ln w="2553" cap="flat">
                <a:noFill/>
                <a:prstDash val="solid"/>
                <a:miter/>
              </a:ln>
            </p:spPr>
            <p:txBody>
              <a:bodyPr rtlCol="0" anchor="ctr"/>
              <a:lstStyle/>
              <a:p>
                <a:endParaRPr lang="en-GB" dirty="0"/>
              </a:p>
            </p:txBody>
          </p:sp>
          <p:sp>
            <p:nvSpPr>
              <p:cNvPr id="202" name="Freihandform: Form 819">
                <a:extLst>
                  <a:ext uri="{FF2B5EF4-FFF2-40B4-BE49-F238E27FC236}">
                    <a16:creationId xmlns:a16="http://schemas.microsoft.com/office/drawing/2014/main" id="{70DA90FE-14DA-4E76-887F-AC1DC8FBCB07}"/>
                  </a:ext>
                </a:extLst>
              </p:cNvPr>
              <p:cNvSpPr/>
              <p:nvPr/>
            </p:nvSpPr>
            <p:spPr>
              <a:xfrm>
                <a:off x="5436524" y="1713548"/>
                <a:ext cx="66742" cy="66742"/>
              </a:xfrm>
              <a:custGeom>
                <a:avLst/>
                <a:gdLst>
                  <a:gd name="connsiteX0" fmla="*/ 6674 w 66742"/>
                  <a:gd name="connsiteY0" fmla="*/ 66742 h 66742"/>
                  <a:gd name="connsiteX1" fmla="*/ 0 w 66742"/>
                  <a:gd name="connsiteY1" fmla="*/ 60068 h 66742"/>
                  <a:gd name="connsiteX2" fmla="*/ 0 w 66742"/>
                  <a:gd name="connsiteY2" fmla="*/ 40045 h 66742"/>
                  <a:gd name="connsiteX3" fmla="*/ 40045 w 66742"/>
                  <a:gd name="connsiteY3" fmla="*/ 0 h 66742"/>
                  <a:gd name="connsiteX4" fmla="*/ 60068 w 66742"/>
                  <a:gd name="connsiteY4" fmla="*/ 0 h 66742"/>
                  <a:gd name="connsiteX5" fmla="*/ 66742 w 66742"/>
                  <a:gd name="connsiteY5" fmla="*/ 6674 h 66742"/>
                  <a:gd name="connsiteX6" fmla="*/ 60068 w 66742"/>
                  <a:gd name="connsiteY6" fmla="*/ 13348 h 66742"/>
                  <a:gd name="connsiteX7" fmla="*/ 40045 w 66742"/>
                  <a:gd name="connsiteY7" fmla="*/ 13348 h 66742"/>
                  <a:gd name="connsiteX8" fmla="*/ 13348 w 66742"/>
                  <a:gd name="connsiteY8" fmla="*/ 40045 h 66742"/>
                  <a:gd name="connsiteX9" fmla="*/ 13348 w 66742"/>
                  <a:gd name="connsiteY9" fmla="*/ 60068 h 66742"/>
                  <a:gd name="connsiteX10" fmla="*/ 6674 w 66742"/>
                  <a:gd name="connsiteY10" fmla="*/ 66742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6742" h="66742">
                    <a:moveTo>
                      <a:pt x="6674" y="66742"/>
                    </a:moveTo>
                    <a:cubicBezTo>
                      <a:pt x="2992" y="66742"/>
                      <a:pt x="0" y="63750"/>
                      <a:pt x="0" y="60068"/>
                    </a:cubicBezTo>
                    <a:lnTo>
                      <a:pt x="0" y="40045"/>
                    </a:lnTo>
                    <a:cubicBezTo>
                      <a:pt x="0" y="17951"/>
                      <a:pt x="17977" y="0"/>
                      <a:pt x="40045" y="0"/>
                    </a:cubicBezTo>
                    <a:lnTo>
                      <a:pt x="60068" y="0"/>
                    </a:lnTo>
                    <a:cubicBezTo>
                      <a:pt x="63750" y="0"/>
                      <a:pt x="66742" y="2992"/>
                      <a:pt x="66742" y="6674"/>
                    </a:cubicBezTo>
                    <a:cubicBezTo>
                      <a:pt x="66742" y="10357"/>
                      <a:pt x="63750" y="13348"/>
                      <a:pt x="60068" y="13348"/>
                    </a:cubicBezTo>
                    <a:lnTo>
                      <a:pt x="40045" y="13348"/>
                    </a:lnTo>
                    <a:cubicBezTo>
                      <a:pt x="25316" y="13348"/>
                      <a:pt x="13348" y="25316"/>
                      <a:pt x="13348" y="40045"/>
                    </a:cubicBezTo>
                    <a:lnTo>
                      <a:pt x="13348" y="60068"/>
                    </a:lnTo>
                    <a:cubicBezTo>
                      <a:pt x="13348" y="63750"/>
                      <a:pt x="10357" y="66742"/>
                      <a:pt x="6674" y="66742"/>
                    </a:cubicBezTo>
                    <a:close/>
                  </a:path>
                </a:pathLst>
              </a:custGeom>
              <a:solidFill>
                <a:schemeClr val="accent1"/>
              </a:solidFill>
              <a:ln w="2553" cap="flat">
                <a:noFill/>
                <a:prstDash val="solid"/>
                <a:miter/>
              </a:ln>
            </p:spPr>
            <p:txBody>
              <a:bodyPr rtlCol="0" anchor="ctr"/>
              <a:lstStyle/>
              <a:p>
                <a:endParaRPr lang="en-GB" dirty="0"/>
              </a:p>
            </p:txBody>
          </p:sp>
          <p:sp>
            <p:nvSpPr>
              <p:cNvPr id="203" name="Freihandform: Form 820">
                <a:extLst>
                  <a:ext uri="{FF2B5EF4-FFF2-40B4-BE49-F238E27FC236}">
                    <a16:creationId xmlns:a16="http://schemas.microsoft.com/office/drawing/2014/main" id="{029E5F1F-6C06-41F9-899E-5B4294280061}"/>
                  </a:ext>
                </a:extLst>
              </p:cNvPr>
              <p:cNvSpPr/>
              <p:nvPr/>
            </p:nvSpPr>
            <p:spPr>
              <a:xfrm>
                <a:off x="5495646" y="1771089"/>
                <a:ext cx="98553" cy="98573"/>
              </a:xfrm>
              <a:custGeom>
                <a:avLst/>
                <a:gdLst>
                  <a:gd name="connsiteX0" fmla="*/ 14601 w 98553"/>
                  <a:gd name="connsiteY0" fmla="*/ 98574 h 98573"/>
                  <a:gd name="connsiteX1" fmla="*/ 6930 w 98553"/>
                  <a:gd name="connsiteY1" fmla="*/ 96375 h 98573"/>
                  <a:gd name="connsiteX2" fmla="*/ 0 w 98553"/>
                  <a:gd name="connsiteY2" fmla="*/ 83972 h 98573"/>
                  <a:gd name="connsiteX3" fmla="*/ 0 w 98553"/>
                  <a:gd name="connsiteY3" fmla="*/ 14597 h 98573"/>
                  <a:gd name="connsiteX4" fmla="*/ 6930 w 98553"/>
                  <a:gd name="connsiteY4" fmla="*/ 2194 h 98573"/>
                  <a:gd name="connsiteX5" fmla="*/ 21122 w 98553"/>
                  <a:gd name="connsiteY5" fmla="*/ 1555 h 98573"/>
                  <a:gd name="connsiteX6" fmla="*/ 90498 w 98553"/>
                  <a:gd name="connsiteY6" fmla="*/ 36230 h 98573"/>
                  <a:gd name="connsiteX7" fmla="*/ 98553 w 98553"/>
                  <a:gd name="connsiteY7" fmla="*/ 49272 h 98573"/>
                  <a:gd name="connsiteX8" fmla="*/ 90498 w 98553"/>
                  <a:gd name="connsiteY8" fmla="*/ 62313 h 98573"/>
                  <a:gd name="connsiteX9" fmla="*/ 21122 w 98553"/>
                  <a:gd name="connsiteY9" fmla="*/ 96988 h 98573"/>
                  <a:gd name="connsiteX10" fmla="*/ 14601 w 98553"/>
                  <a:gd name="connsiteY10" fmla="*/ 98574 h 98573"/>
                  <a:gd name="connsiteX11" fmla="*/ 14601 w 98553"/>
                  <a:gd name="connsiteY11" fmla="*/ 13369 h 98573"/>
                  <a:gd name="connsiteX12" fmla="*/ 13962 w 98553"/>
                  <a:gd name="connsiteY12" fmla="*/ 13574 h 98573"/>
                  <a:gd name="connsiteX13" fmla="*/ 13374 w 98553"/>
                  <a:gd name="connsiteY13" fmla="*/ 14622 h 98573"/>
                  <a:gd name="connsiteX14" fmla="*/ 13374 w 98553"/>
                  <a:gd name="connsiteY14" fmla="*/ 83998 h 98573"/>
                  <a:gd name="connsiteX15" fmla="*/ 13962 w 98553"/>
                  <a:gd name="connsiteY15" fmla="*/ 85046 h 98573"/>
                  <a:gd name="connsiteX16" fmla="*/ 15164 w 98553"/>
                  <a:gd name="connsiteY16" fmla="*/ 85098 h 98573"/>
                  <a:gd name="connsiteX17" fmla="*/ 84514 w 98553"/>
                  <a:gd name="connsiteY17" fmla="*/ 50422 h 98573"/>
                  <a:gd name="connsiteX18" fmla="*/ 85205 w 98553"/>
                  <a:gd name="connsiteY18" fmla="*/ 49323 h 98573"/>
                  <a:gd name="connsiteX19" fmla="*/ 84514 w 98553"/>
                  <a:gd name="connsiteY19" fmla="*/ 48223 h 98573"/>
                  <a:gd name="connsiteX20" fmla="*/ 15138 w 98553"/>
                  <a:gd name="connsiteY20" fmla="*/ 13548 h 98573"/>
                  <a:gd name="connsiteX21" fmla="*/ 14601 w 98553"/>
                  <a:gd name="connsiteY21" fmla="*/ 13369 h 98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8553" h="98573">
                    <a:moveTo>
                      <a:pt x="14601" y="98574"/>
                    </a:moveTo>
                    <a:cubicBezTo>
                      <a:pt x="11942" y="98574"/>
                      <a:pt x="9308" y="97832"/>
                      <a:pt x="6930" y="96375"/>
                    </a:cubicBezTo>
                    <a:cubicBezTo>
                      <a:pt x="2583" y="93690"/>
                      <a:pt x="0" y="89061"/>
                      <a:pt x="0" y="83972"/>
                    </a:cubicBezTo>
                    <a:lnTo>
                      <a:pt x="0" y="14597"/>
                    </a:lnTo>
                    <a:cubicBezTo>
                      <a:pt x="0" y="9508"/>
                      <a:pt x="2583" y="4854"/>
                      <a:pt x="6930" y="2194"/>
                    </a:cubicBezTo>
                    <a:cubicBezTo>
                      <a:pt x="11252" y="-491"/>
                      <a:pt x="16570" y="-721"/>
                      <a:pt x="21122" y="1555"/>
                    </a:cubicBezTo>
                    <a:lnTo>
                      <a:pt x="90498" y="36230"/>
                    </a:lnTo>
                    <a:cubicBezTo>
                      <a:pt x="95459" y="38711"/>
                      <a:pt x="98553" y="43723"/>
                      <a:pt x="98553" y="49272"/>
                    </a:cubicBezTo>
                    <a:cubicBezTo>
                      <a:pt x="98553" y="54821"/>
                      <a:pt x="95459" y="59833"/>
                      <a:pt x="90498" y="62313"/>
                    </a:cubicBezTo>
                    <a:lnTo>
                      <a:pt x="21122" y="96988"/>
                    </a:lnTo>
                    <a:cubicBezTo>
                      <a:pt x="19076" y="98062"/>
                      <a:pt x="16826" y="98574"/>
                      <a:pt x="14601" y="98574"/>
                    </a:cubicBezTo>
                    <a:close/>
                    <a:moveTo>
                      <a:pt x="14601" y="13369"/>
                    </a:moveTo>
                    <a:cubicBezTo>
                      <a:pt x="14371" y="13369"/>
                      <a:pt x="14167" y="13446"/>
                      <a:pt x="13962" y="13574"/>
                    </a:cubicBezTo>
                    <a:cubicBezTo>
                      <a:pt x="13579" y="13804"/>
                      <a:pt x="13374" y="14162"/>
                      <a:pt x="13374" y="14622"/>
                    </a:cubicBezTo>
                    <a:lnTo>
                      <a:pt x="13374" y="83998"/>
                    </a:lnTo>
                    <a:cubicBezTo>
                      <a:pt x="13374" y="84458"/>
                      <a:pt x="13579" y="84816"/>
                      <a:pt x="13962" y="85046"/>
                    </a:cubicBezTo>
                    <a:cubicBezTo>
                      <a:pt x="14346" y="85277"/>
                      <a:pt x="14755" y="85302"/>
                      <a:pt x="15164" y="85098"/>
                    </a:cubicBezTo>
                    <a:lnTo>
                      <a:pt x="84514" y="50422"/>
                    </a:lnTo>
                    <a:cubicBezTo>
                      <a:pt x="84975" y="50192"/>
                      <a:pt x="85205" y="49834"/>
                      <a:pt x="85205" y="49323"/>
                    </a:cubicBezTo>
                    <a:cubicBezTo>
                      <a:pt x="85205" y="48811"/>
                      <a:pt x="84975" y="48428"/>
                      <a:pt x="84514" y="48223"/>
                    </a:cubicBezTo>
                    <a:lnTo>
                      <a:pt x="15138" y="13548"/>
                    </a:lnTo>
                    <a:cubicBezTo>
                      <a:pt x="14985" y="13395"/>
                      <a:pt x="14806" y="13369"/>
                      <a:pt x="14601" y="13369"/>
                    </a:cubicBezTo>
                    <a:close/>
                  </a:path>
                </a:pathLst>
              </a:custGeom>
              <a:solidFill>
                <a:schemeClr val="accent1"/>
              </a:solidFill>
              <a:ln w="2553" cap="flat">
                <a:noFill/>
                <a:prstDash val="solid"/>
                <a:miter/>
              </a:ln>
            </p:spPr>
            <p:txBody>
              <a:bodyPr rtlCol="0" anchor="ctr"/>
              <a:lstStyle/>
              <a:p>
                <a:endParaRPr lang="en-GB" dirty="0"/>
              </a:p>
            </p:txBody>
          </p:sp>
          <p:sp>
            <p:nvSpPr>
              <p:cNvPr id="204" name="Freihandform: Form 821">
                <a:extLst>
                  <a:ext uri="{FF2B5EF4-FFF2-40B4-BE49-F238E27FC236}">
                    <a16:creationId xmlns:a16="http://schemas.microsoft.com/office/drawing/2014/main" id="{83658A02-CDE8-4D14-B096-867844952905}"/>
                  </a:ext>
                </a:extLst>
              </p:cNvPr>
              <p:cNvSpPr/>
              <p:nvPr/>
            </p:nvSpPr>
            <p:spPr>
              <a:xfrm>
                <a:off x="5436524" y="1967168"/>
                <a:ext cx="213600" cy="13348"/>
              </a:xfrm>
              <a:custGeom>
                <a:avLst/>
                <a:gdLst>
                  <a:gd name="connsiteX0" fmla="*/ 206926 w 213600"/>
                  <a:gd name="connsiteY0" fmla="*/ 13348 h 13348"/>
                  <a:gd name="connsiteX1" fmla="*/ 6674 w 213600"/>
                  <a:gd name="connsiteY1" fmla="*/ 13348 h 13348"/>
                  <a:gd name="connsiteX2" fmla="*/ 0 w 213600"/>
                  <a:gd name="connsiteY2" fmla="*/ 6674 h 13348"/>
                  <a:gd name="connsiteX3" fmla="*/ 6674 w 213600"/>
                  <a:gd name="connsiteY3" fmla="*/ 0 h 13348"/>
                  <a:gd name="connsiteX4" fmla="*/ 206926 w 213600"/>
                  <a:gd name="connsiteY4" fmla="*/ 0 h 13348"/>
                  <a:gd name="connsiteX5" fmla="*/ 213600 w 213600"/>
                  <a:gd name="connsiteY5" fmla="*/ 6674 h 13348"/>
                  <a:gd name="connsiteX6" fmla="*/ 206926 w 213600"/>
                  <a:gd name="connsiteY6" fmla="*/ 13348 h 13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3600" h="13348">
                    <a:moveTo>
                      <a:pt x="206926" y="13348"/>
                    </a:moveTo>
                    <a:lnTo>
                      <a:pt x="6674" y="13348"/>
                    </a:lnTo>
                    <a:cubicBezTo>
                      <a:pt x="2992" y="13348"/>
                      <a:pt x="0" y="10357"/>
                      <a:pt x="0" y="6674"/>
                    </a:cubicBezTo>
                    <a:cubicBezTo>
                      <a:pt x="0" y="2992"/>
                      <a:pt x="2992" y="0"/>
                      <a:pt x="6674" y="0"/>
                    </a:cubicBezTo>
                    <a:lnTo>
                      <a:pt x="206926" y="0"/>
                    </a:lnTo>
                    <a:cubicBezTo>
                      <a:pt x="210608" y="0"/>
                      <a:pt x="213600" y="2992"/>
                      <a:pt x="213600" y="6674"/>
                    </a:cubicBezTo>
                    <a:cubicBezTo>
                      <a:pt x="213600" y="10357"/>
                      <a:pt x="210608" y="13348"/>
                      <a:pt x="206926" y="13348"/>
                    </a:cubicBezTo>
                    <a:close/>
                  </a:path>
                </a:pathLst>
              </a:custGeom>
              <a:solidFill>
                <a:schemeClr val="accent1"/>
              </a:solidFill>
              <a:ln w="2553" cap="flat">
                <a:noFill/>
                <a:prstDash val="solid"/>
                <a:miter/>
              </a:ln>
            </p:spPr>
            <p:txBody>
              <a:bodyPr rtlCol="0" anchor="ctr"/>
              <a:lstStyle/>
              <a:p>
                <a:endParaRPr lang="en-GB" dirty="0"/>
              </a:p>
            </p:txBody>
          </p:sp>
          <p:sp>
            <p:nvSpPr>
              <p:cNvPr id="205" name="Freihandform: Form 822">
                <a:extLst>
                  <a:ext uri="{FF2B5EF4-FFF2-40B4-BE49-F238E27FC236}">
                    <a16:creationId xmlns:a16="http://schemas.microsoft.com/office/drawing/2014/main" id="{BFB59C06-0131-429F-9305-E4CF928F8611}"/>
                  </a:ext>
                </a:extLst>
              </p:cNvPr>
              <p:cNvSpPr/>
              <p:nvPr/>
            </p:nvSpPr>
            <p:spPr>
              <a:xfrm>
                <a:off x="5590056" y="1960493"/>
                <a:ext cx="13348" cy="26696"/>
              </a:xfrm>
              <a:custGeom>
                <a:avLst/>
                <a:gdLst>
                  <a:gd name="connsiteX0" fmla="*/ 6674 w 13348"/>
                  <a:gd name="connsiteY0" fmla="*/ 26697 h 26696"/>
                  <a:gd name="connsiteX1" fmla="*/ 0 w 13348"/>
                  <a:gd name="connsiteY1" fmla="*/ 20023 h 26696"/>
                  <a:gd name="connsiteX2" fmla="*/ 0 w 13348"/>
                  <a:gd name="connsiteY2" fmla="*/ 6674 h 26696"/>
                  <a:gd name="connsiteX3" fmla="*/ 6674 w 13348"/>
                  <a:gd name="connsiteY3" fmla="*/ 0 h 26696"/>
                  <a:gd name="connsiteX4" fmla="*/ 13348 w 13348"/>
                  <a:gd name="connsiteY4" fmla="*/ 6674 h 26696"/>
                  <a:gd name="connsiteX5" fmla="*/ 13348 w 13348"/>
                  <a:gd name="connsiteY5" fmla="*/ 20023 h 26696"/>
                  <a:gd name="connsiteX6" fmla="*/ 6674 w 13348"/>
                  <a:gd name="connsiteY6" fmla="*/ 26697 h 26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48" h="26696">
                    <a:moveTo>
                      <a:pt x="6674" y="26697"/>
                    </a:moveTo>
                    <a:cubicBezTo>
                      <a:pt x="2992" y="26697"/>
                      <a:pt x="0" y="23705"/>
                      <a:pt x="0" y="20023"/>
                    </a:cubicBezTo>
                    <a:lnTo>
                      <a:pt x="0" y="6674"/>
                    </a:lnTo>
                    <a:cubicBezTo>
                      <a:pt x="0" y="2992"/>
                      <a:pt x="2992" y="0"/>
                      <a:pt x="6674" y="0"/>
                    </a:cubicBezTo>
                    <a:cubicBezTo>
                      <a:pt x="10357" y="0"/>
                      <a:pt x="13348" y="2992"/>
                      <a:pt x="13348" y="6674"/>
                    </a:cubicBezTo>
                    <a:lnTo>
                      <a:pt x="13348" y="20023"/>
                    </a:lnTo>
                    <a:cubicBezTo>
                      <a:pt x="13348" y="23705"/>
                      <a:pt x="10357" y="26697"/>
                      <a:pt x="6674" y="26697"/>
                    </a:cubicBezTo>
                    <a:close/>
                  </a:path>
                </a:pathLst>
              </a:custGeom>
              <a:solidFill>
                <a:schemeClr val="accent1"/>
              </a:solidFill>
              <a:ln w="2553" cap="flat">
                <a:noFill/>
                <a:prstDash val="solid"/>
                <a:miter/>
              </a:ln>
            </p:spPr>
            <p:txBody>
              <a:bodyPr rtlCol="0" anchor="ctr"/>
              <a:lstStyle/>
              <a:p>
                <a:endParaRPr lang="en-GB" dirty="0"/>
              </a:p>
            </p:txBody>
          </p:sp>
        </p:grpSp>
      </p:grpSp>
      <p:sp>
        <p:nvSpPr>
          <p:cNvPr id="20" name="TextBox 19">
            <a:extLst>
              <a:ext uri="{FF2B5EF4-FFF2-40B4-BE49-F238E27FC236}">
                <a16:creationId xmlns:a16="http://schemas.microsoft.com/office/drawing/2014/main" id="{620E2A22-785E-4839-9152-B4FE1790116C}"/>
              </a:ext>
            </a:extLst>
          </p:cNvPr>
          <p:cNvSpPr txBox="1"/>
          <p:nvPr/>
        </p:nvSpPr>
        <p:spPr>
          <a:xfrm>
            <a:off x="487133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a:t>
            </a:r>
          </a:p>
        </p:txBody>
      </p:sp>
      <p:sp>
        <p:nvSpPr>
          <p:cNvPr id="24" name="TextBox 23">
            <a:extLst>
              <a:ext uri="{FF2B5EF4-FFF2-40B4-BE49-F238E27FC236}">
                <a16:creationId xmlns:a16="http://schemas.microsoft.com/office/drawing/2014/main" id="{CB746B8D-1BA3-4C6A-AC46-B8EA2B7CE1F8}"/>
              </a:ext>
            </a:extLst>
          </p:cNvPr>
          <p:cNvSpPr txBox="1"/>
          <p:nvPr/>
        </p:nvSpPr>
        <p:spPr>
          <a:xfrm>
            <a:off x="487133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udget</a:t>
            </a:r>
          </a:p>
        </p:txBody>
      </p:sp>
      <p:grpSp>
        <p:nvGrpSpPr>
          <p:cNvPr id="338" name="Gruppieren 868">
            <a:extLst>
              <a:ext uri="{FF2B5EF4-FFF2-40B4-BE49-F238E27FC236}">
                <a16:creationId xmlns:a16="http://schemas.microsoft.com/office/drawing/2014/main" id="{7D318CA1-E604-488E-B8E6-157F68C19282}"/>
              </a:ext>
            </a:extLst>
          </p:cNvPr>
          <p:cNvGrpSpPr>
            <a:grpSpLocks noChangeAspect="1"/>
          </p:cNvGrpSpPr>
          <p:nvPr/>
        </p:nvGrpSpPr>
        <p:grpSpPr>
          <a:xfrm>
            <a:off x="4971068" y="1585986"/>
            <a:ext cx="484401" cy="431998"/>
            <a:chOff x="6125029" y="3324830"/>
            <a:chExt cx="492812" cy="439499"/>
          </a:xfrm>
        </p:grpSpPr>
        <p:grpSp>
          <p:nvGrpSpPr>
            <p:cNvPr id="339" name="Gruppieren 867">
              <a:extLst>
                <a:ext uri="{FF2B5EF4-FFF2-40B4-BE49-F238E27FC236}">
                  <a16:creationId xmlns:a16="http://schemas.microsoft.com/office/drawing/2014/main" id="{60AAAD58-C453-4071-8148-2DFB392F7527}"/>
                </a:ext>
              </a:extLst>
            </p:cNvPr>
            <p:cNvGrpSpPr/>
            <p:nvPr/>
          </p:nvGrpSpPr>
          <p:grpSpPr>
            <a:xfrm>
              <a:off x="6204947" y="3324830"/>
              <a:ext cx="332980" cy="279683"/>
              <a:chOff x="6204947" y="3324828"/>
              <a:chExt cx="332980" cy="279682"/>
            </a:xfrm>
          </p:grpSpPr>
          <p:sp>
            <p:nvSpPr>
              <p:cNvPr id="347" name="Freihandform: Form 697">
                <a:extLst>
                  <a:ext uri="{FF2B5EF4-FFF2-40B4-BE49-F238E27FC236}">
                    <a16:creationId xmlns:a16="http://schemas.microsoft.com/office/drawing/2014/main" id="{3D452FE3-B3CD-4930-98E2-0A79B7E0B194}"/>
                  </a:ext>
                </a:extLst>
              </p:cNvPr>
              <p:cNvSpPr/>
              <p:nvPr/>
            </p:nvSpPr>
            <p:spPr>
              <a:xfrm>
                <a:off x="6264884" y="3591194"/>
                <a:ext cx="73251" cy="13316"/>
              </a:xfrm>
              <a:custGeom>
                <a:avLst/>
                <a:gdLst>
                  <a:gd name="connsiteX0" fmla="*/ 66593 w 73251"/>
                  <a:gd name="connsiteY0" fmla="*/ 13317 h 13316"/>
                  <a:gd name="connsiteX1" fmla="*/ 6659 w 73251"/>
                  <a:gd name="connsiteY1" fmla="*/ 13317 h 13316"/>
                  <a:gd name="connsiteX2" fmla="*/ 0 w 73251"/>
                  <a:gd name="connsiteY2" fmla="*/ 6658 h 13316"/>
                  <a:gd name="connsiteX3" fmla="*/ 6659 w 73251"/>
                  <a:gd name="connsiteY3" fmla="*/ 0 h 13316"/>
                  <a:gd name="connsiteX4" fmla="*/ 66593 w 73251"/>
                  <a:gd name="connsiteY4" fmla="*/ 0 h 13316"/>
                  <a:gd name="connsiteX5" fmla="*/ 73252 w 73251"/>
                  <a:gd name="connsiteY5" fmla="*/ 6658 h 13316"/>
                  <a:gd name="connsiteX6" fmla="*/ 66593 w 73251"/>
                  <a:gd name="connsiteY6" fmla="*/ 13317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51" h="13316">
                    <a:moveTo>
                      <a:pt x="66593" y="13317"/>
                    </a:moveTo>
                    <a:lnTo>
                      <a:pt x="6659" y="13317"/>
                    </a:lnTo>
                    <a:cubicBezTo>
                      <a:pt x="2981" y="13317"/>
                      <a:pt x="0" y="10338"/>
                      <a:pt x="0" y="6658"/>
                    </a:cubicBezTo>
                    <a:cubicBezTo>
                      <a:pt x="0" y="2978"/>
                      <a:pt x="2981" y="0"/>
                      <a:pt x="6659" y="0"/>
                    </a:cubicBezTo>
                    <a:lnTo>
                      <a:pt x="66593" y="0"/>
                    </a:lnTo>
                    <a:cubicBezTo>
                      <a:pt x="70271" y="0"/>
                      <a:pt x="73252" y="2978"/>
                      <a:pt x="73252" y="6658"/>
                    </a:cubicBezTo>
                    <a:cubicBezTo>
                      <a:pt x="73252" y="10338"/>
                      <a:pt x="70271" y="13317"/>
                      <a:pt x="66593" y="13317"/>
                    </a:cubicBezTo>
                    <a:close/>
                  </a:path>
                </a:pathLst>
              </a:custGeom>
              <a:solidFill>
                <a:schemeClr val="tx2"/>
              </a:solidFill>
              <a:ln w="254" cap="flat">
                <a:noFill/>
                <a:prstDash val="solid"/>
                <a:miter/>
              </a:ln>
            </p:spPr>
            <p:txBody>
              <a:bodyPr rtlCol="0" anchor="ctr"/>
              <a:lstStyle/>
              <a:p>
                <a:endParaRPr lang="en-GB" dirty="0"/>
              </a:p>
            </p:txBody>
          </p:sp>
          <p:sp>
            <p:nvSpPr>
              <p:cNvPr id="348" name="Freihandform: Form 698">
                <a:extLst>
                  <a:ext uri="{FF2B5EF4-FFF2-40B4-BE49-F238E27FC236}">
                    <a16:creationId xmlns:a16="http://schemas.microsoft.com/office/drawing/2014/main" id="{58F6398A-C025-4F07-90D1-B67B5E84156D}"/>
                  </a:ext>
                </a:extLst>
              </p:cNvPr>
              <p:cNvSpPr/>
              <p:nvPr/>
            </p:nvSpPr>
            <p:spPr>
              <a:xfrm>
                <a:off x="6404734" y="3591194"/>
                <a:ext cx="73254" cy="13316"/>
              </a:xfrm>
              <a:custGeom>
                <a:avLst/>
                <a:gdLst>
                  <a:gd name="connsiteX0" fmla="*/ 66596 w 73254"/>
                  <a:gd name="connsiteY0" fmla="*/ 13317 h 13316"/>
                  <a:gd name="connsiteX1" fmla="*/ 6659 w 73254"/>
                  <a:gd name="connsiteY1" fmla="*/ 13317 h 13316"/>
                  <a:gd name="connsiteX2" fmla="*/ 0 w 73254"/>
                  <a:gd name="connsiteY2" fmla="*/ 6658 h 13316"/>
                  <a:gd name="connsiteX3" fmla="*/ 6659 w 73254"/>
                  <a:gd name="connsiteY3" fmla="*/ 0 h 13316"/>
                  <a:gd name="connsiteX4" fmla="*/ 66596 w 73254"/>
                  <a:gd name="connsiteY4" fmla="*/ 0 h 13316"/>
                  <a:gd name="connsiteX5" fmla="*/ 73254 w 73254"/>
                  <a:gd name="connsiteY5" fmla="*/ 6658 h 13316"/>
                  <a:gd name="connsiteX6" fmla="*/ 66596 w 73254"/>
                  <a:gd name="connsiteY6" fmla="*/ 13317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254" h="13316">
                    <a:moveTo>
                      <a:pt x="66596" y="13317"/>
                    </a:moveTo>
                    <a:lnTo>
                      <a:pt x="6659" y="13317"/>
                    </a:lnTo>
                    <a:cubicBezTo>
                      <a:pt x="2981" y="13317"/>
                      <a:pt x="0" y="10338"/>
                      <a:pt x="0" y="6658"/>
                    </a:cubicBezTo>
                    <a:cubicBezTo>
                      <a:pt x="0" y="2978"/>
                      <a:pt x="2981" y="0"/>
                      <a:pt x="6659" y="0"/>
                    </a:cubicBezTo>
                    <a:lnTo>
                      <a:pt x="66596" y="0"/>
                    </a:lnTo>
                    <a:cubicBezTo>
                      <a:pt x="70273" y="0"/>
                      <a:pt x="73254" y="2978"/>
                      <a:pt x="73254" y="6658"/>
                    </a:cubicBezTo>
                    <a:cubicBezTo>
                      <a:pt x="73254" y="10338"/>
                      <a:pt x="70273" y="13317"/>
                      <a:pt x="66596" y="13317"/>
                    </a:cubicBezTo>
                    <a:close/>
                  </a:path>
                </a:pathLst>
              </a:custGeom>
              <a:solidFill>
                <a:schemeClr val="tx2"/>
              </a:solidFill>
              <a:ln w="254" cap="flat">
                <a:noFill/>
                <a:prstDash val="solid"/>
                <a:miter/>
              </a:ln>
            </p:spPr>
            <p:txBody>
              <a:bodyPr rtlCol="0" anchor="ctr"/>
              <a:lstStyle/>
              <a:p>
                <a:endParaRPr lang="en-GB" dirty="0"/>
              </a:p>
            </p:txBody>
          </p:sp>
          <p:sp>
            <p:nvSpPr>
              <p:cNvPr id="349" name="Freihandform: Form 699">
                <a:extLst>
                  <a:ext uri="{FF2B5EF4-FFF2-40B4-BE49-F238E27FC236}">
                    <a16:creationId xmlns:a16="http://schemas.microsoft.com/office/drawing/2014/main" id="{CE3FDB16-46FD-4F5B-9E08-5013D337E404}"/>
                  </a:ext>
                </a:extLst>
              </p:cNvPr>
              <p:cNvSpPr/>
              <p:nvPr/>
            </p:nvSpPr>
            <p:spPr>
              <a:xfrm>
                <a:off x="6204947" y="3378101"/>
                <a:ext cx="332980" cy="206431"/>
              </a:xfrm>
              <a:custGeom>
                <a:avLst/>
                <a:gdLst>
                  <a:gd name="connsiteX0" fmla="*/ 326319 w 332980"/>
                  <a:gd name="connsiteY0" fmla="*/ 206431 h 206431"/>
                  <a:gd name="connsiteX1" fmla="*/ 319660 w 332980"/>
                  <a:gd name="connsiteY1" fmla="*/ 199773 h 206431"/>
                  <a:gd name="connsiteX2" fmla="*/ 319660 w 332980"/>
                  <a:gd name="connsiteY2" fmla="*/ 19978 h 206431"/>
                  <a:gd name="connsiteX3" fmla="*/ 313000 w 332980"/>
                  <a:gd name="connsiteY3" fmla="*/ 13319 h 206431"/>
                  <a:gd name="connsiteX4" fmla="*/ 19977 w 332980"/>
                  <a:gd name="connsiteY4" fmla="*/ 13319 h 206431"/>
                  <a:gd name="connsiteX5" fmla="*/ 13318 w 332980"/>
                  <a:gd name="connsiteY5" fmla="*/ 19978 h 206431"/>
                  <a:gd name="connsiteX6" fmla="*/ 13318 w 332980"/>
                  <a:gd name="connsiteY6" fmla="*/ 199773 h 206431"/>
                  <a:gd name="connsiteX7" fmla="*/ 6659 w 332980"/>
                  <a:gd name="connsiteY7" fmla="*/ 206431 h 206431"/>
                  <a:gd name="connsiteX8" fmla="*/ 0 w 332980"/>
                  <a:gd name="connsiteY8" fmla="*/ 199773 h 206431"/>
                  <a:gd name="connsiteX9" fmla="*/ 0 w 332980"/>
                  <a:gd name="connsiteY9" fmla="*/ 19978 h 206431"/>
                  <a:gd name="connsiteX10" fmla="*/ 19980 w 332980"/>
                  <a:gd name="connsiteY10" fmla="*/ 0 h 206431"/>
                  <a:gd name="connsiteX11" fmla="*/ 313000 w 332980"/>
                  <a:gd name="connsiteY11" fmla="*/ 0 h 206431"/>
                  <a:gd name="connsiteX12" fmla="*/ 332980 w 332980"/>
                  <a:gd name="connsiteY12" fmla="*/ 19978 h 206431"/>
                  <a:gd name="connsiteX13" fmla="*/ 332980 w 332980"/>
                  <a:gd name="connsiteY13" fmla="*/ 199773 h 206431"/>
                  <a:gd name="connsiteX14" fmla="*/ 326319 w 332980"/>
                  <a:gd name="connsiteY14" fmla="*/ 206431 h 20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2980" h="206431">
                    <a:moveTo>
                      <a:pt x="326319" y="206431"/>
                    </a:moveTo>
                    <a:cubicBezTo>
                      <a:pt x="322641" y="206431"/>
                      <a:pt x="319660" y="203453"/>
                      <a:pt x="319660" y="199773"/>
                    </a:cubicBezTo>
                    <a:lnTo>
                      <a:pt x="319660" y="19978"/>
                    </a:lnTo>
                    <a:cubicBezTo>
                      <a:pt x="319660" y="16303"/>
                      <a:pt x="316671" y="13319"/>
                      <a:pt x="313000" y="13319"/>
                    </a:cubicBezTo>
                    <a:lnTo>
                      <a:pt x="19977" y="13319"/>
                    </a:lnTo>
                    <a:cubicBezTo>
                      <a:pt x="16307" y="13319"/>
                      <a:pt x="13318" y="16303"/>
                      <a:pt x="13318" y="19978"/>
                    </a:cubicBezTo>
                    <a:lnTo>
                      <a:pt x="13318" y="199773"/>
                    </a:lnTo>
                    <a:cubicBezTo>
                      <a:pt x="13318" y="203453"/>
                      <a:pt x="10337" y="206431"/>
                      <a:pt x="6659" y="206431"/>
                    </a:cubicBezTo>
                    <a:cubicBezTo>
                      <a:pt x="2981" y="206431"/>
                      <a:pt x="0" y="203453"/>
                      <a:pt x="0" y="199773"/>
                    </a:cubicBezTo>
                    <a:lnTo>
                      <a:pt x="0" y="19978"/>
                    </a:lnTo>
                    <a:cubicBezTo>
                      <a:pt x="0" y="8961"/>
                      <a:pt x="8962" y="0"/>
                      <a:pt x="19980" y="0"/>
                    </a:cubicBezTo>
                    <a:lnTo>
                      <a:pt x="313000" y="0"/>
                    </a:lnTo>
                    <a:cubicBezTo>
                      <a:pt x="324018" y="0"/>
                      <a:pt x="332980" y="8961"/>
                      <a:pt x="332980" y="19978"/>
                    </a:cubicBezTo>
                    <a:lnTo>
                      <a:pt x="332980" y="199773"/>
                    </a:lnTo>
                    <a:cubicBezTo>
                      <a:pt x="332980" y="203453"/>
                      <a:pt x="329996" y="206431"/>
                      <a:pt x="326319" y="206431"/>
                    </a:cubicBezTo>
                    <a:close/>
                  </a:path>
                </a:pathLst>
              </a:custGeom>
              <a:solidFill>
                <a:schemeClr val="tx2"/>
              </a:solidFill>
              <a:ln w="254" cap="flat">
                <a:noFill/>
                <a:prstDash val="solid"/>
                <a:miter/>
              </a:ln>
            </p:spPr>
            <p:txBody>
              <a:bodyPr rtlCol="0" anchor="ctr"/>
              <a:lstStyle/>
              <a:p>
                <a:endParaRPr lang="en-GB" dirty="0"/>
              </a:p>
            </p:txBody>
          </p:sp>
          <p:sp>
            <p:nvSpPr>
              <p:cNvPr id="350" name="Freihandform: Form 700">
                <a:extLst>
                  <a:ext uri="{FF2B5EF4-FFF2-40B4-BE49-F238E27FC236}">
                    <a16:creationId xmlns:a16="http://schemas.microsoft.com/office/drawing/2014/main" id="{3B318EC3-1EEC-480B-A7D7-3CACCE90E83B}"/>
                  </a:ext>
                </a:extLst>
              </p:cNvPr>
              <p:cNvSpPr/>
              <p:nvPr/>
            </p:nvSpPr>
            <p:spPr>
              <a:xfrm>
                <a:off x="6328754" y="3348336"/>
                <a:ext cx="86174" cy="41529"/>
              </a:xfrm>
              <a:custGeom>
                <a:avLst/>
                <a:gdLst>
                  <a:gd name="connsiteX0" fmla="*/ 6663 w 86174"/>
                  <a:gd name="connsiteY0" fmla="*/ 41529 h 41529"/>
                  <a:gd name="connsiteX1" fmla="*/ 4998 w 86174"/>
                  <a:gd name="connsiteY1" fmla="*/ 41321 h 41529"/>
                  <a:gd name="connsiteX2" fmla="*/ 212 w 86174"/>
                  <a:gd name="connsiteY2" fmla="*/ 33211 h 41529"/>
                  <a:gd name="connsiteX3" fmla="*/ 43089 w 86174"/>
                  <a:gd name="connsiteY3" fmla="*/ 0 h 41529"/>
                  <a:gd name="connsiteX4" fmla="*/ 85961 w 86174"/>
                  <a:gd name="connsiteY4" fmla="*/ 33178 h 41529"/>
                  <a:gd name="connsiteX5" fmla="*/ 81176 w 86174"/>
                  <a:gd name="connsiteY5" fmla="*/ 41293 h 41529"/>
                  <a:gd name="connsiteX6" fmla="*/ 73065 w 86174"/>
                  <a:gd name="connsiteY6" fmla="*/ 36507 h 41529"/>
                  <a:gd name="connsiteX7" fmla="*/ 43089 w 86174"/>
                  <a:gd name="connsiteY7" fmla="*/ 13317 h 41529"/>
                  <a:gd name="connsiteX8" fmla="*/ 13108 w 86174"/>
                  <a:gd name="connsiteY8" fmla="*/ 36525 h 41529"/>
                  <a:gd name="connsiteX9" fmla="*/ 6663 w 86174"/>
                  <a:gd name="connsiteY9" fmla="*/ 41529 h 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174" h="41529">
                    <a:moveTo>
                      <a:pt x="6663" y="41529"/>
                    </a:moveTo>
                    <a:cubicBezTo>
                      <a:pt x="6114" y="41529"/>
                      <a:pt x="5557" y="41463"/>
                      <a:pt x="4998" y="41321"/>
                    </a:cubicBezTo>
                    <a:cubicBezTo>
                      <a:pt x="1437" y="40403"/>
                      <a:pt x="-705" y="36769"/>
                      <a:pt x="212" y="33211"/>
                    </a:cubicBezTo>
                    <a:cubicBezTo>
                      <a:pt x="5247" y="13657"/>
                      <a:pt x="22881" y="0"/>
                      <a:pt x="43089" y="0"/>
                    </a:cubicBezTo>
                    <a:cubicBezTo>
                      <a:pt x="63293" y="0"/>
                      <a:pt x="80921" y="13642"/>
                      <a:pt x="85961" y="33178"/>
                    </a:cubicBezTo>
                    <a:cubicBezTo>
                      <a:pt x="86881" y="36741"/>
                      <a:pt x="84739" y="40370"/>
                      <a:pt x="81176" y="41293"/>
                    </a:cubicBezTo>
                    <a:cubicBezTo>
                      <a:pt x="77627" y="42203"/>
                      <a:pt x="73983" y="40070"/>
                      <a:pt x="73065" y="36507"/>
                    </a:cubicBezTo>
                    <a:cubicBezTo>
                      <a:pt x="69543" y="22850"/>
                      <a:pt x="57216" y="13317"/>
                      <a:pt x="43089" y="13317"/>
                    </a:cubicBezTo>
                    <a:cubicBezTo>
                      <a:pt x="28958" y="13317"/>
                      <a:pt x="16629" y="22863"/>
                      <a:pt x="13108" y="36525"/>
                    </a:cubicBezTo>
                    <a:cubicBezTo>
                      <a:pt x="12333" y="39532"/>
                      <a:pt x="9626" y="41529"/>
                      <a:pt x="6663" y="41529"/>
                    </a:cubicBezTo>
                    <a:close/>
                  </a:path>
                </a:pathLst>
              </a:custGeom>
              <a:solidFill>
                <a:schemeClr val="tx2"/>
              </a:solidFill>
              <a:ln w="254" cap="flat">
                <a:noFill/>
                <a:prstDash val="solid"/>
                <a:miter/>
              </a:ln>
            </p:spPr>
            <p:txBody>
              <a:bodyPr rtlCol="0" anchor="ctr"/>
              <a:lstStyle/>
              <a:p>
                <a:endParaRPr lang="en-GB" dirty="0"/>
              </a:p>
            </p:txBody>
          </p:sp>
          <p:sp>
            <p:nvSpPr>
              <p:cNvPr id="351" name="Freihandform: Form 701">
                <a:extLst>
                  <a:ext uri="{FF2B5EF4-FFF2-40B4-BE49-F238E27FC236}">
                    <a16:creationId xmlns:a16="http://schemas.microsoft.com/office/drawing/2014/main" id="{898CD722-6146-4D29-9CCC-9A1BA8699BA1}"/>
                  </a:ext>
                </a:extLst>
              </p:cNvPr>
              <p:cNvSpPr/>
              <p:nvPr/>
            </p:nvSpPr>
            <p:spPr>
              <a:xfrm>
                <a:off x="6318156" y="3324828"/>
                <a:ext cx="41540" cy="41529"/>
              </a:xfrm>
              <a:custGeom>
                <a:avLst/>
                <a:gdLst>
                  <a:gd name="connsiteX0" fmla="*/ 34881 w 41540"/>
                  <a:gd name="connsiteY0" fmla="*/ 41529 h 41529"/>
                  <a:gd name="connsiteX1" fmla="*/ 30172 w 41540"/>
                  <a:gd name="connsiteY1" fmla="*/ 39577 h 41529"/>
                  <a:gd name="connsiteX2" fmla="*/ 1952 w 41540"/>
                  <a:gd name="connsiteY2" fmla="*/ 11368 h 41529"/>
                  <a:gd name="connsiteX3" fmla="*/ 1952 w 41540"/>
                  <a:gd name="connsiteY3" fmla="*/ 1952 h 41529"/>
                  <a:gd name="connsiteX4" fmla="*/ 11369 w 41540"/>
                  <a:gd name="connsiteY4" fmla="*/ 1952 h 41529"/>
                  <a:gd name="connsiteX5" fmla="*/ 39588 w 41540"/>
                  <a:gd name="connsiteY5" fmla="*/ 30161 h 41529"/>
                  <a:gd name="connsiteX6" fmla="*/ 39588 w 41540"/>
                  <a:gd name="connsiteY6" fmla="*/ 39577 h 41529"/>
                  <a:gd name="connsiteX7" fmla="*/ 34881 w 41540"/>
                  <a:gd name="connsiteY7" fmla="*/ 41529 h 41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540" h="41529">
                    <a:moveTo>
                      <a:pt x="34881" y="41529"/>
                    </a:moveTo>
                    <a:cubicBezTo>
                      <a:pt x="33178" y="41529"/>
                      <a:pt x="31473" y="40879"/>
                      <a:pt x="30172" y="39577"/>
                    </a:cubicBezTo>
                    <a:lnTo>
                      <a:pt x="1952" y="11368"/>
                    </a:lnTo>
                    <a:cubicBezTo>
                      <a:pt x="-651" y="8765"/>
                      <a:pt x="-651" y="4552"/>
                      <a:pt x="1952" y="1952"/>
                    </a:cubicBezTo>
                    <a:cubicBezTo>
                      <a:pt x="4552" y="-651"/>
                      <a:pt x="8769" y="-651"/>
                      <a:pt x="11369" y="1952"/>
                    </a:cubicBezTo>
                    <a:lnTo>
                      <a:pt x="39588" y="30161"/>
                    </a:lnTo>
                    <a:cubicBezTo>
                      <a:pt x="42191" y="32761"/>
                      <a:pt x="42191" y="36978"/>
                      <a:pt x="39588" y="39577"/>
                    </a:cubicBezTo>
                    <a:cubicBezTo>
                      <a:pt x="38289" y="40879"/>
                      <a:pt x="36584" y="41529"/>
                      <a:pt x="34881" y="41529"/>
                    </a:cubicBezTo>
                    <a:close/>
                  </a:path>
                </a:pathLst>
              </a:custGeom>
              <a:solidFill>
                <a:schemeClr val="tx2"/>
              </a:solidFill>
              <a:ln w="254" cap="flat">
                <a:noFill/>
                <a:prstDash val="solid"/>
                <a:miter/>
              </a:ln>
            </p:spPr>
            <p:txBody>
              <a:bodyPr rtlCol="0" anchor="ctr"/>
              <a:lstStyle/>
              <a:p>
                <a:endParaRPr lang="en-GB" dirty="0"/>
              </a:p>
            </p:txBody>
          </p:sp>
          <p:sp>
            <p:nvSpPr>
              <p:cNvPr id="352" name="Freihandform: Form 702">
                <a:extLst>
                  <a:ext uri="{FF2B5EF4-FFF2-40B4-BE49-F238E27FC236}">
                    <a16:creationId xmlns:a16="http://schemas.microsoft.com/office/drawing/2014/main" id="{9A221686-5EBB-41CE-8CD7-CDD5485B2A21}"/>
                  </a:ext>
                </a:extLst>
              </p:cNvPr>
              <p:cNvSpPr/>
              <p:nvPr/>
            </p:nvSpPr>
            <p:spPr>
              <a:xfrm>
                <a:off x="6383990" y="3324831"/>
                <a:ext cx="36825" cy="41526"/>
              </a:xfrm>
              <a:custGeom>
                <a:avLst/>
                <a:gdLst>
                  <a:gd name="connsiteX0" fmla="*/ 6656 w 36825"/>
                  <a:gd name="connsiteY0" fmla="*/ 41526 h 41526"/>
                  <a:gd name="connsiteX1" fmla="*/ 2396 w 36825"/>
                  <a:gd name="connsiteY1" fmla="*/ 39986 h 41526"/>
                  <a:gd name="connsiteX2" fmla="*/ 1542 w 36825"/>
                  <a:gd name="connsiteY2" fmla="*/ 30608 h 41526"/>
                  <a:gd name="connsiteX3" fmla="*/ 25049 w 36825"/>
                  <a:gd name="connsiteY3" fmla="*/ 2398 h 41526"/>
                  <a:gd name="connsiteX4" fmla="*/ 34428 w 36825"/>
                  <a:gd name="connsiteY4" fmla="*/ 1539 h 41526"/>
                  <a:gd name="connsiteX5" fmla="*/ 35285 w 36825"/>
                  <a:gd name="connsiteY5" fmla="*/ 10917 h 41526"/>
                  <a:gd name="connsiteX6" fmla="*/ 11777 w 36825"/>
                  <a:gd name="connsiteY6" fmla="*/ 39127 h 41526"/>
                  <a:gd name="connsiteX7" fmla="*/ 6656 w 36825"/>
                  <a:gd name="connsiteY7" fmla="*/ 41526 h 4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25" h="41526">
                    <a:moveTo>
                      <a:pt x="6656" y="41526"/>
                    </a:moveTo>
                    <a:cubicBezTo>
                      <a:pt x="5154" y="41526"/>
                      <a:pt x="3641" y="41018"/>
                      <a:pt x="2396" y="39986"/>
                    </a:cubicBezTo>
                    <a:cubicBezTo>
                      <a:pt x="-430" y="37633"/>
                      <a:pt x="-809" y="33432"/>
                      <a:pt x="1542" y="30608"/>
                    </a:cubicBezTo>
                    <a:lnTo>
                      <a:pt x="25049" y="2398"/>
                    </a:lnTo>
                    <a:cubicBezTo>
                      <a:pt x="27400" y="-430"/>
                      <a:pt x="31594" y="-809"/>
                      <a:pt x="34428" y="1539"/>
                    </a:cubicBezTo>
                    <a:cubicBezTo>
                      <a:pt x="37254" y="3893"/>
                      <a:pt x="37636" y="8094"/>
                      <a:pt x="35285" y="10917"/>
                    </a:cubicBezTo>
                    <a:lnTo>
                      <a:pt x="11777" y="39127"/>
                    </a:lnTo>
                    <a:cubicBezTo>
                      <a:pt x="10458" y="40713"/>
                      <a:pt x="8565" y="41526"/>
                      <a:pt x="6656" y="41526"/>
                    </a:cubicBezTo>
                    <a:close/>
                  </a:path>
                </a:pathLst>
              </a:custGeom>
              <a:solidFill>
                <a:schemeClr val="tx2"/>
              </a:solidFill>
              <a:ln w="254" cap="flat">
                <a:noFill/>
                <a:prstDash val="solid"/>
                <a:miter/>
              </a:ln>
            </p:spPr>
            <p:txBody>
              <a:bodyPr rtlCol="0" anchor="ctr"/>
              <a:lstStyle/>
              <a:p>
                <a:endParaRPr lang="en-GB" dirty="0"/>
              </a:p>
            </p:txBody>
          </p:sp>
          <p:sp>
            <p:nvSpPr>
              <p:cNvPr id="353" name="Freihandform: Form 710">
                <a:extLst>
                  <a:ext uri="{FF2B5EF4-FFF2-40B4-BE49-F238E27FC236}">
                    <a16:creationId xmlns:a16="http://schemas.microsoft.com/office/drawing/2014/main" id="{F3E81AA3-EFF7-44D8-AA1F-5F7111E4E794}"/>
                  </a:ext>
                </a:extLst>
              </p:cNvPr>
              <p:cNvSpPr/>
              <p:nvPr/>
            </p:nvSpPr>
            <p:spPr>
              <a:xfrm>
                <a:off x="6316486" y="3451766"/>
                <a:ext cx="110795" cy="106703"/>
              </a:xfrm>
              <a:custGeom>
                <a:avLst/>
                <a:gdLst>
                  <a:gd name="connsiteX0" fmla="*/ 29643 w 110795"/>
                  <a:gd name="connsiteY0" fmla="*/ 106704 h 106703"/>
                  <a:gd name="connsiteX1" fmla="*/ 21581 w 110795"/>
                  <a:gd name="connsiteY1" fmla="*/ 104063 h 106703"/>
                  <a:gd name="connsiteX2" fmla="*/ 16124 w 110795"/>
                  <a:gd name="connsiteY2" fmla="*/ 90642 h 106703"/>
                  <a:gd name="connsiteX3" fmla="*/ 19817 w 110795"/>
                  <a:gd name="connsiteY3" fmla="*/ 69083 h 106703"/>
                  <a:gd name="connsiteX4" fmla="*/ 4156 w 110795"/>
                  <a:gd name="connsiteY4" fmla="*/ 53820 h 106703"/>
                  <a:gd name="connsiteX5" fmla="*/ 679 w 110795"/>
                  <a:gd name="connsiteY5" fmla="*/ 39753 h 106703"/>
                  <a:gd name="connsiteX6" fmla="*/ 11760 w 110795"/>
                  <a:gd name="connsiteY6" fmla="*/ 30408 h 106703"/>
                  <a:gd name="connsiteX7" fmla="*/ 33407 w 110795"/>
                  <a:gd name="connsiteY7" fmla="*/ 27262 h 106703"/>
                  <a:gd name="connsiteX8" fmla="*/ 43081 w 110795"/>
                  <a:gd name="connsiteY8" fmla="*/ 7655 h 106703"/>
                  <a:gd name="connsiteX9" fmla="*/ 55395 w 110795"/>
                  <a:gd name="connsiteY9" fmla="*/ 0 h 106703"/>
                  <a:gd name="connsiteX10" fmla="*/ 55397 w 110795"/>
                  <a:gd name="connsiteY10" fmla="*/ 0 h 106703"/>
                  <a:gd name="connsiteX11" fmla="*/ 67707 w 110795"/>
                  <a:gd name="connsiteY11" fmla="*/ 7655 h 106703"/>
                  <a:gd name="connsiteX12" fmla="*/ 77388 w 110795"/>
                  <a:gd name="connsiteY12" fmla="*/ 27262 h 106703"/>
                  <a:gd name="connsiteX13" fmla="*/ 99027 w 110795"/>
                  <a:gd name="connsiteY13" fmla="*/ 30408 h 106703"/>
                  <a:gd name="connsiteX14" fmla="*/ 110113 w 110795"/>
                  <a:gd name="connsiteY14" fmla="*/ 39753 h 106703"/>
                  <a:gd name="connsiteX15" fmla="*/ 106642 w 110795"/>
                  <a:gd name="connsiteY15" fmla="*/ 53820 h 106703"/>
                  <a:gd name="connsiteX16" fmla="*/ 90980 w 110795"/>
                  <a:gd name="connsiteY16" fmla="*/ 69083 h 106703"/>
                  <a:gd name="connsiteX17" fmla="*/ 94678 w 110795"/>
                  <a:gd name="connsiteY17" fmla="*/ 90642 h 106703"/>
                  <a:gd name="connsiteX18" fmla="*/ 89211 w 110795"/>
                  <a:gd name="connsiteY18" fmla="*/ 104071 h 106703"/>
                  <a:gd name="connsiteX19" fmla="*/ 74754 w 110795"/>
                  <a:gd name="connsiteY19" fmla="*/ 105118 h 106703"/>
                  <a:gd name="connsiteX20" fmla="*/ 55397 w 110795"/>
                  <a:gd name="connsiteY20" fmla="*/ 94940 h 106703"/>
                  <a:gd name="connsiteX21" fmla="*/ 36043 w 110795"/>
                  <a:gd name="connsiteY21" fmla="*/ 105110 h 106703"/>
                  <a:gd name="connsiteX22" fmla="*/ 29643 w 110795"/>
                  <a:gd name="connsiteY22" fmla="*/ 106704 h 106703"/>
                  <a:gd name="connsiteX23" fmla="*/ 55402 w 110795"/>
                  <a:gd name="connsiteY23" fmla="*/ 13320 h 106703"/>
                  <a:gd name="connsiteX24" fmla="*/ 43810 w 110795"/>
                  <a:gd name="connsiteY24" fmla="*/ 36294 h 106703"/>
                  <a:gd name="connsiteX25" fmla="*/ 38796 w 110795"/>
                  <a:gd name="connsiteY25" fmla="*/ 39936 h 106703"/>
                  <a:gd name="connsiteX26" fmla="*/ 13689 w 110795"/>
                  <a:gd name="connsiteY26" fmla="*/ 43583 h 106703"/>
                  <a:gd name="connsiteX27" fmla="*/ 13461 w 110795"/>
                  <a:gd name="connsiteY27" fmla="*/ 44284 h 106703"/>
                  <a:gd name="connsiteX28" fmla="*/ 31628 w 110795"/>
                  <a:gd name="connsiteY28" fmla="*/ 61993 h 106703"/>
                  <a:gd name="connsiteX29" fmla="*/ 33545 w 110795"/>
                  <a:gd name="connsiteY29" fmla="*/ 67884 h 106703"/>
                  <a:gd name="connsiteX30" fmla="*/ 29254 w 110795"/>
                  <a:gd name="connsiteY30" fmla="*/ 92889 h 106703"/>
                  <a:gd name="connsiteX31" fmla="*/ 32947 w 110795"/>
                  <a:gd name="connsiteY31" fmla="*/ 99217 h 106703"/>
                  <a:gd name="connsiteX32" fmla="*/ 29849 w 110795"/>
                  <a:gd name="connsiteY32" fmla="*/ 93326 h 106703"/>
                  <a:gd name="connsiteX33" fmla="*/ 52302 w 110795"/>
                  <a:gd name="connsiteY33" fmla="*/ 81523 h 106703"/>
                  <a:gd name="connsiteX34" fmla="*/ 58501 w 110795"/>
                  <a:gd name="connsiteY34" fmla="*/ 81523 h 106703"/>
                  <a:gd name="connsiteX35" fmla="*/ 80958 w 110795"/>
                  <a:gd name="connsiteY35" fmla="*/ 93326 h 106703"/>
                  <a:gd name="connsiteX36" fmla="*/ 88118 w 110795"/>
                  <a:gd name="connsiteY36" fmla="*/ 91765 h 106703"/>
                  <a:gd name="connsiteX37" fmla="*/ 81553 w 110795"/>
                  <a:gd name="connsiteY37" fmla="*/ 92891 h 106703"/>
                  <a:gd name="connsiteX38" fmla="*/ 77263 w 110795"/>
                  <a:gd name="connsiteY38" fmla="*/ 67886 h 106703"/>
                  <a:gd name="connsiteX39" fmla="*/ 79179 w 110795"/>
                  <a:gd name="connsiteY39" fmla="*/ 61995 h 106703"/>
                  <a:gd name="connsiteX40" fmla="*/ 97347 w 110795"/>
                  <a:gd name="connsiteY40" fmla="*/ 44287 h 106703"/>
                  <a:gd name="connsiteX41" fmla="*/ 98076 w 110795"/>
                  <a:gd name="connsiteY41" fmla="*/ 36998 h 106703"/>
                  <a:gd name="connsiteX42" fmla="*/ 97118 w 110795"/>
                  <a:gd name="connsiteY42" fmla="*/ 43585 h 106703"/>
                  <a:gd name="connsiteX43" fmla="*/ 72014 w 110795"/>
                  <a:gd name="connsiteY43" fmla="*/ 39938 h 106703"/>
                  <a:gd name="connsiteX44" fmla="*/ 67002 w 110795"/>
                  <a:gd name="connsiteY44" fmla="*/ 36296 h 106703"/>
                  <a:gd name="connsiteX45" fmla="*/ 55774 w 110795"/>
                  <a:gd name="connsiteY45" fmla="*/ 13548 h 106703"/>
                  <a:gd name="connsiteX46" fmla="*/ 55771 w 110795"/>
                  <a:gd name="connsiteY46" fmla="*/ 13548 h 106703"/>
                  <a:gd name="connsiteX47" fmla="*/ 55402 w 110795"/>
                  <a:gd name="connsiteY47" fmla="*/ 13320 h 10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10795" h="106703">
                    <a:moveTo>
                      <a:pt x="29643" y="106704"/>
                    </a:moveTo>
                    <a:cubicBezTo>
                      <a:pt x="26807" y="106704"/>
                      <a:pt x="23991" y="105812"/>
                      <a:pt x="21581" y="104063"/>
                    </a:cubicBezTo>
                    <a:cubicBezTo>
                      <a:pt x="17324" y="100968"/>
                      <a:pt x="15235" y="95824"/>
                      <a:pt x="16124" y="90642"/>
                    </a:cubicBezTo>
                    <a:lnTo>
                      <a:pt x="19817" y="69083"/>
                    </a:lnTo>
                    <a:lnTo>
                      <a:pt x="4156" y="53820"/>
                    </a:lnTo>
                    <a:cubicBezTo>
                      <a:pt x="389" y="50152"/>
                      <a:pt x="-943" y="44762"/>
                      <a:pt x="679" y="39753"/>
                    </a:cubicBezTo>
                    <a:cubicBezTo>
                      <a:pt x="2305" y="34746"/>
                      <a:pt x="6553" y="31168"/>
                      <a:pt x="11760" y="30408"/>
                    </a:cubicBezTo>
                    <a:lnTo>
                      <a:pt x="33407" y="27262"/>
                    </a:lnTo>
                    <a:lnTo>
                      <a:pt x="43081" y="7655"/>
                    </a:lnTo>
                    <a:cubicBezTo>
                      <a:pt x="45411" y="2933"/>
                      <a:pt x="50131" y="0"/>
                      <a:pt x="55395" y="0"/>
                    </a:cubicBezTo>
                    <a:cubicBezTo>
                      <a:pt x="55397" y="0"/>
                      <a:pt x="55397" y="0"/>
                      <a:pt x="55397" y="0"/>
                    </a:cubicBezTo>
                    <a:cubicBezTo>
                      <a:pt x="60661" y="0"/>
                      <a:pt x="65378" y="2933"/>
                      <a:pt x="67707" y="7655"/>
                    </a:cubicBezTo>
                    <a:lnTo>
                      <a:pt x="77388" y="27262"/>
                    </a:lnTo>
                    <a:lnTo>
                      <a:pt x="99027" y="30408"/>
                    </a:lnTo>
                    <a:cubicBezTo>
                      <a:pt x="104240" y="31163"/>
                      <a:pt x="108487" y="34746"/>
                      <a:pt x="110113" y="39753"/>
                    </a:cubicBezTo>
                    <a:cubicBezTo>
                      <a:pt x="111740" y="44754"/>
                      <a:pt x="110406" y="50145"/>
                      <a:pt x="106642" y="53820"/>
                    </a:cubicBezTo>
                    <a:lnTo>
                      <a:pt x="90980" y="69083"/>
                    </a:lnTo>
                    <a:lnTo>
                      <a:pt x="94678" y="90642"/>
                    </a:lnTo>
                    <a:cubicBezTo>
                      <a:pt x="95565" y="95832"/>
                      <a:pt x="93471" y="100975"/>
                      <a:pt x="89211" y="104071"/>
                    </a:cubicBezTo>
                    <a:cubicBezTo>
                      <a:pt x="84961" y="107154"/>
                      <a:pt x="79416" y="107563"/>
                      <a:pt x="74754" y="105118"/>
                    </a:cubicBezTo>
                    <a:lnTo>
                      <a:pt x="55397" y="94940"/>
                    </a:lnTo>
                    <a:lnTo>
                      <a:pt x="36043" y="105110"/>
                    </a:lnTo>
                    <a:cubicBezTo>
                      <a:pt x="34020" y="106175"/>
                      <a:pt x="31826" y="106704"/>
                      <a:pt x="29643" y="106704"/>
                    </a:cubicBezTo>
                    <a:close/>
                    <a:moveTo>
                      <a:pt x="55402" y="13320"/>
                    </a:moveTo>
                    <a:lnTo>
                      <a:pt x="43810" y="36294"/>
                    </a:lnTo>
                    <a:cubicBezTo>
                      <a:pt x="42837" y="38258"/>
                      <a:pt x="40964" y="39623"/>
                      <a:pt x="38796" y="39936"/>
                    </a:cubicBezTo>
                    <a:lnTo>
                      <a:pt x="13689" y="43583"/>
                    </a:lnTo>
                    <a:cubicBezTo>
                      <a:pt x="13689" y="43583"/>
                      <a:pt x="13458" y="44284"/>
                      <a:pt x="13461" y="44284"/>
                    </a:cubicBezTo>
                    <a:lnTo>
                      <a:pt x="31628" y="61993"/>
                    </a:lnTo>
                    <a:cubicBezTo>
                      <a:pt x="33196" y="63520"/>
                      <a:pt x="33911" y="65726"/>
                      <a:pt x="33545" y="67884"/>
                    </a:cubicBezTo>
                    <a:lnTo>
                      <a:pt x="29254" y="92889"/>
                    </a:lnTo>
                    <a:lnTo>
                      <a:pt x="32947" y="99217"/>
                    </a:lnTo>
                    <a:lnTo>
                      <a:pt x="29849" y="93326"/>
                    </a:lnTo>
                    <a:lnTo>
                      <a:pt x="52302" y="81523"/>
                    </a:lnTo>
                    <a:cubicBezTo>
                      <a:pt x="54241" y="80497"/>
                      <a:pt x="56561" y="80497"/>
                      <a:pt x="58501" y="81523"/>
                    </a:cubicBezTo>
                    <a:lnTo>
                      <a:pt x="80958" y="93326"/>
                    </a:lnTo>
                    <a:lnTo>
                      <a:pt x="88118" y="91765"/>
                    </a:lnTo>
                    <a:lnTo>
                      <a:pt x="81553" y="92891"/>
                    </a:lnTo>
                    <a:lnTo>
                      <a:pt x="77263" y="67886"/>
                    </a:lnTo>
                    <a:cubicBezTo>
                      <a:pt x="76894" y="65726"/>
                      <a:pt x="77611" y="63523"/>
                      <a:pt x="79179" y="61995"/>
                    </a:cubicBezTo>
                    <a:lnTo>
                      <a:pt x="97347" y="44287"/>
                    </a:lnTo>
                    <a:lnTo>
                      <a:pt x="98076" y="36998"/>
                    </a:lnTo>
                    <a:lnTo>
                      <a:pt x="97118" y="43585"/>
                    </a:lnTo>
                    <a:lnTo>
                      <a:pt x="72014" y="39938"/>
                    </a:lnTo>
                    <a:cubicBezTo>
                      <a:pt x="69847" y="39626"/>
                      <a:pt x="67973" y="38261"/>
                      <a:pt x="67002" y="36296"/>
                    </a:cubicBezTo>
                    <a:lnTo>
                      <a:pt x="55774" y="13548"/>
                    </a:lnTo>
                    <a:cubicBezTo>
                      <a:pt x="55771" y="13548"/>
                      <a:pt x="55771" y="13548"/>
                      <a:pt x="55771" y="13548"/>
                    </a:cubicBezTo>
                    <a:cubicBezTo>
                      <a:pt x="55713" y="13436"/>
                      <a:pt x="55659" y="13320"/>
                      <a:pt x="55402" y="13320"/>
                    </a:cubicBezTo>
                    <a:close/>
                  </a:path>
                </a:pathLst>
              </a:custGeom>
              <a:solidFill>
                <a:schemeClr val="tx2"/>
              </a:solidFill>
              <a:ln w="254" cap="flat">
                <a:noFill/>
                <a:prstDash val="solid"/>
                <a:miter/>
              </a:ln>
            </p:spPr>
            <p:txBody>
              <a:bodyPr rtlCol="0" anchor="ctr"/>
              <a:lstStyle/>
              <a:p>
                <a:endParaRPr lang="en-GB" dirty="0"/>
              </a:p>
            </p:txBody>
          </p:sp>
          <p:sp>
            <p:nvSpPr>
              <p:cNvPr id="354" name="Freihandform: Form 711">
                <a:extLst>
                  <a:ext uri="{FF2B5EF4-FFF2-40B4-BE49-F238E27FC236}">
                    <a16:creationId xmlns:a16="http://schemas.microsoft.com/office/drawing/2014/main" id="{CA94872F-2C19-4985-8B01-B975E5018C60}"/>
                  </a:ext>
                </a:extLst>
              </p:cNvPr>
              <p:cNvSpPr/>
              <p:nvPr/>
            </p:nvSpPr>
            <p:spPr>
              <a:xfrm>
                <a:off x="6415294" y="3435275"/>
                <a:ext cx="22737" cy="22735"/>
              </a:xfrm>
              <a:custGeom>
                <a:avLst/>
                <a:gdLst>
                  <a:gd name="connsiteX0" fmla="*/ 6662 w 22737"/>
                  <a:gd name="connsiteY0" fmla="*/ 22735 h 22735"/>
                  <a:gd name="connsiteX1" fmla="*/ 1952 w 22737"/>
                  <a:gd name="connsiteY1" fmla="*/ 20784 h 22735"/>
                  <a:gd name="connsiteX2" fmla="*/ 1952 w 22737"/>
                  <a:gd name="connsiteY2" fmla="*/ 11368 h 22735"/>
                  <a:gd name="connsiteX3" fmla="*/ 11369 w 22737"/>
                  <a:gd name="connsiteY3" fmla="*/ 1952 h 22735"/>
                  <a:gd name="connsiteX4" fmla="*/ 20785 w 22737"/>
                  <a:gd name="connsiteY4" fmla="*/ 1952 h 22735"/>
                  <a:gd name="connsiteX5" fmla="*/ 20785 w 22737"/>
                  <a:gd name="connsiteY5" fmla="*/ 11368 h 22735"/>
                  <a:gd name="connsiteX6" fmla="*/ 11369 w 22737"/>
                  <a:gd name="connsiteY6" fmla="*/ 20784 h 22735"/>
                  <a:gd name="connsiteX7" fmla="*/ 6662 w 22737"/>
                  <a:gd name="connsiteY7" fmla="*/ 22735 h 2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37" h="22735">
                    <a:moveTo>
                      <a:pt x="6662" y="22735"/>
                    </a:moveTo>
                    <a:cubicBezTo>
                      <a:pt x="4959" y="22735"/>
                      <a:pt x="3253" y="22085"/>
                      <a:pt x="1952" y="20784"/>
                    </a:cubicBezTo>
                    <a:cubicBezTo>
                      <a:pt x="-651" y="18181"/>
                      <a:pt x="-651" y="13968"/>
                      <a:pt x="1952" y="11368"/>
                    </a:cubicBezTo>
                    <a:lnTo>
                      <a:pt x="11369" y="1952"/>
                    </a:lnTo>
                    <a:cubicBezTo>
                      <a:pt x="13969" y="-651"/>
                      <a:pt x="18185" y="-651"/>
                      <a:pt x="20785" y="1952"/>
                    </a:cubicBezTo>
                    <a:cubicBezTo>
                      <a:pt x="23388" y="4552"/>
                      <a:pt x="23388" y="8768"/>
                      <a:pt x="20785" y="11368"/>
                    </a:cubicBezTo>
                    <a:lnTo>
                      <a:pt x="11369" y="20784"/>
                    </a:lnTo>
                    <a:cubicBezTo>
                      <a:pt x="10067" y="22085"/>
                      <a:pt x="8365" y="22735"/>
                      <a:pt x="6662" y="22735"/>
                    </a:cubicBezTo>
                    <a:close/>
                  </a:path>
                </a:pathLst>
              </a:custGeom>
              <a:solidFill>
                <a:schemeClr val="tx2"/>
              </a:solidFill>
              <a:ln w="254" cap="flat">
                <a:noFill/>
                <a:prstDash val="solid"/>
                <a:miter/>
              </a:ln>
            </p:spPr>
            <p:txBody>
              <a:bodyPr rtlCol="0" anchor="ctr"/>
              <a:lstStyle/>
              <a:p>
                <a:endParaRPr lang="en-GB" dirty="0"/>
              </a:p>
            </p:txBody>
          </p:sp>
          <p:sp>
            <p:nvSpPr>
              <p:cNvPr id="355" name="Freihandform: Form 712">
                <a:extLst>
                  <a:ext uri="{FF2B5EF4-FFF2-40B4-BE49-F238E27FC236}">
                    <a16:creationId xmlns:a16="http://schemas.microsoft.com/office/drawing/2014/main" id="{5405F99B-43A4-4CE1-8409-46F9979C54C5}"/>
                  </a:ext>
                </a:extLst>
              </p:cNvPr>
              <p:cNvSpPr/>
              <p:nvPr/>
            </p:nvSpPr>
            <p:spPr>
              <a:xfrm>
                <a:off x="6308740" y="3435275"/>
                <a:ext cx="22737" cy="22735"/>
              </a:xfrm>
              <a:custGeom>
                <a:avLst/>
                <a:gdLst>
                  <a:gd name="connsiteX0" fmla="*/ 16078 w 22737"/>
                  <a:gd name="connsiteY0" fmla="*/ 22735 h 22735"/>
                  <a:gd name="connsiteX1" fmla="*/ 11369 w 22737"/>
                  <a:gd name="connsiteY1" fmla="*/ 20784 h 22735"/>
                  <a:gd name="connsiteX2" fmla="*/ 1952 w 22737"/>
                  <a:gd name="connsiteY2" fmla="*/ 11368 h 22735"/>
                  <a:gd name="connsiteX3" fmla="*/ 1952 w 22737"/>
                  <a:gd name="connsiteY3" fmla="*/ 1952 h 22735"/>
                  <a:gd name="connsiteX4" fmla="*/ 11369 w 22737"/>
                  <a:gd name="connsiteY4" fmla="*/ 1952 h 22735"/>
                  <a:gd name="connsiteX5" fmla="*/ 20785 w 22737"/>
                  <a:gd name="connsiteY5" fmla="*/ 11368 h 22735"/>
                  <a:gd name="connsiteX6" fmla="*/ 20785 w 22737"/>
                  <a:gd name="connsiteY6" fmla="*/ 20784 h 22735"/>
                  <a:gd name="connsiteX7" fmla="*/ 16078 w 22737"/>
                  <a:gd name="connsiteY7" fmla="*/ 22735 h 22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37" h="22735">
                    <a:moveTo>
                      <a:pt x="16078" y="22735"/>
                    </a:moveTo>
                    <a:cubicBezTo>
                      <a:pt x="14375" y="22735"/>
                      <a:pt x="12670" y="22085"/>
                      <a:pt x="11369" y="20784"/>
                    </a:cubicBezTo>
                    <a:lnTo>
                      <a:pt x="1952" y="11368"/>
                    </a:lnTo>
                    <a:cubicBezTo>
                      <a:pt x="-651" y="8765"/>
                      <a:pt x="-651" y="4552"/>
                      <a:pt x="1952" y="1952"/>
                    </a:cubicBezTo>
                    <a:cubicBezTo>
                      <a:pt x="4552" y="-651"/>
                      <a:pt x="8769" y="-651"/>
                      <a:pt x="11369" y="1952"/>
                    </a:cubicBezTo>
                    <a:lnTo>
                      <a:pt x="20785" y="11368"/>
                    </a:lnTo>
                    <a:cubicBezTo>
                      <a:pt x="23388" y="13968"/>
                      <a:pt x="23388" y="18184"/>
                      <a:pt x="20785" y="20784"/>
                    </a:cubicBezTo>
                    <a:cubicBezTo>
                      <a:pt x="19487" y="22085"/>
                      <a:pt x="17781" y="22735"/>
                      <a:pt x="16078" y="22735"/>
                    </a:cubicBezTo>
                    <a:close/>
                  </a:path>
                </a:pathLst>
              </a:custGeom>
              <a:solidFill>
                <a:schemeClr val="tx2"/>
              </a:solidFill>
              <a:ln w="254" cap="flat">
                <a:noFill/>
                <a:prstDash val="solid"/>
                <a:miter/>
              </a:ln>
            </p:spPr>
            <p:txBody>
              <a:bodyPr rtlCol="0" anchor="ctr"/>
              <a:lstStyle/>
              <a:p>
                <a:endParaRPr lang="en-GB" dirty="0"/>
              </a:p>
            </p:txBody>
          </p:sp>
          <p:sp>
            <p:nvSpPr>
              <p:cNvPr id="356" name="Freihandform: Form 713">
                <a:extLst>
                  <a:ext uri="{FF2B5EF4-FFF2-40B4-BE49-F238E27FC236}">
                    <a16:creationId xmlns:a16="http://schemas.microsoft.com/office/drawing/2014/main" id="{63490C02-69DF-4D27-978A-244C54CDFB25}"/>
                  </a:ext>
                </a:extLst>
              </p:cNvPr>
              <p:cNvSpPr/>
              <p:nvPr/>
            </p:nvSpPr>
            <p:spPr>
              <a:xfrm>
                <a:off x="6451352" y="3497967"/>
                <a:ext cx="26636" cy="13316"/>
              </a:xfrm>
              <a:custGeom>
                <a:avLst/>
                <a:gdLst>
                  <a:gd name="connsiteX0" fmla="*/ 19977 w 26636"/>
                  <a:gd name="connsiteY0" fmla="*/ 13317 h 13316"/>
                  <a:gd name="connsiteX1" fmla="*/ 6659 w 26636"/>
                  <a:gd name="connsiteY1" fmla="*/ 13317 h 13316"/>
                  <a:gd name="connsiteX2" fmla="*/ 0 w 26636"/>
                  <a:gd name="connsiteY2" fmla="*/ 6658 h 13316"/>
                  <a:gd name="connsiteX3" fmla="*/ 6659 w 26636"/>
                  <a:gd name="connsiteY3" fmla="*/ 0 h 13316"/>
                  <a:gd name="connsiteX4" fmla="*/ 19977 w 26636"/>
                  <a:gd name="connsiteY4" fmla="*/ 0 h 13316"/>
                  <a:gd name="connsiteX5" fmla="*/ 26636 w 26636"/>
                  <a:gd name="connsiteY5" fmla="*/ 6658 h 13316"/>
                  <a:gd name="connsiteX6" fmla="*/ 19977 w 26636"/>
                  <a:gd name="connsiteY6" fmla="*/ 13317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6" h="13316">
                    <a:moveTo>
                      <a:pt x="19977" y="13317"/>
                    </a:moveTo>
                    <a:lnTo>
                      <a:pt x="6659" y="13317"/>
                    </a:lnTo>
                    <a:cubicBezTo>
                      <a:pt x="2981" y="13317"/>
                      <a:pt x="0" y="10338"/>
                      <a:pt x="0" y="6658"/>
                    </a:cubicBezTo>
                    <a:cubicBezTo>
                      <a:pt x="0" y="2978"/>
                      <a:pt x="2981" y="0"/>
                      <a:pt x="6659" y="0"/>
                    </a:cubicBezTo>
                    <a:lnTo>
                      <a:pt x="19977" y="0"/>
                    </a:lnTo>
                    <a:cubicBezTo>
                      <a:pt x="23655" y="0"/>
                      <a:pt x="26636" y="2978"/>
                      <a:pt x="26636" y="6658"/>
                    </a:cubicBezTo>
                    <a:cubicBezTo>
                      <a:pt x="26636" y="10338"/>
                      <a:pt x="23655" y="13317"/>
                      <a:pt x="19977" y="13317"/>
                    </a:cubicBezTo>
                    <a:close/>
                  </a:path>
                </a:pathLst>
              </a:custGeom>
              <a:solidFill>
                <a:schemeClr val="tx2"/>
              </a:solidFill>
              <a:ln w="254" cap="flat">
                <a:noFill/>
                <a:prstDash val="solid"/>
                <a:miter/>
              </a:ln>
            </p:spPr>
            <p:txBody>
              <a:bodyPr rtlCol="0" anchor="ctr"/>
              <a:lstStyle/>
              <a:p>
                <a:endParaRPr lang="en-GB" dirty="0"/>
              </a:p>
            </p:txBody>
          </p:sp>
          <p:sp>
            <p:nvSpPr>
              <p:cNvPr id="357" name="Freihandform: Form 714">
                <a:extLst>
                  <a:ext uri="{FF2B5EF4-FFF2-40B4-BE49-F238E27FC236}">
                    <a16:creationId xmlns:a16="http://schemas.microsoft.com/office/drawing/2014/main" id="{8C49A49C-0D70-43CF-82DF-6263C4BFB839}"/>
                  </a:ext>
                </a:extLst>
              </p:cNvPr>
              <p:cNvSpPr/>
              <p:nvPr/>
            </p:nvSpPr>
            <p:spPr>
              <a:xfrm>
                <a:off x="6271543" y="3497967"/>
                <a:ext cx="26636" cy="13316"/>
              </a:xfrm>
              <a:custGeom>
                <a:avLst/>
                <a:gdLst>
                  <a:gd name="connsiteX0" fmla="*/ 19977 w 26636"/>
                  <a:gd name="connsiteY0" fmla="*/ 13317 h 13316"/>
                  <a:gd name="connsiteX1" fmla="*/ 6659 w 26636"/>
                  <a:gd name="connsiteY1" fmla="*/ 13317 h 13316"/>
                  <a:gd name="connsiteX2" fmla="*/ 0 w 26636"/>
                  <a:gd name="connsiteY2" fmla="*/ 6658 h 13316"/>
                  <a:gd name="connsiteX3" fmla="*/ 6659 w 26636"/>
                  <a:gd name="connsiteY3" fmla="*/ 0 h 13316"/>
                  <a:gd name="connsiteX4" fmla="*/ 19977 w 26636"/>
                  <a:gd name="connsiteY4" fmla="*/ 0 h 13316"/>
                  <a:gd name="connsiteX5" fmla="*/ 26636 w 26636"/>
                  <a:gd name="connsiteY5" fmla="*/ 6658 h 13316"/>
                  <a:gd name="connsiteX6" fmla="*/ 19977 w 26636"/>
                  <a:gd name="connsiteY6" fmla="*/ 13317 h 13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36" h="13316">
                    <a:moveTo>
                      <a:pt x="19977" y="13317"/>
                    </a:moveTo>
                    <a:lnTo>
                      <a:pt x="6659" y="13317"/>
                    </a:lnTo>
                    <a:cubicBezTo>
                      <a:pt x="2981" y="13317"/>
                      <a:pt x="0" y="10338"/>
                      <a:pt x="0" y="6658"/>
                    </a:cubicBezTo>
                    <a:cubicBezTo>
                      <a:pt x="0" y="2978"/>
                      <a:pt x="2981" y="0"/>
                      <a:pt x="6659" y="0"/>
                    </a:cubicBezTo>
                    <a:lnTo>
                      <a:pt x="19977" y="0"/>
                    </a:lnTo>
                    <a:cubicBezTo>
                      <a:pt x="23655" y="0"/>
                      <a:pt x="26636" y="2978"/>
                      <a:pt x="26636" y="6658"/>
                    </a:cubicBezTo>
                    <a:cubicBezTo>
                      <a:pt x="26636" y="10338"/>
                      <a:pt x="23655" y="13317"/>
                      <a:pt x="19977" y="13317"/>
                    </a:cubicBezTo>
                    <a:close/>
                  </a:path>
                </a:pathLst>
              </a:custGeom>
              <a:solidFill>
                <a:schemeClr val="tx2"/>
              </a:solidFill>
              <a:ln w="254" cap="flat">
                <a:noFill/>
                <a:prstDash val="solid"/>
                <a:miter/>
              </a:ln>
            </p:spPr>
            <p:txBody>
              <a:bodyPr rtlCol="0" anchor="ctr"/>
              <a:lstStyle/>
              <a:p>
                <a:endParaRPr lang="en-GB" dirty="0"/>
              </a:p>
            </p:txBody>
          </p:sp>
          <p:sp>
            <p:nvSpPr>
              <p:cNvPr id="358" name="Freihandform: Form 715">
                <a:extLst>
                  <a:ext uri="{FF2B5EF4-FFF2-40B4-BE49-F238E27FC236}">
                    <a16:creationId xmlns:a16="http://schemas.microsoft.com/office/drawing/2014/main" id="{B0B3C15B-12B9-4014-BE6B-B2777E1A5E0F}"/>
                  </a:ext>
                </a:extLst>
              </p:cNvPr>
              <p:cNvSpPr/>
              <p:nvPr/>
            </p:nvSpPr>
            <p:spPr>
              <a:xfrm>
                <a:off x="6364777" y="3404740"/>
                <a:ext cx="13318" cy="26633"/>
              </a:xfrm>
              <a:custGeom>
                <a:avLst/>
                <a:gdLst>
                  <a:gd name="connsiteX0" fmla="*/ 6659 w 13318"/>
                  <a:gd name="connsiteY0" fmla="*/ 26634 h 26633"/>
                  <a:gd name="connsiteX1" fmla="*/ 0 w 13318"/>
                  <a:gd name="connsiteY1" fmla="*/ 19976 h 26633"/>
                  <a:gd name="connsiteX2" fmla="*/ 0 w 13318"/>
                  <a:gd name="connsiteY2" fmla="*/ 6659 h 26633"/>
                  <a:gd name="connsiteX3" fmla="*/ 6659 w 13318"/>
                  <a:gd name="connsiteY3" fmla="*/ 0 h 26633"/>
                  <a:gd name="connsiteX4" fmla="*/ 13318 w 13318"/>
                  <a:gd name="connsiteY4" fmla="*/ 6659 h 26633"/>
                  <a:gd name="connsiteX5" fmla="*/ 13318 w 13318"/>
                  <a:gd name="connsiteY5" fmla="*/ 19976 h 26633"/>
                  <a:gd name="connsiteX6" fmla="*/ 6659 w 13318"/>
                  <a:gd name="connsiteY6" fmla="*/ 26634 h 26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18" h="26633">
                    <a:moveTo>
                      <a:pt x="6659" y="26634"/>
                    </a:moveTo>
                    <a:cubicBezTo>
                      <a:pt x="2981" y="26634"/>
                      <a:pt x="0" y="23655"/>
                      <a:pt x="0" y="19976"/>
                    </a:cubicBezTo>
                    <a:lnTo>
                      <a:pt x="0" y="6659"/>
                    </a:lnTo>
                    <a:cubicBezTo>
                      <a:pt x="0" y="2978"/>
                      <a:pt x="2981" y="0"/>
                      <a:pt x="6659" y="0"/>
                    </a:cubicBezTo>
                    <a:cubicBezTo>
                      <a:pt x="10337" y="0"/>
                      <a:pt x="13318" y="2978"/>
                      <a:pt x="13318" y="6659"/>
                    </a:cubicBezTo>
                    <a:lnTo>
                      <a:pt x="13318" y="19976"/>
                    </a:lnTo>
                    <a:cubicBezTo>
                      <a:pt x="13318" y="23655"/>
                      <a:pt x="10337" y="26634"/>
                      <a:pt x="6659" y="26634"/>
                    </a:cubicBezTo>
                    <a:close/>
                  </a:path>
                </a:pathLst>
              </a:custGeom>
              <a:solidFill>
                <a:schemeClr val="tx2"/>
              </a:solidFill>
              <a:ln w="254" cap="flat">
                <a:noFill/>
                <a:prstDash val="solid"/>
                <a:miter/>
              </a:ln>
            </p:spPr>
            <p:txBody>
              <a:bodyPr rtlCol="0" anchor="ctr"/>
              <a:lstStyle/>
              <a:p>
                <a:endParaRPr lang="en-GB" dirty="0"/>
              </a:p>
            </p:txBody>
          </p:sp>
        </p:grpSp>
        <p:grpSp>
          <p:nvGrpSpPr>
            <p:cNvPr id="340" name="Grafik 354">
              <a:extLst>
                <a:ext uri="{FF2B5EF4-FFF2-40B4-BE49-F238E27FC236}">
                  <a16:creationId xmlns:a16="http://schemas.microsoft.com/office/drawing/2014/main" id="{9FCFCAC9-BE0C-446B-AFEB-7D47CDC79FD1}"/>
                </a:ext>
              </a:extLst>
            </p:cNvPr>
            <p:cNvGrpSpPr/>
            <p:nvPr/>
          </p:nvGrpSpPr>
          <p:grpSpPr>
            <a:xfrm>
              <a:off x="6125029" y="3571215"/>
              <a:ext cx="492812" cy="193114"/>
              <a:chOff x="6125029" y="3571215"/>
              <a:chExt cx="492812" cy="193114"/>
            </a:xfrm>
            <a:solidFill>
              <a:schemeClr val="accent1"/>
            </a:solidFill>
          </p:grpSpPr>
          <p:sp>
            <p:nvSpPr>
              <p:cNvPr id="341" name="Freihandform: Form 704">
                <a:extLst>
                  <a:ext uri="{FF2B5EF4-FFF2-40B4-BE49-F238E27FC236}">
                    <a16:creationId xmlns:a16="http://schemas.microsoft.com/office/drawing/2014/main" id="{ED139609-56FB-4FFD-9908-0D2BCCCBF1E9}"/>
                  </a:ext>
                </a:extLst>
              </p:cNvPr>
              <p:cNvSpPr/>
              <p:nvPr/>
            </p:nvSpPr>
            <p:spPr>
              <a:xfrm>
                <a:off x="6125029" y="3691081"/>
                <a:ext cx="492812" cy="73248"/>
              </a:xfrm>
              <a:custGeom>
                <a:avLst/>
                <a:gdLst>
                  <a:gd name="connsiteX0" fmla="*/ 486153 w 492812"/>
                  <a:gd name="connsiteY0" fmla="*/ 73249 h 73248"/>
                  <a:gd name="connsiteX1" fmla="*/ 6659 w 492812"/>
                  <a:gd name="connsiteY1" fmla="*/ 73249 h 73248"/>
                  <a:gd name="connsiteX2" fmla="*/ 0 w 492812"/>
                  <a:gd name="connsiteY2" fmla="*/ 66590 h 73248"/>
                  <a:gd name="connsiteX3" fmla="*/ 66596 w 492812"/>
                  <a:gd name="connsiteY3" fmla="*/ 0 h 73248"/>
                  <a:gd name="connsiteX4" fmla="*/ 106552 w 492812"/>
                  <a:gd name="connsiteY4" fmla="*/ 0 h 73248"/>
                  <a:gd name="connsiteX5" fmla="*/ 172817 w 492812"/>
                  <a:gd name="connsiteY5" fmla="*/ 59931 h 73248"/>
                  <a:gd name="connsiteX6" fmla="*/ 486153 w 492812"/>
                  <a:gd name="connsiteY6" fmla="*/ 59931 h 73248"/>
                  <a:gd name="connsiteX7" fmla="*/ 492812 w 492812"/>
                  <a:gd name="connsiteY7" fmla="*/ 66590 h 73248"/>
                  <a:gd name="connsiteX8" fmla="*/ 486153 w 492812"/>
                  <a:gd name="connsiteY8" fmla="*/ 73249 h 73248"/>
                  <a:gd name="connsiteX9" fmla="*/ 13732 w 492812"/>
                  <a:gd name="connsiteY9" fmla="*/ 59929 h 73248"/>
                  <a:gd name="connsiteX10" fmla="*/ 159418 w 492812"/>
                  <a:gd name="connsiteY10" fmla="*/ 59929 h 73248"/>
                  <a:gd name="connsiteX11" fmla="*/ 106555 w 492812"/>
                  <a:gd name="connsiteY11" fmla="*/ 13314 h 73248"/>
                  <a:gd name="connsiteX12" fmla="*/ 66598 w 492812"/>
                  <a:gd name="connsiteY12" fmla="*/ 13314 h 73248"/>
                  <a:gd name="connsiteX13" fmla="*/ 13732 w 492812"/>
                  <a:gd name="connsiteY13" fmla="*/ 59929 h 7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2812" h="73248">
                    <a:moveTo>
                      <a:pt x="486153" y="73249"/>
                    </a:moveTo>
                    <a:lnTo>
                      <a:pt x="6659" y="73249"/>
                    </a:lnTo>
                    <a:cubicBezTo>
                      <a:pt x="2981" y="73249"/>
                      <a:pt x="0" y="70270"/>
                      <a:pt x="0" y="66590"/>
                    </a:cubicBezTo>
                    <a:cubicBezTo>
                      <a:pt x="0" y="29874"/>
                      <a:pt x="29874" y="0"/>
                      <a:pt x="66596" y="0"/>
                    </a:cubicBezTo>
                    <a:lnTo>
                      <a:pt x="106552" y="0"/>
                    </a:lnTo>
                    <a:cubicBezTo>
                      <a:pt x="141024" y="0"/>
                      <a:pt x="169465" y="26331"/>
                      <a:pt x="172817" y="59931"/>
                    </a:cubicBezTo>
                    <a:lnTo>
                      <a:pt x="486153" y="59931"/>
                    </a:lnTo>
                    <a:cubicBezTo>
                      <a:pt x="489831" y="59931"/>
                      <a:pt x="492812" y="62910"/>
                      <a:pt x="492812" y="66590"/>
                    </a:cubicBezTo>
                    <a:cubicBezTo>
                      <a:pt x="492812" y="70270"/>
                      <a:pt x="489831" y="73249"/>
                      <a:pt x="486153" y="73249"/>
                    </a:cubicBezTo>
                    <a:close/>
                    <a:moveTo>
                      <a:pt x="13732" y="59929"/>
                    </a:moveTo>
                    <a:lnTo>
                      <a:pt x="159418" y="59929"/>
                    </a:lnTo>
                    <a:cubicBezTo>
                      <a:pt x="156127" y="33689"/>
                      <a:pt x="133674" y="13314"/>
                      <a:pt x="106555" y="13314"/>
                    </a:cubicBezTo>
                    <a:lnTo>
                      <a:pt x="66598" y="13314"/>
                    </a:lnTo>
                    <a:cubicBezTo>
                      <a:pt x="39476" y="13317"/>
                      <a:pt x="17024" y="33689"/>
                      <a:pt x="13732" y="59929"/>
                    </a:cubicBezTo>
                    <a:close/>
                  </a:path>
                </a:pathLst>
              </a:custGeom>
              <a:solidFill>
                <a:schemeClr val="accent1"/>
              </a:solidFill>
              <a:ln w="254" cap="flat">
                <a:noFill/>
                <a:prstDash val="solid"/>
                <a:miter/>
              </a:ln>
            </p:spPr>
            <p:txBody>
              <a:bodyPr rtlCol="0" anchor="ctr"/>
              <a:lstStyle/>
              <a:p>
                <a:endParaRPr lang="en-GB" dirty="0"/>
              </a:p>
            </p:txBody>
          </p:sp>
          <p:sp>
            <p:nvSpPr>
              <p:cNvPr id="342" name="Freihandform: Form 705">
                <a:extLst>
                  <a:ext uri="{FF2B5EF4-FFF2-40B4-BE49-F238E27FC236}">
                    <a16:creationId xmlns:a16="http://schemas.microsoft.com/office/drawing/2014/main" id="{49500ECD-EF35-4B13-9356-EC58219CD974}"/>
                  </a:ext>
                </a:extLst>
              </p:cNvPr>
              <p:cNvSpPr/>
              <p:nvPr/>
            </p:nvSpPr>
            <p:spPr>
              <a:xfrm>
                <a:off x="6444693" y="3691081"/>
                <a:ext cx="173147" cy="73248"/>
              </a:xfrm>
              <a:custGeom>
                <a:avLst/>
                <a:gdLst>
                  <a:gd name="connsiteX0" fmla="*/ 166489 w 173147"/>
                  <a:gd name="connsiteY0" fmla="*/ 73249 h 73248"/>
                  <a:gd name="connsiteX1" fmla="*/ 159830 w 173147"/>
                  <a:gd name="connsiteY1" fmla="*/ 66590 h 73248"/>
                  <a:gd name="connsiteX2" fmla="*/ 106552 w 173147"/>
                  <a:gd name="connsiteY2" fmla="*/ 13317 h 73248"/>
                  <a:gd name="connsiteX3" fmla="*/ 66596 w 173147"/>
                  <a:gd name="connsiteY3" fmla="*/ 13317 h 73248"/>
                  <a:gd name="connsiteX4" fmla="*/ 13318 w 173147"/>
                  <a:gd name="connsiteY4" fmla="*/ 66590 h 73248"/>
                  <a:gd name="connsiteX5" fmla="*/ 6659 w 173147"/>
                  <a:gd name="connsiteY5" fmla="*/ 73249 h 73248"/>
                  <a:gd name="connsiteX6" fmla="*/ 0 w 173147"/>
                  <a:gd name="connsiteY6" fmla="*/ 66590 h 73248"/>
                  <a:gd name="connsiteX7" fmla="*/ 66596 w 173147"/>
                  <a:gd name="connsiteY7" fmla="*/ 0 h 73248"/>
                  <a:gd name="connsiteX8" fmla="*/ 106552 w 173147"/>
                  <a:gd name="connsiteY8" fmla="*/ 0 h 73248"/>
                  <a:gd name="connsiteX9" fmla="*/ 173148 w 173147"/>
                  <a:gd name="connsiteY9" fmla="*/ 66590 h 73248"/>
                  <a:gd name="connsiteX10" fmla="*/ 166489 w 173147"/>
                  <a:gd name="connsiteY10" fmla="*/ 73249 h 7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147" h="73248">
                    <a:moveTo>
                      <a:pt x="166489" y="73249"/>
                    </a:moveTo>
                    <a:cubicBezTo>
                      <a:pt x="162811" y="73249"/>
                      <a:pt x="159830" y="70270"/>
                      <a:pt x="159830" y="66590"/>
                    </a:cubicBezTo>
                    <a:cubicBezTo>
                      <a:pt x="159830" y="37216"/>
                      <a:pt x="135928" y="13317"/>
                      <a:pt x="106552" y="13317"/>
                    </a:cubicBezTo>
                    <a:lnTo>
                      <a:pt x="66596" y="13317"/>
                    </a:lnTo>
                    <a:cubicBezTo>
                      <a:pt x="37220" y="13317"/>
                      <a:pt x="13318" y="37216"/>
                      <a:pt x="13318" y="66590"/>
                    </a:cubicBezTo>
                    <a:cubicBezTo>
                      <a:pt x="13318" y="70270"/>
                      <a:pt x="10337" y="73249"/>
                      <a:pt x="6659" y="73249"/>
                    </a:cubicBezTo>
                    <a:cubicBezTo>
                      <a:pt x="2981" y="73249"/>
                      <a:pt x="0" y="70270"/>
                      <a:pt x="0" y="66590"/>
                    </a:cubicBezTo>
                    <a:cubicBezTo>
                      <a:pt x="0" y="29874"/>
                      <a:pt x="29874" y="0"/>
                      <a:pt x="66596" y="0"/>
                    </a:cubicBezTo>
                    <a:lnTo>
                      <a:pt x="106552" y="0"/>
                    </a:lnTo>
                    <a:cubicBezTo>
                      <a:pt x="143274" y="0"/>
                      <a:pt x="173148" y="29874"/>
                      <a:pt x="173148" y="66590"/>
                    </a:cubicBezTo>
                    <a:cubicBezTo>
                      <a:pt x="173148" y="70270"/>
                      <a:pt x="170167" y="73249"/>
                      <a:pt x="166489" y="73249"/>
                    </a:cubicBezTo>
                    <a:close/>
                  </a:path>
                </a:pathLst>
              </a:custGeom>
              <a:solidFill>
                <a:schemeClr val="accent1"/>
              </a:solidFill>
              <a:ln w="254" cap="flat">
                <a:noFill/>
                <a:prstDash val="solid"/>
                <a:miter/>
              </a:ln>
            </p:spPr>
            <p:txBody>
              <a:bodyPr rtlCol="0" anchor="ctr"/>
              <a:lstStyle/>
              <a:p>
                <a:endParaRPr lang="en-GB" dirty="0"/>
              </a:p>
            </p:txBody>
          </p:sp>
          <p:sp>
            <p:nvSpPr>
              <p:cNvPr id="343" name="Freihandform: Form 706">
                <a:extLst>
                  <a:ext uri="{FF2B5EF4-FFF2-40B4-BE49-F238E27FC236}">
                    <a16:creationId xmlns:a16="http://schemas.microsoft.com/office/drawing/2014/main" id="{66A17277-A394-442B-8606-BC1F3512D225}"/>
                  </a:ext>
                </a:extLst>
              </p:cNvPr>
              <p:cNvSpPr/>
              <p:nvPr/>
            </p:nvSpPr>
            <p:spPr>
              <a:xfrm>
                <a:off x="6284864" y="3691081"/>
                <a:ext cx="173147" cy="73248"/>
              </a:xfrm>
              <a:custGeom>
                <a:avLst/>
                <a:gdLst>
                  <a:gd name="connsiteX0" fmla="*/ 166489 w 173147"/>
                  <a:gd name="connsiteY0" fmla="*/ 73249 h 73248"/>
                  <a:gd name="connsiteX1" fmla="*/ 159830 w 173147"/>
                  <a:gd name="connsiteY1" fmla="*/ 66590 h 73248"/>
                  <a:gd name="connsiteX2" fmla="*/ 106552 w 173147"/>
                  <a:gd name="connsiteY2" fmla="*/ 13317 h 73248"/>
                  <a:gd name="connsiteX3" fmla="*/ 66596 w 173147"/>
                  <a:gd name="connsiteY3" fmla="*/ 13317 h 73248"/>
                  <a:gd name="connsiteX4" fmla="*/ 13318 w 173147"/>
                  <a:gd name="connsiteY4" fmla="*/ 66590 h 73248"/>
                  <a:gd name="connsiteX5" fmla="*/ 6659 w 173147"/>
                  <a:gd name="connsiteY5" fmla="*/ 73249 h 73248"/>
                  <a:gd name="connsiteX6" fmla="*/ 0 w 173147"/>
                  <a:gd name="connsiteY6" fmla="*/ 66590 h 73248"/>
                  <a:gd name="connsiteX7" fmla="*/ 66596 w 173147"/>
                  <a:gd name="connsiteY7" fmla="*/ 0 h 73248"/>
                  <a:gd name="connsiteX8" fmla="*/ 106552 w 173147"/>
                  <a:gd name="connsiteY8" fmla="*/ 0 h 73248"/>
                  <a:gd name="connsiteX9" fmla="*/ 173148 w 173147"/>
                  <a:gd name="connsiteY9" fmla="*/ 66590 h 73248"/>
                  <a:gd name="connsiteX10" fmla="*/ 166489 w 173147"/>
                  <a:gd name="connsiteY10" fmla="*/ 73249 h 73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147" h="73248">
                    <a:moveTo>
                      <a:pt x="166489" y="73249"/>
                    </a:moveTo>
                    <a:cubicBezTo>
                      <a:pt x="162811" y="73249"/>
                      <a:pt x="159830" y="70270"/>
                      <a:pt x="159830" y="66590"/>
                    </a:cubicBezTo>
                    <a:cubicBezTo>
                      <a:pt x="159830" y="37216"/>
                      <a:pt x="135928" y="13317"/>
                      <a:pt x="106552" y="13317"/>
                    </a:cubicBezTo>
                    <a:lnTo>
                      <a:pt x="66596" y="13317"/>
                    </a:lnTo>
                    <a:cubicBezTo>
                      <a:pt x="37220" y="13317"/>
                      <a:pt x="13318" y="37216"/>
                      <a:pt x="13318" y="66590"/>
                    </a:cubicBezTo>
                    <a:cubicBezTo>
                      <a:pt x="13318" y="70270"/>
                      <a:pt x="10337" y="73249"/>
                      <a:pt x="6659" y="73249"/>
                    </a:cubicBezTo>
                    <a:cubicBezTo>
                      <a:pt x="2981" y="73249"/>
                      <a:pt x="0" y="70270"/>
                      <a:pt x="0" y="66590"/>
                    </a:cubicBezTo>
                    <a:cubicBezTo>
                      <a:pt x="0" y="29874"/>
                      <a:pt x="29874" y="0"/>
                      <a:pt x="66596" y="0"/>
                    </a:cubicBezTo>
                    <a:lnTo>
                      <a:pt x="106552" y="0"/>
                    </a:lnTo>
                    <a:cubicBezTo>
                      <a:pt x="143274" y="0"/>
                      <a:pt x="173148" y="29874"/>
                      <a:pt x="173148" y="66590"/>
                    </a:cubicBezTo>
                    <a:cubicBezTo>
                      <a:pt x="173148" y="70270"/>
                      <a:pt x="170167" y="73249"/>
                      <a:pt x="166489" y="73249"/>
                    </a:cubicBezTo>
                    <a:close/>
                  </a:path>
                </a:pathLst>
              </a:custGeom>
              <a:solidFill>
                <a:schemeClr val="accent1"/>
              </a:solidFill>
              <a:ln w="254" cap="flat">
                <a:noFill/>
                <a:prstDash val="solid"/>
                <a:miter/>
              </a:ln>
            </p:spPr>
            <p:txBody>
              <a:bodyPr rtlCol="0" anchor="ctr"/>
              <a:lstStyle/>
              <a:p>
                <a:endParaRPr lang="en-GB" dirty="0"/>
              </a:p>
            </p:txBody>
          </p:sp>
          <p:sp>
            <p:nvSpPr>
              <p:cNvPr id="344" name="Freihandform: Form 707">
                <a:extLst>
                  <a:ext uri="{FF2B5EF4-FFF2-40B4-BE49-F238E27FC236}">
                    <a16:creationId xmlns:a16="http://schemas.microsoft.com/office/drawing/2014/main" id="{4335906F-AEE4-46C3-B95C-B85DFE0DDC54}"/>
                  </a:ext>
                </a:extLst>
              </p:cNvPr>
              <p:cNvSpPr/>
              <p:nvPr/>
            </p:nvSpPr>
            <p:spPr>
              <a:xfrm>
                <a:off x="6484648" y="3571215"/>
                <a:ext cx="93236" cy="106546"/>
              </a:xfrm>
              <a:custGeom>
                <a:avLst/>
                <a:gdLst>
                  <a:gd name="connsiteX0" fmla="*/ 46618 w 93236"/>
                  <a:gd name="connsiteY0" fmla="*/ 106546 h 106546"/>
                  <a:gd name="connsiteX1" fmla="*/ 0 w 93236"/>
                  <a:gd name="connsiteY1" fmla="*/ 53273 h 106546"/>
                  <a:gd name="connsiteX2" fmla="*/ 46618 w 93236"/>
                  <a:gd name="connsiteY2" fmla="*/ 0 h 106546"/>
                  <a:gd name="connsiteX3" fmla="*/ 93237 w 93236"/>
                  <a:gd name="connsiteY3" fmla="*/ 53273 h 106546"/>
                  <a:gd name="connsiteX4" fmla="*/ 46618 w 93236"/>
                  <a:gd name="connsiteY4" fmla="*/ 106546 h 106546"/>
                  <a:gd name="connsiteX5" fmla="*/ 46618 w 93236"/>
                  <a:gd name="connsiteY5" fmla="*/ 13317 h 106546"/>
                  <a:gd name="connsiteX6" fmla="*/ 13321 w 93236"/>
                  <a:gd name="connsiteY6" fmla="*/ 53271 h 106546"/>
                  <a:gd name="connsiteX7" fmla="*/ 46618 w 93236"/>
                  <a:gd name="connsiteY7" fmla="*/ 93224 h 106546"/>
                  <a:gd name="connsiteX8" fmla="*/ 79916 w 93236"/>
                  <a:gd name="connsiteY8" fmla="*/ 53271 h 106546"/>
                  <a:gd name="connsiteX9" fmla="*/ 46618 w 93236"/>
                  <a:gd name="connsiteY9" fmla="*/ 13317 h 10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36" h="106546">
                    <a:moveTo>
                      <a:pt x="46618" y="106546"/>
                    </a:moveTo>
                    <a:cubicBezTo>
                      <a:pt x="18734" y="106546"/>
                      <a:pt x="0" y="85137"/>
                      <a:pt x="0" y="53273"/>
                    </a:cubicBezTo>
                    <a:cubicBezTo>
                      <a:pt x="0" y="21409"/>
                      <a:pt x="18734" y="0"/>
                      <a:pt x="46618" y="0"/>
                    </a:cubicBezTo>
                    <a:cubicBezTo>
                      <a:pt x="74502" y="0"/>
                      <a:pt x="93237" y="21409"/>
                      <a:pt x="93237" y="53273"/>
                    </a:cubicBezTo>
                    <a:cubicBezTo>
                      <a:pt x="93237" y="85137"/>
                      <a:pt x="74502" y="106546"/>
                      <a:pt x="46618" y="106546"/>
                    </a:cubicBezTo>
                    <a:close/>
                    <a:moveTo>
                      <a:pt x="46618" y="13317"/>
                    </a:moveTo>
                    <a:cubicBezTo>
                      <a:pt x="22041" y="13317"/>
                      <a:pt x="13321" y="34843"/>
                      <a:pt x="13321" y="53271"/>
                    </a:cubicBezTo>
                    <a:cubicBezTo>
                      <a:pt x="13321" y="71698"/>
                      <a:pt x="22041" y="93224"/>
                      <a:pt x="46618" y="93224"/>
                    </a:cubicBezTo>
                    <a:cubicBezTo>
                      <a:pt x="71196" y="93224"/>
                      <a:pt x="79916" y="71698"/>
                      <a:pt x="79916" y="53271"/>
                    </a:cubicBezTo>
                    <a:cubicBezTo>
                      <a:pt x="79916" y="34843"/>
                      <a:pt x="71196" y="13317"/>
                      <a:pt x="46618" y="13317"/>
                    </a:cubicBezTo>
                    <a:close/>
                  </a:path>
                </a:pathLst>
              </a:custGeom>
              <a:solidFill>
                <a:schemeClr val="accent1"/>
              </a:solidFill>
              <a:ln w="254" cap="flat">
                <a:noFill/>
                <a:prstDash val="solid"/>
                <a:miter/>
              </a:ln>
            </p:spPr>
            <p:txBody>
              <a:bodyPr rtlCol="0" anchor="ctr"/>
              <a:lstStyle/>
              <a:p>
                <a:endParaRPr lang="en-GB" dirty="0"/>
              </a:p>
            </p:txBody>
          </p:sp>
          <p:sp>
            <p:nvSpPr>
              <p:cNvPr id="345" name="Freihandform: Form 708">
                <a:extLst>
                  <a:ext uri="{FF2B5EF4-FFF2-40B4-BE49-F238E27FC236}">
                    <a16:creationId xmlns:a16="http://schemas.microsoft.com/office/drawing/2014/main" id="{A2161B14-5DB2-4163-91EF-55329EDDF979}"/>
                  </a:ext>
                </a:extLst>
              </p:cNvPr>
              <p:cNvSpPr/>
              <p:nvPr/>
            </p:nvSpPr>
            <p:spPr>
              <a:xfrm>
                <a:off x="6324818" y="3571215"/>
                <a:ext cx="93236" cy="106546"/>
              </a:xfrm>
              <a:custGeom>
                <a:avLst/>
                <a:gdLst>
                  <a:gd name="connsiteX0" fmla="*/ 46618 w 93236"/>
                  <a:gd name="connsiteY0" fmla="*/ 106546 h 106546"/>
                  <a:gd name="connsiteX1" fmla="*/ 0 w 93236"/>
                  <a:gd name="connsiteY1" fmla="*/ 53273 h 106546"/>
                  <a:gd name="connsiteX2" fmla="*/ 46618 w 93236"/>
                  <a:gd name="connsiteY2" fmla="*/ 0 h 106546"/>
                  <a:gd name="connsiteX3" fmla="*/ 93237 w 93236"/>
                  <a:gd name="connsiteY3" fmla="*/ 53273 h 106546"/>
                  <a:gd name="connsiteX4" fmla="*/ 46618 w 93236"/>
                  <a:gd name="connsiteY4" fmla="*/ 106546 h 106546"/>
                  <a:gd name="connsiteX5" fmla="*/ 46618 w 93236"/>
                  <a:gd name="connsiteY5" fmla="*/ 13317 h 106546"/>
                  <a:gd name="connsiteX6" fmla="*/ 13321 w 93236"/>
                  <a:gd name="connsiteY6" fmla="*/ 53271 h 106546"/>
                  <a:gd name="connsiteX7" fmla="*/ 46618 w 93236"/>
                  <a:gd name="connsiteY7" fmla="*/ 93224 h 106546"/>
                  <a:gd name="connsiteX8" fmla="*/ 79916 w 93236"/>
                  <a:gd name="connsiteY8" fmla="*/ 53271 h 106546"/>
                  <a:gd name="connsiteX9" fmla="*/ 46618 w 93236"/>
                  <a:gd name="connsiteY9" fmla="*/ 13317 h 10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36" h="106546">
                    <a:moveTo>
                      <a:pt x="46618" y="106546"/>
                    </a:moveTo>
                    <a:cubicBezTo>
                      <a:pt x="18734" y="106546"/>
                      <a:pt x="0" y="85137"/>
                      <a:pt x="0" y="53273"/>
                    </a:cubicBezTo>
                    <a:cubicBezTo>
                      <a:pt x="0" y="21409"/>
                      <a:pt x="18734" y="0"/>
                      <a:pt x="46618" y="0"/>
                    </a:cubicBezTo>
                    <a:cubicBezTo>
                      <a:pt x="74502" y="0"/>
                      <a:pt x="93237" y="21409"/>
                      <a:pt x="93237" y="53273"/>
                    </a:cubicBezTo>
                    <a:cubicBezTo>
                      <a:pt x="93234" y="85137"/>
                      <a:pt x="74502" y="106546"/>
                      <a:pt x="46618" y="106546"/>
                    </a:cubicBezTo>
                    <a:close/>
                    <a:moveTo>
                      <a:pt x="46618" y="13317"/>
                    </a:moveTo>
                    <a:cubicBezTo>
                      <a:pt x="22041" y="13317"/>
                      <a:pt x="13321" y="34843"/>
                      <a:pt x="13321" y="53271"/>
                    </a:cubicBezTo>
                    <a:cubicBezTo>
                      <a:pt x="13321" y="71698"/>
                      <a:pt x="22041" y="93224"/>
                      <a:pt x="46618" y="93224"/>
                    </a:cubicBezTo>
                    <a:cubicBezTo>
                      <a:pt x="71196" y="93224"/>
                      <a:pt x="79916" y="71698"/>
                      <a:pt x="79916" y="53271"/>
                    </a:cubicBezTo>
                    <a:cubicBezTo>
                      <a:pt x="79916" y="34843"/>
                      <a:pt x="71193" y="13317"/>
                      <a:pt x="46618" y="13317"/>
                    </a:cubicBezTo>
                    <a:close/>
                  </a:path>
                </a:pathLst>
              </a:custGeom>
              <a:solidFill>
                <a:schemeClr val="accent1"/>
              </a:solidFill>
              <a:ln w="254" cap="flat">
                <a:noFill/>
                <a:prstDash val="solid"/>
                <a:miter/>
              </a:ln>
            </p:spPr>
            <p:txBody>
              <a:bodyPr rtlCol="0" anchor="ctr"/>
              <a:lstStyle/>
              <a:p>
                <a:endParaRPr lang="en-GB" dirty="0"/>
              </a:p>
            </p:txBody>
          </p:sp>
          <p:sp>
            <p:nvSpPr>
              <p:cNvPr id="346" name="Freihandform: Form 709">
                <a:extLst>
                  <a:ext uri="{FF2B5EF4-FFF2-40B4-BE49-F238E27FC236}">
                    <a16:creationId xmlns:a16="http://schemas.microsoft.com/office/drawing/2014/main" id="{5F0CE996-DF24-45E4-B938-F9A448FF4709}"/>
                  </a:ext>
                </a:extLst>
              </p:cNvPr>
              <p:cNvSpPr/>
              <p:nvPr/>
            </p:nvSpPr>
            <p:spPr>
              <a:xfrm>
                <a:off x="6164986" y="3571215"/>
                <a:ext cx="93236" cy="106546"/>
              </a:xfrm>
              <a:custGeom>
                <a:avLst/>
                <a:gdLst>
                  <a:gd name="connsiteX0" fmla="*/ 46618 w 93236"/>
                  <a:gd name="connsiteY0" fmla="*/ 106546 h 106546"/>
                  <a:gd name="connsiteX1" fmla="*/ 0 w 93236"/>
                  <a:gd name="connsiteY1" fmla="*/ 53273 h 106546"/>
                  <a:gd name="connsiteX2" fmla="*/ 46618 w 93236"/>
                  <a:gd name="connsiteY2" fmla="*/ 0 h 106546"/>
                  <a:gd name="connsiteX3" fmla="*/ 93237 w 93236"/>
                  <a:gd name="connsiteY3" fmla="*/ 53273 h 106546"/>
                  <a:gd name="connsiteX4" fmla="*/ 46618 w 93236"/>
                  <a:gd name="connsiteY4" fmla="*/ 106546 h 106546"/>
                  <a:gd name="connsiteX5" fmla="*/ 46618 w 93236"/>
                  <a:gd name="connsiteY5" fmla="*/ 13317 h 106546"/>
                  <a:gd name="connsiteX6" fmla="*/ 13321 w 93236"/>
                  <a:gd name="connsiteY6" fmla="*/ 53271 h 106546"/>
                  <a:gd name="connsiteX7" fmla="*/ 46618 w 93236"/>
                  <a:gd name="connsiteY7" fmla="*/ 93224 h 106546"/>
                  <a:gd name="connsiteX8" fmla="*/ 79916 w 93236"/>
                  <a:gd name="connsiteY8" fmla="*/ 53271 h 106546"/>
                  <a:gd name="connsiteX9" fmla="*/ 46618 w 93236"/>
                  <a:gd name="connsiteY9" fmla="*/ 13317 h 106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36" h="106546">
                    <a:moveTo>
                      <a:pt x="46618" y="106546"/>
                    </a:moveTo>
                    <a:cubicBezTo>
                      <a:pt x="18734" y="106546"/>
                      <a:pt x="0" y="85137"/>
                      <a:pt x="0" y="53273"/>
                    </a:cubicBezTo>
                    <a:cubicBezTo>
                      <a:pt x="0" y="21409"/>
                      <a:pt x="18734" y="0"/>
                      <a:pt x="46618" y="0"/>
                    </a:cubicBezTo>
                    <a:cubicBezTo>
                      <a:pt x="74502" y="0"/>
                      <a:pt x="93237" y="21409"/>
                      <a:pt x="93237" y="53273"/>
                    </a:cubicBezTo>
                    <a:cubicBezTo>
                      <a:pt x="93237" y="85137"/>
                      <a:pt x="74502" y="106546"/>
                      <a:pt x="46618" y="106546"/>
                    </a:cubicBezTo>
                    <a:close/>
                    <a:moveTo>
                      <a:pt x="46618" y="13317"/>
                    </a:moveTo>
                    <a:cubicBezTo>
                      <a:pt x="22041" y="13317"/>
                      <a:pt x="13321" y="34843"/>
                      <a:pt x="13321" y="53271"/>
                    </a:cubicBezTo>
                    <a:cubicBezTo>
                      <a:pt x="13321" y="71698"/>
                      <a:pt x="22041" y="93224"/>
                      <a:pt x="46618" y="93224"/>
                    </a:cubicBezTo>
                    <a:cubicBezTo>
                      <a:pt x="71196" y="93224"/>
                      <a:pt x="79916" y="71698"/>
                      <a:pt x="79916" y="53271"/>
                    </a:cubicBezTo>
                    <a:cubicBezTo>
                      <a:pt x="79916" y="34843"/>
                      <a:pt x="71196" y="13317"/>
                      <a:pt x="46618" y="13317"/>
                    </a:cubicBezTo>
                    <a:close/>
                  </a:path>
                </a:pathLst>
              </a:custGeom>
              <a:solidFill>
                <a:schemeClr val="accent1"/>
              </a:solidFill>
              <a:ln w="254" cap="flat">
                <a:noFill/>
                <a:prstDash val="solid"/>
                <a:miter/>
              </a:ln>
            </p:spPr>
            <p:txBody>
              <a:bodyPr rtlCol="0" anchor="ctr"/>
              <a:lstStyle/>
              <a:p>
                <a:endParaRPr lang="en-GB" dirty="0"/>
              </a:p>
            </p:txBody>
          </p:sp>
        </p:grpSp>
      </p:grpSp>
      <p:grpSp>
        <p:nvGrpSpPr>
          <p:cNvPr id="37" name="Group 36">
            <a:extLst>
              <a:ext uri="{FF2B5EF4-FFF2-40B4-BE49-F238E27FC236}">
                <a16:creationId xmlns:a16="http://schemas.microsoft.com/office/drawing/2014/main" id="{244F172F-A2AE-CE1B-5D08-E0C111C0699E}"/>
              </a:ext>
            </a:extLst>
          </p:cNvPr>
          <p:cNvGrpSpPr/>
          <p:nvPr/>
        </p:nvGrpSpPr>
        <p:grpSpPr>
          <a:xfrm>
            <a:off x="4966791" y="2391526"/>
            <a:ext cx="492970" cy="432000"/>
            <a:chOff x="4966379" y="2391526"/>
            <a:chExt cx="492970" cy="432000"/>
          </a:xfrm>
        </p:grpSpPr>
        <p:grpSp>
          <p:nvGrpSpPr>
            <p:cNvPr id="360" name="Group 359">
              <a:extLst>
                <a:ext uri="{FF2B5EF4-FFF2-40B4-BE49-F238E27FC236}">
                  <a16:creationId xmlns:a16="http://schemas.microsoft.com/office/drawing/2014/main" id="{776DB652-8A24-4A6A-AEF2-502379FD9D67}"/>
                </a:ext>
              </a:extLst>
            </p:cNvPr>
            <p:cNvGrpSpPr/>
            <p:nvPr/>
          </p:nvGrpSpPr>
          <p:grpSpPr>
            <a:xfrm>
              <a:off x="5060588" y="2391526"/>
              <a:ext cx="398761" cy="432000"/>
              <a:chOff x="6148811" y="1632588"/>
              <a:chExt cx="427232" cy="462844"/>
            </a:xfrm>
            <a:solidFill>
              <a:schemeClr val="tx2"/>
            </a:solidFill>
          </p:grpSpPr>
          <p:grpSp>
            <p:nvGrpSpPr>
              <p:cNvPr id="368" name="Grafik 54">
                <a:extLst>
                  <a:ext uri="{FF2B5EF4-FFF2-40B4-BE49-F238E27FC236}">
                    <a16:creationId xmlns:a16="http://schemas.microsoft.com/office/drawing/2014/main" id="{047DC772-7751-4310-A38E-388502CBBE91}"/>
                  </a:ext>
                </a:extLst>
              </p:cNvPr>
              <p:cNvGrpSpPr/>
              <p:nvPr/>
            </p:nvGrpSpPr>
            <p:grpSpPr>
              <a:xfrm>
                <a:off x="6155529" y="2044985"/>
                <a:ext cx="366695" cy="50447"/>
                <a:chOff x="6155529" y="2044985"/>
                <a:chExt cx="366695" cy="50447"/>
              </a:xfrm>
              <a:grpFill/>
            </p:grpSpPr>
            <p:sp>
              <p:nvSpPr>
                <p:cNvPr id="391" name="Freihandform: Form 600">
                  <a:extLst>
                    <a:ext uri="{FF2B5EF4-FFF2-40B4-BE49-F238E27FC236}">
                      <a16:creationId xmlns:a16="http://schemas.microsoft.com/office/drawing/2014/main" id="{07AF5267-F3C6-475B-96CA-D9DA7FD003CB}"/>
                    </a:ext>
                  </a:extLst>
                </p:cNvPr>
                <p:cNvSpPr/>
                <p:nvPr/>
              </p:nvSpPr>
              <p:spPr>
                <a:xfrm>
                  <a:off x="6189169" y="2044985"/>
                  <a:ext cx="312875" cy="50447"/>
                </a:xfrm>
                <a:custGeom>
                  <a:avLst/>
                  <a:gdLst>
                    <a:gd name="connsiteX0" fmla="*/ 307831 w 312875"/>
                    <a:gd name="connsiteY0" fmla="*/ 50448 h 50447"/>
                    <a:gd name="connsiteX1" fmla="*/ 5045 w 312875"/>
                    <a:gd name="connsiteY1" fmla="*/ 50448 h 50447"/>
                    <a:gd name="connsiteX2" fmla="*/ 0 w 312875"/>
                    <a:gd name="connsiteY2" fmla="*/ 45403 h 50447"/>
                    <a:gd name="connsiteX3" fmla="*/ 0 w 312875"/>
                    <a:gd name="connsiteY3" fmla="*/ 5045 h 50447"/>
                    <a:gd name="connsiteX4" fmla="*/ 5045 w 312875"/>
                    <a:gd name="connsiteY4" fmla="*/ 0 h 50447"/>
                    <a:gd name="connsiteX5" fmla="*/ 307831 w 312875"/>
                    <a:gd name="connsiteY5" fmla="*/ 0 h 50447"/>
                    <a:gd name="connsiteX6" fmla="*/ 312876 w 312875"/>
                    <a:gd name="connsiteY6" fmla="*/ 5045 h 50447"/>
                    <a:gd name="connsiteX7" fmla="*/ 312876 w 312875"/>
                    <a:gd name="connsiteY7" fmla="*/ 45403 h 50447"/>
                    <a:gd name="connsiteX8" fmla="*/ 307831 w 312875"/>
                    <a:gd name="connsiteY8" fmla="*/ 50448 h 50447"/>
                    <a:gd name="connsiteX9" fmla="*/ 10090 w 312875"/>
                    <a:gd name="connsiteY9" fmla="*/ 40358 h 50447"/>
                    <a:gd name="connsiteX10" fmla="*/ 302786 w 312875"/>
                    <a:gd name="connsiteY10" fmla="*/ 40358 h 50447"/>
                    <a:gd name="connsiteX11" fmla="*/ 302786 w 312875"/>
                    <a:gd name="connsiteY11" fmla="*/ 10090 h 50447"/>
                    <a:gd name="connsiteX12" fmla="*/ 10090 w 312875"/>
                    <a:gd name="connsiteY12" fmla="*/ 10090 h 50447"/>
                    <a:gd name="connsiteX13" fmla="*/ 10090 w 312875"/>
                    <a:gd name="connsiteY13" fmla="*/ 40358 h 5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875" h="50447">
                      <a:moveTo>
                        <a:pt x="307831" y="50448"/>
                      </a:moveTo>
                      <a:lnTo>
                        <a:pt x="5045" y="50448"/>
                      </a:lnTo>
                      <a:cubicBezTo>
                        <a:pt x="2248" y="50448"/>
                        <a:pt x="0" y="48200"/>
                        <a:pt x="0" y="45403"/>
                      </a:cubicBezTo>
                      <a:lnTo>
                        <a:pt x="0" y="5045"/>
                      </a:lnTo>
                      <a:cubicBezTo>
                        <a:pt x="0" y="2248"/>
                        <a:pt x="2248" y="0"/>
                        <a:pt x="5045" y="0"/>
                      </a:cubicBezTo>
                      <a:lnTo>
                        <a:pt x="307831" y="0"/>
                      </a:lnTo>
                      <a:cubicBezTo>
                        <a:pt x="310628" y="0"/>
                        <a:pt x="312876" y="2248"/>
                        <a:pt x="312876" y="5045"/>
                      </a:cubicBezTo>
                      <a:lnTo>
                        <a:pt x="312876" y="45403"/>
                      </a:lnTo>
                      <a:cubicBezTo>
                        <a:pt x="312876" y="48200"/>
                        <a:pt x="310628" y="50448"/>
                        <a:pt x="307831" y="50448"/>
                      </a:cubicBezTo>
                      <a:close/>
                      <a:moveTo>
                        <a:pt x="10090" y="40358"/>
                      </a:moveTo>
                      <a:lnTo>
                        <a:pt x="302786" y="40358"/>
                      </a:lnTo>
                      <a:lnTo>
                        <a:pt x="302786" y="10090"/>
                      </a:lnTo>
                      <a:lnTo>
                        <a:pt x="10090" y="10090"/>
                      </a:lnTo>
                      <a:lnTo>
                        <a:pt x="10090" y="40358"/>
                      </a:lnTo>
                      <a:close/>
                    </a:path>
                  </a:pathLst>
                </a:custGeom>
                <a:grpFill/>
                <a:ln w="2495" cap="flat">
                  <a:noFill/>
                  <a:prstDash val="solid"/>
                  <a:miter/>
                </a:ln>
              </p:spPr>
              <p:txBody>
                <a:bodyPr rtlCol="0" anchor="ctr"/>
                <a:lstStyle/>
                <a:p>
                  <a:endParaRPr lang="en-GB" dirty="0"/>
                </a:p>
              </p:txBody>
            </p:sp>
            <p:sp>
              <p:nvSpPr>
                <p:cNvPr id="392" name="Freihandform: Form 601">
                  <a:extLst>
                    <a:ext uri="{FF2B5EF4-FFF2-40B4-BE49-F238E27FC236}">
                      <a16:creationId xmlns:a16="http://schemas.microsoft.com/office/drawing/2014/main" id="{A25B1245-AFF4-45DA-A6AB-1ABA60959CF5}"/>
                    </a:ext>
                  </a:extLst>
                </p:cNvPr>
                <p:cNvSpPr/>
                <p:nvPr/>
              </p:nvSpPr>
              <p:spPr>
                <a:xfrm>
                  <a:off x="6491955" y="2051703"/>
                  <a:ext cx="30268" cy="37011"/>
                </a:xfrm>
                <a:custGeom>
                  <a:avLst/>
                  <a:gdLst>
                    <a:gd name="connsiteX0" fmla="*/ 25224 w 30268"/>
                    <a:gd name="connsiteY0" fmla="*/ 37012 h 37011"/>
                    <a:gd name="connsiteX1" fmla="*/ 5045 w 30268"/>
                    <a:gd name="connsiteY1" fmla="*/ 37012 h 37011"/>
                    <a:gd name="connsiteX2" fmla="*/ 0 w 30268"/>
                    <a:gd name="connsiteY2" fmla="*/ 31967 h 37011"/>
                    <a:gd name="connsiteX3" fmla="*/ 0 w 30268"/>
                    <a:gd name="connsiteY3" fmla="*/ 5045 h 37011"/>
                    <a:gd name="connsiteX4" fmla="*/ 5045 w 30268"/>
                    <a:gd name="connsiteY4" fmla="*/ 0 h 37011"/>
                    <a:gd name="connsiteX5" fmla="*/ 25224 w 30268"/>
                    <a:gd name="connsiteY5" fmla="*/ 0 h 37011"/>
                    <a:gd name="connsiteX6" fmla="*/ 30269 w 30268"/>
                    <a:gd name="connsiteY6" fmla="*/ 5045 h 37011"/>
                    <a:gd name="connsiteX7" fmla="*/ 30269 w 30268"/>
                    <a:gd name="connsiteY7" fmla="*/ 31967 h 37011"/>
                    <a:gd name="connsiteX8" fmla="*/ 25224 w 30268"/>
                    <a:gd name="connsiteY8" fmla="*/ 37012 h 37011"/>
                    <a:gd name="connsiteX9" fmla="*/ 10089 w 30268"/>
                    <a:gd name="connsiteY9" fmla="*/ 26922 h 37011"/>
                    <a:gd name="connsiteX10" fmla="*/ 20179 w 30268"/>
                    <a:gd name="connsiteY10" fmla="*/ 26922 h 37011"/>
                    <a:gd name="connsiteX11" fmla="*/ 20179 w 30268"/>
                    <a:gd name="connsiteY11" fmla="*/ 10090 h 37011"/>
                    <a:gd name="connsiteX12" fmla="*/ 10089 w 30268"/>
                    <a:gd name="connsiteY12" fmla="*/ 10090 h 37011"/>
                    <a:gd name="connsiteX13" fmla="*/ 10089 w 30268"/>
                    <a:gd name="connsiteY13" fmla="*/ 26922 h 3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268" h="37011">
                      <a:moveTo>
                        <a:pt x="25224" y="37012"/>
                      </a:moveTo>
                      <a:lnTo>
                        <a:pt x="5045" y="37012"/>
                      </a:lnTo>
                      <a:cubicBezTo>
                        <a:pt x="2248" y="37012"/>
                        <a:pt x="0" y="34764"/>
                        <a:pt x="0" y="31967"/>
                      </a:cubicBezTo>
                      <a:lnTo>
                        <a:pt x="0" y="5045"/>
                      </a:lnTo>
                      <a:cubicBezTo>
                        <a:pt x="0" y="2248"/>
                        <a:pt x="2248" y="0"/>
                        <a:pt x="5045" y="0"/>
                      </a:cubicBezTo>
                      <a:lnTo>
                        <a:pt x="25224" y="0"/>
                      </a:lnTo>
                      <a:cubicBezTo>
                        <a:pt x="28021" y="0"/>
                        <a:pt x="30269" y="2248"/>
                        <a:pt x="30269" y="5045"/>
                      </a:cubicBezTo>
                      <a:lnTo>
                        <a:pt x="30269" y="31967"/>
                      </a:lnTo>
                      <a:cubicBezTo>
                        <a:pt x="30269" y="34739"/>
                        <a:pt x="28021" y="37012"/>
                        <a:pt x="25224" y="37012"/>
                      </a:cubicBezTo>
                      <a:close/>
                      <a:moveTo>
                        <a:pt x="10089" y="26922"/>
                      </a:moveTo>
                      <a:lnTo>
                        <a:pt x="20179" y="26922"/>
                      </a:lnTo>
                      <a:lnTo>
                        <a:pt x="20179" y="10090"/>
                      </a:lnTo>
                      <a:lnTo>
                        <a:pt x="10089" y="10090"/>
                      </a:lnTo>
                      <a:lnTo>
                        <a:pt x="10089" y="26922"/>
                      </a:lnTo>
                      <a:close/>
                    </a:path>
                  </a:pathLst>
                </a:custGeom>
                <a:grpFill/>
                <a:ln w="2495" cap="flat">
                  <a:noFill/>
                  <a:prstDash val="solid"/>
                  <a:miter/>
                </a:ln>
              </p:spPr>
              <p:txBody>
                <a:bodyPr rtlCol="0" anchor="ctr"/>
                <a:lstStyle/>
                <a:p>
                  <a:endParaRPr lang="en-GB" dirty="0"/>
                </a:p>
              </p:txBody>
            </p:sp>
            <p:sp>
              <p:nvSpPr>
                <p:cNvPr id="393" name="Freihandform: Form 602">
                  <a:extLst>
                    <a:ext uri="{FF2B5EF4-FFF2-40B4-BE49-F238E27FC236}">
                      <a16:creationId xmlns:a16="http://schemas.microsoft.com/office/drawing/2014/main" id="{AB4E1E23-0044-48D0-B3A2-A2FEF66D9295}"/>
                    </a:ext>
                  </a:extLst>
                </p:cNvPr>
                <p:cNvSpPr/>
                <p:nvPr/>
              </p:nvSpPr>
              <p:spPr>
                <a:xfrm>
                  <a:off x="6155529" y="2044996"/>
                  <a:ext cx="43735" cy="50436"/>
                </a:xfrm>
                <a:custGeom>
                  <a:avLst/>
                  <a:gdLst>
                    <a:gd name="connsiteX0" fmla="*/ 38685 w 43735"/>
                    <a:gd name="connsiteY0" fmla="*/ 50437 h 50436"/>
                    <a:gd name="connsiteX1" fmla="*/ 36088 w 43735"/>
                    <a:gd name="connsiteY1" fmla="*/ 49713 h 50436"/>
                    <a:gd name="connsiteX2" fmla="*/ 2447 w 43735"/>
                    <a:gd name="connsiteY2" fmla="*/ 29534 h 50436"/>
                    <a:gd name="connsiteX3" fmla="*/ 0 w 43735"/>
                    <a:gd name="connsiteY3" fmla="*/ 25213 h 50436"/>
                    <a:gd name="connsiteX4" fmla="*/ 2447 w 43735"/>
                    <a:gd name="connsiteY4" fmla="*/ 20892 h 50436"/>
                    <a:gd name="connsiteX5" fmla="*/ 36088 w 43735"/>
                    <a:gd name="connsiteY5" fmla="*/ 713 h 50436"/>
                    <a:gd name="connsiteX6" fmla="*/ 43005 w 43735"/>
                    <a:gd name="connsiteY6" fmla="*/ 2437 h 50436"/>
                    <a:gd name="connsiteX7" fmla="*/ 41282 w 43735"/>
                    <a:gd name="connsiteY7" fmla="*/ 9354 h 50436"/>
                    <a:gd name="connsiteX8" fmla="*/ 14860 w 43735"/>
                    <a:gd name="connsiteY8" fmla="*/ 25213 h 50436"/>
                    <a:gd name="connsiteX9" fmla="*/ 41282 w 43735"/>
                    <a:gd name="connsiteY9" fmla="*/ 41072 h 50436"/>
                    <a:gd name="connsiteX10" fmla="*/ 43005 w 43735"/>
                    <a:gd name="connsiteY10" fmla="*/ 47989 h 50436"/>
                    <a:gd name="connsiteX11" fmla="*/ 38685 w 43735"/>
                    <a:gd name="connsiteY11" fmla="*/ 50437 h 5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735" h="50436">
                      <a:moveTo>
                        <a:pt x="38685" y="50437"/>
                      </a:moveTo>
                      <a:cubicBezTo>
                        <a:pt x="37811" y="50437"/>
                        <a:pt x="36912" y="50212"/>
                        <a:pt x="36088" y="49713"/>
                      </a:cubicBezTo>
                      <a:lnTo>
                        <a:pt x="2447" y="29534"/>
                      </a:lnTo>
                      <a:cubicBezTo>
                        <a:pt x="924" y="28634"/>
                        <a:pt x="0" y="26986"/>
                        <a:pt x="0" y="25213"/>
                      </a:cubicBezTo>
                      <a:cubicBezTo>
                        <a:pt x="0" y="23440"/>
                        <a:pt x="924" y="21792"/>
                        <a:pt x="2447" y="20892"/>
                      </a:cubicBezTo>
                      <a:lnTo>
                        <a:pt x="36088" y="713"/>
                      </a:lnTo>
                      <a:cubicBezTo>
                        <a:pt x="38460" y="-710"/>
                        <a:pt x="41582" y="64"/>
                        <a:pt x="43005" y="2437"/>
                      </a:cubicBezTo>
                      <a:cubicBezTo>
                        <a:pt x="44429" y="4834"/>
                        <a:pt x="43655" y="7931"/>
                        <a:pt x="41282" y="9354"/>
                      </a:cubicBezTo>
                      <a:lnTo>
                        <a:pt x="14860" y="25213"/>
                      </a:lnTo>
                      <a:lnTo>
                        <a:pt x="41282" y="41072"/>
                      </a:lnTo>
                      <a:cubicBezTo>
                        <a:pt x="43680" y="42495"/>
                        <a:pt x="44454" y="45617"/>
                        <a:pt x="43005" y="47989"/>
                      </a:cubicBezTo>
                      <a:cubicBezTo>
                        <a:pt x="42081" y="49563"/>
                        <a:pt x="40408" y="50437"/>
                        <a:pt x="38685" y="50437"/>
                      </a:cubicBezTo>
                      <a:close/>
                    </a:path>
                  </a:pathLst>
                </a:custGeom>
                <a:grpFill/>
                <a:ln w="2495" cap="flat">
                  <a:noFill/>
                  <a:prstDash val="solid"/>
                  <a:miter/>
                </a:ln>
              </p:spPr>
              <p:txBody>
                <a:bodyPr rtlCol="0" anchor="ctr"/>
                <a:lstStyle/>
                <a:p>
                  <a:endParaRPr lang="en-GB" dirty="0"/>
                </a:p>
              </p:txBody>
            </p:sp>
          </p:grpSp>
          <p:grpSp>
            <p:nvGrpSpPr>
              <p:cNvPr id="369" name="Grafik 54">
                <a:extLst>
                  <a:ext uri="{FF2B5EF4-FFF2-40B4-BE49-F238E27FC236}">
                    <a16:creationId xmlns:a16="http://schemas.microsoft.com/office/drawing/2014/main" id="{E0D1C849-61EC-4254-BA05-808F187BC448}"/>
                  </a:ext>
                </a:extLst>
              </p:cNvPr>
              <p:cNvGrpSpPr/>
              <p:nvPr/>
            </p:nvGrpSpPr>
            <p:grpSpPr>
              <a:xfrm>
                <a:off x="6362839" y="1735456"/>
                <a:ext cx="213204" cy="279235"/>
                <a:chOff x="6362839" y="1735456"/>
                <a:chExt cx="213204" cy="279235"/>
              </a:xfrm>
              <a:grpFill/>
            </p:grpSpPr>
            <p:sp>
              <p:nvSpPr>
                <p:cNvPr id="377" name="Freihandform: Form 605">
                  <a:extLst>
                    <a:ext uri="{FF2B5EF4-FFF2-40B4-BE49-F238E27FC236}">
                      <a16:creationId xmlns:a16="http://schemas.microsoft.com/office/drawing/2014/main" id="{EEBC8282-7A95-48DE-9D5B-C93148617691}"/>
                    </a:ext>
                  </a:extLst>
                </p:cNvPr>
                <p:cNvSpPr/>
                <p:nvPr/>
              </p:nvSpPr>
              <p:spPr>
                <a:xfrm>
                  <a:off x="6383143" y="1760855"/>
                  <a:ext cx="172596" cy="65956"/>
                </a:xfrm>
                <a:custGeom>
                  <a:avLst/>
                  <a:gdLst>
                    <a:gd name="connsiteX0" fmla="*/ 167551 w 172596"/>
                    <a:gd name="connsiteY0" fmla="*/ 65957 h 65956"/>
                    <a:gd name="connsiteX1" fmla="*/ 5045 w 172596"/>
                    <a:gd name="connsiteY1" fmla="*/ 65957 h 65956"/>
                    <a:gd name="connsiteX2" fmla="*/ 0 w 172596"/>
                    <a:gd name="connsiteY2" fmla="*/ 60912 h 65956"/>
                    <a:gd name="connsiteX3" fmla="*/ 0 w 172596"/>
                    <a:gd name="connsiteY3" fmla="*/ 5045 h 65956"/>
                    <a:gd name="connsiteX4" fmla="*/ 5045 w 172596"/>
                    <a:gd name="connsiteY4" fmla="*/ 0 h 65956"/>
                    <a:gd name="connsiteX5" fmla="*/ 167551 w 172596"/>
                    <a:gd name="connsiteY5" fmla="*/ 0 h 65956"/>
                    <a:gd name="connsiteX6" fmla="*/ 172596 w 172596"/>
                    <a:gd name="connsiteY6" fmla="*/ 5045 h 65956"/>
                    <a:gd name="connsiteX7" fmla="*/ 172596 w 172596"/>
                    <a:gd name="connsiteY7" fmla="*/ 60912 h 65956"/>
                    <a:gd name="connsiteX8" fmla="*/ 167551 w 172596"/>
                    <a:gd name="connsiteY8" fmla="*/ 65957 h 65956"/>
                    <a:gd name="connsiteX9" fmla="*/ 10114 w 172596"/>
                    <a:gd name="connsiteY9" fmla="*/ 55867 h 65956"/>
                    <a:gd name="connsiteX10" fmla="*/ 162532 w 172596"/>
                    <a:gd name="connsiteY10" fmla="*/ 55867 h 65956"/>
                    <a:gd name="connsiteX11" fmla="*/ 162532 w 172596"/>
                    <a:gd name="connsiteY11" fmla="*/ 10090 h 65956"/>
                    <a:gd name="connsiteX12" fmla="*/ 10114 w 172596"/>
                    <a:gd name="connsiteY12" fmla="*/ 10090 h 65956"/>
                    <a:gd name="connsiteX13" fmla="*/ 10114 w 172596"/>
                    <a:gd name="connsiteY13" fmla="*/ 55867 h 65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2596" h="65956">
                      <a:moveTo>
                        <a:pt x="167551" y="65957"/>
                      </a:moveTo>
                      <a:lnTo>
                        <a:pt x="5045" y="65957"/>
                      </a:lnTo>
                      <a:cubicBezTo>
                        <a:pt x="2248" y="65957"/>
                        <a:pt x="0" y="63684"/>
                        <a:pt x="0" y="60912"/>
                      </a:cubicBezTo>
                      <a:lnTo>
                        <a:pt x="0" y="5045"/>
                      </a:lnTo>
                      <a:cubicBezTo>
                        <a:pt x="0" y="2248"/>
                        <a:pt x="2273" y="0"/>
                        <a:pt x="5045" y="0"/>
                      </a:cubicBezTo>
                      <a:lnTo>
                        <a:pt x="167551" y="0"/>
                      </a:lnTo>
                      <a:cubicBezTo>
                        <a:pt x="170349" y="0"/>
                        <a:pt x="172596" y="2273"/>
                        <a:pt x="172596" y="5045"/>
                      </a:cubicBezTo>
                      <a:lnTo>
                        <a:pt x="172596" y="60912"/>
                      </a:lnTo>
                      <a:cubicBezTo>
                        <a:pt x="172621" y="63684"/>
                        <a:pt x="170349" y="65957"/>
                        <a:pt x="167551" y="65957"/>
                      </a:cubicBezTo>
                      <a:close/>
                      <a:moveTo>
                        <a:pt x="10114" y="55867"/>
                      </a:moveTo>
                      <a:lnTo>
                        <a:pt x="162532" y="55867"/>
                      </a:lnTo>
                      <a:lnTo>
                        <a:pt x="162532" y="10090"/>
                      </a:lnTo>
                      <a:lnTo>
                        <a:pt x="10114" y="10090"/>
                      </a:lnTo>
                      <a:lnTo>
                        <a:pt x="10114" y="55867"/>
                      </a:lnTo>
                      <a:close/>
                    </a:path>
                  </a:pathLst>
                </a:custGeom>
                <a:grpFill/>
                <a:ln w="2495" cap="flat">
                  <a:noFill/>
                  <a:prstDash val="solid"/>
                  <a:miter/>
                </a:ln>
              </p:spPr>
              <p:txBody>
                <a:bodyPr rtlCol="0" anchor="ctr"/>
                <a:lstStyle/>
                <a:p>
                  <a:endParaRPr lang="en-GB" dirty="0"/>
                </a:p>
              </p:txBody>
            </p:sp>
            <p:grpSp>
              <p:nvGrpSpPr>
                <p:cNvPr id="378" name="Grafik 54">
                  <a:extLst>
                    <a:ext uri="{FF2B5EF4-FFF2-40B4-BE49-F238E27FC236}">
                      <a16:creationId xmlns:a16="http://schemas.microsoft.com/office/drawing/2014/main" id="{2FE89664-0F89-4841-9651-5DB4FA937BCA}"/>
                    </a:ext>
                  </a:extLst>
                </p:cNvPr>
                <p:cNvGrpSpPr/>
                <p:nvPr/>
              </p:nvGrpSpPr>
              <p:grpSpPr>
                <a:xfrm>
                  <a:off x="6383168" y="1847190"/>
                  <a:ext cx="172571" cy="40557"/>
                  <a:chOff x="6383168" y="1847190"/>
                  <a:chExt cx="172571" cy="40557"/>
                </a:xfrm>
                <a:grpFill/>
              </p:grpSpPr>
              <p:sp>
                <p:nvSpPr>
                  <p:cNvPr id="388" name="Freihandform: Form 607">
                    <a:extLst>
                      <a:ext uri="{FF2B5EF4-FFF2-40B4-BE49-F238E27FC236}">
                        <a16:creationId xmlns:a16="http://schemas.microsoft.com/office/drawing/2014/main" id="{B66FB686-D33B-4D49-8B67-C7025E5B43C3}"/>
                      </a:ext>
                    </a:extLst>
                  </p:cNvPr>
                  <p:cNvSpPr/>
                  <p:nvPr/>
                </p:nvSpPr>
                <p:spPr>
                  <a:xfrm>
                    <a:off x="6383168" y="1847190"/>
                    <a:ext cx="40557" cy="40557"/>
                  </a:xfrm>
                  <a:custGeom>
                    <a:avLst/>
                    <a:gdLst>
                      <a:gd name="connsiteX0" fmla="*/ 35513 w 40557"/>
                      <a:gd name="connsiteY0" fmla="*/ 40558 h 40557"/>
                      <a:gd name="connsiteX1" fmla="*/ 5045 w 40557"/>
                      <a:gd name="connsiteY1" fmla="*/ 40558 h 40557"/>
                      <a:gd name="connsiteX2" fmla="*/ 0 w 40557"/>
                      <a:gd name="connsiteY2" fmla="*/ 35513 h 40557"/>
                      <a:gd name="connsiteX3" fmla="*/ 0 w 40557"/>
                      <a:gd name="connsiteY3" fmla="*/ 5045 h 40557"/>
                      <a:gd name="connsiteX4" fmla="*/ 5045 w 40557"/>
                      <a:gd name="connsiteY4" fmla="*/ 0 h 40557"/>
                      <a:gd name="connsiteX5" fmla="*/ 35513 w 40557"/>
                      <a:gd name="connsiteY5" fmla="*/ 0 h 40557"/>
                      <a:gd name="connsiteX6" fmla="*/ 40558 w 40557"/>
                      <a:gd name="connsiteY6" fmla="*/ 5045 h 40557"/>
                      <a:gd name="connsiteX7" fmla="*/ 40558 w 40557"/>
                      <a:gd name="connsiteY7" fmla="*/ 35513 h 40557"/>
                      <a:gd name="connsiteX8" fmla="*/ 35513 w 40557"/>
                      <a:gd name="connsiteY8" fmla="*/ 40558 h 40557"/>
                      <a:gd name="connsiteX9" fmla="*/ 10089 w 40557"/>
                      <a:gd name="connsiteY9" fmla="*/ 30468 h 40557"/>
                      <a:gd name="connsiteX10" fmla="*/ 30468 w 40557"/>
                      <a:gd name="connsiteY10" fmla="*/ 30468 h 40557"/>
                      <a:gd name="connsiteX11" fmla="*/ 30468 w 40557"/>
                      <a:gd name="connsiteY11" fmla="*/ 10090 h 40557"/>
                      <a:gd name="connsiteX12" fmla="*/ 10089 w 40557"/>
                      <a:gd name="connsiteY12" fmla="*/ 10090 h 40557"/>
                      <a:gd name="connsiteX13" fmla="*/ 10089 w 40557"/>
                      <a:gd name="connsiteY13" fmla="*/ 30468 h 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7" h="40557">
                        <a:moveTo>
                          <a:pt x="35513" y="40558"/>
                        </a:moveTo>
                        <a:lnTo>
                          <a:pt x="5045" y="40558"/>
                        </a:lnTo>
                        <a:cubicBezTo>
                          <a:pt x="2248" y="40558"/>
                          <a:pt x="0" y="38310"/>
                          <a:pt x="0" y="35513"/>
                        </a:cubicBezTo>
                        <a:lnTo>
                          <a:pt x="0" y="5045"/>
                        </a:lnTo>
                        <a:cubicBezTo>
                          <a:pt x="0" y="2248"/>
                          <a:pt x="2273" y="0"/>
                          <a:pt x="5045" y="0"/>
                        </a:cubicBezTo>
                        <a:lnTo>
                          <a:pt x="35513" y="0"/>
                        </a:lnTo>
                        <a:cubicBezTo>
                          <a:pt x="38310" y="0"/>
                          <a:pt x="40558" y="2248"/>
                          <a:pt x="40558" y="5045"/>
                        </a:cubicBezTo>
                        <a:lnTo>
                          <a:pt x="40558" y="35513"/>
                        </a:lnTo>
                        <a:cubicBezTo>
                          <a:pt x="40558" y="38285"/>
                          <a:pt x="38285" y="40558"/>
                          <a:pt x="35513" y="40558"/>
                        </a:cubicBezTo>
                        <a:close/>
                        <a:moveTo>
                          <a:pt x="10089" y="30468"/>
                        </a:moveTo>
                        <a:lnTo>
                          <a:pt x="30468" y="30468"/>
                        </a:lnTo>
                        <a:lnTo>
                          <a:pt x="30468" y="10090"/>
                        </a:lnTo>
                        <a:lnTo>
                          <a:pt x="10089" y="10090"/>
                        </a:lnTo>
                        <a:lnTo>
                          <a:pt x="10089" y="30468"/>
                        </a:lnTo>
                        <a:close/>
                      </a:path>
                    </a:pathLst>
                  </a:custGeom>
                  <a:grpFill/>
                  <a:ln w="2495" cap="flat">
                    <a:noFill/>
                    <a:prstDash val="solid"/>
                    <a:miter/>
                  </a:ln>
                </p:spPr>
                <p:txBody>
                  <a:bodyPr rtlCol="0" anchor="ctr"/>
                  <a:lstStyle/>
                  <a:p>
                    <a:endParaRPr lang="en-GB" dirty="0"/>
                  </a:p>
                </p:txBody>
              </p:sp>
              <p:sp>
                <p:nvSpPr>
                  <p:cNvPr id="389" name="Freihandform: Form 608">
                    <a:extLst>
                      <a:ext uri="{FF2B5EF4-FFF2-40B4-BE49-F238E27FC236}">
                        <a16:creationId xmlns:a16="http://schemas.microsoft.com/office/drawing/2014/main" id="{7ED5D1EE-F87A-455A-8D0D-6BB1B5B95EB9}"/>
                      </a:ext>
                    </a:extLst>
                  </p:cNvPr>
                  <p:cNvSpPr/>
                  <p:nvPr/>
                </p:nvSpPr>
                <p:spPr>
                  <a:xfrm>
                    <a:off x="6449174" y="1847190"/>
                    <a:ext cx="40557" cy="40557"/>
                  </a:xfrm>
                  <a:custGeom>
                    <a:avLst/>
                    <a:gdLst>
                      <a:gd name="connsiteX0" fmla="*/ 35513 w 40557"/>
                      <a:gd name="connsiteY0" fmla="*/ 40558 h 40557"/>
                      <a:gd name="connsiteX1" fmla="*/ 5045 w 40557"/>
                      <a:gd name="connsiteY1" fmla="*/ 40558 h 40557"/>
                      <a:gd name="connsiteX2" fmla="*/ 0 w 40557"/>
                      <a:gd name="connsiteY2" fmla="*/ 35513 h 40557"/>
                      <a:gd name="connsiteX3" fmla="*/ 0 w 40557"/>
                      <a:gd name="connsiteY3" fmla="*/ 5045 h 40557"/>
                      <a:gd name="connsiteX4" fmla="*/ 5045 w 40557"/>
                      <a:gd name="connsiteY4" fmla="*/ 0 h 40557"/>
                      <a:gd name="connsiteX5" fmla="*/ 35513 w 40557"/>
                      <a:gd name="connsiteY5" fmla="*/ 0 h 40557"/>
                      <a:gd name="connsiteX6" fmla="*/ 40558 w 40557"/>
                      <a:gd name="connsiteY6" fmla="*/ 5045 h 40557"/>
                      <a:gd name="connsiteX7" fmla="*/ 40558 w 40557"/>
                      <a:gd name="connsiteY7" fmla="*/ 35513 h 40557"/>
                      <a:gd name="connsiteX8" fmla="*/ 35513 w 40557"/>
                      <a:gd name="connsiteY8" fmla="*/ 40558 h 40557"/>
                      <a:gd name="connsiteX9" fmla="*/ 10090 w 40557"/>
                      <a:gd name="connsiteY9" fmla="*/ 30468 h 40557"/>
                      <a:gd name="connsiteX10" fmla="*/ 30468 w 40557"/>
                      <a:gd name="connsiteY10" fmla="*/ 30468 h 40557"/>
                      <a:gd name="connsiteX11" fmla="*/ 30468 w 40557"/>
                      <a:gd name="connsiteY11" fmla="*/ 10090 h 40557"/>
                      <a:gd name="connsiteX12" fmla="*/ 10090 w 40557"/>
                      <a:gd name="connsiteY12" fmla="*/ 10090 h 40557"/>
                      <a:gd name="connsiteX13" fmla="*/ 10090 w 40557"/>
                      <a:gd name="connsiteY13" fmla="*/ 30468 h 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7" h="40557">
                        <a:moveTo>
                          <a:pt x="35513" y="40558"/>
                        </a:moveTo>
                        <a:lnTo>
                          <a:pt x="5045" y="40558"/>
                        </a:lnTo>
                        <a:cubicBezTo>
                          <a:pt x="2248" y="40558"/>
                          <a:pt x="0" y="38310"/>
                          <a:pt x="0" y="35513"/>
                        </a:cubicBezTo>
                        <a:lnTo>
                          <a:pt x="0" y="5045"/>
                        </a:lnTo>
                        <a:cubicBezTo>
                          <a:pt x="0" y="2248"/>
                          <a:pt x="2248" y="0"/>
                          <a:pt x="5045" y="0"/>
                        </a:cubicBezTo>
                        <a:lnTo>
                          <a:pt x="35513" y="0"/>
                        </a:lnTo>
                        <a:cubicBezTo>
                          <a:pt x="38310" y="0"/>
                          <a:pt x="40558" y="2248"/>
                          <a:pt x="40558" y="5045"/>
                        </a:cubicBezTo>
                        <a:lnTo>
                          <a:pt x="40558" y="35513"/>
                        </a:lnTo>
                        <a:cubicBezTo>
                          <a:pt x="40558" y="38285"/>
                          <a:pt x="38310" y="40558"/>
                          <a:pt x="35513" y="40558"/>
                        </a:cubicBezTo>
                        <a:close/>
                        <a:moveTo>
                          <a:pt x="10090" y="30468"/>
                        </a:moveTo>
                        <a:lnTo>
                          <a:pt x="30468" y="30468"/>
                        </a:lnTo>
                        <a:lnTo>
                          <a:pt x="30468" y="10090"/>
                        </a:lnTo>
                        <a:lnTo>
                          <a:pt x="10090" y="10090"/>
                        </a:lnTo>
                        <a:lnTo>
                          <a:pt x="10090" y="30468"/>
                        </a:lnTo>
                        <a:close/>
                      </a:path>
                    </a:pathLst>
                  </a:custGeom>
                  <a:grpFill/>
                  <a:ln w="2495" cap="flat">
                    <a:noFill/>
                    <a:prstDash val="solid"/>
                    <a:miter/>
                  </a:ln>
                </p:spPr>
                <p:txBody>
                  <a:bodyPr rtlCol="0" anchor="ctr"/>
                  <a:lstStyle/>
                  <a:p>
                    <a:endParaRPr lang="en-GB" dirty="0"/>
                  </a:p>
                </p:txBody>
              </p:sp>
              <p:sp>
                <p:nvSpPr>
                  <p:cNvPr id="390" name="Freihandform: Form 609">
                    <a:extLst>
                      <a:ext uri="{FF2B5EF4-FFF2-40B4-BE49-F238E27FC236}">
                        <a16:creationId xmlns:a16="http://schemas.microsoft.com/office/drawing/2014/main" id="{C5960E48-C8BA-4467-80D8-A558CA606482}"/>
                      </a:ext>
                    </a:extLst>
                  </p:cNvPr>
                  <p:cNvSpPr/>
                  <p:nvPr/>
                </p:nvSpPr>
                <p:spPr>
                  <a:xfrm>
                    <a:off x="6515181" y="1847190"/>
                    <a:ext cx="40558" cy="40557"/>
                  </a:xfrm>
                  <a:custGeom>
                    <a:avLst/>
                    <a:gdLst>
                      <a:gd name="connsiteX0" fmla="*/ 35513 w 40558"/>
                      <a:gd name="connsiteY0" fmla="*/ 40558 h 40557"/>
                      <a:gd name="connsiteX1" fmla="*/ 5045 w 40558"/>
                      <a:gd name="connsiteY1" fmla="*/ 40558 h 40557"/>
                      <a:gd name="connsiteX2" fmla="*/ 0 w 40558"/>
                      <a:gd name="connsiteY2" fmla="*/ 35513 h 40557"/>
                      <a:gd name="connsiteX3" fmla="*/ 0 w 40558"/>
                      <a:gd name="connsiteY3" fmla="*/ 5045 h 40557"/>
                      <a:gd name="connsiteX4" fmla="*/ 5045 w 40558"/>
                      <a:gd name="connsiteY4" fmla="*/ 0 h 40557"/>
                      <a:gd name="connsiteX5" fmla="*/ 35513 w 40558"/>
                      <a:gd name="connsiteY5" fmla="*/ 0 h 40557"/>
                      <a:gd name="connsiteX6" fmla="*/ 40558 w 40558"/>
                      <a:gd name="connsiteY6" fmla="*/ 5045 h 40557"/>
                      <a:gd name="connsiteX7" fmla="*/ 40558 w 40558"/>
                      <a:gd name="connsiteY7" fmla="*/ 35513 h 40557"/>
                      <a:gd name="connsiteX8" fmla="*/ 35513 w 40558"/>
                      <a:gd name="connsiteY8" fmla="*/ 40558 h 40557"/>
                      <a:gd name="connsiteX9" fmla="*/ 10114 w 40558"/>
                      <a:gd name="connsiteY9" fmla="*/ 30468 h 40557"/>
                      <a:gd name="connsiteX10" fmla="*/ 30493 w 40558"/>
                      <a:gd name="connsiteY10" fmla="*/ 30468 h 40557"/>
                      <a:gd name="connsiteX11" fmla="*/ 30493 w 40558"/>
                      <a:gd name="connsiteY11" fmla="*/ 10090 h 40557"/>
                      <a:gd name="connsiteX12" fmla="*/ 10114 w 40558"/>
                      <a:gd name="connsiteY12" fmla="*/ 10090 h 40557"/>
                      <a:gd name="connsiteX13" fmla="*/ 10114 w 40558"/>
                      <a:gd name="connsiteY13" fmla="*/ 30468 h 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8" h="40557">
                        <a:moveTo>
                          <a:pt x="35513" y="40558"/>
                        </a:moveTo>
                        <a:lnTo>
                          <a:pt x="5045" y="40558"/>
                        </a:lnTo>
                        <a:cubicBezTo>
                          <a:pt x="2248" y="40558"/>
                          <a:pt x="0" y="38310"/>
                          <a:pt x="0" y="35513"/>
                        </a:cubicBezTo>
                        <a:lnTo>
                          <a:pt x="0" y="5045"/>
                        </a:lnTo>
                        <a:cubicBezTo>
                          <a:pt x="0" y="2248"/>
                          <a:pt x="2248" y="0"/>
                          <a:pt x="5045" y="0"/>
                        </a:cubicBezTo>
                        <a:lnTo>
                          <a:pt x="35513" y="0"/>
                        </a:lnTo>
                        <a:cubicBezTo>
                          <a:pt x="38310" y="0"/>
                          <a:pt x="40558" y="2248"/>
                          <a:pt x="40558" y="5045"/>
                        </a:cubicBezTo>
                        <a:lnTo>
                          <a:pt x="40558" y="35513"/>
                        </a:lnTo>
                        <a:cubicBezTo>
                          <a:pt x="40583" y="38285"/>
                          <a:pt x="38310" y="40558"/>
                          <a:pt x="35513" y="40558"/>
                        </a:cubicBezTo>
                        <a:close/>
                        <a:moveTo>
                          <a:pt x="10114" y="30468"/>
                        </a:moveTo>
                        <a:lnTo>
                          <a:pt x="30493" y="30468"/>
                        </a:lnTo>
                        <a:lnTo>
                          <a:pt x="30493" y="10090"/>
                        </a:lnTo>
                        <a:lnTo>
                          <a:pt x="10114" y="10090"/>
                        </a:lnTo>
                        <a:lnTo>
                          <a:pt x="10114" y="30468"/>
                        </a:lnTo>
                        <a:close/>
                      </a:path>
                    </a:pathLst>
                  </a:custGeom>
                  <a:grpFill/>
                  <a:ln w="2495" cap="flat">
                    <a:noFill/>
                    <a:prstDash val="solid"/>
                    <a:miter/>
                  </a:ln>
                </p:spPr>
                <p:txBody>
                  <a:bodyPr rtlCol="0" anchor="ctr"/>
                  <a:lstStyle/>
                  <a:p>
                    <a:endParaRPr lang="en-GB" dirty="0"/>
                  </a:p>
                </p:txBody>
              </p:sp>
            </p:grpSp>
            <p:grpSp>
              <p:nvGrpSpPr>
                <p:cNvPr id="379" name="Grafik 54">
                  <a:extLst>
                    <a:ext uri="{FF2B5EF4-FFF2-40B4-BE49-F238E27FC236}">
                      <a16:creationId xmlns:a16="http://schemas.microsoft.com/office/drawing/2014/main" id="{E1ACCA31-2E0B-4B2A-8292-7EFDCFA50E2D}"/>
                    </a:ext>
                  </a:extLst>
                </p:cNvPr>
                <p:cNvGrpSpPr/>
                <p:nvPr/>
              </p:nvGrpSpPr>
              <p:grpSpPr>
                <a:xfrm>
                  <a:off x="6383168" y="1897962"/>
                  <a:ext cx="172571" cy="40557"/>
                  <a:chOff x="6383168" y="1897962"/>
                  <a:chExt cx="172571" cy="40557"/>
                </a:xfrm>
                <a:grpFill/>
              </p:grpSpPr>
              <p:sp>
                <p:nvSpPr>
                  <p:cNvPr id="385" name="Freihandform: Form 611">
                    <a:extLst>
                      <a:ext uri="{FF2B5EF4-FFF2-40B4-BE49-F238E27FC236}">
                        <a16:creationId xmlns:a16="http://schemas.microsoft.com/office/drawing/2014/main" id="{2E02D536-4BEB-4E7E-BDAA-10FCE47B4B93}"/>
                      </a:ext>
                    </a:extLst>
                  </p:cNvPr>
                  <p:cNvSpPr/>
                  <p:nvPr/>
                </p:nvSpPr>
                <p:spPr>
                  <a:xfrm>
                    <a:off x="6383168" y="1897962"/>
                    <a:ext cx="40557" cy="40557"/>
                  </a:xfrm>
                  <a:custGeom>
                    <a:avLst/>
                    <a:gdLst>
                      <a:gd name="connsiteX0" fmla="*/ 35513 w 40557"/>
                      <a:gd name="connsiteY0" fmla="*/ 40558 h 40557"/>
                      <a:gd name="connsiteX1" fmla="*/ 5045 w 40557"/>
                      <a:gd name="connsiteY1" fmla="*/ 40558 h 40557"/>
                      <a:gd name="connsiteX2" fmla="*/ 0 w 40557"/>
                      <a:gd name="connsiteY2" fmla="*/ 35513 h 40557"/>
                      <a:gd name="connsiteX3" fmla="*/ 0 w 40557"/>
                      <a:gd name="connsiteY3" fmla="*/ 5045 h 40557"/>
                      <a:gd name="connsiteX4" fmla="*/ 5045 w 40557"/>
                      <a:gd name="connsiteY4" fmla="*/ 0 h 40557"/>
                      <a:gd name="connsiteX5" fmla="*/ 35513 w 40557"/>
                      <a:gd name="connsiteY5" fmla="*/ 0 h 40557"/>
                      <a:gd name="connsiteX6" fmla="*/ 40558 w 40557"/>
                      <a:gd name="connsiteY6" fmla="*/ 5045 h 40557"/>
                      <a:gd name="connsiteX7" fmla="*/ 40558 w 40557"/>
                      <a:gd name="connsiteY7" fmla="*/ 35513 h 40557"/>
                      <a:gd name="connsiteX8" fmla="*/ 35513 w 40557"/>
                      <a:gd name="connsiteY8" fmla="*/ 40558 h 40557"/>
                      <a:gd name="connsiteX9" fmla="*/ 10089 w 40557"/>
                      <a:gd name="connsiteY9" fmla="*/ 30468 h 40557"/>
                      <a:gd name="connsiteX10" fmla="*/ 30468 w 40557"/>
                      <a:gd name="connsiteY10" fmla="*/ 30468 h 40557"/>
                      <a:gd name="connsiteX11" fmla="*/ 30468 w 40557"/>
                      <a:gd name="connsiteY11" fmla="*/ 10090 h 40557"/>
                      <a:gd name="connsiteX12" fmla="*/ 10089 w 40557"/>
                      <a:gd name="connsiteY12" fmla="*/ 10090 h 40557"/>
                      <a:gd name="connsiteX13" fmla="*/ 10089 w 40557"/>
                      <a:gd name="connsiteY13" fmla="*/ 30468 h 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7" h="40557">
                        <a:moveTo>
                          <a:pt x="35513" y="40558"/>
                        </a:moveTo>
                        <a:lnTo>
                          <a:pt x="5045" y="40558"/>
                        </a:lnTo>
                        <a:cubicBezTo>
                          <a:pt x="2248" y="40558"/>
                          <a:pt x="0" y="38310"/>
                          <a:pt x="0" y="35513"/>
                        </a:cubicBezTo>
                        <a:lnTo>
                          <a:pt x="0" y="5045"/>
                        </a:lnTo>
                        <a:cubicBezTo>
                          <a:pt x="0" y="2248"/>
                          <a:pt x="2273" y="0"/>
                          <a:pt x="5045" y="0"/>
                        </a:cubicBezTo>
                        <a:lnTo>
                          <a:pt x="35513" y="0"/>
                        </a:lnTo>
                        <a:cubicBezTo>
                          <a:pt x="38310" y="0"/>
                          <a:pt x="40558" y="2248"/>
                          <a:pt x="40558" y="5045"/>
                        </a:cubicBezTo>
                        <a:lnTo>
                          <a:pt x="40558" y="35513"/>
                        </a:lnTo>
                        <a:cubicBezTo>
                          <a:pt x="40558" y="38310"/>
                          <a:pt x="38285" y="40558"/>
                          <a:pt x="35513" y="40558"/>
                        </a:cubicBezTo>
                        <a:close/>
                        <a:moveTo>
                          <a:pt x="10089" y="30468"/>
                        </a:moveTo>
                        <a:lnTo>
                          <a:pt x="30468" y="30468"/>
                        </a:lnTo>
                        <a:lnTo>
                          <a:pt x="30468" y="10090"/>
                        </a:lnTo>
                        <a:lnTo>
                          <a:pt x="10089" y="10090"/>
                        </a:lnTo>
                        <a:lnTo>
                          <a:pt x="10089" y="30468"/>
                        </a:lnTo>
                        <a:close/>
                      </a:path>
                    </a:pathLst>
                  </a:custGeom>
                  <a:grpFill/>
                  <a:ln w="2495" cap="flat">
                    <a:noFill/>
                    <a:prstDash val="solid"/>
                    <a:miter/>
                  </a:ln>
                </p:spPr>
                <p:txBody>
                  <a:bodyPr rtlCol="0" anchor="ctr"/>
                  <a:lstStyle/>
                  <a:p>
                    <a:endParaRPr lang="en-GB" dirty="0"/>
                  </a:p>
                </p:txBody>
              </p:sp>
              <p:sp>
                <p:nvSpPr>
                  <p:cNvPr id="386" name="Freihandform: Form 612">
                    <a:extLst>
                      <a:ext uri="{FF2B5EF4-FFF2-40B4-BE49-F238E27FC236}">
                        <a16:creationId xmlns:a16="http://schemas.microsoft.com/office/drawing/2014/main" id="{548C88EA-B77F-4D3B-97C1-1C7BE0C8D90D}"/>
                      </a:ext>
                    </a:extLst>
                  </p:cNvPr>
                  <p:cNvSpPr/>
                  <p:nvPr/>
                </p:nvSpPr>
                <p:spPr>
                  <a:xfrm>
                    <a:off x="6449174" y="1897962"/>
                    <a:ext cx="40557" cy="40557"/>
                  </a:xfrm>
                  <a:custGeom>
                    <a:avLst/>
                    <a:gdLst>
                      <a:gd name="connsiteX0" fmla="*/ 35513 w 40557"/>
                      <a:gd name="connsiteY0" fmla="*/ 40558 h 40557"/>
                      <a:gd name="connsiteX1" fmla="*/ 5045 w 40557"/>
                      <a:gd name="connsiteY1" fmla="*/ 40558 h 40557"/>
                      <a:gd name="connsiteX2" fmla="*/ 0 w 40557"/>
                      <a:gd name="connsiteY2" fmla="*/ 35513 h 40557"/>
                      <a:gd name="connsiteX3" fmla="*/ 0 w 40557"/>
                      <a:gd name="connsiteY3" fmla="*/ 5045 h 40557"/>
                      <a:gd name="connsiteX4" fmla="*/ 5045 w 40557"/>
                      <a:gd name="connsiteY4" fmla="*/ 0 h 40557"/>
                      <a:gd name="connsiteX5" fmla="*/ 35513 w 40557"/>
                      <a:gd name="connsiteY5" fmla="*/ 0 h 40557"/>
                      <a:gd name="connsiteX6" fmla="*/ 40558 w 40557"/>
                      <a:gd name="connsiteY6" fmla="*/ 5045 h 40557"/>
                      <a:gd name="connsiteX7" fmla="*/ 40558 w 40557"/>
                      <a:gd name="connsiteY7" fmla="*/ 35513 h 40557"/>
                      <a:gd name="connsiteX8" fmla="*/ 35513 w 40557"/>
                      <a:gd name="connsiteY8" fmla="*/ 40558 h 40557"/>
                      <a:gd name="connsiteX9" fmla="*/ 10090 w 40557"/>
                      <a:gd name="connsiteY9" fmla="*/ 30468 h 40557"/>
                      <a:gd name="connsiteX10" fmla="*/ 30468 w 40557"/>
                      <a:gd name="connsiteY10" fmla="*/ 30468 h 40557"/>
                      <a:gd name="connsiteX11" fmla="*/ 30468 w 40557"/>
                      <a:gd name="connsiteY11" fmla="*/ 10090 h 40557"/>
                      <a:gd name="connsiteX12" fmla="*/ 10090 w 40557"/>
                      <a:gd name="connsiteY12" fmla="*/ 10090 h 40557"/>
                      <a:gd name="connsiteX13" fmla="*/ 10090 w 40557"/>
                      <a:gd name="connsiteY13" fmla="*/ 30468 h 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7" h="40557">
                        <a:moveTo>
                          <a:pt x="35513" y="40558"/>
                        </a:moveTo>
                        <a:lnTo>
                          <a:pt x="5045" y="40558"/>
                        </a:lnTo>
                        <a:cubicBezTo>
                          <a:pt x="2248" y="40558"/>
                          <a:pt x="0" y="38310"/>
                          <a:pt x="0" y="35513"/>
                        </a:cubicBezTo>
                        <a:lnTo>
                          <a:pt x="0" y="5045"/>
                        </a:lnTo>
                        <a:cubicBezTo>
                          <a:pt x="0" y="2248"/>
                          <a:pt x="2248" y="0"/>
                          <a:pt x="5045" y="0"/>
                        </a:cubicBezTo>
                        <a:lnTo>
                          <a:pt x="35513" y="0"/>
                        </a:lnTo>
                        <a:cubicBezTo>
                          <a:pt x="38310" y="0"/>
                          <a:pt x="40558" y="2248"/>
                          <a:pt x="40558" y="5045"/>
                        </a:cubicBezTo>
                        <a:lnTo>
                          <a:pt x="40558" y="35513"/>
                        </a:lnTo>
                        <a:cubicBezTo>
                          <a:pt x="40558" y="38310"/>
                          <a:pt x="38310" y="40558"/>
                          <a:pt x="35513" y="40558"/>
                        </a:cubicBezTo>
                        <a:close/>
                        <a:moveTo>
                          <a:pt x="10090" y="30468"/>
                        </a:moveTo>
                        <a:lnTo>
                          <a:pt x="30468" y="30468"/>
                        </a:lnTo>
                        <a:lnTo>
                          <a:pt x="30468" y="10090"/>
                        </a:lnTo>
                        <a:lnTo>
                          <a:pt x="10090" y="10090"/>
                        </a:lnTo>
                        <a:lnTo>
                          <a:pt x="10090" y="30468"/>
                        </a:lnTo>
                        <a:close/>
                      </a:path>
                    </a:pathLst>
                  </a:custGeom>
                  <a:grpFill/>
                  <a:ln w="2495" cap="flat">
                    <a:noFill/>
                    <a:prstDash val="solid"/>
                    <a:miter/>
                  </a:ln>
                </p:spPr>
                <p:txBody>
                  <a:bodyPr rtlCol="0" anchor="ctr"/>
                  <a:lstStyle/>
                  <a:p>
                    <a:endParaRPr lang="en-GB" dirty="0"/>
                  </a:p>
                </p:txBody>
              </p:sp>
              <p:sp>
                <p:nvSpPr>
                  <p:cNvPr id="387" name="Freihandform: Form 613">
                    <a:extLst>
                      <a:ext uri="{FF2B5EF4-FFF2-40B4-BE49-F238E27FC236}">
                        <a16:creationId xmlns:a16="http://schemas.microsoft.com/office/drawing/2014/main" id="{F6237521-FB74-4CA3-A9D3-D92649EF95DC}"/>
                      </a:ext>
                    </a:extLst>
                  </p:cNvPr>
                  <p:cNvSpPr/>
                  <p:nvPr/>
                </p:nvSpPr>
                <p:spPr>
                  <a:xfrm>
                    <a:off x="6515181" y="1897962"/>
                    <a:ext cx="40558" cy="40557"/>
                  </a:xfrm>
                  <a:custGeom>
                    <a:avLst/>
                    <a:gdLst>
                      <a:gd name="connsiteX0" fmla="*/ 35513 w 40558"/>
                      <a:gd name="connsiteY0" fmla="*/ 40558 h 40557"/>
                      <a:gd name="connsiteX1" fmla="*/ 5045 w 40558"/>
                      <a:gd name="connsiteY1" fmla="*/ 40558 h 40557"/>
                      <a:gd name="connsiteX2" fmla="*/ 0 w 40558"/>
                      <a:gd name="connsiteY2" fmla="*/ 35513 h 40557"/>
                      <a:gd name="connsiteX3" fmla="*/ 0 w 40558"/>
                      <a:gd name="connsiteY3" fmla="*/ 5045 h 40557"/>
                      <a:gd name="connsiteX4" fmla="*/ 5045 w 40558"/>
                      <a:gd name="connsiteY4" fmla="*/ 0 h 40557"/>
                      <a:gd name="connsiteX5" fmla="*/ 35513 w 40558"/>
                      <a:gd name="connsiteY5" fmla="*/ 0 h 40557"/>
                      <a:gd name="connsiteX6" fmla="*/ 40558 w 40558"/>
                      <a:gd name="connsiteY6" fmla="*/ 5045 h 40557"/>
                      <a:gd name="connsiteX7" fmla="*/ 40558 w 40558"/>
                      <a:gd name="connsiteY7" fmla="*/ 35513 h 40557"/>
                      <a:gd name="connsiteX8" fmla="*/ 35513 w 40558"/>
                      <a:gd name="connsiteY8" fmla="*/ 40558 h 40557"/>
                      <a:gd name="connsiteX9" fmla="*/ 10114 w 40558"/>
                      <a:gd name="connsiteY9" fmla="*/ 30468 h 40557"/>
                      <a:gd name="connsiteX10" fmla="*/ 30493 w 40558"/>
                      <a:gd name="connsiteY10" fmla="*/ 30468 h 40557"/>
                      <a:gd name="connsiteX11" fmla="*/ 30493 w 40558"/>
                      <a:gd name="connsiteY11" fmla="*/ 10090 h 40557"/>
                      <a:gd name="connsiteX12" fmla="*/ 10114 w 40558"/>
                      <a:gd name="connsiteY12" fmla="*/ 10090 h 40557"/>
                      <a:gd name="connsiteX13" fmla="*/ 10114 w 40558"/>
                      <a:gd name="connsiteY13" fmla="*/ 30468 h 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8" h="40557">
                        <a:moveTo>
                          <a:pt x="35513" y="40558"/>
                        </a:moveTo>
                        <a:lnTo>
                          <a:pt x="5045" y="40558"/>
                        </a:lnTo>
                        <a:cubicBezTo>
                          <a:pt x="2248" y="40558"/>
                          <a:pt x="0" y="38310"/>
                          <a:pt x="0" y="35513"/>
                        </a:cubicBezTo>
                        <a:lnTo>
                          <a:pt x="0" y="5045"/>
                        </a:lnTo>
                        <a:cubicBezTo>
                          <a:pt x="0" y="2248"/>
                          <a:pt x="2248" y="0"/>
                          <a:pt x="5045" y="0"/>
                        </a:cubicBezTo>
                        <a:lnTo>
                          <a:pt x="35513" y="0"/>
                        </a:lnTo>
                        <a:cubicBezTo>
                          <a:pt x="38310" y="0"/>
                          <a:pt x="40558" y="2248"/>
                          <a:pt x="40558" y="5045"/>
                        </a:cubicBezTo>
                        <a:lnTo>
                          <a:pt x="40558" y="35513"/>
                        </a:lnTo>
                        <a:cubicBezTo>
                          <a:pt x="40583" y="38310"/>
                          <a:pt x="38310" y="40558"/>
                          <a:pt x="35513" y="40558"/>
                        </a:cubicBezTo>
                        <a:close/>
                        <a:moveTo>
                          <a:pt x="10114" y="30468"/>
                        </a:moveTo>
                        <a:lnTo>
                          <a:pt x="30493" y="30468"/>
                        </a:lnTo>
                        <a:lnTo>
                          <a:pt x="30493" y="10090"/>
                        </a:lnTo>
                        <a:lnTo>
                          <a:pt x="10114" y="10090"/>
                        </a:lnTo>
                        <a:lnTo>
                          <a:pt x="10114" y="30468"/>
                        </a:lnTo>
                        <a:close/>
                      </a:path>
                    </a:pathLst>
                  </a:custGeom>
                  <a:grpFill/>
                  <a:ln w="2495" cap="flat">
                    <a:noFill/>
                    <a:prstDash val="solid"/>
                    <a:miter/>
                  </a:ln>
                </p:spPr>
                <p:txBody>
                  <a:bodyPr rtlCol="0" anchor="ctr"/>
                  <a:lstStyle/>
                  <a:p>
                    <a:endParaRPr lang="en-GB" dirty="0"/>
                  </a:p>
                </p:txBody>
              </p:sp>
            </p:grpSp>
            <p:grpSp>
              <p:nvGrpSpPr>
                <p:cNvPr id="380" name="Grafik 54">
                  <a:extLst>
                    <a:ext uri="{FF2B5EF4-FFF2-40B4-BE49-F238E27FC236}">
                      <a16:creationId xmlns:a16="http://schemas.microsoft.com/office/drawing/2014/main" id="{22AB51AD-44B0-4AB1-B713-4B7D977D42A8}"/>
                    </a:ext>
                  </a:extLst>
                </p:cNvPr>
                <p:cNvGrpSpPr/>
                <p:nvPr/>
              </p:nvGrpSpPr>
              <p:grpSpPr>
                <a:xfrm>
                  <a:off x="6383168" y="1948760"/>
                  <a:ext cx="172571" cy="40557"/>
                  <a:chOff x="6383168" y="1948760"/>
                  <a:chExt cx="172571" cy="40557"/>
                </a:xfrm>
                <a:grpFill/>
              </p:grpSpPr>
              <p:sp>
                <p:nvSpPr>
                  <p:cNvPr id="382" name="Freihandform: Form 615">
                    <a:extLst>
                      <a:ext uri="{FF2B5EF4-FFF2-40B4-BE49-F238E27FC236}">
                        <a16:creationId xmlns:a16="http://schemas.microsoft.com/office/drawing/2014/main" id="{AA5A012D-FD7E-4CA1-8D26-263FAE8B793F}"/>
                      </a:ext>
                    </a:extLst>
                  </p:cNvPr>
                  <p:cNvSpPr/>
                  <p:nvPr/>
                </p:nvSpPr>
                <p:spPr>
                  <a:xfrm>
                    <a:off x="6383168" y="1948760"/>
                    <a:ext cx="40557" cy="40557"/>
                  </a:xfrm>
                  <a:custGeom>
                    <a:avLst/>
                    <a:gdLst>
                      <a:gd name="connsiteX0" fmla="*/ 35513 w 40557"/>
                      <a:gd name="connsiteY0" fmla="*/ 40558 h 40557"/>
                      <a:gd name="connsiteX1" fmla="*/ 5045 w 40557"/>
                      <a:gd name="connsiteY1" fmla="*/ 40558 h 40557"/>
                      <a:gd name="connsiteX2" fmla="*/ 0 w 40557"/>
                      <a:gd name="connsiteY2" fmla="*/ 35513 h 40557"/>
                      <a:gd name="connsiteX3" fmla="*/ 0 w 40557"/>
                      <a:gd name="connsiteY3" fmla="*/ 5045 h 40557"/>
                      <a:gd name="connsiteX4" fmla="*/ 5045 w 40557"/>
                      <a:gd name="connsiteY4" fmla="*/ 0 h 40557"/>
                      <a:gd name="connsiteX5" fmla="*/ 35513 w 40557"/>
                      <a:gd name="connsiteY5" fmla="*/ 0 h 40557"/>
                      <a:gd name="connsiteX6" fmla="*/ 40558 w 40557"/>
                      <a:gd name="connsiteY6" fmla="*/ 5045 h 40557"/>
                      <a:gd name="connsiteX7" fmla="*/ 40558 w 40557"/>
                      <a:gd name="connsiteY7" fmla="*/ 35513 h 40557"/>
                      <a:gd name="connsiteX8" fmla="*/ 35513 w 40557"/>
                      <a:gd name="connsiteY8" fmla="*/ 40558 h 40557"/>
                      <a:gd name="connsiteX9" fmla="*/ 10089 w 40557"/>
                      <a:gd name="connsiteY9" fmla="*/ 30443 h 40557"/>
                      <a:gd name="connsiteX10" fmla="*/ 30468 w 40557"/>
                      <a:gd name="connsiteY10" fmla="*/ 30443 h 40557"/>
                      <a:gd name="connsiteX11" fmla="*/ 30468 w 40557"/>
                      <a:gd name="connsiteY11" fmla="*/ 10065 h 40557"/>
                      <a:gd name="connsiteX12" fmla="*/ 10089 w 40557"/>
                      <a:gd name="connsiteY12" fmla="*/ 10065 h 40557"/>
                      <a:gd name="connsiteX13" fmla="*/ 10089 w 40557"/>
                      <a:gd name="connsiteY13" fmla="*/ 30443 h 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7" h="40557">
                        <a:moveTo>
                          <a:pt x="35513" y="40558"/>
                        </a:moveTo>
                        <a:lnTo>
                          <a:pt x="5045" y="40558"/>
                        </a:lnTo>
                        <a:cubicBezTo>
                          <a:pt x="2248" y="40558"/>
                          <a:pt x="0" y="38285"/>
                          <a:pt x="0" y="35513"/>
                        </a:cubicBezTo>
                        <a:lnTo>
                          <a:pt x="0" y="5045"/>
                        </a:lnTo>
                        <a:cubicBezTo>
                          <a:pt x="0" y="2248"/>
                          <a:pt x="2273" y="0"/>
                          <a:pt x="5045" y="0"/>
                        </a:cubicBezTo>
                        <a:lnTo>
                          <a:pt x="35513" y="0"/>
                        </a:lnTo>
                        <a:cubicBezTo>
                          <a:pt x="38310" y="0"/>
                          <a:pt x="40558" y="2273"/>
                          <a:pt x="40558" y="5045"/>
                        </a:cubicBezTo>
                        <a:lnTo>
                          <a:pt x="40558" y="35513"/>
                        </a:lnTo>
                        <a:cubicBezTo>
                          <a:pt x="40558" y="38285"/>
                          <a:pt x="38285" y="40558"/>
                          <a:pt x="35513" y="40558"/>
                        </a:cubicBezTo>
                        <a:close/>
                        <a:moveTo>
                          <a:pt x="10089" y="30443"/>
                        </a:moveTo>
                        <a:lnTo>
                          <a:pt x="30468" y="30443"/>
                        </a:lnTo>
                        <a:lnTo>
                          <a:pt x="30468" y="10065"/>
                        </a:lnTo>
                        <a:lnTo>
                          <a:pt x="10089" y="10065"/>
                        </a:lnTo>
                        <a:lnTo>
                          <a:pt x="10089" y="30443"/>
                        </a:lnTo>
                        <a:close/>
                      </a:path>
                    </a:pathLst>
                  </a:custGeom>
                  <a:grpFill/>
                  <a:ln w="2495" cap="flat">
                    <a:noFill/>
                    <a:prstDash val="solid"/>
                    <a:miter/>
                  </a:ln>
                </p:spPr>
                <p:txBody>
                  <a:bodyPr rtlCol="0" anchor="ctr"/>
                  <a:lstStyle/>
                  <a:p>
                    <a:endParaRPr lang="en-GB" dirty="0"/>
                  </a:p>
                </p:txBody>
              </p:sp>
              <p:sp>
                <p:nvSpPr>
                  <p:cNvPr id="383" name="Freihandform: Form 616">
                    <a:extLst>
                      <a:ext uri="{FF2B5EF4-FFF2-40B4-BE49-F238E27FC236}">
                        <a16:creationId xmlns:a16="http://schemas.microsoft.com/office/drawing/2014/main" id="{01A9DF9E-FA90-44D9-B147-6D287FDFE51C}"/>
                      </a:ext>
                    </a:extLst>
                  </p:cNvPr>
                  <p:cNvSpPr/>
                  <p:nvPr/>
                </p:nvSpPr>
                <p:spPr>
                  <a:xfrm>
                    <a:off x="6449174" y="1948760"/>
                    <a:ext cx="40557" cy="40557"/>
                  </a:xfrm>
                  <a:custGeom>
                    <a:avLst/>
                    <a:gdLst>
                      <a:gd name="connsiteX0" fmla="*/ 35513 w 40557"/>
                      <a:gd name="connsiteY0" fmla="*/ 40558 h 40557"/>
                      <a:gd name="connsiteX1" fmla="*/ 5045 w 40557"/>
                      <a:gd name="connsiteY1" fmla="*/ 40558 h 40557"/>
                      <a:gd name="connsiteX2" fmla="*/ 0 w 40557"/>
                      <a:gd name="connsiteY2" fmla="*/ 35513 h 40557"/>
                      <a:gd name="connsiteX3" fmla="*/ 0 w 40557"/>
                      <a:gd name="connsiteY3" fmla="*/ 5045 h 40557"/>
                      <a:gd name="connsiteX4" fmla="*/ 5045 w 40557"/>
                      <a:gd name="connsiteY4" fmla="*/ 0 h 40557"/>
                      <a:gd name="connsiteX5" fmla="*/ 35513 w 40557"/>
                      <a:gd name="connsiteY5" fmla="*/ 0 h 40557"/>
                      <a:gd name="connsiteX6" fmla="*/ 40558 w 40557"/>
                      <a:gd name="connsiteY6" fmla="*/ 5045 h 40557"/>
                      <a:gd name="connsiteX7" fmla="*/ 40558 w 40557"/>
                      <a:gd name="connsiteY7" fmla="*/ 35513 h 40557"/>
                      <a:gd name="connsiteX8" fmla="*/ 35513 w 40557"/>
                      <a:gd name="connsiteY8" fmla="*/ 40558 h 40557"/>
                      <a:gd name="connsiteX9" fmla="*/ 10090 w 40557"/>
                      <a:gd name="connsiteY9" fmla="*/ 30443 h 40557"/>
                      <a:gd name="connsiteX10" fmla="*/ 30468 w 40557"/>
                      <a:gd name="connsiteY10" fmla="*/ 30443 h 40557"/>
                      <a:gd name="connsiteX11" fmla="*/ 30468 w 40557"/>
                      <a:gd name="connsiteY11" fmla="*/ 10065 h 40557"/>
                      <a:gd name="connsiteX12" fmla="*/ 10090 w 40557"/>
                      <a:gd name="connsiteY12" fmla="*/ 10065 h 40557"/>
                      <a:gd name="connsiteX13" fmla="*/ 10090 w 40557"/>
                      <a:gd name="connsiteY13" fmla="*/ 30443 h 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7" h="40557">
                        <a:moveTo>
                          <a:pt x="35513" y="40558"/>
                        </a:moveTo>
                        <a:lnTo>
                          <a:pt x="5045" y="40558"/>
                        </a:lnTo>
                        <a:cubicBezTo>
                          <a:pt x="2248" y="40558"/>
                          <a:pt x="0" y="38285"/>
                          <a:pt x="0" y="35513"/>
                        </a:cubicBezTo>
                        <a:lnTo>
                          <a:pt x="0" y="5045"/>
                        </a:lnTo>
                        <a:cubicBezTo>
                          <a:pt x="0" y="2248"/>
                          <a:pt x="2248" y="0"/>
                          <a:pt x="5045" y="0"/>
                        </a:cubicBezTo>
                        <a:lnTo>
                          <a:pt x="35513" y="0"/>
                        </a:lnTo>
                        <a:cubicBezTo>
                          <a:pt x="38310" y="0"/>
                          <a:pt x="40558" y="2273"/>
                          <a:pt x="40558" y="5045"/>
                        </a:cubicBezTo>
                        <a:lnTo>
                          <a:pt x="40558" y="35513"/>
                        </a:lnTo>
                        <a:cubicBezTo>
                          <a:pt x="40558" y="38285"/>
                          <a:pt x="38310" y="40558"/>
                          <a:pt x="35513" y="40558"/>
                        </a:cubicBezTo>
                        <a:close/>
                        <a:moveTo>
                          <a:pt x="10090" y="30443"/>
                        </a:moveTo>
                        <a:lnTo>
                          <a:pt x="30468" y="30443"/>
                        </a:lnTo>
                        <a:lnTo>
                          <a:pt x="30468" y="10065"/>
                        </a:lnTo>
                        <a:lnTo>
                          <a:pt x="10090" y="10065"/>
                        </a:lnTo>
                        <a:lnTo>
                          <a:pt x="10090" y="30443"/>
                        </a:lnTo>
                        <a:close/>
                      </a:path>
                    </a:pathLst>
                  </a:custGeom>
                  <a:grpFill/>
                  <a:ln w="2495" cap="flat">
                    <a:noFill/>
                    <a:prstDash val="solid"/>
                    <a:miter/>
                  </a:ln>
                </p:spPr>
                <p:txBody>
                  <a:bodyPr rtlCol="0" anchor="ctr"/>
                  <a:lstStyle/>
                  <a:p>
                    <a:endParaRPr lang="en-GB" dirty="0"/>
                  </a:p>
                </p:txBody>
              </p:sp>
              <p:sp>
                <p:nvSpPr>
                  <p:cNvPr id="384" name="Freihandform: Form 617">
                    <a:extLst>
                      <a:ext uri="{FF2B5EF4-FFF2-40B4-BE49-F238E27FC236}">
                        <a16:creationId xmlns:a16="http://schemas.microsoft.com/office/drawing/2014/main" id="{5C7C0921-912A-4FCB-833E-8103B9EB322C}"/>
                      </a:ext>
                    </a:extLst>
                  </p:cNvPr>
                  <p:cNvSpPr/>
                  <p:nvPr/>
                </p:nvSpPr>
                <p:spPr>
                  <a:xfrm>
                    <a:off x="6515181" y="1948760"/>
                    <a:ext cx="40558" cy="40557"/>
                  </a:xfrm>
                  <a:custGeom>
                    <a:avLst/>
                    <a:gdLst>
                      <a:gd name="connsiteX0" fmla="*/ 35513 w 40558"/>
                      <a:gd name="connsiteY0" fmla="*/ 40558 h 40557"/>
                      <a:gd name="connsiteX1" fmla="*/ 5045 w 40558"/>
                      <a:gd name="connsiteY1" fmla="*/ 40558 h 40557"/>
                      <a:gd name="connsiteX2" fmla="*/ 0 w 40558"/>
                      <a:gd name="connsiteY2" fmla="*/ 35513 h 40557"/>
                      <a:gd name="connsiteX3" fmla="*/ 0 w 40558"/>
                      <a:gd name="connsiteY3" fmla="*/ 5045 h 40557"/>
                      <a:gd name="connsiteX4" fmla="*/ 5045 w 40558"/>
                      <a:gd name="connsiteY4" fmla="*/ 0 h 40557"/>
                      <a:gd name="connsiteX5" fmla="*/ 35513 w 40558"/>
                      <a:gd name="connsiteY5" fmla="*/ 0 h 40557"/>
                      <a:gd name="connsiteX6" fmla="*/ 40558 w 40558"/>
                      <a:gd name="connsiteY6" fmla="*/ 5045 h 40557"/>
                      <a:gd name="connsiteX7" fmla="*/ 40558 w 40558"/>
                      <a:gd name="connsiteY7" fmla="*/ 35513 h 40557"/>
                      <a:gd name="connsiteX8" fmla="*/ 35513 w 40558"/>
                      <a:gd name="connsiteY8" fmla="*/ 40558 h 40557"/>
                      <a:gd name="connsiteX9" fmla="*/ 10114 w 40558"/>
                      <a:gd name="connsiteY9" fmla="*/ 30443 h 40557"/>
                      <a:gd name="connsiteX10" fmla="*/ 30493 w 40558"/>
                      <a:gd name="connsiteY10" fmla="*/ 30443 h 40557"/>
                      <a:gd name="connsiteX11" fmla="*/ 30493 w 40558"/>
                      <a:gd name="connsiteY11" fmla="*/ 10065 h 40557"/>
                      <a:gd name="connsiteX12" fmla="*/ 10114 w 40558"/>
                      <a:gd name="connsiteY12" fmla="*/ 10065 h 40557"/>
                      <a:gd name="connsiteX13" fmla="*/ 10114 w 40558"/>
                      <a:gd name="connsiteY13" fmla="*/ 30443 h 40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558" h="40557">
                        <a:moveTo>
                          <a:pt x="35513" y="40558"/>
                        </a:moveTo>
                        <a:lnTo>
                          <a:pt x="5045" y="40558"/>
                        </a:lnTo>
                        <a:cubicBezTo>
                          <a:pt x="2248" y="40558"/>
                          <a:pt x="0" y="38285"/>
                          <a:pt x="0" y="35513"/>
                        </a:cubicBezTo>
                        <a:lnTo>
                          <a:pt x="0" y="5045"/>
                        </a:lnTo>
                        <a:cubicBezTo>
                          <a:pt x="0" y="2248"/>
                          <a:pt x="2248" y="0"/>
                          <a:pt x="5045" y="0"/>
                        </a:cubicBezTo>
                        <a:lnTo>
                          <a:pt x="35513" y="0"/>
                        </a:lnTo>
                        <a:cubicBezTo>
                          <a:pt x="38310" y="0"/>
                          <a:pt x="40558" y="2273"/>
                          <a:pt x="40558" y="5045"/>
                        </a:cubicBezTo>
                        <a:lnTo>
                          <a:pt x="40558" y="35513"/>
                        </a:lnTo>
                        <a:cubicBezTo>
                          <a:pt x="40583" y="38285"/>
                          <a:pt x="38310" y="40558"/>
                          <a:pt x="35513" y="40558"/>
                        </a:cubicBezTo>
                        <a:close/>
                        <a:moveTo>
                          <a:pt x="10114" y="30443"/>
                        </a:moveTo>
                        <a:lnTo>
                          <a:pt x="30493" y="30443"/>
                        </a:lnTo>
                        <a:lnTo>
                          <a:pt x="30493" y="10065"/>
                        </a:lnTo>
                        <a:lnTo>
                          <a:pt x="10114" y="10065"/>
                        </a:lnTo>
                        <a:lnTo>
                          <a:pt x="10114" y="30443"/>
                        </a:lnTo>
                        <a:close/>
                      </a:path>
                    </a:pathLst>
                  </a:custGeom>
                  <a:grpFill/>
                  <a:ln w="2495" cap="flat">
                    <a:noFill/>
                    <a:prstDash val="solid"/>
                    <a:miter/>
                  </a:ln>
                </p:spPr>
                <p:txBody>
                  <a:bodyPr rtlCol="0" anchor="ctr"/>
                  <a:lstStyle/>
                  <a:p>
                    <a:endParaRPr lang="en-GB" dirty="0"/>
                  </a:p>
                </p:txBody>
              </p:sp>
            </p:grpSp>
            <p:sp>
              <p:nvSpPr>
                <p:cNvPr id="381" name="Freihandform: Form 618">
                  <a:extLst>
                    <a:ext uri="{FF2B5EF4-FFF2-40B4-BE49-F238E27FC236}">
                      <a16:creationId xmlns:a16="http://schemas.microsoft.com/office/drawing/2014/main" id="{9D272A2E-6BF5-4EAA-90DC-C3AE23F83D86}"/>
                    </a:ext>
                  </a:extLst>
                </p:cNvPr>
                <p:cNvSpPr/>
                <p:nvPr/>
              </p:nvSpPr>
              <p:spPr>
                <a:xfrm>
                  <a:off x="6362839" y="1735456"/>
                  <a:ext cx="213204" cy="279235"/>
                </a:xfrm>
                <a:custGeom>
                  <a:avLst/>
                  <a:gdLst>
                    <a:gd name="connsiteX0" fmla="*/ 198145 w 213204"/>
                    <a:gd name="connsiteY0" fmla="*/ 279236 h 279235"/>
                    <a:gd name="connsiteX1" fmla="*/ 15084 w 213204"/>
                    <a:gd name="connsiteY1" fmla="*/ 279236 h 279235"/>
                    <a:gd name="connsiteX2" fmla="*/ 0 w 213204"/>
                    <a:gd name="connsiteY2" fmla="*/ 264151 h 279235"/>
                    <a:gd name="connsiteX3" fmla="*/ 0 w 213204"/>
                    <a:gd name="connsiteY3" fmla="*/ 15084 h 279235"/>
                    <a:gd name="connsiteX4" fmla="*/ 15084 w 213204"/>
                    <a:gd name="connsiteY4" fmla="*/ 0 h 279235"/>
                    <a:gd name="connsiteX5" fmla="*/ 198120 w 213204"/>
                    <a:gd name="connsiteY5" fmla="*/ 0 h 279235"/>
                    <a:gd name="connsiteX6" fmla="*/ 213204 w 213204"/>
                    <a:gd name="connsiteY6" fmla="*/ 15084 h 279235"/>
                    <a:gd name="connsiteX7" fmla="*/ 213204 w 213204"/>
                    <a:gd name="connsiteY7" fmla="*/ 264151 h 279235"/>
                    <a:gd name="connsiteX8" fmla="*/ 198145 w 213204"/>
                    <a:gd name="connsiteY8" fmla="*/ 279236 h 279235"/>
                    <a:gd name="connsiteX9" fmla="*/ 15084 w 213204"/>
                    <a:gd name="connsiteY9" fmla="*/ 10090 h 279235"/>
                    <a:gd name="connsiteX10" fmla="*/ 10090 w 213204"/>
                    <a:gd name="connsiteY10" fmla="*/ 15084 h 279235"/>
                    <a:gd name="connsiteX11" fmla="*/ 10090 w 213204"/>
                    <a:gd name="connsiteY11" fmla="*/ 264151 h 279235"/>
                    <a:gd name="connsiteX12" fmla="*/ 15084 w 213204"/>
                    <a:gd name="connsiteY12" fmla="*/ 269146 h 279235"/>
                    <a:gd name="connsiteX13" fmla="*/ 198120 w 213204"/>
                    <a:gd name="connsiteY13" fmla="*/ 269146 h 279235"/>
                    <a:gd name="connsiteX14" fmla="*/ 203115 w 213204"/>
                    <a:gd name="connsiteY14" fmla="*/ 264151 h 279235"/>
                    <a:gd name="connsiteX15" fmla="*/ 203115 w 213204"/>
                    <a:gd name="connsiteY15" fmla="*/ 15084 h 279235"/>
                    <a:gd name="connsiteX16" fmla="*/ 198120 w 213204"/>
                    <a:gd name="connsiteY16" fmla="*/ 10090 h 279235"/>
                    <a:gd name="connsiteX17" fmla="*/ 15084 w 213204"/>
                    <a:gd name="connsiteY17" fmla="*/ 10090 h 279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3204" h="279235">
                      <a:moveTo>
                        <a:pt x="198145" y="279236"/>
                      </a:moveTo>
                      <a:lnTo>
                        <a:pt x="15084" y="279236"/>
                      </a:lnTo>
                      <a:cubicBezTo>
                        <a:pt x="6768" y="279236"/>
                        <a:pt x="0" y="272468"/>
                        <a:pt x="0" y="264151"/>
                      </a:cubicBezTo>
                      <a:lnTo>
                        <a:pt x="0" y="15084"/>
                      </a:lnTo>
                      <a:cubicBezTo>
                        <a:pt x="0" y="6768"/>
                        <a:pt x="6768" y="0"/>
                        <a:pt x="15084" y="0"/>
                      </a:cubicBezTo>
                      <a:lnTo>
                        <a:pt x="198120" y="0"/>
                      </a:lnTo>
                      <a:cubicBezTo>
                        <a:pt x="206436" y="0"/>
                        <a:pt x="213204" y="6768"/>
                        <a:pt x="213204" y="15084"/>
                      </a:cubicBezTo>
                      <a:lnTo>
                        <a:pt x="213204" y="264151"/>
                      </a:lnTo>
                      <a:cubicBezTo>
                        <a:pt x="213229" y="272468"/>
                        <a:pt x="206461" y="279236"/>
                        <a:pt x="198145" y="279236"/>
                      </a:cubicBezTo>
                      <a:close/>
                      <a:moveTo>
                        <a:pt x="15084" y="10090"/>
                      </a:moveTo>
                      <a:cubicBezTo>
                        <a:pt x="12337" y="10090"/>
                        <a:pt x="10090" y="12337"/>
                        <a:pt x="10090" y="15084"/>
                      </a:cubicBezTo>
                      <a:lnTo>
                        <a:pt x="10090" y="264151"/>
                      </a:lnTo>
                      <a:cubicBezTo>
                        <a:pt x="10090" y="266898"/>
                        <a:pt x="12337" y="269146"/>
                        <a:pt x="15084" y="269146"/>
                      </a:cubicBezTo>
                      <a:lnTo>
                        <a:pt x="198120" y="269146"/>
                      </a:lnTo>
                      <a:cubicBezTo>
                        <a:pt x="200867" y="269146"/>
                        <a:pt x="203115" y="266898"/>
                        <a:pt x="203115" y="264151"/>
                      </a:cubicBezTo>
                      <a:lnTo>
                        <a:pt x="203115" y="15084"/>
                      </a:lnTo>
                      <a:cubicBezTo>
                        <a:pt x="203115" y="12337"/>
                        <a:pt x="200867" y="10090"/>
                        <a:pt x="198120" y="10090"/>
                      </a:cubicBezTo>
                      <a:lnTo>
                        <a:pt x="15084" y="10090"/>
                      </a:lnTo>
                      <a:close/>
                    </a:path>
                  </a:pathLst>
                </a:custGeom>
                <a:grpFill/>
                <a:ln w="2495" cap="flat">
                  <a:noFill/>
                  <a:prstDash val="solid"/>
                  <a:miter/>
                </a:ln>
              </p:spPr>
              <p:txBody>
                <a:bodyPr rtlCol="0" anchor="ctr"/>
                <a:lstStyle/>
                <a:p>
                  <a:endParaRPr lang="en-GB" dirty="0"/>
                </a:p>
              </p:txBody>
            </p:sp>
          </p:grpSp>
          <p:sp>
            <p:nvSpPr>
              <p:cNvPr id="370" name="Freihandform: Form 619">
                <a:extLst>
                  <a:ext uri="{FF2B5EF4-FFF2-40B4-BE49-F238E27FC236}">
                    <a16:creationId xmlns:a16="http://schemas.microsoft.com/office/drawing/2014/main" id="{AD67B249-4461-4BBE-A474-1D5198354DFD}"/>
                  </a:ext>
                </a:extLst>
              </p:cNvPr>
              <p:cNvSpPr/>
              <p:nvPr/>
            </p:nvSpPr>
            <p:spPr>
              <a:xfrm>
                <a:off x="6229552" y="1977680"/>
                <a:ext cx="139605" cy="10089"/>
              </a:xfrm>
              <a:custGeom>
                <a:avLst/>
                <a:gdLst>
                  <a:gd name="connsiteX0" fmla="*/ 134561 w 139605"/>
                  <a:gd name="connsiteY0" fmla="*/ 10090 h 10089"/>
                  <a:gd name="connsiteX1" fmla="*/ 5045 w 139605"/>
                  <a:gd name="connsiteY1" fmla="*/ 10090 h 10089"/>
                  <a:gd name="connsiteX2" fmla="*/ 0 w 139605"/>
                  <a:gd name="connsiteY2" fmla="*/ 5045 h 10089"/>
                  <a:gd name="connsiteX3" fmla="*/ 5045 w 139605"/>
                  <a:gd name="connsiteY3" fmla="*/ 0 h 10089"/>
                  <a:gd name="connsiteX4" fmla="*/ 134561 w 139605"/>
                  <a:gd name="connsiteY4" fmla="*/ 0 h 10089"/>
                  <a:gd name="connsiteX5" fmla="*/ 139605 w 139605"/>
                  <a:gd name="connsiteY5" fmla="*/ 5045 h 10089"/>
                  <a:gd name="connsiteX6" fmla="*/ 134561 w 139605"/>
                  <a:gd name="connsiteY6" fmla="*/ 10090 h 1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605" h="10089">
                    <a:moveTo>
                      <a:pt x="134561" y="10090"/>
                    </a:moveTo>
                    <a:lnTo>
                      <a:pt x="5045" y="10090"/>
                    </a:lnTo>
                    <a:cubicBezTo>
                      <a:pt x="2248" y="10090"/>
                      <a:pt x="0" y="7842"/>
                      <a:pt x="0" y="5045"/>
                    </a:cubicBezTo>
                    <a:cubicBezTo>
                      <a:pt x="0" y="2248"/>
                      <a:pt x="2248" y="0"/>
                      <a:pt x="5045" y="0"/>
                    </a:cubicBezTo>
                    <a:lnTo>
                      <a:pt x="134561" y="0"/>
                    </a:lnTo>
                    <a:cubicBezTo>
                      <a:pt x="137358" y="0"/>
                      <a:pt x="139605" y="2248"/>
                      <a:pt x="139605" y="5045"/>
                    </a:cubicBezTo>
                    <a:cubicBezTo>
                      <a:pt x="139605" y="7842"/>
                      <a:pt x="137358" y="10090"/>
                      <a:pt x="134561" y="10090"/>
                    </a:cubicBezTo>
                    <a:close/>
                  </a:path>
                </a:pathLst>
              </a:custGeom>
              <a:grpFill/>
              <a:ln w="2495" cap="flat">
                <a:noFill/>
                <a:prstDash val="solid"/>
                <a:miter/>
              </a:ln>
            </p:spPr>
            <p:txBody>
              <a:bodyPr rtlCol="0" anchor="ctr"/>
              <a:lstStyle/>
              <a:p>
                <a:endParaRPr lang="en-GB" dirty="0"/>
              </a:p>
            </p:txBody>
          </p:sp>
          <p:sp>
            <p:nvSpPr>
              <p:cNvPr id="371" name="Freihandform: Form 620">
                <a:extLst>
                  <a:ext uri="{FF2B5EF4-FFF2-40B4-BE49-F238E27FC236}">
                    <a16:creationId xmlns:a16="http://schemas.microsoft.com/office/drawing/2014/main" id="{898FC175-18F7-42FF-8C11-B9F5ED68CA96}"/>
                  </a:ext>
                </a:extLst>
              </p:cNvPr>
              <p:cNvSpPr/>
              <p:nvPr/>
            </p:nvSpPr>
            <p:spPr>
              <a:xfrm>
                <a:off x="6148811" y="1632588"/>
                <a:ext cx="288226" cy="170173"/>
              </a:xfrm>
              <a:custGeom>
                <a:avLst/>
                <a:gdLst>
                  <a:gd name="connsiteX0" fmla="*/ 5045 w 288226"/>
                  <a:gd name="connsiteY0" fmla="*/ 170174 h 170173"/>
                  <a:gd name="connsiteX1" fmla="*/ 0 w 288226"/>
                  <a:gd name="connsiteY1" fmla="*/ 165129 h 170173"/>
                  <a:gd name="connsiteX2" fmla="*/ 0 w 288226"/>
                  <a:gd name="connsiteY2" fmla="*/ 5045 h 170173"/>
                  <a:gd name="connsiteX3" fmla="*/ 5045 w 288226"/>
                  <a:gd name="connsiteY3" fmla="*/ 0 h 170173"/>
                  <a:gd name="connsiteX4" fmla="*/ 283182 w 288226"/>
                  <a:gd name="connsiteY4" fmla="*/ 0 h 170173"/>
                  <a:gd name="connsiteX5" fmla="*/ 288226 w 288226"/>
                  <a:gd name="connsiteY5" fmla="*/ 5045 h 170173"/>
                  <a:gd name="connsiteX6" fmla="*/ 288226 w 288226"/>
                  <a:gd name="connsiteY6" fmla="*/ 105391 h 170173"/>
                  <a:gd name="connsiteX7" fmla="*/ 283182 w 288226"/>
                  <a:gd name="connsiteY7" fmla="*/ 110436 h 170173"/>
                  <a:gd name="connsiteX8" fmla="*/ 278137 w 288226"/>
                  <a:gd name="connsiteY8" fmla="*/ 105391 h 170173"/>
                  <a:gd name="connsiteX9" fmla="*/ 278137 w 288226"/>
                  <a:gd name="connsiteY9" fmla="*/ 10090 h 170173"/>
                  <a:gd name="connsiteX10" fmla="*/ 10090 w 288226"/>
                  <a:gd name="connsiteY10" fmla="*/ 10090 h 170173"/>
                  <a:gd name="connsiteX11" fmla="*/ 10090 w 288226"/>
                  <a:gd name="connsiteY11" fmla="*/ 165104 h 170173"/>
                  <a:gd name="connsiteX12" fmla="*/ 5045 w 288226"/>
                  <a:gd name="connsiteY12" fmla="*/ 170174 h 17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8226" h="170173">
                    <a:moveTo>
                      <a:pt x="5045" y="170174"/>
                    </a:moveTo>
                    <a:cubicBezTo>
                      <a:pt x="2248" y="170174"/>
                      <a:pt x="0" y="167926"/>
                      <a:pt x="0" y="165129"/>
                    </a:cubicBezTo>
                    <a:lnTo>
                      <a:pt x="0" y="5045"/>
                    </a:lnTo>
                    <a:cubicBezTo>
                      <a:pt x="0" y="2248"/>
                      <a:pt x="2248" y="0"/>
                      <a:pt x="5045" y="0"/>
                    </a:cubicBezTo>
                    <a:lnTo>
                      <a:pt x="283182" y="0"/>
                    </a:lnTo>
                    <a:cubicBezTo>
                      <a:pt x="285979" y="0"/>
                      <a:pt x="288226" y="2248"/>
                      <a:pt x="288226" y="5045"/>
                    </a:cubicBezTo>
                    <a:lnTo>
                      <a:pt x="288226" y="105391"/>
                    </a:lnTo>
                    <a:cubicBezTo>
                      <a:pt x="288226" y="108188"/>
                      <a:pt x="285979" y="110436"/>
                      <a:pt x="283182" y="110436"/>
                    </a:cubicBezTo>
                    <a:cubicBezTo>
                      <a:pt x="280384" y="110436"/>
                      <a:pt x="278137" y="108188"/>
                      <a:pt x="278137" y="105391"/>
                    </a:cubicBezTo>
                    <a:lnTo>
                      <a:pt x="278137" y="10090"/>
                    </a:lnTo>
                    <a:lnTo>
                      <a:pt x="10090" y="10090"/>
                    </a:lnTo>
                    <a:lnTo>
                      <a:pt x="10090" y="165104"/>
                    </a:lnTo>
                    <a:cubicBezTo>
                      <a:pt x="10090" y="167901"/>
                      <a:pt x="7817" y="170174"/>
                      <a:pt x="5045" y="170174"/>
                    </a:cubicBezTo>
                    <a:close/>
                  </a:path>
                </a:pathLst>
              </a:custGeom>
              <a:grpFill/>
              <a:ln w="2495" cap="flat">
                <a:noFill/>
                <a:prstDash val="solid"/>
                <a:miter/>
              </a:ln>
            </p:spPr>
            <p:txBody>
              <a:bodyPr rtlCol="0" anchor="ctr"/>
              <a:lstStyle/>
              <a:p>
                <a:endParaRPr lang="en-GB" dirty="0"/>
              </a:p>
            </p:txBody>
          </p:sp>
          <p:sp>
            <p:nvSpPr>
              <p:cNvPr id="372" name="Freihandform: Form 621">
                <a:extLst>
                  <a:ext uri="{FF2B5EF4-FFF2-40B4-BE49-F238E27FC236}">
                    <a16:creationId xmlns:a16="http://schemas.microsoft.com/office/drawing/2014/main" id="{7A67D6EC-6A22-4BA5-955B-475A63D2F5C6}"/>
                  </a:ext>
                </a:extLst>
              </p:cNvPr>
              <p:cNvSpPr/>
              <p:nvPr/>
            </p:nvSpPr>
            <p:spPr>
              <a:xfrm>
                <a:off x="6249731" y="1709857"/>
                <a:ext cx="90830" cy="10089"/>
              </a:xfrm>
              <a:custGeom>
                <a:avLst/>
                <a:gdLst>
                  <a:gd name="connsiteX0" fmla="*/ 85786 w 90830"/>
                  <a:gd name="connsiteY0" fmla="*/ 10090 h 10089"/>
                  <a:gd name="connsiteX1" fmla="*/ 5045 w 90830"/>
                  <a:gd name="connsiteY1" fmla="*/ 10090 h 10089"/>
                  <a:gd name="connsiteX2" fmla="*/ 0 w 90830"/>
                  <a:gd name="connsiteY2" fmla="*/ 5045 h 10089"/>
                  <a:gd name="connsiteX3" fmla="*/ 5045 w 90830"/>
                  <a:gd name="connsiteY3" fmla="*/ 0 h 10089"/>
                  <a:gd name="connsiteX4" fmla="*/ 85786 w 90830"/>
                  <a:gd name="connsiteY4" fmla="*/ 0 h 10089"/>
                  <a:gd name="connsiteX5" fmla="*/ 90831 w 90830"/>
                  <a:gd name="connsiteY5" fmla="*/ 5045 h 10089"/>
                  <a:gd name="connsiteX6" fmla="*/ 85786 w 90830"/>
                  <a:gd name="connsiteY6" fmla="*/ 10090 h 1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30" h="10089">
                    <a:moveTo>
                      <a:pt x="85786" y="10090"/>
                    </a:moveTo>
                    <a:lnTo>
                      <a:pt x="5045" y="10090"/>
                    </a:lnTo>
                    <a:cubicBezTo>
                      <a:pt x="2248" y="10090"/>
                      <a:pt x="0" y="7817"/>
                      <a:pt x="0" y="5045"/>
                    </a:cubicBezTo>
                    <a:cubicBezTo>
                      <a:pt x="0" y="2248"/>
                      <a:pt x="2248" y="0"/>
                      <a:pt x="5045" y="0"/>
                    </a:cubicBezTo>
                    <a:lnTo>
                      <a:pt x="85786" y="0"/>
                    </a:lnTo>
                    <a:cubicBezTo>
                      <a:pt x="88583" y="0"/>
                      <a:pt x="90831" y="2248"/>
                      <a:pt x="90831" y="5045"/>
                    </a:cubicBezTo>
                    <a:cubicBezTo>
                      <a:pt x="90831" y="7817"/>
                      <a:pt x="88583" y="10090"/>
                      <a:pt x="85786" y="10090"/>
                    </a:cubicBezTo>
                    <a:close/>
                  </a:path>
                </a:pathLst>
              </a:custGeom>
              <a:grpFill/>
              <a:ln w="2495" cap="flat">
                <a:noFill/>
                <a:prstDash val="solid"/>
                <a:miter/>
              </a:ln>
            </p:spPr>
            <p:txBody>
              <a:bodyPr rtlCol="0" anchor="ctr"/>
              <a:lstStyle/>
              <a:p>
                <a:endParaRPr lang="en-GB" dirty="0"/>
              </a:p>
            </p:txBody>
          </p:sp>
          <p:sp>
            <p:nvSpPr>
              <p:cNvPr id="373" name="Freihandform: Form 622">
                <a:extLst>
                  <a:ext uri="{FF2B5EF4-FFF2-40B4-BE49-F238E27FC236}">
                    <a16:creationId xmlns:a16="http://schemas.microsoft.com/office/drawing/2014/main" id="{BB89B9DF-8C5C-4828-B394-763A0D6E55CC}"/>
                  </a:ext>
                </a:extLst>
              </p:cNvPr>
              <p:cNvSpPr/>
              <p:nvPr/>
            </p:nvSpPr>
            <p:spPr>
              <a:xfrm>
                <a:off x="6195188" y="1776813"/>
                <a:ext cx="152117" cy="10089"/>
              </a:xfrm>
              <a:custGeom>
                <a:avLst/>
                <a:gdLst>
                  <a:gd name="connsiteX0" fmla="*/ 147073 w 152117"/>
                  <a:gd name="connsiteY0" fmla="*/ 10090 h 10089"/>
                  <a:gd name="connsiteX1" fmla="*/ 5045 w 152117"/>
                  <a:gd name="connsiteY1" fmla="*/ 10090 h 10089"/>
                  <a:gd name="connsiteX2" fmla="*/ 0 w 152117"/>
                  <a:gd name="connsiteY2" fmla="*/ 5045 h 10089"/>
                  <a:gd name="connsiteX3" fmla="*/ 5045 w 152117"/>
                  <a:gd name="connsiteY3" fmla="*/ 0 h 10089"/>
                  <a:gd name="connsiteX4" fmla="*/ 147073 w 152117"/>
                  <a:gd name="connsiteY4" fmla="*/ 0 h 10089"/>
                  <a:gd name="connsiteX5" fmla="*/ 152117 w 152117"/>
                  <a:gd name="connsiteY5" fmla="*/ 5045 h 10089"/>
                  <a:gd name="connsiteX6" fmla="*/ 147073 w 152117"/>
                  <a:gd name="connsiteY6" fmla="*/ 10090 h 1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2117" h="10089">
                    <a:moveTo>
                      <a:pt x="147073" y="10090"/>
                    </a:moveTo>
                    <a:lnTo>
                      <a:pt x="5045" y="10090"/>
                    </a:lnTo>
                    <a:cubicBezTo>
                      <a:pt x="2248" y="10090"/>
                      <a:pt x="0" y="7842"/>
                      <a:pt x="0" y="5045"/>
                    </a:cubicBezTo>
                    <a:cubicBezTo>
                      <a:pt x="0" y="2248"/>
                      <a:pt x="2273" y="0"/>
                      <a:pt x="5045" y="0"/>
                    </a:cubicBezTo>
                    <a:lnTo>
                      <a:pt x="147073" y="0"/>
                    </a:lnTo>
                    <a:cubicBezTo>
                      <a:pt x="149870" y="0"/>
                      <a:pt x="152117" y="2273"/>
                      <a:pt x="152117" y="5045"/>
                    </a:cubicBezTo>
                    <a:cubicBezTo>
                      <a:pt x="152117" y="7817"/>
                      <a:pt x="149845" y="10090"/>
                      <a:pt x="147073" y="10090"/>
                    </a:cubicBezTo>
                    <a:close/>
                  </a:path>
                </a:pathLst>
              </a:custGeom>
              <a:grpFill/>
              <a:ln w="2495" cap="flat">
                <a:noFill/>
                <a:prstDash val="solid"/>
                <a:miter/>
              </a:ln>
            </p:spPr>
            <p:txBody>
              <a:bodyPr rtlCol="0" anchor="ctr"/>
              <a:lstStyle/>
              <a:p>
                <a:endParaRPr lang="en-GB" dirty="0"/>
              </a:p>
            </p:txBody>
          </p:sp>
          <p:sp>
            <p:nvSpPr>
              <p:cNvPr id="374" name="Freihandform: Form 623">
                <a:extLst>
                  <a:ext uri="{FF2B5EF4-FFF2-40B4-BE49-F238E27FC236}">
                    <a16:creationId xmlns:a16="http://schemas.microsoft.com/office/drawing/2014/main" id="{4E523149-C91B-4BB1-8603-BF80BEEFA981}"/>
                  </a:ext>
                </a:extLst>
              </p:cNvPr>
              <p:cNvSpPr/>
              <p:nvPr/>
            </p:nvSpPr>
            <p:spPr>
              <a:xfrm>
                <a:off x="6215342" y="1816197"/>
                <a:ext cx="132163" cy="10089"/>
              </a:xfrm>
              <a:custGeom>
                <a:avLst/>
                <a:gdLst>
                  <a:gd name="connsiteX0" fmla="*/ 127118 w 132163"/>
                  <a:gd name="connsiteY0" fmla="*/ 10090 h 10089"/>
                  <a:gd name="connsiteX1" fmla="*/ 5045 w 132163"/>
                  <a:gd name="connsiteY1" fmla="*/ 10090 h 10089"/>
                  <a:gd name="connsiteX2" fmla="*/ 0 w 132163"/>
                  <a:gd name="connsiteY2" fmla="*/ 5045 h 10089"/>
                  <a:gd name="connsiteX3" fmla="*/ 5045 w 132163"/>
                  <a:gd name="connsiteY3" fmla="*/ 0 h 10089"/>
                  <a:gd name="connsiteX4" fmla="*/ 127118 w 132163"/>
                  <a:gd name="connsiteY4" fmla="*/ 0 h 10089"/>
                  <a:gd name="connsiteX5" fmla="*/ 132163 w 132163"/>
                  <a:gd name="connsiteY5" fmla="*/ 5045 h 10089"/>
                  <a:gd name="connsiteX6" fmla="*/ 127118 w 132163"/>
                  <a:gd name="connsiteY6" fmla="*/ 10090 h 1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163" h="10089">
                    <a:moveTo>
                      <a:pt x="127118" y="10090"/>
                    </a:moveTo>
                    <a:lnTo>
                      <a:pt x="5045" y="10090"/>
                    </a:lnTo>
                    <a:cubicBezTo>
                      <a:pt x="2248" y="10090"/>
                      <a:pt x="0" y="7842"/>
                      <a:pt x="0" y="5045"/>
                    </a:cubicBezTo>
                    <a:cubicBezTo>
                      <a:pt x="0" y="2248"/>
                      <a:pt x="2273" y="0"/>
                      <a:pt x="5045" y="0"/>
                    </a:cubicBezTo>
                    <a:lnTo>
                      <a:pt x="127118" y="0"/>
                    </a:lnTo>
                    <a:cubicBezTo>
                      <a:pt x="129915" y="0"/>
                      <a:pt x="132163" y="2248"/>
                      <a:pt x="132163" y="5045"/>
                    </a:cubicBezTo>
                    <a:cubicBezTo>
                      <a:pt x="132163" y="7842"/>
                      <a:pt x="129915" y="10090"/>
                      <a:pt x="127118" y="10090"/>
                    </a:cubicBezTo>
                    <a:close/>
                  </a:path>
                </a:pathLst>
              </a:custGeom>
              <a:grpFill/>
              <a:ln w="2495" cap="flat">
                <a:noFill/>
                <a:prstDash val="solid"/>
                <a:miter/>
              </a:ln>
            </p:spPr>
            <p:txBody>
              <a:bodyPr rtlCol="0" anchor="ctr"/>
              <a:lstStyle/>
              <a:p>
                <a:endParaRPr lang="en-GB" dirty="0"/>
              </a:p>
            </p:txBody>
          </p:sp>
          <p:sp>
            <p:nvSpPr>
              <p:cNvPr id="375" name="Freihandform: Form 624">
                <a:extLst>
                  <a:ext uri="{FF2B5EF4-FFF2-40B4-BE49-F238E27FC236}">
                    <a16:creationId xmlns:a16="http://schemas.microsoft.com/office/drawing/2014/main" id="{1D2B9ED5-A6BC-4849-B205-1331FBB5E3D4}"/>
                  </a:ext>
                </a:extLst>
              </p:cNvPr>
              <p:cNvSpPr/>
              <p:nvPr/>
            </p:nvSpPr>
            <p:spPr>
              <a:xfrm>
                <a:off x="6236070" y="1856580"/>
                <a:ext cx="111959" cy="10089"/>
              </a:xfrm>
              <a:custGeom>
                <a:avLst/>
                <a:gdLst>
                  <a:gd name="connsiteX0" fmla="*/ 106914 w 111959"/>
                  <a:gd name="connsiteY0" fmla="*/ 10090 h 10089"/>
                  <a:gd name="connsiteX1" fmla="*/ 5045 w 111959"/>
                  <a:gd name="connsiteY1" fmla="*/ 10090 h 10089"/>
                  <a:gd name="connsiteX2" fmla="*/ 0 w 111959"/>
                  <a:gd name="connsiteY2" fmla="*/ 5045 h 10089"/>
                  <a:gd name="connsiteX3" fmla="*/ 5045 w 111959"/>
                  <a:gd name="connsiteY3" fmla="*/ 0 h 10089"/>
                  <a:gd name="connsiteX4" fmla="*/ 106914 w 111959"/>
                  <a:gd name="connsiteY4" fmla="*/ 0 h 10089"/>
                  <a:gd name="connsiteX5" fmla="*/ 111959 w 111959"/>
                  <a:gd name="connsiteY5" fmla="*/ 5045 h 10089"/>
                  <a:gd name="connsiteX6" fmla="*/ 106914 w 111959"/>
                  <a:gd name="connsiteY6" fmla="*/ 10090 h 1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1959" h="10089">
                    <a:moveTo>
                      <a:pt x="106914" y="10090"/>
                    </a:moveTo>
                    <a:lnTo>
                      <a:pt x="5045" y="10090"/>
                    </a:lnTo>
                    <a:cubicBezTo>
                      <a:pt x="2248" y="10090"/>
                      <a:pt x="0" y="7842"/>
                      <a:pt x="0" y="5045"/>
                    </a:cubicBezTo>
                    <a:cubicBezTo>
                      <a:pt x="0" y="2248"/>
                      <a:pt x="2273" y="0"/>
                      <a:pt x="5045" y="0"/>
                    </a:cubicBezTo>
                    <a:lnTo>
                      <a:pt x="106914" y="0"/>
                    </a:lnTo>
                    <a:cubicBezTo>
                      <a:pt x="109711" y="0"/>
                      <a:pt x="111959" y="2248"/>
                      <a:pt x="111959" y="5045"/>
                    </a:cubicBezTo>
                    <a:cubicBezTo>
                      <a:pt x="111959" y="7817"/>
                      <a:pt x="109711" y="10090"/>
                      <a:pt x="106914" y="10090"/>
                    </a:cubicBezTo>
                    <a:close/>
                  </a:path>
                </a:pathLst>
              </a:custGeom>
              <a:grpFill/>
              <a:ln w="2495" cap="flat">
                <a:noFill/>
                <a:prstDash val="solid"/>
                <a:miter/>
              </a:ln>
            </p:spPr>
            <p:txBody>
              <a:bodyPr rtlCol="0" anchor="ctr"/>
              <a:lstStyle/>
              <a:p>
                <a:endParaRPr lang="en-GB" dirty="0"/>
              </a:p>
            </p:txBody>
          </p:sp>
          <p:sp>
            <p:nvSpPr>
              <p:cNvPr id="376" name="Freihandform: Form 625">
                <a:extLst>
                  <a:ext uri="{FF2B5EF4-FFF2-40B4-BE49-F238E27FC236}">
                    <a16:creationId xmlns:a16="http://schemas.microsoft.com/office/drawing/2014/main" id="{34C4A3C1-AAC6-41EA-9643-A5F9C2AD09D7}"/>
                  </a:ext>
                </a:extLst>
              </p:cNvPr>
              <p:cNvSpPr/>
              <p:nvPr/>
            </p:nvSpPr>
            <p:spPr>
              <a:xfrm>
                <a:off x="6229552" y="1930604"/>
                <a:ext cx="50147" cy="10089"/>
              </a:xfrm>
              <a:custGeom>
                <a:avLst/>
                <a:gdLst>
                  <a:gd name="connsiteX0" fmla="*/ 45103 w 50147"/>
                  <a:gd name="connsiteY0" fmla="*/ 10090 h 10089"/>
                  <a:gd name="connsiteX1" fmla="*/ 5045 w 50147"/>
                  <a:gd name="connsiteY1" fmla="*/ 10090 h 10089"/>
                  <a:gd name="connsiteX2" fmla="*/ 0 w 50147"/>
                  <a:gd name="connsiteY2" fmla="*/ 5045 h 10089"/>
                  <a:gd name="connsiteX3" fmla="*/ 5045 w 50147"/>
                  <a:gd name="connsiteY3" fmla="*/ 0 h 10089"/>
                  <a:gd name="connsiteX4" fmla="*/ 45103 w 50147"/>
                  <a:gd name="connsiteY4" fmla="*/ 0 h 10089"/>
                  <a:gd name="connsiteX5" fmla="*/ 50148 w 50147"/>
                  <a:gd name="connsiteY5" fmla="*/ 5045 h 10089"/>
                  <a:gd name="connsiteX6" fmla="*/ 45103 w 50147"/>
                  <a:gd name="connsiteY6" fmla="*/ 10090 h 10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47" h="10089">
                    <a:moveTo>
                      <a:pt x="45103" y="10090"/>
                    </a:moveTo>
                    <a:lnTo>
                      <a:pt x="5045" y="10090"/>
                    </a:lnTo>
                    <a:cubicBezTo>
                      <a:pt x="2248" y="10090"/>
                      <a:pt x="0" y="7842"/>
                      <a:pt x="0" y="5045"/>
                    </a:cubicBezTo>
                    <a:cubicBezTo>
                      <a:pt x="0" y="2248"/>
                      <a:pt x="2248" y="0"/>
                      <a:pt x="5045" y="0"/>
                    </a:cubicBezTo>
                    <a:lnTo>
                      <a:pt x="45103" y="0"/>
                    </a:lnTo>
                    <a:cubicBezTo>
                      <a:pt x="47900" y="0"/>
                      <a:pt x="50148" y="2248"/>
                      <a:pt x="50148" y="5045"/>
                    </a:cubicBezTo>
                    <a:cubicBezTo>
                      <a:pt x="50148" y="7817"/>
                      <a:pt x="47875" y="10090"/>
                      <a:pt x="45103" y="10090"/>
                    </a:cubicBezTo>
                    <a:close/>
                  </a:path>
                </a:pathLst>
              </a:custGeom>
              <a:grpFill/>
              <a:ln w="2495" cap="flat">
                <a:noFill/>
                <a:prstDash val="solid"/>
                <a:miter/>
              </a:ln>
            </p:spPr>
            <p:txBody>
              <a:bodyPr rtlCol="0" anchor="ctr"/>
              <a:lstStyle/>
              <a:p>
                <a:endParaRPr lang="en-GB" dirty="0"/>
              </a:p>
            </p:txBody>
          </p:sp>
        </p:grpSp>
        <p:grpSp>
          <p:nvGrpSpPr>
            <p:cNvPr id="361" name="Grafik 54">
              <a:extLst>
                <a:ext uri="{FF2B5EF4-FFF2-40B4-BE49-F238E27FC236}">
                  <a16:creationId xmlns:a16="http://schemas.microsoft.com/office/drawing/2014/main" id="{DCADEC4C-B6AA-409B-B983-C0994D728EA8}"/>
                </a:ext>
              </a:extLst>
            </p:cNvPr>
            <p:cNvGrpSpPr/>
            <p:nvPr/>
          </p:nvGrpSpPr>
          <p:grpSpPr>
            <a:xfrm>
              <a:off x="4966379" y="2563063"/>
              <a:ext cx="160162" cy="185103"/>
              <a:chOff x="6047865" y="1816372"/>
              <a:chExt cx="171597" cy="198319"/>
            </a:xfrm>
            <a:solidFill>
              <a:schemeClr val="accent1"/>
            </a:solidFill>
          </p:grpSpPr>
          <p:sp>
            <p:nvSpPr>
              <p:cNvPr id="362" name="Freihandform: Form 627">
                <a:extLst>
                  <a:ext uri="{FF2B5EF4-FFF2-40B4-BE49-F238E27FC236}">
                    <a16:creationId xmlns:a16="http://schemas.microsoft.com/office/drawing/2014/main" id="{02CEF271-7143-4452-85AF-D6D39CF7A01E}"/>
                  </a:ext>
                </a:extLst>
              </p:cNvPr>
              <p:cNvSpPr/>
              <p:nvPr/>
            </p:nvSpPr>
            <p:spPr>
              <a:xfrm>
                <a:off x="6047890" y="1845267"/>
                <a:ext cx="10089" cy="139605"/>
              </a:xfrm>
              <a:custGeom>
                <a:avLst/>
                <a:gdLst>
                  <a:gd name="connsiteX0" fmla="*/ 5045 w 10089"/>
                  <a:gd name="connsiteY0" fmla="*/ 139605 h 139605"/>
                  <a:gd name="connsiteX1" fmla="*/ 0 w 10089"/>
                  <a:gd name="connsiteY1" fmla="*/ 134561 h 139605"/>
                  <a:gd name="connsiteX2" fmla="*/ 0 w 10089"/>
                  <a:gd name="connsiteY2" fmla="*/ 5045 h 139605"/>
                  <a:gd name="connsiteX3" fmla="*/ 5045 w 10089"/>
                  <a:gd name="connsiteY3" fmla="*/ 0 h 139605"/>
                  <a:gd name="connsiteX4" fmla="*/ 10089 w 10089"/>
                  <a:gd name="connsiteY4" fmla="*/ 5045 h 139605"/>
                  <a:gd name="connsiteX5" fmla="*/ 10089 w 10089"/>
                  <a:gd name="connsiteY5" fmla="*/ 134561 h 139605"/>
                  <a:gd name="connsiteX6" fmla="*/ 5045 w 10089"/>
                  <a:gd name="connsiteY6" fmla="*/ 139605 h 13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9" h="139605">
                    <a:moveTo>
                      <a:pt x="5045" y="139605"/>
                    </a:moveTo>
                    <a:cubicBezTo>
                      <a:pt x="2248" y="139605"/>
                      <a:pt x="0" y="137333"/>
                      <a:pt x="0" y="134561"/>
                    </a:cubicBezTo>
                    <a:lnTo>
                      <a:pt x="0" y="5045"/>
                    </a:lnTo>
                    <a:cubicBezTo>
                      <a:pt x="0" y="2248"/>
                      <a:pt x="2248" y="0"/>
                      <a:pt x="5045" y="0"/>
                    </a:cubicBezTo>
                    <a:cubicBezTo>
                      <a:pt x="7842" y="0"/>
                      <a:pt x="10089" y="2248"/>
                      <a:pt x="10089" y="5045"/>
                    </a:cubicBezTo>
                    <a:lnTo>
                      <a:pt x="10089" y="134561"/>
                    </a:lnTo>
                    <a:cubicBezTo>
                      <a:pt x="10089" y="137333"/>
                      <a:pt x="7817" y="139605"/>
                      <a:pt x="5045" y="139605"/>
                    </a:cubicBezTo>
                    <a:close/>
                  </a:path>
                </a:pathLst>
              </a:custGeom>
              <a:solidFill>
                <a:schemeClr val="accent1"/>
              </a:solidFill>
              <a:ln w="2495" cap="flat">
                <a:noFill/>
                <a:prstDash val="solid"/>
                <a:miter/>
              </a:ln>
            </p:spPr>
            <p:txBody>
              <a:bodyPr rtlCol="0" anchor="ctr"/>
              <a:lstStyle/>
              <a:p>
                <a:endParaRPr lang="en-GB" dirty="0"/>
              </a:p>
            </p:txBody>
          </p:sp>
          <p:sp>
            <p:nvSpPr>
              <p:cNvPr id="363" name="Freihandform: Form 628">
                <a:extLst>
                  <a:ext uri="{FF2B5EF4-FFF2-40B4-BE49-F238E27FC236}">
                    <a16:creationId xmlns:a16="http://schemas.microsoft.com/office/drawing/2014/main" id="{1B6E9343-A41C-463B-A869-BC5E2ED2A69B}"/>
                  </a:ext>
                </a:extLst>
              </p:cNvPr>
              <p:cNvSpPr/>
              <p:nvPr/>
            </p:nvSpPr>
            <p:spPr>
              <a:xfrm>
                <a:off x="6209373" y="1845267"/>
                <a:ext cx="10089" cy="139605"/>
              </a:xfrm>
              <a:custGeom>
                <a:avLst/>
                <a:gdLst>
                  <a:gd name="connsiteX0" fmla="*/ 5045 w 10089"/>
                  <a:gd name="connsiteY0" fmla="*/ 139605 h 139605"/>
                  <a:gd name="connsiteX1" fmla="*/ 0 w 10089"/>
                  <a:gd name="connsiteY1" fmla="*/ 134561 h 139605"/>
                  <a:gd name="connsiteX2" fmla="*/ 0 w 10089"/>
                  <a:gd name="connsiteY2" fmla="*/ 5045 h 139605"/>
                  <a:gd name="connsiteX3" fmla="*/ 5045 w 10089"/>
                  <a:gd name="connsiteY3" fmla="*/ 0 h 139605"/>
                  <a:gd name="connsiteX4" fmla="*/ 10090 w 10089"/>
                  <a:gd name="connsiteY4" fmla="*/ 5045 h 139605"/>
                  <a:gd name="connsiteX5" fmla="*/ 10090 w 10089"/>
                  <a:gd name="connsiteY5" fmla="*/ 134561 h 139605"/>
                  <a:gd name="connsiteX6" fmla="*/ 5045 w 10089"/>
                  <a:gd name="connsiteY6" fmla="*/ 139605 h 139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9" h="139605">
                    <a:moveTo>
                      <a:pt x="5045" y="139605"/>
                    </a:moveTo>
                    <a:cubicBezTo>
                      <a:pt x="2248" y="139605"/>
                      <a:pt x="0" y="137333"/>
                      <a:pt x="0" y="134561"/>
                    </a:cubicBezTo>
                    <a:lnTo>
                      <a:pt x="0" y="5045"/>
                    </a:lnTo>
                    <a:cubicBezTo>
                      <a:pt x="0" y="2248"/>
                      <a:pt x="2248" y="0"/>
                      <a:pt x="5045" y="0"/>
                    </a:cubicBezTo>
                    <a:cubicBezTo>
                      <a:pt x="7842" y="0"/>
                      <a:pt x="10090" y="2248"/>
                      <a:pt x="10090" y="5045"/>
                    </a:cubicBezTo>
                    <a:lnTo>
                      <a:pt x="10090" y="134561"/>
                    </a:lnTo>
                    <a:cubicBezTo>
                      <a:pt x="10090" y="137333"/>
                      <a:pt x="7817" y="139605"/>
                      <a:pt x="5045" y="139605"/>
                    </a:cubicBezTo>
                    <a:close/>
                  </a:path>
                </a:pathLst>
              </a:custGeom>
              <a:solidFill>
                <a:schemeClr val="accent1"/>
              </a:solidFill>
              <a:ln w="2495" cap="flat">
                <a:noFill/>
                <a:prstDash val="solid"/>
                <a:miter/>
              </a:ln>
            </p:spPr>
            <p:txBody>
              <a:bodyPr rtlCol="0" anchor="ctr"/>
              <a:lstStyle/>
              <a:p>
                <a:endParaRPr lang="en-GB" dirty="0"/>
              </a:p>
            </p:txBody>
          </p:sp>
          <p:sp>
            <p:nvSpPr>
              <p:cNvPr id="364" name="Freihandform: Form 629">
                <a:extLst>
                  <a:ext uri="{FF2B5EF4-FFF2-40B4-BE49-F238E27FC236}">
                    <a16:creationId xmlns:a16="http://schemas.microsoft.com/office/drawing/2014/main" id="{D2FE53C0-BC9B-4B6C-BD07-BC675FD20D72}"/>
                  </a:ext>
                </a:extLst>
              </p:cNvPr>
              <p:cNvSpPr/>
              <p:nvPr/>
            </p:nvSpPr>
            <p:spPr>
              <a:xfrm>
                <a:off x="6047865" y="1816372"/>
                <a:ext cx="171122" cy="67130"/>
              </a:xfrm>
              <a:custGeom>
                <a:avLst/>
                <a:gdLst>
                  <a:gd name="connsiteX0" fmla="*/ 85561 w 171122"/>
                  <a:gd name="connsiteY0" fmla="*/ 67130 h 67130"/>
                  <a:gd name="connsiteX1" fmla="*/ 0 w 171122"/>
                  <a:gd name="connsiteY1" fmla="*/ 33565 h 67130"/>
                  <a:gd name="connsiteX2" fmla="*/ 85561 w 171122"/>
                  <a:gd name="connsiteY2" fmla="*/ 0 h 67130"/>
                  <a:gd name="connsiteX3" fmla="*/ 171123 w 171122"/>
                  <a:gd name="connsiteY3" fmla="*/ 33565 h 67130"/>
                  <a:gd name="connsiteX4" fmla="*/ 85561 w 171122"/>
                  <a:gd name="connsiteY4" fmla="*/ 67130 h 67130"/>
                  <a:gd name="connsiteX5" fmla="*/ 85561 w 171122"/>
                  <a:gd name="connsiteY5" fmla="*/ 10090 h 67130"/>
                  <a:gd name="connsiteX6" fmla="*/ 10090 w 171122"/>
                  <a:gd name="connsiteY6" fmla="*/ 33565 h 67130"/>
                  <a:gd name="connsiteX7" fmla="*/ 85561 w 171122"/>
                  <a:gd name="connsiteY7" fmla="*/ 57041 h 67130"/>
                  <a:gd name="connsiteX8" fmla="*/ 161033 w 171122"/>
                  <a:gd name="connsiteY8" fmla="*/ 33565 h 67130"/>
                  <a:gd name="connsiteX9" fmla="*/ 85561 w 171122"/>
                  <a:gd name="connsiteY9" fmla="*/ 10090 h 67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1122" h="67130">
                    <a:moveTo>
                      <a:pt x="85561" y="67130"/>
                    </a:moveTo>
                    <a:cubicBezTo>
                      <a:pt x="44079" y="67130"/>
                      <a:pt x="0" y="55368"/>
                      <a:pt x="0" y="33565"/>
                    </a:cubicBezTo>
                    <a:cubicBezTo>
                      <a:pt x="0" y="11763"/>
                      <a:pt x="44079" y="0"/>
                      <a:pt x="85561" y="0"/>
                    </a:cubicBezTo>
                    <a:cubicBezTo>
                      <a:pt x="127043" y="0"/>
                      <a:pt x="171123" y="11763"/>
                      <a:pt x="171123" y="33565"/>
                    </a:cubicBezTo>
                    <a:cubicBezTo>
                      <a:pt x="171123" y="55343"/>
                      <a:pt x="127043" y="67130"/>
                      <a:pt x="85561" y="67130"/>
                    </a:cubicBezTo>
                    <a:close/>
                    <a:moveTo>
                      <a:pt x="85561" y="10090"/>
                    </a:moveTo>
                    <a:cubicBezTo>
                      <a:pt x="38810" y="10090"/>
                      <a:pt x="10090" y="23750"/>
                      <a:pt x="10090" y="33565"/>
                    </a:cubicBezTo>
                    <a:cubicBezTo>
                      <a:pt x="10090" y="43380"/>
                      <a:pt x="38785" y="57041"/>
                      <a:pt x="85561" y="57041"/>
                    </a:cubicBezTo>
                    <a:cubicBezTo>
                      <a:pt x="132313" y="57041"/>
                      <a:pt x="161033" y="43380"/>
                      <a:pt x="161033" y="33565"/>
                    </a:cubicBezTo>
                    <a:cubicBezTo>
                      <a:pt x="161033" y="23750"/>
                      <a:pt x="132313" y="10090"/>
                      <a:pt x="85561" y="10090"/>
                    </a:cubicBezTo>
                    <a:close/>
                  </a:path>
                </a:pathLst>
              </a:custGeom>
              <a:solidFill>
                <a:schemeClr val="accent1"/>
              </a:solidFill>
              <a:ln w="2495" cap="flat">
                <a:noFill/>
                <a:prstDash val="solid"/>
                <a:miter/>
              </a:ln>
            </p:spPr>
            <p:txBody>
              <a:bodyPr rtlCol="0" anchor="ctr"/>
              <a:lstStyle/>
              <a:p>
                <a:endParaRPr lang="en-GB" dirty="0"/>
              </a:p>
            </p:txBody>
          </p:sp>
          <p:sp>
            <p:nvSpPr>
              <p:cNvPr id="365" name="Freihandform: Form 630">
                <a:extLst>
                  <a:ext uri="{FF2B5EF4-FFF2-40B4-BE49-F238E27FC236}">
                    <a16:creationId xmlns:a16="http://schemas.microsoft.com/office/drawing/2014/main" id="{CC45DCA4-B20D-4634-848A-FCFE681807C0}"/>
                  </a:ext>
                </a:extLst>
              </p:cNvPr>
              <p:cNvSpPr/>
              <p:nvPr/>
            </p:nvSpPr>
            <p:spPr>
              <a:xfrm>
                <a:off x="6047865" y="1976082"/>
                <a:ext cx="171122" cy="38610"/>
              </a:xfrm>
              <a:custGeom>
                <a:avLst/>
                <a:gdLst>
                  <a:gd name="connsiteX0" fmla="*/ 85561 w 171122"/>
                  <a:gd name="connsiteY0" fmla="*/ 38610 h 38610"/>
                  <a:gd name="connsiteX1" fmla="*/ 0 w 171122"/>
                  <a:gd name="connsiteY1" fmla="*/ 5045 h 38610"/>
                  <a:gd name="connsiteX2" fmla="*/ 5045 w 171122"/>
                  <a:gd name="connsiteY2" fmla="*/ 0 h 38610"/>
                  <a:gd name="connsiteX3" fmla="*/ 10090 w 171122"/>
                  <a:gd name="connsiteY3" fmla="*/ 5045 h 38610"/>
                  <a:gd name="connsiteX4" fmla="*/ 85561 w 171122"/>
                  <a:gd name="connsiteY4" fmla="*/ 28520 h 38610"/>
                  <a:gd name="connsiteX5" fmla="*/ 161033 w 171122"/>
                  <a:gd name="connsiteY5" fmla="*/ 5045 h 38610"/>
                  <a:gd name="connsiteX6" fmla="*/ 166078 w 171122"/>
                  <a:gd name="connsiteY6" fmla="*/ 0 h 38610"/>
                  <a:gd name="connsiteX7" fmla="*/ 171123 w 171122"/>
                  <a:gd name="connsiteY7" fmla="*/ 5045 h 38610"/>
                  <a:gd name="connsiteX8" fmla="*/ 85561 w 171122"/>
                  <a:gd name="connsiteY8" fmla="*/ 38610 h 3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122" h="38610">
                    <a:moveTo>
                      <a:pt x="85561" y="38610"/>
                    </a:moveTo>
                    <a:cubicBezTo>
                      <a:pt x="44079" y="38610"/>
                      <a:pt x="0" y="26847"/>
                      <a:pt x="0" y="5045"/>
                    </a:cubicBezTo>
                    <a:cubicBezTo>
                      <a:pt x="0" y="2248"/>
                      <a:pt x="2248" y="0"/>
                      <a:pt x="5045" y="0"/>
                    </a:cubicBezTo>
                    <a:cubicBezTo>
                      <a:pt x="7842" y="0"/>
                      <a:pt x="10090" y="2273"/>
                      <a:pt x="10090" y="5045"/>
                    </a:cubicBezTo>
                    <a:cubicBezTo>
                      <a:pt x="10090" y="14860"/>
                      <a:pt x="38785" y="28520"/>
                      <a:pt x="85561" y="28520"/>
                    </a:cubicBezTo>
                    <a:cubicBezTo>
                      <a:pt x="132313" y="28520"/>
                      <a:pt x="161033" y="14860"/>
                      <a:pt x="161033" y="5045"/>
                    </a:cubicBezTo>
                    <a:cubicBezTo>
                      <a:pt x="161033" y="2248"/>
                      <a:pt x="163306" y="0"/>
                      <a:pt x="166078" y="0"/>
                    </a:cubicBezTo>
                    <a:cubicBezTo>
                      <a:pt x="168875" y="0"/>
                      <a:pt x="171123" y="2273"/>
                      <a:pt x="171123" y="5045"/>
                    </a:cubicBezTo>
                    <a:cubicBezTo>
                      <a:pt x="171123" y="26847"/>
                      <a:pt x="127043" y="38610"/>
                      <a:pt x="85561" y="38610"/>
                    </a:cubicBezTo>
                    <a:close/>
                  </a:path>
                </a:pathLst>
              </a:custGeom>
              <a:solidFill>
                <a:schemeClr val="accent1"/>
              </a:solidFill>
              <a:ln w="2495" cap="flat">
                <a:noFill/>
                <a:prstDash val="solid"/>
                <a:miter/>
              </a:ln>
            </p:spPr>
            <p:txBody>
              <a:bodyPr rtlCol="0" anchor="ctr"/>
              <a:lstStyle/>
              <a:p>
                <a:endParaRPr lang="en-GB" dirty="0"/>
              </a:p>
            </p:txBody>
          </p:sp>
          <p:sp>
            <p:nvSpPr>
              <p:cNvPr id="366" name="Freihandform: Form 631">
                <a:extLst>
                  <a:ext uri="{FF2B5EF4-FFF2-40B4-BE49-F238E27FC236}">
                    <a16:creationId xmlns:a16="http://schemas.microsoft.com/office/drawing/2014/main" id="{D682450C-8CB7-4EFC-AD2E-38DBC5A167DB}"/>
                  </a:ext>
                </a:extLst>
              </p:cNvPr>
              <p:cNvSpPr/>
              <p:nvPr/>
            </p:nvSpPr>
            <p:spPr>
              <a:xfrm>
                <a:off x="6047865" y="1932352"/>
                <a:ext cx="171122" cy="38610"/>
              </a:xfrm>
              <a:custGeom>
                <a:avLst/>
                <a:gdLst>
                  <a:gd name="connsiteX0" fmla="*/ 85561 w 171122"/>
                  <a:gd name="connsiteY0" fmla="*/ 38610 h 38610"/>
                  <a:gd name="connsiteX1" fmla="*/ 0 w 171122"/>
                  <a:gd name="connsiteY1" fmla="*/ 5045 h 38610"/>
                  <a:gd name="connsiteX2" fmla="*/ 5045 w 171122"/>
                  <a:gd name="connsiteY2" fmla="*/ 0 h 38610"/>
                  <a:gd name="connsiteX3" fmla="*/ 10090 w 171122"/>
                  <a:gd name="connsiteY3" fmla="*/ 5045 h 38610"/>
                  <a:gd name="connsiteX4" fmla="*/ 85561 w 171122"/>
                  <a:gd name="connsiteY4" fmla="*/ 28520 h 38610"/>
                  <a:gd name="connsiteX5" fmla="*/ 161033 w 171122"/>
                  <a:gd name="connsiteY5" fmla="*/ 5045 h 38610"/>
                  <a:gd name="connsiteX6" fmla="*/ 166078 w 171122"/>
                  <a:gd name="connsiteY6" fmla="*/ 0 h 38610"/>
                  <a:gd name="connsiteX7" fmla="*/ 171123 w 171122"/>
                  <a:gd name="connsiteY7" fmla="*/ 5045 h 38610"/>
                  <a:gd name="connsiteX8" fmla="*/ 85561 w 171122"/>
                  <a:gd name="connsiteY8" fmla="*/ 38610 h 3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122" h="38610">
                    <a:moveTo>
                      <a:pt x="85561" y="38610"/>
                    </a:moveTo>
                    <a:cubicBezTo>
                      <a:pt x="44079" y="38610"/>
                      <a:pt x="0" y="26847"/>
                      <a:pt x="0" y="5045"/>
                    </a:cubicBezTo>
                    <a:cubicBezTo>
                      <a:pt x="0" y="2248"/>
                      <a:pt x="2248" y="0"/>
                      <a:pt x="5045" y="0"/>
                    </a:cubicBezTo>
                    <a:cubicBezTo>
                      <a:pt x="7842" y="0"/>
                      <a:pt x="10090" y="2273"/>
                      <a:pt x="10090" y="5045"/>
                    </a:cubicBezTo>
                    <a:cubicBezTo>
                      <a:pt x="10090" y="14860"/>
                      <a:pt x="38785" y="28520"/>
                      <a:pt x="85561" y="28520"/>
                    </a:cubicBezTo>
                    <a:cubicBezTo>
                      <a:pt x="132313" y="28520"/>
                      <a:pt x="161033" y="14860"/>
                      <a:pt x="161033" y="5045"/>
                    </a:cubicBezTo>
                    <a:cubicBezTo>
                      <a:pt x="161033" y="2248"/>
                      <a:pt x="163306" y="0"/>
                      <a:pt x="166078" y="0"/>
                    </a:cubicBezTo>
                    <a:cubicBezTo>
                      <a:pt x="168875" y="0"/>
                      <a:pt x="171123" y="2273"/>
                      <a:pt x="171123" y="5045"/>
                    </a:cubicBezTo>
                    <a:cubicBezTo>
                      <a:pt x="171123" y="26847"/>
                      <a:pt x="127043" y="38610"/>
                      <a:pt x="85561" y="38610"/>
                    </a:cubicBezTo>
                    <a:close/>
                  </a:path>
                </a:pathLst>
              </a:custGeom>
              <a:solidFill>
                <a:schemeClr val="accent1"/>
              </a:solidFill>
              <a:ln w="2495" cap="flat">
                <a:noFill/>
                <a:prstDash val="solid"/>
                <a:miter/>
              </a:ln>
            </p:spPr>
            <p:txBody>
              <a:bodyPr rtlCol="0" anchor="ctr"/>
              <a:lstStyle/>
              <a:p>
                <a:endParaRPr lang="en-GB" dirty="0"/>
              </a:p>
            </p:txBody>
          </p:sp>
          <p:sp>
            <p:nvSpPr>
              <p:cNvPr id="367" name="Freihandform: Form 632">
                <a:extLst>
                  <a:ext uri="{FF2B5EF4-FFF2-40B4-BE49-F238E27FC236}">
                    <a16:creationId xmlns:a16="http://schemas.microsoft.com/office/drawing/2014/main" id="{7CB99CD7-0133-493C-924A-92543C69B22D}"/>
                  </a:ext>
                </a:extLst>
              </p:cNvPr>
              <p:cNvSpPr/>
              <p:nvPr/>
            </p:nvSpPr>
            <p:spPr>
              <a:xfrm>
                <a:off x="6047865" y="1888622"/>
                <a:ext cx="171122" cy="38610"/>
              </a:xfrm>
              <a:custGeom>
                <a:avLst/>
                <a:gdLst>
                  <a:gd name="connsiteX0" fmla="*/ 85561 w 171122"/>
                  <a:gd name="connsiteY0" fmla="*/ 38610 h 38610"/>
                  <a:gd name="connsiteX1" fmla="*/ 0 w 171122"/>
                  <a:gd name="connsiteY1" fmla="*/ 5045 h 38610"/>
                  <a:gd name="connsiteX2" fmla="*/ 5045 w 171122"/>
                  <a:gd name="connsiteY2" fmla="*/ 0 h 38610"/>
                  <a:gd name="connsiteX3" fmla="*/ 10090 w 171122"/>
                  <a:gd name="connsiteY3" fmla="*/ 5045 h 38610"/>
                  <a:gd name="connsiteX4" fmla="*/ 85561 w 171122"/>
                  <a:gd name="connsiteY4" fmla="*/ 28520 h 38610"/>
                  <a:gd name="connsiteX5" fmla="*/ 161033 w 171122"/>
                  <a:gd name="connsiteY5" fmla="*/ 5045 h 38610"/>
                  <a:gd name="connsiteX6" fmla="*/ 166078 w 171122"/>
                  <a:gd name="connsiteY6" fmla="*/ 0 h 38610"/>
                  <a:gd name="connsiteX7" fmla="*/ 171123 w 171122"/>
                  <a:gd name="connsiteY7" fmla="*/ 5045 h 38610"/>
                  <a:gd name="connsiteX8" fmla="*/ 85561 w 171122"/>
                  <a:gd name="connsiteY8" fmla="*/ 38610 h 38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122" h="38610">
                    <a:moveTo>
                      <a:pt x="85561" y="38610"/>
                    </a:moveTo>
                    <a:cubicBezTo>
                      <a:pt x="44079" y="38610"/>
                      <a:pt x="0" y="26847"/>
                      <a:pt x="0" y="5045"/>
                    </a:cubicBezTo>
                    <a:cubicBezTo>
                      <a:pt x="0" y="2248"/>
                      <a:pt x="2248" y="0"/>
                      <a:pt x="5045" y="0"/>
                    </a:cubicBezTo>
                    <a:cubicBezTo>
                      <a:pt x="7842" y="0"/>
                      <a:pt x="10090" y="2273"/>
                      <a:pt x="10090" y="5045"/>
                    </a:cubicBezTo>
                    <a:cubicBezTo>
                      <a:pt x="10090" y="14860"/>
                      <a:pt x="38785" y="28520"/>
                      <a:pt x="85561" y="28520"/>
                    </a:cubicBezTo>
                    <a:cubicBezTo>
                      <a:pt x="132313" y="28520"/>
                      <a:pt x="161033" y="14860"/>
                      <a:pt x="161033" y="5045"/>
                    </a:cubicBezTo>
                    <a:cubicBezTo>
                      <a:pt x="161033" y="2248"/>
                      <a:pt x="163306" y="0"/>
                      <a:pt x="166078" y="0"/>
                    </a:cubicBezTo>
                    <a:cubicBezTo>
                      <a:pt x="168875" y="0"/>
                      <a:pt x="171123" y="2273"/>
                      <a:pt x="171123" y="5045"/>
                    </a:cubicBezTo>
                    <a:cubicBezTo>
                      <a:pt x="171123" y="26847"/>
                      <a:pt x="127043" y="38610"/>
                      <a:pt x="85561" y="38610"/>
                    </a:cubicBezTo>
                    <a:close/>
                  </a:path>
                </a:pathLst>
              </a:custGeom>
              <a:solidFill>
                <a:schemeClr val="accent1"/>
              </a:solidFill>
              <a:ln w="2495"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2345535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kt 35" hidden="1">
            <a:extLst>
              <a:ext uri="{FF2B5EF4-FFF2-40B4-BE49-F238E27FC236}">
                <a16:creationId xmlns:a16="http://schemas.microsoft.com/office/drawing/2014/main" id="{F7017D3B-2171-40BF-A4CC-0D1E823F4ADD}"/>
              </a:ext>
            </a:extLst>
          </p:cNvPr>
          <p:cNvGraphicFramePr>
            <a:graphicFrameLocks noChangeAspect="1"/>
          </p:cNvGraphicFramePr>
          <p:nvPr>
            <p:custDataLst>
              <p:tags r:id="rId1"/>
            </p:custDataLst>
            <p:extLst>
              <p:ext uri="{D42A27DB-BD31-4B8C-83A1-F6EECF244321}">
                <p14:modId xmlns:p14="http://schemas.microsoft.com/office/powerpoint/2010/main" val="844573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6" name="Objekt 35" hidden="1">
                        <a:extLst>
                          <a:ext uri="{FF2B5EF4-FFF2-40B4-BE49-F238E27FC236}">
                            <a16:creationId xmlns:a16="http://schemas.microsoft.com/office/drawing/2014/main" id="{F7017D3B-2171-40BF-A4CC-0D1E823F4A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4D811AE-B299-4C68-9472-1F9AC40193B5}"/>
              </a:ext>
            </a:extLst>
          </p:cNvPr>
          <p:cNvSpPr>
            <a:spLocks noGrp="1"/>
          </p:cNvSpPr>
          <p:nvPr>
            <p:ph type="sldNum" sz="quarter" idx="11"/>
          </p:nvPr>
        </p:nvSpPr>
        <p:spPr/>
        <p:txBody>
          <a:bodyPr/>
          <a:lstStyle/>
          <a:p>
            <a:fld id="{D56DB8AA-803C-49D2-90AA-1140CE72DCD7}" type="slidenum">
              <a:rPr lang="en-GB" smtClean="0"/>
              <a:pPr/>
              <a:t>29</a:t>
            </a:fld>
            <a:endParaRPr lang="en-GB" dirty="0"/>
          </a:p>
        </p:txBody>
      </p:sp>
      <p:sp>
        <p:nvSpPr>
          <p:cNvPr id="3" name="Title 2">
            <a:extLst>
              <a:ext uri="{FF2B5EF4-FFF2-40B4-BE49-F238E27FC236}">
                <a16:creationId xmlns:a16="http://schemas.microsoft.com/office/drawing/2014/main" id="{C53A5C35-166A-22B7-AF51-89CA1DE7EB9B}"/>
              </a:ext>
            </a:extLst>
          </p:cNvPr>
          <p:cNvSpPr>
            <a:spLocks noGrp="1"/>
          </p:cNvSpPr>
          <p:nvPr>
            <p:ph type="title"/>
          </p:nvPr>
        </p:nvSpPr>
        <p:spPr>
          <a:xfrm>
            <a:off x="252000" y="252000"/>
            <a:ext cx="6748875" cy="576000"/>
          </a:xfrm>
        </p:spPr>
        <p:txBody>
          <a:bodyPr/>
          <a:lstStyle/>
          <a:p>
            <a:r>
              <a:rPr lang="en-US" dirty="0"/>
              <a:t>General Business 1/2</a:t>
            </a:r>
            <a:br>
              <a:rPr lang="en-US" dirty="0"/>
            </a:br>
            <a:endParaRPr lang="en-US" dirty="0"/>
          </a:p>
        </p:txBody>
      </p:sp>
      <p:sp>
        <p:nvSpPr>
          <p:cNvPr id="5" name="TextBox 4">
            <a:extLst>
              <a:ext uri="{FF2B5EF4-FFF2-40B4-BE49-F238E27FC236}">
                <a16:creationId xmlns:a16="http://schemas.microsoft.com/office/drawing/2014/main" id="{5F176616-57B9-43EE-BF4E-A637AE265747}"/>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taff</a:t>
            </a:r>
          </a:p>
        </p:txBody>
      </p:sp>
      <p:sp>
        <p:nvSpPr>
          <p:cNvPr id="6" name="TextBox 5">
            <a:extLst>
              <a:ext uri="{FF2B5EF4-FFF2-40B4-BE49-F238E27FC236}">
                <a16:creationId xmlns:a16="http://schemas.microsoft.com/office/drawing/2014/main" id="{C3D9B87E-3ED9-4DFC-89DA-C63258239CCD}"/>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Wealth</a:t>
            </a:r>
            <a:br>
              <a:rPr lang="en-GB" sz="700" dirty="0">
                <a:solidFill>
                  <a:schemeClr val="tx2"/>
                </a:solidFill>
              </a:rPr>
            </a:br>
            <a:r>
              <a:rPr lang="en-GB" sz="700" dirty="0">
                <a:solidFill>
                  <a:schemeClr val="tx2"/>
                </a:solidFill>
              </a:rPr>
              <a:t>management</a:t>
            </a:r>
          </a:p>
        </p:txBody>
      </p:sp>
      <p:sp>
        <p:nvSpPr>
          <p:cNvPr id="7" name="TextBox 6">
            <a:extLst>
              <a:ext uri="{FF2B5EF4-FFF2-40B4-BE49-F238E27FC236}">
                <a16:creationId xmlns:a16="http://schemas.microsoft.com/office/drawing/2014/main" id="{AD333440-CAEA-427E-A57C-BF4E3618B959}"/>
              </a:ext>
            </a:extLst>
          </p:cNvPr>
          <p:cNvSpPr txBox="1"/>
          <p:nvPr/>
        </p:nvSpPr>
        <p:spPr>
          <a:xfrm>
            <a:off x="1497553"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anagement</a:t>
            </a:r>
            <a:br>
              <a:rPr lang="en-GB" sz="700" dirty="0">
                <a:solidFill>
                  <a:schemeClr val="tx2"/>
                </a:solidFill>
              </a:rPr>
            </a:br>
            <a:r>
              <a:rPr lang="en-GB" sz="700" dirty="0">
                <a:solidFill>
                  <a:schemeClr val="tx2"/>
                </a:solidFill>
              </a:rPr>
              <a:t>skills</a:t>
            </a:r>
          </a:p>
        </p:txBody>
      </p:sp>
      <p:sp>
        <p:nvSpPr>
          <p:cNvPr id="8" name="TextBox 7">
            <a:extLst>
              <a:ext uri="{FF2B5EF4-FFF2-40B4-BE49-F238E27FC236}">
                <a16:creationId xmlns:a16="http://schemas.microsoft.com/office/drawing/2014/main" id="{48CA825A-9F78-4B19-A2CE-156FDAB74941}"/>
              </a:ext>
            </a:extLst>
          </p:cNvPr>
          <p:cNvSpPr txBox="1"/>
          <p:nvPr/>
        </p:nvSpPr>
        <p:spPr>
          <a:xfrm>
            <a:off x="3588420"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ask</a:t>
            </a:r>
            <a:br>
              <a:rPr lang="en-GB" sz="700" dirty="0">
                <a:solidFill>
                  <a:schemeClr val="tx2"/>
                </a:solidFill>
              </a:rPr>
            </a:br>
            <a:r>
              <a:rPr lang="en-GB" sz="700" dirty="0">
                <a:solidFill>
                  <a:schemeClr val="tx2"/>
                </a:solidFill>
              </a:rPr>
              <a:t>division</a:t>
            </a:r>
          </a:p>
        </p:txBody>
      </p:sp>
      <p:sp>
        <p:nvSpPr>
          <p:cNvPr id="9" name="TextBox 8">
            <a:extLst>
              <a:ext uri="{FF2B5EF4-FFF2-40B4-BE49-F238E27FC236}">
                <a16:creationId xmlns:a16="http://schemas.microsoft.com/office/drawing/2014/main" id="{B726AD0F-1D91-4F78-A18A-537A30C82C1E}"/>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Finance</a:t>
            </a:r>
          </a:p>
        </p:txBody>
      </p:sp>
      <p:sp>
        <p:nvSpPr>
          <p:cNvPr id="10" name="TextBox 9">
            <a:extLst>
              <a:ext uri="{FF2B5EF4-FFF2-40B4-BE49-F238E27FC236}">
                <a16:creationId xmlns:a16="http://schemas.microsoft.com/office/drawing/2014/main" id="{F507A767-16AB-4DA7-88D5-3D004D4072A7}"/>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eamwork</a:t>
            </a:r>
          </a:p>
        </p:txBody>
      </p:sp>
      <p:sp>
        <p:nvSpPr>
          <p:cNvPr id="11" name="TextBox 10">
            <a:extLst>
              <a:ext uri="{FF2B5EF4-FFF2-40B4-BE49-F238E27FC236}">
                <a16:creationId xmlns:a16="http://schemas.microsoft.com/office/drawing/2014/main" id="{17AE7782-C738-4DA1-A9BA-9625843EBC37}"/>
              </a:ext>
            </a:extLst>
          </p:cNvPr>
          <p:cNvSpPr txBox="1"/>
          <p:nvPr/>
        </p:nvSpPr>
        <p:spPr>
          <a:xfrm>
            <a:off x="452119"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blem</a:t>
            </a:r>
            <a:br>
              <a:rPr lang="en-GB" sz="700" dirty="0">
                <a:solidFill>
                  <a:schemeClr val="tx2"/>
                </a:solidFill>
              </a:rPr>
            </a:br>
            <a:r>
              <a:rPr lang="en-GB" sz="700" dirty="0">
                <a:solidFill>
                  <a:schemeClr val="tx2"/>
                </a:solidFill>
              </a:rPr>
              <a:t>solving</a:t>
            </a:r>
          </a:p>
        </p:txBody>
      </p:sp>
      <p:sp>
        <p:nvSpPr>
          <p:cNvPr id="12" name="TextBox 11">
            <a:extLst>
              <a:ext uri="{FF2B5EF4-FFF2-40B4-BE49-F238E27FC236}">
                <a16:creationId xmlns:a16="http://schemas.microsoft.com/office/drawing/2014/main" id="{836E6976-BB63-46AA-9777-2BC68113D500}"/>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ransparency</a:t>
            </a:r>
          </a:p>
        </p:txBody>
      </p:sp>
      <p:sp>
        <p:nvSpPr>
          <p:cNvPr id="13" name="TextBox 12">
            <a:extLst>
              <a:ext uri="{FF2B5EF4-FFF2-40B4-BE49-F238E27FC236}">
                <a16:creationId xmlns:a16="http://schemas.microsoft.com/office/drawing/2014/main" id="{D8BF3406-5F1F-4054-BFC7-691DAE5C5E9D}"/>
              </a:ext>
            </a:extLst>
          </p:cNvPr>
          <p:cNvSpPr txBox="1"/>
          <p:nvPr/>
        </p:nvSpPr>
        <p:spPr>
          <a:xfrm>
            <a:off x="2542987"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eam</a:t>
            </a:r>
            <a:br>
              <a:rPr lang="en-GB" sz="700" dirty="0">
                <a:solidFill>
                  <a:schemeClr val="tx2"/>
                </a:solidFill>
              </a:rPr>
            </a:br>
            <a:r>
              <a:rPr lang="en-GB" sz="700" dirty="0">
                <a:solidFill>
                  <a:schemeClr val="tx2"/>
                </a:solidFill>
              </a:rPr>
              <a:t>productivity</a:t>
            </a:r>
          </a:p>
        </p:txBody>
      </p:sp>
      <p:sp>
        <p:nvSpPr>
          <p:cNvPr id="14" name="TextBox 13">
            <a:extLst>
              <a:ext uri="{FF2B5EF4-FFF2-40B4-BE49-F238E27FC236}">
                <a16:creationId xmlns:a16="http://schemas.microsoft.com/office/drawing/2014/main" id="{C7D797CC-20C9-4396-A30D-F9D140BB0390}"/>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eetings</a:t>
            </a:r>
          </a:p>
        </p:txBody>
      </p:sp>
      <p:sp>
        <p:nvSpPr>
          <p:cNvPr id="15" name="TextBox 14">
            <a:extLst>
              <a:ext uri="{FF2B5EF4-FFF2-40B4-BE49-F238E27FC236}">
                <a16:creationId xmlns:a16="http://schemas.microsoft.com/office/drawing/2014/main" id="{46A44CA8-ECB4-4C86-BF4B-E8550F8B1554}"/>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orkforce</a:t>
            </a:r>
          </a:p>
        </p:txBody>
      </p:sp>
      <p:sp>
        <p:nvSpPr>
          <p:cNvPr id="16" name="TextBox 15">
            <a:extLst>
              <a:ext uri="{FF2B5EF4-FFF2-40B4-BE49-F238E27FC236}">
                <a16:creationId xmlns:a16="http://schemas.microsoft.com/office/drawing/2014/main" id="{7AA9B55A-0BB2-4845-BA83-30BCA6964411}"/>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eam assistant</a:t>
            </a:r>
          </a:p>
        </p:txBody>
      </p:sp>
      <p:sp>
        <p:nvSpPr>
          <p:cNvPr id="17" name="TextBox 16">
            <a:extLst>
              <a:ext uri="{FF2B5EF4-FFF2-40B4-BE49-F238E27FC236}">
                <a16:creationId xmlns:a16="http://schemas.microsoft.com/office/drawing/2014/main" id="{44DD9148-45B7-479B-AF26-F653D12DADEF}"/>
              </a:ext>
            </a:extLst>
          </p:cNvPr>
          <p:cNvSpPr txBox="1"/>
          <p:nvPr/>
        </p:nvSpPr>
        <p:spPr>
          <a:xfrm>
            <a:off x="254298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Entrepreneurial</a:t>
            </a:r>
            <a:br>
              <a:rPr lang="en-GB" sz="700" dirty="0">
                <a:solidFill>
                  <a:schemeClr val="tx2"/>
                </a:solidFill>
              </a:rPr>
            </a:br>
            <a:r>
              <a:rPr lang="en-GB" sz="700" dirty="0">
                <a:solidFill>
                  <a:schemeClr val="tx2"/>
                </a:solidFill>
              </a:rPr>
              <a:t>thinking</a:t>
            </a:r>
          </a:p>
        </p:txBody>
      </p:sp>
      <p:sp>
        <p:nvSpPr>
          <p:cNvPr id="18" name="TextBox 17">
            <a:extLst>
              <a:ext uri="{FF2B5EF4-FFF2-40B4-BE49-F238E27FC236}">
                <a16:creationId xmlns:a16="http://schemas.microsoft.com/office/drawing/2014/main" id="{3D7F7C82-9FEF-4619-B348-FE871B314175}"/>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ission</a:t>
            </a:r>
          </a:p>
        </p:txBody>
      </p:sp>
      <p:sp>
        <p:nvSpPr>
          <p:cNvPr id="34" name="TextBox 33">
            <a:extLst>
              <a:ext uri="{FF2B5EF4-FFF2-40B4-BE49-F238E27FC236}">
                <a16:creationId xmlns:a16="http://schemas.microsoft.com/office/drawing/2014/main" id="{51E63733-36EA-4B83-9F55-BBF00EBAF673}"/>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pproved</a:t>
            </a:r>
          </a:p>
        </p:txBody>
      </p:sp>
      <p:sp>
        <p:nvSpPr>
          <p:cNvPr id="49" name="TextBox 48">
            <a:extLst>
              <a:ext uri="{FF2B5EF4-FFF2-40B4-BE49-F238E27FC236}">
                <a16:creationId xmlns:a16="http://schemas.microsoft.com/office/drawing/2014/main" id="{5FFB6C68-7A8D-403C-9922-A49AFA53830D}"/>
              </a:ext>
            </a:extLst>
          </p:cNvPr>
          <p:cNvSpPr txBox="1"/>
          <p:nvPr/>
        </p:nvSpPr>
        <p:spPr>
          <a:xfrm>
            <a:off x="3588420"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usiness</a:t>
            </a:r>
            <a:br>
              <a:rPr lang="en-GB" sz="700" dirty="0">
                <a:solidFill>
                  <a:schemeClr val="tx2"/>
                </a:solidFill>
              </a:rPr>
            </a:br>
            <a:r>
              <a:rPr lang="en-GB" sz="700" dirty="0">
                <a:solidFill>
                  <a:schemeClr val="tx2"/>
                </a:solidFill>
              </a:rPr>
              <a:t>valuation</a:t>
            </a:r>
          </a:p>
        </p:txBody>
      </p:sp>
      <p:grpSp>
        <p:nvGrpSpPr>
          <p:cNvPr id="37" name="Group 36">
            <a:extLst>
              <a:ext uri="{FF2B5EF4-FFF2-40B4-BE49-F238E27FC236}">
                <a16:creationId xmlns:a16="http://schemas.microsoft.com/office/drawing/2014/main" id="{6E79AA48-A2F7-B83A-657E-ED41997123B1}"/>
              </a:ext>
            </a:extLst>
          </p:cNvPr>
          <p:cNvGrpSpPr/>
          <p:nvPr/>
        </p:nvGrpSpPr>
        <p:grpSpPr>
          <a:xfrm>
            <a:off x="1538708" y="1585983"/>
            <a:ext cx="601546" cy="432001"/>
            <a:chOff x="1538708" y="1585983"/>
            <a:chExt cx="601546" cy="432001"/>
          </a:xfrm>
        </p:grpSpPr>
        <p:grpSp>
          <p:nvGrpSpPr>
            <p:cNvPr id="51" name="Group 50">
              <a:extLst>
                <a:ext uri="{FF2B5EF4-FFF2-40B4-BE49-F238E27FC236}">
                  <a16:creationId xmlns:a16="http://schemas.microsoft.com/office/drawing/2014/main" id="{BED8A38E-65A4-4517-85AF-B09F5568DEEF}"/>
                </a:ext>
              </a:extLst>
            </p:cNvPr>
            <p:cNvGrpSpPr/>
            <p:nvPr/>
          </p:nvGrpSpPr>
          <p:grpSpPr>
            <a:xfrm>
              <a:off x="1538708" y="1770220"/>
              <a:ext cx="601546" cy="247764"/>
              <a:chOff x="2527523" y="2693133"/>
              <a:chExt cx="517335" cy="213079"/>
            </a:xfrm>
          </p:grpSpPr>
          <p:sp>
            <p:nvSpPr>
              <p:cNvPr id="60" name="Freihandform: Form 222">
                <a:extLst>
                  <a:ext uri="{FF2B5EF4-FFF2-40B4-BE49-F238E27FC236}">
                    <a16:creationId xmlns:a16="http://schemas.microsoft.com/office/drawing/2014/main" id="{C070D84E-236C-4E88-B040-D16DB2BF48FC}"/>
                  </a:ext>
                </a:extLst>
              </p:cNvPr>
              <p:cNvSpPr/>
              <p:nvPr/>
            </p:nvSpPr>
            <p:spPr>
              <a:xfrm>
                <a:off x="2623121" y="2758216"/>
                <a:ext cx="327463" cy="74650"/>
              </a:xfrm>
              <a:custGeom>
                <a:avLst/>
                <a:gdLst>
                  <a:gd name="connsiteX0" fmla="*/ 163718 w 327463"/>
                  <a:gd name="connsiteY0" fmla="*/ 74650 h 74650"/>
                  <a:gd name="connsiteX1" fmla="*/ 0 w 327463"/>
                  <a:gd name="connsiteY1" fmla="*/ 28895 h 74650"/>
                  <a:gd name="connsiteX2" fmla="*/ 28173 w 327463"/>
                  <a:gd name="connsiteY2" fmla="*/ 1992 h 74650"/>
                  <a:gd name="connsiteX3" fmla="*/ 31245 w 327463"/>
                  <a:gd name="connsiteY3" fmla="*/ 880 h 74650"/>
                  <a:gd name="connsiteX4" fmla="*/ 33231 w 327463"/>
                  <a:gd name="connsiteY4" fmla="*/ 298 h 74650"/>
                  <a:gd name="connsiteX5" fmla="*/ 41280 w 327463"/>
                  <a:gd name="connsiteY5" fmla="*/ 4481 h 74650"/>
                  <a:gd name="connsiteX6" fmla="*/ 37097 w 327463"/>
                  <a:gd name="connsiteY6" fmla="*/ 12531 h 74650"/>
                  <a:gd name="connsiteX7" fmla="*/ 34661 w 327463"/>
                  <a:gd name="connsiteY7" fmla="*/ 13272 h 74650"/>
                  <a:gd name="connsiteX8" fmla="*/ 32887 w 327463"/>
                  <a:gd name="connsiteY8" fmla="*/ 13934 h 74650"/>
                  <a:gd name="connsiteX9" fmla="*/ 12816 w 327463"/>
                  <a:gd name="connsiteY9" fmla="*/ 28895 h 74650"/>
                  <a:gd name="connsiteX10" fmla="*/ 163718 w 327463"/>
                  <a:gd name="connsiteY10" fmla="*/ 61808 h 74650"/>
                  <a:gd name="connsiteX11" fmla="*/ 314621 w 327463"/>
                  <a:gd name="connsiteY11" fmla="*/ 28895 h 74650"/>
                  <a:gd name="connsiteX12" fmla="*/ 294312 w 327463"/>
                  <a:gd name="connsiteY12" fmla="*/ 13828 h 74650"/>
                  <a:gd name="connsiteX13" fmla="*/ 294285 w 327463"/>
                  <a:gd name="connsiteY13" fmla="*/ 13828 h 74650"/>
                  <a:gd name="connsiteX14" fmla="*/ 291320 w 327463"/>
                  <a:gd name="connsiteY14" fmla="*/ 13113 h 74650"/>
                  <a:gd name="connsiteX15" fmla="*/ 287162 w 327463"/>
                  <a:gd name="connsiteY15" fmla="*/ 5037 h 74650"/>
                  <a:gd name="connsiteX16" fmla="*/ 295238 w 327463"/>
                  <a:gd name="connsiteY16" fmla="*/ 880 h 74650"/>
                  <a:gd name="connsiteX17" fmla="*/ 295477 w 327463"/>
                  <a:gd name="connsiteY17" fmla="*/ 933 h 74650"/>
                  <a:gd name="connsiteX18" fmla="*/ 299025 w 327463"/>
                  <a:gd name="connsiteY18" fmla="*/ 1860 h 74650"/>
                  <a:gd name="connsiteX19" fmla="*/ 327463 w 327463"/>
                  <a:gd name="connsiteY19" fmla="*/ 28868 h 74650"/>
                  <a:gd name="connsiteX20" fmla="*/ 163718 w 327463"/>
                  <a:gd name="connsiteY20" fmla="*/ 74650 h 7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7463" h="74650">
                    <a:moveTo>
                      <a:pt x="163718" y="74650"/>
                    </a:moveTo>
                    <a:cubicBezTo>
                      <a:pt x="82349" y="74650"/>
                      <a:pt x="0" y="58948"/>
                      <a:pt x="0" y="28895"/>
                    </a:cubicBezTo>
                    <a:cubicBezTo>
                      <a:pt x="0" y="18462"/>
                      <a:pt x="9479" y="9406"/>
                      <a:pt x="28173" y="1992"/>
                    </a:cubicBezTo>
                    <a:cubicBezTo>
                      <a:pt x="30477" y="1092"/>
                      <a:pt x="30530" y="1092"/>
                      <a:pt x="31245" y="880"/>
                    </a:cubicBezTo>
                    <a:cubicBezTo>
                      <a:pt x="31563" y="801"/>
                      <a:pt x="32066" y="668"/>
                      <a:pt x="33231" y="298"/>
                    </a:cubicBezTo>
                    <a:cubicBezTo>
                      <a:pt x="36620" y="-761"/>
                      <a:pt x="40221" y="1092"/>
                      <a:pt x="41280" y="4481"/>
                    </a:cubicBezTo>
                    <a:cubicBezTo>
                      <a:pt x="42340" y="7871"/>
                      <a:pt x="40486" y="11472"/>
                      <a:pt x="37097" y="12531"/>
                    </a:cubicBezTo>
                    <a:cubicBezTo>
                      <a:pt x="35640" y="12981"/>
                      <a:pt x="35032" y="13166"/>
                      <a:pt x="34661" y="13272"/>
                    </a:cubicBezTo>
                    <a:cubicBezTo>
                      <a:pt x="34211" y="13405"/>
                      <a:pt x="33893" y="13537"/>
                      <a:pt x="32887" y="13934"/>
                    </a:cubicBezTo>
                    <a:cubicBezTo>
                      <a:pt x="18085" y="19813"/>
                      <a:pt x="12816" y="25506"/>
                      <a:pt x="12816" y="28895"/>
                    </a:cubicBezTo>
                    <a:cubicBezTo>
                      <a:pt x="12816" y="42320"/>
                      <a:pt x="71599" y="61808"/>
                      <a:pt x="163718" y="61808"/>
                    </a:cubicBezTo>
                    <a:cubicBezTo>
                      <a:pt x="255838" y="61808"/>
                      <a:pt x="314621" y="42320"/>
                      <a:pt x="314621" y="28895"/>
                    </a:cubicBezTo>
                    <a:cubicBezTo>
                      <a:pt x="314621" y="25479"/>
                      <a:pt x="309299" y="19733"/>
                      <a:pt x="294312" y="13828"/>
                    </a:cubicBezTo>
                    <a:lnTo>
                      <a:pt x="294285" y="13828"/>
                    </a:lnTo>
                    <a:cubicBezTo>
                      <a:pt x="293200" y="13722"/>
                      <a:pt x="292193" y="13405"/>
                      <a:pt x="291320" y="13113"/>
                    </a:cubicBezTo>
                    <a:cubicBezTo>
                      <a:pt x="287930" y="12028"/>
                      <a:pt x="286077" y="8427"/>
                      <a:pt x="287162" y="5037"/>
                    </a:cubicBezTo>
                    <a:cubicBezTo>
                      <a:pt x="288248" y="1675"/>
                      <a:pt x="291876" y="-205"/>
                      <a:pt x="295238" y="880"/>
                    </a:cubicBezTo>
                    <a:lnTo>
                      <a:pt x="295477" y="933"/>
                    </a:lnTo>
                    <a:cubicBezTo>
                      <a:pt x="296827" y="986"/>
                      <a:pt x="297992" y="1463"/>
                      <a:pt x="299025" y="1860"/>
                    </a:cubicBezTo>
                    <a:cubicBezTo>
                      <a:pt x="317904" y="9301"/>
                      <a:pt x="327463" y="18383"/>
                      <a:pt x="327463" y="28868"/>
                    </a:cubicBezTo>
                    <a:cubicBezTo>
                      <a:pt x="327463" y="58948"/>
                      <a:pt x="245088" y="74650"/>
                      <a:pt x="163718" y="74650"/>
                    </a:cubicBezTo>
                    <a:close/>
                  </a:path>
                </a:pathLst>
              </a:custGeom>
              <a:solidFill>
                <a:schemeClr val="accent1"/>
              </a:solidFill>
              <a:ln w="2647" cap="flat">
                <a:noFill/>
                <a:prstDash val="solid"/>
                <a:miter/>
              </a:ln>
            </p:spPr>
            <p:txBody>
              <a:bodyPr rtlCol="0" anchor="ctr"/>
              <a:lstStyle/>
              <a:p>
                <a:endParaRPr lang="en-GB" dirty="0"/>
              </a:p>
            </p:txBody>
          </p:sp>
          <p:grpSp>
            <p:nvGrpSpPr>
              <p:cNvPr id="61" name="Grafik 288">
                <a:extLst>
                  <a:ext uri="{FF2B5EF4-FFF2-40B4-BE49-F238E27FC236}">
                    <a16:creationId xmlns:a16="http://schemas.microsoft.com/office/drawing/2014/main" id="{CFDF8A5C-692A-4B4B-9F94-51B6B31A2075}"/>
                  </a:ext>
                </a:extLst>
              </p:cNvPr>
              <p:cNvGrpSpPr/>
              <p:nvPr/>
            </p:nvGrpSpPr>
            <p:grpSpPr>
              <a:xfrm>
                <a:off x="2560410" y="2816013"/>
                <a:ext cx="148170" cy="90199"/>
                <a:chOff x="2560410" y="2816013"/>
                <a:chExt cx="148170" cy="90199"/>
              </a:xfrm>
              <a:solidFill>
                <a:schemeClr val="accent1"/>
              </a:solidFill>
            </p:grpSpPr>
            <p:sp>
              <p:nvSpPr>
                <p:cNvPr id="69" name="Freihandform: Form 224">
                  <a:extLst>
                    <a:ext uri="{FF2B5EF4-FFF2-40B4-BE49-F238E27FC236}">
                      <a16:creationId xmlns:a16="http://schemas.microsoft.com/office/drawing/2014/main" id="{3F1DB7C0-DE42-40A6-AF8A-4CEA49AD1086}"/>
                    </a:ext>
                  </a:extLst>
                </p:cNvPr>
                <p:cNvSpPr/>
                <p:nvPr/>
              </p:nvSpPr>
              <p:spPr>
                <a:xfrm>
                  <a:off x="2616648" y="2816013"/>
                  <a:ext cx="91932" cy="60966"/>
                </a:xfrm>
                <a:custGeom>
                  <a:avLst/>
                  <a:gdLst>
                    <a:gd name="connsiteX0" fmla="*/ 6420 w 91932"/>
                    <a:gd name="connsiteY0" fmla="*/ 60967 h 60966"/>
                    <a:gd name="connsiteX1" fmla="*/ 939 w 91932"/>
                    <a:gd name="connsiteY1" fmla="*/ 57895 h 60966"/>
                    <a:gd name="connsiteX2" fmla="*/ 3084 w 91932"/>
                    <a:gd name="connsiteY2" fmla="*/ 49078 h 60966"/>
                    <a:gd name="connsiteX3" fmla="*/ 82176 w 91932"/>
                    <a:gd name="connsiteY3" fmla="*/ 939 h 60966"/>
                    <a:gd name="connsiteX4" fmla="*/ 90994 w 91932"/>
                    <a:gd name="connsiteY4" fmla="*/ 3084 h 60966"/>
                    <a:gd name="connsiteX5" fmla="*/ 88849 w 91932"/>
                    <a:gd name="connsiteY5" fmla="*/ 11902 h 60966"/>
                    <a:gd name="connsiteX6" fmla="*/ 9757 w 91932"/>
                    <a:gd name="connsiteY6" fmla="*/ 60040 h 60966"/>
                    <a:gd name="connsiteX7" fmla="*/ 6420 w 91932"/>
                    <a:gd name="connsiteY7" fmla="*/ 60967 h 60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32" h="60966">
                      <a:moveTo>
                        <a:pt x="6420" y="60967"/>
                      </a:moveTo>
                      <a:cubicBezTo>
                        <a:pt x="4249" y="60967"/>
                        <a:pt x="2131" y="59881"/>
                        <a:pt x="939" y="57895"/>
                      </a:cubicBezTo>
                      <a:cubicBezTo>
                        <a:pt x="-914" y="54877"/>
                        <a:pt x="66" y="50905"/>
                        <a:pt x="3084" y="49078"/>
                      </a:cubicBezTo>
                      <a:lnTo>
                        <a:pt x="82176" y="939"/>
                      </a:lnTo>
                      <a:cubicBezTo>
                        <a:pt x="85221" y="-914"/>
                        <a:pt x="89167" y="66"/>
                        <a:pt x="90994" y="3084"/>
                      </a:cubicBezTo>
                      <a:cubicBezTo>
                        <a:pt x="92847" y="6103"/>
                        <a:pt x="91867" y="10075"/>
                        <a:pt x="88849" y="11902"/>
                      </a:cubicBezTo>
                      <a:lnTo>
                        <a:pt x="9757" y="60040"/>
                      </a:lnTo>
                      <a:cubicBezTo>
                        <a:pt x="8698" y="60649"/>
                        <a:pt x="7559" y="60967"/>
                        <a:pt x="6420" y="60967"/>
                      </a:cubicBezTo>
                      <a:close/>
                    </a:path>
                  </a:pathLst>
                </a:custGeom>
                <a:solidFill>
                  <a:schemeClr val="accent1"/>
                </a:solidFill>
                <a:ln w="2647" cap="flat">
                  <a:noFill/>
                  <a:prstDash val="solid"/>
                  <a:miter/>
                </a:ln>
              </p:spPr>
              <p:txBody>
                <a:bodyPr rtlCol="0" anchor="ctr"/>
                <a:lstStyle/>
                <a:p>
                  <a:endParaRPr lang="en-GB" dirty="0"/>
                </a:p>
              </p:txBody>
            </p:sp>
            <p:sp>
              <p:nvSpPr>
                <p:cNvPr id="70" name="Freihandform: Form 225">
                  <a:extLst>
                    <a:ext uri="{FF2B5EF4-FFF2-40B4-BE49-F238E27FC236}">
                      <a16:creationId xmlns:a16="http://schemas.microsoft.com/office/drawing/2014/main" id="{B22047A8-50BA-41FB-A20F-28518D1994C9}"/>
                    </a:ext>
                  </a:extLst>
                </p:cNvPr>
                <p:cNvSpPr/>
                <p:nvPr/>
              </p:nvSpPr>
              <p:spPr>
                <a:xfrm>
                  <a:off x="2560410" y="2863508"/>
                  <a:ext cx="91399" cy="42704"/>
                </a:xfrm>
                <a:custGeom>
                  <a:avLst/>
                  <a:gdLst>
                    <a:gd name="connsiteX0" fmla="*/ 41925 w 91399"/>
                    <a:gd name="connsiteY0" fmla="*/ 42704 h 42704"/>
                    <a:gd name="connsiteX1" fmla="*/ 16347 w 91399"/>
                    <a:gd name="connsiteY1" fmla="*/ 39103 h 42704"/>
                    <a:gd name="connsiteX2" fmla="*/ 9 w 91399"/>
                    <a:gd name="connsiteY2" fmla="*/ 23269 h 42704"/>
                    <a:gd name="connsiteX3" fmla="*/ 14970 w 91399"/>
                    <a:gd name="connsiteY3" fmla="*/ 6110 h 42704"/>
                    <a:gd name="connsiteX4" fmla="*/ 44812 w 91399"/>
                    <a:gd name="connsiteY4" fmla="*/ 100 h 42704"/>
                    <a:gd name="connsiteX5" fmla="*/ 75050 w 91399"/>
                    <a:gd name="connsiteY5" fmla="*/ 3595 h 42704"/>
                    <a:gd name="connsiteX6" fmla="*/ 91388 w 91399"/>
                    <a:gd name="connsiteY6" fmla="*/ 19429 h 42704"/>
                    <a:gd name="connsiteX7" fmla="*/ 91388 w 91399"/>
                    <a:gd name="connsiteY7" fmla="*/ 19429 h 42704"/>
                    <a:gd name="connsiteX8" fmla="*/ 46586 w 91399"/>
                    <a:gd name="connsiteY8" fmla="*/ 42598 h 42704"/>
                    <a:gd name="connsiteX9" fmla="*/ 41925 w 91399"/>
                    <a:gd name="connsiteY9" fmla="*/ 42704 h 42704"/>
                    <a:gd name="connsiteX10" fmla="*/ 49578 w 91399"/>
                    <a:gd name="connsiteY10" fmla="*/ 12836 h 42704"/>
                    <a:gd name="connsiteX11" fmla="*/ 45341 w 91399"/>
                    <a:gd name="connsiteY11" fmla="*/ 12915 h 42704"/>
                    <a:gd name="connsiteX12" fmla="*/ 12799 w 91399"/>
                    <a:gd name="connsiteY12" fmla="*/ 22871 h 42704"/>
                    <a:gd name="connsiteX13" fmla="*/ 46030 w 91399"/>
                    <a:gd name="connsiteY13" fmla="*/ 29756 h 42704"/>
                    <a:gd name="connsiteX14" fmla="*/ 78493 w 91399"/>
                    <a:gd name="connsiteY14" fmla="*/ 19959 h 42704"/>
                    <a:gd name="connsiteX15" fmla="*/ 49578 w 91399"/>
                    <a:gd name="connsiteY15" fmla="*/ 12836 h 42704"/>
                    <a:gd name="connsiteX16" fmla="*/ 78598 w 91399"/>
                    <a:gd name="connsiteY16" fmla="*/ 20118 h 42704"/>
                    <a:gd name="connsiteX17" fmla="*/ 78651 w 91399"/>
                    <a:gd name="connsiteY17" fmla="*/ 20118 h 42704"/>
                    <a:gd name="connsiteX18" fmla="*/ 78598 w 91399"/>
                    <a:gd name="connsiteY18" fmla="*/ 20118 h 42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399" h="42704">
                      <a:moveTo>
                        <a:pt x="41925" y="42704"/>
                      </a:moveTo>
                      <a:cubicBezTo>
                        <a:pt x="32393" y="42704"/>
                        <a:pt x="23470" y="41460"/>
                        <a:pt x="16347" y="39103"/>
                      </a:cubicBezTo>
                      <a:cubicBezTo>
                        <a:pt x="2498" y="34549"/>
                        <a:pt x="168" y="27214"/>
                        <a:pt x="9" y="23269"/>
                      </a:cubicBezTo>
                      <a:cubicBezTo>
                        <a:pt x="-149" y="19323"/>
                        <a:pt x="1572" y="11830"/>
                        <a:pt x="14970" y="6110"/>
                      </a:cubicBezTo>
                      <a:cubicBezTo>
                        <a:pt x="22967" y="2695"/>
                        <a:pt x="33558" y="550"/>
                        <a:pt x="44812" y="100"/>
                      </a:cubicBezTo>
                      <a:cubicBezTo>
                        <a:pt x="56091" y="-377"/>
                        <a:pt x="66789" y="868"/>
                        <a:pt x="75050" y="3595"/>
                      </a:cubicBezTo>
                      <a:cubicBezTo>
                        <a:pt x="88899" y="8176"/>
                        <a:pt x="91229" y="15484"/>
                        <a:pt x="91388" y="19429"/>
                      </a:cubicBezTo>
                      <a:lnTo>
                        <a:pt x="91388" y="19429"/>
                      </a:lnTo>
                      <a:cubicBezTo>
                        <a:pt x="91997" y="34019"/>
                        <a:pt x="68590" y="41671"/>
                        <a:pt x="46586" y="42598"/>
                      </a:cubicBezTo>
                      <a:cubicBezTo>
                        <a:pt x="45050" y="42678"/>
                        <a:pt x="43461" y="42704"/>
                        <a:pt x="41925" y="42704"/>
                      </a:cubicBezTo>
                      <a:close/>
                      <a:moveTo>
                        <a:pt x="49578" y="12836"/>
                      </a:moveTo>
                      <a:cubicBezTo>
                        <a:pt x="48201" y="12836"/>
                        <a:pt x="46798" y="12862"/>
                        <a:pt x="45341" y="12915"/>
                      </a:cubicBezTo>
                      <a:cubicBezTo>
                        <a:pt x="24555" y="13789"/>
                        <a:pt x="13514" y="20488"/>
                        <a:pt x="12799" y="22871"/>
                      </a:cubicBezTo>
                      <a:cubicBezTo>
                        <a:pt x="13673" y="24884"/>
                        <a:pt x="25217" y="30630"/>
                        <a:pt x="46030" y="29756"/>
                      </a:cubicBezTo>
                      <a:cubicBezTo>
                        <a:pt x="66392" y="28909"/>
                        <a:pt x="77407" y="22474"/>
                        <a:pt x="78493" y="19959"/>
                      </a:cubicBezTo>
                      <a:cubicBezTo>
                        <a:pt x="77301" y="17734"/>
                        <a:pt x="67292" y="12836"/>
                        <a:pt x="49578" y="12836"/>
                      </a:cubicBezTo>
                      <a:close/>
                      <a:moveTo>
                        <a:pt x="78598" y="20118"/>
                      </a:moveTo>
                      <a:lnTo>
                        <a:pt x="78651" y="20118"/>
                      </a:lnTo>
                      <a:lnTo>
                        <a:pt x="78598" y="20118"/>
                      </a:lnTo>
                      <a:close/>
                    </a:path>
                  </a:pathLst>
                </a:custGeom>
                <a:solidFill>
                  <a:schemeClr val="accent1"/>
                </a:solidFill>
                <a:ln w="2647" cap="flat">
                  <a:noFill/>
                  <a:prstDash val="solid"/>
                  <a:miter/>
                </a:ln>
              </p:spPr>
              <p:txBody>
                <a:bodyPr rtlCol="0" anchor="ctr"/>
                <a:lstStyle/>
                <a:p>
                  <a:endParaRPr lang="en-GB" dirty="0"/>
                </a:p>
              </p:txBody>
            </p:sp>
          </p:grpSp>
          <p:grpSp>
            <p:nvGrpSpPr>
              <p:cNvPr id="62" name="Grafik 288">
                <a:extLst>
                  <a:ext uri="{FF2B5EF4-FFF2-40B4-BE49-F238E27FC236}">
                    <a16:creationId xmlns:a16="http://schemas.microsoft.com/office/drawing/2014/main" id="{0969A998-61FC-4103-AEAF-B4132DE1CBC6}"/>
                  </a:ext>
                </a:extLst>
              </p:cNvPr>
              <p:cNvGrpSpPr/>
              <p:nvPr/>
            </p:nvGrpSpPr>
            <p:grpSpPr>
              <a:xfrm>
                <a:off x="2863318" y="2816013"/>
                <a:ext cx="148150" cy="90199"/>
                <a:chOff x="2863318" y="2816013"/>
                <a:chExt cx="148150" cy="90199"/>
              </a:xfrm>
              <a:solidFill>
                <a:schemeClr val="accent1"/>
              </a:solidFill>
            </p:grpSpPr>
            <p:sp>
              <p:nvSpPr>
                <p:cNvPr id="67" name="Freihandform: Form 227">
                  <a:extLst>
                    <a:ext uri="{FF2B5EF4-FFF2-40B4-BE49-F238E27FC236}">
                      <a16:creationId xmlns:a16="http://schemas.microsoft.com/office/drawing/2014/main" id="{A4F3083B-BA41-4C41-AA69-9175E68D0540}"/>
                    </a:ext>
                  </a:extLst>
                </p:cNvPr>
                <p:cNvSpPr/>
                <p:nvPr/>
              </p:nvSpPr>
              <p:spPr>
                <a:xfrm>
                  <a:off x="2863318" y="2816013"/>
                  <a:ext cx="91945" cy="60966"/>
                </a:xfrm>
                <a:custGeom>
                  <a:avLst/>
                  <a:gdLst>
                    <a:gd name="connsiteX0" fmla="*/ 85519 w 91945"/>
                    <a:gd name="connsiteY0" fmla="*/ 60967 h 60966"/>
                    <a:gd name="connsiteX1" fmla="*/ 82182 w 91945"/>
                    <a:gd name="connsiteY1" fmla="*/ 60040 h 60966"/>
                    <a:gd name="connsiteX2" fmla="*/ 3090 w 91945"/>
                    <a:gd name="connsiteY2" fmla="*/ 11902 h 60966"/>
                    <a:gd name="connsiteX3" fmla="*/ 946 w 91945"/>
                    <a:gd name="connsiteY3" fmla="*/ 3084 h 60966"/>
                    <a:gd name="connsiteX4" fmla="*/ 9763 w 91945"/>
                    <a:gd name="connsiteY4" fmla="*/ 939 h 60966"/>
                    <a:gd name="connsiteX5" fmla="*/ 88855 w 91945"/>
                    <a:gd name="connsiteY5" fmla="*/ 49078 h 60966"/>
                    <a:gd name="connsiteX6" fmla="*/ 91000 w 91945"/>
                    <a:gd name="connsiteY6" fmla="*/ 57895 h 60966"/>
                    <a:gd name="connsiteX7" fmla="*/ 85519 w 91945"/>
                    <a:gd name="connsiteY7" fmla="*/ 60967 h 60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45" h="60966">
                      <a:moveTo>
                        <a:pt x="85519" y="60967"/>
                      </a:moveTo>
                      <a:cubicBezTo>
                        <a:pt x="84380" y="60967"/>
                        <a:pt x="83242" y="60675"/>
                        <a:pt x="82182" y="60040"/>
                      </a:cubicBezTo>
                      <a:lnTo>
                        <a:pt x="3090" y="11902"/>
                      </a:lnTo>
                      <a:cubicBezTo>
                        <a:pt x="45" y="10048"/>
                        <a:pt x="-908" y="6103"/>
                        <a:pt x="946" y="3084"/>
                      </a:cubicBezTo>
                      <a:cubicBezTo>
                        <a:pt x="2799" y="66"/>
                        <a:pt x="6744" y="-914"/>
                        <a:pt x="9763" y="939"/>
                      </a:cubicBezTo>
                      <a:lnTo>
                        <a:pt x="88855" y="49078"/>
                      </a:lnTo>
                      <a:cubicBezTo>
                        <a:pt x="91900" y="50931"/>
                        <a:pt x="92853" y="54877"/>
                        <a:pt x="91000" y="57895"/>
                      </a:cubicBezTo>
                      <a:cubicBezTo>
                        <a:pt x="89808" y="59855"/>
                        <a:pt x="87690" y="60967"/>
                        <a:pt x="85519" y="60967"/>
                      </a:cubicBezTo>
                      <a:close/>
                    </a:path>
                  </a:pathLst>
                </a:custGeom>
                <a:solidFill>
                  <a:schemeClr val="accent1"/>
                </a:solidFill>
                <a:ln w="2647" cap="flat">
                  <a:noFill/>
                  <a:prstDash val="solid"/>
                  <a:miter/>
                </a:ln>
              </p:spPr>
              <p:txBody>
                <a:bodyPr rtlCol="0" anchor="ctr"/>
                <a:lstStyle/>
                <a:p>
                  <a:endParaRPr lang="en-GB" dirty="0"/>
                </a:p>
              </p:txBody>
            </p:sp>
            <p:sp>
              <p:nvSpPr>
                <p:cNvPr id="68" name="Freihandform: Form 228">
                  <a:extLst>
                    <a:ext uri="{FF2B5EF4-FFF2-40B4-BE49-F238E27FC236}">
                      <a16:creationId xmlns:a16="http://schemas.microsoft.com/office/drawing/2014/main" id="{AD5B9B9A-6E0F-4032-8250-8B7B497112DE}"/>
                    </a:ext>
                  </a:extLst>
                </p:cNvPr>
                <p:cNvSpPr/>
                <p:nvPr/>
              </p:nvSpPr>
              <p:spPr>
                <a:xfrm>
                  <a:off x="2920069" y="2863508"/>
                  <a:ext cx="91399" cy="42704"/>
                </a:xfrm>
                <a:custGeom>
                  <a:avLst/>
                  <a:gdLst>
                    <a:gd name="connsiteX0" fmla="*/ 49500 w 91399"/>
                    <a:gd name="connsiteY0" fmla="*/ 42704 h 42704"/>
                    <a:gd name="connsiteX1" fmla="*/ 44814 w 91399"/>
                    <a:gd name="connsiteY1" fmla="*/ 42598 h 42704"/>
                    <a:gd name="connsiteX2" fmla="*/ 12 w 91399"/>
                    <a:gd name="connsiteY2" fmla="*/ 19429 h 42704"/>
                    <a:gd name="connsiteX3" fmla="*/ 12 w 91399"/>
                    <a:gd name="connsiteY3" fmla="*/ 19429 h 42704"/>
                    <a:gd name="connsiteX4" fmla="*/ 16349 w 91399"/>
                    <a:gd name="connsiteY4" fmla="*/ 3595 h 42704"/>
                    <a:gd name="connsiteX5" fmla="*/ 46588 w 91399"/>
                    <a:gd name="connsiteY5" fmla="*/ 100 h 42704"/>
                    <a:gd name="connsiteX6" fmla="*/ 76429 w 91399"/>
                    <a:gd name="connsiteY6" fmla="*/ 6110 h 42704"/>
                    <a:gd name="connsiteX7" fmla="*/ 91390 w 91399"/>
                    <a:gd name="connsiteY7" fmla="*/ 23269 h 42704"/>
                    <a:gd name="connsiteX8" fmla="*/ 75053 w 91399"/>
                    <a:gd name="connsiteY8" fmla="*/ 39103 h 42704"/>
                    <a:gd name="connsiteX9" fmla="*/ 49500 w 91399"/>
                    <a:gd name="connsiteY9" fmla="*/ 42704 h 42704"/>
                    <a:gd name="connsiteX10" fmla="*/ 12880 w 91399"/>
                    <a:gd name="connsiteY10" fmla="*/ 19985 h 42704"/>
                    <a:gd name="connsiteX11" fmla="*/ 45343 w 91399"/>
                    <a:gd name="connsiteY11" fmla="*/ 29782 h 42704"/>
                    <a:gd name="connsiteX12" fmla="*/ 78601 w 91399"/>
                    <a:gd name="connsiteY12" fmla="*/ 22580 h 42704"/>
                    <a:gd name="connsiteX13" fmla="*/ 46058 w 91399"/>
                    <a:gd name="connsiteY13" fmla="*/ 12942 h 42704"/>
                    <a:gd name="connsiteX14" fmla="*/ 12880 w 91399"/>
                    <a:gd name="connsiteY14" fmla="*/ 19985 h 42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399" h="42704">
                      <a:moveTo>
                        <a:pt x="49500" y="42704"/>
                      </a:moveTo>
                      <a:cubicBezTo>
                        <a:pt x="47965" y="42704"/>
                        <a:pt x="46403" y="42678"/>
                        <a:pt x="44814" y="42598"/>
                      </a:cubicBezTo>
                      <a:cubicBezTo>
                        <a:pt x="22810" y="41671"/>
                        <a:pt x="-597" y="34019"/>
                        <a:pt x="12" y="19429"/>
                      </a:cubicBezTo>
                      <a:lnTo>
                        <a:pt x="12" y="19429"/>
                      </a:lnTo>
                      <a:cubicBezTo>
                        <a:pt x="170" y="15484"/>
                        <a:pt x="2527" y="8176"/>
                        <a:pt x="16349" y="3595"/>
                      </a:cubicBezTo>
                      <a:cubicBezTo>
                        <a:pt x="24610" y="868"/>
                        <a:pt x="35334" y="-377"/>
                        <a:pt x="46588" y="100"/>
                      </a:cubicBezTo>
                      <a:cubicBezTo>
                        <a:pt x="57841" y="576"/>
                        <a:pt x="68433" y="2721"/>
                        <a:pt x="76429" y="6110"/>
                      </a:cubicBezTo>
                      <a:cubicBezTo>
                        <a:pt x="89828" y="11830"/>
                        <a:pt x="91549" y="19297"/>
                        <a:pt x="91390" y="23269"/>
                      </a:cubicBezTo>
                      <a:cubicBezTo>
                        <a:pt x="91231" y="27214"/>
                        <a:pt x="88874" y="34522"/>
                        <a:pt x="75053" y="39103"/>
                      </a:cubicBezTo>
                      <a:cubicBezTo>
                        <a:pt x="67956" y="41460"/>
                        <a:pt x="59033" y="42704"/>
                        <a:pt x="49500" y="42704"/>
                      </a:cubicBezTo>
                      <a:close/>
                      <a:moveTo>
                        <a:pt x="12880" y="19985"/>
                      </a:moveTo>
                      <a:cubicBezTo>
                        <a:pt x="13992" y="22501"/>
                        <a:pt x="25008" y="28935"/>
                        <a:pt x="45343" y="29782"/>
                      </a:cubicBezTo>
                      <a:cubicBezTo>
                        <a:pt x="66182" y="30630"/>
                        <a:pt x="77727" y="24910"/>
                        <a:pt x="78601" y="22580"/>
                      </a:cubicBezTo>
                      <a:cubicBezTo>
                        <a:pt x="77886" y="20488"/>
                        <a:pt x="66844" y="13816"/>
                        <a:pt x="46058" y="12942"/>
                      </a:cubicBezTo>
                      <a:cubicBezTo>
                        <a:pt x="25749" y="12095"/>
                        <a:pt x="14204" y="17549"/>
                        <a:pt x="12880" y="19985"/>
                      </a:cubicBezTo>
                      <a:close/>
                    </a:path>
                  </a:pathLst>
                </a:custGeom>
                <a:solidFill>
                  <a:schemeClr val="accent1"/>
                </a:solidFill>
                <a:ln w="2647" cap="flat">
                  <a:noFill/>
                  <a:prstDash val="solid"/>
                  <a:miter/>
                </a:ln>
              </p:spPr>
              <p:txBody>
                <a:bodyPr rtlCol="0" anchor="ctr"/>
                <a:lstStyle/>
                <a:p>
                  <a:endParaRPr lang="en-GB" dirty="0"/>
                </a:p>
              </p:txBody>
            </p:sp>
          </p:grpSp>
          <p:sp>
            <p:nvSpPr>
              <p:cNvPr id="63" name="Freihandform: Form 229">
                <a:extLst>
                  <a:ext uri="{FF2B5EF4-FFF2-40B4-BE49-F238E27FC236}">
                    <a16:creationId xmlns:a16="http://schemas.microsoft.com/office/drawing/2014/main" id="{980849AA-004B-4CA1-882C-FBCC5B9EEF0F}"/>
                  </a:ext>
                </a:extLst>
              </p:cNvPr>
              <p:cNvSpPr/>
              <p:nvPr/>
            </p:nvSpPr>
            <p:spPr>
              <a:xfrm>
                <a:off x="2913998" y="2718458"/>
                <a:ext cx="79818" cy="53135"/>
              </a:xfrm>
              <a:custGeom>
                <a:avLst/>
                <a:gdLst>
                  <a:gd name="connsiteX0" fmla="*/ 6427 w 79818"/>
                  <a:gd name="connsiteY0" fmla="*/ 53135 h 53135"/>
                  <a:gd name="connsiteX1" fmla="*/ 919 w 79818"/>
                  <a:gd name="connsiteY1" fmla="*/ 50037 h 53135"/>
                  <a:gd name="connsiteX2" fmla="*/ 3117 w 79818"/>
                  <a:gd name="connsiteY2" fmla="*/ 41220 h 53135"/>
                  <a:gd name="connsiteX3" fmla="*/ 70082 w 79818"/>
                  <a:gd name="connsiteY3" fmla="*/ 919 h 53135"/>
                  <a:gd name="connsiteX4" fmla="*/ 78899 w 79818"/>
                  <a:gd name="connsiteY4" fmla="*/ 3117 h 53135"/>
                  <a:gd name="connsiteX5" fmla="*/ 76702 w 79818"/>
                  <a:gd name="connsiteY5" fmla="*/ 11934 h 53135"/>
                  <a:gd name="connsiteX6" fmla="*/ 9737 w 79818"/>
                  <a:gd name="connsiteY6" fmla="*/ 52235 h 53135"/>
                  <a:gd name="connsiteX7" fmla="*/ 6427 w 79818"/>
                  <a:gd name="connsiteY7" fmla="*/ 53135 h 53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818" h="53135">
                    <a:moveTo>
                      <a:pt x="6427" y="53135"/>
                    </a:moveTo>
                    <a:cubicBezTo>
                      <a:pt x="4256" y="53135"/>
                      <a:pt x="2137" y="52023"/>
                      <a:pt x="919" y="50037"/>
                    </a:cubicBezTo>
                    <a:cubicBezTo>
                      <a:pt x="-908" y="46992"/>
                      <a:pt x="72" y="43047"/>
                      <a:pt x="3117" y="41220"/>
                    </a:cubicBezTo>
                    <a:lnTo>
                      <a:pt x="70082" y="919"/>
                    </a:lnTo>
                    <a:cubicBezTo>
                      <a:pt x="73101" y="-908"/>
                      <a:pt x="77072" y="72"/>
                      <a:pt x="78899" y="3117"/>
                    </a:cubicBezTo>
                    <a:cubicBezTo>
                      <a:pt x="80726" y="6162"/>
                      <a:pt x="79747" y="10107"/>
                      <a:pt x="76702" y="11934"/>
                    </a:cubicBezTo>
                    <a:lnTo>
                      <a:pt x="9737" y="52235"/>
                    </a:lnTo>
                    <a:cubicBezTo>
                      <a:pt x="8704" y="52844"/>
                      <a:pt x="7566" y="53135"/>
                      <a:pt x="6427" y="53135"/>
                    </a:cubicBezTo>
                    <a:close/>
                  </a:path>
                </a:pathLst>
              </a:custGeom>
              <a:solidFill>
                <a:schemeClr val="accent1"/>
              </a:solidFill>
              <a:ln w="2647" cap="flat">
                <a:noFill/>
                <a:prstDash val="solid"/>
                <a:miter/>
              </a:ln>
            </p:spPr>
            <p:txBody>
              <a:bodyPr rtlCol="0" anchor="ctr"/>
              <a:lstStyle/>
              <a:p>
                <a:endParaRPr lang="en-GB" dirty="0"/>
              </a:p>
            </p:txBody>
          </p:sp>
          <p:sp>
            <p:nvSpPr>
              <p:cNvPr id="64" name="Freihandform: Form 230">
                <a:extLst>
                  <a:ext uri="{FF2B5EF4-FFF2-40B4-BE49-F238E27FC236}">
                    <a16:creationId xmlns:a16="http://schemas.microsoft.com/office/drawing/2014/main" id="{F6C6E6EB-16AE-4ACE-BA2C-44A1679F647C}"/>
                  </a:ext>
                </a:extLst>
              </p:cNvPr>
              <p:cNvSpPr/>
              <p:nvPr/>
            </p:nvSpPr>
            <p:spPr>
              <a:xfrm>
                <a:off x="2963866" y="2693133"/>
                <a:ext cx="80992" cy="38743"/>
              </a:xfrm>
              <a:custGeom>
                <a:avLst/>
                <a:gdLst>
                  <a:gd name="connsiteX0" fmla="*/ 37239 w 80992"/>
                  <a:gd name="connsiteY0" fmla="*/ 38743 h 38743"/>
                  <a:gd name="connsiteX1" fmla="*/ 14785 w 80992"/>
                  <a:gd name="connsiteY1" fmla="*/ 35592 h 38743"/>
                  <a:gd name="connsiteX2" fmla="*/ 10 w 80992"/>
                  <a:gd name="connsiteY2" fmla="*/ 21082 h 38743"/>
                  <a:gd name="connsiteX3" fmla="*/ 13488 w 80992"/>
                  <a:gd name="connsiteY3" fmla="*/ 5380 h 38743"/>
                  <a:gd name="connsiteX4" fmla="*/ 39676 w 80992"/>
                  <a:gd name="connsiteY4" fmla="*/ 84 h 38743"/>
                  <a:gd name="connsiteX5" fmla="*/ 80982 w 80992"/>
                  <a:gd name="connsiteY5" fmla="*/ 17666 h 38743"/>
                  <a:gd name="connsiteX6" fmla="*/ 67478 w 80992"/>
                  <a:gd name="connsiteY6" fmla="*/ 33368 h 38743"/>
                  <a:gd name="connsiteX7" fmla="*/ 41291 w 80992"/>
                  <a:gd name="connsiteY7" fmla="*/ 38664 h 38743"/>
                  <a:gd name="connsiteX8" fmla="*/ 37239 w 80992"/>
                  <a:gd name="connsiteY8" fmla="*/ 38743 h 38743"/>
                  <a:gd name="connsiteX9" fmla="*/ 13117 w 80992"/>
                  <a:gd name="connsiteY9" fmla="*/ 20526 h 38743"/>
                  <a:gd name="connsiteX10" fmla="*/ 40814 w 80992"/>
                  <a:gd name="connsiteY10" fmla="*/ 25821 h 38743"/>
                  <a:gd name="connsiteX11" fmla="*/ 67955 w 80992"/>
                  <a:gd name="connsiteY11" fmla="*/ 18222 h 38743"/>
                  <a:gd name="connsiteX12" fmla="*/ 40258 w 80992"/>
                  <a:gd name="connsiteY12" fmla="*/ 12926 h 38743"/>
                  <a:gd name="connsiteX13" fmla="*/ 13117 w 80992"/>
                  <a:gd name="connsiteY13" fmla="*/ 20526 h 38743"/>
                  <a:gd name="connsiteX14" fmla="*/ 12800 w 80992"/>
                  <a:gd name="connsiteY14" fmla="*/ 21002 h 38743"/>
                  <a:gd name="connsiteX15" fmla="*/ 12800 w 80992"/>
                  <a:gd name="connsiteY15" fmla="*/ 21002 h 38743"/>
                  <a:gd name="connsiteX16" fmla="*/ 12800 w 80992"/>
                  <a:gd name="connsiteY16" fmla="*/ 21002 h 38743"/>
                  <a:gd name="connsiteX17" fmla="*/ 12800 w 80992"/>
                  <a:gd name="connsiteY17" fmla="*/ 21002 h 38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992" h="38743">
                    <a:moveTo>
                      <a:pt x="37239" y="38743"/>
                    </a:moveTo>
                    <a:cubicBezTo>
                      <a:pt x="28899" y="38743"/>
                      <a:pt x="21034" y="37658"/>
                      <a:pt x="14785" y="35592"/>
                    </a:cubicBezTo>
                    <a:cubicBezTo>
                      <a:pt x="2288" y="31461"/>
                      <a:pt x="169" y="24736"/>
                      <a:pt x="10" y="21082"/>
                    </a:cubicBezTo>
                    <a:cubicBezTo>
                      <a:pt x="-149" y="17428"/>
                      <a:pt x="1414" y="10543"/>
                      <a:pt x="13488" y="5380"/>
                    </a:cubicBezTo>
                    <a:cubicBezTo>
                      <a:pt x="20505" y="2388"/>
                      <a:pt x="29825" y="508"/>
                      <a:pt x="39676" y="84"/>
                    </a:cubicBezTo>
                    <a:cubicBezTo>
                      <a:pt x="59137" y="-737"/>
                      <a:pt x="80426" y="4400"/>
                      <a:pt x="80982" y="17666"/>
                    </a:cubicBezTo>
                    <a:cubicBezTo>
                      <a:pt x="81141" y="21320"/>
                      <a:pt x="79579" y="28205"/>
                      <a:pt x="67478" y="33368"/>
                    </a:cubicBezTo>
                    <a:cubicBezTo>
                      <a:pt x="60461" y="36360"/>
                      <a:pt x="51141" y="38240"/>
                      <a:pt x="41291" y="38664"/>
                    </a:cubicBezTo>
                    <a:cubicBezTo>
                      <a:pt x="39967" y="38717"/>
                      <a:pt x="38590" y="38743"/>
                      <a:pt x="37239" y="38743"/>
                    </a:cubicBezTo>
                    <a:close/>
                    <a:moveTo>
                      <a:pt x="13117" y="20526"/>
                    </a:moveTo>
                    <a:cubicBezTo>
                      <a:pt x="15236" y="22671"/>
                      <a:pt x="24742" y="26483"/>
                      <a:pt x="40814" y="25821"/>
                    </a:cubicBezTo>
                    <a:cubicBezTo>
                      <a:pt x="56913" y="25133"/>
                      <a:pt x="66022" y="20526"/>
                      <a:pt x="67955" y="18222"/>
                    </a:cubicBezTo>
                    <a:cubicBezTo>
                      <a:pt x="65810" y="16077"/>
                      <a:pt x="56304" y="12238"/>
                      <a:pt x="40258" y="12926"/>
                    </a:cubicBezTo>
                    <a:cubicBezTo>
                      <a:pt x="24159" y="13588"/>
                      <a:pt x="15050" y="18222"/>
                      <a:pt x="13117" y="20526"/>
                    </a:cubicBezTo>
                    <a:close/>
                    <a:moveTo>
                      <a:pt x="12800" y="21002"/>
                    </a:moveTo>
                    <a:lnTo>
                      <a:pt x="12800" y="21002"/>
                    </a:lnTo>
                    <a:lnTo>
                      <a:pt x="12800" y="21002"/>
                    </a:lnTo>
                    <a:lnTo>
                      <a:pt x="12800" y="21002"/>
                    </a:lnTo>
                    <a:close/>
                  </a:path>
                </a:pathLst>
              </a:custGeom>
              <a:solidFill>
                <a:schemeClr val="accent1"/>
              </a:solidFill>
              <a:ln w="2647" cap="flat">
                <a:noFill/>
                <a:prstDash val="solid"/>
                <a:miter/>
              </a:ln>
            </p:spPr>
            <p:txBody>
              <a:bodyPr rtlCol="0" anchor="ctr"/>
              <a:lstStyle/>
              <a:p>
                <a:endParaRPr lang="en-GB" dirty="0"/>
              </a:p>
            </p:txBody>
          </p:sp>
          <p:sp>
            <p:nvSpPr>
              <p:cNvPr id="65" name="Freihandform: Form 231">
                <a:extLst>
                  <a:ext uri="{FF2B5EF4-FFF2-40B4-BE49-F238E27FC236}">
                    <a16:creationId xmlns:a16="http://schemas.microsoft.com/office/drawing/2014/main" id="{1EE67189-B280-4845-BEB6-A1C1A48C41FF}"/>
                  </a:ext>
                </a:extLst>
              </p:cNvPr>
              <p:cNvSpPr/>
              <p:nvPr/>
            </p:nvSpPr>
            <p:spPr>
              <a:xfrm>
                <a:off x="2578519" y="2718439"/>
                <a:ext cx="81366" cy="53684"/>
              </a:xfrm>
              <a:custGeom>
                <a:avLst/>
                <a:gdLst>
                  <a:gd name="connsiteX0" fmla="*/ 74947 w 81366"/>
                  <a:gd name="connsiteY0" fmla="*/ 53684 h 53684"/>
                  <a:gd name="connsiteX1" fmla="*/ 71664 w 81366"/>
                  <a:gd name="connsiteY1" fmla="*/ 52784 h 53684"/>
                  <a:gd name="connsiteX2" fmla="*/ 3137 w 81366"/>
                  <a:gd name="connsiteY2" fmla="*/ 11927 h 53684"/>
                  <a:gd name="connsiteX3" fmla="*/ 912 w 81366"/>
                  <a:gd name="connsiteY3" fmla="*/ 3136 h 53684"/>
                  <a:gd name="connsiteX4" fmla="*/ 9703 w 81366"/>
                  <a:gd name="connsiteY4" fmla="*/ 912 h 53684"/>
                  <a:gd name="connsiteX5" fmla="*/ 78230 w 81366"/>
                  <a:gd name="connsiteY5" fmla="*/ 41769 h 53684"/>
                  <a:gd name="connsiteX6" fmla="*/ 80455 w 81366"/>
                  <a:gd name="connsiteY6" fmla="*/ 50560 h 53684"/>
                  <a:gd name="connsiteX7" fmla="*/ 74947 w 81366"/>
                  <a:gd name="connsiteY7" fmla="*/ 53684 h 5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366" h="53684">
                    <a:moveTo>
                      <a:pt x="74947" y="53684"/>
                    </a:moveTo>
                    <a:cubicBezTo>
                      <a:pt x="73835" y="53684"/>
                      <a:pt x="72696" y="53393"/>
                      <a:pt x="71664" y="52784"/>
                    </a:cubicBezTo>
                    <a:lnTo>
                      <a:pt x="3137" y="11927"/>
                    </a:lnTo>
                    <a:cubicBezTo>
                      <a:pt x="91" y="10100"/>
                      <a:pt x="-915" y="6182"/>
                      <a:pt x="912" y="3136"/>
                    </a:cubicBezTo>
                    <a:cubicBezTo>
                      <a:pt x="2739" y="91"/>
                      <a:pt x="6658" y="-915"/>
                      <a:pt x="9703" y="912"/>
                    </a:cubicBezTo>
                    <a:lnTo>
                      <a:pt x="78230" y="41769"/>
                    </a:lnTo>
                    <a:cubicBezTo>
                      <a:pt x="81275" y="43596"/>
                      <a:pt x="82282" y="47515"/>
                      <a:pt x="80455" y="50560"/>
                    </a:cubicBezTo>
                    <a:cubicBezTo>
                      <a:pt x="79263" y="52572"/>
                      <a:pt x="77145" y="53684"/>
                      <a:pt x="74947" y="53684"/>
                    </a:cubicBezTo>
                    <a:close/>
                  </a:path>
                </a:pathLst>
              </a:custGeom>
              <a:solidFill>
                <a:schemeClr val="accent1"/>
              </a:solidFill>
              <a:ln w="2647" cap="flat">
                <a:noFill/>
                <a:prstDash val="solid"/>
                <a:miter/>
              </a:ln>
            </p:spPr>
            <p:txBody>
              <a:bodyPr rtlCol="0" anchor="ctr"/>
              <a:lstStyle/>
              <a:p>
                <a:endParaRPr lang="en-GB" dirty="0"/>
              </a:p>
            </p:txBody>
          </p:sp>
          <p:sp>
            <p:nvSpPr>
              <p:cNvPr id="66" name="Freihandform: Form 232">
                <a:extLst>
                  <a:ext uri="{FF2B5EF4-FFF2-40B4-BE49-F238E27FC236}">
                    <a16:creationId xmlns:a16="http://schemas.microsoft.com/office/drawing/2014/main" id="{220867D0-C454-4EE7-8976-34AA986A4D08}"/>
                  </a:ext>
                </a:extLst>
              </p:cNvPr>
              <p:cNvSpPr/>
              <p:nvPr/>
            </p:nvSpPr>
            <p:spPr>
              <a:xfrm>
                <a:off x="2527523" y="2693133"/>
                <a:ext cx="81019" cy="38742"/>
              </a:xfrm>
              <a:custGeom>
                <a:avLst/>
                <a:gdLst>
                  <a:gd name="connsiteX0" fmla="*/ 43700 w 81019"/>
                  <a:gd name="connsiteY0" fmla="*/ 38743 h 38742"/>
                  <a:gd name="connsiteX1" fmla="*/ 39702 w 81019"/>
                  <a:gd name="connsiteY1" fmla="*/ 38663 h 38742"/>
                  <a:gd name="connsiteX2" fmla="*/ 13514 w 81019"/>
                  <a:gd name="connsiteY2" fmla="*/ 33368 h 38742"/>
                  <a:gd name="connsiteX3" fmla="*/ 10 w 81019"/>
                  <a:gd name="connsiteY3" fmla="*/ 17666 h 38742"/>
                  <a:gd name="connsiteX4" fmla="*/ 41317 w 81019"/>
                  <a:gd name="connsiteY4" fmla="*/ 84 h 38742"/>
                  <a:gd name="connsiteX5" fmla="*/ 81009 w 81019"/>
                  <a:gd name="connsiteY5" fmla="*/ 21055 h 38742"/>
                  <a:gd name="connsiteX6" fmla="*/ 81009 w 81019"/>
                  <a:gd name="connsiteY6" fmla="*/ 21055 h 38742"/>
                  <a:gd name="connsiteX7" fmla="*/ 43700 w 81019"/>
                  <a:gd name="connsiteY7" fmla="*/ 38743 h 38742"/>
                  <a:gd name="connsiteX8" fmla="*/ 13091 w 81019"/>
                  <a:gd name="connsiteY8" fmla="*/ 18222 h 38742"/>
                  <a:gd name="connsiteX9" fmla="*/ 40232 w 81019"/>
                  <a:gd name="connsiteY9" fmla="*/ 25821 h 38742"/>
                  <a:gd name="connsiteX10" fmla="*/ 67928 w 81019"/>
                  <a:gd name="connsiteY10" fmla="*/ 20525 h 38742"/>
                  <a:gd name="connsiteX11" fmla="*/ 40788 w 81019"/>
                  <a:gd name="connsiteY11" fmla="*/ 12926 h 38742"/>
                  <a:gd name="connsiteX12" fmla="*/ 13091 w 81019"/>
                  <a:gd name="connsiteY12" fmla="*/ 18222 h 38742"/>
                  <a:gd name="connsiteX13" fmla="*/ 74601 w 81019"/>
                  <a:gd name="connsiteY13" fmla="*/ 20817 h 38742"/>
                  <a:gd name="connsiteX14" fmla="*/ 74654 w 81019"/>
                  <a:gd name="connsiteY14" fmla="*/ 20817 h 38742"/>
                  <a:gd name="connsiteX15" fmla="*/ 74601 w 81019"/>
                  <a:gd name="connsiteY15" fmla="*/ 20817 h 3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1019" h="38742">
                    <a:moveTo>
                      <a:pt x="43700" y="38743"/>
                    </a:moveTo>
                    <a:cubicBezTo>
                      <a:pt x="42376" y="38743"/>
                      <a:pt x="41026" y="38716"/>
                      <a:pt x="39702" y="38663"/>
                    </a:cubicBezTo>
                    <a:cubicBezTo>
                      <a:pt x="29852" y="38240"/>
                      <a:pt x="20531" y="36360"/>
                      <a:pt x="13514" y="33368"/>
                    </a:cubicBezTo>
                    <a:cubicBezTo>
                      <a:pt x="1414" y="28204"/>
                      <a:pt x="-149" y="21320"/>
                      <a:pt x="10" y="17666"/>
                    </a:cubicBezTo>
                    <a:cubicBezTo>
                      <a:pt x="566" y="4426"/>
                      <a:pt x="21882" y="-737"/>
                      <a:pt x="41317" y="84"/>
                    </a:cubicBezTo>
                    <a:cubicBezTo>
                      <a:pt x="60806" y="905"/>
                      <a:pt x="81565" y="7816"/>
                      <a:pt x="81009" y="21055"/>
                    </a:cubicBezTo>
                    <a:cubicBezTo>
                      <a:pt x="81009" y="21055"/>
                      <a:pt x="81009" y="21055"/>
                      <a:pt x="81009" y="21055"/>
                    </a:cubicBezTo>
                    <a:cubicBezTo>
                      <a:pt x="80479" y="33421"/>
                      <a:pt x="61997" y="38743"/>
                      <a:pt x="43700" y="38743"/>
                    </a:cubicBezTo>
                    <a:close/>
                    <a:moveTo>
                      <a:pt x="13091" y="18222"/>
                    </a:moveTo>
                    <a:cubicBezTo>
                      <a:pt x="15050" y="20525"/>
                      <a:pt x="24159" y="25159"/>
                      <a:pt x="40232" y="25821"/>
                    </a:cubicBezTo>
                    <a:cubicBezTo>
                      <a:pt x="56251" y="26483"/>
                      <a:pt x="65784" y="22670"/>
                      <a:pt x="67928" y="20525"/>
                    </a:cubicBezTo>
                    <a:cubicBezTo>
                      <a:pt x="65969" y="18222"/>
                      <a:pt x="56887" y="13588"/>
                      <a:pt x="40788" y="12926"/>
                    </a:cubicBezTo>
                    <a:cubicBezTo>
                      <a:pt x="24715" y="12238"/>
                      <a:pt x="15236" y="16077"/>
                      <a:pt x="13091" y="18222"/>
                    </a:cubicBezTo>
                    <a:close/>
                    <a:moveTo>
                      <a:pt x="74601" y="20817"/>
                    </a:moveTo>
                    <a:lnTo>
                      <a:pt x="74654" y="20817"/>
                    </a:lnTo>
                    <a:lnTo>
                      <a:pt x="74601" y="20817"/>
                    </a:lnTo>
                    <a:close/>
                  </a:path>
                </a:pathLst>
              </a:custGeom>
              <a:solidFill>
                <a:schemeClr val="accent1"/>
              </a:solidFill>
              <a:ln w="2647" cap="flat">
                <a:noFill/>
                <a:prstDash val="solid"/>
                <a:miter/>
              </a:ln>
            </p:spPr>
            <p:txBody>
              <a:bodyPr rtlCol="0" anchor="ctr"/>
              <a:lstStyle/>
              <a:p>
                <a:endParaRPr lang="en-GB" dirty="0"/>
              </a:p>
            </p:txBody>
          </p:sp>
        </p:grpSp>
        <p:grpSp>
          <p:nvGrpSpPr>
            <p:cNvPr id="52" name="Grafik 288">
              <a:extLst>
                <a:ext uri="{FF2B5EF4-FFF2-40B4-BE49-F238E27FC236}">
                  <a16:creationId xmlns:a16="http://schemas.microsoft.com/office/drawing/2014/main" id="{E7AA33FC-22F3-45E6-AC1E-9DA0BBE9CD8C}"/>
                </a:ext>
              </a:extLst>
            </p:cNvPr>
            <p:cNvGrpSpPr/>
            <p:nvPr/>
          </p:nvGrpSpPr>
          <p:grpSpPr>
            <a:xfrm>
              <a:off x="1706616" y="1585983"/>
              <a:ext cx="265562" cy="298621"/>
              <a:chOff x="2671929" y="2534688"/>
              <a:chExt cx="228386" cy="256817"/>
            </a:xfrm>
            <a:solidFill>
              <a:schemeClr val="tx2"/>
            </a:solidFill>
          </p:grpSpPr>
          <p:grpSp>
            <p:nvGrpSpPr>
              <p:cNvPr id="53" name="Grafik 288">
                <a:extLst>
                  <a:ext uri="{FF2B5EF4-FFF2-40B4-BE49-F238E27FC236}">
                    <a16:creationId xmlns:a16="http://schemas.microsoft.com/office/drawing/2014/main" id="{549F612E-9A34-4713-8357-2681C3508D4A}"/>
                  </a:ext>
                </a:extLst>
              </p:cNvPr>
              <p:cNvGrpSpPr/>
              <p:nvPr/>
            </p:nvGrpSpPr>
            <p:grpSpPr>
              <a:xfrm>
                <a:off x="2717166" y="2715281"/>
                <a:ext cx="139493" cy="76119"/>
                <a:chOff x="2717166" y="2715281"/>
                <a:chExt cx="139493" cy="76119"/>
              </a:xfrm>
              <a:grpFill/>
            </p:grpSpPr>
            <p:sp>
              <p:nvSpPr>
                <p:cNvPr id="58" name="Freihandform: Form 235">
                  <a:extLst>
                    <a:ext uri="{FF2B5EF4-FFF2-40B4-BE49-F238E27FC236}">
                      <a16:creationId xmlns:a16="http://schemas.microsoft.com/office/drawing/2014/main" id="{BD3A5906-13FA-4CF9-8288-127A3DE60123}"/>
                    </a:ext>
                  </a:extLst>
                </p:cNvPr>
                <p:cNvSpPr/>
                <p:nvPr/>
              </p:nvSpPr>
              <p:spPr>
                <a:xfrm>
                  <a:off x="2779611" y="2715281"/>
                  <a:ext cx="77048" cy="76119"/>
                </a:xfrm>
                <a:custGeom>
                  <a:avLst/>
                  <a:gdLst>
                    <a:gd name="connsiteX0" fmla="*/ 6408 w 77048"/>
                    <a:gd name="connsiteY0" fmla="*/ 76119 h 76119"/>
                    <a:gd name="connsiteX1" fmla="*/ 0 w 77048"/>
                    <a:gd name="connsiteY1" fmla="*/ 69711 h 76119"/>
                    <a:gd name="connsiteX2" fmla="*/ 0 w 77048"/>
                    <a:gd name="connsiteY2" fmla="*/ 47654 h 76119"/>
                    <a:gd name="connsiteX3" fmla="*/ 17449 w 77048"/>
                    <a:gd name="connsiteY3" fmla="*/ 30205 h 76119"/>
                    <a:gd name="connsiteX4" fmla="*/ 61801 w 77048"/>
                    <a:gd name="connsiteY4" fmla="*/ 30205 h 76119"/>
                    <a:gd name="connsiteX5" fmla="*/ 54758 w 77048"/>
                    <a:gd name="connsiteY5" fmla="*/ 8387 h 76119"/>
                    <a:gd name="connsiteX6" fmla="*/ 58889 w 77048"/>
                    <a:gd name="connsiteY6" fmla="*/ 310 h 76119"/>
                    <a:gd name="connsiteX7" fmla="*/ 66965 w 77048"/>
                    <a:gd name="connsiteY7" fmla="*/ 4441 h 76119"/>
                    <a:gd name="connsiteX8" fmla="*/ 76735 w 77048"/>
                    <a:gd name="connsiteY8" fmla="*/ 34653 h 76119"/>
                    <a:gd name="connsiteX9" fmla="*/ 75809 w 77048"/>
                    <a:gd name="connsiteY9" fmla="*/ 40399 h 76119"/>
                    <a:gd name="connsiteX10" fmla="*/ 70619 w 77048"/>
                    <a:gd name="connsiteY10" fmla="*/ 43047 h 76119"/>
                    <a:gd name="connsiteX11" fmla="*/ 17449 w 77048"/>
                    <a:gd name="connsiteY11" fmla="*/ 43047 h 76119"/>
                    <a:gd name="connsiteX12" fmla="*/ 12842 w 77048"/>
                    <a:gd name="connsiteY12" fmla="*/ 47654 h 76119"/>
                    <a:gd name="connsiteX13" fmla="*/ 12842 w 77048"/>
                    <a:gd name="connsiteY13" fmla="*/ 69711 h 76119"/>
                    <a:gd name="connsiteX14" fmla="*/ 6408 w 77048"/>
                    <a:gd name="connsiteY14" fmla="*/ 76119 h 7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048" h="76119">
                      <a:moveTo>
                        <a:pt x="6408" y="76119"/>
                      </a:moveTo>
                      <a:cubicBezTo>
                        <a:pt x="2860" y="76119"/>
                        <a:pt x="0" y="73233"/>
                        <a:pt x="0" y="69711"/>
                      </a:cubicBezTo>
                      <a:lnTo>
                        <a:pt x="0" y="47654"/>
                      </a:lnTo>
                      <a:cubicBezTo>
                        <a:pt x="0" y="38043"/>
                        <a:pt x="7811" y="30205"/>
                        <a:pt x="17449" y="30205"/>
                      </a:cubicBezTo>
                      <a:lnTo>
                        <a:pt x="61801" y="30205"/>
                      </a:lnTo>
                      <a:lnTo>
                        <a:pt x="54758" y="8387"/>
                      </a:lnTo>
                      <a:cubicBezTo>
                        <a:pt x="53672" y="5024"/>
                        <a:pt x="55526" y="1396"/>
                        <a:pt x="58889" y="310"/>
                      </a:cubicBezTo>
                      <a:cubicBezTo>
                        <a:pt x="62304" y="-775"/>
                        <a:pt x="65879" y="1078"/>
                        <a:pt x="66965" y="4441"/>
                      </a:cubicBezTo>
                      <a:lnTo>
                        <a:pt x="76735" y="34653"/>
                      </a:lnTo>
                      <a:cubicBezTo>
                        <a:pt x="77371" y="36613"/>
                        <a:pt x="77027" y="38731"/>
                        <a:pt x="75809" y="40399"/>
                      </a:cubicBezTo>
                      <a:cubicBezTo>
                        <a:pt x="74591" y="42068"/>
                        <a:pt x="72684" y="43047"/>
                        <a:pt x="70619" y="43047"/>
                      </a:cubicBezTo>
                      <a:lnTo>
                        <a:pt x="17449" y="43047"/>
                      </a:lnTo>
                      <a:cubicBezTo>
                        <a:pt x="14908" y="43047"/>
                        <a:pt x="12842" y="45113"/>
                        <a:pt x="12842" y="47654"/>
                      </a:cubicBezTo>
                      <a:lnTo>
                        <a:pt x="12842" y="69711"/>
                      </a:lnTo>
                      <a:cubicBezTo>
                        <a:pt x="12816" y="73260"/>
                        <a:pt x="9956" y="76119"/>
                        <a:pt x="6408" y="76119"/>
                      </a:cubicBezTo>
                      <a:close/>
                    </a:path>
                  </a:pathLst>
                </a:custGeom>
                <a:grpFill/>
                <a:ln w="2647" cap="flat">
                  <a:noFill/>
                  <a:prstDash val="solid"/>
                  <a:miter/>
                </a:ln>
              </p:spPr>
              <p:txBody>
                <a:bodyPr rtlCol="0" anchor="ctr"/>
                <a:lstStyle/>
                <a:p>
                  <a:endParaRPr lang="en-GB" dirty="0"/>
                </a:p>
              </p:txBody>
            </p:sp>
            <p:sp>
              <p:nvSpPr>
                <p:cNvPr id="59" name="Freihandform: Form 236">
                  <a:extLst>
                    <a:ext uri="{FF2B5EF4-FFF2-40B4-BE49-F238E27FC236}">
                      <a16:creationId xmlns:a16="http://schemas.microsoft.com/office/drawing/2014/main" id="{1E947979-6503-4265-B47B-148ED0272968}"/>
                    </a:ext>
                  </a:extLst>
                </p:cNvPr>
                <p:cNvSpPr/>
                <p:nvPr/>
              </p:nvSpPr>
              <p:spPr>
                <a:xfrm>
                  <a:off x="2717166" y="2715551"/>
                  <a:ext cx="75313" cy="75849"/>
                </a:xfrm>
                <a:custGeom>
                  <a:avLst/>
                  <a:gdLst>
                    <a:gd name="connsiteX0" fmla="*/ 68853 w 75313"/>
                    <a:gd name="connsiteY0" fmla="*/ 75849 h 75849"/>
                    <a:gd name="connsiteX1" fmla="*/ 62445 w 75313"/>
                    <a:gd name="connsiteY1" fmla="*/ 69441 h 75849"/>
                    <a:gd name="connsiteX2" fmla="*/ 62445 w 75313"/>
                    <a:gd name="connsiteY2" fmla="*/ 47384 h 75849"/>
                    <a:gd name="connsiteX3" fmla="*/ 57838 w 75313"/>
                    <a:gd name="connsiteY3" fmla="*/ 42777 h 75849"/>
                    <a:gd name="connsiteX4" fmla="*/ 6416 w 75313"/>
                    <a:gd name="connsiteY4" fmla="*/ 42777 h 75849"/>
                    <a:gd name="connsiteX5" fmla="*/ 1306 w 75313"/>
                    <a:gd name="connsiteY5" fmla="*/ 40235 h 75849"/>
                    <a:gd name="connsiteX6" fmla="*/ 247 w 75313"/>
                    <a:gd name="connsiteY6" fmla="*/ 34595 h 75849"/>
                    <a:gd name="connsiteX7" fmla="*/ 8799 w 75313"/>
                    <a:gd name="connsiteY7" fmla="*/ 4648 h 75849"/>
                    <a:gd name="connsiteX8" fmla="*/ 16743 w 75313"/>
                    <a:gd name="connsiteY8" fmla="*/ 252 h 75849"/>
                    <a:gd name="connsiteX9" fmla="*/ 21165 w 75313"/>
                    <a:gd name="connsiteY9" fmla="*/ 8196 h 75849"/>
                    <a:gd name="connsiteX10" fmla="*/ 14942 w 75313"/>
                    <a:gd name="connsiteY10" fmla="*/ 29961 h 75849"/>
                    <a:gd name="connsiteX11" fmla="*/ 57864 w 75313"/>
                    <a:gd name="connsiteY11" fmla="*/ 29961 h 75849"/>
                    <a:gd name="connsiteX12" fmla="*/ 75314 w 75313"/>
                    <a:gd name="connsiteY12" fmla="*/ 47411 h 75849"/>
                    <a:gd name="connsiteX13" fmla="*/ 75314 w 75313"/>
                    <a:gd name="connsiteY13" fmla="*/ 69468 h 75849"/>
                    <a:gd name="connsiteX14" fmla="*/ 68853 w 75313"/>
                    <a:gd name="connsiteY14" fmla="*/ 75849 h 75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313" h="75849">
                      <a:moveTo>
                        <a:pt x="68853" y="75849"/>
                      </a:moveTo>
                      <a:cubicBezTo>
                        <a:pt x="65305" y="75849"/>
                        <a:pt x="62445" y="72963"/>
                        <a:pt x="62445" y="69441"/>
                      </a:cubicBezTo>
                      <a:lnTo>
                        <a:pt x="62445" y="47384"/>
                      </a:lnTo>
                      <a:cubicBezTo>
                        <a:pt x="62445" y="44843"/>
                        <a:pt x="60380" y="42777"/>
                        <a:pt x="57838" y="42777"/>
                      </a:cubicBezTo>
                      <a:lnTo>
                        <a:pt x="6416" y="42777"/>
                      </a:lnTo>
                      <a:cubicBezTo>
                        <a:pt x="4404" y="42777"/>
                        <a:pt x="2497" y="41824"/>
                        <a:pt x="1306" y="40235"/>
                      </a:cubicBezTo>
                      <a:cubicBezTo>
                        <a:pt x="88" y="38620"/>
                        <a:pt x="-309" y="36555"/>
                        <a:pt x="247" y="34595"/>
                      </a:cubicBezTo>
                      <a:lnTo>
                        <a:pt x="8799" y="4648"/>
                      </a:lnTo>
                      <a:cubicBezTo>
                        <a:pt x="9779" y="1232"/>
                        <a:pt x="13354" y="-727"/>
                        <a:pt x="16743" y="252"/>
                      </a:cubicBezTo>
                      <a:cubicBezTo>
                        <a:pt x="20159" y="1232"/>
                        <a:pt x="22118" y="4780"/>
                        <a:pt x="21165" y="8196"/>
                      </a:cubicBezTo>
                      <a:lnTo>
                        <a:pt x="14942" y="29961"/>
                      </a:lnTo>
                      <a:lnTo>
                        <a:pt x="57864" y="29961"/>
                      </a:lnTo>
                      <a:cubicBezTo>
                        <a:pt x="67476" y="29961"/>
                        <a:pt x="75314" y="37799"/>
                        <a:pt x="75314" y="47411"/>
                      </a:cubicBezTo>
                      <a:lnTo>
                        <a:pt x="75314" y="69468"/>
                      </a:lnTo>
                      <a:cubicBezTo>
                        <a:pt x="75261" y="72989"/>
                        <a:pt x="72401" y="75849"/>
                        <a:pt x="68853" y="75849"/>
                      </a:cubicBezTo>
                      <a:close/>
                    </a:path>
                  </a:pathLst>
                </a:custGeom>
                <a:grpFill/>
                <a:ln w="2647" cap="flat">
                  <a:noFill/>
                  <a:prstDash val="solid"/>
                  <a:miter/>
                </a:ln>
              </p:spPr>
              <p:txBody>
                <a:bodyPr rtlCol="0" anchor="ctr"/>
                <a:lstStyle/>
                <a:p>
                  <a:endParaRPr lang="en-GB" dirty="0"/>
                </a:p>
              </p:txBody>
            </p:sp>
          </p:grpSp>
          <p:sp>
            <p:nvSpPr>
              <p:cNvPr id="54" name="Freihandform: Form 237">
                <a:extLst>
                  <a:ext uri="{FF2B5EF4-FFF2-40B4-BE49-F238E27FC236}">
                    <a16:creationId xmlns:a16="http://schemas.microsoft.com/office/drawing/2014/main" id="{95BB3B8A-D6C7-40C6-9E52-6F53A707741B}"/>
                  </a:ext>
                </a:extLst>
              </p:cNvPr>
              <p:cNvSpPr/>
              <p:nvPr/>
            </p:nvSpPr>
            <p:spPr>
              <a:xfrm>
                <a:off x="2773283" y="2650295"/>
                <a:ext cx="25657" cy="12815"/>
              </a:xfrm>
              <a:custGeom>
                <a:avLst/>
                <a:gdLst>
                  <a:gd name="connsiteX0" fmla="*/ 19250 w 25657"/>
                  <a:gd name="connsiteY0" fmla="*/ 12816 h 12815"/>
                  <a:gd name="connsiteX1" fmla="*/ 6408 w 25657"/>
                  <a:gd name="connsiteY1" fmla="*/ 12816 h 12815"/>
                  <a:gd name="connsiteX2" fmla="*/ 0 w 25657"/>
                  <a:gd name="connsiteY2" fmla="*/ 6408 h 12815"/>
                  <a:gd name="connsiteX3" fmla="*/ 6408 w 25657"/>
                  <a:gd name="connsiteY3" fmla="*/ 0 h 12815"/>
                  <a:gd name="connsiteX4" fmla="*/ 19250 w 25657"/>
                  <a:gd name="connsiteY4" fmla="*/ 0 h 12815"/>
                  <a:gd name="connsiteX5" fmla="*/ 25658 w 25657"/>
                  <a:gd name="connsiteY5" fmla="*/ 6408 h 12815"/>
                  <a:gd name="connsiteX6" fmla="*/ 19250 w 25657"/>
                  <a:gd name="connsiteY6" fmla="*/ 12816 h 1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57" h="12815">
                    <a:moveTo>
                      <a:pt x="19250" y="12816"/>
                    </a:moveTo>
                    <a:lnTo>
                      <a:pt x="6408" y="12816"/>
                    </a:lnTo>
                    <a:cubicBezTo>
                      <a:pt x="2860" y="12816"/>
                      <a:pt x="0" y="9930"/>
                      <a:pt x="0" y="6408"/>
                    </a:cubicBezTo>
                    <a:cubicBezTo>
                      <a:pt x="0" y="2860"/>
                      <a:pt x="2860" y="0"/>
                      <a:pt x="6408" y="0"/>
                    </a:cubicBezTo>
                    <a:lnTo>
                      <a:pt x="19250" y="0"/>
                    </a:lnTo>
                    <a:cubicBezTo>
                      <a:pt x="22798" y="0"/>
                      <a:pt x="25658" y="2886"/>
                      <a:pt x="25658" y="6408"/>
                    </a:cubicBezTo>
                    <a:cubicBezTo>
                      <a:pt x="25658" y="9930"/>
                      <a:pt x="22798" y="12816"/>
                      <a:pt x="19250" y="12816"/>
                    </a:cubicBezTo>
                    <a:close/>
                  </a:path>
                </a:pathLst>
              </a:custGeom>
              <a:grpFill/>
              <a:ln w="2647" cap="flat">
                <a:noFill/>
                <a:prstDash val="solid"/>
                <a:miter/>
              </a:ln>
            </p:spPr>
            <p:txBody>
              <a:bodyPr rtlCol="0" anchor="ctr"/>
              <a:lstStyle/>
              <a:p>
                <a:endParaRPr lang="en-GB" dirty="0"/>
              </a:p>
            </p:txBody>
          </p:sp>
          <p:sp>
            <p:nvSpPr>
              <p:cNvPr id="55" name="Freihandform: Form 238">
                <a:extLst>
                  <a:ext uri="{FF2B5EF4-FFF2-40B4-BE49-F238E27FC236}">
                    <a16:creationId xmlns:a16="http://schemas.microsoft.com/office/drawing/2014/main" id="{871F60DA-9DA3-455D-9BE1-80CCE51B88D1}"/>
                  </a:ext>
                </a:extLst>
              </p:cNvPr>
              <p:cNvSpPr/>
              <p:nvPr/>
            </p:nvSpPr>
            <p:spPr>
              <a:xfrm>
                <a:off x="2741164" y="2534688"/>
                <a:ext cx="89868" cy="102737"/>
              </a:xfrm>
              <a:custGeom>
                <a:avLst/>
                <a:gdLst>
                  <a:gd name="connsiteX0" fmla="*/ 44935 w 89868"/>
                  <a:gd name="connsiteY0" fmla="*/ 102738 h 102737"/>
                  <a:gd name="connsiteX1" fmla="*/ 0 w 89868"/>
                  <a:gd name="connsiteY1" fmla="*/ 51369 h 102737"/>
                  <a:gd name="connsiteX2" fmla="*/ 44935 w 89868"/>
                  <a:gd name="connsiteY2" fmla="*/ 0 h 102737"/>
                  <a:gd name="connsiteX3" fmla="*/ 89869 w 89868"/>
                  <a:gd name="connsiteY3" fmla="*/ 51369 h 102737"/>
                  <a:gd name="connsiteX4" fmla="*/ 44935 w 89868"/>
                  <a:gd name="connsiteY4" fmla="*/ 102738 h 102737"/>
                  <a:gd name="connsiteX5" fmla="*/ 44935 w 89868"/>
                  <a:gd name="connsiteY5" fmla="*/ 12869 h 102737"/>
                  <a:gd name="connsiteX6" fmla="*/ 12842 w 89868"/>
                  <a:gd name="connsiteY6" fmla="*/ 51395 h 102737"/>
                  <a:gd name="connsiteX7" fmla="*/ 44935 w 89868"/>
                  <a:gd name="connsiteY7" fmla="*/ 89922 h 102737"/>
                  <a:gd name="connsiteX8" fmla="*/ 77027 w 89868"/>
                  <a:gd name="connsiteY8" fmla="*/ 51395 h 102737"/>
                  <a:gd name="connsiteX9" fmla="*/ 44935 w 89868"/>
                  <a:gd name="connsiteY9" fmla="*/ 12869 h 10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868" h="102737">
                    <a:moveTo>
                      <a:pt x="44935" y="102738"/>
                    </a:moveTo>
                    <a:cubicBezTo>
                      <a:pt x="18059" y="102738"/>
                      <a:pt x="0" y="82111"/>
                      <a:pt x="0" y="51369"/>
                    </a:cubicBezTo>
                    <a:cubicBezTo>
                      <a:pt x="0" y="20653"/>
                      <a:pt x="18059" y="0"/>
                      <a:pt x="44935" y="0"/>
                    </a:cubicBezTo>
                    <a:cubicBezTo>
                      <a:pt x="71810" y="0"/>
                      <a:pt x="89869" y="20627"/>
                      <a:pt x="89869" y="51369"/>
                    </a:cubicBezTo>
                    <a:cubicBezTo>
                      <a:pt x="89869" y="82084"/>
                      <a:pt x="71810" y="102738"/>
                      <a:pt x="44935" y="102738"/>
                    </a:cubicBezTo>
                    <a:close/>
                    <a:moveTo>
                      <a:pt x="44935" y="12869"/>
                    </a:moveTo>
                    <a:cubicBezTo>
                      <a:pt x="21236" y="12869"/>
                      <a:pt x="12842" y="33628"/>
                      <a:pt x="12842" y="51395"/>
                    </a:cubicBezTo>
                    <a:cubicBezTo>
                      <a:pt x="12842" y="69163"/>
                      <a:pt x="21263" y="89922"/>
                      <a:pt x="44935" y="89922"/>
                    </a:cubicBezTo>
                    <a:cubicBezTo>
                      <a:pt x="68633" y="89922"/>
                      <a:pt x="77027" y="69163"/>
                      <a:pt x="77027" y="51395"/>
                    </a:cubicBezTo>
                    <a:cubicBezTo>
                      <a:pt x="77053" y="33601"/>
                      <a:pt x="68633" y="12869"/>
                      <a:pt x="44935" y="12869"/>
                    </a:cubicBezTo>
                    <a:close/>
                  </a:path>
                </a:pathLst>
              </a:custGeom>
              <a:grpFill/>
              <a:ln w="2647" cap="flat">
                <a:noFill/>
                <a:prstDash val="solid"/>
                <a:miter/>
              </a:ln>
            </p:spPr>
            <p:txBody>
              <a:bodyPr rtlCol="0" anchor="ctr"/>
              <a:lstStyle/>
              <a:p>
                <a:endParaRPr lang="en-GB" dirty="0"/>
              </a:p>
            </p:txBody>
          </p:sp>
          <p:sp>
            <p:nvSpPr>
              <p:cNvPr id="56" name="Freihandform: Form 239">
                <a:extLst>
                  <a:ext uri="{FF2B5EF4-FFF2-40B4-BE49-F238E27FC236}">
                    <a16:creationId xmlns:a16="http://schemas.microsoft.com/office/drawing/2014/main" id="{53C5238F-7E19-45EB-8E91-8EBF8B19ADE9}"/>
                  </a:ext>
                </a:extLst>
              </p:cNvPr>
              <p:cNvSpPr/>
              <p:nvPr/>
            </p:nvSpPr>
            <p:spPr>
              <a:xfrm>
                <a:off x="2779690" y="2650268"/>
                <a:ext cx="12815" cy="64184"/>
              </a:xfrm>
              <a:custGeom>
                <a:avLst/>
                <a:gdLst>
                  <a:gd name="connsiteX0" fmla="*/ 6408 w 12815"/>
                  <a:gd name="connsiteY0" fmla="*/ 64185 h 64184"/>
                  <a:gd name="connsiteX1" fmla="*/ 0 w 12815"/>
                  <a:gd name="connsiteY1" fmla="*/ 57777 h 64184"/>
                  <a:gd name="connsiteX2" fmla="*/ 0 w 12815"/>
                  <a:gd name="connsiteY2" fmla="*/ 6408 h 64184"/>
                  <a:gd name="connsiteX3" fmla="*/ 6408 w 12815"/>
                  <a:gd name="connsiteY3" fmla="*/ 0 h 64184"/>
                  <a:gd name="connsiteX4" fmla="*/ 12816 w 12815"/>
                  <a:gd name="connsiteY4" fmla="*/ 6408 h 64184"/>
                  <a:gd name="connsiteX5" fmla="*/ 12816 w 12815"/>
                  <a:gd name="connsiteY5" fmla="*/ 57777 h 64184"/>
                  <a:gd name="connsiteX6" fmla="*/ 6408 w 12815"/>
                  <a:gd name="connsiteY6" fmla="*/ 64185 h 64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 h="64184">
                    <a:moveTo>
                      <a:pt x="6408" y="64185"/>
                    </a:moveTo>
                    <a:cubicBezTo>
                      <a:pt x="2860" y="64185"/>
                      <a:pt x="0" y="61298"/>
                      <a:pt x="0" y="57777"/>
                    </a:cubicBezTo>
                    <a:lnTo>
                      <a:pt x="0" y="6408"/>
                    </a:lnTo>
                    <a:cubicBezTo>
                      <a:pt x="0" y="2860"/>
                      <a:pt x="2860" y="0"/>
                      <a:pt x="6408" y="0"/>
                    </a:cubicBezTo>
                    <a:cubicBezTo>
                      <a:pt x="9956" y="0"/>
                      <a:pt x="12816" y="2886"/>
                      <a:pt x="12816" y="6408"/>
                    </a:cubicBezTo>
                    <a:lnTo>
                      <a:pt x="12816" y="57777"/>
                    </a:lnTo>
                    <a:cubicBezTo>
                      <a:pt x="12842" y="61325"/>
                      <a:pt x="9956" y="64185"/>
                      <a:pt x="6408" y="64185"/>
                    </a:cubicBezTo>
                    <a:close/>
                  </a:path>
                </a:pathLst>
              </a:custGeom>
              <a:grpFill/>
              <a:ln w="2647" cap="flat">
                <a:noFill/>
                <a:prstDash val="solid"/>
                <a:miter/>
              </a:ln>
            </p:spPr>
            <p:txBody>
              <a:bodyPr rtlCol="0" anchor="ctr"/>
              <a:lstStyle/>
              <a:p>
                <a:endParaRPr lang="en-GB" dirty="0"/>
              </a:p>
            </p:txBody>
          </p:sp>
          <p:sp>
            <p:nvSpPr>
              <p:cNvPr id="57" name="Freihandform: Form 240">
                <a:extLst>
                  <a:ext uri="{FF2B5EF4-FFF2-40B4-BE49-F238E27FC236}">
                    <a16:creationId xmlns:a16="http://schemas.microsoft.com/office/drawing/2014/main" id="{9EBF4E4F-E05B-48BB-B039-61F7AB7272DF}"/>
                  </a:ext>
                </a:extLst>
              </p:cNvPr>
              <p:cNvSpPr/>
              <p:nvPr/>
            </p:nvSpPr>
            <p:spPr>
              <a:xfrm>
                <a:off x="2671929" y="2650268"/>
                <a:ext cx="228386" cy="141237"/>
              </a:xfrm>
              <a:custGeom>
                <a:avLst/>
                <a:gdLst>
                  <a:gd name="connsiteX0" fmla="*/ 204065 w 228386"/>
                  <a:gd name="connsiteY0" fmla="*/ 141238 h 141237"/>
                  <a:gd name="connsiteX1" fmla="*/ 24327 w 228386"/>
                  <a:gd name="connsiteY1" fmla="*/ 141238 h 141237"/>
                  <a:gd name="connsiteX2" fmla="*/ 4839 w 228386"/>
                  <a:gd name="connsiteY2" fmla="*/ 132209 h 141237"/>
                  <a:gd name="connsiteX3" fmla="*/ 2138 w 228386"/>
                  <a:gd name="connsiteY3" fmla="*/ 102791 h 141237"/>
                  <a:gd name="connsiteX4" fmla="*/ 22023 w 228386"/>
                  <a:gd name="connsiteY4" fmla="*/ 41254 h 141237"/>
                  <a:gd name="connsiteX5" fmla="*/ 71089 w 228386"/>
                  <a:gd name="connsiteY5" fmla="*/ 0 h 141237"/>
                  <a:gd name="connsiteX6" fmla="*/ 75669 w 228386"/>
                  <a:gd name="connsiteY6" fmla="*/ 0 h 141237"/>
                  <a:gd name="connsiteX7" fmla="*/ 81151 w 228386"/>
                  <a:gd name="connsiteY7" fmla="*/ 3072 h 141237"/>
                  <a:gd name="connsiteX8" fmla="*/ 114011 w 228386"/>
                  <a:gd name="connsiteY8" fmla="*/ 56771 h 141237"/>
                  <a:gd name="connsiteX9" fmla="*/ 147242 w 228386"/>
                  <a:gd name="connsiteY9" fmla="*/ 3072 h 141237"/>
                  <a:gd name="connsiteX10" fmla="*/ 152723 w 228386"/>
                  <a:gd name="connsiteY10" fmla="*/ 0 h 141237"/>
                  <a:gd name="connsiteX11" fmla="*/ 157304 w 228386"/>
                  <a:gd name="connsiteY11" fmla="*/ 0 h 141237"/>
                  <a:gd name="connsiteX12" fmla="*/ 206316 w 228386"/>
                  <a:gd name="connsiteY12" fmla="*/ 41069 h 141237"/>
                  <a:gd name="connsiteX13" fmla="*/ 226228 w 228386"/>
                  <a:gd name="connsiteY13" fmla="*/ 102738 h 141237"/>
                  <a:gd name="connsiteX14" fmla="*/ 223554 w 228386"/>
                  <a:gd name="connsiteY14" fmla="*/ 132182 h 141237"/>
                  <a:gd name="connsiteX15" fmla="*/ 204065 w 228386"/>
                  <a:gd name="connsiteY15" fmla="*/ 141238 h 141237"/>
                  <a:gd name="connsiteX16" fmla="*/ 71089 w 228386"/>
                  <a:gd name="connsiteY16" fmla="*/ 12842 h 141237"/>
                  <a:gd name="connsiteX17" fmla="*/ 34177 w 228386"/>
                  <a:gd name="connsiteY17" fmla="*/ 45385 h 141237"/>
                  <a:gd name="connsiteX18" fmla="*/ 14371 w 228386"/>
                  <a:gd name="connsiteY18" fmla="*/ 106709 h 141237"/>
                  <a:gd name="connsiteX19" fmla="*/ 15192 w 228386"/>
                  <a:gd name="connsiteY19" fmla="*/ 124609 h 141237"/>
                  <a:gd name="connsiteX20" fmla="*/ 24301 w 228386"/>
                  <a:gd name="connsiteY20" fmla="*/ 128396 h 141237"/>
                  <a:gd name="connsiteX21" fmla="*/ 204039 w 228386"/>
                  <a:gd name="connsiteY21" fmla="*/ 128396 h 141237"/>
                  <a:gd name="connsiteX22" fmla="*/ 213147 w 228386"/>
                  <a:gd name="connsiteY22" fmla="*/ 124609 h 141237"/>
                  <a:gd name="connsiteX23" fmla="*/ 213968 w 228386"/>
                  <a:gd name="connsiteY23" fmla="*/ 106657 h 141237"/>
                  <a:gd name="connsiteX24" fmla="*/ 194135 w 228386"/>
                  <a:gd name="connsiteY24" fmla="*/ 45199 h 141237"/>
                  <a:gd name="connsiteX25" fmla="*/ 157277 w 228386"/>
                  <a:gd name="connsiteY25" fmla="*/ 12842 h 141237"/>
                  <a:gd name="connsiteX26" fmla="*/ 156297 w 228386"/>
                  <a:gd name="connsiteY26" fmla="*/ 12842 h 141237"/>
                  <a:gd name="connsiteX27" fmla="*/ 125317 w 228386"/>
                  <a:gd name="connsiteY27" fmla="*/ 63470 h 141237"/>
                  <a:gd name="connsiteX28" fmla="*/ 114196 w 228386"/>
                  <a:gd name="connsiteY28" fmla="*/ 69904 h 141237"/>
                  <a:gd name="connsiteX29" fmla="*/ 114196 w 228386"/>
                  <a:gd name="connsiteY29" fmla="*/ 69904 h 141237"/>
                  <a:gd name="connsiteX30" fmla="*/ 102890 w 228386"/>
                  <a:gd name="connsiteY30" fmla="*/ 63152 h 141237"/>
                  <a:gd name="connsiteX31" fmla="*/ 72068 w 228386"/>
                  <a:gd name="connsiteY31" fmla="*/ 12842 h 141237"/>
                  <a:gd name="connsiteX32" fmla="*/ 71089 w 228386"/>
                  <a:gd name="connsiteY32" fmla="*/ 12842 h 1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8386" h="141237">
                    <a:moveTo>
                      <a:pt x="204065" y="141238"/>
                    </a:moveTo>
                    <a:lnTo>
                      <a:pt x="24327" y="141238"/>
                    </a:lnTo>
                    <a:cubicBezTo>
                      <a:pt x="13709" y="141238"/>
                      <a:pt x="7857" y="136313"/>
                      <a:pt x="4839" y="132209"/>
                    </a:cubicBezTo>
                    <a:cubicBezTo>
                      <a:pt x="-484" y="124953"/>
                      <a:pt x="-1463" y="114229"/>
                      <a:pt x="2138" y="102791"/>
                    </a:cubicBezTo>
                    <a:lnTo>
                      <a:pt x="22023" y="41254"/>
                    </a:lnTo>
                    <a:cubicBezTo>
                      <a:pt x="31768" y="13822"/>
                      <a:pt x="48237" y="0"/>
                      <a:pt x="71089" y="0"/>
                    </a:cubicBezTo>
                    <a:lnTo>
                      <a:pt x="75669" y="0"/>
                    </a:lnTo>
                    <a:cubicBezTo>
                      <a:pt x="77894" y="0"/>
                      <a:pt x="79986" y="1165"/>
                      <a:pt x="81151" y="3072"/>
                    </a:cubicBezTo>
                    <a:lnTo>
                      <a:pt x="114011" y="56771"/>
                    </a:lnTo>
                    <a:lnTo>
                      <a:pt x="147242" y="3072"/>
                    </a:lnTo>
                    <a:cubicBezTo>
                      <a:pt x="148407" y="1165"/>
                      <a:pt x="150472" y="0"/>
                      <a:pt x="152723" y="0"/>
                    </a:cubicBezTo>
                    <a:lnTo>
                      <a:pt x="157304" y="0"/>
                    </a:lnTo>
                    <a:cubicBezTo>
                      <a:pt x="180155" y="0"/>
                      <a:pt x="196625" y="13822"/>
                      <a:pt x="206316" y="41069"/>
                    </a:cubicBezTo>
                    <a:lnTo>
                      <a:pt x="226228" y="102738"/>
                    </a:lnTo>
                    <a:cubicBezTo>
                      <a:pt x="229856" y="114203"/>
                      <a:pt x="228876" y="124927"/>
                      <a:pt x="223554" y="132182"/>
                    </a:cubicBezTo>
                    <a:cubicBezTo>
                      <a:pt x="220508" y="136313"/>
                      <a:pt x="214683" y="141238"/>
                      <a:pt x="204065" y="141238"/>
                    </a:cubicBezTo>
                    <a:close/>
                    <a:moveTo>
                      <a:pt x="71089" y="12842"/>
                    </a:moveTo>
                    <a:cubicBezTo>
                      <a:pt x="53798" y="12842"/>
                      <a:pt x="42068" y="23169"/>
                      <a:pt x="34177" y="45385"/>
                    </a:cubicBezTo>
                    <a:lnTo>
                      <a:pt x="14371" y="106709"/>
                    </a:lnTo>
                    <a:cubicBezTo>
                      <a:pt x="12094" y="113938"/>
                      <a:pt x="12412" y="120823"/>
                      <a:pt x="15192" y="124609"/>
                    </a:cubicBezTo>
                    <a:cubicBezTo>
                      <a:pt x="17072" y="127151"/>
                      <a:pt x="20038" y="128396"/>
                      <a:pt x="24301" y="128396"/>
                    </a:cubicBezTo>
                    <a:lnTo>
                      <a:pt x="204039" y="128396"/>
                    </a:lnTo>
                    <a:cubicBezTo>
                      <a:pt x="208302" y="128396"/>
                      <a:pt x="211294" y="127151"/>
                      <a:pt x="213147" y="124609"/>
                    </a:cubicBezTo>
                    <a:cubicBezTo>
                      <a:pt x="215928" y="120796"/>
                      <a:pt x="216245" y="113912"/>
                      <a:pt x="213968" y="106657"/>
                    </a:cubicBezTo>
                    <a:lnTo>
                      <a:pt x="194135" y="45199"/>
                    </a:lnTo>
                    <a:cubicBezTo>
                      <a:pt x="186298" y="23169"/>
                      <a:pt x="174568" y="12842"/>
                      <a:pt x="157277" y="12842"/>
                    </a:cubicBezTo>
                    <a:lnTo>
                      <a:pt x="156297" y="12842"/>
                    </a:lnTo>
                    <a:lnTo>
                      <a:pt x="125317" y="63470"/>
                    </a:lnTo>
                    <a:cubicBezTo>
                      <a:pt x="123252" y="67336"/>
                      <a:pt x="118909" y="69904"/>
                      <a:pt x="114196" y="69904"/>
                    </a:cubicBezTo>
                    <a:lnTo>
                      <a:pt x="114196" y="69904"/>
                    </a:lnTo>
                    <a:cubicBezTo>
                      <a:pt x="109456" y="69904"/>
                      <a:pt x="105140" y="67309"/>
                      <a:pt x="102890" y="63152"/>
                    </a:cubicBezTo>
                    <a:lnTo>
                      <a:pt x="72068" y="12842"/>
                    </a:lnTo>
                    <a:lnTo>
                      <a:pt x="71089" y="12842"/>
                    </a:lnTo>
                    <a:close/>
                  </a:path>
                </a:pathLst>
              </a:custGeom>
              <a:grpFill/>
              <a:ln w="2647" cap="flat">
                <a:noFill/>
                <a:prstDash val="solid"/>
                <a:miter/>
              </a:ln>
            </p:spPr>
            <p:txBody>
              <a:bodyPr rtlCol="0" anchor="ctr"/>
              <a:lstStyle/>
              <a:p>
                <a:endParaRPr lang="en-GB" dirty="0"/>
              </a:p>
            </p:txBody>
          </p:sp>
        </p:grpSp>
      </p:grpSp>
      <p:grpSp>
        <p:nvGrpSpPr>
          <p:cNvPr id="4" name="Group 3">
            <a:extLst>
              <a:ext uri="{FF2B5EF4-FFF2-40B4-BE49-F238E27FC236}">
                <a16:creationId xmlns:a16="http://schemas.microsoft.com/office/drawing/2014/main" id="{92B2E33A-356C-16CE-F8C5-6A8813C62EDA}"/>
              </a:ext>
            </a:extLst>
          </p:cNvPr>
          <p:cNvGrpSpPr/>
          <p:nvPr/>
        </p:nvGrpSpPr>
        <p:grpSpPr>
          <a:xfrm>
            <a:off x="536593" y="1585984"/>
            <a:ext cx="514914" cy="432000"/>
            <a:chOff x="536593" y="1585984"/>
            <a:chExt cx="514914" cy="432000"/>
          </a:xfrm>
        </p:grpSpPr>
        <p:grpSp>
          <p:nvGrpSpPr>
            <p:cNvPr id="72" name="Group 71">
              <a:extLst>
                <a:ext uri="{FF2B5EF4-FFF2-40B4-BE49-F238E27FC236}">
                  <a16:creationId xmlns:a16="http://schemas.microsoft.com/office/drawing/2014/main" id="{261FD489-75F8-4F44-BD95-A7990F2F8490}"/>
                </a:ext>
              </a:extLst>
            </p:cNvPr>
            <p:cNvGrpSpPr/>
            <p:nvPr/>
          </p:nvGrpSpPr>
          <p:grpSpPr>
            <a:xfrm>
              <a:off x="536593" y="1626868"/>
              <a:ext cx="204273" cy="391116"/>
              <a:chOff x="872583" y="1671692"/>
              <a:chExt cx="224645" cy="430121"/>
            </a:xfrm>
            <a:solidFill>
              <a:schemeClr val="tx2"/>
            </a:solidFill>
          </p:grpSpPr>
          <p:grpSp>
            <p:nvGrpSpPr>
              <p:cNvPr id="85" name="Grafik 288">
                <a:extLst>
                  <a:ext uri="{FF2B5EF4-FFF2-40B4-BE49-F238E27FC236}">
                    <a16:creationId xmlns:a16="http://schemas.microsoft.com/office/drawing/2014/main" id="{9EE287F0-36A2-4D4A-8FA4-1A9555657C26}"/>
                  </a:ext>
                </a:extLst>
              </p:cNvPr>
              <p:cNvGrpSpPr/>
              <p:nvPr/>
            </p:nvGrpSpPr>
            <p:grpSpPr>
              <a:xfrm>
                <a:off x="872583" y="1671692"/>
                <a:ext cx="211989" cy="430121"/>
                <a:chOff x="872583" y="1671692"/>
                <a:chExt cx="211989" cy="430121"/>
              </a:xfrm>
              <a:grpFill/>
            </p:grpSpPr>
            <p:grpSp>
              <p:nvGrpSpPr>
                <p:cNvPr id="87" name="Grafik 288">
                  <a:extLst>
                    <a:ext uri="{FF2B5EF4-FFF2-40B4-BE49-F238E27FC236}">
                      <a16:creationId xmlns:a16="http://schemas.microsoft.com/office/drawing/2014/main" id="{5C39C1D0-6BD3-4BEF-BABA-835D70074FC7}"/>
                    </a:ext>
                  </a:extLst>
                </p:cNvPr>
                <p:cNvGrpSpPr/>
                <p:nvPr/>
              </p:nvGrpSpPr>
              <p:grpSpPr>
                <a:xfrm>
                  <a:off x="962478" y="1671692"/>
                  <a:ext cx="122093" cy="430121"/>
                  <a:chOff x="962478" y="1671692"/>
                  <a:chExt cx="122093" cy="430121"/>
                </a:xfrm>
                <a:grpFill/>
              </p:grpSpPr>
              <p:sp>
                <p:nvSpPr>
                  <p:cNvPr id="92" name="Freihandform: Form 92">
                    <a:extLst>
                      <a:ext uri="{FF2B5EF4-FFF2-40B4-BE49-F238E27FC236}">
                        <a16:creationId xmlns:a16="http://schemas.microsoft.com/office/drawing/2014/main" id="{2E1F07E1-B5C4-4943-A4C4-9E3C9D9417DB}"/>
                      </a:ext>
                    </a:extLst>
                  </p:cNvPr>
                  <p:cNvSpPr/>
                  <p:nvPr/>
                </p:nvSpPr>
                <p:spPr>
                  <a:xfrm>
                    <a:off x="962478" y="1774430"/>
                    <a:ext cx="109119" cy="198987"/>
                  </a:xfrm>
                  <a:custGeom>
                    <a:avLst/>
                    <a:gdLst>
                      <a:gd name="connsiteX0" fmla="*/ 12816 w 109119"/>
                      <a:gd name="connsiteY0" fmla="*/ 198988 h 198987"/>
                      <a:gd name="connsiteX1" fmla="*/ 6408 w 109119"/>
                      <a:gd name="connsiteY1" fmla="*/ 198988 h 198987"/>
                      <a:gd name="connsiteX2" fmla="*/ 0 w 109119"/>
                      <a:gd name="connsiteY2" fmla="*/ 192580 h 198987"/>
                      <a:gd name="connsiteX3" fmla="*/ 0 w 109119"/>
                      <a:gd name="connsiteY3" fmla="*/ 68659 h 198987"/>
                      <a:gd name="connsiteX4" fmla="*/ 69772 w 109119"/>
                      <a:gd name="connsiteY4" fmla="*/ 0 h 198987"/>
                      <a:gd name="connsiteX5" fmla="*/ 102711 w 109119"/>
                      <a:gd name="connsiteY5" fmla="*/ 0 h 198987"/>
                      <a:gd name="connsiteX6" fmla="*/ 109119 w 109119"/>
                      <a:gd name="connsiteY6" fmla="*/ 6408 h 198987"/>
                      <a:gd name="connsiteX7" fmla="*/ 102711 w 109119"/>
                      <a:gd name="connsiteY7" fmla="*/ 12816 h 198987"/>
                      <a:gd name="connsiteX8" fmla="*/ 69745 w 109119"/>
                      <a:gd name="connsiteY8" fmla="*/ 12816 h 198987"/>
                      <a:gd name="connsiteX9" fmla="*/ 12816 w 109119"/>
                      <a:gd name="connsiteY9" fmla="*/ 68659 h 198987"/>
                      <a:gd name="connsiteX10" fmla="*/ 12816 w 109119"/>
                      <a:gd name="connsiteY10" fmla="*/ 186146 h 198987"/>
                      <a:gd name="connsiteX11" fmla="*/ 19224 w 109119"/>
                      <a:gd name="connsiteY11" fmla="*/ 192554 h 198987"/>
                      <a:gd name="connsiteX12" fmla="*/ 12816 w 109119"/>
                      <a:gd name="connsiteY12" fmla="*/ 198988 h 198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9119" h="198987">
                        <a:moveTo>
                          <a:pt x="12816" y="198988"/>
                        </a:moveTo>
                        <a:lnTo>
                          <a:pt x="6408" y="198988"/>
                        </a:lnTo>
                        <a:cubicBezTo>
                          <a:pt x="2860" y="198988"/>
                          <a:pt x="0" y="196102"/>
                          <a:pt x="0" y="192580"/>
                        </a:cubicBezTo>
                        <a:lnTo>
                          <a:pt x="0" y="68659"/>
                        </a:lnTo>
                        <a:cubicBezTo>
                          <a:pt x="0" y="30795"/>
                          <a:pt x="31298" y="0"/>
                          <a:pt x="69772" y="0"/>
                        </a:cubicBezTo>
                        <a:lnTo>
                          <a:pt x="102711" y="0"/>
                        </a:lnTo>
                        <a:cubicBezTo>
                          <a:pt x="106259" y="0"/>
                          <a:pt x="109119" y="2886"/>
                          <a:pt x="109119" y="6408"/>
                        </a:cubicBezTo>
                        <a:cubicBezTo>
                          <a:pt x="109119" y="9956"/>
                          <a:pt x="106233" y="12816"/>
                          <a:pt x="102711" y="12816"/>
                        </a:cubicBezTo>
                        <a:lnTo>
                          <a:pt x="69745" y="12816"/>
                        </a:lnTo>
                        <a:cubicBezTo>
                          <a:pt x="38341" y="12816"/>
                          <a:pt x="12816" y="37865"/>
                          <a:pt x="12816" y="68659"/>
                        </a:cubicBezTo>
                        <a:lnTo>
                          <a:pt x="12816" y="186146"/>
                        </a:lnTo>
                        <a:cubicBezTo>
                          <a:pt x="16364" y="186146"/>
                          <a:pt x="19224" y="189032"/>
                          <a:pt x="19224" y="192554"/>
                        </a:cubicBezTo>
                        <a:cubicBezTo>
                          <a:pt x="19224" y="196102"/>
                          <a:pt x="16337" y="198988"/>
                          <a:pt x="12816" y="198988"/>
                        </a:cubicBezTo>
                        <a:close/>
                      </a:path>
                    </a:pathLst>
                  </a:custGeom>
                  <a:grpFill/>
                  <a:ln w="2647" cap="flat">
                    <a:noFill/>
                    <a:prstDash val="solid"/>
                    <a:miter/>
                  </a:ln>
                </p:spPr>
                <p:txBody>
                  <a:bodyPr rtlCol="0" anchor="ctr"/>
                  <a:lstStyle/>
                  <a:p>
                    <a:endParaRPr lang="en-GB" dirty="0"/>
                  </a:p>
                </p:txBody>
              </p:sp>
              <p:sp>
                <p:nvSpPr>
                  <p:cNvPr id="93" name="Freihandform: Form 93">
                    <a:extLst>
                      <a:ext uri="{FF2B5EF4-FFF2-40B4-BE49-F238E27FC236}">
                        <a16:creationId xmlns:a16="http://schemas.microsoft.com/office/drawing/2014/main" id="{EFD7C2E6-1E5B-4E8E-800F-1BEFF012EDC3}"/>
                      </a:ext>
                    </a:extLst>
                  </p:cNvPr>
                  <p:cNvSpPr/>
                  <p:nvPr/>
                </p:nvSpPr>
                <p:spPr>
                  <a:xfrm>
                    <a:off x="988136" y="1857891"/>
                    <a:ext cx="19223" cy="243922"/>
                  </a:xfrm>
                  <a:custGeom>
                    <a:avLst/>
                    <a:gdLst>
                      <a:gd name="connsiteX0" fmla="*/ 12816 w 19223"/>
                      <a:gd name="connsiteY0" fmla="*/ 243922 h 243922"/>
                      <a:gd name="connsiteX1" fmla="*/ 6408 w 19223"/>
                      <a:gd name="connsiteY1" fmla="*/ 237515 h 243922"/>
                      <a:gd name="connsiteX2" fmla="*/ 6408 w 19223"/>
                      <a:gd name="connsiteY2" fmla="*/ 12816 h 243922"/>
                      <a:gd name="connsiteX3" fmla="*/ 0 w 19223"/>
                      <a:gd name="connsiteY3" fmla="*/ 6408 h 243922"/>
                      <a:gd name="connsiteX4" fmla="*/ 6408 w 19223"/>
                      <a:gd name="connsiteY4" fmla="*/ 0 h 243922"/>
                      <a:gd name="connsiteX5" fmla="*/ 12816 w 19223"/>
                      <a:gd name="connsiteY5" fmla="*/ 0 h 243922"/>
                      <a:gd name="connsiteX6" fmla="*/ 19224 w 19223"/>
                      <a:gd name="connsiteY6" fmla="*/ 6408 h 243922"/>
                      <a:gd name="connsiteX7" fmla="*/ 19224 w 19223"/>
                      <a:gd name="connsiteY7" fmla="*/ 237515 h 243922"/>
                      <a:gd name="connsiteX8" fmla="*/ 12816 w 19223"/>
                      <a:gd name="connsiteY8" fmla="*/ 243922 h 24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23" h="243922">
                        <a:moveTo>
                          <a:pt x="12816" y="243922"/>
                        </a:moveTo>
                        <a:cubicBezTo>
                          <a:pt x="9268" y="243922"/>
                          <a:pt x="6408" y="241036"/>
                          <a:pt x="6408" y="237515"/>
                        </a:cubicBezTo>
                        <a:lnTo>
                          <a:pt x="6408" y="12816"/>
                        </a:lnTo>
                        <a:cubicBezTo>
                          <a:pt x="2860" y="12816"/>
                          <a:pt x="0" y="9930"/>
                          <a:pt x="0" y="6408"/>
                        </a:cubicBezTo>
                        <a:cubicBezTo>
                          <a:pt x="0" y="2886"/>
                          <a:pt x="2886" y="0"/>
                          <a:pt x="6408" y="0"/>
                        </a:cubicBezTo>
                        <a:lnTo>
                          <a:pt x="12816" y="0"/>
                        </a:lnTo>
                        <a:cubicBezTo>
                          <a:pt x="16364" y="0"/>
                          <a:pt x="19224" y="2886"/>
                          <a:pt x="19224" y="6408"/>
                        </a:cubicBezTo>
                        <a:lnTo>
                          <a:pt x="19224" y="237515"/>
                        </a:lnTo>
                        <a:cubicBezTo>
                          <a:pt x="19250" y="241036"/>
                          <a:pt x="16364" y="243922"/>
                          <a:pt x="12816" y="243922"/>
                        </a:cubicBezTo>
                        <a:close/>
                      </a:path>
                    </a:pathLst>
                  </a:custGeom>
                  <a:grpFill/>
                  <a:ln w="2647" cap="flat">
                    <a:noFill/>
                    <a:prstDash val="solid"/>
                    <a:miter/>
                  </a:ln>
                </p:spPr>
                <p:txBody>
                  <a:bodyPr rtlCol="0" anchor="ctr"/>
                  <a:lstStyle/>
                  <a:p>
                    <a:endParaRPr lang="en-GB" dirty="0"/>
                  </a:p>
                </p:txBody>
              </p:sp>
              <p:sp>
                <p:nvSpPr>
                  <p:cNvPr id="94" name="Freihandform: Form 94">
                    <a:extLst>
                      <a:ext uri="{FF2B5EF4-FFF2-40B4-BE49-F238E27FC236}">
                        <a16:creationId xmlns:a16="http://schemas.microsoft.com/office/drawing/2014/main" id="{2D539064-C73A-4111-AC4E-9A5B6DE4ECEA}"/>
                      </a:ext>
                    </a:extLst>
                  </p:cNvPr>
                  <p:cNvSpPr/>
                  <p:nvPr/>
                </p:nvSpPr>
                <p:spPr>
                  <a:xfrm>
                    <a:off x="1039637" y="1967036"/>
                    <a:ext cx="12815" cy="134776"/>
                  </a:xfrm>
                  <a:custGeom>
                    <a:avLst/>
                    <a:gdLst>
                      <a:gd name="connsiteX0" fmla="*/ 6408 w 12815"/>
                      <a:gd name="connsiteY0" fmla="*/ 134777 h 134776"/>
                      <a:gd name="connsiteX1" fmla="*/ 0 w 12815"/>
                      <a:gd name="connsiteY1" fmla="*/ 128369 h 134776"/>
                      <a:gd name="connsiteX2" fmla="*/ 0 w 12815"/>
                      <a:gd name="connsiteY2" fmla="*/ 6408 h 134776"/>
                      <a:gd name="connsiteX3" fmla="*/ 6408 w 12815"/>
                      <a:gd name="connsiteY3" fmla="*/ 0 h 134776"/>
                      <a:gd name="connsiteX4" fmla="*/ 12816 w 12815"/>
                      <a:gd name="connsiteY4" fmla="*/ 6408 h 134776"/>
                      <a:gd name="connsiteX5" fmla="*/ 12816 w 12815"/>
                      <a:gd name="connsiteY5" fmla="*/ 128369 h 134776"/>
                      <a:gd name="connsiteX6" fmla="*/ 6408 w 12815"/>
                      <a:gd name="connsiteY6" fmla="*/ 134777 h 13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 h="134776">
                        <a:moveTo>
                          <a:pt x="6408" y="134777"/>
                        </a:moveTo>
                        <a:cubicBezTo>
                          <a:pt x="2860" y="134777"/>
                          <a:pt x="0" y="131891"/>
                          <a:pt x="0" y="128369"/>
                        </a:cubicBezTo>
                        <a:lnTo>
                          <a:pt x="0" y="6408"/>
                        </a:lnTo>
                        <a:cubicBezTo>
                          <a:pt x="0" y="2860"/>
                          <a:pt x="2886" y="0"/>
                          <a:pt x="6408" y="0"/>
                        </a:cubicBezTo>
                        <a:cubicBezTo>
                          <a:pt x="9956" y="0"/>
                          <a:pt x="12816" y="2886"/>
                          <a:pt x="12816" y="6408"/>
                        </a:cubicBezTo>
                        <a:lnTo>
                          <a:pt x="12816" y="128369"/>
                        </a:lnTo>
                        <a:cubicBezTo>
                          <a:pt x="12816" y="131891"/>
                          <a:pt x="9956" y="134777"/>
                          <a:pt x="6408" y="134777"/>
                        </a:cubicBezTo>
                        <a:close/>
                      </a:path>
                    </a:pathLst>
                  </a:custGeom>
                  <a:grpFill/>
                  <a:ln w="2647" cap="flat">
                    <a:noFill/>
                    <a:prstDash val="solid"/>
                    <a:miter/>
                  </a:ln>
                </p:spPr>
                <p:txBody>
                  <a:bodyPr rtlCol="0" anchor="ctr"/>
                  <a:lstStyle/>
                  <a:p>
                    <a:endParaRPr lang="en-GB" dirty="0"/>
                  </a:p>
                </p:txBody>
              </p:sp>
              <p:sp>
                <p:nvSpPr>
                  <p:cNvPr id="95" name="Freihandform: Form 95">
                    <a:extLst>
                      <a:ext uri="{FF2B5EF4-FFF2-40B4-BE49-F238E27FC236}">
                        <a16:creationId xmlns:a16="http://schemas.microsoft.com/office/drawing/2014/main" id="{24DD998A-2B7E-4549-BFCF-695D0622408D}"/>
                      </a:ext>
                    </a:extLst>
                  </p:cNvPr>
                  <p:cNvSpPr/>
                  <p:nvPr/>
                </p:nvSpPr>
                <p:spPr>
                  <a:xfrm>
                    <a:off x="1007519" y="1671692"/>
                    <a:ext cx="77053" cy="89868"/>
                  </a:xfrm>
                  <a:custGeom>
                    <a:avLst/>
                    <a:gdLst>
                      <a:gd name="connsiteX0" fmla="*/ 38527 w 77053"/>
                      <a:gd name="connsiteY0" fmla="*/ 89869 h 89868"/>
                      <a:gd name="connsiteX1" fmla="*/ 0 w 77053"/>
                      <a:gd name="connsiteY1" fmla="*/ 44934 h 89868"/>
                      <a:gd name="connsiteX2" fmla="*/ 38527 w 77053"/>
                      <a:gd name="connsiteY2" fmla="*/ 0 h 89868"/>
                      <a:gd name="connsiteX3" fmla="*/ 77053 w 77053"/>
                      <a:gd name="connsiteY3" fmla="*/ 44934 h 89868"/>
                      <a:gd name="connsiteX4" fmla="*/ 38527 w 77053"/>
                      <a:gd name="connsiteY4" fmla="*/ 89869 h 89868"/>
                      <a:gd name="connsiteX5" fmla="*/ 38527 w 77053"/>
                      <a:gd name="connsiteY5" fmla="*/ 12842 h 89868"/>
                      <a:gd name="connsiteX6" fmla="*/ 12842 w 77053"/>
                      <a:gd name="connsiteY6" fmla="*/ 44934 h 89868"/>
                      <a:gd name="connsiteX7" fmla="*/ 38527 w 77053"/>
                      <a:gd name="connsiteY7" fmla="*/ 77027 h 89868"/>
                      <a:gd name="connsiteX8" fmla="*/ 64211 w 77053"/>
                      <a:gd name="connsiteY8" fmla="*/ 44934 h 89868"/>
                      <a:gd name="connsiteX9" fmla="*/ 38527 w 77053"/>
                      <a:gd name="connsiteY9" fmla="*/ 12842 h 89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53" h="89868">
                        <a:moveTo>
                          <a:pt x="38527" y="89869"/>
                        </a:moveTo>
                        <a:cubicBezTo>
                          <a:pt x="15490" y="89869"/>
                          <a:pt x="0" y="71810"/>
                          <a:pt x="0" y="44934"/>
                        </a:cubicBezTo>
                        <a:cubicBezTo>
                          <a:pt x="0" y="18059"/>
                          <a:pt x="15490" y="0"/>
                          <a:pt x="38527" y="0"/>
                        </a:cubicBezTo>
                        <a:cubicBezTo>
                          <a:pt x="61563" y="0"/>
                          <a:pt x="77053" y="18059"/>
                          <a:pt x="77053" y="44934"/>
                        </a:cubicBezTo>
                        <a:cubicBezTo>
                          <a:pt x="77053" y="71810"/>
                          <a:pt x="61563" y="89869"/>
                          <a:pt x="38527" y="89869"/>
                        </a:cubicBezTo>
                        <a:close/>
                        <a:moveTo>
                          <a:pt x="38527" y="12842"/>
                        </a:moveTo>
                        <a:cubicBezTo>
                          <a:pt x="19594" y="12842"/>
                          <a:pt x="12842" y="29418"/>
                          <a:pt x="12842" y="44934"/>
                        </a:cubicBezTo>
                        <a:cubicBezTo>
                          <a:pt x="12842" y="60451"/>
                          <a:pt x="19594" y="77027"/>
                          <a:pt x="38527" y="77027"/>
                        </a:cubicBezTo>
                        <a:cubicBezTo>
                          <a:pt x="57459" y="77027"/>
                          <a:pt x="64211" y="60451"/>
                          <a:pt x="64211" y="44934"/>
                        </a:cubicBezTo>
                        <a:cubicBezTo>
                          <a:pt x="64211" y="29418"/>
                          <a:pt x="57459" y="12842"/>
                          <a:pt x="38527" y="12842"/>
                        </a:cubicBezTo>
                        <a:close/>
                      </a:path>
                    </a:pathLst>
                  </a:custGeom>
                  <a:grpFill/>
                  <a:ln w="2647" cap="flat">
                    <a:noFill/>
                    <a:prstDash val="solid"/>
                    <a:miter/>
                  </a:ln>
                </p:spPr>
                <p:txBody>
                  <a:bodyPr rtlCol="0" anchor="ctr"/>
                  <a:lstStyle/>
                  <a:p>
                    <a:endParaRPr lang="en-GB" dirty="0"/>
                  </a:p>
                </p:txBody>
              </p:sp>
            </p:grpSp>
            <p:sp>
              <p:nvSpPr>
                <p:cNvPr id="88" name="Freihandform: Form 96">
                  <a:extLst>
                    <a:ext uri="{FF2B5EF4-FFF2-40B4-BE49-F238E27FC236}">
                      <a16:creationId xmlns:a16="http://schemas.microsoft.com/office/drawing/2014/main" id="{3A997A11-1361-4CF3-8E43-01EAF57D6BE8}"/>
                    </a:ext>
                  </a:extLst>
                </p:cNvPr>
                <p:cNvSpPr/>
                <p:nvPr/>
              </p:nvSpPr>
              <p:spPr>
                <a:xfrm>
                  <a:off x="872583" y="1793653"/>
                  <a:ext cx="89842" cy="186172"/>
                </a:xfrm>
                <a:custGeom>
                  <a:avLst/>
                  <a:gdLst>
                    <a:gd name="connsiteX0" fmla="*/ 12816 w 89842"/>
                    <a:gd name="connsiteY0" fmla="*/ 186172 h 186172"/>
                    <a:gd name="connsiteX1" fmla="*/ 6408 w 89842"/>
                    <a:gd name="connsiteY1" fmla="*/ 186172 h 186172"/>
                    <a:gd name="connsiteX2" fmla="*/ 0 w 89842"/>
                    <a:gd name="connsiteY2" fmla="*/ 179764 h 186172"/>
                    <a:gd name="connsiteX3" fmla="*/ 0 w 89842"/>
                    <a:gd name="connsiteY3" fmla="*/ 57777 h 186172"/>
                    <a:gd name="connsiteX4" fmla="*/ 64185 w 89842"/>
                    <a:gd name="connsiteY4" fmla="*/ 0 h 186172"/>
                    <a:gd name="connsiteX5" fmla="*/ 83435 w 89842"/>
                    <a:gd name="connsiteY5" fmla="*/ 0 h 186172"/>
                    <a:gd name="connsiteX6" fmla="*/ 89843 w 89842"/>
                    <a:gd name="connsiteY6" fmla="*/ 6408 h 186172"/>
                    <a:gd name="connsiteX7" fmla="*/ 83435 w 89842"/>
                    <a:gd name="connsiteY7" fmla="*/ 12816 h 186172"/>
                    <a:gd name="connsiteX8" fmla="*/ 64185 w 89842"/>
                    <a:gd name="connsiteY8" fmla="*/ 12816 h 186172"/>
                    <a:gd name="connsiteX9" fmla="*/ 12816 w 89842"/>
                    <a:gd name="connsiteY9" fmla="*/ 57750 h 186172"/>
                    <a:gd name="connsiteX10" fmla="*/ 12816 w 89842"/>
                    <a:gd name="connsiteY10" fmla="*/ 173304 h 186172"/>
                    <a:gd name="connsiteX11" fmla="*/ 19224 w 89842"/>
                    <a:gd name="connsiteY11" fmla="*/ 179711 h 186172"/>
                    <a:gd name="connsiteX12" fmla="*/ 12816 w 89842"/>
                    <a:gd name="connsiteY12" fmla="*/ 186172 h 18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842" h="186172">
                      <a:moveTo>
                        <a:pt x="12816" y="186172"/>
                      </a:moveTo>
                      <a:lnTo>
                        <a:pt x="6408" y="186172"/>
                      </a:lnTo>
                      <a:cubicBezTo>
                        <a:pt x="2860" y="186172"/>
                        <a:pt x="0" y="183286"/>
                        <a:pt x="0" y="179764"/>
                      </a:cubicBezTo>
                      <a:lnTo>
                        <a:pt x="0" y="57777"/>
                      </a:lnTo>
                      <a:cubicBezTo>
                        <a:pt x="0" y="23751"/>
                        <a:pt x="26399" y="0"/>
                        <a:pt x="64185" y="0"/>
                      </a:cubicBezTo>
                      <a:lnTo>
                        <a:pt x="83435" y="0"/>
                      </a:lnTo>
                      <a:cubicBezTo>
                        <a:pt x="86983" y="0"/>
                        <a:pt x="89843" y="2886"/>
                        <a:pt x="89843" y="6408"/>
                      </a:cubicBezTo>
                      <a:cubicBezTo>
                        <a:pt x="89843" y="9956"/>
                        <a:pt x="86956" y="12816"/>
                        <a:pt x="83435" y="12816"/>
                      </a:cubicBezTo>
                      <a:lnTo>
                        <a:pt x="64185" y="12816"/>
                      </a:lnTo>
                      <a:cubicBezTo>
                        <a:pt x="33469" y="12816"/>
                        <a:pt x="12816" y="30874"/>
                        <a:pt x="12816" y="57750"/>
                      </a:cubicBezTo>
                      <a:lnTo>
                        <a:pt x="12816" y="173304"/>
                      </a:lnTo>
                      <a:cubicBezTo>
                        <a:pt x="16364" y="173304"/>
                        <a:pt x="19224" y="176190"/>
                        <a:pt x="19224" y="179711"/>
                      </a:cubicBezTo>
                      <a:cubicBezTo>
                        <a:pt x="19250" y="183313"/>
                        <a:pt x="16364" y="186172"/>
                        <a:pt x="12816" y="186172"/>
                      </a:cubicBezTo>
                      <a:close/>
                    </a:path>
                  </a:pathLst>
                </a:custGeom>
                <a:grpFill/>
                <a:ln w="2647" cap="flat">
                  <a:noFill/>
                  <a:prstDash val="solid"/>
                  <a:miter/>
                </a:ln>
              </p:spPr>
              <p:txBody>
                <a:bodyPr rtlCol="0" anchor="ctr"/>
                <a:lstStyle/>
                <a:p>
                  <a:endParaRPr lang="en-GB" dirty="0"/>
                </a:p>
              </p:txBody>
            </p:sp>
            <p:sp>
              <p:nvSpPr>
                <p:cNvPr id="89" name="Freihandform: Form 97">
                  <a:extLst>
                    <a:ext uri="{FF2B5EF4-FFF2-40B4-BE49-F238E27FC236}">
                      <a16:creationId xmlns:a16="http://schemas.microsoft.com/office/drawing/2014/main" id="{80955306-B9CA-4657-BA93-79AE760CB742}"/>
                    </a:ext>
                  </a:extLst>
                </p:cNvPr>
                <p:cNvSpPr/>
                <p:nvPr/>
              </p:nvSpPr>
              <p:spPr>
                <a:xfrm>
                  <a:off x="898267" y="1883575"/>
                  <a:ext cx="19223" cy="218238"/>
                </a:xfrm>
                <a:custGeom>
                  <a:avLst/>
                  <a:gdLst>
                    <a:gd name="connsiteX0" fmla="*/ 12816 w 19223"/>
                    <a:gd name="connsiteY0" fmla="*/ 218238 h 218238"/>
                    <a:gd name="connsiteX1" fmla="*/ 6408 w 19223"/>
                    <a:gd name="connsiteY1" fmla="*/ 211830 h 218238"/>
                    <a:gd name="connsiteX2" fmla="*/ 6408 w 19223"/>
                    <a:gd name="connsiteY2" fmla="*/ 12816 h 218238"/>
                    <a:gd name="connsiteX3" fmla="*/ 0 w 19223"/>
                    <a:gd name="connsiteY3" fmla="*/ 6408 h 218238"/>
                    <a:gd name="connsiteX4" fmla="*/ 6408 w 19223"/>
                    <a:gd name="connsiteY4" fmla="*/ 0 h 218238"/>
                    <a:gd name="connsiteX5" fmla="*/ 12816 w 19223"/>
                    <a:gd name="connsiteY5" fmla="*/ 0 h 218238"/>
                    <a:gd name="connsiteX6" fmla="*/ 19224 w 19223"/>
                    <a:gd name="connsiteY6" fmla="*/ 6408 h 218238"/>
                    <a:gd name="connsiteX7" fmla="*/ 19224 w 19223"/>
                    <a:gd name="connsiteY7" fmla="*/ 211830 h 218238"/>
                    <a:gd name="connsiteX8" fmla="*/ 12816 w 19223"/>
                    <a:gd name="connsiteY8" fmla="*/ 218238 h 218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223" h="218238">
                      <a:moveTo>
                        <a:pt x="12816" y="218238"/>
                      </a:moveTo>
                      <a:cubicBezTo>
                        <a:pt x="9268" y="218238"/>
                        <a:pt x="6408" y="215352"/>
                        <a:pt x="6408" y="211830"/>
                      </a:cubicBezTo>
                      <a:lnTo>
                        <a:pt x="6408" y="12816"/>
                      </a:lnTo>
                      <a:cubicBezTo>
                        <a:pt x="2860" y="12816"/>
                        <a:pt x="0" y="9930"/>
                        <a:pt x="0" y="6408"/>
                      </a:cubicBezTo>
                      <a:cubicBezTo>
                        <a:pt x="0" y="2860"/>
                        <a:pt x="2886" y="0"/>
                        <a:pt x="6408" y="0"/>
                      </a:cubicBezTo>
                      <a:lnTo>
                        <a:pt x="12816" y="0"/>
                      </a:lnTo>
                      <a:cubicBezTo>
                        <a:pt x="16364" y="0"/>
                        <a:pt x="19224" y="2886"/>
                        <a:pt x="19224" y="6408"/>
                      </a:cubicBezTo>
                      <a:lnTo>
                        <a:pt x="19224" y="211830"/>
                      </a:lnTo>
                      <a:cubicBezTo>
                        <a:pt x="19250" y="215352"/>
                        <a:pt x="16364" y="218238"/>
                        <a:pt x="12816" y="218238"/>
                      </a:cubicBezTo>
                      <a:close/>
                    </a:path>
                  </a:pathLst>
                </a:custGeom>
                <a:grpFill/>
                <a:ln w="2647" cap="flat">
                  <a:noFill/>
                  <a:prstDash val="solid"/>
                  <a:miter/>
                </a:ln>
              </p:spPr>
              <p:txBody>
                <a:bodyPr rtlCol="0" anchor="ctr"/>
                <a:lstStyle/>
                <a:p>
                  <a:endParaRPr lang="en-GB" dirty="0"/>
                </a:p>
              </p:txBody>
            </p:sp>
            <p:sp>
              <p:nvSpPr>
                <p:cNvPr id="90" name="Freihandform: Form 98">
                  <a:extLst>
                    <a:ext uri="{FF2B5EF4-FFF2-40B4-BE49-F238E27FC236}">
                      <a16:creationId xmlns:a16="http://schemas.microsoft.com/office/drawing/2014/main" id="{B5CE3B3A-8F68-4F1D-83B9-46410BEBC278}"/>
                    </a:ext>
                  </a:extLst>
                </p:cNvPr>
                <p:cNvSpPr/>
                <p:nvPr/>
              </p:nvSpPr>
              <p:spPr>
                <a:xfrm>
                  <a:off x="949610" y="1986286"/>
                  <a:ext cx="12815" cy="115526"/>
                </a:xfrm>
                <a:custGeom>
                  <a:avLst/>
                  <a:gdLst>
                    <a:gd name="connsiteX0" fmla="*/ 6408 w 12815"/>
                    <a:gd name="connsiteY0" fmla="*/ 115527 h 115526"/>
                    <a:gd name="connsiteX1" fmla="*/ 0 w 12815"/>
                    <a:gd name="connsiteY1" fmla="*/ 109119 h 115526"/>
                    <a:gd name="connsiteX2" fmla="*/ 0 w 12815"/>
                    <a:gd name="connsiteY2" fmla="*/ 6408 h 115526"/>
                    <a:gd name="connsiteX3" fmla="*/ 6408 w 12815"/>
                    <a:gd name="connsiteY3" fmla="*/ 0 h 115526"/>
                    <a:gd name="connsiteX4" fmla="*/ 12816 w 12815"/>
                    <a:gd name="connsiteY4" fmla="*/ 6408 h 115526"/>
                    <a:gd name="connsiteX5" fmla="*/ 12816 w 12815"/>
                    <a:gd name="connsiteY5" fmla="*/ 109119 h 115526"/>
                    <a:gd name="connsiteX6" fmla="*/ 6408 w 12815"/>
                    <a:gd name="connsiteY6" fmla="*/ 115527 h 1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 h="115526">
                      <a:moveTo>
                        <a:pt x="6408" y="115527"/>
                      </a:moveTo>
                      <a:cubicBezTo>
                        <a:pt x="2860" y="115527"/>
                        <a:pt x="0" y="112641"/>
                        <a:pt x="0" y="109119"/>
                      </a:cubicBezTo>
                      <a:lnTo>
                        <a:pt x="0" y="6408"/>
                      </a:lnTo>
                      <a:cubicBezTo>
                        <a:pt x="0" y="2860"/>
                        <a:pt x="2886" y="0"/>
                        <a:pt x="6408" y="0"/>
                      </a:cubicBezTo>
                      <a:cubicBezTo>
                        <a:pt x="9956" y="0"/>
                        <a:pt x="12816" y="2886"/>
                        <a:pt x="12816" y="6408"/>
                      </a:cubicBezTo>
                      <a:lnTo>
                        <a:pt x="12816" y="109119"/>
                      </a:lnTo>
                      <a:cubicBezTo>
                        <a:pt x="12842" y="112641"/>
                        <a:pt x="9956" y="115527"/>
                        <a:pt x="6408" y="115527"/>
                      </a:cubicBezTo>
                      <a:close/>
                    </a:path>
                  </a:pathLst>
                </a:custGeom>
                <a:grpFill/>
                <a:ln w="2647" cap="flat">
                  <a:noFill/>
                  <a:prstDash val="solid"/>
                  <a:miter/>
                </a:ln>
              </p:spPr>
              <p:txBody>
                <a:bodyPr rtlCol="0" anchor="ctr"/>
                <a:lstStyle/>
                <a:p>
                  <a:endParaRPr lang="en-GB" dirty="0"/>
                </a:p>
              </p:txBody>
            </p:sp>
            <p:sp>
              <p:nvSpPr>
                <p:cNvPr id="91" name="Freihandform: Form 99">
                  <a:extLst>
                    <a:ext uri="{FF2B5EF4-FFF2-40B4-BE49-F238E27FC236}">
                      <a16:creationId xmlns:a16="http://schemas.microsoft.com/office/drawing/2014/main" id="{9A096BE6-1BC9-44B8-BBF9-0C860EF62F64}"/>
                    </a:ext>
                  </a:extLst>
                </p:cNvPr>
                <p:cNvSpPr/>
                <p:nvPr/>
              </p:nvSpPr>
              <p:spPr>
                <a:xfrm>
                  <a:off x="917517" y="1703784"/>
                  <a:ext cx="64184" cy="77053"/>
                </a:xfrm>
                <a:custGeom>
                  <a:avLst/>
                  <a:gdLst>
                    <a:gd name="connsiteX0" fmla="*/ 32092 w 64184"/>
                    <a:gd name="connsiteY0" fmla="*/ 77053 h 77053"/>
                    <a:gd name="connsiteX1" fmla="*/ 0 w 64184"/>
                    <a:gd name="connsiteY1" fmla="*/ 38527 h 77053"/>
                    <a:gd name="connsiteX2" fmla="*/ 32092 w 64184"/>
                    <a:gd name="connsiteY2" fmla="*/ 0 h 77053"/>
                    <a:gd name="connsiteX3" fmla="*/ 64185 w 64184"/>
                    <a:gd name="connsiteY3" fmla="*/ 38527 h 77053"/>
                    <a:gd name="connsiteX4" fmla="*/ 32092 w 64184"/>
                    <a:gd name="connsiteY4" fmla="*/ 77053 h 77053"/>
                    <a:gd name="connsiteX5" fmla="*/ 32092 w 64184"/>
                    <a:gd name="connsiteY5" fmla="*/ 12842 h 77053"/>
                    <a:gd name="connsiteX6" fmla="*/ 12842 w 64184"/>
                    <a:gd name="connsiteY6" fmla="*/ 38527 h 77053"/>
                    <a:gd name="connsiteX7" fmla="*/ 32092 w 64184"/>
                    <a:gd name="connsiteY7" fmla="*/ 64211 h 77053"/>
                    <a:gd name="connsiteX8" fmla="*/ 51342 w 64184"/>
                    <a:gd name="connsiteY8" fmla="*/ 38527 h 77053"/>
                    <a:gd name="connsiteX9" fmla="*/ 32092 w 64184"/>
                    <a:gd name="connsiteY9" fmla="*/ 12842 h 7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84" h="77053">
                      <a:moveTo>
                        <a:pt x="32092" y="77053"/>
                      </a:moveTo>
                      <a:cubicBezTo>
                        <a:pt x="12895" y="77053"/>
                        <a:pt x="0" y="61563"/>
                        <a:pt x="0" y="38527"/>
                      </a:cubicBezTo>
                      <a:cubicBezTo>
                        <a:pt x="0" y="15490"/>
                        <a:pt x="12895" y="0"/>
                        <a:pt x="32092" y="0"/>
                      </a:cubicBezTo>
                      <a:cubicBezTo>
                        <a:pt x="51289" y="0"/>
                        <a:pt x="64185" y="15490"/>
                        <a:pt x="64185" y="38527"/>
                      </a:cubicBezTo>
                      <a:cubicBezTo>
                        <a:pt x="64185" y="61563"/>
                        <a:pt x="51289" y="77053"/>
                        <a:pt x="32092" y="77053"/>
                      </a:cubicBezTo>
                      <a:close/>
                      <a:moveTo>
                        <a:pt x="32092" y="12842"/>
                      </a:moveTo>
                      <a:cubicBezTo>
                        <a:pt x="17900" y="12842"/>
                        <a:pt x="12842" y="26108"/>
                        <a:pt x="12842" y="38527"/>
                      </a:cubicBezTo>
                      <a:cubicBezTo>
                        <a:pt x="12842" y="50945"/>
                        <a:pt x="17900" y="64211"/>
                        <a:pt x="32092" y="64211"/>
                      </a:cubicBezTo>
                      <a:cubicBezTo>
                        <a:pt x="46285" y="64211"/>
                        <a:pt x="51342" y="50945"/>
                        <a:pt x="51342" y="38527"/>
                      </a:cubicBezTo>
                      <a:cubicBezTo>
                        <a:pt x="51342" y="26108"/>
                        <a:pt x="46285" y="12842"/>
                        <a:pt x="32092" y="12842"/>
                      </a:cubicBezTo>
                      <a:close/>
                    </a:path>
                  </a:pathLst>
                </a:custGeom>
                <a:grpFill/>
                <a:ln w="2647" cap="flat">
                  <a:noFill/>
                  <a:prstDash val="solid"/>
                  <a:miter/>
                </a:ln>
              </p:spPr>
              <p:txBody>
                <a:bodyPr rtlCol="0" anchor="ctr"/>
                <a:lstStyle/>
                <a:p>
                  <a:endParaRPr lang="en-GB" dirty="0"/>
                </a:p>
              </p:txBody>
            </p:sp>
          </p:grpSp>
          <p:sp>
            <p:nvSpPr>
              <p:cNvPr id="86" name="Freihandform: Form 110">
                <a:extLst>
                  <a:ext uri="{FF2B5EF4-FFF2-40B4-BE49-F238E27FC236}">
                    <a16:creationId xmlns:a16="http://schemas.microsoft.com/office/drawing/2014/main" id="{B5C587D6-5EE5-4E22-BF1F-5A577CA9FF75}"/>
                  </a:ext>
                </a:extLst>
              </p:cNvPr>
              <p:cNvSpPr/>
              <p:nvPr/>
            </p:nvSpPr>
            <p:spPr>
              <a:xfrm>
                <a:off x="1084413" y="1902825"/>
                <a:ext cx="12815" cy="198988"/>
              </a:xfrm>
              <a:custGeom>
                <a:avLst/>
                <a:gdLst>
                  <a:gd name="connsiteX0" fmla="*/ 6408 w 12815"/>
                  <a:gd name="connsiteY0" fmla="*/ 198988 h 198988"/>
                  <a:gd name="connsiteX1" fmla="*/ 0 w 12815"/>
                  <a:gd name="connsiteY1" fmla="*/ 192580 h 198988"/>
                  <a:gd name="connsiteX2" fmla="*/ 0 w 12815"/>
                  <a:gd name="connsiteY2" fmla="*/ 6408 h 198988"/>
                  <a:gd name="connsiteX3" fmla="*/ 6408 w 12815"/>
                  <a:gd name="connsiteY3" fmla="*/ 0 h 198988"/>
                  <a:gd name="connsiteX4" fmla="*/ 12816 w 12815"/>
                  <a:gd name="connsiteY4" fmla="*/ 6408 h 198988"/>
                  <a:gd name="connsiteX5" fmla="*/ 12816 w 12815"/>
                  <a:gd name="connsiteY5" fmla="*/ 192580 h 198988"/>
                  <a:gd name="connsiteX6" fmla="*/ 6408 w 12815"/>
                  <a:gd name="connsiteY6" fmla="*/ 198988 h 19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 h="198988">
                    <a:moveTo>
                      <a:pt x="6408" y="198988"/>
                    </a:moveTo>
                    <a:cubicBezTo>
                      <a:pt x="2860" y="198988"/>
                      <a:pt x="0" y="196102"/>
                      <a:pt x="0" y="192580"/>
                    </a:cubicBezTo>
                    <a:lnTo>
                      <a:pt x="0" y="6408"/>
                    </a:lnTo>
                    <a:cubicBezTo>
                      <a:pt x="0" y="2860"/>
                      <a:pt x="2886" y="0"/>
                      <a:pt x="6408" y="0"/>
                    </a:cubicBezTo>
                    <a:cubicBezTo>
                      <a:pt x="9930" y="0"/>
                      <a:pt x="12816" y="2886"/>
                      <a:pt x="12816" y="6408"/>
                    </a:cubicBezTo>
                    <a:lnTo>
                      <a:pt x="12816" y="192580"/>
                    </a:lnTo>
                    <a:cubicBezTo>
                      <a:pt x="12842" y="196102"/>
                      <a:pt x="9956" y="198988"/>
                      <a:pt x="6408" y="198988"/>
                    </a:cubicBezTo>
                    <a:close/>
                  </a:path>
                </a:pathLst>
              </a:custGeom>
              <a:grpFill/>
              <a:ln w="2647" cap="flat">
                <a:noFill/>
                <a:prstDash val="solid"/>
                <a:miter/>
              </a:ln>
            </p:spPr>
            <p:txBody>
              <a:bodyPr rtlCol="0" anchor="ctr"/>
              <a:lstStyle/>
              <a:p>
                <a:endParaRPr lang="en-GB" dirty="0"/>
              </a:p>
            </p:txBody>
          </p:sp>
        </p:grpSp>
        <p:grpSp>
          <p:nvGrpSpPr>
            <p:cNvPr id="73" name="Group 72">
              <a:extLst>
                <a:ext uri="{FF2B5EF4-FFF2-40B4-BE49-F238E27FC236}">
                  <a16:creationId xmlns:a16="http://schemas.microsoft.com/office/drawing/2014/main" id="{E17BA961-D36E-40D3-85D5-AB7F7CC7F72F}"/>
                </a:ext>
              </a:extLst>
            </p:cNvPr>
            <p:cNvGrpSpPr/>
            <p:nvPr/>
          </p:nvGrpSpPr>
          <p:grpSpPr>
            <a:xfrm>
              <a:off x="717546" y="1585984"/>
              <a:ext cx="333961" cy="432000"/>
              <a:chOff x="1071582" y="1626731"/>
              <a:chExt cx="367266" cy="475082"/>
            </a:xfrm>
          </p:grpSpPr>
          <p:grpSp>
            <p:nvGrpSpPr>
              <p:cNvPr id="74" name="Grafik 288">
                <a:extLst>
                  <a:ext uri="{FF2B5EF4-FFF2-40B4-BE49-F238E27FC236}">
                    <a16:creationId xmlns:a16="http://schemas.microsoft.com/office/drawing/2014/main" id="{0F18A636-3E88-4F2D-BAA3-7859DCA3A7CF}"/>
                  </a:ext>
                </a:extLst>
              </p:cNvPr>
              <p:cNvGrpSpPr/>
              <p:nvPr/>
            </p:nvGrpSpPr>
            <p:grpSpPr>
              <a:xfrm>
                <a:off x="1071582" y="1626731"/>
                <a:ext cx="367266" cy="475082"/>
                <a:chOff x="1071582" y="1626731"/>
                <a:chExt cx="367266" cy="475082"/>
              </a:xfrm>
              <a:solidFill>
                <a:schemeClr val="accent1"/>
              </a:solidFill>
            </p:grpSpPr>
            <p:sp>
              <p:nvSpPr>
                <p:cNvPr id="76" name="Freihandform: Form 101">
                  <a:extLst>
                    <a:ext uri="{FF2B5EF4-FFF2-40B4-BE49-F238E27FC236}">
                      <a16:creationId xmlns:a16="http://schemas.microsoft.com/office/drawing/2014/main" id="{5DD82FD4-A6F2-4411-8259-47BFEC991593}"/>
                    </a:ext>
                  </a:extLst>
                </p:cNvPr>
                <p:cNvSpPr/>
                <p:nvPr/>
              </p:nvSpPr>
              <p:spPr>
                <a:xfrm>
                  <a:off x="1230485" y="1742293"/>
                  <a:ext cx="208363" cy="293031"/>
                </a:xfrm>
                <a:custGeom>
                  <a:avLst/>
                  <a:gdLst>
                    <a:gd name="connsiteX0" fmla="*/ 72061 w 208363"/>
                    <a:gd name="connsiteY0" fmla="*/ 293032 h 293031"/>
                    <a:gd name="connsiteX1" fmla="*/ 13542 w 208363"/>
                    <a:gd name="connsiteY1" fmla="*/ 282996 h 293031"/>
                    <a:gd name="connsiteX2" fmla="*/ 9544 w 208363"/>
                    <a:gd name="connsiteY2" fmla="*/ 274841 h 293031"/>
                    <a:gd name="connsiteX3" fmla="*/ 17700 w 208363"/>
                    <a:gd name="connsiteY3" fmla="*/ 270843 h 293031"/>
                    <a:gd name="connsiteX4" fmla="*/ 70498 w 208363"/>
                    <a:gd name="connsiteY4" fmla="*/ 280163 h 293031"/>
                    <a:gd name="connsiteX5" fmla="*/ 69783 w 208363"/>
                    <a:gd name="connsiteY5" fmla="*/ 228000 h 293031"/>
                    <a:gd name="connsiteX6" fmla="*/ 73226 w 208363"/>
                    <a:gd name="connsiteY6" fmla="*/ 222228 h 293031"/>
                    <a:gd name="connsiteX7" fmla="*/ 186661 w 208363"/>
                    <a:gd name="connsiteY7" fmla="*/ 162862 h 293031"/>
                    <a:gd name="connsiteX8" fmla="*/ 109501 w 208363"/>
                    <a:gd name="connsiteY8" fmla="*/ 85783 h 293031"/>
                    <a:gd name="connsiteX9" fmla="*/ 6022 w 208363"/>
                    <a:gd name="connsiteY9" fmla="*/ 12833 h 293031"/>
                    <a:gd name="connsiteX10" fmla="*/ 12 w 208363"/>
                    <a:gd name="connsiteY10" fmla="*/ 6028 h 293031"/>
                    <a:gd name="connsiteX11" fmla="*/ 6817 w 208363"/>
                    <a:gd name="connsiteY11" fmla="*/ 18 h 293031"/>
                    <a:gd name="connsiteX12" fmla="*/ 121046 w 208363"/>
                    <a:gd name="connsiteY12" fmla="*/ 80116 h 293031"/>
                    <a:gd name="connsiteX13" fmla="*/ 204110 w 208363"/>
                    <a:gd name="connsiteY13" fmla="*/ 156084 h 293031"/>
                    <a:gd name="connsiteX14" fmla="*/ 208347 w 208363"/>
                    <a:gd name="connsiteY14" fmla="*/ 161697 h 293031"/>
                    <a:gd name="connsiteX15" fmla="*/ 204931 w 208363"/>
                    <a:gd name="connsiteY15" fmla="*/ 167814 h 293031"/>
                    <a:gd name="connsiteX16" fmla="*/ 82705 w 208363"/>
                    <a:gd name="connsiteY16" fmla="*/ 231760 h 293031"/>
                    <a:gd name="connsiteX17" fmla="*/ 83446 w 208363"/>
                    <a:gd name="connsiteY17" fmla="*/ 286386 h 293031"/>
                    <a:gd name="connsiteX18" fmla="*/ 77462 w 208363"/>
                    <a:gd name="connsiteY18" fmla="*/ 292873 h 293031"/>
                    <a:gd name="connsiteX19" fmla="*/ 72061 w 208363"/>
                    <a:gd name="connsiteY19" fmla="*/ 293032 h 293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8363" h="293031">
                      <a:moveTo>
                        <a:pt x="72061" y="293032"/>
                      </a:moveTo>
                      <a:cubicBezTo>
                        <a:pt x="62104" y="293032"/>
                        <a:pt x="39518" y="291893"/>
                        <a:pt x="13542" y="282996"/>
                      </a:cubicBezTo>
                      <a:cubicBezTo>
                        <a:pt x="10180" y="281858"/>
                        <a:pt x="8406" y="278204"/>
                        <a:pt x="9544" y="274841"/>
                      </a:cubicBezTo>
                      <a:cubicBezTo>
                        <a:pt x="10683" y="271478"/>
                        <a:pt x="14337" y="269704"/>
                        <a:pt x="17700" y="270843"/>
                      </a:cubicBezTo>
                      <a:cubicBezTo>
                        <a:pt x="40577" y="278680"/>
                        <a:pt x="60807" y="280031"/>
                        <a:pt x="70498" y="280163"/>
                      </a:cubicBezTo>
                      <a:lnTo>
                        <a:pt x="69783" y="228000"/>
                      </a:lnTo>
                      <a:cubicBezTo>
                        <a:pt x="69757" y="225590"/>
                        <a:pt x="71081" y="223340"/>
                        <a:pt x="73226" y="222228"/>
                      </a:cubicBezTo>
                      <a:lnTo>
                        <a:pt x="186661" y="162862"/>
                      </a:lnTo>
                      <a:cubicBezTo>
                        <a:pt x="152662" y="147425"/>
                        <a:pt x="127322" y="122085"/>
                        <a:pt x="109501" y="85783"/>
                      </a:cubicBezTo>
                      <a:cubicBezTo>
                        <a:pt x="76085" y="17812"/>
                        <a:pt x="6711" y="12886"/>
                        <a:pt x="6022" y="12833"/>
                      </a:cubicBezTo>
                      <a:cubicBezTo>
                        <a:pt x="2474" y="12622"/>
                        <a:pt x="-200" y="9577"/>
                        <a:pt x="12" y="6028"/>
                      </a:cubicBezTo>
                      <a:cubicBezTo>
                        <a:pt x="224" y="2480"/>
                        <a:pt x="3242" y="-247"/>
                        <a:pt x="6817" y="18"/>
                      </a:cubicBezTo>
                      <a:cubicBezTo>
                        <a:pt x="9968" y="203"/>
                        <a:pt x="84400" y="5525"/>
                        <a:pt x="121046" y="80116"/>
                      </a:cubicBezTo>
                      <a:cubicBezTo>
                        <a:pt x="139555" y="117795"/>
                        <a:pt x="166749" y="142632"/>
                        <a:pt x="204110" y="156084"/>
                      </a:cubicBezTo>
                      <a:cubicBezTo>
                        <a:pt x="206520" y="156957"/>
                        <a:pt x="208161" y="159155"/>
                        <a:pt x="208347" y="161697"/>
                      </a:cubicBezTo>
                      <a:cubicBezTo>
                        <a:pt x="208532" y="164239"/>
                        <a:pt x="207182" y="166649"/>
                        <a:pt x="204931" y="167814"/>
                      </a:cubicBezTo>
                      <a:lnTo>
                        <a:pt x="82705" y="231760"/>
                      </a:lnTo>
                      <a:lnTo>
                        <a:pt x="83446" y="286386"/>
                      </a:lnTo>
                      <a:cubicBezTo>
                        <a:pt x="83499" y="289802"/>
                        <a:pt x="80851" y="292661"/>
                        <a:pt x="77462" y="292873"/>
                      </a:cubicBezTo>
                      <a:cubicBezTo>
                        <a:pt x="77144" y="292926"/>
                        <a:pt x="75264" y="293032"/>
                        <a:pt x="72061" y="293032"/>
                      </a:cubicBezTo>
                      <a:close/>
                    </a:path>
                  </a:pathLst>
                </a:custGeom>
                <a:solidFill>
                  <a:schemeClr val="accent1"/>
                </a:solidFill>
                <a:ln w="2647" cap="flat">
                  <a:noFill/>
                  <a:prstDash val="solid"/>
                  <a:miter/>
                </a:ln>
              </p:spPr>
              <p:txBody>
                <a:bodyPr rtlCol="0" anchor="ctr"/>
                <a:lstStyle/>
                <a:p>
                  <a:endParaRPr lang="en-GB" dirty="0"/>
                </a:p>
              </p:txBody>
            </p:sp>
            <p:grpSp>
              <p:nvGrpSpPr>
                <p:cNvPr id="77" name="Grafik 288">
                  <a:extLst>
                    <a:ext uri="{FF2B5EF4-FFF2-40B4-BE49-F238E27FC236}">
                      <a16:creationId xmlns:a16="http://schemas.microsoft.com/office/drawing/2014/main" id="{739D02D9-7DFC-43C2-87BE-6F3670232046}"/>
                    </a:ext>
                  </a:extLst>
                </p:cNvPr>
                <p:cNvGrpSpPr/>
                <p:nvPr/>
              </p:nvGrpSpPr>
              <p:grpSpPr>
                <a:xfrm>
                  <a:off x="1071582" y="1626731"/>
                  <a:ext cx="218271" cy="475082"/>
                  <a:chOff x="1071582" y="1626731"/>
                  <a:chExt cx="218271" cy="475082"/>
                </a:xfrm>
                <a:solidFill>
                  <a:schemeClr val="accent1"/>
                </a:solidFill>
              </p:grpSpPr>
              <p:sp>
                <p:nvSpPr>
                  <p:cNvPr id="78" name="Freihandform: Form 103">
                    <a:extLst>
                      <a:ext uri="{FF2B5EF4-FFF2-40B4-BE49-F238E27FC236}">
                        <a16:creationId xmlns:a16="http://schemas.microsoft.com/office/drawing/2014/main" id="{77E15A37-1B59-4452-B81C-74927E3B1E81}"/>
                      </a:ext>
                    </a:extLst>
                  </p:cNvPr>
                  <p:cNvSpPr/>
                  <p:nvPr/>
                </p:nvSpPr>
                <p:spPr>
                  <a:xfrm>
                    <a:off x="1142190" y="1626731"/>
                    <a:ext cx="89868" cy="102737"/>
                  </a:xfrm>
                  <a:custGeom>
                    <a:avLst/>
                    <a:gdLst>
                      <a:gd name="connsiteX0" fmla="*/ 44934 w 89868"/>
                      <a:gd name="connsiteY0" fmla="*/ 102738 h 102737"/>
                      <a:gd name="connsiteX1" fmla="*/ 0 w 89868"/>
                      <a:gd name="connsiteY1" fmla="*/ 51369 h 102737"/>
                      <a:gd name="connsiteX2" fmla="*/ 44934 w 89868"/>
                      <a:gd name="connsiteY2" fmla="*/ 0 h 102737"/>
                      <a:gd name="connsiteX3" fmla="*/ 89869 w 89868"/>
                      <a:gd name="connsiteY3" fmla="*/ 51369 h 102737"/>
                      <a:gd name="connsiteX4" fmla="*/ 44934 w 89868"/>
                      <a:gd name="connsiteY4" fmla="*/ 102738 h 102737"/>
                      <a:gd name="connsiteX5" fmla="*/ 44934 w 89868"/>
                      <a:gd name="connsiteY5" fmla="*/ 12869 h 102737"/>
                      <a:gd name="connsiteX6" fmla="*/ 12842 w 89868"/>
                      <a:gd name="connsiteY6" fmla="*/ 51395 h 102737"/>
                      <a:gd name="connsiteX7" fmla="*/ 44934 w 89868"/>
                      <a:gd name="connsiteY7" fmla="*/ 89922 h 102737"/>
                      <a:gd name="connsiteX8" fmla="*/ 77027 w 89868"/>
                      <a:gd name="connsiteY8" fmla="*/ 51395 h 102737"/>
                      <a:gd name="connsiteX9" fmla="*/ 44934 w 89868"/>
                      <a:gd name="connsiteY9" fmla="*/ 12869 h 102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868" h="102737">
                        <a:moveTo>
                          <a:pt x="44934" y="102738"/>
                        </a:moveTo>
                        <a:cubicBezTo>
                          <a:pt x="18059" y="102738"/>
                          <a:pt x="0" y="82111"/>
                          <a:pt x="0" y="51369"/>
                        </a:cubicBezTo>
                        <a:cubicBezTo>
                          <a:pt x="0" y="20653"/>
                          <a:pt x="18059" y="0"/>
                          <a:pt x="44934" y="0"/>
                        </a:cubicBezTo>
                        <a:cubicBezTo>
                          <a:pt x="71810" y="0"/>
                          <a:pt x="89869" y="20627"/>
                          <a:pt x="89869" y="51369"/>
                        </a:cubicBezTo>
                        <a:cubicBezTo>
                          <a:pt x="89869" y="82111"/>
                          <a:pt x="71810" y="102738"/>
                          <a:pt x="44934" y="102738"/>
                        </a:cubicBezTo>
                        <a:close/>
                        <a:moveTo>
                          <a:pt x="44934" y="12869"/>
                        </a:moveTo>
                        <a:cubicBezTo>
                          <a:pt x="21236" y="12869"/>
                          <a:pt x="12842" y="33628"/>
                          <a:pt x="12842" y="51395"/>
                        </a:cubicBezTo>
                        <a:cubicBezTo>
                          <a:pt x="12842" y="69163"/>
                          <a:pt x="21262" y="89922"/>
                          <a:pt x="44934" y="89922"/>
                        </a:cubicBezTo>
                        <a:cubicBezTo>
                          <a:pt x="68607" y="89922"/>
                          <a:pt x="77027" y="69163"/>
                          <a:pt x="77027" y="51395"/>
                        </a:cubicBezTo>
                        <a:cubicBezTo>
                          <a:pt x="77027" y="33628"/>
                          <a:pt x="68633" y="12869"/>
                          <a:pt x="44934" y="12869"/>
                        </a:cubicBezTo>
                        <a:close/>
                      </a:path>
                    </a:pathLst>
                  </a:custGeom>
                  <a:solidFill>
                    <a:schemeClr val="accent1"/>
                  </a:solidFill>
                  <a:ln w="2647" cap="flat">
                    <a:noFill/>
                    <a:prstDash val="solid"/>
                    <a:miter/>
                  </a:ln>
                </p:spPr>
                <p:txBody>
                  <a:bodyPr rtlCol="0" anchor="ctr"/>
                  <a:lstStyle/>
                  <a:p>
                    <a:endParaRPr lang="en-GB" dirty="0"/>
                  </a:p>
                </p:txBody>
              </p:sp>
              <p:sp>
                <p:nvSpPr>
                  <p:cNvPr id="79" name="Freihandform: Form 104">
                    <a:extLst>
                      <a:ext uri="{FF2B5EF4-FFF2-40B4-BE49-F238E27FC236}">
                        <a16:creationId xmlns:a16="http://schemas.microsoft.com/office/drawing/2014/main" id="{F9054884-DA61-48B2-96AD-D4C49CE5EE4F}"/>
                      </a:ext>
                    </a:extLst>
                  </p:cNvPr>
                  <p:cNvSpPr/>
                  <p:nvPr/>
                </p:nvSpPr>
                <p:spPr>
                  <a:xfrm>
                    <a:off x="1238493" y="1877141"/>
                    <a:ext cx="12815" cy="224672"/>
                  </a:xfrm>
                  <a:custGeom>
                    <a:avLst/>
                    <a:gdLst>
                      <a:gd name="connsiteX0" fmla="*/ 6408 w 12815"/>
                      <a:gd name="connsiteY0" fmla="*/ 224672 h 224672"/>
                      <a:gd name="connsiteX1" fmla="*/ 0 w 12815"/>
                      <a:gd name="connsiteY1" fmla="*/ 218265 h 224672"/>
                      <a:gd name="connsiteX2" fmla="*/ 0 w 12815"/>
                      <a:gd name="connsiteY2" fmla="*/ 6408 h 224672"/>
                      <a:gd name="connsiteX3" fmla="*/ 6408 w 12815"/>
                      <a:gd name="connsiteY3" fmla="*/ 0 h 224672"/>
                      <a:gd name="connsiteX4" fmla="*/ 12816 w 12815"/>
                      <a:gd name="connsiteY4" fmla="*/ 6408 h 224672"/>
                      <a:gd name="connsiteX5" fmla="*/ 12816 w 12815"/>
                      <a:gd name="connsiteY5" fmla="*/ 218265 h 224672"/>
                      <a:gd name="connsiteX6" fmla="*/ 6408 w 12815"/>
                      <a:gd name="connsiteY6" fmla="*/ 224672 h 22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 h="224672">
                        <a:moveTo>
                          <a:pt x="6408" y="224672"/>
                        </a:moveTo>
                        <a:cubicBezTo>
                          <a:pt x="2860" y="224672"/>
                          <a:pt x="0" y="221786"/>
                          <a:pt x="0" y="218265"/>
                        </a:cubicBezTo>
                        <a:lnTo>
                          <a:pt x="0" y="6408"/>
                        </a:lnTo>
                        <a:cubicBezTo>
                          <a:pt x="0" y="2860"/>
                          <a:pt x="2886" y="0"/>
                          <a:pt x="6408" y="0"/>
                        </a:cubicBezTo>
                        <a:cubicBezTo>
                          <a:pt x="9956" y="0"/>
                          <a:pt x="12816" y="2886"/>
                          <a:pt x="12816" y="6408"/>
                        </a:cubicBezTo>
                        <a:lnTo>
                          <a:pt x="12816" y="218265"/>
                        </a:lnTo>
                        <a:cubicBezTo>
                          <a:pt x="12842" y="221786"/>
                          <a:pt x="9956" y="224672"/>
                          <a:pt x="6408" y="224672"/>
                        </a:cubicBezTo>
                        <a:close/>
                      </a:path>
                    </a:pathLst>
                  </a:custGeom>
                  <a:solidFill>
                    <a:schemeClr val="accent1"/>
                  </a:solidFill>
                  <a:ln w="2647" cap="flat">
                    <a:noFill/>
                    <a:prstDash val="solid"/>
                    <a:miter/>
                  </a:ln>
                </p:spPr>
                <p:txBody>
                  <a:bodyPr rtlCol="0" anchor="ctr"/>
                  <a:lstStyle/>
                  <a:p>
                    <a:endParaRPr lang="en-GB" dirty="0"/>
                  </a:p>
                </p:txBody>
              </p:sp>
              <p:sp>
                <p:nvSpPr>
                  <p:cNvPr id="80" name="Freihandform: Form 105">
                    <a:extLst>
                      <a:ext uri="{FF2B5EF4-FFF2-40B4-BE49-F238E27FC236}">
                        <a16:creationId xmlns:a16="http://schemas.microsoft.com/office/drawing/2014/main" id="{EB6AAF4B-9961-4DDE-B313-D6BD457DA1A0}"/>
                      </a:ext>
                    </a:extLst>
                  </p:cNvPr>
                  <p:cNvSpPr/>
                  <p:nvPr/>
                </p:nvSpPr>
                <p:spPr>
                  <a:xfrm>
                    <a:off x="1122940" y="1877141"/>
                    <a:ext cx="12815" cy="224672"/>
                  </a:xfrm>
                  <a:custGeom>
                    <a:avLst/>
                    <a:gdLst>
                      <a:gd name="connsiteX0" fmla="*/ 6408 w 12815"/>
                      <a:gd name="connsiteY0" fmla="*/ 224672 h 224672"/>
                      <a:gd name="connsiteX1" fmla="*/ 0 w 12815"/>
                      <a:gd name="connsiteY1" fmla="*/ 218265 h 224672"/>
                      <a:gd name="connsiteX2" fmla="*/ 0 w 12815"/>
                      <a:gd name="connsiteY2" fmla="*/ 6408 h 224672"/>
                      <a:gd name="connsiteX3" fmla="*/ 6408 w 12815"/>
                      <a:gd name="connsiteY3" fmla="*/ 0 h 224672"/>
                      <a:gd name="connsiteX4" fmla="*/ 12816 w 12815"/>
                      <a:gd name="connsiteY4" fmla="*/ 6408 h 224672"/>
                      <a:gd name="connsiteX5" fmla="*/ 12816 w 12815"/>
                      <a:gd name="connsiteY5" fmla="*/ 218265 h 224672"/>
                      <a:gd name="connsiteX6" fmla="*/ 6408 w 12815"/>
                      <a:gd name="connsiteY6" fmla="*/ 224672 h 224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 h="224672">
                        <a:moveTo>
                          <a:pt x="6408" y="224672"/>
                        </a:moveTo>
                        <a:cubicBezTo>
                          <a:pt x="2860" y="224672"/>
                          <a:pt x="0" y="221786"/>
                          <a:pt x="0" y="218265"/>
                        </a:cubicBezTo>
                        <a:lnTo>
                          <a:pt x="0" y="6408"/>
                        </a:lnTo>
                        <a:cubicBezTo>
                          <a:pt x="0" y="2860"/>
                          <a:pt x="2886" y="0"/>
                          <a:pt x="6408" y="0"/>
                        </a:cubicBezTo>
                        <a:cubicBezTo>
                          <a:pt x="9956" y="0"/>
                          <a:pt x="12816" y="2886"/>
                          <a:pt x="12816" y="6408"/>
                        </a:cubicBezTo>
                        <a:lnTo>
                          <a:pt x="12816" y="218265"/>
                        </a:lnTo>
                        <a:cubicBezTo>
                          <a:pt x="12842" y="221786"/>
                          <a:pt x="9956" y="224672"/>
                          <a:pt x="6408" y="224672"/>
                        </a:cubicBezTo>
                        <a:close/>
                      </a:path>
                    </a:pathLst>
                  </a:custGeom>
                  <a:solidFill>
                    <a:schemeClr val="accent1"/>
                  </a:solidFill>
                  <a:ln w="2647" cap="flat">
                    <a:noFill/>
                    <a:prstDash val="solid"/>
                    <a:miter/>
                  </a:ln>
                </p:spPr>
                <p:txBody>
                  <a:bodyPr rtlCol="0" anchor="ctr"/>
                  <a:lstStyle/>
                  <a:p>
                    <a:endParaRPr lang="en-GB" dirty="0"/>
                  </a:p>
                </p:txBody>
              </p:sp>
              <p:sp>
                <p:nvSpPr>
                  <p:cNvPr id="81" name="Freihandform: Form 106">
                    <a:extLst>
                      <a:ext uri="{FF2B5EF4-FFF2-40B4-BE49-F238E27FC236}">
                        <a16:creationId xmlns:a16="http://schemas.microsoft.com/office/drawing/2014/main" id="{F2FFE126-3B80-4643-8ED6-FD9396F97EA0}"/>
                      </a:ext>
                    </a:extLst>
                  </p:cNvPr>
                  <p:cNvSpPr/>
                  <p:nvPr/>
                </p:nvSpPr>
                <p:spPr>
                  <a:xfrm>
                    <a:off x="1174309" y="1742337"/>
                    <a:ext cx="25657" cy="12815"/>
                  </a:xfrm>
                  <a:custGeom>
                    <a:avLst/>
                    <a:gdLst>
                      <a:gd name="connsiteX0" fmla="*/ 19250 w 25657"/>
                      <a:gd name="connsiteY0" fmla="*/ 12816 h 12815"/>
                      <a:gd name="connsiteX1" fmla="*/ 6408 w 25657"/>
                      <a:gd name="connsiteY1" fmla="*/ 12816 h 12815"/>
                      <a:gd name="connsiteX2" fmla="*/ 0 w 25657"/>
                      <a:gd name="connsiteY2" fmla="*/ 6408 h 12815"/>
                      <a:gd name="connsiteX3" fmla="*/ 6408 w 25657"/>
                      <a:gd name="connsiteY3" fmla="*/ 0 h 12815"/>
                      <a:gd name="connsiteX4" fmla="*/ 19250 w 25657"/>
                      <a:gd name="connsiteY4" fmla="*/ 0 h 12815"/>
                      <a:gd name="connsiteX5" fmla="*/ 25658 w 25657"/>
                      <a:gd name="connsiteY5" fmla="*/ 6408 h 12815"/>
                      <a:gd name="connsiteX6" fmla="*/ 19250 w 25657"/>
                      <a:gd name="connsiteY6" fmla="*/ 12816 h 1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657" h="12815">
                        <a:moveTo>
                          <a:pt x="19250" y="12816"/>
                        </a:moveTo>
                        <a:lnTo>
                          <a:pt x="6408" y="12816"/>
                        </a:lnTo>
                        <a:cubicBezTo>
                          <a:pt x="2860" y="12816"/>
                          <a:pt x="0" y="9930"/>
                          <a:pt x="0" y="6408"/>
                        </a:cubicBezTo>
                        <a:cubicBezTo>
                          <a:pt x="0" y="2860"/>
                          <a:pt x="2886" y="0"/>
                          <a:pt x="6408" y="0"/>
                        </a:cubicBezTo>
                        <a:lnTo>
                          <a:pt x="19250" y="0"/>
                        </a:lnTo>
                        <a:cubicBezTo>
                          <a:pt x="22798" y="0"/>
                          <a:pt x="25658" y="2886"/>
                          <a:pt x="25658" y="6408"/>
                        </a:cubicBezTo>
                        <a:cubicBezTo>
                          <a:pt x="25658" y="9930"/>
                          <a:pt x="22772" y="12816"/>
                          <a:pt x="19250" y="12816"/>
                        </a:cubicBezTo>
                        <a:close/>
                      </a:path>
                    </a:pathLst>
                  </a:custGeom>
                  <a:solidFill>
                    <a:schemeClr val="accent1"/>
                  </a:solidFill>
                  <a:ln w="2647" cap="flat">
                    <a:noFill/>
                    <a:prstDash val="solid"/>
                    <a:miter/>
                  </a:ln>
                </p:spPr>
                <p:txBody>
                  <a:bodyPr rtlCol="0" anchor="ctr"/>
                  <a:lstStyle/>
                  <a:p>
                    <a:endParaRPr lang="en-GB" dirty="0"/>
                  </a:p>
                </p:txBody>
              </p:sp>
              <p:sp>
                <p:nvSpPr>
                  <p:cNvPr id="82" name="Freihandform: Form 107">
                    <a:extLst>
                      <a:ext uri="{FF2B5EF4-FFF2-40B4-BE49-F238E27FC236}">
                        <a16:creationId xmlns:a16="http://schemas.microsoft.com/office/drawing/2014/main" id="{858B077E-C95D-46A2-AA28-D82AE9A05915}"/>
                      </a:ext>
                    </a:extLst>
                  </p:cNvPr>
                  <p:cNvSpPr/>
                  <p:nvPr/>
                </p:nvSpPr>
                <p:spPr>
                  <a:xfrm>
                    <a:off x="1180716" y="1742311"/>
                    <a:ext cx="12815" cy="83461"/>
                  </a:xfrm>
                  <a:custGeom>
                    <a:avLst/>
                    <a:gdLst>
                      <a:gd name="connsiteX0" fmla="*/ 6408 w 12815"/>
                      <a:gd name="connsiteY0" fmla="*/ 83461 h 83461"/>
                      <a:gd name="connsiteX1" fmla="*/ 0 w 12815"/>
                      <a:gd name="connsiteY1" fmla="*/ 77053 h 83461"/>
                      <a:gd name="connsiteX2" fmla="*/ 0 w 12815"/>
                      <a:gd name="connsiteY2" fmla="*/ 6408 h 83461"/>
                      <a:gd name="connsiteX3" fmla="*/ 6408 w 12815"/>
                      <a:gd name="connsiteY3" fmla="*/ 0 h 83461"/>
                      <a:gd name="connsiteX4" fmla="*/ 12816 w 12815"/>
                      <a:gd name="connsiteY4" fmla="*/ 6408 h 83461"/>
                      <a:gd name="connsiteX5" fmla="*/ 12816 w 12815"/>
                      <a:gd name="connsiteY5" fmla="*/ 77027 h 83461"/>
                      <a:gd name="connsiteX6" fmla="*/ 6408 w 12815"/>
                      <a:gd name="connsiteY6" fmla="*/ 83461 h 83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 h="83461">
                        <a:moveTo>
                          <a:pt x="6408" y="83461"/>
                        </a:moveTo>
                        <a:cubicBezTo>
                          <a:pt x="2860" y="83461"/>
                          <a:pt x="0" y="80575"/>
                          <a:pt x="0" y="77053"/>
                        </a:cubicBezTo>
                        <a:lnTo>
                          <a:pt x="0" y="6408"/>
                        </a:lnTo>
                        <a:cubicBezTo>
                          <a:pt x="0" y="2860"/>
                          <a:pt x="2886" y="0"/>
                          <a:pt x="6408" y="0"/>
                        </a:cubicBezTo>
                        <a:cubicBezTo>
                          <a:pt x="9956" y="0"/>
                          <a:pt x="12816" y="2886"/>
                          <a:pt x="12816" y="6408"/>
                        </a:cubicBezTo>
                        <a:lnTo>
                          <a:pt x="12816" y="77027"/>
                        </a:lnTo>
                        <a:cubicBezTo>
                          <a:pt x="12842" y="80575"/>
                          <a:pt x="9956" y="83461"/>
                          <a:pt x="6408" y="83461"/>
                        </a:cubicBezTo>
                        <a:close/>
                      </a:path>
                    </a:pathLst>
                  </a:custGeom>
                  <a:solidFill>
                    <a:schemeClr val="accent1"/>
                  </a:solidFill>
                  <a:ln w="2647" cap="flat">
                    <a:noFill/>
                    <a:prstDash val="solid"/>
                    <a:miter/>
                  </a:ln>
                </p:spPr>
                <p:txBody>
                  <a:bodyPr rtlCol="0" anchor="ctr"/>
                  <a:lstStyle/>
                  <a:p>
                    <a:endParaRPr lang="en-GB" dirty="0"/>
                  </a:p>
                </p:txBody>
              </p:sp>
              <p:sp>
                <p:nvSpPr>
                  <p:cNvPr id="83" name="Freihandform: Form 108">
                    <a:extLst>
                      <a:ext uri="{FF2B5EF4-FFF2-40B4-BE49-F238E27FC236}">
                        <a16:creationId xmlns:a16="http://schemas.microsoft.com/office/drawing/2014/main" id="{60A8DBAF-AEDA-4C7C-AEEC-A00D3629F678}"/>
                      </a:ext>
                    </a:extLst>
                  </p:cNvPr>
                  <p:cNvSpPr/>
                  <p:nvPr/>
                </p:nvSpPr>
                <p:spPr>
                  <a:xfrm>
                    <a:off x="1071582" y="1742284"/>
                    <a:ext cx="218271" cy="141767"/>
                  </a:xfrm>
                  <a:custGeom>
                    <a:avLst/>
                    <a:gdLst>
                      <a:gd name="connsiteX0" fmla="*/ 191695 w 218271"/>
                      <a:gd name="connsiteY0" fmla="*/ 141767 h 141767"/>
                      <a:gd name="connsiteX1" fmla="*/ 143980 w 218271"/>
                      <a:gd name="connsiteY1" fmla="*/ 141767 h 141767"/>
                      <a:gd name="connsiteX2" fmla="*/ 126690 w 218271"/>
                      <a:gd name="connsiteY2" fmla="*/ 138590 h 141767"/>
                      <a:gd name="connsiteX3" fmla="*/ 125869 w 218271"/>
                      <a:gd name="connsiteY3" fmla="*/ 138722 h 141767"/>
                      <a:gd name="connsiteX4" fmla="*/ 88957 w 218271"/>
                      <a:gd name="connsiteY4" fmla="*/ 141741 h 141767"/>
                      <a:gd name="connsiteX5" fmla="*/ 26467 w 218271"/>
                      <a:gd name="connsiteY5" fmla="*/ 141767 h 141767"/>
                      <a:gd name="connsiteX6" fmla="*/ 4914 w 218271"/>
                      <a:gd name="connsiteY6" fmla="*/ 132526 h 141767"/>
                      <a:gd name="connsiteX7" fmla="*/ 227 w 218271"/>
                      <a:gd name="connsiteY7" fmla="*/ 116533 h 141767"/>
                      <a:gd name="connsiteX8" fmla="*/ 13572 w 218271"/>
                      <a:gd name="connsiteY8" fmla="*/ 42101 h 141767"/>
                      <a:gd name="connsiteX9" fmla="*/ 69178 w 218271"/>
                      <a:gd name="connsiteY9" fmla="*/ 0 h 141767"/>
                      <a:gd name="connsiteX10" fmla="*/ 77042 w 218271"/>
                      <a:gd name="connsiteY10" fmla="*/ 0 h 141767"/>
                      <a:gd name="connsiteX11" fmla="*/ 82894 w 218271"/>
                      <a:gd name="connsiteY11" fmla="*/ 3786 h 141767"/>
                      <a:gd name="connsiteX12" fmla="*/ 115754 w 218271"/>
                      <a:gd name="connsiteY12" fmla="*/ 76735 h 141767"/>
                      <a:gd name="connsiteX13" fmla="*/ 148217 w 218271"/>
                      <a:gd name="connsiteY13" fmla="*/ 3786 h 141767"/>
                      <a:gd name="connsiteX14" fmla="*/ 154069 w 218271"/>
                      <a:gd name="connsiteY14" fmla="*/ 0 h 141767"/>
                      <a:gd name="connsiteX15" fmla="*/ 158649 w 218271"/>
                      <a:gd name="connsiteY15" fmla="*/ 0 h 141767"/>
                      <a:gd name="connsiteX16" fmla="*/ 207900 w 218271"/>
                      <a:gd name="connsiteY16" fmla="*/ 41942 h 141767"/>
                      <a:gd name="connsiteX17" fmla="*/ 217962 w 218271"/>
                      <a:gd name="connsiteY17" fmla="*/ 116613 h 141767"/>
                      <a:gd name="connsiteX18" fmla="*/ 213752 w 218271"/>
                      <a:gd name="connsiteY18" fmla="*/ 131758 h 141767"/>
                      <a:gd name="connsiteX19" fmla="*/ 191695 w 218271"/>
                      <a:gd name="connsiteY19" fmla="*/ 141767 h 141767"/>
                      <a:gd name="connsiteX20" fmla="*/ 124889 w 218271"/>
                      <a:gd name="connsiteY20" fmla="*/ 124318 h 141767"/>
                      <a:gd name="connsiteX21" fmla="*/ 144007 w 218271"/>
                      <a:gd name="connsiteY21" fmla="*/ 128925 h 141767"/>
                      <a:gd name="connsiteX22" fmla="*/ 191721 w 218271"/>
                      <a:gd name="connsiteY22" fmla="*/ 128925 h 141767"/>
                      <a:gd name="connsiteX23" fmla="*/ 203875 w 218271"/>
                      <a:gd name="connsiteY23" fmla="*/ 123629 h 141767"/>
                      <a:gd name="connsiteX24" fmla="*/ 205332 w 218271"/>
                      <a:gd name="connsiteY24" fmla="*/ 118731 h 141767"/>
                      <a:gd name="connsiteX25" fmla="*/ 195270 w 218271"/>
                      <a:gd name="connsiteY25" fmla="*/ 44087 h 141767"/>
                      <a:gd name="connsiteX26" fmla="*/ 158676 w 218271"/>
                      <a:gd name="connsiteY26" fmla="*/ 12842 h 141767"/>
                      <a:gd name="connsiteX27" fmla="*/ 158252 w 218271"/>
                      <a:gd name="connsiteY27" fmla="*/ 12842 h 141767"/>
                      <a:gd name="connsiteX28" fmla="*/ 127087 w 218271"/>
                      <a:gd name="connsiteY28" fmla="*/ 82005 h 141767"/>
                      <a:gd name="connsiteX29" fmla="*/ 115595 w 218271"/>
                      <a:gd name="connsiteY29" fmla="*/ 89154 h 141767"/>
                      <a:gd name="connsiteX30" fmla="*/ 104289 w 218271"/>
                      <a:gd name="connsiteY30" fmla="*/ 82402 h 141767"/>
                      <a:gd name="connsiteX31" fmla="*/ 72938 w 218271"/>
                      <a:gd name="connsiteY31" fmla="*/ 12816 h 141767"/>
                      <a:gd name="connsiteX32" fmla="*/ 69204 w 218271"/>
                      <a:gd name="connsiteY32" fmla="*/ 12816 h 141767"/>
                      <a:gd name="connsiteX33" fmla="*/ 26203 w 218271"/>
                      <a:gd name="connsiteY33" fmla="*/ 44484 h 141767"/>
                      <a:gd name="connsiteX34" fmla="*/ 12937 w 218271"/>
                      <a:gd name="connsiteY34" fmla="*/ 118572 h 141767"/>
                      <a:gd name="connsiteX35" fmla="*/ 14684 w 218271"/>
                      <a:gd name="connsiteY35" fmla="*/ 124106 h 141767"/>
                      <a:gd name="connsiteX36" fmla="*/ 26547 w 218271"/>
                      <a:gd name="connsiteY36" fmla="*/ 128899 h 141767"/>
                      <a:gd name="connsiteX37" fmla="*/ 88507 w 218271"/>
                      <a:gd name="connsiteY37" fmla="*/ 128899 h 141767"/>
                      <a:gd name="connsiteX38" fmla="*/ 106672 w 218271"/>
                      <a:gd name="connsiteY38" fmla="*/ 127389 h 141767"/>
                      <a:gd name="connsiteX39" fmla="*/ 46883 w 218271"/>
                      <a:gd name="connsiteY39" fmla="*/ 106524 h 141767"/>
                      <a:gd name="connsiteX40" fmla="*/ 41454 w 218271"/>
                      <a:gd name="connsiteY40" fmla="*/ 104406 h 141767"/>
                      <a:gd name="connsiteX41" fmla="*/ 39972 w 218271"/>
                      <a:gd name="connsiteY41" fmla="*/ 98766 h 141767"/>
                      <a:gd name="connsiteX42" fmla="*/ 47041 w 218271"/>
                      <a:gd name="connsiteY42" fmla="*/ 66462 h 141767"/>
                      <a:gd name="connsiteX43" fmla="*/ 54694 w 218271"/>
                      <a:gd name="connsiteY43" fmla="*/ 61563 h 141767"/>
                      <a:gd name="connsiteX44" fmla="*/ 59592 w 218271"/>
                      <a:gd name="connsiteY44" fmla="*/ 69216 h 141767"/>
                      <a:gd name="connsiteX45" fmla="*/ 54191 w 218271"/>
                      <a:gd name="connsiteY45" fmla="*/ 93655 h 141767"/>
                      <a:gd name="connsiteX46" fmla="*/ 124889 w 218271"/>
                      <a:gd name="connsiteY46" fmla="*/ 124318 h 141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8271" h="141767">
                        <a:moveTo>
                          <a:pt x="191695" y="141767"/>
                        </a:moveTo>
                        <a:lnTo>
                          <a:pt x="143980" y="141767"/>
                        </a:lnTo>
                        <a:cubicBezTo>
                          <a:pt x="139346" y="141767"/>
                          <a:pt x="132488" y="140364"/>
                          <a:pt x="126690" y="138590"/>
                        </a:cubicBezTo>
                        <a:cubicBezTo>
                          <a:pt x="126425" y="138643"/>
                          <a:pt x="126134" y="138696"/>
                          <a:pt x="125869" y="138722"/>
                        </a:cubicBezTo>
                        <a:lnTo>
                          <a:pt x="88957" y="141741"/>
                        </a:lnTo>
                        <a:lnTo>
                          <a:pt x="26467" y="141767"/>
                        </a:lnTo>
                        <a:cubicBezTo>
                          <a:pt x="18074" y="141767"/>
                          <a:pt x="9812" y="138219"/>
                          <a:pt x="4914" y="132526"/>
                        </a:cubicBezTo>
                        <a:cubicBezTo>
                          <a:pt x="1021" y="128025"/>
                          <a:pt x="-647" y="122358"/>
                          <a:pt x="227" y="116533"/>
                        </a:cubicBezTo>
                        <a:lnTo>
                          <a:pt x="13572" y="42101"/>
                        </a:lnTo>
                        <a:cubicBezTo>
                          <a:pt x="18232" y="19224"/>
                          <a:pt x="43679" y="0"/>
                          <a:pt x="69178" y="0"/>
                        </a:cubicBezTo>
                        <a:lnTo>
                          <a:pt x="77042" y="0"/>
                        </a:lnTo>
                        <a:cubicBezTo>
                          <a:pt x="79557" y="0"/>
                          <a:pt x="81861" y="1483"/>
                          <a:pt x="82894" y="3786"/>
                        </a:cubicBezTo>
                        <a:lnTo>
                          <a:pt x="115754" y="76735"/>
                        </a:lnTo>
                        <a:lnTo>
                          <a:pt x="148217" y="3786"/>
                        </a:lnTo>
                        <a:cubicBezTo>
                          <a:pt x="149249" y="1483"/>
                          <a:pt x="151553" y="0"/>
                          <a:pt x="154069" y="0"/>
                        </a:cubicBezTo>
                        <a:lnTo>
                          <a:pt x="158649" y="0"/>
                        </a:lnTo>
                        <a:cubicBezTo>
                          <a:pt x="182242" y="0"/>
                          <a:pt x="202948" y="17635"/>
                          <a:pt x="207900" y="41942"/>
                        </a:cubicBezTo>
                        <a:lnTo>
                          <a:pt x="217962" y="116613"/>
                        </a:lnTo>
                        <a:cubicBezTo>
                          <a:pt x="218968" y="121670"/>
                          <a:pt x="217512" y="127204"/>
                          <a:pt x="213752" y="131758"/>
                        </a:cubicBezTo>
                        <a:cubicBezTo>
                          <a:pt x="208800" y="137849"/>
                          <a:pt x="200142" y="141767"/>
                          <a:pt x="191695" y="141767"/>
                        </a:cubicBezTo>
                        <a:close/>
                        <a:moveTo>
                          <a:pt x="124889" y="124318"/>
                        </a:moveTo>
                        <a:cubicBezTo>
                          <a:pt x="129576" y="126489"/>
                          <a:pt x="139611" y="128925"/>
                          <a:pt x="144007" y="128925"/>
                        </a:cubicBezTo>
                        <a:lnTo>
                          <a:pt x="191721" y="128925"/>
                        </a:lnTo>
                        <a:cubicBezTo>
                          <a:pt x="196329" y="128925"/>
                          <a:pt x="201307" y="126754"/>
                          <a:pt x="203875" y="123629"/>
                        </a:cubicBezTo>
                        <a:cubicBezTo>
                          <a:pt x="205835" y="121246"/>
                          <a:pt x="205464" y="119340"/>
                          <a:pt x="205332" y="118731"/>
                        </a:cubicBezTo>
                        <a:lnTo>
                          <a:pt x="195270" y="44087"/>
                        </a:lnTo>
                        <a:cubicBezTo>
                          <a:pt x="191616" y="26161"/>
                          <a:pt x="176178" y="12842"/>
                          <a:pt x="158676" y="12842"/>
                        </a:cubicBezTo>
                        <a:lnTo>
                          <a:pt x="158252" y="12842"/>
                        </a:lnTo>
                        <a:lnTo>
                          <a:pt x="127087" y="82005"/>
                        </a:lnTo>
                        <a:cubicBezTo>
                          <a:pt x="124651" y="86586"/>
                          <a:pt x="120308" y="89154"/>
                          <a:pt x="115595" y="89154"/>
                        </a:cubicBezTo>
                        <a:cubicBezTo>
                          <a:pt x="110855" y="89154"/>
                          <a:pt x="106539" y="86559"/>
                          <a:pt x="104289" y="82402"/>
                        </a:cubicBezTo>
                        <a:lnTo>
                          <a:pt x="72938" y="12816"/>
                        </a:lnTo>
                        <a:lnTo>
                          <a:pt x="69204" y="12816"/>
                        </a:lnTo>
                        <a:cubicBezTo>
                          <a:pt x="49742" y="12816"/>
                          <a:pt x="29645" y="27617"/>
                          <a:pt x="26203" y="44484"/>
                        </a:cubicBezTo>
                        <a:lnTo>
                          <a:pt x="12937" y="118572"/>
                        </a:lnTo>
                        <a:cubicBezTo>
                          <a:pt x="12645" y="120531"/>
                          <a:pt x="13202" y="122385"/>
                          <a:pt x="14684" y="124106"/>
                        </a:cubicBezTo>
                        <a:cubicBezTo>
                          <a:pt x="17147" y="126966"/>
                          <a:pt x="21913" y="128899"/>
                          <a:pt x="26547" y="128899"/>
                        </a:cubicBezTo>
                        <a:lnTo>
                          <a:pt x="88507" y="128899"/>
                        </a:lnTo>
                        <a:lnTo>
                          <a:pt x="106672" y="127389"/>
                        </a:lnTo>
                        <a:cubicBezTo>
                          <a:pt x="92347" y="118334"/>
                          <a:pt x="66821" y="104538"/>
                          <a:pt x="46883" y="106524"/>
                        </a:cubicBezTo>
                        <a:cubicBezTo>
                          <a:pt x="44817" y="106736"/>
                          <a:pt x="42805" y="105942"/>
                          <a:pt x="41454" y="104406"/>
                        </a:cubicBezTo>
                        <a:cubicBezTo>
                          <a:pt x="40077" y="102870"/>
                          <a:pt x="39548" y="100778"/>
                          <a:pt x="39972" y="98766"/>
                        </a:cubicBezTo>
                        <a:lnTo>
                          <a:pt x="47041" y="66462"/>
                        </a:lnTo>
                        <a:cubicBezTo>
                          <a:pt x="47809" y="62993"/>
                          <a:pt x="51225" y="60795"/>
                          <a:pt x="54694" y="61563"/>
                        </a:cubicBezTo>
                        <a:cubicBezTo>
                          <a:pt x="58163" y="62331"/>
                          <a:pt x="60360" y="65747"/>
                          <a:pt x="59592" y="69216"/>
                        </a:cubicBezTo>
                        <a:lnTo>
                          <a:pt x="54191" y="93655"/>
                        </a:lnTo>
                        <a:cubicBezTo>
                          <a:pt x="85091" y="95509"/>
                          <a:pt x="119937" y="120637"/>
                          <a:pt x="124889" y="124318"/>
                        </a:cubicBezTo>
                        <a:close/>
                      </a:path>
                    </a:pathLst>
                  </a:custGeom>
                  <a:solidFill>
                    <a:schemeClr val="accent1"/>
                  </a:solidFill>
                  <a:ln w="2647" cap="flat">
                    <a:noFill/>
                    <a:prstDash val="solid"/>
                    <a:miter/>
                  </a:ln>
                </p:spPr>
                <p:txBody>
                  <a:bodyPr rtlCol="0" anchor="ctr"/>
                  <a:lstStyle/>
                  <a:p>
                    <a:endParaRPr lang="en-GB" dirty="0"/>
                  </a:p>
                </p:txBody>
              </p:sp>
              <p:sp>
                <p:nvSpPr>
                  <p:cNvPr id="84" name="Freihandform: Form 109">
                    <a:extLst>
                      <a:ext uri="{FF2B5EF4-FFF2-40B4-BE49-F238E27FC236}">
                        <a16:creationId xmlns:a16="http://schemas.microsoft.com/office/drawing/2014/main" id="{8F1863C3-F3DE-42B3-8A91-FB81C4AA9704}"/>
                      </a:ext>
                    </a:extLst>
                  </p:cNvPr>
                  <p:cNvSpPr/>
                  <p:nvPr/>
                </p:nvSpPr>
                <p:spPr>
                  <a:xfrm>
                    <a:off x="1112567" y="1801990"/>
                    <a:ext cx="136735" cy="45044"/>
                  </a:xfrm>
                  <a:custGeom>
                    <a:avLst/>
                    <a:gdLst>
                      <a:gd name="connsiteX0" fmla="*/ 6427 w 136735"/>
                      <a:gd name="connsiteY0" fmla="*/ 45045 h 45044"/>
                      <a:gd name="connsiteX1" fmla="*/ 2667 w 136735"/>
                      <a:gd name="connsiteY1" fmla="*/ 43827 h 45044"/>
                      <a:gd name="connsiteX2" fmla="*/ 1211 w 136735"/>
                      <a:gd name="connsiteY2" fmla="*/ 34877 h 45044"/>
                      <a:gd name="connsiteX3" fmla="*/ 8969 w 136735"/>
                      <a:gd name="connsiteY3" fmla="*/ 24100 h 45044"/>
                      <a:gd name="connsiteX4" fmla="*/ 26366 w 136735"/>
                      <a:gd name="connsiteY4" fmla="*/ 17586 h 45044"/>
                      <a:gd name="connsiteX5" fmla="*/ 51600 w 136735"/>
                      <a:gd name="connsiteY5" fmla="*/ 22326 h 45044"/>
                      <a:gd name="connsiteX6" fmla="*/ 122881 w 136735"/>
                      <a:gd name="connsiteY6" fmla="*/ 26113 h 45044"/>
                      <a:gd name="connsiteX7" fmla="*/ 121001 w 136735"/>
                      <a:gd name="connsiteY7" fmla="*/ 7048 h 45044"/>
                      <a:gd name="connsiteX8" fmla="*/ 126747 w 136735"/>
                      <a:gd name="connsiteY8" fmla="*/ 31 h 45044"/>
                      <a:gd name="connsiteX9" fmla="*/ 133764 w 136735"/>
                      <a:gd name="connsiteY9" fmla="*/ 5777 h 45044"/>
                      <a:gd name="connsiteX10" fmla="*/ 136703 w 136735"/>
                      <a:gd name="connsiteY10" fmla="*/ 35433 h 45044"/>
                      <a:gd name="connsiteX11" fmla="*/ 133870 w 136735"/>
                      <a:gd name="connsiteY11" fmla="*/ 41417 h 45044"/>
                      <a:gd name="connsiteX12" fmla="*/ 127276 w 136735"/>
                      <a:gd name="connsiteY12" fmla="*/ 41735 h 45044"/>
                      <a:gd name="connsiteX13" fmla="*/ 52183 w 136735"/>
                      <a:gd name="connsiteY13" fmla="*/ 35195 h 45044"/>
                      <a:gd name="connsiteX14" fmla="*/ 50197 w 136735"/>
                      <a:gd name="connsiteY14" fmla="*/ 35142 h 45044"/>
                      <a:gd name="connsiteX15" fmla="*/ 23374 w 136735"/>
                      <a:gd name="connsiteY15" fmla="*/ 30111 h 45044"/>
                      <a:gd name="connsiteX16" fmla="*/ 21997 w 136735"/>
                      <a:gd name="connsiteY16" fmla="*/ 29687 h 45044"/>
                      <a:gd name="connsiteX17" fmla="*/ 19349 w 136735"/>
                      <a:gd name="connsiteY17" fmla="*/ 31620 h 45044"/>
                      <a:gd name="connsiteX18" fmla="*/ 11591 w 136735"/>
                      <a:gd name="connsiteY18" fmla="*/ 42397 h 45044"/>
                      <a:gd name="connsiteX19" fmla="*/ 6427 w 136735"/>
                      <a:gd name="connsiteY19" fmla="*/ 45045 h 45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6735" h="45044">
                        <a:moveTo>
                          <a:pt x="6427" y="45045"/>
                        </a:moveTo>
                        <a:cubicBezTo>
                          <a:pt x="5130" y="45045"/>
                          <a:pt x="3806" y="44648"/>
                          <a:pt x="2667" y="43827"/>
                        </a:cubicBezTo>
                        <a:cubicBezTo>
                          <a:pt x="-219" y="41761"/>
                          <a:pt x="-854" y="37737"/>
                          <a:pt x="1211" y="34877"/>
                        </a:cubicBezTo>
                        <a:lnTo>
                          <a:pt x="8969" y="24100"/>
                        </a:lnTo>
                        <a:cubicBezTo>
                          <a:pt x="12412" y="19307"/>
                          <a:pt x="18978" y="14833"/>
                          <a:pt x="26366" y="17586"/>
                        </a:cubicBezTo>
                        <a:lnTo>
                          <a:pt x="51600" y="22326"/>
                        </a:lnTo>
                        <a:cubicBezTo>
                          <a:pt x="58485" y="21558"/>
                          <a:pt x="96376" y="17772"/>
                          <a:pt x="122881" y="26113"/>
                        </a:cubicBezTo>
                        <a:lnTo>
                          <a:pt x="121001" y="7048"/>
                        </a:lnTo>
                        <a:cubicBezTo>
                          <a:pt x="120657" y="3526"/>
                          <a:pt x="123225" y="375"/>
                          <a:pt x="126747" y="31"/>
                        </a:cubicBezTo>
                        <a:cubicBezTo>
                          <a:pt x="130269" y="-313"/>
                          <a:pt x="133420" y="2255"/>
                          <a:pt x="133764" y="5777"/>
                        </a:cubicBezTo>
                        <a:lnTo>
                          <a:pt x="136703" y="35433"/>
                        </a:lnTo>
                        <a:cubicBezTo>
                          <a:pt x="136941" y="37790"/>
                          <a:pt x="135856" y="40093"/>
                          <a:pt x="133870" y="41417"/>
                        </a:cubicBezTo>
                        <a:cubicBezTo>
                          <a:pt x="131884" y="42741"/>
                          <a:pt x="129368" y="42847"/>
                          <a:pt x="127276" y="41735"/>
                        </a:cubicBezTo>
                        <a:cubicBezTo>
                          <a:pt x="103525" y="28946"/>
                          <a:pt x="52686" y="35142"/>
                          <a:pt x="52183" y="35195"/>
                        </a:cubicBezTo>
                        <a:cubicBezTo>
                          <a:pt x="51521" y="35274"/>
                          <a:pt x="50859" y="35248"/>
                          <a:pt x="50197" y="35142"/>
                        </a:cubicBezTo>
                        <a:lnTo>
                          <a:pt x="23374" y="30111"/>
                        </a:lnTo>
                        <a:cubicBezTo>
                          <a:pt x="22897" y="30031"/>
                          <a:pt x="22447" y="29873"/>
                          <a:pt x="21997" y="29687"/>
                        </a:cubicBezTo>
                        <a:cubicBezTo>
                          <a:pt x="21547" y="29449"/>
                          <a:pt x="20196" y="30455"/>
                          <a:pt x="19349" y="31620"/>
                        </a:cubicBezTo>
                        <a:lnTo>
                          <a:pt x="11591" y="42397"/>
                        </a:lnTo>
                        <a:cubicBezTo>
                          <a:pt x="10373" y="44118"/>
                          <a:pt x="8413" y="45045"/>
                          <a:pt x="6427" y="45045"/>
                        </a:cubicBezTo>
                        <a:close/>
                      </a:path>
                    </a:pathLst>
                  </a:custGeom>
                  <a:solidFill>
                    <a:schemeClr val="accent1"/>
                  </a:solidFill>
                  <a:ln w="2647" cap="flat">
                    <a:noFill/>
                    <a:prstDash val="solid"/>
                    <a:miter/>
                  </a:ln>
                </p:spPr>
                <p:txBody>
                  <a:bodyPr rtlCol="0" anchor="ctr"/>
                  <a:lstStyle/>
                  <a:p>
                    <a:endParaRPr lang="en-GB" dirty="0"/>
                  </a:p>
                </p:txBody>
              </p:sp>
            </p:grpSp>
          </p:grpSp>
          <p:sp>
            <p:nvSpPr>
              <p:cNvPr id="75" name="Freihandform: Form 111">
                <a:extLst>
                  <a:ext uri="{FF2B5EF4-FFF2-40B4-BE49-F238E27FC236}">
                    <a16:creationId xmlns:a16="http://schemas.microsoft.com/office/drawing/2014/main" id="{6EA5C34A-8648-4FAD-AAA3-35ECA3974D86}"/>
                  </a:ext>
                </a:extLst>
              </p:cNvPr>
              <p:cNvSpPr/>
              <p:nvPr/>
            </p:nvSpPr>
            <p:spPr>
              <a:xfrm>
                <a:off x="1180716" y="1967036"/>
                <a:ext cx="12815" cy="134776"/>
              </a:xfrm>
              <a:custGeom>
                <a:avLst/>
                <a:gdLst>
                  <a:gd name="connsiteX0" fmla="*/ 6408 w 12815"/>
                  <a:gd name="connsiteY0" fmla="*/ 134777 h 134776"/>
                  <a:gd name="connsiteX1" fmla="*/ 0 w 12815"/>
                  <a:gd name="connsiteY1" fmla="*/ 128369 h 134776"/>
                  <a:gd name="connsiteX2" fmla="*/ 0 w 12815"/>
                  <a:gd name="connsiteY2" fmla="*/ 6408 h 134776"/>
                  <a:gd name="connsiteX3" fmla="*/ 6408 w 12815"/>
                  <a:gd name="connsiteY3" fmla="*/ 0 h 134776"/>
                  <a:gd name="connsiteX4" fmla="*/ 12816 w 12815"/>
                  <a:gd name="connsiteY4" fmla="*/ 6408 h 134776"/>
                  <a:gd name="connsiteX5" fmla="*/ 12816 w 12815"/>
                  <a:gd name="connsiteY5" fmla="*/ 128369 h 134776"/>
                  <a:gd name="connsiteX6" fmla="*/ 6408 w 12815"/>
                  <a:gd name="connsiteY6" fmla="*/ 134777 h 13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15" h="134776">
                    <a:moveTo>
                      <a:pt x="6408" y="134777"/>
                    </a:moveTo>
                    <a:cubicBezTo>
                      <a:pt x="2860" y="134777"/>
                      <a:pt x="0" y="131891"/>
                      <a:pt x="0" y="128369"/>
                    </a:cubicBezTo>
                    <a:lnTo>
                      <a:pt x="0" y="6408"/>
                    </a:lnTo>
                    <a:cubicBezTo>
                      <a:pt x="0" y="2860"/>
                      <a:pt x="2886" y="0"/>
                      <a:pt x="6408" y="0"/>
                    </a:cubicBezTo>
                    <a:cubicBezTo>
                      <a:pt x="9956" y="0"/>
                      <a:pt x="12816" y="2886"/>
                      <a:pt x="12816" y="6408"/>
                    </a:cubicBezTo>
                    <a:lnTo>
                      <a:pt x="12816" y="128369"/>
                    </a:lnTo>
                    <a:cubicBezTo>
                      <a:pt x="12842" y="131891"/>
                      <a:pt x="9956" y="134777"/>
                      <a:pt x="6408" y="134777"/>
                    </a:cubicBezTo>
                    <a:close/>
                  </a:path>
                </a:pathLst>
              </a:custGeom>
              <a:solidFill>
                <a:schemeClr val="accent1"/>
              </a:solidFill>
              <a:ln w="2647" cap="flat">
                <a:noFill/>
                <a:prstDash val="solid"/>
                <a:miter/>
              </a:ln>
            </p:spPr>
            <p:txBody>
              <a:bodyPr rtlCol="0" anchor="ctr"/>
              <a:lstStyle/>
              <a:p>
                <a:endParaRPr lang="en-GB" dirty="0"/>
              </a:p>
            </p:txBody>
          </p:sp>
        </p:grpSp>
      </p:grpSp>
      <p:grpSp>
        <p:nvGrpSpPr>
          <p:cNvPr id="38" name="Group 37">
            <a:extLst>
              <a:ext uri="{FF2B5EF4-FFF2-40B4-BE49-F238E27FC236}">
                <a16:creationId xmlns:a16="http://schemas.microsoft.com/office/drawing/2014/main" id="{3D9BBEA4-543C-AB33-44B3-60288FDDC218}"/>
              </a:ext>
            </a:extLst>
          </p:cNvPr>
          <p:cNvGrpSpPr/>
          <p:nvPr/>
        </p:nvGrpSpPr>
        <p:grpSpPr>
          <a:xfrm>
            <a:off x="2670319" y="1585983"/>
            <a:ext cx="429198" cy="431996"/>
            <a:chOff x="2670319" y="1585983"/>
            <a:chExt cx="429198" cy="431996"/>
          </a:xfrm>
        </p:grpSpPr>
        <p:grpSp>
          <p:nvGrpSpPr>
            <p:cNvPr id="97" name="Grafik 289">
              <a:extLst>
                <a:ext uri="{FF2B5EF4-FFF2-40B4-BE49-F238E27FC236}">
                  <a16:creationId xmlns:a16="http://schemas.microsoft.com/office/drawing/2014/main" id="{7747FEA7-E0FA-4EF8-8057-D79550350C2E}"/>
                </a:ext>
              </a:extLst>
            </p:cNvPr>
            <p:cNvGrpSpPr/>
            <p:nvPr/>
          </p:nvGrpSpPr>
          <p:grpSpPr>
            <a:xfrm>
              <a:off x="2739830" y="1585983"/>
              <a:ext cx="286808" cy="172477"/>
              <a:chOff x="5394188" y="1666528"/>
              <a:chExt cx="285857" cy="171905"/>
            </a:xfrm>
            <a:solidFill>
              <a:schemeClr val="accent1"/>
            </a:solidFill>
          </p:grpSpPr>
          <p:sp>
            <p:nvSpPr>
              <p:cNvPr id="128" name="Freihandform: Form 606">
                <a:extLst>
                  <a:ext uri="{FF2B5EF4-FFF2-40B4-BE49-F238E27FC236}">
                    <a16:creationId xmlns:a16="http://schemas.microsoft.com/office/drawing/2014/main" id="{44D8CCAF-35DE-4D1B-943F-7A038BA4D0A7}"/>
                  </a:ext>
                </a:extLst>
              </p:cNvPr>
              <p:cNvSpPr/>
              <p:nvPr/>
            </p:nvSpPr>
            <p:spPr>
              <a:xfrm>
                <a:off x="5529996" y="1738323"/>
                <a:ext cx="150048" cy="100110"/>
              </a:xfrm>
              <a:custGeom>
                <a:avLst/>
                <a:gdLst>
                  <a:gd name="connsiteX0" fmla="*/ 93068 w 150048"/>
                  <a:gd name="connsiteY0" fmla="*/ 100110 h 100110"/>
                  <a:gd name="connsiteX1" fmla="*/ 90379 w 150048"/>
                  <a:gd name="connsiteY1" fmla="*/ 99519 h 100110"/>
                  <a:gd name="connsiteX2" fmla="*/ 86603 w 150048"/>
                  <a:gd name="connsiteY2" fmla="*/ 93627 h 100110"/>
                  <a:gd name="connsiteX3" fmla="*/ 86603 w 150048"/>
                  <a:gd name="connsiteY3" fmla="*/ 78523 h 100110"/>
                  <a:gd name="connsiteX4" fmla="*/ 53174 w 150048"/>
                  <a:gd name="connsiteY4" fmla="*/ 96678 h 100110"/>
                  <a:gd name="connsiteX5" fmla="*/ 44097 w 150048"/>
                  <a:gd name="connsiteY5" fmla="*/ 97841 h 100110"/>
                  <a:gd name="connsiteX6" fmla="*/ 42933 w 150048"/>
                  <a:gd name="connsiteY6" fmla="*/ 88764 h 100110"/>
                  <a:gd name="connsiteX7" fmla="*/ 93068 w 150048"/>
                  <a:gd name="connsiteY7" fmla="*/ 65251 h 100110"/>
                  <a:gd name="connsiteX8" fmla="*/ 99533 w 150048"/>
                  <a:gd name="connsiteY8" fmla="*/ 71715 h 100110"/>
                  <a:gd name="connsiteX9" fmla="*/ 99533 w 150048"/>
                  <a:gd name="connsiteY9" fmla="*/ 79515 h 100110"/>
                  <a:gd name="connsiteX10" fmla="*/ 133668 w 150048"/>
                  <a:gd name="connsiteY10" fmla="*/ 50071 h 100110"/>
                  <a:gd name="connsiteX11" fmla="*/ 99533 w 150048"/>
                  <a:gd name="connsiteY11" fmla="*/ 20627 h 100110"/>
                  <a:gd name="connsiteX12" fmla="*/ 99533 w 150048"/>
                  <a:gd name="connsiteY12" fmla="*/ 28427 h 100110"/>
                  <a:gd name="connsiteX13" fmla="*/ 93068 w 150048"/>
                  <a:gd name="connsiteY13" fmla="*/ 34891 h 100110"/>
                  <a:gd name="connsiteX14" fmla="*/ 28745 w 150048"/>
                  <a:gd name="connsiteY14" fmla="*/ 60121 h 100110"/>
                  <a:gd name="connsiteX15" fmla="*/ 12803 w 150048"/>
                  <a:gd name="connsiteY15" fmla="*/ 76959 h 100110"/>
                  <a:gd name="connsiteX16" fmla="*/ 10991 w 150048"/>
                  <a:gd name="connsiteY16" fmla="*/ 78981 h 100110"/>
                  <a:gd name="connsiteX17" fmla="*/ 1838 w 150048"/>
                  <a:gd name="connsiteY17" fmla="*/ 78866 h 100110"/>
                  <a:gd name="connsiteX18" fmla="*/ 1838 w 150048"/>
                  <a:gd name="connsiteY18" fmla="*/ 69827 h 100110"/>
                  <a:gd name="connsiteX19" fmla="*/ 3077 w 150048"/>
                  <a:gd name="connsiteY19" fmla="*/ 68416 h 100110"/>
                  <a:gd name="connsiteX20" fmla="*/ 20107 w 150048"/>
                  <a:gd name="connsiteY20" fmla="*/ 50471 h 100110"/>
                  <a:gd name="connsiteX21" fmla="*/ 86584 w 150048"/>
                  <a:gd name="connsiteY21" fmla="*/ 22134 h 100110"/>
                  <a:gd name="connsiteX22" fmla="*/ 86584 w 150048"/>
                  <a:gd name="connsiteY22" fmla="*/ 6477 h 100110"/>
                  <a:gd name="connsiteX23" fmla="*/ 90360 w 150048"/>
                  <a:gd name="connsiteY23" fmla="*/ 585 h 100110"/>
                  <a:gd name="connsiteX24" fmla="*/ 97283 w 150048"/>
                  <a:gd name="connsiteY24" fmla="*/ 1576 h 100110"/>
                  <a:gd name="connsiteX25" fmla="*/ 147799 w 150048"/>
                  <a:gd name="connsiteY25" fmla="*/ 45151 h 100110"/>
                  <a:gd name="connsiteX26" fmla="*/ 150049 w 150048"/>
                  <a:gd name="connsiteY26" fmla="*/ 50052 h 100110"/>
                  <a:gd name="connsiteX27" fmla="*/ 147799 w 150048"/>
                  <a:gd name="connsiteY27" fmla="*/ 54953 h 100110"/>
                  <a:gd name="connsiteX28" fmla="*/ 97283 w 150048"/>
                  <a:gd name="connsiteY28" fmla="*/ 98527 h 100110"/>
                  <a:gd name="connsiteX29" fmla="*/ 93068 w 150048"/>
                  <a:gd name="connsiteY29" fmla="*/ 100110 h 100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0048" h="100110">
                    <a:moveTo>
                      <a:pt x="93068" y="100110"/>
                    </a:moveTo>
                    <a:cubicBezTo>
                      <a:pt x="92153" y="100110"/>
                      <a:pt x="91237" y="99920"/>
                      <a:pt x="90379" y="99519"/>
                    </a:cubicBezTo>
                    <a:cubicBezTo>
                      <a:pt x="88072" y="98470"/>
                      <a:pt x="86603" y="96163"/>
                      <a:pt x="86603" y="93627"/>
                    </a:cubicBezTo>
                    <a:lnTo>
                      <a:pt x="86603" y="78523"/>
                    </a:lnTo>
                    <a:cubicBezTo>
                      <a:pt x="72873" y="80030"/>
                      <a:pt x="61164" y="86342"/>
                      <a:pt x="53174" y="96678"/>
                    </a:cubicBezTo>
                    <a:cubicBezTo>
                      <a:pt x="51000" y="99519"/>
                      <a:pt x="46919" y="100034"/>
                      <a:pt x="44097" y="97841"/>
                    </a:cubicBezTo>
                    <a:cubicBezTo>
                      <a:pt x="41274" y="95648"/>
                      <a:pt x="40740" y="91586"/>
                      <a:pt x="42933" y="88764"/>
                    </a:cubicBezTo>
                    <a:cubicBezTo>
                      <a:pt x="54661" y="73603"/>
                      <a:pt x="72473" y="65251"/>
                      <a:pt x="93068" y="65251"/>
                    </a:cubicBezTo>
                    <a:cubicBezTo>
                      <a:pt x="96634" y="65251"/>
                      <a:pt x="99533" y="68149"/>
                      <a:pt x="99533" y="71715"/>
                    </a:cubicBezTo>
                    <a:lnTo>
                      <a:pt x="99533" y="79515"/>
                    </a:lnTo>
                    <a:lnTo>
                      <a:pt x="133668" y="50071"/>
                    </a:lnTo>
                    <a:lnTo>
                      <a:pt x="99533" y="20627"/>
                    </a:lnTo>
                    <a:lnTo>
                      <a:pt x="99533" y="28427"/>
                    </a:lnTo>
                    <a:cubicBezTo>
                      <a:pt x="99533" y="31993"/>
                      <a:pt x="96634" y="34891"/>
                      <a:pt x="93068" y="34891"/>
                    </a:cubicBezTo>
                    <a:cubicBezTo>
                      <a:pt x="69765" y="34891"/>
                      <a:pt x="46919" y="43854"/>
                      <a:pt x="28745" y="60121"/>
                    </a:cubicBezTo>
                    <a:cubicBezTo>
                      <a:pt x="23349" y="64945"/>
                      <a:pt x="15969" y="73374"/>
                      <a:pt x="12803" y="76959"/>
                    </a:cubicBezTo>
                    <a:cubicBezTo>
                      <a:pt x="11811" y="78085"/>
                      <a:pt x="11163" y="78809"/>
                      <a:pt x="10991" y="78981"/>
                    </a:cubicBezTo>
                    <a:cubicBezTo>
                      <a:pt x="8436" y="81479"/>
                      <a:pt x="4336" y="81441"/>
                      <a:pt x="1838" y="78866"/>
                    </a:cubicBezTo>
                    <a:cubicBezTo>
                      <a:pt x="-622" y="76349"/>
                      <a:pt x="-603" y="72345"/>
                      <a:pt x="1838" y="69827"/>
                    </a:cubicBezTo>
                    <a:lnTo>
                      <a:pt x="3077" y="68416"/>
                    </a:lnTo>
                    <a:cubicBezTo>
                      <a:pt x="6396" y="64640"/>
                      <a:pt x="14138" y="55811"/>
                      <a:pt x="20107" y="50471"/>
                    </a:cubicBezTo>
                    <a:cubicBezTo>
                      <a:pt x="38967" y="33575"/>
                      <a:pt x="62366" y="23640"/>
                      <a:pt x="86584" y="22134"/>
                    </a:cubicBezTo>
                    <a:lnTo>
                      <a:pt x="86584" y="6477"/>
                    </a:lnTo>
                    <a:cubicBezTo>
                      <a:pt x="86584" y="3941"/>
                      <a:pt x="88053" y="1653"/>
                      <a:pt x="90360" y="585"/>
                    </a:cubicBezTo>
                    <a:cubicBezTo>
                      <a:pt x="92668" y="-464"/>
                      <a:pt x="95357" y="-83"/>
                      <a:pt x="97283" y="1576"/>
                    </a:cubicBezTo>
                    <a:lnTo>
                      <a:pt x="147799" y="45151"/>
                    </a:lnTo>
                    <a:cubicBezTo>
                      <a:pt x="149229" y="46371"/>
                      <a:pt x="150049" y="48164"/>
                      <a:pt x="150049" y="50052"/>
                    </a:cubicBezTo>
                    <a:cubicBezTo>
                      <a:pt x="150049" y="51940"/>
                      <a:pt x="149229" y="53732"/>
                      <a:pt x="147799" y="54953"/>
                    </a:cubicBezTo>
                    <a:lnTo>
                      <a:pt x="97283" y="98527"/>
                    </a:lnTo>
                    <a:cubicBezTo>
                      <a:pt x="96100" y="99576"/>
                      <a:pt x="94594" y="100110"/>
                      <a:pt x="93068" y="100110"/>
                    </a:cubicBezTo>
                    <a:close/>
                  </a:path>
                </a:pathLst>
              </a:custGeom>
              <a:solidFill>
                <a:schemeClr val="accent1"/>
              </a:solidFill>
              <a:ln w="1901" cap="flat">
                <a:noFill/>
                <a:prstDash val="solid"/>
                <a:miter/>
              </a:ln>
            </p:spPr>
            <p:txBody>
              <a:bodyPr rtlCol="0" anchor="ctr"/>
              <a:lstStyle/>
              <a:p>
                <a:endParaRPr lang="en-GB" dirty="0"/>
              </a:p>
            </p:txBody>
          </p:sp>
          <p:sp>
            <p:nvSpPr>
              <p:cNvPr id="129" name="Freihandform: Form 607">
                <a:extLst>
                  <a:ext uri="{FF2B5EF4-FFF2-40B4-BE49-F238E27FC236}">
                    <a16:creationId xmlns:a16="http://schemas.microsoft.com/office/drawing/2014/main" id="{7EE6A440-80B7-401B-BBF8-9A0118662A53}"/>
                  </a:ext>
                </a:extLst>
              </p:cNvPr>
              <p:cNvSpPr/>
              <p:nvPr/>
            </p:nvSpPr>
            <p:spPr>
              <a:xfrm>
                <a:off x="5394188" y="1738323"/>
                <a:ext cx="153251" cy="100110"/>
              </a:xfrm>
              <a:custGeom>
                <a:avLst/>
                <a:gdLst>
                  <a:gd name="connsiteX0" fmla="*/ 57000 w 153251"/>
                  <a:gd name="connsiteY0" fmla="*/ 100110 h 100110"/>
                  <a:gd name="connsiteX1" fmla="*/ 52766 w 153251"/>
                  <a:gd name="connsiteY1" fmla="*/ 98547 h 100110"/>
                  <a:gd name="connsiteX2" fmla="*/ 2250 w 153251"/>
                  <a:gd name="connsiteY2" fmla="*/ 54953 h 100110"/>
                  <a:gd name="connsiteX3" fmla="*/ 0 w 153251"/>
                  <a:gd name="connsiteY3" fmla="*/ 50052 h 100110"/>
                  <a:gd name="connsiteX4" fmla="*/ 2250 w 153251"/>
                  <a:gd name="connsiteY4" fmla="*/ 45151 h 100110"/>
                  <a:gd name="connsiteX5" fmla="*/ 52766 w 153251"/>
                  <a:gd name="connsiteY5" fmla="*/ 1576 h 100110"/>
                  <a:gd name="connsiteX6" fmla="*/ 59689 w 153251"/>
                  <a:gd name="connsiteY6" fmla="*/ 585 h 100110"/>
                  <a:gd name="connsiteX7" fmla="*/ 63465 w 153251"/>
                  <a:gd name="connsiteY7" fmla="*/ 6477 h 100110"/>
                  <a:gd name="connsiteX8" fmla="*/ 63465 w 153251"/>
                  <a:gd name="connsiteY8" fmla="*/ 22114 h 100110"/>
                  <a:gd name="connsiteX9" fmla="*/ 152597 w 153251"/>
                  <a:gd name="connsiteY9" fmla="*/ 81307 h 100110"/>
                  <a:gd name="connsiteX10" fmla="*/ 149622 w 153251"/>
                  <a:gd name="connsiteY10" fmla="*/ 89965 h 100110"/>
                  <a:gd name="connsiteX11" fmla="*/ 140964 w 153251"/>
                  <a:gd name="connsiteY11" fmla="*/ 86990 h 100110"/>
                  <a:gd name="connsiteX12" fmla="*/ 56981 w 153251"/>
                  <a:gd name="connsiteY12" fmla="*/ 34872 h 100110"/>
                  <a:gd name="connsiteX13" fmla="*/ 50516 w 153251"/>
                  <a:gd name="connsiteY13" fmla="*/ 28408 h 100110"/>
                  <a:gd name="connsiteX14" fmla="*/ 50516 w 153251"/>
                  <a:gd name="connsiteY14" fmla="*/ 20608 h 100110"/>
                  <a:gd name="connsiteX15" fmla="*/ 16381 w 153251"/>
                  <a:gd name="connsiteY15" fmla="*/ 50052 h 100110"/>
                  <a:gd name="connsiteX16" fmla="*/ 50516 w 153251"/>
                  <a:gd name="connsiteY16" fmla="*/ 79496 h 100110"/>
                  <a:gd name="connsiteX17" fmla="*/ 50516 w 153251"/>
                  <a:gd name="connsiteY17" fmla="*/ 71696 h 100110"/>
                  <a:gd name="connsiteX18" fmla="*/ 56981 w 153251"/>
                  <a:gd name="connsiteY18" fmla="*/ 65231 h 100110"/>
                  <a:gd name="connsiteX19" fmla="*/ 106963 w 153251"/>
                  <a:gd name="connsiteY19" fmla="*/ 89526 h 100110"/>
                  <a:gd name="connsiteX20" fmla="*/ 105666 w 153251"/>
                  <a:gd name="connsiteY20" fmla="*/ 98585 h 100110"/>
                  <a:gd name="connsiteX21" fmla="*/ 96608 w 153251"/>
                  <a:gd name="connsiteY21" fmla="*/ 97288 h 100110"/>
                  <a:gd name="connsiteX22" fmla="*/ 63465 w 153251"/>
                  <a:gd name="connsiteY22" fmla="*/ 78523 h 100110"/>
                  <a:gd name="connsiteX23" fmla="*/ 63465 w 153251"/>
                  <a:gd name="connsiteY23" fmla="*/ 93627 h 100110"/>
                  <a:gd name="connsiteX24" fmla="*/ 59689 w 153251"/>
                  <a:gd name="connsiteY24" fmla="*/ 99519 h 100110"/>
                  <a:gd name="connsiteX25" fmla="*/ 57000 w 153251"/>
                  <a:gd name="connsiteY25" fmla="*/ 100110 h 100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3251" h="100110">
                    <a:moveTo>
                      <a:pt x="57000" y="100110"/>
                    </a:moveTo>
                    <a:cubicBezTo>
                      <a:pt x="55474" y="100110"/>
                      <a:pt x="53968" y="99576"/>
                      <a:pt x="52766" y="98547"/>
                    </a:cubicBezTo>
                    <a:lnTo>
                      <a:pt x="2250" y="54953"/>
                    </a:lnTo>
                    <a:cubicBezTo>
                      <a:pt x="820" y="53732"/>
                      <a:pt x="0" y="51940"/>
                      <a:pt x="0" y="50052"/>
                    </a:cubicBezTo>
                    <a:cubicBezTo>
                      <a:pt x="0" y="48164"/>
                      <a:pt x="820" y="46371"/>
                      <a:pt x="2250" y="45151"/>
                    </a:cubicBezTo>
                    <a:lnTo>
                      <a:pt x="52766" y="1576"/>
                    </a:lnTo>
                    <a:cubicBezTo>
                      <a:pt x="54692" y="-83"/>
                      <a:pt x="57381" y="-464"/>
                      <a:pt x="59689" y="585"/>
                    </a:cubicBezTo>
                    <a:cubicBezTo>
                      <a:pt x="61996" y="1633"/>
                      <a:pt x="63465" y="3941"/>
                      <a:pt x="63465" y="6477"/>
                    </a:cubicBezTo>
                    <a:lnTo>
                      <a:pt x="63465" y="22114"/>
                    </a:lnTo>
                    <a:cubicBezTo>
                      <a:pt x="101909" y="24365"/>
                      <a:pt x="135663" y="46619"/>
                      <a:pt x="152597" y="81307"/>
                    </a:cubicBezTo>
                    <a:cubicBezTo>
                      <a:pt x="154161" y="84511"/>
                      <a:pt x="152826" y="88401"/>
                      <a:pt x="149622" y="89965"/>
                    </a:cubicBezTo>
                    <a:cubicBezTo>
                      <a:pt x="146399" y="91548"/>
                      <a:pt x="142528" y="90194"/>
                      <a:pt x="140964" y="86990"/>
                    </a:cubicBezTo>
                    <a:cubicBezTo>
                      <a:pt x="125270" y="54838"/>
                      <a:pt x="93099" y="34872"/>
                      <a:pt x="56981" y="34872"/>
                    </a:cubicBezTo>
                    <a:cubicBezTo>
                      <a:pt x="53415" y="34872"/>
                      <a:pt x="50516" y="31974"/>
                      <a:pt x="50516" y="28408"/>
                    </a:cubicBezTo>
                    <a:lnTo>
                      <a:pt x="50516" y="20608"/>
                    </a:lnTo>
                    <a:lnTo>
                      <a:pt x="16381" y="50052"/>
                    </a:lnTo>
                    <a:lnTo>
                      <a:pt x="50516" y="79496"/>
                    </a:lnTo>
                    <a:lnTo>
                      <a:pt x="50516" y="71696"/>
                    </a:lnTo>
                    <a:cubicBezTo>
                      <a:pt x="50516" y="68130"/>
                      <a:pt x="53415" y="65231"/>
                      <a:pt x="56981" y="65231"/>
                    </a:cubicBezTo>
                    <a:cubicBezTo>
                      <a:pt x="77462" y="65231"/>
                      <a:pt x="95216" y="73851"/>
                      <a:pt x="106963" y="89526"/>
                    </a:cubicBezTo>
                    <a:cubicBezTo>
                      <a:pt x="109099" y="92387"/>
                      <a:pt x="108527" y="96449"/>
                      <a:pt x="105666" y="98585"/>
                    </a:cubicBezTo>
                    <a:cubicBezTo>
                      <a:pt x="102806" y="100740"/>
                      <a:pt x="98744" y="100148"/>
                      <a:pt x="96608" y="97288"/>
                    </a:cubicBezTo>
                    <a:cubicBezTo>
                      <a:pt x="88484" y="86456"/>
                      <a:pt x="77119" y="80049"/>
                      <a:pt x="63465" y="78523"/>
                    </a:cubicBezTo>
                    <a:lnTo>
                      <a:pt x="63465" y="93627"/>
                    </a:lnTo>
                    <a:cubicBezTo>
                      <a:pt x="63465" y="96163"/>
                      <a:pt x="61996" y="98451"/>
                      <a:pt x="59689" y="99519"/>
                    </a:cubicBezTo>
                    <a:cubicBezTo>
                      <a:pt x="58831" y="99920"/>
                      <a:pt x="57915" y="100110"/>
                      <a:pt x="57000" y="100110"/>
                    </a:cubicBezTo>
                    <a:close/>
                  </a:path>
                </a:pathLst>
              </a:custGeom>
              <a:solidFill>
                <a:schemeClr val="accent1"/>
              </a:solidFill>
              <a:ln w="1901" cap="flat">
                <a:noFill/>
                <a:prstDash val="solid"/>
                <a:miter/>
              </a:ln>
            </p:spPr>
            <p:txBody>
              <a:bodyPr rtlCol="0" anchor="ctr"/>
              <a:lstStyle/>
              <a:p>
                <a:endParaRPr lang="en-GB" dirty="0"/>
              </a:p>
            </p:txBody>
          </p:sp>
          <p:sp>
            <p:nvSpPr>
              <p:cNvPr id="130" name="Freihandform: Form 608">
                <a:extLst>
                  <a:ext uri="{FF2B5EF4-FFF2-40B4-BE49-F238E27FC236}">
                    <a16:creationId xmlns:a16="http://schemas.microsoft.com/office/drawing/2014/main" id="{60E541A2-22FC-42BA-AAA9-5A1445F2ACDC}"/>
                  </a:ext>
                </a:extLst>
              </p:cNvPr>
              <p:cNvSpPr/>
              <p:nvPr/>
            </p:nvSpPr>
            <p:spPr>
              <a:xfrm>
                <a:off x="5487103" y="1666528"/>
                <a:ext cx="100103" cy="129913"/>
              </a:xfrm>
              <a:custGeom>
                <a:avLst/>
                <a:gdLst>
                  <a:gd name="connsiteX0" fmla="*/ 71677 w 100103"/>
                  <a:gd name="connsiteY0" fmla="*/ 129914 h 129913"/>
                  <a:gd name="connsiteX1" fmla="*/ 65212 w 100103"/>
                  <a:gd name="connsiteY1" fmla="*/ 123449 h 129913"/>
                  <a:gd name="connsiteX2" fmla="*/ 65212 w 100103"/>
                  <a:gd name="connsiteY2" fmla="*/ 56895 h 129913"/>
                  <a:gd name="connsiteX3" fmla="*/ 71677 w 100103"/>
                  <a:gd name="connsiteY3" fmla="*/ 50430 h 129913"/>
                  <a:gd name="connsiteX4" fmla="*/ 79477 w 100103"/>
                  <a:gd name="connsiteY4" fmla="*/ 50430 h 129913"/>
                  <a:gd name="connsiteX5" fmla="*/ 50033 w 100103"/>
                  <a:gd name="connsiteY5" fmla="*/ 16295 h 129913"/>
                  <a:gd name="connsiteX6" fmla="*/ 20589 w 100103"/>
                  <a:gd name="connsiteY6" fmla="*/ 50430 h 129913"/>
                  <a:gd name="connsiteX7" fmla="*/ 28388 w 100103"/>
                  <a:gd name="connsiteY7" fmla="*/ 50430 h 129913"/>
                  <a:gd name="connsiteX8" fmla="*/ 34853 w 100103"/>
                  <a:gd name="connsiteY8" fmla="*/ 56895 h 129913"/>
                  <a:gd name="connsiteX9" fmla="*/ 34853 w 100103"/>
                  <a:gd name="connsiteY9" fmla="*/ 123449 h 129913"/>
                  <a:gd name="connsiteX10" fmla="*/ 28388 w 100103"/>
                  <a:gd name="connsiteY10" fmla="*/ 129914 h 129913"/>
                  <a:gd name="connsiteX11" fmla="*/ 21924 w 100103"/>
                  <a:gd name="connsiteY11" fmla="*/ 123449 h 129913"/>
                  <a:gd name="connsiteX12" fmla="*/ 21924 w 100103"/>
                  <a:gd name="connsiteY12" fmla="*/ 63360 h 129913"/>
                  <a:gd name="connsiteX13" fmla="*/ 6477 w 100103"/>
                  <a:gd name="connsiteY13" fmla="*/ 63360 h 129913"/>
                  <a:gd name="connsiteX14" fmla="*/ 585 w 100103"/>
                  <a:gd name="connsiteY14" fmla="*/ 59584 h 129913"/>
                  <a:gd name="connsiteX15" fmla="*/ 1576 w 100103"/>
                  <a:gd name="connsiteY15" fmla="*/ 52661 h 129913"/>
                  <a:gd name="connsiteX16" fmla="*/ 45151 w 100103"/>
                  <a:gd name="connsiteY16" fmla="*/ 2145 h 129913"/>
                  <a:gd name="connsiteX17" fmla="*/ 54953 w 100103"/>
                  <a:gd name="connsiteY17" fmla="*/ 2145 h 129913"/>
                  <a:gd name="connsiteX18" fmla="*/ 98527 w 100103"/>
                  <a:gd name="connsiteY18" fmla="*/ 52661 h 129913"/>
                  <a:gd name="connsiteX19" fmla="*/ 99519 w 100103"/>
                  <a:gd name="connsiteY19" fmla="*/ 59584 h 129913"/>
                  <a:gd name="connsiteX20" fmla="*/ 93627 w 100103"/>
                  <a:gd name="connsiteY20" fmla="*/ 63360 h 129913"/>
                  <a:gd name="connsiteX21" fmla="*/ 78180 w 100103"/>
                  <a:gd name="connsiteY21" fmla="*/ 63360 h 129913"/>
                  <a:gd name="connsiteX22" fmla="*/ 78180 w 100103"/>
                  <a:gd name="connsiteY22" fmla="*/ 123449 h 129913"/>
                  <a:gd name="connsiteX23" fmla="*/ 71677 w 100103"/>
                  <a:gd name="connsiteY23" fmla="*/ 129914 h 129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00103" h="129913">
                    <a:moveTo>
                      <a:pt x="71677" y="129914"/>
                    </a:moveTo>
                    <a:cubicBezTo>
                      <a:pt x="68111" y="129914"/>
                      <a:pt x="65212" y="127015"/>
                      <a:pt x="65212" y="123449"/>
                    </a:cubicBezTo>
                    <a:lnTo>
                      <a:pt x="65212" y="56895"/>
                    </a:lnTo>
                    <a:cubicBezTo>
                      <a:pt x="65212" y="53329"/>
                      <a:pt x="68111" y="50430"/>
                      <a:pt x="71677" y="50430"/>
                    </a:cubicBezTo>
                    <a:lnTo>
                      <a:pt x="79477" y="50430"/>
                    </a:lnTo>
                    <a:lnTo>
                      <a:pt x="50033" y="16295"/>
                    </a:lnTo>
                    <a:lnTo>
                      <a:pt x="20589" y="50430"/>
                    </a:lnTo>
                    <a:lnTo>
                      <a:pt x="28388" y="50430"/>
                    </a:lnTo>
                    <a:cubicBezTo>
                      <a:pt x="31955" y="50430"/>
                      <a:pt x="34853" y="53329"/>
                      <a:pt x="34853" y="56895"/>
                    </a:cubicBezTo>
                    <a:lnTo>
                      <a:pt x="34853" y="123449"/>
                    </a:lnTo>
                    <a:cubicBezTo>
                      <a:pt x="34853" y="127015"/>
                      <a:pt x="31955" y="129914"/>
                      <a:pt x="28388" y="129914"/>
                    </a:cubicBezTo>
                    <a:cubicBezTo>
                      <a:pt x="24822" y="129914"/>
                      <a:pt x="21924" y="127015"/>
                      <a:pt x="21924" y="123449"/>
                    </a:cubicBezTo>
                    <a:lnTo>
                      <a:pt x="21924" y="63360"/>
                    </a:lnTo>
                    <a:lnTo>
                      <a:pt x="6477" y="63360"/>
                    </a:lnTo>
                    <a:cubicBezTo>
                      <a:pt x="3941" y="63360"/>
                      <a:pt x="1653" y="61891"/>
                      <a:pt x="585" y="59584"/>
                    </a:cubicBezTo>
                    <a:cubicBezTo>
                      <a:pt x="-464" y="57276"/>
                      <a:pt x="-83" y="54568"/>
                      <a:pt x="1576" y="52661"/>
                    </a:cubicBezTo>
                    <a:lnTo>
                      <a:pt x="45151" y="2145"/>
                    </a:lnTo>
                    <a:cubicBezTo>
                      <a:pt x="47611" y="-715"/>
                      <a:pt x="52493" y="-715"/>
                      <a:pt x="54953" y="2145"/>
                    </a:cubicBezTo>
                    <a:lnTo>
                      <a:pt x="98527" y="52661"/>
                    </a:lnTo>
                    <a:cubicBezTo>
                      <a:pt x="100187" y="54588"/>
                      <a:pt x="100568" y="57276"/>
                      <a:pt x="99519" y="59584"/>
                    </a:cubicBezTo>
                    <a:cubicBezTo>
                      <a:pt x="98470" y="61891"/>
                      <a:pt x="96163" y="63360"/>
                      <a:pt x="93627" y="63360"/>
                    </a:cubicBezTo>
                    <a:lnTo>
                      <a:pt x="78180" y="63360"/>
                    </a:lnTo>
                    <a:lnTo>
                      <a:pt x="78180" y="123449"/>
                    </a:lnTo>
                    <a:cubicBezTo>
                      <a:pt x="78161" y="127015"/>
                      <a:pt x="75262" y="129914"/>
                      <a:pt x="71677" y="129914"/>
                    </a:cubicBezTo>
                    <a:close/>
                  </a:path>
                </a:pathLst>
              </a:custGeom>
              <a:solidFill>
                <a:schemeClr val="accent1"/>
              </a:solidFill>
              <a:ln w="1901" cap="flat">
                <a:noFill/>
                <a:prstDash val="solid"/>
                <a:miter/>
              </a:ln>
            </p:spPr>
            <p:txBody>
              <a:bodyPr rtlCol="0" anchor="ctr"/>
              <a:lstStyle/>
              <a:p>
                <a:endParaRPr lang="en-GB" dirty="0"/>
              </a:p>
            </p:txBody>
          </p:sp>
        </p:grpSp>
        <p:grpSp>
          <p:nvGrpSpPr>
            <p:cNvPr id="98" name="Grafik 289">
              <a:extLst>
                <a:ext uri="{FF2B5EF4-FFF2-40B4-BE49-F238E27FC236}">
                  <a16:creationId xmlns:a16="http://schemas.microsoft.com/office/drawing/2014/main" id="{EAD47610-CC24-43E9-AF42-B46FA8D55CC3}"/>
                </a:ext>
              </a:extLst>
            </p:cNvPr>
            <p:cNvGrpSpPr/>
            <p:nvPr/>
          </p:nvGrpSpPr>
          <p:grpSpPr>
            <a:xfrm>
              <a:off x="2670319" y="1767755"/>
              <a:ext cx="429198" cy="250224"/>
              <a:chOff x="5324907" y="1847701"/>
              <a:chExt cx="427775" cy="249395"/>
            </a:xfrm>
            <a:solidFill>
              <a:schemeClr val="tx2"/>
            </a:solidFill>
          </p:grpSpPr>
          <p:grpSp>
            <p:nvGrpSpPr>
              <p:cNvPr id="99" name="Grafik 289">
                <a:extLst>
                  <a:ext uri="{FF2B5EF4-FFF2-40B4-BE49-F238E27FC236}">
                    <a16:creationId xmlns:a16="http://schemas.microsoft.com/office/drawing/2014/main" id="{EAD0BC43-45D8-4A78-AB32-09CCA9727AA0}"/>
                  </a:ext>
                </a:extLst>
              </p:cNvPr>
              <p:cNvGrpSpPr/>
              <p:nvPr/>
            </p:nvGrpSpPr>
            <p:grpSpPr>
              <a:xfrm>
                <a:off x="5324907" y="1939103"/>
                <a:ext cx="427775" cy="138580"/>
                <a:chOff x="5324907" y="1939103"/>
                <a:chExt cx="427775" cy="138580"/>
              </a:xfrm>
              <a:grpFill/>
            </p:grpSpPr>
            <p:grpSp>
              <p:nvGrpSpPr>
                <p:cNvPr id="118" name="Grafik 289">
                  <a:extLst>
                    <a:ext uri="{FF2B5EF4-FFF2-40B4-BE49-F238E27FC236}">
                      <a16:creationId xmlns:a16="http://schemas.microsoft.com/office/drawing/2014/main" id="{688309E2-8ABF-4B2C-8552-100EDF2E172D}"/>
                    </a:ext>
                  </a:extLst>
                </p:cNvPr>
                <p:cNvGrpSpPr/>
                <p:nvPr/>
              </p:nvGrpSpPr>
              <p:grpSpPr>
                <a:xfrm>
                  <a:off x="5324907" y="1939103"/>
                  <a:ext cx="137635" cy="138580"/>
                  <a:chOff x="5324907" y="1939103"/>
                  <a:chExt cx="137635" cy="138580"/>
                </a:xfrm>
                <a:grpFill/>
              </p:grpSpPr>
              <p:sp>
                <p:nvSpPr>
                  <p:cNvPr id="124" name="Freihandform: Form 612">
                    <a:extLst>
                      <a:ext uri="{FF2B5EF4-FFF2-40B4-BE49-F238E27FC236}">
                        <a16:creationId xmlns:a16="http://schemas.microsoft.com/office/drawing/2014/main" id="{5ACB67FE-AC32-479A-B7B3-738D25127011}"/>
                      </a:ext>
                    </a:extLst>
                  </p:cNvPr>
                  <p:cNvSpPr/>
                  <p:nvPr/>
                </p:nvSpPr>
                <p:spPr>
                  <a:xfrm>
                    <a:off x="5324907" y="2001500"/>
                    <a:ext cx="137572" cy="76184"/>
                  </a:xfrm>
                  <a:custGeom>
                    <a:avLst/>
                    <a:gdLst>
                      <a:gd name="connsiteX0" fmla="*/ 89342 w 137572"/>
                      <a:gd name="connsiteY0" fmla="*/ 76184 h 76184"/>
                      <a:gd name="connsiteX1" fmla="*/ 0 w 137572"/>
                      <a:gd name="connsiteY1" fmla="*/ 41591 h 76184"/>
                      <a:gd name="connsiteX2" fmla="*/ 0 w 137572"/>
                      <a:gd name="connsiteY2" fmla="*/ 6465 h 76184"/>
                      <a:gd name="connsiteX3" fmla="*/ 6465 w 137572"/>
                      <a:gd name="connsiteY3" fmla="*/ 0 h 76184"/>
                      <a:gd name="connsiteX4" fmla="*/ 12929 w 137572"/>
                      <a:gd name="connsiteY4" fmla="*/ 6465 h 76184"/>
                      <a:gd name="connsiteX5" fmla="*/ 12929 w 137572"/>
                      <a:gd name="connsiteY5" fmla="*/ 41610 h 76184"/>
                      <a:gd name="connsiteX6" fmla="*/ 89323 w 137572"/>
                      <a:gd name="connsiteY6" fmla="*/ 63255 h 76184"/>
                      <a:gd name="connsiteX7" fmla="*/ 129790 w 137572"/>
                      <a:gd name="connsiteY7" fmla="*/ 59841 h 76184"/>
                      <a:gd name="connsiteX8" fmla="*/ 137437 w 137572"/>
                      <a:gd name="connsiteY8" fmla="*/ 64857 h 76184"/>
                      <a:gd name="connsiteX9" fmla="*/ 132421 w 137572"/>
                      <a:gd name="connsiteY9" fmla="*/ 72504 h 76184"/>
                      <a:gd name="connsiteX10" fmla="*/ 89342 w 137572"/>
                      <a:gd name="connsiteY10" fmla="*/ 76184 h 7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572" h="76184">
                        <a:moveTo>
                          <a:pt x="89342" y="76184"/>
                        </a:moveTo>
                        <a:cubicBezTo>
                          <a:pt x="44948" y="76184"/>
                          <a:pt x="0" y="64304"/>
                          <a:pt x="0" y="41591"/>
                        </a:cubicBezTo>
                        <a:lnTo>
                          <a:pt x="0" y="6465"/>
                        </a:lnTo>
                        <a:cubicBezTo>
                          <a:pt x="0" y="2899"/>
                          <a:pt x="2899" y="0"/>
                          <a:pt x="6465" y="0"/>
                        </a:cubicBezTo>
                        <a:cubicBezTo>
                          <a:pt x="10031" y="0"/>
                          <a:pt x="12929" y="2899"/>
                          <a:pt x="12929" y="6465"/>
                        </a:cubicBezTo>
                        <a:lnTo>
                          <a:pt x="12929" y="41610"/>
                        </a:lnTo>
                        <a:cubicBezTo>
                          <a:pt x="12929" y="50230"/>
                          <a:pt x="43403" y="63255"/>
                          <a:pt x="89323" y="63255"/>
                        </a:cubicBezTo>
                        <a:cubicBezTo>
                          <a:pt x="105971" y="63255"/>
                          <a:pt x="118443" y="62206"/>
                          <a:pt x="129790" y="59841"/>
                        </a:cubicBezTo>
                        <a:cubicBezTo>
                          <a:pt x="133298" y="59117"/>
                          <a:pt x="136712" y="61367"/>
                          <a:pt x="137437" y="64857"/>
                        </a:cubicBezTo>
                        <a:cubicBezTo>
                          <a:pt x="138161" y="68366"/>
                          <a:pt x="135911" y="71779"/>
                          <a:pt x="132421" y="72504"/>
                        </a:cubicBezTo>
                        <a:cubicBezTo>
                          <a:pt x="120197" y="75040"/>
                          <a:pt x="106906" y="76184"/>
                          <a:pt x="89342" y="76184"/>
                        </a:cubicBezTo>
                        <a:close/>
                      </a:path>
                    </a:pathLst>
                  </a:custGeom>
                  <a:grpFill/>
                  <a:ln w="1901" cap="flat">
                    <a:noFill/>
                    <a:prstDash val="solid"/>
                    <a:miter/>
                  </a:ln>
                </p:spPr>
                <p:txBody>
                  <a:bodyPr rtlCol="0" anchor="ctr"/>
                  <a:lstStyle/>
                  <a:p>
                    <a:endParaRPr lang="en-GB" dirty="0"/>
                  </a:p>
                </p:txBody>
              </p:sp>
              <p:grpSp>
                <p:nvGrpSpPr>
                  <p:cNvPr id="125" name="Grafik 289">
                    <a:extLst>
                      <a:ext uri="{FF2B5EF4-FFF2-40B4-BE49-F238E27FC236}">
                        <a16:creationId xmlns:a16="http://schemas.microsoft.com/office/drawing/2014/main" id="{B2B17E17-E14D-4A6C-8D2B-124F568AC913}"/>
                      </a:ext>
                    </a:extLst>
                  </p:cNvPr>
                  <p:cNvGrpSpPr/>
                  <p:nvPr/>
                </p:nvGrpSpPr>
                <p:grpSpPr>
                  <a:xfrm>
                    <a:off x="5324907" y="1939103"/>
                    <a:ext cx="137635" cy="104312"/>
                    <a:chOff x="5324907" y="1939103"/>
                    <a:chExt cx="137635" cy="104312"/>
                  </a:xfrm>
                  <a:grpFill/>
                </p:grpSpPr>
                <p:sp>
                  <p:nvSpPr>
                    <p:cNvPr id="126" name="Freihandform: Form 614">
                      <a:extLst>
                        <a:ext uri="{FF2B5EF4-FFF2-40B4-BE49-F238E27FC236}">
                          <a16:creationId xmlns:a16="http://schemas.microsoft.com/office/drawing/2014/main" id="{74989D13-DB77-44E5-B6D6-CE6199F8EA03}"/>
                        </a:ext>
                      </a:extLst>
                    </p:cNvPr>
                    <p:cNvSpPr/>
                    <p:nvPr/>
                  </p:nvSpPr>
                  <p:spPr>
                    <a:xfrm>
                      <a:off x="5324907" y="1939103"/>
                      <a:ext cx="137635" cy="69185"/>
                    </a:xfrm>
                    <a:custGeom>
                      <a:avLst/>
                      <a:gdLst>
                        <a:gd name="connsiteX0" fmla="*/ 89342 w 137635"/>
                        <a:gd name="connsiteY0" fmla="*/ 69186 h 69185"/>
                        <a:gd name="connsiteX1" fmla="*/ 0 w 137635"/>
                        <a:gd name="connsiteY1" fmla="*/ 34593 h 69185"/>
                        <a:gd name="connsiteX2" fmla="*/ 89342 w 137635"/>
                        <a:gd name="connsiteY2" fmla="*/ 0 h 69185"/>
                        <a:gd name="connsiteX3" fmla="*/ 131544 w 137635"/>
                        <a:gd name="connsiteY3" fmla="*/ 3795 h 69185"/>
                        <a:gd name="connsiteX4" fmla="*/ 136674 w 137635"/>
                        <a:gd name="connsiteY4" fmla="*/ 11385 h 69185"/>
                        <a:gd name="connsiteX5" fmla="*/ 129084 w 137635"/>
                        <a:gd name="connsiteY5" fmla="*/ 16515 h 69185"/>
                        <a:gd name="connsiteX6" fmla="*/ 89323 w 137635"/>
                        <a:gd name="connsiteY6" fmla="*/ 12968 h 69185"/>
                        <a:gd name="connsiteX7" fmla="*/ 12929 w 137635"/>
                        <a:gd name="connsiteY7" fmla="*/ 34612 h 69185"/>
                        <a:gd name="connsiteX8" fmla="*/ 89323 w 137635"/>
                        <a:gd name="connsiteY8" fmla="*/ 56256 h 69185"/>
                        <a:gd name="connsiteX9" fmla="*/ 129904 w 137635"/>
                        <a:gd name="connsiteY9" fmla="*/ 52538 h 69185"/>
                        <a:gd name="connsiteX10" fmla="*/ 137513 w 137635"/>
                        <a:gd name="connsiteY10" fmla="*/ 57629 h 69185"/>
                        <a:gd name="connsiteX11" fmla="*/ 132421 w 137635"/>
                        <a:gd name="connsiteY11" fmla="*/ 65238 h 69185"/>
                        <a:gd name="connsiteX12" fmla="*/ 89342 w 137635"/>
                        <a:gd name="connsiteY12" fmla="*/ 69186 h 69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635" h="69185">
                          <a:moveTo>
                            <a:pt x="89342" y="69186"/>
                          </a:moveTo>
                          <a:cubicBezTo>
                            <a:pt x="44948" y="69186"/>
                            <a:pt x="0" y="57305"/>
                            <a:pt x="0" y="34593"/>
                          </a:cubicBezTo>
                          <a:cubicBezTo>
                            <a:pt x="0" y="11881"/>
                            <a:pt x="44948" y="0"/>
                            <a:pt x="89342" y="0"/>
                          </a:cubicBezTo>
                          <a:cubicBezTo>
                            <a:pt x="104121" y="0"/>
                            <a:pt x="118729" y="1316"/>
                            <a:pt x="131544" y="3795"/>
                          </a:cubicBezTo>
                          <a:cubicBezTo>
                            <a:pt x="135053" y="4481"/>
                            <a:pt x="137341" y="7876"/>
                            <a:pt x="136674" y="11385"/>
                          </a:cubicBezTo>
                          <a:cubicBezTo>
                            <a:pt x="135987" y="14894"/>
                            <a:pt x="132593" y="17182"/>
                            <a:pt x="129084" y="16515"/>
                          </a:cubicBezTo>
                          <a:cubicBezTo>
                            <a:pt x="117051" y="14188"/>
                            <a:pt x="103301" y="12968"/>
                            <a:pt x="89323" y="12968"/>
                          </a:cubicBezTo>
                          <a:cubicBezTo>
                            <a:pt x="43403" y="12968"/>
                            <a:pt x="12929" y="25992"/>
                            <a:pt x="12929" y="34612"/>
                          </a:cubicBezTo>
                          <a:cubicBezTo>
                            <a:pt x="12929" y="43231"/>
                            <a:pt x="43403" y="56256"/>
                            <a:pt x="89323" y="56256"/>
                          </a:cubicBezTo>
                          <a:cubicBezTo>
                            <a:pt x="103645" y="56256"/>
                            <a:pt x="117661" y="54978"/>
                            <a:pt x="129904" y="52538"/>
                          </a:cubicBezTo>
                          <a:cubicBezTo>
                            <a:pt x="133394" y="51870"/>
                            <a:pt x="136826" y="54120"/>
                            <a:pt x="137513" y="57629"/>
                          </a:cubicBezTo>
                          <a:cubicBezTo>
                            <a:pt x="138199" y="61138"/>
                            <a:pt x="135930" y="64552"/>
                            <a:pt x="132421" y="65238"/>
                          </a:cubicBezTo>
                          <a:cubicBezTo>
                            <a:pt x="119396" y="67812"/>
                            <a:pt x="104484" y="69186"/>
                            <a:pt x="89342" y="69186"/>
                          </a:cubicBezTo>
                          <a:close/>
                        </a:path>
                      </a:pathLst>
                    </a:custGeom>
                    <a:grpFill/>
                    <a:ln w="1901" cap="flat">
                      <a:noFill/>
                      <a:prstDash val="solid"/>
                      <a:miter/>
                    </a:ln>
                  </p:spPr>
                  <p:txBody>
                    <a:bodyPr rtlCol="0" anchor="ctr"/>
                    <a:lstStyle/>
                    <a:p>
                      <a:endParaRPr lang="en-GB" dirty="0"/>
                    </a:p>
                  </p:txBody>
                </p:sp>
                <p:sp>
                  <p:nvSpPr>
                    <p:cNvPr id="127" name="Freihandform: Form 615">
                      <a:extLst>
                        <a:ext uri="{FF2B5EF4-FFF2-40B4-BE49-F238E27FC236}">
                          <a16:creationId xmlns:a16="http://schemas.microsoft.com/office/drawing/2014/main" id="{F71B291B-0DBF-4E2B-876A-18B0801985A4}"/>
                        </a:ext>
                      </a:extLst>
                    </p:cNvPr>
                    <p:cNvSpPr/>
                    <p:nvPr/>
                  </p:nvSpPr>
                  <p:spPr>
                    <a:xfrm>
                      <a:off x="5324907" y="1967212"/>
                      <a:ext cx="136732" cy="76203"/>
                    </a:xfrm>
                    <a:custGeom>
                      <a:avLst/>
                      <a:gdLst>
                        <a:gd name="connsiteX0" fmla="*/ 89342 w 136732"/>
                        <a:gd name="connsiteY0" fmla="*/ 76203 h 76203"/>
                        <a:gd name="connsiteX1" fmla="*/ 0 w 136732"/>
                        <a:gd name="connsiteY1" fmla="*/ 41610 h 76203"/>
                        <a:gd name="connsiteX2" fmla="*/ 0 w 136732"/>
                        <a:gd name="connsiteY2" fmla="*/ 6465 h 76203"/>
                        <a:gd name="connsiteX3" fmla="*/ 6465 w 136732"/>
                        <a:gd name="connsiteY3" fmla="*/ 0 h 76203"/>
                        <a:gd name="connsiteX4" fmla="*/ 12929 w 136732"/>
                        <a:gd name="connsiteY4" fmla="*/ 6465 h 76203"/>
                        <a:gd name="connsiteX5" fmla="*/ 12929 w 136732"/>
                        <a:gd name="connsiteY5" fmla="*/ 41610 h 76203"/>
                        <a:gd name="connsiteX6" fmla="*/ 89323 w 136732"/>
                        <a:gd name="connsiteY6" fmla="*/ 63255 h 76203"/>
                        <a:gd name="connsiteX7" fmla="*/ 129027 w 136732"/>
                        <a:gd name="connsiteY7" fmla="*/ 59708 h 76203"/>
                        <a:gd name="connsiteX8" fmla="*/ 136617 w 136732"/>
                        <a:gd name="connsiteY8" fmla="*/ 64838 h 76203"/>
                        <a:gd name="connsiteX9" fmla="*/ 131487 w 136732"/>
                        <a:gd name="connsiteY9" fmla="*/ 72427 h 76203"/>
                        <a:gd name="connsiteX10" fmla="*/ 89342 w 136732"/>
                        <a:gd name="connsiteY10" fmla="*/ 76203 h 7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732" h="76203">
                          <a:moveTo>
                            <a:pt x="89342" y="76203"/>
                          </a:moveTo>
                          <a:cubicBezTo>
                            <a:pt x="44948" y="76203"/>
                            <a:pt x="0" y="64323"/>
                            <a:pt x="0" y="41610"/>
                          </a:cubicBezTo>
                          <a:lnTo>
                            <a:pt x="0" y="6465"/>
                          </a:lnTo>
                          <a:cubicBezTo>
                            <a:pt x="0" y="2880"/>
                            <a:pt x="2899" y="0"/>
                            <a:pt x="6465" y="0"/>
                          </a:cubicBezTo>
                          <a:cubicBezTo>
                            <a:pt x="10031" y="0"/>
                            <a:pt x="12929" y="2899"/>
                            <a:pt x="12929" y="6465"/>
                          </a:cubicBezTo>
                          <a:lnTo>
                            <a:pt x="12929" y="41610"/>
                          </a:lnTo>
                          <a:cubicBezTo>
                            <a:pt x="12929" y="50230"/>
                            <a:pt x="43403" y="63255"/>
                            <a:pt x="89323" y="63255"/>
                          </a:cubicBezTo>
                          <a:cubicBezTo>
                            <a:pt x="103301" y="63255"/>
                            <a:pt x="117032" y="62034"/>
                            <a:pt x="129027" y="59708"/>
                          </a:cubicBezTo>
                          <a:cubicBezTo>
                            <a:pt x="132555" y="59021"/>
                            <a:pt x="135930" y="61329"/>
                            <a:pt x="136617" y="64838"/>
                          </a:cubicBezTo>
                          <a:cubicBezTo>
                            <a:pt x="137284" y="68346"/>
                            <a:pt x="134996" y="71741"/>
                            <a:pt x="131487" y="72427"/>
                          </a:cubicBezTo>
                          <a:cubicBezTo>
                            <a:pt x="118691" y="74906"/>
                            <a:pt x="104121" y="76203"/>
                            <a:pt x="89342" y="76203"/>
                          </a:cubicBezTo>
                          <a:close/>
                        </a:path>
                      </a:pathLst>
                    </a:custGeom>
                    <a:grpFill/>
                    <a:ln w="1901" cap="flat">
                      <a:noFill/>
                      <a:prstDash val="solid"/>
                      <a:miter/>
                    </a:ln>
                  </p:spPr>
                  <p:txBody>
                    <a:bodyPr rtlCol="0" anchor="ctr"/>
                    <a:lstStyle/>
                    <a:p>
                      <a:endParaRPr lang="en-GB" dirty="0"/>
                    </a:p>
                  </p:txBody>
                </p:sp>
              </p:grpSp>
            </p:grpSp>
            <p:grpSp>
              <p:nvGrpSpPr>
                <p:cNvPr id="119" name="Grafik 289">
                  <a:extLst>
                    <a:ext uri="{FF2B5EF4-FFF2-40B4-BE49-F238E27FC236}">
                      <a16:creationId xmlns:a16="http://schemas.microsoft.com/office/drawing/2014/main" id="{D1769D03-0A72-4A0E-9A4D-BBE032FFBF4D}"/>
                    </a:ext>
                  </a:extLst>
                </p:cNvPr>
                <p:cNvGrpSpPr/>
                <p:nvPr/>
              </p:nvGrpSpPr>
              <p:grpSpPr>
                <a:xfrm>
                  <a:off x="5615383" y="1939103"/>
                  <a:ext cx="137298" cy="138580"/>
                  <a:chOff x="5615383" y="1939103"/>
                  <a:chExt cx="137298" cy="138580"/>
                </a:xfrm>
                <a:grpFill/>
              </p:grpSpPr>
              <p:sp>
                <p:nvSpPr>
                  <p:cNvPr id="120" name="Freihandform: Form 617">
                    <a:extLst>
                      <a:ext uri="{FF2B5EF4-FFF2-40B4-BE49-F238E27FC236}">
                        <a16:creationId xmlns:a16="http://schemas.microsoft.com/office/drawing/2014/main" id="{83576C3D-C9BC-42DD-804A-EBD9D9E9E0A5}"/>
                      </a:ext>
                    </a:extLst>
                  </p:cNvPr>
                  <p:cNvSpPr/>
                  <p:nvPr/>
                </p:nvSpPr>
                <p:spPr>
                  <a:xfrm>
                    <a:off x="5615383" y="2001500"/>
                    <a:ext cx="137260" cy="76184"/>
                  </a:xfrm>
                  <a:custGeom>
                    <a:avLst/>
                    <a:gdLst>
                      <a:gd name="connsiteX0" fmla="*/ 47957 w 137260"/>
                      <a:gd name="connsiteY0" fmla="*/ 76184 h 76184"/>
                      <a:gd name="connsiteX1" fmla="*/ 5183 w 137260"/>
                      <a:gd name="connsiteY1" fmla="*/ 72103 h 76184"/>
                      <a:gd name="connsiteX2" fmla="*/ 129 w 137260"/>
                      <a:gd name="connsiteY2" fmla="*/ 64475 h 76184"/>
                      <a:gd name="connsiteX3" fmla="*/ 7757 w 137260"/>
                      <a:gd name="connsiteY3" fmla="*/ 59422 h 76184"/>
                      <a:gd name="connsiteX4" fmla="*/ 47938 w 137260"/>
                      <a:gd name="connsiteY4" fmla="*/ 63236 h 76184"/>
                      <a:gd name="connsiteX5" fmla="*/ 124331 w 137260"/>
                      <a:gd name="connsiteY5" fmla="*/ 41591 h 76184"/>
                      <a:gd name="connsiteX6" fmla="*/ 124331 w 137260"/>
                      <a:gd name="connsiteY6" fmla="*/ 6465 h 76184"/>
                      <a:gd name="connsiteX7" fmla="*/ 130796 w 137260"/>
                      <a:gd name="connsiteY7" fmla="*/ 0 h 76184"/>
                      <a:gd name="connsiteX8" fmla="*/ 137261 w 137260"/>
                      <a:gd name="connsiteY8" fmla="*/ 6465 h 76184"/>
                      <a:gd name="connsiteX9" fmla="*/ 137261 w 137260"/>
                      <a:gd name="connsiteY9" fmla="*/ 41610 h 76184"/>
                      <a:gd name="connsiteX10" fmla="*/ 47957 w 137260"/>
                      <a:gd name="connsiteY10" fmla="*/ 76184 h 76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7260" h="76184">
                        <a:moveTo>
                          <a:pt x="47957" y="76184"/>
                        </a:moveTo>
                        <a:cubicBezTo>
                          <a:pt x="32605" y="76184"/>
                          <a:pt x="18608" y="74849"/>
                          <a:pt x="5183" y="72103"/>
                        </a:cubicBezTo>
                        <a:cubicBezTo>
                          <a:pt x="1674" y="71398"/>
                          <a:pt x="-576" y="67965"/>
                          <a:pt x="129" y="64475"/>
                        </a:cubicBezTo>
                        <a:cubicBezTo>
                          <a:pt x="835" y="60966"/>
                          <a:pt x="4268" y="58697"/>
                          <a:pt x="7757" y="59422"/>
                        </a:cubicBezTo>
                        <a:cubicBezTo>
                          <a:pt x="20324" y="61996"/>
                          <a:pt x="33463" y="63236"/>
                          <a:pt x="47938" y="63236"/>
                        </a:cubicBezTo>
                        <a:cubicBezTo>
                          <a:pt x="93858" y="63236"/>
                          <a:pt x="124331" y="50211"/>
                          <a:pt x="124331" y="41591"/>
                        </a:cubicBezTo>
                        <a:lnTo>
                          <a:pt x="124331" y="6465"/>
                        </a:lnTo>
                        <a:cubicBezTo>
                          <a:pt x="124331" y="2899"/>
                          <a:pt x="127230" y="0"/>
                          <a:pt x="130796" y="0"/>
                        </a:cubicBezTo>
                        <a:cubicBezTo>
                          <a:pt x="134362" y="0"/>
                          <a:pt x="137261" y="2899"/>
                          <a:pt x="137261" y="6465"/>
                        </a:cubicBezTo>
                        <a:lnTo>
                          <a:pt x="137261" y="41610"/>
                        </a:lnTo>
                        <a:cubicBezTo>
                          <a:pt x="137280" y="64304"/>
                          <a:pt x="92332" y="76184"/>
                          <a:pt x="47957" y="76184"/>
                        </a:cubicBezTo>
                        <a:close/>
                      </a:path>
                    </a:pathLst>
                  </a:custGeom>
                  <a:grpFill/>
                  <a:ln w="1901" cap="flat">
                    <a:noFill/>
                    <a:prstDash val="solid"/>
                    <a:miter/>
                  </a:ln>
                </p:spPr>
                <p:txBody>
                  <a:bodyPr rtlCol="0" anchor="ctr"/>
                  <a:lstStyle/>
                  <a:p>
                    <a:endParaRPr lang="en-GB" dirty="0"/>
                  </a:p>
                </p:txBody>
              </p:sp>
              <p:grpSp>
                <p:nvGrpSpPr>
                  <p:cNvPr id="121" name="Grafik 289">
                    <a:extLst>
                      <a:ext uri="{FF2B5EF4-FFF2-40B4-BE49-F238E27FC236}">
                        <a16:creationId xmlns:a16="http://schemas.microsoft.com/office/drawing/2014/main" id="{D13CC573-21FB-4EAC-974E-ADB9E4E7F09A}"/>
                      </a:ext>
                    </a:extLst>
                  </p:cNvPr>
                  <p:cNvGrpSpPr/>
                  <p:nvPr/>
                </p:nvGrpSpPr>
                <p:grpSpPr>
                  <a:xfrm>
                    <a:off x="5615556" y="1939103"/>
                    <a:ext cx="137126" cy="104312"/>
                    <a:chOff x="5615556" y="1939103"/>
                    <a:chExt cx="137126" cy="104312"/>
                  </a:xfrm>
                  <a:grpFill/>
                </p:grpSpPr>
                <p:sp>
                  <p:nvSpPr>
                    <p:cNvPr id="122" name="Freihandform: Form 619">
                      <a:extLst>
                        <a:ext uri="{FF2B5EF4-FFF2-40B4-BE49-F238E27FC236}">
                          <a16:creationId xmlns:a16="http://schemas.microsoft.com/office/drawing/2014/main" id="{55BB7747-944C-42D3-91F8-4F1F89C71AFC}"/>
                        </a:ext>
                      </a:extLst>
                    </p:cNvPr>
                    <p:cNvSpPr/>
                    <p:nvPr/>
                  </p:nvSpPr>
                  <p:spPr>
                    <a:xfrm>
                      <a:off x="5615556" y="1939103"/>
                      <a:ext cx="137126" cy="69185"/>
                    </a:xfrm>
                    <a:custGeom>
                      <a:avLst/>
                      <a:gdLst>
                        <a:gd name="connsiteX0" fmla="*/ 47784 w 137126"/>
                        <a:gd name="connsiteY0" fmla="*/ 69186 h 69185"/>
                        <a:gd name="connsiteX1" fmla="*/ 6040 w 137126"/>
                        <a:gd name="connsiteY1" fmla="*/ 65486 h 69185"/>
                        <a:gd name="connsiteX2" fmla="*/ 891 w 137126"/>
                        <a:gd name="connsiteY2" fmla="*/ 57915 h 69185"/>
                        <a:gd name="connsiteX3" fmla="*/ 8462 w 137126"/>
                        <a:gd name="connsiteY3" fmla="*/ 52766 h 69185"/>
                        <a:gd name="connsiteX4" fmla="*/ 47784 w 137126"/>
                        <a:gd name="connsiteY4" fmla="*/ 56237 h 69185"/>
                        <a:gd name="connsiteX5" fmla="*/ 124178 w 137126"/>
                        <a:gd name="connsiteY5" fmla="*/ 34593 h 69185"/>
                        <a:gd name="connsiteX6" fmla="*/ 47784 w 137126"/>
                        <a:gd name="connsiteY6" fmla="*/ 12948 h 69185"/>
                        <a:gd name="connsiteX7" fmla="*/ 7757 w 137126"/>
                        <a:gd name="connsiteY7" fmla="*/ 16553 h 69185"/>
                        <a:gd name="connsiteX8" fmla="*/ 129 w 137126"/>
                        <a:gd name="connsiteY8" fmla="*/ 11480 h 69185"/>
                        <a:gd name="connsiteX9" fmla="*/ 5201 w 137126"/>
                        <a:gd name="connsiteY9" fmla="*/ 3852 h 69185"/>
                        <a:gd name="connsiteX10" fmla="*/ 47784 w 137126"/>
                        <a:gd name="connsiteY10" fmla="*/ 0 h 69185"/>
                        <a:gd name="connsiteX11" fmla="*/ 137127 w 137126"/>
                        <a:gd name="connsiteY11" fmla="*/ 34593 h 69185"/>
                        <a:gd name="connsiteX12" fmla="*/ 47784 w 137126"/>
                        <a:gd name="connsiteY12" fmla="*/ 69186 h 69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126" h="69185">
                          <a:moveTo>
                            <a:pt x="47784" y="69186"/>
                          </a:moveTo>
                          <a:cubicBezTo>
                            <a:pt x="33177" y="69186"/>
                            <a:pt x="18741" y="67908"/>
                            <a:pt x="6040" y="65486"/>
                          </a:cubicBezTo>
                          <a:cubicBezTo>
                            <a:pt x="2531" y="64819"/>
                            <a:pt x="224" y="61424"/>
                            <a:pt x="891" y="57915"/>
                          </a:cubicBezTo>
                          <a:cubicBezTo>
                            <a:pt x="1559" y="54406"/>
                            <a:pt x="4934" y="52118"/>
                            <a:pt x="8462" y="52766"/>
                          </a:cubicBezTo>
                          <a:cubicBezTo>
                            <a:pt x="20381" y="55036"/>
                            <a:pt x="33978" y="56237"/>
                            <a:pt x="47784" y="56237"/>
                          </a:cubicBezTo>
                          <a:cubicBezTo>
                            <a:pt x="93704" y="56237"/>
                            <a:pt x="124178" y="43212"/>
                            <a:pt x="124178" y="34593"/>
                          </a:cubicBezTo>
                          <a:cubicBezTo>
                            <a:pt x="124178" y="25973"/>
                            <a:pt x="93704" y="12948"/>
                            <a:pt x="47784" y="12948"/>
                          </a:cubicBezTo>
                          <a:cubicBezTo>
                            <a:pt x="32929" y="12948"/>
                            <a:pt x="19828" y="14131"/>
                            <a:pt x="7757" y="16553"/>
                          </a:cubicBezTo>
                          <a:cubicBezTo>
                            <a:pt x="4248" y="17239"/>
                            <a:pt x="834" y="14989"/>
                            <a:pt x="129" y="11480"/>
                          </a:cubicBezTo>
                          <a:cubicBezTo>
                            <a:pt x="-577" y="7971"/>
                            <a:pt x="1692" y="4558"/>
                            <a:pt x="5201" y="3852"/>
                          </a:cubicBezTo>
                          <a:cubicBezTo>
                            <a:pt x="18131" y="1259"/>
                            <a:pt x="32071" y="0"/>
                            <a:pt x="47784" y="0"/>
                          </a:cubicBezTo>
                          <a:cubicBezTo>
                            <a:pt x="92179" y="0"/>
                            <a:pt x="137127" y="11881"/>
                            <a:pt x="137127" y="34593"/>
                          </a:cubicBezTo>
                          <a:cubicBezTo>
                            <a:pt x="137107" y="57305"/>
                            <a:pt x="92160" y="69186"/>
                            <a:pt x="47784" y="69186"/>
                          </a:cubicBezTo>
                          <a:close/>
                        </a:path>
                      </a:pathLst>
                    </a:custGeom>
                    <a:grpFill/>
                    <a:ln w="1901" cap="flat">
                      <a:noFill/>
                      <a:prstDash val="solid"/>
                      <a:miter/>
                    </a:ln>
                  </p:spPr>
                  <p:txBody>
                    <a:bodyPr rtlCol="0" anchor="ctr"/>
                    <a:lstStyle/>
                    <a:p>
                      <a:endParaRPr lang="en-GB" dirty="0"/>
                    </a:p>
                  </p:txBody>
                </p:sp>
                <p:sp>
                  <p:nvSpPr>
                    <p:cNvPr id="123" name="Freihandform: Form 620">
                      <a:extLst>
                        <a:ext uri="{FF2B5EF4-FFF2-40B4-BE49-F238E27FC236}">
                          <a16:creationId xmlns:a16="http://schemas.microsoft.com/office/drawing/2014/main" id="{A3DFF81F-712E-4EA6-A219-9EB73A0BAEF6}"/>
                        </a:ext>
                      </a:extLst>
                    </p:cNvPr>
                    <p:cNvSpPr/>
                    <p:nvPr/>
                  </p:nvSpPr>
                  <p:spPr>
                    <a:xfrm>
                      <a:off x="5616097" y="1967193"/>
                      <a:ext cx="136565" cy="76222"/>
                    </a:xfrm>
                    <a:custGeom>
                      <a:avLst/>
                      <a:gdLst>
                        <a:gd name="connsiteX0" fmla="*/ 47243 w 136565"/>
                        <a:gd name="connsiteY0" fmla="*/ 76222 h 76222"/>
                        <a:gd name="connsiteX1" fmla="*/ 5251 w 136565"/>
                        <a:gd name="connsiteY1" fmla="*/ 72466 h 76222"/>
                        <a:gd name="connsiteX2" fmla="*/ 121 w 136565"/>
                        <a:gd name="connsiteY2" fmla="*/ 64876 h 76222"/>
                        <a:gd name="connsiteX3" fmla="*/ 7711 w 136565"/>
                        <a:gd name="connsiteY3" fmla="*/ 59746 h 76222"/>
                        <a:gd name="connsiteX4" fmla="*/ 47243 w 136565"/>
                        <a:gd name="connsiteY4" fmla="*/ 63255 h 76222"/>
                        <a:gd name="connsiteX5" fmla="*/ 123636 w 136565"/>
                        <a:gd name="connsiteY5" fmla="*/ 41610 h 76222"/>
                        <a:gd name="connsiteX6" fmla="*/ 123636 w 136565"/>
                        <a:gd name="connsiteY6" fmla="*/ 6465 h 76222"/>
                        <a:gd name="connsiteX7" fmla="*/ 130101 w 136565"/>
                        <a:gd name="connsiteY7" fmla="*/ 0 h 76222"/>
                        <a:gd name="connsiteX8" fmla="*/ 136566 w 136565"/>
                        <a:gd name="connsiteY8" fmla="*/ 6465 h 76222"/>
                        <a:gd name="connsiteX9" fmla="*/ 136566 w 136565"/>
                        <a:gd name="connsiteY9" fmla="*/ 41610 h 76222"/>
                        <a:gd name="connsiteX10" fmla="*/ 47243 w 136565"/>
                        <a:gd name="connsiteY10" fmla="*/ 76222 h 7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6565" h="76222">
                          <a:moveTo>
                            <a:pt x="47243" y="76222"/>
                          </a:moveTo>
                          <a:cubicBezTo>
                            <a:pt x="32540" y="76222"/>
                            <a:pt x="18008" y="74926"/>
                            <a:pt x="5251" y="72466"/>
                          </a:cubicBezTo>
                          <a:cubicBezTo>
                            <a:pt x="1742" y="71798"/>
                            <a:pt x="-566" y="68404"/>
                            <a:pt x="121" y="64876"/>
                          </a:cubicBezTo>
                          <a:cubicBezTo>
                            <a:pt x="788" y="61367"/>
                            <a:pt x="4164" y="59078"/>
                            <a:pt x="7711" y="59746"/>
                          </a:cubicBezTo>
                          <a:cubicBezTo>
                            <a:pt x="19668" y="62053"/>
                            <a:pt x="33341" y="63255"/>
                            <a:pt x="47243" y="63255"/>
                          </a:cubicBezTo>
                          <a:cubicBezTo>
                            <a:pt x="93163" y="63255"/>
                            <a:pt x="123636" y="50230"/>
                            <a:pt x="123636" y="41610"/>
                          </a:cubicBezTo>
                          <a:lnTo>
                            <a:pt x="123636" y="6465"/>
                          </a:lnTo>
                          <a:cubicBezTo>
                            <a:pt x="123636" y="2880"/>
                            <a:pt x="126535" y="0"/>
                            <a:pt x="130101" y="0"/>
                          </a:cubicBezTo>
                          <a:cubicBezTo>
                            <a:pt x="133667" y="0"/>
                            <a:pt x="136566" y="2899"/>
                            <a:pt x="136566" y="6465"/>
                          </a:cubicBezTo>
                          <a:lnTo>
                            <a:pt x="136566" y="41610"/>
                          </a:lnTo>
                          <a:cubicBezTo>
                            <a:pt x="136566" y="64342"/>
                            <a:pt x="91618" y="76222"/>
                            <a:pt x="47243" y="76222"/>
                          </a:cubicBezTo>
                          <a:close/>
                        </a:path>
                      </a:pathLst>
                    </a:custGeom>
                    <a:grpFill/>
                    <a:ln w="1901" cap="flat">
                      <a:noFill/>
                      <a:prstDash val="solid"/>
                      <a:miter/>
                    </a:ln>
                  </p:spPr>
                  <p:txBody>
                    <a:bodyPr rtlCol="0" anchor="ctr"/>
                    <a:lstStyle/>
                    <a:p>
                      <a:endParaRPr lang="en-GB" dirty="0"/>
                    </a:p>
                  </p:txBody>
                </p:sp>
              </p:grpSp>
            </p:grpSp>
          </p:grpSp>
          <p:grpSp>
            <p:nvGrpSpPr>
              <p:cNvPr id="100" name="Grafik 289">
                <a:extLst>
                  <a:ext uri="{FF2B5EF4-FFF2-40B4-BE49-F238E27FC236}">
                    <a16:creationId xmlns:a16="http://schemas.microsoft.com/office/drawing/2014/main" id="{78ADA65C-4D59-44C6-9A9F-3E58F8733DD5}"/>
                  </a:ext>
                </a:extLst>
              </p:cNvPr>
              <p:cNvGrpSpPr/>
              <p:nvPr/>
            </p:nvGrpSpPr>
            <p:grpSpPr>
              <a:xfrm>
                <a:off x="5449471" y="1847701"/>
                <a:ext cx="178665" cy="249395"/>
                <a:chOff x="5449471" y="1847701"/>
                <a:chExt cx="178665" cy="249395"/>
              </a:xfrm>
              <a:grpFill/>
            </p:grpSpPr>
            <p:grpSp>
              <p:nvGrpSpPr>
                <p:cNvPr id="101" name="Grafik 289">
                  <a:extLst>
                    <a:ext uri="{FF2B5EF4-FFF2-40B4-BE49-F238E27FC236}">
                      <a16:creationId xmlns:a16="http://schemas.microsoft.com/office/drawing/2014/main" id="{B2FB2C85-12F7-41B7-9514-E04DBD086005}"/>
                    </a:ext>
                  </a:extLst>
                </p:cNvPr>
                <p:cNvGrpSpPr/>
                <p:nvPr/>
              </p:nvGrpSpPr>
              <p:grpSpPr>
                <a:xfrm>
                  <a:off x="5449471" y="2018834"/>
                  <a:ext cx="178627" cy="78262"/>
                  <a:chOff x="5449471" y="2018834"/>
                  <a:chExt cx="178627" cy="78262"/>
                </a:xfrm>
                <a:grpFill/>
              </p:grpSpPr>
              <p:sp>
                <p:nvSpPr>
                  <p:cNvPr id="116" name="Freihandform: Form 623">
                    <a:extLst>
                      <a:ext uri="{FF2B5EF4-FFF2-40B4-BE49-F238E27FC236}">
                        <a16:creationId xmlns:a16="http://schemas.microsoft.com/office/drawing/2014/main" id="{4FC38B8E-827E-49FD-9681-68823FBE5B91}"/>
                      </a:ext>
                    </a:extLst>
                  </p:cNvPr>
                  <p:cNvSpPr/>
                  <p:nvPr/>
                </p:nvSpPr>
                <p:spPr>
                  <a:xfrm>
                    <a:off x="5449471" y="2018834"/>
                    <a:ext cx="178627" cy="41972"/>
                  </a:xfrm>
                  <a:custGeom>
                    <a:avLst/>
                    <a:gdLst>
                      <a:gd name="connsiteX0" fmla="*/ 89323 w 178627"/>
                      <a:gd name="connsiteY0" fmla="*/ 41973 h 41972"/>
                      <a:gd name="connsiteX1" fmla="*/ 0 w 178627"/>
                      <a:gd name="connsiteY1" fmla="*/ 6465 h 41972"/>
                      <a:gd name="connsiteX2" fmla="*/ 6465 w 178627"/>
                      <a:gd name="connsiteY2" fmla="*/ 0 h 41972"/>
                      <a:gd name="connsiteX3" fmla="*/ 12929 w 178627"/>
                      <a:gd name="connsiteY3" fmla="*/ 6465 h 41972"/>
                      <a:gd name="connsiteX4" fmla="*/ 89304 w 178627"/>
                      <a:gd name="connsiteY4" fmla="*/ 29024 h 41972"/>
                      <a:gd name="connsiteX5" fmla="*/ 165698 w 178627"/>
                      <a:gd name="connsiteY5" fmla="*/ 6465 h 41972"/>
                      <a:gd name="connsiteX6" fmla="*/ 172163 w 178627"/>
                      <a:gd name="connsiteY6" fmla="*/ 0 h 41972"/>
                      <a:gd name="connsiteX7" fmla="*/ 178627 w 178627"/>
                      <a:gd name="connsiteY7" fmla="*/ 6465 h 41972"/>
                      <a:gd name="connsiteX8" fmla="*/ 89323 w 178627"/>
                      <a:gd name="connsiteY8" fmla="*/ 41973 h 4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627" h="41972">
                        <a:moveTo>
                          <a:pt x="89323" y="41973"/>
                        </a:moveTo>
                        <a:cubicBezTo>
                          <a:pt x="44929" y="41973"/>
                          <a:pt x="0" y="29768"/>
                          <a:pt x="0" y="6465"/>
                        </a:cubicBezTo>
                        <a:cubicBezTo>
                          <a:pt x="0" y="2880"/>
                          <a:pt x="2899" y="0"/>
                          <a:pt x="6465" y="0"/>
                        </a:cubicBezTo>
                        <a:cubicBezTo>
                          <a:pt x="10031" y="0"/>
                          <a:pt x="12929" y="2899"/>
                          <a:pt x="12929" y="6465"/>
                        </a:cubicBezTo>
                        <a:cubicBezTo>
                          <a:pt x="12929" y="15656"/>
                          <a:pt x="42678" y="29024"/>
                          <a:pt x="89304" y="29024"/>
                        </a:cubicBezTo>
                        <a:cubicBezTo>
                          <a:pt x="135930" y="29024"/>
                          <a:pt x="165698" y="15656"/>
                          <a:pt x="165698" y="6465"/>
                        </a:cubicBezTo>
                        <a:cubicBezTo>
                          <a:pt x="165698" y="2880"/>
                          <a:pt x="168597" y="0"/>
                          <a:pt x="172163" y="0"/>
                        </a:cubicBezTo>
                        <a:cubicBezTo>
                          <a:pt x="175729" y="0"/>
                          <a:pt x="178627" y="2899"/>
                          <a:pt x="178627" y="6465"/>
                        </a:cubicBezTo>
                        <a:cubicBezTo>
                          <a:pt x="178647" y="29768"/>
                          <a:pt x="133699" y="41973"/>
                          <a:pt x="89323" y="41973"/>
                        </a:cubicBezTo>
                        <a:close/>
                      </a:path>
                    </a:pathLst>
                  </a:custGeom>
                  <a:grpFill/>
                  <a:ln w="1901" cap="flat">
                    <a:noFill/>
                    <a:prstDash val="solid"/>
                    <a:miter/>
                  </a:ln>
                </p:spPr>
                <p:txBody>
                  <a:bodyPr rtlCol="0" anchor="ctr"/>
                  <a:lstStyle/>
                  <a:p>
                    <a:endParaRPr lang="en-GB" dirty="0"/>
                  </a:p>
                </p:txBody>
              </p:sp>
              <p:sp>
                <p:nvSpPr>
                  <p:cNvPr id="117" name="Freihandform: Form 624">
                    <a:extLst>
                      <a:ext uri="{FF2B5EF4-FFF2-40B4-BE49-F238E27FC236}">
                        <a16:creationId xmlns:a16="http://schemas.microsoft.com/office/drawing/2014/main" id="{26F5A002-AF31-4C53-94D0-4EBEF8B3FF3B}"/>
                      </a:ext>
                    </a:extLst>
                  </p:cNvPr>
                  <p:cNvSpPr/>
                  <p:nvPr/>
                </p:nvSpPr>
                <p:spPr>
                  <a:xfrm>
                    <a:off x="5449471" y="2018834"/>
                    <a:ext cx="178627" cy="78262"/>
                  </a:xfrm>
                  <a:custGeom>
                    <a:avLst/>
                    <a:gdLst>
                      <a:gd name="connsiteX0" fmla="*/ 89323 w 178627"/>
                      <a:gd name="connsiteY0" fmla="*/ 78263 h 78262"/>
                      <a:gd name="connsiteX1" fmla="*/ 0 w 178627"/>
                      <a:gd name="connsiteY1" fmla="*/ 42755 h 78262"/>
                      <a:gd name="connsiteX2" fmla="*/ 0 w 178627"/>
                      <a:gd name="connsiteY2" fmla="*/ 6465 h 78262"/>
                      <a:gd name="connsiteX3" fmla="*/ 6465 w 178627"/>
                      <a:gd name="connsiteY3" fmla="*/ 0 h 78262"/>
                      <a:gd name="connsiteX4" fmla="*/ 12929 w 178627"/>
                      <a:gd name="connsiteY4" fmla="*/ 6465 h 78262"/>
                      <a:gd name="connsiteX5" fmla="*/ 12929 w 178627"/>
                      <a:gd name="connsiteY5" fmla="*/ 42755 h 78262"/>
                      <a:gd name="connsiteX6" fmla="*/ 89304 w 178627"/>
                      <a:gd name="connsiteY6" fmla="*/ 65314 h 78262"/>
                      <a:gd name="connsiteX7" fmla="*/ 165698 w 178627"/>
                      <a:gd name="connsiteY7" fmla="*/ 42755 h 78262"/>
                      <a:gd name="connsiteX8" fmla="*/ 165698 w 178627"/>
                      <a:gd name="connsiteY8" fmla="*/ 6465 h 78262"/>
                      <a:gd name="connsiteX9" fmla="*/ 172163 w 178627"/>
                      <a:gd name="connsiteY9" fmla="*/ 0 h 78262"/>
                      <a:gd name="connsiteX10" fmla="*/ 178627 w 178627"/>
                      <a:gd name="connsiteY10" fmla="*/ 6465 h 78262"/>
                      <a:gd name="connsiteX11" fmla="*/ 178627 w 178627"/>
                      <a:gd name="connsiteY11" fmla="*/ 42755 h 78262"/>
                      <a:gd name="connsiteX12" fmla="*/ 89323 w 178627"/>
                      <a:gd name="connsiteY12" fmla="*/ 78263 h 7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27" h="78262">
                        <a:moveTo>
                          <a:pt x="89323" y="78263"/>
                        </a:moveTo>
                        <a:cubicBezTo>
                          <a:pt x="44929" y="78263"/>
                          <a:pt x="0" y="66058"/>
                          <a:pt x="0" y="42755"/>
                        </a:cubicBezTo>
                        <a:lnTo>
                          <a:pt x="0" y="6465"/>
                        </a:lnTo>
                        <a:cubicBezTo>
                          <a:pt x="0" y="2880"/>
                          <a:pt x="2899" y="0"/>
                          <a:pt x="6465" y="0"/>
                        </a:cubicBezTo>
                        <a:cubicBezTo>
                          <a:pt x="10031" y="0"/>
                          <a:pt x="12929" y="2899"/>
                          <a:pt x="12929" y="6465"/>
                        </a:cubicBezTo>
                        <a:lnTo>
                          <a:pt x="12929" y="42755"/>
                        </a:lnTo>
                        <a:cubicBezTo>
                          <a:pt x="12929" y="51946"/>
                          <a:pt x="42678" y="65314"/>
                          <a:pt x="89304" y="65314"/>
                        </a:cubicBezTo>
                        <a:cubicBezTo>
                          <a:pt x="135930" y="65314"/>
                          <a:pt x="165698" y="51946"/>
                          <a:pt x="165698" y="42755"/>
                        </a:cubicBezTo>
                        <a:lnTo>
                          <a:pt x="165698" y="6465"/>
                        </a:lnTo>
                        <a:cubicBezTo>
                          <a:pt x="165698" y="2880"/>
                          <a:pt x="168597" y="0"/>
                          <a:pt x="172163" y="0"/>
                        </a:cubicBezTo>
                        <a:cubicBezTo>
                          <a:pt x="175729" y="0"/>
                          <a:pt x="178627" y="2899"/>
                          <a:pt x="178627" y="6465"/>
                        </a:cubicBezTo>
                        <a:lnTo>
                          <a:pt x="178627" y="42755"/>
                        </a:lnTo>
                        <a:cubicBezTo>
                          <a:pt x="178647" y="66077"/>
                          <a:pt x="133699" y="78263"/>
                          <a:pt x="89323" y="78263"/>
                        </a:cubicBezTo>
                        <a:close/>
                      </a:path>
                    </a:pathLst>
                  </a:custGeom>
                  <a:grpFill/>
                  <a:ln w="1901" cap="flat">
                    <a:noFill/>
                    <a:prstDash val="solid"/>
                    <a:miter/>
                  </a:ln>
                </p:spPr>
                <p:txBody>
                  <a:bodyPr rtlCol="0" anchor="ctr"/>
                  <a:lstStyle/>
                  <a:p>
                    <a:endParaRPr lang="en-GB" dirty="0"/>
                  </a:p>
                </p:txBody>
              </p:sp>
            </p:grpSp>
            <p:grpSp>
              <p:nvGrpSpPr>
                <p:cNvPr id="102" name="Grafik 289">
                  <a:extLst>
                    <a:ext uri="{FF2B5EF4-FFF2-40B4-BE49-F238E27FC236}">
                      <a16:creationId xmlns:a16="http://schemas.microsoft.com/office/drawing/2014/main" id="{D73A06B0-29EB-4C15-924A-A5984C86CBDA}"/>
                    </a:ext>
                  </a:extLst>
                </p:cNvPr>
                <p:cNvGrpSpPr/>
                <p:nvPr/>
              </p:nvGrpSpPr>
              <p:grpSpPr>
                <a:xfrm>
                  <a:off x="5449471" y="1948047"/>
                  <a:ext cx="178627" cy="113675"/>
                  <a:chOff x="5449471" y="1948047"/>
                  <a:chExt cx="178627" cy="113675"/>
                </a:xfrm>
                <a:grpFill/>
              </p:grpSpPr>
              <p:grpSp>
                <p:nvGrpSpPr>
                  <p:cNvPr id="110" name="Grafik 289">
                    <a:extLst>
                      <a:ext uri="{FF2B5EF4-FFF2-40B4-BE49-F238E27FC236}">
                        <a16:creationId xmlns:a16="http://schemas.microsoft.com/office/drawing/2014/main" id="{BB57610A-1273-4DA5-8874-95AF00840198}"/>
                      </a:ext>
                    </a:extLst>
                  </p:cNvPr>
                  <p:cNvGrpSpPr/>
                  <p:nvPr/>
                </p:nvGrpSpPr>
                <p:grpSpPr>
                  <a:xfrm>
                    <a:off x="5449471" y="1983440"/>
                    <a:ext cx="178627" cy="78281"/>
                    <a:chOff x="5449471" y="1983440"/>
                    <a:chExt cx="178627" cy="78281"/>
                  </a:xfrm>
                  <a:grpFill/>
                </p:grpSpPr>
                <p:sp>
                  <p:nvSpPr>
                    <p:cNvPr id="114" name="Freihandform: Form 627">
                      <a:extLst>
                        <a:ext uri="{FF2B5EF4-FFF2-40B4-BE49-F238E27FC236}">
                          <a16:creationId xmlns:a16="http://schemas.microsoft.com/office/drawing/2014/main" id="{F95BD124-0725-445C-A386-0E77B72BBECC}"/>
                        </a:ext>
                      </a:extLst>
                    </p:cNvPr>
                    <p:cNvSpPr/>
                    <p:nvPr/>
                  </p:nvSpPr>
                  <p:spPr>
                    <a:xfrm>
                      <a:off x="5449471" y="1983440"/>
                      <a:ext cx="178627" cy="41972"/>
                    </a:xfrm>
                    <a:custGeom>
                      <a:avLst/>
                      <a:gdLst>
                        <a:gd name="connsiteX0" fmla="*/ 89323 w 178627"/>
                        <a:gd name="connsiteY0" fmla="*/ 41973 h 41972"/>
                        <a:gd name="connsiteX1" fmla="*/ 0 w 178627"/>
                        <a:gd name="connsiteY1" fmla="*/ 6465 h 41972"/>
                        <a:gd name="connsiteX2" fmla="*/ 6465 w 178627"/>
                        <a:gd name="connsiteY2" fmla="*/ 0 h 41972"/>
                        <a:gd name="connsiteX3" fmla="*/ 12929 w 178627"/>
                        <a:gd name="connsiteY3" fmla="*/ 6465 h 41972"/>
                        <a:gd name="connsiteX4" fmla="*/ 89304 w 178627"/>
                        <a:gd name="connsiteY4" fmla="*/ 29024 h 41972"/>
                        <a:gd name="connsiteX5" fmla="*/ 165698 w 178627"/>
                        <a:gd name="connsiteY5" fmla="*/ 6465 h 41972"/>
                        <a:gd name="connsiteX6" fmla="*/ 172163 w 178627"/>
                        <a:gd name="connsiteY6" fmla="*/ 0 h 41972"/>
                        <a:gd name="connsiteX7" fmla="*/ 178627 w 178627"/>
                        <a:gd name="connsiteY7" fmla="*/ 6465 h 41972"/>
                        <a:gd name="connsiteX8" fmla="*/ 89323 w 178627"/>
                        <a:gd name="connsiteY8" fmla="*/ 41973 h 4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627" h="41972">
                          <a:moveTo>
                            <a:pt x="89323" y="41973"/>
                          </a:moveTo>
                          <a:cubicBezTo>
                            <a:pt x="44929" y="41973"/>
                            <a:pt x="0" y="29768"/>
                            <a:pt x="0" y="6465"/>
                          </a:cubicBezTo>
                          <a:cubicBezTo>
                            <a:pt x="0" y="2899"/>
                            <a:pt x="2899" y="0"/>
                            <a:pt x="6465" y="0"/>
                          </a:cubicBezTo>
                          <a:cubicBezTo>
                            <a:pt x="10031" y="0"/>
                            <a:pt x="12929" y="2899"/>
                            <a:pt x="12929" y="6465"/>
                          </a:cubicBezTo>
                          <a:cubicBezTo>
                            <a:pt x="12929" y="15656"/>
                            <a:pt x="42678" y="29024"/>
                            <a:pt x="89304" y="29024"/>
                          </a:cubicBezTo>
                          <a:cubicBezTo>
                            <a:pt x="135930" y="29024"/>
                            <a:pt x="165698" y="15656"/>
                            <a:pt x="165698" y="6465"/>
                          </a:cubicBezTo>
                          <a:cubicBezTo>
                            <a:pt x="165698" y="2899"/>
                            <a:pt x="168597" y="0"/>
                            <a:pt x="172163" y="0"/>
                          </a:cubicBezTo>
                          <a:cubicBezTo>
                            <a:pt x="175729" y="0"/>
                            <a:pt x="178627" y="2899"/>
                            <a:pt x="178627" y="6465"/>
                          </a:cubicBezTo>
                          <a:cubicBezTo>
                            <a:pt x="178647" y="29768"/>
                            <a:pt x="133699" y="41973"/>
                            <a:pt x="89323" y="41973"/>
                          </a:cubicBezTo>
                          <a:close/>
                        </a:path>
                      </a:pathLst>
                    </a:custGeom>
                    <a:grpFill/>
                    <a:ln w="1901" cap="flat">
                      <a:noFill/>
                      <a:prstDash val="solid"/>
                      <a:miter/>
                    </a:ln>
                  </p:spPr>
                  <p:txBody>
                    <a:bodyPr rtlCol="0" anchor="ctr"/>
                    <a:lstStyle/>
                    <a:p>
                      <a:endParaRPr lang="en-GB" dirty="0"/>
                    </a:p>
                  </p:txBody>
                </p:sp>
                <p:sp>
                  <p:nvSpPr>
                    <p:cNvPr id="115" name="Freihandform: Form 628">
                      <a:extLst>
                        <a:ext uri="{FF2B5EF4-FFF2-40B4-BE49-F238E27FC236}">
                          <a16:creationId xmlns:a16="http://schemas.microsoft.com/office/drawing/2014/main" id="{ECCB5D67-E842-4A0F-8A16-70A3D8CE595D}"/>
                        </a:ext>
                      </a:extLst>
                    </p:cNvPr>
                    <p:cNvSpPr/>
                    <p:nvPr/>
                  </p:nvSpPr>
                  <p:spPr>
                    <a:xfrm>
                      <a:off x="5449471" y="1983459"/>
                      <a:ext cx="178627" cy="78262"/>
                    </a:xfrm>
                    <a:custGeom>
                      <a:avLst/>
                      <a:gdLst>
                        <a:gd name="connsiteX0" fmla="*/ 89323 w 178627"/>
                        <a:gd name="connsiteY0" fmla="*/ 78263 h 78262"/>
                        <a:gd name="connsiteX1" fmla="*/ 0 w 178627"/>
                        <a:gd name="connsiteY1" fmla="*/ 42755 h 78262"/>
                        <a:gd name="connsiteX2" fmla="*/ 0 w 178627"/>
                        <a:gd name="connsiteY2" fmla="*/ 6465 h 78262"/>
                        <a:gd name="connsiteX3" fmla="*/ 6465 w 178627"/>
                        <a:gd name="connsiteY3" fmla="*/ 0 h 78262"/>
                        <a:gd name="connsiteX4" fmla="*/ 12929 w 178627"/>
                        <a:gd name="connsiteY4" fmla="*/ 6465 h 78262"/>
                        <a:gd name="connsiteX5" fmla="*/ 12929 w 178627"/>
                        <a:gd name="connsiteY5" fmla="*/ 42755 h 78262"/>
                        <a:gd name="connsiteX6" fmla="*/ 89304 w 178627"/>
                        <a:gd name="connsiteY6" fmla="*/ 65314 h 78262"/>
                        <a:gd name="connsiteX7" fmla="*/ 165698 w 178627"/>
                        <a:gd name="connsiteY7" fmla="*/ 42755 h 78262"/>
                        <a:gd name="connsiteX8" fmla="*/ 165698 w 178627"/>
                        <a:gd name="connsiteY8" fmla="*/ 6465 h 78262"/>
                        <a:gd name="connsiteX9" fmla="*/ 172163 w 178627"/>
                        <a:gd name="connsiteY9" fmla="*/ 0 h 78262"/>
                        <a:gd name="connsiteX10" fmla="*/ 178627 w 178627"/>
                        <a:gd name="connsiteY10" fmla="*/ 6465 h 78262"/>
                        <a:gd name="connsiteX11" fmla="*/ 178627 w 178627"/>
                        <a:gd name="connsiteY11" fmla="*/ 42755 h 78262"/>
                        <a:gd name="connsiteX12" fmla="*/ 89323 w 178627"/>
                        <a:gd name="connsiteY12" fmla="*/ 78263 h 7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27" h="78262">
                          <a:moveTo>
                            <a:pt x="89323" y="78263"/>
                          </a:moveTo>
                          <a:cubicBezTo>
                            <a:pt x="44929" y="78263"/>
                            <a:pt x="0" y="66058"/>
                            <a:pt x="0" y="42755"/>
                          </a:cubicBezTo>
                          <a:lnTo>
                            <a:pt x="0" y="6465"/>
                          </a:lnTo>
                          <a:cubicBezTo>
                            <a:pt x="0" y="2899"/>
                            <a:pt x="2899" y="0"/>
                            <a:pt x="6465" y="0"/>
                          </a:cubicBezTo>
                          <a:cubicBezTo>
                            <a:pt x="10031" y="0"/>
                            <a:pt x="12929" y="2899"/>
                            <a:pt x="12929" y="6465"/>
                          </a:cubicBezTo>
                          <a:lnTo>
                            <a:pt x="12929" y="42755"/>
                          </a:lnTo>
                          <a:cubicBezTo>
                            <a:pt x="12929" y="51946"/>
                            <a:pt x="42678" y="65314"/>
                            <a:pt x="89304" y="65314"/>
                          </a:cubicBezTo>
                          <a:cubicBezTo>
                            <a:pt x="135930" y="65314"/>
                            <a:pt x="165698" y="51946"/>
                            <a:pt x="165698" y="42755"/>
                          </a:cubicBezTo>
                          <a:lnTo>
                            <a:pt x="165698" y="6465"/>
                          </a:lnTo>
                          <a:cubicBezTo>
                            <a:pt x="165698" y="2899"/>
                            <a:pt x="168597" y="0"/>
                            <a:pt x="172163" y="0"/>
                          </a:cubicBezTo>
                          <a:cubicBezTo>
                            <a:pt x="175729" y="0"/>
                            <a:pt x="178627" y="2899"/>
                            <a:pt x="178627" y="6465"/>
                          </a:cubicBezTo>
                          <a:lnTo>
                            <a:pt x="178627" y="42755"/>
                          </a:lnTo>
                          <a:cubicBezTo>
                            <a:pt x="178647" y="66058"/>
                            <a:pt x="133699" y="78263"/>
                            <a:pt x="89323" y="78263"/>
                          </a:cubicBezTo>
                          <a:close/>
                        </a:path>
                      </a:pathLst>
                    </a:custGeom>
                    <a:grpFill/>
                    <a:ln w="1901" cap="flat">
                      <a:noFill/>
                      <a:prstDash val="solid"/>
                      <a:miter/>
                    </a:ln>
                  </p:spPr>
                  <p:txBody>
                    <a:bodyPr rtlCol="0" anchor="ctr"/>
                    <a:lstStyle/>
                    <a:p>
                      <a:endParaRPr lang="en-GB" dirty="0"/>
                    </a:p>
                  </p:txBody>
                </p:sp>
              </p:grpSp>
              <p:grpSp>
                <p:nvGrpSpPr>
                  <p:cNvPr id="111" name="Grafik 289">
                    <a:extLst>
                      <a:ext uri="{FF2B5EF4-FFF2-40B4-BE49-F238E27FC236}">
                        <a16:creationId xmlns:a16="http://schemas.microsoft.com/office/drawing/2014/main" id="{6F93A2BB-3A41-41A0-A002-3C43315429D5}"/>
                      </a:ext>
                    </a:extLst>
                  </p:cNvPr>
                  <p:cNvGrpSpPr/>
                  <p:nvPr/>
                </p:nvGrpSpPr>
                <p:grpSpPr>
                  <a:xfrm>
                    <a:off x="5449471" y="1948047"/>
                    <a:ext cx="178627" cy="78281"/>
                    <a:chOff x="5449471" y="1948047"/>
                    <a:chExt cx="178627" cy="78281"/>
                  </a:xfrm>
                  <a:grpFill/>
                </p:grpSpPr>
                <p:sp>
                  <p:nvSpPr>
                    <p:cNvPr id="112" name="Freihandform: Form 630">
                      <a:extLst>
                        <a:ext uri="{FF2B5EF4-FFF2-40B4-BE49-F238E27FC236}">
                          <a16:creationId xmlns:a16="http://schemas.microsoft.com/office/drawing/2014/main" id="{47840AC7-7417-4B2F-9A57-2EB1D0DDB738}"/>
                        </a:ext>
                      </a:extLst>
                    </p:cNvPr>
                    <p:cNvSpPr/>
                    <p:nvPr/>
                  </p:nvSpPr>
                  <p:spPr>
                    <a:xfrm>
                      <a:off x="5449471" y="1948047"/>
                      <a:ext cx="178627" cy="41972"/>
                    </a:xfrm>
                    <a:custGeom>
                      <a:avLst/>
                      <a:gdLst>
                        <a:gd name="connsiteX0" fmla="*/ 89323 w 178627"/>
                        <a:gd name="connsiteY0" fmla="*/ 41973 h 41972"/>
                        <a:gd name="connsiteX1" fmla="*/ 0 w 178627"/>
                        <a:gd name="connsiteY1" fmla="*/ 6465 h 41972"/>
                        <a:gd name="connsiteX2" fmla="*/ 6465 w 178627"/>
                        <a:gd name="connsiteY2" fmla="*/ 0 h 41972"/>
                        <a:gd name="connsiteX3" fmla="*/ 12929 w 178627"/>
                        <a:gd name="connsiteY3" fmla="*/ 6465 h 41972"/>
                        <a:gd name="connsiteX4" fmla="*/ 89304 w 178627"/>
                        <a:gd name="connsiteY4" fmla="*/ 29024 h 41972"/>
                        <a:gd name="connsiteX5" fmla="*/ 165698 w 178627"/>
                        <a:gd name="connsiteY5" fmla="*/ 6465 h 41972"/>
                        <a:gd name="connsiteX6" fmla="*/ 172163 w 178627"/>
                        <a:gd name="connsiteY6" fmla="*/ 0 h 41972"/>
                        <a:gd name="connsiteX7" fmla="*/ 178627 w 178627"/>
                        <a:gd name="connsiteY7" fmla="*/ 6465 h 41972"/>
                        <a:gd name="connsiteX8" fmla="*/ 89323 w 178627"/>
                        <a:gd name="connsiteY8" fmla="*/ 41973 h 4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627" h="41972">
                          <a:moveTo>
                            <a:pt x="89323" y="41973"/>
                          </a:moveTo>
                          <a:cubicBezTo>
                            <a:pt x="44929" y="41973"/>
                            <a:pt x="0" y="29768"/>
                            <a:pt x="0" y="6465"/>
                          </a:cubicBezTo>
                          <a:cubicBezTo>
                            <a:pt x="0" y="2899"/>
                            <a:pt x="2899" y="0"/>
                            <a:pt x="6465" y="0"/>
                          </a:cubicBezTo>
                          <a:cubicBezTo>
                            <a:pt x="10031" y="0"/>
                            <a:pt x="12929" y="2899"/>
                            <a:pt x="12929" y="6465"/>
                          </a:cubicBezTo>
                          <a:cubicBezTo>
                            <a:pt x="12929" y="15656"/>
                            <a:pt x="42678" y="29024"/>
                            <a:pt x="89304" y="29024"/>
                          </a:cubicBezTo>
                          <a:cubicBezTo>
                            <a:pt x="135930" y="29024"/>
                            <a:pt x="165698" y="15656"/>
                            <a:pt x="165698" y="6465"/>
                          </a:cubicBezTo>
                          <a:cubicBezTo>
                            <a:pt x="165698" y="2899"/>
                            <a:pt x="168597" y="0"/>
                            <a:pt x="172163" y="0"/>
                          </a:cubicBezTo>
                          <a:cubicBezTo>
                            <a:pt x="175729" y="0"/>
                            <a:pt x="178627" y="2899"/>
                            <a:pt x="178627" y="6465"/>
                          </a:cubicBezTo>
                          <a:cubicBezTo>
                            <a:pt x="178647" y="29787"/>
                            <a:pt x="133699" y="41973"/>
                            <a:pt x="89323" y="41973"/>
                          </a:cubicBezTo>
                          <a:close/>
                        </a:path>
                      </a:pathLst>
                    </a:custGeom>
                    <a:grpFill/>
                    <a:ln w="1901" cap="flat">
                      <a:noFill/>
                      <a:prstDash val="solid"/>
                      <a:miter/>
                    </a:ln>
                  </p:spPr>
                  <p:txBody>
                    <a:bodyPr rtlCol="0" anchor="ctr"/>
                    <a:lstStyle/>
                    <a:p>
                      <a:endParaRPr lang="en-GB" dirty="0"/>
                    </a:p>
                  </p:txBody>
                </p:sp>
                <p:sp>
                  <p:nvSpPr>
                    <p:cNvPr id="113" name="Freihandform: Form 631">
                      <a:extLst>
                        <a:ext uri="{FF2B5EF4-FFF2-40B4-BE49-F238E27FC236}">
                          <a16:creationId xmlns:a16="http://schemas.microsoft.com/office/drawing/2014/main" id="{F0AAE5B2-70D9-45F9-8C1F-43C57EDBF003}"/>
                        </a:ext>
                      </a:extLst>
                    </p:cNvPr>
                    <p:cNvSpPr/>
                    <p:nvPr/>
                  </p:nvSpPr>
                  <p:spPr>
                    <a:xfrm>
                      <a:off x="5449471" y="1948066"/>
                      <a:ext cx="178627" cy="78262"/>
                    </a:xfrm>
                    <a:custGeom>
                      <a:avLst/>
                      <a:gdLst>
                        <a:gd name="connsiteX0" fmla="*/ 89323 w 178627"/>
                        <a:gd name="connsiteY0" fmla="*/ 78263 h 78262"/>
                        <a:gd name="connsiteX1" fmla="*/ 0 w 178627"/>
                        <a:gd name="connsiteY1" fmla="*/ 42755 h 78262"/>
                        <a:gd name="connsiteX2" fmla="*/ 0 w 178627"/>
                        <a:gd name="connsiteY2" fmla="*/ 6465 h 78262"/>
                        <a:gd name="connsiteX3" fmla="*/ 6465 w 178627"/>
                        <a:gd name="connsiteY3" fmla="*/ 0 h 78262"/>
                        <a:gd name="connsiteX4" fmla="*/ 12929 w 178627"/>
                        <a:gd name="connsiteY4" fmla="*/ 6465 h 78262"/>
                        <a:gd name="connsiteX5" fmla="*/ 12929 w 178627"/>
                        <a:gd name="connsiteY5" fmla="*/ 42755 h 78262"/>
                        <a:gd name="connsiteX6" fmla="*/ 89304 w 178627"/>
                        <a:gd name="connsiteY6" fmla="*/ 65314 h 78262"/>
                        <a:gd name="connsiteX7" fmla="*/ 165698 w 178627"/>
                        <a:gd name="connsiteY7" fmla="*/ 42755 h 78262"/>
                        <a:gd name="connsiteX8" fmla="*/ 165698 w 178627"/>
                        <a:gd name="connsiteY8" fmla="*/ 6465 h 78262"/>
                        <a:gd name="connsiteX9" fmla="*/ 172163 w 178627"/>
                        <a:gd name="connsiteY9" fmla="*/ 0 h 78262"/>
                        <a:gd name="connsiteX10" fmla="*/ 178627 w 178627"/>
                        <a:gd name="connsiteY10" fmla="*/ 6465 h 78262"/>
                        <a:gd name="connsiteX11" fmla="*/ 178627 w 178627"/>
                        <a:gd name="connsiteY11" fmla="*/ 42755 h 78262"/>
                        <a:gd name="connsiteX12" fmla="*/ 89323 w 178627"/>
                        <a:gd name="connsiteY12" fmla="*/ 78263 h 7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27" h="78262">
                          <a:moveTo>
                            <a:pt x="89323" y="78263"/>
                          </a:moveTo>
                          <a:cubicBezTo>
                            <a:pt x="44929" y="78263"/>
                            <a:pt x="0" y="66058"/>
                            <a:pt x="0" y="42755"/>
                          </a:cubicBezTo>
                          <a:lnTo>
                            <a:pt x="0" y="6465"/>
                          </a:lnTo>
                          <a:cubicBezTo>
                            <a:pt x="0" y="2899"/>
                            <a:pt x="2899" y="0"/>
                            <a:pt x="6465" y="0"/>
                          </a:cubicBezTo>
                          <a:cubicBezTo>
                            <a:pt x="10031" y="0"/>
                            <a:pt x="12929" y="2899"/>
                            <a:pt x="12929" y="6465"/>
                          </a:cubicBezTo>
                          <a:lnTo>
                            <a:pt x="12929" y="42755"/>
                          </a:lnTo>
                          <a:cubicBezTo>
                            <a:pt x="12929" y="51946"/>
                            <a:pt x="42678" y="65314"/>
                            <a:pt x="89304" y="65314"/>
                          </a:cubicBezTo>
                          <a:cubicBezTo>
                            <a:pt x="135930" y="65314"/>
                            <a:pt x="165698" y="51946"/>
                            <a:pt x="165698" y="42755"/>
                          </a:cubicBezTo>
                          <a:lnTo>
                            <a:pt x="165698" y="6465"/>
                          </a:lnTo>
                          <a:cubicBezTo>
                            <a:pt x="165698" y="2899"/>
                            <a:pt x="168597" y="0"/>
                            <a:pt x="172163" y="0"/>
                          </a:cubicBezTo>
                          <a:cubicBezTo>
                            <a:pt x="175729" y="0"/>
                            <a:pt x="178627" y="2899"/>
                            <a:pt x="178627" y="6465"/>
                          </a:cubicBezTo>
                          <a:lnTo>
                            <a:pt x="178627" y="42755"/>
                          </a:lnTo>
                          <a:cubicBezTo>
                            <a:pt x="178647" y="66058"/>
                            <a:pt x="133699" y="78263"/>
                            <a:pt x="89323" y="78263"/>
                          </a:cubicBezTo>
                          <a:close/>
                        </a:path>
                      </a:pathLst>
                    </a:custGeom>
                    <a:grpFill/>
                    <a:ln w="1901" cap="flat">
                      <a:noFill/>
                      <a:prstDash val="solid"/>
                      <a:miter/>
                    </a:ln>
                  </p:spPr>
                  <p:txBody>
                    <a:bodyPr rtlCol="0" anchor="ctr"/>
                    <a:lstStyle/>
                    <a:p>
                      <a:endParaRPr lang="en-GB" dirty="0"/>
                    </a:p>
                  </p:txBody>
                </p:sp>
              </p:grpSp>
            </p:grpSp>
            <p:grpSp>
              <p:nvGrpSpPr>
                <p:cNvPr id="103" name="Grafik 289">
                  <a:extLst>
                    <a:ext uri="{FF2B5EF4-FFF2-40B4-BE49-F238E27FC236}">
                      <a16:creationId xmlns:a16="http://schemas.microsoft.com/office/drawing/2014/main" id="{FBB24F97-C1A2-4202-B21D-745488D117B9}"/>
                    </a:ext>
                  </a:extLst>
                </p:cNvPr>
                <p:cNvGrpSpPr/>
                <p:nvPr/>
              </p:nvGrpSpPr>
              <p:grpSpPr>
                <a:xfrm>
                  <a:off x="5449471" y="1847701"/>
                  <a:ext cx="178665" cy="142699"/>
                  <a:chOff x="5449471" y="1847701"/>
                  <a:chExt cx="178665" cy="142699"/>
                </a:xfrm>
                <a:grpFill/>
              </p:grpSpPr>
              <p:grpSp>
                <p:nvGrpSpPr>
                  <p:cNvPr id="104" name="Grafik 289">
                    <a:extLst>
                      <a:ext uri="{FF2B5EF4-FFF2-40B4-BE49-F238E27FC236}">
                        <a16:creationId xmlns:a16="http://schemas.microsoft.com/office/drawing/2014/main" id="{38293E15-63B2-40AA-98D5-0E51FD0FA4CE}"/>
                      </a:ext>
                    </a:extLst>
                  </p:cNvPr>
                  <p:cNvGrpSpPr/>
                  <p:nvPr/>
                </p:nvGrpSpPr>
                <p:grpSpPr>
                  <a:xfrm>
                    <a:off x="5449471" y="1912138"/>
                    <a:ext cx="178627" cy="78262"/>
                    <a:chOff x="5449471" y="1912138"/>
                    <a:chExt cx="178627" cy="78262"/>
                  </a:xfrm>
                  <a:grpFill/>
                </p:grpSpPr>
                <p:sp>
                  <p:nvSpPr>
                    <p:cNvPr id="108" name="Freihandform: Form 634">
                      <a:extLst>
                        <a:ext uri="{FF2B5EF4-FFF2-40B4-BE49-F238E27FC236}">
                          <a16:creationId xmlns:a16="http://schemas.microsoft.com/office/drawing/2014/main" id="{57DB6FCA-BFDC-463C-8850-C6057EA448EC}"/>
                        </a:ext>
                      </a:extLst>
                    </p:cNvPr>
                    <p:cNvSpPr/>
                    <p:nvPr/>
                  </p:nvSpPr>
                  <p:spPr>
                    <a:xfrm>
                      <a:off x="5449471" y="1912138"/>
                      <a:ext cx="178627" cy="41972"/>
                    </a:xfrm>
                    <a:custGeom>
                      <a:avLst/>
                      <a:gdLst>
                        <a:gd name="connsiteX0" fmla="*/ 89323 w 178627"/>
                        <a:gd name="connsiteY0" fmla="*/ 41973 h 41972"/>
                        <a:gd name="connsiteX1" fmla="*/ 0 w 178627"/>
                        <a:gd name="connsiteY1" fmla="*/ 6465 h 41972"/>
                        <a:gd name="connsiteX2" fmla="*/ 6465 w 178627"/>
                        <a:gd name="connsiteY2" fmla="*/ 0 h 41972"/>
                        <a:gd name="connsiteX3" fmla="*/ 12929 w 178627"/>
                        <a:gd name="connsiteY3" fmla="*/ 6465 h 41972"/>
                        <a:gd name="connsiteX4" fmla="*/ 89304 w 178627"/>
                        <a:gd name="connsiteY4" fmla="*/ 29024 h 41972"/>
                        <a:gd name="connsiteX5" fmla="*/ 165698 w 178627"/>
                        <a:gd name="connsiteY5" fmla="*/ 6465 h 41972"/>
                        <a:gd name="connsiteX6" fmla="*/ 172163 w 178627"/>
                        <a:gd name="connsiteY6" fmla="*/ 0 h 41972"/>
                        <a:gd name="connsiteX7" fmla="*/ 178627 w 178627"/>
                        <a:gd name="connsiteY7" fmla="*/ 6465 h 41972"/>
                        <a:gd name="connsiteX8" fmla="*/ 89323 w 178627"/>
                        <a:gd name="connsiteY8" fmla="*/ 41973 h 4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8627" h="41972">
                          <a:moveTo>
                            <a:pt x="89323" y="41973"/>
                          </a:moveTo>
                          <a:cubicBezTo>
                            <a:pt x="44929" y="41973"/>
                            <a:pt x="0" y="29768"/>
                            <a:pt x="0" y="6465"/>
                          </a:cubicBezTo>
                          <a:cubicBezTo>
                            <a:pt x="0" y="2899"/>
                            <a:pt x="2899" y="0"/>
                            <a:pt x="6465" y="0"/>
                          </a:cubicBezTo>
                          <a:cubicBezTo>
                            <a:pt x="10031" y="0"/>
                            <a:pt x="12929" y="2899"/>
                            <a:pt x="12929" y="6465"/>
                          </a:cubicBezTo>
                          <a:cubicBezTo>
                            <a:pt x="12929" y="15656"/>
                            <a:pt x="42678" y="29024"/>
                            <a:pt x="89304" y="29024"/>
                          </a:cubicBezTo>
                          <a:cubicBezTo>
                            <a:pt x="135930" y="29024"/>
                            <a:pt x="165698" y="15656"/>
                            <a:pt x="165698" y="6465"/>
                          </a:cubicBezTo>
                          <a:cubicBezTo>
                            <a:pt x="165698" y="2899"/>
                            <a:pt x="168597" y="0"/>
                            <a:pt x="172163" y="0"/>
                          </a:cubicBezTo>
                          <a:cubicBezTo>
                            <a:pt x="175729" y="0"/>
                            <a:pt x="178627" y="2899"/>
                            <a:pt x="178627" y="6465"/>
                          </a:cubicBezTo>
                          <a:cubicBezTo>
                            <a:pt x="178647" y="29768"/>
                            <a:pt x="133699" y="41973"/>
                            <a:pt x="89323" y="41973"/>
                          </a:cubicBezTo>
                          <a:close/>
                        </a:path>
                      </a:pathLst>
                    </a:custGeom>
                    <a:grpFill/>
                    <a:ln w="1901" cap="flat">
                      <a:noFill/>
                      <a:prstDash val="solid"/>
                      <a:miter/>
                    </a:ln>
                  </p:spPr>
                  <p:txBody>
                    <a:bodyPr rtlCol="0" anchor="ctr"/>
                    <a:lstStyle/>
                    <a:p>
                      <a:endParaRPr lang="en-GB" dirty="0"/>
                    </a:p>
                  </p:txBody>
                </p:sp>
                <p:sp>
                  <p:nvSpPr>
                    <p:cNvPr id="109" name="Freihandform: Form 635">
                      <a:extLst>
                        <a:ext uri="{FF2B5EF4-FFF2-40B4-BE49-F238E27FC236}">
                          <a16:creationId xmlns:a16="http://schemas.microsoft.com/office/drawing/2014/main" id="{BD8EC156-D433-41F2-93B5-5E4EA6652047}"/>
                        </a:ext>
                      </a:extLst>
                    </p:cNvPr>
                    <p:cNvSpPr/>
                    <p:nvPr/>
                  </p:nvSpPr>
                  <p:spPr>
                    <a:xfrm>
                      <a:off x="5449471" y="1912138"/>
                      <a:ext cx="178627" cy="78262"/>
                    </a:xfrm>
                    <a:custGeom>
                      <a:avLst/>
                      <a:gdLst>
                        <a:gd name="connsiteX0" fmla="*/ 89323 w 178627"/>
                        <a:gd name="connsiteY0" fmla="*/ 78263 h 78262"/>
                        <a:gd name="connsiteX1" fmla="*/ 0 w 178627"/>
                        <a:gd name="connsiteY1" fmla="*/ 42755 h 78262"/>
                        <a:gd name="connsiteX2" fmla="*/ 0 w 178627"/>
                        <a:gd name="connsiteY2" fmla="*/ 6465 h 78262"/>
                        <a:gd name="connsiteX3" fmla="*/ 6465 w 178627"/>
                        <a:gd name="connsiteY3" fmla="*/ 0 h 78262"/>
                        <a:gd name="connsiteX4" fmla="*/ 12929 w 178627"/>
                        <a:gd name="connsiteY4" fmla="*/ 6465 h 78262"/>
                        <a:gd name="connsiteX5" fmla="*/ 12929 w 178627"/>
                        <a:gd name="connsiteY5" fmla="*/ 42755 h 78262"/>
                        <a:gd name="connsiteX6" fmla="*/ 89304 w 178627"/>
                        <a:gd name="connsiteY6" fmla="*/ 65314 h 78262"/>
                        <a:gd name="connsiteX7" fmla="*/ 165698 w 178627"/>
                        <a:gd name="connsiteY7" fmla="*/ 42755 h 78262"/>
                        <a:gd name="connsiteX8" fmla="*/ 165698 w 178627"/>
                        <a:gd name="connsiteY8" fmla="*/ 6465 h 78262"/>
                        <a:gd name="connsiteX9" fmla="*/ 172163 w 178627"/>
                        <a:gd name="connsiteY9" fmla="*/ 0 h 78262"/>
                        <a:gd name="connsiteX10" fmla="*/ 178627 w 178627"/>
                        <a:gd name="connsiteY10" fmla="*/ 6465 h 78262"/>
                        <a:gd name="connsiteX11" fmla="*/ 178627 w 178627"/>
                        <a:gd name="connsiteY11" fmla="*/ 42755 h 78262"/>
                        <a:gd name="connsiteX12" fmla="*/ 89323 w 178627"/>
                        <a:gd name="connsiteY12" fmla="*/ 78263 h 7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27" h="78262">
                          <a:moveTo>
                            <a:pt x="89323" y="78263"/>
                          </a:moveTo>
                          <a:cubicBezTo>
                            <a:pt x="44929" y="78263"/>
                            <a:pt x="0" y="66058"/>
                            <a:pt x="0" y="42755"/>
                          </a:cubicBezTo>
                          <a:lnTo>
                            <a:pt x="0" y="6465"/>
                          </a:lnTo>
                          <a:cubicBezTo>
                            <a:pt x="0" y="2899"/>
                            <a:pt x="2899" y="0"/>
                            <a:pt x="6465" y="0"/>
                          </a:cubicBezTo>
                          <a:cubicBezTo>
                            <a:pt x="10031" y="0"/>
                            <a:pt x="12929" y="2899"/>
                            <a:pt x="12929" y="6465"/>
                          </a:cubicBezTo>
                          <a:lnTo>
                            <a:pt x="12929" y="42755"/>
                          </a:lnTo>
                          <a:cubicBezTo>
                            <a:pt x="12929" y="51946"/>
                            <a:pt x="42678" y="65314"/>
                            <a:pt x="89304" y="65314"/>
                          </a:cubicBezTo>
                          <a:cubicBezTo>
                            <a:pt x="135930" y="65314"/>
                            <a:pt x="165698" y="51946"/>
                            <a:pt x="165698" y="42755"/>
                          </a:cubicBezTo>
                          <a:lnTo>
                            <a:pt x="165698" y="6465"/>
                          </a:lnTo>
                          <a:cubicBezTo>
                            <a:pt x="165698" y="2899"/>
                            <a:pt x="168597" y="0"/>
                            <a:pt x="172163" y="0"/>
                          </a:cubicBezTo>
                          <a:cubicBezTo>
                            <a:pt x="175729" y="0"/>
                            <a:pt x="178627" y="2899"/>
                            <a:pt x="178627" y="6465"/>
                          </a:cubicBezTo>
                          <a:lnTo>
                            <a:pt x="178627" y="42755"/>
                          </a:lnTo>
                          <a:cubicBezTo>
                            <a:pt x="178647" y="66058"/>
                            <a:pt x="133699" y="78263"/>
                            <a:pt x="89323" y="78263"/>
                          </a:cubicBezTo>
                          <a:close/>
                        </a:path>
                      </a:pathLst>
                    </a:custGeom>
                    <a:grpFill/>
                    <a:ln w="1901" cap="flat">
                      <a:noFill/>
                      <a:prstDash val="solid"/>
                      <a:miter/>
                    </a:ln>
                  </p:spPr>
                  <p:txBody>
                    <a:bodyPr rtlCol="0" anchor="ctr"/>
                    <a:lstStyle/>
                    <a:p>
                      <a:endParaRPr lang="en-GB" dirty="0"/>
                    </a:p>
                  </p:txBody>
                </p:sp>
              </p:grpSp>
              <p:grpSp>
                <p:nvGrpSpPr>
                  <p:cNvPr id="105" name="Grafik 289">
                    <a:extLst>
                      <a:ext uri="{FF2B5EF4-FFF2-40B4-BE49-F238E27FC236}">
                        <a16:creationId xmlns:a16="http://schemas.microsoft.com/office/drawing/2014/main" id="{ABB41F7A-11E5-41C3-A4C4-238577C2DAA6}"/>
                      </a:ext>
                    </a:extLst>
                  </p:cNvPr>
                  <p:cNvGrpSpPr/>
                  <p:nvPr/>
                </p:nvGrpSpPr>
                <p:grpSpPr>
                  <a:xfrm>
                    <a:off x="5449471" y="1847701"/>
                    <a:ext cx="178665" cy="107306"/>
                    <a:chOff x="5449471" y="1847701"/>
                    <a:chExt cx="178665" cy="107306"/>
                  </a:xfrm>
                  <a:grpFill/>
                </p:grpSpPr>
                <p:sp>
                  <p:nvSpPr>
                    <p:cNvPr id="106" name="Freihandform: Form 637">
                      <a:extLst>
                        <a:ext uri="{FF2B5EF4-FFF2-40B4-BE49-F238E27FC236}">
                          <a16:creationId xmlns:a16="http://schemas.microsoft.com/office/drawing/2014/main" id="{D5131AFA-DCCB-4448-8DAD-E3AA218E81EB}"/>
                        </a:ext>
                      </a:extLst>
                    </p:cNvPr>
                    <p:cNvSpPr/>
                    <p:nvPr/>
                  </p:nvSpPr>
                  <p:spPr>
                    <a:xfrm>
                      <a:off x="5449471" y="1847701"/>
                      <a:ext cx="178665" cy="71016"/>
                    </a:xfrm>
                    <a:custGeom>
                      <a:avLst/>
                      <a:gdLst>
                        <a:gd name="connsiteX0" fmla="*/ 89323 w 178665"/>
                        <a:gd name="connsiteY0" fmla="*/ 71016 h 71016"/>
                        <a:gd name="connsiteX1" fmla="*/ 0 w 178665"/>
                        <a:gd name="connsiteY1" fmla="*/ 35508 h 71016"/>
                        <a:gd name="connsiteX2" fmla="*/ 89323 w 178665"/>
                        <a:gd name="connsiteY2" fmla="*/ 0 h 71016"/>
                        <a:gd name="connsiteX3" fmla="*/ 178666 w 178665"/>
                        <a:gd name="connsiteY3" fmla="*/ 35508 h 71016"/>
                        <a:gd name="connsiteX4" fmla="*/ 89323 w 178665"/>
                        <a:gd name="connsiteY4" fmla="*/ 71016 h 71016"/>
                        <a:gd name="connsiteX5" fmla="*/ 89323 w 178665"/>
                        <a:gd name="connsiteY5" fmla="*/ 12929 h 71016"/>
                        <a:gd name="connsiteX6" fmla="*/ 12948 w 178665"/>
                        <a:gd name="connsiteY6" fmla="*/ 35489 h 71016"/>
                        <a:gd name="connsiteX7" fmla="*/ 89323 w 178665"/>
                        <a:gd name="connsiteY7" fmla="*/ 58049 h 71016"/>
                        <a:gd name="connsiteX8" fmla="*/ 165717 w 178665"/>
                        <a:gd name="connsiteY8" fmla="*/ 35489 h 71016"/>
                        <a:gd name="connsiteX9" fmla="*/ 89323 w 178665"/>
                        <a:gd name="connsiteY9" fmla="*/ 12929 h 7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8665" h="71016">
                          <a:moveTo>
                            <a:pt x="89323" y="71016"/>
                          </a:moveTo>
                          <a:cubicBezTo>
                            <a:pt x="44929" y="71016"/>
                            <a:pt x="0" y="58811"/>
                            <a:pt x="0" y="35508"/>
                          </a:cubicBezTo>
                          <a:cubicBezTo>
                            <a:pt x="0" y="12186"/>
                            <a:pt x="44948" y="0"/>
                            <a:pt x="89323" y="0"/>
                          </a:cubicBezTo>
                          <a:cubicBezTo>
                            <a:pt x="133718" y="0"/>
                            <a:pt x="178666" y="12205"/>
                            <a:pt x="178666" y="35508"/>
                          </a:cubicBezTo>
                          <a:cubicBezTo>
                            <a:pt x="178647" y="58811"/>
                            <a:pt x="133699" y="71016"/>
                            <a:pt x="89323" y="71016"/>
                          </a:cubicBezTo>
                          <a:close/>
                          <a:moveTo>
                            <a:pt x="89323" y="12929"/>
                          </a:moveTo>
                          <a:cubicBezTo>
                            <a:pt x="42697" y="12929"/>
                            <a:pt x="12948" y="26297"/>
                            <a:pt x="12948" y="35489"/>
                          </a:cubicBezTo>
                          <a:cubicBezTo>
                            <a:pt x="12948" y="44681"/>
                            <a:pt x="42697" y="58049"/>
                            <a:pt x="89323" y="58049"/>
                          </a:cubicBezTo>
                          <a:cubicBezTo>
                            <a:pt x="135949" y="58049"/>
                            <a:pt x="165717" y="44681"/>
                            <a:pt x="165717" y="35489"/>
                          </a:cubicBezTo>
                          <a:cubicBezTo>
                            <a:pt x="165717" y="26297"/>
                            <a:pt x="135949" y="12929"/>
                            <a:pt x="89323" y="12929"/>
                          </a:cubicBezTo>
                          <a:close/>
                        </a:path>
                      </a:pathLst>
                    </a:custGeom>
                    <a:grpFill/>
                    <a:ln w="1901" cap="flat">
                      <a:noFill/>
                      <a:prstDash val="solid"/>
                      <a:miter/>
                    </a:ln>
                  </p:spPr>
                  <p:txBody>
                    <a:bodyPr rtlCol="0" anchor="ctr"/>
                    <a:lstStyle/>
                    <a:p>
                      <a:endParaRPr lang="en-GB" dirty="0"/>
                    </a:p>
                  </p:txBody>
                </p:sp>
                <p:sp>
                  <p:nvSpPr>
                    <p:cNvPr id="107" name="Freihandform: Form 638">
                      <a:extLst>
                        <a:ext uri="{FF2B5EF4-FFF2-40B4-BE49-F238E27FC236}">
                          <a16:creationId xmlns:a16="http://schemas.microsoft.com/office/drawing/2014/main" id="{BBCDE3E4-CDEB-4274-8BDD-DA843846C5A0}"/>
                        </a:ext>
                      </a:extLst>
                    </p:cNvPr>
                    <p:cNvSpPr/>
                    <p:nvPr/>
                  </p:nvSpPr>
                  <p:spPr>
                    <a:xfrm>
                      <a:off x="5449471" y="1876744"/>
                      <a:ext cx="178627" cy="78262"/>
                    </a:xfrm>
                    <a:custGeom>
                      <a:avLst/>
                      <a:gdLst>
                        <a:gd name="connsiteX0" fmla="*/ 89323 w 178627"/>
                        <a:gd name="connsiteY0" fmla="*/ 78263 h 78262"/>
                        <a:gd name="connsiteX1" fmla="*/ 0 w 178627"/>
                        <a:gd name="connsiteY1" fmla="*/ 42755 h 78262"/>
                        <a:gd name="connsiteX2" fmla="*/ 0 w 178627"/>
                        <a:gd name="connsiteY2" fmla="*/ 6465 h 78262"/>
                        <a:gd name="connsiteX3" fmla="*/ 6465 w 178627"/>
                        <a:gd name="connsiteY3" fmla="*/ 0 h 78262"/>
                        <a:gd name="connsiteX4" fmla="*/ 12929 w 178627"/>
                        <a:gd name="connsiteY4" fmla="*/ 6465 h 78262"/>
                        <a:gd name="connsiteX5" fmla="*/ 12929 w 178627"/>
                        <a:gd name="connsiteY5" fmla="*/ 42755 h 78262"/>
                        <a:gd name="connsiteX6" fmla="*/ 89304 w 178627"/>
                        <a:gd name="connsiteY6" fmla="*/ 65314 h 78262"/>
                        <a:gd name="connsiteX7" fmla="*/ 165698 w 178627"/>
                        <a:gd name="connsiteY7" fmla="*/ 42755 h 78262"/>
                        <a:gd name="connsiteX8" fmla="*/ 165698 w 178627"/>
                        <a:gd name="connsiteY8" fmla="*/ 6465 h 78262"/>
                        <a:gd name="connsiteX9" fmla="*/ 172163 w 178627"/>
                        <a:gd name="connsiteY9" fmla="*/ 0 h 78262"/>
                        <a:gd name="connsiteX10" fmla="*/ 178627 w 178627"/>
                        <a:gd name="connsiteY10" fmla="*/ 6465 h 78262"/>
                        <a:gd name="connsiteX11" fmla="*/ 178627 w 178627"/>
                        <a:gd name="connsiteY11" fmla="*/ 42755 h 78262"/>
                        <a:gd name="connsiteX12" fmla="*/ 89323 w 178627"/>
                        <a:gd name="connsiteY12" fmla="*/ 78263 h 78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627" h="78262">
                          <a:moveTo>
                            <a:pt x="89323" y="78263"/>
                          </a:moveTo>
                          <a:cubicBezTo>
                            <a:pt x="44929" y="78263"/>
                            <a:pt x="0" y="66058"/>
                            <a:pt x="0" y="42755"/>
                          </a:cubicBezTo>
                          <a:lnTo>
                            <a:pt x="0" y="6465"/>
                          </a:lnTo>
                          <a:cubicBezTo>
                            <a:pt x="0" y="2899"/>
                            <a:pt x="2899" y="0"/>
                            <a:pt x="6465" y="0"/>
                          </a:cubicBezTo>
                          <a:cubicBezTo>
                            <a:pt x="10031" y="0"/>
                            <a:pt x="12929" y="2899"/>
                            <a:pt x="12929" y="6465"/>
                          </a:cubicBezTo>
                          <a:lnTo>
                            <a:pt x="12929" y="42755"/>
                          </a:lnTo>
                          <a:cubicBezTo>
                            <a:pt x="12929" y="51946"/>
                            <a:pt x="42678" y="65314"/>
                            <a:pt x="89304" y="65314"/>
                          </a:cubicBezTo>
                          <a:cubicBezTo>
                            <a:pt x="135930" y="65314"/>
                            <a:pt x="165698" y="51946"/>
                            <a:pt x="165698" y="42755"/>
                          </a:cubicBezTo>
                          <a:lnTo>
                            <a:pt x="165698" y="6465"/>
                          </a:lnTo>
                          <a:cubicBezTo>
                            <a:pt x="165698" y="2899"/>
                            <a:pt x="168597" y="0"/>
                            <a:pt x="172163" y="0"/>
                          </a:cubicBezTo>
                          <a:cubicBezTo>
                            <a:pt x="175729" y="0"/>
                            <a:pt x="178627" y="2899"/>
                            <a:pt x="178627" y="6465"/>
                          </a:cubicBezTo>
                          <a:lnTo>
                            <a:pt x="178627" y="42755"/>
                          </a:lnTo>
                          <a:cubicBezTo>
                            <a:pt x="178647" y="66058"/>
                            <a:pt x="133699" y="78263"/>
                            <a:pt x="89323" y="78263"/>
                          </a:cubicBezTo>
                          <a:close/>
                        </a:path>
                      </a:pathLst>
                    </a:custGeom>
                    <a:grpFill/>
                    <a:ln w="1901" cap="flat">
                      <a:noFill/>
                      <a:prstDash val="solid"/>
                      <a:miter/>
                    </a:ln>
                  </p:spPr>
                  <p:txBody>
                    <a:bodyPr rtlCol="0" anchor="ctr"/>
                    <a:lstStyle/>
                    <a:p>
                      <a:endParaRPr lang="en-GB" dirty="0"/>
                    </a:p>
                  </p:txBody>
                </p:sp>
              </p:grpSp>
            </p:grpSp>
          </p:grpSp>
        </p:grpSp>
      </p:grpSp>
      <p:grpSp>
        <p:nvGrpSpPr>
          <p:cNvPr id="39" name="Group 38">
            <a:extLst>
              <a:ext uri="{FF2B5EF4-FFF2-40B4-BE49-F238E27FC236}">
                <a16:creationId xmlns:a16="http://schemas.microsoft.com/office/drawing/2014/main" id="{CDD5D1FA-1C8B-7F5C-1C52-514639A82F73}"/>
              </a:ext>
            </a:extLst>
          </p:cNvPr>
          <p:cNvGrpSpPr/>
          <p:nvPr/>
        </p:nvGrpSpPr>
        <p:grpSpPr>
          <a:xfrm>
            <a:off x="3788053" y="1585983"/>
            <a:ext cx="338587" cy="432003"/>
            <a:chOff x="3788053" y="1585983"/>
            <a:chExt cx="338587" cy="432003"/>
          </a:xfrm>
        </p:grpSpPr>
        <p:grpSp>
          <p:nvGrpSpPr>
            <p:cNvPr id="132" name="Grafik 289">
              <a:extLst>
                <a:ext uri="{FF2B5EF4-FFF2-40B4-BE49-F238E27FC236}">
                  <a16:creationId xmlns:a16="http://schemas.microsoft.com/office/drawing/2014/main" id="{07246B85-6095-4A7C-9078-7B9EE7D3BBAC}"/>
                </a:ext>
              </a:extLst>
            </p:cNvPr>
            <p:cNvGrpSpPr/>
            <p:nvPr/>
          </p:nvGrpSpPr>
          <p:grpSpPr>
            <a:xfrm>
              <a:off x="3788053" y="1585983"/>
              <a:ext cx="338587" cy="291897"/>
              <a:chOff x="6995199" y="4081222"/>
              <a:chExt cx="375466" cy="323691"/>
            </a:xfrm>
            <a:solidFill>
              <a:schemeClr val="tx2"/>
            </a:solidFill>
          </p:grpSpPr>
          <p:sp>
            <p:nvSpPr>
              <p:cNvPr id="139" name="Freihandform: Form 1163">
                <a:extLst>
                  <a:ext uri="{FF2B5EF4-FFF2-40B4-BE49-F238E27FC236}">
                    <a16:creationId xmlns:a16="http://schemas.microsoft.com/office/drawing/2014/main" id="{76BF7202-3263-4BD4-B131-78DFFDB4DD25}"/>
                  </a:ext>
                </a:extLst>
              </p:cNvPr>
              <p:cNvSpPr/>
              <p:nvPr/>
            </p:nvSpPr>
            <p:spPr>
              <a:xfrm>
                <a:off x="7286529" y="4223655"/>
                <a:ext cx="64742" cy="181258"/>
              </a:xfrm>
              <a:custGeom>
                <a:avLst/>
                <a:gdLst>
                  <a:gd name="connsiteX0" fmla="*/ 41115 w 64742"/>
                  <a:gd name="connsiteY0" fmla="*/ 181259 h 181258"/>
                  <a:gd name="connsiteX1" fmla="*/ 0 w 64742"/>
                  <a:gd name="connsiteY1" fmla="*/ 181259 h 181258"/>
                  <a:gd name="connsiteX2" fmla="*/ 0 w 64742"/>
                  <a:gd name="connsiteY2" fmla="*/ 168311 h 181258"/>
                  <a:gd name="connsiteX3" fmla="*/ 41115 w 64742"/>
                  <a:gd name="connsiteY3" fmla="*/ 168311 h 181258"/>
                  <a:gd name="connsiteX4" fmla="*/ 51794 w 64742"/>
                  <a:gd name="connsiteY4" fmla="*/ 157631 h 181258"/>
                  <a:gd name="connsiteX5" fmla="*/ 51794 w 64742"/>
                  <a:gd name="connsiteY5" fmla="*/ 0 h 181258"/>
                  <a:gd name="connsiteX6" fmla="*/ 64742 w 64742"/>
                  <a:gd name="connsiteY6" fmla="*/ 0 h 181258"/>
                  <a:gd name="connsiteX7" fmla="*/ 64742 w 64742"/>
                  <a:gd name="connsiteY7" fmla="*/ 157631 h 181258"/>
                  <a:gd name="connsiteX8" fmla="*/ 41115 w 64742"/>
                  <a:gd name="connsiteY8" fmla="*/ 181259 h 18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42" h="181258">
                    <a:moveTo>
                      <a:pt x="41115" y="181259"/>
                    </a:moveTo>
                    <a:lnTo>
                      <a:pt x="0" y="181259"/>
                    </a:lnTo>
                    <a:lnTo>
                      <a:pt x="0" y="168311"/>
                    </a:lnTo>
                    <a:lnTo>
                      <a:pt x="41115" y="168311"/>
                    </a:lnTo>
                    <a:cubicBezTo>
                      <a:pt x="47007" y="168311"/>
                      <a:pt x="51794" y="163524"/>
                      <a:pt x="51794" y="157631"/>
                    </a:cubicBezTo>
                    <a:lnTo>
                      <a:pt x="51794" y="0"/>
                    </a:lnTo>
                    <a:lnTo>
                      <a:pt x="64742" y="0"/>
                    </a:lnTo>
                    <a:lnTo>
                      <a:pt x="64742" y="157631"/>
                    </a:lnTo>
                    <a:cubicBezTo>
                      <a:pt x="64742" y="170656"/>
                      <a:pt x="54139" y="181259"/>
                      <a:pt x="41115" y="181259"/>
                    </a:cubicBezTo>
                    <a:close/>
                  </a:path>
                </a:pathLst>
              </a:custGeom>
              <a:grpFill/>
              <a:ln w="1901" cap="flat">
                <a:noFill/>
                <a:prstDash val="solid"/>
                <a:miter/>
              </a:ln>
            </p:spPr>
            <p:txBody>
              <a:bodyPr rtlCol="0" anchor="ctr"/>
              <a:lstStyle/>
              <a:p>
                <a:endParaRPr lang="en-GB" dirty="0"/>
              </a:p>
            </p:txBody>
          </p:sp>
          <p:sp>
            <p:nvSpPr>
              <p:cNvPr id="140" name="Freihandform: Form 1164">
                <a:extLst>
                  <a:ext uri="{FF2B5EF4-FFF2-40B4-BE49-F238E27FC236}">
                    <a16:creationId xmlns:a16="http://schemas.microsoft.com/office/drawing/2014/main" id="{7B5D1249-84E4-4A06-8E68-313BCC578547}"/>
                  </a:ext>
                </a:extLst>
              </p:cNvPr>
              <p:cNvSpPr/>
              <p:nvPr/>
            </p:nvSpPr>
            <p:spPr>
              <a:xfrm>
                <a:off x="7014631" y="4223655"/>
                <a:ext cx="64742" cy="181258"/>
              </a:xfrm>
              <a:custGeom>
                <a:avLst/>
                <a:gdLst>
                  <a:gd name="connsiteX0" fmla="*/ 64723 w 64742"/>
                  <a:gd name="connsiteY0" fmla="*/ 181259 h 181258"/>
                  <a:gd name="connsiteX1" fmla="*/ 23628 w 64742"/>
                  <a:gd name="connsiteY1" fmla="*/ 181259 h 181258"/>
                  <a:gd name="connsiteX2" fmla="*/ 0 w 64742"/>
                  <a:gd name="connsiteY2" fmla="*/ 157631 h 181258"/>
                  <a:gd name="connsiteX3" fmla="*/ 0 w 64742"/>
                  <a:gd name="connsiteY3" fmla="*/ 0 h 181258"/>
                  <a:gd name="connsiteX4" fmla="*/ 12948 w 64742"/>
                  <a:gd name="connsiteY4" fmla="*/ 0 h 181258"/>
                  <a:gd name="connsiteX5" fmla="*/ 12948 w 64742"/>
                  <a:gd name="connsiteY5" fmla="*/ 157631 h 181258"/>
                  <a:gd name="connsiteX6" fmla="*/ 23628 w 64742"/>
                  <a:gd name="connsiteY6" fmla="*/ 168311 h 181258"/>
                  <a:gd name="connsiteX7" fmla="*/ 64742 w 64742"/>
                  <a:gd name="connsiteY7" fmla="*/ 168311 h 181258"/>
                  <a:gd name="connsiteX8" fmla="*/ 64742 w 64742"/>
                  <a:gd name="connsiteY8" fmla="*/ 181259 h 18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42" h="181258">
                    <a:moveTo>
                      <a:pt x="64723" y="181259"/>
                    </a:moveTo>
                    <a:lnTo>
                      <a:pt x="23628" y="181259"/>
                    </a:lnTo>
                    <a:cubicBezTo>
                      <a:pt x="10603" y="181259"/>
                      <a:pt x="0" y="170656"/>
                      <a:pt x="0" y="157631"/>
                    </a:cubicBezTo>
                    <a:lnTo>
                      <a:pt x="0" y="0"/>
                    </a:lnTo>
                    <a:lnTo>
                      <a:pt x="12948" y="0"/>
                    </a:lnTo>
                    <a:lnTo>
                      <a:pt x="12948" y="157631"/>
                    </a:lnTo>
                    <a:cubicBezTo>
                      <a:pt x="12948" y="163524"/>
                      <a:pt x="17735" y="168311"/>
                      <a:pt x="23628" y="168311"/>
                    </a:cubicBezTo>
                    <a:lnTo>
                      <a:pt x="64742" y="168311"/>
                    </a:lnTo>
                    <a:lnTo>
                      <a:pt x="64742" y="181259"/>
                    </a:lnTo>
                    <a:close/>
                  </a:path>
                </a:pathLst>
              </a:custGeom>
              <a:grpFill/>
              <a:ln w="1901" cap="flat">
                <a:noFill/>
                <a:prstDash val="solid"/>
                <a:miter/>
              </a:ln>
            </p:spPr>
            <p:txBody>
              <a:bodyPr rtlCol="0" anchor="ctr"/>
              <a:lstStyle/>
              <a:p>
                <a:endParaRPr lang="en-GB" dirty="0"/>
              </a:p>
            </p:txBody>
          </p:sp>
          <p:sp>
            <p:nvSpPr>
              <p:cNvPr id="141" name="Freihandform: Form 1165">
                <a:extLst>
                  <a:ext uri="{FF2B5EF4-FFF2-40B4-BE49-F238E27FC236}">
                    <a16:creationId xmlns:a16="http://schemas.microsoft.com/office/drawing/2014/main" id="{68D18FE5-6AA3-4E08-8BD7-67BD2AEB195B}"/>
                  </a:ext>
                </a:extLst>
              </p:cNvPr>
              <p:cNvSpPr/>
              <p:nvPr/>
            </p:nvSpPr>
            <p:spPr>
              <a:xfrm>
                <a:off x="6995199" y="4120086"/>
                <a:ext cx="375466" cy="131296"/>
              </a:xfrm>
              <a:custGeom>
                <a:avLst/>
                <a:gdLst>
                  <a:gd name="connsiteX0" fmla="*/ 161827 w 375466"/>
                  <a:gd name="connsiteY0" fmla="*/ 131296 h 131296"/>
                  <a:gd name="connsiteX1" fmla="*/ 160683 w 375466"/>
                  <a:gd name="connsiteY1" fmla="*/ 131201 h 131296"/>
                  <a:gd name="connsiteX2" fmla="*/ 5340 w 375466"/>
                  <a:gd name="connsiteY2" fmla="*/ 103473 h 131296"/>
                  <a:gd name="connsiteX3" fmla="*/ 0 w 375466"/>
                  <a:gd name="connsiteY3" fmla="*/ 97104 h 131296"/>
                  <a:gd name="connsiteX4" fmla="*/ 0 w 375466"/>
                  <a:gd name="connsiteY4" fmla="*/ 6465 h 131296"/>
                  <a:gd name="connsiteX5" fmla="*/ 6465 w 375466"/>
                  <a:gd name="connsiteY5" fmla="*/ 0 h 131296"/>
                  <a:gd name="connsiteX6" fmla="*/ 369002 w 375466"/>
                  <a:gd name="connsiteY6" fmla="*/ 0 h 131296"/>
                  <a:gd name="connsiteX7" fmla="*/ 375467 w 375466"/>
                  <a:gd name="connsiteY7" fmla="*/ 6465 h 131296"/>
                  <a:gd name="connsiteX8" fmla="*/ 375467 w 375466"/>
                  <a:gd name="connsiteY8" fmla="*/ 97104 h 131296"/>
                  <a:gd name="connsiteX9" fmla="*/ 370127 w 375466"/>
                  <a:gd name="connsiteY9" fmla="*/ 103473 h 131296"/>
                  <a:gd name="connsiteX10" fmla="*/ 215108 w 375466"/>
                  <a:gd name="connsiteY10" fmla="*/ 131144 h 131296"/>
                  <a:gd name="connsiteX11" fmla="*/ 207595 w 375466"/>
                  <a:gd name="connsiteY11" fmla="*/ 125899 h 131296"/>
                  <a:gd name="connsiteX12" fmla="*/ 212820 w 375466"/>
                  <a:gd name="connsiteY12" fmla="*/ 118386 h 131296"/>
                  <a:gd name="connsiteX13" fmla="*/ 362499 w 375466"/>
                  <a:gd name="connsiteY13" fmla="*/ 91669 h 131296"/>
                  <a:gd name="connsiteX14" fmla="*/ 362499 w 375466"/>
                  <a:gd name="connsiteY14" fmla="*/ 12929 h 131296"/>
                  <a:gd name="connsiteX15" fmla="*/ 12948 w 375466"/>
                  <a:gd name="connsiteY15" fmla="*/ 12929 h 131296"/>
                  <a:gd name="connsiteX16" fmla="*/ 12948 w 375466"/>
                  <a:gd name="connsiteY16" fmla="*/ 91669 h 131296"/>
                  <a:gd name="connsiteX17" fmla="*/ 162952 w 375466"/>
                  <a:gd name="connsiteY17" fmla="*/ 118443 h 131296"/>
                  <a:gd name="connsiteX18" fmla="*/ 168196 w 375466"/>
                  <a:gd name="connsiteY18" fmla="*/ 125957 h 131296"/>
                  <a:gd name="connsiteX19" fmla="*/ 161827 w 375466"/>
                  <a:gd name="connsiteY19" fmla="*/ 131296 h 13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5466" h="131296">
                    <a:moveTo>
                      <a:pt x="161827" y="131296"/>
                    </a:moveTo>
                    <a:cubicBezTo>
                      <a:pt x="161445" y="131296"/>
                      <a:pt x="161064" y="131258"/>
                      <a:pt x="160683" y="131201"/>
                    </a:cubicBezTo>
                    <a:lnTo>
                      <a:pt x="5340" y="103473"/>
                    </a:lnTo>
                    <a:cubicBezTo>
                      <a:pt x="2250" y="102920"/>
                      <a:pt x="0" y="100231"/>
                      <a:pt x="0" y="97104"/>
                    </a:cubicBezTo>
                    <a:lnTo>
                      <a:pt x="0" y="6465"/>
                    </a:lnTo>
                    <a:cubicBezTo>
                      <a:pt x="0" y="2880"/>
                      <a:pt x="2899" y="0"/>
                      <a:pt x="6465" y="0"/>
                    </a:cubicBezTo>
                    <a:lnTo>
                      <a:pt x="369002" y="0"/>
                    </a:lnTo>
                    <a:cubicBezTo>
                      <a:pt x="372587" y="0"/>
                      <a:pt x="375467" y="2899"/>
                      <a:pt x="375467" y="6465"/>
                    </a:cubicBezTo>
                    <a:lnTo>
                      <a:pt x="375467" y="97104"/>
                    </a:lnTo>
                    <a:cubicBezTo>
                      <a:pt x="375467" y="100231"/>
                      <a:pt x="373216" y="102920"/>
                      <a:pt x="370127" y="103473"/>
                    </a:cubicBezTo>
                    <a:lnTo>
                      <a:pt x="215108" y="131144"/>
                    </a:lnTo>
                    <a:cubicBezTo>
                      <a:pt x="211599" y="131792"/>
                      <a:pt x="208224" y="129427"/>
                      <a:pt x="207595" y="125899"/>
                    </a:cubicBezTo>
                    <a:cubicBezTo>
                      <a:pt x="206965" y="122371"/>
                      <a:pt x="209311" y="119015"/>
                      <a:pt x="212820" y="118386"/>
                    </a:cubicBezTo>
                    <a:lnTo>
                      <a:pt x="362499" y="91669"/>
                    </a:lnTo>
                    <a:lnTo>
                      <a:pt x="362499" y="12929"/>
                    </a:lnTo>
                    <a:lnTo>
                      <a:pt x="12948" y="12929"/>
                    </a:lnTo>
                    <a:lnTo>
                      <a:pt x="12948" y="91669"/>
                    </a:lnTo>
                    <a:lnTo>
                      <a:pt x="162952" y="118443"/>
                    </a:lnTo>
                    <a:cubicBezTo>
                      <a:pt x="166480" y="119072"/>
                      <a:pt x="168807" y="122429"/>
                      <a:pt x="168196" y="125957"/>
                    </a:cubicBezTo>
                    <a:cubicBezTo>
                      <a:pt x="167624" y="129084"/>
                      <a:pt x="164897" y="131296"/>
                      <a:pt x="161827" y="131296"/>
                    </a:cubicBezTo>
                    <a:close/>
                  </a:path>
                </a:pathLst>
              </a:custGeom>
              <a:grpFill/>
              <a:ln w="1901" cap="flat">
                <a:noFill/>
                <a:prstDash val="solid"/>
                <a:miter/>
              </a:ln>
            </p:spPr>
            <p:txBody>
              <a:bodyPr rtlCol="0" anchor="ctr"/>
              <a:lstStyle/>
              <a:p>
                <a:endParaRPr lang="en-GB" dirty="0"/>
              </a:p>
            </p:txBody>
          </p:sp>
          <p:sp>
            <p:nvSpPr>
              <p:cNvPr id="142" name="Freihandform: Form 1166">
                <a:extLst>
                  <a:ext uri="{FF2B5EF4-FFF2-40B4-BE49-F238E27FC236}">
                    <a16:creationId xmlns:a16="http://schemas.microsoft.com/office/drawing/2014/main" id="{2B147E69-54DF-4913-B43E-5241622DD680}"/>
                  </a:ext>
                </a:extLst>
              </p:cNvPr>
              <p:cNvSpPr/>
              <p:nvPr/>
            </p:nvSpPr>
            <p:spPr>
              <a:xfrm>
                <a:off x="7137632" y="4081222"/>
                <a:ext cx="90620" cy="51774"/>
              </a:xfrm>
              <a:custGeom>
                <a:avLst/>
                <a:gdLst>
                  <a:gd name="connsiteX0" fmla="*/ 84155 w 90620"/>
                  <a:gd name="connsiteY0" fmla="*/ 51775 h 51774"/>
                  <a:gd name="connsiteX1" fmla="*/ 6465 w 90620"/>
                  <a:gd name="connsiteY1" fmla="*/ 51775 h 51774"/>
                  <a:gd name="connsiteX2" fmla="*/ 0 w 90620"/>
                  <a:gd name="connsiteY2" fmla="*/ 45310 h 51774"/>
                  <a:gd name="connsiteX3" fmla="*/ 0 w 90620"/>
                  <a:gd name="connsiteY3" fmla="*/ 19413 h 51774"/>
                  <a:gd name="connsiteX4" fmla="*/ 19413 w 90620"/>
                  <a:gd name="connsiteY4" fmla="*/ 0 h 51774"/>
                  <a:gd name="connsiteX5" fmla="*/ 71207 w 90620"/>
                  <a:gd name="connsiteY5" fmla="*/ 0 h 51774"/>
                  <a:gd name="connsiteX6" fmla="*/ 90620 w 90620"/>
                  <a:gd name="connsiteY6" fmla="*/ 19413 h 51774"/>
                  <a:gd name="connsiteX7" fmla="*/ 90620 w 90620"/>
                  <a:gd name="connsiteY7" fmla="*/ 45310 h 51774"/>
                  <a:gd name="connsiteX8" fmla="*/ 84155 w 90620"/>
                  <a:gd name="connsiteY8" fmla="*/ 51775 h 51774"/>
                  <a:gd name="connsiteX9" fmla="*/ 12948 w 90620"/>
                  <a:gd name="connsiteY9" fmla="*/ 38826 h 51774"/>
                  <a:gd name="connsiteX10" fmla="*/ 77691 w 90620"/>
                  <a:gd name="connsiteY10" fmla="*/ 38826 h 51774"/>
                  <a:gd name="connsiteX11" fmla="*/ 77691 w 90620"/>
                  <a:gd name="connsiteY11" fmla="*/ 19413 h 51774"/>
                  <a:gd name="connsiteX12" fmla="*/ 71226 w 90620"/>
                  <a:gd name="connsiteY12" fmla="*/ 12949 h 51774"/>
                  <a:gd name="connsiteX13" fmla="*/ 19432 w 90620"/>
                  <a:gd name="connsiteY13" fmla="*/ 12949 h 51774"/>
                  <a:gd name="connsiteX14" fmla="*/ 12967 w 90620"/>
                  <a:gd name="connsiteY14" fmla="*/ 19413 h 51774"/>
                  <a:gd name="connsiteX15" fmla="*/ 12967 w 90620"/>
                  <a:gd name="connsiteY15" fmla="*/ 38826 h 51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620" h="51774">
                    <a:moveTo>
                      <a:pt x="84155" y="51775"/>
                    </a:moveTo>
                    <a:lnTo>
                      <a:pt x="6465" y="51775"/>
                    </a:lnTo>
                    <a:cubicBezTo>
                      <a:pt x="2880" y="51775"/>
                      <a:pt x="0" y="48876"/>
                      <a:pt x="0" y="45310"/>
                    </a:cubicBezTo>
                    <a:lnTo>
                      <a:pt x="0" y="19413"/>
                    </a:lnTo>
                    <a:cubicBezTo>
                      <a:pt x="0" y="8696"/>
                      <a:pt x="8715" y="0"/>
                      <a:pt x="19413" y="0"/>
                    </a:cubicBezTo>
                    <a:lnTo>
                      <a:pt x="71207" y="0"/>
                    </a:lnTo>
                    <a:cubicBezTo>
                      <a:pt x="81924" y="0"/>
                      <a:pt x="90620" y="8715"/>
                      <a:pt x="90620" y="19413"/>
                    </a:cubicBezTo>
                    <a:lnTo>
                      <a:pt x="90620" y="45310"/>
                    </a:lnTo>
                    <a:cubicBezTo>
                      <a:pt x="90639" y="48876"/>
                      <a:pt x="87740" y="51775"/>
                      <a:pt x="84155" y="51775"/>
                    </a:cubicBezTo>
                    <a:close/>
                    <a:moveTo>
                      <a:pt x="12948" y="38826"/>
                    </a:moveTo>
                    <a:lnTo>
                      <a:pt x="77691" y="38826"/>
                    </a:lnTo>
                    <a:lnTo>
                      <a:pt x="77691" y="19413"/>
                    </a:lnTo>
                    <a:cubicBezTo>
                      <a:pt x="77691" y="15847"/>
                      <a:pt x="74792" y="12949"/>
                      <a:pt x="71226" y="12949"/>
                    </a:cubicBezTo>
                    <a:lnTo>
                      <a:pt x="19432" y="12949"/>
                    </a:lnTo>
                    <a:cubicBezTo>
                      <a:pt x="15866" y="12949"/>
                      <a:pt x="12967" y="15847"/>
                      <a:pt x="12967" y="19413"/>
                    </a:cubicBezTo>
                    <a:lnTo>
                      <a:pt x="12967" y="38826"/>
                    </a:lnTo>
                    <a:close/>
                  </a:path>
                </a:pathLst>
              </a:custGeom>
              <a:grpFill/>
              <a:ln w="1901" cap="flat">
                <a:noFill/>
                <a:prstDash val="solid"/>
                <a:miter/>
              </a:ln>
            </p:spPr>
            <p:txBody>
              <a:bodyPr rtlCol="0" anchor="ctr"/>
              <a:lstStyle/>
              <a:p>
                <a:endParaRPr lang="en-GB" dirty="0"/>
              </a:p>
            </p:txBody>
          </p:sp>
          <p:sp>
            <p:nvSpPr>
              <p:cNvPr id="143" name="Freihandform: Form 1167">
                <a:extLst>
                  <a:ext uri="{FF2B5EF4-FFF2-40B4-BE49-F238E27FC236}">
                    <a16:creationId xmlns:a16="http://schemas.microsoft.com/office/drawing/2014/main" id="{175927EE-FFDE-4C8E-A60A-F0A267F49B1B}"/>
                  </a:ext>
                </a:extLst>
              </p:cNvPr>
              <p:cNvSpPr/>
              <p:nvPr/>
            </p:nvSpPr>
            <p:spPr>
              <a:xfrm>
                <a:off x="7150580" y="4217171"/>
                <a:ext cx="64723" cy="64723"/>
              </a:xfrm>
              <a:custGeom>
                <a:avLst/>
                <a:gdLst>
                  <a:gd name="connsiteX0" fmla="*/ 32362 w 64723"/>
                  <a:gd name="connsiteY0" fmla="*/ 64723 h 64723"/>
                  <a:gd name="connsiteX1" fmla="*/ 0 w 64723"/>
                  <a:gd name="connsiteY1" fmla="*/ 32362 h 64723"/>
                  <a:gd name="connsiteX2" fmla="*/ 32362 w 64723"/>
                  <a:gd name="connsiteY2" fmla="*/ 0 h 64723"/>
                  <a:gd name="connsiteX3" fmla="*/ 64723 w 64723"/>
                  <a:gd name="connsiteY3" fmla="*/ 32362 h 64723"/>
                  <a:gd name="connsiteX4" fmla="*/ 32362 w 64723"/>
                  <a:gd name="connsiteY4" fmla="*/ 64723 h 64723"/>
                  <a:gd name="connsiteX5" fmla="*/ 32362 w 64723"/>
                  <a:gd name="connsiteY5" fmla="*/ 12949 h 64723"/>
                  <a:gd name="connsiteX6" fmla="*/ 12949 w 64723"/>
                  <a:gd name="connsiteY6" fmla="*/ 32362 h 64723"/>
                  <a:gd name="connsiteX7" fmla="*/ 32362 w 64723"/>
                  <a:gd name="connsiteY7" fmla="*/ 51775 h 64723"/>
                  <a:gd name="connsiteX8" fmla="*/ 51775 w 64723"/>
                  <a:gd name="connsiteY8" fmla="*/ 32362 h 64723"/>
                  <a:gd name="connsiteX9" fmla="*/ 32362 w 64723"/>
                  <a:gd name="connsiteY9" fmla="*/ 12949 h 64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723" h="64723">
                    <a:moveTo>
                      <a:pt x="32362" y="64723"/>
                    </a:moveTo>
                    <a:cubicBezTo>
                      <a:pt x="14512" y="64723"/>
                      <a:pt x="0" y="50192"/>
                      <a:pt x="0" y="32362"/>
                    </a:cubicBezTo>
                    <a:cubicBezTo>
                      <a:pt x="0" y="14512"/>
                      <a:pt x="14531" y="0"/>
                      <a:pt x="32362" y="0"/>
                    </a:cubicBezTo>
                    <a:cubicBezTo>
                      <a:pt x="50211" y="0"/>
                      <a:pt x="64723" y="14531"/>
                      <a:pt x="64723" y="32362"/>
                    </a:cubicBezTo>
                    <a:cubicBezTo>
                      <a:pt x="64742" y="50211"/>
                      <a:pt x="50211" y="64723"/>
                      <a:pt x="32362" y="64723"/>
                    </a:cubicBezTo>
                    <a:close/>
                    <a:moveTo>
                      <a:pt x="32362" y="12949"/>
                    </a:moveTo>
                    <a:cubicBezTo>
                      <a:pt x="21644" y="12949"/>
                      <a:pt x="12949" y="21663"/>
                      <a:pt x="12949" y="32362"/>
                    </a:cubicBezTo>
                    <a:cubicBezTo>
                      <a:pt x="12949" y="43079"/>
                      <a:pt x="21663" y="51775"/>
                      <a:pt x="32362" y="51775"/>
                    </a:cubicBezTo>
                    <a:cubicBezTo>
                      <a:pt x="43079" y="51775"/>
                      <a:pt x="51775" y="43060"/>
                      <a:pt x="51775" y="32362"/>
                    </a:cubicBezTo>
                    <a:cubicBezTo>
                      <a:pt x="51794" y="21644"/>
                      <a:pt x="43079" y="12949"/>
                      <a:pt x="32362" y="12949"/>
                    </a:cubicBezTo>
                    <a:close/>
                  </a:path>
                </a:pathLst>
              </a:custGeom>
              <a:grpFill/>
              <a:ln w="1901" cap="flat">
                <a:noFill/>
                <a:prstDash val="solid"/>
                <a:miter/>
              </a:ln>
            </p:spPr>
            <p:txBody>
              <a:bodyPr rtlCol="0" anchor="ctr"/>
              <a:lstStyle/>
              <a:p>
                <a:endParaRPr lang="en-GB" dirty="0"/>
              </a:p>
            </p:txBody>
          </p:sp>
        </p:grpSp>
        <p:grpSp>
          <p:nvGrpSpPr>
            <p:cNvPr id="133" name="Group 132">
              <a:extLst>
                <a:ext uri="{FF2B5EF4-FFF2-40B4-BE49-F238E27FC236}">
                  <a16:creationId xmlns:a16="http://schemas.microsoft.com/office/drawing/2014/main" id="{42B62656-B7D0-48BC-A76D-6F734287A410}"/>
                </a:ext>
              </a:extLst>
            </p:cNvPr>
            <p:cNvGrpSpPr/>
            <p:nvPr/>
          </p:nvGrpSpPr>
          <p:grpSpPr>
            <a:xfrm>
              <a:off x="3875608" y="1790765"/>
              <a:ext cx="227217" cy="227221"/>
              <a:chOff x="7092303" y="4308306"/>
              <a:chExt cx="251965" cy="251970"/>
            </a:xfrm>
            <a:solidFill>
              <a:schemeClr val="accent1"/>
            </a:solidFill>
          </p:grpSpPr>
          <p:grpSp>
            <p:nvGrpSpPr>
              <p:cNvPr id="134" name="Grafik 289">
                <a:extLst>
                  <a:ext uri="{FF2B5EF4-FFF2-40B4-BE49-F238E27FC236}">
                    <a16:creationId xmlns:a16="http://schemas.microsoft.com/office/drawing/2014/main" id="{2D0846DF-0B52-462E-B3B1-99480E644779}"/>
                  </a:ext>
                </a:extLst>
              </p:cNvPr>
              <p:cNvGrpSpPr/>
              <p:nvPr/>
            </p:nvGrpSpPr>
            <p:grpSpPr>
              <a:xfrm>
                <a:off x="7092303" y="4308306"/>
                <a:ext cx="251965" cy="251970"/>
                <a:chOff x="7092303" y="4308306"/>
                <a:chExt cx="251965" cy="251970"/>
              </a:xfrm>
              <a:solidFill>
                <a:schemeClr val="accent1"/>
              </a:solidFill>
            </p:grpSpPr>
            <p:sp>
              <p:nvSpPr>
                <p:cNvPr id="136" name="Freihandform: Form 1169">
                  <a:extLst>
                    <a:ext uri="{FF2B5EF4-FFF2-40B4-BE49-F238E27FC236}">
                      <a16:creationId xmlns:a16="http://schemas.microsoft.com/office/drawing/2014/main" id="{C3DA8DD9-227D-4745-839A-64D32310F2D9}"/>
                    </a:ext>
                  </a:extLst>
                </p:cNvPr>
                <p:cNvSpPr/>
                <p:nvPr/>
              </p:nvSpPr>
              <p:spPr>
                <a:xfrm>
                  <a:off x="7092303" y="4308306"/>
                  <a:ext cx="181278" cy="181239"/>
                </a:xfrm>
                <a:custGeom>
                  <a:avLst/>
                  <a:gdLst>
                    <a:gd name="connsiteX0" fmla="*/ 90639 w 181278"/>
                    <a:gd name="connsiteY0" fmla="*/ 181240 h 181239"/>
                    <a:gd name="connsiteX1" fmla="*/ 26545 w 181278"/>
                    <a:gd name="connsiteY1" fmla="*/ 154733 h 181239"/>
                    <a:gd name="connsiteX2" fmla="*/ 26545 w 181278"/>
                    <a:gd name="connsiteY2" fmla="*/ 154733 h 181239"/>
                    <a:gd name="connsiteX3" fmla="*/ 0 w 181278"/>
                    <a:gd name="connsiteY3" fmla="*/ 90639 h 181239"/>
                    <a:gd name="connsiteX4" fmla="*/ 26545 w 181278"/>
                    <a:gd name="connsiteY4" fmla="*/ 26545 h 181239"/>
                    <a:gd name="connsiteX5" fmla="*/ 90639 w 181278"/>
                    <a:gd name="connsiteY5" fmla="*/ 0 h 181239"/>
                    <a:gd name="connsiteX6" fmla="*/ 154733 w 181278"/>
                    <a:gd name="connsiteY6" fmla="*/ 26545 h 181239"/>
                    <a:gd name="connsiteX7" fmla="*/ 181278 w 181278"/>
                    <a:gd name="connsiteY7" fmla="*/ 90639 h 181239"/>
                    <a:gd name="connsiteX8" fmla="*/ 154733 w 181278"/>
                    <a:gd name="connsiteY8" fmla="*/ 154733 h 181239"/>
                    <a:gd name="connsiteX9" fmla="*/ 90639 w 181278"/>
                    <a:gd name="connsiteY9" fmla="*/ 181240 h 181239"/>
                    <a:gd name="connsiteX10" fmla="*/ 35718 w 181278"/>
                    <a:gd name="connsiteY10" fmla="*/ 145579 h 181239"/>
                    <a:gd name="connsiteX11" fmla="*/ 145579 w 181278"/>
                    <a:gd name="connsiteY11" fmla="*/ 145579 h 181239"/>
                    <a:gd name="connsiteX12" fmla="*/ 168330 w 181278"/>
                    <a:gd name="connsiteY12" fmla="*/ 90639 h 181239"/>
                    <a:gd name="connsiteX13" fmla="*/ 145579 w 181278"/>
                    <a:gd name="connsiteY13" fmla="*/ 35699 h 181239"/>
                    <a:gd name="connsiteX14" fmla="*/ 90639 w 181278"/>
                    <a:gd name="connsiteY14" fmla="*/ 12948 h 181239"/>
                    <a:gd name="connsiteX15" fmla="*/ 35699 w 181278"/>
                    <a:gd name="connsiteY15" fmla="*/ 35699 h 181239"/>
                    <a:gd name="connsiteX16" fmla="*/ 12949 w 181278"/>
                    <a:gd name="connsiteY16" fmla="*/ 90639 h 181239"/>
                    <a:gd name="connsiteX17" fmla="*/ 35718 w 181278"/>
                    <a:gd name="connsiteY17" fmla="*/ 145579 h 181239"/>
                    <a:gd name="connsiteX18" fmla="*/ 35718 w 181278"/>
                    <a:gd name="connsiteY18" fmla="*/ 145579 h 181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1278" h="181239">
                      <a:moveTo>
                        <a:pt x="90639" y="181240"/>
                      </a:moveTo>
                      <a:cubicBezTo>
                        <a:pt x="67431" y="181240"/>
                        <a:pt x="44223" y="172411"/>
                        <a:pt x="26545" y="154733"/>
                      </a:cubicBezTo>
                      <a:lnTo>
                        <a:pt x="26545" y="154733"/>
                      </a:lnTo>
                      <a:cubicBezTo>
                        <a:pt x="9421" y="137608"/>
                        <a:pt x="0" y="114858"/>
                        <a:pt x="0" y="90639"/>
                      </a:cubicBezTo>
                      <a:cubicBezTo>
                        <a:pt x="0" y="66420"/>
                        <a:pt x="9421" y="43670"/>
                        <a:pt x="26545" y="26545"/>
                      </a:cubicBezTo>
                      <a:cubicBezTo>
                        <a:pt x="43670" y="9420"/>
                        <a:pt x="66420" y="0"/>
                        <a:pt x="90639" y="0"/>
                      </a:cubicBezTo>
                      <a:cubicBezTo>
                        <a:pt x="114839" y="0"/>
                        <a:pt x="137608" y="9420"/>
                        <a:pt x="154733" y="26545"/>
                      </a:cubicBezTo>
                      <a:cubicBezTo>
                        <a:pt x="171858" y="43651"/>
                        <a:pt x="181278" y="66420"/>
                        <a:pt x="181278" y="90639"/>
                      </a:cubicBezTo>
                      <a:cubicBezTo>
                        <a:pt x="181278" y="114839"/>
                        <a:pt x="171858" y="137608"/>
                        <a:pt x="154733" y="154733"/>
                      </a:cubicBezTo>
                      <a:cubicBezTo>
                        <a:pt x="137055" y="172391"/>
                        <a:pt x="113847" y="181240"/>
                        <a:pt x="90639" y="181240"/>
                      </a:cubicBezTo>
                      <a:close/>
                      <a:moveTo>
                        <a:pt x="35718" y="145579"/>
                      </a:moveTo>
                      <a:cubicBezTo>
                        <a:pt x="66020" y="175862"/>
                        <a:pt x="115296" y="175862"/>
                        <a:pt x="145579" y="145579"/>
                      </a:cubicBezTo>
                      <a:cubicBezTo>
                        <a:pt x="160244" y="130914"/>
                        <a:pt x="168330" y="111387"/>
                        <a:pt x="168330" y="90639"/>
                      </a:cubicBezTo>
                      <a:cubicBezTo>
                        <a:pt x="168330" y="69891"/>
                        <a:pt x="160244" y="50382"/>
                        <a:pt x="145579" y="35699"/>
                      </a:cubicBezTo>
                      <a:cubicBezTo>
                        <a:pt x="130915" y="21015"/>
                        <a:pt x="111387" y="12948"/>
                        <a:pt x="90639" y="12948"/>
                      </a:cubicBezTo>
                      <a:cubicBezTo>
                        <a:pt x="69891" y="12948"/>
                        <a:pt x="50383" y="21034"/>
                        <a:pt x="35699" y="35699"/>
                      </a:cubicBezTo>
                      <a:cubicBezTo>
                        <a:pt x="21034" y="50363"/>
                        <a:pt x="12949" y="69872"/>
                        <a:pt x="12949" y="90639"/>
                      </a:cubicBezTo>
                      <a:cubicBezTo>
                        <a:pt x="12949" y="111406"/>
                        <a:pt x="21034" y="130914"/>
                        <a:pt x="35718" y="145579"/>
                      </a:cubicBezTo>
                      <a:lnTo>
                        <a:pt x="35718" y="145579"/>
                      </a:lnTo>
                      <a:close/>
                    </a:path>
                  </a:pathLst>
                </a:custGeom>
                <a:solidFill>
                  <a:schemeClr val="accent1"/>
                </a:solidFill>
                <a:ln w="1901" cap="flat">
                  <a:noFill/>
                  <a:prstDash val="solid"/>
                  <a:miter/>
                </a:ln>
              </p:spPr>
              <p:txBody>
                <a:bodyPr rtlCol="0" anchor="ctr"/>
                <a:lstStyle/>
                <a:p>
                  <a:endParaRPr lang="en-GB" dirty="0"/>
                </a:p>
              </p:txBody>
            </p:sp>
            <p:sp>
              <p:nvSpPr>
                <p:cNvPr id="137" name="Freihandform: Form 1170">
                  <a:extLst>
                    <a:ext uri="{FF2B5EF4-FFF2-40B4-BE49-F238E27FC236}">
                      <a16:creationId xmlns:a16="http://schemas.microsoft.com/office/drawing/2014/main" id="{4AF6AD93-2EC9-4199-9D02-5882D134705A}"/>
                    </a:ext>
                  </a:extLst>
                </p:cNvPr>
                <p:cNvSpPr/>
                <p:nvPr/>
              </p:nvSpPr>
              <p:spPr>
                <a:xfrm>
                  <a:off x="7263455" y="4479443"/>
                  <a:ext cx="80813" cy="80832"/>
                </a:xfrm>
                <a:custGeom>
                  <a:avLst/>
                  <a:gdLst>
                    <a:gd name="connsiteX0" fmla="*/ 61405 w 80813"/>
                    <a:gd name="connsiteY0" fmla="*/ 80833 h 80832"/>
                    <a:gd name="connsiteX1" fmla="*/ 47675 w 80813"/>
                    <a:gd name="connsiteY1" fmla="*/ 75150 h 80832"/>
                    <a:gd name="connsiteX2" fmla="*/ 1888 w 80813"/>
                    <a:gd name="connsiteY2" fmla="*/ 29363 h 80832"/>
                    <a:gd name="connsiteX3" fmla="*/ 0 w 80813"/>
                    <a:gd name="connsiteY3" fmla="*/ 24786 h 80832"/>
                    <a:gd name="connsiteX4" fmla="*/ 1888 w 80813"/>
                    <a:gd name="connsiteY4" fmla="*/ 20209 h 80832"/>
                    <a:gd name="connsiteX5" fmla="*/ 20195 w 80813"/>
                    <a:gd name="connsiteY5" fmla="*/ 1902 h 80832"/>
                    <a:gd name="connsiteX6" fmla="*/ 29349 w 80813"/>
                    <a:gd name="connsiteY6" fmla="*/ 1902 h 80832"/>
                    <a:gd name="connsiteX7" fmla="*/ 75135 w 80813"/>
                    <a:gd name="connsiteY7" fmla="*/ 47689 h 80832"/>
                    <a:gd name="connsiteX8" fmla="*/ 75135 w 80813"/>
                    <a:gd name="connsiteY8" fmla="*/ 75150 h 80832"/>
                    <a:gd name="connsiteX9" fmla="*/ 61405 w 80813"/>
                    <a:gd name="connsiteY9" fmla="*/ 80833 h 80832"/>
                    <a:gd name="connsiteX10" fmla="*/ 15618 w 80813"/>
                    <a:gd name="connsiteY10" fmla="*/ 24786 h 80832"/>
                    <a:gd name="connsiteX11" fmla="*/ 56828 w 80813"/>
                    <a:gd name="connsiteY11" fmla="*/ 65996 h 80832"/>
                    <a:gd name="connsiteX12" fmla="*/ 65982 w 80813"/>
                    <a:gd name="connsiteY12" fmla="*/ 65996 h 80832"/>
                    <a:gd name="connsiteX13" fmla="*/ 65982 w 80813"/>
                    <a:gd name="connsiteY13" fmla="*/ 56843 h 80832"/>
                    <a:gd name="connsiteX14" fmla="*/ 24791 w 80813"/>
                    <a:gd name="connsiteY14" fmla="*/ 15633 h 80832"/>
                    <a:gd name="connsiteX15" fmla="*/ 15618 w 80813"/>
                    <a:gd name="connsiteY15" fmla="*/ 24786 h 80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0813" h="80832">
                      <a:moveTo>
                        <a:pt x="61405" y="80833"/>
                      </a:moveTo>
                      <a:cubicBezTo>
                        <a:pt x="56428" y="80833"/>
                        <a:pt x="51470" y="78945"/>
                        <a:pt x="47675" y="75150"/>
                      </a:cubicBezTo>
                      <a:lnTo>
                        <a:pt x="1888" y="29363"/>
                      </a:lnTo>
                      <a:cubicBezTo>
                        <a:pt x="667" y="28142"/>
                        <a:pt x="0" y="26503"/>
                        <a:pt x="0" y="24786"/>
                      </a:cubicBezTo>
                      <a:cubicBezTo>
                        <a:pt x="0" y="23070"/>
                        <a:pt x="686" y="21430"/>
                        <a:pt x="1888" y="20209"/>
                      </a:cubicBezTo>
                      <a:lnTo>
                        <a:pt x="20195" y="1902"/>
                      </a:lnTo>
                      <a:cubicBezTo>
                        <a:pt x="22731" y="-634"/>
                        <a:pt x="26812" y="-634"/>
                        <a:pt x="29349" y="1902"/>
                      </a:cubicBezTo>
                      <a:lnTo>
                        <a:pt x="75135" y="47689"/>
                      </a:lnTo>
                      <a:cubicBezTo>
                        <a:pt x="82706" y="55260"/>
                        <a:pt x="82706" y="67579"/>
                        <a:pt x="75135" y="75150"/>
                      </a:cubicBezTo>
                      <a:cubicBezTo>
                        <a:pt x="71360" y="78945"/>
                        <a:pt x="66382" y="80833"/>
                        <a:pt x="61405" y="80833"/>
                      </a:cubicBezTo>
                      <a:close/>
                      <a:moveTo>
                        <a:pt x="15618" y="24786"/>
                      </a:moveTo>
                      <a:lnTo>
                        <a:pt x="56828" y="65996"/>
                      </a:lnTo>
                      <a:cubicBezTo>
                        <a:pt x="59365" y="68532"/>
                        <a:pt x="63465" y="68532"/>
                        <a:pt x="65982" y="65996"/>
                      </a:cubicBezTo>
                      <a:cubicBezTo>
                        <a:pt x="68499" y="63479"/>
                        <a:pt x="68499" y="59360"/>
                        <a:pt x="65982" y="56843"/>
                      </a:cubicBezTo>
                      <a:lnTo>
                        <a:pt x="24791" y="15633"/>
                      </a:lnTo>
                      <a:lnTo>
                        <a:pt x="15618" y="24786"/>
                      </a:lnTo>
                      <a:close/>
                    </a:path>
                  </a:pathLst>
                </a:custGeom>
                <a:solidFill>
                  <a:schemeClr val="accent1"/>
                </a:solidFill>
                <a:ln w="1901" cap="flat">
                  <a:noFill/>
                  <a:prstDash val="solid"/>
                  <a:miter/>
                </a:ln>
              </p:spPr>
              <p:txBody>
                <a:bodyPr rtlCol="0" anchor="ctr"/>
                <a:lstStyle/>
                <a:p>
                  <a:endParaRPr lang="en-GB" dirty="0"/>
                </a:p>
              </p:txBody>
            </p:sp>
            <p:sp>
              <p:nvSpPr>
                <p:cNvPr id="138" name="Freihandform: Form 1171">
                  <a:extLst>
                    <a:ext uri="{FF2B5EF4-FFF2-40B4-BE49-F238E27FC236}">
                      <a16:creationId xmlns:a16="http://schemas.microsoft.com/office/drawing/2014/main" id="{AE687DDA-6AEE-4438-B970-E8C7CC188535}"/>
                    </a:ext>
                  </a:extLst>
                </p:cNvPr>
                <p:cNvSpPr/>
                <p:nvPr/>
              </p:nvSpPr>
              <p:spPr>
                <a:xfrm>
                  <a:off x="7235980" y="4452002"/>
                  <a:ext cx="49572" cy="49557"/>
                </a:xfrm>
                <a:custGeom>
                  <a:avLst/>
                  <a:gdLst>
                    <a:gd name="connsiteX0" fmla="*/ 43093 w 49572"/>
                    <a:gd name="connsiteY0" fmla="*/ 49558 h 49557"/>
                    <a:gd name="connsiteX1" fmla="*/ 38516 w 49572"/>
                    <a:gd name="connsiteY1" fmla="*/ 47670 h 49557"/>
                    <a:gd name="connsiteX2" fmla="*/ 1902 w 49572"/>
                    <a:gd name="connsiteY2" fmla="*/ 11056 h 49557"/>
                    <a:gd name="connsiteX3" fmla="*/ 1902 w 49572"/>
                    <a:gd name="connsiteY3" fmla="*/ 1902 h 49557"/>
                    <a:gd name="connsiteX4" fmla="*/ 11056 w 49572"/>
                    <a:gd name="connsiteY4" fmla="*/ 1902 h 49557"/>
                    <a:gd name="connsiteX5" fmla="*/ 47670 w 49572"/>
                    <a:gd name="connsiteY5" fmla="*/ 38516 h 49557"/>
                    <a:gd name="connsiteX6" fmla="*/ 47670 w 49572"/>
                    <a:gd name="connsiteY6" fmla="*/ 47670 h 49557"/>
                    <a:gd name="connsiteX7" fmla="*/ 43093 w 49572"/>
                    <a:gd name="connsiteY7" fmla="*/ 49558 h 4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2" h="49557">
                      <a:moveTo>
                        <a:pt x="43093" y="49558"/>
                      </a:moveTo>
                      <a:cubicBezTo>
                        <a:pt x="41434" y="49558"/>
                        <a:pt x="39775" y="48929"/>
                        <a:pt x="38516" y="47670"/>
                      </a:cubicBezTo>
                      <a:lnTo>
                        <a:pt x="1902" y="11056"/>
                      </a:lnTo>
                      <a:cubicBezTo>
                        <a:pt x="-634" y="8520"/>
                        <a:pt x="-634" y="4439"/>
                        <a:pt x="1902" y="1902"/>
                      </a:cubicBezTo>
                      <a:cubicBezTo>
                        <a:pt x="4439" y="-634"/>
                        <a:pt x="8520" y="-634"/>
                        <a:pt x="11056" y="1902"/>
                      </a:cubicBezTo>
                      <a:lnTo>
                        <a:pt x="47670" y="38516"/>
                      </a:lnTo>
                      <a:cubicBezTo>
                        <a:pt x="50206" y="41053"/>
                        <a:pt x="50206" y="45134"/>
                        <a:pt x="47670" y="47670"/>
                      </a:cubicBezTo>
                      <a:cubicBezTo>
                        <a:pt x="46411" y="48910"/>
                        <a:pt x="44752" y="49558"/>
                        <a:pt x="43093" y="49558"/>
                      </a:cubicBezTo>
                      <a:close/>
                    </a:path>
                  </a:pathLst>
                </a:custGeom>
                <a:solidFill>
                  <a:schemeClr val="accent1"/>
                </a:solidFill>
                <a:ln w="1901" cap="flat">
                  <a:noFill/>
                  <a:prstDash val="solid"/>
                  <a:miter/>
                </a:ln>
              </p:spPr>
              <p:txBody>
                <a:bodyPr rtlCol="0" anchor="ctr"/>
                <a:lstStyle/>
                <a:p>
                  <a:endParaRPr lang="en-GB" dirty="0"/>
                </a:p>
              </p:txBody>
            </p:sp>
          </p:grpSp>
          <p:sp>
            <p:nvSpPr>
              <p:cNvPr id="135" name="Freihandform: Form 1172">
                <a:extLst>
                  <a:ext uri="{FF2B5EF4-FFF2-40B4-BE49-F238E27FC236}">
                    <a16:creationId xmlns:a16="http://schemas.microsoft.com/office/drawing/2014/main" id="{217A3A81-16E6-4228-AD3C-0FD5C7239189}"/>
                  </a:ext>
                </a:extLst>
              </p:cNvPr>
              <p:cNvSpPr/>
              <p:nvPr/>
            </p:nvSpPr>
            <p:spPr>
              <a:xfrm>
                <a:off x="7148997" y="4344424"/>
                <a:ext cx="67622" cy="113751"/>
              </a:xfrm>
              <a:custGeom>
                <a:avLst/>
                <a:gdLst>
                  <a:gd name="connsiteX0" fmla="*/ 40428 w 67622"/>
                  <a:gd name="connsiteY0" fmla="*/ 49658 h 113751"/>
                  <a:gd name="connsiteX1" fmla="*/ 40428 w 67622"/>
                  <a:gd name="connsiteY1" fmla="*/ 19146 h 113751"/>
                  <a:gd name="connsiteX2" fmla="*/ 55322 w 67622"/>
                  <a:gd name="connsiteY2" fmla="*/ 26355 h 113751"/>
                  <a:gd name="connsiteX3" fmla="*/ 59174 w 67622"/>
                  <a:gd name="connsiteY3" fmla="*/ 27823 h 113751"/>
                  <a:gd name="connsiteX4" fmla="*/ 64876 w 67622"/>
                  <a:gd name="connsiteY4" fmla="*/ 22236 h 113751"/>
                  <a:gd name="connsiteX5" fmla="*/ 62130 w 67622"/>
                  <a:gd name="connsiteY5" fmla="*/ 17373 h 113751"/>
                  <a:gd name="connsiteX6" fmla="*/ 40676 w 67622"/>
                  <a:gd name="connsiteY6" fmla="*/ 8314 h 113751"/>
                  <a:gd name="connsiteX7" fmla="*/ 40676 w 67622"/>
                  <a:gd name="connsiteY7" fmla="*/ 5454 h 113751"/>
                  <a:gd name="connsiteX8" fmla="*/ 35222 w 67622"/>
                  <a:gd name="connsiteY8" fmla="*/ 0 h 113751"/>
                  <a:gd name="connsiteX9" fmla="*/ 29768 w 67622"/>
                  <a:gd name="connsiteY9" fmla="*/ 5454 h 113751"/>
                  <a:gd name="connsiteX10" fmla="*/ 29768 w 67622"/>
                  <a:gd name="connsiteY10" fmla="*/ 7952 h 113751"/>
                  <a:gd name="connsiteX11" fmla="*/ 3299 w 67622"/>
                  <a:gd name="connsiteY11" fmla="*/ 33067 h 113751"/>
                  <a:gd name="connsiteX12" fmla="*/ 30016 w 67622"/>
                  <a:gd name="connsiteY12" fmla="*/ 58697 h 113751"/>
                  <a:gd name="connsiteX13" fmla="*/ 30016 w 67622"/>
                  <a:gd name="connsiteY13" fmla="*/ 89914 h 113751"/>
                  <a:gd name="connsiteX14" fmla="*/ 9554 w 67622"/>
                  <a:gd name="connsiteY14" fmla="*/ 79483 h 113751"/>
                  <a:gd name="connsiteX15" fmla="*/ 5588 w 67622"/>
                  <a:gd name="connsiteY15" fmla="*/ 77900 h 113751"/>
                  <a:gd name="connsiteX16" fmla="*/ 0 w 67622"/>
                  <a:gd name="connsiteY16" fmla="*/ 83488 h 113751"/>
                  <a:gd name="connsiteX17" fmla="*/ 2212 w 67622"/>
                  <a:gd name="connsiteY17" fmla="*/ 87950 h 113751"/>
                  <a:gd name="connsiteX18" fmla="*/ 29749 w 67622"/>
                  <a:gd name="connsiteY18" fmla="*/ 100536 h 113751"/>
                  <a:gd name="connsiteX19" fmla="*/ 29749 w 67622"/>
                  <a:gd name="connsiteY19" fmla="*/ 108298 h 113751"/>
                  <a:gd name="connsiteX20" fmla="*/ 35203 w 67622"/>
                  <a:gd name="connsiteY20" fmla="*/ 113752 h 113751"/>
                  <a:gd name="connsiteX21" fmla="*/ 40657 w 67622"/>
                  <a:gd name="connsiteY21" fmla="*/ 108298 h 113751"/>
                  <a:gd name="connsiteX22" fmla="*/ 40657 w 67622"/>
                  <a:gd name="connsiteY22" fmla="*/ 100746 h 113751"/>
                  <a:gd name="connsiteX23" fmla="*/ 67622 w 67622"/>
                  <a:gd name="connsiteY23" fmla="*/ 75135 h 113751"/>
                  <a:gd name="connsiteX24" fmla="*/ 40428 w 67622"/>
                  <a:gd name="connsiteY24" fmla="*/ 49658 h 113751"/>
                  <a:gd name="connsiteX25" fmla="*/ 40428 w 67622"/>
                  <a:gd name="connsiteY25" fmla="*/ 61138 h 113751"/>
                  <a:gd name="connsiteX26" fmla="*/ 56371 w 67622"/>
                  <a:gd name="connsiteY26" fmla="*/ 75708 h 113751"/>
                  <a:gd name="connsiteX27" fmla="*/ 40428 w 67622"/>
                  <a:gd name="connsiteY27" fmla="*/ 90277 h 113751"/>
                  <a:gd name="connsiteX28" fmla="*/ 40428 w 67622"/>
                  <a:gd name="connsiteY28" fmla="*/ 61138 h 113751"/>
                  <a:gd name="connsiteX29" fmla="*/ 30016 w 67622"/>
                  <a:gd name="connsiteY29" fmla="*/ 18555 h 113751"/>
                  <a:gd name="connsiteX30" fmla="*/ 30016 w 67622"/>
                  <a:gd name="connsiteY30" fmla="*/ 47236 h 113751"/>
                  <a:gd name="connsiteX31" fmla="*/ 14588 w 67622"/>
                  <a:gd name="connsiteY31" fmla="*/ 32590 h 113751"/>
                  <a:gd name="connsiteX32" fmla="*/ 30016 w 67622"/>
                  <a:gd name="connsiteY32" fmla="*/ 18555 h 113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7622" h="113751">
                    <a:moveTo>
                      <a:pt x="40428" y="49658"/>
                    </a:moveTo>
                    <a:lnTo>
                      <a:pt x="40428" y="19146"/>
                    </a:lnTo>
                    <a:cubicBezTo>
                      <a:pt x="45730" y="20176"/>
                      <a:pt x="50516" y="22522"/>
                      <a:pt x="55322" y="26355"/>
                    </a:cubicBezTo>
                    <a:cubicBezTo>
                      <a:pt x="56828" y="27651"/>
                      <a:pt x="58125" y="27823"/>
                      <a:pt x="59174" y="27823"/>
                    </a:cubicBezTo>
                    <a:cubicBezTo>
                      <a:pt x="62320" y="27823"/>
                      <a:pt x="64876" y="25325"/>
                      <a:pt x="64876" y="22236"/>
                    </a:cubicBezTo>
                    <a:cubicBezTo>
                      <a:pt x="64876" y="19833"/>
                      <a:pt x="63503" y="18460"/>
                      <a:pt x="62130" y="17373"/>
                    </a:cubicBezTo>
                    <a:cubicBezTo>
                      <a:pt x="54998" y="12090"/>
                      <a:pt x="48457" y="9325"/>
                      <a:pt x="40676" y="8314"/>
                    </a:cubicBezTo>
                    <a:lnTo>
                      <a:pt x="40676" y="5454"/>
                    </a:lnTo>
                    <a:cubicBezTo>
                      <a:pt x="40676" y="2498"/>
                      <a:pt x="38178" y="0"/>
                      <a:pt x="35222" y="0"/>
                    </a:cubicBezTo>
                    <a:cubicBezTo>
                      <a:pt x="32266" y="0"/>
                      <a:pt x="29768" y="2498"/>
                      <a:pt x="29768" y="5454"/>
                    </a:cubicBezTo>
                    <a:lnTo>
                      <a:pt x="29768" y="7952"/>
                    </a:lnTo>
                    <a:cubicBezTo>
                      <a:pt x="14283" y="9268"/>
                      <a:pt x="3299" y="19528"/>
                      <a:pt x="3299" y="33067"/>
                    </a:cubicBezTo>
                    <a:cubicBezTo>
                      <a:pt x="3299" y="46473"/>
                      <a:pt x="11309" y="54216"/>
                      <a:pt x="30016" y="58697"/>
                    </a:cubicBezTo>
                    <a:lnTo>
                      <a:pt x="30016" y="89914"/>
                    </a:lnTo>
                    <a:cubicBezTo>
                      <a:pt x="22350" y="88637"/>
                      <a:pt x="15790" y="85261"/>
                      <a:pt x="9554" y="79483"/>
                    </a:cubicBezTo>
                    <a:cubicBezTo>
                      <a:pt x="8944" y="78892"/>
                      <a:pt x="7647" y="77900"/>
                      <a:pt x="5588" y="77900"/>
                    </a:cubicBezTo>
                    <a:cubicBezTo>
                      <a:pt x="2613" y="77900"/>
                      <a:pt x="0" y="80513"/>
                      <a:pt x="0" y="83488"/>
                    </a:cubicBezTo>
                    <a:cubicBezTo>
                      <a:pt x="0" y="85795"/>
                      <a:pt x="1278" y="87168"/>
                      <a:pt x="2212" y="87950"/>
                    </a:cubicBezTo>
                    <a:cubicBezTo>
                      <a:pt x="10660" y="95273"/>
                      <a:pt x="19451" y="99297"/>
                      <a:pt x="29749" y="100536"/>
                    </a:cubicBezTo>
                    <a:lnTo>
                      <a:pt x="29749" y="108298"/>
                    </a:lnTo>
                    <a:cubicBezTo>
                      <a:pt x="29749" y="111254"/>
                      <a:pt x="32247" y="113752"/>
                      <a:pt x="35203" y="113752"/>
                    </a:cubicBezTo>
                    <a:cubicBezTo>
                      <a:pt x="38159" y="113752"/>
                      <a:pt x="40657" y="111254"/>
                      <a:pt x="40657" y="108298"/>
                    </a:cubicBezTo>
                    <a:lnTo>
                      <a:pt x="40657" y="100746"/>
                    </a:lnTo>
                    <a:cubicBezTo>
                      <a:pt x="56657" y="99354"/>
                      <a:pt x="67622" y="89075"/>
                      <a:pt x="67622" y="75135"/>
                    </a:cubicBezTo>
                    <a:cubicBezTo>
                      <a:pt x="67660" y="61939"/>
                      <a:pt x="59231" y="54025"/>
                      <a:pt x="40428" y="49658"/>
                    </a:cubicBezTo>
                    <a:close/>
                    <a:moveTo>
                      <a:pt x="40428" y="61138"/>
                    </a:moveTo>
                    <a:cubicBezTo>
                      <a:pt x="53682" y="64590"/>
                      <a:pt x="56371" y="69147"/>
                      <a:pt x="56371" y="75708"/>
                    </a:cubicBezTo>
                    <a:cubicBezTo>
                      <a:pt x="56371" y="83488"/>
                      <a:pt x="49925" y="89247"/>
                      <a:pt x="40428" y="90277"/>
                    </a:cubicBezTo>
                    <a:lnTo>
                      <a:pt x="40428" y="61138"/>
                    </a:lnTo>
                    <a:close/>
                    <a:moveTo>
                      <a:pt x="30016" y="18555"/>
                    </a:moveTo>
                    <a:lnTo>
                      <a:pt x="30016" y="47236"/>
                    </a:lnTo>
                    <a:cubicBezTo>
                      <a:pt x="17125" y="43651"/>
                      <a:pt x="14588" y="39227"/>
                      <a:pt x="14588" y="32590"/>
                    </a:cubicBezTo>
                    <a:cubicBezTo>
                      <a:pt x="14588" y="25210"/>
                      <a:pt x="20939" y="19585"/>
                      <a:pt x="30016" y="18555"/>
                    </a:cubicBezTo>
                    <a:close/>
                  </a:path>
                </a:pathLst>
              </a:custGeom>
              <a:solidFill>
                <a:schemeClr val="accent1"/>
              </a:solidFill>
              <a:ln w="1901" cap="flat">
                <a:noFill/>
                <a:prstDash val="solid"/>
                <a:miter/>
              </a:ln>
            </p:spPr>
            <p:txBody>
              <a:bodyPr rtlCol="0" anchor="ctr"/>
              <a:lstStyle/>
              <a:p>
                <a:endParaRPr lang="en-GB" dirty="0"/>
              </a:p>
            </p:txBody>
          </p:sp>
        </p:grpSp>
      </p:grpSp>
      <p:grpSp>
        <p:nvGrpSpPr>
          <p:cNvPr id="144" name="Group 143">
            <a:extLst>
              <a:ext uri="{FF2B5EF4-FFF2-40B4-BE49-F238E27FC236}">
                <a16:creationId xmlns:a16="http://schemas.microsoft.com/office/drawing/2014/main" id="{85F3CE89-1323-47BD-9761-10120A3029D7}"/>
              </a:ext>
            </a:extLst>
          </p:cNvPr>
          <p:cNvGrpSpPr>
            <a:grpSpLocks noChangeAspect="1"/>
          </p:cNvGrpSpPr>
          <p:nvPr/>
        </p:nvGrpSpPr>
        <p:grpSpPr>
          <a:xfrm>
            <a:off x="606941" y="2391526"/>
            <a:ext cx="374219" cy="432000"/>
            <a:chOff x="3490297" y="1627501"/>
            <a:chExt cx="399888" cy="461632"/>
          </a:xfrm>
        </p:grpSpPr>
        <p:sp>
          <p:nvSpPr>
            <p:cNvPr id="145" name="Freihandform: Form 296">
              <a:extLst>
                <a:ext uri="{FF2B5EF4-FFF2-40B4-BE49-F238E27FC236}">
                  <a16:creationId xmlns:a16="http://schemas.microsoft.com/office/drawing/2014/main" id="{F751C9EF-D250-46AF-BA2F-A0E3A7A16941}"/>
                </a:ext>
              </a:extLst>
            </p:cNvPr>
            <p:cNvSpPr/>
            <p:nvPr/>
          </p:nvSpPr>
          <p:spPr>
            <a:xfrm>
              <a:off x="3749277" y="1901646"/>
              <a:ext cx="108269" cy="83354"/>
            </a:xfrm>
            <a:custGeom>
              <a:avLst/>
              <a:gdLst>
                <a:gd name="connsiteX0" fmla="*/ 49255 w 108269"/>
                <a:gd name="connsiteY0" fmla="*/ 83355 h 83355"/>
                <a:gd name="connsiteX1" fmla="*/ 44883 w 108269"/>
                <a:gd name="connsiteY1" fmla="*/ 81821 h 83355"/>
                <a:gd name="connsiteX2" fmla="*/ 2624 w 108269"/>
                <a:gd name="connsiteY2" fmla="*/ 48011 h 83355"/>
                <a:gd name="connsiteX3" fmla="*/ 15 w 108269"/>
                <a:gd name="connsiteY3" fmla="*/ 43032 h 83355"/>
                <a:gd name="connsiteX4" fmla="*/ 1921 w 108269"/>
                <a:gd name="connsiteY4" fmla="*/ 37740 h 83355"/>
                <a:gd name="connsiteX5" fmla="*/ 20432 w 108269"/>
                <a:gd name="connsiteY5" fmla="*/ 18214 h 83355"/>
                <a:gd name="connsiteX6" fmla="*/ 29802 w 108269"/>
                <a:gd name="connsiteY6" fmla="*/ 17511 h 83355"/>
                <a:gd name="connsiteX7" fmla="*/ 47452 w 108269"/>
                <a:gd name="connsiteY7" fmla="*/ 31260 h 83355"/>
                <a:gd name="connsiteX8" fmla="*/ 77758 w 108269"/>
                <a:gd name="connsiteY8" fmla="*/ 1966 h 83355"/>
                <a:gd name="connsiteX9" fmla="*/ 87565 w 108269"/>
                <a:gd name="connsiteY9" fmla="*/ 2051 h 83355"/>
                <a:gd name="connsiteX10" fmla="*/ 106220 w 108269"/>
                <a:gd name="connsiteY10" fmla="*/ 20701 h 83355"/>
                <a:gd name="connsiteX11" fmla="*/ 108270 w 108269"/>
                <a:gd name="connsiteY11" fmla="*/ 25692 h 83355"/>
                <a:gd name="connsiteX12" fmla="*/ 106157 w 108269"/>
                <a:gd name="connsiteY12" fmla="*/ 30656 h 83355"/>
                <a:gd name="connsiteX13" fmla="*/ 54135 w 108269"/>
                <a:gd name="connsiteY13" fmla="*/ 81364 h 83355"/>
                <a:gd name="connsiteX14" fmla="*/ 49255 w 108269"/>
                <a:gd name="connsiteY14" fmla="*/ 83355 h 83355"/>
                <a:gd name="connsiteX15" fmla="*/ 17304 w 108269"/>
                <a:gd name="connsiteY15" fmla="*/ 41844 h 83355"/>
                <a:gd name="connsiteX16" fmla="*/ 48799 w 108269"/>
                <a:gd name="connsiteY16" fmla="*/ 67038 h 83355"/>
                <a:gd name="connsiteX17" fmla="*/ 91319 w 108269"/>
                <a:gd name="connsiteY17" fmla="*/ 25589 h 83355"/>
                <a:gd name="connsiteX18" fmla="*/ 82542 w 108269"/>
                <a:gd name="connsiteY18" fmla="*/ 16808 h 83355"/>
                <a:gd name="connsiteX19" fmla="*/ 52810 w 108269"/>
                <a:gd name="connsiteY19" fmla="*/ 45542 h 83355"/>
                <a:gd name="connsiteX20" fmla="*/ 43651 w 108269"/>
                <a:gd name="connsiteY20" fmla="*/ 46028 h 83355"/>
                <a:gd name="connsiteX21" fmla="*/ 26218 w 108269"/>
                <a:gd name="connsiteY21" fmla="*/ 32445 h 83355"/>
                <a:gd name="connsiteX22" fmla="*/ 17304 w 108269"/>
                <a:gd name="connsiteY22" fmla="*/ 41844 h 83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8269" h="83355">
                  <a:moveTo>
                    <a:pt x="49255" y="83355"/>
                  </a:moveTo>
                  <a:cubicBezTo>
                    <a:pt x="47713" y="83355"/>
                    <a:pt x="46168" y="82851"/>
                    <a:pt x="44883" y="81821"/>
                  </a:cubicBezTo>
                  <a:lnTo>
                    <a:pt x="2624" y="48011"/>
                  </a:lnTo>
                  <a:cubicBezTo>
                    <a:pt x="1101" y="46790"/>
                    <a:pt x="151" y="44983"/>
                    <a:pt x="15" y="43032"/>
                  </a:cubicBezTo>
                  <a:cubicBezTo>
                    <a:pt x="-114" y="41078"/>
                    <a:pt x="575" y="39161"/>
                    <a:pt x="1921" y="37740"/>
                  </a:cubicBezTo>
                  <a:lnTo>
                    <a:pt x="20432" y="18214"/>
                  </a:lnTo>
                  <a:cubicBezTo>
                    <a:pt x="22906" y="15593"/>
                    <a:pt x="26969" y="15292"/>
                    <a:pt x="29802" y="17511"/>
                  </a:cubicBezTo>
                  <a:lnTo>
                    <a:pt x="47452" y="31260"/>
                  </a:lnTo>
                  <a:lnTo>
                    <a:pt x="77758" y="1966"/>
                  </a:lnTo>
                  <a:cubicBezTo>
                    <a:pt x="80503" y="-687"/>
                    <a:pt x="84860" y="-651"/>
                    <a:pt x="87565" y="2051"/>
                  </a:cubicBezTo>
                  <a:lnTo>
                    <a:pt x="106220" y="20701"/>
                  </a:lnTo>
                  <a:cubicBezTo>
                    <a:pt x="107544" y="22022"/>
                    <a:pt x="108284" y="23818"/>
                    <a:pt x="108270" y="25692"/>
                  </a:cubicBezTo>
                  <a:cubicBezTo>
                    <a:pt x="108255" y="27565"/>
                    <a:pt x="107497" y="29350"/>
                    <a:pt x="106157" y="30656"/>
                  </a:cubicBezTo>
                  <a:lnTo>
                    <a:pt x="54135" y="81364"/>
                  </a:lnTo>
                  <a:cubicBezTo>
                    <a:pt x="52788" y="82685"/>
                    <a:pt x="51025" y="83355"/>
                    <a:pt x="49255" y="83355"/>
                  </a:cubicBezTo>
                  <a:close/>
                  <a:moveTo>
                    <a:pt x="17304" y="41844"/>
                  </a:moveTo>
                  <a:lnTo>
                    <a:pt x="48799" y="67038"/>
                  </a:lnTo>
                  <a:lnTo>
                    <a:pt x="91319" y="25589"/>
                  </a:lnTo>
                  <a:lnTo>
                    <a:pt x="82542" y="16808"/>
                  </a:lnTo>
                  <a:lnTo>
                    <a:pt x="52810" y="45542"/>
                  </a:lnTo>
                  <a:cubicBezTo>
                    <a:pt x="50289" y="47956"/>
                    <a:pt x="46385" y="48166"/>
                    <a:pt x="43651" y="46028"/>
                  </a:cubicBezTo>
                  <a:lnTo>
                    <a:pt x="26218" y="32445"/>
                  </a:lnTo>
                  <a:lnTo>
                    <a:pt x="17304" y="41844"/>
                  </a:lnTo>
                  <a:close/>
                </a:path>
              </a:pathLst>
            </a:custGeom>
            <a:solidFill>
              <a:schemeClr val="accent1"/>
            </a:solidFill>
            <a:ln w="368" cap="flat">
              <a:noFill/>
              <a:prstDash val="solid"/>
              <a:miter/>
            </a:ln>
          </p:spPr>
          <p:txBody>
            <a:bodyPr rtlCol="0" anchor="ctr"/>
            <a:lstStyle/>
            <a:p>
              <a:endParaRPr lang="en-GB" dirty="0"/>
            </a:p>
          </p:txBody>
        </p:sp>
        <p:grpSp>
          <p:nvGrpSpPr>
            <p:cNvPr id="146" name="Group 145">
              <a:extLst>
                <a:ext uri="{FF2B5EF4-FFF2-40B4-BE49-F238E27FC236}">
                  <a16:creationId xmlns:a16="http://schemas.microsoft.com/office/drawing/2014/main" id="{9B83AC06-F087-49A5-8177-95247423C473}"/>
                </a:ext>
              </a:extLst>
            </p:cNvPr>
            <p:cNvGrpSpPr/>
            <p:nvPr/>
          </p:nvGrpSpPr>
          <p:grpSpPr>
            <a:xfrm>
              <a:off x="3490297" y="1627501"/>
              <a:ext cx="399888" cy="461632"/>
              <a:chOff x="3490297" y="1627501"/>
              <a:chExt cx="399888" cy="461632"/>
            </a:xfrm>
          </p:grpSpPr>
          <p:sp>
            <p:nvSpPr>
              <p:cNvPr id="147" name="Freihandform: Form 297">
                <a:extLst>
                  <a:ext uri="{FF2B5EF4-FFF2-40B4-BE49-F238E27FC236}">
                    <a16:creationId xmlns:a16="http://schemas.microsoft.com/office/drawing/2014/main" id="{CB6B0D5A-B435-4874-8456-B149A5A2C917}"/>
                  </a:ext>
                </a:extLst>
              </p:cNvPr>
              <p:cNvSpPr/>
              <p:nvPr/>
            </p:nvSpPr>
            <p:spPr>
              <a:xfrm>
                <a:off x="3708329" y="1849161"/>
                <a:ext cx="181856" cy="181856"/>
              </a:xfrm>
              <a:custGeom>
                <a:avLst/>
                <a:gdLst>
                  <a:gd name="connsiteX0" fmla="*/ 90928 w 181856"/>
                  <a:gd name="connsiteY0" fmla="*/ 181856 h 181856"/>
                  <a:gd name="connsiteX1" fmla="*/ 0 w 181856"/>
                  <a:gd name="connsiteY1" fmla="*/ 90928 h 181856"/>
                  <a:gd name="connsiteX2" fmla="*/ 90928 w 181856"/>
                  <a:gd name="connsiteY2" fmla="*/ 0 h 181856"/>
                  <a:gd name="connsiteX3" fmla="*/ 181856 w 181856"/>
                  <a:gd name="connsiteY3" fmla="*/ 90928 h 181856"/>
                  <a:gd name="connsiteX4" fmla="*/ 90928 w 181856"/>
                  <a:gd name="connsiteY4" fmla="*/ 181856 h 181856"/>
                  <a:gd name="connsiteX5" fmla="*/ 90928 w 181856"/>
                  <a:gd name="connsiteY5" fmla="*/ 13988 h 181856"/>
                  <a:gd name="connsiteX6" fmla="*/ 13988 w 181856"/>
                  <a:gd name="connsiteY6" fmla="*/ 90928 h 181856"/>
                  <a:gd name="connsiteX7" fmla="*/ 90928 w 181856"/>
                  <a:gd name="connsiteY7" fmla="*/ 167868 h 181856"/>
                  <a:gd name="connsiteX8" fmla="*/ 167868 w 181856"/>
                  <a:gd name="connsiteY8" fmla="*/ 90928 h 181856"/>
                  <a:gd name="connsiteX9" fmla="*/ 90928 w 181856"/>
                  <a:gd name="connsiteY9" fmla="*/ 13988 h 181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1856" h="181856">
                    <a:moveTo>
                      <a:pt x="90928" y="181856"/>
                    </a:moveTo>
                    <a:cubicBezTo>
                      <a:pt x="40794" y="181856"/>
                      <a:pt x="0" y="141070"/>
                      <a:pt x="0" y="90928"/>
                    </a:cubicBezTo>
                    <a:cubicBezTo>
                      <a:pt x="0" y="40790"/>
                      <a:pt x="40790" y="0"/>
                      <a:pt x="90928" y="0"/>
                    </a:cubicBezTo>
                    <a:cubicBezTo>
                      <a:pt x="141066" y="0"/>
                      <a:pt x="181856" y="40787"/>
                      <a:pt x="181856" y="90928"/>
                    </a:cubicBezTo>
                    <a:cubicBezTo>
                      <a:pt x="181856" y="141066"/>
                      <a:pt x="141066" y="181856"/>
                      <a:pt x="90928" y="181856"/>
                    </a:cubicBezTo>
                    <a:close/>
                    <a:moveTo>
                      <a:pt x="90928" y="13988"/>
                    </a:moveTo>
                    <a:cubicBezTo>
                      <a:pt x="48504" y="13988"/>
                      <a:pt x="13988" y="48504"/>
                      <a:pt x="13988" y="90928"/>
                    </a:cubicBezTo>
                    <a:cubicBezTo>
                      <a:pt x="13988" y="133353"/>
                      <a:pt x="48504" y="167868"/>
                      <a:pt x="90928" y="167868"/>
                    </a:cubicBezTo>
                    <a:cubicBezTo>
                      <a:pt x="133352" y="167868"/>
                      <a:pt x="167868" y="133353"/>
                      <a:pt x="167868" y="90928"/>
                    </a:cubicBezTo>
                    <a:cubicBezTo>
                      <a:pt x="167868" y="48504"/>
                      <a:pt x="133352" y="13988"/>
                      <a:pt x="90928" y="13988"/>
                    </a:cubicBezTo>
                    <a:close/>
                  </a:path>
                </a:pathLst>
              </a:custGeom>
              <a:solidFill>
                <a:schemeClr val="tx2"/>
              </a:solidFill>
              <a:ln w="368" cap="flat">
                <a:noFill/>
                <a:prstDash val="solid"/>
                <a:miter/>
              </a:ln>
            </p:spPr>
            <p:txBody>
              <a:bodyPr rtlCol="0" anchor="ctr"/>
              <a:lstStyle/>
              <a:p>
                <a:endParaRPr lang="en-GB" dirty="0"/>
              </a:p>
            </p:txBody>
          </p:sp>
          <p:sp>
            <p:nvSpPr>
              <p:cNvPr id="148" name="Freihandform: Form 298">
                <a:extLst>
                  <a:ext uri="{FF2B5EF4-FFF2-40B4-BE49-F238E27FC236}">
                    <a16:creationId xmlns:a16="http://schemas.microsoft.com/office/drawing/2014/main" id="{79CA099A-B5CF-4BA5-901C-FBC54C2FD56A}"/>
                  </a:ext>
                </a:extLst>
              </p:cNvPr>
              <p:cNvSpPr/>
              <p:nvPr/>
            </p:nvSpPr>
            <p:spPr>
              <a:xfrm>
                <a:off x="3609202" y="1627501"/>
                <a:ext cx="230820" cy="237816"/>
              </a:xfrm>
              <a:custGeom>
                <a:avLst/>
                <a:gdLst>
                  <a:gd name="connsiteX0" fmla="*/ 223824 w 230820"/>
                  <a:gd name="connsiteY0" fmla="*/ 237816 h 237816"/>
                  <a:gd name="connsiteX1" fmla="*/ 216828 w 230820"/>
                  <a:gd name="connsiteY1" fmla="*/ 230820 h 237816"/>
                  <a:gd name="connsiteX2" fmla="*/ 216828 w 230820"/>
                  <a:gd name="connsiteY2" fmla="*/ 13992 h 237816"/>
                  <a:gd name="connsiteX3" fmla="*/ 6996 w 230820"/>
                  <a:gd name="connsiteY3" fmla="*/ 13992 h 237816"/>
                  <a:gd name="connsiteX4" fmla="*/ 0 w 230820"/>
                  <a:gd name="connsiteY4" fmla="*/ 6996 h 237816"/>
                  <a:gd name="connsiteX5" fmla="*/ 6996 w 230820"/>
                  <a:gd name="connsiteY5" fmla="*/ 0 h 237816"/>
                  <a:gd name="connsiteX6" fmla="*/ 223824 w 230820"/>
                  <a:gd name="connsiteY6" fmla="*/ 0 h 237816"/>
                  <a:gd name="connsiteX7" fmla="*/ 230820 w 230820"/>
                  <a:gd name="connsiteY7" fmla="*/ 6996 h 237816"/>
                  <a:gd name="connsiteX8" fmla="*/ 230820 w 230820"/>
                  <a:gd name="connsiteY8" fmla="*/ 230820 h 237816"/>
                  <a:gd name="connsiteX9" fmla="*/ 223824 w 230820"/>
                  <a:gd name="connsiteY9" fmla="*/ 237816 h 237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0820" h="237816">
                    <a:moveTo>
                      <a:pt x="223824" y="237816"/>
                    </a:moveTo>
                    <a:cubicBezTo>
                      <a:pt x="219960" y="237816"/>
                      <a:pt x="216828" y="234684"/>
                      <a:pt x="216828" y="230820"/>
                    </a:cubicBezTo>
                    <a:lnTo>
                      <a:pt x="216828" y="13992"/>
                    </a:lnTo>
                    <a:lnTo>
                      <a:pt x="6996" y="13992"/>
                    </a:lnTo>
                    <a:cubicBezTo>
                      <a:pt x="3128" y="13992"/>
                      <a:pt x="0" y="10860"/>
                      <a:pt x="0" y="6996"/>
                    </a:cubicBezTo>
                    <a:cubicBezTo>
                      <a:pt x="0" y="3132"/>
                      <a:pt x="3128" y="0"/>
                      <a:pt x="6996" y="0"/>
                    </a:cubicBezTo>
                    <a:lnTo>
                      <a:pt x="223824" y="0"/>
                    </a:lnTo>
                    <a:cubicBezTo>
                      <a:pt x="227692" y="0"/>
                      <a:pt x="230820" y="3132"/>
                      <a:pt x="230820" y="6996"/>
                    </a:cubicBezTo>
                    <a:lnTo>
                      <a:pt x="230820" y="230820"/>
                    </a:lnTo>
                    <a:cubicBezTo>
                      <a:pt x="230820" y="234684"/>
                      <a:pt x="227692" y="237816"/>
                      <a:pt x="223824" y="237816"/>
                    </a:cubicBezTo>
                    <a:close/>
                  </a:path>
                </a:pathLst>
              </a:custGeom>
              <a:solidFill>
                <a:schemeClr val="tx2"/>
              </a:solidFill>
              <a:ln w="368" cap="flat">
                <a:noFill/>
                <a:prstDash val="solid"/>
                <a:miter/>
              </a:ln>
            </p:spPr>
            <p:txBody>
              <a:bodyPr rtlCol="0" anchor="ctr"/>
              <a:lstStyle/>
              <a:p>
                <a:endParaRPr lang="en-GB" dirty="0"/>
              </a:p>
            </p:txBody>
          </p:sp>
          <p:sp>
            <p:nvSpPr>
              <p:cNvPr id="149" name="Freihandform: Form 299">
                <a:extLst>
                  <a:ext uri="{FF2B5EF4-FFF2-40B4-BE49-F238E27FC236}">
                    <a16:creationId xmlns:a16="http://schemas.microsoft.com/office/drawing/2014/main" id="{C59C37D5-88BD-4D52-9E84-A80551EDF393}"/>
                  </a:ext>
                </a:extLst>
              </p:cNvPr>
              <p:cNvSpPr/>
              <p:nvPr/>
            </p:nvSpPr>
            <p:spPr>
              <a:xfrm>
                <a:off x="3490297" y="1746405"/>
                <a:ext cx="349724" cy="342728"/>
              </a:xfrm>
              <a:custGeom>
                <a:avLst/>
                <a:gdLst>
                  <a:gd name="connsiteX0" fmla="*/ 342729 w 349724"/>
                  <a:gd name="connsiteY0" fmla="*/ 342729 h 342728"/>
                  <a:gd name="connsiteX1" fmla="*/ 6996 w 349724"/>
                  <a:gd name="connsiteY1" fmla="*/ 342729 h 342728"/>
                  <a:gd name="connsiteX2" fmla="*/ 0 w 349724"/>
                  <a:gd name="connsiteY2" fmla="*/ 335733 h 342728"/>
                  <a:gd name="connsiteX3" fmla="*/ 0 w 349724"/>
                  <a:gd name="connsiteY3" fmla="*/ 6996 h 342728"/>
                  <a:gd name="connsiteX4" fmla="*/ 6996 w 349724"/>
                  <a:gd name="connsiteY4" fmla="*/ 0 h 342728"/>
                  <a:gd name="connsiteX5" fmla="*/ 13992 w 349724"/>
                  <a:gd name="connsiteY5" fmla="*/ 6996 h 342728"/>
                  <a:gd name="connsiteX6" fmla="*/ 13992 w 349724"/>
                  <a:gd name="connsiteY6" fmla="*/ 328741 h 342728"/>
                  <a:gd name="connsiteX7" fmla="*/ 335733 w 349724"/>
                  <a:gd name="connsiteY7" fmla="*/ 328741 h 342728"/>
                  <a:gd name="connsiteX8" fmla="*/ 335733 w 349724"/>
                  <a:gd name="connsiteY8" fmla="*/ 300764 h 342728"/>
                  <a:gd name="connsiteX9" fmla="*/ 342729 w 349724"/>
                  <a:gd name="connsiteY9" fmla="*/ 293769 h 342728"/>
                  <a:gd name="connsiteX10" fmla="*/ 349725 w 349724"/>
                  <a:gd name="connsiteY10" fmla="*/ 300764 h 342728"/>
                  <a:gd name="connsiteX11" fmla="*/ 349725 w 349724"/>
                  <a:gd name="connsiteY11" fmla="*/ 335737 h 342728"/>
                  <a:gd name="connsiteX12" fmla="*/ 342729 w 349724"/>
                  <a:gd name="connsiteY12" fmla="*/ 342729 h 3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9724" h="342728">
                    <a:moveTo>
                      <a:pt x="342729" y="342729"/>
                    </a:moveTo>
                    <a:lnTo>
                      <a:pt x="6996" y="342729"/>
                    </a:lnTo>
                    <a:cubicBezTo>
                      <a:pt x="3132" y="342729"/>
                      <a:pt x="0" y="339597"/>
                      <a:pt x="0" y="335733"/>
                    </a:cubicBezTo>
                    <a:lnTo>
                      <a:pt x="0" y="6996"/>
                    </a:lnTo>
                    <a:cubicBezTo>
                      <a:pt x="0" y="3132"/>
                      <a:pt x="3128" y="0"/>
                      <a:pt x="6996" y="0"/>
                    </a:cubicBezTo>
                    <a:cubicBezTo>
                      <a:pt x="10864" y="0"/>
                      <a:pt x="13992" y="3132"/>
                      <a:pt x="13992" y="6996"/>
                    </a:cubicBezTo>
                    <a:lnTo>
                      <a:pt x="13992" y="328741"/>
                    </a:lnTo>
                    <a:lnTo>
                      <a:pt x="335733" y="328741"/>
                    </a:lnTo>
                    <a:lnTo>
                      <a:pt x="335733" y="300764"/>
                    </a:lnTo>
                    <a:cubicBezTo>
                      <a:pt x="335733" y="296900"/>
                      <a:pt x="338861" y="293769"/>
                      <a:pt x="342729" y="293769"/>
                    </a:cubicBezTo>
                    <a:cubicBezTo>
                      <a:pt x="346597" y="293769"/>
                      <a:pt x="349725" y="296900"/>
                      <a:pt x="349725" y="300764"/>
                    </a:cubicBezTo>
                    <a:lnTo>
                      <a:pt x="349725" y="335737"/>
                    </a:lnTo>
                    <a:cubicBezTo>
                      <a:pt x="349725" y="339597"/>
                      <a:pt x="346597" y="342729"/>
                      <a:pt x="342729" y="342729"/>
                    </a:cubicBezTo>
                    <a:close/>
                  </a:path>
                </a:pathLst>
              </a:custGeom>
              <a:solidFill>
                <a:schemeClr val="tx2"/>
              </a:solidFill>
              <a:ln w="368" cap="flat">
                <a:noFill/>
                <a:prstDash val="solid"/>
                <a:miter/>
              </a:ln>
            </p:spPr>
            <p:txBody>
              <a:bodyPr rtlCol="0" anchor="ctr"/>
              <a:lstStyle/>
              <a:p>
                <a:endParaRPr lang="en-GB" dirty="0"/>
              </a:p>
            </p:txBody>
          </p:sp>
          <p:sp>
            <p:nvSpPr>
              <p:cNvPr id="150" name="Freihandform: Form 300">
                <a:extLst>
                  <a:ext uri="{FF2B5EF4-FFF2-40B4-BE49-F238E27FC236}">
                    <a16:creationId xmlns:a16="http://schemas.microsoft.com/office/drawing/2014/main" id="{0A27CD5C-F226-4ED1-A1C3-6E75BC764C90}"/>
                  </a:ext>
                </a:extLst>
              </p:cNvPr>
              <p:cNvSpPr/>
              <p:nvPr/>
            </p:nvSpPr>
            <p:spPr>
              <a:xfrm>
                <a:off x="3490300" y="1627508"/>
                <a:ext cx="132893" cy="132889"/>
              </a:xfrm>
              <a:custGeom>
                <a:avLst/>
                <a:gdLst>
                  <a:gd name="connsiteX0" fmla="*/ 125901 w 132893"/>
                  <a:gd name="connsiteY0" fmla="*/ 132889 h 132889"/>
                  <a:gd name="connsiteX1" fmla="*/ 6997 w 132893"/>
                  <a:gd name="connsiteY1" fmla="*/ 132889 h 132889"/>
                  <a:gd name="connsiteX2" fmla="*/ 534 w 132893"/>
                  <a:gd name="connsiteY2" fmla="*/ 128572 h 132889"/>
                  <a:gd name="connsiteX3" fmla="*/ 2051 w 132893"/>
                  <a:gd name="connsiteY3" fmla="*/ 120951 h 132889"/>
                  <a:gd name="connsiteX4" fmla="*/ 120955 w 132893"/>
                  <a:gd name="connsiteY4" fmla="*/ 2046 h 132889"/>
                  <a:gd name="connsiteX5" fmla="*/ 128576 w 132893"/>
                  <a:gd name="connsiteY5" fmla="*/ 530 h 132889"/>
                  <a:gd name="connsiteX6" fmla="*/ 132893 w 132893"/>
                  <a:gd name="connsiteY6" fmla="*/ 6992 h 132889"/>
                  <a:gd name="connsiteX7" fmla="*/ 132893 w 132893"/>
                  <a:gd name="connsiteY7" fmla="*/ 125897 h 132889"/>
                  <a:gd name="connsiteX8" fmla="*/ 125901 w 132893"/>
                  <a:gd name="connsiteY8" fmla="*/ 132889 h 132889"/>
                  <a:gd name="connsiteX9" fmla="*/ 23881 w 132893"/>
                  <a:gd name="connsiteY9" fmla="*/ 118897 h 132889"/>
                  <a:gd name="connsiteX10" fmla="*/ 118905 w 132893"/>
                  <a:gd name="connsiteY10" fmla="*/ 118897 h 132889"/>
                  <a:gd name="connsiteX11" fmla="*/ 118905 w 132893"/>
                  <a:gd name="connsiteY11" fmla="*/ 23873 h 132889"/>
                  <a:gd name="connsiteX12" fmla="*/ 23881 w 132893"/>
                  <a:gd name="connsiteY12" fmla="*/ 118897 h 13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2893" h="132889">
                    <a:moveTo>
                      <a:pt x="125901" y="132889"/>
                    </a:moveTo>
                    <a:lnTo>
                      <a:pt x="6997" y="132889"/>
                    </a:lnTo>
                    <a:cubicBezTo>
                      <a:pt x="4170" y="132889"/>
                      <a:pt x="1613" y="131185"/>
                      <a:pt x="534" y="128572"/>
                    </a:cubicBezTo>
                    <a:cubicBezTo>
                      <a:pt x="-551" y="125956"/>
                      <a:pt x="48" y="122949"/>
                      <a:pt x="2051" y="120951"/>
                    </a:cubicBezTo>
                    <a:lnTo>
                      <a:pt x="120955" y="2046"/>
                    </a:lnTo>
                    <a:cubicBezTo>
                      <a:pt x="122957" y="41"/>
                      <a:pt x="125960" y="-544"/>
                      <a:pt x="128576" y="530"/>
                    </a:cubicBezTo>
                    <a:cubicBezTo>
                      <a:pt x="131193" y="1612"/>
                      <a:pt x="132893" y="4162"/>
                      <a:pt x="132893" y="6992"/>
                    </a:cubicBezTo>
                    <a:lnTo>
                      <a:pt x="132893" y="125897"/>
                    </a:lnTo>
                    <a:cubicBezTo>
                      <a:pt x="132897" y="129757"/>
                      <a:pt x="129765" y="132889"/>
                      <a:pt x="125901" y="132889"/>
                    </a:cubicBezTo>
                    <a:close/>
                    <a:moveTo>
                      <a:pt x="23881" y="118897"/>
                    </a:moveTo>
                    <a:lnTo>
                      <a:pt x="118905" y="118897"/>
                    </a:lnTo>
                    <a:lnTo>
                      <a:pt x="118905" y="23873"/>
                    </a:lnTo>
                    <a:lnTo>
                      <a:pt x="23881" y="118897"/>
                    </a:lnTo>
                    <a:close/>
                  </a:path>
                </a:pathLst>
              </a:custGeom>
              <a:solidFill>
                <a:schemeClr val="tx2"/>
              </a:solidFill>
              <a:ln w="368" cap="flat">
                <a:noFill/>
                <a:prstDash val="solid"/>
                <a:miter/>
              </a:ln>
            </p:spPr>
            <p:txBody>
              <a:bodyPr rtlCol="0" anchor="ctr"/>
              <a:lstStyle/>
              <a:p>
                <a:endParaRPr lang="en-GB" dirty="0"/>
              </a:p>
            </p:txBody>
          </p:sp>
          <p:sp>
            <p:nvSpPr>
              <p:cNvPr id="151" name="Freihandform: Form 301">
                <a:extLst>
                  <a:ext uri="{FF2B5EF4-FFF2-40B4-BE49-F238E27FC236}">
                    <a16:creationId xmlns:a16="http://schemas.microsoft.com/office/drawing/2014/main" id="{AB0FD0FD-0A5C-4F62-BED5-BB17CB13EFA8}"/>
                  </a:ext>
                </a:extLst>
              </p:cNvPr>
              <p:cNvSpPr/>
              <p:nvPr/>
            </p:nvSpPr>
            <p:spPr>
              <a:xfrm>
                <a:off x="3546257" y="2005198"/>
                <a:ext cx="167868" cy="13991"/>
              </a:xfrm>
              <a:custGeom>
                <a:avLst/>
                <a:gdLst>
                  <a:gd name="connsiteX0" fmla="*/ 160872 w 167868"/>
                  <a:gd name="connsiteY0" fmla="*/ 13992 h 13991"/>
                  <a:gd name="connsiteX1" fmla="*/ 6996 w 167868"/>
                  <a:gd name="connsiteY1" fmla="*/ 13992 h 13991"/>
                  <a:gd name="connsiteX2" fmla="*/ 0 w 167868"/>
                  <a:gd name="connsiteY2" fmla="*/ 6996 h 13991"/>
                  <a:gd name="connsiteX3" fmla="*/ 6996 w 167868"/>
                  <a:gd name="connsiteY3" fmla="*/ 0 h 13991"/>
                  <a:gd name="connsiteX4" fmla="*/ 160872 w 167868"/>
                  <a:gd name="connsiteY4" fmla="*/ 0 h 13991"/>
                  <a:gd name="connsiteX5" fmla="*/ 167868 w 167868"/>
                  <a:gd name="connsiteY5" fmla="*/ 6996 h 13991"/>
                  <a:gd name="connsiteX6" fmla="*/ 160872 w 167868"/>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7868" h="13991">
                    <a:moveTo>
                      <a:pt x="160872" y="13992"/>
                    </a:moveTo>
                    <a:lnTo>
                      <a:pt x="6996" y="13992"/>
                    </a:lnTo>
                    <a:cubicBezTo>
                      <a:pt x="3128" y="13992"/>
                      <a:pt x="0" y="10860"/>
                      <a:pt x="0" y="6996"/>
                    </a:cubicBezTo>
                    <a:cubicBezTo>
                      <a:pt x="0" y="3132"/>
                      <a:pt x="3128" y="0"/>
                      <a:pt x="6996" y="0"/>
                    </a:cubicBezTo>
                    <a:lnTo>
                      <a:pt x="160872" y="0"/>
                    </a:lnTo>
                    <a:cubicBezTo>
                      <a:pt x="164740" y="0"/>
                      <a:pt x="167868" y="3132"/>
                      <a:pt x="167868" y="6996"/>
                    </a:cubicBezTo>
                    <a:cubicBezTo>
                      <a:pt x="167865" y="10860"/>
                      <a:pt x="164736" y="13992"/>
                      <a:pt x="160872" y="13992"/>
                    </a:cubicBezTo>
                    <a:close/>
                  </a:path>
                </a:pathLst>
              </a:custGeom>
              <a:solidFill>
                <a:schemeClr val="tx2"/>
              </a:solidFill>
              <a:ln w="368" cap="flat">
                <a:noFill/>
                <a:prstDash val="solid"/>
                <a:miter/>
              </a:ln>
            </p:spPr>
            <p:txBody>
              <a:bodyPr rtlCol="0" anchor="ctr"/>
              <a:lstStyle/>
              <a:p>
                <a:endParaRPr lang="en-GB" dirty="0"/>
              </a:p>
            </p:txBody>
          </p:sp>
          <p:sp>
            <p:nvSpPr>
              <p:cNvPr id="152" name="Freihandform: Form 302">
                <a:extLst>
                  <a:ext uri="{FF2B5EF4-FFF2-40B4-BE49-F238E27FC236}">
                    <a16:creationId xmlns:a16="http://schemas.microsoft.com/office/drawing/2014/main" id="{879B9252-1F83-46A9-AA7B-27D8EF5CD968}"/>
                  </a:ext>
                </a:extLst>
              </p:cNvPr>
              <p:cNvSpPr/>
              <p:nvPr/>
            </p:nvSpPr>
            <p:spPr>
              <a:xfrm>
                <a:off x="3546257" y="1949242"/>
                <a:ext cx="146884" cy="13991"/>
              </a:xfrm>
              <a:custGeom>
                <a:avLst/>
                <a:gdLst>
                  <a:gd name="connsiteX0" fmla="*/ 139888 w 146884"/>
                  <a:gd name="connsiteY0" fmla="*/ 13992 h 13991"/>
                  <a:gd name="connsiteX1" fmla="*/ 6996 w 146884"/>
                  <a:gd name="connsiteY1" fmla="*/ 13992 h 13991"/>
                  <a:gd name="connsiteX2" fmla="*/ 0 w 146884"/>
                  <a:gd name="connsiteY2" fmla="*/ 6996 h 13991"/>
                  <a:gd name="connsiteX3" fmla="*/ 6996 w 146884"/>
                  <a:gd name="connsiteY3" fmla="*/ 0 h 13991"/>
                  <a:gd name="connsiteX4" fmla="*/ 139888 w 146884"/>
                  <a:gd name="connsiteY4" fmla="*/ 0 h 13991"/>
                  <a:gd name="connsiteX5" fmla="*/ 146884 w 146884"/>
                  <a:gd name="connsiteY5" fmla="*/ 6996 h 13991"/>
                  <a:gd name="connsiteX6" fmla="*/ 139888 w 146884"/>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884" h="13991">
                    <a:moveTo>
                      <a:pt x="139888" y="13992"/>
                    </a:moveTo>
                    <a:lnTo>
                      <a:pt x="6996" y="13992"/>
                    </a:lnTo>
                    <a:cubicBezTo>
                      <a:pt x="3128" y="13992"/>
                      <a:pt x="0" y="10860"/>
                      <a:pt x="0" y="6996"/>
                    </a:cubicBezTo>
                    <a:cubicBezTo>
                      <a:pt x="0" y="3132"/>
                      <a:pt x="3128" y="0"/>
                      <a:pt x="6996" y="0"/>
                    </a:cubicBezTo>
                    <a:lnTo>
                      <a:pt x="139888" y="0"/>
                    </a:lnTo>
                    <a:cubicBezTo>
                      <a:pt x="143756" y="0"/>
                      <a:pt x="146884" y="3132"/>
                      <a:pt x="146884" y="6996"/>
                    </a:cubicBezTo>
                    <a:cubicBezTo>
                      <a:pt x="146884" y="10860"/>
                      <a:pt x="143752" y="13992"/>
                      <a:pt x="139888" y="13992"/>
                    </a:cubicBezTo>
                    <a:close/>
                  </a:path>
                </a:pathLst>
              </a:custGeom>
              <a:solidFill>
                <a:schemeClr val="tx2"/>
              </a:solidFill>
              <a:ln w="368" cap="flat">
                <a:noFill/>
                <a:prstDash val="solid"/>
                <a:miter/>
              </a:ln>
            </p:spPr>
            <p:txBody>
              <a:bodyPr rtlCol="0" anchor="ctr"/>
              <a:lstStyle/>
              <a:p>
                <a:endParaRPr lang="en-GB" dirty="0"/>
              </a:p>
            </p:txBody>
          </p:sp>
          <p:sp>
            <p:nvSpPr>
              <p:cNvPr id="153" name="Freihandform: Form 303">
                <a:extLst>
                  <a:ext uri="{FF2B5EF4-FFF2-40B4-BE49-F238E27FC236}">
                    <a16:creationId xmlns:a16="http://schemas.microsoft.com/office/drawing/2014/main" id="{91FE4AF8-45C7-43F3-8C08-07BDB110E1F9}"/>
                  </a:ext>
                </a:extLst>
              </p:cNvPr>
              <p:cNvSpPr/>
              <p:nvPr/>
            </p:nvSpPr>
            <p:spPr>
              <a:xfrm>
                <a:off x="3546257" y="1893286"/>
                <a:ext cx="146884" cy="13991"/>
              </a:xfrm>
              <a:custGeom>
                <a:avLst/>
                <a:gdLst>
                  <a:gd name="connsiteX0" fmla="*/ 139888 w 146884"/>
                  <a:gd name="connsiteY0" fmla="*/ 13992 h 13991"/>
                  <a:gd name="connsiteX1" fmla="*/ 6996 w 146884"/>
                  <a:gd name="connsiteY1" fmla="*/ 13992 h 13991"/>
                  <a:gd name="connsiteX2" fmla="*/ 0 w 146884"/>
                  <a:gd name="connsiteY2" fmla="*/ 6996 h 13991"/>
                  <a:gd name="connsiteX3" fmla="*/ 6996 w 146884"/>
                  <a:gd name="connsiteY3" fmla="*/ 0 h 13991"/>
                  <a:gd name="connsiteX4" fmla="*/ 139888 w 146884"/>
                  <a:gd name="connsiteY4" fmla="*/ 0 h 13991"/>
                  <a:gd name="connsiteX5" fmla="*/ 146884 w 146884"/>
                  <a:gd name="connsiteY5" fmla="*/ 6996 h 13991"/>
                  <a:gd name="connsiteX6" fmla="*/ 139888 w 146884"/>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6884" h="13991">
                    <a:moveTo>
                      <a:pt x="139888" y="13992"/>
                    </a:moveTo>
                    <a:lnTo>
                      <a:pt x="6996" y="13992"/>
                    </a:lnTo>
                    <a:cubicBezTo>
                      <a:pt x="3128" y="13992"/>
                      <a:pt x="0" y="10860"/>
                      <a:pt x="0" y="6996"/>
                    </a:cubicBezTo>
                    <a:cubicBezTo>
                      <a:pt x="0" y="3132"/>
                      <a:pt x="3128" y="0"/>
                      <a:pt x="6996" y="0"/>
                    </a:cubicBezTo>
                    <a:lnTo>
                      <a:pt x="139888" y="0"/>
                    </a:lnTo>
                    <a:cubicBezTo>
                      <a:pt x="143756" y="0"/>
                      <a:pt x="146884" y="3132"/>
                      <a:pt x="146884" y="6996"/>
                    </a:cubicBezTo>
                    <a:cubicBezTo>
                      <a:pt x="146884" y="10860"/>
                      <a:pt x="143752" y="13992"/>
                      <a:pt x="139888" y="13992"/>
                    </a:cubicBezTo>
                    <a:close/>
                  </a:path>
                </a:pathLst>
              </a:custGeom>
              <a:solidFill>
                <a:schemeClr val="tx2"/>
              </a:solidFill>
              <a:ln w="368" cap="flat">
                <a:noFill/>
                <a:prstDash val="solid"/>
                <a:miter/>
              </a:ln>
            </p:spPr>
            <p:txBody>
              <a:bodyPr rtlCol="0" anchor="ctr"/>
              <a:lstStyle/>
              <a:p>
                <a:endParaRPr lang="en-GB" dirty="0"/>
              </a:p>
            </p:txBody>
          </p:sp>
          <p:sp>
            <p:nvSpPr>
              <p:cNvPr id="154" name="Freihandform: Form 304">
                <a:extLst>
                  <a:ext uri="{FF2B5EF4-FFF2-40B4-BE49-F238E27FC236}">
                    <a16:creationId xmlns:a16="http://schemas.microsoft.com/office/drawing/2014/main" id="{7470536C-925D-4078-B7B6-A2469FFADF86}"/>
                  </a:ext>
                </a:extLst>
              </p:cNvPr>
              <p:cNvSpPr/>
              <p:nvPr/>
            </p:nvSpPr>
            <p:spPr>
              <a:xfrm>
                <a:off x="3595217" y="1802358"/>
                <a:ext cx="139892" cy="13991"/>
              </a:xfrm>
              <a:custGeom>
                <a:avLst/>
                <a:gdLst>
                  <a:gd name="connsiteX0" fmla="*/ 132892 w 139892"/>
                  <a:gd name="connsiteY0" fmla="*/ 13992 h 13991"/>
                  <a:gd name="connsiteX1" fmla="*/ 6996 w 139892"/>
                  <a:gd name="connsiteY1" fmla="*/ 13992 h 13991"/>
                  <a:gd name="connsiteX2" fmla="*/ 0 w 139892"/>
                  <a:gd name="connsiteY2" fmla="*/ 6996 h 13991"/>
                  <a:gd name="connsiteX3" fmla="*/ 6996 w 139892"/>
                  <a:gd name="connsiteY3" fmla="*/ 0 h 13991"/>
                  <a:gd name="connsiteX4" fmla="*/ 132896 w 139892"/>
                  <a:gd name="connsiteY4" fmla="*/ 0 h 13991"/>
                  <a:gd name="connsiteX5" fmla="*/ 139892 w 139892"/>
                  <a:gd name="connsiteY5" fmla="*/ 6996 h 13991"/>
                  <a:gd name="connsiteX6" fmla="*/ 132892 w 139892"/>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9892" h="13991">
                    <a:moveTo>
                      <a:pt x="132892" y="13992"/>
                    </a:moveTo>
                    <a:lnTo>
                      <a:pt x="6996" y="13992"/>
                    </a:lnTo>
                    <a:cubicBezTo>
                      <a:pt x="3132" y="13992"/>
                      <a:pt x="0" y="10860"/>
                      <a:pt x="0" y="6996"/>
                    </a:cubicBezTo>
                    <a:cubicBezTo>
                      <a:pt x="0" y="3132"/>
                      <a:pt x="3128" y="0"/>
                      <a:pt x="6996" y="0"/>
                    </a:cubicBezTo>
                    <a:lnTo>
                      <a:pt x="132896" y="0"/>
                    </a:lnTo>
                    <a:cubicBezTo>
                      <a:pt x="136764" y="0"/>
                      <a:pt x="139892" y="3132"/>
                      <a:pt x="139892" y="6996"/>
                    </a:cubicBezTo>
                    <a:cubicBezTo>
                      <a:pt x="139888" y="10860"/>
                      <a:pt x="136760" y="13992"/>
                      <a:pt x="132892" y="13992"/>
                    </a:cubicBezTo>
                    <a:close/>
                  </a:path>
                </a:pathLst>
              </a:custGeom>
              <a:solidFill>
                <a:schemeClr val="tx2"/>
              </a:solidFill>
              <a:ln w="368" cap="flat">
                <a:noFill/>
                <a:prstDash val="solid"/>
                <a:miter/>
              </a:ln>
            </p:spPr>
            <p:txBody>
              <a:bodyPr rtlCol="0" anchor="ctr"/>
              <a:lstStyle/>
              <a:p>
                <a:endParaRPr lang="en-GB" dirty="0"/>
              </a:p>
            </p:txBody>
          </p:sp>
        </p:grpSp>
      </p:grpSp>
      <p:grpSp>
        <p:nvGrpSpPr>
          <p:cNvPr id="40" name="Group 39">
            <a:extLst>
              <a:ext uri="{FF2B5EF4-FFF2-40B4-BE49-F238E27FC236}">
                <a16:creationId xmlns:a16="http://schemas.microsoft.com/office/drawing/2014/main" id="{0D3D43A1-FDE4-6FF7-4EE3-D2B5A8BCA485}"/>
              </a:ext>
            </a:extLst>
          </p:cNvPr>
          <p:cNvGrpSpPr/>
          <p:nvPr/>
        </p:nvGrpSpPr>
        <p:grpSpPr>
          <a:xfrm>
            <a:off x="1596745" y="2406424"/>
            <a:ext cx="485478" cy="402202"/>
            <a:chOff x="1596745" y="2406424"/>
            <a:chExt cx="485478" cy="402202"/>
          </a:xfrm>
        </p:grpSpPr>
        <p:grpSp>
          <p:nvGrpSpPr>
            <p:cNvPr id="156" name="Group 155">
              <a:extLst>
                <a:ext uri="{FF2B5EF4-FFF2-40B4-BE49-F238E27FC236}">
                  <a16:creationId xmlns:a16="http://schemas.microsoft.com/office/drawing/2014/main" id="{8072643A-3043-4549-9420-A62DE2F73088}"/>
                </a:ext>
              </a:extLst>
            </p:cNvPr>
            <p:cNvGrpSpPr/>
            <p:nvPr/>
          </p:nvGrpSpPr>
          <p:grpSpPr>
            <a:xfrm>
              <a:off x="1596745" y="2406424"/>
              <a:ext cx="485478" cy="234677"/>
              <a:chOff x="787988" y="2554995"/>
              <a:chExt cx="479113" cy="231601"/>
            </a:xfrm>
            <a:solidFill>
              <a:schemeClr val="tx2"/>
            </a:solidFill>
          </p:grpSpPr>
          <p:grpSp>
            <p:nvGrpSpPr>
              <p:cNvPr id="163" name="Graphic 4">
                <a:extLst>
                  <a:ext uri="{FF2B5EF4-FFF2-40B4-BE49-F238E27FC236}">
                    <a16:creationId xmlns:a16="http://schemas.microsoft.com/office/drawing/2014/main" id="{CFE597BF-95CD-470E-9948-1D6143FBDC95}"/>
                  </a:ext>
                </a:extLst>
              </p:cNvPr>
              <p:cNvGrpSpPr/>
              <p:nvPr/>
            </p:nvGrpSpPr>
            <p:grpSpPr>
              <a:xfrm>
                <a:off x="787988" y="2555866"/>
                <a:ext cx="245222" cy="230729"/>
                <a:chOff x="787988" y="2555866"/>
                <a:chExt cx="245222" cy="230729"/>
              </a:xfrm>
              <a:grpFill/>
            </p:grpSpPr>
            <p:sp>
              <p:nvSpPr>
                <p:cNvPr id="170" name="Freihandform: Form 267">
                  <a:extLst>
                    <a:ext uri="{FF2B5EF4-FFF2-40B4-BE49-F238E27FC236}">
                      <a16:creationId xmlns:a16="http://schemas.microsoft.com/office/drawing/2014/main" id="{8AC1C9CB-9C31-4E98-B641-9549CB43D49A}"/>
                    </a:ext>
                  </a:extLst>
                </p:cNvPr>
                <p:cNvSpPr/>
                <p:nvPr/>
              </p:nvSpPr>
              <p:spPr>
                <a:xfrm>
                  <a:off x="926651" y="2691322"/>
                  <a:ext cx="24390" cy="23667"/>
                </a:xfrm>
                <a:custGeom>
                  <a:avLst/>
                  <a:gdLst>
                    <a:gd name="connsiteX0" fmla="*/ 17399 w 24390"/>
                    <a:gd name="connsiteY0" fmla="*/ 23667 h 23667"/>
                    <a:gd name="connsiteX1" fmla="*/ 12633 w 24390"/>
                    <a:gd name="connsiteY1" fmla="*/ 21794 h 23667"/>
                    <a:gd name="connsiteX2" fmla="*/ 2230 w 24390"/>
                    <a:gd name="connsiteY2" fmla="*/ 12111 h 23667"/>
                    <a:gd name="connsiteX3" fmla="*/ 1873 w 24390"/>
                    <a:gd name="connsiteY3" fmla="*/ 2227 h 23667"/>
                    <a:gd name="connsiteX4" fmla="*/ 11758 w 24390"/>
                    <a:gd name="connsiteY4" fmla="*/ 1870 h 23667"/>
                    <a:gd name="connsiteX5" fmla="*/ 22161 w 24390"/>
                    <a:gd name="connsiteY5" fmla="*/ 11552 h 23667"/>
                    <a:gd name="connsiteX6" fmla="*/ 22518 w 24390"/>
                    <a:gd name="connsiteY6" fmla="*/ 21437 h 23667"/>
                    <a:gd name="connsiteX7" fmla="*/ 17399 w 24390"/>
                    <a:gd name="connsiteY7" fmla="*/ 23667 h 2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90" h="23667">
                      <a:moveTo>
                        <a:pt x="17399" y="23667"/>
                      </a:moveTo>
                      <a:cubicBezTo>
                        <a:pt x="15692" y="23667"/>
                        <a:pt x="13980" y="23045"/>
                        <a:pt x="12633" y="21794"/>
                      </a:cubicBezTo>
                      <a:lnTo>
                        <a:pt x="2230" y="12111"/>
                      </a:lnTo>
                      <a:cubicBezTo>
                        <a:pt x="-597" y="9480"/>
                        <a:pt x="-759" y="5057"/>
                        <a:pt x="1873" y="2227"/>
                      </a:cubicBezTo>
                      <a:cubicBezTo>
                        <a:pt x="4508" y="-603"/>
                        <a:pt x="8942" y="-751"/>
                        <a:pt x="11758" y="1870"/>
                      </a:cubicBezTo>
                      <a:lnTo>
                        <a:pt x="22161" y="11552"/>
                      </a:lnTo>
                      <a:cubicBezTo>
                        <a:pt x="24988" y="14183"/>
                        <a:pt x="25149" y="18607"/>
                        <a:pt x="22518" y="21437"/>
                      </a:cubicBezTo>
                      <a:cubicBezTo>
                        <a:pt x="21142" y="22920"/>
                        <a:pt x="19272" y="23667"/>
                        <a:pt x="17399" y="23667"/>
                      </a:cubicBezTo>
                      <a:close/>
                    </a:path>
                  </a:pathLst>
                </a:custGeom>
                <a:grpFill/>
                <a:ln w="368" cap="flat">
                  <a:noFill/>
                  <a:prstDash val="solid"/>
                  <a:miter/>
                </a:ln>
              </p:spPr>
              <p:txBody>
                <a:bodyPr rtlCol="0" anchor="ctr"/>
                <a:lstStyle/>
                <a:p>
                  <a:endParaRPr lang="en-GB" dirty="0"/>
                </a:p>
              </p:txBody>
            </p:sp>
            <p:sp>
              <p:nvSpPr>
                <p:cNvPr id="171" name="Freihandform: Form 268">
                  <a:extLst>
                    <a:ext uri="{FF2B5EF4-FFF2-40B4-BE49-F238E27FC236}">
                      <a16:creationId xmlns:a16="http://schemas.microsoft.com/office/drawing/2014/main" id="{D15C8541-D5F2-48C4-B52F-FB5389D957EE}"/>
                    </a:ext>
                  </a:extLst>
                </p:cNvPr>
                <p:cNvSpPr/>
                <p:nvPr/>
              </p:nvSpPr>
              <p:spPr>
                <a:xfrm>
                  <a:off x="899617" y="2718417"/>
                  <a:ext cx="42250" cy="43349"/>
                </a:xfrm>
                <a:custGeom>
                  <a:avLst/>
                  <a:gdLst>
                    <a:gd name="connsiteX0" fmla="*/ 35255 w 42250"/>
                    <a:gd name="connsiteY0" fmla="*/ 43350 h 43349"/>
                    <a:gd name="connsiteX1" fmla="*/ 30213 w 42250"/>
                    <a:gd name="connsiteY1" fmla="*/ 41204 h 43349"/>
                    <a:gd name="connsiteX2" fmla="*/ 1954 w 42250"/>
                    <a:gd name="connsiteY2" fmla="*/ 11844 h 43349"/>
                    <a:gd name="connsiteX3" fmla="*/ 2145 w 42250"/>
                    <a:gd name="connsiteY3" fmla="*/ 1952 h 43349"/>
                    <a:gd name="connsiteX4" fmla="*/ 12037 w 42250"/>
                    <a:gd name="connsiteY4" fmla="*/ 2144 h 43349"/>
                    <a:gd name="connsiteX5" fmla="*/ 40297 w 42250"/>
                    <a:gd name="connsiteY5" fmla="*/ 31504 h 43349"/>
                    <a:gd name="connsiteX6" fmla="*/ 40105 w 42250"/>
                    <a:gd name="connsiteY6" fmla="*/ 41396 h 43349"/>
                    <a:gd name="connsiteX7" fmla="*/ 35255 w 42250"/>
                    <a:gd name="connsiteY7" fmla="*/ 43350 h 43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50" h="43349">
                      <a:moveTo>
                        <a:pt x="35255" y="43350"/>
                      </a:moveTo>
                      <a:cubicBezTo>
                        <a:pt x="33422" y="43350"/>
                        <a:pt x="31586" y="42632"/>
                        <a:pt x="30213" y="41204"/>
                      </a:cubicBezTo>
                      <a:lnTo>
                        <a:pt x="1954" y="11844"/>
                      </a:lnTo>
                      <a:cubicBezTo>
                        <a:pt x="-725" y="9062"/>
                        <a:pt x="-637" y="4635"/>
                        <a:pt x="2145" y="1952"/>
                      </a:cubicBezTo>
                      <a:cubicBezTo>
                        <a:pt x="4927" y="-723"/>
                        <a:pt x="9362" y="-639"/>
                        <a:pt x="12037" y="2144"/>
                      </a:cubicBezTo>
                      <a:lnTo>
                        <a:pt x="40297" y="31504"/>
                      </a:lnTo>
                      <a:cubicBezTo>
                        <a:pt x="42976" y="34286"/>
                        <a:pt x="42888" y="38713"/>
                        <a:pt x="40105" y="41396"/>
                      </a:cubicBezTo>
                      <a:cubicBezTo>
                        <a:pt x="38747" y="42698"/>
                        <a:pt x="36999" y="43350"/>
                        <a:pt x="35255" y="43350"/>
                      </a:cubicBezTo>
                      <a:close/>
                    </a:path>
                  </a:pathLst>
                </a:custGeom>
                <a:grpFill/>
                <a:ln w="368" cap="flat">
                  <a:noFill/>
                  <a:prstDash val="solid"/>
                  <a:miter/>
                </a:ln>
              </p:spPr>
              <p:txBody>
                <a:bodyPr rtlCol="0" anchor="ctr"/>
                <a:lstStyle/>
                <a:p>
                  <a:endParaRPr lang="en-GB" dirty="0"/>
                </a:p>
              </p:txBody>
            </p:sp>
            <p:sp>
              <p:nvSpPr>
                <p:cNvPr id="172" name="Freihandform: Form 269">
                  <a:extLst>
                    <a:ext uri="{FF2B5EF4-FFF2-40B4-BE49-F238E27FC236}">
                      <a16:creationId xmlns:a16="http://schemas.microsoft.com/office/drawing/2014/main" id="{3473FBE2-3D17-4CF7-B402-9636198DFF38}"/>
                    </a:ext>
                  </a:extLst>
                </p:cNvPr>
                <p:cNvSpPr/>
                <p:nvPr/>
              </p:nvSpPr>
              <p:spPr>
                <a:xfrm>
                  <a:off x="787988" y="2631926"/>
                  <a:ext cx="125616" cy="154670"/>
                </a:xfrm>
                <a:custGeom>
                  <a:avLst/>
                  <a:gdLst>
                    <a:gd name="connsiteX0" fmla="*/ 118621 w 125616"/>
                    <a:gd name="connsiteY0" fmla="*/ 154670 h 154670"/>
                    <a:gd name="connsiteX1" fmla="*/ 113667 w 125616"/>
                    <a:gd name="connsiteY1" fmla="*/ 152617 h 154670"/>
                    <a:gd name="connsiteX2" fmla="*/ 46063 w 125616"/>
                    <a:gd name="connsiteY2" fmla="*/ 84877 h 154670"/>
                    <a:gd name="connsiteX3" fmla="*/ 21889 w 125616"/>
                    <a:gd name="connsiteY3" fmla="*/ 28214 h 154670"/>
                    <a:gd name="connsiteX4" fmla="*/ 2565 w 125616"/>
                    <a:gd name="connsiteY4" fmla="*/ 12412 h 154670"/>
                    <a:gd name="connsiteX5" fmla="*/ 1582 w 125616"/>
                    <a:gd name="connsiteY5" fmla="*/ 2568 h 154670"/>
                    <a:gd name="connsiteX6" fmla="*/ 11426 w 125616"/>
                    <a:gd name="connsiteY6" fmla="*/ 1585 h 154670"/>
                    <a:gd name="connsiteX7" fmla="*/ 33297 w 125616"/>
                    <a:gd name="connsiteY7" fmla="*/ 19474 h 154670"/>
                    <a:gd name="connsiteX8" fmla="*/ 35862 w 125616"/>
                    <a:gd name="connsiteY8" fmla="*/ 24998 h 154670"/>
                    <a:gd name="connsiteX9" fmla="*/ 55970 w 125616"/>
                    <a:gd name="connsiteY9" fmla="*/ 74992 h 154670"/>
                    <a:gd name="connsiteX10" fmla="*/ 123574 w 125616"/>
                    <a:gd name="connsiteY10" fmla="*/ 142732 h 154670"/>
                    <a:gd name="connsiteX11" fmla="*/ 123563 w 125616"/>
                    <a:gd name="connsiteY11" fmla="*/ 152628 h 154670"/>
                    <a:gd name="connsiteX12" fmla="*/ 118621 w 125616"/>
                    <a:gd name="connsiteY12" fmla="*/ 154670 h 154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5616" h="154670">
                      <a:moveTo>
                        <a:pt x="118621" y="154670"/>
                      </a:moveTo>
                      <a:cubicBezTo>
                        <a:pt x="116828" y="154670"/>
                        <a:pt x="115036" y="153986"/>
                        <a:pt x="113667" y="152617"/>
                      </a:cubicBezTo>
                      <a:lnTo>
                        <a:pt x="46063" y="84877"/>
                      </a:lnTo>
                      <a:cubicBezTo>
                        <a:pt x="30916" y="69696"/>
                        <a:pt x="22408" y="49691"/>
                        <a:pt x="21889" y="28214"/>
                      </a:cubicBezTo>
                      <a:lnTo>
                        <a:pt x="2565" y="12412"/>
                      </a:lnTo>
                      <a:cubicBezTo>
                        <a:pt x="-424" y="9968"/>
                        <a:pt x="-865" y="5559"/>
                        <a:pt x="1582" y="2568"/>
                      </a:cubicBezTo>
                      <a:cubicBezTo>
                        <a:pt x="4029" y="-421"/>
                        <a:pt x="8431" y="-870"/>
                        <a:pt x="11426" y="1585"/>
                      </a:cubicBezTo>
                      <a:lnTo>
                        <a:pt x="33297" y="19474"/>
                      </a:lnTo>
                      <a:cubicBezTo>
                        <a:pt x="34949" y="20828"/>
                        <a:pt x="35892" y="22860"/>
                        <a:pt x="35862" y="24998"/>
                      </a:cubicBezTo>
                      <a:cubicBezTo>
                        <a:pt x="35568" y="43954"/>
                        <a:pt x="42711" y="61707"/>
                        <a:pt x="55970" y="74992"/>
                      </a:cubicBezTo>
                      <a:lnTo>
                        <a:pt x="123574" y="142732"/>
                      </a:lnTo>
                      <a:cubicBezTo>
                        <a:pt x="126301" y="145466"/>
                        <a:pt x="126297" y="149897"/>
                        <a:pt x="123563" y="152628"/>
                      </a:cubicBezTo>
                      <a:cubicBezTo>
                        <a:pt x="122198" y="153993"/>
                        <a:pt x="120409" y="154670"/>
                        <a:pt x="118621" y="154670"/>
                      </a:cubicBezTo>
                      <a:close/>
                    </a:path>
                  </a:pathLst>
                </a:custGeom>
                <a:grpFill/>
                <a:ln w="368" cap="flat">
                  <a:noFill/>
                  <a:prstDash val="solid"/>
                  <a:miter/>
                </a:ln>
              </p:spPr>
              <p:txBody>
                <a:bodyPr rtlCol="0" anchor="ctr"/>
                <a:lstStyle/>
                <a:p>
                  <a:endParaRPr lang="en-GB" dirty="0"/>
                </a:p>
              </p:txBody>
            </p:sp>
            <p:sp>
              <p:nvSpPr>
                <p:cNvPr id="173" name="Freihandform: Form 270">
                  <a:extLst>
                    <a:ext uri="{FF2B5EF4-FFF2-40B4-BE49-F238E27FC236}">
                      <a16:creationId xmlns:a16="http://schemas.microsoft.com/office/drawing/2014/main" id="{95178282-FB59-40C3-8F2F-6A6012BA536A}"/>
                    </a:ext>
                  </a:extLst>
                </p:cNvPr>
                <p:cNvSpPr/>
                <p:nvPr/>
              </p:nvSpPr>
              <p:spPr>
                <a:xfrm>
                  <a:off x="854439" y="2555866"/>
                  <a:ext cx="178772" cy="112347"/>
                </a:xfrm>
                <a:custGeom>
                  <a:avLst/>
                  <a:gdLst>
                    <a:gd name="connsiteX0" fmla="*/ 150377 w 178772"/>
                    <a:gd name="connsiteY0" fmla="*/ 112348 h 112347"/>
                    <a:gd name="connsiteX1" fmla="*/ 145427 w 178772"/>
                    <a:gd name="connsiteY1" fmla="*/ 110294 h 112347"/>
                    <a:gd name="connsiteX2" fmla="*/ 109259 w 178772"/>
                    <a:gd name="connsiteY2" fmla="*/ 74064 h 112347"/>
                    <a:gd name="connsiteX3" fmla="*/ 107916 w 178772"/>
                    <a:gd name="connsiteY3" fmla="*/ 66067 h 112347"/>
                    <a:gd name="connsiteX4" fmla="*/ 115033 w 178772"/>
                    <a:gd name="connsiteY4" fmla="*/ 62177 h 112347"/>
                    <a:gd name="connsiteX5" fmla="*/ 152350 w 178772"/>
                    <a:gd name="connsiteY5" fmla="*/ 66623 h 112347"/>
                    <a:gd name="connsiteX6" fmla="*/ 160321 w 178772"/>
                    <a:gd name="connsiteY6" fmla="*/ 64356 h 112347"/>
                    <a:gd name="connsiteX7" fmla="*/ 164402 w 178772"/>
                    <a:gd name="connsiteY7" fmla="*/ 57102 h 112347"/>
                    <a:gd name="connsiteX8" fmla="*/ 164704 w 178772"/>
                    <a:gd name="connsiteY8" fmla="*/ 54563 h 112347"/>
                    <a:gd name="connsiteX9" fmla="*/ 155213 w 178772"/>
                    <a:gd name="connsiteY9" fmla="*/ 42463 h 112347"/>
                    <a:gd name="connsiteX10" fmla="*/ 58757 w 178772"/>
                    <a:gd name="connsiteY10" fmla="*/ 30944 h 112347"/>
                    <a:gd name="connsiteX11" fmla="*/ 27936 w 178772"/>
                    <a:gd name="connsiteY11" fmla="*/ 31691 h 112347"/>
                    <a:gd name="connsiteX12" fmla="*/ 21820 w 178772"/>
                    <a:gd name="connsiteY12" fmla="*/ 30002 h 112347"/>
                    <a:gd name="connsiteX13" fmla="*/ 2278 w 178772"/>
                    <a:gd name="connsiteY13" fmla="*/ 12157 h 112347"/>
                    <a:gd name="connsiteX14" fmla="*/ 1829 w 178772"/>
                    <a:gd name="connsiteY14" fmla="*/ 2276 h 112347"/>
                    <a:gd name="connsiteX15" fmla="*/ 11710 w 178772"/>
                    <a:gd name="connsiteY15" fmla="*/ 1827 h 112347"/>
                    <a:gd name="connsiteX16" fmla="*/ 28683 w 178772"/>
                    <a:gd name="connsiteY16" fmla="*/ 17324 h 112347"/>
                    <a:gd name="connsiteX17" fmla="*/ 60748 w 178772"/>
                    <a:gd name="connsiteY17" fmla="*/ 17096 h 112347"/>
                    <a:gd name="connsiteX18" fmla="*/ 156865 w 178772"/>
                    <a:gd name="connsiteY18" fmla="*/ 28567 h 112347"/>
                    <a:gd name="connsiteX19" fmla="*/ 178596 w 178772"/>
                    <a:gd name="connsiteY19" fmla="*/ 56208 h 112347"/>
                    <a:gd name="connsiteX20" fmla="*/ 178294 w 178772"/>
                    <a:gd name="connsiteY20" fmla="*/ 58747 h 112347"/>
                    <a:gd name="connsiteX21" fmla="*/ 168987 w 178772"/>
                    <a:gd name="connsiteY21" fmla="*/ 75337 h 112347"/>
                    <a:gd name="connsiteX22" fmla="*/ 150694 w 178772"/>
                    <a:gd name="connsiteY22" fmla="*/ 80515 h 112347"/>
                    <a:gd name="connsiteX23" fmla="*/ 133408 w 178772"/>
                    <a:gd name="connsiteY23" fmla="*/ 78450 h 112347"/>
                    <a:gd name="connsiteX24" fmla="*/ 155323 w 178772"/>
                    <a:gd name="connsiteY24" fmla="*/ 100406 h 112347"/>
                    <a:gd name="connsiteX25" fmla="*/ 155316 w 178772"/>
                    <a:gd name="connsiteY25" fmla="*/ 110298 h 112347"/>
                    <a:gd name="connsiteX26" fmla="*/ 150377 w 178772"/>
                    <a:gd name="connsiteY26" fmla="*/ 112348 h 112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8772" h="112347">
                      <a:moveTo>
                        <a:pt x="150377" y="112348"/>
                      </a:moveTo>
                      <a:cubicBezTo>
                        <a:pt x="148585" y="112348"/>
                        <a:pt x="146796" y="111663"/>
                        <a:pt x="145427" y="110294"/>
                      </a:cubicBezTo>
                      <a:lnTo>
                        <a:pt x="109259" y="74064"/>
                      </a:lnTo>
                      <a:cubicBezTo>
                        <a:pt x="107151" y="71951"/>
                        <a:pt x="106617" y="68742"/>
                        <a:pt x="107916" y="66067"/>
                      </a:cubicBezTo>
                      <a:cubicBezTo>
                        <a:pt x="109219" y="63384"/>
                        <a:pt x="112089" y="61849"/>
                        <a:pt x="115033" y="62177"/>
                      </a:cubicBezTo>
                      <a:lnTo>
                        <a:pt x="152350" y="66623"/>
                      </a:lnTo>
                      <a:cubicBezTo>
                        <a:pt x="155220" y="66983"/>
                        <a:pt x="158039" y="66163"/>
                        <a:pt x="160321" y="64356"/>
                      </a:cubicBezTo>
                      <a:cubicBezTo>
                        <a:pt x="162613" y="62549"/>
                        <a:pt x="164060" y="59973"/>
                        <a:pt x="164402" y="57102"/>
                      </a:cubicBezTo>
                      <a:lnTo>
                        <a:pt x="164704" y="54563"/>
                      </a:lnTo>
                      <a:cubicBezTo>
                        <a:pt x="165414" y="48597"/>
                        <a:pt x="161156" y="43169"/>
                        <a:pt x="155213" y="42463"/>
                      </a:cubicBezTo>
                      <a:lnTo>
                        <a:pt x="58757" y="30944"/>
                      </a:lnTo>
                      <a:cubicBezTo>
                        <a:pt x="48169" y="29424"/>
                        <a:pt x="37806" y="29674"/>
                        <a:pt x="27936" y="31691"/>
                      </a:cubicBezTo>
                      <a:cubicBezTo>
                        <a:pt x="25750" y="32133"/>
                        <a:pt x="23472" y="31507"/>
                        <a:pt x="21820" y="30002"/>
                      </a:cubicBezTo>
                      <a:lnTo>
                        <a:pt x="2278" y="12157"/>
                      </a:lnTo>
                      <a:cubicBezTo>
                        <a:pt x="-574" y="9555"/>
                        <a:pt x="-776" y="5128"/>
                        <a:pt x="1829" y="2276"/>
                      </a:cubicBezTo>
                      <a:cubicBezTo>
                        <a:pt x="4435" y="-569"/>
                        <a:pt x="8855" y="-779"/>
                        <a:pt x="11710" y="1827"/>
                      </a:cubicBezTo>
                      <a:lnTo>
                        <a:pt x="28683" y="17324"/>
                      </a:lnTo>
                      <a:cubicBezTo>
                        <a:pt x="39054" y="15602"/>
                        <a:pt x="49822" y="15524"/>
                        <a:pt x="60748" y="17096"/>
                      </a:cubicBezTo>
                      <a:lnTo>
                        <a:pt x="156865" y="28567"/>
                      </a:lnTo>
                      <a:cubicBezTo>
                        <a:pt x="170467" y="30189"/>
                        <a:pt x="180215" y="42588"/>
                        <a:pt x="178596" y="56208"/>
                      </a:cubicBezTo>
                      <a:lnTo>
                        <a:pt x="178294" y="58747"/>
                      </a:lnTo>
                      <a:cubicBezTo>
                        <a:pt x="177511" y="65327"/>
                        <a:pt x="174206" y="71219"/>
                        <a:pt x="168987" y="75337"/>
                      </a:cubicBezTo>
                      <a:cubicBezTo>
                        <a:pt x="163754" y="79459"/>
                        <a:pt x="157263" y="81277"/>
                        <a:pt x="150694" y="80515"/>
                      </a:cubicBezTo>
                      <a:lnTo>
                        <a:pt x="133408" y="78450"/>
                      </a:lnTo>
                      <a:lnTo>
                        <a:pt x="155323" y="100406"/>
                      </a:lnTo>
                      <a:cubicBezTo>
                        <a:pt x="158054" y="103140"/>
                        <a:pt x="158050" y="107567"/>
                        <a:pt x="155316" y="110298"/>
                      </a:cubicBezTo>
                      <a:cubicBezTo>
                        <a:pt x="153951" y="111667"/>
                        <a:pt x="152166" y="112348"/>
                        <a:pt x="150377" y="112348"/>
                      </a:cubicBezTo>
                      <a:close/>
                    </a:path>
                  </a:pathLst>
                </a:custGeom>
                <a:grpFill/>
                <a:ln w="368" cap="flat">
                  <a:noFill/>
                  <a:prstDash val="solid"/>
                  <a:miter/>
                </a:ln>
              </p:spPr>
              <p:txBody>
                <a:bodyPr rtlCol="0" anchor="ctr"/>
                <a:lstStyle/>
                <a:p>
                  <a:endParaRPr lang="en-GB" dirty="0"/>
                </a:p>
              </p:txBody>
            </p:sp>
            <p:sp>
              <p:nvSpPr>
                <p:cNvPr id="174" name="Freihandform: Form 271">
                  <a:extLst>
                    <a:ext uri="{FF2B5EF4-FFF2-40B4-BE49-F238E27FC236}">
                      <a16:creationId xmlns:a16="http://schemas.microsoft.com/office/drawing/2014/main" id="{05B9EA7C-456D-478A-B3BB-785004FE705A}"/>
                    </a:ext>
                  </a:extLst>
                </p:cNvPr>
                <p:cNvSpPr/>
                <p:nvPr/>
              </p:nvSpPr>
              <p:spPr>
                <a:xfrm>
                  <a:off x="953697" y="2664218"/>
                  <a:ext cx="20954" cy="20170"/>
                </a:xfrm>
                <a:custGeom>
                  <a:avLst/>
                  <a:gdLst>
                    <a:gd name="connsiteX0" fmla="*/ 13958 w 20954"/>
                    <a:gd name="connsiteY0" fmla="*/ 20171 h 20170"/>
                    <a:gd name="connsiteX1" fmla="*/ 9321 w 20954"/>
                    <a:gd name="connsiteY1" fmla="*/ 18408 h 20170"/>
                    <a:gd name="connsiteX2" fmla="*/ 2354 w 20954"/>
                    <a:gd name="connsiteY2" fmla="*/ 12225 h 20170"/>
                    <a:gd name="connsiteX3" fmla="*/ 1762 w 20954"/>
                    <a:gd name="connsiteY3" fmla="*/ 2351 h 20170"/>
                    <a:gd name="connsiteX4" fmla="*/ 11635 w 20954"/>
                    <a:gd name="connsiteY4" fmla="*/ 1759 h 20170"/>
                    <a:gd name="connsiteX5" fmla="*/ 18602 w 20954"/>
                    <a:gd name="connsiteY5" fmla="*/ 7942 h 20170"/>
                    <a:gd name="connsiteX6" fmla="*/ 19194 w 20954"/>
                    <a:gd name="connsiteY6" fmla="*/ 17815 h 20170"/>
                    <a:gd name="connsiteX7" fmla="*/ 13958 w 20954"/>
                    <a:gd name="connsiteY7" fmla="*/ 20171 h 20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54" h="20170">
                      <a:moveTo>
                        <a:pt x="13958" y="20171"/>
                      </a:moveTo>
                      <a:cubicBezTo>
                        <a:pt x="12309" y="20171"/>
                        <a:pt x="10653" y="19589"/>
                        <a:pt x="9321" y="18408"/>
                      </a:cubicBezTo>
                      <a:lnTo>
                        <a:pt x="2354" y="12225"/>
                      </a:lnTo>
                      <a:cubicBezTo>
                        <a:pt x="-535" y="9660"/>
                        <a:pt x="-803" y="5240"/>
                        <a:pt x="1762" y="2351"/>
                      </a:cubicBezTo>
                      <a:cubicBezTo>
                        <a:pt x="4330" y="-534"/>
                        <a:pt x="8743" y="-802"/>
                        <a:pt x="11635" y="1759"/>
                      </a:cubicBezTo>
                      <a:lnTo>
                        <a:pt x="18602" y="7942"/>
                      </a:lnTo>
                      <a:cubicBezTo>
                        <a:pt x="21491" y="10507"/>
                        <a:pt x="21756" y="14926"/>
                        <a:pt x="19194" y="17815"/>
                      </a:cubicBezTo>
                      <a:cubicBezTo>
                        <a:pt x="17811" y="19376"/>
                        <a:pt x="15890" y="20171"/>
                        <a:pt x="13958" y="20171"/>
                      </a:cubicBezTo>
                      <a:close/>
                    </a:path>
                  </a:pathLst>
                </a:custGeom>
                <a:grpFill/>
                <a:ln w="368" cap="flat">
                  <a:noFill/>
                  <a:prstDash val="solid"/>
                  <a:miter/>
                </a:ln>
              </p:spPr>
              <p:txBody>
                <a:bodyPr rtlCol="0" anchor="ctr"/>
                <a:lstStyle/>
                <a:p>
                  <a:endParaRPr lang="en-GB" dirty="0"/>
                </a:p>
              </p:txBody>
            </p:sp>
          </p:grpSp>
          <p:grpSp>
            <p:nvGrpSpPr>
              <p:cNvPr id="164" name="Graphic 4">
                <a:extLst>
                  <a:ext uri="{FF2B5EF4-FFF2-40B4-BE49-F238E27FC236}">
                    <a16:creationId xmlns:a16="http://schemas.microsoft.com/office/drawing/2014/main" id="{C1059211-AB76-4901-9641-9C6F2284BFAC}"/>
                  </a:ext>
                </a:extLst>
              </p:cNvPr>
              <p:cNvGrpSpPr/>
              <p:nvPr/>
            </p:nvGrpSpPr>
            <p:grpSpPr>
              <a:xfrm>
                <a:off x="1020133" y="2554995"/>
                <a:ext cx="246968" cy="231601"/>
                <a:chOff x="1020133" y="2554995"/>
                <a:chExt cx="246968" cy="231601"/>
              </a:xfrm>
              <a:grpFill/>
            </p:grpSpPr>
            <p:sp>
              <p:nvSpPr>
                <p:cNvPr id="165" name="Freihandform: Form 273">
                  <a:extLst>
                    <a:ext uri="{FF2B5EF4-FFF2-40B4-BE49-F238E27FC236}">
                      <a16:creationId xmlns:a16="http://schemas.microsoft.com/office/drawing/2014/main" id="{0B01766F-9CA0-4A5D-8A2A-74EB9100D859}"/>
                    </a:ext>
                  </a:extLst>
                </p:cNvPr>
                <p:cNvSpPr/>
                <p:nvPr/>
              </p:nvSpPr>
              <p:spPr>
                <a:xfrm>
                  <a:off x="1105358" y="2691320"/>
                  <a:ext cx="21331" cy="21047"/>
                </a:xfrm>
                <a:custGeom>
                  <a:avLst/>
                  <a:gdLst>
                    <a:gd name="connsiteX0" fmla="*/ 6995 w 21331"/>
                    <a:gd name="connsiteY0" fmla="*/ 21048 h 21047"/>
                    <a:gd name="connsiteX1" fmla="*/ 1953 w 21331"/>
                    <a:gd name="connsiteY1" fmla="*/ 18899 h 21047"/>
                    <a:gd name="connsiteX2" fmla="*/ 2148 w 21331"/>
                    <a:gd name="connsiteY2" fmla="*/ 9010 h 21047"/>
                    <a:gd name="connsiteX3" fmla="*/ 9490 w 21331"/>
                    <a:gd name="connsiteY3" fmla="*/ 1952 h 21047"/>
                    <a:gd name="connsiteX4" fmla="*/ 19379 w 21331"/>
                    <a:gd name="connsiteY4" fmla="*/ 2147 h 21047"/>
                    <a:gd name="connsiteX5" fmla="*/ 19184 w 21331"/>
                    <a:gd name="connsiteY5" fmla="*/ 12035 h 21047"/>
                    <a:gd name="connsiteX6" fmla="*/ 11842 w 21331"/>
                    <a:gd name="connsiteY6" fmla="*/ 19094 h 21047"/>
                    <a:gd name="connsiteX7" fmla="*/ 6995 w 21331"/>
                    <a:gd name="connsiteY7" fmla="*/ 21048 h 21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31" h="21047">
                      <a:moveTo>
                        <a:pt x="6995" y="21048"/>
                      </a:moveTo>
                      <a:cubicBezTo>
                        <a:pt x="5162" y="21048"/>
                        <a:pt x="3326" y="20330"/>
                        <a:pt x="1953" y="18899"/>
                      </a:cubicBezTo>
                      <a:cubicBezTo>
                        <a:pt x="-726" y="16116"/>
                        <a:pt x="-638" y="11689"/>
                        <a:pt x="2148" y="9010"/>
                      </a:cubicBezTo>
                      <a:lnTo>
                        <a:pt x="9490" y="1952"/>
                      </a:lnTo>
                      <a:cubicBezTo>
                        <a:pt x="12276" y="-720"/>
                        <a:pt x="16699" y="-643"/>
                        <a:pt x="19379" y="2147"/>
                      </a:cubicBezTo>
                      <a:cubicBezTo>
                        <a:pt x="22058" y="4929"/>
                        <a:pt x="21969" y="9356"/>
                        <a:pt x="19184" y="12035"/>
                      </a:cubicBezTo>
                      <a:lnTo>
                        <a:pt x="11842" y="19094"/>
                      </a:lnTo>
                      <a:cubicBezTo>
                        <a:pt x="10487" y="20396"/>
                        <a:pt x="8743" y="21048"/>
                        <a:pt x="6995" y="21048"/>
                      </a:cubicBezTo>
                      <a:close/>
                    </a:path>
                  </a:pathLst>
                </a:custGeom>
                <a:grpFill/>
                <a:ln w="368" cap="flat">
                  <a:noFill/>
                  <a:prstDash val="solid"/>
                  <a:miter/>
                </a:ln>
              </p:spPr>
              <p:txBody>
                <a:bodyPr rtlCol="0" anchor="ctr"/>
                <a:lstStyle/>
                <a:p>
                  <a:endParaRPr lang="en-GB" dirty="0"/>
                </a:p>
              </p:txBody>
            </p:sp>
            <p:sp>
              <p:nvSpPr>
                <p:cNvPr id="166" name="Freihandform: Form 274">
                  <a:extLst>
                    <a:ext uri="{FF2B5EF4-FFF2-40B4-BE49-F238E27FC236}">
                      <a16:creationId xmlns:a16="http://schemas.microsoft.com/office/drawing/2014/main" id="{66142BDB-BA68-43F1-A263-6ADF9696FB7D}"/>
                    </a:ext>
                  </a:extLst>
                </p:cNvPr>
                <p:cNvSpPr/>
                <p:nvPr/>
              </p:nvSpPr>
              <p:spPr>
                <a:xfrm>
                  <a:off x="1132462" y="2718416"/>
                  <a:ext cx="21272" cy="20618"/>
                </a:xfrm>
                <a:custGeom>
                  <a:avLst/>
                  <a:gdLst>
                    <a:gd name="connsiteX0" fmla="*/ 6998 w 21272"/>
                    <a:gd name="connsiteY0" fmla="*/ 20618 h 20618"/>
                    <a:gd name="connsiteX1" fmla="*/ 1824 w 21272"/>
                    <a:gd name="connsiteY1" fmla="*/ 18333 h 20618"/>
                    <a:gd name="connsiteX2" fmla="*/ 2284 w 21272"/>
                    <a:gd name="connsiteY2" fmla="*/ 8452 h 20618"/>
                    <a:gd name="connsiteX3" fmla="*/ 9567 w 21272"/>
                    <a:gd name="connsiteY3" fmla="*/ 1824 h 20618"/>
                    <a:gd name="connsiteX4" fmla="*/ 19448 w 21272"/>
                    <a:gd name="connsiteY4" fmla="*/ 2284 h 20618"/>
                    <a:gd name="connsiteX5" fmla="*/ 18988 w 21272"/>
                    <a:gd name="connsiteY5" fmla="*/ 12165 h 20618"/>
                    <a:gd name="connsiteX6" fmla="*/ 11705 w 21272"/>
                    <a:gd name="connsiteY6" fmla="*/ 18793 h 20618"/>
                    <a:gd name="connsiteX7" fmla="*/ 6998 w 21272"/>
                    <a:gd name="connsiteY7" fmla="*/ 20618 h 20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272" h="20618">
                      <a:moveTo>
                        <a:pt x="6998" y="20618"/>
                      </a:moveTo>
                      <a:cubicBezTo>
                        <a:pt x="5096" y="20618"/>
                        <a:pt x="3204" y="19849"/>
                        <a:pt x="1824" y="18333"/>
                      </a:cubicBezTo>
                      <a:cubicBezTo>
                        <a:pt x="-778" y="15474"/>
                        <a:pt x="-572" y="11050"/>
                        <a:pt x="2284" y="8452"/>
                      </a:cubicBezTo>
                      <a:lnTo>
                        <a:pt x="9567" y="1824"/>
                      </a:lnTo>
                      <a:cubicBezTo>
                        <a:pt x="12427" y="-778"/>
                        <a:pt x="16850" y="-572"/>
                        <a:pt x="19448" y="2284"/>
                      </a:cubicBezTo>
                      <a:cubicBezTo>
                        <a:pt x="22050" y="5144"/>
                        <a:pt x="21844" y="9567"/>
                        <a:pt x="18988" y="12165"/>
                      </a:cubicBezTo>
                      <a:lnTo>
                        <a:pt x="11705" y="18793"/>
                      </a:lnTo>
                      <a:cubicBezTo>
                        <a:pt x="10362" y="20015"/>
                        <a:pt x="8680" y="20618"/>
                        <a:pt x="6998" y="20618"/>
                      </a:cubicBezTo>
                      <a:close/>
                    </a:path>
                  </a:pathLst>
                </a:custGeom>
                <a:grpFill/>
                <a:ln w="368" cap="flat">
                  <a:noFill/>
                  <a:prstDash val="solid"/>
                  <a:miter/>
                </a:ln>
              </p:spPr>
              <p:txBody>
                <a:bodyPr rtlCol="0" anchor="ctr"/>
                <a:lstStyle/>
                <a:p>
                  <a:endParaRPr lang="en-GB" dirty="0"/>
                </a:p>
              </p:txBody>
            </p:sp>
            <p:sp>
              <p:nvSpPr>
                <p:cNvPr id="167" name="Freihandform: Form 275">
                  <a:extLst>
                    <a:ext uri="{FF2B5EF4-FFF2-40B4-BE49-F238E27FC236}">
                      <a16:creationId xmlns:a16="http://schemas.microsoft.com/office/drawing/2014/main" id="{004AF9BF-22C8-46A5-AAE6-DC3AED724C69}"/>
                    </a:ext>
                  </a:extLst>
                </p:cNvPr>
                <p:cNvSpPr/>
                <p:nvPr/>
              </p:nvSpPr>
              <p:spPr>
                <a:xfrm>
                  <a:off x="1139745" y="2624937"/>
                  <a:ext cx="127356" cy="161658"/>
                </a:xfrm>
                <a:custGeom>
                  <a:avLst/>
                  <a:gdLst>
                    <a:gd name="connsiteX0" fmla="*/ 6995 w 127356"/>
                    <a:gd name="connsiteY0" fmla="*/ 161659 h 161658"/>
                    <a:gd name="connsiteX1" fmla="*/ 2052 w 127356"/>
                    <a:gd name="connsiteY1" fmla="*/ 159617 h 161658"/>
                    <a:gd name="connsiteX2" fmla="*/ 2041 w 127356"/>
                    <a:gd name="connsiteY2" fmla="*/ 149721 h 161658"/>
                    <a:gd name="connsiteX3" fmla="*/ 69645 w 127356"/>
                    <a:gd name="connsiteY3" fmla="*/ 81981 h 161658"/>
                    <a:gd name="connsiteX4" fmla="*/ 89749 w 127356"/>
                    <a:gd name="connsiteY4" fmla="*/ 31987 h 161658"/>
                    <a:gd name="connsiteX5" fmla="*/ 91670 w 127356"/>
                    <a:gd name="connsiteY5" fmla="*/ 27063 h 161658"/>
                    <a:gd name="connsiteX6" fmla="*/ 115289 w 127356"/>
                    <a:gd name="connsiteY6" fmla="*/ 2178 h 161658"/>
                    <a:gd name="connsiteX7" fmla="*/ 125178 w 127356"/>
                    <a:gd name="connsiteY7" fmla="*/ 1920 h 161658"/>
                    <a:gd name="connsiteX8" fmla="*/ 125435 w 127356"/>
                    <a:gd name="connsiteY8" fmla="*/ 11809 h 161658"/>
                    <a:gd name="connsiteX9" fmla="*/ 103734 w 127356"/>
                    <a:gd name="connsiteY9" fmla="*/ 34673 h 161658"/>
                    <a:gd name="connsiteX10" fmla="*/ 79548 w 127356"/>
                    <a:gd name="connsiteY10" fmla="*/ 91866 h 161658"/>
                    <a:gd name="connsiteX11" fmla="*/ 11944 w 127356"/>
                    <a:gd name="connsiteY11" fmla="*/ 159606 h 161658"/>
                    <a:gd name="connsiteX12" fmla="*/ 6995 w 127356"/>
                    <a:gd name="connsiteY12" fmla="*/ 161659 h 161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356" h="161658">
                      <a:moveTo>
                        <a:pt x="6995" y="161659"/>
                      </a:moveTo>
                      <a:cubicBezTo>
                        <a:pt x="5210" y="161659"/>
                        <a:pt x="3417" y="160978"/>
                        <a:pt x="2052" y="159617"/>
                      </a:cubicBezTo>
                      <a:cubicBezTo>
                        <a:pt x="-679" y="156886"/>
                        <a:pt x="-686" y="152459"/>
                        <a:pt x="2041" y="149721"/>
                      </a:cubicBezTo>
                      <a:lnTo>
                        <a:pt x="69645" y="81981"/>
                      </a:lnTo>
                      <a:cubicBezTo>
                        <a:pt x="82904" y="68699"/>
                        <a:pt x="90044" y="50939"/>
                        <a:pt x="89749" y="31987"/>
                      </a:cubicBezTo>
                      <a:cubicBezTo>
                        <a:pt x="89723" y="30158"/>
                        <a:pt x="90412" y="28391"/>
                        <a:pt x="91670" y="27063"/>
                      </a:cubicBezTo>
                      <a:lnTo>
                        <a:pt x="115289" y="2178"/>
                      </a:lnTo>
                      <a:cubicBezTo>
                        <a:pt x="117943" y="-627"/>
                        <a:pt x="122384" y="-733"/>
                        <a:pt x="125178" y="1920"/>
                      </a:cubicBezTo>
                      <a:cubicBezTo>
                        <a:pt x="127978" y="4577"/>
                        <a:pt x="128096" y="9008"/>
                        <a:pt x="125435" y="11809"/>
                      </a:cubicBezTo>
                      <a:lnTo>
                        <a:pt x="103734" y="34673"/>
                      </a:lnTo>
                      <a:cubicBezTo>
                        <a:pt x="103340" y="56349"/>
                        <a:pt x="94817" y="76560"/>
                        <a:pt x="79548" y="91866"/>
                      </a:cubicBezTo>
                      <a:lnTo>
                        <a:pt x="11944" y="159606"/>
                      </a:lnTo>
                      <a:cubicBezTo>
                        <a:pt x="10579" y="160975"/>
                        <a:pt x="8787" y="161659"/>
                        <a:pt x="6995" y="161659"/>
                      </a:cubicBezTo>
                      <a:close/>
                    </a:path>
                  </a:pathLst>
                </a:custGeom>
                <a:grpFill/>
                <a:ln w="368" cap="flat">
                  <a:noFill/>
                  <a:prstDash val="solid"/>
                  <a:miter/>
                </a:ln>
              </p:spPr>
              <p:txBody>
                <a:bodyPr rtlCol="0" anchor="ctr"/>
                <a:lstStyle/>
                <a:p>
                  <a:endParaRPr lang="en-GB" dirty="0"/>
                </a:p>
              </p:txBody>
            </p:sp>
            <p:sp>
              <p:nvSpPr>
                <p:cNvPr id="168" name="Freihandform: Form 276">
                  <a:extLst>
                    <a:ext uri="{FF2B5EF4-FFF2-40B4-BE49-F238E27FC236}">
                      <a16:creationId xmlns:a16="http://schemas.microsoft.com/office/drawing/2014/main" id="{43199A93-19E9-4ED6-9FDB-FB2C612C74FE}"/>
                    </a:ext>
                  </a:extLst>
                </p:cNvPr>
                <p:cNvSpPr/>
                <p:nvPr/>
              </p:nvSpPr>
              <p:spPr>
                <a:xfrm>
                  <a:off x="1020133" y="2554995"/>
                  <a:ext cx="177897" cy="111909"/>
                </a:xfrm>
                <a:custGeom>
                  <a:avLst/>
                  <a:gdLst>
                    <a:gd name="connsiteX0" fmla="*/ 29709 w 177897"/>
                    <a:gd name="connsiteY0" fmla="*/ 111909 h 111909"/>
                    <a:gd name="connsiteX1" fmla="*/ 24766 w 177897"/>
                    <a:gd name="connsiteY1" fmla="*/ 109863 h 111909"/>
                    <a:gd name="connsiteX2" fmla="*/ 24759 w 177897"/>
                    <a:gd name="connsiteY2" fmla="*/ 99971 h 111909"/>
                    <a:gd name="connsiteX3" fmla="*/ 45368 w 177897"/>
                    <a:gd name="connsiteY3" fmla="*/ 79326 h 111909"/>
                    <a:gd name="connsiteX4" fmla="*/ 28078 w 177897"/>
                    <a:gd name="connsiteY4" fmla="*/ 81390 h 111909"/>
                    <a:gd name="connsiteX5" fmla="*/ 9785 w 177897"/>
                    <a:gd name="connsiteY5" fmla="*/ 76212 h 111909"/>
                    <a:gd name="connsiteX6" fmla="*/ 478 w 177897"/>
                    <a:gd name="connsiteY6" fmla="*/ 59626 h 111909"/>
                    <a:gd name="connsiteX7" fmla="*/ 176 w 177897"/>
                    <a:gd name="connsiteY7" fmla="*/ 57079 h 111909"/>
                    <a:gd name="connsiteX8" fmla="*/ 21903 w 177897"/>
                    <a:gd name="connsiteY8" fmla="*/ 29446 h 111909"/>
                    <a:gd name="connsiteX9" fmla="*/ 117362 w 177897"/>
                    <a:gd name="connsiteY9" fmla="*/ 18067 h 111909"/>
                    <a:gd name="connsiteX10" fmla="*/ 149883 w 177897"/>
                    <a:gd name="connsiteY10" fmla="*/ 18170 h 111909"/>
                    <a:gd name="connsiteX11" fmla="*/ 165950 w 177897"/>
                    <a:gd name="connsiteY11" fmla="*/ 2058 h 111909"/>
                    <a:gd name="connsiteX12" fmla="*/ 175842 w 177897"/>
                    <a:gd name="connsiteY12" fmla="*/ 2043 h 111909"/>
                    <a:gd name="connsiteX13" fmla="*/ 175857 w 177897"/>
                    <a:gd name="connsiteY13" fmla="*/ 11936 h 111909"/>
                    <a:gd name="connsiteX14" fmla="*/ 157191 w 177897"/>
                    <a:gd name="connsiteY14" fmla="*/ 30653 h 111909"/>
                    <a:gd name="connsiteX15" fmla="*/ 150840 w 177897"/>
                    <a:gd name="connsiteY15" fmla="*/ 32570 h 111909"/>
                    <a:gd name="connsiteX16" fmla="*/ 120019 w 177897"/>
                    <a:gd name="connsiteY16" fmla="*/ 31827 h 111909"/>
                    <a:gd name="connsiteX17" fmla="*/ 119010 w 177897"/>
                    <a:gd name="connsiteY17" fmla="*/ 31963 h 111909"/>
                    <a:gd name="connsiteX18" fmla="*/ 23559 w 177897"/>
                    <a:gd name="connsiteY18" fmla="*/ 43342 h 111909"/>
                    <a:gd name="connsiteX19" fmla="*/ 14072 w 177897"/>
                    <a:gd name="connsiteY19" fmla="*/ 55434 h 111909"/>
                    <a:gd name="connsiteX20" fmla="*/ 14374 w 177897"/>
                    <a:gd name="connsiteY20" fmla="*/ 57985 h 111909"/>
                    <a:gd name="connsiteX21" fmla="*/ 18451 w 177897"/>
                    <a:gd name="connsiteY21" fmla="*/ 65231 h 111909"/>
                    <a:gd name="connsiteX22" fmla="*/ 26422 w 177897"/>
                    <a:gd name="connsiteY22" fmla="*/ 67498 h 111909"/>
                    <a:gd name="connsiteX23" fmla="*/ 63742 w 177897"/>
                    <a:gd name="connsiteY23" fmla="*/ 63052 h 111909"/>
                    <a:gd name="connsiteX24" fmla="*/ 70860 w 177897"/>
                    <a:gd name="connsiteY24" fmla="*/ 66942 h 111909"/>
                    <a:gd name="connsiteX25" fmla="*/ 69516 w 177897"/>
                    <a:gd name="connsiteY25" fmla="*/ 74939 h 111909"/>
                    <a:gd name="connsiteX26" fmla="*/ 34658 w 177897"/>
                    <a:gd name="connsiteY26" fmla="*/ 109856 h 111909"/>
                    <a:gd name="connsiteX27" fmla="*/ 29709 w 177897"/>
                    <a:gd name="connsiteY27" fmla="*/ 111909 h 11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7897" h="111909">
                      <a:moveTo>
                        <a:pt x="29709" y="111909"/>
                      </a:moveTo>
                      <a:cubicBezTo>
                        <a:pt x="27920" y="111909"/>
                        <a:pt x="26132" y="111229"/>
                        <a:pt x="24766" y="109863"/>
                      </a:cubicBezTo>
                      <a:cubicBezTo>
                        <a:pt x="22036" y="107136"/>
                        <a:pt x="22032" y="102709"/>
                        <a:pt x="24759" y="99971"/>
                      </a:cubicBezTo>
                      <a:lnTo>
                        <a:pt x="45368" y="79326"/>
                      </a:lnTo>
                      <a:lnTo>
                        <a:pt x="28078" y="81390"/>
                      </a:lnTo>
                      <a:cubicBezTo>
                        <a:pt x="21509" y="82141"/>
                        <a:pt x="15007" y="80334"/>
                        <a:pt x="9785" y="76212"/>
                      </a:cubicBezTo>
                      <a:cubicBezTo>
                        <a:pt x="4563" y="72091"/>
                        <a:pt x="1261" y="66202"/>
                        <a:pt x="478" y="59626"/>
                      </a:cubicBezTo>
                      <a:lnTo>
                        <a:pt x="176" y="57079"/>
                      </a:lnTo>
                      <a:cubicBezTo>
                        <a:pt x="-1443" y="43467"/>
                        <a:pt x="8305" y="31068"/>
                        <a:pt x="21903" y="29446"/>
                      </a:cubicBezTo>
                      <a:lnTo>
                        <a:pt x="117362" y="18067"/>
                      </a:lnTo>
                      <a:cubicBezTo>
                        <a:pt x="128796" y="16418"/>
                        <a:pt x="139560" y="16477"/>
                        <a:pt x="149883" y="18170"/>
                      </a:cubicBezTo>
                      <a:lnTo>
                        <a:pt x="165950" y="2058"/>
                      </a:lnTo>
                      <a:cubicBezTo>
                        <a:pt x="168673" y="-676"/>
                        <a:pt x="173097" y="-691"/>
                        <a:pt x="175842" y="2043"/>
                      </a:cubicBezTo>
                      <a:cubicBezTo>
                        <a:pt x="178577" y="4770"/>
                        <a:pt x="178584" y="9198"/>
                        <a:pt x="175857" y="11936"/>
                      </a:cubicBezTo>
                      <a:lnTo>
                        <a:pt x="157191" y="30653"/>
                      </a:lnTo>
                      <a:cubicBezTo>
                        <a:pt x="155532" y="32316"/>
                        <a:pt x="153143" y="33030"/>
                        <a:pt x="150840" y="32570"/>
                      </a:cubicBezTo>
                      <a:cubicBezTo>
                        <a:pt x="140966" y="30553"/>
                        <a:pt x="130592" y="30303"/>
                        <a:pt x="120019" y="31827"/>
                      </a:cubicBezTo>
                      <a:lnTo>
                        <a:pt x="119010" y="31963"/>
                      </a:lnTo>
                      <a:lnTo>
                        <a:pt x="23559" y="43342"/>
                      </a:lnTo>
                      <a:cubicBezTo>
                        <a:pt x="17620" y="44048"/>
                        <a:pt x="13362" y="49476"/>
                        <a:pt x="14072" y="55434"/>
                      </a:cubicBezTo>
                      <a:lnTo>
                        <a:pt x="14374" y="57985"/>
                      </a:lnTo>
                      <a:cubicBezTo>
                        <a:pt x="14712" y="60852"/>
                        <a:pt x="16162" y="63424"/>
                        <a:pt x="18451" y="65231"/>
                      </a:cubicBezTo>
                      <a:cubicBezTo>
                        <a:pt x="20740" y="67034"/>
                        <a:pt x="23556" y="67859"/>
                        <a:pt x="26422" y="67498"/>
                      </a:cubicBezTo>
                      <a:lnTo>
                        <a:pt x="63742" y="63052"/>
                      </a:lnTo>
                      <a:cubicBezTo>
                        <a:pt x="66657" y="62732"/>
                        <a:pt x="69553" y="64259"/>
                        <a:pt x="70860" y="66942"/>
                      </a:cubicBezTo>
                      <a:cubicBezTo>
                        <a:pt x="72162" y="69621"/>
                        <a:pt x="71625" y="72834"/>
                        <a:pt x="69516" y="74939"/>
                      </a:cubicBezTo>
                      <a:lnTo>
                        <a:pt x="34658" y="109856"/>
                      </a:lnTo>
                      <a:cubicBezTo>
                        <a:pt x="33289" y="111225"/>
                        <a:pt x="31501" y="111909"/>
                        <a:pt x="29709" y="111909"/>
                      </a:cubicBezTo>
                      <a:close/>
                    </a:path>
                  </a:pathLst>
                </a:custGeom>
                <a:grpFill/>
                <a:ln w="368" cap="flat">
                  <a:noFill/>
                  <a:prstDash val="solid"/>
                  <a:miter/>
                </a:ln>
              </p:spPr>
              <p:txBody>
                <a:bodyPr rtlCol="0" anchor="ctr"/>
                <a:lstStyle/>
                <a:p>
                  <a:endParaRPr lang="en-GB" dirty="0"/>
                </a:p>
              </p:txBody>
            </p:sp>
            <p:sp>
              <p:nvSpPr>
                <p:cNvPr id="169" name="Freihandform: Form 277">
                  <a:extLst>
                    <a:ext uri="{FF2B5EF4-FFF2-40B4-BE49-F238E27FC236}">
                      <a16:creationId xmlns:a16="http://schemas.microsoft.com/office/drawing/2014/main" id="{1EBF0861-BCF4-4A1A-9A5C-B746831A601B}"/>
                    </a:ext>
                  </a:extLst>
                </p:cNvPr>
                <p:cNvSpPr/>
                <p:nvPr/>
              </p:nvSpPr>
              <p:spPr>
                <a:xfrm>
                  <a:off x="1077819" y="2664211"/>
                  <a:ext cx="21835" cy="22363"/>
                </a:xfrm>
                <a:custGeom>
                  <a:avLst/>
                  <a:gdLst>
                    <a:gd name="connsiteX0" fmla="*/ 6995 w 21835"/>
                    <a:gd name="connsiteY0" fmla="*/ 22364 h 22363"/>
                    <a:gd name="connsiteX1" fmla="*/ 2215 w 21835"/>
                    <a:gd name="connsiteY1" fmla="*/ 20472 h 22363"/>
                    <a:gd name="connsiteX2" fmla="*/ 1894 w 21835"/>
                    <a:gd name="connsiteY2" fmla="*/ 10587 h 22363"/>
                    <a:gd name="connsiteX3" fmla="*/ 9737 w 21835"/>
                    <a:gd name="connsiteY3" fmla="*/ 2219 h 22363"/>
                    <a:gd name="connsiteX4" fmla="*/ 19621 w 21835"/>
                    <a:gd name="connsiteY4" fmla="*/ 1898 h 22363"/>
                    <a:gd name="connsiteX5" fmla="*/ 19942 w 21835"/>
                    <a:gd name="connsiteY5" fmla="*/ 11783 h 22363"/>
                    <a:gd name="connsiteX6" fmla="*/ 12099 w 21835"/>
                    <a:gd name="connsiteY6" fmla="*/ 20152 h 22363"/>
                    <a:gd name="connsiteX7" fmla="*/ 6995 w 21835"/>
                    <a:gd name="connsiteY7" fmla="*/ 22364 h 22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835" h="22363">
                      <a:moveTo>
                        <a:pt x="6995" y="22364"/>
                      </a:moveTo>
                      <a:cubicBezTo>
                        <a:pt x="5280" y="22364"/>
                        <a:pt x="3561" y="21738"/>
                        <a:pt x="2215" y="20472"/>
                      </a:cubicBezTo>
                      <a:cubicBezTo>
                        <a:pt x="-608" y="17833"/>
                        <a:pt x="-752" y="13406"/>
                        <a:pt x="1894" y="10587"/>
                      </a:cubicBezTo>
                      <a:lnTo>
                        <a:pt x="9737" y="2219"/>
                      </a:lnTo>
                      <a:cubicBezTo>
                        <a:pt x="12375" y="-611"/>
                        <a:pt x="16802" y="-751"/>
                        <a:pt x="19621" y="1898"/>
                      </a:cubicBezTo>
                      <a:cubicBezTo>
                        <a:pt x="22444" y="4537"/>
                        <a:pt x="22588" y="8964"/>
                        <a:pt x="19942" y="11783"/>
                      </a:cubicBezTo>
                      <a:lnTo>
                        <a:pt x="12099" y="20152"/>
                      </a:lnTo>
                      <a:cubicBezTo>
                        <a:pt x="10719" y="21624"/>
                        <a:pt x="8857" y="22364"/>
                        <a:pt x="6995" y="22364"/>
                      </a:cubicBezTo>
                      <a:close/>
                    </a:path>
                  </a:pathLst>
                </a:custGeom>
                <a:grpFill/>
                <a:ln w="368" cap="flat">
                  <a:noFill/>
                  <a:prstDash val="solid"/>
                  <a:miter/>
                </a:ln>
              </p:spPr>
              <p:txBody>
                <a:bodyPr rtlCol="0" anchor="ctr"/>
                <a:lstStyle/>
                <a:p>
                  <a:endParaRPr lang="en-GB" dirty="0"/>
                </a:p>
              </p:txBody>
            </p:sp>
          </p:grpSp>
        </p:grpSp>
        <p:grpSp>
          <p:nvGrpSpPr>
            <p:cNvPr id="157" name="Graphic 4">
              <a:extLst>
                <a:ext uri="{FF2B5EF4-FFF2-40B4-BE49-F238E27FC236}">
                  <a16:creationId xmlns:a16="http://schemas.microsoft.com/office/drawing/2014/main" id="{B1CE3324-074D-4F7E-8B7F-B67610AB7F60}"/>
                </a:ext>
              </a:extLst>
            </p:cNvPr>
            <p:cNvGrpSpPr/>
            <p:nvPr/>
          </p:nvGrpSpPr>
          <p:grpSpPr>
            <a:xfrm>
              <a:off x="1714442" y="2524474"/>
              <a:ext cx="226023" cy="284152"/>
              <a:chOff x="904143" y="2671496"/>
              <a:chExt cx="223060" cy="280428"/>
            </a:xfrm>
            <a:solidFill>
              <a:schemeClr val="accent1"/>
            </a:solidFill>
          </p:grpSpPr>
          <p:sp>
            <p:nvSpPr>
              <p:cNvPr id="158" name="Freihandform: Form 279">
                <a:extLst>
                  <a:ext uri="{FF2B5EF4-FFF2-40B4-BE49-F238E27FC236}">
                    <a16:creationId xmlns:a16="http://schemas.microsoft.com/office/drawing/2014/main" id="{40DE9D1D-D081-4546-9A69-5E69D5BAA1CF}"/>
                  </a:ext>
                </a:extLst>
              </p:cNvPr>
              <p:cNvSpPr/>
              <p:nvPr/>
            </p:nvSpPr>
            <p:spPr>
              <a:xfrm>
                <a:off x="1074498" y="2720166"/>
                <a:ext cx="52353" cy="91233"/>
              </a:xfrm>
              <a:custGeom>
                <a:avLst/>
                <a:gdLst>
                  <a:gd name="connsiteX0" fmla="*/ 45354 w 52353"/>
                  <a:gd name="connsiteY0" fmla="*/ 91227 h 91233"/>
                  <a:gd name="connsiteX1" fmla="*/ 38358 w 52353"/>
                  <a:gd name="connsiteY1" fmla="*/ 84275 h 91233"/>
                  <a:gd name="connsiteX2" fmla="*/ 38005 w 52353"/>
                  <a:gd name="connsiteY2" fmla="*/ 26434 h 91233"/>
                  <a:gd name="connsiteX3" fmla="*/ 25835 w 52353"/>
                  <a:gd name="connsiteY3" fmla="*/ 13988 h 91233"/>
                  <a:gd name="connsiteX4" fmla="*/ 25761 w 52353"/>
                  <a:gd name="connsiteY4" fmla="*/ 13988 h 91233"/>
                  <a:gd name="connsiteX5" fmla="*/ 17536 w 52353"/>
                  <a:gd name="connsiteY5" fmla="*/ 17422 h 91233"/>
                  <a:gd name="connsiteX6" fmla="*/ 13989 w 52353"/>
                  <a:gd name="connsiteY6" fmla="*/ 26114 h 91233"/>
                  <a:gd name="connsiteX7" fmla="*/ 14342 w 52353"/>
                  <a:gd name="connsiteY7" fmla="*/ 83955 h 91233"/>
                  <a:gd name="connsiteX8" fmla="*/ 7390 w 52353"/>
                  <a:gd name="connsiteY8" fmla="*/ 90991 h 91233"/>
                  <a:gd name="connsiteX9" fmla="*/ 7350 w 52353"/>
                  <a:gd name="connsiteY9" fmla="*/ 90991 h 91233"/>
                  <a:gd name="connsiteX10" fmla="*/ 354 w 52353"/>
                  <a:gd name="connsiteY10" fmla="*/ 84039 h 91233"/>
                  <a:gd name="connsiteX11" fmla="*/ 1 w 52353"/>
                  <a:gd name="connsiteY11" fmla="*/ 26203 h 91233"/>
                  <a:gd name="connsiteX12" fmla="*/ 7648 w 52353"/>
                  <a:gd name="connsiteY12" fmla="*/ 7533 h 91233"/>
                  <a:gd name="connsiteX13" fmla="*/ 25927 w 52353"/>
                  <a:gd name="connsiteY13" fmla="*/ 4 h 91233"/>
                  <a:gd name="connsiteX14" fmla="*/ 52001 w 52353"/>
                  <a:gd name="connsiteY14" fmla="*/ 26353 h 91233"/>
                  <a:gd name="connsiteX15" fmla="*/ 52354 w 52353"/>
                  <a:gd name="connsiteY15" fmla="*/ 84197 h 91233"/>
                  <a:gd name="connsiteX16" fmla="*/ 45402 w 52353"/>
                  <a:gd name="connsiteY16" fmla="*/ 91234 h 91233"/>
                  <a:gd name="connsiteX17" fmla="*/ 45354 w 52353"/>
                  <a:gd name="connsiteY17" fmla="*/ 91227 h 91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353" h="91233">
                    <a:moveTo>
                      <a:pt x="45354" y="91227"/>
                    </a:moveTo>
                    <a:cubicBezTo>
                      <a:pt x="41509" y="91227"/>
                      <a:pt x="38384" y="88121"/>
                      <a:pt x="38358" y="84275"/>
                    </a:cubicBezTo>
                    <a:lnTo>
                      <a:pt x="38005" y="26434"/>
                    </a:lnTo>
                    <a:cubicBezTo>
                      <a:pt x="37965" y="19619"/>
                      <a:pt x="32503" y="14032"/>
                      <a:pt x="25835" y="13988"/>
                    </a:cubicBezTo>
                    <a:cubicBezTo>
                      <a:pt x="25809" y="13988"/>
                      <a:pt x="25783" y="13988"/>
                      <a:pt x="25761" y="13988"/>
                    </a:cubicBezTo>
                    <a:cubicBezTo>
                      <a:pt x="22674" y="13988"/>
                      <a:pt x="19755" y="15203"/>
                      <a:pt x="17536" y="17422"/>
                    </a:cubicBezTo>
                    <a:cubicBezTo>
                      <a:pt x="15229" y="19729"/>
                      <a:pt x="13967" y="22817"/>
                      <a:pt x="13989" y="26114"/>
                    </a:cubicBezTo>
                    <a:lnTo>
                      <a:pt x="14342" y="83955"/>
                    </a:lnTo>
                    <a:cubicBezTo>
                      <a:pt x="14364" y="87819"/>
                      <a:pt x="11254" y="90965"/>
                      <a:pt x="7390" y="90991"/>
                    </a:cubicBezTo>
                    <a:cubicBezTo>
                      <a:pt x="7375" y="90991"/>
                      <a:pt x="7364" y="90991"/>
                      <a:pt x="7350" y="90991"/>
                    </a:cubicBezTo>
                    <a:cubicBezTo>
                      <a:pt x="3504" y="90991"/>
                      <a:pt x="380" y="87885"/>
                      <a:pt x="354" y="84039"/>
                    </a:cubicBezTo>
                    <a:lnTo>
                      <a:pt x="1" y="26203"/>
                    </a:lnTo>
                    <a:cubicBezTo>
                      <a:pt x="-44" y="19140"/>
                      <a:pt x="2676" y="12509"/>
                      <a:pt x="7648" y="7533"/>
                    </a:cubicBezTo>
                    <a:cubicBezTo>
                      <a:pt x="12546" y="2632"/>
                      <a:pt x="19038" y="-118"/>
                      <a:pt x="25927" y="4"/>
                    </a:cubicBezTo>
                    <a:cubicBezTo>
                      <a:pt x="40217" y="96"/>
                      <a:pt x="51909" y="11920"/>
                      <a:pt x="52001" y="26353"/>
                    </a:cubicBezTo>
                    <a:lnTo>
                      <a:pt x="52354" y="84197"/>
                    </a:lnTo>
                    <a:cubicBezTo>
                      <a:pt x="52380" y="88062"/>
                      <a:pt x="49266" y="91208"/>
                      <a:pt x="45402" y="91234"/>
                    </a:cubicBezTo>
                    <a:cubicBezTo>
                      <a:pt x="45384" y="91227"/>
                      <a:pt x="45369" y="91227"/>
                      <a:pt x="45354" y="91227"/>
                    </a:cubicBezTo>
                    <a:close/>
                  </a:path>
                </a:pathLst>
              </a:custGeom>
              <a:solidFill>
                <a:schemeClr val="accent1"/>
              </a:solidFill>
              <a:ln w="368" cap="flat">
                <a:noFill/>
                <a:prstDash val="solid"/>
                <a:miter/>
              </a:ln>
            </p:spPr>
            <p:txBody>
              <a:bodyPr rtlCol="0" anchor="ctr"/>
              <a:lstStyle/>
              <a:p>
                <a:endParaRPr lang="en-GB" dirty="0"/>
              </a:p>
            </p:txBody>
          </p:sp>
          <p:sp>
            <p:nvSpPr>
              <p:cNvPr id="159" name="Freihandform: Form 280">
                <a:extLst>
                  <a:ext uri="{FF2B5EF4-FFF2-40B4-BE49-F238E27FC236}">
                    <a16:creationId xmlns:a16="http://schemas.microsoft.com/office/drawing/2014/main" id="{23BE3FA0-C22C-4BD2-8040-7114AFB764D8}"/>
                  </a:ext>
                </a:extLst>
              </p:cNvPr>
              <p:cNvSpPr/>
              <p:nvPr/>
            </p:nvSpPr>
            <p:spPr>
              <a:xfrm>
                <a:off x="1036317" y="2690998"/>
                <a:ext cx="52526" cy="120159"/>
              </a:xfrm>
              <a:custGeom>
                <a:avLst/>
                <a:gdLst>
                  <a:gd name="connsiteX0" fmla="*/ 45527 w 52526"/>
                  <a:gd name="connsiteY0" fmla="*/ 120156 h 120159"/>
                  <a:gd name="connsiteX1" fmla="*/ 38531 w 52526"/>
                  <a:gd name="connsiteY1" fmla="*/ 113204 h 120159"/>
                  <a:gd name="connsiteX2" fmla="*/ 38005 w 52526"/>
                  <a:gd name="connsiteY2" fmla="*/ 26445 h 120159"/>
                  <a:gd name="connsiteX3" fmla="*/ 25835 w 52526"/>
                  <a:gd name="connsiteY3" fmla="*/ 13999 h 120159"/>
                  <a:gd name="connsiteX4" fmla="*/ 17536 w 52526"/>
                  <a:gd name="connsiteY4" fmla="*/ 17433 h 120159"/>
                  <a:gd name="connsiteX5" fmla="*/ 13989 w 52526"/>
                  <a:gd name="connsiteY5" fmla="*/ 26122 h 120159"/>
                  <a:gd name="connsiteX6" fmla="*/ 14515 w 52526"/>
                  <a:gd name="connsiteY6" fmla="*/ 112884 h 120159"/>
                  <a:gd name="connsiteX7" fmla="*/ 7563 w 52526"/>
                  <a:gd name="connsiteY7" fmla="*/ 119920 h 120159"/>
                  <a:gd name="connsiteX8" fmla="*/ 7523 w 52526"/>
                  <a:gd name="connsiteY8" fmla="*/ 119920 h 120159"/>
                  <a:gd name="connsiteX9" fmla="*/ 527 w 52526"/>
                  <a:gd name="connsiteY9" fmla="*/ 112969 h 120159"/>
                  <a:gd name="connsiteX10" fmla="*/ 1 w 52526"/>
                  <a:gd name="connsiteY10" fmla="*/ 26206 h 120159"/>
                  <a:gd name="connsiteX11" fmla="*/ 7648 w 52526"/>
                  <a:gd name="connsiteY11" fmla="*/ 7541 h 120159"/>
                  <a:gd name="connsiteX12" fmla="*/ 25927 w 52526"/>
                  <a:gd name="connsiteY12" fmla="*/ 11 h 120159"/>
                  <a:gd name="connsiteX13" fmla="*/ 52001 w 52526"/>
                  <a:gd name="connsiteY13" fmla="*/ 26361 h 120159"/>
                  <a:gd name="connsiteX14" fmla="*/ 52527 w 52526"/>
                  <a:gd name="connsiteY14" fmla="*/ 113123 h 120159"/>
                  <a:gd name="connsiteX15" fmla="*/ 45575 w 52526"/>
                  <a:gd name="connsiteY15" fmla="*/ 120160 h 120159"/>
                  <a:gd name="connsiteX16" fmla="*/ 45527 w 52526"/>
                  <a:gd name="connsiteY16" fmla="*/ 120156 h 120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526" h="120159">
                    <a:moveTo>
                      <a:pt x="45527" y="120156"/>
                    </a:moveTo>
                    <a:cubicBezTo>
                      <a:pt x="41681" y="120156"/>
                      <a:pt x="38557" y="117050"/>
                      <a:pt x="38531" y="113204"/>
                    </a:cubicBezTo>
                    <a:lnTo>
                      <a:pt x="38005" y="26445"/>
                    </a:lnTo>
                    <a:cubicBezTo>
                      <a:pt x="37965" y="19626"/>
                      <a:pt x="32503" y="14040"/>
                      <a:pt x="25835" y="13999"/>
                    </a:cubicBezTo>
                    <a:cubicBezTo>
                      <a:pt x="22563" y="13764"/>
                      <a:pt x="19766" y="15199"/>
                      <a:pt x="17536" y="17433"/>
                    </a:cubicBezTo>
                    <a:cubicBezTo>
                      <a:pt x="15229" y="19740"/>
                      <a:pt x="13967" y="22828"/>
                      <a:pt x="13989" y="26122"/>
                    </a:cubicBezTo>
                    <a:lnTo>
                      <a:pt x="14515" y="112884"/>
                    </a:lnTo>
                    <a:cubicBezTo>
                      <a:pt x="14541" y="116748"/>
                      <a:pt x="11424" y="119895"/>
                      <a:pt x="7563" y="119920"/>
                    </a:cubicBezTo>
                    <a:cubicBezTo>
                      <a:pt x="7548" y="119920"/>
                      <a:pt x="7537" y="119920"/>
                      <a:pt x="7523" y="119920"/>
                    </a:cubicBezTo>
                    <a:cubicBezTo>
                      <a:pt x="3677" y="119920"/>
                      <a:pt x="553" y="116814"/>
                      <a:pt x="527" y="112969"/>
                    </a:cubicBezTo>
                    <a:lnTo>
                      <a:pt x="1" y="26206"/>
                    </a:lnTo>
                    <a:cubicBezTo>
                      <a:pt x="-44" y="19144"/>
                      <a:pt x="2672" y="12516"/>
                      <a:pt x="7648" y="7541"/>
                    </a:cubicBezTo>
                    <a:cubicBezTo>
                      <a:pt x="12546" y="2639"/>
                      <a:pt x="18942" y="-202"/>
                      <a:pt x="25927" y="11"/>
                    </a:cubicBezTo>
                    <a:cubicBezTo>
                      <a:pt x="40213" y="100"/>
                      <a:pt x="51909" y="11920"/>
                      <a:pt x="52001" y="26361"/>
                    </a:cubicBezTo>
                    <a:lnTo>
                      <a:pt x="52527" y="113123"/>
                    </a:lnTo>
                    <a:cubicBezTo>
                      <a:pt x="52549" y="116987"/>
                      <a:pt x="49435" y="120134"/>
                      <a:pt x="45575" y="120160"/>
                    </a:cubicBezTo>
                    <a:cubicBezTo>
                      <a:pt x="45557" y="120156"/>
                      <a:pt x="45542" y="120156"/>
                      <a:pt x="45527" y="120156"/>
                    </a:cubicBezTo>
                    <a:close/>
                  </a:path>
                </a:pathLst>
              </a:custGeom>
              <a:solidFill>
                <a:schemeClr val="accent1"/>
              </a:solidFill>
              <a:ln w="368" cap="flat">
                <a:noFill/>
                <a:prstDash val="solid"/>
                <a:miter/>
              </a:ln>
            </p:spPr>
            <p:txBody>
              <a:bodyPr rtlCol="0" anchor="ctr"/>
              <a:lstStyle/>
              <a:p>
                <a:endParaRPr lang="en-GB" dirty="0"/>
              </a:p>
            </p:txBody>
          </p:sp>
          <p:sp>
            <p:nvSpPr>
              <p:cNvPr id="160" name="Freihandform: Form 281">
                <a:extLst>
                  <a:ext uri="{FF2B5EF4-FFF2-40B4-BE49-F238E27FC236}">
                    <a16:creationId xmlns:a16="http://schemas.microsoft.com/office/drawing/2014/main" id="{CBBB8EE7-F3F3-4867-97D2-9B6224D38506}"/>
                  </a:ext>
                </a:extLst>
              </p:cNvPr>
              <p:cNvSpPr/>
              <p:nvPr/>
            </p:nvSpPr>
            <p:spPr>
              <a:xfrm>
                <a:off x="998191" y="2671496"/>
                <a:ext cx="52644" cy="139429"/>
              </a:xfrm>
              <a:custGeom>
                <a:avLst/>
                <a:gdLst>
                  <a:gd name="connsiteX0" fmla="*/ 45645 w 52644"/>
                  <a:gd name="connsiteY0" fmla="*/ 139422 h 139429"/>
                  <a:gd name="connsiteX1" fmla="*/ 38649 w 52644"/>
                  <a:gd name="connsiteY1" fmla="*/ 132470 h 139429"/>
                  <a:gd name="connsiteX2" fmla="*/ 38005 w 52644"/>
                  <a:gd name="connsiteY2" fmla="*/ 26431 h 139429"/>
                  <a:gd name="connsiteX3" fmla="*/ 25835 w 52644"/>
                  <a:gd name="connsiteY3" fmla="*/ 13985 h 139429"/>
                  <a:gd name="connsiteX4" fmla="*/ 17536 w 52644"/>
                  <a:gd name="connsiteY4" fmla="*/ 17419 h 139429"/>
                  <a:gd name="connsiteX5" fmla="*/ 13989 w 52644"/>
                  <a:gd name="connsiteY5" fmla="*/ 26111 h 139429"/>
                  <a:gd name="connsiteX6" fmla="*/ 14633 w 52644"/>
                  <a:gd name="connsiteY6" fmla="*/ 132150 h 139429"/>
                  <a:gd name="connsiteX7" fmla="*/ 7681 w 52644"/>
                  <a:gd name="connsiteY7" fmla="*/ 139186 h 139429"/>
                  <a:gd name="connsiteX8" fmla="*/ 645 w 52644"/>
                  <a:gd name="connsiteY8" fmla="*/ 132234 h 139429"/>
                  <a:gd name="connsiteX9" fmla="*/ 1 w 52644"/>
                  <a:gd name="connsiteY9" fmla="*/ 26199 h 139429"/>
                  <a:gd name="connsiteX10" fmla="*/ 7648 w 52644"/>
                  <a:gd name="connsiteY10" fmla="*/ 7530 h 139429"/>
                  <a:gd name="connsiteX11" fmla="*/ 25927 w 52644"/>
                  <a:gd name="connsiteY11" fmla="*/ 1 h 139429"/>
                  <a:gd name="connsiteX12" fmla="*/ 52001 w 52644"/>
                  <a:gd name="connsiteY12" fmla="*/ 26350 h 139429"/>
                  <a:gd name="connsiteX13" fmla="*/ 52645 w 52644"/>
                  <a:gd name="connsiteY13" fmla="*/ 132393 h 139429"/>
                  <a:gd name="connsiteX14" fmla="*/ 45693 w 52644"/>
                  <a:gd name="connsiteY14" fmla="*/ 139429 h 139429"/>
                  <a:gd name="connsiteX15" fmla="*/ 45645 w 52644"/>
                  <a:gd name="connsiteY15" fmla="*/ 139422 h 139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644" h="139429">
                    <a:moveTo>
                      <a:pt x="45645" y="139422"/>
                    </a:moveTo>
                    <a:cubicBezTo>
                      <a:pt x="41799" y="139422"/>
                      <a:pt x="38675" y="136316"/>
                      <a:pt x="38649" y="132470"/>
                    </a:cubicBezTo>
                    <a:lnTo>
                      <a:pt x="38005" y="26431"/>
                    </a:lnTo>
                    <a:cubicBezTo>
                      <a:pt x="37965" y="19612"/>
                      <a:pt x="32503" y="14026"/>
                      <a:pt x="25835" y="13985"/>
                    </a:cubicBezTo>
                    <a:cubicBezTo>
                      <a:pt x="22497" y="13794"/>
                      <a:pt x="19766" y="15185"/>
                      <a:pt x="17536" y="17419"/>
                    </a:cubicBezTo>
                    <a:cubicBezTo>
                      <a:pt x="15229" y="19726"/>
                      <a:pt x="13967" y="22814"/>
                      <a:pt x="13989" y="26111"/>
                    </a:cubicBezTo>
                    <a:lnTo>
                      <a:pt x="14633" y="132150"/>
                    </a:lnTo>
                    <a:cubicBezTo>
                      <a:pt x="14658" y="136014"/>
                      <a:pt x="11545" y="139160"/>
                      <a:pt x="7681" y="139186"/>
                    </a:cubicBezTo>
                    <a:cubicBezTo>
                      <a:pt x="3820" y="139190"/>
                      <a:pt x="667" y="136091"/>
                      <a:pt x="645" y="132234"/>
                    </a:cubicBezTo>
                    <a:lnTo>
                      <a:pt x="1" y="26199"/>
                    </a:lnTo>
                    <a:cubicBezTo>
                      <a:pt x="-44" y="19137"/>
                      <a:pt x="2676" y="12506"/>
                      <a:pt x="7648" y="7530"/>
                    </a:cubicBezTo>
                    <a:cubicBezTo>
                      <a:pt x="12546" y="2628"/>
                      <a:pt x="18787" y="-47"/>
                      <a:pt x="25927" y="1"/>
                    </a:cubicBezTo>
                    <a:cubicBezTo>
                      <a:pt x="40213" y="89"/>
                      <a:pt x="51909" y="11910"/>
                      <a:pt x="52001" y="26350"/>
                    </a:cubicBezTo>
                    <a:lnTo>
                      <a:pt x="52645" y="132393"/>
                    </a:lnTo>
                    <a:cubicBezTo>
                      <a:pt x="52670" y="136257"/>
                      <a:pt x="49557" y="139403"/>
                      <a:pt x="45693" y="139429"/>
                    </a:cubicBezTo>
                    <a:cubicBezTo>
                      <a:pt x="45674" y="139422"/>
                      <a:pt x="45660" y="139422"/>
                      <a:pt x="45645" y="139422"/>
                    </a:cubicBezTo>
                    <a:close/>
                  </a:path>
                </a:pathLst>
              </a:custGeom>
              <a:solidFill>
                <a:schemeClr val="accent1"/>
              </a:solidFill>
              <a:ln w="368" cap="flat">
                <a:noFill/>
                <a:prstDash val="solid"/>
                <a:miter/>
              </a:ln>
            </p:spPr>
            <p:txBody>
              <a:bodyPr rtlCol="0" anchor="ctr"/>
              <a:lstStyle/>
              <a:p>
                <a:endParaRPr lang="en-GB" dirty="0"/>
              </a:p>
            </p:txBody>
          </p:sp>
          <p:sp>
            <p:nvSpPr>
              <p:cNvPr id="161" name="Freihandform: Form 282">
                <a:extLst>
                  <a:ext uri="{FF2B5EF4-FFF2-40B4-BE49-F238E27FC236}">
                    <a16:creationId xmlns:a16="http://schemas.microsoft.com/office/drawing/2014/main" id="{F4DE5974-9574-4E03-9164-6D84DDC3C1BB}"/>
                  </a:ext>
                </a:extLst>
              </p:cNvPr>
              <p:cNvSpPr/>
              <p:nvPr/>
            </p:nvSpPr>
            <p:spPr>
              <a:xfrm>
                <a:off x="1090109" y="2758844"/>
                <a:ext cx="37094" cy="193080"/>
              </a:xfrm>
              <a:custGeom>
                <a:avLst/>
                <a:gdLst>
                  <a:gd name="connsiteX0" fmla="*/ 7000 w 37094"/>
                  <a:gd name="connsiteY0" fmla="*/ 193081 h 193080"/>
                  <a:gd name="connsiteX1" fmla="*/ 6897 w 37094"/>
                  <a:gd name="connsiteY1" fmla="*/ 193081 h 193080"/>
                  <a:gd name="connsiteX2" fmla="*/ 1 w 37094"/>
                  <a:gd name="connsiteY2" fmla="*/ 185986 h 193080"/>
                  <a:gd name="connsiteX3" fmla="*/ 398 w 37094"/>
                  <a:gd name="connsiteY3" fmla="*/ 158105 h 193080"/>
                  <a:gd name="connsiteX4" fmla="*/ 2488 w 37094"/>
                  <a:gd name="connsiteY4" fmla="*/ 153218 h 193080"/>
                  <a:gd name="connsiteX5" fmla="*/ 23104 w 37094"/>
                  <a:gd name="connsiteY5" fmla="*/ 103437 h 193080"/>
                  <a:gd name="connsiteX6" fmla="*/ 22519 w 37094"/>
                  <a:gd name="connsiteY6" fmla="*/ 7036 h 193080"/>
                  <a:gd name="connsiteX7" fmla="*/ 29471 w 37094"/>
                  <a:gd name="connsiteY7" fmla="*/ 0 h 193080"/>
                  <a:gd name="connsiteX8" fmla="*/ 29512 w 37094"/>
                  <a:gd name="connsiteY8" fmla="*/ 0 h 193080"/>
                  <a:gd name="connsiteX9" fmla="*/ 36507 w 37094"/>
                  <a:gd name="connsiteY9" fmla="*/ 6952 h 193080"/>
                  <a:gd name="connsiteX10" fmla="*/ 37093 w 37094"/>
                  <a:gd name="connsiteY10" fmla="*/ 103349 h 193080"/>
                  <a:gd name="connsiteX11" fmla="*/ 14346 w 37094"/>
                  <a:gd name="connsiteY11" fmla="*/ 161101 h 193080"/>
                  <a:gd name="connsiteX12" fmla="*/ 13989 w 37094"/>
                  <a:gd name="connsiteY12" fmla="*/ 186180 h 193080"/>
                  <a:gd name="connsiteX13" fmla="*/ 7000 w 37094"/>
                  <a:gd name="connsiteY13" fmla="*/ 193081 h 193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094" h="193080">
                    <a:moveTo>
                      <a:pt x="7000" y="193081"/>
                    </a:moveTo>
                    <a:cubicBezTo>
                      <a:pt x="6967" y="193081"/>
                      <a:pt x="6930" y="193081"/>
                      <a:pt x="6897" y="193081"/>
                    </a:cubicBezTo>
                    <a:cubicBezTo>
                      <a:pt x="3033" y="193026"/>
                      <a:pt x="-54" y="189850"/>
                      <a:pt x="1" y="185986"/>
                    </a:cubicBezTo>
                    <a:lnTo>
                      <a:pt x="398" y="158105"/>
                    </a:lnTo>
                    <a:cubicBezTo>
                      <a:pt x="424" y="156265"/>
                      <a:pt x="1178" y="154510"/>
                      <a:pt x="2488" y="153218"/>
                    </a:cubicBezTo>
                    <a:cubicBezTo>
                      <a:pt x="15899" y="140032"/>
                      <a:pt x="23219" y="122349"/>
                      <a:pt x="23104" y="103437"/>
                    </a:cubicBezTo>
                    <a:lnTo>
                      <a:pt x="22519" y="7036"/>
                    </a:lnTo>
                    <a:cubicBezTo>
                      <a:pt x="22494" y="3172"/>
                      <a:pt x="25611" y="26"/>
                      <a:pt x="29471" y="0"/>
                    </a:cubicBezTo>
                    <a:cubicBezTo>
                      <a:pt x="29486" y="0"/>
                      <a:pt x="29497" y="0"/>
                      <a:pt x="29512" y="0"/>
                    </a:cubicBezTo>
                    <a:cubicBezTo>
                      <a:pt x="33357" y="0"/>
                      <a:pt x="36482" y="3106"/>
                      <a:pt x="36507" y="6952"/>
                    </a:cubicBezTo>
                    <a:lnTo>
                      <a:pt x="37093" y="103349"/>
                    </a:lnTo>
                    <a:cubicBezTo>
                      <a:pt x="37225" y="125094"/>
                      <a:pt x="29173" y="145490"/>
                      <a:pt x="14346" y="161101"/>
                    </a:cubicBezTo>
                    <a:lnTo>
                      <a:pt x="13989" y="186180"/>
                    </a:lnTo>
                    <a:cubicBezTo>
                      <a:pt x="13934" y="190015"/>
                      <a:pt x="10813" y="193081"/>
                      <a:pt x="7000" y="193081"/>
                    </a:cubicBezTo>
                    <a:close/>
                  </a:path>
                </a:pathLst>
              </a:custGeom>
              <a:solidFill>
                <a:schemeClr val="accent1"/>
              </a:solidFill>
              <a:ln w="368" cap="flat">
                <a:noFill/>
                <a:prstDash val="solid"/>
                <a:miter/>
              </a:ln>
            </p:spPr>
            <p:txBody>
              <a:bodyPr rtlCol="0" anchor="ctr"/>
              <a:lstStyle/>
              <a:p>
                <a:endParaRPr lang="en-GB" dirty="0"/>
              </a:p>
            </p:txBody>
          </p:sp>
          <p:sp>
            <p:nvSpPr>
              <p:cNvPr id="162" name="Freihandform: Form 283">
                <a:extLst>
                  <a:ext uri="{FF2B5EF4-FFF2-40B4-BE49-F238E27FC236}">
                    <a16:creationId xmlns:a16="http://schemas.microsoft.com/office/drawing/2014/main" id="{8D37ADFD-93DA-45BA-8DD4-A4896F82FE18}"/>
                  </a:ext>
                </a:extLst>
              </p:cNvPr>
              <p:cNvSpPr/>
              <p:nvPr/>
            </p:nvSpPr>
            <p:spPr>
              <a:xfrm>
                <a:off x="904143" y="2690523"/>
                <a:ext cx="108688" cy="261401"/>
              </a:xfrm>
              <a:custGeom>
                <a:avLst/>
                <a:gdLst>
                  <a:gd name="connsiteX0" fmla="*/ 94557 w 108688"/>
                  <a:gd name="connsiteY0" fmla="*/ 261402 h 261401"/>
                  <a:gd name="connsiteX1" fmla="*/ 94406 w 108688"/>
                  <a:gd name="connsiteY1" fmla="*/ 261402 h 261401"/>
                  <a:gd name="connsiteX2" fmla="*/ 87558 w 108688"/>
                  <a:gd name="connsiteY2" fmla="*/ 254259 h 261401"/>
                  <a:gd name="connsiteX3" fmla="*/ 87903 w 108688"/>
                  <a:gd name="connsiteY3" fmla="*/ 237923 h 261401"/>
                  <a:gd name="connsiteX4" fmla="*/ 65282 w 108688"/>
                  <a:gd name="connsiteY4" fmla="*/ 215227 h 261401"/>
                  <a:gd name="connsiteX5" fmla="*/ 5325 w 108688"/>
                  <a:gd name="connsiteY5" fmla="*/ 138188 h 261401"/>
                  <a:gd name="connsiteX6" fmla="*/ 9293 w 108688"/>
                  <a:gd name="connsiteY6" fmla="*/ 103175 h 261401"/>
                  <a:gd name="connsiteX7" fmla="*/ 11276 w 108688"/>
                  <a:gd name="connsiteY7" fmla="*/ 101593 h 261401"/>
                  <a:gd name="connsiteX8" fmla="*/ 29375 w 108688"/>
                  <a:gd name="connsiteY8" fmla="*/ 96474 h 261401"/>
                  <a:gd name="connsiteX9" fmla="*/ 46079 w 108688"/>
                  <a:gd name="connsiteY9" fmla="*/ 105928 h 261401"/>
                  <a:gd name="connsiteX10" fmla="*/ 56729 w 108688"/>
                  <a:gd name="connsiteY10" fmla="*/ 119607 h 261401"/>
                  <a:gd name="connsiteX11" fmla="*/ 56162 w 108688"/>
                  <a:gd name="connsiteY11" fmla="*/ 26202 h 261401"/>
                  <a:gd name="connsiteX12" fmla="*/ 63806 w 108688"/>
                  <a:gd name="connsiteY12" fmla="*/ 7537 h 261401"/>
                  <a:gd name="connsiteX13" fmla="*/ 82089 w 108688"/>
                  <a:gd name="connsiteY13" fmla="*/ 7 h 261401"/>
                  <a:gd name="connsiteX14" fmla="*/ 108162 w 108688"/>
                  <a:gd name="connsiteY14" fmla="*/ 26357 h 261401"/>
                  <a:gd name="connsiteX15" fmla="*/ 108689 w 108688"/>
                  <a:gd name="connsiteY15" fmla="*/ 92120 h 261401"/>
                  <a:gd name="connsiteX16" fmla="*/ 101748 w 108688"/>
                  <a:gd name="connsiteY16" fmla="*/ 99168 h 261401"/>
                  <a:gd name="connsiteX17" fmla="*/ 94701 w 108688"/>
                  <a:gd name="connsiteY17" fmla="*/ 92227 h 261401"/>
                  <a:gd name="connsiteX18" fmla="*/ 94174 w 108688"/>
                  <a:gd name="connsiteY18" fmla="*/ 26453 h 261401"/>
                  <a:gd name="connsiteX19" fmla="*/ 82004 w 108688"/>
                  <a:gd name="connsiteY19" fmla="*/ 13995 h 261401"/>
                  <a:gd name="connsiteX20" fmla="*/ 81934 w 108688"/>
                  <a:gd name="connsiteY20" fmla="*/ 13995 h 261401"/>
                  <a:gd name="connsiteX21" fmla="*/ 73702 w 108688"/>
                  <a:gd name="connsiteY21" fmla="*/ 17429 h 261401"/>
                  <a:gd name="connsiteX22" fmla="*/ 70158 w 108688"/>
                  <a:gd name="connsiteY22" fmla="*/ 26118 h 261401"/>
                  <a:gd name="connsiteX23" fmla="*/ 70846 w 108688"/>
                  <a:gd name="connsiteY23" fmla="*/ 140098 h 261401"/>
                  <a:gd name="connsiteX24" fmla="*/ 66143 w 108688"/>
                  <a:gd name="connsiteY24" fmla="*/ 146748 h 261401"/>
                  <a:gd name="connsiteX25" fmla="*/ 58334 w 108688"/>
                  <a:gd name="connsiteY25" fmla="*/ 144437 h 261401"/>
                  <a:gd name="connsiteX26" fmla="*/ 35050 w 108688"/>
                  <a:gd name="connsiteY26" fmla="*/ 114521 h 261401"/>
                  <a:gd name="connsiteX27" fmla="*/ 27726 w 108688"/>
                  <a:gd name="connsiteY27" fmla="*/ 110366 h 261401"/>
                  <a:gd name="connsiteX28" fmla="*/ 20005 w 108688"/>
                  <a:gd name="connsiteY28" fmla="*/ 112534 h 261401"/>
                  <a:gd name="connsiteX29" fmla="*/ 18022 w 108688"/>
                  <a:gd name="connsiteY29" fmla="*/ 114116 h 261401"/>
                  <a:gd name="connsiteX30" fmla="*/ 16373 w 108688"/>
                  <a:gd name="connsiteY30" fmla="*/ 129599 h 261401"/>
                  <a:gd name="connsiteX31" fmla="*/ 76539 w 108688"/>
                  <a:gd name="connsiteY31" fmla="*/ 206918 h 261401"/>
                  <a:gd name="connsiteX32" fmla="*/ 98896 w 108688"/>
                  <a:gd name="connsiteY32" fmla="*/ 228553 h 261401"/>
                  <a:gd name="connsiteX33" fmla="*/ 101980 w 108688"/>
                  <a:gd name="connsiteY33" fmla="*/ 234500 h 261401"/>
                  <a:gd name="connsiteX34" fmla="*/ 101560 w 108688"/>
                  <a:gd name="connsiteY34" fmla="*/ 254557 h 261401"/>
                  <a:gd name="connsiteX35" fmla="*/ 94557 w 108688"/>
                  <a:gd name="connsiteY35" fmla="*/ 261402 h 261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8688" h="261401">
                    <a:moveTo>
                      <a:pt x="94557" y="261402"/>
                    </a:moveTo>
                    <a:cubicBezTo>
                      <a:pt x="94506" y="261402"/>
                      <a:pt x="94458" y="261402"/>
                      <a:pt x="94406" y="261402"/>
                    </a:cubicBezTo>
                    <a:cubicBezTo>
                      <a:pt x="90542" y="261321"/>
                      <a:pt x="87480" y="258123"/>
                      <a:pt x="87558" y="254259"/>
                    </a:cubicBezTo>
                    <a:lnTo>
                      <a:pt x="87903" y="237923"/>
                    </a:lnTo>
                    <a:cubicBezTo>
                      <a:pt x="79435" y="231722"/>
                      <a:pt x="71840" y="224100"/>
                      <a:pt x="65282" y="215227"/>
                    </a:cubicBezTo>
                    <a:lnTo>
                      <a:pt x="5325" y="138188"/>
                    </a:lnTo>
                    <a:cubicBezTo>
                      <a:pt x="-3109" y="127347"/>
                      <a:pt x="-1332" y="111640"/>
                      <a:pt x="9293" y="103175"/>
                    </a:cubicBezTo>
                    <a:lnTo>
                      <a:pt x="11276" y="101593"/>
                    </a:lnTo>
                    <a:cubicBezTo>
                      <a:pt x="16403" y="97512"/>
                      <a:pt x="22799" y="95679"/>
                      <a:pt x="29375" y="96474"/>
                    </a:cubicBezTo>
                    <a:cubicBezTo>
                      <a:pt x="36021" y="97265"/>
                      <a:pt x="41954" y="100625"/>
                      <a:pt x="46079" y="105928"/>
                    </a:cubicBezTo>
                    <a:lnTo>
                      <a:pt x="56729" y="119607"/>
                    </a:lnTo>
                    <a:lnTo>
                      <a:pt x="56162" y="26202"/>
                    </a:lnTo>
                    <a:cubicBezTo>
                      <a:pt x="56118" y="19140"/>
                      <a:pt x="58834" y="12512"/>
                      <a:pt x="63806" y="7537"/>
                    </a:cubicBezTo>
                    <a:cubicBezTo>
                      <a:pt x="68704" y="2635"/>
                      <a:pt x="74990" y="-162"/>
                      <a:pt x="82089" y="7"/>
                    </a:cubicBezTo>
                    <a:cubicBezTo>
                      <a:pt x="96375" y="96"/>
                      <a:pt x="108070" y="11916"/>
                      <a:pt x="108162" y="26357"/>
                    </a:cubicBezTo>
                    <a:lnTo>
                      <a:pt x="108689" y="92120"/>
                    </a:lnTo>
                    <a:cubicBezTo>
                      <a:pt x="108718" y="95985"/>
                      <a:pt x="105612" y="99138"/>
                      <a:pt x="101748" y="99168"/>
                    </a:cubicBezTo>
                    <a:cubicBezTo>
                      <a:pt x="97726" y="98918"/>
                      <a:pt x="94730" y="96091"/>
                      <a:pt x="94701" y="92227"/>
                    </a:cubicBezTo>
                    <a:lnTo>
                      <a:pt x="94174" y="26453"/>
                    </a:lnTo>
                    <a:cubicBezTo>
                      <a:pt x="94134" y="19619"/>
                      <a:pt x="88673" y="14036"/>
                      <a:pt x="82004" y="13995"/>
                    </a:cubicBezTo>
                    <a:cubicBezTo>
                      <a:pt x="81982" y="13995"/>
                      <a:pt x="81956" y="13995"/>
                      <a:pt x="81934" y="13995"/>
                    </a:cubicBezTo>
                    <a:cubicBezTo>
                      <a:pt x="78839" y="13995"/>
                      <a:pt x="75921" y="15210"/>
                      <a:pt x="73702" y="17429"/>
                    </a:cubicBezTo>
                    <a:cubicBezTo>
                      <a:pt x="71398" y="19736"/>
                      <a:pt x="70136" y="22820"/>
                      <a:pt x="70158" y="26118"/>
                    </a:cubicBezTo>
                    <a:lnTo>
                      <a:pt x="70846" y="140098"/>
                    </a:lnTo>
                    <a:cubicBezTo>
                      <a:pt x="70865" y="143094"/>
                      <a:pt x="68973" y="145769"/>
                      <a:pt x="66143" y="146748"/>
                    </a:cubicBezTo>
                    <a:cubicBezTo>
                      <a:pt x="63320" y="147723"/>
                      <a:pt x="60174" y="146800"/>
                      <a:pt x="58334" y="144437"/>
                    </a:cubicBezTo>
                    <a:lnTo>
                      <a:pt x="35050" y="114521"/>
                    </a:lnTo>
                    <a:cubicBezTo>
                      <a:pt x="33232" y="112184"/>
                      <a:pt x="30634" y="110709"/>
                      <a:pt x="27726" y="110366"/>
                    </a:cubicBezTo>
                    <a:cubicBezTo>
                      <a:pt x="24948" y="110035"/>
                      <a:pt x="22184" y="110804"/>
                      <a:pt x="20005" y="112534"/>
                    </a:cubicBezTo>
                    <a:lnTo>
                      <a:pt x="18022" y="114116"/>
                    </a:lnTo>
                    <a:cubicBezTo>
                      <a:pt x="13359" y="117833"/>
                      <a:pt x="12623" y="124774"/>
                      <a:pt x="16373" y="129599"/>
                    </a:cubicBezTo>
                    <a:lnTo>
                      <a:pt x="76539" y="206918"/>
                    </a:lnTo>
                    <a:cubicBezTo>
                      <a:pt x="82957" y="215596"/>
                      <a:pt x="90476" y="222878"/>
                      <a:pt x="98896" y="228553"/>
                    </a:cubicBezTo>
                    <a:cubicBezTo>
                      <a:pt x="100865" y="229882"/>
                      <a:pt x="102028" y="232123"/>
                      <a:pt x="101980" y="234500"/>
                    </a:cubicBezTo>
                    <a:lnTo>
                      <a:pt x="101560" y="254557"/>
                    </a:lnTo>
                    <a:cubicBezTo>
                      <a:pt x="101465" y="258366"/>
                      <a:pt x="98351" y="261402"/>
                      <a:pt x="94557" y="261402"/>
                    </a:cubicBezTo>
                    <a:close/>
                  </a:path>
                </a:pathLst>
              </a:custGeom>
              <a:solidFill>
                <a:schemeClr val="accent1"/>
              </a:solidFill>
              <a:ln w="368" cap="flat">
                <a:noFill/>
                <a:prstDash val="solid"/>
                <a:miter/>
              </a:ln>
            </p:spPr>
            <p:txBody>
              <a:bodyPr rtlCol="0" anchor="ctr"/>
              <a:lstStyle/>
              <a:p>
                <a:endParaRPr lang="en-GB" dirty="0"/>
              </a:p>
            </p:txBody>
          </p:sp>
        </p:grpSp>
      </p:grpSp>
      <p:grpSp>
        <p:nvGrpSpPr>
          <p:cNvPr id="41" name="Group 40">
            <a:extLst>
              <a:ext uri="{FF2B5EF4-FFF2-40B4-BE49-F238E27FC236}">
                <a16:creationId xmlns:a16="http://schemas.microsoft.com/office/drawing/2014/main" id="{F791FDED-968E-3271-B28A-A2894A9D9E10}"/>
              </a:ext>
            </a:extLst>
          </p:cNvPr>
          <p:cNvGrpSpPr/>
          <p:nvPr/>
        </p:nvGrpSpPr>
        <p:grpSpPr>
          <a:xfrm>
            <a:off x="2622776" y="2408904"/>
            <a:ext cx="524284" cy="397240"/>
            <a:chOff x="2622776" y="2408904"/>
            <a:chExt cx="524284" cy="397240"/>
          </a:xfrm>
        </p:grpSpPr>
        <p:grpSp>
          <p:nvGrpSpPr>
            <p:cNvPr id="176" name="Graphic 4">
              <a:extLst>
                <a:ext uri="{FF2B5EF4-FFF2-40B4-BE49-F238E27FC236}">
                  <a16:creationId xmlns:a16="http://schemas.microsoft.com/office/drawing/2014/main" id="{2BB99584-7CBB-4C65-A443-BDCDCE5F4BCA}"/>
                </a:ext>
              </a:extLst>
            </p:cNvPr>
            <p:cNvGrpSpPr/>
            <p:nvPr/>
          </p:nvGrpSpPr>
          <p:grpSpPr>
            <a:xfrm>
              <a:off x="2874815" y="2408904"/>
              <a:ext cx="272245" cy="397240"/>
              <a:chOff x="2794178" y="2582597"/>
              <a:chExt cx="270153" cy="394187"/>
            </a:xfrm>
            <a:solidFill>
              <a:schemeClr val="tx2"/>
            </a:solidFill>
          </p:grpSpPr>
          <p:grpSp>
            <p:nvGrpSpPr>
              <p:cNvPr id="201" name="Graphic 4">
                <a:extLst>
                  <a:ext uri="{FF2B5EF4-FFF2-40B4-BE49-F238E27FC236}">
                    <a16:creationId xmlns:a16="http://schemas.microsoft.com/office/drawing/2014/main" id="{078585A8-F5FA-451E-90B7-37177270CDB7}"/>
                  </a:ext>
                </a:extLst>
              </p:cNvPr>
              <p:cNvGrpSpPr/>
              <p:nvPr/>
            </p:nvGrpSpPr>
            <p:grpSpPr>
              <a:xfrm>
                <a:off x="2794178" y="2582597"/>
                <a:ext cx="270153" cy="394187"/>
                <a:chOff x="2794178" y="2582597"/>
                <a:chExt cx="270153" cy="394187"/>
              </a:xfrm>
              <a:grpFill/>
            </p:grpSpPr>
            <p:sp>
              <p:nvSpPr>
                <p:cNvPr id="203" name="Freihandform: Form 137">
                  <a:extLst>
                    <a:ext uri="{FF2B5EF4-FFF2-40B4-BE49-F238E27FC236}">
                      <a16:creationId xmlns:a16="http://schemas.microsoft.com/office/drawing/2014/main" id="{4C4478B3-B98D-4A91-9014-7309040F6074}"/>
                    </a:ext>
                  </a:extLst>
                </p:cNvPr>
                <p:cNvSpPr/>
                <p:nvPr/>
              </p:nvSpPr>
              <p:spPr>
                <a:xfrm>
                  <a:off x="2794178" y="2693491"/>
                  <a:ext cx="89052" cy="100244"/>
                </a:xfrm>
                <a:custGeom>
                  <a:avLst/>
                  <a:gdLst>
                    <a:gd name="connsiteX0" fmla="*/ 6989 w 89052"/>
                    <a:gd name="connsiteY0" fmla="*/ 100245 h 100244"/>
                    <a:gd name="connsiteX1" fmla="*/ 3732 w 89052"/>
                    <a:gd name="connsiteY1" fmla="*/ 99435 h 100244"/>
                    <a:gd name="connsiteX2" fmla="*/ 810 w 89052"/>
                    <a:gd name="connsiteY2" fmla="*/ 89984 h 100244"/>
                    <a:gd name="connsiteX3" fmla="*/ 79825 w 89052"/>
                    <a:gd name="connsiteY3" fmla="*/ 366 h 100244"/>
                    <a:gd name="connsiteX4" fmla="*/ 88683 w 89052"/>
                    <a:gd name="connsiteY4" fmla="*/ 4757 h 100244"/>
                    <a:gd name="connsiteX5" fmla="*/ 84293 w 89052"/>
                    <a:gd name="connsiteY5" fmla="*/ 13622 h 100244"/>
                    <a:gd name="connsiteX6" fmla="*/ 13186 w 89052"/>
                    <a:gd name="connsiteY6" fmla="*/ 96513 h 100244"/>
                    <a:gd name="connsiteX7" fmla="*/ 6989 w 89052"/>
                    <a:gd name="connsiteY7" fmla="*/ 100245 h 100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9052" h="100244">
                      <a:moveTo>
                        <a:pt x="6989" y="100245"/>
                      </a:moveTo>
                      <a:cubicBezTo>
                        <a:pt x="5888" y="100245"/>
                        <a:pt x="4769" y="99983"/>
                        <a:pt x="3732" y="99435"/>
                      </a:cubicBezTo>
                      <a:cubicBezTo>
                        <a:pt x="317" y="97632"/>
                        <a:pt x="-994" y="93399"/>
                        <a:pt x="810" y="89984"/>
                      </a:cubicBezTo>
                      <a:cubicBezTo>
                        <a:pt x="25982" y="42316"/>
                        <a:pt x="68042" y="4341"/>
                        <a:pt x="79825" y="366"/>
                      </a:cubicBezTo>
                      <a:cubicBezTo>
                        <a:pt x="83495" y="-863"/>
                        <a:pt x="87447" y="1102"/>
                        <a:pt x="88683" y="4757"/>
                      </a:cubicBezTo>
                      <a:cubicBezTo>
                        <a:pt x="89920" y="8418"/>
                        <a:pt x="87951" y="12386"/>
                        <a:pt x="84293" y="13622"/>
                      </a:cubicBezTo>
                      <a:cubicBezTo>
                        <a:pt x="77912" y="15819"/>
                        <a:pt x="38317" y="48914"/>
                        <a:pt x="13186" y="96513"/>
                      </a:cubicBezTo>
                      <a:cubicBezTo>
                        <a:pt x="11927" y="98887"/>
                        <a:pt x="9502" y="100245"/>
                        <a:pt x="6989" y="100245"/>
                      </a:cubicBezTo>
                      <a:close/>
                    </a:path>
                  </a:pathLst>
                </a:custGeom>
                <a:grpFill/>
                <a:ln w="368" cap="flat">
                  <a:noFill/>
                  <a:prstDash val="solid"/>
                  <a:miter/>
                </a:ln>
              </p:spPr>
              <p:txBody>
                <a:bodyPr rtlCol="0" anchor="ctr"/>
                <a:lstStyle/>
                <a:p>
                  <a:endParaRPr lang="en-GB" dirty="0"/>
                </a:p>
              </p:txBody>
            </p:sp>
            <p:sp>
              <p:nvSpPr>
                <p:cNvPr id="204" name="Freihandform: Form 138">
                  <a:extLst>
                    <a:ext uri="{FF2B5EF4-FFF2-40B4-BE49-F238E27FC236}">
                      <a16:creationId xmlns:a16="http://schemas.microsoft.com/office/drawing/2014/main" id="{03BD03F0-B8A5-4545-AECA-FE3A4AC3571C}"/>
                    </a:ext>
                  </a:extLst>
                </p:cNvPr>
                <p:cNvSpPr/>
                <p:nvPr/>
              </p:nvSpPr>
              <p:spPr>
                <a:xfrm>
                  <a:off x="2845928" y="2693487"/>
                  <a:ext cx="218403" cy="283296"/>
                </a:xfrm>
                <a:custGeom>
                  <a:avLst/>
                  <a:gdLst>
                    <a:gd name="connsiteX0" fmla="*/ 74117 w 218403"/>
                    <a:gd name="connsiteY0" fmla="*/ 283297 h 283296"/>
                    <a:gd name="connsiteX1" fmla="*/ 72553 w 218403"/>
                    <a:gd name="connsiteY1" fmla="*/ 283297 h 283296"/>
                    <a:gd name="connsiteX2" fmla="*/ 4460 w 218403"/>
                    <a:gd name="connsiteY2" fmla="*/ 271248 h 283296"/>
                    <a:gd name="connsiteX3" fmla="*/ 478 w 218403"/>
                    <a:gd name="connsiteY3" fmla="*/ 262195 h 283296"/>
                    <a:gd name="connsiteX4" fmla="*/ 9528 w 218403"/>
                    <a:gd name="connsiteY4" fmla="*/ 258210 h 283296"/>
                    <a:gd name="connsiteX5" fmla="*/ 72553 w 218403"/>
                    <a:gd name="connsiteY5" fmla="*/ 269309 h 283296"/>
                    <a:gd name="connsiteX6" fmla="*/ 74117 w 218403"/>
                    <a:gd name="connsiteY6" fmla="*/ 269309 h 283296"/>
                    <a:gd name="connsiteX7" fmla="*/ 204415 w 218403"/>
                    <a:gd name="connsiteY7" fmla="*/ 165412 h 283296"/>
                    <a:gd name="connsiteX8" fmla="*/ 114124 w 218403"/>
                    <a:gd name="connsiteY8" fmla="*/ 13626 h 283296"/>
                    <a:gd name="connsiteX9" fmla="*/ 109759 w 218403"/>
                    <a:gd name="connsiteY9" fmla="*/ 4749 h 283296"/>
                    <a:gd name="connsiteX10" fmla="*/ 118592 w 218403"/>
                    <a:gd name="connsiteY10" fmla="*/ 366 h 283296"/>
                    <a:gd name="connsiteX11" fmla="*/ 218404 w 218403"/>
                    <a:gd name="connsiteY11" fmla="*/ 165412 h 283296"/>
                    <a:gd name="connsiteX12" fmla="*/ 74117 w 218403"/>
                    <a:gd name="connsiteY12" fmla="*/ 283297 h 28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8403" h="283296">
                      <a:moveTo>
                        <a:pt x="74117" y="283297"/>
                      </a:moveTo>
                      <a:lnTo>
                        <a:pt x="72553" y="283297"/>
                      </a:lnTo>
                      <a:cubicBezTo>
                        <a:pt x="48279" y="283297"/>
                        <a:pt x="24734" y="279131"/>
                        <a:pt x="4460" y="271248"/>
                      </a:cubicBezTo>
                      <a:cubicBezTo>
                        <a:pt x="861" y="269850"/>
                        <a:pt x="-924" y="265794"/>
                        <a:pt x="478" y="262195"/>
                      </a:cubicBezTo>
                      <a:cubicBezTo>
                        <a:pt x="1873" y="258585"/>
                        <a:pt x="5936" y="256815"/>
                        <a:pt x="9528" y="258210"/>
                      </a:cubicBezTo>
                      <a:cubicBezTo>
                        <a:pt x="28201" y="265471"/>
                        <a:pt x="49991" y="269309"/>
                        <a:pt x="72553" y="269309"/>
                      </a:cubicBezTo>
                      <a:lnTo>
                        <a:pt x="74117" y="269309"/>
                      </a:lnTo>
                      <a:cubicBezTo>
                        <a:pt x="138972" y="269309"/>
                        <a:pt x="204415" y="237185"/>
                        <a:pt x="204415" y="165412"/>
                      </a:cubicBezTo>
                      <a:cubicBezTo>
                        <a:pt x="204415" y="90411"/>
                        <a:pt x="126235" y="17792"/>
                        <a:pt x="114124" y="13626"/>
                      </a:cubicBezTo>
                      <a:cubicBezTo>
                        <a:pt x="110477" y="12367"/>
                        <a:pt x="108515" y="8396"/>
                        <a:pt x="109759" y="4749"/>
                      </a:cubicBezTo>
                      <a:cubicBezTo>
                        <a:pt x="111003" y="1102"/>
                        <a:pt x="114944" y="-863"/>
                        <a:pt x="118592" y="366"/>
                      </a:cubicBezTo>
                      <a:cubicBezTo>
                        <a:pt x="133680" y="5456"/>
                        <a:pt x="218404" y="83022"/>
                        <a:pt x="218404" y="165412"/>
                      </a:cubicBezTo>
                      <a:cubicBezTo>
                        <a:pt x="218404" y="224091"/>
                        <a:pt x="173786" y="283297"/>
                        <a:pt x="74117" y="283297"/>
                      </a:cubicBezTo>
                      <a:close/>
                    </a:path>
                  </a:pathLst>
                </a:custGeom>
                <a:grpFill/>
                <a:ln w="368" cap="flat">
                  <a:noFill/>
                  <a:prstDash val="solid"/>
                  <a:miter/>
                </a:ln>
              </p:spPr>
              <p:txBody>
                <a:bodyPr rtlCol="0" anchor="ctr"/>
                <a:lstStyle/>
                <a:p>
                  <a:endParaRPr lang="en-GB" dirty="0"/>
                </a:p>
              </p:txBody>
            </p:sp>
            <p:sp>
              <p:nvSpPr>
                <p:cNvPr id="205" name="Freihandform: Form 139">
                  <a:extLst>
                    <a:ext uri="{FF2B5EF4-FFF2-40B4-BE49-F238E27FC236}">
                      <a16:creationId xmlns:a16="http://schemas.microsoft.com/office/drawing/2014/main" id="{CA88A2C7-76AF-4A08-B68B-54976833D400}"/>
                    </a:ext>
                  </a:extLst>
                </p:cNvPr>
                <p:cNvSpPr/>
                <p:nvPr/>
              </p:nvSpPr>
              <p:spPr>
                <a:xfrm>
                  <a:off x="2870805" y="2678823"/>
                  <a:ext cx="98480" cy="28657"/>
                </a:xfrm>
                <a:custGeom>
                  <a:avLst/>
                  <a:gdLst>
                    <a:gd name="connsiteX0" fmla="*/ 91481 w 98480"/>
                    <a:gd name="connsiteY0" fmla="*/ 28658 h 28657"/>
                    <a:gd name="connsiteX1" fmla="*/ 6993 w 98480"/>
                    <a:gd name="connsiteY1" fmla="*/ 28658 h 28657"/>
                    <a:gd name="connsiteX2" fmla="*/ 1454 w 98480"/>
                    <a:gd name="connsiteY2" fmla="*/ 25931 h 28657"/>
                    <a:gd name="connsiteX3" fmla="*/ 233 w 98480"/>
                    <a:gd name="connsiteY3" fmla="*/ 19881 h 28657"/>
                    <a:gd name="connsiteX4" fmla="*/ 4100 w 98480"/>
                    <a:gd name="connsiteY4" fmla="*/ 5208 h 28657"/>
                    <a:gd name="connsiteX5" fmla="*/ 12646 w 98480"/>
                    <a:gd name="connsiteY5" fmla="*/ 229 h 28657"/>
                    <a:gd name="connsiteX6" fmla="*/ 17625 w 98480"/>
                    <a:gd name="connsiteY6" fmla="*/ 8774 h 28657"/>
                    <a:gd name="connsiteX7" fmla="*/ 16076 w 98480"/>
                    <a:gd name="connsiteY7" fmla="*/ 14670 h 28657"/>
                    <a:gd name="connsiteX8" fmla="*/ 91485 w 98480"/>
                    <a:gd name="connsiteY8" fmla="*/ 14670 h 28657"/>
                    <a:gd name="connsiteX9" fmla="*/ 98481 w 98480"/>
                    <a:gd name="connsiteY9" fmla="*/ 21666 h 28657"/>
                    <a:gd name="connsiteX10" fmla="*/ 91481 w 98480"/>
                    <a:gd name="connsiteY10" fmla="*/ 28658 h 28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480" h="28657">
                      <a:moveTo>
                        <a:pt x="91481" y="28658"/>
                      </a:moveTo>
                      <a:lnTo>
                        <a:pt x="6993" y="28658"/>
                      </a:lnTo>
                      <a:cubicBezTo>
                        <a:pt x="4822" y="28658"/>
                        <a:pt x="2779" y="27649"/>
                        <a:pt x="1454" y="25931"/>
                      </a:cubicBezTo>
                      <a:cubicBezTo>
                        <a:pt x="130" y="24212"/>
                        <a:pt x="-323" y="21975"/>
                        <a:pt x="233" y="19881"/>
                      </a:cubicBezTo>
                      <a:lnTo>
                        <a:pt x="4100" y="5208"/>
                      </a:lnTo>
                      <a:cubicBezTo>
                        <a:pt x="5083" y="1465"/>
                        <a:pt x="8910" y="-743"/>
                        <a:pt x="12646" y="229"/>
                      </a:cubicBezTo>
                      <a:cubicBezTo>
                        <a:pt x="16381" y="1212"/>
                        <a:pt x="18607" y="5039"/>
                        <a:pt x="17625" y="8774"/>
                      </a:cubicBezTo>
                      <a:lnTo>
                        <a:pt x="16076" y="14670"/>
                      </a:lnTo>
                      <a:lnTo>
                        <a:pt x="91485" y="14670"/>
                      </a:lnTo>
                      <a:cubicBezTo>
                        <a:pt x="95349" y="14670"/>
                        <a:pt x="98481" y="17801"/>
                        <a:pt x="98481" y="21666"/>
                      </a:cubicBezTo>
                      <a:cubicBezTo>
                        <a:pt x="98481" y="25530"/>
                        <a:pt x="95345" y="28658"/>
                        <a:pt x="91481" y="28658"/>
                      </a:cubicBezTo>
                      <a:close/>
                    </a:path>
                  </a:pathLst>
                </a:custGeom>
                <a:grpFill/>
                <a:ln w="368" cap="flat">
                  <a:noFill/>
                  <a:prstDash val="solid"/>
                  <a:miter/>
                </a:ln>
              </p:spPr>
              <p:txBody>
                <a:bodyPr rtlCol="0" anchor="ctr"/>
                <a:lstStyle/>
                <a:p>
                  <a:endParaRPr lang="en-GB" dirty="0"/>
                </a:p>
              </p:txBody>
            </p:sp>
            <p:sp>
              <p:nvSpPr>
                <p:cNvPr id="206" name="Freihandform: Form 140">
                  <a:extLst>
                    <a:ext uri="{FF2B5EF4-FFF2-40B4-BE49-F238E27FC236}">
                      <a16:creationId xmlns:a16="http://schemas.microsoft.com/office/drawing/2014/main" id="{6D36A70C-CBFA-44DC-B9D2-91309A90E491}"/>
                    </a:ext>
                  </a:extLst>
                </p:cNvPr>
                <p:cNvSpPr/>
                <p:nvPr/>
              </p:nvSpPr>
              <p:spPr>
                <a:xfrm>
                  <a:off x="2859771" y="2582597"/>
                  <a:ext cx="120468" cy="94998"/>
                </a:xfrm>
                <a:custGeom>
                  <a:avLst/>
                  <a:gdLst>
                    <a:gd name="connsiteX0" fmla="*/ 100075 w 120468"/>
                    <a:gd name="connsiteY0" fmla="*/ 94998 h 94998"/>
                    <a:gd name="connsiteX1" fmla="*/ 93263 w 120468"/>
                    <a:gd name="connsiteY1" fmla="*/ 89574 h 94998"/>
                    <a:gd name="connsiteX2" fmla="*/ 91666 w 120468"/>
                    <a:gd name="connsiteY2" fmla="*/ 82637 h 94998"/>
                    <a:gd name="connsiteX3" fmla="*/ 23308 w 120468"/>
                    <a:gd name="connsiteY3" fmla="*/ 82637 h 94998"/>
                    <a:gd name="connsiteX4" fmla="*/ 16607 w 120468"/>
                    <a:gd name="connsiteY4" fmla="*/ 77650 h 94998"/>
                    <a:gd name="connsiteX5" fmla="*/ 768 w 120468"/>
                    <a:gd name="connsiteY5" fmla="*/ 24844 h 94998"/>
                    <a:gd name="connsiteX6" fmla="*/ 3513 w 120468"/>
                    <a:gd name="connsiteY6" fmla="*/ 9130 h 94998"/>
                    <a:gd name="connsiteX7" fmla="*/ 23308 w 120468"/>
                    <a:gd name="connsiteY7" fmla="*/ 0 h 94998"/>
                    <a:gd name="connsiteX8" fmla="*/ 97234 w 120468"/>
                    <a:gd name="connsiteY8" fmla="*/ 0 h 94998"/>
                    <a:gd name="connsiteX9" fmla="*/ 116728 w 120468"/>
                    <a:gd name="connsiteY9" fmla="*/ 9134 h 94998"/>
                    <a:gd name="connsiteX10" fmla="*/ 119834 w 120468"/>
                    <a:gd name="connsiteY10" fmla="*/ 24642 h 94998"/>
                    <a:gd name="connsiteX11" fmla="*/ 104466 w 120468"/>
                    <a:gd name="connsiteY11" fmla="*/ 75877 h 94998"/>
                    <a:gd name="connsiteX12" fmla="*/ 106898 w 120468"/>
                    <a:gd name="connsiteY12" fmla="*/ 86431 h 94998"/>
                    <a:gd name="connsiteX13" fmla="*/ 101654 w 120468"/>
                    <a:gd name="connsiteY13" fmla="*/ 94818 h 94998"/>
                    <a:gd name="connsiteX14" fmla="*/ 100075 w 120468"/>
                    <a:gd name="connsiteY14" fmla="*/ 94998 h 94998"/>
                    <a:gd name="connsiteX15" fmla="*/ 28512 w 120468"/>
                    <a:gd name="connsiteY15" fmla="*/ 68653 h 94998"/>
                    <a:gd name="connsiteX16" fmla="*/ 92027 w 120468"/>
                    <a:gd name="connsiteY16" fmla="*/ 68653 h 94998"/>
                    <a:gd name="connsiteX17" fmla="*/ 106379 w 120468"/>
                    <a:gd name="connsiteY17" fmla="*/ 20829 h 94998"/>
                    <a:gd name="connsiteX18" fmla="*/ 105629 w 120468"/>
                    <a:gd name="connsiteY18" fmla="*/ 17657 h 94998"/>
                    <a:gd name="connsiteX19" fmla="*/ 97234 w 120468"/>
                    <a:gd name="connsiteY19" fmla="*/ 13995 h 94998"/>
                    <a:gd name="connsiteX20" fmla="*/ 23308 w 120468"/>
                    <a:gd name="connsiteY20" fmla="*/ 13995 h 94998"/>
                    <a:gd name="connsiteX21" fmla="*/ 14697 w 120468"/>
                    <a:gd name="connsiteY21" fmla="*/ 17547 h 94998"/>
                    <a:gd name="connsiteX22" fmla="*/ 14193 w 120468"/>
                    <a:gd name="connsiteY22" fmla="*/ 20903 h 94998"/>
                    <a:gd name="connsiteX23" fmla="*/ 28512 w 120468"/>
                    <a:gd name="connsiteY23" fmla="*/ 68653 h 94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0468" h="94998">
                      <a:moveTo>
                        <a:pt x="100075" y="94998"/>
                      </a:moveTo>
                      <a:cubicBezTo>
                        <a:pt x="96892" y="94998"/>
                        <a:pt x="94010" y="92809"/>
                        <a:pt x="93263" y="89574"/>
                      </a:cubicBezTo>
                      <a:lnTo>
                        <a:pt x="91666" y="82637"/>
                      </a:lnTo>
                      <a:lnTo>
                        <a:pt x="23308" y="82637"/>
                      </a:lnTo>
                      <a:cubicBezTo>
                        <a:pt x="20221" y="82637"/>
                        <a:pt x="17497" y="80613"/>
                        <a:pt x="16607" y="77650"/>
                      </a:cubicBezTo>
                      <a:lnTo>
                        <a:pt x="768" y="24844"/>
                      </a:lnTo>
                      <a:cubicBezTo>
                        <a:pt x="-859" y="19195"/>
                        <a:pt x="120" y="13642"/>
                        <a:pt x="3513" y="9130"/>
                      </a:cubicBezTo>
                      <a:cubicBezTo>
                        <a:pt x="7686" y="3584"/>
                        <a:pt x="15459" y="0"/>
                        <a:pt x="23308" y="0"/>
                      </a:cubicBezTo>
                      <a:lnTo>
                        <a:pt x="97234" y="0"/>
                      </a:lnTo>
                      <a:cubicBezTo>
                        <a:pt x="104815" y="0"/>
                        <a:pt x="112466" y="3584"/>
                        <a:pt x="116728" y="9134"/>
                      </a:cubicBezTo>
                      <a:cubicBezTo>
                        <a:pt x="120198" y="13657"/>
                        <a:pt x="121306" y="19166"/>
                        <a:pt x="119834" y="24642"/>
                      </a:cubicBezTo>
                      <a:lnTo>
                        <a:pt x="104466" y="75877"/>
                      </a:lnTo>
                      <a:lnTo>
                        <a:pt x="106898" y="86431"/>
                      </a:lnTo>
                      <a:cubicBezTo>
                        <a:pt x="107767" y="90196"/>
                        <a:pt x="105415" y="93953"/>
                        <a:pt x="101654" y="94818"/>
                      </a:cubicBezTo>
                      <a:cubicBezTo>
                        <a:pt x="101128" y="94943"/>
                        <a:pt x="100594" y="94998"/>
                        <a:pt x="100075" y="94998"/>
                      </a:cubicBezTo>
                      <a:close/>
                      <a:moveTo>
                        <a:pt x="28512" y="68653"/>
                      </a:moveTo>
                      <a:lnTo>
                        <a:pt x="92027" y="68653"/>
                      </a:lnTo>
                      <a:lnTo>
                        <a:pt x="106379" y="20829"/>
                      </a:lnTo>
                      <a:cubicBezTo>
                        <a:pt x="106666" y="19747"/>
                        <a:pt x="106460" y="18739"/>
                        <a:pt x="105629" y="17657"/>
                      </a:cubicBezTo>
                      <a:cubicBezTo>
                        <a:pt x="104002" y="15537"/>
                        <a:pt x="100473" y="13995"/>
                        <a:pt x="97234" y="13995"/>
                      </a:cubicBezTo>
                      <a:lnTo>
                        <a:pt x="23308" y="13995"/>
                      </a:lnTo>
                      <a:cubicBezTo>
                        <a:pt x="19867" y="13995"/>
                        <a:pt x="16239" y="15490"/>
                        <a:pt x="14697" y="17547"/>
                      </a:cubicBezTo>
                      <a:cubicBezTo>
                        <a:pt x="13946" y="18537"/>
                        <a:pt x="13795" y="19541"/>
                        <a:pt x="14193" y="20903"/>
                      </a:cubicBezTo>
                      <a:lnTo>
                        <a:pt x="28512" y="68653"/>
                      </a:lnTo>
                      <a:close/>
                    </a:path>
                  </a:pathLst>
                </a:custGeom>
                <a:grpFill/>
                <a:ln w="368" cap="flat">
                  <a:noFill/>
                  <a:prstDash val="solid"/>
                  <a:miter/>
                </a:ln>
              </p:spPr>
              <p:txBody>
                <a:bodyPr rtlCol="0" anchor="ctr"/>
                <a:lstStyle/>
                <a:p>
                  <a:endParaRPr lang="en-GB" dirty="0"/>
                </a:p>
              </p:txBody>
            </p:sp>
          </p:grpSp>
          <p:sp>
            <p:nvSpPr>
              <p:cNvPr id="202" name="Freihandform: Form 141">
                <a:extLst>
                  <a:ext uri="{FF2B5EF4-FFF2-40B4-BE49-F238E27FC236}">
                    <a16:creationId xmlns:a16="http://schemas.microsoft.com/office/drawing/2014/main" id="{7D6F23E2-734F-4AAD-B344-FEC5AD3EFBCB}"/>
                  </a:ext>
                </a:extLst>
              </p:cNvPr>
              <p:cNvSpPr/>
              <p:nvPr/>
            </p:nvSpPr>
            <p:spPr>
              <a:xfrm>
                <a:off x="2913002" y="2617970"/>
                <a:ext cx="57803" cy="13991"/>
              </a:xfrm>
              <a:custGeom>
                <a:avLst/>
                <a:gdLst>
                  <a:gd name="connsiteX0" fmla="*/ 50807 w 57803"/>
                  <a:gd name="connsiteY0" fmla="*/ 13992 h 13991"/>
                  <a:gd name="connsiteX1" fmla="*/ 6996 w 57803"/>
                  <a:gd name="connsiteY1" fmla="*/ 13992 h 13991"/>
                  <a:gd name="connsiteX2" fmla="*/ 0 w 57803"/>
                  <a:gd name="connsiteY2" fmla="*/ 6996 h 13991"/>
                  <a:gd name="connsiteX3" fmla="*/ 6996 w 57803"/>
                  <a:gd name="connsiteY3" fmla="*/ 0 h 13991"/>
                  <a:gd name="connsiteX4" fmla="*/ 50807 w 57803"/>
                  <a:gd name="connsiteY4" fmla="*/ 0 h 13991"/>
                  <a:gd name="connsiteX5" fmla="*/ 57803 w 57803"/>
                  <a:gd name="connsiteY5" fmla="*/ 6996 h 13991"/>
                  <a:gd name="connsiteX6" fmla="*/ 50807 w 57803"/>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803" h="13991">
                    <a:moveTo>
                      <a:pt x="50807" y="13992"/>
                    </a:moveTo>
                    <a:lnTo>
                      <a:pt x="6996" y="13992"/>
                    </a:lnTo>
                    <a:cubicBezTo>
                      <a:pt x="3128" y="13992"/>
                      <a:pt x="0" y="10860"/>
                      <a:pt x="0" y="6996"/>
                    </a:cubicBezTo>
                    <a:cubicBezTo>
                      <a:pt x="0" y="3132"/>
                      <a:pt x="3128" y="0"/>
                      <a:pt x="6996" y="0"/>
                    </a:cubicBezTo>
                    <a:lnTo>
                      <a:pt x="50807" y="0"/>
                    </a:lnTo>
                    <a:cubicBezTo>
                      <a:pt x="54675" y="0"/>
                      <a:pt x="57803" y="3132"/>
                      <a:pt x="57803" y="6996"/>
                    </a:cubicBezTo>
                    <a:cubicBezTo>
                      <a:pt x="57800" y="10860"/>
                      <a:pt x="54672" y="13992"/>
                      <a:pt x="50807" y="13992"/>
                    </a:cubicBezTo>
                    <a:close/>
                  </a:path>
                </a:pathLst>
              </a:custGeom>
              <a:grpFill/>
              <a:ln w="368" cap="flat">
                <a:noFill/>
                <a:prstDash val="solid"/>
                <a:miter/>
              </a:ln>
            </p:spPr>
            <p:txBody>
              <a:bodyPr rtlCol="0" anchor="ctr"/>
              <a:lstStyle/>
              <a:p>
                <a:endParaRPr lang="en-GB" dirty="0"/>
              </a:p>
            </p:txBody>
          </p:sp>
        </p:grpSp>
        <p:grpSp>
          <p:nvGrpSpPr>
            <p:cNvPr id="177" name="Group 176">
              <a:extLst>
                <a:ext uri="{FF2B5EF4-FFF2-40B4-BE49-F238E27FC236}">
                  <a16:creationId xmlns:a16="http://schemas.microsoft.com/office/drawing/2014/main" id="{18F73A87-9BD7-419C-97D3-AFBB3E1615CD}"/>
                </a:ext>
              </a:extLst>
            </p:cNvPr>
            <p:cNvGrpSpPr/>
            <p:nvPr/>
          </p:nvGrpSpPr>
          <p:grpSpPr>
            <a:xfrm>
              <a:off x="2622776" y="2444063"/>
              <a:ext cx="334296" cy="361575"/>
              <a:chOff x="2544076" y="2617484"/>
              <a:chExt cx="331727" cy="358796"/>
            </a:xfrm>
            <a:solidFill>
              <a:schemeClr val="accent1"/>
            </a:solidFill>
          </p:grpSpPr>
          <p:grpSp>
            <p:nvGrpSpPr>
              <p:cNvPr id="178" name="Graphic 4">
                <a:extLst>
                  <a:ext uri="{FF2B5EF4-FFF2-40B4-BE49-F238E27FC236}">
                    <a16:creationId xmlns:a16="http://schemas.microsoft.com/office/drawing/2014/main" id="{FD2B17C1-1119-4D31-B2E1-E92E169ED9B8}"/>
                  </a:ext>
                </a:extLst>
              </p:cNvPr>
              <p:cNvGrpSpPr/>
              <p:nvPr/>
            </p:nvGrpSpPr>
            <p:grpSpPr>
              <a:xfrm>
                <a:off x="2583481" y="2811500"/>
                <a:ext cx="292322" cy="164780"/>
                <a:chOff x="2583481" y="2811500"/>
                <a:chExt cx="292322" cy="164780"/>
              </a:xfrm>
              <a:solidFill>
                <a:schemeClr val="accent1"/>
              </a:solidFill>
            </p:grpSpPr>
            <p:grpSp>
              <p:nvGrpSpPr>
                <p:cNvPr id="183" name="Graphic 4">
                  <a:extLst>
                    <a:ext uri="{FF2B5EF4-FFF2-40B4-BE49-F238E27FC236}">
                      <a16:creationId xmlns:a16="http://schemas.microsoft.com/office/drawing/2014/main" id="{4DA43098-F42B-4767-AD59-905854339B5C}"/>
                    </a:ext>
                  </a:extLst>
                </p:cNvPr>
                <p:cNvGrpSpPr/>
                <p:nvPr/>
              </p:nvGrpSpPr>
              <p:grpSpPr>
                <a:xfrm>
                  <a:off x="2722644" y="2811500"/>
                  <a:ext cx="153158" cy="164368"/>
                  <a:chOff x="2722644" y="2811500"/>
                  <a:chExt cx="153158" cy="164368"/>
                </a:xfrm>
                <a:solidFill>
                  <a:schemeClr val="accent1"/>
                </a:solidFill>
              </p:grpSpPr>
              <p:grpSp>
                <p:nvGrpSpPr>
                  <p:cNvPr id="189" name="Graphic 4">
                    <a:extLst>
                      <a:ext uri="{FF2B5EF4-FFF2-40B4-BE49-F238E27FC236}">
                        <a16:creationId xmlns:a16="http://schemas.microsoft.com/office/drawing/2014/main" id="{F4B3FE4C-172A-4F7A-8129-F17CF384BCC2}"/>
                      </a:ext>
                    </a:extLst>
                  </p:cNvPr>
                  <p:cNvGrpSpPr/>
                  <p:nvPr/>
                </p:nvGrpSpPr>
                <p:grpSpPr>
                  <a:xfrm>
                    <a:off x="2722644" y="2902579"/>
                    <a:ext cx="153158" cy="73289"/>
                    <a:chOff x="2722644" y="2902579"/>
                    <a:chExt cx="153158" cy="73289"/>
                  </a:xfrm>
                  <a:solidFill>
                    <a:schemeClr val="accent1"/>
                  </a:solidFill>
                </p:grpSpPr>
                <p:sp>
                  <p:nvSpPr>
                    <p:cNvPr id="197" name="Freihandform: Form 145">
                      <a:extLst>
                        <a:ext uri="{FF2B5EF4-FFF2-40B4-BE49-F238E27FC236}">
                          <a16:creationId xmlns:a16="http://schemas.microsoft.com/office/drawing/2014/main" id="{F197EBEF-FCC7-4C4B-BF9F-C2A2435617A2}"/>
                        </a:ext>
                      </a:extLst>
                    </p:cNvPr>
                    <p:cNvSpPr/>
                    <p:nvPr/>
                  </p:nvSpPr>
                  <p:spPr>
                    <a:xfrm>
                      <a:off x="2722644" y="2934699"/>
                      <a:ext cx="153158" cy="40345"/>
                    </a:xfrm>
                    <a:custGeom>
                      <a:avLst/>
                      <a:gdLst>
                        <a:gd name="connsiteX0" fmla="*/ 76576 w 153158"/>
                        <a:gd name="connsiteY0" fmla="*/ 40345 h 40345"/>
                        <a:gd name="connsiteX1" fmla="*/ 0 w 153158"/>
                        <a:gd name="connsiteY1" fmla="*/ 6996 h 40345"/>
                        <a:gd name="connsiteX2" fmla="*/ 6996 w 153158"/>
                        <a:gd name="connsiteY2" fmla="*/ 0 h 40345"/>
                        <a:gd name="connsiteX3" fmla="*/ 13992 w 153158"/>
                        <a:gd name="connsiteY3" fmla="*/ 6996 h 40345"/>
                        <a:gd name="connsiteX4" fmla="*/ 76579 w 153158"/>
                        <a:gd name="connsiteY4" fmla="*/ 26357 h 40345"/>
                        <a:gd name="connsiteX5" fmla="*/ 139167 w 153158"/>
                        <a:gd name="connsiteY5" fmla="*/ 6996 h 40345"/>
                        <a:gd name="connsiteX6" fmla="*/ 146163 w 153158"/>
                        <a:gd name="connsiteY6" fmla="*/ 0 h 40345"/>
                        <a:gd name="connsiteX7" fmla="*/ 153159 w 153158"/>
                        <a:gd name="connsiteY7" fmla="*/ 6996 h 40345"/>
                        <a:gd name="connsiteX8" fmla="*/ 76576 w 153158"/>
                        <a:gd name="connsiteY8" fmla="*/ 40345 h 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58" h="40345">
                          <a:moveTo>
                            <a:pt x="76576" y="40345"/>
                          </a:moveTo>
                          <a:cubicBezTo>
                            <a:pt x="38523" y="40345"/>
                            <a:pt x="0" y="28889"/>
                            <a:pt x="0" y="6996"/>
                          </a:cubicBezTo>
                          <a:cubicBezTo>
                            <a:pt x="0" y="3132"/>
                            <a:pt x="3128" y="0"/>
                            <a:pt x="6996" y="0"/>
                          </a:cubicBezTo>
                          <a:cubicBezTo>
                            <a:pt x="10864" y="0"/>
                            <a:pt x="13992" y="3132"/>
                            <a:pt x="13992" y="6996"/>
                          </a:cubicBezTo>
                          <a:cubicBezTo>
                            <a:pt x="13992" y="14706"/>
                            <a:pt x="38958" y="26357"/>
                            <a:pt x="76579" y="26357"/>
                          </a:cubicBezTo>
                          <a:cubicBezTo>
                            <a:pt x="114201" y="26357"/>
                            <a:pt x="139167" y="14706"/>
                            <a:pt x="139167" y="6996"/>
                          </a:cubicBezTo>
                          <a:cubicBezTo>
                            <a:pt x="139167" y="3132"/>
                            <a:pt x="142295" y="0"/>
                            <a:pt x="146163" y="0"/>
                          </a:cubicBezTo>
                          <a:cubicBezTo>
                            <a:pt x="150031" y="0"/>
                            <a:pt x="153159" y="3132"/>
                            <a:pt x="153159" y="6996"/>
                          </a:cubicBezTo>
                          <a:cubicBezTo>
                            <a:pt x="153152" y="28889"/>
                            <a:pt x="114628" y="40345"/>
                            <a:pt x="76576" y="40345"/>
                          </a:cubicBezTo>
                          <a:close/>
                        </a:path>
                      </a:pathLst>
                    </a:custGeom>
                    <a:solidFill>
                      <a:schemeClr val="accent1"/>
                    </a:solidFill>
                    <a:ln w="368" cap="flat">
                      <a:noFill/>
                      <a:prstDash val="solid"/>
                      <a:miter/>
                    </a:ln>
                  </p:spPr>
                  <p:txBody>
                    <a:bodyPr rtlCol="0" anchor="ctr"/>
                    <a:lstStyle/>
                    <a:p>
                      <a:endParaRPr lang="en-GB" dirty="0"/>
                    </a:p>
                  </p:txBody>
                </p:sp>
                <p:grpSp>
                  <p:nvGrpSpPr>
                    <p:cNvPr id="198" name="Graphic 4">
                      <a:extLst>
                        <a:ext uri="{FF2B5EF4-FFF2-40B4-BE49-F238E27FC236}">
                          <a16:creationId xmlns:a16="http://schemas.microsoft.com/office/drawing/2014/main" id="{8E923C51-3B01-4A0C-ABAF-A436D8FF85F7}"/>
                        </a:ext>
                      </a:extLst>
                    </p:cNvPr>
                    <p:cNvGrpSpPr/>
                    <p:nvPr/>
                  </p:nvGrpSpPr>
                  <p:grpSpPr>
                    <a:xfrm>
                      <a:off x="2722644" y="2902579"/>
                      <a:ext cx="153158" cy="73289"/>
                      <a:chOff x="2722644" y="2902579"/>
                      <a:chExt cx="153158" cy="73289"/>
                    </a:xfrm>
                    <a:solidFill>
                      <a:schemeClr val="accent1"/>
                    </a:solidFill>
                  </p:grpSpPr>
                  <p:sp>
                    <p:nvSpPr>
                      <p:cNvPr id="199" name="Freihandform: Form 147">
                        <a:extLst>
                          <a:ext uri="{FF2B5EF4-FFF2-40B4-BE49-F238E27FC236}">
                            <a16:creationId xmlns:a16="http://schemas.microsoft.com/office/drawing/2014/main" id="{A1D2B21D-5942-4751-B119-3AA1544C166C}"/>
                          </a:ext>
                        </a:extLst>
                      </p:cNvPr>
                      <p:cNvSpPr/>
                      <p:nvPr/>
                    </p:nvSpPr>
                    <p:spPr>
                      <a:xfrm>
                        <a:off x="2722644" y="2902579"/>
                        <a:ext cx="153158" cy="40345"/>
                      </a:xfrm>
                      <a:custGeom>
                        <a:avLst/>
                        <a:gdLst>
                          <a:gd name="connsiteX0" fmla="*/ 76576 w 153158"/>
                          <a:gd name="connsiteY0" fmla="*/ 40345 h 40345"/>
                          <a:gd name="connsiteX1" fmla="*/ 0 w 153158"/>
                          <a:gd name="connsiteY1" fmla="*/ 6996 h 40345"/>
                          <a:gd name="connsiteX2" fmla="*/ 6996 w 153158"/>
                          <a:gd name="connsiteY2" fmla="*/ 0 h 40345"/>
                          <a:gd name="connsiteX3" fmla="*/ 13992 w 153158"/>
                          <a:gd name="connsiteY3" fmla="*/ 6996 h 40345"/>
                          <a:gd name="connsiteX4" fmla="*/ 76579 w 153158"/>
                          <a:gd name="connsiteY4" fmla="*/ 26357 h 40345"/>
                          <a:gd name="connsiteX5" fmla="*/ 139167 w 153158"/>
                          <a:gd name="connsiteY5" fmla="*/ 6996 h 40345"/>
                          <a:gd name="connsiteX6" fmla="*/ 146163 w 153158"/>
                          <a:gd name="connsiteY6" fmla="*/ 0 h 40345"/>
                          <a:gd name="connsiteX7" fmla="*/ 153159 w 153158"/>
                          <a:gd name="connsiteY7" fmla="*/ 6996 h 40345"/>
                          <a:gd name="connsiteX8" fmla="*/ 76576 w 153158"/>
                          <a:gd name="connsiteY8" fmla="*/ 40345 h 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58" h="40345">
                            <a:moveTo>
                              <a:pt x="76576" y="40345"/>
                            </a:moveTo>
                            <a:cubicBezTo>
                              <a:pt x="38523" y="40345"/>
                              <a:pt x="0" y="28889"/>
                              <a:pt x="0" y="6996"/>
                            </a:cubicBezTo>
                            <a:cubicBezTo>
                              <a:pt x="0" y="3132"/>
                              <a:pt x="3128" y="0"/>
                              <a:pt x="6996" y="0"/>
                            </a:cubicBezTo>
                            <a:cubicBezTo>
                              <a:pt x="10864" y="0"/>
                              <a:pt x="13992" y="3132"/>
                              <a:pt x="13992" y="6996"/>
                            </a:cubicBezTo>
                            <a:cubicBezTo>
                              <a:pt x="13992" y="14706"/>
                              <a:pt x="38958" y="26357"/>
                              <a:pt x="76579" y="26357"/>
                            </a:cubicBezTo>
                            <a:cubicBezTo>
                              <a:pt x="114201" y="26357"/>
                              <a:pt x="139167" y="14706"/>
                              <a:pt x="139167" y="6996"/>
                            </a:cubicBezTo>
                            <a:cubicBezTo>
                              <a:pt x="139167" y="3132"/>
                              <a:pt x="142295" y="0"/>
                              <a:pt x="146163" y="0"/>
                            </a:cubicBezTo>
                            <a:cubicBezTo>
                              <a:pt x="150031" y="0"/>
                              <a:pt x="153159" y="3132"/>
                              <a:pt x="153159" y="6996"/>
                            </a:cubicBezTo>
                            <a:cubicBezTo>
                              <a:pt x="153152" y="28889"/>
                              <a:pt x="114628" y="40345"/>
                              <a:pt x="76576" y="40345"/>
                            </a:cubicBezTo>
                            <a:close/>
                          </a:path>
                        </a:pathLst>
                      </a:custGeom>
                      <a:solidFill>
                        <a:schemeClr val="accent1"/>
                      </a:solidFill>
                      <a:ln w="368" cap="flat">
                        <a:noFill/>
                        <a:prstDash val="solid"/>
                        <a:miter/>
                      </a:ln>
                    </p:spPr>
                    <p:txBody>
                      <a:bodyPr rtlCol="0" anchor="ctr"/>
                      <a:lstStyle/>
                      <a:p>
                        <a:endParaRPr lang="en-GB" dirty="0"/>
                      </a:p>
                    </p:txBody>
                  </p:sp>
                  <p:sp>
                    <p:nvSpPr>
                      <p:cNvPr id="200" name="Freihandform: Form 148">
                        <a:extLst>
                          <a:ext uri="{FF2B5EF4-FFF2-40B4-BE49-F238E27FC236}">
                            <a16:creationId xmlns:a16="http://schemas.microsoft.com/office/drawing/2014/main" id="{7156EC38-0323-4AD8-8DC8-1BEA43DDC07D}"/>
                          </a:ext>
                        </a:extLst>
                      </p:cNvPr>
                      <p:cNvSpPr/>
                      <p:nvPr/>
                    </p:nvSpPr>
                    <p:spPr>
                      <a:xfrm>
                        <a:off x="2722644" y="2902579"/>
                        <a:ext cx="153158" cy="73289"/>
                      </a:xfrm>
                      <a:custGeom>
                        <a:avLst/>
                        <a:gdLst>
                          <a:gd name="connsiteX0" fmla="*/ 76576 w 153158"/>
                          <a:gd name="connsiteY0" fmla="*/ 73289 h 73289"/>
                          <a:gd name="connsiteX1" fmla="*/ 0 w 153158"/>
                          <a:gd name="connsiteY1" fmla="*/ 39940 h 73289"/>
                          <a:gd name="connsiteX2" fmla="*/ 0 w 153158"/>
                          <a:gd name="connsiteY2" fmla="*/ 6996 h 73289"/>
                          <a:gd name="connsiteX3" fmla="*/ 6996 w 153158"/>
                          <a:gd name="connsiteY3" fmla="*/ 0 h 73289"/>
                          <a:gd name="connsiteX4" fmla="*/ 13992 w 153158"/>
                          <a:gd name="connsiteY4" fmla="*/ 6996 h 73289"/>
                          <a:gd name="connsiteX5" fmla="*/ 13992 w 153158"/>
                          <a:gd name="connsiteY5" fmla="*/ 39940 h 73289"/>
                          <a:gd name="connsiteX6" fmla="*/ 76579 w 153158"/>
                          <a:gd name="connsiteY6" fmla="*/ 59301 h 73289"/>
                          <a:gd name="connsiteX7" fmla="*/ 139167 w 153158"/>
                          <a:gd name="connsiteY7" fmla="*/ 39940 h 73289"/>
                          <a:gd name="connsiteX8" fmla="*/ 139167 w 153158"/>
                          <a:gd name="connsiteY8" fmla="*/ 6996 h 73289"/>
                          <a:gd name="connsiteX9" fmla="*/ 146163 w 153158"/>
                          <a:gd name="connsiteY9" fmla="*/ 0 h 73289"/>
                          <a:gd name="connsiteX10" fmla="*/ 153159 w 153158"/>
                          <a:gd name="connsiteY10" fmla="*/ 6996 h 73289"/>
                          <a:gd name="connsiteX11" fmla="*/ 153159 w 153158"/>
                          <a:gd name="connsiteY11" fmla="*/ 39940 h 73289"/>
                          <a:gd name="connsiteX12" fmla="*/ 76576 w 153158"/>
                          <a:gd name="connsiteY12" fmla="*/ 73289 h 7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158" h="73289">
                            <a:moveTo>
                              <a:pt x="76576" y="73289"/>
                            </a:moveTo>
                            <a:cubicBezTo>
                              <a:pt x="38523" y="73289"/>
                              <a:pt x="0" y="61833"/>
                              <a:pt x="0" y="39940"/>
                            </a:cubicBezTo>
                            <a:lnTo>
                              <a:pt x="0" y="6996"/>
                            </a:lnTo>
                            <a:cubicBezTo>
                              <a:pt x="0" y="3132"/>
                              <a:pt x="3128" y="0"/>
                              <a:pt x="6996" y="0"/>
                            </a:cubicBezTo>
                            <a:cubicBezTo>
                              <a:pt x="10864" y="0"/>
                              <a:pt x="13992" y="3132"/>
                              <a:pt x="13992" y="6996"/>
                            </a:cubicBezTo>
                            <a:lnTo>
                              <a:pt x="13992" y="39940"/>
                            </a:lnTo>
                            <a:cubicBezTo>
                              <a:pt x="13992" y="47650"/>
                              <a:pt x="38958" y="59301"/>
                              <a:pt x="76579" y="59301"/>
                            </a:cubicBezTo>
                            <a:cubicBezTo>
                              <a:pt x="114201" y="59301"/>
                              <a:pt x="139167" y="47650"/>
                              <a:pt x="139167" y="39940"/>
                            </a:cubicBezTo>
                            <a:lnTo>
                              <a:pt x="139167" y="6996"/>
                            </a:lnTo>
                            <a:cubicBezTo>
                              <a:pt x="139167" y="3132"/>
                              <a:pt x="142295" y="0"/>
                              <a:pt x="146163" y="0"/>
                            </a:cubicBezTo>
                            <a:cubicBezTo>
                              <a:pt x="150031" y="0"/>
                              <a:pt x="153159" y="3132"/>
                              <a:pt x="153159" y="6996"/>
                            </a:cubicBezTo>
                            <a:lnTo>
                              <a:pt x="153159" y="39940"/>
                            </a:lnTo>
                            <a:cubicBezTo>
                              <a:pt x="153152" y="61833"/>
                              <a:pt x="114628" y="73289"/>
                              <a:pt x="76576" y="73289"/>
                            </a:cubicBezTo>
                            <a:close/>
                          </a:path>
                        </a:pathLst>
                      </a:custGeom>
                      <a:solidFill>
                        <a:schemeClr val="accent1"/>
                      </a:solidFill>
                      <a:ln w="368" cap="flat">
                        <a:noFill/>
                        <a:prstDash val="solid"/>
                        <a:miter/>
                      </a:ln>
                    </p:spPr>
                    <p:txBody>
                      <a:bodyPr rtlCol="0" anchor="ctr"/>
                      <a:lstStyle/>
                      <a:p>
                        <a:endParaRPr lang="en-GB" dirty="0"/>
                      </a:p>
                    </p:txBody>
                  </p:sp>
                </p:grpSp>
              </p:grpSp>
              <p:grpSp>
                <p:nvGrpSpPr>
                  <p:cNvPr id="190" name="Graphic 4">
                    <a:extLst>
                      <a:ext uri="{FF2B5EF4-FFF2-40B4-BE49-F238E27FC236}">
                        <a16:creationId xmlns:a16="http://schemas.microsoft.com/office/drawing/2014/main" id="{78B9A543-1ED1-4259-8225-6D85A9BF6E65}"/>
                      </a:ext>
                    </a:extLst>
                  </p:cNvPr>
                  <p:cNvGrpSpPr/>
                  <p:nvPr/>
                </p:nvGrpSpPr>
                <p:grpSpPr>
                  <a:xfrm>
                    <a:off x="2722644" y="2811500"/>
                    <a:ext cx="153158" cy="131762"/>
                    <a:chOff x="2722644" y="2811500"/>
                    <a:chExt cx="153158" cy="131762"/>
                  </a:xfrm>
                  <a:solidFill>
                    <a:schemeClr val="accent1"/>
                  </a:solidFill>
                </p:grpSpPr>
                <p:grpSp>
                  <p:nvGrpSpPr>
                    <p:cNvPr id="191" name="Graphic 4">
                      <a:extLst>
                        <a:ext uri="{FF2B5EF4-FFF2-40B4-BE49-F238E27FC236}">
                          <a16:creationId xmlns:a16="http://schemas.microsoft.com/office/drawing/2014/main" id="{8928AD0E-E17F-4DD4-BD74-80849D7410F2}"/>
                        </a:ext>
                      </a:extLst>
                    </p:cNvPr>
                    <p:cNvGrpSpPr/>
                    <p:nvPr/>
                  </p:nvGrpSpPr>
                  <p:grpSpPr>
                    <a:xfrm>
                      <a:off x="2722644" y="2869973"/>
                      <a:ext cx="153158" cy="73289"/>
                      <a:chOff x="2722644" y="2869973"/>
                      <a:chExt cx="153158" cy="73289"/>
                    </a:xfrm>
                    <a:solidFill>
                      <a:schemeClr val="accent1"/>
                    </a:solidFill>
                  </p:grpSpPr>
                  <p:sp>
                    <p:nvSpPr>
                      <p:cNvPr id="195" name="Freihandform: Form 151">
                        <a:extLst>
                          <a:ext uri="{FF2B5EF4-FFF2-40B4-BE49-F238E27FC236}">
                            <a16:creationId xmlns:a16="http://schemas.microsoft.com/office/drawing/2014/main" id="{2D695DB0-D2F0-4A01-BFD2-11C8346B61CD}"/>
                          </a:ext>
                        </a:extLst>
                      </p:cNvPr>
                      <p:cNvSpPr/>
                      <p:nvPr/>
                    </p:nvSpPr>
                    <p:spPr>
                      <a:xfrm>
                        <a:off x="2722644" y="2869973"/>
                        <a:ext cx="153158" cy="40345"/>
                      </a:xfrm>
                      <a:custGeom>
                        <a:avLst/>
                        <a:gdLst>
                          <a:gd name="connsiteX0" fmla="*/ 76576 w 153158"/>
                          <a:gd name="connsiteY0" fmla="*/ 40345 h 40345"/>
                          <a:gd name="connsiteX1" fmla="*/ 0 w 153158"/>
                          <a:gd name="connsiteY1" fmla="*/ 6996 h 40345"/>
                          <a:gd name="connsiteX2" fmla="*/ 6996 w 153158"/>
                          <a:gd name="connsiteY2" fmla="*/ 0 h 40345"/>
                          <a:gd name="connsiteX3" fmla="*/ 13992 w 153158"/>
                          <a:gd name="connsiteY3" fmla="*/ 6996 h 40345"/>
                          <a:gd name="connsiteX4" fmla="*/ 76579 w 153158"/>
                          <a:gd name="connsiteY4" fmla="*/ 26357 h 40345"/>
                          <a:gd name="connsiteX5" fmla="*/ 139167 w 153158"/>
                          <a:gd name="connsiteY5" fmla="*/ 6996 h 40345"/>
                          <a:gd name="connsiteX6" fmla="*/ 146163 w 153158"/>
                          <a:gd name="connsiteY6" fmla="*/ 0 h 40345"/>
                          <a:gd name="connsiteX7" fmla="*/ 153159 w 153158"/>
                          <a:gd name="connsiteY7" fmla="*/ 6996 h 40345"/>
                          <a:gd name="connsiteX8" fmla="*/ 76576 w 153158"/>
                          <a:gd name="connsiteY8" fmla="*/ 40345 h 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58" h="40345">
                            <a:moveTo>
                              <a:pt x="76576" y="40345"/>
                            </a:moveTo>
                            <a:cubicBezTo>
                              <a:pt x="38523" y="40345"/>
                              <a:pt x="0" y="28889"/>
                              <a:pt x="0" y="6996"/>
                            </a:cubicBezTo>
                            <a:cubicBezTo>
                              <a:pt x="0" y="3132"/>
                              <a:pt x="3128" y="0"/>
                              <a:pt x="6996" y="0"/>
                            </a:cubicBezTo>
                            <a:cubicBezTo>
                              <a:pt x="10864" y="0"/>
                              <a:pt x="13992" y="3132"/>
                              <a:pt x="13992" y="6996"/>
                            </a:cubicBezTo>
                            <a:cubicBezTo>
                              <a:pt x="13992" y="14706"/>
                              <a:pt x="38958" y="26357"/>
                              <a:pt x="76579" y="26357"/>
                            </a:cubicBezTo>
                            <a:cubicBezTo>
                              <a:pt x="114201" y="26357"/>
                              <a:pt x="139167" y="14706"/>
                              <a:pt x="139167" y="6996"/>
                            </a:cubicBezTo>
                            <a:cubicBezTo>
                              <a:pt x="139167" y="3132"/>
                              <a:pt x="142295" y="0"/>
                              <a:pt x="146163" y="0"/>
                            </a:cubicBezTo>
                            <a:cubicBezTo>
                              <a:pt x="150031" y="0"/>
                              <a:pt x="153159" y="3132"/>
                              <a:pt x="153159" y="6996"/>
                            </a:cubicBezTo>
                            <a:cubicBezTo>
                              <a:pt x="153152" y="28889"/>
                              <a:pt x="114628" y="40345"/>
                              <a:pt x="76576" y="40345"/>
                            </a:cubicBezTo>
                            <a:close/>
                          </a:path>
                        </a:pathLst>
                      </a:custGeom>
                      <a:solidFill>
                        <a:schemeClr val="accent1"/>
                      </a:solidFill>
                      <a:ln w="368" cap="flat">
                        <a:noFill/>
                        <a:prstDash val="solid"/>
                        <a:miter/>
                      </a:ln>
                    </p:spPr>
                    <p:txBody>
                      <a:bodyPr rtlCol="0" anchor="ctr"/>
                      <a:lstStyle/>
                      <a:p>
                        <a:endParaRPr lang="en-GB" dirty="0"/>
                      </a:p>
                    </p:txBody>
                  </p:sp>
                  <p:sp>
                    <p:nvSpPr>
                      <p:cNvPr id="196" name="Freihandform: Form 152">
                        <a:extLst>
                          <a:ext uri="{FF2B5EF4-FFF2-40B4-BE49-F238E27FC236}">
                            <a16:creationId xmlns:a16="http://schemas.microsoft.com/office/drawing/2014/main" id="{EAC120B5-E76C-4D80-9F4E-EF4C6F0EE3CB}"/>
                          </a:ext>
                        </a:extLst>
                      </p:cNvPr>
                      <p:cNvSpPr/>
                      <p:nvPr/>
                    </p:nvSpPr>
                    <p:spPr>
                      <a:xfrm>
                        <a:off x="2722644" y="2869973"/>
                        <a:ext cx="153158" cy="73289"/>
                      </a:xfrm>
                      <a:custGeom>
                        <a:avLst/>
                        <a:gdLst>
                          <a:gd name="connsiteX0" fmla="*/ 76576 w 153158"/>
                          <a:gd name="connsiteY0" fmla="*/ 73289 h 73289"/>
                          <a:gd name="connsiteX1" fmla="*/ 0 w 153158"/>
                          <a:gd name="connsiteY1" fmla="*/ 39940 h 73289"/>
                          <a:gd name="connsiteX2" fmla="*/ 0 w 153158"/>
                          <a:gd name="connsiteY2" fmla="*/ 6996 h 73289"/>
                          <a:gd name="connsiteX3" fmla="*/ 6996 w 153158"/>
                          <a:gd name="connsiteY3" fmla="*/ 0 h 73289"/>
                          <a:gd name="connsiteX4" fmla="*/ 13992 w 153158"/>
                          <a:gd name="connsiteY4" fmla="*/ 6996 h 73289"/>
                          <a:gd name="connsiteX5" fmla="*/ 13992 w 153158"/>
                          <a:gd name="connsiteY5" fmla="*/ 39940 h 73289"/>
                          <a:gd name="connsiteX6" fmla="*/ 76579 w 153158"/>
                          <a:gd name="connsiteY6" fmla="*/ 59301 h 73289"/>
                          <a:gd name="connsiteX7" fmla="*/ 139167 w 153158"/>
                          <a:gd name="connsiteY7" fmla="*/ 39940 h 73289"/>
                          <a:gd name="connsiteX8" fmla="*/ 139167 w 153158"/>
                          <a:gd name="connsiteY8" fmla="*/ 6996 h 73289"/>
                          <a:gd name="connsiteX9" fmla="*/ 146163 w 153158"/>
                          <a:gd name="connsiteY9" fmla="*/ 0 h 73289"/>
                          <a:gd name="connsiteX10" fmla="*/ 153159 w 153158"/>
                          <a:gd name="connsiteY10" fmla="*/ 6996 h 73289"/>
                          <a:gd name="connsiteX11" fmla="*/ 153159 w 153158"/>
                          <a:gd name="connsiteY11" fmla="*/ 39940 h 73289"/>
                          <a:gd name="connsiteX12" fmla="*/ 76576 w 153158"/>
                          <a:gd name="connsiteY12" fmla="*/ 73289 h 7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158" h="73289">
                            <a:moveTo>
                              <a:pt x="76576" y="73289"/>
                            </a:moveTo>
                            <a:cubicBezTo>
                              <a:pt x="38523" y="73289"/>
                              <a:pt x="0" y="61833"/>
                              <a:pt x="0" y="39940"/>
                            </a:cubicBezTo>
                            <a:lnTo>
                              <a:pt x="0" y="6996"/>
                            </a:lnTo>
                            <a:cubicBezTo>
                              <a:pt x="0" y="3132"/>
                              <a:pt x="3128" y="0"/>
                              <a:pt x="6996" y="0"/>
                            </a:cubicBezTo>
                            <a:cubicBezTo>
                              <a:pt x="10864" y="0"/>
                              <a:pt x="13992" y="3132"/>
                              <a:pt x="13992" y="6996"/>
                            </a:cubicBezTo>
                            <a:lnTo>
                              <a:pt x="13992" y="39940"/>
                            </a:lnTo>
                            <a:cubicBezTo>
                              <a:pt x="13992" y="47650"/>
                              <a:pt x="38958" y="59301"/>
                              <a:pt x="76579" y="59301"/>
                            </a:cubicBezTo>
                            <a:cubicBezTo>
                              <a:pt x="114201" y="59301"/>
                              <a:pt x="139167" y="47650"/>
                              <a:pt x="139167" y="39940"/>
                            </a:cubicBezTo>
                            <a:lnTo>
                              <a:pt x="139167" y="6996"/>
                            </a:lnTo>
                            <a:cubicBezTo>
                              <a:pt x="139167" y="3132"/>
                              <a:pt x="142295" y="0"/>
                              <a:pt x="146163" y="0"/>
                            </a:cubicBezTo>
                            <a:cubicBezTo>
                              <a:pt x="150031" y="0"/>
                              <a:pt x="153159" y="3132"/>
                              <a:pt x="153159" y="6996"/>
                            </a:cubicBezTo>
                            <a:lnTo>
                              <a:pt x="153159" y="39940"/>
                            </a:lnTo>
                            <a:cubicBezTo>
                              <a:pt x="153152" y="61833"/>
                              <a:pt x="114628" y="73289"/>
                              <a:pt x="76576" y="73289"/>
                            </a:cubicBezTo>
                            <a:close/>
                          </a:path>
                        </a:pathLst>
                      </a:custGeom>
                      <a:solidFill>
                        <a:schemeClr val="accent1"/>
                      </a:solidFill>
                      <a:ln w="368" cap="flat">
                        <a:noFill/>
                        <a:prstDash val="solid"/>
                        <a:miter/>
                      </a:ln>
                    </p:spPr>
                    <p:txBody>
                      <a:bodyPr rtlCol="0" anchor="ctr"/>
                      <a:lstStyle/>
                      <a:p>
                        <a:endParaRPr lang="en-GB" dirty="0"/>
                      </a:p>
                    </p:txBody>
                  </p:sp>
                </p:grpSp>
                <p:grpSp>
                  <p:nvGrpSpPr>
                    <p:cNvPr id="192" name="Graphic 4">
                      <a:extLst>
                        <a:ext uri="{FF2B5EF4-FFF2-40B4-BE49-F238E27FC236}">
                          <a16:creationId xmlns:a16="http://schemas.microsoft.com/office/drawing/2014/main" id="{2F084EC4-3E26-4639-BBA1-10513C39915E}"/>
                        </a:ext>
                      </a:extLst>
                    </p:cNvPr>
                    <p:cNvGrpSpPr/>
                    <p:nvPr/>
                  </p:nvGrpSpPr>
                  <p:grpSpPr>
                    <a:xfrm>
                      <a:off x="2722644" y="2811500"/>
                      <a:ext cx="153158" cy="99642"/>
                      <a:chOff x="2722644" y="2811500"/>
                      <a:chExt cx="153158" cy="99642"/>
                    </a:xfrm>
                    <a:solidFill>
                      <a:schemeClr val="accent1"/>
                    </a:solidFill>
                  </p:grpSpPr>
                  <p:sp>
                    <p:nvSpPr>
                      <p:cNvPr id="193" name="Freihandform: Form 154">
                        <a:extLst>
                          <a:ext uri="{FF2B5EF4-FFF2-40B4-BE49-F238E27FC236}">
                            <a16:creationId xmlns:a16="http://schemas.microsoft.com/office/drawing/2014/main" id="{5747E8FF-E641-413E-BC31-94ACA318F0E6}"/>
                          </a:ext>
                        </a:extLst>
                      </p:cNvPr>
                      <p:cNvSpPr/>
                      <p:nvPr/>
                    </p:nvSpPr>
                    <p:spPr>
                      <a:xfrm>
                        <a:off x="2722644" y="2811500"/>
                        <a:ext cx="153151" cy="66698"/>
                      </a:xfrm>
                      <a:custGeom>
                        <a:avLst/>
                        <a:gdLst>
                          <a:gd name="connsiteX0" fmla="*/ 76576 w 153151"/>
                          <a:gd name="connsiteY0" fmla="*/ 66698 h 66698"/>
                          <a:gd name="connsiteX1" fmla="*/ 0 w 153151"/>
                          <a:gd name="connsiteY1" fmla="*/ 33349 h 66698"/>
                          <a:gd name="connsiteX2" fmla="*/ 76576 w 153151"/>
                          <a:gd name="connsiteY2" fmla="*/ 0 h 66698"/>
                          <a:gd name="connsiteX3" fmla="*/ 153152 w 153151"/>
                          <a:gd name="connsiteY3" fmla="*/ 33349 h 66698"/>
                          <a:gd name="connsiteX4" fmla="*/ 76576 w 153151"/>
                          <a:gd name="connsiteY4" fmla="*/ 66698 h 66698"/>
                          <a:gd name="connsiteX5" fmla="*/ 76576 w 153151"/>
                          <a:gd name="connsiteY5" fmla="*/ 13988 h 66698"/>
                          <a:gd name="connsiteX6" fmla="*/ 13988 w 153151"/>
                          <a:gd name="connsiteY6" fmla="*/ 33349 h 66698"/>
                          <a:gd name="connsiteX7" fmla="*/ 76576 w 153151"/>
                          <a:gd name="connsiteY7" fmla="*/ 52710 h 66698"/>
                          <a:gd name="connsiteX8" fmla="*/ 139163 w 153151"/>
                          <a:gd name="connsiteY8" fmla="*/ 33349 h 66698"/>
                          <a:gd name="connsiteX9" fmla="*/ 76576 w 153151"/>
                          <a:gd name="connsiteY9" fmla="*/ 13988 h 6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151" h="66698">
                            <a:moveTo>
                              <a:pt x="76576" y="66698"/>
                            </a:moveTo>
                            <a:cubicBezTo>
                              <a:pt x="38523" y="66698"/>
                              <a:pt x="0" y="55242"/>
                              <a:pt x="0" y="33349"/>
                            </a:cubicBezTo>
                            <a:cubicBezTo>
                              <a:pt x="0" y="11452"/>
                              <a:pt x="38523" y="0"/>
                              <a:pt x="76576" y="0"/>
                            </a:cubicBezTo>
                            <a:cubicBezTo>
                              <a:pt x="114628" y="0"/>
                              <a:pt x="153152" y="11456"/>
                              <a:pt x="153152" y="33349"/>
                            </a:cubicBezTo>
                            <a:cubicBezTo>
                              <a:pt x="153152" y="55242"/>
                              <a:pt x="114628" y="66698"/>
                              <a:pt x="76576" y="66698"/>
                            </a:cubicBezTo>
                            <a:close/>
                            <a:moveTo>
                              <a:pt x="76576" y="13988"/>
                            </a:moveTo>
                            <a:cubicBezTo>
                              <a:pt x="38954" y="13988"/>
                              <a:pt x="13988" y="25639"/>
                              <a:pt x="13988" y="33349"/>
                            </a:cubicBezTo>
                            <a:cubicBezTo>
                              <a:pt x="13988" y="41059"/>
                              <a:pt x="38954" y="52710"/>
                              <a:pt x="76576" y="52710"/>
                            </a:cubicBezTo>
                            <a:cubicBezTo>
                              <a:pt x="114198" y="52710"/>
                              <a:pt x="139163" y="41059"/>
                              <a:pt x="139163" y="33349"/>
                            </a:cubicBezTo>
                            <a:cubicBezTo>
                              <a:pt x="139163" y="25639"/>
                              <a:pt x="114198" y="13988"/>
                              <a:pt x="76576" y="13988"/>
                            </a:cubicBezTo>
                            <a:close/>
                          </a:path>
                        </a:pathLst>
                      </a:custGeom>
                      <a:solidFill>
                        <a:schemeClr val="accent1"/>
                      </a:solidFill>
                      <a:ln w="368" cap="flat">
                        <a:noFill/>
                        <a:prstDash val="solid"/>
                        <a:miter/>
                      </a:ln>
                    </p:spPr>
                    <p:txBody>
                      <a:bodyPr rtlCol="0" anchor="ctr"/>
                      <a:lstStyle/>
                      <a:p>
                        <a:endParaRPr lang="en-GB" dirty="0"/>
                      </a:p>
                    </p:txBody>
                  </p:sp>
                  <p:sp>
                    <p:nvSpPr>
                      <p:cNvPr id="194" name="Freihandform: Form 155">
                        <a:extLst>
                          <a:ext uri="{FF2B5EF4-FFF2-40B4-BE49-F238E27FC236}">
                            <a16:creationId xmlns:a16="http://schemas.microsoft.com/office/drawing/2014/main" id="{8400D4F3-D2EB-407B-A8FC-D5598B99D0FE}"/>
                          </a:ext>
                        </a:extLst>
                      </p:cNvPr>
                      <p:cNvSpPr/>
                      <p:nvPr/>
                    </p:nvSpPr>
                    <p:spPr>
                      <a:xfrm>
                        <a:off x="2722644" y="2837853"/>
                        <a:ext cx="153158" cy="73289"/>
                      </a:xfrm>
                      <a:custGeom>
                        <a:avLst/>
                        <a:gdLst>
                          <a:gd name="connsiteX0" fmla="*/ 76576 w 153158"/>
                          <a:gd name="connsiteY0" fmla="*/ 73289 h 73289"/>
                          <a:gd name="connsiteX1" fmla="*/ 0 w 153158"/>
                          <a:gd name="connsiteY1" fmla="*/ 39940 h 73289"/>
                          <a:gd name="connsiteX2" fmla="*/ 0 w 153158"/>
                          <a:gd name="connsiteY2" fmla="*/ 6996 h 73289"/>
                          <a:gd name="connsiteX3" fmla="*/ 6996 w 153158"/>
                          <a:gd name="connsiteY3" fmla="*/ 0 h 73289"/>
                          <a:gd name="connsiteX4" fmla="*/ 13992 w 153158"/>
                          <a:gd name="connsiteY4" fmla="*/ 6996 h 73289"/>
                          <a:gd name="connsiteX5" fmla="*/ 13992 w 153158"/>
                          <a:gd name="connsiteY5" fmla="*/ 39940 h 73289"/>
                          <a:gd name="connsiteX6" fmla="*/ 76579 w 153158"/>
                          <a:gd name="connsiteY6" fmla="*/ 59301 h 73289"/>
                          <a:gd name="connsiteX7" fmla="*/ 139167 w 153158"/>
                          <a:gd name="connsiteY7" fmla="*/ 39940 h 73289"/>
                          <a:gd name="connsiteX8" fmla="*/ 139167 w 153158"/>
                          <a:gd name="connsiteY8" fmla="*/ 6996 h 73289"/>
                          <a:gd name="connsiteX9" fmla="*/ 146163 w 153158"/>
                          <a:gd name="connsiteY9" fmla="*/ 0 h 73289"/>
                          <a:gd name="connsiteX10" fmla="*/ 153159 w 153158"/>
                          <a:gd name="connsiteY10" fmla="*/ 6996 h 73289"/>
                          <a:gd name="connsiteX11" fmla="*/ 153159 w 153158"/>
                          <a:gd name="connsiteY11" fmla="*/ 39940 h 73289"/>
                          <a:gd name="connsiteX12" fmla="*/ 76576 w 153158"/>
                          <a:gd name="connsiteY12" fmla="*/ 73289 h 7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158" h="73289">
                            <a:moveTo>
                              <a:pt x="76576" y="73289"/>
                            </a:moveTo>
                            <a:cubicBezTo>
                              <a:pt x="38523" y="73289"/>
                              <a:pt x="0" y="61833"/>
                              <a:pt x="0" y="39940"/>
                            </a:cubicBezTo>
                            <a:lnTo>
                              <a:pt x="0" y="6996"/>
                            </a:lnTo>
                            <a:cubicBezTo>
                              <a:pt x="0" y="3132"/>
                              <a:pt x="3128" y="0"/>
                              <a:pt x="6996" y="0"/>
                            </a:cubicBezTo>
                            <a:cubicBezTo>
                              <a:pt x="10864" y="0"/>
                              <a:pt x="13992" y="3132"/>
                              <a:pt x="13992" y="6996"/>
                            </a:cubicBezTo>
                            <a:lnTo>
                              <a:pt x="13992" y="39940"/>
                            </a:lnTo>
                            <a:cubicBezTo>
                              <a:pt x="13992" y="47650"/>
                              <a:pt x="38958" y="59301"/>
                              <a:pt x="76579" y="59301"/>
                            </a:cubicBezTo>
                            <a:cubicBezTo>
                              <a:pt x="114201" y="59301"/>
                              <a:pt x="139167" y="47650"/>
                              <a:pt x="139167" y="39940"/>
                            </a:cubicBezTo>
                            <a:lnTo>
                              <a:pt x="139167" y="6996"/>
                            </a:lnTo>
                            <a:cubicBezTo>
                              <a:pt x="139167" y="3132"/>
                              <a:pt x="142295" y="0"/>
                              <a:pt x="146163" y="0"/>
                            </a:cubicBezTo>
                            <a:cubicBezTo>
                              <a:pt x="150031" y="0"/>
                              <a:pt x="153159" y="3132"/>
                              <a:pt x="153159" y="6996"/>
                            </a:cubicBezTo>
                            <a:lnTo>
                              <a:pt x="153159" y="39940"/>
                            </a:lnTo>
                            <a:cubicBezTo>
                              <a:pt x="153152" y="61833"/>
                              <a:pt x="114628" y="73289"/>
                              <a:pt x="76576" y="73289"/>
                            </a:cubicBezTo>
                            <a:close/>
                          </a:path>
                        </a:pathLst>
                      </a:custGeom>
                      <a:solidFill>
                        <a:schemeClr val="accent1"/>
                      </a:solidFill>
                      <a:ln w="368" cap="flat">
                        <a:noFill/>
                        <a:prstDash val="solid"/>
                        <a:miter/>
                      </a:ln>
                    </p:spPr>
                    <p:txBody>
                      <a:bodyPr rtlCol="0" anchor="ctr"/>
                      <a:lstStyle/>
                      <a:p>
                        <a:endParaRPr lang="en-GB" dirty="0"/>
                      </a:p>
                    </p:txBody>
                  </p:sp>
                </p:grpSp>
              </p:grpSp>
            </p:grpSp>
            <p:grpSp>
              <p:nvGrpSpPr>
                <p:cNvPr id="184" name="Graphic 4">
                  <a:extLst>
                    <a:ext uri="{FF2B5EF4-FFF2-40B4-BE49-F238E27FC236}">
                      <a16:creationId xmlns:a16="http://schemas.microsoft.com/office/drawing/2014/main" id="{70652950-A96F-40D6-BA7A-AE99F2E39E92}"/>
                    </a:ext>
                  </a:extLst>
                </p:cNvPr>
                <p:cNvGrpSpPr/>
                <p:nvPr/>
              </p:nvGrpSpPr>
              <p:grpSpPr>
                <a:xfrm>
                  <a:off x="2583481" y="2876637"/>
                  <a:ext cx="153158" cy="99642"/>
                  <a:chOff x="2583481" y="2876637"/>
                  <a:chExt cx="153158" cy="99642"/>
                </a:xfrm>
                <a:solidFill>
                  <a:schemeClr val="accent1"/>
                </a:solidFill>
              </p:grpSpPr>
              <p:sp>
                <p:nvSpPr>
                  <p:cNvPr id="185" name="Freihandform: Form 157">
                    <a:extLst>
                      <a:ext uri="{FF2B5EF4-FFF2-40B4-BE49-F238E27FC236}">
                        <a16:creationId xmlns:a16="http://schemas.microsoft.com/office/drawing/2014/main" id="{C69571B0-5272-496F-9150-442C86801A5E}"/>
                      </a:ext>
                    </a:extLst>
                  </p:cNvPr>
                  <p:cNvSpPr/>
                  <p:nvPr/>
                </p:nvSpPr>
                <p:spPr>
                  <a:xfrm>
                    <a:off x="2583481" y="2935111"/>
                    <a:ext cx="153158" cy="40345"/>
                  </a:xfrm>
                  <a:custGeom>
                    <a:avLst/>
                    <a:gdLst>
                      <a:gd name="connsiteX0" fmla="*/ 76576 w 153158"/>
                      <a:gd name="connsiteY0" fmla="*/ 40345 h 40345"/>
                      <a:gd name="connsiteX1" fmla="*/ 0 w 153158"/>
                      <a:gd name="connsiteY1" fmla="*/ 6996 h 40345"/>
                      <a:gd name="connsiteX2" fmla="*/ 6996 w 153158"/>
                      <a:gd name="connsiteY2" fmla="*/ 0 h 40345"/>
                      <a:gd name="connsiteX3" fmla="*/ 13992 w 153158"/>
                      <a:gd name="connsiteY3" fmla="*/ 6996 h 40345"/>
                      <a:gd name="connsiteX4" fmla="*/ 76579 w 153158"/>
                      <a:gd name="connsiteY4" fmla="*/ 26357 h 40345"/>
                      <a:gd name="connsiteX5" fmla="*/ 139167 w 153158"/>
                      <a:gd name="connsiteY5" fmla="*/ 6996 h 40345"/>
                      <a:gd name="connsiteX6" fmla="*/ 146163 w 153158"/>
                      <a:gd name="connsiteY6" fmla="*/ 0 h 40345"/>
                      <a:gd name="connsiteX7" fmla="*/ 153159 w 153158"/>
                      <a:gd name="connsiteY7" fmla="*/ 6996 h 40345"/>
                      <a:gd name="connsiteX8" fmla="*/ 76576 w 153158"/>
                      <a:gd name="connsiteY8" fmla="*/ 40345 h 4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158" h="40345">
                        <a:moveTo>
                          <a:pt x="76576" y="40345"/>
                        </a:moveTo>
                        <a:cubicBezTo>
                          <a:pt x="38523" y="40345"/>
                          <a:pt x="0" y="28889"/>
                          <a:pt x="0" y="6996"/>
                        </a:cubicBezTo>
                        <a:cubicBezTo>
                          <a:pt x="0" y="3132"/>
                          <a:pt x="3128" y="0"/>
                          <a:pt x="6996" y="0"/>
                        </a:cubicBezTo>
                        <a:cubicBezTo>
                          <a:pt x="10864" y="0"/>
                          <a:pt x="13992" y="3132"/>
                          <a:pt x="13992" y="6996"/>
                        </a:cubicBezTo>
                        <a:cubicBezTo>
                          <a:pt x="13992" y="14706"/>
                          <a:pt x="38958" y="26357"/>
                          <a:pt x="76579" y="26357"/>
                        </a:cubicBezTo>
                        <a:cubicBezTo>
                          <a:pt x="114201" y="26357"/>
                          <a:pt x="139167" y="14706"/>
                          <a:pt x="139167" y="6996"/>
                        </a:cubicBezTo>
                        <a:cubicBezTo>
                          <a:pt x="139167" y="3132"/>
                          <a:pt x="142295" y="0"/>
                          <a:pt x="146163" y="0"/>
                        </a:cubicBezTo>
                        <a:cubicBezTo>
                          <a:pt x="150031" y="0"/>
                          <a:pt x="153159" y="3132"/>
                          <a:pt x="153159" y="6996"/>
                        </a:cubicBezTo>
                        <a:cubicBezTo>
                          <a:pt x="153152" y="28893"/>
                          <a:pt x="114628" y="40345"/>
                          <a:pt x="76576" y="40345"/>
                        </a:cubicBezTo>
                        <a:close/>
                      </a:path>
                    </a:pathLst>
                  </a:custGeom>
                  <a:solidFill>
                    <a:schemeClr val="accent1"/>
                  </a:solidFill>
                  <a:ln w="368" cap="flat">
                    <a:noFill/>
                    <a:prstDash val="solid"/>
                    <a:miter/>
                  </a:ln>
                </p:spPr>
                <p:txBody>
                  <a:bodyPr rtlCol="0" anchor="ctr"/>
                  <a:lstStyle/>
                  <a:p>
                    <a:endParaRPr lang="en-GB" dirty="0"/>
                  </a:p>
                </p:txBody>
              </p:sp>
              <p:grpSp>
                <p:nvGrpSpPr>
                  <p:cNvPr id="186" name="Graphic 4">
                    <a:extLst>
                      <a:ext uri="{FF2B5EF4-FFF2-40B4-BE49-F238E27FC236}">
                        <a16:creationId xmlns:a16="http://schemas.microsoft.com/office/drawing/2014/main" id="{274C7C2A-10DE-44BB-A70A-DA0D41876BA4}"/>
                      </a:ext>
                    </a:extLst>
                  </p:cNvPr>
                  <p:cNvGrpSpPr/>
                  <p:nvPr/>
                </p:nvGrpSpPr>
                <p:grpSpPr>
                  <a:xfrm>
                    <a:off x="2583481" y="2876637"/>
                    <a:ext cx="153158" cy="99642"/>
                    <a:chOff x="2583481" y="2876637"/>
                    <a:chExt cx="153158" cy="99642"/>
                  </a:xfrm>
                  <a:solidFill>
                    <a:schemeClr val="accent1"/>
                  </a:solidFill>
                </p:grpSpPr>
                <p:sp>
                  <p:nvSpPr>
                    <p:cNvPr id="187" name="Freihandform: Form 159">
                      <a:extLst>
                        <a:ext uri="{FF2B5EF4-FFF2-40B4-BE49-F238E27FC236}">
                          <a16:creationId xmlns:a16="http://schemas.microsoft.com/office/drawing/2014/main" id="{728A222B-35D6-48D9-ADE2-B2BE593BBA79}"/>
                        </a:ext>
                      </a:extLst>
                    </p:cNvPr>
                    <p:cNvSpPr/>
                    <p:nvPr/>
                  </p:nvSpPr>
                  <p:spPr>
                    <a:xfrm>
                      <a:off x="2583481" y="2876637"/>
                      <a:ext cx="153151" cy="66698"/>
                    </a:xfrm>
                    <a:custGeom>
                      <a:avLst/>
                      <a:gdLst>
                        <a:gd name="connsiteX0" fmla="*/ 76576 w 153151"/>
                        <a:gd name="connsiteY0" fmla="*/ 66698 h 66698"/>
                        <a:gd name="connsiteX1" fmla="*/ 0 w 153151"/>
                        <a:gd name="connsiteY1" fmla="*/ 33349 h 66698"/>
                        <a:gd name="connsiteX2" fmla="*/ 76576 w 153151"/>
                        <a:gd name="connsiteY2" fmla="*/ 0 h 66698"/>
                        <a:gd name="connsiteX3" fmla="*/ 153152 w 153151"/>
                        <a:gd name="connsiteY3" fmla="*/ 33349 h 66698"/>
                        <a:gd name="connsiteX4" fmla="*/ 76576 w 153151"/>
                        <a:gd name="connsiteY4" fmla="*/ 66698 h 66698"/>
                        <a:gd name="connsiteX5" fmla="*/ 76576 w 153151"/>
                        <a:gd name="connsiteY5" fmla="*/ 13988 h 66698"/>
                        <a:gd name="connsiteX6" fmla="*/ 13988 w 153151"/>
                        <a:gd name="connsiteY6" fmla="*/ 33349 h 66698"/>
                        <a:gd name="connsiteX7" fmla="*/ 76576 w 153151"/>
                        <a:gd name="connsiteY7" fmla="*/ 52710 h 66698"/>
                        <a:gd name="connsiteX8" fmla="*/ 139163 w 153151"/>
                        <a:gd name="connsiteY8" fmla="*/ 33349 h 66698"/>
                        <a:gd name="connsiteX9" fmla="*/ 76576 w 153151"/>
                        <a:gd name="connsiteY9" fmla="*/ 13988 h 6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151" h="66698">
                          <a:moveTo>
                            <a:pt x="76576" y="66698"/>
                          </a:moveTo>
                          <a:cubicBezTo>
                            <a:pt x="38523" y="66698"/>
                            <a:pt x="0" y="55242"/>
                            <a:pt x="0" y="33349"/>
                          </a:cubicBezTo>
                          <a:cubicBezTo>
                            <a:pt x="0" y="11452"/>
                            <a:pt x="38523" y="0"/>
                            <a:pt x="76576" y="0"/>
                          </a:cubicBezTo>
                          <a:cubicBezTo>
                            <a:pt x="114628" y="0"/>
                            <a:pt x="153152" y="11456"/>
                            <a:pt x="153152" y="33349"/>
                          </a:cubicBezTo>
                          <a:cubicBezTo>
                            <a:pt x="153152" y="55246"/>
                            <a:pt x="114628" y="66698"/>
                            <a:pt x="76576" y="66698"/>
                          </a:cubicBezTo>
                          <a:close/>
                          <a:moveTo>
                            <a:pt x="76576" y="13988"/>
                          </a:moveTo>
                          <a:cubicBezTo>
                            <a:pt x="38954" y="13988"/>
                            <a:pt x="13988" y="25639"/>
                            <a:pt x="13988" y="33349"/>
                          </a:cubicBezTo>
                          <a:cubicBezTo>
                            <a:pt x="13988" y="41059"/>
                            <a:pt x="38954" y="52710"/>
                            <a:pt x="76576" y="52710"/>
                          </a:cubicBezTo>
                          <a:cubicBezTo>
                            <a:pt x="114198" y="52710"/>
                            <a:pt x="139163" y="41059"/>
                            <a:pt x="139163" y="33349"/>
                          </a:cubicBezTo>
                          <a:cubicBezTo>
                            <a:pt x="139163" y="25639"/>
                            <a:pt x="114198" y="13988"/>
                            <a:pt x="76576" y="13988"/>
                          </a:cubicBezTo>
                          <a:close/>
                        </a:path>
                      </a:pathLst>
                    </a:custGeom>
                    <a:solidFill>
                      <a:schemeClr val="accent1"/>
                    </a:solidFill>
                    <a:ln w="368" cap="flat">
                      <a:noFill/>
                      <a:prstDash val="solid"/>
                      <a:miter/>
                    </a:ln>
                  </p:spPr>
                  <p:txBody>
                    <a:bodyPr rtlCol="0" anchor="ctr"/>
                    <a:lstStyle/>
                    <a:p>
                      <a:endParaRPr lang="en-GB" dirty="0"/>
                    </a:p>
                  </p:txBody>
                </p:sp>
                <p:sp>
                  <p:nvSpPr>
                    <p:cNvPr id="188" name="Freihandform: Form 160">
                      <a:extLst>
                        <a:ext uri="{FF2B5EF4-FFF2-40B4-BE49-F238E27FC236}">
                          <a16:creationId xmlns:a16="http://schemas.microsoft.com/office/drawing/2014/main" id="{956262F0-AD96-454C-91FE-9926B27D06A4}"/>
                        </a:ext>
                      </a:extLst>
                    </p:cNvPr>
                    <p:cNvSpPr/>
                    <p:nvPr/>
                  </p:nvSpPr>
                  <p:spPr>
                    <a:xfrm>
                      <a:off x="2583481" y="2902991"/>
                      <a:ext cx="153158" cy="73289"/>
                    </a:xfrm>
                    <a:custGeom>
                      <a:avLst/>
                      <a:gdLst>
                        <a:gd name="connsiteX0" fmla="*/ 76576 w 153158"/>
                        <a:gd name="connsiteY0" fmla="*/ 73289 h 73289"/>
                        <a:gd name="connsiteX1" fmla="*/ 0 w 153158"/>
                        <a:gd name="connsiteY1" fmla="*/ 39940 h 73289"/>
                        <a:gd name="connsiteX2" fmla="*/ 0 w 153158"/>
                        <a:gd name="connsiteY2" fmla="*/ 6996 h 73289"/>
                        <a:gd name="connsiteX3" fmla="*/ 6996 w 153158"/>
                        <a:gd name="connsiteY3" fmla="*/ 0 h 73289"/>
                        <a:gd name="connsiteX4" fmla="*/ 13992 w 153158"/>
                        <a:gd name="connsiteY4" fmla="*/ 6996 h 73289"/>
                        <a:gd name="connsiteX5" fmla="*/ 13992 w 153158"/>
                        <a:gd name="connsiteY5" fmla="*/ 39940 h 73289"/>
                        <a:gd name="connsiteX6" fmla="*/ 76579 w 153158"/>
                        <a:gd name="connsiteY6" fmla="*/ 59301 h 73289"/>
                        <a:gd name="connsiteX7" fmla="*/ 139167 w 153158"/>
                        <a:gd name="connsiteY7" fmla="*/ 39940 h 73289"/>
                        <a:gd name="connsiteX8" fmla="*/ 139167 w 153158"/>
                        <a:gd name="connsiteY8" fmla="*/ 6996 h 73289"/>
                        <a:gd name="connsiteX9" fmla="*/ 146163 w 153158"/>
                        <a:gd name="connsiteY9" fmla="*/ 0 h 73289"/>
                        <a:gd name="connsiteX10" fmla="*/ 153159 w 153158"/>
                        <a:gd name="connsiteY10" fmla="*/ 6996 h 73289"/>
                        <a:gd name="connsiteX11" fmla="*/ 153159 w 153158"/>
                        <a:gd name="connsiteY11" fmla="*/ 39940 h 73289"/>
                        <a:gd name="connsiteX12" fmla="*/ 76576 w 153158"/>
                        <a:gd name="connsiteY12" fmla="*/ 73289 h 73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3158" h="73289">
                          <a:moveTo>
                            <a:pt x="76576" y="73289"/>
                          </a:moveTo>
                          <a:cubicBezTo>
                            <a:pt x="38523" y="73289"/>
                            <a:pt x="0" y="61833"/>
                            <a:pt x="0" y="39940"/>
                          </a:cubicBezTo>
                          <a:lnTo>
                            <a:pt x="0" y="6996"/>
                          </a:lnTo>
                          <a:cubicBezTo>
                            <a:pt x="0" y="3132"/>
                            <a:pt x="3128" y="0"/>
                            <a:pt x="6996" y="0"/>
                          </a:cubicBezTo>
                          <a:cubicBezTo>
                            <a:pt x="10864" y="0"/>
                            <a:pt x="13992" y="3132"/>
                            <a:pt x="13992" y="6996"/>
                          </a:cubicBezTo>
                          <a:lnTo>
                            <a:pt x="13992" y="39940"/>
                          </a:lnTo>
                          <a:cubicBezTo>
                            <a:pt x="13992" y="47650"/>
                            <a:pt x="38958" y="59301"/>
                            <a:pt x="76579" y="59301"/>
                          </a:cubicBezTo>
                          <a:cubicBezTo>
                            <a:pt x="114201" y="59301"/>
                            <a:pt x="139167" y="47650"/>
                            <a:pt x="139167" y="39940"/>
                          </a:cubicBezTo>
                          <a:lnTo>
                            <a:pt x="139167" y="6996"/>
                          </a:lnTo>
                          <a:cubicBezTo>
                            <a:pt x="139167" y="3132"/>
                            <a:pt x="142295" y="0"/>
                            <a:pt x="146163" y="0"/>
                          </a:cubicBezTo>
                          <a:cubicBezTo>
                            <a:pt x="150031" y="0"/>
                            <a:pt x="153159" y="3132"/>
                            <a:pt x="153159" y="6996"/>
                          </a:cubicBezTo>
                          <a:lnTo>
                            <a:pt x="153159" y="39940"/>
                          </a:lnTo>
                          <a:cubicBezTo>
                            <a:pt x="153152" y="61833"/>
                            <a:pt x="114628" y="73289"/>
                            <a:pt x="76576" y="73289"/>
                          </a:cubicBezTo>
                          <a:close/>
                        </a:path>
                      </a:pathLst>
                    </a:custGeom>
                    <a:solidFill>
                      <a:schemeClr val="accent1"/>
                    </a:solidFill>
                    <a:ln w="368" cap="flat">
                      <a:noFill/>
                      <a:prstDash val="solid"/>
                      <a:miter/>
                    </a:ln>
                  </p:spPr>
                  <p:txBody>
                    <a:bodyPr rtlCol="0" anchor="ctr"/>
                    <a:lstStyle/>
                    <a:p>
                      <a:endParaRPr lang="en-GB" dirty="0"/>
                    </a:p>
                  </p:txBody>
                </p:sp>
              </p:grpSp>
            </p:grpSp>
          </p:grpSp>
          <p:grpSp>
            <p:nvGrpSpPr>
              <p:cNvPr id="179" name="Graphic 4">
                <a:extLst>
                  <a:ext uri="{FF2B5EF4-FFF2-40B4-BE49-F238E27FC236}">
                    <a16:creationId xmlns:a16="http://schemas.microsoft.com/office/drawing/2014/main" id="{FEA81BC6-E5AF-4928-8D27-43B2BC0ACA75}"/>
                  </a:ext>
                </a:extLst>
              </p:cNvPr>
              <p:cNvGrpSpPr/>
              <p:nvPr/>
            </p:nvGrpSpPr>
            <p:grpSpPr>
              <a:xfrm>
                <a:off x="2544076" y="2617484"/>
                <a:ext cx="270395" cy="150222"/>
                <a:chOff x="2544076" y="2617484"/>
                <a:chExt cx="270395" cy="150222"/>
              </a:xfrm>
              <a:solidFill>
                <a:schemeClr val="accent1"/>
              </a:solidFill>
            </p:grpSpPr>
            <p:sp>
              <p:nvSpPr>
                <p:cNvPr id="180" name="Freihandform: Form 162">
                  <a:extLst>
                    <a:ext uri="{FF2B5EF4-FFF2-40B4-BE49-F238E27FC236}">
                      <a16:creationId xmlns:a16="http://schemas.microsoft.com/office/drawing/2014/main" id="{638FABB9-63AC-4EFC-90A4-06DFFA033CFD}"/>
                    </a:ext>
                  </a:extLst>
                </p:cNvPr>
                <p:cNvSpPr/>
                <p:nvPr/>
              </p:nvSpPr>
              <p:spPr>
                <a:xfrm>
                  <a:off x="2619856" y="2672791"/>
                  <a:ext cx="164681" cy="91574"/>
                </a:xfrm>
                <a:custGeom>
                  <a:avLst/>
                  <a:gdLst>
                    <a:gd name="connsiteX0" fmla="*/ 67426 w 164681"/>
                    <a:gd name="connsiteY0" fmla="*/ 91574 h 91574"/>
                    <a:gd name="connsiteX1" fmla="*/ 62127 w 164681"/>
                    <a:gd name="connsiteY1" fmla="*/ 89145 h 91574"/>
                    <a:gd name="connsiteX2" fmla="*/ 28550 w 164681"/>
                    <a:gd name="connsiteY2" fmla="*/ 50184 h 91574"/>
                    <a:gd name="connsiteX3" fmla="*/ 11507 w 164681"/>
                    <a:gd name="connsiteY3" fmla="*/ 64584 h 91574"/>
                    <a:gd name="connsiteX4" fmla="*/ 1652 w 164681"/>
                    <a:gd name="connsiteY4" fmla="*/ 63756 h 91574"/>
                    <a:gd name="connsiteX5" fmla="*/ 2480 w 164681"/>
                    <a:gd name="connsiteY5" fmla="*/ 53901 h 91574"/>
                    <a:gd name="connsiteX6" fmla="*/ 24807 w 164681"/>
                    <a:gd name="connsiteY6" fmla="*/ 35025 h 91574"/>
                    <a:gd name="connsiteX7" fmla="*/ 34622 w 164681"/>
                    <a:gd name="connsiteY7" fmla="*/ 35802 h 91574"/>
                    <a:gd name="connsiteX8" fmla="*/ 68166 w 164681"/>
                    <a:gd name="connsiteY8" fmla="*/ 74723 h 91574"/>
                    <a:gd name="connsiteX9" fmla="*/ 153125 w 164681"/>
                    <a:gd name="connsiteY9" fmla="*/ 1684 h 91574"/>
                    <a:gd name="connsiteX10" fmla="*/ 162995 w 164681"/>
                    <a:gd name="connsiteY10" fmla="*/ 2427 h 91574"/>
                    <a:gd name="connsiteX11" fmla="*/ 162252 w 164681"/>
                    <a:gd name="connsiteY11" fmla="*/ 12290 h 91574"/>
                    <a:gd name="connsiteX12" fmla="*/ 71993 w 164681"/>
                    <a:gd name="connsiteY12" fmla="*/ 89881 h 91574"/>
                    <a:gd name="connsiteX13" fmla="*/ 67426 w 164681"/>
                    <a:gd name="connsiteY13" fmla="*/ 91574 h 91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681" h="91574">
                      <a:moveTo>
                        <a:pt x="67426" y="91574"/>
                      </a:moveTo>
                      <a:cubicBezTo>
                        <a:pt x="65465" y="91574"/>
                        <a:pt x="63511" y="90750"/>
                        <a:pt x="62127" y="89145"/>
                      </a:cubicBezTo>
                      <a:lnTo>
                        <a:pt x="28550" y="50184"/>
                      </a:lnTo>
                      <a:lnTo>
                        <a:pt x="11507" y="64584"/>
                      </a:lnTo>
                      <a:cubicBezTo>
                        <a:pt x="8555" y="67076"/>
                        <a:pt x="4150" y="66700"/>
                        <a:pt x="1652" y="63756"/>
                      </a:cubicBezTo>
                      <a:cubicBezTo>
                        <a:pt x="-840" y="60805"/>
                        <a:pt x="-472" y="56392"/>
                        <a:pt x="2480" y="53901"/>
                      </a:cubicBezTo>
                      <a:lnTo>
                        <a:pt x="24807" y="35025"/>
                      </a:lnTo>
                      <a:cubicBezTo>
                        <a:pt x="27725" y="32552"/>
                        <a:pt x="32101" y="32887"/>
                        <a:pt x="34622" y="35802"/>
                      </a:cubicBezTo>
                      <a:lnTo>
                        <a:pt x="68166" y="74723"/>
                      </a:lnTo>
                      <a:lnTo>
                        <a:pt x="153125" y="1684"/>
                      </a:lnTo>
                      <a:cubicBezTo>
                        <a:pt x="156062" y="-823"/>
                        <a:pt x="160474" y="-495"/>
                        <a:pt x="162995" y="2427"/>
                      </a:cubicBezTo>
                      <a:cubicBezTo>
                        <a:pt x="165509" y="5356"/>
                        <a:pt x="165174" y="9773"/>
                        <a:pt x="162252" y="12290"/>
                      </a:cubicBezTo>
                      <a:lnTo>
                        <a:pt x="71993" y="89881"/>
                      </a:lnTo>
                      <a:cubicBezTo>
                        <a:pt x="70665" y="91018"/>
                        <a:pt x="69046" y="91574"/>
                        <a:pt x="67426" y="91574"/>
                      </a:cubicBezTo>
                      <a:close/>
                    </a:path>
                  </a:pathLst>
                </a:custGeom>
                <a:solidFill>
                  <a:schemeClr val="accent1"/>
                </a:solidFill>
                <a:ln w="368" cap="flat">
                  <a:noFill/>
                  <a:prstDash val="solid"/>
                  <a:miter/>
                </a:ln>
              </p:spPr>
              <p:txBody>
                <a:bodyPr rtlCol="0" anchor="ctr"/>
                <a:lstStyle/>
                <a:p>
                  <a:endParaRPr lang="en-GB" dirty="0"/>
                </a:p>
              </p:txBody>
            </p:sp>
            <p:sp>
              <p:nvSpPr>
                <p:cNvPr id="181" name="Freihandform: Form 163">
                  <a:extLst>
                    <a:ext uri="{FF2B5EF4-FFF2-40B4-BE49-F238E27FC236}">
                      <a16:creationId xmlns:a16="http://schemas.microsoft.com/office/drawing/2014/main" id="{AEED8F87-172A-45EC-A6BB-3F57F57C51D2}"/>
                    </a:ext>
                  </a:extLst>
                </p:cNvPr>
                <p:cNvSpPr/>
                <p:nvPr/>
              </p:nvSpPr>
              <p:spPr>
                <a:xfrm>
                  <a:off x="2585933" y="2743516"/>
                  <a:ext cx="26057" cy="24190"/>
                </a:xfrm>
                <a:custGeom>
                  <a:avLst/>
                  <a:gdLst>
                    <a:gd name="connsiteX0" fmla="*/ 6999 w 26057"/>
                    <a:gd name="connsiteY0" fmla="*/ 24190 h 24190"/>
                    <a:gd name="connsiteX1" fmla="*/ 1652 w 26057"/>
                    <a:gd name="connsiteY1" fmla="*/ 21710 h 24190"/>
                    <a:gd name="connsiteX2" fmla="*/ 2480 w 26057"/>
                    <a:gd name="connsiteY2" fmla="*/ 11854 h 24190"/>
                    <a:gd name="connsiteX3" fmla="*/ 14551 w 26057"/>
                    <a:gd name="connsiteY3" fmla="*/ 1650 h 24190"/>
                    <a:gd name="connsiteX4" fmla="*/ 24406 w 26057"/>
                    <a:gd name="connsiteY4" fmla="*/ 2478 h 24190"/>
                    <a:gd name="connsiteX5" fmla="*/ 23578 w 26057"/>
                    <a:gd name="connsiteY5" fmla="*/ 12333 h 24190"/>
                    <a:gd name="connsiteX6" fmla="*/ 11507 w 26057"/>
                    <a:gd name="connsiteY6" fmla="*/ 22538 h 24190"/>
                    <a:gd name="connsiteX7" fmla="*/ 6999 w 26057"/>
                    <a:gd name="connsiteY7" fmla="*/ 24190 h 24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57" h="24190">
                      <a:moveTo>
                        <a:pt x="6999" y="24190"/>
                      </a:moveTo>
                      <a:cubicBezTo>
                        <a:pt x="5012" y="24190"/>
                        <a:pt x="3035" y="23347"/>
                        <a:pt x="1652" y="21710"/>
                      </a:cubicBezTo>
                      <a:cubicBezTo>
                        <a:pt x="-840" y="18762"/>
                        <a:pt x="-472" y="14346"/>
                        <a:pt x="2480" y="11854"/>
                      </a:cubicBezTo>
                      <a:lnTo>
                        <a:pt x="14551" y="1650"/>
                      </a:lnTo>
                      <a:cubicBezTo>
                        <a:pt x="17502" y="-846"/>
                        <a:pt x="21914" y="-463"/>
                        <a:pt x="24406" y="2478"/>
                      </a:cubicBezTo>
                      <a:cubicBezTo>
                        <a:pt x="26897" y="5425"/>
                        <a:pt x="26529" y="9841"/>
                        <a:pt x="23578" y="12333"/>
                      </a:cubicBezTo>
                      <a:lnTo>
                        <a:pt x="11507" y="22538"/>
                      </a:lnTo>
                      <a:cubicBezTo>
                        <a:pt x="10197" y="23646"/>
                        <a:pt x="8592" y="24190"/>
                        <a:pt x="6999" y="24190"/>
                      </a:cubicBezTo>
                      <a:close/>
                    </a:path>
                  </a:pathLst>
                </a:custGeom>
                <a:solidFill>
                  <a:schemeClr val="accent1"/>
                </a:solidFill>
                <a:ln w="368" cap="flat">
                  <a:noFill/>
                  <a:prstDash val="solid"/>
                  <a:miter/>
                </a:ln>
              </p:spPr>
              <p:txBody>
                <a:bodyPr rtlCol="0" anchor="ctr"/>
                <a:lstStyle/>
                <a:p>
                  <a:endParaRPr lang="en-GB" dirty="0"/>
                </a:p>
              </p:txBody>
            </p:sp>
            <p:sp>
              <p:nvSpPr>
                <p:cNvPr id="182" name="Freihandform: Form 164">
                  <a:extLst>
                    <a:ext uri="{FF2B5EF4-FFF2-40B4-BE49-F238E27FC236}">
                      <a16:creationId xmlns:a16="http://schemas.microsoft.com/office/drawing/2014/main" id="{4E1BCE95-6421-40D2-AA28-1ADE9FE09D00}"/>
                    </a:ext>
                  </a:extLst>
                </p:cNvPr>
                <p:cNvSpPr/>
                <p:nvPr/>
              </p:nvSpPr>
              <p:spPr>
                <a:xfrm>
                  <a:off x="2544076" y="2617484"/>
                  <a:ext cx="270395" cy="128240"/>
                </a:xfrm>
                <a:custGeom>
                  <a:avLst/>
                  <a:gdLst>
                    <a:gd name="connsiteX0" fmla="*/ 6994 w 270395"/>
                    <a:gd name="connsiteY0" fmla="*/ 128241 h 128240"/>
                    <a:gd name="connsiteX1" fmla="*/ 1665 w 270395"/>
                    <a:gd name="connsiteY1" fmla="*/ 125782 h 128240"/>
                    <a:gd name="connsiteX2" fmla="*/ 2456 w 270395"/>
                    <a:gd name="connsiteY2" fmla="*/ 115924 h 128240"/>
                    <a:gd name="connsiteX3" fmla="*/ 105113 w 270395"/>
                    <a:gd name="connsiteY3" fmla="*/ 28532 h 128240"/>
                    <a:gd name="connsiteX4" fmla="*/ 114957 w 270395"/>
                    <a:gd name="connsiteY4" fmla="*/ 29301 h 128240"/>
                    <a:gd name="connsiteX5" fmla="*/ 148550 w 270395"/>
                    <a:gd name="connsiteY5" fmla="*/ 68428 h 128240"/>
                    <a:gd name="connsiteX6" fmla="*/ 194996 w 270395"/>
                    <a:gd name="connsiteY6" fmla="*/ 28385 h 128240"/>
                    <a:gd name="connsiteX7" fmla="*/ 180489 w 270395"/>
                    <a:gd name="connsiteY7" fmla="*/ 11559 h 128240"/>
                    <a:gd name="connsiteX8" fmla="*/ 179444 w 270395"/>
                    <a:gd name="connsiteY8" fmla="*/ 4055 h 128240"/>
                    <a:gd name="connsiteX9" fmla="*/ 185789 w 270395"/>
                    <a:gd name="connsiteY9" fmla="*/ 0 h 128240"/>
                    <a:gd name="connsiteX10" fmla="*/ 185844 w 270395"/>
                    <a:gd name="connsiteY10" fmla="*/ 0 h 128240"/>
                    <a:gd name="connsiteX11" fmla="*/ 263457 w 270395"/>
                    <a:gd name="connsiteY11" fmla="*/ 574 h 128240"/>
                    <a:gd name="connsiteX12" fmla="*/ 268701 w 270395"/>
                    <a:gd name="connsiteY12" fmla="*/ 3003 h 128240"/>
                    <a:gd name="connsiteX13" fmla="*/ 270328 w 270395"/>
                    <a:gd name="connsiteY13" fmla="*/ 8549 h 128240"/>
                    <a:gd name="connsiteX14" fmla="*/ 259461 w 270395"/>
                    <a:gd name="connsiteY14" fmla="*/ 85401 h 128240"/>
                    <a:gd name="connsiteX15" fmla="*/ 254504 w 270395"/>
                    <a:gd name="connsiteY15" fmla="*/ 91131 h 128240"/>
                    <a:gd name="connsiteX16" fmla="*/ 247235 w 270395"/>
                    <a:gd name="connsiteY16" fmla="*/ 88985 h 128240"/>
                    <a:gd name="connsiteX17" fmla="*/ 223396 w 270395"/>
                    <a:gd name="connsiteY17" fmla="*/ 61333 h 128240"/>
                    <a:gd name="connsiteX18" fmla="*/ 224128 w 270395"/>
                    <a:gd name="connsiteY18" fmla="*/ 51470 h 128240"/>
                    <a:gd name="connsiteX19" fmla="*/ 233998 w 270395"/>
                    <a:gd name="connsiteY19" fmla="*/ 52202 h 128240"/>
                    <a:gd name="connsiteX20" fmla="*/ 247769 w 270395"/>
                    <a:gd name="connsiteY20" fmla="*/ 68178 h 128240"/>
                    <a:gd name="connsiteX21" fmla="*/ 255357 w 270395"/>
                    <a:gd name="connsiteY21" fmla="*/ 14503 h 128240"/>
                    <a:gd name="connsiteX22" fmla="*/ 201149 w 270395"/>
                    <a:gd name="connsiteY22" fmla="*/ 14098 h 128240"/>
                    <a:gd name="connsiteX23" fmla="*/ 210158 w 270395"/>
                    <a:gd name="connsiteY23" fmla="*/ 24550 h 128240"/>
                    <a:gd name="connsiteX24" fmla="*/ 209426 w 270395"/>
                    <a:gd name="connsiteY24" fmla="*/ 34413 h 128240"/>
                    <a:gd name="connsiteX25" fmla="*/ 152369 w 270395"/>
                    <a:gd name="connsiteY25" fmla="*/ 83597 h 128240"/>
                    <a:gd name="connsiteX26" fmla="*/ 147272 w 270395"/>
                    <a:gd name="connsiteY26" fmla="*/ 85276 h 128240"/>
                    <a:gd name="connsiteX27" fmla="*/ 142492 w 270395"/>
                    <a:gd name="connsiteY27" fmla="*/ 82858 h 128240"/>
                    <a:gd name="connsiteX28" fmla="*/ 108874 w 270395"/>
                    <a:gd name="connsiteY28" fmla="*/ 43698 h 128240"/>
                    <a:gd name="connsiteX29" fmla="*/ 11528 w 270395"/>
                    <a:gd name="connsiteY29" fmla="*/ 126574 h 128240"/>
                    <a:gd name="connsiteX30" fmla="*/ 6994 w 270395"/>
                    <a:gd name="connsiteY30" fmla="*/ 128241 h 128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70395" h="128240">
                      <a:moveTo>
                        <a:pt x="6994" y="128241"/>
                      </a:moveTo>
                      <a:cubicBezTo>
                        <a:pt x="5021" y="128241"/>
                        <a:pt x="3053" y="127405"/>
                        <a:pt x="1665" y="125782"/>
                      </a:cubicBezTo>
                      <a:cubicBezTo>
                        <a:pt x="-834" y="122838"/>
                        <a:pt x="-480" y="118426"/>
                        <a:pt x="2456" y="115924"/>
                      </a:cubicBezTo>
                      <a:lnTo>
                        <a:pt x="105113" y="28532"/>
                      </a:lnTo>
                      <a:cubicBezTo>
                        <a:pt x="108050" y="26040"/>
                        <a:pt x="112444" y="26379"/>
                        <a:pt x="114957" y="29301"/>
                      </a:cubicBezTo>
                      <a:lnTo>
                        <a:pt x="148550" y="68428"/>
                      </a:lnTo>
                      <a:lnTo>
                        <a:pt x="194996" y="28385"/>
                      </a:lnTo>
                      <a:lnTo>
                        <a:pt x="180489" y="11559"/>
                      </a:lnTo>
                      <a:cubicBezTo>
                        <a:pt x="178701" y="9480"/>
                        <a:pt x="178289" y="6547"/>
                        <a:pt x="179444" y="4055"/>
                      </a:cubicBezTo>
                      <a:cubicBezTo>
                        <a:pt x="180585" y="1579"/>
                        <a:pt x="183065" y="0"/>
                        <a:pt x="185789" y="0"/>
                      </a:cubicBezTo>
                      <a:cubicBezTo>
                        <a:pt x="185803" y="0"/>
                        <a:pt x="185822" y="0"/>
                        <a:pt x="185844" y="0"/>
                      </a:cubicBezTo>
                      <a:lnTo>
                        <a:pt x="263457" y="574"/>
                      </a:lnTo>
                      <a:cubicBezTo>
                        <a:pt x="265474" y="589"/>
                        <a:pt x="267384" y="1472"/>
                        <a:pt x="268701" y="3003"/>
                      </a:cubicBezTo>
                      <a:cubicBezTo>
                        <a:pt x="270012" y="4530"/>
                        <a:pt x="270608" y="6551"/>
                        <a:pt x="270328" y="8549"/>
                      </a:cubicBezTo>
                      <a:lnTo>
                        <a:pt x="259461" y="85401"/>
                      </a:lnTo>
                      <a:cubicBezTo>
                        <a:pt x="259078" y="88117"/>
                        <a:pt x="257139" y="90361"/>
                        <a:pt x="254504" y="91131"/>
                      </a:cubicBezTo>
                      <a:cubicBezTo>
                        <a:pt x="251880" y="91911"/>
                        <a:pt x="249031" y="91064"/>
                        <a:pt x="247235" y="88985"/>
                      </a:cubicBezTo>
                      <a:lnTo>
                        <a:pt x="223396" y="61333"/>
                      </a:lnTo>
                      <a:cubicBezTo>
                        <a:pt x="220875" y="58407"/>
                        <a:pt x="221202" y="53991"/>
                        <a:pt x="224128" y="51470"/>
                      </a:cubicBezTo>
                      <a:cubicBezTo>
                        <a:pt x="227057" y="48945"/>
                        <a:pt x="231459" y="49266"/>
                        <a:pt x="233998" y="52202"/>
                      </a:cubicBezTo>
                      <a:lnTo>
                        <a:pt x="247769" y="68178"/>
                      </a:lnTo>
                      <a:lnTo>
                        <a:pt x="255357" y="14503"/>
                      </a:lnTo>
                      <a:lnTo>
                        <a:pt x="201149" y="14098"/>
                      </a:lnTo>
                      <a:lnTo>
                        <a:pt x="210158" y="24550"/>
                      </a:lnTo>
                      <a:cubicBezTo>
                        <a:pt x="212679" y="27476"/>
                        <a:pt x="212352" y="31892"/>
                        <a:pt x="209426" y="34413"/>
                      </a:cubicBezTo>
                      <a:lnTo>
                        <a:pt x="152369" y="83597"/>
                      </a:lnTo>
                      <a:cubicBezTo>
                        <a:pt x="150964" y="84808"/>
                        <a:pt x="149212" y="85430"/>
                        <a:pt x="147272" y="85276"/>
                      </a:cubicBezTo>
                      <a:cubicBezTo>
                        <a:pt x="145421" y="85139"/>
                        <a:pt x="143699" y="84267"/>
                        <a:pt x="142492" y="82858"/>
                      </a:cubicBezTo>
                      <a:lnTo>
                        <a:pt x="108874" y="43698"/>
                      </a:lnTo>
                      <a:lnTo>
                        <a:pt x="11528" y="126574"/>
                      </a:lnTo>
                      <a:cubicBezTo>
                        <a:pt x="10210" y="127693"/>
                        <a:pt x="8599" y="128241"/>
                        <a:pt x="6994" y="128241"/>
                      </a:cubicBezTo>
                      <a:close/>
                    </a:path>
                  </a:pathLst>
                </a:custGeom>
                <a:solidFill>
                  <a:schemeClr val="accent1"/>
                </a:solidFill>
                <a:ln w="368" cap="flat">
                  <a:noFill/>
                  <a:prstDash val="solid"/>
                  <a:miter/>
                </a:ln>
              </p:spPr>
              <p:txBody>
                <a:bodyPr rtlCol="0" anchor="ctr"/>
                <a:lstStyle/>
                <a:p>
                  <a:endParaRPr lang="en-GB" dirty="0"/>
                </a:p>
              </p:txBody>
            </p:sp>
          </p:grpSp>
        </p:grpSp>
      </p:grpSp>
      <p:grpSp>
        <p:nvGrpSpPr>
          <p:cNvPr id="207" name="Group 206">
            <a:extLst>
              <a:ext uri="{FF2B5EF4-FFF2-40B4-BE49-F238E27FC236}">
                <a16:creationId xmlns:a16="http://schemas.microsoft.com/office/drawing/2014/main" id="{908CA4CD-E7D6-41F2-9B85-9611C0761AA6}"/>
              </a:ext>
            </a:extLst>
          </p:cNvPr>
          <p:cNvGrpSpPr>
            <a:grpSpLocks noChangeAspect="1"/>
          </p:cNvGrpSpPr>
          <p:nvPr/>
        </p:nvGrpSpPr>
        <p:grpSpPr>
          <a:xfrm>
            <a:off x="3753700" y="2391526"/>
            <a:ext cx="407304" cy="432006"/>
            <a:chOff x="5337212" y="1650888"/>
            <a:chExt cx="425697" cy="451513"/>
          </a:xfrm>
        </p:grpSpPr>
        <p:grpSp>
          <p:nvGrpSpPr>
            <p:cNvPr id="208" name="Grafik 336">
              <a:extLst>
                <a:ext uri="{FF2B5EF4-FFF2-40B4-BE49-F238E27FC236}">
                  <a16:creationId xmlns:a16="http://schemas.microsoft.com/office/drawing/2014/main" id="{BBFB9E79-52AE-464E-97F0-474C2D30632B}"/>
                </a:ext>
              </a:extLst>
            </p:cNvPr>
            <p:cNvGrpSpPr/>
            <p:nvPr/>
          </p:nvGrpSpPr>
          <p:grpSpPr>
            <a:xfrm>
              <a:off x="5436715" y="1650888"/>
              <a:ext cx="229465" cy="258001"/>
              <a:chOff x="5436715" y="1650893"/>
              <a:chExt cx="229465" cy="258001"/>
            </a:xfrm>
            <a:solidFill>
              <a:schemeClr val="tx2"/>
            </a:solidFill>
          </p:grpSpPr>
          <p:grpSp>
            <p:nvGrpSpPr>
              <p:cNvPr id="215" name="Grafik 336">
                <a:extLst>
                  <a:ext uri="{FF2B5EF4-FFF2-40B4-BE49-F238E27FC236}">
                    <a16:creationId xmlns:a16="http://schemas.microsoft.com/office/drawing/2014/main" id="{B101E3C4-9F03-4DBB-9FCB-DA7C6AF55760}"/>
                  </a:ext>
                </a:extLst>
              </p:cNvPr>
              <p:cNvGrpSpPr/>
              <p:nvPr/>
            </p:nvGrpSpPr>
            <p:grpSpPr>
              <a:xfrm>
                <a:off x="5482139" y="1832286"/>
                <a:ext cx="140137" cy="76529"/>
                <a:chOff x="5482139" y="1832286"/>
                <a:chExt cx="140137" cy="76529"/>
              </a:xfrm>
              <a:solidFill>
                <a:schemeClr val="accent1"/>
              </a:solidFill>
            </p:grpSpPr>
            <p:sp>
              <p:nvSpPr>
                <p:cNvPr id="220" name="Freihandform: Form 379">
                  <a:extLst>
                    <a:ext uri="{FF2B5EF4-FFF2-40B4-BE49-F238E27FC236}">
                      <a16:creationId xmlns:a16="http://schemas.microsoft.com/office/drawing/2014/main" id="{D1980BEF-6FC7-44E9-9321-F1CEEF04585D}"/>
                    </a:ext>
                  </a:extLst>
                </p:cNvPr>
                <p:cNvSpPr/>
                <p:nvPr/>
              </p:nvSpPr>
              <p:spPr>
                <a:xfrm>
                  <a:off x="5544889" y="1832286"/>
                  <a:ext cx="77387" cy="76529"/>
                </a:xfrm>
                <a:custGeom>
                  <a:avLst/>
                  <a:gdLst>
                    <a:gd name="connsiteX0" fmla="*/ 6458 w 77387"/>
                    <a:gd name="connsiteY0" fmla="*/ 76530 h 76529"/>
                    <a:gd name="connsiteX1" fmla="*/ 0 w 77387"/>
                    <a:gd name="connsiteY1" fmla="*/ 70072 h 76529"/>
                    <a:gd name="connsiteX2" fmla="*/ 0 w 77387"/>
                    <a:gd name="connsiteY2" fmla="*/ 47910 h 76529"/>
                    <a:gd name="connsiteX3" fmla="*/ 17519 w 77387"/>
                    <a:gd name="connsiteY3" fmla="*/ 30391 h 76529"/>
                    <a:gd name="connsiteX4" fmla="*/ 62084 w 77387"/>
                    <a:gd name="connsiteY4" fmla="*/ 30391 h 76529"/>
                    <a:gd name="connsiteX5" fmla="*/ 54989 w 77387"/>
                    <a:gd name="connsiteY5" fmla="*/ 8447 h 76529"/>
                    <a:gd name="connsiteX6" fmla="*/ 59134 w 77387"/>
                    <a:gd name="connsiteY6" fmla="*/ 315 h 76529"/>
                    <a:gd name="connsiteX7" fmla="*/ 67266 w 77387"/>
                    <a:gd name="connsiteY7" fmla="*/ 4461 h 76529"/>
                    <a:gd name="connsiteX8" fmla="*/ 77072 w 77387"/>
                    <a:gd name="connsiteY8" fmla="*/ 34835 h 76529"/>
                    <a:gd name="connsiteX9" fmla="*/ 76155 w 77387"/>
                    <a:gd name="connsiteY9" fmla="*/ 40615 h 76529"/>
                    <a:gd name="connsiteX10" fmla="*/ 70933 w 77387"/>
                    <a:gd name="connsiteY10" fmla="*/ 43266 h 76529"/>
                    <a:gd name="connsiteX11" fmla="*/ 17499 w 77387"/>
                    <a:gd name="connsiteY11" fmla="*/ 43266 h 76529"/>
                    <a:gd name="connsiteX12" fmla="*/ 12875 w 77387"/>
                    <a:gd name="connsiteY12" fmla="*/ 47890 h 76529"/>
                    <a:gd name="connsiteX13" fmla="*/ 12875 w 77387"/>
                    <a:gd name="connsiteY13" fmla="*/ 70053 h 76529"/>
                    <a:gd name="connsiteX14" fmla="*/ 6458 w 77387"/>
                    <a:gd name="connsiteY14" fmla="*/ 76530 h 76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387" h="76529">
                      <a:moveTo>
                        <a:pt x="6458" y="76530"/>
                      </a:moveTo>
                      <a:cubicBezTo>
                        <a:pt x="2890" y="76530"/>
                        <a:pt x="0" y="73640"/>
                        <a:pt x="0" y="70072"/>
                      </a:cubicBezTo>
                      <a:lnTo>
                        <a:pt x="0" y="47910"/>
                      </a:lnTo>
                      <a:cubicBezTo>
                        <a:pt x="0" y="38243"/>
                        <a:pt x="7853" y="30391"/>
                        <a:pt x="17519" y="30391"/>
                      </a:cubicBezTo>
                      <a:lnTo>
                        <a:pt x="62084" y="30391"/>
                      </a:lnTo>
                      <a:lnTo>
                        <a:pt x="54989" y="8447"/>
                      </a:lnTo>
                      <a:cubicBezTo>
                        <a:pt x="53892" y="5059"/>
                        <a:pt x="55746" y="1411"/>
                        <a:pt x="59134" y="315"/>
                      </a:cubicBezTo>
                      <a:cubicBezTo>
                        <a:pt x="62542" y="-781"/>
                        <a:pt x="66170" y="1073"/>
                        <a:pt x="67266" y="4461"/>
                      </a:cubicBezTo>
                      <a:lnTo>
                        <a:pt x="77072" y="34835"/>
                      </a:lnTo>
                      <a:cubicBezTo>
                        <a:pt x="77710" y="36808"/>
                        <a:pt x="77371" y="38941"/>
                        <a:pt x="76155" y="40615"/>
                      </a:cubicBezTo>
                      <a:cubicBezTo>
                        <a:pt x="74939" y="42289"/>
                        <a:pt x="73006" y="43266"/>
                        <a:pt x="70933" y="43266"/>
                      </a:cubicBezTo>
                      <a:lnTo>
                        <a:pt x="17499" y="43266"/>
                      </a:lnTo>
                      <a:cubicBezTo>
                        <a:pt x="14948" y="43266"/>
                        <a:pt x="12875" y="45339"/>
                        <a:pt x="12875" y="47890"/>
                      </a:cubicBezTo>
                      <a:lnTo>
                        <a:pt x="12875" y="70053"/>
                      </a:lnTo>
                      <a:cubicBezTo>
                        <a:pt x="12915" y="73640"/>
                        <a:pt x="10025" y="76530"/>
                        <a:pt x="6458" y="76530"/>
                      </a:cubicBezTo>
                      <a:close/>
                    </a:path>
                  </a:pathLst>
                </a:custGeom>
                <a:solidFill>
                  <a:schemeClr val="accent1"/>
                </a:solidFill>
                <a:ln w="1992" cap="flat">
                  <a:noFill/>
                  <a:prstDash val="solid"/>
                  <a:miter/>
                </a:ln>
              </p:spPr>
              <p:txBody>
                <a:bodyPr rtlCol="0" anchor="ctr"/>
                <a:lstStyle/>
                <a:p>
                  <a:endParaRPr lang="en-GB" dirty="0"/>
                </a:p>
              </p:txBody>
            </p:sp>
            <p:sp>
              <p:nvSpPr>
                <p:cNvPr id="221" name="Freihandform: Form 380">
                  <a:extLst>
                    <a:ext uri="{FF2B5EF4-FFF2-40B4-BE49-F238E27FC236}">
                      <a16:creationId xmlns:a16="http://schemas.microsoft.com/office/drawing/2014/main" id="{3BA0E4E8-706B-4038-871D-5C8CD2B82507}"/>
                    </a:ext>
                  </a:extLst>
                </p:cNvPr>
                <p:cNvSpPr/>
                <p:nvPr/>
              </p:nvSpPr>
              <p:spPr>
                <a:xfrm>
                  <a:off x="5482139" y="1832570"/>
                  <a:ext cx="75665" cy="76245"/>
                </a:xfrm>
                <a:custGeom>
                  <a:avLst/>
                  <a:gdLst>
                    <a:gd name="connsiteX0" fmla="*/ 69208 w 75665"/>
                    <a:gd name="connsiteY0" fmla="*/ 76245 h 76245"/>
                    <a:gd name="connsiteX1" fmla="*/ 62750 w 75665"/>
                    <a:gd name="connsiteY1" fmla="*/ 69788 h 76245"/>
                    <a:gd name="connsiteX2" fmla="*/ 62750 w 75665"/>
                    <a:gd name="connsiteY2" fmla="*/ 47625 h 76245"/>
                    <a:gd name="connsiteX3" fmla="*/ 58126 w 75665"/>
                    <a:gd name="connsiteY3" fmla="*/ 43001 h 76245"/>
                    <a:gd name="connsiteX4" fmla="*/ 6446 w 75665"/>
                    <a:gd name="connsiteY4" fmla="*/ 43001 h 76245"/>
                    <a:gd name="connsiteX5" fmla="*/ 1304 w 75665"/>
                    <a:gd name="connsiteY5" fmla="*/ 40430 h 76245"/>
                    <a:gd name="connsiteX6" fmla="*/ 248 w 75665"/>
                    <a:gd name="connsiteY6" fmla="*/ 34770 h 76245"/>
                    <a:gd name="connsiteX7" fmla="*/ 8858 w 75665"/>
                    <a:gd name="connsiteY7" fmla="*/ 4674 h 76245"/>
                    <a:gd name="connsiteX8" fmla="*/ 16830 w 75665"/>
                    <a:gd name="connsiteY8" fmla="*/ 250 h 76245"/>
                    <a:gd name="connsiteX9" fmla="*/ 21255 w 75665"/>
                    <a:gd name="connsiteY9" fmla="*/ 8222 h 76245"/>
                    <a:gd name="connsiteX10" fmla="*/ 14996 w 75665"/>
                    <a:gd name="connsiteY10" fmla="*/ 30106 h 76245"/>
                    <a:gd name="connsiteX11" fmla="*/ 58126 w 75665"/>
                    <a:gd name="connsiteY11" fmla="*/ 30106 h 76245"/>
                    <a:gd name="connsiteX12" fmla="*/ 75665 w 75665"/>
                    <a:gd name="connsiteY12" fmla="*/ 47625 h 76245"/>
                    <a:gd name="connsiteX13" fmla="*/ 75665 w 75665"/>
                    <a:gd name="connsiteY13" fmla="*/ 69788 h 76245"/>
                    <a:gd name="connsiteX14" fmla="*/ 69208 w 75665"/>
                    <a:gd name="connsiteY14" fmla="*/ 76245 h 7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665" h="76245">
                      <a:moveTo>
                        <a:pt x="69208" y="76245"/>
                      </a:moveTo>
                      <a:cubicBezTo>
                        <a:pt x="65640" y="76245"/>
                        <a:pt x="62750" y="73355"/>
                        <a:pt x="62750" y="69788"/>
                      </a:cubicBezTo>
                      <a:lnTo>
                        <a:pt x="62750" y="47625"/>
                      </a:lnTo>
                      <a:cubicBezTo>
                        <a:pt x="62750" y="45074"/>
                        <a:pt x="60677" y="43001"/>
                        <a:pt x="58126" y="43001"/>
                      </a:cubicBezTo>
                      <a:lnTo>
                        <a:pt x="6446" y="43001"/>
                      </a:lnTo>
                      <a:cubicBezTo>
                        <a:pt x="4413" y="43001"/>
                        <a:pt x="2520" y="42044"/>
                        <a:pt x="1304" y="40430"/>
                      </a:cubicBezTo>
                      <a:cubicBezTo>
                        <a:pt x="88" y="38816"/>
                        <a:pt x="-310" y="36723"/>
                        <a:pt x="248" y="34770"/>
                      </a:cubicBezTo>
                      <a:lnTo>
                        <a:pt x="8858" y="4674"/>
                      </a:lnTo>
                      <a:cubicBezTo>
                        <a:pt x="9834" y="1246"/>
                        <a:pt x="13402" y="-727"/>
                        <a:pt x="16830" y="250"/>
                      </a:cubicBezTo>
                      <a:cubicBezTo>
                        <a:pt x="20258" y="1226"/>
                        <a:pt x="22231" y="4794"/>
                        <a:pt x="21255" y="8222"/>
                      </a:cubicBezTo>
                      <a:lnTo>
                        <a:pt x="14996" y="30106"/>
                      </a:lnTo>
                      <a:lnTo>
                        <a:pt x="58126" y="30106"/>
                      </a:lnTo>
                      <a:cubicBezTo>
                        <a:pt x="67793" y="30106"/>
                        <a:pt x="75665" y="37958"/>
                        <a:pt x="75665" y="47625"/>
                      </a:cubicBezTo>
                      <a:lnTo>
                        <a:pt x="75665" y="69788"/>
                      </a:lnTo>
                      <a:cubicBezTo>
                        <a:pt x="75665" y="73355"/>
                        <a:pt x="72775" y="76245"/>
                        <a:pt x="69208" y="76245"/>
                      </a:cubicBezTo>
                      <a:close/>
                    </a:path>
                  </a:pathLst>
                </a:custGeom>
                <a:solidFill>
                  <a:schemeClr val="accent1"/>
                </a:solidFill>
                <a:ln w="1992" cap="flat">
                  <a:noFill/>
                  <a:prstDash val="solid"/>
                  <a:miter/>
                </a:ln>
              </p:spPr>
              <p:txBody>
                <a:bodyPr rtlCol="0" anchor="ctr"/>
                <a:lstStyle/>
                <a:p>
                  <a:endParaRPr lang="en-GB" dirty="0"/>
                </a:p>
              </p:txBody>
            </p:sp>
          </p:grpSp>
          <p:sp>
            <p:nvSpPr>
              <p:cNvPr id="216" name="Freihandform: Form 381">
                <a:extLst>
                  <a:ext uri="{FF2B5EF4-FFF2-40B4-BE49-F238E27FC236}">
                    <a16:creationId xmlns:a16="http://schemas.microsoft.com/office/drawing/2014/main" id="{545D83C6-4004-4F82-969E-60D17F257A7A}"/>
                  </a:ext>
                </a:extLst>
              </p:cNvPr>
              <p:cNvSpPr/>
              <p:nvPr/>
            </p:nvSpPr>
            <p:spPr>
              <a:xfrm>
                <a:off x="5538551" y="1766989"/>
                <a:ext cx="25810" cy="12915"/>
              </a:xfrm>
              <a:custGeom>
                <a:avLst/>
                <a:gdLst>
                  <a:gd name="connsiteX0" fmla="*/ 19353 w 25810"/>
                  <a:gd name="connsiteY0" fmla="*/ 12915 h 12915"/>
                  <a:gd name="connsiteX1" fmla="*/ 6458 w 25810"/>
                  <a:gd name="connsiteY1" fmla="*/ 12915 h 12915"/>
                  <a:gd name="connsiteX2" fmla="*/ 0 w 25810"/>
                  <a:gd name="connsiteY2" fmla="*/ 6458 h 12915"/>
                  <a:gd name="connsiteX3" fmla="*/ 6458 w 25810"/>
                  <a:gd name="connsiteY3" fmla="*/ 0 h 12915"/>
                  <a:gd name="connsiteX4" fmla="*/ 19353 w 25810"/>
                  <a:gd name="connsiteY4" fmla="*/ 0 h 12915"/>
                  <a:gd name="connsiteX5" fmla="*/ 25810 w 25810"/>
                  <a:gd name="connsiteY5" fmla="*/ 6458 h 12915"/>
                  <a:gd name="connsiteX6" fmla="*/ 19353 w 25810"/>
                  <a:gd name="connsiteY6" fmla="*/ 12915 h 1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10" h="12915">
                    <a:moveTo>
                      <a:pt x="19353" y="12915"/>
                    </a:moveTo>
                    <a:lnTo>
                      <a:pt x="6458" y="12915"/>
                    </a:lnTo>
                    <a:cubicBezTo>
                      <a:pt x="2890" y="12915"/>
                      <a:pt x="0" y="10025"/>
                      <a:pt x="0" y="6458"/>
                    </a:cubicBezTo>
                    <a:cubicBezTo>
                      <a:pt x="0" y="2890"/>
                      <a:pt x="2890" y="0"/>
                      <a:pt x="6458" y="0"/>
                    </a:cubicBezTo>
                    <a:lnTo>
                      <a:pt x="19353" y="0"/>
                    </a:lnTo>
                    <a:cubicBezTo>
                      <a:pt x="22920" y="0"/>
                      <a:pt x="25810" y="2890"/>
                      <a:pt x="25810" y="6458"/>
                    </a:cubicBezTo>
                    <a:cubicBezTo>
                      <a:pt x="25790" y="10025"/>
                      <a:pt x="22920" y="12915"/>
                      <a:pt x="19353" y="12915"/>
                    </a:cubicBezTo>
                    <a:close/>
                  </a:path>
                </a:pathLst>
              </a:custGeom>
              <a:solidFill>
                <a:schemeClr val="accent1"/>
              </a:solidFill>
              <a:ln w="1992" cap="flat">
                <a:noFill/>
                <a:prstDash val="solid"/>
                <a:miter/>
              </a:ln>
            </p:spPr>
            <p:txBody>
              <a:bodyPr rtlCol="0" anchor="ctr"/>
              <a:lstStyle/>
              <a:p>
                <a:endParaRPr lang="en-GB" dirty="0"/>
              </a:p>
            </p:txBody>
          </p:sp>
          <p:sp>
            <p:nvSpPr>
              <p:cNvPr id="217" name="Freihandform: Form 382">
                <a:extLst>
                  <a:ext uri="{FF2B5EF4-FFF2-40B4-BE49-F238E27FC236}">
                    <a16:creationId xmlns:a16="http://schemas.microsoft.com/office/drawing/2014/main" id="{314589A5-CB72-4C84-B86E-75C410B60316}"/>
                  </a:ext>
                </a:extLst>
              </p:cNvPr>
              <p:cNvSpPr/>
              <p:nvPr/>
            </p:nvSpPr>
            <p:spPr>
              <a:xfrm>
                <a:off x="5506303" y="1650893"/>
                <a:ext cx="90285" cy="103200"/>
              </a:xfrm>
              <a:custGeom>
                <a:avLst/>
                <a:gdLst>
                  <a:gd name="connsiteX0" fmla="*/ 45143 w 90285"/>
                  <a:gd name="connsiteY0" fmla="*/ 103201 h 103200"/>
                  <a:gd name="connsiteX1" fmla="*/ 0 w 90285"/>
                  <a:gd name="connsiteY1" fmla="*/ 51600 h 103200"/>
                  <a:gd name="connsiteX2" fmla="*/ 45143 w 90285"/>
                  <a:gd name="connsiteY2" fmla="*/ 0 h 103200"/>
                  <a:gd name="connsiteX3" fmla="*/ 90286 w 90285"/>
                  <a:gd name="connsiteY3" fmla="*/ 51600 h 103200"/>
                  <a:gd name="connsiteX4" fmla="*/ 45143 w 90285"/>
                  <a:gd name="connsiteY4" fmla="*/ 103201 h 103200"/>
                  <a:gd name="connsiteX5" fmla="*/ 45143 w 90285"/>
                  <a:gd name="connsiteY5" fmla="*/ 12895 h 103200"/>
                  <a:gd name="connsiteX6" fmla="*/ 12895 w 90285"/>
                  <a:gd name="connsiteY6" fmla="*/ 51600 h 103200"/>
                  <a:gd name="connsiteX7" fmla="*/ 45143 w 90285"/>
                  <a:gd name="connsiteY7" fmla="*/ 90306 h 103200"/>
                  <a:gd name="connsiteX8" fmla="*/ 77391 w 90285"/>
                  <a:gd name="connsiteY8" fmla="*/ 51600 h 103200"/>
                  <a:gd name="connsiteX9" fmla="*/ 45143 w 90285"/>
                  <a:gd name="connsiteY9" fmla="*/ 12895 h 1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85" h="103200">
                    <a:moveTo>
                      <a:pt x="45143" y="103201"/>
                    </a:moveTo>
                    <a:cubicBezTo>
                      <a:pt x="18137" y="103201"/>
                      <a:pt x="0" y="82473"/>
                      <a:pt x="0" y="51600"/>
                    </a:cubicBezTo>
                    <a:cubicBezTo>
                      <a:pt x="0" y="20728"/>
                      <a:pt x="18137" y="0"/>
                      <a:pt x="45143" y="0"/>
                    </a:cubicBezTo>
                    <a:cubicBezTo>
                      <a:pt x="72149" y="0"/>
                      <a:pt x="90286" y="20728"/>
                      <a:pt x="90286" y="51600"/>
                    </a:cubicBezTo>
                    <a:cubicBezTo>
                      <a:pt x="90286" y="82473"/>
                      <a:pt x="72149" y="103201"/>
                      <a:pt x="45143" y="103201"/>
                    </a:cubicBezTo>
                    <a:close/>
                    <a:moveTo>
                      <a:pt x="45143" y="12895"/>
                    </a:moveTo>
                    <a:cubicBezTo>
                      <a:pt x="21346" y="12895"/>
                      <a:pt x="12895" y="33743"/>
                      <a:pt x="12895" y="51600"/>
                    </a:cubicBezTo>
                    <a:cubicBezTo>
                      <a:pt x="12895" y="69458"/>
                      <a:pt x="21346" y="90306"/>
                      <a:pt x="45143" y="90306"/>
                    </a:cubicBezTo>
                    <a:cubicBezTo>
                      <a:pt x="68940" y="90306"/>
                      <a:pt x="77391" y="69458"/>
                      <a:pt x="77391" y="51600"/>
                    </a:cubicBezTo>
                    <a:cubicBezTo>
                      <a:pt x="77391" y="33743"/>
                      <a:pt x="68960" y="12895"/>
                      <a:pt x="45143" y="12895"/>
                    </a:cubicBezTo>
                    <a:close/>
                  </a:path>
                </a:pathLst>
              </a:custGeom>
              <a:solidFill>
                <a:schemeClr val="accent1"/>
              </a:solidFill>
              <a:ln w="1992" cap="flat">
                <a:noFill/>
                <a:prstDash val="solid"/>
                <a:miter/>
              </a:ln>
            </p:spPr>
            <p:txBody>
              <a:bodyPr rtlCol="0" anchor="ctr"/>
              <a:lstStyle/>
              <a:p>
                <a:endParaRPr lang="en-GB" dirty="0"/>
              </a:p>
            </p:txBody>
          </p:sp>
          <p:sp>
            <p:nvSpPr>
              <p:cNvPr id="218" name="Freihandform: Form 383">
                <a:extLst>
                  <a:ext uri="{FF2B5EF4-FFF2-40B4-BE49-F238E27FC236}">
                    <a16:creationId xmlns:a16="http://schemas.microsoft.com/office/drawing/2014/main" id="{74077069-6A27-4FC8-876A-9A8017FF6245}"/>
                  </a:ext>
                </a:extLst>
              </p:cNvPr>
              <p:cNvSpPr/>
              <p:nvPr/>
            </p:nvSpPr>
            <p:spPr>
              <a:xfrm>
                <a:off x="5544988" y="1766989"/>
                <a:ext cx="12915" cy="64515"/>
              </a:xfrm>
              <a:custGeom>
                <a:avLst/>
                <a:gdLst>
                  <a:gd name="connsiteX0" fmla="*/ 6458 w 12915"/>
                  <a:gd name="connsiteY0" fmla="*/ 64515 h 64515"/>
                  <a:gd name="connsiteX1" fmla="*/ 0 w 12915"/>
                  <a:gd name="connsiteY1" fmla="*/ 58058 h 64515"/>
                  <a:gd name="connsiteX2" fmla="*/ 0 w 12915"/>
                  <a:gd name="connsiteY2" fmla="*/ 6458 h 64515"/>
                  <a:gd name="connsiteX3" fmla="*/ 6458 w 12915"/>
                  <a:gd name="connsiteY3" fmla="*/ 0 h 64515"/>
                  <a:gd name="connsiteX4" fmla="*/ 12915 w 12915"/>
                  <a:gd name="connsiteY4" fmla="*/ 6458 h 64515"/>
                  <a:gd name="connsiteX5" fmla="*/ 12915 w 12915"/>
                  <a:gd name="connsiteY5" fmla="*/ 58058 h 64515"/>
                  <a:gd name="connsiteX6" fmla="*/ 6458 w 12915"/>
                  <a:gd name="connsiteY6" fmla="*/ 64515 h 6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5" h="64515">
                    <a:moveTo>
                      <a:pt x="6458" y="64515"/>
                    </a:moveTo>
                    <a:cubicBezTo>
                      <a:pt x="2890" y="64515"/>
                      <a:pt x="0" y="61625"/>
                      <a:pt x="0" y="58058"/>
                    </a:cubicBezTo>
                    <a:lnTo>
                      <a:pt x="0" y="6458"/>
                    </a:lnTo>
                    <a:cubicBezTo>
                      <a:pt x="0" y="2890"/>
                      <a:pt x="2890" y="0"/>
                      <a:pt x="6458" y="0"/>
                    </a:cubicBezTo>
                    <a:cubicBezTo>
                      <a:pt x="10025" y="0"/>
                      <a:pt x="12915" y="2890"/>
                      <a:pt x="12915" y="6458"/>
                    </a:cubicBezTo>
                    <a:lnTo>
                      <a:pt x="12915" y="58058"/>
                    </a:lnTo>
                    <a:cubicBezTo>
                      <a:pt x="12915" y="61625"/>
                      <a:pt x="10025" y="64515"/>
                      <a:pt x="6458" y="64515"/>
                    </a:cubicBezTo>
                    <a:close/>
                  </a:path>
                </a:pathLst>
              </a:custGeom>
              <a:solidFill>
                <a:schemeClr val="accent1"/>
              </a:solidFill>
              <a:ln w="1992" cap="flat">
                <a:noFill/>
                <a:prstDash val="solid"/>
                <a:miter/>
              </a:ln>
            </p:spPr>
            <p:txBody>
              <a:bodyPr rtlCol="0" anchor="ctr"/>
              <a:lstStyle/>
              <a:p>
                <a:endParaRPr lang="en-GB" dirty="0"/>
              </a:p>
            </p:txBody>
          </p:sp>
          <p:sp>
            <p:nvSpPr>
              <p:cNvPr id="219" name="Freihandform: Form 384">
                <a:extLst>
                  <a:ext uri="{FF2B5EF4-FFF2-40B4-BE49-F238E27FC236}">
                    <a16:creationId xmlns:a16="http://schemas.microsoft.com/office/drawing/2014/main" id="{1C442D39-264E-4140-BB35-DC1F167D5F48}"/>
                  </a:ext>
                </a:extLst>
              </p:cNvPr>
              <p:cNvSpPr/>
              <p:nvPr/>
            </p:nvSpPr>
            <p:spPr>
              <a:xfrm>
                <a:off x="5436715" y="1766989"/>
                <a:ext cx="229465" cy="141906"/>
              </a:xfrm>
              <a:custGeom>
                <a:avLst/>
                <a:gdLst>
                  <a:gd name="connsiteX0" fmla="*/ 205036 w 229465"/>
                  <a:gd name="connsiteY0" fmla="*/ 141906 h 141906"/>
                  <a:gd name="connsiteX1" fmla="*/ 24425 w 229465"/>
                  <a:gd name="connsiteY1" fmla="*/ 141906 h 141906"/>
                  <a:gd name="connsiteX2" fmla="*/ 4853 w 229465"/>
                  <a:gd name="connsiteY2" fmla="*/ 132818 h 141906"/>
                  <a:gd name="connsiteX3" fmla="*/ 2143 w 229465"/>
                  <a:gd name="connsiteY3" fmla="*/ 103280 h 141906"/>
                  <a:gd name="connsiteX4" fmla="*/ 22113 w 229465"/>
                  <a:gd name="connsiteY4" fmla="*/ 41456 h 141906"/>
                  <a:gd name="connsiteX5" fmla="*/ 71422 w 229465"/>
                  <a:gd name="connsiteY5" fmla="*/ 0 h 141906"/>
                  <a:gd name="connsiteX6" fmla="*/ 76026 w 229465"/>
                  <a:gd name="connsiteY6" fmla="*/ 0 h 141906"/>
                  <a:gd name="connsiteX7" fmla="*/ 81526 w 229465"/>
                  <a:gd name="connsiteY7" fmla="*/ 3089 h 141906"/>
                  <a:gd name="connsiteX8" fmla="*/ 114551 w 229465"/>
                  <a:gd name="connsiteY8" fmla="*/ 57041 h 141906"/>
                  <a:gd name="connsiteX9" fmla="*/ 147935 w 229465"/>
                  <a:gd name="connsiteY9" fmla="*/ 3089 h 141906"/>
                  <a:gd name="connsiteX10" fmla="*/ 153436 w 229465"/>
                  <a:gd name="connsiteY10" fmla="*/ 0 h 141906"/>
                  <a:gd name="connsiteX11" fmla="*/ 158040 w 229465"/>
                  <a:gd name="connsiteY11" fmla="*/ 0 h 141906"/>
                  <a:gd name="connsiteX12" fmla="*/ 207289 w 229465"/>
                  <a:gd name="connsiteY12" fmla="*/ 41276 h 141906"/>
                  <a:gd name="connsiteX13" fmla="*/ 227299 w 229465"/>
                  <a:gd name="connsiteY13" fmla="*/ 103241 h 141906"/>
                  <a:gd name="connsiteX14" fmla="*/ 224608 w 229465"/>
                  <a:gd name="connsiteY14" fmla="*/ 132818 h 141906"/>
                  <a:gd name="connsiteX15" fmla="*/ 205036 w 229465"/>
                  <a:gd name="connsiteY15" fmla="*/ 141906 h 141906"/>
                  <a:gd name="connsiteX16" fmla="*/ 71422 w 229465"/>
                  <a:gd name="connsiteY16" fmla="*/ 12915 h 141906"/>
                  <a:gd name="connsiteX17" fmla="*/ 34331 w 229465"/>
                  <a:gd name="connsiteY17" fmla="*/ 45601 h 141906"/>
                  <a:gd name="connsiteX18" fmla="*/ 14440 w 229465"/>
                  <a:gd name="connsiteY18" fmla="*/ 107207 h 141906"/>
                  <a:gd name="connsiteX19" fmla="*/ 15257 w 229465"/>
                  <a:gd name="connsiteY19" fmla="*/ 125204 h 141906"/>
                  <a:gd name="connsiteX20" fmla="*/ 24425 w 229465"/>
                  <a:gd name="connsiteY20" fmla="*/ 129011 h 141906"/>
                  <a:gd name="connsiteX21" fmla="*/ 205036 w 229465"/>
                  <a:gd name="connsiteY21" fmla="*/ 129011 h 141906"/>
                  <a:gd name="connsiteX22" fmla="*/ 214205 w 229465"/>
                  <a:gd name="connsiteY22" fmla="*/ 125204 h 141906"/>
                  <a:gd name="connsiteX23" fmla="*/ 215002 w 229465"/>
                  <a:gd name="connsiteY23" fmla="*/ 107167 h 141906"/>
                  <a:gd name="connsiteX24" fmla="*/ 195071 w 229465"/>
                  <a:gd name="connsiteY24" fmla="*/ 45422 h 141906"/>
                  <a:gd name="connsiteX25" fmla="*/ 158040 w 229465"/>
                  <a:gd name="connsiteY25" fmla="*/ 12895 h 141906"/>
                  <a:gd name="connsiteX26" fmla="*/ 157044 w 229465"/>
                  <a:gd name="connsiteY26" fmla="*/ 12895 h 141906"/>
                  <a:gd name="connsiteX27" fmla="*/ 125912 w 229465"/>
                  <a:gd name="connsiteY27" fmla="*/ 63758 h 141906"/>
                  <a:gd name="connsiteX28" fmla="*/ 114731 w 229465"/>
                  <a:gd name="connsiteY28" fmla="*/ 70236 h 141906"/>
                  <a:gd name="connsiteX29" fmla="*/ 103370 w 229465"/>
                  <a:gd name="connsiteY29" fmla="*/ 63459 h 141906"/>
                  <a:gd name="connsiteX30" fmla="*/ 72418 w 229465"/>
                  <a:gd name="connsiteY30" fmla="*/ 12895 h 141906"/>
                  <a:gd name="connsiteX31" fmla="*/ 71422 w 229465"/>
                  <a:gd name="connsiteY31" fmla="*/ 12895 h 14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29465" h="141906">
                    <a:moveTo>
                      <a:pt x="205036" y="141906"/>
                    </a:moveTo>
                    <a:lnTo>
                      <a:pt x="24425" y="141906"/>
                    </a:lnTo>
                    <a:cubicBezTo>
                      <a:pt x="13742" y="141906"/>
                      <a:pt x="7883" y="136963"/>
                      <a:pt x="4853" y="132818"/>
                    </a:cubicBezTo>
                    <a:cubicBezTo>
                      <a:pt x="-488" y="125523"/>
                      <a:pt x="-1465" y="114761"/>
                      <a:pt x="2143" y="103280"/>
                    </a:cubicBezTo>
                    <a:lnTo>
                      <a:pt x="22113" y="41456"/>
                    </a:lnTo>
                    <a:cubicBezTo>
                      <a:pt x="31899" y="13892"/>
                      <a:pt x="48462" y="0"/>
                      <a:pt x="71422" y="0"/>
                    </a:cubicBezTo>
                    <a:lnTo>
                      <a:pt x="76026" y="0"/>
                    </a:lnTo>
                    <a:cubicBezTo>
                      <a:pt x="78278" y="0"/>
                      <a:pt x="80351" y="1176"/>
                      <a:pt x="81526" y="3089"/>
                    </a:cubicBezTo>
                    <a:lnTo>
                      <a:pt x="114551" y="57041"/>
                    </a:lnTo>
                    <a:lnTo>
                      <a:pt x="147935" y="3089"/>
                    </a:lnTo>
                    <a:cubicBezTo>
                      <a:pt x="149111" y="1176"/>
                      <a:pt x="151184" y="0"/>
                      <a:pt x="153436" y="0"/>
                    </a:cubicBezTo>
                    <a:lnTo>
                      <a:pt x="158040" y="0"/>
                    </a:lnTo>
                    <a:cubicBezTo>
                      <a:pt x="181000" y="0"/>
                      <a:pt x="197563" y="13892"/>
                      <a:pt x="207289" y="41276"/>
                    </a:cubicBezTo>
                    <a:lnTo>
                      <a:pt x="227299" y="103241"/>
                    </a:lnTo>
                    <a:cubicBezTo>
                      <a:pt x="230946" y="114761"/>
                      <a:pt x="229950" y="125523"/>
                      <a:pt x="224608" y="132818"/>
                    </a:cubicBezTo>
                    <a:cubicBezTo>
                      <a:pt x="221579" y="136983"/>
                      <a:pt x="215719" y="141906"/>
                      <a:pt x="205036" y="141906"/>
                    </a:cubicBezTo>
                    <a:close/>
                    <a:moveTo>
                      <a:pt x="71422" y="12915"/>
                    </a:moveTo>
                    <a:cubicBezTo>
                      <a:pt x="54042" y="12915"/>
                      <a:pt x="42263" y="23299"/>
                      <a:pt x="34331" y="45601"/>
                    </a:cubicBezTo>
                    <a:lnTo>
                      <a:pt x="14440" y="107207"/>
                    </a:lnTo>
                    <a:cubicBezTo>
                      <a:pt x="12148" y="114462"/>
                      <a:pt x="12447" y="121377"/>
                      <a:pt x="15257" y="125204"/>
                    </a:cubicBezTo>
                    <a:cubicBezTo>
                      <a:pt x="17131" y="127755"/>
                      <a:pt x="20140" y="129011"/>
                      <a:pt x="24425" y="129011"/>
                    </a:cubicBezTo>
                    <a:lnTo>
                      <a:pt x="205036" y="129011"/>
                    </a:lnTo>
                    <a:cubicBezTo>
                      <a:pt x="209322" y="129011"/>
                      <a:pt x="212331" y="127755"/>
                      <a:pt x="214205" y="125204"/>
                    </a:cubicBezTo>
                    <a:cubicBezTo>
                      <a:pt x="217015" y="121377"/>
                      <a:pt x="217314" y="114462"/>
                      <a:pt x="215002" y="107167"/>
                    </a:cubicBezTo>
                    <a:lnTo>
                      <a:pt x="195071" y="45422"/>
                    </a:lnTo>
                    <a:cubicBezTo>
                      <a:pt x="187219" y="23299"/>
                      <a:pt x="175420" y="12895"/>
                      <a:pt x="158040" y="12895"/>
                    </a:cubicBezTo>
                    <a:lnTo>
                      <a:pt x="157044" y="12895"/>
                    </a:lnTo>
                    <a:lnTo>
                      <a:pt x="125912" y="63758"/>
                    </a:lnTo>
                    <a:cubicBezTo>
                      <a:pt x="123839" y="67645"/>
                      <a:pt x="119474" y="70236"/>
                      <a:pt x="114731" y="70236"/>
                    </a:cubicBezTo>
                    <a:cubicBezTo>
                      <a:pt x="109987" y="70236"/>
                      <a:pt x="105623" y="67645"/>
                      <a:pt x="103370" y="63459"/>
                    </a:cubicBezTo>
                    <a:lnTo>
                      <a:pt x="72418" y="12895"/>
                    </a:lnTo>
                    <a:lnTo>
                      <a:pt x="71422" y="12895"/>
                    </a:lnTo>
                    <a:close/>
                  </a:path>
                </a:pathLst>
              </a:custGeom>
              <a:solidFill>
                <a:schemeClr val="accent1"/>
              </a:solidFill>
              <a:ln w="1992" cap="flat">
                <a:noFill/>
                <a:prstDash val="solid"/>
                <a:miter/>
              </a:ln>
            </p:spPr>
            <p:txBody>
              <a:bodyPr rtlCol="0" anchor="ctr"/>
              <a:lstStyle/>
              <a:p>
                <a:endParaRPr lang="en-GB" dirty="0"/>
              </a:p>
            </p:txBody>
          </p:sp>
        </p:grpSp>
        <p:grpSp>
          <p:nvGrpSpPr>
            <p:cNvPr id="209" name="Group 208">
              <a:extLst>
                <a:ext uri="{FF2B5EF4-FFF2-40B4-BE49-F238E27FC236}">
                  <a16:creationId xmlns:a16="http://schemas.microsoft.com/office/drawing/2014/main" id="{93907E9C-16CC-4A3B-A490-F084830AE317}"/>
                </a:ext>
              </a:extLst>
            </p:cNvPr>
            <p:cNvGrpSpPr/>
            <p:nvPr/>
          </p:nvGrpSpPr>
          <p:grpSpPr>
            <a:xfrm>
              <a:off x="5337212" y="1928249"/>
              <a:ext cx="425697" cy="174152"/>
              <a:chOff x="5337212" y="1928248"/>
              <a:chExt cx="425697" cy="174153"/>
            </a:xfrm>
          </p:grpSpPr>
          <p:sp>
            <p:nvSpPr>
              <p:cNvPr id="210" name="Freihandform: Form 385">
                <a:extLst>
                  <a:ext uri="{FF2B5EF4-FFF2-40B4-BE49-F238E27FC236}">
                    <a16:creationId xmlns:a16="http://schemas.microsoft.com/office/drawing/2014/main" id="{06F6322B-DEEF-4844-BA50-E1F7C3B72F73}"/>
                  </a:ext>
                </a:extLst>
              </p:cNvPr>
              <p:cNvSpPr/>
              <p:nvPr/>
            </p:nvSpPr>
            <p:spPr>
              <a:xfrm>
                <a:off x="5543613" y="1928248"/>
                <a:ext cx="12915" cy="64515"/>
              </a:xfrm>
              <a:custGeom>
                <a:avLst/>
                <a:gdLst>
                  <a:gd name="connsiteX0" fmla="*/ 6458 w 12915"/>
                  <a:gd name="connsiteY0" fmla="*/ 64515 h 64515"/>
                  <a:gd name="connsiteX1" fmla="*/ 0 w 12915"/>
                  <a:gd name="connsiteY1" fmla="*/ 58058 h 64515"/>
                  <a:gd name="connsiteX2" fmla="*/ 0 w 12915"/>
                  <a:gd name="connsiteY2" fmla="*/ 6458 h 64515"/>
                  <a:gd name="connsiteX3" fmla="*/ 6458 w 12915"/>
                  <a:gd name="connsiteY3" fmla="*/ 0 h 64515"/>
                  <a:gd name="connsiteX4" fmla="*/ 12915 w 12915"/>
                  <a:gd name="connsiteY4" fmla="*/ 6458 h 64515"/>
                  <a:gd name="connsiteX5" fmla="*/ 12915 w 12915"/>
                  <a:gd name="connsiteY5" fmla="*/ 58058 h 64515"/>
                  <a:gd name="connsiteX6" fmla="*/ 6458 w 12915"/>
                  <a:gd name="connsiteY6" fmla="*/ 64515 h 64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5" h="64515">
                    <a:moveTo>
                      <a:pt x="6458" y="64515"/>
                    </a:moveTo>
                    <a:cubicBezTo>
                      <a:pt x="2890" y="64515"/>
                      <a:pt x="0" y="61625"/>
                      <a:pt x="0" y="58058"/>
                    </a:cubicBezTo>
                    <a:lnTo>
                      <a:pt x="0" y="6458"/>
                    </a:lnTo>
                    <a:cubicBezTo>
                      <a:pt x="0" y="2890"/>
                      <a:pt x="2890" y="0"/>
                      <a:pt x="6458" y="0"/>
                    </a:cubicBezTo>
                    <a:cubicBezTo>
                      <a:pt x="10025" y="0"/>
                      <a:pt x="12915" y="2890"/>
                      <a:pt x="12915" y="6458"/>
                    </a:cubicBezTo>
                    <a:lnTo>
                      <a:pt x="12915" y="58058"/>
                    </a:lnTo>
                    <a:cubicBezTo>
                      <a:pt x="12915" y="61625"/>
                      <a:pt x="10025" y="64515"/>
                      <a:pt x="6458" y="64515"/>
                    </a:cubicBezTo>
                    <a:close/>
                  </a:path>
                </a:pathLst>
              </a:custGeom>
              <a:solidFill>
                <a:schemeClr val="accent1"/>
              </a:solidFill>
              <a:ln w="1992" cap="flat">
                <a:noFill/>
                <a:prstDash val="solid"/>
                <a:miter/>
              </a:ln>
            </p:spPr>
            <p:txBody>
              <a:bodyPr rtlCol="0" anchor="ctr"/>
              <a:lstStyle/>
              <a:p>
                <a:endParaRPr lang="en-GB" dirty="0"/>
              </a:p>
            </p:txBody>
          </p:sp>
          <p:sp>
            <p:nvSpPr>
              <p:cNvPr id="211" name="Freihandform: Form 386">
                <a:extLst>
                  <a:ext uri="{FF2B5EF4-FFF2-40B4-BE49-F238E27FC236}">
                    <a16:creationId xmlns:a16="http://schemas.microsoft.com/office/drawing/2014/main" id="{3B18A6B9-8EAE-49A6-84A2-67E87BBF3931}"/>
                  </a:ext>
                </a:extLst>
              </p:cNvPr>
              <p:cNvSpPr/>
              <p:nvPr/>
            </p:nvSpPr>
            <p:spPr>
              <a:xfrm>
                <a:off x="5375897" y="1954038"/>
                <a:ext cx="348327" cy="70972"/>
              </a:xfrm>
              <a:custGeom>
                <a:avLst/>
                <a:gdLst>
                  <a:gd name="connsiteX0" fmla="*/ 341870 w 348327"/>
                  <a:gd name="connsiteY0" fmla="*/ 70973 h 70972"/>
                  <a:gd name="connsiteX1" fmla="*/ 335412 w 348327"/>
                  <a:gd name="connsiteY1" fmla="*/ 64515 h 70972"/>
                  <a:gd name="connsiteX2" fmla="*/ 335412 w 348327"/>
                  <a:gd name="connsiteY2" fmla="*/ 25810 h 70972"/>
                  <a:gd name="connsiteX3" fmla="*/ 322517 w 348327"/>
                  <a:gd name="connsiteY3" fmla="*/ 12915 h 70972"/>
                  <a:gd name="connsiteX4" fmla="*/ 25810 w 348327"/>
                  <a:gd name="connsiteY4" fmla="*/ 12915 h 70972"/>
                  <a:gd name="connsiteX5" fmla="*/ 12915 w 348327"/>
                  <a:gd name="connsiteY5" fmla="*/ 25810 h 70972"/>
                  <a:gd name="connsiteX6" fmla="*/ 12915 w 348327"/>
                  <a:gd name="connsiteY6" fmla="*/ 64515 h 70972"/>
                  <a:gd name="connsiteX7" fmla="*/ 6458 w 348327"/>
                  <a:gd name="connsiteY7" fmla="*/ 70973 h 70972"/>
                  <a:gd name="connsiteX8" fmla="*/ 0 w 348327"/>
                  <a:gd name="connsiteY8" fmla="*/ 64515 h 70972"/>
                  <a:gd name="connsiteX9" fmla="*/ 0 w 348327"/>
                  <a:gd name="connsiteY9" fmla="*/ 25810 h 70972"/>
                  <a:gd name="connsiteX10" fmla="*/ 25810 w 348327"/>
                  <a:gd name="connsiteY10" fmla="*/ 0 h 70972"/>
                  <a:gd name="connsiteX11" fmla="*/ 322517 w 348327"/>
                  <a:gd name="connsiteY11" fmla="*/ 0 h 70972"/>
                  <a:gd name="connsiteX12" fmla="*/ 348328 w 348327"/>
                  <a:gd name="connsiteY12" fmla="*/ 25810 h 70972"/>
                  <a:gd name="connsiteX13" fmla="*/ 348328 w 348327"/>
                  <a:gd name="connsiteY13" fmla="*/ 64515 h 70972"/>
                  <a:gd name="connsiteX14" fmla="*/ 341870 w 348327"/>
                  <a:gd name="connsiteY14" fmla="*/ 70973 h 70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8327" h="70972">
                    <a:moveTo>
                      <a:pt x="341870" y="70973"/>
                    </a:moveTo>
                    <a:cubicBezTo>
                      <a:pt x="338302" y="70973"/>
                      <a:pt x="335412" y="68083"/>
                      <a:pt x="335412" y="64515"/>
                    </a:cubicBezTo>
                    <a:lnTo>
                      <a:pt x="335412" y="25810"/>
                    </a:lnTo>
                    <a:cubicBezTo>
                      <a:pt x="335412" y="18695"/>
                      <a:pt x="329633" y="12915"/>
                      <a:pt x="322517" y="12915"/>
                    </a:cubicBezTo>
                    <a:lnTo>
                      <a:pt x="25810" y="12915"/>
                    </a:lnTo>
                    <a:cubicBezTo>
                      <a:pt x="18695" y="12915"/>
                      <a:pt x="12915" y="18695"/>
                      <a:pt x="12915" y="25810"/>
                    </a:cubicBezTo>
                    <a:lnTo>
                      <a:pt x="12915" y="64515"/>
                    </a:lnTo>
                    <a:cubicBezTo>
                      <a:pt x="12915" y="68083"/>
                      <a:pt x="10025" y="70973"/>
                      <a:pt x="6458" y="70973"/>
                    </a:cubicBezTo>
                    <a:cubicBezTo>
                      <a:pt x="2890" y="70973"/>
                      <a:pt x="0" y="68083"/>
                      <a:pt x="0" y="64515"/>
                    </a:cubicBezTo>
                    <a:lnTo>
                      <a:pt x="0" y="25810"/>
                    </a:lnTo>
                    <a:cubicBezTo>
                      <a:pt x="0" y="11580"/>
                      <a:pt x="11580" y="0"/>
                      <a:pt x="25810" y="0"/>
                    </a:cubicBezTo>
                    <a:lnTo>
                      <a:pt x="322517" y="0"/>
                    </a:lnTo>
                    <a:cubicBezTo>
                      <a:pt x="336748" y="0"/>
                      <a:pt x="348328" y="11580"/>
                      <a:pt x="348328" y="25810"/>
                    </a:cubicBezTo>
                    <a:lnTo>
                      <a:pt x="348328" y="64515"/>
                    </a:lnTo>
                    <a:cubicBezTo>
                      <a:pt x="348328" y="68083"/>
                      <a:pt x="345438" y="70973"/>
                      <a:pt x="341870" y="70973"/>
                    </a:cubicBezTo>
                    <a:close/>
                  </a:path>
                </a:pathLst>
              </a:custGeom>
              <a:solidFill>
                <a:schemeClr val="accent1"/>
              </a:solidFill>
              <a:ln w="1992" cap="flat">
                <a:noFill/>
                <a:prstDash val="solid"/>
                <a:miter/>
              </a:ln>
            </p:spPr>
            <p:txBody>
              <a:bodyPr rtlCol="0" anchor="ctr"/>
              <a:lstStyle/>
              <a:p>
                <a:endParaRPr lang="en-GB" dirty="0"/>
              </a:p>
            </p:txBody>
          </p:sp>
          <p:sp>
            <p:nvSpPr>
              <p:cNvPr id="212" name="Freihandform: Form 387">
                <a:extLst>
                  <a:ext uri="{FF2B5EF4-FFF2-40B4-BE49-F238E27FC236}">
                    <a16:creationId xmlns:a16="http://schemas.microsoft.com/office/drawing/2014/main" id="{DF486453-48A5-4EB8-A27B-4BD9C0B93EC2}"/>
                  </a:ext>
                </a:extLst>
              </p:cNvPr>
              <p:cNvSpPr/>
              <p:nvPr/>
            </p:nvSpPr>
            <p:spPr>
              <a:xfrm>
                <a:off x="5504928" y="2012116"/>
                <a:ext cx="90285" cy="90285"/>
              </a:xfrm>
              <a:custGeom>
                <a:avLst/>
                <a:gdLst>
                  <a:gd name="connsiteX0" fmla="*/ 45143 w 90285"/>
                  <a:gd name="connsiteY0" fmla="*/ 90286 h 90285"/>
                  <a:gd name="connsiteX1" fmla="*/ 0 w 90285"/>
                  <a:gd name="connsiteY1" fmla="*/ 45143 h 90285"/>
                  <a:gd name="connsiteX2" fmla="*/ 45143 w 90285"/>
                  <a:gd name="connsiteY2" fmla="*/ 0 h 90285"/>
                  <a:gd name="connsiteX3" fmla="*/ 90286 w 90285"/>
                  <a:gd name="connsiteY3" fmla="*/ 45143 h 90285"/>
                  <a:gd name="connsiteX4" fmla="*/ 45143 w 90285"/>
                  <a:gd name="connsiteY4" fmla="*/ 90286 h 90285"/>
                  <a:gd name="connsiteX5" fmla="*/ 45143 w 90285"/>
                  <a:gd name="connsiteY5" fmla="*/ 12895 h 90285"/>
                  <a:gd name="connsiteX6" fmla="*/ 12895 w 90285"/>
                  <a:gd name="connsiteY6" fmla="*/ 45143 h 90285"/>
                  <a:gd name="connsiteX7" fmla="*/ 45143 w 90285"/>
                  <a:gd name="connsiteY7" fmla="*/ 77391 h 90285"/>
                  <a:gd name="connsiteX8" fmla="*/ 77391 w 90285"/>
                  <a:gd name="connsiteY8" fmla="*/ 45143 h 90285"/>
                  <a:gd name="connsiteX9" fmla="*/ 45143 w 90285"/>
                  <a:gd name="connsiteY9" fmla="*/ 12895 h 9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85" h="90285">
                    <a:moveTo>
                      <a:pt x="45143" y="90286"/>
                    </a:moveTo>
                    <a:cubicBezTo>
                      <a:pt x="20249" y="90286"/>
                      <a:pt x="0" y="70036"/>
                      <a:pt x="0" y="45143"/>
                    </a:cubicBezTo>
                    <a:cubicBezTo>
                      <a:pt x="0" y="20249"/>
                      <a:pt x="20249" y="0"/>
                      <a:pt x="45143" y="0"/>
                    </a:cubicBezTo>
                    <a:cubicBezTo>
                      <a:pt x="70036" y="0"/>
                      <a:pt x="90286" y="20249"/>
                      <a:pt x="90286" y="45143"/>
                    </a:cubicBezTo>
                    <a:cubicBezTo>
                      <a:pt x="90286" y="70036"/>
                      <a:pt x="70036" y="90286"/>
                      <a:pt x="45143" y="90286"/>
                    </a:cubicBezTo>
                    <a:close/>
                    <a:moveTo>
                      <a:pt x="45143" y="12895"/>
                    </a:moveTo>
                    <a:cubicBezTo>
                      <a:pt x="27365" y="12895"/>
                      <a:pt x="12895" y="27365"/>
                      <a:pt x="12895" y="45143"/>
                    </a:cubicBezTo>
                    <a:cubicBezTo>
                      <a:pt x="12895" y="62921"/>
                      <a:pt x="27365" y="77391"/>
                      <a:pt x="45143" y="77391"/>
                    </a:cubicBezTo>
                    <a:cubicBezTo>
                      <a:pt x="62921" y="77391"/>
                      <a:pt x="77391" y="62921"/>
                      <a:pt x="77391" y="45143"/>
                    </a:cubicBezTo>
                    <a:cubicBezTo>
                      <a:pt x="77391" y="27365"/>
                      <a:pt x="62921" y="12895"/>
                      <a:pt x="45143" y="12895"/>
                    </a:cubicBezTo>
                    <a:close/>
                  </a:path>
                </a:pathLst>
              </a:custGeom>
              <a:solidFill>
                <a:schemeClr val="accent1"/>
              </a:solidFill>
              <a:ln w="1992" cap="flat">
                <a:noFill/>
                <a:prstDash val="solid"/>
                <a:miter/>
              </a:ln>
            </p:spPr>
            <p:txBody>
              <a:bodyPr rtlCol="0" anchor="ctr"/>
              <a:lstStyle/>
              <a:p>
                <a:endParaRPr lang="en-GB" dirty="0"/>
              </a:p>
            </p:txBody>
          </p:sp>
          <p:sp>
            <p:nvSpPr>
              <p:cNvPr id="213" name="Freihandform: Form 388">
                <a:extLst>
                  <a:ext uri="{FF2B5EF4-FFF2-40B4-BE49-F238E27FC236}">
                    <a16:creationId xmlns:a16="http://schemas.microsoft.com/office/drawing/2014/main" id="{13FD91AE-A49D-459E-8373-7B793E37B649}"/>
                  </a:ext>
                </a:extLst>
              </p:cNvPr>
              <p:cNvSpPr/>
              <p:nvPr/>
            </p:nvSpPr>
            <p:spPr>
              <a:xfrm>
                <a:off x="5672624" y="2012116"/>
                <a:ext cx="90285" cy="90285"/>
              </a:xfrm>
              <a:custGeom>
                <a:avLst/>
                <a:gdLst>
                  <a:gd name="connsiteX0" fmla="*/ 45143 w 90285"/>
                  <a:gd name="connsiteY0" fmla="*/ 90286 h 90285"/>
                  <a:gd name="connsiteX1" fmla="*/ 0 w 90285"/>
                  <a:gd name="connsiteY1" fmla="*/ 45143 h 90285"/>
                  <a:gd name="connsiteX2" fmla="*/ 45143 w 90285"/>
                  <a:gd name="connsiteY2" fmla="*/ 0 h 90285"/>
                  <a:gd name="connsiteX3" fmla="*/ 90286 w 90285"/>
                  <a:gd name="connsiteY3" fmla="*/ 45143 h 90285"/>
                  <a:gd name="connsiteX4" fmla="*/ 45143 w 90285"/>
                  <a:gd name="connsiteY4" fmla="*/ 90286 h 90285"/>
                  <a:gd name="connsiteX5" fmla="*/ 45143 w 90285"/>
                  <a:gd name="connsiteY5" fmla="*/ 12895 h 90285"/>
                  <a:gd name="connsiteX6" fmla="*/ 12895 w 90285"/>
                  <a:gd name="connsiteY6" fmla="*/ 45143 h 90285"/>
                  <a:gd name="connsiteX7" fmla="*/ 45143 w 90285"/>
                  <a:gd name="connsiteY7" fmla="*/ 77391 h 90285"/>
                  <a:gd name="connsiteX8" fmla="*/ 77391 w 90285"/>
                  <a:gd name="connsiteY8" fmla="*/ 45143 h 90285"/>
                  <a:gd name="connsiteX9" fmla="*/ 45143 w 90285"/>
                  <a:gd name="connsiteY9" fmla="*/ 12895 h 9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85" h="90285">
                    <a:moveTo>
                      <a:pt x="45143" y="90286"/>
                    </a:moveTo>
                    <a:cubicBezTo>
                      <a:pt x="20249" y="90286"/>
                      <a:pt x="0" y="70036"/>
                      <a:pt x="0" y="45143"/>
                    </a:cubicBezTo>
                    <a:cubicBezTo>
                      <a:pt x="0" y="20249"/>
                      <a:pt x="20249" y="0"/>
                      <a:pt x="45143" y="0"/>
                    </a:cubicBezTo>
                    <a:cubicBezTo>
                      <a:pt x="70036" y="0"/>
                      <a:pt x="90286" y="20249"/>
                      <a:pt x="90286" y="45143"/>
                    </a:cubicBezTo>
                    <a:cubicBezTo>
                      <a:pt x="90286" y="70036"/>
                      <a:pt x="70056" y="90286"/>
                      <a:pt x="45143" y="90286"/>
                    </a:cubicBezTo>
                    <a:close/>
                    <a:moveTo>
                      <a:pt x="45143" y="12895"/>
                    </a:moveTo>
                    <a:cubicBezTo>
                      <a:pt x="27365" y="12895"/>
                      <a:pt x="12895" y="27365"/>
                      <a:pt x="12895" y="45143"/>
                    </a:cubicBezTo>
                    <a:cubicBezTo>
                      <a:pt x="12895" y="62921"/>
                      <a:pt x="27365" y="77391"/>
                      <a:pt x="45143" y="77391"/>
                    </a:cubicBezTo>
                    <a:cubicBezTo>
                      <a:pt x="62921" y="77391"/>
                      <a:pt x="77391" y="62921"/>
                      <a:pt x="77391" y="45143"/>
                    </a:cubicBezTo>
                    <a:cubicBezTo>
                      <a:pt x="77411" y="27365"/>
                      <a:pt x="62941" y="12895"/>
                      <a:pt x="45143" y="12895"/>
                    </a:cubicBezTo>
                    <a:close/>
                  </a:path>
                </a:pathLst>
              </a:custGeom>
              <a:solidFill>
                <a:schemeClr val="accent1"/>
              </a:solidFill>
              <a:ln w="1992" cap="flat">
                <a:noFill/>
                <a:prstDash val="solid"/>
                <a:miter/>
              </a:ln>
            </p:spPr>
            <p:txBody>
              <a:bodyPr rtlCol="0" anchor="ctr"/>
              <a:lstStyle/>
              <a:p>
                <a:endParaRPr lang="en-GB" dirty="0"/>
              </a:p>
            </p:txBody>
          </p:sp>
          <p:sp>
            <p:nvSpPr>
              <p:cNvPr id="214" name="Freihandform: Form 389">
                <a:extLst>
                  <a:ext uri="{FF2B5EF4-FFF2-40B4-BE49-F238E27FC236}">
                    <a16:creationId xmlns:a16="http://schemas.microsoft.com/office/drawing/2014/main" id="{3EC66F84-F55F-4DED-9A19-F6A80A106803}"/>
                  </a:ext>
                </a:extLst>
              </p:cNvPr>
              <p:cNvSpPr/>
              <p:nvPr/>
            </p:nvSpPr>
            <p:spPr>
              <a:xfrm>
                <a:off x="5337212" y="2012116"/>
                <a:ext cx="90305" cy="90285"/>
              </a:xfrm>
              <a:custGeom>
                <a:avLst/>
                <a:gdLst>
                  <a:gd name="connsiteX0" fmla="*/ 45143 w 90305"/>
                  <a:gd name="connsiteY0" fmla="*/ 90286 h 90285"/>
                  <a:gd name="connsiteX1" fmla="*/ 0 w 90305"/>
                  <a:gd name="connsiteY1" fmla="*/ 45143 h 90285"/>
                  <a:gd name="connsiteX2" fmla="*/ 45143 w 90305"/>
                  <a:gd name="connsiteY2" fmla="*/ 0 h 90285"/>
                  <a:gd name="connsiteX3" fmla="*/ 90306 w 90305"/>
                  <a:gd name="connsiteY3" fmla="*/ 45143 h 90285"/>
                  <a:gd name="connsiteX4" fmla="*/ 45143 w 90305"/>
                  <a:gd name="connsiteY4" fmla="*/ 90286 h 90285"/>
                  <a:gd name="connsiteX5" fmla="*/ 45143 w 90305"/>
                  <a:gd name="connsiteY5" fmla="*/ 12895 h 90285"/>
                  <a:gd name="connsiteX6" fmla="*/ 12895 w 90305"/>
                  <a:gd name="connsiteY6" fmla="*/ 45143 h 90285"/>
                  <a:gd name="connsiteX7" fmla="*/ 45143 w 90305"/>
                  <a:gd name="connsiteY7" fmla="*/ 77391 h 90285"/>
                  <a:gd name="connsiteX8" fmla="*/ 77391 w 90305"/>
                  <a:gd name="connsiteY8" fmla="*/ 45143 h 90285"/>
                  <a:gd name="connsiteX9" fmla="*/ 45143 w 90305"/>
                  <a:gd name="connsiteY9" fmla="*/ 12895 h 9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305" h="90285">
                    <a:moveTo>
                      <a:pt x="45143" y="90286"/>
                    </a:moveTo>
                    <a:cubicBezTo>
                      <a:pt x="20250" y="90286"/>
                      <a:pt x="0" y="70036"/>
                      <a:pt x="0" y="45143"/>
                    </a:cubicBezTo>
                    <a:cubicBezTo>
                      <a:pt x="0" y="20249"/>
                      <a:pt x="20250" y="0"/>
                      <a:pt x="45143" y="0"/>
                    </a:cubicBezTo>
                    <a:cubicBezTo>
                      <a:pt x="70036" y="0"/>
                      <a:pt x="90306" y="20249"/>
                      <a:pt x="90306" y="45143"/>
                    </a:cubicBezTo>
                    <a:cubicBezTo>
                      <a:pt x="90306" y="70036"/>
                      <a:pt x="70056" y="90286"/>
                      <a:pt x="45143" y="90286"/>
                    </a:cubicBezTo>
                    <a:close/>
                    <a:moveTo>
                      <a:pt x="45143" y="12895"/>
                    </a:moveTo>
                    <a:cubicBezTo>
                      <a:pt x="27365" y="12895"/>
                      <a:pt x="12895" y="27365"/>
                      <a:pt x="12895" y="45143"/>
                    </a:cubicBezTo>
                    <a:cubicBezTo>
                      <a:pt x="12895" y="62921"/>
                      <a:pt x="27365" y="77391"/>
                      <a:pt x="45143" y="77391"/>
                    </a:cubicBezTo>
                    <a:cubicBezTo>
                      <a:pt x="62921" y="77391"/>
                      <a:pt x="77391" y="62921"/>
                      <a:pt x="77391" y="45143"/>
                    </a:cubicBezTo>
                    <a:cubicBezTo>
                      <a:pt x="77411" y="27365"/>
                      <a:pt x="62941" y="12895"/>
                      <a:pt x="45143" y="12895"/>
                    </a:cubicBezTo>
                    <a:close/>
                  </a:path>
                </a:pathLst>
              </a:custGeom>
              <a:solidFill>
                <a:schemeClr val="accent1"/>
              </a:solidFill>
              <a:ln w="1992" cap="flat">
                <a:noFill/>
                <a:prstDash val="solid"/>
                <a:miter/>
              </a:ln>
            </p:spPr>
            <p:txBody>
              <a:bodyPr rtlCol="0" anchor="ctr"/>
              <a:lstStyle/>
              <a:p>
                <a:endParaRPr lang="en-GB" dirty="0"/>
              </a:p>
            </p:txBody>
          </p:sp>
        </p:grpSp>
      </p:grpSp>
      <p:grpSp>
        <p:nvGrpSpPr>
          <p:cNvPr id="43" name="Group 42">
            <a:extLst>
              <a:ext uri="{FF2B5EF4-FFF2-40B4-BE49-F238E27FC236}">
                <a16:creationId xmlns:a16="http://schemas.microsoft.com/office/drawing/2014/main" id="{526B1C35-8059-3EB2-EEC6-5B5E1E4168B7}"/>
              </a:ext>
            </a:extLst>
          </p:cNvPr>
          <p:cNvGrpSpPr/>
          <p:nvPr/>
        </p:nvGrpSpPr>
        <p:grpSpPr>
          <a:xfrm>
            <a:off x="579038" y="3197068"/>
            <a:ext cx="430029" cy="432000"/>
            <a:chOff x="579038" y="3197068"/>
            <a:chExt cx="430029" cy="432000"/>
          </a:xfrm>
        </p:grpSpPr>
        <p:grpSp>
          <p:nvGrpSpPr>
            <p:cNvPr id="223" name="Group 222">
              <a:extLst>
                <a:ext uri="{FF2B5EF4-FFF2-40B4-BE49-F238E27FC236}">
                  <a16:creationId xmlns:a16="http://schemas.microsoft.com/office/drawing/2014/main" id="{01D7566C-D854-4D6F-A592-8717F70A8530}"/>
                </a:ext>
              </a:extLst>
            </p:cNvPr>
            <p:cNvGrpSpPr/>
            <p:nvPr/>
          </p:nvGrpSpPr>
          <p:grpSpPr>
            <a:xfrm>
              <a:off x="579038" y="3197068"/>
              <a:ext cx="430029" cy="290010"/>
              <a:chOff x="6967078" y="1656893"/>
              <a:chExt cx="443297" cy="298958"/>
            </a:xfrm>
            <a:solidFill>
              <a:schemeClr val="accent1"/>
            </a:solidFill>
          </p:grpSpPr>
          <p:grpSp>
            <p:nvGrpSpPr>
              <p:cNvPr id="230" name="Grafik 336">
                <a:extLst>
                  <a:ext uri="{FF2B5EF4-FFF2-40B4-BE49-F238E27FC236}">
                    <a16:creationId xmlns:a16="http://schemas.microsoft.com/office/drawing/2014/main" id="{AA478D2F-1958-415F-9023-BB824B503008}"/>
                  </a:ext>
                </a:extLst>
              </p:cNvPr>
              <p:cNvGrpSpPr/>
              <p:nvPr/>
            </p:nvGrpSpPr>
            <p:grpSpPr>
              <a:xfrm>
                <a:off x="6967078" y="1789491"/>
                <a:ext cx="308785" cy="166360"/>
                <a:chOff x="6967078" y="1789491"/>
                <a:chExt cx="308785" cy="166360"/>
              </a:xfrm>
              <a:solidFill>
                <a:schemeClr val="accent1"/>
              </a:solidFill>
            </p:grpSpPr>
            <p:grpSp>
              <p:nvGrpSpPr>
                <p:cNvPr id="235" name="Grafik 336">
                  <a:extLst>
                    <a:ext uri="{FF2B5EF4-FFF2-40B4-BE49-F238E27FC236}">
                      <a16:creationId xmlns:a16="http://schemas.microsoft.com/office/drawing/2014/main" id="{1A3D20E4-BAC3-45AE-93F5-FC61E4923A34}"/>
                    </a:ext>
                  </a:extLst>
                </p:cNvPr>
                <p:cNvGrpSpPr/>
                <p:nvPr/>
              </p:nvGrpSpPr>
              <p:grpSpPr>
                <a:xfrm>
                  <a:off x="6967078" y="1793796"/>
                  <a:ext cx="245126" cy="129010"/>
                  <a:chOff x="6967078" y="1793796"/>
                  <a:chExt cx="245126" cy="129010"/>
                </a:xfrm>
                <a:solidFill>
                  <a:schemeClr val="accent1"/>
                </a:solidFill>
              </p:grpSpPr>
              <p:sp>
                <p:nvSpPr>
                  <p:cNvPr id="240" name="Freihandform: Form 776">
                    <a:extLst>
                      <a:ext uri="{FF2B5EF4-FFF2-40B4-BE49-F238E27FC236}">
                        <a16:creationId xmlns:a16="http://schemas.microsoft.com/office/drawing/2014/main" id="{D27D221F-EF98-4912-B215-60AFC53E810F}"/>
                      </a:ext>
                    </a:extLst>
                  </p:cNvPr>
                  <p:cNvSpPr/>
                  <p:nvPr/>
                </p:nvSpPr>
                <p:spPr>
                  <a:xfrm>
                    <a:off x="6967078" y="1793796"/>
                    <a:ext cx="245126" cy="129010"/>
                  </a:xfrm>
                  <a:custGeom>
                    <a:avLst/>
                    <a:gdLst>
                      <a:gd name="connsiteX0" fmla="*/ 65512 w 245126"/>
                      <a:gd name="connsiteY0" fmla="*/ 129011 h 129010"/>
                      <a:gd name="connsiteX1" fmla="*/ 31231 w 245126"/>
                      <a:gd name="connsiteY1" fmla="*/ 129011 h 129010"/>
                      <a:gd name="connsiteX2" fmla="*/ 0 w 245126"/>
                      <a:gd name="connsiteY2" fmla="*/ 97780 h 129010"/>
                      <a:gd name="connsiteX3" fmla="*/ 0 w 245126"/>
                      <a:gd name="connsiteY3" fmla="*/ 31231 h 129010"/>
                      <a:gd name="connsiteX4" fmla="*/ 31231 w 245126"/>
                      <a:gd name="connsiteY4" fmla="*/ 0 h 129010"/>
                      <a:gd name="connsiteX5" fmla="*/ 65512 w 245126"/>
                      <a:gd name="connsiteY5" fmla="*/ 0 h 129010"/>
                      <a:gd name="connsiteX6" fmla="*/ 96743 w 245126"/>
                      <a:gd name="connsiteY6" fmla="*/ 31231 h 129010"/>
                      <a:gd name="connsiteX7" fmla="*/ 96743 w 245126"/>
                      <a:gd name="connsiteY7" fmla="*/ 38705 h 129010"/>
                      <a:gd name="connsiteX8" fmla="*/ 225754 w 245126"/>
                      <a:gd name="connsiteY8" fmla="*/ 38705 h 129010"/>
                      <a:gd name="connsiteX9" fmla="*/ 232212 w 245126"/>
                      <a:gd name="connsiteY9" fmla="*/ 45163 h 129010"/>
                      <a:gd name="connsiteX10" fmla="*/ 225754 w 245126"/>
                      <a:gd name="connsiteY10" fmla="*/ 51620 h 129010"/>
                      <a:gd name="connsiteX11" fmla="*/ 90306 w 245126"/>
                      <a:gd name="connsiteY11" fmla="*/ 51620 h 129010"/>
                      <a:gd name="connsiteX12" fmla="*/ 83848 w 245126"/>
                      <a:gd name="connsiteY12" fmla="*/ 45163 h 129010"/>
                      <a:gd name="connsiteX13" fmla="*/ 83848 w 245126"/>
                      <a:gd name="connsiteY13" fmla="*/ 31251 h 129010"/>
                      <a:gd name="connsiteX14" fmla="*/ 65512 w 245126"/>
                      <a:gd name="connsiteY14" fmla="*/ 12915 h 129010"/>
                      <a:gd name="connsiteX15" fmla="*/ 31231 w 245126"/>
                      <a:gd name="connsiteY15" fmla="*/ 12915 h 129010"/>
                      <a:gd name="connsiteX16" fmla="*/ 12895 w 245126"/>
                      <a:gd name="connsiteY16" fmla="*/ 31251 h 129010"/>
                      <a:gd name="connsiteX17" fmla="*/ 12895 w 245126"/>
                      <a:gd name="connsiteY17" fmla="*/ 97780 h 129010"/>
                      <a:gd name="connsiteX18" fmla="*/ 31231 w 245126"/>
                      <a:gd name="connsiteY18" fmla="*/ 116116 h 129010"/>
                      <a:gd name="connsiteX19" fmla="*/ 65512 w 245126"/>
                      <a:gd name="connsiteY19" fmla="*/ 116116 h 129010"/>
                      <a:gd name="connsiteX20" fmla="*/ 83848 w 245126"/>
                      <a:gd name="connsiteY20" fmla="*/ 97780 h 129010"/>
                      <a:gd name="connsiteX21" fmla="*/ 83848 w 245126"/>
                      <a:gd name="connsiteY21" fmla="*/ 83868 h 129010"/>
                      <a:gd name="connsiteX22" fmla="*/ 90306 w 245126"/>
                      <a:gd name="connsiteY22" fmla="*/ 77411 h 129010"/>
                      <a:gd name="connsiteX23" fmla="*/ 238669 w 245126"/>
                      <a:gd name="connsiteY23" fmla="*/ 77411 h 129010"/>
                      <a:gd name="connsiteX24" fmla="*/ 245127 w 245126"/>
                      <a:gd name="connsiteY24" fmla="*/ 83868 h 129010"/>
                      <a:gd name="connsiteX25" fmla="*/ 238669 w 245126"/>
                      <a:gd name="connsiteY25" fmla="*/ 90326 h 129010"/>
                      <a:gd name="connsiteX26" fmla="*/ 96763 w 245126"/>
                      <a:gd name="connsiteY26" fmla="*/ 90326 h 129010"/>
                      <a:gd name="connsiteX27" fmla="*/ 96763 w 245126"/>
                      <a:gd name="connsiteY27" fmla="*/ 97780 h 129010"/>
                      <a:gd name="connsiteX28" fmla="*/ 65512 w 245126"/>
                      <a:gd name="connsiteY28" fmla="*/ 129011 h 129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5126" h="129010">
                        <a:moveTo>
                          <a:pt x="65512" y="129011"/>
                        </a:moveTo>
                        <a:lnTo>
                          <a:pt x="31231" y="129011"/>
                        </a:lnTo>
                        <a:cubicBezTo>
                          <a:pt x="14011" y="129011"/>
                          <a:pt x="0" y="115000"/>
                          <a:pt x="0" y="97780"/>
                        </a:cubicBezTo>
                        <a:lnTo>
                          <a:pt x="0" y="31231"/>
                        </a:lnTo>
                        <a:cubicBezTo>
                          <a:pt x="0" y="14011"/>
                          <a:pt x="14011" y="0"/>
                          <a:pt x="31231" y="0"/>
                        </a:cubicBezTo>
                        <a:lnTo>
                          <a:pt x="65512" y="0"/>
                        </a:lnTo>
                        <a:cubicBezTo>
                          <a:pt x="82732" y="0"/>
                          <a:pt x="96743" y="14011"/>
                          <a:pt x="96743" y="31231"/>
                        </a:cubicBezTo>
                        <a:lnTo>
                          <a:pt x="96743" y="38705"/>
                        </a:lnTo>
                        <a:lnTo>
                          <a:pt x="225754" y="38705"/>
                        </a:lnTo>
                        <a:cubicBezTo>
                          <a:pt x="229322" y="38705"/>
                          <a:pt x="232212" y="41595"/>
                          <a:pt x="232212" y="45163"/>
                        </a:cubicBezTo>
                        <a:cubicBezTo>
                          <a:pt x="232212" y="48730"/>
                          <a:pt x="229322" y="51620"/>
                          <a:pt x="225754" y="51620"/>
                        </a:cubicBezTo>
                        <a:lnTo>
                          <a:pt x="90306" y="51620"/>
                        </a:lnTo>
                        <a:cubicBezTo>
                          <a:pt x="86738" y="51620"/>
                          <a:pt x="83848" y="48730"/>
                          <a:pt x="83848" y="45163"/>
                        </a:cubicBezTo>
                        <a:lnTo>
                          <a:pt x="83848" y="31251"/>
                        </a:lnTo>
                        <a:cubicBezTo>
                          <a:pt x="83848" y="21146"/>
                          <a:pt x="75617" y="12915"/>
                          <a:pt x="65512" y="12915"/>
                        </a:cubicBezTo>
                        <a:lnTo>
                          <a:pt x="31231" y="12915"/>
                        </a:lnTo>
                        <a:cubicBezTo>
                          <a:pt x="21127" y="12915"/>
                          <a:pt x="12895" y="21146"/>
                          <a:pt x="12895" y="31251"/>
                        </a:cubicBezTo>
                        <a:lnTo>
                          <a:pt x="12895" y="97780"/>
                        </a:lnTo>
                        <a:cubicBezTo>
                          <a:pt x="12895" y="107884"/>
                          <a:pt x="21127" y="116116"/>
                          <a:pt x="31231" y="116116"/>
                        </a:cubicBezTo>
                        <a:lnTo>
                          <a:pt x="65512" y="116116"/>
                        </a:lnTo>
                        <a:cubicBezTo>
                          <a:pt x="75617" y="116116"/>
                          <a:pt x="83848" y="107884"/>
                          <a:pt x="83848" y="97780"/>
                        </a:cubicBezTo>
                        <a:lnTo>
                          <a:pt x="83848" y="83868"/>
                        </a:lnTo>
                        <a:cubicBezTo>
                          <a:pt x="83848" y="80300"/>
                          <a:pt x="86738" y="77411"/>
                          <a:pt x="90306" y="77411"/>
                        </a:cubicBezTo>
                        <a:lnTo>
                          <a:pt x="238669" y="77411"/>
                        </a:lnTo>
                        <a:cubicBezTo>
                          <a:pt x="242237" y="77411"/>
                          <a:pt x="245127" y="80300"/>
                          <a:pt x="245127" y="83868"/>
                        </a:cubicBezTo>
                        <a:cubicBezTo>
                          <a:pt x="245127" y="87436"/>
                          <a:pt x="242237" y="90326"/>
                          <a:pt x="238669" y="90326"/>
                        </a:cubicBezTo>
                        <a:lnTo>
                          <a:pt x="96763" y="90326"/>
                        </a:lnTo>
                        <a:lnTo>
                          <a:pt x="96763" y="97780"/>
                        </a:lnTo>
                        <a:cubicBezTo>
                          <a:pt x="96743" y="115000"/>
                          <a:pt x="82732" y="129011"/>
                          <a:pt x="65512" y="129011"/>
                        </a:cubicBezTo>
                        <a:close/>
                      </a:path>
                    </a:pathLst>
                  </a:custGeom>
                  <a:solidFill>
                    <a:schemeClr val="accent1"/>
                  </a:solidFill>
                  <a:ln w="1992" cap="flat">
                    <a:noFill/>
                    <a:prstDash val="solid"/>
                    <a:miter/>
                  </a:ln>
                </p:spPr>
                <p:txBody>
                  <a:bodyPr rtlCol="0" anchor="ctr"/>
                  <a:lstStyle/>
                  <a:p>
                    <a:endParaRPr lang="en-GB" dirty="0"/>
                  </a:p>
                </p:txBody>
              </p:sp>
              <p:sp>
                <p:nvSpPr>
                  <p:cNvPr id="241" name="Freihandform: Form 777">
                    <a:extLst>
                      <a:ext uri="{FF2B5EF4-FFF2-40B4-BE49-F238E27FC236}">
                        <a16:creationId xmlns:a16="http://schemas.microsoft.com/office/drawing/2014/main" id="{ED401B15-77A5-4501-93C8-72F51580469D}"/>
                      </a:ext>
                    </a:extLst>
                  </p:cNvPr>
                  <p:cNvSpPr/>
                  <p:nvPr/>
                </p:nvSpPr>
                <p:spPr>
                  <a:xfrm>
                    <a:off x="6992888" y="1819606"/>
                    <a:ext cx="45142" cy="77390"/>
                  </a:xfrm>
                  <a:custGeom>
                    <a:avLst/>
                    <a:gdLst>
                      <a:gd name="connsiteX0" fmla="*/ 32248 w 45142"/>
                      <a:gd name="connsiteY0" fmla="*/ 77391 h 77390"/>
                      <a:gd name="connsiteX1" fmla="*/ 12895 w 45142"/>
                      <a:gd name="connsiteY1" fmla="*/ 77391 h 77390"/>
                      <a:gd name="connsiteX2" fmla="*/ 0 w 45142"/>
                      <a:gd name="connsiteY2" fmla="*/ 64495 h 77390"/>
                      <a:gd name="connsiteX3" fmla="*/ 0 w 45142"/>
                      <a:gd name="connsiteY3" fmla="*/ 12895 h 77390"/>
                      <a:gd name="connsiteX4" fmla="*/ 12895 w 45142"/>
                      <a:gd name="connsiteY4" fmla="*/ 0 h 77390"/>
                      <a:gd name="connsiteX5" fmla="*/ 32248 w 45142"/>
                      <a:gd name="connsiteY5" fmla="*/ 0 h 77390"/>
                      <a:gd name="connsiteX6" fmla="*/ 45143 w 45142"/>
                      <a:gd name="connsiteY6" fmla="*/ 12895 h 77390"/>
                      <a:gd name="connsiteX7" fmla="*/ 45143 w 45142"/>
                      <a:gd name="connsiteY7" fmla="*/ 64495 h 77390"/>
                      <a:gd name="connsiteX8" fmla="*/ 32248 w 45142"/>
                      <a:gd name="connsiteY8" fmla="*/ 77391 h 77390"/>
                      <a:gd name="connsiteX9" fmla="*/ 12895 w 45142"/>
                      <a:gd name="connsiteY9" fmla="*/ 12895 h 77390"/>
                      <a:gd name="connsiteX10" fmla="*/ 12895 w 45142"/>
                      <a:gd name="connsiteY10" fmla="*/ 64495 h 77390"/>
                      <a:gd name="connsiteX11" fmla="*/ 32248 w 45142"/>
                      <a:gd name="connsiteY11" fmla="*/ 64495 h 77390"/>
                      <a:gd name="connsiteX12" fmla="*/ 32248 w 45142"/>
                      <a:gd name="connsiteY12" fmla="*/ 12895 h 77390"/>
                      <a:gd name="connsiteX13" fmla="*/ 12895 w 45142"/>
                      <a:gd name="connsiteY13" fmla="*/ 12895 h 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142" h="77390">
                        <a:moveTo>
                          <a:pt x="32248" y="77391"/>
                        </a:moveTo>
                        <a:lnTo>
                          <a:pt x="12895" y="77391"/>
                        </a:lnTo>
                        <a:cubicBezTo>
                          <a:pt x="5780" y="77391"/>
                          <a:pt x="0" y="71611"/>
                          <a:pt x="0" y="64495"/>
                        </a:cubicBezTo>
                        <a:lnTo>
                          <a:pt x="0" y="12895"/>
                        </a:lnTo>
                        <a:cubicBezTo>
                          <a:pt x="0" y="5780"/>
                          <a:pt x="5780" y="0"/>
                          <a:pt x="12895" y="0"/>
                        </a:cubicBezTo>
                        <a:lnTo>
                          <a:pt x="32248" y="0"/>
                        </a:lnTo>
                        <a:cubicBezTo>
                          <a:pt x="39363" y="0"/>
                          <a:pt x="45143" y="5780"/>
                          <a:pt x="45143" y="12895"/>
                        </a:cubicBezTo>
                        <a:lnTo>
                          <a:pt x="45143" y="64495"/>
                        </a:lnTo>
                        <a:cubicBezTo>
                          <a:pt x="45143" y="71611"/>
                          <a:pt x="39343" y="77391"/>
                          <a:pt x="32248" y="77391"/>
                        </a:cubicBezTo>
                        <a:close/>
                        <a:moveTo>
                          <a:pt x="12895" y="12895"/>
                        </a:moveTo>
                        <a:lnTo>
                          <a:pt x="12895" y="64495"/>
                        </a:lnTo>
                        <a:lnTo>
                          <a:pt x="32248" y="64495"/>
                        </a:lnTo>
                        <a:lnTo>
                          <a:pt x="32248" y="12895"/>
                        </a:lnTo>
                        <a:lnTo>
                          <a:pt x="12895" y="12895"/>
                        </a:lnTo>
                        <a:close/>
                      </a:path>
                    </a:pathLst>
                  </a:custGeom>
                  <a:solidFill>
                    <a:schemeClr val="accent1"/>
                  </a:solidFill>
                  <a:ln w="1992" cap="flat">
                    <a:noFill/>
                    <a:prstDash val="solid"/>
                    <a:miter/>
                  </a:ln>
                </p:spPr>
                <p:txBody>
                  <a:bodyPr rtlCol="0" anchor="ctr"/>
                  <a:lstStyle/>
                  <a:p>
                    <a:endParaRPr lang="en-GB" dirty="0"/>
                  </a:p>
                </p:txBody>
              </p:sp>
            </p:grpSp>
            <p:sp>
              <p:nvSpPr>
                <p:cNvPr id="236" name="Freihandform: Form 778">
                  <a:extLst>
                    <a:ext uri="{FF2B5EF4-FFF2-40B4-BE49-F238E27FC236}">
                      <a16:creationId xmlns:a16="http://schemas.microsoft.com/office/drawing/2014/main" id="{B867F6D2-3671-444C-A881-52E9B37AD1D3}"/>
                    </a:ext>
                  </a:extLst>
                </p:cNvPr>
                <p:cNvSpPr/>
                <p:nvPr/>
              </p:nvSpPr>
              <p:spPr>
                <a:xfrm>
                  <a:off x="7164365" y="1832481"/>
                  <a:ext cx="56913" cy="86299"/>
                </a:xfrm>
                <a:custGeom>
                  <a:avLst/>
                  <a:gdLst>
                    <a:gd name="connsiteX0" fmla="*/ 50471 w 56913"/>
                    <a:gd name="connsiteY0" fmla="*/ 86300 h 86299"/>
                    <a:gd name="connsiteX1" fmla="*/ 6445 w 56913"/>
                    <a:gd name="connsiteY1" fmla="*/ 86300 h 86299"/>
                    <a:gd name="connsiteX2" fmla="*/ 1462 w 56913"/>
                    <a:gd name="connsiteY2" fmla="*/ 83928 h 86299"/>
                    <a:gd name="connsiteX3" fmla="*/ 127 w 56913"/>
                    <a:gd name="connsiteY3" fmla="*/ 78567 h 86299"/>
                    <a:gd name="connsiteX4" fmla="*/ 6285 w 56913"/>
                    <a:gd name="connsiteY4" fmla="*/ 47933 h 86299"/>
                    <a:gd name="connsiteX5" fmla="*/ 13879 w 56913"/>
                    <a:gd name="connsiteY5" fmla="*/ 42871 h 86299"/>
                    <a:gd name="connsiteX6" fmla="*/ 18921 w 56913"/>
                    <a:gd name="connsiteY6" fmla="*/ 50464 h 86299"/>
                    <a:gd name="connsiteX7" fmla="*/ 14317 w 56913"/>
                    <a:gd name="connsiteY7" fmla="*/ 73385 h 86299"/>
                    <a:gd name="connsiteX8" fmla="*/ 42599 w 56913"/>
                    <a:gd name="connsiteY8" fmla="*/ 73385 h 86299"/>
                    <a:gd name="connsiteX9" fmla="*/ 37078 w 56913"/>
                    <a:gd name="connsiteY9" fmla="*/ 45801 h 86299"/>
                    <a:gd name="connsiteX10" fmla="*/ 39011 w 56913"/>
                    <a:gd name="connsiteY10" fmla="*/ 39821 h 86299"/>
                    <a:gd name="connsiteX11" fmla="*/ 44014 w 56913"/>
                    <a:gd name="connsiteY11" fmla="*/ 28481 h 86299"/>
                    <a:gd name="connsiteX12" fmla="*/ 28448 w 56913"/>
                    <a:gd name="connsiteY12" fmla="*/ 12915 h 86299"/>
                    <a:gd name="connsiteX13" fmla="*/ 21991 w 56913"/>
                    <a:gd name="connsiteY13" fmla="*/ 6458 h 86299"/>
                    <a:gd name="connsiteX14" fmla="*/ 28448 w 56913"/>
                    <a:gd name="connsiteY14" fmla="*/ 0 h 86299"/>
                    <a:gd name="connsiteX15" fmla="*/ 56909 w 56913"/>
                    <a:gd name="connsiteY15" fmla="*/ 28461 h 86299"/>
                    <a:gd name="connsiteX16" fmla="*/ 50392 w 56913"/>
                    <a:gd name="connsiteY16" fmla="*/ 46518 h 86299"/>
                    <a:gd name="connsiteX17" fmla="*/ 56789 w 56913"/>
                    <a:gd name="connsiteY17" fmla="*/ 78547 h 86299"/>
                    <a:gd name="connsiteX18" fmla="*/ 55454 w 56913"/>
                    <a:gd name="connsiteY18" fmla="*/ 83888 h 86299"/>
                    <a:gd name="connsiteX19" fmla="*/ 50471 w 56913"/>
                    <a:gd name="connsiteY19" fmla="*/ 86300 h 86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913" h="86299">
                      <a:moveTo>
                        <a:pt x="50471" y="86300"/>
                      </a:moveTo>
                      <a:lnTo>
                        <a:pt x="6445" y="86300"/>
                      </a:lnTo>
                      <a:cubicBezTo>
                        <a:pt x="4511" y="86300"/>
                        <a:pt x="2678" y="85443"/>
                        <a:pt x="1462" y="83928"/>
                      </a:cubicBezTo>
                      <a:cubicBezTo>
                        <a:pt x="226" y="82433"/>
                        <a:pt x="-252" y="80460"/>
                        <a:pt x="127" y="78567"/>
                      </a:cubicBezTo>
                      <a:lnTo>
                        <a:pt x="6285" y="47933"/>
                      </a:lnTo>
                      <a:cubicBezTo>
                        <a:pt x="6983" y="44445"/>
                        <a:pt x="10411" y="42193"/>
                        <a:pt x="13879" y="42871"/>
                      </a:cubicBezTo>
                      <a:cubicBezTo>
                        <a:pt x="17367" y="43568"/>
                        <a:pt x="19639" y="46976"/>
                        <a:pt x="18921" y="50464"/>
                      </a:cubicBezTo>
                      <a:lnTo>
                        <a:pt x="14317" y="73385"/>
                      </a:lnTo>
                      <a:lnTo>
                        <a:pt x="42599" y="73385"/>
                      </a:lnTo>
                      <a:lnTo>
                        <a:pt x="37078" y="45801"/>
                      </a:lnTo>
                      <a:cubicBezTo>
                        <a:pt x="36639" y="43608"/>
                        <a:pt x="37377" y="41336"/>
                        <a:pt x="39011" y="39821"/>
                      </a:cubicBezTo>
                      <a:cubicBezTo>
                        <a:pt x="42240" y="36812"/>
                        <a:pt x="44014" y="32786"/>
                        <a:pt x="44014" y="28481"/>
                      </a:cubicBezTo>
                      <a:cubicBezTo>
                        <a:pt x="44014" y="19911"/>
                        <a:pt x="37038" y="12915"/>
                        <a:pt x="28448" y="12915"/>
                      </a:cubicBezTo>
                      <a:cubicBezTo>
                        <a:pt x="24881" y="12915"/>
                        <a:pt x="21991" y="10025"/>
                        <a:pt x="21991" y="6458"/>
                      </a:cubicBezTo>
                      <a:cubicBezTo>
                        <a:pt x="21991" y="2890"/>
                        <a:pt x="24881" y="0"/>
                        <a:pt x="28448" y="0"/>
                      </a:cubicBezTo>
                      <a:cubicBezTo>
                        <a:pt x="44133" y="0"/>
                        <a:pt x="56909" y="12776"/>
                        <a:pt x="56909" y="28461"/>
                      </a:cubicBezTo>
                      <a:cubicBezTo>
                        <a:pt x="56909" y="35138"/>
                        <a:pt x="54617" y="41436"/>
                        <a:pt x="50392" y="46518"/>
                      </a:cubicBezTo>
                      <a:lnTo>
                        <a:pt x="56789" y="78547"/>
                      </a:lnTo>
                      <a:cubicBezTo>
                        <a:pt x="57168" y="80440"/>
                        <a:pt x="56670" y="82413"/>
                        <a:pt x="55454" y="83888"/>
                      </a:cubicBezTo>
                      <a:cubicBezTo>
                        <a:pt x="54238" y="85423"/>
                        <a:pt x="52405" y="86300"/>
                        <a:pt x="50471" y="86300"/>
                      </a:cubicBezTo>
                      <a:close/>
                    </a:path>
                  </a:pathLst>
                </a:custGeom>
                <a:solidFill>
                  <a:schemeClr val="accent1"/>
                </a:solidFill>
                <a:ln w="1992" cap="flat">
                  <a:noFill/>
                  <a:prstDash val="solid"/>
                  <a:miter/>
                </a:ln>
              </p:spPr>
              <p:txBody>
                <a:bodyPr rtlCol="0" anchor="ctr"/>
                <a:lstStyle/>
                <a:p>
                  <a:endParaRPr lang="en-GB" dirty="0"/>
                </a:p>
              </p:txBody>
            </p:sp>
            <p:sp>
              <p:nvSpPr>
                <p:cNvPr id="237" name="Freihandform: Form 779">
                  <a:extLst>
                    <a:ext uri="{FF2B5EF4-FFF2-40B4-BE49-F238E27FC236}">
                      <a16:creationId xmlns:a16="http://schemas.microsoft.com/office/drawing/2014/main" id="{DD8D61C5-76B2-422F-B04B-E1F7FB5E17C0}"/>
                    </a:ext>
                  </a:extLst>
                </p:cNvPr>
                <p:cNvSpPr/>
                <p:nvPr/>
              </p:nvSpPr>
              <p:spPr>
                <a:xfrm>
                  <a:off x="7139695" y="1789491"/>
                  <a:ext cx="136168" cy="160222"/>
                </a:xfrm>
                <a:custGeom>
                  <a:avLst/>
                  <a:gdLst>
                    <a:gd name="connsiteX0" fmla="*/ 83153 w 136168"/>
                    <a:gd name="connsiteY0" fmla="*/ 160222 h 160222"/>
                    <a:gd name="connsiteX1" fmla="*/ 77214 w 136168"/>
                    <a:gd name="connsiteY1" fmla="*/ 156296 h 160222"/>
                    <a:gd name="connsiteX2" fmla="*/ 80602 w 136168"/>
                    <a:gd name="connsiteY2" fmla="*/ 147825 h 160222"/>
                    <a:gd name="connsiteX3" fmla="*/ 88774 w 136168"/>
                    <a:gd name="connsiteY3" fmla="*/ 143680 h 160222"/>
                    <a:gd name="connsiteX4" fmla="*/ 107210 w 136168"/>
                    <a:gd name="connsiteY4" fmla="*/ 127895 h 160222"/>
                    <a:gd name="connsiteX5" fmla="*/ 123254 w 136168"/>
                    <a:gd name="connsiteY5" fmla="*/ 83190 h 160222"/>
                    <a:gd name="connsiteX6" fmla="*/ 52978 w 136168"/>
                    <a:gd name="connsiteY6" fmla="*/ 12915 h 160222"/>
                    <a:gd name="connsiteX7" fmla="*/ 10367 w 136168"/>
                    <a:gd name="connsiteY7" fmla="*/ 27305 h 160222"/>
                    <a:gd name="connsiteX8" fmla="*/ 1318 w 136168"/>
                    <a:gd name="connsiteY8" fmla="*/ 26089 h 160222"/>
                    <a:gd name="connsiteX9" fmla="*/ 2534 w 136168"/>
                    <a:gd name="connsiteY9" fmla="*/ 17041 h 160222"/>
                    <a:gd name="connsiteX10" fmla="*/ 52998 w 136168"/>
                    <a:gd name="connsiteY10" fmla="*/ 0 h 160222"/>
                    <a:gd name="connsiteX11" fmla="*/ 136169 w 136168"/>
                    <a:gd name="connsiteY11" fmla="*/ 83190 h 160222"/>
                    <a:gd name="connsiteX12" fmla="*/ 117175 w 136168"/>
                    <a:gd name="connsiteY12" fmla="*/ 136106 h 160222"/>
                    <a:gd name="connsiteX13" fmla="*/ 95371 w 136168"/>
                    <a:gd name="connsiteY13" fmla="*/ 154781 h 160222"/>
                    <a:gd name="connsiteX14" fmla="*/ 85685 w 136168"/>
                    <a:gd name="connsiteY14" fmla="*/ 159704 h 160222"/>
                    <a:gd name="connsiteX15" fmla="*/ 83153 w 136168"/>
                    <a:gd name="connsiteY15" fmla="*/ 160222 h 160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6168" h="160222">
                      <a:moveTo>
                        <a:pt x="83153" y="160222"/>
                      </a:moveTo>
                      <a:cubicBezTo>
                        <a:pt x="80662" y="160222"/>
                        <a:pt x="78270" y="158747"/>
                        <a:pt x="77214" y="156296"/>
                      </a:cubicBezTo>
                      <a:cubicBezTo>
                        <a:pt x="75819" y="153027"/>
                        <a:pt x="77334" y="149241"/>
                        <a:pt x="80602" y="147825"/>
                      </a:cubicBezTo>
                      <a:cubicBezTo>
                        <a:pt x="83412" y="146630"/>
                        <a:pt x="86163" y="145234"/>
                        <a:pt x="88774" y="143680"/>
                      </a:cubicBezTo>
                      <a:cubicBezTo>
                        <a:pt x="95809" y="139514"/>
                        <a:pt x="102008" y="134193"/>
                        <a:pt x="107210" y="127895"/>
                      </a:cubicBezTo>
                      <a:cubicBezTo>
                        <a:pt x="117554" y="115358"/>
                        <a:pt x="123254" y="99474"/>
                        <a:pt x="123254" y="83190"/>
                      </a:cubicBezTo>
                      <a:cubicBezTo>
                        <a:pt x="123254" y="44445"/>
                        <a:pt x="91724" y="12915"/>
                        <a:pt x="52978" y="12915"/>
                      </a:cubicBezTo>
                      <a:cubicBezTo>
                        <a:pt x="37413" y="12915"/>
                        <a:pt x="22684" y="17898"/>
                        <a:pt x="10367" y="27305"/>
                      </a:cubicBezTo>
                      <a:cubicBezTo>
                        <a:pt x="7537" y="29477"/>
                        <a:pt x="3491" y="28939"/>
                        <a:pt x="1318" y="26089"/>
                      </a:cubicBezTo>
                      <a:cubicBezTo>
                        <a:pt x="-834" y="23259"/>
                        <a:pt x="-296" y="19213"/>
                        <a:pt x="2534" y="17041"/>
                      </a:cubicBezTo>
                      <a:cubicBezTo>
                        <a:pt x="17123" y="5880"/>
                        <a:pt x="34582" y="0"/>
                        <a:pt x="52998" y="0"/>
                      </a:cubicBezTo>
                      <a:cubicBezTo>
                        <a:pt x="98859" y="0"/>
                        <a:pt x="136169" y="37310"/>
                        <a:pt x="136169" y="83190"/>
                      </a:cubicBezTo>
                      <a:cubicBezTo>
                        <a:pt x="136169" y="102463"/>
                        <a:pt x="129432" y="121258"/>
                        <a:pt x="117175" y="136106"/>
                      </a:cubicBezTo>
                      <a:cubicBezTo>
                        <a:pt x="111016" y="143560"/>
                        <a:pt x="103682" y="149858"/>
                        <a:pt x="95371" y="154781"/>
                      </a:cubicBezTo>
                      <a:cubicBezTo>
                        <a:pt x="92282" y="156615"/>
                        <a:pt x="89013" y="158289"/>
                        <a:pt x="85685" y="159704"/>
                      </a:cubicBezTo>
                      <a:cubicBezTo>
                        <a:pt x="84867" y="160043"/>
                        <a:pt x="84010" y="160222"/>
                        <a:pt x="83153" y="160222"/>
                      </a:cubicBezTo>
                      <a:close/>
                    </a:path>
                  </a:pathLst>
                </a:custGeom>
                <a:solidFill>
                  <a:schemeClr val="accent1"/>
                </a:solidFill>
                <a:ln w="1992" cap="flat">
                  <a:noFill/>
                  <a:prstDash val="solid"/>
                  <a:miter/>
                </a:ln>
              </p:spPr>
              <p:txBody>
                <a:bodyPr rtlCol="0" anchor="ctr"/>
                <a:lstStyle/>
                <a:p>
                  <a:endParaRPr lang="en-GB" dirty="0"/>
                </a:p>
              </p:txBody>
            </p:sp>
            <p:sp>
              <p:nvSpPr>
                <p:cNvPr id="238" name="Freihandform: Form 780">
                  <a:extLst>
                    <a:ext uri="{FF2B5EF4-FFF2-40B4-BE49-F238E27FC236}">
                      <a16:creationId xmlns:a16="http://schemas.microsoft.com/office/drawing/2014/main" id="{B59D55B3-BD1B-43F2-9C4E-018F7D468836}"/>
                    </a:ext>
                  </a:extLst>
                </p:cNvPr>
                <p:cNvSpPr/>
                <p:nvPr/>
              </p:nvSpPr>
              <p:spPr>
                <a:xfrm>
                  <a:off x="7141292" y="1928412"/>
                  <a:ext cx="57858" cy="27440"/>
                </a:xfrm>
                <a:custGeom>
                  <a:avLst/>
                  <a:gdLst>
                    <a:gd name="connsiteX0" fmla="*/ 51401 w 57858"/>
                    <a:gd name="connsiteY0" fmla="*/ 27440 h 27440"/>
                    <a:gd name="connsiteX1" fmla="*/ 2671 w 57858"/>
                    <a:gd name="connsiteY1" fmla="*/ 11675 h 27440"/>
                    <a:gd name="connsiteX2" fmla="*/ 1216 w 57858"/>
                    <a:gd name="connsiteY2" fmla="*/ 2666 h 27440"/>
                    <a:gd name="connsiteX3" fmla="*/ 10224 w 57858"/>
                    <a:gd name="connsiteY3" fmla="*/ 1231 h 27440"/>
                    <a:gd name="connsiteX4" fmla="*/ 51401 w 57858"/>
                    <a:gd name="connsiteY4" fmla="*/ 14545 h 27440"/>
                    <a:gd name="connsiteX5" fmla="*/ 57859 w 57858"/>
                    <a:gd name="connsiteY5" fmla="*/ 21002 h 27440"/>
                    <a:gd name="connsiteX6" fmla="*/ 51401 w 57858"/>
                    <a:gd name="connsiteY6" fmla="*/ 27440 h 2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858" h="27440">
                      <a:moveTo>
                        <a:pt x="51401" y="27440"/>
                      </a:moveTo>
                      <a:cubicBezTo>
                        <a:pt x="33763" y="27440"/>
                        <a:pt x="16921" y="21999"/>
                        <a:pt x="2671" y="11675"/>
                      </a:cubicBezTo>
                      <a:cubicBezTo>
                        <a:pt x="-219" y="9582"/>
                        <a:pt x="-857" y="5556"/>
                        <a:pt x="1216" y="2666"/>
                      </a:cubicBezTo>
                      <a:cubicBezTo>
                        <a:pt x="3308" y="-224"/>
                        <a:pt x="7334" y="-861"/>
                        <a:pt x="10224" y="1231"/>
                      </a:cubicBezTo>
                      <a:cubicBezTo>
                        <a:pt x="22262" y="9941"/>
                        <a:pt x="36493" y="14545"/>
                        <a:pt x="51401" y="14545"/>
                      </a:cubicBezTo>
                      <a:cubicBezTo>
                        <a:pt x="54969" y="14545"/>
                        <a:pt x="57859" y="17435"/>
                        <a:pt x="57859" y="21002"/>
                      </a:cubicBezTo>
                      <a:cubicBezTo>
                        <a:pt x="57859" y="24570"/>
                        <a:pt x="54969" y="27440"/>
                        <a:pt x="51401" y="27440"/>
                      </a:cubicBezTo>
                      <a:close/>
                    </a:path>
                  </a:pathLst>
                </a:custGeom>
                <a:solidFill>
                  <a:schemeClr val="accent1"/>
                </a:solidFill>
                <a:ln w="1992" cap="flat">
                  <a:noFill/>
                  <a:prstDash val="solid"/>
                  <a:miter/>
                </a:ln>
              </p:spPr>
              <p:txBody>
                <a:bodyPr rtlCol="0" anchor="ctr"/>
                <a:lstStyle/>
                <a:p>
                  <a:endParaRPr lang="en-GB" dirty="0"/>
                </a:p>
              </p:txBody>
            </p:sp>
            <p:sp>
              <p:nvSpPr>
                <p:cNvPr id="239" name="Freihandform: Form 781">
                  <a:extLst>
                    <a:ext uri="{FF2B5EF4-FFF2-40B4-BE49-F238E27FC236}">
                      <a16:creationId xmlns:a16="http://schemas.microsoft.com/office/drawing/2014/main" id="{A8534D90-F893-42B4-A59F-09E9D7CDEB9D}"/>
                    </a:ext>
                  </a:extLst>
                </p:cNvPr>
                <p:cNvSpPr/>
                <p:nvPr/>
              </p:nvSpPr>
              <p:spPr>
                <a:xfrm>
                  <a:off x="7116046" y="1897236"/>
                  <a:ext cx="20567" cy="26347"/>
                </a:xfrm>
                <a:custGeom>
                  <a:avLst/>
                  <a:gdLst>
                    <a:gd name="connsiteX0" fmla="*/ 14105 w 20567"/>
                    <a:gd name="connsiteY0" fmla="*/ 26348 h 26347"/>
                    <a:gd name="connsiteX1" fmla="*/ 8843 w 20567"/>
                    <a:gd name="connsiteY1" fmla="*/ 23637 h 26347"/>
                    <a:gd name="connsiteX2" fmla="*/ 552 w 20567"/>
                    <a:gd name="connsiteY2" fmla="*/ 9068 h 26347"/>
                    <a:gd name="connsiteX3" fmla="*/ 3841 w 20567"/>
                    <a:gd name="connsiteY3" fmla="*/ 558 h 26347"/>
                    <a:gd name="connsiteX4" fmla="*/ 12351 w 20567"/>
                    <a:gd name="connsiteY4" fmla="*/ 3846 h 26347"/>
                    <a:gd name="connsiteX5" fmla="*/ 19367 w 20567"/>
                    <a:gd name="connsiteY5" fmla="*/ 16143 h 26347"/>
                    <a:gd name="connsiteX6" fmla="*/ 17852 w 20567"/>
                    <a:gd name="connsiteY6" fmla="*/ 25132 h 26347"/>
                    <a:gd name="connsiteX7" fmla="*/ 14105 w 20567"/>
                    <a:gd name="connsiteY7" fmla="*/ 26348 h 26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67" h="26347">
                      <a:moveTo>
                        <a:pt x="14105" y="26348"/>
                      </a:moveTo>
                      <a:cubicBezTo>
                        <a:pt x="12092" y="26348"/>
                        <a:pt x="10099" y="25411"/>
                        <a:pt x="8843" y="23637"/>
                      </a:cubicBezTo>
                      <a:cubicBezTo>
                        <a:pt x="5595" y="19073"/>
                        <a:pt x="2804" y="14190"/>
                        <a:pt x="552" y="9068"/>
                      </a:cubicBezTo>
                      <a:cubicBezTo>
                        <a:pt x="-883" y="5819"/>
                        <a:pt x="572" y="2013"/>
                        <a:pt x="3841" y="558"/>
                      </a:cubicBezTo>
                      <a:cubicBezTo>
                        <a:pt x="7109" y="-897"/>
                        <a:pt x="10916" y="598"/>
                        <a:pt x="12351" y="3846"/>
                      </a:cubicBezTo>
                      <a:cubicBezTo>
                        <a:pt x="14264" y="8171"/>
                        <a:pt x="16616" y="12297"/>
                        <a:pt x="19367" y="16143"/>
                      </a:cubicBezTo>
                      <a:cubicBezTo>
                        <a:pt x="21439" y="19053"/>
                        <a:pt x="20762" y="23079"/>
                        <a:pt x="17852" y="25132"/>
                      </a:cubicBezTo>
                      <a:cubicBezTo>
                        <a:pt x="16716" y="25949"/>
                        <a:pt x="15401" y="26348"/>
                        <a:pt x="14105" y="26348"/>
                      </a:cubicBezTo>
                      <a:close/>
                    </a:path>
                  </a:pathLst>
                </a:custGeom>
                <a:solidFill>
                  <a:schemeClr val="accent1"/>
                </a:solidFill>
                <a:ln w="1992" cap="flat">
                  <a:noFill/>
                  <a:prstDash val="solid"/>
                  <a:miter/>
                </a:ln>
              </p:spPr>
              <p:txBody>
                <a:bodyPr rtlCol="0" anchor="ctr"/>
                <a:lstStyle/>
                <a:p>
                  <a:endParaRPr lang="en-GB" dirty="0"/>
                </a:p>
              </p:txBody>
            </p:sp>
          </p:grpSp>
          <p:sp>
            <p:nvSpPr>
              <p:cNvPr id="231" name="Freihandform: Form 786">
                <a:extLst>
                  <a:ext uri="{FF2B5EF4-FFF2-40B4-BE49-F238E27FC236}">
                    <a16:creationId xmlns:a16="http://schemas.microsoft.com/office/drawing/2014/main" id="{2924CB91-9D73-4DE6-B00E-9157444C340D}"/>
                  </a:ext>
                </a:extLst>
              </p:cNvPr>
              <p:cNvSpPr/>
              <p:nvPr/>
            </p:nvSpPr>
            <p:spPr>
              <a:xfrm>
                <a:off x="7190102" y="1656893"/>
                <a:ext cx="12915" cy="43787"/>
              </a:xfrm>
              <a:custGeom>
                <a:avLst/>
                <a:gdLst>
                  <a:gd name="connsiteX0" fmla="*/ 6458 w 12915"/>
                  <a:gd name="connsiteY0" fmla="*/ 43788 h 43787"/>
                  <a:gd name="connsiteX1" fmla="*/ 0 w 12915"/>
                  <a:gd name="connsiteY1" fmla="*/ 37330 h 43787"/>
                  <a:gd name="connsiteX2" fmla="*/ 0 w 12915"/>
                  <a:gd name="connsiteY2" fmla="*/ 6458 h 43787"/>
                  <a:gd name="connsiteX3" fmla="*/ 6458 w 12915"/>
                  <a:gd name="connsiteY3" fmla="*/ 0 h 43787"/>
                  <a:gd name="connsiteX4" fmla="*/ 12915 w 12915"/>
                  <a:gd name="connsiteY4" fmla="*/ 6458 h 43787"/>
                  <a:gd name="connsiteX5" fmla="*/ 12915 w 12915"/>
                  <a:gd name="connsiteY5" fmla="*/ 37330 h 43787"/>
                  <a:gd name="connsiteX6" fmla="*/ 6458 w 12915"/>
                  <a:gd name="connsiteY6" fmla="*/ 43788 h 4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5" h="43787">
                    <a:moveTo>
                      <a:pt x="6458" y="43788"/>
                    </a:moveTo>
                    <a:cubicBezTo>
                      <a:pt x="2890" y="43788"/>
                      <a:pt x="0" y="40898"/>
                      <a:pt x="0" y="37330"/>
                    </a:cubicBezTo>
                    <a:lnTo>
                      <a:pt x="0" y="6458"/>
                    </a:lnTo>
                    <a:cubicBezTo>
                      <a:pt x="0" y="2890"/>
                      <a:pt x="2890" y="0"/>
                      <a:pt x="6458" y="0"/>
                    </a:cubicBezTo>
                    <a:cubicBezTo>
                      <a:pt x="10025" y="0"/>
                      <a:pt x="12915" y="2890"/>
                      <a:pt x="12915" y="6458"/>
                    </a:cubicBezTo>
                    <a:lnTo>
                      <a:pt x="12915" y="37330"/>
                    </a:lnTo>
                    <a:cubicBezTo>
                      <a:pt x="12895" y="40898"/>
                      <a:pt x="10005" y="43788"/>
                      <a:pt x="6458" y="43788"/>
                    </a:cubicBezTo>
                    <a:close/>
                  </a:path>
                </a:pathLst>
              </a:custGeom>
              <a:solidFill>
                <a:schemeClr val="accent1"/>
              </a:solidFill>
              <a:ln w="1992" cap="flat">
                <a:noFill/>
                <a:prstDash val="solid"/>
                <a:miter/>
              </a:ln>
            </p:spPr>
            <p:txBody>
              <a:bodyPr rtlCol="0" anchor="ctr"/>
              <a:lstStyle/>
              <a:p>
                <a:endParaRPr lang="en-GB" dirty="0"/>
              </a:p>
            </p:txBody>
          </p:sp>
          <p:sp>
            <p:nvSpPr>
              <p:cNvPr id="232" name="Freihandform: Form 787">
                <a:extLst>
                  <a:ext uri="{FF2B5EF4-FFF2-40B4-BE49-F238E27FC236}">
                    <a16:creationId xmlns:a16="http://schemas.microsoft.com/office/drawing/2014/main" id="{7BEEF0EA-EA53-4FB8-B503-9E7E296DEA1B}"/>
                  </a:ext>
                </a:extLst>
              </p:cNvPr>
              <p:cNvSpPr/>
              <p:nvPr/>
            </p:nvSpPr>
            <p:spPr>
              <a:xfrm>
                <a:off x="7370853" y="1889722"/>
                <a:ext cx="39522" cy="12915"/>
              </a:xfrm>
              <a:custGeom>
                <a:avLst/>
                <a:gdLst>
                  <a:gd name="connsiteX0" fmla="*/ 33065 w 39522"/>
                  <a:gd name="connsiteY0" fmla="*/ 12915 h 12915"/>
                  <a:gd name="connsiteX1" fmla="*/ 6458 w 39522"/>
                  <a:gd name="connsiteY1" fmla="*/ 12915 h 12915"/>
                  <a:gd name="connsiteX2" fmla="*/ 0 w 39522"/>
                  <a:gd name="connsiteY2" fmla="*/ 6458 h 12915"/>
                  <a:gd name="connsiteX3" fmla="*/ 6458 w 39522"/>
                  <a:gd name="connsiteY3" fmla="*/ 0 h 12915"/>
                  <a:gd name="connsiteX4" fmla="*/ 33065 w 39522"/>
                  <a:gd name="connsiteY4" fmla="*/ 0 h 12915"/>
                  <a:gd name="connsiteX5" fmla="*/ 39523 w 39522"/>
                  <a:gd name="connsiteY5" fmla="*/ 6458 h 12915"/>
                  <a:gd name="connsiteX6" fmla="*/ 33065 w 39522"/>
                  <a:gd name="connsiteY6" fmla="*/ 12915 h 1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22" h="12915">
                    <a:moveTo>
                      <a:pt x="33065" y="12915"/>
                    </a:moveTo>
                    <a:lnTo>
                      <a:pt x="6458" y="12915"/>
                    </a:lnTo>
                    <a:cubicBezTo>
                      <a:pt x="2890" y="12915"/>
                      <a:pt x="0" y="10025"/>
                      <a:pt x="0" y="6458"/>
                    </a:cubicBezTo>
                    <a:cubicBezTo>
                      <a:pt x="0" y="2890"/>
                      <a:pt x="2890" y="0"/>
                      <a:pt x="6458" y="0"/>
                    </a:cubicBezTo>
                    <a:lnTo>
                      <a:pt x="33065" y="0"/>
                    </a:lnTo>
                    <a:cubicBezTo>
                      <a:pt x="36632" y="0"/>
                      <a:pt x="39523" y="2890"/>
                      <a:pt x="39523" y="6458"/>
                    </a:cubicBezTo>
                    <a:cubicBezTo>
                      <a:pt x="39503" y="10025"/>
                      <a:pt x="36613" y="12915"/>
                      <a:pt x="33065" y="12915"/>
                    </a:cubicBezTo>
                    <a:close/>
                  </a:path>
                </a:pathLst>
              </a:custGeom>
              <a:solidFill>
                <a:schemeClr val="accent1"/>
              </a:solidFill>
              <a:ln w="1992" cap="flat">
                <a:noFill/>
                <a:prstDash val="solid"/>
                <a:miter/>
              </a:ln>
            </p:spPr>
            <p:txBody>
              <a:bodyPr rtlCol="0" anchor="ctr"/>
              <a:lstStyle/>
              <a:p>
                <a:endParaRPr lang="en-GB" dirty="0"/>
              </a:p>
            </p:txBody>
          </p:sp>
          <p:sp>
            <p:nvSpPr>
              <p:cNvPr id="233" name="Freihandform: Form 788">
                <a:extLst>
                  <a:ext uri="{FF2B5EF4-FFF2-40B4-BE49-F238E27FC236}">
                    <a16:creationId xmlns:a16="http://schemas.microsoft.com/office/drawing/2014/main" id="{6C66D5BA-1EBE-4E13-B678-16DA168B73FE}"/>
                  </a:ext>
                </a:extLst>
              </p:cNvPr>
              <p:cNvSpPr/>
              <p:nvPr/>
            </p:nvSpPr>
            <p:spPr>
              <a:xfrm>
                <a:off x="7343178" y="1737142"/>
                <a:ext cx="34401" cy="33055"/>
              </a:xfrm>
              <a:custGeom>
                <a:avLst/>
                <a:gdLst>
                  <a:gd name="connsiteX0" fmla="*/ 6448 w 34401"/>
                  <a:gd name="connsiteY0" fmla="*/ 33056 h 33055"/>
                  <a:gd name="connsiteX1" fmla="*/ 1745 w 34401"/>
                  <a:gd name="connsiteY1" fmla="*/ 31023 h 33055"/>
                  <a:gd name="connsiteX2" fmla="*/ 2044 w 34401"/>
                  <a:gd name="connsiteY2" fmla="*/ 21914 h 33055"/>
                  <a:gd name="connsiteX3" fmla="*/ 23529 w 34401"/>
                  <a:gd name="connsiteY3" fmla="*/ 1745 h 33055"/>
                  <a:gd name="connsiteX4" fmla="*/ 32657 w 34401"/>
                  <a:gd name="connsiteY4" fmla="*/ 2044 h 33055"/>
                  <a:gd name="connsiteX5" fmla="*/ 32358 w 34401"/>
                  <a:gd name="connsiteY5" fmla="*/ 11152 h 33055"/>
                  <a:gd name="connsiteX6" fmla="*/ 10873 w 34401"/>
                  <a:gd name="connsiteY6" fmla="*/ 31322 h 33055"/>
                  <a:gd name="connsiteX7" fmla="*/ 6448 w 34401"/>
                  <a:gd name="connsiteY7" fmla="*/ 33056 h 33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1" h="33055">
                    <a:moveTo>
                      <a:pt x="6448" y="33056"/>
                    </a:moveTo>
                    <a:cubicBezTo>
                      <a:pt x="4734" y="33056"/>
                      <a:pt x="3020" y="32378"/>
                      <a:pt x="1745" y="31023"/>
                    </a:cubicBezTo>
                    <a:cubicBezTo>
                      <a:pt x="-687" y="28432"/>
                      <a:pt x="-567" y="24346"/>
                      <a:pt x="2044" y="21914"/>
                    </a:cubicBezTo>
                    <a:lnTo>
                      <a:pt x="23529" y="1745"/>
                    </a:lnTo>
                    <a:cubicBezTo>
                      <a:pt x="26140" y="-687"/>
                      <a:pt x="30206" y="-567"/>
                      <a:pt x="32657" y="2044"/>
                    </a:cubicBezTo>
                    <a:cubicBezTo>
                      <a:pt x="35089" y="4635"/>
                      <a:pt x="34969" y="8720"/>
                      <a:pt x="32358" y="11152"/>
                    </a:cubicBezTo>
                    <a:lnTo>
                      <a:pt x="10873" y="31322"/>
                    </a:lnTo>
                    <a:cubicBezTo>
                      <a:pt x="9617" y="32478"/>
                      <a:pt x="8023" y="33056"/>
                      <a:pt x="6448" y="33056"/>
                    </a:cubicBezTo>
                    <a:close/>
                  </a:path>
                </a:pathLst>
              </a:custGeom>
              <a:solidFill>
                <a:schemeClr val="accent1"/>
              </a:solidFill>
              <a:ln w="1992" cap="flat">
                <a:noFill/>
                <a:prstDash val="solid"/>
                <a:miter/>
              </a:ln>
            </p:spPr>
            <p:txBody>
              <a:bodyPr rtlCol="0" anchor="ctr"/>
              <a:lstStyle/>
              <a:p>
                <a:endParaRPr lang="en-GB" dirty="0"/>
              </a:p>
            </p:txBody>
          </p:sp>
          <p:sp>
            <p:nvSpPr>
              <p:cNvPr id="234" name="Freihandform: Form 789">
                <a:extLst>
                  <a:ext uri="{FF2B5EF4-FFF2-40B4-BE49-F238E27FC236}">
                    <a16:creationId xmlns:a16="http://schemas.microsoft.com/office/drawing/2014/main" id="{CFD0AD98-6D10-4F84-A9F2-E5655EF28AA5}"/>
                  </a:ext>
                </a:extLst>
              </p:cNvPr>
              <p:cNvSpPr/>
              <p:nvPr/>
            </p:nvSpPr>
            <p:spPr>
              <a:xfrm>
                <a:off x="7016678" y="1740666"/>
                <a:ext cx="30987" cy="30708"/>
              </a:xfrm>
              <a:custGeom>
                <a:avLst/>
                <a:gdLst>
                  <a:gd name="connsiteX0" fmla="*/ 24522 w 30987"/>
                  <a:gd name="connsiteY0" fmla="*/ 30708 h 30708"/>
                  <a:gd name="connsiteX1" fmla="*/ 19998 w 30987"/>
                  <a:gd name="connsiteY1" fmla="*/ 28855 h 30708"/>
                  <a:gd name="connsiteX2" fmla="*/ 1921 w 30987"/>
                  <a:gd name="connsiteY2" fmla="*/ 11057 h 30708"/>
                  <a:gd name="connsiteX3" fmla="*/ 1861 w 30987"/>
                  <a:gd name="connsiteY3" fmla="*/ 1928 h 30708"/>
                  <a:gd name="connsiteX4" fmla="*/ 10989 w 30987"/>
                  <a:gd name="connsiteY4" fmla="*/ 1869 h 30708"/>
                  <a:gd name="connsiteX5" fmla="*/ 29067 w 30987"/>
                  <a:gd name="connsiteY5" fmla="*/ 19667 h 30708"/>
                  <a:gd name="connsiteX6" fmla="*/ 29126 w 30987"/>
                  <a:gd name="connsiteY6" fmla="*/ 28795 h 30708"/>
                  <a:gd name="connsiteX7" fmla="*/ 24522 w 30987"/>
                  <a:gd name="connsiteY7" fmla="*/ 30708 h 30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987" h="30708">
                    <a:moveTo>
                      <a:pt x="24522" y="30708"/>
                    </a:moveTo>
                    <a:cubicBezTo>
                      <a:pt x="22888" y="30708"/>
                      <a:pt x="21254" y="30090"/>
                      <a:pt x="19998" y="28855"/>
                    </a:cubicBezTo>
                    <a:lnTo>
                      <a:pt x="1921" y="11057"/>
                    </a:lnTo>
                    <a:cubicBezTo>
                      <a:pt x="-610" y="8565"/>
                      <a:pt x="-650" y="4480"/>
                      <a:pt x="1861" y="1928"/>
                    </a:cubicBezTo>
                    <a:cubicBezTo>
                      <a:pt x="4372" y="-623"/>
                      <a:pt x="8438" y="-643"/>
                      <a:pt x="10989" y="1869"/>
                    </a:cubicBezTo>
                    <a:lnTo>
                      <a:pt x="29067" y="19667"/>
                    </a:lnTo>
                    <a:cubicBezTo>
                      <a:pt x="31598" y="22158"/>
                      <a:pt x="31638" y="26244"/>
                      <a:pt x="29126" y="28795"/>
                    </a:cubicBezTo>
                    <a:cubicBezTo>
                      <a:pt x="27851" y="30070"/>
                      <a:pt x="26197" y="30708"/>
                      <a:pt x="24522" y="30708"/>
                    </a:cubicBezTo>
                    <a:close/>
                  </a:path>
                </a:pathLst>
              </a:custGeom>
              <a:solidFill>
                <a:schemeClr val="accent1"/>
              </a:solidFill>
              <a:ln w="1992" cap="flat">
                <a:noFill/>
                <a:prstDash val="solid"/>
                <a:miter/>
              </a:ln>
            </p:spPr>
            <p:txBody>
              <a:bodyPr rtlCol="0" anchor="ctr"/>
              <a:lstStyle/>
              <a:p>
                <a:endParaRPr lang="en-GB" dirty="0"/>
              </a:p>
            </p:txBody>
          </p:sp>
        </p:grpSp>
        <p:grpSp>
          <p:nvGrpSpPr>
            <p:cNvPr id="224" name="Group 223">
              <a:extLst>
                <a:ext uri="{FF2B5EF4-FFF2-40B4-BE49-F238E27FC236}">
                  <a16:creationId xmlns:a16="http://schemas.microsoft.com/office/drawing/2014/main" id="{05490589-4E24-49E3-9147-7AE01E2EABBD}"/>
                </a:ext>
              </a:extLst>
            </p:cNvPr>
            <p:cNvGrpSpPr/>
            <p:nvPr/>
          </p:nvGrpSpPr>
          <p:grpSpPr>
            <a:xfrm>
              <a:off x="680678" y="3267075"/>
              <a:ext cx="253680" cy="361993"/>
              <a:chOff x="7071856" y="1729060"/>
              <a:chExt cx="261507" cy="373162"/>
            </a:xfrm>
            <a:solidFill>
              <a:schemeClr val="tx2"/>
            </a:solidFill>
          </p:grpSpPr>
          <p:grpSp>
            <p:nvGrpSpPr>
              <p:cNvPr id="225" name="Grafik 336">
                <a:extLst>
                  <a:ext uri="{FF2B5EF4-FFF2-40B4-BE49-F238E27FC236}">
                    <a16:creationId xmlns:a16="http://schemas.microsoft.com/office/drawing/2014/main" id="{40BDB8E6-E751-4140-A00C-E70EAB29E3E8}"/>
                  </a:ext>
                </a:extLst>
              </p:cNvPr>
              <p:cNvGrpSpPr/>
              <p:nvPr/>
            </p:nvGrpSpPr>
            <p:grpSpPr>
              <a:xfrm>
                <a:off x="7071856" y="1729060"/>
                <a:ext cx="261507" cy="300356"/>
                <a:chOff x="7071856" y="1729060"/>
                <a:chExt cx="261507" cy="300356"/>
              </a:xfrm>
              <a:grpFill/>
            </p:grpSpPr>
            <p:sp>
              <p:nvSpPr>
                <p:cNvPr id="228" name="Freihandform: Form 784">
                  <a:extLst>
                    <a:ext uri="{FF2B5EF4-FFF2-40B4-BE49-F238E27FC236}">
                      <a16:creationId xmlns:a16="http://schemas.microsoft.com/office/drawing/2014/main" id="{18FA2697-9E8C-4FF1-A1D0-147B4B37EB3C}"/>
                    </a:ext>
                  </a:extLst>
                </p:cNvPr>
                <p:cNvSpPr/>
                <p:nvPr/>
              </p:nvSpPr>
              <p:spPr>
                <a:xfrm>
                  <a:off x="7071856" y="1912047"/>
                  <a:ext cx="69655" cy="117369"/>
                </a:xfrm>
                <a:custGeom>
                  <a:avLst/>
                  <a:gdLst>
                    <a:gd name="connsiteX0" fmla="*/ 63218 w 69655"/>
                    <a:gd name="connsiteY0" fmla="*/ 117369 h 117369"/>
                    <a:gd name="connsiteX1" fmla="*/ 56800 w 69655"/>
                    <a:gd name="connsiteY1" fmla="*/ 111410 h 117369"/>
                    <a:gd name="connsiteX2" fmla="*/ 56601 w 69655"/>
                    <a:gd name="connsiteY2" fmla="*/ 108859 h 117369"/>
                    <a:gd name="connsiteX3" fmla="*/ 30133 w 69655"/>
                    <a:gd name="connsiteY3" fmla="*/ 50482 h 117369"/>
                    <a:gd name="connsiteX4" fmla="*/ 596 w 69655"/>
                    <a:gd name="connsiteY4" fmla="*/ 9146 h 117369"/>
                    <a:gd name="connsiteX5" fmla="*/ 3745 w 69655"/>
                    <a:gd name="connsiteY5" fmla="*/ 596 h 117369"/>
                    <a:gd name="connsiteX6" fmla="*/ 12295 w 69655"/>
                    <a:gd name="connsiteY6" fmla="*/ 3765 h 117369"/>
                    <a:gd name="connsiteX7" fmla="*/ 39042 w 69655"/>
                    <a:gd name="connsiteY7" fmla="*/ 41174 h 117369"/>
                    <a:gd name="connsiteX8" fmla="*/ 69456 w 69655"/>
                    <a:gd name="connsiteY8" fmla="*/ 107982 h 117369"/>
                    <a:gd name="connsiteX9" fmla="*/ 69636 w 69655"/>
                    <a:gd name="connsiteY9" fmla="*/ 110453 h 117369"/>
                    <a:gd name="connsiteX10" fmla="*/ 63696 w 69655"/>
                    <a:gd name="connsiteY10" fmla="*/ 117369 h 117369"/>
                    <a:gd name="connsiteX11" fmla="*/ 63218 w 69655"/>
                    <a:gd name="connsiteY11" fmla="*/ 117369 h 117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655" h="117369">
                      <a:moveTo>
                        <a:pt x="63218" y="117369"/>
                      </a:moveTo>
                      <a:cubicBezTo>
                        <a:pt x="59890" y="117369"/>
                        <a:pt x="57059" y="114798"/>
                        <a:pt x="56800" y="111410"/>
                      </a:cubicBezTo>
                      <a:lnTo>
                        <a:pt x="56601" y="108859"/>
                      </a:lnTo>
                      <a:cubicBezTo>
                        <a:pt x="55186" y="86138"/>
                        <a:pt x="45779" y="65430"/>
                        <a:pt x="30133" y="50482"/>
                      </a:cubicBezTo>
                      <a:cubicBezTo>
                        <a:pt x="17696" y="38583"/>
                        <a:pt x="7751" y="24672"/>
                        <a:pt x="596" y="9146"/>
                      </a:cubicBezTo>
                      <a:cubicBezTo>
                        <a:pt x="-899" y="5917"/>
                        <a:pt x="516" y="2090"/>
                        <a:pt x="3745" y="596"/>
                      </a:cubicBezTo>
                      <a:cubicBezTo>
                        <a:pt x="6994" y="-899"/>
                        <a:pt x="10820" y="516"/>
                        <a:pt x="12295" y="3765"/>
                      </a:cubicBezTo>
                      <a:cubicBezTo>
                        <a:pt x="18773" y="17816"/>
                        <a:pt x="27781" y="30412"/>
                        <a:pt x="39042" y="41174"/>
                      </a:cubicBezTo>
                      <a:cubicBezTo>
                        <a:pt x="57040" y="58374"/>
                        <a:pt x="67842" y="82112"/>
                        <a:pt x="69456" y="107982"/>
                      </a:cubicBezTo>
                      <a:lnTo>
                        <a:pt x="69636" y="110453"/>
                      </a:lnTo>
                      <a:cubicBezTo>
                        <a:pt x="69915" y="114001"/>
                        <a:pt x="67244" y="117110"/>
                        <a:pt x="63696" y="117369"/>
                      </a:cubicBezTo>
                      <a:cubicBezTo>
                        <a:pt x="63537" y="117349"/>
                        <a:pt x="63377" y="117369"/>
                        <a:pt x="63218" y="117369"/>
                      </a:cubicBezTo>
                      <a:close/>
                    </a:path>
                  </a:pathLst>
                </a:custGeom>
                <a:grpFill/>
                <a:ln w="1992" cap="flat">
                  <a:noFill/>
                  <a:prstDash val="solid"/>
                  <a:miter/>
                </a:ln>
              </p:spPr>
              <p:txBody>
                <a:bodyPr rtlCol="0" anchor="ctr"/>
                <a:lstStyle/>
                <a:p>
                  <a:endParaRPr lang="en-GB" dirty="0"/>
                </a:p>
              </p:txBody>
            </p:sp>
            <p:sp>
              <p:nvSpPr>
                <p:cNvPr id="229" name="Freihandform: Form 785">
                  <a:extLst>
                    <a:ext uri="{FF2B5EF4-FFF2-40B4-BE49-F238E27FC236}">
                      <a16:creationId xmlns:a16="http://schemas.microsoft.com/office/drawing/2014/main" id="{CF21F9E6-8FD5-4CA1-99DA-3202E7BD43FD}"/>
                    </a:ext>
                  </a:extLst>
                </p:cNvPr>
                <p:cNvSpPr/>
                <p:nvPr/>
              </p:nvSpPr>
              <p:spPr>
                <a:xfrm>
                  <a:off x="7073754" y="1729060"/>
                  <a:ext cx="259609" cy="300356"/>
                </a:xfrm>
                <a:custGeom>
                  <a:avLst/>
                  <a:gdLst>
                    <a:gd name="connsiteX0" fmla="*/ 184650 w 259609"/>
                    <a:gd name="connsiteY0" fmla="*/ 300356 h 300356"/>
                    <a:gd name="connsiteX1" fmla="*/ 184032 w 259609"/>
                    <a:gd name="connsiteY1" fmla="*/ 300336 h 300356"/>
                    <a:gd name="connsiteX2" fmla="*/ 178233 w 259609"/>
                    <a:gd name="connsiteY2" fmla="*/ 293301 h 300356"/>
                    <a:gd name="connsiteX3" fmla="*/ 179030 w 259609"/>
                    <a:gd name="connsiteY3" fmla="*/ 284850 h 300356"/>
                    <a:gd name="connsiteX4" fmla="*/ 210739 w 259609"/>
                    <a:gd name="connsiteY4" fmla="*/ 222268 h 300356"/>
                    <a:gd name="connsiteX5" fmla="*/ 246714 w 259609"/>
                    <a:gd name="connsiteY5" fmla="*/ 135709 h 300356"/>
                    <a:gd name="connsiteX6" fmla="*/ 205817 w 259609"/>
                    <a:gd name="connsiteY6" fmla="*/ 44447 h 300356"/>
                    <a:gd name="connsiteX7" fmla="*/ 108695 w 259609"/>
                    <a:gd name="connsiteY7" fmla="*/ 13674 h 300356"/>
                    <a:gd name="connsiteX8" fmla="*/ 12210 w 259609"/>
                    <a:gd name="connsiteY8" fmla="*/ 80900 h 300356"/>
                    <a:gd name="connsiteX9" fmla="*/ 3541 w 259609"/>
                    <a:gd name="connsiteY9" fmla="*/ 83750 h 300356"/>
                    <a:gd name="connsiteX10" fmla="*/ 691 w 259609"/>
                    <a:gd name="connsiteY10" fmla="*/ 75080 h 300356"/>
                    <a:gd name="connsiteX11" fmla="*/ 107260 w 259609"/>
                    <a:gd name="connsiteY11" fmla="*/ 859 h 300356"/>
                    <a:gd name="connsiteX12" fmla="*/ 214407 w 259609"/>
                    <a:gd name="connsiteY12" fmla="*/ 34840 h 300356"/>
                    <a:gd name="connsiteX13" fmla="*/ 259609 w 259609"/>
                    <a:gd name="connsiteY13" fmla="*/ 135709 h 300356"/>
                    <a:gd name="connsiteX14" fmla="*/ 219868 w 259609"/>
                    <a:gd name="connsiteY14" fmla="*/ 231396 h 300356"/>
                    <a:gd name="connsiteX15" fmla="*/ 191865 w 259609"/>
                    <a:gd name="connsiteY15" fmla="*/ 286305 h 300356"/>
                    <a:gd name="connsiteX16" fmla="*/ 191088 w 259609"/>
                    <a:gd name="connsiteY16" fmla="*/ 294517 h 300356"/>
                    <a:gd name="connsiteX17" fmla="*/ 184650 w 259609"/>
                    <a:gd name="connsiteY17" fmla="*/ 300356 h 300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9609" h="300356">
                      <a:moveTo>
                        <a:pt x="184650" y="300356"/>
                      </a:moveTo>
                      <a:cubicBezTo>
                        <a:pt x="184451" y="300356"/>
                        <a:pt x="184232" y="300356"/>
                        <a:pt x="184032" y="300336"/>
                      </a:cubicBezTo>
                      <a:cubicBezTo>
                        <a:pt x="180485" y="299998"/>
                        <a:pt x="177894" y="296848"/>
                        <a:pt x="178233" y="293301"/>
                      </a:cubicBezTo>
                      <a:lnTo>
                        <a:pt x="179030" y="284850"/>
                      </a:lnTo>
                      <a:cubicBezTo>
                        <a:pt x="182139" y="261452"/>
                        <a:pt x="193081" y="239887"/>
                        <a:pt x="210739" y="222268"/>
                      </a:cubicBezTo>
                      <a:cubicBezTo>
                        <a:pt x="233939" y="199109"/>
                        <a:pt x="246714" y="168356"/>
                        <a:pt x="246714" y="135709"/>
                      </a:cubicBezTo>
                      <a:cubicBezTo>
                        <a:pt x="246714" y="100990"/>
                        <a:pt x="231806" y="67726"/>
                        <a:pt x="205817" y="44447"/>
                      </a:cubicBezTo>
                      <a:cubicBezTo>
                        <a:pt x="179169" y="20610"/>
                        <a:pt x="144669" y="9688"/>
                        <a:pt x="108695" y="13674"/>
                      </a:cubicBezTo>
                      <a:cubicBezTo>
                        <a:pt x="67837" y="18218"/>
                        <a:pt x="30885" y="43969"/>
                        <a:pt x="12210" y="80900"/>
                      </a:cubicBezTo>
                      <a:cubicBezTo>
                        <a:pt x="10616" y="84069"/>
                        <a:pt x="6730" y="85365"/>
                        <a:pt x="3541" y="83750"/>
                      </a:cubicBezTo>
                      <a:cubicBezTo>
                        <a:pt x="352" y="82136"/>
                        <a:pt x="-904" y="78269"/>
                        <a:pt x="691" y="75080"/>
                      </a:cubicBezTo>
                      <a:cubicBezTo>
                        <a:pt x="21279" y="34322"/>
                        <a:pt x="62117" y="5861"/>
                        <a:pt x="107260" y="859"/>
                      </a:cubicBezTo>
                      <a:cubicBezTo>
                        <a:pt x="146383" y="-3506"/>
                        <a:pt x="185428" y="8911"/>
                        <a:pt x="214407" y="34840"/>
                      </a:cubicBezTo>
                      <a:cubicBezTo>
                        <a:pt x="243127" y="60551"/>
                        <a:pt x="259609" y="97323"/>
                        <a:pt x="259609" y="135709"/>
                      </a:cubicBezTo>
                      <a:cubicBezTo>
                        <a:pt x="259609" y="171804"/>
                        <a:pt x="245499" y="205785"/>
                        <a:pt x="219868" y="231396"/>
                      </a:cubicBezTo>
                      <a:cubicBezTo>
                        <a:pt x="204242" y="247002"/>
                        <a:pt x="194556" y="265976"/>
                        <a:pt x="191865" y="286305"/>
                      </a:cubicBezTo>
                      <a:lnTo>
                        <a:pt x="191088" y="294517"/>
                      </a:lnTo>
                      <a:cubicBezTo>
                        <a:pt x="190729" y="297845"/>
                        <a:pt x="187919" y="300356"/>
                        <a:pt x="184650" y="300356"/>
                      </a:cubicBezTo>
                      <a:close/>
                    </a:path>
                  </a:pathLst>
                </a:custGeom>
                <a:grpFill/>
                <a:ln w="1992" cap="flat">
                  <a:noFill/>
                  <a:prstDash val="solid"/>
                  <a:miter/>
                </a:ln>
              </p:spPr>
              <p:txBody>
                <a:bodyPr rtlCol="0" anchor="ctr"/>
                <a:lstStyle/>
                <a:p>
                  <a:endParaRPr lang="en-GB" dirty="0"/>
                </a:p>
              </p:txBody>
            </p:sp>
          </p:grpSp>
          <p:sp>
            <p:nvSpPr>
              <p:cNvPr id="226" name="Freihandform: Form 790">
                <a:extLst>
                  <a:ext uri="{FF2B5EF4-FFF2-40B4-BE49-F238E27FC236}">
                    <a16:creationId xmlns:a16="http://schemas.microsoft.com/office/drawing/2014/main" id="{D4402928-92FD-4234-8849-0F511BB04D90}"/>
                  </a:ext>
                </a:extLst>
              </p:cNvPr>
              <p:cNvSpPr/>
              <p:nvPr/>
            </p:nvSpPr>
            <p:spPr>
              <a:xfrm>
                <a:off x="7126085" y="2050622"/>
                <a:ext cx="140710" cy="12915"/>
              </a:xfrm>
              <a:custGeom>
                <a:avLst/>
                <a:gdLst>
                  <a:gd name="connsiteX0" fmla="*/ 134253 w 140710"/>
                  <a:gd name="connsiteY0" fmla="*/ 12915 h 12915"/>
                  <a:gd name="connsiteX1" fmla="*/ 6458 w 140710"/>
                  <a:gd name="connsiteY1" fmla="*/ 12915 h 12915"/>
                  <a:gd name="connsiteX2" fmla="*/ 0 w 140710"/>
                  <a:gd name="connsiteY2" fmla="*/ 6458 h 12915"/>
                  <a:gd name="connsiteX3" fmla="*/ 6458 w 140710"/>
                  <a:gd name="connsiteY3" fmla="*/ 0 h 12915"/>
                  <a:gd name="connsiteX4" fmla="*/ 134253 w 140710"/>
                  <a:gd name="connsiteY4" fmla="*/ 0 h 12915"/>
                  <a:gd name="connsiteX5" fmla="*/ 140710 w 140710"/>
                  <a:gd name="connsiteY5" fmla="*/ 6458 h 12915"/>
                  <a:gd name="connsiteX6" fmla="*/ 134253 w 140710"/>
                  <a:gd name="connsiteY6" fmla="*/ 12915 h 1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0710" h="12915">
                    <a:moveTo>
                      <a:pt x="134253" y="12915"/>
                    </a:moveTo>
                    <a:lnTo>
                      <a:pt x="6458" y="12915"/>
                    </a:lnTo>
                    <a:cubicBezTo>
                      <a:pt x="2890" y="12915"/>
                      <a:pt x="0" y="10025"/>
                      <a:pt x="0" y="6458"/>
                    </a:cubicBezTo>
                    <a:cubicBezTo>
                      <a:pt x="0" y="2890"/>
                      <a:pt x="2890" y="0"/>
                      <a:pt x="6458" y="0"/>
                    </a:cubicBezTo>
                    <a:lnTo>
                      <a:pt x="134253" y="0"/>
                    </a:lnTo>
                    <a:cubicBezTo>
                      <a:pt x="137820" y="0"/>
                      <a:pt x="140710" y="2890"/>
                      <a:pt x="140710" y="6458"/>
                    </a:cubicBezTo>
                    <a:cubicBezTo>
                      <a:pt x="140690" y="10025"/>
                      <a:pt x="137800" y="12915"/>
                      <a:pt x="134253" y="12915"/>
                    </a:cubicBezTo>
                    <a:close/>
                  </a:path>
                </a:pathLst>
              </a:custGeom>
              <a:grpFill/>
              <a:ln w="1992" cap="flat">
                <a:noFill/>
                <a:prstDash val="solid"/>
                <a:miter/>
              </a:ln>
            </p:spPr>
            <p:txBody>
              <a:bodyPr rtlCol="0" anchor="ctr"/>
              <a:lstStyle/>
              <a:p>
                <a:endParaRPr lang="en-GB" dirty="0"/>
              </a:p>
            </p:txBody>
          </p:sp>
          <p:sp>
            <p:nvSpPr>
              <p:cNvPr id="227" name="Freihandform: Form 791">
                <a:extLst>
                  <a:ext uri="{FF2B5EF4-FFF2-40B4-BE49-F238E27FC236}">
                    <a16:creationId xmlns:a16="http://schemas.microsoft.com/office/drawing/2014/main" id="{03D6E41A-A0BF-402C-8A91-2D676683C162}"/>
                  </a:ext>
                </a:extLst>
              </p:cNvPr>
              <p:cNvSpPr/>
              <p:nvPr/>
            </p:nvSpPr>
            <p:spPr>
              <a:xfrm>
                <a:off x="7150022" y="2089307"/>
                <a:ext cx="92796" cy="12915"/>
              </a:xfrm>
              <a:custGeom>
                <a:avLst/>
                <a:gdLst>
                  <a:gd name="connsiteX0" fmla="*/ 86339 w 92796"/>
                  <a:gd name="connsiteY0" fmla="*/ 12915 h 12915"/>
                  <a:gd name="connsiteX1" fmla="*/ 6458 w 92796"/>
                  <a:gd name="connsiteY1" fmla="*/ 12915 h 12915"/>
                  <a:gd name="connsiteX2" fmla="*/ 0 w 92796"/>
                  <a:gd name="connsiteY2" fmla="*/ 6458 h 12915"/>
                  <a:gd name="connsiteX3" fmla="*/ 6458 w 92796"/>
                  <a:gd name="connsiteY3" fmla="*/ 0 h 12915"/>
                  <a:gd name="connsiteX4" fmla="*/ 86339 w 92796"/>
                  <a:gd name="connsiteY4" fmla="*/ 0 h 12915"/>
                  <a:gd name="connsiteX5" fmla="*/ 92797 w 92796"/>
                  <a:gd name="connsiteY5" fmla="*/ 6458 h 12915"/>
                  <a:gd name="connsiteX6" fmla="*/ 86339 w 92796"/>
                  <a:gd name="connsiteY6" fmla="*/ 12915 h 12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796" h="12915">
                    <a:moveTo>
                      <a:pt x="86339" y="12915"/>
                    </a:moveTo>
                    <a:lnTo>
                      <a:pt x="6458" y="12915"/>
                    </a:lnTo>
                    <a:cubicBezTo>
                      <a:pt x="2890" y="12915"/>
                      <a:pt x="0" y="10025"/>
                      <a:pt x="0" y="6458"/>
                    </a:cubicBezTo>
                    <a:cubicBezTo>
                      <a:pt x="0" y="2890"/>
                      <a:pt x="2890" y="0"/>
                      <a:pt x="6458" y="0"/>
                    </a:cubicBezTo>
                    <a:lnTo>
                      <a:pt x="86339" y="0"/>
                    </a:lnTo>
                    <a:cubicBezTo>
                      <a:pt x="89907" y="0"/>
                      <a:pt x="92797" y="2890"/>
                      <a:pt x="92797" y="6458"/>
                    </a:cubicBezTo>
                    <a:cubicBezTo>
                      <a:pt x="92797" y="10045"/>
                      <a:pt x="89907" y="12915"/>
                      <a:pt x="86339" y="12915"/>
                    </a:cubicBezTo>
                    <a:close/>
                  </a:path>
                </a:pathLst>
              </a:custGeom>
              <a:grpFill/>
              <a:ln w="1992" cap="flat">
                <a:noFill/>
                <a:prstDash val="solid"/>
                <a:miter/>
              </a:ln>
            </p:spPr>
            <p:txBody>
              <a:bodyPr rtlCol="0" anchor="ctr"/>
              <a:lstStyle/>
              <a:p>
                <a:endParaRPr lang="en-GB" dirty="0"/>
              </a:p>
            </p:txBody>
          </p:sp>
        </p:grpSp>
      </p:grpSp>
      <p:grpSp>
        <p:nvGrpSpPr>
          <p:cNvPr id="42" name="Group 41">
            <a:extLst>
              <a:ext uri="{FF2B5EF4-FFF2-40B4-BE49-F238E27FC236}">
                <a16:creationId xmlns:a16="http://schemas.microsoft.com/office/drawing/2014/main" id="{14A7D080-972B-B1B2-F58C-1CAF72A9CA6F}"/>
              </a:ext>
            </a:extLst>
          </p:cNvPr>
          <p:cNvGrpSpPr/>
          <p:nvPr/>
        </p:nvGrpSpPr>
        <p:grpSpPr>
          <a:xfrm>
            <a:off x="1526124" y="3197064"/>
            <a:ext cx="626717" cy="432001"/>
            <a:chOff x="1526124" y="3197064"/>
            <a:chExt cx="626717" cy="432001"/>
          </a:xfrm>
        </p:grpSpPr>
        <p:grpSp>
          <p:nvGrpSpPr>
            <p:cNvPr id="243" name="Group 242">
              <a:extLst>
                <a:ext uri="{FF2B5EF4-FFF2-40B4-BE49-F238E27FC236}">
                  <a16:creationId xmlns:a16="http://schemas.microsoft.com/office/drawing/2014/main" id="{057FA1AD-2613-4B46-B920-5EB98043EF85}"/>
                </a:ext>
              </a:extLst>
            </p:cNvPr>
            <p:cNvGrpSpPr/>
            <p:nvPr/>
          </p:nvGrpSpPr>
          <p:grpSpPr>
            <a:xfrm>
              <a:off x="1526124" y="3312670"/>
              <a:ext cx="626717" cy="316395"/>
              <a:chOff x="7665726" y="1773447"/>
              <a:chExt cx="664387" cy="335412"/>
            </a:xfrm>
            <a:solidFill>
              <a:schemeClr val="tx2"/>
            </a:solidFill>
          </p:grpSpPr>
          <p:sp>
            <p:nvSpPr>
              <p:cNvPr id="250" name="Freihandform: Form 886">
                <a:extLst>
                  <a:ext uri="{FF2B5EF4-FFF2-40B4-BE49-F238E27FC236}">
                    <a16:creationId xmlns:a16="http://schemas.microsoft.com/office/drawing/2014/main" id="{D9E1D7CA-8DEF-466A-AD5B-5FFBD0E64A7D}"/>
                  </a:ext>
                </a:extLst>
              </p:cNvPr>
              <p:cNvSpPr/>
              <p:nvPr/>
            </p:nvSpPr>
            <p:spPr>
              <a:xfrm>
                <a:off x="8096846" y="1890181"/>
                <a:ext cx="83609" cy="32666"/>
              </a:xfrm>
              <a:custGeom>
                <a:avLst/>
                <a:gdLst>
                  <a:gd name="connsiteX0" fmla="*/ 78906 w 83609"/>
                  <a:gd name="connsiteY0" fmla="*/ 32666 h 32666"/>
                  <a:gd name="connsiteX1" fmla="*/ 0 w 83609"/>
                  <a:gd name="connsiteY1" fmla="*/ 12756 h 32666"/>
                  <a:gd name="connsiteX2" fmla="*/ 1953 w 83609"/>
                  <a:gd name="connsiteY2" fmla="*/ 0 h 32666"/>
                  <a:gd name="connsiteX3" fmla="*/ 83609 w 83609"/>
                  <a:gd name="connsiteY3" fmla="*/ 20648 h 32666"/>
                  <a:gd name="connsiteX4" fmla="*/ 78906 w 83609"/>
                  <a:gd name="connsiteY4" fmla="*/ 32666 h 326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609" h="32666">
                    <a:moveTo>
                      <a:pt x="78906" y="32666"/>
                    </a:moveTo>
                    <a:cubicBezTo>
                      <a:pt x="57420" y="24256"/>
                      <a:pt x="30135" y="17360"/>
                      <a:pt x="0" y="12756"/>
                    </a:cubicBezTo>
                    <a:lnTo>
                      <a:pt x="1953" y="0"/>
                    </a:lnTo>
                    <a:cubicBezTo>
                      <a:pt x="33025" y="4743"/>
                      <a:pt x="61267" y="11879"/>
                      <a:pt x="83609" y="20648"/>
                    </a:cubicBezTo>
                    <a:lnTo>
                      <a:pt x="78906" y="32666"/>
                    </a:lnTo>
                    <a:close/>
                  </a:path>
                </a:pathLst>
              </a:custGeom>
              <a:grpFill/>
              <a:ln w="1992" cap="flat">
                <a:noFill/>
                <a:prstDash val="solid"/>
                <a:miter/>
              </a:ln>
            </p:spPr>
            <p:txBody>
              <a:bodyPr rtlCol="0" anchor="ctr"/>
              <a:lstStyle/>
              <a:p>
                <a:endParaRPr lang="en-GB" dirty="0"/>
              </a:p>
            </p:txBody>
          </p:sp>
          <p:sp>
            <p:nvSpPr>
              <p:cNvPr id="251" name="Freihandform: Form 887">
                <a:extLst>
                  <a:ext uri="{FF2B5EF4-FFF2-40B4-BE49-F238E27FC236}">
                    <a16:creationId xmlns:a16="http://schemas.microsoft.com/office/drawing/2014/main" id="{C60B10A9-1882-4B7C-A0DB-5976E7BC29E5}"/>
                  </a:ext>
                </a:extLst>
              </p:cNvPr>
              <p:cNvSpPr/>
              <p:nvPr/>
            </p:nvSpPr>
            <p:spPr>
              <a:xfrm>
                <a:off x="7813472" y="2007791"/>
                <a:ext cx="369972" cy="43010"/>
              </a:xfrm>
              <a:custGeom>
                <a:avLst/>
                <a:gdLst>
                  <a:gd name="connsiteX0" fmla="*/ 187687 w 369972"/>
                  <a:gd name="connsiteY0" fmla="*/ 43010 h 43010"/>
                  <a:gd name="connsiteX1" fmla="*/ 73006 w 369972"/>
                  <a:gd name="connsiteY1" fmla="*/ 33045 h 43010"/>
                  <a:gd name="connsiteX2" fmla="*/ 0 w 369972"/>
                  <a:gd name="connsiteY2" fmla="*/ 11819 h 43010"/>
                  <a:gd name="connsiteX3" fmla="*/ 5182 w 369972"/>
                  <a:gd name="connsiteY3" fmla="*/ 0 h 43010"/>
                  <a:gd name="connsiteX4" fmla="*/ 75358 w 369972"/>
                  <a:gd name="connsiteY4" fmla="*/ 20349 h 43010"/>
                  <a:gd name="connsiteX5" fmla="*/ 187667 w 369972"/>
                  <a:gd name="connsiteY5" fmla="*/ 30095 h 43010"/>
                  <a:gd name="connsiteX6" fmla="*/ 365089 w 369972"/>
                  <a:gd name="connsiteY6" fmla="*/ 2133 h 43010"/>
                  <a:gd name="connsiteX7" fmla="*/ 369972 w 369972"/>
                  <a:gd name="connsiteY7" fmla="*/ 14071 h 43010"/>
                  <a:gd name="connsiteX8" fmla="*/ 187687 w 369972"/>
                  <a:gd name="connsiteY8" fmla="*/ 43010 h 43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9972" h="43010">
                    <a:moveTo>
                      <a:pt x="187687" y="43010"/>
                    </a:moveTo>
                    <a:cubicBezTo>
                      <a:pt x="147527" y="43010"/>
                      <a:pt x="107865" y="39562"/>
                      <a:pt x="73006" y="33045"/>
                    </a:cubicBezTo>
                    <a:cubicBezTo>
                      <a:pt x="44505" y="27704"/>
                      <a:pt x="19931" y="20568"/>
                      <a:pt x="0" y="11819"/>
                    </a:cubicBezTo>
                    <a:lnTo>
                      <a:pt x="5182" y="0"/>
                    </a:lnTo>
                    <a:cubicBezTo>
                      <a:pt x="23937" y="8231"/>
                      <a:pt x="48212" y="15287"/>
                      <a:pt x="75358" y="20349"/>
                    </a:cubicBezTo>
                    <a:cubicBezTo>
                      <a:pt x="109439" y="26727"/>
                      <a:pt x="148284" y="30095"/>
                      <a:pt x="187667" y="30095"/>
                    </a:cubicBezTo>
                    <a:cubicBezTo>
                      <a:pt x="256826" y="30095"/>
                      <a:pt x="321501" y="19911"/>
                      <a:pt x="365089" y="2133"/>
                    </a:cubicBezTo>
                    <a:lnTo>
                      <a:pt x="369972" y="14071"/>
                    </a:lnTo>
                    <a:cubicBezTo>
                      <a:pt x="324889" y="32467"/>
                      <a:pt x="258440" y="43010"/>
                      <a:pt x="187687" y="43010"/>
                    </a:cubicBezTo>
                    <a:close/>
                  </a:path>
                </a:pathLst>
              </a:custGeom>
              <a:grpFill/>
              <a:ln w="1992" cap="flat">
                <a:noFill/>
                <a:prstDash val="solid"/>
                <a:miter/>
              </a:ln>
            </p:spPr>
            <p:txBody>
              <a:bodyPr rtlCol="0" anchor="ctr"/>
              <a:lstStyle/>
              <a:p>
                <a:endParaRPr lang="en-GB" dirty="0"/>
              </a:p>
            </p:txBody>
          </p:sp>
          <p:sp>
            <p:nvSpPr>
              <p:cNvPr id="252" name="Freihandform: Form 888">
                <a:extLst>
                  <a:ext uri="{FF2B5EF4-FFF2-40B4-BE49-F238E27FC236}">
                    <a16:creationId xmlns:a16="http://schemas.microsoft.com/office/drawing/2014/main" id="{54899FB1-F9AC-4924-906F-7A7EBBEDE7EF}"/>
                  </a:ext>
                </a:extLst>
              </p:cNvPr>
              <p:cNvSpPr/>
              <p:nvPr/>
            </p:nvSpPr>
            <p:spPr>
              <a:xfrm>
                <a:off x="7815565" y="1891277"/>
                <a:ext cx="83310" cy="33981"/>
              </a:xfrm>
              <a:custGeom>
                <a:avLst/>
                <a:gdLst>
                  <a:gd name="connsiteX0" fmla="*/ 5062 w 83310"/>
                  <a:gd name="connsiteY0" fmla="*/ 33982 h 33981"/>
                  <a:gd name="connsiteX1" fmla="*/ 0 w 83310"/>
                  <a:gd name="connsiteY1" fmla="*/ 22123 h 33981"/>
                  <a:gd name="connsiteX2" fmla="*/ 81197 w 83310"/>
                  <a:gd name="connsiteY2" fmla="*/ 0 h 33981"/>
                  <a:gd name="connsiteX3" fmla="*/ 83310 w 83310"/>
                  <a:gd name="connsiteY3" fmla="*/ 12716 h 33981"/>
                  <a:gd name="connsiteX4" fmla="*/ 5062 w 83310"/>
                  <a:gd name="connsiteY4" fmla="*/ 33982 h 339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10" h="33981">
                    <a:moveTo>
                      <a:pt x="5062" y="33982"/>
                    </a:moveTo>
                    <a:lnTo>
                      <a:pt x="0" y="22123"/>
                    </a:lnTo>
                    <a:cubicBezTo>
                      <a:pt x="21764" y="12835"/>
                      <a:pt x="49827" y="5182"/>
                      <a:pt x="81197" y="0"/>
                    </a:cubicBezTo>
                    <a:lnTo>
                      <a:pt x="83310" y="12716"/>
                    </a:lnTo>
                    <a:cubicBezTo>
                      <a:pt x="52956" y="17738"/>
                      <a:pt x="25890" y="25093"/>
                      <a:pt x="5062" y="33982"/>
                    </a:cubicBezTo>
                    <a:close/>
                  </a:path>
                </a:pathLst>
              </a:custGeom>
              <a:grpFill/>
              <a:ln w="1992" cap="flat">
                <a:noFill/>
                <a:prstDash val="solid"/>
                <a:miter/>
              </a:ln>
            </p:spPr>
            <p:txBody>
              <a:bodyPr rtlCol="0" anchor="ctr"/>
              <a:lstStyle/>
              <a:p>
                <a:endParaRPr lang="en-GB" dirty="0"/>
              </a:p>
            </p:txBody>
          </p:sp>
          <p:grpSp>
            <p:nvGrpSpPr>
              <p:cNvPr id="253" name="Grafik 336">
                <a:extLst>
                  <a:ext uri="{FF2B5EF4-FFF2-40B4-BE49-F238E27FC236}">
                    <a16:creationId xmlns:a16="http://schemas.microsoft.com/office/drawing/2014/main" id="{339A0AC3-4DD9-4674-88CE-D6EFF0F9EF8B}"/>
                  </a:ext>
                </a:extLst>
              </p:cNvPr>
              <p:cNvGrpSpPr/>
              <p:nvPr/>
            </p:nvGrpSpPr>
            <p:grpSpPr>
              <a:xfrm>
                <a:off x="8074738" y="1773447"/>
                <a:ext cx="255375" cy="335412"/>
                <a:chOff x="8074738" y="1773447"/>
                <a:chExt cx="255375" cy="335412"/>
              </a:xfrm>
              <a:grpFill/>
            </p:grpSpPr>
            <p:grpSp>
              <p:nvGrpSpPr>
                <p:cNvPr id="260" name="Grafik 336">
                  <a:extLst>
                    <a:ext uri="{FF2B5EF4-FFF2-40B4-BE49-F238E27FC236}">
                      <a16:creationId xmlns:a16="http://schemas.microsoft.com/office/drawing/2014/main" id="{8B564E52-41AB-4707-9FB8-B6E4E3BBDFF5}"/>
                    </a:ext>
                  </a:extLst>
                </p:cNvPr>
                <p:cNvGrpSpPr/>
                <p:nvPr/>
              </p:nvGrpSpPr>
              <p:grpSpPr>
                <a:xfrm>
                  <a:off x="8074738" y="1773447"/>
                  <a:ext cx="255375" cy="265117"/>
                  <a:chOff x="8074738" y="1773447"/>
                  <a:chExt cx="255375" cy="265117"/>
                </a:xfrm>
                <a:grpFill/>
              </p:grpSpPr>
              <p:sp>
                <p:nvSpPr>
                  <p:cNvPr id="263" name="Freihandform: Form 891">
                    <a:extLst>
                      <a:ext uri="{FF2B5EF4-FFF2-40B4-BE49-F238E27FC236}">
                        <a16:creationId xmlns:a16="http://schemas.microsoft.com/office/drawing/2014/main" id="{AEBF76E2-0020-4FAC-8319-FDC222B3A65F}"/>
                      </a:ext>
                    </a:extLst>
                  </p:cNvPr>
                  <p:cNvSpPr/>
                  <p:nvPr/>
                </p:nvSpPr>
                <p:spPr>
                  <a:xfrm>
                    <a:off x="8074738" y="1889583"/>
                    <a:ext cx="255375" cy="148981"/>
                  </a:xfrm>
                  <a:custGeom>
                    <a:avLst/>
                    <a:gdLst>
                      <a:gd name="connsiteX0" fmla="*/ 24140 w 255375"/>
                      <a:gd name="connsiteY0" fmla="*/ 148981 h 148981"/>
                      <a:gd name="connsiteX1" fmla="*/ 6880 w 255375"/>
                      <a:gd name="connsiteY1" fmla="*/ 141786 h 148981"/>
                      <a:gd name="connsiteX2" fmla="*/ 4 w 255375"/>
                      <a:gd name="connsiteY2" fmla="*/ 124626 h 148981"/>
                      <a:gd name="connsiteX3" fmla="*/ 22486 w 255375"/>
                      <a:gd name="connsiteY3" fmla="*/ 101108 h 148981"/>
                      <a:gd name="connsiteX4" fmla="*/ 28146 w 255375"/>
                      <a:gd name="connsiteY4" fmla="*/ 100829 h 148981"/>
                      <a:gd name="connsiteX5" fmla="*/ 70001 w 255375"/>
                      <a:gd name="connsiteY5" fmla="*/ 79782 h 148981"/>
                      <a:gd name="connsiteX6" fmla="*/ 78391 w 255375"/>
                      <a:gd name="connsiteY6" fmla="*/ 62981 h 148981"/>
                      <a:gd name="connsiteX7" fmla="*/ 144960 w 255375"/>
                      <a:gd name="connsiteY7" fmla="*/ 40 h 148981"/>
                      <a:gd name="connsiteX8" fmla="*/ 145717 w 255375"/>
                      <a:gd name="connsiteY8" fmla="*/ 0 h 148981"/>
                      <a:gd name="connsiteX9" fmla="*/ 177965 w 255375"/>
                      <a:gd name="connsiteY9" fmla="*/ 0 h 148981"/>
                      <a:gd name="connsiteX10" fmla="*/ 255375 w 255375"/>
                      <a:gd name="connsiteY10" fmla="*/ 83848 h 148981"/>
                      <a:gd name="connsiteX11" fmla="*/ 255375 w 255375"/>
                      <a:gd name="connsiteY11" fmla="*/ 96743 h 148981"/>
                      <a:gd name="connsiteX12" fmla="*/ 242480 w 255375"/>
                      <a:gd name="connsiteY12" fmla="*/ 96743 h 148981"/>
                      <a:gd name="connsiteX13" fmla="*/ 242480 w 255375"/>
                      <a:gd name="connsiteY13" fmla="*/ 83848 h 148981"/>
                      <a:gd name="connsiteX14" fmla="*/ 177985 w 255375"/>
                      <a:gd name="connsiteY14" fmla="*/ 12895 h 148981"/>
                      <a:gd name="connsiteX15" fmla="*/ 146116 w 255375"/>
                      <a:gd name="connsiteY15" fmla="*/ 12895 h 148981"/>
                      <a:gd name="connsiteX16" fmla="*/ 90090 w 255375"/>
                      <a:gd name="connsiteY16" fmla="*/ 68422 h 148981"/>
                      <a:gd name="connsiteX17" fmla="*/ 81162 w 255375"/>
                      <a:gd name="connsiteY17" fmla="*/ 86280 h 148981"/>
                      <a:gd name="connsiteX18" fmla="*/ 28664 w 255375"/>
                      <a:gd name="connsiteY18" fmla="*/ 113724 h 148981"/>
                      <a:gd name="connsiteX19" fmla="*/ 23323 w 255375"/>
                      <a:gd name="connsiteY19" fmla="*/ 113983 h 148981"/>
                      <a:gd name="connsiteX20" fmla="*/ 12899 w 255375"/>
                      <a:gd name="connsiteY20" fmla="*/ 124826 h 148981"/>
                      <a:gd name="connsiteX21" fmla="*/ 16068 w 255375"/>
                      <a:gd name="connsiteY21" fmla="*/ 132718 h 148981"/>
                      <a:gd name="connsiteX22" fmla="*/ 24140 w 255375"/>
                      <a:gd name="connsiteY22" fmla="*/ 136066 h 148981"/>
                      <a:gd name="connsiteX23" fmla="*/ 24160 w 255375"/>
                      <a:gd name="connsiteY23" fmla="*/ 136066 h 148981"/>
                      <a:gd name="connsiteX24" fmla="*/ 76339 w 255375"/>
                      <a:gd name="connsiteY24" fmla="*/ 128712 h 148981"/>
                      <a:gd name="connsiteX25" fmla="*/ 102428 w 255375"/>
                      <a:gd name="connsiteY25" fmla="*/ 111572 h 148981"/>
                      <a:gd name="connsiteX26" fmla="*/ 111596 w 255375"/>
                      <a:gd name="connsiteY26" fmla="*/ 120640 h 148981"/>
                      <a:gd name="connsiteX27" fmla="*/ 80604 w 255375"/>
                      <a:gd name="connsiteY27" fmla="*/ 140890 h 148981"/>
                      <a:gd name="connsiteX28" fmla="*/ 24200 w 255375"/>
                      <a:gd name="connsiteY28" fmla="*/ 148961 h 148981"/>
                      <a:gd name="connsiteX29" fmla="*/ 24140 w 255375"/>
                      <a:gd name="connsiteY29" fmla="*/ 148981 h 14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5375" h="148981">
                        <a:moveTo>
                          <a:pt x="24140" y="148981"/>
                        </a:moveTo>
                        <a:cubicBezTo>
                          <a:pt x="17583" y="148981"/>
                          <a:pt x="11464" y="146430"/>
                          <a:pt x="6880" y="141786"/>
                        </a:cubicBezTo>
                        <a:cubicBezTo>
                          <a:pt x="2336" y="137182"/>
                          <a:pt x="-115" y="131084"/>
                          <a:pt x="4" y="124626"/>
                        </a:cubicBezTo>
                        <a:cubicBezTo>
                          <a:pt x="183" y="112030"/>
                          <a:pt x="9870" y="101925"/>
                          <a:pt x="22486" y="101108"/>
                        </a:cubicBezTo>
                        <a:cubicBezTo>
                          <a:pt x="24300" y="100988"/>
                          <a:pt x="26193" y="100909"/>
                          <a:pt x="28146" y="100829"/>
                        </a:cubicBezTo>
                        <a:cubicBezTo>
                          <a:pt x="43034" y="100231"/>
                          <a:pt x="58421" y="99633"/>
                          <a:pt x="70001" y="79782"/>
                        </a:cubicBezTo>
                        <a:cubicBezTo>
                          <a:pt x="72771" y="75019"/>
                          <a:pt x="75501" y="69179"/>
                          <a:pt x="78391" y="62981"/>
                        </a:cubicBezTo>
                        <a:cubicBezTo>
                          <a:pt x="89851" y="38406"/>
                          <a:pt x="105537" y="4724"/>
                          <a:pt x="144960" y="40"/>
                        </a:cubicBezTo>
                        <a:cubicBezTo>
                          <a:pt x="145219" y="20"/>
                          <a:pt x="145478" y="0"/>
                          <a:pt x="145717" y="0"/>
                        </a:cubicBezTo>
                        <a:lnTo>
                          <a:pt x="177965" y="0"/>
                        </a:lnTo>
                        <a:cubicBezTo>
                          <a:pt x="222091" y="0"/>
                          <a:pt x="255375" y="36055"/>
                          <a:pt x="255375" y="83848"/>
                        </a:cubicBezTo>
                        <a:lnTo>
                          <a:pt x="255375" y="96743"/>
                        </a:lnTo>
                        <a:lnTo>
                          <a:pt x="242480" y="96743"/>
                        </a:lnTo>
                        <a:lnTo>
                          <a:pt x="242480" y="83848"/>
                        </a:lnTo>
                        <a:cubicBezTo>
                          <a:pt x="242480" y="42731"/>
                          <a:pt x="215355" y="12895"/>
                          <a:pt x="177985" y="12895"/>
                        </a:cubicBezTo>
                        <a:lnTo>
                          <a:pt x="146116" y="12895"/>
                        </a:lnTo>
                        <a:cubicBezTo>
                          <a:pt x="114087" y="16901"/>
                          <a:pt x="101351" y="44266"/>
                          <a:pt x="90090" y="68422"/>
                        </a:cubicBezTo>
                        <a:cubicBezTo>
                          <a:pt x="87081" y="74899"/>
                          <a:pt x="84211" y="81018"/>
                          <a:pt x="81162" y="86280"/>
                        </a:cubicBezTo>
                        <a:cubicBezTo>
                          <a:pt x="66014" y="112249"/>
                          <a:pt x="44430" y="113106"/>
                          <a:pt x="28664" y="113724"/>
                        </a:cubicBezTo>
                        <a:cubicBezTo>
                          <a:pt x="26831" y="113804"/>
                          <a:pt x="25037" y="113864"/>
                          <a:pt x="23323" y="113983"/>
                        </a:cubicBezTo>
                        <a:cubicBezTo>
                          <a:pt x="17463" y="114362"/>
                          <a:pt x="12999" y="119026"/>
                          <a:pt x="12899" y="124826"/>
                        </a:cubicBezTo>
                        <a:cubicBezTo>
                          <a:pt x="12840" y="127795"/>
                          <a:pt x="13976" y="130605"/>
                          <a:pt x="16068" y="132718"/>
                        </a:cubicBezTo>
                        <a:cubicBezTo>
                          <a:pt x="18201" y="134890"/>
                          <a:pt x="21071" y="136066"/>
                          <a:pt x="24140" y="136066"/>
                        </a:cubicBezTo>
                        <a:cubicBezTo>
                          <a:pt x="24140" y="136066"/>
                          <a:pt x="24160" y="136066"/>
                          <a:pt x="24160" y="136066"/>
                        </a:cubicBezTo>
                        <a:cubicBezTo>
                          <a:pt x="43812" y="136007"/>
                          <a:pt x="63324" y="133256"/>
                          <a:pt x="76339" y="128712"/>
                        </a:cubicBezTo>
                        <a:cubicBezTo>
                          <a:pt x="86802" y="125065"/>
                          <a:pt x="98641" y="115418"/>
                          <a:pt x="102428" y="111572"/>
                        </a:cubicBezTo>
                        <a:lnTo>
                          <a:pt x="111596" y="120640"/>
                        </a:lnTo>
                        <a:cubicBezTo>
                          <a:pt x="107909" y="124367"/>
                          <a:pt x="94316" y="136086"/>
                          <a:pt x="80604" y="140890"/>
                        </a:cubicBezTo>
                        <a:cubicBezTo>
                          <a:pt x="66074" y="145972"/>
                          <a:pt x="45526" y="148902"/>
                          <a:pt x="24200" y="148961"/>
                        </a:cubicBezTo>
                        <a:cubicBezTo>
                          <a:pt x="24180" y="148981"/>
                          <a:pt x="24160" y="148981"/>
                          <a:pt x="24140" y="148981"/>
                        </a:cubicBezTo>
                        <a:close/>
                      </a:path>
                    </a:pathLst>
                  </a:custGeom>
                  <a:grpFill/>
                  <a:ln w="1992" cap="flat">
                    <a:noFill/>
                    <a:prstDash val="solid"/>
                    <a:miter/>
                  </a:ln>
                </p:spPr>
                <p:txBody>
                  <a:bodyPr rtlCol="0" anchor="ctr"/>
                  <a:lstStyle/>
                  <a:p>
                    <a:endParaRPr lang="en-GB" dirty="0"/>
                  </a:p>
                </p:txBody>
              </p:sp>
              <p:sp>
                <p:nvSpPr>
                  <p:cNvPr id="264" name="Freihandform: Form 892">
                    <a:extLst>
                      <a:ext uri="{FF2B5EF4-FFF2-40B4-BE49-F238E27FC236}">
                        <a16:creationId xmlns:a16="http://schemas.microsoft.com/office/drawing/2014/main" id="{FAB347F3-560B-4F8F-864A-C49D8A1E0EF1}"/>
                      </a:ext>
                    </a:extLst>
                  </p:cNvPr>
                  <p:cNvSpPr/>
                  <p:nvPr/>
                </p:nvSpPr>
                <p:spPr>
                  <a:xfrm>
                    <a:off x="8188208" y="1773447"/>
                    <a:ext cx="90285" cy="103200"/>
                  </a:xfrm>
                  <a:custGeom>
                    <a:avLst/>
                    <a:gdLst>
                      <a:gd name="connsiteX0" fmla="*/ 45143 w 90285"/>
                      <a:gd name="connsiteY0" fmla="*/ 103201 h 103200"/>
                      <a:gd name="connsiteX1" fmla="*/ 0 w 90285"/>
                      <a:gd name="connsiteY1" fmla="*/ 51600 h 103200"/>
                      <a:gd name="connsiteX2" fmla="*/ 45143 w 90285"/>
                      <a:gd name="connsiteY2" fmla="*/ 0 h 103200"/>
                      <a:gd name="connsiteX3" fmla="*/ 90286 w 90285"/>
                      <a:gd name="connsiteY3" fmla="*/ 51600 h 103200"/>
                      <a:gd name="connsiteX4" fmla="*/ 45143 w 90285"/>
                      <a:gd name="connsiteY4" fmla="*/ 103201 h 103200"/>
                      <a:gd name="connsiteX5" fmla="*/ 45143 w 90285"/>
                      <a:gd name="connsiteY5" fmla="*/ 12895 h 103200"/>
                      <a:gd name="connsiteX6" fmla="*/ 12895 w 90285"/>
                      <a:gd name="connsiteY6" fmla="*/ 51600 h 103200"/>
                      <a:gd name="connsiteX7" fmla="*/ 45143 w 90285"/>
                      <a:gd name="connsiteY7" fmla="*/ 90306 h 103200"/>
                      <a:gd name="connsiteX8" fmla="*/ 77391 w 90285"/>
                      <a:gd name="connsiteY8" fmla="*/ 51600 h 103200"/>
                      <a:gd name="connsiteX9" fmla="*/ 45143 w 90285"/>
                      <a:gd name="connsiteY9" fmla="*/ 12895 h 1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85" h="103200">
                        <a:moveTo>
                          <a:pt x="45143" y="103201"/>
                        </a:moveTo>
                        <a:cubicBezTo>
                          <a:pt x="18137" y="103201"/>
                          <a:pt x="0" y="82473"/>
                          <a:pt x="0" y="51600"/>
                        </a:cubicBezTo>
                        <a:cubicBezTo>
                          <a:pt x="0" y="20728"/>
                          <a:pt x="18157" y="0"/>
                          <a:pt x="45143" y="0"/>
                        </a:cubicBezTo>
                        <a:cubicBezTo>
                          <a:pt x="72129" y="0"/>
                          <a:pt x="90286" y="20728"/>
                          <a:pt x="90286" y="51600"/>
                        </a:cubicBezTo>
                        <a:cubicBezTo>
                          <a:pt x="90286" y="82473"/>
                          <a:pt x="72149" y="103201"/>
                          <a:pt x="45143" y="103201"/>
                        </a:cubicBezTo>
                        <a:close/>
                        <a:moveTo>
                          <a:pt x="45143" y="12895"/>
                        </a:moveTo>
                        <a:cubicBezTo>
                          <a:pt x="21346" y="12895"/>
                          <a:pt x="12895" y="33743"/>
                          <a:pt x="12895" y="51600"/>
                        </a:cubicBezTo>
                        <a:cubicBezTo>
                          <a:pt x="12895" y="69458"/>
                          <a:pt x="21346" y="90306"/>
                          <a:pt x="45143" y="90306"/>
                        </a:cubicBezTo>
                        <a:cubicBezTo>
                          <a:pt x="68940" y="90306"/>
                          <a:pt x="77391" y="69458"/>
                          <a:pt x="77391" y="51600"/>
                        </a:cubicBezTo>
                        <a:cubicBezTo>
                          <a:pt x="77391" y="33743"/>
                          <a:pt x="68960" y="12895"/>
                          <a:pt x="45143" y="12895"/>
                        </a:cubicBezTo>
                        <a:close/>
                      </a:path>
                    </a:pathLst>
                  </a:custGeom>
                  <a:grpFill/>
                  <a:ln w="1992" cap="flat">
                    <a:noFill/>
                    <a:prstDash val="solid"/>
                    <a:miter/>
                  </a:ln>
                </p:spPr>
                <p:txBody>
                  <a:bodyPr rtlCol="0" anchor="ctr"/>
                  <a:lstStyle/>
                  <a:p>
                    <a:endParaRPr lang="en-GB" dirty="0"/>
                  </a:p>
                </p:txBody>
              </p:sp>
            </p:grpSp>
            <p:sp>
              <p:nvSpPr>
                <p:cNvPr id="261" name="Freihandform: Form 893">
                  <a:extLst>
                    <a:ext uri="{FF2B5EF4-FFF2-40B4-BE49-F238E27FC236}">
                      <a16:creationId xmlns:a16="http://schemas.microsoft.com/office/drawing/2014/main" id="{ACC56493-E756-4A01-AAEF-0A96491F8D27}"/>
                    </a:ext>
                  </a:extLst>
                </p:cNvPr>
                <p:cNvSpPr/>
                <p:nvPr/>
              </p:nvSpPr>
              <p:spPr>
                <a:xfrm>
                  <a:off x="8143054" y="1947601"/>
                  <a:ext cx="187039" cy="161258"/>
                </a:xfrm>
                <a:custGeom>
                  <a:avLst/>
                  <a:gdLst>
                    <a:gd name="connsiteX0" fmla="*/ 129001 w 187039"/>
                    <a:gd name="connsiteY0" fmla="*/ 161259 h 161258"/>
                    <a:gd name="connsiteX1" fmla="*/ 6448 w 187039"/>
                    <a:gd name="connsiteY1" fmla="*/ 161259 h 161258"/>
                    <a:gd name="connsiteX2" fmla="*/ 170 w 187039"/>
                    <a:gd name="connsiteY2" fmla="*/ 156296 h 161258"/>
                    <a:gd name="connsiteX3" fmla="*/ 3558 w 187039"/>
                    <a:gd name="connsiteY3" fmla="*/ 149041 h 161258"/>
                    <a:gd name="connsiteX4" fmla="*/ 32238 w 187039"/>
                    <a:gd name="connsiteY4" fmla="*/ 103201 h 161258"/>
                    <a:gd name="connsiteX5" fmla="*/ 32238 w 187039"/>
                    <a:gd name="connsiteY5" fmla="*/ 58098 h 161258"/>
                    <a:gd name="connsiteX6" fmla="*/ 90336 w 187039"/>
                    <a:gd name="connsiteY6" fmla="*/ 0 h 161258"/>
                    <a:gd name="connsiteX7" fmla="*/ 150447 w 187039"/>
                    <a:gd name="connsiteY7" fmla="*/ 0 h 161258"/>
                    <a:gd name="connsiteX8" fmla="*/ 187039 w 187039"/>
                    <a:gd name="connsiteY8" fmla="*/ 36593 h 161258"/>
                    <a:gd name="connsiteX9" fmla="*/ 187039 w 187039"/>
                    <a:gd name="connsiteY9" fmla="*/ 103201 h 161258"/>
                    <a:gd name="connsiteX10" fmla="*/ 129001 w 187039"/>
                    <a:gd name="connsiteY10" fmla="*/ 161259 h 161258"/>
                    <a:gd name="connsiteX11" fmla="*/ 25741 w 187039"/>
                    <a:gd name="connsiteY11" fmla="*/ 148364 h 161258"/>
                    <a:gd name="connsiteX12" fmla="*/ 129001 w 187039"/>
                    <a:gd name="connsiteY12" fmla="*/ 148364 h 161258"/>
                    <a:gd name="connsiteX13" fmla="*/ 174144 w 187039"/>
                    <a:gd name="connsiteY13" fmla="*/ 103221 h 161258"/>
                    <a:gd name="connsiteX14" fmla="*/ 174144 w 187039"/>
                    <a:gd name="connsiteY14" fmla="*/ 36613 h 161258"/>
                    <a:gd name="connsiteX15" fmla="*/ 150447 w 187039"/>
                    <a:gd name="connsiteY15" fmla="*/ 12915 h 161258"/>
                    <a:gd name="connsiteX16" fmla="*/ 90336 w 187039"/>
                    <a:gd name="connsiteY16" fmla="*/ 12915 h 161258"/>
                    <a:gd name="connsiteX17" fmla="*/ 45133 w 187039"/>
                    <a:gd name="connsiteY17" fmla="*/ 58118 h 161258"/>
                    <a:gd name="connsiteX18" fmla="*/ 45133 w 187039"/>
                    <a:gd name="connsiteY18" fmla="*/ 103221 h 161258"/>
                    <a:gd name="connsiteX19" fmla="*/ 25741 w 187039"/>
                    <a:gd name="connsiteY19" fmla="*/ 148364 h 16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039" h="161258">
                      <a:moveTo>
                        <a:pt x="129001" y="161259"/>
                      </a:moveTo>
                      <a:lnTo>
                        <a:pt x="6448" y="161259"/>
                      </a:lnTo>
                      <a:cubicBezTo>
                        <a:pt x="3458" y="161259"/>
                        <a:pt x="867" y="159206"/>
                        <a:pt x="170" y="156296"/>
                      </a:cubicBezTo>
                      <a:cubicBezTo>
                        <a:pt x="-508" y="153386"/>
                        <a:pt x="887" y="150377"/>
                        <a:pt x="3558" y="149041"/>
                      </a:cubicBezTo>
                      <a:cubicBezTo>
                        <a:pt x="4714" y="148463"/>
                        <a:pt x="32238" y="134133"/>
                        <a:pt x="32238" y="103201"/>
                      </a:cubicBezTo>
                      <a:lnTo>
                        <a:pt x="32238" y="58098"/>
                      </a:lnTo>
                      <a:cubicBezTo>
                        <a:pt x="32238" y="26069"/>
                        <a:pt x="58288" y="0"/>
                        <a:pt x="90336" y="0"/>
                      </a:cubicBezTo>
                      <a:lnTo>
                        <a:pt x="150447" y="0"/>
                      </a:lnTo>
                      <a:cubicBezTo>
                        <a:pt x="170636" y="0"/>
                        <a:pt x="187039" y="16423"/>
                        <a:pt x="187039" y="36593"/>
                      </a:cubicBezTo>
                      <a:lnTo>
                        <a:pt x="187039" y="103201"/>
                      </a:lnTo>
                      <a:cubicBezTo>
                        <a:pt x="187059" y="135209"/>
                        <a:pt x="161010" y="161259"/>
                        <a:pt x="129001" y="161259"/>
                      </a:cubicBezTo>
                      <a:close/>
                      <a:moveTo>
                        <a:pt x="25741" y="148364"/>
                      </a:moveTo>
                      <a:lnTo>
                        <a:pt x="129001" y="148364"/>
                      </a:lnTo>
                      <a:cubicBezTo>
                        <a:pt x="153895" y="148364"/>
                        <a:pt x="174144" y="128114"/>
                        <a:pt x="174144" y="103221"/>
                      </a:cubicBezTo>
                      <a:lnTo>
                        <a:pt x="174144" y="36613"/>
                      </a:lnTo>
                      <a:cubicBezTo>
                        <a:pt x="174144" y="23558"/>
                        <a:pt x="163521" y="12915"/>
                        <a:pt x="150447" y="12915"/>
                      </a:cubicBezTo>
                      <a:lnTo>
                        <a:pt x="90336" y="12915"/>
                      </a:lnTo>
                      <a:cubicBezTo>
                        <a:pt x="65423" y="12915"/>
                        <a:pt x="45133" y="33185"/>
                        <a:pt x="45133" y="58118"/>
                      </a:cubicBezTo>
                      <a:lnTo>
                        <a:pt x="45133" y="103221"/>
                      </a:lnTo>
                      <a:cubicBezTo>
                        <a:pt x="45153" y="124248"/>
                        <a:pt x="35168" y="139056"/>
                        <a:pt x="25741" y="148364"/>
                      </a:cubicBezTo>
                      <a:close/>
                    </a:path>
                  </a:pathLst>
                </a:custGeom>
                <a:grpFill/>
                <a:ln w="1992" cap="flat">
                  <a:noFill/>
                  <a:prstDash val="solid"/>
                  <a:miter/>
                </a:ln>
              </p:spPr>
              <p:txBody>
                <a:bodyPr rtlCol="0" anchor="ctr"/>
                <a:lstStyle/>
                <a:p>
                  <a:endParaRPr lang="en-GB" dirty="0"/>
                </a:p>
              </p:txBody>
            </p:sp>
            <p:sp>
              <p:nvSpPr>
                <p:cNvPr id="262" name="Freihandform: Form 894">
                  <a:extLst>
                    <a:ext uri="{FF2B5EF4-FFF2-40B4-BE49-F238E27FC236}">
                      <a16:creationId xmlns:a16="http://schemas.microsoft.com/office/drawing/2014/main" id="{F0B31881-FB7C-44CD-AB70-9F4AE48E60E5}"/>
                    </a:ext>
                  </a:extLst>
                </p:cNvPr>
                <p:cNvSpPr/>
                <p:nvPr/>
              </p:nvSpPr>
              <p:spPr>
                <a:xfrm>
                  <a:off x="8091445" y="2057259"/>
                  <a:ext cx="116115" cy="51600"/>
                </a:xfrm>
                <a:custGeom>
                  <a:avLst/>
                  <a:gdLst>
                    <a:gd name="connsiteX0" fmla="*/ 116116 w 116115"/>
                    <a:gd name="connsiteY0" fmla="*/ 51600 h 51600"/>
                    <a:gd name="connsiteX1" fmla="*/ 6458 w 116115"/>
                    <a:gd name="connsiteY1" fmla="*/ 51600 h 51600"/>
                    <a:gd name="connsiteX2" fmla="*/ 0 w 116115"/>
                    <a:gd name="connsiteY2" fmla="*/ 45143 h 51600"/>
                    <a:gd name="connsiteX3" fmla="*/ 45143 w 116115"/>
                    <a:gd name="connsiteY3" fmla="*/ 0 h 51600"/>
                    <a:gd name="connsiteX4" fmla="*/ 83848 w 116115"/>
                    <a:gd name="connsiteY4" fmla="*/ 0 h 51600"/>
                    <a:gd name="connsiteX5" fmla="*/ 83848 w 116115"/>
                    <a:gd name="connsiteY5" fmla="*/ 12895 h 51600"/>
                    <a:gd name="connsiteX6" fmla="*/ 45143 w 116115"/>
                    <a:gd name="connsiteY6" fmla="*/ 12895 h 51600"/>
                    <a:gd name="connsiteX7" fmla="*/ 13533 w 116115"/>
                    <a:gd name="connsiteY7" fmla="*/ 38705 h 51600"/>
                    <a:gd name="connsiteX8" fmla="*/ 116096 w 116115"/>
                    <a:gd name="connsiteY8" fmla="*/ 38705 h 51600"/>
                    <a:gd name="connsiteX9" fmla="*/ 116096 w 116115"/>
                    <a:gd name="connsiteY9" fmla="*/ 51600 h 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115" h="51600">
                      <a:moveTo>
                        <a:pt x="116116" y="51600"/>
                      </a:moveTo>
                      <a:lnTo>
                        <a:pt x="6458" y="51600"/>
                      </a:lnTo>
                      <a:cubicBezTo>
                        <a:pt x="2890" y="51600"/>
                        <a:pt x="0" y="48710"/>
                        <a:pt x="0" y="45143"/>
                      </a:cubicBezTo>
                      <a:cubicBezTo>
                        <a:pt x="0" y="20250"/>
                        <a:pt x="20250" y="0"/>
                        <a:pt x="45143" y="0"/>
                      </a:cubicBezTo>
                      <a:lnTo>
                        <a:pt x="83848" y="0"/>
                      </a:lnTo>
                      <a:lnTo>
                        <a:pt x="83848" y="12895"/>
                      </a:lnTo>
                      <a:lnTo>
                        <a:pt x="45143" y="12895"/>
                      </a:lnTo>
                      <a:cubicBezTo>
                        <a:pt x="29557" y="12895"/>
                        <a:pt x="16543" y="23996"/>
                        <a:pt x="13533" y="38705"/>
                      </a:cubicBezTo>
                      <a:lnTo>
                        <a:pt x="116096" y="38705"/>
                      </a:lnTo>
                      <a:lnTo>
                        <a:pt x="116096" y="51600"/>
                      </a:lnTo>
                      <a:close/>
                    </a:path>
                  </a:pathLst>
                </a:custGeom>
                <a:grpFill/>
                <a:ln w="1992" cap="flat">
                  <a:noFill/>
                  <a:prstDash val="solid"/>
                  <a:miter/>
                </a:ln>
              </p:spPr>
              <p:txBody>
                <a:bodyPr rtlCol="0" anchor="ctr"/>
                <a:lstStyle/>
                <a:p>
                  <a:endParaRPr lang="en-GB" dirty="0"/>
                </a:p>
              </p:txBody>
            </p:sp>
          </p:grpSp>
          <p:grpSp>
            <p:nvGrpSpPr>
              <p:cNvPr id="254" name="Grafik 336">
                <a:extLst>
                  <a:ext uri="{FF2B5EF4-FFF2-40B4-BE49-F238E27FC236}">
                    <a16:creationId xmlns:a16="http://schemas.microsoft.com/office/drawing/2014/main" id="{BA2667D4-7F09-41F1-919E-1566CDD17C62}"/>
                  </a:ext>
                </a:extLst>
              </p:cNvPr>
              <p:cNvGrpSpPr/>
              <p:nvPr/>
            </p:nvGrpSpPr>
            <p:grpSpPr>
              <a:xfrm>
                <a:off x="7665726" y="1773447"/>
                <a:ext cx="255413" cy="335412"/>
                <a:chOff x="7665726" y="1773447"/>
                <a:chExt cx="255413" cy="335412"/>
              </a:xfrm>
              <a:grpFill/>
            </p:grpSpPr>
            <p:grpSp>
              <p:nvGrpSpPr>
                <p:cNvPr id="255" name="Grafik 336">
                  <a:extLst>
                    <a:ext uri="{FF2B5EF4-FFF2-40B4-BE49-F238E27FC236}">
                      <a16:creationId xmlns:a16="http://schemas.microsoft.com/office/drawing/2014/main" id="{FB2A3D90-B065-4E9A-A803-86E267DCE049}"/>
                    </a:ext>
                  </a:extLst>
                </p:cNvPr>
                <p:cNvGrpSpPr/>
                <p:nvPr/>
              </p:nvGrpSpPr>
              <p:grpSpPr>
                <a:xfrm>
                  <a:off x="7665766" y="1773447"/>
                  <a:ext cx="255374" cy="265117"/>
                  <a:chOff x="7665766" y="1773447"/>
                  <a:chExt cx="255374" cy="265117"/>
                </a:xfrm>
                <a:grpFill/>
              </p:grpSpPr>
              <p:sp>
                <p:nvSpPr>
                  <p:cNvPr id="258" name="Freihandform: Form 897">
                    <a:extLst>
                      <a:ext uri="{FF2B5EF4-FFF2-40B4-BE49-F238E27FC236}">
                        <a16:creationId xmlns:a16="http://schemas.microsoft.com/office/drawing/2014/main" id="{70958D06-6F51-4EB2-969E-895F96E3D6C0}"/>
                      </a:ext>
                    </a:extLst>
                  </p:cNvPr>
                  <p:cNvSpPr/>
                  <p:nvPr/>
                </p:nvSpPr>
                <p:spPr>
                  <a:xfrm>
                    <a:off x="7665766" y="1889583"/>
                    <a:ext cx="255374" cy="148981"/>
                  </a:xfrm>
                  <a:custGeom>
                    <a:avLst/>
                    <a:gdLst>
                      <a:gd name="connsiteX0" fmla="*/ 231215 w 255374"/>
                      <a:gd name="connsiteY0" fmla="*/ 148981 h 148981"/>
                      <a:gd name="connsiteX1" fmla="*/ 231155 w 255374"/>
                      <a:gd name="connsiteY1" fmla="*/ 148981 h 148981"/>
                      <a:gd name="connsiteX2" fmla="*/ 174752 w 255374"/>
                      <a:gd name="connsiteY2" fmla="*/ 140910 h 148981"/>
                      <a:gd name="connsiteX3" fmla="*/ 143760 w 255374"/>
                      <a:gd name="connsiteY3" fmla="*/ 120660 h 148981"/>
                      <a:gd name="connsiteX4" fmla="*/ 152928 w 255374"/>
                      <a:gd name="connsiteY4" fmla="*/ 111592 h 148981"/>
                      <a:gd name="connsiteX5" fmla="*/ 179017 w 255374"/>
                      <a:gd name="connsiteY5" fmla="*/ 128732 h 148981"/>
                      <a:gd name="connsiteX6" fmla="*/ 231195 w 255374"/>
                      <a:gd name="connsiteY6" fmla="*/ 136086 h 148981"/>
                      <a:gd name="connsiteX7" fmla="*/ 231235 w 255374"/>
                      <a:gd name="connsiteY7" fmla="*/ 136086 h 148981"/>
                      <a:gd name="connsiteX8" fmla="*/ 239307 w 255374"/>
                      <a:gd name="connsiteY8" fmla="*/ 132738 h 148981"/>
                      <a:gd name="connsiteX9" fmla="*/ 242476 w 255374"/>
                      <a:gd name="connsiteY9" fmla="*/ 124845 h 148981"/>
                      <a:gd name="connsiteX10" fmla="*/ 232052 w 255374"/>
                      <a:gd name="connsiteY10" fmla="*/ 113983 h 148981"/>
                      <a:gd name="connsiteX11" fmla="*/ 226711 w 255374"/>
                      <a:gd name="connsiteY11" fmla="*/ 113724 h 148981"/>
                      <a:gd name="connsiteX12" fmla="*/ 174233 w 255374"/>
                      <a:gd name="connsiteY12" fmla="*/ 86280 h 148981"/>
                      <a:gd name="connsiteX13" fmla="*/ 165285 w 255374"/>
                      <a:gd name="connsiteY13" fmla="*/ 68422 h 148981"/>
                      <a:gd name="connsiteX14" fmla="*/ 109260 w 255374"/>
                      <a:gd name="connsiteY14" fmla="*/ 12895 h 148981"/>
                      <a:gd name="connsiteX15" fmla="*/ 77391 w 255374"/>
                      <a:gd name="connsiteY15" fmla="*/ 12895 h 148981"/>
                      <a:gd name="connsiteX16" fmla="*/ 12895 w 255374"/>
                      <a:gd name="connsiteY16" fmla="*/ 83848 h 148981"/>
                      <a:gd name="connsiteX17" fmla="*/ 12895 w 255374"/>
                      <a:gd name="connsiteY17" fmla="*/ 96743 h 148981"/>
                      <a:gd name="connsiteX18" fmla="*/ 0 w 255374"/>
                      <a:gd name="connsiteY18" fmla="*/ 96743 h 148981"/>
                      <a:gd name="connsiteX19" fmla="*/ 0 w 255374"/>
                      <a:gd name="connsiteY19" fmla="*/ 83848 h 148981"/>
                      <a:gd name="connsiteX20" fmla="*/ 77410 w 255374"/>
                      <a:gd name="connsiteY20" fmla="*/ 0 h 148981"/>
                      <a:gd name="connsiteX21" fmla="*/ 109658 w 255374"/>
                      <a:gd name="connsiteY21" fmla="*/ 0 h 148981"/>
                      <a:gd name="connsiteX22" fmla="*/ 110415 w 255374"/>
                      <a:gd name="connsiteY22" fmla="*/ 40 h 148981"/>
                      <a:gd name="connsiteX23" fmla="*/ 176984 w 255374"/>
                      <a:gd name="connsiteY23" fmla="*/ 62981 h 148981"/>
                      <a:gd name="connsiteX24" fmla="*/ 185375 w 255374"/>
                      <a:gd name="connsiteY24" fmla="*/ 79782 h 148981"/>
                      <a:gd name="connsiteX25" fmla="*/ 227229 w 255374"/>
                      <a:gd name="connsiteY25" fmla="*/ 100829 h 148981"/>
                      <a:gd name="connsiteX26" fmla="*/ 232889 w 255374"/>
                      <a:gd name="connsiteY26" fmla="*/ 101108 h 148981"/>
                      <a:gd name="connsiteX27" fmla="*/ 255371 w 255374"/>
                      <a:gd name="connsiteY27" fmla="*/ 124626 h 148981"/>
                      <a:gd name="connsiteX28" fmla="*/ 248495 w 255374"/>
                      <a:gd name="connsiteY28" fmla="*/ 141786 h 148981"/>
                      <a:gd name="connsiteX29" fmla="*/ 231215 w 255374"/>
                      <a:gd name="connsiteY29" fmla="*/ 148981 h 148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5374" h="148981">
                        <a:moveTo>
                          <a:pt x="231215" y="148981"/>
                        </a:moveTo>
                        <a:cubicBezTo>
                          <a:pt x="231195" y="148981"/>
                          <a:pt x="231175" y="148981"/>
                          <a:pt x="231155" y="148981"/>
                        </a:cubicBezTo>
                        <a:cubicBezTo>
                          <a:pt x="209829" y="148922"/>
                          <a:pt x="189281" y="145972"/>
                          <a:pt x="174752" y="140910"/>
                        </a:cubicBezTo>
                        <a:cubicBezTo>
                          <a:pt x="161039" y="136126"/>
                          <a:pt x="147427" y="124387"/>
                          <a:pt x="143760" y="120660"/>
                        </a:cubicBezTo>
                        <a:lnTo>
                          <a:pt x="152928" y="111592"/>
                        </a:lnTo>
                        <a:cubicBezTo>
                          <a:pt x="156715" y="115418"/>
                          <a:pt x="168553" y="125065"/>
                          <a:pt x="179017" y="128732"/>
                        </a:cubicBezTo>
                        <a:cubicBezTo>
                          <a:pt x="192051" y="133276"/>
                          <a:pt x="211544" y="136027"/>
                          <a:pt x="231195" y="136086"/>
                        </a:cubicBezTo>
                        <a:cubicBezTo>
                          <a:pt x="231195" y="136086"/>
                          <a:pt x="231215" y="136086"/>
                          <a:pt x="231235" y="136086"/>
                        </a:cubicBezTo>
                        <a:cubicBezTo>
                          <a:pt x="234304" y="136086"/>
                          <a:pt x="237174" y="134890"/>
                          <a:pt x="239307" y="132738"/>
                        </a:cubicBezTo>
                        <a:cubicBezTo>
                          <a:pt x="241400" y="130625"/>
                          <a:pt x="242516" y="127815"/>
                          <a:pt x="242476" y="124845"/>
                        </a:cubicBezTo>
                        <a:cubicBezTo>
                          <a:pt x="242396" y="119026"/>
                          <a:pt x="237912" y="114362"/>
                          <a:pt x="232052" y="113983"/>
                        </a:cubicBezTo>
                        <a:cubicBezTo>
                          <a:pt x="230338" y="113864"/>
                          <a:pt x="228544" y="113804"/>
                          <a:pt x="226711" y="113724"/>
                        </a:cubicBezTo>
                        <a:cubicBezTo>
                          <a:pt x="210946" y="113106"/>
                          <a:pt x="189361" y="112249"/>
                          <a:pt x="174233" y="86280"/>
                        </a:cubicBezTo>
                        <a:cubicBezTo>
                          <a:pt x="171164" y="81018"/>
                          <a:pt x="168314" y="74899"/>
                          <a:pt x="165285" y="68422"/>
                        </a:cubicBezTo>
                        <a:cubicBezTo>
                          <a:pt x="154044" y="44266"/>
                          <a:pt x="141288" y="16901"/>
                          <a:pt x="109260" y="12895"/>
                        </a:cubicBezTo>
                        <a:lnTo>
                          <a:pt x="77391" y="12895"/>
                        </a:lnTo>
                        <a:cubicBezTo>
                          <a:pt x="40021" y="12895"/>
                          <a:pt x="12895" y="42731"/>
                          <a:pt x="12895" y="83848"/>
                        </a:cubicBezTo>
                        <a:lnTo>
                          <a:pt x="12895" y="96743"/>
                        </a:lnTo>
                        <a:lnTo>
                          <a:pt x="0" y="96743"/>
                        </a:lnTo>
                        <a:lnTo>
                          <a:pt x="0" y="83848"/>
                        </a:lnTo>
                        <a:cubicBezTo>
                          <a:pt x="0" y="36055"/>
                          <a:pt x="33284" y="0"/>
                          <a:pt x="77410" y="0"/>
                        </a:cubicBezTo>
                        <a:lnTo>
                          <a:pt x="109658" y="0"/>
                        </a:lnTo>
                        <a:cubicBezTo>
                          <a:pt x="109917" y="0"/>
                          <a:pt x="110176" y="20"/>
                          <a:pt x="110415" y="40"/>
                        </a:cubicBezTo>
                        <a:cubicBezTo>
                          <a:pt x="149838" y="4743"/>
                          <a:pt x="165524" y="38406"/>
                          <a:pt x="176984" y="62981"/>
                        </a:cubicBezTo>
                        <a:cubicBezTo>
                          <a:pt x="179874" y="69179"/>
                          <a:pt x="182604" y="75039"/>
                          <a:pt x="185375" y="79782"/>
                        </a:cubicBezTo>
                        <a:cubicBezTo>
                          <a:pt x="196954" y="99633"/>
                          <a:pt x="212341" y="100251"/>
                          <a:pt x="227229" y="100829"/>
                        </a:cubicBezTo>
                        <a:cubicBezTo>
                          <a:pt x="229182" y="100909"/>
                          <a:pt x="231076" y="100988"/>
                          <a:pt x="232889" y="101108"/>
                        </a:cubicBezTo>
                        <a:cubicBezTo>
                          <a:pt x="245525" y="101925"/>
                          <a:pt x="255192" y="112050"/>
                          <a:pt x="255371" y="124626"/>
                        </a:cubicBezTo>
                        <a:cubicBezTo>
                          <a:pt x="255471" y="131084"/>
                          <a:pt x="253019" y="137182"/>
                          <a:pt x="248495" y="141786"/>
                        </a:cubicBezTo>
                        <a:cubicBezTo>
                          <a:pt x="243891" y="146410"/>
                          <a:pt x="237772" y="148981"/>
                          <a:pt x="231215" y="148981"/>
                        </a:cubicBezTo>
                        <a:close/>
                      </a:path>
                    </a:pathLst>
                  </a:custGeom>
                  <a:grpFill/>
                  <a:ln w="1992" cap="flat">
                    <a:noFill/>
                    <a:prstDash val="solid"/>
                    <a:miter/>
                  </a:ln>
                </p:spPr>
                <p:txBody>
                  <a:bodyPr rtlCol="0" anchor="ctr"/>
                  <a:lstStyle/>
                  <a:p>
                    <a:endParaRPr lang="en-GB" dirty="0"/>
                  </a:p>
                </p:txBody>
              </p:sp>
              <p:sp>
                <p:nvSpPr>
                  <p:cNvPr id="259" name="Freihandform: Form 898">
                    <a:extLst>
                      <a:ext uri="{FF2B5EF4-FFF2-40B4-BE49-F238E27FC236}">
                        <a16:creationId xmlns:a16="http://schemas.microsoft.com/office/drawing/2014/main" id="{F6769259-7754-4AE1-A940-937C7B540279}"/>
                      </a:ext>
                    </a:extLst>
                  </p:cNvPr>
                  <p:cNvSpPr/>
                  <p:nvPr/>
                </p:nvSpPr>
                <p:spPr>
                  <a:xfrm>
                    <a:off x="7717347" y="1773447"/>
                    <a:ext cx="90285" cy="103200"/>
                  </a:xfrm>
                  <a:custGeom>
                    <a:avLst/>
                    <a:gdLst>
                      <a:gd name="connsiteX0" fmla="*/ 45143 w 90285"/>
                      <a:gd name="connsiteY0" fmla="*/ 103201 h 103200"/>
                      <a:gd name="connsiteX1" fmla="*/ 0 w 90285"/>
                      <a:gd name="connsiteY1" fmla="*/ 51600 h 103200"/>
                      <a:gd name="connsiteX2" fmla="*/ 45143 w 90285"/>
                      <a:gd name="connsiteY2" fmla="*/ 0 h 103200"/>
                      <a:gd name="connsiteX3" fmla="*/ 90286 w 90285"/>
                      <a:gd name="connsiteY3" fmla="*/ 51600 h 103200"/>
                      <a:gd name="connsiteX4" fmla="*/ 45143 w 90285"/>
                      <a:gd name="connsiteY4" fmla="*/ 103201 h 103200"/>
                      <a:gd name="connsiteX5" fmla="*/ 45143 w 90285"/>
                      <a:gd name="connsiteY5" fmla="*/ 12895 h 103200"/>
                      <a:gd name="connsiteX6" fmla="*/ 12895 w 90285"/>
                      <a:gd name="connsiteY6" fmla="*/ 51600 h 103200"/>
                      <a:gd name="connsiteX7" fmla="*/ 45143 w 90285"/>
                      <a:gd name="connsiteY7" fmla="*/ 90306 h 103200"/>
                      <a:gd name="connsiteX8" fmla="*/ 77391 w 90285"/>
                      <a:gd name="connsiteY8" fmla="*/ 51600 h 103200"/>
                      <a:gd name="connsiteX9" fmla="*/ 45143 w 90285"/>
                      <a:gd name="connsiteY9" fmla="*/ 12895 h 1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85" h="103200">
                        <a:moveTo>
                          <a:pt x="45143" y="103201"/>
                        </a:moveTo>
                        <a:cubicBezTo>
                          <a:pt x="18137" y="103201"/>
                          <a:pt x="0" y="82473"/>
                          <a:pt x="0" y="51600"/>
                        </a:cubicBezTo>
                        <a:cubicBezTo>
                          <a:pt x="0" y="20728"/>
                          <a:pt x="18157" y="0"/>
                          <a:pt x="45143" y="0"/>
                        </a:cubicBezTo>
                        <a:cubicBezTo>
                          <a:pt x="72149" y="0"/>
                          <a:pt x="90286" y="20728"/>
                          <a:pt x="90286" y="51600"/>
                        </a:cubicBezTo>
                        <a:cubicBezTo>
                          <a:pt x="90286" y="82473"/>
                          <a:pt x="72149" y="103201"/>
                          <a:pt x="45143" y="103201"/>
                        </a:cubicBezTo>
                        <a:close/>
                        <a:moveTo>
                          <a:pt x="45143" y="12895"/>
                        </a:moveTo>
                        <a:cubicBezTo>
                          <a:pt x="21346" y="12895"/>
                          <a:pt x="12895" y="33743"/>
                          <a:pt x="12895" y="51600"/>
                        </a:cubicBezTo>
                        <a:cubicBezTo>
                          <a:pt x="12895" y="69458"/>
                          <a:pt x="21346" y="90306"/>
                          <a:pt x="45143" y="90306"/>
                        </a:cubicBezTo>
                        <a:cubicBezTo>
                          <a:pt x="68940" y="90306"/>
                          <a:pt x="77391" y="69458"/>
                          <a:pt x="77391" y="51600"/>
                        </a:cubicBezTo>
                        <a:cubicBezTo>
                          <a:pt x="77391" y="33743"/>
                          <a:pt x="68960" y="12895"/>
                          <a:pt x="45143" y="12895"/>
                        </a:cubicBezTo>
                        <a:close/>
                      </a:path>
                    </a:pathLst>
                  </a:custGeom>
                  <a:grpFill/>
                  <a:ln w="1992" cap="flat">
                    <a:noFill/>
                    <a:prstDash val="solid"/>
                    <a:miter/>
                  </a:ln>
                </p:spPr>
                <p:txBody>
                  <a:bodyPr rtlCol="0" anchor="ctr"/>
                  <a:lstStyle/>
                  <a:p>
                    <a:endParaRPr lang="en-GB" dirty="0"/>
                  </a:p>
                </p:txBody>
              </p:sp>
            </p:grpSp>
            <p:sp>
              <p:nvSpPr>
                <p:cNvPr id="256" name="Freihandform: Form 899">
                  <a:extLst>
                    <a:ext uri="{FF2B5EF4-FFF2-40B4-BE49-F238E27FC236}">
                      <a16:creationId xmlns:a16="http://schemas.microsoft.com/office/drawing/2014/main" id="{289BD7E9-0F6F-4DE8-84B7-A1E58ACB8BF3}"/>
                    </a:ext>
                  </a:extLst>
                </p:cNvPr>
                <p:cNvSpPr/>
                <p:nvPr/>
              </p:nvSpPr>
              <p:spPr>
                <a:xfrm>
                  <a:off x="7665726" y="1947601"/>
                  <a:ext cx="187035" cy="161258"/>
                </a:xfrm>
                <a:custGeom>
                  <a:avLst/>
                  <a:gdLst>
                    <a:gd name="connsiteX0" fmla="*/ 180611 w 187035"/>
                    <a:gd name="connsiteY0" fmla="*/ 161259 h 161258"/>
                    <a:gd name="connsiteX1" fmla="*/ 58058 w 187035"/>
                    <a:gd name="connsiteY1" fmla="*/ 161259 h 161258"/>
                    <a:gd name="connsiteX2" fmla="*/ 0 w 187035"/>
                    <a:gd name="connsiteY2" fmla="*/ 103201 h 161258"/>
                    <a:gd name="connsiteX3" fmla="*/ 0 w 187035"/>
                    <a:gd name="connsiteY3" fmla="*/ 36593 h 161258"/>
                    <a:gd name="connsiteX4" fmla="*/ 36593 w 187035"/>
                    <a:gd name="connsiteY4" fmla="*/ 0 h 161258"/>
                    <a:gd name="connsiteX5" fmla="*/ 96703 w 187035"/>
                    <a:gd name="connsiteY5" fmla="*/ 0 h 161258"/>
                    <a:gd name="connsiteX6" fmla="*/ 154801 w 187035"/>
                    <a:gd name="connsiteY6" fmla="*/ 58098 h 161258"/>
                    <a:gd name="connsiteX7" fmla="*/ 154801 w 187035"/>
                    <a:gd name="connsiteY7" fmla="*/ 103201 h 161258"/>
                    <a:gd name="connsiteX8" fmla="*/ 183501 w 187035"/>
                    <a:gd name="connsiteY8" fmla="*/ 149041 h 161258"/>
                    <a:gd name="connsiteX9" fmla="*/ 186850 w 187035"/>
                    <a:gd name="connsiteY9" fmla="*/ 156296 h 161258"/>
                    <a:gd name="connsiteX10" fmla="*/ 180611 w 187035"/>
                    <a:gd name="connsiteY10" fmla="*/ 161259 h 161258"/>
                    <a:gd name="connsiteX11" fmla="*/ 36613 w 187035"/>
                    <a:gd name="connsiteY11" fmla="*/ 12915 h 161258"/>
                    <a:gd name="connsiteX12" fmla="*/ 12915 w 187035"/>
                    <a:gd name="connsiteY12" fmla="*/ 36613 h 161258"/>
                    <a:gd name="connsiteX13" fmla="*/ 12915 w 187035"/>
                    <a:gd name="connsiteY13" fmla="*/ 103221 h 161258"/>
                    <a:gd name="connsiteX14" fmla="*/ 58058 w 187035"/>
                    <a:gd name="connsiteY14" fmla="*/ 148364 h 161258"/>
                    <a:gd name="connsiteX15" fmla="*/ 161318 w 187035"/>
                    <a:gd name="connsiteY15" fmla="*/ 148364 h 161258"/>
                    <a:gd name="connsiteX16" fmla="*/ 141906 w 187035"/>
                    <a:gd name="connsiteY16" fmla="*/ 103221 h 161258"/>
                    <a:gd name="connsiteX17" fmla="*/ 141906 w 187035"/>
                    <a:gd name="connsiteY17" fmla="*/ 58118 h 161258"/>
                    <a:gd name="connsiteX18" fmla="*/ 96703 w 187035"/>
                    <a:gd name="connsiteY18" fmla="*/ 12915 h 161258"/>
                    <a:gd name="connsiteX19" fmla="*/ 36613 w 187035"/>
                    <a:gd name="connsiteY19" fmla="*/ 12915 h 16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035" h="161258">
                      <a:moveTo>
                        <a:pt x="180611" y="161259"/>
                      </a:moveTo>
                      <a:lnTo>
                        <a:pt x="58058" y="161259"/>
                      </a:lnTo>
                      <a:cubicBezTo>
                        <a:pt x="26049" y="161259"/>
                        <a:pt x="0" y="135209"/>
                        <a:pt x="0" y="103201"/>
                      </a:cubicBezTo>
                      <a:lnTo>
                        <a:pt x="0" y="36593"/>
                      </a:lnTo>
                      <a:cubicBezTo>
                        <a:pt x="0" y="16423"/>
                        <a:pt x="16423" y="0"/>
                        <a:pt x="36593" y="0"/>
                      </a:cubicBezTo>
                      <a:lnTo>
                        <a:pt x="96703" y="0"/>
                      </a:lnTo>
                      <a:cubicBezTo>
                        <a:pt x="128732" y="0"/>
                        <a:pt x="154801" y="26069"/>
                        <a:pt x="154801" y="58098"/>
                      </a:cubicBezTo>
                      <a:lnTo>
                        <a:pt x="154801" y="103201"/>
                      </a:lnTo>
                      <a:cubicBezTo>
                        <a:pt x="154801" y="134113"/>
                        <a:pt x="182325" y="148443"/>
                        <a:pt x="183501" y="149041"/>
                      </a:cubicBezTo>
                      <a:cubicBezTo>
                        <a:pt x="186152" y="150397"/>
                        <a:pt x="187567" y="153406"/>
                        <a:pt x="186850" y="156296"/>
                      </a:cubicBezTo>
                      <a:cubicBezTo>
                        <a:pt x="186192" y="159206"/>
                        <a:pt x="183601" y="161259"/>
                        <a:pt x="180611" y="161259"/>
                      </a:cubicBezTo>
                      <a:close/>
                      <a:moveTo>
                        <a:pt x="36613" y="12915"/>
                      </a:moveTo>
                      <a:cubicBezTo>
                        <a:pt x="23558" y="12915"/>
                        <a:pt x="12915" y="23538"/>
                        <a:pt x="12915" y="36613"/>
                      </a:cubicBezTo>
                      <a:lnTo>
                        <a:pt x="12915" y="103221"/>
                      </a:lnTo>
                      <a:cubicBezTo>
                        <a:pt x="12915" y="128114"/>
                        <a:pt x="33165" y="148364"/>
                        <a:pt x="58058" y="148364"/>
                      </a:cubicBezTo>
                      <a:lnTo>
                        <a:pt x="161318" y="148364"/>
                      </a:lnTo>
                      <a:cubicBezTo>
                        <a:pt x="151891" y="139056"/>
                        <a:pt x="141906" y="124248"/>
                        <a:pt x="141906" y="103221"/>
                      </a:cubicBezTo>
                      <a:lnTo>
                        <a:pt x="141906" y="58118"/>
                      </a:lnTo>
                      <a:cubicBezTo>
                        <a:pt x="141906" y="33204"/>
                        <a:pt x="121637" y="12915"/>
                        <a:pt x="96703" y="12915"/>
                      </a:cubicBezTo>
                      <a:lnTo>
                        <a:pt x="36613" y="12915"/>
                      </a:lnTo>
                      <a:close/>
                    </a:path>
                  </a:pathLst>
                </a:custGeom>
                <a:grpFill/>
                <a:ln w="1992" cap="flat">
                  <a:noFill/>
                  <a:prstDash val="solid"/>
                  <a:miter/>
                </a:ln>
              </p:spPr>
              <p:txBody>
                <a:bodyPr rtlCol="0" anchor="ctr"/>
                <a:lstStyle/>
                <a:p>
                  <a:endParaRPr lang="en-GB" dirty="0"/>
                </a:p>
              </p:txBody>
            </p:sp>
            <p:sp>
              <p:nvSpPr>
                <p:cNvPr id="257" name="Freihandform: Form 900">
                  <a:extLst>
                    <a:ext uri="{FF2B5EF4-FFF2-40B4-BE49-F238E27FC236}">
                      <a16:creationId xmlns:a16="http://schemas.microsoft.com/office/drawing/2014/main" id="{1B273882-AE0E-4D43-9AB3-B96E9C593EA4}"/>
                    </a:ext>
                  </a:extLst>
                </p:cNvPr>
                <p:cNvSpPr/>
                <p:nvPr/>
              </p:nvSpPr>
              <p:spPr>
                <a:xfrm>
                  <a:off x="7788300" y="2057259"/>
                  <a:ext cx="116095" cy="51600"/>
                </a:xfrm>
                <a:custGeom>
                  <a:avLst/>
                  <a:gdLst>
                    <a:gd name="connsiteX0" fmla="*/ 109658 w 116095"/>
                    <a:gd name="connsiteY0" fmla="*/ 51600 h 51600"/>
                    <a:gd name="connsiteX1" fmla="*/ 0 w 116095"/>
                    <a:gd name="connsiteY1" fmla="*/ 51600 h 51600"/>
                    <a:gd name="connsiteX2" fmla="*/ 0 w 116095"/>
                    <a:gd name="connsiteY2" fmla="*/ 38705 h 51600"/>
                    <a:gd name="connsiteX3" fmla="*/ 102563 w 116095"/>
                    <a:gd name="connsiteY3" fmla="*/ 38705 h 51600"/>
                    <a:gd name="connsiteX4" fmla="*/ 70953 w 116095"/>
                    <a:gd name="connsiteY4" fmla="*/ 12895 h 51600"/>
                    <a:gd name="connsiteX5" fmla="*/ 32248 w 116095"/>
                    <a:gd name="connsiteY5" fmla="*/ 12895 h 51600"/>
                    <a:gd name="connsiteX6" fmla="*/ 32248 w 116095"/>
                    <a:gd name="connsiteY6" fmla="*/ 0 h 51600"/>
                    <a:gd name="connsiteX7" fmla="*/ 70953 w 116095"/>
                    <a:gd name="connsiteY7" fmla="*/ 0 h 51600"/>
                    <a:gd name="connsiteX8" fmla="*/ 116096 w 116095"/>
                    <a:gd name="connsiteY8" fmla="*/ 45143 h 51600"/>
                    <a:gd name="connsiteX9" fmla="*/ 109658 w 116095"/>
                    <a:gd name="connsiteY9" fmla="*/ 51600 h 5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095" h="51600">
                      <a:moveTo>
                        <a:pt x="109658" y="51600"/>
                      </a:moveTo>
                      <a:lnTo>
                        <a:pt x="0" y="51600"/>
                      </a:lnTo>
                      <a:lnTo>
                        <a:pt x="0" y="38705"/>
                      </a:lnTo>
                      <a:lnTo>
                        <a:pt x="102563" y="38705"/>
                      </a:lnTo>
                      <a:cubicBezTo>
                        <a:pt x="99573" y="23996"/>
                        <a:pt x="86539" y="12895"/>
                        <a:pt x="70953" y="12895"/>
                      </a:cubicBezTo>
                      <a:lnTo>
                        <a:pt x="32248" y="12895"/>
                      </a:lnTo>
                      <a:lnTo>
                        <a:pt x="32248" y="0"/>
                      </a:lnTo>
                      <a:lnTo>
                        <a:pt x="70953" y="0"/>
                      </a:lnTo>
                      <a:cubicBezTo>
                        <a:pt x="95846" y="0"/>
                        <a:pt x="116096" y="20250"/>
                        <a:pt x="116096" y="45143"/>
                      </a:cubicBezTo>
                      <a:cubicBezTo>
                        <a:pt x="116096" y="48710"/>
                        <a:pt x="113206" y="51600"/>
                        <a:pt x="109658" y="51600"/>
                      </a:cubicBezTo>
                      <a:close/>
                    </a:path>
                  </a:pathLst>
                </a:custGeom>
                <a:grpFill/>
                <a:ln w="1992" cap="flat">
                  <a:noFill/>
                  <a:prstDash val="solid"/>
                  <a:miter/>
                </a:ln>
              </p:spPr>
              <p:txBody>
                <a:bodyPr rtlCol="0" anchor="ctr"/>
                <a:lstStyle/>
                <a:p>
                  <a:endParaRPr lang="en-GB" dirty="0"/>
                </a:p>
              </p:txBody>
            </p:sp>
          </p:grpSp>
        </p:grpSp>
        <p:grpSp>
          <p:nvGrpSpPr>
            <p:cNvPr id="244" name="Grafik 336">
              <a:extLst>
                <a:ext uri="{FF2B5EF4-FFF2-40B4-BE49-F238E27FC236}">
                  <a16:creationId xmlns:a16="http://schemas.microsoft.com/office/drawing/2014/main" id="{B0BE5BF3-263A-46F6-8570-D6CBEF3F3134}"/>
                </a:ext>
              </a:extLst>
            </p:cNvPr>
            <p:cNvGrpSpPr/>
            <p:nvPr/>
          </p:nvGrpSpPr>
          <p:grpSpPr>
            <a:xfrm>
              <a:off x="1741006" y="3197064"/>
              <a:ext cx="198891" cy="267720"/>
              <a:chOff x="7893533" y="1650893"/>
              <a:chExt cx="210846" cy="283812"/>
            </a:xfrm>
            <a:solidFill>
              <a:schemeClr val="accent1"/>
            </a:solidFill>
          </p:grpSpPr>
          <p:sp>
            <p:nvSpPr>
              <p:cNvPr id="245" name="Freihandform: Form 902">
                <a:extLst>
                  <a:ext uri="{FF2B5EF4-FFF2-40B4-BE49-F238E27FC236}">
                    <a16:creationId xmlns:a16="http://schemas.microsoft.com/office/drawing/2014/main" id="{D3C12C48-4592-4A63-BE56-93553C18DB08}"/>
                  </a:ext>
                </a:extLst>
              </p:cNvPr>
              <p:cNvSpPr/>
              <p:nvPr/>
            </p:nvSpPr>
            <p:spPr>
              <a:xfrm>
                <a:off x="7956016" y="1650893"/>
                <a:ext cx="90285" cy="103200"/>
              </a:xfrm>
              <a:custGeom>
                <a:avLst/>
                <a:gdLst>
                  <a:gd name="connsiteX0" fmla="*/ 45143 w 90285"/>
                  <a:gd name="connsiteY0" fmla="*/ 103201 h 103200"/>
                  <a:gd name="connsiteX1" fmla="*/ 0 w 90285"/>
                  <a:gd name="connsiteY1" fmla="*/ 51600 h 103200"/>
                  <a:gd name="connsiteX2" fmla="*/ 45143 w 90285"/>
                  <a:gd name="connsiteY2" fmla="*/ 0 h 103200"/>
                  <a:gd name="connsiteX3" fmla="*/ 90286 w 90285"/>
                  <a:gd name="connsiteY3" fmla="*/ 51600 h 103200"/>
                  <a:gd name="connsiteX4" fmla="*/ 45143 w 90285"/>
                  <a:gd name="connsiteY4" fmla="*/ 103201 h 103200"/>
                  <a:gd name="connsiteX5" fmla="*/ 45143 w 90285"/>
                  <a:gd name="connsiteY5" fmla="*/ 12895 h 103200"/>
                  <a:gd name="connsiteX6" fmla="*/ 12895 w 90285"/>
                  <a:gd name="connsiteY6" fmla="*/ 51600 h 103200"/>
                  <a:gd name="connsiteX7" fmla="*/ 45143 w 90285"/>
                  <a:gd name="connsiteY7" fmla="*/ 90306 h 103200"/>
                  <a:gd name="connsiteX8" fmla="*/ 77391 w 90285"/>
                  <a:gd name="connsiteY8" fmla="*/ 51600 h 103200"/>
                  <a:gd name="connsiteX9" fmla="*/ 45143 w 90285"/>
                  <a:gd name="connsiteY9" fmla="*/ 12895 h 10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85" h="103200">
                    <a:moveTo>
                      <a:pt x="45143" y="103201"/>
                    </a:moveTo>
                    <a:cubicBezTo>
                      <a:pt x="18137" y="103201"/>
                      <a:pt x="0" y="82473"/>
                      <a:pt x="0" y="51600"/>
                    </a:cubicBezTo>
                    <a:cubicBezTo>
                      <a:pt x="0" y="20728"/>
                      <a:pt x="18157" y="0"/>
                      <a:pt x="45143" y="0"/>
                    </a:cubicBezTo>
                    <a:cubicBezTo>
                      <a:pt x="72149" y="0"/>
                      <a:pt x="90286" y="20728"/>
                      <a:pt x="90286" y="51600"/>
                    </a:cubicBezTo>
                    <a:cubicBezTo>
                      <a:pt x="90286" y="82473"/>
                      <a:pt x="72149" y="103201"/>
                      <a:pt x="45143" y="103201"/>
                    </a:cubicBezTo>
                    <a:close/>
                    <a:moveTo>
                      <a:pt x="45143" y="12895"/>
                    </a:moveTo>
                    <a:cubicBezTo>
                      <a:pt x="21346" y="12895"/>
                      <a:pt x="12895" y="33743"/>
                      <a:pt x="12895" y="51600"/>
                    </a:cubicBezTo>
                    <a:cubicBezTo>
                      <a:pt x="12895" y="69458"/>
                      <a:pt x="21346" y="90306"/>
                      <a:pt x="45143" y="90306"/>
                    </a:cubicBezTo>
                    <a:cubicBezTo>
                      <a:pt x="68940" y="90306"/>
                      <a:pt x="77391" y="69458"/>
                      <a:pt x="77391" y="51600"/>
                    </a:cubicBezTo>
                    <a:cubicBezTo>
                      <a:pt x="77391" y="33743"/>
                      <a:pt x="68940" y="12895"/>
                      <a:pt x="45143" y="12895"/>
                    </a:cubicBezTo>
                    <a:close/>
                  </a:path>
                </a:pathLst>
              </a:custGeom>
              <a:solidFill>
                <a:schemeClr val="accent1"/>
              </a:solidFill>
              <a:ln w="1992" cap="flat">
                <a:noFill/>
                <a:prstDash val="solid"/>
                <a:miter/>
              </a:ln>
            </p:spPr>
            <p:txBody>
              <a:bodyPr rtlCol="0" anchor="ctr"/>
              <a:lstStyle/>
              <a:p>
                <a:endParaRPr lang="en-GB" dirty="0"/>
              </a:p>
            </p:txBody>
          </p:sp>
          <p:sp>
            <p:nvSpPr>
              <p:cNvPr id="246" name="Freihandform: Form 903">
                <a:extLst>
                  <a:ext uri="{FF2B5EF4-FFF2-40B4-BE49-F238E27FC236}">
                    <a16:creationId xmlns:a16="http://schemas.microsoft.com/office/drawing/2014/main" id="{7F72BC4B-BA5B-42C5-80E8-70DE9E02EF84}"/>
                  </a:ext>
                </a:extLst>
              </p:cNvPr>
              <p:cNvSpPr/>
              <p:nvPr/>
            </p:nvSpPr>
            <p:spPr>
              <a:xfrm>
                <a:off x="7994701" y="1883085"/>
                <a:ext cx="64495" cy="45162"/>
              </a:xfrm>
              <a:custGeom>
                <a:avLst/>
                <a:gdLst>
                  <a:gd name="connsiteX0" fmla="*/ 12895 w 64495"/>
                  <a:gd name="connsiteY0" fmla="*/ 45163 h 45162"/>
                  <a:gd name="connsiteX1" fmla="*/ 0 w 64495"/>
                  <a:gd name="connsiteY1" fmla="*/ 45163 h 45162"/>
                  <a:gd name="connsiteX2" fmla="*/ 0 w 64495"/>
                  <a:gd name="connsiteY2" fmla="*/ 19353 h 45162"/>
                  <a:gd name="connsiteX3" fmla="*/ 19353 w 64495"/>
                  <a:gd name="connsiteY3" fmla="*/ 0 h 45162"/>
                  <a:gd name="connsiteX4" fmla="*/ 64495 w 64495"/>
                  <a:gd name="connsiteY4" fmla="*/ 0 h 45162"/>
                  <a:gd name="connsiteX5" fmla="*/ 64495 w 64495"/>
                  <a:gd name="connsiteY5" fmla="*/ 12895 h 45162"/>
                  <a:gd name="connsiteX6" fmla="*/ 19353 w 64495"/>
                  <a:gd name="connsiteY6" fmla="*/ 12895 h 45162"/>
                  <a:gd name="connsiteX7" fmla="*/ 12895 w 64495"/>
                  <a:gd name="connsiteY7" fmla="*/ 19353 h 45162"/>
                  <a:gd name="connsiteX8" fmla="*/ 12895 w 64495"/>
                  <a:gd name="connsiteY8" fmla="*/ 45163 h 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495" h="45162">
                    <a:moveTo>
                      <a:pt x="12895" y="45163"/>
                    </a:moveTo>
                    <a:lnTo>
                      <a:pt x="0" y="45163"/>
                    </a:lnTo>
                    <a:lnTo>
                      <a:pt x="0" y="19353"/>
                    </a:lnTo>
                    <a:cubicBezTo>
                      <a:pt x="0" y="8690"/>
                      <a:pt x="8690" y="0"/>
                      <a:pt x="19353" y="0"/>
                    </a:cubicBezTo>
                    <a:lnTo>
                      <a:pt x="64495" y="0"/>
                    </a:lnTo>
                    <a:lnTo>
                      <a:pt x="64495" y="12895"/>
                    </a:lnTo>
                    <a:lnTo>
                      <a:pt x="19353" y="12895"/>
                    </a:lnTo>
                    <a:cubicBezTo>
                      <a:pt x="15785" y="12895"/>
                      <a:pt x="12895" y="15785"/>
                      <a:pt x="12895" y="19353"/>
                    </a:cubicBezTo>
                    <a:lnTo>
                      <a:pt x="12895" y="45163"/>
                    </a:lnTo>
                    <a:close/>
                  </a:path>
                </a:pathLst>
              </a:custGeom>
              <a:solidFill>
                <a:schemeClr val="accent1"/>
              </a:solidFill>
              <a:ln w="1992" cap="flat">
                <a:noFill/>
                <a:prstDash val="solid"/>
                <a:miter/>
              </a:ln>
            </p:spPr>
            <p:txBody>
              <a:bodyPr rtlCol="0" anchor="ctr"/>
              <a:lstStyle/>
              <a:p>
                <a:endParaRPr lang="en-GB" dirty="0"/>
              </a:p>
            </p:txBody>
          </p:sp>
          <p:grpSp>
            <p:nvGrpSpPr>
              <p:cNvPr id="247" name="Grafik 336">
                <a:extLst>
                  <a:ext uri="{FF2B5EF4-FFF2-40B4-BE49-F238E27FC236}">
                    <a16:creationId xmlns:a16="http://schemas.microsoft.com/office/drawing/2014/main" id="{E11DCE29-FD74-481C-AD5B-16ACAB9E1DF2}"/>
                  </a:ext>
                </a:extLst>
              </p:cNvPr>
              <p:cNvGrpSpPr/>
              <p:nvPr/>
            </p:nvGrpSpPr>
            <p:grpSpPr>
              <a:xfrm>
                <a:off x="7893533" y="1767009"/>
                <a:ext cx="210846" cy="167696"/>
                <a:chOff x="7893533" y="1767009"/>
                <a:chExt cx="210846" cy="167696"/>
              </a:xfrm>
              <a:solidFill>
                <a:schemeClr val="accent1"/>
              </a:solidFill>
            </p:grpSpPr>
            <p:sp>
              <p:nvSpPr>
                <p:cNvPr id="248" name="Freihandform: Form 905">
                  <a:extLst>
                    <a:ext uri="{FF2B5EF4-FFF2-40B4-BE49-F238E27FC236}">
                      <a16:creationId xmlns:a16="http://schemas.microsoft.com/office/drawing/2014/main" id="{48C87E45-D20D-4282-8692-6F805E8E89F4}"/>
                    </a:ext>
                  </a:extLst>
                </p:cNvPr>
                <p:cNvSpPr/>
                <p:nvPr/>
              </p:nvSpPr>
              <p:spPr>
                <a:xfrm>
                  <a:off x="7893533" y="1767009"/>
                  <a:ext cx="210846" cy="167696"/>
                </a:xfrm>
                <a:custGeom>
                  <a:avLst/>
                  <a:gdLst>
                    <a:gd name="connsiteX0" fmla="*/ 184697 w 210846"/>
                    <a:gd name="connsiteY0" fmla="*/ 167696 h 167696"/>
                    <a:gd name="connsiteX1" fmla="*/ 24116 w 210846"/>
                    <a:gd name="connsiteY1" fmla="*/ 167696 h 167696"/>
                    <a:gd name="connsiteX2" fmla="*/ 0 w 210846"/>
                    <a:gd name="connsiteY2" fmla="*/ 141089 h 167696"/>
                    <a:gd name="connsiteX3" fmla="*/ 4445 w 210846"/>
                    <a:gd name="connsiteY3" fmla="*/ 76952 h 167696"/>
                    <a:gd name="connsiteX4" fmla="*/ 81835 w 210846"/>
                    <a:gd name="connsiteY4" fmla="*/ 0 h 167696"/>
                    <a:gd name="connsiteX5" fmla="*/ 133436 w 210846"/>
                    <a:gd name="connsiteY5" fmla="*/ 0 h 167696"/>
                    <a:gd name="connsiteX6" fmla="*/ 210846 w 210846"/>
                    <a:gd name="connsiteY6" fmla="*/ 77411 h 167696"/>
                    <a:gd name="connsiteX7" fmla="*/ 210846 w 210846"/>
                    <a:gd name="connsiteY7" fmla="*/ 140910 h 167696"/>
                    <a:gd name="connsiteX8" fmla="*/ 184697 w 210846"/>
                    <a:gd name="connsiteY8" fmla="*/ 167696 h 167696"/>
                    <a:gd name="connsiteX9" fmla="*/ 81815 w 210846"/>
                    <a:gd name="connsiteY9" fmla="*/ 12895 h 167696"/>
                    <a:gd name="connsiteX10" fmla="*/ 17260 w 210846"/>
                    <a:gd name="connsiteY10" fmla="*/ 78268 h 167696"/>
                    <a:gd name="connsiteX11" fmla="*/ 12875 w 210846"/>
                    <a:gd name="connsiteY11" fmla="*/ 141547 h 167696"/>
                    <a:gd name="connsiteX12" fmla="*/ 24116 w 210846"/>
                    <a:gd name="connsiteY12" fmla="*/ 154801 h 167696"/>
                    <a:gd name="connsiteX13" fmla="*/ 184697 w 210846"/>
                    <a:gd name="connsiteY13" fmla="*/ 154801 h 167696"/>
                    <a:gd name="connsiteX14" fmla="*/ 197931 w 210846"/>
                    <a:gd name="connsiteY14" fmla="*/ 140890 h 167696"/>
                    <a:gd name="connsiteX15" fmla="*/ 197931 w 210846"/>
                    <a:gd name="connsiteY15" fmla="*/ 77391 h 167696"/>
                    <a:gd name="connsiteX16" fmla="*/ 133436 w 210846"/>
                    <a:gd name="connsiteY16" fmla="*/ 12895 h 167696"/>
                    <a:gd name="connsiteX17" fmla="*/ 81815 w 210846"/>
                    <a:gd name="connsiteY17" fmla="*/ 12895 h 167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0846" h="167696">
                      <a:moveTo>
                        <a:pt x="184697" y="167696"/>
                      </a:moveTo>
                      <a:lnTo>
                        <a:pt x="24116" y="167696"/>
                      </a:lnTo>
                      <a:cubicBezTo>
                        <a:pt x="10364" y="167696"/>
                        <a:pt x="0" y="156256"/>
                        <a:pt x="0" y="141089"/>
                      </a:cubicBezTo>
                      <a:lnTo>
                        <a:pt x="4445" y="76952"/>
                      </a:lnTo>
                      <a:cubicBezTo>
                        <a:pt x="11480" y="25033"/>
                        <a:pt x="36772" y="0"/>
                        <a:pt x="81835" y="0"/>
                      </a:cubicBezTo>
                      <a:lnTo>
                        <a:pt x="133436" y="0"/>
                      </a:lnTo>
                      <a:cubicBezTo>
                        <a:pt x="179734" y="0"/>
                        <a:pt x="210846" y="31112"/>
                        <a:pt x="210846" y="77411"/>
                      </a:cubicBezTo>
                      <a:lnTo>
                        <a:pt x="210846" y="140910"/>
                      </a:lnTo>
                      <a:cubicBezTo>
                        <a:pt x="210826" y="155419"/>
                        <a:pt x="198848" y="167696"/>
                        <a:pt x="184697" y="167696"/>
                      </a:cubicBezTo>
                      <a:close/>
                      <a:moveTo>
                        <a:pt x="81815" y="12895"/>
                      </a:moveTo>
                      <a:cubicBezTo>
                        <a:pt x="43290" y="12895"/>
                        <a:pt x="23379" y="33065"/>
                        <a:pt x="17260" y="78268"/>
                      </a:cubicBezTo>
                      <a:lnTo>
                        <a:pt x="12875" y="141547"/>
                      </a:lnTo>
                      <a:cubicBezTo>
                        <a:pt x="12895" y="147706"/>
                        <a:pt x="16403" y="154801"/>
                        <a:pt x="24116" y="154801"/>
                      </a:cubicBezTo>
                      <a:lnTo>
                        <a:pt x="184697" y="154801"/>
                      </a:lnTo>
                      <a:cubicBezTo>
                        <a:pt x="191872" y="154801"/>
                        <a:pt x="197931" y="148423"/>
                        <a:pt x="197931" y="140890"/>
                      </a:cubicBezTo>
                      <a:lnTo>
                        <a:pt x="197931" y="77391"/>
                      </a:lnTo>
                      <a:cubicBezTo>
                        <a:pt x="197931" y="38207"/>
                        <a:pt x="172619" y="12895"/>
                        <a:pt x="133436" y="12895"/>
                      </a:cubicBezTo>
                      <a:lnTo>
                        <a:pt x="81815" y="12895"/>
                      </a:lnTo>
                      <a:close/>
                    </a:path>
                  </a:pathLst>
                </a:custGeom>
                <a:solidFill>
                  <a:schemeClr val="accent1"/>
                </a:solidFill>
                <a:ln w="1992" cap="flat">
                  <a:noFill/>
                  <a:prstDash val="solid"/>
                  <a:miter/>
                </a:ln>
              </p:spPr>
              <p:txBody>
                <a:bodyPr rtlCol="0" anchor="ctr"/>
                <a:lstStyle/>
                <a:p>
                  <a:endParaRPr lang="en-GB" dirty="0"/>
                </a:p>
              </p:txBody>
            </p:sp>
            <p:sp>
              <p:nvSpPr>
                <p:cNvPr id="249" name="Freihandform: Form 906">
                  <a:extLst>
                    <a:ext uri="{FF2B5EF4-FFF2-40B4-BE49-F238E27FC236}">
                      <a16:creationId xmlns:a16="http://schemas.microsoft.com/office/drawing/2014/main" id="{ACD711D4-8CAF-4D7D-A423-8F6DEC609B27}"/>
                    </a:ext>
                  </a:extLst>
                </p:cNvPr>
                <p:cNvSpPr/>
                <p:nvPr/>
              </p:nvSpPr>
              <p:spPr>
                <a:xfrm>
                  <a:off x="7943101" y="1883085"/>
                  <a:ext cx="64495" cy="45162"/>
                </a:xfrm>
                <a:custGeom>
                  <a:avLst/>
                  <a:gdLst>
                    <a:gd name="connsiteX0" fmla="*/ 64496 w 64495"/>
                    <a:gd name="connsiteY0" fmla="*/ 45163 h 45162"/>
                    <a:gd name="connsiteX1" fmla="*/ 51600 w 64495"/>
                    <a:gd name="connsiteY1" fmla="*/ 45163 h 45162"/>
                    <a:gd name="connsiteX2" fmla="*/ 51600 w 64495"/>
                    <a:gd name="connsiteY2" fmla="*/ 19353 h 45162"/>
                    <a:gd name="connsiteX3" fmla="*/ 45143 w 64495"/>
                    <a:gd name="connsiteY3" fmla="*/ 12895 h 45162"/>
                    <a:gd name="connsiteX4" fmla="*/ 0 w 64495"/>
                    <a:gd name="connsiteY4" fmla="*/ 12895 h 45162"/>
                    <a:gd name="connsiteX5" fmla="*/ 0 w 64495"/>
                    <a:gd name="connsiteY5" fmla="*/ 0 h 45162"/>
                    <a:gd name="connsiteX6" fmla="*/ 45143 w 64495"/>
                    <a:gd name="connsiteY6" fmla="*/ 0 h 45162"/>
                    <a:gd name="connsiteX7" fmla="*/ 64496 w 64495"/>
                    <a:gd name="connsiteY7" fmla="*/ 19353 h 45162"/>
                    <a:gd name="connsiteX8" fmla="*/ 64496 w 64495"/>
                    <a:gd name="connsiteY8" fmla="*/ 45163 h 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495" h="45162">
                      <a:moveTo>
                        <a:pt x="64496" y="45163"/>
                      </a:moveTo>
                      <a:lnTo>
                        <a:pt x="51600" y="45163"/>
                      </a:lnTo>
                      <a:lnTo>
                        <a:pt x="51600" y="19353"/>
                      </a:lnTo>
                      <a:cubicBezTo>
                        <a:pt x="51600" y="15805"/>
                        <a:pt x="48711" y="12895"/>
                        <a:pt x="45143" y="12895"/>
                      </a:cubicBezTo>
                      <a:lnTo>
                        <a:pt x="0" y="12895"/>
                      </a:lnTo>
                      <a:lnTo>
                        <a:pt x="0" y="0"/>
                      </a:lnTo>
                      <a:lnTo>
                        <a:pt x="45143" y="0"/>
                      </a:lnTo>
                      <a:cubicBezTo>
                        <a:pt x="55806" y="0"/>
                        <a:pt x="64496" y="8690"/>
                        <a:pt x="64496" y="19353"/>
                      </a:cubicBezTo>
                      <a:lnTo>
                        <a:pt x="64496" y="45163"/>
                      </a:lnTo>
                      <a:close/>
                    </a:path>
                  </a:pathLst>
                </a:custGeom>
                <a:solidFill>
                  <a:schemeClr val="accent1"/>
                </a:solidFill>
                <a:ln w="1992" cap="flat">
                  <a:noFill/>
                  <a:prstDash val="solid"/>
                  <a:miter/>
                </a:ln>
              </p:spPr>
              <p:txBody>
                <a:bodyPr rtlCol="0" anchor="ctr"/>
                <a:lstStyle/>
                <a:p>
                  <a:endParaRPr lang="en-GB" dirty="0"/>
                </a:p>
              </p:txBody>
            </p:sp>
          </p:grpSp>
        </p:grpSp>
      </p:grpSp>
      <p:grpSp>
        <p:nvGrpSpPr>
          <p:cNvPr id="265" name="Group 264">
            <a:extLst>
              <a:ext uri="{FF2B5EF4-FFF2-40B4-BE49-F238E27FC236}">
                <a16:creationId xmlns:a16="http://schemas.microsoft.com/office/drawing/2014/main" id="{CB2224DA-5776-4757-8BAA-272E87E4E825}"/>
              </a:ext>
            </a:extLst>
          </p:cNvPr>
          <p:cNvGrpSpPr>
            <a:grpSpLocks noChangeAspect="1"/>
          </p:cNvGrpSpPr>
          <p:nvPr/>
        </p:nvGrpSpPr>
        <p:grpSpPr>
          <a:xfrm>
            <a:off x="2633512" y="3197068"/>
            <a:ext cx="502820" cy="432000"/>
            <a:chOff x="7755996" y="2497140"/>
            <a:chExt cx="490274" cy="421221"/>
          </a:xfrm>
        </p:grpSpPr>
        <p:grpSp>
          <p:nvGrpSpPr>
            <p:cNvPr id="266" name="Group 265">
              <a:extLst>
                <a:ext uri="{FF2B5EF4-FFF2-40B4-BE49-F238E27FC236}">
                  <a16:creationId xmlns:a16="http://schemas.microsoft.com/office/drawing/2014/main" id="{1B31C9F4-F8CC-4A77-981F-D511BF42C3A0}"/>
                </a:ext>
              </a:extLst>
            </p:cNvPr>
            <p:cNvGrpSpPr/>
            <p:nvPr/>
          </p:nvGrpSpPr>
          <p:grpSpPr>
            <a:xfrm>
              <a:off x="7755996" y="2660380"/>
              <a:ext cx="490274" cy="257981"/>
              <a:chOff x="7755992" y="2660380"/>
              <a:chExt cx="490274" cy="257981"/>
            </a:xfrm>
          </p:grpSpPr>
          <p:sp>
            <p:nvSpPr>
              <p:cNvPr id="273" name="Freihandform: Form 669">
                <a:extLst>
                  <a:ext uri="{FF2B5EF4-FFF2-40B4-BE49-F238E27FC236}">
                    <a16:creationId xmlns:a16="http://schemas.microsoft.com/office/drawing/2014/main" id="{2FAE6788-D9F3-484A-983C-06837C63077C}"/>
                  </a:ext>
                </a:extLst>
              </p:cNvPr>
              <p:cNvSpPr/>
              <p:nvPr/>
            </p:nvSpPr>
            <p:spPr>
              <a:xfrm>
                <a:off x="8073532" y="2767104"/>
                <a:ext cx="50179" cy="151157"/>
              </a:xfrm>
              <a:custGeom>
                <a:avLst/>
                <a:gdLst>
                  <a:gd name="connsiteX0" fmla="*/ 43722 w 50179"/>
                  <a:gd name="connsiteY0" fmla="*/ 151158 h 151157"/>
                  <a:gd name="connsiteX1" fmla="*/ 37265 w 50179"/>
                  <a:gd name="connsiteY1" fmla="*/ 144700 h 151157"/>
                  <a:gd name="connsiteX2" fmla="*/ 37265 w 50179"/>
                  <a:gd name="connsiteY2" fmla="*/ 57544 h 151157"/>
                  <a:gd name="connsiteX3" fmla="*/ 652 w 50179"/>
                  <a:gd name="connsiteY3" fmla="*/ 9292 h 151157"/>
                  <a:gd name="connsiteX4" fmla="*/ 3622 w 50179"/>
                  <a:gd name="connsiteY4" fmla="*/ 662 h 151157"/>
                  <a:gd name="connsiteX5" fmla="*/ 12252 w 50179"/>
                  <a:gd name="connsiteY5" fmla="*/ 3611 h 151157"/>
                  <a:gd name="connsiteX6" fmla="*/ 47649 w 50179"/>
                  <a:gd name="connsiteY6" fmla="*/ 49372 h 151157"/>
                  <a:gd name="connsiteX7" fmla="*/ 50180 w 50179"/>
                  <a:gd name="connsiteY7" fmla="*/ 54494 h 151157"/>
                  <a:gd name="connsiteX8" fmla="*/ 50180 w 50179"/>
                  <a:gd name="connsiteY8" fmla="*/ 144700 h 151157"/>
                  <a:gd name="connsiteX9" fmla="*/ 43722 w 50179"/>
                  <a:gd name="connsiteY9" fmla="*/ 151158 h 151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179" h="151157">
                    <a:moveTo>
                      <a:pt x="43722" y="151158"/>
                    </a:moveTo>
                    <a:cubicBezTo>
                      <a:pt x="40155" y="151158"/>
                      <a:pt x="37265" y="148268"/>
                      <a:pt x="37265" y="144700"/>
                    </a:cubicBezTo>
                    <a:lnTo>
                      <a:pt x="37265" y="57544"/>
                    </a:lnTo>
                    <a:cubicBezTo>
                      <a:pt x="30827" y="52003"/>
                      <a:pt x="13528" y="35580"/>
                      <a:pt x="652" y="9292"/>
                    </a:cubicBezTo>
                    <a:cubicBezTo>
                      <a:pt x="-902" y="6083"/>
                      <a:pt x="413" y="2236"/>
                      <a:pt x="3622" y="662"/>
                    </a:cubicBezTo>
                    <a:cubicBezTo>
                      <a:pt x="6831" y="-913"/>
                      <a:pt x="10678" y="422"/>
                      <a:pt x="12252" y="3611"/>
                    </a:cubicBezTo>
                    <a:cubicBezTo>
                      <a:pt x="26682" y="33109"/>
                      <a:pt x="47430" y="49213"/>
                      <a:pt x="47649" y="49372"/>
                    </a:cubicBezTo>
                    <a:cubicBezTo>
                      <a:pt x="49243" y="50588"/>
                      <a:pt x="50180" y="52481"/>
                      <a:pt x="50180" y="54494"/>
                    </a:cubicBezTo>
                    <a:lnTo>
                      <a:pt x="50180" y="144700"/>
                    </a:lnTo>
                    <a:cubicBezTo>
                      <a:pt x="50180" y="148268"/>
                      <a:pt x="47290" y="151158"/>
                      <a:pt x="43722" y="151158"/>
                    </a:cubicBezTo>
                    <a:close/>
                  </a:path>
                </a:pathLst>
              </a:custGeom>
              <a:solidFill>
                <a:schemeClr val="tx2"/>
              </a:solidFill>
              <a:ln w="1992" cap="flat">
                <a:noFill/>
                <a:prstDash val="solid"/>
                <a:miter/>
              </a:ln>
            </p:spPr>
            <p:txBody>
              <a:bodyPr rtlCol="0" anchor="ctr"/>
              <a:lstStyle/>
              <a:p>
                <a:endParaRPr lang="en-GB" dirty="0"/>
              </a:p>
            </p:txBody>
          </p:sp>
          <p:sp>
            <p:nvSpPr>
              <p:cNvPr id="274" name="Freihandform: Form 670">
                <a:extLst>
                  <a:ext uri="{FF2B5EF4-FFF2-40B4-BE49-F238E27FC236}">
                    <a16:creationId xmlns:a16="http://schemas.microsoft.com/office/drawing/2014/main" id="{7C680EC3-E3BD-4CAD-B933-4439CF9303CD}"/>
                  </a:ext>
                </a:extLst>
              </p:cNvPr>
              <p:cNvSpPr/>
              <p:nvPr/>
            </p:nvSpPr>
            <p:spPr>
              <a:xfrm>
                <a:off x="8091445" y="2699045"/>
                <a:ext cx="154821" cy="219316"/>
              </a:xfrm>
              <a:custGeom>
                <a:avLst/>
                <a:gdLst>
                  <a:gd name="connsiteX0" fmla="*/ 148363 w 154821"/>
                  <a:gd name="connsiteY0" fmla="*/ 219317 h 219316"/>
                  <a:gd name="connsiteX1" fmla="*/ 141906 w 154821"/>
                  <a:gd name="connsiteY1" fmla="*/ 212859 h 219316"/>
                  <a:gd name="connsiteX2" fmla="*/ 141906 w 154821"/>
                  <a:gd name="connsiteY2" fmla="*/ 129011 h 219316"/>
                  <a:gd name="connsiteX3" fmla="*/ 83848 w 154821"/>
                  <a:gd name="connsiteY3" fmla="*/ 77410 h 219316"/>
                  <a:gd name="connsiteX4" fmla="*/ 70953 w 154821"/>
                  <a:gd name="connsiteY4" fmla="*/ 77410 h 219316"/>
                  <a:gd name="connsiteX5" fmla="*/ 0 w 154821"/>
                  <a:gd name="connsiteY5" fmla="*/ 6458 h 219316"/>
                  <a:gd name="connsiteX6" fmla="*/ 6458 w 154821"/>
                  <a:gd name="connsiteY6" fmla="*/ 0 h 219316"/>
                  <a:gd name="connsiteX7" fmla="*/ 12915 w 154821"/>
                  <a:gd name="connsiteY7" fmla="*/ 6458 h 219316"/>
                  <a:gd name="connsiteX8" fmla="*/ 70973 w 154821"/>
                  <a:gd name="connsiteY8" fmla="*/ 64515 h 219316"/>
                  <a:gd name="connsiteX9" fmla="*/ 83868 w 154821"/>
                  <a:gd name="connsiteY9" fmla="*/ 64515 h 219316"/>
                  <a:gd name="connsiteX10" fmla="*/ 154821 w 154821"/>
                  <a:gd name="connsiteY10" fmla="*/ 129011 h 219316"/>
                  <a:gd name="connsiteX11" fmla="*/ 154821 w 154821"/>
                  <a:gd name="connsiteY11" fmla="*/ 212859 h 219316"/>
                  <a:gd name="connsiteX12" fmla="*/ 148363 w 154821"/>
                  <a:gd name="connsiteY12" fmla="*/ 219317 h 219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821" h="219316">
                    <a:moveTo>
                      <a:pt x="148363" y="219317"/>
                    </a:moveTo>
                    <a:cubicBezTo>
                      <a:pt x="144796" y="219317"/>
                      <a:pt x="141906" y="216427"/>
                      <a:pt x="141906" y="212859"/>
                    </a:cubicBezTo>
                    <a:lnTo>
                      <a:pt x="141906" y="129011"/>
                    </a:lnTo>
                    <a:cubicBezTo>
                      <a:pt x="141906" y="99593"/>
                      <a:pt x="116953" y="77410"/>
                      <a:pt x="83848" y="77410"/>
                    </a:cubicBezTo>
                    <a:lnTo>
                      <a:pt x="70953" y="77410"/>
                    </a:lnTo>
                    <a:cubicBezTo>
                      <a:pt x="31829" y="77410"/>
                      <a:pt x="0" y="45581"/>
                      <a:pt x="0" y="6458"/>
                    </a:cubicBezTo>
                    <a:cubicBezTo>
                      <a:pt x="0" y="2890"/>
                      <a:pt x="2890" y="0"/>
                      <a:pt x="6458" y="0"/>
                    </a:cubicBezTo>
                    <a:cubicBezTo>
                      <a:pt x="10025" y="0"/>
                      <a:pt x="12915" y="2890"/>
                      <a:pt x="12915" y="6458"/>
                    </a:cubicBezTo>
                    <a:cubicBezTo>
                      <a:pt x="12915" y="38466"/>
                      <a:pt x="38964" y="64515"/>
                      <a:pt x="70973" y="64515"/>
                    </a:cubicBezTo>
                    <a:lnTo>
                      <a:pt x="83868" y="64515"/>
                    </a:lnTo>
                    <a:cubicBezTo>
                      <a:pt x="124327" y="64515"/>
                      <a:pt x="154821" y="92239"/>
                      <a:pt x="154821" y="129011"/>
                    </a:cubicBezTo>
                    <a:lnTo>
                      <a:pt x="154821" y="212859"/>
                    </a:lnTo>
                    <a:cubicBezTo>
                      <a:pt x="154821" y="216427"/>
                      <a:pt x="151931" y="219317"/>
                      <a:pt x="148363" y="219317"/>
                    </a:cubicBezTo>
                    <a:close/>
                  </a:path>
                </a:pathLst>
              </a:custGeom>
              <a:solidFill>
                <a:schemeClr val="tx2"/>
              </a:solidFill>
              <a:ln w="1992" cap="flat">
                <a:noFill/>
                <a:prstDash val="solid"/>
                <a:miter/>
              </a:ln>
            </p:spPr>
            <p:txBody>
              <a:bodyPr rtlCol="0" anchor="ctr"/>
              <a:lstStyle/>
              <a:p>
                <a:endParaRPr lang="en-GB" dirty="0"/>
              </a:p>
            </p:txBody>
          </p:sp>
          <p:sp>
            <p:nvSpPr>
              <p:cNvPr id="275" name="Freihandform: Form 671">
                <a:extLst>
                  <a:ext uri="{FF2B5EF4-FFF2-40B4-BE49-F238E27FC236}">
                    <a16:creationId xmlns:a16="http://schemas.microsoft.com/office/drawing/2014/main" id="{32187A90-8052-4B54-99D1-E3833B33D1EF}"/>
                  </a:ext>
                </a:extLst>
              </p:cNvPr>
              <p:cNvSpPr/>
              <p:nvPr/>
            </p:nvSpPr>
            <p:spPr>
              <a:xfrm>
                <a:off x="8201103" y="2847409"/>
                <a:ext cx="19372" cy="70853"/>
              </a:xfrm>
              <a:custGeom>
                <a:avLst/>
                <a:gdLst>
                  <a:gd name="connsiteX0" fmla="*/ 6458 w 19372"/>
                  <a:gd name="connsiteY0" fmla="*/ 70853 h 70853"/>
                  <a:gd name="connsiteX1" fmla="*/ 0 w 19372"/>
                  <a:gd name="connsiteY1" fmla="*/ 64396 h 70853"/>
                  <a:gd name="connsiteX2" fmla="*/ 0 w 19372"/>
                  <a:gd name="connsiteY2" fmla="*/ 6458 h 70853"/>
                  <a:gd name="connsiteX3" fmla="*/ 6458 w 19372"/>
                  <a:gd name="connsiteY3" fmla="*/ 0 h 70853"/>
                  <a:gd name="connsiteX4" fmla="*/ 12915 w 19372"/>
                  <a:gd name="connsiteY4" fmla="*/ 0 h 70853"/>
                  <a:gd name="connsiteX5" fmla="*/ 19373 w 19372"/>
                  <a:gd name="connsiteY5" fmla="*/ 6458 h 70853"/>
                  <a:gd name="connsiteX6" fmla="*/ 12915 w 19372"/>
                  <a:gd name="connsiteY6" fmla="*/ 12915 h 70853"/>
                  <a:gd name="connsiteX7" fmla="*/ 12915 w 19372"/>
                  <a:gd name="connsiteY7" fmla="*/ 64416 h 70853"/>
                  <a:gd name="connsiteX8" fmla="*/ 6458 w 19372"/>
                  <a:gd name="connsiteY8" fmla="*/ 70853 h 70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72" h="70853">
                    <a:moveTo>
                      <a:pt x="6458" y="70853"/>
                    </a:moveTo>
                    <a:cubicBezTo>
                      <a:pt x="2890" y="70853"/>
                      <a:pt x="0" y="67963"/>
                      <a:pt x="0" y="64396"/>
                    </a:cubicBezTo>
                    <a:lnTo>
                      <a:pt x="0" y="6458"/>
                    </a:lnTo>
                    <a:cubicBezTo>
                      <a:pt x="0" y="2890"/>
                      <a:pt x="2890" y="0"/>
                      <a:pt x="6458" y="0"/>
                    </a:cubicBezTo>
                    <a:lnTo>
                      <a:pt x="12915" y="0"/>
                    </a:lnTo>
                    <a:cubicBezTo>
                      <a:pt x="16483" y="0"/>
                      <a:pt x="19373" y="2890"/>
                      <a:pt x="19373" y="6458"/>
                    </a:cubicBezTo>
                    <a:cubicBezTo>
                      <a:pt x="19373" y="10025"/>
                      <a:pt x="16483" y="12915"/>
                      <a:pt x="12915" y="12915"/>
                    </a:cubicBezTo>
                    <a:lnTo>
                      <a:pt x="12915" y="64416"/>
                    </a:lnTo>
                    <a:cubicBezTo>
                      <a:pt x="12915" y="67963"/>
                      <a:pt x="10025" y="70853"/>
                      <a:pt x="6458" y="70853"/>
                    </a:cubicBezTo>
                    <a:close/>
                  </a:path>
                </a:pathLst>
              </a:custGeom>
              <a:solidFill>
                <a:schemeClr val="tx2"/>
              </a:solidFill>
              <a:ln w="1992" cap="flat">
                <a:noFill/>
                <a:prstDash val="solid"/>
                <a:miter/>
              </a:ln>
            </p:spPr>
            <p:txBody>
              <a:bodyPr rtlCol="0" anchor="ctr"/>
              <a:lstStyle/>
              <a:p>
                <a:endParaRPr lang="en-GB" dirty="0"/>
              </a:p>
            </p:txBody>
          </p:sp>
          <p:sp>
            <p:nvSpPr>
              <p:cNvPr id="276" name="Freihandform: Form 672">
                <a:extLst>
                  <a:ext uri="{FF2B5EF4-FFF2-40B4-BE49-F238E27FC236}">
                    <a16:creationId xmlns:a16="http://schemas.microsoft.com/office/drawing/2014/main" id="{D1E04502-F3C3-4171-B86E-9A2FF84F9FE6}"/>
                  </a:ext>
                </a:extLst>
              </p:cNvPr>
              <p:cNvSpPr/>
              <p:nvPr/>
            </p:nvSpPr>
            <p:spPr>
              <a:xfrm>
                <a:off x="8123712" y="2660380"/>
                <a:ext cx="77410" cy="90285"/>
              </a:xfrm>
              <a:custGeom>
                <a:avLst/>
                <a:gdLst>
                  <a:gd name="connsiteX0" fmla="*/ 38705 w 77410"/>
                  <a:gd name="connsiteY0" fmla="*/ 90286 h 90285"/>
                  <a:gd name="connsiteX1" fmla="*/ 0 w 77410"/>
                  <a:gd name="connsiteY1" fmla="*/ 45143 h 90285"/>
                  <a:gd name="connsiteX2" fmla="*/ 38705 w 77410"/>
                  <a:gd name="connsiteY2" fmla="*/ 0 h 90285"/>
                  <a:gd name="connsiteX3" fmla="*/ 77411 w 77410"/>
                  <a:gd name="connsiteY3" fmla="*/ 45143 h 90285"/>
                  <a:gd name="connsiteX4" fmla="*/ 38705 w 77410"/>
                  <a:gd name="connsiteY4" fmla="*/ 90286 h 90285"/>
                  <a:gd name="connsiteX5" fmla="*/ 38705 w 77410"/>
                  <a:gd name="connsiteY5" fmla="*/ 12875 h 90285"/>
                  <a:gd name="connsiteX6" fmla="*/ 12895 w 77410"/>
                  <a:gd name="connsiteY6" fmla="*/ 45123 h 90285"/>
                  <a:gd name="connsiteX7" fmla="*/ 38705 w 77410"/>
                  <a:gd name="connsiteY7" fmla="*/ 77371 h 90285"/>
                  <a:gd name="connsiteX8" fmla="*/ 64516 w 77410"/>
                  <a:gd name="connsiteY8" fmla="*/ 45123 h 90285"/>
                  <a:gd name="connsiteX9" fmla="*/ 38705 w 77410"/>
                  <a:gd name="connsiteY9" fmla="*/ 12875 h 9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410" h="90285">
                    <a:moveTo>
                      <a:pt x="38705" y="90286"/>
                    </a:moveTo>
                    <a:cubicBezTo>
                      <a:pt x="15566" y="90286"/>
                      <a:pt x="0" y="72149"/>
                      <a:pt x="0" y="45143"/>
                    </a:cubicBezTo>
                    <a:cubicBezTo>
                      <a:pt x="0" y="18137"/>
                      <a:pt x="15546" y="0"/>
                      <a:pt x="38705" y="0"/>
                    </a:cubicBezTo>
                    <a:cubicBezTo>
                      <a:pt x="61865" y="0"/>
                      <a:pt x="77411" y="18137"/>
                      <a:pt x="77411" y="45143"/>
                    </a:cubicBezTo>
                    <a:cubicBezTo>
                      <a:pt x="77411" y="72149"/>
                      <a:pt x="61845" y="90286"/>
                      <a:pt x="38705" y="90286"/>
                    </a:cubicBezTo>
                    <a:close/>
                    <a:moveTo>
                      <a:pt x="38705" y="12875"/>
                    </a:moveTo>
                    <a:cubicBezTo>
                      <a:pt x="19691" y="12875"/>
                      <a:pt x="12895" y="29537"/>
                      <a:pt x="12895" y="45123"/>
                    </a:cubicBezTo>
                    <a:cubicBezTo>
                      <a:pt x="12895" y="60709"/>
                      <a:pt x="19672" y="77371"/>
                      <a:pt x="38705" y="77371"/>
                    </a:cubicBezTo>
                    <a:cubicBezTo>
                      <a:pt x="57719" y="77371"/>
                      <a:pt x="64516" y="60709"/>
                      <a:pt x="64516" y="45123"/>
                    </a:cubicBezTo>
                    <a:cubicBezTo>
                      <a:pt x="64496" y="29537"/>
                      <a:pt x="57719" y="12875"/>
                      <a:pt x="38705" y="12875"/>
                    </a:cubicBezTo>
                    <a:close/>
                  </a:path>
                </a:pathLst>
              </a:custGeom>
              <a:solidFill>
                <a:schemeClr val="tx2"/>
              </a:solidFill>
              <a:ln w="1992" cap="flat">
                <a:noFill/>
                <a:prstDash val="solid"/>
                <a:miter/>
              </a:ln>
            </p:spPr>
            <p:txBody>
              <a:bodyPr rtlCol="0" anchor="ctr"/>
              <a:lstStyle/>
              <a:p>
                <a:endParaRPr lang="en-GB" dirty="0"/>
              </a:p>
            </p:txBody>
          </p:sp>
          <p:sp>
            <p:nvSpPr>
              <p:cNvPr id="277" name="Freihandform: Form 673">
                <a:extLst>
                  <a:ext uri="{FF2B5EF4-FFF2-40B4-BE49-F238E27FC236}">
                    <a16:creationId xmlns:a16="http://schemas.microsoft.com/office/drawing/2014/main" id="{E248D753-660C-49DB-86AF-B4600BD06B82}"/>
                  </a:ext>
                </a:extLst>
              </p:cNvPr>
              <p:cNvSpPr/>
              <p:nvPr/>
            </p:nvSpPr>
            <p:spPr>
              <a:xfrm>
                <a:off x="7878546" y="2767106"/>
                <a:ext cx="50160" cy="151156"/>
              </a:xfrm>
              <a:custGeom>
                <a:avLst/>
                <a:gdLst>
                  <a:gd name="connsiteX0" fmla="*/ 6458 w 50160"/>
                  <a:gd name="connsiteY0" fmla="*/ 151156 h 151156"/>
                  <a:gd name="connsiteX1" fmla="*/ 0 w 50160"/>
                  <a:gd name="connsiteY1" fmla="*/ 144699 h 151156"/>
                  <a:gd name="connsiteX2" fmla="*/ 0 w 50160"/>
                  <a:gd name="connsiteY2" fmla="*/ 54493 h 151156"/>
                  <a:gd name="connsiteX3" fmla="*/ 2511 w 50160"/>
                  <a:gd name="connsiteY3" fmla="*/ 49371 h 151156"/>
                  <a:gd name="connsiteX4" fmla="*/ 37908 w 50160"/>
                  <a:gd name="connsiteY4" fmla="*/ 3610 h 151156"/>
                  <a:gd name="connsiteX5" fmla="*/ 46538 w 50160"/>
                  <a:gd name="connsiteY5" fmla="*/ 640 h 151156"/>
                  <a:gd name="connsiteX6" fmla="*/ 49508 w 50160"/>
                  <a:gd name="connsiteY6" fmla="*/ 9270 h 151156"/>
                  <a:gd name="connsiteX7" fmla="*/ 12895 w 50160"/>
                  <a:gd name="connsiteY7" fmla="*/ 57522 h 151156"/>
                  <a:gd name="connsiteX8" fmla="*/ 12895 w 50160"/>
                  <a:gd name="connsiteY8" fmla="*/ 144679 h 151156"/>
                  <a:gd name="connsiteX9" fmla="*/ 6458 w 50160"/>
                  <a:gd name="connsiteY9" fmla="*/ 151156 h 151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160" h="151156">
                    <a:moveTo>
                      <a:pt x="6458" y="151156"/>
                    </a:moveTo>
                    <a:cubicBezTo>
                      <a:pt x="2890" y="151156"/>
                      <a:pt x="0" y="148266"/>
                      <a:pt x="0" y="144699"/>
                    </a:cubicBezTo>
                    <a:lnTo>
                      <a:pt x="0" y="54493"/>
                    </a:lnTo>
                    <a:cubicBezTo>
                      <a:pt x="0" y="52500"/>
                      <a:pt x="937" y="50606"/>
                      <a:pt x="2511" y="49371"/>
                    </a:cubicBezTo>
                    <a:cubicBezTo>
                      <a:pt x="2711" y="49211"/>
                      <a:pt x="23558" y="32948"/>
                      <a:pt x="37908" y="3610"/>
                    </a:cubicBezTo>
                    <a:cubicBezTo>
                      <a:pt x="39482" y="421"/>
                      <a:pt x="43349" y="-894"/>
                      <a:pt x="46538" y="640"/>
                    </a:cubicBezTo>
                    <a:cubicBezTo>
                      <a:pt x="49747" y="2215"/>
                      <a:pt x="51062" y="6061"/>
                      <a:pt x="49508" y="9270"/>
                    </a:cubicBezTo>
                    <a:cubicBezTo>
                      <a:pt x="36652" y="35559"/>
                      <a:pt x="19353" y="51962"/>
                      <a:pt x="12895" y="57522"/>
                    </a:cubicBezTo>
                    <a:lnTo>
                      <a:pt x="12895" y="144679"/>
                    </a:lnTo>
                    <a:cubicBezTo>
                      <a:pt x="12895" y="148266"/>
                      <a:pt x="10025" y="151156"/>
                      <a:pt x="6458" y="151156"/>
                    </a:cubicBezTo>
                    <a:close/>
                  </a:path>
                </a:pathLst>
              </a:custGeom>
              <a:solidFill>
                <a:schemeClr val="tx2"/>
              </a:solidFill>
              <a:ln w="1992" cap="flat">
                <a:noFill/>
                <a:prstDash val="solid"/>
                <a:miter/>
              </a:ln>
            </p:spPr>
            <p:txBody>
              <a:bodyPr rtlCol="0" anchor="ctr"/>
              <a:lstStyle/>
              <a:p>
                <a:endParaRPr lang="en-GB" dirty="0"/>
              </a:p>
            </p:txBody>
          </p:sp>
          <p:sp>
            <p:nvSpPr>
              <p:cNvPr id="278" name="Freihandform: Form 674">
                <a:extLst>
                  <a:ext uri="{FF2B5EF4-FFF2-40B4-BE49-F238E27FC236}">
                    <a16:creationId xmlns:a16="http://schemas.microsoft.com/office/drawing/2014/main" id="{DF48BFA7-A3CA-4D4A-9070-CC20BA14B8B1}"/>
                  </a:ext>
                </a:extLst>
              </p:cNvPr>
              <p:cNvSpPr/>
              <p:nvPr/>
            </p:nvSpPr>
            <p:spPr>
              <a:xfrm>
                <a:off x="7755992" y="2699045"/>
                <a:ext cx="154821" cy="219316"/>
              </a:xfrm>
              <a:custGeom>
                <a:avLst/>
                <a:gdLst>
                  <a:gd name="connsiteX0" fmla="*/ 6458 w 154821"/>
                  <a:gd name="connsiteY0" fmla="*/ 219317 h 219316"/>
                  <a:gd name="connsiteX1" fmla="*/ 0 w 154821"/>
                  <a:gd name="connsiteY1" fmla="*/ 212859 h 219316"/>
                  <a:gd name="connsiteX2" fmla="*/ 0 w 154821"/>
                  <a:gd name="connsiteY2" fmla="*/ 129011 h 219316"/>
                  <a:gd name="connsiteX3" fmla="*/ 70953 w 154821"/>
                  <a:gd name="connsiteY3" fmla="*/ 64515 h 219316"/>
                  <a:gd name="connsiteX4" fmla="*/ 83848 w 154821"/>
                  <a:gd name="connsiteY4" fmla="*/ 64515 h 219316"/>
                  <a:gd name="connsiteX5" fmla="*/ 141906 w 154821"/>
                  <a:gd name="connsiteY5" fmla="*/ 6458 h 219316"/>
                  <a:gd name="connsiteX6" fmla="*/ 148364 w 154821"/>
                  <a:gd name="connsiteY6" fmla="*/ 0 h 219316"/>
                  <a:gd name="connsiteX7" fmla="*/ 154821 w 154821"/>
                  <a:gd name="connsiteY7" fmla="*/ 6458 h 219316"/>
                  <a:gd name="connsiteX8" fmla="*/ 83868 w 154821"/>
                  <a:gd name="connsiteY8" fmla="*/ 77410 h 219316"/>
                  <a:gd name="connsiteX9" fmla="*/ 70973 w 154821"/>
                  <a:gd name="connsiteY9" fmla="*/ 77410 h 219316"/>
                  <a:gd name="connsiteX10" fmla="*/ 12915 w 154821"/>
                  <a:gd name="connsiteY10" fmla="*/ 129011 h 219316"/>
                  <a:gd name="connsiteX11" fmla="*/ 12915 w 154821"/>
                  <a:gd name="connsiteY11" fmla="*/ 212859 h 219316"/>
                  <a:gd name="connsiteX12" fmla="*/ 6458 w 154821"/>
                  <a:gd name="connsiteY12" fmla="*/ 219317 h 219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821" h="219316">
                    <a:moveTo>
                      <a:pt x="6458" y="219317"/>
                    </a:moveTo>
                    <a:cubicBezTo>
                      <a:pt x="2890" y="219317"/>
                      <a:pt x="0" y="216427"/>
                      <a:pt x="0" y="212859"/>
                    </a:cubicBezTo>
                    <a:lnTo>
                      <a:pt x="0" y="129011"/>
                    </a:lnTo>
                    <a:cubicBezTo>
                      <a:pt x="0" y="92239"/>
                      <a:pt x="30494" y="64515"/>
                      <a:pt x="70953" y="64515"/>
                    </a:cubicBezTo>
                    <a:lnTo>
                      <a:pt x="83848" y="64515"/>
                    </a:lnTo>
                    <a:cubicBezTo>
                      <a:pt x="115857" y="64515"/>
                      <a:pt x="141906" y="38466"/>
                      <a:pt x="141906" y="6458"/>
                    </a:cubicBezTo>
                    <a:cubicBezTo>
                      <a:pt x="141906" y="2890"/>
                      <a:pt x="144796" y="0"/>
                      <a:pt x="148364" y="0"/>
                    </a:cubicBezTo>
                    <a:cubicBezTo>
                      <a:pt x="151931" y="0"/>
                      <a:pt x="154821" y="2890"/>
                      <a:pt x="154821" y="6458"/>
                    </a:cubicBezTo>
                    <a:cubicBezTo>
                      <a:pt x="154821" y="45581"/>
                      <a:pt x="122992" y="77410"/>
                      <a:pt x="83868" y="77410"/>
                    </a:cubicBezTo>
                    <a:lnTo>
                      <a:pt x="70973" y="77410"/>
                    </a:lnTo>
                    <a:cubicBezTo>
                      <a:pt x="37868" y="77410"/>
                      <a:pt x="12915" y="99593"/>
                      <a:pt x="12915" y="129011"/>
                    </a:cubicBezTo>
                    <a:lnTo>
                      <a:pt x="12915" y="212859"/>
                    </a:lnTo>
                    <a:cubicBezTo>
                      <a:pt x="12895" y="216427"/>
                      <a:pt x="10025" y="219317"/>
                      <a:pt x="6458" y="219317"/>
                    </a:cubicBezTo>
                    <a:close/>
                  </a:path>
                </a:pathLst>
              </a:custGeom>
              <a:solidFill>
                <a:schemeClr val="tx2"/>
              </a:solidFill>
              <a:ln w="1992" cap="flat">
                <a:noFill/>
                <a:prstDash val="solid"/>
                <a:miter/>
              </a:ln>
            </p:spPr>
            <p:txBody>
              <a:bodyPr rtlCol="0" anchor="ctr"/>
              <a:lstStyle/>
              <a:p>
                <a:endParaRPr lang="en-GB" dirty="0"/>
              </a:p>
            </p:txBody>
          </p:sp>
          <p:sp>
            <p:nvSpPr>
              <p:cNvPr id="279" name="Freihandform: Form 675">
                <a:extLst>
                  <a:ext uri="{FF2B5EF4-FFF2-40B4-BE49-F238E27FC236}">
                    <a16:creationId xmlns:a16="http://schemas.microsoft.com/office/drawing/2014/main" id="{84A8FF27-7D76-4D80-AC0D-EEE230CC6E6D}"/>
                  </a:ext>
                </a:extLst>
              </p:cNvPr>
              <p:cNvSpPr/>
              <p:nvPr/>
            </p:nvSpPr>
            <p:spPr>
              <a:xfrm>
                <a:off x="7781782" y="2847389"/>
                <a:ext cx="19372" cy="70873"/>
              </a:xfrm>
              <a:custGeom>
                <a:avLst/>
                <a:gdLst>
                  <a:gd name="connsiteX0" fmla="*/ 12915 w 19372"/>
                  <a:gd name="connsiteY0" fmla="*/ 70873 h 70873"/>
                  <a:gd name="connsiteX1" fmla="*/ 6458 w 19372"/>
                  <a:gd name="connsiteY1" fmla="*/ 64416 h 70873"/>
                  <a:gd name="connsiteX2" fmla="*/ 6458 w 19372"/>
                  <a:gd name="connsiteY2" fmla="*/ 12915 h 70873"/>
                  <a:gd name="connsiteX3" fmla="*/ 0 w 19372"/>
                  <a:gd name="connsiteY3" fmla="*/ 6458 h 70873"/>
                  <a:gd name="connsiteX4" fmla="*/ 6458 w 19372"/>
                  <a:gd name="connsiteY4" fmla="*/ 0 h 70873"/>
                  <a:gd name="connsiteX5" fmla="*/ 12915 w 19372"/>
                  <a:gd name="connsiteY5" fmla="*/ 0 h 70873"/>
                  <a:gd name="connsiteX6" fmla="*/ 19373 w 19372"/>
                  <a:gd name="connsiteY6" fmla="*/ 6458 h 70873"/>
                  <a:gd name="connsiteX7" fmla="*/ 19373 w 19372"/>
                  <a:gd name="connsiteY7" fmla="*/ 64396 h 70873"/>
                  <a:gd name="connsiteX8" fmla="*/ 12915 w 19372"/>
                  <a:gd name="connsiteY8" fmla="*/ 70873 h 70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72" h="70873">
                    <a:moveTo>
                      <a:pt x="12915" y="70873"/>
                    </a:moveTo>
                    <a:cubicBezTo>
                      <a:pt x="9347" y="70873"/>
                      <a:pt x="6458" y="67983"/>
                      <a:pt x="6458" y="64416"/>
                    </a:cubicBezTo>
                    <a:lnTo>
                      <a:pt x="6458" y="12915"/>
                    </a:lnTo>
                    <a:cubicBezTo>
                      <a:pt x="2890" y="12915"/>
                      <a:pt x="0" y="10025"/>
                      <a:pt x="0" y="6458"/>
                    </a:cubicBezTo>
                    <a:cubicBezTo>
                      <a:pt x="0" y="2890"/>
                      <a:pt x="2890" y="0"/>
                      <a:pt x="6458" y="0"/>
                    </a:cubicBezTo>
                    <a:lnTo>
                      <a:pt x="12915" y="0"/>
                    </a:lnTo>
                    <a:cubicBezTo>
                      <a:pt x="16483" y="0"/>
                      <a:pt x="19373" y="2890"/>
                      <a:pt x="19373" y="6458"/>
                    </a:cubicBezTo>
                    <a:lnTo>
                      <a:pt x="19373" y="64396"/>
                    </a:lnTo>
                    <a:cubicBezTo>
                      <a:pt x="19373" y="67983"/>
                      <a:pt x="16483" y="70873"/>
                      <a:pt x="12915" y="70873"/>
                    </a:cubicBezTo>
                    <a:close/>
                  </a:path>
                </a:pathLst>
              </a:custGeom>
              <a:solidFill>
                <a:schemeClr val="tx2"/>
              </a:solidFill>
              <a:ln w="1992" cap="flat">
                <a:noFill/>
                <a:prstDash val="solid"/>
                <a:miter/>
              </a:ln>
            </p:spPr>
            <p:txBody>
              <a:bodyPr rtlCol="0" anchor="ctr"/>
              <a:lstStyle/>
              <a:p>
                <a:endParaRPr lang="en-GB" dirty="0"/>
              </a:p>
            </p:txBody>
          </p:sp>
          <p:sp>
            <p:nvSpPr>
              <p:cNvPr id="280" name="Freihandform: Form 676">
                <a:extLst>
                  <a:ext uri="{FF2B5EF4-FFF2-40B4-BE49-F238E27FC236}">
                    <a16:creationId xmlns:a16="http://schemas.microsoft.com/office/drawing/2014/main" id="{DA21A0D8-A5E6-4A57-94D4-1CF0A4960EAD}"/>
                  </a:ext>
                </a:extLst>
              </p:cNvPr>
              <p:cNvSpPr/>
              <p:nvPr/>
            </p:nvSpPr>
            <p:spPr>
              <a:xfrm>
                <a:off x="7801135" y="2660380"/>
                <a:ext cx="77410" cy="90285"/>
              </a:xfrm>
              <a:custGeom>
                <a:avLst/>
                <a:gdLst>
                  <a:gd name="connsiteX0" fmla="*/ 38705 w 77410"/>
                  <a:gd name="connsiteY0" fmla="*/ 90286 h 90285"/>
                  <a:gd name="connsiteX1" fmla="*/ 0 w 77410"/>
                  <a:gd name="connsiteY1" fmla="*/ 45143 h 90285"/>
                  <a:gd name="connsiteX2" fmla="*/ 38705 w 77410"/>
                  <a:gd name="connsiteY2" fmla="*/ 0 h 90285"/>
                  <a:gd name="connsiteX3" fmla="*/ 77411 w 77410"/>
                  <a:gd name="connsiteY3" fmla="*/ 45143 h 90285"/>
                  <a:gd name="connsiteX4" fmla="*/ 38705 w 77410"/>
                  <a:gd name="connsiteY4" fmla="*/ 90286 h 90285"/>
                  <a:gd name="connsiteX5" fmla="*/ 38705 w 77410"/>
                  <a:gd name="connsiteY5" fmla="*/ 12875 h 90285"/>
                  <a:gd name="connsiteX6" fmla="*/ 12895 w 77410"/>
                  <a:gd name="connsiteY6" fmla="*/ 45123 h 90285"/>
                  <a:gd name="connsiteX7" fmla="*/ 38705 w 77410"/>
                  <a:gd name="connsiteY7" fmla="*/ 77371 h 90285"/>
                  <a:gd name="connsiteX8" fmla="*/ 64515 w 77410"/>
                  <a:gd name="connsiteY8" fmla="*/ 45123 h 90285"/>
                  <a:gd name="connsiteX9" fmla="*/ 38705 w 77410"/>
                  <a:gd name="connsiteY9" fmla="*/ 12875 h 9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410" h="90285">
                    <a:moveTo>
                      <a:pt x="38705" y="90286"/>
                    </a:moveTo>
                    <a:cubicBezTo>
                      <a:pt x="15566" y="90286"/>
                      <a:pt x="0" y="72149"/>
                      <a:pt x="0" y="45143"/>
                    </a:cubicBezTo>
                    <a:cubicBezTo>
                      <a:pt x="0" y="18137"/>
                      <a:pt x="15546" y="0"/>
                      <a:pt x="38705" y="0"/>
                    </a:cubicBezTo>
                    <a:cubicBezTo>
                      <a:pt x="61845" y="0"/>
                      <a:pt x="77411" y="18137"/>
                      <a:pt x="77411" y="45143"/>
                    </a:cubicBezTo>
                    <a:cubicBezTo>
                      <a:pt x="77411" y="72149"/>
                      <a:pt x="61865" y="90286"/>
                      <a:pt x="38705" y="90286"/>
                    </a:cubicBezTo>
                    <a:close/>
                    <a:moveTo>
                      <a:pt x="38705" y="12875"/>
                    </a:moveTo>
                    <a:cubicBezTo>
                      <a:pt x="19691" y="12875"/>
                      <a:pt x="12895" y="29537"/>
                      <a:pt x="12895" y="45123"/>
                    </a:cubicBezTo>
                    <a:cubicBezTo>
                      <a:pt x="12895" y="60709"/>
                      <a:pt x="19672" y="77371"/>
                      <a:pt x="38705" y="77371"/>
                    </a:cubicBezTo>
                    <a:cubicBezTo>
                      <a:pt x="57719" y="77371"/>
                      <a:pt x="64515" y="60709"/>
                      <a:pt x="64515" y="45123"/>
                    </a:cubicBezTo>
                    <a:cubicBezTo>
                      <a:pt x="64515" y="29537"/>
                      <a:pt x="57739" y="12875"/>
                      <a:pt x="38705" y="12875"/>
                    </a:cubicBezTo>
                    <a:close/>
                  </a:path>
                </a:pathLst>
              </a:custGeom>
              <a:solidFill>
                <a:schemeClr val="tx2"/>
              </a:solidFill>
              <a:ln w="1992" cap="flat">
                <a:noFill/>
                <a:prstDash val="solid"/>
                <a:miter/>
              </a:ln>
            </p:spPr>
            <p:txBody>
              <a:bodyPr rtlCol="0" anchor="ctr"/>
              <a:lstStyle/>
              <a:p>
                <a:endParaRPr lang="en-GB" dirty="0"/>
              </a:p>
            </p:txBody>
          </p:sp>
        </p:grpSp>
        <p:grpSp>
          <p:nvGrpSpPr>
            <p:cNvPr id="267" name="Group 266">
              <a:extLst>
                <a:ext uri="{FF2B5EF4-FFF2-40B4-BE49-F238E27FC236}">
                  <a16:creationId xmlns:a16="http://schemas.microsoft.com/office/drawing/2014/main" id="{23B954D3-1180-4565-B80C-D5EC88C6D5DE}"/>
                </a:ext>
              </a:extLst>
            </p:cNvPr>
            <p:cNvGrpSpPr/>
            <p:nvPr/>
          </p:nvGrpSpPr>
          <p:grpSpPr>
            <a:xfrm>
              <a:off x="7814904" y="2497140"/>
              <a:ext cx="375077" cy="421142"/>
              <a:chOff x="7814904" y="2497140"/>
              <a:chExt cx="375077" cy="421142"/>
            </a:xfrm>
            <a:solidFill>
              <a:schemeClr val="accent1"/>
            </a:solidFill>
          </p:grpSpPr>
          <p:grpSp>
            <p:nvGrpSpPr>
              <p:cNvPr id="268" name="Grafik 336">
                <a:extLst>
                  <a:ext uri="{FF2B5EF4-FFF2-40B4-BE49-F238E27FC236}">
                    <a16:creationId xmlns:a16="http://schemas.microsoft.com/office/drawing/2014/main" id="{58173058-10F1-4AA9-B3F8-585EE280944F}"/>
                  </a:ext>
                </a:extLst>
              </p:cNvPr>
              <p:cNvGrpSpPr/>
              <p:nvPr/>
            </p:nvGrpSpPr>
            <p:grpSpPr>
              <a:xfrm>
                <a:off x="7814904" y="2497140"/>
                <a:ext cx="375077" cy="135794"/>
                <a:chOff x="7814904" y="2497140"/>
                <a:chExt cx="375077" cy="135794"/>
              </a:xfrm>
              <a:solidFill>
                <a:schemeClr val="accent1"/>
              </a:solidFill>
            </p:grpSpPr>
            <p:sp>
              <p:nvSpPr>
                <p:cNvPr id="271" name="Freihandform: Form 666">
                  <a:extLst>
                    <a:ext uri="{FF2B5EF4-FFF2-40B4-BE49-F238E27FC236}">
                      <a16:creationId xmlns:a16="http://schemas.microsoft.com/office/drawing/2014/main" id="{19960AE5-ACF9-4B30-9B80-0C05F4F4D8CD}"/>
                    </a:ext>
                  </a:extLst>
                </p:cNvPr>
                <p:cNvSpPr/>
                <p:nvPr/>
              </p:nvSpPr>
              <p:spPr>
                <a:xfrm>
                  <a:off x="7814904" y="2497140"/>
                  <a:ext cx="375038" cy="135794"/>
                </a:xfrm>
                <a:custGeom>
                  <a:avLst/>
                  <a:gdLst>
                    <a:gd name="connsiteX0" fmla="*/ 6461 w 375038"/>
                    <a:gd name="connsiteY0" fmla="*/ 135795 h 135794"/>
                    <a:gd name="connsiteX1" fmla="*/ 900 w 375038"/>
                    <a:gd name="connsiteY1" fmla="*/ 132646 h 135794"/>
                    <a:gd name="connsiteX2" fmla="*/ 3152 w 375038"/>
                    <a:gd name="connsiteY2" fmla="*/ 123797 h 135794"/>
                    <a:gd name="connsiteX3" fmla="*/ 99776 w 375038"/>
                    <a:gd name="connsiteY3" fmla="*/ 66496 h 135794"/>
                    <a:gd name="connsiteX4" fmla="*/ 106074 w 375038"/>
                    <a:gd name="connsiteY4" fmla="*/ 66337 h 135794"/>
                    <a:gd name="connsiteX5" fmla="*/ 182946 w 375038"/>
                    <a:gd name="connsiteY5" fmla="*/ 106896 h 135794"/>
                    <a:gd name="connsiteX6" fmla="*/ 237536 w 375038"/>
                    <a:gd name="connsiteY6" fmla="*/ 34288 h 135794"/>
                    <a:gd name="connsiteX7" fmla="*/ 241801 w 375038"/>
                    <a:gd name="connsiteY7" fmla="*/ 31777 h 135794"/>
                    <a:gd name="connsiteX8" fmla="*/ 246585 w 375038"/>
                    <a:gd name="connsiteY8" fmla="*/ 33033 h 135794"/>
                    <a:gd name="connsiteX9" fmla="*/ 300019 w 375038"/>
                    <a:gd name="connsiteY9" fmla="*/ 73591 h 135794"/>
                    <a:gd name="connsiteX10" fmla="*/ 363777 w 375038"/>
                    <a:gd name="connsiteY10" fmla="*/ 2160 h 135794"/>
                    <a:gd name="connsiteX11" fmla="*/ 372885 w 375038"/>
                    <a:gd name="connsiteY11" fmla="*/ 1642 h 135794"/>
                    <a:gd name="connsiteX12" fmla="*/ 373403 w 375038"/>
                    <a:gd name="connsiteY12" fmla="*/ 10750 h 135794"/>
                    <a:gd name="connsiteX13" fmla="*/ 305679 w 375038"/>
                    <a:gd name="connsiteY13" fmla="*/ 86626 h 135794"/>
                    <a:gd name="connsiteX14" fmla="*/ 296969 w 375038"/>
                    <a:gd name="connsiteY14" fmla="*/ 87463 h 135794"/>
                    <a:gd name="connsiteX15" fmla="*/ 243954 w 375038"/>
                    <a:gd name="connsiteY15" fmla="*/ 47223 h 135794"/>
                    <a:gd name="connsiteX16" fmla="*/ 189942 w 375038"/>
                    <a:gd name="connsiteY16" fmla="*/ 119033 h 135794"/>
                    <a:gd name="connsiteX17" fmla="*/ 181770 w 375038"/>
                    <a:gd name="connsiteY17" fmla="*/ 120867 h 135794"/>
                    <a:gd name="connsiteX18" fmla="*/ 103224 w 375038"/>
                    <a:gd name="connsiteY18" fmla="*/ 79411 h 135794"/>
                    <a:gd name="connsiteX19" fmla="*/ 9709 w 375038"/>
                    <a:gd name="connsiteY19" fmla="*/ 134878 h 135794"/>
                    <a:gd name="connsiteX20" fmla="*/ 6461 w 375038"/>
                    <a:gd name="connsiteY20" fmla="*/ 135795 h 135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75038" h="135794">
                      <a:moveTo>
                        <a:pt x="6461" y="135795"/>
                      </a:moveTo>
                      <a:cubicBezTo>
                        <a:pt x="4248" y="135795"/>
                        <a:pt x="2116" y="134659"/>
                        <a:pt x="900" y="132646"/>
                      </a:cubicBezTo>
                      <a:cubicBezTo>
                        <a:pt x="-914" y="129577"/>
                        <a:pt x="103" y="125630"/>
                        <a:pt x="3152" y="123797"/>
                      </a:cubicBezTo>
                      <a:lnTo>
                        <a:pt x="99776" y="66496"/>
                      </a:lnTo>
                      <a:cubicBezTo>
                        <a:pt x="101709" y="65360"/>
                        <a:pt x="104081" y="65300"/>
                        <a:pt x="106074" y="66337"/>
                      </a:cubicBezTo>
                      <a:lnTo>
                        <a:pt x="182946" y="106896"/>
                      </a:lnTo>
                      <a:lnTo>
                        <a:pt x="237536" y="34288"/>
                      </a:lnTo>
                      <a:cubicBezTo>
                        <a:pt x="238572" y="32913"/>
                        <a:pt x="240107" y="32016"/>
                        <a:pt x="241801" y="31777"/>
                      </a:cubicBezTo>
                      <a:cubicBezTo>
                        <a:pt x="243476" y="31518"/>
                        <a:pt x="245229" y="31996"/>
                        <a:pt x="246585" y="33033"/>
                      </a:cubicBezTo>
                      <a:lnTo>
                        <a:pt x="300019" y="73591"/>
                      </a:lnTo>
                      <a:lnTo>
                        <a:pt x="363777" y="2160"/>
                      </a:lnTo>
                      <a:cubicBezTo>
                        <a:pt x="366148" y="-511"/>
                        <a:pt x="370234" y="-730"/>
                        <a:pt x="372885" y="1642"/>
                      </a:cubicBezTo>
                      <a:cubicBezTo>
                        <a:pt x="375536" y="4014"/>
                        <a:pt x="375775" y="8099"/>
                        <a:pt x="373403" y="10750"/>
                      </a:cubicBezTo>
                      <a:lnTo>
                        <a:pt x="305679" y="86626"/>
                      </a:lnTo>
                      <a:cubicBezTo>
                        <a:pt x="303447" y="89137"/>
                        <a:pt x="299640" y="89496"/>
                        <a:pt x="296969" y="87463"/>
                      </a:cubicBezTo>
                      <a:lnTo>
                        <a:pt x="243954" y="47223"/>
                      </a:lnTo>
                      <a:lnTo>
                        <a:pt x="189942" y="119033"/>
                      </a:lnTo>
                      <a:cubicBezTo>
                        <a:pt x="188048" y="121565"/>
                        <a:pt x="184580" y="122342"/>
                        <a:pt x="181770" y="120867"/>
                      </a:cubicBezTo>
                      <a:lnTo>
                        <a:pt x="103224" y="79411"/>
                      </a:lnTo>
                      <a:lnTo>
                        <a:pt x="9709" y="134878"/>
                      </a:lnTo>
                      <a:cubicBezTo>
                        <a:pt x="8713" y="135516"/>
                        <a:pt x="7577" y="135795"/>
                        <a:pt x="6461" y="135795"/>
                      </a:cubicBezTo>
                      <a:close/>
                    </a:path>
                  </a:pathLst>
                </a:custGeom>
                <a:solidFill>
                  <a:schemeClr val="accent1"/>
                </a:solidFill>
                <a:ln w="1992" cap="flat">
                  <a:noFill/>
                  <a:prstDash val="solid"/>
                  <a:miter/>
                </a:ln>
              </p:spPr>
              <p:txBody>
                <a:bodyPr rtlCol="0" anchor="ctr"/>
                <a:lstStyle/>
                <a:p>
                  <a:endParaRPr lang="en-GB" dirty="0"/>
                </a:p>
              </p:txBody>
            </p:sp>
            <p:sp>
              <p:nvSpPr>
                <p:cNvPr id="272" name="Freihandform: Form 667">
                  <a:extLst>
                    <a:ext uri="{FF2B5EF4-FFF2-40B4-BE49-F238E27FC236}">
                      <a16:creationId xmlns:a16="http://schemas.microsoft.com/office/drawing/2014/main" id="{C2A3456C-34D3-4E72-BDE7-B376C215F3C9}"/>
                    </a:ext>
                  </a:extLst>
                </p:cNvPr>
                <p:cNvSpPr/>
                <p:nvPr/>
              </p:nvSpPr>
              <p:spPr>
                <a:xfrm>
                  <a:off x="8148267" y="2497148"/>
                  <a:ext cx="41714" cy="41714"/>
                </a:xfrm>
                <a:custGeom>
                  <a:avLst/>
                  <a:gdLst>
                    <a:gd name="connsiteX0" fmla="*/ 35257 w 41714"/>
                    <a:gd name="connsiteY0" fmla="*/ 41715 h 41714"/>
                    <a:gd name="connsiteX1" fmla="*/ 28800 w 41714"/>
                    <a:gd name="connsiteY1" fmla="*/ 35257 h 41714"/>
                    <a:gd name="connsiteX2" fmla="*/ 28800 w 41714"/>
                    <a:gd name="connsiteY2" fmla="*/ 12915 h 41714"/>
                    <a:gd name="connsiteX3" fmla="*/ 6458 w 41714"/>
                    <a:gd name="connsiteY3" fmla="*/ 12915 h 41714"/>
                    <a:gd name="connsiteX4" fmla="*/ 0 w 41714"/>
                    <a:gd name="connsiteY4" fmla="*/ 6458 h 41714"/>
                    <a:gd name="connsiteX5" fmla="*/ 6458 w 41714"/>
                    <a:gd name="connsiteY5" fmla="*/ 0 h 41714"/>
                    <a:gd name="connsiteX6" fmla="*/ 35257 w 41714"/>
                    <a:gd name="connsiteY6" fmla="*/ 0 h 41714"/>
                    <a:gd name="connsiteX7" fmla="*/ 41715 w 41714"/>
                    <a:gd name="connsiteY7" fmla="*/ 6458 h 41714"/>
                    <a:gd name="connsiteX8" fmla="*/ 41715 w 41714"/>
                    <a:gd name="connsiteY8" fmla="*/ 35257 h 41714"/>
                    <a:gd name="connsiteX9" fmla="*/ 35257 w 41714"/>
                    <a:gd name="connsiteY9" fmla="*/ 41715 h 4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714" h="41714">
                      <a:moveTo>
                        <a:pt x="35257" y="41715"/>
                      </a:moveTo>
                      <a:cubicBezTo>
                        <a:pt x="31690" y="41715"/>
                        <a:pt x="28800" y="38825"/>
                        <a:pt x="28800" y="35257"/>
                      </a:cubicBezTo>
                      <a:lnTo>
                        <a:pt x="28800" y="12915"/>
                      </a:lnTo>
                      <a:lnTo>
                        <a:pt x="6458" y="12915"/>
                      </a:lnTo>
                      <a:cubicBezTo>
                        <a:pt x="2890" y="12915"/>
                        <a:pt x="0" y="10025"/>
                        <a:pt x="0" y="6458"/>
                      </a:cubicBezTo>
                      <a:cubicBezTo>
                        <a:pt x="0" y="2890"/>
                        <a:pt x="2890" y="0"/>
                        <a:pt x="6458" y="0"/>
                      </a:cubicBezTo>
                      <a:lnTo>
                        <a:pt x="35257" y="0"/>
                      </a:lnTo>
                      <a:cubicBezTo>
                        <a:pt x="38825" y="0"/>
                        <a:pt x="41715" y="2890"/>
                        <a:pt x="41715" y="6458"/>
                      </a:cubicBezTo>
                      <a:lnTo>
                        <a:pt x="41715" y="35257"/>
                      </a:lnTo>
                      <a:cubicBezTo>
                        <a:pt x="41695" y="38825"/>
                        <a:pt x="38805" y="41715"/>
                        <a:pt x="35257" y="41715"/>
                      </a:cubicBezTo>
                      <a:close/>
                    </a:path>
                  </a:pathLst>
                </a:custGeom>
                <a:solidFill>
                  <a:schemeClr val="accent1"/>
                </a:solidFill>
                <a:ln w="1992" cap="flat">
                  <a:noFill/>
                  <a:prstDash val="solid"/>
                  <a:miter/>
                </a:ln>
              </p:spPr>
              <p:txBody>
                <a:bodyPr rtlCol="0" anchor="ctr"/>
                <a:lstStyle/>
                <a:p>
                  <a:endParaRPr lang="en-GB" dirty="0"/>
                </a:p>
              </p:txBody>
            </p:sp>
          </p:grpSp>
          <p:sp>
            <p:nvSpPr>
              <p:cNvPr id="269" name="Freihandform: Form 677">
                <a:extLst>
                  <a:ext uri="{FF2B5EF4-FFF2-40B4-BE49-F238E27FC236}">
                    <a16:creationId xmlns:a16="http://schemas.microsoft.com/office/drawing/2014/main" id="{3A33F396-8107-46EC-9A85-725AB5746D4D}"/>
                  </a:ext>
                </a:extLst>
              </p:cNvPr>
              <p:cNvSpPr/>
              <p:nvPr/>
            </p:nvSpPr>
            <p:spPr>
              <a:xfrm>
                <a:off x="7897938" y="2628132"/>
                <a:ext cx="206421" cy="290150"/>
              </a:xfrm>
              <a:custGeom>
                <a:avLst/>
                <a:gdLst>
                  <a:gd name="connsiteX0" fmla="*/ 154821 w 206421"/>
                  <a:gd name="connsiteY0" fmla="*/ 290130 h 290150"/>
                  <a:gd name="connsiteX1" fmla="*/ 148363 w 206421"/>
                  <a:gd name="connsiteY1" fmla="*/ 283673 h 290150"/>
                  <a:gd name="connsiteX2" fmla="*/ 148363 w 206421"/>
                  <a:gd name="connsiteY2" fmla="*/ 174134 h 290150"/>
                  <a:gd name="connsiteX3" fmla="*/ 150994 w 206421"/>
                  <a:gd name="connsiteY3" fmla="*/ 168932 h 290150"/>
                  <a:gd name="connsiteX4" fmla="*/ 193506 w 206421"/>
                  <a:gd name="connsiteY4" fmla="*/ 70933 h 290150"/>
                  <a:gd name="connsiteX5" fmla="*/ 193506 w 206421"/>
                  <a:gd name="connsiteY5" fmla="*/ 22561 h 290150"/>
                  <a:gd name="connsiteX6" fmla="*/ 183840 w 206421"/>
                  <a:gd name="connsiteY6" fmla="*/ 12895 h 290150"/>
                  <a:gd name="connsiteX7" fmla="*/ 174174 w 206421"/>
                  <a:gd name="connsiteY7" fmla="*/ 22561 h 290150"/>
                  <a:gd name="connsiteX8" fmla="*/ 174174 w 206421"/>
                  <a:gd name="connsiteY8" fmla="*/ 64495 h 290150"/>
                  <a:gd name="connsiteX9" fmla="*/ 151732 w 206421"/>
                  <a:gd name="connsiteY9" fmla="*/ 116275 h 290150"/>
                  <a:gd name="connsiteX10" fmla="*/ 98497 w 206421"/>
                  <a:gd name="connsiteY10" fmla="*/ 135309 h 290150"/>
                  <a:gd name="connsiteX11" fmla="*/ 32248 w 206421"/>
                  <a:gd name="connsiteY11" fmla="*/ 62303 h 290150"/>
                  <a:gd name="connsiteX12" fmla="*/ 32248 w 206421"/>
                  <a:gd name="connsiteY12" fmla="*/ 22581 h 290150"/>
                  <a:gd name="connsiteX13" fmla="*/ 22581 w 206421"/>
                  <a:gd name="connsiteY13" fmla="*/ 12915 h 290150"/>
                  <a:gd name="connsiteX14" fmla="*/ 12915 w 206421"/>
                  <a:gd name="connsiteY14" fmla="*/ 22581 h 290150"/>
                  <a:gd name="connsiteX15" fmla="*/ 12915 w 206421"/>
                  <a:gd name="connsiteY15" fmla="*/ 70953 h 290150"/>
                  <a:gd name="connsiteX16" fmla="*/ 55427 w 206421"/>
                  <a:gd name="connsiteY16" fmla="*/ 168952 h 290150"/>
                  <a:gd name="connsiteX17" fmla="*/ 58058 w 206421"/>
                  <a:gd name="connsiteY17" fmla="*/ 174154 h 290150"/>
                  <a:gd name="connsiteX18" fmla="*/ 58058 w 206421"/>
                  <a:gd name="connsiteY18" fmla="*/ 283693 h 290150"/>
                  <a:gd name="connsiteX19" fmla="*/ 51600 w 206421"/>
                  <a:gd name="connsiteY19" fmla="*/ 290150 h 290150"/>
                  <a:gd name="connsiteX20" fmla="*/ 45143 w 206421"/>
                  <a:gd name="connsiteY20" fmla="*/ 283693 h 290150"/>
                  <a:gd name="connsiteX21" fmla="*/ 45143 w 206421"/>
                  <a:gd name="connsiteY21" fmla="*/ 177243 h 290150"/>
                  <a:gd name="connsiteX22" fmla="*/ 0 w 206421"/>
                  <a:gd name="connsiteY22" fmla="*/ 70953 h 290150"/>
                  <a:gd name="connsiteX23" fmla="*/ 0 w 206421"/>
                  <a:gd name="connsiteY23" fmla="*/ 22581 h 290150"/>
                  <a:gd name="connsiteX24" fmla="*/ 22581 w 206421"/>
                  <a:gd name="connsiteY24" fmla="*/ 0 h 290150"/>
                  <a:gd name="connsiteX25" fmla="*/ 45163 w 206421"/>
                  <a:gd name="connsiteY25" fmla="*/ 22581 h 290150"/>
                  <a:gd name="connsiteX26" fmla="*/ 45163 w 206421"/>
                  <a:gd name="connsiteY26" fmla="*/ 62303 h 290150"/>
                  <a:gd name="connsiteX27" fmla="*/ 99334 w 206421"/>
                  <a:gd name="connsiteY27" fmla="*/ 122434 h 290150"/>
                  <a:gd name="connsiteX28" fmla="*/ 142902 w 206421"/>
                  <a:gd name="connsiteY28" fmla="*/ 106868 h 290150"/>
                  <a:gd name="connsiteX29" fmla="*/ 161259 w 206421"/>
                  <a:gd name="connsiteY29" fmla="*/ 64515 h 290150"/>
                  <a:gd name="connsiteX30" fmla="*/ 161259 w 206421"/>
                  <a:gd name="connsiteY30" fmla="*/ 22581 h 290150"/>
                  <a:gd name="connsiteX31" fmla="*/ 183840 w 206421"/>
                  <a:gd name="connsiteY31" fmla="*/ 0 h 290150"/>
                  <a:gd name="connsiteX32" fmla="*/ 206421 w 206421"/>
                  <a:gd name="connsiteY32" fmla="*/ 22581 h 290150"/>
                  <a:gd name="connsiteX33" fmla="*/ 206421 w 206421"/>
                  <a:gd name="connsiteY33" fmla="*/ 70953 h 290150"/>
                  <a:gd name="connsiteX34" fmla="*/ 161278 w 206421"/>
                  <a:gd name="connsiteY34" fmla="*/ 177243 h 290150"/>
                  <a:gd name="connsiteX35" fmla="*/ 161278 w 206421"/>
                  <a:gd name="connsiteY35" fmla="*/ 283693 h 290150"/>
                  <a:gd name="connsiteX36" fmla="*/ 154821 w 206421"/>
                  <a:gd name="connsiteY36" fmla="*/ 290130 h 29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06421" h="290150">
                    <a:moveTo>
                      <a:pt x="154821" y="290130"/>
                    </a:moveTo>
                    <a:cubicBezTo>
                      <a:pt x="151254" y="290130"/>
                      <a:pt x="148363" y="287240"/>
                      <a:pt x="148363" y="283673"/>
                    </a:cubicBezTo>
                    <a:lnTo>
                      <a:pt x="148363" y="174134"/>
                    </a:lnTo>
                    <a:cubicBezTo>
                      <a:pt x="148363" y="172081"/>
                      <a:pt x="149340" y="170148"/>
                      <a:pt x="150994" y="168932"/>
                    </a:cubicBezTo>
                    <a:cubicBezTo>
                      <a:pt x="151413" y="168633"/>
                      <a:pt x="193506" y="136724"/>
                      <a:pt x="193506" y="70933"/>
                    </a:cubicBezTo>
                    <a:lnTo>
                      <a:pt x="193506" y="22561"/>
                    </a:lnTo>
                    <a:cubicBezTo>
                      <a:pt x="193506" y="17220"/>
                      <a:pt x="189161" y="12895"/>
                      <a:pt x="183840" y="12895"/>
                    </a:cubicBezTo>
                    <a:cubicBezTo>
                      <a:pt x="178499" y="12895"/>
                      <a:pt x="174174" y="17240"/>
                      <a:pt x="174174" y="22561"/>
                    </a:cubicBezTo>
                    <a:lnTo>
                      <a:pt x="174174" y="64495"/>
                    </a:lnTo>
                    <a:cubicBezTo>
                      <a:pt x="174174" y="84028"/>
                      <a:pt x="166002" y="102902"/>
                      <a:pt x="151732" y="116275"/>
                    </a:cubicBezTo>
                    <a:cubicBezTo>
                      <a:pt x="137282" y="129828"/>
                      <a:pt x="118408" y="136604"/>
                      <a:pt x="98497" y="135309"/>
                    </a:cubicBezTo>
                    <a:cubicBezTo>
                      <a:pt x="61346" y="132897"/>
                      <a:pt x="32248" y="100829"/>
                      <a:pt x="32248" y="62303"/>
                    </a:cubicBezTo>
                    <a:lnTo>
                      <a:pt x="32248" y="22581"/>
                    </a:lnTo>
                    <a:cubicBezTo>
                      <a:pt x="32248" y="17240"/>
                      <a:pt x="27903" y="12915"/>
                      <a:pt x="22581" y="12915"/>
                    </a:cubicBezTo>
                    <a:cubicBezTo>
                      <a:pt x="17260" y="12915"/>
                      <a:pt x="12915" y="17260"/>
                      <a:pt x="12915" y="22581"/>
                    </a:cubicBezTo>
                    <a:lnTo>
                      <a:pt x="12915" y="70953"/>
                    </a:lnTo>
                    <a:cubicBezTo>
                      <a:pt x="12915" y="137063"/>
                      <a:pt x="55008" y="168633"/>
                      <a:pt x="55427" y="168952"/>
                    </a:cubicBezTo>
                    <a:cubicBezTo>
                      <a:pt x="57081" y="170168"/>
                      <a:pt x="58058" y="172101"/>
                      <a:pt x="58058" y="174154"/>
                    </a:cubicBezTo>
                    <a:lnTo>
                      <a:pt x="58058" y="283693"/>
                    </a:lnTo>
                    <a:cubicBezTo>
                      <a:pt x="58058" y="287260"/>
                      <a:pt x="55168" y="290150"/>
                      <a:pt x="51600" y="290150"/>
                    </a:cubicBezTo>
                    <a:cubicBezTo>
                      <a:pt x="48033" y="290150"/>
                      <a:pt x="45143" y="287260"/>
                      <a:pt x="45143" y="283693"/>
                    </a:cubicBezTo>
                    <a:lnTo>
                      <a:pt x="45143" y="177243"/>
                    </a:lnTo>
                    <a:cubicBezTo>
                      <a:pt x="35018" y="168673"/>
                      <a:pt x="0" y="134412"/>
                      <a:pt x="0" y="70953"/>
                    </a:cubicBezTo>
                    <a:lnTo>
                      <a:pt x="0" y="22581"/>
                    </a:lnTo>
                    <a:cubicBezTo>
                      <a:pt x="0" y="10125"/>
                      <a:pt x="10125" y="0"/>
                      <a:pt x="22581" y="0"/>
                    </a:cubicBezTo>
                    <a:cubicBezTo>
                      <a:pt x="35038" y="0"/>
                      <a:pt x="45163" y="10125"/>
                      <a:pt x="45163" y="22581"/>
                    </a:cubicBezTo>
                    <a:lnTo>
                      <a:pt x="45163" y="62303"/>
                    </a:lnTo>
                    <a:cubicBezTo>
                      <a:pt x="45163" y="94053"/>
                      <a:pt x="68960" y="120481"/>
                      <a:pt x="99334" y="122434"/>
                    </a:cubicBezTo>
                    <a:cubicBezTo>
                      <a:pt x="115598" y="123470"/>
                      <a:pt x="131084" y="117949"/>
                      <a:pt x="142902" y="106868"/>
                    </a:cubicBezTo>
                    <a:cubicBezTo>
                      <a:pt x="154741" y="95767"/>
                      <a:pt x="161259" y="80719"/>
                      <a:pt x="161259" y="64515"/>
                    </a:cubicBezTo>
                    <a:lnTo>
                      <a:pt x="161259" y="22581"/>
                    </a:lnTo>
                    <a:cubicBezTo>
                      <a:pt x="161259" y="10125"/>
                      <a:pt x="171383" y="0"/>
                      <a:pt x="183840" y="0"/>
                    </a:cubicBezTo>
                    <a:cubicBezTo>
                      <a:pt x="196297" y="0"/>
                      <a:pt x="206421" y="10125"/>
                      <a:pt x="206421" y="22581"/>
                    </a:cubicBezTo>
                    <a:lnTo>
                      <a:pt x="206421" y="70953"/>
                    </a:lnTo>
                    <a:cubicBezTo>
                      <a:pt x="206421" y="134412"/>
                      <a:pt x="171383" y="168673"/>
                      <a:pt x="161278" y="177243"/>
                    </a:cubicBezTo>
                    <a:lnTo>
                      <a:pt x="161278" y="283693"/>
                    </a:lnTo>
                    <a:cubicBezTo>
                      <a:pt x="161259" y="287240"/>
                      <a:pt x="158389" y="290130"/>
                      <a:pt x="154821" y="290130"/>
                    </a:cubicBezTo>
                    <a:close/>
                  </a:path>
                </a:pathLst>
              </a:custGeom>
              <a:solidFill>
                <a:schemeClr val="accent1"/>
              </a:solidFill>
              <a:ln w="1992" cap="flat">
                <a:noFill/>
                <a:prstDash val="solid"/>
                <a:miter/>
              </a:ln>
            </p:spPr>
            <p:txBody>
              <a:bodyPr rtlCol="0" anchor="ctr"/>
              <a:lstStyle/>
              <a:p>
                <a:endParaRPr lang="en-GB" dirty="0"/>
              </a:p>
            </p:txBody>
          </p:sp>
          <p:sp>
            <p:nvSpPr>
              <p:cNvPr id="270" name="Freihandform: Form 678">
                <a:extLst>
                  <a:ext uri="{FF2B5EF4-FFF2-40B4-BE49-F238E27FC236}">
                    <a16:creationId xmlns:a16="http://schemas.microsoft.com/office/drawing/2014/main" id="{CEFB8FB5-65D3-40EA-A049-02E517285E1C}"/>
                  </a:ext>
                </a:extLst>
              </p:cNvPr>
              <p:cNvSpPr/>
              <p:nvPr/>
            </p:nvSpPr>
            <p:spPr>
              <a:xfrm>
                <a:off x="7962454" y="2647465"/>
                <a:ext cx="77410" cy="90285"/>
              </a:xfrm>
              <a:custGeom>
                <a:avLst/>
                <a:gdLst>
                  <a:gd name="connsiteX0" fmla="*/ 38705 w 77410"/>
                  <a:gd name="connsiteY0" fmla="*/ 90286 h 90285"/>
                  <a:gd name="connsiteX1" fmla="*/ 0 w 77410"/>
                  <a:gd name="connsiteY1" fmla="*/ 45143 h 90285"/>
                  <a:gd name="connsiteX2" fmla="*/ 38705 w 77410"/>
                  <a:gd name="connsiteY2" fmla="*/ 0 h 90285"/>
                  <a:gd name="connsiteX3" fmla="*/ 77410 w 77410"/>
                  <a:gd name="connsiteY3" fmla="*/ 45143 h 90285"/>
                  <a:gd name="connsiteX4" fmla="*/ 38705 w 77410"/>
                  <a:gd name="connsiteY4" fmla="*/ 90286 h 90285"/>
                  <a:gd name="connsiteX5" fmla="*/ 38705 w 77410"/>
                  <a:gd name="connsiteY5" fmla="*/ 12895 h 90285"/>
                  <a:gd name="connsiteX6" fmla="*/ 12895 w 77410"/>
                  <a:gd name="connsiteY6" fmla="*/ 45143 h 90285"/>
                  <a:gd name="connsiteX7" fmla="*/ 38705 w 77410"/>
                  <a:gd name="connsiteY7" fmla="*/ 77391 h 90285"/>
                  <a:gd name="connsiteX8" fmla="*/ 64515 w 77410"/>
                  <a:gd name="connsiteY8" fmla="*/ 45143 h 90285"/>
                  <a:gd name="connsiteX9" fmla="*/ 38705 w 77410"/>
                  <a:gd name="connsiteY9" fmla="*/ 12895 h 90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410" h="90285">
                    <a:moveTo>
                      <a:pt x="38705" y="90286"/>
                    </a:moveTo>
                    <a:cubicBezTo>
                      <a:pt x="15566" y="90286"/>
                      <a:pt x="0" y="72149"/>
                      <a:pt x="0" y="45143"/>
                    </a:cubicBezTo>
                    <a:cubicBezTo>
                      <a:pt x="0" y="18137"/>
                      <a:pt x="15546" y="0"/>
                      <a:pt x="38705" y="0"/>
                    </a:cubicBezTo>
                    <a:cubicBezTo>
                      <a:pt x="61864" y="0"/>
                      <a:pt x="77410" y="18137"/>
                      <a:pt x="77410" y="45143"/>
                    </a:cubicBezTo>
                    <a:cubicBezTo>
                      <a:pt x="77410" y="72149"/>
                      <a:pt x="61845" y="90286"/>
                      <a:pt x="38705" y="90286"/>
                    </a:cubicBezTo>
                    <a:close/>
                    <a:moveTo>
                      <a:pt x="38705" y="12895"/>
                    </a:moveTo>
                    <a:cubicBezTo>
                      <a:pt x="19691" y="12895"/>
                      <a:pt x="12895" y="29557"/>
                      <a:pt x="12895" y="45143"/>
                    </a:cubicBezTo>
                    <a:cubicBezTo>
                      <a:pt x="12895" y="60729"/>
                      <a:pt x="19672" y="77391"/>
                      <a:pt x="38705" y="77391"/>
                    </a:cubicBezTo>
                    <a:cubicBezTo>
                      <a:pt x="57719" y="77391"/>
                      <a:pt x="64515" y="60729"/>
                      <a:pt x="64515" y="45143"/>
                    </a:cubicBezTo>
                    <a:cubicBezTo>
                      <a:pt x="64515" y="29557"/>
                      <a:pt x="57719" y="12895"/>
                      <a:pt x="38705" y="12895"/>
                    </a:cubicBezTo>
                    <a:close/>
                  </a:path>
                </a:pathLst>
              </a:custGeom>
              <a:solidFill>
                <a:schemeClr val="accent1"/>
              </a:solidFill>
              <a:ln w="1992" cap="flat">
                <a:noFill/>
                <a:prstDash val="solid"/>
                <a:miter/>
              </a:ln>
            </p:spPr>
            <p:txBody>
              <a:bodyPr rtlCol="0" anchor="ctr"/>
              <a:lstStyle/>
              <a:p>
                <a:endParaRPr lang="en-GB" dirty="0"/>
              </a:p>
            </p:txBody>
          </p:sp>
        </p:grpSp>
      </p:grpSp>
      <p:grpSp>
        <p:nvGrpSpPr>
          <p:cNvPr id="44" name="Group 43">
            <a:extLst>
              <a:ext uri="{FF2B5EF4-FFF2-40B4-BE49-F238E27FC236}">
                <a16:creationId xmlns:a16="http://schemas.microsoft.com/office/drawing/2014/main" id="{71701B37-883D-2349-78B1-515B33A11503}"/>
              </a:ext>
            </a:extLst>
          </p:cNvPr>
          <p:cNvGrpSpPr/>
          <p:nvPr/>
        </p:nvGrpSpPr>
        <p:grpSpPr>
          <a:xfrm>
            <a:off x="3723352" y="3206094"/>
            <a:ext cx="468002" cy="413953"/>
            <a:chOff x="3723352" y="3206094"/>
            <a:chExt cx="468002" cy="413953"/>
          </a:xfrm>
        </p:grpSpPr>
        <p:grpSp>
          <p:nvGrpSpPr>
            <p:cNvPr id="282" name="Group 281">
              <a:extLst>
                <a:ext uri="{FF2B5EF4-FFF2-40B4-BE49-F238E27FC236}">
                  <a16:creationId xmlns:a16="http://schemas.microsoft.com/office/drawing/2014/main" id="{14DE4C72-D350-477D-8E0F-1E3BFA0DCAF8}"/>
                </a:ext>
              </a:extLst>
            </p:cNvPr>
            <p:cNvGrpSpPr/>
            <p:nvPr/>
          </p:nvGrpSpPr>
          <p:grpSpPr>
            <a:xfrm>
              <a:off x="3813053" y="3206094"/>
              <a:ext cx="378301" cy="413953"/>
              <a:chOff x="975646" y="3321189"/>
              <a:chExt cx="350099" cy="383093"/>
            </a:xfrm>
            <a:solidFill>
              <a:schemeClr val="tx2"/>
            </a:solidFill>
          </p:grpSpPr>
          <p:sp>
            <p:nvSpPr>
              <p:cNvPr id="293" name="Freihandform: Form 406">
                <a:extLst>
                  <a:ext uri="{FF2B5EF4-FFF2-40B4-BE49-F238E27FC236}">
                    <a16:creationId xmlns:a16="http://schemas.microsoft.com/office/drawing/2014/main" id="{AD3A7DB7-AB6A-4945-9D84-CE97B5B15B7B}"/>
                  </a:ext>
                </a:extLst>
              </p:cNvPr>
              <p:cNvSpPr/>
              <p:nvPr/>
            </p:nvSpPr>
            <p:spPr>
              <a:xfrm>
                <a:off x="1137377" y="3485885"/>
                <a:ext cx="73659" cy="73217"/>
              </a:xfrm>
              <a:custGeom>
                <a:avLst/>
                <a:gdLst>
                  <a:gd name="connsiteX0" fmla="*/ 37468 w 73659"/>
                  <a:gd name="connsiteY0" fmla="*/ 73217 h 73217"/>
                  <a:gd name="connsiteX1" fmla="*/ 32873 w 73659"/>
                  <a:gd name="connsiteY1" fmla="*/ 71333 h 73217"/>
                  <a:gd name="connsiteX2" fmla="*/ 1951 w 73659"/>
                  <a:gd name="connsiteY2" fmla="*/ 40852 h 73217"/>
                  <a:gd name="connsiteX3" fmla="*/ 1884 w 73659"/>
                  <a:gd name="connsiteY3" fmla="*/ 31595 h 73217"/>
                  <a:gd name="connsiteX4" fmla="*/ 11145 w 73659"/>
                  <a:gd name="connsiteY4" fmla="*/ 31531 h 73217"/>
                  <a:gd name="connsiteX5" fmla="*/ 37440 w 73659"/>
                  <a:gd name="connsiteY5" fmla="*/ 57448 h 73217"/>
                  <a:gd name="connsiteX6" fmla="*/ 57820 w 73659"/>
                  <a:gd name="connsiteY6" fmla="*/ 37067 h 73217"/>
                  <a:gd name="connsiteX7" fmla="*/ 31589 w 73659"/>
                  <a:gd name="connsiteY7" fmla="*/ 11208 h 73217"/>
                  <a:gd name="connsiteX8" fmla="*/ 31525 w 73659"/>
                  <a:gd name="connsiteY8" fmla="*/ 1951 h 73217"/>
                  <a:gd name="connsiteX9" fmla="*/ 40783 w 73659"/>
                  <a:gd name="connsiteY9" fmla="*/ 1887 h 73217"/>
                  <a:gd name="connsiteX10" fmla="*/ 71708 w 73659"/>
                  <a:gd name="connsiteY10" fmla="*/ 32374 h 73217"/>
                  <a:gd name="connsiteX11" fmla="*/ 73659 w 73659"/>
                  <a:gd name="connsiteY11" fmla="*/ 37007 h 73217"/>
                  <a:gd name="connsiteX12" fmla="*/ 71743 w 73659"/>
                  <a:gd name="connsiteY12" fmla="*/ 41660 h 73217"/>
                  <a:gd name="connsiteX13" fmla="*/ 42102 w 73659"/>
                  <a:gd name="connsiteY13" fmla="*/ 71298 h 73217"/>
                  <a:gd name="connsiteX14" fmla="*/ 37468 w 73659"/>
                  <a:gd name="connsiteY14" fmla="*/ 73217 h 7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659" h="73217">
                    <a:moveTo>
                      <a:pt x="37468" y="73217"/>
                    </a:moveTo>
                    <a:cubicBezTo>
                      <a:pt x="35809" y="73217"/>
                      <a:pt x="34147" y="72591"/>
                      <a:pt x="32873" y="71333"/>
                    </a:cubicBezTo>
                    <a:lnTo>
                      <a:pt x="1951" y="40852"/>
                    </a:lnTo>
                    <a:cubicBezTo>
                      <a:pt x="-623" y="38313"/>
                      <a:pt x="-655" y="34172"/>
                      <a:pt x="1884" y="31595"/>
                    </a:cubicBezTo>
                    <a:cubicBezTo>
                      <a:pt x="4427" y="29018"/>
                      <a:pt x="8571" y="28986"/>
                      <a:pt x="11145" y="31531"/>
                    </a:cubicBezTo>
                    <a:lnTo>
                      <a:pt x="37440" y="57448"/>
                    </a:lnTo>
                    <a:lnTo>
                      <a:pt x="57820" y="37067"/>
                    </a:lnTo>
                    <a:lnTo>
                      <a:pt x="31589" y="11208"/>
                    </a:lnTo>
                    <a:cubicBezTo>
                      <a:pt x="29015" y="8669"/>
                      <a:pt x="28983" y="4528"/>
                      <a:pt x="31525" y="1951"/>
                    </a:cubicBezTo>
                    <a:cubicBezTo>
                      <a:pt x="34058" y="-620"/>
                      <a:pt x="38206" y="-658"/>
                      <a:pt x="40783" y="1887"/>
                    </a:cubicBezTo>
                    <a:lnTo>
                      <a:pt x="71708" y="32374"/>
                    </a:lnTo>
                    <a:cubicBezTo>
                      <a:pt x="72947" y="33594"/>
                      <a:pt x="73653" y="35269"/>
                      <a:pt x="73659" y="37007"/>
                    </a:cubicBezTo>
                    <a:cubicBezTo>
                      <a:pt x="73666" y="38752"/>
                      <a:pt x="72976" y="40427"/>
                      <a:pt x="71743" y="41660"/>
                    </a:cubicBezTo>
                    <a:lnTo>
                      <a:pt x="42102" y="71298"/>
                    </a:lnTo>
                    <a:cubicBezTo>
                      <a:pt x="40818" y="72578"/>
                      <a:pt x="39143" y="73217"/>
                      <a:pt x="37468" y="73217"/>
                    </a:cubicBezTo>
                    <a:close/>
                  </a:path>
                </a:pathLst>
              </a:custGeom>
              <a:grpFill/>
              <a:ln w="318" cap="flat">
                <a:noFill/>
                <a:prstDash val="solid"/>
                <a:miter/>
              </a:ln>
            </p:spPr>
            <p:txBody>
              <a:bodyPr rtlCol="0" anchor="ctr"/>
              <a:lstStyle/>
              <a:p>
                <a:endParaRPr lang="en-GB" dirty="0"/>
              </a:p>
            </p:txBody>
          </p:sp>
          <p:grpSp>
            <p:nvGrpSpPr>
              <p:cNvPr id="294" name="Graphic 4">
                <a:extLst>
                  <a:ext uri="{FF2B5EF4-FFF2-40B4-BE49-F238E27FC236}">
                    <a16:creationId xmlns:a16="http://schemas.microsoft.com/office/drawing/2014/main" id="{F15759E2-4F93-4766-9AEA-2878DC04108B}"/>
                  </a:ext>
                </a:extLst>
              </p:cNvPr>
              <p:cNvGrpSpPr/>
              <p:nvPr/>
            </p:nvGrpSpPr>
            <p:grpSpPr>
              <a:xfrm>
                <a:off x="1103198" y="3490038"/>
                <a:ext cx="222547" cy="214244"/>
                <a:chOff x="1103198" y="3490038"/>
                <a:chExt cx="222547" cy="214244"/>
              </a:xfrm>
              <a:grpFill/>
            </p:grpSpPr>
            <p:sp>
              <p:nvSpPr>
                <p:cNvPr id="296" name="Freihandform: Form 408">
                  <a:extLst>
                    <a:ext uri="{FF2B5EF4-FFF2-40B4-BE49-F238E27FC236}">
                      <a16:creationId xmlns:a16="http://schemas.microsoft.com/office/drawing/2014/main" id="{4E2887C2-BE94-4D8F-A62B-52831C876C46}"/>
                    </a:ext>
                  </a:extLst>
                </p:cNvPr>
                <p:cNvSpPr/>
                <p:nvPr/>
              </p:nvSpPr>
              <p:spPr>
                <a:xfrm>
                  <a:off x="1184993" y="3556720"/>
                  <a:ext cx="140752" cy="147562"/>
                </a:xfrm>
                <a:custGeom>
                  <a:avLst/>
                  <a:gdLst>
                    <a:gd name="connsiteX0" fmla="*/ 6546 w 140752"/>
                    <a:gd name="connsiteY0" fmla="*/ 147563 h 147562"/>
                    <a:gd name="connsiteX1" fmla="*/ 1935 w 140752"/>
                    <a:gd name="connsiteY1" fmla="*/ 145665 h 147562"/>
                    <a:gd name="connsiteX2" fmla="*/ 1903 w 140752"/>
                    <a:gd name="connsiteY2" fmla="*/ 136408 h 147562"/>
                    <a:gd name="connsiteX3" fmla="*/ 30123 w 140752"/>
                    <a:gd name="connsiteY3" fmla="*/ 107978 h 147562"/>
                    <a:gd name="connsiteX4" fmla="*/ 35014 w 140752"/>
                    <a:gd name="connsiteY4" fmla="*/ 106045 h 147562"/>
                    <a:gd name="connsiteX5" fmla="*/ 54197 w 140752"/>
                    <a:gd name="connsiteY5" fmla="*/ 99493 h 147562"/>
                    <a:gd name="connsiteX6" fmla="*/ 125743 w 140752"/>
                    <a:gd name="connsiteY6" fmla="*/ 27950 h 147562"/>
                    <a:gd name="connsiteX7" fmla="*/ 127662 w 140752"/>
                    <a:gd name="connsiteY7" fmla="*/ 23316 h 147562"/>
                    <a:gd name="connsiteX8" fmla="*/ 125752 w 140752"/>
                    <a:gd name="connsiteY8" fmla="*/ 18695 h 147562"/>
                    <a:gd name="connsiteX9" fmla="*/ 122050 w 140752"/>
                    <a:gd name="connsiteY9" fmla="*/ 14993 h 147562"/>
                    <a:gd name="connsiteX10" fmla="*/ 112796 w 140752"/>
                    <a:gd name="connsiteY10" fmla="*/ 15006 h 147562"/>
                    <a:gd name="connsiteX11" fmla="*/ 103532 w 140752"/>
                    <a:gd name="connsiteY11" fmla="*/ 24269 h 147562"/>
                    <a:gd name="connsiteX12" fmla="*/ 94274 w 140752"/>
                    <a:gd name="connsiteY12" fmla="*/ 24269 h 147562"/>
                    <a:gd name="connsiteX13" fmla="*/ 94274 w 140752"/>
                    <a:gd name="connsiteY13" fmla="*/ 15012 h 147562"/>
                    <a:gd name="connsiteX14" fmla="*/ 103538 w 140752"/>
                    <a:gd name="connsiteY14" fmla="*/ 5748 h 147562"/>
                    <a:gd name="connsiteX15" fmla="*/ 131307 w 140752"/>
                    <a:gd name="connsiteY15" fmla="*/ 5735 h 147562"/>
                    <a:gd name="connsiteX16" fmla="*/ 135010 w 140752"/>
                    <a:gd name="connsiteY16" fmla="*/ 9438 h 147562"/>
                    <a:gd name="connsiteX17" fmla="*/ 140752 w 140752"/>
                    <a:gd name="connsiteY17" fmla="*/ 23322 h 147562"/>
                    <a:gd name="connsiteX18" fmla="*/ 134997 w 140752"/>
                    <a:gd name="connsiteY18" fmla="*/ 37207 h 147562"/>
                    <a:gd name="connsiteX19" fmla="*/ 63451 w 140752"/>
                    <a:gd name="connsiteY19" fmla="*/ 108750 h 147562"/>
                    <a:gd name="connsiteX20" fmla="*/ 37455 w 140752"/>
                    <a:gd name="connsiteY20" fmla="*/ 119171 h 147562"/>
                    <a:gd name="connsiteX21" fmla="*/ 11189 w 140752"/>
                    <a:gd name="connsiteY21" fmla="*/ 145624 h 147562"/>
                    <a:gd name="connsiteX22" fmla="*/ 6546 w 140752"/>
                    <a:gd name="connsiteY22" fmla="*/ 147563 h 147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0752" h="147562">
                      <a:moveTo>
                        <a:pt x="6546" y="147563"/>
                      </a:moveTo>
                      <a:cubicBezTo>
                        <a:pt x="4877" y="147563"/>
                        <a:pt x="3212" y="146930"/>
                        <a:pt x="1935" y="145665"/>
                      </a:cubicBezTo>
                      <a:cubicBezTo>
                        <a:pt x="-633" y="143114"/>
                        <a:pt x="-646" y="138973"/>
                        <a:pt x="1903" y="136408"/>
                      </a:cubicBezTo>
                      <a:lnTo>
                        <a:pt x="30123" y="107978"/>
                      </a:lnTo>
                      <a:cubicBezTo>
                        <a:pt x="31410" y="106681"/>
                        <a:pt x="33209" y="105867"/>
                        <a:pt x="35014" y="106045"/>
                      </a:cubicBezTo>
                      <a:cubicBezTo>
                        <a:pt x="45171" y="106455"/>
                        <a:pt x="49871" y="103821"/>
                        <a:pt x="54197" y="99493"/>
                      </a:cubicBezTo>
                      <a:lnTo>
                        <a:pt x="125743" y="27950"/>
                      </a:lnTo>
                      <a:cubicBezTo>
                        <a:pt x="126979" y="26710"/>
                        <a:pt x="127662" y="25067"/>
                        <a:pt x="127662" y="23316"/>
                      </a:cubicBezTo>
                      <a:cubicBezTo>
                        <a:pt x="127662" y="21571"/>
                        <a:pt x="126985" y="19928"/>
                        <a:pt x="125752" y="18695"/>
                      </a:cubicBezTo>
                      <a:lnTo>
                        <a:pt x="122050" y="14993"/>
                      </a:lnTo>
                      <a:cubicBezTo>
                        <a:pt x="119508" y="12441"/>
                        <a:pt x="115357" y="12460"/>
                        <a:pt x="112796" y="15006"/>
                      </a:cubicBezTo>
                      <a:lnTo>
                        <a:pt x="103532" y="24269"/>
                      </a:lnTo>
                      <a:cubicBezTo>
                        <a:pt x="100974" y="26828"/>
                        <a:pt x="96833" y="26828"/>
                        <a:pt x="94274" y="24269"/>
                      </a:cubicBezTo>
                      <a:cubicBezTo>
                        <a:pt x="91716" y="21711"/>
                        <a:pt x="91716" y="17570"/>
                        <a:pt x="94274" y="15012"/>
                      </a:cubicBezTo>
                      <a:lnTo>
                        <a:pt x="103538" y="5748"/>
                      </a:lnTo>
                      <a:cubicBezTo>
                        <a:pt x="111194" y="-1911"/>
                        <a:pt x="123652" y="-1917"/>
                        <a:pt x="131307" y="5735"/>
                      </a:cubicBezTo>
                      <a:lnTo>
                        <a:pt x="135010" y="9438"/>
                      </a:lnTo>
                      <a:cubicBezTo>
                        <a:pt x="138715" y="13147"/>
                        <a:pt x="140756" y="18075"/>
                        <a:pt x="140752" y="23322"/>
                      </a:cubicBezTo>
                      <a:cubicBezTo>
                        <a:pt x="140749" y="28572"/>
                        <a:pt x="138706" y="33498"/>
                        <a:pt x="134997" y="37207"/>
                      </a:cubicBezTo>
                      <a:lnTo>
                        <a:pt x="63451" y="108750"/>
                      </a:lnTo>
                      <a:cubicBezTo>
                        <a:pt x="56326" y="115878"/>
                        <a:pt x="48432" y="119075"/>
                        <a:pt x="37455" y="119171"/>
                      </a:cubicBezTo>
                      <a:lnTo>
                        <a:pt x="11189" y="145624"/>
                      </a:lnTo>
                      <a:cubicBezTo>
                        <a:pt x="9911" y="146918"/>
                        <a:pt x="8230" y="147563"/>
                        <a:pt x="6546" y="147563"/>
                      </a:cubicBezTo>
                      <a:close/>
                    </a:path>
                  </a:pathLst>
                </a:custGeom>
                <a:grpFill/>
                <a:ln w="318" cap="flat">
                  <a:noFill/>
                  <a:prstDash val="solid"/>
                  <a:miter/>
                </a:ln>
              </p:spPr>
              <p:txBody>
                <a:bodyPr rtlCol="0" anchor="ctr"/>
                <a:lstStyle/>
                <a:p>
                  <a:endParaRPr lang="en-GB" dirty="0"/>
                </a:p>
              </p:txBody>
            </p:sp>
            <p:sp>
              <p:nvSpPr>
                <p:cNvPr id="297" name="Freihandform: Form 409">
                  <a:extLst>
                    <a:ext uri="{FF2B5EF4-FFF2-40B4-BE49-F238E27FC236}">
                      <a16:creationId xmlns:a16="http://schemas.microsoft.com/office/drawing/2014/main" id="{09423DEC-80A2-46C0-B840-E0FE5BA389D1}"/>
                    </a:ext>
                  </a:extLst>
                </p:cNvPr>
                <p:cNvSpPr/>
                <p:nvPr/>
              </p:nvSpPr>
              <p:spPr>
                <a:xfrm>
                  <a:off x="1103198" y="3532421"/>
                  <a:ext cx="61575" cy="100264"/>
                </a:xfrm>
                <a:custGeom>
                  <a:avLst/>
                  <a:gdLst>
                    <a:gd name="connsiteX0" fmla="*/ 6546 w 61575"/>
                    <a:gd name="connsiteY0" fmla="*/ 100265 h 100264"/>
                    <a:gd name="connsiteX1" fmla="*/ 1919 w 61575"/>
                    <a:gd name="connsiteY1" fmla="*/ 98348 h 100264"/>
                    <a:gd name="connsiteX2" fmla="*/ 1919 w 61575"/>
                    <a:gd name="connsiteY2" fmla="*/ 89091 h 100264"/>
                    <a:gd name="connsiteX3" fmla="*/ 22039 w 61575"/>
                    <a:gd name="connsiteY3" fmla="*/ 68968 h 100264"/>
                    <a:gd name="connsiteX4" fmla="*/ 32253 w 61575"/>
                    <a:gd name="connsiteY4" fmla="*/ 20068 h 100264"/>
                    <a:gd name="connsiteX5" fmla="*/ 50399 w 61575"/>
                    <a:gd name="connsiteY5" fmla="*/ 1919 h 100264"/>
                    <a:gd name="connsiteX6" fmla="*/ 59656 w 61575"/>
                    <a:gd name="connsiteY6" fmla="*/ 1919 h 100264"/>
                    <a:gd name="connsiteX7" fmla="*/ 59656 w 61575"/>
                    <a:gd name="connsiteY7" fmla="*/ 11176 h 100264"/>
                    <a:gd name="connsiteX8" fmla="*/ 41510 w 61575"/>
                    <a:gd name="connsiteY8" fmla="*/ 29326 h 100264"/>
                    <a:gd name="connsiteX9" fmla="*/ 35729 w 61575"/>
                    <a:gd name="connsiteY9" fmla="*/ 67535 h 100264"/>
                    <a:gd name="connsiteX10" fmla="*/ 34480 w 61575"/>
                    <a:gd name="connsiteY10" fmla="*/ 75041 h 100264"/>
                    <a:gd name="connsiteX11" fmla="*/ 11176 w 61575"/>
                    <a:gd name="connsiteY11" fmla="*/ 98348 h 100264"/>
                    <a:gd name="connsiteX12" fmla="*/ 6546 w 61575"/>
                    <a:gd name="connsiteY12" fmla="*/ 100265 h 100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575" h="100264">
                      <a:moveTo>
                        <a:pt x="6546" y="100265"/>
                      </a:moveTo>
                      <a:cubicBezTo>
                        <a:pt x="4871" y="100265"/>
                        <a:pt x="3196" y="99626"/>
                        <a:pt x="1919" y="98348"/>
                      </a:cubicBezTo>
                      <a:cubicBezTo>
                        <a:pt x="-640" y="95790"/>
                        <a:pt x="-640" y="91649"/>
                        <a:pt x="1919" y="89091"/>
                      </a:cubicBezTo>
                      <a:lnTo>
                        <a:pt x="22039" y="68968"/>
                      </a:lnTo>
                      <a:cubicBezTo>
                        <a:pt x="14640" y="50685"/>
                        <a:pt x="18066" y="34255"/>
                        <a:pt x="32253" y="20068"/>
                      </a:cubicBezTo>
                      <a:lnTo>
                        <a:pt x="50399" y="1919"/>
                      </a:lnTo>
                      <a:cubicBezTo>
                        <a:pt x="52957" y="-640"/>
                        <a:pt x="57098" y="-640"/>
                        <a:pt x="59656" y="1919"/>
                      </a:cubicBezTo>
                      <a:cubicBezTo>
                        <a:pt x="62215" y="4477"/>
                        <a:pt x="62215" y="8618"/>
                        <a:pt x="59656" y="11176"/>
                      </a:cubicBezTo>
                      <a:lnTo>
                        <a:pt x="41510" y="29326"/>
                      </a:lnTo>
                      <a:cubicBezTo>
                        <a:pt x="30139" y="40693"/>
                        <a:pt x="28356" y="52474"/>
                        <a:pt x="35729" y="67535"/>
                      </a:cubicBezTo>
                      <a:cubicBezTo>
                        <a:pt x="36959" y="70048"/>
                        <a:pt x="36457" y="73064"/>
                        <a:pt x="34480" y="75041"/>
                      </a:cubicBezTo>
                      <a:lnTo>
                        <a:pt x="11176" y="98348"/>
                      </a:lnTo>
                      <a:cubicBezTo>
                        <a:pt x="9895" y="99623"/>
                        <a:pt x="8221" y="100265"/>
                        <a:pt x="6546" y="100265"/>
                      </a:cubicBezTo>
                      <a:close/>
                    </a:path>
                  </a:pathLst>
                </a:custGeom>
                <a:grpFill/>
                <a:ln w="318" cap="flat">
                  <a:noFill/>
                  <a:prstDash val="solid"/>
                  <a:miter/>
                </a:ln>
              </p:spPr>
              <p:txBody>
                <a:bodyPr rtlCol="0" anchor="ctr"/>
                <a:lstStyle/>
                <a:p>
                  <a:endParaRPr lang="en-GB" dirty="0"/>
                </a:p>
              </p:txBody>
            </p:sp>
            <p:sp>
              <p:nvSpPr>
                <p:cNvPr id="298" name="Freihandform: Form 410">
                  <a:extLst>
                    <a:ext uri="{FF2B5EF4-FFF2-40B4-BE49-F238E27FC236}">
                      <a16:creationId xmlns:a16="http://schemas.microsoft.com/office/drawing/2014/main" id="{9FE315EC-D63E-42C4-93A2-F8488BAA65D1}"/>
                    </a:ext>
                  </a:extLst>
                </p:cNvPr>
                <p:cNvSpPr/>
                <p:nvPr/>
              </p:nvSpPr>
              <p:spPr>
                <a:xfrm>
                  <a:off x="1255119" y="3534495"/>
                  <a:ext cx="48396" cy="48388"/>
                </a:xfrm>
                <a:custGeom>
                  <a:avLst/>
                  <a:gdLst>
                    <a:gd name="connsiteX0" fmla="*/ 28750 w 48396"/>
                    <a:gd name="connsiteY0" fmla="*/ 48388 h 48388"/>
                    <a:gd name="connsiteX1" fmla="*/ 24123 w 48396"/>
                    <a:gd name="connsiteY1" fmla="*/ 46469 h 48388"/>
                    <a:gd name="connsiteX2" fmla="*/ 24123 w 48396"/>
                    <a:gd name="connsiteY2" fmla="*/ 37211 h 48388"/>
                    <a:gd name="connsiteX3" fmla="*/ 33384 w 48396"/>
                    <a:gd name="connsiteY3" fmla="*/ 27947 h 48388"/>
                    <a:gd name="connsiteX4" fmla="*/ 35307 w 48396"/>
                    <a:gd name="connsiteY4" fmla="*/ 23314 h 48388"/>
                    <a:gd name="connsiteX5" fmla="*/ 33397 w 48396"/>
                    <a:gd name="connsiteY5" fmla="*/ 18693 h 48388"/>
                    <a:gd name="connsiteX6" fmla="*/ 29694 w 48396"/>
                    <a:gd name="connsiteY6" fmla="*/ 14991 h 48388"/>
                    <a:gd name="connsiteX7" fmla="*/ 20440 w 48396"/>
                    <a:gd name="connsiteY7" fmla="*/ 15003 h 48388"/>
                    <a:gd name="connsiteX8" fmla="*/ 11176 w 48396"/>
                    <a:gd name="connsiteY8" fmla="*/ 24267 h 48388"/>
                    <a:gd name="connsiteX9" fmla="*/ 1919 w 48396"/>
                    <a:gd name="connsiteY9" fmla="*/ 24267 h 48388"/>
                    <a:gd name="connsiteX10" fmla="*/ 1919 w 48396"/>
                    <a:gd name="connsiteY10" fmla="*/ 15010 h 48388"/>
                    <a:gd name="connsiteX11" fmla="*/ 11183 w 48396"/>
                    <a:gd name="connsiteY11" fmla="*/ 5746 h 48388"/>
                    <a:gd name="connsiteX12" fmla="*/ 38949 w 48396"/>
                    <a:gd name="connsiteY12" fmla="*/ 5733 h 48388"/>
                    <a:gd name="connsiteX13" fmla="*/ 42651 w 48396"/>
                    <a:gd name="connsiteY13" fmla="*/ 9435 h 48388"/>
                    <a:gd name="connsiteX14" fmla="*/ 48397 w 48396"/>
                    <a:gd name="connsiteY14" fmla="*/ 23320 h 48388"/>
                    <a:gd name="connsiteX15" fmla="*/ 42638 w 48396"/>
                    <a:gd name="connsiteY15" fmla="*/ 37205 h 48388"/>
                    <a:gd name="connsiteX16" fmla="*/ 33378 w 48396"/>
                    <a:gd name="connsiteY16" fmla="*/ 46469 h 48388"/>
                    <a:gd name="connsiteX17" fmla="*/ 28750 w 48396"/>
                    <a:gd name="connsiteY17" fmla="*/ 48388 h 48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8396" h="48388">
                      <a:moveTo>
                        <a:pt x="28750" y="48388"/>
                      </a:moveTo>
                      <a:cubicBezTo>
                        <a:pt x="27076" y="48388"/>
                        <a:pt x="25401" y="47749"/>
                        <a:pt x="24123" y="46469"/>
                      </a:cubicBezTo>
                      <a:cubicBezTo>
                        <a:pt x="21565" y="43910"/>
                        <a:pt x="21565" y="39769"/>
                        <a:pt x="24123" y="37211"/>
                      </a:cubicBezTo>
                      <a:lnTo>
                        <a:pt x="33384" y="27947"/>
                      </a:lnTo>
                      <a:cubicBezTo>
                        <a:pt x="34623" y="26708"/>
                        <a:pt x="35303" y="25065"/>
                        <a:pt x="35307" y="23314"/>
                      </a:cubicBezTo>
                      <a:cubicBezTo>
                        <a:pt x="35307" y="21569"/>
                        <a:pt x="34630" y="19926"/>
                        <a:pt x="33397" y="18693"/>
                      </a:cubicBezTo>
                      <a:lnTo>
                        <a:pt x="29694" y="14991"/>
                      </a:lnTo>
                      <a:cubicBezTo>
                        <a:pt x="27142" y="12439"/>
                        <a:pt x="22992" y="12451"/>
                        <a:pt x="20440" y="15003"/>
                      </a:cubicBezTo>
                      <a:lnTo>
                        <a:pt x="11176" y="24267"/>
                      </a:lnTo>
                      <a:cubicBezTo>
                        <a:pt x="8618" y="26825"/>
                        <a:pt x="4477" y="26825"/>
                        <a:pt x="1919" y="24267"/>
                      </a:cubicBezTo>
                      <a:cubicBezTo>
                        <a:pt x="-640" y="21709"/>
                        <a:pt x="-640" y="17568"/>
                        <a:pt x="1919" y="15010"/>
                      </a:cubicBezTo>
                      <a:lnTo>
                        <a:pt x="11183" y="5746"/>
                      </a:lnTo>
                      <a:cubicBezTo>
                        <a:pt x="18845" y="-1913"/>
                        <a:pt x="31299" y="-1913"/>
                        <a:pt x="38949" y="5733"/>
                      </a:cubicBezTo>
                      <a:lnTo>
                        <a:pt x="42651" y="9435"/>
                      </a:lnTo>
                      <a:cubicBezTo>
                        <a:pt x="46360" y="13144"/>
                        <a:pt x="48400" y="18073"/>
                        <a:pt x="48397" y="23320"/>
                      </a:cubicBezTo>
                      <a:cubicBezTo>
                        <a:pt x="48394" y="28570"/>
                        <a:pt x="46347" y="33496"/>
                        <a:pt x="42638" y="37205"/>
                      </a:cubicBezTo>
                      <a:lnTo>
                        <a:pt x="33378" y="46469"/>
                      </a:lnTo>
                      <a:cubicBezTo>
                        <a:pt x="32103" y="47749"/>
                        <a:pt x="30425" y="48388"/>
                        <a:pt x="28750" y="48388"/>
                      </a:cubicBezTo>
                      <a:close/>
                    </a:path>
                  </a:pathLst>
                </a:custGeom>
                <a:grpFill/>
                <a:ln w="318" cap="flat">
                  <a:noFill/>
                  <a:prstDash val="solid"/>
                  <a:miter/>
                </a:ln>
              </p:spPr>
              <p:txBody>
                <a:bodyPr rtlCol="0" anchor="ctr"/>
                <a:lstStyle/>
                <a:p>
                  <a:endParaRPr lang="en-GB" dirty="0"/>
                </a:p>
              </p:txBody>
            </p:sp>
            <p:sp>
              <p:nvSpPr>
                <p:cNvPr id="299" name="Freihandform: Form 411">
                  <a:extLst>
                    <a:ext uri="{FF2B5EF4-FFF2-40B4-BE49-F238E27FC236}">
                      <a16:creationId xmlns:a16="http://schemas.microsoft.com/office/drawing/2014/main" id="{10EE63F5-B9AE-420A-903C-AD18F6049504}"/>
                    </a:ext>
                  </a:extLst>
                </p:cNvPr>
                <p:cNvSpPr/>
                <p:nvPr/>
              </p:nvSpPr>
              <p:spPr>
                <a:xfrm>
                  <a:off x="1232892" y="3512266"/>
                  <a:ext cx="48387" cy="48384"/>
                </a:xfrm>
                <a:custGeom>
                  <a:avLst/>
                  <a:gdLst>
                    <a:gd name="connsiteX0" fmla="*/ 28747 w 48387"/>
                    <a:gd name="connsiteY0" fmla="*/ 48384 h 48384"/>
                    <a:gd name="connsiteX1" fmla="*/ 24117 w 48387"/>
                    <a:gd name="connsiteY1" fmla="*/ 46468 h 48384"/>
                    <a:gd name="connsiteX2" fmla="*/ 24120 w 48387"/>
                    <a:gd name="connsiteY2" fmla="*/ 37210 h 48384"/>
                    <a:gd name="connsiteX3" fmla="*/ 33384 w 48387"/>
                    <a:gd name="connsiteY3" fmla="*/ 27953 h 48384"/>
                    <a:gd name="connsiteX4" fmla="*/ 33397 w 48387"/>
                    <a:gd name="connsiteY4" fmla="*/ 18695 h 48384"/>
                    <a:gd name="connsiteX5" fmla="*/ 29694 w 48387"/>
                    <a:gd name="connsiteY5" fmla="*/ 14993 h 48384"/>
                    <a:gd name="connsiteX6" fmla="*/ 20437 w 48387"/>
                    <a:gd name="connsiteY6" fmla="*/ 15006 h 48384"/>
                    <a:gd name="connsiteX7" fmla="*/ 11176 w 48387"/>
                    <a:gd name="connsiteY7" fmla="*/ 24270 h 48384"/>
                    <a:gd name="connsiteX8" fmla="*/ 1919 w 48387"/>
                    <a:gd name="connsiteY8" fmla="*/ 24270 h 48384"/>
                    <a:gd name="connsiteX9" fmla="*/ 1919 w 48387"/>
                    <a:gd name="connsiteY9" fmla="*/ 15012 h 48384"/>
                    <a:gd name="connsiteX10" fmla="*/ 11179 w 48387"/>
                    <a:gd name="connsiteY10" fmla="*/ 5748 h 48384"/>
                    <a:gd name="connsiteX11" fmla="*/ 38949 w 48387"/>
                    <a:gd name="connsiteY11" fmla="*/ 5735 h 48384"/>
                    <a:gd name="connsiteX12" fmla="*/ 42651 w 48387"/>
                    <a:gd name="connsiteY12" fmla="*/ 9438 h 48384"/>
                    <a:gd name="connsiteX13" fmla="*/ 42638 w 48387"/>
                    <a:gd name="connsiteY13" fmla="*/ 37207 h 48384"/>
                    <a:gd name="connsiteX14" fmla="*/ 33374 w 48387"/>
                    <a:gd name="connsiteY14" fmla="*/ 46465 h 48384"/>
                    <a:gd name="connsiteX15" fmla="*/ 28747 w 48387"/>
                    <a:gd name="connsiteY15" fmla="*/ 48384 h 4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387" h="48384">
                      <a:moveTo>
                        <a:pt x="28747" y="48384"/>
                      </a:moveTo>
                      <a:cubicBezTo>
                        <a:pt x="27073" y="48384"/>
                        <a:pt x="25395" y="47745"/>
                        <a:pt x="24117" y="46468"/>
                      </a:cubicBezTo>
                      <a:cubicBezTo>
                        <a:pt x="21562" y="43909"/>
                        <a:pt x="21562" y="39762"/>
                        <a:pt x="24120" y="37210"/>
                      </a:cubicBezTo>
                      <a:lnTo>
                        <a:pt x="33384" y="27953"/>
                      </a:lnTo>
                      <a:cubicBezTo>
                        <a:pt x="35939" y="25395"/>
                        <a:pt x="35945" y="21247"/>
                        <a:pt x="33397" y="18695"/>
                      </a:cubicBezTo>
                      <a:lnTo>
                        <a:pt x="29694" y="14993"/>
                      </a:lnTo>
                      <a:cubicBezTo>
                        <a:pt x="27146" y="12441"/>
                        <a:pt x="22998" y="12454"/>
                        <a:pt x="20437" y="15006"/>
                      </a:cubicBezTo>
                      <a:lnTo>
                        <a:pt x="11176" y="24270"/>
                      </a:lnTo>
                      <a:cubicBezTo>
                        <a:pt x="8624" y="26828"/>
                        <a:pt x="4477" y="26828"/>
                        <a:pt x="1919" y="24270"/>
                      </a:cubicBezTo>
                      <a:cubicBezTo>
                        <a:pt x="-640" y="21711"/>
                        <a:pt x="-640" y="17570"/>
                        <a:pt x="1919" y="15012"/>
                      </a:cubicBezTo>
                      <a:lnTo>
                        <a:pt x="11179" y="5748"/>
                      </a:lnTo>
                      <a:cubicBezTo>
                        <a:pt x="18838" y="-1911"/>
                        <a:pt x="31296" y="-1917"/>
                        <a:pt x="38949" y="5735"/>
                      </a:cubicBezTo>
                      <a:lnTo>
                        <a:pt x="42651" y="9438"/>
                      </a:lnTo>
                      <a:cubicBezTo>
                        <a:pt x="50304" y="17090"/>
                        <a:pt x="50300" y="29548"/>
                        <a:pt x="42638" y="37207"/>
                      </a:cubicBezTo>
                      <a:lnTo>
                        <a:pt x="33374" y="46465"/>
                      </a:lnTo>
                      <a:cubicBezTo>
                        <a:pt x="32097" y="47745"/>
                        <a:pt x="30422" y="48384"/>
                        <a:pt x="28747" y="48384"/>
                      </a:cubicBezTo>
                      <a:close/>
                    </a:path>
                  </a:pathLst>
                </a:custGeom>
                <a:grpFill/>
                <a:ln w="318" cap="flat">
                  <a:noFill/>
                  <a:prstDash val="solid"/>
                  <a:miter/>
                </a:ln>
              </p:spPr>
              <p:txBody>
                <a:bodyPr rtlCol="0" anchor="ctr"/>
                <a:lstStyle/>
                <a:p>
                  <a:endParaRPr lang="en-GB" dirty="0"/>
                </a:p>
              </p:txBody>
            </p:sp>
            <p:sp>
              <p:nvSpPr>
                <p:cNvPr id="300" name="Freihandform: Form 412">
                  <a:extLst>
                    <a:ext uri="{FF2B5EF4-FFF2-40B4-BE49-F238E27FC236}">
                      <a16:creationId xmlns:a16="http://schemas.microsoft.com/office/drawing/2014/main" id="{5AAAD083-1A06-4531-9C0F-DCCCFB0C3A28}"/>
                    </a:ext>
                  </a:extLst>
                </p:cNvPr>
                <p:cNvSpPr/>
                <p:nvPr/>
              </p:nvSpPr>
              <p:spPr>
                <a:xfrm>
                  <a:off x="1157250" y="3490038"/>
                  <a:ext cx="101812" cy="79491"/>
                </a:xfrm>
                <a:custGeom>
                  <a:avLst/>
                  <a:gdLst>
                    <a:gd name="connsiteX0" fmla="*/ 6546 w 101812"/>
                    <a:gd name="connsiteY0" fmla="*/ 79491 h 79491"/>
                    <a:gd name="connsiteX1" fmla="*/ 1916 w 101812"/>
                    <a:gd name="connsiteY1" fmla="*/ 77565 h 79491"/>
                    <a:gd name="connsiteX2" fmla="*/ 1922 w 101812"/>
                    <a:gd name="connsiteY2" fmla="*/ 68308 h 79491"/>
                    <a:gd name="connsiteX3" fmla="*/ 64601 w 101812"/>
                    <a:gd name="connsiteY3" fmla="*/ 5743 h 79491"/>
                    <a:gd name="connsiteX4" fmla="*/ 92367 w 101812"/>
                    <a:gd name="connsiteY4" fmla="*/ 5736 h 79491"/>
                    <a:gd name="connsiteX5" fmla="*/ 96070 w 101812"/>
                    <a:gd name="connsiteY5" fmla="*/ 9439 h 79491"/>
                    <a:gd name="connsiteX6" fmla="*/ 101812 w 101812"/>
                    <a:gd name="connsiteY6" fmla="*/ 23323 h 79491"/>
                    <a:gd name="connsiteX7" fmla="*/ 96057 w 101812"/>
                    <a:gd name="connsiteY7" fmla="*/ 37202 h 79491"/>
                    <a:gd name="connsiteX8" fmla="*/ 86793 w 101812"/>
                    <a:gd name="connsiteY8" fmla="*/ 46465 h 79491"/>
                    <a:gd name="connsiteX9" fmla="*/ 77536 w 101812"/>
                    <a:gd name="connsiteY9" fmla="*/ 46465 h 79491"/>
                    <a:gd name="connsiteX10" fmla="*/ 77536 w 101812"/>
                    <a:gd name="connsiteY10" fmla="*/ 37208 h 79491"/>
                    <a:gd name="connsiteX11" fmla="*/ 86800 w 101812"/>
                    <a:gd name="connsiteY11" fmla="*/ 27944 h 79491"/>
                    <a:gd name="connsiteX12" fmla="*/ 88719 w 101812"/>
                    <a:gd name="connsiteY12" fmla="*/ 23317 h 79491"/>
                    <a:gd name="connsiteX13" fmla="*/ 86809 w 101812"/>
                    <a:gd name="connsiteY13" fmla="*/ 18696 h 79491"/>
                    <a:gd name="connsiteX14" fmla="*/ 83107 w 101812"/>
                    <a:gd name="connsiteY14" fmla="*/ 14994 h 79491"/>
                    <a:gd name="connsiteX15" fmla="*/ 73853 w 101812"/>
                    <a:gd name="connsiteY15" fmla="*/ 15006 h 79491"/>
                    <a:gd name="connsiteX16" fmla="*/ 11170 w 101812"/>
                    <a:gd name="connsiteY16" fmla="*/ 77581 h 79491"/>
                    <a:gd name="connsiteX17" fmla="*/ 6546 w 101812"/>
                    <a:gd name="connsiteY17" fmla="*/ 79491 h 79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1812" h="79491">
                      <a:moveTo>
                        <a:pt x="6546" y="79491"/>
                      </a:moveTo>
                      <a:cubicBezTo>
                        <a:pt x="4868" y="79491"/>
                        <a:pt x="3193" y="78852"/>
                        <a:pt x="1916" y="77565"/>
                      </a:cubicBezTo>
                      <a:cubicBezTo>
                        <a:pt x="-643" y="75007"/>
                        <a:pt x="-636" y="70866"/>
                        <a:pt x="1922" y="68308"/>
                      </a:cubicBezTo>
                      <a:lnTo>
                        <a:pt x="64601" y="5743"/>
                      </a:lnTo>
                      <a:cubicBezTo>
                        <a:pt x="72257" y="-1910"/>
                        <a:pt x="84712" y="-1916"/>
                        <a:pt x="92367" y="5736"/>
                      </a:cubicBezTo>
                      <a:lnTo>
                        <a:pt x="96070" y="9439"/>
                      </a:lnTo>
                      <a:cubicBezTo>
                        <a:pt x="99775" y="13147"/>
                        <a:pt x="101816" y="18076"/>
                        <a:pt x="101812" y="23323"/>
                      </a:cubicBezTo>
                      <a:cubicBezTo>
                        <a:pt x="101809" y="28567"/>
                        <a:pt x="99766" y="33493"/>
                        <a:pt x="96057" y="37202"/>
                      </a:cubicBezTo>
                      <a:lnTo>
                        <a:pt x="86793" y="46465"/>
                      </a:lnTo>
                      <a:cubicBezTo>
                        <a:pt x="84235" y="49024"/>
                        <a:pt x="80094" y="49024"/>
                        <a:pt x="77536" y="46465"/>
                      </a:cubicBezTo>
                      <a:cubicBezTo>
                        <a:pt x="74978" y="43907"/>
                        <a:pt x="74978" y="39766"/>
                        <a:pt x="77536" y="37208"/>
                      </a:cubicBezTo>
                      <a:lnTo>
                        <a:pt x="86800" y="27944"/>
                      </a:lnTo>
                      <a:cubicBezTo>
                        <a:pt x="88036" y="26705"/>
                        <a:pt x="88719" y="25062"/>
                        <a:pt x="88719" y="23317"/>
                      </a:cubicBezTo>
                      <a:cubicBezTo>
                        <a:pt x="88719" y="21572"/>
                        <a:pt x="88042" y="19929"/>
                        <a:pt x="86809" y="18696"/>
                      </a:cubicBezTo>
                      <a:lnTo>
                        <a:pt x="83107" y="14994"/>
                      </a:lnTo>
                      <a:cubicBezTo>
                        <a:pt x="80564" y="12448"/>
                        <a:pt x="76414" y="12461"/>
                        <a:pt x="73853" y="15006"/>
                      </a:cubicBezTo>
                      <a:lnTo>
                        <a:pt x="11170" y="77581"/>
                      </a:lnTo>
                      <a:cubicBezTo>
                        <a:pt x="9892" y="78852"/>
                        <a:pt x="8221" y="79491"/>
                        <a:pt x="6546" y="79491"/>
                      </a:cubicBezTo>
                      <a:close/>
                    </a:path>
                  </a:pathLst>
                </a:custGeom>
                <a:grpFill/>
                <a:ln w="318" cap="flat">
                  <a:noFill/>
                  <a:prstDash val="solid"/>
                  <a:miter/>
                </a:ln>
              </p:spPr>
              <p:txBody>
                <a:bodyPr rtlCol="0" anchor="ctr"/>
                <a:lstStyle/>
                <a:p>
                  <a:endParaRPr lang="en-GB" dirty="0"/>
                </a:p>
              </p:txBody>
            </p:sp>
          </p:grpSp>
          <p:sp>
            <p:nvSpPr>
              <p:cNvPr id="295" name="Freihandform: Form 413">
                <a:extLst>
                  <a:ext uri="{FF2B5EF4-FFF2-40B4-BE49-F238E27FC236}">
                    <a16:creationId xmlns:a16="http://schemas.microsoft.com/office/drawing/2014/main" id="{B6A2ED0E-613A-40CC-8D0A-7416EBC79FA0}"/>
                  </a:ext>
                </a:extLst>
              </p:cNvPr>
              <p:cNvSpPr/>
              <p:nvPr/>
            </p:nvSpPr>
            <p:spPr>
              <a:xfrm>
                <a:off x="975646" y="3321189"/>
                <a:ext cx="222573" cy="222573"/>
              </a:xfrm>
              <a:custGeom>
                <a:avLst/>
                <a:gdLst>
                  <a:gd name="connsiteX0" fmla="*/ 111287 w 222573"/>
                  <a:gd name="connsiteY0" fmla="*/ 222574 h 222573"/>
                  <a:gd name="connsiteX1" fmla="*/ 0 w 222573"/>
                  <a:gd name="connsiteY1" fmla="*/ 111287 h 222573"/>
                  <a:gd name="connsiteX2" fmla="*/ 111287 w 222573"/>
                  <a:gd name="connsiteY2" fmla="*/ 0 h 222573"/>
                  <a:gd name="connsiteX3" fmla="*/ 222574 w 222573"/>
                  <a:gd name="connsiteY3" fmla="*/ 111287 h 222573"/>
                  <a:gd name="connsiteX4" fmla="*/ 111287 w 222573"/>
                  <a:gd name="connsiteY4" fmla="*/ 222574 h 222573"/>
                  <a:gd name="connsiteX5" fmla="*/ 111287 w 222573"/>
                  <a:gd name="connsiteY5" fmla="*/ 13093 h 222573"/>
                  <a:gd name="connsiteX6" fmla="*/ 13093 w 222573"/>
                  <a:gd name="connsiteY6" fmla="*/ 111287 h 222573"/>
                  <a:gd name="connsiteX7" fmla="*/ 111287 w 222573"/>
                  <a:gd name="connsiteY7" fmla="*/ 209480 h 222573"/>
                  <a:gd name="connsiteX8" fmla="*/ 209480 w 222573"/>
                  <a:gd name="connsiteY8" fmla="*/ 111287 h 222573"/>
                  <a:gd name="connsiteX9" fmla="*/ 111287 w 222573"/>
                  <a:gd name="connsiteY9" fmla="*/ 13093 h 222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573" h="222573">
                    <a:moveTo>
                      <a:pt x="111287" y="222574"/>
                    </a:moveTo>
                    <a:cubicBezTo>
                      <a:pt x="49923" y="222574"/>
                      <a:pt x="0" y="172654"/>
                      <a:pt x="0" y="111287"/>
                    </a:cubicBezTo>
                    <a:cubicBezTo>
                      <a:pt x="0" y="49920"/>
                      <a:pt x="49920" y="0"/>
                      <a:pt x="111287" y="0"/>
                    </a:cubicBezTo>
                    <a:cubicBezTo>
                      <a:pt x="172651" y="0"/>
                      <a:pt x="222574" y="49920"/>
                      <a:pt x="222574" y="111287"/>
                    </a:cubicBezTo>
                    <a:cubicBezTo>
                      <a:pt x="222574" y="172654"/>
                      <a:pt x="172654" y="222574"/>
                      <a:pt x="111287" y="222574"/>
                    </a:cubicBezTo>
                    <a:close/>
                    <a:moveTo>
                      <a:pt x="111287" y="13093"/>
                    </a:moveTo>
                    <a:cubicBezTo>
                      <a:pt x="57143" y="13093"/>
                      <a:pt x="13093" y="57140"/>
                      <a:pt x="13093" y="111287"/>
                    </a:cubicBezTo>
                    <a:cubicBezTo>
                      <a:pt x="13093" y="165433"/>
                      <a:pt x="57143" y="209480"/>
                      <a:pt x="111287" y="209480"/>
                    </a:cubicBezTo>
                    <a:cubicBezTo>
                      <a:pt x="165430" y="209480"/>
                      <a:pt x="209480" y="165433"/>
                      <a:pt x="209480" y="111287"/>
                    </a:cubicBezTo>
                    <a:cubicBezTo>
                      <a:pt x="209480" y="57140"/>
                      <a:pt x="165430" y="13093"/>
                      <a:pt x="111287" y="13093"/>
                    </a:cubicBezTo>
                    <a:close/>
                  </a:path>
                </a:pathLst>
              </a:custGeom>
              <a:grpFill/>
              <a:ln w="318" cap="flat">
                <a:noFill/>
                <a:prstDash val="solid"/>
                <a:miter/>
              </a:ln>
            </p:spPr>
            <p:txBody>
              <a:bodyPr rtlCol="0" anchor="ctr"/>
              <a:lstStyle/>
              <a:p>
                <a:endParaRPr lang="en-GB" dirty="0"/>
              </a:p>
            </p:txBody>
          </p:sp>
        </p:grpSp>
        <p:grpSp>
          <p:nvGrpSpPr>
            <p:cNvPr id="283" name="Group 282">
              <a:extLst>
                <a:ext uri="{FF2B5EF4-FFF2-40B4-BE49-F238E27FC236}">
                  <a16:creationId xmlns:a16="http://schemas.microsoft.com/office/drawing/2014/main" id="{7C263E8A-79AC-47AD-A89F-77B8F3983C66}"/>
                </a:ext>
              </a:extLst>
            </p:cNvPr>
            <p:cNvGrpSpPr/>
            <p:nvPr/>
          </p:nvGrpSpPr>
          <p:grpSpPr>
            <a:xfrm>
              <a:off x="3723352" y="3210667"/>
              <a:ext cx="414055" cy="198057"/>
              <a:chOff x="892634" y="3325423"/>
              <a:chExt cx="383188" cy="183292"/>
            </a:xfrm>
          </p:grpSpPr>
          <p:grpSp>
            <p:nvGrpSpPr>
              <p:cNvPr id="284" name="Graphic 4">
                <a:extLst>
                  <a:ext uri="{FF2B5EF4-FFF2-40B4-BE49-F238E27FC236}">
                    <a16:creationId xmlns:a16="http://schemas.microsoft.com/office/drawing/2014/main" id="{132947F4-F05C-44F5-866E-24C140D0A419}"/>
                  </a:ext>
                </a:extLst>
              </p:cNvPr>
              <p:cNvGrpSpPr/>
              <p:nvPr/>
            </p:nvGrpSpPr>
            <p:grpSpPr>
              <a:xfrm>
                <a:off x="1006926" y="3387609"/>
                <a:ext cx="161255" cy="89193"/>
                <a:chOff x="1006926" y="3387609"/>
                <a:chExt cx="161255" cy="89193"/>
              </a:xfrm>
              <a:solidFill>
                <a:schemeClr val="accent1"/>
              </a:solidFill>
            </p:grpSpPr>
            <p:sp>
              <p:nvSpPr>
                <p:cNvPr id="291" name="Freihandform: Form 415">
                  <a:extLst>
                    <a:ext uri="{FF2B5EF4-FFF2-40B4-BE49-F238E27FC236}">
                      <a16:creationId xmlns:a16="http://schemas.microsoft.com/office/drawing/2014/main" id="{E267D3DA-7FC6-4972-92F4-C5CCCD62BF0B}"/>
                    </a:ext>
                  </a:extLst>
                </p:cNvPr>
                <p:cNvSpPr/>
                <p:nvPr/>
              </p:nvSpPr>
              <p:spPr>
                <a:xfrm>
                  <a:off x="1006926" y="3387609"/>
                  <a:ext cx="161255" cy="89193"/>
                </a:xfrm>
                <a:custGeom>
                  <a:avLst/>
                  <a:gdLst>
                    <a:gd name="connsiteX0" fmla="*/ 80753 w 161255"/>
                    <a:gd name="connsiteY0" fmla="*/ 89194 h 89193"/>
                    <a:gd name="connsiteX1" fmla="*/ 5228 w 161255"/>
                    <a:gd name="connsiteY1" fmla="*/ 53107 h 89193"/>
                    <a:gd name="connsiteX2" fmla="*/ 2267 w 161255"/>
                    <a:gd name="connsiteY2" fmla="*/ 50511 h 89193"/>
                    <a:gd name="connsiteX3" fmla="*/ 10 w 161255"/>
                    <a:gd name="connsiteY3" fmla="*/ 45928 h 89193"/>
                    <a:gd name="connsiteX4" fmla="*/ 1729 w 161255"/>
                    <a:gd name="connsiteY4" fmla="*/ 41126 h 89193"/>
                    <a:gd name="connsiteX5" fmla="*/ 80480 w 161255"/>
                    <a:gd name="connsiteY5" fmla="*/ 0 h 89193"/>
                    <a:gd name="connsiteX6" fmla="*/ 80769 w 161255"/>
                    <a:gd name="connsiteY6" fmla="*/ 0 h 89193"/>
                    <a:gd name="connsiteX7" fmla="*/ 159526 w 161255"/>
                    <a:gd name="connsiteY7" fmla="*/ 41126 h 89193"/>
                    <a:gd name="connsiteX8" fmla="*/ 161245 w 161255"/>
                    <a:gd name="connsiteY8" fmla="*/ 45935 h 89193"/>
                    <a:gd name="connsiteX9" fmla="*/ 158989 w 161255"/>
                    <a:gd name="connsiteY9" fmla="*/ 50511 h 89193"/>
                    <a:gd name="connsiteX10" fmla="*/ 156005 w 161255"/>
                    <a:gd name="connsiteY10" fmla="*/ 53126 h 89193"/>
                    <a:gd name="connsiteX11" fmla="*/ 80753 w 161255"/>
                    <a:gd name="connsiteY11" fmla="*/ 89194 h 89193"/>
                    <a:gd name="connsiteX12" fmla="*/ 15992 w 161255"/>
                    <a:gd name="connsiteY12" fmla="*/ 45140 h 89193"/>
                    <a:gd name="connsiteX13" fmla="*/ 80750 w 161255"/>
                    <a:gd name="connsiteY13" fmla="*/ 76100 h 89193"/>
                    <a:gd name="connsiteX14" fmla="*/ 145251 w 161255"/>
                    <a:gd name="connsiteY14" fmla="*/ 45140 h 89193"/>
                    <a:gd name="connsiteX15" fmla="*/ 80620 w 161255"/>
                    <a:gd name="connsiteY15" fmla="*/ 13093 h 89193"/>
                    <a:gd name="connsiteX16" fmla="*/ 15992 w 161255"/>
                    <a:gd name="connsiteY16" fmla="*/ 45140 h 89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255" h="89193">
                      <a:moveTo>
                        <a:pt x="80753" y="89194"/>
                      </a:moveTo>
                      <a:cubicBezTo>
                        <a:pt x="45322" y="88485"/>
                        <a:pt x="18245" y="64593"/>
                        <a:pt x="5228" y="53107"/>
                      </a:cubicBezTo>
                      <a:lnTo>
                        <a:pt x="2267" y="50511"/>
                      </a:lnTo>
                      <a:cubicBezTo>
                        <a:pt x="925" y="49348"/>
                        <a:pt x="112" y="47698"/>
                        <a:pt x="10" y="45928"/>
                      </a:cubicBezTo>
                      <a:cubicBezTo>
                        <a:pt x="-88" y="44165"/>
                        <a:pt x="531" y="42433"/>
                        <a:pt x="1729" y="41126"/>
                      </a:cubicBezTo>
                      <a:cubicBezTo>
                        <a:pt x="26279" y="14444"/>
                        <a:pt x="52778" y="610"/>
                        <a:pt x="80480" y="0"/>
                      </a:cubicBezTo>
                      <a:cubicBezTo>
                        <a:pt x="80575" y="0"/>
                        <a:pt x="80671" y="0"/>
                        <a:pt x="80769" y="0"/>
                      </a:cubicBezTo>
                      <a:cubicBezTo>
                        <a:pt x="108481" y="607"/>
                        <a:pt x="134979" y="14441"/>
                        <a:pt x="159526" y="41126"/>
                      </a:cubicBezTo>
                      <a:cubicBezTo>
                        <a:pt x="160724" y="42429"/>
                        <a:pt x="161344" y="44165"/>
                        <a:pt x="161245" y="45935"/>
                      </a:cubicBezTo>
                      <a:cubicBezTo>
                        <a:pt x="161144" y="47698"/>
                        <a:pt x="160327" y="49354"/>
                        <a:pt x="158989" y="50511"/>
                      </a:cubicBezTo>
                      <a:lnTo>
                        <a:pt x="156005" y="53126"/>
                      </a:lnTo>
                      <a:cubicBezTo>
                        <a:pt x="142982" y="64602"/>
                        <a:pt x="115902" y="88485"/>
                        <a:pt x="80753" y="89194"/>
                      </a:cubicBezTo>
                      <a:close/>
                      <a:moveTo>
                        <a:pt x="15992" y="45140"/>
                      </a:moveTo>
                      <a:cubicBezTo>
                        <a:pt x="29159" y="56692"/>
                        <a:pt x="51980" y="75519"/>
                        <a:pt x="80750" y="76100"/>
                      </a:cubicBezTo>
                      <a:cubicBezTo>
                        <a:pt x="109269" y="75519"/>
                        <a:pt x="132087" y="56686"/>
                        <a:pt x="145251" y="45140"/>
                      </a:cubicBezTo>
                      <a:cubicBezTo>
                        <a:pt x="124629" y="24394"/>
                        <a:pt x="102910" y="13624"/>
                        <a:pt x="80620" y="13093"/>
                      </a:cubicBezTo>
                      <a:cubicBezTo>
                        <a:pt x="58339" y="13624"/>
                        <a:pt x="36627" y="24397"/>
                        <a:pt x="15992" y="45140"/>
                      </a:cubicBezTo>
                      <a:close/>
                    </a:path>
                  </a:pathLst>
                </a:custGeom>
                <a:solidFill>
                  <a:schemeClr val="accent1"/>
                </a:solidFill>
                <a:ln w="318" cap="flat">
                  <a:noFill/>
                  <a:prstDash val="solid"/>
                  <a:miter/>
                </a:ln>
              </p:spPr>
              <p:txBody>
                <a:bodyPr rtlCol="0" anchor="ctr"/>
                <a:lstStyle/>
                <a:p>
                  <a:endParaRPr lang="en-GB" dirty="0"/>
                </a:p>
              </p:txBody>
            </p:sp>
            <p:sp>
              <p:nvSpPr>
                <p:cNvPr id="292" name="Freihandform: Form 416">
                  <a:extLst>
                    <a:ext uri="{FF2B5EF4-FFF2-40B4-BE49-F238E27FC236}">
                      <a16:creationId xmlns:a16="http://schemas.microsoft.com/office/drawing/2014/main" id="{423F0008-1FE9-4657-8961-D6EF38452466}"/>
                    </a:ext>
                  </a:extLst>
                </p:cNvPr>
                <p:cNvSpPr/>
                <p:nvPr/>
              </p:nvSpPr>
              <p:spPr>
                <a:xfrm>
                  <a:off x="1043750" y="3388413"/>
                  <a:ext cx="87594" cy="87591"/>
                </a:xfrm>
                <a:custGeom>
                  <a:avLst/>
                  <a:gdLst>
                    <a:gd name="connsiteX0" fmla="*/ 43799 w 87594"/>
                    <a:gd name="connsiteY0" fmla="*/ 87592 h 87591"/>
                    <a:gd name="connsiteX1" fmla="*/ 0 w 87594"/>
                    <a:gd name="connsiteY1" fmla="*/ 43796 h 87591"/>
                    <a:gd name="connsiteX2" fmla="*/ 43799 w 87594"/>
                    <a:gd name="connsiteY2" fmla="*/ 0 h 87591"/>
                    <a:gd name="connsiteX3" fmla="*/ 87595 w 87594"/>
                    <a:gd name="connsiteY3" fmla="*/ 43796 h 87591"/>
                    <a:gd name="connsiteX4" fmla="*/ 43799 w 87594"/>
                    <a:gd name="connsiteY4" fmla="*/ 87592 h 87591"/>
                    <a:gd name="connsiteX5" fmla="*/ 43799 w 87594"/>
                    <a:gd name="connsiteY5" fmla="*/ 13090 h 87591"/>
                    <a:gd name="connsiteX6" fmla="*/ 13090 w 87594"/>
                    <a:gd name="connsiteY6" fmla="*/ 43796 h 87591"/>
                    <a:gd name="connsiteX7" fmla="*/ 43799 w 87594"/>
                    <a:gd name="connsiteY7" fmla="*/ 74502 h 87591"/>
                    <a:gd name="connsiteX8" fmla="*/ 74505 w 87594"/>
                    <a:gd name="connsiteY8" fmla="*/ 43796 h 87591"/>
                    <a:gd name="connsiteX9" fmla="*/ 43799 w 87594"/>
                    <a:gd name="connsiteY9" fmla="*/ 13090 h 87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594" h="87591">
                      <a:moveTo>
                        <a:pt x="43799" y="87592"/>
                      </a:moveTo>
                      <a:cubicBezTo>
                        <a:pt x="19646" y="87592"/>
                        <a:pt x="0" y="67946"/>
                        <a:pt x="0" y="43796"/>
                      </a:cubicBezTo>
                      <a:cubicBezTo>
                        <a:pt x="0" y="19646"/>
                        <a:pt x="19650" y="0"/>
                        <a:pt x="43799" y="0"/>
                      </a:cubicBezTo>
                      <a:cubicBezTo>
                        <a:pt x="67949" y="0"/>
                        <a:pt x="87595" y="19646"/>
                        <a:pt x="87595" y="43796"/>
                      </a:cubicBezTo>
                      <a:cubicBezTo>
                        <a:pt x="87595" y="67946"/>
                        <a:pt x="67949" y="87592"/>
                        <a:pt x="43799" y="87592"/>
                      </a:cubicBezTo>
                      <a:close/>
                      <a:moveTo>
                        <a:pt x="43799" y="13090"/>
                      </a:moveTo>
                      <a:cubicBezTo>
                        <a:pt x="26867" y="13090"/>
                        <a:pt x="13090" y="26867"/>
                        <a:pt x="13090" y="43796"/>
                      </a:cubicBezTo>
                      <a:cubicBezTo>
                        <a:pt x="13090" y="60725"/>
                        <a:pt x="26867" y="74502"/>
                        <a:pt x="43799" y="74502"/>
                      </a:cubicBezTo>
                      <a:cubicBezTo>
                        <a:pt x="60731" y="74502"/>
                        <a:pt x="74505" y="60725"/>
                        <a:pt x="74505" y="43796"/>
                      </a:cubicBezTo>
                      <a:cubicBezTo>
                        <a:pt x="74505" y="26867"/>
                        <a:pt x="60731" y="13090"/>
                        <a:pt x="43799" y="13090"/>
                      </a:cubicBezTo>
                      <a:close/>
                    </a:path>
                  </a:pathLst>
                </a:custGeom>
                <a:solidFill>
                  <a:schemeClr val="accent1"/>
                </a:solidFill>
                <a:ln w="318" cap="flat">
                  <a:noFill/>
                  <a:prstDash val="solid"/>
                  <a:miter/>
                </a:ln>
              </p:spPr>
              <p:txBody>
                <a:bodyPr rtlCol="0" anchor="ctr"/>
                <a:lstStyle/>
                <a:p>
                  <a:endParaRPr lang="en-GB" dirty="0"/>
                </a:p>
              </p:txBody>
            </p:sp>
          </p:grpSp>
          <p:grpSp>
            <p:nvGrpSpPr>
              <p:cNvPr id="285" name="Graphic 4">
                <a:extLst>
                  <a:ext uri="{FF2B5EF4-FFF2-40B4-BE49-F238E27FC236}">
                    <a16:creationId xmlns:a16="http://schemas.microsoft.com/office/drawing/2014/main" id="{B3078A1E-4B38-4C12-9EE4-778BB1DD4E91}"/>
                  </a:ext>
                </a:extLst>
              </p:cNvPr>
              <p:cNvGrpSpPr/>
              <p:nvPr/>
            </p:nvGrpSpPr>
            <p:grpSpPr>
              <a:xfrm>
                <a:off x="1219942" y="3325423"/>
                <a:ext cx="55880" cy="98192"/>
                <a:chOff x="1219942" y="3325423"/>
                <a:chExt cx="55880" cy="98192"/>
              </a:xfrm>
              <a:solidFill>
                <a:schemeClr val="accent1"/>
              </a:solidFill>
            </p:grpSpPr>
            <p:sp>
              <p:nvSpPr>
                <p:cNvPr id="289" name="Freihandform: Form 418">
                  <a:extLst>
                    <a:ext uri="{FF2B5EF4-FFF2-40B4-BE49-F238E27FC236}">
                      <a16:creationId xmlns:a16="http://schemas.microsoft.com/office/drawing/2014/main" id="{8279AA05-7477-4638-AF82-A0CB20E45DF2}"/>
                    </a:ext>
                  </a:extLst>
                </p:cNvPr>
                <p:cNvSpPr/>
                <p:nvPr/>
              </p:nvSpPr>
              <p:spPr>
                <a:xfrm>
                  <a:off x="1229999" y="3410522"/>
                  <a:ext cx="45823" cy="13093"/>
                </a:xfrm>
                <a:custGeom>
                  <a:avLst/>
                  <a:gdLst>
                    <a:gd name="connsiteX0" fmla="*/ 39277 w 45823"/>
                    <a:gd name="connsiteY0" fmla="*/ 13093 h 13093"/>
                    <a:gd name="connsiteX1" fmla="*/ 6547 w 45823"/>
                    <a:gd name="connsiteY1" fmla="*/ 13093 h 13093"/>
                    <a:gd name="connsiteX2" fmla="*/ 0 w 45823"/>
                    <a:gd name="connsiteY2" fmla="*/ 6547 h 13093"/>
                    <a:gd name="connsiteX3" fmla="*/ 6547 w 45823"/>
                    <a:gd name="connsiteY3" fmla="*/ 0 h 13093"/>
                    <a:gd name="connsiteX4" fmla="*/ 39277 w 45823"/>
                    <a:gd name="connsiteY4" fmla="*/ 0 h 13093"/>
                    <a:gd name="connsiteX5" fmla="*/ 45823 w 45823"/>
                    <a:gd name="connsiteY5" fmla="*/ 6547 h 13093"/>
                    <a:gd name="connsiteX6" fmla="*/ 39277 w 45823"/>
                    <a:gd name="connsiteY6" fmla="*/ 13093 h 1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23" h="13093">
                      <a:moveTo>
                        <a:pt x="39277" y="13093"/>
                      </a:moveTo>
                      <a:lnTo>
                        <a:pt x="6547" y="13093"/>
                      </a:lnTo>
                      <a:cubicBezTo>
                        <a:pt x="2930" y="13093"/>
                        <a:pt x="0" y="10166"/>
                        <a:pt x="0" y="6547"/>
                      </a:cubicBezTo>
                      <a:cubicBezTo>
                        <a:pt x="0" y="2927"/>
                        <a:pt x="2930" y="0"/>
                        <a:pt x="6547" y="0"/>
                      </a:cubicBezTo>
                      <a:lnTo>
                        <a:pt x="39277" y="0"/>
                      </a:lnTo>
                      <a:cubicBezTo>
                        <a:pt x="42893" y="0"/>
                        <a:pt x="45823" y="2927"/>
                        <a:pt x="45823" y="6547"/>
                      </a:cubicBezTo>
                      <a:cubicBezTo>
                        <a:pt x="45823" y="10166"/>
                        <a:pt x="42890" y="13093"/>
                        <a:pt x="39277" y="13093"/>
                      </a:cubicBezTo>
                      <a:close/>
                    </a:path>
                  </a:pathLst>
                </a:custGeom>
                <a:solidFill>
                  <a:schemeClr val="accent1"/>
                </a:solidFill>
                <a:ln w="318" cap="flat">
                  <a:noFill/>
                  <a:prstDash val="solid"/>
                  <a:miter/>
                </a:ln>
              </p:spPr>
              <p:txBody>
                <a:bodyPr rtlCol="0" anchor="ctr"/>
                <a:lstStyle/>
                <a:p>
                  <a:endParaRPr lang="en-GB" dirty="0"/>
                </a:p>
              </p:txBody>
            </p:sp>
            <p:sp>
              <p:nvSpPr>
                <p:cNvPr id="290" name="Freihandform: Form 419">
                  <a:extLst>
                    <a:ext uri="{FF2B5EF4-FFF2-40B4-BE49-F238E27FC236}">
                      <a16:creationId xmlns:a16="http://schemas.microsoft.com/office/drawing/2014/main" id="{1BE16066-E048-4A54-840C-5F9C93EE719F}"/>
                    </a:ext>
                  </a:extLst>
                </p:cNvPr>
                <p:cNvSpPr/>
                <p:nvPr/>
              </p:nvSpPr>
              <p:spPr>
                <a:xfrm>
                  <a:off x="1219942" y="3325423"/>
                  <a:ext cx="42788" cy="26182"/>
                </a:xfrm>
                <a:custGeom>
                  <a:avLst/>
                  <a:gdLst>
                    <a:gd name="connsiteX0" fmla="*/ 6552 w 42788"/>
                    <a:gd name="connsiteY0" fmla="*/ 26183 h 26182"/>
                    <a:gd name="connsiteX1" fmla="*/ 558 w 42788"/>
                    <a:gd name="connsiteY1" fmla="*/ 22277 h 26182"/>
                    <a:gd name="connsiteX2" fmla="*/ 3908 w 42788"/>
                    <a:gd name="connsiteY2" fmla="*/ 13645 h 26182"/>
                    <a:gd name="connsiteX3" fmla="*/ 33600 w 42788"/>
                    <a:gd name="connsiteY3" fmla="*/ 552 h 26182"/>
                    <a:gd name="connsiteX4" fmla="*/ 42231 w 42788"/>
                    <a:gd name="connsiteY4" fmla="*/ 3902 h 26182"/>
                    <a:gd name="connsiteX5" fmla="*/ 38881 w 42788"/>
                    <a:gd name="connsiteY5" fmla="*/ 12533 h 26182"/>
                    <a:gd name="connsiteX6" fmla="*/ 9189 w 42788"/>
                    <a:gd name="connsiteY6" fmla="*/ 25626 h 26182"/>
                    <a:gd name="connsiteX7" fmla="*/ 6552 w 42788"/>
                    <a:gd name="connsiteY7" fmla="*/ 26183 h 2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88" h="26182">
                      <a:moveTo>
                        <a:pt x="6552" y="26183"/>
                      </a:moveTo>
                      <a:cubicBezTo>
                        <a:pt x="4035" y="26183"/>
                        <a:pt x="1638" y="24724"/>
                        <a:pt x="558" y="22277"/>
                      </a:cubicBezTo>
                      <a:cubicBezTo>
                        <a:pt x="-901" y="18972"/>
                        <a:pt x="599" y="15104"/>
                        <a:pt x="3908" y="13645"/>
                      </a:cubicBezTo>
                      <a:lnTo>
                        <a:pt x="33600" y="552"/>
                      </a:lnTo>
                      <a:cubicBezTo>
                        <a:pt x="36905" y="-894"/>
                        <a:pt x="40769" y="597"/>
                        <a:pt x="42231" y="3902"/>
                      </a:cubicBezTo>
                      <a:cubicBezTo>
                        <a:pt x="43690" y="7207"/>
                        <a:pt x="42190" y="11074"/>
                        <a:pt x="38881" y="12533"/>
                      </a:cubicBezTo>
                      <a:lnTo>
                        <a:pt x="9189" y="25626"/>
                      </a:lnTo>
                      <a:cubicBezTo>
                        <a:pt x="8331" y="26005"/>
                        <a:pt x="7435" y="26183"/>
                        <a:pt x="6552" y="26183"/>
                      </a:cubicBezTo>
                      <a:close/>
                    </a:path>
                  </a:pathLst>
                </a:custGeom>
                <a:solidFill>
                  <a:schemeClr val="accent1"/>
                </a:solidFill>
                <a:ln w="318" cap="flat">
                  <a:noFill/>
                  <a:prstDash val="solid"/>
                  <a:miter/>
                </a:ln>
              </p:spPr>
              <p:txBody>
                <a:bodyPr rtlCol="0" anchor="ctr"/>
                <a:lstStyle/>
                <a:p>
                  <a:endParaRPr lang="en-GB" dirty="0"/>
                </a:p>
              </p:txBody>
            </p:sp>
          </p:grpSp>
          <p:sp>
            <p:nvSpPr>
              <p:cNvPr id="286" name="Freihandform: Form 420">
                <a:extLst>
                  <a:ext uri="{FF2B5EF4-FFF2-40B4-BE49-F238E27FC236}">
                    <a16:creationId xmlns:a16="http://schemas.microsoft.com/office/drawing/2014/main" id="{1F7A05FE-0EBB-4BE2-8F21-DFB31A116710}"/>
                  </a:ext>
                </a:extLst>
              </p:cNvPr>
              <p:cNvSpPr/>
              <p:nvPr/>
            </p:nvSpPr>
            <p:spPr>
              <a:xfrm>
                <a:off x="892634" y="3410522"/>
                <a:ext cx="45823" cy="13093"/>
              </a:xfrm>
              <a:custGeom>
                <a:avLst/>
                <a:gdLst>
                  <a:gd name="connsiteX0" fmla="*/ 39277 w 45823"/>
                  <a:gd name="connsiteY0" fmla="*/ 13093 h 13093"/>
                  <a:gd name="connsiteX1" fmla="*/ 6547 w 45823"/>
                  <a:gd name="connsiteY1" fmla="*/ 13093 h 13093"/>
                  <a:gd name="connsiteX2" fmla="*/ 0 w 45823"/>
                  <a:gd name="connsiteY2" fmla="*/ 6547 h 13093"/>
                  <a:gd name="connsiteX3" fmla="*/ 6547 w 45823"/>
                  <a:gd name="connsiteY3" fmla="*/ 0 h 13093"/>
                  <a:gd name="connsiteX4" fmla="*/ 39277 w 45823"/>
                  <a:gd name="connsiteY4" fmla="*/ 0 h 13093"/>
                  <a:gd name="connsiteX5" fmla="*/ 45823 w 45823"/>
                  <a:gd name="connsiteY5" fmla="*/ 6547 h 13093"/>
                  <a:gd name="connsiteX6" fmla="*/ 39277 w 45823"/>
                  <a:gd name="connsiteY6" fmla="*/ 13093 h 1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23" h="13093">
                    <a:moveTo>
                      <a:pt x="39277" y="13093"/>
                    </a:moveTo>
                    <a:lnTo>
                      <a:pt x="6547" y="13093"/>
                    </a:lnTo>
                    <a:cubicBezTo>
                      <a:pt x="2930" y="13093"/>
                      <a:pt x="0" y="10166"/>
                      <a:pt x="0" y="6547"/>
                    </a:cubicBezTo>
                    <a:cubicBezTo>
                      <a:pt x="0" y="2927"/>
                      <a:pt x="2930" y="0"/>
                      <a:pt x="6547" y="0"/>
                    </a:cubicBezTo>
                    <a:lnTo>
                      <a:pt x="39277" y="0"/>
                    </a:lnTo>
                    <a:cubicBezTo>
                      <a:pt x="42893" y="0"/>
                      <a:pt x="45823" y="2927"/>
                      <a:pt x="45823" y="6547"/>
                    </a:cubicBezTo>
                    <a:cubicBezTo>
                      <a:pt x="45823" y="10166"/>
                      <a:pt x="42893" y="13093"/>
                      <a:pt x="39277" y="13093"/>
                    </a:cubicBezTo>
                    <a:close/>
                  </a:path>
                </a:pathLst>
              </a:custGeom>
              <a:solidFill>
                <a:schemeClr val="accent1"/>
              </a:solidFill>
              <a:ln w="318" cap="flat">
                <a:noFill/>
                <a:prstDash val="solid"/>
                <a:miter/>
              </a:ln>
            </p:spPr>
            <p:txBody>
              <a:bodyPr rtlCol="0" anchor="ctr"/>
              <a:lstStyle/>
              <a:p>
                <a:endParaRPr lang="en-GB" dirty="0"/>
              </a:p>
            </p:txBody>
          </p:sp>
          <p:sp>
            <p:nvSpPr>
              <p:cNvPr id="287" name="Freihandform: Form 421">
                <a:extLst>
                  <a:ext uri="{FF2B5EF4-FFF2-40B4-BE49-F238E27FC236}">
                    <a16:creationId xmlns:a16="http://schemas.microsoft.com/office/drawing/2014/main" id="{160926A6-320E-4C60-B378-7EE8557DB476}"/>
                  </a:ext>
                </a:extLst>
              </p:cNvPr>
              <p:cNvSpPr/>
              <p:nvPr/>
            </p:nvSpPr>
            <p:spPr>
              <a:xfrm>
                <a:off x="905725" y="3325423"/>
                <a:ext cx="42788" cy="26182"/>
              </a:xfrm>
              <a:custGeom>
                <a:avLst/>
                <a:gdLst>
                  <a:gd name="connsiteX0" fmla="*/ 36237 w 42788"/>
                  <a:gd name="connsiteY0" fmla="*/ 26183 h 26182"/>
                  <a:gd name="connsiteX1" fmla="*/ 33600 w 42788"/>
                  <a:gd name="connsiteY1" fmla="*/ 25626 h 26182"/>
                  <a:gd name="connsiteX2" fmla="*/ 3908 w 42788"/>
                  <a:gd name="connsiteY2" fmla="*/ 12533 h 26182"/>
                  <a:gd name="connsiteX3" fmla="*/ 558 w 42788"/>
                  <a:gd name="connsiteY3" fmla="*/ 3902 h 26182"/>
                  <a:gd name="connsiteX4" fmla="*/ 9189 w 42788"/>
                  <a:gd name="connsiteY4" fmla="*/ 552 h 26182"/>
                  <a:gd name="connsiteX5" fmla="*/ 38881 w 42788"/>
                  <a:gd name="connsiteY5" fmla="*/ 13645 h 26182"/>
                  <a:gd name="connsiteX6" fmla="*/ 42231 w 42788"/>
                  <a:gd name="connsiteY6" fmla="*/ 22277 h 26182"/>
                  <a:gd name="connsiteX7" fmla="*/ 36237 w 42788"/>
                  <a:gd name="connsiteY7" fmla="*/ 26183 h 2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88" h="26182">
                    <a:moveTo>
                      <a:pt x="36237" y="26183"/>
                    </a:moveTo>
                    <a:cubicBezTo>
                      <a:pt x="35354" y="26183"/>
                      <a:pt x="34458" y="26005"/>
                      <a:pt x="33600" y="25626"/>
                    </a:cubicBezTo>
                    <a:lnTo>
                      <a:pt x="3908" y="12533"/>
                    </a:lnTo>
                    <a:cubicBezTo>
                      <a:pt x="599" y="11074"/>
                      <a:pt x="-901" y="7207"/>
                      <a:pt x="558" y="3902"/>
                    </a:cubicBezTo>
                    <a:cubicBezTo>
                      <a:pt x="2020" y="597"/>
                      <a:pt x="5894" y="-894"/>
                      <a:pt x="9189" y="552"/>
                    </a:cubicBezTo>
                    <a:lnTo>
                      <a:pt x="38881" y="13645"/>
                    </a:lnTo>
                    <a:cubicBezTo>
                      <a:pt x="42190" y="15104"/>
                      <a:pt x="43690" y="18972"/>
                      <a:pt x="42231" y="22277"/>
                    </a:cubicBezTo>
                    <a:cubicBezTo>
                      <a:pt x="41150" y="24727"/>
                      <a:pt x="38751" y="26183"/>
                      <a:pt x="36237" y="26183"/>
                    </a:cubicBezTo>
                    <a:close/>
                  </a:path>
                </a:pathLst>
              </a:custGeom>
              <a:solidFill>
                <a:schemeClr val="accent1"/>
              </a:solidFill>
              <a:ln w="318" cap="flat">
                <a:noFill/>
                <a:prstDash val="solid"/>
                <a:miter/>
              </a:ln>
            </p:spPr>
            <p:txBody>
              <a:bodyPr rtlCol="0" anchor="ctr"/>
              <a:lstStyle/>
              <a:p>
                <a:endParaRPr lang="en-GB" dirty="0"/>
              </a:p>
            </p:txBody>
          </p:sp>
          <p:sp>
            <p:nvSpPr>
              <p:cNvPr id="288" name="Freihandform: Form 422">
                <a:extLst>
                  <a:ext uri="{FF2B5EF4-FFF2-40B4-BE49-F238E27FC236}">
                    <a16:creationId xmlns:a16="http://schemas.microsoft.com/office/drawing/2014/main" id="{D5D11A0B-76ED-4175-B3C2-B57E16C1F400}"/>
                  </a:ext>
                </a:extLst>
              </p:cNvPr>
              <p:cNvSpPr/>
              <p:nvPr/>
            </p:nvSpPr>
            <p:spPr>
              <a:xfrm>
                <a:off x="905725" y="3482533"/>
                <a:ext cx="42788" cy="26182"/>
              </a:xfrm>
              <a:custGeom>
                <a:avLst/>
                <a:gdLst>
                  <a:gd name="connsiteX0" fmla="*/ 6552 w 42788"/>
                  <a:gd name="connsiteY0" fmla="*/ 26183 h 26182"/>
                  <a:gd name="connsiteX1" fmla="*/ 558 w 42788"/>
                  <a:gd name="connsiteY1" fmla="*/ 22277 h 26182"/>
                  <a:gd name="connsiteX2" fmla="*/ 3908 w 42788"/>
                  <a:gd name="connsiteY2" fmla="*/ 13645 h 26182"/>
                  <a:gd name="connsiteX3" fmla="*/ 33600 w 42788"/>
                  <a:gd name="connsiteY3" fmla="*/ 552 h 26182"/>
                  <a:gd name="connsiteX4" fmla="*/ 42231 w 42788"/>
                  <a:gd name="connsiteY4" fmla="*/ 3902 h 26182"/>
                  <a:gd name="connsiteX5" fmla="*/ 38881 w 42788"/>
                  <a:gd name="connsiteY5" fmla="*/ 12533 h 26182"/>
                  <a:gd name="connsiteX6" fmla="*/ 9189 w 42788"/>
                  <a:gd name="connsiteY6" fmla="*/ 25626 h 26182"/>
                  <a:gd name="connsiteX7" fmla="*/ 6552 w 42788"/>
                  <a:gd name="connsiteY7" fmla="*/ 26183 h 26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88" h="26182">
                    <a:moveTo>
                      <a:pt x="6552" y="26183"/>
                    </a:moveTo>
                    <a:cubicBezTo>
                      <a:pt x="4035" y="26183"/>
                      <a:pt x="1638" y="24724"/>
                      <a:pt x="558" y="22277"/>
                    </a:cubicBezTo>
                    <a:cubicBezTo>
                      <a:pt x="-901" y="18972"/>
                      <a:pt x="599" y="15104"/>
                      <a:pt x="3908" y="13645"/>
                    </a:cubicBezTo>
                    <a:lnTo>
                      <a:pt x="33600" y="552"/>
                    </a:lnTo>
                    <a:cubicBezTo>
                      <a:pt x="36905" y="-894"/>
                      <a:pt x="40772" y="597"/>
                      <a:pt x="42231" y="3902"/>
                    </a:cubicBezTo>
                    <a:cubicBezTo>
                      <a:pt x="43690" y="7207"/>
                      <a:pt x="42190" y="11074"/>
                      <a:pt x="38881" y="12533"/>
                    </a:cubicBezTo>
                    <a:lnTo>
                      <a:pt x="9189" y="25626"/>
                    </a:lnTo>
                    <a:cubicBezTo>
                      <a:pt x="8331" y="26005"/>
                      <a:pt x="7432" y="26183"/>
                      <a:pt x="6552" y="26183"/>
                    </a:cubicBezTo>
                    <a:close/>
                  </a:path>
                </a:pathLst>
              </a:custGeom>
              <a:solidFill>
                <a:schemeClr val="accent1"/>
              </a:solidFill>
              <a:ln w="318" cap="flat">
                <a:noFill/>
                <a:prstDash val="solid"/>
                <a:miter/>
              </a:ln>
            </p:spPr>
            <p:txBody>
              <a:bodyPr rtlCol="0" anchor="ctr"/>
              <a:lstStyle/>
              <a:p>
                <a:endParaRPr lang="en-GB" dirty="0"/>
              </a:p>
            </p:txBody>
          </p:sp>
        </p:grpSp>
      </p:grpSp>
      <p:grpSp>
        <p:nvGrpSpPr>
          <p:cNvPr id="47" name="Group 46">
            <a:extLst>
              <a:ext uri="{FF2B5EF4-FFF2-40B4-BE49-F238E27FC236}">
                <a16:creationId xmlns:a16="http://schemas.microsoft.com/office/drawing/2014/main" id="{928E9D68-D470-623A-02A8-10B6A25F78D9}"/>
              </a:ext>
            </a:extLst>
          </p:cNvPr>
          <p:cNvGrpSpPr/>
          <p:nvPr/>
        </p:nvGrpSpPr>
        <p:grpSpPr>
          <a:xfrm>
            <a:off x="503782" y="4040084"/>
            <a:ext cx="580536" cy="432001"/>
            <a:chOff x="503782" y="4040084"/>
            <a:chExt cx="580536" cy="432001"/>
          </a:xfrm>
        </p:grpSpPr>
        <p:grpSp>
          <p:nvGrpSpPr>
            <p:cNvPr id="302" name="Graphic 4">
              <a:extLst>
                <a:ext uri="{FF2B5EF4-FFF2-40B4-BE49-F238E27FC236}">
                  <a16:creationId xmlns:a16="http://schemas.microsoft.com/office/drawing/2014/main" id="{342BE663-A818-495E-B6DB-25F81FBBDFBC}"/>
                </a:ext>
              </a:extLst>
            </p:cNvPr>
            <p:cNvGrpSpPr/>
            <p:nvPr/>
          </p:nvGrpSpPr>
          <p:grpSpPr>
            <a:xfrm>
              <a:off x="678995" y="4141956"/>
              <a:ext cx="226228" cy="226247"/>
              <a:chOff x="1001886" y="4221759"/>
              <a:chExt cx="209477" cy="209495"/>
            </a:xfrm>
            <a:solidFill>
              <a:schemeClr val="tx2"/>
            </a:solidFill>
          </p:grpSpPr>
          <p:sp>
            <p:nvSpPr>
              <p:cNvPr id="325" name="Freihandform: Form 491">
                <a:extLst>
                  <a:ext uri="{FF2B5EF4-FFF2-40B4-BE49-F238E27FC236}">
                    <a16:creationId xmlns:a16="http://schemas.microsoft.com/office/drawing/2014/main" id="{902C95A6-DB4D-4BFD-9062-5DE69B49C5A3}"/>
                  </a:ext>
                </a:extLst>
              </p:cNvPr>
              <p:cNvSpPr/>
              <p:nvPr/>
            </p:nvSpPr>
            <p:spPr>
              <a:xfrm>
                <a:off x="1072806" y="4292697"/>
                <a:ext cx="67643" cy="67640"/>
              </a:xfrm>
              <a:custGeom>
                <a:avLst/>
                <a:gdLst>
                  <a:gd name="connsiteX0" fmla="*/ 33820 w 67643"/>
                  <a:gd name="connsiteY0" fmla="*/ 67640 h 67640"/>
                  <a:gd name="connsiteX1" fmla="*/ 0 w 67643"/>
                  <a:gd name="connsiteY1" fmla="*/ 33817 h 67640"/>
                  <a:gd name="connsiteX2" fmla="*/ 33820 w 67643"/>
                  <a:gd name="connsiteY2" fmla="*/ 0 h 67640"/>
                  <a:gd name="connsiteX3" fmla="*/ 67644 w 67643"/>
                  <a:gd name="connsiteY3" fmla="*/ 33817 h 67640"/>
                  <a:gd name="connsiteX4" fmla="*/ 33820 w 67643"/>
                  <a:gd name="connsiteY4" fmla="*/ 67640 h 67640"/>
                  <a:gd name="connsiteX5" fmla="*/ 33820 w 67643"/>
                  <a:gd name="connsiteY5" fmla="*/ 13090 h 67640"/>
                  <a:gd name="connsiteX6" fmla="*/ 13090 w 67643"/>
                  <a:gd name="connsiteY6" fmla="*/ 33817 h 67640"/>
                  <a:gd name="connsiteX7" fmla="*/ 33820 w 67643"/>
                  <a:gd name="connsiteY7" fmla="*/ 54550 h 67640"/>
                  <a:gd name="connsiteX8" fmla="*/ 54553 w 67643"/>
                  <a:gd name="connsiteY8" fmla="*/ 33817 h 67640"/>
                  <a:gd name="connsiteX9" fmla="*/ 33820 w 67643"/>
                  <a:gd name="connsiteY9" fmla="*/ 13090 h 67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7643" h="67640">
                    <a:moveTo>
                      <a:pt x="33820" y="67640"/>
                    </a:moveTo>
                    <a:cubicBezTo>
                      <a:pt x="15172" y="67640"/>
                      <a:pt x="0" y="52465"/>
                      <a:pt x="0" y="33817"/>
                    </a:cubicBezTo>
                    <a:cubicBezTo>
                      <a:pt x="0" y="15169"/>
                      <a:pt x="15172" y="0"/>
                      <a:pt x="33820" y="0"/>
                    </a:cubicBezTo>
                    <a:cubicBezTo>
                      <a:pt x="52472" y="0"/>
                      <a:pt x="67644" y="15169"/>
                      <a:pt x="67644" y="33817"/>
                    </a:cubicBezTo>
                    <a:cubicBezTo>
                      <a:pt x="67644" y="52465"/>
                      <a:pt x="52472" y="67640"/>
                      <a:pt x="33820" y="67640"/>
                    </a:cubicBezTo>
                    <a:close/>
                    <a:moveTo>
                      <a:pt x="33820" y="13090"/>
                    </a:moveTo>
                    <a:cubicBezTo>
                      <a:pt x="22389" y="13090"/>
                      <a:pt x="13090" y="22386"/>
                      <a:pt x="13090" y="33817"/>
                    </a:cubicBezTo>
                    <a:cubicBezTo>
                      <a:pt x="13090" y="45248"/>
                      <a:pt x="22389" y="54550"/>
                      <a:pt x="33820" y="54550"/>
                    </a:cubicBezTo>
                    <a:cubicBezTo>
                      <a:pt x="45251" y="54550"/>
                      <a:pt x="54553" y="45248"/>
                      <a:pt x="54553" y="33817"/>
                    </a:cubicBezTo>
                    <a:cubicBezTo>
                      <a:pt x="54553" y="22386"/>
                      <a:pt x="45251" y="13090"/>
                      <a:pt x="33820" y="13090"/>
                    </a:cubicBezTo>
                    <a:close/>
                  </a:path>
                </a:pathLst>
              </a:custGeom>
              <a:grpFill/>
              <a:ln w="318" cap="flat">
                <a:noFill/>
                <a:prstDash val="solid"/>
                <a:miter/>
              </a:ln>
            </p:spPr>
            <p:txBody>
              <a:bodyPr rtlCol="0" anchor="ctr"/>
              <a:lstStyle/>
              <a:p>
                <a:endParaRPr lang="en-GB" dirty="0"/>
              </a:p>
            </p:txBody>
          </p:sp>
          <p:sp>
            <p:nvSpPr>
              <p:cNvPr id="326" name="Freihandform: Form 492">
                <a:extLst>
                  <a:ext uri="{FF2B5EF4-FFF2-40B4-BE49-F238E27FC236}">
                    <a16:creationId xmlns:a16="http://schemas.microsoft.com/office/drawing/2014/main" id="{268E6BC6-165C-4089-820D-8019B2DE97D0}"/>
                  </a:ext>
                </a:extLst>
              </p:cNvPr>
              <p:cNvSpPr/>
              <p:nvPr/>
            </p:nvSpPr>
            <p:spPr>
              <a:xfrm>
                <a:off x="1001886" y="4221759"/>
                <a:ext cx="209477" cy="209495"/>
              </a:xfrm>
              <a:custGeom>
                <a:avLst/>
                <a:gdLst>
                  <a:gd name="connsiteX0" fmla="*/ 104740 w 209477"/>
                  <a:gd name="connsiteY0" fmla="*/ 209495 h 209495"/>
                  <a:gd name="connsiteX1" fmla="*/ 86743 w 209477"/>
                  <a:gd name="connsiteY1" fmla="*/ 207852 h 209495"/>
                  <a:gd name="connsiteX2" fmla="*/ 82469 w 209477"/>
                  <a:gd name="connsiteY2" fmla="*/ 205116 h 209495"/>
                  <a:gd name="connsiteX3" fmla="*/ 81436 w 209477"/>
                  <a:gd name="connsiteY3" fmla="*/ 200149 h 209495"/>
                  <a:gd name="connsiteX4" fmla="*/ 82688 w 209477"/>
                  <a:gd name="connsiteY4" fmla="*/ 187447 h 209495"/>
                  <a:gd name="connsiteX5" fmla="*/ 80568 w 209477"/>
                  <a:gd name="connsiteY5" fmla="*/ 170927 h 209495"/>
                  <a:gd name="connsiteX6" fmla="*/ 78449 w 209477"/>
                  <a:gd name="connsiteY6" fmla="*/ 168376 h 209495"/>
                  <a:gd name="connsiteX7" fmla="*/ 75064 w 209477"/>
                  <a:gd name="connsiteY7" fmla="*/ 168407 h 209495"/>
                  <a:gd name="connsiteX8" fmla="*/ 56969 w 209477"/>
                  <a:gd name="connsiteY8" fmla="*/ 181237 h 209495"/>
                  <a:gd name="connsiteX9" fmla="*/ 51213 w 209477"/>
                  <a:gd name="connsiteY9" fmla="*/ 187936 h 209495"/>
                  <a:gd name="connsiteX10" fmla="*/ 46809 w 209477"/>
                  <a:gd name="connsiteY10" fmla="*/ 190456 h 209495"/>
                  <a:gd name="connsiteX11" fmla="*/ 41924 w 209477"/>
                  <a:gd name="connsiteY11" fmla="*/ 189077 h 209495"/>
                  <a:gd name="connsiteX12" fmla="*/ 33092 w 209477"/>
                  <a:gd name="connsiteY12" fmla="*/ 181240 h 209495"/>
                  <a:gd name="connsiteX13" fmla="*/ 22023 w 209477"/>
                  <a:gd name="connsiteY13" fmla="*/ 168020 h 209495"/>
                  <a:gd name="connsiteX14" fmla="*/ 23311 w 209477"/>
                  <a:gd name="connsiteY14" fmla="*/ 159051 h 209495"/>
                  <a:gd name="connsiteX15" fmla="*/ 29438 w 209477"/>
                  <a:gd name="connsiteY15" fmla="*/ 153712 h 209495"/>
                  <a:gd name="connsiteX16" fmla="*/ 44107 w 209477"/>
                  <a:gd name="connsiteY16" fmla="*/ 131228 h 209495"/>
                  <a:gd name="connsiteX17" fmla="*/ 42232 w 209477"/>
                  <a:gd name="connsiteY17" fmla="*/ 126760 h 209495"/>
                  <a:gd name="connsiteX18" fmla="*/ 16881 w 209477"/>
                  <a:gd name="connsiteY18" fmla="*/ 121640 h 209495"/>
                  <a:gd name="connsiteX19" fmla="*/ 8069 w 209477"/>
                  <a:gd name="connsiteY19" fmla="*/ 122304 h 209495"/>
                  <a:gd name="connsiteX20" fmla="*/ 3172 w 209477"/>
                  <a:gd name="connsiteY20" fmla="*/ 120976 h 209495"/>
                  <a:gd name="connsiteX21" fmla="*/ 702 w 209477"/>
                  <a:gd name="connsiteY21" fmla="*/ 116545 h 209495"/>
                  <a:gd name="connsiteX22" fmla="*/ 0 w 209477"/>
                  <a:gd name="connsiteY22" fmla="*/ 104758 h 209495"/>
                  <a:gd name="connsiteX23" fmla="*/ 1525 w 209477"/>
                  <a:gd name="connsiteY23" fmla="*/ 87588 h 209495"/>
                  <a:gd name="connsiteX24" fmla="*/ 8778 w 209477"/>
                  <a:gd name="connsiteY24" fmla="*/ 82160 h 209495"/>
                  <a:gd name="connsiteX25" fmla="*/ 16885 w 209477"/>
                  <a:gd name="connsiteY25" fmla="*/ 82709 h 209495"/>
                  <a:gd name="connsiteX26" fmla="*/ 37459 w 209477"/>
                  <a:gd name="connsiteY26" fmla="*/ 79398 h 209495"/>
                  <a:gd name="connsiteX27" fmla="*/ 39862 w 209477"/>
                  <a:gd name="connsiteY27" fmla="*/ 77084 h 209495"/>
                  <a:gd name="connsiteX28" fmla="*/ 39572 w 209477"/>
                  <a:gd name="connsiteY28" fmla="*/ 73741 h 209495"/>
                  <a:gd name="connsiteX29" fmla="*/ 29441 w 209477"/>
                  <a:gd name="connsiteY29" fmla="*/ 60648 h 209495"/>
                  <a:gd name="connsiteX30" fmla="*/ 23323 w 209477"/>
                  <a:gd name="connsiteY30" fmla="*/ 55315 h 209495"/>
                  <a:gd name="connsiteX31" fmla="*/ 22027 w 209477"/>
                  <a:gd name="connsiteY31" fmla="*/ 46341 h 209495"/>
                  <a:gd name="connsiteX32" fmla="*/ 33092 w 209477"/>
                  <a:gd name="connsiteY32" fmla="*/ 33120 h 209495"/>
                  <a:gd name="connsiteX33" fmla="*/ 46319 w 209477"/>
                  <a:gd name="connsiteY33" fmla="*/ 22042 h 209495"/>
                  <a:gd name="connsiteX34" fmla="*/ 55287 w 209477"/>
                  <a:gd name="connsiteY34" fmla="*/ 23338 h 209495"/>
                  <a:gd name="connsiteX35" fmla="*/ 60623 w 209477"/>
                  <a:gd name="connsiteY35" fmla="*/ 29456 h 209495"/>
                  <a:gd name="connsiteX36" fmla="*/ 73723 w 209477"/>
                  <a:gd name="connsiteY36" fmla="*/ 39594 h 209495"/>
                  <a:gd name="connsiteX37" fmla="*/ 77066 w 209477"/>
                  <a:gd name="connsiteY37" fmla="*/ 39883 h 209495"/>
                  <a:gd name="connsiteX38" fmla="*/ 79377 w 209477"/>
                  <a:gd name="connsiteY38" fmla="*/ 37481 h 209495"/>
                  <a:gd name="connsiteX39" fmla="*/ 82691 w 209477"/>
                  <a:gd name="connsiteY39" fmla="*/ 16903 h 209495"/>
                  <a:gd name="connsiteX40" fmla="*/ 82135 w 209477"/>
                  <a:gd name="connsiteY40" fmla="*/ 8802 h 209495"/>
                  <a:gd name="connsiteX41" fmla="*/ 87563 w 209477"/>
                  <a:gd name="connsiteY41" fmla="*/ 1547 h 209495"/>
                  <a:gd name="connsiteX42" fmla="*/ 121917 w 209477"/>
                  <a:gd name="connsiteY42" fmla="*/ 1547 h 209495"/>
                  <a:gd name="connsiteX43" fmla="*/ 127348 w 209477"/>
                  <a:gd name="connsiteY43" fmla="*/ 8808 h 209495"/>
                  <a:gd name="connsiteX44" fmla="*/ 126792 w 209477"/>
                  <a:gd name="connsiteY44" fmla="*/ 16903 h 209495"/>
                  <a:gd name="connsiteX45" fmla="*/ 130898 w 209477"/>
                  <a:gd name="connsiteY45" fmla="*/ 39810 h 209495"/>
                  <a:gd name="connsiteX46" fmla="*/ 133069 w 209477"/>
                  <a:gd name="connsiteY46" fmla="*/ 42028 h 209495"/>
                  <a:gd name="connsiteX47" fmla="*/ 136345 w 209477"/>
                  <a:gd name="connsiteY47" fmla="*/ 41882 h 209495"/>
                  <a:gd name="connsiteX48" fmla="*/ 153694 w 209477"/>
                  <a:gd name="connsiteY48" fmla="*/ 29469 h 209495"/>
                  <a:gd name="connsiteX49" fmla="*/ 159033 w 209477"/>
                  <a:gd name="connsiteY49" fmla="*/ 23338 h 209495"/>
                  <a:gd name="connsiteX50" fmla="*/ 168001 w 209477"/>
                  <a:gd name="connsiteY50" fmla="*/ 22055 h 209495"/>
                  <a:gd name="connsiteX51" fmla="*/ 181219 w 209477"/>
                  <a:gd name="connsiteY51" fmla="*/ 33120 h 209495"/>
                  <a:gd name="connsiteX52" fmla="*/ 189055 w 209477"/>
                  <a:gd name="connsiteY52" fmla="*/ 41961 h 209495"/>
                  <a:gd name="connsiteX53" fmla="*/ 190438 w 209477"/>
                  <a:gd name="connsiteY53" fmla="*/ 46839 h 209495"/>
                  <a:gd name="connsiteX54" fmla="*/ 187915 w 209477"/>
                  <a:gd name="connsiteY54" fmla="*/ 51238 h 209495"/>
                  <a:gd name="connsiteX55" fmla="*/ 181219 w 209477"/>
                  <a:gd name="connsiteY55" fmla="*/ 56996 h 209495"/>
                  <a:gd name="connsiteX56" fmla="*/ 169126 w 209477"/>
                  <a:gd name="connsiteY56" fmla="*/ 73706 h 209495"/>
                  <a:gd name="connsiteX57" fmla="*/ 168990 w 209477"/>
                  <a:gd name="connsiteY57" fmla="*/ 76935 h 209495"/>
                  <a:gd name="connsiteX58" fmla="*/ 171395 w 209477"/>
                  <a:gd name="connsiteY58" fmla="*/ 79192 h 209495"/>
                  <a:gd name="connsiteX59" fmla="*/ 192596 w 209477"/>
                  <a:gd name="connsiteY59" fmla="*/ 82713 h 209495"/>
                  <a:gd name="connsiteX60" fmla="*/ 200703 w 209477"/>
                  <a:gd name="connsiteY60" fmla="*/ 82163 h 209495"/>
                  <a:gd name="connsiteX61" fmla="*/ 207955 w 209477"/>
                  <a:gd name="connsiteY61" fmla="*/ 87591 h 209495"/>
                  <a:gd name="connsiteX62" fmla="*/ 209477 w 209477"/>
                  <a:gd name="connsiteY62" fmla="*/ 104762 h 209495"/>
                  <a:gd name="connsiteX63" fmla="*/ 208775 w 209477"/>
                  <a:gd name="connsiteY63" fmla="*/ 116555 h 209495"/>
                  <a:gd name="connsiteX64" fmla="*/ 206302 w 209477"/>
                  <a:gd name="connsiteY64" fmla="*/ 120979 h 209495"/>
                  <a:gd name="connsiteX65" fmla="*/ 201408 w 209477"/>
                  <a:gd name="connsiteY65" fmla="*/ 122307 h 209495"/>
                  <a:gd name="connsiteX66" fmla="*/ 192599 w 209477"/>
                  <a:gd name="connsiteY66" fmla="*/ 121643 h 209495"/>
                  <a:gd name="connsiteX67" fmla="*/ 170054 w 209477"/>
                  <a:gd name="connsiteY67" fmla="*/ 125612 h 209495"/>
                  <a:gd name="connsiteX68" fmla="*/ 167718 w 209477"/>
                  <a:gd name="connsiteY68" fmla="*/ 127831 h 209495"/>
                  <a:gd name="connsiteX69" fmla="*/ 167703 w 209477"/>
                  <a:gd name="connsiteY69" fmla="*/ 130459 h 209495"/>
                  <a:gd name="connsiteX70" fmla="*/ 181222 w 209477"/>
                  <a:gd name="connsiteY70" fmla="*/ 150061 h 209495"/>
                  <a:gd name="connsiteX71" fmla="*/ 191083 w 209477"/>
                  <a:gd name="connsiteY71" fmla="*/ 158149 h 209495"/>
                  <a:gd name="connsiteX72" fmla="*/ 193867 w 209477"/>
                  <a:gd name="connsiteY72" fmla="*/ 162394 h 209495"/>
                  <a:gd name="connsiteX73" fmla="*/ 192783 w 209477"/>
                  <a:gd name="connsiteY73" fmla="*/ 167349 h 209495"/>
                  <a:gd name="connsiteX74" fmla="*/ 181219 w 209477"/>
                  <a:gd name="connsiteY74" fmla="*/ 181246 h 209495"/>
                  <a:gd name="connsiteX75" fmla="*/ 167324 w 209477"/>
                  <a:gd name="connsiteY75" fmla="*/ 192805 h 209495"/>
                  <a:gd name="connsiteX76" fmla="*/ 162370 w 209477"/>
                  <a:gd name="connsiteY76" fmla="*/ 193892 h 209495"/>
                  <a:gd name="connsiteX77" fmla="*/ 158127 w 209477"/>
                  <a:gd name="connsiteY77" fmla="*/ 191111 h 209495"/>
                  <a:gd name="connsiteX78" fmla="*/ 150036 w 209477"/>
                  <a:gd name="connsiteY78" fmla="*/ 181246 h 209495"/>
                  <a:gd name="connsiteX79" fmla="*/ 134079 w 209477"/>
                  <a:gd name="connsiteY79" fmla="*/ 169542 h 209495"/>
                  <a:gd name="connsiteX80" fmla="*/ 130746 w 209477"/>
                  <a:gd name="connsiteY80" fmla="*/ 169465 h 209495"/>
                  <a:gd name="connsiteX81" fmla="*/ 128610 w 209477"/>
                  <a:gd name="connsiteY81" fmla="*/ 172036 h 209495"/>
                  <a:gd name="connsiteX82" fmla="*/ 126789 w 209477"/>
                  <a:gd name="connsiteY82" fmla="*/ 187456 h 209495"/>
                  <a:gd name="connsiteX83" fmla="*/ 128041 w 209477"/>
                  <a:gd name="connsiteY83" fmla="*/ 200152 h 209495"/>
                  <a:gd name="connsiteX84" fmla="*/ 127008 w 209477"/>
                  <a:gd name="connsiteY84" fmla="*/ 205126 h 209495"/>
                  <a:gd name="connsiteX85" fmla="*/ 122734 w 209477"/>
                  <a:gd name="connsiteY85" fmla="*/ 207862 h 209495"/>
                  <a:gd name="connsiteX86" fmla="*/ 104740 w 209477"/>
                  <a:gd name="connsiteY86" fmla="*/ 209495 h 209495"/>
                  <a:gd name="connsiteX87" fmla="*/ 95321 w 209477"/>
                  <a:gd name="connsiteY87" fmla="*/ 195859 h 209495"/>
                  <a:gd name="connsiteX88" fmla="*/ 114160 w 209477"/>
                  <a:gd name="connsiteY88" fmla="*/ 195859 h 209495"/>
                  <a:gd name="connsiteX89" fmla="*/ 113699 w 209477"/>
                  <a:gd name="connsiteY89" fmla="*/ 187447 h 209495"/>
                  <a:gd name="connsiteX90" fmla="*/ 115885 w 209477"/>
                  <a:gd name="connsiteY90" fmla="*/ 168960 h 209495"/>
                  <a:gd name="connsiteX91" fmla="*/ 125327 w 209477"/>
                  <a:gd name="connsiteY91" fmla="*/ 157542 h 209495"/>
                  <a:gd name="connsiteX92" fmla="*/ 140133 w 209477"/>
                  <a:gd name="connsiteY92" fmla="*/ 157926 h 209495"/>
                  <a:gd name="connsiteX93" fmla="*/ 159294 w 209477"/>
                  <a:gd name="connsiteY93" fmla="*/ 171982 h 209495"/>
                  <a:gd name="connsiteX94" fmla="*/ 164919 w 209477"/>
                  <a:gd name="connsiteY94" fmla="*/ 178259 h 209495"/>
                  <a:gd name="connsiteX95" fmla="*/ 171964 w 209477"/>
                  <a:gd name="connsiteY95" fmla="*/ 171982 h 209495"/>
                  <a:gd name="connsiteX96" fmla="*/ 178241 w 209477"/>
                  <a:gd name="connsiteY96" fmla="*/ 164937 h 209495"/>
                  <a:gd name="connsiteX97" fmla="*/ 171967 w 209477"/>
                  <a:gd name="connsiteY97" fmla="*/ 159312 h 209495"/>
                  <a:gd name="connsiteX98" fmla="*/ 155753 w 209477"/>
                  <a:gd name="connsiteY98" fmla="*/ 135798 h 209495"/>
                  <a:gd name="connsiteX99" fmla="*/ 155661 w 209477"/>
                  <a:gd name="connsiteY99" fmla="*/ 122730 h 209495"/>
                  <a:gd name="connsiteX100" fmla="*/ 165567 w 209477"/>
                  <a:gd name="connsiteY100" fmla="*/ 113307 h 209495"/>
                  <a:gd name="connsiteX101" fmla="*/ 192602 w 209477"/>
                  <a:gd name="connsiteY101" fmla="*/ 108543 h 209495"/>
                  <a:gd name="connsiteX102" fmla="*/ 196295 w 209477"/>
                  <a:gd name="connsiteY102" fmla="*/ 108651 h 209495"/>
                  <a:gd name="connsiteX103" fmla="*/ 196390 w 209477"/>
                  <a:gd name="connsiteY103" fmla="*/ 104752 h 209495"/>
                  <a:gd name="connsiteX104" fmla="*/ 195875 w 209477"/>
                  <a:gd name="connsiteY104" fmla="*/ 95714 h 209495"/>
                  <a:gd name="connsiteX105" fmla="*/ 167159 w 209477"/>
                  <a:gd name="connsiteY105" fmla="*/ 91570 h 209495"/>
                  <a:gd name="connsiteX106" fmla="*/ 156869 w 209477"/>
                  <a:gd name="connsiteY106" fmla="*/ 81864 h 209495"/>
                  <a:gd name="connsiteX107" fmla="*/ 157444 w 209477"/>
                  <a:gd name="connsiteY107" fmla="*/ 67789 h 209495"/>
                  <a:gd name="connsiteX108" fmla="*/ 171964 w 209477"/>
                  <a:gd name="connsiteY108" fmla="*/ 47730 h 209495"/>
                  <a:gd name="connsiteX109" fmla="*/ 174653 w 209477"/>
                  <a:gd name="connsiteY109" fmla="*/ 45190 h 209495"/>
                  <a:gd name="connsiteX110" fmla="*/ 171964 w 209477"/>
                  <a:gd name="connsiteY110" fmla="*/ 42365 h 209495"/>
                  <a:gd name="connsiteX111" fmla="*/ 165211 w 209477"/>
                  <a:gd name="connsiteY111" fmla="*/ 36343 h 209495"/>
                  <a:gd name="connsiteX112" fmla="*/ 162951 w 209477"/>
                  <a:gd name="connsiteY112" fmla="*/ 38714 h 209495"/>
                  <a:gd name="connsiteX113" fmla="*/ 142129 w 209477"/>
                  <a:gd name="connsiteY113" fmla="*/ 53621 h 209495"/>
                  <a:gd name="connsiteX114" fmla="*/ 128238 w 209477"/>
                  <a:gd name="connsiteY114" fmla="*/ 54184 h 209495"/>
                  <a:gd name="connsiteX115" fmla="*/ 118634 w 209477"/>
                  <a:gd name="connsiteY115" fmla="*/ 44364 h 209495"/>
                  <a:gd name="connsiteX116" fmla="*/ 113702 w 209477"/>
                  <a:gd name="connsiteY116" fmla="*/ 16893 h 209495"/>
                  <a:gd name="connsiteX117" fmla="*/ 113785 w 209477"/>
                  <a:gd name="connsiteY117" fmla="*/ 13620 h 209495"/>
                  <a:gd name="connsiteX118" fmla="*/ 95702 w 209477"/>
                  <a:gd name="connsiteY118" fmla="*/ 13620 h 209495"/>
                  <a:gd name="connsiteX119" fmla="*/ 95785 w 209477"/>
                  <a:gd name="connsiteY119" fmla="*/ 16893 h 209495"/>
                  <a:gd name="connsiteX120" fmla="*/ 91806 w 209477"/>
                  <a:gd name="connsiteY120" fmla="*/ 41590 h 209495"/>
                  <a:gd name="connsiteX121" fmla="*/ 81678 w 209477"/>
                  <a:gd name="connsiteY121" fmla="*/ 52131 h 209495"/>
                  <a:gd name="connsiteX122" fmla="*/ 67091 w 209477"/>
                  <a:gd name="connsiteY122" fmla="*/ 50879 h 209495"/>
                  <a:gd name="connsiteX123" fmla="*/ 51372 w 209477"/>
                  <a:gd name="connsiteY123" fmla="*/ 38714 h 209495"/>
                  <a:gd name="connsiteX124" fmla="*/ 49116 w 209477"/>
                  <a:gd name="connsiteY124" fmla="*/ 36343 h 209495"/>
                  <a:gd name="connsiteX125" fmla="*/ 42359 w 209477"/>
                  <a:gd name="connsiteY125" fmla="*/ 42365 h 209495"/>
                  <a:gd name="connsiteX126" fmla="*/ 36334 w 209477"/>
                  <a:gd name="connsiteY126" fmla="*/ 49121 h 209495"/>
                  <a:gd name="connsiteX127" fmla="*/ 38711 w 209477"/>
                  <a:gd name="connsiteY127" fmla="*/ 51390 h 209495"/>
                  <a:gd name="connsiteX128" fmla="*/ 50867 w 209477"/>
                  <a:gd name="connsiteY128" fmla="*/ 67096 h 209495"/>
                  <a:gd name="connsiteX129" fmla="*/ 52122 w 209477"/>
                  <a:gd name="connsiteY129" fmla="*/ 81683 h 209495"/>
                  <a:gd name="connsiteX130" fmla="*/ 41584 w 209477"/>
                  <a:gd name="connsiteY130" fmla="*/ 91815 h 209495"/>
                  <a:gd name="connsiteX131" fmla="*/ 16888 w 209477"/>
                  <a:gd name="connsiteY131" fmla="*/ 95790 h 209495"/>
                  <a:gd name="connsiteX132" fmla="*/ 13614 w 209477"/>
                  <a:gd name="connsiteY132" fmla="*/ 95708 h 209495"/>
                  <a:gd name="connsiteX133" fmla="*/ 13096 w 209477"/>
                  <a:gd name="connsiteY133" fmla="*/ 104746 h 209495"/>
                  <a:gd name="connsiteX134" fmla="*/ 13192 w 209477"/>
                  <a:gd name="connsiteY134" fmla="*/ 108645 h 209495"/>
                  <a:gd name="connsiteX135" fmla="*/ 16888 w 209477"/>
                  <a:gd name="connsiteY135" fmla="*/ 108537 h 209495"/>
                  <a:gd name="connsiteX136" fmla="*/ 47314 w 209477"/>
                  <a:gd name="connsiteY136" fmla="*/ 114680 h 209495"/>
                  <a:gd name="connsiteX137" fmla="*/ 56314 w 209477"/>
                  <a:gd name="connsiteY137" fmla="*/ 135963 h 209495"/>
                  <a:gd name="connsiteX138" fmla="*/ 38702 w 209477"/>
                  <a:gd name="connsiteY138" fmla="*/ 162960 h 209495"/>
                  <a:gd name="connsiteX139" fmla="*/ 36331 w 209477"/>
                  <a:gd name="connsiteY139" fmla="*/ 165216 h 209495"/>
                  <a:gd name="connsiteX140" fmla="*/ 42356 w 209477"/>
                  <a:gd name="connsiteY140" fmla="*/ 171973 h 209495"/>
                  <a:gd name="connsiteX141" fmla="*/ 45178 w 209477"/>
                  <a:gd name="connsiteY141" fmla="*/ 174658 h 209495"/>
                  <a:gd name="connsiteX142" fmla="*/ 47714 w 209477"/>
                  <a:gd name="connsiteY142" fmla="*/ 171973 h 209495"/>
                  <a:gd name="connsiteX143" fmla="*/ 69420 w 209477"/>
                  <a:gd name="connsiteY143" fmla="*/ 156592 h 209495"/>
                  <a:gd name="connsiteX144" fmla="*/ 83962 w 209477"/>
                  <a:gd name="connsiteY144" fmla="*/ 156496 h 209495"/>
                  <a:gd name="connsiteX145" fmla="*/ 93245 w 209477"/>
                  <a:gd name="connsiteY145" fmla="*/ 167606 h 209495"/>
                  <a:gd name="connsiteX146" fmla="*/ 95788 w 209477"/>
                  <a:gd name="connsiteY146" fmla="*/ 187437 h 209495"/>
                  <a:gd name="connsiteX147" fmla="*/ 95321 w 209477"/>
                  <a:gd name="connsiteY147" fmla="*/ 195859 h 20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209477" h="209495">
                    <a:moveTo>
                      <a:pt x="104740" y="209495"/>
                    </a:moveTo>
                    <a:cubicBezTo>
                      <a:pt x="99010" y="209495"/>
                      <a:pt x="93125" y="208958"/>
                      <a:pt x="86743" y="207852"/>
                    </a:cubicBezTo>
                    <a:cubicBezTo>
                      <a:pt x="85011" y="207550"/>
                      <a:pt x="83470" y="206569"/>
                      <a:pt x="82469" y="205116"/>
                    </a:cubicBezTo>
                    <a:cubicBezTo>
                      <a:pt x="81471" y="203664"/>
                      <a:pt x="81096" y="201874"/>
                      <a:pt x="81436" y="200149"/>
                    </a:cubicBezTo>
                    <a:cubicBezTo>
                      <a:pt x="82269" y="195884"/>
                      <a:pt x="82688" y="191616"/>
                      <a:pt x="82688" y="187447"/>
                    </a:cubicBezTo>
                    <a:cubicBezTo>
                      <a:pt x="82688" y="181866"/>
                      <a:pt x="81976" y="176311"/>
                      <a:pt x="80568" y="170927"/>
                    </a:cubicBezTo>
                    <a:cubicBezTo>
                      <a:pt x="80165" y="169380"/>
                      <a:pt x="79068" y="168664"/>
                      <a:pt x="78449" y="168376"/>
                    </a:cubicBezTo>
                    <a:cubicBezTo>
                      <a:pt x="77826" y="168089"/>
                      <a:pt x="76551" y="167705"/>
                      <a:pt x="75064" y="168407"/>
                    </a:cubicBezTo>
                    <a:cubicBezTo>
                      <a:pt x="68359" y="171617"/>
                      <a:pt x="62273" y="175933"/>
                      <a:pt x="56969" y="181237"/>
                    </a:cubicBezTo>
                    <a:cubicBezTo>
                      <a:pt x="55110" y="183096"/>
                      <a:pt x="53276" y="185225"/>
                      <a:pt x="51213" y="187936"/>
                    </a:cubicBezTo>
                    <a:cubicBezTo>
                      <a:pt x="50142" y="189331"/>
                      <a:pt x="48556" y="190243"/>
                      <a:pt x="46809" y="190456"/>
                    </a:cubicBezTo>
                    <a:cubicBezTo>
                      <a:pt x="45067" y="190666"/>
                      <a:pt x="43303" y="190176"/>
                      <a:pt x="41924" y="189077"/>
                    </a:cubicBezTo>
                    <a:cubicBezTo>
                      <a:pt x="38603" y="186423"/>
                      <a:pt x="35714" y="183859"/>
                      <a:pt x="33092" y="181240"/>
                    </a:cubicBezTo>
                    <a:cubicBezTo>
                      <a:pt x="29298" y="177449"/>
                      <a:pt x="25681" y="173120"/>
                      <a:pt x="22023" y="168020"/>
                    </a:cubicBezTo>
                    <a:cubicBezTo>
                      <a:pt x="19980" y="165169"/>
                      <a:pt x="20549" y="161219"/>
                      <a:pt x="23311" y="159051"/>
                    </a:cubicBezTo>
                    <a:cubicBezTo>
                      <a:pt x="25770" y="157128"/>
                      <a:pt x="27718" y="155431"/>
                      <a:pt x="29438" y="153712"/>
                    </a:cubicBezTo>
                    <a:cubicBezTo>
                      <a:pt x="35867" y="147280"/>
                      <a:pt x="40799" y="139720"/>
                      <a:pt x="44107" y="131228"/>
                    </a:cubicBezTo>
                    <a:cubicBezTo>
                      <a:pt x="44759" y="129540"/>
                      <a:pt x="43885" y="127455"/>
                      <a:pt x="42232" y="126760"/>
                    </a:cubicBezTo>
                    <a:cubicBezTo>
                      <a:pt x="34157" y="123359"/>
                      <a:pt x="25630" y="121640"/>
                      <a:pt x="16881" y="121640"/>
                    </a:cubicBezTo>
                    <a:cubicBezTo>
                      <a:pt x="14282" y="121640"/>
                      <a:pt x="11482" y="121850"/>
                      <a:pt x="8069" y="122304"/>
                    </a:cubicBezTo>
                    <a:cubicBezTo>
                      <a:pt x="6315" y="122533"/>
                      <a:pt x="4560" y="122056"/>
                      <a:pt x="3172" y="120976"/>
                    </a:cubicBezTo>
                    <a:cubicBezTo>
                      <a:pt x="1786" y="119889"/>
                      <a:pt x="896" y="118290"/>
                      <a:pt x="702" y="116545"/>
                    </a:cubicBezTo>
                    <a:cubicBezTo>
                      <a:pt x="229" y="112319"/>
                      <a:pt x="0" y="108464"/>
                      <a:pt x="0" y="104758"/>
                    </a:cubicBezTo>
                    <a:cubicBezTo>
                      <a:pt x="0" y="99388"/>
                      <a:pt x="499" y="93775"/>
                      <a:pt x="1525" y="87588"/>
                    </a:cubicBezTo>
                    <a:cubicBezTo>
                      <a:pt x="2094" y="84124"/>
                      <a:pt x="5295" y="81655"/>
                      <a:pt x="8778" y="82160"/>
                    </a:cubicBezTo>
                    <a:cubicBezTo>
                      <a:pt x="11854" y="82538"/>
                      <a:pt x="14428" y="82709"/>
                      <a:pt x="16885" y="82709"/>
                    </a:cubicBezTo>
                    <a:cubicBezTo>
                      <a:pt x="23908" y="82709"/>
                      <a:pt x="30827" y="81597"/>
                      <a:pt x="37459" y="79398"/>
                    </a:cubicBezTo>
                    <a:cubicBezTo>
                      <a:pt x="38984" y="78893"/>
                      <a:pt x="39620" y="77730"/>
                      <a:pt x="39862" y="77084"/>
                    </a:cubicBezTo>
                    <a:cubicBezTo>
                      <a:pt x="40106" y="76433"/>
                      <a:pt x="40395" y="75133"/>
                      <a:pt x="39572" y="73741"/>
                    </a:cubicBezTo>
                    <a:cubicBezTo>
                      <a:pt x="36766" y="68965"/>
                      <a:pt x="33356" y="64560"/>
                      <a:pt x="29441" y="60648"/>
                    </a:cubicBezTo>
                    <a:cubicBezTo>
                      <a:pt x="27712" y="58916"/>
                      <a:pt x="25770" y="57222"/>
                      <a:pt x="23323" y="55315"/>
                    </a:cubicBezTo>
                    <a:cubicBezTo>
                      <a:pt x="20552" y="53154"/>
                      <a:pt x="19980" y="49191"/>
                      <a:pt x="22027" y="46341"/>
                    </a:cubicBezTo>
                    <a:cubicBezTo>
                      <a:pt x="25678" y="41246"/>
                      <a:pt x="29295" y="36918"/>
                      <a:pt x="33092" y="33120"/>
                    </a:cubicBezTo>
                    <a:cubicBezTo>
                      <a:pt x="36903" y="29310"/>
                      <a:pt x="41228" y="25687"/>
                      <a:pt x="46319" y="22042"/>
                    </a:cubicBezTo>
                    <a:cubicBezTo>
                      <a:pt x="49170" y="19995"/>
                      <a:pt x="53123" y="20570"/>
                      <a:pt x="55287" y="23338"/>
                    </a:cubicBezTo>
                    <a:cubicBezTo>
                      <a:pt x="57210" y="25801"/>
                      <a:pt x="58910" y="27749"/>
                      <a:pt x="60623" y="29456"/>
                    </a:cubicBezTo>
                    <a:cubicBezTo>
                      <a:pt x="64542" y="33381"/>
                      <a:pt x="68946" y="36788"/>
                      <a:pt x="73723" y="39594"/>
                    </a:cubicBezTo>
                    <a:cubicBezTo>
                      <a:pt x="75115" y="40414"/>
                      <a:pt x="76412" y="40124"/>
                      <a:pt x="77066" y="39883"/>
                    </a:cubicBezTo>
                    <a:cubicBezTo>
                      <a:pt x="77711" y="39641"/>
                      <a:pt x="78871" y="39006"/>
                      <a:pt x="79377" y="37481"/>
                    </a:cubicBezTo>
                    <a:cubicBezTo>
                      <a:pt x="81576" y="30838"/>
                      <a:pt x="82691" y="23914"/>
                      <a:pt x="82691" y="16903"/>
                    </a:cubicBezTo>
                    <a:cubicBezTo>
                      <a:pt x="82691" y="14469"/>
                      <a:pt x="82516" y="11891"/>
                      <a:pt x="82135" y="8802"/>
                    </a:cubicBezTo>
                    <a:cubicBezTo>
                      <a:pt x="81709" y="5319"/>
                      <a:pt x="84105" y="2116"/>
                      <a:pt x="87563" y="1547"/>
                    </a:cubicBezTo>
                    <a:cubicBezTo>
                      <a:pt x="99960" y="-512"/>
                      <a:pt x="109494" y="-519"/>
                      <a:pt x="121917" y="1547"/>
                    </a:cubicBezTo>
                    <a:cubicBezTo>
                      <a:pt x="125381" y="2116"/>
                      <a:pt x="127777" y="5325"/>
                      <a:pt x="127348" y="8808"/>
                    </a:cubicBezTo>
                    <a:cubicBezTo>
                      <a:pt x="126973" y="11824"/>
                      <a:pt x="126792" y="14472"/>
                      <a:pt x="126792" y="16903"/>
                    </a:cubicBezTo>
                    <a:cubicBezTo>
                      <a:pt x="126792" y="24772"/>
                      <a:pt x="128172" y="32481"/>
                      <a:pt x="130898" y="39810"/>
                    </a:cubicBezTo>
                    <a:cubicBezTo>
                      <a:pt x="131416" y="41199"/>
                      <a:pt x="132481" y="41799"/>
                      <a:pt x="133069" y="42028"/>
                    </a:cubicBezTo>
                    <a:cubicBezTo>
                      <a:pt x="133688" y="42276"/>
                      <a:pt x="134922" y="42590"/>
                      <a:pt x="136345" y="41882"/>
                    </a:cubicBezTo>
                    <a:cubicBezTo>
                      <a:pt x="142771" y="38723"/>
                      <a:pt x="148606" y="34544"/>
                      <a:pt x="153694" y="29469"/>
                    </a:cubicBezTo>
                    <a:cubicBezTo>
                      <a:pt x="155401" y="27756"/>
                      <a:pt x="157098" y="25811"/>
                      <a:pt x="159033" y="23338"/>
                    </a:cubicBezTo>
                    <a:cubicBezTo>
                      <a:pt x="161197" y="20577"/>
                      <a:pt x="165157" y="20002"/>
                      <a:pt x="168001" y="22055"/>
                    </a:cubicBezTo>
                    <a:cubicBezTo>
                      <a:pt x="173089" y="25700"/>
                      <a:pt x="177414" y="29316"/>
                      <a:pt x="181219" y="33120"/>
                    </a:cubicBezTo>
                    <a:cubicBezTo>
                      <a:pt x="183840" y="35742"/>
                      <a:pt x="186402" y="38631"/>
                      <a:pt x="189055" y="41961"/>
                    </a:cubicBezTo>
                    <a:cubicBezTo>
                      <a:pt x="190152" y="43337"/>
                      <a:pt x="190651" y="45095"/>
                      <a:pt x="190438" y="46839"/>
                    </a:cubicBezTo>
                    <a:cubicBezTo>
                      <a:pt x="190225" y="48584"/>
                      <a:pt x="189313" y="50170"/>
                      <a:pt x="187915" y="51238"/>
                    </a:cubicBezTo>
                    <a:cubicBezTo>
                      <a:pt x="185194" y="53323"/>
                      <a:pt x="183065" y="55150"/>
                      <a:pt x="181219" y="56996"/>
                    </a:cubicBezTo>
                    <a:cubicBezTo>
                      <a:pt x="176324" y="61887"/>
                      <a:pt x="172260" y="67506"/>
                      <a:pt x="169126" y="73706"/>
                    </a:cubicBezTo>
                    <a:cubicBezTo>
                      <a:pt x="168427" y="75095"/>
                      <a:pt x="168739" y="76328"/>
                      <a:pt x="168990" y="76935"/>
                    </a:cubicBezTo>
                    <a:cubicBezTo>
                      <a:pt x="169241" y="77561"/>
                      <a:pt x="169892" y="78680"/>
                      <a:pt x="171395" y="79192"/>
                    </a:cubicBezTo>
                    <a:cubicBezTo>
                      <a:pt x="178215" y="81530"/>
                      <a:pt x="185347" y="82713"/>
                      <a:pt x="192596" y="82713"/>
                    </a:cubicBezTo>
                    <a:cubicBezTo>
                      <a:pt x="195046" y="82713"/>
                      <a:pt x="197623" y="82541"/>
                      <a:pt x="200703" y="82163"/>
                    </a:cubicBezTo>
                    <a:cubicBezTo>
                      <a:pt x="204170" y="81651"/>
                      <a:pt x="207383" y="84127"/>
                      <a:pt x="207955" y="87591"/>
                    </a:cubicBezTo>
                    <a:cubicBezTo>
                      <a:pt x="208978" y="93759"/>
                      <a:pt x="209477" y="99378"/>
                      <a:pt x="209477" y="104762"/>
                    </a:cubicBezTo>
                    <a:cubicBezTo>
                      <a:pt x="209477" y="108502"/>
                      <a:pt x="209248" y="112357"/>
                      <a:pt x="208775" y="116555"/>
                    </a:cubicBezTo>
                    <a:cubicBezTo>
                      <a:pt x="208581" y="118300"/>
                      <a:pt x="207685" y="119898"/>
                      <a:pt x="206302" y="120979"/>
                    </a:cubicBezTo>
                    <a:cubicBezTo>
                      <a:pt x="204920" y="122059"/>
                      <a:pt x="203143" y="122539"/>
                      <a:pt x="201408" y="122307"/>
                    </a:cubicBezTo>
                    <a:cubicBezTo>
                      <a:pt x="197998" y="121853"/>
                      <a:pt x="195199" y="121643"/>
                      <a:pt x="192599" y="121643"/>
                    </a:cubicBezTo>
                    <a:cubicBezTo>
                      <a:pt x="184864" y="121643"/>
                      <a:pt x="177278" y="122978"/>
                      <a:pt x="170054" y="125612"/>
                    </a:cubicBezTo>
                    <a:cubicBezTo>
                      <a:pt x="169002" y="125997"/>
                      <a:pt x="168154" y="126807"/>
                      <a:pt x="167718" y="127831"/>
                    </a:cubicBezTo>
                    <a:cubicBezTo>
                      <a:pt x="167455" y="128457"/>
                      <a:pt x="167239" y="129416"/>
                      <a:pt x="167703" y="130459"/>
                    </a:cubicBezTo>
                    <a:cubicBezTo>
                      <a:pt x="170970" y="137759"/>
                      <a:pt x="175517" y="144350"/>
                      <a:pt x="181222" y="150061"/>
                    </a:cubicBezTo>
                    <a:cubicBezTo>
                      <a:pt x="184174" y="153013"/>
                      <a:pt x="187492" y="155737"/>
                      <a:pt x="191083" y="158149"/>
                    </a:cubicBezTo>
                    <a:cubicBezTo>
                      <a:pt x="192545" y="159134"/>
                      <a:pt x="193546" y="160662"/>
                      <a:pt x="193867" y="162394"/>
                    </a:cubicBezTo>
                    <a:cubicBezTo>
                      <a:pt x="194188" y="164127"/>
                      <a:pt x="193797" y="165909"/>
                      <a:pt x="192783" y="167349"/>
                    </a:cubicBezTo>
                    <a:cubicBezTo>
                      <a:pt x="189052" y="172650"/>
                      <a:pt x="185270" y="177194"/>
                      <a:pt x="181219" y="181246"/>
                    </a:cubicBezTo>
                    <a:cubicBezTo>
                      <a:pt x="177167" y="185298"/>
                      <a:pt x="172619" y="189083"/>
                      <a:pt x="167324" y="192805"/>
                    </a:cubicBezTo>
                    <a:cubicBezTo>
                      <a:pt x="165885" y="193821"/>
                      <a:pt x="164108" y="194193"/>
                      <a:pt x="162370" y="193892"/>
                    </a:cubicBezTo>
                    <a:cubicBezTo>
                      <a:pt x="160641" y="193570"/>
                      <a:pt x="159112" y="192570"/>
                      <a:pt x="158127" y="191111"/>
                    </a:cubicBezTo>
                    <a:cubicBezTo>
                      <a:pt x="155702" y="187510"/>
                      <a:pt x="152982" y="184192"/>
                      <a:pt x="150036" y="181246"/>
                    </a:cubicBezTo>
                    <a:cubicBezTo>
                      <a:pt x="145329" y="176546"/>
                      <a:pt x="139965" y="172608"/>
                      <a:pt x="134079" y="169542"/>
                    </a:cubicBezTo>
                    <a:cubicBezTo>
                      <a:pt x="132649" y="168801"/>
                      <a:pt x="131378" y="169176"/>
                      <a:pt x="130746" y="169465"/>
                    </a:cubicBezTo>
                    <a:cubicBezTo>
                      <a:pt x="130110" y="169758"/>
                      <a:pt x="128985" y="170476"/>
                      <a:pt x="128610" y="172036"/>
                    </a:cubicBezTo>
                    <a:cubicBezTo>
                      <a:pt x="127402" y="177048"/>
                      <a:pt x="126789" y="182241"/>
                      <a:pt x="126789" y="187456"/>
                    </a:cubicBezTo>
                    <a:cubicBezTo>
                      <a:pt x="126789" y="191638"/>
                      <a:pt x="127212" y="195913"/>
                      <a:pt x="128041" y="200152"/>
                    </a:cubicBezTo>
                    <a:cubicBezTo>
                      <a:pt x="128381" y="201878"/>
                      <a:pt x="128006" y="203673"/>
                      <a:pt x="127008" y="205126"/>
                    </a:cubicBezTo>
                    <a:cubicBezTo>
                      <a:pt x="126010" y="206572"/>
                      <a:pt x="124469" y="207560"/>
                      <a:pt x="122734" y="207862"/>
                    </a:cubicBezTo>
                    <a:cubicBezTo>
                      <a:pt x="116359" y="208958"/>
                      <a:pt x="110470" y="209495"/>
                      <a:pt x="104740" y="209495"/>
                    </a:cubicBezTo>
                    <a:close/>
                    <a:moveTo>
                      <a:pt x="95321" y="195859"/>
                    </a:moveTo>
                    <a:cubicBezTo>
                      <a:pt x="101829" y="196586"/>
                      <a:pt x="107651" y="196586"/>
                      <a:pt x="114160" y="195859"/>
                    </a:cubicBezTo>
                    <a:cubicBezTo>
                      <a:pt x="113851" y="193046"/>
                      <a:pt x="113699" y="190234"/>
                      <a:pt x="113699" y="187447"/>
                    </a:cubicBezTo>
                    <a:cubicBezTo>
                      <a:pt x="113699" y="181195"/>
                      <a:pt x="114433" y="174973"/>
                      <a:pt x="115885" y="168960"/>
                    </a:cubicBezTo>
                    <a:cubicBezTo>
                      <a:pt x="117109" y="163879"/>
                      <a:pt x="120548" y="159716"/>
                      <a:pt x="125327" y="157542"/>
                    </a:cubicBezTo>
                    <a:cubicBezTo>
                      <a:pt x="130101" y="155368"/>
                      <a:pt x="135500" y="155501"/>
                      <a:pt x="140133" y="157926"/>
                    </a:cubicBezTo>
                    <a:cubicBezTo>
                      <a:pt x="147201" y="161610"/>
                      <a:pt x="153646" y="166338"/>
                      <a:pt x="159294" y="171982"/>
                    </a:cubicBezTo>
                    <a:cubicBezTo>
                      <a:pt x="161261" y="173946"/>
                      <a:pt x="163139" y="176041"/>
                      <a:pt x="164919" y="178259"/>
                    </a:cubicBezTo>
                    <a:cubicBezTo>
                      <a:pt x="167477" y="176212"/>
                      <a:pt x="169806" y="174137"/>
                      <a:pt x="171964" y="171982"/>
                    </a:cubicBezTo>
                    <a:cubicBezTo>
                      <a:pt x="174119" y="169828"/>
                      <a:pt x="176197" y="167495"/>
                      <a:pt x="178241" y="164937"/>
                    </a:cubicBezTo>
                    <a:cubicBezTo>
                      <a:pt x="176032" y="163160"/>
                      <a:pt x="173931" y="161279"/>
                      <a:pt x="171967" y="159312"/>
                    </a:cubicBezTo>
                    <a:cubicBezTo>
                      <a:pt x="165125" y="152473"/>
                      <a:pt x="159672" y="144556"/>
                      <a:pt x="155753" y="135798"/>
                    </a:cubicBezTo>
                    <a:cubicBezTo>
                      <a:pt x="153894" y="131635"/>
                      <a:pt x="153859" y="126995"/>
                      <a:pt x="155661" y="122730"/>
                    </a:cubicBezTo>
                    <a:cubicBezTo>
                      <a:pt x="157501" y="118370"/>
                      <a:pt x="161115" y="114938"/>
                      <a:pt x="165567" y="113307"/>
                    </a:cubicBezTo>
                    <a:cubicBezTo>
                      <a:pt x="174240" y="110148"/>
                      <a:pt x="183332" y="108543"/>
                      <a:pt x="192602" y="108543"/>
                    </a:cubicBezTo>
                    <a:cubicBezTo>
                      <a:pt x="193800" y="108543"/>
                      <a:pt x="195024" y="108575"/>
                      <a:pt x="196295" y="108651"/>
                    </a:cubicBezTo>
                    <a:cubicBezTo>
                      <a:pt x="196358" y="107323"/>
                      <a:pt x="196390" y="106023"/>
                      <a:pt x="196390" y="104752"/>
                    </a:cubicBezTo>
                    <a:cubicBezTo>
                      <a:pt x="196390" y="101863"/>
                      <a:pt x="196222" y="98870"/>
                      <a:pt x="195875" y="95714"/>
                    </a:cubicBezTo>
                    <a:cubicBezTo>
                      <a:pt x="185731" y="96251"/>
                      <a:pt x="176359" y="94722"/>
                      <a:pt x="167159" y="91570"/>
                    </a:cubicBezTo>
                    <a:cubicBezTo>
                      <a:pt x="162481" y="89965"/>
                      <a:pt x="158731" y="86431"/>
                      <a:pt x="156869" y="81864"/>
                    </a:cubicBezTo>
                    <a:cubicBezTo>
                      <a:pt x="155016" y="77313"/>
                      <a:pt x="155226" y="72184"/>
                      <a:pt x="157444" y="67789"/>
                    </a:cubicBezTo>
                    <a:cubicBezTo>
                      <a:pt x="161204" y="60346"/>
                      <a:pt x="166091" y="53596"/>
                      <a:pt x="171964" y="47730"/>
                    </a:cubicBezTo>
                    <a:cubicBezTo>
                      <a:pt x="172816" y="46878"/>
                      <a:pt x="173703" y="46036"/>
                      <a:pt x="174653" y="45190"/>
                    </a:cubicBezTo>
                    <a:cubicBezTo>
                      <a:pt x="173753" y="44199"/>
                      <a:pt x="172864" y="43258"/>
                      <a:pt x="171964" y="42365"/>
                    </a:cubicBezTo>
                    <a:cubicBezTo>
                      <a:pt x="169921" y="40325"/>
                      <a:pt x="167687" y="38332"/>
                      <a:pt x="165211" y="36343"/>
                    </a:cubicBezTo>
                    <a:cubicBezTo>
                      <a:pt x="164458" y="37175"/>
                      <a:pt x="163708" y="37960"/>
                      <a:pt x="162951" y="38714"/>
                    </a:cubicBezTo>
                    <a:cubicBezTo>
                      <a:pt x="156847" y="44812"/>
                      <a:pt x="149842" y="49830"/>
                      <a:pt x="142129" y="53621"/>
                    </a:cubicBezTo>
                    <a:cubicBezTo>
                      <a:pt x="137775" y="55757"/>
                      <a:pt x="132716" y="55967"/>
                      <a:pt x="128238" y="54184"/>
                    </a:cubicBezTo>
                    <a:cubicBezTo>
                      <a:pt x="123799" y="52426"/>
                      <a:pt x="120300" y="48845"/>
                      <a:pt x="118634" y="44364"/>
                    </a:cubicBezTo>
                    <a:cubicBezTo>
                      <a:pt x="115361" y="35567"/>
                      <a:pt x="113702" y="26329"/>
                      <a:pt x="113702" y="16893"/>
                    </a:cubicBezTo>
                    <a:cubicBezTo>
                      <a:pt x="113702" y="15832"/>
                      <a:pt x="113731" y="14745"/>
                      <a:pt x="113785" y="13620"/>
                    </a:cubicBezTo>
                    <a:cubicBezTo>
                      <a:pt x="107435" y="12931"/>
                      <a:pt x="102045" y="12931"/>
                      <a:pt x="95702" y="13620"/>
                    </a:cubicBezTo>
                    <a:cubicBezTo>
                      <a:pt x="95759" y="14739"/>
                      <a:pt x="95785" y="15819"/>
                      <a:pt x="95785" y="16893"/>
                    </a:cubicBezTo>
                    <a:cubicBezTo>
                      <a:pt x="95785" y="25305"/>
                      <a:pt x="94447" y="33616"/>
                      <a:pt x="91806" y="41590"/>
                    </a:cubicBezTo>
                    <a:cubicBezTo>
                      <a:pt x="90188" y="46474"/>
                      <a:pt x="86495" y="50316"/>
                      <a:pt x="81678" y="52131"/>
                    </a:cubicBezTo>
                    <a:cubicBezTo>
                      <a:pt x="76856" y="53952"/>
                      <a:pt x="71537" y="53485"/>
                      <a:pt x="67091" y="50879"/>
                    </a:cubicBezTo>
                    <a:cubicBezTo>
                      <a:pt x="61361" y="47510"/>
                      <a:pt x="56069" y="43410"/>
                      <a:pt x="51372" y="38714"/>
                    </a:cubicBezTo>
                    <a:cubicBezTo>
                      <a:pt x="50619" y="37960"/>
                      <a:pt x="49866" y="37172"/>
                      <a:pt x="49116" y="36343"/>
                    </a:cubicBezTo>
                    <a:cubicBezTo>
                      <a:pt x="46640" y="38332"/>
                      <a:pt x="44400" y="40325"/>
                      <a:pt x="42359" y="42365"/>
                    </a:cubicBezTo>
                    <a:cubicBezTo>
                      <a:pt x="40319" y="44412"/>
                      <a:pt x="38330" y="46642"/>
                      <a:pt x="36334" y="49121"/>
                    </a:cubicBezTo>
                    <a:cubicBezTo>
                      <a:pt x="37163" y="49875"/>
                      <a:pt x="37955" y="50631"/>
                      <a:pt x="38711" y="51390"/>
                    </a:cubicBezTo>
                    <a:cubicBezTo>
                      <a:pt x="43405" y="56075"/>
                      <a:pt x="47498" y="61363"/>
                      <a:pt x="50867" y="67096"/>
                    </a:cubicBezTo>
                    <a:cubicBezTo>
                      <a:pt x="53482" y="71539"/>
                      <a:pt x="53940" y="76859"/>
                      <a:pt x="52122" y="81683"/>
                    </a:cubicBezTo>
                    <a:cubicBezTo>
                      <a:pt x="50311" y="86504"/>
                      <a:pt x="46469" y="90190"/>
                      <a:pt x="41584" y="91815"/>
                    </a:cubicBezTo>
                    <a:cubicBezTo>
                      <a:pt x="33620" y="94455"/>
                      <a:pt x="25313" y="95790"/>
                      <a:pt x="16888" y="95790"/>
                    </a:cubicBezTo>
                    <a:cubicBezTo>
                      <a:pt x="15826" y="95790"/>
                      <a:pt x="14736" y="95765"/>
                      <a:pt x="13614" y="95708"/>
                    </a:cubicBezTo>
                    <a:cubicBezTo>
                      <a:pt x="13265" y="98873"/>
                      <a:pt x="13096" y="101863"/>
                      <a:pt x="13096" y="104746"/>
                    </a:cubicBezTo>
                    <a:cubicBezTo>
                      <a:pt x="13096" y="106017"/>
                      <a:pt x="13128" y="107310"/>
                      <a:pt x="13192" y="108645"/>
                    </a:cubicBezTo>
                    <a:cubicBezTo>
                      <a:pt x="14463" y="108569"/>
                      <a:pt x="15687" y="108537"/>
                      <a:pt x="16888" y="108537"/>
                    </a:cubicBezTo>
                    <a:cubicBezTo>
                      <a:pt x="27391" y="108537"/>
                      <a:pt x="37631" y="110603"/>
                      <a:pt x="47314" y="114680"/>
                    </a:cubicBezTo>
                    <a:cubicBezTo>
                      <a:pt x="55500" y="118119"/>
                      <a:pt x="59536" y="127672"/>
                      <a:pt x="56314" y="135963"/>
                    </a:cubicBezTo>
                    <a:cubicBezTo>
                      <a:pt x="52345" y="146158"/>
                      <a:pt x="46421" y="155237"/>
                      <a:pt x="38702" y="162960"/>
                    </a:cubicBezTo>
                    <a:cubicBezTo>
                      <a:pt x="37948" y="163713"/>
                      <a:pt x="37160" y="164463"/>
                      <a:pt x="36331" y="165216"/>
                    </a:cubicBezTo>
                    <a:cubicBezTo>
                      <a:pt x="38323" y="167705"/>
                      <a:pt x="40316" y="169936"/>
                      <a:pt x="42356" y="171973"/>
                    </a:cubicBezTo>
                    <a:cubicBezTo>
                      <a:pt x="43256" y="172869"/>
                      <a:pt x="44190" y="173762"/>
                      <a:pt x="45178" y="174658"/>
                    </a:cubicBezTo>
                    <a:cubicBezTo>
                      <a:pt x="46024" y="173718"/>
                      <a:pt x="46863" y="172831"/>
                      <a:pt x="47714" y="171973"/>
                    </a:cubicBezTo>
                    <a:cubicBezTo>
                      <a:pt x="54073" y="165611"/>
                      <a:pt x="61377" y="160440"/>
                      <a:pt x="69420" y="156592"/>
                    </a:cubicBezTo>
                    <a:cubicBezTo>
                      <a:pt x="74022" y="154386"/>
                      <a:pt x="79329" y="154335"/>
                      <a:pt x="83962" y="156496"/>
                    </a:cubicBezTo>
                    <a:cubicBezTo>
                      <a:pt x="88574" y="158632"/>
                      <a:pt x="91955" y="162684"/>
                      <a:pt x="93245" y="167606"/>
                    </a:cubicBezTo>
                    <a:cubicBezTo>
                      <a:pt x="94930" y="174070"/>
                      <a:pt x="95788" y="180744"/>
                      <a:pt x="95788" y="187437"/>
                    </a:cubicBezTo>
                    <a:cubicBezTo>
                      <a:pt x="95785" y="190227"/>
                      <a:pt x="95632" y="193040"/>
                      <a:pt x="95321" y="195859"/>
                    </a:cubicBezTo>
                    <a:close/>
                  </a:path>
                </a:pathLst>
              </a:custGeom>
              <a:grpFill/>
              <a:ln w="318" cap="flat">
                <a:noFill/>
                <a:prstDash val="solid"/>
                <a:miter/>
              </a:ln>
            </p:spPr>
            <p:txBody>
              <a:bodyPr rtlCol="0" anchor="ctr"/>
              <a:lstStyle/>
              <a:p>
                <a:endParaRPr lang="en-GB" dirty="0"/>
              </a:p>
            </p:txBody>
          </p:sp>
        </p:grpSp>
        <p:grpSp>
          <p:nvGrpSpPr>
            <p:cNvPr id="303" name="Graphic 4">
              <a:extLst>
                <a:ext uri="{FF2B5EF4-FFF2-40B4-BE49-F238E27FC236}">
                  <a16:creationId xmlns:a16="http://schemas.microsoft.com/office/drawing/2014/main" id="{A1B3C84A-B623-447D-A6E8-E90DFD31CB03}"/>
                </a:ext>
              </a:extLst>
            </p:cNvPr>
            <p:cNvGrpSpPr/>
            <p:nvPr/>
          </p:nvGrpSpPr>
          <p:grpSpPr>
            <a:xfrm>
              <a:off x="503782" y="4040084"/>
              <a:ext cx="212455" cy="431639"/>
              <a:chOff x="839646" y="4127432"/>
              <a:chExt cx="196724" cy="399679"/>
            </a:xfrm>
            <a:solidFill>
              <a:schemeClr val="accent1"/>
            </a:solidFill>
          </p:grpSpPr>
          <p:sp>
            <p:nvSpPr>
              <p:cNvPr id="315" name="Freihandform: Form 495">
                <a:extLst>
                  <a:ext uri="{FF2B5EF4-FFF2-40B4-BE49-F238E27FC236}">
                    <a16:creationId xmlns:a16="http://schemas.microsoft.com/office/drawing/2014/main" id="{E9C1CFA3-E8A5-4A73-8AD5-DCBCD1C58A3B}"/>
                  </a:ext>
                </a:extLst>
              </p:cNvPr>
              <p:cNvSpPr/>
              <p:nvPr/>
            </p:nvSpPr>
            <p:spPr>
              <a:xfrm>
                <a:off x="938638" y="4177803"/>
                <a:ext cx="97732" cy="299280"/>
              </a:xfrm>
              <a:custGeom>
                <a:avLst/>
                <a:gdLst>
                  <a:gd name="connsiteX0" fmla="*/ 91173 w 97732"/>
                  <a:gd name="connsiteY0" fmla="*/ 299281 h 299280"/>
                  <a:gd name="connsiteX1" fmla="*/ 88024 w 97732"/>
                  <a:gd name="connsiteY1" fmla="*/ 298471 h 299280"/>
                  <a:gd name="connsiteX2" fmla="*/ 0 w 97732"/>
                  <a:gd name="connsiteY2" fmla="*/ 149639 h 299280"/>
                  <a:gd name="connsiteX3" fmla="*/ 88030 w 97732"/>
                  <a:gd name="connsiteY3" fmla="*/ 807 h 299280"/>
                  <a:gd name="connsiteX4" fmla="*/ 96919 w 97732"/>
                  <a:gd name="connsiteY4" fmla="*/ 3385 h 299280"/>
                  <a:gd name="connsiteX5" fmla="*/ 94339 w 97732"/>
                  <a:gd name="connsiteY5" fmla="*/ 12277 h 299280"/>
                  <a:gd name="connsiteX6" fmla="*/ 13093 w 97732"/>
                  <a:gd name="connsiteY6" fmla="*/ 149639 h 299280"/>
                  <a:gd name="connsiteX7" fmla="*/ 94335 w 97732"/>
                  <a:gd name="connsiteY7" fmla="*/ 287001 h 299280"/>
                  <a:gd name="connsiteX8" fmla="*/ 96916 w 97732"/>
                  <a:gd name="connsiteY8" fmla="*/ 295893 h 299280"/>
                  <a:gd name="connsiteX9" fmla="*/ 91173 w 97732"/>
                  <a:gd name="connsiteY9" fmla="*/ 299281 h 29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32" h="299280">
                    <a:moveTo>
                      <a:pt x="91173" y="299281"/>
                    </a:moveTo>
                    <a:cubicBezTo>
                      <a:pt x="90106" y="299281"/>
                      <a:pt x="89025" y="299020"/>
                      <a:pt x="88024" y="298471"/>
                    </a:cubicBezTo>
                    <a:cubicBezTo>
                      <a:pt x="33728" y="268591"/>
                      <a:pt x="0" y="211562"/>
                      <a:pt x="0" y="149639"/>
                    </a:cubicBezTo>
                    <a:cubicBezTo>
                      <a:pt x="0" y="87716"/>
                      <a:pt x="33731" y="30687"/>
                      <a:pt x="88030" y="807"/>
                    </a:cubicBezTo>
                    <a:cubicBezTo>
                      <a:pt x="91205" y="-925"/>
                      <a:pt x="95178" y="219"/>
                      <a:pt x="96919" y="3385"/>
                    </a:cubicBezTo>
                    <a:cubicBezTo>
                      <a:pt x="98664" y="6556"/>
                      <a:pt x="97507" y="10532"/>
                      <a:pt x="94339" y="12277"/>
                    </a:cubicBezTo>
                    <a:cubicBezTo>
                      <a:pt x="44225" y="39855"/>
                      <a:pt x="13093" y="92486"/>
                      <a:pt x="13093" y="149639"/>
                    </a:cubicBezTo>
                    <a:cubicBezTo>
                      <a:pt x="13093" y="206789"/>
                      <a:pt x="44222" y="259423"/>
                      <a:pt x="94335" y="287001"/>
                    </a:cubicBezTo>
                    <a:cubicBezTo>
                      <a:pt x="97504" y="288746"/>
                      <a:pt x="98661" y="292722"/>
                      <a:pt x="96916" y="295893"/>
                    </a:cubicBezTo>
                    <a:cubicBezTo>
                      <a:pt x="95721" y="298058"/>
                      <a:pt x="93484" y="299281"/>
                      <a:pt x="91173" y="299281"/>
                    </a:cubicBezTo>
                    <a:close/>
                  </a:path>
                </a:pathLst>
              </a:custGeom>
              <a:solidFill>
                <a:schemeClr val="accent1"/>
              </a:solidFill>
              <a:ln w="318" cap="flat">
                <a:noFill/>
                <a:prstDash val="solid"/>
                <a:miter/>
              </a:ln>
            </p:spPr>
            <p:txBody>
              <a:bodyPr rtlCol="0" anchor="ctr"/>
              <a:lstStyle/>
              <a:p>
                <a:endParaRPr lang="en-GB" dirty="0"/>
              </a:p>
            </p:txBody>
          </p:sp>
          <p:grpSp>
            <p:nvGrpSpPr>
              <p:cNvPr id="316" name="Graphic 4">
                <a:extLst>
                  <a:ext uri="{FF2B5EF4-FFF2-40B4-BE49-F238E27FC236}">
                    <a16:creationId xmlns:a16="http://schemas.microsoft.com/office/drawing/2014/main" id="{AE4BB1AB-7B95-49C0-82E7-D84D91D289AF}"/>
                  </a:ext>
                </a:extLst>
              </p:cNvPr>
              <p:cNvGrpSpPr/>
              <p:nvPr/>
            </p:nvGrpSpPr>
            <p:grpSpPr>
              <a:xfrm>
                <a:off x="908409" y="4127432"/>
                <a:ext cx="90184" cy="90188"/>
                <a:chOff x="908409" y="4127432"/>
                <a:chExt cx="90184" cy="90188"/>
              </a:xfrm>
              <a:solidFill>
                <a:schemeClr val="accent1"/>
              </a:solidFill>
            </p:grpSpPr>
            <p:sp>
              <p:nvSpPr>
                <p:cNvPr id="323" name="Freihandform: Form 497">
                  <a:extLst>
                    <a:ext uri="{FF2B5EF4-FFF2-40B4-BE49-F238E27FC236}">
                      <a16:creationId xmlns:a16="http://schemas.microsoft.com/office/drawing/2014/main" id="{3CEF3DEA-69BC-42AA-BEB0-9A3BCFE81914}"/>
                    </a:ext>
                  </a:extLst>
                </p:cNvPr>
                <p:cNvSpPr/>
                <p:nvPr/>
              </p:nvSpPr>
              <p:spPr>
                <a:xfrm>
                  <a:off x="908409" y="4127432"/>
                  <a:ext cx="61459" cy="61462"/>
                </a:xfrm>
                <a:custGeom>
                  <a:avLst/>
                  <a:gdLst>
                    <a:gd name="connsiteX0" fmla="*/ 30728 w 61459"/>
                    <a:gd name="connsiteY0" fmla="*/ 61462 h 61462"/>
                    <a:gd name="connsiteX1" fmla="*/ 0 w 61459"/>
                    <a:gd name="connsiteY1" fmla="*/ 30731 h 61462"/>
                    <a:gd name="connsiteX2" fmla="*/ 30728 w 61459"/>
                    <a:gd name="connsiteY2" fmla="*/ 0 h 61462"/>
                    <a:gd name="connsiteX3" fmla="*/ 61459 w 61459"/>
                    <a:gd name="connsiteY3" fmla="*/ 30731 h 61462"/>
                    <a:gd name="connsiteX4" fmla="*/ 30728 w 61459"/>
                    <a:gd name="connsiteY4" fmla="*/ 61462 h 61462"/>
                    <a:gd name="connsiteX5" fmla="*/ 30728 w 61459"/>
                    <a:gd name="connsiteY5" fmla="*/ 13096 h 61462"/>
                    <a:gd name="connsiteX6" fmla="*/ 13093 w 61459"/>
                    <a:gd name="connsiteY6" fmla="*/ 30734 h 61462"/>
                    <a:gd name="connsiteX7" fmla="*/ 30728 w 61459"/>
                    <a:gd name="connsiteY7" fmla="*/ 48372 h 61462"/>
                    <a:gd name="connsiteX8" fmla="*/ 48366 w 61459"/>
                    <a:gd name="connsiteY8" fmla="*/ 30734 h 61462"/>
                    <a:gd name="connsiteX9" fmla="*/ 30728 w 61459"/>
                    <a:gd name="connsiteY9" fmla="*/ 13096 h 6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59" h="61462">
                      <a:moveTo>
                        <a:pt x="30728" y="61462"/>
                      </a:moveTo>
                      <a:cubicBezTo>
                        <a:pt x="13783" y="61462"/>
                        <a:pt x="0" y="47679"/>
                        <a:pt x="0" y="30731"/>
                      </a:cubicBezTo>
                      <a:cubicBezTo>
                        <a:pt x="0" y="13783"/>
                        <a:pt x="13783" y="0"/>
                        <a:pt x="30728" y="0"/>
                      </a:cubicBezTo>
                      <a:cubicBezTo>
                        <a:pt x="47673" y="0"/>
                        <a:pt x="61459" y="13783"/>
                        <a:pt x="61459" y="30731"/>
                      </a:cubicBezTo>
                      <a:cubicBezTo>
                        <a:pt x="61456" y="47679"/>
                        <a:pt x="47670" y="61462"/>
                        <a:pt x="30728" y="61462"/>
                      </a:cubicBezTo>
                      <a:close/>
                      <a:moveTo>
                        <a:pt x="30728" y="13096"/>
                      </a:moveTo>
                      <a:cubicBezTo>
                        <a:pt x="21003" y="13096"/>
                        <a:pt x="13093" y="21010"/>
                        <a:pt x="13093" y="30734"/>
                      </a:cubicBezTo>
                      <a:cubicBezTo>
                        <a:pt x="13093" y="40459"/>
                        <a:pt x="21003" y="48372"/>
                        <a:pt x="30728" y="48372"/>
                      </a:cubicBezTo>
                      <a:cubicBezTo>
                        <a:pt x="40456" y="48372"/>
                        <a:pt x="48366" y="40459"/>
                        <a:pt x="48366" y="30734"/>
                      </a:cubicBezTo>
                      <a:cubicBezTo>
                        <a:pt x="48366" y="21010"/>
                        <a:pt x="40453" y="13096"/>
                        <a:pt x="30728" y="13096"/>
                      </a:cubicBezTo>
                      <a:close/>
                    </a:path>
                  </a:pathLst>
                </a:custGeom>
                <a:solidFill>
                  <a:schemeClr val="accent1"/>
                </a:solidFill>
                <a:ln w="318" cap="flat">
                  <a:noFill/>
                  <a:prstDash val="solid"/>
                  <a:miter/>
                </a:ln>
              </p:spPr>
              <p:txBody>
                <a:bodyPr rtlCol="0" anchor="ctr"/>
                <a:lstStyle/>
                <a:p>
                  <a:endParaRPr lang="en-GB" dirty="0"/>
                </a:p>
              </p:txBody>
            </p:sp>
            <p:sp>
              <p:nvSpPr>
                <p:cNvPr id="324" name="Freihandform: Form 498">
                  <a:extLst>
                    <a:ext uri="{FF2B5EF4-FFF2-40B4-BE49-F238E27FC236}">
                      <a16:creationId xmlns:a16="http://schemas.microsoft.com/office/drawing/2014/main" id="{8BBF9A1A-2FA8-41E6-840A-750C8E5E75C2}"/>
                    </a:ext>
                  </a:extLst>
                </p:cNvPr>
                <p:cNvSpPr/>
                <p:nvPr/>
              </p:nvSpPr>
              <p:spPr>
                <a:xfrm>
                  <a:off x="950518" y="4169547"/>
                  <a:ext cx="48075" cy="48072"/>
                </a:xfrm>
                <a:custGeom>
                  <a:avLst/>
                  <a:gdLst>
                    <a:gd name="connsiteX0" fmla="*/ 41526 w 48075"/>
                    <a:gd name="connsiteY0" fmla="*/ 48073 h 48072"/>
                    <a:gd name="connsiteX1" fmla="*/ 36899 w 48075"/>
                    <a:gd name="connsiteY1" fmla="*/ 46156 h 48072"/>
                    <a:gd name="connsiteX2" fmla="*/ 1919 w 48075"/>
                    <a:gd name="connsiteY2" fmla="*/ 11176 h 48072"/>
                    <a:gd name="connsiteX3" fmla="*/ 1919 w 48075"/>
                    <a:gd name="connsiteY3" fmla="*/ 1919 h 48072"/>
                    <a:gd name="connsiteX4" fmla="*/ 11176 w 48075"/>
                    <a:gd name="connsiteY4" fmla="*/ 1919 h 48072"/>
                    <a:gd name="connsiteX5" fmla="*/ 46156 w 48075"/>
                    <a:gd name="connsiteY5" fmla="*/ 36899 h 48072"/>
                    <a:gd name="connsiteX6" fmla="*/ 46156 w 48075"/>
                    <a:gd name="connsiteY6" fmla="*/ 46156 h 48072"/>
                    <a:gd name="connsiteX7" fmla="*/ 41526 w 48075"/>
                    <a:gd name="connsiteY7" fmla="*/ 48073 h 4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75" h="48072">
                      <a:moveTo>
                        <a:pt x="41526" y="48073"/>
                      </a:moveTo>
                      <a:cubicBezTo>
                        <a:pt x="39851" y="48073"/>
                        <a:pt x="38176" y="47434"/>
                        <a:pt x="36899" y="46156"/>
                      </a:cubicBezTo>
                      <a:lnTo>
                        <a:pt x="1919" y="11176"/>
                      </a:lnTo>
                      <a:cubicBezTo>
                        <a:pt x="-640" y="8618"/>
                        <a:pt x="-640" y="4477"/>
                        <a:pt x="1919" y="1919"/>
                      </a:cubicBezTo>
                      <a:cubicBezTo>
                        <a:pt x="4477" y="-640"/>
                        <a:pt x="8618" y="-640"/>
                        <a:pt x="11176" y="1919"/>
                      </a:cubicBezTo>
                      <a:lnTo>
                        <a:pt x="46156" y="36899"/>
                      </a:lnTo>
                      <a:cubicBezTo>
                        <a:pt x="48715" y="39457"/>
                        <a:pt x="48715" y="43598"/>
                        <a:pt x="46156" y="46156"/>
                      </a:cubicBezTo>
                      <a:cubicBezTo>
                        <a:pt x="44879" y="47431"/>
                        <a:pt x="43201" y="48073"/>
                        <a:pt x="41526" y="48073"/>
                      </a:cubicBezTo>
                      <a:close/>
                    </a:path>
                  </a:pathLst>
                </a:custGeom>
                <a:solidFill>
                  <a:schemeClr val="accent1"/>
                </a:solidFill>
                <a:ln w="318" cap="flat">
                  <a:noFill/>
                  <a:prstDash val="solid"/>
                  <a:miter/>
                </a:ln>
              </p:spPr>
              <p:txBody>
                <a:bodyPr rtlCol="0" anchor="ctr"/>
                <a:lstStyle/>
                <a:p>
                  <a:endParaRPr lang="en-GB" dirty="0"/>
                </a:p>
              </p:txBody>
            </p:sp>
          </p:grpSp>
          <p:grpSp>
            <p:nvGrpSpPr>
              <p:cNvPr id="317" name="Graphic 4">
                <a:extLst>
                  <a:ext uri="{FF2B5EF4-FFF2-40B4-BE49-F238E27FC236}">
                    <a16:creationId xmlns:a16="http://schemas.microsoft.com/office/drawing/2014/main" id="{210B686E-7B65-4913-9976-8BBE9EE9E451}"/>
                  </a:ext>
                </a:extLst>
              </p:cNvPr>
              <p:cNvGrpSpPr/>
              <p:nvPr/>
            </p:nvGrpSpPr>
            <p:grpSpPr>
              <a:xfrm>
                <a:off x="839646" y="4296725"/>
                <a:ext cx="112085" cy="61425"/>
                <a:chOff x="839646" y="4296725"/>
                <a:chExt cx="112085" cy="61425"/>
              </a:xfrm>
              <a:solidFill>
                <a:schemeClr val="accent1"/>
              </a:solidFill>
            </p:grpSpPr>
            <p:sp>
              <p:nvSpPr>
                <p:cNvPr id="321" name="Freihandform: Form 500">
                  <a:extLst>
                    <a:ext uri="{FF2B5EF4-FFF2-40B4-BE49-F238E27FC236}">
                      <a16:creationId xmlns:a16="http://schemas.microsoft.com/office/drawing/2014/main" id="{ABF5B1B8-703A-45E0-96AD-A1139C2184DC}"/>
                    </a:ext>
                  </a:extLst>
                </p:cNvPr>
                <p:cNvSpPr/>
                <p:nvPr/>
              </p:nvSpPr>
              <p:spPr>
                <a:xfrm>
                  <a:off x="839646" y="4296725"/>
                  <a:ext cx="61440" cy="61425"/>
                </a:xfrm>
                <a:custGeom>
                  <a:avLst/>
                  <a:gdLst>
                    <a:gd name="connsiteX0" fmla="*/ 30713 w 61440"/>
                    <a:gd name="connsiteY0" fmla="*/ 61426 h 61425"/>
                    <a:gd name="connsiteX1" fmla="*/ 8985 w 61440"/>
                    <a:gd name="connsiteY1" fmla="*/ 52445 h 61425"/>
                    <a:gd name="connsiteX2" fmla="*/ 8982 w 61440"/>
                    <a:gd name="connsiteY2" fmla="*/ 8986 h 61425"/>
                    <a:gd name="connsiteX3" fmla="*/ 52441 w 61440"/>
                    <a:gd name="connsiteY3" fmla="*/ 8986 h 61425"/>
                    <a:gd name="connsiteX4" fmla="*/ 52441 w 61440"/>
                    <a:gd name="connsiteY4" fmla="*/ 8986 h 61425"/>
                    <a:gd name="connsiteX5" fmla="*/ 61441 w 61440"/>
                    <a:gd name="connsiteY5" fmla="*/ 30714 h 61425"/>
                    <a:gd name="connsiteX6" fmla="*/ 52441 w 61440"/>
                    <a:gd name="connsiteY6" fmla="*/ 52442 h 61425"/>
                    <a:gd name="connsiteX7" fmla="*/ 30713 w 61440"/>
                    <a:gd name="connsiteY7" fmla="*/ 61426 h 61425"/>
                    <a:gd name="connsiteX8" fmla="*/ 30713 w 61440"/>
                    <a:gd name="connsiteY8" fmla="*/ 13092 h 61425"/>
                    <a:gd name="connsiteX9" fmla="*/ 18239 w 61440"/>
                    <a:gd name="connsiteY9" fmla="*/ 18243 h 61425"/>
                    <a:gd name="connsiteX10" fmla="*/ 18239 w 61440"/>
                    <a:gd name="connsiteY10" fmla="*/ 43187 h 61425"/>
                    <a:gd name="connsiteX11" fmla="*/ 43180 w 61440"/>
                    <a:gd name="connsiteY11" fmla="*/ 43187 h 61425"/>
                    <a:gd name="connsiteX12" fmla="*/ 48344 w 61440"/>
                    <a:gd name="connsiteY12" fmla="*/ 30714 h 61425"/>
                    <a:gd name="connsiteX13" fmla="*/ 43180 w 61440"/>
                    <a:gd name="connsiteY13" fmla="*/ 18240 h 61425"/>
                    <a:gd name="connsiteX14" fmla="*/ 30713 w 61440"/>
                    <a:gd name="connsiteY14" fmla="*/ 13092 h 6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440" h="61425">
                      <a:moveTo>
                        <a:pt x="30713" y="61426"/>
                      </a:moveTo>
                      <a:cubicBezTo>
                        <a:pt x="22844" y="61426"/>
                        <a:pt x="14972" y="58435"/>
                        <a:pt x="8985" y="52445"/>
                      </a:cubicBezTo>
                      <a:cubicBezTo>
                        <a:pt x="-2993" y="40464"/>
                        <a:pt x="-2996" y="20973"/>
                        <a:pt x="8982" y="8986"/>
                      </a:cubicBezTo>
                      <a:cubicBezTo>
                        <a:pt x="20969" y="-2995"/>
                        <a:pt x="40460" y="-2995"/>
                        <a:pt x="52441" y="8986"/>
                      </a:cubicBezTo>
                      <a:lnTo>
                        <a:pt x="52441" y="8986"/>
                      </a:lnTo>
                      <a:cubicBezTo>
                        <a:pt x="58247" y="14792"/>
                        <a:pt x="61441" y="22515"/>
                        <a:pt x="61441" y="30714"/>
                      </a:cubicBezTo>
                      <a:cubicBezTo>
                        <a:pt x="61441" y="38923"/>
                        <a:pt x="58244" y="46639"/>
                        <a:pt x="52441" y="52442"/>
                      </a:cubicBezTo>
                      <a:cubicBezTo>
                        <a:pt x="46447" y="58435"/>
                        <a:pt x="38582" y="61426"/>
                        <a:pt x="30713" y="61426"/>
                      </a:cubicBezTo>
                      <a:close/>
                      <a:moveTo>
                        <a:pt x="30713" y="13092"/>
                      </a:moveTo>
                      <a:cubicBezTo>
                        <a:pt x="26197" y="13092"/>
                        <a:pt x="21681" y="14805"/>
                        <a:pt x="18239" y="18243"/>
                      </a:cubicBezTo>
                      <a:cubicBezTo>
                        <a:pt x="11368" y="25121"/>
                        <a:pt x="11365" y="36317"/>
                        <a:pt x="18239" y="43187"/>
                      </a:cubicBezTo>
                      <a:cubicBezTo>
                        <a:pt x="25116" y="50064"/>
                        <a:pt x="36303" y="50064"/>
                        <a:pt x="43180" y="43187"/>
                      </a:cubicBezTo>
                      <a:cubicBezTo>
                        <a:pt x="46511" y="39857"/>
                        <a:pt x="48344" y="35427"/>
                        <a:pt x="48344" y="30714"/>
                      </a:cubicBezTo>
                      <a:cubicBezTo>
                        <a:pt x="48344" y="26001"/>
                        <a:pt x="46511" y="21571"/>
                        <a:pt x="43180" y="18240"/>
                      </a:cubicBezTo>
                      <a:cubicBezTo>
                        <a:pt x="39745" y="14805"/>
                        <a:pt x="35229" y="13092"/>
                        <a:pt x="30713" y="13092"/>
                      </a:cubicBezTo>
                      <a:close/>
                    </a:path>
                  </a:pathLst>
                </a:custGeom>
                <a:solidFill>
                  <a:schemeClr val="accent1"/>
                </a:solidFill>
                <a:ln w="318" cap="flat">
                  <a:noFill/>
                  <a:prstDash val="solid"/>
                  <a:miter/>
                </a:ln>
              </p:spPr>
              <p:txBody>
                <a:bodyPr rtlCol="0" anchor="ctr"/>
                <a:lstStyle/>
                <a:p>
                  <a:endParaRPr lang="en-GB" dirty="0"/>
                </a:p>
              </p:txBody>
            </p:sp>
            <p:sp>
              <p:nvSpPr>
                <p:cNvPr id="322" name="Freihandform: Form 501">
                  <a:extLst>
                    <a:ext uri="{FF2B5EF4-FFF2-40B4-BE49-F238E27FC236}">
                      <a16:creationId xmlns:a16="http://schemas.microsoft.com/office/drawing/2014/main" id="{D607ECAB-FE0D-480B-8976-E0162B1F6F59}"/>
                    </a:ext>
                  </a:extLst>
                </p:cNvPr>
                <p:cNvSpPr/>
                <p:nvPr/>
              </p:nvSpPr>
              <p:spPr>
                <a:xfrm>
                  <a:off x="889163" y="4320892"/>
                  <a:ext cx="62568" cy="13093"/>
                </a:xfrm>
                <a:custGeom>
                  <a:avLst/>
                  <a:gdLst>
                    <a:gd name="connsiteX0" fmla="*/ 56022 w 62568"/>
                    <a:gd name="connsiteY0" fmla="*/ 13093 h 13093"/>
                    <a:gd name="connsiteX1" fmla="*/ 6547 w 62568"/>
                    <a:gd name="connsiteY1" fmla="*/ 13093 h 13093"/>
                    <a:gd name="connsiteX2" fmla="*/ 0 w 62568"/>
                    <a:gd name="connsiteY2" fmla="*/ 6547 h 13093"/>
                    <a:gd name="connsiteX3" fmla="*/ 6547 w 62568"/>
                    <a:gd name="connsiteY3" fmla="*/ 0 h 13093"/>
                    <a:gd name="connsiteX4" fmla="*/ 56022 w 62568"/>
                    <a:gd name="connsiteY4" fmla="*/ 0 h 13093"/>
                    <a:gd name="connsiteX5" fmla="*/ 62568 w 62568"/>
                    <a:gd name="connsiteY5" fmla="*/ 6547 h 13093"/>
                    <a:gd name="connsiteX6" fmla="*/ 56022 w 62568"/>
                    <a:gd name="connsiteY6" fmla="*/ 13093 h 1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568" h="13093">
                      <a:moveTo>
                        <a:pt x="56022" y="13093"/>
                      </a:moveTo>
                      <a:lnTo>
                        <a:pt x="6547" y="13093"/>
                      </a:lnTo>
                      <a:cubicBezTo>
                        <a:pt x="2930" y="13093"/>
                        <a:pt x="0" y="10166"/>
                        <a:pt x="0" y="6547"/>
                      </a:cubicBezTo>
                      <a:cubicBezTo>
                        <a:pt x="0" y="2927"/>
                        <a:pt x="2930" y="0"/>
                        <a:pt x="6547" y="0"/>
                      </a:cubicBezTo>
                      <a:lnTo>
                        <a:pt x="56022" y="0"/>
                      </a:lnTo>
                      <a:cubicBezTo>
                        <a:pt x="59638" y="0"/>
                        <a:pt x="62568" y="2927"/>
                        <a:pt x="62568" y="6547"/>
                      </a:cubicBezTo>
                      <a:cubicBezTo>
                        <a:pt x="62568" y="10166"/>
                        <a:pt x="59635" y="13093"/>
                        <a:pt x="56022" y="13093"/>
                      </a:cubicBezTo>
                      <a:close/>
                    </a:path>
                  </a:pathLst>
                </a:custGeom>
                <a:solidFill>
                  <a:schemeClr val="accent1"/>
                </a:solidFill>
                <a:ln w="318" cap="flat">
                  <a:noFill/>
                  <a:prstDash val="solid"/>
                  <a:miter/>
                </a:ln>
              </p:spPr>
              <p:txBody>
                <a:bodyPr rtlCol="0" anchor="ctr"/>
                <a:lstStyle/>
                <a:p>
                  <a:endParaRPr lang="en-GB" dirty="0"/>
                </a:p>
              </p:txBody>
            </p:sp>
          </p:grpSp>
          <p:grpSp>
            <p:nvGrpSpPr>
              <p:cNvPr id="318" name="Graphic 4">
                <a:extLst>
                  <a:ext uri="{FF2B5EF4-FFF2-40B4-BE49-F238E27FC236}">
                    <a16:creationId xmlns:a16="http://schemas.microsoft.com/office/drawing/2014/main" id="{CBB26D1C-25BB-4828-9236-98C1CD619605}"/>
                  </a:ext>
                </a:extLst>
              </p:cNvPr>
              <p:cNvGrpSpPr/>
              <p:nvPr/>
            </p:nvGrpSpPr>
            <p:grpSpPr>
              <a:xfrm>
                <a:off x="908736" y="4436928"/>
                <a:ext cx="90187" cy="90184"/>
                <a:chOff x="908736" y="4436928"/>
                <a:chExt cx="90187" cy="90184"/>
              </a:xfrm>
              <a:solidFill>
                <a:schemeClr val="accent1"/>
              </a:solidFill>
            </p:grpSpPr>
            <p:sp>
              <p:nvSpPr>
                <p:cNvPr id="319" name="Freihandform: Form 503">
                  <a:extLst>
                    <a:ext uri="{FF2B5EF4-FFF2-40B4-BE49-F238E27FC236}">
                      <a16:creationId xmlns:a16="http://schemas.microsoft.com/office/drawing/2014/main" id="{3808C09A-969A-4A0D-8E56-2319197255EA}"/>
                    </a:ext>
                  </a:extLst>
                </p:cNvPr>
                <p:cNvSpPr/>
                <p:nvPr/>
              </p:nvSpPr>
              <p:spPr>
                <a:xfrm>
                  <a:off x="908736" y="4465656"/>
                  <a:ext cx="61459" cy="61455"/>
                </a:xfrm>
                <a:custGeom>
                  <a:avLst/>
                  <a:gdLst>
                    <a:gd name="connsiteX0" fmla="*/ 30731 w 61459"/>
                    <a:gd name="connsiteY0" fmla="*/ 61456 h 61455"/>
                    <a:gd name="connsiteX1" fmla="*/ 0 w 61459"/>
                    <a:gd name="connsiteY1" fmla="*/ 30731 h 61455"/>
                    <a:gd name="connsiteX2" fmla="*/ 30731 w 61459"/>
                    <a:gd name="connsiteY2" fmla="*/ 0 h 61455"/>
                    <a:gd name="connsiteX3" fmla="*/ 61459 w 61459"/>
                    <a:gd name="connsiteY3" fmla="*/ 30731 h 61455"/>
                    <a:gd name="connsiteX4" fmla="*/ 30731 w 61459"/>
                    <a:gd name="connsiteY4" fmla="*/ 61456 h 61455"/>
                    <a:gd name="connsiteX5" fmla="*/ 30731 w 61459"/>
                    <a:gd name="connsiteY5" fmla="*/ 13096 h 61455"/>
                    <a:gd name="connsiteX6" fmla="*/ 13093 w 61459"/>
                    <a:gd name="connsiteY6" fmla="*/ 30734 h 61455"/>
                    <a:gd name="connsiteX7" fmla="*/ 30731 w 61459"/>
                    <a:gd name="connsiteY7" fmla="*/ 48366 h 61455"/>
                    <a:gd name="connsiteX8" fmla="*/ 48366 w 61459"/>
                    <a:gd name="connsiteY8" fmla="*/ 30734 h 61455"/>
                    <a:gd name="connsiteX9" fmla="*/ 30731 w 61459"/>
                    <a:gd name="connsiteY9" fmla="*/ 13096 h 6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59" h="61455">
                      <a:moveTo>
                        <a:pt x="30731" y="61456"/>
                      </a:moveTo>
                      <a:cubicBezTo>
                        <a:pt x="13786" y="61456"/>
                        <a:pt x="0" y="47673"/>
                        <a:pt x="0" y="30731"/>
                      </a:cubicBezTo>
                      <a:cubicBezTo>
                        <a:pt x="0" y="13783"/>
                        <a:pt x="13786" y="0"/>
                        <a:pt x="30731" y="0"/>
                      </a:cubicBezTo>
                      <a:cubicBezTo>
                        <a:pt x="47676" y="0"/>
                        <a:pt x="61459" y="13783"/>
                        <a:pt x="61459" y="30731"/>
                      </a:cubicBezTo>
                      <a:cubicBezTo>
                        <a:pt x="61459" y="47673"/>
                        <a:pt x="47676" y="61456"/>
                        <a:pt x="30731" y="61456"/>
                      </a:cubicBezTo>
                      <a:close/>
                      <a:moveTo>
                        <a:pt x="30731" y="13096"/>
                      </a:moveTo>
                      <a:cubicBezTo>
                        <a:pt x="21003" y="13096"/>
                        <a:pt x="13093" y="21010"/>
                        <a:pt x="13093" y="30734"/>
                      </a:cubicBezTo>
                      <a:cubicBezTo>
                        <a:pt x="13093" y="40459"/>
                        <a:pt x="21003" y="48366"/>
                        <a:pt x="30731" y="48366"/>
                      </a:cubicBezTo>
                      <a:cubicBezTo>
                        <a:pt x="40456" y="48366"/>
                        <a:pt x="48366" y="40459"/>
                        <a:pt x="48366" y="30734"/>
                      </a:cubicBezTo>
                      <a:cubicBezTo>
                        <a:pt x="48366" y="21010"/>
                        <a:pt x="40456" y="13096"/>
                        <a:pt x="30731" y="13096"/>
                      </a:cubicBezTo>
                      <a:close/>
                    </a:path>
                  </a:pathLst>
                </a:custGeom>
                <a:solidFill>
                  <a:schemeClr val="accent1"/>
                </a:solidFill>
                <a:ln w="318" cap="flat">
                  <a:noFill/>
                  <a:prstDash val="solid"/>
                  <a:miter/>
                </a:ln>
              </p:spPr>
              <p:txBody>
                <a:bodyPr rtlCol="0" anchor="ctr"/>
                <a:lstStyle/>
                <a:p>
                  <a:endParaRPr lang="en-GB" dirty="0"/>
                </a:p>
              </p:txBody>
            </p:sp>
            <p:sp>
              <p:nvSpPr>
                <p:cNvPr id="320" name="Freihandform: Form 504">
                  <a:extLst>
                    <a:ext uri="{FF2B5EF4-FFF2-40B4-BE49-F238E27FC236}">
                      <a16:creationId xmlns:a16="http://schemas.microsoft.com/office/drawing/2014/main" id="{46EC7A26-0017-4CAF-9369-8E11A8B069CF}"/>
                    </a:ext>
                  </a:extLst>
                </p:cNvPr>
                <p:cNvSpPr/>
                <p:nvPr/>
              </p:nvSpPr>
              <p:spPr>
                <a:xfrm>
                  <a:off x="950849" y="4436928"/>
                  <a:ext cx="48075" cy="48075"/>
                </a:xfrm>
                <a:custGeom>
                  <a:avLst/>
                  <a:gdLst>
                    <a:gd name="connsiteX0" fmla="*/ 6546 w 48075"/>
                    <a:gd name="connsiteY0" fmla="*/ 48076 h 48075"/>
                    <a:gd name="connsiteX1" fmla="*/ 1919 w 48075"/>
                    <a:gd name="connsiteY1" fmla="*/ 46156 h 48075"/>
                    <a:gd name="connsiteX2" fmla="*/ 1919 w 48075"/>
                    <a:gd name="connsiteY2" fmla="*/ 36899 h 48075"/>
                    <a:gd name="connsiteX3" fmla="*/ 36899 w 48075"/>
                    <a:gd name="connsiteY3" fmla="*/ 1919 h 48075"/>
                    <a:gd name="connsiteX4" fmla="*/ 46156 w 48075"/>
                    <a:gd name="connsiteY4" fmla="*/ 1919 h 48075"/>
                    <a:gd name="connsiteX5" fmla="*/ 46156 w 48075"/>
                    <a:gd name="connsiteY5" fmla="*/ 11176 h 48075"/>
                    <a:gd name="connsiteX6" fmla="*/ 11176 w 48075"/>
                    <a:gd name="connsiteY6" fmla="*/ 46156 h 48075"/>
                    <a:gd name="connsiteX7" fmla="*/ 6546 w 48075"/>
                    <a:gd name="connsiteY7" fmla="*/ 48076 h 4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75" h="48075">
                      <a:moveTo>
                        <a:pt x="6546" y="48076"/>
                      </a:moveTo>
                      <a:cubicBezTo>
                        <a:pt x="4871" y="48076"/>
                        <a:pt x="3196" y="47437"/>
                        <a:pt x="1919" y="46156"/>
                      </a:cubicBezTo>
                      <a:cubicBezTo>
                        <a:pt x="-640" y="43598"/>
                        <a:pt x="-640" y="39457"/>
                        <a:pt x="1919" y="36899"/>
                      </a:cubicBezTo>
                      <a:lnTo>
                        <a:pt x="36899" y="1919"/>
                      </a:lnTo>
                      <a:cubicBezTo>
                        <a:pt x="39457" y="-640"/>
                        <a:pt x="43598" y="-640"/>
                        <a:pt x="46156" y="1919"/>
                      </a:cubicBezTo>
                      <a:cubicBezTo>
                        <a:pt x="48715" y="4477"/>
                        <a:pt x="48715" y="8618"/>
                        <a:pt x="46156" y="11176"/>
                      </a:cubicBezTo>
                      <a:lnTo>
                        <a:pt x="11176" y="46156"/>
                      </a:lnTo>
                      <a:cubicBezTo>
                        <a:pt x="9895" y="47437"/>
                        <a:pt x="8221" y="48076"/>
                        <a:pt x="6546" y="48076"/>
                      </a:cubicBezTo>
                      <a:close/>
                    </a:path>
                  </a:pathLst>
                </a:custGeom>
                <a:solidFill>
                  <a:schemeClr val="accent1"/>
                </a:solidFill>
                <a:ln w="318" cap="flat">
                  <a:noFill/>
                  <a:prstDash val="solid"/>
                  <a:miter/>
                </a:ln>
              </p:spPr>
              <p:txBody>
                <a:bodyPr rtlCol="0" anchor="ctr"/>
                <a:lstStyle/>
                <a:p>
                  <a:endParaRPr lang="en-GB" dirty="0"/>
                </a:p>
              </p:txBody>
            </p:sp>
          </p:grpSp>
        </p:grpSp>
        <p:grpSp>
          <p:nvGrpSpPr>
            <p:cNvPr id="304" name="Graphic 4">
              <a:extLst>
                <a:ext uri="{FF2B5EF4-FFF2-40B4-BE49-F238E27FC236}">
                  <a16:creationId xmlns:a16="http://schemas.microsoft.com/office/drawing/2014/main" id="{3155BD05-02A4-4358-8C12-9ED3EF42F657}"/>
                </a:ext>
              </a:extLst>
            </p:cNvPr>
            <p:cNvGrpSpPr/>
            <p:nvPr/>
          </p:nvGrpSpPr>
          <p:grpSpPr>
            <a:xfrm>
              <a:off x="871851" y="4040446"/>
              <a:ext cx="212467" cy="431639"/>
              <a:chOff x="1180462" y="4127766"/>
              <a:chExt cx="196735" cy="399679"/>
            </a:xfrm>
            <a:solidFill>
              <a:schemeClr val="accent1"/>
            </a:solidFill>
          </p:grpSpPr>
          <p:sp>
            <p:nvSpPr>
              <p:cNvPr id="305" name="Freihandform: Form 506">
                <a:extLst>
                  <a:ext uri="{FF2B5EF4-FFF2-40B4-BE49-F238E27FC236}">
                    <a16:creationId xmlns:a16="http://schemas.microsoft.com/office/drawing/2014/main" id="{16777B9A-A7A9-462A-BAEA-1F697E42AB71}"/>
                  </a:ext>
                </a:extLst>
              </p:cNvPr>
              <p:cNvSpPr/>
              <p:nvPr/>
            </p:nvSpPr>
            <p:spPr>
              <a:xfrm>
                <a:off x="1180462" y="4178129"/>
                <a:ext cx="97728" cy="299285"/>
              </a:xfrm>
              <a:custGeom>
                <a:avLst/>
                <a:gdLst>
                  <a:gd name="connsiteX0" fmla="*/ 6555 w 97728"/>
                  <a:gd name="connsiteY0" fmla="*/ 299285 h 299285"/>
                  <a:gd name="connsiteX1" fmla="*/ 816 w 97728"/>
                  <a:gd name="connsiteY1" fmla="*/ 295897 h 299285"/>
                  <a:gd name="connsiteX2" fmla="*/ 3393 w 97728"/>
                  <a:gd name="connsiteY2" fmla="*/ 287005 h 299285"/>
                  <a:gd name="connsiteX3" fmla="*/ 84639 w 97728"/>
                  <a:gd name="connsiteY3" fmla="*/ 149643 h 299285"/>
                  <a:gd name="connsiteX4" fmla="*/ 3393 w 97728"/>
                  <a:gd name="connsiteY4" fmla="*/ 12281 h 299285"/>
                  <a:gd name="connsiteX5" fmla="*/ 813 w 97728"/>
                  <a:gd name="connsiteY5" fmla="*/ 3389 h 299285"/>
                  <a:gd name="connsiteX6" fmla="*/ 9702 w 97728"/>
                  <a:gd name="connsiteY6" fmla="*/ 811 h 299285"/>
                  <a:gd name="connsiteX7" fmla="*/ 97729 w 97728"/>
                  <a:gd name="connsiteY7" fmla="*/ 149643 h 299285"/>
                  <a:gd name="connsiteX8" fmla="*/ 9708 w 97728"/>
                  <a:gd name="connsiteY8" fmla="*/ 298475 h 299285"/>
                  <a:gd name="connsiteX9" fmla="*/ 6555 w 97728"/>
                  <a:gd name="connsiteY9" fmla="*/ 299285 h 299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728" h="299285">
                    <a:moveTo>
                      <a:pt x="6555" y="299285"/>
                    </a:moveTo>
                    <a:cubicBezTo>
                      <a:pt x="4245" y="299285"/>
                      <a:pt x="2008" y="298065"/>
                      <a:pt x="816" y="295897"/>
                    </a:cubicBezTo>
                    <a:cubicBezTo>
                      <a:pt x="-929" y="292726"/>
                      <a:pt x="228" y="288750"/>
                      <a:pt x="3393" y="287005"/>
                    </a:cubicBezTo>
                    <a:cubicBezTo>
                      <a:pt x="53510" y="259420"/>
                      <a:pt x="84639" y="206783"/>
                      <a:pt x="84639" y="149643"/>
                    </a:cubicBezTo>
                    <a:cubicBezTo>
                      <a:pt x="84639" y="92496"/>
                      <a:pt x="53507" y="39859"/>
                      <a:pt x="3393" y="12281"/>
                    </a:cubicBezTo>
                    <a:cubicBezTo>
                      <a:pt x="225" y="10536"/>
                      <a:pt x="-932" y="6560"/>
                      <a:pt x="813" y="3389"/>
                    </a:cubicBezTo>
                    <a:cubicBezTo>
                      <a:pt x="2554" y="217"/>
                      <a:pt x="6530" y="-927"/>
                      <a:pt x="9702" y="811"/>
                    </a:cubicBezTo>
                    <a:cubicBezTo>
                      <a:pt x="63998" y="30691"/>
                      <a:pt x="97729" y="87723"/>
                      <a:pt x="97729" y="149643"/>
                    </a:cubicBezTo>
                    <a:cubicBezTo>
                      <a:pt x="97729" y="211557"/>
                      <a:pt x="64001" y="268589"/>
                      <a:pt x="9708" y="298475"/>
                    </a:cubicBezTo>
                    <a:cubicBezTo>
                      <a:pt x="8704" y="299024"/>
                      <a:pt x="7623" y="299285"/>
                      <a:pt x="6555" y="299285"/>
                    </a:cubicBezTo>
                    <a:close/>
                  </a:path>
                </a:pathLst>
              </a:custGeom>
              <a:solidFill>
                <a:schemeClr val="accent1"/>
              </a:solidFill>
              <a:ln w="318" cap="flat">
                <a:noFill/>
                <a:prstDash val="solid"/>
                <a:miter/>
              </a:ln>
            </p:spPr>
            <p:txBody>
              <a:bodyPr rtlCol="0" anchor="ctr"/>
              <a:lstStyle/>
              <a:p>
                <a:endParaRPr lang="en-GB" dirty="0"/>
              </a:p>
            </p:txBody>
          </p:sp>
          <p:grpSp>
            <p:nvGrpSpPr>
              <p:cNvPr id="306" name="Graphic 4">
                <a:extLst>
                  <a:ext uri="{FF2B5EF4-FFF2-40B4-BE49-F238E27FC236}">
                    <a16:creationId xmlns:a16="http://schemas.microsoft.com/office/drawing/2014/main" id="{38A25BDD-D6A9-47F7-8B25-5D96C7E079EC}"/>
                  </a:ext>
                </a:extLst>
              </p:cNvPr>
              <p:cNvGrpSpPr/>
              <p:nvPr/>
            </p:nvGrpSpPr>
            <p:grpSpPr>
              <a:xfrm>
                <a:off x="1218235" y="4127766"/>
                <a:ext cx="90184" cy="90185"/>
                <a:chOff x="1218235" y="4127766"/>
                <a:chExt cx="90184" cy="90185"/>
              </a:xfrm>
              <a:solidFill>
                <a:schemeClr val="accent1"/>
              </a:solidFill>
            </p:grpSpPr>
            <p:sp>
              <p:nvSpPr>
                <p:cNvPr id="313" name="Freihandform: Form 508">
                  <a:extLst>
                    <a:ext uri="{FF2B5EF4-FFF2-40B4-BE49-F238E27FC236}">
                      <a16:creationId xmlns:a16="http://schemas.microsoft.com/office/drawing/2014/main" id="{4EFECED4-AF18-4BB3-992F-F300497DA880}"/>
                    </a:ext>
                  </a:extLst>
                </p:cNvPr>
                <p:cNvSpPr/>
                <p:nvPr/>
              </p:nvSpPr>
              <p:spPr>
                <a:xfrm>
                  <a:off x="1246960" y="4127766"/>
                  <a:ext cx="61459" cy="61462"/>
                </a:xfrm>
                <a:custGeom>
                  <a:avLst/>
                  <a:gdLst>
                    <a:gd name="connsiteX0" fmla="*/ 30728 w 61459"/>
                    <a:gd name="connsiteY0" fmla="*/ 61462 h 61462"/>
                    <a:gd name="connsiteX1" fmla="*/ 0 w 61459"/>
                    <a:gd name="connsiteY1" fmla="*/ 30731 h 61462"/>
                    <a:gd name="connsiteX2" fmla="*/ 30728 w 61459"/>
                    <a:gd name="connsiteY2" fmla="*/ 0 h 61462"/>
                    <a:gd name="connsiteX3" fmla="*/ 61459 w 61459"/>
                    <a:gd name="connsiteY3" fmla="*/ 30731 h 61462"/>
                    <a:gd name="connsiteX4" fmla="*/ 30728 w 61459"/>
                    <a:gd name="connsiteY4" fmla="*/ 61462 h 61462"/>
                    <a:gd name="connsiteX5" fmla="*/ 30728 w 61459"/>
                    <a:gd name="connsiteY5" fmla="*/ 13093 h 61462"/>
                    <a:gd name="connsiteX6" fmla="*/ 13093 w 61459"/>
                    <a:gd name="connsiteY6" fmla="*/ 30731 h 61462"/>
                    <a:gd name="connsiteX7" fmla="*/ 30728 w 61459"/>
                    <a:gd name="connsiteY7" fmla="*/ 48369 h 61462"/>
                    <a:gd name="connsiteX8" fmla="*/ 48366 w 61459"/>
                    <a:gd name="connsiteY8" fmla="*/ 30731 h 61462"/>
                    <a:gd name="connsiteX9" fmla="*/ 30728 w 61459"/>
                    <a:gd name="connsiteY9" fmla="*/ 13093 h 61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59" h="61462">
                      <a:moveTo>
                        <a:pt x="30728" y="61462"/>
                      </a:moveTo>
                      <a:cubicBezTo>
                        <a:pt x="13783" y="61462"/>
                        <a:pt x="0" y="47679"/>
                        <a:pt x="0" y="30731"/>
                      </a:cubicBezTo>
                      <a:cubicBezTo>
                        <a:pt x="0" y="13783"/>
                        <a:pt x="13783" y="0"/>
                        <a:pt x="30728" y="0"/>
                      </a:cubicBezTo>
                      <a:cubicBezTo>
                        <a:pt x="47673" y="0"/>
                        <a:pt x="61459" y="13783"/>
                        <a:pt x="61459" y="30731"/>
                      </a:cubicBezTo>
                      <a:cubicBezTo>
                        <a:pt x="61459" y="47679"/>
                        <a:pt x="47673" y="61462"/>
                        <a:pt x="30728" y="61462"/>
                      </a:cubicBezTo>
                      <a:close/>
                      <a:moveTo>
                        <a:pt x="30728" y="13093"/>
                      </a:moveTo>
                      <a:cubicBezTo>
                        <a:pt x="21003" y="13093"/>
                        <a:pt x="13093" y="21007"/>
                        <a:pt x="13093" y="30731"/>
                      </a:cubicBezTo>
                      <a:cubicBezTo>
                        <a:pt x="13093" y="40456"/>
                        <a:pt x="21003" y="48369"/>
                        <a:pt x="30728" y="48369"/>
                      </a:cubicBezTo>
                      <a:cubicBezTo>
                        <a:pt x="40456" y="48369"/>
                        <a:pt x="48366" y="40456"/>
                        <a:pt x="48366" y="30731"/>
                      </a:cubicBezTo>
                      <a:cubicBezTo>
                        <a:pt x="48366" y="21007"/>
                        <a:pt x="40456" y="13093"/>
                        <a:pt x="30728" y="13093"/>
                      </a:cubicBezTo>
                      <a:close/>
                    </a:path>
                  </a:pathLst>
                </a:custGeom>
                <a:solidFill>
                  <a:schemeClr val="accent1"/>
                </a:solidFill>
                <a:ln w="318" cap="flat">
                  <a:noFill/>
                  <a:prstDash val="solid"/>
                  <a:miter/>
                </a:ln>
              </p:spPr>
              <p:txBody>
                <a:bodyPr rtlCol="0" anchor="ctr"/>
                <a:lstStyle/>
                <a:p>
                  <a:endParaRPr lang="en-GB" dirty="0"/>
                </a:p>
              </p:txBody>
            </p:sp>
            <p:sp>
              <p:nvSpPr>
                <p:cNvPr id="314" name="Freihandform: Form 509">
                  <a:extLst>
                    <a:ext uri="{FF2B5EF4-FFF2-40B4-BE49-F238E27FC236}">
                      <a16:creationId xmlns:a16="http://schemas.microsoft.com/office/drawing/2014/main" id="{A04FB01A-562C-44A1-91DF-78B88EA5F0E8}"/>
                    </a:ext>
                  </a:extLst>
                </p:cNvPr>
                <p:cNvSpPr/>
                <p:nvPr/>
              </p:nvSpPr>
              <p:spPr>
                <a:xfrm>
                  <a:off x="1218235" y="4169878"/>
                  <a:ext cx="48075" cy="48072"/>
                </a:xfrm>
                <a:custGeom>
                  <a:avLst/>
                  <a:gdLst>
                    <a:gd name="connsiteX0" fmla="*/ 6546 w 48075"/>
                    <a:gd name="connsiteY0" fmla="*/ 48073 h 48072"/>
                    <a:gd name="connsiteX1" fmla="*/ 1919 w 48075"/>
                    <a:gd name="connsiteY1" fmla="*/ 46156 h 48072"/>
                    <a:gd name="connsiteX2" fmla="*/ 1919 w 48075"/>
                    <a:gd name="connsiteY2" fmla="*/ 36899 h 48072"/>
                    <a:gd name="connsiteX3" fmla="*/ 36899 w 48075"/>
                    <a:gd name="connsiteY3" fmla="*/ 1919 h 48072"/>
                    <a:gd name="connsiteX4" fmla="*/ 46156 w 48075"/>
                    <a:gd name="connsiteY4" fmla="*/ 1919 h 48072"/>
                    <a:gd name="connsiteX5" fmla="*/ 46156 w 48075"/>
                    <a:gd name="connsiteY5" fmla="*/ 11176 h 48072"/>
                    <a:gd name="connsiteX6" fmla="*/ 11176 w 48075"/>
                    <a:gd name="connsiteY6" fmla="*/ 46156 h 48072"/>
                    <a:gd name="connsiteX7" fmla="*/ 6546 w 48075"/>
                    <a:gd name="connsiteY7" fmla="*/ 48073 h 4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75" h="48072">
                      <a:moveTo>
                        <a:pt x="6546" y="48073"/>
                      </a:moveTo>
                      <a:cubicBezTo>
                        <a:pt x="4871" y="48073"/>
                        <a:pt x="3196" y="47434"/>
                        <a:pt x="1919" y="46156"/>
                      </a:cubicBezTo>
                      <a:cubicBezTo>
                        <a:pt x="-640" y="43598"/>
                        <a:pt x="-640" y="39457"/>
                        <a:pt x="1919" y="36899"/>
                      </a:cubicBezTo>
                      <a:lnTo>
                        <a:pt x="36899" y="1919"/>
                      </a:lnTo>
                      <a:cubicBezTo>
                        <a:pt x="39457" y="-640"/>
                        <a:pt x="43598" y="-640"/>
                        <a:pt x="46156" y="1919"/>
                      </a:cubicBezTo>
                      <a:cubicBezTo>
                        <a:pt x="48715" y="4477"/>
                        <a:pt x="48715" y="8618"/>
                        <a:pt x="46156" y="11176"/>
                      </a:cubicBezTo>
                      <a:lnTo>
                        <a:pt x="11176" y="46156"/>
                      </a:lnTo>
                      <a:cubicBezTo>
                        <a:pt x="9895" y="47434"/>
                        <a:pt x="8221" y="48073"/>
                        <a:pt x="6546" y="48073"/>
                      </a:cubicBezTo>
                      <a:close/>
                    </a:path>
                  </a:pathLst>
                </a:custGeom>
                <a:solidFill>
                  <a:schemeClr val="accent1"/>
                </a:solidFill>
                <a:ln w="318" cap="flat">
                  <a:noFill/>
                  <a:prstDash val="solid"/>
                  <a:miter/>
                </a:ln>
              </p:spPr>
              <p:txBody>
                <a:bodyPr rtlCol="0" anchor="ctr"/>
                <a:lstStyle/>
                <a:p>
                  <a:endParaRPr lang="en-GB" dirty="0"/>
                </a:p>
              </p:txBody>
            </p:sp>
          </p:grpSp>
          <p:grpSp>
            <p:nvGrpSpPr>
              <p:cNvPr id="307" name="Graphic 4">
                <a:extLst>
                  <a:ext uri="{FF2B5EF4-FFF2-40B4-BE49-F238E27FC236}">
                    <a16:creationId xmlns:a16="http://schemas.microsoft.com/office/drawing/2014/main" id="{0AE12559-4DD7-449A-A638-EEF4F5809454}"/>
                  </a:ext>
                </a:extLst>
              </p:cNvPr>
              <p:cNvGrpSpPr/>
              <p:nvPr/>
            </p:nvGrpSpPr>
            <p:grpSpPr>
              <a:xfrm>
                <a:off x="1265097" y="4297064"/>
                <a:ext cx="112100" cy="61426"/>
                <a:chOff x="1265097" y="4297064"/>
                <a:chExt cx="112100" cy="61426"/>
              </a:xfrm>
              <a:solidFill>
                <a:schemeClr val="accent1"/>
              </a:solidFill>
            </p:grpSpPr>
            <p:sp>
              <p:nvSpPr>
                <p:cNvPr id="311" name="Freihandform: Form 511">
                  <a:extLst>
                    <a:ext uri="{FF2B5EF4-FFF2-40B4-BE49-F238E27FC236}">
                      <a16:creationId xmlns:a16="http://schemas.microsoft.com/office/drawing/2014/main" id="{B0C15A1C-39DC-4A14-B057-CCE44129BBEE}"/>
                    </a:ext>
                  </a:extLst>
                </p:cNvPr>
                <p:cNvSpPr/>
                <p:nvPr/>
              </p:nvSpPr>
              <p:spPr>
                <a:xfrm>
                  <a:off x="1315742" y="4297064"/>
                  <a:ext cx="61455" cy="61426"/>
                </a:xfrm>
                <a:custGeom>
                  <a:avLst/>
                  <a:gdLst>
                    <a:gd name="connsiteX0" fmla="*/ 30728 w 61455"/>
                    <a:gd name="connsiteY0" fmla="*/ 61427 h 61426"/>
                    <a:gd name="connsiteX1" fmla="*/ 9000 w 61455"/>
                    <a:gd name="connsiteY1" fmla="*/ 52439 h 61426"/>
                    <a:gd name="connsiteX2" fmla="*/ 0 w 61455"/>
                    <a:gd name="connsiteY2" fmla="*/ 30711 h 61426"/>
                    <a:gd name="connsiteX3" fmla="*/ 9000 w 61455"/>
                    <a:gd name="connsiteY3" fmla="*/ 8983 h 61426"/>
                    <a:gd name="connsiteX4" fmla="*/ 9000 w 61455"/>
                    <a:gd name="connsiteY4" fmla="*/ 8983 h 61426"/>
                    <a:gd name="connsiteX5" fmla="*/ 9000 w 61455"/>
                    <a:gd name="connsiteY5" fmla="*/ 8983 h 61426"/>
                    <a:gd name="connsiteX6" fmla="*/ 52456 w 61455"/>
                    <a:gd name="connsiteY6" fmla="*/ 8983 h 61426"/>
                    <a:gd name="connsiteX7" fmla="*/ 61456 w 61455"/>
                    <a:gd name="connsiteY7" fmla="*/ 30711 h 61426"/>
                    <a:gd name="connsiteX8" fmla="*/ 52456 w 61455"/>
                    <a:gd name="connsiteY8" fmla="*/ 52439 h 61426"/>
                    <a:gd name="connsiteX9" fmla="*/ 30728 w 61455"/>
                    <a:gd name="connsiteY9" fmla="*/ 61427 h 61426"/>
                    <a:gd name="connsiteX10" fmla="*/ 30725 w 61455"/>
                    <a:gd name="connsiteY10" fmla="*/ 13077 h 61426"/>
                    <a:gd name="connsiteX11" fmla="*/ 18254 w 61455"/>
                    <a:gd name="connsiteY11" fmla="*/ 18234 h 61426"/>
                    <a:gd name="connsiteX12" fmla="*/ 18254 w 61455"/>
                    <a:gd name="connsiteY12" fmla="*/ 18234 h 61426"/>
                    <a:gd name="connsiteX13" fmla="*/ 13090 w 61455"/>
                    <a:gd name="connsiteY13" fmla="*/ 30708 h 61426"/>
                    <a:gd name="connsiteX14" fmla="*/ 18254 w 61455"/>
                    <a:gd name="connsiteY14" fmla="*/ 43182 h 61426"/>
                    <a:gd name="connsiteX15" fmla="*/ 43195 w 61455"/>
                    <a:gd name="connsiteY15" fmla="*/ 43182 h 61426"/>
                    <a:gd name="connsiteX16" fmla="*/ 48359 w 61455"/>
                    <a:gd name="connsiteY16" fmla="*/ 30708 h 61426"/>
                    <a:gd name="connsiteX17" fmla="*/ 43195 w 61455"/>
                    <a:gd name="connsiteY17" fmla="*/ 18234 h 61426"/>
                    <a:gd name="connsiteX18" fmla="*/ 30725 w 61455"/>
                    <a:gd name="connsiteY18" fmla="*/ 13077 h 61426"/>
                    <a:gd name="connsiteX19" fmla="*/ 13627 w 61455"/>
                    <a:gd name="connsiteY19" fmla="*/ 13607 h 61426"/>
                    <a:gd name="connsiteX20" fmla="*/ 13691 w 61455"/>
                    <a:gd name="connsiteY20" fmla="*/ 13607 h 61426"/>
                    <a:gd name="connsiteX21" fmla="*/ 13627 w 61455"/>
                    <a:gd name="connsiteY21" fmla="*/ 13607 h 61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1455" h="61426">
                      <a:moveTo>
                        <a:pt x="30728" y="61427"/>
                      </a:moveTo>
                      <a:cubicBezTo>
                        <a:pt x="22859" y="61427"/>
                        <a:pt x="14987" y="58430"/>
                        <a:pt x="9000" y="52439"/>
                      </a:cubicBezTo>
                      <a:cubicBezTo>
                        <a:pt x="3194" y="46633"/>
                        <a:pt x="0" y="38920"/>
                        <a:pt x="0" y="30711"/>
                      </a:cubicBezTo>
                      <a:cubicBezTo>
                        <a:pt x="0" y="22502"/>
                        <a:pt x="3197" y="14786"/>
                        <a:pt x="9000" y="8983"/>
                      </a:cubicBezTo>
                      <a:lnTo>
                        <a:pt x="9000" y="8983"/>
                      </a:lnTo>
                      <a:lnTo>
                        <a:pt x="9000" y="8983"/>
                      </a:lnTo>
                      <a:cubicBezTo>
                        <a:pt x="20981" y="-2991"/>
                        <a:pt x="40475" y="-2998"/>
                        <a:pt x="52456" y="8983"/>
                      </a:cubicBezTo>
                      <a:cubicBezTo>
                        <a:pt x="58262" y="14790"/>
                        <a:pt x="61456" y="22502"/>
                        <a:pt x="61456" y="30711"/>
                      </a:cubicBezTo>
                      <a:cubicBezTo>
                        <a:pt x="61456" y="38920"/>
                        <a:pt x="58259" y="46636"/>
                        <a:pt x="52456" y="52439"/>
                      </a:cubicBezTo>
                      <a:cubicBezTo>
                        <a:pt x="46462" y="58426"/>
                        <a:pt x="38593" y="61427"/>
                        <a:pt x="30728" y="61427"/>
                      </a:cubicBezTo>
                      <a:close/>
                      <a:moveTo>
                        <a:pt x="30725" y="13077"/>
                      </a:moveTo>
                      <a:cubicBezTo>
                        <a:pt x="26212" y="13077"/>
                        <a:pt x="21696" y="14796"/>
                        <a:pt x="18254" y="18234"/>
                      </a:cubicBezTo>
                      <a:lnTo>
                        <a:pt x="18254" y="18234"/>
                      </a:lnTo>
                      <a:cubicBezTo>
                        <a:pt x="14924" y="21565"/>
                        <a:pt x="13090" y="25995"/>
                        <a:pt x="13090" y="30708"/>
                      </a:cubicBezTo>
                      <a:cubicBezTo>
                        <a:pt x="13090" y="35421"/>
                        <a:pt x="14924" y="39851"/>
                        <a:pt x="18254" y="43182"/>
                      </a:cubicBezTo>
                      <a:cubicBezTo>
                        <a:pt x="25132" y="50059"/>
                        <a:pt x="36318" y="50068"/>
                        <a:pt x="43195" y="43182"/>
                      </a:cubicBezTo>
                      <a:cubicBezTo>
                        <a:pt x="46526" y="39851"/>
                        <a:pt x="48359" y="35421"/>
                        <a:pt x="48359" y="30708"/>
                      </a:cubicBezTo>
                      <a:cubicBezTo>
                        <a:pt x="48359" y="25995"/>
                        <a:pt x="46526" y="21565"/>
                        <a:pt x="43195" y="18234"/>
                      </a:cubicBezTo>
                      <a:cubicBezTo>
                        <a:pt x="39757" y="14796"/>
                        <a:pt x="35241" y="13077"/>
                        <a:pt x="30725" y="13077"/>
                      </a:cubicBezTo>
                      <a:close/>
                      <a:moveTo>
                        <a:pt x="13627" y="13607"/>
                      </a:moveTo>
                      <a:lnTo>
                        <a:pt x="13691" y="13607"/>
                      </a:lnTo>
                      <a:lnTo>
                        <a:pt x="13627" y="13607"/>
                      </a:lnTo>
                      <a:close/>
                    </a:path>
                  </a:pathLst>
                </a:custGeom>
                <a:solidFill>
                  <a:schemeClr val="accent1"/>
                </a:solidFill>
                <a:ln w="318" cap="flat">
                  <a:noFill/>
                  <a:prstDash val="solid"/>
                  <a:miter/>
                </a:ln>
              </p:spPr>
              <p:txBody>
                <a:bodyPr rtlCol="0" anchor="ctr"/>
                <a:lstStyle/>
                <a:p>
                  <a:endParaRPr lang="en-GB" dirty="0"/>
                </a:p>
              </p:txBody>
            </p:sp>
            <p:sp>
              <p:nvSpPr>
                <p:cNvPr id="312" name="Freihandform: Form 512">
                  <a:extLst>
                    <a:ext uri="{FF2B5EF4-FFF2-40B4-BE49-F238E27FC236}">
                      <a16:creationId xmlns:a16="http://schemas.microsoft.com/office/drawing/2014/main" id="{66706B1F-03F1-45AE-871D-B9FB8B0E086C}"/>
                    </a:ext>
                  </a:extLst>
                </p:cNvPr>
                <p:cNvSpPr/>
                <p:nvPr/>
              </p:nvSpPr>
              <p:spPr>
                <a:xfrm>
                  <a:off x="1265097" y="4321226"/>
                  <a:ext cx="62565" cy="13093"/>
                </a:xfrm>
                <a:custGeom>
                  <a:avLst/>
                  <a:gdLst>
                    <a:gd name="connsiteX0" fmla="*/ 56018 w 62565"/>
                    <a:gd name="connsiteY0" fmla="*/ 13093 h 13093"/>
                    <a:gd name="connsiteX1" fmla="*/ 6547 w 62565"/>
                    <a:gd name="connsiteY1" fmla="*/ 13093 h 13093"/>
                    <a:gd name="connsiteX2" fmla="*/ 0 w 62565"/>
                    <a:gd name="connsiteY2" fmla="*/ 6547 h 13093"/>
                    <a:gd name="connsiteX3" fmla="*/ 6547 w 62565"/>
                    <a:gd name="connsiteY3" fmla="*/ 0 h 13093"/>
                    <a:gd name="connsiteX4" fmla="*/ 56018 w 62565"/>
                    <a:gd name="connsiteY4" fmla="*/ 0 h 13093"/>
                    <a:gd name="connsiteX5" fmla="*/ 62565 w 62565"/>
                    <a:gd name="connsiteY5" fmla="*/ 6547 h 13093"/>
                    <a:gd name="connsiteX6" fmla="*/ 56018 w 62565"/>
                    <a:gd name="connsiteY6" fmla="*/ 13093 h 13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565" h="13093">
                      <a:moveTo>
                        <a:pt x="56018" y="13093"/>
                      </a:moveTo>
                      <a:lnTo>
                        <a:pt x="6547" y="13093"/>
                      </a:lnTo>
                      <a:cubicBezTo>
                        <a:pt x="2930" y="13093"/>
                        <a:pt x="0" y="10166"/>
                        <a:pt x="0" y="6547"/>
                      </a:cubicBezTo>
                      <a:cubicBezTo>
                        <a:pt x="0" y="2927"/>
                        <a:pt x="2930" y="0"/>
                        <a:pt x="6547" y="0"/>
                      </a:cubicBezTo>
                      <a:lnTo>
                        <a:pt x="56018" y="0"/>
                      </a:lnTo>
                      <a:cubicBezTo>
                        <a:pt x="59635" y="0"/>
                        <a:pt x="62565" y="2927"/>
                        <a:pt x="62565" y="6547"/>
                      </a:cubicBezTo>
                      <a:cubicBezTo>
                        <a:pt x="62565" y="10166"/>
                        <a:pt x="59632" y="13093"/>
                        <a:pt x="56018" y="13093"/>
                      </a:cubicBezTo>
                      <a:close/>
                    </a:path>
                  </a:pathLst>
                </a:custGeom>
                <a:solidFill>
                  <a:schemeClr val="accent1"/>
                </a:solidFill>
                <a:ln w="318" cap="flat">
                  <a:noFill/>
                  <a:prstDash val="solid"/>
                  <a:miter/>
                </a:ln>
              </p:spPr>
              <p:txBody>
                <a:bodyPr rtlCol="0" anchor="ctr"/>
                <a:lstStyle/>
                <a:p>
                  <a:endParaRPr lang="en-GB" dirty="0"/>
                </a:p>
              </p:txBody>
            </p:sp>
          </p:grpSp>
          <p:grpSp>
            <p:nvGrpSpPr>
              <p:cNvPr id="308" name="Graphic 4">
                <a:extLst>
                  <a:ext uri="{FF2B5EF4-FFF2-40B4-BE49-F238E27FC236}">
                    <a16:creationId xmlns:a16="http://schemas.microsoft.com/office/drawing/2014/main" id="{1035FCA2-D159-4831-B205-7A4940CF9F9B}"/>
                  </a:ext>
                </a:extLst>
              </p:cNvPr>
              <p:cNvGrpSpPr/>
              <p:nvPr/>
            </p:nvGrpSpPr>
            <p:grpSpPr>
              <a:xfrm>
                <a:off x="1217905" y="4437261"/>
                <a:ext cx="90180" cy="90184"/>
                <a:chOff x="1217905" y="4437261"/>
                <a:chExt cx="90180" cy="90184"/>
              </a:xfrm>
              <a:solidFill>
                <a:schemeClr val="accent1"/>
              </a:solidFill>
            </p:grpSpPr>
            <p:sp>
              <p:nvSpPr>
                <p:cNvPr id="309" name="Freihandform: Form 514">
                  <a:extLst>
                    <a:ext uri="{FF2B5EF4-FFF2-40B4-BE49-F238E27FC236}">
                      <a16:creationId xmlns:a16="http://schemas.microsoft.com/office/drawing/2014/main" id="{D64CF333-92C7-4F9E-8140-01F23510F878}"/>
                    </a:ext>
                  </a:extLst>
                </p:cNvPr>
                <p:cNvSpPr/>
                <p:nvPr/>
              </p:nvSpPr>
              <p:spPr>
                <a:xfrm>
                  <a:off x="1246627" y="4465989"/>
                  <a:ext cx="61459" cy="61455"/>
                </a:xfrm>
                <a:custGeom>
                  <a:avLst/>
                  <a:gdLst>
                    <a:gd name="connsiteX0" fmla="*/ 30728 w 61459"/>
                    <a:gd name="connsiteY0" fmla="*/ 61456 h 61455"/>
                    <a:gd name="connsiteX1" fmla="*/ 0 w 61459"/>
                    <a:gd name="connsiteY1" fmla="*/ 30725 h 61455"/>
                    <a:gd name="connsiteX2" fmla="*/ 30728 w 61459"/>
                    <a:gd name="connsiteY2" fmla="*/ 0 h 61455"/>
                    <a:gd name="connsiteX3" fmla="*/ 61459 w 61459"/>
                    <a:gd name="connsiteY3" fmla="*/ 30725 h 61455"/>
                    <a:gd name="connsiteX4" fmla="*/ 30728 w 61459"/>
                    <a:gd name="connsiteY4" fmla="*/ 61456 h 61455"/>
                    <a:gd name="connsiteX5" fmla="*/ 30728 w 61459"/>
                    <a:gd name="connsiteY5" fmla="*/ 13093 h 61455"/>
                    <a:gd name="connsiteX6" fmla="*/ 13093 w 61459"/>
                    <a:gd name="connsiteY6" fmla="*/ 30725 h 61455"/>
                    <a:gd name="connsiteX7" fmla="*/ 30728 w 61459"/>
                    <a:gd name="connsiteY7" fmla="*/ 48363 h 61455"/>
                    <a:gd name="connsiteX8" fmla="*/ 48366 w 61459"/>
                    <a:gd name="connsiteY8" fmla="*/ 30725 h 61455"/>
                    <a:gd name="connsiteX9" fmla="*/ 30728 w 61459"/>
                    <a:gd name="connsiteY9" fmla="*/ 13093 h 61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59" h="61455">
                      <a:moveTo>
                        <a:pt x="30728" y="61456"/>
                      </a:moveTo>
                      <a:cubicBezTo>
                        <a:pt x="13783" y="61456"/>
                        <a:pt x="0" y="47673"/>
                        <a:pt x="0" y="30725"/>
                      </a:cubicBezTo>
                      <a:cubicBezTo>
                        <a:pt x="0" y="13783"/>
                        <a:pt x="13783" y="0"/>
                        <a:pt x="30728" y="0"/>
                      </a:cubicBezTo>
                      <a:cubicBezTo>
                        <a:pt x="47673" y="0"/>
                        <a:pt x="61459" y="13783"/>
                        <a:pt x="61459" y="30725"/>
                      </a:cubicBezTo>
                      <a:cubicBezTo>
                        <a:pt x="61459" y="47673"/>
                        <a:pt x="47673" y="61456"/>
                        <a:pt x="30728" y="61456"/>
                      </a:cubicBezTo>
                      <a:close/>
                      <a:moveTo>
                        <a:pt x="30728" y="13093"/>
                      </a:moveTo>
                      <a:cubicBezTo>
                        <a:pt x="21003" y="13093"/>
                        <a:pt x="13093" y="21000"/>
                        <a:pt x="13093" y="30725"/>
                      </a:cubicBezTo>
                      <a:cubicBezTo>
                        <a:pt x="13093" y="40450"/>
                        <a:pt x="21003" y="48363"/>
                        <a:pt x="30728" y="48363"/>
                      </a:cubicBezTo>
                      <a:cubicBezTo>
                        <a:pt x="40456" y="48363"/>
                        <a:pt x="48366" y="40450"/>
                        <a:pt x="48366" y="30725"/>
                      </a:cubicBezTo>
                      <a:cubicBezTo>
                        <a:pt x="48366" y="21003"/>
                        <a:pt x="40456" y="13093"/>
                        <a:pt x="30728" y="13093"/>
                      </a:cubicBezTo>
                      <a:close/>
                    </a:path>
                  </a:pathLst>
                </a:custGeom>
                <a:solidFill>
                  <a:schemeClr val="accent1"/>
                </a:solidFill>
                <a:ln w="318" cap="flat">
                  <a:noFill/>
                  <a:prstDash val="solid"/>
                  <a:miter/>
                </a:ln>
              </p:spPr>
              <p:txBody>
                <a:bodyPr rtlCol="0" anchor="ctr"/>
                <a:lstStyle/>
                <a:p>
                  <a:endParaRPr lang="en-GB" dirty="0"/>
                </a:p>
              </p:txBody>
            </p:sp>
            <p:sp>
              <p:nvSpPr>
                <p:cNvPr id="310" name="Freihandform: Form 515">
                  <a:extLst>
                    <a:ext uri="{FF2B5EF4-FFF2-40B4-BE49-F238E27FC236}">
                      <a16:creationId xmlns:a16="http://schemas.microsoft.com/office/drawing/2014/main" id="{831E9EBF-917A-4C5E-918B-1D8239D1BAEA}"/>
                    </a:ext>
                  </a:extLst>
                </p:cNvPr>
                <p:cNvSpPr/>
                <p:nvPr/>
              </p:nvSpPr>
              <p:spPr>
                <a:xfrm>
                  <a:off x="1217905" y="4437261"/>
                  <a:ext cx="48075" cy="48075"/>
                </a:xfrm>
                <a:custGeom>
                  <a:avLst/>
                  <a:gdLst>
                    <a:gd name="connsiteX0" fmla="*/ 41526 w 48075"/>
                    <a:gd name="connsiteY0" fmla="*/ 48076 h 48075"/>
                    <a:gd name="connsiteX1" fmla="*/ 36899 w 48075"/>
                    <a:gd name="connsiteY1" fmla="*/ 46156 h 48075"/>
                    <a:gd name="connsiteX2" fmla="*/ 1919 w 48075"/>
                    <a:gd name="connsiteY2" fmla="*/ 11176 h 48075"/>
                    <a:gd name="connsiteX3" fmla="*/ 1919 w 48075"/>
                    <a:gd name="connsiteY3" fmla="*/ 1919 h 48075"/>
                    <a:gd name="connsiteX4" fmla="*/ 11176 w 48075"/>
                    <a:gd name="connsiteY4" fmla="*/ 1919 h 48075"/>
                    <a:gd name="connsiteX5" fmla="*/ 46156 w 48075"/>
                    <a:gd name="connsiteY5" fmla="*/ 36899 h 48075"/>
                    <a:gd name="connsiteX6" fmla="*/ 46156 w 48075"/>
                    <a:gd name="connsiteY6" fmla="*/ 46156 h 48075"/>
                    <a:gd name="connsiteX7" fmla="*/ 41526 w 48075"/>
                    <a:gd name="connsiteY7" fmla="*/ 48076 h 48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075" h="48075">
                      <a:moveTo>
                        <a:pt x="41526" y="48076"/>
                      </a:moveTo>
                      <a:cubicBezTo>
                        <a:pt x="39851" y="48076"/>
                        <a:pt x="38176" y="47437"/>
                        <a:pt x="36899" y="46156"/>
                      </a:cubicBezTo>
                      <a:lnTo>
                        <a:pt x="1919" y="11176"/>
                      </a:lnTo>
                      <a:cubicBezTo>
                        <a:pt x="-640" y="8618"/>
                        <a:pt x="-640" y="4477"/>
                        <a:pt x="1919" y="1919"/>
                      </a:cubicBezTo>
                      <a:cubicBezTo>
                        <a:pt x="4477" y="-640"/>
                        <a:pt x="8618" y="-640"/>
                        <a:pt x="11176" y="1919"/>
                      </a:cubicBezTo>
                      <a:lnTo>
                        <a:pt x="46156" y="36899"/>
                      </a:lnTo>
                      <a:cubicBezTo>
                        <a:pt x="48715" y="39457"/>
                        <a:pt x="48715" y="43598"/>
                        <a:pt x="46156" y="46156"/>
                      </a:cubicBezTo>
                      <a:cubicBezTo>
                        <a:pt x="44876" y="47434"/>
                        <a:pt x="43201" y="48076"/>
                        <a:pt x="41526" y="48076"/>
                      </a:cubicBezTo>
                      <a:close/>
                    </a:path>
                  </a:pathLst>
                </a:custGeom>
                <a:solidFill>
                  <a:schemeClr val="accent1"/>
                </a:solidFill>
                <a:ln w="318" cap="flat">
                  <a:noFill/>
                  <a:prstDash val="solid"/>
                  <a:miter/>
                </a:ln>
              </p:spPr>
              <p:txBody>
                <a:bodyPr rtlCol="0" anchor="ctr"/>
                <a:lstStyle/>
                <a:p>
                  <a:endParaRPr lang="en-GB" dirty="0"/>
                </a:p>
              </p:txBody>
            </p:sp>
          </p:grpSp>
        </p:grpSp>
      </p:grpSp>
      <p:grpSp>
        <p:nvGrpSpPr>
          <p:cNvPr id="46" name="Group 45">
            <a:extLst>
              <a:ext uri="{FF2B5EF4-FFF2-40B4-BE49-F238E27FC236}">
                <a16:creationId xmlns:a16="http://schemas.microsoft.com/office/drawing/2014/main" id="{802D2358-832D-9FCD-D0A9-8B47719882B7}"/>
              </a:ext>
            </a:extLst>
          </p:cNvPr>
          <p:cNvGrpSpPr/>
          <p:nvPr/>
        </p:nvGrpSpPr>
        <p:grpSpPr>
          <a:xfrm>
            <a:off x="1608955" y="4040081"/>
            <a:ext cx="461059" cy="432006"/>
            <a:chOff x="1608955" y="4040081"/>
            <a:chExt cx="461059" cy="432006"/>
          </a:xfrm>
        </p:grpSpPr>
        <p:grpSp>
          <p:nvGrpSpPr>
            <p:cNvPr id="328" name="Group 327">
              <a:extLst>
                <a:ext uri="{FF2B5EF4-FFF2-40B4-BE49-F238E27FC236}">
                  <a16:creationId xmlns:a16="http://schemas.microsoft.com/office/drawing/2014/main" id="{75678D88-99BA-4018-A925-E19292EF56FF}"/>
                </a:ext>
              </a:extLst>
            </p:cNvPr>
            <p:cNvGrpSpPr/>
            <p:nvPr/>
          </p:nvGrpSpPr>
          <p:grpSpPr>
            <a:xfrm>
              <a:off x="1608955" y="4220009"/>
              <a:ext cx="461059" cy="252078"/>
              <a:chOff x="868294" y="1863688"/>
              <a:chExt cx="492488" cy="269261"/>
            </a:xfrm>
            <a:solidFill>
              <a:schemeClr val="tx2"/>
            </a:solidFill>
          </p:grpSpPr>
          <p:grpSp>
            <p:nvGrpSpPr>
              <p:cNvPr id="336" name="Graphic 4">
                <a:extLst>
                  <a:ext uri="{FF2B5EF4-FFF2-40B4-BE49-F238E27FC236}">
                    <a16:creationId xmlns:a16="http://schemas.microsoft.com/office/drawing/2014/main" id="{C752DFF2-5DF6-40FE-BD5B-DD76656EEF78}"/>
                  </a:ext>
                </a:extLst>
              </p:cNvPr>
              <p:cNvGrpSpPr/>
              <p:nvPr/>
            </p:nvGrpSpPr>
            <p:grpSpPr>
              <a:xfrm>
                <a:off x="868294" y="1863688"/>
                <a:ext cx="492488" cy="269261"/>
                <a:chOff x="868294" y="1863688"/>
                <a:chExt cx="492488" cy="269261"/>
              </a:xfrm>
              <a:grpFill/>
            </p:grpSpPr>
            <p:sp>
              <p:nvSpPr>
                <p:cNvPr id="338" name="Freihandform: Form 80">
                  <a:extLst>
                    <a:ext uri="{FF2B5EF4-FFF2-40B4-BE49-F238E27FC236}">
                      <a16:creationId xmlns:a16="http://schemas.microsoft.com/office/drawing/2014/main" id="{2D5EB9A3-B7B1-446F-861F-1ABF031C442B}"/>
                    </a:ext>
                  </a:extLst>
                </p:cNvPr>
                <p:cNvSpPr/>
                <p:nvPr/>
              </p:nvSpPr>
              <p:spPr>
                <a:xfrm>
                  <a:off x="868294" y="1863688"/>
                  <a:ext cx="358169" cy="269261"/>
                </a:xfrm>
                <a:custGeom>
                  <a:avLst/>
                  <a:gdLst>
                    <a:gd name="connsiteX0" fmla="*/ 351521 w 358169"/>
                    <a:gd name="connsiteY0" fmla="*/ 269262 h 269261"/>
                    <a:gd name="connsiteX1" fmla="*/ 346069 w 358169"/>
                    <a:gd name="connsiteY1" fmla="*/ 266343 h 269261"/>
                    <a:gd name="connsiteX2" fmla="*/ 177623 w 358169"/>
                    <a:gd name="connsiteY2" fmla="*/ 18833 h 269261"/>
                    <a:gd name="connsiteX3" fmla="*/ 12111 w 358169"/>
                    <a:gd name="connsiteY3" fmla="*/ 263290 h 269261"/>
                    <a:gd name="connsiteX4" fmla="*/ 2848 w 358169"/>
                    <a:gd name="connsiteY4" fmla="*/ 264986 h 269261"/>
                    <a:gd name="connsiteX5" fmla="*/ 1199 w 358169"/>
                    <a:gd name="connsiteY5" fmla="*/ 255428 h 269261"/>
                    <a:gd name="connsiteX6" fmla="*/ 172153 w 358169"/>
                    <a:gd name="connsiteY6" fmla="*/ 2932 h 269261"/>
                    <a:gd name="connsiteX7" fmla="*/ 177603 w 358169"/>
                    <a:gd name="connsiteY7" fmla="*/ 0 h 269261"/>
                    <a:gd name="connsiteX8" fmla="*/ 177610 w 358169"/>
                    <a:gd name="connsiteY8" fmla="*/ 0 h 269261"/>
                    <a:gd name="connsiteX9" fmla="*/ 183058 w 358169"/>
                    <a:gd name="connsiteY9" fmla="*/ 2919 h 269261"/>
                    <a:gd name="connsiteX10" fmla="*/ 356961 w 358169"/>
                    <a:gd name="connsiteY10" fmla="*/ 258452 h 269261"/>
                    <a:gd name="connsiteX11" fmla="*/ 355340 w 358169"/>
                    <a:gd name="connsiteY11" fmla="*/ 268014 h 269261"/>
                    <a:gd name="connsiteX12" fmla="*/ 351521 w 358169"/>
                    <a:gd name="connsiteY12" fmla="*/ 269262 h 269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8169" h="269261">
                      <a:moveTo>
                        <a:pt x="351521" y="269262"/>
                      </a:moveTo>
                      <a:cubicBezTo>
                        <a:pt x="349426" y="269262"/>
                        <a:pt x="347362" y="268243"/>
                        <a:pt x="346069" y="266343"/>
                      </a:cubicBezTo>
                      <a:lnTo>
                        <a:pt x="177623" y="18833"/>
                      </a:lnTo>
                      <a:lnTo>
                        <a:pt x="12111" y="263290"/>
                      </a:lnTo>
                      <a:cubicBezTo>
                        <a:pt x="10009" y="266393"/>
                        <a:pt x="5865" y="267162"/>
                        <a:pt x="2848" y="264986"/>
                      </a:cubicBezTo>
                      <a:cubicBezTo>
                        <a:pt x="-167" y="262818"/>
                        <a:pt x="-906" y="258538"/>
                        <a:pt x="1199" y="255428"/>
                      </a:cubicBezTo>
                      <a:lnTo>
                        <a:pt x="172153" y="2932"/>
                      </a:lnTo>
                      <a:cubicBezTo>
                        <a:pt x="173393" y="1099"/>
                        <a:pt x="175427" y="3"/>
                        <a:pt x="177603" y="0"/>
                      </a:cubicBezTo>
                      <a:cubicBezTo>
                        <a:pt x="177603" y="0"/>
                        <a:pt x="177605" y="0"/>
                        <a:pt x="177610" y="0"/>
                      </a:cubicBezTo>
                      <a:cubicBezTo>
                        <a:pt x="179778" y="0"/>
                        <a:pt x="181813" y="1089"/>
                        <a:pt x="183058" y="2919"/>
                      </a:cubicBezTo>
                      <a:lnTo>
                        <a:pt x="356961" y="258452"/>
                      </a:lnTo>
                      <a:cubicBezTo>
                        <a:pt x="359073" y="261556"/>
                        <a:pt x="358345" y="265838"/>
                        <a:pt x="355340" y="268014"/>
                      </a:cubicBezTo>
                      <a:cubicBezTo>
                        <a:pt x="354176" y="268858"/>
                        <a:pt x="352840" y="269262"/>
                        <a:pt x="351521" y="269262"/>
                      </a:cubicBezTo>
                      <a:close/>
                    </a:path>
                  </a:pathLst>
                </a:custGeom>
                <a:grpFill/>
                <a:ln w="252" cap="flat">
                  <a:noFill/>
                  <a:prstDash val="solid"/>
                  <a:miter/>
                </a:ln>
              </p:spPr>
              <p:txBody>
                <a:bodyPr rtlCol="0" anchor="ctr"/>
                <a:lstStyle/>
                <a:p>
                  <a:endParaRPr lang="en-GB" dirty="0"/>
                </a:p>
              </p:txBody>
            </p:sp>
            <p:sp>
              <p:nvSpPr>
                <p:cNvPr id="339" name="Freihandform: Form 81">
                  <a:extLst>
                    <a:ext uri="{FF2B5EF4-FFF2-40B4-BE49-F238E27FC236}">
                      <a16:creationId xmlns:a16="http://schemas.microsoft.com/office/drawing/2014/main" id="{D718233D-192B-41A8-BA99-31D619DF12B8}"/>
                    </a:ext>
                  </a:extLst>
                </p:cNvPr>
                <p:cNvSpPr/>
                <p:nvPr/>
              </p:nvSpPr>
              <p:spPr>
                <a:xfrm>
                  <a:off x="1142414" y="1936377"/>
                  <a:ext cx="218368" cy="166463"/>
                </a:xfrm>
                <a:custGeom>
                  <a:avLst/>
                  <a:gdLst>
                    <a:gd name="connsiteX0" fmla="*/ 211718 w 218368"/>
                    <a:gd name="connsiteY0" fmla="*/ 166464 h 166463"/>
                    <a:gd name="connsiteX1" fmla="*/ 206661 w 218368"/>
                    <a:gd name="connsiteY1" fmla="*/ 164064 h 166463"/>
                    <a:gd name="connsiteX2" fmla="*/ 84368 w 218368"/>
                    <a:gd name="connsiteY2" fmla="*/ 16813 h 166463"/>
                    <a:gd name="connsiteX3" fmla="*/ 11231 w 218368"/>
                    <a:gd name="connsiteY3" fmla="*/ 88219 h 166463"/>
                    <a:gd name="connsiteX4" fmla="*/ 1823 w 218368"/>
                    <a:gd name="connsiteY4" fmla="*/ 87954 h 166463"/>
                    <a:gd name="connsiteX5" fmla="*/ 2080 w 218368"/>
                    <a:gd name="connsiteY5" fmla="*/ 78252 h 166463"/>
                    <a:gd name="connsiteX6" fmla="*/ 80295 w 218368"/>
                    <a:gd name="connsiteY6" fmla="*/ 1885 h 166463"/>
                    <a:gd name="connsiteX7" fmla="*/ 85218 w 218368"/>
                    <a:gd name="connsiteY7" fmla="*/ 14 h 166463"/>
                    <a:gd name="connsiteX8" fmla="*/ 89924 w 218368"/>
                    <a:gd name="connsiteY8" fmla="*/ 2404 h 166463"/>
                    <a:gd name="connsiteX9" fmla="*/ 216767 w 218368"/>
                    <a:gd name="connsiteY9" fmla="*/ 155135 h 166463"/>
                    <a:gd name="connsiteX10" fmla="*/ 216044 w 218368"/>
                    <a:gd name="connsiteY10" fmla="*/ 164810 h 166463"/>
                    <a:gd name="connsiteX11" fmla="*/ 211718 w 218368"/>
                    <a:gd name="connsiteY11" fmla="*/ 166464 h 166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8368" h="166463">
                      <a:moveTo>
                        <a:pt x="211718" y="166464"/>
                      </a:moveTo>
                      <a:cubicBezTo>
                        <a:pt x="209843" y="166464"/>
                        <a:pt x="207977" y="165650"/>
                        <a:pt x="206661" y="164064"/>
                      </a:cubicBezTo>
                      <a:lnTo>
                        <a:pt x="84368" y="16813"/>
                      </a:lnTo>
                      <a:lnTo>
                        <a:pt x="11231" y="88219"/>
                      </a:lnTo>
                      <a:cubicBezTo>
                        <a:pt x="8566" y="90825"/>
                        <a:pt x="4357" y="90712"/>
                        <a:pt x="1823" y="87954"/>
                      </a:cubicBezTo>
                      <a:cubicBezTo>
                        <a:pt x="-705" y="85202"/>
                        <a:pt x="-589" y="80856"/>
                        <a:pt x="2080" y="78252"/>
                      </a:cubicBezTo>
                      <a:lnTo>
                        <a:pt x="80295" y="1885"/>
                      </a:lnTo>
                      <a:cubicBezTo>
                        <a:pt x="81618" y="592"/>
                        <a:pt x="83418" y="-112"/>
                        <a:pt x="85218" y="14"/>
                      </a:cubicBezTo>
                      <a:cubicBezTo>
                        <a:pt x="87038" y="113"/>
                        <a:pt x="88739" y="977"/>
                        <a:pt x="89924" y="2404"/>
                      </a:cubicBezTo>
                      <a:lnTo>
                        <a:pt x="216767" y="155135"/>
                      </a:lnTo>
                      <a:cubicBezTo>
                        <a:pt x="219159" y="158014"/>
                        <a:pt x="218834" y="162347"/>
                        <a:pt x="216044" y="164810"/>
                      </a:cubicBezTo>
                      <a:cubicBezTo>
                        <a:pt x="214788" y="165922"/>
                        <a:pt x="213248" y="166464"/>
                        <a:pt x="211718" y="166464"/>
                      </a:cubicBezTo>
                      <a:close/>
                    </a:path>
                  </a:pathLst>
                </a:custGeom>
                <a:grpFill/>
                <a:ln w="252" cap="flat">
                  <a:noFill/>
                  <a:prstDash val="solid"/>
                  <a:miter/>
                </a:ln>
              </p:spPr>
              <p:txBody>
                <a:bodyPr rtlCol="0" anchor="ctr"/>
                <a:lstStyle/>
                <a:p>
                  <a:endParaRPr lang="en-GB" dirty="0"/>
                </a:p>
              </p:txBody>
            </p:sp>
          </p:grpSp>
          <p:sp>
            <p:nvSpPr>
              <p:cNvPr id="337" name="Freihandform: Form 82">
                <a:extLst>
                  <a:ext uri="{FF2B5EF4-FFF2-40B4-BE49-F238E27FC236}">
                    <a16:creationId xmlns:a16="http://schemas.microsoft.com/office/drawing/2014/main" id="{5EC96929-DBC8-4F5D-835D-EC1C55C7DD57}"/>
                  </a:ext>
                </a:extLst>
              </p:cNvPr>
              <p:cNvSpPr/>
              <p:nvPr/>
            </p:nvSpPr>
            <p:spPr>
              <a:xfrm>
                <a:off x="995981" y="1939055"/>
                <a:ext cx="86732" cy="178593"/>
              </a:xfrm>
              <a:custGeom>
                <a:avLst/>
                <a:gdLst>
                  <a:gd name="connsiteX0" fmla="*/ 32039 w 86732"/>
                  <a:gd name="connsiteY0" fmla="*/ 178593 h 178593"/>
                  <a:gd name="connsiteX1" fmla="*/ 25724 w 86732"/>
                  <a:gd name="connsiteY1" fmla="*/ 173897 h 178593"/>
                  <a:gd name="connsiteX2" fmla="*/ 29931 w 86732"/>
                  <a:gd name="connsiteY2" fmla="*/ 165213 h 178593"/>
                  <a:gd name="connsiteX3" fmla="*/ 69266 w 86732"/>
                  <a:gd name="connsiteY3" fmla="*/ 151689 h 178593"/>
                  <a:gd name="connsiteX4" fmla="*/ 73415 w 86732"/>
                  <a:gd name="connsiteY4" fmla="*/ 145548 h 178593"/>
                  <a:gd name="connsiteX5" fmla="*/ 68892 w 86732"/>
                  <a:gd name="connsiteY5" fmla="*/ 139692 h 178593"/>
                  <a:gd name="connsiteX6" fmla="*/ 25409 w 86732"/>
                  <a:gd name="connsiteY6" fmla="*/ 127888 h 178593"/>
                  <a:gd name="connsiteX7" fmla="*/ 1636 w 86732"/>
                  <a:gd name="connsiteY7" fmla="*/ 104618 h 178593"/>
                  <a:gd name="connsiteX8" fmla="*/ 7910 w 86732"/>
                  <a:gd name="connsiteY8" fmla="*/ 71432 h 178593"/>
                  <a:gd name="connsiteX9" fmla="*/ 35127 w 86732"/>
                  <a:gd name="connsiteY9" fmla="*/ 37750 h 178593"/>
                  <a:gd name="connsiteX10" fmla="*/ 42064 w 86732"/>
                  <a:gd name="connsiteY10" fmla="*/ 8849 h 178593"/>
                  <a:gd name="connsiteX11" fmla="*/ 42187 w 86732"/>
                  <a:gd name="connsiteY11" fmla="*/ 6480 h 178593"/>
                  <a:gd name="connsiteX12" fmla="*/ 49203 w 86732"/>
                  <a:gd name="connsiteY12" fmla="*/ 9 h 178593"/>
                  <a:gd name="connsiteX13" fmla="*/ 55477 w 86732"/>
                  <a:gd name="connsiteY13" fmla="*/ 7243 h 178593"/>
                  <a:gd name="connsiteX14" fmla="*/ 55353 w 86732"/>
                  <a:gd name="connsiteY14" fmla="*/ 9590 h 178593"/>
                  <a:gd name="connsiteX15" fmla="*/ 45348 w 86732"/>
                  <a:gd name="connsiteY15" fmla="*/ 46537 h 178593"/>
                  <a:gd name="connsiteX16" fmla="*/ 18134 w 86732"/>
                  <a:gd name="connsiteY16" fmla="*/ 80225 h 178593"/>
                  <a:gd name="connsiteX17" fmla="*/ 14313 w 86732"/>
                  <a:gd name="connsiteY17" fmla="*/ 100441 h 178593"/>
                  <a:gd name="connsiteX18" fmla="*/ 28797 w 86732"/>
                  <a:gd name="connsiteY18" fmla="*/ 114616 h 178593"/>
                  <a:gd name="connsiteX19" fmla="*/ 72280 w 86732"/>
                  <a:gd name="connsiteY19" fmla="*/ 126421 h 178593"/>
                  <a:gd name="connsiteX20" fmla="*/ 86722 w 86732"/>
                  <a:gd name="connsiteY20" fmla="*/ 145112 h 178593"/>
                  <a:gd name="connsiteX21" fmla="*/ 73480 w 86732"/>
                  <a:gd name="connsiteY21" fmla="*/ 164719 h 178593"/>
                  <a:gd name="connsiteX22" fmla="*/ 34146 w 86732"/>
                  <a:gd name="connsiteY22" fmla="*/ 178243 h 178593"/>
                  <a:gd name="connsiteX23" fmla="*/ 32039 w 86732"/>
                  <a:gd name="connsiteY23" fmla="*/ 178593 h 178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6732" h="178593">
                    <a:moveTo>
                      <a:pt x="32039" y="178593"/>
                    </a:moveTo>
                    <a:cubicBezTo>
                      <a:pt x="29251" y="178593"/>
                      <a:pt x="26654" y="176773"/>
                      <a:pt x="25724" y="173897"/>
                    </a:cubicBezTo>
                    <a:cubicBezTo>
                      <a:pt x="24560" y="170300"/>
                      <a:pt x="26445" y="166413"/>
                      <a:pt x="29931" y="165213"/>
                    </a:cubicBezTo>
                    <a:lnTo>
                      <a:pt x="69266" y="151689"/>
                    </a:lnTo>
                    <a:cubicBezTo>
                      <a:pt x="73251" y="150318"/>
                      <a:pt x="73448" y="146642"/>
                      <a:pt x="73415" y="145548"/>
                    </a:cubicBezTo>
                    <a:cubicBezTo>
                      <a:pt x="73379" y="144452"/>
                      <a:pt x="72953" y="140797"/>
                      <a:pt x="68892" y="139692"/>
                    </a:cubicBezTo>
                    <a:lnTo>
                      <a:pt x="25409" y="127888"/>
                    </a:lnTo>
                    <a:cubicBezTo>
                      <a:pt x="14088" y="124815"/>
                      <a:pt x="5200" y="116118"/>
                      <a:pt x="1636" y="104618"/>
                    </a:cubicBezTo>
                    <a:cubicBezTo>
                      <a:pt x="-1931" y="93116"/>
                      <a:pt x="413" y="80709"/>
                      <a:pt x="7910" y="71432"/>
                    </a:cubicBezTo>
                    <a:lnTo>
                      <a:pt x="35127" y="37750"/>
                    </a:lnTo>
                    <a:cubicBezTo>
                      <a:pt x="40924" y="30573"/>
                      <a:pt x="41353" y="22396"/>
                      <a:pt x="42064" y="8849"/>
                    </a:cubicBezTo>
                    <a:lnTo>
                      <a:pt x="42187" y="6480"/>
                    </a:lnTo>
                    <a:cubicBezTo>
                      <a:pt x="42392" y="2696"/>
                      <a:pt x="45462" y="-180"/>
                      <a:pt x="49203" y="9"/>
                    </a:cubicBezTo>
                    <a:cubicBezTo>
                      <a:pt x="52870" y="221"/>
                      <a:pt x="55684" y="3457"/>
                      <a:pt x="55477" y="7243"/>
                    </a:cubicBezTo>
                    <a:lnTo>
                      <a:pt x="55353" y="9590"/>
                    </a:lnTo>
                    <a:cubicBezTo>
                      <a:pt x="54580" y="24269"/>
                      <a:pt x="53972" y="35862"/>
                      <a:pt x="45348" y="46537"/>
                    </a:cubicBezTo>
                    <a:lnTo>
                      <a:pt x="18134" y="80225"/>
                    </a:lnTo>
                    <a:cubicBezTo>
                      <a:pt x="13569" y="85876"/>
                      <a:pt x="12142" y="93434"/>
                      <a:pt x="14313" y="100441"/>
                    </a:cubicBezTo>
                    <a:cubicBezTo>
                      <a:pt x="16483" y="107447"/>
                      <a:pt x="21900" y="112745"/>
                      <a:pt x="28797" y="114616"/>
                    </a:cubicBezTo>
                    <a:lnTo>
                      <a:pt x="72280" y="126421"/>
                    </a:lnTo>
                    <a:cubicBezTo>
                      <a:pt x="80773" y="128727"/>
                      <a:pt x="86440" y="136063"/>
                      <a:pt x="86722" y="145112"/>
                    </a:cubicBezTo>
                    <a:cubicBezTo>
                      <a:pt x="87004" y="154157"/>
                      <a:pt x="81806" y="161855"/>
                      <a:pt x="73480" y="164719"/>
                    </a:cubicBezTo>
                    <a:lnTo>
                      <a:pt x="34146" y="178243"/>
                    </a:lnTo>
                    <a:cubicBezTo>
                      <a:pt x="33445" y="178480"/>
                      <a:pt x="32734" y="178593"/>
                      <a:pt x="32039" y="178593"/>
                    </a:cubicBezTo>
                    <a:close/>
                  </a:path>
                </a:pathLst>
              </a:custGeom>
              <a:grpFill/>
              <a:ln w="252" cap="flat">
                <a:noFill/>
                <a:prstDash val="solid"/>
                <a:miter/>
              </a:ln>
            </p:spPr>
            <p:txBody>
              <a:bodyPr rtlCol="0" anchor="ctr"/>
              <a:lstStyle/>
              <a:p>
                <a:endParaRPr lang="en-GB" dirty="0"/>
              </a:p>
            </p:txBody>
          </p:sp>
        </p:grpSp>
        <p:grpSp>
          <p:nvGrpSpPr>
            <p:cNvPr id="329" name="Group 328">
              <a:extLst>
                <a:ext uri="{FF2B5EF4-FFF2-40B4-BE49-F238E27FC236}">
                  <a16:creationId xmlns:a16="http://schemas.microsoft.com/office/drawing/2014/main" id="{C37B2A36-45CD-4ECF-9678-6D2FF593B195}"/>
                </a:ext>
              </a:extLst>
            </p:cNvPr>
            <p:cNvGrpSpPr/>
            <p:nvPr/>
          </p:nvGrpSpPr>
          <p:grpSpPr>
            <a:xfrm>
              <a:off x="1696181" y="4040081"/>
              <a:ext cx="161994" cy="167069"/>
              <a:chOff x="961468" y="1671501"/>
              <a:chExt cx="173037" cy="178458"/>
            </a:xfrm>
          </p:grpSpPr>
          <p:sp>
            <p:nvSpPr>
              <p:cNvPr id="330" name="Freihandform: Form 83">
                <a:extLst>
                  <a:ext uri="{FF2B5EF4-FFF2-40B4-BE49-F238E27FC236}">
                    <a16:creationId xmlns:a16="http://schemas.microsoft.com/office/drawing/2014/main" id="{AA9EB87C-455F-4608-8279-3A66446754F7}"/>
                  </a:ext>
                </a:extLst>
              </p:cNvPr>
              <p:cNvSpPr/>
              <p:nvPr/>
            </p:nvSpPr>
            <p:spPr>
              <a:xfrm>
                <a:off x="979861" y="1718811"/>
                <a:ext cx="132427" cy="131148"/>
              </a:xfrm>
              <a:custGeom>
                <a:avLst/>
                <a:gdLst>
                  <a:gd name="connsiteX0" fmla="*/ 33009 w 132427"/>
                  <a:gd name="connsiteY0" fmla="*/ 131148 h 131148"/>
                  <a:gd name="connsiteX1" fmla="*/ 25678 w 132427"/>
                  <a:gd name="connsiteY1" fmla="*/ 128675 h 131148"/>
                  <a:gd name="connsiteX2" fmla="*/ 20702 w 132427"/>
                  <a:gd name="connsiteY2" fmla="*/ 116064 h 131148"/>
                  <a:gd name="connsiteX3" fmla="*/ 25930 w 132427"/>
                  <a:gd name="connsiteY3" fmla="*/ 84627 h 131148"/>
                  <a:gd name="connsiteX4" fmla="*/ 3783 w 132427"/>
                  <a:gd name="connsiteY4" fmla="*/ 62364 h 131148"/>
                  <a:gd name="connsiteX5" fmla="*/ 622 w 132427"/>
                  <a:gd name="connsiteY5" fmla="*/ 49150 h 131148"/>
                  <a:gd name="connsiteX6" fmla="*/ 10712 w 132427"/>
                  <a:gd name="connsiteY6" fmla="*/ 40375 h 131148"/>
                  <a:gd name="connsiteX7" fmla="*/ 41317 w 132427"/>
                  <a:gd name="connsiteY7" fmla="*/ 35790 h 131148"/>
                  <a:gd name="connsiteX8" fmla="*/ 55002 w 132427"/>
                  <a:gd name="connsiteY8" fmla="*/ 7189 h 131148"/>
                  <a:gd name="connsiteX9" fmla="*/ 66215 w 132427"/>
                  <a:gd name="connsiteY9" fmla="*/ 0 h 131148"/>
                  <a:gd name="connsiteX10" fmla="*/ 77422 w 132427"/>
                  <a:gd name="connsiteY10" fmla="*/ 7187 h 131148"/>
                  <a:gd name="connsiteX11" fmla="*/ 77425 w 132427"/>
                  <a:gd name="connsiteY11" fmla="*/ 7189 h 131148"/>
                  <a:gd name="connsiteX12" fmla="*/ 91110 w 132427"/>
                  <a:gd name="connsiteY12" fmla="*/ 35790 h 131148"/>
                  <a:gd name="connsiteX13" fmla="*/ 121715 w 132427"/>
                  <a:gd name="connsiteY13" fmla="*/ 40375 h 131148"/>
                  <a:gd name="connsiteX14" fmla="*/ 131805 w 132427"/>
                  <a:gd name="connsiteY14" fmla="*/ 49150 h 131148"/>
                  <a:gd name="connsiteX15" fmla="*/ 128644 w 132427"/>
                  <a:gd name="connsiteY15" fmla="*/ 62364 h 131148"/>
                  <a:gd name="connsiteX16" fmla="*/ 106497 w 132427"/>
                  <a:gd name="connsiteY16" fmla="*/ 84627 h 131148"/>
                  <a:gd name="connsiteX17" fmla="*/ 111725 w 132427"/>
                  <a:gd name="connsiteY17" fmla="*/ 116064 h 131148"/>
                  <a:gd name="connsiteX18" fmla="*/ 106749 w 132427"/>
                  <a:gd name="connsiteY18" fmla="*/ 128675 h 131148"/>
                  <a:gd name="connsiteX19" fmla="*/ 93585 w 132427"/>
                  <a:gd name="connsiteY19" fmla="*/ 129651 h 131148"/>
                  <a:gd name="connsiteX20" fmla="*/ 66215 w 132427"/>
                  <a:gd name="connsiteY20" fmla="*/ 114811 h 131148"/>
                  <a:gd name="connsiteX21" fmla="*/ 38839 w 132427"/>
                  <a:gd name="connsiteY21" fmla="*/ 129654 h 131148"/>
                  <a:gd name="connsiteX22" fmla="*/ 33009 w 132427"/>
                  <a:gd name="connsiteY22" fmla="*/ 131148 h 131148"/>
                  <a:gd name="connsiteX23" fmla="*/ 66215 w 132427"/>
                  <a:gd name="connsiteY23" fmla="*/ 100191 h 131148"/>
                  <a:gd name="connsiteX24" fmla="*/ 69313 w 132427"/>
                  <a:gd name="connsiteY24" fmla="*/ 100977 h 131148"/>
                  <a:gd name="connsiteX25" fmla="*/ 98330 w 132427"/>
                  <a:gd name="connsiteY25" fmla="*/ 116712 h 131148"/>
                  <a:gd name="connsiteX26" fmla="*/ 92786 w 132427"/>
                  <a:gd name="connsiteY26" fmla="*/ 83390 h 131148"/>
                  <a:gd name="connsiteX27" fmla="*/ 94705 w 132427"/>
                  <a:gd name="connsiteY27" fmla="*/ 77315 h 131148"/>
                  <a:gd name="connsiteX28" fmla="*/ 118181 w 132427"/>
                  <a:gd name="connsiteY28" fmla="*/ 53718 h 131148"/>
                  <a:gd name="connsiteX29" fmla="*/ 85736 w 132427"/>
                  <a:gd name="connsiteY29" fmla="*/ 48858 h 131148"/>
                  <a:gd name="connsiteX30" fmla="*/ 80722 w 132427"/>
                  <a:gd name="connsiteY30" fmla="*/ 45102 h 131148"/>
                  <a:gd name="connsiteX31" fmla="*/ 66215 w 132427"/>
                  <a:gd name="connsiteY31" fmla="*/ 14782 h 131148"/>
                  <a:gd name="connsiteX32" fmla="*/ 51708 w 132427"/>
                  <a:gd name="connsiteY32" fmla="*/ 45102 h 131148"/>
                  <a:gd name="connsiteX33" fmla="*/ 46694 w 132427"/>
                  <a:gd name="connsiteY33" fmla="*/ 48858 h 131148"/>
                  <a:gd name="connsiteX34" fmla="*/ 14257 w 132427"/>
                  <a:gd name="connsiteY34" fmla="*/ 53718 h 131148"/>
                  <a:gd name="connsiteX35" fmla="*/ 37733 w 132427"/>
                  <a:gd name="connsiteY35" fmla="*/ 77315 h 131148"/>
                  <a:gd name="connsiteX36" fmla="*/ 39646 w 132427"/>
                  <a:gd name="connsiteY36" fmla="*/ 83390 h 131148"/>
                  <a:gd name="connsiteX37" fmla="*/ 34103 w 132427"/>
                  <a:gd name="connsiteY37" fmla="*/ 116712 h 131148"/>
                  <a:gd name="connsiteX38" fmla="*/ 63119 w 132427"/>
                  <a:gd name="connsiteY38" fmla="*/ 100977 h 131148"/>
                  <a:gd name="connsiteX39" fmla="*/ 66215 w 132427"/>
                  <a:gd name="connsiteY39" fmla="*/ 100191 h 131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2427" h="131148">
                    <a:moveTo>
                      <a:pt x="33009" y="131148"/>
                    </a:moveTo>
                    <a:cubicBezTo>
                      <a:pt x="30432" y="131148"/>
                      <a:pt x="27869" y="130314"/>
                      <a:pt x="25678" y="128675"/>
                    </a:cubicBezTo>
                    <a:cubicBezTo>
                      <a:pt x="21801" y="125769"/>
                      <a:pt x="19893" y="120937"/>
                      <a:pt x="20702" y="116064"/>
                    </a:cubicBezTo>
                    <a:lnTo>
                      <a:pt x="25930" y="84627"/>
                    </a:lnTo>
                    <a:lnTo>
                      <a:pt x="3783" y="62364"/>
                    </a:lnTo>
                    <a:cubicBezTo>
                      <a:pt x="352" y="58916"/>
                      <a:pt x="-860" y="53851"/>
                      <a:pt x="622" y="49150"/>
                    </a:cubicBezTo>
                    <a:cubicBezTo>
                      <a:pt x="2101" y="44449"/>
                      <a:pt x="5968" y="41086"/>
                      <a:pt x="10712" y="40375"/>
                    </a:cubicBezTo>
                    <a:lnTo>
                      <a:pt x="41317" y="35790"/>
                    </a:lnTo>
                    <a:lnTo>
                      <a:pt x="55002" y="7189"/>
                    </a:lnTo>
                    <a:cubicBezTo>
                      <a:pt x="57125" y="2755"/>
                      <a:pt x="61420" y="0"/>
                      <a:pt x="66215" y="0"/>
                    </a:cubicBezTo>
                    <a:cubicBezTo>
                      <a:pt x="71009" y="0"/>
                      <a:pt x="75305" y="2755"/>
                      <a:pt x="77422" y="7187"/>
                    </a:cubicBezTo>
                    <a:cubicBezTo>
                      <a:pt x="77422" y="7189"/>
                      <a:pt x="77425" y="7189"/>
                      <a:pt x="77425" y="7189"/>
                    </a:cubicBezTo>
                    <a:lnTo>
                      <a:pt x="91110" y="35790"/>
                    </a:lnTo>
                    <a:lnTo>
                      <a:pt x="121715" y="40375"/>
                    </a:lnTo>
                    <a:cubicBezTo>
                      <a:pt x="126459" y="41086"/>
                      <a:pt x="130326" y="44446"/>
                      <a:pt x="131805" y="49150"/>
                    </a:cubicBezTo>
                    <a:cubicBezTo>
                      <a:pt x="133288" y="53849"/>
                      <a:pt x="132078" y="58913"/>
                      <a:pt x="128644" y="62364"/>
                    </a:cubicBezTo>
                    <a:lnTo>
                      <a:pt x="106497" y="84627"/>
                    </a:lnTo>
                    <a:lnTo>
                      <a:pt x="111725" y="116064"/>
                    </a:lnTo>
                    <a:cubicBezTo>
                      <a:pt x="112534" y="120937"/>
                      <a:pt x="110626" y="125769"/>
                      <a:pt x="106749" y="128675"/>
                    </a:cubicBezTo>
                    <a:cubicBezTo>
                      <a:pt x="102862" y="131577"/>
                      <a:pt x="97815" y="131950"/>
                      <a:pt x="93585" y="129651"/>
                    </a:cubicBezTo>
                    <a:lnTo>
                      <a:pt x="66215" y="114811"/>
                    </a:lnTo>
                    <a:lnTo>
                      <a:pt x="38839" y="129654"/>
                    </a:lnTo>
                    <a:cubicBezTo>
                      <a:pt x="36994" y="130652"/>
                      <a:pt x="34998" y="131148"/>
                      <a:pt x="33009" y="131148"/>
                    </a:cubicBezTo>
                    <a:close/>
                    <a:moveTo>
                      <a:pt x="66215" y="100191"/>
                    </a:moveTo>
                    <a:cubicBezTo>
                      <a:pt x="67279" y="100191"/>
                      <a:pt x="68342" y="100453"/>
                      <a:pt x="69313" y="100977"/>
                    </a:cubicBezTo>
                    <a:lnTo>
                      <a:pt x="98330" y="116712"/>
                    </a:lnTo>
                    <a:lnTo>
                      <a:pt x="92786" y="83390"/>
                    </a:lnTo>
                    <a:cubicBezTo>
                      <a:pt x="92418" y="81164"/>
                      <a:pt x="93134" y="78893"/>
                      <a:pt x="94705" y="77315"/>
                    </a:cubicBezTo>
                    <a:lnTo>
                      <a:pt x="118181" y="53718"/>
                    </a:lnTo>
                    <a:lnTo>
                      <a:pt x="85736" y="48858"/>
                    </a:lnTo>
                    <a:cubicBezTo>
                      <a:pt x="83565" y="48532"/>
                      <a:pt x="81692" y="47128"/>
                      <a:pt x="80722" y="45102"/>
                    </a:cubicBezTo>
                    <a:lnTo>
                      <a:pt x="66215" y="14782"/>
                    </a:lnTo>
                    <a:lnTo>
                      <a:pt x="51708" y="45102"/>
                    </a:lnTo>
                    <a:cubicBezTo>
                      <a:pt x="50737" y="47128"/>
                      <a:pt x="48864" y="48532"/>
                      <a:pt x="46694" y="48858"/>
                    </a:cubicBezTo>
                    <a:lnTo>
                      <a:pt x="14257" y="53718"/>
                    </a:lnTo>
                    <a:lnTo>
                      <a:pt x="37733" y="77315"/>
                    </a:lnTo>
                    <a:cubicBezTo>
                      <a:pt x="39298" y="78893"/>
                      <a:pt x="40014" y="81166"/>
                      <a:pt x="39646" y="83390"/>
                    </a:cubicBezTo>
                    <a:lnTo>
                      <a:pt x="34103" y="116712"/>
                    </a:lnTo>
                    <a:lnTo>
                      <a:pt x="63119" y="100977"/>
                    </a:lnTo>
                    <a:cubicBezTo>
                      <a:pt x="64085" y="100453"/>
                      <a:pt x="65151" y="100191"/>
                      <a:pt x="66215" y="100191"/>
                    </a:cubicBezTo>
                    <a:close/>
                  </a:path>
                </a:pathLst>
              </a:custGeom>
              <a:solidFill>
                <a:schemeClr val="accent1"/>
              </a:solidFill>
              <a:ln w="252" cap="flat">
                <a:noFill/>
                <a:prstDash val="solid"/>
                <a:miter/>
              </a:ln>
            </p:spPr>
            <p:txBody>
              <a:bodyPr rtlCol="0" anchor="ctr"/>
              <a:lstStyle/>
              <a:p>
                <a:endParaRPr lang="en-GB" dirty="0"/>
              </a:p>
            </p:txBody>
          </p:sp>
          <p:sp>
            <p:nvSpPr>
              <p:cNvPr id="331" name="Freihandform: Form 84">
                <a:extLst>
                  <a:ext uri="{FF2B5EF4-FFF2-40B4-BE49-F238E27FC236}">
                    <a16:creationId xmlns:a16="http://schemas.microsoft.com/office/drawing/2014/main" id="{AF5AC705-ED55-4D16-9BA4-E808F6A43D92}"/>
                  </a:ext>
                </a:extLst>
              </p:cNvPr>
              <p:cNvSpPr/>
              <p:nvPr/>
            </p:nvSpPr>
            <p:spPr>
              <a:xfrm>
                <a:off x="1041332" y="1671501"/>
                <a:ext cx="13309" cy="27456"/>
              </a:xfrm>
              <a:custGeom>
                <a:avLst/>
                <a:gdLst>
                  <a:gd name="connsiteX0" fmla="*/ 6655 w 13309"/>
                  <a:gd name="connsiteY0" fmla="*/ 27456 h 27456"/>
                  <a:gd name="connsiteX1" fmla="*/ 0 w 13309"/>
                  <a:gd name="connsiteY1" fmla="*/ 20592 h 27456"/>
                  <a:gd name="connsiteX2" fmla="*/ 0 w 13309"/>
                  <a:gd name="connsiteY2" fmla="*/ 6864 h 27456"/>
                  <a:gd name="connsiteX3" fmla="*/ 6655 w 13309"/>
                  <a:gd name="connsiteY3" fmla="*/ 0 h 27456"/>
                  <a:gd name="connsiteX4" fmla="*/ 13310 w 13309"/>
                  <a:gd name="connsiteY4" fmla="*/ 6864 h 27456"/>
                  <a:gd name="connsiteX5" fmla="*/ 13310 w 13309"/>
                  <a:gd name="connsiteY5" fmla="*/ 20592 h 27456"/>
                  <a:gd name="connsiteX6" fmla="*/ 6655 w 13309"/>
                  <a:gd name="connsiteY6" fmla="*/ 27456 h 2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09" h="27456">
                    <a:moveTo>
                      <a:pt x="6655" y="27456"/>
                    </a:moveTo>
                    <a:cubicBezTo>
                      <a:pt x="2980" y="27456"/>
                      <a:pt x="0" y="24383"/>
                      <a:pt x="0" y="20592"/>
                    </a:cubicBezTo>
                    <a:lnTo>
                      <a:pt x="0" y="6864"/>
                    </a:lnTo>
                    <a:cubicBezTo>
                      <a:pt x="0" y="3073"/>
                      <a:pt x="2980" y="0"/>
                      <a:pt x="6655" y="0"/>
                    </a:cubicBezTo>
                    <a:cubicBezTo>
                      <a:pt x="10330" y="0"/>
                      <a:pt x="13310" y="3073"/>
                      <a:pt x="13310" y="6864"/>
                    </a:cubicBezTo>
                    <a:lnTo>
                      <a:pt x="13310" y="20592"/>
                    </a:lnTo>
                    <a:cubicBezTo>
                      <a:pt x="13310" y="24383"/>
                      <a:pt x="10330" y="27456"/>
                      <a:pt x="6655" y="27456"/>
                    </a:cubicBezTo>
                    <a:close/>
                  </a:path>
                </a:pathLst>
              </a:custGeom>
              <a:solidFill>
                <a:schemeClr val="accent1"/>
              </a:solidFill>
              <a:ln w="252" cap="flat">
                <a:noFill/>
                <a:prstDash val="solid"/>
                <a:miter/>
              </a:ln>
            </p:spPr>
            <p:txBody>
              <a:bodyPr rtlCol="0" anchor="ctr"/>
              <a:lstStyle/>
              <a:p>
                <a:endParaRPr lang="en-GB" dirty="0"/>
              </a:p>
            </p:txBody>
          </p:sp>
          <p:sp>
            <p:nvSpPr>
              <p:cNvPr id="332" name="Freihandform: Form 85">
                <a:extLst>
                  <a:ext uri="{FF2B5EF4-FFF2-40B4-BE49-F238E27FC236}">
                    <a16:creationId xmlns:a16="http://schemas.microsoft.com/office/drawing/2014/main" id="{87EFF0AA-765A-4FFD-BE18-1ADB068370A3}"/>
                  </a:ext>
                </a:extLst>
              </p:cNvPr>
              <p:cNvSpPr/>
              <p:nvPr/>
            </p:nvSpPr>
            <p:spPr>
              <a:xfrm>
                <a:off x="1102893" y="1705817"/>
                <a:ext cx="24953" cy="24884"/>
              </a:xfrm>
              <a:custGeom>
                <a:avLst/>
                <a:gdLst>
                  <a:gd name="connsiteX0" fmla="*/ 6654 w 24953"/>
                  <a:gd name="connsiteY0" fmla="*/ 24885 h 24884"/>
                  <a:gd name="connsiteX1" fmla="*/ 1776 w 24953"/>
                  <a:gd name="connsiteY1" fmla="*/ 22694 h 24884"/>
                  <a:gd name="connsiteX2" fmla="*/ 2124 w 24953"/>
                  <a:gd name="connsiteY2" fmla="*/ 12992 h 24884"/>
                  <a:gd name="connsiteX3" fmla="*/ 13770 w 24953"/>
                  <a:gd name="connsiteY3" fmla="*/ 1837 h 24884"/>
                  <a:gd name="connsiteX4" fmla="*/ 23177 w 24953"/>
                  <a:gd name="connsiteY4" fmla="*/ 2195 h 24884"/>
                  <a:gd name="connsiteX5" fmla="*/ 22830 w 24953"/>
                  <a:gd name="connsiteY5" fmla="*/ 11898 h 24884"/>
                  <a:gd name="connsiteX6" fmla="*/ 11184 w 24953"/>
                  <a:gd name="connsiteY6" fmla="*/ 23052 h 24884"/>
                  <a:gd name="connsiteX7" fmla="*/ 6654 w 24953"/>
                  <a:gd name="connsiteY7" fmla="*/ 24885 h 24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53" h="24884">
                    <a:moveTo>
                      <a:pt x="6654" y="24885"/>
                    </a:moveTo>
                    <a:cubicBezTo>
                      <a:pt x="4869" y="24885"/>
                      <a:pt x="3089" y="24149"/>
                      <a:pt x="1776" y="22694"/>
                    </a:cubicBezTo>
                    <a:cubicBezTo>
                      <a:pt x="-722" y="19916"/>
                      <a:pt x="-566" y="15573"/>
                      <a:pt x="2124" y="12992"/>
                    </a:cubicBezTo>
                    <a:lnTo>
                      <a:pt x="13770" y="1837"/>
                    </a:lnTo>
                    <a:cubicBezTo>
                      <a:pt x="16460" y="-746"/>
                      <a:pt x="20669" y="-585"/>
                      <a:pt x="23177" y="2195"/>
                    </a:cubicBezTo>
                    <a:cubicBezTo>
                      <a:pt x="25676" y="4973"/>
                      <a:pt x="25519" y="9316"/>
                      <a:pt x="22830" y="11898"/>
                    </a:cubicBezTo>
                    <a:lnTo>
                      <a:pt x="11184" y="23052"/>
                    </a:lnTo>
                    <a:cubicBezTo>
                      <a:pt x="9901" y="24280"/>
                      <a:pt x="8277" y="24885"/>
                      <a:pt x="6654" y="24885"/>
                    </a:cubicBezTo>
                    <a:close/>
                  </a:path>
                </a:pathLst>
              </a:custGeom>
              <a:solidFill>
                <a:schemeClr val="accent1"/>
              </a:solidFill>
              <a:ln w="252" cap="flat">
                <a:noFill/>
                <a:prstDash val="solid"/>
                <a:miter/>
              </a:ln>
            </p:spPr>
            <p:txBody>
              <a:bodyPr rtlCol="0" anchor="ctr"/>
              <a:lstStyle/>
              <a:p>
                <a:endParaRPr lang="en-GB" dirty="0"/>
              </a:p>
            </p:txBody>
          </p:sp>
          <p:sp>
            <p:nvSpPr>
              <p:cNvPr id="333" name="Freihandform: Form 86">
                <a:extLst>
                  <a:ext uri="{FF2B5EF4-FFF2-40B4-BE49-F238E27FC236}">
                    <a16:creationId xmlns:a16="http://schemas.microsoft.com/office/drawing/2014/main" id="{232E9EB3-050B-40F5-8D53-8030063605E0}"/>
                  </a:ext>
                </a:extLst>
              </p:cNvPr>
              <p:cNvSpPr/>
              <p:nvPr/>
            </p:nvSpPr>
            <p:spPr>
              <a:xfrm>
                <a:off x="1109547" y="1816925"/>
                <a:ext cx="24958" cy="24991"/>
              </a:xfrm>
              <a:custGeom>
                <a:avLst/>
                <a:gdLst>
                  <a:gd name="connsiteX0" fmla="*/ 18302 w 24958"/>
                  <a:gd name="connsiteY0" fmla="*/ 24991 h 24991"/>
                  <a:gd name="connsiteX1" fmla="*/ 13750 w 24958"/>
                  <a:gd name="connsiteY1" fmla="*/ 23133 h 24991"/>
                  <a:gd name="connsiteX2" fmla="*/ 2104 w 24958"/>
                  <a:gd name="connsiteY2" fmla="*/ 11873 h 24991"/>
                  <a:gd name="connsiteX3" fmla="*/ 1801 w 24958"/>
                  <a:gd name="connsiteY3" fmla="*/ 2171 h 24991"/>
                  <a:gd name="connsiteX4" fmla="*/ 11209 w 24958"/>
                  <a:gd name="connsiteY4" fmla="*/ 1858 h 24991"/>
                  <a:gd name="connsiteX5" fmla="*/ 22855 w 24958"/>
                  <a:gd name="connsiteY5" fmla="*/ 13118 h 24991"/>
                  <a:gd name="connsiteX6" fmla="*/ 23157 w 24958"/>
                  <a:gd name="connsiteY6" fmla="*/ 22821 h 24991"/>
                  <a:gd name="connsiteX7" fmla="*/ 18302 w 24958"/>
                  <a:gd name="connsiteY7" fmla="*/ 24991 h 2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58" h="24991">
                    <a:moveTo>
                      <a:pt x="18302" y="24991"/>
                    </a:moveTo>
                    <a:cubicBezTo>
                      <a:pt x="16671" y="24991"/>
                      <a:pt x="15033" y="24379"/>
                      <a:pt x="13750" y="23133"/>
                    </a:cubicBezTo>
                    <a:lnTo>
                      <a:pt x="2104" y="11873"/>
                    </a:lnTo>
                    <a:cubicBezTo>
                      <a:pt x="-578" y="9279"/>
                      <a:pt x="-714" y="4936"/>
                      <a:pt x="1801" y="2171"/>
                    </a:cubicBezTo>
                    <a:cubicBezTo>
                      <a:pt x="4307" y="-595"/>
                      <a:pt x="8529" y="-738"/>
                      <a:pt x="11209" y="1858"/>
                    </a:cubicBezTo>
                    <a:lnTo>
                      <a:pt x="22855" y="13118"/>
                    </a:lnTo>
                    <a:cubicBezTo>
                      <a:pt x="25537" y="15712"/>
                      <a:pt x="25673" y="20055"/>
                      <a:pt x="23157" y="22821"/>
                    </a:cubicBezTo>
                    <a:cubicBezTo>
                      <a:pt x="21847" y="24265"/>
                      <a:pt x="20077" y="24991"/>
                      <a:pt x="18302" y="24991"/>
                    </a:cubicBezTo>
                    <a:close/>
                  </a:path>
                </a:pathLst>
              </a:custGeom>
              <a:solidFill>
                <a:schemeClr val="accent1"/>
              </a:solidFill>
              <a:ln w="252" cap="flat">
                <a:noFill/>
                <a:prstDash val="solid"/>
                <a:miter/>
              </a:ln>
            </p:spPr>
            <p:txBody>
              <a:bodyPr rtlCol="0" anchor="ctr"/>
              <a:lstStyle/>
              <a:p>
                <a:endParaRPr lang="en-GB" dirty="0"/>
              </a:p>
            </p:txBody>
          </p:sp>
          <p:sp>
            <p:nvSpPr>
              <p:cNvPr id="334" name="Freihandform: Form 87">
                <a:extLst>
                  <a:ext uri="{FF2B5EF4-FFF2-40B4-BE49-F238E27FC236}">
                    <a16:creationId xmlns:a16="http://schemas.microsoft.com/office/drawing/2014/main" id="{4FA5A143-3315-41F7-B712-F5A14339960A}"/>
                  </a:ext>
                </a:extLst>
              </p:cNvPr>
              <p:cNvSpPr/>
              <p:nvPr/>
            </p:nvSpPr>
            <p:spPr>
              <a:xfrm>
                <a:off x="961470" y="1818214"/>
                <a:ext cx="22872" cy="23701"/>
              </a:xfrm>
              <a:custGeom>
                <a:avLst/>
                <a:gdLst>
                  <a:gd name="connsiteX0" fmla="*/ 6653 w 22872"/>
                  <a:gd name="connsiteY0" fmla="*/ 23702 h 23701"/>
                  <a:gd name="connsiteX1" fmla="*/ 1975 w 22872"/>
                  <a:gd name="connsiteY1" fmla="*/ 21718 h 23701"/>
                  <a:gd name="connsiteX2" fmla="*/ 1922 w 22872"/>
                  <a:gd name="connsiteY2" fmla="*/ 12013 h 23701"/>
                  <a:gd name="connsiteX3" fmla="*/ 11488 w 22872"/>
                  <a:gd name="connsiteY3" fmla="*/ 2038 h 23701"/>
                  <a:gd name="connsiteX4" fmla="*/ 20898 w 22872"/>
                  <a:gd name="connsiteY4" fmla="*/ 1985 h 23701"/>
                  <a:gd name="connsiteX5" fmla="*/ 20951 w 22872"/>
                  <a:gd name="connsiteY5" fmla="*/ 11690 h 23701"/>
                  <a:gd name="connsiteX6" fmla="*/ 11385 w 22872"/>
                  <a:gd name="connsiteY6" fmla="*/ 21665 h 23701"/>
                  <a:gd name="connsiteX7" fmla="*/ 6653 w 22872"/>
                  <a:gd name="connsiteY7" fmla="*/ 23702 h 23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872" h="23701">
                    <a:moveTo>
                      <a:pt x="6653" y="23702"/>
                    </a:moveTo>
                    <a:cubicBezTo>
                      <a:pt x="4964" y="23702"/>
                      <a:pt x="3271" y="23041"/>
                      <a:pt x="1975" y="21718"/>
                    </a:cubicBezTo>
                    <a:cubicBezTo>
                      <a:pt x="-637" y="19051"/>
                      <a:pt x="-662" y="14708"/>
                      <a:pt x="1922" y="12013"/>
                    </a:cubicBezTo>
                    <a:lnTo>
                      <a:pt x="11488" y="2038"/>
                    </a:lnTo>
                    <a:cubicBezTo>
                      <a:pt x="14075" y="-657"/>
                      <a:pt x="18287" y="-684"/>
                      <a:pt x="20898" y="1985"/>
                    </a:cubicBezTo>
                    <a:cubicBezTo>
                      <a:pt x="23510" y="4652"/>
                      <a:pt x="23532" y="8996"/>
                      <a:pt x="20951" y="11690"/>
                    </a:cubicBezTo>
                    <a:lnTo>
                      <a:pt x="11385" y="21665"/>
                    </a:lnTo>
                    <a:cubicBezTo>
                      <a:pt x="10082" y="23021"/>
                      <a:pt x="8368" y="23702"/>
                      <a:pt x="6653" y="23702"/>
                    </a:cubicBezTo>
                    <a:close/>
                  </a:path>
                </a:pathLst>
              </a:custGeom>
              <a:solidFill>
                <a:schemeClr val="accent1"/>
              </a:solidFill>
              <a:ln w="252" cap="flat">
                <a:noFill/>
                <a:prstDash val="solid"/>
                <a:miter/>
              </a:ln>
            </p:spPr>
            <p:txBody>
              <a:bodyPr rtlCol="0" anchor="ctr"/>
              <a:lstStyle/>
              <a:p>
                <a:endParaRPr lang="en-GB" dirty="0"/>
              </a:p>
            </p:txBody>
          </p:sp>
          <p:sp>
            <p:nvSpPr>
              <p:cNvPr id="335" name="Freihandform: Form 88">
                <a:extLst>
                  <a:ext uri="{FF2B5EF4-FFF2-40B4-BE49-F238E27FC236}">
                    <a16:creationId xmlns:a16="http://schemas.microsoft.com/office/drawing/2014/main" id="{2C427B8D-A636-4E63-845A-E5BCF71D7A18}"/>
                  </a:ext>
                </a:extLst>
              </p:cNvPr>
              <p:cNvSpPr/>
              <p:nvPr/>
            </p:nvSpPr>
            <p:spPr>
              <a:xfrm>
                <a:off x="961468" y="1705823"/>
                <a:ext cx="23706" cy="24878"/>
              </a:xfrm>
              <a:custGeom>
                <a:avLst/>
                <a:gdLst>
                  <a:gd name="connsiteX0" fmla="*/ 17054 w 23706"/>
                  <a:gd name="connsiteY0" fmla="*/ 24878 h 24878"/>
                  <a:gd name="connsiteX1" fmla="*/ 12257 w 23706"/>
                  <a:gd name="connsiteY1" fmla="*/ 22771 h 24878"/>
                  <a:gd name="connsiteX2" fmla="*/ 1858 w 23706"/>
                  <a:gd name="connsiteY2" fmla="*/ 11617 h 24878"/>
                  <a:gd name="connsiteX3" fmla="*/ 2042 w 23706"/>
                  <a:gd name="connsiteY3" fmla="*/ 1914 h 24878"/>
                  <a:gd name="connsiteX4" fmla="*/ 11450 w 23706"/>
                  <a:gd name="connsiteY4" fmla="*/ 2106 h 24878"/>
                  <a:gd name="connsiteX5" fmla="*/ 21848 w 23706"/>
                  <a:gd name="connsiteY5" fmla="*/ 13260 h 24878"/>
                  <a:gd name="connsiteX6" fmla="*/ 21662 w 23706"/>
                  <a:gd name="connsiteY6" fmla="*/ 22963 h 24878"/>
                  <a:gd name="connsiteX7" fmla="*/ 17054 w 23706"/>
                  <a:gd name="connsiteY7" fmla="*/ 24878 h 2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06" h="24878">
                    <a:moveTo>
                      <a:pt x="17054" y="24878"/>
                    </a:moveTo>
                    <a:cubicBezTo>
                      <a:pt x="15309" y="24878"/>
                      <a:pt x="13562" y="24175"/>
                      <a:pt x="12257" y="22771"/>
                    </a:cubicBezTo>
                    <a:lnTo>
                      <a:pt x="1858" y="11617"/>
                    </a:lnTo>
                    <a:cubicBezTo>
                      <a:pt x="-690" y="8884"/>
                      <a:pt x="-607" y="4541"/>
                      <a:pt x="2042" y="1914"/>
                    </a:cubicBezTo>
                    <a:cubicBezTo>
                      <a:pt x="4694" y="-707"/>
                      <a:pt x="8902" y="-629"/>
                      <a:pt x="11450" y="2106"/>
                    </a:cubicBezTo>
                    <a:lnTo>
                      <a:pt x="21848" y="13260"/>
                    </a:lnTo>
                    <a:cubicBezTo>
                      <a:pt x="24397" y="15993"/>
                      <a:pt x="24314" y="20336"/>
                      <a:pt x="21662" y="22963"/>
                    </a:cubicBezTo>
                    <a:cubicBezTo>
                      <a:pt x="20374" y="24243"/>
                      <a:pt x="18715" y="24878"/>
                      <a:pt x="17054" y="24878"/>
                    </a:cubicBezTo>
                    <a:close/>
                  </a:path>
                </a:pathLst>
              </a:custGeom>
              <a:solidFill>
                <a:schemeClr val="accent1"/>
              </a:solidFill>
              <a:ln w="252" cap="flat">
                <a:noFill/>
                <a:prstDash val="solid"/>
                <a:miter/>
              </a:ln>
            </p:spPr>
            <p:txBody>
              <a:bodyPr rtlCol="0" anchor="ctr"/>
              <a:lstStyle/>
              <a:p>
                <a:endParaRPr lang="en-GB" dirty="0"/>
              </a:p>
            </p:txBody>
          </p:sp>
        </p:grpSp>
      </p:grpSp>
      <p:grpSp>
        <p:nvGrpSpPr>
          <p:cNvPr id="45" name="Group 44">
            <a:extLst>
              <a:ext uri="{FF2B5EF4-FFF2-40B4-BE49-F238E27FC236}">
                <a16:creationId xmlns:a16="http://schemas.microsoft.com/office/drawing/2014/main" id="{DCA4CFAD-D041-E501-1C06-39BBE75265CF}"/>
              </a:ext>
            </a:extLst>
          </p:cNvPr>
          <p:cNvGrpSpPr/>
          <p:nvPr/>
        </p:nvGrpSpPr>
        <p:grpSpPr>
          <a:xfrm>
            <a:off x="2640296" y="4040086"/>
            <a:ext cx="489243" cy="431996"/>
            <a:chOff x="2640296" y="4040086"/>
            <a:chExt cx="489243" cy="431996"/>
          </a:xfrm>
        </p:grpSpPr>
        <p:grpSp>
          <p:nvGrpSpPr>
            <p:cNvPr id="341" name="Grafik 330">
              <a:extLst>
                <a:ext uri="{FF2B5EF4-FFF2-40B4-BE49-F238E27FC236}">
                  <a16:creationId xmlns:a16="http://schemas.microsoft.com/office/drawing/2014/main" id="{E7FEC71C-EE3D-49F4-86A3-1630155591C5}"/>
                </a:ext>
              </a:extLst>
            </p:cNvPr>
            <p:cNvGrpSpPr/>
            <p:nvPr/>
          </p:nvGrpSpPr>
          <p:grpSpPr>
            <a:xfrm>
              <a:off x="2841963" y="4184569"/>
              <a:ext cx="287576" cy="287513"/>
              <a:chOff x="2735597" y="2605139"/>
              <a:chExt cx="281916" cy="281857"/>
            </a:xfrm>
            <a:solidFill>
              <a:schemeClr val="tx2"/>
            </a:solidFill>
          </p:grpSpPr>
          <p:sp>
            <p:nvSpPr>
              <p:cNvPr id="357" name="Freihandform: Form 165">
                <a:extLst>
                  <a:ext uri="{FF2B5EF4-FFF2-40B4-BE49-F238E27FC236}">
                    <a16:creationId xmlns:a16="http://schemas.microsoft.com/office/drawing/2014/main" id="{CEC35C14-E7DE-49BD-A0D4-5F0705E94B21}"/>
                  </a:ext>
                </a:extLst>
              </p:cNvPr>
              <p:cNvSpPr/>
              <p:nvPr/>
            </p:nvSpPr>
            <p:spPr>
              <a:xfrm>
                <a:off x="2781011" y="2605139"/>
                <a:ext cx="236503" cy="236472"/>
              </a:xfrm>
              <a:custGeom>
                <a:avLst/>
                <a:gdLst>
                  <a:gd name="connsiteX0" fmla="*/ 83299 w 236503"/>
                  <a:gd name="connsiteY0" fmla="*/ 236472 h 236472"/>
                  <a:gd name="connsiteX1" fmla="*/ 78722 w 236503"/>
                  <a:gd name="connsiteY1" fmla="*/ 234569 h 236472"/>
                  <a:gd name="connsiteX2" fmla="*/ 1903 w 236503"/>
                  <a:gd name="connsiteY2" fmla="*/ 157750 h 236472"/>
                  <a:gd name="connsiteX3" fmla="*/ 1903 w 236503"/>
                  <a:gd name="connsiteY3" fmla="*/ 148568 h 236472"/>
                  <a:gd name="connsiteX4" fmla="*/ 119172 w 236503"/>
                  <a:gd name="connsiteY4" fmla="*/ 31299 h 236472"/>
                  <a:gd name="connsiteX5" fmla="*/ 186010 w 236503"/>
                  <a:gd name="connsiteY5" fmla="*/ 1906 h 236472"/>
                  <a:gd name="connsiteX6" fmla="*/ 229713 w 236503"/>
                  <a:gd name="connsiteY6" fmla="*/ 3 h 236472"/>
                  <a:gd name="connsiteX7" fmla="*/ 234594 w 236503"/>
                  <a:gd name="connsiteY7" fmla="*/ 1906 h 236472"/>
                  <a:gd name="connsiteX8" fmla="*/ 236496 w 236503"/>
                  <a:gd name="connsiteY8" fmla="*/ 6786 h 236472"/>
                  <a:gd name="connsiteX9" fmla="*/ 234594 w 236503"/>
                  <a:gd name="connsiteY9" fmla="*/ 50490 h 236472"/>
                  <a:gd name="connsiteX10" fmla="*/ 205201 w 236503"/>
                  <a:gd name="connsiteY10" fmla="*/ 117328 h 236472"/>
                  <a:gd name="connsiteX11" fmla="*/ 87931 w 236503"/>
                  <a:gd name="connsiteY11" fmla="*/ 234597 h 236472"/>
                  <a:gd name="connsiteX12" fmla="*/ 83299 w 236503"/>
                  <a:gd name="connsiteY12" fmla="*/ 236472 h 236472"/>
                  <a:gd name="connsiteX13" fmla="*/ 15634 w 236503"/>
                  <a:gd name="connsiteY13" fmla="*/ 153145 h 236472"/>
                  <a:gd name="connsiteX14" fmla="*/ 83272 w 236503"/>
                  <a:gd name="connsiteY14" fmla="*/ 220783 h 236472"/>
                  <a:gd name="connsiteX15" fmla="*/ 195936 w 236503"/>
                  <a:gd name="connsiteY15" fmla="*/ 108118 h 236472"/>
                  <a:gd name="connsiteX16" fmla="*/ 221552 w 236503"/>
                  <a:gd name="connsiteY16" fmla="*/ 49883 h 236472"/>
                  <a:gd name="connsiteX17" fmla="*/ 223151 w 236503"/>
                  <a:gd name="connsiteY17" fmla="*/ 13266 h 236472"/>
                  <a:gd name="connsiteX18" fmla="*/ 186534 w 236503"/>
                  <a:gd name="connsiteY18" fmla="*/ 14865 h 236472"/>
                  <a:gd name="connsiteX19" fmla="*/ 128326 w 236503"/>
                  <a:gd name="connsiteY19" fmla="*/ 40481 h 236472"/>
                  <a:gd name="connsiteX20" fmla="*/ 15634 w 236503"/>
                  <a:gd name="connsiteY20" fmla="*/ 153145 h 23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36503" h="236472">
                    <a:moveTo>
                      <a:pt x="83299" y="236472"/>
                    </a:moveTo>
                    <a:cubicBezTo>
                      <a:pt x="81645" y="236472"/>
                      <a:pt x="79990" y="235838"/>
                      <a:pt x="78722" y="234569"/>
                    </a:cubicBezTo>
                    <a:lnTo>
                      <a:pt x="1903" y="157750"/>
                    </a:lnTo>
                    <a:cubicBezTo>
                      <a:pt x="-634" y="155213"/>
                      <a:pt x="-634" y="151105"/>
                      <a:pt x="1903" y="148568"/>
                    </a:cubicBezTo>
                    <a:lnTo>
                      <a:pt x="119172" y="31299"/>
                    </a:lnTo>
                    <a:cubicBezTo>
                      <a:pt x="137040" y="13431"/>
                      <a:pt x="160780" y="2981"/>
                      <a:pt x="186010" y="1906"/>
                    </a:cubicBezTo>
                    <a:lnTo>
                      <a:pt x="229713" y="3"/>
                    </a:lnTo>
                    <a:cubicBezTo>
                      <a:pt x="231423" y="-52"/>
                      <a:pt x="233298" y="610"/>
                      <a:pt x="234594" y="1906"/>
                    </a:cubicBezTo>
                    <a:cubicBezTo>
                      <a:pt x="235890" y="3202"/>
                      <a:pt x="236579" y="4966"/>
                      <a:pt x="236496" y="6786"/>
                    </a:cubicBezTo>
                    <a:lnTo>
                      <a:pt x="234594" y="50490"/>
                    </a:lnTo>
                    <a:cubicBezTo>
                      <a:pt x="233491" y="75720"/>
                      <a:pt x="223041" y="99460"/>
                      <a:pt x="205201" y="117328"/>
                    </a:cubicBezTo>
                    <a:lnTo>
                      <a:pt x="87931" y="234597"/>
                    </a:lnTo>
                    <a:cubicBezTo>
                      <a:pt x="86608" y="235838"/>
                      <a:pt x="84953" y="236472"/>
                      <a:pt x="83299" y="236472"/>
                    </a:cubicBezTo>
                    <a:close/>
                    <a:moveTo>
                      <a:pt x="15634" y="153145"/>
                    </a:moveTo>
                    <a:lnTo>
                      <a:pt x="83272" y="220783"/>
                    </a:lnTo>
                    <a:lnTo>
                      <a:pt x="195936" y="108118"/>
                    </a:lnTo>
                    <a:cubicBezTo>
                      <a:pt x="211488" y="92567"/>
                      <a:pt x="220587" y="71887"/>
                      <a:pt x="221552" y="49883"/>
                    </a:cubicBezTo>
                    <a:lnTo>
                      <a:pt x="223151" y="13266"/>
                    </a:lnTo>
                    <a:lnTo>
                      <a:pt x="186534" y="14865"/>
                    </a:lnTo>
                    <a:cubicBezTo>
                      <a:pt x="164558" y="15830"/>
                      <a:pt x="143878" y="24929"/>
                      <a:pt x="128326" y="40481"/>
                    </a:cubicBezTo>
                    <a:lnTo>
                      <a:pt x="15634" y="153145"/>
                    </a:lnTo>
                    <a:close/>
                  </a:path>
                </a:pathLst>
              </a:custGeom>
              <a:grpFill/>
              <a:ln w="2750" cap="flat">
                <a:noFill/>
                <a:prstDash val="solid"/>
                <a:miter/>
              </a:ln>
            </p:spPr>
            <p:txBody>
              <a:bodyPr rtlCol="0" anchor="ctr"/>
              <a:lstStyle/>
              <a:p>
                <a:endParaRPr lang="en-GB" dirty="0"/>
              </a:p>
            </p:txBody>
          </p:sp>
          <p:sp>
            <p:nvSpPr>
              <p:cNvPr id="358" name="Freihandform: Form 166">
                <a:extLst>
                  <a:ext uri="{FF2B5EF4-FFF2-40B4-BE49-F238E27FC236}">
                    <a16:creationId xmlns:a16="http://schemas.microsoft.com/office/drawing/2014/main" id="{7D0F8A10-2F83-47F8-8D8C-3845B2DF65AB}"/>
                  </a:ext>
                </a:extLst>
              </p:cNvPr>
              <p:cNvSpPr/>
              <p:nvPr/>
            </p:nvSpPr>
            <p:spPr>
              <a:xfrm>
                <a:off x="2931147" y="2615592"/>
                <a:ext cx="75854" cy="75854"/>
              </a:xfrm>
              <a:custGeom>
                <a:avLst/>
                <a:gdLst>
                  <a:gd name="connsiteX0" fmla="*/ 69347 w 75854"/>
                  <a:gd name="connsiteY0" fmla="*/ 75854 h 75854"/>
                  <a:gd name="connsiteX1" fmla="*/ 64770 w 75854"/>
                  <a:gd name="connsiteY1" fmla="*/ 73952 h 75854"/>
                  <a:gd name="connsiteX2" fmla="*/ 1903 w 75854"/>
                  <a:gd name="connsiteY2" fmla="*/ 11084 h 75854"/>
                  <a:gd name="connsiteX3" fmla="*/ 1903 w 75854"/>
                  <a:gd name="connsiteY3" fmla="*/ 1903 h 75854"/>
                  <a:gd name="connsiteX4" fmla="*/ 11084 w 75854"/>
                  <a:gd name="connsiteY4" fmla="*/ 1903 h 75854"/>
                  <a:gd name="connsiteX5" fmla="*/ 73952 w 75854"/>
                  <a:gd name="connsiteY5" fmla="*/ 64770 h 75854"/>
                  <a:gd name="connsiteX6" fmla="*/ 73952 w 75854"/>
                  <a:gd name="connsiteY6" fmla="*/ 73952 h 75854"/>
                  <a:gd name="connsiteX7" fmla="*/ 69347 w 75854"/>
                  <a:gd name="connsiteY7" fmla="*/ 75854 h 75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854" h="75854">
                    <a:moveTo>
                      <a:pt x="69347" y="75854"/>
                    </a:moveTo>
                    <a:cubicBezTo>
                      <a:pt x="67693" y="75854"/>
                      <a:pt x="66011" y="75220"/>
                      <a:pt x="64770" y="73952"/>
                    </a:cubicBezTo>
                    <a:lnTo>
                      <a:pt x="1903" y="11084"/>
                    </a:lnTo>
                    <a:cubicBezTo>
                      <a:pt x="-634" y="8548"/>
                      <a:pt x="-634" y="4439"/>
                      <a:pt x="1903" y="1903"/>
                    </a:cubicBezTo>
                    <a:cubicBezTo>
                      <a:pt x="4439" y="-634"/>
                      <a:pt x="8548" y="-634"/>
                      <a:pt x="11084" y="1903"/>
                    </a:cubicBezTo>
                    <a:lnTo>
                      <a:pt x="73952" y="64770"/>
                    </a:lnTo>
                    <a:cubicBezTo>
                      <a:pt x="76488" y="67306"/>
                      <a:pt x="76488" y="71415"/>
                      <a:pt x="73952" y="73952"/>
                    </a:cubicBezTo>
                    <a:cubicBezTo>
                      <a:pt x="72656" y="75220"/>
                      <a:pt x="71001" y="75854"/>
                      <a:pt x="69347" y="75854"/>
                    </a:cubicBezTo>
                    <a:close/>
                  </a:path>
                </a:pathLst>
              </a:custGeom>
              <a:grpFill/>
              <a:ln w="2750" cap="flat">
                <a:noFill/>
                <a:prstDash val="solid"/>
                <a:miter/>
              </a:ln>
            </p:spPr>
            <p:txBody>
              <a:bodyPr rtlCol="0" anchor="ctr"/>
              <a:lstStyle/>
              <a:p>
                <a:endParaRPr lang="en-GB" dirty="0"/>
              </a:p>
            </p:txBody>
          </p:sp>
          <p:sp>
            <p:nvSpPr>
              <p:cNvPr id="359" name="Freihandform: Form 167">
                <a:extLst>
                  <a:ext uri="{FF2B5EF4-FFF2-40B4-BE49-F238E27FC236}">
                    <a16:creationId xmlns:a16="http://schemas.microsoft.com/office/drawing/2014/main" id="{5EBAD84E-A370-4B71-908B-A3C43F77F775}"/>
                  </a:ext>
                </a:extLst>
              </p:cNvPr>
              <p:cNvSpPr/>
              <p:nvPr/>
            </p:nvSpPr>
            <p:spPr>
              <a:xfrm>
                <a:off x="2895971" y="2664266"/>
                <a:ext cx="62329" cy="62336"/>
              </a:xfrm>
              <a:custGeom>
                <a:avLst/>
                <a:gdLst>
                  <a:gd name="connsiteX0" fmla="*/ 31179 w 62329"/>
                  <a:gd name="connsiteY0" fmla="*/ 62336 h 62336"/>
                  <a:gd name="connsiteX1" fmla="*/ 9120 w 62329"/>
                  <a:gd name="connsiteY1" fmla="*/ 53210 h 62336"/>
                  <a:gd name="connsiteX2" fmla="*/ 9120 w 62329"/>
                  <a:gd name="connsiteY2" fmla="*/ 9120 h 62336"/>
                  <a:gd name="connsiteX3" fmla="*/ 53210 w 62329"/>
                  <a:gd name="connsiteY3" fmla="*/ 9120 h 62336"/>
                  <a:gd name="connsiteX4" fmla="*/ 53210 w 62329"/>
                  <a:gd name="connsiteY4" fmla="*/ 53210 h 62336"/>
                  <a:gd name="connsiteX5" fmla="*/ 31179 w 62329"/>
                  <a:gd name="connsiteY5" fmla="*/ 62336 h 62336"/>
                  <a:gd name="connsiteX6" fmla="*/ 31179 w 62329"/>
                  <a:gd name="connsiteY6" fmla="*/ 12980 h 62336"/>
                  <a:gd name="connsiteX7" fmla="*/ 18302 w 62329"/>
                  <a:gd name="connsiteY7" fmla="*/ 18302 h 62336"/>
                  <a:gd name="connsiteX8" fmla="*/ 18302 w 62329"/>
                  <a:gd name="connsiteY8" fmla="*/ 44028 h 62336"/>
                  <a:gd name="connsiteX9" fmla="*/ 44055 w 62329"/>
                  <a:gd name="connsiteY9" fmla="*/ 44028 h 62336"/>
                  <a:gd name="connsiteX10" fmla="*/ 44055 w 62329"/>
                  <a:gd name="connsiteY10" fmla="*/ 18302 h 62336"/>
                  <a:gd name="connsiteX11" fmla="*/ 31179 w 62329"/>
                  <a:gd name="connsiteY11" fmla="*/ 12980 h 6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329" h="62336">
                    <a:moveTo>
                      <a:pt x="31179" y="62336"/>
                    </a:moveTo>
                    <a:cubicBezTo>
                      <a:pt x="23182" y="62336"/>
                      <a:pt x="15214" y="59303"/>
                      <a:pt x="9120" y="53210"/>
                    </a:cubicBezTo>
                    <a:cubicBezTo>
                      <a:pt x="-3040" y="41050"/>
                      <a:pt x="-3040" y="21280"/>
                      <a:pt x="9120" y="9120"/>
                    </a:cubicBezTo>
                    <a:cubicBezTo>
                      <a:pt x="21280" y="-3040"/>
                      <a:pt x="41050" y="-3040"/>
                      <a:pt x="53210" y="9120"/>
                    </a:cubicBezTo>
                    <a:cubicBezTo>
                      <a:pt x="65369" y="21280"/>
                      <a:pt x="65369" y="41050"/>
                      <a:pt x="53210" y="53210"/>
                    </a:cubicBezTo>
                    <a:cubicBezTo>
                      <a:pt x="47171" y="59303"/>
                      <a:pt x="39175" y="62336"/>
                      <a:pt x="31179" y="62336"/>
                    </a:cubicBezTo>
                    <a:close/>
                    <a:moveTo>
                      <a:pt x="31179" y="12980"/>
                    </a:moveTo>
                    <a:cubicBezTo>
                      <a:pt x="26519" y="12980"/>
                      <a:pt x="21859" y="14745"/>
                      <a:pt x="18302" y="18302"/>
                    </a:cubicBezTo>
                    <a:cubicBezTo>
                      <a:pt x="11216" y="25388"/>
                      <a:pt x="11216" y="36941"/>
                      <a:pt x="18302" y="44028"/>
                    </a:cubicBezTo>
                    <a:cubicBezTo>
                      <a:pt x="25416" y="51114"/>
                      <a:pt x="36941" y="51114"/>
                      <a:pt x="44055" y="44028"/>
                    </a:cubicBezTo>
                    <a:cubicBezTo>
                      <a:pt x="51142" y="36941"/>
                      <a:pt x="51142" y="25388"/>
                      <a:pt x="44055" y="18302"/>
                    </a:cubicBezTo>
                    <a:cubicBezTo>
                      <a:pt x="40498" y="14745"/>
                      <a:pt x="35839" y="12980"/>
                      <a:pt x="31179" y="12980"/>
                    </a:cubicBezTo>
                    <a:close/>
                  </a:path>
                </a:pathLst>
              </a:custGeom>
              <a:grpFill/>
              <a:ln w="2750" cap="flat">
                <a:noFill/>
                <a:prstDash val="solid"/>
                <a:miter/>
              </a:ln>
            </p:spPr>
            <p:txBody>
              <a:bodyPr rtlCol="0" anchor="ctr"/>
              <a:lstStyle/>
              <a:p>
                <a:endParaRPr lang="en-GB" dirty="0"/>
              </a:p>
            </p:txBody>
          </p:sp>
          <p:sp>
            <p:nvSpPr>
              <p:cNvPr id="360" name="Freihandform: Form 168">
                <a:extLst>
                  <a:ext uri="{FF2B5EF4-FFF2-40B4-BE49-F238E27FC236}">
                    <a16:creationId xmlns:a16="http://schemas.microsoft.com/office/drawing/2014/main" id="{2CBBC1A5-6AD2-4280-B428-5D8A1C7664B5}"/>
                  </a:ext>
                </a:extLst>
              </p:cNvPr>
              <p:cNvSpPr/>
              <p:nvPr/>
            </p:nvSpPr>
            <p:spPr>
              <a:xfrm>
                <a:off x="2840376" y="2762282"/>
                <a:ext cx="19963" cy="19963"/>
              </a:xfrm>
              <a:custGeom>
                <a:avLst/>
                <a:gdLst>
                  <a:gd name="connsiteX0" fmla="*/ 13456 w 19963"/>
                  <a:gd name="connsiteY0" fmla="*/ 19963 h 19963"/>
                  <a:gd name="connsiteX1" fmla="*/ 8879 w 19963"/>
                  <a:gd name="connsiteY1" fmla="*/ 18061 h 19963"/>
                  <a:gd name="connsiteX2" fmla="*/ 1903 w 19963"/>
                  <a:gd name="connsiteY2" fmla="*/ 11084 h 19963"/>
                  <a:gd name="connsiteX3" fmla="*/ 1903 w 19963"/>
                  <a:gd name="connsiteY3" fmla="*/ 1903 h 19963"/>
                  <a:gd name="connsiteX4" fmla="*/ 11084 w 19963"/>
                  <a:gd name="connsiteY4" fmla="*/ 1903 h 19963"/>
                  <a:gd name="connsiteX5" fmla="*/ 18060 w 19963"/>
                  <a:gd name="connsiteY5" fmla="*/ 8879 h 19963"/>
                  <a:gd name="connsiteX6" fmla="*/ 18060 w 19963"/>
                  <a:gd name="connsiteY6" fmla="*/ 18061 h 19963"/>
                  <a:gd name="connsiteX7" fmla="*/ 13456 w 19963"/>
                  <a:gd name="connsiteY7" fmla="*/ 19963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63" h="19963">
                    <a:moveTo>
                      <a:pt x="13456" y="19963"/>
                    </a:moveTo>
                    <a:cubicBezTo>
                      <a:pt x="11801" y="19963"/>
                      <a:pt x="10119" y="19329"/>
                      <a:pt x="8879" y="18061"/>
                    </a:cubicBezTo>
                    <a:lnTo>
                      <a:pt x="1903" y="11084"/>
                    </a:lnTo>
                    <a:cubicBezTo>
                      <a:pt x="-634" y="8548"/>
                      <a:pt x="-634" y="4439"/>
                      <a:pt x="1903" y="1903"/>
                    </a:cubicBezTo>
                    <a:cubicBezTo>
                      <a:pt x="4439" y="-634"/>
                      <a:pt x="8548" y="-634"/>
                      <a:pt x="11084" y="1903"/>
                    </a:cubicBezTo>
                    <a:lnTo>
                      <a:pt x="18060" y="8879"/>
                    </a:lnTo>
                    <a:cubicBezTo>
                      <a:pt x="20597" y="11415"/>
                      <a:pt x="20597" y="15524"/>
                      <a:pt x="18060" y="18061"/>
                    </a:cubicBezTo>
                    <a:cubicBezTo>
                      <a:pt x="16765" y="19329"/>
                      <a:pt x="15110" y="19963"/>
                      <a:pt x="13456" y="19963"/>
                    </a:cubicBezTo>
                    <a:close/>
                  </a:path>
                </a:pathLst>
              </a:custGeom>
              <a:grpFill/>
              <a:ln w="2750" cap="flat">
                <a:noFill/>
                <a:prstDash val="solid"/>
                <a:miter/>
              </a:ln>
            </p:spPr>
            <p:txBody>
              <a:bodyPr rtlCol="0" anchor="ctr"/>
              <a:lstStyle/>
              <a:p>
                <a:endParaRPr lang="en-GB" dirty="0"/>
              </a:p>
            </p:txBody>
          </p:sp>
          <p:sp>
            <p:nvSpPr>
              <p:cNvPr id="361" name="Freihandform: Form 169">
                <a:extLst>
                  <a:ext uri="{FF2B5EF4-FFF2-40B4-BE49-F238E27FC236}">
                    <a16:creationId xmlns:a16="http://schemas.microsoft.com/office/drawing/2014/main" id="{AF752431-814B-433E-AE39-253D3CBA42F6}"/>
                  </a:ext>
                </a:extLst>
              </p:cNvPr>
              <p:cNvSpPr/>
              <p:nvPr/>
            </p:nvSpPr>
            <p:spPr>
              <a:xfrm>
                <a:off x="2864806" y="2737825"/>
                <a:ext cx="19963" cy="19963"/>
              </a:xfrm>
              <a:custGeom>
                <a:avLst/>
                <a:gdLst>
                  <a:gd name="connsiteX0" fmla="*/ 13456 w 19963"/>
                  <a:gd name="connsiteY0" fmla="*/ 19963 h 19963"/>
                  <a:gd name="connsiteX1" fmla="*/ 8879 w 19963"/>
                  <a:gd name="connsiteY1" fmla="*/ 18061 h 19963"/>
                  <a:gd name="connsiteX2" fmla="*/ 1903 w 19963"/>
                  <a:gd name="connsiteY2" fmla="*/ 11084 h 19963"/>
                  <a:gd name="connsiteX3" fmla="*/ 1903 w 19963"/>
                  <a:gd name="connsiteY3" fmla="*/ 1903 h 19963"/>
                  <a:gd name="connsiteX4" fmla="*/ 11084 w 19963"/>
                  <a:gd name="connsiteY4" fmla="*/ 1903 h 19963"/>
                  <a:gd name="connsiteX5" fmla="*/ 18061 w 19963"/>
                  <a:gd name="connsiteY5" fmla="*/ 8879 h 19963"/>
                  <a:gd name="connsiteX6" fmla="*/ 18061 w 19963"/>
                  <a:gd name="connsiteY6" fmla="*/ 18061 h 19963"/>
                  <a:gd name="connsiteX7" fmla="*/ 13456 w 19963"/>
                  <a:gd name="connsiteY7" fmla="*/ 19963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63" h="19963">
                    <a:moveTo>
                      <a:pt x="13456" y="19963"/>
                    </a:moveTo>
                    <a:cubicBezTo>
                      <a:pt x="11801" y="19963"/>
                      <a:pt x="10147" y="19329"/>
                      <a:pt x="8879" y="18061"/>
                    </a:cubicBezTo>
                    <a:lnTo>
                      <a:pt x="1903" y="11084"/>
                    </a:lnTo>
                    <a:cubicBezTo>
                      <a:pt x="-634" y="8548"/>
                      <a:pt x="-634" y="4439"/>
                      <a:pt x="1903" y="1903"/>
                    </a:cubicBezTo>
                    <a:cubicBezTo>
                      <a:pt x="4439" y="-634"/>
                      <a:pt x="8548" y="-634"/>
                      <a:pt x="11084" y="1903"/>
                    </a:cubicBezTo>
                    <a:lnTo>
                      <a:pt x="18061" y="8879"/>
                    </a:lnTo>
                    <a:cubicBezTo>
                      <a:pt x="20597" y="11415"/>
                      <a:pt x="20597" y="15524"/>
                      <a:pt x="18061" y="18061"/>
                    </a:cubicBezTo>
                    <a:cubicBezTo>
                      <a:pt x="16792" y="19329"/>
                      <a:pt x="15110" y="19963"/>
                      <a:pt x="13456" y="19963"/>
                    </a:cubicBezTo>
                    <a:close/>
                  </a:path>
                </a:pathLst>
              </a:custGeom>
              <a:grpFill/>
              <a:ln w="2750" cap="flat">
                <a:noFill/>
                <a:prstDash val="solid"/>
                <a:miter/>
              </a:ln>
            </p:spPr>
            <p:txBody>
              <a:bodyPr rtlCol="0" anchor="ctr"/>
              <a:lstStyle/>
              <a:p>
                <a:endParaRPr lang="en-GB" dirty="0"/>
              </a:p>
            </p:txBody>
          </p:sp>
          <p:sp>
            <p:nvSpPr>
              <p:cNvPr id="362" name="Freihandform: Form 170">
                <a:extLst>
                  <a:ext uri="{FF2B5EF4-FFF2-40B4-BE49-F238E27FC236}">
                    <a16:creationId xmlns:a16="http://schemas.microsoft.com/office/drawing/2014/main" id="{47643281-5161-450E-8ACE-0646B68412AC}"/>
                  </a:ext>
                </a:extLst>
              </p:cNvPr>
              <p:cNvSpPr/>
              <p:nvPr/>
            </p:nvSpPr>
            <p:spPr>
              <a:xfrm>
                <a:off x="2760055" y="2825149"/>
                <a:ext cx="37444" cy="37416"/>
              </a:xfrm>
              <a:custGeom>
                <a:avLst/>
                <a:gdLst>
                  <a:gd name="connsiteX0" fmla="*/ 6480 w 37444"/>
                  <a:gd name="connsiteY0" fmla="*/ 37417 h 37416"/>
                  <a:gd name="connsiteX1" fmla="*/ 1903 w 37444"/>
                  <a:gd name="connsiteY1" fmla="*/ 35514 h 37416"/>
                  <a:gd name="connsiteX2" fmla="*/ 1903 w 37444"/>
                  <a:gd name="connsiteY2" fmla="*/ 26333 h 37416"/>
                  <a:gd name="connsiteX3" fmla="*/ 26360 w 37444"/>
                  <a:gd name="connsiteY3" fmla="*/ 1903 h 37416"/>
                  <a:gd name="connsiteX4" fmla="*/ 35542 w 37444"/>
                  <a:gd name="connsiteY4" fmla="*/ 1903 h 37416"/>
                  <a:gd name="connsiteX5" fmla="*/ 35542 w 37444"/>
                  <a:gd name="connsiteY5" fmla="*/ 11084 h 37416"/>
                  <a:gd name="connsiteX6" fmla="*/ 11084 w 37444"/>
                  <a:gd name="connsiteY6" fmla="*/ 35514 h 37416"/>
                  <a:gd name="connsiteX7" fmla="*/ 6480 w 37444"/>
                  <a:gd name="connsiteY7" fmla="*/ 37417 h 37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44" h="37416">
                    <a:moveTo>
                      <a:pt x="6480" y="37417"/>
                    </a:moveTo>
                    <a:cubicBezTo>
                      <a:pt x="4825" y="37417"/>
                      <a:pt x="3171" y="36783"/>
                      <a:pt x="1903" y="35514"/>
                    </a:cubicBezTo>
                    <a:cubicBezTo>
                      <a:pt x="-634" y="32978"/>
                      <a:pt x="-634" y="28869"/>
                      <a:pt x="1903" y="26333"/>
                    </a:cubicBezTo>
                    <a:lnTo>
                      <a:pt x="26360" y="1903"/>
                    </a:lnTo>
                    <a:cubicBezTo>
                      <a:pt x="28897" y="-634"/>
                      <a:pt x="33005" y="-634"/>
                      <a:pt x="35542" y="1903"/>
                    </a:cubicBezTo>
                    <a:cubicBezTo>
                      <a:pt x="38079" y="4439"/>
                      <a:pt x="38079" y="8548"/>
                      <a:pt x="35542" y="11084"/>
                    </a:cubicBezTo>
                    <a:lnTo>
                      <a:pt x="11084" y="35514"/>
                    </a:lnTo>
                    <a:cubicBezTo>
                      <a:pt x="9789" y="36783"/>
                      <a:pt x="8134" y="37417"/>
                      <a:pt x="6480" y="37417"/>
                    </a:cubicBezTo>
                    <a:close/>
                  </a:path>
                </a:pathLst>
              </a:custGeom>
              <a:grpFill/>
              <a:ln w="2750" cap="flat">
                <a:noFill/>
                <a:prstDash val="solid"/>
                <a:miter/>
              </a:ln>
            </p:spPr>
            <p:txBody>
              <a:bodyPr rtlCol="0" anchor="ctr"/>
              <a:lstStyle/>
              <a:p>
                <a:endParaRPr lang="en-GB" dirty="0"/>
              </a:p>
            </p:txBody>
          </p:sp>
          <p:sp>
            <p:nvSpPr>
              <p:cNvPr id="363" name="Freihandform: Form 171">
                <a:extLst>
                  <a:ext uri="{FF2B5EF4-FFF2-40B4-BE49-F238E27FC236}">
                    <a16:creationId xmlns:a16="http://schemas.microsoft.com/office/drawing/2014/main" id="{5B069836-A1B3-421F-B82E-F844D7B8A2A2}"/>
                  </a:ext>
                </a:extLst>
              </p:cNvPr>
              <p:cNvSpPr/>
              <p:nvPr/>
            </p:nvSpPr>
            <p:spPr>
              <a:xfrm>
                <a:off x="2735597" y="2867033"/>
                <a:ext cx="19963" cy="19963"/>
              </a:xfrm>
              <a:custGeom>
                <a:avLst/>
                <a:gdLst>
                  <a:gd name="connsiteX0" fmla="*/ 6480 w 19963"/>
                  <a:gd name="connsiteY0" fmla="*/ 19963 h 19963"/>
                  <a:gd name="connsiteX1" fmla="*/ 1903 w 19963"/>
                  <a:gd name="connsiteY1" fmla="*/ 18061 h 19963"/>
                  <a:gd name="connsiteX2" fmla="*/ 1903 w 19963"/>
                  <a:gd name="connsiteY2" fmla="*/ 8879 h 19963"/>
                  <a:gd name="connsiteX3" fmla="*/ 8879 w 19963"/>
                  <a:gd name="connsiteY3" fmla="*/ 1903 h 19963"/>
                  <a:gd name="connsiteX4" fmla="*/ 18060 w 19963"/>
                  <a:gd name="connsiteY4" fmla="*/ 1903 h 19963"/>
                  <a:gd name="connsiteX5" fmla="*/ 18060 w 19963"/>
                  <a:gd name="connsiteY5" fmla="*/ 11084 h 19963"/>
                  <a:gd name="connsiteX6" fmla="*/ 11084 w 19963"/>
                  <a:gd name="connsiteY6" fmla="*/ 18061 h 19963"/>
                  <a:gd name="connsiteX7" fmla="*/ 6480 w 19963"/>
                  <a:gd name="connsiteY7" fmla="*/ 19963 h 1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963" h="19963">
                    <a:moveTo>
                      <a:pt x="6480" y="19963"/>
                    </a:moveTo>
                    <a:cubicBezTo>
                      <a:pt x="4825" y="19963"/>
                      <a:pt x="3171" y="19329"/>
                      <a:pt x="1903" y="18061"/>
                    </a:cubicBezTo>
                    <a:cubicBezTo>
                      <a:pt x="-634" y="15524"/>
                      <a:pt x="-634" y="11415"/>
                      <a:pt x="1903" y="8879"/>
                    </a:cubicBezTo>
                    <a:lnTo>
                      <a:pt x="8879" y="1903"/>
                    </a:lnTo>
                    <a:cubicBezTo>
                      <a:pt x="11415" y="-634"/>
                      <a:pt x="15524" y="-634"/>
                      <a:pt x="18060" y="1903"/>
                    </a:cubicBezTo>
                    <a:cubicBezTo>
                      <a:pt x="20597" y="4439"/>
                      <a:pt x="20597" y="8548"/>
                      <a:pt x="18060" y="11084"/>
                    </a:cubicBezTo>
                    <a:lnTo>
                      <a:pt x="11084" y="18061"/>
                    </a:lnTo>
                    <a:cubicBezTo>
                      <a:pt x="9788" y="19329"/>
                      <a:pt x="8134" y="19963"/>
                      <a:pt x="6480" y="19963"/>
                    </a:cubicBezTo>
                    <a:close/>
                  </a:path>
                </a:pathLst>
              </a:custGeom>
              <a:grpFill/>
              <a:ln w="2750" cap="flat">
                <a:noFill/>
                <a:prstDash val="solid"/>
                <a:miter/>
              </a:ln>
            </p:spPr>
            <p:txBody>
              <a:bodyPr rtlCol="0" anchor="ctr"/>
              <a:lstStyle/>
              <a:p>
                <a:endParaRPr lang="en-GB" dirty="0"/>
              </a:p>
            </p:txBody>
          </p:sp>
          <p:sp>
            <p:nvSpPr>
              <p:cNvPr id="364" name="Freihandform: Form 172">
                <a:extLst>
                  <a:ext uri="{FF2B5EF4-FFF2-40B4-BE49-F238E27FC236}">
                    <a16:creationId xmlns:a16="http://schemas.microsoft.com/office/drawing/2014/main" id="{D321519D-451F-4B18-A5B0-24A785C5202D}"/>
                  </a:ext>
                </a:extLst>
              </p:cNvPr>
              <p:cNvSpPr/>
              <p:nvPr/>
            </p:nvSpPr>
            <p:spPr>
              <a:xfrm>
                <a:off x="2777509" y="2783238"/>
                <a:ext cx="61874" cy="61846"/>
              </a:xfrm>
              <a:custGeom>
                <a:avLst/>
                <a:gdLst>
                  <a:gd name="connsiteX0" fmla="*/ 48391 w 61874"/>
                  <a:gd name="connsiteY0" fmla="*/ 61847 h 61846"/>
                  <a:gd name="connsiteX1" fmla="*/ 43814 w 61874"/>
                  <a:gd name="connsiteY1" fmla="*/ 59944 h 61846"/>
                  <a:gd name="connsiteX2" fmla="*/ 1903 w 61874"/>
                  <a:gd name="connsiteY2" fmla="*/ 18033 h 61846"/>
                  <a:gd name="connsiteX3" fmla="*/ 0 w 61874"/>
                  <a:gd name="connsiteY3" fmla="*/ 13456 h 61846"/>
                  <a:gd name="connsiteX4" fmla="*/ 1903 w 61874"/>
                  <a:gd name="connsiteY4" fmla="*/ 8879 h 61846"/>
                  <a:gd name="connsiteX5" fmla="*/ 8879 w 61874"/>
                  <a:gd name="connsiteY5" fmla="*/ 1903 h 61846"/>
                  <a:gd name="connsiteX6" fmla="*/ 18060 w 61874"/>
                  <a:gd name="connsiteY6" fmla="*/ 1903 h 61846"/>
                  <a:gd name="connsiteX7" fmla="*/ 18060 w 61874"/>
                  <a:gd name="connsiteY7" fmla="*/ 11084 h 61846"/>
                  <a:gd name="connsiteX8" fmla="*/ 15662 w 61874"/>
                  <a:gd name="connsiteY8" fmla="*/ 13483 h 61846"/>
                  <a:gd name="connsiteX9" fmla="*/ 48391 w 61874"/>
                  <a:gd name="connsiteY9" fmla="*/ 46213 h 61846"/>
                  <a:gd name="connsiteX10" fmla="*/ 50790 w 61874"/>
                  <a:gd name="connsiteY10" fmla="*/ 43814 h 61846"/>
                  <a:gd name="connsiteX11" fmla="*/ 59972 w 61874"/>
                  <a:gd name="connsiteY11" fmla="*/ 43814 h 61846"/>
                  <a:gd name="connsiteX12" fmla="*/ 59972 w 61874"/>
                  <a:gd name="connsiteY12" fmla="*/ 52996 h 61846"/>
                  <a:gd name="connsiteX13" fmla="*/ 52996 w 61874"/>
                  <a:gd name="connsiteY13" fmla="*/ 59972 h 61846"/>
                  <a:gd name="connsiteX14" fmla="*/ 48391 w 61874"/>
                  <a:gd name="connsiteY14" fmla="*/ 61847 h 61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874" h="61846">
                    <a:moveTo>
                      <a:pt x="48391" y="61847"/>
                    </a:moveTo>
                    <a:cubicBezTo>
                      <a:pt x="46737" y="61847"/>
                      <a:pt x="45055" y="61213"/>
                      <a:pt x="43814" y="59944"/>
                    </a:cubicBezTo>
                    <a:lnTo>
                      <a:pt x="1903" y="18033"/>
                    </a:lnTo>
                    <a:cubicBezTo>
                      <a:pt x="689" y="16820"/>
                      <a:pt x="0" y="15165"/>
                      <a:pt x="0" y="13456"/>
                    </a:cubicBezTo>
                    <a:cubicBezTo>
                      <a:pt x="0" y="11746"/>
                      <a:pt x="689" y="10092"/>
                      <a:pt x="1903" y="8879"/>
                    </a:cubicBezTo>
                    <a:lnTo>
                      <a:pt x="8879" y="1903"/>
                    </a:lnTo>
                    <a:cubicBezTo>
                      <a:pt x="11415" y="-634"/>
                      <a:pt x="15524" y="-634"/>
                      <a:pt x="18060" y="1903"/>
                    </a:cubicBezTo>
                    <a:cubicBezTo>
                      <a:pt x="20597" y="4439"/>
                      <a:pt x="20597" y="8548"/>
                      <a:pt x="18060" y="11084"/>
                    </a:cubicBezTo>
                    <a:lnTo>
                      <a:pt x="15662" y="13483"/>
                    </a:lnTo>
                    <a:lnTo>
                      <a:pt x="48391" y="46213"/>
                    </a:lnTo>
                    <a:lnTo>
                      <a:pt x="50790" y="43814"/>
                    </a:lnTo>
                    <a:cubicBezTo>
                      <a:pt x="53327" y="41277"/>
                      <a:pt x="57435" y="41277"/>
                      <a:pt x="59972" y="43814"/>
                    </a:cubicBezTo>
                    <a:cubicBezTo>
                      <a:pt x="62509" y="46351"/>
                      <a:pt x="62509" y="50459"/>
                      <a:pt x="59972" y="52996"/>
                    </a:cubicBezTo>
                    <a:lnTo>
                      <a:pt x="52996" y="59972"/>
                    </a:lnTo>
                    <a:cubicBezTo>
                      <a:pt x="51700" y="61213"/>
                      <a:pt x="50046" y="61847"/>
                      <a:pt x="48391" y="61847"/>
                    </a:cubicBezTo>
                    <a:close/>
                  </a:path>
                </a:pathLst>
              </a:custGeom>
              <a:grpFill/>
              <a:ln w="2750" cap="flat">
                <a:noFill/>
                <a:prstDash val="solid"/>
                <a:miter/>
              </a:ln>
            </p:spPr>
            <p:txBody>
              <a:bodyPr rtlCol="0" anchor="ctr"/>
              <a:lstStyle/>
              <a:p>
                <a:endParaRPr lang="en-GB" dirty="0"/>
              </a:p>
            </p:txBody>
          </p:sp>
          <p:sp>
            <p:nvSpPr>
              <p:cNvPr id="365" name="Freihandform: Form 173">
                <a:extLst>
                  <a:ext uri="{FF2B5EF4-FFF2-40B4-BE49-F238E27FC236}">
                    <a16:creationId xmlns:a16="http://schemas.microsoft.com/office/drawing/2014/main" id="{EDC905DF-2A1D-42F0-97E8-077200F2A379}"/>
                  </a:ext>
                </a:extLst>
              </p:cNvPr>
              <p:cNvSpPr/>
              <p:nvPr/>
            </p:nvSpPr>
            <p:spPr>
              <a:xfrm>
                <a:off x="2736774" y="2807686"/>
                <a:ext cx="43226" cy="22233"/>
              </a:xfrm>
              <a:custGeom>
                <a:avLst/>
                <a:gdLst>
                  <a:gd name="connsiteX0" fmla="*/ 6489 w 43226"/>
                  <a:gd name="connsiteY0" fmla="*/ 22234 h 22233"/>
                  <a:gd name="connsiteX1" fmla="*/ 285 w 43226"/>
                  <a:gd name="connsiteY1" fmla="*/ 17656 h 22233"/>
                  <a:gd name="connsiteX2" fmla="*/ 4587 w 43226"/>
                  <a:gd name="connsiteY2" fmla="*/ 9550 h 22233"/>
                  <a:gd name="connsiteX3" fmla="*/ 34834 w 43226"/>
                  <a:gd name="connsiteY3" fmla="*/ 285 h 22233"/>
                  <a:gd name="connsiteX4" fmla="*/ 42941 w 43226"/>
                  <a:gd name="connsiteY4" fmla="*/ 4587 h 22233"/>
                  <a:gd name="connsiteX5" fmla="*/ 38640 w 43226"/>
                  <a:gd name="connsiteY5" fmla="*/ 12693 h 22233"/>
                  <a:gd name="connsiteX6" fmla="*/ 8392 w 43226"/>
                  <a:gd name="connsiteY6" fmla="*/ 21958 h 22233"/>
                  <a:gd name="connsiteX7" fmla="*/ 6489 w 43226"/>
                  <a:gd name="connsiteY7" fmla="*/ 22234 h 22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26" h="22233">
                    <a:moveTo>
                      <a:pt x="6489" y="22234"/>
                    </a:moveTo>
                    <a:cubicBezTo>
                      <a:pt x="3704" y="22234"/>
                      <a:pt x="1140" y="20441"/>
                      <a:pt x="285" y="17656"/>
                    </a:cubicBezTo>
                    <a:cubicBezTo>
                      <a:pt x="-763" y="14237"/>
                      <a:pt x="1168" y="10598"/>
                      <a:pt x="4587" y="9550"/>
                    </a:cubicBezTo>
                    <a:lnTo>
                      <a:pt x="34834" y="285"/>
                    </a:lnTo>
                    <a:cubicBezTo>
                      <a:pt x="38254" y="-763"/>
                      <a:pt x="41893" y="1167"/>
                      <a:pt x="42941" y="4587"/>
                    </a:cubicBezTo>
                    <a:cubicBezTo>
                      <a:pt x="43989" y="8006"/>
                      <a:pt x="42059" y="11645"/>
                      <a:pt x="38640" y="12693"/>
                    </a:cubicBezTo>
                    <a:lnTo>
                      <a:pt x="8392" y="21958"/>
                    </a:lnTo>
                    <a:cubicBezTo>
                      <a:pt x="7757" y="22151"/>
                      <a:pt x="7123" y="22234"/>
                      <a:pt x="6489" y="22234"/>
                    </a:cubicBezTo>
                    <a:close/>
                  </a:path>
                </a:pathLst>
              </a:custGeom>
              <a:grpFill/>
              <a:ln w="2750" cap="flat">
                <a:noFill/>
                <a:prstDash val="solid"/>
                <a:miter/>
              </a:ln>
            </p:spPr>
            <p:txBody>
              <a:bodyPr rtlCol="0" anchor="ctr"/>
              <a:lstStyle/>
              <a:p>
                <a:endParaRPr lang="en-GB" dirty="0"/>
              </a:p>
            </p:txBody>
          </p:sp>
          <p:sp>
            <p:nvSpPr>
              <p:cNvPr id="366" name="Freihandform: Form 174">
                <a:extLst>
                  <a:ext uri="{FF2B5EF4-FFF2-40B4-BE49-F238E27FC236}">
                    <a16:creationId xmlns:a16="http://schemas.microsoft.com/office/drawing/2014/main" id="{61ACDDDF-AA6A-41BD-BDEA-7F50BCC05BEB}"/>
                  </a:ext>
                </a:extLst>
              </p:cNvPr>
              <p:cNvSpPr/>
              <p:nvPr/>
            </p:nvSpPr>
            <p:spPr>
              <a:xfrm>
                <a:off x="2792665" y="2842621"/>
                <a:ext cx="22270" cy="43189"/>
              </a:xfrm>
              <a:custGeom>
                <a:avLst/>
                <a:gdLst>
                  <a:gd name="connsiteX0" fmla="*/ 6489 w 22270"/>
                  <a:gd name="connsiteY0" fmla="*/ 43189 h 43189"/>
                  <a:gd name="connsiteX1" fmla="*/ 4587 w 22270"/>
                  <a:gd name="connsiteY1" fmla="*/ 42914 h 43189"/>
                  <a:gd name="connsiteX2" fmla="*/ 285 w 22270"/>
                  <a:gd name="connsiteY2" fmla="*/ 34807 h 43189"/>
                  <a:gd name="connsiteX3" fmla="*/ 9577 w 22270"/>
                  <a:gd name="connsiteY3" fmla="*/ 4587 h 43189"/>
                  <a:gd name="connsiteX4" fmla="*/ 17684 w 22270"/>
                  <a:gd name="connsiteY4" fmla="*/ 285 h 43189"/>
                  <a:gd name="connsiteX5" fmla="*/ 21985 w 22270"/>
                  <a:gd name="connsiteY5" fmla="*/ 8392 h 43189"/>
                  <a:gd name="connsiteX6" fmla="*/ 12693 w 22270"/>
                  <a:gd name="connsiteY6" fmla="*/ 38612 h 43189"/>
                  <a:gd name="connsiteX7" fmla="*/ 6489 w 22270"/>
                  <a:gd name="connsiteY7" fmla="*/ 43189 h 4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70" h="43189">
                    <a:moveTo>
                      <a:pt x="6489" y="43189"/>
                    </a:moveTo>
                    <a:cubicBezTo>
                      <a:pt x="5855" y="43189"/>
                      <a:pt x="5221" y="43107"/>
                      <a:pt x="4587" y="42914"/>
                    </a:cubicBezTo>
                    <a:cubicBezTo>
                      <a:pt x="1168" y="41866"/>
                      <a:pt x="-762" y="38226"/>
                      <a:pt x="285" y="34807"/>
                    </a:cubicBezTo>
                    <a:lnTo>
                      <a:pt x="9577" y="4587"/>
                    </a:lnTo>
                    <a:cubicBezTo>
                      <a:pt x="10625" y="1168"/>
                      <a:pt x="14237" y="-763"/>
                      <a:pt x="17684" y="285"/>
                    </a:cubicBezTo>
                    <a:cubicBezTo>
                      <a:pt x="21103" y="1333"/>
                      <a:pt x="23033" y="4973"/>
                      <a:pt x="21985" y="8392"/>
                    </a:cubicBezTo>
                    <a:lnTo>
                      <a:pt x="12693" y="38612"/>
                    </a:lnTo>
                    <a:cubicBezTo>
                      <a:pt x="11838" y="41397"/>
                      <a:pt x="9246" y="43189"/>
                      <a:pt x="6489" y="43189"/>
                    </a:cubicBezTo>
                    <a:close/>
                  </a:path>
                </a:pathLst>
              </a:custGeom>
              <a:grpFill/>
              <a:ln w="2750" cap="flat">
                <a:noFill/>
                <a:prstDash val="solid"/>
                <a:miter/>
              </a:ln>
            </p:spPr>
            <p:txBody>
              <a:bodyPr rtlCol="0" anchor="ctr"/>
              <a:lstStyle/>
              <a:p>
                <a:endParaRPr lang="en-GB" dirty="0"/>
              </a:p>
            </p:txBody>
          </p:sp>
          <p:sp>
            <p:nvSpPr>
              <p:cNvPr id="367" name="Freihandform: Form 175">
                <a:extLst>
                  <a:ext uri="{FF2B5EF4-FFF2-40B4-BE49-F238E27FC236}">
                    <a16:creationId xmlns:a16="http://schemas.microsoft.com/office/drawing/2014/main" id="{200F3A9E-C654-4820-8685-66D01443A5DF}"/>
                  </a:ext>
                </a:extLst>
              </p:cNvPr>
              <p:cNvSpPr/>
              <p:nvPr/>
            </p:nvSpPr>
            <p:spPr>
              <a:xfrm>
                <a:off x="2868280" y="2750205"/>
                <a:ext cx="80927" cy="122811"/>
              </a:xfrm>
              <a:custGeom>
                <a:avLst/>
                <a:gdLst>
                  <a:gd name="connsiteX0" fmla="*/ 48391 w 80927"/>
                  <a:gd name="connsiteY0" fmla="*/ 122812 h 122811"/>
                  <a:gd name="connsiteX1" fmla="*/ 43814 w 80927"/>
                  <a:gd name="connsiteY1" fmla="*/ 120909 h 122811"/>
                  <a:gd name="connsiteX2" fmla="*/ 1903 w 80927"/>
                  <a:gd name="connsiteY2" fmla="*/ 78998 h 122811"/>
                  <a:gd name="connsiteX3" fmla="*/ 0 w 80927"/>
                  <a:gd name="connsiteY3" fmla="*/ 74420 h 122811"/>
                  <a:gd name="connsiteX4" fmla="*/ 1903 w 80927"/>
                  <a:gd name="connsiteY4" fmla="*/ 69843 h 122811"/>
                  <a:gd name="connsiteX5" fmla="*/ 71746 w 80927"/>
                  <a:gd name="connsiteY5" fmla="*/ 0 h 122811"/>
                  <a:gd name="connsiteX6" fmla="*/ 80928 w 80927"/>
                  <a:gd name="connsiteY6" fmla="*/ 9182 h 122811"/>
                  <a:gd name="connsiteX7" fmla="*/ 79439 w 80927"/>
                  <a:gd name="connsiteY7" fmla="*/ 10671 h 122811"/>
                  <a:gd name="connsiteX8" fmla="*/ 78998 w 80927"/>
                  <a:gd name="connsiteY8" fmla="*/ 67306 h 122811"/>
                  <a:gd name="connsiteX9" fmla="*/ 67720 w 80927"/>
                  <a:gd name="connsiteY9" fmla="*/ 106185 h 122811"/>
                  <a:gd name="connsiteX10" fmla="*/ 52968 w 80927"/>
                  <a:gd name="connsiteY10" fmla="*/ 120937 h 122811"/>
                  <a:gd name="connsiteX11" fmla="*/ 48391 w 80927"/>
                  <a:gd name="connsiteY11" fmla="*/ 122812 h 122811"/>
                  <a:gd name="connsiteX12" fmla="*/ 15662 w 80927"/>
                  <a:gd name="connsiteY12" fmla="*/ 74420 h 122811"/>
                  <a:gd name="connsiteX13" fmla="*/ 48391 w 80927"/>
                  <a:gd name="connsiteY13" fmla="*/ 107150 h 122811"/>
                  <a:gd name="connsiteX14" fmla="*/ 58649 w 80927"/>
                  <a:gd name="connsiteY14" fmla="*/ 96865 h 122811"/>
                  <a:gd name="connsiteX15" fmla="*/ 66783 w 80927"/>
                  <a:gd name="connsiteY15" fmla="*/ 71718 h 122811"/>
                  <a:gd name="connsiteX16" fmla="*/ 58869 w 80927"/>
                  <a:gd name="connsiteY16" fmla="*/ 31185 h 122811"/>
                  <a:gd name="connsiteX17" fmla="*/ 15662 w 80927"/>
                  <a:gd name="connsiteY17" fmla="*/ 74420 h 12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927" h="122811">
                    <a:moveTo>
                      <a:pt x="48391" y="122812"/>
                    </a:moveTo>
                    <a:cubicBezTo>
                      <a:pt x="46654" y="122812"/>
                      <a:pt x="45027" y="122122"/>
                      <a:pt x="43814" y="120909"/>
                    </a:cubicBezTo>
                    <a:lnTo>
                      <a:pt x="1903" y="78998"/>
                    </a:lnTo>
                    <a:cubicBezTo>
                      <a:pt x="689" y="77784"/>
                      <a:pt x="0" y="76130"/>
                      <a:pt x="0" y="74420"/>
                    </a:cubicBezTo>
                    <a:cubicBezTo>
                      <a:pt x="0" y="72711"/>
                      <a:pt x="689" y="71056"/>
                      <a:pt x="1903" y="69843"/>
                    </a:cubicBezTo>
                    <a:lnTo>
                      <a:pt x="71746" y="0"/>
                    </a:lnTo>
                    <a:lnTo>
                      <a:pt x="80928" y="9182"/>
                    </a:lnTo>
                    <a:lnTo>
                      <a:pt x="79439" y="10671"/>
                    </a:lnTo>
                    <a:cubicBezTo>
                      <a:pt x="66038" y="24072"/>
                      <a:pt x="73400" y="51921"/>
                      <a:pt x="78998" y="67306"/>
                    </a:cubicBezTo>
                    <a:cubicBezTo>
                      <a:pt x="86525" y="88042"/>
                      <a:pt x="68492" y="105468"/>
                      <a:pt x="67720" y="106185"/>
                    </a:cubicBezTo>
                    <a:lnTo>
                      <a:pt x="52968" y="120937"/>
                    </a:lnTo>
                    <a:cubicBezTo>
                      <a:pt x="51783" y="122150"/>
                      <a:pt x="50128" y="122812"/>
                      <a:pt x="48391" y="122812"/>
                    </a:cubicBezTo>
                    <a:close/>
                    <a:moveTo>
                      <a:pt x="15662" y="74420"/>
                    </a:moveTo>
                    <a:lnTo>
                      <a:pt x="48391" y="107150"/>
                    </a:lnTo>
                    <a:lnTo>
                      <a:pt x="58649" y="96865"/>
                    </a:lnTo>
                    <a:cubicBezTo>
                      <a:pt x="58869" y="96644"/>
                      <a:pt x="71387" y="84402"/>
                      <a:pt x="66783" y="71718"/>
                    </a:cubicBezTo>
                    <a:cubicBezTo>
                      <a:pt x="61185" y="56332"/>
                      <a:pt x="58566" y="42711"/>
                      <a:pt x="58869" y="31185"/>
                    </a:cubicBezTo>
                    <a:lnTo>
                      <a:pt x="15662" y="74420"/>
                    </a:lnTo>
                    <a:close/>
                  </a:path>
                </a:pathLst>
              </a:custGeom>
              <a:grpFill/>
              <a:ln w="2750" cap="flat">
                <a:noFill/>
                <a:prstDash val="solid"/>
                <a:miter/>
              </a:ln>
            </p:spPr>
            <p:txBody>
              <a:bodyPr rtlCol="0" anchor="ctr"/>
              <a:lstStyle/>
              <a:p>
                <a:endParaRPr lang="en-GB" dirty="0"/>
              </a:p>
            </p:txBody>
          </p:sp>
          <p:sp>
            <p:nvSpPr>
              <p:cNvPr id="368" name="Freihandform: Form 176">
                <a:extLst>
                  <a:ext uri="{FF2B5EF4-FFF2-40B4-BE49-F238E27FC236}">
                    <a16:creationId xmlns:a16="http://schemas.microsoft.com/office/drawing/2014/main" id="{7FE6A416-E417-4879-ADB6-368B6970B8F2}"/>
                  </a:ext>
                </a:extLst>
              </p:cNvPr>
              <p:cNvSpPr/>
              <p:nvPr/>
            </p:nvSpPr>
            <p:spPr>
              <a:xfrm>
                <a:off x="2749550" y="2673358"/>
                <a:ext cx="122839" cy="80955"/>
              </a:xfrm>
              <a:custGeom>
                <a:avLst/>
                <a:gdLst>
                  <a:gd name="connsiteX0" fmla="*/ 48391 w 122839"/>
                  <a:gd name="connsiteY0" fmla="*/ 80955 h 80955"/>
                  <a:gd name="connsiteX1" fmla="*/ 48391 w 122839"/>
                  <a:gd name="connsiteY1" fmla="*/ 80955 h 80955"/>
                  <a:gd name="connsiteX2" fmla="*/ 43814 w 122839"/>
                  <a:gd name="connsiteY2" fmla="*/ 79053 h 80955"/>
                  <a:gd name="connsiteX3" fmla="*/ 1903 w 122839"/>
                  <a:gd name="connsiteY3" fmla="*/ 37141 h 80955"/>
                  <a:gd name="connsiteX4" fmla="*/ 1903 w 122839"/>
                  <a:gd name="connsiteY4" fmla="*/ 27959 h 80955"/>
                  <a:gd name="connsiteX5" fmla="*/ 16765 w 122839"/>
                  <a:gd name="connsiteY5" fmla="*/ 13097 h 80955"/>
                  <a:gd name="connsiteX6" fmla="*/ 55533 w 122839"/>
                  <a:gd name="connsiteY6" fmla="*/ 1930 h 80955"/>
                  <a:gd name="connsiteX7" fmla="*/ 112168 w 122839"/>
                  <a:gd name="connsiteY7" fmla="*/ 1489 h 80955"/>
                  <a:gd name="connsiteX8" fmla="*/ 113657 w 122839"/>
                  <a:gd name="connsiteY8" fmla="*/ 0 h 80955"/>
                  <a:gd name="connsiteX9" fmla="*/ 122839 w 122839"/>
                  <a:gd name="connsiteY9" fmla="*/ 9182 h 80955"/>
                  <a:gd name="connsiteX10" fmla="*/ 52996 w 122839"/>
                  <a:gd name="connsiteY10" fmla="*/ 79025 h 80955"/>
                  <a:gd name="connsiteX11" fmla="*/ 48391 w 122839"/>
                  <a:gd name="connsiteY11" fmla="*/ 80955 h 80955"/>
                  <a:gd name="connsiteX12" fmla="*/ 15689 w 122839"/>
                  <a:gd name="connsiteY12" fmla="*/ 32536 h 80955"/>
                  <a:gd name="connsiteX13" fmla="*/ 48419 w 122839"/>
                  <a:gd name="connsiteY13" fmla="*/ 65266 h 80955"/>
                  <a:gd name="connsiteX14" fmla="*/ 91654 w 122839"/>
                  <a:gd name="connsiteY14" fmla="*/ 22031 h 80955"/>
                  <a:gd name="connsiteX15" fmla="*/ 51149 w 122839"/>
                  <a:gd name="connsiteY15" fmla="*/ 14118 h 80955"/>
                  <a:gd name="connsiteX16" fmla="*/ 26112 w 122839"/>
                  <a:gd name="connsiteY16" fmla="*/ 22141 h 80955"/>
                  <a:gd name="connsiteX17" fmla="*/ 15689 w 122839"/>
                  <a:gd name="connsiteY17" fmla="*/ 32536 h 8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839" h="80955">
                    <a:moveTo>
                      <a:pt x="48391" y="80955"/>
                    </a:moveTo>
                    <a:lnTo>
                      <a:pt x="48391" y="80955"/>
                    </a:lnTo>
                    <a:cubicBezTo>
                      <a:pt x="46654" y="80955"/>
                      <a:pt x="45027" y="80266"/>
                      <a:pt x="43814" y="79053"/>
                    </a:cubicBezTo>
                    <a:lnTo>
                      <a:pt x="1903" y="37141"/>
                    </a:lnTo>
                    <a:cubicBezTo>
                      <a:pt x="-634" y="34604"/>
                      <a:pt x="-634" y="30496"/>
                      <a:pt x="1903" y="27959"/>
                    </a:cubicBezTo>
                    <a:lnTo>
                      <a:pt x="16765" y="13097"/>
                    </a:lnTo>
                    <a:cubicBezTo>
                      <a:pt x="17371" y="12436"/>
                      <a:pt x="34797" y="-5597"/>
                      <a:pt x="55533" y="1930"/>
                    </a:cubicBezTo>
                    <a:cubicBezTo>
                      <a:pt x="70919" y="7527"/>
                      <a:pt x="98740" y="14890"/>
                      <a:pt x="112168" y="1489"/>
                    </a:cubicBezTo>
                    <a:lnTo>
                      <a:pt x="113657" y="0"/>
                    </a:lnTo>
                    <a:lnTo>
                      <a:pt x="122839" y="9182"/>
                    </a:lnTo>
                    <a:lnTo>
                      <a:pt x="52996" y="79025"/>
                    </a:lnTo>
                    <a:cubicBezTo>
                      <a:pt x="51783" y="80266"/>
                      <a:pt x="50128" y="80955"/>
                      <a:pt x="48391" y="80955"/>
                    </a:cubicBezTo>
                    <a:close/>
                    <a:moveTo>
                      <a:pt x="15689" y="32536"/>
                    </a:moveTo>
                    <a:lnTo>
                      <a:pt x="48419" y="65266"/>
                    </a:lnTo>
                    <a:lnTo>
                      <a:pt x="91654" y="22031"/>
                    </a:lnTo>
                    <a:cubicBezTo>
                      <a:pt x="80018" y="22334"/>
                      <a:pt x="66534" y="19715"/>
                      <a:pt x="51149" y="14118"/>
                    </a:cubicBezTo>
                    <a:cubicBezTo>
                      <a:pt x="38355" y="9458"/>
                      <a:pt x="26222" y="22003"/>
                      <a:pt x="26112" y="22141"/>
                    </a:cubicBezTo>
                    <a:lnTo>
                      <a:pt x="15689" y="32536"/>
                    </a:lnTo>
                    <a:close/>
                  </a:path>
                </a:pathLst>
              </a:custGeom>
              <a:grpFill/>
              <a:ln w="2750" cap="flat">
                <a:noFill/>
                <a:prstDash val="solid"/>
                <a:miter/>
              </a:ln>
            </p:spPr>
            <p:txBody>
              <a:bodyPr rtlCol="0" anchor="ctr"/>
              <a:lstStyle/>
              <a:p>
                <a:endParaRPr lang="en-GB" dirty="0"/>
              </a:p>
            </p:txBody>
          </p:sp>
        </p:grpSp>
        <p:grpSp>
          <p:nvGrpSpPr>
            <p:cNvPr id="342" name="Grafik 330">
              <a:extLst>
                <a:ext uri="{FF2B5EF4-FFF2-40B4-BE49-F238E27FC236}">
                  <a16:creationId xmlns:a16="http://schemas.microsoft.com/office/drawing/2014/main" id="{3129DEFB-6533-4C1E-9E60-0C24F3C9A16C}"/>
                </a:ext>
              </a:extLst>
            </p:cNvPr>
            <p:cNvGrpSpPr/>
            <p:nvPr/>
          </p:nvGrpSpPr>
          <p:grpSpPr>
            <a:xfrm>
              <a:off x="2640296" y="4040086"/>
              <a:ext cx="352254" cy="373356"/>
              <a:chOff x="2537897" y="2463498"/>
              <a:chExt cx="345321" cy="366008"/>
            </a:xfrm>
            <a:solidFill>
              <a:schemeClr val="accent1"/>
            </a:solidFill>
          </p:grpSpPr>
          <p:grpSp>
            <p:nvGrpSpPr>
              <p:cNvPr id="343" name="Grafik 330">
                <a:extLst>
                  <a:ext uri="{FF2B5EF4-FFF2-40B4-BE49-F238E27FC236}">
                    <a16:creationId xmlns:a16="http://schemas.microsoft.com/office/drawing/2014/main" id="{8785277D-37D9-4F3A-AF20-EA4E30F2C4FB}"/>
                  </a:ext>
                </a:extLst>
              </p:cNvPr>
              <p:cNvGrpSpPr/>
              <p:nvPr/>
            </p:nvGrpSpPr>
            <p:grpSpPr>
              <a:xfrm>
                <a:off x="2537897" y="2463498"/>
                <a:ext cx="181101" cy="366008"/>
                <a:chOff x="2537897" y="2463498"/>
                <a:chExt cx="181101" cy="366008"/>
              </a:xfrm>
              <a:solidFill>
                <a:schemeClr val="accent1"/>
              </a:solidFill>
            </p:grpSpPr>
            <p:sp>
              <p:nvSpPr>
                <p:cNvPr id="350" name="Freihandform: Form 179">
                  <a:extLst>
                    <a:ext uri="{FF2B5EF4-FFF2-40B4-BE49-F238E27FC236}">
                      <a16:creationId xmlns:a16="http://schemas.microsoft.com/office/drawing/2014/main" id="{C28E6377-AD7E-435D-B575-C5FBAC38F15A}"/>
                    </a:ext>
                  </a:extLst>
                </p:cNvPr>
                <p:cNvSpPr/>
                <p:nvPr/>
              </p:nvSpPr>
              <p:spPr>
                <a:xfrm>
                  <a:off x="2537897" y="2463498"/>
                  <a:ext cx="181101" cy="366008"/>
                </a:xfrm>
                <a:custGeom>
                  <a:avLst/>
                  <a:gdLst>
                    <a:gd name="connsiteX0" fmla="*/ 126562 w 181101"/>
                    <a:gd name="connsiteY0" fmla="*/ 366008 h 366008"/>
                    <a:gd name="connsiteX1" fmla="*/ 72104 w 181101"/>
                    <a:gd name="connsiteY1" fmla="*/ 318527 h 366008"/>
                    <a:gd name="connsiteX2" fmla="*/ 72132 w 181101"/>
                    <a:gd name="connsiteY2" fmla="*/ 317314 h 366008"/>
                    <a:gd name="connsiteX3" fmla="*/ 31075 w 181101"/>
                    <a:gd name="connsiteY3" fmla="*/ 260265 h 366008"/>
                    <a:gd name="connsiteX4" fmla="*/ 33446 w 181101"/>
                    <a:gd name="connsiteY4" fmla="*/ 244355 h 366008"/>
                    <a:gd name="connsiteX5" fmla="*/ 0 w 181101"/>
                    <a:gd name="connsiteY5" fmla="*/ 180550 h 366008"/>
                    <a:gd name="connsiteX6" fmla="*/ 35514 w 181101"/>
                    <a:gd name="connsiteY6" fmla="*/ 115505 h 366008"/>
                    <a:gd name="connsiteX7" fmla="*/ 34605 w 181101"/>
                    <a:gd name="connsiteY7" fmla="*/ 105744 h 366008"/>
                    <a:gd name="connsiteX8" fmla="*/ 72242 w 181101"/>
                    <a:gd name="connsiteY8" fmla="*/ 50294 h 366008"/>
                    <a:gd name="connsiteX9" fmla="*/ 72132 w 181101"/>
                    <a:gd name="connsiteY9" fmla="*/ 47481 h 366008"/>
                    <a:gd name="connsiteX10" fmla="*/ 126589 w 181101"/>
                    <a:gd name="connsiteY10" fmla="*/ 0 h 366008"/>
                    <a:gd name="connsiteX11" fmla="*/ 181047 w 181101"/>
                    <a:gd name="connsiteY11" fmla="*/ 47481 h 366008"/>
                    <a:gd name="connsiteX12" fmla="*/ 181047 w 181101"/>
                    <a:gd name="connsiteY12" fmla="*/ 111176 h 366008"/>
                    <a:gd name="connsiteX13" fmla="*/ 174953 w 181101"/>
                    <a:gd name="connsiteY13" fmla="*/ 131387 h 366008"/>
                    <a:gd name="connsiteX14" fmla="*/ 170679 w 181101"/>
                    <a:gd name="connsiteY14" fmla="*/ 137784 h 366008"/>
                    <a:gd name="connsiteX15" fmla="*/ 171947 w 181101"/>
                    <a:gd name="connsiteY15" fmla="*/ 151653 h 366008"/>
                    <a:gd name="connsiteX16" fmla="*/ 173023 w 181101"/>
                    <a:gd name="connsiteY16" fmla="*/ 152756 h 366008"/>
                    <a:gd name="connsiteX17" fmla="*/ 181074 w 181101"/>
                    <a:gd name="connsiteY17" fmla="*/ 172637 h 366008"/>
                    <a:gd name="connsiteX18" fmla="*/ 181074 w 181101"/>
                    <a:gd name="connsiteY18" fmla="*/ 252627 h 366008"/>
                    <a:gd name="connsiteX19" fmla="*/ 176580 w 181101"/>
                    <a:gd name="connsiteY19" fmla="*/ 267820 h 366008"/>
                    <a:gd name="connsiteX20" fmla="*/ 176166 w 181101"/>
                    <a:gd name="connsiteY20" fmla="*/ 282902 h 366008"/>
                    <a:gd name="connsiteX21" fmla="*/ 177434 w 181101"/>
                    <a:gd name="connsiteY21" fmla="*/ 285108 h 366008"/>
                    <a:gd name="connsiteX22" fmla="*/ 181102 w 181101"/>
                    <a:gd name="connsiteY22" fmla="*/ 298922 h 366008"/>
                    <a:gd name="connsiteX23" fmla="*/ 181102 w 181101"/>
                    <a:gd name="connsiteY23" fmla="*/ 318555 h 366008"/>
                    <a:gd name="connsiteX24" fmla="*/ 126562 w 181101"/>
                    <a:gd name="connsiteY24" fmla="*/ 366008 h 366008"/>
                    <a:gd name="connsiteX25" fmla="*/ 126562 w 181101"/>
                    <a:gd name="connsiteY25" fmla="*/ 13042 h 366008"/>
                    <a:gd name="connsiteX26" fmla="*/ 85091 w 181101"/>
                    <a:gd name="connsiteY26" fmla="*/ 47536 h 366008"/>
                    <a:gd name="connsiteX27" fmla="*/ 85670 w 181101"/>
                    <a:gd name="connsiteY27" fmla="*/ 53051 h 366008"/>
                    <a:gd name="connsiteX28" fmla="*/ 81727 w 181101"/>
                    <a:gd name="connsiteY28" fmla="*/ 60303 h 366008"/>
                    <a:gd name="connsiteX29" fmla="*/ 47537 w 181101"/>
                    <a:gd name="connsiteY29" fmla="*/ 105771 h 366008"/>
                    <a:gd name="connsiteX30" fmla="*/ 49108 w 181101"/>
                    <a:gd name="connsiteY30" fmla="*/ 117049 h 366008"/>
                    <a:gd name="connsiteX31" fmla="*/ 45937 w 181101"/>
                    <a:gd name="connsiteY31" fmla="*/ 124466 h 366008"/>
                    <a:gd name="connsiteX32" fmla="*/ 12932 w 181101"/>
                    <a:gd name="connsiteY32" fmla="*/ 180605 h 366008"/>
                    <a:gd name="connsiteX33" fmla="*/ 44476 w 181101"/>
                    <a:gd name="connsiteY33" fmla="*/ 235973 h 366008"/>
                    <a:gd name="connsiteX34" fmla="*/ 47288 w 181101"/>
                    <a:gd name="connsiteY34" fmla="*/ 244052 h 366008"/>
                    <a:gd name="connsiteX35" fmla="*/ 44035 w 181101"/>
                    <a:gd name="connsiteY35" fmla="*/ 260292 h 366008"/>
                    <a:gd name="connsiteX36" fmla="*/ 81203 w 181101"/>
                    <a:gd name="connsiteY36" fmla="*/ 306919 h 366008"/>
                    <a:gd name="connsiteX37" fmla="*/ 85477 w 181101"/>
                    <a:gd name="connsiteY37" fmla="*/ 314060 h 366008"/>
                    <a:gd name="connsiteX38" fmla="*/ 85091 w 181101"/>
                    <a:gd name="connsiteY38" fmla="*/ 318527 h 366008"/>
                    <a:gd name="connsiteX39" fmla="*/ 126562 w 181101"/>
                    <a:gd name="connsiteY39" fmla="*/ 353021 h 366008"/>
                    <a:gd name="connsiteX40" fmla="*/ 168032 w 181101"/>
                    <a:gd name="connsiteY40" fmla="*/ 318527 h 366008"/>
                    <a:gd name="connsiteX41" fmla="*/ 168032 w 181101"/>
                    <a:gd name="connsiteY41" fmla="*/ 298895 h 366008"/>
                    <a:gd name="connsiteX42" fmla="*/ 166074 w 181101"/>
                    <a:gd name="connsiteY42" fmla="*/ 291533 h 366008"/>
                    <a:gd name="connsiteX43" fmla="*/ 164806 w 181101"/>
                    <a:gd name="connsiteY43" fmla="*/ 289327 h 366008"/>
                    <a:gd name="connsiteX44" fmla="*/ 165633 w 181101"/>
                    <a:gd name="connsiteY44" fmla="*/ 260733 h 366008"/>
                    <a:gd name="connsiteX45" fmla="*/ 168004 w 181101"/>
                    <a:gd name="connsiteY45" fmla="*/ 252627 h 366008"/>
                    <a:gd name="connsiteX46" fmla="*/ 168004 w 181101"/>
                    <a:gd name="connsiteY46" fmla="*/ 172637 h 366008"/>
                    <a:gd name="connsiteX47" fmla="*/ 163648 w 181101"/>
                    <a:gd name="connsiteY47" fmla="*/ 161828 h 366008"/>
                    <a:gd name="connsiteX48" fmla="*/ 162572 w 181101"/>
                    <a:gd name="connsiteY48" fmla="*/ 160725 h 366008"/>
                    <a:gd name="connsiteX49" fmla="*/ 159815 w 181101"/>
                    <a:gd name="connsiteY49" fmla="*/ 130587 h 366008"/>
                    <a:gd name="connsiteX50" fmla="*/ 164089 w 181101"/>
                    <a:gd name="connsiteY50" fmla="*/ 124190 h 366008"/>
                    <a:gd name="connsiteX51" fmla="*/ 168004 w 181101"/>
                    <a:gd name="connsiteY51" fmla="*/ 111176 h 366008"/>
                    <a:gd name="connsiteX52" fmla="*/ 168004 w 181101"/>
                    <a:gd name="connsiteY52" fmla="*/ 47481 h 366008"/>
                    <a:gd name="connsiteX53" fmla="*/ 126562 w 181101"/>
                    <a:gd name="connsiteY53" fmla="*/ 13042 h 366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81101" h="366008">
                      <a:moveTo>
                        <a:pt x="126562" y="366008"/>
                      </a:moveTo>
                      <a:cubicBezTo>
                        <a:pt x="96534" y="366008"/>
                        <a:pt x="72104" y="344722"/>
                        <a:pt x="72104" y="318527"/>
                      </a:cubicBezTo>
                      <a:cubicBezTo>
                        <a:pt x="72104" y="318141"/>
                        <a:pt x="72104" y="317727"/>
                        <a:pt x="72132" y="317314"/>
                      </a:cubicBezTo>
                      <a:cubicBezTo>
                        <a:pt x="47013" y="306698"/>
                        <a:pt x="31075" y="284777"/>
                        <a:pt x="31075" y="260265"/>
                      </a:cubicBezTo>
                      <a:cubicBezTo>
                        <a:pt x="31075" y="254915"/>
                        <a:pt x="31875" y="249594"/>
                        <a:pt x="33446" y="244355"/>
                      </a:cubicBezTo>
                      <a:cubicBezTo>
                        <a:pt x="12105" y="230210"/>
                        <a:pt x="0" y="207269"/>
                        <a:pt x="0" y="180550"/>
                      </a:cubicBezTo>
                      <a:cubicBezTo>
                        <a:pt x="0" y="153032"/>
                        <a:pt x="12877" y="129595"/>
                        <a:pt x="35514" y="115505"/>
                      </a:cubicBezTo>
                      <a:cubicBezTo>
                        <a:pt x="34908" y="112223"/>
                        <a:pt x="34605" y="108942"/>
                        <a:pt x="34605" y="105744"/>
                      </a:cubicBezTo>
                      <a:cubicBezTo>
                        <a:pt x="34605" y="82720"/>
                        <a:pt x="49218" y="61433"/>
                        <a:pt x="72242" y="50294"/>
                      </a:cubicBezTo>
                      <a:cubicBezTo>
                        <a:pt x="72160" y="49356"/>
                        <a:pt x="72132" y="48419"/>
                        <a:pt x="72132" y="47481"/>
                      </a:cubicBezTo>
                      <a:cubicBezTo>
                        <a:pt x="72132" y="21314"/>
                        <a:pt x="96562" y="0"/>
                        <a:pt x="126589" y="0"/>
                      </a:cubicBezTo>
                      <a:cubicBezTo>
                        <a:pt x="156617" y="0"/>
                        <a:pt x="181047" y="21287"/>
                        <a:pt x="181047" y="47481"/>
                      </a:cubicBezTo>
                      <a:lnTo>
                        <a:pt x="181047" y="111176"/>
                      </a:lnTo>
                      <a:cubicBezTo>
                        <a:pt x="181047" y="118427"/>
                        <a:pt x="178923" y="125404"/>
                        <a:pt x="174953" y="131387"/>
                      </a:cubicBezTo>
                      <a:lnTo>
                        <a:pt x="170679" y="137784"/>
                      </a:lnTo>
                      <a:cubicBezTo>
                        <a:pt x="167784" y="142113"/>
                        <a:pt x="168308" y="147931"/>
                        <a:pt x="171947" y="151653"/>
                      </a:cubicBezTo>
                      <a:lnTo>
                        <a:pt x="173023" y="152756"/>
                      </a:lnTo>
                      <a:cubicBezTo>
                        <a:pt x="178206" y="158078"/>
                        <a:pt x="181074" y="165137"/>
                        <a:pt x="181074" y="172637"/>
                      </a:cubicBezTo>
                      <a:lnTo>
                        <a:pt x="181074" y="252627"/>
                      </a:lnTo>
                      <a:cubicBezTo>
                        <a:pt x="181074" y="258059"/>
                        <a:pt x="179530" y="263298"/>
                        <a:pt x="176580" y="267820"/>
                      </a:cubicBezTo>
                      <a:cubicBezTo>
                        <a:pt x="173657" y="272314"/>
                        <a:pt x="173491" y="278215"/>
                        <a:pt x="176166" y="282902"/>
                      </a:cubicBezTo>
                      <a:lnTo>
                        <a:pt x="177434" y="285108"/>
                      </a:lnTo>
                      <a:cubicBezTo>
                        <a:pt x="179833" y="289299"/>
                        <a:pt x="181102" y="294070"/>
                        <a:pt x="181102" y="298922"/>
                      </a:cubicBezTo>
                      <a:lnTo>
                        <a:pt x="181102" y="318555"/>
                      </a:lnTo>
                      <a:cubicBezTo>
                        <a:pt x="181019" y="344722"/>
                        <a:pt x="156589" y="366008"/>
                        <a:pt x="126562" y="366008"/>
                      </a:cubicBezTo>
                      <a:close/>
                      <a:moveTo>
                        <a:pt x="126562" y="13042"/>
                      </a:moveTo>
                      <a:cubicBezTo>
                        <a:pt x="103676" y="13042"/>
                        <a:pt x="85091" y="28511"/>
                        <a:pt x="85091" y="47536"/>
                      </a:cubicBezTo>
                      <a:cubicBezTo>
                        <a:pt x="85091" y="49218"/>
                        <a:pt x="85284" y="51011"/>
                        <a:pt x="85670" y="53051"/>
                      </a:cubicBezTo>
                      <a:cubicBezTo>
                        <a:pt x="86277" y="56112"/>
                        <a:pt x="84623" y="59145"/>
                        <a:pt x="81727" y="60303"/>
                      </a:cubicBezTo>
                      <a:cubicBezTo>
                        <a:pt x="60965" y="68713"/>
                        <a:pt x="47537" y="86553"/>
                        <a:pt x="47537" y="105771"/>
                      </a:cubicBezTo>
                      <a:cubicBezTo>
                        <a:pt x="47537" y="109411"/>
                        <a:pt x="48060" y="113216"/>
                        <a:pt x="49108" y="117049"/>
                      </a:cubicBezTo>
                      <a:cubicBezTo>
                        <a:pt x="49908" y="119972"/>
                        <a:pt x="48584" y="123032"/>
                        <a:pt x="45937" y="124466"/>
                      </a:cubicBezTo>
                      <a:cubicBezTo>
                        <a:pt x="24651" y="136019"/>
                        <a:pt x="12932" y="155955"/>
                        <a:pt x="12932" y="180605"/>
                      </a:cubicBezTo>
                      <a:cubicBezTo>
                        <a:pt x="12932" y="204732"/>
                        <a:pt x="24127" y="224392"/>
                        <a:pt x="44476" y="235973"/>
                      </a:cubicBezTo>
                      <a:cubicBezTo>
                        <a:pt x="47316" y="237572"/>
                        <a:pt x="48502" y="241046"/>
                        <a:pt x="47288" y="244052"/>
                      </a:cubicBezTo>
                      <a:cubicBezTo>
                        <a:pt x="45110" y="249373"/>
                        <a:pt x="44035" y="254833"/>
                        <a:pt x="44035" y="260292"/>
                      </a:cubicBezTo>
                      <a:cubicBezTo>
                        <a:pt x="44035" y="280752"/>
                        <a:pt x="58621" y="299060"/>
                        <a:pt x="81203" y="306919"/>
                      </a:cubicBezTo>
                      <a:cubicBezTo>
                        <a:pt x="84181" y="307966"/>
                        <a:pt x="85974" y="310972"/>
                        <a:pt x="85477" y="314060"/>
                      </a:cubicBezTo>
                      <a:cubicBezTo>
                        <a:pt x="85257" y="315522"/>
                        <a:pt x="85091" y="317011"/>
                        <a:pt x="85091" y="318527"/>
                      </a:cubicBezTo>
                      <a:cubicBezTo>
                        <a:pt x="85091" y="337553"/>
                        <a:pt x="103703" y="353021"/>
                        <a:pt x="126562" y="353021"/>
                      </a:cubicBezTo>
                      <a:cubicBezTo>
                        <a:pt x="149447" y="353021"/>
                        <a:pt x="168032" y="337553"/>
                        <a:pt x="168032" y="318527"/>
                      </a:cubicBezTo>
                      <a:lnTo>
                        <a:pt x="168032" y="298895"/>
                      </a:lnTo>
                      <a:cubicBezTo>
                        <a:pt x="168032" y="296303"/>
                        <a:pt x="167370" y="293739"/>
                        <a:pt x="166074" y="291533"/>
                      </a:cubicBezTo>
                      <a:lnTo>
                        <a:pt x="164806" y="289327"/>
                      </a:lnTo>
                      <a:cubicBezTo>
                        <a:pt x="159677" y="280338"/>
                        <a:pt x="159980" y="269391"/>
                        <a:pt x="165633" y="260733"/>
                      </a:cubicBezTo>
                      <a:cubicBezTo>
                        <a:pt x="167205" y="258334"/>
                        <a:pt x="168004" y="255522"/>
                        <a:pt x="168004" y="252627"/>
                      </a:cubicBezTo>
                      <a:lnTo>
                        <a:pt x="168004" y="172637"/>
                      </a:lnTo>
                      <a:cubicBezTo>
                        <a:pt x="168004" y="168611"/>
                        <a:pt x="166433" y="164668"/>
                        <a:pt x="163648" y="161828"/>
                      </a:cubicBezTo>
                      <a:lnTo>
                        <a:pt x="162572" y="160725"/>
                      </a:lnTo>
                      <a:cubicBezTo>
                        <a:pt x="154686" y="152673"/>
                        <a:pt x="153528" y="139990"/>
                        <a:pt x="159815" y="130587"/>
                      </a:cubicBezTo>
                      <a:lnTo>
                        <a:pt x="164089" y="124190"/>
                      </a:lnTo>
                      <a:cubicBezTo>
                        <a:pt x="166653" y="120358"/>
                        <a:pt x="168004" y="115863"/>
                        <a:pt x="168004" y="111176"/>
                      </a:cubicBezTo>
                      <a:lnTo>
                        <a:pt x="168004" y="47481"/>
                      </a:lnTo>
                      <a:cubicBezTo>
                        <a:pt x="168032" y="28511"/>
                        <a:pt x="149420" y="13042"/>
                        <a:pt x="126562" y="13042"/>
                      </a:cubicBezTo>
                      <a:close/>
                    </a:path>
                  </a:pathLst>
                </a:custGeom>
                <a:solidFill>
                  <a:schemeClr val="accent1"/>
                </a:solidFill>
                <a:ln w="2750" cap="flat">
                  <a:noFill/>
                  <a:prstDash val="solid"/>
                  <a:miter/>
                </a:ln>
              </p:spPr>
              <p:txBody>
                <a:bodyPr rtlCol="0" anchor="ctr"/>
                <a:lstStyle/>
                <a:p>
                  <a:endParaRPr lang="en-GB" dirty="0"/>
                </a:p>
              </p:txBody>
            </p:sp>
            <p:sp>
              <p:nvSpPr>
                <p:cNvPr id="351" name="Freihandform: Form 180">
                  <a:extLst>
                    <a:ext uri="{FF2B5EF4-FFF2-40B4-BE49-F238E27FC236}">
                      <a16:creationId xmlns:a16="http://schemas.microsoft.com/office/drawing/2014/main" id="{2724509B-2A85-41DA-95CC-686B989C8FCC}"/>
                    </a:ext>
                  </a:extLst>
                </p:cNvPr>
                <p:cNvSpPr/>
                <p:nvPr/>
              </p:nvSpPr>
              <p:spPr>
                <a:xfrm>
                  <a:off x="2610718" y="2511310"/>
                  <a:ext cx="23258" cy="37417"/>
                </a:xfrm>
                <a:custGeom>
                  <a:avLst/>
                  <a:gdLst>
                    <a:gd name="connsiteX0" fmla="*/ 16765 w 23258"/>
                    <a:gd name="connsiteY0" fmla="*/ 37417 h 37417"/>
                    <a:gd name="connsiteX1" fmla="*/ 11884 w 23258"/>
                    <a:gd name="connsiteY1" fmla="*/ 35211 h 37417"/>
                    <a:gd name="connsiteX2" fmla="*/ 0 w 23258"/>
                    <a:gd name="connsiteY2" fmla="*/ 6480 h 37417"/>
                    <a:gd name="connsiteX3" fmla="*/ 6480 w 23258"/>
                    <a:gd name="connsiteY3" fmla="*/ 0 h 37417"/>
                    <a:gd name="connsiteX4" fmla="*/ 12959 w 23258"/>
                    <a:gd name="connsiteY4" fmla="*/ 6480 h 37417"/>
                    <a:gd name="connsiteX5" fmla="*/ 21645 w 23258"/>
                    <a:gd name="connsiteY5" fmla="*/ 26663 h 37417"/>
                    <a:gd name="connsiteX6" fmla="*/ 21038 w 23258"/>
                    <a:gd name="connsiteY6" fmla="*/ 35818 h 37417"/>
                    <a:gd name="connsiteX7" fmla="*/ 16765 w 23258"/>
                    <a:gd name="connsiteY7" fmla="*/ 37417 h 3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58" h="37417">
                      <a:moveTo>
                        <a:pt x="16765" y="37417"/>
                      </a:moveTo>
                      <a:cubicBezTo>
                        <a:pt x="14945" y="37417"/>
                        <a:pt x="13153" y="36673"/>
                        <a:pt x="11884" y="35211"/>
                      </a:cubicBezTo>
                      <a:cubicBezTo>
                        <a:pt x="3998" y="26195"/>
                        <a:pt x="0" y="16516"/>
                        <a:pt x="0" y="6480"/>
                      </a:cubicBezTo>
                      <a:cubicBezTo>
                        <a:pt x="0" y="2895"/>
                        <a:pt x="2895" y="0"/>
                        <a:pt x="6480" y="0"/>
                      </a:cubicBezTo>
                      <a:cubicBezTo>
                        <a:pt x="10064" y="0"/>
                        <a:pt x="12959" y="2895"/>
                        <a:pt x="12959" y="6480"/>
                      </a:cubicBezTo>
                      <a:cubicBezTo>
                        <a:pt x="12959" y="13373"/>
                        <a:pt x="15799" y="19991"/>
                        <a:pt x="21645" y="26663"/>
                      </a:cubicBezTo>
                      <a:cubicBezTo>
                        <a:pt x="24016" y="29366"/>
                        <a:pt x="23741" y="33474"/>
                        <a:pt x="21038" y="35818"/>
                      </a:cubicBezTo>
                      <a:cubicBezTo>
                        <a:pt x="19798" y="36893"/>
                        <a:pt x="18281" y="37417"/>
                        <a:pt x="16765" y="37417"/>
                      </a:cubicBezTo>
                      <a:close/>
                    </a:path>
                  </a:pathLst>
                </a:custGeom>
                <a:solidFill>
                  <a:schemeClr val="accent1"/>
                </a:solidFill>
                <a:ln w="2750" cap="flat">
                  <a:noFill/>
                  <a:prstDash val="solid"/>
                  <a:miter/>
                </a:ln>
              </p:spPr>
              <p:txBody>
                <a:bodyPr rtlCol="0" anchor="ctr"/>
                <a:lstStyle/>
                <a:p>
                  <a:endParaRPr lang="en-GB" dirty="0"/>
                </a:p>
              </p:txBody>
            </p:sp>
            <p:sp>
              <p:nvSpPr>
                <p:cNvPr id="352" name="Freihandform: Form 181">
                  <a:extLst>
                    <a:ext uri="{FF2B5EF4-FFF2-40B4-BE49-F238E27FC236}">
                      <a16:creationId xmlns:a16="http://schemas.microsoft.com/office/drawing/2014/main" id="{F2BE18B9-2F51-4850-814A-5273333671BC}"/>
                    </a:ext>
                  </a:extLst>
                </p:cNvPr>
                <p:cNvSpPr/>
                <p:nvPr/>
              </p:nvSpPr>
              <p:spPr>
                <a:xfrm>
                  <a:off x="2560796" y="2571557"/>
                  <a:ext cx="75040" cy="26580"/>
                </a:xfrm>
                <a:custGeom>
                  <a:avLst/>
                  <a:gdLst>
                    <a:gd name="connsiteX0" fmla="*/ 6494 w 75040"/>
                    <a:gd name="connsiteY0" fmla="*/ 26581 h 26580"/>
                    <a:gd name="connsiteX1" fmla="*/ 1366 w 75040"/>
                    <a:gd name="connsiteY1" fmla="*/ 24072 h 26580"/>
                    <a:gd name="connsiteX2" fmla="*/ 2524 w 75040"/>
                    <a:gd name="connsiteY2" fmla="*/ 14972 h 26580"/>
                    <a:gd name="connsiteX3" fmla="*/ 44683 w 75040"/>
                    <a:gd name="connsiteY3" fmla="*/ 0 h 26580"/>
                    <a:gd name="connsiteX4" fmla="*/ 62771 w 75040"/>
                    <a:gd name="connsiteY4" fmla="*/ 2399 h 26580"/>
                    <a:gd name="connsiteX5" fmla="*/ 71016 w 75040"/>
                    <a:gd name="connsiteY5" fmla="*/ 5184 h 26580"/>
                    <a:gd name="connsiteX6" fmla="*/ 74545 w 75040"/>
                    <a:gd name="connsiteY6" fmla="*/ 13649 h 26580"/>
                    <a:gd name="connsiteX7" fmla="*/ 66080 w 75040"/>
                    <a:gd name="connsiteY7" fmla="*/ 17178 h 26580"/>
                    <a:gd name="connsiteX8" fmla="*/ 59380 w 75040"/>
                    <a:gd name="connsiteY8" fmla="*/ 14917 h 26580"/>
                    <a:gd name="connsiteX9" fmla="*/ 44683 w 75040"/>
                    <a:gd name="connsiteY9" fmla="*/ 12987 h 26580"/>
                    <a:gd name="connsiteX10" fmla="*/ 10492 w 75040"/>
                    <a:gd name="connsiteY10" fmla="*/ 25230 h 26580"/>
                    <a:gd name="connsiteX11" fmla="*/ 6494 w 75040"/>
                    <a:gd name="connsiteY11" fmla="*/ 26581 h 26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040" h="26580">
                      <a:moveTo>
                        <a:pt x="6494" y="26581"/>
                      </a:moveTo>
                      <a:cubicBezTo>
                        <a:pt x="4564" y="26581"/>
                        <a:pt x="2634" y="25726"/>
                        <a:pt x="1366" y="24072"/>
                      </a:cubicBezTo>
                      <a:cubicBezTo>
                        <a:pt x="-840" y="21231"/>
                        <a:pt x="-316" y="17151"/>
                        <a:pt x="2524" y="14972"/>
                      </a:cubicBezTo>
                      <a:cubicBezTo>
                        <a:pt x="15318" y="5018"/>
                        <a:pt x="29518" y="0"/>
                        <a:pt x="44683" y="0"/>
                      </a:cubicBezTo>
                      <a:cubicBezTo>
                        <a:pt x="50805" y="0"/>
                        <a:pt x="56898" y="800"/>
                        <a:pt x="62771" y="2399"/>
                      </a:cubicBezTo>
                      <a:cubicBezTo>
                        <a:pt x="65556" y="3143"/>
                        <a:pt x="68341" y="4081"/>
                        <a:pt x="71016" y="5184"/>
                      </a:cubicBezTo>
                      <a:cubicBezTo>
                        <a:pt x="74325" y="6535"/>
                        <a:pt x="75924" y="10340"/>
                        <a:pt x="74545" y="13649"/>
                      </a:cubicBezTo>
                      <a:cubicBezTo>
                        <a:pt x="73194" y="16985"/>
                        <a:pt x="69389" y="18557"/>
                        <a:pt x="66080" y="17178"/>
                      </a:cubicBezTo>
                      <a:cubicBezTo>
                        <a:pt x="63902" y="16296"/>
                        <a:pt x="61668" y="15524"/>
                        <a:pt x="59380" y="14917"/>
                      </a:cubicBezTo>
                      <a:cubicBezTo>
                        <a:pt x="54610" y="13621"/>
                        <a:pt x="49674" y="12987"/>
                        <a:pt x="44683" y="12987"/>
                      </a:cubicBezTo>
                      <a:cubicBezTo>
                        <a:pt x="32468" y="12987"/>
                        <a:pt x="20943" y="17123"/>
                        <a:pt x="10492" y="25230"/>
                      </a:cubicBezTo>
                      <a:cubicBezTo>
                        <a:pt x="9279" y="26140"/>
                        <a:pt x="7873" y="26581"/>
                        <a:pt x="6494" y="26581"/>
                      </a:cubicBezTo>
                      <a:close/>
                    </a:path>
                  </a:pathLst>
                </a:custGeom>
                <a:solidFill>
                  <a:schemeClr val="accent1"/>
                </a:solidFill>
                <a:ln w="2750" cap="flat">
                  <a:noFill/>
                  <a:prstDash val="solid"/>
                  <a:miter/>
                </a:ln>
              </p:spPr>
              <p:txBody>
                <a:bodyPr rtlCol="0" anchor="ctr"/>
                <a:lstStyle/>
                <a:p>
                  <a:endParaRPr lang="en-GB" dirty="0"/>
                </a:p>
              </p:txBody>
            </p:sp>
            <p:sp>
              <p:nvSpPr>
                <p:cNvPr id="353" name="Freihandform: Form 182">
                  <a:extLst>
                    <a:ext uri="{FF2B5EF4-FFF2-40B4-BE49-F238E27FC236}">
                      <a16:creationId xmlns:a16="http://schemas.microsoft.com/office/drawing/2014/main" id="{A3F7726B-364F-4252-9D3A-B0E9A4909E09}"/>
                    </a:ext>
                  </a:extLst>
                </p:cNvPr>
                <p:cNvSpPr/>
                <p:nvPr/>
              </p:nvSpPr>
              <p:spPr>
                <a:xfrm>
                  <a:off x="2675658" y="2605731"/>
                  <a:ext cx="36144" cy="20670"/>
                </a:xfrm>
                <a:custGeom>
                  <a:avLst/>
                  <a:gdLst>
                    <a:gd name="connsiteX0" fmla="*/ 29664 w 36144"/>
                    <a:gd name="connsiteY0" fmla="*/ 20670 h 20670"/>
                    <a:gd name="connsiteX1" fmla="*/ 25004 w 36144"/>
                    <a:gd name="connsiteY1" fmla="*/ 18712 h 20670"/>
                    <a:gd name="connsiteX2" fmla="*/ 7798 w 36144"/>
                    <a:gd name="connsiteY2" fmla="*/ 13363 h 20670"/>
                    <a:gd name="connsiteX3" fmla="*/ 133 w 36144"/>
                    <a:gd name="connsiteY3" fmla="*/ 8290 h 20670"/>
                    <a:gd name="connsiteX4" fmla="*/ 5179 w 36144"/>
                    <a:gd name="connsiteY4" fmla="*/ 624 h 20670"/>
                    <a:gd name="connsiteX5" fmla="*/ 34296 w 36144"/>
                    <a:gd name="connsiteY5" fmla="*/ 9613 h 20670"/>
                    <a:gd name="connsiteX6" fmla="*/ 34186 w 36144"/>
                    <a:gd name="connsiteY6" fmla="*/ 18795 h 20670"/>
                    <a:gd name="connsiteX7" fmla="*/ 29664 w 36144"/>
                    <a:gd name="connsiteY7" fmla="*/ 20670 h 2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44" h="20670">
                      <a:moveTo>
                        <a:pt x="29664" y="20670"/>
                      </a:moveTo>
                      <a:cubicBezTo>
                        <a:pt x="27982" y="20670"/>
                        <a:pt x="26300" y="20008"/>
                        <a:pt x="25004" y="18712"/>
                      </a:cubicBezTo>
                      <a:cubicBezTo>
                        <a:pt x="20509" y="14108"/>
                        <a:pt x="13947" y="12095"/>
                        <a:pt x="7798" y="13363"/>
                      </a:cubicBezTo>
                      <a:cubicBezTo>
                        <a:pt x="4269" y="14080"/>
                        <a:pt x="850" y="11819"/>
                        <a:pt x="133" y="8290"/>
                      </a:cubicBezTo>
                      <a:cubicBezTo>
                        <a:pt x="-584" y="4788"/>
                        <a:pt x="1677" y="1341"/>
                        <a:pt x="5179" y="624"/>
                      </a:cubicBezTo>
                      <a:cubicBezTo>
                        <a:pt x="15684" y="-1499"/>
                        <a:pt x="26713" y="1865"/>
                        <a:pt x="34296" y="9613"/>
                      </a:cubicBezTo>
                      <a:cubicBezTo>
                        <a:pt x="36805" y="12178"/>
                        <a:pt x="36750" y="16286"/>
                        <a:pt x="34186" y="18795"/>
                      </a:cubicBezTo>
                      <a:cubicBezTo>
                        <a:pt x="32917" y="20064"/>
                        <a:pt x="31291" y="20670"/>
                        <a:pt x="29664" y="20670"/>
                      </a:cubicBezTo>
                      <a:close/>
                    </a:path>
                  </a:pathLst>
                </a:custGeom>
                <a:solidFill>
                  <a:schemeClr val="accent1"/>
                </a:solidFill>
                <a:ln w="2750" cap="flat">
                  <a:noFill/>
                  <a:prstDash val="solid"/>
                  <a:miter/>
                </a:ln>
              </p:spPr>
              <p:txBody>
                <a:bodyPr rtlCol="0" anchor="ctr"/>
                <a:lstStyle/>
                <a:p>
                  <a:endParaRPr lang="en-GB" dirty="0"/>
                </a:p>
              </p:txBody>
            </p:sp>
            <p:sp>
              <p:nvSpPr>
                <p:cNvPr id="354" name="Freihandform: Form 183">
                  <a:extLst>
                    <a:ext uri="{FF2B5EF4-FFF2-40B4-BE49-F238E27FC236}">
                      <a16:creationId xmlns:a16="http://schemas.microsoft.com/office/drawing/2014/main" id="{ED2EB82C-2202-48E6-A33A-5FB212876FD3}"/>
                    </a:ext>
                  </a:extLst>
                </p:cNvPr>
                <p:cNvSpPr/>
                <p:nvPr/>
              </p:nvSpPr>
              <p:spPr>
                <a:xfrm>
                  <a:off x="2563581" y="2692948"/>
                  <a:ext cx="41429" cy="22707"/>
                </a:xfrm>
                <a:custGeom>
                  <a:avLst/>
                  <a:gdLst>
                    <a:gd name="connsiteX0" fmla="*/ 34950 w 41429"/>
                    <a:gd name="connsiteY0" fmla="*/ 22707 h 22707"/>
                    <a:gd name="connsiteX1" fmla="*/ 2524 w 41429"/>
                    <a:gd name="connsiteY1" fmla="*/ 11623 h 22707"/>
                    <a:gd name="connsiteX2" fmla="*/ 1366 w 41429"/>
                    <a:gd name="connsiteY2" fmla="*/ 2524 h 22707"/>
                    <a:gd name="connsiteX3" fmla="*/ 10465 w 41429"/>
                    <a:gd name="connsiteY3" fmla="*/ 1366 h 22707"/>
                    <a:gd name="connsiteX4" fmla="*/ 34950 w 41429"/>
                    <a:gd name="connsiteY4" fmla="*/ 9748 h 22707"/>
                    <a:gd name="connsiteX5" fmla="*/ 41430 w 41429"/>
                    <a:gd name="connsiteY5" fmla="*/ 16228 h 22707"/>
                    <a:gd name="connsiteX6" fmla="*/ 34950 w 41429"/>
                    <a:gd name="connsiteY6" fmla="*/ 22707 h 22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29" h="22707">
                      <a:moveTo>
                        <a:pt x="34950" y="22707"/>
                      </a:moveTo>
                      <a:cubicBezTo>
                        <a:pt x="23148" y="22707"/>
                        <a:pt x="11926" y="18875"/>
                        <a:pt x="2524" y="11623"/>
                      </a:cubicBezTo>
                      <a:cubicBezTo>
                        <a:pt x="-316" y="9445"/>
                        <a:pt x="-840" y="5364"/>
                        <a:pt x="1366" y="2524"/>
                      </a:cubicBezTo>
                      <a:cubicBezTo>
                        <a:pt x="3544" y="-316"/>
                        <a:pt x="7597" y="-840"/>
                        <a:pt x="10465" y="1366"/>
                      </a:cubicBezTo>
                      <a:cubicBezTo>
                        <a:pt x="17579" y="6853"/>
                        <a:pt x="26044" y="9748"/>
                        <a:pt x="34950" y="9748"/>
                      </a:cubicBezTo>
                      <a:cubicBezTo>
                        <a:pt x="38534" y="9748"/>
                        <a:pt x="41430" y="12643"/>
                        <a:pt x="41430" y="16228"/>
                      </a:cubicBezTo>
                      <a:cubicBezTo>
                        <a:pt x="41430" y="19785"/>
                        <a:pt x="38534" y="22707"/>
                        <a:pt x="34950" y="22707"/>
                      </a:cubicBezTo>
                      <a:close/>
                    </a:path>
                  </a:pathLst>
                </a:custGeom>
                <a:solidFill>
                  <a:schemeClr val="accent1"/>
                </a:solidFill>
                <a:ln w="2750" cap="flat">
                  <a:noFill/>
                  <a:prstDash val="solid"/>
                  <a:miter/>
                </a:ln>
              </p:spPr>
              <p:txBody>
                <a:bodyPr rtlCol="0" anchor="ctr"/>
                <a:lstStyle/>
                <a:p>
                  <a:endParaRPr lang="en-GB" dirty="0"/>
                </a:p>
              </p:txBody>
            </p:sp>
            <p:sp>
              <p:nvSpPr>
                <p:cNvPr id="355" name="Freihandform: Form 184">
                  <a:extLst>
                    <a:ext uri="{FF2B5EF4-FFF2-40B4-BE49-F238E27FC236}">
                      <a16:creationId xmlns:a16="http://schemas.microsoft.com/office/drawing/2014/main" id="{0B986C2A-4B1E-43FE-AF7E-FDC967A27A9B}"/>
                    </a:ext>
                  </a:extLst>
                </p:cNvPr>
                <p:cNvSpPr/>
                <p:nvPr/>
              </p:nvSpPr>
              <p:spPr>
                <a:xfrm>
                  <a:off x="2686510" y="2724072"/>
                  <a:ext cx="27187" cy="24395"/>
                </a:xfrm>
                <a:custGeom>
                  <a:avLst/>
                  <a:gdLst>
                    <a:gd name="connsiteX0" fmla="*/ 6487 w 27187"/>
                    <a:gd name="connsiteY0" fmla="*/ 24396 h 24395"/>
                    <a:gd name="connsiteX1" fmla="*/ 476 w 27187"/>
                    <a:gd name="connsiteY1" fmla="*/ 20315 h 24395"/>
                    <a:gd name="connsiteX2" fmla="*/ 4088 w 27187"/>
                    <a:gd name="connsiteY2" fmla="*/ 11877 h 24395"/>
                    <a:gd name="connsiteX3" fmla="*/ 15365 w 27187"/>
                    <a:gd name="connsiteY3" fmla="*/ 2806 h 24395"/>
                    <a:gd name="connsiteX4" fmla="*/ 24382 w 27187"/>
                    <a:gd name="connsiteY4" fmla="*/ 1151 h 24395"/>
                    <a:gd name="connsiteX5" fmla="*/ 26036 w 27187"/>
                    <a:gd name="connsiteY5" fmla="*/ 10195 h 24395"/>
                    <a:gd name="connsiteX6" fmla="*/ 8941 w 27187"/>
                    <a:gd name="connsiteY6" fmla="*/ 23927 h 24395"/>
                    <a:gd name="connsiteX7" fmla="*/ 6487 w 27187"/>
                    <a:gd name="connsiteY7" fmla="*/ 24396 h 2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87" h="24395">
                      <a:moveTo>
                        <a:pt x="6487" y="24396"/>
                      </a:moveTo>
                      <a:cubicBezTo>
                        <a:pt x="3922" y="24396"/>
                        <a:pt x="1496" y="22852"/>
                        <a:pt x="476" y="20315"/>
                      </a:cubicBezTo>
                      <a:cubicBezTo>
                        <a:pt x="-875" y="16979"/>
                        <a:pt x="752" y="13201"/>
                        <a:pt x="4088" y="11877"/>
                      </a:cubicBezTo>
                      <a:cubicBezTo>
                        <a:pt x="8610" y="10058"/>
                        <a:pt x="12525" y="6914"/>
                        <a:pt x="15365" y="2806"/>
                      </a:cubicBezTo>
                      <a:cubicBezTo>
                        <a:pt x="17406" y="-145"/>
                        <a:pt x="21459" y="-889"/>
                        <a:pt x="24382" y="1151"/>
                      </a:cubicBezTo>
                      <a:cubicBezTo>
                        <a:pt x="27332" y="3192"/>
                        <a:pt x="28077" y="7245"/>
                        <a:pt x="26036" y="10195"/>
                      </a:cubicBezTo>
                      <a:cubicBezTo>
                        <a:pt x="21735" y="16399"/>
                        <a:pt x="15834" y="21142"/>
                        <a:pt x="8941" y="23927"/>
                      </a:cubicBezTo>
                      <a:cubicBezTo>
                        <a:pt x="8114" y="24258"/>
                        <a:pt x="7314" y="24396"/>
                        <a:pt x="6487" y="24396"/>
                      </a:cubicBezTo>
                      <a:close/>
                    </a:path>
                  </a:pathLst>
                </a:custGeom>
                <a:solidFill>
                  <a:schemeClr val="accent1"/>
                </a:solidFill>
                <a:ln w="2750" cap="flat">
                  <a:noFill/>
                  <a:prstDash val="solid"/>
                  <a:miter/>
                </a:ln>
              </p:spPr>
              <p:txBody>
                <a:bodyPr rtlCol="0" anchor="ctr"/>
                <a:lstStyle/>
                <a:p>
                  <a:endParaRPr lang="en-GB" dirty="0"/>
                </a:p>
              </p:txBody>
            </p:sp>
            <p:sp>
              <p:nvSpPr>
                <p:cNvPr id="356" name="Freihandform: Form 185">
                  <a:extLst>
                    <a:ext uri="{FF2B5EF4-FFF2-40B4-BE49-F238E27FC236}">
                      <a16:creationId xmlns:a16="http://schemas.microsoft.com/office/drawing/2014/main" id="{8DE50CB4-CB21-4DFF-A51B-1D324A20ED4E}"/>
                    </a:ext>
                  </a:extLst>
                </p:cNvPr>
                <p:cNvSpPr/>
                <p:nvPr/>
              </p:nvSpPr>
              <p:spPr>
                <a:xfrm>
                  <a:off x="2610455" y="2760862"/>
                  <a:ext cx="23493" cy="22183"/>
                </a:xfrm>
                <a:custGeom>
                  <a:avLst/>
                  <a:gdLst>
                    <a:gd name="connsiteX0" fmla="*/ 6494 w 23493"/>
                    <a:gd name="connsiteY0" fmla="*/ 22183 h 22183"/>
                    <a:gd name="connsiteX1" fmla="*/ 1614 w 23493"/>
                    <a:gd name="connsiteY1" fmla="*/ 19950 h 22183"/>
                    <a:gd name="connsiteX2" fmla="*/ 2220 w 23493"/>
                    <a:gd name="connsiteY2" fmla="*/ 10796 h 22183"/>
                    <a:gd name="connsiteX3" fmla="*/ 12726 w 23493"/>
                    <a:gd name="connsiteY3" fmla="*/ 1614 h 22183"/>
                    <a:gd name="connsiteX4" fmla="*/ 21880 w 23493"/>
                    <a:gd name="connsiteY4" fmla="*/ 2220 h 22183"/>
                    <a:gd name="connsiteX5" fmla="*/ 21273 w 23493"/>
                    <a:gd name="connsiteY5" fmla="*/ 11375 h 22183"/>
                    <a:gd name="connsiteX6" fmla="*/ 10768 w 23493"/>
                    <a:gd name="connsiteY6" fmla="*/ 20557 h 22183"/>
                    <a:gd name="connsiteX7" fmla="*/ 6494 w 23493"/>
                    <a:gd name="connsiteY7" fmla="*/ 22183 h 2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93" h="22183">
                      <a:moveTo>
                        <a:pt x="6494" y="22183"/>
                      </a:moveTo>
                      <a:cubicBezTo>
                        <a:pt x="4674" y="22183"/>
                        <a:pt x="2882" y="21439"/>
                        <a:pt x="1614" y="19950"/>
                      </a:cubicBezTo>
                      <a:cubicBezTo>
                        <a:pt x="-758" y="17248"/>
                        <a:pt x="-482" y="13139"/>
                        <a:pt x="2220" y="10796"/>
                      </a:cubicBezTo>
                      <a:lnTo>
                        <a:pt x="12726" y="1614"/>
                      </a:lnTo>
                      <a:cubicBezTo>
                        <a:pt x="15428" y="-758"/>
                        <a:pt x="19536" y="-482"/>
                        <a:pt x="21880" y="2220"/>
                      </a:cubicBezTo>
                      <a:cubicBezTo>
                        <a:pt x="24251" y="4922"/>
                        <a:pt x="23976" y="9031"/>
                        <a:pt x="21273" y="11375"/>
                      </a:cubicBezTo>
                      <a:lnTo>
                        <a:pt x="10768" y="20557"/>
                      </a:lnTo>
                      <a:cubicBezTo>
                        <a:pt x="9555" y="21659"/>
                        <a:pt x="8011" y="22183"/>
                        <a:pt x="6494" y="22183"/>
                      </a:cubicBezTo>
                      <a:close/>
                    </a:path>
                  </a:pathLst>
                </a:custGeom>
                <a:solidFill>
                  <a:schemeClr val="accent1"/>
                </a:solidFill>
                <a:ln w="2750" cap="flat">
                  <a:noFill/>
                  <a:prstDash val="solid"/>
                  <a:miter/>
                </a:ln>
              </p:spPr>
              <p:txBody>
                <a:bodyPr rtlCol="0" anchor="ctr"/>
                <a:lstStyle/>
                <a:p>
                  <a:endParaRPr lang="en-GB" dirty="0"/>
                </a:p>
              </p:txBody>
            </p:sp>
          </p:grpSp>
          <p:grpSp>
            <p:nvGrpSpPr>
              <p:cNvPr id="344" name="Grafik 330">
                <a:extLst>
                  <a:ext uri="{FF2B5EF4-FFF2-40B4-BE49-F238E27FC236}">
                    <a16:creationId xmlns:a16="http://schemas.microsoft.com/office/drawing/2014/main" id="{726CEDB4-4220-46D6-888E-63806980BB2D}"/>
                  </a:ext>
                </a:extLst>
              </p:cNvPr>
              <p:cNvGrpSpPr/>
              <p:nvPr/>
            </p:nvGrpSpPr>
            <p:grpSpPr>
              <a:xfrm>
                <a:off x="2705956" y="2463580"/>
                <a:ext cx="177262" cy="347865"/>
                <a:chOff x="2705956" y="2463580"/>
                <a:chExt cx="177262" cy="347865"/>
              </a:xfrm>
              <a:solidFill>
                <a:schemeClr val="accent1"/>
              </a:solidFill>
            </p:grpSpPr>
            <p:sp>
              <p:nvSpPr>
                <p:cNvPr id="345" name="Freihandform: Form 187">
                  <a:extLst>
                    <a:ext uri="{FF2B5EF4-FFF2-40B4-BE49-F238E27FC236}">
                      <a16:creationId xmlns:a16="http://schemas.microsoft.com/office/drawing/2014/main" id="{4E97426B-04E9-44C7-B045-F485AD911E50}"/>
                    </a:ext>
                  </a:extLst>
                </p:cNvPr>
                <p:cNvSpPr/>
                <p:nvPr/>
              </p:nvSpPr>
              <p:spPr>
                <a:xfrm>
                  <a:off x="2705956" y="2463580"/>
                  <a:ext cx="177262" cy="347865"/>
                </a:xfrm>
                <a:custGeom>
                  <a:avLst/>
                  <a:gdLst>
                    <a:gd name="connsiteX0" fmla="*/ 14697 w 177262"/>
                    <a:gd name="connsiteY0" fmla="*/ 347865 h 347865"/>
                    <a:gd name="connsiteX1" fmla="*/ 9596 w 177262"/>
                    <a:gd name="connsiteY1" fmla="*/ 345411 h 347865"/>
                    <a:gd name="connsiteX2" fmla="*/ 0 w 177262"/>
                    <a:gd name="connsiteY2" fmla="*/ 318472 h 347865"/>
                    <a:gd name="connsiteX3" fmla="*/ 0 w 177262"/>
                    <a:gd name="connsiteY3" fmla="*/ 298840 h 347865"/>
                    <a:gd name="connsiteX4" fmla="*/ 3667 w 177262"/>
                    <a:gd name="connsiteY4" fmla="*/ 285025 h 347865"/>
                    <a:gd name="connsiteX5" fmla="*/ 4936 w 177262"/>
                    <a:gd name="connsiteY5" fmla="*/ 282820 h 347865"/>
                    <a:gd name="connsiteX6" fmla="*/ 4522 w 177262"/>
                    <a:gd name="connsiteY6" fmla="*/ 267737 h 347865"/>
                    <a:gd name="connsiteX7" fmla="*/ 28 w 177262"/>
                    <a:gd name="connsiteY7" fmla="*/ 252544 h 347865"/>
                    <a:gd name="connsiteX8" fmla="*/ 28 w 177262"/>
                    <a:gd name="connsiteY8" fmla="*/ 172554 h 347865"/>
                    <a:gd name="connsiteX9" fmla="*/ 8079 w 177262"/>
                    <a:gd name="connsiteY9" fmla="*/ 152701 h 347865"/>
                    <a:gd name="connsiteX10" fmla="*/ 9182 w 177262"/>
                    <a:gd name="connsiteY10" fmla="*/ 151598 h 347865"/>
                    <a:gd name="connsiteX11" fmla="*/ 10395 w 177262"/>
                    <a:gd name="connsiteY11" fmla="*/ 137756 h 347865"/>
                    <a:gd name="connsiteX12" fmla="*/ 6149 w 177262"/>
                    <a:gd name="connsiteY12" fmla="*/ 131387 h 347865"/>
                    <a:gd name="connsiteX13" fmla="*/ 55 w 177262"/>
                    <a:gd name="connsiteY13" fmla="*/ 111176 h 347865"/>
                    <a:gd name="connsiteX14" fmla="*/ 55 w 177262"/>
                    <a:gd name="connsiteY14" fmla="*/ 47481 h 347865"/>
                    <a:gd name="connsiteX15" fmla="*/ 54513 w 177262"/>
                    <a:gd name="connsiteY15" fmla="*/ 0 h 347865"/>
                    <a:gd name="connsiteX16" fmla="*/ 108970 w 177262"/>
                    <a:gd name="connsiteY16" fmla="*/ 47481 h 347865"/>
                    <a:gd name="connsiteX17" fmla="*/ 108860 w 177262"/>
                    <a:gd name="connsiteY17" fmla="*/ 50294 h 347865"/>
                    <a:gd name="connsiteX18" fmla="*/ 146497 w 177262"/>
                    <a:gd name="connsiteY18" fmla="*/ 105744 h 347865"/>
                    <a:gd name="connsiteX19" fmla="*/ 145587 w 177262"/>
                    <a:gd name="connsiteY19" fmla="*/ 115505 h 347865"/>
                    <a:gd name="connsiteX20" fmla="*/ 167177 w 177262"/>
                    <a:gd name="connsiteY20" fmla="*/ 135550 h 347865"/>
                    <a:gd name="connsiteX21" fmla="*/ 176911 w 177262"/>
                    <a:gd name="connsiteY21" fmla="*/ 154493 h 347865"/>
                    <a:gd name="connsiteX22" fmla="*/ 172857 w 177262"/>
                    <a:gd name="connsiteY22" fmla="*/ 162738 h 347865"/>
                    <a:gd name="connsiteX23" fmla="*/ 164613 w 177262"/>
                    <a:gd name="connsiteY23" fmla="*/ 158685 h 347865"/>
                    <a:gd name="connsiteX24" fmla="*/ 156616 w 177262"/>
                    <a:gd name="connsiteY24" fmla="*/ 143106 h 347865"/>
                    <a:gd name="connsiteX25" fmla="*/ 135109 w 177262"/>
                    <a:gd name="connsiteY25" fmla="*/ 124411 h 347865"/>
                    <a:gd name="connsiteX26" fmla="*/ 131938 w 177262"/>
                    <a:gd name="connsiteY26" fmla="*/ 116994 h 347865"/>
                    <a:gd name="connsiteX27" fmla="*/ 133510 w 177262"/>
                    <a:gd name="connsiteY27" fmla="*/ 105716 h 347865"/>
                    <a:gd name="connsiteX28" fmla="*/ 99319 w 177262"/>
                    <a:gd name="connsiteY28" fmla="*/ 60248 h 347865"/>
                    <a:gd name="connsiteX29" fmla="*/ 95376 w 177262"/>
                    <a:gd name="connsiteY29" fmla="*/ 52996 h 347865"/>
                    <a:gd name="connsiteX30" fmla="*/ 95955 w 177262"/>
                    <a:gd name="connsiteY30" fmla="*/ 47481 h 347865"/>
                    <a:gd name="connsiteX31" fmla="*/ 54485 w 177262"/>
                    <a:gd name="connsiteY31" fmla="*/ 12987 h 347865"/>
                    <a:gd name="connsiteX32" fmla="*/ 13015 w 177262"/>
                    <a:gd name="connsiteY32" fmla="*/ 47481 h 347865"/>
                    <a:gd name="connsiteX33" fmla="*/ 13015 w 177262"/>
                    <a:gd name="connsiteY33" fmla="*/ 111176 h 347865"/>
                    <a:gd name="connsiteX34" fmla="*/ 16930 w 177262"/>
                    <a:gd name="connsiteY34" fmla="*/ 124190 h 347865"/>
                    <a:gd name="connsiteX35" fmla="*/ 21204 w 177262"/>
                    <a:gd name="connsiteY35" fmla="*/ 130560 h 347865"/>
                    <a:gd name="connsiteX36" fmla="*/ 18447 w 177262"/>
                    <a:gd name="connsiteY36" fmla="*/ 160697 h 347865"/>
                    <a:gd name="connsiteX37" fmla="*/ 17344 w 177262"/>
                    <a:gd name="connsiteY37" fmla="*/ 161800 h 347865"/>
                    <a:gd name="connsiteX38" fmla="*/ 13015 w 177262"/>
                    <a:gd name="connsiteY38" fmla="*/ 172581 h 347865"/>
                    <a:gd name="connsiteX39" fmla="*/ 13015 w 177262"/>
                    <a:gd name="connsiteY39" fmla="*/ 252572 h 347865"/>
                    <a:gd name="connsiteX40" fmla="*/ 15386 w 177262"/>
                    <a:gd name="connsiteY40" fmla="*/ 260678 h 347865"/>
                    <a:gd name="connsiteX41" fmla="*/ 16213 w 177262"/>
                    <a:gd name="connsiteY41" fmla="*/ 289272 h 347865"/>
                    <a:gd name="connsiteX42" fmla="*/ 14945 w 177262"/>
                    <a:gd name="connsiteY42" fmla="*/ 291478 h 347865"/>
                    <a:gd name="connsiteX43" fmla="*/ 12987 w 177262"/>
                    <a:gd name="connsiteY43" fmla="*/ 298867 h 347865"/>
                    <a:gd name="connsiteX44" fmla="*/ 12987 w 177262"/>
                    <a:gd name="connsiteY44" fmla="*/ 318500 h 347865"/>
                    <a:gd name="connsiteX45" fmla="*/ 19770 w 177262"/>
                    <a:gd name="connsiteY45" fmla="*/ 337387 h 347865"/>
                    <a:gd name="connsiteX46" fmla="*/ 18695 w 177262"/>
                    <a:gd name="connsiteY46" fmla="*/ 346514 h 347865"/>
                    <a:gd name="connsiteX47" fmla="*/ 14697 w 177262"/>
                    <a:gd name="connsiteY47" fmla="*/ 347865 h 347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77262" h="347865">
                      <a:moveTo>
                        <a:pt x="14697" y="347865"/>
                      </a:moveTo>
                      <a:cubicBezTo>
                        <a:pt x="12766" y="347865"/>
                        <a:pt x="10891" y="347010"/>
                        <a:pt x="9596" y="345411"/>
                      </a:cubicBezTo>
                      <a:cubicBezTo>
                        <a:pt x="3309" y="337470"/>
                        <a:pt x="0" y="328150"/>
                        <a:pt x="0" y="318472"/>
                      </a:cubicBezTo>
                      <a:lnTo>
                        <a:pt x="0" y="298840"/>
                      </a:lnTo>
                      <a:cubicBezTo>
                        <a:pt x="0" y="293987"/>
                        <a:pt x="1268" y="289217"/>
                        <a:pt x="3667" y="285025"/>
                      </a:cubicBezTo>
                      <a:lnTo>
                        <a:pt x="4936" y="282820"/>
                      </a:lnTo>
                      <a:cubicBezTo>
                        <a:pt x="7610" y="278160"/>
                        <a:pt x="7445" y="272231"/>
                        <a:pt x="4522" y="267737"/>
                      </a:cubicBezTo>
                      <a:cubicBezTo>
                        <a:pt x="1599" y="263215"/>
                        <a:pt x="28" y="257976"/>
                        <a:pt x="28" y="252544"/>
                      </a:cubicBezTo>
                      <a:lnTo>
                        <a:pt x="28" y="172554"/>
                      </a:lnTo>
                      <a:cubicBezTo>
                        <a:pt x="28" y="165054"/>
                        <a:pt x="2868" y="157995"/>
                        <a:pt x="8079" y="152701"/>
                      </a:cubicBezTo>
                      <a:lnTo>
                        <a:pt x="9182" y="151598"/>
                      </a:lnTo>
                      <a:cubicBezTo>
                        <a:pt x="12766" y="147903"/>
                        <a:pt x="13290" y="142085"/>
                        <a:pt x="10395" y="137756"/>
                      </a:cubicBezTo>
                      <a:lnTo>
                        <a:pt x="6149" y="131387"/>
                      </a:lnTo>
                      <a:cubicBezTo>
                        <a:pt x="2151" y="125404"/>
                        <a:pt x="55" y="118400"/>
                        <a:pt x="55" y="111176"/>
                      </a:cubicBezTo>
                      <a:lnTo>
                        <a:pt x="55" y="47481"/>
                      </a:lnTo>
                      <a:cubicBezTo>
                        <a:pt x="55" y="21314"/>
                        <a:pt x="24485" y="0"/>
                        <a:pt x="54513" y="0"/>
                      </a:cubicBezTo>
                      <a:cubicBezTo>
                        <a:pt x="84540" y="0"/>
                        <a:pt x="108970" y="21287"/>
                        <a:pt x="108970" y="47481"/>
                      </a:cubicBezTo>
                      <a:cubicBezTo>
                        <a:pt x="108970" y="48391"/>
                        <a:pt x="108942" y="49329"/>
                        <a:pt x="108860" y="50294"/>
                      </a:cubicBezTo>
                      <a:cubicBezTo>
                        <a:pt x="131883" y="61433"/>
                        <a:pt x="146497" y="82720"/>
                        <a:pt x="146497" y="105744"/>
                      </a:cubicBezTo>
                      <a:cubicBezTo>
                        <a:pt x="146497" y="108942"/>
                        <a:pt x="146194" y="112223"/>
                        <a:pt x="145587" y="115505"/>
                      </a:cubicBezTo>
                      <a:cubicBezTo>
                        <a:pt x="154218" y="120881"/>
                        <a:pt x="161469" y="127609"/>
                        <a:pt x="167177" y="135550"/>
                      </a:cubicBezTo>
                      <a:cubicBezTo>
                        <a:pt x="171313" y="141313"/>
                        <a:pt x="174594" y="147683"/>
                        <a:pt x="176911" y="154493"/>
                      </a:cubicBezTo>
                      <a:cubicBezTo>
                        <a:pt x="178069" y="157885"/>
                        <a:pt x="176276" y="161580"/>
                        <a:pt x="172857" y="162738"/>
                      </a:cubicBezTo>
                      <a:cubicBezTo>
                        <a:pt x="169493" y="163896"/>
                        <a:pt x="165771" y="162076"/>
                        <a:pt x="164613" y="158685"/>
                      </a:cubicBezTo>
                      <a:cubicBezTo>
                        <a:pt x="162683" y="153087"/>
                        <a:pt x="160008" y="147821"/>
                        <a:pt x="156616" y="143106"/>
                      </a:cubicBezTo>
                      <a:cubicBezTo>
                        <a:pt x="151157" y="135495"/>
                        <a:pt x="143905" y="129209"/>
                        <a:pt x="135109" y="124411"/>
                      </a:cubicBezTo>
                      <a:cubicBezTo>
                        <a:pt x="132462" y="122977"/>
                        <a:pt x="131139" y="119916"/>
                        <a:pt x="131938" y="116994"/>
                      </a:cubicBezTo>
                      <a:cubicBezTo>
                        <a:pt x="132986" y="113161"/>
                        <a:pt x="133510" y="109383"/>
                        <a:pt x="133510" y="105716"/>
                      </a:cubicBezTo>
                      <a:cubicBezTo>
                        <a:pt x="133510" y="86498"/>
                        <a:pt x="120082" y="68658"/>
                        <a:pt x="99319" y="60248"/>
                      </a:cubicBezTo>
                      <a:cubicBezTo>
                        <a:pt x="96424" y="59090"/>
                        <a:pt x="94797" y="56029"/>
                        <a:pt x="95376" y="52996"/>
                      </a:cubicBezTo>
                      <a:cubicBezTo>
                        <a:pt x="95762" y="50983"/>
                        <a:pt x="95955" y="49163"/>
                        <a:pt x="95955" y="47481"/>
                      </a:cubicBezTo>
                      <a:cubicBezTo>
                        <a:pt x="95955" y="28456"/>
                        <a:pt x="77343" y="12987"/>
                        <a:pt x="54485" y="12987"/>
                      </a:cubicBezTo>
                      <a:cubicBezTo>
                        <a:pt x="31599" y="12987"/>
                        <a:pt x="13015" y="28456"/>
                        <a:pt x="13015" y="47481"/>
                      </a:cubicBezTo>
                      <a:lnTo>
                        <a:pt x="13015" y="111176"/>
                      </a:lnTo>
                      <a:cubicBezTo>
                        <a:pt x="13015" y="115836"/>
                        <a:pt x="14366" y="120358"/>
                        <a:pt x="16930" y="124190"/>
                      </a:cubicBezTo>
                      <a:lnTo>
                        <a:pt x="21204" y="130560"/>
                      </a:lnTo>
                      <a:cubicBezTo>
                        <a:pt x="27463" y="139962"/>
                        <a:pt x="26305" y="152646"/>
                        <a:pt x="18447" y="160697"/>
                      </a:cubicBezTo>
                      <a:lnTo>
                        <a:pt x="17344" y="161800"/>
                      </a:lnTo>
                      <a:cubicBezTo>
                        <a:pt x="14586" y="164613"/>
                        <a:pt x="13015" y="168556"/>
                        <a:pt x="13015" y="172581"/>
                      </a:cubicBezTo>
                      <a:lnTo>
                        <a:pt x="13015" y="252572"/>
                      </a:lnTo>
                      <a:cubicBezTo>
                        <a:pt x="13015" y="255467"/>
                        <a:pt x="13842" y="258279"/>
                        <a:pt x="15386" y="260678"/>
                      </a:cubicBezTo>
                      <a:cubicBezTo>
                        <a:pt x="21038" y="269336"/>
                        <a:pt x="21342" y="280310"/>
                        <a:pt x="16213" y="289272"/>
                      </a:cubicBezTo>
                      <a:lnTo>
                        <a:pt x="14945" y="291478"/>
                      </a:lnTo>
                      <a:cubicBezTo>
                        <a:pt x="13676" y="293711"/>
                        <a:pt x="12987" y="296248"/>
                        <a:pt x="12987" y="298867"/>
                      </a:cubicBezTo>
                      <a:lnTo>
                        <a:pt x="12987" y="318500"/>
                      </a:lnTo>
                      <a:cubicBezTo>
                        <a:pt x="12987" y="325227"/>
                        <a:pt x="15331" y="331762"/>
                        <a:pt x="19770" y="337387"/>
                      </a:cubicBezTo>
                      <a:cubicBezTo>
                        <a:pt x="22004" y="340200"/>
                        <a:pt x="21507" y="344281"/>
                        <a:pt x="18695" y="346514"/>
                      </a:cubicBezTo>
                      <a:cubicBezTo>
                        <a:pt x="17509" y="347396"/>
                        <a:pt x="16103" y="347865"/>
                        <a:pt x="14697" y="347865"/>
                      </a:cubicBezTo>
                      <a:close/>
                    </a:path>
                  </a:pathLst>
                </a:custGeom>
                <a:solidFill>
                  <a:schemeClr val="accent1"/>
                </a:solidFill>
                <a:ln w="2750" cap="flat">
                  <a:noFill/>
                  <a:prstDash val="solid"/>
                  <a:miter/>
                </a:ln>
              </p:spPr>
              <p:txBody>
                <a:bodyPr rtlCol="0" anchor="ctr"/>
                <a:lstStyle/>
                <a:p>
                  <a:endParaRPr lang="en-GB" dirty="0"/>
                </a:p>
              </p:txBody>
            </p:sp>
            <p:sp>
              <p:nvSpPr>
                <p:cNvPr id="346" name="Freihandform: Form 188">
                  <a:extLst>
                    <a:ext uri="{FF2B5EF4-FFF2-40B4-BE49-F238E27FC236}">
                      <a16:creationId xmlns:a16="http://schemas.microsoft.com/office/drawing/2014/main" id="{CABBF653-99A6-40E8-BF9E-82B66D5657A5}"/>
                    </a:ext>
                  </a:extLst>
                </p:cNvPr>
                <p:cNvSpPr/>
                <p:nvPr/>
              </p:nvSpPr>
              <p:spPr>
                <a:xfrm>
                  <a:off x="2790895" y="2511310"/>
                  <a:ext cx="23258" cy="37417"/>
                </a:xfrm>
                <a:custGeom>
                  <a:avLst/>
                  <a:gdLst>
                    <a:gd name="connsiteX0" fmla="*/ 6494 w 23258"/>
                    <a:gd name="connsiteY0" fmla="*/ 37417 h 37417"/>
                    <a:gd name="connsiteX1" fmla="*/ 2220 w 23258"/>
                    <a:gd name="connsiteY1" fmla="*/ 35818 h 37417"/>
                    <a:gd name="connsiteX2" fmla="*/ 1614 w 23258"/>
                    <a:gd name="connsiteY2" fmla="*/ 26663 h 37417"/>
                    <a:gd name="connsiteX3" fmla="*/ 10299 w 23258"/>
                    <a:gd name="connsiteY3" fmla="*/ 6480 h 37417"/>
                    <a:gd name="connsiteX4" fmla="*/ 16779 w 23258"/>
                    <a:gd name="connsiteY4" fmla="*/ 0 h 37417"/>
                    <a:gd name="connsiteX5" fmla="*/ 23259 w 23258"/>
                    <a:gd name="connsiteY5" fmla="*/ 6480 h 37417"/>
                    <a:gd name="connsiteX6" fmla="*/ 11375 w 23258"/>
                    <a:gd name="connsiteY6" fmla="*/ 35211 h 37417"/>
                    <a:gd name="connsiteX7" fmla="*/ 6494 w 23258"/>
                    <a:gd name="connsiteY7" fmla="*/ 37417 h 3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58" h="37417">
                      <a:moveTo>
                        <a:pt x="6494" y="37417"/>
                      </a:moveTo>
                      <a:cubicBezTo>
                        <a:pt x="4978" y="37417"/>
                        <a:pt x="3461" y="36893"/>
                        <a:pt x="2220" y="35818"/>
                      </a:cubicBezTo>
                      <a:cubicBezTo>
                        <a:pt x="-482" y="33446"/>
                        <a:pt x="-758" y="29366"/>
                        <a:pt x="1614" y="26663"/>
                      </a:cubicBezTo>
                      <a:cubicBezTo>
                        <a:pt x="7459" y="19991"/>
                        <a:pt x="10299" y="13401"/>
                        <a:pt x="10299" y="6480"/>
                      </a:cubicBezTo>
                      <a:cubicBezTo>
                        <a:pt x="10299" y="2895"/>
                        <a:pt x="13194" y="0"/>
                        <a:pt x="16779" y="0"/>
                      </a:cubicBezTo>
                      <a:cubicBezTo>
                        <a:pt x="20363" y="0"/>
                        <a:pt x="23259" y="2895"/>
                        <a:pt x="23259" y="6480"/>
                      </a:cubicBezTo>
                      <a:cubicBezTo>
                        <a:pt x="23259" y="16516"/>
                        <a:pt x="19261" y="26195"/>
                        <a:pt x="11375" y="35211"/>
                      </a:cubicBezTo>
                      <a:cubicBezTo>
                        <a:pt x="10106" y="36673"/>
                        <a:pt x="8314" y="37417"/>
                        <a:pt x="6494" y="37417"/>
                      </a:cubicBezTo>
                      <a:close/>
                    </a:path>
                  </a:pathLst>
                </a:custGeom>
                <a:solidFill>
                  <a:schemeClr val="accent1"/>
                </a:solidFill>
                <a:ln w="2750" cap="flat">
                  <a:noFill/>
                  <a:prstDash val="solid"/>
                  <a:miter/>
                </a:ln>
              </p:spPr>
              <p:txBody>
                <a:bodyPr rtlCol="0" anchor="ctr"/>
                <a:lstStyle/>
                <a:p>
                  <a:endParaRPr lang="en-GB" dirty="0"/>
                </a:p>
              </p:txBody>
            </p:sp>
            <p:sp>
              <p:nvSpPr>
                <p:cNvPr id="347" name="Freihandform: Form 189">
                  <a:extLst>
                    <a:ext uri="{FF2B5EF4-FFF2-40B4-BE49-F238E27FC236}">
                      <a16:creationId xmlns:a16="http://schemas.microsoft.com/office/drawing/2014/main" id="{DA34E447-8110-43AA-85C7-DBF6B1BDA4C4}"/>
                    </a:ext>
                  </a:extLst>
                </p:cNvPr>
                <p:cNvSpPr/>
                <p:nvPr/>
              </p:nvSpPr>
              <p:spPr>
                <a:xfrm>
                  <a:off x="2789074" y="2571502"/>
                  <a:ext cx="75017" cy="26635"/>
                </a:xfrm>
                <a:custGeom>
                  <a:avLst/>
                  <a:gdLst>
                    <a:gd name="connsiteX0" fmla="*/ 68508 w 75017"/>
                    <a:gd name="connsiteY0" fmla="*/ 26636 h 26635"/>
                    <a:gd name="connsiteX1" fmla="*/ 64537 w 75017"/>
                    <a:gd name="connsiteY1" fmla="*/ 25257 h 26635"/>
                    <a:gd name="connsiteX2" fmla="*/ 30346 w 75017"/>
                    <a:gd name="connsiteY2" fmla="*/ 13015 h 26635"/>
                    <a:gd name="connsiteX3" fmla="*/ 8949 w 75017"/>
                    <a:gd name="connsiteY3" fmla="*/ 17206 h 26635"/>
                    <a:gd name="connsiteX4" fmla="*/ 484 w 75017"/>
                    <a:gd name="connsiteY4" fmla="*/ 13649 h 26635"/>
                    <a:gd name="connsiteX5" fmla="*/ 4014 w 75017"/>
                    <a:gd name="connsiteY5" fmla="*/ 5184 h 26635"/>
                    <a:gd name="connsiteX6" fmla="*/ 30346 w 75017"/>
                    <a:gd name="connsiteY6" fmla="*/ 0 h 26635"/>
                    <a:gd name="connsiteX7" fmla="*/ 72506 w 75017"/>
                    <a:gd name="connsiteY7" fmla="*/ 14972 h 26635"/>
                    <a:gd name="connsiteX8" fmla="*/ 73664 w 75017"/>
                    <a:gd name="connsiteY8" fmla="*/ 24071 h 26635"/>
                    <a:gd name="connsiteX9" fmla="*/ 68508 w 75017"/>
                    <a:gd name="connsiteY9" fmla="*/ 26636 h 26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017" h="26635">
                      <a:moveTo>
                        <a:pt x="68508" y="26636"/>
                      </a:moveTo>
                      <a:cubicBezTo>
                        <a:pt x="67129" y="26636"/>
                        <a:pt x="65723" y="26195"/>
                        <a:pt x="64537" y="25257"/>
                      </a:cubicBezTo>
                      <a:cubicBezTo>
                        <a:pt x="54059" y="17123"/>
                        <a:pt x="42561" y="13015"/>
                        <a:pt x="30346" y="13015"/>
                      </a:cubicBezTo>
                      <a:cubicBezTo>
                        <a:pt x="22957" y="13015"/>
                        <a:pt x="15760" y="14421"/>
                        <a:pt x="8949" y="17206"/>
                      </a:cubicBezTo>
                      <a:cubicBezTo>
                        <a:pt x="5613" y="18557"/>
                        <a:pt x="1835" y="16985"/>
                        <a:pt x="484" y="13649"/>
                      </a:cubicBezTo>
                      <a:cubicBezTo>
                        <a:pt x="-867" y="10340"/>
                        <a:pt x="705" y="6535"/>
                        <a:pt x="4014" y="5184"/>
                      </a:cubicBezTo>
                      <a:cubicBezTo>
                        <a:pt x="12396" y="1737"/>
                        <a:pt x="21247" y="0"/>
                        <a:pt x="30346" y="0"/>
                      </a:cubicBezTo>
                      <a:cubicBezTo>
                        <a:pt x="45511" y="0"/>
                        <a:pt x="59712" y="5046"/>
                        <a:pt x="72506" y="14972"/>
                      </a:cubicBezTo>
                      <a:cubicBezTo>
                        <a:pt x="75346" y="17178"/>
                        <a:pt x="75842" y="21259"/>
                        <a:pt x="73664" y="24071"/>
                      </a:cubicBezTo>
                      <a:cubicBezTo>
                        <a:pt x="72368" y="25781"/>
                        <a:pt x="70465" y="26636"/>
                        <a:pt x="68508" y="26636"/>
                      </a:cubicBezTo>
                      <a:close/>
                    </a:path>
                  </a:pathLst>
                </a:custGeom>
                <a:solidFill>
                  <a:schemeClr val="accent1"/>
                </a:solidFill>
                <a:ln w="2750" cap="flat">
                  <a:noFill/>
                  <a:prstDash val="solid"/>
                  <a:miter/>
                </a:ln>
              </p:spPr>
              <p:txBody>
                <a:bodyPr rtlCol="0" anchor="ctr"/>
                <a:lstStyle/>
                <a:p>
                  <a:endParaRPr lang="en-GB" dirty="0"/>
                </a:p>
              </p:txBody>
            </p:sp>
            <p:sp>
              <p:nvSpPr>
                <p:cNvPr id="348" name="Freihandform: Form 190">
                  <a:extLst>
                    <a:ext uri="{FF2B5EF4-FFF2-40B4-BE49-F238E27FC236}">
                      <a16:creationId xmlns:a16="http://schemas.microsoft.com/office/drawing/2014/main" id="{666ADF7E-F4AD-454C-9C29-668FAC115FAE}"/>
                    </a:ext>
                  </a:extLst>
                </p:cNvPr>
                <p:cNvSpPr/>
                <p:nvPr/>
              </p:nvSpPr>
              <p:spPr>
                <a:xfrm>
                  <a:off x="2713070" y="2605748"/>
                  <a:ext cx="36143" cy="20653"/>
                </a:xfrm>
                <a:custGeom>
                  <a:avLst/>
                  <a:gdLst>
                    <a:gd name="connsiteX0" fmla="*/ 6480 w 36143"/>
                    <a:gd name="connsiteY0" fmla="*/ 20653 h 20653"/>
                    <a:gd name="connsiteX1" fmla="*/ 1958 w 36143"/>
                    <a:gd name="connsiteY1" fmla="*/ 18806 h 20653"/>
                    <a:gd name="connsiteX2" fmla="*/ 1848 w 36143"/>
                    <a:gd name="connsiteY2" fmla="*/ 9624 h 20653"/>
                    <a:gd name="connsiteX3" fmla="*/ 30965 w 36143"/>
                    <a:gd name="connsiteY3" fmla="*/ 635 h 20653"/>
                    <a:gd name="connsiteX4" fmla="*/ 36011 w 36143"/>
                    <a:gd name="connsiteY4" fmla="*/ 8300 h 20653"/>
                    <a:gd name="connsiteX5" fmla="*/ 28346 w 36143"/>
                    <a:gd name="connsiteY5" fmla="*/ 13374 h 20653"/>
                    <a:gd name="connsiteX6" fmla="*/ 11140 w 36143"/>
                    <a:gd name="connsiteY6" fmla="*/ 18723 h 20653"/>
                    <a:gd name="connsiteX7" fmla="*/ 6480 w 36143"/>
                    <a:gd name="connsiteY7" fmla="*/ 20653 h 20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43" h="20653">
                      <a:moveTo>
                        <a:pt x="6480" y="20653"/>
                      </a:moveTo>
                      <a:cubicBezTo>
                        <a:pt x="4853" y="20653"/>
                        <a:pt x="3199" y="20047"/>
                        <a:pt x="1958" y="18806"/>
                      </a:cubicBezTo>
                      <a:cubicBezTo>
                        <a:pt x="-606" y="16297"/>
                        <a:pt x="-661" y="12188"/>
                        <a:pt x="1848" y="9624"/>
                      </a:cubicBezTo>
                      <a:cubicBezTo>
                        <a:pt x="9430" y="1876"/>
                        <a:pt x="20460" y="-1516"/>
                        <a:pt x="30965" y="635"/>
                      </a:cubicBezTo>
                      <a:cubicBezTo>
                        <a:pt x="34467" y="1352"/>
                        <a:pt x="36728" y="4771"/>
                        <a:pt x="36011" y="8300"/>
                      </a:cubicBezTo>
                      <a:cubicBezTo>
                        <a:pt x="35294" y="11802"/>
                        <a:pt x="31848" y="14063"/>
                        <a:pt x="28346" y="13374"/>
                      </a:cubicBezTo>
                      <a:cubicBezTo>
                        <a:pt x="22169" y="12105"/>
                        <a:pt x="15634" y="14118"/>
                        <a:pt x="11140" y="18723"/>
                      </a:cubicBezTo>
                      <a:cubicBezTo>
                        <a:pt x="9872" y="20019"/>
                        <a:pt x="8162" y="20653"/>
                        <a:pt x="6480" y="20653"/>
                      </a:cubicBezTo>
                      <a:close/>
                    </a:path>
                  </a:pathLst>
                </a:custGeom>
                <a:solidFill>
                  <a:schemeClr val="accent1"/>
                </a:solidFill>
                <a:ln w="2750" cap="flat">
                  <a:noFill/>
                  <a:prstDash val="solid"/>
                  <a:miter/>
                </a:ln>
              </p:spPr>
              <p:txBody>
                <a:bodyPr rtlCol="0" anchor="ctr"/>
                <a:lstStyle/>
                <a:p>
                  <a:endParaRPr lang="en-GB" dirty="0"/>
                </a:p>
              </p:txBody>
            </p:sp>
            <p:sp>
              <p:nvSpPr>
                <p:cNvPr id="349" name="Freihandform: Form 191">
                  <a:extLst>
                    <a:ext uri="{FF2B5EF4-FFF2-40B4-BE49-F238E27FC236}">
                      <a16:creationId xmlns:a16="http://schemas.microsoft.com/office/drawing/2014/main" id="{CD87DDE0-ACB8-42A8-AD06-90C7917BDB40}"/>
                    </a:ext>
                  </a:extLst>
                </p:cNvPr>
                <p:cNvSpPr/>
                <p:nvPr/>
              </p:nvSpPr>
              <p:spPr>
                <a:xfrm>
                  <a:off x="2711202" y="2724072"/>
                  <a:ext cx="27176" cy="24395"/>
                </a:xfrm>
                <a:custGeom>
                  <a:avLst/>
                  <a:gdLst>
                    <a:gd name="connsiteX0" fmla="*/ 20673 w 27176"/>
                    <a:gd name="connsiteY0" fmla="*/ 24396 h 24395"/>
                    <a:gd name="connsiteX1" fmla="*/ 18247 w 27176"/>
                    <a:gd name="connsiteY1" fmla="*/ 23927 h 24395"/>
                    <a:gd name="connsiteX2" fmla="*/ 1151 w 27176"/>
                    <a:gd name="connsiteY2" fmla="*/ 10195 h 24395"/>
                    <a:gd name="connsiteX3" fmla="*/ 2806 w 27176"/>
                    <a:gd name="connsiteY3" fmla="*/ 1151 h 24395"/>
                    <a:gd name="connsiteX4" fmla="*/ 11822 w 27176"/>
                    <a:gd name="connsiteY4" fmla="*/ 2806 h 24395"/>
                    <a:gd name="connsiteX5" fmla="*/ 23100 w 27176"/>
                    <a:gd name="connsiteY5" fmla="*/ 11877 h 24395"/>
                    <a:gd name="connsiteX6" fmla="*/ 26712 w 27176"/>
                    <a:gd name="connsiteY6" fmla="*/ 20315 h 24395"/>
                    <a:gd name="connsiteX7" fmla="*/ 20673 w 27176"/>
                    <a:gd name="connsiteY7" fmla="*/ 24396 h 24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76" h="24395">
                      <a:moveTo>
                        <a:pt x="20673" y="24396"/>
                      </a:moveTo>
                      <a:cubicBezTo>
                        <a:pt x="19874" y="24396"/>
                        <a:pt x="19046" y="24230"/>
                        <a:pt x="18247" y="23927"/>
                      </a:cubicBezTo>
                      <a:cubicBezTo>
                        <a:pt x="11354" y="21142"/>
                        <a:pt x="5425" y="16399"/>
                        <a:pt x="1151" y="10195"/>
                      </a:cubicBezTo>
                      <a:cubicBezTo>
                        <a:pt x="-889" y="7245"/>
                        <a:pt x="-144" y="3192"/>
                        <a:pt x="2806" y="1151"/>
                      </a:cubicBezTo>
                      <a:cubicBezTo>
                        <a:pt x="5729" y="-889"/>
                        <a:pt x="9782" y="-145"/>
                        <a:pt x="11822" y="2806"/>
                      </a:cubicBezTo>
                      <a:cubicBezTo>
                        <a:pt x="14662" y="6914"/>
                        <a:pt x="18550" y="10058"/>
                        <a:pt x="23100" y="11877"/>
                      </a:cubicBezTo>
                      <a:cubicBezTo>
                        <a:pt x="26436" y="13229"/>
                        <a:pt x="28035" y="17006"/>
                        <a:pt x="26712" y="20315"/>
                      </a:cubicBezTo>
                      <a:cubicBezTo>
                        <a:pt x="25664" y="22852"/>
                        <a:pt x="23238" y="24396"/>
                        <a:pt x="20673" y="24396"/>
                      </a:cubicBezTo>
                      <a:close/>
                    </a:path>
                  </a:pathLst>
                </a:custGeom>
                <a:solidFill>
                  <a:schemeClr val="accent1"/>
                </a:solidFill>
                <a:ln w="2750" cap="flat">
                  <a:noFill/>
                  <a:prstDash val="solid"/>
                  <a:miter/>
                </a:ln>
              </p:spPr>
              <p:txBody>
                <a:bodyPr rtlCol="0" anchor="ctr"/>
                <a:lstStyle/>
                <a:p>
                  <a:endParaRPr lang="en-GB" dirty="0"/>
                </a:p>
              </p:txBody>
            </p:sp>
          </p:grpSp>
        </p:grpSp>
      </p:grpSp>
      <p:grpSp>
        <p:nvGrpSpPr>
          <p:cNvPr id="369" name="Group 368">
            <a:extLst>
              <a:ext uri="{FF2B5EF4-FFF2-40B4-BE49-F238E27FC236}">
                <a16:creationId xmlns:a16="http://schemas.microsoft.com/office/drawing/2014/main" id="{DEA15985-549F-494E-AB56-5FE785571A12}"/>
              </a:ext>
            </a:extLst>
          </p:cNvPr>
          <p:cNvGrpSpPr>
            <a:grpSpLocks noChangeAspect="1"/>
          </p:cNvGrpSpPr>
          <p:nvPr/>
        </p:nvGrpSpPr>
        <p:grpSpPr>
          <a:xfrm>
            <a:off x="3753691" y="4040093"/>
            <a:ext cx="407326" cy="431993"/>
            <a:chOff x="6167044" y="4089665"/>
            <a:chExt cx="423350" cy="448987"/>
          </a:xfrm>
        </p:grpSpPr>
        <p:grpSp>
          <p:nvGrpSpPr>
            <p:cNvPr id="370" name="Group 369">
              <a:extLst>
                <a:ext uri="{FF2B5EF4-FFF2-40B4-BE49-F238E27FC236}">
                  <a16:creationId xmlns:a16="http://schemas.microsoft.com/office/drawing/2014/main" id="{2BE4F424-8B9F-4F9D-97A7-508D76E0834B}"/>
                </a:ext>
              </a:extLst>
            </p:cNvPr>
            <p:cNvGrpSpPr/>
            <p:nvPr/>
          </p:nvGrpSpPr>
          <p:grpSpPr>
            <a:xfrm>
              <a:off x="6167062" y="4134561"/>
              <a:ext cx="423332" cy="404091"/>
              <a:chOff x="6167061" y="4134569"/>
              <a:chExt cx="423331" cy="404091"/>
            </a:xfrm>
          </p:grpSpPr>
          <p:sp>
            <p:nvSpPr>
              <p:cNvPr id="376" name="Freihandform: Form 1101">
                <a:extLst>
                  <a:ext uri="{FF2B5EF4-FFF2-40B4-BE49-F238E27FC236}">
                    <a16:creationId xmlns:a16="http://schemas.microsoft.com/office/drawing/2014/main" id="{4393E4A9-C7EB-49E9-97C5-9A25BEBAD747}"/>
                  </a:ext>
                </a:extLst>
              </p:cNvPr>
              <p:cNvSpPr/>
              <p:nvPr/>
            </p:nvSpPr>
            <p:spPr>
              <a:xfrm>
                <a:off x="6167061" y="4525845"/>
                <a:ext cx="423331" cy="12815"/>
              </a:xfrm>
              <a:custGeom>
                <a:avLst/>
                <a:gdLst>
                  <a:gd name="connsiteX0" fmla="*/ 416924 w 423331"/>
                  <a:gd name="connsiteY0" fmla="*/ 12815 h 12815"/>
                  <a:gd name="connsiteX1" fmla="*/ 6408 w 423331"/>
                  <a:gd name="connsiteY1" fmla="*/ 12815 h 12815"/>
                  <a:gd name="connsiteX2" fmla="*/ 0 w 423331"/>
                  <a:gd name="connsiteY2" fmla="*/ 6408 h 12815"/>
                  <a:gd name="connsiteX3" fmla="*/ 6408 w 423331"/>
                  <a:gd name="connsiteY3" fmla="*/ 0 h 12815"/>
                  <a:gd name="connsiteX4" fmla="*/ 416924 w 423331"/>
                  <a:gd name="connsiteY4" fmla="*/ 0 h 12815"/>
                  <a:gd name="connsiteX5" fmla="*/ 423331 w 423331"/>
                  <a:gd name="connsiteY5" fmla="*/ 6408 h 12815"/>
                  <a:gd name="connsiteX6" fmla="*/ 416924 w 423331"/>
                  <a:gd name="connsiteY6" fmla="*/ 12815 h 12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331" h="12815">
                    <a:moveTo>
                      <a:pt x="416924" y="12815"/>
                    </a:moveTo>
                    <a:lnTo>
                      <a:pt x="6408" y="12815"/>
                    </a:lnTo>
                    <a:cubicBezTo>
                      <a:pt x="2869" y="12815"/>
                      <a:pt x="0" y="9946"/>
                      <a:pt x="0" y="6408"/>
                    </a:cubicBezTo>
                    <a:cubicBezTo>
                      <a:pt x="0" y="2869"/>
                      <a:pt x="2869" y="0"/>
                      <a:pt x="6408" y="0"/>
                    </a:cubicBezTo>
                    <a:lnTo>
                      <a:pt x="416924" y="0"/>
                    </a:lnTo>
                    <a:cubicBezTo>
                      <a:pt x="420462" y="0"/>
                      <a:pt x="423331" y="2869"/>
                      <a:pt x="423331" y="6408"/>
                    </a:cubicBezTo>
                    <a:cubicBezTo>
                      <a:pt x="423331" y="9946"/>
                      <a:pt x="420462" y="12815"/>
                      <a:pt x="416924" y="12815"/>
                    </a:cubicBezTo>
                    <a:close/>
                  </a:path>
                </a:pathLst>
              </a:custGeom>
              <a:solidFill>
                <a:schemeClr val="tx2"/>
              </a:solidFill>
              <a:ln w="1717" cap="flat">
                <a:noFill/>
                <a:prstDash val="solid"/>
                <a:miter/>
              </a:ln>
            </p:spPr>
            <p:txBody>
              <a:bodyPr rtlCol="0" anchor="ctr"/>
              <a:lstStyle/>
              <a:p>
                <a:endParaRPr lang="en-GB" dirty="0"/>
              </a:p>
            </p:txBody>
          </p:sp>
          <p:sp>
            <p:nvSpPr>
              <p:cNvPr id="377" name="Freihandform: Form 1102">
                <a:extLst>
                  <a:ext uri="{FF2B5EF4-FFF2-40B4-BE49-F238E27FC236}">
                    <a16:creationId xmlns:a16="http://schemas.microsoft.com/office/drawing/2014/main" id="{6CF5FF42-7252-41E0-86AD-9D9EDEE395BD}"/>
                  </a:ext>
                </a:extLst>
              </p:cNvPr>
              <p:cNvSpPr/>
              <p:nvPr/>
            </p:nvSpPr>
            <p:spPr>
              <a:xfrm>
                <a:off x="6321003" y="4403964"/>
                <a:ext cx="205266" cy="134696"/>
              </a:xfrm>
              <a:custGeom>
                <a:avLst/>
                <a:gdLst>
                  <a:gd name="connsiteX0" fmla="*/ 189251 w 205266"/>
                  <a:gd name="connsiteY0" fmla="*/ 134697 h 134696"/>
                  <a:gd name="connsiteX1" fmla="*/ 15988 w 205266"/>
                  <a:gd name="connsiteY1" fmla="*/ 134697 h 134696"/>
                  <a:gd name="connsiteX2" fmla="*/ 15988 w 205266"/>
                  <a:gd name="connsiteY2" fmla="*/ 109616 h 134696"/>
                  <a:gd name="connsiteX3" fmla="*/ 321 w 205266"/>
                  <a:gd name="connsiteY3" fmla="*/ 22744 h 134696"/>
                  <a:gd name="connsiteX4" fmla="*/ 4530 w 205266"/>
                  <a:gd name="connsiteY4" fmla="*/ 6717 h 134696"/>
                  <a:gd name="connsiteX5" fmla="*/ 18771 w 205266"/>
                  <a:gd name="connsiteY5" fmla="*/ 0 h 134696"/>
                  <a:gd name="connsiteX6" fmla="*/ 186502 w 205266"/>
                  <a:gd name="connsiteY6" fmla="*/ 0 h 134696"/>
                  <a:gd name="connsiteX7" fmla="*/ 200743 w 205266"/>
                  <a:gd name="connsiteY7" fmla="*/ 6717 h 134696"/>
                  <a:gd name="connsiteX8" fmla="*/ 204952 w 205266"/>
                  <a:gd name="connsiteY8" fmla="*/ 22744 h 134696"/>
                  <a:gd name="connsiteX9" fmla="*/ 189285 w 205266"/>
                  <a:gd name="connsiteY9" fmla="*/ 109616 h 134696"/>
                  <a:gd name="connsiteX10" fmla="*/ 189285 w 205266"/>
                  <a:gd name="connsiteY10" fmla="*/ 134697 h 134696"/>
                  <a:gd name="connsiteX11" fmla="*/ 28803 w 205266"/>
                  <a:gd name="connsiteY11" fmla="*/ 121865 h 134696"/>
                  <a:gd name="connsiteX12" fmla="*/ 176419 w 205266"/>
                  <a:gd name="connsiteY12" fmla="*/ 121865 h 134696"/>
                  <a:gd name="connsiteX13" fmla="*/ 176522 w 205266"/>
                  <a:gd name="connsiteY13" fmla="*/ 107898 h 134696"/>
                  <a:gd name="connsiteX14" fmla="*/ 192292 w 205266"/>
                  <a:gd name="connsiteY14" fmla="*/ 20460 h 134696"/>
                  <a:gd name="connsiteX15" fmla="*/ 190866 w 205266"/>
                  <a:gd name="connsiteY15" fmla="*/ 14928 h 134696"/>
                  <a:gd name="connsiteX16" fmla="*/ 186468 w 205266"/>
                  <a:gd name="connsiteY16" fmla="*/ 12815 h 134696"/>
                  <a:gd name="connsiteX17" fmla="*/ 18737 w 205266"/>
                  <a:gd name="connsiteY17" fmla="*/ 12815 h 134696"/>
                  <a:gd name="connsiteX18" fmla="*/ 14339 w 205266"/>
                  <a:gd name="connsiteY18" fmla="*/ 14928 h 134696"/>
                  <a:gd name="connsiteX19" fmla="*/ 12913 w 205266"/>
                  <a:gd name="connsiteY19" fmla="*/ 20460 h 134696"/>
                  <a:gd name="connsiteX20" fmla="*/ 28786 w 205266"/>
                  <a:gd name="connsiteY20" fmla="*/ 109032 h 134696"/>
                  <a:gd name="connsiteX21" fmla="*/ 28786 w 205266"/>
                  <a:gd name="connsiteY21" fmla="*/ 121865 h 134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5266" h="134696">
                    <a:moveTo>
                      <a:pt x="189251" y="134697"/>
                    </a:moveTo>
                    <a:lnTo>
                      <a:pt x="15988" y="134697"/>
                    </a:lnTo>
                    <a:lnTo>
                      <a:pt x="15988" y="109616"/>
                    </a:lnTo>
                    <a:lnTo>
                      <a:pt x="321" y="22744"/>
                    </a:lnTo>
                    <a:cubicBezTo>
                      <a:pt x="-727" y="16990"/>
                      <a:pt x="819" y="11149"/>
                      <a:pt x="4530" y="6717"/>
                    </a:cubicBezTo>
                    <a:cubicBezTo>
                      <a:pt x="8086" y="2456"/>
                      <a:pt x="13291" y="0"/>
                      <a:pt x="18771" y="0"/>
                    </a:cubicBezTo>
                    <a:lnTo>
                      <a:pt x="186502" y="0"/>
                    </a:lnTo>
                    <a:cubicBezTo>
                      <a:pt x="191982" y="0"/>
                      <a:pt x="197170" y="2456"/>
                      <a:pt x="200743" y="6717"/>
                    </a:cubicBezTo>
                    <a:cubicBezTo>
                      <a:pt x="204454" y="11166"/>
                      <a:pt x="205983" y="16990"/>
                      <a:pt x="204952" y="22744"/>
                    </a:cubicBezTo>
                    <a:lnTo>
                      <a:pt x="189285" y="109616"/>
                    </a:lnTo>
                    <a:lnTo>
                      <a:pt x="189285" y="134697"/>
                    </a:lnTo>
                    <a:close/>
                    <a:moveTo>
                      <a:pt x="28803" y="121865"/>
                    </a:moveTo>
                    <a:lnTo>
                      <a:pt x="176419" y="121865"/>
                    </a:lnTo>
                    <a:lnTo>
                      <a:pt x="176522" y="107898"/>
                    </a:lnTo>
                    <a:lnTo>
                      <a:pt x="192292" y="20460"/>
                    </a:lnTo>
                    <a:cubicBezTo>
                      <a:pt x="192652" y="18467"/>
                      <a:pt x="192137" y="16457"/>
                      <a:pt x="190866" y="14928"/>
                    </a:cubicBezTo>
                    <a:cubicBezTo>
                      <a:pt x="190213" y="14138"/>
                      <a:pt x="188753" y="12815"/>
                      <a:pt x="186468" y="12815"/>
                    </a:cubicBezTo>
                    <a:lnTo>
                      <a:pt x="18737" y="12815"/>
                    </a:lnTo>
                    <a:cubicBezTo>
                      <a:pt x="16452" y="12815"/>
                      <a:pt x="15009" y="14138"/>
                      <a:pt x="14339" y="14928"/>
                    </a:cubicBezTo>
                    <a:cubicBezTo>
                      <a:pt x="13068" y="16440"/>
                      <a:pt x="12552" y="18450"/>
                      <a:pt x="12913" y="20460"/>
                    </a:cubicBezTo>
                    <a:lnTo>
                      <a:pt x="28786" y="109032"/>
                    </a:lnTo>
                    <a:lnTo>
                      <a:pt x="28786" y="121865"/>
                    </a:lnTo>
                    <a:close/>
                  </a:path>
                </a:pathLst>
              </a:custGeom>
              <a:solidFill>
                <a:schemeClr val="tx2"/>
              </a:solidFill>
              <a:ln w="1717" cap="flat">
                <a:noFill/>
                <a:prstDash val="solid"/>
                <a:miter/>
              </a:ln>
            </p:spPr>
            <p:txBody>
              <a:bodyPr rtlCol="0" anchor="ctr"/>
              <a:lstStyle/>
              <a:p>
                <a:endParaRPr lang="en-GB" dirty="0"/>
              </a:p>
            </p:txBody>
          </p:sp>
          <p:sp>
            <p:nvSpPr>
              <p:cNvPr id="378" name="Freihandform: Form 1103">
                <a:extLst>
                  <a:ext uri="{FF2B5EF4-FFF2-40B4-BE49-F238E27FC236}">
                    <a16:creationId xmlns:a16="http://schemas.microsoft.com/office/drawing/2014/main" id="{FDEB9270-8F39-4BCE-81F2-A8902506C8E5}"/>
                  </a:ext>
                </a:extLst>
              </p:cNvPr>
              <p:cNvSpPr/>
              <p:nvPr/>
            </p:nvSpPr>
            <p:spPr>
              <a:xfrm>
                <a:off x="6327165" y="4192272"/>
                <a:ext cx="57530" cy="89809"/>
              </a:xfrm>
              <a:custGeom>
                <a:avLst/>
                <a:gdLst>
                  <a:gd name="connsiteX0" fmla="*/ 44905 w 57530"/>
                  <a:gd name="connsiteY0" fmla="*/ 89810 h 89809"/>
                  <a:gd name="connsiteX1" fmla="*/ 0 w 57530"/>
                  <a:gd name="connsiteY1" fmla="*/ 44905 h 89809"/>
                  <a:gd name="connsiteX2" fmla="*/ 44905 w 57530"/>
                  <a:gd name="connsiteY2" fmla="*/ 0 h 89809"/>
                  <a:gd name="connsiteX3" fmla="*/ 57531 w 57530"/>
                  <a:gd name="connsiteY3" fmla="*/ 1804 h 89809"/>
                  <a:gd name="connsiteX4" fmla="*/ 53941 w 57530"/>
                  <a:gd name="connsiteY4" fmla="*/ 14121 h 89809"/>
                  <a:gd name="connsiteX5" fmla="*/ 44922 w 57530"/>
                  <a:gd name="connsiteY5" fmla="*/ 12833 h 89809"/>
                  <a:gd name="connsiteX6" fmla="*/ 12850 w 57530"/>
                  <a:gd name="connsiteY6" fmla="*/ 44905 h 89809"/>
                  <a:gd name="connsiteX7" fmla="*/ 44922 w 57530"/>
                  <a:gd name="connsiteY7" fmla="*/ 76977 h 89809"/>
                  <a:gd name="connsiteX8" fmla="*/ 44922 w 57530"/>
                  <a:gd name="connsiteY8" fmla="*/ 89810 h 89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530" h="89809">
                    <a:moveTo>
                      <a:pt x="44905" y="89810"/>
                    </a:moveTo>
                    <a:cubicBezTo>
                      <a:pt x="20150" y="89810"/>
                      <a:pt x="0" y="69659"/>
                      <a:pt x="0" y="44905"/>
                    </a:cubicBezTo>
                    <a:cubicBezTo>
                      <a:pt x="0" y="20151"/>
                      <a:pt x="20133" y="0"/>
                      <a:pt x="44905" y="0"/>
                    </a:cubicBezTo>
                    <a:cubicBezTo>
                      <a:pt x="49199" y="0"/>
                      <a:pt x="53442" y="601"/>
                      <a:pt x="57531" y="1804"/>
                    </a:cubicBezTo>
                    <a:lnTo>
                      <a:pt x="53941" y="14121"/>
                    </a:lnTo>
                    <a:cubicBezTo>
                      <a:pt x="51020" y="13262"/>
                      <a:pt x="47980" y="12833"/>
                      <a:pt x="44922" y="12833"/>
                    </a:cubicBezTo>
                    <a:cubicBezTo>
                      <a:pt x="27245" y="12833"/>
                      <a:pt x="12850" y="27228"/>
                      <a:pt x="12850" y="44905"/>
                    </a:cubicBezTo>
                    <a:cubicBezTo>
                      <a:pt x="12850" y="62582"/>
                      <a:pt x="27245" y="76977"/>
                      <a:pt x="44922" y="76977"/>
                    </a:cubicBezTo>
                    <a:lnTo>
                      <a:pt x="44922" y="89810"/>
                    </a:lnTo>
                    <a:close/>
                  </a:path>
                </a:pathLst>
              </a:custGeom>
              <a:solidFill>
                <a:schemeClr val="tx2"/>
              </a:solidFill>
              <a:ln w="1717" cap="flat">
                <a:noFill/>
                <a:prstDash val="solid"/>
                <a:miter/>
              </a:ln>
            </p:spPr>
            <p:txBody>
              <a:bodyPr rtlCol="0" anchor="ctr"/>
              <a:lstStyle/>
              <a:p>
                <a:endParaRPr lang="en-GB" dirty="0"/>
              </a:p>
            </p:txBody>
          </p:sp>
          <p:sp>
            <p:nvSpPr>
              <p:cNvPr id="379" name="Freihandform: Form 1104">
                <a:extLst>
                  <a:ext uri="{FF2B5EF4-FFF2-40B4-BE49-F238E27FC236}">
                    <a16:creationId xmlns:a16="http://schemas.microsoft.com/office/drawing/2014/main" id="{0C71DA40-1049-4C39-91A9-1158A671A8A0}"/>
                  </a:ext>
                </a:extLst>
              </p:cNvPr>
              <p:cNvSpPr/>
              <p:nvPr/>
            </p:nvSpPr>
            <p:spPr>
              <a:xfrm>
                <a:off x="6463047" y="4192272"/>
                <a:ext cx="56551" cy="89809"/>
              </a:xfrm>
              <a:custGeom>
                <a:avLst/>
                <a:gdLst>
                  <a:gd name="connsiteX0" fmla="*/ 11647 w 56551"/>
                  <a:gd name="connsiteY0" fmla="*/ 89810 h 89809"/>
                  <a:gd name="connsiteX1" fmla="*/ 11647 w 56551"/>
                  <a:gd name="connsiteY1" fmla="*/ 76977 h 89809"/>
                  <a:gd name="connsiteX2" fmla="*/ 43719 w 56551"/>
                  <a:gd name="connsiteY2" fmla="*/ 44905 h 89809"/>
                  <a:gd name="connsiteX3" fmla="*/ 11647 w 56551"/>
                  <a:gd name="connsiteY3" fmla="*/ 12833 h 89809"/>
                  <a:gd name="connsiteX4" fmla="*/ 3316 w 56551"/>
                  <a:gd name="connsiteY4" fmla="*/ 13915 h 89809"/>
                  <a:gd name="connsiteX5" fmla="*/ 0 w 56551"/>
                  <a:gd name="connsiteY5" fmla="*/ 1529 h 89809"/>
                  <a:gd name="connsiteX6" fmla="*/ 11647 w 56551"/>
                  <a:gd name="connsiteY6" fmla="*/ 0 h 89809"/>
                  <a:gd name="connsiteX7" fmla="*/ 56552 w 56551"/>
                  <a:gd name="connsiteY7" fmla="*/ 44905 h 89809"/>
                  <a:gd name="connsiteX8" fmla="*/ 11647 w 56551"/>
                  <a:gd name="connsiteY8" fmla="*/ 89810 h 89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551" h="89809">
                    <a:moveTo>
                      <a:pt x="11647" y="89810"/>
                    </a:moveTo>
                    <a:lnTo>
                      <a:pt x="11647" y="76977"/>
                    </a:lnTo>
                    <a:cubicBezTo>
                      <a:pt x="29324" y="76977"/>
                      <a:pt x="43719" y="62582"/>
                      <a:pt x="43719" y="44905"/>
                    </a:cubicBezTo>
                    <a:cubicBezTo>
                      <a:pt x="43719" y="27228"/>
                      <a:pt x="29324" y="12833"/>
                      <a:pt x="11647" y="12833"/>
                    </a:cubicBezTo>
                    <a:cubicBezTo>
                      <a:pt x="8830" y="12833"/>
                      <a:pt x="6030" y="13210"/>
                      <a:pt x="3316" y="13915"/>
                    </a:cubicBezTo>
                    <a:lnTo>
                      <a:pt x="0" y="1529"/>
                    </a:lnTo>
                    <a:cubicBezTo>
                      <a:pt x="3779" y="515"/>
                      <a:pt x="7713" y="0"/>
                      <a:pt x="11647" y="0"/>
                    </a:cubicBezTo>
                    <a:cubicBezTo>
                      <a:pt x="36401" y="0"/>
                      <a:pt x="56552" y="20151"/>
                      <a:pt x="56552" y="44905"/>
                    </a:cubicBezTo>
                    <a:cubicBezTo>
                      <a:pt x="56552" y="69659"/>
                      <a:pt x="36401" y="89810"/>
                      <a:pt x="11647" y="89810"/>
                    </a:cubicBezTo>
                    <a:close/>
                  </a:path>
                </a:pathLst>
              </a:custGeom>
              <a:solidFill>
                <a:schemeClr val="tx2"/>
              </a:solidFill>
              <a:ln w="1717" cap="flat">
                <a:noFill/>
                <a:prstDash val="solid"/>
                <a:miter/>
              </a:ln>
            </p:spPr>
            <p:txBody>
              <a:bodyPr rtlCol="0" anchor="ctr"/>
              <a:lstStyle/>
              <a:p>
                <a:endParaRPr lang="en-GB" dirty="0"/>
              </a:p>
            </p:txBody>
          </p:sp>
          <p:sp>
            <p:nvSpPr>
              <p:cNvPr id="380" name="Freihandform: Form 1105">
                <a:extLst>
                  <a:ext uri="{FF2B5EF4-FFF2-40B4-BE49-F238E27FC236}">
                    <a16:creationId xmlns:a16="http://schemas.microsoft.com/office/drawing/2014/main" id="{805CBC70-2A49-468F-A419-7FA5A19A84F2}"/>
                  </a:ext>
                </a:extLst>
              </p:cNvPr>
              <p:cNvSpPr/>
              <p:nvPr/>
            </p:nvSpPr>
            <p:spPr>
              <a:xfrm>
                <a:off x="6341151" y="4134569"/>
                <a:ext cx="164466" cy="76978"/>
              </a:xfrm>
              <a:custGeom>
                <a:avLst/>
                <a:gdLst>
                  <a:gd name="connsiteX0" fmla="*/ 158040 w 164466"/>
                  <a:gd name="connsiteY0" fmla="*/ 76977 h 76978"/>
                  <a:gd name="connsiteX1" fmla="*/ 151736 w 164466"/>
                  <a:gd name="connsiteY1" fmla="*/ 71703 h 76978"/>
                  <a:gd name="connsiteX2" fmla="*/ 82231 w 164466"/>
                  <a:gd name="connsiteY2" fmla="*/ 12815 h 76978"/>
                  <a:gd name="connsiteX3" fmla="*/ 12727 w 164466"/>
                  <a:gd name="connsiteY3" fmla="*/ 71703 h 76978"/>
                  <a:gd name="connsiteX4" fmla="*/ 5271 w 164466"/>
                  <a:gd name="connsiteY4" fmla="*/ 76874 h 76978"/>
                  <a:gd name="connsiteX5" fmla="*/ 100 w 164466"/>
                  <a:gd name="connsiteY5" fmla="*/ 69419 h 76978"/>
                  <a:gd name="connsiteX6" fmla="*/ 82231 w 164466"/>
                  <a:gd name="connsiteY6" fmla="*/ 0 h 76978"/>
                  <a:gd name="connsiteX7" fmla="*/ 164362 w 164466"/>
                  <a:gd name="connsiteY7" fmla="*/ 69419 h 76978"/>
                  <a:gd name="connsiteX8" fmla="*/ 159191 w 164466"/>
                  <a:gd name="connsiteY8" fmla="*/ 76874 h 76978"/>
                  <a:gd name="connsiteX9" fmla="*/ 158040 w 164466"/>
                  <a:gd name="connsiteY9" fmla="*/ 76977 h 7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466" h="76978">
                    <a:moveTo>
                      <a:pt x="158040" y="76977"/>
                    </a:moveTo>
                    <a:cubicBezTo>
                      <a:pt x="154999" y="76977"/>
                      <a:pt x="152302" y="74813"/>
                      <a:pt x="151736" y="71703"/>
                    </a:cubicBezTo>
                    <a:cubicBezTo>
                      <a:pt x="145242" y="35938"/>
                      <a:pt x="117962" y="12815"/>
                      <a:pt x="82231" y="12815"/>
                    </a:cubicBezTo>
                    <a:cubicBezTo>
                      <a:pt x="46500" y="12815"/>
                      <a:pt x="19220" y="35920"/>
                      <a:pt x="12727" y="71703"/>
                    </a:cubicBezTo>
                    <a:cubicBezTo>
                      <a:pt x="12091" y="75191"/>
                      <a:pt x="8776" y="77510"/>
                      <a:pt x="5271" y="76874"/>
                    </a:cubicBezTo>
                    <a:cubicBezTo>
                      <a:pt x="1784" y="76238"/>
                      <a:pt x="-518" y="72889"/>
                      <a:pt x="100" y="69419"/>
                    </a:cubicBezTo>
                    <a:cubicBezTo>
                      <a:pt x="7762" y="27245"/>
                      <a:pt x="40006" y="0"/>
                      <a:pt x="82231" y="0"/>
                    </a:cubicBezTo>
                    <a:cubicBezTo>
                      <a:pt x="124456" y="0"/>
                      <a:pt x="156700" y="27245"/>
                      <a:pt x="164362" y="69419"/>
                    </a:cubicBezTo>
                    <a:cubicBezTo>
                      <a:pt x="164997" y="72906"/>
                      <a:pt x="162678" y="76238"/>
                      <a:pt x="159191" y="76874"/>
                    </a:cubicBezTo>
                    <a:cubicBezTo>
                      <a:pt x="158796" y="76943"/>
                      <a:pt x="158418" y="76977"/>
                      <a:pt x="158040" y="76977"/>
                    </a:cubicBezTo>
                    <a:close/>
                  </a:path>
                </a:pathLst>
              </a:custGeom>
              <a:solidFill>
                <a:schemeClr val="tx2"/>
              </a:solidFill>
              <a:ln w="1717" cap="flat">
                <a:noFill/>
                <a:prstDash val="solid"/>
                <a:miter/>
              </a:ln>
            </p:spPr>
            <p:txBody>
              <a:bodyPr rtlCol="0" anchor="ctr"/>
              <a:lstStyle/>
              <a:p>
                <a:endParaRPr lang="en-GB" dirty="0"/>
              </a:p>
            </p:txBody>
          </p:sp>
          <p:sp>
            <p:nvSpPr>
              <p:cNvPr id="381" name="Freihandform: Form 1106">
                <a:extLst>
                  <a:ext uri="{FF2B5EF4-FFF2-40B4-BE49-F238E27FC236}">
                    <a16:creationId xmlns:a16="http://schemas.microsoft.com/office/drawing/2014/main" id="{E27F2AC3-18B3-4F0B-A130-470AF2F77D30}"/>
                  </a:ext>
                </a:extLst>
              </p:cNvPr>
              <p:cNvSpPr/>
              <p:nvPr/>
            </p:nvSpPr>
            <p:spPr>
              <a:xfrm>
                <a:off x="6333573" y="4256451"/>
                <a:ext cx="83384" cy="44887"/>
              </a:xfrm>
              <a:custGeom>
                <a:avLst/>
                <a:gdLst>
                  <a:gd name="connsiteX0" fmla="*/ 83385 w 83384"/>
                  <a:gd name="connsiteY0" fmla="*/ 44888 h 44887"/>
                  <a:gd name="connsiteX1" fmla="*/ 6408 w 83384"/>
                  <a:gd name="connsiteY1" fmla="*/ 44888 h 44887"/>
                  <a:gd name="connsiteX2" fmla="*/ 0 w 83384"/>
                  <a:gd name="connsiteY2" fmla="*/ 38480 h 44887"/>
                  <a:gd name="connsiteX3" fmla="*/ 0 w 83384"/>
                  <a:gd name="connsiteY3" fmla="*/ 0 h 44887"/>
                  <a:gd name="connsiteX4" fmla="*/ 12832 w 83384"/>
                  <a:gd name="connsiteY4" fmla="*/ 0 h 44887"/>
                  <a:gd name="connsiteX5" fmla="*/ 12832 w 83384"/>
                  <a:gd name="connsiteY5" fmla="*/ 32072 h 44887"/>
                  <a:gd name="connsiteX6" fmla="*/ 83385 w 83384"/>
                  <a:gd name="connsiteY6" fmla="*/ 32072 h 44887"/>
                  <a:gd name="connsiteX7" fmla="*/ 83385 w 83384"/>
                  <a:gd name="connsiteY7" fmla="*/ 44888 h 4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384" h="44887">
                    <a:moveTo>
                      <a:pt x="83385" y="44888"/>
                    </a:moveTo>
                    <a:lnTo>
                      <a:pt x="6408" y="44888"/>
                    </a:lnTo>
                    <a:cubicBezTo>
                      <a:pt x="2869" y="44888"/>
                      <a:pt x="0" y="42019"/>
                      <a:pt x="0" y="38480"/>
                    </a:cubicBezTo>
                    <a:lnTo>
                      <a:pt x="0" y="0"/>
                    </a:lnTo>
                    <a:lnTo>
                      <a:pt x="12832" y="0"/>
                    </a:lnTo>
                    <a:lnTo>
                      <a:pt x="12832" y="32072"/>
                    </a:lnTo>
                    <a:lnTo>
                      <a:pt x="83385" y="32072"/>
                    </a:lnTo>
                    <a:lnTo>
                      <a:pt x="83385" y="44888"/>
                    </a:lnTo>
                    <a:close/>
                  </a:path>
                </a:pathLst>
              </a:custGeom>
              <a:solidFill>
                <a:schemeClr val="tx2"/>
              </a:solidFill>
              <a:ln w="1717" cap="flat">
                <a:noFill/>
                <a:prstDash val="solid"/>
                <a:miter/>
              </a:ln>
            </p:spPr>
            <p:txBody>
              <a:bodyPr rtlCol="0" anchor="ctr"/>
              <a:lstStyle/>
              <a:p>
                <a:endParaRPr lang="en-GB" dirty="0"/>
              </a:p>
            </p:txBody>
          </p:sp>
          <p:grpSp>
            <p:nvGrpSpPr>
              <p:cNvPr id="382" name="Grafik 193">
                <a:extLst>
                  <a:ext uri="{FF2B5EF4-FFF2-40B4-BE49-F238E27FC236}">
                    <a16:creationId xmlns:a16="http://schemas.microsoft.com/office/drawing/2014/main" id="{F46B6AA9-6100-46BD-8A06-BCD44CC6158E}"/>
                  </a:ext>
                </a:extLst>
              </p:cNvPr>
              <p:cNvGrpSpPr/>
              <p:nvPr/>
            </p:nvGrpSpPr>
            <p:grpSpPr>
              <a:xfrm>
                <a:off x="6276093" y="4179474"/>
                <a:ext cx="295076" cy="359186"/>
                <a:chOff x="6276093" y="4179474"/>
                <a:chExt cx="295076" cy="359186"/>
              </a:xfrm>
              <a:solidFill>
                <a:schemeClr val="tx2"/>
              </a:solidFill>
            </p:grpSpPr>
            <p:sp>
              <p:nvSpPr>
                <p:cNvPr id="383" name="Freihandform: Form 1108">
                  <a:extLst>
                    <a:ext uri="{FF2B5EF4-FFF2-40B4-BE49-F238E27FC236}">
                      <a16:creationId xmlns:a16="http://schemas.microsoft.com/office/drawing/2014/main" id="{EB686622-77BC-4805-9BB6-E4C92C6809E6}"/>
                    </a:ext>
                  </a:extLst>
                </p:cNvPr>
                <p:cNvSpPr/>
                <p:nvPr/>
              </p:nvSpPr>
              <p:spPr>
                <a:xfrm>
                  <a:off x="6276093" y="4333394"/>
                  <a:ext cx="295076" cy="205266"/>
                </a:xfrm>
                <a:custGeom>
                  <a:avLst/>
                  <a:gdLst>
                    <a:gd name="connsiteX0" fmla="*/ 250154 w 295076"/>
                    <a:gd name="connsiteY0" fmla="*/ 205267 h 205266"/>
                    <a:gd name="connsiteX1" fmla="*/ 44905 w 295076"/>
                    <a:gd name="connsiteY1" fmla="*/ 205267 h 205266"/>
                    <a:gd name="connsiteX2" fmla="*/ 0 w 295076"/>
                    <a:gd name="connsiteY2" fmla="*/ 160362 h 205266"/>
                    <a:gd name="connsiteX3" fmla="*/ 0 w 295076"/>
                    <a:gd name="connsiteY3" fmla="*/ 109049 h 205266"/>
                    <a:gd name="connsiteX4" fmla="*/ 109049 w 295076"/>
                    <a:gd name="connsiteY4" fmla="*/ 0 h 205266"/>
                    <a:gd name="connsiteX5" fmla="*/ 186027 w 295076"/>
                    <a:gd name="connsiteY5" fmla="*/ 0 h 205266"/>
                    <a:gd name="connsiteX6" fmla="*/ 295076 w 295076"/>
                    <a:gd name="connsiteY6" fmla="*/ 109049 h 205266"/>
                    <a:gd name="connsiteX7" fmla="*/ 295076 w 295076"/>
                    <a:gd name="connsiteY7" fmla="*/ 160362 h 205266"/>
                    <a:gd name="connsiteX8" fmla="*/ 250154 w 295076"/>
                    <a:gd name="connsiteY8" fmla="*/ 205267 h 205266"/>
                    <a:gd name="connsiteX9" fmla="*/ 109049 w 295076"/>
                    <a:gd name="connsiteY9" fmla="*/ 12833 h 205266"/>
                    <a:gd name="connsiteX10" fmla="*/ 12832 w 295076"/>
                    <a:gd name="connsiteY10" fmla="*/ 109049 h 205266"/>
                    <a:gd name="connsiteX11" fmla="*/ 12832 w 295076"/>
                    <a:gd name="connsiteY11" fmla="*/ 160362 h 205266"/>
                    <a:gd name="connsiteX12" fmla="*/ 44905 w 295076"/>
                    <a:gd name="connsiteY12" fmla="*/ 192434 h 205266"/>
                    <a:gd name="connsiteX13" fmla="*/ 250154 w 295076"/>
                    <a:gd name="connsiteY13" fmla="*/ 192434 h 205266"/>
                    <a:gd name="connsiteX14" fmla="*/ 282227 w 295076"/>
                    <a:gd name="connsiteY14" fmla="*/ 160362 h 205266"/>
                    <a:gd name="connsiteX15" fmla="*/ 282227 w 295076"/>
                    <a:gd name="connsiteY15" fmla="*/ 109049 h 205266"/>
                    <a:gd name="connsiteX16" fmla="*/ 186009 w 295076"/>
                    <a:gd name="connsiteY16" fmla="*/ 12833 h 205266"/>
                    <a:gd name="connsiteX17" fmla="*/ 109049 w 295076"/>
                    <a:gd name="connsiteY17" fmla="*/ 12833 h 205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5076" h="205266">
                      <a:moveTo>
                        <a:pt x="250154" y="205267"/>
                      </a:moveTo>
                      <a:lnTo>
                        <a:pt x="44905" y="205267"/>
                      </a:lnTo>
                      <a:cubicBezTo>
                        <a:pt x="20150" y="205267"/>
                        <a:pt x="0" y="185116"/>
                        <a:pt x="0" y="160362"/>
                      </a:cubicBezTo>
                      <a:lnTo>
                        <a:pt x="0" y="109049"/>
                      </a:lnTo>
                      <a:cubicBezTo>
                        <a:pt x="0" y="48925"/>
                        <a:pt x="48907" y="0"/>
                        <a:pt x="109049" y="0"/>
                      </a:cubicBezTo>
                      <a:lnTo>
                        <a:pt x="186027" y="0"/>
                      </a:lnTo>
                      <a:cubicBezTo>
                        <a:pt x="246152" y="0"/>
                        <a:pt x="295076" y="48908"/>
                        <a:pt x="295076" y="109049"/>
                      </a:cubicBezTo>
                      <a:lnTo>
                        <a:pt x="295076" y="160362"/>
                      </a:lnTo>
                      <a:cubicBezTo>
                        <a:pt x="295059" y="185116"/>
                        <a:pt x="274908" y="205267"/>
                        <a:pt x="250154" y="205267"/>
                      </a:cubicBezTo>
                      <a:close/>
                      <a:moveTo>
                        <a:pt x="109049" y="12833"/>
                      </a:moveTo>
                      <a:cubicBezTo>
                        <a:pt x="56002" y="12833"/>
                        <a:pt x="12832" y="55985"/>
                        <a:pt x="12832" y="109049"/>
                      </a:cubicBezTo>
                      <a:lnTo>
                        <a:pt x="12832" y="160362"/>
                      </a:lnTo>
                      <a:cubicBezTo>
                        <a:pt x="12832" y="178039"/>
                        <a:pt x="27228" y="192434"/>
                        <a:pt x="44905" y="192434"/>
                      </a:cubicBezTo>
                      <a:lnTo>
                        <a:pt x="250154" y="192434"/>
                      </a:lnTo>
                      <a:cubicBezTo>
                        <a:pt x="267831" y="192434"/>
                        <a:pt x="282227" y="178039"/>
                        <a:pt x="282227" y="160362"/>
                      </a:cubicBezTo>
                      <a:lnTo>
                        <a:pt x="282227" y="109049"/>
                      </a:lnTo>
                      <a:cubicBezTo>
                        <a:pt x="282227" y="56002"/>
                        <a:pt x="239074" y="12833"/>
                        <a:pt x="186009" y="12833"/>
                      </a:cubicBezTo>
                      <a:lnTo>
                        <a:pt x="109049" y="12833"/>
                      </a:lnTo>
                      <a:close/>
                    </a:path>
                  </a:pathLst>
                </a:custGeom>
                <a:solidFill>
                  <a:schemeClr val="accent1"/>
                </a:solidFill>
                <a:ln w="1717" cap="flat">
                  <a:noFill/>
                  <a:prstDash val="solid"/>
                  <a:miter/>
                </a:ln>
              </p:spPr>
              <p:txBody>
                <a:bodyPr rtlCol="0" anchor="ctr"/>
                <a:lstStyle/>
                <a:p>
                  <a:endParaRPr lang="en-GB" dirty="0"/>
                </a:p>
              </p:txBody>
            </p:sp>
            <p:sp>
              <p:nvSpPr>
                <p:cNvPr id="384" name="Freihandform: Form 1109">
                  <a:extLst>
                    <a:ext uri="{FF2B5EF4-FFF2-40B4-BE49-F238E27FC236}">
                      <a16:creationId xmlns:a16="http://schemas.microsoft.com/office/drawing/2014/main" id="{062EA3CD-0F5D-4C21-A8F4-E728C4228C05}"/>
                    </a:ext>
                  </a:extLst>
                </p:cNvPr>
                <p:cNvSpPr/>
                <p:nvPr/>
              </p:nvSpPr>
              <p:spPr>
                <a:xfrm>
                  <a:off x="6359478" y="4179474"/>
                  <a:ext cx="128289" cy="141104"/>
                </a:xfrm>
                <a:custGeom>
                  <a:avLst/>
                  <a:gdLst>
                    <a:gd name="connsiteX0" fmla="*/ 64145 w 128289"/>
                    <a:gd name="connsiteY0" fmla="*/ 141105 h 141104"/>
                    <a:gd name="connsiteX1" fmla="*/ 0 w 128289"/>
                    <a:gd name="connsiteY1" fmla="*/ 70552 h 141104"/>
                    <a:gd name="connsiteX2" fmla="*/ 64145 w 128289"/>
                    <a:gd name="connsiteY2" fmla="*/ 0 h 141104"/>
                    <a:gd name="connsiteX3" fmla="*/ 128289 w 128289"/>
                    <a:gd name="connsiteY3" fmla="*/ 70552 h 141104"/>
                    <a:gd name="connsiteX4" fmla="*/ 64145 w 128289"/>
                    <a:gd name="connsiteY4" fmla="*/ 141105 h 141104"/>
                    <a:gd name="connsiteX5" fmla="*/ 64145 w 128289"/>
                    <a:gd name="connsiteY5" fmla="*/ 12815 h 141104"/>
                    <a:gd name="connsiteX6" fmla="*/ 12832 w 128289"/>
                    <a:gd name="connsiteY6" fmla="*/ 70535 h 141104"/>
                    <a:gd name="connsiteX7" fmla="*/ 64145 w 128289"/>
                    <a:gd name="connsiteY7" fmla="*/ 128255 h 141104"/>
                    <a:gd name="connsiteX8" fmla="*/ 115457 w 128289"/>
                    <a:gd name="connsiteY8" fmla="*/ 70535 h 141104"/>
                    <a:gd name="connsiteX9" fmla="*/ 64145 w 128289"/>
                    <a:gd name="connsiteY9" fmla="*/ 12815 h 141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289" h="141104">
                      <a:moveTo>
                        <a:pt x="64145" y="141105"/>
                      </a:moveTo>
                      <a:cubicBezTo>
                        <a:pt x="26970" y="141105"/>
                        <a:pt x="0" y="111437"/>
                        <a:pt x="0" y="70552"/>
                      </a:cubicBezTo>
                      <a:cubicBezTo>
                        <a:pt x="0" y="29667"/>
                        <a:pt x="26970" y="0"/>
                        <a:pt x="64145" y="0"/>
                      </a:cubicBezTo>
                      <a:cubicBezTo>
                        <a:pt x="101319" y="0"/>
                        <a:pt x="128289" y="29667"/>
                        <a:pt x="128289" y="70552"/>
                      </a:cubicBezTo>
                      <a:cubicBezTo>
                        <a:pt x="128289" y="111437"/>
                        <a:pt x="101302" y="141105"/>
                        <a:pt x="64145" y="141105"/>
                      </a:cubicBezTo>
                      <a:close/>
                      <a:moveTo>
                        <a:pt x="64145" y="12815"/>
                      </a:moveTo>
                      <a:cubicBezTo>
                        <a:pt x="33928" y="12815"/>
                        <a:pt x="12832" y="36556"/>
                        <a:pt x="12832" y="70535"/>
                      </a:cubicBezTo>
                      <a:cubicBezTo>
                        <a:pt x="12832" y="104514"/>
                        <a:pt x="33928" y="128255"/>
                        <a:pt x="64145" y="128255"/>
                      </a:cubicBezTo>
                      <a:cubicBezTo>
                        <a:pt x="94362" y="128255"/>
                        <a:pt x="115457" y="104514"/>
                        <a:pt x="115457" y="70535"/>
                      </a:cubicBezTo>
                      <a:cubicBezTo>
                        <a:pt x="115457" y="36556"/>
                        <a:pt x="94362" y="12815"/>
                        <a:pt x="64145" y="12815"/>
                      </a:cubicBezTo>
                      <a:close/>
                    </a:path>
                  </a:pathLst>
                </a:custGeom>
                <a:solidFill>
                  <a:schemeClr val="accent1"/>
                </a:solidFill>
                <a:ln w="1717" cap="flat">
                  <a:noFill/>
                  <a:prstDash val="solid"/>
                  <a:miter/>
                </a:ln>
              </p:spPr>
              <p:txBody>
                <a:bodyPr rtlCol="0" anchor="ctr"/>
                <a:lstStyle/>
                <a:p>
                  <a:endParaRPr lang="en-GB" dirty="0"/>
                </a:p>
              </p:txBody>
            </p:sp>
          </p:grpSp>
        </p:grpSp>
        <p:grpSp>
          <p:nvGrpSpPr>
            <p:cNvPr id="371" name="Group 370">
              <a:extLst>
                <a:ext uri="{FF2B5EF4-FFF2-40B4-BE49-F238E27FC236}">
                  <a16:creationId xmlns:a16="http://schemas.microsoft.com/office/drawing/2014/main" id="{50CD2515-BBB8-4A77-8564-2F98DA0E1CF2}"/>
                </a:ext>
              </a:extLst>
            </p:cNvPr>
            <p:cNvGrpSpPr/>
            <p:nvPr/>
          </p:nvGrpSpPr>
          <p:grpSpPr>
            <a:xfrm>
              <a:off x="6167044" y="4089665"/>
              <a:ext cx="205249" cy="179601"/>
              <a:chOff x="6167044" y="4089665"/>
              <a:chExt cx="205249" cy="179601"/>
            </a:xfrm>
          </p:grpSpPr>
          <p:sp>
            <p:nvSpPr>
              <p:cNvPr id="372" name="Freihandform: Form 1110">
                <a:extLst>
                  <a:ext uri="{FF2B5EF4-FFF2-40B4-BE49-F238E27FC236}">
                    <a16:creationId xmlns:a16="http://schemas.microsoft.com/office/drawing/2014/main" id="{F180BBAF-767E-46A6-849F-B2D9F3E65279}"/>
                  </a:ext>
                </a:extLst>
              </p:cNvPr>
              <p:cNvSpPr/>
              <p:nvPr/>
            </p:nvSpPr>
            <p:spPr>
              <a:xfrm>
                <a:off x="6167044" y="4089665"/>
                <a:ext cx="205249" cy="179601"/>
              </a:xfrm>
              <a:custGeom>
                <a:avLst/>
                <a:gdLst>
                  <a:gd name="connsiteX0" fmla="*/ 96217 w 205249"/>
                  <a:gd name="connsiteY0" fmla="*/ 179602 h 179601"/>
                  <a:gd name="connsiteX1" fmla="*/ 92369 w 205249"/>
                  <a:gd name="connsiteY1" fmla="*/ 178314 h 179601"/>
                  <a:gd name="connsiteX2" fmla="*/ 42757 w 205249"/>
                  <a:gd name="connsiteY2" fmla="*/ 141105 h 179601"/>
                  <a:gd name="connsiteX3" fmla="*/ 19240 w 205249"/>
                  <a:gd name="connsiteY3" fmla="*/ 141105 h 179601"/>
                  <a:gd name="connsiteX4" fmla="*/ 0 w 205249"/>
                  <a:gd name="connsiteY4" fmla="*/ 121865 h 179601"/>
                  <a:gd name="connsiteX5" fmla="*/ 0 w 205249"/>
                  <a:gd name="connsiteY5" fmla="*/ 19240 h 179601"/>
                  <a:gd name="connsiteX6" fmla="*/ 19240 w 205249"/>
                  <a:gd name="connsiteY6" fmla="*/ 0 h 179601"/>
                  <a:gd name="connsiteX7" fmla="*/ 186010 w 205249"/>
                  <a:gd name="connsiteY7" fmla="*/ 0 h 179601"/>
                  <a:gd name="connsiteX8" fmla="*/ 205250 w 205249"/>
                  <a:gd name="connsiteY8" fmla="*/ 19240 h 179601"/>
                  <a:gd name="connsiteX9" fmla="*/ 205250 w 205249"/>
                  <a:gd name="connsiteY9" fmla="*/ 51312 h 179601"/>
                  <a:gd name="connsiteX10" fmla="*/ 192417 w 205249"/>
                  <a:gd name="connsiteY10" fmla="*/ 51312 h 179601"/>
                  <a:gd name="connsiteX11" fmla="*/ 192417 w 205249"/>
                  <a:gd name="connsiteY11" fmla="*/ 19240 h 179601"/>
                  <a:gd name="connsiteX12" fmla="*/ 186010 w 205249"/>
                  <a:gd name="connsiteY12" fmla="*/ 12833 h 179601"/>
                  <a:gd name="connsiteX13" fmla="*/ 19240 w 205249"/>
                  <a:gd name="connsiteY13" fmla="*/ 12833 h 179601"/>
                  <a:gd name="connsiteX14" fmla="*/ 12832 w 205249"/>
                  <a:gd name="connsiteY14" fmla="*/ 19240 h 179601"/>
                  <a:gd name="connsiteX15" fmla="*/ 12832 w 205249"/>
                  <a:gd name="connsiteY15" fmla="*/ 121865 h 179601"/>
                  <a:gd name="connsiteX16" fmla="*/ 19240 w 205249"/>
                  <a:gd name="connsiteY16" fmla="*/ 128272 h 179601"/>
                  <a:gd name="connsiteX17" fmla="*/ 44905 w 205249"/>
                  <a:gd name="connsiteY17" fmla="*/ 128272 h 179601"/>
                  <a:gd name="connsiteX18" fmla="*/ 48753 w 205249"/>
                  <a:gd name="connsiteY18" fmla="*/ 129561 h 179601"/>
                  <a:gd name="connsiteX19" fmla="*/ 89810 w 205249"/>
                  <a:gd name="connsiteY19" fmla="*/ 160345 h 179601"/>
                  <a:gd name="connsiteX20" fmla="*/ 89810 w 205249"/>
                  <a:gd name="connsiteY20" fmla="*/ 134680 h 179601"/>
                  <a:gd name="connsiteX21" fmla="*/ 96217 w 205249"/>
                  <a:gd name="connsiteY21" fmla="*/ 128272 h 179601"/>
                  <a:gd name="connsiteX22" fmla="*/ 147529 w 205249"/>
                  <a:gd name="connsiteY22" fmla="*/ 128272 h 179601"/>
                  <a:gd name="connsiteX23" fmla="*/ 147529 w 205249"/>
                  <a:gd name="connsiteY23" fmla="*/ 141105 h 179601"/>
                  <a:gd name="connsiteX24" fmla="*/ 102625 w 205249"/>
                  <a:gd name="connsiteY24" fmla="*/ 141105 h 179601"/>
                  <a:gd name="connsiteX25" fmla="*/ 102625 w 205249"/>
                  <a:gd name="connsiteY25" fmla="*/ 173177 h 179601"/>
                  <a:gd name="connsiteX26" fmla="*/ 99086 w 205249"/>
                  <a:gd name="connsiteY26" fmla="*/ 178915 h 179601"/>
                  <a:gd name="connsiteX27" fmla="*/ 96217 w 205249"/>
                  <a:gd name="connsiteY27" fmla="*/ 179602 h 179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5249" h="179601">
                    <a:moveTo>
                      <a:pt x="96217" y="179602"/>
                    </a:moveTo>
                    <a:cubicBezTo>
                      <a:pt x="94860" y="179602"/>
                      <a:pt x="93503" y="179172"/>
                      <a:pt x="92369" y="178314"/>
                    </a:cubicBezTo>
                    <a:lnTo>
                      <a:pt x="42757" y="141105"/>
                    </a:lnTo>
                    <a:lnTo>
                      <a:pt x="19240" y="141105"/>
                    </a:lnTo>
                    <a:cubicBezTo>
                      <a:pt x="8624" y="141105"/>
                      <a:pt x="0" y="132481"/>
                      <a:pt x="0" y="121865"/>
                    </a:cubicBezTo>
                    <a:lnTo>
                      <a:pt x="0" y="19240"/>
                    </a:lnTo>
                    <a:cubicBezTo>
                      <a:pt x="0" y="8624"/>
                      <a:pt x="8624" y="0"/>
                      <a:pt x="19240" y="0"/>
                    </a:cubicBezTo>
                    <a:lnTo>
                      <a:pt x="186010" y="0"/>
                    </a:lnTo>
                    <a:cubicBezTo>
                      <a:pt x="196626" y="0"/>
                      <a:pt x="205250" y="8624"/>
                      <a:pt x="205250" y="19240"/>
                    </a:cubicBezTo>
                    <a:lnTo>
                      <a:pt x="205250" y="51312"/>
                    </a:lnTo>
                    <a:lnTo>
                      <a:pt x="192417" y="51312"/>
                    </a:lnTo>
                    <a:lnTo>
                      <a:pt x="192417" y="19240"/>
                    </a:lnTo>
                    <a:cubicBezTo>
                      <a:pt x="192417" y="15701"/>
                      <a:pt x="189531" y="12833"/>
                      <a:pt x="186010" y="12833"/>
                    </a:cubicBezTo>
                    <a:lnTo>
                      <a:pt x="19240" y="12833"/>
                    </a:lnTo>
                    <a:cubicBezTo>
                      <a:pt x="15701" y="12833"/>
                      <a:pt x="12832" y="15701"/>
                      <a:pt x="12832" y="19240"/>
                    </a:cubicBezTo>
                    <a:lnTo>
                      <a:pt x="12832" y="121865"/>
                    </a:lnTo>
                    <a:cubicBezTo>
                      <a:pt x="12832" y="125403"/>
                      <a:pt x="15718" y="128272"/>
                      <a:pt x="19240" y="128272"/>
                    </a:cubicBezTo>
                    <a:lnTo>
                      <a:pt x="44905" y="128272"/>
                    </a:lnTo>
                    <a:cubicBezTo>
                      <a:pt x="46296" y="128272"/>
                      <a:pt x="47636" y="128719"/>
                      <a:pt x="48753" y="129561"/>
                    </a:cubicBezTo>
                    <a:lnTo>
                      <a:pt x="89810" y="160345"/>
                    </a:lnTo>
                    <a:lnTo>
                      <a:pt x="89810" y="134680"/>
                    </a:lnTo>
                    <a:cubicBezTo>
                      <a:pt x="89810" y="131141"/>
                      <a:pt x="92678" y="128272"/>
                      <a:pt x="96217" y="128272"/>
                    </a:cubicBezTo>
                    <a:lnTo>
                      <a:pt x="147529" y="128272"/>
                    </a:lnTo>
                    <a:lnTo>
                      <a:pt x="147529" y="141105"/>
                    </a:lnTo>
                    <a:lnTo>
                      <a:pt x="102625" y="141105"/>
                    </a:lnTo>
                    <a:lnTo>
                      <a:pt x="102625" y="173177"/>
                    </a:lnTo>
                    <a:cubicBezTo>
                      <a:pt x="102625" y="175599"/>
                      <a:pt x="101250" y="177832"/>
                      <a:pt x="99086" y="178915"/>
                    </a:cubicBezTo>
                    <a:cubicBezTo>
                      <a:pt x="98193" y="179379"/>
                      <a:pt x="97196" y="179602"/>
                      <a:pt x="96217" y="179602"/>
                    </a:cubicBezTo>
                    <a:close/>
                  </a:path>
                </a:pathLst>
              </a:custGeom>
              <a:solidFill>
                <a:schemeClr val="accent1"/>
              </a:solidFill>
              <a:ln w="1717" cap="flat">
                <a:noFill/>
                <a:prstDash val="solid"/>
                <a:miter/>
              </a:ln>
            </p:spPr>
            <p:txBody>
              <a:bodyPr rtlCol="0" anchor="ctr"/>
              <a:lstStyle/>
              <a:p>
                <a:endParaRPr lang="en-GB" dirty="0"/>
              </a:p>
            </p:txBody>
          </p:sp>
          <p:sp>
            <p:nvSpPr>
              <p:cNvPr id="373" name="Freihandform: Form 1111">
                <a:extLst>
                  <a:ext uri="{FF2B5EF4-FFF2-40B4-BE49-F238E27FC236}">
                    <a16:creationId xmlns:a16="http://schemas.microsoft.com/office/drawing/2014/main" id="{49B50C51-E30B-4FD3-A8B7-C7CB5535D399}"/>
                  </a:ext>
                </a:extLst>
              </p:cNvPr>
              <p:cNvSpPr/>
              <p:nvPr/>
            </p:nvSpPr>
            <p:spPr>
              <a:xfrm>
                <a:off x="6218373" y="4166642"/>
                <a:ext cx="12832" cy="12832"/>
              </a:xfrm>
              <a:custGeom>
                <a:avLst/>
                <a:gdLst>
                  <a:gd name="connsiteX0" fmla="*/ 0 w 12832"/>
                  <a:gd name="connsiteY0" fmla="*/ 0 h 12832"/>
                  <a:gd name="connsiteX1" fmla="*/ 12832 w 12832"/>
                  <a:gd name="connsiteY1" fmla="*/ 0 h 12832"/>
                  <a:gd name="connsiteX2" fmla="*/ 12832 w 12832"/>
                  <a:gd name="connsiteY2" fmla="*/ 12832 h 12832"/>
                  <a:gd name="connsiteX3" fmla="*/ 0 w 12832"/>
                  <a:gd name="connsiteY3" fmla="*/ 12832 h 12832"/>
                </a:gdLst>
                <a:ahLst/>
                <a:cxnLst>
                  <a:cxn ang="0">
                    <a:pos x="connsiteX0" y="connsiteY0"/>
                  </a:cxn>
                  <a:cxn ang="0">
                    <a:pos x="connsiteX1" y="connsiteY1"/>
                  </a:cxn>
                  <a:cxn ang="0">
                    <a:pos x="connsiteX2" y="connsiteY2"/>
                  </a:cxn>
                  <a:cxn ang="0">
                    <a:pos x="connsiteX3" y="connsiteY3"/>
                  </a:cxn>
                </a:cxnLst>
                <a:rect l="l" t="t" r="r" b="b"/>
                <a:pathLst>
                  <a:path w="12832" h="12832">
                    <a:moveTo>
                      <a:pt x="0" y="0"/>
                    </a:moveTo>
                    <a:lnTo>
                      <a:pt x="12832" y="0"/>
                    </a:lnTo>
                    <a:lnTo>
                      <a:pt x="12832" y="12832"/>
                    </a:lnTo>
                    <a:lnTo>
                      <a:pt x="0" y="12832"/>
                    </a:lnTo>
                    <a:close/>
                  </a:path>
                </a:pathLst>
              </a:custGeom>
              <a:solidFill>
                <a:schemeClr val="accent1"/>
              </a:solidFill>
              <a:ln w="1717" cap="flat">
                <a:noFill/>
                <a:prstDash val="solid"/>
                <a:miter/>
              </a:ln>
            </p:spPr>
            <p:txBody>
              <a:bodyPr rtlCol="0" anchor="ctr"/>
              <a:lstStyle/>
              <a:p>
                <a:endParaRPr lang="en-GB" dirty="0"/>
              </a:p>
            </p:txBody>
          </p:sp>
          <p:sp>
            <p:nvSpPr>
              <p:cNvPr id="374" name="Freihandform: Form 1112">
                <a:extLst>
                  <a:ext uri="{FF2B5EF4-FFF2-40B4-BE49-F238E27FC236}">
                    <a16:creationId xmlns:a16="http://schemas.microsoft.com/office/drawing/2014/main" id="{37E0ECFD-73E6-475D-AC39-C4226B4EDF57}"/>
                  </a:ext>
                </a:extLst>
              </p:cNvPr>
              <p:cNvSpPr/>
              <p:nvPr/>
            </p:nvSpPr>
            <p:spPr>
              <a:xfrm>
                <a:off x="6263261" y="4166642"/>
                <a:ext cx="12832" cy="12832"/>
              </a:xfrm>
              <a:custGeom>
                <a:avLst/>
                <a:gdLst>
                  <a:gd name="connsiteX0" fmla="*/ 0 w 12832"/>
                  <a:gd name="connsiteY0" fmla="*/ 0 h 12832"/>
                  <a:gd name="connsiteX1" fmla="*/ 12832 w 12832"/>
                  <a:gd name="connsiteY1" fmla="*/ 0 h 12832"/>
                  <a:gd name="connsiteX2" fmla="*/ 12832 w 12832"/>
                  <a:gd name="connsiteY2" fmla="*/ 12832 h 12832"/>
                  <a:gd name="connsiteX3" fmla="*/ 0 w 12832"/>
                  <a:gd name="connsiteY3" fmla="*/ 12832 h 12832"/>
                </a:gdLst>
                <a:ahLst/>
                <a:cxnLst>
                  <a:cxn ang="0">
                    <a:pos x="connsiteX0" y="connsiteY0"/>
                  </a:cxn>
                  <a:cxn ang="0">
                    <a:pos x="connsiteX1" y="connsiteY1"/>
                  </a:cxn>
                  <a:cxn ang="0">
                    <a:pos x="connsiteX2" y="connsiteY2"/>
                  </a:cxn>
                  <a:cxn ang="0">
                    <a:pos x="connsiteX3" y="connsiteY3"/>
                  </a:cxn>
                </a:cxnLst>
                <a:rect l="l" t="t" r="r" b="b"/>
                <a:pathLst>
                  <a:path w="12832" h="12832">
                    <a:moveTo>
                      <a:pt x="0" y="0"/>
                    </a:moveTo>
                    <a:lnTo>
                      <a:pt x="12832" y="0"/>
                    </a:lnTo>
                    <a:lnTo>
                      <a:pt x="12832" y="12832"/>
                    </a:lnTo>
                    <a:lnTo>
                      <a:pt x="0" y="12832"/>
                    </a:lnTo>
                    <a:close/>
                  </a:path>
                </a:pathLst>
              </a:custGeom>
              <a:solidFill>
                <a:schemeClr val="accent1"/>
              </a:solidFill>
              <a:ln w="1717" cap="flat">
                <a:noFill/>
                <a:prstDash val="solid"/>
                <a:miter/>
              </a:ln>
            </p:spPr>
            <p:txBody>
              <a:bodyPr rtlCol="0" anchor="ctr"/>
              <a:lstStyle/>
              <a:p>
                <a:endParaRPr lang="en-GB" dirty="0"/>
              </a:p>
            </p:txBody>
          </p:sp>
          <p:sp>
            <p:nvSpPr>
              <p:cNvPr id="375" name="Freihandform: Form 1113">
                <a:extLst>
                  <a:ext uri="{FF2B5EF4-FFF2-40B4-BE49-F238E27FC236}">
                    <a16:creationId xmlns:a16="http://schemas.microsoft.com/office/drawing/2014/main" id="{88680C52-6870-4B8A-9338-9F623EC8AE12}"/>
                  </a:ext>
                </a:extLst>
              </p:cNvPr>
              <p:cNvSpPr/>
              <p:nvPr/>
            </p:nvSpPr>
            <p:spPr>
              <a:xfrm>
                <a:off x="6308166" y="4166642"/>
                <a:ext cx="12832" cy="12832"/>
              </a:xfrm>
              <a:custGeom>
                <a:avLst/>
                <a:gdLst>
                  <a:gd name="connsiteX0" fmla="*/ 0 w 12832"/>
                  <a:gd name="connsiteY0" fmla="*/ 0 h 12832"/>
                  <a:gd name="connsiteX1" fmla="*/ 12832 w 12832"/>
                  <a:gd name="connsiteY1" fmla="*/ 0 h 12832"/>
                  <a:gd name="connsiteX2" fmla="*/ 12832 w 12832"/>
                  <a:gd name="connsiteY2" fmla="*/ 12832 h 12832"/>
                  <a:gd name="connsiteX3" fmla="*/ 0 w 12832"/>
                  <a:gd name="connsiteY3" fmla="*/ 12832 h 12832"/>
                </a:gdLst>
                <a:ahLst/>
                <a:cxnLst>
                  <a:cxn ang="0">
                    <a:pos x="connsiteX0" y="connsiteY0"/>
                  </a:cxn>
                  <a:cxn ang="0">
                    <a:pos x="connsiteX1" y="connsiteY1"/>
                  </a:cxn>
                  <a:cxn ang="0">
                    <a:pos x="connsiteX2" y="connsiteY2"/>
                  </a:cxn>
                  <a:cxn ang="0">
                    <a:pos x="connsiteX3" y="connsiteY3"/>
                  </a:cxn>
                </a:cxnLst>
                <a:rect l="l" t="t" r="r" b="b"/>
                <a:pathLst>
                  <a:path w="12832" h="12832">
                    <a:moveTo>
                      <a:pt x="0" y="0"/>
                    </a:moveTo>
                    <a:lnTo>
                      <a:pt x="12832" y="0"/>
                    </a:lnTo>
                    <a:lnTo>
                      <a:pt x="12832" y="12832"/>
                    </a:lnTo>
                    <a:lnTo>
                      <a:pt x="0" y="12832"/>
                    </a:lnTo>
                    <a:close/>
                  </a:path>
                </a:pathLst>
              </a:custGeom>
              <a:solidFill>
                <a:schemeClr val="accent1"/>
              </a:solidFill>
              <a:ln w="1717" cap="flat">
                <a:noFill/>
                <a:prstDash val="solid"/>
                <a:miter/>
              </a:ln>
            </p:spPr>
            <p:txBody>
              <a:bodyPr rtlCol="0" anchor="ctr"/>
              <a:lstStyle/>
              <a:p>
                <a:endParaRPr lang="en-GB" dirty="0"/>
              </a:p>
            </p:txBody>
          </p:sp>
        </p:grpSp>
      </p:grpSp>
      <p:sp>
        <p:nvSpPr>
          <p:cNvPr id="19" name="TextBox 18">
            <a:extLst>
              <a:ext uri="{FF2B5EF4-FFF2-40B4-BE49-F238E27FC236}">
                <a16:creationId xmlns:a16="http://schemas.microsoft.com/office/drawing/2014/main" id="{B74932FF-CB3D-4D06-9FAE-C1C30F625BB7}"/>
              </a:ext>
            </a:extLst>
          </p:cNvPr>
          <p:cNvSpPr txBox="1"/>
          <p:nvPr/>
        </p:nvSpPr>
        <p:spPr>
          <a:xfrm>
            <a:off x="8007638"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High-class</a:t>
            </a:r>
            <a:br>
              <a:rPr lang="en-GB" sz="700" dirty="0">
                <a:solidFill>
                  <a:schemeClr val="tx2"/>
                </a:solidFill>
              </a:rPr>
            </a:br>
            <a:r>
              <a:rPr lang="en-GB" sz="700" dirty="0">
                <a:solidFill>
                  <a:schemeClr val="tx2"/>
                </a:solidFill>
              </a:rPr>
              <a:t>specialist</a:t>
            </a:r>
          </a:p>
        </p:txBody>
      </p:sp>
      <p:sp>
        <p:nvSpPr>
          <p:cNvPr id="20" name="TextBox 19">
            <a:extLst>
              <a:ext uri="{FF2B5EF4-FFF2-40B4-BE49-F238E27FC236}">
                <a16:creationId xmlns:a16="http://schemas.microsoft.com/office/drawing/2014/main" id="{A5AC61B1-106D-4A45-B755-1AFF2ECF13DC}"/>
              </a:ext>
            </a:extLst>
          </p:cNvPr>
          <p:cNvSpPr txBox="1"/>
          <p:nvPr/>
        </p:nvSpPr>
        <p:spPr>
          <a:xfrm>
            <a:off x="6962205"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HR management</a:t>
            </a:r>
          </a:p>
        </p:txBody>
      </p:sp>
      <p:sp>
        <p:nvSpPr>
          <p:cNvPr id="21" name="TextBox 20">
            <a:extLst>
              <a:ext uri="{FF2B5EF4-FFF2-40B4-BE49-F238E27FC236}">
                <a16:creationId xmlns:a16="http://schemas.microsoft.com/office/drawing/2014/main" id="{0A38803D-7111-49EC-A880-902935B21570}"/>
              </a:ext>
            </a:extLst>
          </p:cNvPr>
          <p:cNvSpPr txBox="1"/>
          <p:nvPr/>
        </p:nvSpPr>
        <p:spPr>
          <a:xfrm>
            <a:off x="5916771"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terrelationship</a:t>
            </a:r>
          </a:p>
        </p:txBody>
      </p:sp>
      <p:sp>
        <p:nvSpPr>
          <p:cNvPr id="22" name="TextBox 21">
            <a:extLst>
              <a:ext uri="{FF2B5EF4-FFF2-40B4-BE49-F238E27FC236}">
                <a16:creationId xmlns:a16="http://schemas.microsoft.com/office/drawing/2014/main" id="{59329821-D429-4937-9A25-EF6CEE34C4AD}"/>
              </a:ext>
            </a:extLst>
          </p:cNvPr>
          <p:cNvSpPr txBox="1"/>
          <p:nvPr/>
        </p:nvSpPr>
        <p:spPr>
          <a:xfrm>
            <a:off x="487133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takeholders</a:t>
            </a:r>
          </a:p>
        </p:txBody>
      </p:sp>
      <p:sp>
        <p:nvSpPr>
          <p:cNvPr id="23" name="TextBox 22">
            <a:extLst>
              <a:ext uri="{FF2B5EF4-FFF2-40B4-BE49-F238E27FC236}">
                <a16:creationId xmlns:a16="http://schemas.microsoft.com/office/drawing/2014/main" id="{BC614680-E8D7-4B61-BC24-9B9FA2D61D9F}"/>
              </a:ext>
            </a:extLst>
          </p:cNvPr>
          <p:cNvSpPr txBox="1"/>
          <p:nvPr/>
        </p:nvSpPr>
        <p:spPr>
          <a:xfrm>
            <a:off x="8007638"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dapt to</a:t>
            </a:r>
            <a:br>
              <a:rPr lang="en-GB" sz="700" dirty="0">
                <a:solidFill>
                  <a:schemeClr val="tx2"/>
                </a:solidFill>
              </a:rPr>
            </a:br>
            <a:r>
              <a:rPr lang="en-GB" sz="700" dirty="0">
                <a:solidFill>
                  <a:schemeClr val="tx2"/>
                </a:solidFill>
              </a:rPr>
              <a:t>change</a:t>
            </a:r>
          </a:p>
        </p:txBody>
      </p:sp>
      <p:sp>
        <p:nvSpPr>
          <p:cNvPr id="24" name="TextBox 23">
            <a:extLst>
              <a:ext uri="{FF2B5EF4-FFF2-40B4-BE49-F238E27FC236}">
                <a16:creationId xmlns:a16="http://schemas.microsoft.com/office/drawing/2014/main" id="{5C6E9F8E-B028-4D0F-A704-781C5B4A01E6}"/>
              </a:ext>
            </a:extLst>
          </p:cNvPr>
          <p:cNvSpPr txBox="1"/>
          <p:nvPr/>
        </p:nvSpPr>
        <p:spPr>
          <a:xfrm>
            <a:off x="6962205"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vestors</a:t>
            </a:r>
          </a:p>
        </p:txBody>
      </p:sp>
      <p:sp>
        <p:nvSpPr>
          <p:cNvPr id="25" name="TextBox 24">
            <a:extLst>
              <a:ext uri="{FF2B5EF4-FFF2-40B4-BE49-F238E27FC236}">
                <a16:creationId xmlns:a16="http://schemas.microsoft.com/office/drawing/2014/main" id="{8E1E9E02-B8D1-4087-B3E5-C57F0CAFAB59}"/>
              </a:ext>
            </a:extLst>
          </p:cNvPr>
          <p:cNvSpPr txBox="1"/>
          <p:nvPr/>
        </p:nvSpPr>
        <p:spPr>
          <a:xfrm>
            <a:off x="5916771"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ntributions</a:t>
            </a:r>
          </a:p>
        </p:txBody>
      </p:sp>
      <p:sp>
        <p:nvSpPr>
          <p:cNvPr id="26" name="TextBox 25">
            <a:extLst>
              <a:ext uri="{FF2B5EF4-FFF2-40B4-BE49-F238E27FC236}">
                <a16:creationId xmlns:a16="http://schemas.microsoft.com/office/drawing/2014/main" id="{6F360193-C1C1-454F-B963-A0446DB919A6}"/>
              </a:ext>
            </a:extLst>
          </p:cNvPr>
          <p:cNvSpPr txBox="1"/>
          <p:nvPr/>
        </p:nvSpPr>
        <p:spPr>
          <a:xfrm>
            <a:off x="4813995" y="3723675"/>
            <a:ext cx="798548" cy="215444"/>
          </a:xfrm>
          <a:prstGeom prst="rect">
            <a:avLst/>
          </a:prstGeom>
          <a:noFill/>
          <a:effectLst/>
        </p:spPr>
        <p:txBody>
          <a:bodyPr wrap="square" lIns="0" tIns="0" rIns="0" bIns="0" rtlCol="0" anchor="t">
            <a:spAutoFit/>
          </a:bodyPr>
          <a:lstStyle/>
          <a:p>
            <a:pPr algn="ctr"/>
            <a:r>
              <a:rPr lang="en-GB" sz="700" dirty="0">
                <a:solidFill>
                  <a:schemeClr val="tx2"/>
                </a:solidFill>
              </a:rPr>
              <a:t>Effective</a:t>
            </a:r>
            <a:br>
              <a:rPr lang="en-GB" sz="700" dirty="0">
                <a:solidFill>
                  <a:schemeClr val="tx2"/>
                </a:solidFill>
              </a:rPr>
            </a:br>
            <a:r>
              <a:rPr lang="en-GB" sz="700" dirty="0">
                <a:solidFill>
                  <a:schemeClr val="tx2"/>
                </a:solidFill>
              </a:rPr>
              <a:t>listening</a:t>
            </a:r>
          </a:p>
        </p:txBody>
      </p:sp>
      <p:sp>
        <p:nvSpPr>
          <p:cNvPr id="27" name="TextBox 26">
            <a:extLst>
              <a:ext uri="{FF2B5EF4-FFF2-40B4-BE49-F238E27FC236}">
                <a16:creationId xmlns:a16="http://schemas.microsoft.com/office/drawing/2014/main" id="{6690BE24-379C-44D3-BD66-FC635EF30F52}"/>
              </a:ext>
            </a:extLst>
          </p:cNvPr>
          <p:cNvSpPr txBox="1"/>
          <p:nvPr/>
        </p:nvSpPr>
        <p:spPr>
          <a:xfrm>
            <a:off x="8007638"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novative</a:t>
            </a:r>
          </a:p>
        </p:txBody>
      </p:sp>
      <p:sp>
        <p:nvSpPr>
          <p:cNvPr id="28" name="TextBox 27">
            <a:extLst>
              <a:ext uri="{FF2B5EF4-FFF2-40B4-BE49-F238E27FC236}">
                <a16:creationId xmlns:a16="http://schemas.microsoft.com/office/drawing/2014/main" id="{CDEFAABB-57DF-4EFA-A66A-33CFF828E25E}"/>
              </a:ext>
            </a:extLst>
          </p:cNvPr>
          <p:cNvSpPr txBox="1"/>
          <p:nvPr/>
        </p:nvSpPr>
        <p:spPr>
          <a:xfrm>
            <a:off x="6962205"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eing</a:t>
            </a:r>
            <a:br>
              <a:rPr lang="en-GB" sz="700" dirty="0">
                <a:solidFill>
                  <a:schemeClr val="tx2"/>
                </a:solidFill>
              </a:rPr>
            </a:br>
            <a:r>
              <a:rPr lang="en-GB" sz="700" dirty="0">
                <a:solidFill>
                  <a:schemeClr val="tx2"/>
                </a:solidFill>
              </a:rPr>
              <a:t>collaborative</a:t>
            </a:r>
          </a:p>
        </p:txBody>
      </p:sp>
      <p:sp>
        <p:nvSpPr>
          <p:cNvPr id="29" name="TextBox 28">
            <a:extLst>
              <a:ext uri="{FF2B5EF4-FFF2-40B4-BE49-F238E27FC236}">
                <a16:creationId xmlns:a16="http://schemas.microsoft.com/office/drawing/2014/main" id="{BA1D223A-3EAC-4C4A-961F-E3B859B57BA3}"/>
              </a:ext>
            </a:extLst>
          </p:cNvPr>
          <p:cNvSpPr txBox="1"/>
          <p:nvPr/>
        </p:nvSpPr>
        <p:spPr>
          <a:xfrm>
            <a:off x="5916771"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lear vision</a:t>
            </a:r>
          </a:p>
        </p:txBody>
      </p:sp>
      <p:sp>
        <p:nvSpPr>
          <p:cNvPr id="30" name="TextBox 29">
            <a:extLst>
              <a:ext uri="{FF2B5EF4-FFF2-40B4-BE49-F238E27FC236}">
                <a16:creationId xmlns:a16="http://schemas.microsoft.com/office/drawing/2014/main" id="{E899A0FA-EF8B-4694-BAFB-A93012EE51BF}"/>
              </a:ext>
            </a:extLst>
          </p:cNvPr>
          <p:cNvSpPr txBox="1"/>
          <p:nvPr/>
        </p:nvSpPr>
        <p:spPr>
          <a:xfrm>
            <a:off x="487133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Leadership</a:t>
            </a:r>
            <a:br>
              <a:rPr lang="en-GB" sz="700" dirty="0">
                <a:solidFill>
                  <a:schemeClr val="tx2"/>
                </a:solidFill>
              </a:rPr>
            </a:br>
            <a:r>
              <a:rPr lang="en-GB" sz="700" dirty="0">
                <a:solidFill>
                  <a:schemeClr val="tx2"/>
                </a:solidFill>
              </a:rPr>
              <a:t>training</a:t>
            </a:r>
          </a:p>
        </p:txBody>
      </p:sp>
      <p:sp>
        <p:nvSpPr>
          <p:cNvPr id="31" name="TextBox 30">
            <a:extLst>
              <a:ext uri="{FF2B5EF4-FFF2-40B4-BE49-F238E27FC236}">
                <a16:creationId xmlns:a16="http://schemas.microsoft.com/office/drawing/2014/main" id="{D4C405BF-2779-426D-A613-266F662A40B1}"/>
              </a:ext>
            </a:extLst>
          </p:cNvPr>
          <p:cNvSpPr txBox="1"/>
          <p:nvPr/>
        </p:nvSpPr>
        <p:spPr>
          <a:xfrm>
            <a:off x="8007638"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ject</a:t>
            </a:r>
            <a:br>
              <a:rPr lang="en-GB" sz="700" dirty="0">
                <a:solidFill>
                  <a:schemeClr val="tx2"/>
                </a:solidFill>
              </a:rPr>
            </a:br>
            <a:r>
              <a:rPr lang="en-GB" sz="700" dirty="0">
                <a:solidFill>
                  <a:schemeClr val="tx2"/>
                </a:solidFill>
              </a:rPr>
              <a:t>management</a:t>
            </a:r>
          </a:p>
        </p:txBody>
      </p:sp>
      <p:sp>
        <p:nvSpPr>
          <p:cNvPr id="32" name="TextBox 31">
            <a:extLst>
              <a:ext uri="{FF2B5EF4-FFF2-40B4-BE49-F238E27FC236}">
                <a16:creationId xmlns:a16="http://schemas.microsoft.com/office/drawing/2014/main" id="{922440E9-8E35-484E-B64D-FE15B4F1340B}"/>
              </a:ext>
            </a:extLst>
          </p:cNvPr>
          <p:cNvSpPr txBox="1"/>
          <p:nvPr/>
        </p:nvSpPr>
        <p:spPr>
          <a:xfrm>
            <a:off x="6962205"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fessional</a:t>
            </a:r>
            <a:br>
              <a:rPr lang="en-GB" sz="700" dirty="0">
                <a:solidFill>
                  <a:schemeClr val="tx2"/>
                </a:solidFill>
              </a:rPr>
            </a:br>
            <a:r>
              <a:rPr lang="en-GB" sz="700" dirty="0">
                <a:solidFill>
                  <a:schemeClr val="tx2"/>
                </a:solidFill>
              </a:rPr>
              <a:t>background</a:t>
            </a:r>
          </a:p>
        </p:txBody>
      </p:sp>
      <p:sp>
        <p:nvSpPr>
          <p:cNvPr id="33" name="TextBox 32">
            <a:extLst>
              <a:ext uri="{FF2B5EF4-FFF2-40B4-BE49-F238E27FC236}">
                <a16:creationId xmlns:a16="http://schemas.microsoft.com/office/drawing/2014/main" id="{C838DD5D-31A9-48FC-A0FB-4C4D0D029642}"/>
              </a:ext>
            </a:extLst>
          </p:cNvPr>
          <p:cNvSpPr txBox="1"/>
          <p:nvPr/>
        </p:nvSpPr>
        <p:spPr>
          <a:xfrm>
            <a:off x="5916771"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Knowhow</a:t>
            </a:r>
          </a:p>
        </p:txBody>
      </p:sp>
      <p:sp>
        <p:nvSpPr>
          <p:cNvPr id="35" name="TextBox 34">
            <a:extLst>
              <a:ext uri="{FF2B5EF4-FFF2-40B4-BE49-F238E27FC236}">
                <a16:creationId xmlns:a16="http://schemas.microsoft.com/office/drawing/2014/main" id="{8C4A68A8-B300-4230-8FE3-2CD38433B85F}"/>
              </a:ext>
            </a:extLst>
          </p:cNvPr>
          <p:cNvSpPr txBox="1"/>
          <p:nvPr/>
        </p:nvSpPr>
        <p:spPr>
          <a:xfrm>
            <a:off x="4726366" y="2077494"/>
            <a:ext cx="973806" cy="215444"/>
          </a:xfrm>
          <a:prstGeom prst="rect">
            <a:avLst/>
          </a:prstGeom>
          <a:noFill/>
          <a:effectLst/>
        </p:spPr>
        <p:txBody>
          <a:bodyPr wrap="square" lIns="0" tIns="0" rIns="0" bIns="0" rtlCol="0" anchor="t">
            <a:spAutoFit/>
          </a:bodyPr>
          <a:lstStyle/>
          <a:p>
            <a:pPr algn="ctr"/>
            <a:r>
              <a:rPr lang="en-GB" sz="700" dirty="0">
                <a:solidFill>
                  <a:schemeClr val="tx2"/>
                </a:solidFill>
              </a:rPr>
              <a:t>Interpersonal</a:t>
            </a:r>
            <a:br>
              <a:rPr lang="en-GB" sz="700" dirty="0">
                <a:solidFill>
                  <a:schemeClr val="tx2"/>
                </a:solidFill>
              </a:rPr>
            </a:br>
            <a:r>
              <a:rPr lang="en-GB" sz="700" dirty="0">
                <a:solidFill>
                  <a:schemeClr val="tx2"/>
                </a:solidFill>
              </a:rPr>
              <a:t>relationship/cooperation</a:t>
            </a:r>
          </a:p>
        </p:txBody>
      </p:sp>
      <p:grpSp>
        <p:nvGrpSpPr>
          <p:cNvPr id="385" name="Group 384">
            <a:extLst>
              <a:ext uri="{FF2B5EF4-FFF2-40B4-BE49-F238E27FC236}">
                <a16:creationId xmlns:a16="http://schemas.microsoft.com/office/drawing/2014/main" id="{7931DEF3-2006-4A3D-9E08-9CD20AE790FD}"/>
              </a:ext>
            </a:extLst>
          </p:cNvPr>
          <p:cNvGrpSpPr>
            <a:grpSpLocks noChangeAspect="1"/>
          </p:cNvGrpSpPr>
          <p:nvPr/>
        </p:nvGrpSpPr>
        <p:grpSpPr>
          <a:xfrm>
            <a:off x="4969852" y="1611237"/>
            <a:ext cx="486801" cy="381494"/>
            <a:chOff x="7764205" y="4148278"/>
            <a:chExt cx="474734" cy="372036"/>
          </a:xfrm>
        </p:grpSpPr>
        <p:sp>
          <p:nvSpPr>
            <p:cNvPr id="386" name="Freihandform: Form 826">
              <a:extLst>
                <a:ext uri="{FF2B5EF4-FFF2-40B4-BE49-F238E27FC236}">
                  <a16:creationId xmlns:a16="http://schemas.microsoft.com/office/drawing/2014/main" id="{4B275855-1926-49E3-9EC1-99FDAFB57707}"/>
                </a:ext>
              </a:extLst>
            </p:cNvPr>
            <p:cNvSpPr/>
            <p:nvPr/>
          </p:nvSpPr>
          <p:spPr>
            <a:xfrm>
              <a:off x="7994781" y="4315065"/>
              <a:ext cx="83642" cy="186009"/>
            </a:xfrm>
            <a:custGeom>
              <a:avLst/>
              <a:gdLst>
                <a:gd name="connsiteX0" fmla="*/ 6408 w 83642"/>
                <a:gd name="connsiteY0" fmla="*/ 186009 h 186009"/>
                <a:gd name="connsiteX1" fmla="*/ 0 w 83642"/>
                <a:gd name="connsiteY1" fmla="*/ 179602 h 186009"/>
                <a:gd name="connsiteX2" fmla="*/ 0 w 83642"/>
                <a:gd name="connsiteY2" fmla="*/ 71772 h 186009"/>
                <a:gd name="connsiteX3" fmla="*/ 12712 w 83642"/>
                <a:gd name="connsiteY3" fmla="*/ 72322 h 186009"/>
                <a:gd name="connsiteX4" fmla="*/ 14430 w 83642"/>
                <a:gd name="connsiteY4" fmla="*/ 73868 h 186009"/>
                <a:gd name="connsiteX5" fmla="*/ 43410 w 83642"/>
                <a:gd name="connsiteY5" fmla="*/ 87336 h 186009"/>
                <a:gd name="connsiteX6" fmla="*/ 43548 w 83642"/>
                <a:gd name="connsiteY6" fmla="*/ 87336 h 186009"/>
                <a:gd name="connsiteX7" fmla="*/ 70844 w 83642"/>
                <a:gd name="connsiteY7" fmla="*/ 56758 h 186009"/>
                <a:gd name="connsiteX8" fmla="*/ 70844 w 83642"/>
                <a:gd name="connsiteY8" fmla="*/ 55469 h 186009"/>
                <a:gd name="connsiteX9" fmla="*/ 43805 w 83642"/>
                <a:gd name="connsiteY9" fmla="*/ 24771 h 186009"/>
                <a:gd name="connsiteX10" fmla="*/ 43582 w 83642"/>
                <a:gd name="connsiteY10" fmla="*/ 24771 h 186009"/>
                <a:gd name="connsiteX11" fmla="*/ 14653 w 83642"/>
                <a:gd name="connsiteY11" fmla="*/ 36882 h 186009"/>
                <a:gd name="connsiteX12" fmla="*/ 12832 w 83642"/>
                <a:gd name="connsiteY12" fmla="*/ 38480 h 186009"/>
                <a:gd name="connsiteX13" fmla="*/ 343 w 83642"/>
                <a:gd name="connsiteY13" fmla="*/ 38480 h 186009"/>
                <a:gd name="connsiteX14" fmla="*/ 343 w 83642"/>
                <a:gd name="connsiteY14" fmla="*/ 6408 h 186009"/>
                <a:gd name="connsiteX15" fmla="*/ 6751 w 83642"/>
                <a:gd name="connsiteY15" fmla="*/ 0 h 186009"/>
                <a:gd name="connsiteX16" fmla="*/ 13159 w 83642"/>
                <a:gd name="connsiteY16" fmla="*/ 6408 h 186009"/>
                <a:gd name="connsiteX17" fmla="*/ 13159 w 83642"/>
                <a:gd name="connsiteY17" fmla="*/ 21817 h 186009"/>
                <a:gd name="connsiteX18" fmla="*/ 43565 w 83642"/>
                <a:gd name="connsiteY18" fmla="*/ 11939 h 186009"/>
                <a:gd name="connsiteX19" fmla="*/ 43857 w 83642"/>
                <a:gd name="connsiteY19" fmla="*/ 11939 h 186009"/>
                <a:gd name="connsiteX20" fmla="*/ 83642 w 83642"/>
                <a:gd name="connsiteY20" fmla="*/ 55263 h 186009"/>
                <a:gd name="connsiteX21" fmla="*/ 83642 w 83642"/>
                <a:gd name="connsiteY21" fmla="*/ 57050 h 186009"/>
                <a:gd name="connsiteX22" fmla="*/ 43530 w 83642"/>
                <a:gd name="connsiteY22" fmla="*/ 100151 h 186009"/>
                <a:gd name="connsiteX23" fmla="*/ 43324 w 83642"/>
                <a:gd name="connsiteY23" fmla="*/ 100151 h 186009"/>
                <a:gd name="connsiteX24" fmla="*/ 12832 w 83642"/>
                <a:gd name="connsiteY24" fmla="*/ 89088 h 186009"/>
                <a:gd name="connsiteX25" fmla="*/ 12832 w 83642"/>
                <a:gd name="connsiteY25" fmla="*/ 179602 h 186009"/>
                <a:gd name="connsiteX26" fmla="*/ 6408 w 83642"/>
                <a:gd name="connsiteY26" fmla="*/ 186009 h 186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3642" h="186009">
                  <a:moveTo>
                    <a:pt x="6408" y="186009"/>
                  </a:moveTo>
                  <a:cubicBezTo>
                    <a:pt x="2869" y="186009"/>
                    <a:pt x="0" y="183141"/>
                    <a:pt x="0" y="179602"/>
                  </a:cubicBezTo>
                  <a:lnTo>
                    <a:pt x="0" y="71772"/>
                  </a:lnTo>
                  <a:lnTo>
                    <a:pt x="12712" y="72322"/>
                  </a:lnTo>
                  <a:lnTo>
                    <a:pt x="14430" y="73868"/>
                  </a:lnTo>
                  <a:cubicBezTo>
                    <a:pt x="24256" y="82732"/>
                    <a:pt x="34013" y="87267"/>
                    <a:pt x="43410" y="87336"/>
                  </a:cubicBezTo>
                  <a:cubicBezTo>
                    <a:pt x="43462" y="87336"/>
                    <a:pt x="43496" y="87336"/>
                    <a:pt x="43548" y="87336"/>
                  </a:cubicBezTo>
                  <a:cubicBezTo>
                    <a:pt x="58081" y="87336"/>
                    <a:pt x="70054" y="73936"/>
                    <a:pt x="70844" y="56758"/>
                  </a:cubicBezTo>
                  <a:lnTo>
                    <a:pt x="70844" y="55469"/>
                  </a:lnTo>
                  <a:cubicBezTo>
                    <a:pt x="70312" y="38446"/>
                    <a:pt x="58424" y="24875"/>
                    <a:pt x="43805" y="24771"/>
                  </a:cubicBezTo>
                  <a:cubicBezTo>
                    <a:pt x="43737" y="24771"/>
                    <a:pt x="43668" y="24771"/>
                    <a:pt x="43582" y="24771"/>
                  </a:cubicBezTo>
                  <a:cubicBezTo>
                    <a:pt x="33532" y="24771"/>
                    <a:pt x="23809" y="28843"/>
                    <a:pt x="14653" y="36882"/>
                  </a:cubicBezTo>
                  <a:lnTo>
                    <a:pt x="12832" y="38480"/>
                  </a:lnTo>
                  <a:lnTo>
                    <a:pt x="343" y="38480"/>
                  </a:lnTo>
                  <a:lnTo>
                    <a:pt x="343" y="6408"/>
                  </a:lnTo>
                  <a:cubicBezTo>
                    <a:pt x="343" y="2869"/>
                    <a:pt x="3212" y="0"/>
                    <a:pt x="6751" y="0"/>
                  </a:cubicBezTo>
                  <a:cubicBezTo>
                    <a:pt x="10290" y="0"/>
                    <a:pt x="13159" y="2869"/>
                    <a:pt x="13159" y="6408"/>
                  </a:cubicBezTo>
                  <a:lnTo>
                    <a:pt x="13159" y="21817"/>
                  </a:lnTo>
                  <a:cubicBezTo>
                    <a:pt x="22727" y="15323"/>
                    <a:pt x="33103" y="11939"/>
                    <a:pt x="43565" y="11939"/>
                  </a:cubicBezTo>
                  <a:cubicBezTo>
                    <a:pt x="43668" y="11939"/>
                    <a:pt x="43754" y="11939"/>
                    <a:pt x="43857" y="11939"/>
                  </a:cubicBezTo>
                  <a:cubicBezTo>
                    <a:pt x="65416" y="12094"/>
                    <a:pt x="82887" y="31110"/>
                    <a:pt x="83642" y="55263"/>
                  </a:cubicBezTo>
                  <a:lnTo>
                    <a:pt x="83642" y="57050"/>
                  </a:lnTo>
                  <a:cubicBezTo>
                    <a:pt x="82543" y="81392"/>
                    <a:pt x="64952" y="100151"/>
                    <a:pt x="43530" y="100151"/>
                  </a:cubicBezTo>
                  <a:cubicBezTo>
                    <a:pt x="43462" y="100151"/>
                    <a:pt x="43393" y="100151"/>
                    <a:pt x="43324" y="100151"/>
                  </a:cubicBezTo>
                  <a:cubicBezTo>
                    <a:pt x="33086" y="100082"/>
                    <a:pt x="22847" y="96354"/>
                    <a:pt x="12832" y="89088"/>
                  </a:cubicBezTo>
                  <a:lnTo>
                    <a:pt x="12832" y="179602"/>
                  </a:lnTo>
                  <a:cubicBezTo>
                    <a:pt x="12815" y="183141"/>
                    <a:pt x="9946" y="186009"/>
                    <a:pt x="6408" y="186009"/>
                  </a:cubicBezTo>
                  <a:close/>
                </a:path>
              </a:pathLst>
            </a:custGeom>
            <a:solidFill>
              <a:schemeClr val="accent1"/>
            </a:solidFill>
            <a:ln w="1717" cap="flat">
              <a:noFill/>
              <a:prstDash val="solid"/>
              <a:miter/>
            </a:ln>
          </p:spPr>
          <p:txBody>
            <a:bodyPr rtlCol="0" anchor="ctr"/>
            <a:lstStyle/>
            <a:p>
              <a:endParaRPr lang="en-GB" dirty="0"/>
            </a:p>
          </p:txBody>
        </p:sp>
        <p:sp>
          <p:nvSpPr>
            <p:cNvPr id="387" name="Freihandform: Form 827">
              <a:extLst>
                <a:ext uri="{FF2B5EF4-FFF2-40B4-BE49-F238E27FC236}">
                  <a16:creationId xmlns:a16="http://schemas.microsoft.com/office/drawing/2014/main" id="{F29ED802-0544-4F4E-AED9-65E39190DF1D}"/>
                </a:ext>
              </a:extLst>
            </p:cNvPr>
            <p:cNvSpPr/>
            <p:nvPr/>
          </p:nvSpPr>
          <p:spPr>
            <a:xfrm>
              <a:off x="7924926" y="4148312"/>
              <a:ext cx="314013" cy="372001"/>
            </a:xfrm>
            <a:custGeom>
              <a:avLst/>
              <a:gdLst>
                <a:gd name="connsiteX0" fmla="*/ 185649 w 314012"/>
                <a:gd name="connsiteY0" fmla="*/ 372002 h 372001"/>
                <a:gd name="connsiteX1" fmla="*/ 179241 w 314012"/>
                <a:gd name="connsiteY1" fmla="*/ 365594 h 372001"/>
                <a:gd name="connsiteX2" fmla="*/ 179241 w 314012"/>
                <a:gd name="connsiteY2" fmla="*/ 295798 h 372001"/>
                <a:gd name="connsiteX3" fmla="*/ 245894 w 314012"/>
                <a:gd name="connsiteY3" fmla="*/ 295798 h 372001"/>
                <a:gd name="connsiteX4" fmla="*/ 262626 w 314012"/>
                <a:gd name="connsiteY4" fmla="*/ 275802 h 372001"/>
                <a:gd name="connsiteX5" fmla="*/ 262626 w 314012"/>
                <a:gd name="connsiteY5" fmla="*/ 216570 h 372001"/>
                <a:gd name="connsiteX6" fmla="*/ 300539 w 314012"/>
                <a:gd name="connsiteY6" fmla="*/ 216570 h 372001"/>
                <a:gd name="connsiteX7" fmla="*/ 265666 w 314012"/>
                <a:gd name="connsiteY7" fmla="*/ 115972 h 372001"/>
                <a:gd name="connsiteX8" fmla="*/ 166237 w 314012"/>
                <a:gd name="connsiteY8" fmla="*/ 12798 h 372001"/>
                <a:gd name="connsiteX9" fmla="*/ 83075 w 314012"/>
                <a:gd name="connsiteY9" fmla="*/ 12832 h 372001"/>
                <a:gd name="connsiteX10" fmla="*/ 83677 w 314012"/>
                <a:gd name="connsiteY10" fmla="*/ 78214 h 372001"/>
                <a:gd name="connsiteX11" fmla="*/ 70724 w 314012"/>
                <a:gd name="connsiteY11" fmla="*/ 77905 h 372001"/>
                <a:gd name="connsiteX12" fmla="*/ 68972 w 314012"/>
                <a:gd name="connsiteY12" fmla="*/ 76359 h 372001"/>
                <a:gd name="connsiteX13" fmla="*/ 39837 w 314012"/>
                <a:gd name="connsiteY13" fmla="*/ 63252 h 372001"/>
                <a:gd name="connsiteX14" fmla="*/ 12798 w 314012"/>
                <a:gd name="connsiteY14" fmla="*/ 94139 h 372001"/>
                <a:gd name="connsiteX15" fmla="*/ 12798 w 314012"/>
                <a:gd name="connsiteY15" fmla="*/ 95530 h 372001"/>
                <a:gd name="connsiteX16" fmla="*/ 40095 w 314012"/>
                <a:gd name="connsiteY16" fmla="*/ 125816 h 372001"/>
                <a:gd name="connsiteX17" fmla="*/ 40232 w 314012"/>
                <a:gd name="connsiteY17" fmla="*/ 125816 h 372001"/>
                <a:gd name="connsiteX18" fmla="*/ 69195 w 314012"/>
                <a:gd name="connsiteY18" fmla="*/ 110682 h 372001"/>
                <a:gd name="connsiteX19" fmla="*/ 71033 w 314012"/>
                <a:gd name="connsiteY19" fmla="*/ 109032 h 372001"/>
                <a:gd name="connsiteX20" fmla="*/ 83041 w 314012"/>
                <a:gd name="connsiteY20" fmla="*/ 109032 h 372001"/>
                <a:gd name="connsiteX21" fmla="*/ 83041 w 314012"/>
                <a:gd name="connsiteY21" fmla="*/ 147512 h 372001"/>
                <a:gd name="connsiteX22" fmla="*/ 76634 w 314012"/>
                <a:gd name="connsiteY22" fmla="*/ 153920 h 372001"/>
                <a:gd name="connsiteX23" fmla="*/ 70226 w 314012"/>
                <a:gd name="connsiteY23" fmla="*/ 147512 h 372001"/>
                <a:gd name="connsiteX24" fmla="*/ 70226 w 314012"/>
                <a:gd name="connsiteY24" fmla="*/ 126520 h 372001"/>
                <a:gd name="connsiteX25" fmla="*/ 40335 w 314012"/>
                <a:gd name="connsiteY25" fmla="*/ 138631 h 372001"/>
                <a:gd name="connsiteX26" fmla="*/ 40129 w 314012"/>
                <a:gd name="connsiteY26" fmla="*/ 138631 h 372001"/>
                <a:gd name="connsiteX27" fmla="*/ 0 w 314012"/>
                <a:gd name="connsiteY27" fmla="*/ 95822 h 372001"/>
                <a:gd name="connsiteX28" fmla="*/ 0 w 314012"/>
                <a:gd name="connsiteY28" fmla="*/ 93950 h 372001"/>
                <a:gd name="connsiteX29" fmla="*/ 39786 w 314012"/>
                <a:gd name="connsiteY29" fmla="*/ 50436 h 372001"/>
                <a:gd name="connsiteX30" fmla="*/ 40043 w 314012"/>
                <a:gd name="connsiteY30" fmla="*/ 50436 h 372001"/>
                <a:gd name="connsiteX31" fmla="*/ 70741 w 314012"/>
                <a:gd name="connsiteY31" fmla="*/ 61362 h 372001"/>
                <a:gd name="connsiteX32" fmla="*/ 70192 w 314012"/>
                <a:gd name="connsiteY32" fmla="*/ 0 h 372001"/>
                <a:gd name="connsiteX33" fmla="*/ 166907 w 314012"/>
                <a:gd name="connsiteY33" fmla="*/ 0 h 372001"/>
                <a:gd name="connsiteX34" fmla="*/ 278447 w 314012"/>
                <a:gd name="connsiteY34" fmla="*/ 114100 h 372001"/>
                <a:gd name="connsiteX35" fmla="*/ 313303 w 314012"/>
                <a:gd name="connsiteY35" fmla="*/ 214045 h 372001"/>
                <a:gd name="connsiteX36" fmla="*/ 311980 w 314012"/>
                <a:gd name="connsiteY36" fmla="*/ 224421 h 372001"/>
                <a:gd name="connsiteX37" fmla="*/ 302480 w 314012"/>
                <a:gd name="connsiteY37" fmla="*/ 229420 h 372001"/>
                <a:gd name="connsiteX38" fmla="*/ 275510 w 314012"/>
                <a:gd name="connsiteY38" fmla="*/ 229420 h 372001"/>
                <a:gd name="connsiteX39" fmla="*/ 275510 w 314012"/>
                <a:gd name="connsiteY39" fmla="*/ 275836 h 372001"/>
                <a:gd name="connsiteX40" fmla="*/ 245946 w 314012"/>
                <a:gd name="connsiteY40" fmla="*/ 308664 h 372001"/>
                <a:gd name="connsiteX41" fmla="*/ 192125 w 314012"/>
                <a:gd name="connsiteY41" fmla="*/ 308664 h 372001"/>
                <a:gd name="connsiteX42" fmla="*/ 192125 w 314012"/>
                <a:gd name="connsiteY42" fmla="*/ 365646 h 372001"/>
                <a:gd name="connsiteX43" fmla="*/ 185649 w 314012"/>
                <a:gd name="connsiteY43" fmla="*/ 372002 h 372001"/>
                <a:gd name="connsiteX44" fmla="*/ 301174 w 314012"/>
                <a:gd name="connsiteY44" fmla="*/ 218374 h 372001"/>
                <a:gd name="connsiteX45" fmla="*/ 301192 w 314012"/>
                <a:gd name="connsiteY45" fmla="*/ 218443 h 372001"/>
                <a:gd name="connsiteX46" fmla="*/ 301174 w 314012"/>
                <a:gd name="connsiteY46" fmla="*/ 218374 h 37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14012" h="372001">
                  <a:moveTo>
                    <a:pt x="185649" y="372002"/>
                  </a:moveTo>
                  <a:cubicBezTo>
                    <a:pt x="182110" y="372002"/>
                    <a:pt x="179241" y="369133"/>
                    <a:pt x="179241" y="365594"/>
                  </a:cubicBezTo>
                  <a:lnTo>
                    <a:pt x="179241" y="295798"/>
                  </a:lnTo>
                  <a:lnTo>
                    <a:pt x="245894" y="295798"/>
                  </a:lnTo>
                  <a:cubicBezTo>
                    <a:pt x="258245" y="295798"/>
                    <a:pt x="262626" y="285027"/>
                    <a:pt x="262626" y="275802"/>
                  </a:cubicBezTo>
                  <a:lnTo>
                    <a:pt x="262626" y="216570"/>
                  </a:lnTo>
                  <a:lnTo>
                    <a:pt x="300539" y="216570"/>
                  </a:lnTo>
                  <a:lnTo>
                    <a:pt x="265666" y="115972"/>
                  </a:lnTo>
                  <a:cubicBezTo>
                    <a:pt x="261166" y="61293"/>
                    <a:pt x="219353" y="17900"/>
                    <a:pt x="166237" y="12798"/>
                  </a:cubicBezTo>
                  <a:lnTo>
                    <a:pt x="83075" y="12832"/>
                  </a:lnTo>
                  <a:lnTo>
                    <a:pt x="83677" y="78214"/>
                  </a:lnTo>
                  <a:lnTo>
                    <a:pt x="70724" y="77905"/>
                  </a:lnTo>
                  <a:lnTo>
                    <a:pt x="68972" y="76359"/>
                  </a:lnTo>
                  <a:cubicBezTo>
                    <a:pt x="59043" y="67615"/>
                    <a:pt x="48959" y="63217"/>
                    <a:pt x="39837" y="63252"/>
                  </a:cubicBezTo>
                  <a:cubicBezTo>
                    <a:pt x="25218" y="63355"/>
                    <a:pt x="13348" y="76926"/>
                    <a:pt x="12798" y="94139"/>
                  </a:cubicBezTo>
                  <a:lnTo>
                    <a:pt x="12798" y="95530"/>
                  </a:lnTo>
                  <a:cubicBezTo>
                    <a:pt x="13571" y="112417"/>
                    <a:pt x="25545" y="125816"/>
                    <a:pt x="40095" y="125816"/>
                  </a:cubicBezTo>
                  <a:cubicBezTo>
                    <a:pt x="40146" y="125816"/>
                    <a:pt x="40181" y="125816"/>
                    <a:pt x="40232" y="125816"/>
                  </a:cubicBezTo>
                  <a:cubicBezTo>
                    <a:pt x="48495" y="125764"/>
                    <a:pt x="57978" y="120817"/>
                    <a:pt x="69195" y="110682"/>
                  </a:cubicBezTo>
                  <a:lnTo>
                    <a:pt x="71033" y="109032"/>
                  </a:lnTo>
                  <a:lnTo>
                    <a:pt x="83041" y="109032"/>
                  </a:lnTo>
                  <a:lnTo>
                    <a:pt x="83041" y="147512"/>
                  </a:lnTo>
                  <a:cubicBezTo>
                    <a:pt x="83041" y="151051"/>
                    <a:pt x="80172" y="153920"/>
                    <a:pt x="76634" y="153920"/>
                  </a:cubicBezTo>
                  <a:cubicBezTo>
                    <a:pt x="73095" y="153920"/>
                    <a:pt x="70226" y="151051"/>
                    <a:pt x="70226" y="147512"/>
                  </a:cubicBezTo>
                  <a:lnTo>
                    <a:pt x="70226" y="126520"/>
                  </a:lnTo>
                  <a:cubicBezTo>
                    <a:pt x="59507" y="134680"/>
                    <a:pt x="49852" y="138562"/>
                    <a:pt x="40335" y="138631"/>
                  </a:cubicBezTo>
                  <a:cubicBezTo>
                    <a:pt x="40266" y="138631"/>
                    <a:pt x="40198" y="138631"/>
                    <a:pt x="40129" y="138631"/>
                  </a:cubicBezTo>
                  <a:cubicBezTo>
                    <a:pt x="18707" y="138631"/>
                    <a:pt x="1099" y="119872"/>
                    <a:pt x="0" y="95822"/>
                  </a:cubicBezTo>
                  <a:lnTo>
                    <a:pt x="0" y="93950"/>
                  </a:lnTo>
                  <a:cubicBezTo>
                    <a:pt x="756" y="69608"/>
                    <a:pt x="18226" y="50574"/>
                    <a:pt x="39786" y="50436"/>
                  </a:cubicBezTo>
                  <a:cubicBezTo>
                    <a:pt x="39871" y="50436"/>
                    <a:pt x="39957" y="50436"/>
                    <a:pt x="40043" y="50436"/>
                  </a:cubicBezTo>
                  <a:cubicBezTo>
                    <a:pt x="50316" y="50436"/>
                    <a:pt x="60606" y="54095"/>
                    <a:pt x="70741" y="61362"/>
                  </a:cubicBezTo>
                  <a:lnTo>
                    <a:pt x="70192" y="0"/>
                  </a:lnTo>
                  <a:lnTo>
                    <a:pt x="166907" y="0"/>
                  </a:lnTo>
                  <a:cubicBezTo>
                    <a:pt x="226551" y="5703"/>
                    <a:pt x="273070" y="53614"/>
                    <a:pt x="278447" y="114100"/>
                  </a:cubicBezTo>
                  <a:lnTo>
                    <a:pt x="313303" y="214045"/>
                  </a:lnTo>
                  <a:cubicBezTo>
                    <a:pt x="314591" y="217360"/>
                    <a:pt x="314110" y="221312"/>
                    <a:pt x="311980" y="224421"/>
                  </a:cubicBezTo>
                  <a:cubicBezTo>
                    <a:pt x="309833" y="227547"/>
                    <a:pt x="306294" y="229420"/>
                    <a:pt x="302480" y="229420"/>
                  </a:cubicBezTo>
                  <a:lnTo>
                    <a:pt x="275510" y="229420"/>
                  </a:lnTo>
                  <a:lnTo>
                    <a:pt x="275510" y="275836"/>
                  </a:lnTo>
                  <a:cubicBezTo>
                    <a:pt x="275510" y="295162"/>
                    <a:pt x="263347" y="308664"/>
                    <a:pt x="245946" y="308664"/>
                  </a:cubicBezTo>
                  <a:lnTo>
                    <a:pt x="192125" y="308664"/>
                  </a:lnTo>
                  <a:lnTo>
                    <a:pt x="192125" y="365646"/>
                  </a:lnTo>
                  <a:cubicBezTo>
                    <a:pt x="192056" y="369133"/>
                    <a:pt x="189188" y="372002"/>
                    <a:pt x="185649" y="372002"/>
                  </a:cubicBezTo>
                  <a:close/>
                  <a:moveTo>
                    <a:pt x="301174" y="218374"/>
                  </a:moveTo>
                  <a:cubicBezTo>
                    <a:pt x="301174" y="218391"/>
                    <a:pt x="301192" y="218425"/>
                    <a:pt x="301192" y="218443"/>
                  </a:cubicBezTo>
                  <a:lnTo>
                    <a:pt x="301174" y="218374"/>
                  </a:lnTo>
                  <a:close/>
                </a:path>
              </a:pathLst>
            </a:custGeom>
            <a:solidFill>
              <a:schemeClr val="tx2"/>
            </a:solidFill>
            <a:ln w="1717" cap="flat">
              <a:noFill/>
              <a:prstDash val="solid"/>
              <a:miter/>
            </a:ln>
          </p:spPr>
          <p:txBody>
            <a:bodyPr rtlCol="0" anchor="ctr"/>
            <a:lstStyle/>
            <a:p>
              <a:endParaRPr lang="en-GB" dirty="0"/>
            </a:p>
          </p:txBody>
        </p:sp>
        <p:sp>
          <p:nvSpPr>
            <p:cNvPr id="388" name="Freihandform: Form 828">
              <a:extLst>
                <a:ext uri="{FF2B5EF4-FFF2-40B4-BE49-F238E27FC236}">
                  <a16:creationId xmlns:a16="http://schemas.microsoft.com/office/drawing/2014/main" id="{3F7C8306-2289-488C-88BA-7D19DE3C80D6}"/>
                </a:ext>
              </a:extLst>
            </p:cNvPr>
            <p:cNvSpPr/>
            <p:nvPr/>
          </p:nvSpPr>
          <p:spPr>
            <a:xfrm>
              <a:off x="7764205" y="4148278"/>
              <a:ext cx="218062" cy="372036"/>
            </a:xfrm>
            <a:custGeom>
              <a:avLst/>
              <a:gdLst>
                <a:gd name="connsiteX0" fmla="*/ 128270 w 218062"/>
                <a:gd name="connsiteY0" fmla="*/ 372036 h 372036"/>
                <a:gd name="connsiteX1" fmla="*/ 121863 w 218062"/>
                <a:gd name="connsiteY1" fmla="*/ 365629 h 372036"/>
                <a:gd name="connsiteX2" fmla="*/ 121863 w 218062"/>
                <a:gd name="connsiteY2" fmla="*/ 308647 h 372036"/>
                <a:gd name="connsiteX3" fmla="*/ 68042 w 218062"/>
                <a:gd name="connsiteY3" fmla="*/ 308647 h 372036"/>
                <a:gd name="connsiteX4" fmla="*/ 38478 w 218062"/>
                <a:gd name="connsiteY4" fmla="*/ 275819 h 372036"/>
                <a:gd name="connsiteX5" fmla="*/ 38478 w 218062"/>
                <a:gd name="connsiteY5" fmla="*/ 229403 h 372036"/>
                <a:gd name="connsiteX6" fmla="*/ 11508 w 218062"/>
                <a:gd name="connsiteY6" fmla="*/ 229403 h 372036"/>
                <a:gd name="connsiteX7" fmla="*/ 2008 w 218062"/>
                <a:gd name="connsiteY7" fmla="*/ 224404 h 372036"/>
                <a:gd name="connsiteX8" fmla="*/ 754 w 218062"/>
                <a:gd name="connsiteY8" fmla="*/ 213839 h 372036"/>
                <a:gd name="connsiteX9" fmla="*/ 35540 w 218062"/>
                <a:gd name="connsiteY9" fmla="*/ 114100 h 372036"/>
                <a:gd name="connsiteX10" fmla="*/ 146462 w 218062"/>
                <a:gd name="connsiteY10" fmla="*/ 584 h 372036"/>
                <a:gd name="connsiteX11" fmla="*/ 153420 w 218062"/>
                <a:gd name="connsiteY11" fmla="*/ 17 h 372036"/>
                <a:gd name="connsiteX12" fmla="*/ 211655 w 218062"/>
                <a:gd name="connsiteY12" fmla="*/ 0 h 372036"/>
                <a:gd name="connsiteX13" fmla="*/ 218063 w 218062"/>
                <a:gd name="connsiteY13" fmla="*/ 6408 h 372036"/>
                <a:gd name="connsiteX14" fmla="*/ 211655 w 218062"/>
                <a:gd name="connsiteY14" fmla="*/ 12815 h 372036"/>
                <a:gd name="connsiteX15" fmla="*/ 153935 w 218062"/>
                <a:gd name="connsiteY15" fmla="*/ 12815 h 372036"/>
                <a:gd name="connsiteX16" fmla="*/ 147596 w 218062"/>
                <a:gd name="connsiteY16" fmla="*/ 13348 h 372036"/>
                <a:gd name="connsiteX17" fmla="*/ 48270 w 218062"/>
                <a:gd name="connsiteY17" fmla="*/ 115955 h 372036"/>
                <a:gd name="connsiteX18" fmla="*/ 47926 w 218062"/>
                <a:gd name="connsiteY18" fmla="*/ 117536 h 372036"/>
                <a:gd name="connsiteX19" fmla="*/ 13397 w 218062"/>
                <a:gd name="connsiteY19" fmla="*/ 216553 h 372036"/>
                <a:gd name="connsiteX20" fmla="*/ 51310 w 218062"/>
                <a:gd name="connsiteY20" fmla="*/ 216553 h 372036"/>
                <a:gd name="connsiteX21" fmla="*/ 51310 w 218062"/>
                <a:gd name="connsiteY21" fmla="*/ 275785 h 372036"/>
                <a:gd name="connsiteX22" fmla="*/ 68042 w 218062"/>
                <a:gd name="connsiteY22" fmla="*/ 295781 h 372036"/>
                <a:gd name="connsiteX23" fmla="*/ 134695 w 218062"/>
                <a:gd name="connsiteY23" fmla="*/ 295781 h 372036"/>
                <a:gd name="connsiteX24" fmla="*/ 134695 w 218062"/>
                <a:gd name="connsiteY24" fmla="*/ 365577 h 372036"/>
                <a:gd name="connsiteX25" fmla="*/ 128270 w 218062"/>
                <a:gd name="connsiteY25" fmla="*/ 372036 h 372036"/>
                <a:gd name="connsiteX26" fmla="*/ 12796 w 218062"/>
                <a:gd name="connsiteY26" fmla="*/ 218254 h 372036"/>
                <a:gd name="connsiteX27" fmla="*/ 12796 w 218062"/>
                <a:gd name="connsiteY27" fmla="*/ 218271 h 372036"/>
                <a:gd name="connsiteX28" fmla="*/ 12796 w 218062"/>
                <a:gd name="connsiteY28" fmla="*/ 218254 h 372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8062" h="372036">
                  <a:moveTo>
                    <a:pt x="128270" y="372036"/>
                  </a:moveTo>
                  <a:cubicBezTo>
                    <a:pt x="124731" y="372036"/>
                    <a:pt x="121863" y="369167"/>
                    <a:pt x="121863" y="365629"/>
                  </a:cubicBezTo>
                  <a:lnTo>
                    <a:pt x="121863" y="308647"/>
                  </a:lnTo>
                  <a:lnTo>
                    <a:pt x="68042" y="308647"/>
                  </a:lnTo>
                  <a:cubicBezTo>
                    <a:pt x="50640" y="308647"/>
                    <a:pt x="38478" y="295145"/>
                    <a:pt x="38478" y="275819"/>
                  </a:cubicBezTo>
                  <a:lnTo>
                    <a:pt x="38478" y="229403"/>
                  </a:lnTo>
                  <a:lnTo>
                    <a:pt x="11508" y="229403"/>
                  </a:lnTo>
                  <a:cubicBezTo>
                    <a:pt x="7711" y="229403"/>
                    <a:pt x="4155" y="227530"/>
                    <a:pt x="2008" y="224404"/>
                  </a:cubicBezTo>
                  <a:cubicBezTo>
                    <a:pt x="-122" y="221294"/>
                    <a:pt x="-586" y="217343"/>
                    <a:pt x="754" y="213839"/>
                  </a:cubicBezTo>
                  <a:lnTo>
                    <a:pt x="35540" y="114100"/>
                  </a:lnTo>
                  <a:cubicBezTo>
                    <a:pt x="40883" y="53941"/>
                    <a:pt x="87402" y="6270"/>
                    <a:pt x="146462" y="584"/>
                  </a:cubicBezTo>
                  <a:lnTo>
                    <a:pt x="153420" y="17"/>
                  </a:lnTo>
                  <a:lnTo>
                    <a:pt x="211655" y="0"/>
                  </a:lnTo>
                  <a:cubicBezTo>
                    <a:pt x="215194" y="0"/>
                    <a:pt x="218063" y="2869"/>
                    <a:pt x="218063" y="6408"/>
                  </a:cubicBezTo>
                  <a:cubicBezTo>
                    <a:pt x="218063" y="9946"/>
                    <a:pt x="215194" y="12815"/>
                    <a:pt x="211655" y="12815"/>
                  </a:cubicBezTo>
                  <a:lnTo>
                    <a:pt x="153935" y="12815"/>
                  </a:lnTo>
                  <a:lnTo>
                    <a:pt x="147596" y="13348"/>
                  </a:lnTo>
                  <a:cubicBezTo>
                    <a:pt x="94549" y="18450"/>
                    <a:pt x="52736" y="61602"/>
                    <a:pt x="48270" y="115955"/>
                  </a:cubicBezTo>
                  <a:lnTo>
                    <a:pt x="47926" y="117536"/>
                  </a:lnTo>
                  <a:lnTo>
                    <a:pt x="13397" y="216553"/>
                  </a:lnTo>
                  <a:lnTo>
                    <a:pt x="51310" y="216553"/>
                  </a:lnTo>
                  <a:lnTo>
                    <a:pt x="51310" y="275785"/>
                  </a:lnTo>
                  <a:cubicBezTo>
                    <a:pt x="51310" y="285010"/>
                    <a:pt x="55691" y="295781"/>
                    <a:pt x="68042" y="295781"/>
                  </a:cubicBezTo>
                  <a:lnTo>
                    <a:pt x="134695" y="295781"/>
                  </a:lnTo>
                  <a:lnTo>
                    <a:pt x="134695" y="365577"/>
                  </a:lnTo>
                  <a:cubicBezTo>
                    <a:pt x="134678" y="369167"/>
                    <a:pt x="131809" y="372036"/>
                    <a:pt x="128270" y="372036"/>
                  </a:cubicBezTo>
                  <a:close/>
                  <a:moveTo>
                    <a:pt x="12796" y="218254"/>
                  </a:moveTo>
                  <a:lnTo>
                    <a:pt x="12796" y="218271"/>
                  </a:lnTo>
                  <a:cubicBezTo>
                    <a:pt x="12796" y="218271"/>
                    <a:pt x="12796" y="218271"/>
                    <a:pt x="12796" y="218254"/>
                  </a:cubicBezTo>
                  <a:close/>
                </a:path>
              </a:pathLst>
            </a:custGeom>
            <a:solidFill>
              <a:schemeClr val="accent1"/>
            </a:solidFill>
            <a:ln w="1717" cap="flat">
              <a:noFill/>
              <a:prstDash val="solid"/>
              <a:miter/>
            </a:ln>
          </p:spPr>
          <p:txBody>
            <a:bodyPr rtlCol="0" anchor="ctr"/>
            <a:lstStyle/>
            <a:p>
              <a:endParaRPr lang="en-GB" dirty="0"/>
            </a:p>
          </p:txBody>
        </p:sp>
      </p:grpSp>
      <p:grpSp>
        <p:nvGrpSpPr>
          <p:cNvPr id="48" name="Group 47">
            <a:extLst>
              <a:ext uri="{FF2B5EF4-FFF2-40B4-BE49-F238E27FC236}">
                <a16:creationId xmlns:a16="http://schemas.microsoft.com/office/drawing/2014/main" id="{5BA3402E-B502-0172-ABD3-07B97BBDDAC0}"/>
              </a:ext>
            </a:extLst>
          </p:cNvPr>
          <p:cNvGrpSpPr/>
          <p:nvPr/>
        </p:nvGrpSpPr>
        <p:grpSpPr>
          <a:xfrm>
            <a:off x="5966879" y="1585984"/>
            <a:ext cx="579044" cy="432003"/>
            <a:chOff x="5966467" y="1585984"/>
            <a:chExt cx="579044" cy="432003"/>
          </a:xfrm>
        </p:grpSpPr>
        <p:grpSp>
          <p:nvGrpSpPr>
            <p:cNvPr id="391" name="Group 390">
              <a:extLst>
                <a:ext uri="{FF2B5EF4-FFF2-40B4-BE49-F238E27FC236}">
                  <a16:creationId xmlns:a16="http://schemas.microsoft.com/office/drawing/2014/main" id="{A3B39BD8-DA7E-4887-A2A0-A01EAA1CE288}"/>
                </a:ext>
              </a:extLst>
            </p:cNvPr>
            <p:cNvGrpSpPr/>
            <p:nvPr/>
          </p:nvGrpSpPr>
          <p:grpSpPr>
            <a:xfrm>
              <a:off x="5966467" y="1585984"/>
              <a:ext cx="579044" cy="317907"/>
              <a:chOff x="1561384" y="2465742"/>
              <a:chExt cx="681657" cy="374244"/>
            </a:xfrm>
            <a:solidFill>
              <a:schemeClr val="tx2"/>
            </a:solidFill>
          </p:grpSpPr>
          <p:grpSp>
            <p:nvGrpSpPr>
              <p:cNvPr id="399" name="Grafik 331">
                <a:extLst>
                  <a:ext uri="{FF2B5EF4-FFF2-40B4-BE49-F238E27FC236}">
                    <a16:creationId xmlns:a16="http://schemas.microsoft.com/office/drawing/2014/main" id="{F6633411-4A8D-4573-BF50-91AA382D5B70}"/>
                  </a:ext>
                </a:extLst>
              </p:cNvPr>
              <p:cNvGrpSpPr/>
              <p:nvPr/>
            </p:nvGrpSpPr>
            <p:grpSpPr>
              <a:xfrm>
                <a:off x="2010249" y="2465742"/>
                <a:ext cx="232792" cy="238241"/>
                <a:chOff x="2010249" y="2465742"/>
                <a:chExt cx="232792" cy="238241"/>
              </a:xfrm>
              <a:grpFill/>
            </p:grpSpPr>
            <p:grpSp>
              <p:nvGrpSpPr>
                <p:cNvPr id="409" name="Grafik 331">
                  <a:extLst>
                    <a:ext uri="{FF2B5EF4-FFF2-40B4-BE49-F238E27FC236}">
                      <a16:creationId xmlns:a16="http://schemas.microsoft.com/office/drawing/2014/main" id="{22F3965F-59E4-43A4-96FE-0B58C93D1B59}"/>
                    </a:ext>
                  </a:extLst>
                </p:cNvPr>
                <p:cNvGrpSpPr/>
                <p:nvPr/>
              </p:nvGrpSpPr>
              <p:grpSpPr>
                <a:xfrm>
                  <a:off x="2048567" y="2465742"/>
                  <a:ext cx="156082" cy="199924"/>
                  <a:chOff x="2048567" y="2465742"/>
                  <a:chExt cx="156082" cy="199924"/>
                </a:xfrm>
                <a:grpFill/>
              </p:grpSpPr>
              <p:sp>
                <p:nvSpPr>
                  <p:cNvPr id="411" name="Freihandform: Form 18">
                    <a:extLst>
                      <a:ext uri="{FF2B5EF4-FFF2-40B4-BE49-F238E27FC236}">
                        <a16:creationId xmlns:a16="http://schemas.microsoft.com/office/drawing/2014/main" id="{8B258485-A30C-4C01-8A59-FD9704A6DF85}"/>
                      </a:ext>
                    </a:extLst>
                  </p:cNvPr>
                  <p:cNvSpPr/>
                  <p:nvPr/>
                </p:nvSpPr>
                <p:spPr>
                  <a:xfrm>
                    <a:off x="2048567" y="2553375"/>
                    <a:ext cx="156082" cy="112290"/>
                  </a:xfrm>
                  <a:custGeom>
                    <a:avLst/>
                    <a:gdLst>
                      <a:gd name="connsiteX0" fmla="*/ 149215 w 156082"/>
                      <a:gd name="connsiteY0" fmla="*/ 112291 h 112290"/>
                      <a:gd name="connsiteX1" fmla="*/ 142348 w 156082"/>
                      <a:gd name="connsiteY1" fmla="*/ 105424 h 112290"/>
                      <a:gd name="connsiteX2" fmla="*/ 142348 w 156082"/>
                      <a:gd name="connsiteY2" fmla="*/ 61632 h 112290"/>
                      <a:gd name="connsiteX3" fmla="*/ 96914 w 156082"/>
                      <a:gd name="connsiteY3" fmla="*/ 13760 h 112290"/>
                      <a:gd name="connsiteX4" fmla="*/ 59168 w 156082"/>
                      <a:gd name="connsiteY4" fmla="*/ 13760 h 112290"/>
                      <a:gd name="connsiteX5" fmla="*/ 13735 w 156082"/>
                      <a:gd name="connsiteY5" fmla="*/ 61632 h 112290"/>
                      <a:gd name="connsiteX6" fmla="*/ 13735 w 156082"/>
                      <a:gd name="connsiteY6" fmla="*/ 105424 h 112290"/>
                      <a:gd name="connsiteX7" fmla="*/ 6867 w 156082"/>
                      <a:gd name="connsiteY7" fmla="*/ 112291 h 112290"/>
                      <a:gd name="connsiteX8" fmla="*/ 0 w 156082"/>
                      <a:gd name="connsiteY8" fmla="*/ 105424 h 112290"/>
                      <a:gd name="connsiteX9" fmla="*/ 0 w 156082"/>
                      <a:gd name="connsiteY9" fmla="*/ 61632 h 112290"/>
                      <a:gd name="connsiteX10" fmla="*/ 59168 w 156082"/>
                      <a:gd name="connsiteY10" fmla="*/ 0 h 112290"/>
                      <a:gd name="connsiteX11" fmla="*/ 96914 w 156082"/>
                      <a:gd name="connsiteY11" fmla="*/ 0 h 112290"/>
                      <a:gd name="connsiteX12" fmla="*/ 156082 w 156082"/>
                      <a:gd name="connsiteY12" fmla="*/ 61632 h 112290"/>
                      <a:gd name="connsiteX13" fmla="*/ 156082 w 156082"/>
                      <a:gd name="connsiteY13" fmla="*/ 105424 h 112290"/>
                      <a:gd name="connsiteX14" fmla="*/ 149215 w 156082"/>
                      <a:gd name="connsiteY14" fmla="*/ 112291 h 11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082" h="112290">
                        <a:moveTo>
                          <a:pt x="149215" y="112291"/>
                        </a:moveTo>
                        <a:cubicBezTo>
                          <a:pt x="145408" y="112291"/>
                          <a:pt x="142348" y="109205"/>
                          <a:pt x="142348" y="105424"/>
                        </a:cubicBezTo>
                        <a:lnTo>
                          <a:pt x="142348" y="61632"/>
                        </a:lnTo>
                        <a:cubicBezTo>
                          <a:pt x="142348" y="33889"/>
                          <a:pt x="123239" y="13760"/>
                          <a:pt x="96914" y="13760"/>
                        </a:cubicBezTo>
                        <a:lnTo>
                          <a:pt x="59168" y="13760"/>
                        </a:lnTo>
                        <a:cubicBezTo>
                          <a:pt x="32844" y="13760"/>
                          <a:pt x="13735" y="33889"/>
                          <a:pt x="13735" y="61632"/>
                        </a:cubicBezTo>
                        <a:lnTo>
                          <a:pt x="13735" y="105424"/>
                        </a:lnTo>
                        <a:cubicBezTo>
                          <a:pt x="13735" y="109230"/>
                          <a:pt x="10649" y="112291"/>
                          <a:pt x="6867" y="112291"/>
                        </a:cubicBezTo>
                        <a:cubicBezTo>
                          <a:pt x="3060" y="112291"/>
                          <a:pt x="0" y="109205"/>
                          <a:pt x="0" y="105424"/>
                        </a:cubicBezTo>
                        <a:lnTo>
                          <a:pt x="0" y="61632"/>
                        </a:lnTo>
                        <a:cubicBezTo>
                          <a:pt x="0" y="26499"/>
                          <a:pt x="25429" y="0"/>
                          <a:pt x="59168" y="0"/>
                        </a:cubicBezTo>
                        <a:lnTo>
                          <a:pt x="96914" y="0"/>
                        </a:lnTo>
                        <a:cubicBezTo>
                          <a:pt x="130654" y="0"/>
                          <a:pt x="156082" y="26499"/>
                          <a:pt x="156082" y="61632"/>
                        </a:cubicBezTo>
                        <a:lnTo>
                          <a:pt x="156082" y="105424"/>
                        </a:lnTo>
                        <a:cubicBezTo>
                          <a:pt x="156107" y="109205"/>
                          <a:pt x="153022" y="112291"/>
                          <a:pt x="149215" y="112291"/>
                        </a:cubicBezTo>
                        <a:close/>
                      </a:path>
                    </a:pathLst>
                  </a:custGeom>
                  <a:grpFill/>
                  <a:ln w="2482" cap="flat">
                    <a:noFill/>
                    <a:prstDash val="solid"/>
                    <a:miter/>
                  </a:ln>
                </p:spPr>
                <p:txBody>
                  <a:bodyPr rtlCol="0" anchor="ctr"/>
                  <a:lstStyle/>
                  <a:p>
                    <a:endParaRPr lang="en-GB" dirty="0"/>
                  </a:p>
                </p:txBody>
              </p:sp>
              <p:sp>
                <p:nvSpPr>
                  <p:cNvPr id="412" name="Freihandform: Form 19">
                    <a:extLst>
                      <a:ext uri="{FF2B5EF4-FFF2-40B4-BE49-F238E27FC236}">
                        <a16:creationId xmlns:a16="http://schemas.microsoft.com/office/drawing/2014/main" id="{C0608BE0-6B6A-43D2-9D73-F892A9750384}"/>
                      </a:ext>
                    </a:extLst>
                  </p:cNvPr>
                  <p:cNvSpPr/>
                  <p:nvPr/>
                </p:nvSpPr>
                <p:spPr>
                  <a:xfrm>
                    <a:off x="2092483" y="2465742"/>
                    <a:ext cx="68524" cy="79471"/>
                  </a:xfrm>
                  <a:custGeom>
                    <a:avLst/>
                    <a:gdLst>
                      <a:gd name="connsiteX0" fmla="*/ 34262 w 68524"/>
                      <a:gd name="connsiteY0" fmla="*/ 79472 h 79471"/>
                      <a:gd name="connsiteX1" fmla="*/ 0 w 68524"/>
                      <a:gd name="connsiteY1" fmla="*/ 39736 h 79471"/>
                      <a:gd name="connsiteX2" fmla="*/ 34262 w 68524"/>
                      <a:gd name="connsiteY2" fmla="*/ 0 h 79471"/>
                      <a:gd name="connsiteX3" fmla="*/ 68524 w 68524"/>
                      <a:gd name="connsiteY3" fmla="*/ 39736 h 79471"/>
                      <a:gd name="connsiteX4" fmla="*/ 34262 w 68524"/>
                      <a:gd name="connsiteY4" fmla="*/ 79472 h 79471"/>
                      <a:gd name="connsiteX5" fmla="*/ 34262 w 68524"/>
                      <a:gd name="connsiteY5" fmla="*/ 13760 h 79471"/>
                      <a:gd name="connsiteX6" fmla="*/ 13760 w 68524"/>
                      <a:gd name="connsiteY6" fmla="*/ 39736 h 79471"/>
                      <a:gd name="connsiteX7" fmla="*/ 34262 w 68524"/>
                      <a:gd name="connsiteY7" fmla="*/ 65712 h 79471"/>
                      <a:gd name="connsiteX8" fmla="*/ 54765 w 68524"/>
                      <a:gd name="connsiteY8" fmla="*/ 39736 h 79471"/>
                      <a:gd name="connsiteX9" fmla="*/ 34262 w 68524"/>
                      <a:gd name="connsiteY9" fmla="*/ 13760 h 79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24" h="79471">
                        <a:moveTo>
                          <a:pt x="34262" y="79472"/>
                        </a:moveTo>
                        <a:cubicBezTo>
                          <a:pt x="13785" y="79472"/>
                          <a:pt x="0" y="63498"/>
                          <a:pt x="0" y="39736"/>
                        </a:cubicBezTo>
                        <a:cubicBezTo>
                          <a:pt x="0" y="15974"/>
                          <a:pt x="13760" y="0"/>
                          <a:pt x="34262" y="0"/>
                        </a:cubicBezTo>
                        <a:cubicBezTo>
                          <a:pt x="54740" y="0"/>
                          <a:pt x="68524" y="15974"/>
                          <a:pt x="68524" y="39736"/>
                        </a:cubicBezTo>
                        <a:cubicBezTo>
                          <a:pt x="68524" y="63498"/>
                          <a:pt x="54765" y="79472"/>
                          <a:pt x="34262" y="79472"/>
                        </a:cubicBezTo>
                        <a:close/>
                        <a:moveTo>
                          <a:pt x="34262" y="13760"/>
                        </a:moveTo>
                        <a:cubicBezTo>
                          <a:pt x="15228" y="13760"/>
                          <a:pt x="13760" y="33640"/>
                          <a:pt x="13760" y="39736"/>
                        </a:cubicBezTo>
                        <a:cubicBezTo>
                          <a:pt x="13760" y="45832"/>
                          <a:pt x="15228" y="65712"/>
                          <a:pt x="34262" y="65712"/>
                        </a:cubicBezTo>
                        <a:cubicBezTo>
                          <a:pt x="53297" y="65712"/>
                          <a:pt x="54765" y="45832"/>
                          <a:pt x="54765" y="39736"/>
                        </a:cubicBezTo>
                        <a:cubicBezTo>
                          <a:pt x="54765" y="33640"/>
                          <a:pt x="53297" y="13760"/>
                          <a:pt x="34262" y="13760"/>
                        </a:cubicBezTo>
                        <a:close/>
                      </a:path>
                    </a:pathLst>
                  </a:custGeom>
                  <a:grpFill/>
                  <a:ln w="2482" cap="flat">
                    <a:noFill/>
                    <a:prstDash val="solid"/>
                    <a:miter/>
                  </a:ln>
                </p:spPr>
                <p:txBody>
                  <a:bodyPr rtlCol="0" anchor="ctr"/>
                  <a:lstStyle/>
                  <a:p>
                    <a:endParaRPr lang="en-GB" dirty="0"/>
                  </a:p>
                </p:txBody>
              </p:sp>
              <p:sp>
                <p:nvSpPr>
                  <p:cNvPr id="413" name="Freihandform: Form 20">
                    <a:extLst>
                      <a:ext uri="{FF2B5EF4-FFF2-40B4-BE49-F238E27FC236}">
                        <a16:creationId xmlns:a16="http://schemas.microsoft.com/office/drawing/2014/main" id="{0BC55742-05D9-4DB4-8469-BA14C71C6702}"/>
                      </a:ext>
                    </a:extLst>
                  </p:cNvPr>
                  <p:cNvSpPr/>
                  <p:nvPr/>
                </p:nvSpPr>
                <p:spPr>
                  <a:xfrm>
                    <a:off x="2076086" y="2613613"/>
                    <a:ext cx="13734" cy="52052"/>
                  </a:xfrm>
                  <a:custGeom>
                    <a:avLst/>
                    <a:gdLst>
                      <a:gd name="connsiteX0" fmla="*/ 6867 w 13734"/>
                      <a:gd name="connsiteY0" fmla="*/ 52052 h 52052"/>
                      <a:gd name="connsiteX1" fmla="*/ 0 w 13734"/>
                      <a:gd name="connsiteY1" fmla="*/ 45185 h 52052"/>
                      <a:gd name="connsiteX2" fmla="*/ 0 w 13734"/>
                      <a:gd name="connsiteY2" fmla="*/ 6867 h 52052"/>
                      <a:gd name="connsiteX3" fmla="*/ 6867 w 13734"/>
                      <a:gd name="connsiteY3" fmla="*/ 0 h 52052"/>
                      <a:gd name="connsiteX4" fmla="*/ 13735 w 13734"/>
                      <a:gd name="connsiteY4" fmla="*/ 6867 h 52052"/>
                      <a:gd name="connsiteX5" fmla="*/ 13735 w 13734"/>
                      <a:gd name="connsiteY5" fmla="*/ 45185 h 52052"/>
                      <a:gd name="connsiteX6" fmla="*/ 6867 w 13734"/>
                      <a:gd name="connsiteY6" fmla="*/ 52052 h 5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34" h="52052">
                        <a:moveTo>
                          <a:pt x="6867" y="52052"/>
                        </a:moveTo>
                        <a:cubicBezTo>
                          <a:pt x="3060" y="52052"/>
                          <a:pt x="0" y="48967"/>
                          <a:pt x="0" y="45185"/>
                        </a:cubicBezTo>
                        <a:lnTo>
                          <a:pt x="0" y="6867"/>
                        </a:lnTo>
                        <a:cubicBezTo>
                          <a:pt x="0" y="3060"/>
                          <a:pt x="3085" y="0"/>
                          <a:pt x="6867" y="0"/>
                        </a:cubicBezTo>
                        <a:cubicBezTo>
                          <a:pt x="10674" y="0"/>
                          <a:pt x="13735" y="3085"/>
                          <a:pt x="13735" y="6867"/>
                        </a:cubicBezTo>
                        <a:lnTo>
                          <a:pt x="13735" y="45185"/>
                        </a:lnTo>
                        <a:cubicBezTo>
                          <a:pt x="13735" y="48967"/>
                          <a:pt x="10674" y="52052"/>
                          <a:pt x="6867" y="52052"/>
                        </a:cubicBezTo>
                        <a:close/>
                      </a:path>
                    </a:pathLst>
                  </a:custGeom>
                  <a:grpFill/>
                  <a:ln w="2482" cap="flat">
                    <a:noFill/>
                    <a:prstDash val="solid"/>
                    <a:miter/>
                  </a:ln>
                </p:spPr>
                <p:txBody>
                  <a:bodyPr rtlCol="0" anchor="ctr"/>
                  <a:lstStyle/>
                  <a:p>
                    <a:endParaRPr lang="en-GB" dirty="0"/>
                  </a:p>
                </p:txBody>
              </p:sp>
              <p:sp>
                <p:nvSpPr>
                  <p:cNvPr id="414" name="Freihandform: Form 21">
                    <a:extLst>
                      <a:ext uri="{FF2B5EF4-FFF2-40B4-BE49-F238E27FC236}">
                        <a16:creationId xmlns:a16="http://schemas.microsoft.com/office/drawing/2014/main" id="{05E04A93-63F8-4D88-B896-80D3AC1D35E8}"/>
                      </a:ext>
                    </a:extLst>
                  </p:cNvPr>
                  <p:cNvSpPr/>
                  <p:nvPr/>
                </p:nvSpPr>
                <p:spPr>
                  <a:xfrm>
                    <a:off x="2163769" y="2613613"/>
                    <a:ext cx="13734" cy="52052"/>
                  </a:xfrm>
                  <a:custGeom>
                    <a:avLst/>
                    <a:gdLst>
                      <a:gd name="connsiteX0" fmla="*/ 6867 w 13734"/>
                      <a:gd name="connsiteY0" fmla="*/ 52052 h 52052"/>
                      <a:gd name="connsiteX1" fmla="*/ 0 w 13734"/>
                      <a:gd name="connsiteY1" fmla="*/ 45185 h 52052"/>
                      <a:gd name="connsiteX2" fmla="*/ 0 w 13734"/>
                      <a:gd name="connsiteY2" fmla="*/ 6867 h 52052"/>
                      <a:gd name="connsiteX3" fmla="*/ 6867 w 13734"/>
                      <a:gd name="connsiteY3" fmla="*/ 0 h 52052"/>
                      <a:gd name="connsiteX4" fmla="*/ 13735 w 13734"/>
                      <a:gd name="connsiteY4" fmla="*/ 6867 h 52052"/>
                      <a:gd name="connsiteX5" fmla="*/ 13735 w 13734"/>
                      <a:gd name="connsiteY5" fmla="*/ 45185 h 52052"/>
                      <a:gd name="connsiteX6" fmla="*/ 6867 w 13734"/>
                      <a:gd name="connsiteY6" fmla="*/ 52052 h 5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34" h="52052">
                        <a:moveTo>
                          <a:pt x="6867" y="52052"/>
                        </a:moveTo>
                        <a:cubicBezTo>
                          <a:pt x="3060" y="52052"/>
                          <a:pt x="0" y="48967"/>
                          <a:pt x="0" y="45185"/>
                        </a:cubicBezTo>
                        <a:lnTo>
                          <a:pt x="0" y="6867"/>
                        </a:lnTo>
                        <a:cubicBezTo>
                          <a:pt x="0" y="3060"/>
                          <a:pt x="3085" y="0"/>
                          <a:pt x="6867" y="0"/>
                        </a:cubicBezTo>
                        <a:cubicBezTo>
                          <a:pt x="10674" y="0"/>
                          <a:pt x="13735" y="3085"/>
                          <a:pt x="13735" y="6867"/>
                        </a:cubicBezTo>
                        <a:lnTo>
                          <a:pt x="13735" y="45185"/>
                        </a:lnTo>
                        <a:cubicBezTo>
                          <a:pt x="13735" y="48967"/>
                          <a:pt x="10649" y="52052"/>
                          <a:pt x="6867" y="52052"/>
                        </a:cubicBezTo>
                        <a:close/>
                      </a:path>
                    </a:pathLst>
                  </a:custGeom>
                  <a:grpFill/>
                  <a:ln w="2482" cap="flat">
                    <a:noFill/>
                    <a:prstDash val="solid"/>
                    <a:miter/>
                  </a:ln>
                </p:spPr>
                <p:txBody>
                  <a:bodyPr rtlCol="0" anchor="ctr"/>
                  <a:lstStyle/>
                  <a:p>
                    <a:endParaRPr lang="en-GB" dirty="0"/>
                  </a:p>
                </p:txBody>
              </p:sp>
            </p:grpSp>
            <p:sp>
              <p:nvSpPr>
                <p:cNvPr id="410" name="Freihandform: Form 22">
                  <a:extLst>
                    <a:ext uri="{FF2B5EF4-FFF2-40B4-BE49-F238E27FC236}">
                      <a16:creationId xmlns:a16="http://schemas.microsoft.com/office/drawing/2014/main" id="{A5CB320C-DBD3-4C2D-A868-AD04F57F3C3B}"/>
                    </a:ext>
                  </a:extLst>
                </p:cNvPr>
                <p:cNvSpPr/>
                <p:nvPr/>
              </p:nvSpPr>
              <p:spPr>
                <a:xfrm>
                  <a:off x="2010249" y="2631219"/>
                  <a:ext cx="232792" cy="72764"/>
                </a:xfrm>
                <a:custGeom>
                  <a:avLst/>
                  <a:gdLst>
                    <a:gd name="connsiteX0" fmla="*/ 116371 w 232792"/>
                    <a:gd name="connsiteY0" fmla="*/ 72765 h 72764"/>
                    <a:gd name="connsiteX1" fmla="*/ 0 w 232792"/>
                    <a:gd name="connsiteY1" fmla="*/ 27555 h 72764"/>
                    <a:gd name="connsiteX2" fmla="*/ 19084 w 232792"/>
                    <a:gd name="connsiteY2" fmla="*/ 1852 h 72764"/>
                    <a:gd name="connsiteX3" fmla="*/ 28490 w 232792"/>
                    <a:gd name="connsiteY3" fmla="*/ 4340 h 72764"/>
                    <a:gd name="connsiteX4" fmla="*/ 26001 w 232792"/>
                    <a:gd name="connsiteY4" fmla="*/ 13746 h 72764"/>
                    <a:gd name="connsiteX5" fmla="*/ 13760 w 232792"/>
                    <a:gd name="connsiteY5" fmla="*/ 27580 h 72764"/>
                    <a:gd name="connsiteX6" fmla="*/ 116396 w 232792"/>
                    <a:gd name="connsiteY6" fmla="*/ 59030 h 72764"/>
                    <a:gd name="connsiteX7" fmla="*/ 219033 w 232792"/>
                    <a:gd name="connsiteY7" fmla="*/ 27580 h 72764"/>
                    <a:gd name="connsiteX8" fmla="*/ 205846 w 232792"/>
                    <a:gd name="connsiteY8" fmla="*/ 12949 h 72764"/>
                    <a:gd name="connsiteX9" fmla="*/ 202984 w 232792"/>
                    <a:gd name="connsiteY9" fmla="*/ 3669 h 72764"/>
                    <a:gd name="connsiteX10" fmla="*/ 212265 w 232792"/>
                    <a:gd name="connsiteY10" fmla="*/ 807 h 72764"/>
                    <a:gd name="connsiteX11" fmla="*/ 232793 w 232792"/>
                    <a:gd name="connsiteY11" fmla="*/ 27605 h 72764"/>
                    <a:gd name="connsiteX12" fmla="*/ 116371 w 232792"/>
                    <a:gd name="connsiteY12" fmla="*/ 72765 h 72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2792" h="72764">
                      <a:moveTo>
                        <a:pt x="116371" y="72765"/>
                      </a:moveTo>
                      <a:cubicBezTo>
                        <a:pt x="59965" y="72765"/>
                        <a:pt x="0" y="56915"/>
                        <a:pt x="0" y="27555"/>
                      </a:cubicBezTo>
                      <a:cubicBezTo>
                        <a:pt x="0" y="20887"/>
                        <a:pt x="3309" y="11009"/>
                        <a:pt x="19084" y="1852"/>
                      </a:cubicBezTo>
                      <a:cubicBezTo>
                        <a:pt x="22369" y="-64"/>
                        <a:pt x="26574" y="1056"/>
                        <a:pt x="28490" y="4340"/>
                      </a:cubicBezTo>
                      <a:cubicBezTo>
                        <a:pt x="30405" y="7625"/>
                        <a:pt x="29286" y="11830"/>
                        <a:pt x="26001" y="13746"/>
                      </a:cubicBezTo>
                      <a:cubicBezTo>
                        <a:pt x="18114" y="18324"/>
                        <a:pt x="13760" y="23250"/>
                        <a:pt x="13760" y="27580"/>
                      </a:cubicBezTo>
                      <a:cubicBezTo>
                        <a:pt x="13760" y="40717"/>
                        <a:pt x="52799" y="59030"/>
                        <a:pt x="116396" y="59030"/>
                      </a:cubicBezTo>
                      <a:cubicBezTo>
                        <a:pt x="179994" y="59030"/>
                        <a:pt x="219033" y="40717"/>
                        <a:pt x="219033" y="27580"/>
                      </a:cubicBezTo>
                      <a:cubicBezTo>
                        <a:pt x="219033" y="22504"/>
                        <a:pt x="214604" y="17577"/>
                        <a:pt x="205846" y="12949"/>
                      </a:cubicBezTo>
                      <a:cubicBezTo>
                        <a:pt x="202487" y="11183"/>
                        <a:pt x="201193" y="7028"/>
                        <a:pt x="202984" y="3669"/>
                      </a:cubicBezTo>
                      <a:cubicBezTo>
                        <a:pt x="204751" y="310"/>
                        <a:pt x="208906" y="-984"/>
                        <a:pt x="212265" y="807"/>
                      </a:cubicBezTo>
                      <a:cubicBezTo>
                        <a:pt x="225876" y="7998"/>
                        <a:pt x="232793" y="17005"/>
                        <a:pt x="232793" y="27605"/>
                      </a:cubicBezTo>
                      <a:cubicBezTo>
                        <a:pt x="232743" y="56915"/>
                        <a:pt x="172778" y="72765"/>
                        <a:pt x="116371" y="72765"/>
                      </a:cubicBezTo>
                      <a:close/>
                    </a:path>
                  </a:pathLst>
                </a:custGeom>
                <a:grpFill/>
                <a:ln w="2482" cap="flat">
                  <a:noFill/>
                  <a:prstDash val="solid"/>
                  <a:miter/>
                </a:ln>
              </p:spPr>
              <p:txBody>
                <a:bodyPr rtlCol="0" anchor="ctr"/>
                <a:lstStyle/>
                <a:p>
                  <a:endParaRPr lang="en-GB" dirty="0"/>
                </a:p>
              </p:txBody>
            </p:sp>
          </p:grpSp>
          <p:grpSp>
            <p:nvGrpSpPr>
              <p:cNvPr id="400" name="Grafik 331">
                <a:extLst>
                  <a:ext uri="{FF2B5EF4-FFF2-40B4-BE49-F238E27FC236}">
                    <a16:creationId xmlns:a16="http://schemas.microsoft.com/office/drawing/2014/main" id="{921827CB-10A2-40C9-AA80-8BAE61EADD83}"/>
                  </a:ext>
                </a:extLst>
              </p:cNvPr>
              <p:cNvGrpSpPr/>
              <p:nvPr/>
            </p:nvGrpSpPr>
            <p:grpSpPr>
              <a:xfrm>
                <a:off x="1561384" y="2465742"/>
                <a:ext cx="232792" cy="238241"/>
                <a:chOff x="1561384" y="2465742"/>
                <a:chExt cx="232792" cy="238241"/>
              </a:xfrm>
              <a:grpFill/>
            </p:grpSpPr>
            <p:grpSp>
              <p:nvGrpSpPr>
                <p:cNvPr id="403" name="Grafik 331">
                  <a:extLst>
                    <a:ext uri="{FF2B5EF4-FFF2-40B4-BE49-F238E27FC236}">
                      <a16:creationId xmlns:a16="http://schemas.microsoft.com/office/drawing/2014/main" id="{0BEB9EB8-E03C-4299-B9F9-7ADE1B5A6F4B}"/>
                    </a:ext>
                  </a:extLst>
                </p:cNvPr>
                <p:cNvGrpSpPr/>
                <p:nvPr/>
              </p:nvGrpSpPr>
              <p:grpSpPr>
                <a:xfrm>
                  <a:off x="1599727" y="2465742"/>
                  <a:ext cx="156082" cy="199924"/>
                  <a:chOff x="1599727" y="2465742"/>
                  <a:chExt cx="156082" cy="199924"/>
                </a:xfrm>
                <a:grpFill/>
              </p:grpSpPr>
              <p:sp>
                <p:nvSpPr>
                  <p:cNvPr id="405" name="Freihandform: Form 25">
                    <a:extLst>
                      <a:ext uri="{FF2B5EF4-FFF2-40B4-BE49-F238E27FC236}">
                        <a16:creationId xmlns:a16="http://schemas.microsoft.com/office/drawing/2014/main" id="{61E83AFA-DDE1-439E-AEB5-AD8A0269F331}"/>
                      </a:ext>
                    </a:extLst>
                  </p:cNvPr>
                  <p:cNvSpPr/>
                  <p:nvPr/>
                </p:nvSpPr>
                <p:spPr>
                  <a:xfrm>
                    <a:off x="1599727" y="2553375"/>
                    <a:ext cx="156082" cy="112290"/>
                  </a:xfrm>
                  <a:custGeom>
                    <a:avLst/>
                    <a:gdLst>
                      <a:gd name="connsiteX0" fmla="*/ 149215 w 156082"/>
                      <a:gd name="connsiteY0" fmla="*/ 112291 h 112290"/>
                      <a:gd name="connsiteX1" fmla="*/ 142348 w 156082"/>
                      <a:gd name="connsiteY1" fmla="*/ 105424 h 112290"/>
                      <a:gd name="connsiteX2" fmla="*/ 142348 w 156082"/>
                      <a:gd name="connsiteY2" fmla="*/ 61632 h 112290"/>
                      <a:gd name="connsiteX3" fmla="*/ 96914 w 156082"/>
                      <a:gd name="connsiteY3" fmla="*/ 13760 h 112290"/>
                      <a:gd name="connsiteX4" fmla="*/ 59169 w 156082"/>
                      <a:gd name="connsiteY4" fmla="*/ 13760 h 112290"/>
                      <a:gd name="connsiteX5" fmla="*/ 13735 w 156082"/>
                      <a:gd name="connsiteY5" fmla="*/ 61632 h 112290"/>
                      <a:gd name="connsiteX6" fmla="*/ 13735 w 156082"/>
                      <a:gd name="connsiteY6" fmla="*/ 105424 h 112290"/>
                      <a:gd name="connsiteX7" fmla="*/ 6867 w 156082"/>
                      <a:gd name="connsiteY7" fmla="*/ 112291 h 112290"/>
                      <a:gd name="connsiteX8" fmla="*/ 0 w 156082"/>
                      <a:gd name="connsiteY8" fmla="*/ 105424 h 112290"/>
                      <a:gd name="connsiteX9" fmla="*/ 0 w 156082"/>
                      <a:gd name="connsiteY9" fmla="*/ 61632 h 112290"/>
                      <a:gd name="connsiteX10" fmla="*/ 59169 w 156082"/>
                      <a:gd name="connsiteY10" fmla="*/ 0 h 112290"/>
                      <a:gd name="connsiteX11" fmla="*/ 96914 w 156082"/>
                      <a:gd name="connsiteY11" fmla="*/ 0 h 112290"/>
                      <a:gd name="connsiteX12" fmla="*/ 156083 w 156082"/>
                      <a:gd name="connsiteY12" fmla="*/ 61632 h 112290"/>
                      <a:gd name="connsiteX13" fmla="*/ 156083 w 156082"/>
                      <a:gd name="connsiteY13" fmla="*/ 105424 h 112290"/>
                      <a:gd name="connsiteX14" fmla="*/ 149215 w 156082"/>
                      <a:gd name="connsiteY14" fmla="*/ 112291 h 112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082" h="112290">
                        <a:moveTo>
                          <a:pt x="149215" y="112291"/>
                        </a:moveTo>
                        <a:cubicBezTo>
                          <a:pt x="145408" y="112291"/>
                          <a:pt x="142348" y="109205"/>
                          <a:pt x="142348" y="105424"/>
                        </a:cubicBezTo>
                        <a:lnTo>
                          <a:pt x="142348" y="61632"/>
                        </a:lnTo>
                        <a:cubicBezTo>
                          <a:pt x="142348" y="33889"/>
                          <a:pt x="123239" y="13760"/>
                          <a:pt x="96914" y="13760"/>
                        </a:cubicBezTo>
                        <a:lnTo>
                          <a:pt x="59169" y="13760"/>
                        </a:lnTo>
                        <a:cubicBezTo>
                          <a:pt x="32844" y="13760"/>
                          <a:pt x="13735" y="33889"/>
                          <a:pt x="13735" y="61632"/>
                        </a:cubicBezTo>
                        <a:lnTo>
                          <a:pt x="13735" y="105424"/>
                        </a:lnTo>
                        <a:cubicBezTo>
                          <a:pt x="13735" y="109230"/>
                          <a:pt x="10649" y="112291"/>
                          <a:pt x="6867" y="112291"/>
                        </a:cubicBezTo>
                        <a:cubicBezTo>
                          <a:pt x="3060" y="112291"/>
                          <a:pt x="0" y="109205"/>
                          <a:pt x="0" y="105424"/>
                        </a:cubicBezTo>
                        <a:lnTo>
                          <a:pt x="0" y="61632"/>
                        </a:lnTo>
                        <a:cubicBezTo>
                          <a:pt x="0" y="26499"/>
                          <a:pt x="25429" y="0"/>
                          <a:pt x="59169" y="0"/>
                        </a:cubicBezTo>
                        <a:lnTo>
                          <a:pt x="96914" y="0"/>
                        </a:lnTo>
                        <a:cubicBezTo>
                          <a:pt x="130654" y="0"/>
                          <a:pt x="156083" y="26499"/>
                          <a:pt x="156083" y="61632"/>
                        </a:cubicBezTo>
                        <a:lnTo>
                          <a:pt x="156083" y="105424"/>
                        </a:lnTo>
                        <a:cubicBezTo>
                          <a:pt x="156083" y="109205"/>
                          <a:pt x="152997" y="112291"/>
                          <a:pt x="149215" y="112291"/>
                        </a:cubicBezTo>
                        <a:close/>
                      </a:path>
                    </a:pathLst>
                  </a:custGeom>
                  <a:grpFill/>
                  <a:ln w="2482" cap="flat">
                    <a:noFill/>
                    <a:prstDash val="solid"/>
                    <a:miter/>
                  </a:ln>
                </p:spPr>
                <p:txBody>
                  <a:bodyPr rtlCol="0" anchor="ctr"/>
                  <a:lstStyle/>
                  <a:p>
                    <a:endParaRPr lang="en-GB" dirty="0"/>
                  </a:p>
                </p:txBody>
              </p:sp>
              <p:sp>
                <p:nvSpPr>
                  <p:cNvPr id="406" name="Freihandform: Form 26">
                    <a:extLst>
                      <a:ext uri="{FF2B5EF4-FFF2-40B4-BE49-F238E27FC236}">
                        <a16:creationId xmlns:a16="http://schemas.microsoft.com/office/drawing/2014/main" id="{96A4E88C-B650-46F8-8A47-A4C1345048FE}"/>
                      </a:ext>
                    </a:extLst>
                  </p:cNvPr>
                  <p:cNvSpPr/>
                  <p:nvPr/>
                </p:nvSpPr>
                <p:spPr>
                  <a:xfrm>
                    <a:off x="1643643" y="2465742"/>
                    <a:ext cx="68524" cy="79471"/>
                  </a:xfrm>
                  <a:custGeom>
                    <a:avLst/>
                    <a:gdLst>
                      <a:gd name="connsiteX0" fmla="*/ 34262 w 68524"/>
                      <a:gd name="connsiteY0" fmla="*/ 79472 h 79471"/>
                      <a:gd name="connsiteX1" fmla="*/ 0 w 68524"/>
                      <a:gd name="connsiteY1" fmla="*/ 39736 h 79471"/>
                      <a:gd name="connsiteX2" fmla="*/ 34262 w 68524"/>
                      <a:gd name="connsiteY2" fmla="*/ 0 h 79471"/>
                      <a:gd name="connsiteX3" fmla="*/ 68524 w 68524"/>
                      <a:gd name="connsiteY3" fmla="*/ 39736 h 79471"/>
                      <a:gd name="connsiteX4" fmla="*/ 34262 w 68524"/>
                      <a:gd name="connsiteY4" fmla="*/ 79472 h 79471"/>
                      <a:gd name="connsiteX5" fmla="*/ 34262 w 68524"/>
                      <a:gd name="connsiteY5" fmla="*/ 13760 h 79471"/>
                      <a:gd name="connsiteX6" fmla="*/ 13760 w 68524"/>
                      <a:gd name="connsiteY6" fmla="*/ 39736 h 79471"/>
                      <a:gd name="connsiteX7" fmla="*/ 34262 w 68524"/>
                      <a:gd name="connsiteY7" fmla="*/ 65712 h 79471"/>
                      <a:gd name="connsiteX8" fmla="*/ 54765 w 68524"/>
                      <a:gd name="connsiteY8" fmla="*/ 39736 h 79471"/>
                      <a:gd name="connsiteX9" fmla="*/ 34262 w 68524"/>
                      <a:gd name="connsiteY9" fmla="*/ 13760 h 79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24" h="79471">
                        <a:moveTo>
                          <a:pt x="34262" y="79472"/>
                        </a:moveTo>
                        <a:cubicBezTo>
                          <a:pt x="13784" y="79472"/>
                          <a:pt x="0" y="63498"/>
                          <a:pt x="0" y="39736"/>
                        </a:cubicBezTo>
                        <a:cubicBezTo>
                          <a:pt x="0" y="15974"/>
                          <a:pt x="13760" y="0"/>
                          <a:pt x="34262" y="0"/>
                        </a:cubicBezTo>
                        <a:cubicBezTo>
                          <a:pt x="54740" y="0"/>
                          <a:pt x="68524" y="15974"/>
                          <a:pt x="68524" y="39736"/>
                        </a:cubicBezTo>
                        <a:cubicBezTo>
                          <a:pt x="68499" y="63498"/>
                          <a:pt x="54740" y="79472"/>
                          <a:pt x="34262" y="79472"/>
                        </a:cubicBezTo>
                        <a:close/>
                        <a:moveTo>
                          <a:pt x="34262" y="13760"/>
                        </a:moveTo>
                        <a:cubicBezTo>
                          <a:pt x="15228" y="13760"/>
                          <a:pt x="13760" y="33640"/>
                          <a:pt x="13760" y="39736"/>
                        </a:cubicBezTo>
                        <a:cubicBezTo>
                          <a:pt x="13760" y="45832"/>
                          <a:pt x="15228" y="65712"/>
                          <a:pt x="34262" y="65712"/>
                        </a:cubicBezTo>
                        <a:cubicBezTo>
                          <a:pt x="53297" y="65712"/>
                          <a:pt x="54765" y="45832"/>
                          <a:pt x="54765" y="39736"/>
                        </a:cubicBezTo>
                        <a:cubicBezTo>
                          <a:pt x="54765" y="33640"/>
                          <a:pt x="53272" y="13760"/>
                          <a:pt x="34262" y="13760"/>
                        </a:cubicBezTo>
                        <a:close/>
                      </a:path>
                    </a:pathLst>
                  </a:custGeom>
                  <a:grpFill/>
                  <a:ln w="2482" cap="flat">
                    <a:noFill/>
                    <a:prstDash val="solid"/>
                    <a:miter/>
                  </a:ln>
                </p:spPr>
                <p:txBody>
                  <a:bodyPr rtlCol="0" anchor="ctr"/>
                  <a:lstStyle/>
                  <a:p>
                    <a:endParaRPr lang="en-GB" dirty="0"/>
                  </a:p>
                </p:txBody>
              </p:sp>
              <p:sp>
                <p:nvSpPr>
                  <p:cNvPr id="407" name="Freihandform: Form 27">
                    <a:extLst>
                      <a:ext uri="{FF2B5EF4-FFF2-40B4-BE49-F238E27FC236}">
                        <a16:creationId xmlns:a16="http://schemas.microsoft.com/office/drawing/2014/main" id="{9AEA619B-507F-421A-B32C-236B2CF6B1B6}"/>
                      </a:ext>
                    </a:extLst>
                  </p:cNvPr>
                  <p:cNvSpPr/>
                  <p:nvPr/>
                </p:nvSpPr>
                <p:spPr>
                  <a:xfrm>
                    <a:off x="1627221" y="2613613"/>
                    <a:ext cx="13734" cy="52052"/>
                  </a:xfrm>
                  <a:custGeom>
                    <a:avLst/>
                    <a:gdLst>
                      <a:gd name="connsiteX0" fmla="*/ 6867 w 13734"/>
                      <a:gd name="connsiteY0" fmla="*/ 52052 h 52052"/>
                      <a:gd name="connsiteX1" fmla="*/ 0 w 13734"/>
                      <a:gd name="connsiteY1" fmla="*/ 45185 h 52052"/>
                      <a:gd name="connsiteX2" fmla="*/ 0 w 13734"/>
                      <a:gd name="connsiteY2" fmla="*/ 6867 h 52052"/>
                      <a:gd name="connsiteX3" fmla="*/ 6867 w 13734"/>
                      <a:gd name="connsiteY3" fmla="*/ 0 h 52052"/>
                      <a:gd name="connsiteX4" fmla="*/ 13735 w 13734"/>
                      <a:gd name="connsiteY4" fmla="*/ 6867 h 52052"/>
                      <a:gd name="connsiteX5" fmla="*/ 13735 w 13734"/>
                      <a:gd name="connsiteY5" fmla="*/ 45185 h 52052"/>
                      <a:gd name="connsiteX6" fmla="*/ 6867 w 13734"/>
                      <a:gd name="connsiteY6" fmla="*/ 52052 h 5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34" h="52052">
                        <a:moveTo>
                          <a:pt x="6867" y="52052"/>
                        </a:moveTo>
                        <a:cubicBezTo>
                          <a:pt x="3060" y="52052"/>
                          <a:pt x="0" y="48967"/>
                          <a:pt x="0" y="45185"/>
                        </a:cubicBezTo>
                        <a:lnTo>
                          <a:pt x="0" y="6867"/>
                        </a:lnTo>
                        <a:cubicBezTo>
                          <a:pt x="0" y="3060"/>
                          <a:pt x="3085" y="0"/>
                          <a:pt x="6867" y="0"/>
                        </a:cubicBezTo>
                        <a:cubicBezTo>
                          <a:pt x="10674" y="0"/>
                          <a:pt x="13735" y="3085"/>
                          <a:pt x="13735" y="6867"/>
                        </a:cubicBezTo>
                        <a:lnTo>
                          <a:pt x="13735" y="45185"/>
                        </a:lnTo>
                        <a:cubicBezTo>
                          <a:pt x="13735" y="48967"/>
                          <a:pt x="10674" y="52052"/>
                          <a:pt x="6867" y="52052"/>
                        </a:cubicBezTo>
                        <a:close/>
                      </a:path>
                    </a:pathLst>
                  </a:custGeom>
                  <a:grpFill/>
                  <a:ln w="2482" cap="flat">
                    <a:noFill/>
                    <a:prstDash val="solid"/>
                    <a:miter/>
                  </a:ln>
                </p:spPr>
                <p:txBody>
                  <a:bodyPr rtlCol="0" anchor="ctr"/>
                  <a:lstStyle/>
                  <a:p>
                    <a:endParaRPr lang="en-GB" dirty="0"/>
                  </a:p>
                </p:txBody>
              </p:sp>
              <p:sp>
                <p:nvSpPr>
                  <p:cNvPr id="408" name="Freihandform: Form 28">
                    <a:extLst>
                      <a:ext uri="{FF2B5EF4-FFF2-40B4-BE49-F238E27FC236}">
                        <a16:creationId xmlns:a16="http://schemas.microsoft.com/office/drawing/2014/main" id="{A3B1AABA-A06B-46B3-A19C-FB8C49CAF190}"/>
                      </a:ext>
                    </a:extLst>
                  </p:cNvPr>
                  <p:cNvSpPr/>
                  <p:nvPr/>
                </p:nvSpPr>
                <p:spPr>
                  <a:xfrm>
                    <a:off x="1714904" y="2613613"/>
                    <a:ext cx="13734" cy="52052"/>
                  </a:xfrm>
                  <a:custGeom>
                    <a:avLst/>
                    <a:gdLst>
                      <a:gd name="connsiteX0" fmla="*/ 6867 w 13734"/>
                      <a:gd name="connsiteY0" fmla="*/ 52052 h 52052"/>
                      <a:gd name="connsiteX1" fmla="*/ 0 w 13734"/>
                      <a:gd name="connsiteY1" fmla="*/ 45185 h 52052"/>
                      <a:gd name="connsiteX2" fmla="*/ 0 w 13734"/>
                      <a:gd name="connsiteY2" fmla="*/ 6867 h 52052"/>
                      <a:gd name="connsiteX3" fmla="*/ 6867 w 13734"/>
                      <a:gd name="connsiteY3" fmla="*/ 0 h 52052"/>
                      <a:gd name="connsiteX4" fmla="*/ 13735 w 13734"/>
                      <a:gd name="connsiteY4" fmla="*/ 6867 h 52052"/>
                      <a:gd name="connsiteX5" fmla="*/ 13735 w 13734"/>
                      <a:gd name="connsiteY5" fmla="*/ 45185 h 52052"/>
                      <a:gd name="connsiteX6" fmla="*/ 6867 w 13734"/>
                      <a:gd name="connsiteY6" fmla="*/ 52052 h 5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34" h="52052">
                        <a:moveTo>
                          <a:pt x="6867" y="52052"/>
                        </a:moveTo>
                        <a:cubicBezTo>
                          <a:pt x="3060" y="52052"/>
                          <a:pt x="0" y="48967"/>
                          <a:pt x="0" y="45185"/>
                        </a:cubicBezTo>
                        <a:lnTo>
                          <a:pt x="0" y="6867"/>
                        </a:lnTo>
                        <a:cubicBezTo>
                          <a:pt x="0" y="3060"/>
                          <a:pt x="3085" y="0"/>
                          <a:pt x="6867" y="0"/>
                        </a:cubicBezTo>
                        <a:cubicBezTo>
                          <a:pt x="10674" y="0"/>
                          <a:pt x="13735" y="3085"/>
                          <a:pt x="13735" y="6867"/>
                        </a:cubicBezTo>
                        <a:lnTo>
                          <a:pt x="13735" y="45185"/>
                        </a:lnTo>
                        <a:cubicBezTo>
                          <a:pt x="13735" y="48967"/>
                          <a:pt x="10649" y="52052"/>
                          <a:pt x="6867" y="52052"/>
                        </a:cubicBezTo>
                        <a:close/>
                      </a:path>
                    </a:pathLst>
                  </a:custGeom>
                  <a:grpFill/>
                  <a:ln w="2482" cap="flat">
                    <a:noFill/>
                    <a:prstDash val="solid"/>
                    <a:miter/>
                  </a:ln>
                </p:spPr>
                <p:txBody>
                  <a:bodyPr rtlCol="0" anchor="ctr"/>
                  <a:lstStyle/>
                  <a:p>
                    <a:endParaRPr lang="en-GB" dirty="0"/>
                  </a:p>
                </p:txBody>
              </p:sp>
            </p:grpSp>
            <p:sp>
              <p:nvSpPr>
                <p:cNvPr id="404" name="Freihandform: Form 29">
                  <a:extLst>
                    <a:ext uri="{FF2B5EF4-FFF2-40B4-BE49-F238E27FC236}">
                      <a16:creationId xmlns:a16="http://schemas.microsoft.com/office/drawing/2014/main" id="{12B59541-4784-4F91-8983-814D2197BDAD}"/>
                    </a:ext>
                  </a:extLst>
                </p:cNvPr>
                <p:cNvSpPr/>
                <p:nvPr/>
              </p:nvSpPr>
              <p:spPr>
                <a:xfrm>
                  <a:off x="1561384" y="2631406"/>
                  <a:ext cx="232792" cy="72577"/>
                </a:xfrm>
                <a:custGeom>
                  <a:avLst/>
                  <a:gdLst>
                    <a:gd name="connsiteX0" fmla="*/ 116371 w 232792"/>
                    <a:gd name="connsiteY0" fmla="*/ 72577 h 72577"/>
                    <a:gd name="connsiteX1" fmla="*/ 0 w 232792"/>
                    <a:gd name="connsiteY1" fmla="*/ 27367 h 72577"/>
                    <a:gd name="connsiteX2" fmla="*/ 19731 w 232792"/>
                    <a:gd name="connsiteY2" fmla="*/ 1291 h 72577"/>
                    <a:gd name="connsiteX3" fmla="*/ 29112 w 232792"/>
                    <a:gd name="connsiteY3" fmla="*/ 3879 h 72577"/>
                    <a:gd name="connsiteX4" fmla="*/ 26524 w 232792"/>
                    <a:gd name="connsiteY4" fmla="*/ 13259 h 72577"/>
                    <a:gd name="connsiteX5" fmla="*/ 13760 w 232792"/>
                    <a:gd name="connsiteY5" fmla="*/ 27392 h 72577"/>
                    <a:gd name="connsiteX6" fmla="*/ 116396 w 232792"/>
                    <a:gd name="connsiteY6" fmla="*/ 58842 h 72577"/>
                    <a:gd name="connsiteX7" fmla="*/ 219033 w 232792"/>
                    <a:gd name="connsiteY7" fmla="*/ 27392 h 72577"/>
                    <a:gd name="connsiteX8" fmla="*/ 206169 w 232792"/>
                    <a:gd name="connsiteY8" fmla="*/ 12936 h 72577"/>
                    <a:gd name="connsiteX9" fmla="*/ 203358 w 232792"/>
                    <a:gd name="connsiteY9" fmla="*/ 3630 h 72577"/>
                    <a:gd name="connsiteX10" fmla="*/ 212663 w 232792"/>
                    <a:gd name="connsiteY10" fmla="*/ 818 h 72577"/>
                    <a:gd name="connsiteX11" fmla="*/ 232793 w 232792"/>
                    <a:gd name="connsiteY11" fmla="*/ 27392 h 72577"/>
                    <a:gd name="connsiteX12" fmla="*/ 116371 w 232792"/>
                    <a:gd name="connsiteY12" fmla="*/ 72577 h 7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2792" h="72577">
                      <a:moveTo>
                        <a:pt x="116371" y="72577"/>
                      </a:moveTo>
                      <a:cubicBezTo>
                        <a:pt x="59965" y="72577"/>
                        <a:pt x="0" y="56727"/>
                        <a:pt x="0" y="27367"/>
                      </a:cubicBezTo>
                      <a:cubicBezTo>
                        <a:pt x="0" y="20574"/>
                        <a:pt x="3434" y="10522"/>
                        <a:pt x="19731" y="1291"/>
                      </a:cubicBezTo>
                      <a:cubicBezTo>
                        <a:pt x="23040" y="-575"/>
                        <a:pt x="27221" y="594"/>
                        <a:pt x="29112" y="3879"/>
                      </a:cubicBezTo>
                      <a:cubicBezTo>
                        <a:pt x="30978" y="7188"/>
                        <a:pt x="29833" y="11368"/>
                        <a:pt x="26524" y="13259"/>
                      </a:cubicBezTo>
                      <a:cubicBezTo>
                        <a:pt x="18288" y="17937"/>
                        <a:pt x="13760" y="22938"/>
                        <a:pt x="13760" y="27392"/>
                      </a:cubicBezTo>
                      <a:cubicBezTo>
                        <a:pt x="13760" y="40529"/>
                        <a:pt x="52799" y="58842"/>
                        <a:pt x="116396" y="58842"/>
                      </a:cubicBezTo>
                      <a:cubicBezTo>
                        <a:pt x="179994" y="58842"/>
                        <a:pt x="219033" y="40529"/>
                        <a:pt x="219033" y="27392"/>
                      </a:cubicBezTo>
                      <a:cubicBezTo>
                        <a:pt x="219033" y="22366"/>
                        <a:pt x="214704" y="17514"/>
                        <a:pt x="206169" y="12936"/>
                      </a:cubicBezTo>
                      <a:cubicBezTo>
                        <a:pt x="202810" y="11144"/>
                        <a:pt x="201566" y="6989"/>
                        <a:pt x="203358" y="3630"/>
                      </a:cubicBezTo>
                      <a:cubicBezTo>
                        <a:pt x="205149" y="271"/>
                        <a:pt x="209329" y="-973"/>
                        <a:pt x="212663" y="818"/>
                      </a:cubicBezTo>
                      <a:cubicBezTo>
                        <a:pt x="226025" y="7959"/>
                        <a:pt x="232793" y="16917"/>
                        <a:pt x="232793" y="27392"/>
                      </a:cubicBezTo>
                      <a:cubicBezTo>
                        <a:pt x="232743" y="56727"/>
                        <a:pt x="172778" y="72577"/>
                        <a:pt x="116371" y="72577"/>
                      </a:cubicBezTo>
                      <a:close/>
                    </a:path>
                  </a:pathLst>
                </a:custGeom>
                <a:grpFill/>
                <a:ln w="2482" cap="flat">
                  <a:noFill/>
                  <a:prstDash val="solid"/>
                  <a:miter/>
                </a:ln>
              </p:spPr>
              <p:txBody>
                <a:bodyPr rtlCol="0" anchor="ctr"/>
                <a:lstStyle/>
                <a:p>
                  <a:endParaRPr lang="en-GB" dirty="0"/>
                </a:p>
              </p:txBody>
            </p:sp>
          </p:grpSp>
          <p:sp>
            <p:nvSpPr>
              <p:cNvPr id="401" name="Freihandform: Form 30">
                <a:extLst>
                  <a:ext uri="{FF2B5EF4-FFF2-40B4-BE49-F238E27FC236}">
                    <a16:creationId xmlns:a16="http://schemas.microsoft.com/office/drawing/2014/main" id="{74C00725-B693-4E60-8653-17FCC55CF244}"/>
                  </a:ext>
                </a:extLst>
              </p:cNvPr>
              <p:cNvSpPr/>
              <p:nvPr/>
            </p:nvSpPr>
            <p:spPr>
              <a:xfrm>
                <a:off x="1670872" y="2690232"/>
                <a:ext cx="127725" cy="149754"/>
              </a:xfrm>
              <a:custGeom>
                <a:avLst/>
                <a:gdLst>
                  <a:gd name="connsiteX0" fmla="*/ 120867 w 127725"/>
                  <a:gd name="connsiteY0" fmla="*/ 149754 h 149754"/>
                  <a:gd name="connsiteX1" fmla="*/ 115592 w 127725"/>
                  <a:gd name="connsiteY1" fmla="*/ 147291 h 149754"/>
                  <a:gd name="connsiteX2" fmla="*/ 1609 w 127725"/>
                  <a:gd name="connsiteY2" fmla="*/ 11288 h 149754"/>
                  <a:gd name="connsiteX3" fmla="*/ 2455 w 127725"/>
                  <a:gd name="connsiteY3" fmla="*/ 1609 h 149754"/>
                  <a:gd name="connsiteX4" fmla="*/ 12134 w 127725"/>
                  <a:gd name="connsiteY4" fmla="*/ 2455 h 149754"/>
                  <a:gd name="connsiteX5" fmla="*/ 126117 w 127725"/>
                  <a:gd name="connsiteY5" fmla="*/ 138458 h 149754"/>
                  <a:gd name="connsiteX6" fmla="*/ 125271 w 127725"/>
                  <a:gd name="connsiteY6" fmla="*/ 148137 h 149754"/>
                  <a:gd name="connsiteX7" fmla="*/ 120867 w 127725"/>
                  <a:gd name="connsiteY7" fmla="*/ 149754 h 149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25" h="149754">
                    <a:moveTo>
                      <a:pt x="120867" y="149754"/>
                    </a:moveTo>
                    <a:cubicBezTo>
                      <a:pt x="118901" y="149754"/>
                      <a:pt x="116960" y="148908"/>
                      <a:pt x="115592" y="147291"/>
                    </a:cubicBezTo>
                    <a:lnTo>
                      <a:pt x="1609" y="11288"/>
                    </a:lnTo>
                    <a:cubicBezTo>
                      <a:pt x="-829" y="8377"/>
                      <a:pt x="-456" y="4048"/>
                      <a:pt x="2455" y="1609"/>
                    </a:cubicBezTo>
                    <a:cubicBezTo>
                      <a:pt x="5366" y="-829"/>
                      <a:pt x="9696" y="-456"/>
                      <a:pt x="12134" y="2455"/>
                    </a:cubicBezTo>
                    <a:lnTo>
                      <a:pt x="126117" y="138458"/>
                    </a:lnTo>
                    <a:cubicBezTo>
                      <a:pt x="128555" y="141369"/>
                      <a:pt x="128182" y="145699"/>
                      <a:pt x="125271" y="148137"/>
                    </a:cubicBezTo>
                    <a:cubicBezTo>
                      <a:pt x="124002" y="149232"/>
                      <a:pt x="122434" y="149754"/>
                      <a:pt x="120867" y="149754"/>
                    </a:cubicBezTo>
                    <a:close/>
                  </a:path>
                </a:pathLst>
              </a:custGeom>
              <a:grpFill/>
              <a:ln w="2482" cap="flat">
                <a:noFill/>
                <a:prstDash val="solid"/>
                <a:miter/>
              </a:ln>
            </p:spPr>
            <p:txBody>
              <a:bodyPr rtlCol="0" anchor="ctr"/>
              <a:lstStyle/>
              <a:p>
                <a:endParaRPr lang="en-GB" dirty="0"/>
              </a:p>
            </p:txBody>
          </p:sp>
          <p:sp>
            <p:nvSpPr>
              <p:cNvPr id="402" name="Freihandform: Form 31">
                <a:extLst>
                  <a:ext uri="{FF2B5EF4-FFF2-40B4-BE49-F238E27FC236}">
                    <a16:creationId xmlns:a16="http://schemas.microsoft.com/office/drawing/2014/main" id="{6507711C-B68C-4D71-A66B-87B0EDD76678}"/>
                  </a:ext>
                </a:extLst>
              </p:cNvPr>
              <p:cNvSpPr/>
              <p:nvPr/>
            </p:nvSpPr>
            <p:spPr>
              <a:xfrm>
                <a:off x="1990875" y="2689685"/>
                <a:ext cx="127725" cy="149729"/>
              </a:xfrm>
              <a:custGeom>
                <a:avLst/>
                <a:gdLst>
                  <a:gd name="connsiteX0" fmla="*/ 6859 w 127725"/>
                  <a:gd name="connsiteY0" fmla="*/ 149730 h 149729"/>
                  <a:gd name="connsiteX1" fmla="*/ 2455 w 127725"/>
                  <a:gd name="connsiteY1" fmla="*/ 148137 h 149729"/>
                  <a:gd name="connsiteX2" fmla="*/ 1609 w 127725"/>
                  <a:gd name="connsiteY2" fmla="*/ 138458 h 149729"/>
                  <a:gd name="connsiteX3" fmla="*/ 115592 w 127725"/>
                  <a:gd name="connsiteY3" fmla="*/ 2455 h 149729"/>
                  <a:gd name="connsiteX4" fmla="*/ 125271 w 127725"/>
                  <a:gd name="connsiteY4" fmla="*/ 1609 h 149729"/>
                  <a:gd name="connsiteX5" fmla="*/ 126117 w 127725"/>
                  <a:gd name="connsiteY5" fmla="*/ 11288 h 149729"/>
                  <a:gd name="connsiteX6" fmla="*/ 12134 w 127725"/>
                  <a:gd name="connsiteY6" fmla="*/ 147291 h 149729"/>
                  <a:gd name="connsiteX7" fmla="*/ 6859 w 127725"/>
                  <a:gd name="connsiteY7" fmla="*/ 149730 h 149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725" h="149729">
                    <a:moveTo>
                      <a:pt x="6859" y="149730"/>
                    </a:moveTo>
                    <a:cubicBezTo>
                      <a:pt x="5292" y="149730"/>
                      <a:pt x="3724" y="149207"/>
                      <a:pt x="2455" y="148137"/>
                    </a:cubicBezTo>
                    <a:cubicBezTo>
                      <a:pt x="-456" y="145699"/>
                      <a:pt x="-829" y="141369"/>
                      <a:pt x="1609" y="138458"/>
                    </a:cubicBezTo>
                    <a:lnTo>
                      <a:pt x="115592" y="2455"/>
                    </a:lnTo>
                    <a:cubicBezTo>
                      <a:pt x="118030" y="-456"/>
                      <a:pt x="122360" y="-829"/>
                      <a:pt x="125271" y="1609"/>
                    </a:cubicBezTo>
                    <a:cubicBezTo>
                      <a:pt x="128182" y="4048"/>
                      <a:pt x="128555" y="8377"/>
                      <a:pt x="126117" y="11288"/>
                    </a:cubicBezTo>
                    <a:lnTo>
                      <a:pt x="12134" y="147291"/>
                    </a:lnTo>
                    <a:cubicBezTo>
                      <a:pt x="10766" y="148884"/>
                      <a:pt x="8825" y="149730"/>
                      <a:pt x="6859" y="149730"/>
                    </a:cubicBezTo>
                    <a:close/>
                  </a:path>
                </a:pathLst>
              </a:custGeom>
              <a:grpFill/>
              <a:ln w="2482" cap="flat">
                <a:noFill/>
                <a:prstDash val="solid"/>
                <a:miter/>
              </a:ln>
            </p:spPr>
            <p:txBody>
              <a:bodyPr rtlCol="0" anchor="ctr"/>
              <a:lstStyle/>
              <a:p>
                <a:endParaRPr lang="en-GB" dirty="0"/>
              </a:p>
            </p:txBody>
          </p:sp>
        </p:grpSp>
        <p:grpSp>
          <p:nvGrpSpPr>
            <p:cNvPr id="392" name="Grafik 331">
              <a:extLst>
                <a:ext uri="{FF2B5EF4-FFF2-40B4-BE49-F238E27FC236}">
                  <a16:creationId xmlns:a16="http://schemas.microsoft.com/office/drawing/2014/main" id="{9C10E85F-28EB-41AC-AE91-B58BB97CF483}"/>
                </a:ext>
              </a:extLst>
            </p:cNvPr>
            <p:cNvGrpSpPr/>
            <p:nvPr/>
          </p:nvGrpSpPr>
          <p:grpSpPr>
            <a:xfrm>
              <a:off x="6150657" y="1731783"/>
              <a:ext cx="198576" cy="286204"/>
              <a:chOff x="1778216" y="2637375"/>
              <a:chExt cx="233766" cy="336922"/>
            </a:xfrm>
            <a:solidFill>
              <a:schemeClr val="accent1"/>
            </a:solidFill>
          </p:grpSpPr>
          <p:sp>
            <p:nvSpPr>
              <p:cNvPr id="393" name="Freihandform: Form 10">
                <a:extLst>
                  <a:ext uri="{FF2B5EF4-FFF2-40B4-BE49-F238E27FC236}">
                    <a16:creationId xmlns:a16="http://schemas.microsoft.com/office/drawing/2014/main" id="{7D6DE23F-02C7-4618-89EC-67EF5748B05C}"/>
                  </a:ext>
                </a:extLst>
              </p:cNvPr>
              <p:cNvSpPr/>
              <p:nvPr/>
            </p:nvSpPr>
            <p:spPr>
              <a:xfrm>
                <a:off x="1888205" y="2761186"/>
                <a:ext cx="27494" cy="13734"/>
              </a:xfrm>
              <a:custGeom>
                <a:avLst/>
                <a:gdLst>
                  <a:gd name="connsiteX0" fmla="*/ 20627 w 27494"/>
                  <a:gd name="connsiteY0" fmla="*/ 13735 h 13734"/>
                  <a:gd name="connsiteX1" fmla="*/ 6867 w 27494"/>
                  <a:gd name="connsiteY1" fmla="*/ 13735 h 13734"/>
                  <a:gd name="connsiteX2" fmla="*/ 0 w 27494"/>
                  <a:gd name="connsiteY2" fmla="*/ 6867 h 13734"/>
                  <a:gd name="connsiteX3" fmla="*/ 6867 w 27494"/>
                  <a:gd name="connsiteY3" fmla="*/ 0 h 13734"/>
                  <a:gd name="connsiteX4" fmla="*/ 20627 w 27494"/>
                  <a:gd name="connsiteY4" fmla="*/ 0 h 13734"/>
                  <a:gd name="connsiteX5" fmla="*/ 27494 w 27494"/>
                  <a:gd name="connsiteY5" fmla="*/ 6867 h 13734"/>
                  <a:gd name="connsiteX6" fmla="*/ 20627 w 27494"/>
                  <a:gd name="connsiteY6" fmla="*/ 13735 h 13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494" h="13734">
                    <a:moveTo>
                      <a:pt x="20627" y="13735"/>
                    </a:moveTo>
                    <a:lnTo>
                      <a:pt x="6867" y="13735"/>
                    </a:lnTo>
                    <a:cubicBezTo>
                      <a:pt x="3060" y="13735"/>
                      <a:pt x="0" y="10649"/>
                      <a:pt x="0" y="6867"/>
                    </a:cubicBezTo>
                    <a:cubicBezTo>
                      <a:pt x="0" y="3085"/>
                      <a:pt x="3085" y="0"/>
                      <a:pt x="6867" y="0"/>
                    </a:cubicBezTo>
                    <a:lnTo>
                      <a:pt x="20627" y="0"/>
                    </a:lnTo>
                    <a:cubicBezTo>
                      <a:pt x="24434" y="0"/>
                      <a:pt x="27494" y="3085"/>
                      <a:pt x="27494" y="6867"/>
                    </a:cubicBezTo>
                    <a:cubicBezTo>
                      <a:pt x="27494" y="10649"/>
                      <a:pt x="24434" y="13735"/>
                      <a:pt x="20627" y="13735"/>
                    </a:cubicBezTo>
                    <a:close/>
                  </a:path>
                </a:pathLst>
              </a:custGeom>
              <a:solidFill>
                <a:schemeClr val="accent1"/>
              </a:solidFill>
              <a:ln w="2482" cap="flat">
                <a:noFill/>
                <a:prstDash val="solid"/>
                <a:miter/>
              </a:ln>
            </p:spPr>
            <p:txBody>
              <a:bodyPr rtlCol="0" anchor="ctr"/>
              <a:lstStyle/>
              <a:p>
                <a:endParaRPr lang="en-GB" dirty="0"/>
              </a:p>
            </p:txBody>
          </p:sp>
          <p:sp>
            <p:nvSpPr>
              <p:cNvPr id="394" name="Freihandform: Form 11">
                <a:extLst>
                  <a:ext uri="{FF2B5EF4-FFF2-40B4-BE49-F238E27FC236}">
                    <a16:creationId xmlns:a16="http://schemas.microsoft.com/office/drawing/2014/main" id="{6907A7D1-B331-4E4F-9420-389FBD7C989F}"/>
                  </a:ext>
                </a:extLst>
              </p:cNvPr>
              <p:cNvSpPr/>
              <p:nvPr/>
            </p:nvSpPr>
            <p:spPr>
              <a:xfrm>
                <a:off x="1853843" y="2637375"/>
                <a:ext cx="96242" cy="110026"/>
              </a:xfrm>
              <a:custGeom>
                <a:avLst/>
                <a:gdLst>
                  <a:gd name="connsiteX0" fmla="*/ 48121 w 96242"/>
                  <a:gd name="connsiteY0" fmla="*/ 110027 h 110026"/>
                  <a:gd name="connsiteX1" fmla="*/ 0 w 96242"/>
                  <a:gd name="connsiteY1" fmla="*/ 55013 h 110026"/>
                  <a:gd name="connsiteX2" fmla="*/ 48121 w 96242"/>
                  <a:gd name="connsiteY2" fmla="*/ 0 h 110026"/>
                  <a:gd name="connsiteX3" fmla="*/ 96242 w 96242"/>
                  <a:gd name="connsiteY3" fmla="*/ 55013 h 110026"/>
                  <a:gd name="connsiteX4" fmla="*/ 48121 w 96242"/>
                  <a:gd name="connsiteY4" fmla="*/ 110027 h 110026"/>
                  <a:gd name="connsiteX5" fmla="*/ 48121 w 96242"/>
                  <a:gd name="connsiteY5" fmla="*/ 13784 h 110026"/>
                  <a:gd name="connsiteX6" fmla="*/ 13735 w 96242"/>
                  <a:gd name="connsiteY6" fmla="*/ 55038 h 110026"/>
                  <a:gd name="connsiteX7" fmla="*/ 48121 w 96242"/>
                  <a:gd name="connsiteY7" fmla="*/ 96292 h 110026"/>
                  <a:gd name="connsiteX8" fmla="*/ 82508 w 96242"/>
                  <a:gd name="connsiteY8" fmla="*/ 55038 h 110026"/>
                  <a:gd name="connsiteX9" fmla="*/ 48121 w 96242"/>
                  <a:gd name="connsiteY9" fmla="*/ 13784 h 110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242" h="110026">
                    <a:moveTo>
                      <a:pt x="48121" y="110027"/>
                    </a:moveTo>
                    <a:cubicBezTo>
                      <a:pt x="19333" y="110027"/>
                      <a:pt x="0" y="87932"/>
                      <a:pt x="0" y="55013"/>
                    </a:cubicBezTo>
                    <a:cubicBezTo>
                      <a:pt x="0" y="22120"/>
                      <a:pt x="19333" y="0"/>
                      <a:pt x="48121" y="0"/>
                    </a:cubicBezTo>
                    <a:cubicBezTo>
                      <a:pt x="76909" y="0"/>
                      <a:pt x="96242" y="22095"/>
                      <a:pt x="96242" y="55013"/>
                    </a:cubicBezTo>
                    <a:cubicBezTo>
                      <a:pt x="96242" y="87932"/>
                      <a:pt x="76909" y="110027"/>
                      <a:pt x="48121" y="110027"/>
                    </a:cubicBezTo>
                    <a:close/>
                    <a:moveTo>
                      <a:pt x="48121" y="13784"/>
                    </a:moveTo>
                    <a:cubicBezTo>
                      <a:pt x="22742" y="13784"/>
                      <a:pt x="13735" y="36004"/>
                      <a:pt x="13735" y="55038"/>
                    </a:cubicBezTo>
                    <a:cubicBezTo>
                      <a:pt x="13735" y="74073"/>
                      <a:pt x="22742" y="96292"/>
                      <a:pt x="48121" y="96292"/>
                    </a:cubicBezTo>
                    <a:cubicBezTo>
                      <a:pt x="73500" y="96292"/>
                      <a:pt x="82508" y="74073"/>
                      <a:pt x="82508" y="55038"/>
                    </a:cubicBezTo>
                    <a:cubicBezTo>
                      <a:pt x="82508" y="36004"/>
                      <a:pt x="73500" y="13784"/>
                      <a:pt x="48121" y="13784"/>
                    </a:cubicBezTo>
                    <a:close/>
                  </a:path>
                </a:pathLst>
              </a:custGeom>
              <a:solidFill>
                <a:schemeClr val="accent1"/>
              </a:solidFill>
              <a:ln w="2482" cap="flat">
                <a:noFill/>
                <a:prstDash val="solid"/>
                <a:miter/>
              </a:ln>
            </p:spPr>
            <p:txBody>
              <a:bodyPr rtlCol="0" anchor="ctr"/>
              <a:lstStyle/>
              <a:p>
                <a:endParaRPr lang="en-GB" dirty="0"/>
              </a:p>
            </p:txBody>
          </p:sp>
          <p:sp>
            <p:nvSpPr>
              <p:cNvPr id="395" name="Freihandform: Form 12">
                <a:extLst>
                  <a:ext uri="{FF2B5EF4-FFF2-40B4-BE49-F238E27FC236}">
                    <a16:creationId xmlns:a16="http://schemas.microsoft.com/office/drawing/2014/main" id="{6179CDB0-B20C-4707-A549-65BD89F1A15B}"/>
                  </a:ext>
                </a:extLst>
              </p:cNvPr>
              <p:cNvSpPr/>
              <p:nvPr/>
            </p:nvSpPr>
            <p:spPr>
              <a:xfrm>
                <a:off x="1895097" y="2761186"/>
                <a:ext cx="13734" cy="89349"/>
              </a:xfrm>
              <a:custGeom>
                <a:avLst/>
                <a:gdLst>
                  <a:gd name="connsiteX0" fmla="*/ 6867 w 13734"/>
                  <a:gd name="connsiteY0" fmla="*/ 89350 h 89349"/>
                  <a:gd name="connsiteX1" fmla="*/ 0 w 13734"/>
                  <a:gd name="connsiteY1" fmla="*/ 82483 h 89349"/>
                  <a:gd name="connsiteX2" fmla="*/ 0 w 13734"/>
                  <a:gd name="connsiteY2" fmla="*/ 6867 h 89349"/>
                  <a:gd name="connsiteX3" fmla="*/ 6867 w 13734"/>
                  <a:gd name="connsiteY3" fmla="*/ 0 h 89349"/>
                  <a:gd name="connsiteX4" fmla="*/ 13735 w 13734"/>
                  <a:gd name="connsiteY4" fmla="*/ 6867 h 89349"/>
                  <a:gd name="connsiteX5" fmla="*/ 13735 w 13734"/>
                  <a:gd name="connsiteY5" fmla="*/ 82483 h 89349"/>
                  <a:gd name="connsiteX6" fmla="*/ 6867 w 13734"/>
                  <a:gd name="connsiteY6" fmla="*/ 89350 h 8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34" h="89349">
                    <a:moveTo>
                      <a:pt x="6867" y="89350"/>
                    </a:moveTo>
                    <a:cubicBezTo>
                      <a:pt x="3060" y="89350"/>
                      <a:pt x="0" y="86265"/>
                      <a:pt x="0" y="82483"/>
                    </a:cubicBezTo>
                    <a:lnTo>
                      <a:pt x="0" y="6867"/>
                    </a:lnTo>
                    <a:cubicBezTo>
                      <a:pt x="0" y="3060"/>
                      <a:pt x="3085" y="0"/>
                      <a:pt x="6867" y="0"/>
                    </a:cubicBezTo>
                    <a:cubicBezTo>
                      <a:pt x="10674" y="0"/>
                      <a:pt x="13735" y="3085"/>
                      <a:pt x="13735" y="6867"/>
                    </a:cubicBezTo>
                    <a:lnTo>
                      <a:pt x="13735" y="82483"/>
                    </a:lnTo>
                    <a:cubicBezTo>
                      <a:pt x="13735" y="86265"/>
                      <a:pt x="10674" y="89350"/>
                      <a:pt x="6867" y="89350"/>
                    </a:cubicBezTo>
                    <a:close/>
                  </a:path>
                </a:pathLst>
              </a:custGeom>
              <a:solidFill>
                <a:schemeClr val="accent1"/>
              </a:solidFill>
              <a:ln w="2482" cap="flat">
                <a:noFill/>
                <a:prstDash val="solid"/>
                <a:miter/>
              </a:ln>
            </p:spPr>
            <p:txBody>
              <a:bodyPr rtlCol="0" anchor="ctr"/>
              <a:lstStyle/>
              <a:p>
                <a:endParaRPr lang="en-GB" dirty="0"/>
              </a:p>
            </p:txBody>
          </p:sp>
          <p:sp>
            <p:nvSpPr>
              <p:cNvPr id="396" name="Freihandform: Form 13">
                <a:extLst>
                  <a:ext uri="{FF2B5EF4-FFF2-40B4-BE49-F238E27FC236}">
                    <a16:creationId xmlns:a16="http://schemas.microsoft.com/office/drawing/2014/main" id="{968254EE-6D3E-4E01-8F4B-4A5038C37C35}"/>
                  </a:ext>
                </a:extLst>
              </p:cNvPr>
              <p:cNvSpPr/>
              <p:nvPr/>
            </p:nvSpPr>
            <p:spPr>
              <a:xfrm>
                <a:off x="1822125" y="2825098"/>
                <a:ext cx="146455" cy="48229"/>
              </a:xfrm>
              <a:custGeom>
                <a:avLst/>
                <a:gdLst>
                  <a:gd name="connsiteX0" fmla="*/ 6862 w 146455"/>
                  <a:gd name="connsiteY0" fmla="*/ 48230 h 48229"/>
                  <a:gd name="connsiteX1" fmla="*/ 2856 w 146455"/>
                  <a:gd name="connsiteY1" fmla="*/ 46936 h 48229"/>
                  <a:gd name="connsiteX2" fmla="*/ 1313 w 146455"/>
                  <a:gd name="connsiteY2" fmla="*/ 37331 h 48229"/>
                  <a:gd name="connsiteX3" fmla="*/ 9624 w 146455"/>
                  <a:gd name="connsiteY3" fmla="*/ 25786 h 48229"/>
                  <a:gd name="connsiteX4" fmla="*/ 28260 w 146455"/>
                  <a:gd name="connsiteY4" fmla="*/ 18819 h 48229"/>
                  <a:gd name="connsiteX5" fmla="*/ 55281 w 146455"/>
                  <a:gd name="connsiteY5" fmla="*/ 23895 h 48229"/>
                  <a:gd name="connsiteX6" fmla="*/ 131618 w 146455"/>
                  <a:gd name="connsiteY6" fmla="*/ 27951 h 48229"/>
                  <a:gd name="connsiteX7" fmla="*/ 129603 w 146455"/>
                  <a:gd name="connsiteY7" fmla="*/ 7548 h 48229"/>
                  <a:gd name="connsiteX8" fmla="*/ 135773 w 146455"/>
                  <a:gd name="connsiteY8" fmla="*/ 34 h 48229"/>
                  <a:gd name="connsiteX9" fmla="*/ 143288 w 146455"/>
                  <a:gd name="connsiteY9" fmla="*/ 6204 h 48229"/>
                  <a:gd name="connsiteX10" fmla="*/ 146423 w 146455"/>
                  <a:gd name="connsiteY10" fmla="*/ 37978 h 48229"/>
                  <a:gd name="connsiteX11" fmla="*/ 143387 w 146455"/>
                  <a:gd name="connsiteY11" fmla="*/ 44373 h 48229"/>
                  <a:gd name="connsiteX12" fmla="*/ 136321 w 146455"/>
                  <a:gd name="connsiteY12" fmla="*/ 44696 h 48229"/>
                  <a:gd name="connsiteX13" fmla="*/ 55878 w 146455"/>
                  <a:gd name="connsiteY13" fmla="*/ 37680 h 48229"/>
                  <a:gd name="connsiteX14" fmla="*/ 53764 w 146455"/>
                  <a:gd name="connsiteY14" fmla="*/ 37605 h 48229"/>
                  <a:gd name="connsiteX15" fmla="*/ 25050 w 146455"/>
                  <a:gd name="connsiteY15" fmla="*/ 32231 h 48229"/>
                  <a:gd name="connsiteX16" fmla="*/ 23582 w 146455"/>
                  <a:gd name="connsiteY16" fmla="*/ 31783 h 48229"/>
                  <a:gd name="connsiteX17" fmla="*/ 20746 w 146455"/>
                  <a:gd name="connsiteY17" fmla="*/ 33873 h 48229"/>
                  <a:gd name="connsiteX18" fmla="*/ 12435 w 146455"/>
                  <a:gd name="connsiteY18" fmla="*/ 45418 h 48229"/>
                  <a:gd name="connsiteX19" fmla="*/ 6862 w 146455"/>
                  <a:gd name="connsiteY19" fmla="*/ 48230 h 48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6455" h="48229">
                    <a:moveTo>
                      <a:pt x="6862" y="48230"/>
                    </a:moveTo>
                    <a:cubicBezTo>
                      <a:pt x="5468" y="48230"/>
                      <a:pt x="4050" y="47806"/>
                      <a:pt x="2856" y="46936"/>
                    </a:cubicBezTo>
                    <a:cubicBezTo>
                      <a:pt x="-230" y="44721"/>
                      <a:pt x="-926" y="40417"/>
                      <a:pt x="1313" y="37331"/>
                    </a:cubicBezTo>
                    <a:lnTo>
                      <a:pt x="9624" y="25786"/>
                    </a:lnTo>
                    <a:cubicBezTo>
                      <a:pt x="13331" y="20661"/>
                      <a:pt x="20348" y="15858"/>
                      <a:pt x="28260" y="18819"/>
                    </a:cubicBezTo>
                    <a:lnTo>
                      <a:pt x="55281" y="23895"/>
                    </a:lnTo>
                    <a:cubicBezTo>
                      <a:pt x="62646" y="23074"/>
                      <a:pt x="103228" y="19018"/>
                      <a:pt x="131618" y="27951"/>
                    </a:cubicBezTo>
                    <a:lnTo>
                      <a:pt x="129603" y="7548"/>
                    </a:lnTo>
                    <a:cubicBezTo>
                      <a:pt x="129230" y="3766"/>
                      <a:pt x="131991" y="407"/>
                      <a:pt x="135773" y="34"/>
                    </a:cubicBezTo>
                    <a:cubicBezTo>
                      <a:pt x="139555" y="-339"/>
                      <a:pt x="142915" y="2422"/>
                      <a:pt x="143288" y="6204"/>
                    </a:cubicBezTo>
                    <a:lnTo>
                      <a:pt x="146423" y="37978"/>
                    </a:lnTo>
                    <a:cubicBezTo>
                      <a:pt x="146672" y="40516"/>
                      <a:pt x="145502" y="42955"/>
                      <a:pt x="143387" y="44373"/>
                    </a:cubicBezTo>
                    <a:cubicBezTo>
                      <a:pt x="141272" y="45791"/>
                      <a:pt x="138560" y="45916"/>
                      <a:pt x="136321" y="44696"/>
                    </a:cubicBezTo>
                    <a:cubicBezTo>
                      <a:pt x="110892" y="31011"/>
                      <a:pt x="56451" y="37630"/>
                      <a:pt x="55878" y="37680"/>
                    </a:cubicBezTo>
                    <a:cubicBezTo>
                      <a:pt x="55182" y="37779"/>
                      <a:pt x="54460" y="37754"/>
                      <a:pt x="53764" y="37605"/>
                    </a:cubicBezTo>
                    <a:lnTo>
                      <a:pt x="25050" y="32231"/>
                    </a:lnTo>
                    <a:cubicBezTo>
                      <a:pt x="24553" y="32131"/>
                      <a:pt x="24055" y="31982"/>
                      <a:pt x="23582" y="31783"/>
                    </a:cubicBezTo>
                    <a:cubicBezTo>
                      <a:pt x="23109" y="31584"/>
                      <a:pt x="21666" y="32604"/>
                      <a:pt x="20746" y="33873"/>
                    </a:cubicBezTo>
                    <a:lnTo>
                      <a:pt x="12435" y="45418"/>
                    </a:lnTo>
                    <a:cubicBezTo>
                      <a:pt x="11116" y="47234"/>
                      <a:pt x="9001" y="48230"/>
                      <a:pt x="6862" y="48230"/>
                    </a:cubicBezTo>
                    <a:close/>
                  </a:path>
                </a:pathLst>
              </a:custGeom>
              <a:solidFill>
                <a:schemeClr val="accent1"/>
              </a:solidFill>
              <a:ln w="2482" cap="flat">
                <a:noFill/>
                <a:prstDash val="solid"/>
                <a:miter/>
              </a:ln>
            </p:spPr>
            <p:txBody>
              <a:bodyPr rtlCol="0" anchor="ctr"/>
              <a:lstStyle/>
              <a:p>
                <a:endParaRPr lang="en-GB" dirty="0"/>
              </a:p>
            </p:txBody>
          </p:sp>
          <p:sp>
            <p:nvSpPr>
              <p:cNvPr id="397" name="Freihandform: Form 14">
                <a:extLst>
                  <a:ext uri="{FF2B5EF4-FFF2-40B4-BE49-F238E27FC236}">
                    <a16:creationId xmlns:a16="http://schemas.microsoft.com/office/drawing/2014/main" id="{4F407A45-E005-4965-A9C7-5E2C7FFF4A6E}"/>
                  </a:ext>
                </a:extLst>
              </p:cNvPr>
              <p:cNvSpPr/>
              <p:nvPr/>
            </p:nvSpPr>
            <p:spPr>
              <a:xfrm>
                <a:off x="1826349" y="2905525"/>
                <a:ext cx="151230" cy="68772"/>
              </a:xfrm>
              <a:custGeom>
                <a:avLst/>
                <a:gdLst>
                  <a:gd name="connsiteX0" fmla="*/ 75615 w 151230"/>
                  <a:gd name="connsiteY0" fmla="*/ 68773 h 68772"/>
                  <a:gd name="connsiteX1" fmla="*/ 1443 w 151230"/>
                  <a:gd name="connsiteY1" fmla="*/ 45508 h 68772"/>
                  <a:gd name="connsiteX2" fmla="*/ 0 w 151230"/>
                  <a:gd name="connsiteY2" fmla="*/ 41279 h 68772"/>
                  <a:gd name="connsiteX3" fmla="*/ 0 w 151230"/>
                  <a:gd name="connsiteY3" fmla="*/ 6892 h 68772"/>
                  <a:gd name="connsiteX4" fmla="*/ 6867 w 151230"/>
                  <a:gd name="connsiteY4" fmla="*/ 25 h 68772"/>
                  <a:gd name="connsiteX5" fmla="*/ 13735 w 151230"/>
                  <a:gd name="connsiteY5" fmla="*/ 6892 h 68772"/>
                  <a:gd name="connsiteX6" fmla="*/ 13735 w 151230"/>
                  <a:gd name="connsiteY6" fmla="*/ 38467 h 68772"/>
                  <a:gd name="connsiteX7" fmla="*/ 75615 w 151230"/>
                  <a:gd name="connsiteY7" fmla="*/ 55013 h 68772"/>
                  <a:gd name="connsiteX8" fmla="*/ 137496 w 151230"/>
                  <a:gd name="connsiteY8" fmla="*/ 38442 h 68772"/>
                  <a:gd name="connsiteX9" fmla="*/ 137496 w 151230"/>
                  <a:gd name="connsiteY9" fmla="*/ 6867 h 68772"/>
                  <a:gd name="connsiteX10" fmla="*/ 144363 w 151230"/>
                  <a:gd name="connsiteY10" fmla="*/ 0 h 68772"/>
                  <a:gd name="connsiteX11" fmla="*/ 151231 w 151230"/>
                  <a:gd name="connsiteY11" fmla="*/ 6867 h 68772"/>
                  <a:gd name="connsiteX12" fmla="*/ 151231 w 151230"/>
                  <a:gd name="connsiteY12" fmla="*/ 41254 h 68772"/>
                  <a:gd name="connsiteX13" fmla="*/ 149787 w 151230"/>
                  <a:gd name="connsiteY13" fmla="*/ 45484 h 68772"/>
                  <a:gd name="connsiteX14" fmla="*/ 75615 w 151230"/>
                  <a:gd name="connsiteY14" fmla="*/ 68773 h 68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1230" h="68772">
                    <a:moveTo>
                      <a:pt x="75615" y="68773"/>
                    </a:moveTo>
                    <a:cubicBezTo>
                      <a:pt x="20179" y="68773"/>
                      <a:pt x="2165" y="46454"/>
                      <a:pt x="1443" y="45508"/>
                    </a:cubicBezTo>
                    <a:cubicBezTo>
                      <a:pt x="498" y="44289"/>
                      <a:pt x="0" y="42821"/>
                      <a:pt x="0" y="41279"/>
                    </a:cubicBezTo>
                    <a:lnTo>
                      <a:pt x="0" y="6892"/>
                    </a:lnTo>
                    <a:cubicBezTo>
                      <a:pt x="0" y="3085"/>
                      <a:pt x="3085" y="25"/>
                      <a:pt x="6867" y="25"/>
                    </a:cubicBezTo>
                    <a:cubicBezTo>
                      <a:pt x="10674" y="25"/>
                      <a:pt x="13735" y="3110"/>
                      <a:pt x="13735" y="6892"/>
                    </a:cubicBezTo>
                    <a:lnTo>
                      <a:pt x="13735" y="38467"/>
                    </a:lnTo>
                    <a:cubicBezTo>
                      <a:pt x="18512" y="42722"/>
                      <a:pt x="35830" y="55013"/>
                      <a:pt x="75615" y="55013"/>
                    </a:cubicBezTo>
                    <a:cubicBezTo>
                      <a:pt x="115302" y="55013"/>
                      <a:pt x="132619" y="42772"/>
                      <a:pt x="137496" y="38442"/>
                    </a:cubicBezTo>
                    <a:lnTo>
                      <a:pt x="137496" y="6867"/>
                    </a:lnTo>
                    <a:cubicBezTo>
                      <a:pt x="137496" y="3060"/>
                      <a:pt x="140581" y="0"/>
                      <a:pt x="144363" y="0"/>
                    </a:cubicBezTo>
                    <a:cubicBezTo>
                      <a:pt x="148170" y="0"/>
                      <a:pt x="151231" y="3085"/>
                      <a:pt x="151231" y="6867"/>
                    </a:cubicBezTo>
                    <a:lnTo>
                      <a:pt x="151231" y="41254"/>
                    </a:lnTo>
                    <a:cubicBezTo>
                      <a:pt x="151231" y="42772"/>
                      <a:pt x="150708" y="44264"/>
                      <a:pt x="149787" y="45484"/>
                    </a:cubicBezTo>
                    <a:cubicBezTo>
                      <a:pt x="149066" y="46454"/>
                      <a:pt x="131052" y="68773"/>
                      <a:pt x="75615" y="68773"/>
                    </a:cubicBezTo>
                    <a:close/>
                  </a:path>
                </a:pathLst>
              </a:custGeom>
              <a:solidFill>
                <a:schemeClr val="accent1"/>
              </a:solidFill>
              <a:ln w="2482" cap="flat">
                <a:noFill/>
                <a:prstDash val="solid"/>
                <a:miter/>
              </a:ln>
            </p:spPr>
            <p:txBody>
              <a:bodyPr rtlCol="0" anchor="ctr"/>
              <a:lstStyle/>
              <a:p>
                <a:endParaRPr lang="en-GB" dirty="0"/>
              </a:p>
            </p:txBody>
          </p:sp>
          <p:sp>
            <p:nvSpPr>
              <p:cNvPr id="398" name="Freihandform: Form 15">
                <a:extLst>
                  <a:ext uri="{FF2B5EF4-FFF2-40B4-BE49-F238E27FC236}">
                    <a16:creationId xmlns:a16="http://schemas.microsoft.com/office/drawing/2014/main" id="{CC174D67-A86D-48F7-9C2C-397DBCA9F835}"/>
                  </a:ext>
                </a:extLst>
              </p:cNvPr>
              <p:cNvSpPr/>
              <p:nvPr/>
            </p:nvSpPr>
            <p:spPr>
              <a:xfrm>
                <a:off x="1778216" y="2761161"/>
                <a:ext cx="233766" cy="151802"/>
              </a:xfrm>
              <a:custGeom>
                <a:avLst/>
                <a:gdLst>
                  <a:gd name="connsiteX0" fmla="*/ 205311 w 233766"/>
                  <a:gd name="connsiteY0" fmla="*/ 151803 h 151802"/>
                  <a:gd name="connsiteX1" fmla="*/ 154229 w 233766"/>
                  <a:gd name="connsiteY1" fmla="*/ 151803 h 151802"/>
                  <a:gd name="connsiteX2" fmla="*/ 135717 w 233766"/>
                  <a:gd name="connsiteY2" fmla="*/ 148419 h 151802"/>
                  <a:gd name="connsiteX3" fmla="*/ 134821 w 233766"/>
                  <a:gd name="connsiteY3" fmla="*/ 148543 h 151802"/>
                  <a:gd name="connsiteX4" fmla="*/ 95284 w 233766"/>
                  <a:gd name="connsiteY4" fmla="*/ 151778 h 151802"/>
                  <a:gd name="connsiteX5" fmla="*/ 28377 w 233766"/>
                  <a:gd name="connsiteY5" fmla="*/ 151803 h 151802"/>
                  <a:gd name="connsiteX6" fmla="*/ 5262 w 233766"/>
                  <a:gd name="connsiteY6" fmla="*/ 141925 h 151802"/>
                  <a:gd name="connsiteX7" fmla="*/ 236 w 233766"/>
                  <a:gd name="connsiteY7" fmla="*/ 124806 h 151802"/>
                  <a:gd name="connsiteX8" fmla="*/ 14518 w 233766"/>
                  <a:gd name="connsiteY8" fmla="*/ 45086 h 151802"/>
                  <a:gd name="connsiteX9" fmla="*/ 74060 w 233766"/>
                  <a:gd name="connsiteY9" fmla="*/ 0 h 151802"/>
                  <a:gd name="connsiteX10" fmla="*/ 82495 w 233766"/>
                  <a:gd name="connsiteY10" fmla="*/ 0 h 151802"/>
                  <a:gd name="connsiteX11" fmla="*/ 88765 w 233766"/>
                  <a:gd name="connsiteY11" fmla="*/ 4056 h 151802"/>
                  <a:gd name="connsiteX12" fmla="*/ 123972 w 233766"/>
                  <a:gd name="connsiteY12" fmla="*/ 82184 h 151802"/>
                  <a:gd name="connsiteX13" fmla="*/ 158732 w 233766"/>
                  <a:gd name="connsiteY13" fmla="*/ 4056 h 151802"/>
                  <a:gd name="connsiteX14" fmla="*/ 165002 w 233766"/>
                  <a:gd name="connsiteY14" fmla="*/ 0 h 151802"/>
                  <a:gd name="connsiteX15" fmla="*/ 169904 w 233766"/>
                  <a:gd name="connsiteY15" fmla="*/ 0 h 151802"/>
                  <a:gd name="connsiteX16" fmla="*/ 222653 w 233766"/>
                  <a:gd name="connsiteY16" fmla="*/ 44936 h 151802"/>
                  <a:gd name="connsiteX17" fmla="*/ 233427 w 233766"/>
                  <a:gd name="connsiteY17" fmla="*/ 124906 h 151802"/>
                  <a:gd name="connsiteX18" fmla="*/ 228923 w 233766"/>
                  <a:gd name="connsiteY18" fmla="*/ 141129 h 151802"/>
                  <a:gd name="connsiteX19" fmla="*/ 205311 w 233766"/>
                  <a:gd name="connsiteY19" fmla="*/ 151803 h 151802"/>
                  <a:gd name="connsiteX20" fmla="*/ 133751 w 233766"/>
                  <a:gd name="connsiteY20" fmla="*/ 133117 h 151802"/>
                  <a:gd name="connsiteX21" fmla="*/ 154204 w 233766"/>
                  <a:gd name="connsiteY21" fmla="*/ 138068 h 151802"/>
                  <a:gd name="connsiteX22" fmla="*/ 205286 w 233766"/>
                  <a:gd name="connsiteY22" fmla="*/ 138068 h 151802"/>
                  <a:gd name="connsiteX23" fmla="*/ 218299 w 233766"/>
                  <a:gd name="connsiteY23" fmla="*/ 132395 h 151802"/>
                  <a:gd name="connsiteX24" fmla="*/ 219866 w 233766"/>
                  <a:gd name="connsiteY24" fmla="*/ 127145 h 151802"/>
                  <a:gd name="connsiteX25" fmla="*/ 209093 w 233766"/>
                  <a:gd name="connsiteY25" fmla="*/ 47225 h 151802"/>
                  <a:gd name="connsiteX26" fmla="*/ 169904 w 233766"/>
                  <a:gd name="connsiteY26" fmla="*/ 13760 h 151802"/>
                  <a:gd name="connsiteX27" fmla="*/ 169431 w 233766"/>
                  <a:gd name="connsiteY27" fmla="*/ 13760 h 151802"/>
                  <a:gd name="connsiteX28" fmla="*/ 136065 w 233766"/>
                  <a:gd name="connsiteY28" fmla="*/ 87832 h 151802"/>
                  <a:gd name="connsiteX29" fmla="*/ 123749 w 233766"/>
                  <a:gd name="connsiteY29" fmla="*/ 95496 h 151802"/>
                  <a:gd name="connsiteX30" fmla="*/ 123749 w 233766"/>
                  <a:gd name="connsiteY30" fmla="*/ 95496 h 151802"/>
                  <a:gd name="connsiteX31" fmla="*/ 111656 w 233766"/>
                  <a:gd name="connsiteY31" fmla="*/ 88255 h 151802"/>
                  <a:gd name="connsiteX32" fmla="*/ 78066 w 233766"/>
                  <a:gd name="connsiteY32" fmla="*/ 13735 h 151802"/>
                  <a:gd name="connsiteX33" fmla="*/ 74085 w 233766"/>
                  <a:gd name="connsiteY33" fmla="*/ 13735 h 151802"/>
                  <a:gd name="connsiteX34" fmla="*/ 28029 w 233766"/>
                  <a:gd name="connsiteY34" fmla="*/ 47648 h 151802"/>
                  <a:gd name="connsiteX35" fmla="*/ 13821 w 233766"/>
                  <a:gd name="connsiteY35" fmla="*/ 126996 h 151802"/>
                  <a:gd name="connsiteX36" fmla="*/ 15688 w 233766"/>
                  <a:gd name="connsiteY36" fmla="*/ 132918 h 151802"/>
                  <a:gd name="connsiteX37" fmla="*/ 28377 w 233766"/>
                  <a:gd name="connsiteY37" fmla="*/ 138043 h 151802"/>
                  <a:gd name="connsiteX38" fmla="*/ 94737 w 233766"/>
                  <a:gd name="connsiteY38" fmla="*/ 138043 h 151802"/>
                  <a:gd name="connsiteX39" fmla="*/ 114194 w 233766"/>
                  <a:gd name="connsiteY39" fmla="*/ 136451 h 151802"/>
                  <a:gd name="connsiteX40" fmla="*/ 50174 w 233766"/>
                  <a:gd name="connsiteY40" fmla="*/ 114082 h 151802"/>
                  <a:gd name="connsiteX41" fmla="*/ 44351 w 233766"/>
                  <a:gd name="connsiteY41" fmla="*/ 111818 h 151802"/>
                  <a:gd name="connsiteX42" fmla="*/ 42759 w 233766"/>
                  <a:gd name="connsiteY42" fmla="*/ 105772 h 151802"/>
                  <a:gd name="connsiteX43" fmla="*/ 50348 w 233766"/>
                  <a:gd name="connsiteY43" fmla="*/ 71161 h 151802"/>
                  <a:gd name="connsiteX44" fmla="*/ 58534 w 233766"/>
                  <a:gd name="connsiteY44" fmla="*/ 65911 h 151802"/>
                  <a:gd name="connsiteX45" fmla="*/ 63784 w 233766"/>
                  <a:gd name="connsiteY45" fmla="*/ 74098 h 151802"/>
                  <a:gd name="connsiteX46" fmla="*/ 58061 w 233766"/>
                  <a:gd name="connsiteY46" fmla="*/ 100248 h 151802"/>
                  <a:gd name="connsiteX47" fmla="*/ 133751 w 233766"/>
                  <a:gd name="connsiteY47" fmla="*/ 133117 h 15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33766" h="151802">
                    <a:moveTo>
                      <a:pt x="205311" y="151803"/>
                    </a:moveTo>
                    <a:lnTo>
                      <a:pt x="154229" y="151803"/>
                    </a:lnTo>
                    <a:cubicBezTo>
                      <a:pt x="149277" y="151803"/>
                      <a:pt x="141937" y="150285"/>
                      <a:pt x="135717" y="148419"/>
                    </a:cubicBezTo>
                    <a:cubicBezTo>
                      <a:pt x="135418" y="148494"/>
                      <a:pt x="135144" y="148518"/>
                      <a:pt x="134821" y="148543"/>
                    </a:cubicBezTo>
                    <a:lnTo>
                      <a:pt x="95284" y="151778"/>
                    </a:lnTo>
                    <a:lnTo>
                      <a:pt x="28377" y="151803"/>
                    </a:lnTo>
                    <a:cubicBezTo>
                      <a:pt x="19395" y="151803"/>
                      <a:pt x="10537" y="148021"/>
                      <a:pt x="5262" y="141925"/>
                    </a:cubicBezTo>
                    <a:cubicBezTo>
                      <a:pt x="1107" y="137123"/>
                      <a:pt x="-685" y="131027"/>
                      <a:pt x="236" y="124806"/>
                    </a:cubicBezTo>
                    <a:lnTo>
                      <a:pt x="14518" y="45086"/>
                    </a:lnTo>
                    <a:cubicBezTo>
                      <a:pt x="19519" y="20577"/>
                      <a:pt x="46765" y="0"/>
                      <a:pt x="74060" y="0"/>
                    </a:cubicBezTo>
                    <a:lnTo>
                      <a:pt x="82495" y="0"/>
                    </a:lnTo>
                    <a:cubicBezTo>
                      <a:pt x="85207" y="0"/>
                      <a:pt x="87645" y="1592"/>
                      <a:pt x="88765" y="4056"/>
                    </a:cubicBezTo>
                    <a:lnTo>
                      <a:pt x="123972" y="82184"/>
                    </a:lnTo>
                    <a:lnTo>
                      <a:pt x="158732" y="4056"/>
                    </a:lnTo>
                    <a:cubicBezTo>
                      <a:pt x="159852" y="1592"/>
                      <a:pt x="162290" y="0"/>
                      <a:pt x="165002" y="0"/>
                    </a:cubicBezTo>
                    <a:lnTo>
                      <a:pt x="169904" y="0"/>
                    </a:lnTo>
                    <a:cubicBezTo>
                      <a:pt x="195159" y="0"/>
                      <a:pt x="217353" y="18885"/>
                      <a:pt x="222653" y="44936"/>
                    </a:cubicBezTo>
                    <a:lnTo>
                      <a:pt x="233427" y="124906"/>
                    </a:lnTo>
                    <a:cubicBezTo>
                      <a:pt x="234522" y="130330"/>
                      <a:pt x="232954" y="136252"/>
                      <a:pt x="228923" y="141129"/>
                    </a:cubicBezTo>
                    <a:cubicBezTo>
                      <a:pt x="223624" y="147623"/>
                      <a:pt x="214343" y="151803"/>
                      <a:pt x="205311" y="151803"/>
                    </a:cubicBezTo>
                    <a:close/>
                    <a:moveTo>
                      <a:pt x="133751" y="133117"/>
                    </a:moveTo>
                    <a:cubicBezTo>
                      <a:pt x="138752" y="135431"/>
                      <a:pt x="149526" y="138068"/>
                      <a:pt x="154204" y="138068"/>
                    </a:cubicBezTo>
                    <a:lnTo>
                      <a:pt x="205286" y="138068"/>
                    </a:lnTo>
                    <a:cubicBezTo>
                      <a:pt x="210212" y="138068"/>
                      <a:pt x="215562" y="135729"/>
                      <a:pt x="218299" y="132395"/>
                    </a:cubicBezTo>
                    <a:cubicBezTo>
                      <a:pt x="220389" y="129832"/>
                      <a:pt x="219991" y="127817"/>
                      <a:pt x="219866" y="127145"/>
                    </a:cubicBezTo>
                    <a:lnTo>
                      <a:pt x="209093" y="47225"/>
                    </a:lnTo>
                    <a:cubicBezTo>
                      <a:pt x="205161" y="28017"/>
                      <a:pt x="188640" y="13760"/>
                      <a:pt x="169904" y="13760"/>
                    </a:cubicBezTo>
                    <a:lnTo>
                      <a:pt x="169431" y="13760"/>
                    </a:lnTo>
                    <a:lnTo>
                      <a:pt x="136065" y="87832"/>
                    </a:lnTo>
                    <a:cubicBezTo>
                      <a:pt x="133452" y="92734"/>
                      <a:pt x="128800" y="95496"/>
                      <a:pt x="123749" y="95496"/>
                    </a:cubicBezTo>
                    <a:lnTo>
                      <a:pt x="123749" y="95496"/>
                    </a:lnTo>
                    <a:cubicBezTo>
                      <a:pt x="118673" y="95496"/>
                      <a:pt x="114045" y="92734"/>
                      <a:pt x="111656" y="88255"/>
                    </a:cubicBezTo>
                    <a:lnTo>
                      <a:pt x="78066" y="13735"/>
                    </a:lnTo>
                    <a:lnTo>
                      <a:pt x="74085" y="13735"/>
                    </a:lnTo>
                    <a:cubicBezTo>
                      <a:pt x="53234" y="13735"/>
                      <a:pt x="31711" y="29584"/>
                      <a:pt x="28029" y="47648"/>
                    </a:cubicBezTo>
                    <a:lnTo>
                      <a:pt x="13821" y="126996"/>
                    </a:lnTo>
                    <a:cubicBezTo>
                      <a:pt x="13523" y="129086"/>
                      <a:pt x="14120" y="131101"/>
                      <a:pt x="15688" y="132918"/>
                    </a:cubicBezTo>
                    <a:cubicBezTo>
                      <a:pt x="18325" y="135978"/>
                      <a:pt x="23451" y="138043"/>
                      <a:pt x="28377" y="138043"/>
                    </a:cubicBezTo>
                    <a:lnTo>
                      <a:pt x="94737" y="138043"/>
                    </a:lnTo>
                    <a:lnTo>
                      <a:pt x="114194" y="136451"/>
                    </a:lnTo>
                    <a:cubicBezTo>
                      <a:pt x="98867" y="126747"/>
                      <a:pt x="71472" y="112017"/>
                      <a:pt x="50174" y="114082"/>
                    </a:cubicBezTo>
                    <a:cubicBezTo>
                      <a:pt x="47934" y="114306"/>
                      <a:pt x="45819" y="113460"/>
                      <a:pt x="44351" y="111818"/>
                    </a:cubicBezTo>
                    <a:cubicBezTo>
                      <a:pt x="42883" y="110176"/>
                      <a:pt x="42311" y="107937"/>
                      <a:pt x="42759" y="105772"/>
                    </a:cubicBezTo>
                    <a:lnTo>
                      <a:pt x="50348" y="71161"/>
                    </a:lnTo>
                    <a:cubicBezTo>
                      <a:pt x="51169" y="67454"/>
                      <a:pt x="54826" y="65115"/>
                      <a:pt x="58534" y="65911"/>
                    </a:cubicBezTo>
                    <a:cubicBezTo>
                      <a:pt x="62241" y="66733"/>
                      <a:pt x="64605" y="70390"/>
                      <a:pt x="63784" y="74098"/>
                    </a:cubicBezTo>
                    <a:lnTo>
                      <a:pt x="58061" y="100248"/>
                    </a:lnTo>
                    <a:cubicBezTo>
                      <a:pt x="91129" y="102263"/>
                      <a:pt x="128476" y="129185"/>
                      <a:pt x="133751" y="133117"/>
                    </a:cubicBezTo>
                    <a:close/>
                  </a:path>
                </a:pathLst>
              </a:custGeom>
              <a:solidFill>
                <a:schemeClr val="accent1"/>
              </a:solidFill>
              <a:ln w="2482" cap="flat">
                <a:noFill/>
                <a:prstDash val="solid"/>
                <a:miter/>
              </a:ln>
            </p:spPr>
            <p:txBody>
              <a:bodyPr rtlCol="0" anchor="ctr"/>
              <a:lstStyle/>
              <a:p>
                <a:endParaRPr lang="en-GB" dirty="0"/>
              </a:p>
            </p:txBody>
          </p:sp>
        </p:grpSp>
      </p:grpSp>
      <p:grpSp>
        <p:nvGrpSpPr>
          <p:cNvPr id="415" name="Grafik 22">
            <a:extLst>
              <a:ext uri="{FF2B5EF4-FFF2-40B4-BE49-F238E27FC236}">
                <a16:creationId xmlns:a16="http://schemas.microsoft.com/office/drawing/2014/main" id="{0700D91F-41C9-4C70-A057-A28F469BFD7F}"/>
              </a:ext>
            </a:extLst>
          </p:cNvPr>
          <p:cNvGrpSpPr>
            <a:grpSpLocks noChangeAspect="1"/>
          </p:cNvGrpSpPr>
          <p:nvPr/>
        </p:nvGrpSpPr>
        <p:grpSpPr>
          <a:xfrm>
            <a:off x="7083533" y="1585981"/>
            <a:ext cx="432006" cy="431996"/>
            <a:chOff x="6953195" y="2526588"/>
            <a:chExt cx="432824" cy="432820"/>
          </a:xfrm>
          <a:solidFill>
            <a:schemeClr val="tx2"/>
          </a:solidFill>
        </p:grpSpPr>
        <p:sp>
          <p:nvSpPr>
            <p:cNvPr id="416" name="Freihandform: Form 588">
              <a:extLst>
                <a:ext uri="{FF2B5EF4-FFF2-40B4-BE49-F238E27FC236}">
                  <a16:creationId xmlns:a16="http://schemas.microsoft.com/office/drawing/2014/main" id="{78869502-3EC1-421D-B20E-3BC817E2A168}"/>
                </a:ext>
              </a:extLst>
            </p:cNvPr>
            <p:cNvSpPr/>
            <p:nvPr/>
          </p:nvSpPr>
          <p:spPr>
            <a:xfrm>
              <a:off x="6953195" y="2526588"/>
              <a:ext cx="400052" cy="337245"/>
            </a:xfrm>
            <a:custGeom>
              <a:avLst/>
              <a:gdLst>
                <a:gd name="connsiteX0" fmla="*/ 184105 w 400050"/>
                <a:gd name="connsiteY0" fmla="*/ 337240 h 337239"/>
                <a:gd name="connsiteX1" fmla="*/ 183424 w 400050"/>
                <a:gd name="connsiteY1" fmla="*/ 337240 h 337239"/>
                <a:gd name="connsiteX2" fmla="*/ 165681 w 400050"/>
                <a:gd name="connsiteY2" fmla="*/ 329075 h 337239"/>
                <a:gd name="connsiteX3" fmla="*/ 115443 w 400050"/>
                <a:gd name="connsiteY3" fmla="*/ 281995 h 337239"/>
                <a:gd name="connsiteX4" fmla="*/ 14968 w 400050"/>
                <a:gd name="connsiteY4" fmla="*/ 281995 h 337239"/>
                <a:gd name="connsiteX5" fmla="*/ 8681 w 400050"/>
                <a:gd name="connsiteY5" fmla="*/ 277286 h 337239"/>
                <a:gd name="connsiteX6" fmla="*/ 0 w 400050"/>
                <a:gd name="connsiteY6" fmla="*/ 216408 h 337239"/>
                <a:gd name="connsiteX7" fmla="*/ 216408 w 400050"/>
                <a:gd name="connsiteY7" fmla="*/ 0 h 337239"/>
                <a:gd name="connsiteX8" fmla="*/ 364726 w 400050"/>
                <a:gd name="connsiteY8" fmla="*/ 58810 h 337239"/>
                <a:gd name="connsiteX9" fmla="*/ 388838 w 400050"/>
                <a:gd name="connsiteY9" fmla="*/ 34698 h 337239"/>
                <a:gd name="connsiteX10" fmla="*/ 395995 w 400050"/>
                <a:gd name="connsiteY10" fmla="*/ 33283 h 337239"/>
                <a:gd name="connsiteX11" fmla="*/ 400050 w 400050"/>
                <a:gd name="connsiteY11" fmla="*/ 39352 h 337239"/>
                <a:gd name="connsiteX12" fmla="*/ 400050 w 400050"/>
                <a:gd name="connsiteY12" fmla="*/ 118028 h 337239"/>
                <a:gd name="connsiteX13" fmla="*/ 393491 w 400050"/>
                <a:gd name="connsiteY13" fmla="*/ 124587 h 337239"/>
                <a:gd name="connsiteX14" fmla="*/ 314788 w 400050"/>
                <a:gd name="connsiteY14" fmla="*/ 124587 h 337239"/>
                <a:gd name="connsiteX15" fmla="*/ 308719 w 400050"/>
                <a:gd name="connsiteY15" fmla="*/ 120532 h 337239"/>
                <a:gd name="connsiteX16" fmla="*/ 310134 w 400050"/>
                <a:gd name="connsiteY16" fmla="*/ 113375 h 337239"/>
                <a:gd name="connsiteX17" fmla="*/ 332259 w 400050"/>
                <a:gd name="connsiteY17" fmla="*/ 91277 h 337239"/>
                <a:gd name="connsiteX18" fmla="*/ 216408 w 400050"/>
                <a:gd name="connsiteY18" fmla="*/ 45883 h 337239"/>
                <a:gd name="connsiteX19" fmla="*/ 134330 w 400050"/>
                <a:gd name="connsiteY19" fmla="*/ 66920 h 337239"/>
                <a:gd name="connsiteX20" fmla="*/ 125431 w 400050"/>
                <a:gd name="connsiteY20" fmla="*/ 64335 h 337239"/>
                <a:gd name="connsiteX21" fmla="*/ 128016 w 400050"/>
                <a:gd name="connsiteY21" fmla="*/ 55436 h 337239"/>
                <a:gd name="connsiteX22" fmla="*/ 216435 w 400050"/>
                <a:gd name="connsiteY22" fmla="*/ 32793 h 337239"/>
                <a:gd name="connsiteX23" fmla="*/ 346275 w 400050"/>
                <a:gd name="connsiteY23" fmla="*/ 86596 h 337239"/>
                <a:gd name="connsiteX24" fmla="*/ 348207 w 400050"/>
                <a:gd name="connsiteY24" fmla="*/ 91222 h 337239"/>
                <a:gd name="connsiteX25" fmla="*/ 346275 w 400050"/>
                <a:gd name="connsiteY25" fmla="*/ 95849 h 337239"/>
                <a:gd name="connsiteX26" fmla="*/ 330626 w 400050"/>
                <a:gd name="connsiteY26" fmla="*/ 111470 h 337239"/>
                <a:gd name="connsiteX27" fmla="*/ 386933 w 400050"/>
                <a:gd name="connsiteY27" fmla="*/ 111470 h 337239"/>
                <a:gd name="connsiteX28" fmla="*/ 386933 w 400050"/>
                <a:gd name="connsiteY28" fmla="*/ 55163 h 337239"/>
                <a:gd name="connsiteX29" fmla="*/ 369461 w 400050"/>
                <a:gd name="connsiteY29" fmla="*/ 72635 h 337239"/>
                <a:gd name="connsiteX30" fmla="*/ 364835 w 400050"/>
                <a:gd name="connsiteY30" fmla="*/ 74567 h 337239"/>
                <a:gd name="connsiteX31" fmla="*/ 364780 w 400050"/>
                <a:gd name="connsiteY31" fmla="*/ 74567 h 337239"/>
                <a:gd name="connsiteX32" fmla="*/ 360127 w 400050"/>
                <a:gd name="connsiteY32" fmla="*/ 72580 h 337239"/>
                <a:gd name="connsiteX33" fmla="*/ 216462 w 400050"/>
                <a:gd name="connsiteY33" fmla="*/ 13117 h 337239"/>
                <a:gd name="connsiteX34" fmla="*/ 13172 w 400050"/>
                <a:gd name="connsiteY34" fmla="*/ 216408 h 337239"/>
                <a:gd name="connsiteX35" fmla="*/ 20002 w 400050"/>
                <a:gd name="connsiteY35" fmla="*/ 268877 h 337239"/>
                <a:gd name="connsiteX36" fmla="*/ 118083 w 400050"/>
                <a:gd name="connsiteY36" fmla="*/ 268877 h 337239"/>
                <a:gd name="connsiteX37" fmla="*/ 122573 w 400050"/>
                <a:gd name="connsiteY37" fmla="*/ 270646 h 337239"/>
                <a:gd name="connsiteX38" fmla="*/ 175097 w 400050"/>
                <a:gd name="connsiteY38" fmla="*/ 319904 h 337239"/>
                <a:gd name="connsiteX39" fmla="*/ 183833 w 400050"/>
                <a:gd name="connsiteY39" fmla="*/ 324122 h 337239"/>
                <a:gd name="connsiteX40" fmla="*/ 193221 w 400050"/>
                <a:gd name="connsiteY40" fmla="*/ 320312 h 337239"/>
                <a:gd name="connsiteX41" fmla="*/ 197059 w 400050"/>
                <a:gd name="connsiteY41" fmla="*/ 311032 h 337239"/>
                <a:gd name="connsiteX42" fmla="*/ 193194 w 400050"/>
                <a:gd name="connsiteY42" fmla="*/ 301752 h 337239"/>
                <a:gd name="connsiteX43" fmla="*/ 184404 w 400050"/>
                <a:gd name="connsiteY43" fmla="*/ 293261 h 337239"/>
                <a:gd name="connsiteX44" fmla="*/ 184241 w 400050"/>
                <a:gd name="connsiteY44" fmla="*/ 283981 h 337239"/>
                <a:gd name="connsiteX45" fmla="*/ 193521 w 400050"/>
                <a:gd name="connsiteY45" fmla="*/ 283818 h 337239"/>
                <a:gd name="connsiteX46" fmla="*/ 202393 w 400050"/>
                <a:gd name="connsiteY46" fmla="*/ 292390 h 337239"/>
                <a:gd name="connsiteX47" fmla="*/ 210176 w 400050"/>
                <a:gd name="connsiteY47" fmla="*/ 311005 h 337239"/>
                <a:gd name="connsiteX48" fmla="*/ 202501 w 400050"/>
                <a:gd name="connsiteY48" fmla="*/ 329565 h 337239"/>
                <a:gd name="connsiteX49" fmla="*/ 184105 w 400050"/>
                <a:gd name="connsiteY49" fmla="*/ 337240 h 33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0050" h="337239">
                  <a:moveTo>
                    <a:pt x="184105" y="337240"/>
                  </a:moveTo>
                  <a:cubicBezTo>
                    <a:pt x="183887" y="337240"/>
                    <a:pt x="183642" y="337240"/>
                    <a:pt x="183424" y="337240"/>
                  </a:cubicBezTo>
                  <a:cubicBezTo>
                    <a:pt x="176539" y="337049"/>
                    <a:pt x="170253" y="334164"/>
                    <a:pt x="165681" y="329075"/>
                  </a:cubicBezTo>
                  <a:lnTo>
                    <a:pt x="115443" y="281995"/>
                  </a:lnTo>
                  <a:lnTo>
                    <a:pt x="14968" y="281995"/>
                  </a:lnTo>
                  <a:cubicBezTo>
                    <a:pt x="12056" y="281995"/>
                    <a:pt x="9498" y="280062"/>
                    <a:pt x="8681" y="277286"/>
                  </a:cubicBezTo>
                  <a:cubicBezTo>
                    <a:pt x="2912" y="257583"/>
                    <a:pt x="0" y="237118"/>
                    <a:pt x="0" y="216408"/>
                  </a:cubicBezTo>
                  <a:cubicBezTo>
                    <a:pt x="0" y="97073"/>
                    <a:pt x="97073" y="0"/>
                    <a:pt x="216408" y="0"/>
                  </a:cubicBezTo>
                  <a:cubicBezTo>
                    <a:pt x="272007" y="0"/>
                    <a:pt x="324422" y="20846"/>
                    <a:pt x="364726" y="58810"/>
                  </a:cubicBezTo>
                  <a:lnTo>
                    <a:pt x="388838" y="34698"/>
                  </a:lnTo>
                  <a:cubicBezTo>
                    <a:pt x="390716" y="32820"/>
                    <a:pt x="393519" y="32276"/>
                    <a:pt x="395995" y="33283"/>
                  </a:cubicBezTo>
                  <a:cubicBezTo>
                    <a:pt x="398444" y="34290"/>
                    <a:pt x="400050" y="36685"/>
                    <a:pt x="400050" y="39352"/>
                  </a:cubicBezTo>
                  <a:lnTo>
                    <a:pt x="400050" y="118028"/>
                  </a:lnTo>
                  <a:cubicBezTo>
                    <a:pt x="400050" y="121648"/>
                    <a:pt x="397111" y="124587"/>
                    <a:pt x="393491" y="124587"/>
                  </a:cubicBezTo>
                  <a:lnTo>
                    <a:pt x="314788" y="124587"/>
                  </a:lnTo>
                  <a:cubicBezTo>
                    <a:pt x="312148" y="124587"/>
                    <a:pt x="309753" y="122981"/>
                    <a:pt x="308719" y="120532"/>
                  </a:cubicBezTo>
                  <a:cubicBezTo>
                    <a:pt x="307712" y="118083"/>
                    <a:pt x="308256" y="115253"/>
                    <a:pt x="310134" y="113375"/>
                  </a:cubicBezTo>
                  <a:lnTo>
                    <a:pt x="332259" y="91277"/>
                  </a:lnTo>
                  <a:cubicBezTo>
                    <a:pt x="300636" y="61940"/>
                    <a:pt x="259760" y="45883"/>
                    <a:pt x="216408" y="45883"/>
                  </a:cubicBezTo>
                  <a:cubicBezTo>
                    <a:pt x="187697" y="45883"/>
                    <a:pt x="159312" y="53150"/>
                    <a:pt x="134330" y="66920"/>
                  </a:cubicBezTo>
                  <a:cubicBezTo>
                    <a:pt x="131146" y="68662"/>
                    <a:pt x="127172" y="67519"/>
                    <a:pt x="125431" y="64335"/>
                  </a:cubicBezTo>
                  <a:cubicBezTo>
                    <a:pt x="123689" y="61151"/>
                    <a:pt x="124832" y="57177"/>
                    <a:pt x="128016" y="55436"/>
                  </a:cubicBezTo>
                  <a:cubicBezTo>
                    <a:pt x="154931" y="40604"/>
                    <a:pt x="185520" y="32793"/>
                    <a:pt x="216435" y="32793"/>
                  </a:cubicBezTo>
                  <a:cubicBezTo>
                    <a:pt x="265475" y="32793"/>
                    <a:pt x="311604" y="51898"/>
                    <a:pt x="346275" y="86596"/>
                  </a:cubicBezTo>
                  <a:cubicBezTo>
                    <a:pt x="347499" y="87821"/>
                    <a:pt x="348207" y="89481"/>
                    <a:pt x="348207" y="91222"/>
                  </a:cubicBezTo>
                  <a:cubicBezTo>
                    <a:pt x="348207" y="92964"/>
                    <a:pt x="347527" y="94624"/>
                    <a:pt x="346275" y="95849"/>
                  </a:cubicBezTo>
                  <a:lnTo>
                    <a:pt x="330626" y="111470"/>
                  </a:lnTo>
                  <a:lnTo>
                    <a:pt x="386933" y="111470"/>
                  </a:lnTo>
                  <a:lnTo>
                    <a:pt x="386933" y="55163"/>
                  </a:lnTo>
                  <a:lnTo>
                    <a:pt x="369461" y="72635"/>
                  </a:lnTo>
                  <a:cubicBezTo>
                    <a:pt x="368237" y="73860"/>
                    <a:pt x="366549" y="74567"/>
                    <a:pt x="364835" y="74567"/>
                  </a:cubicBezTo>
                  <a:cubicBezTo>
                    <a:pt x="364808" y="74567"/>
                    <a:pt x="364808" y="74567"/>
                    <a:pt x="364780" y="74567"/>
                  </a:cubicBezTo>
                  <a:cubicBezTo>
                    <a:pt x="363012" y="74540"/>
                    <a:pt x="361351" y="73832"/>
                    <a:pt x="360127" y="72580"/>
                  </a:cubicBezTo>
                  <a:cubicBezTo>
                    <a:pt x="321646" y="34181"/>
                    <a:pt x="270646" y="13117"/>
                    <a:pt x="216462" y="13117"/>
                  </a:cubicBezTo>
                  <a:cubicBezTo>
                    <a:pt x="104367" y="13117"/>
                    <a:pt x="13172" y="104312"/>
                    <a:pt x="13172" y="216408"/>
                  </a:cubicBezTo>
                  <a:cubicBezTo>
                    <a:pt x="13172" y="234206"/>
                    <a:pt x="15458" y="251841"/>
                    <a:pt x="20002" y="268877"/>
                  </a:cubicBezTo>
                  <a:lnTo>
                    <a:pt x="118083" y="268877"/>
                  </a:lnTo>
                  <a:cubicBezTo>
                    <a:pt x="119743" y="268877"/>
                    <a:pt x="121348" y="269503"/>
                    <a:pt x="122573" y="270646"/>
                  </a:cubicBezTo>
                  <a:lnTo>
                    <a:pt x="175097" y="319904"/>
                  </a:lnTo>
                  <a:cubicBezTo>
                    <a:pt x="177601" y="322680"/>
                    <a:pt x="180567" y="324041"/>
                    <a:pt x="183833" y="324122"/>
                  </a:cubicBezTo>
                  <a:cubicBezTo>
                    <a:pt x="187289" y="324286"/>
                    <a:pt x="190718" y="322843"/>
                    <a:pt x="193221" y="320312"/>
                  </a:cubicBezTo>
                  <a:cubicBezTo>
                    <a:pt x="195698" y="317836"/>
                    <a:pt x="197059" y="314543"/>
                    <a:pt x="197059" y="311032"/>
                  </a:cubicBezTo>
                  <a:cubicBezTo>
                    <a:pt x="197059" y="307522"/>
                    <a:pt x="195671" y="304229"/>
                    <a:pt x="193194" y="301752"/>
                  </a:cubicBezTo>
                  <a:lnTo>
                    <a:pt x="184404" y="293261"/>
                  </a:lnTo>
                  <a:cubicBezTo>
                    <a:pt x="181791" y="290758"/>
                    <a:pt x="181737" y="286594"/>
                    <a:pt x="184241" y="283981"/>
                  </a:cubicBezTo>
                  <a:cubicBezTo>
                    <a:pt x="186744" y="281369"/>
                    <a:pt x="190908" y="281314"/>
                    <a:pt x="193521" y="283818"/>
                  </a:cubicBezTo>
                  <a:lnTo>
                    <a:pt x="202393" y="292390"/>
                  </a:lnTo>
                  <a:cubicBezTo>
                    <a:pt x="207427" y="297398"/>
                    <a:pt x="210176" y="303984"/>
                    <a:pt x="210176" y="311005"/>
                  </a:cubicBezTo>
                  <a:cubicBezTo>
                    <a:pt x="210176" y="318026"/>
                    <a:pt x="207455" y="324612"/>
                    <a:pt x="202501" y="329565"/>
                  </a:cubicBezTo>
                  <a:cubicBezTo>
                    <a:pt x="197576" y="334464"/>
                    <a:pt x="190908" y="337240"/>
                    <a:pt x="184105" y="337240"/>
                  </a:cubicBezTo>
                  <a:close/>
                </a:path>
              </a:pathLst>
            </a:custGeom>
            <a:grpFill/>
            <a:ln w="2721" cap="flat">
              <a:noFill/>
              <a:prstDash val="solid"/>
              <a:miter/>
            </a:ln>
          </p:spPr>
          <p:txBody>
            <a:bodyPr rtlCol="0" anchor="ctr"/>
            <a:lstStyle/>
            <a:p>
              <a:endParaRPr lang="en-GB" dirty="0"/>
            </a:p>
          </p:txBody>
        </p:sp>
        <p:sp>
          <p:nvSpPr>
            <p:cNvPr id="417" name="Freihandform: Form 589">
              <a:extLst>
                <a:ext uri="{FF2B5EF4-FFF2-40B4-BE49-F238E27FC236}">
                  <a16:creationId xmlns:a16="http://schemas.microsoft.com/office/drawing/2014/main" id="{2A27692C-2023-43E5-88A7-0F3125C1F5DF}"/>
                </a:ext>
              </a:extLst>
            </p:cNvPr>
            <p:cNvSpPr/>
            <p:nvPr/>
          </p:nvSpPr>
          <p:spPr>
            <a:xfrm>
              <a:off x="7037845" y="2598872"/>
              <a:ext cx="26817" cy="25470"/>
            </a:xfrm>
            <a:custGeom>
              <a:avLst/>
              <a:gdLst>
                <a:gd name="connsiteX0" fmla="*/ 6545 w 26817"/>
                <a:gd name="connsiteY0" fmla="*/ 25470 h 25470"/>
                <a:gd name="connsiteX1" fmla="*/ 1919 w 26817"/>
                <a:gd name="connsiteY1" fmla="*/ 23566 h 25470"/>
                <a:gd name="connsiteX2" fmla="*/ 1919 w 26817"/>
                <a:gd name="connsiteY2" fmla="*/ 14285 h 25470"/>
                <a:gd name="connsiteX3" fmla="*/ 16124 w 26817"/>
                <a:gd name="connsiteY3" fmla="*/ 1468 h 25470"/>
                <a:gd name="connsiteX4" fmla="*/ 25350 w 26817"/>
                <a:gd name="connsiteY4" fmla="*/ 2420 h 25470"/>
                <a:gd name="connsiteX5" fmla="*/ 24398 w 26817"/>
                <a:gd name="connsiteY5" fmla="*/ 11646 h 25470"/>
                <a:gd name="connsiteX6" fmla="*/ 11199 w 26817"/>
                <a:gd name="connsiteY6" fmla="*/ 23538 h 25470"/>
                <a:gd name="connsiteX7" fmla="*/ 6545 w 26817"/>
                <a:gd name="connsiteY7" fmla="*/ 25470 h 25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17" h="25470">
                  <a:moveTo>
                    <a:pt x="6545" y="25470"/>
                  </a:moveTo>
                  <a:cubicBezTo>
                    <a:pt x="4858" y="25470"/>
                    <a:pt x="3198" y="24817"/>
                    <a:pt x="1919" y="23566"/>
                  </a:cubicBezTo>
                  <a:cubicBezTo>
                    <a:pt x="-640" y="21007"/>
                    <a:pt x="-640" y="16844"/>
                    <a:pt x="1919" y="14285"/>
                  </a:cubicBezTo>
                  <a:cubicBezTo>
                    <a:pt x="6409" y="9795"/>
                    <a:pt x="11199" y="5468"/>
                    <a:pt x="16124" y="1468"/>
                  </a:cubicBezTo>
                  <a:cubicBezTo>
                    <a:pt x="18955" y="-818"/>
                    <a:pt x="23064" y="-383"/>
                    <a:pt x="25350" y="2420"/>
                  </a:cubicBezTo>
                  <a:cubicBezTo>
                    <a:pt x="27636" y="5223"/>
                    <a:pt x="27201" y="9360"/>
                    <a:pt x="24398" y="11646"/>
                  </a:cubicBezTo>
                  <a:cubicBezTo>
                    <a:pt x="19798" y="15374"/>
                    <a:pt x="15362" y="19375"/>
                    <a:pt x="11199" y="23538"/>
                  </a:cubicBezTo>
                  <a:cubicBezTo>
                    <a:pt x="9920" y="24817"/>
                    <a:pt x="8232" y="25470"/>
                    <a:pt x="6545" y="25470"/>
                  </a:cubicBezTo>
                  <a:close/>
                </a:path>
              </a:pathLst>
            </a:custGeom>
            <a:grpFill/>
            <a:ln w="2721" cap="flat">
              <a:noFill/>
              <a:prstDash val="solid"/>
              <a:miter/>
            </a:ln>
          </p:spPr>
          <p:txBody>
            <a:bodyPr rtlCol="0" anchor="ctr"/>
            <a:lstStyle/>
            <a:p>
              <a:endParaRPr lang="en-GB" dirty="0"/>
            </a:p>
          </p:txBody>
        </p:sp>
        <p:sp>
          <p:nvSpPr>
            <p:cNvPr id="418" name="Freihandform: Form 590">
              <a:extLst>
                <a:ext uri="{FF2B5EF4-FFF2-40B4-BE49-F238E27FC236}">
                  <a16:creationId xmlns:a16="http://schemas.microsoft.com/office/drawing/2014/main" id="{5086B396-4AC9-4043-B088-5AF2D0B28C97}"/>
                </a:ext>
              </a:extLst>
            </p:cNvPr>
            <p:cNvSpPr/>
            <p:nvPr/>
          </p:nvSpPr>
          <p:spPr>
            <a:xfrm>
              <a:off x="7274544" y="2861642"/>
              <a:ext cx="26817" cy="25486"/>
            </a:xfrm>
            <a:custGeom>
              <a:avLst/>
              <a:gdLst>
                <a:gd name="connsiteX0" fmla="*/ 6557 w 26817"/>
                <a:gd name="connsiteY0" fmla="*/ 25486 h 25486"/>
                <a:gd name="connsiteX1" fmla="*/ 1468 w 26817"/>
                <a:gd name="connsiteY1" fmla="*/ 23064 h 25486"/>
                <a:gd name="connsiteX2" fmla="*/ 2420 w 26817"/>
                <a:gd name="connsiteY2" fmla="*/ 13838 h 25486"/>
                <a:gd name="connsiteX3" fmla="*/ 15619 w 26817"/>
                <a:gd name="connsiteY3" fmla="*/ 1919 h 25486"/>
                <a:gd name="connsiteX4" fmla="*/ 24899 w 26817"/>
                <a:gd name="connsiteY4" fmla="*/ 1919 h 25486"/>
                <a:gd name="connsiteX5" fmla="*/ 24899 w 26817"/>
                <a:gd name="connsiteY5" fmla="*/ 11199 h 25486"/>
                <a:gd name="connsiteX6" fmla="*/ 10666 w 26817"/>
                <a:gd name="connsiteY6" fmla="*/ 24017 h 25486"/>
                <a:gd name="connsiteX7" fmla="*/ 6557 w 26817"/>
                <a:gd name="connsiteY7" fmla="*/ 25486 h 25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17" h="25486">
                  <a:moveTo>
                    <a:pt x="6557" y="25486"/>
                  </a:moveTo>
                  <a:cubicBezTo>
                    <a:pt x="4652" y="25486"/>
                    <a:pt x="2747" y="24670"/>
                    <a:pt x="1468" y="23064"/>
                  </a:cubicBezTo>
                  <a:cubicBezTo>
                    <a:pt x="-819" y="20261"/>
                    <a:pt x="-383" y="16124"/>
                    <a:pt x="2420" y="13838"/>
                  </a:cubicBezTo>
                  <a:cubicBezTo>
                    <a:pt x="7019" y="10110"/>
                    <a:pt x="11455" y="6110"/>
                    <a:pt x="15619" y="1919"/>
                  </a:cubicBezTo>
                  <a:cubicBezTo>
                    <a:pt x="18177" y="-640"/>
                    <a:pt x="22341" y="-640"/>
                    <a:pt x="24899" y="1919"/>
                  </a:cubicBezTo>
                  <a:cubicBezTo>
                    <a:pt x="27457" y="4477"/>
                    <a:pt x="27457" y="8641"/>
                    <a:pt x="24899" y="11199"/>
                  </a:cubicBezTo>
                  <a:cubicBezTo>
                    <a:pt x="20409" y="15689"/>
                    <a:pt x="15619" y="20016"/>
                    <a:pt x="10666" y="24017"/>
                  </a:cubicBezTo>
                  <a:cubicBezTo>
                    <a:pt x="9469" y="24996"/>
                    <a:pt x="7999" y="25486"/>
                    <a:pt x="6557" y="25486"/>
                  </a:cubicBezTo>
                  <a:close/>
                </a:path>
              </a:pathLst>
            </a:custGeom>
            <a:grpFill/>
            <a:ln w="2721" cap="flat">
              <a:noFill/>
              <a:prstDash val="solid"/>
              <a:miter/>
            </a:ln>
          </p:spPr>
          <p:txBody>
            <a:bodyPr rtlCol="0" anchor="ctr"/>
            <a:lstStyle/>
            <a:p>
              <a:endParaRPr lang="en-GB" dirty="0"/>
            </a:p>
          </p:txBody>
        </p:sp>
        <p:sp>
          <p:nvSpPr>
            <p:cNvPr id="419" name="Freihandform: Form 591">
              <a:extLst>
                <a:ext uri="{FF2B5EF4-FFF2-40B4-BE49-F238E27FC236}">
                  <a16:creationId xmlns:a16="http://schemas.microsoft.com/office/drawing/2014/main" id="{D2DB0C86-4954-4D8F-A41F-47E85EDB00EC}"/>
                </a:ext>
              </a:extLst>
            </p:cNvPr>
            <p:cNvSpPr/>
            <p:nvPr/>
          </p:nvSpPr>
          <p:spPr>
            <a:xfrm>
              <a:off x="6985967" y="2670877"/>
              <a:ext cx="400052" cy="288531"/>
            </a:xfrm>
            <a:custGeom>
              <a:avLst/>
              <a:gdLst>
                <a:gd name="connsiteX0" fmla="*/ 183642 w 400050"/>
                <a:gd name="connsiteY0" fmla="*/ 288526 h 288526"/>
                <a:gd name="connsiteX1" fmla="*/ 35324 w 400050"/>
                <a:gd name="connsiteY1" fmla="*/ 229716 h 288526"/>
                <a:gd name="connsiteX2" fmla="*/ 11212 w 400050"/>
                <a:gd name="connsiteY2" fmla="*/ 253828 h 288526"/>
                <a:gd name="connsiteX3" fmla="*/ 4055 w 400050"/>
                <a:gd name="connsiteY3" fmla="*/ 255243 h 288526"/>
                <a:gd name="connsiteX4" fmla="*/ 0 w 400050"/>
                <a:gd name="connsiteY4" fmla="*/ 249174 h 288526"/>
                <a:gd name="connsiteX5" fmla="*/ 0 w 400050"/>
                <a:gd name="connsiteY5" fmla="*/ 170470 h 288526"/>
                <a:gd name="connsiteX6" fmla="*/ 6559 w 400050"/>
                <a:gd name="connsiteY6" fmla="*/ 163912 h 288526"/>
                <a:gd name="connsiteX7" fmla="*/ 85262 w 400050"/>
                <a:gd name="connsiteY7" fmla="*/ 163912 h 288526"/>
                <a:gd name="connsiteX8" fmla="*/ 91331 w 400050"/>
                <a:gd name="connsiteY8" fmla="*/ 167967 h 288526"/>
                <a:gd name="connsiteX9" fmla="*/ 89916 w 400050"/>
                <a:gd name="connsiteY9" fmla="*/ 175124 h 288526"/>
                <a:gd name="connsiteX10" fmla="*/ 67791 w 400050"/>
                <a:gd name="connsiteY10" fmla="*/ 197222 h 288526"/>
                <a:gd name="connsiteX11" fmla="*/ 183642 w 400050"/>
                <a:gd name="connsiteY11" fmla="*/ 242615 h 288526"/>
                <a:gd name="connsiteX12" fmla="*/ 265720 w 400050"/>
                <a:gd name="connsiteY12" fmla="*/ 221606 h 288526"/>
                <a:gd name="connsiteX13" fmla="*/ 274620 w 400050"/>
                <a:gd name="connsiteY13" fmla="*/ 224191 h 288526"/>
                <a:gd name="connsiteX14" fmla="*/ 272034 w 400050"/>
                <a:gd name="connsiteY14" fmla="*/ 233090 h 288526"/>
                <a:gd name="connsiteX15" fmla="*/ 183615 w 400050"/>
                <a:gd name="connsiteY15" fmla="*/ 255733 h 288526"/>
                <a:gd name="connsiteX16" fmla="*/ 53775 w 400050"/>
                <a:gd name="connsiteY16" fmla="*/ 201930 h 288526"/>
                <a:gd name="connsiteX17" fmla="*/ 51843 w 400050"/>
                <a:gd name="connsiteY17" fmla="*/ 197304 h 288526"/>
                <a:gd name="connsiteX18" fmla="*/ 53775 w 400050"/>
                <a:gd name="connsiteY18" fmla="*/ 192677 h 288526"/>
                <a:gd name="connsiteX19" fmla="*/ 69424 w 400050"/>
                <a:gd name="connsiteY19" fmla="*/ 177056 h 288526"/>
                <a:gd name="connsiteX20" fmla="*/ 13117 w 400050"/>
                <a:gd name="connsiteY20" fmla="*/ 177056 h 288526"/>
                <a:gd name="connsiteX21" fmla="*/ 13117 w 400050"/>
                <a:gd name="connsiteY21" fmla="*/ 233363 h 288526"/>
                <a:gd name="connsiteX22" fmla="*/ 30589 w 400050"/>
                <a:gd name="connsiteY22" fmla="*/ 215891 h 288526"/>
                <a:gd name="connsiteX23" fmla="*/ 39869 w 400050"/>
                <a:gd name="connsiteY23" fmla="*/ 215891 h 288526"/>
                <a:gd name="connsiteX24" fmla="*/ 183615 w 400050"/>
                <a:gd name="connsiteY24" fmla="*/ 275436 h 288526"/>
                <a:gd name="connsiteX25" fmla="*/ 386906 w 400050"/>
                <a:gd name="connsiteY25" fmla="*/ 72145 h 288526"/>
                <a:gd name="connsiteX26" fmla="*/ 378224 w 400050"/>
                <a:gd name="connsiteY26" fmla="*/ 13145 h 288526"/>
                <a:gd name="connsiteX27" fmla="*/ 26235 w 400050"/>
                <a:gd name="connsiteY27" fmla="*/ 13117 h 288526"/>
                <a:gd name="connsiteX28" fmla="*/ 19676 w 400050"/>
                <a:gd name="connsiteY28" fmla="*/ 6559 h 288526"/>
                <a:gd name="connsiteX29" fmla="*/ 26235 w 400050"/>
                <a:gd name="connsiteY29" fmla="*/ 0 h 288526"/>
                <a:gd name="connsiteX30" fmla="*/ 26235 w 400050"/>
                <a:gd name="connsiteY30" fmla="*/ 0 h 288526"/>
                <a:gd name="connsiteX31" fmla="*/ 383041 w 400050"/>
                <a:gd name="connsiteY31" fmla="*/ 27 h 288526"/>
                <a:gd name="connsiteX32" fmla="*/ 389273 w 400050"/>
                <a:gd name="connsiteY32" fmla="*/ 4545 h 288526"/>
                <a:gd name="connsiteX33" fmla="*/ 400050 w 400050"/>
                <a:gd name="connsiteY33" fmla="*/ 72145 h 288526"/>
                <a:gd name="connsiteX34" fmla="*/ 183642 w 400050"/>
                <a:gd name="connsiteY34" fmla="*/ 288526 h 28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00050" h="288526">
                  <a:moveTo>
                    <a:pt x="183642" y="288526"/>
                  </a:moveTo>
                  <a:cubicBezTo>
                    <a:pt x="127962" y="288526"/>
                    <a:pt x="75520" y="267680"/>
                    <a:pt x="35324" y="229716"/>
                  </a:cubicBezTo>
                  <a:lnTo>
                    <a:pt x="11212" y="253828"/>
                  </a:lnTo>
                  <a:cubicBezTo>
                    <a:pt x="9334" y="255706"/>
                    <a:pt x="6504" y="256250"/>
                    <a:pt x="4055" y="255243"/>
                  </a:cubicBezTo>
                  <a:cubicBezTo>
                    <a:pt x="1606" y="254236"/>
                    <a:pt x="0" y="251841"/>
                    <a:pt x="0" y="249174"/>
                  </a:cubicBezTo>
                  <a:lnTo>
                    <a:pt x="0" y="170470"/>
                  </a:lnTo>
                  <a:cubicBezTo>
                    <a:pt x="0" y="166851"/>
                    <a:pt x="2939" y="163912"/>
                    <a:pt x="6559" y="163912"/>
                  </a:cubicBezTo>
                  <a:lnTo>
                    <a:pt x="85262" y="163912"/>
                  </a:lnTo>
                  <a:cubicBezTo>
                    <a:pt x="87902" y="163912"/>
                    <a:pt x="90297" y="165517"/>
                    <a:pt x="91331" y="167967"/>
                  </a:cubicBezTo>
                  <a:cubicBezTo>
                    <a:pt x="92338" y="170416"/>
                    <a:pt x="91794" y="173246"/>
                    <a:pt x="89916" y="175124"/>
                  </a:cubicBezTo>
                  <a:lnTo>
                    <a:pt x="67791" y="197222"/>
                  </a:lnTo>
                  <a:cubicBezTo>
                    <a:pt x="99387" y="226559"/>
                    <a:pt x="140290" y="242615"/>
                    <a:pt x="183642" y="242615"/>
                  </a:cubicBezTo>
                  <a:cubicBezTo>
                    <a:pt x="212353" y="242615"/>
                    <a:pt x="240738" y="235349"/>
                    <a:pt x="265720" y="221606"/>
                  </a:cubicBezTo>
                  <a:cubicBezTo>
                    <a:pt x="268904" y="219864"/>
                    <a:pt x="272878" y="221007"/>
                    <a:pt x="274620" y="224191"/>
                  </a:cubicBezTo>
                  <a:cubicBezTo>
                    <a:pt x="276361" y="227376"/>
                    <a:pt x="275218" y="231349"/>
                    <a:pt x="272034" y="233090"/>
                  </a:cubicBezTo>
                  <a:cubicBezTo>
                    <a:pt x="245119" y="247895"/>
                    <a:pt x="214530" y="255733"/>
                    <a:pt x="183615" y="255733"/>
                  </a:cubicBezTo>
                  <a:cubicBezTo>
                    <a:pt x="134547" y="255733"/>
                    <a:pt x="88446" y="236628"/>
                    <a:pt x="53775" y="201930"/>
                  </a:cubicBezTo>
                  <a:cubicBezTo>
                    <a:pt x="52551" y="200705"/>
                    <a:pt x="51843" y="199045"/>
                    <a:pt x="51843" y="197304"/>
                  </a:cubicBezTo>
                  <a:cubicBezTo>
                    <a:pt x="51843" y="195562"/>
                    <a:pt x="52524" y="193902"/>
                    <a:pt x="53775" y="192677"/>
                  </a:cubicBezTo>
                  <a:lnTo>
                    <a:pt x="69424" y="177056"/>
                  </a:lnTo>
                  <a:lnTo>
                    <a:pt x="13117" y="177056"/>
                  </a:lnTo>
                  <a:lnTo>
                    <a:pt x="13117" y="233363"/>
                  </a:lnTo>
                  <a:lnTo>
                    <a:pt x="30589" y="215891"/>
                  </a:lnTo>
                  <a:cubicBezTo>
                    <a:pt x="33038" y="213442"/>
                    <a:pt x="37392" y="213442"/>
                    <a:pt x="39869" y="215891"/>
                  </a:cubicBezTo>
                  <a:cubicBezTo>
                    <a:pt x="78323" y="254345"/>
                    <a:pt x="129322" y="275436"/>
                    <a:pt x="183615" y="275436"/>
                  </a:cubicBezTo>
                  <a:cubicBezTo>
                    <a:pt x="295711" y="275436"/>
                    <a:pt x="386906" y="184241"/>
                    <a:pt x="386906" y="72145"/>
                  </a:cubicBezTo>
                  <a:cubicBezTo>
                    <a:pt x="386906" y="52034"/>
                    <a:pt x="383994" y="32195"/>
                    <a:pt x="378224" y="13145"/>
                  </a:cubicBezTo>
                  <a:lnTo>
                    <a:pt x="26235" y="13117"/>
                  </a:lnTo>
                  <a:cubicBezTo>
                    <a:pt x="22615" y="13117"/>
                    <a:pt x="19676" y="10178"/>
                    <a:pt x="19676" y="6559"/>
                  </a:cubicBezTo>
                  <a:cubicBezTo>
                    <a:pt x="19676" y="2939"/>
                    <a:pt x="22615" y="0"/>
                    <a:pt x="26235" y="0"/>
                  </a:cubicBezTo>
                  <a:lnTo>
                    <a:pt x="26235" y="0"/>
                  </a:lnTo>
                  <a:lnTo>
                    <a:pt x="383041" y="27"/>
                  </a:lnTo>
                  <a:cubicBezTo>
                    <a:pt x="385872" y="27"/>
                    <a:pt x="388403" y="1851"/>
                    <a:pt x="389273" y="4545"/>
                  </a:cubicBezTo>
                  <a:cubicBezTo>
                    <a:pt x="396404" y="26289"/>
                    <a:pt x="400050" y="49040"/>
                    <a:pt x="400050" y="72145"/>
                  </a:cubicBezTo>
                  <a:cubicBezTo>
                    <a:pt x="400050" y="191425"/>
                    <a:pt x="302977" y="288526"/>
                    <a:pt x="183642" y="288526"/>
                  </a:cubicBezTo>
                  <a:close/>
                </a:path>
              </a:pathLst>
            </a:custGeom>
            <a:grpFill/>
            <a:ln w="2721" cap="flat">
              <a:noFill/>
              <a:prstDash val="solid"/>
              <a:miter/>
            </a:ln>
          </p:spPr>
          <p:txBody>
            <a:bodyPr rtlCol="0" anchor="ctr"/>
            <a:lstStyle/>
            <a:p>
              <a:endParaRPr lang="en-GB" dirty="0"/>
            </a:p>
          </p:txBody>
        </p:sp>
        <p:sp>
          <p:nvSpPr>
            <p:cNvPr id="420" name="Freihandform: Form 592">
              <a:extLst>
                <a:ext uri="{FF2B5EF4-FFF2-40B4-BE49-F238E27FC236}">
                  <a16:creationId xmlns:a16="http://schemas.microsoft.com/office/drawing/2014/main" id="{91457642-757A-415F-A7C7-63B355837118}"/>
                </a:ext>
              </a:extLst>
            </p:cNvPr>
            <p:cNvSpPr/>
            <p:nvPr/>
          </p:nvSpPr>
          <p:spPr>
            <a:xfrm>
              <a:off x="7191177" y="2711045"/>
              <a:ext cx="101686" cy="117050"/>
            </a:xfrm>
            <a:custGeom>
              <a:avLst/>
              <a:gdLst>
                <a:gd name="connsiteX0" fmla="*/ 75424 w 101686"/>
                <a:gd name="connsiteY0" fmla="*/ 117049 h 117048"/>
                <a:gd name="connsiteX1" fmla="*/ 56892 w 101686"/>
                <a:gd name="connsiteY1" fmla="*/ 109374 h 117048"/>
                <a:gd name="connsiteX2" fmla="*/ 1919 w 101686"/>
                <a:gd name="connsiteY2" fmla="*/ 54401 h 117048"/>
                <a:gd name="connsiteX3" fmla="*/ 1919 w 101686"/>
                <a:gd name="connsiteY3" fmla="*/ 45121 h 117048"/>
                <a:gd name="connsiteX4" fmla="*/ 11199 w 101686"/>
                <a:gd name="connsiteY4" fmla="*/ 45121 h 117048"/>
                <a:gd name="connsiteX5" fmla="*/ 66199 w 101686"/>
                <a:gd name="connsiteY5" fmla="*/ 100094 h 117048"/>
                <a:gd name="connsiteX6" fmla="*/ 84732 w 101686"/>
                <a:gd name="connsiteY6" fmla="*/ 100094 h 117048"/>
                <a:gd name="connsiteX7" fmla="*/ 88569 w 101686"/>
                <a:gd name="connsiteY7" fmla="*/ 90814 h 117048"/>
                <a:gd name="connsiteX8" fmla="*/ 84705 w 101686"/>
                <a:gd name="connsiteY8" fmla="*/ 81561 h 117048"/>
                <a:gd name="connsiteX9" fmla="*/ 14056 w 101686"/>
                <a:gd name="connsiteY9" fmla="*/ 11212 h 117048"/>
                <a:gd name="connsiteX10" fmla="*/ 14029 w 101686"/>
                <a:gd name="connsiteY10" fmla="*/ 1932 h 117048"/>
                <a:gd name="connsiteX11" fmla="*/ 23309 w 101686"/>
                <a:gd name="connsiteY11" fmla="*/ 1905 h 117048"/>
                <a:gd name="connsiteX12" fmla="*/ 93957 w 101686"/>
                <a:gd name="connsiteY12" fmla="*/ 72254 h 117048"/>
                <a:gd name="connsiteX13" fmla="*/ 101686 w 101686"/>
                <a:gd name="connsiteY13" fmla="*/ 90787 h 117048"/>
                <a:gd name="connsiteX14" fmla="*/ 94012 w 101686"/>
                <a:gd name="connsiteY14" fmla="*/ 109347 h 117048"/>
                <a:gd name="connsiteX15" fmla="*/ 75424 w 101686"/>
                <a:gd name="connsiteY15" fmla="*/ 117049 h 117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1686" h="117048">
                  <a:moveTo>
                    <a:pt x="75424" y="117049"/>
                  </a:moveTo>
                  <a:cubicBezTo>
                    <a:pt x="68430" y="117049"/>
                    <a:pt x="61845" y="114327"/>
                    <a:pt x="56892" y="109374"/>
                  </a:cubicBezTo>
                  <a:lnTo>
                    <a:pt x="1919" y="54401"/>
                  </a:lnTo>
                  <a:cubicBezTo>
                    <a:pt x="-640" y="51843"/>
                    <a:pt x="-640" y="47679"/>
                    <a:pt x="1919" y="45121"/>
                  </a:cubicBezTo>
                  <a:cubicBezTo>
                    <a:pt x="4477" y="42563"/>
                    <a:pt x="8641" y="42563"/>
                    <a:pt x="11199" y="45121"/>
                  </a:cubicBezTo>
                  <a:lnTo>
                    <a:pt x="66199" y="100094"/>
                  </a:lnTo>
                  <a:cubicBezTo>
                    <a:pt x="71152" y="105047"/>
                    <a:pt x="79779" y="105047"/>
                    <a:pt x="84732" y="100094"/>
                  </a:cubicBezTo>
                  <a:cubicBezTo>
                    <a:pt x="87208" y="97618"/>
                    <a:pt x="88569" y="94325"/>
                    <a:pt x="88569" y="90814"/>
                  </a:cubicBezTo>
                  <a:cubicBezTo>
                    <a:pt x="88569" y="87303"/>
                    <a:pt x="87181" y="84011"/>
                    <a:pt x="84705" y="81561"/>
                  </a:cubicBezTo>
                  <a:lnTo>
                    <a:pt x="14056" y="11212"/>
                  </a:lnTo>
                  <a:cubicBezTo>
                    <a:pt x="11498" y="8654"/>
                    <a:pt x="11471" y="4518"/>
                    <a:pt x="14029" y="1932"/>
                  </a:cubicBezTo>
                  <a:cubicBezTo>
                    <a:pt x="16587" y="-626"/>
                    <a:pt x="20751" y="-653"/>
                    <a:pt x="23309" y="1905"/>
                  </a:cubicBezTo>
                  <a:lnTo>
                    <a:pt x="93957" y="72254"/>
                  </a:lnTo>
                  <a:cubicBezTo>
                    <a:pt x="98910" y="77207"/>
                    <a:pt x="101659" y="83793"/>
                    <a:pt x="101686" y="90787"/>
                  </a:cubicBezTo>
                  <a:cubicBezTo>
                    <a:pt x="101686" y="97808"/>
                    <a:pt x="98965" y="104394"/>
                    <a:pt x="94012" y="109347"/>
                  </a:cubicBezTo>
                  <a:cubicBezTo>
                    <a:pt x="89004" y="114327"/>
                    <a:pt x="82419" y="117049"/>
                    <a:pt x="75424" y="117049"/>
                  </a:cubicBezTo>
                  <a:close/>
                </a:path>
              </a:pathLst>
            </a:custGeom>
            <a:grpFill/>
            <a:ln w="2721" cap="flat">
              <a:noFill/>
              <a:prstDash val="solid"/>
              <a:miter/>
            </a:ln>
          </p:spPr>
          <p:txBody>
            <a:bodyPr rtlCol="0" anchor="ctr"/>
            <a:lstStyle/>
            <a:p>
              <a:endParaRPr lang="en-GB" dirty="0"/>
            </a:p>
          </p:txBody>
        </p:sp>
        <p:sp>
          <p:nvSpPr>
            <p:cNvPr id="421" name="Freihandform: Form 593">
              <a:extLst>
                <a:ext uri="{FF2B5EF4-FFF2-40B4-BE49-F238E27FC236}">
                  <a16:creationId xmlns:a16="http://schemas.microsoft.com/office/drawing/2014/main" id="{B00638AC-D597-44B0-A6AD-DB52C99D6F07}"/>
                </a:ext>
              </a:extLst>
            </p:cNvPr>
            <p:cNvSpPr/>
            <p:nvPr/>
          </p:nvSpPr>
          <p:spPr>
            <a:xfrm>
              <a:off x="7162848" y="2752603"/>
              <a:ext cx="80269" cy="82215"/>
            </a:xfrm>
            <a:custGeom>
              <a:avLst/>
              <a:gdLst>
                <a:gd name="connsiteX0" fmla="*/ 54116 w 80268"/>
                <a:gd name="connsiteY0" fmla="*/ 82214 h 82214"/>
                <a:gd name="connsiteX1" fmla="*/ 53571 w 80268"/>
                <a:gd name="connsiteY1" fmla="*/ 82214 h 82214"/>
                <a:gd name="connsiteX2" fmla="*/ 35828 w 80268"/>
                <a:gd name="connsiteY2" fmla="*/ 72989 h 82214"/>
                <a:gd name="connsiteX3" fmla="*/ 1919 w 80268"/>
                <a:gd name="connsiteY3" fmla="*/ 39107 h 82214"/>
                <a:gd name="connsiteX4" fmla="*/ 1919 w 80268"/>
                <a:gd name="connsiteY4" fmla="*/ 29827 h 82214"/>
                <a:gd name="connsiteX5" fmla="*/ 11199 w 80268"/>
                <a:gd name="connsiteY5" fmla="*/ 29827 h 82214"/>
                <a:gd name="connsiteX6" fmla="*/ 45353 w 80268"/>
                <a:gd name="connsiteY6" fmla="*/ 63981 h 82214"/>
                <a:gd name="connsiteX7" fmla="*/ 53925 w 80268"/>
                <a:gd name="connsiteY7" fmla="*/ 69124 h 82214"/>
                <a:gd name="connsiteX8" fmla="*/ 63314 w 80268"/>
                <a:gd name="connsiteY8" fmla="*/ 64253 h 82214"/>
                <a:gd name="connsiteX9" fmla="*/ 67151 w 80268"/>
                <a:gd name="connsiteY9" fmla="*/ 54973 h 82214"/>
                <a:gd name="connsiteX10" fmla="*/ 63314 w 80268"/>
                <a:gd name="connsiteY10" fmla="*/ 45720 h 82214"/>
                <a:gd name="connsiteX11" fmla="*/ 28589 w 80268"/>
                <a:gd name="connsiteY11" fmla="*/ 11212 h 82214"/>
                <a:gd name="connsiteX12" fmla="*/ 28561 w 80268"/>
                <a:gd name="connsiteY12" fmla="*/ 1932 h 82214"/>
                <a:gd name="connsiteX13" fmla="*/ 37842 w 80268"/>
                <a:gd name="connsiteY13" fmla="*/ 1905 h 82214"/>
                <a:gd name="connsiteX14" fmla="*/ 72540 w 80268"/>
                <a:gd name="connsiteY14" fmla="*/ 36413 h 82214"/>
                <a:gd name="connsiteX15" fmla="*/ 80269 w 80268"/>
                <a:gd name="connsiteY15" fmla="*/ 54946 h 82214"/>
                <a:gd name="connsiteX16" fmla="*/ 72594 w 80268"/>
                <a:gd name="connsiteY16" fmla="*/ 73506 h 82214"/>
                <a:gd name="connsiteX17" fmla="*/ 54116 w 80268"/>
                <a:gd name="connsiteY17" fmla="*/ 82214 h 82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268" h="82214">
                  <a:moveTo>
                    <a:pt x="54116" y="82214"/>
                  </a:moveTo>
                  <a:cubicBezTo>
                    <a:pt x="53925" y="82214"/>
                    <a:pt x="53735" y="82214"/>
                    <a:pt x="53571" y="82214"/>
                  </a:cubicBezTo>
                  <a:cubicBezTo>
                    <a:pt x="47149" y="82051"/>
                    <a:pt x="41162" y="78921"/>
                    <a:pt x="35828" y="72989"/>
                  </a:cubicBezTo>
                  <a:lnTo>
                    <a:pt x="1919" y="39107"/>
                  </a:lnTo>
                  <a:cubicBezTo>
                    <a:pt x="-640" y="36549"/>
                    <a:pt x="-640" y="32385"/>
                    <a:pt x="1919" y="29827"/>
                  </a:cubicBezTo>
                  <a:cubicBezTo>
                    <a:pt x="4477" y="27269"/>
                    <a:pt x="8640" y="27269"/>
                    <a:pt x="11199" y="29827"/>
                  </a:cubicBezTo>
                  <a:lnTo>
                    <a:pt x="45353" y="63981"/>
                  </a:lnTo>
                  <a:cubicBezTo>
                    <a:pt x="48428" y="67410"/>
                    <a:pt x="51231" y="69043"/>
                    <a:pt x="53925" y="69124"/>
                  </a:cubicBezTo>
                  <a:cubicBezTo>
                    <a:pt x="57545" y="69288"/>
                    <a:pt x="61028" y="66539"/>
                    <a:pt x="63314" y="64253"/>
                  </a:cubicBezTo>
                  <a:cubicBezTo>
                    <a:pt x="65790" y="61777"/>
                    <a:pt x="67151" y="58484"/>
                    <a:pt x="67151" y="54973"/>
                  </a:cubicBezTo>
                  <a:cubicBezTo>
                    <a:pt x="67151" y="51462"/>
                    <a:pt x="65790" y="48169"/>
                    <a:pt x="63314" y="45720"/>
                  </a:cubicBezTo>
                  <a:lnTo>
                    <a:pt x="28589" y="11212"/>
                  </a:lnTo>
                  <a:cubicBezTo>
                    <a:pt x="26030" y="8654"/>
                    <a:pt x="26003" y="4518"/>
                    <a:pt x="28561" y="1932"/>
                  </a:cubicBezTo>
                  <a:cubicBezTo>
                    <a:pt x="31119" y="-626"/>
                    <a:pt x="35256" y="-653"/>
                    <a:pt x="37842" y="1905"/>
                  </a:cubicBezTo>
                  <a:lnTo>
                    <a:pt x="72540" y="36413"/>
                  </a:lnTo>
                  <a:cubicBezTo>
                    <a:pt x="77520" y="41366"/>
                    <a:pt x="80241" y="47952"/>
                    <a:pt x="80269" y="54946"/>
                  </a:cubicBezTo>
                  <a:cubicBezTo>
                    <a:pt x="80269" y="61967"/>
                    <a:pt x="77547" y="68553"/>
                    <a:pt x="72594" y="73506"/>
                  </a:cubicBezTo>
                  <a:cubicBezTo>
                    <a:pt x="66879" y="79221"/>
                    <a:pt x="60511" y="82214"/>
                    <a:pt x="54116" y="82214"/>
                  </a:cubicBezTo>
                  <a:close/>
                </a:path>
              </a:pathLst>
            </a:custGeom>
            <a:grpFill/>
            <a:ln w="2721" cap="flat">
              <a:noFill/>
              <a:prstDash val="solid"/>
              <a:miter/>
            </a:ln>
          </p:spPr>
          <p:txBody>
            <a:bodyPr rtlCol="0" anchor="ctr"/>
            <a:lstStyle/>
            <a:p>
              <a:endParaRPr lang="en-GB" dirty="0"/>
            </a:p>
          </p:txBody>
        </p:sp>
        <p:sp>
          <p:nvSpPr>
            <p:cNvPr id="422" name="Freihandform: Form 594">
              <a:extLst>
                <a:ext uri="{FF2B5EF4-FFF2-40B4-BE49-F238E27FC236}">
                  <a16:creationId xmlns:a16="http://schemas.microsoft.com/office/drawing/2014/main" id="{53DF76DA-B936-4E0D-B0EB-0D9AB796870A}"/>
                </a:ext>
              </a:extLst>
            </p:cNvPr>
            <p:cNvSpPr/>
            <p:nvPr/>
          </p:nvSpPr>
          <p:spPr>
            <a:xfrm>
              <a:off x="7135906" y="2780614"/>
              <a:ext cx="68920" cy="69557"/>
            </a:xfrm>
            <a:custGeom>
              <a:avLst/>
              <a:gdLst>
                <a:gd name="connsiteX0" fmla="*/ 42931 w 68920"/>
                <a:gd name="connsiteY0" fmla="*/ 69556 h 69556"/>
                <a:gd name="connsiteX1" fmla="*/ 42250 w 68920"/>
                <a:gd name="connsiteY1" fmla="*/ 69556 h 69556"/>
                <a:gd name="connsiteX2" fmla="*/ 24507 w 68920"/>
                <a:gd name="connsiteY2" fmla="*/ 61392 h 69556"/>
                <a:gd name="connsiteX3" fmla="*/ 1919 w 68920"/>
                <a:gd name="connsiteY3" fmla="*/ 38831 h 69556"/>
                <a:gd name="connsiteX4" fmla="*/ 1919 w 68920"/>
                <a:gd name="connsiteY4" fmla="*/ 29551 h 69556"/>
                <a:gd name="connsiteX5" fmla="*/ 11199 w 68920"/>
                <a:gd name="connsiteY5" fmla="*/ 29551 h 69556"/>
                <a:gd name="connsiteX6" fmla="*/ 34004 w 68920"/>
                <a:gd name="connsiteY6" fmla="*/ 52357 h 69556"/>
                <a:gd name="connsiteX7" fmla="*/ 42577 w 68920"/>
                <a:gd name="connsiteY7" fmla="*/ 56439 h 69556"/>
                <a:gd name="connsiteX8" fmla="*/ 51966 w 68920"/>
                <a:gd name="connsiteY8" fmla="*/ 52656 h 69556"/>
                <a:gd name="connsiteX9" fmla="*/ 55803 w 68920"/>
                <a:gd name="connsiteY9" fmla="*/ 43376 h 69556"/>
                <a:gd name="connsiteX10" fmla="*/ 51939 w 68920"/>
                <a:gd name="connsiteY10" fmla="*/ 34123 h 69556"/>
                <a:gd name="connsiteX11" fmla="*/ 28752 w 68920"/>
                <a:gd name="connsiteY11" fmla="*/ 11236 h 69556"/>
                <a:gd name="connsiteX12" fmla="*/ 28698 w 68920"/>
                <a:gd name="connsiteY12" fmla="*/ 1956 h 69556"/>
                <a:gd name="connsiteX13" fmla="*/ 37978 w 68920"/>
                <a:gd name="connsiteY13" fmla="*/ 1902 h 69556"/>
                <a:gd name="connsiteX14" fmla="*/ 61191 w 68920"/>
                <a:gd name="connsiteY14" fmla="*/ 24816 h 69556"/>
                <a:gd name="connsiteX15" fmla="*/ 68920 w 68920"/>
                <a:gd name="connsiteY15" fmla="*/ 43376 h 69556"/>
                <a:gd name="connsiteX16" fmla="*/ 61246 w 68920"/>
                <a:gd name="connsiteY16" fmla="*/ 61936 h 69556"/>
                <a:gd name="connsiteX17" fmla="*/ 42931 w 68920"/>
                <a:gd name="connsiteY17" fmla="*/ 69556 h 6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920" h="69556">
                  <a:moveTo>
                    <a:pt x="42931" y="69556"/>
                  </a:moveTo>
                  <a:cubicBezTo>
                    <a:pt x="42713" y="69556"/>
                    <a:pt x="42468" y="69556"/>
                    <a:pt x="42250" y="69556"/>
                  </a:cubicBezTo>
                  <a:cubicBezTo>
                    <a:pt x="35365" y="69366"/>
                    <a:pt x="29051" y="66481"/>
                    <a:pt x="24507" y="61392"/>
                  </a:cubicBezTo>
                  <a:lnTo>
                    <a:pt x="1919" y="38831"/>
                  </a:lnTo>
                  <a:cubicBezTo>
                    <a:pt x="-640" y="36273"/>
                    <a:pt x="-640" y="32110"/>
                    <a:pt x="1919" y="29551"/>
                  </a:cubicBezTo>
                  <a:cubicBezTo>
                    <a:pt x="4477" y="26993"/>
                    <a:pt x="8641" y="26993"/>
                    <a:pt x="11199" y="29551"/>
                  </a:cubicBezTo>
                  <a:lnTo>
                    <a:pt x="34004" y="52357"/>
                  </a:lnTo>
                  <a:cubicBezTo>
                    <a:pt x="36372" y="54997"/>
                    <a:pt x="39338" y="56330"/>
                    <a:pt x="42577" y="56439"/>
                  </a:cubicBezTo>
                  <a:cubicBezTo>
                    <a:pt x="46305" y="56548"/>
                    <a:pt x="49462" y="55160"/>
                    <a:pt x="51966" y="52656"/>
                  </a:cubicBezTo>
                  <a:cubicBezTo>
                    <a:pt x="54442" y="50180"/>
                    <a:pt x="55803" y="46887"/>
                    <a:pt x="55803" y="43376"/>
                  </a:cubicBezTo>
                  <a:cubicBezTo>
                    <a:pt x="55803" y="39866"/>
                    <a:pt x="54415" y="36573"/>
                    <a:pt x="51939" y="34123"/>
                  </a:cubicBezTo>
                  <a:lnTo>
                    <a:pt x="28752" y="11236"/>
                  </a:lnTo>
                  <a:cubicBezTo>
                    <a:pt x="26167" y="8705"/>
                    <a:pt x="26139" y="4542"/>
                    <a:pt x="28698" y="1956"/>
                  </a:cubicBezTo>
                  <a:cubicBezTo>
                    <a:pt x="31256" y="-629"/>
                    <a:pt x="35392" y="-656"/>
                    <a:pt x="37978" y="1902"/>
                  </a:cubicBezTo>
                  <a:lnTo>
                    <a:pt x="61191" y="24816"/>
                  </a:lnTo>
                  <a:cubicBezTo>
                    <a:pt x="66172" y="29769"/>
                    <a:pt x="68920" y="36355"/>
                    <a:pt x="68920" y="43376"/>
                  </a:cubicBezTo>
                  <a:cubicBezTo>
                    <a:pt x="68920" y="50398"/>
                    <a:pt x="66199" y="56983"/>
                    <a:pt x="61246" y="61936"/>
                  </a:cubicBezTo>
                  <a:cubicBezTo>
                    <a:pt x="56402" y="66781"/>
                    <a:pt x="49734" y="69556"/>
                    <a:pt x="42931" y="69556"/>
                  </a:cubicBezTo>
                  <a:close/>
                </a:path>
              </a:pathLst>
            </a:custGeom>
            <a:grpFill/>
            <a:ln w="2721" cap="flat">
              <a:noFill/>
              <a:prstDash val="solid"/>
              <a:miter/>
            </a:ln>
          </p:spPr>
          <p:txBody>
            <a:bodyPr rtlCol="0" anchor="ctr"/>
            <a:lstStyle/>
            <a:p>
              <a:endParaRPr lang="en-GB" dirty="0"/>
            </a:p>
          </p:txBody>
        </p:sp>
        <p:sp>
          <p:nvSpPr>
            <p:cNvPr id="423" name="Freihandform: Form 595">
              <a:extLst>
                <a:ext uri="{FF2B5EF4-FFF2-40B4-BE49-F238E27FC236}">
                  <a16:creationId xmlns:a16="http://schemas.microsoft.com/office/drawing/2014/main" id="{AFE64C0F-8752-4D14-965C-647CD50F5F01}"/>
                </a:ext>
              </a:extLst>
            </p:cNvPr>
            <p:cNvSpPr/>
            <p:nvPr/>
          </p:nvSpPr>
          <p:spPr>
            <a:xfrm>
              <a:off x="7105911" y="2670848"/>
              <a:ext cx="109619" cy="94966"/>
            </a:xfrm>
            <a:custGeom>
              <a:avLst/>
              <a:gdLst>
                <a:gd name="connsiteX0" fmla="*/ 26207 w 109619"/>
                <a:gd name="connsiteY0" fmla="*/ 94964 h 94964"/>
                <a:gd name="connsiteX1" fmla="*/ 7674 w 109619"/>
                <a:gd name="connsiteY1" fmla="*/ 87290 h 94964"/>
                <a:gd name="connsiteX2" fmla="*/ 7674 w 109619"/>
                <a:gd name="connsiteY2" fmla="*/ 50197 h 94964"/>
                <a:gd name="connsiteX3" fmla="*/ 55953 w 109619"/>
                <a:gd name="connsiteY3" fmla="*/ 1919 h 94964"/>
                <a:gd name="connsiteX4" fmla="*/ 65233 w 109619"/>
                <a:gd name="connsiteY4" fmla="*/ 1919 h 94964"/>
                <a:gd name="connsiteX5" fmla="*/ 65233 w 109619"/>
                <a:gd name="connsiteY5" fmla="*/ 11199 h 94964"/>
                <a:gd name="connsiteX6" fmla="*/ 16954 w 109619"/>
                <a:gd name="connsiteY6" fmla="*/ 59477 h 94964"/>
                <a:gd name="connsiteX7" fmla="*/ 16954 w 109619"/>
                <a:gd name="connsiteY7" fmla="*/ 78037 h 94964"/>
                <a:gd name="connsiteX8" fmla="*/ 35515 w 109619"/>
                <a:gd name="connsiteY8" fmla="*/ 78037 h 94964"/>
                <a:gd name="connsiteX9" fmla="*/ 72254 w 109619"/>
                <a:gd name="connsiteY9" fmla="*/ 41270 h 94964"/>
                <a:gd name="connsiteX10" fmla="*/ 76880 w 109619"/>
                <a:gd name="connsiteY10" fmla="*/ 39338 h 94964"/>
                <a:gd name="connsiteX11" fmla="*/ 103061 w 109619"/>
                <a:gd name="connsiteY11" fmla="*/ 39338 h 94964"/>
                <a:gd name="connsiteX12" fmla="*/ 109619 w 109619"/>
                <a:gd name="connsiteY12" fmla="*/ 45897 h 94964"/>
                <a:gd name="connsiteX13" fmla="*/ 103061 w 109619"/>
                <a:gd name="connsiteY13" fmla="*/ 52456 h 94964"/>
                <a:gd name="connsiteX14" fmla="*/ 79575 w 109619"/>
                <a:gd name="connsiteY14" fmla="*/ 52456 h 94964"/>
                <a:gd name="connsiteX15" fmla="*/ 44740 w 109619"/>
                <a:gd name="connsiteY15" fmla="*/ 87290 h 94964"/>
                <a:gd name="connsiteX16" fmla="*/ 26207 w 109619"/>
                <a:gd name="connsiteY16" fmla="*/ 94964 h 94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619" h="94964">
                  <a:moveTo>
                    <a:pt x="26207" y="94964"/>
                  </a:moveTo>
                  <a:cubicBezTo>
                    <a:pt x="19486" y="94964"/>
                    <a:pt x="12791" y="92406"/>
                    <a:pt x="7674" y="87290"/>
                  </a:cubicBezTo>
                  <a:cubicBezTo>
                    <a:pt x="-2558" y="77057"/>
                    <a:pt x="-2558" y="60429"/>
                    <a:pt x="7674" y="50197"/>
                  </a:cubicBezTo>
                  <a:lnTo>
                    <a:pt x="55953" y="1919"/>
                  </a:lnTo>
                  <a:cubicBezTo>
                    <a:pt x="58511" y="-640"/>
                    <a:pt x="62675" y="-640"/>
                    <a:pt x="65233" y="1919"/>
                  </a:cubicBezTo>
                  <a:cubicBezTo>
                    <a:pt x="67791" y="4477"/>
                    <a:pt x="67791" y="8641"/>
                    <a:pt x="65233" y="11199"/>
                  </a:cubicBezTo>
                  <a:lnTo>
                    <a:pt x="16954" y="59477"/>
                  </a:lnTo>
                  <a:cubicBezTo>
                    <a:pt x="11838" y="64593"/>
                    <a:pt x="11838" y="72921"/>
                    <a:pt x="16954" y="78037"/>
                  </a:cubicBezTo>
                  <a:cubicBezTo>
                    <a:pt x="22071" y="83153"/>
                    <a:pt x="30398" y="83153"/>
                    <a:pt x="35515" y="78037"/>
                  </a:cubicBezTo>
                  <a:lnTo>
                    <a:pt x="72254" y="41270"/>
                  </a:lnTo>
                  <a:cubicBezTo>
                    <a:pt x="73479" y="40046"/>
                    <a:pt x="75139" y="39338"/>
                    <a:pt x="76880" y="39338"/>
                  </a:cubicBezTo>
                  <a:lnTo>
                    <a:pt x="103061" y="39338"/>
                  </a:lnTo>
                  <a:cubicBezTo>
                    <a:pt x="106680" y="39338"/>
                    <a:pt x="109619" y="42277"/>
                    <a:pt x="109619" y="45897"/>
                  </a:cubicBezTo>
                  <a:cubicBezTo>
                    <a:pt x="109619" y="49516"/>
                    <a:pt x="106680" y="52456"/>
                    <a:pt x="103061" y="52456"/>
                  </a:cubicBezTo>
                  <a:lnTo>
                    <a:pt x="79575" y="52456"/>
                  </a:lnTo>
                  <a:lnTo>
                    <a:pt x="44740" y="87290"/>
                  </a:lnTo>
                  <a:cubicBezTo>
                    <a:pt x="39624" y="92406"/>
                    <a:pt x="32929" y="94964"/>
                    <a:pt x="26207" y="94964"/>
                  </a:cubicBezTo>
                  <a:close/>
                </a:path>
              </a:pathLst>
            </a:custGeom>
            <a:grpFill/>
            <a:ln w="2721" cap="flat">
              <a:noFill/>
              <a:prstDash val="solid"/>
              <a:miter/>
            </a:ln>
          </p:spPr>
          <p:txBody>
            <a:bodyPr rtlCol="0" anchor="ctr"/>
            <a:lstStyle/>
            <a:p>
              <a:endParaRPr lang="en-GB" dirty="0"/>
            </a:p>
          </p:txBody>
        </p:sp>
        <p:sp>
          <p:nvSpPr>
            <p:cNvPr id="424" name="Freihandform: Form 596">
              <a:extLst>
                <a:ext uri="{FF2B5EF4-FFF2-40B4-BE49-F238E27FC236}">
                  <a16:creationId xmlns:a16="http://schemas.microsoft.com/office/drawing/2014/main" id="{984A1CAC-9B81-46EA-A05A-CBBDF8E3653D}"/>
                </a:ext>
              </a:extLst>
            </p:cNvPr>
            <p:cNvSpPr/>
            <p:nvPr/>
          </p:nvSpPr>
          <p:spPr>
            <a:xfrm>
              <a:off x="7279436" y="2795394"/>
              <a:ext cx="56551" cy="13117"/>
            </a:xfrm>
            <a:custGeom>
              <a:avLst/>
              <a:gdLst>
                <a:gd name="connsiteX0" fmla="*/ 49993 w 56551"/>
                <a:gd name="connsiteY0" fmla="*/ 13117 h 13117"/>
                <a:gd name="connsiteX1" fmla="*/ 6559 w 56551"/>
                <a:gd name="connsiteY1" fmla="*/ 13117 h 13117"/>
                <a:gd name="connsiteX2" fmla="*/ 0 w 56551"/>
                <a:gd name="connsiteY2" fmla="*/ 6559 h 13117"/>
                <a:gd name="connsiteX3" fmla="*/ 6559 w 56551"/>
                <a:gd name="connsiteY3" fmla="*/ 0 h 13117"/>
                <a:gd name="connsiteX4" fmla="*/ 49993 w 56551"/>
                <a:gd name="connsiteY4" fmla="*/ 0 h 13117"/>
                <a:gd name="connsiteX5" fmla="*/ 56551 w 56551"/>
                <a:gd name="connsiteY5" fmla="*/ 6559 h 13117"/>
                <a:gd name="connsiteX6" fmla="*/ 49993 w 56551"/>
                <a:gd name="connsiteY6" fmla="*/ 13117 h 1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51" h="13117">
                  <a:moveTo>
                    <a:pt x="49993" y="13117"/>
                  </a:moveTo>
                  <a:lnTo>
                    <a:pt x="6559" y="13117"/>
                  </a:lnTo>
                  <a:cubicBezTo>
                    <a:pt x="2939" y="13117"/>
                    <a:pt x="0" y="10178"/>
                    <a:pt x="0" y="6559"/>
                  </a:cubicBezTo>
                  <a:cubicBezTo>
                    <a:pt x="0" y="2939"/>
                    <a:pt x="2939" y="0"/>
                    <a:pt x="6559" y="0"/>
                  </a:cubicBezTo>
                  <a:lnTo>
                    <a:pt x="49993" y="0"/>
                  </a:lnTo>
                  <a:cubicBezTo>
                    <a:pt x="53612" y="0"/>
                    <a:pt x="56551" y="2939"/>
                    <a:pt x="56551" y="6559"/>
                  </a:cubicBezTo>
                  <a:cubicBezTo>
                    <a:pt x="56551" y="10178"/>
                    <a:pt x="53612" y="13117"/>
                    <a:pt x="49993" y="13117"/>
                  </a:cubicBezTo>
                  <a:close/>
                </a:path>
              </a:pathLst>
            </a:custGeom>
            <a:grpFill/>
            <a:ln w="2721" cap="flat">
              <a:noFill/>
              <a:prstDash val="solid"/>
              <a:miter/>
            </a:ln>
          </p:spPr>
          <p:txBody>
            <a:bodyPr rtlCol="0" anchor="ctr"/>
            <a:lstStyle/>
            <a:p>
              <a:endParaRPr lang="en-GB" dirty="0"/>
            </a:p>
          </p:txBody>
        </p:sp>
      </p:grpSp>
      <p:grpSp>
        <p:nvGrpSpPr>
          <p:cNvPr id="663" name="Group 662">
            <a:extLst>
              <a:ext uri="{FF2B5EF4-FFF2-40B4-BE49-F238E27FC236}">
                <a16:creationId xmlns:a16="http://schemas.microsoft.com/office/drawing/2014/main" id="{AD2DDA11-F30C-3D6B-E63D-478B5E2C7A55}"/>
              </a:ext>
            </a:extLst>
          </p:cNvPr>
          <p:cNvGrpSpPr/>
          <p:nvPr/>
        </p:nvGrpSpPr>
        <p:grpSpPr>
          <a:xfrm>
            <a:off x="8120493" y="1585987"/>
            <a:ext cx="444370" cy="431994"/>
            <a:chOff x="8120081" y="1585987"/>
            <a:chExt cx="444370" cy="431994"/>
          </a:xfrm>
        </p:grpSpPr>
        <p:grpSp>
          <p:nvGrpSpPr>
            <p:cNvPr id="426" name="Grafik 22">
              <a:extLst>
                <a:ext uri="{FF2B5EF4-FFF2-40B4-BE49-F238E27FC236}">
                  <a16:creationId xmlns:a16="http://schemas.microsoft.com/office/drawing/2014/main" id="{D170B8C5-922C-4B8D-BEE4-6E2FE87789C7}"/>
                </a:ext>
              </a:extLst>
            </p:cNvPr>
            <p:cNvGrpSpPr/>
            <p:nvPr/>
          </p:nvGrpSpPr>
          <p:grpSpPr>
            <a:xfrm>
              <a:off x="8120081" y="1585987"/>
              <a:ext cx="444370" cy="394968"/>
              <a:chOff x="6103506" y="3241518"/>
              <a:chExt cx="472195" cy="419698"/>
            </a:xfrm>
            <a:solidFill>
              <a:schemeClr val="accent1"/>
            </a:solidFill>
          </p:grpSpPr>
          <p:sp>
            <p:nvSpPr>
              <p:cNvPr id="435" name="Freihandform: Form 638">
                <a:extLst>
                  <a:ext uri="{FF2B5EF4-FFF2-40B4-BE49-F238E27FC236}">
                    <a16:creationId xmlns:a16="http://schemas.microsoft.com/office/drawing/2014/main" id="{A48641EC-2FB8-46F1-966E-77FB34472ABB}"/>
                  </a:ext>
                </a:extLst>
              </p:cNvPr>
              <p:cNvSpPr/>
              <p:nvPr/>
            </p:nvSpPr>
            <p:spPr>
              <a:xfrm>
                <a:off x="6536350" y="3412015"/>
                <a:ext cx="13117" cy="196732"/>
              </a:xfrm>
              <a:custGeom>
                <a:avLst/>
                <a:gdLst>
                  <a:gd name="connsiteX0" fmla="*/ 6559 w 13117"/>
                  <a:gd name="connsiteY0" fmla="*/ 196732 h 196732"/>
                  <a:gd name="connsiteX1" fmla="*/ 0 w 13117"/>
                  <a:gd name="connsiteY1" fmla="*/ 190174 h 196732"/>
                  <a:gd name="connsiteX2" fmla="*/ 0 w 13117"/>
                  <a:gd name="connsiteY2" fmla="*/ 6559 h 196732"/>
                  <a:gd name="connsiteX3" fmla="*/ 6559 w 13117"/>
                  <a:gd name="connsiteY3" fmla="*/ 0 h 196732"/>
                  <a:gd name="connsiteX4" fmla="*/ 13117 w 13117"/>
                  <a:gd name="connsiteY4" fmla="*/ 6559 h 196732"/>
                  <a:gd name="connsiteX5" fmla="*/ 13117 w 13117"/>
                  <a:gd name="connsiteY5" fmla="*/ 190174 h 196732"/>
                  <a:gd name="connsiteX6" fmla="*/ 6559 w 13117"/>
                  <a:gd name="connsiteY6" fmla="*/ 196732 h 1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7" h="196732">
                    <a:moveTo>
                      <a:pt x="6559" y="196732"/>
                    </a:moveTo>
                    <a:cubicBezTo>
                      <a:pt x="2939" y="196732"/>
                      <a:pt x="0" y="193793"/>
                      <a:pt x="0" y="190174"/>
                    </a:cubicBezTo>
                    <a:lnTo>
                      <a:pt x="0" y="6559"/>
                    </a:lnTo>
                    <a:cubicBezTo>
                      <a:pt x="0" y="2939"/>
                      <a:pt x="2939" y="0"/>
                      <a:pt x="6559" y="0"/>
                    </a:cubicBezTo>
                    <a:cubicBezTo>
                      <a:pt x="10178" y="0"/>
                      <a:pt x="13117" y="2939"/>
                      <a:pt x="13117" y="6559"/>
                    </a:cubicBezTo>
                    <a:lnTo>
                      <a:pt x="13117" y="190174"/>
                    </a:lnTo>
                    <a:cubicBezTo>
                      <a:pt x="13117" y="193820"/>
                      <a:pt x="10178" y="196732"/>
                      <a:pt x="6559" y="196732"/>
                    </a:cubicBezTo>
                    <a:close/>
                  </a:path>
                </a:pathLst>
              </a:custGeom>
              <a:solidFill>
                <a:schemeClr val="accent1"/>
              </a:solidFill>
              <a:ln w="2721" cap="flat">
                <a:noFill/>
                <a:prstDash val="solid"/>
                <a:miter/>
              </a:ln>
            </p:spPr>
            <p:txBody>
              <a:bodyPr rtlCol="0" anchor="ctr"/>
              <a:lstStyle/>
              <a:p>
                <a:endParaRPr lang="en-GB" dirty="0"/>
              </a:p>
            </p:txBody>
          </p:sp>
          <p:sp>
            <p:nvSpPr>
              <p:cNvPr id="436" name="Freihandform: Form 639">
                <a:extLst>
                  <a:ext uri="{FF2B5EF4-FFF2-40B4-BE49-F238E27FC236}">
                    <a16:creationId xmlns:a16="http://schemas.microsoft.com/office/drawing/2014/main" id="{297E97CE-597B-4BEC-84DE-56807E6D9B2B}"/>
                  </a:ext>
                </a:extLst>
              </p:cNvPr>
              <p:cNvSpPr/>
              <p:nvPr/>
            </p:nvSpPr>
            <p:spPr>
              <a:xfrm>
                <a:off x="6357639" y="3282509"/>
                <a:ext cx="168090" cy="103272"/>
              </a:xfrm>
              <a:custGeom>
                <a:avLst/>
                <a:gdLst>
                  <a:gd name="connsiteX0" fmla="*/ 161538 w 168090"/>
                  <a:gd name="connsiteY0" fmla="*/ 103272 h 103272"/>
                  <a:gd name="connsiteX1" fmla="*/ 158245 w 168090"/>
                  <a:gd name="connsiteY1" fmla="*/ 102374 h 103272"/>
                  <a:gd name="connsiteX2" fmla="*/ 3260 w 168090"/>
                  <a:gd name="connsiteY2" fmla="*/ 12213 h 103272"/>
                  <a:gd name="connsiteX3" fmla="*/ 892 w 168090"/>
                  <a:gd name="connsiteY3" fmla="*/ 3260 h 103272"/>
                  <a:gd name="connsiteX4" fmla="*/ 9846 w 168090"/>
                  <a:gd name="connsiteY4" fmla="*/ 892 h 103272"/>
                  <a:gd name="connsiteX5" fmla="*/ 164831 w 168090"/>
                  <a:gd name="connsiteY5" fmla="*/ 91053 h 103272"/>
                  <a:gd name="connsiteX6" fmla="*/ 167199 w 168090"/>
                  <a:gd name="connsiteY6" fmla="*/ 100006 h 103272"/>
                  <a:gd name="connsiteX7" fmla="*/ 161538 w 168090"/>
                  <a:gd name="connsiteY7" fmla="*/ 103272 h 10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090" h="103272">
                    <a:moveTo>
                      <a:pt x="161538" y="103272"/>
                    </a:moveTo>
                    <a:cubicBezTo>
                      <a:pt x="160422" y="103272"/>
                      <a:pt x="159279" y="102973"/>
                      <a:pt x="158245" y="102374"/>
                    </a:cubicBezTo>
                    <a:lnTo>
                      <a:pt x="3260" y="12213"/>
                    </a:lnTo>
                    <a:cubicBezTo>
                      <a:pt x="130" y="10390"/>
                      <a:pt x="-931" y="6389"/>
                      <a:pt x="892" y="3260"/>
                    </a:cubicBezTo>
                    <a:cubicBezTo>
                      <a:pt x="2715" y="130"/>
                      <a:pt x="6716" y="-931"/>
                      <a:pt x="9846" y="892"/>
                    </a:cubicBezTo>
                    <a:lnTo>
                      <a:pt x="164831" y="91053"/>
                    </a:lnTo>
                    <a:cubicBezTo>
                      <a:pt x="167961" y="92876"/>
                      <a:pt x="169022" y="96877"/>
                      <a:pt x="167199" y="100006"/>
                    </a:cubicBezTo>
                    <a:cubicBezTo>
                      <a:pt x="166001" y="102102"/>
                      <a:pt x="163797" y="103272"/>
                      <a:pt x="161538" y="103272"/>
                    </a:cubicBezTo>
                    <a:close/>
                  </a:path>
                </a:pathLst>
              </a:custGeom>
              <a:solidFill>
                <a:schemeClr val="accent1"/>
              </a:solidFill>
              <a:ln w="2721" cap="flat">
                <a:noFill/>
                <a:prstDash val="solid"/>
                <a:miter/>
              </a:ln>
            </p:spPr>
            <p:txBody>
              <a:bodyPr rtlCol="0" anchor="ctr"/>
              <a:lstStyle/>
              <a:p>
                <a:endParaRPr lang="en-GB" dirty="0"/>
              </a:p>
            </p:txBody>
          </p:sp>
          <p:sp>
            <p:nvSpPr>
              <p:cNvPr id="437" name="Freihandform: Form 640">
                <a:extLst>
                  <a:ext uri="{FF2B5EF4-FFF2-40B4-BE49-F238E27FC236}">
                    <a16:creationId xmlns:a16="http://schemas.microsoft.com/office/drawing/2014/main" id="{F31DF759-C318-4242-85F2-220F25BBCD74}"/>
                  </a:ext>
                </a:extLst>
              </p:cNvPr>
              <p:cNvSpPr/>
              <p:nvPr/>
            </p:nvSpPr>
            <p:spPr>
              <a:xfrm>
                <a:off x="6153430" y="3283060"/>
                <a:ext cx="168131" cy="102720"/>
              </a:xfrm>
              <a:custGeom>
                <a:avLst/>
                <a:gdLst>
                  <a:gd name="connsiteX0" fmla="*/ 6573 w 168131"/>
                  <a:gd name="connsiteY0" fmla="*/ 102721 h 102720"/>
                  <a:gd name="connsiteX1" fmla="*/ 885 w 168131"/>
                  <a:gd name="connsiteY1" fmla="*/ 99455 h 102720"/>
                  <a:gd name="connsiteX2" fmla="*/ 3280 w 168131"/>
                  <a:gd name="connsiteY2" fmla="*/ 90502 h 102720"/>
                  <a:gd name="connsiteX3" fmla="*/ 158293 w 168131"/>
                  <a:gd name="connsiteY3" fmla="*/ 885 h 102720"/>
                  <a:gd name="connsiteX4" fmla="*/ 167246 w 168131"/>
                  <a:gd name="connsiteY4" fmla="*/ 3280 h 102720"/>
                  <a:gd name="connsiteX5" fmla="*/ 164851 w 168131"/>
                  <a:gd name="connsiteY5" fmla="*/ 12233 h 102720"/>
                  <a:gd name="connsiteX6" fmla="*/ 9839 w 168131"/>
                  <a:gd name="connsiteY6" fmla="*/ 101850 h 102720"/>
                  <a:gd name="connsiteX7" fmla="*/ 6573 w 168131"/>
                  <a:gd name="connsiteY7" fmla="*/ 102721 h 102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131" h="102720">
                    <a:moveTo>
                      <a:pt x="6573" y="102721"/>
                    </a:moveTo>
                    <a:cubicBezTo>
                      <a:pt x="4314" y="102721"/>
                      <a:pt x="2110" y="101551"/>
                      <a:pt x="885" y="99455"/>
                    </a:cubicBezTo>
                    <a:cubicBezTo>
                      <a:pt x="-938" y="96326"/>
                      <a:pt x="150" y="92298"/>
                      <a:pt x="3280" y="90502"/>
                    </a:cubicBezTo>
                    <a:lnTo>
                      <a:pt x="158293" y="885"/>
                    </a:lnTo>
                    <a:cubicBezTo>
                      <a:pt x="161422" y="-938"/>
                      <a:pt x="165423" y="150"/>
                      <a:pt x="167246" y="3280"/>
                    </a:cubicBezTo>
                    <a:cubicBezTo>
                      <a:pt x="169069" y="6410"/>
                      <a:pt x="167981" y="10437"/>
                      <a:pt x="164851" y="12233"/>
                    </a:cubicBezTo>
                    <a:lnTo>
                      <a:pt x="9839" y="101850"/>
                    </a:lnTo>
                    <a:cubicBezTo>
                      <a:pt x="8804" y="102449"/>
                      <a:pt x="7689" y="102721"/>
                      <a:pt x="6573" y="102721"/>
                    </a:cubicBezTo>
                    <a:close/>
                  </a:path>
                </a:pathLst>
              </a:custGeom>
              <a:solidFill>
                <a:schemeClr val="accent1"/>
              </a:solidFill>
              <a:ln w="2721" cap="flat">
                <a:noFill/>
                <a:prstDash val="solid"/>
                <a:miter/>
              </a:ln>
            </p:spPr>
            <p:txBody>
              <a:bodyPr rtlCol="0" anchor="ctr"/>
              <a:lstStyle/>
              <a:p>
                <a:endParaRPr lang="en-GB" dirty="0"/>
              </a:p>
            </p:txBody>
          </p:sp>
          <p:sp>
            <p:nvSpPr>
              <p:cNvPr id="438" name="Freihandform: Form 641">
                <a:extLst>
                  <a:ext uri="{FF2B5EF4-FFF2-40B4-BE49-F238E27FC236}">
                    <a16:creationId xmlns:a16="http://schemas.microsoft.com/office/drawing/2014/main" id="{0D292D5C-CEAE-4816-AC3B-29DFF53E928D}"/>
                  </a:ext>
                </a:extLst>
              </p:cNvPr>
              <p:cNvSpPr/>
              <p:nvPr/>
            </p:nvSpPr>
            <p:spPr>
              <a:xfrm>
                <a:off x="6129741" y="3412015"/>
                <a:ext cx="13117" cy="196732"/>
              </a:xfrm>
              <a:custGeom>
                <a:avLst/>
                <a:gdLst>
                  <a:gd name="connsiteX0" fmla="*/ 6559 w 13117"/>
                  <a:gd name="connsiteY0" fmla="*/ 196732 h 196732"/>
                  <a:gd name="connsiteX1" fmla="*/ 0 w 13117"/>
                  <a:gd name="connsiteY1" fmla="*/ 190174 h 196732"/>
                  <a:gd name="connsiteX2" fmla="*/ 0 w 13117"/>
                  <a:gd name="connsiteY2" fmla="*/ 6559 h 196732"/>
                  <a:gd name="connsiteX3" fmla="*/ 6559 w 13117"/>
                  <a:gd name="connsiteY3" fmla="*/ 0 h 196732"/>
                  <a:gd name="connsiteX4" fmla="*/ 13117 w 13117"/>
                  <a:gd name="connsiteY4" fmla="*/ 6559 h 196732"/>
                  <a:gd name="connsiteX5" fmla="*/ 13117 w 13117"/>
                  <a:gd name="connsiteY5" fmla="*/ 190174 h 196732"/>
                  <a:gd name="connsiteX6" fmla="*/ 6559 w 13117"/>
                  <a:gd name="connsiteY6" fmla="*/ 196732 h 19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7" h="196732">
                    <a:moveTo>
                      <a:pt x="6559" y="196732"/>
                    </a:moveTo>
                    <a:cubicBezTo>
                      <a:pt x="2939" y="196732"/>
                      <a:pt x="0" y="193793"/>
                      <a:pt x="0" y="190174"/>
                    </a:cubicBezTo>
                    <a:lnTo>
                      <a:pt x="0" y="6559"/>
                    </a:lnTo>
                    <a:cubicBezTo>
                      <a:pt x="0" y="2939"/>
                      <a:pt x="2939" y="0"/>
                      <a:pt x="6559" y="0"/>
                    </a:cubicBezTo>
                    <a:cubicBezTo>
                      <a:pt x="10178" y="0"/>
                      <a:pt x="13117" y="2939"/>
                      <a:pt x="13117" y="6559"/>
                    </a:cubicBezTo>
                    <a:lnTo>
                      <a:pt x="13117" y="190174"/>
                    </a:lnTo>
                    <a:cubicBezTo>
                      <a:pt x="13117" y="193820"/>
                      <a:pt x="10178" y="196732"/>
                      <a:pt x="6559" y="196732"/>
                    </a:cubicBezTo>
                    <a:close/>
                  </a:path>
                </a:pathLst>
              </a:custGeom>
              <a:solidFill>
                <a:schemeClr val="accent1"/>
              </a:solidFill>
              <a:ln w="2721" cap="flat">
                <a:noFill/>
                <a:prstDash val="solid"/>
                <a:miter/>
              </a:ln>
            </p:spPr>
            <p:txBody>
              <a:bodyPr rtlCol="0" anchor="ctr"/>
              <a:lstStyle/>
              <a:p>
                <a:endParaRPr lang="en-GB" dirty="0"/>
              </a:p>
            </p:txBody>
          </p:sp>
          <p:sp>
            <p:nvSpPr>
              <p:cNvPr id="439" name="Freihandform: Form 642">
                <a:extLst>
                  <a:ext uri="{FF2B5EF4-FFF2-40B4-BE49-F238E27FC236}">
                    <a16:creationId xmlns:a16="http://schemas.microsoft.com/office/drawing/2014/main" id="{9CC8E76C-042E-4E65-8BB0-3B1D29A2782F}"/>
                  </a:ext>
                </a:extLst>
              </p:cNvPr>
              <p:cNvSpPr/>
              <p:nvPr/>
            </p:nvSpPr>
            <p:spPr>
              <a:xfrm>
                <a:off x="6333059" y="3298886"/>
                <a:ext cx="13117" cy="60660"/>
              </a:xfrm>
              <a:custGeom>
                <a:avLst/>
                <a:gdLst>
                  <a:gd name="connsiteX0" fmla="*/ 6559 w 13117"/>
                  <a:gd name="connsiteY0" fmla="*/ 60661 h 60660"/>
                  <a:gd name="connsiteX1" fmla="*/ 0 w 13117"/>
                  <a:gd name="connsiteY1" fmla="*/ 54102 h 60660"/>
                  <a:gd name="connsiteX2" fmla="*/ 0 w 13117"/>
                  <a:gd name="connsiteY2" fmla="*/ 6559 h 60660"/>
                  <a:gd name="connsiteX3" fmla="*/ 6559 w 13117"/>
                  <a:gd name="connsiteY3" fmla="*/ 0 h 60660"/>
                  <a:gd name="connsiteX4" fmla="*/ 13117 w 13117"/>
                  <a:gd name="connsiteY4" fmla="*/ 6559 h 60660"/>
                  <a:gd name="connsiteX5" fmla="*/ 13117 w 13117"/>
                  <a:gd name="connsiteY5" fmla="*/ 54102 h 60660"/>
                  <a:gd name="connsiteX6" fmla="*/ 6559 w 13117"/>
                  <a:gd name="connsiteY6" fmla="*/ 60661 h 6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7" h="60660">
                    <a:moveTo>
                      <a:pt x="6559" y="60661"/>
                    </a:moveTo>
                    <a:cubicBezTo>
                      <a:pt x="2939" y="60661"/>
                      <a:pt x="0" y="57722"/>
                      <a:pt x="0" y="54102"/>
                    </a:cubicBezTo>
                    <a:lnTo>
                      <a:pt x="0" y="6559"/>
                    </a:lnTo>
                    <a:cubicBezTo>
                      <a:pt x="0" y="2939"/>
                      <a:pt x="2939" y="0"/>
                      <a:pt x="6559" y="0"/>
                    </a:cubicBezTo>
                    <a:cubicBezTo>
                      <a:pt x="10178" y="0"/>
                      <a:pt x="13117" y="2939"/>
                      <a:pt x="13117" y="6559"/>
                    </a:cubicBezTo>
                    <a:lnTo>
                      <a:pt x="13117" y="54102"/>
                    </a:lnTo>
                    <a:cubicBezTo>
                      <a:pt x="13090" y="57749"/>
                      <a:pt x="10178" y="60661"/>
                      <a:pt x="6559" y="60661"/>
                    </a:cubicBezTo>
                    <a:close/>
                  </a:path>
                </a:pathLst>
              </a:custGeom>
              <a:solidFill>
                <a:schemeClr val="accent1"/>
              </a:solidFill>
              <a:ln w="2721" cap="flat">
                <a:noFill/>
                <a:prstDash val="solid"/>
                <a:miter/>
              </a:ln>
            </p:spPr>
            <p:txBody>
              <a:bodyPr rtlCol="0" anchor="ctr"/>
              <a:lstStyle/>
              <a:p>
                <a:endParaRPr lang="en-GB" dirty="0"/>
              </a:p>
            </p:txBody>
          </p:sp>
          <p:sp>
            <p:nvSpPr>
              <p:cNvPr id="440" name="Freihandform: Form 643">
                <a:extLst>
                  <a:ext uri="{FF2B5EF4-FFF2-40B4-BE49-F238E27FC236}">
                    <a16:creationId xmlns:a16="http://schemas.microsoft.com/office/drawing/2014/main" id="{BC97856C-DCDD-4038-AC9F-9F176FD86C01}"/>
                  </a:ext>
                </a:extLst>
              </p:cNvPr>
              <p:cNvSpPr/>
              <p:nvPr/>
            </p:nvSpPr>
            <p:spPr>
              <a:xfrm>
                <a:off x="6151355" y="3582383"/>
                <a:ext cx="53818" cy="36325"/>
              </a:xfrm>
              <a:custGeom>
                <a:avLst/>
                <a:gdLst>
                  <a:gd name="connsiteX0" fmla="*/ 6580 w 53818"/>
                  <a:gd name="connsiteY0" fmla="*/ 36325 h 36325"/>
                  <a:gd name="connsiteX1" fmla="*/ 865 w 53818"/>
                  <a:gd name="connsiteY1" fmla="*/ 33005 h 36325"/>
                  <a:gd name="connsiteX2" fmla="*/ 3314 w 53818"/>
                  <a:gd name="connsiteY2" fmla="*/ 24052 h 36325"/>
                  <a:gd name="connsiteX3" fmla="*/ 44000 w 53818"/>
                  <a:gd name="connsiteY3" fmla="*/ 865 h 36325"/>
                  <a:gd name="connsiteX4" fmla="*/ 52953 w 53818"/>
                  <a:gd name="connsiteY4" fmla="*/ 3315 h 36325"/>
                  <a:gd name="connsiteX5" fmla="*/ 50504 w 53818"/>
                  <a:gd name="connsiteY5" fmla="*/ 12268 h 36325"/>
                  <a:gd name="connsiteX6" fmla="*/ 9819 w 53818"/>
                  <a:gd name="connsiteY6" fmla="*/ 35455 h 36325"/>
                  <a:gd name="connsiteX7" fmla="*/ 6580 w 53818"/>
                  <a:gd name="connsiteY7" fmla="*/ 36325 h 3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818" h="36325">
                    <a:moveTo>
                      <a:pt x="6580" y="36325"/>
                    </a:moveTo>
                    <a:cubicBezTo>
                      <a:pt x="4294" y="36325"/>
                      <a:pt x="2090" y="35128"/>
                      <a:pt x="865" y="33005"/>
                    </a:cubicBezTo>
                    <a:cubicBezTo>
                      <a:pt x="-931" y="29848"/>
                      <a:pt x="158" y="25848"/>
                      <a:pt x="3314" y="24052"/>
                    </a:cubicBezTo>
                    <a:lnTo>
                      <a:pt x="44000" y="865"/>
                    </a:lnTo>
                    <a:cubicBezTo>
                      <a:pt x="47130" y="-931"/>
                      <a:pt x="51157" y="158"/>
                      <a:pt x="52953" y="3315"/>
                    </a:cubicBezTo>
                    <a:cubicBezTo>
                      <a:pt x="54749" y="6471"/>
                      <a:pt x="53661" y="10472"/>
                      <a:pt x="50504" y="12268"/>
                    </a:cubicBezTo>
                    <a:lnTo>
                      <a:pt x="9819" y="35455"/>
                    </a:lnTo>
                    <a:cubicBezTo>
                      <a:pt x="8784" y="36053"/>
                      <a:pt x="7669" y="36325"/>
                      <a:pt x="6580" y="36325"/>
                    </a:cubicBezTo>
                    <a:close/>
                  </a:path>
                </a:pathLst>
              </a:custGeom>
              <a:solidFill>
                <a:schemeClr val="accent1"/>
              </a:solidFill>
              <a:ln w="2721" cap="flat">
                <a:noFill/>
                <a:prstDash val="solid"/>
                <a:miter/>
              </a:ln>
            </p:spPr>
            <p:txBody>
              <a:bodyPr rtlCol="0" anchor="ctr"/>
              <a:lstStyle/>
              <a:p>
                <a:endParaRPr lang="en-GB" dirty="0"/>
              </a:p>
            </p:txBody>
          </p:sp>
          <p:sp>
            <p:nvSpPr>
              <p:cNvPr id="441" name="Freihandform: Form 644">
                <a:extLst>
                  <a:ext uri="{FF2B5EF4-FFF2-40B4-BE49-F238E27FC236}">
                    <a16:creationId xmlns:a16="http://schemas.microsoft.com/office/drawing/2014/main" id="{CD32677A-EE68-44B8-8F05-495FAE4ADBE8}"/>
                  </a:ext>
                </a:extLst>
              </p:cNvPr>
              <p:cNvSpPr/>
              <p:nvPr/>
            </p:nvSpPr>
            <p:spPr>
              <a:xfrm>
                <a:off x="6433249" y="3399877"/>
                <a:ext cx="92146" cy="59600"/>
              </a:xfrm>
              <a:custGeom>
                <a:avLst/>
                <a:gdLst>
                  <a:gd name="connsiteX0" fmla="*/ 6572 w 92146"/>
                  <a:gd name="connsiteY0" fmla="*/ 59600 h 59600"/>
                  <a:gd name="connsiteX1" fmla="*/ 911 w 92146"/>
                  <a:gd name="connsiteY1" fmla="*/ 56362 h 59600"/>
                  <a:gd name="connsiteX2" fmla="*/ 3252 w 92146"/>
                  <a:gd name="connsiteY2" fmla="*/ 47381 h 59600"/>
                  <a:gd name="connsiteX3" fmla="*/ 82255 w 92146"/>
                  <a:gd name="connsiteY3" fmla="*/ 899 h 59600"/>
                  <a:gd name="connsiteX4" fmla="*/ 91235 w 92146"/>
                  <a:gd name="connsiteY4" fmla="*/ 3239 h 59600"/>
                  <a:gd name="connsiteX5" fmla="*/ 88895 w 92146"/>
                  <a:gd name="connsiteY5" fmla="*/ 12220 h 59600"/>
                  <a:gd name="connsiteX6" fmla="*/ 9892 w 92146"/>
                  <a:gd name="connsiteY6" fmla="*/ 58702 h 59600"/>
                  <a:gd name="connsiteX7" fmla="*/ 6572 w 92146"/>
                  <a:gd name="connsiteY7" fmla="*/ 59600 h 59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46" h="59600">
                    <a:moveTo>
                      <a:pt x="6572" y="59600"/>
                    </a:moveTo>
                    <a:cubicBezTo>
                      <a:pt x="4313" y="59600"/>
                      <a:pt x="2136" y="58457"/>
                      <a:pt x="911" y="56362"/>
                    </a:cubicBezTo>
                    <a:cubicBezTo>
                      <a:pt x="-939" y="53232"/>
                      <a:pt x="122" y="49232"/>
                      <a:pt x="3252" y="47381"/>
                    </a:cubicBezTo>
                    <a:lnTo>
                      <a:pt x="82255" y="899"/>
                    </a:lnTo>
                    <a:cubicBezTo>
                      <a:pt x="85384" y="-924"/>
                      <a:pt x="89412" y="110"/>
                      <a:pt x="91235" y="3239"/>
                    </a:cubicBezTo>
                    <a:cubicBezTo>
                      <a:pt x="93086" y="6369"/>
                      <a:pt x="92025" y="10370"/>
                      <a:pt x="88895" y="12220"/>
                    </a:cubicBezTo>
                    <a:lnTo>
                      <a:pt x="9892" y="58702"/>
                    </a:lnTo>
                    <a:cubicBezTo>
                      <a:pt x="8831" y="59301"/>
                      <a:pt x="7688" y="59600"/>
                      <a:pt x="6572" y="59600"/>
                    </a:cubicBezTo>
                    <a:close/>
                  </a:path>
                </a:pathLst>
              </a:custGeom>
              <a:solidFill>
                <a:schemeClr val="accent1"/>
              </a:solidFill>
              <a:ln w="2721" cap="flat">
                <a:noFill/>
                <a:prstDash val="solid"/>
                <a:miter/>
              </a:ln>
            </p:spPr>
            <p:txBody>
              <a:bodyPr rtlCol="0" anchor="ctr"/>
              <a:lstStyle/>
              <a:p>
                <a:endParaRPr lang="en-GB" dirty="0"/>
              </a:p>
            </p:txBody>
          </p:sp>
          <p:sp>
            <p:nvSpPr>
              <p:cNvPr id="442" name="Freihandform: Form 645">
                <a:extLst>
                  <a:ext uri="{FF2B5EF4-FFF2-40B4-BE49-F238E27FC236}">
                    <a16:creationId xmlns:a16="http://schemas.microsoft.com/office/drawing/2014/main" id="{551ABC3E-F2E5-4CBB-98B8-63A702C40353}"/>
                  </a:ext>
                </a:extLst>
              </p:cNvPr>
              <p:cNvSpPr/>
              <p:nvPr/>
            </p:nvSpPr>
            <p:spPr>
              <a:xfrm>
                <a:off x="6153804" y="3401625"/>
                <a:ext cx="92054" cy="58287"/>
              </a:xfrm>
              <a:custGeom>
                <a:avLst/>
                <a:gdLst>
                  <a:gd name="connsiteX0" fmla="*/ 85474 w 92054"/>
                  <a:gd name="connsiteY0" fmla="*/ 58287 h 58287"/>
                  <a:gd name="connsiteX1" fmla="*/ 82236 w 92054"/>
                  <a:gd name="connsiteY1" fmla="*/ 57417 h 58287"/>
                  <a:gd name="connsiteX2" fmla="*/ 3314 w 92054"/>
                  <a:gd name="connsiteY2" fmla="*/ 12268 h 58287"/>
                  <a:gd name="connsiteX3" fmla="*/ 865 w 92054"/>
                  <a:gd name="connsiteY3" fmla="*/ 3315 h 58287"/>
                  <a:gd name="connsiteX4" fmla="*/ 9819 w 92054"/>
                  <a:gd name="connsiteY4" fmla="*/ 865 h 58287"/>
                  <a:gd name="connsiteX5" fmla="*/ 88740 w 92054"/>
                  <a:gd name="connsiteY5" fmla="*/ 46014 h 58287"/>
                  <a:gd name="connsiteX6" fmla="*/ 91189 w 92054"/>
                  <a:gd name="connsiteY6" fmla="*/ 54967 h 58287"/>
                  <a:gd name="connsiteX7" fmla="*/ 85474 w 92054"/>
                  <a:gd name="connsiteY7" fmla="*/ 58287 h 5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054" h="58287">
                    <a:moveTo>
                      <a:pt x="85474" y="58287"/>
                    </a:moveTo>
                    <a:cubicBezTo>
                      <a:pt x="84359" y="58287"/>
                      <a:pt x="83243" y="58015"/>
                      <a:pt x="82236" y="57417"/>
                    </a:cubicBezTo>
                    <a:lnTo>
                      <a:pt x="3314" y="12268"/>
                    </a:lnTo>
                    <a:cubicBezTo>
                      <a:pt x="158" y="10472"/>
                      <a:pt x="-931" y="6471"/>
                      <a:pt x="865" y="3315"/>
                    </a:cubicBezTo>
                    <a:cubicBezTo>
                      <a:pt x="2661" y="158"/>
                      <a:pt x="6662" y="-931"/>
                      <a:pt x="9819" y="865"/>
                    </a:cubicBezTo>
                    <a:lnTo>
                      <a:pt x="88740" y="46014"/>
                    </a:lnTo>
                    <a:cubicBezTo>
                      <a:pt x="91897" y="47810"/>
                      <a:pt x="92986" y="51810"/>
                      <a:pt x="91189" y="54967"/>
                    </a:cubicBezTo>
                    <a:cubicBezTo>
                      <a:pt x="89965" y="57090"/>
                      <a:pt x="87733" y="58287"/>
                      <a:pt x="85474" y="58287"/>
                    </a:cubicBezTo>
                    <a:close/>
                  </a:path>
                </a:pathLst>
              </a:custGeom>
              <a:solidFill>
                <a:schemeClr val="accent1"/>
              </a:solidFill>
              <a:ln w="2721" cap="flat">
                <a:noFill/>
                <a:prstDash val="solid"/>
                <a:miter/>
              </a:ln>
            </p:spPr>
            <p:txBody>
              <a:bodyPr rtlCol="0" anchor="ctr"/>
              <a:lstStyle/>
              <a:p>
                <a:endParaRPr lang="en-GB" dirty="0"/>
              </a:p>
            </p:txBody>
          </p:sp>
          <p:sp>
            <p:nvSpPr>
              <p:cNvPr id="443" name="Freihandform: Form 646">
                <a:extLst>
                  <a:ext uri="{FF2B5EF4-FFF2-40B4-BE49-F238E27FC236}">
                    <a16:creationId xmlns:a16="http://schemas.microsoft.com/office/drawing/2014/main" id="{FA07E8AB-8716-4A38-A9A2-81FE03B0928F}"/>
                  </a:ext>
                </a:extLst>
              </p:cNvPr>
              <p:cNvSpPr/>
              <p:nvPr/>
            </p:nvSpPr>
            <p:spPr>
              <a:xfrm>
                <a:off x="6474252" y="3590329"/>
                <a:ext cx="48565" cy="34202"/>
              </a:xfrm>
              <a:custGeom>
                <a:avLst/>
                <a:gdLst>
                  <a:gd name="connsiteX0" fmla="*/ 41986 w 48565"/>
                  <a:gd name="connsiteY0" fmla="*/ 34203 h 34202"/>
                  <a:gd name="connsiteX1" fmla="*/ 38638 w 48565"/>
                  <a:gd name="connsiteY1" fmla="*/ 33277 h 34202"/>
                  <a:gd name="connsiteX2" fmla="*/ 3205 w 48565"/>
                  <a:gd name="connsiteY2" fmla="*/ 12186 h 34202"/>
                  <a:gd name="connsiteX3" fmla="*/ 919 w 48565"/>
                  <a:gd name="connsiteY3" fmla="*/ 3205 h 34202"/>
                  <a:gd name="connsiteX4" fmla="*/ 9900 w 48565"/>
                  <a:gd name="connsiteY4" fmla="*/ 919 h 34202"/>
                  <a:gd name="connsiteX5" fmla="*/ 45360 w 48565"/>
                  <a:gd name="connsiteY5" fmla="*/ 22038 h 34202"/>
                  <a:gd name="connsiteX6" fmla="*/ 47646 w 48565"/>
                  <a:gd name="connsiteY6" fmla="*/ 31018 h 34202"/>
                  <a:gd name="connsiteX7" fmla="*/ 41986 w 48565"/>
                  <a:gd name="connsiteY7" fmla="*/ 34203 h 34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65" h="34202">
                    <a:moveTo>
                      <a:pt x="41986" y="34203"/>
                    </a:moveTo>
                    <a:cubicBezTo>
                      <a:pt x="40843" y="34203"/>
                      <a:pt x="39700" y="33903"/>
                      <a:pt x="38638" y="33277"/>
                    </a:cubicBezTo>
                    <a:lnTo>
                      <a:pt x="3205" y="12186"/>
                    </a:lnTo>
                    <a:cubicBezTo>
                      <a:pt x="103" y="10336"/>
                      <a:pt x="-931" y="6308"/>
                      <a:pt x="919" y="3205"/>
                    </a:cubicBezTo>
                    <a:cubicBezTo>
                      <a:pt x="2770" y="103"/>
                      <a:pt x="6798" y="-931"/>
                      <a:pt x="9900" y="919"/>
                    </a:cubicBezTo>
                    <a:lnTo>
                      <a:pt x="45360" y="22038"/>
                    </a:lnTo>
                    <a:cubicBezTo>
                      <a:pt x="48463" y="23888"/>
                      <a:pt x="49497" y="27916"/>
                      <a:pt x="47646" y="31018"/>
                    </a:cubicBezTo>
                    <a:cubicBezTo>
                      <a:pt x="46422" y="33059"/>
                      <a:pt x="44245" y="34203"/>
                      <a:pt x="41986" y="34203"/>
                    </a:cubicBezTo>
                    <a:close/>
                  </a:path>
                </a:pathLst>
              </a:custGeom>
              <a:solidFill>
                <a:schemeClr val="accent1"/>
              </a:solidFill>
              <a:ln w="2721" cap="flat">
                <a:noFill/>
                <a:prstDash val="solid"/>
                <a:miter/>
              </a:ln>
            </p:spPr>
            <p:txBody>
              <a:bodyPr rtlCol="0" anchor="ctr"/>
              <a:lstStyle/>
              <a:p>
                <a:endParaRPr lang="en-GB" dirty="0"/>
              </a:p>
            </p:txBody>
          </p:sp>
          <p:sp>
            <p:nvSpPr>
              <p:cNvPr id="444" name="Freihandform: Form 647">
                <a:extLst>
                  <a:ext uri="{FF2B5EF4-FFF2-40B4-BE49-F238E27FC236}">
                    <a16:creationId xmlns:a16="http://schemas.microsoft.com/office/drawing/2014/main" id="{2061F40B-0E2B-48C0-A0AF-F3179FEAA398}"/>
                  </a:ext>
                </a:extLst>
              </p:cNvPr>
              <p:cNvSpPr/>
              <p:nvPr/>
            </p:nvSpPr>
            <p:spPr>
              <a:xfrm>
                <a:off x="6510115" y="3359546"/>
                <a:ext cx="65586" cy="65586"/>
              </a:xfrm>
              <a:custGeom>
                <a:avLst/>
                <a:gdLst>
                  <a:gd name="connsiteX0" fmla="*/ 32793 w 65586"/>
                  <a:gd name="connsiteY0" fmla="*/ 65587 h 65586"/>
                  <a:gd name="connsiteX1" fmla="*/ 0 w 65586"/>
                  <a:gd name="connsiteY1" fmla="*/ 32793 h 65586"/>
                  <a:gd name="connsiteX2" fmla="*/ 32793 w 65586"/>
                  <a:gd name="connsiteY2" fmla="*/ 0 h 65586"/>
                  <a:gd name="connsiteX3" fmla="*/ 65586 w 65586"/>
                  <a:gd name="connsiteY3" fmla="*/ 32793 h 65586"/>
                  <a:gd name="connsiteX4" fmla="*/ 32793 w 65586"/>
                  <a:gd name="connsiteY4" fmla="*/ 65587 h 65586"/>
                  <a:gd name="connsiteX5" fmla="*/ 32793 w 65586"/>
                  <a:gd name="connsiteY5" fmla="*/ 13117 h 65586"/>
                  <a:gd name="connsiteX6" fmla="*/ 13117 w 65586"/>
                  <a:gd name="connsiteY6" fmla="*/ 32793 h 65586"/>
                  <a:gd name="connsiteX7" fmla="*/ 32793 w 65586"/>
                  <a:gd name="connsiteY7" fmla="*/ 52469 h 65586"/>
                  <a:gd name="connsiteX8" fmla="*/ 52469 w 65586"/>
                  <a:gd name="connsiteY8" fmla="*/ 32793 h 65586"/>
                  <a:gd name="connsiteX9" fmla="*/ 32793 w 65586"/>
                  <a:gd name="connsiteY9" fmla="*/ 13117 h 6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86" h="65586">
                    <a:moveTo>
                      <a:pt x="32793" y="65587"/>
                    </a:moveTo>
                    <a:cubicBezTo>
                      <a:pt x="14723" y="65587"/>
                      <a:pt x="0" y="50864"/>
                      <a:pt x="0" y="32793"/>
                    </a:cubicBezTo>
                    <a:cubicBezTo>
                      <a:pt x="0" y="14723"/>
                      <a:pt x="14723" y="0"/>
                      <a:pt x="32793" y="0"/>
                    </a:cubicBezTo>
                    <a:cubicBezTo>
                      <a:pt x="50864" y="0"/>
                      <a:pt x="65586" y="14723"/>
                      <a:pt x="65586" y="32793"/>
                    </a:cubicBezTo>
                    <a:cubicBezTo>
                      <a:pt x="65586" y="50891"/>
                      <a:pt x="50864" y="65587"/>
                      <a:pt x="32793" y="65587"/>
                    </a:cubicBezTo>
                    <a:close/>
                    <a:moveTo>
                      <a:pt x="32793" y="13117"/>
                    </a:moveTo>
                    <a:cubicBezTo>
                      <a:pt x="21935" y="13117"/>
                      <a:pt x="13117" y="21935"/>
                      <a:pt x="13117" y="32793"/>
                    </a:cubicBezTo>
                    <a:cubicBezTo>
                      <a:pt x="13117" y="43652"/>
                      <a:pt x="21935" y="52469"/>
                      <a:pt x="32793" y="52469"/>
                    </a:cubicBezTo>
                    <a:cubicBezTo>
                      <a:pt x="43652" y="52469"/>
                      <a:pt x="52469" y="43652"/>
                      <a:pt x="52469" y="32793"/>
                    </a:cubicBezTo>
                    <a:cubicBezTo>
                      <a:pt x="52469" y="21962"/>
                      <a:pt x="43625" y="13117"/>
                      <a:pt x="32793" y="13117"/>
                    </a:cubicBezTo>
                    <a:close/>
                  </a:path>
                </a:pathLst>
              </a:custGeom>
              <a:solidFill>
                <a:schemeClr val="accent1"/>
              </a:solidFill>
              <a:ln w="2721" cap="flat">
                <a:noFill/>
                <a:prstDash val="solid"/>
                <a:miter/>
              </a:ln>
            </p:spPr>
            <p:txBody>
              <a:bodyPr rtlCol="0" anchor="ctr"/>
              <a:lstStyle/>
              <a:p>
                <a:endParaRPr lang="en-GB" dirty="0"/>
              </a:p>
            </p:txBody>
          </p:sp>
          <p:sp>
            <p:nvSpPr>
              <p:cNvPr id="445" name="Freihandform: Form 648">
                <a:extLst>
                  <a:ext uri="{FF2B5EF4-FFF2-40B4-BE49-F238E27FC236}">
                    <a16:creationId xmlns:a16="http://schemas.microsoft.com/office/drawing/2014/main" id="{59261BB2-30C7-4212-BA8A-3122B24554BF}"/>
                  </a:ext>
                </a:extLst>
              </p:cNvPr>
              <p:cNvSpPr/>
              <p:nvPr/>
            </p:nvSpPr>
            <p:spPr>
              <a:xfrm>
                <a:off x="6510115" y="3595630"/>
                <a:ext cx="65586" cy="65586"/>
              </a:xfrm>
              <a:custGeom>
                <a:avLst/>
                <a:gdLst>
                  <a:gd name="connsiteX0" fmla="*/ 32793 w 65586"/>
                  <a:gd name="connsiteY0" fmla="*/ 65587 h 65586"/>
                  <a:gd name="connsiteX1" fmla="*/ 0 w 65586"/>
                  <a:gd name="connsiteY1" fmla="*/ 32793 h 65586"/>
                  <a:gd name="connsiteX2" fmla="*/ 32793 w 65586"/>
                  <a:gd name="connsiteY2" fmla="*/ 0 h 65586"/>
                  <a:gd name="connsiteX3" fmla="*/ 65586 w 65586"/>
                  <a:gd name="connsiteY3" fmla="*/ 32793 h 65586"/>
                  <a:gd name="connsiteX4" fmla="*/ 32793 w 65586"/>
                  <a:gd name="connsiteY4" fmla="*/ 65587 h 65586"/>
                  <a:gd name="connsiteX5" fmla="*/ 32793 w 65586"/>
                  <a:gd name="connsiteY5" fmla="*/ 13117 h 65586"/>
                  <a:gd name="connsiteX6" fmla="*/ 13117 w 65586"/>
                  <a:gd name="connsiteY6" fmla="*/ 32793 h 65586"/>
                  <a:gd name="connsiteX7" fmla="*/ 32793 w 65586"/>
                  <a:gd name="connsiteY7" fmla="*/ 52469 h 65586"/>
                  <a:gd name="connsiteX8" fmla="*/ 52469 w 65586"/>
                  <a:gd name="connsiteY8" fmla="*/ 32793 h 65586"/>
                  <a:gd name="connsiteX9" fmla="*/ 32793 w 65586"/>
                  <a:gd name="connsiteY9" fmla="*/ 13117 h 6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86" h="65586">
                    <a:moveTo>
                      <a:pt x="32793" y="65587"/>
                    </a:moveTo>
                    <a:cubicBezTo>
                      <a:pt x="14723" y="65587"/>
                      <a:pt x="0" y="50864"/>
                      <a:pt x="0" y="32793"/>
                    </a:cubicBezTo>
                    <a:cubicBezTo>
                      <a:pt x="0" y="14723"/>
                      <a:pt x="14723" y="0"/>
                      <a:pt x="32793" y="0"/>
                    </a:cubicBezTo>
                    <a:cubicBezTo>
                      <a:pt x="50864" y="0"/>
                      <a:pt x="65586" y="14723"/>
                      <a:pt x="65586" y="32793"/>
                    </a:cubicBezTo>
                    <a:cubicBezTo>
                      <a:pt x="65586" y="50891"/>
                      <a:pt x="50864" y="65587"/>
                      <a:pt x="32793" y="65587"/>
                    </a:cubicBezTo>
                    <a:close/>
                    <a:moveTo>
                      <a:pt x="32793" y="13117"/>
                    </a:moveTo>
                    <a:cubicBezTo>
                      <a:pt x="21935" y="13117"/>
                      <a:pt x="13117" y="21935"/>
                      <a:pt x="13117" y="32793"/>
                    </a:cubicBezTo>
                    <a:cubicBezTo>
                      <a:pt x="13117" y="43652"/>
                      <a:pt x="21935" y="52469"/>
                      <a:pt x="32793" y="52469"/>
                    </a:cubicBezTo>
                    <a:cubicBezTo>
                      <a:pt x="43652" y="52469"/>
                      <a:pt x="52469" y="43652"/>
                      <a:pt x="52469" y="32793"/>
                    </a:cubicBezTo>
                    <a:cubicBezTo>
                      <a:pt x="52469" y="21962"/>
                      <a:pt x="43625" y="13117"/>
                      <a:pt x="32793" y="13117"/>
                    </a:cubicBezTo>
                    <a:close/>
                  </a:path>
                </a:pathLst>
              </a:custGeom>
              <a:solidFill>
                <a:schemeClr val="accent1"/>
              </a:solidFill>
              <a:ln w="2721" cap="flat">
                <a:noFill/>
                <a:prstDash val="solid"/>
                <a:miter/>
              </a:ln>
            </p:spPr>
            <p:txBody>
              <a:bodyPr rtlCol="0" anchor="ctr"/>
              <a:lstStyle/>
              <a:p>
                <a:endParaRPr lang="en-GB" dirty="0"/>
              </a:p>
            </p:txBody>
          </p:sp>
          <p:sp>
            <p:nvSpPr>
              <p:cNvPr id="446" name="Freihandform: Form 649">
                <a:extLst>
                  <a:ext uri="{FF2B5EF4-FFF2-40B4-BE49-F238E27FC236}">
                    <a16:creationId xmlns:a16="http://schemas.microsoft.com/office/drawing/2014/main" id="{2BB4289F-ABC3-4D98-ACDC-DBE06A58E0FD}"/>
                  </a:ext>
                </a:extLst>
              </p:cNvPr>
              <p:cNvSpPr/>
              <p:nvPr/>
            </p:nvSpPr>
            <p:spPr>
              <a:xfrm>
                <a:off x="6103506" y="3595630"/>
                <a:ext cx="65586" cy="65586"/>
              </a:xfrm>
              <a:custGeom>
                <a:avLst/>
                <a:gdLst>
                  <a:gd name="connsiteX0" fmla="*/ 32793 w 65586"/>
                  <a:gd name="connsiteY0" fmla="*/ 65587 h 65586"/>
                  <a:gd name="connsiteX1" fmla="*/ 0 w 65586"/>
                  <a:gd name="connsiteY1" fmla="*/ 32793 h 65586"/>
                  <a:gd name="connsiteX2" fmla="*/ 32793 w 65586"/>
                  <a:gd name="connsiteY2" fmla="*/ 0 h 65586"/>
                  <a:gd name="connsiteX3" fmla="*/ 65586 w 65586"/>
                  <a:gd name="connsiteY3" fmla="*/ 32793 h 65586"/>
                  <a:gd name="connsiteX4" fmla="*/ 32793 w 65586"/>
                  <a:gd name="connsiteY4" fmla="*/ 65587 h 65586"/>
                  <a:gd name="connsiteX5" fmla="*/ 32793 w 65586"/>
                  <a:gd name="connsiteY5" fmla="*/ 13117 h 65586"/>
                  <a:gd name="connsiteX6" fmla="*/ 13117 w 65586"/>
                  <a:gd name="connsiteY6" fmla="*/ 32793 h 65586"/>
                  <a:gd name="connsiteX7" fmla="*/ 32793 w 65586"/>
                  <a:gd name="connsiteY7" fmla="*/ 52469 h 65586"/>
                  <a:gd name="connsiteX8" fmla="*/ 52469 w 65586"/>
                  <a:gd name="connsiteY8" fmla="*/ 32793 h 65586"/>
                  <a:gd name="connsiteX9" fmla="*/ 32793 w 65586"/>
                  <a:gd name="connsiteY9" fmla="*/ 13117 h 6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86" h="65586">
                    <a:moveTo>
                      <a:pt x="32793" y="65587"/>
                    </a:moveTo>
                    <a:cubicBezTo>
                      <a:pt x="14723" y="65587"/>
                      <a:pt x="0" y="50864"/>
                      <a:pt x="0" y="32793"/>
                    </a:cubicBezTo>
                    <a:cubicBezTo>
                      <a:pt x="0" y="14723"/>
                      <a:pt x="14723" y="0"/>
                      <a:pt x="32793" y="0"/>
                    </a:cubicBezTo>
                    <a:cubicBezTo>
                      <a:pt x="50864" y="0"/>
                      <a:pt x="65586" y="14723"/>
                      <a:pt x="65586" y="32793"/>
                    </a:cubicBezTo>
                    <a:cubicBezTo>
                      <a:pt x="65586" y="50891"/>
                      <a:pt x="50891" y="65587"/>
                      <a:pt x="32793" y="65587"/>
                    </a:cubicBezTo>
                    <a:close/>
                    <a:moveTo>
                      <a:pt x="32793" y="13117"/>
                    </a:moveTo>
                    <a:cubicBezTo>
                      <a:pt x="21935" y="13117"/>
                      <a:pt x="13117" y="21935"/>
                      <a:pt x="13117" y="32793"/>
                    </a:cubicBezTo>
                    <a:cubicBezTo>
                      <a:pt x="13117" y="43652"/>
                      <a:pt x="21935" y="52469"/>
                      <a:pt x="32793" y="52469"/>
                    </a:cubicBezTo>
                    <a:cubicBezTo>
                      <a:pt x="43652" y="52469"/>
                      <a:pt x="52469" y="43652"/>
                      <a:pt x="52469" y="32793"/>
                    </a:cubicBezTo>
                    <a:cubicBezTo>
                      <a:pt x="52469" y="21962"/>
                      <a:pt x="43652" y="13117"/>
                      <a:pt x="32793" y="13117"/>
                    </a:cubicBezTo>
                    <a:close/>
                  </a:path>
                </a:pathLst>
              </a:custGeom>
              <a:solidFill>
                <a:schemeClr val="accent1"/>
              </a:solidFill>
              <a:ln w="2721" cap="flat">
                <a:noFill/>
                <a:prstDash val="solid"/>
                <a:miter/>
              </a:ln>
            </p:spPr>
            <p:txBody>
              <a:bodyPr rtlCol="0" anchor="ctr"/>
              <a:lstStyle/>
              <a:p>
                <a:endParaRPr lang="en-GB" dirty="0"/>
              </a:p>
            </p:txBody>
          </p:sp>
          <p:sp>
            <p:nvSpPr>
              <p:cNvPr id="447" name="Freihandform: Form 650">
                <a:extLst>
                  <a:ext uri="{FF2B5EF4-FFF2-40B4-BE49-F238E27FC236}">
                    <a16:creationId xmlns:a16="http://schemas.microsoft.com/office/drawing/2014/main" id="{CEA46E19-1AF3-4F1D-9679-07F8A4A00198}"/>
                  </a:ext>
                </a:extLst>
              </p:cNvPr>
              <p:cNvSpPr/>
              <p:nvPr/>
            </p:nvSpPr>
            <p:spPr>
              <a:xfrm>
                <a:off x="6103506" y="3359546"/>
                <a:ext cx="65586" cy="65586"/>
              </a:xfrm>
              <a:custGeom>
                <a:avLst/>
                <a:gdLst>
                  <a:gd name="connsiteX0" fmla="*/ 32793 w 65586"/>
                  <a:gd name="connsiteY0" fmla="*/ 65587 h 65586"/>
                  <a:gd name="connsiteX1" fmla="*/ 0 w 65586"/>
                  <a:gd name="connsiteY1" fmla="*/ 32793 h 65586"/>
                  <a:gd name="connsiteX2" fmla="*/ 32793 w 65586"/>
                  <a:gd name="connsiteY2" fmla="*/ 0 h 65586"/>
                  <a:gd name="connsiteX3" fmla="*/ 65586 w 65586"/>
                  <a:gd name="connsiteY3" fmla="*/ 32793 h 65586"/>
                  <a:gd name="connsiteX4" fmla="*/ 32793 w 65586"/>
                  <a:gd name="connsiteY4" fmla="*/ 65587 h 65586"/>
                  <a:gd name="connsiteX5" fmla="*/ 32793 w 65586"/>
                  <a:gd name="connsiteY5" fmla="*/ 13117 h 65586"/>
                  <a:gd name="connsiteX6" fmla="*/ 13117 w 65586"/>
                  <a:gd name="connsiteY6" fmla="*/ 32793 h 65586"/>
                  <a:gd name="connsiteX7" fmla="*/ 32793 w 65586"/>
                  <a:gd name="connsiteY7" fmla="*/ 52469 h 65586"/>
                  <a:gd name="connsiteX8" fmla="*/ 52469 w 65586"/>
                  <a:gd name="connsiteY8" fmla="*/ 32793 h 65586"/>
                  <a:gd name="connsiteX9" fmla="*/ 32793 w 65586"/>
                  <a:gd name="connsiteY9" fmla="*/ 13117 h 6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86" h="65586">
                    <a:moveTo>
                      <a:pt x="32793" y="65587"/>
                    </a:moveTo>
                    <a:cubicBezTo>
                      <a:pt x="14723" y="65587"/>
                      <a:pt x="0" y="50864"/>
                      <a:pt x="0" y="32793"/>
                    </a:cubicBezTo>
                    <a:cubicBezTo>
                      <a:pt x="0" y="14723"/>
                      <a:pt x="14723" y="0"/>
                      <a:pt x="32793" y="0"/>
                    </a:cubicBezTo>
                    <a:cubicBezTo>
                      <a:pt x="50864" y="0"/>
                      <a:pt x="65586" y="14723"/>
                      <a:pt x="65586" y="32793"/>
                    </a:cubicBezTo>
                    <a:cubicBezTo>
                      <a:pt x="65586" y="50891"/>
                      <a:pt x="50891" y="65587"/>
                      <a:pt x="32793" y="65587"/>
                    </a:cubicBezTo>
                    <a:close/>
                    <a:moveTo>
                      <a:pt x="32793" y="13117"/>
                    </a:moveTo>
                    <a:cubicBezTo>
                      <a:pt x="21935" y="13117"/>
                      <a:pt x="13117" y="21935"/>
                      <a:pt x="13117" y="32793"/>
                    </a:cubicBezTo>
                    <a:cubicBezTo>
                      <a:pt x="13117" y="43652"/>
                      <a:pt x="21935" y="52469"/>
                      <a:pt x="32793" y="52469"/>
                    </a:cubicBezTo>
                    <a:cubicBezTo>
                      <a:pt x="43652" y="52469"/>
                      <a:pt x="52469" y="43652"/>
                      <a:pt x="52469" y="32793"/>
                    </a:cubicBezTo>
                    <a:cubicBezTo>
                      <a:pt x="52469" y="21962"/>
                      <a:pt x="43652" y="13117"/>
                      <a:pt x="32793" y="13117"/>
                    </a:cubicBezTo>
                    <a:close/>
                  </a:path>
                </a:pathLst>
              </a:custGeom>
              <a:solidFill>
                <a:schemeClr val="accent1"/>
              </a:solidFill>
              <a:ln w="2721" cap="flat">
                <a:noFill/>
                <a:prstDash val="solid"/>
                <a:miter/>
              </a:ln>
            </p:spPr>
            <p:txBody>
              <a:bodyPr rtlCol="0" anchor="ctr"/>
              <a:lstStyle/>
              <a:p>
                <a:endParaRPr lang="en-GB" dirty="0"/>
              </a:p>
            </p:txBody>
          </p:sp>
          <p:sp>
            <p:nvSpPr>
              <p:cNvPr id="448" name="Freihandform: Form 651">
                <a:extLst>
                  <a:ext uri="{FF2B5EF4-FFF2-40B4-BE49-F238E27FC236}">
                    <a16:creationId xmlns:a16="http://schemas.microsoft.com/office/drawing/2014/main" id="{98B13F72-7307-41D6-96BA-A58665540F25}"/>
                  </a:ext>
                </a:extLst>
              </p:cNvPr>
              <p:cNvSpPr/>
              <p:nvPr/>
            </p:nvSpPr>
            <p:spPr>
              <a:xfrm>
                <a:off x="6306824" y="3241518"/>
                <a:ext cx="65586" cy="65586"/>
              </a:xfrm>
              <a:custGeom>
                <a:avLst/>
                <a:gdLst>
                  <a:gd name="connsiteX0" fmla="*/ 32793 w 65586"/>
                  <a:gd name="connsiteY0" fmla="*/ 65587 h 65586"/>
                  <a:gd name="connsiteX1" fmla="*/ 0 w 65586"/>
                  <a:gd name="connsiteY1" fmla="*/ 32793 h 65586"/>
                  <a:gd name="connsiteX2" fmla="*/ 32793 w 65586"/>
                  <a:gd name="connsiteY2" fmla="*/ 0 h 65586"/>
                  <a:gd name="connsiteX3" fmla="*/ 65586 w 65586"/>
                  <a:gd name="connsiteY3" fmla="*/ 32793 h 65586"/>
                  <a:gd name="connsiteX4" fmla="*/ 32793 w 65586"/>
                  <a:gd name="connsiteY4" fmla="*/ 65587 h 65586"/>
                  <a:gd name="connsiteX5" fmla="*/ 32793 w 65586"/>
                  <a:gd name="connsiteY5" fmla="*/ 13117 h 65586"/>
                  <a:gd name="connsiteX6" fmla="*/ 13117 w 65586"/>
                  <a:gd name="connsiteY6" fmla="*/ 32793 h 65586"/>
                  <a:gd name="connsiteX7" fmla="*/ 32793 w 65586"/>
                  <a:gd name="connsiteY7" fmla="*/ 52469 h 65586"/>
                  <a:gd name="connsiteX8" fmla="*/ 52469 w 65586"/>
                  <a:gd name="connsiteY8" fmla="*/ 32793 h 65586"/>
                  <a:gd name="connsiteX9" fmla="*/ 32793 w 65586"/>
                  <a:gd name="connsiteY9" fmla="*/ 13117 h 6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86" h="65586">
                    <a:moveTo>
                      <a:pt x="32793" y="65587"/>
                    </a:moveTo>
                    <a:cubicBezTo>
                      <a:pt x="14723" y="65587"/>
                      <a:pt x="0" y="50864"/>
                      <a:pt x="0" y="32793"/>
                    </a:cubicBezTo>
                    <a:cubicBezTo>
                      <a:pt x="0" y="14723"/>
                      <a:pt x="14723" y="0"/>
                      <a:pt x="32793" y="0"/>
                    </a:cubicBezTo>
                    <a:cubicBezTo>
                      <a:pt x="50864" y="0"/>
                      <a:pt x="65586" y="14723"/>
                      <a:pt x="65586" y="32793"/>
                    </a:cubicBezTo>
                    <a:cubicBezTo>
                      <a:pt x="65586" y="50864"/>
                      <a:pt x="50864" y="65587"/>
                      <a:pt x="32793" y="65587"/>
                    </a:cubicBezTo>
                    <a:close/>
                    <a:moveTo>
                      <a:pt x="32793" y="13117"/>
                    </a:moveTo>
                    <a:cubicBezTo>
                      <a:pt x="21935" y="13117"/>
                      <a:pt x="13117" y="21935"/>
                      <a:pt x="13117" y="32793"/>
                    </a:cubicBezTo>
                    <a:cubicBezTo>
                      <a:pt x="13117" y="43652"/>
                      <a:pt x="21935" y="52469"/>
                      <a:pt x="32793" y="52469"/>
                    </a:cubicBezTo>
                    <a:cubicBezTo>
                      <a:pt x="43652" y="52469"/>
                      <a:pt x="52469" y="43652"/>
                      <a:pt x="52469" y="32793"/>
                    </a:cubicBezTo>
                    <a:cubicBezTo>
                      <a:pt x="52442" y="21935"/>
                      <a:pt x="43625" y="13117"/>
                      <a:pt x="32793" y="13117"/>
                    </a:cubicBezTo>
                    <a:close/>
                  </a:path>
                </a:pathLst>
              </a:custGeom>
              <a:solidFill>
                <a:schemeClr val="accent1"/>
              </a:solidFill>
              <a:ln w="2721" cap="flat">
                <a:noFill/>
                <a:prstDash val="solid"/>
                <a:miter/>
              </a:ln>
            </p:spPr>
            <p:txBody>
              <a:bodyPr rtlCol="0" anchor="ctr"/>
              <a:lstStyle/>
              <a:p>
                <a:endParaRPr lang="en-GB" dirty="0"/>
              </a:p>
            </p:txBody>
          </p:sp>
        </p:grpSp>
        <p:grpSp>
          <p:nvGrpSpPr>
            <p:cNvPr id="427" name="Grafik 22">
              <a:extLst>
                <a:ext uri="{FF2B5EF4-FFF2-40B4-BE49-F238E27FC236}">
                  <a16:creationId xmlns:a16="http://schemas.microsoft.com/office/drawing/2014/main" id="{A5F09F6D-3198-4F51-BFBC-D1DFA03EAC34}"/>
                </a:ext>
              </a:extLst>
            </p:cNvPr>
            <p:cNvGrpSpPr/>
            <p:nvPr/>
          </p:nvGrpSpPr>
          <p:grpSpPr>
            <a:xfrm>
              <a:off x="8231190" y="1715571"/>
              <a:ext cx="209877" cy="302410"/>
              <a:chOff x="6221583" y="3379222"/>
              <a:chExt cx="223019" cy="321346"/>
            </a:xfrm>
            <a:solidFill>
              <a:schemeClr val="tx2"/>
            </a:solidFill>
          </p:grpSpPr>
          <p:sp>
            <p:nvSpPr>
              <p:cNvPr id="428" name="Freihandform: Form 653">
                <a:extLst>
                  <a:ext uri="{FF2B5EF4-FFF2-40B4-BE49-F238E27FC236}">
                    <a16:creationId xmlns:a16="http://schemas.microsoft.com/office/drawing/2014/main" id="{BD5E6BB2-62E4-4058-AAE3-86119A6FC095}"/>
                  </a:ext>
                </a:extLst>
              </p:cNvPr>
              <p:cNvSpPr/>
              <p:nvPr/>
            </p:nvSpPr>
            <p:spPr>
              <a:xfrm>
                <a:off x="6293707" y="3379222"/>
                <a:ext cx="91821" cy="104938"/>
              </a:xfrm>
              <a:custGeom>
                <a:avLst/>
                <a:gdLst>
                  <a:gd name="connsiteX0" fmla="*/ 45911 w 91821"/>
                  <a:gd name="connsiteY0" fmla="*/ 104938 h 104938"/>
                  <a:gd name="connsiteX1" fmla="*/ 0 w 91821"/>
                  <a:gd name="connsiteY1" fmla="*/ 52469 h 104938"/>
                  <a:gd name="connsiteX2" fmla="*/ 45911 w 91821"/>
                  <a:gd name="connsiteY2" fmla="*/ 0 h 104938"/>
                  <a:gd name="connsiteX3" fmla="*/ 91821 w 91821"/>
                  <a:gd name="connsiteY3" fmla="*/ 52469 h 104938"/>
                  <a:gd name="connsiteX4" fmla="*/ 45911 w 91821"/>
                  <a:gd name="connsiteY4" fmla="*/ 104938 h 104938"/>
                  <a:gd name="connsiteX5" fmla="*/ 45911 w 91821"/>
                  <a:gd name="connsiteY5" fmla="*/ 13117 h 104938"/>
                  <a:gd name="connsiteX6" fmla="*/ 13117 w 91821"/>
                  <a:gd name="connsiteY6" fmla="*/ 52469 h 104938"/>
                  <a:gd name="connsiteX7" fmla="*/ 45911 w 91821"/>
                  <a:gd name="connsiteY7" fmla="*/ 91821 h 104938"/>
                  <a:gd name="connsiteX8" fmla="*/ 78704 w 91821"/>
                  <a:gd name="connsiteY8" fmla="*/ 52469 h 104938"/>
                  <a:gd name="connsiteX9" fmla="*/ 45911 w 91821"/>
                  <a:gd name="connsiteY9" fmla="*/ 13117 h 10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821" h="104938">
                    <a:moveTo>
                      <a:pt x="45911" y="104938"/>
                    </a:moveTo>
                    <a:cubicBezTo>
                      <a:pt x="18451" y="104938"/>
                      <a:pt x="0" y="83847"/>
                      <a:pt x="0" y="52469"/>
                    </a:cubicBezTo>
                    <a:cubicBezTo>
                      <a:pt x="0" y="21091"/>
                      <a:pt x="18451" y="0"/>
                      <a:pt x="45911" y="0"/>
                    </a:cubicBezTo>
                    <a:cubicBezTo>
                      <a:pt x="73370" y="0"/>
                      <a:pt x="91821" y="21091"/>
                      <a:pt x="91821" y="52469"/>
                    </a:cubicBezTo>
                    <a:cubicBezTo>
                      <a:pt x="91821" y="83847"/>
                      <a:pt x="73343" y="104938"/>
                      <a:pt x="45911" y="104938"/>
                    </a:cubicBezTo>
                    <a:close/>
                    <a:moveTo>
                      <a:pt x="45911" y="13117"/>
                    </a:moveTo>
                    <a:cubicBezTo>
                      <a:pt x="21717" y="13117"/>
                      <a:pt x="13117" y="34317"/>
                      <a:pt x="13117" y="52469"/>
                    </a:cubicBezTo>
                    <a:cubicBezTo>
                      <a:pt x="13117" y="70621"/>
                      <a:pt x="21717" y="91821"/>
                      <a:pt x="45911" y="91821"/>
                    </a:cubicBezTo>
                    <a:cubicBezTo>
                      <a:pt x="70104" y="91821"/>
                      <a:pt x="78704" y="70621"/>
                      <a:pt x="78704" y="52469"/>
                    </a:cubicBezTo>
                    <a:cubicBezTo>
                      <a:pt x="78704" y="34317"/>
                      <a:pt x="70104" y="13117"/>
                      <a:pt x="45911" y="13117"/>
                    </a:cubicBezTo>
                    <a:close/>
                  </a:path>
                </a:pathLst>
              </a:custGeom>
              <a:grpFill/>
              <a:ln w="2721" cap="flat">
                <a:noFill/>
                <a:prstDash val="solid"/>
                <a:miter/>
              </a:ln>
            </p:spPr>
            <p:txBody>
              <a:bodyPr rtlCol="0" anchor="ctr"/>
              <a:lstStyle/>
              <a:p>
                <a:endParaRPr lang="en-GB" dirty="0"/>
              </a:p>
            </p:txBody>
          </p:sp>
          <p:sp>
            <p:nvSpPr>
              <p:cNvPr id="429" name="Freihandform: Form 654">
                <a:extLst>
                  <a:ext uri="{FF2B5EF4-FFF2-40B4-BE49-F238E27FC236}">
                    <a16:creationId xmlns:a16="http://schemas.microsoft.com/office/drawing/2014/main" id="{5259541D-2134-4E7F-A1BE-AA8A930BFCC6}"/>
                  </a:ext>
                </a:extLst>
              </p:cNvPr>
              <p:cNvSpPr/>
              <p:nvPr/>
            </p:nvSpPr>
            <p:spPr>
              <a:xfrm>
                <a:off x="6392059" y="3634982"/>
                <a:ext cx="13117" cy="65586"/>
              </a:xfrm>
              <a:custGeom>
                <a:avLst/>
                <a:gdLst>
                  <a:gd name="connsiteX0" fmla="*/ 6559 w 13117"/>
                  <a:gd name="connsiteY0" fmla="*/ 65587 h 65586"/>
                  <a:gd name="connsiteX1" fmla="*/ 0 w 13117"/>
                  <a:gd name="connsiteY1" fmla="*/ 59028 h 65586"/>
                  <a:gd name="connsiteX2" fmla="*/ 0 w 13117"/>
                  <a:gd name="connsiteY2" fmla="*/ 6559 h 65586"/>
                  <a:gd name="connsiteX3" fmla="*/ 6559 w 13117"/>
                  <a:gd name="connsiteY3" fmla="*/ 0 h 65586"/>
                  <a:gd name="connsiteX4" fmla="*/ 13117 w 13117"/>
                  <a:gd name="connsiteY4" fmla="*/ 6559 h 65586"/>
                  <a:gd name="connsiteX5" fmla="*/ 13117 w 13117"/>
                  <a:gd name="connsiteY5" fmla="*/ 59028 h 65586"/>
                  <a:gd name="connsiteX6" fmla="*/ 6559 w 13117"/>
                  <a:gd name="connsiteY6" fmla="*/ 65587 h 6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7" h="65586">
                    <a:moveTo>
                      <a:pt x="6559" y="65587"/>
                    </a:moveTo>
                    <a:cubicBezTo>
                      <a:pt x="2939" y="65587"/>
                      <a:pt x="0" y="62647"/>
                      <a:pt x="0" y="59028"/>
                    </a:cubicBezTo>
                    <a:lnTo>
                      <a:pt x="0" y="6559"/>
                    </a:lnTo>
                    <a:cubicBezTo>
                      <a:pt x="0" y="2939"/>
                      <a:pt x="2939" y="0"/>
                      <a:pt x="6559" y="0"/>
                    </a:cubicBezTo>
                    <a:cubicBezTo>
                      <a:pt x="10178" y="0"/>
                      <a:pt x="13117" y="2939"/>
                      <a:pt x="13117" y="6559"/>
                    </a:cubicBezTo>
                    <a:lnTo>
                      <a:pt x="13117" y="59028"/>
                    </a:lnTo>
                    <a:cubicBezTo>
                      <a:pt x="13117" y="62647"/>
                      <a:pt x="10178" y="65587"/>
                      <a:pt x="6559" y="65587"/>
                    </a:cubicBezTo>
                    <a:close/>
                  </a:path>
                </a:pathLst>
              </a:custGeom>
              <a:grpFill/>
              <a:ln w="2721" cap="flat">
                <a:noFill/>
                <a:prstDash val="solid"/>
                <a:miter/>
              </a:ln>
            </p:spPr>
            <p:txBody>
              <a:bodyPr rtlCol="0" anchor="ctr"/>
              <a:lstStyle/>
              <a:p>
                <a:endParaRPr lang="en-GB" dirty="0"/>
              </a:p>
            </p:txBody>
          </p:sp>
          <p:sp>
            <p:nvSpPr>
              <p:cNvPr id="430" name="Freihandform: Form 655">
                <a:extLst>
                  <a:ext uri="{FF2B5EF4-FFF2-40B4-BE49-F238E27FC236}">
                    <a16:creationId xmlns:a16="http://schemas.microsoft.com/office/drawing/2014/main" id="{2C9A6F08-1B47-4B8C-9B22-BEC5C7200325}"/>
                  </a:ext>
                </a:extLst>
              </p:cNvPr>
              <p:cNvSpPr/>
              <p:nvPr/>
            </p:nvSpPr>
            <p:spPr>
              <a:xfrm>
                <a:off x="6274031" y="3634982"/>
                <a:ext cx="13117" cy="65586"/>
              </a:xfrm>
              <a:custGeom>
                <a:avLst/>
                <a:gdLst>
                  <a:gd name="connsiteX0" fmla="*/ 6559 w 13117"/>
                  <a:gd name="connsiteY0" fmla="*/ 65587 h 65586"/>
                  <a:gd name="connsiteX1" fmla="*/ 0 w 13117"/>
                  <a:gd name="connsiteY1" fmla="*/ 59028 h 65586"/>
                  <a:gd name="connsiteX2" fmla="*/ 0 w 13117"/>
                  <a:gd name="connsiteY2" fmla="*/ 6559 h 65586"/>
                  <a:gd name="connsiteX3" fmla="*/ 6559 w 13117"/>
                  <a:gd name="connsiteY3" fmla="*/ 0 h 65586"/>
                  <a:gd name="connsiteX4" fmla="*/ 13117 w 13117"/>
                  <a:gd name="connsiteY4" fmla="*/ 6559 h 65586"/>
                  <a:gd name="connsiteX5" fmla="*/ 13117 w 13117"/>
                  <a:gd name="connsiteY5" fmla="*/ 59028 h 65586"/>
                  <a:gd name="connsiteX6" fmla="*/ 6559 w 13117"/>
                  <a:gd name="connsiteY6" fmla="*/ 65587 h 6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7" h="65586">
                    <a:moveTo>
                      <a:pt x="6559" y="65587"/>
                    </a:moveTo>
                    <a:cubicBezTo>
                      <a:pt x="2939" y="65587"/>
                      <a:pt x="0" y="62647"/>
                      <a:pt x="0" y="59028"/>
                    </a:cubicBezTo>
                    <a:lnTo>
                      <a:pt x="0" y="6559"/>
                    </a:lnTo>
                    <a:cubicBezTo>
                      <a:pt x="0" y="2939"/>
                      <a:pt x="2939" y="0"/>
                      <a:pt x="6559" y="0"/>
                    </a:cubicBezTo>
                    <a:cubicBezTo>
                      <a:pt x="10178" y="0"/>
                      <a:pt x="13117" y="2939"/>
                      <a:pt x="13117" y="6559"/>
                    </a:cubicBezTo>
                    <a:lnTo>
                      <a:pt x="13117" y="59028"/>
                    </a:lnTo>
                    <a:cubicBezTo>
                      <a:pt x="13117" y="62647"/>
                      <a:pt x="10178" y="65587"/>
                      <a:pt x="6559" y="65587"/>
                    </a:cubicBezTo>
                    <a:close/>
                  </a:path>
                </a:pathLst>
              </a:custGeom>
              <a:grpFill/>
              <a:ln w="2721" cap="flat">
                <a:noFill/>
                <a:prstDash val="solid"/>
                <a:miter/>
              </a:ln>
            </p:spPr>
            <p:txBody>
              <a:bodyPr rtlCol="0" anchor="ctr"/>
              <a:lstStyle/>
              <a:p>
                <a:endParaRPr lang="en-GB" dirty="0"/>
              </a:p>
            </p:txBody>
          </p:sp>
          <p:sp>
            <p:nvSpPr>
              <p:cNvPr id="431" name="Freihandform: Form 656">
                <a:extLst>
                  <a:ext uri="{FF2B5EF4-FFF2-40B4-BE49-F238E27FC236}">
                    <a16:creationId xmlns:a16="http://schemas.microsoft.com/office/drawing/2014/main" id="{29EFDBC4-E9B3-41BD-AEEA-1BB7E5162BEF}"/>
                  </a:ext>
                </a:extLst>
              </p:cNvPr>
              <p:cNvSpPr/>
              <p:nvPr/>
            </p:nvSpPr>
            <p:spPr>
              <a:xfrm>
                <a:off x="6326473" y="3497278"/>
                <a:ext cx="26234" cy="13117"/>
              </a:xfrm>
              <a:custGeom>
                <a:avLst/>
                <a:gdLst>
                  <a:gd name="connsiteX0" fmla="*/ 19676 w 26234"/>
                  <a:gd name="connsiteY0" fmla="*/ 13117 h 13117"/>
                  <a:gd name="connsiteX1" fmla="*/ 6559 w 26234"/>
                  <a:gd name="connsiteY1" fmla="*/ 13117 h 13117"/>
                  <a:gd name="connsiteX2" fmla="*/ 0 w 26234"/>
                  <a:gd name="connsiteY2" fmla="*/ 6559 h 13117"/>
                  <a:gd name="connsiteX3" fmla="*/ 6559 w 26234"/>
                  <a:gd name="connsiteY3" fmla="*/ 0 h 13117"/>
                  <a:gd name="connsiteX4" fmla="*/ 19676 w 26234"/>
                  <a:gd name="connsiteY4" fmla="*/ 0 h 13117"/>
                  <a:gd name="connsiteX5" fmla="*/ 26235 w 26234"/>
                  <a:gd name="connsiteY5" fmla="*/ 6559 h 13117"/>
                  <a:gd name="connsiteX6" fmla="*/ 19676 w 26234"/>
                  <a:gd name="connsiteY6" fmla="*/ 13117 h 1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34" h="13117">
                    <a:moveTo>
                      <a:pt x="19676" y="13117"/>
                    </a:moveTo>
                    <a:lnTo>
                      <a:pt x="6559" y="13117"/>
                    </a:lnTo>
                    <a:cubicBezTo>
                      <a:pt x="2939" y="13117"/>
                      <a:pt x="0" y="10178"/>
                      <a:pt x="0" y="6559"/>
                    </a:cubicBezTo>
                    <a:cubicBezTo>
                      <a:pt x="0" y="2939"/>
                      <a:pt x="2939" y="0"/>
                      <a:pt x="6559" y="0"/>
                    </a:cubicBezTo>
                    <a:lnTo>
                      <a:pt x="19676" y="0"/>
                    </a:lnTo>
                    <a:cubicBezTo>
                      <a:pt x="23295" y="0"/>
                      <a:pt x="26235" y="2939"/>
                      <a:pt x="26235" y="6559"/>
                    </a:cubicBezTo>
                    <a:cubicBezTo>
                      <a:pt x="26235" y="10178"/>
                      <a:pt x="23323" y="13117"/>
                      <a:pt x="19676" y="13117"/>
                    </a:cubicBezTo>
                    <a:close/>
                  </a:path>
                </a:pathLst>
              </a:custGeom>
              <a:grpFill/>
              <a:ln w="2721" cap="flat">
                <a:noFill/>
                <a:prstDash val="solid"/>
                <a:miter/>
              </a:ln>
            </p:spPr>
            <p:txBody>
              <a:bodyPr rtlCol="0" anchor="ctr"/>
              <a:lstStyle/>
              <a:p>
                <a:endParaRPr lang="en-GB" dirty="0"/>
              </a:p>
            </p:txBody>
          </p:sp>
          <p:sp>
            <p:nvSpPr>
              <p:cNvPr id="432" name="Freihandform: Form 657">
                <a:extLst>
                  <a:ext uri="{FF2B5EF4-FFF2-40B4-BE49-F238E27FC236}">
                    <a16:creationId xmlns:a16="http://schemas.microsoft.com/office/drawing/2014/main" id="{7AFB4753-8E34-465A-99F4-33FB1204AE12}"/>
                  </a:ext>
                </a:extLst>
              </p:cNvPr>
              <p:cNvSpPr/>
              <p:nvPr/>
            </p:nvSpPr>
            <p:spPr>
              <a:xfrm>
                <a:off x="6333059" y="3497278"/>
                <a:ext cx="13117" cy="85262"/>
              </a:xfrm>
              <a:custGeom>
                <a:avLst/>
                <a:gdLst>
                  <a:gd name="connsiteX0" fmla="*/ 6559 w 13117"/>
                  <a:gd name="connsiteY0" fmla="*/ 85262 h 85262"/>
                  <a:gd name="connsiteX1" fmla="*/ 0 w 13117"/>
                  <a:gd name="connsiteY1" fmla="*/ 78704 h 85262"/>
                  <a:gd name="connsiteX2" fmla="*/ 0 w 13117"/>
                  <a:gd name="connsiteY2" fmla="*/ 6559 h 85262"/>
                  <a:gd name="connsiteX3" fmla="*/ 6559 w 13117"/>
                  <a:gd name="connsiteY3" fmla="*/ 0 h 85262"/>
                  <a:gd name="connsiteX4" fmla="*/ 13117 w 13117"/>
                  <a:gd name="connsiteY4" fmla="*/ 6559 h 85262"/>
                  <a:gd name="connsiteX5" fmla="*/ 13117 w 13117"/>
                  <a:gd name="connsiteY5" fmla="*/ 78704 h 85262"/>
                  <a:gd name="connsiteX6" fmla="*/ 6559 w 13117"/>
                  <a:gd name="connsiteY6" fmla="*/ 85262 h 8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7" h="85262">
                    <a:moveTo>
                      <a:pt x="6559" y="85262"/>
                    </a:moveTo>
                    <a:cubicBezTo>
                      <a:pt x="2939" y="85262"/>
                      <a:pt x="0" y="82323"/>
                      <a:pt x="0" y="78704"/>
                    </a:cubicBezTo>
                    <a:lnTo>
                      <a:pt x="0" y="6559"/>
                    </a:lnTo>
                    <a:cubicBezTo>
                      <a:pt x="0" y="2939"/>
                      <a:pt x="2939" y="0"/>
                      <a:pt x="6559" y="0"/>
                    </a:cubicBezTo>
                    <a:cubicBezTo>
                      <a:pt x="10178" y="0"/>
                      <a:pt x="13117" y="2939"/>
                      <a:pt x="13117" y="6559"/>
                    </a:cubicBezTo>
                    <a:lnTo>
                      <a:pt x="13117" y="78704"/>
                    </a:lnTo>
                    <a:cubicBezTo>
                      <a:pt x="13090" y="82323"/>
                      <a:pt x="10178" y="85262"/>
                      <a:pt x="6559" y="85262"/>
                    </a:cubicBezTo>
                    <a:close/>
                  </a:path>
                </a:pathLst>
              </a:custGeom>
              <a:grpFill/>
              <a:ln w="2721" cap="flat">
                <a:noFill/>
                <a:prstDash val="solid"/>
                <a:miter/>
              </a:ln>
            </p:spPr>
            <p:txBody>
              <a:bodyPr rtlCol="0" anchor="ctr"/>
              <a:lstStyle/>
              <a:p>
                <a:endParaRPr lang="en-GB" dirty="0"/>
              </a:p>
            </p:txBody>
          </p:sp>
          <p:sp>
            <p:nvSpPr>
              <p:cNvPr id="433" name="Freihandform: Form 658">
                <a:extLst>
                  <a:ext uri="{FF2B5EF4-FFF2-40B4-BE49-F238E27FC236}">
                    <a16:creationId xmlns:a16="http://schemas.microsoft.com/office/drawing/2014/main" id="{FB7DC3F8-4E50-4A33-AD38-68CE16581550}"/>
                  </a:ext>
                </a:extLst>
              </p:cNvPr>
              <p:cNvSpPr/>
              <p:nvPr/>
            </p:nvSpPr>
            <p:spPr>
              <a:xfrm>
                <a:off x="6221583" y="3497278"/>
                <a:ext cx="223019" cy="144807"/>
              </a:xfrm>
              <a:custGeom>
                <a:avLst/>
                <a:gdLst>
                  <a:gd name="connsiteX0" fmla="*/ 195813 w 223019"/>
                  <a:gd name="connsiteY0" fmla="*/ 144807 h 144807"/>
                  <a:gd name="connsiteX1" fmla="*/ 147072 w 223019"/>
                  <a:gd name="connsiteY1" fmla="*/ 144807 h 144807"/>
                  <a:gd name="connsiteX2" fmla="*/ 129437 w 223019"/>
                  <a:gd name="connsiteY2" fmla="*/ 141569 h 144807"/>
                  <a:gd name="connsiteX3" fmla="*/ 128594 w 223019"/>
                  <a:gd name="connsiteY3" fmla="*/ 141705 h 144807"/>
                  <a:gd name="connsiteX4" fmla="*/ 90874 w 223019"/>
                  <a:gd name="connsiteY4" fmla="*/ 144780 h 144807"/>
                  <a:gd name="connsiteX5" fmla="*/ 27057 w 223019"/>
                  <a:gd name="connsiteY5" fmla="*/ 144807 h 144807"/>
                  <a:gd name="connsiteX6" fmla="*/ 5013 w 223019"/>
                  <a:gd name="connsiteY6" fmla="*/ 135364 h 144807"/>
                  <a:gd name="connsiteX7" fmla="*/ 224 w 223019"/>
                  <a:gd name="connsiteY7" fmla="*/ 119035 h 144807"/>
                  <a:gd name="connsiteX8" fmla="*/ 13858 w 223019"/>
                  <a:gd name="connsiteY8" fmla="*/ 42999 h 144807"/>
                  <a:gd name="connsiteX9" fmla="*/ 70654 w 223019"/>
                  <a:gd name="connsiteY9" fmla="*/ 0 h 144807"/>
                  <a:gd name="connsiteX10" fmla="*/ 82928 w 223019"/>
                  <a:gd name="connsiteY10" fmla="*/ 0 h 144807"/>
                  <a:gd name="connsiteX11" fmla="*/ 118252 w 223019"/>
                  <a:gd name="connsiteY11" fmla="*/ 78404 h 144807"/>
                  <a:gd name="connsiteX12" fmla="*/ 153168 w 223019"/>
                  <a:gd name="connsiteY12" fmla="*/ 0 h 144807"/>
                  <a:gd name="connsiteX13" fmla="*/ 162094 w 223019"/>
                  <a:gd name="connsiteY13" fmla="*/ 0 h 144807"/>
                  <a:gd name="connsiteX14" fmla="*/ 212414 w 223019"/>
                  <a:gd name="connsiteY14" fmla="*/ 42863 h 144807"/>
                  <a:gd name="connsiteX15" fmla="*/ 222701 w 223019"/>
                  <a:gd name="connsiteY15" fmla="*/ 119117 h 144807"/>
                  <a:gd name="connsiteX16" fmla="*/ 218401 w 223019"/>
                  <a:gd name="connsiteY16" fmla="*/ 134602 h 144807"/>
                  <a:gd name="connsiteX17" fmla="*/ 195813 w 223019"/>
                  <a:gd name="connsiteY17" fmla="*/ 144807 h 144807"/>
                  <a:gd name="connsiteX18" fmla="*/ 127559 w 223019"/>
                  <a:gd name="connsiteY18" fmla="*/ 126982 h 144807"/>
                  <a:gd name="connsiteX19" fmla="*/ 147072 w 223019"/>
                  <a:gd name="connsiteY19" fmla="*/ 131690 h 144807"/>
                  <a:gd name="connsiteX20" fmla="*/ 195813 w 223019"/>
                  <a:gd name="connsiteY20" fmla="*/ 131690 h 144807"/>
                  <a:gd name="connsiteX21" fmla="*/ 208223 w 223019"/>
                  <a:gd name="connsiteY21" fmla="*/ 126274 h 144807"/>
                  <a:gd name="connsiteX22" fmla="*/ 209719 w 223019"/>
                  <a:gd name="connsiteY22" fmla="*/ 121267 h 144807"/>
                  <a:gd name="connsiteX23" fmla="*/ 199432 w 223019"/>
                  <a:gd name="connsiteY23" fmla="*/ 45040 h 144807"/>
                  <a:gd name="connsiteX24" fmla="*/ 162040 w 223019"/>
                  <a:gd name="connsiteY24" fmla="*/ 13117 h 144807"/>
                  <a:gd name="connsiteX25" fmla="*/ 161605 w 223019"/>
                  <a:gd name="connsiteY25" fmla="*/ 13117 h 144807"/>
                  <a:gd name="connsiteX26" fmla="*/ 129764 w 223019"/>
                  <a:gd name="connsiteY26" fmla="*/ 83793 h 144807"/>
                  <a:gd name="connsiteX27" fmla="*/ 118007 w 223019"/>
                  <a:gd name="connsiteY27" fmla="*/ 91113 h 144807"/>
                  <a:gd name="connsiteX28" fmla="*/ 106468 w 223019"/>
                  <a:gd name="connsiteY28" fmla="*/ 84201 h 144807"/>
                  <a:gd name="connsiteX29" fmla="*/ 74437 w 223019"/>
                  <a:gd name="connsiteY29" fmla="*/ 13117 h 144807"/>
                  <a:gd name="connsiteX30" fmla="*/ 70627 w 223019"/>
                  <a:gd name="connsiteY30" fmla="*/ 13117 h 144807"/>
                  <a:gd name="connsiteX31" fmla="*/ 26703 w 223019"/>
                  <a:gd name="connsiteY31" fmla="*/ 45475 h 144807"/>
                  <a:gd name="connsiteX32" fmla="*/ 13150 w 223019"/>
                  <a:gd name="connsiteY32" fmla="*/ 121158 h 144807"/>
                  <a:gd name="connsiteX33" fmla="*/ 14919 w 223019"/>
                  <a:gd name="connsiteY33" fmla="*/ 126791 h 144807"/>
                  <a:gd name="connsiteX34" fmla="*/ 27030 w 223019"/>
                  <a:gd name="connsiteY34" fmla="*/ 131690 h 144807"/>
                  <a:gd name="connsiteX35" fmla="*/ 90330 w 223019"/>
                  <a:gd name="connsiteY35" fmla="*/ 131690 h 144807"/>
                  <a:gd name="connsiteX36" fmla="*/ 108890 w 223019"/>
                  <a:gd name="connsiteY36" fmla="*/ 130166 h 144807"/>
                  <a:gd name="connsiteX37" fmla="*/ 47822 w 223019"/>
                  <a:gd name="connsiteY37" fmla="*/ 108830 h 144807"/>
                  <a:gd name="connsiteX38" fmla="*/ 38841 w 223019"/>
                  <a:gd name="connsiteY38" fmla="*/ 109728 h 144807"/>
                  <a:gd name="connsiteX39" fmla="*/ 48012 w 223019"/>
                  <a:gd name="connsiteY39" fmla="*/ 67900 h 144807"/>
                  <a:gd name="connsiteX40" fmla="*/ 55823 w 223019"/>
                  <a:gd name="connsiteY40" fmla="*/ 62892 h 144807"/>
                  <a:gd name="connsiteX41" fmla="*/ 60830 w 223019"/>
                  <a:gd name="connsiteY41" fmla="*/ 70703 h 144807"/>
                  <a:gd name="connsiteX42" fmla="*/ 55360 w 223019"/>
                  <a:gd name="connsiteY42" fmla="*/ 95658 h 144807"/>
                  <a:gd name="connsiteX43" fmla="*/ 127559 w 223019"/>
                  <a:gd name="connsiteY43" fmla="*/ 126982 h 14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23019" h="144807">
                    <a:moveTo>
                      <a:pt x="195813" y="144807"/>
                    </a:moveTo>
                    <a:lnTo>
                      <a:pt x="147072" y="144807"/>
                    </a:lnTo>
                    <a:cubicBezTo>
                      <a:pt x="142364" y="144807"/>
                      <a:pt x="135343" y="143365"/>
                      <a:pt x="129437" y="141569"/>
                    </a:cubicBezTo>
                    <a:cubicBezTo>
                      <a:pt x="129165" y="141623"/>
                      <a:pt x="128866" y="141678"/>
                      <a:pt x="128594" y="141705"/>
                    </a:cubicBezTo>
                    <a:lnTo>
                      <a:pt x="90874" y="144780"/>
                    </a:lnTo>
                    <a:lnTo>
                      <a:pt x="27057" y="144807"/>
                    </a:lnTo>
                    <a:cubicBezTo>
                      <a:pt x="18485" y="144807"/>
                      <a:pt x="10048" y="141188"/>
                      <a:pt x="5013" y="135364"/>
                    </a:cubicBezTo>
                    <a:cubicBezTo>
                      <a:pt x="1040" y="130792"/>
                      <a:pt x="-647" y="124968"/>
                      <a:pt x="224" y="119035"/>
                    </a:cubicBezTo>
                    <a:lnTo>
                      <a:pt x="13858" y="42999"/>
                    </a:lnTo>
                    <a:cubicBezTo>
                      <a:pt x="18621" y="19621"/>
                      <a:pt x="44610" y="0"/>
                      <a:pt x="70654" y="0"/>
                    </a:cubicBezTo>
                    <a:lnTo>
                      <a:pt x="82928" y="0"/>
                    </a:lnTo>
                    <a:lnTo>
                      <a:pt x="118252" y="78404"/>
                    </a:lnTo>
                    <a:lnTo>
                      <a:pt x="153168" y="0"/>
                    </a:lnTo>
                    <a:lnTo>
                      <a:pt x="162094" y="0"/>
                    </a:lnTo>
                    <a:cubicBezTo>
                      <a:pt x="186206" y="0"/>
                      <a:pt x="207352" y="18016"/>
                      <a:pt x="212414" y="42863"/>
                    </a:cubicBezTo>
                    <a:lnTo>
                      <a:pt x="222701" y="119117"/>
                    </a:lnTo>
                    <a:cubicBezTo>
                      <a:pt x="223735" y="124288"/>
                      <a:pt x="222238" y="129948"/>
                      <a:pt x="218401" y="134602"/>
                    </a:cubicBezTo>
                    <a:cubicBezTo>
                      <a:pt x="213284" y="140807"/>
                      <a:pt x="204440" y="144807"/>
                      <a:pt x="195813" y="144807"/>
                    </a:cubicBezTo>
                    <a:close/>
                    <a:moveTo>
                      <a:pt x="127559" y="126982"/>
                    </a:moveTo>
                    <a:cubicBezTo>
                      <a:pt x="132349" y="129186"/>
                      <a:pt x="142609" y="131690"/>
                      <a:pt x="147072" y="131690"/>
                    </a:cubicBezTo>
                    <a:lnTo>
                      <a:pt x="195813" y="131690"/>
                    </a:lnTo>
                    <a:cubicBezTo>
                      <a:pt x="200521" y="131690"/>
                      <a:pt x="205610" y="129458"/>
                      <a:pt x="208223" y="126274"/>
                    </a:cubicBezTo>
                    <a:cubicBezTo>
                      <a:pt x="210209" y="123852"/>
                      <a:pt x="209828" y="121893"/>
                      <a:pt x="209719" y="121267"/>
                    </a:cubicBezTo>
                    <a:lnTo>
                      <a:pt x="199432" y="45040"/>
                    </a:lnTo>
                    <a:cubicBezTo>
                      <a:pt x="195677" y="26724"/>
                      <a:pt x="179947" y="13117"/>
                      <a:pt x="162040" y="13117"/>
                    </a:cubicBezTo>
                    <a:lnTo>
                      <a:pt x="161605" y="13117"/>
                    </a:lnTo>
                    <a:lnTo>
                      <a:pt x="129764" y="83793"/>
                    </a:lnTo>
                    <a:cubicBezTo>
                      <a:pt x="127260" y="88474"/>
                      <a:pt x="122851" y="91113"/>
                      <a:pt x="118007" y="91113"/>
                    </a:cubicBezTo>
                    <a:cubicBezTo>
                      <a:pt x="113163" y="91113"/>
                      <a:pt x="108754" y="88474"/>
                      <a:pt x="106468" y="84201"/>
                    </a:cubicBezTo>
                    <a:lnTo>
                      <a:pt x="74437" y="13117"/>
                    </a:lnTo>
                    <a:lnTo>
                      <a:pt x="70627" y="13117"/>
                    </a:lnTo>
                    <a:cubicBezTo>
                      <a:pt x="50733" y="13117"/>
                      <a:pt x="30214" y="28248"/>
                      <a:pt x="26703" y="45475"/>
                    </a:cubicBezTo>
                    <a:lnTo>
                      <a:pt x="13150" y="121158"/>
                    </a:lnTo>
                    <a:cubicBezTo>
                      <a:pt x="12851" y="123145"/>
                      <a:pt x="13423" y="125077"/>
                      <a:pt x="14919" y="126791"/>
                    </a:cubicBezTo>
                    <a:cubicBezTo>
                      <a:pt x="17450" y="129731"/>
                      <a:pt x="22322" y="131690"/>
                      <a:pt x="27030" y="131690"/>
                    </a:cubicBezTo>
                    <a:lnTo>
                      <a:pt x="90330" y="131690"/>
                    </a:lnTo>
                    <a:lnTo>
                      <a:pt x="108890" y="130166"/>
                    </a:lnTo>
                    <a:cubicBezTo>
                      <a:pt x="94249" y="120913"/>
                      <a:pt x="68259" y="106762"/>
                      <a:pt x="47822" y="108830"/>
                    </a:cubicBezTo>
                    <a:lnTo>
                      <a:pt x="38841" y="109728"/>
                    </a:lnTo>
                    <a:lnTo>
                      <a:pt x="48012" y="67900"/>
                    </a:lnTo>
                    <a:cubicBezTo>
                      <a:pt x="48774" y="64362"/>
                      <a:pt x="52285" y="62130"/>
                      <a:pt x="55823" y="62892"/>
                    </a:cubicBezTo>
                    <a:cubicBezTo>
                      <a:pt x="59360" y="63654"/>
                      <a:pt x="61592" y="67165"/>
                      <a:pt x="60830" y="70703"/>
                    </a:cubicBezTo>
                    <a:lnTo>
                      <a:pt x="55360" y="95658"/>
                    </a:lnTo>
                    <a:cubicBezTo>
                      <a:pt x="86901" y="97536"/>
                      <a:pt x="122525" y="123226"/>
                      <a:pt x="127559" y="126982"/>
                    </a:cubicBezTo>
                    <a:close/>
                  </a:path>
                </a:pathLst>
              </a:custGeom>
              <a:grpFill/>
              <a:ln w="2721" cap="flat">
                <a:noFill/>
                <a:prstDash val="solid"/>
                <a:miter/>
              </a:ln>
            </p:spPr>
            <p:txBody>
              <a:bodyPr rtlCol="0" anchor="ctr"/>
              <a:lstStyle/>
              <a:p>
                <a:endParaRPr lang="en-GB" dirty="0"/>
              </a:p>
            </p:txBody>
          </p:sp>
          <p:sp>
            <p:nvSpPr>
              <p:cNvPr id="434" name="Freihandform: Form 659">
                <a:extLst>
                  <a:ext uri="{FF2B5EF4-FFF2-40B4-BE49-F238E27FC236}">
                    <a16:creationId xmlns:a16="http://schemas.microsoft.com/office/drawing/2014/main" id="{AB853DDB-F88E-400D-A191-E43478E91F90}"/>
                  </a:ext>
                </a:extLst>
              </p:cNvPr>
              <p:cNvSpPr/>
              <p:nvPr/>
            </p:nvSpPr>
            <p:spPr>
              <a:xfrm>
                <a:off x="6263477" y="3558241"/>
                <a:ext cx="140882" cy="48464"/>
              </a:xfrm>
              <a:custGeom>
                <a:avLst/>
                <a:gdLst>
                  <a:gd name="connsiteX0" fmla="*/ 140883 w 140882"/>
                  <a:gd name="connsiteY0" fmla="*/ 48465 h 48464"/>
                  <a:gd name="connsiteX1" fmla="*/ 130024 w 140882"/>
                  <a:gd name="connsiteY1" fmla="*/ 42614 h 48464"/>
                  <a:gd name="connsiteX2" fmla="*/ 53307 w 140882"/>
                  <a:gd name="connsiteY2" fmla="*/ 35919 h 48464"/>
                  <a:gd name="connsiteX3" fmla="*/ 52300 w 140882"/>
                  <a:gd name="connsiteY3" fmla="*/ 36055 h 48464"/>
                  <a:gd name="connsiteX4" fmla="*/ 22501 w 140882"/>
                  <a:gd name="connsiteY4" fmla="*/ 30286 h 48464"/>
                  <a:gd name="connsiteX5" fmla="*/ 19806 w 140882"/>
                  <a:gd name="connsiteY5" fmla="*/ 32273 h 48464"/>
                  <a:gd name="connsiteX6" fmla="*/ 11860 w 140882"/>
                  <a:gd name="connsiteY6" fmla="*/ 43267 h 48464"/>
                  <a:gd name="connsiteX7" fmla="*/ 2716 w 140882"/>
                  <a:gd name="connsiteY7" fmla="*/ 44737 h 48464"/>
                  <a:gd name="connsiteX8" fmla="*/ 1246 w 140882"/>
                  <a:gd name="connsiteY8" fmla="*/ 35593 h 48464"/>
                  <a:gd name="connsiteX9" fmla="*/ 9193 w 140882"/>
                  <a:gd name="connsiteY9" fmla="*/ 24598 h 48464"/>
                  <a:gd name="connsiteX10" fmla="*/ 26964 w 140882"/>
                  <a:gd name="connsiteY10" fmla="*/ 17958 h 48464"/>
                  <a:gd name="connsiteX11" fmla="*/ 52763 w 140882"/>
                  <a:gd name="connsiteY11" fmla="*/ 22802 h 48464"/>
                  <a:gd name="connsiteX12" fmla="*/ 125588 w 140882"/>
                  <a:gd name="connsiteY12" fmla="*/ 26666 h 48464"/>
                  <a:gd name="connsiteX13" fmla="*/ 123656 w 140882"/>
                  <a:gd name="connsiteY13" fmla="*/ 7208 h 48464"/>
                  <a:gd name="connsiteX14" fmla="*/ 129534 w 140882"/>
                  <a:gd name="connsiteY14" fmla="*/ 24 h 48464"/>
                  <a:gd name="connsiteX15" fmla="*/ 136692 w 140882"/>
                  <a:gd name="connsiteY15" fmla="*/ 5902 h 48464"/>
                  <a:gd name="connsiteX16" fmla="*/ 140883 w 140882"/>
                  <a:gd name="connsiteY16" fmla="*/ 48465 h 48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0882" h="48464">
                    <a:moveTo>
                      <a:pt x="140883" y="48465"/>
                    </a:moveTo>
                    <a:lnTo>
                      <a:pt x="130024" y="42614"/>
                    </a:lnTo>
                    <a:cubicBezTo>
                      <a:pt x="105804" y="29551"/>
                      <a:pt x="53824" y="35865"/>
                      <a:pt x="53307" y="35919"/>
                    </a:cubicBezTo>
                    <a:lnTo>
                      <a:pt x="52300" y="36055"/>
                    </a:lnTo>
                    <a:lnTo>
                      <a:pt x="22501" y="30286"/>
                    </a:lnTo>
                    <a:cubicBezTo>
                      <a:pt x="22065" y="30068"/>
                      <a:pt x="20677" y="31075"/>
                      <a:pt x="19806" y="32273"/>
                    </a:cubicBezTo>
                    <a:lnTo>
                      <a:pt x="11860" y="43267"/>
                    </a:lnTo>
                    <a:cubicBezTo>
                      <a:pt x="9737" y="46206"/>
                      <a:pt x="5655" y="46887"/>
                      <a:pt x="2716" y="44737"/>
                    </a:cubicBezTo>
                    <a:cubicBezTo>
                      <a:pt x="-223" y="42614"/>
                      <a:pt x="-876" y="38532"/>
                      <a:pt x="1246" y="35593"/>
                    </a:cubicBezTo>
                    <a:lnTo>
                      <a:pt x="9193" y="24598"/>
                    </a:lnTo>
                    <a:cubicBezTo>
                      <a:pt x="12731" y="19699"/>
                      <a:pt x="19425" y="15155"/>
                      <a:pt x="26964" y="17958"/>
                    </a:cubicBezTo>
                    <a:lnTo>
                      <a:pt x="52763" y="22802"/>
                    </a:lnTo>
                    <a:cubicBezTo>
                      <a:pt x="59784" y="21986"/>
                      <a:pt x="98510" y="18148"/>
                      <a:pt x="125588" y="26666"/>
                    </a:cubicBezTo>
                    <a:lnTo>
                      <a:pt x="123656" y="7208"/>
                    </a:lnTo>
                    <a:cubicBezTo>
                      <a:pt x="123302" y="3616"/>
                      <a:pt x="125942" y="405"/>
                      <a:pt x="129534" y="24"/>
                    </a:cubicBezTo>
                    <a:cubicBezTo>
                      <a:pt x="133154" y="-276"/>
                      <a:pt x="136338" y="2310"/>
                      <a:pt x="136692" y="5902"/>
                    </a:cubicBezTo>
                    <a:lnTo>
                      <a:pt x="140883" y="48465"/>
                    </a:lnTo>
                    <a:close/>
                  </a:path>
                </a:pathLst>
              </a:custGeom>
              <a:grpFill/>
              <a:ln w="2721" cap="flat">
                <a:noFill/>
                <a:prstDash val="solid"/>
                <a:miter/>
              </a:ln>
            </p:spPr>
            <p:txBody>
              <a:bodyPr rtlCol="0" anchor="ctr"/>
              <a:lstStyle/>
              <a:p>
                <a:endParaRPr lang="en-GB" dirty="0"/>
              </a:p>
            </p:txBody>
          </p:sp>
        </p:grpSp>
      </p:grpSp>
      <p:grpSp>
        <p:nvGrpSpPr>
          <p:cNvPr id="667" name="Group 666">
            <a:extLst>
              <a:ext uri="{FF2B5EF4-FFF2-40B4-BE49-F238E27FC236}">
                <a16:creationId xmlns:a16="http://schemas.microsoft.com/office/drawing/2014/main" id="{BBE9D996-1EE6-9F6B-D4F8-8BCD9B480B34}"/>
              </a:ext>
            </a:extLst>
          </p:cNvPr>
          <p:cNvGrpSpPr/>
          <p:nvPr/>
        </p:nvGrpSpPr>
        <p:grpSpPr>
          <a:xfrm>
            <a:off x="4970381" y="2391526"/>
            <a:ext cx="485777" cy="432000"/>
            <a:chOff x="4969969" y="2391526"/>
            <a:chExt cx="485777" cy="432000"/>
          </a:xfrm>
        </p:grpSpPr>
        <p:grpSp>
          <p:nvGrpSpPr>
            <p:cNvPr id="450" name="Grafik 222">
              <a:extLst>
                <a:ext uri="{FF2B5EF4-FFF2-40B4-BE49-F238E27FC236}">
                  <a16:creationId xmlns:a16="http://schemas.microsoft.com/office/drawing/2014/main" id="{96D25763-E188-49FA-BC4E-A36ACDC5A3A1}"/>
                </a:ext>
              </a:extLst>
            </p:cNvPr>
            <p:cNvGrpSpPr/>
            <p:nvPr/>
          </p:nvGrpSpPr>
          <p:grpSpPr>
            <a:xfrm>
              <a:off x="4969969" y="2598338"/>
              <a:ext cx="485777" cy="153004"/>
              <a:chOff x="831420" y="1867537"/>
              <a:chExt cx="555090" cy="174835"/>
            </a:xfrm>
            <a:solidFill>
              <a:schemeClr val="accent1"/>
            </a:solidFill>
          </p:grpSpPr>
          <p:sp>
            <p:nvSpPr>
              <p:cNvPr id="474" name="Freihandform: Form 227">
                <a:extLst>
                  <a:ext uri="{FF2B5EF4-FFF2-40B4-BE49-F238E27FC236}">
                    <a16:creationId xmlns:a16="http://schemas.microsoft.com/office/drawing/2014/main" id="{D1109530-98C9-4ADB-B480-4BF3F6FAEE9C}"/>
                  </a:ext>
                </a:extLst>
              </p:cNvPr>
              <p:cNvSpPr/>
              <p:nvPr/>
            </p:nvSpPr>
            <p:spPr>
              <a:xfrm>
                <a:off x="831420" y="1873990"/>
                <a:ext cx="276445" cy="168008"/>
              </a:xfrm>
              <a:custGeom>
                <a:avLst/>
                <a:gdLst>
                  <a:gd name="connsiteX0" fmla="*/ 46938 w 276445"/>
                  <a:gd name="connsiteY0" fmla="*/ 168008 h 168008"/>
                  <a:gd name="connsiteX1" fmla="*/ 43513 w 276445"/>
                  <a:gd name="connsiteY1" fmla="*/ 167030 h 168008"/>
                  <a:gd name="connsiteX2" fmla="*/ 0 w 276445"/>
                  <a:gd name="connsiteY2" fmla="*/ 107372 h 168008"/>
                  <a:gd name="connsiteX3" fmla="*/ 260358 w 276445"/>
                  <a:gd name="connsiteY3" fmla="*/ 0 h 168008"/>
                  <a:gd name="connsiteX4" fmla="*/ 271697 w 276445"/>
                  <a:gd name="connsiteY4" fmla="*/ 4605 h 168008"/>
                  <a:gd name="connsiteX5" fmla="*/ 276445 w 276445"/>
                  <a:gd name="connsiteY5" fmla="*/ 15943 h 168008"/>
                  <a:gd name="connsiteX6" fmla="*/ 276445 w 276445"/>
                  <a:gd name="connsiteY6" fmla="*/ 78882 h 168008"/>
                  <a:gd name="connsiteX7" fmla="*/ 269855 w 276445"/>
                  <a:gd name="connsiteY7" fmla="*/ 85472 h 168008"/>
                  <a:gd name="connsiteX8" fmla="*/ 263265 w 276445"/>
                  <a:gd name="connsiteY8" fmla="*/ 78882 h 168008"/>
                  <a:gd name="connsiteX9" fmla="*/ 263265 w 276445"/>
                  <a:gd name="connsiteY9" fmla="*/ 15972 h 168008"/>
                  <a:gd name="connsiteX10" fmla="*/ 262430 w 276445"/>
                  <a:gd name="connsiteY10" fmla="*/ 13986 h 168008"/>
                  <a:gd name="connsiteX11" fmla="*/ 260473 w 276445"/>
                  <a:gd name="connsiteY11" fmla="*/ 13181 h 168008"/>
                  <a:gd name="connsiteX12" fmla="*/ 13152 w 276445"/>
                  <a:gd name="connsiteY12" fmla="*/ 107372 h 168008"/>
                  <a:gd name="connsiteX13" fmla="*/ 50362 w 276445"/>
                  <a:gd name="connsiteY13" fmla="*/ 155806 h 168008"/>
                  <a:gd name="connsiteX14" fmla="*/ 52549 w 276445"/>
                  <a:gd name="connsiteY14" fmla="*/ 164843 h 168008"/>
                  <a:gd name="connsiteX15" fmla="*/ 46938 w 276445"/>
                  <a:gd name="connsiteY15" fmla="*/ 168008 h 16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445" h="168008">
                    <a:moveTo>
                      <a:pt x="46938" y="168008"/>
                    </a:moveTo>
                    <a:cubicBezTo>
                      <a:pt x="45758" y="168008"/>
                      <a:pt x="44578" y="167692"/>
                      <a:pt x="43513" y="167030"/>
                    </a:cubicBezTo>
                    <a:cubicBezTo>
                      <a:pt x="15051" y="149619"/>
                      <a:pt x="0" y="128985"/>
                      <a:pt x="0" y="107372"/>
                    </a:cubicBezTo>
                    <a:cubicBezTo>
                      <a:pt x="0" y="48751"/>
                      <a:pt x="114365" y="1612"/>
                      <a:pt x="260358" y="0"/>
                    </a:cubicBezTo>
                    <a:cubicBezTo>
                      <a:pt x="264301" y="0"/>
                      <a:pt x="268646" y="1583"/>
                      <a:pt x="271697" y="4605"/>
                    </a:cubicBezTo>
                    <a:cubicBezTo>
                      <a:pt x="274747" y="7626"/>
                      <a:pt x="276445" y="11655"/>
                      <a:pt x="276445" y="15943"/>
                    </a:cubicBezTo>
                    <a:lnTo>
                      <a:pt x="276445" y="78882"/>
                    </a:lnTo>
                    <a:cubicBezTo>
                      <a:pt x="276445" y="82508"/>
                      <a:pt x="273510" y="85472"/>
                      <a:pt x="269855" y="85472"/>
                    </a:cubicBezTo>
                    <a:cubicBezTo>
                      <a:pt x="266200" y="85472"/>
                      <a:pt x="263265" y="82536"/>
                      <a:pt x="263265" y="78882"/>
                    </a:cubicBezTo>
                    <a:lnTo>
                      <a:pt x="263265" y="15972"/>
                    </a:lnTo>
                    <a:cubicBezTo>
                      <a:pt x="263265" y="14965"/>
                      <a:pt x="262747" y="14303"/>
                      <a:pt x="262430" y="13986"/>
                    </a:cubicBezTo>
                    <a:cubicBezTo>
                      <a:pt x="262114" y="13699"/>
                      <a:pt x="261279" y="13267"/>
                      <a:pt x="260473" y="13181"/>
                    </a:cubicBezTo>
                    <a:cubicBezTo>
                      <a:pt x="124092" y="14677"/>
                      <a:pt x="13152" y="56924"/>
                      <a:pt x="13152" y="107372"/>
                    </a:cubicBezTo>
                    <a:cubicBezTo>
                      <a:pt x="13152" y="128582"/>
                      <a:pt x="33383" y="145417"/>
                      <a:pt x="50362" y="155806"/>
                    </a:cubicBezTo>
                    <a:cubicBezTo>
                      <a:pt x="53470" y="157706"/>
                      <a:pt x="54449" y="161763"/>
                      <a:pt x="52549" y="164843"/>
                    </a:cubicBezTo>
                    <a:cubicBezTo>
                      <a:pt x="51341" y="166886"/>
                      <a:pt x="49153" y="168008"/>
                      <a:pt x="46938" y="168008"/>
                    </a:cubicBezTo>
                    <a:close/>
                  </a:path>
                </a:pathLst>
              </a:custGeom>
              <a:solidFill>
                <a:schemeClr val="accent1"/>
              </a:solidFill>
              <a:ln w="2874" cap="flat">
                <a:noFill/>
                <a:prstDash val="solid"/>
                <a:miter/>
              </a:ln>
            </p:spPr>
            <p:txBody>
              <a:bodyPr rtlCol="0" anchor="ctr"/>
              <a:lstStyle/>
              <a:p>
                <a:endParaRPr lang="en-GB" dirty="0"/>
              </a:p>
            </p:txBody>
          </p:sp>
          <p:sp>
            <p:nvSpPr>
              <p:cNvPr id="475" name="Freihandform: Form 228">
                <a:extLst>
                  <a:ext uri="{FF2B5EF4-FFF2-40B4-BE49-F238E27FC236}">
                    <a16:creationId xmlns:a16="http://schemas.microsoft.com/office/drawing/2014/main" id="{4C54E87B-D145-4258-8398-3A257F5BBC71}"/>
                  </a:ext>
                </a:extLst>
              </p:cNvPr>
              <p:cNvSpPr/>
              <p:nvPr/>
            </p:nvSpPr>
            <p:spPr>
              <a:xfrm>
                <a:off x="1128442" y="1975204"/>
                <a:ext cx="122567" cy="13295"/>
              </a:xfrm>
              <a:custGeom>
                <a:avLst/>
                <a:gdLst>
                  <a:gd name="connsiteX0" fmla="*/ 116006 w 122567"/>
                  <a:gd name="connsiteY0" fmla="*/ 13296 h 13295"/>
                  <a:gd name="connsiteX1" fmla="*/ 116006 w 122567"/>
                  <a:gd name="connsiteY1" fmla="*/ 13296 h 13295"/>
                  <a:gd name="connsiteX2" fmla="*/ 6562 w 122567"/>
                  <a:gd name="connsiteY2" fmla="*/ 13152 h 13295"/>
                  <a:gd name="connsiteX3" fmla="*/ 0 w 122567"/>
                  <a:gd name="connsiteY3" fmla="*/ 6561 h 13295"/>
                  <a:gd name="connsiteX4" fmla="*/ 6590 w 122567"/>
                  <a:gd name="connsiteY4" fmla="*/ 0 h 13295"/>
                  <a:gd name="connsiteX5" fmla="*/ 6590 w 122567"/>
                  <a:gd name="connsiteY5" fmla="*/ 0 h 13295"/>
                  <a:gd name="connsiteX6" fmla="*/ 116006 w 122567"/>
                  <a:gd name="connsiteY6" fmla="*/ 144 h 13295"/>
                  <a:gd name="connsiteX7" fmla="*/ 122567 w 122567"/>
                  <a:gd name="connsiteY7" fmla="*/ 6734 h 13295"/>
                  <a:gd name="connsiteX8" fmla="*/ 116006 w 122567"/>
                  <a:gd name="connsiteY8" fmla="*/ 13296 h 1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567" h="13295">
                    <a:moveTo>
                      <a:pt x="116006" y="13296"/>
                    </a:moveTo>
                    <a:cubicBezTo>
                      <a:pt x="116006" y="13296"/>
                      <a:pt x="115977" y="13296"/>
                      <a:pt x="116006" y="13296"/>
                    </a:cubicBezTo>
                    <a:lnTo>
                      <a:pt x="6562" y="13152"/>
                    </a:lnTo>
                    <a:cubicBezTo>
                      <a:pt x="2936" y="13152"/>
                      <a:pt x="-29" y="10188"/>
                      <a:pt x="0" y="6561"/>
                    </a:cubicBezTo>
                    <a:cubicBezTo>
                      <a:pt x="0" y="2935"/>
                      <a:pt x="2964" y="0"/>
                      <a:pt x="6590" y="0"/>
                    </a:cubicBezTo>
                    <a:cubicBezTo>
                      <a:pt x="6590" y="0"/>
                      <a:pt x="6590" y="0"/>
                      <a:pt x="6590" y="0"/>
                    </a:cubicBezTo>
                    <a:lnTo>
                      <a:pt x="116006" y="144"/>
                    </a:lnTo>
                    <a:cubicBezTo>
                      <a:pt x="119632" y="144"/>
                      <a:pt x="122596" y="3108"/>
                      <a:pt x="122567" y="6734"/>
                    </a:cubicBezTo>
                    <a:cubicBezTo>
                      <a:pt x="122567" y="10331"/>
                      <a:pt x="119632" y="13296"/>
                      <a:pt x="116006" y="13296"/>
                    </a:cubicBezTo>
                    <a:close/>
                  </a:path>
                </a:pathLst>
              </a:custGeom>
              <a:solidFill>
                <a:schemeClr val="accent1"/>
              </a:solidFill>
              <a:ln w="2874" cap="flat">
                <a:noFill/>
                <a:prstDash val="solid"/>
                <a:miter/>
              </a:ln>
            </p:spPr>
            <p:txBody>
              <a:bodyPr rtlCol="0" anchor="ctr"/>
              <a:lstStyle/>
              <a:p>
                <a:endParaRPr lang="en-GB" dirty="0"/>
              </a:p>
            </p:txBody>
          </p:sp>
          <p:sp>
            <p:nvSpPr>
              <p:cNvPr id="476" name="Freihandform: Form 229">
                <a:extLst>
                  <a:ext uri="{FF2B5EF4-FFF2-40B4-BE49-F238E27FC236}">
                    <a16:creationId xmlns:a16="http://schemas.microsoft.com/office/drawing/2014/main" id="{98436E7F-55CA-45EE-B1DE-C53A32E1A048}"/>
                  </a:ext>
                </a:extLst>
              </p:cNvPr>
              <p:cNvSpPr/>
              <p:nvPr/>
            </p:nvSpPr>
            <p:spPr>
              <a:xfrm>
                <a:off x="1306177" y="1975492"/>
                <a:ext cx="63612" cy="66880"/>
              </a:xfrm>
              <a:custGeom>
                <a:avLst/>
                <a:gdLst>
                  <a:gd name="connsiteX0" fmla="*/ 17958 w 63612"/>
                  <a:gd name="connsiteY0" fmla="*/ 66881 h 66880"/>
                  <a:gd name="connsiteX1" fmla="*/ 12317 w 63612"/>
                  <a:gd name="connsiteY1" fmla="*/ 63715 h 66880"/>
                  <a:gd name="connsiteX2" fmla="*/ 14533 w 63612"/>
                  <a:gd name="connsiteY2" fmla="*/ 54679 h 66880"/>
                  <a:gd name="connsiteX3" fmla="*/ 50334 w 63612"/>
                  <a:gd name="connsiteY3" fmla="*/ 16432 h 66880"/>
                  <a:gd name="connsiteX4" fmla="*/ 49931 w 63612"/>
                  <a:gd name="connsiteY4" fmla="*/ 14360 h 66880"/>
                  <a:gd name="connsiteX5" fmla="*/ 47600 w 63612"/>
                  <a:gd name="connsiteY5" fmla="*/ 13181 h 66880"/>
                  <a:gd name="connsiteX6" fmla="*/ 6562 w 63612"/>
                  <a:gd name="connsiteY6" fmla="*/ 13152 h 66880"/>
                  <a:gd name="connsiteX7" fmla="*/ 0 w 63612"/>
                  <a:gd name="connsiteY7" fmla="*/ 6561 h 66880"/>
                  <a:gd name="connsiteX8" fmla="*/ 6590 w 63612"/>
                  <a:gd name="connsiteY8" fmla="*/ 0 h 66880"/>
                  <a:gd name="connsiteX9" fmla="*/ 6590 w 63612"/>
                  <a:gd name="connsiteY9" fmla="*/ 0 h 66880"/>
                  <a:gd name="connsiteX10" fmla="*/ 47628 w 63612"/>
                  <a:gd name="connsiteY10" fmla="*/ 29 h 66880"/>
                  <a:gd name="connsiteX11" fmla="*/ 60521 w 63612"/>
                  <a:gd name="connsiteY11" fmla="*/ 6533 h 66880"/>
                  <a:gd name="connsiteX12" fmla="*/ 62939 w 63612"/>
                  <a:gd name="connsiteY12" fmla="*/ 20260 h 66880"/>
                  <a:gd name="connsiteX13" fmla="*/ 21383 w 63612"/>
                  <a:gd name="connsiteY13" fmla="*/ 65960 h 66880"/>
                  <a:gd name="connsiteX14" fmla="*/ 17958 w 63612"/>
                  <a:gd name="connsiteY14" fmla="*/ 66881 h 6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612" h="66880">
                    <a:moveTo>
                      <a:pt x="17958" y="66881"/>
                    </a:moveTo>
                    <a:cubicBezTo>
                      <a:pt x="15742" y="66881"/>
                      <a:pt x="13555" y="65759"/>
                      <a:pt x="12317" y="63715"/>
                    </a:cubicBezTo>
                    <a:cubicBezTo>
                      <a:pt x="10418" y="60607"/>
                      <a:pt x="11425" y="56550"/>
                      <a:pt x="14533" y="54679"/>
                    </a:cubicBezTo>
                    <a:cubicBezTo>
                      <a:pt x="33930" y="42909"/>
                      <a:pt x="46305" y="29671"/>
                      <a:pt x="50334" y="16432"/>
                    </a:cubicBezTo>
                    <a:cubicBezTo>
                      <a:pt x="50593" y="15540"/>
                      <a:pt x="50276" y="14821"/>
                      <a:pt x="49931" y="14360"/>
                    </a:cubicBezTo>
                    <a:cubicBezTo>
                      <a:pt x="49384" y="13612"/>
                      <a:pt x="48521" y="13181"/>
                      <a:pt x="47600" y="13181"/>
                    </a:cubicBezTo>
                    <a:lnTo>
                      <a:pt x="6562" y="13152"/>
                    </a:lnTo>
                    <a:cubicBezTo>
                      <a:pt x="2936" y="13152"/>
                      <a:pt x="-29" y="10188"/>
                      <a:pt x="0" y="6561"/>
                    </a:cubicBezTo>
                    <a:cubicBezTo>
                      <a:pt x="0" y="2935"/>
                      <a:pt x="2964" y="0"/>
                      <a:pt x="6590" y="0"/>
                    </a:cubicBezTo>
                    <a:cubicBezTo>
                      <a:pt x="6590" y="0"/>
                      <a:pt x="6590" y="0"/>
                      <a:pt x="6590" y="0"/>
                    </a:cubicBezTo>
                    <a:lnTo>
                      <a:pt x="47628" y="29"/>
                    </a:lnTo>
                    <a:cubicBezTo>
                      <a:pt x="52693" y="29"/>
                      <a:pt x="57499" y="2475"/>
                      <a:pt x="60521" y="6533"/>
                    </a:cubicBezTo>
                    <a:cubicBezTo>
                      <a:pt x="63485" y="10533"/>
                      <a:pt x="64377" y="15540"/>
                      <a:pt x="62939" y="20260"/>
                    </a:cubicBezTo>
                    <a:cubicBezTo>
                      <a:pt x="57902" y="36894"/>
                      <a:pt x="43916" y="52262"/>
                      <a:pt x="21383" y="65960"/>
                    </a:cubicBezTo>
                    <a:cubicBezTo>
                      <a:pt x="20289" y="66564"/>
                      <a:pt x="19109" y="66881"/>
                      <a:pt x="17958" y="66881"/>
                    </a:cubicBezTo>
                    <a:close/>
                  </a:path>
                </a:pathLst>
              </a:custGeom>
              <a:solidFill>
                <a:schemeClr val="accent1"/>
              </a:solidFill>
              <a:ln w="2874" cap="flat">
                <a:noFill/>
                <a:prstDash val="solid"/>
                <a:miter/>
              </a:ln>
            </p:spPr>
            <p:txBody>
              <a:bodyPr rtlCol="0" anchor="ctr"/>
              <a:lstStyle/>
              <a:p>
                <a:endParaRPr lang="en-GB" dirty="0"/>
              </a:p>
            </p:txBody>
          </p:sp>
          <p:sp>
            <p:nvSpPr>
              <p:cNvPr id="477" name="Freihandform: Form 230">
                <a:extLst>
                  <a:ext uri="{FF2B5EF4-FFF2-40B4-BE49-F238E27FC236}">
                    <a16:creationId xmlns:a16="http://schemas.microsoft.com/office/drawing/2014/main" id="{AA508042-F9FD-4822-8F3D-201AC10BAD61}"/>
                  </a:ext>
                </a:extLst>
              </p:cNvPr>
              <p:cNvSpPr/>
              <p:nvPr/>
            </p:nvSpPr>
            <p:spPr>
              <a:xfrm>
                <a:off x="1123204" y="1867537"/>
                <a:ext cx="263305" cy="90486"/>
              </a:xfrm>
              <a:custGeom>
                <a:avLst/>
                <a:gdLst>
                  <a:gd name="connsiteX0" fmla="*/ 13037 w 263305"/>
                  <a:gd name="connsiteY0" fmla="*/ 90486 h 90486"/>
                  <a:gd name="connsiteX1" fmla="*/ 3828 w 263305"/>
                  <a:gd name="connsiteY1" fmla="*/ 86687 h 90486"/>
                  <a:gd name="connsiteX2" fmla="*/ 0 w 263305"/>
                  <a:gd name="connsiteY2" fmla="*/ 77478 h 90486"/>
                  <a:gd name="connsiteX3" fmla="*/ 0 w 263305"/>
                  <a:gd name="connsiteY3" fmla="*/ 13072 h 90486"/>
                  <a:gd name="connsiteX4" fmla="*/ 3971 w 263305"/>
                  <a:gd name="connsiteY4" fmla="*/ 3690 h 90486"/>
                  <a:gd name="connsiteX5" fmla="*/ 13468 w 263305"/>
                  <a:gd name="connsiteY5" fmla="*/ 7 h 90486"/>
                  <a:gd name="connsiteX6" fmla="*/ 260444 w 263305"/>
                  <a:gd name="connsiteY6" fmla="*/ 69161 h 90486"/>
                  <a:gd name="connsiteX7" fmla="*/ 262027 w 263305"/>
                  <a:gd name="connsiteY7" fmla="*/ 82860 h 90486"/>
                  <a:gd name="connsiteX8" fmla="*/ 250228 w 263305"/>
                  <a:gd name="connsiteY8" fmla="*/ 90313 h 90486"/>
                  <a:gd name="connsiteX9" fmla="*/ 250199 w 263305"/>
                  <a:gd name="connsiteY9" fmla="*/ 90313 h 90486"/>
                  <a:gd name="connsiteX10" fmla="*/ 196873 w 263305"/>
                  <a:gd name="connsiteY10" fmla="*/ 90198 h 90486"/>
                  <a:gd name="connsiteX11" fmla="*/ 190311 w 263305"/>
                  <a:gd name="connsiteY11" fmla="*/ 83608 h 90486"/>
                  <a:gd name="connsiteX12" fmla="*/ 196902 w 263305"/>
                  <a:gd name="connsiteY12" fmla="*/ 77047 h 90486"/>
                  <a:gd name="connsiteX13" fmla="*/ 196902 w 263305"/>
                  <a:gd name="connsiteY13" fmla="*/ 77047 h 90486"/>
                  <a:gd name="connsiteX14" fmla="*/ 250228 w 263305"/>
                  <a:gd name="connsiteY14" fmla="*/ 77162 h 90486"/>
                  <a:gd name="connsiteX15" fmla="*/ 13065 w 263305"/>
                  <a:gd name="connsiteY15" fmla="*/ 13187 h 90486"/>
                  <a:gd name="connsiteX16" fmla="*/ 13181 w 263305"/>
                  <a:gd name="connsiteY16" fmla="*/ 77478 h 90486"/>
                  <a:gd name="connsiteX17" fmla="*/ 117099 w 263305"/>
                  <a:gd name="connsiteY17" fmla="*/ 76989 h 90486"/>
                  <a:gd name="connsiteX18" fmla="*/ 117128 w 263305"/>
                  <a:gd name="connsiteY18" fmla="*/ 76989 h 90486"/>
                  <a:gd name="connsiteX19" fmla="*/ 123718 w 263305"/>
                  <a:gd name="connsiteY19" fmla="*/ 83550 h 90486"/>
                  <a:gd name="connsiteX20" fmla="*/ 117157 w 263305"/>
                  <a:gd name="connsiteY20" fmla="*/ 90141 h 90486"/>
                  <a:gd name="connsiteX21" fmla="*/ 13094 w 263305"/>
                  <a:gd name="connsiteY21" fmla="*/ 90486 h 90486"/>
                  <a:gd name="connsiteX22" fmla="*/ 13037 w 263305"/>
                  <a:gd name="connsiteY22" fmla="*/ 90486 h 904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3305" h="90486">
                    <a:moveTo>
                      <a:pt x="13037" y="90486"/>
                    </a:moveTo>
                    <a:cubicBezTo>
                      <a:pt x="9554" y="90486"/>
                      <a:pt x="6302" y="89133"/>
                      <a:pt x="3828" y="86687"/>
                    </a:cubicBezTo>
                    <a:cubicBezTo>
                      <a:pt x="1353" y="84212"/>
                      <a:pt x="0" y="80960"/>
                      <a:pt x="0" y="77478"/>
                    </a:cubicBezTo>
                    <a:lnTo>
                      <a:pt x="0" y="13072"/>
                    </a:lnTo>
                    <a:cubicBezTo>
                      <a:pt x="0" y="9561"/>
                      <a:pt x="1439" y="6165"/>
                      <a:pt x="3971" y="3690"/>
                    </a:cubicBezTo>
                    <a:cubicBezTo>
                      <a:pt x="6504" y="1244"/>
                      <a:pt x="9986" y="-108"/>
                      <a:pt x="13468" y="7"/>
                    </a:cubicBezTo>
                    <a:cubicBezTo>
                      <a:pt x="142424" y="4266"/>
                      <a:pt x="235321" y="38023"/>
                      <a:pt x="260444" y="69161"/>
                    </a:cubicBezTo>
                    <a:cubicBezTo>
                      <a:pt x="263581" y="73046"/>
                      <a:pt x="264186" y="78313"/>
                      <a:pt x="262027" y="82860"/>
                    </a:cubicBezTo>
                    <a:cubicBezTo>
                      <a:pt x="259811" y="87464"/>
                      <a:pt x="255293" y="90313"/>
                      <a:pt x="250228" y="90313"/>
                    </a:cubicBezTo>
                    <a:cubicBezTo>
                      <a:pt x="250228" y="90313"/>
                      <a:pt x="250199" y="90313"/>
                      <a:pt x="250199" y="90313"/>
                    </a:cubicBezTo>
                    <a:lnTo>
                      <a:pt x="196873" y="90198"/>
                    </a:lnTo>
                    <a:cubicBezTo>
                      <a:pt x="193247" y="90198"/>
                      <a:pt x="190283" y="87234"/>
                      <a:pt x="190311" y="83608"/>
                    </a:cubicBezTo>
                    <a:cubicBezTo>
                      <a:pt x="190311" y="79982"/>
                      <a:pt x="193276" y="77047"/>
                      <a:pt x="196902" y="77047"/>
                    </a:cubicBezTo>
                    <a:lnTo>
                      <a:pt x="196902" y="77047"/>
                    </a:lnTo>
                    <a:lnTo>
                      <a:pt x="250228" y="77162"/>
                    </a:lnTo>
                    <a:cubicBezTo>
                      <a:pt x="227522" y="49333"/>
                      <a:pt x="136697" y="17274"/>
                      <a:pt x="13065" y="13187"/>
                    </a:cubicBezTo>
                    <a:lnTo>
                      <a:pt x="13181" y="77478"/>
                    </a:lnTo>
                    <a:lnTo>
                      <a:pt x="117099" y="76989"/>
                    </a:lnTo>
                    <a:cubicBezTo>
                      <a:pt x="117099" y="76989"/>
                      <a:pt x="117128" y="76989"/>
                      <a:pt x="117128" y="76989"/>
                    </a:cubicBezTo>
                    <a:cubicBezTo>
                      <a:pt x="120754" y="76989"/>
                      <a:pt x="123689" y="79924"/>
                      <a:pt x="123718" y="83550"/>
                    </a:cubicBezTo>
                    <a:cubicBezTo>
                      <a:pt x="123718" y="87177"/>
                      <a:pt x="120783" y="90141"/>
                      <a:pt x="117157" y="90141"/>
                    </a:cubicBezTo>
                    <a:lnTo>
                      <a:pt x="13094" y="90486"/>
                    </a:lnTo>
                    <a:cubicBezTo>
                      <a:pt x="13065" y="90486"/>
                      <a:pt x="13065" y="90486"/>
                      <a:pt x="13037" y="90486"/>
                    </a:cubicBezTo>
                    <a:close/>
                  </a:path>
                </a:pathLst>
              </a:custGeom>
              <a:solidFill>
                <a:schemeClr val="accent1"/>
              </a:solidFill>
              <a:ln w="2874" cap="flat">
                <a:noFill/>
                <a:prstDash val="solid"/>
                <a:miter/>
              </a:ln>
            </p:spPr>
            <p:txBody>
              <a:bodyPr rtlCol="0" anchor="ctr"/>
              <a:lstStyle/>
              <a:p>
                <a:endParaRPr lang="en-GB" dirty="0"/>
              </a:p>
            </p:txBody>
          </p:sp>
        </p:grpSp>
        <p:grpSp>
          <p:nvGrpSpPr>
            <p:cNvPr id="451" name="Group 450">
              <a:extLst>
                <a:ext uri="{FF2B5EF4-FFF2-40B4-BE49-F238E27FC236}">
                  <a16:creationId xmlns:a16="http://schemas.microsoft.com/office/drawing/2014/main" id="{9723DFA8-C159-4AF3-A32E-F5B72EC01DAB}"/>
                </a:ext>
              </a:extLst>
            </p:cNvPr>
            <p:cNvGrpSpPr/>
            <p:nvPr/>
          </p:nvGrpSpPr>
          <p:grpSpPr>
            <a:xfrm>
              <a:off x="4969970" y="2391526"/>
              <a:ext cx="472262" cy="432000"/>
              <a:chOff x="831422" y="1631216"/>
              <a:chExt cx="539647" cy="493640"/>
            </a:xfrm>
            <a:solidFill>
              <a:schemeClr val="tx2"/>
            </a:solidFill>
          </p:grpSpPr>
          <p:grpSp>
            <p:nvGrpSpPr>
              <p:cNvPr id="452" name="Grafik 222">
                <a:extLst>
                  <a:ext uri="{FF2B5EF4-FFF2-40B4-BE49-F238E27FC236}">
                    <a16:creationId xmlns:a16="http://schemas.microsoft.com/office/drawing/2014/main" id="{1495F966-EBD0-44D0-A883-ED31309F57F3}"/>
                  </a:ext>
                </a:extLst>
              </p:cNvPr>
              <p:cNvGrpSpPr/>
              <p:nvPr/>
            </p:nvGrpSpPr>
            <p:grpSpPr>
              <a:xfrm>
                <a:off x="837953" y="1631216"/>
                <a:ext cx="526501" cy="283006"/>
                <a:chOff x="837953" y="1631216"/>
                <a:chExt cx="526501" cy="283006"/>
              </a:xfrm>
              <a:grpFill/>
            </p:grpSpPr>
            <p:sp>
              <p:nvSpPr>
                <p:cNvPr id="461" name="Freihandform: Form 213">
                  <a:extLst>
                    <a:ext uri="{FF2B5EF4-FFF2-40B4-BE49-F238E27FC236}">
                      <a16:creationId xmlns:a16="http://schemas.microsoft.com/office/drawing/2014/main" id="{4270FF4E-43A2-4303-AEFC-56F8E84E560B}"/>
                    </a:ext>
                  </a:extLst>
                </p:cNvPr>
                <p:cNvSpPr/>
                <p:nvPr/>
              </p:nvSpPr>
              <p:spPr>
                <a:xfrm>
                  <a:off x="1180157" y="1762820"/>
                  <a:ext cx="184297" cy="138251"/>
                </a:xfrm>
                <a:custGeom>
                  <a:avLst/>
                  <a:gdLst>
                    <a:gd name="connsiteX0" fmla="*/ 177764 w 184297"/>
                    <a:gd name="connsiteY0" fmla="*/ 138251 h 138251"/>
                    <a:gd name="connsiteX1" fmla="*/ 171174 w 184297"/>
                    <a:gd name="connsiteY1" fmla="*/ 131661 h 138251"/>
                    <a:gd name="connsiteX2" fmla="*/ 171174 w 184297"/>
                    <a:gd name="connsiteY2" fmla="*/ 77011 h 138251"/>
                    <a:gd name="connsiteX3" fmla="*/ 112783 w 184297"/>
                    <a:gd name="connsiteY3" fmla="*/ 13181 h 138251"/>
                    <a:gd name="connsiteX4" fmla="*/ 71572 w 184297"/>
                    <a:gd name="connsiteY4" fmla="*/ 13181 h 138251"/>
                    <a:gd name="connsiteX5" fmla="*/ 13181 w 184297"/>
                    <a:gd name="connsiteY5" fmla="*/ 70421 h 138251"/>
                    <a:gd name="connsiteX6" fmla="*/ 13181 w 184297"/>
                    <a:gd name="connsiteY6" fmla="*/ 92148 h 138251"/>
                    <a:gd name="connsiteX7" fmla="*/ 6590 w 184297"/>
                    <a:gd name="connsiteY7" fmla="*/ 98739 h 138251"/>
                    <a:gd name="connsiteX8" fmla="*/ 0 w 184297"/>
                    <a:gd name="connsiteY8" fmla="*/ 92148 h 138251"/>
                    <a:gd name="connsiteX9" fmla="*/ 0 w 184297"/>
                    <a:gd name="connsiteY9" fmla="*/ 70421 h 138251"/>
                    <a:gd name="connsiteX10" fmla="*/ 71543 w 184297"/>
                    <a:gd name="connsiteY10" fmla="*/ 0 h 138251"/>
                    <a:gd name="connsiteX11" fmla="*/ 112754 w 184297"/>
                    <a:gd name="connsiteY11" fmla="*/ 0 h 138251"/>
                    <a:gd name="connsiteX12" fmla="*/ 184297 w 184297"/>
                    <a:gd name="connsiteY12" fmla="*/ 76982 h 138251"/>
                    <a:gd name="connsiteX13" fmla="*/ 184297 w 184297"/>
                    <a:gd name="connsiteY13" fmla="*/ 131632 h 138251"/>
                    <a:gd name="connsiteX14" fmla="*/ 177764 w 184297"/>
                    <a:gd name="connsiteY14" fmla="*/ 138251 h 138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4297" h="138251">
                      <a:moveTo>
                        <a:pt x="177764" y="138251"/>
                      </a:moveTo>
                      <a:cubicBezTo>
                        <a:pt x="174138" y="138251"/>
                        <a:pt x="171174" y="135316"/>
                        <a:pt x="171174" y="131661"/>
                      </a:cubicBezTo>
                      <a:lnTo>
                        <a:pt x="171174" y="77011"/>
                      </a:lnTo>
                      <a:cubicBezTo>
                        <a:pt x="171174" y="40031"/>
                        <a:pt x="146626" y="13181"/>
                        <a:pt x="112783" y="13181"/>
                      </a:cubicBezTo>
                      <a:lnTo>
                        <a:pt x="71572" y="13181"/>
                      </a:lnTo>
                      <a:cubicBezTo>
                        <a:pt x="39369" y="13181"/>
                        <a:pt x="13181" y="38851"/>
                        <a:pt x="13181" y="70421"/>
                      </a:cubicBezTo>
                      <a:lnTo>
                        <a:pt x="13181" y="92148"/>
                      </a:lnTo>
                      <a:cubicBezTo>
                        <a:pt x="13181" y="95774"/>
                        <a:pt x="10245" y="98739"/>
                        <a:pt x="6590" y="98739"/>
                      </a:cubicBezTo>
                      <a:cubicBezTo>
                        <a:pt x="2964" y="98739"/>
                        <a:pt x="0" y="95803"/>
                        <a:pt x="0" y="92148"/>
                      </a:cubicBezTo>
                      <a:lnTo>
                        <a:pt x="0" y="70421"/>
                      </a:lnTo>
                      <a:cubicBezTo>
                        <a:pt x="0" y="31599"/>
                        <a:pt x="32088" y="0"/>
                        <a:pt x="71543" y="0"/>
                      </a:cubicBezTo>
                      <a:lnTo>
                        <a:pt x="112754" y="0"/>
                      </a:lnTo>
                      <a:cubicBezTo>
                        <a:pt x="153533" y="0"/>
                        <a:pt x="184297" y="33095"/>
                        <a:pt x="184297" y="76982"/>
                      </a:cubicBezTo>
                      <a:lnTo>
                        <a:pt x="184297" y="131632"/>
                      </a:lnTo>
                      <a:cubicBezTo>
                        <a:pt x="184354" y="135287"/>
                        <a:pt x="181390" y="138251"/>
                        <a:pt x="177764" y="138251"/>
                      </a:cubicBezTo>
                      <a:close/>
                    </a:path>
                  </a:pathLst>
                </a:custGeom>
                <a:grpFill/>
                <a:ln w="2874" cap="flat">
                  <a:noFill/>
                  <a:prstDash val="solid"/>
                  <a:miter/>
                </a:ln>
              </p:spPr>
              <p:txBody>
                <a:bodyPr rtlCol="0" anchor="ctr"/>
                <a:lstStyle/>
                <a:p>
                  <a:endParaRPr lang="en-GB" dirty="0"/>
                </a:p>
              </p:txBody>
            </p:sp>
            <p:sp>
              <p:nvSpPr>
                <p:cNvPr id="462" name="Freihandform: Form 214">
                  <a:extLst>
                    <a:ext uri="{FF2B5EF4-FFF2-40B4-BE49-F238E27FC236}">
                      <a16:creationId xmlns:a16="http://schemas.microsoft.com/office/drawing/2014/main" id="{6A9049B5-09E0-40C6-B69D-8FE0F6A0615A}"/>
                    </a:ext>
                  </a:extLst>
                </p:cNvPr>
                <p:cNvSpPr/>
                <p:nvPr/>
              </p:nvSpPr>
              <p:spPr>
                <a:xfrm>
                  <a:off x="1318437" y="1828664"/>
                  <a:ext cx="19770" cy="59225"/>
                </a:xfrm>
                <a:custGeom>
                  <a:avLst/>
                  <a:gdLst>
                    <a:gd name="connsiteX0" fmla="*/ 6590 w 19770"/>
                    <a:gd name="connsiteY0" fmla="*/ 59226 h 59225"/>
                    <a:gd name="connsiteX1" fmla="*/ 0 w 19770"/>
                    <a:gd name="connsiteY1" fmla="*/ 52636 h 59225"/>
                    <a:gd name="connsiteX2" fmla="*/ 0 w 19770"/>
                    <a:gd name="connsiteY2" fmla="*/ 6590 h 59225"/>
                    <a:gd name="connsiteX3" fmla="*/ 6590 w 19770"/>
                    <a:gd name="connsiteY3" fmla="*/ 0 h 59225"/>
                    <a:gd name="connsiteX4" fmla="*/ 13181 w 19770"/>
                    <a:gd name="connsiteY4" fmla="*/ 0 h 59225"/>
                    <a:gd name="connsiteX5" fmla="*/ 19771 w 19770"/>
                    <a:gd name="connsiteY5" fmla="*/ 6590 h 59225"/>
                    <a:gd name="connsiteX6" fmla="*/ 13181 w 19770"/>
                    <a:gd name="connsiteY6" fmla="*/ 13181 h 59225"/>
                    <a:gd name="connsiteX7" fmla="*/ 13181 w 19770"/>
                    <a:gd name="connsiteY7" fmla="*/ 52664 h 59225"/>
                    <a:gd name="connsiteX8" fmla="*/ 6590 w 19770"/>
                    <a:gd name="connsiteY8" fmla="*/ 59226 h 5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70" h="59225">
                      <a:moveTo>
                        <a:pt x="6590" y="59226"/>
                      </a:moveTo>
                      <a:cubicBezTo>
                        <a:pt x="2964" y="59226"/>
                        <a:pt x="0" y="56291"/>
                        <a:pt x="0" y="52636"/>
                      </a:cubicBezTo>
                      <a:lnTo>
                        <a:pt x="0" y="6590"/>
                      </a:lnTo>
                      <a:cubicBezTo>
                        <a:pt x="0" y="2964"/>
                        <a:pt x="2935" y="0"/>
                        <a:pt x="6590" y="0"/>
                      </a:cubicBezTo>
                      <a:lnTo>
                        <a:pt x="13181" y="0"/>
                      </a:lnTo>
                      <a:cubicBezTo>
                        <a:pt x="16807" y="0"/>
                        <a:pt x="19771" y="2935"/>
                        <a:pt x="19771" y="6590"/>
                      </a:cubicBezTo>
                      <a:cubicBezTo>
                        <a:pt x="19771" y="10216"/>
                        <a:pt x="16835" y="13181"/>
                        <a:pt x="13181" y="13181"/>
                      </a:cubicBezTo>
                      <a:lnTo>
                        <a:pt x="13181" y="52664"/>
                      </a:lnTo>
                      <a:cubicBezTo>
                        <a:pt x="13152" y="56291"/>
                        <a:pt x="10216" y="59226"/>
                        <a:pt x="6590" y="59226"/>
                      </a:cubicBezTo>
                      <a:close/>
                    </a:path>
                  </a:pathLst>
                </a:custGeom>
                <a:grpFill/>
                <a:ln w="2874" cap="flat">
                  <a:noFill/>
                  <a:prstDash val="solid"/>
                  <a:miter/>
                </a:ln>
              </p:spPr>
              <p:txBody>
                <a:bodyPr rtlCol="0" anchor="ctr"/>
                <a:lstStyle/>
                <a:p>
                  <a:endParaRPr lang="en-GB" dirty="0"/>
                </a:p>
              </p:txBody>
            </p:sp>
            <p:sp>
              <p:nvSpPr>
                <p:cNvPr id="463" name="Freihandform: Form 215">
                  <a:extLst>
                    <a:ext uri="{FF2B5EF4-FFF2-40B4-BE49-F238E27FC236}">
                      <a16:creationId xmlns:a16="http://schemas.microsoft.com/office/drawing/2014/main" id="{F527AD0A-EA76-4199-935A-EE05380FF514}"/>
                    </a:ext>
                  </a:extLst>
                </p:cNvPr>
                <p:cNvSpPr/>
                <p:nvPr/>
              </p:nvSpPr>
              <p:spPr>
                <a:xfrm>
                  <a:off x="1206518" y="1828636"/>
                  <a:ext cx="19770" cy="36491"/>
                </a:xfrm>
                <a:custGeom>
                  <a:avLst/>
                  <a:gdLst>
                    <a:gd name="connsiteX0" fmla="*/ 13181 w 19770"/>
                    <a:gd name="connsiteY0" fmla="*/ 36491 h 36491"/>
                    <a:gd name="connsiteX1" fmla="*/ 6590 w 19770"/>
                    <a:gd name="connsiteY1" fmla="*/ 29901 h 36491"/>
                    <a:gd name="connsiteX2" fmla="*/ 6590 w 19770"/>
                    <a:gd name="connsiteY2" fmla="*/ 13180 h 36491"/>
                    <a:gd name="connsiteX3" fmla="*/ 0 w 19770"/>
                    <a:gd name="connsiteY3" fmla="*/ 6590 h 36491"/>
                    <a:gd name="connsiteX4" fmla="*/ 6590 w 19770"/>
                    <a:gd name="connsiteY4" fmla="*/ 0 h 36491"/>
                    <a:gd name="connsiteX5" fmla="*/ 13181 w 19770"/>
                    <a:gd name="connsiteY5" fmla="*/ 0 h 36491"/>
                    <a:gd name="connsiteX6" fmla="*/ 19771 w 19770"/>
                    <a:gd name="connsiteY6" fmla="*/ 6590 h 36491"/>
                    <a:gd name="connsiteX7" fmla="*/ 19771 w 19770"/>
                    <a:gd name="connsiteY7" fmla="*/ 29901 h 36491"/>
                    <a:gd name="connsiteX8" fmla="*/ 13181 w 19770"/>
                    <a:gd name="connsiteY8" fmla="*/ 36491 h 3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70" h="36491">
                      <a:moveTo>
                        <a:pt x="13181" y="36491"/>
                      </a:moveTo>
                      <a:cubicBezTo>
                        <a:pt x="9554" y="36491"/>
                        <a:pt x="6590" y="33556"/>
                        <a:pt x="6590" y="29901"/>
                      </a:cubicBezTo>
                      <a:lnTo>
                        <a:pt x="6590" y="13180"/>
                      </a:lnTo>
                      <a:cubicBezTo>
                        <a:pt x="2964" y="13180"/>
                        <a:pt x="0" y="10245"/>
                        <a:pt x="0" y="6590"/>
                      </a:cubicBezTo>
                      <a:cubicBezTo>
                        <a:pt x="0" y="2964"/>
                        <a:pt x="2935" y="0"/>
                        <a:pt x="6590" y="0"/>
                      </a:cubicBezTo>
                      <a:lnTo>
                        <a:pt x="13181" y="0"/>
                      </a:lnTo>
                      <a:cubicBezTo>
                        <a:pt x="16807" y="0"/>
                        <a:pt x="19771" y="2935"/>
                        <a:pt x="19771" y="6590"/>
                      </a:cubicBezTo>
                      <a:lnTo>
                        <a:pt x="19771" y="29901"/>
                      </a:lnTo>
                      <a:cubicBezTo>
                        <a:pt x="19771" y="33556"/>
                        <a:pt x="16835" y="36491"/>
                        <a:pt x="13181" y="36491"/>
                      </a:cubicBezTo>
                      <a:close/>
                    </a:path>
                  </a:pathLst>
                </a:custGeom>
                <a:grpFill/>
                <a:ln w="2874" cap="flat">
                  <a:noFill/>
                  <a:prstDash val="solid"/>
                  <a:miter/>
                </a:ln>
              </p:spPr>
              <p:txBody>
                <a:bodyPr rtlCol="0" anchor="ctr"/>
                <a:lstStyle/>
                <a:p>
                  <a:endParaRPr lang="en-GB" dirty="0"/>
                </a:p>
              </p:txBody>
            </p:sp>
            <p:sp>
              <p:nvSpPr>
                <p:cNvPr id="464" name="Freihandform: Form 216">
                  <a:extLst>
                    <a:ext uri="{FF2B5EF4-FFF2-40B4-BE49-F238E27FC236}">
                      <a16:creationId xmlns:a16="http://schemas.microsoft.com/office/drawing/2014/main" id="{75B47ED3-BBF1-4766-B85A-BEA55F8FBBDD}"/>
                    </a:ext>
                  </a:extLst>
                </p:cNvPr>
                <p:cNvSpPr/>
                <p:nvPr/>
              </p:nvSpPr>
              <p:spPr>
                <a:xfrm>
                  <a:off x="1232879" y="1657519"/>
                  <a:ext cx="78967" cy="92148"/>
                </a:xfrm>
                <a:custGeom>
                  <a:avLst/>
                  <a:gdLst>
                    <a:gd name="connsiteX0" fmla="*/ 39484 w 78967"/>
                    <a:gd name="connsiteY0" fmla="*/ 92148 h 92148"/>
                    <a:gd name="connsiteX1" fmla="*/ 0 w 78967"/>
                    <a:gd name="connsiteY1" fmla="*/ 46074 h 92148"/>
                    <a:gd name="connsiteX2" fmla="*/ 39484 w 78967"/>
                    <a:gd name="connsiteY2" fmla="*/ 0 h 92148"/>
                    <a:gd name="connsiteX3" fmla="*/ 78968 w 78967"/>
                    <a:gd name="connsiteY3" fmla="*/ 46074 h 92148"/>
                    <a:gd name="connsiteX4" fmla="*/ 39484 w 78967"/>
                    <a:gd name="connsiteY4" fmla="*/ 92148 h 92148"/>
                    <a:gd name="connsiteX5" fmla="*/ 39484 w 78967"/>
                    <a:gd name="connsiteY5" fmla="*/ 13181 h 92148"/>
                    <a:gd name="connsiteX6" fmla="*/ 13152 w 78967"/>
                    <a:gd name="connsiteY6" fmla="*/ 46103 h 92148"/>
                    <a:gd name="connsiteX7" fmla="*/ 39484 w 78967"/>
                    <a:gd name="connsiteY7" fmla="*/ 79025 h 92148"/>
                    <a:gd name="connsiteX8" fmla="*/ 65816 w 78967"/>
                    <a:gd name="connsiteY8" fmla="*/ 46103 h 92148"/>
                    <a:gd name="connsiteX9" fmla="*/ 39484 w 78967"/>
                    <a:gd name="connsiteY9" fmla="*/ 13181 h 9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7" h="92148">
                      <a:moveTo>
                        <a:pt x="39484" y="92148"/>
                      </a:moveTo>
                      <a:cubicBezTo>
                        <a:pt x="15857" y="92148"/>
                        <a:pt x="0" y="73644"/>
                        <a:pt x="0" y="46074"/>
                      </a:cubicBezTo>
                      <a:cubicBezTo>
                        <a:pt x="0" y="18505"/>
                        <a:pt x="15857" y="0"/>
                        <a:pt x="39484" y="0"/>
                      </a:cubicBezTo>
                      <a:cubicBezTo>
                        <a:pt x="63111" y="0"/>
                        <a:pt x="78968" y="18505"/>
                        <a:pt x="78968" y="46074"/>
                      </a:cubicBezTo>
                      <a:cubicBezTo>
                        <a:pt x="78968" y="73644"/>
                        <a:pt x="63111" y="92148"/>
                        <a:pt x="39484" y="92148"/>
                      </a:cubicBezTo>
                      <a:close/>
                      <a:moveTo>
                        <a:pt x="39484" y="13181"/>
                      </a:moveTo>
                      <a:cubicBezTo>
                        <a:pt x="20059" y="13181"/>
                        <a:pt x="13152" y="30189"/>
                        <a:pt x="13152" y="46103"/>
                      </a:cubicBezTo>
                      <a:cubicBezTo>
                        <a:pt x="13152" y="62017"/>
                        <a:pt x="20059" y="79025"/>
                        <a:pt x="39484" y="79025"/>
                      </a:cubicBezTo>
                      <a:cubicBezTo>
                        <a:pt x="58909" y="79025"/>
                        <a:pt x="65816" y="62017"/>
                        <a:pt x="65816" y="46103"/>
                      </a:cubicBezTo>
                      <a:cubicBezTo>
                        <a:pt x="65816" y="30189"/>
                        <a:pt x="58881" y="13181"/>
                        <a:pt x="39484" y="13181"/>
                      </a:cubicBezTo>
                      <a:close/>
                    </a:path>
                  </a:pathLst>
                </a:custGeom>
                <a:grpFill/>
                <a:ln w="2874" cap="flat">
                  <a:noFill/>
                  <a:prstDash val="solid"/>
                  <a:miter/>
                </a:ln>
              </p:spPr>
              <p:txBody>
                <a:bodyPr rtlCol="0" anchor="ctr"/>
                <a:lstStyle/>
                <a:p>
                  <a:endParaRPr lang="en-GB" dirty="0"/>
                </a:p>
              </p:txBody>
            </p:sp>
            <p:sp>
              <p:nvSpPr>
                <p:cNvPr id="465" name="Freihandform: Form 217">
                  <a:extLst>
                    <a:ext uri="{FF2B5EF4-FFF2-40B4-BE49-F238E27FC236}">
                      <a16:creationId xmlns:a16="http://schemas.microsoft.com/office/drawing/2014/main" id="{3C3E7669-3DDB-4CAE-8CD2-74828939D417}"/>
                    </a:ext>
                  </a:extLst>
                </p:cNvPr>
                <p:cNvSpPr/>
                <p:nvPr/>
              </p:nvSpPr>
              <p:spPr>
                <a:xfrm>
                  <a:off x="837953" y="1762820"/>
                  <a:ext cx="184296" cy="151403"/>
                </a:xfrm>
                <a:custGeom>
                  <a:avLst/>
                  <a:gdLst>
                    <a:gd name="connsiteX0" fmla="*/ 6590 w 184296"/>
                    <a:gd name="connsiteY0" fmla="*/ 151403 h 151403"/>
                    <a:gd name="connsiteX1" fmla="*/ 0 w 184296"/>
                    <a:gd name="connsiteY1" fmla="*/ 144813 h 151403"/>
                    <a:gd name="connsiteX2" fmla="*/ 0 w 184296"/>
                    <a:gd name="connsiteY2" fmla="*/ 70421 h 151403"/>
                    <a:gd name="connsiteX3" fmla="*/ 71543 w 184296"/>
                    <a:gd name="connsiteY3" fmla="*/ 0 h 151403"/>
                    <a:gd name="connsiteX4" fmla="*/ 112754 w 184296"/>
                    <a:gd name="connsiteY4" fmla="*/ 0 h 151403"/>
                    <a:gd name="connsiteX5" fmla="*/ 184297 w 184296"/>
                    <a:gd name="connsiteY5" fmla="*/ 70421 h 151403"/>
                    <a:gd name="connsiteX6" fmla="*/ 184297 w 184296"/>
                    <a:gd name="connsiteY6" fmla="*/ 92148 h 151403"/>
                    <a:gd name="connsiteX7" fmla="*/ 177707 w 184296"/>
                    <a:gd name="connsiteY7" fmla="*/ 98739 h 151403"/>
                    <a:gd name="connsiteX8" fmla="*/ 171116 w 184296"/>
                    <a:gd name="connsiteY8" fmla="*/ 92148 h 151403"/>
                    <a:gd name="connsiteX9" fmla="*/ 171116 w 184296"/>
                    <a:gd name="connsiteY9" fmla="*/ 70421 h 151403"/>
                    <a:gd name="connsiteX10" fmla="*/ 112725 w 184296"/>
                    <a:gd name="connsiteY10" fmla="*/ 13181 h 151403"/>
                    <a:gd name="connsiteX11" fmla="*/ 71543 w 184296"/>
                    <a:gd name="connsiteY11" fmla="*/ 13181 h 151403"/>
                    <a:gd name="connsiteX12" fmla="*/ 13152 w 184296"/>
                    <a:gd name="connsiteY12" fmla="*/ 70421 h 151403"/>
                    <a:gd name="connsiteX13" fmla="*/ 13152 w 184296"/>
                    <a:gd name="connsiteY13" fmla="*/ 144813 h 151403"/>
                    <a:gd name="connsiteX14" fmla="*/ 6590 w 184296"/>
                    <a:gd name="connsiteY14" fmla="*/ 151403 h 15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4296" h="151403">
                      <a:moveTo>
                        <a:pt x="6590" y="151403"/>
                      </a:moveTo>
                      <a:cubicBezTo>
                        <a:pt x="2964" y="151403"/>
                        <a:pt x="0" y="148468"/>
                        <a:pt x="0" y="144813"/>
                      </a:cubicBezTo>
                      <a:lnTo>
                        <a:pt x="0" y="70421"/>
                      </a:lnTo>
                      <a:cubicBezTo>
                        <a:pt x="0" y="31599"/>
                        <a:pt x="32088" y="0"/>
                        <a:pt x="71543" y="0"/>
                      </a:cubicBezTo>
                      <a:lnTo>
                        <a:pt x="112754" y="0"/>
                      </a:lnTo>
                      <a:cubicBezTo>
                        <a:pt x="152209" y="0"/>
                        <a:pt x="184297" y="31599"/>
                        <a:pt x="184297" y="70421"/>
                      </a:cubicBezTo>
                      <a:lnTo>
                        <a:pt x="184297" y="92148"/>
                      </a:lnTo>
                      <a:cubicBezTo>
                        <a:pt x="184297" y="95774"/>
                        <a:pt x="181361" y="98739"/>
                        <a:pt x="177707" y="98739"/>
                      </a:cubicBezTo>
                      <a:cubicBezTo>
                        <a:pt x="174080" y="98739"/>
                        <a:pt x="171116" y="95803"/>
                        <a:pt x="171116" y="92148"/>
                      </a:cubicBezTo>
                      <a:lnTo>
                        <a:pt x="171116" y="70421"/>
                      </a:lnTo>
                      <a:cubicBezTo>
                        <a:pt x="171116" y="38851"/>
                        <a:pt x="144928" y="13181"/>
                        <a:pt x="112725" y="13181"/>
                      </a:cubicBezTo>
                      <a:lnTo>
                        <a:pt x="71543" y="13181"/>
                      </a:lnTo>
                      <a:cubicBezTo>
                        <a:pt x="39340" y="13181"/>
                        <a:pt x="13152" y="38851"/>
                        <a:pt x="13152" y="70421"/>
                      </a:cubicBezTo>
                      <a:lnTo>
                        <a:pt x="13152" y="144813"/>
                      </a:lnTo>
                      <a:cubicBezTo>
                        <a:pt x="13181" y="148468"/>
                        <a:pt x="10216" y="151403"/>
                        <a:pt x="6590" y="151403"/>
                      </a:cubicBezTo>
                      <a:close/>
                    </a:path>
                  </a:pathLst>
                </a:custGeom>
                <a:grpFill/>
                <a:ln w="2874" cap="flat">
                  <a:noFill/>
                  <a:prstDash val="solid"/>
                  <a:miter/>
                </a:ln>
              </p:spPr>
              <p:txBody>
                <a:bodyPr rtlCol="0" anchor="ctr"/>
                <a:lstStyle/>
                <a:p>
                  <a:endParaRPr lang="en-GB" dirty="0"/>
                </a:p>
              </p:txBody>
            </p:sp>
            <p:sp>
              <p:nvSpPr>
                <p:cNvPr id="466" name="Freihandform: Form 218">
                  <a:extLst>
                    <a:ext uri="{FF2B5EF4-FFF2-40B4-BE49-F238E27FC236}">
                      <a16:creationId xmlns:a16="http://schemas.microsoft.com/office/drawing/2014/main" id="{9D9BA4E7-4D9E-47E6-B175-7543E9F17E45}"/>
                    </a:ext>
                  </a:extLst>
                </p:cNvPr>
                <p:cNvSpPr/>
                <p:nvPr/>
              </p:nvSpPr>
              <p:spPr>
                <a:xfrm>
                  <a:off x="976175" y="1828636"/>
                  <a:ext cx="19770" cy="37325"/>
                </a:xfrm>
                <a:custGeom>
                  <a:avLst/>
                  <a:gdLst>
                    <a:gd name="connsiteX0" fmla="*/ 6590 w 19770"/>
                    <a:gd name="connsiteY0" fmla="*/ 37326 h 37325"/>
                    <a:gd name="connsiteX1" fmla="*/ 0 w 19770"/>
                    <a:gd name="connsiteY1" fmla="*/ 30735 h 37325"/>
                    <a:gd name="connsiteX2" fmla="*/ 0 w 19770"/>
                    <a:gd name="connsiteY2" fmla="*/ 6590 h 37325"/>
                    <a:gd name="connsiteX3" fmla="*/ 6590 w 19770"/>
                    <a:gd name="connsiteY3" fmla="*/ 0 h 37325"/>
                    <a:gd name="connsiteX4" fmla="*/ 13181 w 19770"/>
                    <a:gd name="connsiteY4" fmla="*/ 0 h 37325"/>
                    <a:gd name="connsiteX5" fmla="*/ 19771 w 19770"/>
                    <a:gd name="connsiteY5" fmla="*/ 6590 h 37325"/>
                    <a:gd name="connsiteX6" fmla="*/ 13181 w 19770"/>
                    <a:gd name="connsiteY6" fmla="*/ 13180 h 37325"/>
                    <a:gd name="connsiteX7" fmla="*/ 13181 w 19770"/>
                    <a:gd name="connsiteY7" fmla="*/ 30735 h 37325"/>
                    <a:gd name="connsiteX8" fmla="*/ 6590 w 19770"/>
                    <a:gd name="connsiteY8" fmla="*/ 37326 h 3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70" h="37325">
                      <a:moveTo>
                        <a:pt x="6590" y="37326"/>
                      </a:moveTo>
                      <a:cubicBezTo>
                        <a:pt x="2964" y="37326"/>
                        <a:pt x="0" y="34390"/>
                        <a:pt x="0" y="30735"/>
                      </a:cubicBezTo>
                      <a:lnTo>
                        <a:pt x="0" y="6590"/>
                      </a:lnTo>
                      <a:cubicBezTo>
                        <a:pt x="0" y="2964"/>
                        <a:pt x="2935" y="0"/>
                        <a:pt x="6590" y="0"/>
                      </a:cubicBezTo>
                      <a:lnTo>
                        <a:pt x="13181" y="0"/>
                      </a:lnTo>
                      <a:cubicBezTo>
                        <a:pt x="16807" y="0"/>
                        <a:pt x="19771" y="2935"/>
                        <a:pt x="19771" y="6590"/>
                      </a:cubicBezTo>
                      <a:cubicBezTo>
                        <a:pt x="19771" y="10216"/>
                        <a:pt x="16835" y="13180"/>
                        <a:pt x="13181" y="13180"/>
                      </a:cubicBezTo>
                      <a:lnTo>
                        <a:pt x="13181" y="30735"/>
                      </a:lnTo>
                      <a:cubicBezTo>
                        <a:pt x="13181" y="34390"/>
                        <a:pt x="10216" y="37326"/>
                        <a:pt x="6590" y="37326"/>
                      </a:cubicBezTo>
                      <a:close/>
                    </a:path>
                  </a:pathLst>
                </a:custGeom>
                <a:grpFill/>
                <a:ln w="2874" cap="flat">
                  <a:noFill/>
                  <a:prstDash val="solid"/>
                  <a:miter/>
                </a:ln>
              </p:spPr>
              <p:txBody>
                <a:bodyPr rtlCol="0" anchor="ctr"/>
                <a:lstStyle/>
                <a:p>
                  <a:endParaRPr lang="en-GB" dirty="0"/>
                </a:p>
              </p:txBody>
            </p:sp>
            <p:sp>
              <p:nvSpPr>
                <p:cNvPr id="467" name="Freihandform: Form 219">
                  <a:extLst>
                    <a:ext uri="{FF2B5EF4-FFF2-40B4-BE49-F238E27FC236}">
                      <a16:creationId xmlns:a16="http://schemas.microsoft.com/office/drawing/2014/main" id="{EA1AC8C9-73CB-483C-8916-4DEC4E4D2151}"/>
                    </a:ext>
                  </a:extLst>
                </p:cNvPr>
                <p:cNvSpPr/>
                <p:nvPr/>
              </p:nvSpPr>
              <p:spPr>
                <a:xfrm>
                  <a:off x="864285" y="1828636"/>
                  <a:ext cx="19770" cy="63916"/>
                </a:xfrm>
                <a:custGeom>
                  <a:avLst/>
                  <a:gdLst>
                    <a:gd name="connsiteX0" fmla="*/ 13181 w 19770"/>
                    <a:gd name="connsiteY0" fmla="*/ 63917 h 63916"/>
                    <a:gd name="connsiteX1" fmla="*/ 6590 w 19770"/>
                    <a:gd name="connsiteY1" fmla="*/ 57327 h 63916"/>
                    <a:gd name="connsiteX2" fmla="*/ 6590 w 19770"/>
                    <a:gd name="connsiteY2" fmla="*/ 13180 h 63916"/>
                    <a:gd name="connsiteX3" fmla="*/ 0 w 19770"/>
                    <a:gd name="connsiteY3" fmla="*/ 6590 h 63916"/>
                    <a:gd name="connsiteX4" fmla="*/ 6590 w 19770"/>
                    <a:gd name="connsiteY4" fmla="*/ 0 h 63916"/>
                    <a:gd name="connsiteX5" fmla="*/ 13181 w 19770"/>
                    <a:gd name="connsiteY5" fmla="*/ 0 h 63916"/>
                    <a:gd name="connsiteX6" fmla="*/ 19771 w 19770"/>
                    <a:gd name="connsiteY6" fmla="*/ 6590 h 63916"/>
                    <a:gd name="connsiteX7" fmla="*/ 19771 w 19770"/>
                    <a:gd name="connsiteY7" fmla="*/ 57327 h 63916"/>
                    <a:gd name="connsiteX8" fmla="*/ 13181 w 19770"/>
                    <a:gd name="connsiteY8" fmla="*/ 63917 h 63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70" h="63916">
                      <a:moveTo>
                        <a:pt x="13181" y="63917"/>
                      </a:moveTo>
                      <a:cubicBezTo>
                        <a:pt x="9554" y="63917"/>
                        <a:pt x="6590" y="60981"/>
                        <a:pt x="6590" y="57327"/>
                      </a:cubicBezTo>
                      <a:lnTo>
                        <a:pt x="6590" y="13180"/>
                      </a:lnTo>
                      <a:cubicBezTo>
                        <a:pt x="2964" y="13180"/>
                        <a:pt x="0" y="10245"/>
                        <a:pt x="0" y="6590"/>
                      </a:cubicBezTo>
                      <a:cubicBezTo>
                        <a:pt x="0" y="2964"/>
                        <a:pt x="2935" y="0"/>
                        <a:pt x="6590" y="0"/>
                      </a:cubicBezTo>
                      <a:lnTo>
                        <a:pt x="13181" y="0"/>
                      </a:lnTo>
                      <a:cubicBezTo>
                        <a:pt x="16807" y="0"/>
                        <a:pt x="19771" y="2935"/>
                        <a:pt x="19771" y="6590"/>
                      </a:cubicBezTo>
                      <a:lnTo>
                        <a:pt x="19771" y="57327"/>
                      </a:lnTo>
                      <a:cubicBezTo>
                        <a:pt x="19742" y="60981"/>
                        <a:pt x="16807" y="63917"/>
                        <a:pt x="13181" y="63917"/>
                      </a:cubicBezTo>
                      <a:close/>
                    </a:path>
                  </a:pathLst>
                </a:custGeom>
                <a:grpFill/>
                <a:ln w="2874" cap="flat">
                  <a:noFill/>
                  <a:prstDash val="solid"/>
                  <a:miter/>
                </a:ln>
              </p:spPr>
              <p:txBody>
                <a:bodyPr rtlCol="0" anchor="ctr"/>
                <a:lstStyle/>
                <a:p>
                  <a:endParaRPr lang="en-GB" dirty="0"/>
                </a:p>
              </p:txBody>
            </p:sp>
            <p:sp>
              <p:nvSpPr>
                <p:cNvPr id="468" name="Freihandform: Form 220">
                  <a:extLst>
                    <a:ext uri="{FF2B5EF4-FFF2-40B4-BE49-F238E27FC236}">
                      <a16:creationId xmlns:a16="http://schemas.microsoft.com/office/drawing/2014/main" id="{635E689A-1E75-46FB-B608-FF8F830C5A69}"/>
                    </a:ext>
                  </a:extLst>
                </p:cNvPr>
                <p:cNvSpPr/>
                <p:nvPr/>
              </p:nvSpPr>
              <p:spPr>
                <a:xfrm>
                  <a:off x="890617" y="1657548"/>
                  <a:ext cx="78967" cy="92119"/>
                </a:xfrm>
                <a:custGeom>
                  <a:avLst/>
                  <a:gdLst>
                    <a:gd name="connsiteX0" fmla="*/ 39484 w 78967"/>
                    <a:gd name="connsiteY0" fmla="*/ 92120 h 92119"/>
                    <a:gd name="connsiteX1" fmla="*/ 0 w 78967"/>
                    <a:gd name="connsiteY1" fmla="*/ 46045 h 92119"/>
                    <a:gd name="connsiteX2" fmla="*/ 39484 w 78967"/>
                    <a:gd name="connsiteY2" fmla="*/ 0 h 92119"/>
                    <a:gd name="connsiteX3" fmla="*/ 78968 w 78967"/>
                    <a:gd name="connsiteY3" fmla="*/ 46074 h 92119"/>
                    <a:gd name="connsiteX4" fmla="*/ 39484 w 78967"/>
                    <a:gd name="connsiteY4" fmla="*/ 92120 h 92119"/>
                    <a:gd name="connsiteX5" fmla="*/ 39484 w 78967"/>
                    <a:gd name="connsiteY5" fmla="*/ 13152 h 92119"/>
                    <a:gd name="connsiteX6" fmla="*/ 13152 w 78967"/>
                    <a:gd name="connsiteY6" fmla="*/ 46074 h 92119"/>
                    <a:gd name="connsiteX7" fmla="*/ 39484 w 78967"/>
                    <a:gd name="connsiteY7" fmla="*/ 78997 h 92119"/>
                    <a:gd name="connsiteX8" fmla="*/ 65816 w 78967"/>
                    <a:gd name="connsiteY8" fmla="*/ 46074 h 92119"/>
                    <a:gd name="connsiteX9" fmla="*/ 39484 w 78967"/>
                    <a:gd name="connsiteY9" fmla="*/ 13152 h 9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7" h="92119">
                      <a:moveTo>
                        <a:pt x="39484" y="92120"/>
                      </a:moveTo>
                      <a:cubicBezTo>
                        <a:pt x="15857" y="92120"/>
                        <a:pt x="0" y="73615"/>
                        <a:pt x="0" y="46045"/>
                      </a:cubicBezTo>
                      <a:cubicBezTo>
                        <a:pt x="0" y="18476"/>
                        <a:pt x="15857" y="0"/>
                        <a:pt x="39484" y="0"/>
                      </a:cubicBezTo>
                      <a:cubicBezTo>
                        <a:pt x="63111" y="0"/>
                        <a:pt x="78968" y="18505"/>
                        <a:pt x="78968" y="46074"/>
                      </a:cubicBezTo>
                      <a:cubicBezTo>
                        <a:pt x="78968" y="73644"/>
                        <a:pt x="63111" y="92120"/>
                        <a:pt x="39484" y="92120"/>
                      </a:cubicBezTo>
                      <a:close/>
                      <a:moveTo>
                        <a:pt x="39484" y="13152"/>
                      </a:moveTo>
                      <a:cubicBezTo>
                        <a:pt x="20059" y="13152"/>
                        <a:pt x="13152" y="30160"/>
                        <a:pt x="13152" y="46074"/>
                      </a:cubicBezTo>
                      <a:cubicBezTo>
                        <a:pt x="13152" y="61989"/>
                        <a:pt x="20059" y="78997"/>
                        <a:pt x="39484" y="78997"/>
                      </a:cubicBezTo>
                      <a:cubicBezTo>
                        <a:pt x="58909" y="78997"/>
                        <a:pt x="65816" y="61989"/>
                        <a:pt x="65816" y="46074"/>
                      </a:cubicBezTo>
                      <a:cubicBezTo>
                        <a:pt x="65816" y="30160"/>
                        <a:pt x="58909" y="13152"/>
                        <a:pt x="39484" y="13152"/>
                      </a:cubicBezTo>
                      <a:close/>
                    </a:path>
                  </a:pathLst>
                </a:custGeom>
                <a:grpFill/>
                <a:ln w="2874" cap="flat">
                  <a:noFill/>
                  <a:prstDash val="solid"/>
                  <a:miter/>
                </a:ln>
              </p:spPr>
              <p:txBody>
                <a:bodyPr rtlCol="0" anchor="ctr"/>
                <a:lstStyle/>
                <a:p>
                  <a:endParaRPr lang="en-GB" dirty="0"/>
                </a:p>
              </p:txBody>
            </p:sp>
            <p:grpSp>
              <p:nvGrpSpPr>
                <p:cNvPr id="469" name="Grafik 222">
                  <a:extLst>
                    <a:ext uri="{FF2B5EF4-FFF2-40B4-BE49-F238E27FC236}">
                      <a16:creationId xmlns:a16="http://schemas.microsoft.com/office/drawing/2014/main" id="{EC0D0A18-0B9A-4709-A994-BC84E3E64976}"/>
                    </a:ext>
                  </a:extLst>
                </p:cNvPr>
                <p:cNvGrpSpPr/>
                <p:nvPr/>
              </p:nvGrpSpPr>
              <p:grpSpPr>
                <a:xfrm>
                  <a:off x="1008896" y="1631216"/>
                  <a:ext cx="184268" cy="236932"/>
                  <a:chOff x="1008896" y="1631216"/>
                  <a:chExt cx="184268" cy="236932"/>
                </a:xfrm>
                <a:grpFill/>
              </p:grpSpPr>
              <p:sp>
                <p:nvSpPr>
                  <p:cNvPr id="470" name="Freihandform: Form 222">
                    <a:extLst>
                      <a:ext uri="{FF2B5EF4-FFF2-40B4-BE49-F238E27FC236}">
                        <a16:creationId xmlns:a16="http://schemas.microsoft.com/office/drawing/2014/main" id="{631908F5-3D18-4700-AA65-180128AE0C0D}"/>
                      </a:ext>
                    </a:extLst>
                  </p:cNvPr>
                  <p:cNvSpPr/>
                  <p:nvPr/>
                </p:nvSpPr>
                <p:spPr>
                  <a:xfrm>
                    <a:off x="1008896" y="1736487"/>
                    <a:ext cx="184268" cy="131661"/>
                  </a:xfrm>
                  <a:custGeom>
                    <a:avLst/>
                    <a:gdLst>
                      <a:gd name="connsiteX0" fmla="*/ 6590 w 184268"/>
                      <a:gd name="connsiteY0" fmla="*/ 131661 h 131661"/>
                      <a:gd name="connsiteX1" fmla="*/ 0 w 184268"/>
                      <a:gd name="connsiteY1" fmla="*/ 125071 h 131661"/>
                      <a:gd name="connsiteX2" fmla="*/ 0 w 184268"/>
                      <a:gd name="connsiteY2" fmla="*/ 72406 h 131661"/>
                      <a:gd name="connsiteX3" fmla="*/ 69442 w 184268"/>
                      <a:gd name="connsiteY3" fmla="*/ 0 h 131661"/>
                      <a:gd name="connsiteX4" fmla="*/ 114826 w 184268"/>
                      <a:gd name="connsiteY4" fmla="*/ 0 h 131661"/>
                      <a:gd name="connsiteX5" fmla="*/ 184268 w 184268"/>
                      <a:gd name="connsiteY5" fmla="*/ 72406 h 131661"/>
                      <a:gd name="connsiteX6" fmla="*/ 184268 w 184268"/>
                      <a:gd name="connsiteY6" fmla="*/ 118481 h 131661"/>
                      <a:gd name="connsiteX7" fmla="*/ 177678 w 184268"/>
                      <a:gd name="connsiteY7" fmla="*/ 125071 h 131661"/>
                      <a:gd name="connsiteX8" fmla="*/ 171088 w 184268"/>
                      <a:gd name="connsiteY8" fmla="*/ 118481 h 131661"/>
                      <a:gd name="connsiteX9" fmla="*/ 171088 w 184268"/>
                      <a:gd name="connsiteY9" fmla="*/ 72435 h 131661"/>
                      <a:gd name="connsiteX10" fmla="*/ 114797 w 184268"/>
                      <a:gd name="connsiteY10" fmla="*/ 13209 h 131661"/>
                      <a:gd name="connsiteX11" fmla="*/ 69413 w 184268"/>
                      <a:gd name="connsiteY11" fmla="*/ 13209 h 131661"/>
                      <a:gd name="connsiteX12" fmla="*/ 13123 w 184268"/>
                      <a:gd name="connsiteY12" fmla="*/ 72435 h 131661"/>
                      <a:gd name="connsiteX13" fmla="*/ 13123 w 184268"/>
                      <a:gd name="connsiteY13" fmla="*/ 125100 h 131661"/>
                      <a:gd name="connsiteX14" fmla="*/ 6590 w 184268"/>
                      <a:gd name="connsiteY14" fmla="*/ 131661 h 13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4268" h="131661">
                        <a:moveTo>
                          <a:pt x="6590" y="131661"/>
                        </a:moveTo>
                        <a:cubicBezTo>
                          <a:pt x="2964" y="131661"/>
                          <a:pt x="0" y="128726"/>
                          <a:pt x="0" y="125071"/>
                        </a:cubicBezTo>
                        <a:lnTo>
                          <a:pt x="0" y="72406"/>
                        </a:lnTo>
                        <a:cubicBezTo>
                          <a:pt x="0" y="31138"/>
                          <a:pt x="29872" y="0"/>
                          <a:pt x="69442" y="0"/>
                        </a:cubicBezTo>
                        <a:lnTo>
                          <a:pt x="114826" y="0"/>
                        </a:lnTo>
                        <a:cubicBezTo>
                          <a:pt x="154425" y="0"/>
                          <a:pt x="184268" y="31138"/>
                          <a:pt x="184268" y="72406"/>
                        </a:cubicBezTo>
                        <a:lnTo>
                          <a:pt x="184268" y="118481"/>
                        </a:lnTo>
                        <a:cubicBezTo>
                          <a:pt x="184268" y="122107"/>
                          <a:pt x="181333" y="125071"/>
                          <a:pt x="177678" y="125071"/>
                        </a:cubicBezTo>
                        <a:cubicBezTo>
                          <a:pt x="174052" y="125071"/>
                          <a:pt x="171088" y="122135"/>
                          <a:pt x="171088" y="118481"/>
                        </a:cubicBezTo>
                        <a:lnTo>
                          <a:pt x="171088" y="72435"/>
                        </a:lnTo>
                        <a:cubicBezTo>
                          <a:pt x="171088" y="38103"/>
                          <a:pt x="147403" y="13209"/>
                          <a:pt x="114797" y="13209"/>
                        </a:cubicBezTo>
                        <a:lnTo>
                          <a:pt x="69413" y="13209"/>
                        </a:lnTo>
                        <a:cubicBezTo>
                          <a:pt x="36808" y="13209"/>
                          <a:pt x="13123" y="38131"/>
                          <a:pt x="13123" y="72435"/>
                        </a:cubicBezTo>
                        <a:lnTo>
                          <a:pt x="13123" y="125100"/>
                        </a:lnTo>
                        <a:cubicBezTo>
                          <a:pt x="13181" y="128726"/>
                          <a:pt x="10245" y="131661"/>
                          <a:pt x="6590" y="131661"/>
                        </a:cubicBezTo>
                        <a:close/>
                      </a:path>
                    </a:pathLst>
                  </a:custGeom>
                  <a:grpFill/>
                  <a:ln w="2874" cap="flat">
                    <a:noFill/>
                    <a:prstDash val="solid"/>
                    <a:miter/>
                  </a:ln>
                </p:spPr>
                <p:txBody>
                  <a:bodyPr rtlCol="0" anchor="ctr"/>
                  <a:lstStyle/>
                  <a:p>
                    <a:endParaRPr lang="en-GB" dirty="0"/>
                  </a:p>
                </p:txBody>
              </p:sp>
              <p:sp>
                <p:nvSpPr>
                  <p:cNvPr id="471" name="Freihandform: Form 223">
                    <a:extLst>
                      <a:ext uri="{FF2B5EF4-FFF2-40B4-BE49-F238E27FC236}">
                        <a16:creationId xmlns:a16="http://schemas.microsoft.com/office/drawing/2014/main" id="{295D8256-BA45-4483-8001-63BE83E7A8DA}"/>
                      </a:ext>
                    </a:extLst>
                  </p:cNvPr>
                  <p:cNvSpPr/>
                  <p:nvPr/>
                </p:nvSpPr>
                <p:spPr>
                  <a:xfrm>
                    <a:off x="1061762" y="1631216"/>
                    <a:ext cx="78967" cy="92148"/>
                  </a:xfrm>
                  <a:custGeom>
                    <a:avLst/>
                    <a:gdLst>
                      <a:gd name="connsiteX0" fmla="*/ 39484 w 78967"/>
                      <a:gd name="connsiteY0" fmla="*/ 92148 h 92148"/>
                      <a:gd name="connsiteX1" fmla="*/ 0 w 78967"/>
                      <a:gd name="connsiteY1" fmla="*/ 46074 h 92148"/>
                      <a:gd name="connsiteX2" fmla="*/ 39484 w 78967"/>
                      <a:gd name="connsiteY2" fmla="*/ 0 h 92148"/>
                      <a:gd name="connsiteX3" fmla="*/ 78968 w 78967"/>
                      <a:gd name="connsiteY3" fmla="*/ 46074 h 92148"/>
                      <a:gd name="connsiteX4" fmla="*/ 39484 w 78967"/>
                      <a:gd name="connsiteY4" fmla="*/ 92148 h 92148"/>
                      <a:gd name="connsiteX5" fmla="*/ 39484 w 78967"/>
                      <a:gd name="connsiteY5" fmla="*/ 13152 h 92148"/>
                      <a:gd name="connsiteX6" fmla="*/ 13152 w 78967"/>
                      <a:gd name="connsiteY6" fmla="*/ 46074 h 92148"/>
                      <a:gd name="connsiteX7" fmla="*/ 39484 w 78967"/>
                      <a:gd name="connsiteY7" fmla="*/ 78997 h 92148"/>
                      <a:gd name="connsiteX8" fmla="*/ 65816 w 78967"/>
                      <a:gd name="connsiteY8" fmla="*/ 46074 h 92148"/>
                      <a:gd name="connsiteX9" fmla="*/ 39484 w 78967"/>
                      <a:gd name="connsiteY9" fmla="*/ 13152 h 9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7" h="92148">
                        <a:moveTo>
                          <a:pt x="39484" y="92148"/>
                        </a:moveTo>
                        <a:cubicBezTo>
                          <a:pt x="15857" y="92148"/>
                          <a:pt x="0" y="73644"/>
                          <a:pt x="0" y="46074"/>
                        </a:cubicBezTo>
                        <a:cubicBezTo>
                          <a:pt x="0" y="18505"/>
                          <a:pt x="15857" y="0"/>
                          <a:pt x="39484" y="0"/>
                        </a:cubicBezTo>
                        <a:cubicBezTo>
                          <a:pt x="63111" y="0"/>
                          <a:pt x="78968" y="18505"/>
                          <a:pt x="78968" y="46074"/>
                        </a:cubicBezTo>
                        <a:cubicBezTo>
                          <a:pt x="78968" y="73644"/>
                          <a:pt x="63082" y="92148"/>
                          <a:pt x="39484" y="92148"/>
                        </a:cubicBezTo>
                        <a:close/>
                        <a:moveTo>
                          <a:pt x="39484" y="13152"/>
                        </a:moveTo>
                        <a:cubicBezTo>
                          <a:pt x="20059" y="13152"/>
                          <a:pt x="13152" y="30160"/>
                          <a:pt x="13152" y="46074"/>
                        </a:cubicBezTo>
                        <a:cubicBezTo>
                          <a:pt x="13152" y="61989"/>
                          <a:pt x="20059" y="78997"/>
                          <a:pt x="39484" y="78997"/>
                        </a:cubicBezTo>
                        <a:cubicBezTo>
                          <a:pt x="58909" y="78997"/>
                          <a:pt x="65816" y="61989"/>
                          <a:pt x="65816" y="46074"/>
                        </a:cubicBezTo>
                        <a:cubicBezTo>
                          <a:pt x="65816" y="30160"/>
                          <a:pt x="58881" y="13152"/>
                          <a:pt x="39484" y="13152"/>
                        </a:cubicBezTo>
                        <a:close/>
                      </a:path>
                    </a:pathLst>
                  </a:custGeom>
                  <a:grpFill/>
                  <a:ln w="2874" cap="flat">
                    <a:noFill/>
                    <a:prstDash val="solid"/>
                    <a:miter/>
                  </a:ln>
                </p:spPr>
                <p:txBody>
                  <a:bodyPr rtlCol="0" anchor="ctr"/>
                  <a:lstStyle/>
                  <a:p>
                    <a:endParaRPr lang="en-GB" dirty="0"/>
                  </a:p>
                </p:txBody>
              </p:sp>
              <p:sp>
                <p:nvSpPr>
                  <p:cNvPr id="472" name="Freihandform: Form 224">
                    <a:extLst>
                      <a:ext uri="{FF2B5EF4-FFF2-40B4-BE49-F238E27FC236}">
                        <a16:creationId xmlns:a16="http://schemas.microsoft.com/office/drawing/2014/main" id="{CBFBF1FF-E17F-4C2B-AEC5-34C41D9AA917}"/>
                      </a:ext>
                    </a:extLst>
                  </p:cNvPr>
                  <p:cNvSpPr/>
                  <p:nvPr/>
                </p:nvSpPr>
                <p:spPr>
                  <a:xfrm>
                    <a:off x="1035401" y="1808894"/>
                    <a:ext cx="19770" cy="52664"/>
                  </a:xfrm>
                  <a:custGeom>
                    <a:avLst/>
                    <a:gdLst>
                      <a:gd name="connsiteX0" fmla="*/ 13181 w 19770"/>
                      <a:gd name="connsiteY0" fmla="*/ 52664 h 52664"/>
                      <a:gd name="connsiteX1" fmla="*/ 6590 w 19770"/>
                      <a:gd name="connsiteY1" fmla="*/ 46074 h 52664"/>
                      <a:gd name="connsiteX2" fmla="*/ 6590 w 19770"/>
                      <a:gd name="connsiteY2" fmla="*/ 13181 h 52664"/>
                      <a:gd name="connsiteX3" fmla="*/ 0 w 19770"/>
                      <a:gd name="connsiteY3" fmla="*/ 6590 h 52664"/>
                      <a:gd name="connsiteX4" fmla="*/ 6590 w 19770"/>
                      <a:gd name="connsiteY4" fmla="*/ 0 h 52664"/>
                      <a:gd name="connsiteX5" fmla="*/ 13181 w 19770"/>
                      <a:gd name="connsiteY5" fmla="*/ 0 h 52664"/>
                      <a:gd name="connsiteX6" fmla="*/ 19771 w 19770"/>
                      <a:gd name="connsiteY6" fmla="*/ 6590 h 52664"/>
                      <a:gd name="connsiteX7" fmla="*/ 19771 w 19770"/>
                      <a:gd name="connsiteY7" fmla="*/ 46074 h 52664"/>
                      <a:gd name="connsiteX8" fmla="*/ 13181 w 19770"/>
                      <a:gd name="connsiteY8" fmla="*/ 52664 h 52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70" h="52664">
                        <a:moveTo>
                          <a:pt x="13181" y="52664"/>
                        </a:moveTo>
                        <a:cubicBezTo>
                          <a:pt x="9554" y="52664"/>
                          <a:pt x="6590" y="49729"/>
                          <a:pt x="6590" y="46074"/>
                        </a:cubicBezTo>
                        <a:lnTo>
                          <a:pt x="6590" y="13181"/>
                        </a:lnTo>
                        <a:cubicBezTo>
                          <a:pt x="2964" y="13181"/>
                          <a:pt x="0" y="10245"/>
                          <a:pt x="0" y="6590"/>
                        </a:cubicBezTo>
                        <a:cubicBezTo>
                          <a:pt x="0" y="2964"/>
                          <a:pt x="2935" y="0"/>
                          <a:pt x="6590" y="0"/>
                        </a:cubicBezTo>
                        <a:lnTo>
                          <a:pt x="13181" y="0"/>
                        </a:lnTo>
                        <a:cubicBezTo>
                          <a:pt x="16807" y="0"/>
                          <a:pt x="19771" y="2935"/>
                          <a:pt x="19771" y="6590"/>
                        </a:cubicBezTo>
                        <a:lnTo>
                          <a:pt x="19771" y="46074"/>
                        </a:lnTo>
                        <a:cubicBezTo>
                          <a:pt x="19771" y="49729"/>
                          <a:pt x="16807" y="52664"/>
                          <a:pt x="13181" y="52664"/>
                        </a:cubicBezTo>
                        <a:close/>
                      </a:path>
                    </a:pathLst>
                  </a:custGeom>
                  <a:grpFill/>
                  <a:ln w="2874" cap="flat">
                    <a:noFill/>
                    <a:prstDash val="solid"/>
                    <a:miter/>
                  </a:ln>
                </p:spPr>
                <p:txBody>
                  <a:bodyPr rtlCol="0" anchor="ctr"/>
                  <a:lstStyle/>
                  <a:p>
                    <a:endParaRPr lang="en-GB" dirty="0"/>
                  </a:p>
                </p:txBody>
              </p:sp>
              <p:sp>
                <p:nvSpPr>
                  <p:cNvPr id="473" name="Freihandform: Form 225">
                    <a:extLst>
                      <a:ext uri="{FF2B5EF4-FFF2-40B4-BE49-F238E27FC236}">
                        <a16:creationId xmlns:a16="http://schemas.microsoft.com/office/drawing/2014/main" id="{7F986862-333B-4DAE-9B7A-35D9EAC6BCD1}"/>
                      </a:ext>
                    </a:extLst>
                  </p:cNvPr>
                  <p:cNvSpPr/>
                  <p:nvPr/>
                </p:nvSpPr>
                <p:spPr>
                  <a:xfrm>
                    <a:off x="1147378" y="1808923"/>
                    <a:ext cx="19770" cy="52635"/>
                  </a:xfrm>
                  <a:custGeom>
                    <a:avLst/>
                    <a:gdLst>
                      <a:gd name="connsiteX0" fmla="*/ 6590 w 19770"/>
                      <a:gd name="connsiteY0" fmla="*/ 52636 h 52635"/>
                      <a:gd name="connsiteX1" fmla="*/ 0 w 19770"/>
                      <a:gd name="connsiteY1" fmla="*/ 46045 h 52635"/>
                      <a:gd name="connsiteX2" fmla="*/ 0 w 19770"/>
                      <a:gd name="connsiteY2" fmla="*/ 6590 h 52635"/>
                      <a:gd name="connsiteX3" fmla="*/ 6590 w 19770"/>
                      <a:gd name="connsiteY3" fmla="*/ 0 h 52635"/>
                      <a:gd name="connsiteX4" fmla="*/ 13180 w 19770"/>
                      <a:gd name="connsiteY4" fmla="*/ 0 h 52635"/>
                      <a:gd name="connsiteX5" fmla="*/ 19771 w 19770"/>
                      <a:gd name="connsiteY5" fmla="*/ 6590 h 52635"/>
                      <a:gd name="connsiteX6" fmla="*/ 13180 w 19770"/>
                      <a:gd name="connsiteY6" fmla="*/ 13180 h 52635"/>
                      <a:gd name="connsiteX7" fmla="*/ 13180 w 19770"/>
                      <a:gd name="connsiteY7" fmla="*/ 46103 h 52635"/>
                      <a:gd name="connsiteX8" fmla="*/ 6590 w 19770"/>
                      <a:gd name="connsiteY8" fmla="*/ 52636 h 5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70" h="52635">
                        <a:moveTo>
                          <a:pt x="6590" y="52636"/>
                        </a:moveTo>
                        <a:cubicBezTo>
                          <a:pt x="2964" y="52636"/>
                          <a:pt x="0" y="49700"/>
                          <a:pt x="0" y="46045"/>
                        </a:cubicBezTo>
                        <a:lnTo>
                          <a:pt x="0" y="6590"/>
                        </a:lnTo>
                        <a:cubicBezTo>
                          <a:pt x="0" y="2964"/>
                          <a:pt x="2935" y="0"/>
                          <a:pt x="6590" y="0"/>
                        </a:cubicBezTo>
                        <a:lnTo>
                          <a:pt x="13180" y="0"/>
                        </a:lnTo>
                        <a:cubicBezTo>
                          <a:pt x="16807" y="0"/>
                          <a:pt x="19771" y="2935"/>
                          <a:pt x="19771" y="6590"/>
                        </a:cubicBezTo>
                        <a:cubicBezTo>
                          <a:pt x="19771" y="10216"/>
                          <a:pt x="16835" y="13180"/>
                          <a:pt x="13180" y="13180"/>
                        </a:cubicBezTo>
                        <a:lnTo>
                          <a:pt x="13180" y="46103"/>
                        </a:lnTo>
                        <a:cubicBezTo>
                          <a:pt x="13180" y="49700"/>
                          <a:pt x="10216" y="52636"/>
                          <a:pt x="6590" y="52636"/>
                        </a:cubicBezTo>
                        <a:close/>
                      </a:path>
                    </a:pathLst>
                  </a:custGeom>
                  <a:grpFill/>
                  <a:ln w="2874" cap="flat">
                    <a:noFill/>
                    <a:prstDash val="solid"/>
                    <a:miter/>
                  </a:ln>
                </p:spPr>
                <p:txBody>
                  <a:bodyPr rtlCol="0" anchor="ctr"/>
                  <a:lstStyle/>
                  <a:p>
                    <a:endParaRPr lang="en-GB" dirty="0"/>
                  </a:p>
                </p:txBody>
              </p:sp>
            </p:grpSp>
          </p:grpSp>
          <p:grpSp>
            <p:nvGrpSpPr>
              <p:cNvPr id="453" name="Grafik 222">
                <a:extLst>
                  <a:ext uri="{FF2B5EF4-FFF2-40B4-BE49-F238E27FC236}">
                    <a16:creationId xmlns:a16="http://schemas.microsoft.com/office/drawing/2014/main" id="{2832B0F8-D784-4649-AB07-2F11420BA0C1}"/>
                  </a:ext>
                </a:extLst>
              </p:cNvPr>
              <p:cNvGrpSpPr/>
              <p:nvPr/>
            </p:nvGrpSpPr>
            <p:grpSpPr>
              <a:xfrm>
                <a:off x="831422" y="1947145"/>
                <a:ext cx="539647" cy="177711"/>
                <a:chOff x="831422" y="1947145"/>
                <a:chExt cx="539647" cy="177711"/>
              </a:xfrm>
              <a:grpFill/>
            </p:grpSpPr>
            <p:sp>
              <p:nvSpPr>
                <p:cNvPr id="454" name="Freihandform: Form 232">
                  <a:extLst>
                    <a:ext uri="{FF2B5EF4-FFF2-40B4-BE49-F238E27FC236}">
                      <a16:creationId xmlns:a16="http://schemas.microsoft.com/office/drawing/2014/main" id="{AC24AE47-C1BD-4B10-8DBC-46BED64FD59B}"/>
                    </a:ext>
                  </a:extLst>
                </p:cNvPr>
                <p:cNvSpPr/>
                <p:nvPr/>
              </p:nvSpPr>
              <p:spPr>
                <a:xfrm>
                  <a:off x="1061474" y="1947145"/>
                  <a:ext cx="78967" cy="92148"/>
                </a:xfrm>
                <a:custGeom>
                  <a:avLst/>
                  <a:gdLst>
                    <a:gd name="connsiteX0" fmla="*/ 39484 w 78967"/>
                    <a:gd name="connsiteY0" fmla="*/ 92148 h 92148"/>
                    <a:gd name="connsiteX1" fmla="*/ 0 w 78967"/>
                    <a:gd name="connsiteY1" fmla="*/ 46074 h 92148"/>
                    <a:gd name="connsiteX2" fmla="*/ 39484 w 78967"/>
                    <a:gd name="connsiteY2" fmla="*/ 0 h 92148"/>
                    <a:gd name="connsiteX3" fmla="*/ 78968 w 78967"/>
                    <a:gd name="connsiteY3" fmla="*/ 46074 h 92148"/>
                    <a:gd name="connsiteX4" fmla="*/ 39484 w 78967"/>
                    <a:gd name="connsiteY4" fmla="*/ 92148 h 92148"/>
                    <a:gd name="connsiteX5" fmla="*/ 39484 w 78967"/>
                    <a:gd name="connsiteY5" fmla="*/ 13152 h 92148"/>
                    <a:gd name="connsiteX6" fmla="*/ 13152 w 78967"/>
                    <a:gd name="connsiteY6" fmla="*/ 46074 h 92148"/>
                    <a:gd name="connsiteX7" fmla="*/ 39484 w 78967"/>
                    <a:gd name="connsiteY7" fmla="*/ 78997 h 92148"/>
                    <a:gd name="connsiteX8" fmla="*/ 65816 w 78967"/>
                    <a:gd name="connsiteY8" fmla="*/ 46074 h 92148"/>
                    <a:gd name="connsiteX9" fmla="*/ 39484 w 78967"/>
                    <a:gd name="connsiteY9" fmla="*/ 13152 h 9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7" h="92148">
                      <a:moveTo>
                        <a:pt x="39484" y="92148"/>
                      </a:moveTo>
                      <a:cubicBezTo>
                        <a:pt x="15857" y="92148"/>
                        <a:pt x="0" y="73644"/>
                        <a:pt x="0" y="46074"/>
                      </a:cubicBezTo>
                      <a:cubicBezTo>
                        <a:pt x="0" y="18505"/>
                        <a:pt x="15857" y="0"/>
                        <a:pt x="39484" y="0"/>
                      </a:cubicBezTo>
                      <a:cubicBezTo>
                        <a:pt x="63111" y="0"/>
                        <a:pt x="78968" y="18505"/>
                        <a:pt x="78968" y="46074"/>
                      </a:cubicBezTo>
                      <a:cubicBezTo>
                        <a:pt x="78968" y="73644"/>
                        <a:pt x="63111" y="92148"/>
                        <a:pt x="39484" y="92148"/>
                      </a:cubicBezTo>
                      <a:close/>
                      <a:moveTo>
                        <a:pt x="39484" y="13152"/>
                      </a:moveTo>
                      <a:cubicBezTo>
                        <a:pt x="20059" y="13152"/>
                        <a:pt x="13152" y="30160"/>
                        <a:pt x="13152" y="46074"/>
                      </a:cubicBezTo>
                      <a:cubicBezTo>
                        <a:pt x="13152" y="61989"/>
                        <a:pt x="20059" y="78997"/>
                        <a:pt x="39484" y="78997"/>
                      </a:cubicBezTo>
                      <a:cubicBezTo>
                        <a:pt x="58909" y="78997"/>
                        <a:pt x="65816" y="61989"/>
                        <a:pt x="65816" y="46074"/>
                      </a:cubicBezTo>
                      <a:cubicBezTo>
                        <a:pt x="65816" y="30160"/>
                        <a:pt x="58909" y="13152"/>
                        <a:pt x="39484" y="13152"/>
                      </a:cubicBezTo>
                      <a:close/>
                    </a:path>
                  </a:pathLst>
                </a:custGeom>
                <a:grpFill/>
                <a:ln w="2874" cap="flat">
                  <a:noFill/>
                  <a:prstDash val="solid"/>
                  <a:miter/>
                </a:ln>
              </p:spPr>
              <p:txBody>
                <a:bodyPr rtlCol="0" anchor="ctr"/>
                <a:lstStyle/>
                <a:p>
                  <a:endParaRPr lang="en-GB" dirty="0"/>
                </a:p>
              </p:txBody>
            </p:sp>
            <p:sp>
              <p:nvSpPr>
                <p:cNvPr id="455" name="Freihandform: Form 233">
                  <a:extLst>
                    <a:ext uri="{FF2B5EF4-FFF2-40B4-BE49-F238E27FC236}">
                      <a16:creationId xmlns:a16="http://schemas.microsoft.com/office/drawing/2014/main" id="{72E5245D-811F-49A6-ADF3-5CA402C9192D}"/>
                    </a:ext>
                  </a:extLst>
                </p:cNvPr>
                <p:cNvSpPr/>
                <p:nvPr/>
              </p:nvSpPr>
              <p:spPr>
                <a:xfrm>
                  <a:off x="883768" y="1947145"/>
                  <a:ext cx="78967" cy="92148"/>
                </a:xfrm>
                <a:custGeom>
                  <a:avLst/>
                  <a:gdLst>
                    <a:gd name="connsiteX0" fmla="*/ 39484 w 78967"/>
                    <a:gd name="connsiteY0" fmla="*/ 92148 h 92148"/>
                    <a:gd name="connsiteX1" fmla="*/ 0 w 78967"/>
                    <a:gd name="connsiteY1" fmla="*/ 46074 h 92148"/>
                    <a:gd name="connsiteX2" fmla="*/ 39484 w 78967"/>
                    <a:gd name="connsiteY2" fmla="*/ 0 h 92148"/>
                    <a:gd name="connsiteX3" fmla="*/ 78968 w 78967"/>
                    <a:gd name="connsiteY3" fmla="*/ 46074 h 92148"/>
                    <a:gd name="connsiteX4" fmla="*/ 39484 w 78967"/>
                    <a:gd name="connsiteY4" fmla="*/ 92148 h 92148"/>
                    <a:gd name="connsiteX5" fmla="*/ 39484 w 78967"/>
                    <a:gd name="connsiteY5" fmla="*/ 13152 h 92148"/>
                    <a:gd name="connsiteX6" fmla="*/ 13152 w 78967"/>
                    <a:gd name="connsiteY6" fmla="*/ 46074 h 92148"/>
                    <a:gd name="connsiteX7" fmla="*/ 39484 w 78967"/>
                    <a:gd name="connsiteY7" fmla="*/ 78997 h 92148"/>
                    <a:gd name="connsiteX8" fmla="*/ 65816 w 78967"/>
                    <a:gd name="connsiteY8" fmla="*/ 46074 h 92148"/>
                    <a:gd name="connsiteX9" fmla="*/ 39484 w 78967"/>
                    <a:gd name="connsiteY9" fmla="*/ 13152 h 9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7" h="92148">
                      <a:moveTo>
                        <a:pt x="39484" y="92148"/>
                      </a:moveTo>
                      <a:cubicBezTo>
                        <a:pt x="15857" y="92148"/>
                        <a:pt x="0" y="73644"/>
                        <a:pt x="0" y="46074"/>
                      </a:cubicBezTo>
                      <a:cubicBezTo>
                        <a:pt x="0" y="18505"/>
                        <a:pt x="15857" y="0"/>
                        <a:pt x="39484" y="0"/>
                      </a:cubicBezTo>
                      <a:cubicBezTo>
                        <a:pt x="63111" y="0"/>
                        <a:pt x="78968" y="18505"/>
                        <a:pt x="78968" y="46074"/>
                      </a:cubicBezTo>
                      <a:cubicBezTo>
                        <a:pt x="78968" y="73644"/>
                        <a:pt x="63111" y="92148"/>
                        <a:pt x="39484" y="92148"/>
                      </a:cubicBezTo>
                      <a:close/>
                      <a:moveTo>
                        <a:pt x="39484" y="13152"/>
                      </a:moveTo>
                      <a:cubicBezTo>
                        <a:pt x="20059" y="13152"/>
                        <a:pt x="13152" y="30160"/>
                        <a:pt x="13152" y="46074"/>
                      </a:cubicBezTo>
                      <a:cubicBezTo>
                        <a:pt x="13152" y="61989"/>
                        <a:pt x="20059" y="78997"/>
                        <a:pt x="39484" y="78997"/>
                      </a:cubicBezTo>
                      <a:cubicBezTo>
                        <a:pt x="58909" y="78997"/>
                        <a:pt x="65816" y="61989"/>
                        <a:pt x="65816" y="46074"/>
                      </a:cubicBezTo>
                      <a:cubicBezTo>
                        <a:pt x="65816" y="30160"/>
                        <a:pt x="58881" y="13152"/>
                        <a:pt x="39484" y="13152"/>
                      </a:cubicBezTo>
                      <a:close/>
                    </a:path>
                  </a:pathLst>
                </a:custGeom>
                <a:grpFill/>
                <a:ln w="2874" cap="flat">
                  <a:noFill/>
                  <a:prstDash val="solid"/>
                  <a:miter/>
                </a:ln>
              </p:spPr>
              <p:txBody>
                <a:bodyPr rtlCol="0" anchor="ctr"/>
                <a:lstStyle/>
                <a:p>
                  <a:endParaRPr lang="en-GB" dirty="0"/>
                </a:p>
              </p:txBody>
            </p:sp>
            <p:grpSp>
              <p:nvGrpSpPr>
                <p:cNvPr id="456" name="Grafik 222">
                  <a:extLst>
                    <a:ext uri="{FF2B5EF4-FFF2-40B4-BE49-F238E27FC236}">
                      <a16:creationId xmlns:a16="http://schemas.microsoft.com/office/drawing/2014/main" id="{B3E5B13F-5325-4385-833B-F6C91BDBDED4}"/>
                    </a:ext>
                  </a:extLst>
                </p:cNvPr>
                <p:cNvGrpSpPr/>
                <p:nvPr/>
              </p:nvGrpSpPr>
              <p:grpSpPr>
                <a:xfrm>
                  <a:off x="831422" y="2052445"/>
                  <a:ext cx="539647" cy="72411"/>
                  <a:chOff x="831422" y="2052445"/>
                  <a:chExt cx="539647" cy="72411"/>
                </a:xfrm>
                <a:grpFill/>
              </p:grpSpPr>
              <p:sp>
                <p:nvSpPr>
                  <p:cNvPr id="458" name="Freihandform: Form 235">
                    <a:extLst>
                      <a:ext uri="{FF2B5EF4-FFF2-40B4-BE49-F238E27FC236}">
                        <a16:creationId xmlns:a16="http://schemas.microsoft.com/office/drawing/2014/main" id="{14D3B19D-5EB8-4F80-BBAB-4DC0E2F3811D}"/>
                      </a:ext>
                    </a:extLst>
                  </p:cNvPr>
                  <p:cNvSpPr/>
                  <p:nvPr/>
                </p:nvSpPr>
                <p:spPr>
                  <a:xfrm>
                    <a:off x="1005474" y="2052445"/>
                    <a:ext cx="184925" cy="72411"/>
                  </a:xfrm>
                  <a:custGeom>
                    <a:avLst/>
                    <a:gdLst>
                      <a:gd name="connsiteX0" fmla="*/ 178308 w 184925"/>
                      <a:gd name="connsiteY0" fmla="*/ 72406 h 72411"/>
                      <a:gd name="connsiteX1" fmla="*/ 171833 w 184925"/>
                      <a:gd name="connsiteY1" fmla="*/ 66852 h 72411"/>
                      <a:gd name="connsiteX2" fmla="*/ 115543 w 184925"/>
                      <a:gd name="connsiteY2" fmla="*/ 13152 h 72411"/>
                      <a:gd name="connsiteX3" fmla="*/ 69382 w 184925"/>
                      <a:gd name="connsiteY3" fmla="*/ 13152 h 72411"/>
                      <a:gd name="connsiteX4" fmla="*/ 13092 w 184925"/>
                      <a:gd name="connsiteY4" fmla="*/ 66852 h 72411"/>
                      <a:gd name="connsiteX5" fmla="*/ 5552 w 184925"/>
                      <a:gd name="connsiteY5" fmla="*/ 72320 h 72411"/>
                      <a:gd name="connsiteX6" fmla="*/ 84 w 184925"/>
                      <a:gd name="connsiteY6" fmla="*/ 64780 h 72411"/>
                      <a:gd name="connsiteX7" fmla="*/ 69382 w 184925"/>
                      <a:gd name="connsiteY7" fmla="*/ 0 h 72411"/>
                      <a:gd name="connsiteX8" fmla="*/ 115543 w 184925"/>
                      <a:gd name="connsiteY8" fmla="*/ 0 h 72411"/>
                      <a:gd name="connsiteX9" fmla="*/ 184841 w 184925"/>
                      <a:gd name="connsiteY9" fmla="*/ 64780 h 72411"/>
                      <a:gd name="connsiteX10" fmla="*/ 179373 w 184925"/>
                      <a:gd name="connsiteY10" fmla="*/ 72320 h 72411"/>
                      <a:gd name="connsiteX11" fmla="*/ 178308 w 184925"/>
                      <a:gd name="connsiteY11" fmla="*/ 72406 h 7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925" h="72411">
                        <a:moveTo>
                          <a:pt x="178308" y="72406"/>
                        </a:moveTo>
                        <a:cubicBezTo>
                          <a:pt x="175143" y="72406"/>
                          <a:pt x="172351" y="70104"/>
                          <a:pt x="171833" y="66852"/>
                        </a:cubicBezTo>
                        <a:cubicBezTo>
                          <a:pt x="166682" y="34736"/>
                          <a:pt x="144062" y="13152"/>
                          <a:pt x="115543" y="13152"/>
                        </a:cubicBezTo>
                        <a:lnTo>
                          <a:pt x="69382" y="13152"/>
                        </a:lnTo>
                        <a:cubicBezTo>
                          <a:pt x="40863" y="13152"/>
                          <a:pt x="18243" y="34736"/>
                          <a:pt x="13092" y="66852"/>
                        </a:cubicBezTo>
                        <a:cubicBezTo>
                          <a:pt x="12516" y="70449"/>
                          <a:pt x="9178" y="72924"/>
                          <a:pt x="5552" y="72320"/>
                        </a:cubicBezTo>
                        <a:cubicBezTo>
                          <a:pt x="1955" y="71745"/>
                          <a:pt x="-492" y="68377"/>
                          <a:pt x="84" y="64780"/>
                        </a:cubicBezTo>
                        <a:cubicBezTo>
                          <a:pt x="6300" y="26044"/>
                          <a:pt x="34129" y="0"/>
                          <a:pt x="69382" y="0"/>
                        </a:cubicBezTo>
                        <a:lnTo>
                          <a:pt x="115543" y="0"/>
                        </a:lnTo>
                        <a:cubicBezTo>
                          <a:pt x="150768" y="0"/>
                          <a:pt x="178625" y="26044"/>
                          <a:pt x="184841" y="64780"/>
                        </a:cubicBezTo>
                        <a:cubicBezTo>
                          <a:pt x="185417" y="68377"/>
                          <a:pt x="182971" y="71745"/>
                          <a:pt x="179373" y="72320"/>
                        </a:cubicBezTo>
                        <a:cubicBezTo>
                          <a:pt x="179028" y="72378"/>
                          <a:pt x="178654" y="72406"/>
                          <a:pt x="178308" y="72406"/>
                        </a:cubicBezTo>
                        <a:close/>
                      </a:path>
                    </a:pathLst>
                  </a:custGeom>
                  <a:grpFill/>
                  <a:ln w="2874" cap="flat">
                    <a:noFill/>
                    <a:prstDash val="solid"/>
                    <a:miter/>
                  </a:ln>
                </p:spPr>
                <p:txBody>
                  <a:bodyPr rtlCol="0" anchor="ctr"/>
                  <a:lstStyle/>
                  <a:p>
                    <a:endParaRPr lang="en-GB" dirty="0"/>
                  </a:p>
                </p:txBody>
              </p:sp>
              <p:sp>
                <p:nvSpPr>
                  <p:cNvPr id="459" name="Freihandform: Form 236">
                    <a:extLst>
                      <a:ext uri="{FF2B5EF4-FFF2-40B4-BE49-F238E27FC236}">
                        <a16:creationId xmlns:a16="http://schemas.microsoft.com/office/drawing/2014/main" id="{980B9832-1F42-4CF9-BFC0-6CCB8889C4BD}"/>
                      </a:ext>
                    </a:extLst>
                  </p:cNvPr>
                  <p:cNvSpPr/>
                  <p:nvPr/>
                </p:nvSpPr>
                <p:spPr>
                  <a:xfrm>
                    <a:off x="831422" y="2052445"/>
                    <a:ext cx="184867" cy="72411"/>
                  </a:xfrm>
                  <a:custGeom>
                    <a:avLst/>
                    <a:gdLst>
                      <a:gd name="connsiteX0" fmla="*/ 178308 w 184867"/>
                      <a:gd name="connsiteY0" fmla="*/ 72406 h 72411"/>
                      <a:gd name="connsiteX1" fmla="*/ 171833 w 184867"/>
                      <a:gd name="connsiteY1" fmla="*/ 66852 h 72411"/>
                      <a:gd name="connsiteX2" fmla="*/ 115543 w 184867"/>
                      <a:gd name="connsiteY2" fmla="*/ 13152 h 72411"/>
                      <a:gd name="connsiteX3" fmla="*/ 69382 w 184867"/>
                      <a:gd name="connsiteY3" fmla="*/ 13152 h 72411"/>
                      <a:gd name="connsiteX4" fmla="*/ 13092 w 184867"/>
                      <a:gd name="connsiteY4" fmla="*/ 66852 h 72411"/>
                      <a:gd name="connsiteX5" fmla="*/ 5552 w 184867"/>
                      <a:gd name="connsiteY5" fmla="*/ 72320 h 72411"/>
                      <a:gd name="connsiteX6" fmla="*/ 84 w 184867"/>
                      <a:gd name="connsiteY6" fmla="*/ 64780 h 72411"/>
                      <a:gd name="connsiteX7" fmla="*/ 69353 w 184867"/>
                      <a:gd name="connsiteY7" fmla="*/ 0 h 72411"/>
                      <a:gd name="connsiteX8" fmla="*/ 115514 w 184867"/>
                      <a:gd name="connsiteY8" fmla="*/ 0 h 72411"/>
                      <a:gd name="connsiteX9" fmla="*/ 184784 w 184867"/>
                      <a:gd name="connsiteY9" fmla="*/ 64780 h 72411"/>
                      <a:gd name="connsiteX10" fmla="*/ 179316 w 184867"/>
                      <a:gd name="connsiteY10" fmla="*/ 72320 h 72411"/>
                      <a:gd name="connsiteX11" fmla="*/ 178308 w 184867"/>
                      <a:gd name="connsiteY11" fmla="*/ 72406 h 7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867" h="72411">
                        <a:moveTo>
                          <a:pt x="178308" y="72406"/>
                        </a:moveTo>
                        <a:cubicBezTo>
                          <a:pt x="175143" y="72406"/>
                          <a:pt x="172351" y="70104"/>
                          <a:pt x="171833" y="66852"/>
                        </a:cubicBezTo>
                        <a:cubicBezTo>
                          <a:pt x="166682" y="34736"/>
                          <a:pt x="144062" y="13152"/>
                          <a:pt x="115543" y="13152"/>
                        </a:cubicBezTo>
                        <a:lnTo>
                          <a:pt x="69382" y="13152"/>
                        </a:lnTo>
                        <a:cubicBezTo>
                          <a:pt x="40863" y="13152"/>
                          <a:pt x="18243" y="34736"/>
                          <a:pt x="13092" y="66852"/>
                        </a:cubicBezTo>
                        <a:cubicBezTo>
                          <a:pt x="12516" y="70449"/>
                          <a:pt x="9178" y="72924"/>
                          <a:pt x="5552" y="72320"/>
                        </a:cubicBezTo>
                        <a:cubicBezTo>
                          <a:pt x="1955" y="71745"/>
                          <a:pt x="-492" y="68377"/>
                          <a:pt x="84" y="64780"/>
                        </a:cubicBezTo>
                        <a:cubicBezTo>
                          <a:pt x="6300" y="26044"/>
                          <a:pt x="34129" y="0"/>
                          <a:pt x="69353" y="0"/>
                        </a:cubicBezTo>
                        <a:lnTo>
                          <a:pt x="115514" y="0"/>
                        </a:lnTo>
                        <a:cubicBezTo>
                          <a:pt x="150739" y="0"/>
                          <a:pt x="178596" y="26044"/>
                          <a:pt x="184784" y="64780"/>
                        </a:cubicBezTo>
                        <a:cubicBezTo>
                          <a:pt x="185359" y="68377"/>
                          <a:pt x="182913" y="71745"/>
                          <a:pt x="179316" y="72320"/>
                        </a:cubicBezTo>
                        <a:cubicBezTo>
                          <a:pt x="178999" y="72378"/>
                          <a:pt x="178654" y="72406"/>
                          <a:pt x="178308" y="72406"/>
                        </a:cubicBezTo>
                        <a:close/>
                      </a:path>
                    </a:pathLst>
                  </a:custGeom>
                  <a:grpFill/>
                  <a:ln w="2874" cap="flat">
                    <a:noFill/>
                    <a:prstDash val="solid"/>
                    <a:miter/>
                  </a:ln>
                </p:spPr>
                <p:txBody>
                  <a:bodyPr rtlCol="0" anchor="ctr"/>
                  <a:lstStyle/>
                  <a:p>
                    <a:endParaRPr lang="en-GB" dirty="0"/>
                  </a:p>
                </p:txBody>
              </p:sp>
              <p:sp>
                <p:nvSpPr>
                  <p:cNvPr id="460" name="Freihandform: Form 237">
                    <a:extLst>
                      <a:ext uri="{FF2B5EF4-FFF2-40B4-BE49-F238E27FC236}">
                        <a16:creationId xmlns:a16="http://schemas.microsoft.com/office/drawing/2014/main" id="{7FA10267-4369-47EE-A534-367308345F50}"/>
                      </a:ext>
                    </a:extLst>
                  </p:cNvPr>
                  <p:cNvSpPr/>
                  <p:nvPr/>
                </p:nvSpPr>
                <p:spPr>
                  <a:xfrm>
                    <a:off x="1186202" y="2052445"/>
                    <a:ext cx="184867" cy="72411"/>
                  </a:xfrm>
                  <a:custGeom>
                    <a:avLst/>
                    <a:gdLst>
                      <a:gd name="connsiteX0" fmla="*/ 6617 w 184867"/>
                      <a:gd name="connsiteY0" fmla="*/ 72406 h 72411"/>
                      <a:gd name="connsiteX1" fmla="*/ 5552 w 184867"/>
                      <a:gd name="connsiteY1" fmla="*/ 72320 h 72411"/>
                      <a:gd name="connsiteX2" fmla="*/ 84 w 184867"/>
                      <a:gd name="connsiteY2" fmla="*/ 64780 h 72411"/>
                      <a:gd name="connsiteX3" fmla="*/ 69354 w 184867"/>
                      <a:gd name="connsiteY3" fmla="*/ 0 h 72411"/>
                      <a:gd name="connsiteX4" fmla="*/ 115514 w 184867"/>
                      <a:gd name="connsiteY4" fmla="*/ 0 h 72411"/>
                      <a:gd name="connsiteX5" fmla="*/ 184784 w 184867"/>
                      <a:gd name="connsiteY5" fmla="*/ 64780 h 72411"/>
                      <a:gd name="connsiteX6" fmla="*/ 179316 w 184867"/>
                      <a:gd name="connsiteY6" fmla="*/ 72320 h 72411"/>
                      <a:gd name="connsiteX7" fmla="*/ 171776 w 184867"/>
                      <a:gd name="connsiteY7" fmla="*/ 66852 h 72411"/>
                      <a:gd name="connsiteX8" fmla="*/ 115485 w 184867"/>
                      <a:gd name="connsiteY8" fmla="*/ 13152 h 72411"/>
                      <a:gd name="connsiteX9" fmla="*/ 69325 w 184867"/>
                      <a:gd name="connsiteY9" fmla="*/ 13152 h 72411"/>
                      <a:gd name="connsiteX10" fmla="*/ 13034 w 184867"/>
                      <a:gd name="connsiteY10" fmla="*/ 66852 h 72411"/>
                      <a:gd name="connsiteX11" fmla="*/ 6617 w 184867"/>
                      <a:gd name="connsiteY11" fmla="*/ 72406 h 7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4867" h="72411">
                        <a:moveTo>
                          <a:pt x="6617" y="72406"/>
                        </a:moveTo>
                        <a:cubicBezTo>
                          <a:pt x="6271" y="72406"/>
                          <a:pt x="5926" y="72378"/>
                          <a:pt x="5552" y="72320"/>
                        </a:cubicBezTo>
                        <a:cubicBezTo>
                          <a:pt x="1954" y="71745"/>
                          <a:pt x="-492" y="68377"/>
                          <a:pt x="84" y="64780"/>
                        </a:cubicBezTo>
                        <a:cubicBezTo>
                          <a:pt x="6300" y="26044"/>
                          <a:pt x="34129" y="0"/>
                          <a:pt x="69354" y="0"/>
                        </a:cubicBezTo>
                        <a:lnTo>
                          <a:pt x="115514" y="0"/>
                        </a:lnTo>
                        <a:cubicBezTo>
                          <a:pt x="150739" y="0"/>
                          <a:pt x="178596" y="26016"/>
                          <a:pt x="184784" y="64780"/>
                        </a:cubicBezTo>
                        <a:cubicBezTo>
                          <a:pt x="185359" y="68377"/>
                          <a:pt x="182913" y="71745"/>
                          <a:pt x="179316" y="72320"/>
                        </a:cubicBezTo>
                        <a:cubicBezTo>
                          <a:pt x="175690" y="72924"/>
                          <a:pt x="172351" y="70449"/>
                          <a:pt x="171776" y="66852"/>
                        </a:cubicBezTo>
                        <a:cubicBezTo>
                          <a:pt x="166624" y="34736"/>
                          <a:pt x="144005" y="13152"/>
                          <a:pt x="115485" y="13152"/>
                        </a:cubicBezTo>
                        <a:lnTo>
                          <a:pt x="69325" y="13152"/>
                        </a:lnTo>
                        <a:cubicBezTo>
                          <a:pt x="40805" y="13152"/>
                          <a:pt x="18186" y="34736"/>
                          <a:pt x="13034" y="66852"/>
                        </a:cubicBezTo>
                        <a:cubicBezTo>
                          <a:pt x="12603" y="70104"/>
                          <a:pt x="9811" y="72406"/>
                          <a:pt x="6617" y="72406"/>
                        </a:cubicBezTo>
                        <a:close/>
                      </a:path>
                    </a:pathLst>
                  </a:custGeom>
                  <a:grpFill/>
                  <a:ln w="2874" cap="flat">
                    <a:noFill/>
                    <a:prstDash val="solid"/>
                    <a:miter/>
                  </a:ln>
                </p:spPr>
                <p:txBody>
                  <a:bodyPr rtlCol="0" anchor="ctr"/>
                  <a:lstStyle/>
                  <a:p>
                    <a:endParaRPr lang="en-GB" dirty="0"/>
                  </a:p>
                </p:txBody>
              </p:sp>
            </p:grpSp>
            <p:sp>
              <p:nvSpPr>
                <p:cNvPr id="457" name="Freihandform: Form 238">
                  <a:extLst>
                    <a:ext uri="{FF2B5EF4-FFF2-40B4-BE49-F238E27FC236}">
                      <a16:creationId xmlns:a16="http://schemas.microsoft.com/office/drawing/2014/main" id="{8016FB53-20E7-49BF-BD46-03B1AE23D13E}"/>
                    </a:ext>
                  </a:extLst>
                </p:cNvPr>
                <p:cNvSpPr/>
                <p:nvPr/>
              </p:nvSpPr>
              <p:spPr>
                <a:xfrm>
                  <a:off x="1239181" y="1947145"/>
                  <a:ext cx="78967" cy="92148"/>
                </a:xfrm>
                <a:custGeom>
                  <a:avLst/>
                  <a:gdLst>
                    <a:gd name="connsiteX0" fmla="*/ 39484 w 78967"/>
                    <a:gd name="connsiteY0" fmla="*/ 92148 h 92148"/>
                    <a:gd name="connsiteX1" fmla="*/ 0 w 78967"/>
                    <a:gd name="connsiteY1" fmla="*/ 46074 h 92148"/>
                    <a:gd name="connsiteX2" fmla="*/ 39484 w 78967"/>
                    <a:gd name="connsiteY2" fmla="*/ 0 h 92148"/>
                    <a:gd name="connsiteX3" fmla="*/ 78968 w 78967"/>
                    <a:gd name="connsiteY3" fmla="*/ 46074 h 92148"/>
                    <a:gd name="connsiteX4" fmla="*/ 39484 w 78967"/>
                    <a:gd name="connsiteY4" fmla="*/ 92148 h 92148"/>
                    <a:gd name="connsiteX5" fmla="*/ 39484 w 78967"/>
                    <a:gd name="connsiteY5" fmla="*/ 13152 h 92148"/>
                    <a:gd name="connsiteX6" fmla="*/ 13152 w 78967"/>
                    <a:gd name="connsiteY6" fmla="*/ 46074 h 92148"/>
                    <a:gd name="connsiteX7" fmla="*/ 39484 w 78967"/>
                    <a:gd name="connsiteY7" fmla="*/ 78997 h 92148"/>
                    <a:gd name="connsiteX8" fmla="*/ 65816 w 78967"/>
                    <a:gd name="connsiteY8" fmla="*/ 46074 h 92148"/>
                    <a:gd name="connsiteX9" fmla="*/ 39484 w 78967"/>
                    <a:gd name="connsiteY9" fmla="*/ 13152 h 9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67" h="92148">
                      <a:moveTo>
                        <a:pt x="39484" y="92148"/>
                      </a:moveTo>
                      <a:cubicBezTo>
                        <a:pt x="15857" y="92148"/>
                        <a:pt x="0" y="73644"/>
                        <a:pt x="0" y="46074"/>
                      </a:cubicBezTo>
                      <a:cubicBezTo>
                        <a:pt x="0" y="18505"/>
                        <a:pt x="15857" y="0"/>
                        <a:pt x="39484" y="0"/>
                      </a:cubicBezTo>
                      <a:cubicBezTo>
                        <a:pt x="63111" y="0"/>
                        <a:pt x="78968" y="18505"/>
                        <a:pt x="78968" y="46074"/>
                      </a:cubicBezTo>
                      <a:cubicBezTo>
                        <a:pt x="78968" y="73644"/>
                        <a:pt x="63111" y="92148"/>
                        <a:pt x="39484" y="92148"/>
                      </a:cubicBezTo>
                      <a:close/>
                      <a:moveTo>
                        <a:pt x="39484" y="13152"/>
                      </a:moveTo>
                      <a:cubicBezTo>
                        <a:pt x="20059" y="13152"/>
                        <a:pt x="13152" y="30160"/>
                        <a:pt x="13152" y="46074"/>
                      </a:cubicBezTo>
                      <a:cubicBezTo>
                        <a:pt x="13152" y="61989"/>
                        <a:pt x="20059" y="78997"/>
                        <a:pt x="39484" y="78997"/>
                      </a:cubicBezTo>
                      <a:cubicBezTo>
                        <a:pt x="58909" y="78997"/>
                        <a:pt x="65816" y="61989"/>
                        <a:pt x="65816" y="46074"/>
                      </a:cubicBezTo>
                      <a:cubicBezTo>
                        <a:pt x="65816" y="30160"/>
                        <a:pt x="58909" y="13152"/>
                        <a:pt x="39484" y="13152"/>
                      </a:cubicBezTo>
                      <a:close/>
                    </a:path>
                  </a:pathLst>
                </a:custGeom>
                <a:grpFill/>
                <a:ln w="2874" cap="flat">
                  <a:noFill/>
                  <a:prstDash val="solid"/>
                  <a:miter/>
                </a:ln>
              </p:spPr>
              <p:txBody>
                <a:bodyPr rtlCol="0" anchor="ctr"/>
                <a:lstStyle/>
                <a:p>
                  <a:endParaRPr lang="en-GB" dirty="0"/>
                </a:p>
              </p:txBody>
            </p:sp>
          </p:grpSp>
        </p:grpSp>
      </p:grpSp>
      <p:grpSp>
        <p:nvGrpSpPr>
          <p:cNvPr id="666" name="Group 665">
            <a:extLst>
              <a:ext uri="{FF2B5EF4-FFF2-40B4-BE49-F238E27FC236}">
                <a16:creationId xmlns:a16="http://schemas.microsoft.com/office/drawing/2014/main" id="{CD59CFBE-5FF1-005A-46E7-D386AA5F6ACA}"/>
              </a:ext>
            </a:extLst>
          </p:cNvPr>
          <p:cNvGrpSpPr/>
          <p:nvPr/>
        </p:nvGrpSpPr>
        <p:grpSpPr>
          <a:xfrm>
            <a:off x="5968398" y="2439390"/>
            <a:ext cx="576001" cy="336272"/>
            <a:chOff x="5967986" y="2439390"/>
            <a:chExt cx="576001" cy="336272"/>
          </a:xfrm>
        </p:grpSpPr>
        <p:grpSp>
          <p:nvGrpSpPr>
            <p:cNvPr id="479" name="Grafik 222">
              <a:extLst>
                <a:ext uri="{FF2B5EF4-FFF2-40B4-BE49-F238E27FC236}">
                  <a16:creationId xmlns:a16="http://schemas.microsoft.com/office/drawing/2014/main" id="{6AE8CBBE-3202-4520-94B7-D88B88E9F384}"/>
                </a:ext>
              </a:extLst>
            </p:cNvPr>
            <p:cNvGrpSpPr/>
            <p:nvPr/>
          </p:nvGrpSpPr>
          <p:grpSpPr>
            <a:xfrm>
              <a:off x="5967986" y="2495270"/>
              <a:ext cx="262694" cy="280392"/>
              <a:chOff x="3358824" y="2631610"/>
              <a:chExt cx="209682" cy="223809"/>
            </a:xfrm>
            <a:solidFill>
              <a:schemeClr val="accent1"/>
            </a:solidFill>
          </p:grpSpPr>
          <p:sp>
            <p:nvSpPr>
              <p:cNvPr id="484" name="Freihandform: Form 352">
                <a:extLst>
                  <a:ext uri="{FF2B5EF4-FFF2-40B4-BE49-F238E27FC236}">
                    <a16:creationId xmlns:a16="http://schemas.microsoft.com/office/drawing/2014/main" id="{37C0DE5C-8EDD-41DE-AEC2-1115ECB182CF}"/>
                  </a:ext>
                </a:extLst>
              </p:cNvPr>
              <p:cNvSpPr/>
              <p:nvPr/>
            </p:nvSpPr>
            <p:spPr>
              <a:xfrm>
                <a:off x="3385157" y="2631610"/>
                <a:ext cx="183350" cy="197477"/>
              </a:xfrm>
              <a:custGeom>
                <a:avLst/>
                <a:gdLst>
                  <a:gd name="connsiteX0" fmla="*/ 92148 w 183350"/>
                  <a:gd name="connsiteY0" fmla="*/ 197477 h 197477"/>
                  <a:gd name="connsiteX1" fmla="*/ 85558 w 183350"/>
                  <a:gd name="connsiteY1" fmla="*/ 190887 h 197477"/>
                  <a:gd name="connsiteX2" fmla="*/ 85558 w 183350"/>
                  <a:gd name="connsiteY2" fmla="*/ 105329 h 197477"/>
                  <a:gd name="connsiteX3" fmla="*/ 6590 w 183350"/>
                  <a:gd name="connsiteY3" fmla="*/ 105329 h 197477"/>
                  <a:gd name="connsiteX4" fmla="*/ 0 w 183350"/>
                  <a:gd name="connsiteY4" fmla="*/ 98739 h 197477"/>
                  <a:gd name="connsiteX5" fmla="*/ 92148 w 183350"/>
                  <a:gd name="connsiteY5" fmla="*/ 0 h 197477"/>
                  <a:gd name="connsiteX6" fmla="*/ 183290 w 183350"/>
                  <a:gd name="connsiteY6" fmla="*/ 84148 h 197477"/>
                  <a:gd name="connsiteX7" fmla="*/ 177678 w 183350"/>
                  <a:gd name="connsiteY7" fmla="*/ 91573 h 197477"/>
                  <a:gd name="connsiteX8" fmla="*/ 170253 w 183350"/>
                  <a:gd name="connsiteY8" fmla="*/ 85961 h 197477"/>
                  <a:gd name="connsiteX9" fmla="*/ 92148 w 183350"/>
                  <a:gd name="connsiteY9" fmla="*/ 13180 h 197477"/>
                  <a:gd name="connsiteX10" fmla="*/ 13411 w 183350"/>
                  <a:gd name="connsiteY10" fmla="*/ 92148 h 197477"/>
                  <a:gd name="connsiteX11" fmla="*/ 92148 w 183350"/>
                  <a:gd name="connsiteY11" fmla="*/ 92148 h 197477"/>
                  <a:gd name="connsiteX12" fmla="*/ 98739 w 183350"/>
                  <a:gd name="connsiteY12" fmla="*/ 98739 h 197477"/>
                  <a:gd name="connsiteX13" fmla="*/ 98739 w 183350"/>
                  <a:gd name="connsiteY13" fmla="*/ 184009 h 197477"/>
                  <a:gd name="connsiteX14" fmla="*/ 166569 w 183350"/>
                  <a:gd name="connsiteY14" fmla="*/ 127460 h 197477"/>
                  <a:gd name="connsiteX15" fmla="*/ 174886 w 183350"/>
                  <a:gd name="connsiteY15" fmla="*/ 123258 h 197477"/>
                  <a:gd name="connsiteX16" fmla="*/ 179088 w 183350"/>
                  <a:gd name="connsiteY16" fmla="*/ 131575 h 197477"/>
                  <a:gd name="connsiteX17" fmla="*/ 92148 w 183350"/>
                  <a:gd name="connsiteY17" fmla="*/ 197477 h 197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3350" h="197477">
                    <a:moveTo>
                      <a:pt x="92148" y="197477"/>
                    </a:moveTo>
                    <a:cubicBezTo>
                      <a:pt x="88522" y="197477"/>
                      <a:pt x="85558" y="194542"/>
                      <a:pt x="85558" y="190887"/>
                    </a:cubicBezTo>
                    <a:lnTo>
                      <a:pt x="85558" y="105329"/>
                    </a:lnTo>
                    <a:lnTo>
                      <a:pt x="6590" y="105329"/>
                    </a:lnTo>
                    <a:cubicBezTo>
                      <a:pt x="2964" y="105329"/>
                      <a:pt x="0" y="102393"/>
                      <a:pt x="0" y="98739"/>
                    </a:cubicBezTo>
                    <a:cubicBezTo>
                      <a:pt x="0" y="44290"/>
                      <a:pt x="41326" y="0"/>
                      <a:pt x="92148" y="0"/>
                    </a:cubicBezTo>
                    <a:cubicBezTo>
                      <a:pt x="137474" y="0"/>
                      <a:pt x="176670" y="36174"/>
                      <a:pt x="183290" y="84148"/>
                    </a:cubicBezTo>
                    <a:cubicBezTo>
                      <a:pt x="183779" y="87745"/>
                      <a:pt x="181275" y="91084"/>
                      <a:pt x="177678" y="91573"/>
                    </a:cubicBezTo>
                    <a:cubicBezTo>
                      <a:pt x="174052" y="92062"/>
                      <a:pt x="170742" y="89558"/>
                      <a:pt x="170253" y="85961"/>
                    </a:cubicBezTo>
                    <a:cubicBezTo>
                      <a:pt x="164526" y="44463"/>
                      <a:pt x="130942" y="13180"/>
                      <a:pt x="92148" y="13180"/>
                    </a:cubicBezTo>
                    <a:cubicBezTo>
                      <a:pt x="50650" y="13180"/>
                      <a:pt x="16519" y="48060"/>
                      <a:pt x="13411" y="92148"/>
                    </a:cubicBezTo>
                    <a:lnTo>
                      <a:pt x="92148" y="92148"/>
                    </a:lnTo>
                    <a:cubicBezTo>
                      <a:pt x="95774" y="92148"/>
                      <a:pt x="98739" y="95084"/>
                      <a:pt x="98739" y="98739"/>
                    </a:cubicBezTo>
                    <a:lnTo>
                      <a:pt x="98739" y="184009"/>
                    </a:lnTo>
                    <a:cubicBezTo>
                      <a:pt x="129388" y="181218"/>
                      <a:pt x="156123" y="159202"/>
                      <a:pt x="166569" y="127460"/>
                    </a:cubicBezTo>
                    <a:cubicBezTo>
                      <a:pt x="167720" y="124006"/>
                      <a:pt x="171433" y="122136"/>
                      <a:pt x="174886" y="123258"/>
                    </a:cubicBezTo>
                    <a:cubicBezTo>
                      <a:pt x="178340" y="124409"/>
                      <a:pt x="180210" y="128121"/>
                      <a:pt x="179088" y="131575"/>
                    </a:cubicBezTo>
                    <a:cubicBezTo>
                      <a:pt x="166138" y="171001"/>
                      <a:pt x="131201" y="197477"/>
                      <a:pt x="92148" y="197477"/>
                    </a:cubicBezTo>
                    <a:close/>
                  </a:path>
                </a:pathLst>
              </a:custGeom>
              <a:solidFill>
                <a:schemeClr val="accent1"/>
              </a:solidFill>
              <a:ln w="2874" cap="flat">
                <a:noFill/>
                <a:prstDash val="solid"/>
                <a:miter/>
              </a:ln>
            </p:spPr>
            <p:txBody>
              <a:bodyPr rtlCol="0" anchor="ctr"/>
              <a:lstStyle/>
              <a:p>
                <a:endParaRPr lang="en-GB" dirty="0"/>
              </a:p>
            </p:txBody>
          </p:sp>
          <p:sp>
            <p:nvSpPr>
              <p:cNvPr id="485" name="Freihandform: Form 353">
                <a:extLst>
                  <a:ext uri="{FF2B5EF4-FFF2-40B4-BE49-F238E27FC236}">
                    <a16:creationId xmlns:a16="http://schemas.microsoft.com/office/drawing/2014/main" id="{DC0C0869-2F56-4BB2-A0FB-F25E421F811F}"/>
                  </a:ext>
                </a:extLst>
              </p:cNvPr>
              <p:cNvSpPr/>
              <p:nvPr/>
            </p:nvSpPr>
            <p:spPr>
              <a:xfrm>
                <a:off x="3358824" y="2750091"/>
                <a:ext cx="98738" cy="105328"/>
              </a:xfrm>
              <a:custGeom>
                <a:avLst/>
                <a:gdLst>
                  <a:gd name="connsiteX0" fmla="*/ 92148 w 98738"/>
                  <a:gd name="connsiteY0" fmla="*/ 105329 h 105328"/>
                  <a:gd name="connsiteX1" fmla="*/ 0 w 98738"/>
                  <a:gd name="connsiteY1" fmla="*/ 6590 h 105328"/>
                  <a:gd name="connsiteX2" fmla="*/ 6590 w 98738"/>
                  <a:gd name="connsiteY2" fmla="*/ 0 h 105328"/>
                  <a:gd name="connsiteX3" fmla="*/ 92148 w 98738"/>
                  <a:gd name="connsiteY3" fmla="*/ 0 h 105328"/>
                  <a:gd name="connsiteX4" fmla="*/ 98739 w 98738"/>
                  <a:gd name="connsiteY4" fmla="*/ 6590 h 105328"/>
                  <a:gd name="connsiteX5" fmla="*/ 98739 w 98738"/>
                  <a:gd name="connsiteY5" fmla="*/ 98739 h 105328"/>
                  <a:gd name="connsiteX6" fmla="*/ 92148 w 98738"/>
                  <a:gd name="connsiteY6" fmla="*/ 105329 h 105328"/>
                  <a:gd name="connsiteX7" fmla="*/ 13411 w 98738"/>
                  <a:gd name="connsiteY7" fmla="*/ 13180 h 105328"/>
                  <a:gd name="connsiteX8" fmla="*/ 85587 w 98738"/>
                  <a:gd name="connsiteY8" fmla="*/ 91861 h 105328"/>
                  <a:gd name="connsiteX9" fmla="*/ 85587 w 98738"/>
                  <a:gd name="connsiteY9" fmla="*/ 13180 h 105328"/>
                  <a:gd name="connsiteX10" fmla="*/ 13411 w 98738"/>
                  <a:gd name="connsiteY10" fmla="*/ 13180 h 105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8738" h="105328">
                    <a:moveTo>
                      <a:pt x="92148" y="105329"/>
                    </a:moveTo>
                    <a:cubicBezTo>
                      <a:pt x="41326" y="105329"/>
                      <a:pt x="0" y="61039"/>
                      <a:pt x="0" y="6590"/>
                    </a:cubicBezTo>
                    <a:cubicBezTo>
                      <a:pt x="0" y="2964"/>
                      <a:pt x="2935" y="0"/>
                      <a:pt x="6590" y="0"/>
                    </a:cubicBezTo>
                    <a:lnTo>
                      <a:pt x="92148" y="0"/>
                    </a:lnTo>
                    <a:cubicBezTo>
                      <a:pt x="95775" y="0"/>
                      <a:pt x="98739" y="2935"/>
                      <a:pt x="98739" y="6590"/>
                    </a:cubicBezTo>
                    <a:lnTo>
                      <a:pt x="98739" y="98739"/>
                    </a:lnTo>
                    <a:cubicBezTo>
                      <a:pt x="98739" y="102393"/>
                      <a:pt x="95803" y="105329"/>
                      <a:pt x="92148" y="105329"/>
                    </a:cubicBezTo>
                    <a:close/>
                    <a:moveTo>
                      <a:pt x="13411" y="13180"/>
                    </a:moveTo>
                    <a:cubicBezTo>
                      <a:pt x="16346" y="54938"/>
                      <a:pt x="47110" y="88407"/>
                      <a:pt x="85587" y="91861"/>
                    </a:cubicBezTo>
                    <a:lnTo>
                      <a:pt x="85587" y="13180"/>
                    </a:lnTo>
                    <a:lnTo>
                      <a:pt x="13411" y="13180"/>
                    </a:lnTo>
                    <a:close/>
                  </a:path>
                </a:pathLst>
              </a:custGeom>
              <a:solidFill>
                <a:schemeClr val="accent1"/>
              </a:solidFill>
              <a:ln w="2874" cap="flat">
                <a:noFill/>
                <a:prstDash val="solid"/>
                <a:miter/>
              </a:ln>
            </p:spPr>
            <p:txBody>
              <a:bodyPr rtlCol="0" anchor="ctr"/>
              <a:lstStyle/>
              <a:p>
                <a:endParaRPr lang="en-GB" dirty="0"/>
              </a:p>
            </p:txBody>
          </p:sp>
        </p:grpSp>
        <p:grpSp>
          <p:nvGrpSpPr>
            <p:cNvPr id="480" name="Grafik 222">
              <a:extLst>
                <a:ext uri="{FF2B5EF4-FFF2-40B4-BE49-F238E27FC236}">
                  <a16:creationId xmlns:a16="http://schemas.microsoft.com/office/drawing/2014/main" id="{BE28CFA2-8F82-41C1-A614-1618CBAA69F1}"/>
                </a:ext>
              </a:extLst>
            </p:cNvPr>
            <p:cNvGrpSpPr/>
            <p:nvPr/>
          </p:nvGrpSpPr>
          <p:grpSpPr>
            <a:xfrm>
              <a:off x="6138091" y="2439390"/>
              <a:ext cx="405896" cy="223567"/>
              <a:chOff x="3494601" y="2587007"/>
              <a:chExt cx="323986" cy="178451"/>
            </a:xfrm>
            <a:solidFill>
              <a:schemeClr val="tx2"/>
            </a:solidFill>
          </p:grpSpPr>
          <p:sp>
            <p:nvSpPr>
              <p:cNvPr id="481" name="Freihandform: Form 355">
                <a:extLst>
                  <a:ext uri="{FF2B5EF4-FFF2-40B4-BE49-F238E27FC236}">
                    <a16:creationId xmlns:a16="http://schemas.microsoft.com/office/drawing/2014/main" id="{59D546C0-FBFD-44FE-8892-ABF40A50ABE8}"/>
                  </a:ext>
                </a:extLst>
              </p:cNvPr>
              <p:cNvSpPr/>
              <p:nvPr/>
            </p:nvSpPr>
            <p:spPr>
              <a:xfrm>
                <a:off x="3494601" y="2587007"/>
                <a:ext cx="241623" cy="42588"/>
              </a:xfrm>
              <a:custGeom>
                <a:avLst/>
                <a:gdLst>
                  <a:gd name="connsiteX0" fmla="*/ 14591 w 241623"/>
                  <a:gd name="connsiteY0" fmla="*/ 42589 h 42588"/>
                  <a:gd name="connsiteX1" fmla="*/ 0 w 241623"/>
                  <a:gd name="connsiteY1" fmla="*/ 37639 h 42588"/>
                  <a:gd name="connsiteX2" fmla="*/ 40319 w 241623"/>
                  <a:gd name="connsiteY2" fmla="*/ 7076 h 42588"/>
                  <a:gd name="connsiteX3" fmla="*/ 66622 w 241623"/>
                  <a:gd name="connsiteY3" fmla="*/ 428 h 42588"/>
                  <a:gd name="connsiteX4" fmla="*/ 241623 w 241623"/>
                  <a:gd name="connsiteY4" fmla="*/ 27969 h 42588"/>
                  <a:gd name="connsiteX5" fmla="*/ 239580 w 241623"/>
                  <a:gd name="connsiteY5" fmla="*/ 40977 h 42588"/>
                  <a:gd name="connsiteX6" fmla="*/ 64579 w 241623"/>
                  <a:gd name="connsiteY6" fmla="*/ 13436 h 42588"/>
                  <a:gd name="connsiteX7" fmla="*/ 48261 w 241623"/>
                  <a:gd name="connsiteY7" fmla="*/ 17580 h 42588"/>
                  <a:gd name="connsiteX8" fmla="*/ 14591 w 241623"/>
                  <a:gd name="connsiteY8" fmla="*/ 42589 h 4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1623" h="42588">
                    <a:moveTo>
                      <a:pt x="14591" y="42589"/>
                    </a:moveTo>
                    <a:lnTo>
                      <a:pt x="0" y="37639"/>
                    </a:lnTo>
                    <a:lnTo>
                      <a:pt x="40319" y="7076"/>
                    </a:lnTo>
                    <a:cubicBezTo>
                      <a:pt x="47715" y="1407"/>
                      <a:pt x="57298" y="-1068"/>
                      <a:pt x="66622" y="428"/>
                    </a:cubicBezTo>
                    <a:lnTo>
                      <a:pt x="241623" y="27969"/>
                    </a:lnTo>
                    <a:lnTo>
                      <a:pt x="239580" y="40977"/>
                    </a:lnTo>
                    <a:lnTo>
                      <a:pt x="64579" y="13436"/>
                    </a:lnTo>
                    <a:cubicBezTo>
                      <a:pt x="58852" y="12515"/>
                      <a:pt x="52895" y="14040"/>
                      <a:pt x="48261" y="17580"/>
                    </a:cubicBezTo>
                    <a:lnTo>
                      <a:pt x="14591" y="42589"/>
                    </a:lnTo>
                    <a:close/>
                  </a:path>
                </a:pathLst>
              </a:custGeom>
              <a:grpFill/>
              <a:ln w="2874" cap="flat">
                <a:noFill/>
                <a:prstDash val="solid"/>
                <a:miter/>
              </a:ln>
            </p:spPr>
            <p:txBody>
              <a:bodyPr rtlCol="0" anchor="ctr"/>
              <a:lstStyle/>
              <a:p>
                <a:endParaRPr lang="en-GB" dirty="0"/>
              </a:p>
            </p:txBody>
          </p:sp>
          <p:sp>
            <p:nvSpPr>
              <p:cNvPr id="482" name="Freihandform: Form 356">
                <a:extLst>
                  <a:ext uri="{FF2B5EF4-FFF2-40B4-BE49-F238E27FC236}">
                    <a16:creationId xmlns:a16="http://schemas.microsoft.com/office/drawing/2014/main" id="{3293FFDA-384D-44DC-AD55-0CAF0ACF7D34}"/>
                  </a:ext>
                </a:extLst>
              </p:cNvPr>
              <p:cNvSpPr/>
              <p:nvPr/>
            </p:nvSpPr>
            <p:spPr>
              <a:xfrm>
                <a:off x="3520167" y="2641190"/>
                <a:ext cx="212114" cy="124268"/>
              </a:xfrm>
              <a:custGeom>
                <a:avLst/>
                <a:gdLst>
                  <a:gd name="connsiteX0" fmla="*/ 6608 w 212114"/>
                  <a:gd name="connsiteY0" fmla="*/ 124269 h 124268"/>
                  <a:gd name="connsiteX1" fmla="*/ 46 w 212114"/>
                  <a:gd name="connsiteY1" fmla="*/ 118053 h 124268"/>
                  <a:gd name="connsiteX2" fmla="*/ 11615 w 212114"/>
                  <a:gd name="connsiteY2" fmla="*/ 81907 h 124268"/>
                  <a:gd name="connsiteX3" fmla="*/ 37199 w 212114"/>
                  <a:gd name="connsiteY3" fmla="*/ 71604 h 124268"/>
                  <a:gd name="connsiteX4" fmla="*/ 80741 w 212114"/>
                  <a:gd name="connsiteY4" fmla="*/ 71547 h 124268"/>
                  <a:gd name="connsiteX5" fmla="*/ 96310 w 212114"/>
                  <a:gd name="connsiteY5" fmla="*/ 58165 h 124268"/>
                  <a:gd name="connsiteX6" fmla="*/ 41861 w 212114"/>
                  <a:gd name="connsiteY6" fmla="*/ 14566 h 124268"/>
                  <a:gd name="connsiteX7" fmla="*/ 33026 w 212114"/>
                  <a:gd name="connsiteY7" fmla="*/ 20724 h 124268"/>
                  <a:gd name="connsiteX8" fmla="*/ 24192 w 212114"/>
                  <a:gd name="connsiteY8" fmla="*/ 11055 h 124268"/>
                  <a:gd name="connsiteX9" fmla="*/ 37717 w 212114"/>
                  <a:gd name="connsiteY9" fmla="*/ 1299 h 124268"/>
                  <a:gd name="connsiteX10" fmla="*/ 45200 w 212114"/>
                  <a:gd name="connsiteY10" fmla="*/ 1040 h 124268"/>
                  <a:gd name="connsiteX11" fmla="*/ 109491 w 212114"/>
                  <a:gd name="connsiteY11" fmla="*/ 58625 h 124268"/>
                  <a:gd name="connsiteX12" fmla="*/ 80770 w 212114"/>
                  <a:gd name="connsiteY12" fmla="*/ 84727 h 124268"/>
                  <a:gd name="connsiteX13" fmla="*/ 37228 w 212114"/>
                  <a:gd name="connsiteY13" fmla="*/ 84785 h 124268"/>
                  <a:gd name="connsiteX14" fmla="*/ 21198 w 212114"/>
                  <a:gd name="connsiteY14" fmla="*/ 90972 h 124268"/>
                  <a:gd name="connsiteX15" fmla="*/ 13457 w 212114"/>
                  <a:gd name="connsiteY15" fmla="*/ 111117 h 124268"/>
                  <a:gd name="connsiteX16" fmla="*/ 159968 w 212114"/>
                  <a:gd name="connsiteY16" fmla="*/ 110887 h 124268"/>
                  <a:gd name="connsiteX17" fmla="*/ 200948 w 212114"/>
                  <a:gd name="connsiteY17" fmla="*/ 80065 h 124268"/>
                  <a:gd name="connsiteX18" fmla="*/ 205754 w 212114"/>
                  <a:gd name="connsiteY18" fmla="*/ 77964 h 124268"/>
                  <a:gd name="connsiteX19" fmla="*/ 212057 w 212114"/>
                  <a:gd name="connsiteY19" fmla="*/ 77936 h 124268"/>
                  <a:gd name="connsiteX20" fmla="*/ 212114 w 212114"/>
                  <a:gd name="connsiteY20" fmla="*/ 91087 h 124268"/>
                  <a:gd name="connsiteX21" fmla="*/ 208632 w 212114"/>
                  <a:gd name="connsiteY21" fmla="*/ 91116 h 124268"/>
                  <a:gd name="connsiteX22" fmla="*/ 159997 w 212114"/>
                  <a:gd name="connsiteY22" fmla="*/ 124067 h 124268"/>
                  <a:gd name="connsiteX23" fmla="*/ 6608 w 212114"/>
                  <a:gd name="connsiteY23" fmla="*/ 124269 h 124268"/>
                  <a:gd name="connsiteX24" fmla="*/ 6608 w 212114"/>
                  <a:gd name="connsiteY24" fmla="*/ 124269 h 124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2114" h="124268">
                    <a:moveTo>
                      <a:pt x="6608" y="124269"/>
                    </a:moveTo>
                    <a:cubicBezTo>
                      <a:pt x="3126" y="124269"/>
                      <a:pt x="248" y="121535"/>
                      <a:pt x="46" y="118053"/>
                    </a:cubicBezTo>
                    <a:cubicBezTo>
                      <a:pt x="-11" y="117132"/>
                      <a:pt x="-1105" y="95404"/>
                      <a:pt x="11615" y="81907"/>
                    </a:cubicBezTo>
                    <a:cubicBezTo>
                      <a:pt x="18062" y="75086"/>
                      <a:pt x="26666" y="71604"/>
                      <a:pt x="37199" y="71604"/>
                    </a:cubicBezTo>
                    <a:lnTo>
                      <a:pt x="80741" y="71547"/>
                    </a:lnTo>
                    <a:cubicBezTo>
                      <a:pt x="89231" y="71547"/>
                      <a:pt x="96051" y="65647"/>
                      <a:pt x="96310" y="58165"/>
                    </a:cubicBezTo>
                    <a:cubicBezTo>
                      <a:pt x="94612" y="52265"/>
                      <a:pt x="67503" y="31286"/>
                      <a:pt x="41861" y="14566"/>
                    </a:cubicBezTo>
                    <a:cubicBezTo>
                      <a:pt x="37487" y="17731"/>
                      <a:pt x="40048" y="16033"/>
                      <a:pt x="33026" y="20724"/>
                    </a:cubicBezTo>
                    <a:lnTo>
                      <a:pt x="24192" y="11055"/>
                    </a:lnTo>
                    <a:cubicBezTo>
                      <a:pt x="34379" y="4263"/>
                      <a:pt x="37602" y="1385"/>
                      <a:pt x="37717" y="1299"/>
                    </a:cubicBezTo>
                    <a:cubicBezTo>
                      <a:pt x="39933" y="-342"/>
                      <a:pt x="42869" y="-428"/>
                      <a:pt x="45200" y="1040"/>
                    </a:cubicBezTo>
                    <a:cubicBezTo>
                      <a:pt x="74784" y="19976"/>
                      <a:pt x="109922" y="45330"/>
                      <a:pt x="109491" y="58625"/>
                    </a:cubicBezTo>
                    <a:cubicBezTo>
                      <a:pt x="109001" y="73245"/>
                      <a:pt x="96396" y="84727"/>
                      <a:pt x="80770" y="84727"/>
                    </a:cubicBezTo>
                    <a:lnTo>
                      <a:pt x="37228" y="84785"/>
                    </a:lnTo>
                    <a:cubicBezTo>
                      <a:pt x="30350" y="84785"/>
                      <a:pt x="25112" y="86828"/>
                      <a:pt x="21198" y="90972"/>
                    </a:cubicBezTo>
                    <a:cubicBezTo>
                      <a:pt x="15817" y="96670"/>
                      <a:pt x="14033" y="105304"/>
                      <a:pt x="13457" y="111117"/>
                    </a:cubicBezTo>
                    <a:lnTo>
                      <a:pt x="159968" y="110887"/>
                    </a:lnTo>
                    <a:cubicBezTo>
                      <a:pt x="168457" y="110887"/>
                      <a:pt x="189437" y="92497"/>
                      <a:pt x="200948" y="80065"/>
                    </a:cubicBezTo>
                    <a:cubicBezTo>
                      <a:pt x="202186" y="78741"/>
                      <a:pt x="203912" y="77964"/>
                      <a:pt x="205754" y="77964"/>
                    </a:cubicBezTo>
                    <a:lnTo>
                      <a:pt x="212057" y="77936"/>
                    </a:lnTo>
                    <a:lnTo>
                      <a:pt x="212114" y="91087"/>
                    </a:lnTo>
                    <a:lnTo>
                      <a:pt x="208632" y="91116"/>
                    </a:lnTo>
                    <a:cubicBezTo>
                      <a:pt x="200286" y="99865"/>
                      <a:pt x="175767" y="124038"/>
                      <a:pt x="159997" y="124067"/>
                    </a:cubicBezTo>
                    <a:lnTo>
                      <a:pt x="6608" y="124269"/>
                    </a:lnTo>
                    <a:cubicBezTo>
                      <a:pt x="6637" y="124269"/>
                      <a:pt x="6608" y="124269"/>
                      <a:pt x="6608" y="124269"/>
                    </a:cubicBezTo>
                    <a:close/>
                  </a:path>
                </a:pathLst>
              </a:custGeom>
              <a:grpFill/>
              <a:ln w="2874" cap="flat">
                <a:noFill/>
                <a:prstDash val="solid"/>
                <a:miter/>
              </a:ln>
            </p:spPr>
            <p:txBody>
              <a:bodyPr rtlCol="0" anchor="ctr"/>
              <a:lstStyle/>
              <a:p>
                <a:endParaRPr lang="en-GB" dirty="0"/>
              </a:p>
            </p:txBody>
          </p:sp>
          <p:sp>
            <p:nvSpPr>
              <p:cNvPr id="483" name="Freihandform: Form 357">
                <a:extLst>
                  <a:ext uri="{FF2B5EF4-FFF2-40B4-BE49-F238E27FC236}">
                    <a16:creationId xmlns:a16="http://schemas.microsoft.com/office/drawing/2014/main" id="{C16E96D4-A22C-48F2-B9A3-7C8B9AE888FB}"/>
                  </a:ext>
                </a:extLst>
              </p:cNvPr>
              <p:cNvSpPr/>
              <p:nvPr/>
            </p:nvSpPr>
            <p:spPr>
              <a:xfrm>
                <a:off x="3728857" y="2600213"/>
                <a:ext cx="89730" cy="156784"/>
              </a:xfrm>
              <a:custGeom>
                <a:avLst/>
                <a:gdLst>
                  <a:gd name="connsiteX0" fmla="*/ 83141 w 89730"/>
                  <a:gd name="connsiteY0" fmla="*/ 156785 h 156784"/>
                  <a:gd name="connsiteX1" fmla="*/ 6590 w 89730"/>
                  <a:gd name="connsiteY1" fmla="*/ 156785 h 156784"/>
                  <a:gd name="connsiteX2" fmla="*/ 0 w 89730"/>
                  <a:gd name="connsiteY2" fmla="*/ 150194 h 156784"/>
                  <a:gd name="connsiteX3" fmla="*/ 0 w 89730"/>
                  <a:gd name="connsiteY3" fmla="*/ 6590 h 156784"/>
                  <a:gd name="connsiteX4" fmla="*/ 6590 w 89730"/>
                  <a:gd name="connsiteY4" fmla="*/ 0 h 156784"/>
                  <a:gd name="connsiteX5" fmla="*/ 83141 w 89730"/>
                  <a:gd name="connsiteY5" fmla="*/ 0 h 156784"/>
                  <a:gd name="connsiteX6" fmla="*/ 89731 w 89730"/>
                  <a:gd name="connsiteY6" fmla="*/ 6590 h 156784"/>
                  <a:gd name="connsiteX7" fmla="*/ 83141 w 89730"/>
                  <a:gd name="connsiteY7" fmla="*/ 13181 h 156784"/>
                  <a:gd name="connsiteX8" fmla="*/ 13180 w 89730"/>
                  <a:gd name="connsiteY8" fmla="*/ 13181 h 156784"/>
                  <a:gd name="connsiteX9" fmla="*/ 13180 w 89730"/>
                  <a:gd name="connsiteY9" fmla="*/ 143604 h 156784"/>
                  <a:gd name="connsiteX10" fmla="*/ 83141 w 89730"/>
                  <a:gd name="connsiteY10" fmla="*/ 143604 h 156784"/>
                  <a:gd name="connsiteX11" fmla="*/ 89731 w 89730"/>
                  <a:gd name="connsiteY11" fmla="*/ 150194 h 156784"/>
                  <a:gd name="connsiteX12" fmla="*/ 83141 w 89730"/>
                  <a:gd name="connsiteY12" fmla="*/ 156785 h 156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730" h="156784">
                    <a:moveTo>
                      <a:pt x="83141" y="156785"/>
                    </a:moveTo>
                    <a:lnTo>
                      <a:pt x="6590" y="156785"/>
                    </a:lnTo>
                    <a:cubicBezTo>
                      <a:pt x="2964" y="156785"/>
                      <a:pt x="0" y="153849"/>
                      <a:pt x="0" y="150194"/>
                    </a:cubicBezTo>
                    <a:lnTo>
                      <a:pt x="0" y="6590"/>
                    </a:lnTo>
                    <a:cubicBezTo>
                      <a:pt x="0" y="2964"/>
                      <a:pt x="2935" y="0"/>
                      <a:pt x="6590" y="0"/>
                    </a:cubicBezTo>
                    <a:lnTo>
                      <a:pt x="83141" y="0"/>
                    </a:lnTo>
                    <a:cubicBezTo>
                      <a:pt x="86767" y="0"/>
                      <a:pt x="89731" y="2935"/>
                      <a:pt x="89731" y="6590"/>
                    </a:cubicBezTo>
                    <a:cubicBezTo>
                      <a:pt x="89731" y="10216"/>
                      <a:pt x="86796" y="13181"/>
                      <a:pt x="83141" y="13181"/>
                    </a:cubicBezTo>
                    <a:lnTo>
                      <a:pt x="13180" y="13181"/>
                    </a:lnTo>
                    <a:lnTo>
                      <a:pt x="13180" y="143604"/>
                    </a:lnTo>
                    <a:lnTo>
                      <a:pt x="83141" y="143604"/>
                    </a:lnTo>
                    <a:cubicBezTo>
                      <a:pt x="86767" y="143604"/>
                      <a:pt x="89731" y="146540"/>
                      <a:pt x="89731" y="150194"/>
                    </a:cubicBezTo>
                    <a:cubicBezTo>
                      <a:pt x="89702" y="153821"/>
                      <a:pt x="86767" y="156785"/>
                      <a:pt x="83141" y="156785"/>
                    </a:cubicBezTo>
                    <a:close/>
                  </a:path>
                </a:pathLst>
              </a:custGeom>
              <a:grpFill/>
              <a:ln w="2874" cap="flat">
                <a:noFill/>
                <a:prstDash val="solid"/>
                <a:miter/>
              </a:ln>
            </p:spPr>
            <p:txBody>
              <a:bodyPr rtlCol="0" anchor="ctr"/>
              <a:lstStyle/>
              <a:p>
                <a:endParaRPr lang="en-GB" dirty="0"/>
              </a:p>
            </p:txBody>
          </p:sp>
        </p:grpSp>
      </p:grpSp>
      <p:grpSp>
        <p:nvGrpSpPr>
          <p:cNvPr id="665" name="Group 664">
            <a:extLst>
              <a:ext uri="{FF2B5EF4-FFF2-40B4-BE49-F238E27FC236}">
                <a16:creationId xmlns:a16="http://schemas.microsoft.com/office/drawing/2014/main" id="{31C76BF4-B2E6-4C1A-C51E-17F8C6BD7A60}"/>
              </a:ext>
            </a:extLst>
          </p:cNvPr>
          <p:cNvGrpSpPr/>
          <p:nvPr/>
        </p:nvGrpSpPr>
        <p:grpSpPr>
          <a:xfrm>
            <a:off x="7084690" y="2391525"/>
            <a:ext cx="429688" cy="431988"/>
            <a:chOff x="7084278" y="2391525"/>
            <a:chExt cx="429688" cy="431988"/>
          </a:xfrm>
        </p:grpSpPr>
        <p:grpSp>
          <p:nvGrpSpPr>
            <p:cNvPr id="487" name="Grafik 222">
              <a:extLst>
                <a:ext uri="{FF2B5EF4-FFF2-40B4-BE49-F238E27FC236}">
                  <a16:creationId xmlns:a16="http://schemas.microsoft.com/office/drawing/2014/main" id="{36887DA1-D648-4348-BEE7-D0C1FCBFEE07}"/>
                </a:ext>
              </a:extLst>
            </p:cNvPr>
            <p:cNvGrpSpPr/>
            <p:nvPr/>
          </p:nvGrpSpPr>
          <p:grpSpPr>
            <a:xfrm>
              <a:off x="7084278" y="2391525"/>
              <a:ext cx="236447" cy="316009"/>
              <a:chOff x="863134" y="4161412"/>
              <a:chExt cx="265048" cy="354233"/>
            </a:xfrm>
            <a:solidFill>
              <a:schemeClr val="tx2"/>
            </a:solidFill>
          </p:grpSpPr>
          <p:sp>
            <p:nvSpPr>
              <p:cNvPr id="497" name="Freihandform: Form 415">
                <a:extLst>
                  <a:ext uri="{FF2B5EF4-FFF2-40B4-BE49-F238E27FC236}">
                    <a16:creationId xmlns:a16="http://schemas.microsoft.com/office/drawing/2014/main" id="{1C7B7BED-F486-45D4-AC09-C379D26B2353}"/>
                  </a:ext>
                </a:extLst>
              </p:cNvPr>
              <p:cNvSpPr/>
              <p:nvPr/>
            </p:nvSpPr>
            <p:spPr>
              <a:xfrm>
                <a:off x="930418" y="4381653"/>
                <a:ext cx="133992" cy="133992"/>
              </a:xfrm>
              <a:custGeom>
                <a:avLst/>
                <a:gdLst>
                  <a:gd name="connsiteX0" fmla="*/ 66996 w 133992"/>
                  <a:gd name="connsiteY0" fmla="*/ 133992 h 133992"/>
                  <a:gd name="connsiteX1" fmla="*/ 0 w 133992"/>
                  <a:gd name="connsiteY1" fmla="*/ 66996 h 133992"/>
                  <a:gd name="connsiteX2" fmla="*/ 66996 w 133992"/>
                  <a:gd name="connsiteY2" fmla="*/ 0 h 133992"/>
                  <a:gd name="connsiteX3" fmla="*/ 133992 w 133992"/>
                  <a:gd name="connsiteY3" fmla="*/ 66996 h 133992"/>
                  <a:gd name="connsiteX4" fmla="*/ 66996 w 133992"/>
                  <a:gd name="connsiteY4" fmla="*/ 133992 h 133992"/>
                  <a:gd name="connsiteX5" fmla="*/ 66996 w 133992"/>
                  <a:gd name="connsiteY5" fmla="*/ 13152 h 133992"/>
                  <a:gd name="connsiteX6" fmla="*/ 13152 w 133992"/>
                  <a:gd name="connsiteY6" fmla="*/ 66996 h 133992"/>
                  <a:gd name="connsiteX7" fmla="*/ 66996 w 133992"/>
                  <a:gd name="connsiteY7" fmla="*/ 120840 h 133992"/>
                  <a:gd name="connsiteX8" fmla="*/ 120840 w 133992"/>
                  <a:gd name="connsiteY8" fmla="*/ 66996 h 133992"/>
                  <a:gd name="connsiteX9" fmla="*/ 66996 w 133992"/>
                  <a:gd name="connsiteY9" fmla="*/ 13152 h 133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992" h="133992">
                    <a:moveTo>
                      <a:pt x="66996" y="133992"/>
                    </a:moveTo>
                    <a:cubicBezTo>
                      <a:pt x="30045" y="133992"/>
                      <a:pt x="0" y="103948"/>
                      <a:pt x="0" y="66996"/>
                    </a:cubicBezTo>
                    <a:cubicBezTo>
                      <a:pt x="0" y="30045"/>
                      <a:pt x="30045" y="0"/>
                      <a:pt x="66996" y="0"/>
                    </a:cubicBezTo>
                    <a:cubicBezTo>
                      <a:pt x="103948" y="0"/>
                      <a:pt x="133992" y="30045"/>
                      <a:pt x="133992" y="66996"/>
                    </a:cubicBezTo>
                    <a:cubicBezTo>
                      <a:pt x="133992" y="103948"/>
                      <a:pt x="103948" y="133992"/>
                      <a:pt x="66996" y="133992"/>
                    </a:cubicBezTo>
                    <a:close/>
                    <a:moveTo>
                      <a:pt x="66996" y="13152"/>
                    </a:moveTo>
                    <a:cubicBezTo>
                      <a:pt x="37326" y="13152"/>
                      <a:pt x="13152" y="37297"/>
                      <a:pt x="13152" y="66996"/>
                    </a:cubicBezTo>
                    <a:cubicBezTo>
                      <a:pt x="13152" y="96667"/>
                      <a:pt x="37297" y="120840"/>
                      <a:pt x="66996" y="120840"/>
                    </a:cubicBezTo>
                    <a:cubicBezTo>
                      <a:pt x="96695" y="120840"/>
                      <a:pt x="120840" y="96695"/>
                      <a:pt x="120840" y="66996"/>
                    </a:cubicBezTo>
                    <a:cubicBezTo>
                      <a:pt x="120840" y="37297"/>
                      <a:pt x="96695" y="13152"/>
                      <a:pt x="66996" y="13152"/>
                    </a:cubicBezTo>
                    <a:close/>
                  </a:path>
                </a:pathLst>
              </a:custGeom>
              <a:grpFill/>
              <a:ln w="2874" cap="flat">
                <a:noFill/>
                <a:prstDash val="solid"/>
                <a:miter/>
              </a:ln>
            </p:spPr>
            <p:txBody>
              <a:bodyPr rtlCol="0" anchor="ctr"/>
              <a:lstStyle/>
              <a:p>
                <a:endParaRPr lang="en-GB" dirty="0"/>
              </a:p>
            </p:txBody>
          </p:sp>
          <p:grpSp>
            <p:nvGrpSpPr>
              <p:cNvPr id="498" name="Grafik 222">
                <a:extLst>
                  <a:ext uri="{FF2B5EF4-FFF2-40B4-BE49-F238E27FC236}">
                    <a16:creationId xmlns:a16="http://schemas.microsoft.com/office/drawing/2014/main" id="{29C7545B-F195-400C-A5EA-2909091E7865}"/>
                  </a:ext>
                </a:extLst>
              </p:cNvPr>
              <p:cNvGrpSpPr/>
              <p:nvPr/>
            </p:nvGrpSpPr>
            <p:grpSpPr>
              <a:xfrm>
                <a:off x="863134" y="4161412"/>
                <a:ext cx="265048" cy="288791"/>
                <a:chOff x="863134" y="4161412"/>
                <a:chExt cx="265048" cy="288791"/>
              </a:xfrm>
              <a:grpFill/>
            </p:grpSpPr>
            <p:sp>
              <p:nvSpPr>
                <p:cNvPr id="499" name="Freihandform: Form 417">
                  <a:extLst>
                    <a:ext uri="{FF2B5EF4-FFF2-40B4-BE49-F238E27FC236}">
                      <a16:creationId xmlns:a16="http://schemas.microsoft.com/office/drawing/2014/main" id="{C56229FD-1AA1-48A0-BDDD-6A8801A58A8B}"/>
                    </a:ext>
                  </a:extLst>
                </p:cNvPr>
                <p:cNvSpPr/>
                <p:nvPr/>
              </p:nvSpPr>
              <p:spPr>
                <a:xfrm>
                  <a:off x="863134" y="4161412"/>
                  <a:ext cx="147633" cy="56520"/>
                </a:xfrm>
                <a:custGeom>
                  <a:avLst/>
                  <a:gdLst>
                    <a:gd name="connsiteX0" fmla="*/ 141014 w 147633"/>
                    <a:gd name="connsiteY0" fmla="*/ 56521 h 56520"/>
                    <a:gd name="connsiteX1" fmla="*/ 6590 w 147633"/>
                    <a:gd name="connsiteY1" fmla="*/ 56521 h 56520"/>
                    <a:gd name="connsiteX2" fmla="*/ 0 w 147633"/>
                    <a:gd name="connsiteY2" fmla="*/ 49931 h 56520"/>
                    <a:gd name="connsiteX3" fmla="*/ 0 w 147633"/>
                    <a:gd name="connsiteY3" fmla="*/ 6590 h 56520"/>
                    <a:gd name="connsiteX4" fmla="*/ 6590 w 147633"/>
                    <a:gd name="connsiteY4" fmla="*/ 0 h 56520"/>
                    <a:gd name="connsiteX5" fmla="*/ 13181 w 147633"/>
                    <a:gd name="connsiteY5" fmla="*/ 6590 h 56520"/>
                    <a:gd name="connsiteX6" fmla="*/ 13181 w 147633"/>
                    <a:gd name="connsiteY6" fmla="*/ 43340 h 56520"/>
                    <a:gd name="connsiteX7" fmla="*/ 134453 w 147633"/>
                    <a:gd name="connsiteY7" fmla="*/ 43340 h 56520"/>
                    <a:gd name="connsiteX8" fmla="*/ 134453 w 147633"/>
                    <a:gd name="connsiteY8" fmla="*/ 6590 h 56520"/>
                    <a:gd name="connsiteX9" fmla="*/ 141043 w 147633"/>
                    <a:gd name="connsiteY9" fmla="*/ 0 h 56520"/>
                    <a:gd name="connsiteX10" fmla="*/ 147633 w 147633"/>
                    <a:gd name="connsiteY10" fmla="*/ 6590 h 56520"/>
                    <a:gd name="connsiteX11" fmla="*/ 147633 w 147633"/>
                    <a:gd name="connsiteY11" fmla="*/ 49931 h 56520"/>
                    <a:gd name="connsiteX12" fmla="*/ 141014 w 147633"/>
                    <a:gd name="connsiteY12" fmla="*/ 56521 h 56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633" h="56520">
                      <a:moveTo>
                        <a:pt x="141014" y="56521"/>
                      </a:moveTo>
                      <a:lnTo>
                        <a:pt x="6590" y="56521"/>
                      </a:lnTo>
                      <a:cubicBezTo>
                        <a:pt x="2964" y="56521"/>
                        <a:pt x="0" y="53585"/>
                        <a:pt x="0" y="49931"/>
                      </a:cubicBezTo>
                      <a:lnTo>
                        <a:pt x="0" y="6590"/>
                      </a:lnTo>
                      <a:cubicBezTo>
                        <a:pt x="0" y="2964"/>
                        <a:pt x="2935" y="0"/>
                        <a:pt x="6590" y="0"/>
                      </a:cubicBezTo>
                      <a:cubicBezTo>
                        <a:pt x="10216" y="0"/>
                        <a:pt x="13181" y="2935"/>
                        <a:pt x="13181" y="6590"/>
                      </a:cubicBezTo>
                      <a:lnTo>
                        <a:pt x="13181" y="43340"/>
                      </a:lnTo>
                      <a:lnTo>
                        <a:pt x="134453" y="43340"/>
                      </a:lnTo>
                      <a:lnTo>
                        <a:pt x="134453" y="6590"/>
                      </a:lnTo>
                      <a:cubicBezTo>
                        <a:pt x="134453" y="2964"/>
                        <a:pt x="137388" y="0"/>
                        <a:pt x="141043" y="0"/>
                      </a:cubicBezTo>
                      <a:cubicBezTo>
                        <a:pt x="144669" y="0"/>
                        <a:pt x="147633" y="2935"/>
                        <a:pt x="147633" y="6590"/>
                      </a:cubicBezTo>
                      <a:lnTo>
                        <a:pt x="147633" y="49931"/>
                      </a:lnTo>
                      <a:cubicBezTo>
                        <a:pt x="147604" y="53585"/>
                        <a:pt x="144669" y="56521"/>
                        <a:pt x="141014" y="56521"/>
                      </a:cubicBezTo>
                      <a:close/>
                    </a:path>
                  </a:pathLst>
                </a:custGeom>
                <a:grpFill/>
                <a:ln w="2874" cap="flat">
                  <a:noFill/>
                  <a:prstDash val="solid"/>
                  <a:miter/>
                </a:ln>
              </p:spPr>
              <p:txBody>
                <a:bodyPr rtlCol="0" anchor="ctr"/>
                <a:lstStyle/>
                <a:p>
                  <a:endParaRPr lang="en-GB" dirty="0"/>
                </a:p>
              </p:txBody>
            </p:sp>
            <p:sp>
              <p:nvSpPr>
                <p:cNvPr id="500" name="Freihandform: Form 418">
                  <a:extLst>
                    <a:ext uri="{FF2B5EF4-FFF2-40B4-BE49-F238E27FC236}">
                      <a16:creationId xmlns:a16="http://schemas.microsoft.com/office/drawing/2014/main" id="{67B380B2-D0EC-4B9F-AF85-CA9FB5C8BEAE}"/>
                    </a:ext>
                  </a:extLst>
                </p:cNvPr>
                <p:cNvSpPr/>
                <p:nvPr/>
              </p:nvSpPr>
              <p:spPr>
                <a:xfrm>
                  <a:off x="1079571" y="4303199"/>
                  <a:ext cx="35322" cy="82857"/>
                </a:xfrm>
                <a:custGeom>
                  <a:avLst/>
                  <a:gdLst>
                    <a:gd name="connsiteX0" fmla="*/ 11430 w 35322"/>
                    <a:gd name="connsiteY0" fmla="*/ 82858 h 82857"/>
                    <a:gd name="connsiteX1" fmla="*/ 7487 w 35322"/>
                    <a:gd name="connsiteY1" fmla="*/ 81534 h 82857"/>
                    <a:gd name="connsiteX2" fmla="*/ 6163 w 35322"/>
                    <a:gd name="connsiteY2" fmla="*/ 72325 h 82857"/>
                    <a:gd name="connsiteX3" fmla="*/ 21099 w 35322"/>
                    <a:gd name="connsiteY3" fmla="*/ 52410 h 82857"/>
                    <a:gd name="connsiteX4" fmla="*/ 638 w 35322"/>
                    <a:gd name="connsiteY4" fmla="*/ 9415 h 82857"/>
                    <a:gd name="connsiteX5" fmla="*/ 3746 w 35322"/>
                    <a:gd name="connsiteY5" fmla="*/ 638 h 82857"/>
                    <a:gd name="connsiteX6" fmla="*/ 12523 w 35322"/>
                    <a:gd name="connsiteY6" fmla="*/ 3746 h 82857"/>
                    <a:gd name="connsiteX7" fmla="*/ 34683 w 35322"/>
                    <a:gd name="connsiteY7" fmla="*/ 50338 h 82857"/>
                    <a:gd name="connsiteX8" fmla="*/ 33992 w 35322"/>
                    <a:gd name="connsiteY8" fmla="*/ 57101 h 82857"/>
                    <a:gd name="connsiteX9" fmla="*/ 16667 w 35322"/>
                    <a:gd name="connsiteY9" fmla="*/ 80210 h 82857"/>
                    <a:gd name="connsiteX10" fmla="*/ 11430 w 35322"/>
                    <a:gd name="connsiteY10" fmla="*/ 82858 h 82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322" h="82857">
                      <a:moveTo>
                        <a:pt x="11430" y="82858"/>
                      </a:moveTo>
                      <a:cubicBezTo>
                        <a:pt x="10048" y="82858"/>
                        <a:pt x="8667" y="82426"/>
                        <a:pt x="7487" y="81534"/>
                      </a:cubicBezTo>
                      <a:cubicBezTo>
                        <a:pt x="4580" y="79347"/>
                        <a:pt x="4005" y="75231"/>
                        <a:pt x="6163" y="72325"/>
                      </a:cubicBezTo>
                      <a:lnTo>
                        <a:pt x="21099" y="52410"/>
                      </a:lnTo>
                      <a:lnTo>
                        <a:pt x="638" y="9415"/>
                      </a:lnTo>
                      <a:cubicBezTo>
                        <a:pt x="-916" y="6134"/>
                        <a:pt x="465" y="2192"/>
                        <a:pt x="3746" y="638"/>
                      </a:cubicBezTo>
                      <a:cubicBezTo>
                        <a:pt x="7027" y="-916"/>
                        <a:pt x="10940" y="465"/>
                        <a:pt x="12523" y="3746"/>
                      </a:cubicBezTo>
                      <a:lnTo>
                        <a:pt x="34683" y="50338"/>
                      </a:lnTo>
                      <a:cubicBezTo>
                        <a:pt x="35747" y="52554"/>
                        <a:pt x="35460" y="55173"/>
                        <a:pt x="33992" y="57101"/>
                      </a:cubicBezTo>
                      <a:lnTo>
                        <a:pt x="16667" y="80210"/>
                      </a:lnTo>
                      <a:cubicBezTo>
                        <a:pt x="15430" y="81937"/>
                        <a:pt x="13444" y="82858"/>
                        <a:pt x="11430" y="82858"/>
                      </a:cubicBezTo>
                      <a:close/>
                    </a:path>
                  </a:pathLst>
                </a:custGeom>
                <a:grpFill/>
                <a:ln w="2874" cap="flat">
                  <a:noFill/>
                  <a:prstDash val="solid"/>
                  <a:miter/>
                </a:ln>
              </p:spPr>
              <p:txBody>
                <a:bodyPr rtlCol="0" anchor="ctr"/>
                <a:lstStyle/>
                <a:p>
                  <a:endParaRPr lang="en-GB" dirty="0"/>
                </a:p>
              </p:txBody>
            </p:sp>
            <p:sp>
              <p:nvSpPr>
                <p:cNvPr id="501" name="Freihandform: Form 419">
                  <a:extLst>
                    <a:ext uri="{FF2B5EF4-FFF2-40B4-BE49-F238E27FC236}">
                      <a16:creationId xmlns:a16="http://schemas.microsoft.com/office/drawing/2014/main" id="{44E92DAC-9CFB-49A7-865D-09EA3E5439EF}"/>
                    </a:ext>
                  </a:extLst>
                </p:cNvPr>
                <p:cNvSpPr/>
                <p:nvPr/>
              </p:nvSpPr>
              <p:spPr>
                <a:xfrm>
                  <a:off x="1089903" y="4284858"/>
                  <a:ext cx="34273" cy="68246"/>
                </a:xfrm>
                <a:custGeom>
                  <a:avLst/>
                  <a:gdLst>
                    <a:gd name="connsiteX0" fmla="*/ 15545 w 34273"/>
                    <a:gd name="connsiteY0" fmla="*/ 68247 h 68246"/>
                    <a:gd name="connsiteX1" fmla="*/ 12494 w 34273"/>
                    <a:gd name="connsiteY1" fmla="*/ 67499 h 68246"/>
                    <a:gd name="connsiteX2" fmla="*/ 9732 w 34273"/>
                    <a:gd name="connsiteY2" fmla="*/ 58606 h 68246"/>
                    <a:gd name="connsiteX3" fmla="*/ 20063 w 34273"/>
                    <a:gd name="connsiteY3" fmla="*/ 38922 h 68246"/>
                    <a:gd name="connsiteX4" fmla="*/ 1098 w 34273"/>
                    <a:gd name="connsiteY4" fmla="*/ 10201 h 68246"/>
                    <a:gd name="connsiteX5" fmla="*/ 2969 w 34273"/>
                    <a:gd name="connsiteY5" fmla="*/ 1078 h 68246"/>
                    <a:gd name="connsiteX6" fmla="*/ 12091 w 34273"/>
                    <a:gd name="connsiteY6" fmla="*/ 2949 h 68246"/>
                    <a:gd name="connsiteX7" fmla="*/ 33186 w 34273"/>
                    <a:gd name="connsiteY7" fmla="*/ 34893 h 68246"/>
                    <a:gd name="connsiteX8" fmla="*/ 33531 w 34273"/>
                    <a:gd name="connsiteY8" fmla="*/ 41569 h 68246"/>
                    <a:gd name="connsiteX9" fmla="*/ 21387 w 34273"/>
                    <a:gd name="connsiteY9" fmla="*/ 64678 h 68246"/>
                    <a:gd name="connsiteX10" fmla="*/ 15545 w 34273"/>
                    <a:gd name="connsiteY10" fmla="*/ 68247 h 68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273" h="68246">
                      <a:moveTo>
                        <a:pt x="15545" y="68247"/>
                      </a:moveTo>
                      <a:cubicBezTo>
                        <a:pt x="14509" y="68247"/>
                        <a:pt x="13473" y="68017"/>
                        <a:pt x="12494" y="67499"/>
                      </a:cubicBezTo>
                      <a:cubicBezTo>
                        <a:pt x="9271" y="65801"/>
                        <a:pt x="8034" y="61829"/>
                        <a:pt x="9732" y="58606"/>
                      </a:cubicBezTo>
                      <a:lnTo>
                        <a:pt x="20063" y="38922"/>
                      </a:lnTo>
                      <a:lnTo>
                        <a:pt x="1098" y="10201"/>
                      </a:lnTo>
                      <a:cubicBezTo>
                        <a:pt x="-916" y="7179"/>
                        <a:pt x="-82" y="3093"/>
                        <a:pt x="2969" y="1078"/>
                      </a:cubicBezTo>
                      <a:cubicBezTo>
                        <a:pt x="6019" y="-908"/>
                        <a:pt x="10077" y="-73"/>
                        <a:pt x="12091" y="2949"/>
                      </a:cubicBezTo>
                      <a:lnTo>
                        <a:pt x="33186" y="34893"/>
                      </a:lnTo>
                      <a:cubicBezTo>
                        <a:pt x="34510" y="36878"/>
                        <a:pt x="34625" y="39468"/>
                        <a:pt x="33531" y="41569"/>
                      </a:cubicBezTo>
                      <a:lnTo>
                        <a:pt x="21387" y="64678"/>
                      </a:lnTo>
                      <a:cubicBezTo>
                        <a:pt x="20207" y="66981"/>
                        <a:pt x="17905" y="68247"/>
                        <a:pt x="15545" y="68247"/>
                      </a:cubicBezTo>
                      <a:close/>
                    </a:path>
                  </a:pathLst>
                </a:custGeom>
                <a:grpFill/>
                <a:ln w="2874" cap="flat">
                  <a:noFill/>
                  <a:prstDash val="solid"/>
                  <a:miter/>
                </a:ln>
              </p:spPr>
              <p:txBody>
                <a:bodyPr rtlCol="0" anchor="ctr"/>
                <a:lstStyle/>
                <a:p>
                  <a:endParaRPr lang="en-GB" dirty="0"/>
                </a:p>
              </p:txBody>
            </p:sp>
            <p:sp>
              <p:nvSpPr>
                <p:cNvPr id="502" name="Freihandform: Form 420">
                  <a:extLst>
                    <a:ext uri="{FF2B5EF4-FFF2-40B4-BE49-F238E27FC236}">
                      <a16:creationId xmlns:a16="http://schemas.microsoft.com/office/drawing/2014/main" id="{1BA93097-2138-4B5E-87CC-3FE1C8F9CCD2}"/>
                    </a:ext>
                  </a:extLst>
                </p:cNvPr>
                <p:cNvSpPr/>
                <p:nvPr/>
              </p:nvSpPr>
              <p:spPr>
                <a:xfrm>
                  <a:off x="865997" y="4205639"/>
                  <a:ext cx="234492" cy="244564"/>
                </a:xfrm>
                <a:custGeom>
                  <a:avLst/>
                  <a:gdLst>
                    <a:gd name="connsiteX0" fmla="*/ 197232 w 234492"/>
                    <a:gd name="connsiteY0" fmla="*/ 244564 h 244564"/>
                    <a:gd name="connsiteX1" fmla="*/ 188829 w 234492"/>
                    <a:gd name="connsiteY1" fmla="*/ 240823 h 244564"/>
                    <a:gd name="connsiteX2" fmla="*/ 187937 w 234492"/>
                    <a:gd name="connsiteY2" fmla="*/ 178978 h 244564"/>
                    <a:gd name="connsiteX3" fmla="*/ 164310 w 234492"/>
                    <a:gd name="connsiteY3" fmla="*/ 150746 h 244564"/>
                    <a:gd name="connsiteX4" fmla="*/ 93573 w 234492"/>
                    <a:gd name="connsiteY4" fmla="*/ 144789 h 244564"/>
                    <a:gd name="connsiteX5" fmla="*/ 77399 w 234492"/>
                    <a:gd name="connsiteY5" fmla="*/ 157682 h 244564"/>
                    <a:gd name="connsiteX6" fmla="*/ 81716 w 234492"/>
                    <a:gd name="connsiteY6" fmla="*/ 218376 h 244564"/>
                    <a:gd name="connsiteX7" fmla="*/ 63068 w 234492"/>
                    <a:gd name="connsiteY7" fmla="*/ 235499 h 244564"/>
                    <a:gd name="connsiteX8" fmla="*/ 57859 w 234492"/>
                    <a:gd name="connsiteY8" fmla="*/ 235153 h 244564"/>
                    <a:gd name="connsiteX9" fmla="*/ 54549 w 234492"/>
                    <a:gd name="connsiteY9" fmla="*/ 231153 h 244564"/>
                    <a:gd name="connsiteX10" fmla="*/ 22433 w 234492"/>
                    <a:gd name="connsiteY10" fmla="*/ 169539 h 244564"/>
                    <a:gd name="connsiteX11" fmla="*/ 11698 w 234492"/>
                    <a:gd name="connsiteY11" fmla="*/ 4696 h 244564"/>
                    <a:gd name="connsiteX12" fmla="*/ 19871 w 234492"/>
                    <a:gd name="connsiteY12" fmla="*/ 264 h 244564"/>
                    <a:gd name="connsiteX13" fmla="*/ 24303 w 234492"/>
                    <a:gd name="connsiteY13" fmla="*/ 8437 h 244564"/>
                    <a:gd name="connsiteX14" fmla="*/ 32591 w 234492"/>
                    <a:gd name="connsiteY14" fmla="*/ 161222 h 244564"/>
                    <a:gd name="connsiteX15" fmla="*/ 64564 w 234492"/>
                    <a:gd name="connsiteY15" fmla="*/ 219728 h 244564"/>
                    <a:gd name="connsiteX16" fmla="*/ 69802 w 234492"/>
                    <a:gd name="connsiteY16" fmla="*/ 212793 h 244564"/>
                    <a:gd name="connsiteX17" fmla="*/ 65082 w 234492"/>
                    <a:gd name="connsiteY17" fmla="*/ 162258 h 244564"/>
                    <a:gd name="connsiteX18" fmla="*/ 76392 w 234492"/>
                    <a:gd name="connsiteY18" fmla="*/ 139580 h 244564"/>
                    <a:gd name="connsiteX19" fmla="*/ 173231 w 234492"/>
                    <a:gd name="connsiteY19" fmla="*/ 141106 h 244564"/>
                    <a:gd name="connsiteX20" fmla="*/ 200168 w 234492"/>
                    <a:gd name="connsiteY20" fmla="*/ 173280 h 244564"/>
                    <a:gd name="connsiteX21" fmla="*/ 201434 w 234492"/>
                    <a:gd name="connsiteY21" fmla="*/ 178633 h 244564"/>
                    <a:gd name="connsiteX22" fmla="*/ 197290 w 234492"/>
                    <a:gd name="connsiteY22" fmla="*/ 228621 h 244564"/>
                    <a:gd name="connsiteX23" fmla="*/ 221032 w 234492"/>
                    <a:gd name="connsiteY23" fmla="*/ 183295 h 244564"/>
                    <a:gd name="connsiteX24" fmla="*/ 199189 w 234492"/>
                    <a:gd name="connsiteY24" fmla="*/ 121191 h 244564"/>
                    <a:gd name="connsiteX25" fmla="*/ 203190 w 234492"/>
                    <a:gd name="connsiteY25" fmla="*/ 112788 h 244564"/>
                    <a:gd name="connsiteX26" fmla="*/ 211593 w 234492"/>
                    <a:gd name="connsiteY26" fmla="*/ 116788 h 244564"/>
                    <a:gd name="connsiteX27" fmla="*/ 234155 w 234492"/>
                    <a:gd name="connsiteY27" fmla="*/ 181050 h 244564"/>
                    <a:gd name="connsiteX28" fmla="*/ 234357 w 234492"/>
                    <a:gd name="connsiteY28" fmla="*/ 184417 h 244564"/>
                    <a:gd name="connsiteX29" fmla="*/ 202528 w 234492"/>
                    <a:gd name="connsiteY29" fmla="*/ 242665 h 244564"/>
                    <a:gd name="connsiteX30" fmla="*/ 198585 w 234492"/>
                    <a:gd name="connsiteY30" fmla="*/ 244564 h 244564"/>
                    <a:gd name="connsiteX31" fmla="*/ 197232 w 234492"/>
                    <a:gd name="connsiteY31" fmla="*/ 244564 h 244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34492" h="244564">
                      <a:moveTo>
                        <a:pt x="197232" y="244564"/>
                      </a:moveTo>
                      <a:cubicBezTo>
                        <a:pt x="194009" y="244564"/>
                        <a:pt x="191074" y="243269"/>
                        <a:pt x="188829" y="240823"/>
                      </a:cubicBezTo>
                      <a:cubicBezTo>
                        <a:pt x="179447" y="230549"/>
                        <a:pt x="184599" y="196188"/>
                        <a:pt x="187937" y="178978"/>
                      </a:cubicBezTo>
                      <a:cubicBezTo>
                        <a:pt x="183102" y="172848"/>
                        <a:pt x="170094" y="156531"/>
                        <a:pt x="164310" y="150746"/>
                      </a:cubicBezTo>
                      <a:cubicBezTo>
                        <a:pt x="142726" y="132443"/>
                        <a:pt x="112653" y="136041"/>
                        <a:pt x="93573" y="144789"/>
                      </a:cubicBezTo>
                      <a:cubicBezTo>
                        <a:pt x="81399" y="150372"/>
                        <a:pt x="77399" y="156272"/>
                        <a:pt x="77399" y="157682"/>
                      </a:cubicBezTo>
                      <a:cubicBezTo>
                        <a:pt x="86982" y="183727"/>
                        <a:pt x="88421" y="204130"/>
                        <a:pt x="81716" y="218376"/>
                      </a:cubicBezTo>
                      <a:cubicBezTo>
                        <a:pt x="76565" y="229369"/>
                        <a:pt x="67816" y="233830"/>
                        <a:pt x="63068" y="235499"/>
                      </a:cubicBezTo>
                      <a:cubicBezTo>
                        <a:pt x="61370" y="236103"/>
                        <a:pt x="59470" y="235988"/>
                        <a:pt x="57859" y="235153"/>
                      </a:cubicBezTo>
                      <a:cubicBezTo>
                        <a:pt x="56247" y="234319"/>
                        <a:pt x="55038" y="232880"/>
                        <a:pt x="54549" y="231153"/>
                      </a:cubicBezTo>
                      <a:cubicBezTo>
                        <a:pt x="47873" y="208332"/>
                        <a:pt x="26490" y="174114"/>
                        <a:pt x="22433" y="169539"/>
                      </a:cubicBezTo>
                      <a:cubicBezTo>
                        <a:pt x="-19872" y="113392"/>
                        <a:pt x="10403" y="9099"/>
                        <a:pt x="11698" y="4696"/>
                      </a:cubicBezTo>
                      <a:cubicBezTo>
                        <a:pt x="12734" y="1214"/>
                        <a:pt x="16389" y="-743"/>
                        <a:pt x="19871" y="264"/>
                      </a:cubicBezTo>
                      <a:cubicBezTo>
                        <a:pt x="23353" y="1300"/>
                        <a:pt x="25339" y="4955"/>
                        <a:pt x="24303" y="8437"/>
                      </a:cubicBezTo>
                      <a:cubicBezTo>
                        <a:pt x="24015" y="9445"/>
                        <a:pt x="-5367" y="110802"/>
                        <a:pt x="32591" y="161222"/>
                      </a:cubicBezTo>
                      <a:cubicBezTo>
                        <a:pt x="37426" y="166632"/>
                        <a:pt x="55729" y="196130"/>
                        <a:pt x="64564" y="219728"/>
                      </a:cubicBezTo>
                      <a:cubicBezTo>
                        <a:pt x="66492" y="218088"/>
                        <a:pt x="68334" y="215872"/>
                        <a:pt x="69802" y="212793"/>
                      </a:cubicBezTo>
                      <a:cubicBezTo>
                        <a:pt x="73342" y="205253"/>
                        <a:pt x="75385" y="190374"/>
                        <a:pt x="65082" y="162258"/>
                      </a:cubicBezTo>
                      <a:cubicBezTo>
                        <a:pt x="63758" y="159035"/>
                        <a:pt x="62060" y="149941"/>
                        <a:pt x="76392" y="139580"/>
                      </a:cubicBezTo>
                      <a:cubicBezTo>
                        <a:pt x="97084" y="124587"/>
                        <a:pt x="142179" y="114716"/>
                        <a:pt x="173231" y="141106"/>
                      </a:cubicBezTo>
                      <a:cubicBezTo>
                        <a:pt x="181347" y="149192"/>
                        <a:pt x="199391" y="172301"/>
                        <a:pt x="200168" y="173280"/>
                      </a:cubicBezTo>
                      <a:cubicBezTo>
                        <a:pt x="201348" y="174805"/>
                        <a:pt x="201808" y="176762"/>
                        <a:pt x="201434" y="178633"/>
                      </a:cubicBezTo>
                      <a:cubicBezTo>
                        <a:pt x="197232" y="199209"/>
                        <a:pt x="195650" y="220131"/>
                        <a:pt x="197290" y="228621"/>
                      </a:cubicBezTo>
                      <a:cubicBezTo>
                        <a:pt x="207765" y="215009"/>
                        <a:pt x="218644" y="190403"/>
                        <a:pt x="221032" y="183295"/>
                      </a:cubicBezTo>
                      <a:cubicBezTo>
                        <a:pt x="216054" y="168618"/>
                        <a:pt x="199362" y="121680"/>
                        <a:pt x="199189" y="121191"/>
                      </a:cubicBezTo>
                      <a:cubicBezTo>
                        <a:pt x="197981" y="117766"/>
                        <a:pt x="199765" y="113997"/>
                        <a:pt x="203190" y="112788"/>
                      </a:cubicBezTo>
                      <a:cubicBezTo>
                        <a:pt x="206614" y="111579"/>
                        <a:pt x="210384" y="113363"/>
                        <a:pt x="211593" y="116788"/>
                      </a:cubicBezTo>
                      <a:cubicBezTo>
                        <a:pt x="212341" y="118918"/>
                        <a:pt x="230155" y="168992"/>
                        <a:pt x="234155" y="181050"/>
                      </a:cubicBezTo>
                      <a:cubicBezTo>
                        <a:pt x="234529" y="182144"/>
                        <a:pt x="234587" y="183295"/>
                        <a:pt x="234357" y="184417"/>
                      </a:cubicBezTo>
                      <a:cubicBezTo>
                        <a:pt x="232975" y="191324"/>
                        <a:pt x="217032" y="228160"/>
                        <a:pt x="202528" y="242665"/>
                      </a:cubicBezTo>
                      <a:cubicBezTo>
                        <a:pt x="201463" y="243729"/>
                        <a:pt x="200082" y="244391"/>
                        <a:pt x="198585" y="244564"/>
                      </a:cubicBezTo>
                      <a:cubicBezTo>
                        <a:pt x="198125" y="244564"/>
                        <a:pt x="197693" y="244564"/>
                        <a:pt x="197232" y="244564"/>
                      </a:cubicBezTo>
                      <a:close/>
                    </a:path>
                  </a:pathLst>
                </a:custGeom>
                <a:grpFill/>
                <a:ln w="2874" cap="flat">
                  <a:noFill/>
                  <a:prstDash val="solid"/>
                  <a:miter/>
                </a:ln>
              </p:spPr>
              <p:txBody>
                <a:bodyPr rtlCol="0" anchor="ctr"/>
                <a:lstStyle/>
                <a:p>
                  <a:endParaRPr lang="en-GB" dirty="0"/>
                </a:p>
              </p:txBody>
            </p:sp>
            <p:sp>
              <p:nvSpPr>
                <p:cNvPr id="503" name="Freihandform: Form 421">
                  <a:extLst>
                    <a:ext uri="{FF2B5EF4-FFF2-40B4-BE49-F238E27FC236}">
                      <a16:creationId xmlns:a16="http://schemas.microsoft.com/office/drawing/2014/main" id="{76FA0BFA-CD31-4E66-88D4-B1D468491BE8}"/>
                    </a:ext>
                  </a:extLst>
                </p:cNvPr>
                <p:cNvSpPr/>
                <p:nvPr/>
              </p:nvSpPr>
              <p:spPr>
                <a:xfrm>
                  <a:off x="986376" y="4205339"/>
                  <a:ext cx="141806" cy="118325"/>
                </a:xfrm>
                <a:custGeom>
                  <a:avLst/>
                  <a:gdLst>
                    <a:gd name="connsiteX0" fmla="*/ 128339 w 141806"/>
                    <a:gd name="connsiteY0" fmla="*/ 118325 h 118325"/>
                    <a:gd name="connsiteX1" fmla="*/ 127101 w 141806"/>
                    <a:gd name="connsiteY1" fmla="*/ 118210 h 118325"/>
                    <a:gd name="connsiteX2" fmla="*/ 121864 w 141806"/>
                    <a:gd name="connsiteY2" fmla="*/ 110498 h 118325"/>
                    <a:gd name="connsiteX3" fmla="*/ 127907 w 141806"/>
                    <a:gd name="connsiteY3" fmla="*/ 78697 h 118325"/>
                    <a:gd name="connsiteX4" fmla="*/ 88653 w 141806"/>
                    <a:gd name="connsiteY4" fmla="*/ 56193 h 118325"/>
                    <a:gd name="connsiteX5" fmla="*/ 80854 w 141806"/>
                    <a:gd name="connsiteY5" fmla="*/ 52596 h 118325"/>
                    <a:gd name="connsiteX6" fmla="*/ 1685 w 141806"/>
                    <a:gd name="connsiteY6" fmla="*/ 10982 h 118325"/>
                    <a:gd name="connsiteX7" fmla="*/ 2174 w 141806"/>
                    <a:gd name="connsiteY7" fmla="*/ 1687 h 118325"/>
                    <a:gd name="connsiteX8" fmla="*/ 11470 w 141806"/>
                    <a:gd name="connsiteY8" fmla="*/ 2176 h 118325"/>
                    <a:gd name="connsiteX9" fmla="*/ 85200 w 141806"/>
                    <a:gd name="connsiteY9" fmla="*/ 40163 h 118325"/>
                    <a:gd name="connsiteX10" fmla="*/ 86006 w 141806"/>
                    <a:gd name="connsiteY10" fmla="*/ 40480 h 118325"/>
                    <a:gd name="connsiteX11" fmla="*/ 94668 w 141806"/>
                    <a:gd name="connsiteY11" fmla="*/ 44509 h 118325"/>
                    <a:gd name="connsiteX12" fmla="*/ 138498 w 141806"/>
                    <a:gd name="connsiteY12" fmla="*/ 69604 h 118325"/>
                    <a:gd name="connsiteX13" fmla="*/ 141692 w 141806"/>
                    <a:gd name="connsiteY13" fmla="*/ 76539 h 118325"/>
                    <a:gd name="connsiteX14" fmla="*/ 134756 w 141806"/>
                    <a:gd name="connsiteY14" fmla="*/ 112944 h 118325"/>
                    <a:gd name="connsiteX15" fmla="*/ 128339 w 141806"/>
                    <a:gd name="connsiteY15" fmla="*/ 118325 h 11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1806" h="118325">
                      <a:moveTo>
                        <a:pt x="128339" y="118325"/>
                      </a:moveTo>
                      <a:cubicBezTo>
                        <a:pt x="127936" y="118325"/>
                        <a:pt x="127504" y="118297"/>
                        <a:pt x="127101" y="118210"/>
                      </a:cubicBezTo>
                      <a:cubicBezTo>
                        <a:pt x="123533" y="117520"/>
                        <a:pt x="121202" y="114095"/>
                        <a:pt x="121864" y="110498"/>
                      </a:cubicBezTo>
                      <a:lnTo>
                        <a:pt x="127907" y="78697"/>
                      </a:lnTo>
                      <a:lnTo>
                        <a:pt x="88653" y="56193"/>
                      </a:lnTo>
                      <a:lnTo>
                        <a:pt x="80854" y="52596"/>
                      </a:lnTo>
                      <a:cubicBezTo>
                        <a:pt x="75156" y="50783"/>
                        <a:pt x="21744" y="33314"/>
                        <a:pt x="1685" y="10982"/>
                      </a:cubicBezTo>
                      <a:cubicBezTo>
                        <a:pt x="-732" y="8277"/>
                        <a:pt x="-531" y="4104"/>
                        <a:pt x="2174" y="1687"/>
                      </a:cubicBezTo>
                      <a:cubicBezTo>
                        <a:pt x="4879" y="-760"/>
                        <a:pt x="9052" y="-501"/>
                        <a:pt x="11470" y="2176"/>
                      </a:cubicBezTo>
                      <a:cubicBezTo>
                        <a:pt x="29802" y="22608"/>
                        <a:pt x="84653" y="39991"/>
                        <a:pt x="85200" y="40163"/>
                      </a:cubicBezTo>
                      <a:cubicBezTo>
                        <a:pt x="85488" y="40250"/>
                        <a:pt x="85747" y="40365"/>
                        <a:pt x="86006" y="40480"/>
                      </a:cubicBezTo>
                      <a:lnTo>
                        <a:pt x="94668" y="44509"/>
                      </a:lnTo>
                      <a:lnTo>
                        <a:pt x="138498" y="69604"/>
                      </a:lnTo>
                      <a:cubicBezTo>
                        <a:pt x="140944" y="70985"/>
                        <a:pt x="142210" y="73776"/>
                        <a:pt x="141692" y="76539"/>
                      </a:cubicBezTo>
                      <a:lnTo>
                        <a:pt x="134756" y="112944"/>
                      </a:lnTo>
                      <a:cubicBezTo>
                        <a:pt x="134181" y="116109"/>
                        <a:pt x="131447" y="118325"/>
                        <a:pt x="128339" y="118325"/>
                      </a:cubicBezTo>
                      <a:close/>
                    </a:path>
                  </a:pathLst>
                </a:custGeom>
                <a:grpFill/>
                <a:ln w="2874" cap="flat">
                  <a:noFill/>
                  <a:prstDash val="solid"/>
                  <a:miter/>
                </a:ln>
              </p:spPr>
              <p:txBody>
                <a:bodyPr rtlCol="0" anchor="ctr"/>
                <a:lstStyle/>
                <a:p>
                  <a:endParaRPr lang="en-GB" dirty="0"/>
                </a:p>
              </p:txBody>
            </p:sp>
          </p:grpSp>
        </p:grpSp>
        <p:grpSp>
          <p:nvGrpSpPr>
            <p:cNvPr id="488" name="Group 487">
              <a:extLst>
                <a:ext uri="{FF2B5EF4-FFF2-40B4-BE49-F238E27FC236}">
                  <a16:creationId xmlns:a16="http://schemas.microsoft.com/office/drawing/2014/main" id="{E4774C75-53BC-47D6-AFAE-47C96F94AB8D}"/>
                </a:ext>
              </a:extLst>
            </p:cNvPr>
            <p:cNvGrpSpPr/>
            <p:nvPr/>
          </p:nvGrpSpPr>
          <p:grpSpPr>
            <a:xfrm>
              <a:off x="7126458" y="2665008"/>
              <a:ext cx="387508" cy="158505"/>
              <a:chOff x="910417" y="4467988"/>
              <a:chExt cx="434381" cy="177678"/>
            </a:xfrm>
          </p:grpSpPr>
          <p:grpSp>
            <p:nvGrpSpPr>
              <p:cNvPr id="489" name="Grafik 222">
                <a:extLst>
                  <a:ext uri="{FF2B5EF4-FFF2-40B4-BE49-F238E27FC236}">
                    <a16:creationId xmlns:a16="http://schemas.microsoft.com/office/drawing/2014/main" id="{82604C71-8FFB-4CF5-B636-3DB58A2694B6}"/>
                  </a:ext>
                </a:extLst>
              </p:cNvPr>
              <p:cNvGrpSpPr/>
              <p:nvPr/>
            </p:nvGrpSpPr>
            <p:grpSpPr>
              <a:xfrm>
                <a:off x="910417" y="4566727"/>
                <a:ext cx="184268" cy="78939"/>
                <a:chOff x="910417" y="4566727"/>
                <a:chExt cx="184268" cy="78939"/>
              </a:xfrm>
              <a:solidFill>
                <a:schemeClr val="accent1"/>
              </a:solidFill>
            </p:grpSpPr>
            <p:sp>
              <p:nvSpPr>
                <p:cNvPr id="495" name="Freihandform: Form 423">
                  <a:extLst>
                    <a:ext uri="{FF2B5EF4-FFF2-40B4-BE49-F238E27FC236}">
                      <a16:creationId xmlns:a16="http://schemas.microsoft.com/office/drawing/2014/main" id="{045D20C8-5709-4330-B58A-B6DF5B49301C}"/>
                    </a:ext>
                  </a:extLst>
                </p:cNvPr>
                <p:cNvSpPr/>
                <p:nvPr/>
              </p:nvSpPr>
              <p:spPr>
                <a:xfrm>
                  <a:off x="910417" y="4599621"/>
                  <a:ext cx="184268" cy="46045"/>
                </a:xfrm>
                <a:custGeom>
                  <a:avLst/>
                  <a:gdLst>
                    <a:gd name="connsiteX0" fmla="*/ 171116 w 184268"/>
                    <a:gd name="connsiteY0" fmla="*/ 46045 h 46045"/>
                    <a:gd name="connsiteX1" fmla="*/ 13152 w 184268"/>
                    <a:gd name="connsiteY1" fmla="*/ 46045 h 46045"/>
                    <a:gd name="connsiteX2" fmla="*/ 0 w 184268"/>
                    <a:gd name="connsiteY2" fmla="*/ 32894 h 46045"/>
                    <a:gd name="connsiteX3" fmla="*/ 0 w 184268"/>
                    <a:gd name="connsiteY3" fmla="*/ 13152 h 46045"/>
                    <a:gd name="connsiteX4" fmla="*/ 13152 w 184268"/>
                    <a:gd name="connsiteY4" fmla="*/ 0 h 46045"/>
                    <a:gd name="connsiteX5" fmla="*/ 171116 w 184268"/>
                    <a:gd name="connsiteY5" fmla="*/ 0 h 46045"/>
                    <a:gd name="connsiteX6" fmla="*/ 184268 w 184268"/>
                    <a:gd name="connsiteY6" fmla="*/ 13152 h 46045"/>
                    <a:gd name="connsiteX7" fmla="*/ 184268 w 184268"/>
                    <a:gd name="connsiteY7" fmla="*/ 32894 h 46045"/>
                    <a:gd name="connsiteX8" fmla="*/ 171116 w 184268"/>
                    <a:gd name="connsiteY8" fmla="*/ 46045 h 46045"/>
                    <a:gd name="connsiteX9" fmla="*/ 13152 w 184268"/>
                    <a:gd name="connsiteY9" fmla="*/ 13152 h 46045"/>
                    <a:gd name="connsiteX10" fmla="*/ 13152 w 184268"/>
                    <a:gd name="connsiteY10" fmla="*/ 32894 h 46045"/>
                    <a:gd name="connsiteX11" fmla="*/ 171116 w 184268"/>
                    <a:gd name="connsiteY11" fmla="*/ 32894 h 46045"/>
                    <a:gd name="connsiteX12" fmla="*/ 171116 w 184268"/>
                    <a:gd name="connsiteY12" fmla="*/ 13152 h 46045"/>
                    <a:gd name="connsiteX13" fmla="*/ 13152 w 184268"/>
                    <a:gd name="connsiteY13" fmla="*/ 13152 h 46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268" h="46045">
                      <a:moveTo>
                        <a:pt x="171116" y="46045"/>
                      </a:moveTo>
                      <a:lnTo>
                        <a:pt x="13152" y="46045"/>
                      </a:lnTo>
                      <a:cubicBezTo>
                        <a:pt x="5900" y="46045"/>
                        <a:pt x="0" y="40146"/>
                        <a:pt x="0" y="32894"/>
                      </a:cubicBezTo>
                      <a:lnTo>
                        <a:pt x="0" y="13152"/>
                      </a:lnTo>
                      <a:cubicBezTo>
                        <a:pt x="0" y="5900"/>
                        <a:pt x="5900" y="0"/>
                        <a:pt x="13152" y="0"/>
                      </a:cubicBezTo>
                      <a:lnTo>
                        <a:pt x="171116" y="0"/>
                      </a:lnTo>
                      <a:cubicBezTo>
                        <a:pt x="178368" y="0"/>
                        <a:pt x="184268" y="5900"/>
                        <a:pt x="184268" y="13152"/>
                      </a:cubicBezTo>
                      <a:lnTo>
                        <a:pt x="184268" y="32894"/>
                      </a:lnTo>
                      <a:cubicBezTo>
                        <a:pt x="184297" y="40146"/>
                        <a:pt x="178368" y="46045"/>
                        <a:pt x="171116" y="46045"/>
                      </a:cubicBezTo>
                      <a:close/>
                      <a:moveTo>
                        <a:pt x="13152" y="13152"/>
                      </a:moveTo>
                      <a:lnTo>
                        <a:pt x="13152" y="32894"/>
                      </a:lnTo>
                      <a:lnTo>
                        <a:pt x="171116" y="32894"/>
                      </a:lnTo>
                      <a:lnTo>
                        <a:pt x="171116" y="13152"/>
                      </a:lnTo>
                      <a:lnTo>
                        <a:pt x="13152" y="13152"/>
                      </a:lnTo>
                      <a:close/>
                    </a:path>
                  </a:pathLst>
                </a:custGeom>
                <a:solidFill>
                  <a:schemeClr val="accent1"/>
                </a:solidFill>
                <a:ln w="2874" cap="flat">
                  <a:noFill/>
                  <a:prstDash val="solid"/>
                  <a:miter/>
                </a:ln>
              </p:spPr>
              <p:txBody>
                <a:bodyPr rtlCol="0" anchor="ctr"/>
                <a:lstStyle/>
                <a:p>
                  <a:endParaRPr lang="en-GB" dirty="0"/>
                </a:p>
              </p:txBody>
            </p:sp>
            <p:sp>
              <p:nvSpPr>
                <p:cNvPr id="496" name="Freihandform: Form 424">
                  <a:extLst>
                    <a:ext uri="{FF2B5EF4-FFF2-40B4-BE49-F238E27FC236}">
                      <a16:creationId xmlns:a16="http://schemas.microsoft.com/office/drawing/2014/main" id="{F57CEFCC-DBB1-4AA4-9490-29AF9F133550}"/>
                    </a:ext>
                  </a:extLst>
                </p:cNvPr>
                <p:cNvSpPr/>
                <p:nvPr/>
              </p:nvSpPr>
              <p:spPr>
                <a:xfrm>
                  <a:off x="910417" y="4566727"/>
                  <a:ext cx="184268" cy="46045"/>
                </a:xfrm>
                <a:custGeom>
                  <a:avLst/>
                  <a:gdLst>
                    <a:gd name="connsiteX0" fmla="*/ 171116 w 184268"/>
                    <a:gd name="connsiteY0" fmla="*/ 46045 h 46045"/>
                    <a:gd name="connsiteX1" fmla="*/ 13152 w 184268"/>
                    <a:gd name="connsiteY1" fmla="*/ 46045 h 46045"/>
                    <a:gd name="connsiteX2" fmla="*/ 0 w 184268"/>
                    <a:gd name="connsiteY2" fmla="*/ 32894 h 46045"/>
                    <a:gd name="connsiteX3" fmla="*/ 0 w 184268"/>
                    <a:gd name="connsiteY3" fmla="*/ 13152 h 46045"/>
                    <a:gd name="connsiteX4" fmla="*/ 13152 w 184268"/>
                    <a:gd name="connsiteY4" fmla="*/ 0 h 46045"/>
                    <a:gd name="connsiteX5" fmla="*/ 171116 w 184268"/>
                    <a:gd name="connsiteY5" fmla="*/ 0 h 46045"/>
                    <a:gd name="connsiteX6" fmla="*/ 184268 w 184268"/>
                    <a:gd name="connsiteY6" fmla="*/ 13152 h 46045"/>
                    <a:gd name="connsiteX7" fmla="*/ 184268 w 184268"/>
                    <a:gd name="connsiteY7" fmla="*/ 32894 h 46045"/>
                    <a:gd name="connsiteX8" fmla="*/ 171116 w 184268"/>
                    <a:gd name="connsiteY8" fmla="*/ 46045 h 46045"/>
                    <a:gd name="connsiteX9" fmla="*/ 13152 w 184268"/>
                    <a:gd name="connsiteY9" fmla="*/ 13123 h 46045"/>
                    <a:gd name="connsiteX10" fmla="*/ 13152 w 184268"/>
                    <a:gd name="connsiteY10" fmla="*/ 32865 h 46045"/>
                    <a:gd name="connsiteX11" fmla="*/ 171116 w 184268"/>
                    <a:gd name="connsiteY11" fmla="*/ 32865 h 46045"/>
                    <a:gd name="connsiteX12" fmla="*/ 171116 w 184268"/>
                    <a:gd name="connsiteY12" fmla="*/ 13123 h 46045"/>
                    <a:gd name="connsiteX13" fmla="*/ 13152 w 184268"/>
                    <a:gd name="connsiteY13" fmla="*/ 13123 h 46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268" h="46045">
                      <a:moveTo>
                        <a:pt x="171116" y="46045"/>
                      </a:moveTo>
                      <a:lnTo>
                        <a:pt x="13152" y="46045"/>
                      </a:lnTo>
                      <a:cubicBezTo>
                        <a:pt x="5900" y="46045"/>
                        <a:pt x="0" y="40146"/>
                        <a:pt x="0" y="32894"/>
                      </a:cubicBezTo>
                      <a:lnTo>
                        <a:pt x="0" y="13152"/>
                      </a:lnTo>
                      <a:cubicBezTo>
                        <a:pt x="0" y="5900"/>
                        <a:pt x="5900" y="0"/>
                        <a:pt x="13152" y="0"/>
                      </a:cubicBezTo>
                      <a:lnTo>
                        <a:pt x="171116" y="0"/>
                      </a:lnTo>
                      <a:cubicBezTo>
                        <a:pt x="178368" y="0"/>
                        <a:pt x="184268" y="5900"/>
                        <a:pt x="184268" y="13152"/>
                      </a:cubicBezTo>
                      <a:lnTo>
                        <a:pt x="184268" y="32894"/>
                      </a:lnTo>
                      <a:cubicBezTo>
                        <a:pt x="184297" y="40146"/>
                        <a:pt x="178368" y="46045"/>
                        <a:pt x="171116" y="46045"/>
                      </a:cubicBezTo>
                      <a:close/>
                      <a:moveTo>
                        <a:pt x="13152" y="13123"/>
                      </a:moveTo>
                      <a:lnTo>
                        <a:pt x="13152" y="32865"/>
                      </a:lnTo>
                      <a:lnTo>
                        <a:pt x="171116" y="32865"/>
                      </a:lnTo>
                      <a:lnTo>
                        <a:pt x="171116" y="13123"/>
                      </a:lnTo>
                      <a:lnTo>
                        <a:pt x="13152" y="13123"/>
                      </a:lnTo>
                      <a:close/>
                    </a:path>
                  </a:pathLst>
                </a:custGeom>
                <a:solidFill>
                  <a:schemeClr val="accent1"/>
                </a:solidFill>
                <a:ln w="2874" cap="flat">
                  <a:noFill/>
                  <a:prstDash val="solid"/>
                  <a:miter/>
                </a:ln>
              </p:spPr>
              <p:txBody>
                <a:bodyPr rtlCol="0" anchor="ctr"/>
                <a:lstStyle/>
                <a:p>
                  <a:endParaRPr lang="en-GB" dirty="0"/>
                </a:p>
              </p:txBody>
            </p:sp>
          </p:grpSp>
          <p:sp>
            <p:nvSpPr>
              <p:cNvPr id="490" name="Freihandform: Form 425">
                <a:extLst>
                  <a:ext uri="{FF2B5EF4-FFF2-40B4-BE49-F238E27FC236}">
                    <a16:creationId xmlns:a16="http://schemas.microsoft.com/office/drawing/2014/main" id="{185D0AEF-0FBE-4FC2-B46B-50005709C673}"/>
                  </a:ext>
                </a:extLst>
              </p:cNvPr>
              <p:cNvSpPr/>
              <p:nvPr/>
            </p:nvSpPr>
            <p:spPr>
              <a:xfrm>
                <a:off x="1153939" y="4599621"/>
                <a:ext cx="184268" cy="46045"/>
              </a:xfrm>
              <a:custGeom>
                <a:avLst/>
                <a:gdLst>
                  <a:gd name="connsiteX0" fmla="*/ 171116 w 184268"/>
                  <a:gd name="connsiteY0" fmla="*/ 46045 h 46045"/>
                  <a:gd name="connsiteX1" fmla="*/ 13152 w 184268"/>
                  <a:gd name="connsiteY1" fmla="*/ 46045 h 46045"/>
                  <a:gd name="connsiteX2" fmla="*/ 0 w 184268"/>
                  <a:gd name="connsiteY2" fmla="*/ 32894 h 46045"/>
                  <a:gd name="connsiteX3" fmla="*/ 0 w 184268"/>
                  <a:gd name="connsiteY3" fmla="*/ 13152 h 46045"/>
                  <a:gd name="connsiteX4" fmla="*/ 13152 w 184268"/>
                  <a:gd name="connsiteY4" fmla="*/ 0 h 46045"/>
                  <a:gd name="connsiteX5" fmla="*/ 171116 w 184268"/>
                  <a:gd name="connsiteY5" fmla="*/ 0 h 46045"/>
                  <a:gd name="connsiteX6" fmla="*/ 184268 w 184268"/>
                  <a:gd name="connsiteY6" fmla="*/ 13152 h 46045"/>
                  <a:gd name="connsiteX7" fmla="*/ 184268 w 184268"/>
                  <a:gd name="connsiteY7" fmla="*/ 32894 h 46045"/>
                  <a:gd name="connsiteX8" fmla="*/ 171116 w 184268"/>
                  <a:gd name="connsiteY8" fmla="*/ 46045 h 46045"/>
                  <a:gd name="connsiteX9" fmla="*/ 13152 w 184268"/>
                  <a:gd name="connsiteY9" fmla="*/ 13152 h 46045"/>
                  <a:gd name="connsiteX10" fmla="*/ 13152 w 184268"/>
                  <a:gd name="connsiteY10" fmla="*/ 32894 h 46045"/>
                  <a:gd name="connsiteX11" fmla="*/ 171116 w 184268"/>
                  <a:gd name="connsiteY11" fmla="*/ 32894 h 46045"/>
                  <a:gd name="connsiteX12" fmla="*/ 171116 w 184268"/>
                  <a:gd name="connsiteY12" fmla="*/ 13152 h 46045"/>
                  <a:gd name="connsiteX13" fmla="*/ 13152 w 184268"/>
                  <a:gd name="connsiteY13" fmla="*/ 13152 h 46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268" h="46045">
                    <a:moveTo>
                      <a:pt x="171116" y="46045"/>
                    </a:moveTo>
                    <a:lnTo>
                      <a:pt x="13152" y="46045"/>
                    </a:lnTo>
                    <a:cubicBezTo>
                      <a:pt x="5900" y="46045"/>
                      <a:pt x="0" y="40146"/>
                      <a:pt x="0" y="32894"/>
                    </a:cubicBezTo>
                    <a:lnTo>
                      <a:pt x="0" y="13152"/>
                    </a:lnTo>
                    <a:cubicBezTo>
                      <a:pt x="0" y="5900"/>
                      <a:pt x="5900" y="0"/>
                      <a:pt x="13152" y="0"/>
                    </a:cubicBezTo>
                    <a:lnTo>
                      <a:pt x="171116" y="0"/>
                    </a:lnTo>
                    <a:cubicBezTo>
                      <a:pt x="178368" y="0"/>
                      <a:pt x="184268" y="5900"/>
                      <a:pt x="184268" y="13152"/>
                    </a:cubicBezTo>
                    <a:lnTo>
                      <a:pt x="184268" y="32894"/>
                    </a:lnTo>
                    <a:cubicBezTo>
                      <a:pt x="184297" y="40146"/>
                      <a:pt x="178397" y="46045"/>
                      <a:pt x="171116" y="46045"/>
                    </a:cubicBezTo>
                    <a:close/>
                    <a:moveTo>
                      <a:pt x="13152" y="13152"/>
                    </a:moveTo>
                    <a:lnTo>
                      <a:pt x="13152" y="32894"/>
                    </a:lnTo>
                    <a:lnTo>
                      <a:pt x="171116" y="32894"/>
                    </a:lnTo>
                    <a:lnTo>
                      <a:pt x="171116" y="13152"/>
                    </a:lnTo>
                    <a:lnTo>
                      <a:pt x="13152" y="13152"/>
                    </a:lnTo>
                    <a:close/>
                  </a:path>
                </a:pathLst>
              </a:custGeom>
              <a:solidFill>
                <a:schemeClr val="accent1"/>
              </a:solidFill>
              <a:ln w="2874" cap="flat">
                <a:noFill/>
                <a:prstDash val="solid"/>
                <a:miter/>
              </a:ln>
            </p:spPr>
            <p:txBody>
              <a:bodyPr rtlCol="0" anchor="ctr"/>
              <a:lstStyle/>
              <a:p>
                <a:endParaRPr lang="en-GB" dirty="0"/>
              </a:p>
            </p:txBody>
          </p:sp>
          <p:sp>
            <p:nvSpPr>
              <p:cNvPr id="491" name="Freihandform: Form 426">
                <a:extLst>
                  <a:ext uri="{FF2B5EF4-FFF2-40B4-BE49-F238E27FC236}">
                    <a16:creationId xmlns:a16="http://schemas.microsoft.com/office/drawing/2014/main" id="{7B7C6990-0999-4B98-AEEE-713FC353A00B}"/>
                  </a:ext>
                </a:extLst>
              </p:cNvPr>
              <p:cNvSpPr/>
              <p:nvPr/>
            </p:nvSpPr>
            <p:spPr>
              <a:xfrm>
                <a:off x="1153939" y="4566727"/>
                <a:ext cx="184268" cy="46045"/>
              </a:xfrm>
              <a:custGeom>
                <a:avLst/>
                <a:gdLst>
                  <a:gd name="connsiteX0" fmla="*/ 171116 w 184268"/>
                  <a:gd name="connsiteY0" fmla="*/ 46045 h 46045"/>
                  <a:gd name="connsiteX1" fmla="*/ 13152 w 184268"/>
                  <a:gd name="connsiteY1" fmla="*/ 46045 h 46045"/>
                  <a:gd name="connsiteX2" fmla="*/ 0 w 184268"/>
                  <a:gd name="connsiteY2" fmla="*/ 32894 h 46045"/>
                  <a:gd name="connsiteX3" fmla="*/ 0 w 184268"/>
                  <a:gd name="connsiteY3" fmla="*/ 13152 h 46045"/>
                  <a:gd name="connsiteX4" fmla="*/ 13152 w 184268"/>
                  <a:gd name="connsiteY4" fmla="*/ 0 h 46045"/>
                  <a:gd name="connsiteX5" fmla="*/ 171116 w 184268"/>
                  <a:gd name="connsiteY5" fmla="*/ 0 h 46045"/>
                  <a:gd name="connsiteX6" fmla="*/ 184268 w 184268"/>
                  <a:gd name="connsiteY6" fmla="*/ 13152 h 46045"/>
                  <a:gd name="connsiteX7" fmla="*/ 184268 w 184268"/>
                  <a:gd name="connsiteY7" fmla="*/ 32894 h 46045"/>
                  <a:gd name="connsiteX8" fmla="*/ 171116 w 184268"/>
                  <a:gd name="connsiteY8" fmla="*/ 46045 h 46045"/>
                  <a:gd name="connsiteX9" fmla="*/ 13152 w 184268"/>
                  <a:gd name="connsiteY9" fmla="*/ 13123 h 46045"/>
                  <a:gd name="connsiteX10" fmla="*/ 13152 w 184268"/>
                  <a:gd name="connsiteY10" fmla="*/ 32865 h 46045"/>
                  <a:gd name="connsiteX11" fmla="*/ 171116 w 184268"/>
                  <a:gd name="connsiteY11" fmla="*/ 32865 h 46045"/>
                  <a:gd name="connsiteX12" fmla="*/ 171116 w 184268"/>
                  <a:gd name="connsiteY12" fmla="*/ 13123 h 46045"/>
                  <a:gd name="connsiteX13" fmla="*/ 13152 w 184268"/>
                  <a:gd name="connsiteY13" fmla="*/ 13123 h 46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268" h="46045">
                    <a:moveTo>
                      <a:pt x="171116" y="46045"/>
                    </a:moveTo>
                    <a:lnTo>
                      <a:pt x="13152" y="46045"/>
                    </a:lnTo>
                    <a:cubicBezTo>
                      <a:pt x="5900" y="46045"/>
                      <a:pt x="0" y="40146"/>
                      <a:pt x="0" y="32894"/>
                    </a:cubicBezTo>
                    <a:lnTo>
                      <a:pt x="0" y="13152"/>
                    </a:lnTo>
                    <a:cubicBezTo>
                      <a:pt x="0" y="5900"/>
                      <a:pt x="5900" y="0"/>
                      <a:pt x="13152" y="0"/>
                    </a:cubicBezTo>
                    <a:lnTo>
                      <a:pt x="171116" y="0"/>
                    </a:lnTo>
                    <a:cubicBezTo>
                      <a:pt x="178368" y="0"/>
                      <a:pt x="184268" y="5900"/>
                      <a:pt x="184268" y="13152"/>
                    </a:cubicBezTo>
                    <a:lnTo>
                      <a:pt x="184268" y="32894"/>
                    </a:lnTo>
                    <a:cubicBezTo>
                      <a:pt x="184297" y="40146"/>
                      <a:pt x="178397" y="46045"/>
                      <a:pt x="171116" y="46045"/>
                    </a:cubicBezTo>
                    <a:close/>
                    <a:moveTo>
                      <a:pt x="13152" y="13123"/>
                    </a:moveTo>
                    <a:lnTo>
                      <a:pt x="13152" y="32865"/>
                    </a:lnTo>
                    <a:lnTo>
                      <a:pt x="171116" y="32865"/>
                    </a:lnTo>
                    <a:lnTo>
                      <a:pt x="171116" y="13123"/>
                    </a:lnTo>
                    <a:lnTo>
                      <a:pt x="13152" y="13123"/>
                    </a:lnTo>
                    <a:close/>
                  </a:path>
                </a:pathLst>
              </a:custGeom>
              <a:solidFill>
                <a:schemeClr val="accent1"/>
              </a:solidFill>
              <a:ln w="2874" cap="flat">
                <a:noFill/>
                <a:prstDash val="solid"/>
                <a:miter/>
              </a:ln>
            </p:spPr>
            <p:txBody>
              <a:bodyPr rtlCol="0" anchor="ctr"/>
              <a:lstStyle/>
              <a:p>
                <a:endParaRPr lang="en-GB" dirty="0"/>
              </a:p>
            </p:txBody>
          </p:sp>
          <p:sp>
            <p:nvSpPr>
              <p:cNvPr id="492" name="Freihandform: Form 427">
                <a:extLst>
                  <a:ext uri="{FF2B5EF4-FFF2-40B4-BE49-F238E27FC236}">
                    <a16:creationId xmlns:a16="http://schemas.microsoft.com/office/drawing/2014/main" id="{8EF6D216-85BF-458F-A568-3FEF003E79D5}"/>
                  </a:ext>
                </a:extLst>
              </p:cNvPr>
              <p:cNvSpPr/>
              <p:nvPr/>
            </p:nvSpPr>
            <p:spPr>
              <a:xfrm>
                <a:off x="1134197" y="4533805"/>
                <a:ext cx="184268" cy="46045"/>
              </a:xfrm>
              <a:custGeom>
                <a:avLst/>
                <a:gdLst>
                  <a:gd name="connsiteX0" fmla="*/ 171116 w 184268"/>
                  <a:gd name="connsiteY0" fmla="*/ 46045 h 46045"/>
                  <a:gd name="connsiteX1" fmla="*/ 13152 w 184268"/>
                  <a:gd name="connsiteY1" fmla="*/ 46045 h 46045"/>
                  <a:gd name="connsiteX2" fmla="*/ 0 w 184268"/>
                  <a:gd name="connsiteY2" fmla="*/ 32894 h 46045"/>
                  <a:gd name="connsiteX3" fmla="*/ 0 w 184268"/>
                  <a:gd name="connsiteY3" fmla="*/ 13152 h 46045"/>
                  <a:gd name="connsiteX4" fmla="*/ 13152 w 184268"/>
                  <a:gd name="connsiteY4" fmla="*/ 0 h 46045"/>
                  <a:gd name="connsiteX5" fmla="*/ 171116 w 184268"/>
                  <a:gd name="connsiteY5" fmla="*/ 0 h 46045"/>
                  <a:gd name="connsiteX6" fmla="*/ 184268 w 184268"/>
                  <a:gd name="connsiteY6" fmla="*/ 13152 h 46045"/>
                  <a:gd name="connsiteX7" fmla="*/ 184268 w 184268"/>
                  <a:gd name="connsiteY7" fmla="*/ 32894 h 46045"/>
                  <a:gd name="connsiteX8" fmla="*/ 171116 w 184268"/>
                  <a:gd name="connsiteY8" fmla="*/ 46045 h 46045"/>
                  <a:gd name="connsiteX9" fmla="*/ 13152 w 184268"/>
                  <a:gd name="connsiteY9" fmla="*/ 13152 h 46045"/>
                  <a:gd name="connsiteX10" fmla="*/ 13152 w 184268"/>
                  <a:gd name="connsiteY10" fmla="*/ 32894 h 46045"/>
                  <a:gd name="connsiteX11" fmla="*/ 171116 w 184268"/>
                  <a:gd name="connsiteY11" fmla="*/ 32894 h 46045"/>
                  <a:gd name="connsiteX12" fmla="*/ 171116 w 184268"/>
                  <a:gd name="connsiteY12" fmla="*/ 13152 h 46045"/>
                  <a:gd name="connsiteX13" fmla="*/ 13152 w 184268"/>
                  <a:gd name="connsiteY13" fmla="*/ 13152 h 46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268" h="46045">
                    <a:moveTo>
                      <a:pt x="171116" y="46045"/>
                    </a:moveTo>
                    <a:lnTo>
                      <a:pt x="13152" y="46045"/>
                    </a:lnTo>
                    <a:cubicBezTo>
                      <a:pt x="5900" y="46045"/>
                      <a:pt x="0" y="40146"/>
                      <a:pt x="0" y="32894"/>
                    </a:cubicBezTo>
                    <a:lnTo>
                      <a:pt x="0" y="13152"/>
                    </a:lnTo>
                    <a:cubicBezTo>
                      <a:pt x="0" y="5900"/>
                      <a:pt x="5900" y="0"/>
                      <a:pt x="13152" y="0"/>
                    </a:cubicBezTo>
                    <a:lnTo>
                      <a:pt x="171116" y="0"/>
                    </a:lnTo>
                    <a:cubicBezTo>
                      <a:pt x="178368" y="0"/>
                      <a:pt x="184268" y="5900"/>
                      <a:pt x="184268" y="13152"/>
                    </a:cubicBezTo>
                    <a:lnTo>
                      <a:pt x="184268" y="32894"/>
                    </a:lnTo>
                    <a:cubicBezTo>
                      <a:pt x="184297" y="40146"/>
                      <a:pt x="178368" y="46045"/>
                      <a:pt x="171116" y="46045"/>
                    </a:cubicBezTo>
                    <a:close/>
                    <a:moveTo>
                      <a:pt x="13152" y="13152"/>
                    </a:moveTo>
                    <a:lnTo>
                      <a:pt x="13152" y="32894"/>
                    </a:lnTo>
                    <a:lnTo>
                      <a:pt x="171116" y="32894"/>
                    </a:lnTo>
                    <a:lnTo>
                      <a:pt x="171116" y="13152"/>
                    </a:lnTo>
                    <a:lnTo>
                      <a:pt x="13152" y="13152"/>
                    </a:lnTo>
                    <a:close/>
                  </a:path>
                </a:pathLst>
              </a:custGeom>
              <a:solidFill>
                <a:schemeClr val="accent1"/>
              </a:solidFill>
              <a:ln w="2874" cap="flat">
                <a:noFill/>
                <a:prstDash val="solid"/>
                <a:miter/>
              </a:ln>
            </p:spPr>
            <p:txBody>
              <a:bodyPr rtlCol="0" anchor="ctr"/>
              <a:lstStyle/>
              <a:p>
                <a:endParaRPr lang="en-GB" dirty="0"/>
              </a:p>
            </p:txBody>
          </p:sp>
          <p:sp>
            <p:nvSpPr>
              <p:cNvPr id="493" name="Freihandform: Form 428">
                <a:extLst>
                  <a:ext uri="{FF2B5EF4-FFF2-40B4-BE49-F238E27FC236}">
                    <a16:creationId xmlns:a16="http://schemas.microsoft.com/office/drawing/2014/main" id="{886E19FC-FD8E-426C-8ED0-0A2FCF2A9D58}"/>
                  </a:ext>
                </a:extLst>
              </p:cNvPr>
              <p:cNvSpPr/>
              <p:nvPr/>
            </p:nvSpPr>
            <p:spPr>
              <a:xfrm>
                <a:off x="1147378" y="4500911"/>
                <a:ext cx="184267" cy="46045"/>
              </a:xfrm>
              <a:custGeom>
                <a:avLst/>
                <a:gdLst>
                  <a:gd name="connsiteX0" fmla="*/ 171116 w 184267"/>
                  <a:gd name="connsiteY0" fmla="*/ 46045 h 46045"/>
                  <a:gd name="connsiteX1" fmla="*/ 13152 w 184267"/>
                  <a:gd name="connsiteY1" fmla="*/ 46045 h 46045"/>
                  <a:gd name="connsiteX2" fmla="*/ 0 w 184267"/>
                  <a:gd name="connsiteY2" fmla="*/ 32894 h 46045"/>
                  <a:gd name="connsiteX3" fmla="*/ 0 w 184267"/>
                  <a:gd name="connsiteY3" fmla="*/ 13152 h 46045"/>
                  <a:gd name="connsiteX4" fmla="*/ 13152 w 184267"/>
                  <a:gd name="connsiteY4" fmla="*/ 0 h 46045"/>
                  <a:gd name="connsiteX5" fmla="*/ 171116 w 184267"/>
                  <a:gd name="connsiteY5" fmla="*/ 0 h 46045"/>
                  <a:gd name="connsiteX6" fmla="*/ 184268 w 184267"/>
                  <a:gd name="connsiteY6" fmla="*/ 13152 h 46045"/>
                  <a:gd name="connsiteX7" fmla="*/ 184268 w 184267"/>
                  <a:gd name="connsiteY7" fmla="*/ 32894 h 46045"/>
                  <a:gd name="connsiteX8" fmla="*/ 171116 w 184267"/>
                  <a:gd name="connsiteY8" fmla="*/ 46045 h 46045"/>
                  <a:gd name="connsiteX9" fmla="*/ 13152 w 184267"/>
                  <a:gd name="connsiteY9" fmla="*/ 13123 h 46045"/>
                  <a:gd name="connsiteX10" fmla="*/ 13152 w 184267"/>
                  <a:gd name="connsiteY10" fmla="*/ 32865 h 46045"/>
                  <a:gd name="connsiteX11" fmla="*/ 171116 w 184267"/>
                  <a:gd name="connsiteY11" fmla="*/ 32865 h 46045"/>
                  <a:gd name="connsiteX12" fmla="*/ 171116 w 184267"/>
                  <a:gd name="connsiteY12" fmla="*/ 13123 h 46045"/>
                  <a:gd name="connsiteX13" fmla="*/ 13152 w 184267"/>
                  <a:gd name="connsiteY13" fmla="*/ 13123 h 46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267" h="46045">
                    <a:moveTo>
                      <a:pt x="171116" y="46045"/>
                    </a:moveTo>
                    <a:lnTo>
                      <a:pt x="13152" y="46045"/>
                    </a:lnTo>
                    <a:cubicBezTo>
                      <a:pt x="5900" y="46045"/>
                      <a:pt x="0" y="40146"/>
                      <a:pt x="0" y="32894"/>
                    </a:cubicBezTo>
                    <a:lnTo>
                      <a:pt x="0" y="13152"/>
                    </a:lnTo>
                    <a:cubicBezTo>
                      <a:pt x="0" y="5900"/>
                      <a:pt x="5900" y="0"/>
                      <a:pt x="13152" y="0"/>
                    </a:cubicBezTo>
                    <a:lnTo>
                      <a:pt x="171116" y="0"/>
                    </a:lnTo>
                    <a:cubicBezTo>
                      <a:pt x="178368" y="0"/>
                      <a:pt x="184268" y="5900"/>
                      <a:pt x="184268" y="13152"/>
                    </a:cubicBezTo>
                    <a:lnTo>
                      <a:pt x="184268" y="32894"/>
                    </a:lnTo>
                    <a:cubicBezTo>
                      <a:pt x="184268" y="40146"/>
                      <a:pt x="178368" y="46045"/>
                      <a:pt x="171116" y="46045"/>
                    </a:cubicBezTo>
                    <a:close/>
                    <a:moveTo>
                      <a:pt x="13152" y="13123"/>
                    </a:moveTo>
                    <a:lnTo>
                      <a:pt x="13152" y="32865"/>
                    </a:lnTo>
                    <a:lnTo>
                      <a:pt x="171116" y="32865"/>
                    </a:lnTo>
                    <a:lnTo>
                      <a:pt x="171116" y="13123"/>
                    </a:lnTo>
                    <a:lnTo>
                      <a:pt x="13152" y="13123"/>
                    </a:lnTo>
                    <a:close/>
                  </a:path>
                </a:pathLst>
              </a:custGeom>
              <a:solidFill>
                <a:schemeClr val="accent1"/>
              </a:solidFill>
              <a:ln w="2874" cap="flat">
                <a:noFill/>
                <a:prstDash val="solid"/>
                <a:miter/>
              </a:ln>
            </p:spPr>
            <p:txBody>
              <a:bodyPr rtlCol="0" anchor="ctr"/>
              <a:lstStyle/>
              <a:p>
                <a:endParaRPr lang="en-GB" dirty="0"/>
              </a:p>
            </p:txBody>
          </p:sp>
          <p:sp>
            <p:nvSpPr>
              <p:cNvPr id="494" name="Freihandform: Form 429">
                <a:extLst>
                  <a:ext uri="{FF2B5EF4-FFF2-40B4-BE49-F238E27FC236}">
                    <a16:creationId xmlns:a16="http://schemas.microsoft.com/office/drawing/2014/main" id="{A0AD6B14-E138-4D93-A369-C70236305160}"/>
                  </a:ext>
                </a:extLst>
              </p:cNvPr>
              <p:cNvSpPr/>
              <p:nvPr/>
            </p:nvSpPr>
            <p:spPr>
              <a:xfrm>
                <a:off x="1160530" y="4467988"/>
                <a:ext cx="184268" cy="46045"/>
              </a:xfrm>
              <a:custGeom>
                <a:avLst/>
                <a:gdLst>
                  <a:gd name="connsiteX0" fmla="*/ 171116 w 184268"/>
                  <a:gd name="connsiteY0" fmla="*/ 46045 h 46045"/>
                  <a:gd name="connsiteX1" fmla="*/ 13152 w 184268"/>
                  <a:gd name="connsiteY1" fmla="*/ 46045 h 46045"/>
                  <a:gd name="connsiteX2" fmla="*/ 0 w 184268"/>
                  <a:gd name="connsiteY2" fmla="*/ 32894 h 46045"/>
                  <a:gd name="connsiteX3" fmla="*/ 0 w 184268"/>
                  <a:gd name="connsiteY3" fmla="*/ 13152 h 46045"/>
                  <a:gd name="connsiteX4" fmla="*/ 13152 w 184268"/>
                  <a:gd name="connsiteY4" fmla="*/ 0 h 46045"/>
                  <a:gd name="connsiteX5" fmla="*/ 171116 w 184268"/>
                  <a:gd name="connsiteY5" fmla="*/ 0 h 46045"/>
                  <a:gd name="connsiteX6" fmla="*/ 184268 w 184268"/>
                  <a:gd name="connsiteY6" fmla="*/ 13152 h 46045"/>
                  <a:gd name="connsiteX7" fmla="*/ 184268 w 184268"/>
                  <a:gd name="connsiteY7" fmla="*/ 32894 h 46045"/>
                  <a:gd name="connsiteX8" fmla="*/ 171116 w 184268"/>
                  <a:gd name="connsiteY8" fmla="*/ 46045 h 46045"/>
                  <a:gd name="connsiteX9" fmla="*/ 13152 w 184268"/>
                  <a:gd name="connsiteY9" fmla="*/ 13152 h 46045"/>
                  <a:gd name="connsiteX10" fmla="*/ 13152 w 184268"/>
                  <a:gd name="connsiteY10" fmla="*/ 32894 h 46045"/>
                  <a:gd name="connsiteX11" fmla="*/ 171116 w 184268"/>
                  <a:gd name="connsiteY11" fmla="*/ 32894 h 46045"/>
                  <a:gd name="connsiteX12" fmla="*/ 171116 w 184268"/>
                  <a:gd name="connsiteY12" fmla="*/ 13152 h 46045"/>
                  <a:gd name="connsiteX13" fmla="*/ 13152 w 184268"/>
                  <a:gd name="connsiteY13" fmla="*/ 13152 h 46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268" h="46045">
                    <a:moveTo>
                      <a:pt x="171116" y="46045"/>
                    </a:moveTo>
                    <a:lnTo>
                      <a:pt x="13152" y="46045"/>
                    </a:lnTo>
                    <a:cubicBezTo>
                      <a:pt x="5900" y="46045"/>
                      <a:pt x="0" y="40146"/>
                      <a:pt x="0" y="32894"/>
                    </a:cubicBezTo>
                    <a:lnTo>
                      <a:pt x="0" y="13152"/>
                    </a:lnTo>
                    <a:cubicBezTo>
                      <a:pt x="0" y="5900"/>
                      <a:pt x="5900" y="0"/>
                      <a:pt x="13152" y="0"/>
                    </a:cubicBezTo>
                    <a:lnTo>
                      <a:pt x="171116" y="0"/>
                    </a:lnTo>
                    <a:cubicBezTo>
                      <a:pt x="178368" y="0"/>
                      <a:pt x="184268" y="5900"/>
                      <a:pt x="184268" y="13152"/>
                    </a:cubicBezTo>
                    <a:lnTo>
                      <a:pt x="184268" y="32894"/>
                    </a:lnTo>
                    <a:cubicBezTo>
                      <a:pt x="184268" y="40146"/>
                      <a:pt x="178368" y="46045"/>
                      <a:pt x="171116" y="46045"/>
                    </a:cubicBezTo>
                    <a:close/>
                    <a:moveTo>
                      <a:pt x="13152" y="13152"/>
                    </a:moveTo>
                    <a:lnTo>
                      <a:pt x="13152" y="32894"/>
                    </a:lnTo>
                    <a:lnTo>
                      <a:pt x="171116" y="32894"/>
                    </a:lnTo>
                    <a:lnTo>
                      <a:pt x="171116" y="13152"/>
                    </a:lnTo>
                    <a:lnTo>
                      <a:pt x="13152" y="13152"/>
                    </a:lnTo>
                    <a:close/>
                  </a:path>
                </a:pathLst>
              </a:custGeom>
              <a:solidFill>
                <a:schemeClr val="accent1"/>
              </a:solidFill>
              <a:ln w="2874" cap="flat">
                <a:noFill/>
                <a:prstDash val="solid"/>
                <a:miter/>
              </a:ln>
            </p:spPr>
            <p:txBody>
              <a:bodyPr rtlCol="0" anchor="ctr"/>
              <a:lstStyle/>
              <a:p>
                <a:endParaRPr lang="en-GB" dirty="0"/>
              </a:p>
            </p:txBody>
          </p:sp>
        </p:grpSp>
      </p:grpSp>
      <p:grpSp>
        <p:nvGrpSpPr>
          <p:cNvPr id="664" name="Group 663">
            <a:extLst>
              <a:ext uri="{FF2B5EF4-FFF2-40B4-BE49-F238E27FC236}">
                <a16:creationId xmlns:a16="http://schemas.microsoft.com/office/drawing/2014/main" id="{229E42FD-6309-EC91-D9C1-59DD36F74795}"/>
              </a:ext>
            </a:extLst>
          </p:cNvPr>
          <p:cNvGrpSpPr/>
          <p:nvPr/>
        </p:nvGrpSpPr>
        <p:grpSpPr>
          <a:xfrm>
            <a:off x="8144670" y="2391524"/>
            <a:ext cx="395992" cy="432002"/>
            <a:chOff x="8144258" y="2391524"/>
            <a:chExt cx="395992" cy="432002"/>
          </a:xfrm>
        </p:grpSpPr>
        <p:grpSp>
          <p:nvGrpSpPr>
            <p:cNvPr id="505" name="Grafik 324">
              <a:extLst>
                <a:ext uri="{FF2B5EF4-FFF2-40B4-BE49-F238E27FC236}">
                  <a16:creationId xmlns:a16="http://schemas.microsoft.com/office/drawing/2014/main" id="{4CF80F7E-83D2-44FE-9BCE-EA51213367C2}"/>
                </a:ext>
              </a:extLst>
            </p:cNvPr>
            <p:cNvGrpSpPr/>
            <p:nvPr/>
          </p:nvGrpSpPr>
          <p:grpSpPr>
            <a:xfrm>
              <a:off x="8144258" y="2644926"/>
              <a:ext cx="395992" cy="178600"/>
              <a:chOff x="1758708" y="1903450"/>
              <a:chExt cx="432390" cy="195016"/>
            </a:xfrm>
            <a:solidFill>
              <a:schemeClr val="tx2"/>
            </a:solidFill>
          </p:grpSpPr>
          <p:grpSp>
            <p:nvGrpSpPr>
              <p:cNvPr id="516" name="Grafik 324">
                <a:extLst>
                  <a:ext uri="{FF2B5EF4-FFF2-40B4-BE49-F238E27FC236}">
                    <a16:creationId xmlns:a16="http://schemas.microsoft.com/office/drawing/2014/main" id="{099A977D-7EA9-4FC6-9D21-84862B66329D}"/>
                  </a:ext>
                </a:extLst>
              </p:cNvPr>
              <p:cNvGrpSpPr/>
              <p:nvPr/>
            </p:nvGrpSpPr>
            <p:grpSpPr>
              <a:xfrm>
                <a:off x="1758708" y="1971307"/>
                <a:ext cx="432390" cy="127160"/>
                <a:chOff x="1758708" y="1971307"/>
                <a:chExt cx="432390" cy="127160"/>
              </a:xfrm>
              <a:grpFill/>
            </p:grpSpPr>
            <p:sp>
              <p:nvSpPr>
                <p:cNvPr id="520" name="Freihandform: Form 288">
                  <a:extLst>
                    <a:ext uri="{FF2B5EF4-FFF2-40B4-BE49-F238E27FC236}">
                      <a16:creationId xmlns:a16="http://schemas.microsoft.com/office/drawing/2014/main" id="{049C0C45-DCFF-474D-9F4D-6ACBB84B2FB8}"/>
                    </a:ext>
                  </a:extLst>
                </p:cNvPr>
                <p:cNvSpPr/>
                <p:nvPr/>
              </p:nvSpPr>
              <p:spPr>
                <a:xfrm>
                  <a:off x="1758708" y="1971307"/>
                  <a:ext cx="432390" cy="81295"/>
                </a:xfrm>
                <a:custGeom>
                  <a:avLst/>
                  <a:gdLst>
                    <a:gd name="connsiteX0" fmla="*/ 216207 w 432390"/>
                    <a:gd name="connsiteY0" fmla="*/ 81296 h 81295"/>
                    <a:gd name="connsiteX1" fmla="*/ 0 w 432390"/>
                    <a:gd name="connsiteY1" fmla="*/ 35432 h 81295"/>
                    <a:gd name="connsiteX2" fmla="*/ 71524 w 432390"/>
                    <a:gd name="connsiteY2" fmla="*/ 1140 h 81295"/>
                    <a:gd name="connsiteX3" fmla="*/ 79089 w 432390"/>
                    <a:gd name="connsiteY3" fmla="*/ 6500 h 81295"/>
                    <a:gd name="connsiteX4" fmla="*/ 73729 w 432390"/>
                    <a:gd name="connsiteY4" fmla="*/ 14065 h 81295"/>
                    <a:gd name="connsiteX5" fmla="*/ 13114 w 432390"/>
                    <a:gd name="connsiteY5" fmla="*/ 35455 h 81295"/>
                    <a:gd name="connsiteX6" fmla="*/ 216207 w 432390"/>
                    <a:gd name="connsiteY6" fmla="*/ 68205 h 81295"/>
                    <a:gd name="connsiteX7" fmla="*/ 419300 w 432390"/>
                    <a:gd name="connsiteY7" fmla="*/ 35455 h 81295"/>
                    <a:gd name="connsiteX8" fmla="*/ 357120 w 432390"/>
                    <a:gd name="connsiteY8" fmla="*/ 12998 h 81295"/>
                    <a:gd name="connsiteX9" fmla="*/ 351784 w 432390"/>
                    <a:gd name="connsiteY9" fmla="*/ 5433 h 81295"/>
                    <a:gd name="connsiteX10" fmla="*/ 359349 w 432390"/>
                    <a:gd name="connsiteY10" fmla="*/ 97 h 81295"/>
                    <a:gd name="connsiteX11" fmla="*/ 432391 w 432390"/>
                    <a:gd name="connsiteY11" fmla="*/ 35455 h 81295"/>
                    <a:gd name="connsiteX12" fmla="*/ 216207 w 432390"/>
                    <a:gd name="connsiteY12" fmla="*/ 81296 h 8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390" h="81295">
                      <a:moveTo>
                        <a:pt x="216207" y="81296"/>
                      </a:moveTo>
                      <a:cubicBezTo>
                        <a:pt x="141435" y="81296"/>
                        <a:pt x="0" y="71715"/>
                        <a:pt x="0" y="35432"/>
                      </a:cubicBezTo>
                      <a:cubicBezTo>
                        <a:pt x="0" y="19922"/>
                        <a:pt x="21391" y="9654"/>
                        <a:pt x="71524" y="1140"/>
                      </a:cubicBezTo>
                      <a:cubicBezTo>
                        <a:pt x="75105" y="524"/>
                        <a:pt x="78472" y="2919"/>
                        <a:pt x="79089" y="6500"/>
                      </a:cubicBezTo>
                      <a:cubicBezTo>
                        <a:pt x="79705" y="10057"/>
                        <a:pt x="77286" y="13448"/>
                        <a:pt x="73729" y="14065"/>
                      </a:cubicBezTo>
                      <a:cubicBezTo>
                        <a:pt x="13802" y="24262"/>
                        <a:pt x="13114" y="35005"/>
                        <a:pt x="13114" y="35455"/>
                      </a:cubicBezTo>
                      <a:cubicBezTo>
                        <a:pt x="13114" y="46578"/>
                        <a:pt x="84804" y="68205"/>
                        <a:pt x="216207" y="68205"/>
                      </a:cubicBezTo>
                      <a:cubicBezTo>
                        <a:pt x="347610" y="68205"/>
                        <a:pt x="419300" y="46554"/>
                        <a:pt x="419300" y="35455"/>
                      </a:cubicBezTo>
                      <a:cubicBezTo>
                        <a:pt x="419300" y="32420"/>
                        <a:pt x="407870" y="21772"/>
                        <a:pt x="357120" y="12998"/>
                      </a:cubicBezTo>
                      <a:cubicBezTo>
                        <a:pt x="353563" y="12381"/>
                        <a:pt x="351168" y="8990"/>
                        <a:pt x="351784" y="5433"/>
                      </a:cubicBezTo>
                      <a:cubicBezTo>
                        <a:pt x="352401" y="1875"/>
                        <a:pt x="355768" y="-520"/>
                        <a:pt x="359349" y="97"/>
                      </a:cubicBezTo>
                      <a:cubicBezTo>
                        <a:pt x="432391" y="12713"/>
                        <a:pt x="432391" y="29835"/>
                        <a:pt x="432391" y="35455"/>
                      </a:cubicBezTo>
                      <a:cubicBezTo>
                        <a:pt x="432391" y="71715"/>
                        <a:pt x="290980" y="81296"/>
                        <a:pt x="216207" y="81296"/>
                      </a:cubicBezTo>
                      <a:close/>
                    </a:path>
                  </a:pathLst>
                </a:custGeom>
                <a:grpFill/>
                <a:ln w="2369" cap="flat">
                  <a:noFill/>
                  <a:prstDash val="solid"/>
                  <a:miter/>
                </a:ln>
              </p:spPr>
              <p:txBody>
                <a:bodyPr rtlCol="0" anchor="ctr"/>
                <a:lstStyle/>
                <a:p>
                  <a:endParaRPr lang="en-GB" dirty="0"/>
                </a:p>
              </p:txBody>
            </p:sp>
            <p:sp>
              <p:nvSpPr>
                <p:cNvPr id="521" name="Freihandform: Form 289">
                  <a:extLst>
                    <a:ext uri="{FF2B5EF4-FFF2-40B4-BE49-F238E27FC236}">
                      <a16:creationId xmlns:a16="http://schemas.microsoft.com/office/drawing/2014/main" id="{C3DA0C49-D2B1-4196-B993-C9760106F101}"/>
                    </a:ext>
                  </a:extLst>
                </p:cNvPr>
                <p:cNvSpPr/>
                <p:nvPr/>
              </p:nvSpPr>
              <p:spPr>
                <a:xfrm>
                  <a:off x="1758708" y="2000193"/>
                  <a:ext cx="432367" cy="98273"/>
                </a:xfrm>
                <a:custGeom>
                  <a:avLst/>
                  <a:gdLst>
                    <a:gd name="connsiteX0" fmla="*/ 216207 w 432367"/>
                    <a:gd name="connsiteY0" fmla="*/ 98274 h 98273"/>
                    <a:gd name="connsiteX1" fmla="*/ 0 w 432367"/>
                    <a:gd name="connsiteY1" fmla="*/ 52410 h 98273"/>
                    <a:gd name="connsiteX2" fmla="*/ 0 w 432367"/>
                    <a:gd name="connsiteY2" fmla="*/ 6545 h 98273"/>
                    <a:gd name="connsiteX3" fmla="*/ 6545 w 432367"/>
                    <a:gd name="connsiteY3" fmla="*/ 0 h 98273"/>
                    <a:gd name="connsiteX4" fmla="*/ 13091 w 432367"/>
                    <a:gd name="connsiteY4" fmla="*/ 6545 h 98273"/>
                    <a:gd name="connsiteX5" fmla="*/ 13091 w 432367"/>
                    <a:gd name="connsiteY5" fmla="*/ 52410 h 98273"/>
                    <a:gd name="connsiteX6" fmla="*/ 216183 w 432367"/>
                    <a:gd name="connsiteY6" fmla="*/ 85160 h 98273"/>
                    <a:gd name="connsiteX7" fmla="*/ 419276 w 432367"/>
                    <a:gd name="connsiteY7" fmla="*/ 52410 h 98273"/>
                    <a:gd name="connsiteX8" fmla="*/ 419276 w 432367"/>
                    <a:gd name="connsiteY8" fmla="*/ 6545 h 98273"/>
                    <a:gd name="connsiteX9" fmla="*/ 425822 w 432367"/>
                    <a:gd name="connsiteY9" fmla="*/ 0 h 98273"/>
                    <a:gd name="connsiteX10" fmla="*/ 432367 w 432367"/>
                    <a:gd name="connsiteY10" fmla="*/ 6545 h 98273"/>
                    <a:gd name="connsiteX11" fmla="*/ 432367 w 432367"/>
                    <a:gd name="connsiteY11" fmla="*/ 52410 h 98273"/>
                    <a:gd name="connsiteX12" fmla="*/ 216207 w 432367"/>
                    <a:gd name="connsiteY12" fmla="*/ 98274 h 9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367" h="98273">
                      <a:moveTo>
                        <a:pt x="216207" y="98274"/>
                      </a:moveTo>
                      <a:cubicBezTo>
                        <a:pt x="141435" y="98274"/>
                        <a:pt x="0" y="88693"/>
                        <a:pt x="0" y="52410"/>
                      </a:cubicBezTo>
                      <a:lnTo>
                        <a:pt x="0" y="6545"/>
                      </a:lnTo>
                      <a:cubicBezTo>
                        <a:pt x="0" y="2917"/>
                        <a:pt x="2941" y="0"/>
                        <a:pt x="6545" y="0"/>
                      </a:cubicBezTo>
                      <a:cubicBezTo>
                        <a:pt x="10150" y="0"/>
                        <a:pt x="13091" y="2941"/>
                        <a:pt x="13091" y="6545"/>
                      </a:cubicBezTo>
                      <a:lnTo>
                        <a:pt x="13091" y="52410"/>
                      </a:lnTo>
                      <a:cubicBezTo>
                        <a:pt x="13091" y="63532"/>
                        <a:pt x="84780" y="85160"/>
                        <a:pt x="216183" y="85160"/>
                      </a:cubicBezTo>
                      <a:cubicBezTo>
                        <a:pt x="347587" y="85160"/>
                        <a:pt x="419276" y="63508"/>
                        <a:pt x="419276" y="52410"/>
                      </a:cubicBezTo>
                      <a:lnTo>
                        <a:pt x="419276" y="6545"/>
                      </a:lnTo>
                      <a:cubicBezTo>
                        <a:pt x="419276" y="2917"/>
                        <a:pt x="422217" y="0"/>
                        <a:pt x="425822" y="0"/>
                      </a:cubicBezTo>
                      <a:cubicBezTo>
                        <a:pt x="429426" y="0"/>
                        <a:pt x="432367" y="2941"/>
                        <a:pt x="432367" y="6545"/>
                      </a:cubicBezTo>
                      <a:lnTo>
                        <a:pt x="432367" y="52410"/>
                      </a:lnTo>
                      <a:cubicBezTo>
                        <a:pt x="432391" y="88693"/>
                        <a:pt x="290980" y="98274"/>
                        <a:pt x="216207" y="98274"/>
                      </a:cubicBezTo>
                      <a:close/>
                    </a:path>
                  </a:pathLst>
                </a:custGeom>
                <a:grpFill/>
                <a:ln w="2369" cap="flat">
                  <a:noFill/>
                  <a:prstDash val="solid"/>
                  <a:miter/>
                </a:ln>
              </p:spPr>
              <p:txBody>
                <a:bodyPr rtlCol="0" anchor="ctr"/>
                <a:lstStyle/>
                <a:p>
                  <a:endParaRPr lang="en-GB" dirty="0"/>
                </a:p>
              </p:txBody>
            </p:sp>
          </p:grpSp>
          <p:sp>
            <p:nvSpPr>
              <p:cNvPr id="517" name="Freihandform: Form 290">
                <a:extLst>
                  <a:ext uri="{FF2B5EF4-FFF2-40B4-BE49-F238E27FC236}">
                    <a16:creationId xmlns:a16="http://schemas.microsoft.com/office/drawing/2014/main" id="{094A4E92-4975-4C40-A699-0573B95AB12E}"/>
                  </a:ext>
                </a:extLst>
              </p:cNvPr>
              <p:cNvSpPr/>
              <p:nvPr/>
            </p:nvSpPr>
            <p:spPr>
              <a:xfrm>
                <a:off x="2039169" y="1903450"/>
                <a:ext cx="86453" cy="55194"/>
              </a:xfrm>
              <a:custGeom>
                <a:avLst/>
                <a:gdLst>
                  <a:gd name="connsiteX0" fmla="*/ 6534 w 86453"/>
                  <a:gd name="connsiteY0" fmla="*/ 55195 h 55194"/>
                  <a:gd name="connsiteX1" fmla="*/ 37 w 86453"/>
                  <a:gd name="connsiteY1" fmla="*/ 49337 h 55194"/>
                  <a:gd name="connsiteX2" fmla="*/ 5871 w 86453"/>
                  <a:gd name="connsiteY2" fmla="*/ 42128 h 55194"/>
                  <a:gd name="connsiteX3" fmla="*/ 47466 w 86453"/>
                  <a:gd name="connsiteY3" fmla="*/ 35440 h 55194"/>
                  <a:gd name="connsiteX4" fmla="*/ 73149 w 86453"/>
                  <a:gd name="connsiteY4" fmla="*/ 25077 h 55194"/>
                  <a:gd name="connsiteX5" fmla="*/ 39308 w 86453"/>
                  <a:gd name="connsiteY5" fmla="*/ 12982 h 55194"/>
                  <a:gd name="connsiteX6" fmla="*/ 34162 w 86453"/>
                  <a:gd name="connsiteY6" fmla="*/ 5275 h 55194"/>
                  <a:gd name="connsiteX7" fmla="*/ 41869 w 86453"/>
                  <a:gd name="connsiteY7" fmla="*/ 129 h 55194"/>
                  <a:gd name="connsiteX8" fmla="*/ 86453 w 86453"/>
                  <a:gd name="connsiteY8" fmla="*/ 25101 h 55194"/>
                  <a:gd name="connsiteX9" fmla="*/ 50525 w 86453"/>
                  <a:gd name="connsiteY9" fmla="*/ 48199 h 55194"/>
                  <a:gd name="connsiteX10" fmla="*/ 7270 w 86453"/>
                  <a:gd name="connsiteY10" fmla="*/ 55171 h 55194"/>
                  <a:gd name="connsiteX11" fmla="*/ 6534 w 86453"/>
                  <a:gd name="connsiteY11" fmla="*/ 55195 h 55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6453" h="55194">
                    <a:moveTo>
                      <a:pt x="6534" y="55195"/>
                    </a:moveTo>
                    <a:cubicBezTo>
                      <a:pt x="3214" y="55195"/>
                      <a:pt x="392" y="52705"/>
                      <a:pt x="37" y="49337"/>
                    </a:cubicBezTo>
                    <a:cubicBezTo>
                      <a:pt x="-343" y="45733"/>
                      <a:pt x="2266" y="42507"/>
                      <a:pt x="5871" y="42128"/>
                    </a:cubicBezTo>
                    <a:cubicBezTo>
                      <a:pt x="22020" y="40420"/>
                      <a:pt x="36012" y="38168"/>
                      <a:pt x="47466" y="35440"/>
                    </a:cubicBezTo>
                    <a:cubicBezTo>
                      <a:pt x="67292" y="30721"/>
                      <a:pt x="72106" y="26334"/>
                      <a:pt x="73149" y="25077"/>
                    </a:cubicBezTo>
                    <a:cubicBezTo>
                      <a:pt x="71537" y="22966"/>
                      <a:pt x="63284" y="17749"/>
                      <a:pt x="39308" y="12982"/>
                    </a:cubicBezTo>
                    <a:cubicBezTo>
                      <a:pt x="35751" y="12271"/>
                      <a:pt x="33451" y="8832"/>
                      <a:pt x="34162" y="5275"/>
                    </a:cubicBezTo>
                    <a:cubicBezTo>
                      <a:pt x="34874" y="1718"/>
                      <a:pt x="38312" y="-582"/>
                      <a:pt x="41869" y="129"/>
                    </a:cubicBezTo>
                    <a:cubicBezTo>
                      <a:pt x="72296" y="6176"/>
                      <a:pt x="86453" y="14097"/>
                      <a:pt x="86453" y="25101"/>
                    </a:cubicBezTo>
                    <a:cubicBezTo>
                      <a:pt x="86453" y="35037"/>
                      <a:pt x="75023" y="42365"/>
                      <a:pt x="50525" y="48199"/>
                    </a:cubicBezTo>
                    <a:cubicBezTo>
                      <a:pt x="38526" y="51045"/>
                      <a:pt x="23965" y="53392"/>
                      <a:pt x="7270" y="55171"/>
                    </a:cubicBezTo>
                    <a:cubicBezTo>
                      <a:pt x="6985" y="55171"/>
                      <a:pt x="6772" y="55195"/>
                      <a:pt x="6534" y="55195"/>
                    </a:cubicBezTo>
                    <a:close/>
                  </a:path>
                </a:pathLst>
              </a:custGeom>
              <a:grpFill/>
              <a:ln w="2369" cap="flat">
                <a:noFill/>
                <a:prstDash val="solid"/>
                <a:miter/>
              </a:ln>
            </p:spPr>
            <p:txBody>
              <a:bodyPr rtlCol="0" anchor="ctr"/>
              <a:lstStyle/>
              <a:p>
                <a:endParaRPr lang="en-GB" dirty="0"/>
              </a:p>
            </p:txBody>
          </p:sp>
          <p:sp>
            <p:nvSpPr>
              <p:cNvPr id="518" name="Freihandform: Form 291">
                <a:extLst>
                  <a:ext uri="{FF2B5EF4-FFF2-40B4-BE49-F238E27FC236}">
                    <a16:creationId xmlns:a16="http://schemas.microsoft.com/office/drawing/2014/main" id="{4324832C-ECFF-4AD6-92D8-71CE074EC3A6}"/>
                  </a:ext>
                </a:extLst>
              </p:cNvPr>
              <p:cNvSpPr/>
              <p:nvPr/>
            </p:nvSpPr>
            <p:spPr>
              <a:xfrm>
                <a:off x="1824208" y="1903450"/>
                <a:ext cx="144162" cy="58562"/>
              </a:xfrm>
              <a:custGeom>
                <a:avLst/>
                <a:gdLst>
                  <a:gd name="connsiteX0" fmla="*/ 137593 w 144162"/>
                  <a:gd name="connsiteY0" fmla="*/ 58562 h 58562"/>
                  <a:gd name="connsiteX1" fmla="*/ 137474 w 144162"/>
                  <a:gd name="connsiteY1" fmla="*/ 58562 h 58562"/>
                  <a:gd name="connsiteX2" fmla="*/ 0 w 144162"/>
                  <a:gd name="connsiteY2" fmla="*/ 25101 h 58562"/>
                  <a:gd name="connsiteX3" fmla="*/ 44584 w 144162"/>
                  <a:gd name="connsiteY3" fmla="*/ 129 h 58562"/>
                  <a:gd name="connsiteX4" fmla="*/ 52291 w 144162"/>
                  <a:gd name="connsiteY4" fmla="*/ 5275 h 58562"/>
                  <a:gd name="connsiteX5" fmla="*/ 47145 w 144162"/>
                  <a:gd name="connsiteY5" fmla="*/ 12982 h 58562"/>
                  <a:gd name="connsiteX6" fmla="*/ 13280 w 144162"/>
                  <a:gd name="connsiteY6" fmla="*/ 25124 h 58562"/>
                  <a:gd name="connsiteX7" fmla="*/ 137711 w 144162"/>
                  <a:gd name="connsiteY7" fmla="*/ 45472 h 58562"/>
                  <a:gd name="connsiteX8" fmla="*/ 144162 w 144162"/>
                  <a:gd name="connsiteY8" fmla="*/ 52135 h 58562"/>
                  <a:gd name="connsiteX9" fmla="*/ 137593 w 144162"/>
                  <a:gd name="connsiteY9" fmla="*/ 58562 h 58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162" h="58562">
                    <a:moveTo>
                      <a:pt x="137593" y="58562"/>
                    </a:moveTo>
                    <a:cubicBezTo>
                      <a:pt x="137545" y="58562"/>
                      <a:pt x="137522" y="58562"/>
                      <a:pt x="137474" y="58562"/>
                    </a:cubicBezTo>
                    <a:cubicBezTo>
                      <a:pt x="114518" y="58183"/>
                      <a:pt x="0" y="54744"/>
                      <a:pt x="0" y="25101"/>
                    </a:cubicBezTo>
                    <a:cubicBezTo>
                      <a:pt x="0" y="14097"/>
                      <a:pt x="14158" y="6176"/>
                      <a:pt x="44584" y="129"/>
                    </a:cubicBezTo>
                    <a:cubicBezTo>
                      <a:pt x="48141" y="-582"/>
                      <a:pt x="51580" y="1718"/>
                      <a:pt x="52291" y="5275"/>
                    </a:cubicBezTo>
                    <a:cubicBezTo>
                      <a:pt x="53002" y="8832"/>
                      <a:pt x="50678" y="12271"/>
                      <a:pt x="47145" y="12982"/>
                    </a:cubicBezTo>
                    <a:cubicBezTo>
                      <a:pt x="23003" y="17773"/>
                      <a:pt x="14822" y="23038"/>
                      <a:pt x="13280" y="25124"/>
                    </a:cubicBezTo>
                    <a:cubicBezTo>
                      <a:pt x="17525" y="31599"/>
                      <a:pt x="58101" y="44120"/>
                      <a:pt x="137711" y="45472"/>
                    </a:cubicBezTo>
                    <a:cubicBezTo>
                      <a:pt x="141340" y="45543"/>
                      <a:pt x="144209" y="48507"/>
                      <a:pt x="144162" y="52135"/>
                    </a:cubicBezTo>
                    <a:cubicBezTo>
                      <a:pt x="144091" y="55693"/>
                      <a:pt x="141174" y="58562"/>
                      <a:pt x="137593" y="58562"/>
                    </a:cubicBezTo>
                    <a:close/>
                  </a:path>
                </a:pathLst>
              </a:custGeom>
              <a:grpFill/>
              <a:ln w="2369" cap="flat">
                <a:noFill/>
                <a:prstDash val="solid"/>
                <a:miter/>
              </a:ln>
            </p:spPr>
            <p:txBody>
              <a:bodyPr rtlCol="0" anchor="ctr"/>
              <a:lstStyle/>
              <a:p>
                <a:endParaRPr lang="en-GB" dirty="0"/>
              </a:p>
            </p:txBody>
          </p:sp>
          <p:sp>
            <p:nvSpPr>
              <p:cNvPr id="519" name="Freihandform: Form 292">
                <a:extLst>
                  <a:ext uri="{FF2B5EF4-FFF2-40B4-BE49-F238E27FC236}">
                    <a16:creationId xmlns:a16="http://schemas.microsoft.com/office/drawing/2014/main" id="{5408981E-ABF9-48DF-995E-816A234984D4}"/>
                  </a:ext>
                </a:extLst>
              </p:cNvPr>
              <p:cNvSpPr/>
              <p:nvPr/>
            </p:nvSpPr>
            <p:spPr>
              <a:xfrm>
                <a:off x="1824231" y="1921958"/>
                <a:ext cx="301343" cy="84780"/>
              </a:xfrm>
              <a:custGeom>
                <a:avLst/>
                <a:gdLst>
                  <a:gd name="connsiteX0" fmla="*/ 150683 w 301343"/>
                  <a:gd name="connsiteY0" fmla="*/ 84780 h 84780"/>
                  <a:gd name="connsiteX1" fmla="*/ 0 w 301343"/>
                  <a:gd name="connsiteY1" fmla="*/ 51200 h 84780"/>
                  <a:gd name="connsiteX2" fmla="*/ 0 w 301343"/>
                  <a:gd name="connsiteY2" fmla="*/ 6569 h 84780"/>
                  <a:gd name="connsiteX3" fmla="*/ 6545 w 301343"/>
                  <a:gd name="connsiteY3" fmla="*/ 24 h 84780"/>
                  <a:gd name="connsiteX4" fmla="*/ 13091 w 301343"/>
                  <a:gd name="connsiteY4" fmla="*/ 6569 h 84780"/>
                  <a:gd name="connsiteX5" fmla="*/ 13091 w 301343"/>
                  <a:gd name="connsiteY5" fmla="*/ 51200 h 84780"/>
                  <a:gd name="connsiteX6" fmla="*/ 150683 w 301343"/>
                  <a:gd name="connsiteY6" fmla="*/ 71666 h 84780"/>
                  <a:gd name="connsiteX7" fmla="*/ 288324 w 301343"/>
                  <a:gd name="connsiteY7" fmla="*/ 50797 h 84780"/>
                  <a:gd name="connsiteX8" fmla="*/ 288253 w 301343"/>
                  <a:gd name="connsiteY8" fmla="*/ 6545 h 84780"/>
                  <a:gd name="connsiteX9" fmla="*/ 294798 w 301343"/>
                  <a:gd name="connsiteY9" fmla="*/ 0 h 84780"/>
                  <a:gd name="connsiteX10" fmla="*/ 301343 w 301343"/>
                  <a:gd name="connsiteY10" fmla="*/ 6545 h 84780"/>
                  <a:gd name="connsiteX11" fmla="*/ 301343 w 301343"/>
                  <a:gd name="connsiteY11" fmla="*/ 51176 h 84780"/>
                  <a:gd name="connsiteX12" fmla="*/ 150683 w 301343"/>
                  <a:gd name="connsiteY12" fmla="*/ 84780 h 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1343" h="84780">
                    <a:moveTo>
                      <a:pt x="150683" y="84780"/>
                    </a:moveTo>
                    <a:cubicBezTo>
                      <a:pt x="144541" y="84780"/>
                      <a:pt x="0" y="84401"/>
                      <a:pt x="0" y="51200"/>
                    </a:cubicBezTo>
                    <a:lnTo>
                      <a:pt x="0" y="6569"/>
                    </a:lnTo>
                    <a:cubicBezTo>
                      <a:pt x="0" y="2941"/>
                      <a:pt x="2941" y="24"/>
                      <a:pt x="6545" y="24"/>
                    </a:cubicBezTo>
                    <a:cubicBezTo>
                      <a:pt x="10174" y="24"/>
                      <a:pt x="13091" y="2964"/>
                      <a:pt x="13091" y="6569"/>
                    </a:cubicBezTo>
                    <a:lnTo>
                      <a:pt x="13091" y="51200"/>
                    </a:lnTo>
                    <a:cubicBezTo>
                      <a:pt x="16292" y="58291"/>
                      <a:pt x="65073" y="71666"/>
                      <a:pt x="150683" y="71666"/>
                    </a:cubicBezTo>
                    <a:cubicBezTo>
                      <a:pt x="236294" y="71666"/>
                      <a:pt x="285075" y="58291"/>
                      <a:pt x="288324" y="50797"/>
                    </a:cubicBezTo>
                    <a:lnTo>
                      <a:pt x="288253" y="6545"/>
                    </a:lnTo>
                    <a:cubicBezTo>
                      <a:pt x="288253" y="2917"/>
                      <a:pt x="291193" y="0"/>
                      <a:pt x="294798" y="0"/>
                    </a:cubicBezTo>
                    <a:cubicBezTo>
                      <a:pt x="298402" y="0"/>
                      <a:pt x="301343" y="2941"/>
                      <a:pt x="301343" y="6545"/>
                    </a:cubicBezTo>
                    <a:lnTo>
                      <a:pt x="301343" y="51176"/>
                    </a:lnTo>
                    <a:cubicBezTo>
                      <a:pt x="301367" y="84401"/>
                      <a:pt x="156826" y="84780"/>
                      <a:pt x="150683" y="84780"/>
                    </a:cubicBezTo>
                    <a:close/>
                  </a:path>
                </a:pathLst>
              </a:custGeom>
              <a:grpFill/>
              <a:ln w="2369" cap="flat">
                <a:noFill/>
                <a:prstDash val="solid"/>
                <a:miter/>
              </a:ln>
            </p:spPr>
            <p:txBody>
              <a:bodyPr rtlCol="0" anchor="ctr"/>
              <a:lstStyle/>
              <a:p>
                <a:endParaRPr lang="en-GB" dirty="0"/>
              </a:p>
            </p:txBody>
          </p:sp>
        </p:grpSp>
        <p:grpSp>
          <p:nvGrpSpPr>
            <p:cNvPr id="506" name="Grafik 324">
              <a:extLst>
                <a:ext uri="{FF2B5EF4-FFF2-40B4-BE49-F238E27FC236}">
                  <a16:creationId xmlns:a16="http://schemas.microsoft.com/office/drawing/2014/main" id="{E36E8573-C99B-4BE9-BEC7-85E5A2571570}"/>
                </a:ext>
              </a:extLst>
            </p:cNvPr>
            <p:cNvGrpSpPr/>
            <p:nvPr/>
          </p:nvGrpSpPr>
          <p:grpSpPr>
            <a:xfrm>
              <a:off x="8210258" y="2391524"/>
              <a:ext cx="263987" cy="312767"/>
              <a:chOff x="1830777" y="1626758"/>
              <a:chExt cx="288252" cy="341515"/>
            </a:xfrm>
            <a:solidFill>
              <a:schemeClr val="accent1"/>
            </a:solidFill>
          </p:grpSpPr>
          <p:sp>
            <p:nvSpPr>
              <p:cNvPr id="507" name="Freihandform: Form 294">
                <a:extLst>
                  <a:ext uri="{FF2B5EF4-FFF2-40B4-BE49-F238E27FC236}">
                    <a16:creationId xmlns:a16="http://schemas.microsoft.com/office/drawing/2014/main" id="{BFA60A1D-CDEC-439F-B1BD-6884AFB65ED5}"/>
                  </a:ext>
                </a:extLst>
              </p:cNvPr>
              <p:cNvSpPr/>
              <p:nvPr/>
            </p:nvSpPr>
            <p:spPr>
              <a:xfrm>
                <a:off x="1968369" y="1626758"/>
                <a:ext cx="13090" cy="39319"/>
              </a:xfrm>
              <a:custGeom>
                <a:avLst/>
                <a:gdLst>
                  <a:gd name="connsiteX0" fmla="*/ 6545 w 13090"/>
                  <a:gd name="connsiteY0" fmla="*/ 39319 h 39319"/>
                  <a:gd name="connsiteX1" fmla="*/ 0 w 13090"/>
                  <a:gd name="connsiteY1" fmla="*/ 32774 h 39319"/>
                  <a:gd name="connsiteX2" fmla="*/ 0 w 13090"/>
                  <a:gd name="connsiteY2" fmla="*/ 6545 h 39319"/>
                  <a:gd name="connsiteX3" fmla="*/ 6545 w 13090"/>
                  <a:gd name="connsiteY3" fmla="*/ 0 h 39319"/>
                  <a:gd name="connsiteX4" fmla="*/ 13091 w 13090"/>
                  <a:gd name="connsiteY4" fmla="*/ 6545 h 39319"/>
                  <a:gd name="connsiteX5" fmla="*/ 13091 w 13090"/>
                  <a:gd name="connsiteY5" fmla="*/ 32750 h 39319"/>
                  <a:gd name="connsiteX6" fmla="*/ 6545 w 13090"/>
                  <a:gd name="connsiteY6" fmla="*/ 39319 h 39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39319">
                    <a:moveTo>
                      <a:pt x="6545" y="39319"/>
                    </a:moveTo>
                    <a:cubicBezTo>
                      <a:pt x="2917" y="39319"/>
                      <a:pt x="0" y="36378"/>
                      <a:pt x="0" y="32774"/>
                    </a:cubicBezTo>
                    <a:lnTo>
                      <a:pt x="0" y="6545"/>
                    </a:lnTo>
                    <a:cubicBezTo>
                      <a:pt x="0" y="2917"/>
                      <a:pt x="2941" y="0"/>
                      <a:pt x="6545" y="0"/>
                    </a:cubicBezTo>
                    <a:cubicBezTo>
                      <a:pt x="10150" y="0"/>
                      <a:pt x="13091" y="2941"/>
                      <a:pt x="13091" y="6545"/>
                    </a:cubicBezTo>
                    <a:lnTo>
                      <a:pt x="13091" y="32750"/>
                    </a:lnTo>
                    <a:cubicBezTo>
                      <a:pt x="13091" y="36378"/>
                      <a:pt x="10150" y="39319"/>
                      <a:pt x="6545" y="39319"/>
                    </a:cubicBezTo>
                    <a:close/>
                  </a:path>
                </a:pathLst>
              </a:custGeom>
              <a:solidFill>
                <a:schemeClr val="accent1"/>
              </a:solidFill>
              <a:ln w="2369" cap="flat">
                <a:noFill/>
                <a:prstDash val="solid"/>
                <a:miter/>
              </a:ln>
            </p:spPr>
            <p:txBody>
              <a:bodyPr rtlCol="0" anchor="ctr"/>
              <a:lstStyle/>
              <a:p>
                <a:endParaRPr lang="en-GB" dirty="0"/>
              </a:p>
            </p:txBody>
          </p:sp>
          <p:sp>
            <p:nvSpPr>
              <p:cNvPr id="508" name="Freihandform: Form 295">
                <a:extLst>
                  <a:ext uri="{FF2B5EF4-FFF2-40B4-BE49-F238E27FC236}">
                    <a16:creationId xmlns:a16="http://schemas.microsoft.com/office/drawing/2014/main" id="{38AC9D3C-8E94-4E5A-8592-BF877A3BAD92}"/>
                  </a:ext>
                </a:extLst>
              </p:cNvPr>
              <p:cNvSpPr/>
              <p:nvPr/>
            </p:nvSpPr>
            <p:spPr>
              <a:xfrm>
                <a:off x="2072382" y="1652962"/>
                <a:ext cx="27011" cy="27011"/>
              </a:xfrm>
              <a:custGeom>
                <a:avLst/>
                <a:gdLst>
                  <a:gd name="connsiteX0" fmla="*/ 6545 w 27011"/>
                  <a:gd name="connsiteY0" fmla="*/ 27011 h 27011"/>
                  <a:gd name="connsiteX1" fmla="*/ 1921 w 27011"/>
                  <a:gd name="connsiteY1" fmla="*/ 25090 h 27011"/>
                  <a:gd name="connsiteX2" fmla="*/ 1921 w 27011"/>
                  <a:gd name="connsiteY2" fmla="*/ 15818 h 27011"/>
                  <a:gd name="connsiteX3" fmla="*/ 15818 w 27011"/>
                  <a:gd name="connsiteY3" fmla="*/ 1921 h 27011"/>
                  <a:gd name="connsiteX4" fmla="*/ 25090 w 27011"/>
                  <a:gd name="connsiteY4" fmla="*/ 1921 h 27011"/>
                  <a:gd name="connsiteX5" fmla="*/ 25090 w 27011"/>
                  <a:gd name="connsiteY5" fmla="*/ 11193 h 27011"/>
                  <a:gd name="connsiteX6" fmla="*/ 11193 w 27011"/>
                  <a:gd name="connsiteY6" fmla="*/ 25090 h 27011"/>
                  <a:gd name="connsiteX7" fmla="*/ 6545 w 27011"/>
                  <a:gd name="connsiteY7" fmla="*/ 27011 h 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11" h="27011">
                    <a:moveTo>
                      <a:pt x="6545" y="27011"/>
                    </a:moveTo>
                    <a:cubicBezTo>
                      <a:pt x="4862" y="27011"/>
                      <a:pt x="3202" y="26371"/>
                      <a:pt x="1921" y="25090"/>
                    </a:cubicBezTo>
                    <a:cubicBezTo>
                      <a:pt x="-640" y="22529"/>
                      <a:pt x="-640" y="18379"/>
                      <a:pt x="1921" y="15818"/>
                    </a:cubicBezTo>
                    <a:lnTo>
                      <a:pt x="15818" y="1921"/>
                    </a:lnTo>
                    <a:cubicBezTo>
                      <a:pt x="18379" y="-640"/>
                      <a:pt x="22529" y="-640"/>
                      <a:pt x="25090" y="1921"/>
                    </a:cubicBezTo>
                    <a:cubicBezTo>
                      <a:pt x="27651" y="4482"/>
                      <a:pt x="27651" y="8632"/>
                      <a:pt x="25090" y="11193"/>
                    </a:cubicBezTo>
                    <a:lnTo>
                      <a:pt x="11193" y="25090"/>
                    </a:lnTo>
                    <a:cubicBezTo>
                      <a:pt x="9913" y="26371"/>
                      <a:pt x="8229" y="27011"/>
                      <a:pt x="6545" y="27011"/>
                    </a:cubicBezTo>
                    <a:close/>
                  </a:path>
                </a:pathLst>
              </a:custGeom>
              <a:solidFill>
                <a:schemeClr val="accent1"/>
              </a:solidFill>
              <a:ln w="2369" cap="flat">
                <a:noFill/>
                <a:prstDash val="solid"/>
                <a:miter/>
              </a:ln>
            </p:spPr>
            <p:txBody>
              <a:bodyPr rtlCol="0" anchor="ctr"/>
              <a:lstStyle/>
              <a:p>
                <a:endParaRPr lang="en-GB" dirty="0"/>
              </a:p>
            </p:txBody>
          </p:sp>
          <p:grpSp>
            <p:nvGrpSpPr>
              <p:cNvPr id="509" name="Grafik 324">
                <a:extLst>
                  <a:ext uri="{FF2B5EF4-FFF2-40B4-BE49-F238E27FC236}">
                    <a16:creationId xmlns:a16="http://schemas.microsoft.com/office/drawing/2014/main" id="{9FC77496-EBFB-4160-9DB2-5EC0AB1F2B77}"/>
                  </a:ext>
                </a:extLst>
              </p:cNvPr>
              <p:cNvGrpSpPr/>
              <p:nvPr/>
            </p:nvGrpSpPr>
            <p:grpSpPr>
              <a:xfrm>
                <a:off x="1830777" y="1652962"/>
                <a:ext cx="46670" cy="137592"/>
                <a:chOff x="1830777" y="1652962"/>
                <a:chExt cx="46670" cy="137592"/>
              </a:xfrm>
              <a:solidFill>
                <a:schemeClr val="accent1"/>
              </a:solidFill>
            </p:grpSpPr>
            <p:sp>
              <p:nvSpPr>
                <p:cNvPr id="514" name="Freihandform: Form 297">
                  <a:extLst>
                    <a:ext uri="{FF2B5EF4-FFF2-40B4-BE49-F238E27FC236}">
                      <a16:creationId xmlns:a16="http://schemas.microsoft.com/office/drawing/2014/main" id="{5650E702-1C94-4F85-8D54-C8BA63BFEA78}"/>
                    </a:ext>
                  </a:extLst>
                </p:cNvPr>
                <p:cNvSpPr/>
                <p:nvPr/>
              </p:nvSpPr>
              <p:spPr>
                <a:xfrm>
                  <a:off x="1830777" y="1777465"/>
                  <a:ext cx="39295" cy="13090"/>
                </a:xfrm>
                <a:custGeom>
                  <a:avLst/>
                  <a:gdLst>
                    <a:gd name="connsiteX0" fmla="*/ 32750 w 39295"/>
                    <a:gd name="connsiteY0" fmla="*/ 13091 h 13090"/>
                    <a:gd name="connsiteX1" fmla="*/ 6545 w 39295"/>
                    <a:gd name="connsiteY1" fmla="*/ 13091 h 13090"/>
                    <a:gd name="connsiteX2" fmla="*/ 0 w 39295"/>
                    <a:gd name="connsiteY2" fmla="*/ 6545 h 13090"/>
                    <a:gd name="connsiteX3" fmla="*/ 6545 w 39295"/>
                    <a:gd name="connsiteY3" fmla="*/ 0 h 13090"/>
                    <a:gd name="connsiteX4" fmla="*/ 32750 w 39295"/>
                    <a:gd name="connsiteY4" fmla="*/ 0 h 13090"/>
                    <a:gd name="connsiteX5" fmla="*/ 39295 w 39295"/>
                    <a:gd name="connsiteY5" fmla="*/ 6545 h 13090"/>
                    <a:gd name="connsiteX6" fmla="*/ 32750 w 39295"/>
                    <a:gd name="connsiteY6" fmla="*/ 13091 h 1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95" h="13090">
                      <a:moveTo>
                        <a:pt x="32750" y="13091"/>
                      </a:moveTo>
                      <a:lnTo>
                        <a:pt x="6545" y="13091"/>
                      </a:lnTo>
                      <a:cubicBezTo>
                        <a:pt x="2917" y="13091"/>
                        <a:pt x="0" y="10150"/>
                        <a:pt x="0" y="6545"/>
                      </a:cubicBezTo>
                      <a:cubicBezTo>
                        <a:pt x="0" y="2917"/>
                        <a:pt x="2941" y="0"/>
                        <a:pt x="6545" y="0"/>
                      </a:cubicBezTo>
                      <a:lnTo>
                        <a:pt x="32750" y="0"/>
                      </a:lnTo>
                      <a:cubicBezTo>
                        <a:pt x="36378" y="0"/>
                        <a:pt x="39295" y="2941"/>
                        <a:pt x="39295" y="6545"/>
                      </a:cubicBezTo>
                      <a:cubicBezTo>
                        <a:pt x="39295" y="10150"/>
                        <a:pt x="36378" y="13091"/>
                        <a:pt x="32750" y="13091"/>
                      </a:cubicBezTo>
                      <a:close/>
                    </a:path>
                  </a:pathLst>
                </a:custGeom>
                <a:solidFill>
                  <a:schemeClr val="accent1"/>
                </a:solidFill>
                <a:ln w="2369" cap="flat">
                  <a:noFill/>
                  <a:prstDash val="solid"/>
                  <a:miter/>
                </a:ln>
              </p:spPr>
              <p:txBody>
                <a:bodyPr rtlCol="0" anchor="ctr"/>
                <a:lstStyle/>
                <a:p>
                  <a:endParaRPr lang="en-GB" dirty="0"/>
                </a:p>
              </p:txBody>
            </p:sp>
            <p:sp>
              <p:nvSpPr>
                <p:cNvPr id="515" name="Freihandform: Form 298">
                  <a:extLst>
                    <a:ext uri="{FF2B5EF4-FFF2-40B4-BE49-F238E27FC236}">
                      <a16:creationId xmlns:a16="http://schemas.microsoft.com/office/drawing/2014/main" id="{F79D0FA1-35A5-4CE6-9CD4-E6194F0E13FF}"/>
                    </a:ext>
                  </a:extLst>
                </p:cNvPr>
                <p:cNvSpPr/>
                <p:nvPr/>
              </p:nvSpPr>
              <p:spPr>
                <a:xfrm>
                  <a:off x="1850436" y="1652962"/>
                  <a:ext cx="27011" cy="27011"/>
                </a:xfrm>
                <a:custGeom>
                  <a:avLst/>
                  <a:gdLst>
                    <a:gd name="connsiteX0" fmla="*/ 20442 w 27011"/>
                    <a:gd name="connsiteY0" fmla="*/ 27011 h 27011"/>
                    <a:gd name="connsiteX1" fmla="*/ 15818 w 27011"/>
                    <a:gd name="connsiteY1" fmla="*/ 25090 h 27011"/>
                    <a:gd name="connsiteX2" fmla="*/ 1921 w 27011"/>
                    <a:gd name="connsiteY2" fmla="*/ 11193 h 27011"/>
                    <a:gd name="connsiteX3" fmla="*/ 1921 w 27011"/>
                    <a:gd name="connsiteY3" fmla="*/ 1921 h 27011"/>
                    <a:gd name="connsiteX4" fmla="*/ 11193 w 27011"/>
                    <a:gd name="connsiteY4" fmla="*/ 1921 h 27011"/>
                    <a:gd name="connsiteX5" fmla="*/ 25090 w 27011"/>
                    <a:gd name="connsiteY5" fmla="*/ 15818 h 27011"/>
                    <a:gd name="connsiteX6" fmla="*/ 25090 w 27011"/>
                    <a:gd name="connsiteY6" fmla="*/ 25090 h 27011"/>
                    <a:gd name="connsiteX7" fmla="*/ 20442 w 27011"/>
                    <a:gd name="connsiteY7" fmla="*/ 27011 h 27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11" h="27011">
                      <a:moveTo>
                        <a:pt x="20442" y="27011"/>
                      </a:moveTo>
                      <a:cubicBezTo>
                        <a:pt x="18758" y="27011"/>
                        <a:pt x="17098" y="26371"/>
                        <a:pt x="15818" y="25090"/>
                      </a:cubicBezTo>
                      <a:lnTo>
                        <a:pt x="1921" y="11193"/>
                      </a:lnTo>
                      <a:cubicBezTo>
                        <a:pt x="-640" y="8632"/>
                        <a:pt x="-640" y="4482"/>
                        <a:pt x="1921" y="1921"/>
                      </a:cubicBezTo>
                      <a:cubicBezTo>
                        <a:pt x="4482" y="-640"/>
                        <a:pt x="8632" y="-640"/>
                        <a:pt x="11193" y="1921"/>
                      </a:cubicBezTo>
                      <a:lnTo>
                        <a:pt x="25090" y="15818"/>
                      </a:lnTo>
                      <a:cubicBezTo>
                        <a:pt x="27651" y="18379"/>
                        <a:pt x="27651" y="22529"/>
                        <a:pt x="25090" y="25090"/>
                      </a:cubicBezTo>
                      <a:cubicBezTo>
                        <a:pt x="23786" y="26371"/>
                        <a:pt x="22102" y="27011"/>
                        <a:pt x="20442" y="27011"/>
                      </a:cubicBezTo>
                      <a:close/>
                    </a:path>
                  </a:pathLst>
                </a:custGeom>
                <a:solidFill>
                  <a:schemeClr val="accent1"/>
                </a:solidFill>
                <a:ln w="2369" cap="flat">
                  <a:noFill/>
                  <a:prstDash val="solid"/>
                  <a:miter/>
                </a:ln>
              </p:spPr>
              <p:txBody>
                <a:bodyPr rtlCol="0" anchor="ctr"/>
                <a:lstStyle/>
                <a:p>
                  <a:endParaRPr lang="en-GB" dirty="0"/>
                </a:p>
              </p:txBody>
            </p:sp>
          </p:grpSp>
          <p:sp>
            <p:nvSpPr>
              <p:cNvPr id="510" name="Freihandform: Form 299">
                <a:extLst>
                  <a:ext uri="{FF2B5EF4-FFF2-40B4-BE49-F238E27FC236}">
                    <a16:creationId xmlns:a16="http://schemas.microsoft.com/office/drawing/2014/main" id="{1C18B1C2-A263-4B6B-963D-63B37B300C68}"/>
                  </a:ext>
                </a:extLst>
              </p:cNvPr>
              <p:cNvSpPr/>
              <p:nvPr/>
            </p:nvSpPr>
            <p:spPr>
              <a:xfrm>
                <a:off x="2079734" y="1777465"/>
                <a:ext cx="39295" cy="13090"/>
              </a:xfrm>
              <a:custGeom>
                <a:avLst/>
                <a:gdLst>
                  <a:gd name="connsiteX0" fmla="*/ 32750 w 39295"/>
                  <a:gd name="connsiteY0" fmla="*/ 13091 h 13090"/>
                  <a:gd name="connsiteX1" fmla="*/ 6545 w 39295"/>
                  <a:gd name="connsiteY1" fmla="*/ 13091 h 13090"/>
                  <a:gd name="connsiteX2" fmla="*/ 0 w 39295"/>
                  <a:gd name="connsiteY2" fmla="*/ 6545 h 13090"/>
                  <a:gd name="connsiteX3" fmla="*/ 6545 w 39295"/>
                  <a:gd name="connsiteY3" fmla="*/ 0 h 13090"/>
                  <a:gd name="connsiteX4" fmla="*/ 32750 w 39295"/>
                  <a:gd name="connsiteY4" fmla="*/ 0 h 13090"/>
                  <a:gd name="connsiteX5" fmla="*/ 39295 w 39295"/>
                  <a:gd name="connsiteY5" fmla="*/ 6545 h 13090"/>
                  <a:gd name="connsiteX6" fmla="*/ 32750 w 39295"/>
                  <a:gd name="connsiteY6" fmla="*/ 13091 h 13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295" h="13090">
                    <a:moveTo>
                      <a:pt x="32750" y="13091"/>
                    </a:moveTo>
                    <a:lnTo>
                      <a:pt x="6545" y="13091"/>
                    </a:lnTo>
                    <a:cubicBezTo>
                      <a:pt x="2917" y="13091"/>
                      <a:pt x="0" y="10150"/>
                      <a:pt x="0" y="6545"/>
                    </a:cubicBezTo>
                    <a:cubicBezTo>
                      <a:pt x="0" y="2917"/>
                      <a:pt x="2941" y="0"/>
                      <a:pt x="6545" y="0"/>
                    </a:cubicBezTo>
                    <a:lnTo>
                      <a:pt x="32750" y="0"/>
                    </a:lnTo>
                    <a:cubicBezTo>
                      <a:pt x="36378" y="0"/>
                      <a:pt x="39295" y="2941"/>
                      <a:pt x="39295" y="6545"/>
                    </a:cubicBezTo>
                    <a:cubicBezTo>
                      <a:pt x="39295" y="10150"/>
                      <a:pt x="36378" y="13091"/>
                      <a:pt x="32750" y="13091"/>
                    </a:cubicBezTo>
                    <a:close/>
                  </a:path>
                </a:pathLst>
              </a:custGeom>
              <a:solidFill>
                <a:schemeClr val="accent1"/>
              </a:solidFill>
              <a:ln w="2369" cap="flat">
                <a:noFill/>
                <a:prstDash val="solid"/>
                <a:miter/>
              </a:ln>
            </p:spPr>
            <p:txBody>
              <a:bodyPr rtlCol="0" anchor="ctr"/>
              <a:lstStyle/>
              <a:p>
                <a:endParaRPr lang="en-GB" dirty="0"/>
              </a:p>
            </p:txBody>
          </p:sp>
          <p:sp>
            <p:nvSpPr>
              <p:cNvPr id="511" name="Freihandform: Form 300">
                <a:extLst>
                  <a:ext uri="{FF2B5EF4-FFF2-40B4-BE49-F238E27FC236}">
                    <a16:creationId xmlns:a16="http://schemas.microsoft.com/office/drawing/2014/main" id="{A199DA0A-246D-4772-883A-06467B85E2DB}"/>
                  </a:ext>
                </a:extLst>
              </p:cNvPr>
              <p:cNvSpPr/>
              <p:nvPr/>
            </p:nvSpPr>
            <p:spPr>
              <a:xfrm>
                <a:off x="1889731" y="1685712"/>
                <a:ext cx="104819" cy="222752"/>
              </a:xfrm>
              <a:custGeom>
                <a:avLst/>
                <a:gdLst>
                  <a:gd name="connsiteX0" fmla="*/ 98274 w 104819"/>
                  <a:gd name="connsiteY0" fmla="*/ 222752 h 222752"/>
                  <a:gd name="connsiteX1" fmla="*/ 6545 w 104819"/>
                  <a:gd name="connsiteY1" fmla="*/ 222752 h 222752"/>
                  <a:gd name="connsiteX2" fmla="*/ 0 w 104819"/>
                  <a:gd name="connsiteY2" fmla="*/ 216207 h 222752"/>
                  <a:gd name="connsiteX3" fmla="*/ 0 w 104819"/>
                  <a:gd name="connsiteY3" fmla="*/ 39319 h 222752"/>
                  <a:gd name="connsiteX4" fmla="*/ 39319 w 104819"/>
                  <a:gd name="connsiteY4" fmla="*/ 0 h 222752"/>
                  <a:gd name="connsiteX5" fmla="*/ 98274 w 104819"/>
                  <a:gd name="connsiteY5" fmla="*/ 0 h 222752"/>
                  <a:gd name="connsiteX6" fmla="*/ 104819 w 104819"/>
                  <a:gd name="connsiteY6" fmla="*/ 6545 h 222752"/>
                  <a:gd name="connsiteX7" fmla="*/ 98274 w 104819"/>
                  <a:gd name="connsiteY7" fmla="*/ 13091 h 222752"/>
                  <a:gd name="connsiteX8" fmla="*/ 39319 w 104819"/>
                  <a:gd name="connsiteY8" fmla="*/ 13091 h 222752"/>
                  <a:gd name="connsiteX9" fmla="*/ 13114 w 104819"/>
                  <a:gd name="connsiteY9" fmla="*/ 39295 h 222752"/>
                  <a:gd name="connsiteX10" fmla="*/ 13114 w 104819"/>
                  <a:gd name="connsiteY10" fmla="*/ 209638 h 222752"/>
                  <a:gd name="connsiteX11" fmla="*/ 98274 w 104819"/>
                  <a:gd name="connsiteY11" fmla="*/ 209638 h 222752"/>
                  <a:gd name="connsiteX12" fmla="*/ 104819 w 104819"/>
                  <a:gd name="connsiteY12" fmla="*/ 216183 h 222752"/>
                  <a:gd name="connsiteX13" fmla="*/ 98274 w 104819"/>
                  <a:gd name="connsiteY13" fmla="*/ 222752 h 222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819" h="222752">
                    <a:moveTo>
                      <a:pt x="98274" y="222752"/>
                    </a:moveTo>
                    <a:lnTo>
                      <a:pt x="6545" y="222752"/>
                    </a:lnTo>
                    <a:cubicBezTo>
                      <a:pt x="2917" y="222752"/>
                      <a:pt x="0" y="219812"/>
                      <a:pt x="0" y="216207"/>
                    </a:cubicBezTo>
                    <a:lnTo>
                      <a:pt x="0" y="39319"/>
                    </a:lnTo>
                    <a:cubicBezTo>
                      <a:pt x="0" y="17644"/>
                      <a:pt x="17644" y="0"/>
                      <a:pt x="39319" y="0"/>
                    </a:cubicBezTo>
                    <a:lnTo>
                      <a:pt x="98274" y="0"/>
                    </a:lnTo>
                    <a:cubicBezTo>
                      <a:pt x="101902" y="0"/>
                      <a:pt x="104819" y="2941"/>
                      <a:pt x="104819" y="6545"/>
                    </a:cubicBezTo>
                    <a:cubicBezTo>
                      <a:pt x="104819" y="10174"/>
                      <a:pt x="101879" y="13091"/>
                      <a:pt x="98274" y="13091"/>
                    </a:cubicBezTo>
                    <a:lnTo>
                      <a:pt x="39319" y="13091"/>
                    </a:lnTo>
                    <a:cubicBezTo>
                      <a:pt x="24877" y="13091"/>
                      <a:pt x="13114" y="24853"/>
                      <a:pt x="13114" y="39295"/>
                    </a:cubicBezTo>
                    <a:lnTo>
                      <a:pt x="13114" y="209638"/>
                    </a:lnTo>
                    <a:lnTo>
                      <a:pt x="98274" y="209638"/>
                    </a:lnTo>
                    <a:cubicBezTo>
                      <a:pt x="101902" y="209638"/>
                      <a:pt x="104819" y="212579"/>
                      <a:pt x="104819" y="216183"/>
                    </a:cubicBezTo>
                    <a:cubicBezTo>
                      <a:pt x="104819" y="219836"/>
                      <a:pt x="101902" y="222752"/>
                      <a:pt x="98274" y="222752"/>
                    </a:cubicBezTo>
                    <a:close/>
                  </a:path>
                </a:pathLst>
              </a:custGeom>
              <a:solidFill>
                <a:schemeClr val="accent1"/>
              </a:solidFill>
              <a:ln w="2369" cap="flat">
                <a:noFill/>
                <a:prstDash val="solid"/>
                <a:miter/>
              </a:ln>
            </p:spPr>
            <p:txBody>
              <a:bodyPr rtlCol="0" anchor="ctr"/>
              <a:lstStyle/>
              <a:p>
                <a:endParaRPr lang="en-GB" dirty="0"/>
              </a:p>
            </p:txBody>
          </p:sp>
          <p:sp>
            <p:nvSpPr>
              <p:cNvPr id="512" name="Freihandform: Form 301">
                <a:extLst>
                  <a:ext uri="{FF2B5EF4-FFF2-40B4-BE49-F238E27FC236}">
                    <a16:creationId xmlns:a16="http://schemas.microsoft.com/office/drawing/2014/main" id="{559E8D1D-6F8B-4110-889C-303F83B2CDE1}"/>
                  </a:ext>
                </a:extLst>
              </p:cNvPr>
              <p:cNvSpPr/>
              <p:nvPr/>
            </p:nvSpPr>
            <p:spPr>
              <a:xfrm>
                <a:off x="1986322" y="1666755"/>
                <a:ext cx="73752" cy="301518"/>
              </a:xfrm>
              <a:custGeom>
                <a:avLst/>
                <a:gdLst>
                  <a:gd name="connsiteX0" fmla="*/ 6545 w 73752"/>
                  <a:gd name="connsiteY0" fmla="*/ 301518 h 301518"/>
                  <a:gd name="connsiteX1" fmla="*/ 4055 w 73752"/>
                  <a:gd name="connsiteY1" fmla="*/ 301020 h 301518"/>
                  <a:gd name="connsiteX2" fmla="*/ 0 w 73752"/>
                  <a:gd name="connsiteY2" fmla="*/ 294973 h 301518"/>
                  <a:gd name="connsiteX3" fmla="*/ 0 w 73752"/>
                  <a:gd name="connsiteY3" fmla="*/ 44806 h 301518"/>
                  <a:gd name="connsiteX4" fmla="*/ 8940 w 73752"/>
                  <a:gd name="connsiteY4" fmla="*/ 3756 h 301518"/>
                  <a:gd name="connsiteX5" fmla="*/ 19683 w 73752"/>
                  <a:gd name="connsiteY5" fmla="*/ 57 h 301518"/>
                  <a:gd name="connsiteX6" fmla="*/ 20893 w 73752"/>
                  <a:gd name="connsiteY6" fmla="*/ 270 h 301518"/>
                  <a:gd name="connsiteX7" fmla="*/ 56275 w 73752"/>
                  <a:gd name="connsiteY7" fmla="*/ 9851 h 301518"/>
                  <a:gd name="connsiteX8" fmla="*/ 58101 w 73752"/>
                  <a:gd name="connsiteY8" fmla="*/ 10657 h 301518"/>
                  <a:gd name="connsiteX9" fmla="*/ 73753 w 73752"/>
                  <a:gd name="connsiteY9" fmla="*/ 57019 h 301518"/>
                  <a:gd name="connsiteX10" fmla="*/ 73753 w 73752"/>
                  <a:gd name="connsiteY10" fmla="*/ 233908 h 301518"/>
                  <a:gd name="connsiteX11" fmla="*/ 71856 w 73752"/>
                  <a:gd name="connsiteY11" fmla="*/ 238532 h 301518"/>
                  <a:gd name="connsiteX12" fmla="*/ 11217 w 73752"/>
                  <a:gd name="connsiteY12" fmla="*/ 299621 h 301518"/>
                  <a:gd name="connsiteX13" fmla="*/ 6545 w 73752"/>
                  <a:gd name="connsiteY13" fmla="*/ 301518 h 301518"/>
                  <a:gd name="connsiteX14" fmla="*/ 18260 w 73752"/>
                  <a:gd name="connsiteY14" fmla="*/ 13124 h 301518"/>
                  <a:gd name="connsiteX15" fmla="*/ 17833 w 73752"/>
                  <a:gd name="connsiteY15" fmla="*/ 13361 h 301518"/>
                  <a:gd name="connsiteX16" fmla="*/ 13091 w 73752"/>
                  <a:gd name="connsiteY16" fmla="*/ 44806 h 301518"/>
                  <a:gd name="connsiteX17" fmla="*/ 13091 w 73752"/>
                  <a:gd name="connsiteY17" fmla="*/ 279084 h 301518"/>
                  <a:gd name="connsiteX18" fmla="*/ 60639 w 73752"/>
                  <a:gd name="connsiteY18" fmla="*/ 231204 h 301518"/>
                  <a:gd name="connsiteX19" fmla="*/ 60639 w 73752"/>
                  <a:gd name="connsiteY19" fmla="*/ 56996 h 301518"/>
                  <a:gd name="connsiteX20" fmla="*/ 51627 w 73752"/>
                  <a:gd name="connsiteY20" fmla="*/ 22135 h 301518"/>
                  <a:gd name="connsiteX21" fmla="*/ 18260 w 73752"/>
                  <a:gd name="connsiteY21" fmla="*/ 13124 h 301518"/>
                  <a:gd name="connsiteX22" fmla="*/ 67208 w 73752"/>
                  <a:gd name="connsiteY22" fmla="*/ 233884 h 301518"/>
                  <a:gd name="connsiteX23" fmla="*/ 67279 w 73752"/>
                  <a:gd name="connsiteY23" fmla="*/ 233884 h 301518"/>
                  <a:gd name="connsiteX24" fmla="*/ 67208 w 73752"/>
                  <a:gd name="connsiteY24" fmla="*/ 233884 h 30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3752" h="301518">
                    <a:moveTo>
                      <a:pt x="6545" y="301518"/>
                    </a:moveTo>
                    <a:cubicBezTo>
                      <a:pt x="5715" y="301518"/>
                      <a:pt x="4861" y="301352"/>
                      <a:pt x="4055" y="301020"/>
                    </a:cubicBezTo>
                    <a:cubicBezTo>
                      <a:pt x="1613" y="300001"/>
                      <a:pt x="0" y="297629"/>
                      <a:pt x="0" y="294973"/>
                    </a:cubicBezTo>
                    <a:lnTo>
                      <a:pt x="0" y="44806"/>
                    </a:lnTo>
                    <a:cubicBezTo>
                      <a:pt x="0" y="21827"/>
                      <a:pt x="2680" y="9566"/>
                      <a:pt x="8940" y="3756"/>
                    </a:cubicBezTo>
                    <a:cubicBezTo>
                      <a:pt x="11881" y="1029"/>
                      <a:pt x="15628" y="-299"/>
                      <a:pt x="19683" y="57"/>
                    </a:cubicBezTo>
                    <a:cubicBezTo>
                      <a:pt x="20086" y="80"/>
                      <a:pt x="20513" y="152"/>
                      <a:pt x="20893" y="270"/>
                    </a:cubicBezTo>
                    <a:lnTo>
                      <a:pt x="56275" y="9851"/>
                    </a:lnTo>
                    <a:cubicBezTo>
                      <a:pt x="56915" y="10017"/>
                      <a:pt x="57532" y="10301"/>
                      <a:pt x="58101" y="10657"/>
                    </a:cubicBezTo>
                    <a:cubicBezTo>
                      <a:pt x="68370" y="17250"/>
                      <a:pt x="73753" y="38973"/>
                      <a:pt x="73753" y="57019"/>
                    </a:cubicBezTo>
                    <a:lnTo>
                      <a:pt x="73753" y="233908"/>
                    </a:lnTo>
                    <a:cubicBezTo>
                      <a:pt x="73753" y="235639"/>
                      <a:pt x="73065" y="237299"/>
                      <a:pt x="71856" y="238532"/>
                    </a:cubicBezTo>
                    <a:lnTo>
                      <a:pt x="11217" y="299621"/>
                    </a:lnTo>
                    <a:cubicBezTo>
                      <a:pt x="9936" y="300854"/>
                      <a:pt x="8253" y="301518"/>
                      <a:pt x="6545" y="301518"/>
                    </a:cubicBezTo>
                    <a:close/>
                    <a:moveTo>
                      <a:pt x="18260" y="13124"/>
                    </a:moveTo>
                    <a:cubicBezTo>
                      <a:pt x="18071" y="13147"/>
                      <a:pt x="17976" y="13242"/>
                      <a:pt x="17833" y="13361"/>
                    </a:cubicBezTo>
                    <a:cubicBezTo>
                      <a:pt x="16411" y="14689"/>
                      <a:pt x="13091" y="20380"/>
                      <a:pt x="13091" y="44806"/>
                    </a:cubicBezTo>
                    <a:lnTo>
                      <a:pt x="13091" y="279084"/>
                    </a:lnTo>
                    <a:lnTo>
                      <a:pt x="60639" y="231204"/>
                    </a:lnTo>
                    <a:lnTo>
                      <a:pt x="60639" y="56996"/>
                    </a:lnTo>
                    <a:cubicBezTo>
                      <a:pt x="60639" y="40087"/>
                      <a:pt x="55516" y="25692"/>
                      <a:pt x="51627" y="22135"/>
                    </a:cubicBezTo>
                    <a:lnTo>
                      <a:pt x="18260" y="13124"/>
                    </a:lnTo>
                    <a:close/>
                    <a:moveTo>
                      <a:pt x="67208" y="233884"/>
                    </a:moveTo>
                    <a:lnTo>
                      <a:pt x="67279" y="233884"/>
                    </a:lnTo>
                    <a:lnTo>
                      <a:pt x="67208" y="233884"/>
                    </a:lnTo>
                    <a:close/>
                  </a:path>
                </a:pathLst>
              </a:custGeom>
              <a:solidFill>
                <a:schemeClr val="accent1"/>
              </a:solidFill>
              <a:ln w="2369" cap="flat">
                <a:noFill/>
                <a:prstDash val="solid"/>
                <a:miter/>
              </a:ln>
            </p:spPr>
            <p:txBody>
              <a:bodyPr rtlCol="0" anchor="ctr"/>
              <a:lstStyle/>
              <a:p>
                <a:endParaRPr lang="en-GB" dirty="0"/>
              </a:p>
            </p:txBody>
          </p:sp>
          <p:sp>
            <p:nvSpPr>
              <p:cNvPr id="513" name="Freihandform: Form 302">
                <a:extLst>
                  <a:ext uri="{FF2B5EF4-FFF2-40B4-BE49-F238E27FC236}">
                    <a16:creationId xmlns:a16="http://schemas.microsoft.com/office/drawing/2014/main" id="{E93CD68E-C443-4E9E-8EFB-AACEC8340DEA}"/>
                  </a:ext>
                </a:extLst>
              </p:cNvPr>
              <p:cNvSpPr/>
              <p:nvPr/>
            </p:nvSpPr>
            <p:spPr>
              <a:xfrm>
                <a:off x="2007665" y="1803669"/>
                <a:ext cx="13090" cy="26086"/>
              </a:xfrm>
              <a:custGeom>
                <a:avLst/>
                <a:gdLst>
                  <a:gd name="connsiteX0" fmla="*/ 6545 w 13090"/>
                  <a:gd name="connsiteY0" fmla="*/ 26086 h 26086"/>
                  <a:gd name="connsiteX1" fmla="*/ 0 w 13090"/>
                  <a:gd name="connsiteY1" fmla="*/ 19541 h 26086"/>
                  <a:gd name="connsiteX2" fmla="*/ 0 w 13090"/>
                  <a:gd name="connsiteY2" fmla="*/ 6545 h 26086"/>
                  <a:gd name="connsiteX3" fmla="*/ 6545 w 13090"/>
                  <a:gd name="connsiteY3" fmla="*/ 0 h 26086"/>
                  <a:gd name="connsiteX4" fmla="*/ 13091 w 13090"/>
                  <a:gd name="connsiteY4" fmla="*/ 6545 h 26086"/>
                  <a:gd name="connsiteX5" fmla="*/ 13091 w 13090"/>
                  <a:gd name="connsiteY5" fmla="*/ 19541 h 26086"/>
                  <a:gd name="connsiteX6" fmla="*/ 6545 w 13090"/>
                  <a:gd name="connsiteY6" fmla="*/ 26086 h 26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26086">
                    <a:moveTo>
                      <a:pt x="6545" y="26086"/>
                    </a:moveTo>
                    <a:cubicBezTo>
                      <a:pt x="2917" y="26086"/>
                      <a:pt x="0" y="23146"/>
                      <a:pt x="0" y="19541"/>
                    </a:cubicBezTo>
                    <a:lnTo>
                      <a:pt x="0" y="6545"/>
                    </a:lnTo>
                    <a:cubicBezTo>
                      <a:pt x="0" y="2917"/>
                      <a:pt x="2941" y="0"/>
                      <a:pt x="6545" y="0"/>
                    </a:cubicBezTo>
                    <a:cubicBezTo>
                      <a:pt x="10174" y="0"/>
                      <a:pt x="13091" y="2941"/>
                      <a:pt x="13091" y="6545"/>
                    </a:cubicBezTo>
                    <a:lnTo>
                      <a:pt x="13091" y="19541"/>
                    </a:lnTo>
                    <a:cubicBezTo>
                      <a:pt x="13091" y="23146"/>
                      <a:pt x="10174" y="26086"/>
                      <a:pt x="6545" y="26086"/>
                    </a:cubicBezTo>
                    <a:close/>
                  </a:path>
                </a:pathLst>
              </a:custGeom>
              <a:solidFill>
                <a:schemeClr val="accent1"/>
              </a:solidFill>
              <a:ln w="2369" cap="flat">
                <a:noFill/>
                <a:prstDash val="solid"/>
                <a:miter/>
              </a:ln>
            </p:spPr>
            <p:txBody>
              <a:bodyPr rtlCol="0" anchor="ctr"/>
              <a:lstStyle/>
              <a:p>
                <a:endParaRPr lang="en-GB" dirty="0"/>
              </a:p>
            </p:txBody>
          </p:sp>
        </p:grpSp>
      </p:grpSp>
      <p:grpSp>
        <p:nvGrpSpPr>
          <p:cNvPr id="668" name="Group 667">
            <a:extLst>
              <a:ext uri="{FF2B5EF4-FFF2-40B4-BE49-F238E27FC236}">
                <a16:creationId xmlns:a16="http://schemas.microsoft.com/office/drawing/2014/main" id="{86F4D43A-8370-30B8-9C5D-FED27B8B708C}"/>
              </a:ext>
            </a:extLst>
          </p:cNvPr>
          <p:cNvGrpSpPr/>
          <p:nvPr/>
        </p:nvGrpSpPr>
        <p:grpSpPr>
          <a:xfrm>
            <a:off x="5001397" y="3197068"/>
            <a:ext cx="423742" cy="432002"/>
            <a:chOff x="5000985" y="3197068"/>
            <a:chExt cx="423742" cy="432002"/>
          </a:xfrm>
        </p:grpSpPr>
        <p:grpSp>
          <p:nvGrpSpPr>
            <p:cNvPr id="523" name="Grafik 324">
              <a:extLst>
                <a:ext uri="{FF2B5EF4-FFF2-40B4-BE49-F238E27FC236}">
                  <a16:creationId xmlns:a16="http://schemas.microsoft.com/office/drawing/2014/main" id="{CD9BD800-2D88-4BCD-8961-5AD607CC62B0}"/>
                </a:ext>
              </a:extLst>
            </p:cNvPr>
            <p:cNvGrpSpPr/>
            <p:nvPr/>
          </p:nvGrpSpPr>
          <p:grpSpPr>
            <a:xfrm>
              <a:off x="5000985" y="3303676"/>
              <a:ext cx="327201" cy="325394"/>
              <a:chOff x="3418952" y="2551679"/>
              <a:chExt cx="325575" cy="323777"/>
            </a:xfrm>
            <a:solidFill>
              <a:schemeClr val="accent1"/>
            </a:solidFill>
          </p:grpSpPr>
          <p:sp>
            <p:nvSpPr>
              <p:cNvPr id="531" name="Freihandform: Form 395">
                <a:extLst>
                  <a:ext uri="{FF2B5EF4-FFF2-40B4-BE49-F238E27FC236}">
                    <a16:creationId xmlns:a16="http://schemas.microsoft.com/office/drawing/2014/main" id="{6C6F33F0-B4F3-4C62-9C31-790221056513}"/>
                  </a:ext>
                </a:extLst>
              </p:cNvPr>
              <p:cNvSpPr/>
              <p:nvPr/>
            </p:nvSpPr>
            <p:spPr>
              <a:xfrm>
                <a:off x="3475725" y="2551679"/>
                <a:ext cx="164835" cy="217084"/>
              </a:xfrm>
              <a:custGeom>
                <a:avLst/>
                <a:gdLst>
                  <a:gd name="connsiteX0" fmla="*/ 24592 w 164835"/>
                  <a:gd name="connsiteY0" fmla="*/ 217085 h 217084"/>
                  <a:gd name="connsiteX1" fmla="*/ 18901 w 164835"/>
                  <a:gd name="connsiteY1" fmla="*/ 213788 h 217084"/>
                  <a:gd name="connsiteX2" fmla="*/ 0 w 164835"/>
                  <a:gd name="connsiteY2" fmla="*/ 142739 h 217084"/>
                  <a:gd name="connsiteX3" fmla="*/ 142739 w 164835"/>
                  <a:gd name="connsiteY3" fmla="*/ 0 h 217084"/>
                  <a:gd name="connsiteX4" fmla="*/ 159031 w 164835"/>
                  <a:gd name="connsiteY4" fmla="*/ 925 h 217084"/>
                  <a:gd name="connsiteX5" fmla="*/ 164794 w 164835"/>
                  <a:gd name="connsiteY5" fmla="*/ 8182 h 217084"/>
                  <a:gd name="connsiteX6" fmla="*/ 157537 w 164835"/>
                  <a:gd name="connsiteY6" fmla="*/ 13944 h 217084"/>
                  <a:gd name="connsiteX7" fmla="*/ 142715 w 164835"/>
                  <a:gd name="connsiteY7" fmla="*/ 13114 h 217084"/>
                  <a:gd name="connsiteX8" fmla="*/ 13067 w 164835"/>
                  <a:gd name="connsiteY8" fmla="*/ 142763 h 217084"/>
                  <a:gd name="connsiteX9" fmla="*/ 30236 w 164835"/>
                  <a:gd name="connsiteY9" fmla="*/ 207290 h 217084"/>
                  <a:gd name="connsiteX10" fmla="*/ 27817 w 164835"/>
                  <a:gd name="connsiteY10" fmla="*/ 216231 h 217084"/>
                  <a:gd name="connsiteX11" fmla="*/ 24592 w 164835"/>
                  <a:gd name="connsiteY11" fmla="*/ 217085 h 217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835" h="217084">
                    <a:moveTo>
                      <a:pt x="24592" y="217085"/>
                    </a:moveTo>
                    <a:cubicBezTo>
                      <a:pt x="22315" y="217085"/>
                      <a:pt x="20110" y="215899"/>
                      <a:pt x="18901" y="213788"/>
                    </a:cubicBezTo>
                    <a:cubicBezTo>
                      <a:pt x="6522" y="192255"/>
                      <a:pt x="0" y="167687"/>
                      <a:pt x="0" y="142739"/>
                    </a:cubicBezTo>
                    <a:cubicBezTo>
                      <a:pt x="0" y="64030"/>
                      <a:pt x="64030" y="0"/>
                      <a:pt x="142739" y="0"/>
                    </a:cubicBezTo>
                    <a:cubicBezTo>
                      <a:pt x="148193" y="0"/>
                      <a:pt x="153671" y="308"/>
                      <a:pt x="159031" y="925"/>
                    </a:cubicBezTo>
                    <a:cubicBezTo>
                      <a:pt x="162636" y="1328"/>
                      <a:pt x="165197" y="4577"/>
                      <a:pt x="164794" y="8182"/>
                    </a:cubicBezTo>
                    <a:cubicBezTo>
                      <a:pt x="164390" y="11763"/>
                      <a:pt x="161047" y="14324"/>
                      <a:pt x="157537" y="13944"/>
                    </a:cubicBezTo>
                    <a:cubicBezTo>
                      <a:pt x="152652" y="13399"/>
                      <a:pt x="147671" y="13114"/>
                      <a:pt x="142715" y="13114"/>
                    </a:cubicBezTo>
                    <a:cubicBezTo>
                      <a:pt x="71239" y="13114"/>
                      <a:pt x="13067" y="71263"/>
                      <a:pt x="13067" y="142763"/>
                    </a:cubicBezTo>
                    <a:cubicBezTo>
                      <a:pt x="13067" y="165434"/>
                      <a:pt x="18996" y="187750"/>
                      <a:pt x="30236" y="207290"/>
                    </a:cubicBezTo>
                    <a:cubicBezTo>
                      <a:pt x="32039" y="210421"/>
                      <a:pt x="30948" y="214429"/>
                      <a:pt x="27817" y="216231"/>
                    </a:cubicBezTo>
                    <a:cubicBezTo>
                      <a:pt x="26821" y="216824"/>
                      <a:pt x="25683" y="217085"/>
                      <a:pt x="24592" y="217085"/>
                    </a:cubicBezTo>
                    <a:close/>
                  </a:path>
                </a:pathLst>
              </a:custGeom>
              <a:solidFill>
                <a:schemeClr val="accent1"/>
              </a:solidFill>
              <a:ln w="2369" cap="flat">
                <a:noFill/>
                <a:prstDash val="solid"/>
                <a:miter/>
              </a:ln>
            </p:spPr>
            <p:txBody>
              <a:bodyPr rtlCol="0" anchor="ctr"/>
              <a:lstStyle/>
              <a:p>
                <a:endParaRPr lang="en-GB" dirty="0"/>
              </a:p>
            </p:txBody>
          </p:sp>
          <p:sp>
            <p:nvSpPr>
              <p:cNvPr id="532" name="Freihandform: Form 396">
                <a:extLst>
                  <a:ext uri="{FF2B5EF4-FFF2-40B4-BE49-F238E27FC236}">
                    <a16:creationId xmlns:a16="http://schemas.microsoft.com/office/drawing/2014/main" id="{46A90E83-DDA0-45ED-8ABC-59B74B50DABF}"/>
                  </a:ext>
                </a:extLst>
              </p:cNvPr>
              <p:cNvSpPr/>
              <p:nvPr/>
            </p:nvSpPr>
            <p:spPr>
              <a:xfrm>
                <a:off x="3508659" y="2753243"/>
                <a:ext cx="235868" cy="83938"/>
              </a:xfrm>
              <a:custGeom>
                <a:avLst/>
                <a:gdLst>
                  <a:gd name="connsiteX0" fmla="*/ 109805 w 235868"/>
                  <a:gd name="connsiteY0" fmla="*/ 83938 h 83938"/>
                  <a:gd name="connsiteX1" fmla="*/ 1595 w 235868"/>
                  <a:gd name="connsiteY1" fmla="*/ 34304 h 83938"/>
                  <a:gd name="connsiteX2" fmla="*/ 2283 w 235868"/>
                  <a:gd name="connsiteY2" fmla="*/ 25055 h 83938"/>
                  <a:gd name="connsiteX3" fmla="*/ 11532 w 235868"/>
                  <a:gd name="connsiteY3" fmla="*/ 25742 h 83938"/>
                  <a:gd name="connsiteX4" fmla="*/ 109805 w 235868"/>
                  <a:gd name="connsiteY4" fmla="*/ 70824 h 83938"/>
                  <a:gd name="connsiteX5" fmla="*/ 223565 w 235868"/>
                  <a:gd name="connsiteY5" fmla="*/ 3403 h 83938"/>
                  <a:gd name="connsiteX6" fmla="*/ 232458 w 235868"/>
                  <a:gd name="connsiteY6" fmla="*/ 818 h 83938"/>
                  <a:gd name="connsiteX7" fmla="*/ 235067 w 235868"/>
                  <a:gd name="connsiteY7" fmla="*/ 9711 h 83938"/>
                  <a:gd name="connsiteX8" fmla="*/ 109805 w 235868"/>
                  <a:gd name="connsiteY8" fmla="*/ 83938 h 8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868" h="83938">
                    <a:moveTo>
                      <a:pt x="109805" y="83938"/>
                    </a:moveTo>
                    <a:cubicBezTo>
                      <a:pt x="68210" y="83938"/>
                      <a:pt x="28772" y="65844"/>
                      <a:pt x="1595" y="34304"/>
                    </a:cubicBezTo>
                    <a:cubicBezTo>
                      <a:pt x="-776" y="31553"/>
                      <a:pt x="-468" y="27426"/>
                      <a:pt x="2283" y="25055"/>
                    </a:cubicBezTo>
                    <a:cubicBezTo>
                      <a:pt x="5010" y="22707"/>
                      <a:pt x="9137" y="22992"/>
                      <a:pt x="11532" y="25742"/>
                    </a:cubicBezTo>
                    <a:cubicBezTo>
                      <a:pt x="36219" y="54390"/>
                      <a:pt x="72028" y="70824"/>
                      <a:pt x="109805" y="70824"/>
                    </a:cubicBezTo>
                    <a:cubicBezTo>
                      <a:pt x="157187" y="70824"/>
                      <a:pt x="200775" y="44999"/>
                      <a:pt x="223565" y="3403"/>
                    </a:cubicBezTo>
                    <a:cubicBezTo>
                      <a:pt x="225296" y="225"/>
                      <a:pt x="229280" y="-937"/>
                      <a:pt x="232458" y="818"/>
                    </a:cubicBezTo>
                    <a:cubicBezTo>
                      <a:pt x="235636" y="2549"/>
                      <a:pt x="236798" y="6534"/>
                      <a:pt x="235067" y="9711"/>
                    </a:cubicBezTo>
                    <a:cubicBezTo>
                      <a:pt x="209953" y="55504"/>
                      <a:pt x="161954" y="83938"/>
                      <a:pt x="109805" y="83938"/>
                    </a:cubicBezTo>
                    <a:close/>
                  </a:path>
                </a:pathLst>
              </a:custGeom>
              <a:solidFill>
                <a:schemeClr val="accent1"/>
              </a:solidFill>
              <a:ln w="2369" cap="flat">
                <a:noFill/>
                <a:prstDash val="solid"/>
                <a:miter/>
              </a:ln>
            </p:spPr>
            <p:txBody>
              <a:bodyPr rtlCol="0" anchor="ctr"/>
              <a:lstStyle/>
              <a:p>
                <a:endParaRPr lang="en-GB" dirty="0"/>
              </a:p>
            </p:txBody>
          </p:sp>
          <p:sp>
            <p:nvSpPr>
              <p:cNvPr id="533" name="Freihandform: Form 397">
                <a:extLst>
                  <a:ext uri="{FF2B5EF4-FFF2-40B4-BE49-F238E27FC236}">
                    <a16:creationId xmlns:a16="http://schemas.microsoft.com/office/drawing/2014/main" id="{E8DF261F-6511-4A6C-9053-B627501435E1}"/>
                  </a:ext>
                </a:extLst>
              </p:cNvPr>
              <p:cNvSpPr/>
              <p:nvPr/>
            </p:nvSpPr>
            <p:spPr>
              <a:xfrm>
                <a:off x="3568307" y="2644285"/>
                <a:ext cx="100265" cy="100289"/>
              </a:xfrm>
              <a:custGeom>
                <a:avLst/>
                <a:gdLst>
                  <a:gd name="connsiteX0" fmla="*/ 50157 w 100265"/>
                  <a:gd name="connsiteY0" fmla="*/ 100290 h 100289"/>
                  <a:gd name="connsiteX1" fmla="*/ 24165 w 100265"/>
                  <a:gd name="connsiteY1" fmla="*/ 93033 h 100289"/>
                  <a:gd name="connsiteX2" fmla="*/ 21960 w 100265"/>
                  <a:gd name="connsiteY2" fmla="*/ 84021 h 100289"/>
                  <a:gd name="connsiteX3" fmla="*/ 30972 w 100265"/>
                  <a:gd name="connsiteY3" fmla="*/ 81816 h 100289"/>
                  <a:gd name="connsiteX4" fmla="*/ 50157 w 100265"/>
                  <a:gd name="connsiteY4" fmla="*/ 87175 h 100289"/>
                  <a:gd name="connsiteX5" fmla="*/ 87199 w 100265"/>
                  <a:gd name="connsiteY5" fmla="*/ 50133 h 100289"/>
                  <a:gd name="connsiteX6" fmla="*/ 50157 w 100265"/>
                  <a:gd name="connsiteY6" fmla="*/ 13091 h 100289"/>
                  <a:gd name="connsiteX7" fmla="*/ 13114 w 100265"/>
                  <a:gd name="connsiteY7" fmla="*/ 50133 h 100289"/>
                  <a:gd name="connsiteX8" fmla="*/ 17573 w 100265"/>
                  <a:gd name="connsiteY8" fmla="*/ 67777 h 100289"/>
                  <a:gd name="connsiteX9" fmla="*/ 14940 w 100265"/>
                  <a:gd name="connsiteY9" fmla="*/ 76670 h 100289"/>
                  <a:gd name="connsiteX10" fmla="*/ 6047 w 100265"/>
                  <a:gd name="connsiteY10" fmla="*/ 74037 h 100289"/>
                  <a:gd name="connsiteX11" fmla="*/ 0 w 100265"/>
                  <a:gd name="connsiteY11" fmla="*/ 50133 h 100289"/>
                  <a:gd name="connsiteX12" fmla="*/ 50133 w 100265"/>
                  <a:gd name="connsiteY12" fmla="*/ 0 h 100289"/>
                  <a:gd name="connsiteX13" fmla="*/ 100266 w 100265"/>
                  <a:gd name="connsiteY13" fmla="*/ 50133 h 100289"/>
                  <a:gd name="connsiteX14" fmla="*/ 50157 w 100265"/>
                  <a:gd name="connsiteY14" fmla="*/ 100290 h 10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0265" h="100289">
                    <a:moveTo>
                      <a:pt x="50157" y="100290"/>
                    </a:moveTo>
                    <a:cubicBezTo>
                      <a:pt x="40979" y="100290"/>
                      <a:pt x="31991" y="97776"/>
                      <a:pt x="24165" y="93033"/>
                    </a:cubicBezTo>
                    <a:cubicBezTo>
                      <a:pt x="21082" y="91159"/>
                      <a:pt x="20087" y="87128"/>
                      <a:pt x="21960" y="84021"/>
                    </a:cubicBezTo>
                    <a:cubicBezTo>
                      <a:pt x="23833" y="80915"/>
                      <a:pt x="27841" y="79942"/>
                      <a:pt x="30972" y="81816"/>
                    </a:cubicBezTo>
                    <a:cubicBezTo>
                      <a:pt x="36734" y="85326"/>
                      <a:pt x="43374" y="87175"/>
                      <a:pt x="50157" y="87175"/>
                    </a:cubicBezTo>
                    <a:cubicBezTo>
                      <a:pt x="70575" y="87175"/>
                      <a:pt x="87199" y="70551"/>
                      <a:pt x="87199" y="50133"/>
                    </a:cubicBezTo>
                    <a:cubicBezTo>
                      <a:pt x="87199" y="29715"/>
                      <a:pt x="70599" y="13091"/>
                      <a:pt x="50157" y="13091"/>
                    </a:cubicBezTo>
                    <a:cubicBezTo>
                      <a:pt x="29738" y="13091"/>
                      <a:pt x="13114" y="29691"/>
                      <a:pt x="13114" y="50133"/>
                    </a:cubicBezTo>
                    <a:cubicBezTo>
                      <a:pt x="13114" y="56299"/>
                      <a:pt x="14656" y="62393"/>
                      <a:pt x="17573" y="67777"/>
                    </a:cubicBezTo>
                    <a:cubicBezTo>
                      <a:pt x="19304" y="70954"/>
                      <a:pt x="18118" y="74939"/>
                      <a:pt x="14940" y="76670"/>
                    </a:cubicBezTo>
                    <a:cubicBezTo>
                      <a:pt x="11739" y="78401"/>
                      <a:pt x="7779" y="77215"/>
                      <a:pt x="6047" y="74037"/>
                    </a:cubicBezTo>
                    <a:cubicBezTo>
                      <a:pt x="2087" y="66757"/>
                      <a:pt x="0" y="58481"/>
                      <a:pt x="0" y="50133"/>
                    </a:cubicBezTo>
                    <a:cubicBezTo>
                      <a:pt x="0" y="22482"/>
                      <a:pt x="22482" y="0"/>
                      <a:pt x="50133" y="0"/>
                    </a:cubicBezTo>
                    <a:cubicBezTo>
                      <a:pt x="77784" y="0"/>
                      <a:pt x="100266" y="22482"/>
                      <a:pt x="100266" y="50133"/>
                    </a:cubicBezTo>
                    <a:cubicBezTo>
                      <a:pt x="100290" y="77784"/>
                      <a:pt x="77784" y="100290"/>
                      <a:pt x="50157" y="100290"/>
                    </a:cubicBezTo>
                    <a:close/>
                  </a:path>
                </a:pathLst>
              </a:custGeom>
              <a:solidFill>
                <a:schemeClr val="accent1"/>
              </a:solidFill>
              <a:ln w="2369" cap="flat">
                <a:noFill/>
                <a:prstDash val="solid"/>
                <a:miter/>
              </a:ln>
            </p:spPr>
            <p:txBody>
              <a:bodyPr rtlCol="0" anchor="ctr"/>
              <a:lstStyle/>
              <a:p>
                <a:endParaRPr lang="en-GB" dirty="0"/>
              </a:p>
            </p:txBody>
          </p:sp>
          <p:sp>
            <p:nvSpPr>
              <p:cNvPr id="534" name="Freihandform: Form 398">
                <a:extLst>
                  <a:ext uri="{FF2B5EF4-FFF2-40B4-BE49-F238E27FC236}">
                    <a16:creationId xmlns:a16="http://schemas.microsoft.com/office/drawing/2014/main" id="{D1E8A827-09F3-49C6-80E2-16842E1FE098}"/>
                  </a:ext>
                </a:extLst>
              </p:cNvPr>
              <p:cNvSpPr/>
              <p:nvPr/>
            </p:nvSpPr>
            <p:spPr>
              <a:xfrm>
                <a:off x="3519289" y="2595243"/>
                <a:ext cx="122788" cy="152129"/>
              </a:xfrm>
              <a:custGeom>
                <a:avLst/>
                <a:gdLst>
                  <a:gd name="connsiteX0" fmla="*/ 18996 w 122788"/>
                  <a:gd name="connsiteY0" fmla="*/ 152130 h 152129"/>
                  <a:gd name="connsiteX1" fmla="*/ 13328 w 122788"/>
                  <a:gd name="connsiteY1" fmla="*/ 148857 h 152129"/>
                  <a:gd name="connsiteX2" fmla="*/ 0 w 122788"/>
                  <a:gd name="connsiteY2" fmla="*/ 99175 h 152129"/>
                  <a:gd name="connsiteX3" fmla="*/ 99151 w 122788"/>
                  <a:gd name="connsiteY3" fmla="*/ 0 h 152129"/>
                  <a:gd name="connsiteX4" fmla="*/ 117435 w 122788"/>
                  <a:gd name="connsiteY4" fmla="*/ 1684 h 152129"/>
                  <a:gd name="connsiteX5" fmla="*/ 122676 w 122788"/>
                  <a:gd name="connsiteY5" fmla="*/ 9320 h 152129"/>
                  <a:gd name="connsiteX6" fmla="*/ 115040 w 122788"/>
                  <a:gd name="connsiteY6" fmla="*/ 14561 h 152129"/>
                  <a:gd name="connsiteX7" fmla="*/ 99151 w 122788"/>
                  <a:gd name="connsiteY7" fmla="*/ 13091 h 152129"/>
                  <a:gd name="connsiteX8" fmla="*/ 13090 w 122788"/>
                  <a:gd name="connsiteY8" fmla="*/ 99151 h 152129"/>
                  <a:gd name="connsiteX9" fmla="*/ 24663 w 122788"/>
                  <a:gd name="connsiteY9" fmla="*/ 142265 h 152129"/>
                  <a:gd name="connsiteX10" fmla="*/ 22292 w 122788"/>
                  <a:gd name="connsiteY10" fmla="*/ 151229 h 152129"/>
                  <a:gd name="connsiteX11" fmla="*/ 18996 w 122788"/>
                  <a:gd name="connsiteY11" fmla="*/ 152130 h 152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788" h="152129">
                    <a:moveTo>
                      <a:pt x="18996" y="152130"/>
                    </a:moveTo>
                    <a:cubicBezTo>
                      <a:pt x="16742" y="152130"/>
                      <a:pt x="14537" y="150968"/>
                      <a:pt x="13328" y="148857"/>
                    </a:cubicBezTo>
                    <a:cubicBezTo>
                      <a:pt x="4601" y="133822"/>
                      <a:pt x="0" y="116653"/>
                      <a:pt x="0" y="99175"/>
                    </a:cubicBezTo>
                    <a:cubicBezTo>
                      <a:pt x="0" y="44489"/>
                      <a:pt x="44489" y="0"/>
                      <a:pt x="99151" y="0"/>
                    </a:cubicBezTo>
                    <a:cubicBezTo>
                      <a:pt x="105293" y="0"/>
                      <a:pt x="111435" y="569"/>
                      <a:pt x="117435" y="1684"/>
                    </a:cubicBezTo>
                    <a:cubicBezTo>
                      <a:pt x="120992" y="2348"/>
                      <a:pt x="123340" y="5763"/>
                      <a:pt x="122676" y="9320"/>
                    </a:cubicBezTo>
                    <a:cubicBezTo>
                      <a:pt x="122012" y="12877"/>
                      <a:pt x="118621" y="15225"/>
                      <a:pt x="115040" y="14561"/>
                    </a:cubicBezTo>
                    <a:cubicBezTo>
                      <a:pt x="109847" y="13588"/>
                      <a:pt x="104487" y="13091"/>
                      <a:pt x="99151" y="13091"/>
                    </a:cubicBezTo>
                    <a:cubicBezTo>
                      <a:pt x="51698" y="13091"/>
                      <a:pt x="13090" y="51698"/>
                      <a:pt x="13090" y="99151"/>
                    </a:cubicBezTo>
                    <a:cubicBezTo>
                      <a:pt x="13090" y="114329"/>
                      <a:pt x="17098" y="129222"/>
                      <a:pt x="24663" y="142265"/>
                    </a:cubicBezTo>
                    <a:cubicBezTo>
                      <a:pt x="26489" y="145395"/>
                      <a:pt x="25422" y="149403"/>
                      <a:pt x="22292" y="151229"/>
                    </a:cubicBezTo>
                    <a:cubicBezTo>
                      <a:pt x="21248" y="151845"/>
                      <a:pt x="20110" y="152130"/>
                      <a:pt x="18996" y="152130"/>
                    </a:cubicBezTo>
                    <a:close/>
                  </a:path>
                </a:pathLst>
              </a:custGeom>
              <a:solidFill>
                <a:schemeClr val="accent1"/>
              </a:solidFill>
              <a:ln w="2369" cap="flat">
                <a:noFill/>
                <a:prstDash val="solid"/>
                <a:miter/>
              </a:ln>
            </p:spPr>
            <p:txBody>
              <a:bodyPr rtlCol="0" anchor="ctr"/>
              <a:lstStyle/>
              <a:p>
                <a:endParaRPr lang="en-GB" dirty="0"/>
              </a:p>
            </p:txBody>
          </p:sp>
          <p:sp>
            <p:nvSpPr>
              <p:cNvPr id="535" name="Freihandform: Form 399">
                <a:extLst>
                  <a:ext uri="{FF2B5EF4-FFF2-40B4-BE49-F238E27FC236}">
                    <a16:creationId xmlns:a16="http://schemas.microsoft.com/office/drawing/2014/main" id="{60D2BFA2-94D0-4292-8562-25036E630CE1}"/>
                  </a:ext>
                </a:extLst>
              </p:cNvPr>
              <p:cNvSpPr/>
              <p:nvPr/>
            </p:nvSpPr>
            <p:spPr>
              <a:xfrm>
                <a:off x="3546798" y="2704859"/>
                <a:ext cx="169293" cy="88734"/>
              </a:xfrm>
              <a:custGeom>
                <a:avLst/>
                <a:gdLst>
                  <a:gd name="connsiteX0" fmla="*/ 71666 w 169293"/>
                  <a:gd name="connsiteY0" fmla="*/ 88734 h 88734"/>
                  <a:gd name="connsiteX1" fmla="*/ 1945 w 169293"/>
                  <a:gd name="connsiteY1" fmla="*/ 60063 h 88734"/>
                  <a:gd name="connsiteX2" fmla="*/ 1897 w 169293"/>
                  <a:gd name="connsiteY2" fmla="*/ 50791 h 88734"/>
                  <a:gd name="connsiteX3" fmla="*/ 11170 w 169293"/>
                  <a:gd name="connsiteY3" fmla="*/ 50743 h 88734"/>
                  <a:gd name="connsiteX4" fmla="*/ 71690 w 169293"/>
                  <a:gd name="connsiteY4" fmla="*/ 75620 h 88734"/>
                  <a:gd name="connsiteX5" fmla="*/ 156304 w 169293"/>
                  <a:gd name="connsiteY5" fmla="*/ 5353 h 88734"/>
                  <a:gd name="connsiteX6" fmla="*/ 163940 w 169293"/>
                  <a:gd name="connsiteY6" fmla="*/ 112 h 88734"/>
                  <a:gd name="connsiteX7" fmla="*/ 169181 w 169293"/>
                  <a:gd name="connsiteY7" fmla="*/ 7748 h 88734"/>
                  <a:gd name="connsiteX8" fmla="*/ 71666 w 169293"/>
                  <a:gd name="connsiteY8" fmla="*/ 88734 h 8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9293" h="88734">
                    <a:moveTo>
                      <a:pt x="71666" y="88734"/>
                    </a:moveTo>
                    <a:cubicBezTo>
                      <a:pt x="45390" y="88734"/>
                      <a:pt x="20608" y="78561"/>
                      <a:pt x="1945" y="60063"/>
                    </a:cubicBezTo>
                    <a:cubicBezTo>
                      <a:pt x="-616" y="57526"/>
                      <a:pt x="-664" y="53376"/>
                      <a:pt x="1897" y="50791"/>
                    </a:cubicBezTo>
                    <a:cubicBezTo>
                      <a:pt x="4435" y="48230"/>
                      <a:pt x="8585" y="48182"/>
                      <a:pt x="11170" y="50743"/>
                    </a:cubicBezTo>
                    <a:cubicBezTo>
                      <a:pt x="27391" y="66774"/>
                      <a:pt x="48876" y="75620"/>
                      <a:pt x="71690" y="75620"/>
                    </a:cubicBezTo>
                    <a:cubicBezTo>
                      <a:pt x="113167" y="75620"/>
                      <a:pt x="148763" y="46071"/>
                      <a:pt x="156304" y="5353"/>
                    </a:cubicBezTo>
                    <a:cubicBezTo>
                      <a:pt x="156968" y="1796"/>
                      <a:pt x="160383" y="-552"/>
                      <a:pt x="163940" y="112"/>
                    </a:cubicBezTo>
                    <a:cubicBezTo>
                      <a:pt x="167497" y="776"/>
                      <a:pt x="169845" y="4191"/>
                      <a:pt x="169181" y="7748"/>
                    </a:cubicBezTo>
                    <a:cubicBezTo>
                      <a:pt x="160454" y="54680"/>
                      <a:pt x="119451" y="88734"/>
                      <a:pt x="71666" y="88734"/>
                    </a:cubicBezTo>
                    <a:close/>
                  </a:path>
                </a:pathLst>
              </a:custGeom>
              <a:solidFill>
                <a:schemeClr val="accent1"/>
              </a:solidFill>
              <a:ln w="2369" cap="flat">
                <a:noFill/>
                <a:prstDash val="solid"/>
                <a:miter/>
              </a:ln>
            </p:spPr>
            <p:txBody>
              <a:bodyPr rtlCol="0" anchor="ctr"/>
              <a:lstStyle/>
              <a:p>
                <a:endParaRPr lang="en-GB" dirty="0"/>
              </a:p>
            </p:txBody>
          </p:sp>
          <p:sp>
            <p:nvSpPr>
              <p:cNvPr id="536" name="Freihandform: Form 400">
                <a:extLst>
                  <a:ext uri="{FF2B5EF4-FFF2-40B4-BE49-F238E27FC236}">
                    <a16:creationId xmlns:a16="http://schemas.microsoft.com/office/drawing/2014/main" id="{98746A87-3B2B-4684-9AE5-5BDE333B0480}"/>
                  </a:ext>
                </a:extLst>
              </p:cNvPr>
              <p:cNvSpPr/>
              <p:nvPr/>
            </p:nvSpPr>
            <p:spPr>
              <a:xfrm>
                <a:off x="3524191" y="2806235"/>
                <a:ext cx="53481" cy="69221"/>
              </a:xfrm>
              <a:custGeom>
                <a:avLst/>
                <a:gdLst>
                  <a:gd name="connsiteX0" fmla="*/ 22868 w 53481"/>
                  <a:gd name="connsiteY0" fmla="*/ 69222 h 69221"/>
                  <a:gd name="connsiteX1" fmla="*/ 11461 w 53481"/>
                  <a:gd name="connsiteY1" fmla="*/ 66139 h 69221"/>
                  <a:gd name="connsiteX2" fmla="*/ 789 w 53481"/>
                  <a:gd name="connsiteY2" fmla="*/ 52242 h 69221"/>
                  <a:gd name="connsiteX3" fmla="*/ 3090 w 53481"/>
                  <a:gd name="connsiteY3" fmla="*/ 34859 h 69221"/>
                  <a:gd name="connsiteX4" fmla="*/ 21327 w 53481"/>
                  <a:gd name="connsiteY4" fmla="*/ 3271 h 69221"/>
                  <a:gd name="connsiteX5" fmla="*/ 30267 w 53481"/>
                  <a:gd name="connsiteY5" fmla="*/ 876 h 69221"/>
                  <a:gd name="connsiteX6" fmla="*/ 32662 w 53481"/>
                  <a:gd name="connsiteY6" fmla="*/ 9816 h 69221"/>
                  <a:gd name="connsiteX7" fmla="*/ 14425 w 53481"/>
                  <a:gd name="connsiteY7" fmla="*/ 41404 h 69221"/>
                  <a:gd name="connsiteX8" fmla="*/ 13453 w 53481"/>
                  <a:gd name="connsiteY8" fmla="*/ 48827 h 69221"/>
                  <a:gd name="connsiteX9" fmla="*/ 18006 w 53481"/>
                  <a:gd name="connsiteY9" fmla="*/ 54779 h 69221"/>
                  <a:gd name="connsiteX10" fmla="*/ 25429 w 53481"/>
                  <a:gd name="connsiteY10" fmla="*/ 55752 h 69221"/>
                  <a:gd name="connsiteX11" fmla="*/ 31382 w 53481"/>
                  <a:gd name="connsiteY11" fmla="*/ 51198 h 69221"/>
                  <a:gd name="connsiteX12" fmla="*/ 41342 w 53481"/>
                  <a:gd name="connsiteY12" fmla="*/ 34906 h 69221"/>
                  <a:gd name="connsiteX13" fmla="*/ 50353 w 53481"/>
                  <a:gd name="connsiteY13" fmla="*/ 32748 h 69221"/>
                  <a:gd name="connsiteX14" fmla="*/ 52511 w 53481"/>
                  <a:gd name="connsiteY14" fmla="*/ 41760 h 69221"/>
                  <a:gd name="connsiteX15" fmla="*/ 42622 w 53481"/>
                  <a:gd name="connsiteY15" fmla="*/ 57910 h 69221"/>
                  <a:gd name="connsiteX16" fmla="*/ 28820 w 53481"/>
                  <a:gd name="connsiteY16" fmla="*/ 68439 h 69221"/>
                  <a:gd name="connsiteX17" fmla="*/ 22868 w 53481"/>
                  <a:gd name="connsiteY17" fmla="*/ 69222 h 69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481" h="69221">
                    <a:moveTo>
                      <a:pt x="22868" y="69222"/>
                    </a:moveTo>
                    <a:cubicBezTo>
                      <a:pt x="18908" y="69222"/>
                      <a:pt x="14995" y="68178"/>
                      <a:pt x="11461" y="66139"/>
                    </a:cubicBezTo>
                    <a:cubicBezTo>
                      <a:pt x="6173" y="63080"/>
                      <a:pt x="2378" y="58147"/>
                      <a:pt x="789" y="52242"/>
                    </a:cubicBezTo>
                    <a:cubicBezTo>
                      <a:pt x="-799" y="46337"/>
                      <a:pt x="31" y="40171"/>
                      <a:pt x="3090" y="34859"/>
                    </a:cubicBezTo>
                    <a:lnTo>
                      <a:pt x="21327" y="3271"/>
                    </a:lnTo>
                    <a:cubicBezTo>
                      <a:pt x="23129" y="141"/>
                      <a:pt x="27137" y="-927"/>
                      <a:pt x="30267" y="876"/>
                    </a:cubicBezTo>
                    <a:cubicBezTo>
                      <a:pt x="33397" y="2678"/>
                      <a:pt x="34488" y="6686"/>
                      <a:pt x="32662" y="9816"/>
                    </a:cubicBezTo>
                    <a:lnTo>
                      <a:pt x="14425" y="41404"/>
                    </a:lnTo>
                    <a:cubicBezTo>
                      <a:pt x="13121" y="43681"/>
                      <a:pt x="12766" y="46313"/>
                      <a:pt x="13453" y="48827"/>
                    </a:cubicBezTo>
                    <a:cubicBezTo>
                      <a:pt x="14117" y="51341"/>
                      <a:pt x="15754" y="53451"/>
                      <a:pt x="18006" y="54779"/>
                    </a:cubicBezTo>
                    <a:cubicBezTo>
                      <a:pt x="20283" y="56084"/>
                      <a:pt x="22916" y="56439"/>
                      <a:pt x="25429" y="55752"/>
                    </a:cubicBezTo>
                    <a:cubicBezTo>
                      <a:pt x="27967" y="55088"/>
                      <a:pt x="30077" y="53451"/>
                      <a:pt x="31382" y="51198"/>
                    </a:cubicBezTo>
                    <a:lnTo>
                      <a:pt x="41342" y="34906"/>
                    </a:lnTo>
                    <a:cubicBezTo>
                      <a:pt x="43239" y="31824"/>
                      <a:pt x="47271" y="30851"/>
                      <a:pt x="50353" y="32748"/>
                    </a:cubicBezTo>
                    <a:cubicBezTo>
                      <a:pt x="53436" y="34646"/>
                      <a:pt x="54409" y="38677"/>
                      <a:pt x="52511" y="41760"/>
                    </a:cubicBezTo>
                    <a:lnTo>
                      <a:pt x="42622" y="57910"/>
                    </a:lnTo>
                    <a:cubicBezTo>
                      <a:pt x="39658" y="63056"/>
                      <a:pt x="34725" y="66850"/>
                      <a:pt x="28820" y="68439"/>
                    </a:cubicBezTo>
                    <a:cubicBezTo>
                      <a:pt x="26852" y="68961"/>
                      <a:pt x="24860" y="69222"/>
                      <a:pt x="22868" y="69222"/>
                    </a:cubicBezTo>
                    <a:close/>
                  </a:path>
                </a:pathLst>
              </a:custGeom>
              <a:solidFill>
                <a:schemeClr val="accent1"/>
              </a:solidFill>
              <a:ln w="2369" cap="flat">
                <a:noFill/>
                <a:prstDash val="solid"/>
                <a:miter/>
              </a:ln>
            </p:spPr>
            <p:txBody>
              <a:bodyPr rtlCol="0" anchor="ctr"/>
              <a:lstStyle/>
              <a:p>
                <a:endParaRPr lang="en-GB" dirty="0"/>
              </a:p>
            </p:txBody>
          </p:sp>
          <p:sp>
            <p:nvSpPr>
              <p:cNvPr id="537" name="Freihandform: Form 401">
                <a:extLst>
                  <a:ext uri="{FF2B5EF4-FFF2-40B4-BE49-F238E27FC236}">
                    <a16:creationId xmlns:a16="http://schemas.microsoft.com/office/drawing/2014/main" id="{A78C46D1-A14C-403E-8539-812953FF3CCC}"/>
                  </a:ext>
                </a:extLst>
              </p:cNvPr>
              <p:cNvSpPr/>
              <p:nvPr/>
            </p:nvSpPr>
            <p:spPr>
              <a:xfrm>
                <a:off x="3662387" y="2806282"/>
                <a:ext cx="53472" cy="69174"/>
              </a:xfrm>
              <a:custGeom>
                <a:avLst/>
                <a:gdLst>
                  <a:gd name="connsiteX0" fmla="*/ 30636 w 53472"/>
                  <a:gd name="connsiteY0" fmla="*/ 69174 h 69174"/>
                  <a:gd name="connsiteX1" fmla="*/ 10763 w 53472"/>
                  <a:gd name="connsiteY1" fmla="*/ 57744 h 69174"/>
                  <a:gd name="connsiteX2" fmla="*/ 969 w 53472"/>
                  <a:gd name="connsiteY2" fmla="*/ 41736 h 69174"/>
                  <a:gd name="connsiteX3" fmla="*/ 3151 w 53472"/>
                  <a:gd name="connsiteY3" fmla="*/ 32725 h 69174"/>
                  <a:gd name="connsiteX4" fmla="*/ 12163 w 53472"/>
                  <a:gd name="connsiteY4" fmla="*/ 34906 h 69174"/>
                  <a:gd name="connsiteX5" fmla="*/ 22028 w 53472"/>
                  <a:gd name="connsiteY5" fmla="*/ 51056 h 69174"/>
                  <a:gd name="connsiteX6" fmla="*/ 35498 w 53472"/>
                  <a:gd name="connsiteY6" fmla="*/ 54779 h 69174"/>
                  <a:gd name="connsiteX7" fmla="*/ 39079 w 53472"/>
                  <a:gd name="connsiteY7" fmla="*/ 41404 h 69174"/>
                  <a:gd name="connsiteX8" fmla="*/ 20842 w 53472"/>
                  <a:gd name="connsiteY8" fmla="*/ 9816 h 69174"/>
                  <a:gd name="connsiteX9" fmla="*/ 23237 w 53472"/>
                  <a:gd name="connsiteY9" fmla="*/ 876 h 69174"/>
                  <a:gd name="connsiteX10" fmla="*/ 32178 w 53472"/>
                  <a:gd name="connsiteY10" fmla="*/ 3271 h 69174"/>
                  <a:gd name="connsiteX11" fmla="*/ 50414 w 53472"/>
                  <a:gd name="connsiteY11" fmla="*/ 34859 h 69174"/>
                  <a:gd name="connsiteX12" fmla="*/ 42043 w 53472"/>
                  <a:gd name="connsiteY12" fmla="*/ 66139 h 69174"/>
                  <a:gd name="connsiteX13" fmla="*/ 30636 w 53472"/>
                  <a:gd name="connsiteY13" fmla="*/ 69174 h 69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472" h="69174">
                    <a:moveTo>
                      <a:pt x="30636" y="69174"/>
                    </a:moveTo>
                    <a:cubicBezTo>
                      <a:pt x="22715" y="69174"/>
                      <a:pt x="15008" y="65072"/>
                      <a:pt x="10763" y="57744"/>
                    </a:cubicBezTo>
                    <a:lnTo>
                      <a:pt x="969" y="41736"/>
                    </a:lnTo>
                    <a:cubicBezTo>
                      <a:pt x="-928" y="38653"/>
                      <a:pt x="44" y="34622"/>
                      <a:pt x="3151" y="32725"/>
                    </a:cubicBezTo>
                    <a:cubicBezTo>
                      <a:pt x="6234" y="30828"/>
                      <a:pt x="10265" y="31800"/>
                      <a:pt x="12163" y="34906"/>
                    </a:cubicBezTo>
                    <a:lnTo>
                      <a:pt x="22028" y="51056"/>
                    </a:lnTo>
                    <a:cubicBezTo>
                      <a:pt x="24826" y="55870"/>
                      <a:pt x="30826" y="57483"/>
                      <a:pt x="35498" y="54779"/>
                    </a:cubicBezTo>
                    <a:cubicBezTo>
                      <a:pt x="40169" y="52076"/>
                      <a:pt x="41782" y="46076"/>
                      <a:pt x="39079" y="41404"/>
                    </a:cubicBezTo>
                    <a:lnTo>
                      <a:pt x="20842" y="9816"/>
                    </a:lnTo>
                    <a:cubicBezTo>
                      <a:pt x="19040" y="6686"/>
                      <a:pt x="20107" y="2678"/>
                      <a:pt x="23237" y="876"/>
                    </a:cubicBezTo>
                    <a:cubicBezTo>
                      <a:pt x="26368" y="-927"/>
                      <a:pt x="30375" y="141"/>
                      <a:pt x="32178" y="3271"/>
                    </a:cubicBezTo>
                    <a:lnTo>
                      <a:pt x="50414" y="34859"/>
                    </a:lnTo>
                    <a:cubicBezTo>
                      <a:pt x="56723" y="45792"/>
                      <a:pt x="52952" y="59831"/>
                      <a:pt x="42043" y="66139"/>
                    </a:cubicBezTo>
                    <a:cubicBezTo>
                      <a:pt x="38438" y="68178"/>
                      <a:pt x="34525" y="69174"/>
                      <a:pt x="30636" y="69174"/>
                    </a:cubicBezTo>
                    <a:close/>
                  </a:path>
                </a:pathLst>
              </a:custGeom>
              <a:solidFill>
                <a:schemeClr val="accent1"/>
              </a:solidFill>
              <a:ln w="2369" cap="flat">
                <a:noFill/>
                <a:prstDash val="solid"/>
                <a:miter/>
              </a:ln>
            </p:spPr>
            <p:txBody>
              <a:bodyPr rtlCol="0" anchor="ctr"/>
              <a:lstStyle/>
              <a:p>
                <a:endParaRPr lang="en-GB" dirty="0"/>
              </a:p>
            </p:txBody>
          </p:sp>
          <p:grpSp>
            <p:nvGrpSpPr>
              <p:cNvPr id="538" name="Grafik 324">
                <a:extLst>
                  <a:ext uri="{FF2B5EF4-FFF2-40B4-BE49-F238E27FC236}">
                    <a16:creationId xmlns:a16="http://schemas.microsoft.com/office/drawing/2014/main" id="{61F90054-24C2-4F34-81B9-1006D0B32ECC}"/>
                  </a:ext>
                </a:extLst>
              </p:cNvPr>
              <p:cNvGrpSpPr/>
              <p:nvPr/>
            </p:nvGrpSpPr>
            <p:grpSpPr>
              <a:xfrm>
                <a:off x="3418952" y="2687898"/>
                <a:ext cx="205961" cy="140199"/>
                <a:chOff x="3418952" y="2687898"/>
                <a:chExt cx="205961" cy="140199"/>
              </a:xfrm>
              <a:solidFill>
                <a:schemeClr val="accent1"/>
              </a:solidFill>
            </p:grpSpPr>
            <p:sp>
              <p:nvSpPr>
                <p:cNvPr id="539" name="Freihandform: Form 403">
                  <a:extLst>
                    <a:ext uri="{FF2B5EF4-FFF2-40B4-BE49-F238E27FC236}">
                      <a16:creationId xmlns:a16="http://schemas.microsoft.com/office/drawing/2014/main" id="{F710E006-B3FC-4FC9-AF2C-751A542556F6}"/>
                    </a:ext>
                  </a:extLst>
                </p:cNvPr>
                <p:cNvSpPr/>
                <p:nvPr/>
              </p:nvSpPr>
              <p:spPr>
                <a:xfrm>
                  <a:off x="3418952" y="2748757"/>
                  <a:ext cx="73895" cy="47586"/>
                </a:xfrm>
                <a:custGeom>
                  <a:avLst/>
                  <a:gdLst>
                    <a:gd name="connsiteX0" fmla="*/ 34315 w 73895"/>
                    <a:gd name="connsiteY0" fmla="*/ 47587 h 47586"/>
                    <a:gd name="connsiteX1" fmla="*/ 31138 w 73895"/>
                    <a:gd name="connsiteY1" fmla="*/ 46757 h 47586"/>
                    <a:gd name="connsiteX2" fmla="*/ 3368 w 73895"/>
                    <a:gd name="connsiteY2" fmla="*/ 31342 h 47586"/>
                    <a:gd name="connsiteX3" fmla="*/ 0 w 73895"/>
                    <a:gd name="connsiteY3" fmla="*/ 25674 h 47586"/>
                    <a:gd name="connsiteX4" fmla="*/ 3273 w 73895"/>
                    <a:gd name="connsiteY4" fmla="*/ 19935 h 47586"/>
                    <a:gd name="connsiteX5" fmla="*/ 36308 w 73895"/>
                    <a:gd name="connsiteY5" fmla="*/ 869 h 47586"/>
                    <a:gd name="connsiteX6" fmla="*/ 42758 w 73895"/>
                    <a:gd name="connsiteY6" fmla="*/ 821 h 47586"/>
                    <a:gd name="connsiteX7" fmla="*/ 70528 w 73895"/>
                    <a:gd name="connsiteY7" fmla="*/ 16236 h 47586"/>
                    <a:gd name="connsiteX8" fmla="*/ 73896 w 73895"/>
                    <a:gd name="connsiteY8" fmla="*/ 21904 h 47586"/>
                    <a:gd name="connsiteX9" fmla="*/ 70623 w 73895"/>
                    <a:gd name="connsiteY9" fmla="*/ 27643 h 47586"/>
                    <a:gd name="connsiteX10" fmla="*/ 37588 w 73895"/>
                    <a:gd name="connsiteY10" fmla="*/ 46709 h 47586"/>
                    <a:gd name="connsiteX11" fmla="*/ 34315 w 73895"/>
                    <a:gd name="connsiteY11" fmla="*/ 47587 h 47586"/>
                    <a:gd name="connsiteX12" fmla="*/ 19826 w 73895"/>
                    <a:gd name="connsiteY12" fmla="*/ 25508 h 47586"/>
                    <a:gd name="connsiteX13" fmla="*/ 34245 w 73895"/>
                    <a:gd name="connsiteY13" fmla="*/ 33524 h 47586"/>
                    <a:gd name="connsiteX14" fmla="*/ 54046 w 73895"/>
                    <a:gd name="connsiteY14" fmla="*/ 22093 h 47586"/>
                    <a:gd name="connsiteX15" fmla="*/ 39628 w 73895"/>
                    <a:gd name="connsiteY15" fmla="*/ 14102 h 47586"/>
                    <a:gd name="connsiteX16" fmla="*/ 19826 w 73895"/>
                    <a:gd name="connsiteY16" fmla="*/ 25508 h 4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3895" h="47586">
                      <a:moveTo>
                        <a:pt x="34315" y="47587"/>
                      </a:moveTo>
                      <a:cubicBezTo>
                        <a:pt x="33225" y="47587"/>
                        <a:pt x="32134" y="47302"/>
                        <a:pt x="31138" y="46757"/>
                      </a:cubicBezTo>
                      <a:lnTo>
                        <a:pt x="3368" y="31342"/>
                      </a:lnTo>
                      <a:cubicBezTo>
                        <a:pt x="1305" y="30204"/>
                        <a:pt x="24" y="28022"/>
                        <a:pt x="0" y="25674"/>
                      </a:cubicBezTo>
                      <a:cubicBezTo>
                        <a:pt x="-23" y="23303"/>
                        <a:pt x="1234" y="21121"/>
                        <a:pt x="3273" y="19935"/>
                      </a:cubicBezTo>
                      <a:lnTo>
                        <a:pt x="36308" y="869"/>
                      </a:lnTo>
                      <a:cubicBezTo>
                        <a:pt x="38300" y="-270"/>
                        <a:pt x="40742" y="-293"/>
                        <a:pt x="42758" y="821"/>
                      </a:cubicBezTo>
                      <a:lnTo>
                        <a:pt x="70528" y="16236"/>
                      </a:lnTo>
                      <a:cubicBezTo>
                        <a:pt x="72591" y="17374"/>
                        <a:pt x="73872" y="19556"/>
                        <a:pt x="73896" y="21904"/>
                      </a:cubicBezTo>
                      <a:cubicBezTo>
                        <a:pt x="73919" y="24275"/>
                        <a:pt x="72662" y="26457"/>
                        <a:pt x="70623" y="27643"/>
                      </a:cubicBezTo>
                      <a:lnTo>
                        <a:pt x="37588" y="46709"/>
                      </a:lnTo>
                      <a:cubicBezTo>
                        <a:pt x="36569" y="47278"/>
                        <a:pt x="35430" y="47587"/>
                        <a:pt x="34315" y="47587"/>
                      </a:cubicBezTo>
                      <a:close/>
                      <a:moveTo>
                        <a:pt x="19826" y="25508"/>
                      </a:moveTo>
                      <a:lnTo>
                        <a:pt x="34245" y="33524"/>
                      </a:lnTo>
                      <a:lnTo>
                        <a:pt x="54046" y="22093"/>
                      </a:lnTo>
                      <a:lnTo>
                        <a:pt x="39628" y="14102"/>
                      </a:lnTo>
                      <a:lnTo>
                        <a:pt x="19826" y="25508"/>
                      </a:lnTo>
                      <a:close/>
                    </a:path>
                  </a:pathLst>
                </a:custGeom>
                <a:solidFill>
                  <a:schemeClr val="accent1"/>
                </a:solidFill>
                <a:ln w="2369" cap="flat">
                  <a:noFill/>
                  <a:prstDash val="solid"/>
                  <a:miter/>
                </a:ln>
              </p:spPr>
              <p:txBody>
                <a:bodyPr rtlCol="0" anchor="ctr"/>
                <a:lstStyle/>
                <a:p>
                  <a:endParaRPr lang="en-GB" dirty="0"/>
                </a:p>
              </p:txBody>
            </p:sp>
            <p:sp>
              <p:nvSpPr>
                <p:cNvPr id="540" name="Freihandform: Form 404">
                  <a:extLst>
                    <a:ext uri="{FF2B5EF4-FFF2-40B4-BE49-F238E27FC236}">
                      <a16:creationId xmlns:a16="http://schemas.microsoft.com/office/drawing/2014/main" id="{04586C6F-BF14-4286-9EA0-1E036249AC6C}"/>
                    </a:ext>
                  </a:extLst>
                </p:cNvPr>
                <p:cNvSpPr/>
                <p:nvPr/>
              </p:nvSpPr>
              <p:spPr>
                <a:xfrm>
                  <a:off x="3446175" y="2764163"/>
                  <a:ext cx="46649" cy="63934"/>
                </a:xfrm>
                <a:custGeom>
                  <a:avLst/>
                  <a:gdLst>
                    <a:gd name="connsiteX0" fmla="*/ 6547 w 46649"/>
                    <a:gd name="connsiteY0" fmla="*/ 63935 h 63934"/>
                    <a:gd name="connsiteX1" fmla="*/ 3226 w 46649"/>
                    <a:gd name="connsiteY1" fmla="*/ 63034 h 63934"/>
                    <a:gd name="connsiteX2" fmla="*/ 1 w 46649"/>
                    <a:gd name="connsiteY2" fmla="*/ 57271 h 63934"/>
                    <a:gd name="connsiteX3" fmla="*/ 523 w 46649"/>
                    <a:gd name="connsiteY3" fmla="*/ 25517 h 63934"/>
                    <a:gd name="connsiteX4" fmla="*/ 3796 w 46649"/>
                    <a:gd name="connsiteY4" fmla="*/ 19944 h 63934"/>
                    <a:gd name="connsiteX5" fmla="*/ 36830 w 46649"/>
                    <a:gd name="connsiteY5" fmla="*/ 878 h 63934"/>
                    <a:gd name="connsiteX6" fmla="*/ 43423 w 46649"/>
                    <a:gd name="connsiteY6" fmla="*/ 901 h 63934"/>
                    <a:gd name="connsiteX7" fmla="*/ 46648 w 46649"/>
                    <a:gd name="connsiteY7" fmla="*/ 6664 h 63934"/>
                    <a:gd name="connsiteX8" fmla="*/ 46127 w 46649"/>
                    <a:gd name="connsiteY8" fmla="*/ 38418 h 63934"/>
                    <a:gd name="connsiteX9" fmla="*/ 42854 w 46649"/>
                    <a:gd name="connsiteY9" fmla="*/ 43991 h 63934"/>
                    <a:gd name="connsiteX10" fmla="*/ 9819 w 46649"/>
                    <a:gd name="connsiteY10" fmla="*/ 63058 h 63934"/>
                    <a:gd name="connsiteX11" fmla="*/ 6547 w 46649"/>
                    <a:gd name="connsiteY11" fmla="*/ 63935 h 63934"/>
                    <a:gd name="connsiteX12" fmla="*/ 13566 w 46649"/>
                    <a:gd name="connsiteY12" fmla="*/ 29454 h 63934"/>
                    <a:gd name="connsiteX13" fmla="*/ 13282 w 46649"/>
                    <a:gd name="connsiteY13" fmla="*/ 45936 h 63934"/>
                    <a:gd name="connsiteX14" fmla="*/ 33084 w 46649"/>
                    <a:gd name="connsiteY14" fmla="*/ 34505 h 63934"/>
                    <a:gd name="connsiteX15" fmla="*/ 33368 w 46649"/>
                    <a:gd name="connsiteY15" fmla="*/ 18023 h 63934"/>
                    <a:gd name="connsiteX16" fmla="*/ 13566 w 46649"/>
                    <a:gd name="connsiteY16" fmla="*/ 29454 h 63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649" h="63934">
                      <a:moveTo>
                        <a:pt x="6547" y="63935"/>
                      </a:moveTo>
                      <a:cubicBezTo>
                        <a:pt x="5385" y="63935"/>
                        <a:pt x="4246" y="63627"/>
                        <a:pt x="3226" y="63034"/>
                      </a:cubicBezTo>
                      <a:cubicBezTo>
                        <a:pt x="1187" y="61848"/>
                        <a:pt x="-46" y="59643"/>
                        <a:pt x="1" y="57271"/>
                      </a:cubicBezTo>
                      <a:lnTo>
                        <a:pt x="523" y="25517"/>
                      </a:lnTo>
                      <a:cubicBezTo>
                        <a:pt x="570" y="23217"/>
                        <a:pt x="1804" y="21106"/>
                        <a:pt x="3796" y="19944"/>
                      </a:cubicBezTo>
                      <a:lnTo>
                        <a:pt x="36830" y="878"/>
                      </a:lnTo>
                      <a:cubicBezTo>
                        <a:pt x="38870" y="-308"/>
                        <a:pt x="41407" y="-284"/>
                        <a:pt x="43423" y="901"/>
                      </a:cubicBezTo>
                      <a:cubicBezTo>
                        <a:pt x="45463" y="2087"/>
                        <a:pt x="46696" y="4292"/>
                        <a:pt x="46648" y="6664"/>
                      </a:cubicBezTo>
                      <a:lnTo>
                        <a:pt x="46127" y="38418"/>
                      </a:lnTo>
                      <a:cubicBezTo>
                        <a:pt x="46079" y="40718"/>
                        <a:pt x="44846" y="42829"/>
                        <a:pt x="42854" y="43991"/>
                      </a:cubicBezTo>
                      <a:lnTo>
                        <a:pt x="9819" y="63058"/>
                      </a:lnTo>
                      <a:cubicBezTo>
                        <a:pt x="8823" y="63650"/>
                        <a:pt x="7685" y="63935"/>
                        <a:pt x="6547" y="63935"/>
                      </a:cubicBezTo>
                      <a:close/>
                      <a:moveTo>
                        <a:pt x="13566" y="29454"/>
                      </a:moveTo>
                      <a:lnTo>
                        <a:pt x="13282" y="45936"/>
                      </a:lnTo>
                      <a:lnTo>
                        <a:pt x="33084" y="34505"/>
                      </a:lnTo>
                      <a:lnTo>
                        <a:pt x="33368" y="18023"/>
                      </a:lnTo>
                      <a:lnTo>
                        <a:pt x="13566" y="29454"/>
                      </a:lnTo>
                      <a:close/>
                    </a:path>
                  </a:pathLst>
                </a:custGeom>
                <a:solidFill>
                  <a:schemeClr val="accent1"/>
                </a:solidFill>
                <a:ln w="2369" cap="flat">
                  <a:noFill/>
                  <a:prstDash val="solid"/>
                  <a:miter/>
                </a:ln>
              </p:spPr>
              <p:txBody>
                <a:bodyPr rtlCol="0" anchor="ctr"/>
                <a:lstStyle/>
                <a:p>
                  <a:endParaRPr lang="en-GB" dirty="0"/>
                </a:p>
              </p:txBody>
            </p:sp>
            <p:sp>
              <p:nvSpPr>
                <p:cNvPr id="541" name="Freihandform: Form 405">
                  <a:extLst>
                    <a:ext uri="{FF2B5EF4-FFF2-40B4-BE49-F238E27FC236}">
                      <a16:creationId xmlns:a16="http://schemas.microsoft.com/office/drawing/2014/main" id="{2C3D7F0D-1D28-41DA-B57D-54274E35A9D0}"/>
                    </a:ext>
                  </a:extLst>
                </p:cNvPr>
                <p:cNvSpPr/>
                <p:nvPr/>
              </p:nvSpPr>
              <p:spPr>
                <a:xfrm>
                  <a:off x="3432542" y="2687898"/>
                  <a:ext cx="192370" cy="116603"/>
                </a:xfrm>
                <a:custGeom>
                  <a:avLst/>
                  <a:gdLst>
                    <a:gd name="connsiteX0" fmla="*/ 6567 w 192370"/>
                    <a:gd name="connsiteY0" fmla="*/ 116604 h 116603"/>
                    <a:gd name="connsiteX1" fmla="*/ 876 w 192370"/>
                    <a:gd name="connsiteY1" fmla="*/ 113331 h 116603"/>
                    <a:gd name="connsiteX2" fmla="*/ 3271 w 192370"/>
                    <a:gd name="connsiteY2" fmla="*/ 104391 h 116603"/>
                    <a:gd name="connsiteX3" fmla="*/ 182554 w 192370"/>
                    <a:gd name="connsiteY3" fmla="*/ 876 h 116603"/>
                    <a:gd name="connsiteX4" fmla="*/ 191495 w 192370"/>
                    <a:gd name="connsiteY4" fmla="*/ 3271 h 116603"/>
                    <a:gd name="connsiteX5" fmla="*/ 189100 w 192370"/>
                    <a:gd name="connsiteY5" fmla="*/ 12211 h 116603"/>
                    <a:gd name="connsiteX6" fmla="*/ 9816 w 192370"/>
                    <a:gd name="connsiteY6" fmla="*/ 115726 h 116603"/>
                    <a:gd name="connsiteX7" fmla="*/ 6567 w 192370"/>
                    <a:gd name="connsiteY7" fmla="*/ 116604 h 116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370" h="116603">
                      <a:moveTo>
                        <a:pt x="6567" y="116604"/>
                      </a:moveTo>
                      <a:cubicBezTo>
                        <a:pt x="4291" y="116604"/>
                        <a:pt x="2109" y="115418"/>
                        <a:pt x="876" y="113331"/>
                      </a:cubicBezTo>
                      <a:cubicBezTo>
                        <a:pt x="-927" y="110201"/>
                        <a:pt x="141" y="106193"/>
                        <a:pt x="3271" y="104391"/>
                      </a:cubicBezTo>
                      <a:lnTo>
                        <a:pt x="182554" y="876"/>
                      </a:lnTo>
                      <a:cubicBezTo>
                        <a:pt x="185661" y="-926"/>
                        <a:pt x="189692" y="141"/>
                        <a:pt x="191495" y="3271"/>
                      </a:cubicBezTo>
                      <a:cubicBezTo>
                        <a:pt x="193297" y="6401"/>
                        <a:pt x="192230" y="10409"/>
                        <a:pt x="189100" y="12211"/>
                      </a:cubicBezTo>
                      <a:lnTo>
                        <a:pt x="9816" y="115726"/>
                      </a:lnTo>
                      <a:cubicBezTo>
                        <a:pt x="8820" y="116343"/>
                        <a:pt x="7682" y="116604"/>
                        <a:pt x="6567" y="116604"/>
                      </a:cubicBezTo>
                      <a:close/>
                    </a:path>
                  </a:pathLst>
                </a:custGeom>
                <a:solidFill>
                  <a:schemeClr val="accent1"/>
                </a:solidFill>
                <a:ln w="2369" cap="flat">
                  <a:noFill/>
                  <a:prstDash val="solid"/>
                  <a:miter/>
                </a:ln>
              </p:spPr>
              <p:txBody>
                <a:bodyPr rtlCol="0" anchor="ctr"/>
                <a:lstStyle/>
                <a:p>
                  <a:endParaRPr lang="en-GB" dirty="0"/>
                </a:p>
              </p:txBody>
            </p:sp>
          </p:grpSp>
        </p:grpSp>
        <p:grpSp>
          <p:nvGrpSpPr>
            <p:cNvPr id="524" name="Grafik 324">
              <a:extLst>
                <a:ext uri="{FF2B5EF4-FFF2-40B4-BE49-F238E27FC236}">
                  <a16:creationId xmlns:a16="http://schemas.microsoft.com/office/drawing/2014/main" id="{36A31A3C-7E41-423A-8EFF-514BD661423E}"/>
                </a:ext>
              </a:extLst>
            </p:cNvPr>
            <p:cNvGrpSpPr/>
            <p:nvPr/>
          </p:nvGrpSpPr>
          <p:grpSpPr>
            <a:xfrm>
              <a:off x="5238019" y="3197068"/>
              <a:ext cx="186708" cy="336881"/>
              <a:chOff x="3654807" y="2445603"/>
              <a:chExt cx="185780" cy="335207"/>
            </a:xfrm>
            <a:solidFill>
              <a:schemeClr val="tx2"/>
            </a:solidFill>
          </p:grpSpPr>
          <p:grpSp>
            <p:nvGrpSpPr>
              <p:cNvPr id="525" name="Grafik 324">
                <a:extLst>
                  <a:ext uri="{FF2B5EF4-FFF2-40B4-BE49-F238E27FC236}">
                    <a16:creationId xmlns:a16="http://schemas.microsoft.com/office/drawing/2014/main" id="{36D3E355-C12D-41B1-B5F6-EB6904C483B1}"/>
                  </a:ext>
                </a:extLst>
              </p:cNvPr>
              <p:cNvGrpSpPr/>
              <p:nvPr/>
            </p:nvGrpSpPr>
            <p:grpSpPr>
              <a:xfrm>
                <a:off x="3654807" y="2470225"/>
                <a:ext cx="185780" cy="284191"/>
                <a:chOff x="3654807" y="2470225"/>
                <a:chExt cx="185780" cy="284191"/>
              </a:xfrm>
              <a:grpFill/>
            </p:grpSpPr>
            <p:sp>
              <p:nvSpPr>
                <p:cNvPr id="528" name="Freihandform: Form 408">
                  <a:extLst>
                    <a:ext uri="{FF2B5EF4-FFF2-40B4-BE49-F238E27FC236}">
                      <a16:creationId xmlns:a16="http://schemas.microsoft.com/office/drawing/2014/main" id="{906A489B-91DC-4304-8D9B-D79104F6E880}"/>
                    </a:ext>
                  </a:extLst>
                </p:cNvPr>
                <p:cNvSpPr/>
                <p:nvPr/>
              </p:nvSpPr>
              <p:spPr>
                <a:xfrm>
                  <a:off x="3654807" y="2470225"/>
                  <a:ext cx="185780" cy="284191"/>
                </a:xfrm>
                <a:custGeom>
                  <a:avLst/>
                  <a:gdLst>
                    <a:gd name="connsiteX0" fmla="*/ 130965 w 185780"/>
                    <a:gd name="connsiteY0" fmla="*/ 284191 h 284191"/>
                    <a:gd name="connsiteX1" fmla="*/ 126649 w 185780"/>
                    <a:gd name="connsiteY1" fmla="*/ 284049 h 284191"/>
                    <a:gd name="connsiteX2" fmla="*/ 99045 w 185780"/>
                    <a:gd name="connsiteY2" fmla="*/ 270105 h 284191"/>
                    <a:gd name="connsiteX3" fmla="*/ 98239 w 185780"/>
                    <a:gd name="connsiteY3" fmla="*/ 269204 h 284191"/>
                    <a:gd name="connsiteX4" fmla="*/ 13269 w 185780"/>
                    <a:gd name="connsiteY4" fmla="*/ 146148 h 284191"/>
                    <a:gd name="connsiteX5" fmla="*/ 58019 w 185780"/>
                    <a:gd name="connsiteY5" fmla="*/ 12468 h 284191"/>
                    <a:gd name="connsiteX6" fmla="*/ 59038 w 185780"/>
                    <a:gd name="connsiteY6" fmla="*/ 11828 h 284191"/>
                    <a:gd name="connsiteX7" fmla="*/ 124657 w 185780"/>
                    <a:gd name="connsiteY7" fmla="*/ 4405 h 284191"/>
                    <a:gd name="connsiteX8" fmla="*/ 171802 w 185780"/>
                    <a:gd name="connsiteY8" fmla="*/ 57052 h 284191"/>
                    <a:gd name="connsiteX9" fmla="*/ 167723 w 185780"/>
                    <a:gd name="connsiteY9" fmla="*/ 65376 h 284191"/>
                    <a:gd name="connsiteX10" fmla="*/ 159399 w 185780"/>
                    <a:gd name="connsiteY10" fmla="*/ 61320 h 284191"/>
                    <a:gd name="connsiteX11" fmla="*/ 119748 w 185780"/>
                    <a:gd name="connsiteY11" fmla="*/ 16571 h 284191"/>
                    <a:gd name="connsiteX12" fmla="*/ 65465 w 185780"/>
                    <a:gd name="connsiteY12" fmla="*/ 23258 h 284191"/>
                    <a:gd name="connsiteX13" fmla="*/ 24842 w 185780"/>
                    <a:gd name="connsiteY13" fmla="*/ 140030 h 284191"/>
                    <a:gd name="connsiteX14" fmla="*/ 108294 w 185780"/>
                    <a:gd name="connsiteY14" fmla="*/ 260809 h 284191"/>
                    <a:gd name="connsiteX15" fmla="*/ 127930 w 185780"/>
                    <a:gd name="connsiteY15" fmla="*/ 271006 h 284191"/>
                    <a:gd name="connsiteX16" fmla="*/ 162031 w 185780"/>
                    <a:gd name="connsiteY16" fmla="*/ 259741 h 284191"/>
                    <a:gd name="connsiteX17" fmla="*/ 172632 w 185780"/>
                    <a:gd name="connsiteY17" fmla="*/ 228651 h 284191"/>
                    <a:gd name="connsiteX18" fmla="*/ 178916 w 185780"/>
                    <a:gd name="connsiteY18" fmla="*/ 221845 h 284191"/>
                    <a:gd name="connsiteX19" fmla="*/ 185722 w 185780"/>
                    <a:gd name="connsiteY19" fmla="*/ 228130 h 284191"/>
                    <a:gd name="connsiteX20" fmla="*/ 171161 w 185780"/>
                    <a:gd name="connsiteY20" fmla="*/ 269133 h 284191"/>
                    <a:gd name="connsiteX21" fmla="*/ 130965 w 185780"/>
                    <a:gd name="connsiteY21" fmla="*/ 284191 h 284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5780" h="284191">
                      <a:moveTo>
                        <a:pt x="130965" y="284191"/>
                      </a:moveTo>
                      <a:cubicBezTo>
                        <a:pt x="129542" y="284191"/>
                        <a:pt x="128095" y="284144"/>
                        <a:pt x="126649" y="284049"/>
                      </a:cubicBezTo>
                      <a:cubicBezTo>
                        <a:pt x="116499" y="282697"/>
                        <a:pt x="108152" y="278405"/>
                        <a:pt x="99045" y="270105"/>
                      </a:cubicBezTo>
                      <a:lnTo>
                        <a:pt x="98239" y="269204"/>
                      </a:lnTo>
                      <a:cubicBezTo>
                        <a:pt x="95583" y="265694"/>
                        <a:pt x="33023" y="182669"/>
                        <a:pt x="13269" y="146148"/>
                      </a:cubicBezTo>
                      <a:cubicBezTo>
                        <a:pt x="-26287" y="69478"/>
                        <a:pt x="32786" y="29543"/>
                        <a:pt x="58019" y="12468"/>
                      </a:cubicBezTo>
                      <a:lnTo>
                        <a:pt x="59038" y="11828"/>
                      </a:lnTo>
                      <a:cubicBezTo>
                        <a:pt x="82990" y="-860"/>
                        <a:pt x="105045" y="-3350"/>
                        <a:pt x="124657" y="4405"/>
                      </a:cubicBezTo>
                      <a:cubicBezTo>
                        <a:pt x="157952" y="17567"/>
                        <a:pt x="171256" y="55439"/>
                        <a:pt x="171802" y="57052"/>
                      </a:cubicBezTo>
                      <a:cubicBezTo>
                        <a:pt x="172964" y="60467"/>
                        <a:pt x="171138" y="64190"/>
                        <a:pt x="167723" y="65376"/>
                      </a:cubicBezTo>
                      <a:cubicBezTo>
                        <a:pt x="164308" y="66538"/>
                        <a:pt x="160585" y="64735"/>
                        <a:pt x="159399" y="61320"/>
                      </a:cubicBezTo>
                      <a:cubicBezTo>
                        <a:pt x="159280" y="60988"/>
                        <a:pt x="147399" y="27456"/>
                        <a:pt x="119748" y="16571"/>
                      </a:cubicBezTo>
                      <a:cubicBezTo>
                        <a:pt x="103954" y="10357"/>
                        <a:pt x="85693" y="12610"/>
                        <a:pt x="65465" y="23258"/>
                      </a:cubicBezTo>
                      <a:cubicBezTo>
                        <a:pt x="38904" y="41234"/>
                        <a:pt x="-9189" y="74079"/>
                        <a:pt x="24842" y="140030"/>
                      </a:cubicBezTo>
                      <a:cubicBezTo>
                        <a:pt x="43291" y="174155"/>
                        <a:pt x="103005" y="253789"/>
                        <a:pt x="108294" y="260809"/>
                      </a:cubicBezTo>
                      <a:cubicBezTo>
                        <a:pt x="117045" y="268658"/>
                        <a:pt x="123376" y="270389"/>
                        <a:pt x="127930" y="271006"/>
                      </a:cubicBezTo>
                      <a:cubicBezTo>
                        <a:pt x="141044" y="271812"/>
                        <a:pt x="153921" y="267638"/>
                        <a:pt x="162031" y="259741"/>
                      </a:cubicBezTo>
                      <a:cubicBezTo>
                        <a:pt x="169596" y="252366"/>
                        <a:pt x="173153" y="241908"/>
                        <a:pt x="172632" y="228651"/>
                      </a:cubicBezTo>
                      <a:cubicBezTo>
                        <a:pt x="172490" y="225047"/>
                        <a:pt x="175312" y="221988"/>
                        <a:pt x="178916" y="221845"/>
                      </a:cubicBezTo>
                      <a:cubicBezTo>
                        <a:pt x="182639" y="221656"/>
                        <a:pt x="185580" y="224525"/>
                        <a:pt x="185722" y="228130"/>
                      </a:cubicBezTo>
                      <a:cubicBezTo>
                        <a:pt x="186386" y="245038"/>
                        <a:pt x="181359" y="259196"/>
                        <a:pt x="171161" y="269133"/>
                      </a:cubicBezTo>
                      <a:cubicBezTo>
                        <a:pt x="161391" y="278713"/>
                        <a:pt x="146593" y="284191"/>
                        <a:pt x="130965" y="284191"/>
                      </a:cubicBezTo>
                      <a:close/>
                    </a:path>
                  </a:pathLst>
                </a:custGeom>
                <a:grpFill/>
                <a:ln w="2369" cap="flat">
                  <a:noFill/>
                  <a:prstDash val="solid"/>
                  <a:miter/>
                </a:ln>
              </p:spPr>
              <p:txBody>
                <a:bodyPr rtlCol="0" anchor="ctr"/>
                <a:lstStyle/>
                <a:p>
                  <a:endParaRPr lang="en-GB" dirty="0"/>
                </a:p>
              </p:txBody>
            </p:sp>
            <p:sp>
              <p:nvSpPr>
                <p:cNvPr id="529" name="Freihandform: Form 409">
                  <a:extLst>
                    <a:ext uri="{FF2B5EF4-FFF2-40B4-BE49-F238E27FC236}">
                      <a16:creationId xmlns:a16="http://schemas.microsoft.com/office/drawing/2014/main" id="{E3057131-E638-4FB7-B9C3-EDC2DFB85E22}"/>
                    </a:ext>
                  </a:extLst>
                </p:cNvPr>
                <p:cNvSpPr/>
                <p:nvPr/>
              </p:nvSpPr>
              <p:spPr>
                <a:xfrm>
                  <a:off x="3698441" y="2510748"/>
                  <a:ext cx="105875" cy="114352"/>
                </a:xfrm>
                <a:custGeom>
                  <a:avLst/>
                  <a:gdLst>
                    <a:gd name="connsiteX0" fmla="*/ 99306 w 105875"/>
                    <a:gd name="connsiteY0" fmla="*/ 114352 h 114352"/>
                    <a:gd name="connsiteX1" fmla="*/ 71608 w 105875"/>
                    <a:gd name="connsiteY1" fmla="*/ 87389 h 114352"/>
                    <a:gd name="connsiteX2" fmla="*/ 75686 w 105875"/>
                    <a:gd name="connsiteY2" fmla="*/ 75128 h 114352"/>
                    <a:gd name="connsiteX3" fmla="*/ 80785 w 105875"/>
                    <a:gd name="connsiteY3" fmla="*/ 35999 h 114352"/>
                    <a:gd name="connsiteX4" fmla="*/ 54296 w 105875"/>
                    <a:gd name="connsiteY4" fmla="*/ 13802 h 114352"/>
                    <a:gd name="connsiteX5" fmla="*/ 49458 w 105875"/>
                    <a:gd name="connsiteY5" fmla="*/ 13091 h 114352"/>
                    <a:gd name="connsiteX6" fmla="*/ 27285 w 105875"/>
                    <a:gd name="connsiteY6" fmla="*/ 22055 h 114352"/>
                    <a:gd name="connsiteX7" fmla="*/ 13151 w 105875"/>
                    <a:gd name="connsiteY7" fmla="*/ 71524 h 114352"/>
                    <a:gd name="connsiteX8" fmla="*/ 6937 w 105875"/>
                    <a:gd name="connsiteY8" fmla="*/ 78377 h 114352"/>
                    <a:gd name="connsiteX9" fmla="*/ 60 w 105875"/>
                    <a:gd name="connsiteY9" fmla="*/ 72164 h 114352"/>
                    <a:gd name="connsiteX10" fmla="*/ 17799 w 105875"/>
                    <a:gd name="connsiteY10" fmla="*/ 13019 h 114352"/>
                    <a:gd name="connsiteX11" fmla="*/ 49458 w 105875"/>
                    <a:gd name="connsiteY11" fmla="*/ 0 h 114352"/>
                    <a:gd name="connsiteX12" fmla="*/ 56928 w 105875"/>
                    <a:gd name="connsiteY12" fmla="*/ 972 h 114352"/>
                    <a:gd name="connsiteX13" fmla="*/ 92975 w 105875"/>
                    <a:gd name="connsiteY13" fmla="*/ 31185 h 114352"/>
                    <a:gd name="connsiteX14" fmla="*/ 86406 w 105875"/>
                    <a:gd name="connsiteY14" fmla="*/ 82693 h 114352"/>
                    <a:gd name="connsiteX15" fmla="*/ 84722 w 105875"/>
                    <a:gd name="connsiteY15" fmla="*/ 87389 h 114352"/>
                    <a:gd name="connsiteX16" fmla="*/ 99330 w 105875"/>
                    <a:gd name="connsiteY16" fmla="*/ 101238 h 114352"/>
                    <a:gd name="connsiteX17" fmla="*/ 105875 w 105875"/>
                    <a:gd name="connsiteY17" fmla="*/ 107783 h 114352"/>
                    <a:gd name="connsiteX18" fmla="*/ 99306 w 105875"/>
                    <a:gd name="connsiteY18" fmla="*/ 114352 h 11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5875" h="114352">
                      <a:moveTo>
                        <a:pt x="99306" y="114352"/>
                      </a:moveTo>
                      <a:cubicBezTo>
                        <a:pt x="82990" y="114352"/>
                        <a:pt x="71608" y="103278"/>
                        <a:pt x="71608" y="87389"/>
                      </a:cubicBezTo>
                      <a:cubicBezTo>
                        <a:pt x="71608" y="83096"/>
                        <a:pt x="72983" y="78970"/>
                        <a:pt x="75686" y="75128"/>
                      </a:cubicBezTo>
                      <a:cubicBezTo>
                        <a:pt x="83939" y="63437"/>
                        <a:pt x="85836" y="48829"/>
                        <a:pt x="80785" y="35999"/>
                      </a:cubicBezTo>
                      <a:cubicBezTo>
                        <a:pt x="76208" y="24402"/>
                        <a:pt x="66533" y="16316"/>
                        <a:pt x="54296" y="13802"/>
                      </a:cubicBezTo>
                      <a:cubicBezTo>
                        <a:pt x="51521" y="13233"/>
                        <a:pt x="49837" y="13091"/>
                        <a:pt x="49458" y="13091"/>
                      </a:cubicBezTo>
                      <a:cubicBezTo>
                        <a:pt x="40280" y="13091"/>
                        <a:pt x="33024" y="16031"/>
                        <a:pt x="27285" y="22055"/>
                      </a:cubicBezTo>
                      <a:cubicBezTo>
                        <a:pt x="11704" y="38442"/>
                        <a:pt x="13127" y="71192"/>
                        <a:pt x="13151" y="71524"/>
                      </a:cubicBezTo>
                      <a:cubicBezTo>
                        <a:pt x="13340" y="75128"/>
                        <a:pt x="10542" y="78211"/>
                        <a:pt x="6937" y="78377"/>
                      </a:cubicBezTo>
                      <a:cubicBezTo>
                        <a:pt x="3119" y="78543"/>
                        <a:pt x="250" y="75769"/>
                        <a:pt x="60" y="72164"/>
                      </a:cubicBezTo>
                      <a:cubicBezTo>
                        <a:pt x="-11" y="70599"/>
                        <a:pt x="-1624" y="33414"/>
                        <a:pt x="17799" y="13019"/>
                      </a:cubicBezTo>
                      <a:cubicBezTo>
                        <a:pt x="26028" y="4387"/>
                        <a:pt x="36676" y="0"/>
                        <a:pt x="49458" y="0"/>
                      </a:cubicBezTo>
                      <a:cubicBezTo>
                        <a:pt x="51213" y="0"/>
                        <a:pt x="53940" y="356"/>
                        <a:pt x="56928" y="972"/>
                      </a:cubicBezTo>
                      <a:cubicBezTo>
                        <a:pt x="73600" y="4387"/>
                        <a:pt x="86738" y="15415"/>
                        <a:pt x="92975" y="31185"/>
                      </a:cubicBezTo>
                      <a:cubicBezTo>
                        <a:pt x="99662" y="48117"/>
                        <a:pt x="97219" y="67374"/>
                        <a:pt x="86406" y="82693"/>
                      </a:cubicBezTo>
                      <a:cubicBezTo>
                        <a:pt x="85244" y="84330"/>
                        <a:pt x="84722" y="85824"/>
                        <a:pt x="84722" y="87389"/>
                      </a:cubicBezTo>
                      <a:cubicBezTo>
                        <a:pt x="84722" y="96068"/>
                        <a:pt x="90176" y="101238"/>
                        <a:pt x="99330" y="101238"/>
                      </a:cubicBezTo>
                      <a:cubicBezTo>
                        <a:pt x="102958" y="101238"/>
                        <a:pt x="105875" y="104179"/>
                        <a:pt x="105875" y="107783"/>
                      </a:cubicBezTo>
                      <a:cubicBezTo>
                        <a:pt x="105852" y="111435"/>
                        <a:pt x="102935" y="114352"/>
                        <a:pt x="99306" y="114352"/>
                      </a:cubicBezTo>
                      <a:close/>
                    </a:path>
                  </a:pathLst>
                </a:custGeom>
                <a:grpFill/>
                <a:ln w="2369" cap="flat">
                  <a:noFill/>
                  <a:prstDash val="solid"/>
                  <a:miter/>
                </a:ln>
              </p:spPr>
              <p:txBody>
                <a:bodyPr rtlCol="0" anchor="ctr"/>
                <a:lstStyle/>
                <a:p>
                  <a:endParaRPr lang="en-GB" dirty="0"/>
                </a:p>
              </p:txBody>
            </p:sp>
            <p:sp>
              <p:nvSpPr>
                <p:cNvPr id="530" name="Freihandform: Form 410">
                  <a:extLst>
                    <a:ext uri="{FF2B5EF4-FFF2-40B4-BE49-F238E27FC236}">
                      <a16:creationId xmlns:a16="http://schemas.microsoft.com/office/drawing/2014/main" id="{939BBDDE-5F04-410D-A0D1-D435EC24D01B}"/>
                    </a:ext>
                  </a:extLst>
                </p:cNvPr>
                <p:cNvSpPr/>
                <p:nvPr/>
              </p:nvSpPr>
              <p:spPr>
                <a:xfrm>
                  <a:off x="3735277" y="2635434"/>
                  <a:ext cx="70748" cy="53530"/>
                </a:xfrm>
                <a:custGeom>
                  <a:avLst/>
                  <a:gdLst>
                    <a:gd name="connsiteX0" fmla="*/ 45111 w 70748"/>
                    <a:gd name="connsiteY0" fmla="*/ 53530 h 53530"/>
                    <a:gd name="connsiteX1" fmla="*/ 36290 w 70748"/>
                    <a:gd name="connsiteY1" fmla="*/ 52178 h 53530"/>
                    <a:gd name="connsiteX2" fmla="*/ 338 w 70748"/>
                    <a:gd name="connsiteY2" fmla="*/ 8615 h 53530"/>
                    <a:gd name="connsiteX3" fmla="*/ 4464 w 70748"/>
                    <a:gd name="connsiteY3" fmla="*/ 338 h 53530"/>
                    <a:gd name="connsiteX4" fmla="*/ 12765 w 70748"/>
                    <a:gd name="connsiteY4" fmla="*/ 4464 h 53530"/>
                    <a:gd name="connsiteX5" fmla="*/ 40155 w 70748"/>
                    <a:gd name="connsiteY5" fmla="*/ 39681 h 53530"/>
                    <a:gd name="connsiteX6" fmla="*/ 60218 w 70748"/>
                    <a:gd name="connsiteY6" fmla="*/ 34274 h 53530"/>
                    <a:gd name="connsiteX7" fmla="*/ 69395 w 70748"/>
                    <a:gd name="connsiteY7" fmla="*/ 35507 h 53530"/>
                    <a:gd name="connsiteX8" fmla="*/ 68162 w 70748"/>
                    <a:gd name="connsiteY8" fmla="*/ 44685 h 53530"/>
                    <a:gd name="connsiteX9" fmla="*/ 45111 w 70748"/>
                    <a:gd name="connsiteY9" fmla="*/ 53530 h 53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748" h="53530">
                      <a:moveTo>
                        <a:pt x="45111" y="53530"/>
                      </a:moveTo>
                      <a:cubicBezTo>
                        <a:pt x="42147" y="53530"/>
                        <a:pt x="39207" y="53080"/>
                        <a:pt x="36290" y="52178"/>
                      </a:cubicBezTo>
                      <a:cubicBezTo>
                        <a:pt x="12741" y="44969"/>
                        <a:pt x="836" y="10085"/>
                        <a:pt x="338" y="8615"/>
                      </a:cubicBezTo>
                      <a:cubicBezTo>
                        <a:pt x="-800" y="5176"/>
                        <a:pt x="1026" y="1476"/>
                        <a:pt x="4464" y="338"/>
                      </a:cubicBezTo>
                      <a:cubicBezTo>
                        <a:pt x="7903" y="-800"/>
                        <a:pt x="11603" y="1026"/>
                        <a:pt x="12765" y="4464"/>
                      </a:cubicBezTo>
                      <a:cubicBezTo>
                        <a:pt x="15563" y="12788"/>
                        <a:pt x="25950" y="35341"/>
                        <a:pt x="40155" y="39681"/>
                      </a:cubicBezTo>
                      <a:cubicBezTo>
                        <a:pt x="46416" y="41602"/>
                        <a:pt x="52961" y="39823"/>
                        <a:pt x="60218" y="34274"/>
                      </a:cubicBezTo>
                      <a:cubicBezTo>
                        <a:pt x="63111" y="32068"/>
                        <a:pt x="67213" y="32638"/>
                        <a:pt x="69395" y="35507"/>
                      </a:cubicBezTo>
                      <a:cubicBezTo>
                        <a:pt x="71601" y="38376"/>
                        <a:pt x="71055" y="42503"/>
                        <a:pt x="68162" y="44685"/>
                      </a:cubicBezTo>
                      <a:cubicBezTo>
                        <a:pt x="60479" y="50566"/>
                        <a:pt x="52748" y="53530"/>
                        <a:pt x="45111" y="53530"/>
                      </a:cubicBezTo>
                      <a:close/>
                    </a:path>
                  </a:pathLst>
                </a:custGeom>
                <a:grpFill/>
                <a:ln w="2369" cap="flat">
                  <a:noFill/>
                  <a:prstDash val="solid"/>
                  <a:miter/>
                </a:ln>
              </p:spPr>
              <p:txBody>
                <a:bodyPr rtlCol="0" anchor="ctr"/>
                <a:lstStyle/>
                <a:p>
                  <a:endParaRPr lang="en-GB" dirty="0"/>
                </a:p>
              </p:txBody>
            </p:sp>
          </p:grpSp>
          <p:sp>
            <p:nvSpPr>
              <p:cNvPr id="526" name="Freihandform: Form 411">
                <a:extLst>
                  <a:ext uri="{FF2B5EF4-FFF2-40B4-BE49-F238E27FC236}">
                    <a16:creationId xmlns:a16="http://schemas.microsoft.com/office/drawing/2014/main" id="{AA257296-06BF-4DD9-BA33-434CCABB0296}"/>
                  </a:ext>
                </a:extLst>
              </p:cNvPr>
              <p:cNvSpPr/>
              <p:nvPr/>
            </p:nvSpPr>
            <p:spPr>
              <a:xfrm>
                <a:off x="3780934" y="2741516"/>
                <a:ext cx="13090" cy="39295"/>
              </a:xfrm>
              <a:custGeom>
                <a:avLst/>
                <a:gdLst>
                  <a:gd name="connsiteX0" fmla="*/ 6545 w 13090"/>
                  <a:gd name="connsiteY0" fmla="*/ 39295 h 39295"/>
                  <a:gd name="connsiteX1" fmla="*/ 0 w 13090"/>
                  <a:gd name="connsiteY1" fmla="*/ 32750 h 39295"/>
                  <a:gd name="connsiteX2" fmla="*/ 0 w 13090"/>
                  <a:gd name="connsiteY2" fmla="*/ 6545 h 39295"/>
                  <a:gd name="connsiteX3" fmla="*/ 6545 w 13090"/>
                  <a:gd name="connsiteY3" fmla="*/ 0 h 39295"/>
                  <a:gd name="connsiteX4" fmla="*/ 13091 w 13090"/>
                  <a:gd name="connsiteY4" fmla="*/ 6545 h 39295"/>
                  <a:gd name="connsiteX5" fmla="*/ 13091 w 13090"/>
                  <a:gd name="connsiteY5" fmla="*/ 32750 h 39295"/>
                  <a:gd name="connsiteX6" fmla="*/ 6545 w 13090"/>
                  <a:gd name="connsiteY6" fmla="*/ 39295 h 3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39295">
                    <a:moveTo>
                      <a:pt x="6545" y="39295"/>
                    </a:moveTo>
                    <a:cubicBezTo>
                      <a:pt x="2917" y="39295"/>
                      <a:pt x="0" y="36355"/>
                      <a:pt x="0" y="32750"/>
                    </a:cubicBezTo>
                    <a:lnTo>
                      <a:pt x="0" y="6545"/>
                    </a:lnTo>
                    <a:cubicBezTo>
                      <a:pt x="0" y="2917"/>
                      <a:pt x="2941" y="0"/>
                      <a:pt x="6545" y="0"/>
                    </a:cubicBezTo>
                    <a:cubicBezTo>
                      <a:pt x="10150" y="0"/>
                      <a:pt x="13091" y="2941"/>
                      <a:pt x="13091" y="6545"/>
                    </a:cubicBezTo>
                    <a:lnTo>
                      <a:pt x="13091" y="32750"/>
                    </a:lnTo>
                    <a:cubicBezTo>
                      <a:pt x="13091" y="36355"/>
                      <a:pt x="10174" y="39295"/>
                      <a:pt x="6545" y="39295"/>
                    </a:cubicBezTo>
                    <a:close/>
                  </a:path>
                </a:pathLst>
              </a:custGeom>
              <a:grpFill/>
              <a:ln w="2369" cap="flat">
                <a:noFill/>
                <a:prstDash val="solid"/>
                <a:miter/>
              </a:ln>
            </p:spPr>
            <p:txBody>
              <a:bodyPr rtlCol="0" anchor="ctr"/>
              <a:lstStyle/>
              <a:p>
                <a:endParaRPr lang="en-GB" dirty="0"/>
              </a:p>
            </p:txBody>
          </p:sp>
          <p:sp>
            <p:nvSpPr>
              <p:cNvPr id="527" name="Freihandform: Form 412">
                <a:extLst>
                  <a:ext uri="{FF2B5EF4-FFF2-40B4-BE49-F238E27FC236}">
                    <a16:creationId xmlns:a16="http://schemas.microsoft.com/office/drawing/2014/main" id="{CD5571F8-FAE9-4A4F-99DE-4C21D84B8AFA}"/>
                  </a:ext>
                </a:extLst>
              </p:cNvPr>
              <p:cNvSpPr/>
              <p:nvPr/>
            </p:nvSpPr>
            <p:spPr>
              <a:xfrm>
                <a:off x="3780934" y="2445603"/>
                <a:ext cx="13090" cy="45840"/>
              </a:xfrm>
              <a:custGeom>
                <a:avLst/>
                <a:gdLst>
                  <a:gd name="connsiteX0" fmla="*/ 6545 w 13090"/>
                  <a:gd name="connsiteY0" fmla="*/ 45841 h 45840"/>
                  <a:gd name="connsiteX1" fmla="*/ 0 w 13090"/>
                  <a:gd name="connsiteY1" fmla="*/ 39295 h 45840"/>
                  <a:gd name="connsiteX2" fmla="*/ 0 w 13090"/>
                  <a:gd name="connsiteY2" fmla="*/ 6545 h 45840"/>
                  <a:gd name="connsiteX3" fmla="*/ 6545 w 13090"/>
                  <a:gd name="connsiteY3" fmla="*/ 0 h 45840"/>
                  <a:gd name="connsiteX4" fmla="*/ 13091 w 13090"/>
                  <a:gd name="connsiteY4" fmla="*/ 6545 h 45840"/>
                  <a:gd name="connsiteX5" fmla="*/ 13091 w 13090"/>
                  <a:gd name="connsiteY5" fmla="*/ 39295 h 45840"/>
                  <a:gd name="connsiteX6" fmla="*/ 6545 w 13090"/>
                  <a:gd name="connsiteY6" fmla="*/ 45841 h 45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45840">
                    <a:moveTo>
                      <a:pt x="6545" y="45841"/>
                    </a:moveTo>
                    <a:cubicBezTo>
                      <a:pt x="2917" y="45841"/>
                      <a:pt x="0" y="42900"/>
                      <a:pt x="0" y="39295"/>
                    </a:cubicBezTo>
                    <a:lnTo>
                      <a:pt x="0" y="6545"/>
                    </a:lnTo>
                    <a:cubicBezTo>
                      <a:pt x="0" y="2917"/>
                      <a:pt x="2941" y="0"/>
                      <a:pt x="6545" y="0"/>
                    </a:cubicBezTo>
                    <a:cubicBezTo>
                      <a:pt x="10150" y="0"/>
                      <a:pt x="13091" y="2941"/>
                      <a:pt x="13091" y="6545"/>
                    </a:cubicBezTo>
                    <a:lnTo>
                      <a:pt x="13091" y="39295"/>
                    </a:lnTo>
                    <a:cubicBezTo>
                      <a:pt x="13091" y="42900"/>
                      <a:pt x="10174" y="45841"/>
                      <a:pt x="6545" y="45841"/>
                    </a:cubicBezTo>
                    <a:close/>
                  </a:path>
                </a:pathLst>
              </a:custGeom>
              <a:grpFill/>
              <a:ln w="2369" cap="flat">
                <a:noFill/>
                <a:prstDash val="solid"/>
                <a:miter/>
              </a:ln>
            </p:spPr>
            <p:txBody>
              <a:bodyPr rtlCol="0" anchor="ctr"/>
              <a:lstStyle/>
              <a:p>
                <a:endParaRPr lang="en-GB" dirty="0"/>
              </a:p>
            </p:txBody>
          </p:sp>
        </p:grpSp>
      </p:grpSp>
      <p:grpSp>
        <p:nvGrpSpPr>
          <p:cNvPr id="669" name="Group 668">
            <a:extLst>
              <a:ext uri="{FF2B5EF4-FFF2-40B4-BE49-F238E27FC236}">
                <a16:creationId xmlns:a16="http://schemas.microsoft.com/office/drawing/2014/main" id="{98065230-7348-0850-B50F-8DB5D329B701}"/>
              </a:ext>
            </a:extLst>
          </p:cNvPr>
          <p:cNvGrpSpPr/>
          <p:nvPr/>
        </p:nvGrpSpPr>
        <p:grpSpPr>
          <a:xfrm>
            <a:off x="6054605" y="3197068"/>
            <a:ext cx="403593" cy="432000"/>
            <a:chOff x="6054193" y="3197068"/>
            <a:chExt cx="403593" cy="432000"/>
          </a:xfrm>
        </p:grpSpPr>
        <p:grpSp>
          <p:nvGrpSpPr>
            <p:cNvPr id="543" name="Grafik 324">
              <a:extLst>
                <a:ext uri="{FF2B5EF4-FFF2-40B4-BE49-F238E27FC236}">
                  <a16:creationId xmlns:a16="http://schemas.microsoft.com/office/drawing/2014/main" id="{27EF92A6-4B92-43D4-9404-75FE3222D58B}"/>
                </a:ext>
              </a:extLst>
            </p:cNvPr>
            <p:cNvGrpSpPr/>
            <p:nvPr/>
          </p:nvGrpSpPr>
          <p:grpSpPr>
            <a:xfrm>
              <a:off x="6055188" y="3288737"/>
              <a:ext cx="400513" cy="235607"/>
              <a:chOff x="943016" y="3369387"/>
              <a:chExt cx="400873" cy="235819"/>
            </a:xfrm>
            <a:solidFill>
              <a:schemeClr val="tx2"/>
            </a:solidFill>
          </p:grpSpPr>
          <p:sp>
            <p:nvSpPr>
              <p:cNvPr id="553" name="Freihandform: Form 415">
                <a:extLst>
                  <a:ext uri="{FF2B5EF4-FFF2-40B4-BE49-F238E27FC236}">
                    <a16:creationId xmlns:a16="http://schemas.microsoft.com/office/drawing/2014/main" id="{7DEED638-DA1C-4F14-94E3-6FAA4A374287}"/>
                  </a:ext>
                </a:extLst>
              </p:cNvPr>
              <p:cNvSpPr/>
              <p:nvPr/>
            </p:nvSpPr>
            <p:spPr>
              <a:xfrm>
                <a:off x="943016" y="3369387"/>
                <a:ext cx="400873" cy="235819"/>
              </a:xfrm>
              <a:custGeom>
                <a:avLst/>
                <a:gdLst>
                  <a:gd name="connsiteX0" fmla="*/ 200437 w 400873"/>
                  <a:gd name="connsiteY0" fmla="*/ 235819 h 235819"/>
                  <a:gd name="connsiteX1" fmla="*/ 1897 w 400873"/>
                  <a:gd name="connsiteY1" fmla="*/ 121182 h 235819"/>
                  <a:gd name="connsiteX2" fmla="*/ 0 w 400873"/>
                  <a:gd name="connsiteY2" fmla="*/ 117910 h 235819"/>
                  <a:gd name="connsiteX3" fmla="*/ 1897 w 400873"/>
                  <a:gd name="connsiteY3" fmla="*/ 114637 h 235819"/>
                  <a:gd name="connsiteX4" fmla="*/ 200437 w 400873"/>
                  <a:gd name="connsiteY4" fmla="*/ 0 h 235819"/>
                  <a:gd name="connsiteX5" fmla="*/ 398977 w 400873"/>
                  <a:gd name="connsiteY5" fmla="*/ 114637 h 235819"/>
                  <a:gd name="connsiteX6" fmla="*/ 400874 w 400873"/>
                  <a:gd name="connsiteY6" fmla="*/ 117910 h 235819"/>
                  <a:gd name="connsiteX7" fmla="*/ 398977 w 400873"/>
                  <a:gd name="connsiteY7" fmla="*/ 121182 h 235819"/>
                  <a:gd name="connsiteX8" fmla="*/ 200437 w 400873"/>
                  <a:gd name="connsiteY8" fmla="*/ 235819 h 235819"/>
                  <a:gd name="connsiteX9" fmla="*/ 15177 w 400873"/>
                  <a:gd name="connsiteY9" fmla="*/ 117886 h 235819"/>
                  <a:gd name="connsiteX10" fmla="*/ 200437 w 400873"/>
                  <a:gd name="connsiteY10" fmla="*/ 222705 h 235819"/>
                  <a:gd name="connsiteX11" fmla="*/ 385696 w 400873"/>
                  <a:gd name="connsiteY11" fmla="*/ 117886 h 235819"/>
                  <a:gd name="connsiteX12" fmla="*/ 200437 w 400873"/>
                  <a:gd name="connsiteY12" fmla="*/ 13067 h 235819"/>
                  <a:gd name="connsiteX13" fmla="*/ 15177 w 400873"/>
                  <a:gd name="connsiteY13" fmla="*/ 117886 h 23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873" h="235819">
                    <a:moveTo>
                      <a:pt x="200437" y="235819"/>
                    </a:moveTo>
                    <a:cubicBezTo>
                      <a:pt x="118882" y="235819"/>
                      <a:pt x="42805" y="191900"/>
                      <a:pt x="1897" y="121182"/>
                    </a:cubicBezTo>
                    <a:lnTo>
                      <a:pt x="0" y="117910"/>
                    </a:lnTo>
                    <a:lnTo>
                      <a:pt x="1897" y="114637"/>
                    </a:lnTo>
                    <a:cubicBezTo>
                      <a:pt x="42829" y="43920"/>
                      <a:pt x="118906" y="0"/>
                      <a:pt x="200437" y="0"/>
                    </a:cubicBezTo>
                    <a:cubicBezTo>
                      <a:pt x="281992" y="0"/>
                      <a:pt x="358069" y="43920"/>
                      <a:pt x="398977" y="114637"/>
                    </a:cubicBezTo>
                    <a:lnTo>
                      <a:pt x="400874" y="117910"/>
                    </a:lnTo>
                    <a:lnTo>
                      <a:pt x="398977" y="121182"/>
                    </a:lnTo>
                    <a:cubicBezTo>
                      <a:pt x="358069" y="191876"/>
                      <a:pt x="281992" y="235819"/>
                      <a:pt x="200437" y="235819"/>
                    </a:cubicBezTo>
                    <a:close/>
                    <a:moveTo>
                      <a:pt x="15177" y="117886"/>
                    </a:moveTo>
                    <a:cubicBezTo>
                      <a:pt x="54188" y="182651"/>
                      <a:pt x="124834" y="222705"/>
                      <a:pt x="200437" y="222705"/>
                    </a:cubicBezTo>
                    <a:cubicBezTo>
                      <a:pt x="276063" y="222705"/>
                      <a:pt x="346686" y="182651"/>
                      <a:pt x="385696" y="117886"/>
                    </a:cubicBezTo>
                    <a:cubicBezTo>
                      <a:pt x="346686" y="53121"/>
                      <a:pt x="276039" y="13067"/>
                      <a:pt x="200437" y="13067"/>
                    </a:cubicBezTo>
                    <a:cubicBezTo>
                      <a:pt x="124811" y="13067"/>
                      <a:pt x="54188" y="53121"/>
                      <a:pt x="15177" y="117886"/>
                    </a:cubicBezTo>
                    <a:close/>
                  </a:path>
                </a:pathLst>
              </a:custGeom>
              <a:grpFill/>
              <a:ln w="2369" cap="flat">
                <a:noFill/>
                <a:prstDash val="solid"/>
                <a:miter/>
              </a:ln>
            </p:spPr>
            <p:txBody>
              <a:bodyPr rtlCol="0" anchor="ctr"/>
              <a:lstStyle/>
              <a:p>
                <a:endParaRPr lang="en-GB" dirty="0"/>
              </a:p>
            </p:txBody>
          </p:sp>
          <p:sp>
            <p:nvSpPr>
              <p:cNvPr id="554" name="Freihandform: Form 416">
                <a:extLst>
                  <a:ext uri="{FF2B5EF4-FFF2-40B4-BE49-F238E27FC236}">
                    <a16:creationId xmlns:a16="http://schemas.microsoft.com/office/drawing/2014/main" id="{E776A916-D1B5-41BF-98F8-F277C3EEC5CA}"/>
                  </a:ext>
                </a:extLst>
              </p:cNvPr>
              <p:cNvSpPr/>
              <p:nvPr/>
            </p:nvSpPr>
            <p:spPr>
              <a:xfrm>
                <a:off x="1077146" y="3418263"/>
                <a:ext cx="132612" cy="132612"/>
              </a:xfrm>
              <a:custGeom>
                <a:avLst/>
                <a:gdLst>
                  <a:gd name="connsiteX0" fmla="*/ 66306 w 132612"/>
                  <a:gd name="connsiteY0" fmla="*/ 132613 h 132612"/>
                  <a:gd name="connsiteX1" fmla="*/ 0 w 132612"/>
                  <a:gd name="connsiteY1" fmla="*/ 66306 h 132612"/>
                  <a:gd name="connsiteX2" fmla="*/ 66306 w 132612"/>
                  <a:gd name="connsiteY2" fmla="*/ 0 h 132612"/>
                  <a:gd name="connsiteX3" fmla="*/ 132613 w 132612"/>
                  <a:gd name="connsiteY3" fmla="*/ 66306 h 132612"/>
                  <a:gd name="connsiteX4" fmla="*/ 66306 w 132612"/>
                  <a:gd name="connsiteY4" fmla="*/ 132613 h 132612"/>
                  <a:gd name="connsiteX5" fmla="*/ 66306 w 132612"/>
                  <a:gd name="connsiteY5" fmla="*/ 13091 h 132612"/>
                  <a:gd name="connsiteX6" fmla="*/ 13091 w 132612"/>
                  <a:gd name="connsiteY6" fmla="*/ 66306 h 132612"/>
                  <a:gd name="connsiteX7" fmla="*/ 66306 w 132612"/>
                  <a:gd name="connsiteY7" fmla="*/ 119522 h 132612"/>
                  <a:gd name="connsiteX8" fmla="*/ 119522 w 132612"/>
                  <a:gd name="connsiteY8" fmla="*/ 66306 h 132612"/>
                  <a:gd name="connsiteX9" fmla="*/ 66306 w 132612"/>
                  <a:gd name="connsiteY9" fmla="*/ 13091 h 13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2612" h="132612">
                    <a:moveTo>
                      <a:pt x="66306" y="132613"/>
                    </a:moveTo>
                    <a:cubicBezTo>
                      <a:pt x="29738" y="132613"/>
                      <a:pt x="0" y="102851"/>
                      <a:pt x="0" y="66306"/>
                    </a:cubicBezTo>
                    <a:cubicBezTo>
                      <a:pt x="0" y="29738"/>
                      <a:pt x="29738" y="0"/>
                      <a:pt x="66306" y="0"/>
                    </a:cubicBezTo>
                    <a:cubicBezTo>
                      <a:pt x="102874" y="0"/>
                      <a:pt x="132613" y="29738"/>
                      <a:pt x="132613" y="66306"/>
                    </a:cubicBezTo>
                    <a:cubicBezTo>
                      <a:pt x="132613" y="102851"/>
                      <a:pt x="102874" y="132613"/>
                      <a:pt x="66306" y="132613"/>
                    </a:cubicBezTo>
                    <a:close/>
                    <a:moveTo>
                      <a:pt x="66306" y="13091"/>
                    </a:moveTo>
                    <a:cubicBezTo>
                      <a:pt x="36971" y="13091"/>
                      <a:pt x="13091" y="36971"/>
                      <a:pt x="13091" y="66306"/>
                    </a:cubicBezTo>
                    <a:cubicBezTo>
                      <a:pt x="13091" y="95642"/>
                      <a:pt x="36971" y="119522"/>
                      <a:pt x="66306" y="119522"/>
                    </a:cubicBezTo>
                    <a:cubicBezTo>
                      <a:pt x="95641" y="119522"/>
                      <a:pt x="119522" y="95642"/>
                      <a:pt x="119522" y="66306"/>
                    </a:cubicBezTo>
                    <a:cubicBezTo>
                      <a:pt x="119522" y="36948"/>
                      <a:pt x="95641" y="13091"/>
                      <a:pt x="66306" y="13091"/>
                    </a:cubicBezTo>
                    <a:close/>
                  </a:path>
                </a:pathLst>
              </a:custGeom>
              <a:grpFill/>
              <a:ln w="2369" cap="flat">
                <a:noFill/>
                <a:prstDash val="solid"/>
                <a:miter/>
              </a:ln>
            </p:spPr>
            <p:txBody>
              <a:bodyPr rtlCol="0" anchor="ctr"/>
              <a:lstStyle/>
              <a:p>
                <a:endParaRPr lang="en-GB" dirty="0"/>
              </a:p>
            </p:txBody>
          </p:sp>
        </p:grpSp>
        <p:grpSp>
          <p:nvGrpSpPr>
            <p:cNvPr id="544" name="Group 543">
              <a:extLst>
                <a:ext uri="{FF2B5EF4-FFF2-40B4-BE49-F238E27FC236}">
                  <a16:creationId xmlns:a16="http://schemas.microsoft.com/office/drawing/2014/main" id="{6125E8E9-C5D6-46C0-A24E-2FBF42410445}"/>
                </a:ext>
              </a:extLst>
            </p:cNvPr>
            <p:cNvGrpSpPr/>
            <p:nvPr/>
          </p:nvGrpSpPr>
          <p:grpSpPr>
            <a:xfrm>
              <a:off x="6054193" y="3197068"/>
              <a:ext cx="403593" cy="432000"/>
              <a:chOff x="942020" y="3277635"/>
              <a:chExt cx="403956" cy="432389"/>
            </a:xfrm>
            <a:solidFill>
              <a:schemeClr val="accent1"/>
            </a:solidFill>
          </p:grpSpPr>
          <p:grpSp>
            <p:nvGrpSpPr>
              <p:cNvPr id="545" name="Grafik 324">
                <a:extLst>
                  <a:ext uri="{FF2B5EF4-FFF2-40B4-BE49-F238E27FC236}">
                    <a16:creationId xmlns:a16="http://schemas.microsoft.com/office/drawing/2014/main" id="{EB0D483E-6704-45CF-9754-B63A9EC4DDE4}"/>
                  </a:ext>
                </a:extLst>
              </p:cNvPr>
              <p:cNvGrpSpPr/>
              <p:nvPr/>
            </p:nvGrpSpPr>
            <p:grpSpPr>
              <a:xfrm>
                <a:off x="942020" y="3277635"/>
                <a:ext cx="403956" cy="104819"/>
                <a:chOff x="942020" y="3277635"/>
                <a:chExt cx="403956" cy="104819"/>
              </a:xfrm>
              <a:solidFill>
                <a:schemeClr val="accent1"/>
              </a:solidFill>
            </p:grpSpPr>
            <p:sp>
              <p:nvSpPr>
                <p:cNvPr id="550" name="Freihandform: Form 418">
                  <a:extLst>
                    <a:ext uri="{FF2B5EF4-FFF2-40B4-BE49-F238E27FC236}">
                      <a16:creationId xmlns:a16="http://schemas.microsoft.com/office/drawing/2014/main" id="{03EA7422-70B3-4DB5-8906-E3BBE04A7339}"/>
                    </a:ext>
                  </a:extLst>
                </p:cNvPr>
                <p:cNvSpPr/>
                <p:nvPr/>
              </p:nvSpPr>
              <p:spPr>
                <a:xfrm>
                  <a:off x="1136314" y="3277635"/>
                  <a:ext cx="13090" cy="65500"/>
                </a:xfrm>
                <a:custGeom>
                  <a:avLst/>
                  <a:gdLst>
                    <a:gd name="connsiteX0" fmla="*/ 6545 w 13090"/>
                    <a:gd name="connsiteY0" fmla="*/ 65500 h 65500"/>
                    <a:gd name="connsiteX1" fmla="*/ 0 w 13090"/>
                    <a:gd name="connsiteY1" fmla="*/ 58955 h 65500"/>
                    <a:gd name="connsiteX2" fmla="*/ 0 w 13090"/>
                    <a:gd name="connsiteY2" fmla="*/ 6545 h 65500"/>
                    <a:gd name="connsiteX3" fmla="*/ 6545 w 13090"/>
                    <a:gd name="connsiteY3" fmla="*/ 0 h 65500"/>
                    <a:gd name="connsiteX4" fmla="*/ 13091 w 13090"/>
                    <a:gd name="connsiteY4" fmla="*/ 6545 h 65500"/>
                    <a:gd name="connsiteX5" fmla="*/ 13091 w 13090"/>
                    <a:gd name="connsiteY5" fmla="*/ 58955 h 65500"/>
                    <a:gd name="connsiteX6" fmla="*/ 6545 w 13090"/>
                    <a:gd name="connsiteY6" fmla="*/ 65500 h 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65500">
                      <a:moveTo>
                        <a:pt x="6545" y="65500"/>
                      </a:moveTo>
                      <a:cubicBezTo>
                        <a:pt x="2917" y="65500"/>
                        <a:pt x="0" y="62559"/>
                        <a:pt x="0" y="58955"/>
                      </a:cubicBezTo>
                      <a:lnTo>
                        <a:pt x="0" y="6545"/>
                      </a:lnTo>
                      <a:cubicBezTo>
                        <a:pt x="0" y="2917"/>
                        <a:pt x="2941" y="0"/>
                        <a:pt x="6545" y="0"/>
                      </a:cubicBezTo>
                      <a:cubicBezTo>
                        <a:pt x="10174" y="0"/>
                        <a:pt x="13091" y="2941"/>
                        <a:pt x="13091" y="6545"/>
                      </a:cubicBezTo>
                      <a:lnTo>
                        <a:pt x="13091" y="58955"/>
                      </a:lnTo>
                      <a:cubicBezTo>
                        <a:pt x="13114" y="62583"/>
                        <a:pt x="10174" y="65500"/>
                        <a:pt x="6545" y="65500"/>
                      </a:cubicBezTo>
                      <a:close/>
                    </a:path>
                  </a:pathLst>
                </a:custGeom>
                <a:solidFill>
                  <a:schemeClr val="accent1"/>
                </a:solidFill>
                <a:ln w="2369" cap="flat">
                  <a:noFill/>
                  <a:prstDash val="solid"/>
                  <a:miter/>
                </a:ln>
              </p:spPr>
              <p:txBody>
                <a:bodyPr rtlCol="0" anchor="ctr"/>
                <a:lstStyle/>
                <a:p>
                  <a:endParaRPr lang="en-GB" dirty="0"/>
                </a:p>
              </p:txBody>
            </p:sp>
            <p:sp>
              <p:nvSpPr>
                <p:cNvPr id="551" name="Freihandform: Form 419">
                  <a:extLst>
                    <a:ext uri="{FF2B5EF4-FFF2-40B4-BE49-F238E27FC236}">
                      <a16:creationId xmlns:a16="http://schemas.microsoft.com/office/drawing/2014/main" id="{654F1BAC-FDDC-45DD-BD66-A062A00C32E6}"/>
                    </a:ext>
                  </a:extLst>
                </p:cNvPr>
                <p:cNvSpPr/>
                <p:nvPr/>
              </p:nvSpPr>
              <p:spPr>
                <a:xfrm>
                  <a:off x="942020" y="3332273"/>
                  <a:ext cx="50180" cy="50180"/>
                </a:xfrm>
                <a:custGeom>
                  <a:avLst/>
                  <a:gdLst>
                    <a:gd name="connsiteX0" fmla="*/ 43611 w 50180"/>
                    <a:gd name="connsiteY0" fmla="*/ 50180 h 50180"/>
                    <a:gd name="connsiteX1" fmla="*/ 38987 w 50180"/>
                    <a:gd name="connsiteY1" fmla="*/ 48260 h 50180"/>
                    <a:gd name="connsiteX2" fmla="*/ 1921 w 50180"/>
                    <a:gd name="connsiteY2" fmla="*/ 11193 h 50180"/>
                    <a:gd name="connsiteX3" fmla="*/ 1921 w 50180"/>
                    <a:gd name="connsiteY3" fmla="*/ 1921 h 50180"/>
                    <a:gd name="connsiteX4" fmla="*/ 11193 w 50180"/>
                    <a:gd name="connsiteY4" fmla="*/ 1921 h 50180"/>
                    <a:gd name="connsiteX5" fmla="*/ 48259 w 50180"/>
                    <a:gd name="connsiteY5" fmla="*/ 38987 h 50180"/>
                    <a:gd name="connsiteX6" fmla="*/ 48259 w 50180"/>
                    <a:gd name="connsiteY6" fmla="*/ 48260 h 50180"/>
                    <a:gd name="connsiteX7" fmla="*/ 43611 w 50180"/>
                    <a:gd name="connsiteY7" fmla="*/ 50180 h 5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80" h="50180">
                      <a:moveTo>
                        <a:pt x="43611" y="50180"/>
                      </a:moveTo>
                      <a:cubicBezTo>
                        <a:pt x="41928" y="50180"/>
                        <a:pt x="40268" y="49540"/>
                        <a:pt x="38987" y="48260"/>
                      </a:cubicBezTo>
                      <a:lnTo>
                        <a:pt x="1921" y="11193"/>
                      </a:lnTo>
                      <a:cubicBezTo>
                        <a:pt x="-640" y="8632"/>
                        <a:pt x="-640" y="4482"/>
                        <a:pt x="1921" y="1921"/>
                      </a:cubicBezTo>
                      <a:cubicBezTo>
                        <a:pt x="4482" y="-640"/>
                        <a:pt x="8632" y="-640"/>
                        <a:pt x="11193" y="1921"/>
                      </a:cubicBezTo>
                      <a:lnTo>
                        <a:pt x="48259" y="38987"/>
                      </a:lnTo>
                      <a:cubicBezTo>
                        <a:pt x="50821" y="41548"/>
                        <a:pt x="50821" y="45698"/>
                        <a:pt x="48259" y="48260"/>
                      </a:cubicBezTo>
                      <a:cubicBezTo>
                        <a:pt x="46955" y="49540"/>
                        <a:pt x="45295" y="50180"/>
                        <a:pt x="43611" y="50180"/>
                      </a:cubicBezTo>
                      <a:close/>
                    </a:path>
                  </a:pathLst>
                </a:custGeom>
                <a:solidFill>
                  <a:schemeClr val="accent1"/>
                </a:solidFill>
                <a:ln w="2369" cap="flat">
                  <a:noFill/>
                  <a:prstDash val="solid"/>
                  <a:miter/>
                </a:ln>
              </p:spPr>
              <p:txBody>
                <a:bodyPr rtlCol="0" anchor="ctr"/>
                <a:lstStyle/>
                <a:p>
                  <a:endParaRPr lang="en-GB" dirty="0"/>
                </a:p>
              </p:txBody>
            </p:sp>
            <p:sp>
              <p:nvSpPr>
                <p:cNvPr id="552" name="Freihandform: Form 420">
                  <a:extLst>
                    <a:ext uri="{FF2B5EF4-FFF2-40B4-BE49-F238E27FC236}">
                      <a16:creationId xmlns:a16="http://schemas.microsoft.com/office/drawing/2014/main" id="{A33FA1F8-0E84-454C-946E-627E3F4EC550}"/>
                    </a:ext>
                  </a:extLst>
                </p:cNvPr>
                <p:cNvSpPr/>
                <p:nvPr/>
              </p:nvSpPr>
              <p:spPr>
                <a:xfrm>
                  <a:off x="1295796" y="3332273"/>
                  <a:ext cx="50180" cy="50180"/>
                </a:xfrm>
                <a:custGeom>
                  <a:avLst/>
                  <a:gdLst>
                    <a:gd name="connsiteX0" fmla="*/ 6545 w 50180"/>
                    <a:gd name="connsiteY0" fmla="*/ 50180 h 50180"/>
                    <a:gd name="connsiteX1" fmla="*/ 1921 w 50180"/>
                    <a:gd name="connsiteY1" fmla="*/ 48260 h 50180"/>
                    <a:gd name="connsiteX2" fmla="*/ 1921 w 50180"/>
                    <a:gd name="connsiteY2" fmla="*/ 38987 h 50180"/>
                    <a:gd name="connsiteX3" fmla="*/ 38987 w 50180"/>
                    <a:gd name="connsiteY3" fmla="*/ 1921 h 50180"/>
                    <a:gd name="connsiteX4" fmla="*/ 48259 w 50180"/>
                    <a:gd name="connsiteY4" fmla="*/ 1921 h 50180"/>
                    <a:gd name="connsiteX5" fmla="*/ 48259 w 50180"/>
                    <a:gd name="connsiteY5" fmla="*/ 11193 h 50180"/>
                    <a:gd name="connsiteX6" fmla="*/ 11193 w 50180"/>
                    <a:gd name="connsiteY6" fmla="*/ 48260 h 50180"/>
                    <a:gd name="connsiteX7" fmla="*/ 6545 w 50180"/>
                    <a:gd name="connsiteY7" fmla="*/ 50180 h 5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80" h="50180">
                      <a:moveTo>
                        <a:pt x="6545" y="50180"/>
                      </a:moveTo>
                      <a:cubicBezTo>
                        <a:pt x="4861" y="50180"/>
                        <a:pt x="3201" y="49540"/>
                        <a:pt x="1921" y="48260"/>
                      </a:cubicBezTo>
                      <a:cubicBezTo>
                        <a:pt x="-640" y="45698"/>
                        <a:pt x="-640" y="41548"/>
                        <a:pt x="1921" y="38987"/>
                      </a:cubicBezTo>
                      <a:lnTo>
                        <a:pt x="38987" y="1921"/>
                      </a:lnTo>
                      <a:cubicBezTo>
                        <a:pt x="41548" y="-640"/>
                        <a:pt x="45698" y="-640"/>
                        <a:pt x="48259" y="1921"/>
                      </a:cubicBezTo>
                      <a:cubicBezTo>
                        <a:pt x="50821" y="4482"/>
                        <a:pt x="50821" y="8632"/>
                        <a:pt x="48259" y="11193"/>
                      </a:cubicBezTo>
                      <a:lnTo>
                        <a:pt x="11193" y="48260"/>
                      </a:lnTo>
                      <a:cubicBezTo>
                        <a:pt x="9913" y="49540"/>
                        <a:pt x="8229" y="50180"/>
                        <a:pt x="6545" y="50180"/>
                      </a:cubicBezTo>
                      <a:close/>
                    </a:path>
                  </a:pathLst>
                </a:custGeom>
                <a:solidFill>
                  <a:schemeClr val="accent1"/>
                </a:solidFill>
                <a:ln w="2369" cap="flat">
                  <a:noFill/>
                  <a:prstDash val="solid"/>
                  <a:miter/>
                </a:ln>
              </p:spPr>
              <p:txBody>
                <a:bodyPr rtlCol="0" anchor="ctr"/>
                <a:lstStyle/>
                <a:p>
                  <a:endParaRPr lang="en-GB" dirty="0"/>
                </a:p>
              </p:txBody>
            </p:sp>
          </p:grpSp>
          <p:grpSp>
            <p:nvGrpSpPr>
              <p:cNvPr id="546" name="Grafik 324">
                <a:extLst>
                  <a:ext uri="{FF2B5EF4-FFF2-40B4-BE49-F238E27FC236}">
                    <a16:creationId xmlns:a16="http://schemas.microsoft.com/office/drawing/2014/main" id="{D30B1983-0C23-4111-BDCC-20AC26B99F54}"/>
                  </a:ext>
                </a:extLst>
              </p:cNvPr>
              <p:cNvGrpSpPr/>
              <p:nvPr/>
            </p:nvGrpSpPr>
            <p:grpSpPr>
              <a:xfrm>
                <a:off x="942020" y="3605182"/>
                <a:ext cx="403956" cy="104842"/>
                <a:chOff x="942020" y="3605182"/>
                <a:chExt cx="403956" cy="104842"/>
              </a:xfrm>
              <a:solidFill>
                <a:schemeClr val="accent1"/>
              </a:solidFill>
            </p:grpSpPr>
            <p:sp>
              <p:nvSpPr>
                <p:cNvPr id="547" name="Freihandform: Form 422">
                  <a:extLst>
                    <a:ext uri="{FF2B5EF4-FFF2-40B4-BE49-F238E27FC236}">
                      <a16:creationId xmlns:a16="http://schemas.microsoft.com/office/drawing/2014/main" id="{A88F0888-727F-453F-9F7C-CB348986B5DF}"/>
                    </a:ext>
                  </a:extLst>
                </p:cNvPr>
                <p:cNvSpPr/>
                <p:nvPr/>
              </p:nvSpPr>
              <p:spPr>
                <a:xfrm>
                  <a:off x="1136314" y="3644525"/>
                  <a:ext cx="13090" cy="65500"/>
                </a:xfrm>
                <a:custGeom>
                  <a:avLst/>
                  <a:gdLst>
                    <a:gd name="connsiteX0" fmla="*/ 6545 w 13090"/>
                    <a:gd name="connsiteY0" fmla="*/ 65500 h 65500"/>
                    <a:gd name="connsiteX1" fmla="*/ 0 w 13090"/>
                    <a:gd name="connsiteY1" fmla="*/ 58955 h 65500"/>
                    <a:gd name="connsiteX2" fmla="*/ 0 w 13090"/>
                    <a:gd name="connsiteY2" fmla="*/ 6545 h 65500"/>
                    <a:gd name="connsiteX3" fmla="*/ 6545 w 13090"/>
                    <a:gd name="connsiteY3" fmla="*/ 0 h 65500"/>
                    <a:gd name="connsiteX4" fmla="*/ 13091 w 13090"/>
                    <a:gd name="connsiteY4" fmla="*/ 6545 h 65500"/>
                    <a:gd name="connsiteX5" fmla="*/ 13091 w 13090"/>
                    <a:gd name="connsiteY5" fmla="*/ 58955 h 65500"/>
                    <a:gd name="connsiteX6" fmla="*/ 6545 w 13090"/>
                    <a:gd name="connsiteY6" fmla="*/ 65500 h 6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65500">
                      <a:moveTo>
                        <a:pt x="6545" y="65500"/>
                      </a:moveTo>
                      <a:cubicBezTo>
                        <a:pt x="2917" y="65500"/>
                        <a:pt x="0" y="62559"/>
                        <a:pt x="0" y="58955"/>
                      </a:cubicBezTo>
                      <a:lnTo>
                        <a:pt x="0" y="6545"/>
                      </a:lnTo>
                      <a:cubicBezTo>
                        <a:pt x="0" y="2917"/>
                        <a:pt x="2941" y="0"/>
                        <a:pt x="6545" y="0"/>
                      </a:cubicBezTo>
                      <a:cubicBezTo>
                        <a:pt x="10174" y="0"/>
                        <a:pt x="13091" y="2941"/>
                        <a:pt x="13091" y="6545"/>
                      </a:cubicBezTo>
                      <a:lnTo>
                        <a:pt x="13091" y="58955"/>
                      </a:lnTo>
                      <a:cubicBezTo>
                        <a:pt x="13114" y="62559"/>
                        <a:pt x="10174" y="65500"/>
                        <a:pt x="6545" y="65500"/>
                      </a:cubicBezTo>
                      <a:close/>
                    </a:path>
                  </a:pathLst>
                </a:custGeom>
                <a:solidFill>
                  <a:schemeClr val="accent1"/>
                </a:solidFill>
                <a:ln w="2369" cap="flat">
                  <a:noFill/>
                  <a:prstDash val="solid"/>
                  <a:miter/>
                </a:ln>
              </p:spPr>
              <p:txBody>
                <a:bodyPr rtlCol="0" anchor="ctr"/>
                <a:lstStyle/>
                <a:p>
                  <a:endParaRPr lang="en-GB" dirty="0"/>
                </a:p>
              </p:txBody>
            </p:sp>
            <p:sp>
              <p:nvSpPr>
                <p:cNvPr id="548" name="Freihandform: Form 423">
                  <a:extLst>
                    <a:ext uri="{FF2B5EF4-FFF2-40B4-BE49-F238E27FC236}">
                      <a16:creationId xmlns:a16="http://schemas.microsoft.com/office/drawing/2014/main" id="{E10D715B-AB7B-4B44-A8C2-18753148A3F2}"/>
                    </a:ext>
                  </a:extLst>
                </p:cNvPr>
                <p:cNvSpPr/>
                <p:nvPr/>
              </p:nvSpPr>
              <p:spPr>
                <a:xfrm>
                  <a:off x="942020" y="3605182"/>
                  <a:ext cx="50180" cy="50180"/>
                </a:xfrm>
                <a:custGeom>
                  <a:avLst/>
                  <a:gdLst>
                    <a:gd name="connsiteX0" fmla="*/ 6545 w 50180"/>
                    <a:gd name="connsiteY0" fmla="*/ 50180 h 50180"/>
                    <a:gd name="connsiteX1" fmla="*/ 1921 w 50180"/>
                    <a:gd name="connsiteY1" fmla="*/ 48259 h 50180"/>
                    <a:gd name="connsiteX2" fmla="*/ 1921 w 50180"/>
                    <a:gd name="connsiteY2" fmla="*/ 38987 h 50180"/>
                    <a:gd name="connsiteX3" fmla="*/ 38987 w 50180"/>
                    <a:gd name="connsiteY3" fmla="*/ 1921 h 50180"/>
                    <a:gd name="connsiteX4" fmla="*/ 48259 w 50180"/>
                    <a:gd name="connsiteY4" fmla="*/ 1921 h 50180"/>
                    <a:gd name="connsiteX5" fmla="*/ 48259 w 50180"/>
                    <a:gd name="connsiteY5" fmla="*/ 11193 h 50180"/>
                    <a:gd name="connsiteX6" fmla="*/ 11193 w 50180"/>
                    <a:gd name="connsiteY6" fmla="*/ 48259 h 50180"/>
                    <a:gd name="connsiteX7" fmla="*/ 6545 w 50180"/>
                    <a:gd name="connsiteY7" fmla="*/ 50180 h 5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80" h="50180">
                      <a:moveTo>
                        <a:pt x="6545" y="50180"/>
                      </a:moveTo>
                      <a:cubicBezTo>
                        <a:pt x="4862" y="50180"/>
                        <a:pt x="3201" y="49540"/>
                        <a:pt x="1921" y="48259"/>
                      </a:cubicBezTo>
                      <a:cubicBezTo>
                        <a:pt x="-640" y="45698"/>
                        <a:pt x="-640" y="41548"/>
                        <a:pt x="1921" y="38987"/>
                      </a:cubicBezTo>
                      <a:lnTo>
                        <a:pt x="38987" y="1921"/>
                      </a:lnTo>
                      <a:cubicBezTo>
                        <a:pt x="41548" y="-640"/>
                        <a:pt x="45698" y="-640"/>
                        <a:pt x="48259" y="1921"/>
                      </a:cubicBezTo>
                      <a:cubicBezTo>
                        <a:pt x="50821" y="4482"/>
                        <a:pt x="50821" y="8632"/>
                        <a:pt x="48259" y="11193"/>
                      </a:cubicBezTo>
                      <a:lnTo>
                        <a:pt x="11193" y="48259"/>
                      </a:lnTo>
                      <a:cubicBezTo>
                        <a:pt x="9913" y="49540"/>
                        <a:pt x="8229" y="50180"/>
                        <a:pt x="6545" y="50180"/>
                      </a:cubicBezTo>
                      <a:close/>
                    </a:path>
                  </a:pathLst>
                </a:custGeom>
                <a:solidFill>
                  <a:schemeClr val="accent1"/>
                </a:solidFill>
                <a:ln w="2369" cap="flat">
                  <a:noFill/>
                  <a:prstDash val="solid"/>
                  <a:miter/>
                </a:ln>
              </p:spPr>
              <p:txBody>
                <a:bodyPr rtlCol="0" anchor="ctr"/>
                <a:lstStyle/>
                <a:p>
                  <a:endParaRPr lang="en-GB" dirty="0"/>
                </a:p>
              </p:txBody>
            </p:sp>
            <p:sp>
              <p:nvSpPr>
                <p:cNvPr id="549" name="Freihandform: Form 424">
                  <a:extLst>
                    <a:ext uri="{FF2B5EF4-FFF2-40B4-BE49-F238E27FC236}">
                      <a16:creationId xmlns:a16="http://schemas.microsoft.com/office/drawing/2014/main" id="{75F7999B-05AE-4215-BE6F-2DA7362E7E95}"/>
                    </a:ext>
                  </a:extLst>
                </p:cNvPr>
                <p:cNvSpPr/>
                <p:nvPr/>
              </p:nvSpPr>
              <p:spPr>
                <a:xfrm>
                  <a:off x="1295796" y="3605182"/>
                  <a:ext cx="50180" cy="50180"/>
                </a:xfrm>
                <a:custGeom>
                  <a:avLst/>
                  <a:gdLst>
                    <a:gd name="connsiteX0" fmla="*/ 43611 w 50180"/>
                    <a:gd name="connsiteY0" fmla="*/ 50180 h 50180"/>
                    <a:gd name="connsiteX1" fmla="*/ 38987 w 50180"/>
                    <a:gd name="connsiteY1" fmla="*/ 48259 h 50180"/>
                    <a:gd name="connsiteX2" fmla="*/ 1921 w 50180"/>
                    <a:gd name="connsiteY2" fmla="*/ 11193 h 50180"/>
                    <a:gd name="connsiteX3" fmla="*/ 1921 w 50180"/>
                    <a:gd name="connsiteY3" fmla="*/ 1921 h 50180"/>
                    <a:gd name="connsiteX4" fmla="*/ 11193 w 50180"/>
                    <a:gd name="connsiteY4" fmla="*/ 1921 h 50180"/>
                    <a:gd name="connsiteX5" fmla="*/ 48259 w 50180"/>
                    <a:gd name="connsiteY5" fmla="*/ 38987 h 50180"/>
                    <a:gd name="connsiteX6" fmla="*/ 48259 w 50180"/>
                    <a:gd name="connsiteY6" fmla="*/ 48259 h 50180"/>
                    <a:gd name="connsiteX7" fmla="*/ 43611 w 50180"/>
                    <a:gd name="connsiteY7" fmla="*/ 50180 h 50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180" h="50180">
                      <a:moveTo>
                        <a:pt x="43611" y="50180"/>
                      </a:moveTo>
                      <a:cubicBezTo>
                        <a:pt x="41928" y="50180"/>
                        <a:pt x="40268" y="49540"/>
                        <a:pt x="38987" y="48259"/>
                      </a:cubicBezTo>
                      <a:lnTo>
                        <a:pt x="1921" y="11193"/>
                      </a:lnTo>
                      <a:cubicBezTo>
                        <a:pt x="-640" y="8632"/>
                        <a:pt x="-640" y="4482"/>
                        <a:pt x="1921" y="1921"/>
                      </a:cubicBezTo>
                      <a:cubicBezTo>
                        <a:pt x="4482" y="-640"/>
                        <a:pt x="8632" y="-640"/>
                        <a:pt x="11193" y="1921"/>
                      </a:cubicBezTo>
                      <a:lnTo>
                        <a:pt x="48259" y="38987"/>
                      </a:lnTo>
                      <a:cubicBezTo>
                        <a:pt x="50821" y="41548"/>
                        <a:pt x="50821" y="45698"/>
                        <a:pt x="48259" y="48259"/>
                      </a:cubicBezTo>
                      <a:cubicBezTo>
                        <a:pt x="46955" y="49540"/>
                        <a:pt x="45295" y="50180"/>
                        <a:pt x="43611" y="50180"/>
                      </a:cubicBezTo>
                      <a:close/>
                    </a:path>
                  </a:pathLst>
                </a:custGeom>
                <a:solidFill>
                  <a:schemeClr val="accent1"/>
                </a:solidFill>
                <a:ln w="2369" cap="flat">
                  <a:noFill/>
                  <a:prstDash val="solid"/>
                  <a:miter/>
                </a:ln>
              </p:spPr>
              <p:txBody>
                <a:bodyPr rtlCol="0" anchor="ctr"/>
                <a:lstStyle/>
                <a:p>
                  <a:endParaRPr lang="en-GB" dirty="0"/>
                </a:p>
              </p:txBody>
            </p:sp>
          </p:grpSp>
        </p:grpSp>
      </p:grpSp>
      <p:grpSp>
        <p:nvGrpSpPr>
          <p:cNvPr id="670" name="Group 669">
            <a:extLst>
              <a:ext uri="{FF2B5EF4-FFF2-40B4-BE49-F238E27FC236}">
                <a16:creationId xmlns:a16="http://schemas.microsoft.com/office/drawing/2014/main" id="{A0C0D78C-B34B-95C9-27BC-8F331497CBBA}"/>
              </a:ext>
            </a:extLst>
          </p:cNvPr>
          <p:cNvGrpSpPr/>
          <p:nvPr/>
        </p:nvGrpSpPr>
        <p:grpSpPr>
          <a:xfrm>
            <a:off x="7094619" y="3197061"/>
            <a:ext cx="409827" cy="432004"/>
            <a:chOff x="7094207" y="3197061"/>
            <a:chExt cx="409827" cy="432004"/>
          </a:xfrm>
        </p:grpSpPr>
        <p:grpSp>
          <p:nvGrpSpPr>
            <p:cNvPr id="556" name="Group 555">
              <a:extLst>
                <a:ext uri="{FF2B5EF4-FFF2-40B4-BE49-F238E27FC236}">
                  <a16:creationId xmlns:a16="http://schemas.microsoft.com/office/drawing/2014/main" id="{ECC1EC2D-4353-4BD2-842D-E84109DA26FB}"/>
                </a:ext>
              </a:extLst>
            </p:cNvPr>
            <p:cNvGrpSpPr/>
            <p:nvPr/>
          </p:nvGrpSpPr>
          <p:grpSpPr>
            <a:xfrm>
              <a:off x="7094207" y="3269055"/>
              <a:ext cx="409827" cy="360010"/>
              <a:chOff x="2564534" y="3310361"/>
              <a:chExt cx="484800" cy="425869"/>
            </a:xfrm>
            <a:solidFill>
              <a:schemeClr val="tx2"/>
            </a:solidFill>
          </p:grpSpPr>
          <p:sp>
            <p:nvSpPr>
              <p:cNvPr id="563" name="Freihandform: Form 469">
                <a:extLst>
                  <a:ext uri="{FF2B5EF4-FFF2-40B4-BE49-F238E27FC236}">
                    <a16:creationId xmlns:a16="http://schemas.microsoft.com/office/drawing/2014/main" id="{1BF40B8C-C022-4599-9270-BE4CBD964531}"/>
                  </a:ext>
                </a:extLst>
              </p:cNvPr>
              <p:cNvSpPr/>
              <p:nvPr/>
            </p:nvSpPr>
            <p:spPr>
              <a:xfrm>
                <a:off x="2800401" y="3618320"/>
                <a:ext cx="13090" cy="117909"/>
              </a:xfrm>
              <a:custGeom>
                <a:avLst/>
                <a:gdLst>
                  <a:gd name="connsiteX0" fmla="*/ 6545 w 13090"/>
                  <a:gd name="connsiteY0" fmla="*/ 117910 h 117909"/>
                  <a:gd name="connsiteX1" fmla="*/ 0 w 13090"/>
                  <a:gd name="connsiteY1" fmla="*/ 111364 h 117909"/>
                  <a:gd name="connsiteX2" fmla="*/ 0 w 13090"/>
                  <a:gd name="connsiteY2" fmla="*/ 6545 h 117909"/>
                  <a:gd name="connsiteX3" fmla="*/ 6545 w 13090"/>
                  <a:gd name="connsiteY3" fmla="*/ 0 h 117909"/>
                  <a:gd name="connsiteX4" fmla="*/ 13090 w 13090"/>
                  <a:gd name="connsiteY4" fmla="*/ 6545 h 117909"/>
                  <a:gd name="connsiteX5" fmla="*/ 13090 w 13090"/>
                  <a:gd name="connsiteY5" fmla="*/ 111364 h 117909"/>
                  <a:gd name="connsiteX6" fmla="*/ 6545 w 13090"/>
                  <a:gd name="connsiteY6" fmla="*/ 117910 h 117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117909">
                    <a:moveTo>
                      <a:pt x="6545" y="117910"/>
                    </a:moveTo>
                    <a:cubicBezTo>
                      <a:pt x="2917" y="117910"/>
                      <a:pt x="0" y="114969"/>
                      <a:pt x="0" y="111364"/>
                    </a:cubicBezTo>
                    <a:lnTo>
                      <a:pt x="0" y="6545"/>
                    </a:lnTo>
                    <a:cubicBezTo>
                      <a:pt x="0" y="2917"/>
                      <a:pt x="2941" y="0"/>
                      <a:pt x="6545" y="0"/>
                    </a:cubicBezTo>
                    <a:cubicBezTo>
                      <a:pt x="10174" y="0"/>
                      <a:pt x="13090" y="2941"/>
                      <a:pt x="13090" y="6545"/>
                    </a:cubicBezTo>
                    <a:lnTo>
                      <a:pt x="13090" y="111364"/>
                    </a:lnTo>
                    <a:cubicBezTo>
                      <a:pt x="13090" y="114993"/>
                      <a:pt x="10174" y="117910"/>
                      <a:pt x="6545" y="117910"/>
                    </a:cubicBezTo>
                    <a:close/>
                  </a:path>
                </a:pathLst>
              </a:custGeom>
              <a:grpFill/>
              <a:ln w="2369" cap="flat">
                <a:noFill/>
                <a:prstDash val="solid"/>
                <a:miter/>
              </a:ln>
            </p:spPr>
            <p:txBody>
              <a:bodyPr rtlCol="0" anchor="ctr"/>
              <a:lstStyle/>
              <a:p>
                <a:endParaRPr lang="en-GB" dirty="0"/>
              </a:p>
            </p:txBody>
          </p:sp>
          <p:sp>
            <p:nvSpPr>
              <p:cNvPr id="564" name="Freihandform: Form 470">
                <a:extLst>
                  <a:ext uri="{FF2B5EF4-FFF2-40B4-BE49-F238E27FC236}">
                    <a16:creationId xmlns:a16="http://schemas.microsoft.com/office/drawing/2014/main" id="{59CFDD93-578A-4FCB-8FBD-77A7FF56C4B8}"/>
                  </a:ext>
                </a:extLst>
              </p:cNvPr>
              <p:cNvSpPr/>
              <p:nvPr/>
            </p:nvSpPr>
            <p:spPr>
              <a:xfrm>
                <a:off x="2898675" y="3651070"/>
                <a:ext cx="13090" cy="85159"/>
              </a:xfrm>
              <a:custGeom>
                <a:avLst/>
                <a:gdLst>
                  <a:gd name="connsiteX0" fmla="*/ 6545 w 13090"/>
                  <a:gd name="connsiteY0" fmla="*/ 85160 h 85159"/>
                  <a:gd name="connsiteX1" fmla="*/ 0 w 13090"/>
                  <a:gd name="connsiteY1" fmla="*/ 78614 h 85159"/>
                  <a:gd name="connsiteX2" fmla="*/ 0 w 13090"/>
                  <a:gd name="connsiteY2" fmla="*/ 6545 h 85159"/>
                  <a:gd name="connsiteX3" fmla="*/ 6545 w 13090"/>
                  <a:gd name="connsiteY3" fmla="*/ 0 h 85159"/>
                  <a:gd name="connsiteX4" fmla="*/ 13091 w 13090"/>
                  <a:gd name="connsiteY4" fmla="*/ 6545 h 85159"/>
                  <a:gd name="connsiteX5" fmla="*/ 13091 w 13090"/>
                  <a:gd name="connsiteY5" fmla="*/ 78614 h 85159"/>
                  <a:gd name="connsiteX6" fmla="*/ 6545 w 13090"/>
                  <a:gd name="connsiteY6" fmla="*/ 85160 h 8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85159">
                    <a:moveTo>
                      <a:pt x="6545" y="85160"/>
                    </a:moveTo>
                    <a:cubicBezTo>
                      <a:pt x="2917" y="85160"/>
                      <a:pt x="0" y="82219"/>
                      <a:pt x="0" y="78614"/>
                    </a:cubicBezTo>
                    <a:lnTo>
                      <a:pt x="0" y="6545"/>
                    </a:lnTo>
                    <a:cubicBezTo>
                      <a:pt x="0" y="2917"/>
                      <a:pt x="2941" y="0"/>
                      <a:pt x="6545" y="0"/>
                    </a:cubicBezTo>
                    <a:cubicBezTo>
                      <a:pt x="10174" y="0"/>
                      <a:pt x="13091" y="2941"/>
                      <a:pt x="13091" y="6545"/>
                    </a:cubicBezTo>
                    <a:lnTo>
                      <a:pt x="13091" y="78614"/>
                    </a:lnTo>
                    <a:cubicBezTo>
                      <a:pt x="13091" y="82243"/>
                      <a:pt x="10150" y="85160"/>
                      <a:pt x="6545" y="85160"/>
                    </a:cubicBezTo>
                    <a:close/>
                  </a:path>
                </a:pathLst>
              </a:custGeom>
              <a:grpFill/>
              <a:ln w="2369" cap="flat">
                <a:noFill/>
                <a:prstDash val="solid"/>
                <a:miter/>
              </a:ln>
            </p:spPr>
            <p:txBody>
              <a:bodyPr rtlCol="0" anchor="ctr"/>
              <a:lstStyle/>
              <a:p>
                <a:endParaRPr lang="en-GB" dirty="0"/>
              </a:p>
            </p:txBody>
          </p:sp>
          <p:sp>
            <p:nvSpPr>
              <p:cNvPr id="565" name="Freihandform: Form 471">
                <a:extLst>
                  <a:ext uri="{FF2B5EF4-FFF2-40B4-BE49-F238E27FC236}">
                    <a16:creationId xmlns:a16="http://schemas.microsoft.com/office/drawing/2014/main" id="{F8B07B67-FC94-4F57-B434-3CD011167853}"/>
                  </a:ext>
                </a:extLst>
              </p:cNvPr>
              <p:cNvSpPr/>
              <p:nvPr/>
            </p:nvSpPr>
            <p:spPr>
              <a:xfrm>
                <a:off x="2951084" y="3631411"/>
                <a:ext cx="13090" cy="104819"/>
              </a:xfrm>
              <a:custGeom>
                <a:avLst/>
                <a:gdLst>
                  <a:gd name="connsiteX0" fmla="*/ 6545 w 13090"/>
                  <a:gd name="connsiteY0" fmla="*/ 104819 h 104819"/>
                  <a:gd name="connsiteX1" fmla="*/ 0 w 13090"/>
                  <a:gd name="connsiteY1" fmla="*/ 98274 h 104819"/>
                  <a:gd name="connsiteX2" fmla="*/ 0 w 13090"/>
                  <a:gd name="connsiteY2" fmla="*/ 6545 h 104819"/>
                  <a:gd name="connsiteX3" fmla="*/ 6545 w 13090"/>
                  <a:gd name="connsiteY3" fmla="*/ 0 h 104819"/>
                  <a:gd name="connsiteX4" fmla="*/ 13091 w 13090"/>
                  <a:gd name="connsiteY4" fmla="*/ 6545 h 104819"/>
                  <a:gd name="connsiteX5" fmla="*/ 13091 w 13090"/>
                  <a:gd name="connsiteY5" fmla="*/ 98274 h 104819"/>
                  <a:gd name="connsiteX6" fmla="*/ 6545 w 13090"/>
                  <a:gd name="connsiteY6" fmla="*/ 104819 h 10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104819">
                    <a:moveTo>
                      <a:pt x="6545" y="104819"/>
                    </a:moveTo>
                    <a:cubicBezTo>
                      <a:pt x="2917" y="104819"/>
                      <a:pt x="0" y="101879"/>
                      <a:pt x="0" y="98274"/>
                    </a:cubicBezTo>
                    <a:lnTo>
                      <a:pt x="0" y="6545"/>
                    </a:lnTo>
                    <a:cubicBezTo>
                      <a:pt x="0" y="2917"/>
                      <a:pt x="2941" y="0"/>
                      <a:pt x="6545" y="0"/>
                    </a:cubicBezTo>
                    <a:cubicBezTo>
                      <a:pt x="10174" y="0"/>
                      <a:pt x="13091" y="2941"/>
                      <a:pt x="13091" y="6545"/>
                    </a:cubicBezTo>
                    <a:lnTo>
                      <a:pt x="13091" y="98274"/>
                    </a:lnTo>
                    <a:cubicBezTo>
                      <a:pt x="13091" y="101902"/>
                      <a:pt x="10174" y="104819"/>
                      <a:pt x="6545" y="104819"/>
                    </a:cubicBezTo>
                    <a:close/>
                  </a:path>
                </a:pathLst>
              </a:custGeom>
              <a:grpFill/>
              <a:ln w="2369" cap="flat">
                <a:noFill/>
                <a:prstDash val="solid"/>
                <a:miter/>
              </a:ln>
            </p:spPr>
            <p:txBody>
              <a:bodyPr rtlCol="0" anchor="ctr"/>
              <a:lstStyle/>
              <a:p>
                <a:endParaRPr lang="en-GB" dirty="0"/>
              </a:p>
            </p:txBody>
          </p:sp>
          <p:sp>
            <p:nvSpPr>
              <p:cNvPr id="566" name="Freihandform: Form 472">
                <a:extLst>
                  <a:ext uri="{FF2B5EF4-FFF2-40B4-BE49-F238E27FC236}">
                    <a16:creationId xmlns:a16="http://schemas.microsoft.com/office/drawing/2014/main" id="{C87B4100-369E-457B-8FDB-3EF93476A555}"/>
                  </a:ext>
                </a:extLst>
              </p:cNvPr>
              <p:cNvSpPr/>
              <p:nvPr/>
            </p:nvSpPr>
            <p:spPr>
              <a:xfrm>
                <a:off x="2702127" y="3651070"/>
                <a:ext cx="13090" cy="85159"/>
              </a:xfrm>
              <a:custGeom>
                <a:avLst/>
                <a:gdLst>
                  <a:gd name="connsiteX0" fmla="*/ 6545 w 13090"/>
                  <a:gd name="connsiteY0" fmla="*/ 85160 h 85159"/>
                  <a:gd name="connsiteX1" fmla="*/ 0 w 13090"/>
                  <a:gd name="connsiteY1" fmla="*/ 78614 h 85159"/>
                  <a:gd name="connsiteX2" fmla="*/ 0 w 13090"/>
                  <a:gd name="connsiteY2" fmla="*/ 6545 h 85159"/>
                  <a:gd name="connsiteX3" fmla="*/ 6545 w 13090"/>
                  <a:gd name="connsiteY3" fmla="*/ 0 h 85159"/>
                  <a:gd name="connsiteX4" fmla="*/ 13090 w 13090"/>
                  <a:gd name="connsiteY4" fmla="*/ 6545 h 85159"/>
                  <a:gd name="connsiteX5" fmla="*/ 13090 w 13090"/>
                  <a:gd name="connsiteY5" fmla="*/ 78614 h 85159"/>
                  <a:gd name="connsiteX6" fmla="*/ 6545 w 13090"/>
                  <a:gd name="connsiteY6" fmla="*/ 85160 h 8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85159">
                    <a:moveTo>
                      <a:pt x="6545" y="85160"/>
                    </a:moveTo>
                    <a:cubicBezTo>
                      <a:pt x="2917" y="85160"/>
                      <a:pt x="0" y="82219"/>
                      <a:pt x="0" y="78614"/>
                    </a:cubicBezTo>
                    <a:lnTo>
                      <a:pt x="0" y="6545"/>
                    </a:lnTo>
                    <a:cubicBezTo>
                      <a:pt x="0" y="2917"/>
                      <a:pt x="2941" y="0"/>
                      <a:pt x="6545" y="0"/>
                    </a:cubicBezTo>
                    <a:cubicBezTo>
                      <a:pt x="10150" y="0"/>
                      <a:pt x="13090" y="2941"/>
                      <a:pt x="13090" y="6545"/>
                    </a:cubicBezTo>
                    <a:lnTo>
                      <a:pt x="13090" y="78614"/>
                    </a:lnTo>
                    <a:cubicBezTo>
                      <a:pt x="13090" y="82243"/>
                      <a:pt x="10174" y="85160"/>
                      <a:pt x="6545" y="85160"/>
                    </a:cubicBezTo>
                    <a:close/>
                  </a:path>
                </a:pathLst>
              </a:custGeom>
              <a:grpFill/>
              <a:ln w="2369" cap="flat">
                <a:noFill/>
                <a:prstDash val="solid"/>
                <a:miter/>
              </a:ln>
            </p:spPr>
            <p:txBody>
              <a:bodyPr rtlCol="0" anchor="ctr"/>
              <a:lstStyle/>
              <a:p>
                <a:endParaRPr lang="en-GB" dirty="0"/>
              </a:p>
            </p:txBody>
          </p:sp>
          <p:sp>
            <p:nvSpPr>
              <p:cNvPr id="567" name="Freihandform: Form 473">
                <a:extLst>
                  <a:ext uri="{FF2B5EF4-FFF2-40B4-BE49-F238E27FC236}">
                    <a16:creationId xmlns:a16="http://schemas.microsoft.com/office/drawing/2014/main" id="{24AE7D73-C819-43F9-954F-BB610C25137E}"/>
                  </a:ext>
                </a:extLst>
              </p:cNvPr>
              <p:cNvSpPr/>
              <p:nvPr/>
            </p:nvSpPr>
            <p:spPr>
              <a:xfrm>
                <a:off x="2649717" y="3631411"/>
                <a:ext cx="13090" cy="104819"/>
              </a:xfrm>
              <a:custGeom>
                <a:avLst/>
                <a:gdLst>
                  <a:gd name="connsiteX0" fmla="*/ 6545 w 13090"/>
                  <a:gd name="connsiteY0" fmla="*/ 104819 h 104819"/>
                  <a:gd name="connsiteX1" fmla="*/ 0 w 13090"/>
                  <a:gd name="connsiteY1" fmla="*/ 98274 h 104819"/>
                  <a:gd name="connsiteX2" fmla="*/ 0 w 13090"/>
                  <a:gd name="connsiteY2" fmla="*/ 6545 h 104819"/>
                  <a:gd name="connsiteX3" fmla="*/ 6545 w 13090"/>
                  <a:gd name="connsiteY3" fmla="*/ 0 h 104819"/>
                  <a:gd name="connsiteX4" fmla="*/ 13091 w 13090"/>
                  <a:gd name="connsiteY4" fmla="*/ 6545 h 104819"/>
                  <a:gd name="connsiteX5" fmla="*/ 13091 w 13090"/>
                  <a:gd name="connsiteY5" fmla="*/ 98274 h 104819"/>
                  <a:gd name="connsiteX6" fmla="*/ 6545 w 13090"/>
                  <a:gd name="connsiteY6" fmla="*/ 104819 h 10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0" h="104819">
                    <a:moveTo>
                      <a:pt x="6545" y="104819"/>
                    </a:moveTo>
                    <a:cubicBezTo>
                      <a:pt x="2917" y="104819"/>
                      <a:pt x="0" y="101879"/>
                      <a:pt x="0" y="98274"/>
                    </a:cubicBezTo>
                    <a:lnTo>
                      <a:pt x="0" y="6545"/>
                    </a:lnTo>
                    <a:cubicBezTo>
                      <a:pt x="0" y="2917"/>
                      <a:pt x="2941" y="0"/>
                      <a:pt x="6545" y="0"/>
                    </a:cubicBezTo>
                    <a:cubicBezTo>
                      <a:pt x="10150" y="0"/>
                      <a:pt x="13091" y="2941"/>
                      <a:pt x="13091" y="6545"/>
                    </a:cubicBezTo>
                    <a:lnTo>
                      <a:pt x="13091" y="98274"/>
                    </a:lnTo>
                    <a:cubicBezTo>
                      <a:pt x="13091" y="101902"/>
                      <a:pt x="10150" y="104819"/>
                      <a:pt x="6545" y="104819"/>
                    </a:cubicBezTo>
                    <a:close/>
                  </a:path>
                </a:pathLst>
              </a:custGeom>
              <a:grpFill/>
              <a:ln w="2369" cap="flat">
                <a:noFill/>
                <a:prstDash val="solid"/>
                <a:miter/>
              </a:ln>
            </p:spPr>
            <p:txBody>
              <a:bodyPr rtlCol="0" anchor="ctr"/>
              <a:lstStyle/>
              <a:p>
                <a:endParaRPr lang="en-GB" dirty="0"/>
              </a:p>
            </p:txBody>
          </p:sp>
          <p:sp>
            <p:nvSpPr>
              <p:cNvPr id="568" name="Freihandform: Form 475">
                <a:extLst>
                  <a:ext uri="{FF2B5EF4-FFF2-40B4-BE49-F238E27FC236}">
                    <a16:creationId xmlns:a16="http://schemas.microsoft.com/office/drawing/2014/main" id="{B36B181F-F538-4187-A355-D748EEC8C250}"/>
                  </a:ext>
                </a:extLst>
              </p:cNvPr>
              <p:cNvSpPr/>
              <p:nvPr/>
            </p:nvSpPr>
            <p:spPr>
              <a:xfrm>
                <a:off x="2734877" y="3520046"/>
                <a:ext cx="19635" cy="216183"/>
              </a:xfrm>
              <a:custGeom>
                <a:avLst/>
                <a:gdLst>
                  <a:gd name="connsiteX0" fmla="*/ 13090 w 19635"/>
                  <a:gd name="connsiteY0" fmla="*/ 216184 h 216183"/>
                  <a:gd name="connsiteX1" fmla="*/ 6545 w 19635"/>
                  <a:gd name="connsiteY1" fmla="*/ 209638 h 216183"/>
                  <a:gd name="connsiteX2" fmla="*/ 6545 w 19635"/>
                  <a:gd name="connsiteY2" fmla="*/ 13091 h 216183"/>
                  <a:gd name="connsiteX3" fmla="*/ 0 w 19635"/>
                  <a:gd name="connsiteY3" fmla="*/ 6545 h 216183"/>
                  <a:gd name="connsiteX4" fmla="*/ 6545 w 19635"/>
                  <a:gd name="connsiteY4" fmla="*/ 0 h 216183"/>
                  <a:gd name="connsiteX5" fmla="*/ 13090 w 19635"/>
                  <a:gd name="connsiteY5" fmla="*/ 0 h 216183"/>
                  <a:gd name="connsiteX6" fmla="*/ 19636 w 19635"/>
                  <a:gd name="connsiteY6" fmla="*/ 6545 h 216183"/>
                  <a:gd name="connsiteX7" fmla="*/ 19636 w 19635"/>
                  <a:gd name="connsiteY7" fmla="*/ 209638 h 216183"/>
                  <a:gd name="connsiteX8" fmla="*/ 13090 w 19635"/>
                  <a:gd name="connsiteY8" fmla="*/ 216184 h 21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35" h="216183">
                    <a:moveTo>
                      <a:pt x="13090" y="216184"/>
                    </a:moveTo>
                    <a:cubicBezTo>
                      <a:pt x="9462" y="216184"/>
                      <a:pt x="6545" y="213243"/>
                      <a:pt x="6545" y="209638"/>
                    </a:cubicBezTo>
                    <a:lnTo>
                      <a:pt x="6545" y="13091"/>
                    </a:lnTo>
                    <a:cubicBezTo>
                      <a:pt x="2917" y="13091"/>
                      <a:pt x="0" y="10150"/>
                      <a:pt x="0" y="6545"/>
                    </a:cubicBezTo>
                    <a:cubicBezTo>
                      <a:pt x="0" y="2917"/>
                      <a:pt x="2941" y="0"/>
                      <a:pt x="6545" y="0"/>
                    </a:cubicBezTo>
                    <a:lnTo>
                      <a:pt x="13090" y="0"/>
                    </a:lnTo>
                    <a:cubicBezTo>
                      <a:pt x="16719" y="0"/>
                      <a:pt x="19636" y="2941"/>
                      <a:pt x="19636" y="6545"/>
                    </a:cubicBezTo>
                    <a:lnTo>
                      <a:pt x="19636" y="209638"/>
                    </a:lnTo>
                    <a:cubicBezTo>
                      <a:pt x="19659" y="213267"/>
                      <a:pt x="16719" y="216184"/>
                      <a:pt x="13090" y="216184"/>
                    </a:cubicBezTo>
                    <a:close/>
                  </a:path>
                </a:pathLst>
              </a:custGeom>
              <a:grpFill/>
              <a:ln w="2369" cap="flat">
                <a:noFill/>
                <a:prstDash val="solid"/>
                <a:miter/>
              </a:ln>
            </p:spPr>
            <p:txBody>
              <a:bodyPr rtlCol="0" anchor="ctr"/>
              <a:lstStyle/>
              <a:p>
                <a:endParaRPr lang="en-GB" dirty="0"/>
              </a:p>
            </p:txBody>
          </p:sp>
          <p:sp>
            <p:nvSpPr>
              <p:cNvPr id="569" name="Freihandform: Form 476">
                <a:extLst>
                  <a:ext uri="{FF2B5EF4-FFF2-40B4-BE49-F238E27FC236}">
                    <a16:creationId xmlns:a16="http://schemas.microsoft.com/office/drawing/2014/main" id="{662C19F0-7165-40A0-869A-6F89CB9DCE27}"/>
                  </a:ext>
                </a:extLst>
              </p:cNvPr>
              <p:cNvSpPr/>
              <p:nvPr/>
            </p:nvSpPr>
            <p:spPr>
              <a:xfrm>
                <a:off x="2859356" y="3520046"/>
                <a:ext cx="19635" cy="216183"/>
              </a:xfrm>
              <a:custGeom>
                <a:avLst/>
                <a:gdLst>
                  <a:gd name="connsiteX0" fmla="*/ 6545 w 19635"/>
                  <a:gd name="connsiteY0" fmla="*/ 216184 h 216183"/>
                  <a:gd name="connsiteX1" fmla="*/ 0 w 19635"/>
                  <a:gd name="connsiteY1" fmla="*/ 209638 h 216183"/>
                  <a:gd name="connsiteX2" fmla="*/ 0 w 19635"/>
                  <a:gd name="connsiteY2" fmla="*/ 6545 h 216183"/>
                  <a:gd name="connsiteX3" fmla="*/ 6545 w 19635"/>
                  <a:gd name="connsiteY3" fmla="*/ 0 h 216183"/>
                  <a:gd name="connsiteX4" fmla="*/ 13090 w 19635"/>
                  <a:gd name="connsiteY4" fmla="*/ 0 h 216183"/>
                  <a:gd name="connsiteX5" fmla="*/ 19636 w 19635"/>
                  <a:gd name="connsiteY5" fmla="*/ 6545 h 216183"/>
                  <a:gd name="connsiteX6" fmla="*/ 13090 w 19635"/>
                  <a:gd name="connsiteY6" fmla="*/ 13091 h 216183"/>
                  <a:gd name="connsiteX7" fmla="*/ 13090 w 19635"/>
                  <a:gd name="connsiteY7" fmla="*/ 209638 h 216183"/>
                  <a:gd name="connsiteX8" fmla="*/ 6545 w 19635"/>
                  <a:gd name="connsiteY8" fmla="*/ 216184 h 21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35" h="216183">
                    <a:moveTo>
                      <a:pt x="6545" y="216184"/>
                    </a:moveTo>
                    <a:cubicBezTo>
                      <a:pt x="2917" y="216184"/>
                      <a:pt x="0" y="213243"/>
                      <a:pt x="0" y="209638"/>
                    </a:cubicBezTo>
                    <a:lnTo>
                      <a:pt x="0" y="6545"/>
                    </a:lnTo>
                    <a:cubicBezTo>
                      <a:pt x="0" y="2917"/>
                      <a:pt x="2941" y="0"/>
                      <a:pt x="6545" y="0"/>
                    </a:cubicBezTo>
                    <a:lnTo>
                      <a:pt x="13090" y="0"/>
                    </a:lnTo>
                    <a:cubicBezTo>
                      <a:pt x="16719" y="0"/>
                      <a:pt x="19636" y="2941"/>
                      <a:pt x="19636" y="6545"/>
                    </a:cubicBezTo>
                    <a:cubicBezTo>
                      <a:pt x="19636" y="10174"/>
                      <a:pt x="16695" y="13091"/>
                      <a:pt x="13090" y="13091"/>
                    </a:cubicBezTo>
                    <a:lnTo>
                      <a:pt x="13090" y="209638"/>
                    </a:lnTo>
                    <a:cubicBezTo>
                      <a:pt x="13090" y="213267"/>
                      <a:pt x="10174" y="216184"/>
                      <a:pt x="6545" y="216184"/>
                    </a:cubicBezTo>
                    <a:close/>
                  </a:path>
                </a:pathLst>
              </a:custGeom>
              <a:grpFill/>
              <a:ln w="2369" cap="flat">
                <a:noFill/>
                <a:prstDash val="solid"/>
                <a:miter/>
              </a:ln>
            </p:spPr>
            <p:txBody>
              <a:bodyPr rtlCol="0" anchor="ctr"/>
              <a:lstStyle/>
              <a:p>
                <a:endParaRPr lang="en-GB" dirty="0"/>
              </a:p>
            </p:txBody>
          </p:sp>
          <p:sp>
            <p:nvSpPr>
              <p:cNvPr id="570" name="Freihandform: Form 477">
                <a:extLst>
                  <a:ext uri="{FF2B5EF4-FFF2-40B4-BE49-F238E27FC236}">
                    <a16:creationId xmlns:a16="http://schemas.microsoft.com/office/drawing/2014/main" id="{B6495393-448F-4FB0-8A84-DA43FD98D885}"/>
                  </a:ext>
                </a:extLst>
              </p:cNvPr>
              <p:cNvSpPr/>
              <p:nvPr/>
            </p:nvSpPr>
            <p:spPr>
              <a:xfrm>
                <a:off x="2702127" y="3421773"/>
                <a:ext cx="209638" cy="216183"/>
              </a:xfrm>
              <a:custGeom>
                <a:avLst/>
                <a:gdLst>
                  <a:gd name="connsiteX0" fmla="*/ 203093 w 209638"/>
                  <a:gd name="connsiteY0" fmla="*/ 216184 h 216183"/>
                  <a:gd name="connsiteX1" fmla="*/ 183433 w 209638"/>
                  <a:gd name="connsiteY1" fmla="*/ 216184 h 216183"/>
                  <a:gd name="connsiteX2" fmla="*/ 176888 w 209638"/>
                  <a:gd name="connsiteY2" fmla="*/ 209638 h 216183"/>
                  <a:gd name="connsiteX3" fmla="*/ 183433 w 209638"/>
                  <a:gd name="connsiteY3" fmla="*/ 203093 h 216183"/>
                  <a:gd name="connsiteX4" fmla="*/ 196548 w 209638"/>
                  <a:gd name="connsiteY4" fmla="*/ 203093 h 216183"/>
                  <a:gd name="connsiteX5" fmla="*/ 196548 w 209638"/>
                  <a:gd name="connsiteY5" fmla="*/ 85160 h 216183"/>
                  <a:gd name="connsiteX6" fmla="*/ 131024 w 209638"/>
                  <a:gd name="connsiteY6" fmla="*/ 13091 h 216183"/>
                  <a:gd name="connsiteX7" fmla="*/ 78614 w 209638"/>
                  <a:gd name="connsiteY7" fmla="*/ 13091 h 216183"/>
                  <a:gd name="connsiteX8" fmla="*/ 13090 w 209638"/>
                  <a:gd name="connsiteY8" fmla="*/ 85160 h 216183"/>
                  <a:gd name="connsiteX9" fmla="*/ 13090 w 209638"/>
                  <a:gd name="connsiteY9" fmla="*/ 203093 h 216183"/>
                  <a:gd name="connsiteX10" fmla="*/ 26205 w 209638"/>
                  <a:gd name="connsiteY10" fmla="*/ 203093 h 216183"/>
                  <a:gd name="connsiteX11" fmla="*/ 32750 w 209638"/>
                  <a:gd name="connsiteY11" fmla="*/ 209638 h 216183"/>
                  <a:gd name="connsiteX12" fmla="*/ 26205 w 209638"/>
                  <a:gd name="connsiteY12" fmla="*/ 216184 h 216183"/>
                  <a:gd name="connsiteX13" fmla="*/ 6545 w 209638"/>
                  <a:gd name="connsiteY13" fmla="*/ 216184 h 216183"/>
                  <a:gd name="connsiteX14" fmla="*/ 0 w 209638"/>
                  <a:gd name="connsiteY14" fmla="*/ 209638 h 216183"/>
                  <a:gd name="connsiteX15" fmla="*/ 0 w 209638"/>
                  <a:gd name="connsiteY15" fmla="*/ 85160 h 216183"/>
                  <a:gd name="connsiteX16" fmla="*/ 78614 w 209638"/>
                  <a:gd name="connsiteY16" fmla="*/ 0 h 216183"/>
                  <a:gd name="connsiteX17" fmla="*/ 131024 w 209638"/>
                  <a:gd name="connsiteY17" fmla="*/ 0 h 216183"/>
                  <a:gd name="connsiteX18" fmla="*/ 209638 w 209638"/>
                  <a:gd name="connsiteY18" fmla="*/ 85160 h 216183"/>
                  <a:gd name="connsiteX19" fmla="*/ 209638 w 209638"/>
                  <a:gd name="connsiteY19" fmla="*/ 209638 h 216183"/>
                  <a:gd name="connsiteX20" fmla="*/ 203093 w 209638"/>
                  <a:gd name="connsiteY20" fmla="*/ 216184 h 216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9638" h="216183">
                    <a:moveTo>
                      <a:pt x="203093" y="216184"/>
                    </a:moveTo>
                    <a:lnTo>
                      <a:pt x="183433" y="216184"/>
                    </a:lnTo>
                    <a:cubicBezTo>
                      <a:pt x="179805" y="216184"/>
                      <a:pt x="176888" y="213243"/>
                      <a:pt x="176888" y="209638"/>
                    </a:cubicBezTo>
                    <a:cubicBezTo>
                      <a:pt x="176888" y="206010"/>
                      <a:pt x="179829" y="203093"/>
                      <a:pt x="183433" y="203093"/>
                    </a:cubicBezTo>
                    <a:lnTo>
                      <a:pt x="196548" y="203093"/>
                    </a:lnTo>
                    <a:lnTo>
                      <a:pt x="196548" y="85160"/>
                    </a:lnTo>
                    <a:cubicBezTo>
                      <a:pt x="196548" y="43398"/>
                      <a:pt x="168991" y="13091"/>
                      <a:pt x="131024" y="13091"/>
                    </a:cubicBezTo>
                    <a:lnTo>
                      <a:pt x="78614" y="13091"/>
                    </a:lnTo>
                    <a:cubicBezTo>
                      <a:pt x="40647" y="13091"/>
                      <a:pt x="13090" y="43398"/>
                      <a:pt x="13090" y="85160"/>
                    </a:cubicBezTo>
                    <a:lnTo>
                      <a:pt x="13090" y="203093"/>
                    </a:lnTo>
                    <a:lnTo>
                      <a:pt x="26205" y="203093"/>
                    </a:lnTo>
                    <a:cubicBezTo>
                      <a:pt x="29833" y="203093"/>
                      <a:pt x="32750" y="206034"/>
                      <a:pt x="32750" y="209638"/>
                    </a:cubicBezTo>
                    <a:cubicBezTo>
                      <a:pt x="32750" y="213267"/>
                      <a:pt x="29809" y="216184"/>
                      <a:pt x="26205" y="216184"/>
                    </a:cubicBezTo>
                    <a:lnTo>
                      <a:pt x="6545" y="216184"/>
                    </a:lnTo>
                    <a:cubicBezTo>
                      <a:pt x="2917" y="216184"/>
                      <a:pt x="0" y="213243"/>
                      <a:pt x="0" y="209638"/>
                    </a:cubicBezTo>
                    <a:lnTo>
                      <a:pt x="0" y="85160"/>
                    </a:lnTo>
                    <a:cubicBezTo>
                      <a:pt x="0" y="36616"/>
                      <a:pt x="33793" y="0"/>
                      <a:pt x="78614" y="0"/>
                    </a:cubicBezTo>
                    <a:lnTo>
                      <a:pt x="131024" y="0"/>
                    </a:lnTo>
                    <a:cubicBezTo>
                      <a:pt x="175845" y="0"/>
                      <a:pt x="209638" y="36616"/>
                      <a:pt x="209638" y="85160"/>
                    </a:cubicBezTo>
                    <a:lnTo>
                      <a:pt x="209638" y="209638"/>
                    </a:lnTo>
                    <a:cubicBezTo>
                      <a:pt x="209638" y="213267"/>
                      <a:pt x="206698" y="216184"/>
                      <a:pt x="203093" y="216184"/>
                    </a:cubicBezTo>
                    <a:close/>
                  </a:path>
                </a:pathLst>
              </a:custGeom>
              <a:grpFill/>
              <a:ln w="2369" cap="flat">
                <a:noFill/>
                <a:prstDash val="solid"/>
                <a:miter/>
              </a:ln>
            </p:spPr>
            <p:txBody>
              <a:bodyPr rtlCol="0" anchor="ctr"/>
              <a:lstStyle/>
              <a:p>
                <a:endParaRPr lang="en-GB" dirty="0"/>
              </a:p>
            </p:txBody>
          </p:sp>
          <p:sp>
            <p:nvSpPr>
              <p:cNvPr id="571" name="Freihandform: Form 479">
                <a:extLst>
                  <a:ext uri="{FF2B5EF4-FFF2-40B4-BE49-F238E27FC236}">
                    <a16:creationId xmlns:a16="http://schemas.microsoft.com/office/drawing/2014/main" id="{EC130FEC-7B83-4ADD-85F2-0D7A727E789E}"/>
                  </a:ext>
                </a:extLst>
              </p:cNvPr>
              <p:cNvSpPr/>
              <p:nvPr/>
            </p:nvSpPr>
            <p:spPr>
              <a:xfrm>
                <a:off x="2915043" y="3454546"/>
                <a:ext cx="134291" cy="203069"/>
              </a:xfrm>
              <a:custGeom>
                <a:avLst/>
                <a:gdLst>
                  <a:gd name="connsiteX0" fmla="*/ 127746 w 134291"/>
                  <a:gd name="connsiteY0" fmla="*/ 203069 h 203069"/>
                  <a:gd name="connsiteX1" fmla="*/ 114632 w 134291"/>
                  <a:gd name="connsiteY1" fmla="*/ 203069 h 203069"/>
                  <a:gd name="connsiteX2" fmla="*/ 108087 w 134291"/>
                  <a:gd name="connsiteY2" fmla="*/ 196524 h 203069"/>
                  <a:gd name="connsiteX3" fmla="*/ 114632 w 134291"/>
                  <a:gd name="connsiteY3" fmla="*/ 189979 h 203069"/>
                  <a:gd name="connsiteX4" fmla="*/ 121177 w 134291"/>
                  <a:gd name="connsiteY4" fmla="*/ 189979 h 203069"/>
                  <a:gd name="connsiteX5" fmla="*/ 121177 w 134291"/>
                  <a:gd name="connsiteY5" fmla="*/ 70077 h 203069"/>
                  <a:gd name="connsiteX6" fmla="*/ 63076 w 134291"/>
                  <a:gd name="connsiteY6" fmla="*/ 13091 h 203069"/>
                  <a:gd name="connsiteX7" fmla="*/ 22073 w 134291"/>
                  <a:gd name="connsiteY7" fmla="*/ 13091 h 203069"/>
                  <a:gd name="connsiteX8" fmla="*/ 8437 w 134291"/>
                  <a:gd name="connsiteY8" fmla="*/ 15272 h 203069"/>
                  <a:gd name="connsiteX9" fmla="*/ 280 w 134291"/>
                  <a:gd name="connsiteY9" fmla="*/ 10885 h 203069"/>
                  <a:gd name="connsiteX10" fmla="*/ 4667 w 134291"/>
                  <a:gd name="connsiteY10" fmla="*/ 2727 h 203069"/>
                  <a:gd name="connsiteX11" fmla="*/ 22073 w 134291"/>
                  <a:gd name="connsiteY11" fmla="*/ 0 h 203069"/>
                  <a:gd name="connsiteX12" fmla="*/ 63076 w 134291"/>
                  <a:gd name="connsiteY12" fmla="*/ 0 h 203069"/>
                  <a:gd name="connsiteX13" fmla="*/ 134292 w 134291"/>
                  <a:gd name="connsiteY13" fmla="*/ 70077 h 203069"/>
                  <a:gd name="connsiteX14" fmla="*/ 134292 w 134291"/>
                  <a:gd name="connsiteY14" fmla="*/ 196548 h 203069"/>
                  <a:gd name="connsiteX15" fmla="*/ 127746 w 134291"/>
                  <a:gd name="connsiteY15" fmla="*/ 203069 h 203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4291" h="203069">
                    <a:moveTo>
                      <a:pt x="127746" y="203069"/>
                    </a:moveTo>
                    <a:lnTo>
                      <a:pt x="114632" y="203069"/>
                    </a:lnTo>
                    <a:cubicBezTo>
                      <a:pt x="111004" y="203069"/>
                      <a:pt x="108087" y="200129"/>
                      <a:pt x="108087" y="196524"/>
                    </a:cubicBezTo>
                    <a:cubicBezTo>
                      <a:pt x="108087" y="192896"/>
                      <a:pt x="111027" y="189979"/>
                      <a:pt x="114632" y="189979"/>
                    </a:cubicBezTo>
                    <a:lnTo>
                      <a:pt x="121177" y="189979"/>
                    </a:lnTo>
                    <a:lnTo>
                      <a:pt x="121177" y="70077"/>
                    </a:lnTo>
                    <a:cubicBezTo>
                      <a:pt x="121177" y="38655"/>
                      <a:pt x="95115" y="13091"/>
                      <a:pt x="63076" y="13091"/>
                    </a:cubicBezTo>
                    <a:lnTo>
                      <a:pt x="22073" y="13091"/>
                    </a:lnTo>
                    <a:cubicBezTo>
                      <a:pt x="16168" y="13091"/>
                      <a:pt x="13892" y="13612"/>
                      <a:pt x="8437" y="15272"/>
                    </a:cubicBezTo>
                    <a:cubicBezTo>
                      <a:pt x="4951" y="16292"/>
                      <a:pt x="1323" y="14347"/>
                      <a:pt x="280" y="10885"/>
                    </a:cubicBezTo>
                    <a:cubicBezTo>
                      <a:pt x="-764" y="7423"/>
                      <a:pt x="1204" y="3771"/>
                      <a:pt x="4667" y="2727"/>
                    </a:cubicBezTo>
                    <a:cubicBezTo>
                      <a:pt x="10975" y="830"/>
                      <a:pt x="14532" y="0"/>
                      <a:pt x="22073" y="0"/>
                    </a:cubicBezTo>
                    <a:lnTo>
                      <a:pt x="63076" y="0"/>
                    </a:lnTo>
                    <a:cubicBezTo>
                      <a:pt x="102348" y="0"/>
                      <a:pt x="134292" y="31446"/>
                      <a:pt x="134292" y="70077"/>
                    </a:cubicBezTo>
                    <a:lnTo>
                      <a:pt x="134292" y="196548"/>
                    </a:lnTo>
                    <a:cubicBezTo>
                      <a:pt x="134315" y="200152"/>
                      <a:pt x="131375" y="203069"/>
                      <a:pt x="127746" y="203069"/>
                    </a:cubicBezTo>
                    <a:close/>
                  </a:path>
                </a:pathLst>
              </a:custGeom>
              <a:grpFill/>
              <a:ln w="2369" cap="flat">
                <a:noFill/>
                <a:prstDash val="solid"/>
                <a:miter/>
              </a:ln>
            </p:spPr>
            <p:txBody>
              <a:bodyPr rtlCol="0" anchor="ctr"/>
              <a:lstStyle/>
              <a:p>
                <a:endParaRPr lang="en-GB" dirty="0"/>
              </a:p>
            </p:txBody>
          </p:sp>
          <p:sp>
            <p:nvSpPr>
              <p:cNvPr id="572" name="Freihandform: Form 480">
                <a:extLst>
                  <a:ext uri="{FF2B5EF4-FFF2-40B4-BE49-F238E27FC236}">
                    <a16:creationId xmlns:a16="http://schemas.microsoft.com/office/drawing/2014/main" id="{4D9958B3-1428-4E0A-8433-516A2A4F88C2}"/>
                  </a:ext>
                </a:extLst>
              </p:cNvPr>
              <p:cNvSpPr/>
              <p:nvPr/>
            </p:nvSpPr>
            <p:spPr>
              <a:xfrm>
                <a:off x="3003494" y="3539706"/>
                <a:ext cx="19635" cy="196523"/>
              </a:xfrm>
              <a:custGeom>
                <a:avLst/>
                <a:gdLst>
                  <a:gd name="connsiteX0" fmla="*/ 6545 w 19635"/>
                  <a:gd name="connsiteY0" fmla="*/ 196524 h 196523"/>
                  <a:gd name="connsiteX1" fmla="*/ 0 w 19635"/>
                  <a:gd name="connsiteY1" fmla="*/ 189979 h 196523"/>
                  <a:gd name="connsiteX2" fmla="*/ 0 w 19635"/>
                  <a:gd name="connsiteY2" fmla="*/ 6545 h 196523"/>
                  <a:gd name="connsiteX3" fmla="*/ 6545 w 19635"/>
                  <a:gd name="connsiteY3" fmla="*/ 0 h 196523"/>
                  <a:gd name="connsiteX4" fmla="*/ 13091 w 19635"/>
                  <a:gd name="connsiteY4" fmla="*/ 0 h 196523"/>
                  <a:gd name="connsiteX5" fmla="*/ 19636 w 19635"/>
                  <a:gd name="connsiteY5" fmla="*/ 6545 h 196523"/>
                  <a:gd name="connsiteX6" fmla="*/ 13091 w 19635"/>
                  <a:gd name="connsiteY6" fmla="*/ 13090 h 196523"/>
                  <a:gd name="connsiteX7" fmla="*/ 13091 w 19635"/>
                  <a:gd name="connsiteY7" fmla="*/ 189979 h 196523"/>
                  <a:gd name="connsiteX8" fmla="*/ 6545 w 19635"/>
                  <a:gd name="connsiteY8" fmla="*/ 196524 h 196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35" h="196523">
                    <a:moveTo>
                      <a:pt x="6545" y="196524"/>
                    </a:moveTo>
                    <a:cubicBezTo>
                      <a:pt x="2917" y="196524"/>
                      <a:pt x="0" y="193583"/>
                      <a:pt x="0" y="189979"/>
                    </a:cubicBezTo>
                    <a:lnTo>
                      <a:pt x="0" y="6545"/>
                    </a:lnTo>
                    <a:cubicBezTo>
                      <a:pt x="0" y="2917"/>
                      <a:pt x="2941" y="0"/>
                      <a:pt x="6545" y="0"/>
                    </a:cubicBezTo>
                    <a:lnTo>
                      <a:pt x="13091" y="0"/>
                    </a:lnTo>
                    <a:cubicBezTo>
                      <a:pt x="16719" y="0"/>
                      <a:pt x="19636" y="2941"/>
                      <a:pt x="19636" y="6545"/>
                    </a:cubicBezTo>
                    <a:cubicBezTo>
                      <a:pt x="19636" y="10174"/>
                      <a:pt x="16695" y="13090"/>
                      <a:pt x="13091" y="13090"/>
                    </a:cubicBezTo>
                    <a:lnTo>
                      <a:pt x="13091" y="189979"/>
                    </a:lnTo>
                    <a:cubicBezTo>
                      <a:pt x="13091" y="193607"/>
                      <a:pt x="10174" y="196524"/>
                      <a:pt x="6545" y="196524"/>
                    </a:cubicBezTo>
                    <a:close/>
                  </a:path>
                </a:pathLst>
              </a:custGeom>
              <a:grpFill/>
              <a:ln w="2369" cap="flat">
                <a:noFill/>
                <a:prstDash val="solid"/>
                <a:miter/>
              </a:ln>
            </p:spPr>
            <p:txBody>
              <a:bodyPr rtlCol="0" anchor="ctr"/>
              <a:lstStyle/>
              <a:p>
                <a:endParaRPr lang="en-GB" dirty="0"/>
              </a:p>
            </p:txBody>
          </p:sp>
          <p:sp>
            <p:nvSpPr>
              <p:cNvPr id="573" name="Freihandform: Form 482">
                <a:extLst>
                  <a:ext uri="{FF2B5EF4-FFF2-40B4-BE49-F238E27FC236}">
                    <a16:creationId xmlns:a16="http://schemas.microsoft.com/office/drawing/2014/main" id="{4059886E-155C-441B-8657-7822FAD56BA3}"/>
                  </a:ext>
                </a:extLst>
              </p:cNvPr>
              <p:cNvSpPr/>
              <p:nvPr/>
            </p:nvSpPr>
            <p:spPr>
              <a:xfrm>
                <a:off x="2564534" y="3454523"/>
                <a:ext cx="132251" cy="203092"/>
              </a:xfrm>
              <a:custGeom>
                <a:avLst/>
                <a:gdLst>
                  <a:gd name="connsiteX0" fmla="*/ 19659 w 132251"/>
                  <a:gd name="connsiteY0" fmla="*/ 203093 h 203092"/>
                  <a:gd name="connsiteX1" fmla="*/ 6545 w 132251"/>
                  <a:gd name="connsiteY1" fmla="*/ 203093 h 203092"/>
                  <a:gd name="connsiteX2" fmla="*/ 0 w 132251"/>
                  <a:gd name="connsiteY2" fmla="*/ 196548 h 203092"/>
                  <a:gd name="connsiteX3" fmla="*/ 0 w 132251"/>
                  <a:gd name="connsiteY3" fmla="*/ 70077 h 203092"/>
                  <a:gd name="connsiteX4" fmla="*/ 71215 w 132251"/>
                  <a:gd name="connsiteY4" fmla="*/ 0 h 203092"/>
                  <a:gd name="connsiteX5" fmla="*/ 112218 w 132251"/>
                  <a:gd name="connsiteY5" fmla="*/ 0 h 203092"/>
                  <a:gd name="connsiteX6" fmla="*/ 127585 w 132251"/>
                  <a:gd name="connsiteY6" fmla="*/ 2324 h 203092"/>
                  <a:gd name="connsiteX7" fmla="*/ 131972 w 132251"/>
                  <a:gd name="connsiteY7" fmla="*/ 10482 h 203092"/>
                  <a:gd name="connsiteX8" fmla="*/ 123815 w 132251"/>
                  <a:gd name="connsiteY8" fmla="*/ 14869 h 203092"/>
                  <a:gd name="connsiteX9" fmla="*/ 112218 w 132251"/>
                  <a:gd name="connsiteY9" fmla="*/ 13091 h 203092"/>
                  <a:gd name="connsiteX10" fmla="*/ 71215 w 132251"/>
                  <a:gd name="connsiteY10" fmla="*/ 13091 h 203092"/>
                  <a:gd name="connsiteX11" fmla="*/ 13114 w 132251"/>
                  <a:gd name="connsiteY11" fmla="*/ 70077 h 203092"/>
                  <a:gd name="connsiteX12" fmla="*/ 13114 w 132251"/>
                  <a:gd name="connsiteY12" fmla="*/ 189979 h 203092"/>
                  <a:gd name="connsiteX13" fmla="*/ 19659 w 132251"/>
                  <a:gd name="connsiteY13" fmla="*/ 189979 h 203092"/>
                  <a:gd name="connsiteX14" fmla="*/ 26205 w 132251"/>
                  <a:gd name="connsiteY14" fmla="*/ 196524 h 203092"/>
                  <a:gd name="connsiteX15" fmla="*/ 19659 w 132251"/>
                  <a:gd name="connsiteY15" fmla="*/ 203093 h 203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2251" h="203092">
                    <a:moveTo>
                      <a:pt x="19659" y="203093"/>
                    </a:moveTo>
                    <a:lnTo>
                      <a:pt x="6545" y="203093"/>
                    </a:lnTo>
                    <a:cubicBezTo>
                      <a:pt x="2917" y="203093"/>
                      <a:pt x="0" y="200152"/>
                      <a:pt x="0" y="196548"/>
                    </a:cubicBezTo>
                    <a:lnTo>
                      <a:pt x="0" y="70077"/>
                    </a:lnTo>
                    <a:cubicBezTo>
                      <a:pt x="0" y="31422"/>
                      <a:pt x="31944" y="0"/>
                      <a:pt x="71215" y="0"/>
                    </a:cubicBezTo>
                    <a:lnTo>
                      <a:pt x="112218" y="0"/>
                    </a:lnTo>
                    <a:cubicBezTo>
                      <a:pt x="119593" y="0"/>
                      <a:pt x="121206" y="403"/>
                      <a:pt x="127585" y="2324"/>
                    </a:cubicBezTo>
                    <a:cubicBezTo>
                      <a:pt x="131048" y="3368"/>
                      <a:pt x="133016" y="7020"/>
                      <a:pt x="131972" y="10482"/>
                    </a:cubicBezTo>
                    <a:cubicBezTo>
                      <a:pt x="130929" y="13944"/>
                      <a:pt x="127277" y="15889"/>
                      <a:pt x="123815" y="14869"/>
                    </a:cubicBezTo>
                    <a:cubicBezTo>
                      <a:pt x="118171" y="13162"/>
                      <a:pt x="117933" y="13091"/>
                      <a:pt x="112218" y="13091"/>
                    </a:cubicBezTo>
                    <a:lnTo>
                      <a:pt x="71215" y="13091"/>
                    </a:lnTo>
                    <a:cubicBezTo>
                      <a:pt x="39177" y="13091"/>
                      <a:pt x="13114" y="38655"/>
                      <a:pt x="13114" y="70077"/>
                    </a:cubicBezTo>
                    <a:lnTo>
                      <a:pt x="13114" y="189979"/>
                    </a:lnTo>
                    <a:lnTo>
                      <a:pt x="19659" y="189979"/>
                    </a:lnTo>
                    <a:cubicBezTo>
                      <a:pt x="23288" y="189979"/>
                      <a:pt x="26205" y="192919"/>
                      <a:pt x="26205" y="196524"/>
                    </a:cubicBezTo>
                    <a:cubicBezTo>
                      <a:pt x="26205" y="200176"/>
                      <a:pt x="23288" y="203093"/>
                      <a:pt x="19659" y="203093"/>
                    </a:cubicBezTo>
                    <a:close/>
                  </a:path>
                </a:pathLst>
              </a:custGeom>
              <a:grpFill/>
              <a:ln w="2369" cap="flat">
                <a:noFill/>
                <a:prstDash val="solid"/>
                <a:miter/>
              </a:ln>
            </p:spPr>
            <p:txBody>
              <a:bodyPr rtlCol="0" anchor="ctr"/>
              <a:lstStyle/>
              <a:p>
                <a:endParaRPr lang="en-GB" dirty="0"/>
              </a:p>
            </p:txBody>
          </p:sp>
          <p:sp>
            <p:nvSpPr>
              <p:cNvPr id="574" name="Freihandform: Form 483">
                <a:extLst>
                  <a:ext uri="{FF2B5EF4-FFF2-40B4-BE49-F238E27FC236}">
                    <a16:creationId xmlns:a16="http://schemas.microsoft.com/office/drawing/2014/main" id="{48B02F02-4D32-449C-9DEF-CBD4DED3F47B}"/>
                  </a:ext>
                </a:extLst>
              </p:cNvPr>
              <p:cNvSpPr/>
              <p:nvPr/>
            </p:nvSpPr>
            <p:spPr>
              <a:xfrm>
                <a:off x="2590763" y="3539706"/>
                <a:ext cx="19635" cy="196523"/>
              </a:xfrm>
              <a:custGeom>
                <a:avLst/>
                <a:gdLst>
                  <a:gd name="connsiteX0" fmla="*/ 13091 w 19635"/>
                  <a:gd name="connsiteY0" fmla="*/ 196524 h 196523"/>
                  <a:gd name="connsiteX1" fmla="*/ 6545 w 19635"/>
                  <a:gd name="connsiteY1" fmla="*/ 189979 h 196523"/>
                  <a:gd name="connsiteX2" fmla="*/ 6545 w 19635"/>
                  <a:gd name="connsiteY2" fmla="*/ 13090 h 196523"/>
                  <a:gd name="connsiteX3" fmla="*/ 0 w 19635"/>
                  <a:gd name="connsiteY3" fmla="*/ 6545 h 196523"/>
                  <a:gd name="connsiteX4" fmla="*/ 6545 w 19635"/>
                  <a:gd name="connsiteY4" fmla="*/ 0 h 196523"/>
                  <a:gd name="connsiteX5" fmla="*/ 13091 w 19635"/>
                  <a:gd name="connsiteY5" fmla="*/ 0 h 196523"/>
                  <a:gd name="connsiteX6" fmla="*/ 19636 w 19635"/>
                  <a:gd name="connsiteY6" fmla="*/ 6545 h 196523"/>
                  <a:gd name="connsiteX7" fmla="*/ 19636 w 19635"/>
                  <a:gd name="connsiteY7" fmla="*/ 189979 h 196523"/>
                  <a:gd name="connsiteX8" fmla="*/ 13091 w 19635"/>
                  <a:gd name="connsiteY8" fmla="*/ 196524 h 196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35" h="196523">
                    <a:moveTo>
                      <a:pt x="13091" y="196524"/>
                    </a:moveTo>
                    <a:cubicBezTo>
                      <a:pt x="9462" y="196524"/>
                      <a:pt x="6545" y="193583"/>
                      <a:pt x="6545" y="189979"/>
                    </a:cubicBezTo>
                    <a:lnTo>
                      <a:pt x="6545" y="13090"/>
                    </a:lnTo>
                    <a:cubicBezTo>
                      <a:pt x="2917" y="13090"/>
                      <a:pt x="0" y="10150"/>
                      <a:pt x="0" y="6545"/>
                    </a:cubicBezTo>
                    <a:cubicBezTo>
                      <a:pt x="0" y="2917"/>
                      <a:pt x="2941" y="0"/>
                      <a:pt x="6545" y="0"/>
                    </a:cubicBezTo>
                    <a:lnTo>
                      <a:pt x="13091" y="0"/>
                    </a:lnTo>
                    <a:cubicBezTo>
                      <a:pt x="16719" y="0"/>
                      <a:pt x="19636" y="2941"/>
                      <a:pt x="19636" y="6545"/>
                    </a:cubicBezTo>
                    <a:lnTo>
                      <a:pt x="19636" y="189979"/>
                    </a:lnTo>
                    <a:cubicBezTo>
                      <a:pt x="19636" y="193607"/>
                      <a:pt x="16695" y="196524"/>
                      <a:pt x="13091" y="196524"/>
                    </a:cubicBezTo>
                    <a:close/>
                  </a:path>
                </a:pathLst>
              </a:custGeom>
              <a:grpFill/>
              <a:ln w="2369" cap="flat">
                <a:noFill/>
                <a:prstDash val="solid"/>
                <a:miter/>
              </a:ln>
            </p:spPr>
            <p:txBody>
              <a:bodyPr rtlCol="0" anchor="ctr"/>
              <a:lstStyle/>
              <a:p>
                <a:endParaRPr lang="en-GB" dirty="0"/>
              </a:p>
            </p:txBody>
          </p:sp>
          <p:sp>
            <p:nvSpPr>
              <p:cNvPr id="575" name="Freihandform: Form 487">
                <a:extLst>
                  <a:ext uri="{FF2B5EF4-FFF2-40B4-BE49-F238E27FC236}">
                    <a16:creationId xmlns:a16="http://schemas.microsoft.com/office/drawing/2014/main" id="{E41B5419-2464-4599-924E-981DBE60F7D8}"/>
                  </a:ext>
                </a:extLst>
              </p:cNvPr>
              <p:cNvSpPr/>
              <p:nvPr/>
            </p:nvSpPr>
            <p:spPr>
              <a:xfrm>
                <a:off x="2858919" y="3310385"/>
                <a:ext cx="98716" cy="51176"/>
              </a:xfrm>
              <a:custGeom>
                <a:avLst/>
                <a:gdLst>
                  <a:gd name="connsiteX0" fmla="*/ 92166 w 98716"/>
                  <a:gd name="connsiteY0" fmla="*/ 51176 h 51176"/>
                  <a:gd name="connsiteX1" fmla="*/ 86237 w 98716"/>
                  <a:gd name="connsiteY1" fmla="*/ 47453 h 51176"/>
                  <a:gd name="connsiteX2" fmla="*/ 85004 w 98716"/>
                  <a:gd name="connsiteY2" fmla="*/ 44821 h 51176"/>
                  <a:gd name="connsiteX3" fmla="*/ 75257 w 98716"/>
                  <a:gd name="connsiteY3" fmla="*/ 25920 h 51176"/>
                  <a:gd name="connsiteX4" fmla="*/ 46301 w 98716"/>
                  <a:gd name="connsiteY4" fmla="*/ 13114 h 51176"/>
                  <a:gd name="connsiteX5" fmla="*/ 20096 w 98716"/>
                  <a:gd name="connsiteY5" fmla="*/ 13114 h 51176"/>
                  <a:gd name="connsiteX6" fmla="*/ 8500 w 98716"/>
                  <a:gd name="connsiteY6" fmla="*/ 14869 h 51176"/>
                  <a:gd name="connsiteX7" fmla="*/ 295 w 98716"/>
                  <a:gd name="connsiteY7" fmla="*/ 10553 h 51176"/>
                  <a:gd name="connsiteX8" fmla="*/ 4611 w 98716"/>
                  <a:gd name="connsiteY8" fmla="*/ 2348 h 51176"/>
                  <a:gd name="connsiteX9" fmla="*/ 20096 w 98716"/>
                  <a:gd name="connsiteY9" fmla="*/ 0 h 51176"/>
                  <a:gd name="connsiteX10" fmla="*/ 46301 w 98716"/>
                  <a:gd name="connsiteY10" fmla="*/ 0 h 51176"/>
                  <a:gd name="connsiteX11" fmla="*/ 84909 w 98716"/>
                  <a:gd name="connsiteY11" fmla="*/ 17051 h 51176"/>
                  <a:gd name="connsiteX12" fmla="*/ 96885 w 98716"/>
                  <a:gd name="connsiteY12" fmla="*/ 39272 h 51176"/>
                  <a:gd name="connsiteX13" fmla="*/ 98070 w 98716"/>
                  <a:gd name="connsiteY13" fmla="*/ 41809 h 51176"/>
                  <a:gd name="connsiteX14" fmla="*/ 94988 w 98716"/>
                  <a:gd name="connsiteY14" fmla="*/ 50536 h 51176"/>
                  <a:gd name="connsiteX15" fmla="*/ 92166 w 98716"/>
                  <a:gd name="connsiteY15" fmla="*/ 51176 h 5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8716" h="51176">
                    <a:moveTo>
                      <a:pt x="92166" y="51176"/>
                    </a:moveTo>
                    <a:cubicBezTo>
                      <a:pt x="89723" y="51176"/>
                      <a:pt x="87375" y="49801"/>
                      <a:pt x="86237" y="47453"/>
                    </a:cubicBezTo>
                    <a:lnTo>
                      <a:pt x="85004" y="44821"/>
                    </a:lnTo>
                    <a:cubicBezTo>
                      <a:pt x="79858" y="33770"/>
                      <a:pt x="76585" y="27414"/>
                      <a:pt x="75257" y="25920"/>
                    </a:cubicBezTo>
                    <a:cubicBezTo>
                      <a:pt x="67787" y="17786"/>
                      <a:pt x="57257" y="13114"/>
                      <a:pt x="46301" y="13114"/>
                    </a:cubicBezTo>
                    <a:lnTo>
                      <a:pt x="20096" y="13114"/>
                    </a:lnTo>
                    <a:cubicBezTo>
                      <a:pt x="16160" y="13114"/>
                      <a:pt x="12247" y="13707"/>
                      <a:pt x="8500" y="14869"/>
                    </a:cubicBezTo>
                    <a:cubicBezTo>
                      <a:pt x="5014" y="15936"/>
                      <a:pt x="1362" y="14015"/>
                      <a:pt x="295" y="10553"/>
                    </a:cubicBezTo>
                    <a:cubicBezTo>
                      <a:pt x="-773" y="7091"/>
                      <a:pt x="1148" y="3415"/>
                      <a:pt x="4611" y="2348"/>
                    </a:cubicBezTo>
                    <a:cubicBezTo>
                      <a:pt x="9638" y="783"/>
                      <a:pt x="14855" y="0"/>
                      <a:pt x="20096" y="0"/>
                    </a:cubicBezTo>
                    <a:lnTo>
                      <a:pt x="46301" y="0"/>
                    </a:lnTo>
                    <a:cubicBezTo>
                      <a:pt x="60910" y="0"/>
                      <a:pt x="74972" y="6213"/>
                      <a:pt x="84909" y="17051"/>
                    </a:cubicBezTo>
                    <a:cubicBezTo>
                      <a:pt x="87660" y="20039"/>
                      <a:pt x="91383" y="27462"/>
                      <a:pt x="96885" y="39272"/>
                    </a:cubicBezTo>
                    <a:lnTo>
                      <a:pt x="98070" y="41809"/>
                    </a:lnTo>
                    <a:cubicBezTo>
                      <a:pt x="99636" y="45082"/>
                      <a:pt x="98260" y="48971"/>
                      <a:pt x="94988" y="50536"/>
                    </a:cubicBezTo>
                    <a:cubicBezTo>
                      <a:pt x="94063" y="50987"/>
                      <a:pt x="93114" y="51176"/>
                      <a:pt x="92166" y="51176"/>
                    </a:cubicBezTo>
                    <a:close/>
                  </a:path>
                </a:pathLst>
              </a:custGeom>
              <a:grpFill/>
              <a:ln w="2369" cap="flat">
                <a:noFill/>
                <a:prstDash val="solid"/>
                <a:miter/>
              </a:ln>
            </p:spPr>
            <p:txBody>
              <a:bodyPr rtlCol="0" anchor="ctr"/>
              <a:lstStyle/>
              <a:p>
                <a:endParaRPr lang="en-GB" dirty="0"/>
              </a:p>
            </p:txBody>
          </p:sp>
          <p:sp>
            <p:nvSpPr>
              <p:cNvPr id="576" name="Freihandform: Form 490">
                <a:extLst>
                  <a:ext uri="{FF2B5EF4-FFF2-40B4-BE49-F238E27FC236}">
                    <a16:creationId xmlns:a16="http://schemas.microsoft.com/office/drawing/2014/main" id="{CC8ACBD0-C13A-4B60-8E89-A8A42EA011F2}"/>
                  </a:ext>
                </a:extLst>
              </p:cNvPr>
              <p:cNvSpPr/>
              <p:nvPr/>
            </p:nvSpPr>
            <p:spPr>
              <a:xfrm>
                <a:off x="2655024" y="3310361"/>
                <a:ext cx="99995" cy="49160"/>
              </a:xfrm>
              <a:custGeom>
                <a:avLst/>
                <a:gdLst>
                  <a:gd name="connsiteX0" fmla="*/ 6551 w 99995"/>
                  <a:gd name="connsiteY0" fmla="*/ 49161 h 49160"/>
                  <a:gd name="connsiteX1" fmla="*/ 3729 w 99995"/>
                  <a:gd name="connsiteY1" fmla="*/ 48520 h 49160"/>
                  <a:gd name="connsiteX2" fmla="*/ 646 w 99995"/>
                  <a:gd name="connsiteY2" fmla="*/ 39770 h 49160"/>
                  <a:gd name="connsiteX3" fmla="*/ 14827 w 99995"/>
                  <a:gd name="connsiteY3" fmla="*/ 17288 h 49160"/>
                  <a:gd name="connsiteX4" fmla="*/ 53648 w 99995"/>
                  <a:gd name="connsiteY4" fmla="*/ 0 h 49160"/>
                  <a:gd name="connsiteX5" fmla="*/ 79853 w 99995"/>
                  <a:gd name="connsiteY5" fmla="*/ 0 h 49160"/>
                  <a:gd name="connsiteX6" fmla="*/ 95386 w 99995"/>
                  <a:gd name="connsiteY6" fmla="*/ 2348 h 49160"/>
                  <a:gd name="connsiteX7" fmla="*/ 99702 w 99995"/>
                  <a:gd name="connsiteY7" fmla="*/ 10553 h 49160"/>
                  <a:gd name="connsiteX8" fmla="*/ 91497 w 99995"/>
                  <a:gd name="connsiteY8" fmla="*/ 14869 h 49160"/>
                  <a:gd name="connsiteX9" fmla="*/ 79877 w 99995"/>
                  <a:gd name="connsiteY9" fmla="*/ 13114 h 49160"/>
                  <a:gd name="connsiteX10" fmla="*/ 53648 w 99995"/>
                  <a:gd name="connsiteY10" fmla="*/ 13114 h 49160"/>
                  <a:gd name="connsiteX11" fmla="*/ 24527 w 99995"/>
                  <a:gd name="connsiteY11" fmla="*/ 26086 h 49160"/>
                  <a:gd name="connsiteX12" fmla="*/ 12456 w 99995"/>
                  <a:gd name="connsiteY12" fmla="*/ 45414 h 49160"/>
                  <a:gd name="connsiteX13" fmla="*/ 6551 w 99995"/>
                  <a:gd name="connsiteY13" fmla="*/ 49161 h 4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95" h="49160">
                    <a:moveTo>
                      <a:pt x="6551" y="49161"/>
                    </a:moveTo>
                    <a:cubicBezTo>
                      <a:pt x="5602" y="49161"/>
                      <a:pt x="4654" y="48947"/>
                      <a:pt x="3729" y="48520"/>
                    </a:cubicBezTo>
                    <a:cubicBezTo>
                      <a:pt x="456" y="46955"/>
                      <a:pt x="-919" y="43042"/>
                      <a:pt x="646" y="39770"/>
                    </a:cubicBezTo>
                    <a:cubicBezTo>
                      <a:pt x="2543" y="35833"/>
                      <a:pt x="11104" y="21391"/>
                      <a:pt x="14827" y="17288"/>
                    </a:cubicBezTo>
                    <a:cubicBezTo>
                      <a:pt x="24788" y="6308"/>
                      <a:pt x="38945" y="0"/>
                      <a:pt x="53648" y="0"/>
                    </a:cubicBezTo>
                    <a:lnTo>
                      <a:pt x="79853" y="0"/>
                    </a:lnTo>
                    <a:cubicBezTo>
                      <a:pt x="85142" y="0"/>
                      <a:pt x="90359" y="783"/>
                      <a:pt x="95386" y="2348"/>
                    </a:cubicBezTo>
                    <a:cubicBezTo>
                      <a:pt x="98825" y="3439"/>
                      <a:pt x="100770" y="7091"/>
                      <a:pt x="99702" y="10553"/>
                    </a:cubicBezTo>
                    <a:cubicBezTo>
                      <a:pt x="98612" y="13992"/>
                      <a:pt x="94960" y="15936"/>
                      <a:pt x="91497" y="14869"/>
                    </a:cubicBezTo>
                    <a:cubicBezTo>
                      <a:pt x="87750" y="13707"/>
                      <a:pt x="83837" y="13114"/>
                      <a:pt x="79877" y="13114"/>
                    </a:cubicBezTo>
                    <a:lnTo>
                      <a:pt x="53648" y="13114"/>
                    </a:lnTo>
                    <a:cubicBezTo>
                      <a:pt x="42621" y="13114"/>
                      <a:pt x="32021" y="17834"/>
                      <a:pt x="24527" y="26086"/>
                    </a:cubicBezTo>
                    <a:cubicBezTo>
                      <a:pt x="22298" y="28529"/>
                      <a:pt x="14401" y="41358"/>
                      <a:pt x="12456" y="45414"/>
                    </a:cubicBezTo>
                    <a:cubicBezTo>
                      <a:pt x="11341" y="47785"/>
                      <a:pt x="8994" y="49161"/>
                      <a:pt x="6551" y="49161"/>
                    </a:cubicBezTo>
                    <a:close/>
                  </a:path>
                </a:pathLst>
              </a:custGeom>
              <a:grpFill/>
              <a:ln w="2369" cap="flat">
                <a:noFill/>
                <a:prstDash val="solid"/>
                <a:miter/>
              </a:ln>
            </p:spPr>
            <p:txBody>
              <a:bodyPr rtlCol="0" anchor="ctr"/>
              <a:lstStyle/>
              <a:p>
                <a:endParaRPr lang="en-GB" dirty="0"/>
              </a:p>
            </p:txBody>
          </p:sp>
        </p:grpSp>
        <p:grpSp>
          <p:nvGrpSpPr>
            <p:cNvPr id="557" name="Group 556">
              <a:extLst>
                <a:ext uri="{FF2B5EF4-FFF2-40B4-BE49-F238E27FC236}">
                  <a16:creationId xmlns:a16="http://schemas.microsoft.com/office/drawing/2014/main" id="{54129D4C-0395-4B31-BC0C-029BCC0EE5A9}"/>
                </a:ext>
              </a:extLst>
            </p:cNvPr>
            <p:cNvGrpSpPr/>
            <p:nvPr/>
          </p:nvGrpSpPr>
          <p:grpSpPr>
            <a:xfrm>
              <a:off x="7138509" y="3197061"/>
              <a:ext cx="321237" cy="182771"/>
              <a:chOff x="2616944" y="3225201"/>
              <a:chExt cx="380003" cy="216207"/>
            </a:xfrm>
          </p:grpSpPr>
          <p:sp>
            <p:nvSpPr>
              <p:cNvPr id="558" name="Freihandform: Form 478">
                <a:extLst>
                  <a:ext uri="{FF2B5EF4-FFF2-40B4-BE49-F238E27FC236}">
                    <a16:creationId xmlns:a16="http://schemas.microsoft.com/office/drawing/2014/main" id="{22B05847-3AC7-46CC-802D-9700A9FE7682}"/>
                  </a:ext>
                </a:extLst>
              </p:cNvPr>
              <p:cNvSpPr/>
              <p:nvPr/>
            </p:nvSpPr>
            <p:spPr>
              <a:xfrm>
                <a:off x="2761082" y="3303839"/>
                <a:ext cx="91728" cy="104819"/>
              </a:xfrm>
              <a:custGeom>
                <a:avLst/>
                <a:gdLst>
                  <a:gd name="connsiteX0" fmla="*/ 45864 w 91728"/>
                  <a:gd name="connsiteY0" fmla="*/ 104819 h 104819"/>
                  <a:gd name="connsiteX1" fmla="*/ 0 w 91728"/>
                  <a:gd name="connsiteY1" fmla="*/ 52409 h 104819"/>
                  <a:gd name="connsiteX2" fmla="*/ 45864 w 91728"/>
                  <a:gd name="connsiteY2" fmla="*/ 0 h 104819"/>
                  <a:gd name="connsiteX3" fmla="*/ 91729 w 91728"/>
                  <a:gd name="connsiteY3" fmla="*/ 52409 h 104819"/>
                  <a:gd name="connsiteX4" fmla="*/ 45864 w 91728"/>
                  <a:gd name="connsiteY4" fmla="*/ 104819 h 104819"/>
                  <a:gd name="connsiteX5" fmla="*/ 45864 w 91728"/>
                  <a:gd name="connsiteY5" fmla="*/ 13091 h 104819"/>
                  <a:gd name="connsiteX6" fmla="*/ 13114 w 91728"/>
                  <a:gd name="connsiteY6" fmla="*/ 52409 h 104819"/>
                  <a:gd name="connsiteX7" fmla="*/ 45864 w 91728"/>
                  <a:gd name="connsiteY7" fmla="*/ 91729 h 104819"/>
                  <a:gd name="connsiteX8" fmla="*/ 78614 w 91728"/>
                  <a:gd name="connsiteY8" fmla="*/ 52409 h 104819"/>
                  <a:gd name="connsiteX9" fmla="*/ 45864 w 91728"/>
                  <a:gd name="connsiteY9" fmla="*/ 13091 h 10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28" h="104819">
                    <a:moveTo>
                      <a:pt x="45864" y="104819"/>
                    </a:moveTo>
                    <a:cubicBezTo>
                      <a:pt x="18426" y="104819"/>
                      <a:pt x="0" y="83760"/>
                      <a:pt x="0" y="52409"/>
                    </a:cubicBezTo>
                    <a:cubicBezTo>
                      <a:pt x="0" y="21059"/>
                      <a:pt x="18426" y="0"/>
                      <a:pt x="45864" y="0"/>
                    </a:cubicBezTo>
                    <a:cubicBezTo>
                      <a:pt x="73302" y="0"/>
                      <a:pt x="91729" y="21059"/>
                      <a:pt x="91729" y="52409"/>
                    </a:cubicBezTo>
                    <a:cubicBezTo>
                      <a:pt x="91729" y="83760"/>
                      <a:pt x="73278" y="104819"/>
                      <a:pt x="45864" y="104819"/>
                    </a:cubicBezTo>
                    <a:close/>
                    <a:moveTo>
                      <a:pt x="45864" y="13091"/>
                    </a:moveTo>
                    <a:cubicBezTo>
                      <a:pt x="21675" y="13091"/>
                      <a:pt x="13114" y="34268"/>
                      <a:pt x="13114" y="52409"/>
                    </a:cubicBezTo>
                    <a:cubicBezTo>
                      <a:pt x="13114" y="70551"/>
                      <a:pt x="21699" y="91729"/>
                      <a:pt x="45864" y="91729"/>
                    </a:cubicBezTo>
                    <a:cubicBezTo>
                      <a:pt x="70053" y="91729"/>
                      <a:pt x="78614" y="70551"/>
                      <a:pt x="78614" y="52409"/>
                    </a:cubicBezTo>
                    <a:cubicBezTo>
                      <a:pt x="78614" y="34268"/>
                      <a:pt x="70030" y="13091"/>
                      <a:pt x="45864" y="13091"/>
                    </a:cubicBezTo>
                    <a:close/>
                  </a:path>
                </a:pathLst>
              </a:custGeom>
              <a:solidFill>
                <a:schemeClr val="accent1"/>
              </a:solidFill>
              <a:ln w="2369" cap="flat">
                <a:noFill/>
                <a:prstDash val="solid"/>
                <a:miter/>
              </a:ln>
            </p:spPr>
            <p:txBody>
              <a:bodyPr rtlCol="0" anchor="ctr"/>
              <a:lstStyle/>
              <a:p>
                <a:endParaRPr lang="en-GB" dirty="0"/>
              </a:p>
            </p:txBody>
          </p:sp>
          <p:sp>
            <p:nvSpPr>
              <p:cNvPr id="559" name="Freihandform: Form 481">
                <a:extLst>
                  <a:ext uri="{FF2B5EF4-FFF2-40B4-BE49-F238E27FC236}">
                    <a16:creationId xmlns:a16="http://schemas.microsoft.com/office/drawing/2014/main" id="{16F83C9F-20B7-47A5-8F7F-90C497B9E634}"/>
                  </a:ext>
                </a:extLst>
              </p:cNvPr>
              <p:cNvSpPr/>
              <p:nvPr/>
            </p:nvSpPr>
            <p:spPr>
              <a:xfrm>
                <a:off x="2918310" y="3349680"/>
                <a:ext cx="78637" cy="91728"/>
              </a:xfrm>
              <a:custGeom>
                <a:avLst/>
                <a:gdLst>
                  <a:gd name="connsiteX0" fmla="*/ 39319 w 78637"/>
                  <a:gd name="connsiteY0" fmla="*/ 91729 h 91728"/>
                  <a:gd name="connsiteX1" fmla="*/ 0 w 78637"/>
                  <a:gd name="connsiteY1" fmla="*/ 45864 h 91728"/>
                  <a:gd name="connsiteX2" fmla="*/ 39319 w 78637"/>
                  <a:gd name="connsiteY2" fmla="*/ 0 h 91728"/>
                  <a:gd name="connsiteX3" fmla="*/ 78638 w 78637"/>
                  <a:gd name="connsiteY3" fmla="*/ 45864 h 91728"/>
                  <a:gd name="connsiteX4" fmla="*/ 39319 w 78637"/>
                  <a:gd name="connsiteY4" fmla="*/ 91729 h 91728"/>
                  <a:gd name="connsiteX5" fmla="*/ 39319 w 78637"/>
                  <a:gd name="connsiteY5" fmla="*/ 13114 h 91728"/>
                  <a:gd name="connsiteX6" fmla="*/ 13114 w 78637"/>
                  <a:gd name="connsiteY6" fmla="*/ 45864 h 91728"/>
                  <a:gd name="connsiteX7" fmla="*/ 39319 w 78637"/>
                  <a:gd name="connsiteY7" fmla="*/ 78614 h 91728"/>
                  <a:gd name="connsiteX8" fmla="*/ 65524 w 78637"/>
                  <a:gd name="connsiteY8" fmla="*/ 45864 h 91728"/>
                  <a:gd name="connsiteX9" fmla="*/ 39319 w 78637"/>
                  <a:gd name="connsiteY9" fmla="*/ 13114 h 9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37" h="91728">
                    <a:moveTo>
                      <a:pt x="39319" y="91729"/>
                    </a:moveTo>
                    <a:cubicBezTo>
                      <a:pt x="15818" y="91729"/>
                      <a:pt x="0" y="73302"/>
                      <a:pt x="0" y="45864"/>
                    </a:cubicBezTo>
                    <a:cubicBezTo>
                      <a:pt x="0" y="18426"/>
                      <a:pt x="15794" y="0"/>
                      <a:pt x="39319" y="0"/>
                    </a:cubicBezTo>
                    <a:cubicBezTo>
                      <a:pt x="62820" y="0"/>
                      <a:pt x="78638" y="18426"/>
                      <a:pt x="78638" y="45864"/>
                    </a:cubicBezTo>
                    <a:cubicBezTo>
                      <a:pt x="78614" y="73302"/>
                      <a:pt x="62820" y="91729"/>
                      <a:pt x="39319" y="91729"/>
                    </a:cubicBezTo>
                    <a:close/>
                    <a:moveTo>
                      <a:pt x="39319" y="13114"/>
                    </a:moveTo>
                    <a:cubicBezTo>
                      <a:pt x="19992" y="13114"/>
                      <a:pt x="13114" y="30047"/>
                      <a:pt x="13114" y="45864"/>
                    </a:cubicBezTo>
                    <a:cubicBezTo>
                      <a:pt x="13114" y="61682"/>
                      <a:pt x="19992" y="78614"/>
                      <a:pt x="39319" y="78614"/>
                    </a:cubicBezTo>
                    <a:cubicBezTo>
                      <a:pt x="58646" y="78614"/>
                      <a:pt x="65524" y="61682"/>
                      <a:pt x="65524" y="45864"/>
                    </a:cubicBezTo>
                    <a:cubicBezTo>
                      <a:pt x="65524" y="30047"/>
                      <a:pt x="58646" y="13114"/>
                      <a:pt x="39319" y="13114"/>
                    </a:cubicBezTo>
                    <a:close/>
                  </a:path>
                </a:pathLst>
              </a:custGeom>
              <a:solidFill>
                <a:schemeClr val="accent1"/>
              </a:solidFill>
              <a:ln w="2369" cap="flat">
                <a:noFill/>
                <a:prstDash val="solid"/>
                <a:miter/>
              </a:ln>
            </p:spPr>
            <p:txBody>
              <a:bodyPr rtlCol="0" anchor="ctr"/>
              <a:lstStyle/>
              <a:p>
                <a:endParaRPr lang="en-GB" dirty="0"/>
              </a:p>
            </p:txBody>
          </p:sp>
          <p:sp>
            <p:nvSpPr>
              <p:cNvPr id="560" name="Freihandform: Form 484">
                <a:extLst>
                  <a:ext uri="{FF2B5EF4-FFF2-40B4-BE49-F238E27FC236}">
                    <a16:creationId xmlns:a16="http://schemas.microsoft.com/office/drawing/2014/main" id="{ED0937C2-FAF8-4210-856A-DC71A1004F74}"/>
                  </a:ext>
                </a:extLst>
              </p:cNvPr>
              <p:cNvSpPr/>
              <p:nvPr/>
            </p:nvSpPr>
            <p:spPr>
              <a:xfrm>
                <a:off x="2616944" y="3349680"/>
                <a:ext cx="78638" cy="91728"/>
              </a:xfrm>
              <a:custGeom>
                <a:avLst/>
                <a:gdLst>
                  <a:gd name="connsiteX0" fmla="*/ 39319 w 78638"/>
                  <a:gd name="connsiteY0" fmla="*/ 91729 h 91728"/>
                  <a:gd name="connsiteX1" fmla="*/ 0 w 78638"/>
                  <a:gd name="connsiteY1" fmla="*/ 45864 h 91728"/>
                  <a:gd name="connsiteX2" fmla="*/ 39319 w 78638"/>
                  <a:gd name="connsiteY2" fmla="*/ 0 h 91728"/>
                  <a:gd name="connsiteX3" fmla="*/ 78638 w 78638"/>
                  <a:gd name="connsiteY3" fmla="*/ 45864 h 91728"/>
                  <a:gd name="connsiteX4" fmla="*/ 39319 w 78638"/>
                  <a:gd name="connsiteY4" fmla="*/ 91729 h 91728"/>
                  <a:gd name="connsiteX5" fmla="*/ 39319 w 78638"/>
                  <a:gd name="connsiteY5" fmla="*/ 13114 h 91728"/>
                  <a:gd name="connsiteX6" fmla="*/ 13114 w 78638"/>
                  <a:gd name="connsiteY6" fmla="*/ 45864 h 91728"/>
                  <a:gd name="connsiteX7" fmla="*/ 39319 w 78638"/>
                  <a:gd name="connsiteY7" fmla="*/ 78614 h 91728"/>
                  <a:gd name="connsiteX8" fmla="*/ 65524 w 78638"/>
                  <a:gd name="connsiteY8" fmla="*/ 45864 h 91728"/>
                  <a:gd name="connsiteX9" fmla="*/ 39319 w 78638"/>
                  <a:gd name="connsiteY9" fmla="*/ 13114 h 9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638" h="91728">
                    <a:moveTo>
                      <a:pt x="39319" y="91729"/>
                    </a:moveTo>
                    <a:cubicBezTo>
                      <a:pt x="15818" y="91729"/>
                      <a:pt x="0" y="73302"/>
                      <a:pt x="0" y="45864"/>
                    </a:cubicBezTo>
                    <a:cubicBezTo>
                      <a:pt x="0" y="18426"/>
                      <a:pt x="15794" y="0"/>
                      <a:pt x="39319" y="0"/>
                    </a:cubicBezTo>
                    <a:cubicBezTo>
                      <a:pt x="62820" y="0"/>
                      <a:pt x="78638" y="18426"/>
                      <a:pt x="78638" y="45864"/>
                    </a:cubicBezTo>
                    <a:cubicBezTo>
                      <a:pt x="78614" y="73302"/>
                      <a:pt x="62820" y="91729"/>
                      <a:pt x="39319" y="91729"/>
                    </a:cubicBezTo>
                    <a:close/>
                    <a:moveTo>
                      <a:pt x="39319" y="13114"/>
                    </a:moveTo>
                    <a:cubicBezTo>
                      <a:pt x="19992" y="13114"/>
                      <a:pt x="13114" y="30047"/>
                      <a:pt x="13114" y="45864"/>
                    </a:cubicBezTo>
                    <a:cubicBezTo>
                      <a:pt x="13114" y="61682"/>
                      <a:pt x="19992" y="78614"/>
                      <a:pt x="39319" y="78614"/>
                    </a:cubicBezTo>
                    <a:cubicBezTo>
                      <a:pt x="58647" y="78614"/>
                      <a:pt x="65524" y="61682"/>
                      <a:pt x="65524" y="45864"/>
                    </a:cubicBezTo>
                    <a:cubicBezTo>
                      <a:pt x="65524" y="30047"/>
                      <a:pt x="58647" y="13114"/>
                      <a:pt x="39319" y="13114"/>
                    </a:cubicBezTo>
                    <a:close/>
                  </a:path>
                </a:pathLst>
              </a:custGeom>
              <a:solidFill>
                <a:schemeClr val="accent1"/>
              </a:solidFill>
              <a:ln w="2369" cap="flat">
                <a:noFill/>
                <a:prstDash val="solid"/>
                <a:miter/>
              </a:ln>
            </p:spPr>
            <p:txBody>
              <a:bodyPr rtlCol="0" anchor="ctr"/>
              <a:lstStyle/>
              <a:p>
                <a:endParaRPr lang="en-GB" dirty="0"/>
              </a:p>
            </p:txBody>
          </p:sp>
          <p:sp>
            <p:nvSpPr>
              <p:cNvPr id="561" name="Freihandform: Form 486">
                <a:extLst>
                  <a:ext uri="{FF2B5EF4-FFF2-40B4-BE49-F238E27FC236}">
                    <a16:creationId xmlns:a16="http://schemas.microsoft.com/office/drawing/2014/main" id="{EC30005A-5D4B-4B6B-A865-5DD2F26B6D0B}"/>
                  </a:ext>
                </a:extLst>
              </p:cNvPr>
              <p:cNvSpPr/>
              <p:nvPr/>
            </p:nvSpPr>
            <p:spPr>
              <a:xfrm>
                <a:off x="2859356" y="3225201"/>
                <a:ext cx="65500" cy="78637"/>
              </a:xfrm>
              <a:custGeom>
                <a:avLst/>
                <a:gdLst>
                  <a:gd name="connsiteX0" fmla="*/ 32750 w 65500"/>
                  <a:gd name="connsiteY0" fmla="*/ 78638 h 78637"/>
                  <a:gd name="connsiteX1" fmla="*/ 0 w 65500"/>
                  <a:gd name="connsiteY1" fmla="*/ 39319 h 78637"/>
                  <a:gd name="connsiteX2" fmla="*/ 32750 w 65500"/>
                  <a:gd name="connsiteY2" fmla="*/ 0 h 78637"/>
                  <a:gd name="connsiteX3" fmla="*/ 65500 w 65500"/>
                  <a:gd name="connsiteY3" fmla="*/ 39319 h 78637"/>
                  <a:gd name="connsiteX4" fmla="*/ 32750 w 65500"/>
                  <a:gd name="connsiteY4" fmla="*/ 78638 h 78637"/>
                  <a:gd name="connsiteX5" fmla="*/ 32750 w 65500"/>
                  <a:gd name="connsiteY5" fmla="*/ 13114 h 78637"/>
                  <a:gd name="connsiteX6" fmla="*/ 13090 w 65500"/>
                  <a:gd name="connsiteY6" fmla="*/ 39319 h 78637"/>
                  <a:gd name="connsiteX7" fmla="*/ 32750 w 65500"/>
                  <a:gd name="connsiteY7" fmla="*/ 65524 h 78637"/>
                  <a:gd name="connsiteX8" fmla="*/ 52409 w 65500"/>
                  <a:gd name="connsiteY8" fmla="*/ 39319 h 78637"/>
                  <a:gd name="connsiteX9" fmla="*/ 32750 w 65500"/>
                  <a:gd name="connsiteY9" fmla="*/ 13114 h 7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00" h="78637">
                    <a:moveTo>
                      <a:pt x="32750" y="78638"/>
                    </a:moveTo>
                    <a:cubicBezTo>
                      <a:pt x="13162" y="78638"/>
                      <a:pt x="0" y="62844"/>
                      <a:pt x="0" y="39319"/>
                    </a:cubicBezTo>
                    <a:cubicBezTo>
                      <a:pt x="0" y="15818"/>
                      <a:pt x="13162" y="0"/>
                      <a:pt x="32750" y="0"/>
                    </a:cubicBezTo>
                    <a:cubicBezTo>
                      <a:pt x="52338" y="0"/>
                      <a:pt x="65500" y="15794"/>
                      <a:pt x="65500" y="39319"/>
                    </a:cubicBezTo>
                    <a:cubicBezTo>
                      <a:pt x="65524" y="62844"/>
                      <a:pt x="52338" y="78638"/>
                      <a:pt x="32750" y="78638"/>
                    </a:cubicBezTo>
                    <a:close/>
                    <a:moveTo>
                      <a:pt x="32750" y="13114"/>
                    </a:moveTo>
                    <a:cubicBezTo>
                      <a:pt x="18260" y="13114"/>
                      <a:pt x="13090" y="26655"/>
                      <a:pt x="13090" y="39319"/>
                    </a:cubicBezTo>
                    <a:cubicBezTo>
                      <a:pt x="13090" y="51983"/>
                      <a:pt x="18260" y="65524"/>
                      <a:pt x="32750" y="65524"/>
                    </a:cubicBezTo>
                    <a:cubicBezTo>
                      <a:pt x="47240" y="65524"/>
                      <a:pt x="52409" y="51983"/>
                      <a:pt x="52409" y="39319"/>
                    </a:cubicBezTo>
                    <a:cubicBezTo>
                      <a:pt x="52409" y="26655"/>
                      <a:pt x="47240" y="13114"/>
                      <a:pt x="32750" y="13114"/>
                    </a:cubicBezTo>
                    <a:close/>
                  </a:path>
                </a:pathLst>
              </a:custGeom>
              <a:solidFill>
                <a:schemeClr val="accent1"/>
              </a:solidFill>
              <a:ln w="2369" cap="flat">
                <a:noFill/>
                <a:prstDash val="solid"/>
                <a:miter/>
              </a:ln>
            </p:spPr>
            <p:txBody>
              <a:bodyPr rtlCol="0" anchor="ctr"/>
              <a:lstStyle/>
              <a:p>
                <a:endParaRPr lang="en-GB" dirty="0"/>
              </a:p>
            </p:txBody>
          </p:sp>
          <p:sp>
            <p:nvSpPr>
              <p:cNvPr id="562" name="Freihandform: Form 489">
                <a:extLst>
                  <a:ext uri="{FF2B5EF4-FFF2-40B4-BE49-F238E27FC236}">
                    <a16:creationId xmlns:a16="http://schemas.microsoft.com/office/drawing/2014/main" id="{B4E45C42-DB5C-40B4-A394-DC6BC8A921CC}"/>
                  </a:ext>
                </a:extLst>
              </p:cNvPr>
              <p:cNvSpPr/>
              <p:nvPr/>
            </p:nvSpPr>
            <p:spPr>
              <a:xfrm>
                <a:off x="2689013" y="3225201"/>
                <a:ext cx="65500" cy="78637"/>
              </a:xfrm>
              <a:custGeom>
                <a:avLst/>
                <a:gdLst>
                  <a:gd name="connsiteX0" fmla="*/ 32750 w 65500"/>
                  <a:gd name="connsiteY0" fmla="*/ 78638 h 78637"/>
                  <a:gd name="connsiteX1" fmla="*/ 0 w 65500"/>
                  <a:gd name="connsiteY1" fmla="*/ 39319 h 78637"/>
                  <a:gd name="connsiteX2" fmla="*/ 32750 w 65500"/>
                  <a:gd name="connsiteY2" fmla="*/ 0 h 78637"/>
                  <a:gd name="connsiteX3" fmla="*/ 65500 w 65500"/>
                  <a:gd name="connsiteY3" fmla="*/ 39319 h 78637"/>
                  <a:gd name="connsiteX4" fmla="*/ 32750 w 65500"/>
                  <a:gd name="connsiteY4" fmla="*/ 78638 h 78637"/>
                  <a:gd name="connsiteX5" fmla="*/ 32750 w 65500"/>
                  <a:gd name="connsiteY5" fmla="*/ 13114 h 78637"/>
                  <a:gd name="connsiteX6" fmla="*/ 13091 w 65500"/>
                  <a:gd name="connsiteY6" fmla="*/ 39319 h 78637"/>
                  <a:gd name="connsiteX7" fmla="*/ 32750 w 65500"/>
                  <a:gd name="connsiteY7" fmla="*/ 65524 h 78637"/>
                  <a:gd name="connsiteX8" fmla="*/ 52409 w 65500"/>
                  <a:gd name="connsiteY8" fmla="*/ 39319 h 78637"/>
                  <a:gd name="connsiteX9" fmla="*/ 32750 w 65500"/>
                  <a:gd name="connsiteY9" fmla="*/ 13114 h 78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00" h="78637">
                    <a:moveTo>
                      <a:pt x="32750" y="78638"/>
                    </a:moveTo>
                    <a:cubicBezTo>
                      <a:pt x="13162" y="78638"/>
                      <a:pt x="0" y="62844"/>
                      <a:pt x="0" y="39319"/>
                    </a:cubicBezTo>
                    <a:cubicBezTo>
                      <a:pt x="0" y="15794"/>
                      <a:pt x="13162" y="0"/>
                      <a:pt x="32750" y="0"/>
                    </a:cubicBezTo>
                    <a:cubicBezTo>
                      <a:pt x="52338" y="0"/>
                      <a:pt x="65500" y="15794"/>
                      <a:pt x="65500" y="39319"/>
                    </a:cubicBezTo>
                    <a:cubicBezTo>
                      <a:pt x="65500" y="62844"/>
                      <a:pt x="52338" y="78638"/>
                      <a:pt x="32750" y="78638"/>
                    </a:cubicBezTo>
                    <a:close/>
                    <a:moveTo>
                      <a:pt x="32750" y="13114"/>
                    </a:moveTo>
                    <a:cubicBezTo>
                      <a:pt x="18260" y="13114"/>
                      <a:pt x="13091" y="26655"/>
                      <a:pt x="13091" y="39319"/>
                    </a:cubicBezTo>
                    <a:cubicBezTo>
                      <a:pt x="13091" y="51983"/>
                      <a:pt x="18260" y="65524"/>
                      <a:pt x="32750" y="65524"/>
                    </a:cubicBezTo>
                    <a:cubicBezTo>
                      <a:pt x="47240" y="65524"/>
                      <a:pt x="52409" y="51983"/>
                      <a:pt x="52409" y="39319"/>
                    </a:cubicBezTo>
                    <a:cubicBezTo>
                      <a:pt x="52409" y="26655"/>
                      <a:pt x="47240" y="13114"/>
                      <a:pt x="32750" y="13114"/>
                    </a:cubicBezTo>
                    <a:close/>
                  </a:path>
                </a:pathLst>
              </a:custGeom>
              <a:solidFill>
                <a:schemeClr val="accent1"/>
              </a:solidFill>
              <a:ln w="2369" cap="flat">
                <a:noFill/>
                <a:prstDash val="solid"/>
                <a:miter/>
              </a:ln>
            </p:spPr>
            <p:txBody>
              <a:bodyPr rtlCol="0" anchor="ctr"/>
              <a:lstStyle/>
              <a:p>
                <a:endParaRPr lang="en-GB" dirty="0"/>
              </a:p>
            </p:txBody>
          </p:sp>
        </p:grpSp>
      </p:grpSp>
      <p:grpSp>
        <p:nvGrpSpPr>
          <p:cNvPr id="577" name="Group 576">
            <a:extLst>
              <a:ext uri="{FF2B5EF4-FFF2-40B4-BE49-F238E27FC236}">
                <a16:creationId xmlns:a16="http://schemas.microsoft.com/office/drawing/2014/main" id="{9CD8F7EF-3D86-49B6-A167-E8CDFB559DFC}"/>
              </a:ext>
            </a:extLst>
          </p:cNvPr>
          <p:cNvGrpSpPr>
            <a:grpSpLocks noChangeAspect="1"/>
          </p:cNvGrpSpPr>
          <p:nvPr/>
        </p:nvGrpSpPr>
        <p:grpSpPr>
          <a:xfrm>
            <a:off x="8171276" y="3197068"/>
            <a:ext cx="342784" cy="432000"/>
            <a:chOff x="3448975" y="3251410"/>
            <a:chExt cx="364071" cy="458828"/>
          </a:xfrm>
        </p:grpSpPr>
        <p:grpSp>
          <p:nvGrpSpPr>
            <p:cNvPr id="578" name="Grafik 324">
              <a:extLst>
                <a:ext uri="{FF2B5EF4-FFF2-40B4-BE49-F238E27FC236}">
                  <a16:creationId xmlns:a16="http://schemas.microsoft.com/office/drawing/2014/main" id="{507EBC2E-2344-48A9-96CB-0DB31C54BCF3}"/>
                </a:ext>
              </a:extLst>
            </p:cNvPr>
            <p:cNvGrpSpPr/>
            <p:nvPr/>
          </p:nvGrpSpPr>
          <p:grpSpPr>
            <a:xfrm>
              <a:off x="3505891" y="3336566"/>
              <a:ext cx="208890" cy="235866"/>
              <a:chOff x="3505891" y="3336566"/>
              <a:chExt cx="208890" cy="235866"/>
            </a:xfrm>
            <a:solidFill>
              <a:schemeClr val="accent1"/>
            </a:solidFill>
          </p:grpSpPr>
          <p:grpSp>
            <p:nvGrpSpPr>
              <p:cNvPr id="580" name="Grafik 324">
                <a:extLst>
                  <a:ext uri="{FF2B5EF4-FFF2-40B4-BE49-F238E27FC236}">
                    <a16:creationId xmlns:a16="http://schemas.microsoft.com/office/drawing/2014/main" id="{E5935AF4-34D8-4763-BE8D-BDCEF68D1406}"/>
                  </a:ext>
                </a:extLst>
              </p:cNvPr>
              <p:cNvGrpSpPr/>
              <p:nvPr/>
            </p:nvGrpSpPr>
            <p:grpSpPr>
              <a:xfrm>
                <a:off x="3505891" y="3336566"/>
                <a:ext cx="208890" cy="235866"/>
                <a:chOff x="3505891" y="3336566"/>
                <a:chExt cx="208890" cy="235866"/>
              </a:xfrm>
              <a:solidFill>
                <a:schemeClr val="accent1"/>
              </a:solidFill>
            </p:grpSpPr>
            <p:sp>
              <p:nvSpPr>
                <p:cNvPr id="582" name="Freihandform: Form 494">
                  <a:extLst>
                    <a:ext uri="{FF2B5EF4-FFF2-40B4-BE49-F238E27FC236}">
                      <a16:creationId xmlns:a16="http://schemas.microsoft.com/office/drawing/2014/main" id="{157E98CE-E642-4ACC-970E-006308BBD136}"/>
                    </a:ext>
                  </a:extLst>
                </p:cNvPr>
                <p:cNvSpPr/>
                <p:nvPr/>
              </p:nvSpPr>
              <p:spPr>
                <a:xfrm>
                  <a:off x="3505891" y="3385271"/>
                  <a:ext cx="208863" cy="138475"/>
                </a:xfrm>
                <a:custGeom>
                  <a:avLst/>
                  <a:gdLst>
                    <a:gd name="connsiteX0" fmla="*/ 182460 w 208863"/>
                    <a:gd name="connsiteY0" fmla="*/ 138475 h 138475"/>
                    <a:gd name="connsiteX1" fmla="*/ 159386 w 208863"/>
                    <a:gd name="connsiteY1" fmla="*/ 135345 h 138475"/>
                    <a:gd name="connsiteX2" fmla="*/ 84566 w 208863"/>
                    <a:gd name="connsiteY2" fmla="*/ 103710 h 138475"/>
                    <a:gd name="connsiteX3" fmla="*/ 19730 w 208863"/>
                    <a:gd name="connsiteY3" fmla="*/ 54715 h 138475"/>
                    <a:gd name="connsiteX4" fmla="*/ 2323 w 208863"/>
                    <a:gd name="connsiteY4" fmla="*/ 10274 h 138475"/>
                    <a:gd name="connsiteX5" fmla="*/ 49515 w 208863"/>
                    <a:gd name="connsiteY5" fmla="*/ 3135 h 138475"/>
                    <a:gd name="connsiteX6" fmla="*/ 124335 w 208863"/>
                    <a:gd name="connsiteY6" fmla="*/ 34771 h 138475"/>
                    <a:gd name="connsiteX7" fmla="*/ 189148 w 208863"/>
                    <a:gd name="connsiteY7" fmla="*/ 83766 h 138475"/>
                    <a:gd name="connsiteX8" fmla="*/ 206554 w 208863"/>
                    <a:gd name="connsiteY8" fmla="*/ 128207 h 138475"/>
                    <a:gd name="connsiteX9" fmla="*/ 206554 w 208863"/>
                    <a:gd name="connsiteY9" fmla="*/ 128207 h 138475"/>
                    <a:gd name="connsiteX10" fmla="*/ 182460 w 208863"/>
                    <a:gd name="connsiteY10" fmla="*/ 138475 h 138475"/>
                    <a:gd name="connsiteX11" fmla="*/ 26251 w 208863"/>
                    <a:gd name="connsiteY11" fmla="*/ 13096 h 138475"/>
                    <a:gd name="connsiteX12" fmla="*/ 13682 w 208863"/>
                    <a:gd name="connsiteY12" fmla="*/ 16843 h 138475"/>
                    <a:gd name="connsiteX13" fmla="*/ 29263 w 208863"/>
                    <a:gd name="connsiteY13" fmla="*/ 45727 h 138475"/>
                    <a:gd name="connsiteX14" fmla="*/ 91111 w 208863"/>
                    <a:gd name="connsiteY14" fmla="*/ 92350 h 138475"/>
                    <a:gd name="connsiteX15" fmla="*/ 162421 w 208863"/>
                    <a:gd name="connsiteY15" fmla="*/ 122610 h 138475"/>
                    <a:gd name="connsiteX16" fmla="*/ 195219 w 208863"/>
                    <a:gd name="connsiteY16" fmla="*/ 121662 h 138475"/>
                    <a:gd name="connsiteX17" fmla="*/ 195219 w 208863"/>
                    <a:gd name="connsiteY17" fmla="*/ 121662 h 138475"/>
                    <a:gd name="connsiteX18" fmla="*/ 179638 w 208863"/>
                    <a:gd name="connsiteY18" fmla="*/ 92777 h 138475"/>
                    <a:gd name="connsiteX19" fmla="*/ 117790 w 208863"/>
                    <a:gd name="connsiteY19" fmla="*/ 46154 h 138475"/>
                    <a:gd name="connsiteX20" fmla="*/ 46480 w 208863"/>
                    <a:gd name="connsiteY20" fmla="*/ 15894 h 138475"/>
                    <a:gd name="connsiteX21" fmla="*/ 26251 w 208863"/>
                    <a:gd name="connsiteY21" fmla="*/ 13096 h 13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8863" h="138475">
                      <a:moveTo>
                        <a:pt x="182460" y="138475"/>
                      </a:moveTo>
                      <a:cubicBezTo>
                        <a:pt x="175891" y="138475"/>
                        <a:pt x="168160" y="137432"/>
                        <a:pt x="159386" y="135345"/>
                      </a:cubicBezTo>
                      <a:cubicBezTo>
                        <a:pt x="137426" y="130128"/>
                        <a:pt x="110865" y="118887"/>
                        <a:pt x="84566" y="103710"/>
                      </a:cubicBezTo>
                      <a:cubicBezTo>
                        <a:pt x="58266" y="88532"/>
                        <a:pt x="35239" y="71126"/>
                        <a:pt x="19730" y="54715"/>
                      </a:cubicBezTo>
                      <a:cubicBezTo>
                        <a:pt x="2228" y="36218"/>
                        <a:pt x="-3795" y="20850"/>
                        <a:pt x="2323" y="10274"/>
                      </a:cubicBezTo>
                      <a:cubicBezTo>
                        <a:pt x="8418" y="-303"/>
                        <a:pt x="24757" y="-2769"/>
                        <a:pt x="49515" y="3135"/>
                      </a:cubicBezTo>
                      <a:cubicBezTo>
                        <a:pt x="71475" y="8353"/>
                        <a:pt x="98059" y="19593"/>
                        <a:pt x="124335" y="34771"/>
                      </a:cubicBezTo>
                      <a:cubicBezTo>
                        <a:pt x="150635" y="49948"/>
                        <a:pt x="173662" y="67355"/>
                        <a:pt x="189148" y="83766"/>
                      </a:cubicBezTo>
                      <a:cubicBezTo>
                        <a:pt x="206625" y="102263"/>
                        <a:pt x="212649" y="117630"/>
                        <a:pt x="206554" y="128207"/>
                      </a:cubicBezTo>
                      <a:lnTo>
                        <a:pt x="206554" y="128207"/>
                      </a:lnTo>
                      <a:cubicBezTo>
                        <a:pt x="202641" y="135037"/>
                        <a:pt x="194436" y="138475"/>
                        <a:pt x="182460" y="138475"/>
                      </a:cubicBezTo>
                      <a:close/>
                      <a:moveTo>
                        <a:pt x="26251" y="13096"/>
                      </a:moveTo>
                      <a:cubicBezTo>
                        <a:pt x="19160" y="13096"/>
                        <a:pt x="14963" y="14613"/>
                        <a:pt x="13682" y="16843"/>
                      </a:cubicBezTo>
                      <a:cubicBezTo>
                        <a:pt x="11477" y="20684"/>
                        <a:pt x="15437" y="31095"/>
                        <a:pt x="29263" y="45727"/>
                      </a:cubicBezTo>
                      <a:cubicBezTo>
                        <a:pt x="43919" y="61237"/>
                        <a:pt x="65879" y="77790"/>
                        <a:pt x="91111" y="92350"/>
                      </a:cubicBezTo>
                      <a:cubicBezTo>
                        <a:pt x="116343" y="106911"/>
                        <a:pt x="141671" y="117654"/>
                        <a:pt x="162421" y="122610"/>
                      </a:cubicBezTo>
                      <a:cubicBezTo>
                        <a:pt x="182010" y="127258"/>
                        <a:pt x="193013" y="125504"/>
                        <a:pt x="195219" y="121662"/>
                      </a:cubicBezTo>
                      <a:lnTo>
                        <a:pt x="195219" y="121662"/>
                      </a:lnTo>
                      <a:cubicBezTo>
                        <a:pt x="197424" y="117820"/>
                        <a:pt x="193464" y="107409"/>
                        <a:pt x="179638" y="92777"/>
                      </a:cubicBezTo>
                      <a:cubicBezTo>
                        <a:pt x="164982" y="77268"/>
                        <a:pt x="143022" y="60715"/>
                        <a:pt x="117790" y="46154"/>
                      </a:cubicBezTo>
                      <a:cubicBezTo>
                        <a:pt x="92558" y="31593"/>
                        <a:pt x="67230" y="20850"/>
                        <a:pt x="46480" y="15894"/>
                      </a:cubicBezTo>
                      <a:cubicBezTo>
                        <a:pt x="38203" y="13926"/>
                        <a:pt x="31445" y="13096"/>
                        <a:pt x="26251" y="13096"/>
                      </a:cubicBezTo>
                      <a:close/>
                    </a:path>
                  </a:pathLst>
                </a:custGeom>
                <a:solidFill>
                  <a:schemeClr val="accent1"/>
                </a:solidFill>
                <a:ln w="2369" cap="flat">
                  <a:noFill/>
                  <a:prstDash val="solid"/>
                  <a:miter/>
                </a:ln>
              </p:spPr>
              <p:txBody>
                <a:bodyPr rtlCol="0" anchor="ctr"/>
                <a:lstStyle/>
                <a:p>
                  <a:endParaRPr lang="en-GB" dirty="0"/>
                </a:p>
              </p:txBody>
            </p:sp>
            <p:sp>
              <p:nvSpPr>
                <p:cNvPr id="583" name="Freihandform: Form 495">
                  <a:extLst>
                    <a:ext uri="{FF2B5EF4-FFF2-40B4-BE49-F238E27FC236}">
                      <a16:creationId xmlns:a16="http://schemas.microsoft.com/office/drawing/2014/main" id="{712574EE-F94B-4F34-897E-795F3B62C87F}"/>
                    </a:ext>
                  </a:extLst>
                </p:cNvPr>
                <p:cNvSpPr/>
                <p:nvPr/>
              </p:nvSpPr>
              <p:spPr>
                <a:xfrm>
                  <a:off x="3505901" y="3385276"/>
                  <a:ext cx="208880" cy="138469"/>
                </a:xfrm>
                <a:custGeom>
                  <a:avLst/>
                  <a:gdLst>
                    <a:gd name="connsiteX0" fmla="*/ 26431 w 208880"/>
                    <a:gd name="connsiteY0" fmla="*/ 138470 h 138469"/>
                    <a:gd name="connsiteX1" fmla="*/ 2313 w 208880"/>
                    <a:gd name="connsiteY1" fmla="*/ 128201 h 138469"/>
                    <a:gd name="connsiteX2" fmla="*/ 19719 w 208880"/>
                    <a:gd name="connsiteY2" fmla="*/ 83760 h 138469"/>
                    <a:gd name="connsiteX3" fmla="*/ 84556 w 208880"/>
                    <a:gd name="connsiteY3" fmla="*/ 34765 h 138469"/>
                    <a:gd name="connsiteX4" fmla="*/ 159376 w 208880"/>
                    <a:gd name="connsiteY4" fmla="*/ 3130 h 138469"/>
                    <a:gd name="connsiteX5" fmla="*/ 206568 w 208880"/>
                    <a:gd name="connsiteY5" fmla="*/ 10268 h 138469"/>
                    <a:gd name="connsiteX6" fmla="*/ 206568 w 208880"/>
                    <a:gd name="connsiteY6" fmla="*/ 10268 h 138469"/>
                    <a:gd name="connsiteX7" fmla="*/ 189161 w 208880"/>
                    <a:gd name="connsiteY7" fmla="*/ 54709 h 138469"/>
                    <a:gd name="connsiteX8" fmla="*/ 124349 w 208880"/>
                    <a:gd name="connsiteY8" fmla="*/ 103704 h 138469"/>
                    <a:gd name="connsiteX9" fmla="*/ 49529 w 208880"/>
                    <a:gd name="connsiteY9" fmla="*/ 135339 h 138469"/>
                    <a:gd name="connsiteX10" fmla="*/ 26431 w 208880"/>
                    <a:gd name="connsiteY10" fmla="*/ 138470 h 138469"/>
                    <a:gd name="connsiteX11" fmla="*/ 182640 w 208880"/>
                    <a:gd name="connsiteY11" fmla="*/ 13090 h 138469"/>
                    <a:gd name="connsiteX12" fmla="*/ 162411 w 208880"/>
                    <a:gd name="connsiteY12" fmla="*/ 15888 h 138469"/>
                    <a:gd name="connsiteX13" fmla="*/ 91101 w 208880"/>
                    <a:gd name="connsiteY13" fmla="*/ 46148 h 138469"/>
                    <a:gd name="connsiteX14" fmla="*/ 29253 w 208880"/>
                    <a:gd name="connsiteY14" fmla="*/ 92771 h 138469"/>
                    <a:gd name="connsiteX15" fmla="*/ 13672 w 208880"/>
                    <a:gd name="connsiteY15" fmla="*/ 121656 h 138469"/>
                    <a:gd name="connsiteX16" fmla="*/ 46470 w 208880"/>
                    <a:gd name="connsiteY16" fmla="*/ 122605 h 138469"/>
                    <a:gd name="connsiteX17" fmla="*/ 117780 w 208880"/>
                    <a:gd name="connsiteY17" fmla="*/ 92345 h 138469"/>
                    <a:gd name="connsiteX18" fmla="*/ 179628 w 208880"/>
                    <a:gd name="connsiteY18" fmla="*/ 45721 h 138469"/>
                    <a:gd name="connsiteX19" fmla="*/ 195209 w 208880"/>
                    <a:gd name="connsiteY19" fmla="*/ 16837 h 138469"/>
                    <a:gd name="connsiteX20" fmla="*/ 195209 w 208880"/>
                    <a:gd name="connsiteY20" fmla="*/ 16837 h 138469"/>
                    <a:gd name="connsiteX21" fmla="*/ 182640 w 208880"/>
                    <a:gd name="connsiteY21" fmla="*/ 13090 h 138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8880" h="138469">
                      <a:moveTo>
                        <a:pt x="26431" y="138470"/>
                      </a:moveTo>
                      <a:cubicBezTo>
                        <a:pt x="14455" y="138470"/>
                        <a:pt x="6250" y="135031"/>
                        <a:pt x="2313" y="128201"/>
                      </a:cubicBezTo>
                      <a:cubicBezTo>
                        <a:pt x="-3782" y="117648"/>
                        <a:pt x="2218" y="102281"/>
                        <a:pt x="19719" y="83760"/>
                      </a:cubicBezTo>
                      <a:cubicBezTo>
                        <a:pt x="35229" y="67349"/>
                        <a:pt x="58232" y="49966"/>
                        <a:pt x="84556" y="34765"/>
                      </a:cubicBezTo>
                      <a:cubicBezTo>
                        <a:pt x="110855" y="19588"/>
                        <a:pt x="137439" y="8347"/>
                        <a:pt x="159376" y="3130"/>
                      </a:cubicBezTo>
                      <a:cubicBezTo>
                        <a:pt x="184158" y="-2775"/>
                        <a:pt x="200473" y="-285"/>
                        <a:pt x="206568" y="10268"/>
                      </a:cubicBezTo>
                      <a:lnTo>
                        <a:pt x="206568" y="10268"/>
                      </a:lnTo>
                      <a:cubicBezTo>
                        <a:pt x="212663" y="20821"/>
                        <a:pt x="206663" y="36188"/>
                        <a:pt x="189161" y="54709"/>
                      </a:cubicBezTo>
                      <a:cubicBezTo>
                        <a:pt x="173652" y="71120"/>
                        <a:pt x="150625" y="88503"/>
                        <a:pt x="124349" y="103704"/>
                      </a:cubicBezTo>
                      <a:cubicBezTo>
                        <a:pt x="98049" y="118881"/>
                        <a:pt x="71465" y="130122"/>
                        <a:pt x="49529" y="135339"/>
                      </a:cubicBezTo>
                      <a:cubicBezTo>
                        <a:pt x="40731" y="137426"/>
                        <a:pt x="33000" y="138470"/>
                        <a:pt x="26431" y="138470"/>
                      </a:cubicBezTo>
                      <a:close/>
                      <a:moveTo>
                        <a:pt x="182640" y="13090"/>
                      </a:moveTo>
                      <a:cubicBezTo>
                        <a:pt x="177446" y="13090"/>
                        <a:pt x="170688" y="13920"/>
                        <a:pt x="162411" y="15888"/>
                      </a:cubicBezTo>
                      <a:cubicBezTo>
                        <a:pt x="141661" y="20821"/>
                        <a:pt x="116333" y="31564"/>
                        <a:pt x="91101" y="46148"/>
                      </a:cubicBezTo>
                      <a:cubicBezTo>
                        <a:pt x="65869" y="60709"/>
                        <a:pt x="43909" y="77286"/>
                        <a:pt x="29253" y="92771"/>
                      </a:cubicBezTo>
                      <a:cubicBezTo>
                        <a:pt x="15404" y="107427"/>
                        <a:pt x="11443" y="117814"/>
                        <a:pt x="13672" y="121656"/>
                      </a:cubicBezTo>
                      <a:cubicBezTo>
                        <a:pt x="15878" y="125498"/>
                        <a:pt x="26881" y="127253"/>
                        <a:pt x="46470" y="122605"/>
                      </a:cubicBezTo>
                      <a:cubicBezTo>
                        <a:pt x="67220" y="117672"/>
                        <a:pt x="92548" y="106929"/>
                        <a:pt x="117780" y="92345"/>
                      </a:cubicBezTo>
                      <a:cubicBezTo>
                        <a:pt x="143012" y="77784"/>
                        <a:pt x="164972" y="61207"/>
                        <a:pt x="179628" y="45721"/>
                      </a:cubicBezTo>
                      <a:cubicBezTo>
                        <a:pt x="193477" y="31089"/>
                        <a:pt x="197438" y="20679"/>
                        <a:pt x="195209" y="16837"/>
                      </a:cubicBezTo>
                      <a:lnTo>
                        <a:pt x="195209" y="16837"/>
                      </a:lnTo>
                      <a:cubicBezTo>
                        <a:pt x="193952" y="14608"/>
                        <a:pt x="189731" y="13090"/>
                        <a:pt x="182640" y="13090"/>
                      </a:cubicBezTo>
                      <a:close/>
                    </a:path>
                  </a:pathLst>
                </a:custGeom>
                <a:solidFill>
                  <a:schemeClr val="accent1"/>
                </a:solidFill>
                <a:ln w="2369" cap="flat">
                  <a:noFill/>
                  <a:prstDash val="solid"/>
                  <a:miter/>
                </a:ln>
              </p:spPr>
              <p:txBody>
                <a:bodyPr rtlCol="0" anchor="ctr"/>
                <a:lstStyle/>
                <a:p>
                  <a:endParaRPr lang="en-GB" dirty="0"/>
                </a:p>
              </p:txBody>
            </p:sp>
            <p:sp>
              <p:nvSpPr>
                <p:cNvPr id="584" name="Freihandform: Form 496">
                  <a:extLst>
                    <a:ext uri="{FF2B5EF4-FFF2-40B4-BE49-F238E27FC236}">
                      <a16:creationId xmlns:a16="http://schemas.microsoft.com/office/drawing/2014/main" id="{00BA19D9-2F0C-46AC-B624-E1D3440FC543}"/>
                    </a:ext>
                  </a:extLst>
                </p:cNvPr>
                <p:cNvSpPr/>
                <p:nvPr/>
              </p:nvSpPr>
              <p:spPr>
                <a:xfrm>
                  <a:off x="3570560" y="3336566"/>
                  <a:ext cx="79586" cy="235866"/>
                </a:xfrm>
                <a:custGeom>
                  <a:avLst/>
                  <a:gdLst>
                    <a:gd name="connsiteX0" fmla="*/ 39793 w 79586"/>
                    <a:gd name="connsiteY0" fmla="*/ 235867 h 235866"/>
                    <a:gd name="connsiteX1" fmla="*/ 0 w 79586"/>
                    <a:gd name="connsiteY1" fmla="*/ 117933 h 235866"/>
                    <a:gd name="connsiteX2" fmla="*/ 39793 w 79586"/>
                    <a:gd name="connsiteY2" fmla="*/ 0 h 235866"/>
                    <a:gd name="connsiteX3" fmla="*/ 79586 w 79586"/>
                    <a:gd name="connsiteY3" fmla="*/ 117933 h 235866"/>
                    <a:gd name="connsiteX4" fmla="*/ 39793 w 79586"/>
                    <a:gd name="connsiteY4" fmla="*/ 235867 h 235866"/>
                    <a:gd name="connsiteX5" fmla="*/ 39793 w 79586"/>
                    <a:gd name="connsiteY5" fmla="*/ 13114 h 235866"/>
                    <a:gd name="connsiteX6" fmla="*/ 13114 w 79586"/>
                    <a:gd name="connsiteY6" fmla="*/ 117933 h 235866"/>
                    <a:gd name="connsiteX7" fmla="*/ 39793 w 79586"/>
                    <a:gd name="connsiteY7" fmla="*/ 222752 h 235866"/>
                    <a:gd name="connsiteX8" fmla="*/ 66472 w 79586"/>
                    <a:gd name="connsiteY8" fmla="*/ 117933 h 235866"/>
                    <a:gd name="connsiteX9" fmla="*/ 39793 w 79586"/>
                    <a:gd name="connsiteY9" fmla="*/ 13114 h 235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586" h="235866">
                      <a:moveTo>
                        <a:pt x="39793" y="235867"/>
                      </a:moveTo>
                      <a:cubicBezTo>
                        <a:pt x="13660" y="235867"/>
                        <a:pt x="0" y="176556"/>
                        <a:pt x="0" y="117933"/>
                      </a:cubicBezTo>
                      <a:cubicBezTo>
                        <a:pt x="0" y="59334"/>
                        <a:pt x="13660" y="0"/>
                        <a:pt x="39793" y="0"/>
                      </a:cubicBezTo>
                      <a:cubicBezTo>
                        <a:pt x="65903" y="0"/>
                        <a:pt x="79586" y="59311"/>
                        <a:pt x="79586" y="117933"/>
                      </a:cubicBezTo>
                      <a:cubicBezTo>
                        <a:pt x="79563" y="176556"/>
                        <a:pt x="65903" y="235867"/>
                        <a:pt x="39793" y="235867"/>
                      </a:cubicBezTo>
                      <a:close/>
                      <a:moveTo>
                        <a:pt x="39793" y="13114"/>
                      </a:moveTo>
                      <a:cubicBezTo>
                        <a:pt x="28908" y="13114"/>
                        <a:pt x="13114" y="53951"/>
                        <a:pt x="13114" y="117933"/>
                      </a:cubicBezTo>
                      <a:cubicBezTo>
                        <a:pt x="13114" y="181916"/>
                        <a:pt x="28908" y="222752"/>
                        <a:pt x="39793" y="222752"/>
                      </a:cubicBezTo>
                      <a:cubicBezTo>
                        <a:pt x="50678" y="222752"/>
                        <a:pt x="66472" y="181916"/>
                        <a:pt x="66472" y="117933"/>
                      </a:cubicBezTo>
                      <a:cubicBezTo>
                        <a:pt x="66472" y="53975"/>
                        <a:pt x="50655" y="13114"/>
                        <a:pt x="39793" y="13114"/>
                      </a:cubicBezTo>
                      <a:close/>
                    </a:path>
                  </a:pathLst>
                </a:custGeom>
                <a:solidFill>
                  <a:schemeClr val="accent1"/>
                </a:solidFill>
                <a:ln w="2369" cap="flat">
                  <a:noFill/>
                  <a:prstDash val="solid"/>
                  <a:miter/>
                </a:ln>
              </p:spPr>
              <p:txBody>
                <a:bodyPr rtlCol="0" anchor="ctr"/>
                <a:lstStyle/>
                <a:p>
                  <a:endParaRPr lang="en-GB" dirty="0"/>
                </a:p>
              </p:txBody>
            </p:sp>
          </p:grpSp>
          <p:sp>
            <p:nvSpPr>
              <p:cNvPr id="581" name="Freihandform: Form 497">
                <a:extLst>
                  <a:ext uri="{FF2B5EF4-FFF2-40B4-BE49-F238E27FC236}">
                    <a16:creationId xmlns:a16="http://schemas.microsoft.com/office/drawing/2014/main" id="{67E9D9C8-A2BE-45FB-BF8F-CC959E8CBFC5}"/>
                  </a:ext>
                </a:extLst>
              </p:cNvPr>
              <p:cNvSpPr/>
              <p:nvPr/>
            </p:nvSpPr>
            <p:spPr>
              <a:xfrm>
                <a:off x="3590243" y="3434413"/>
                <a:ext cx="40220" cy="40220"/>
              </a:xfrm>
              <a:custGeom>
                <a:avLst/>
                <a:gdLst>
                  <a:gd name="connsiteX0" fmla="*/ 20110 w 40220"/>
                  <a:gd name="connsiteY0" fmla="*/ 40220 h 40220"/>
                  <a:gd name="connsiteX1" fmla="*/ 0 w 40220"/>
                  <a:gd name="connsiteY1" fmla="*/ 20110 h 40220"/>
                  <a:gd name="connsiteX2" fmla="*/ 20110 w 40220"/>
                  <a:gd name="connsiteY2" fmla="*/ 0 h 40220"/>
                  <a:gd name="connsiteX3" fmla="*/ 40220 w 40220"/>
                  <a:gd name="connsiteY3" fmla="*/ 20110 h 40220"/>
                  <a:gd name="connsiteX4" fmla="*/ 20110 w 40220"/>
                  <a:gd name="connsiteY4" fmla="*/ 40220 h 40220"/>
                  <a:gd name="connsiteX5" fmla="*/ 20110 w 40220"/>
                  <a:gd name="connsiteY5" fmla="*/ 13091 h 40220"/>
                  <a:gd name="connsiteX6" fmla="*/ 13114 w 40220"/>
                  <a:gd name="connsiteY6" fmla="*/ 20086 h 40220"/>
                  <a:gd name="connsiteX7" fmla="*/ 20110 w 40220"/>
                  <a:gd name="connsiteY7" fmla="*/ 27082 h 40220"/>
                  <a:gd name="connsiteX8" fmla="*/ 27106 w 40220"/>
                  <a:gd name="connsiteY8" fmla="*/ 20086 h 40220"/>
                  <a:gd name="connsiteX9" fmla="*/ 20110 w 40220"/>
                  <a:gd name="connsiteY9" fmla="*/ 13091 h 40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220" h="40220">
                    <a:moveTo>
                      <a:pt x="20110" y="40220"/>
                    </a:moveTo>
                    <a:cubicBezTo>
                      <a:pt x="9012" y="40220"/>
                      <a:pt x="0" y="31209"/>
                      <a:pt x="0" y="20110"/>
                    </a:cubicBezTo>
                    <a:cubicBezTo>
                      <a:pt x="0" y="9012"/>
                      <a:pt x="9012" y="0"/>
                      <a:pt x="20110" y="0"/>
                    </a:cubicBezTo>
                    <a:cubicBezTo>
                      <a:pt x="31209" y="0"/>
                      <a:pt x="40220" y="9012"/>
                      <a:pt x="40220" y="20110"/>
                    </a:cubicBezTo>
                    <a:cubicBezTo>
                      <a:pt x="40197" y="31185"/>
                      <a:pt x="31185" y="40220"/>
                      <a:pt x="20110" y="40220"/>
                    </a:cubicBezTo>
                    <a:close/>
                    <a:moveTo>
                      <a:pt x="20110" y="13091"/>
                    </a:moveTo>
                    <a:cubicBezTo>
                      <a:pt x="16245" y="13091"/>
                      <a:pt x="13114" y="16221"/>
                      <a:pt x="13114" y="20086"/>
                    </a:cubicBezTo>
                    <a:cubicBezTo>
                      <a:pt x="13114" y="23952"/>
                      <a:pt x="16245" y="27082"/>
                      <a:pt x="20110" y="27082"/>
                    </a:cubicBezTo>
                    <a:cubicBezTo>
                      <a:pt x="23976" y="27082"/>
                      <a:pt x="27106" y="23952"/>
                      <a:pt x="27106" y="20086"/>
                    </a:cubicBezTo>
                    <a:cubicBezTo>
                      <a:pt x="27106" y="16221"/>
                      <a:pt x="23952" y="13091"/>
                      <a:pt x="20110" y="13091"/>
                    </a:cubicBezTo>
                    <a:close/>
                  </a:path>
                </a:pathLst>
              </a:custGeom>
              <a:solidFill>
                <a:schemeClr val="accent1"/>
              </a:solidFill>
              <a:ln w="2369" cap="flat">
                <a:noFill/>
                <a:prstDash val="solid"/>
                <a:miter/>
              </a:ln>
            </p:spPr>
            <p:txBody>
              <a:bodyPr rtlCol="0" anchor="ctr"/>
              <a:lstStyle/>
              <a:p>
                <a:endParaRPr lang="en-GB" dirty="0"/>
              </a:p>
            </p:txBody>
          </p:sp>
        </p:grpSp>
        <p:sp>
          <p:nvSpPr>
            <p:cNvPr id="579" name="Freihandform: Form 498">
              <a:extLst>
                <a:ext uri="{FF2B5EF4-FFF2-40B4-BE49-F238E27FC236}">
                  <a16:creationId xmlns:a16="http://schemas.microsoft.com/office/drawing/2014/main" id="{B4B9EA78-792D-4E51-BD84-A2C1AE5528C6}"/>
                </a:ext>
              </a:extLst>
            </p:cNvPr>
            <p:cNvSpPr/>
            <p:nvPr/>
          </p:nvSpPr>
          <p:spPr>
            <a:xfrm>
              <a:off x="3448975" y="3251410"/>
              <a:ext cx="364071" cy="458828"/>
            </a:xfrm>
            <a:custGeom>
              <a:avLst/>
              <a:gdLst>
                <a:gd name="connsiteX0" fmla="*/ 200887 w 364071"/>
                <a:gd name="connsiteY0" fmla="*/ 458828 h 458828"/>
                <a:gd name="connsiteX1" fmla="*/ 194342 w 364071"/>
                <a:gd name="connsiteY1" fmla="*/ 452283 h 458828"/>
                <a:gd name="connsiteX2" fmla="*/ 194342 w 364071"/>
                <a:gd name="connsiteY2" fmla="*/ 395202 h 458828"/>
                <a:gd name="connsiteX3" fmla="*/ 200887 w 364071"/>
                <a:gd name="connsiteY3" fmla="*/ 388656 h 458828"/>
                <a:gd name="connsiteX4" fmla="*/ 277225 w 364071"/>
                <a:gd name="connsiteY4" fmla="*/ 388656 h 458828"/>
                <a:gd name="connsiteX5" fmla="*/ 305375 w 364071"/>
                <a:gd name="connsiteY5" fmla="*/ 360507 h 458828"/>
                <a:gd name="connsiteX6" fmla="*/ 305375 w 364071"/>
                <a:gd name="connsiteY6" fmla="*/ 291118 h 458828"/>
                <a:gd name="connsiteX7" fmla="*/ 311920 w 364071"/>
                <a:gd name="connsiteY7" fmla="*/ 284573 h 458828"/>
                <a:gd name="connsiteX8" fmla="*/ 350883 w 364071"/>
                <a:gd name="connsiteY8" fmla="*/ 284573 h 458828"/>
                <a:gd name="connsiteX9" fmla="*/ 305114 w 364071"/>
                <a:gd name="connsiteY9" fmla="*/ 151983 h 458828"/>
                <a:gd name="connsiteX10" fmla="*/ 304782 w 364071"/>
                <a:gd name="connsiteY10" fmla="*/ 150371 h 458828"/>
                <a:gd name="connsiteX11" fmla="*/ 173615 w 364071"/>
                <a:gd name="connsiteY11" fmla="*/ 13821 h 458828"/>
                <a:gd name="connsiteX12" fmla="*/ 61208 w 364071"/>
                <a:gd name="connsiteY12" fmla="*/ 51125 h 458828"/>
                <a:gd name="connsiteX13" fmla="*/ 13091 w 364071"/>
                <a:gd name="connsiteY13" fmla="*/ 159264 h 458828"/>
                <a:gd name="connsiteX14" fmla="*/ 13091 w 364071"/>
                <a:gd name="connsiteY14" fmla="*/ 452283 h 458828"/>
                <a:gd name="connsiteX15" fmla="*/ 6545 w 364071"/>
                <a:gd name="connsiteY15" fmla="*/ 458828 h 458828"/>
                <a:gd name="connsiteX16" fmla="*/ 0 w 364071"/>
                <a:gd name="connsiteY16" fmla="*/ 452283 h 458828"/>
                <a:gd name="connsiteX17" fmla="*/ 0 w 364071"/>
                <a:gd name="connsiteY17" fmla="*/ 159240 h 458828"/>
                <a:gd name="connsiteX18" fmla="*/ 52409 w 364071"/>
                <a:gd name="connsiteY18" fmla="*/ 41402 h 458828"/>
                <a:gd name="connsiteX19" fmla="*/ 174896 w 364071"/>
                <a:gd name="connsiteY19" fmla="*/ 778 h 458828"/>
                <a:gd name="connsiteX20" fmla="*/ 317777 w 364071"/>
                <a:gd name="connsiteY20" fmla="*/ 148450 h 458828"/>
                <a:gd name="connsiteX21" fmla="*/ 363262 w 364071"/>
                <a:gd name="connsiteY21" fmla="*/ 279972 h 458828"/>
                <a:gd name="connsiteX22" fmla="*/ 361721 w 364071"/>
                <a:gd name="connsiteY22" fmla="*/ 291948 h 458828"/>
                <a:gd name="connsiteX23" fmla="*/ 350859 w 364071"/>
                <a:gd name="connsiteY23" fmla="*/ 297639 h 458828"/>
                <a:gd name="connsiteX24" fmla="*/ 318441 w 364071"/>
                <a:gd name="connsiteY24" fmla="*/ 297639 h 458828"/>
                <a:gd name="connsiteX25" fmla="*/ 318441 w 364071"/>
                <a:gd name="connsiteY25" fmla="*/ 360483 h 458828"/>
                <a:gd name="connsiteX26" fmla="*/ 277178 w 364071"/>
                <a:gd name="connsiteY26" fmla="*/ 401747 h 458828"/>
                <a:gd name="connsiteX27" fmla="*/ 207385 w 364071"/>
                <a:gd name="connsiteY27" fmla="*/ 401747 h 458828"/>
                <a:gd name="connsiteX28" fmla="*/ 207385 w 364071"/>
                <a:gd name="connsiteY28" fmla="*/ 452283 h 458828"/>
                <a:gd name="connsiteX29" fmla="*/ 200887 w 364071"/>
                <a:gd name="connsiteY29" fmla="*/ 458828 h 458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4071" h="458828">
                  <a:moveTo>
                    <a:pt x="200887" y="458828"/>
                  </a:moveTo>
                  <a:cubicBezTo>
                    <a:pt x="197259" y="458828"/>
                    <a:pt x="194342" y="455888"/>
                    <a:pt x="194342" y="452283"/>
                  </a:cubicBezTo>
                  <a:lnTo>
                    <a:pt x="194342" y="395202"/>
                  </a:lnTo>
                  <a:cubicBezTo>
                    <a:pt x="194342" y="391573"/>
                    <a:pt x="197283" y="388656"/>
                    <a:pt x="200887" y="388656"/>
                  </a:cubicBezTo>
                  <a:lnTo>
                    <a:pt x="277225" y="388656"/>
                  </a:lnTo>
                  <a:cubicBezTo>
                    <a:pt x="292735" y="388656"/>
                    <a:pt x="305375" y="376017"/>
                    <a:pt x="305375" y="360507"/>
                  </a:cubicBezTo>
                  <a:lnTo>
                    <a:pt x="305375" y="291118"/>
                  </a:lnTo>
                  <a:cubicBezTo>
                    <a:pt x="305375" y="287489"/>
                    <a:pt x="308315" y="284573"/>
                    <a:pt x="311920" y="284573"/>
                  </a:cubicBezTo>
                  <a:lnTo>
                    <a:pt x="350883" y="284573"/>
                  </a:lnTo>
                  <a:lnTo>
                    <a:pt x="305114" y="151983"/>
                  </a:lnTo>
                  <a:cubicBezTo>
                    <a:pt x="304924" y="151462"/>
                    <a:pt x="304829" y="150916"/>
                    <a:pt x="304782" y="150371"/>
                  </a:cubicBezTo>
                  <a:cubicBezTo>
                    <a:pt x="298877" y="78041"/>
                    <a:pt x="243716" y="20628"/>
                    <a:pt x="173615" y="13821"/>
                  </a:cubicBezTo>
                  <a:cubicBezTo>
                    <a:pt x="132043" y="9766"/>
                    <a:pt x="92132" y="23047"/>
                    <a:pt x="61208" y="51125"/>
                  </a:cubicBezTo>
                  <a:cubicBezTo>
                    <a:pt x="30639" y="78871"/>
                    <a:pt x="13091" y="118285"/>
                    <a:pt x="13091" y="159264"/>
                  </a:cubicBezTo>
                  <a:lnTo>
                    <a:pt x="13091" y="452283"/>
                  </a:lnTo>
                  <a:cubicBezTo>
                    <a:pt x="13091" y="455912"/>
                    <a:pt x="10150" y="458828"/>
                    <a:pt x="6545" y="458828"/>
                  </a:cubicBezTo>
                  <a:cubicBezTo>
                    <a:pt x="2917" y="458828"/>
                    <a:pt x="0" y="455888"/>
                    <a:pt x="0" y="452283"/>
                  </a:cubicBezTo>
                  <a:lnTo>
                    <a:pt x="0" y="159240"/>
                  </a:lnTo>
                  <a:cubicBezTo>
                    <a:pt x="0" y="114585"/>
                    <a:pt x="19114" y="71638"/>
                    <a:pt x="52409" y="41402"/>
                  </a:cubicBezTo>
                  <a:cubicBezTo>
                    <a:pt x="86108" y="10810"/>
                    <a:pt x="129625" y="-3633"/>
                    <a:pt x="174896" y="778"/>
                  </a:cubicBezTo>
                  <a:cubicBezTo>
                    <a:pt x="251044" y="8154"/>
                    <a:pt x="310995" y="70191"/>
                    <a:pt x="317777" y="148450"/>
                  </a:cubicBezTo>
                  <a:lnTo>
                    <a:pt x="363262" y="279972"/>
                  </a:lnTo>
                  <a:cubicBezTo>
                    <a:pt x="364732" y="283837"/>
                    <a:pt x="364187" y="288391"/>
                    <a:pt x="361721" y="291948"/>
                  </a:cubicBezTo>
                  <a:cubicBezTo>
                    <a:pt x="359254" y="295529"/>
                    <a:pt x="355199" y="297639"/>
                    <a:pt x="350859" y="297639"/>
                  </a:cubicBezTo>
                  <a:lnTo>
                    <a:pt x="318441" y="297639"/>
                  </a:lnTo>
                  <a:lnTo>
                    <a:pt x="318441" y="360483"/>
                  </a:lnTo>
                  <a:cubicBezTo>
                    <a:pt x="318441" y="383226"/>
                    <a:pt x="299944" y="401747"/>
                    <a:pt x="277178" y="401747"/>
                  </a:cubicBezTo>
                  <a:lnTo>
                    <a:pt x="207385" y="401747"/>
                  </a:lnTo>
                  <a:lnTo>
                    <a:pt x="207385" y="452283"/>
                  </a:lnTo>
                  <a:cubicBezTo>
                    <a:pt x="207433" y="455912"/>
                    <a:pt x="204516" y="458828"/>
                    <a:pt x="200887" y="458828"/>
                  </a:cubicBezTo>
                  <a:close/>
                </a:path>
              </a:pathLst>
            </a:custGeom>
            <a:solidFill>
              <a:schemeClr val="tx2"/>
            </a:solidFill>
            <a:ln w="2369" cap="flat">
              <a:noFill/>
              <a:prstDash val="solid"/>
              <a:miter/>
            </a:ln>
          </p:spPr>
          <p:txBody>
            <a:bodyPr rtlCol="0" anchor="ctr"/>
            <a:lstStyle/>
            <a:p>
              <a:endParaRPr lang="en-GB" dirty="0"/>
            </a:p>
          </p:txBody>
        </p:sp>
      </p:grpSp>
      <p:grpSp>
        <p:nvGrpSpPr>
          <p:cNvPr id="674" name="Group 673">
            <a:extLst>
              <a:ext uri="{FF2B5EF4-FFF2-40B4-BE49-F238E27FC236}">
                <a16:creationId xmlns:a16="http://schemas.microsoft.com/office/drawing/2014/main" id="{1007F46E-B678-E80E-BC48-82390EE5EAC3}"/>
              </a:ext>
            </a:extLst>
          </p:cNvPr>
          <p:cNvGrpSpPr/>
          <p:nvPr/>
        </p:nvGrpSpPr>
        <p:grpSpPr>
          <a:xfrm>
            <a:off x="4998372" y="4040088"/>
            <a:ext cx="429800" cy="432000"/>
            <a:chOff x="4997960" y="4040088"/>
            <a:chExt cx="429800" cy="432000"/>
          </a:xfrm>
        </p:grpSpPr>
        <p:grpSp>
          <p:nvGrpSpPr>
            <p:cNvPr id="586" name="Grafik 199">
              <a:extLst>
                <a:ext uri="{FF2B5EF4-FFF2-40B4-BE49-F238E27FC236}">
                  <a16:creationId xmlns:a16="http://schemas.microsoft.com/office/drawing/2014/main" id="{9B37536F-342E-41FA-BDB6-BFDCE5305D34}"/>
                </a:ext>
              </a:extLst>
            </p:cNvPr>
            <p:cNvGrpSpPr/>
            <p:nvPr/>
          </p:nvGrpSpPr>
          <p:grpSpPr>
            <a:xfrm>
              <a:off x="4997960" y="4040088"/>
              <a:ext cx="197669" cy="432000"/>
              <a:chOff x="5314053" y="2513854"/>
              <a:chExt cx="220302" cy="481463"/>
            </a:xfrm>
            <a:solidFill>
              <a:schemeClr val="tx2"/>
            </a:solidFill>
          </p:grpSpPr>
          <p:grpSp>
            <p:nvGrpSpPr>
              <p:cNvPr id="596" name="Grafik 199">
                <a:extLst>
                  <a:ext uri="{FF2B5EF4-FFF2-40B4-BE49-F238E27FC236}">
                    <a16:creationId xmlns:a16="http://schemas.microsoft.com/office/drawing/2014/main" id="{2A6E6204-6A51-477A-804C-E6FB0444363A}"/>
                  </a:ext>
                </a:extLst>
              </p:cNvPr>
              <p:cNvGrpSpPr/>
              <p:nvPr/>
            </p:nvGrpSpPr>
            <p:grpSpPr>
              <a:xfrm>
                <a:off x="5314053" y="2513854"/>
                <a:ext cx="220302" cy="479435"/>
                <a:chOff x="5314053" y="2513854"/>
                <a:chExt cx="220302" cy="479435"/>
              </a:xfrm>
              <a:grpFill/>
            </p:grpSpPr>
            <p:sp>
              <p:nvSpPr>
                <p:cNvPr id="598" name="Freihandform: Form 874">
                  <a:extLst>
                    <a:ext uri="{FF2B5EF4-FFF2-40B4-BE49-F238E27FC236}">
                      <a16:creationId xmlns:a16="http://schemas.microsoft.com/office/drawing/2014/main" id="{81033127-8EA0-4277-B576-17FD26494774}"/>
                    </a:ext>
                  </a:extLst>
                </p:cNvPr>
                <p:cNvSpPr/>
                <p:nvPr/>
              </p:nvSpPr>
              <p:spPr>
                <a:xfrm>
                  <a:off x="5385323" y="2513854"/>
                  <a:ext cx="90690" cy="103645"/>
                </a:xfrm>
                <a:custGeom>
                  <a:avLst/>
                  <a:gdLst>
                    <a:gd name="connsiteX0" fmla="*/ 45345 w 90690"/>
                    <a:gd name="connsiteY0" fmla="*/ 103646 h 103645"/>
                    <a:gd name="connsiteX1" fmla="*/ 0 w 90690"/>
                    <a:gd name="connsiteY1" fmla="*/ 51823 h 103645"/>
                    <a:gd name="connsiteX2" fmla="*/ 45345 w 90690"/>
                    <a:gd name="connsiteY2" fmla="*/ 0 h 103645"/>
                    <a:gd name="connsiteX3" fmla="*/ 90690 w 90690"/>
                    <a:gd name="connsiteY3" fmla="*/ 51823 h 103645"/>
                    <a:gd name="connsiteX4" fmla="*/ 45345 w 90690"/>
                    <a:gd name="connsiteY4" fmla="*/ 103646 h 103645"/>
                    <a:gd name="connsiteX5" fmla="*/ 45345 w 90690"/>
                    <a:gd name="connsiteY5" fmla="*/ 12931 h 103645"/>
                    <a:gd name="connsiteX6" fmla="*/ 12956 w 90690"/>
                    <a:gd name="connsiteY6" fmla="*/ 51798 h 103645"/>
                    <a:gd name="connsiteX7" fmla="*/ 45345 w 90690"/>
                    <a:gd name="connsiteY7" fmla="*/ 90665 h 103645"/>
                    <a:gd name="connsiteX8" fmla="*/ 77734 w 90690"/>
                    <a:gd name="connsiteY8" fmla="*/ 51798 h 103645"/>
                    <a:gd name="connsiteX9" fmla="*/ 45345 w 90690"/>
                    <a:gd name="connsiteY9" fmla="*/ 12931 h 10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690" h="103645">
                      <a:moveTo>
                        <a:pt x="45345" y="103646"/>
                      </a:moveTo>
                      <a:cubicBezTo>
                        <a:pt x="18222" y="103646"/>
                        <a:pt x="0" y="82828"/>
                        <a:pt x="0" y="51823"/>
                      </a:cubicBezTo>
                      <a:cubicBezTo>
                        <a:pt x="0" y="20818"/>
                        <a:pt x="18222" y="0"/>
                        <a:pt x="45345" y="0"/>
                      </a:cubicBezTo>
                      <a:cubicBezTo>
                        <a:pt x="72468" y="0"/>
                        <a:pt x="90690" y="20818"/>
                        <a:pt x="90690" y="51823"/>
                      </a:cubicBezTo>
                      <a:cubicBezTo>
                        <a:pt x="90690" y="82803"/>
                        <a:pt x="72468" y="103646"/>
                        <a:pt x="45345" y="103646"/>
                      </a:cubicBezTo>
                      <a:close/>
                      <a:moveTo>
                        <a:pt x="45345" y="12931"/>
                      </a:moveTo>
                      <a:cubicBezTo>
                        <a:pt x="21436" y="12931"/>
                        <a:pt x="12956" y="33873"/>
                        <a:pt x="12956" y="51798"/>
                      </a:cubicBezTo>
                      <a:cubicBezTo>
                        <a:pt x="12956" y="69724"/>
                        <a:pt x="21436" y="90665"/>
                        <a:pt x="45345" y="90665"/>
                      </a:cubicBezTo>
                      <a:cubicBezTo>
                        <a:pt x="69254" y="90665"/>
                        <a:pt x="77734" y="69724"/>
                        <a:pt x="77734" y="51798"/>
                      </a:cubicBezTo>
                      <a:cubicBezTo>
                        <a:pt x="77734" y="33873"/>
                        <a:pt x="69254" y="12931"/>
                        <a:pt x="45345" y="12931"/>
                      </a:cubicBezTo>
                      <a:close/>
                    </a:path>
                  </a:pathLst>
                </a:custGeom>
                <a:grpFill/>
                <a:ln w="2469" cap="flat">
                  <a:noFill/>
                  <a:prstDash val="solid"/>
                  <a:miter/>
                </a:ln>
              </p:spPr>
              <p:txBody>
                <a:bodyPr rtlCol="0" anchor="ctr"/>
                <a:lstStyle/>
                <a:p>
                  <a:endParaRPr lang="en-GB" dirty="0"/>
                </a:p>
              </p:txBody>
            </p:sp>
            <p:sp>
              <p:nvSpPr>
                <p:cNvPr id="599" name="Freihandform: Form 875">
                  <a:extLst>
                    <a:ext uri="{FF2B5EF4-FFF2-40B4-BE49-F238E27FC236}">
                      <a16:creationId xmlns:a16="http://schemas.microsoft.com/office/drawing/2014/main" id="{FA31B020-F4A5-4682-BF23-2CFB1E1171C6}"/>
                    </a:ext>
                  </a:extLst>
                </p:cNvPr>
                <p:cNvSpPr/>
                <p:nvPr/>
              </p:nvSpPr>
              <p:spPr>
                <a:xfrm>
                  <a:off x="5482516" y="2766515"/>
                  <a:ext cx="12955" cy="226774"/>
                </a:xfrm>
                <a:custGeom>
                  <a:avLst/>
                  <a:gdLst>
                    <a:gd name="connsiteX0" fmla="*/ 6478 w 12955"/>
                    <a:gd name="connsiteY0" fmla="*/ 226775 h 226774"/>
                    <a:gd name="connsiteX1" fmla="*/ 0 w 12955"/>
                    <a:gd name="connsiteY1" fmla="*/ 220297 h 226774"/>
                    <a:gd name="connsiteX2" fmla="*/ 0 w 12955"/>
                    <a:gd name="connsiteY2" fmla="*/ 6478 h 226774"/>
                    <a:gd name="connsiteX3" fmla="*/ 6478 w 12955"/>
                    <a:gd name="connsiteY3" fmla="*/ 0 h 226774"/>
                    <a:gd name="connsiteX4" fmla="*/ 12956 w 12955"/>
                    <a:gd name="connsiteY4" fmla="*/ 6478 h 226774"/>
                    <a:gd name="connsiteX5" fmla="*/ 12956 w 12955"/>
                    <a:gd name="connsiteY5" fmla="*/ 220297 h 226774"/>
                    <a:gd name="connsiteX6" fmla="*/ 6478 w 12955"/>
                    <a:gd name="connsiteY6" fmla="*/ 226775 h 22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226774">
                      <a:moveTo>
                        <a:pt x="6478" y="226775"/>
                      </a:moveTo>
                      <a:cubicBezTo>
                        <a:pt x="2893" y="226775"/>
                        <a:pt x="0" y="223882"/>
                        <a:pt x="0" y="220297"/>
                      </a:cubicBezTo>
                      <a:lnTo>
                        <a:pt x="0" y="6478"/>
                      </a:lnTo>
                      <a:cubicBezTo>
                        <a:pt x="0" y="2893"/>
                        <a:pt x="2893" y="0"/>
                        <a:pt x="6478" y="0"/>
                      </a:cubicBezTo>
                      <a:cubicBezTo>
                        <a:pt x="10063" y="0"/>
                        <a:pt x="12956" y="2893"/>
                        <a:pt x="12956" y="6478"/>
                      </a:cubicBezTo>
                      <a:lnTo>
                        <a:pt x="12956" y="220297"/>
                      </a:lnTo>
                      <a:cubicBezTo>
                        <a:pt x="12956" y="223857"/>
                        <a:pt x="10038" y="226775"/>
                        <a:pt x="6478" y="226775"/>
                      </a:cubicBezTo>
                      <a:close/>
                    </a:path>
                  </a:pathLst>
                </a:custGeom>
                <a:grpFill/>
                <a:ln w="2469" cap="flat">
                  <a:noFill/>
                  <a:prstDash val="solid"/>
                  <a:miter/>
                </a:ln>
              </p:spPr>
              <p:txBody>
                <a:bodyPr rtlCol="0" anchor="ctr"/>
                <a:lstStyle/>
                <a:p>
                  <a:endParaRPr lang="en-GB" dirty="0"/>
                </a:p>
              </p:txBody>
            </p:sp>
            <p:sp>
              <p:nvSpPr>
                <p:cNvPr id="600" name="Freihandform: Form 876">
                  <a:extLst>
                    <a:ext uri="{FF2B5EF4-FFF2-40B4-BE49-F238E27FC236}">
                      <a16:creationId xmlns:a16="http://schemas.microsoft.com/office/drawing/2014/main" id="{51EFBE1D-66B5-4F62-BA43-931565920B29}"/>
                    </a:ext>
                  </a:extLst>
                </p:cNvPr>
                <p:cNvSpPr/>
                <p:nvPr/>
              </p:nvSpPr>
              <p:spPr>
                <a:xfrm>
                  <a:off x="5365890" y="2766515"/>
                  <a:ext cx="12955" cy="226774"/>
                </a:xfrm>
                <a:custGeom>
                  <a:avLst/>
                  <a:gdLst>
                    <a:gd name="connsiteX0" fmla="*/ 6478 w 12955"/>
                    <a:gd name="connsiteY0" fmla="*/ 226775 h 226774"/>
                    <a:gd name="connsiteX1" fmla="*/ 0 w 12955"/>
                    <a:gd name="connsiteY1" fmla="*/ 220297 h 226774"/>
                    <a:gd name="connsiteX2" fmla="*/ 0 w 12955"/>
                    <a:gd name="connsiteY2" fmla="*/ 6478 h 226774"/>
                    <a:gd name="connsiteX3" fmla="*/ 6478 w 12955"/>
                    <a:gd name="connsiteY3" fmla="*/ 0 h 226774"/>
                    <a:gd name="connsiteX4" fmla="*/ 12956 w 12955"/>
                    <a:gd name="connsiteY4" fmla="*/ 6478 h 226774"/>
                    <a:gd name="connsiteX5" fmla="*/ 12956 w 12955"/>
                    <a:gd name="connsiteY5" fmla="*/ 220297 h 226774"/>
                    <a:gd name="connsiteX6" fmla="*/ 6478 w 12955"/>
                    <a:gd name="connsiteY6" fmla="*/ 226775 h 22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226774">
                      <a:moveTo>
                        <a:pt x="6478" y="226775"/>
                      </a:moveTo>
                      <a:cubicBezTo>
                        <a:pt x="2893" y="226775"/>
                        <a:pt x="0" y="223882"/>
                        <a:pt x="0" y="220297"/>
                      </a:cubicBezTo>
                      <a:lnTo>
                        <a:pt x="0" y="6478"/>
                      </a:lnTo>
                      <a:cubicBezTo>
                        <a:pt x="0" y="2893"/>
                        <a:pt x="2893" y="0"/>
                        <a:pt x="6478" y="0"/>
                      </a:cubicBezTo>
                      <a:cubicBezTo>
                        <a:pt x="10063" y="0"/>
                        <a:pt x="12956" y="2893"/>
                        <a:pt x="12956" y="6478"/>
                      </a:cubicBezTo>
                      <a:lnTo>
                        <a:pt x="12956" y="220297"/>
                      </a:lnTo>
                      <a:cubicBezTo>
                        <a:pt x="12956" y="223857"/>
                        <a:pt x="10038" y="226775"/>
                        <a:pt x="6478" y="226775"/>
                      </a:cubicBezTo>
                      <a:close/>
                    </a:path>
                  </a:pathLst>
                </a:custGeom>
                <a:grpFill/>
                <a:ln w="2469" cap="flat">
                  <a:noFill/>
                  <a:prstDash val="solid"/>
                  <a:miter/>
                </a:ln>
              </p:spPr>
              <p:txBody>
                <a:bodyPr rtlCol="0" anchor="ctr"/>
                <a:lstStyle/>
                <a:p>
                  <a:endParaRPr lang="en-GB" dirty="0"/>
                </a:p>
              </p:txBody>
            </p:sp>
            <p:sp>
              <p:nvSpPr>
                <p:cNvPr id="601" name="Freihandform: Form 877">
                  <a:extLst>
                    <a:ext uri="{FF2B5EF4-FFF2-40B4-BE49-F238E27FC236}">
                      <a16:creationId xmlns:a16="http://schemas.microsoft.com/office/drawing/2014/main" id="{FAEEC6EE-F2A2-47B3-BFED-45C3BDE58DEA}"/>
                    </a:ext>
                  </a:extLst>
                </p:cNvPr>
                <p:cNvSpPr/>
                <p:nvPr/>
              </p:nvSpPr>
              <p:spPr>
                <a:xfrm>
                  <a:off x="5417713" y="2630455"/>
                  <a:ext cx="25911" cy="12955"/>
                </a:xfrm>
                <a:custGeom>
                  <a:avLst/>
                  <a:gdLst>
                    <a:gd name="connsiteX0" fmla="*/ 19434 w 25911"/>
                    <a:gd name="connsiteY0" fmla="*/ 12956 h 12955"/>
                    <a:gd name="connsiteX1" fmla="*/ 6478 w 25911"/>
                    <a:gd name="connsiteY1" fmla="*/ 12956 h 12955"/>
                    <a:gd name="connsiteX2" fmla="*/ 0 w 25911"/>
                    <a:gd name="connsiteY2" fmla="*/ 6478 h 12955"/>
                    <a:gd name="connsiteX3" fmla="*/ 6478 w 25911"/>
                    <a:gd name="connsiteY3" fmla="*/ 0 h 12955"/>
                    <a:gd name="connsiteX4" fmla="*/ 19434 w 25911"/>
                    <a:gd name="connsiteY4" fmla="*/ 0 h 12955"/>
                    <a:gd name="connsiteX5" fmla="*/ 25911 w 25911"/>
                    <a:gd name="connsiteY5" fmla="*/ 6478 h 12955"/>
                    <a:gd name="connsiteX6" fmla="*/ 19434 w 25911"/>
                    <a:gd name="connsiteY6" fmla="*/ 12956 h 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11" h="12955">
                      <a:moveTo>
                        <a:pt x="19434" y="12956"/>
                      </a:moveTo>
                      <a:lnTo>
                        <a:pt x="6478" y="12956"/>
                      </a:lnTo>
                      <a:cubicBezTo>
                        <a:pt x="2893" y="12956"/>
                        <a:pt x="0" y="10063"/>
                        <a:pt x="0" y="6478"/>
                      </a:cubicBezTo>
                      <a:cubicBezTo>
                        <a:pt x="0" y="2893"/>
                        <a:pt x="2893" y="0"/>
                        <a:pt x="6478" y="0"/>
                      </a:cubicBezTo>
                      <a:lnTo>
                        <a:pt x="19434" y="0"/>
                      </a:lnTo>
                      <a:cubicBezTo>
                        <a:pt x="23019" y="0"/>
                        <a:pt x="25911" y="2893"/>
                        <a:pt x="25911" y="6478"/>
                      </a:cubicBezTo>
                      <a:cubicBezTo>
                        <a:pt x="25911" y="10038"/>
                        <a:pt x="23019" y="12956"/>
                        <a:pt x="19434" y="12956"/>
                      </a:cubicBezTo>
                      <a:close/>
                    </a:path>
                  </a:pathLst>
                </a:custGeom>
                <a:grpFill/>
                <a:ln w="2469" cap="flat">
                  <a:noFill/>
                  <a:prstDash val="solid"/>
                  <a:miter/>
                </a:ln>
              </p:spPr>
              <p:txBody>
                <a:bodyPr rtlCol="0" anchor="ctr"/>
                <a:lstStyle/>
                <a:p>
                  <a:endParaRPr lang="en-GB" dirty="0"/>
                </a:p>
              </p:txBody>
            </p:sp>
            <p:sp>
              <p:nvSpPr>
                <p:cNvPr id="602" name="Freihandform: Form 878">
                  <a:extLst>
                    <a:ext uri="{FF2B5EF4-FFF2-40B4-BE49-F238E27FC236}">
                      <a16:creationId xmlns:a16="http://schemas.microsoft.com/office/drawing/2014/main" id="{527BB1BA-6197-4BBF-ACCE-81FC30939AD2}"/>
                    </a:ext>
                  </a:extLst>
                </p:cNvPr>
                <p:cNvSpPr/>
                <p:nvPr/>
              </p:nvSpPr>
              <p:spPr>
                <a:xfrm>
                  <a:off x="5424191" y="2630430"/>
                  <a:ext cx="12955" cy="84236"/>
                </a:xfrm>
                <a:custGeom>
                  <a:avLst/>
                  <a:gdLst>
                    <a:gd name="connsiteX0" fmla="*/ 6478 w 12955"/>
                    <a:gd name="connsiteY0" fmla="*/ 84237 h 84236"/>
                    <a:gd name="connsiteX1" fmla="*/ 0 w 12955"/>
                    <a:gd name="connsiteY1" fmla="*/ 77759 h 84236"/>
                    <a:gd name="connsiteX2" fmla="*/ 0 w 12955"/>
                    <a:gd name="connsiteY2" fmla="*/ 6478 h 84236"/>
                    <a:gd name="connsiteX3" fmla="*/ 6478 w 12955"/>
                    <a:gd name="connsiteY3" fmla="*/ 0 h 84236"/>
                    <a:gd name="connsiteX4" fmla="*/ 12956 w 12955"/>
                    <a:gd name="connsiteY4" fmla="*/ 6478 h 84236"/>
                    <a:gd name="connsiteX5" fmla="*/ 12956 w 12955"/>
                    <a:gd name="connsiteY5" fmla="*/ 77759 h 84236"/>
                    <a:gd name="connsiteX6" fmla="*/ 6478 w 12955"/>
                    <a:gd name="connsiteY6" fmla="*/ 84237 h 8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84236">
                      <a:moveTo>
                        <a:pt x="6478" y="84237"/>
                      </a:moveTo>
                      <a:cubicBezTo>
                        <a:pt x="2893" y="84237"/>
                        <a:pt x="0" y="81344"/>
                        <a:pt x="0" y="77759"/>
                      </a:cubicBezTo>
                      <a:lnTo>
                        <a:pt x="0" y="6478"/>
                      </a:lnTo>
                      <a:cubicBezTo>
                        <a:pt x="0" y="2893"/>
                        <a:pt x="2893" y="0"/>
                        <a:pt x="6478" y="0"/>
                      </a:cubicBezTo>
                      <a:cubicBezTo>
                        <a:pt x="10063" y="0"/>
                        <a:pt x="12956" y="2893"/>
                        <a:pt x="12956" y="6478"/>
                      </a:cubicBezTo>
                      <a:lnTo>
                        <a:pt x="12956" y="77759"/>
                      </a:lnTo>
                      <a:cubicBezTo>
                        <a:pt x="12956" y="81344"/>
                        <a:pt x="10063" y="84237"/>
                        <a:pt x="6478" y="84237"/>
                      </a:cubicBezTo>
                      <a:close/>
                    </a:path>
                  </a:pathLst>
                </a:custGeom>
                <a:grpFill/>
                <a:ln w="2469" cap="flat">
                  <a:noFill/>
                  <a:prstDash val="solid"/>
                  <a:miter/>
                </a:ln>
              </p:spPr>
              <p:txBody>
                <a:bodyPr rtlCol="0" anchor="ctr"/>
                <a:lstStyle/>
                <a:p>
                  <a:endParaRPr lang="en-GB" dirty="0"/>
                </a:p>
              </p:txBody>
            </p:sp>
            <p:sp>
              <p:nvSpPr>
                <p:cNvPr id="603" name="Freihandform: Form 879">
                  <a:extLst>
                    <a:ext uri="{FF2B5EF4-FFF2-40B4-BE49-F238E27FC236}">
                      <a16:creationId xmlns:a16="http://schemas.microsoft.com/office/drawing/2014/main" id="{F11F2F81-A08B-492B-9606-08A06ED5BC03}"/>
                    </a:ext>
                  </a:extLst>
                </p:cNvPr>
                <p:cNvSpPr/>
                <p:nvPr/>
              </p:nvSpPr>
              <p:spPr>
                <a:xfrm>
                  <a:off x="5314053" y="2630430"/>
                  <a:ext cx="220302" cy="143081"/>
                </a:xfrm>
                <a:custGeom>
                  <a:avLst/>
                  <a:gdLst>
                    <a:gd name="connsiteX0" fmla="*/ 193484 w 220302"/>
                    <a:gd name="connsiteY0" fmla="*/ 143082 h 143081"/>
                    <a:gd name="connsiteX1" fmla="*/ 145321 w 220302"/>
                    <a:gd name="connsiteY1" fmla="*/ 143082 h 143081"/>
                    <a:gd name="connsiteX2" fmla="*/ 127890 w 220302"/>
                    <a:gd name="connsiteY2" fmla="*/ 139892 h 143081"/>
                    <a:gd name="connsiteX3" fmla="*/ 127049 w 220302"/>
                    <a:gd name="connsiteY3" fmla="*/ 140016 h 143081"/>
                    <a:gd name="connsiteX4" fmla="*/ 89789 w 220302"/>
                    <a:gd name="connsiteY4" fmla="*/ 143057 h 143081"/>
                    <a:gd name="connsiteX5" fmla="*/ 26741 w 220302"/>
                    <a:gd name="connsiteY5" fmla="*/ 143082 h 143081"/>
                    <a:gd name="connsiteX6" fmla="*/ 4959 w 220302"/>
                    <a:gd name="connsiteY6" fmla="*/ 133760 h 143081"/>
                    <a:gd name="connsiteX7" fmla="*/ 212 w 220302"/>
                    <a:gd name="connsiteY7" fmla="*/ 117640 h 143081"/>
                    <a:gd name="connsiteX8" fmla="*/ 13662 w 220302"/>
                    <a:gd name="connsiteY8" fmla="*/ 42502 h 143081"/>
                    <a:gd name="connsiteX9" fmla="*/ 69787 w 220302"/>
                    <a:gd name="connsiteY9" fmla="*/ 0 h 143081"/>
                    <a:gd name="connsiteX10" fmla="*/ 77723 w 220302"/>
                    <a:gd name="connsiteY10" fmla="*/ 0 h 143081"/>
                    <a:gd name="connsiteX11" fmla="*/ 83633 w 220302"/>
                    <a:gd name="connsiteY11" fmla="*/ 3808 h 143081"/>
                    <a:gd name="connsiteX12" fmla="*/ 116813 w 220302"/>
                    <a:gd name="connsiteY12" fmla="*/ 77438 h 143081"/>
                    <a:gd name="connsiteX13" fmla="*/ 149573 w 220302"/>
                    <a:gd name="connsiteY13" fmla="*/ 3808 h 143081"/>
                    <a:gd name="connsiteX14" fmla="*/ 155482 w 220302"/>
                    <a:gd name="connsiteY14" fmla="*/ 0 h 143081"/>
                    <a:gd name="connsiteX15" fmla="*/ 160106 w 220302"/>
                    <a:gd name="connsiteY15" fmla="*/ 0 h 143081"/>
                    <a:gd name="connsiteX16" fmla="*/ 209827 w 220302"/>
                    <a:gd name="connsiteY16" fmla="*/ 42329 h 143081"/>
                    <a:gd name="connsiteX17" fmla="*/ 219989 w 220302"/>
                    <a:gd name="connsiteY17" fmla="*/ 117689 h 143081"/>
                    <a:gd name="connsiteX18" fmla="*/ 215761 w 220302"/>
                    <a:gd name="connsiteY18" fmla="*/ 132969 h 143081"/>
                    <a:gd name="connsiteX19" fmla="*/ 193484 w 220302"/>
                    <a:gd name="connsiteY19" fmla="*/ 143082 h 143081"/>
                    <a:gd name="connsiteX20" fmla="*/ 126060 w 220302"/>
                    <a:gd name="connsiteY20" fmla="*/ 125478 h 143081"/>
                    <a:gd name="connsiteX21" fmla="*/ 145345 w 220302"/>
                    <a:gd name="connsiteY21" fmla="*/ 130126 h 143081"/>
                    <a:gd name="connsiteX22" fmla="*/ 193484 w 220302"/>
                    <a:gd name="connsiteY22" fmla="*/ 130126 h 143081"/>
                    <a:gd name="connsiteX23" fmla="*/ 205748 w 220302"/>
                    <a:gd name="connsiteY23" fmla="*/ 124785 h 143081"/>
                    <a:gd name="connsiteX24" fmla="*/ 207231 w 220302"/>
                    <a:gd name="connsiteY24" fmla="*/ 119840 h 143081"/>
                    <a:gd name="connsiteX25" fmla="*/ 197069 w 220302"/>
                    <a:gd name="connsiteY25" fmla="*/ 44504 h 143081"/>
                    <a:gd name="connsiteX26" fmla="*/ 160131 w 220302"/>
                    <a:gd name="connsiteY26" fmla="*/ 12956 h 143081"/>
                    <a:gd name="connsiteX27" fmla="*/ 159686 w 220302"/>
                    <a:gd name="connsiteY27" fmla="*/ 12956 h 143081"/>
                    <a:gd name="connsiteX28" fmla="*/ 128236 w 220302"/>
                    <a:gd name="connsiteY28" fmla="*/ 82778 h 143081"/>
                    <a:gd name="connsiteX29" fmla="*/ 116615 w 220302"/>
                    <a:gd name="connsiteY29" fmla="*/ 89998 h 143081"/>
                    <a:gd name="connsiteX30" fmla="*/ 116615 w 220302"/>
                    <a:gd name="connsiteY30" fmla="*/ 89998 h 143081"/>
                    <a:gd name="connsiteX31" fmla="*/ 105217 w 220302"/>
                    <a:gd name="connsiteY31" fmla="*/ 83174 h 143081"/>
                    <a:gd name="connsiteX32" fmla="*/ 73570 w 220302"/>
                    <a:gd name="connsiteY32" fmla="*/ 12931 h 143081"/>
                    <a:gd name="connsiteX33" fmla="*/ 69811 w 220302"/>
                    <a:gd name="connsiteY33" fmla="*/ 12931 h 143081"/>
                    <a:gd name="connsiteX34" fmla="*/ 26420 w 220302"/>
                    <a:gd name="connsiteY34" fmla="*/ 44900 h 143081"/>
                    <a:gd name="connsiteX35" fmla="*/ 13019 w 220302"/>
                    <a:gd name="connsiteY35" fmla="*/ 119692 h 143081"/>
                    <a:gd name="connsiteX36" fmla="*/ 14774 w 220302"/>
                    <a:gd name="connsiteY36" fmla="*/ 125255 h 143081"/>
                    <a:gd name="connsiteX37" fmla="*/ 26741 w 220302"/>
                    <a:gd name="connsiteY37" fmla="*/ 130101 h 143081"/>
                    <a:gd name="connsiteX38" fmla="*/ 89270 w 220302"/>
                    <a:gd name="connsiteY38" fmla="*/ 130101 h 143081"/>
                    <a:gd name="connsiteX39" fmla="*/ 107615 w 220302"/>
                    <a:gd name="connsiteY39" fmla="*/ 128593 h 143081"/>
                    <a:gd name="connsiteX40" fmla="*/ 47287 w 220302"/>
                    <a:gd name="connsiteY40" fmla="*/ 107528 h 143081"/>
                    <a:gd name="connsiteX41" fmla="*/ 41823 w 220302"/>
                    <a:gd name="connsiteY41" fmla="*/ 105376 h 143081"/>
                    <a:gd name="connsiteX42" fmla="*/ 40340 w 220302"/>
                    <a:gd name="connsiteY42" fmla="*/ 99690 h 143081"/>
                    <a:gd name="connsiteX43" fmla="*/ 47485 w 220302"/>
                    <a:gd name="connsiteY43" fmla="*/ 67078 h 143081"/>
                    <a:gd name="connsiteX44" fmla="*/ 55199 w 220302"/>
                    <a:gd name="connsiteY44" fmla="*/ 62133 h 143081"/>
                    <a:gd name="connsiteX45" fmla="*/ 60144 w 220302"/>
                    <a:gd name="connsiteY45" fmla="*/ 69847 h 143081"/>
                    <a:gd name="connsiteX46" fmla="*/ 54754 w 220302"/>
                    <a:gd name="connsiteY46" fmla="*/ 94498 h 143081"/>
                    <a:gd name="connsiteX47" fmla="*/ 126060 w 220302"/>
                    <a:gd name="connsiteY47" fmla="*/ 125478 h 1430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0302" h="143081">
                      <a:moveTo>
                        <a:pt x="193484" y="143082"/>
                      </a:moveTo>
                      <a:lnTo>
                        <a:pt x="145321" y="143082"/>
                      </a:lnTo>
                      <a:cubicBezTo>
                        <a:pt x="140648" y="143082"/>
                        <a:pt x="133725" y="141648"/>
                        <a:pt x="127890" y="139892"/>
                      </a:cubicBezTo>
                      <a:cubicBezTo>
                        <a:pt x="127618" y="139942"/>
                        <a:pt x="127346" y="139991"/>
                        <a:pt x="127049" y="140016"/>
                      </a:cubicBezTo>
                      <a:lnTo>
                        <a:pt x="89789" y="143057"/>
                      </a:lnTo>
                      <a:lnTo>
                        <a:pt x="26741" y="143082"/>
                      </a:lnTo>
                      <a:cubicBezTo>
                        <a:pt x="18285" y="143082"/>
                        <a:pt x="9928" y="139521"/>
                        <a:pt x="4959" y="133760"/>
                      </a:cubicBezTo>
                      <a:cubicBezTo>
                        <a:pt x="1052" y="129236"/>
                        <a:pt x="-629" y="123500"/>
                        <a:pt x="212" y="117640"/>
                      </a:cubicBezTo>
                      <a:lnTo>
                        <a:pt x="13662" y="42502"/>
                      </a:lnTo>
                      <a:cubicBezTo>
                        <a:pt x="18359" y="19409"/>
                        <a:pt x="44048" y="0"/>
                        <a:pt x="69787" y="0"/>
                      </a:cubicBezTo>
                      <a:lnTo>
                        <a:pt x="77723" y="0"/>
                      </a:lnTo>
                      <a:cubicBezTo>
                        <a:pt x="80270" y="0"/>
                        <a:pt x="82594" y="1483"/>
                        <a:pt x="83633" y="3808"/>
                      </a:cubicBezTo>
                      <a:lnTo>
                        <a:pt x="116813" y="77438"/>
                      </a:lnTo>
                      <a:lnTo>
                        <a:pt x="149573" y="3808"/>
                      </a:lnTo>
                      <a:cubicBezTo>
                        <a:pt x="150612" y="1483"/>
                        <a:pt x="152936" y="0"/>
                        <a:pt x="155482" y="0"/>
                      </a:cubicBezTo>
                      <a:lnTo>
                        <a:pt x="160106" y="0"/>
                      </a:lnTo>
                      <a:cubicBezTo>
                        <a:pt x="183916" y="0"/>
                        <a:pt x="204833" y="17802"/>
                        <a:pt x="209827" y="42329"/>
                      </a:cubicBezTo>
                      <a:lnTo>
                        <a:pt x="219989" y="117689"/>
                      </a:lnTo>
                      <a:cubicBezTo>
                        <a:pt x="221003" y="122807"/>
                        <a:pt x="219544" y="128370"/>
                        <a:pt x="215761" y="132969"/>
                      </a:cubicBezTo>
                      <a:cubicBezTo>
                        <a:pt x="210742" y="139126"/>
                        <a:pt x="201990" y="143082"/>
                        <a:pt x="193484" y="143082"/>
                      </a:cubicBezTo>
                      <a:close/>
                      <a:moveTo>
                        <a:pt x="126060" y="125478"/>
                      </a:moveTo>
                      <a:cubicBezTo>
                        <a:pt x="130783" y="127653"/>
                        <a:pt x="140920" y="130126"/>
                        <a:pt x="145345" y="130126"/>
                      </a:cubicBezTo>
                      <a:lnTo>
                        <a:pt x="193484" y="130126"/>
                      </a:lnTo>
                      <a:cubicBezTo>
                        <a:pt x="198132" y="130126"/>
                        <a:pt x="203176" y="127925"/>
                        <a:pt x="205748" y="124785"/>
                      </a:cubicBezTo>
                      <a:cubicBezTo>
                        <a:pt x="207726" y="122387"/>
                        <a:pt x="207330" y="120459"/>
                        <a:pt x="207231" y="119840"/>
                      </a:cubicBezTo>
                      <a:lnTo>
                        <a:pt x="197069" y="44504"/>
                      </a:lnTo>
                      <a:cubicBezTo>
                        <a:pt x="193361" y="26406"/>
                        <a:pt x="177809" y="12956"/>
                        <a:pt x="160131" y="12956"/>
                      </a:cubicBezTo>
                      <a:lnTo>
                        <a:pt x="159686" y="12956"/>
                      </a:lnTo>
                      <a:lnTo>
                        <a:pt x="128236" y="82778"/>
                      </a:lnTo>
                      <a:cubicBezTo>
                        <a:pt x="125763" y="87402"/>
                        <a:pt x="121387" y="89998"/>
                        <a:pt x="116615" y="89998"/>
                      </a:cubicBezTo>
                      <a:lnTo>
                        <a:pt x="116615" y="89998"/>
                      </a:lnTo>
                      <a:cubicBezTo>
                        <a:pt x="111843" y="89998"/>
                        <a:pt x="107467" y="87377"/>
                        <a:pt x="105217" y="83174"/>
                      </a:cubicBezTo>
                      <a:lnTo>
                        <a:pt x="73570" y="12931"/>
                      </a:lnTo>
                      <a:lnTo>
                        <a:pt x="69811" y="12931"/>
                      </a:lnTo>
                      <a:cubicBezTo>
                        <a:pt x="50155" y="12931"/>
                        <a:pt x="29881" y="27865"/>
                        <a:pt x="26420" y="44900"/>
                      </a:cubicBezTo>
                      <a:lnTo>
                        <a:pt x="13019" y="119692"/>
                      </a:lnTo>
                      <a:cubicBezTo>
                        <a:pt x="12722" y="121670"/>
                        <a:pt x="13291" y="123549"/>
                        <a:pt x="14774" y="125255"/>
                      </a:cubicBezTo>
                      <a:cubicBezTo>
                        <a:pt x="17272" y="128148"/>
                        <a:pt x="22068" y="130101"/>
                        <a:pt x="26741" y="130101"/>
                      </a:cubicBezTo>
                      <a:lnTo>
                        <a:pt x="89270" y="130101"/>
                      </a:lnTo>
                      <a:lnTo>
                        <a:pt x="107615" y="128593"/>
                      </a:lnTo>
                      <a:cubicBezTo>
                        <a:pt x="93152" y="119445"/>
                        <a:pt x="67438" y="105525"/>
                        <a:pt x="47287" y="107528"/>
                      </a:cubicBezTo>
                      <a:cubicBezTo>
                        <a:pt x="45235" y="107725"/>
                        <a:pt x="43183" y="106934"/>
                        <a:pt x="41823" y="105376"/>
                      </a:cubicBezTo>
                      <a:cubicBezTo>
                        <a:pt x="40439" y="103819"/>
                        <a:pt x="39895" y="101717"/>
                        <a:pt x="40340" y="99690"/>
                      </a:cubicBezTo>
                      <a:lnTo>
                        <a:pt x="47485" y="67078"/>
                      </a:lnTo>
                      <a:cubicBezTo>
                        <a:pt x="48252" y="63592"/>
                        <a:pt x="51713" y="61391"/>
                        <a:pt x="55199" y="62133"/>
                      </a:cubicBezTo>
                      <a:cubicBezTo>
                        <a:pt x="58685" y="62900"/>
                        <a:pt x="60911" y="66361"/>
                        <a:pt x="60144" y="69847"/>
                      </a:cubicBezTo>
                      <a:lnTo>
                        <a:pt x="54754" y="94498"/>
                      </a:lnTo>
                      <a:cubicBezTo>
                        <a:pt x="85883" y="96377"/>
                        <a:pt x="121066" y="121769"/>
                        <a:pt x="126060" y="125478"/>
                      </a:cubicBezTo>
                      <a:close/>
                    </a:path>
                  </a:pathLst>
                </a:custGeom>
                <a:grpFill/>
                <a:ln w="2469" cap="flat">
                  <a:noFill/>
                  <a:prstDash val="solid"/>
                  <a:miter/>
                </a:ln>
              </p:spPr>
              <p:txBody>
                <a:bodyPr rtlCol="0" anchor="ctr"/>
                <a:lstStyle/>
                <a:p>
                  <a:endParaRPr lang="en-GB" dirty="0"/>
                </a:p>
              </p:txBody>
            </p:sp>
            <p:sp>
              <p:nvSpPr>
                <p:cNvPr id="604" name="Freihandform: Form 880">
                  <a:extLst>
                    <a:ext uri="{FF2B5EF4-FFF2-40B4-BE49-F238E27FC236}">
                      <a16:creationId xmlns:a16="http://schemas.microsoft.com/office/drawing/2014/main" id="{15764EFB-6EBE-450C-BCA3-3075A07AD736}"/>
                    </a:ext>
                  </a:extLst>
                </p:cNvPr>
                <p:cNvSpPr/>
                <p:nvPr/>
              </p:nvSpPr>
              <p:spPr>
                <a:xfrm>
                  <a:off x="5355440" y="2690625"/>
                  <a:ext cx="138063" cy="45503"/>
                </a:xfrm>
                <a:custGeom>
                  <a:avLst/>
                  <a:gdLst>
                    <a:gd name="connsiteX0" fmla="*/ 6469 w 138063"/>
                    <a:gd name="connsiteY0" fmla="*/ 45504 h 45503"/>
                    <a:gd name="connsiteX1" fmla="*/ 2686 w 138063"/>
                    <a:gd name="connsiteY1" fmla="*/ 44267 h 45503"/>
                    <a:gd name="connsiteX2" fmla="*/ 1228 w 138063"/>
                    <a:gd name="connsiteY2" fmla="*/ 35218 h 45503"/>
                    <a:gd name="connsiteX3" fmla="*/ 9065 w 138063"/>
                    <a:gd name="connsiteY3" fmla="*/ 24339 h 45503"/>
                    <a:gd name="connsiteX4" fmla="*/ 26645 w 138063"/>
                    <a:gd name="connsiteY4" fmla="*/ 17763 h 45503"/>
                    <a:gd name="connsiteX5" fmla="*/ 52111 w 138063"/>
                    <a:gd name="connsiteY5" fmla="*/ 22534 h 45503"/>
                    <a:gd name="connsiteX6" fmla="*/ 124060 w 138063"/>
                    <a:gd name="connsiteY6" fmla="*/ 26342 h 45503"/>
                    <a:gd name="connsiteX7" fmla="*/ 122156 w 138063"/>
                    <a:gd name="connsiteY7" fmla="*/ 7106 h 45503"/>
                    <a:gd name="connsiteX8" fmla="*/ 127966 w 138063"/>
                    <a:gd name="connsiteY8" fmla="*/ 35 h 45503"/>
                    <a:gd name="connsiteX9" fmla="*/ 135062 w 138063"/>
                    <a:gd name="connsiteY9" fmla="*/ 5845 h 45503"/>
                    <a:gd name="connsiteX10" fmla="*/ 138029 w 138063"/>
                    <a:gd name="connsiteY10" fmla="*/ 35787 h 45503"/>
                    <a:gd name="connsiteX11" fmla="*/ 135161 w 138063"/>
                    <a:gd name="connsiteY11" fmla="*/ 41820 h 45503"/>
                    <a:gd name="connsiteX12" fmla="*/ 128510 w 138063"/>
                    <a:gd name="connsiteY12" fmla="*/ 42141 h 45503"/>
                    <a:gd name="connsiteX13" fmla="*/ 52704 w 138063"/>
                    <a:gd name="connsiteY13" fmla="*/ 35540 h 45503"/>
                    <a:gd name="connsiteX14" fmla="*/ 50702 w 138063"/>
                    <a:gd name="connsiteY14" fmla="*/ 35490 h 45503"/>
                    <a:gd name="connsiteX15" fmla="*/ 23628 w 138063"/>
                    <a:gd name="connsiteY15" fmla="*/ 30422 h 45503"/>
                    <a:gd name="connsiteX16" fmla="*/ 22244 w 138063"/>
                    <a:gd name="connsiteY16" fmla="*/ 30001 h 45503"/>
                    <a:gd name="connsiteX17" fmla="*/ 19573 w 138063"/>
                    <a:gd name="connsiteY17" fmla="*/ 31955 h 45503"/>
                    <a:gd name="connsiteX18" fmla="*/ 11736 w 138063"/>
                    <a:gd name="connsiteY18" fmla="*/ 42833 h 45503"/>
                    <a:gd name="connsiteX19" fmla="*/ 6469 w 138063"/>
                    <a:gd name="connsiteY19" fmla="*/ 45504 h 45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063" h="45503">
                      <a:moveTo>
                        <a:pt x="6469" y="45504"/>
                      </a:moveTo>
                      <a:cubicBezTo>
                        <a:pt x="5159" y="45504"/>
                        <a:pt x="3824" y="45108"/>
                        <a:pt x="2686" y="44267"/>
                      </a:cubicBezTo>
                      <a:cubicBezTo>
                        <a:pt x="-206" y="42166"/>
                        <a:pt x="-874" y="38111"/>
                        <a:pt x="1228" y="35218"/>
                      </a:cubicBezTo>
                      <a:lnTo>
                        <a:pt x="9065" y="24339"/>
                      </a:lnTo>
                      <a:cubicBezTo>
                        <a:pt x="12552" y="19493"/>
                        <a:pt x="19178" y="15018"/>
                        <a:pt x="26645" y="17763"/>
                      </a:cubicBezTo>
                      <a:lnTo>
                        <a:pt x="52111" y="22534"/>
                      </a:lnTo>
                      <a:cubicBezTo>
                        <a:pt x="59059" y="21743"/>
                        <a:pt x="97308" y="17936"/>
                        <a:pt x="124060" y="26342"/>
                      </a:cubicBezTo>
                      <a:lnTo>
                        <a:pt x="122156" y="7106"/>
                      </a:lnTo>
                      <a:cubicBezTo>
                        <a:pt x="121810" y="3546"/>
                        <a:pt x="124406" y="381"/>
                        <a:pt x="127966" y="35"/>
                      </a:cubicBezTo>
                      <a:cubicBezTo>
                        <a:pt x="131551" y="-336"/>
                        <a:pt x="134691" y="2285"/>
                        <a:pt x="135062" y="5845"/>
                      </a:cubicBezTo>
                      <a:lnTo>
                        <a:pt x="138029" y="35787"/>
                      </a:lnTo>
                      <a:cubicBezTo>
                        <a:pt x="138277" y="38160"/>
                        <a:pt x="137164" y="40485"/>
                        <a:pt x="135161" y="41820"/>
                      </a:cubicBezTo>
                      <a:cubicBezTo>
                        <a:pt x="133159" y="43155"/>
                        <a:pt x="130612" y="43254"/>
                        <a:pt x="128510" y="42141"/>
                      </a:cubicBezTo>
                      <a:cubicBezTo>
                        <a:pt x="104552" y="29235"/>
                        <a:pt x="53224" y="35465"/>
                        <a:pt x="52704" y="35540"/>
                      </a:cubicBezTo>
                      <a:cubicBezTo>
                        <a:pt x="52037" y="35614"/>
                        <a:pt x="51369" y="35614"/>
                        <a:pt x="50702" y="35490"/>
                      </a:cubicBezTo>
                      <a:lnTo>
                        <a:pt x="23628" y="30422"/>
                      </a:lnTo>
                      <a:cubicBezTo>
                        <a:pt x="23159" y="30323"/>
                        <a:pt x="22689" y="30199"/>
                        <a:pt x="22244" y="30001"/>
                      </a:cubicBezTo>
                      <a:cubicBezTo>
                        <a:pt x="21799" y="29779"/>
                        <a:pt x="20439" y="30792"/>
                        <a:pt x="19573" y="31955"/>
                      </a:cubicBezTo>
                      <a:lnTo>
                        <a:pt x="11736" y="42833"/>
                      </a:lnTo>
                      <a:cubicBezTo>
                        <a:pt x="10450" y="44589"/>
                        <a:pt x="8472" y="45504"/>
                        <a:pt x="6469" y="45504"/>
                      </a:cubicBezTo>
                      <a:close/>
                    </a:path>
                  </a:pathLst>
                </a:custGeom>
                <a:grpFill/>
                <a:ln w="2469" cap="flat">
                  <a:noFill/>
                  <a:prstDash val="solid"/>
                  <a:miter/>
                </a:ln>
              </p:spPr>
              <p:txBody>
                <a:bodyPr rtlCol="0" anchor="ctr"/>
                <a:lstStyle/>
                <a:p>
                  <a:endParaRPr lang="en-GB" dirty="0"/>
                </a:p>
              </p:txBody>
            </p:sp>
          </p:grpSp>
          <p:sp>
            <p:nvSpPr>
              <p:cNvPr id="597" name="Freihandform: Form 881">
                <a:extLst>
                  <a:ext uri="{FF2B5EF4-FFF2-40B4-BE49-F238E27FC236}">
                    <a16:creationId xmlns:a16="http://schemas.microsoft.com/office/drawing/2014/main" id="{AC52CD61-A958-47AC-A581-4A010F0389A5}"/>
                  </a:ext>
                </a:extLst>
              </p:cNvPr>
              <p:cNvSpPr/>
              <p:nvPr/>
            </p:nvSpPr>
            <p:spPr>
              <a:xfrm>
                <a:off x="5424586" y="2865735"/>
                <a:ext cx="12955" cy="129582"/>
              </a:xfrm>
              <a:custGeom>
                <a:avLst/>
                <a:gdLst>
                  <a:gd name="connsiteX0" fmla="*/ 6478 w 12955"/>
                  <a:gd name="connsiteY0" fmla="*/ 129582 h 129582"/>
                  <a:gd name="connsiteX1" fmla="*/ 0 w 12955"/>
                  <a:gd name="connsiteY1" fmla="*/ 123104 h 129582"/>
                  <a:gd name="connsiteX2" fmla="*/ 0 w 12955"/>
                  <a:gd name="connsiteY2" fmla="*/ 6478 h 129582"/>
                  <a:gd name="connsiteX3" fmla="*/ 6478 w 12955"/>
                  <a:gd name="connsiteY3" fmla="*/ 0 h 129582"/>
                  <a:gd name="connsiteX4" fmla="*/ 12956 w 12955"/>
                  <a:gd name="connsiteY4" fmla="*/ 6478 h 129582"/>
                  <a:gd name="connsiteX5" fmla="*/ 12956 w 12955"/>
                  <a:gd name="connsiteY5" fmla="*/ 123104 h 129582"/>
                  <a:gd name="connsiteX6" fmla="*/ 6478 w 12955"/>
                  <a:gd name="connsiteY6" fmla="*/ 129582 h 12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129582">
                    <a:moveTo>
                      <a:pt x="6478" y="129582"/>
                    </a:moveTo>
                    <a:cubicBezTo>
                      <a:pt x="2893" y="129582"/>
                      <a:pt x="0" y="126689"/>
                      <a:pt x="0" y="123104"/>
                    </a:cubicBezTo>
                    <a:lnTo>
                      <a:pt x="0" y="6478"/>
                    </a:lnTo>
                    <a:cubicBezTo>
                      <a:pt x="0" y="2893"/>
                      <a:pt x="2893" y="0"/>
                      <a:pt x="6478" y="0"/>
                    </a:cubicBezTo>
                    <a:cubicBezTo>
                      <a:pt x="10063" y="0"/>
                      <a:pt x="12956" y="2893"/>
                      <a:pt x="12956" y="6478"/>
                    </a:cubicBezTo>
                    <a:lnTo>
                      <a:pt x="12956" y="123104"/>
                    </a:lnTo>
                    <a:cubicBezTo>
                      <a:pt x="12956" y="126665"/>
                      <a:pt x="10063" y="129582"/>
                      <a:pt x="6478" y="129582"/>
                    </a:cubicBezTo>
                    <a:close/>
                  </a:path>
                </a:pathLst>
              </a:custGeom>
              <a:grpFill/>
              <a:ln w="2469" cap="flat">
                <a:noFill/>
                <a:prstDash val="solid"/>
                <a:miter/>
              </a:ln>
            </p:spPr>
            <p:txBody>
              <a:bodyPr rtlCol="0" anchor="ctr"/>
              <a:lstStyle/>
              <a:p>
                <a:endParaRPr lang="en-GB" dirty="0"/>
              </a:p>
            </p:txBody>
          </p:sp>
        </p:grpSp>
        <p:grpSp>
          <p:nvGrpSpPr>
            <p:cNvPr id="587" name="Group 586">
              <a:extLst>
                <a:ext uri="{FF2B5EF4-FFF2-40B4-BE49-F238E27FC236}">
                  <a16:creationId xmlns:a16="http://schemas.microsoft.com/office/drawing/2014/main" id="{AA228DC9-7214-4AE2-A223-7C648E2B3F44}"/>
                </a:ext>
              </a:extLst>
            </p:cNvPr>
            <p:cNvGrpSpPr/>
            <p:nvPr/>
          </p:nvGrpSpPr>
          <p:grpSpPr>
            <a:xfrm>
              <a:off x="5142910" y="4121924"/>
              <a:ext cx="284850" cy="349628"/>
              <a:chOff x="5475593" y="2605063"/>
              <a:chExt cx="317464" cy="389660"/>
            </a:xfrm>
            <a:solidFill>
              <a:schemeClr val="accent1"/>
            </a:solidFill>
          </p:grpSpPr>
          <p:sp>
            <p:nvSpPr>
              <p:cNvPr id="588" name="Freihandform: Form 882">
                <a:extLst>
                  <a:ext uri="{FF2B5EF4-FFF2-40B4-BE49-F238E27FC236}">
                    <a16:creationId xmlns:a16="http://schemas.microsoft.com/office/drawing/2014/main" id="{78A214B6-8668-4F26-965E-E0D7C54F5B05}"/>
                  </a:ext>
                </a:extLst>
              </p:cNvPr>
              <p:cNvSpPr/>
              <p:nvPr/>
            </p:nvSpPr>
            <p:spPr>
              <a:xfrm>
                <a:off x="5507983" y="2630974"/>
                <a:ext cx="259163" cy="233252"/>
              </a:xfrm>
              <a:custGeom>
                <a:avLst/>
                <a:gdLst>
                  <a:gd name="connsiteX0" fmla="*/ 252686 w 259163"/>
                  <a:gd name="connsiteY0" fmla="*/ 233252 h 233252"/>
                  <a:gd name="connsiteX1" fmla="*/ 6478 w 259163"/>
                  <a:gd name="connsiteY1" fmla="*/ 233252 h 233252"/>
                  <a:gd name="connsiteX2" fmla="*/ 0 w 259163"/>
                  <a:gd name="connsiteY2" fmla="*/ 226775 h 233252"/>
                  <a:gd name="connsiteX3" fmla="*/ 6478 w 259163"/>
                  <a:gd name="connsiteY3" fmla="*/ 220297 h 233252"/>
                  <a:gd name="connsiteX4" fmla="*/ 246208 w 259163"/>
                  <a:gd name="connsiteY4" fmla="*/ 220297 h 233252"/>
                  <a:gd name="connsiteX5" fmla="*/ 246208 w 259163"/>
                  <a:gd name="connsiteY5" fmla="*/ 6478 h 233252"/>
                  <a:gd name="connsiteX6" fmla="*/ 252686 w 259163"/>
                  <a:gd name="connsiteY6" fmla="*/ 0 h 233252"/>
                  <a:gd name="connsiteX7" fmla="*/ 259164 w 259163"/>
                  <a:gd name="connsiteY7" fmla="*/ 6478 h 233252"/>
                  <a:gd name="connsiteX8" fmla="*/ 259164 w 259163"/>
                  <a:gd name="connsiteY8" fmla="*/ 226775 h 233252"/>
                  <a:gd name="connsiteX9" fmla="*/ 252686 w 259163"/>
                  <a:gd name="connsiteY9" fmla="*/ 233252 h 233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9163" h="233252">
                    <a:moveTo>
                      <a:pt x="252686" y="233252"/>
                    </a:moveTo>
                    <a:lnTo>
                      <a:pt x="6478" y="233252"/>
                    </a:lnTo>
                    <a:cubicBezTo>
                      <a:pt x="2893" y="233252"/>
                      <a:pt x="0" y="230360"/>
                      <a:pt x="0" y="226775"/>
                    </a:cubicBezTo>
                    <a:cubicBezTo>
                      <a:pt x="0" y="223189"/>
                      <a:pt x="2893" y="220297"/>
                      <a:pt x="6478" y="220297"/>
                    </a:cubicBezTo>
                    <a:lnTo>
                      <a:pt x="246208" y="220297"/>
                    </a:lnTo>
                    <a:lnTo>
                      <a:pt x="246208" y="6478"/>
                    </a:lnTo>
                    <a:cubicBezTo>
                      <a:pt x="246208" y="2893"/>
                      <a:pt x="249101" y="0"/>
                      <a:pt x="252686" y="0"/>
                    </a:cubicBezTo>
                    <a:cubicBezTo>
                      <a:pt x="256271" y="0"/>
                      <a:pt x="259164" y="2893"/>
                      <a:pt x="259164" y="6478"/>
                    </a:cubicBezTo>
                    <a:lnTo>
                      <a:pt x="259164" y="226775"/>
                    </a:lnTo>
                    <a:cubicBezTo>
                      <a:pt x="259164" y="230360"/>
                      <a:pt x="256271" y="233252"/>
                      <a:pt x="252686" y="233252"/>
                    </a:cubicBezTo>
                    <a:close/>
                  </a:path>
                </a:pathLst>
              </a:custGeom>
              <a:solidFill>
                <a:schemeClr val="accent1"/>
              </a:solidFill>
              <a:ln w="2469" cap="flat">
                <a:noFill/>
                <a:prstDash val="solid"/>
                <a:miter/>
              </a:ln>
            </p:spPr>
            <p:txBody>
              <a:bodyPr rtlCol="0" anchor="ctr"/>
              <a:lstStyle/>
              <a:p>
                <a:endParaRPr lang="en-GB" dirty="0"/>
              </a:p>
            </p:txBody>
          </p:sp>
          <p:sp>
            <p:nvSpPr>
              <p:cNvPr id="589" name="Freihandform: Form 883">
                <a:extLst>
                  <a:ext uri="{FF2B5EF4-FFF2-40B4-BE49-F238E27FC236}">
                    <a16:creationId xmlns:a16="http://schemas.microsoft.com/office/drawing/2014/main" id="{E847E48E-A5A6-4E9F-A5D4-F39735778B6E}"/>
                  </a:ext>
                </a:extLst>
              </p:cNvPr>
              <p:cNvSpPr/>
              <p:nvPr/>
            </p:nvSpPr>
            <p:spPr>
              <a:xfrm>
                <a:off x="5520938" y="2630974"/>
                <a:ext cx="272119" cy="12955"/>
              </a:xfrm>
              <a:custGeom>
                <a:avLst/>
                <a:gdLst>
                  <a:gd name="connsiteX0" fmla="*/ 265642 w 272119"/>
                  <a:gd name="connsiteY0" fmla="*/ 12956 h 12955"/>
                  <a:gd name="connsiteX1" fmla="*/ 6478 w 272119"/>
                  <a:gd name="connsiteY1" fmla="*/ 12956 h 12955"/>
                  <a:gd name="connsiteX2" fmla="*/ 0 w 272119"/>
                  <a:gd name="connsiteY2" fmla="*/ 6478 h 12955"/>
                  <a:gd name="connsiteX3" fmla="*/ 6478 w 272119"/>
                  <a:gd name="connsiteY3" fmla="*/ 0 h 12955"/>
                  <a:gd name="connsiteX4" fmla="*/ 265642 w 272119"/>
                  <a:gd name="connsiteY4" fmla="*/ 0 h 12955"/>
                  <a:gd name="connsiteX5" fmla="*/ 272120 w 272119"/>
                  <a:gd name="connsiteY5" fmla="*/ 6478 h 12955"/>
                  <a:gd name="connsiteX6" fmla="*/ 265642 w 272119"/>
                  <a:gd name="connsiteY6" fmla="*/ 12956 h 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2119" h="12955">
                    <a:moveTo>
                      <a:pt x="265642" y="12956"/>
                    </a:moveTo>
                    <a:lnTo>
                      <a:pt x="6478" y="12956"/>
                    </a:lnTo>
                    <a:cubicBezTo>
                      <a:pt x="2893" y="12956"/>
                      <a:pt x="0" y="10063"/>
                      <a:pt x="0" y="6478"/>
                    </a:cubicBezTo>
                    <a:cubicBezTo>
                      <a:pt x="0" y="2893"/>
                      <a:pt x="2893" y="0"/>
                      <a:pt x="6478" y="0"/>
                    </a:cubicBezTo>
                    <a:lnTo>
                      <a:pt x="265642" y="0"/>
                    </a:lnTo>
                    <a:cubicBezTo>
                      <a:pt x="269227" y="0"/>
                      <a:pt x="272120" y="2893"/>
                      <a:pt x="272120" y="6478"/>
                    </a:cubicBezTo>
                    <a:cubicBezTo>
                      <a:pt x="272120" y="10063"/>
                      <a:pt x="269227" y="12956"/>
                      <a:pt x="265642" y="12956"/>
                    </a:cubicBezTo>
                    <a:close/>
                  </a:path>
                </a:pathLst>
              </a:custGeom>
              <a:solidFill>
                <a:schemeClr val="accent1"/>
              </a:solidFill>
              <a:ln w="2469" cap="flat">
                <a:noFill/>
                <a:prstDash val="solid"/>
                <a:miter/>
              </a:ln>
            </p:spPr>
            <p:txBody>
              <a:bodyPr rtlCol="0" anchor="ctr"/>
              <a:lstStyle/>
              <a:p>
                <a:endParaRPr lang="en-GB" dirty="0"/>
              </a:p>
            </p:txBody>
          </p:sp>
          <p:sp>
            <p:nvSpPr>
              <p:cNvPr id="590" name="Freihandform: Form 884">
                <a:extLst>
                  <a:ext uri="{FF2B5EF4-FFF2-40B4-BE49-F238E27FC236}">
                    <a16:creationId xmlns:a16="http://schemas.microsoft.com/office/drawing/2014/main" id="{FF6533E5-BAD2-4B4C-AF74-38383D0C3AEA}"/>
                  </a:ext>
                </a:extLst>
              </p:cNvPr>
              <p:cNvSpPr/>
              <p:nvPr/>
            </p:nvSpPr>
            <p:spPr>
              <a:xfrm>
                <a:off x="5475593" y="2605063"/>
                <a:ext cx="317464" cy="12955"/>
              </a:xfrm>
              <a:custGeom>
                <a:avLst/>
                <a:gdLst>
                  <a:gd name="connsiteX0" fmla="*/ 310987 w 317464"/>
                  <a:gd name="connsiteY0" fmla="*/ 12956 h 12955"/>
                  <a:gd name="connsiteX1" fmla="*/ 6478 w 317464"/>
                  <a:gd name="connsiteY1" fmla="*/ 12956 h 12955"/>
                  <a:gd name="connsiteX2" fmla="*/ 0 w 317464"/>
                  <a:gd name="connsiteY2" fmla="*/ 6478 h 12955"/>
                  <a:gd name="connsiteX3" fmla="*/ 6478 w 317464"/>
                  <a:gd name="connsiteY3" fmla="*/ 0 h 12955"/>
                  <a:gd name="connsiteX4" fmla="*/ 310987 w 317464"/>
                  <a:gd name="connsiteY4" fmla="*/ 0 h 12955"/>
                  <a:gd name="connsiteX5" fmla="*/ 317465 w 317464"/>
                  <a:gd name="connsiteY5" fmla="*/ 6478 h 12955"/>
                  <a:gd name="connsiteX6" fmla="*/ 310987 w 317464"/>
                  <a:gd name="connsiteY6" fmla="*/ 12956 h 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464" h="12955">
                    <a:moveTo>
                      <a:pt x="310987" y="12956"/>
                    </a:moveTo>
                    <a:lnTo>
                      <a:pt x="6478" y="12956"/>
                    </a:lnTo>
                    <a:cubicBezTo>
                      <a:pt x="2893" y="12956"/>
                      <a:pt x="0" y="10063"/>
                      <a:pt x="0" y="6478"/>
                    </a:cubicBezTo>
                    <a:cubicBezTo>
                      <a:pt x="0" y="2893"/>
                      <a:pt x="2893" y="0"/>
                      <a:pt x="6478" y="0"/>
                    </a:cubicBezTo>
                    <a:lnTo>
                      <a:pt x="310987" y="0"/>
                    </a:lnTo>
                    <a:cubicBezTo>
                      <a:pt x="314572" y="0"/>
                      <a:pt x="317465" y="2893"/>
                      <a:pt x="317465" y="6478"/>
                    </a:cubicBezTo>
                    <a:cubicBezTo>
                      <a:pt x="317465" y="10038"/>
                      <a:pt x="314572" y="12956"/>
                      <a:pt x="310987" y="12956"/>
                    </a:cubicBezTo>
                    <a:close/>
                  </a:path>
                </a:pathLst>
              </a:custGeom>
              <a:solidFill>
                <a:schemeClr val="accent1"/>
              </a:solidFill>
              <a:ln w="2469" cap="flat">
                <a:noFill/>
                <a:prstDash val="solid"/>
                <a:miter/>
              </a:ln>
            </p:spPr>
            <p:txBody>
              <a:bodyPr rtlCol="0" anchor="ctr"/>
              <a:lstStyle/>
              <a:p>
                <a:endParaRPr lang="en-GB" dirty="0"/>
              </a:p>
            </p:txBody>
          </p:sp>
          <p:sp>
            <p:nvSpPr>
              <p:cNvPr id="591" name="Freihandform: Form 885">
                <a:extLst>
                  <a:ext uri="{FF2B5EF4-FFF2-40B4-BE49-F238E27FC236}">
                    <a16:creationId xmlns:a16="http://schemas.microsoft.com/office/drawing/2014/main" id="{8C7719B7-FBDC-4EC3-AF5C-5B6C5796EC70}"/>
                  </a:ext>
                </a:extLst>
              </p:cNvPr>
              <p:cNvSpPr/>
              <p:nvPr/>
            </p:nvSpPr>
            <p:spPr>
              <a:xfrm>
                <a:off x="5585742" y="2851271"/>
                <a:ext cx="12955" cy="142537"/>
              </a:xfrm>
              <a:custGeom>
                <a:avLst/>
                <a:gdLst>
                  <a:gd name="connsiteX0" fmla="*/ 6478 w 12955"/>
                  <a:gd name="connsiteY0" fmla="*/ 142538 h 142537"/>
                  <a:gd name="connsiteX1" fmla="*/ 0 w 12955"/>
                  <a:gd name="connsiteY1" fmla="*/ 136060 h 142537"/>
                  <a:gd name="connsiteX2" fmla="*/ 0 w 12955"/>
                  <a:gd name="connsiteY2" fmla="*/ 6478 h 142537"/>
                  <a:gd name="connsiteX3" fmla="*/ 6478 w 12955"/>
                  <a:gd name="connsiteY3" fmla="*/ 0 h 142537"/>
                  <a:gd name="connsiteX4" fmla="*/ 12956 w 12955"/>
                  <a:gd name="connsiteY4" fmla="*/ 6478 h 142537"/>
                  <a:gd name="connsiteX5" fmla="*/ 12956 w 12955"/>
                  <a:gd name="connsiteY5" fmla="*/ 136060 h 142537"/>
                  <a:gd name="connsiteX6" fmla="*/ 6478 w 12955"/>
                  <a:gd name="connsiteY6" fmla="*/ 142538 h 14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142537">
                    <a:moveTo>
                      <a:pt x="6478" y="142538"/>
                    </a:moveTo>
                    <a:cubicBezTo>
                      <a:pt x="2893" y="142538"/>
                      <a:pt x="0" y="139645"/>
                      <a:pt x="0" y="136060"/>
                    </a:cubicBezTo>
                    <a:lnTo>
                      <a:pt x="0" y="6478"/>
                    </a:lnTo>
                    <a:cubicBezTo>
                      <a:pt x="0" y="2893"/>
                      <a:pt x="2893" y="0"/>
                      <a:pt x="6478" y="0"/>
                    </a:cubicBezTo>
                    <a:cubicBezTo>
                      <a:pt x="10063" y="0"/>
                      <a:pt x="12956" y="2893"/>
                      <a:pt x="12956" y="6478"/>
                    </a:cubicBezTo>
                    <a:lnTo>
                      <a:pt x="12956" y="136060"/>
                    </a:lnTo>
                    <a:cubicBezTo>
                      <a:pt x="12956" y="139645"/>
                      <a:pt x="10038" y="142538"/>
                      <a:pt x="6478" y="142538"/>
                    </a:cubicBezTo>
                    <a:close/>
                  </a:path>
                </a:pathLst>
              </a:custGeom>
              <a:solidFill>
                <a:schemeClr val="accent1"/>
              </a:solidFill>
              <a:ln w="2469" cap="flat">
                <a:noFill/>
                <a:prstDash val="solid"/>
                <a:miter/>
              </a:ln>
            </p:spPr>
            <p:txBody>
              <a:bodyPr rtlCol="0" anchor="ctr"/>
              <a:lstStyle/>
              <a:p>
                <a:endParaRPr lang="en-GB" dirty="0"/>
              </a:p>
            </p:txBody>
          </p:sp>
          <p:sp>
            <p:nvSpPr>
              <p:cNvPr id="592" name="Freihandform: Form 886">
                <a:extLst>
                  <a:ext uri="{FF2B5EF4-FFF2-40B4-BE49-F238E27FC236}">
                    <a16:creationId xmlns:a16="http://schemas.microsoft.com/office/drawing/2014/main" id="{B32E55A0-F5C9-43FF-AA98-6D4E466757C5}"/>
                  </a:ext>
                </a:extLst>
              </p:cNvPr>
              <p:cNvSpPr/>
              <p:nvPr/>
            </p:nvSpPr>
            <p:spPr>
              <a:xfrm>
                <a:off x="5585729" y="2903082"/>
                <a:ext cx="91629" cy="91641"/>
              </a:xfrm>
              <a:custGeom>
                <a:avLst/>
                <a:gdLst>
                  <a:gd name="connsiteX0" fmla="*/ 85139 w 91629"/>
                  <a:gd name="connsiteY0" fmla="*/ 91642 h 91641"/>
                  <a:gd name="connsiteX1" fmla="*/ 80565 w 91629"/>
                  <a:gd name="connsiteY1" fmla="*/ 89738 h 91641"/>
                  <a:gd name="connsiteX2" fmla="*/ 1891 w 91629"/>
                  <a:gd name="connsiteY2" fmla="*/ 11064 h 91641"/>
                  <a:gd name="connsiteX3" fmla="*/ 1891 w 91629"/>
                  <a:gd name="connsiteY3" fmla="*/ 1891 h 91641"/>
                  <a:gd name="connsiteX4" fmla="*/ 11064 w 91629"/>
                  <a:gd name="connsiteY4" fmla="*/ 1891 h 91641"/>
                  <a:gd name="connsiteX5" fmla="*/ 89738 w 91629"/>
                  <a:gd name="connsiteY5" fmla="*/ 80565 h 91641"/>
                  <a:gd name="connsiteX6" fmla="*/ 89738 w 91629"/>
                  <a:gd name="connsiteY6" fmla="*/ 89738 h 91641"/>
                  <a:gd name="connsiteX7" fmla="*/ 85139 w 91629"/>
                  <a:gd name="connsiteY7" fmla="*/ 91642 h 9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29" h="91641">
                    <a:moveTo>
                      <a:pt x="85139" y="91642"/>
                    </a:moveTo>
                    <a:cubicBezTo>
                      <a:pt x="83483" y="91642"/>
                      <a:pt x="81826" y="90999"/>
                      <a:pt x="80565" y="89738"/>
                    </a:cubicBezTo>
                    <a:lnTo>
                      <a:pt x="1891" y="11064"/>
                    </a:lnTo>
                    <a:cubicBezTo>
                      <a:pt x="-630" y="8542"/>
                      <a:pt x="-630" y="4438"/>
                      <a:pt x="1891" y="1891"/>
                    </a:cubicBezTo>
                    <a:cubicBezTo>
                      <a:pt x="4413" y="-630"/>
                      <a:pt x="8518" y="-630"/>
                      <a:pt x="11064" y="1891"/>
                    </a:cubicBezTo>
                    <a:lnTo>
                      <a:pt x="89738" y="80565"/>
                    </a:lnTo>
                    <a:cubicBezTo>
                      <a:pt x="92260" y="83087"/>
                      <a:pt x="92260" y="87191"/>
                      <a:pt x="89738" y="89738"/>
                    </a:cubicBezTo>
                    <a:cubicBezTo>
                      <a:pt x="88477" y="91024"/>
                      <a:pt x="86821" y="91642"/>
                      <a:pt x="85139" y="91642"/>
                    </a:cubicBezTo>
                    <a:close/>
                  </a:path>
                </a:pathLst>
              </a:custGeom>
              <a:solidFill>
                <a:schemeClr val="accent1"/>
              </a:solidFill>
              <a:ln w="2469" cap="flat">
                <a:noFill/>
                <a:prstDash val="solid"/>
                <a:miter/>
              </a:ln>
            </p:spPr>
            <p:txBody>
              <a:bodyPr rtlCol="0" anchor="ctr"/>
              <a:lstStyle/>
              <a:p>
                <a:endParaRPr lang="en-GB" dirty="0"/>
              </a:p>
            </p:txBody>
          </p:sp>
          <p:sp>
            <p:nvSpPr>
              <p:cNvPr id="593" name="Freihandform: Form 887">
                <a:extLst>
                  <a:ext uri="{FF2B5EF4-FFF2-40B4-BE49-F238E27FC236}">
                    <a16:creationId xmlns:a16="http://schemas.microsoft.com/office/drawing/2014/main" id="{2B9D2A22-FE84-4A37-8327-B60E84D623B3}"/>
                  </a:ext>
                </a:extLst>
              </p:cNvPr>
              <p:cNvSpPr/>
              <p:nvPr/>
            </p:nvSpPr>
            <p:spPr>
              <a:xfrm>
                <a:off x="5507080" y="2903082"/>
                <a:ext cx="91629" cy="91641"/>
              </a:xfrm>
              <a:custGeom>
                <a:avLst/>
                <a:gdLst>
                  <a:gd name="connsiteX0" fmla="*/ 6466 w 91629"/>
                  <a:gd name="connsiteY0" fmla="*/ 91642 h 91641"/>
                  <a:gd name="connsiteX1" fmla="*/ 1891 w 91629"/>
                  <a:gd name="connsiteY1" fmla="*/ 89738 h 91641"/>
                  <a:gd name="connsiteX2" fmla="*/ 1891 w 91629"/>
                  <a:gd name="connsiteY2" fmla="*/ 80565 h 91641"/>
                  <a:gd name="connsiteX3" fmla="*/ 80565 w 91629"/>
                  <a:gd name="connsiteY3" fmla="*/ 1891 h 91641"/>
                  <a:gd name="connsiteX4" fmla="*/ 89738 w 91629"/>
                  <a:gd name="connsiteY4" fmla="*/ 1891 h 91641"/>
                  <a:gd name="connsiteX5" fmla="*/ 89738 w 91629"/>
                  <a:gd name="connsiteY5" fmla="*/ 11064 h 91641"/>
                  <a:gd name="connsiteX6" fmla="*/ 11064 w 91629"/>
                  <a:gd name="connsiteY6" fmla="*/ 89738 h 91641"/>
                  <a:gd name="connsiteX7" fmla="*/ 6466 w 91629"/>
                  <a:gd name="connsiteY7" fmla="*/ 91642 h 9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29" h="91641">
                    <a:moveTo>
                      <a:pt x="6466" y="91642"/>
                    </a:moveTo>
                    <a:cubicBezTo>
                      <a:pt x="4809" y="91642"/>
                      <a:pt x="3152" y="90999"/>
                      <a:pt x="1891" y="89738"/>
                    </a:cubicBezTo>
                    <a:cubicBezTo>
                      <a:pt x="-630" y="87216"/>
                      <a:pt x="-630" y="83112"/>
                      <a:pt x="1891" y="80565"/>
                    </a:cubicBezTo>
                    <a:lnTo>
                      <a:pt x="80565" y="1891"/>
                    </a:lnTo>
                    <a:cubicBezTo>
                      <a:pt x="83087" y="-630"/>
                      <a:pt x="87192" y="-630"/>
                      <a:pt x="89738" y="1891"/>
                    </a:cubicBezTo>
                    <a:cubicBezTo>
                      <a:pt x="92260" y="4413"/>
                      <a:pt x="92260" y="8518"/>
                      <a:pt x="89738" y="11064"/>
                    </a:cubicBezTo>
                    <a:lnTo>
                      <a:pt x="11064" y="89738"/>
                    </a:lnTo>
                    <a:cubicBezTo>
                      <a:pt x="9779" y="91024"/>
                      <a:pt x="8122" y="91642"/>
                      <a:pt x="6466" y="91642"/>
                    </a:cubicBezTo>
                    <a:close/>
                  </a:path>
                </a:pathLst>
              </a:custGeom>
              <a:solidFill>
                <a:schemeClr val="accent1"/>
              </a:solidFill>
              <a:ln w="2469" cap="flat">
                <a:noFill/>
                <a:prstDash val="solid"/>
                <a:miter/>
              </a:ln>
            </p:spPr>
            <p:txBody>
              <a:bodyPr rtlCol="0" anchor="ctr"/>
              <a:lstStyle/>
              <a:p>
                <a:endParaRPr lang="en-GB" dirty="0"/>
              </a:p>
            </p:txBody>
          </p:sp>
          <p:sp>
            <p:nvSpPr>
              <p:cNvPr id="594" name="Freihandform: Form 888">
                <a:extLst>
                  <a:ext uri="{FF2B5EF4-FFF2-40B4-BE49-F238E27FC236}">
                    <a16:creationId xmlns:a16="http://schemas.microsoft.com/office/drawing/2014/main" id="{6F58CC5F-9B86-4744-B137-03F6682F862D}"/>
                  </a:ext>
                </a:extLst>
              </p:cNvPr>
              <p:cNvSpPr/>
              <p:nvPr/>
            </p:nvSpPr>
            <p:spPr>
              <a:xfrm>
                <a:off x="5572786" y="2773512"/>
                <a:ext cx="25911" cy="12955"/>
              </a:xfrm>
              <a:custGeom>
                <a:avLst/>
                <a:gdLst>
                  <a:gd name="connsiteX0" fmla="*/ 19434 w 25911"/>
                  <a:gd name="connsiteY0" fmla="*/ 12956 h 12955"/>
                  <a:gd name="connsiteX1" fmla="*/ 6478 w 25911"/>
                  <a:gd name="connsiteY1" fmla="*/ 12956 h 12955"/>
                  <a:gd name="connsiteX2" fmla="*/ 0 w 25911"/>
                  <a:gd name="connsiteY2" fmla="*/ 6478 h 12955"/>
                  <a:gd name="connsiteX3" fmla="*/ 6478 w 25911"/>
                  <a:gd name="connsiteY3" fmla="*/ 0 h 12955"/>
                  <a:gd name="connsiteX4" fmla="*/ 19434 w 25911"/>
                  <a:gd name="connsiteY4" fmla="*/ 0 h 12955"/>
                  <a:gd name="connsiteX5" fmla="*/ 25911 w 25911"/>
                  <a:gd name="connsiteY5" fmla="*/ 6478 h 12955"/>
                  <a:gd name="connsiteX6" fmla="*/ 19434 w 25911"/>
                  <a:gd name="connsiteY6" fmla="*/ 12956 h 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11" h="12955">
                    <a:moveTo>
                      <a:pt x="19434" y="12956"/>
                    </a:moveTo>
                    <a:lnTo>
                      <a:pt x="6478" y="12956"/>
                    </a:lnTo>
                    <a:cubicBezTo>
                      <a:pt x="2893" y="12956"/>
                      <a:pt x="0" y="10063"/>
                      <a:pt x="0" y="6478"/>
                    </a:cubicBezTo>
                    <a:cubicBezTo>
                      <a:pt x="0" y="2893"/>
                      <a:pt x="2893" y="0"/>
                      <a:pt x="6478" y="0"/>
                    </a:cubicBezTo>
                    <a:lnTo>
                      <a:pt x="19434" y="0"/>
                    </a:lnTo>
                    <a:cubicBezTo>
                      <a:pt x="23019" y="0"/>
                      <a:pt x="25911" y="2893"/>
                      <a:pt x="25911" y="6478"/>
                    </a:cubicBezTo>
                    <a:cubicBezTo>
                      <a:pt x="25911" y="10063"/>
                      <a:pt x="22994" y="12956"/>
                      <a:pt x="19434" y="12956"/>
                    </a:cubicBezTo>
                    <a:close/>
                  </a:path>
                </a:pathLst>
              </a:custGeom>
              <a:solidFill>
                <a:schemeClr val="accent1"/>
              </a:solidFill>
              <a:ln w="2469" cap="flat">
                <a:noFill/>
                <a:prstDash val="solid"/>
                <a:miter/>
              </a:ln>
            </p:spPr>
            <p:txBody>
              <a:bodyPr rtlCol="0" anchor="ctr"/>
              <a:lstStyle/>
              <a:p>
                <a:endParaRPr lang="en-GB" dirty="0"/>
              </a:p>
            </p:txBody>
          </p:sp>
          <p:sp>
            <p:nvSpPr>
              <p:cNvPr id="595" name="Freihandform: Form 889">
                <a:extLst>
                  <a:ext uri="{FF2B5EF4-FFF2-40B4-BE49-F238E27FC236}">
                    <a16:creationId xmlns:a16="http://schemas.microsoft.com/office/drawing/2014/main" id="{C19A2363-F634-4872-BB4B-15471304CFAB}"/>
                  </a:ext>
                </a:extLst>
              </p:cNvPr>
              <p:cNvSpPr/>
              <p:nvPr/>
            </p:nvSpPr>
            <p:spPr>
              <a:xfrm>
                <a:off x="5631087" y="2773512"/>
                <a:ext cx="25911" cy="12955"/>
              </a:xfrm>
              <a:custGeom>
                <a:avLst/>
                <a:gdLst>
                  <a:gd name="connsiteX0" fmla="*/ 19434 w 25911"/>
                  <a:gd name="connsiteY0" fmla="*/ 12956 h 12955"/>
                  <a:gd name="connsiteX1" fmla="*/ 6478 w 25911"/>
                  <a:gd name="connsiteY1" fmla="*/ 12956 h 12955"/>
                  <a:gd name="connsiteX2" fmla="*/ 0 w 25911"/>
                  <a:gd name="connsiteY2" fmla="*/ 6478 h 12955"/>
                  <a:gd name="connsiteX3" fmla="*/ 6478 w 25911"/>
                  <a:gd name="connsiteY3" fmla="*/ 0 h 12955"/>
                  <a:gd name="connsiteX4" fmla="*/ 19434 w 25911"/>
                  <a:gd name="connsiteY4" fmla="*/ 0 h 12955"/>
                  <a:gd name="connsiteX5" fmla="*/ 25911 w 25911"/>
                  <a:gd name="connsiteY5" fmla="*/ 6478 h 12955"/>
                  <a:gd name="connsiteX6" fmla="*/ 19434 w 25911"/>
                  <a:gd name="connsiteY6" fmla="*/ 12956 h 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11" h="12955">
                    <a:moveTo>
                      <a:pt x="19434" y="12956"/>
                    </a:moveTo>
                    <a:lnTo>
                      <a:pt x="6478" y="12956"/>
                    </a:lnTo>
                    <a:cubicBezTo>
                      <a:pt x="2893" y="12956"/>
                      <a:pt x="0" y="10063"/>
                      <a:pt x="0" y="6478"/>
                    </a:cubicBezTo>
                    <a:cubicBezTo>
                      <a:pt x="0" y="2893"/>
                      <a:pt x="2893" y="0"/>
                      <a:pt x="6478" y="0"/>
                    </a:cubicBezTo>
                    <a:lnTo>
                      <a:pt x="19434" y="0"/>
                    </a:lnTo>
                    <a:cubicBezTo>
                      <a:pt x="23019" y="0"/>
                      <a:pt x="25911" y="2893"/>
                      <a:pt x="25911" y="6478"/>
                    </a:cubicBezTo>
                    <a:cubicBezTo>
                      <a:pt x="25911" y="10063"/>
                      <a:pt x="23019" y="12956"/>
                      <a:pt x="19434" y="12956"/>
                    </a:cubicBezTo>
                    <a:close/>
                  </a:path>
                </a:pathLst>
              </a:custGeom>
              <a:solidFill>
                <a:schemeClr val="accent1"/>
              </a:solidFill>
              <a:ln w="2469" cap="flat">
                <a:noFill/>
                <a:prstDash val="solid"/>
                <a:miter/>
              </a:ln>
            </p:spPr>
            <p:txBody>
              <a:bodyPr rtlCol="0" anchor="ctr"/>
              <a:lstStyle/>
              <a:p>
                <a:endParaRPr lang="en-GB" dirty="0"/>
              </a:p>
            </p:txBody>
          </p:sp>
        </p:grpSp>
      </p:grpSp>
      <p:grpSp>
        <p:nvGrpSpPr>
          <p:cNvPr id="673" name="Group 672">
            <a:extLst>
              <a:ext uri="{FF2B5EF4-FFF2-40B4-BE49-F238E27FC236}">
                <a16:creationId xmlns:a16="http://schemas.microsoft.com/office/drawing/2014/main" id="{2615B91C-E165-1692-6C36-09CC065B3EFC}"/>
              </a:ext>
            </a:extLst>
          </p:cNvPr>
          <p:cNvGrpSpPr/>
          <p:nvPr/>
        </p:nvGrpSpPr>
        <p:grpSpPr>
          <a:xfrm>
            <a:off x="6037822" y="4040086"/>
            <a:ext cx="437158" cy="432000"/>
            <a:chOff x="6037410" y="4040086"/>
            <a:chExt cx="437158" cy="432000"/>
          </a:xfrm>
        </p:grpSpPr>
        <p:grpSp>
          <p:nvGrpSpPr>
            <p:cNvPr id="606" name="Grafik 199">
              <a:extLst>
                <a:ext uri="{FF2B5EF4-FFF2-40B4-BE49-F238E27FC236}">
                  <a16:creationId xmlns:a16="http://schemas.microsoft.com/office/drawing/2014/main" id="{14306EB7-945F-437C-BA19-C8B9FC44836B}"/>
                </a:ext>
              </a:extLst>
            </p:cNvPr>
            <p:cNvGrpSpPr/>
            <p:nvPr/>
          </p:nvGrpSpPr>
          <p:grpSpPr>
            <a:xfrm>
              <a:off x="6037410" y="4040086"/>
              <a:ext cx="263597" cy="432000"/>
              <a:chOff x="6959988" y="2515955"/>
              <a:chExt cx="276006" cy="452337"/>
            </a:xfrm>
            <a:solidFill>
              <a:schemeClr val="tx2"/>
            </a:solidFill>
          </p:grpSpPr>
          <p:grpSp>
            <p:nvGrpSpPr>
              <p:cNvPr id="622" name="Grafik 199">
                <a:extLst>
                  <a:ext uri="{FF2B5EF4-FFF2-40B4-BE49-F238E27FC236}">
                    <a16:creationId xmlns:a16="http://schemas.microsoft.com/office/drawing/2014/main" id="{AA037E62-FF24-49CC-A625-423A77CB15EF}"/>
                  </a:ext>
                </a:extLst>
              </p:cNvPr>
              <p:cNvGrpSpPr/>
              <p:nvPr/>
            </p:nvGrpSpPr>
            <p:grpSpPr>
              <a:xfrm>
                <a:off x="6959988" y="2631222"/>
                <a:ext cx="276006" cy="337071"/>
                <a:chOff x="6959988" y="2631222"/>
                <a:chExt cx="276006" cy="337071"/>
              </a:xfrm>
              <a:grpFill/>
            </p:grpSpPr>
            <p:sp>
              <p:nvSpPr>
                <p:cNvPr id="626" name="Freihandform: Form 924">
                  <a:extLst>
                    <a:ext uri="{FF2B5EF4-FFF2-40B4-BE49-F238E27FC236}">
                      <a16:creationId xmlns:a16="http://schemas.microsoft.com/office/drawing/2014/main" id="{28A4D0ED-2A15-4E06-A8CD-0077D26C6033}"/>
                    </a:ext>
                  </a:extLst>
                </p:cNvPr>
                <p:cNvSpPr/>
                <p:nvPr/>
              </p:nvSpPr>
              <p:spPr>
                <a:xfrm>
                  <a:off x="7115902" y="2674681"/>
                  <a:ext cx="89617" cy="293612"/>
                </a:xfrm>
                <a:custGeom>
                  <a:avLst/>
                  <a:gdLst>
                    <a:gd name="connsiteX0" fmla="*/ 6478 w 89617"/>
                    <a:gd name="connsiteY0" fmla="*/ 293612 h 293612"/>
                    <a:gd name="connsiteX1" fmla="*/ 0 w 89617"/>
                    <a:gd name="connsiteY1" fmla="*/ 287134 h 293612"/>
                    <a:gd name="connsiteX2" fmla="*/ 0 w 89617"/>
                    <a:gd name="connsiteY2" fmla="*/ 14990 h 293612"/>
                    <a:gd name="connsiteX3" fmla="*/ 5761 w 89617"/>
                    <a:gd name="connsiteY3" fmla="*/ 8537 h 293612"/>
                    <a:gd name="connsiteX4" fmla="*/ 82432 w 89617"/>
                    <a:gd name="connsiteY4" fmla="*/ 32 h 293612"/>
                    <a:gd name="connsiteX5" fmla="*/ 89577 w 89617"/>
                    <a:gd name="connsiteY5" fmla="*/ 5768 h 293612"/>
                    <a:gd name="connsiteX6" fmla="*/ 83841 w 89617"/>
                    <a:gd name="connsiteY6" fmla="*/ 12913 h 293612"/>
                    <a:gd name="connsiteX7" fmla="*/ 12931 w 89617"/>
                    <a:gd name="connsiteY7" fmla="*/ 20776 h 293612"/>
                    <a:gd name="connsiteX8" fmla="*/ 12931 w 89617"/>
                    <a:gd name="connsiteY8" fmla="*/ 287110 h 293612"/>
                    <a:gd name="connsiteX9" fmla="*/ 6478 w 89617"/>
                    <a:gd name="connsiteY9" fmla="*/ 293612 h 293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617" h="293612">
                      <a:moveTo>
                        <a:pt x="6478" y="293612"/>
                      </a:moveTo>
                      <a:cubicBezTo>
                        <a:pt x="2893" y="293612"/>
                        <a:pt x="0" y="290720"/>
                        <a:pt x="0" y="287134"/>
                      </a:cubicBezTo>
                      <a:lnTo>
                        <a:pt x="0" y="14990"/>
                      </a:lnTo>
                      <a:cubicBezTo>
                        <a:pt x="0" y="11677"/>
                        <a:pt x="2497" y="8908"/>
                        <a:pt x="5761" y="8537"/>
                      </a:cubicBezTo>
                      <a:lnTo>
                        <a:pt x="82432" y="32"/>
                      </a:lnTo>
                      <a:cubicBezTo>
                        <a:pt x="86116" y="-314"/>
                        <a:pt x="89207" y="2208"/>
                        <a:pt x="89577" y="5768"/>
                      </a:cubicBezTo>
                      <a:cubicBezTo>
                        <a:pt x="89973" y="9328"/>
                        <a:pt x="87402" y="12518"/>
                        <a:pt x="83841" y="12913"/>
                      </a:cubicBezTo>
                      <a:lnTo>
                        <a:pt x="12931" y="20776"/>
                      </a:lnTo>
                      <a:lnTo>
                        <a:pt x="12931" y="287110"/>
                      </a:lnTo>
                      <a:cubicBezTo>
                        <a:pt x="12956" y="290695"/>
                        <a:pt x="10063" y="293612"/>
                        <a:pt x="6478" y="293612"/>
                      </a:cubicBezTo>
                      <a:close/>
                    </a:path>
                  </a:pathLst>
                </a:custGeom>
                <a:grpFill/>
                <a:ln w="2469" cap="flat">
                  <a:noFill/>
                  <a:prstDash val="solid"/>
                  <a:miter/>
                </a:ln>
              </p:spPr>
              <p:txBody>
                <a:bodyPr rtlCol="0" anchor="ctr"/>
                <a:lstStyle/>
                <a:p>
                  <a:endParaRPr lang="en-GB" dirty="0"/>
                </a:p>
              </p:txBody>
            </p:sp>
            <p:sp>
              <p:nvSpPr>
                <p:cNvPr id="627" name="Freihandform: Form 925">
                  <a:extLst>
                    <a:ext uri="{FF2B5EF4-FFF2-40B4-BE49-F238E27FC236}">
                      <a16:creationId xmlns:a16="http://schemas.microsoft.com/office/drawing/2014/main" id="{B28000E4-7F34-4C27-8EE4-B7E9FCA16869}"/>
                    </a:ext>
                  </a:extLst>
                </p:cNvPr>
                <p:cNvSpPr/>
                <p:nvPr/>
              </p:nvSpPr>
              <p:spPr>
                <a:xfrm>
                  <a:off x="6959988" y="2631222"/>
                  <a:ext cx="276006" cy="155493"/>
                </a:xfrm>
                <a:custGeom>
                  <a:avLst/>
                  <a:gdLst>
                    <a:gd name="connsiteX0" fmla="*/ 99047 w 276006"/>
                    <a:gd name="connsiteY0" fmla="*/ 155493 h 155493"/>
                    <a:gd name="connsiteX1" fmla="*/ 25911 w 276006"/>
                    <a:gd name="connsiteY1" fmla="*/ 155493 h 155493"/>
                    <a:gd name="connsiteX2" fmla="*/ 0 w 276006"/>
                    <a:gd name="connsiteY2" fmla="*/ 129582 h 155493"/>
                    <a:gd name="connsiteX3" fmla="*/ 0 w 276006"/>
                    <a:gd name="connsiteY3" fmla="*/ 84237 h 155493"/>
                    <a:gd name="connsiteX4" fmla="*/ 84237 w 276006"/>
                    <a:gd name="connsiteY4" fmla="*/ 0 h 155493"/>
                    <a:gd name="connsiteX5" fmla="*/ 104140 w 276006"/>
                    <a:gd name="connsiteY5" fmla="*/ 148 h 155493"/>
                    <a:gd name="connsiteX6" fmla="*/ 258521 w 276006"/>
                    <a:gd name="connsiteY6" fmla="*/ 148 h 155493"/>
                    <a:gd name="connsiteX7" fmla="*/ 273010 w 276006"/>
                    <a:gd name="connsiteY7" fmla="*/ 4351 h 155493"/>
                    <a:gd name="connsiteX8" fmla="*/ 274988 w 276006"/>
                    <a:gd name="connsiteY8" fmla="*/ 13302 h 155493"/>
                    <a:gd name="connsiteX9" fmla="*/ 266037 w 276006"/>
                    <a:gd name="connsiteY9" fmla="*/ 15280 h 155493"/>
                    <a:gd name="connsiteX10" fmla="*/ 258521 w 276006"/>
                    <a:gd name="connsiteY10" fmla="*/ 13104 h 155493"/>
                    <a:gd name="connsiteX11" fmla="*/ 84212 w 276006"/>
                    <a:gd name="connsiteY11" fmla="*/ 12956 h 155493"/>
                    <a:gd name="connsiteX12" fmla="*/ 12980 w 276006"/>
                    <a:gd name="connsiteY12" fmla="*/ 84237 h 155493"/>
                    <a:gd name="connsiteX13" fmla="*/ 12980 w 276006"/>
                    <a:gd name="connsiteY13" fmla="*/ 129582 h 155493"/>
                    <a:gd name="connsiteX14" fmla="*/ 25936 w 276006"/>
                    <a:gd name="connsiteY14" fmla="*/ 142538 h 155493"/>
                    <a:gd name="connsiteX15" fmla="*/ 99072 w 276006"/>
                    <a:gd name="connsiteY15" fmla="*/ 142538 h 155493"/>
                    <a:gd name="connsiteX16" fmla="*/ 110173 w 276006"/>
                    <a:gd name="connsiteY16" fmla="*/ 131436 h 155493"/>
                    <a:gd name="connsiteX17" fmla="*/ 110173 w 276006"/>
                    <a:gd name="connsiteY17" fmla="*/ 127728 h 155493"/>
                    <a:gd name="connsiteX18" fmla="*/ 99072 w 276006"/>
                    <a:gd name="connsiteY18" fmla="*/ 116626 h 155493"/>
                    <a:gd name="connsiteX19" fmla="*/ 45394 w 276006"/>
                    <a:gd name="connsiteY19" fmla="*/ 116626 h 155493"/>
                    <a:gd name="connsiteX20" fmla="*/ 38917 w 276006"/>
                    <a:gd name="connsiteY20" fmla="*/ 110148 h 155493"/>
                    <a:gd name="connsiteX21" fmla="*/ 38917 w 276006"/>
                    <a:gd name="connsiteY21" fmla="*/ 84237 h 155493"/>
                    <a:gd name="connsiteX22" fmla="*/ 45394 w 276006"/>
                    <a:gd name="connsiteY22" fmla="*/ 77759 h 155493"/>
                    <a:gd name="connsiteX23" fmla="*/ 51872 w 276006"/>
                    <a:gd name="connsiteY23" fmla="*/ 84237 h 155493"/>
                    <a:gd name="connsiteX24" fmla="*/ 51872 w 276006"/>
                    <a:gd name="connsiteY24" fmla="*/ 103670 h 155493"/>
                    <a:gd name="connsiteX25" fmla="*/ 99072 w 276006"/>
                    <a:gd name="connsiteY25" fmla="*/ 103670 h 155493"/>
                    <a:gd name="connsiteX26" fmla="*/ 123129 w 276006"/>
                    <a:gd name="connsiteY26" fmla="*/ 127728 h 155493"/>
                    <a:gd name="connsiteX27" fmla="*/ 123129 w 276006"/>
                    <a:gd name="connsiteY27" fmla="*/ 131436 h 155493"/>
                    <a:gd name="connsiteX28" fmla="*/ 99047 w 276006"/>
                    <a:gd name="connsiteY28" fmla="*/ 155493 h 155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76006" h="155493">
                      <a:moveTo>
                        <a:pt x="99047" y="155493"/>
                      </a:moveTo>
                      <a:lnTo>
                        <a:pt x="25911" y="155493"/>
                      </a:lnTo>
                      <a:cubicBezTo>
                        <a:pt x="11621" y="155493"/>
                        <a:pt x="0" y="143873"/>
                        <a:pt x="0" y="129582"/>
                      </a:cubicBezTo>
                      <a:lnTo>
                        <a:pt x="0" y="84237"/>
                      </a:lnTo>
                      <a:cubicBezTo>
                        <a:pt x="0" y="37779"/>
                        <a:pt x="37779" y="0"/>
                        <a:pt x="84237" y="0"/>
                      </a:cubicBezTo>
                      <a:lnTo>
                        <a:pt x="104140" y="148"/>
                      </a:lnTo>
                      <a:lnTo>
                        <a:pt x="258521" y="148"/>
                      </a:lnTo>
                      <a:cubicBezTo>
                        <a:pt x="263664" y="148"/>
                        <a:pt x="268658" y="1607"/>
                        <a:pt x="273010" y="4351"/>
                      </a:cubicBezTo>
                      <a:cubicBezTo>
                        <a:pt x="276026" y="6280"/>
                        <a:pt x="276916" y="10285"/>
                        <a:pt x="274988" y="13302"/>
                      </a:cubicBezTo>
                      <a:cubicBezTo>
                        <a:pt x="273059" y="16318"/>
                        <a:pt x="269078" y="17233"/>
                        <a:pt x="266037" y="15280"/>
                      </a:cubicBezTo>
                      <a:cubicBezTo>
                        <a:pt x="263787" y="13846"/>
                        <a:pt x="261191" y="13104"/>
                        <a:pt x="258521" y="13104"/>
                      </a:cubicBezTo>
                      <a:lnTo>
                        <a:pt x="84212" y="12956"/>
                      </a:lnTo>
                      <a:cubicBezTo>
                        <a:pt x="44974" y="12956"/>
                        <a:pt x="12980" y="44925"/>
                        <a:pt x="12980" y="84237"/>
                      </a:cubicBezTo>
                      <a:lnTo>
                        <a:pt x="12980" y="129582"/>
                      </a:lnTo>
                      <a:cubicBezTo>
                        <a:pt x="12980" y="136727"/>
                        <a:pt x="18791" y="142538"/>
                        <a:pt x="25936" y="142538"/>
                      </a:cubicBezTo>
                      <a:lnTo>
                        <a:pt x="99072" y="142538"/>
                      </a:lnTo>
                      <a:cubicBezTo>
                        <a:pt x="105203" y="142538"/>
                        <a:pt x="110173" y="137543"/>
                        <a:pt x="110173" y="131436"/>
                      </a:cubicBezTo>
                      <a:lnTo>
                        <a:pt x="110173" y="127728"/>
                      </a:lnTo>
                      <a:cubicBezTo>
                        <a:pt x="110173" y="121596"/>
                        <a:pt x="105203" y="116626"/>
                        <a:pt x="99072" y="116626"/>
                      </a:cubicBezTo>
                      <a:lnTo>
                        <a:pt x="45394" y="116626"/>
                      </a:lnTo>
                      <a:cubicBezTo>
                        <a:pt x="41809" y="116626"/>
                        <a:pt x="38917" y="113733"/>
                        <a:pt x="38917" y="110148"/>
                      </a:cubicBezTo>
                      <a:lnTo>
                        <a:pt x="38917" y="84237"/>
                      </a:lnTo>
                      <a:cubicBezTo>
                        <a:pt x="38917" y="80652"/>
                        <a:pt x="41809" y="77759"/>
                        <a:pt x="45394" y="77759"/>
                      </a:cubicBezTo>
                      <a:cubicBezTo>
                        <a:pt x="48980" y="77759"/>
                        <a:pt x="51872" y="80652"/>
                        <a:pt x="51872" y="84237"/>
                      </a:cubicBezTo>
                      <a:lnTo>
                        <a:pt x="51872" y="103670"/>
                      </a:lnTo>
                      <a:lnTo>
                        <a:pt x="99072" y="103670"/>
                      </a:lnTo>
                      <a:cubicBezTo>
                        <a:pt x="112349" y="103670"/>
                        <a:pt x="123129" y="114475"/>
                        <a:pt x="123129" y="127728"/>
                      </a:cubicBezTo>
                      <a:lnTo>
                        <a:pt x="123129" y="131436"/>
                      </a:lnTo>
                      <a:cubicBezTo>
                        <a:pt x="123129" y="144689"/>
                        <a:pt x="112324" y="155493"/>
                        <a:pt x="99047" y="155493"/>
                      </a:cubicBezTo>
                      <a:close/>
                    </a:path>
                  </a:pathLst>
                </a:custGeom>
                <a:grpFill/>
                <a:ln w="2469" cap="flat">
                  <a:noFill/>
                  <a:prstDash val="solid"/>
                  <a:miter/>
                </a:ln>
              </p:spPr>
              <p:txBody>
                <a:bodyPr rtlCol="0" anchor="ctr"/>
                <a:lstStyle/>
                <a:p>
                  <a:endParaRPr lang="en-GB" dirty="0"/>
                </a:p>
              </p:txBody>
            </p:sp>
          </p:grpSp>
          <p:sp>
            <p:nvSpPr>
              <p:cNvPr id="623" name="Freihandform: Form 926">
                <a:extLst>
                  <a:ext uri="{FF2B5EF4-FFF2-40B4-BE49-F238E27FC236}">
                    <a16:creationId xmlns:a16="http://schemas.microsoft.com/office/drawing/2014/main" id="{351C215E-7EA5-4459-A9E2-F8EB136212D5}"/>
                  </a:ext>
                </a:extLst>
              </p:cNvPr>
              <p:cNvSpPr/>
              <p:nvPr/>
            </p:nvSpPr>
            <p:spPr>
              <a:xfrm>
                <a:off x="6998880" y="2773735"/>
                <a:ext cx="12955" cy="194385"/>
              </a:xfrm>
              <a:custGeom>
                <a:avLst/>
                <a:gdLst>
                  <a:gd name="connsiteX0" fmla="*/ 6478 w 12955"/>
                  <a:gd name="connsiteY0" fmla="*/ 194385 h 194385"/>
                  <a:gd name="connsiteX1" fmla="*/ 0 w 12955"/>
                  <a:gd name="connsiteY1" fmla="*/ 187908 h 194385"/>
                  <a:gd name="connsiteX2" fmla="*/ 0 w 12955"/>
                  <a:gd name="connsiteY2" fmla="*/ 6478 h 194385"/>
                  <a:gd name="connsiteX3" fmla="*/ 6478 w 12955"/>
                  <a:gd name="connsiteY3" fmla="*/ 0 h 194385"/>
                  <a:gd name="connsiteX4" fmla="*/ 12956 w 12955"/>
                  <a:gd name="connsiteY4" fmla="*/ 6478 h 194385"/>
                  <a:gd name="connsiteX5" fmla="*/ 12956 w 12955"/>
                  <a:gd name="connsiteY5" fmla="*/ 187908 h 194385"/>
                  <a:gd name="connsiteX6" fmla="*/ 6478 w 12955"/>
                  <a:gd name="connsiteY6" fmla="*/ 194385 h 19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194385">
                    <a:moveTo>
                      <a:pt x="6478" y="194385"/>
                    </a:moveTo>
                    <a:cubicBezTo>
                      <a:pt x="2893" y="194385"/>
                      <a:pt x="0" y="191492"/>
                      <a:pt x="0" y="187908"/>
                    </a:cubicBezTo>
                    <a:lnTo>
                      <a:pt x="0" y="6478"/>
                    </a:lnTo>
                    <a:cubicBezTo>
                      <a:pt x="0" y="2893"/>
                      <a:pt x="2893" y="0"/>
                      <a:pt x="6478" y="0"/>
                    </a:cubicBezTo>
                    <a:cubicBezTo>
                      <a:pt x="10063" y="0"/>
                      <a:pt x="12956" y="2893"/>
                      <a:pt x="12956" y="6478"/>
                    </a:cubicBezTo>
                    <a:lnTo>
                      <a:pt x="12956" y="187908"/>
                    </a:lnTo>
                    <a:cubicBezTo>
                      <a:pt x="12956" y="191492"/>
                      <a:pt x="10063" y="194385"/>
                      <a:pt x="6478" y="194385"/>
                    </a:cubicBezTo>
                    <a:close/>
                  </a:path>
                </a:pathLst>
              </a:custGeom>
              <a:grpFill/>
              <a:ln w="2469" cap="flat">
                <a:noFill/>
                <a:prstDash val="solid"/>
                <a:miter/>
              </a:ln>
            </p:spPr>
            <p:txBody>
              <a:bodyPr rtlCol="0" anchor="ctr"/>
              <a:lstStyle/>
              <a:p>
                <a:endParaRPr lang="en-GB" dirty="0"/>
              </a:p>
            </p:txBody>
          </p:sp>
          <p:sp>
            <p:nvSpPr>
              <p:cNvPr id="624" name="Freihandform: Form 927">
                <a:extLst>
                  <a:ext uri="{FF2B5EF4-FFF2-40B4-BE49-F238E27FC236}">
                    <a16:creationId xmlns:a16="http://schemas.microsoft.com/office/drawing/2014/main" id="{0A1797F4-0C68-4DC9-898C-F446C7AA1DB7}"/>
                  </a:ext>
                </a:extLst>
              </p:cNvPr>
              <p:cNvSpPr/>
              <p:nvPr/>
            </p:nvSpPr>
            <p:spPr>
              <a:xfrm>
                <a:off x="7019920" y="2515955"/>
                <a:ext cx="87475" cy="100431"/>
              </a:xfrm>
              <a:custGeom>
                <a:avLst/>
                <a:gdLst>
                  <a:gd name="connsiteX0" fmla="*/ 43738 w 87475"/>
                  <a:gd name="connsiteY0" fmla="*/ 100432 h 100431"/>
                  <a:gd name="connsiteX1" fmla="*/ 0 w 87475"/>
                  <a:gd name="connsiteY1" fmla="*/ 50216 h 100431"/>
                  <a:gd name="connsiteX2" fmla="*/ 43738 w 87475"/>
                  <a:gd name="connsiteY2" fmla="*/ 0 h 100431"/>
                  <a:gd name="connsiteX3" fmla="*/ 87476 w 87475"/>
                  <a:gd name="connsiteY3" fmla="*/ 50216 h 100431"/>
                  <a:gd name="connsiteX4" fmla="*/ 43738 w 87475"/>
                  <a:gd name="connsiteY4" fmla="*/ 100432 h 100431"/>
                  <a:gd name="connsiteX5" fmla="*/ 43738 w 87475"/>
                  <a:gd name="connsiteY5" fmla="*/ 12956 h 100431"/>
                  <a:gd name="connsiteX6" fmla="*/ 12956 w 87475"/>
                  <a:gd name="connsiteY6" fmla="*/ 50216 h 100431"/>
                  <a:gd name="connsiteX7" fmla="*/ 43738 w 87475"/>
                  <a:gd name="connsiteY7" fmla="*/ 87476 h 100431"/>
                  <a:gd name="connsiteX8" fmla="*/ 74520 w 87475"/>
                  <a:gd name="connsiteY8" fmla="*/ 50216 h 100431"/>
                  <a:gd name="connsiteX9" fmla="*/ 43738 w 87475"/>
                  <a:gd name="connsiteY9" fmla="*/ 12956 h 100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475" h="100431">
                    <a:moveTo>
                      <a:pt x="43738" y="100432"/>
                    </a:moveTo>
                    <a:cubicBezTo>
                      <a:pt x="13697" y="100432"/>
                      <a:pt x="0" y="74396"/>
                      <a:pt x="0" y="50216"/>
                    </a:cubicBezTo>
                    <a:cubicBezTo>
                      <a:pt x="0" y="26035"/>
                      <a:pt x="13697" y="0"/>
                      <a:pt x="43738" y="0"/>
                    </a:cubicBezTo>
                    <a:cubicBezTo>
                      <a:pt x="73778" y="0"/>
                      <a:pt x="87476" y="26035"/>
                      <a:pt x="87476" y="50216"/>
                    </a:cubicBezTo>
                    <a:cubicBezTo>
                      <a:pt x="87476" y="74396"/>
                      <a:pt x="73803" y="100432"/>
                      <a:pt x="43738" y="100432"/>
                    </a:cubicBezTo>
                    <a:close/>
                    <a:moveTo>
                      <a:pt x="43738" y="12956"/>
                    </a:moveTo>
                    <a:cubicBezTo>
                      <a:pt x="21016" y="12956"/>
                      <a:pt x="12956" y="33032"/>
                      <a:pt x="12956" y="50216"/>
                    </a:cubicBezTo>
                    <a:cubicBezTo>
                      <a:pt x="12956" y="67399"/>
                      <a:pt x="21016" y="87476"/>
                      <a:pt x="43738" y="87476"/>
                    </a:cubicBezTo>
                    <a:cubicBezTo>
                      <a:pt x="66460" y="87476"/>
                      <a:pt x="74520" y="67399"/>
                      <a:pt x="74520" y="50216"/>
                    </a:cubicBezTo>
                    <a:cubicBezTo>
                      <a:pt x="74520" y="33032"/>
                      <a:pt x="66460" y="12956"/>
                      <a:pt x="43738" y="12956"/>
                    </a:cubicBezTo>
                    <a:close/>
                  </a:path>
                </a:pathLst>
              </a:custGeom>
              <a:grpFill/>
              <a:ln w="2469" cap="flat">
                <a:noFill/>
                <a:prstDash val="solid"/>
                <a:miter/>
              </a:ln>
            </p:spPr>
            <p:txBody>
              <a:bodyPr rtlCol="0" anchor="ctr"/>
              <a:lstStyle/>
              <a:p>
                <a:endParaRPr lang="en-GB" dirty="0"/>
              </a:p>
            </p:txBody>
          </p:sp>
          <p:sp>
            <p:nvSpPr>
              <p:cNvPr id="625" name="Freihandform: Form 928">
                <a:extLst>
                  <a:ext uri="{FF2B5EF4-FFF2-40B4-BE49-F238E27FC236}">
                    <a16:creationId xmlns:a16="http://schemas.microsoft.com/office/drawing/2014/main" id="{15873062-2B4E-413B-AB44-3CCC67F40077}"/>
                  </a:ext>
                </a:extLst>
              </p:cNvPr>
              <p:cNvSpPr/>
              <p:nvPr/>
            </p:nvSpPr>
            <p:spPr>
              <a:xfrm>
                <a:off x="7057601" y="2825755"/>
                <a:ext cx="12955" cy="142537"/>
              </a:xfrm>
              <a:custGeom>
                <a:avLst/>
                <a:gdLst>
                  <a:gd name="connsiteX0" fmla="*/ 6478 w 12955"/>
                  <a:gd name="connsiteY0" fmla="*/ 142538 h 142537"/>
                  <a:gd name="connsiteX1" fmla="*/ 0 w 12955"/>
                  <a:gd name="connsiteY1" fmla="*/ 136060 h 142537"/>
                  <a:gd name="connsiteX2" fmla="*/ 0 w 12955"/>
                  <a:gd name="connsiteY2" fmla="*/ 6478 h 142537"/>
                  <a:gd name="connsiteX3" fmla="*/ 6478 w 12955"/>
                  <a:gd name="connsiteY3" fmla="*/ 0 h 142537"/>
                  <a:gd name="connsiteX4" fmla="*/ 12956 w 12955"/>
                  <a:gd name="connsiteY4" fmla="*/ 6478 h 142537"/>
                  <a:gd name="connsiteX5" fmla="*/ 12956 w 12955"/>
                  <a:gd name="connsiteY5" fmla="*/ 136060 h 142537"/>
                  <a:gd name="connsiteX6" fmla="*/ 6478 w 12955"/>
                  <a:gd name="connsiteY6" fmla="*/ 142538 h 14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142537">
                    <a:moveTo>
                      <a:pt x="6478" y="142538"/>
                    </a:moveTo>
                    <a:cubicBezTo>
                      <a:pt x="2893" y="142538"/>
                      <a:pt x="0" y="139645"/>
                      <a:pt x="0" y="136060"/>
                    </a:cubicBezTo>
                    <a:lnTo>
                      <a:pt x="0" y="6478"/>
                    </a:lnTo>
                    <a:cubicBezTo>
                      <a:pt x="0" y="2893"/>
                      <a:pt x="2893" y="0"/>
                      <a:pt x="6478" y="0"/>
                    </a:cubicBezTo>
                    <a:cubicBezTo>
                      <a:pt x="10063" y="0"/>
                      <a:pt x="12956" y="2893"/>
                      <a:pt x="12956" y="6478"/>
                    </a:cubicBezTo>
                    <a:lnTo>
                      <a:pt x="12956" y="136060"/>
                    </a:lnTo>
                    <a:cubicBezTo>
                      <a:pt x="12956" y="139620"/>
                      <a:pt x="10063" y="142538"/>
                      <a:pt x="6478" y="142538"/>
                    </a:cubicBezTo>
                    <a:close/>
                  </a:path>
                </a:pathLst>
              </a:custGeom>
              <a:grpFill/>
              <a:ln w="2469" cap="flat">
                <a:noFill/>
                <a:prstDash val="solid"/>
                <a:miter/>
              </a:ln>
            </p:spPr>
            <p:txBody>
              <a:bodyPr rtlCol="0" anchor="ctr"/>
              <a:lstStyle/>
              <a:p>
                <a:endParaRPr lang="en-GB" dirty="0"/>
              </a:p>
            </p:txBody>
          </p:sp>
        </p:grpSp>
        <p:grpSp>
          <p:nvGrpSpPr>
            <p:cNvPr id="607" name="Group 606">
              <a:extLst>
                <a:ext uri="{FF2B5EF4-FFF2-40B4-BE49-F238E27FC236}">
                  <a16:creationId xmlns:a16="http://schemas.microsoft.com/office/drawing/2014/main" id="{88DE7393-0A89-49AB-90DF-09E28F7B9F0A}"/>
                </a:ext>
              </a:extLst>
            </p:cNvPr>
            <p:cNvGrpSpPr/>
            <p:nvPr/>
          </p:nvGrpSpPr>
          <p:grpSpPr>
            <a:xfrm>
              <a:off x="6214694" y="4040086"/>
              <a:ext cx="259874" cy="425436"/>
              <a:chOff x="7145616" y="2515955"/>
              <a:chExt cx="272108" cy="445464"/>
            </a:xfrm>
            <a:solidFill>
              <a:schemeClr val="accent1"/>
            </a:solidFill>
          </p:grpSpPr>
          <p:grpSp>
            <p:nvGrpSpPr>
              <p:cNvPr id="608" name="Grafik 199">
                <a:extLst>
                  <a:ext uri="{FF2B5EF4-FFF2-40B4-BE49-F238E27FC236}">
                    <a16:creationId xmlns:a16="http://schemas.microsoft.com/office/drawing/2014/main" id="{1264842B-7D7B-434F-933D-044E25C071B6}"/>
                  </a:ext>
                </a:extLst>
              </p:cNvPr>
              <p:cNvGrpSpPr/>
              <p:nvPr/>
            </p:nvGrpSpPr>
            <p:grpSpPr>
              <a:xfrm>
                <a:off x="7145616" y="2515955"/>
                <a:ext cx="272108" cy="434387"/>
                <a:chOff x="7145616" y="2515955"/>
                <a:chExt cx="272108" cy="434387"/>
              </a:xfrm>
              <a:solidFill>
                <a:schemeClr val="accent1"/>
              </a:solidFill>
            </p:grpSpPr>
            <p:sp>
              <p:nvSpPr>
                <p:cNvPr id="611" name="Freihandform: Form 930">
                  <a:extLst>
                    <a:ext uri="{FF2B5EF4-FFF2-40B4-BE49-F238E27FC236}">
                      <a16:creationId xmlns:a16="http://schemas.microsoft.com/office/drawing/2014/main" id="{0662E72C-95E5-4EB1-9EF3-E31852C9AF24}"/>
                    </a:ext>
                  </a:extLst>
                </p:cNvPr>
                <p:cNvSpPr/>
                <p:nvPr/>
              </p:nvSpPr>
              <p:spPr>
                <a:xfrm>
                  <a:off x="7314094" y="2865859"/>
                  <a:ext cx="101547" cy="84484"/>
                </a:xfrm>
                <a:custGeom>
                  <a:avLst/>
                  <a:gdLst>
                    <a:gd name="connsiteX0" fmla="*/ 95042 w 101547"/>
                    <a:gd name="connsiteY0" fmla="*/ 84484 h 84484"/>
                    <a:gd name="connsiteX1" fmla="*/ 91654 w 101547"/>
                    <a:gd name="connsiteY1" fmla="*/ 83520 h 84484"/>
                    <a:gd name="connsiteX2" fmla="*/ 71257 w 101547"/>
                    <a:gd name="connsiteY2" fmla="*/ 77734 h 84484"/>
                    <a:gd name="connsiteX3" fmla="*/ 65125 w 101547"/>
                    <a:gd name="connsiteY3" fmla="*/ 78278 h 84484"/>
                    <a:gd name="connsiteX4" fmla="*/ 59463 w 101547"/>
                    <a:gd name="connsiteY4" fmla="*/ 76399 h 84484"/>
                    <a:gd name="connsiteX5" fmla="*/ 57732 w 101547"/>
                    <a:gd name="connsiteY5" fmla="*/ 70713 h 84484"/>
                    <a:gd name="connsiteX6" fmla="*/ 58301 w 101547"/>
                    <a:gd name="connsiteY6" fmla="*/ 64779 h 84484"/>
                    <a:gd name="connsiteX7" fmla="*/ 25912 w 101547"/>
                    <a:gd name="connsiteY7" fmla="*/ 32389 h 84484"/>
                    <a:gd name="connsiteX8" fmla="*/ 9717 w 101547"/>
                    <a:gd name="connsiteY8" fmla="*/ 36766 h 84484"/>
                    <a:gd name="connsiteX9" fmla="*/ 3239 w 101547"/>
                    <a:gd name="connsiteY9" fmla="*/ 36766 h 84484"/>
                    <a:gd name="connsiteX10" fmla="*/ 0 w 101547"/>
                    <a:gd name="connsiteY10" fmla="*/ 31153 h 84484"/>
                    <a:gd name="connsiteX11" fmla="*/ 0 w 101547"/>
                    <a:gd name="connsiteY11" fmla="*/ 6478 h 84484"/>
                    <a:gd name="connsiteX12" fmla="*/ 6478 w 101547"/>
                    <a:gd name="connsiteY12" fmla="*/ 0 h 84484"/>
                    <a:gd name="connsiteX13" fmla="*/ 12956 w 101547"/>
                    <a:gd name="connsiteY13" fmla="*/ 6478 h 84484"/>
                    <a:gd name="connsiteX14" fmla="*/ 12956 w 101547"/>
                    <a:gd name="connsiteY14" fmla="*/ 21337 h 84484"/>
                    <a:gd name="connsiteX15" fmla="*/ 25912 w 101547"/>
                    <a:gd name="connsiteY15" fmla="*/ 19434 h 84484"/>
                    <a:gd name="connsiteX16" fmla="*/ 71257 w 101547"/>
                    <a:gd name="connsiteY16" fmla="*/ 64779 h 84484"/>
                    <a:gd name="connsiteX17" fmla="*/ 98478 w 101547"/>
                    <a:gd name="connsiteY17" fmla="*/ 72493 h 84484"/>
                    <a:gd name="connsiteX18" fmla="*/ 100580 w 101547"/>
                    <a:gd name="connsiteY18" fmla="*/ 81418 h 84484"/>
                    <a:gd name="connsiteX19" fmla="*/ 95042 w 101547"/>
                    <a:gd name="connsiteY19" fmla="*/ 84484 h 8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1547" h="84484">
                      <a:moveTo>
                        <a:pt x="95042" y="84484"/>
                      </a:moveTo>
                      <a:cubicBezTo>
                        <a:pt x="93880" y="84484"/>
                        <a:pt x="92693" y="84163"/>
                        <a:pt x="91654" y="83520"/>
                      </a:cubicBezTo>
                      <a:cubicBezTo>
                        <a:pt x="85547" y="79737"/>
                        <a:pt x="78476" y="77734"/>
                        <a:pt x="71257" y="77734"/>
                      </a:cubicBezTo>
                      <a:cubicBezTo>
                        <a:pt x="69402" y="77734"/>
                        <a:pt x="67399" y="77907"/>
                        <a:pt x="65125" y="78278"/>
                      </a:cubicBezTo>
                      <a:cubicBezTo>
                        <a:pt x="63048" y="78624"/>
                        <a:pt x="60946" y="77907"/>
                        <a:pt x="59463" y="76399"/>
                      </a:cubicBezTo>
                      <a:cubicBezTo>
                        <a:pt x="57979" y="74891"/>
                        <a:pt x="57337" y="72765"/>
                        <a:pt x="57732" y="70713"/>
                      </a:cubicBezTo>
                      <a:cubicBezTo>
                        <a:pt x="58128" y="68636"/>
                        <a:pt x="58301" y="66682"/>
                        <a:pt x="58301" y="64779"/>
                      </a:cubicBezTo>
                      <a:cubicBezTo>
                        <a:pt x="58301" y="46927"/>
                        <a:pt x="43763" y="32389"/>
                        <a:pt x="25912" y="32389"/>
                      </a:cubicBezTo>
                      <a:cubicBezTo>
                        <a:pt x="20250" y="32389"/>
                        <a:pt x="14662" y="33897"/>
                        <a:pt x="9717" y="36766"/>
                      </a:cubicBezTo>
                      <a:cubicBezTo>
                        <a:pt x="7714" y="37928"/>
                        <a:pt x="5242" y="37928"/>
                        <a:pt x="3239" y="36766"/>
                      </a:cubicBezTo>
                      <a:cubicBezTo>
                        <a:pt x="1236" y="35603"/>
                        <a:pt x="0" y="33477"/>
                        <a:pt x="0" y="31153"/>
                      </a:cubicBezTo>
                      <a:lnTo>
                        <a:pt x="0" y="6478"/>
                      </a:lnTo>
                      <a:cubicBezTo>
                        <a:pt x="0" y="2893"/>
                        <a:pt x="2893" y="0"/>
                        <a:pt x="6478" y="0"/>
                      </a:cubicBezTo>
                      <a:cubicBezTo>
                        <a:pt x="10063" y="0"/>
                        <a:pt x="12956" y="2893"/>
                        <a:pt x="12956" y="6478"/>
                      </a:cubicBezTo>
                      <a:lnTo>
                        <a:pt x="12956" y="21337"/>
                      </a:lnTo>
                      <a:cubicBezTo>
                        <a:pt x="17159" y="20076"/>
                        <a:pt x="21510" y="19434"/>
                        <a:pt x="25912" y="19434"/>
                      </a:cubicBezTo>
                      <a:cubicBezTo>
                        <a:pt x="50908" y="19434"/>
                        <a:pt x="71257" y="39782"/>
                        <a:pt x="71257" y="64779"/>
                      </a:cubicBezTo>
                      <a:cubicBezTo>
                        <a:pt x="80899" y="64779"/>
                        <a:pt x="90319" y="67449"/>
                        <a:pt x="98478" y="72493"/>
                      </a:cubicBezTo>
                      <a:cubicBezTo>
                        <a:pt x="101519" y="74372"/>
                        <a:pt x="102459" y="78377"/>
                        <a:pt x="100580" y="81418"/>
                      </a:cubicBezTo>
                      <a:cubicBezTo>
                        <a:pt x="99344" y="83396"/>
                        <a:pt x="97217" y="84484"/>
                        <a:pt x="95042" y="84484"/>
                      </a:cubicBezTo>
                      <a:close/>
                    </a:path>
                  </a:pathLst>
                </a:custGeom>
                <a:solidFill>
                  <a:schemeClr val="accent1"/>
                </a:solidFill>
                <a:ln w="2469" cap="flat">
                  <a:noFill/>
                  <a:prstDash val="solid"/>
                  <a:miter/>
                </a:ln>
              </p:spPr>
              <p:txBody>
                <a:bodyPr rtlCol="0" anchor="ctr"/>
                <a:lstStyle/>
                <a:p>
                  <a:endParaRPr lang="en-GB" dirty="0"/>
                </a:p>
              </p:txBody>
            </p:sp>
            <p:sp>
              <p:nvSpPr>
                <p:cNvPr id="612" name="Freihandform: Form 931">
                  <a:extLst>
                    <a:ext uri="{FF2B5EF4-FFF2-40B4-BE49-F238E27FC236}">
                      <a16:creationId xmlns:a16="http://schemas.microsoft.com/office/drawing/2014/main" id="{B87A249E-D5D4-4E85-9D46-5A8253B6F689}"/>
                    </a:ext>
                  </a:extLst>
                </p:cNvPr>
                <p:cNvSpPr/>
                <p:nvPr/>
              </p:nvSpPr>
              <p:spPr>
                <a:xfrm>
                  <a:off x="7148566" y="2865859"/>
                  <a:ext cx="100676" cy="83964"/>
                </a:xfrm>
                <a:custGeom>
                  <a:avLst/>
                  <a:gdLst>
                    <a:gd name="connsiteX0" fmla="*/ 6475 w 100676"/>
                    <a:gd name="connsiteY0" fmla="*/ 83965 h 83964"/>
                    <a:gd name="connsiteX1" fmla="*/ 887 w 100676"/>
                    <a:gd name="connsiteY1" fmla="*/ 80776 h 83964"/>
                    <a:gd name="connsiteX2" fmla="*/ 3187 w 100676"/>
                    <a:gd name="connsiteY2" fmla="*/ 71899 h 83964"/>
                    <a:gd name="connsiteX3" fmla="*/ 29420 w 100676"/>
                    <a:gd name="connsiteY3" fmla="*/ 64779 h 83964"/>
                    <a:gd name="connsiteX4" fmla="*/ 74765 w 100676"/>
                    <a:gd name="connsiteY4" fmla="*/ 19434 h 83964"/>
                    <a:gd name="connsiteX5" fmla="*/ 87720 w 100676"/>
                    <a:gd name="connsiteY5" fmla="*/ 21337 h 83964"/>
                    <a:gd name="connsiteX6" fmla="*/ 87720 w 100676"/>
                    <a:gd name="connsiteY6" fmla="*/ 6478 h 83964"/>
                    <a:gd name="connsiteX7" fmla="*/ 94198 w 100676"/>
                    <a:gd name="connsiteY7" fmla="*/ 0 h 83964"/>
                    <a:gd name="connsiteX8" fmla="*/ 100676 w 100676"/>
                    <a:gd name="connsiteY8" fmla="*/ 6478 h 83964"/>
                    <a:gd name="connsiteX9" fmla="*/ 100676 w 100676"/>
                    <a:gd name="connsiteY9" fmla="*/ 31153 h 83964"/>
                    <a:gd name="connsiteX10" fmla="*/ 97437 w 100676"/>
                    <a:gd name="connsiteY10" fmla="*/ 36766 h 83964"/>
                    <a:gd name="connsiteX11" fmla="*/ 90959 w 100676"/>
                    <a:gd name="connsiteY11" fmla="*/ 36766 h 83964"/>
                    <a:gd name="connsiteX12" fmla="*/ 74765 w 100676"/>
                    <a:gd name="connsiteY12" fmla="*/ 32389 h 83964"/>
                    <a:gd name="connsiteX13" fmla="*/ 42375 w 100676"/>
                    <a:gd name="connsiteY13" fmla="*/ 64779 h 83964"/>
                    <a:gd name="connsiteX14" fmla="*/ 42944 w 100676"/>
                    <a:gd name="connsiteY14" fmla="*/ 70713 h 83964"/>
                    <a:gd name="connsiteX15" fmla="*/ 41213 w 100676"/>
                    <a:gd name="connsiteY15" fmla="*/ 76399 h 83964"/>
                    <a:gd name="connsiteX16" fmla="*/ 35551 w 100676"/>
                    <a:gd name="connsiteY16" fmla="*/ 78278 h 83964"/>
                    <a:gd name="connsiteX17" fmla="*/ 29420 w 100676"/>
                    <a:gd name="connsiteY17" fmla="*/ 77734 h 83964"/>
                    <a:gd name="connsiteX18" fmla="*/ 9739 w 100676"/>
                    <a:gd name="connsiteY18" fmla="*/ 83075 h 83964"/>
                    <a:gd name="connsiteX19" fmla="*/ 6475 w 100676"/>
                    <a:gd name="connsiteY19" fmla="*/ 83965 h 83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0676" h="83964">
                      <a:moveTo>
                        <a:pt x="6475" y="83965"/>
                      </a:moveTo>
                      <a:cubicBezTo>
                        <a:pt x="4250" y="83965"/>
                        <a:pt x="2099" y="82828"/>
                        <a:pt x="887" y="80776"/>
                      </a:cubicBezTo>
                      <a:cubicBezTo>
                        <a:pt x="-918" y="77685"/>
                        <a:pt x="121" y="73729"/>
                        <a:pt x="3187" y="71899"/>
                      </a:cubicBezTo>
                      <a:cubicBezTo>
                        <a:pt x="11123" y="67251"/>
                        <a:pt x="20197" y="64779"/>
                        <a:pt x="29420" y="64779"/>
                      </a:cubicBezTo>
                      <a:cubicBezTo>
                        <a:pt x="29420" y="39757"/>
                        <a:pt x="49768" y="19434"/>
                        <a:pt x="74765" y="19434"/>
                      </a:cubicBezTo>
                      <a:cubicBezTo>
                        <a:pt x="79166" y="19434"/>
                        <a:pt x="83517" y="20076"/>
                        <a:pt x="87720" y="21337"/>
                      </a:cubicBezTo>
                      <a:lnTo>
                        <a:pt x="87720" y="6478"/>
                      </a:lnTo>
                      <a:cubicBezTo>
                        <a:pt x="87720" y="2893"/>
                        <a:pt x="90613" y="0"/>
                        <a:pt x="94198" y="0"/>
                      </a:cubicBezTo>
                      <a:cubicBezTo>
                        <a:pt x="97783" y="0"/>
                        <a:pt x="100676" y="2893"/>
                        <a:pt x="100676" y="6478"/>
                      </a:cubicBezTo>
                      <a:lnTo>
                        <a:pt x="100676" y="31153"/>
                      </a:lnTo>
                      <a:cubicBezTo>
                        <a:pt x="100676" y="33477"/>
                        <a:pt x="99440" y="35603"/>
                        <a:pt x="97437" y="36766"/>
                      </a:cubicBezTo>
                      <a:cubicBezTo>
                        <a:pt x="95434" y="37928"/>
                        <a:pt x="92962" y="37928"/>
                        <a:pt x="90959" y="36766"/>
                      </a:cubicBezTo>
                      <a:cubicBezTo>
                        <a:pt x="86014" y="33897"/>
                        <a:pt x="80427" y="32389"/>
                        <a:pt x="74765" y="32389"/>
                      </a:cubicBezTo>
                      <a:cubicBezTo>
                        <a:pt x="56913" y="32389"/>
                        <a:pt x="42375" y="46927"/>
                        <a:pt x="42375" y="64779"/>
                      </a:cubicBezTo>
                      <a:cubicBezTo>
                        <a:pt x="42375" y="66682"/>
                        <a:pt x="42548" y="68611"/>
                        <a:pt x="42944" y="70713"/>
                      </a:cubicBezTo>
                      <a:cubicBezTo>
                        <a:pt x="43315" y="72789"/>
                        <a:pt x="42672" y="74916"/>
                        <a:pt x="41213" y="76399"/>
                      </a:cubicBezTo>
                      <a:cubicBezTo>
                        <a:pt x="39730" y="77907"/>
                        <a:pt x="37628" y="78624"/>
                        <a:pt x="35551" y="78278"/>
                      </a:cubicBezTo>
                      <a:cubicBezTo>
                        <a:pt x="33277" y="77907"/>
                        <a:pt x="31274" y="77734"/>
                        <a:pt x="29420" y="77734"/>
                      </a:cubicBezTo>
                      <a:cubicBezTo>
                        <a:pt x="22497" y="77734"/>
                        <a:pt x="15673" y="79589"/>
                        <a:pt x="9739" y="83075"/>
                      </a:cubicBezTo>
                      <a:cubicBezTo>
                        <a:pt x="8725" y="83668"/>
                        <a:pt x="7588" y="83965"/>
                        <a:pt x="6475" y="83965"/>
                      </a:cubicBezTo>
                      <a:close/>
                    </a:path>
                  </a:pathLst>
                </a:custGeom>
                <a:solidFill>
                  <a:schemeClr val="accent1"/>
                </a:solidFill>
                <a:ln w="2469" cap="flat">
                  <a:noFill/>
                  <a:prstDash val="solid"/>
                  <a:miter/>
                </a:ln>
              </p:spPr>
              <p:txBody>
                <a:bodyPr rtlCol="0" anchor="ctr"/>
                <a:lstStyle/>
                <a:p>
                  <a:endParaRPr lang="en-GB" dirty="0"/>
                </a:p>
              </p:txBody>
            </p:sp>
            <p:sp>
              <p:nvSpPr>
                <p:cNvPr id="613" name="Freihandform: Form 932">
                  <a:extLst>
                    <a:ext uri="{FF2B5EF4-FFF2-40B4-BE49-F238E27FC236}">
                      <a16:creationId xmlns:a16="http://schemas.microsoft.com/office/drawing/2014/main" id="{4AD2DBD6-FD63-461B-8431-20C838F63F36}"/>
                    </a:ext>
                  </a:extLst>
                </p:cNvPr>
                <p:cNvSpPr/>
                <p:nvPr/>
              </p:nvSpPr>
              <p:spPr>
                <a:xfrm>
                  <a:off x="7275203" y="2885292"/>
                  <a:ext cx="12955" cy="38867"/>
                </a:xfrm>
                <a:custGeom>
                  <a:avLst/>
                  <a:gdLst>
                    <a:gd name="connsiteX0" fmla="*/ 6478 w 12955"/>
                    <a:gd name="connsiteY0" fmla="*/ 38867 h 38867"/>
                    <a:gd name="connsiteX1" fmla="*/ 0 w 12955"/>
                    <a:gd name="connsiteY1" fmla="*/ 32389 h 38867"/>
                    <a:gd name="connsiteX2" fmla="*/ 0 w 12955"/>
                    <a:gd name="connsiteY2" fmla="*/ 6478 h 38867"/>
                    <a:gd name="connsiteX3" fmla="*/ 6478 w 12955"/>
                    <a:gd name="connsiteY3" fmla="*/ 0 h 38867"/>
                    <a:gd name="connsiteX4" fmla="*/ 12956 w 12955"/>
                    <a:gd name="connsiteY4" fmla="*/ 6478 h 38867"/>
                    <a:gd name="connsiteX5" fmla="*/ 12956 w 12955"/>
                    <a:gd name="connsiteY5" fmla="*/ 32389 h 38867"/>
                    <a:gd name="connsiteX6" fmla="*/ 6478 w 12955"/>
                    <a:gd name="connsiteY6" fmla="*/ 38867 h 3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38867">
                      <a:moveTo>
                        <a:pt x="6478" y="38867"/>
                      </a:moveTo>
                      <a:cubicBezTo>
                        <a:pt x="2893" y="38867"/>
                        <a:pt x="0" y="35974"/>
                        <a:pt x="0" y="32389"/>
                      </a:cubicBezTo>
                      <a:lnTo>
                        <a:pt x="0" y="6478"/>
                      </a:lnTo>
                      <a:cubicBezTo>
                        <a:pt x="0" y="2893"/>
                        <a:pt x="2893" y="0"/>
                        <a:pt x="6478" y="0"/>
                      </a:cubicBezTo>
                      <a:cubicBezTo>
                        <a:pt x="10063" y="0"/>
                        <a:pt x="12956" y="2893"/>
                        <a:pt x="12956" y="6478"/>
                      </a:cubicBezTo>
                      <a:lnTo>
                        <a:pt x="12956" y="32389"/>
                      </a:lnTo>
                      <a:cubicBezTo>
                        <a:pt x="12956" y="35974"/>
                        <a:pt x="10063" y="38867"/>
                        <a:pt x="6478" y="38867"/>
                      </a:cubicBezTo>
                      <a:close/>
                    </a:path>
                  </a:pathLst>
                </a:custGeom>
                <a:solidFill>
                  <a:schemeClr val="accent1"/>
                </a:solidFill>
                <a:ln w="2469" cap="flat">
                  <a:noFill/>
                  <a:prstDash val="solid"/>
                  <a:miter/>
                </a:ln>
              </p:spPr>
              <p:txBody>
                <a:bodyPr rtlCol="0" anchor="ctr"/>
                <a:lstStyle/>
                <a:p>
                  <a:endParaRPr lang="en-GB" dirty="0"/>
                </a:p>
              </p:txBody>
            </p:sp>
            <p:sp>
              <p:nvSpPr>
                <p:cNvPr id="614" name="Freihandform: Form 933">
                  <a:extLst>
                    <a:ext uri="{FF2B5EF4-FFF2-40B4-BE49-F238E27FC236}">
                      <a16:creationId xmlns:a16="http://schemas.microsoft.com/office/drawing/2014/main" id="{EFBC3819-22C4-49D0-9E84-9F70F3666BA1}"/>
                    </a:ext>
                  </a:extLst>
                </p:cNvPr>
                <p:cNvSpPr/>
                <p:nvPr/>
              </p:nvSpPr>
              <p:spPr>
                <a:xfrm>
                  <a:off x="7145616" y="2664995"/>
                  <a:ext cx="90694" cy="136059"/>
                </a:xfrm>
                <a:custGeom>
                  <a:avLst/>
                  <a:gdLst>
                    <a:gd name="connsiteX0" fmla="*/ 84217 w 90694"/>
                    <a:gd name="connsiteY0" fmla="*/ 136060 h 136059"/>
                    <a:gd name="connsiteX1" fmla="*/ 6482 w 90694"/>
                    <a:gd name="connsiteY1" fmla="*/ 136060 h 136059"/>
                    <a:gd name="connsiteX2" fmla="*/ 4 w 90694"/>
                    <a:gd name="connsiteY2" fmla="*/ 129582 h 136059"/>
                    <a:gd name="connsiteX3" fmla="*/ 4 w 90694"/>
                    <a:gd name="connsiteY3" fmla="*/ 102014 h 136059"/>
                    <a:gd name="connsiteX4" fmla="*/ 24432 w 90694"/>
                    <a:gd name="connsiteY4" fmla="*/ 57534 h 136059"/>
                    <a:gd name="connsiteX5" fmla="*/ 77739 w 90694"/>
                    <a:gd name="connsiteY5" fmla="*/ 2744 h 136059"/>
                    <a:gd name="connsiteX6" fmla="*/ 77739 w 90694"/>
                    <a:gd name="connsiteY6" fmla="*/ 0 h 136059"/>
                    <a:gd name="connsiteX7" fmla="*/ 90695 w 90694"/>
                    <a:gd name="connsiteY7" fmla="*/ 0 h 136059"/>
                    <a:gd name="connsiteX8" fmla="*/ 90695 w 90694"/>
                    <a:gd name="connsiteY8" fmla="*/ 129582 h 136059"/>
                    <a:gd name="connsiteX9" fmla="*/ 84217 w 90694"/>
                    <a:gd name="connsiteY9" fmla="*/ 136060 h 136059"/>
                    <a:gd name="connsiteX10" fmla="*/ 12960 w 90694"/>
                    <a:gd name="connsiteY10" fmla="*/ 129582 h 136059"/>
                    <a:gd name="connsiteX11" fmla="*/ 13034 w 90694"/>
                    <a:gd name="connsiteY11" fmla="*/ 129582 h 136059"/>
                    <a:gd name="connsiteX12" fmla="*/ 12960 w 90694"/>
                    <a:gd name="connsiteY12" fmla="*/ 129582 h 136059"/>
                    <a:gd name="connsiteX13" fmla="*/ 12960 w 90694"/>
                    <a:gd name="connsiteY13" fmla="*/ 123104 h 136059"/>
                    <a:gd name="connsiteX14" fmla="*/ 77739 w 90694"/>
                    <a:gd name="connsiteY14" fmla="*/ 123104 h 136059"/>
                    <a:gd name="connsiteX15" fmla="*/ 77739 w 90694"/>
                    <a:gd name="connsiteY15" fmla="*/ 35505 h 136059"/>
                    <a:gd name="connsiteX16" fmla="*/ 29921 w 90694"/>
                    <a:gd name="connsiteY16" fmla="*/ 69278 h 136059"/>
                    <a:gd name="connsiteX17" fmla="*/ 12960 w 90694"/>
                    <a:gd name="connsiteY17" fmla="*/ 101866 h 136059"/>
                    <a:gd name="connsiteX18" fmla="*/ 12960 w 90694"/>
                    <a:gd name="connsiteY18" fmla="*/ 123104 h 13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0694" h="136059">
                      <a:moveTo>
                        <a:pt x="84217" y="136060"/>
                      </a:moveTo>
                      <a:lnTo>
                        <a:pt x="6482" y="136060"/>
                      </a:lnTo>
                      <a:cubicBezTo>
                        <a:pt x="2897" y="136060"/>
                        <a:pt x="4" y="133167"/>
                        <a:pt x="4" y="129582"/>
                      </a:cubicBezTo>
                      <a:lnTo>
                        <a:pt x="4" y="102014"/>
                      </a:lnTo>
                      <a:cubicBezTo>
                        <a:pt x="-20" y="100852"/>
                        <a:pt x="-564" y="69229"/>
                        <a:pt x="24432" y="57534"/>
                      </a:cubicBezTo>
                      <a:cubicBezTo>
                        <a:pt x="48737" y="46186"/>
                        <a:pt x="77739" y="27469"/>
                        <a:pt x="77739" y="2744"/>
                      </a:cubicBezTo>
                      <a:lnTo>
                        <a:pt x="77739" y="0"/>
                      </a:lnTo>
                      <a:lnTo>
                        <a:pt x="90695" y="0"/>
                      </a:lnTo>
                      <a:lnTo>
                        <a:pt x="90695" y="129582"/>
                      </a:lnTo>
                      <a:cubicBezTo>
                        <a:pt x="90695" y="133167"/>
                        <a:pt x="87802" y="136060"/>
                        <a:pt x="84217" y="136060"/>
                      </a:cubicBezTo>
                      <a:close/>
                      <a:moveTo>
                        <a:pt x="12960" y="129582"/>
                      </a:moveTo>
                      <a:lnTo>
                        <a:pt x="13034" y="129582"/>
                      </a:lnTo>
                      <a:lnTo>
                        <a:pt x="12960" y="129582"/>
                      </a:lnTo>
                      <a:close/>
                      <a:moveTo>
                        <a:pt x="12960" y="123104"/>
                      </a:moveTo>
                      <a:lnTo>
                        <a:pt x="77739" y="123104"/>
                      </a:lnTo>
                      <a:lnTo>
                        <a:pt x="77739" y="35505"/>
                      </a:lnTo>
                      <a:cubicBezTo>
                        <a:pt x="67552" y="47793"/>
                        <a:pt x="51506" y="59191"/>
                        <a:pt x="29921" y="69278"/>
                      </a:cubicBezTo>
                      <a:cubicBezTo>
                        <a:pt x="12664" y="77339"/>
                        <a:pt x="12960" y="101618"/>
                        <a:pt x="12960" y="101866"/>
                      </a:cubicBezTo>
                      <a:lnTo>
                        <a:pt x="12960" y="123104"/>
                      </a:lnTo>
                      <a:close/>
                    </a:path>
                  </a:pathLst>
                </a:custGeom>
                <a:solidFill>
                  <a:schemeClr val="accent1"/>
                </a:solidFill>
                <a:ln w="2469" cap="flat">
                  <a:noFill/>
                  <a:prstDash val="solid"/>
                  <a:miter/>
                </a:ln>
              </p:spPr>
              <p:txBody>
                <a:bodyPr rtlCol="0" anchor="ctr"/>
                <a:lstStyle/>
                <a:p>
                  <a:endParaRPr lang="en-GB" dirty="0"/>
                </a:p>
              </p:txBody>
            </p:sp>
            <p:sp>
              <p:nvSpPr>
                <p:cNvPr id="615" name="Freihandform: Form 934">
                  <a:extLst>
                    <a:ext uri="{FF2B5EF4-FFF2-40B4-BE49-F238E27FC236}">
                      <a16:creationId xmlns:a16="http://schemas.microsoft.com/office/drawing/2014/main" id="{33C74AF7-E574-4E34-866F-A981411358A6}"/>
                    </a:ext>
                  </a:extLst>
                </p:cNvPr>
                <p:cNvSpPr/>
                <p:nvPr/>
              </p:nvSpPr>
              <p:spPr>
                <a:xfrm>
                  <a:off x="7236311" y="2801055"/>
                  <a:ext cx="90714" cy="45345"/>
                </a:xfrm>
                <a:custGeom>
                  <a:avLst/>
                  <a:gdLst>
                    <a:gd name="connsiteX0" fmla="*/ 84237 w 90714"/>
                    <a:gd name="connsiteY0" fmla="*/ 45345 h 45345"/>
                    <a:gd name="connsiteX1" fmla="*/ 6478 w 90714"/>
                    <a:gd name="connsiteY1" fmla="*/ 45345 h 45345"/>
                    <a:gd name="connsiteX2" fmla="*/ 0 w 90714"/>
                    <a:gd name="connsiteY2" fmla="*/ 38867 h 45345"/>
                    <a:gd name="connsiteX3" fmla="*/ 0 w 90714"/>
                    <a:gd name="connsiteY3" fmla="*/ 6478 h 45345"/>
                    <a:gd name="connsiteX4" fmla="*/ 6478 w 90714"/>
                    <a:gd name="connsiteY4" fmla="*/ 0 h 45345"/>
                    <a:gd name="connsiteX5" fmla="*/ 84237 w 90714"/>
                    <a:gd name="connsiteY5" fmla="*/ 0 h 45345"/>
                    <a:gd name="connsiteX6" fmla="*/ 90715 w 90714"/>
                    <a:gd name="connsiteY6" fmla="*/ 6478 h 45345"/>
                    <a:gd name="connsiteX7" fmla="*/ 90715 w 90714"/>
                    <a:gd name="connsiteY7" fmla="*/ 38867 h 45345"/>
                    <a:gd name="connsiteX8" fmla="*/ 84237 w 90714"/>
                    <a:gd name="connsiteY8" fmla="*/ 45345 h 45345"/>
                    <a:gd name="connsiteX9" fmla="*/ 12956 w 90714"/>
                    <a:gd name="connsiteY9" fmla="*/ 32389 h 45345"/>
                    <a:gd name="connsiteX10" fmla="*/ 77759 w 90714"/>
                    <a:gd name="connsiteY10" fmla="*/ 32389 h 45345"/>
                    <a:gd name="connsiteX11" fmla="*/ 77759 w 90714"/>
                    <a:gd name="connsiteY11" fmla="*/ 12956 h 45345"/>
                    <a:gd name="connsiteX12" fmla="*/ 12956 w 90714"/>
                    <a:gd name="connsiteY12" fmla="*/ 12956 h 45345"/>
                    <a:gd name="connsiteX13" fmla="*/ 12956 w 90714"/>
                    <a:gd name="connsiteY13" fmla="*/ 32389 h 45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714" h="45345">
                      <a:moveTo>
                        <a:pt x="84237" y="45345"/>
                      </a:moveTo>
                      <a:lnTo>
                        <a:pt x="6478" y="45345"/>
                      </a:lnTo>
                      <a:cubicBezTo>
                        <a:pt x="2893" y="45345"/>
                        <a:pt x="0" y="42452"/>
                        <a:pt x="0" y="38867"/>
                      </a:cubicBezTo>
                      <a:lnTo>
                        <a:pt x="0" y="6478"/>
                      </a:lnTo>
                      <a:cubicBezTo>
                        <a:pt x="0" y="2893"/>
                        <a:pt x="2893" y="0"/>
                        <a:pt x="6478" y="0"/>
                      </a:cubicBezTo>
                      <a:lnTo>
                        <a:pt x="84237" y="0"/>
                      </a:lnTo>
                      <a:cubicBezTo>
                        <a:pt x="87822" y="0"/>
                        <a:pt x="90715" y="2893"/>
                        <a:pt x="90715" y="6478"/>
                      </a:cubicBezTo>
                      <a:lnTo>
                        <a:pt x="90715" y="38867"/>
                      </a:lnTo>
                      <a:cubicBezTo>
                        <a:pt x="90715" y="42452"/>
                        <a:pt x="87822" y="45345"/>
                        <a:pt x="84237" y="45345"/>
                      </a:cubicBezTo>
                      <a:close/>
                      <a:moveTo>
                        <a:pt x="12956" y="32389"/>
                      </a:moveTo>
                      <a:lnTo>
                        <a:pt x="77759" y="32389"/>
                      </a:lnTo>
                      <a:lnTo>
                        <a:pt x="77759" y="12956"/>
                      </a:lnTo>
                      <a:lnTo>
                        <a:pt x="12956" y="12956"/>
                      </a:lnTo>
                      <a:lnTo>
                        <a:pt x="12956" y="32389"/>
                      </a:lnTo>
                      <a:close/>
                    </a:path>
                  </a:pathLst>
                </a:custGeom>
                <a:solidFill>
                  <a:schemeClr val="accent1"/>
                </a:solidFill>
                <a:ln w="2469" cap="flat">
                  <a:noFill/>
                  <a:prstDash val="solid"/>
                  <a:miter/>
                </a:ln>
              </p:spPr>
              <p:txBody>
                <a:bodyPr rtlCol="0" anchor="ctr"/>
                <a:lstStyle/>
                <a:p>
                  <a:endParaRPr lang="en-GB" dirty="0"/>
                </a:p>
              </p:txBody>
            </p:sp>
            <p:sp>
              <p:nvSpPr>
                <p:cNvPr id="616" name="Freihandform: Form 935">
                  <a:extLst>
                    <a:ext uri="{FF2B5EF4-FFF2-40B4-BE49-F238E27FC236}">
                      <a16:creationId xmlns:a16="http://schemas.microsoft.com/office/drawing/2014/main" id="{32276783-2B0F-4ED6-88E5-C0A5018BB6FE}"/>
                    </a:ext>
                  </a:extLst>
                </p:cNvPr>
                <p:cNvSpPr/>
                <p:nvPr/>
              </p:nvSpPr>
              <p:spPr>
                <a:xfrm>
                  <a:off x="7249291" y="2684429"/>
                  <a:ext cx="64778" cy="38867"/>
                </a:xfrm>
                <a:custGeom>
                  <a:avLst/>
                  <a:gdLst>
                    <a:gd name="connsiteX0" fmla="*/ 58301 w 64778"/>
                    <a:gd name="connsiteY0" fmla="*/ 38867 h 38867"/>
                    <a:gd name="connsiteX1" fmla="*/ 51823 w 64778"/>
                    <a:gd name="connsiteY1" fmla="*/ 32389 h 38867"/>
                    <a:gd name="connsiteX2" fmla="*/ 32389 w 64778"/>
                    <a:gd name="connsiteY2" fmla="*/ 12956 h 38867"/>
                    <a:gd name="connsiteX3" fmla="*/ 12956 w 64778"/>
                    <a:gd name="connsiteY3" fmla="*/ 32389 h 38867"/>
                    <a:gd name="connsiteX4" fmla="*/ 6478 w 64778"/>
                    <a:gd name="connsiteY4" fmla="*/ 38867 h 38867"/>
                    <a:gd name="connsiteX5" fmla="*/ 0 w 64778"/>
                    <a:gd name="connsiteY5" fmla="*/ 32389 h 38867"/>
                    <a:gd name="connsiteX6" fmla="*/ 32389 w 64778"/>
                    <a:gd name="connsiteY6" fmla="*/ 0 h 38867"/>
                    <a:gd name="connsiteX7" fmla="*/ 64779 w 64778"/>
                    <a:gd name="connsiteY7" fmla="*/ 32389 h 38867"/>
                    <a:gd name="connsiteX8" fmla="*/ 58301 w 64778"/>
                    <a:gd name="connsiteY8" fmla="*/ 38867 h 38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778" h="38867">
                      <a:moveTo>
                        <a:pt x="58301" y="38867"/>
                      </a:moveTo>
                      <a:cubicBezTo>
                        <a:pt x="54716" y="38867"/>
                        <a:pt x="51823" y="35974"/>
                        <a:pt x="51823" y="32389"/>
                      </a:cubicBezTo>
                      <a:cubicBezTo>
                        <a:pt x="51823" y="21659"/>
                        <a:pt x="43095" y="12956"/>
                        <a:pt x="32389" y="12956"/>
                      </a:cubicBezTo>
                      <a:cubicBezTo>
                        <a:pt x="21659" y="12956"/>
                        <a:pt x="12956" y="21684"/>
                        <a:pt x="12956" y="32389"/>
                      </a:cubicBezTo>
                      <a:cubicBezTo>
                        <a:pt x="12956" y="35974"/>
                        <a:pt x="10063" y="38867"/>
                        <a:pt x="6478" y="38867"/>
                      </a:cubicBezTo>
                      <a:cubicBezTo>
                        <a:pt x="2893" y="38867"/>
                        <a:pt x="0" y="35974"/>
                        <a:pt x="0" y="32389"/>
                      </a:cubicBezTo>
                      <a:cubicBezTo>
                        <a:pt x="0" y="14538"/>
                        <a:pt x="14538" y="0"/>
                        <a:pt x="32389" y="0"/>
                      </a:cubicBezTo>
                      <a:cubicBezTo>
                        <a:pt x="50240" y="0"/>
                        <a:pt x="64779" y="14538"/>
                        <a:pt x="64779" y="32389"/>
                      </a:cubicBezTo>
                      <a:cubicBezTo>
                        <a:pt x="64779" y="35974"/>
                        <a:pt x="61886" y="38867"/>
                        <a:pt x="58301" y="38867"/>
                      </a:cubicBezTo>
                      <a:close/>
                    </a:path>
                  </a:pathLst>
                </a:custGeom>
                <a:solidFill>
                  <a:schemeClr val="accent1"/>
                </a:solidFill>
                <a:ln w="2469" cap="flat">
                  <a:noFill/>
                  <a:prstDash val="solid"/>
                  <a:miter/>
                </a:ln>
              </p:spPr>
              <p:txBody>
                <a:bodyPr rtlCol="0" anchor="ctr"/>
                <a:lstStyle/>
                <a:p>
                  <a:endParaRPr lang="en-GB" dirty="0"/>
                </a:p>
              </p:txBody>
            </p:sp>
            <p:sp>
              <p:nvSpPr>
                <p:cNvPr id="617" name="Freihandform: Form 936">
                  <a:extLst>
                    <a:ext uri="{FF2B5EF4-FFF2-40B4-BE49-F238E27FC236}">
                      <a16:creationId xmlns:a16="http://schemas.microsoft.com/office/drawing/2014/main" id="{FABEE15B-3C02-4B52-A99A-BEEDE7344174}"/>
                    </a:ext>
                  </a:extLst>
                </p:cNvPr>
                <p:cNvSpPr/>
                <p:nvPr/>
              </p:nvSpPr>
              <p:spPr>
                <a:xfrm>
                  <a:off x="7249291" y="2580759"/>
                  <a:ext cx="64778" cy="12955"/>
                </a:xfrm>
                <a:custGeom>
                  <a:avLst/>
                  <a:gdLst>
                    <a:gd name="connsiteX0" fmla="*/ 58301 w 64778"/>
                    <a:gd name="connsiteY0" fmla="*/ 12956 h 12955"/>
                    <a:gd name="connsiteX1" fmla="*/ 6478 w 64778"/>
                    <a:gd name="connsiteY1" fmla="*/ 12956 h 12955"/>
                    <a:gd name="connsiteX2" fmla="*/ 0 w 64778"/>
                    <a:gd name="connsiteY2" fmla="*/ 6478 h 12955"/>
                    <a:gd name="connsiteX3" fmla="*/ 6478 w 64778"/>
                    <a:gd name="connsiteY3" fmla="*/ 0 h 12955"/>
                    <a:gd name="connsiteX4" fmla="*/ 58301 w 64778"/>
                    <a:gd name="connsiteY4" fmla="*/ 0 h 12955"/>
                    <a:gd name="connsiteX5" fmla="*/ 64779 w 64778"/>
                    <a:gd name="connsiteY5" fmla="*/ 6478 h 12955"/>
                    <a:gd name="connsiteX6" fmla="*/ 58301 w 64778"/>
                    <a:gd name="connsiteY6" fmla="*/ 12956 h 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78" h="12955">
                      <a:moveTo>
                        <a:pt x="58301" y="12956"/>
                      </a:moveTo>
                      <a:lnTo>
                        <a:pt x="6478" y="12956"/>
                      </a:lnTo>
                      <a:cubicBezTo>
                        <a:pt x="2893" y="12956"/>
                        <a:pt x="0" y="10063"/>
                        <a:pt x="0" y="6478"/>
                      </a:cubicBezTo>
                      <a:cubicBezTo>
                        <a:pt x="0" y="2893"/>
                        <a:pt x="2893" y="0"/>
                        <a:pt x="6478" y="0"/>
                      </a:cubicBezTo>
                      <a:lnTo>
                        <a:pt x="58301" y="0"/>
                      </a:lnTo>
                      <a:cubicBezTo>
                        <a:pt x="61886" y="0"/>
                        <a:pt x="64779" y="2893"/>
                        <a:pt x="64779" y="6478"/>
                      </a:cubicBezTo>
                      <a:cubicBezTo>
                        <a:pt x="64779" y="10063"/>
                        <a:pt x="61886" y="12956"/>
                        <a:pt x="58301" y="12956"/>
                      </a:cubicBezTo>
                      <a:close/>
                    </a:path>
                  </a:pathLst>
                </a:custGeom>
                <a:solidFill>
                  <a:schemeClr val="accent1"/>
                </a:solidFill>
                <a:ln w="2469" cap="flat">
                  <a:noFill/>
                  <a:prstDash val="solid"/>
                  <a:miter/>
                </a:ln>
              </p:spPr>
              <p:txBody>
                <a:bodyPr rtlCol="0" anchor="ctr"/>
                <a:lstStyle/>
                <a:p>
                  <a:endParaRPr lang="en-GB" dirty="0"/>
                </a:p>
              </p:txBody>
            </p:sp>
            <p:sp>
              <p:nvSpPr>
                <p:cNvPr id="618" name="Freihandform: Form 937">
                  <a:extLst>
                    <a:ext uri="{FF2B5EF4-FFF2-40B4-BE49-F238E27FC236}">
                      <a16:creationId xmlns:a16="http://schemas.microsoft.com/office/drawing/2014/main" id="{D31F416B-B0FC-4756-970E-247A72AC109E}"/>
                    </a:ext>
                  </a:extLst>
                </p:cNvPr>
                <p:cNvSpPr/>
                <p:nvPr/>
              </p:nvSpPr>
              <p:spPr>
                <a:xfrm>
                  <a:off x="7327026" y="2664995"/>
                  <a:ext cx="90698" cy="136059"/>
                </a:xfrm>
                <a:custGeom>
                  <a:avLst/>
                  <a:gdLst>
                    <a:gd name="connsiteX0" fmla="*/ 84212 w 90698"/>
                    <a:gd name="connsiteY0" fmla="*/ 136060 h 136059"/>
                    <a:gd name="connsiteX1" fmla="*/ 6478 w 90698"/>
                    <a:gd name="connsiteY1" fmla="*/ 136060 h 136059"/>
                    <a:gd name="connsiteX2" fmla="*/ 0 w 90698"/>
                    <a:gd name="connsiteY2" fmla="*/ 129582 h 136059"/>
                    <a:gd name="connsiteX3" fmla="*/ 0 w 90698"/>
                    <a:gd name="connsiteY3" fmla="*/ 0 h 136059"/>
                    <a:gd name="connsiteX4" fmla="*/ 12956 w 90698"/>
                    <a:gd name="connsiteY4" fmla="*/ 0 h 136059"/>
                    <a:gd name="connsiteX5" fmla="*/ 12956 w 90698"/>
                    <a:gd name="connsiteY5" fmla="*/ 2744 h 136059"/>
                    <a:gd name="connsiteX6" fmla="*/ 66262 w 90698"/>
                    <a:gd name="connsiteY6" fmla="*/ 57534 h 136059"/>
                    <a:gd name="connsiteX7" fmla="*/ 90690 w 90698"/>
                    <a:gd name="connsiteY7" fmla="*/ 102187 h 136059"/>
                    <a:gd name="connsiteX8" fmla="*/ 90690 w 90698"/>
                    <a:gd name="connsiteY8" fmla="*/ 129582 h 136059"/>
                    <a:gd name="connsiteX9" fmla="*/ 84212 w 90698"/>
                    <a:gd name="connsiteY9" fmla="*/ 136060 h 136059"/>
                    <a:gd name="connsiteX10" fmla="*/ 12956 w 90698"/>
                    <a:gd name="connsiteY10" fmla="*/ 123104 h 136059"/>
                    <a:gd name="connsiteX11" fmla="*/ 77734 w 90698"/>
                    <a:gd name="connsiteY11" fmla="*/ 123104 h 136059"/>
                    <a:gd name="connsiteX12" fmla="*/ 77734 w 90698"/>
                    <a:gd name="connsiteY12" fmla="*/ 102014 h 136059"/>
                    <a:gd name="connsiteX13" fmla="*/ 60773 w 90698"/>
                    <a:gd name="connsiteY13" fmla="*/ 69278 h 136059"/>
                    <a:gd name="connsiteX14" fmla="*/ 12956 w 90698"/>
                    <a:gd name="connsiteY14" fmla="*/ 35505 h 136059"/>
                    <a:gd name="connsiteX15" fmla="*/ 12956 w 90698"/>
                    <a:gd name="connsiteY15" fmla="*/ 123104 h 13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0698" h="136059">
                      <a:moveTo>
                        <a:pt x="84212" y="136060"/>
                      </a:moveTo>
                      <a:lnTo>
                        <a:pt x="6478" y="136060"/>
                      </a:lnTo>
                      <a:cubicBezTo>
                        <a:pt x="2893" y="136060"/>
                        <a:pt x="0" y="133167"/>
                        <a:pt x="0" y="129582"/>
                      </a:cubicBezTo>
                      <a:lnTo>
                        <a:pt x="0" y="0"/>
                      </a:lnTo>
                      <a:lnTo>
                        <a:pt x="12956" y="0"/>
                      </a:lnTo>
                      <a:lnTo>
                        <a:pt x="12956" y="2744"/>
                      </a:lnTo>
                      <a:cubicBezTo>
                        <a:pt x="12956" y="27469"/>
                        <a:pt x="41958" y="46186"/>
                        <a:pt x="66262" y="57534"/>
                      </a:cubicBezTo>
                      <a:cubicBezTo>
                        <a:pt x="91283" y="69204"/>
                        <a:pt x="90739" y="100827"/>
                        <a:pt x="90690" y="102187"/>
                      </a:cubicBezTo>
                      <a:lnTo>
                        <a:pt x="90690" y="129582"/>
                      </a:lnTo>
                      <a:cubicBezTo>
                        <a:pt x="90715" y="133167"/>
                        <a:pt x="87797" y="136060"/>
                        <a:pt x="84212" y="136060"/>
                      </a:cubicBezTo>
                      <a:close/>
                      <a:moveTo>
                        <a:pt x="12956" y="123104"/>
                      </a:moveTo>
                      <a:lnTo>
                        <a:pt x="77734" y="123104"/>
                      </a:lnTo>
                      <a:lnTo>
                        <a:pt x="77734" y="102014"/>
                      </a:lnTo>
                      <a:cubicBezTo>
                        <a:pt x="77734" y="101618"/>
                        <a:pt x="78031" y="77339"/>
                        <a:pt x="60773" y="69278"/>
                      </a:cubicBezTo>
                      <a:cubicBezTo>
                        <a:pt x="39189" y="59191"/>
                        <a:pt x="23118" y="47817"/>
                        <a:pt x="12956" y="35505"/>
                      </a:cubicBezTo>
                      <a:lnTo>
                        <a:pt x="12956" y="123104"/>
                      </a:lnTo>
                      <a:close/>
                    </a:path>
                  </a:pathLst>
                </a:custGeom>
                <a:solidFill>
                  <a:schemeClr val="accent1"/>
                </a:solidFill>
                <a:ln w="2469" cap="flat">
                  <a:noFill/>
                  <a:prstDash val="solid"/>
                  <a:miter/>
                </a:ln>
              </p:spPr>
              <p:txBody>
                <a:bodyPr rtlCol="0" anchor="ctr"/>
                <a:lstStyle/>
                <a:p>
                  <a:endParaRPr lang="en-GB" dirty="0"/>
                </a:p>
              </p:txBody>
            </p:sp>
            <p:sp>
              <p:nvSpPr>
                <p:cNvPr id="619" name="Freihandform: Form 938">
                  <a:extLst>
                    <a:ext uri="{FF2B5EF4-FFF2-40B4-BE49-F238E27FC236}">
                      <a16:creationId xmlns:a16="http://schemas.microsoft.com/office/drawing/2014/main" id="{7FEA12EC-FFB2-4A13-983F-ABF5C2AF24CA}"/>
                    </a:ext>
                  </a:extLst>
                </p:cNvPr>
                <p:cNvSpPr/>
                <p:nvPr/>
              </p:nvSpPr>
              <p:spPr>
                <a:xfrm>
                  <a:off x="7327026" y="2762188"/>
                  <a:ext cx="38867" cy="12955"/>
                </a:xfrm>
                <a:custGeom>
                  <a:avLst/>
                  <a:gdLst>
                    <a:gd name="connsiteX0" fmla="*/ 32389 w 38867"/>
                    <a:gd name="connsiteY0" fmla="*/ 12956 h 12955"/>
                    <a:gd name="connsiteX1" fmla="*/ 6478 w 38867"/>
                    <a:gd name="connsiteY1" fmla="*/ 12956 h 12955"/>
                    <a:gd name="connsiteX2" fmla="*/ 0 w 38867"/>
                    <a:gd name="connsiteY2" fmla="*/ 6478 h 12955"/>
                    <a:gd name="connsiteX3" fmla="*/ 6478 w 38867"/>
                    <a:gd name="connsiteY3" fmla="*/ 0 h 12955"/>
                    <a:gd name="connsiteX4" fmla="*/ 32389 w 38867"/>
                    <a:gd name="connsiteY4" fmla="*/ 0 h 12955"/>
                    <a:gd name="connsiteX5" fmla="*/ 38867 w 38867"/>
                    <a:gd name="connsiteY5" fmla="*/ 6478 h 12955"/>
                    <a:gd name="connsiteX6" fmla="*/ 32389 w 38867"/>
                    <a:gd name="connsiteY6" fmla="*/ 12956 h 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67" h="12955">
                      <a:moveTo>
                        <a:pt x="32389" y="12956"/>
                      </a:moveTo>
                      <a:lnTo>
                        <a:pt x="6478" y="12956"/>
                      </a:lnTo>
                      <a:cubicBezTo>
                        <a:pt x="2893" y="12956"/>
                        <a:pt x="0" y="10063"/>
                        <a:pt x="0" y="6478"/>
                      </a:cubicBezTo>
                      <a:cubicBezTo>
                        <a:pt x="0" y="2893"/>
                        <a:pt x="2893" y="0"/>
                        <a:pt x="6478" y="0"/>
                      </a:cubicBezTo>
                      <a:lnTo>
                        <a:pt x="32389" y="0"/>
                      </a:lnTo>
                      <a:cubicBezTo>
                        <a:pt x="35974" y="0"/>
                        <a:pt x="38867" y="2893"/>
                        <a:pt x="38867" y="6478"/>
                      </a:cubicBezTo>
                      <a:cubicBezTo>
                        <a:pt x="38867" y="10038"/>
                        <a:pt x="35974" y="12956"/>
                        <a:pt x="32389" y="12956"/>
                      </a:cubicBezTo>
                      <a:close/>
                    </a:path>
                  </a:pathLst>
                </a:custGeom>
                <a:solidFill>
                  <a:schemeClr val="accent1"/>
                </a:solidFill>
                <a:ln w="2469" cap="flat">
                  <a:noFill/>
                  <a:prstDash val="solid"/>
                  <a:miter/>
                </a:ln>
              </p:spPr>
              <p:txBody>
                <a:bodyPr rtlCol="0" anchor="ctr"/>
                <a:lstStyle/>
                <a:p>
                  <a:endParaRPr lang="en-GB" dirty="0"/>
                </a:p>
              </p:txBody>
            </p:sp>
            <p:sp>
              <p:nvSpPr>
                <p:cNvPr id="620" name="Freihandform: Form 939">
                  <a:extLst>
                    <a:ext uri="{FF2B5EF4-FFF2-40B4-BE49-F238E27FC236}">
                      <a16:creationId xmlns:a16="http://schemas.microsoft.com/office/drawing/2014/main" id="{F529F767-6A03-4575-94A0-5319107AE55B}"/>
                    </a:ext>
                  </a:extLst>
                </p:cNvPr>
                <p:cNvSpPr/>
                <p:nvPr/>
              </p:nvSpPr>
              <p:spPr>
                <a:xfrm>
                  <a:off x="7197443" y="2762188"/>
                  <a:ext cx="38867" cy="12955"/>
                </a:xfrm>
                <a:custGeom>
                  <a:avLst/>
                  <a:gdLst>
                    <a:gd name="connsiteX0" fmla="*/ 32389 w 38867"/>
                    <a:gd name="connsiteY0" fmla="*/ 12956 h 12955"/>
                    <a:gd name="connsiteX1" fmla="*/ 6478 w 38867"/>
                    <a:gd name="connsiteY1" fmla="*/ 12956 h 12955"/>
                    <a:gd name="connsiteX2" fmla="*/ 0 w 38867"/>
                    <a:gd name="connsiteY2" fmla="*/ 6478 h 12955"/>
                    <a:gd name="connsiteX3" fmla="*/ 6478 w 38867"/>
                    <a:gd name="connsiteY3" fmla="*/ 0 h 12955"/>
                    <a:gd name="connsiteX4" fmla="*/ 32389 w 38867"/>
                    <a:gd name="connsiteY4" fmla="*/ 0 h 12955"/>
                    <a:gd name="connsiteX5" fmla="*/ 38867 w 38867"/>
                    <a:gd name="connsiteY5" fmla="*/ 6478 h 12955"/>
                    <a:gd name="connsiteX6" fmla="*/ 32389 w 38867"/>
                    <a:gd name="connsiteY6" fmla="*/ 12956 h 12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67" h="12955">
                      <a:moveTo>
                        <a:pt x="32389" y="12956"/>
                      </a:moveTo>
                      <a:lnTo>
                        <a:pt x="6478" y="12956"/>
                      </a:lnTo>
                      <a:cubicBezTo>
                        <a:pt x="2893" y="12956"/>
                        <a:pt x="0" y="10063"/>
                        <a:pt x="0" y="6478"/>
                      </a:cubicBezTo>
                      <a:cubicBezTo>
                        <a:pt x="0" y="2893"/>
                        <a:pt x="2893" y="0"/>
                        <a:pt x="6478" y="0"/>
                      </a:cubicBezTo>
                      <a:lnTo>
                        <a:pt x="32389" y="0"/>
                      </a:lnTo>
                      <a:cubicBezTo>
                        <a:pt x="35974" y="0"/>
                        <a:pt x="38867" y="2893"/>
                        <a:pt x="38867" y="6478"/>
                      </a:cubicBezTo>
                      <a:cubicBezTo>
                        <a:pt x="38867" y="10038"/>
                        <a:pt x="35974" y="12956"/>
                        <a:pt x="32389" y="12956"/>
                      </a:cubicBezTo>
                      <a:close/>
                    </a:path>
                  </a:pathLst>
                </a:custGeom>
                <a:solidFill>
                  <a:schemeClr val="accent1"/>
                </a:solidFill>
                <a:ln w="2469" cap="flat">
                  <a:noFill/>
                  <a:prstDash val="solid"/>
                  <a:miter/>
                </a:ln>
              </p:spPr>
              <p:txBody>
                <a:bodyPr rtlCol="0" anchor="ctr"/>
                <a:lstStyle/>
                <a:p>
                  <a:endParaRPr lang="en-GB" dirty="0"/>
                </a:p>
              </p:txBody>
            </p:sp>
            <p:sp>
              <p:nvSpPr>
                <p:cNvPr id="621" name="Freihandform: Form 940">
                  <a:extLst>
                    <a:ext uri="{FF2B5EF4-FFF2-40B4-BE49-F238E27FC236}">
                      <a16:creationId xmlns:a16="http://schemas.microsoft.com/office/drawing/2014/main" id="{69B002C4-22D4-45C5-A560-309C69F578DD}"/>
                    </a:ext>
                  </a:extLst>
                </p:cNvPr>
                <p:cNvSpPr/>
                <p:nvPr/>
              </p:nvSpPr>
              <p:spPr>
                <a:xfrm>
                  <a:off x="7223355" y="2515955"/>
                  <a:ext cx="116651" cy="298055"/>
                </a:xfrm>
                <a:custGeom>
                  <a:avLst/>
                  <a:gdLst>
                    <a:gd name="connsiteX0" fmla="*/ 110149 w 116651"/>
                    <a:gd name="connsiteY0" fmla="*/ 298056 h 298055"/>
                    <a:gd name="connsiteX1" fmla="*/ 6478 w 116651"/>
                    <a:gd name="connsiteY1" fmla="*/ 298056 h 298055"/>
                    <a:gd name="connsiteX2" fmla="*/ 0 w 116651"/>
                    <a:gd name="connsiteY2" fmla="*/ 291578 h 298055"/>
                    <a:gd name="connsiteX3" fmla="*/ 0 w 116651"/>
                    <a:gd name="connsiteY3" fmla="*/ 58325 h 298055"/>
                    <a:gd name="connsiteX4" fmla="*/ 58326 w 116651"/>
                    <a:gd name="connsiteY4" fmla="*/ 0 h 298055"/>
                    <a:gd name="connsiteX5" fmla="*/ 116651 w 116651"/>
                    <a:gd name="connsiteY5" fmla="*/ 58325 h 298055"/>
                    <a:gd name="connsiteX6" fmla="*/ 116651 w 116651"/>
                    <a:gd name="connsiteY6" fmla="*/ 291578 h 298055"/>
                    <a:gd name="connsiteX7" fmla="*/ 110149 w 116651"/>
                    <a:gd name="connsiteY7" fmla="*/ 298056 h 298055"/>
                    <a:gd name="connsiteX8" fmla="*/ 12956 w 116651"/>
                    <a:gd name="connsiteY8" fmla="*/ 285100 h 298055"/>
                    <a:gd name="connsiteX9" fmla="*/ 103671 w 116651"/>
                    <a:gd name="connsiteY9" fmla="*/ 285100 h 298055"/>
                    <a:gd name="connsiteX10" fmla="*/ 103671 w 116651"/>
                    <a:gd name="connsiteY10" fmla="*/ 58325 h 298055"/>
                    <a:gd name="connsiteX11" fmla="*/ 58326 w 116651"/>
                    <a:gd name="connsiteY11" fmla="*/ 12980 h 298055"/>
                    <a:gd name="connsiteX12" fmla="*/ 12980 w 116651"/>
                    <a:gd name="connsiteY12" fmla="*/ 58325 h 298055"/>
                    <a:gd name="connsiteX13" fmla="*/ 12980 w 116651"/>
                    <a:gd name="connsiteY13" fmla="*/ 285100 h 298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651" h="298055">
                      <a:moveTo>
                        <a:pt x="110149" y="298056"/>
                      </a:moveTo>
                      <a:lnTo>
                        <a:pt x="6478" y="298056"/>
                      </a:lnTo>
                      <a:cubicBezTo>
                        <a:pt x="2893" y="298056"/>
                        <a:pt x="0" y="295163"/>
                        <a:pt x="0" y="291578"/>
                      </a:cubicBezTo>
                      <a:lnTo>
                        <a:pt x="0" y="58325"/>
                      </a:lnTo>
                      <a:cubicBezTo>
                        <a:pt x="0" y="26183"/>
                        <a:pt x="26159" y="0"/>
                        <a:pt x="58326" y="0"/>
                      </a:cubicBezTo>
                      <a:cubicBezTo>
                        <a:pt x="90492" y="0"/>
                        <a:pt x="116651" y="26159"/>
                        <a:pt x="116651" y="58325"/>
                      </a:cubicBezTo>
                      <a:lnTo>
                        <a:pt x="116651" y="291578"/>
                      </a:lnTo>
                      <a:cubicBezTo>
                        <a:pt x="116626" y="295163"/>
                        <a:pt x="113733" y="298056"/>
                        <a:pt x="110149" y="298056"/>
                      </a:cubicBezTo>
                      <a:close/>
                      <a:moveTo>
                        <a:pt x="12956" y="285100"/>
                      </a:moveTo>
                      <a:lnTo>
                        <a:pt x="103671" y="285100"/>
                      </a:lnTo>
                      <a:lnTo>
                        <a:pt x="103671" y="58325"/>
                      </a:lnTo>
                      <a:cubicBezTo>
                        <a:pt x="103671" y="33304"/>
                        <a:pt x="83322" y="12980"/>
                        <a:pt x="58326" y="12980"/>
                      </a:cubicBezTo>
                      <a:cubicBezTo>
                        <a:pt x="33329" y="12980"/>
                        <a:pt x="12980" y="33329"/>
                        <a:pt x="12980" y="58325"/>
                      </a:cubicBezTo>
                      <a:lnTo>
                        <a:pt x="12980" y="285100"/>
                      </a:lnTo>
                      <a:close/>
                    </a:path>
                  </a:pathLst>
                </a:custGeom>
                <a:solidFill>
                  <a:schemeClr val="accent1"/>
                </a:solidFill>
                <a:ln w="2469" cap="flat">
                  <a:noFill/>
                  <a:prstDash val="solid"/>
                  <a:miter/>
                </a:ln>
              </p:spPr>
              <p:txBody>
                <a:bodyPr rtlCol="0" anchor="ctr"/>
                <a:lstStyle/>
                <a:p>
                  <a:endParaRPr lang="en-GB" dirty="0"/>
                </a:p>
              </p:txBody>
            </p:sp>
          </p:grpSp>
          <p:sp>
            <p:nvSpPr>
              <p:cNvPr id="609" name="Freihandform: Form 941">
                <a:extLst>
                  <a:ext uri="{FF2B5EF4-FFF2-40B4-BE49-F238E27FC236}">
                    <a16:creationId xmlns:a16="http://schemas.microsoft.com/office/drawing/2014/main" id="{2CB9C215-224D-44A6-AE9B-AEFB7F0158FF}"/>
                  </a:ext>
                </a:extLst>
              </p:cNvPr>
              <p:cNvSpPr/>
              <p:nvPr/>
            </p:nvSpPr>
            <p:spPr>
              <a:xfrm>
                <a:off x="7224987" y="2935508"/>
                <a:ext cx="12955" cy="25911"/>
              </a:xfrm>
              <a:custGeom>
                <a:avLst/>
                <a:gdLst>
                  <a:gd name="connsiteX0" fmla="*/ 6478 w 12955"/>
                  <a:gd name="connsiteY0" fmla="*/ 25911 h 25911"/>
                  <a:gd name="connsiteX1" fmla="*/ 0 w 12955"/>
                  <a:gd name="connsiteY1" fmla="*/ 19434 h 25911"/>
                  <a:gd name="connsiteX2" fmla="*/ 0 w 12955"/>
                  <a:gd name="connsiteY2" fmla="*/ 6478 h 25911"/>
                  <a:gd name="connsiteX3" fmla="*/ 6478 w 12955"/>
                  <a:gd name="connsiteY3" fmla="*/ 0 h 25911"/>
                  <a:gd name="connsiteX4" fmla="*/ 12956 w 12955"/>
                  <a:gd name="connsiteY4" fmla="*/ 6478 h 25911"/>
                  <a:gd name="connsiteX5" fmla="*/ 12956 w 12955"/>
                  <a:gd name="connsiteY5" fmla="*/ 19434 h 25911"/>
                  <a:gd name="connsiteX6" fmla="*/ 6478 w 12955"/>
                  <a:gd name="connsiteY6" fmla="*/ 25911 h 2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25911">
                    <a:moveTo>
                      <a:pt x="6478" y="25911"/>
                    </a:moveTo>
                    <a:cubicBezTo>
                      <a:pt x="2893" y="25911"/>
                      <a:pt x="0" y="23019"/>
                      <a:pt x="0" y="19434"/>
                    </a:cubicBezTo>
                    <a:lnTo>
                      <a:pt x="0" y="6478"/>
                    </a:lnTo>
                    <a:cubicBezTo>
                      <a:pt x="0" y="2893"/>
                      <a:pt x="2893" y="0"/>
                      <a:pt x="6478" y="0"/>
                    </a:cubicBezTo>
                    <a:cubicBezTo>
                      <a:pt x="10063" y="0"/>
                      <a:pt x="12956" y="2893"/>
                      <a:pt x="12956" y="6478"/>
                    </a:cubicBezTo>
                    <a:lnTo>
                      <a:pt x="12956" y="19434"/>
                    </a:lnTo>
                    <a:cubicBezTo>
                      <a:pt x="12956" y="22994"/>
                      <a:pt x="10063" y="25911"/>
                      <a:pt x="6478" y="25911"/>
                    </a:cubicBezTo>
                    <a:close/>
                  </a:path>
                </a:pathLst>
              </a:custGeom>
              <a:solidFill>
                <a:schemeClr val="accent1"/>
              </a:solidFill>
              <a:ln w="2469" cap="flat">
                <a:noFill/>
                <a:prstDash val="solid"/>
                <a:miter/>
              </a:ln>
            </p:spPr>
            <p:txBody>
              <a:bodyPr rtlCol="0" anchor="ctr"/>
              <a:lstStyle/>
              <a:p>
                <a:endParaRPr lang="en-GB" dirty="0"/>
              </a:p>
            </p:txBody>
          </p:sp>
          <p:sp>
            <p:nvSpPr>
              <p:cNvPr id="610" name="Freihandform: Form 942">
                <a:extLst>
                  <a:ext uri="{FF2B5EF4-FFF2-40B4-BE49-F238E27FC236}">
                    <a16:creationId xmlns:a16="http://schemas.microsoft.com/office/drawing/2014/main" id="{17443B7A-2F0D-459F-8409-976E97D22441}"/>
                  </a:ext>
                </a:extLst>
              </p:cNvPr>
              <p:cNvSpPr/>
              <p:nvPr/>
            </p:nvSpPr>
            <p:spPr>
              <a:xfrm>
                <a:off x="7328657" y="2935508"/>
                <a:ext cx="12955" cy="25911"/>
              </a:xfrm>
              <a:custGeom>
                <a:avLst/>
                <a:gdLst>
                  <a:gd name="connsiteX0" fmla="*/ 6478 w 12955"/>
                  <a:gd name="connsiteY0" fmla="*/ 25911 h 25911"/>
                  <a:gd name="connsiteX1" fmla="*/ 0 w 12955"/>
                  <a:gd name="connsiteY1" fmla="*/ 19434 h 25911"/>
                  <a:gd name="connsiteX2" fmla="*/ 0 w 12955"/>
                  <a:gd name="connsiteY2" fmla="*/ 6478 h 25911"/>
                  <a:gd name="connsiteX3" fmla="*/ 6478 w 12955"/>
                  <a:gd name="connsiteY3" fmla="*/ 0 h 25911"/>
                  <a:gd name="connsiteX4" fmla="*/ 12956 w 12955"/>
                  <a:gd name="connsiteY4" fmla="*/ 6478 h 25911"/>
                  <a:gd name="connsiteX5" fmla="*/ 12956 w 12955"/>
                  <a:gd name="connsiteY5" fmla="*/ 19434 h 25911"/>
                  <a:gd name="connsiteX6" fmla="*/ 6478 w 12955"/>
                  <a:gd name="connsiteY6" fmla="*/ 25911 h 2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25911">
                    <a:moveTo>
                      <a:pt x="6478" y="25911"/>
                    </a:moveTo>
                    <a:cubicBezTo>
                      <a:pt x="2893" y="25911"/>
                      <a:pt x="0" y="23019"/>
                      <a:pt x="0" y="19434"/>
                    </a:cubicBezTo>
                    <a:lnTo>
                      <a:pt x="0" y="6478"/>
                    </a:lnTo>
                    <a:cubicBezTo>
                      <a:pt x="0" y="2893"/>
                      <a:pt x="2893" y="0"/>
                      <a:pt x="6478" y="0"/>
                    </a:cubicBezTo>
                    <a:cubicBezTo>
                      <a:pt x="10063" y="0"/>
                      <a:pt x="12956" y="2893"/>
                      <a:pt x="12956" y="6478"/>
                    </a:cubicBezTo>
                    <a:lnTo>
                      <a:pt x="12956" y="19434"/>
                    </a:lnTo>
                    <a:cubicBezTo>
                      <a:pt x="12956" y="22994"/>
                      <a:pt x="10038" y="25911"/>
                      <a:pt x="6478" y="25911"/>
                    </a:cubicBezTo>
                    <a:close/>
                  </a:path>
                </a:pathLst>
              </a:custGeom>
              <a:solidFill>
                <a:schemeClr val="accent1"/>
              </a:solidFill>
              <a:ln w="2469" cap="flat">
                <a:noFill/>
                <a:prstDash val="solid"/>
                <a:miter/>
              </a:ln>
            </p:spPr>
            <p:txBody>
              <a:bodyPr rtlCol="0" anchor="ctr"/>
              <a:lstStyle/>
              <a:p>
                <a:endParaRPr lang="en-GB" dirty="0"/>
              </a:p>
            </p:txBody>
          </p:sp>
        </p:grpSp>
      </p:grpSp>
      <p:grpSp>
        <p:nvGrpSpPr>
          <p:cNvPr id="672" name="Group 671">
            <a:extLst>
              <a:ext uri="{FF2B5EF4-FFF2-40B4-BE49-F238E27FC236}">
                <a16:creationId xmlns:a16="http://schemas.microsoft.com/office/drawing/2014/main" id="{2CEA185C-A704-E3A2-F447-2C5D825D9090}"/>
              </a:ext>
            </a:extLst>
          </p:cNvPr>
          <p:cNvGrpSpPr/>
          <p:nvPr/>
        </p:nvGrpSpPr>
        <p:grpSpPr>
          <a:xfrm>
            <a:off x="7134931" y="4040086"/>
            <a:ext cx="329216" cy="432000"/>
            <a:chOff x="7134519" y="4040086"/>
            <a:chExt cx="329216" cy="432000"/>
          </a:xfrm>
        </p:grpSpPr>
        <p:grpSp>
          <p:nvGrpSpPr>
            <p:cNvPr id="629" name="Grafik 199">
              <a:extLst>
                <a:ext uri="{FF2B5EF4-FFF2-40B4-BE49-F238E27FC236}">
                  <a16:creationId xmlns:a16="http://schemas.microsoft.com/office/drawing/2014/main" id="{24EA1FE2-0297-4E52-9673-06255E5D7532}"/>
                </a:ext>
              </a:extLst>
            </p:cNvPr>
            <p:cNvGrpSpPr/>
            <p:nvPr/>
          </p:nvGrpSpPr>
          <p:grpSpPr>
            <a:xfrm>
              <a:off x="7271956" y="4207117"/>
              <a:ext cx="191779" cy="264946"/>
              <a:chOff x="5483802" y="3512587"/>
              <a:chExt cx="201334" cy="278147"/>
            </a:xfrm>
            <a:solidFill>
              <a:schemeClr val="accent1"/>
            </a:solidFill>
          </p:grpSpPr>
          <p:sp>
            <p:nvSpPr>
              <p:cNvPr id="636" name="Freihandform: Form 962">
                <a:extLst>
                  <a:ext uri="{FF2B5EF4-FFF2-40B4-BE49-F238E27FC236}">
                    <a16:creationId xmlns:a16="http://schemas.microsoft.com/office/drawing/2014/main" id="{A8678B9E-6F91-4F13-967D-8130C9922AF1}"/>
                  </a:ext>
                </a:extLst>
              </p:cNvPr>
              <p:cNvSpPr/>
              <p:nvPr/>
            </p:nvSpPr>
            <p:spPr>
              <a:xfrm>
                <a:off x="5571895" y="3562187"/>
                <a:ext cx="113240" cy="227903"/>
              </a:xfrm>
              <a:custGeom>
                <a:avLst/>
                <a:gdLst>
                  <a:gd name="connsiteX0" fmla="*/ 6478 w 113240"/>
                  <a:gd name="connsiteY0" fmla="*/ 227904 h 227903"/>
                  <a:gd name="connsiteX1" fmla="*/ 3338 w 113240"/>
                  <a:gd name="connsiteY1" fmla="*/ 227088 h 227903"/>
                  <a:gd name="connsiteX2" fmla="*/ 0 w 113240"/>
                  <a:gd name="connsiteY2" fmla="*/ 221352 h 227903"/>
                  <a:gd name="connsiteX3" fmla="*/ 1558 w 113240"/>
                  <a:gd name="connsiteY3" fmla="*/ 67911 h 227903"/>
                  <a:gd name="connsiteX4" fmla="*/ 4599 w 113240"/>
                  <a:gd name="connsiteY4" fmla="*/ 62471 h 227903"/>
                  <a:gd name="connsiteX5" fmla="*/ 103325 w 113240"/>
                  <a:gd name="connsiteY5" fmla="*/ 981 h 227903"/>
                  <a:gd name="connsiteX6" fmla="*/ 109976 w 113240"/>
                  <a:gd name="connsiteY6" fmla="*/ 857 h 227903"/>
                  <a:gd name="connsiteX7" fmla="*/ 113239 w 113240"/>
                  <a:gd name="connsiteY7" fmla="*/ 6643 h 227903"/>
                  <a:gd name="connsiteX8" fmla="*/ 109580 w 113240"/>
                  <a:gd name="connsiteY8" fmla="*/ 159713 h 227903"/>
                  <a:gd name="connsiteX9" fmla="*/ 106588 w 113240"/>
                  <a:gd name="connsiteY9" fmla="*/ 165004 h 227903"/>
                  <a:gd name="connsiteX10" fmla="*/ 9964 w 113240"/>
                  <a:gd name="connsiteY10" fmla="*/ 226865 h 227903"/>
                  <a:gd name="connsiteX11" fmla="*/ 6478 w 113240"/>
                  <a:gd name="connsiteY11" fmla="*/ 227904 h 227903"/>
                  <a:gd name="connsiteX12" fmla="*/ 14464 w 113240"/>
                  <a:gd name="connsiteY12" fmla="*/ 71595 h 227903"/>
                  <a:gd name="connsiteX13" fmla="*/ 13055 w 113240"/>
                  <a:gd name="connsiteY13" fmla="*/ 209484 h 227903"/>
                  <a:gd name="connsiteX14" fmla="*/ 96674 w 113240"/>
                  <a:gd name="connsiteY14" fmla="*/ 155955 h 227903"/>
                  <a:gd name="connsiteX15" fmla="*/ 99962 w 113240"/>
                  <a:gd name="connsiteY15" fmla="*/ 18313 h 227903"/>
                  <a:gd name="connsiteX16" fmla="*/ 14464 w 113240"/>
                  <a:gd name="connsiteY16" fmla="*/ 71595 h 227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3240" h="227903">
                    <a:moveTo>
                      <a:pt x="6478" y="227904"/>
                    </a:moveTo>
                    <a:cubicBezTo>
                      <a:pt x="5390" y="227904"/>
                      <a:pt x="4327" y="227632"/>
                      <a:pt x="3338" y="227088"/>
                    </a:cubicBezTo>
                    <a:cubicBezTo>
                      <a:pt x="1261" y="225926"/>
                      <a:pt x="-24" y="223725"/>
                      <a:pt x="0" y="221352"/>
                    </a:cubicBezTo>
                    <a:lnTo>
                      <a:pt x="1558" y="67911"/>
                    </a:lnTo>
                    <a:cubicBezTo>
                      <a:pt x="1583" y="65685"/>
                      <a:pt x="2720" y="63658"/>
                      <a:pt x="4599" y="62471"/>
                    </a:cubicBezTo>
                    <a:lnTo>
                      <a:pt x="103325" y="981"/>
                    </a:lnTo>
                    <a:cubicBezTo>
                      <a:pt x="105352" y="-280"/>
                      <a:pt x="107899" y="-330"/>
                      <a:pt x="109976" y="857"/>
                    </a:cubicBezTo>
                    <a:cubicBezTo>
                      <a:pt x="112053" y="2044"/>
                      <a:pt x="113289" y="4245"/>
                      <a:pt x="113239" y="6643"/>
                    </a:cubicBezTo>
                    <a:lnTo>
                      <a:pt x="109580" y="159713"/>
                    </a:lnTo>
                    <a:cubicBezTo>
                      <a:pt x="109531" y="161864"/>
                      <a:pt x="108418" y="163867"/>
                      <a:pt x="106588" y="165004"/>
                    </a:cubicBezTo>
                    <a:lnTo>
                      <a:pt x="9964" y="226865"/>
                    </a:lnTo>
                    <a:cubicBezTo>
                      <a:pt x="8901" y="227558"/>
                      <a:pt x="7690" y="227904"/>
                      <a:pt x="6478" y="227904"/>
                    </a:cubicBezTo>
                    <a:close/>
                    <a:moveTo>
                      <a:pt x="14464" y="71595"/>
                    </a:moveTo>
                    <a:lnTo>
                      <a:pt x="13055" y="209484"/>
                    </a:lnTo>
                    <a:lnTo>
                      <a:pt x="96674" y="155955"/>
                    </a:lnTo>
                    <a:lnTo>
                      <a:pt x="99962" y="18313"/>
                    </a:lnTo>
                    <a:lnTo>
                      <a:pt x="14464" y="71595"/>
                    </a:lnTo>
                    <a:close/>
                  </a:path>
                </a:pathLst>
              </a:custGeom>
              <a:solidFill>
                <a:schemeClr val="accent1"/>
              </a:solidFill>
              <a:ln w="2469" cap="flat">
                <a:noFill/>
                <a:prstDash val="solid"/>
                <a:miter/>
              </a:ln>
            </p:spPr>
            <p:txBody>
              <a:bodyPr rtlCol="0" anchor="ctr"/>
              <a:lstStyle/>
              <a:p>
                <a:endParaRPr lang="en-GB" dirty="0"/>
              </a:p>
            </p:txBody>
          </p:sp>
          <p:sp>
            <p:nvSpPr>
              <p:cNvPr id="637" name="Freihandform: Form 963">
                <a:extLst>
                  <a:ext uri="{FF2B5EF4-FFF2-40B4-BE49-F238E27FC236}">
                    <a16:creationId xmlns:a16="http://schemas.microsoft.com/office/drawing/2014/main" id="{C11A97F9-6160-4829-A8C5-5743AAEA8004}"/>
                  </a:ext>
                </a:extLst>
              </p:cNvPr>
              <p:cNvSpPr/>
              <p:nvPr/>
            </p:nvSpPr>
            <p:spPr>
              <a:xfrm>
                <a:off x="5543586" y="3606889"/>
                <a:ext cx="42697" cy="183845"/>
              </a:xfrm>
              <a:custGeom>
                <a:avLst/>
                <a:gdLst>
                  <a:gd name="connsiteX0" fmla="*/ 30782 w 42697"/>
                  <a:gd name="connsiteY0" fmla="*/ 183845 h 183845"/>
                  <a:gd name="connsiteX1" fmla="*/ 1162 w 42697"/>
                  <a:gd name="connsiteY1" fmla="*/ 166167 h 183845"/>
                  <a:gd name="connsiteX2" fmla="*/ 0 w 42697"/>
                  <a:gd name="connsiteY2" fmla="*/ 162434 h 183845"/>
                  <a:gd name="connsiteX3" fmla="*/ 321 w 42697"/>
                  <a:gd name="connsiteY3" fmla="*/ 6446 h 183845"/>
                  <a:gd name="connsiteX4" fmla="*/ 5514 w 42697"/>
                  <a:gd name="connsiteY4" fmla="*/ 116 h 183845"/>
                  <a:gd name="connsiteX5" fmla="*/ 12758 w 42697"/>
                  <a:gd name="connsiteY5" fmla="*/ 3948 h 183845"/>
                  <a:gd name="connsiteX6" fmla="*/ 35678 w 42697"/>
                  <a:gd name="connsiteY6" fmla="*/ 16657 h 183845"/>
                  <a:gd name="connsiteX7" fmla="*/ 42675 w 42697"/>
                  <a:gd name="connsiteY7" fmla="*/ 22566 h 183845"/>
                  <a:gd name="connsiteX8" fmla="*/ 36815 w 42697"/>
                  <a:gd name="connsiteY8" fmla="*/ 29563 h 183845"/>
                  <a:gd name="connsiteX9" fmla="*/ 13228 w 42697"/>
                  <a:gd name="connsiteY9" fmla="*/ 23852 h 183845"/>
                  <a:gd name="connsiteX10" fmla="*/ 12931 w 42697"/>
                  <a:gd name="connsiteY10" fmla="*/ 160332 h 183845"/>
                  <a:gd name="connsiteX11" fmla="*/ 32859 w 42697"/>
                  <a:gd name="connsiteY11" fmla="*/ 170716 h 183845"/>
                  <a:gd name="connsiteX12" fmla="*/ 40672 w 42697"/>
                  <a:gd name="connsiteY12" fmla="*/ 175439 h 183845"/>
                  <a:gd name="connsiteX13" fmla="*/ 36172 w 42697"/>
                  <a:gd name="connsiteY13" fmla="*/ 183252 h 183845"/>
                  <a:gd name="connsiteX14" fmla="*/ 30782 w 42697"/>
                  <a:gd name="connsiteY14" fmla="*/ 183845 h 1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697" h="183845">
                    <a:moveTo>
                      <a:pt x="30782" y="183845"/>
                    </a:moveTo>
                    <a:cubicBezTo>
                      <a:pt x="23933" y="183845"/>
                      <a:pt x="11769" y="181348"/>
                      <a:pt x="1162" y="166167"/>
                    </a:cubicBezTo>
                    <a:cubicBezTo>
                      <a:pt x="396" y="165079"/>
                      <a:pt x="0" y="163769"/>
                      <a:pt x="0" y="162434"/>
                    </a:cubicBezTo>
                    <a:lnTo>
                      <a:pt x="321" y="6446"/>
                    </a:lnTo>
                    <a:cubicBezTo>
                      <a:pt x="321" y="3355"/>
                      <a:pt x="2497" y="710"/>
                      <a:pt x="5514" y="116"/>
                    </a:cubicBezTo>
                    <a:cubicBezTo>
                      <a:pt x="8530" y="-452"/>
                      <a:pt x="11571" y="1105"/>
                      <a:pt x="12758" y="3948"/>
                    </a:cubicBezTo>
                    <a:cubicBezTo>
                      <a:pt x="18618" y="17844"/>
                      <a:pt x="34985" y="16682"/>
                      <a:pt x="35678" y="16657"/>
                    </a:cubicBezTo>
                    <a:cubicBezTo>
                      <a:pt x="39263" y="16385"/>
                      <a:pt x="42378" y="19006"/>
                      <a:pt x="42675" y="22566"/>
                    </a:cubicBezTo>
                    <a:cubicBezTo>
                      <a:pt x="42971" y="26127"/>
                      <a:pt x="40375" y="29242"/>
                      <a:pt x="36815" y="29563"/>
                    </a:cubicBezTo>
                    <a:cubicBezTo>
                      <a:pt x="36073" y="29613"/>
                      <a:pt x="23884" y="30602"/>
                      <a:pt x="13228" y="23852"/>
                    </a:cubicBezTo>
                    <a:lnTo>
                      <a:pt x="12931" y="160332"/>
                    </a:lnTo>
                    <a:cubicBezTo>
                      <a:pt x="22623" y="172917"/>
                      <a:pt x="32414" y="170815"/>
                      <a:pt x="32859" y="170716"/>
                    </a:cubicBezTo>
                    <a:cubicBezTo>
                      <a:pt x="36271" y="169925"/>
                      <a:pt x="39807" y="172002"/>
                      <a:pt x="40672" y="175439"/>
                    </a:cubicBezTo>
                    <a:cubicBezTo>
                      <a:pt x="41537" y="178851"/>
                      <a:pt x="39559" y="182337"/>
                      <a:pt x="36172" y="183252"/>
                    </a:cubicBezTo>
                    <a:cubicBezTo>
                      <a:pt x="35925" y="183326"/>
                      <a:pt x="33922" y="183845"/>
                      <a:pt x="30782" y="183845"/>
                    </a:cubicBezTo>
                    <a:close/>
                  </a:path>
                </a:pathLst>
              </a:custGeom>
              <a:solidFill>
                <a:schemeClr val="accent1"/>
              </a:solidFill>
              <a:ln w="2469" cap="flat">
                <a:noFill/>
                <a:prstDash val="solid"/>
                <a:miter/>
              </a:ln>
            </p:spPr>
            <p:txBody>
              <a:bodyPr rtlCol="0" anchor="ctr"/>
              <a:lstStyle/>
              <a:p>
                <a:endParaRPr lang="en-GB" dirty="0"/>
              </a:p>
            </p:txBody>
          </p:sp>
          <p:sp>
            <p:nvSpPr>
              <p:cNvPr id="638" name="Freihandform: Form 964">
                <a:extLst>
                  <a:ext uri="{FF2B5EF4-FFF2-40B4-BE49-F238E27FC236}">
                    <a16:creationId xmlns:a16="http://schemas.microsoft.com/office/drawing/2014/main" id="{AD1EFCA7-E377-4744-ACB9-166E38EF8777}"/>
                  </a:ext>
                </a:extLst>
              </p:cNvPr>
              <p:cNvSpPr/>
              <p:nvPr/>
            </p:nvSpPr>
            <p:spPr>
              <a:xfrm>
                <a:off x="5546053" y="3543666"/>
                <a:ext cx="110357" cy="74935"/>
              </a:xfrm>
              <a:custGeom>
                <a:avLst/>
                <a:gdLst>
                  <a:gd name="connsiteX0" fmla="*/ 6483 w 110357"/>
                  <a:gd name="connsiteY0" fmla="*/ 74935 h 74935"/>
                  <a:gd name="connsiteX1" fmla="*/ 1019 w 110357"/>
                  <a:gd name="connsiteY1" fmla="*/ 71943 h 74935"/>
                  <a:gd name="connsiteX2" fmla="*/ 2997 w 110357"/>
                  <a:gd name="connsiteY2" fmla="*/ 62993 h 74935"/>
                  <a:gd name="connsiteX3" fmla="*/ 100388 w 110357"/>
                  <a:gd name="connsiteY3" fmla="*/ 1008 h 74935"/>
                  <a:gd name="connsiteX4" fmla="*/ 109338 w 110357"/>
                  <a:gd name="connsiteY4" fmla="*/ 2986 h 74935"/>
                  <a:gd name="connsiteX5" fmla="*/ 107360 w 110357"/>
                  <a:gd name="connsiteY5" fmla="*/ 11937 h 74935"/>
                  <a:gd name="connsiteX6" fmla="*/ 9970 w 110357"/>
                  <a:gd name="connsiteY6" fmla="*/ 73921 h 74935"/>
                  <a:gd name="connsiteX7" fmla="*/ 6483 w 110357"/>
                  <a:gd name="connsiteY7" fmla="*/ 74935 h 74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57" h="74935">
                    <a:moveTo>
                      <a:pt x="6483" y="74935"/>
                    </a:moveTo>
                    <a:cubicBezTo>
                      <a:pt x="4332" y="74935"/>
                      <a:pt x="2255" y="73872"/>
                      <a:pt x="1019" y="71943"/>
                    </a:cubicBezTo>
                    <a:cubicBezTo>
                      <a:pt x="-909" y="68927"/>
                      <a:pt x="-19" y="64922"/>
                      <a:pt x="2997" y="62993"/>
                    </a:cubicBezTo>
                    <a:lnTo>
                      <a:pt x="100388" y="1008"/>
                    </a:lnTo>
                    <a:cubicBezTo>
                      <a:pt x="103404" y="-895"/>
                      <a:pt x="107410" y="-30"/>
                      <a:pt x="109338" y="2986"/>
                    </a:cubicBezTo>
                    <a:cubicBezTo>
                      <a:pt x="111267" y="6003"/>
                      <a:pt x="110376" y="10008"/>
                      <a:pt x="107360" y="11937"/>
                    </a:cubicBezTo>
                    <a:lnTo>
                      <a:pt x="9970" y="73921"/>
                    </a:lnTo>
                    <a:cubicBezTo>
                      <a:pt x="8857" y="74614"/>
                      <a:pt x="7670" y="74935"/>
                      <a:pt x="6483" y="74935"/>
                    </a:cubicBezTo>
                    <a:close/>
                  </a:path>
                </a:pathLst>
              </a:custGeom>
              <a:solidFill>
                <a:schemeClr val="accent1"/>
              </a:solidFill>
              <a:ln w="2469" cap="flat">
                <a:noFill/>
                <a:prstDash val="solid"/>
                <a:miter/>
              </a:ln>
            </p:spPr>
            <p:txBody>
              <a:bodyPr rtlCol="0" anchor="ctr"/>
              <a:lstStyle/>
              <a:p>
                <a:endParaRPr lang="en-GB" dirty="0"/>
              </a:p>
            </p:txBody>
          </p:sp>
          <p:sp>
            <p:nvSpPr>
              <p:cNvPr id="639" name="Freihandform: Form 965">
                <a:extLst>
                  <a:ext uri="{FF2B5EF4-FFF2-40B4-BE49-F238E27FC236}">
                    <a16:creationId xmlns:a16="http://schemas.microsoft.com/office/drawing/2014/main" id="{7EEEF57C-8093-4E6C-BAD8-D206238F187F}"/>
                  </a:ext>
                </a:extLst>
              </p:cNvPr>
              <p:cNvSpPr/>
              <p:nvPr/>
            </p:nvSpPr>
            <p:spPr>
              <a:xfrm>
                <a:off x="5513397" y="3591213"/>
                <a:ext cx="42697" cy="183845"/>
              </a:xfrm>
              <a:custGeom>
                <a:avLst/>
                <a:gdLst>
                  <a:gd name="connsiteX0" fmla="*/ 30807 w 42697"/>
                  <a:gd name="connsiteY0" fmla="*/ 183845 h 183845"/>
                  <a:gd name="connsiteX1" fmla="*/ 1162 w 42697"/>
                  <a:gd name="connsiteY1" fmla="*/ 166167 h 183845"/>
                  <a:gd name="connsiteX2" fmla="*/ 0 w 42697"/>
                  <a:gd name="connsiteY2" fmla="*/ 162434 h 183845"/>
                  <a:gd name="connsiteX3" fmla="*/ 321 w 42697"/>
                  <a:gd name="connsiteY3" fmla="*/ 6446 h 183845"/>
                  <a:gd name="connsiteX4" fmla="*/ 5514 w 42697"/>
                  <a:gd name="connsiteY4" fmla="*/ 116 h 183845"/>
                  <a:gd name="connsiteX5" fmla="*/ 12758 w 42697"/>
                  <a:gd name="connsiteY5" fmla="*/ 3948 h 183845"/>
                  <a:gd name="connsiteX6" fmla="*/ 35678 w 42697"/>
                  <a:gd name="connsiteY6" fmla="*/ 16657 h 183845"/>
                  <a:gd name="connsiteX7" fmla="*/ 42675 w 42697"/>
                  <a:gd name="connsiteY7" fmla="*/ 22566 h 183845"/>
                  <a:gd name="connsiteX8" fmla="*/ 36815 w 42697"/>
                  <a:gd name="connsiteY8" fmla="*/ 29563 h 183845"/>
                  <a:gd name="connsiteX9" fmla="*/ 13228 w 42697"/>
                  <a:gd name="connsiteY9" fmla="*/ 23852 h 183845"/>
                  <a:gd name="connsiteX10" fmla="*/ 12931 w 42697"/>
                  <a:gd name="connsiteY10" fmla="*/ 160332 h 183845"/>
                  <a:gd name="connsiteX11" fmla="*/ 32859 w 42697"/>
                  <a:gd name="connsiteY11" fmla="*/ 170716 h 183845"/>
                  <a:gd name="connsiteX12" fmla="*/ 40672 w 42697"/>
                  <a:gd name="connsiteY12" fmla="*/ 175439 h 183845"/>
                  <a:gd name="connsiteX13" fmla="*/ 36172 w 42697"/>
                  <a:gd name="connsiteY13" fmla="*/ 183252 h 183845"/>
                  <a:gd name="connsiteX14" fmla="*/ 30807 w 42697"/>
                  <a:gd name="connsiteY14" fmla="*/ 183845 h 1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697" h="183845">
                    <a:moveTo>
                      <a:pt x="30807" y="183845"/>
                    </a:moveTo>
                    <a:cubicBezTo>
                      <a:pt x="23958" y="183845"/>
                      <a:pt x="11794" y="181348"/>
                      <a:pt x="1162" y="166167"/>
                    </a:cubicBezTo>
                    <a:cubicBezTo>
                      <a:pt x="396" y="165079"/>
                      <a:pt x="0" y="163769"/>
                      <a:pt x="0" y="162434"/>
                    </a:cubicBezTo>
                    <a:lnTo>
                      <a:pt x="321" y="6446"/>
                    </a:lnTo>
                    <a:cubicBezTo>
                      <a:pt x="321" y="3355"/>
                      <a:pt x="2497" y="710"/>
                      <a:pt x="5514" y="116"/>
                    </a:cubicBezTo>
                    <a:cubicBezTo>
                      <a:pt x="8530" y="-453"/>
                      <a:pt x="11571" y="1105"/>
                      <a:pt x="12758" y="3948"/>
                    </a:cubicBezTo>
                    <a:cubicBezTo>
                      <a:pt x="18642" y="17868"/>
                      <a:pt x="34985" y="16706"/>
                      <a:pt x="35678" y="16657"/>
                    </a:cubicBezTo>
                    <a:cubicBezTo>
                      <a:pt x="39189" y="16410"/>
                      <a:pt x="42353" y="19006"/>
                      <a:pt x="42675" y="22566"/>
                    </a:cubicBezTo>
                    <a:cubicBezTo>
                      <a:pt x="42971" y="26126"/>
                      <a:pt x="40375" y="29242"/>
                      <a:pt x="36815" y="29563"/>
                    </a:cubicBezTo>
                    <a:cubicBezTo>
                      <a:pt x="36073" y="29613"/>
                      <a:pt x="23884" y="30602"/>
                      <a:pt x="13228" y="23852"/>
                    </a:cubicBezTo>
                    <a:lnTo>
                      <a:pt x="12931" y="160332"/>
                    </a:lnTo>
                    <a:cubicBezTo>
                      <a:pt x="22623" y="172917"/>
                      <a:pt x="32414" y="170815"/>
                      <a:pt x="32859" y="170716"/>
                    </a:cubicBezTo>
                    <a:cubicBezTo>
                      <a:pt x="36296" y="169925"/>
                      <a:pt x="39807" y="172002"/>
                      <a:pt x="40672" y="175439"/>
                    </a:cubicBezTo>
                    <a:cubicBezTo>
                      <a:pt x="41537" y="178851"/>
                      <a:pt x="39559" y="182337"/>
                      <a:pt x="36172" y="183252"/>
                    </a:cubicBezTo>
                    <a:cubicBezTo>
                      <a:pt x="35925" y="183326"/>
                      <a:pt x="33922" y="183845"/>
                      <a:pt x="30807" y="183845"/>
                    </a:cubicBezTo>
                    <a:close/>
                  </a:path>
                </a:pathLst>
              </a:custGeom>
              <a:solidFill>
                <a:schemeClr val="accent1"/>
              </a:solidFill>
              <a:ln w="2469" cap="flat">
                <a:noFill/>
                <a:prstDash val="solid"/>
                <a:miter/>
              </a:ln>
            </p:spPr>
            <p:txBody>
              <a:bodyPr rtlCol="0" anchor="ctr"/>
              <a:lstStyle/>
              <a:p>
                <a:endParaRPr lang="en-GB" dirty="0"/>
              </a:p>
            </p:txBody>
          </p:sp>
          <p:sp>
            <p:nvSpPr>
              <p:cNvPr id="640" name="Freihandform: Form 966">
                <a:extLst>
                  <a:ext uri="{FF2B5EF4-FFF2-40B4-BE49-F238E27FC236}">
                    <a16:creationId xmlns:a16="http://schemas.microsoft.com/office/drawing/2014/main" id="{A9074D59-A700-43FD-8F3E-8EA5A1854A49}"/>
                  </a:ext>
                </a:extLst>
              </p:cNvPr>
              <p:cNvSpPr/>
              <p:nvPr/>
            </p:nvSpPr>
            <p:spPr>
              <a:xfrm>
                <a:off x="5515864" y="3527980"/>
                <a:ext cx="110357" cy="74946"/>
              </a:xfrm>
              <a:custGeom>
                <a:avLst/>
                <a:gdLst>
                  <a:gd name="connsiteX0" fmla="*/ 6483 w 110357"/>
                  <a:gd name="connsiteY0" fmla="*/ 74946 h 74946"/>
                  <a:gd name="connsiteX1" fmla="*/ 1019 w 110357"/>
                  <a:gd name="connsiteY1" fmla="*/ 71954 h 74946"/>
                  <a:gd name="connsiteX2" fmla="*/ 2997 w 110357"/>
                  <a:gd name="connsiteY2" fmla="*/ 63004 h 74946"/>
                  <a:gd name="connsiteX3" fmla="*/ 100388 w 110357"/>
                  <a:gd name="connsiteY3" fmla="*/ 1019 h 74946"/>
                  <a:gd name="connsiteX4" fmla="*/ 109338 w 110357"/>
                  <a:gd name="connsiteY4" fmla="*/ 2997 h 74946"/>
                  <a:gd name="connsiteX5" fmla="*/ 107360 w 110357"/>
                  <a:gd name="connsiteY5" fmla="*/ 11947 h 74946"/>
                  <a:gd name="connsiteX6" fmla="*/ 9970 w 110357"/>
                  <a:gd name="connsiteY6" fmla="*/ 73932 h 74946"/>
                  <a:gd name="connsiteX7" fmla="*/ 6483 w 110357"/>
                  <a:gd name="connsiteY7" fmla="*/ 74946 h 7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57" h="74946">
                    <a:moveTo>
                      <a:pt x="6483" y="74946"/>
                    </a:moveTo>
                    <a:cubicBezTo>
                      <a:pt x="4332" y="74946"/>
                      <a:pt x="2255" y="73883"/>
                      <a:pt x="1019" y="71954"/>
                    </a:cubicBezTo>
                    <a:cubicBezTo>
                      <a:pt x="-909" y="68938"/>
                      <a:pt x="-19" y="64932"/>
                      <a:pt x="2997" y="63004"/>
                    </a:cubicBezTo>
                    <a:lnTo>
                      <a:pt x="100388" y="1019"/>
                    </a:lnTo>
                    <a:cubicBezTo>
                      <a:pt x="103404" y="-909"/>
                      <a:pt x="107409" y="-19"/>
                      <a:pt x="109338" y="2997"/>
                    </a:cubicBezTo>
                    <a:cubicBezTo>
                      <a:pt x="111267" y="6014"/>
                      <a:pt x="110376" y="10019"/>
                      <a:pt x="107360" y="11947"/>
                    </a:cubicBezTo>
                    <a:lnTo>
                      <a:pt x="9970" y="73932"/>
                    </a:lnTo>
                    <a:cubicBezTo>
                      <a:pt x="8882" y="74625"/>
                      <a:pt x="7670" y="74946"/>
                      <a:pt x="6483" y="74946"/>
                    </a:cubicBezTo>
                    <a:close/>
                  </a:path>
                </a:pathLst>
              </a:custGeom>
              <a:solidFill>
                <a:schemeClr val="accent1"/>
              </a:solidFill>
              <a:ln w="2469" cap="flat">
                <a:noFill/>
                <a:prstDash val="solid"/>
                <a:miter/>
              </a:ln>
            </p:spPr>
            <p:txBody>
              <a:bodyPr rtlCol="0" anchor="ctr"/>
              <a:lstStyle/>
              <a:p>
                <a:endParaRPr lang="en-GB" dirty="0"/>
              </a:p>
            </p:txBody>
          </p:sp>
          <p:sp>
            <p:nvSpPr>
              <p:cNvPr id="641" name="Freihandform: Form 967">
                <a:extLst>
                  <a:ext uri="{FF2B5EF4-FFF2-40B4-BE49-F238E27FC236}">
                    <a16:creationId xmlns:a16="http://schemas.microsoft.com/office/drawing/2014/main" id="{1DCEDC5D-5A1A-47DC-94D4-799CCBCF84F0}"/>
                  </a:ext>
                </a:extLst>
              </p:cNvPr>
              <p:cNvSpPr/>
              <p:nvPr/>
            </p:nvSpPr>
            <p:spPr>
              <a:xfrm>
                <a:off x="5483802" y="3575859"/>
                <a:ext cx="42726" cy="183820"/>
              </a:xfrm>
              <a:custGeom>
                <a:avLst/>
                <a:gdLst>
                  <a:gd name="connsiteX0" fmla="*/ 30807 w 42726"/>
                  <a:gd name="connsiteY0" fmla="*/ 183820 h 183820"/>
                  <a:gd name="connsiteX1" fmla="*/ 1162 w 42726"/>
                  <a:gd name="connsiteY1" fmla="*/ 166167 h 183820"/>
                  <a:gd name="connsiteX2" fmla="*/ 0 w 42726"/>
                  <a:gd name="connsiteY2" fmla="*/ 162434 h 183820"/>
                  <a:gd name="connsiteX3" fmla="*/ 321 w 42726"/>
                  <a:gd name="connsiteY3" fmla="*/ 6446 h 183820"/>
                  <a:gd name="connsiteX4" fmla="*/ 5514 w 42726"/>
                  <a:gd name="connsiteY4" fmla="*/ 116 h 183820"/>
                  <a:gd name="connsiteX5" fmla="*/ 12758 w 42726"/>
                  <a:gd name="connsiteY5" fmla="*/ 3948 h 183820"/>
                  <a:gd name="connsiteX6" fmla="*/ 35653 w 42726"/>
                  <a:gd name="connsiteY6" fmla="*/ 16657 h 183820"/>
                  <a:gd name="connsiteX7" fmla="*/ 42700 w 42726"/>
                  <a:gd name="connsiteY7" fmla="*/ 22517 h 183820"/>
                  <a:gd name="connsiteX8" fmla="*/ 36840 w 42726"/>
                  <a:gd name="connsiteY8" fmla="*/ 29563 h 183820"/>
                  <a:gd name="connsiteX9" fmla="*/ 13252 w 42726"/>
                  <a:gd name="connsiteY9" fmla="*/ 23852 h 183820"/>
                  <a:gd name="connsiteX10" fmla="*/ 12956 w 42726"/>
                  <a:gd name="connsiteY10" fmla="*/ 160332 h 183820"/>
                  <a:gd name="connsiteX11" fmla="*/ 32760 w 42726"/>
                  <a:gd name="connsiteY11" fmla="*/ 170741 h 183820"/>
                  <a:gd name="connsiteX12" fmla="*/ 40722 w 42726"/>
                  <a:gd name="connsiteY12" fmla="*/ 175290 h 183820"/>
                  <a:gd name="connsiteX13" fmla="*/ 36172 w 42726"/>
                  <a:gd name="connsiteY13" fmla="*/ 183252 h 183820"/>
                  <a:gd name="connsiteX14" fmla="*/ 30807 w 42726"/>
                  <a:gd name="connsiteY14" fmla="*/ 183820 h 183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726" h="183820">
                    <a:moveTo>
                      <a:pt x="30807" y="183820"/>
                    </a:moveTo>
                    <a:cubicBezTo>
                      <a:pt x="23983" y="183820"/>
                      <a:pt x="11794" y="181323"/>
                      <a:pt x="1162" y="166167"/>
                    </a:cubicBezTo>
                    <a:cubicBezTo>
                      <a:pt x="396" y="165079"/>
                      <a:pt x="0" y="163769"/>
                      <a:pt x="0" y="162434"/>
                    </a:cubicBezTo>
                    <a:lnTo>
                      <a:pt x="321" y="6446"/>
                    </a:lnTo>
                    <a:cubicBezTo>
                      <a:pt x="321" y="3355"/>
                      <a:pt x="2497" y="710"/>
                      <a:pt x="5514" y="116"/>
                    </a:cubicBezTo>
                    <a:cubicBezTo>
                      <a:pt x="8530" y="-452"/>
                      <a:pt x="11571" y="1105"/>
                      <a:pt x="12758" y="3948"/>
                    </a:cubicBezTo>
                    <a:cubicBezTo>
                      <a:pt x="18692" y="18017"/>
                      <a:pt x="35480" y="16682"/>
                      <a:pt x="35653" y="16657"/>
                    </a:cubicBezTo>
                    <a:cubicBezTo>
                      <a:pt x="39238" y="16311"/>
                      <a:pt x="42378" y="18956"/>
                      <a:pt x="42700" y="22517"/>
                    </a:cubicBezTo>
                    <a:cubicBezTo>
                      <a:pt x="43021" y="26077"/>
                      <a:pt x="40400" y="29242"/>
                      <a:pt x="36840" y="29563"/>
                    </a:cubicBezTo>
                    <a:cubicBezTo>
                      <a:pt x="36098" y="29613"/>
                      <a:pt x="23909" y="30602"/>
                      <a:pt x="13252" y="23852"/>
                    </a:cubicBezTo>
                    <a:lnTo>
                      <a:pt x="12956" y="160332"/>
                    </a:lnTo>
                    <a:cubicBezTo>
                      <a:pt x="22747" y="173016"/>
                      <a:pt x="32661" y="170766"/>
                      <a:pt x="32760" y="170741"/>
                    </a:cubicBezTo>
                    <a:cubicBezTo>
                      <a:pt x="36222" y="169777"/>
                      <a:pt x="39782" y="171829"/>
                      <a:pt x="40722" y="175290"/>
                    </a:cubicBezTo>
                    <a:cubicBezTo>
                      <a:pt x="41661" y="178752"/>
                      <a:pt x="39634" y="182312"/>
                      <a:pt x="36172" y="183252"/>
                    </a:cubicBezTo>
                    <a:cubicBezTo>
                      <a:pt x="35925" y="183301"/>
                      <a:pt x="33922" y="183820"/>
                      <a:pt x="30807" y="183820"/>
                    </a:cubicBezTo>
                    <a:close/>
                  </a:path>
                </a:pathLst>
              </a:custGeom>
              <a:solidFill>
                <a:schemeClr val="accent1"/>
              </a:solidFill>
              <a:ln w="2469" cap="flat">
                <a:noFill/>
                <a:prstDash val="solid"/>
                <a:miter/>
              </a:ln>
            </p:spPr>
            <p:txBody>
              <a:bodyPr rtlCol="0" anchor="ctr"/>
              <a:lstStyle/>
              <a:p>
                <a:endParaRPr lang="en-GB" dirty="0"/>
              </a:p>
            </p:txBody>
          </p:sp>
          <p:sp>
            <p:nvSpPr>
              <p:cNvPr id="642" name="Freihandform: Form 968">
                <a:extLst>
                  <a:ext uri="{FF2B5EF4-FFF2-40B4-BE49-F238E27FC236}">
                    <a16:creationId xmlns:a16="http://schemas.microsoft.com/office/drawing/2014/main" id="{42B520B2-FFF3-4711-8822-035D86A1EFFA}"/>
                  </a:ext>
                </a:extLst>
              </p:cNvPr>
              <p:cNvSpPr/>
              <p:nvPr/>
            </p:nvSpPr>
            <p:spPr>
              <a:xfrm>
                <a:off x="5486269" y="3512587"/>
                <a:ext cx="110357" cy="74959"/>
              </a:xfrm>
              <a:custGeom>
                <a:avLst/>
                <a:gdLst>
                  <a:gd name="connsiteX0" fmla="*/ 6483 w 110357"/>
                  <a:gd name="connsiteY0" fmla="*/ 74960 h 74959"/>
                  <a:gd name="connsiteX1" fmla="*/ 1019 w 110357"/>
                  <a:gd name="connsiteY1" fmla="*/ 71968 h 74959"/>
                  <a:gd name="connsiteX2" fmla="*/ 2997 w 110357"/>
                  <a:gd name="connsiteY2" fmla="*/ 63018 h 74959"/>
                  <a:gd name="connsiteX3" fmla="*/ 100388 w 110357"/>
                  <a:gd name="connsiteY3" fmla="*/ 1008 h 74959"/>
                  <a:gd name="connsiteX4" fmla="*/ 109338 w 110357"/>
                  <a:gd name="connsiteY4" fmla="*/ 2986 h 74959"/>
                  <a:gd name="connsiteX5" fmla="*/ 107360 w 110357"/>
                  <a:gd name="connsiteY5" fmla="*/ 11937 h 74959"/>
                  <a:gd name="connsiteX6" fmla="*/ 9970 w 110357"/>
                  <a:gd name="connsiteY6" fmla="*/ 73946 h 74959"/>
                  <a:gd name="connsiteX7" fmla="*/ 6483 w 110357"/>
                  <a:gd name="connsiteY7" fmla="*/ 74960 h 7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57" h="74959">
                    <a:moveTo>
                      <a:pt x="6483" y="74960"/>
                    </a:moveTo>
                    <a:cubicBezTo>
                      <a:pt x="4332" y="74960"/>
                      <a:pt x="2255" y="73897"/>
                      <a:pt x="1019" y="71968"/>
                    </a:cubicBezTo>
                    <a:cubicBezTo>
                      <a:pt x="-909" y="68952"/>
                      <a:pt x="-19" y="64946"/>
                      <a:pt x="2997" y="63018"/>
                    </a:cubicBezTo>
                    <a:lnTo>
                      <a:pt x="100388" y="1008"/>
                    </a:lnTo>
                    <a:cubicBezTo>
                      <a:pt x="103404" y="-895"/>
                      <a:pt x="107409" y="-30"/>
                      <a:pt x="109338" y="2986"/>
                    </a:cubicBezTo>
                    <a:cubicBezTo>
                      <a:pt x="111267" y="6003"/>
                      <a:pt x="110376" y="10008"/>
                      <a:pt x="107360" y="11937"/>
                    </a:cubicBezTo>
                    <a:lnTo>
                      <a:pt x="9970" y="73946"/>
                    </a:lnTo>
                    <a:cubicBezTo>
                      <a:pt x="8882" y="74638"/>
                      <a:pt x="7670" y="74960"/>
                      <a:pt x="6483" y="74960"/>
                    </a:cubicBezTo>
                    <a:close/>
                  </a:path>
                </a:pathLst>
              </a:custGeom>
              <a:solidFill>
                <a:schemeClr val="accent1"/>
              </a:solidFill>
              <a:ln w="2469" cap="flat">
                <a:noFill/>
                <a:prstDash val="solid"/>
                <a:miter/>
              </a:ln>
            </p:spPr>
            <p:txBody>
              <a:bodyPr rtlCol="0" anchor="ctr"/>
              <a:lstStyle/>
              <a:p>
                <a:endParaRPr lang="en-GB" dirty="0"/>
              </a:p>
            </p:txBody>
          </p:sp>
        </p:grpSp>
        <p:grpSp>
          <p:nvGrpSpPr>
            <p:cNvPr id="630" name="Grafik 199">
              <a:extLst>
                <a:ext uri="{FF2B5EF4-FFF2-40B4-BE49-F238E27FC236}">
                  <a16:creationId xmlns:a16="http://schemas.microsoft.com/office/drawing/2014/main" id="{337F1C30-0D4F-4223-BC33-03DC4C314D0D}"/>
                </a:ext>
              </a:extLst>
            </p:cNvPr>
            <p:cNvGrpSpPr/>
            <p:nvPr/>
          </p:nvGrpSpPr>
          <p:grpSpPr>
            <a:xfrm>
              <a:off x="7134519" y="4040086"/>
              <a:ext cx="184699" cy="432000"/>
              <a:chOff x="5339509" y="3337234"/>
              <a:chExt cx="193901" cy="453524"/>
            </a:xfrm>
            <a:solidFill>
              <a:schemeClr val="tx2"/>
            </a:solidFill>
          </p:grpSpPr>
          <p:sp>
            <p:nvSpPr>
              <p:cNvPr id="631" name="Freihandform: Form 970">
                <a:extLst>
                  <a:ext uri="{FF2B5EF4-FFF2-40B4-BE49-F238E27FC236}">
                    <a16:creationId xmlns:a16="http://schemas.microsoft.com/office/drawing/2014/main" id="{05FF813E-637B-4F82-934D-173B4E23382B}"/>
                  </a:ext>
                </a:extLst>
              </p:cNvPr>
              <p:cNvSpPr/>
              <p:nvPr/>
            </p:nvSpPr>
            <p:spPr>
              <a:xfrm>
                <a:off x="5371923" y="3551028"/>
                <a:ext cx="19433" cy="239730"/>
              </a:xfrm>
              <a:custGeom>
                <a:avLst/>
                <a:gdLst>
                  <a:gd name="connsiteX0" fmla="*/ 12956 w 19433"/>
                  <a:gd name="connsiteY0" fmla="*/ 239730 h 239730"/>
                  <a:gd name="connsiteX1" fmla="*/ 6478 w 19433"/>
                  <a:gd name="connsiteY1" fmla="*/ 233252 h 239730"/>
                  <a:gd name="connsiteX2" fmla="*/ 6478 w 19433"/>
                  <a:gd name="connsiteY2" fmla="*/ 12956 h 239730"/>
                  <a:gd name="connsiteX3" fmla="*/ 0 w 19433"/>
                  <a:gd name="connsiteY3" fmla="*/ 6478 h 239730"/>
                  <a:gd name="connsiteX4" fmla="*/ 6478 w 19433"/>
                  <a:gd name="connsiteY4" fmla="*/ 0 h 239730"/>
                  <a:gd name="connsiteX5" fmla="*/ 12956 w 19433"/>
                  <a:gd name="connsiteY5" fmla="*/ 0 h 239730"/>
                  <a:gd name="connsiteX6" fmla="*/ 19434 w 19433"/>
                  <a:gd name="connsiteY6" fmla="*/ 6478 h 239730"/>
                  <a:gd name="connsiteX7" fmla="*/ 19434 w 19433"/>
                  <a:gd name="connsiteY7" fmla="*/ 233252 h 239730"/>
                  <a:gd name="connsiteX8" fmla="*/ 12956 w 19433"/>
                  <a:gd name="connsiteY8" fmla="*/ 239730 h 23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33" h="239730">
                    <a:moveTo>
                      <a:pt x="12956" y="239730"/>
                    </a:moveTo>
                    <a:cubicBezTo>
                      <a:pt x="9371" y="239730"/>
                      <a:pt x="6478" y="236837"/>
                      <a:pt x="6478" y="233252"/>
                    </a:cubicBezTo>
                    <a:lnTo>
                      <a:pt x="6478" y="12956"/>
                    </a:lnTo>
                    <a:cubicBezTo>
                      <a:pt x="2893" y="12956"/>
                      <a:pt x="0" y="10063"/>
                      <a:pt x="0" y="6478"/>
                    </a:cubicBezTo>
                    <a:cubicBezTo>
                      <a:pt x="0" y="2893"/>
                      <a:pt x="2893" y="0"/>
                      <a:pt x="6478" y="0"/>
                    </a:cubicBezTo>
                    <a:lnTo>
                      <a:pt x="12956" y="0"/>
                    </a:lnTo>
                    <a:cubicBezTo>
                      <a:pt x="16541" y="0"/>
                      <a:pt x="19434" y="2893"/>
                      <a:pt x="19434" y="6478"/>
                    </a:cubicBezTo>
                    <a:lnTo>
                      <a:pt x="19434" y="233252"/>
                    </a:lnTo>
                    <a:cubicBezTo>
                      <a:pt x="19434" y="236837"/>
                      <a:pt x="16516" y="239730"/>
                      <a:pt x="12956" y="239730"/>
                    </a:cubicBezTo>
                    <a:close/>
                  </a:path>
                </a:pathLst>
              </a:custGeom>
              <a:grpFill/>
              <a:ln w="2469" cap="flat">
                <a:noFill/>
                <a:prstDash val="solid"/>
                <a:miter/>
              </a:ln>
            </p:spPr>
            <p:txBody>
              <a:bodyPr rtlCol="0" anchor="ctr"/>
              <a:lstStyle/>
              <a:p>
                <a:endParaRPr lang="en-GB" dirty="0"/>
              </a:p>
            </p:txBody>
          </p:sp>
          <p:sp>
            <p:nvSpPr>
              <p:cNvPr id="632" name="Freihandform: Form 971">
                <a:extLst>
                  <a:ext uri="{FF2B5EF4-FFF2-40B4-BE49-F238E27FC236}">
                    <a16:creationId xmlns:a16="http://schemas.microsoft.com/office/drawing/2014/main" id="{F383DFA1-E266-4393-B873-4831F2432D75}"/>
                  </a:ext>
                </a:extLst>
              </p:cNvPr>
              <p:cNvSpPr/>
              <p:nvPr/>
            </p:nvSpPr>
            <p:spPr>
              <a:xfrm>
                <a:off x="5482071" y="3764847"/>
                <a:ext cx="12955" cy="25911"/>
              </a:xfrm>
              <a:custGeom>
                <a:avLst/>
                <a:gdLst>
                  <a:gd name="connsiteX0" fmla="*/ 6478 w 12955"/>
                  <a:gd name="connsiteY0" fmla="*/ 25911 h 25911"/>
                  <a:gd name="connsiteX1" fmla="*/ 0 w 12955"/>
                  <a:gd name="connsiteY1" fmla="*/ 19434 h 25911"/>
                  <a:gd name="connsiteX2" fmla="*/ 0 w 12955"/>
                  <a:gd name="connsiteY2" fmla="*/ 6478 h 25911"/>
                  <a:gd name="connsiteX3" fmla="*/ 6478 w 12955"/>
                  <a:gd name="connsiteY3" fmla="*/ 0 h 25911"/>
                  <a:gd name="connsiteX4" fmla="*/ 12956 w 12955"/>
                  <a:gd name="connsiteY4" fmla="*/ 6478 h 25911"/>
                  <a:gd name="connsiteX5" fmla="*/ 12956 w 12955"/>
                  <a:gd name="connsiteY5" fmla="*/ 19434 h 25911"/>
                  <a:gd name="connsiteX6" fmla="*/ 6478 w 12955"/>
                  <a:gd name="connsiteY6" fmla="*/ 25911 h 2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25911">
                    <a:moveTo>
                      <a:pt x="6478" y="25911"/>
                    </a:moveTo>
                    <a:cubicBezTo>
                      <a:pt x="2893" y="25911"/>
                      <a:pt x="0" y="23019"/>
                      <a:pt x="0" y="19434"/>
                    </a:cubicBezTo>
                    <a:lnTo>
                      <a:pt x="0" y="6478"/>
                    </a:lnTo>
                    <a:cubicBezTo>
                      <a:pt x="0" y="2893"/>
                      <a:pt x="2893" y="0"/>
                      <a:pt x="6478" y="0"/>
                    </a:cubicBezTo>
                    <a:cubicBezTo>
                      <a:pt x="10063" y="0"/>
                      <a:pt x="12956" y="2893"/>
                      <a:pt x="12956" y="6478"/>
                    </a:cubicBezTo>
                    <a:lnTo>
                      <a:pt x="12956" y="19434"/>
                    </a:lnTo>
                    <a:cubicBezTo>
                      <a:pt x="12956" y="23019"/>
                      <a:pt x="10038" y="25911"/>
                      <a:pt x="6478" y="25911"/>
                    </a:cubicBezTo>
                    <a:close/>
                  </a:path>
                </a:pathLst>
              </a:custGeom>
              <a:grpFill/>
              <a:ln w="2469" cap="flat">
                <a:noFill/>
                <a:prstDash val="solid"/>
                <a:miter/>
              </a:ln>
            </p:spPr>
            <p:txBody>
              <a:bodyPr rtlCol="0" anchor="ctr"/>
              <a:lstStyle/>
              <a:p>
                <a:endParaRPr lang="en-GB" dirty="0"/>
              </a:p>
            </p:txBody>
          </p:sp>
          <p:sp>
            <p:nvSpPr>
              <p:cNvPr id="633" name="Freihandform: Form 972">
                <a:extLst>
                  <a:ext uri="{FF2B5EF4-FFF2-40B4-BE49-F238E27FC236}">
                    <a16:creationId xmlns:a16="http://schemas.microsoft.com/office/drawing/2014/main" id="{B95BFFE7-7098-4A7A-B87D-1C6A854EDAF8}"/>
                  </a:ext>
                </a:extLst>
              </p:cNvPr>
              <p:cNvSpPr/>
              <p:nvPr/>
            </p:nvSpPr>
            <p:spPr>
              <a:xfrm>
                <a:off x="5430223" y="3648221"/>
                <a:ext cx="12955" cy="142537"/>
              </a:xfrm>
              <a:custGeom>
                <a:avLst/>
                <a:gdLst>
                  <a:gd name="connsiteX0" fmla="*/ 6478 w 12955"/>
                  <a:gd name="connsiteY0" fmla="*/ 142538 h 142537"/>
                  <a:gd name="connsiteX1" fmla="*/ 0 w 12955"/>
                  <a:gd name="connsiteY1" fmla="*/ 136060 h 142537"/>
                  <a:gd name="connsiteX2" fmla="*/ 0 w 12955"/>
                  <a:gd name="connsiteY2" fmla="*/ 6478 h 142537"/>
                  <a:gd name="connsiteX3" fmla="*/ 6478 w 12955"/>
                  <a:gd name="connsiteY3" fmla="*/ 0 h 142537"/>
                  <a:gd name="connsiteX4" fmla="*/ 12956 w 12955"/>
                  <a:gd name="connsiteY4" fmla="*/ 6478 h 142537"/>
                  <a:gd name="connsiteX5" fmla="*/ 12956 w 12955"/>
                  <a:gd name="connsiteY5" fmla="*/ 136060 h 142537"/>
                  <a:gd name="connsiteX6" fmla="*/ 6478 w 12955"/>
                  <a:gd name="connsiteY6" fmla="*/ 142538 h 14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5" h="142537">
                    <a:moveTo>
                      <a:pt x="6478" y="142538"/>
                    </a:moveTo>
                    <a:cubicBezTo>
                      <a:pt x="2893" y="142538"/>
                      <a:pt x="0" y="139645"/>
                      <a:pt x="0" y="136060"/>
                    </a:cubicBezTo>
                    <a:lnTo>
                      <a:pt x="0" y="6478"/>
                    </a:lnTo>
                    <a:cubicBezTo>
                      <a:pt x="0" y="2893"/>
                      <a:pt x="2893" y="0"/>
                      <a:pt x="6478" y="0"/>
                    </a:cubicBezTo>
                    <a:cubicBezTo>
                      <a:pt x="10063" y="0"/>
                      <a:pt x="12956" y="2893"/>
                      <a:pt x="12956" y="6478"/>
                    </a:cubicBezTo>
                    <a:lnTo>
                      <a:pt x="12956" y="136060"/>
                    </a:lnTo>
                    <a:cubicBezTo>
                      <a:pt x="12956" y="139645"/>
                      <a:pt x="10063" y="142538"/>
                      <a:pt x="6478" y="142538"/>
                    </a:cubicBezTo>
                    <a:close/>
                  </a:path>
                </a:pathLst>
              </a:custGeom>
              <a:grpFill/>
              <a:ln w="2469" cap="flat">
                <a:noFill/>
                <a:prstDash val="solid"/>
                <a:miter/>
              </a:ln>
            </p:spPr>
            <p:txBody>
              <a:bodyPr rtlCol="0" anchor="ctr"/>
              <a:lstStyle/>
              <a:p>
                <a:endParaRPr lang="en-GB" dirty="0"/>
              </a:p>
            </p:txBody>
          </p:sp>
          <p:sp>
            <p:nvSpPr>
              <p:cNvPr id="634" name="Freihandform: Form 973">
                <a:extLst>
                  <a:ext uri="{FF2B5EF4-FFF2-40B4-BE49-F238E27FC236}">
                    <a16:creationId xmlns:a16="http://schemas.microsoft.com/office/drawing/2014/main" id="{299BB976-CA79-42F7-89A7-3113265B446A}"/>
                  </a:ext>
                </a:extLst>
              </p:cNvPr>
              <p:cNvSpPr/>
              <p:nvPr/>
            </p:nvSpPr>
            <p:spPr>
              <a:xfrm>
                <a:off x="5339509" y="3453836"/>
                <a:ext cx="193901" cy="213818"/>
              </a:xfrm>
              <a:custGeom>
                <a:avLst/>
                <a:gdLst>
                  <a:gd name="connsiteX0" fmla="*/ 19458 w 193901"/>
                  <a:gd name="connsiteY0" fmla="*/ 213819 h 213818"/>
                  <a:gd name="connsiteX1" fmla="*/ 6478 w 193901"/>
                  <a:gd name="connsiteY1" fmla="*/ 213819 h 213818"/>
                  <a:gd name="connsiteX2" fmla="*/ 0 w 193901"/>
                  <a:gd name="connsiteY2" fmla="*/ 207341 h 213818"/>
                  <a:gd name="connsiteX3" fmla="*/ 0 w 193901"/>
                  <a:gd name="connsiteY3" fmla="*/ 84237 h 213818"/>
                  <a:gd name="connsiteX4" fmla="*/ 77759 w 193901"/>
                  <a:gd name="connsiteY4" fmla="*/ 0 h 213818"/>
                  <a:gd name="connsiteX5" fmla="*/ 116626 w 193901"/>
                  <a:gd name="connsiteY5" fmla="*/ 0 h 213818"/>
                  <a:gd name="connsiteX6" fmla="*/ 193866 w 193901"/>
                  <a:gd name="connsiteY6" fmla="*/ 74001 h 213818"/>
                  <a:gd name="connsiteX7" fmla="*/ 188081 w 193901"/>
                  <a:gd name="connsiteY7" fmla="*/ 81097 h 213818"/>
                  <a:gd name="connsiteX8" fmla="*/ 180985 w 193901"/>
                  <a:gd name="connsiteY8" fmla="*/ 75311 h 213818"/>
                  <a:gd name="connsiteX9" fmla="*/ 116651 w 193901"/>
                  <a:gd name="connsiteY9" fmla="*/ 12956 h 213818"/>
                  <a:gd name="connsiteX10" fmla="*/ 77759 w 193901"/>
                  <a:gd name="connsiteY10" fmla="*/ 12956 h 213818"/>
                  <a:gd name="connsiteX11" fmla="*/ 12956 w 193901"/>
                  <a:gd name="connsiteY11" fmla="*/ 84237 h 213818"/>
                  <a:gd name="connsiteX12" fmla="*/ 12956 w 193901"/>
                  <a:gd name="connsiteY12" fmla="*/ 200863 h 213818"/>
                  <a:gd name="connsiteX13" fmla="*/ 19434 w 193901"/>
                  <a:gd name="connsiteY13" fmla="*/ 200863 h 213818"/>
                  <a:gd name="connsiteX14" fmla="*/ 25911 w 193901"/>
                  <a:gd name="connsiteY14" fmla="*/ 207341 h 213818"/>
                  <a:gd name="connsiteX15" fmla="*/ 19458 w 193901"/>
                  <a:gd name="connsiteY15" fmla="*/ 213819 h 21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3901" h="213818">
                    <a:moveTo>
                      <a:pt x="19458" y="213819"/>
                    </a:moveTo>
                    <a:lnTo>
                      <a:pt x="6478" y="213819"/>
                    </a:lnTo>
                    <a:cubicBezTo>
                      <a:pt x="2893" y="213819"/>
                      <a:pt x="0" y="210926"/>
                      <a:pt x="0" y="207341"/>
                    </a:cubicBezTo>
                    <a:lnTo>
                      <a:pt x="0" y="84237"/>
                    </a:lnTo>
                    <a:cubicBezTo>
                      <a:pt x="0" y="36222"/>
                      <a:pt x="33428" y="0"/>
                      <a:pt x="77759" y="0"/>
                    </a:cubicBezTo>
                    <a:lnTo>
                      <a:pt x="116626" y="0"/>
                    </a:lnTo>
                    <a:cubicBezTo>
                      <a:pt x="157644" y="0"/>
                      <a:pt x="189391" y="30436"/>
                      <a:pt x="193866" y="74001"/>
                    </a:cubicBezTo>
                    <a:cubicBezTo>
                      <a:pt x="194237" y="77561"/>
                      <a:pt x="191641" y="80751"/>
                      <a:pt x="188081" y="81097"/>
                    </a:cubicBezTo>
                    <a:cubicBezTo>
                      <a:pt x="184446" y="81394"/>
                      <a:pt x="181331" y="78872"/>
                      <a:pt x="180985" y="75311"/>
                    </a:cubicBezTo>
                    <a:cubicBezTo>
                      <a:pt x="177226" y="38595"/>
                      <a:pt x="150771" y="12956"/>
                      <a:pt x="116651" y="12956"/>
                    </a:cubicBezTo>
                    <a:lnTo>
                      <a:pt x="77759" y="12956"/>
                    </a:lnTo>
                    <a:cubicBezTo>
                      <a:pt x="40227" y="12956"/>
                      <a:pt x="12956" y="42922"/>
                      <a:pt x="12956" y="84237"/>
                    </a:cubicBezTo>
                    <a:lnTo>
                      <a:pt x="12956" y="200863"/>
                    </a:lnTo>
                    <a:lnTo>
                      <a:pt x="19434" y="200863"/>
                    </a:lnTo>
                    <a:cubicBezTo>
                      <a:pt x="23019" y="200863"/>
                      <a:pt x="25911" y="203756"/>
                      <a:pt x="25911" y="207341"/>
                    </a:cubicBezTo>
                    <a:cubicBezTo>
                      <a:pt x="25911" y="210926"/>
                      <a:pt x="23019" y="213819"/>
                      <a:pt x="19458" y="213819"/>
                    </a:cubicBezTo>
                    <a:close/>
                  </a:path>
                </a:pathLst>
              </a:custGeom>
              <a:grpFill/>
              <a:ln w="2469" cap="flat">
                <a:noFill/>
                <a:prstDash val="solid"/>
                <a:miter/>
              </a:ln>
            </p:spPr>
            <p:txBody>
              <a:bodyPr rtlCol="0" anchor="ctr"/>
              <a:lstStyle/>
              <a:p>
                <a:endParaRPr lang="en-GB" dirty="0"/>
              </a:p>
            </p:txBody>
          </p:sp>
          <p:sp>
            <p:nvSpPr>
              <p:cNvPr id="635" name="Freihandform: Form 974">
                <a:extLst>
                  <a:ext uri="{FF2B5EF4-FFF2-40B4-BE49-F238E27FC236}">
                    <a16:creationId xmlns:a16="http://schemas.microsoft.com/office/drawing/2014/main" id="{035623A9-1F7C-42F7-B0F3-112DA7B5E376}"/>
                  </a:ext>
                </a:extLst>
              </p:cNvPr>
              <p:cNvSpPr/>
              <p:nvPr/>
            </p:nvSpPr>
            <p:spPr>
              <a:xfrm>
                <a:off x="5391356" y="3337234"/>
                <a:ext cx="90690" cy="103645"/>
              </a:xfrm>
              <a:custGeom>
                <a:avLst/>
                <a:gdLst>
                  <a:gd name="connsiteX0" fmla="*/ 45345 w 90690"/>
                  <a:gd name="connsiteY0" fmla="*/ 103646 h 103645"/>
                  <a:gd name="connsiteX1" fmla="*/ 0 w 90690"/>
                  <a:gd name="connsiteY1" fmla="*/ 51823 h 103645"/>
                  <a:gd name="connsiteX2" fmla="*/ 45345 w 90690"/>
                  <a:gd name="connsiteY2" fmla="*/ 0 h 103645"/>
                  <a:gd name="connsiteX3" fmla="*/ 90690 w 90690"/>
                  <a:gd name="connsiteY3" fmla="*/ 51823 h 103645"/>
                  <a:gd name="connsiteX4" fmla="*/ 45345 w 90690"/>
                  <a:gd name="connsiteY4" fmla="*/ 103646 h 103645"/>
                  <a:gd name="connsiteX5" fmla="*/ 45345 w 90690"/>
                  <a:gd name="connsiteY5" fmla="*/ 12931 h 103645"/>
                  <a:gd name="connsiteX6" fmla="*/ 12956 w 90690"/>
                  <a:gd name="connsiteY6" fmla="*/ 51798 h 103645"/>
                  <a:gd name="connsiteX7" fmla="*/ 45345 w 90690"/>
                  <a:gd name="connsiteY7" fmla="*/ 90665 h 103645"/>
                  <a:gd name="connsiteX8" fmla="*/ 77734 w 90690"/>
                  <a:gd name="connsiteY8" fmla="*/ 51798 h 103645"/>
                  <a:gd name="connsiteX9" fmla="*/ 45345 w 90690"/>
                  <a:gd name="connsiteY9" fmla="*/ 12931 h 103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690" h="103645">
                    <a:moveTo>
                      <a:pt x="45345" y="103646"/>
                    </a:moveTo>
                    <a:cubicBezTo>
                      <a:pt x="18222" y="103646"/>
                      <a:pt x="0" y="82828"/>
                      <a:pt x="0" y="51823"/>
                    </a:cubicBezTo>
                    <a:cubicBezTo>
                      <a:pt x="0" y="20818"/>
                      <a:pt x="18222" y="0"/>
                      <a:pt x="45345" y="0"/>
                    </a:cubicBezTo>
                    <a:cubicBezTo>
                      <a:pt x="72468" y="0"/>
                      <a:pt x="90690" y="20818"/>
                      <a:pt x="90690" y="51823"/>
                    </a:cubicBezTo>
                    <a:cubicBezTo>
                      <a:pt x="90715" y="82803"/>
                      <a:pt x="72468" y="103646"/>
                      <a:pt x="45345" y="103646"/>
                    </a:cubicBezTo>
                    <a:close/>
                    <a:moveTo>
                      <a:pt x="45345" y="12931"/>
                    </a:moveTo>
                    <a:cubicBezTo>
                      <a:pt x="21436" y="12931"/>
                      <a:pt x="12956" y="33873"/>
                      <a:pt x="12956" y="51798"/>
                    </a:cubicBezTo>
                    <a:cubicBezTo>
                      <a:pt x="12956" y="69724"/>
                      <a:pt x="21436" y="90665"/>
                      <a:pt x="45345" y="90665"/>
                    </a:cubicBezTo>
                    <a:cubicBezTo>
                      <a:pt x="69254" y="90665"/>
                      <a:pt x="77734" y="69724"/>
                      <a:pt x="77734" y="51798"/>
                    </a:cubicBezTo>
                    <a:cubicBezTo>
                      <a:pt x="77759" y="33873"/>
                      <a:pt x="69254" y="12931"/>
                      <a:pt x="45345" y="12931"/>
                    </a:cubicBezTo>
                    <a:close/>
                  </a:path>
                </a:pathLst>
              </a:custGeom>
              <a:grpFill/>
              <a:ln w="2469" cap="flat">
                <a:noFill/>
                <a:prstDash val="solid"/>
                <a:miter/>
              </a:ln>
            </p:spPr>
            <p:txBody>
              <a:bodyPr rtlCol="0" anchor="ctr"/>
              <a:lstStyle/>
              <a:p>
                <a:endParaRPr lang="en-GB" dirty="0"/>
              </a:p>
            </p:txBody>
          </p:sp>
        </p:grpSp>
      </p:grpSp>
      <p:grpSp>
        <p:nvGrpSpPr>
          <p:cNvPr id="671" name="Group 670">
            <a:extLst>
              <a:ext uri="{FF2B5EF4-FFF2-40B4-BE49-F238E27FC236}">
                <a16:creationId xmlns:a16="http://schemas.microsoft.com/office/drawing/2014/main" id="{E98F0F17-5A39-ED0D-3341-0BD048916C60}"/>
              </a:ext>
            </a:extLst>
          </p:cNvPr>
          <p:cNvGrpSpPr/>
          <p:nvPr/>
        </p:nvGrpSpPr>
        <p:grpSpPr>
          <a:xfrm>
            <a:off x="8188372" y="4040086"/>
            <a:ext cx="308593" cy="432001"/>
            <a:chOff x="8187960" y="4040086"/>
            <a:chExt cx="308593" cy="432001"/>
          </a:xfrm>
        </p:grpSpPr>
        <p:grpSp>
          <p:nvGrpSpPr>
            <p:cNvPr id="644" name="Group 643">
              <a:extLst>
                <a:ext uri="{FF2B5EF4-FFF2-40B4-BE49-F238E27FC236}">
                  <a16:creationId xmlns:a16="http://schemas.microsoft.com/office/drawing/2014/main" id="{3A2466FE-0101-431C-A222-31DB54487D24}"/>
                </a:ext>
              </a:extLst>
            </p:cNvPr>
            <p:cNvGrpSpPr/>
            <p:nvPr/>
          </p:nvGrpSpPr>
          <p:grpSpPr>
            <a:xfrm>
              <a:off x="8187960" y="4040086"/>
              <a:ext cx="308593" cy="382646"/>
              <a:chOff x="936821" y="1626758"/>
              <a:chExt cx="330066" cy="409272"/>
            </a:xfrm>
            <a:solidFill>
              <a:schemeClr val="tx2"/>
            </a:solidFill>
          </p:grpSpPr>
          <p:sp>
            <p:nvSpPr>
              <p:cNvPr id="652" name="Freihandform: Form 276">
                <a:extLst>
                  <a:ext uri="{FF2B5EF4-FFF2-40B4-BE49-F238E27FC236}">
                    <a16:creationId xmlns:a16="http://schemas.microsoft.com/office/drawing/2014/main" id="{EA4433D7-1FE4-49AB-A0F3-F029E82EB73D}"/>
                  </a:ext>
                </a:extLst>
              </p:cNvPr>
              <p:cNvSpPr/>
              <p:nvPr/>
            </p:nvSpPr>
            <p:spPr>
              <a:xfrm>
                <a:off x="969833" y="1699373"/>
                <a:ext cx="65972" cy="303646"/>
              </a:xfrm>
              <a:custGeom>
                <a:avLst/>
                <a:gdLst>
                  <a:gd name="connsiteX0" fmla="*/ 59406 w 65972"/>
                  <a:gd name="connsiteY0" fmla="*/ 303646 h 303646"/>
                  <a:gd name="connsiteX1" fmla="*/ 6592 w 65972"/>
                  <a:gd name="connsiteY1" fmla="*/ 303646 h 303646"/>
                  <a:gd name="connsiteX2" fmla="*/ 0 w 65972"/>
                  <a:gd name="connsiteY2" fmla="*/ 297054 h 303646"/>
                  <a:gd name="connsiteX3" fmla="*/ 0 w 65972"/>
                  <a:gd name="connsiteY3" fmla="*/ 6592 h 303646"/>
                  <a:gd name="connsiteX4" fmla="*/ 6592 w 65972"/>
                  <a:gd name="connsiteY4" fmla="*/ 0 h 303646"/>
                  <a:gd name="connsiteX5" fmla="*/ 32986 w 65972"/>
                  <a:gd name="connsiteY5" fmla="*/ 0 h 303646"/>
                  <a:gd name="connsiteX6" fmla="*/ 39578 w 65972"/>
                  <a:gd name="connsiteY6" fmla="*/ 6592 h 303646"/>
                  <a:gd name="connsiteX7" fmla="*/ 32986 w 65972"/>
                  <a:gd name="connsiteY7" fmla="*/ 13184 h 303646"/>
                  <a:gd name="connsiteX8" fmla="*/ 13184 w 65972"/>
                  <a:gd name="connsiteY8" fmla="*/ 13184 h 303646"/>
                  <a:gd name="connsiteX9" fmla="*/ 13184 w 65972"/>
                  <a:gd name="connsiteY9" fmla="*/ 290436 h 303646"/>
                  <a:gd name="connsiteX10" fmla="*/ 59380 w 65972"/>
                  <a:gd name="connsiteY10" fmla="*/ 290436 h 303646"/>
                  <a:gd name="connsiteX11" fmla="*/ 65972 w 65972"/>
                  <a:gd name="connsiteY11" fmla="*/ 297028 h 303646"/>
                  <a:gd name="connsiteX12" fmla="*/ 59406 w 65972"/>
                  <a:gd name="connsiteY12" fmla="*/ 303646 h 30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72" h="303646">
                    <a:moveTo>
                      <a:pt x="59406" y="303646"/>
                    </a:moveTo>
                    <a:lnTo>
                      <a:pt x="6592" y="303646"/>
                    </a:lnTo>
                    <a:cubicBezTo>
                      <a:pt x="2938" y="303646"/>
                      <a:pt x="0" y="300682"/>
                      <a:pt x="0" y="297054"/>
                    </a:cubicBezTo>
                    <a:lnTo>
                      <a:pt x="0" y="6592"/>
                    </a:lnTo>
                    <a:cubicBezTo>
                      <a:pt x="0" y="2938"/>
                      <a:pt x="2964" y="0"/>
                      <a:pt x="6592" y="0"/>
                    </a:cubicBezTo>
                    <a:lnTo>
                      <a:pt x="32986" y="0"/>
                    </a:lnTo>
                    <a:cubicBezTo>
                      <a:pt x="36640" y="0"/>
                      <a:pt x="39578" y="2964"/>
                      <a:pt x="39578" y="6592"/>
                    </a:cubicBezTo>
                    <a:cubicBezTo>
                      <a:pt x="39578" y="10246"/>
                      <a:pt x="36614" y="13184"/>
                      <a:pt x="32986" y="13184"/>
                    </a:cubicBezTo>
                    <a:lnTo>
                      <a:pt x="13184" y="13184"/>
                    </a:lnTo>
                    <a:lnTo>
                      <a:pt x="13184" y="290436"/>
                    </a:lnTo>
                    <a:lnTo>
                      <a:pt x="59380" y="290436"/>
                    </a:lnTo>
                    <a:cubicBezTo>
                      <a:pt x="63034" y="290436"/>
                      <a:pt x="65972" y="293400"/>
                      <a:pt x="65972" y="297028"/>
                    </a:cubicBezTo>
                    <a:cubicBezTo>
                      <a:pt x="65972" y="300657"/>
                      <a:pt x="63034" y="303646"/>
                      <a:pt x="59406" y="303646"/>
                    </a:cubicBezTo>
                    <a:close/>
                  </a:path>
                </a:pathLst>
              </a:custGeom>
              <a:grpFill/>
              <a:ln w="2555" cap="flat">
                <a:noFill/>
                <a:prstDash val="solid"/>
                <a:miter/>
              </a:ln>
            </p:spPr>
            <p:txBody>
              <a:bodyPr rtlCol="0" anchor="ctr"/>
              <a:lstStyle/>
              <a:p>
                <a:endParaRPr lang="en-GB" dirty="0"/>
              </a:p>
            </p:txBody>
          </p:sp>
          <p:sp>
            <p:nvSpPr>
              <p:cNvPr id="653" name="Freihandform: Form 277">
                <a:extLst>
                  <a:ext uri="{FF2B5EF4-FFF2-40B4-BE49-F238E27FC236}">
                    <a16:creationId xmlns:a16="http://schemas.microsoft.com/office/drawing/2014/main" id="{D9BA37FE-C58B-4551-8D4C-6248DF5A9702}"/>
                  </a:ext>
                </a:extLst>
              </p:cNvPr>
              <p:cNvSpPr/>
              <p:nvPr/>
            </p:nvSpPr>
            <p:spPr>
              <a:xfrm>
                <a:off x="1167852" y="1699399"/>
                <a:ext cx="65972" cy="303620"/>
              </a:xfrm>
              <a:custGeom>
                <a:avLst/>
                <a:gdLst>
                  <a:gd name="connsiteX0" fmla="*/ 59406 w 65972"/>
                  <a:gd name="connsiteY0" fmla="*/ 303621 h 303620"/>
                  <a:gd name="connsiteX1" fmla="*/ 6592 w 65972"/>
                  <a:gd name="connsiteY1" fmla="*/ 303621 h 303620"/>
                  <a:gd name="connsiteX2" fmla="*/ 0 w 65972"/>
                  <a:gd name="connsiteY2" fmla="*/ 297028 h 303620"/>
                  <a:gd name="connsiteX3" fmla="*/ 6592 w 65972"/>
                  <a:gd name="connsiteY3" fmla="*/ 290436 h 303620"/>
                  <a:gd name="connsiteX4" fmla="*/ 52788 w 65972"/>
                  <a:gd name="connsiteY4" fmla="*/ 290436 h 303620"/>
                  <a:gd name="connsiteX5" fmla="*/ 52788 w 65972"/>
                  <a:gd name="connsiteY5" fmla="*/ 13184 h 303620"/>
                  <a:gd name="connsiteX6" fmla="*/ 32986 w 65972"/>
                  <a:gd name="connsiteY6" fmla="*/ 13184 h 303620"/>
                  <a:gd name="connsiteX7" fmla="*/ 26394 w 65972"/>
                  <a:gd name="connsiteY7" fmla="*/ 6592 h 303620"/>
                  <a:gd name="connsiteX8" fmla="*/ 32986 w 65972"/>
                  <a:gd name="connsiteY8" fmla="*/ 0 h 303620"/>
                  <a:gd name="connsiteX9" fmla="*/ 59380 w 65972"/>
                  <a:gd name="connsiteY9" fmla="*/ 0 h 303620"/>
                  <a:gd name="connsiteX10" fmla="*/ 65972 w 65972"/>
                  <a:gd name="connsiteY10" fmla="*/ 6592 h 303620"/>
                  <a:gd name="connsiteX11" fmla="*/ 65972 w 65972"/>
                  <a:gd name="connsiteY11" fmla="*/ 297028 h 303620"/>
                  <a:gd name="connsiteX12" fmla="*/ 59406 w 65972"/>
                  <a:gd name="connsiteY12" fmla="*/ 303621 h 303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972" h="303620">
                    <a:moveTo>
                      <a:pt x="59406" y="303621"/>
                    </a:moveTo>
                    <a:lnTo>
                      <a:pt x="6592" y="303621"/>
                    </a:lnTo>
                    <a:cubicBezTo>
                      <a:pt x="2938" y="303621"/>
                      <a:pt x="0" y="300657"/>
                      <a:pt x="0" y="297028"/>
                    </a:cubicBezTo>
                    <a:cubicBezTo>
                      <a:pt x="0" y="293400"/>
                      <a:pt x="2964" y="290436"/>
                      <a:pt x="6592" y="290436"/>
                    </a:cubicBezTo>
                    <a:lnTo>
                      <a:pt x="52788" y="290436"/>
                    </a:lnTo>
                    <a:lnTo>
                      <a:pt x="52788" y="13184"/>
                    </a:lnTo>
                    <a:lnTo>
                      <a:pt x="32986" y="13184"/>
                    </a:lnTo>
                    <a:cubicBezTo>
                      <a:pt x="29332" y="13184"/>
                      <a:pt x="26394" y="10220"/>
                      <a:pt x="26394" y="6592"/>
                    </a:cubicBezTo>
                    <a:cubicBezTo>
                      <a:pt x="26394" y="2938"/>
                      <a:pt x="29358" y="0"/>
                      <a:pt x="32986" y="0"/>
                    </a:cubicBezTo>
                    <a:lnTo>
                      <a:pt x="59380" y="0"/>
                    </a:lnTo>
                    <a:cubicBezTo>
                      <a:pt x="63034" y="0"/>
                      <a:pt x="65972" y="2964"/>
                      <a:pt x="65972" y="6592"/>
                    </a:cubicBezTo>
                    <a:lnTo>
                      <a:pt x="65972" y="297028"/>
                    </a:lnTo>
                    <a:cubicBezTo>
                      <a:pt x="66023" y="300657"/>
                      <a:pt x="63059" y="303621"/>
                      <a:pt x="59406" y="303621"/>
                    </a:cubicBezTo>
                    <a:close/>
                  </a:path>
                </a:pathLst>
              </a:custGeom>
              <a:grpFill/>
              <a:ln w="2555" cap="flat">
                <a:noFill/>
                <a:prstDash val="solid"/>
                <a:miter/>
              </a:ln>
            </p:spPr>
            <p:txBody>
              <a:bodyPr rtlCol="0" anchor="ctr"/>
              <a:lstStyle/>
              <a:p>
                <a:endParaRPr lang="en-GB" dirty="0"/>
              </a:p>
            </p:txBody>
          </p:sp>
          <p:sp>
            <p:nvSpPr>
              <p:cNvPr id="654" name="Freihandform: Form 278">
                <a:extLst>
                  <a:ext uri="{FF2B5EF4-FFF2-40B4-BE49-F238E27FC236}">
                    <a16:creationId xmlns:a16="http://schemas.microsoft.com/office/drawing/2014/main" id="{B2742E60-7BFD-4F4E-AB6A-CAB9078019DC}"/>
                  </a:ext>
                </a:extLst>
              </p:cNvPr>
              <p:cNvSpPr/>
              <p:nvPr/>
            </p:nvSpPr>
            <p:spPr>
              <a:xfrm>
                <a:off x="1022621" y="1626758"/>
                <a:ext cx="158440" cy="85825"/>
              </a:xfrm>
              <a:custGeom>
                <a:avLst/>
                <a:gdLst>
                  <a:gd name="connsiteX0" fmla="*/ 151823 w 158440"/>
                  <a:gd name="connsiteY0" fmla="*/ 85825 h 85825"/>
                  <a:gd name="connsiteX1" fmla="*/ 6592 w 158440"/>
                  <a:gd name="connsiteY1" fmla="*/ 85825 h 85825"/>
                  <a:gd name="connsiteX2" fmla="*/ 0 w 158440"/>
                  <a:gd name="connsiteY2" fmla="*/ 79233 h 85825"/>
                  <a:gd name="connsiteX3" fmla="*/ 0 w 158440"/>
                  <a:gd name="connsiteY3" fmla="*/ 26394 h 85825"/>
                  <a:gd name="connsiteX4" fmla="*/ 6592 w 158440"/>
                  <a:gd name="connsiteY4" fmla="*/ 19802 h 85825"/>
                  <a:gd name="connsiteX5" fmla="*/ 49058 w 158440"/>
                  <a:gd name="connsiteY5" fmla="*/ 19802 h 85825"/>
                  <a:gd name="connsiteX6" fmla="*/ 79233 w 158440"/>
                  <a:gd name="connsiteY6" fmla="*/ 0 h 85825"/>
                  <a:gd name="connsiteX7" fmla="*/ 109383 w 158440"/>
                  <a:gd name="connsiteY7" fmla="*/ 19802 h 85825"/>
                  <a:gd name="connsiteX8" fmla="*/ 151849 w 158440"/>
                  <a:gd name="connsiteY8" fmla="*/ 19802 h 85825"/>
                  <a:gd name="connsiteX9" fmla="*/ 158441 w 158440"/>
                  <a:gd name="connsiteY9" fmla="*/ 26394 h 85825"/>
                  <a:gd name="connsiteX10" fmla="*/ 158441 w 158440"/>
                  <a:gd name="connsiteY10" fmla="*/ 79208 h 85825"/>
                  <a:gd name="connsiteX11" fmla="*/ 151823 w 158440"/>
                  <a:gd name="connsiteY11" fmla="*/ 85825 h 85825"/>
                  <a:gd name="connsiteX12" fmla="*/ 13210 w 158440"/>
                  <a:gd name="connsiteY12" fmla="*/ 72615 h 85825"/>
                  <a:gd name="connsiteX13" fmla="*/ 145231 w 158440"/>
                  <a:gd name="connsiteY13" fmla="*/ 72615 h 85825"/>
                  <a:gd name="connsiteX14" fmla="*/ 145231 w 158440"/>
                  <a:gd name="connsiteY14" fmla="*/ 33012 h 85825"/>
                  <a:gd name="connsiteX15" fmla="*/ 104682 w 158440"/>
                  <a:gd name="connsiteY15" fmla="*/ 33012 h 85825"/>
                  <a:gd name="connsiteX16" fmla="*/ 98294 w 158440"/>
                  <a:gd name="connsiteY16" fmla="*/ 28055 h 85825"/>
                  <a:gd name="connsiteX17" fmla="*/ 79208 w 158440"/>
                  <a:gd name="connsiteY17" fmla="*/ 13210 h 85825"/>
                  <a:gd name="connsiteX18" fmla="*/ 60121 w 158440"/>
                  <a:gd name="connsiteY18" fmla="*/ 28055 h 85825"/>
                  <a:gd name="connsiteX19" fmla="*/ 53733 w 158440"/>
                  <a:gd name="connsiteY19" fmla="*/ 33012 h 85825"/>
                  <a:gd name="connsiteX20" fmla="*/ 13184 w 158440"/>
                  <a:gd name="connsiteY20" fmla="*/ 33012 h 85825"/>
                  <a:gd name="connsiteX21" fmla="*/ 13184 w 158440"/>
                  <a:gd name="connsiteY21" fmla="*/ 72615 h 85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8440" h="85825">
                    <a:moveTo>
                      <a:pt x="151823" y="85825"/>
                    </a:moveTo>
                    <a:lnTo>
                      <a:pt x="6592" y="85825"/>
                    </a:lnTo>
                    <a:cubicBezTo>
                      <a:pt x="2938" y="85825"/>
                      <a:pt x="0" y="82861"/>
                      <a:pt x="0" y="79233"/>
                    </a:cubicBezTo>
                    <a:lnTo>
                      <a:pt x="0" y="26394"/>
                    </a:lnTo>
                    <a:cubicBezTo>
                      <a:pt x="0" y="22740"/>
                      <a:pt x="2964" y="19802"/>
                      <a:pt x="6592" y="19802"/>
                    </a:cubicBezTo>
                    <a:lnTo>
                      <a:pt x="49058" y="19802"/>
                    </a:lnTo>
                    <a:cubicBezTo>
                      <a:pt x="54244" y="7921"/>
                      <a:pt x="65998" y="0"/>
                      <a:pt x="79233" y="0"/>
                    </a:cubicBezTo>
                    <a:cubicBezTo>
                      <a:pt x="92468" y="0"/>
                      <a:pt x="104222" y="7921"/>
                      <a:pt x="109383" y="19802"/>
                    </a:cubicBezTo>
                    <a:lnTo>
                      <a:pt x="151849" y="19802"/>
                    </a:lnTo>
                    <a:cubicBezTo>
                      <a:pt x="155502" y="19802"/>
                      <a:pt x="158441" y="22766"/>
                      <a:pt x="158441" y="26394"/>
                    </a:cubicBezTo>
                    <a:lnTo>
                      <a:pt x="158441" y="79208"/>
                    </a:lnTo>
                    <a:cubicBezTo>
                      <a:pt x="158441" y="82861"/>
                      <a:pt x="155477" y="85825"/>
                      <a:pt x="151823" y="85825"/>
                    </a:cubicBezTo>
                    <a:close/>
                    <a:moveTo>
                      <a:pt x="13210" y="72615"/>
                    </a:moveTo>
                    <a:lnTo>
                      <a:pt x="145231" y="72615"/>
                    </a:lnTo>
                    <a:lnTo>
                      <a:pt x="145231" y="33012"/>
                    </a:lnTo>
                    <a:lnTo>
                      <a:pt x="104682" y="33012"/>
                    </a:lnTo>
                    <a:cubicBezTo>
                      <a:pt x="101667" y="33012"/>
                      <a:pt x="99035" y="30968"/>
                      <a:pt x="98294" y="28055"/>
                    </a:cubicBezTo>
                    <a:cubicBezTo>
                      <a:pt x="96020" y="19316"/>
                      <a:pt x="88176" y="13210"/>
                      <a:pt x="79208" y="13210"/>
                    </a:cubicBezTo>
                    <a:cubicBezTo>
                      <a:pt x="70239" y="13210"/>
                      <a:pt x="62395" y="19316"/>
                      <a:pt x="60121" y="28055"/>
                    </a:cubicBezTo>
                    <a:cubicBezTo>
                      <a:pt x="59355" y="30968"/>
                      <a:pt x="56748" y="33012"/>
                      <a:pt x="53733" y="33012"/>
                    </a:cubicBezTo>
                    <a:lnTo>
                      <a:pt x="13184" y="33012"/>
                    </a:lnTo>
                    <a:lnTo>
                      <a:pt x="13184" y="72615"/>
                    </a:lnTo>
                    <a:close/>
                  </a:path>
                </a:pathLst>
              </a:custGeom>
              <a:grpFill/>
              <a:ln w="2555" cap="flat">
                <a:noFill/>
                <a:prstDash val="solid"/>
                <a:miter/>
              </a:ln>
            </p:spPr>
            <p:txBody>
              <a:bodyPr rtlCol="0" anchor="ctr"/>
              <a:lstStyle/>
              <a:p>
                <a:endParaRPr lang="en-GB" dirty="0"/>
              </a:p>
            </p:txBody>
          </p:sp>
          <p:sp>
            <p:nvSpPr>
              <p:cNvPr id="655" name="Freihandform: Form 279">
                <a:extLst>
                  <a:ext uri="{FF2B5EF4-FFF2-40B4-BE49-F238E27FC236}">
                    <a16:creationId xmlns:a16="http://schemas.microsoft.com/office/drawing/2014/main" id="{DA8FB47D-7E9A-4DDC-ADA2-7CE54541B3A5}"/>
                  </a:ext>
                </a:extLst>
              </p:cNvPr>
              <p:cNvSpPr/>
              <p:nvPr/>
            </p:nvSpPr>
            <p:spPr>
              <a:xfrm>
                <a:off x="936821" y="1666361"/>
                <a:ext cx="112219" cy="369669"/>
              </a:xfrm>
              <a:custGeom>
                <a:avLst/>
                <a:gdLst>
                  <a:gd name="connsiteX0" fmla="*/ 105602 w 112219"/>
                  <a:gd name="connsiteY0" fmla="*/ 369669 h 369669"/>
                  <a:gd name="connsiteX1" fmla="*/ 6592 w 112219"/>
                  <a:gd name="connsiteY1" fmla="*/ 369669 h 369669"/>
                  <a:gd name="connsiteX2" fmla="*/ 0 w 112219"/>
                  <a:gd name="connsiteY2" fmla="*/ 363077 h 369669"/>
                  <a:gd name="connsiteX3" fmla="*/ 0 w 112219"/>
                  <a:gd name="connsiteY3" fmla="*/ 6592 h 369669"/>
                  <a:gd name="connsiteX4" fmla="*/ 6592 w 112219"/>
                  <a:gd name="connsiteY4" fmla="*/ 0 h 369669"/>
                  <a:gd name="connsiteX5" fmla="*/ 92417 w 112219"/>
                  <a:gd name="connsiteY5" fmla="*/ 0 h 369669"/>
                  <a:gd name="connsiteX6" fmla="*/ 99009 w 112219"/>
                  <a:gd name="connsiteY6" fmla="*/ 6592 h 369669"/>
                  <a:gd name="connsiteX7" fmla="*/ 92417 w 112219"/>
                  <a:gd name="connsiteY7" fmla="*/ 13184 h 369669"/>
                  <a:gd name="connsiteX8" fmla="*/ 13210 w 112219"/>
                  <a:gd name="connsiteY8" fmla="*/ 13184 h 369669"/>
                  <a:gd name="connsiteX9" fmla="*/ 13210 w 112219"/>
                  <a:gd name="connsiteY9" fmla="*/ 356434 h 369669"/>
                  <a:gd name="connsiteX10" fmla="*/ 105627 w 112219"/>
                  <a:gd name="connsiteY10" fmla="*/ 356434 h 369669"/>
                  <a:gd name="connsiteX11" fmla="*/ 112219 w 112219"/>
                  <a:gd name="connsiteY11" fmla="*/ 363026 h 369669"/>
                  <a:gd name="connsiteX12" fmla="*/ 105602 w 112219"/>
                  <a:gd name="connsiteY12" fmla="*/ 369669 h 36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219" h="369669">
                    <a:moveTo>
                      <a:pt x="105602" y="369669"/>
                    </a:moveTo>
                    <a:lnTo>
                      <a:pt x="6592" y="369669"/>
                    </a:lnTo>
                    <a:cubicBezTo>
                      <a:pt x="2938" y="369669"/>
                      <a:pt x="0" y="366706"/>
                      <a:pt x="0" y="363077"/>
                    </a:cubicBezTo>
                    <a:lnTo>
                      <a:pt x="0" y="6592"/>
                    </a:lnTo>
                    <a:cubicBezTo>
                      <a:pt x="0" y="2938"/>
                      <a:pt x="2964" y="0"/>
                      <a:pt x="6592" y="0"/>
                    </a:cubicBezTo>
                    <a:lnTo>
                      <a:pt x="92417" y="0"/>
                    </a:lnTo>
                    <a:cubicBezTo>
                      <a:pt x="96071" y="0"/>
                      <a:pt x="99009" y="2964"/>
                      <a:pt x="99009" y="6592"/>
                    </a:cubicBezTo>
                    <a:cubicBezTo>
                      <a:pt x="99009" y="10220"/>
                      <a:pt x="96046" y="13184"/>
                      <a:pt x="92417" y="13184"/>
                    </a:cubicBezTo>
                    <a:lnTo>
                      <a:pt x="13210" y="13184"/>
                    </a:lnTo>
                    <a:lnTo>
                      <a:pt x="13210" y="356434"/>
                    </a:lnTo>
                    <a:lnTo>
                      <a:pt x="105627" y="356434"/>
                    </a:lnTo>
                    <a:cubicBezTo>
                      <a:pt x="109281" y="356434"/>
                      <a:pt x="112219" y="359398"/>
                      <a:pt x="112219" y="363026"/>
                    </a:cubicBezTo>
                    <a:cubicBezTo>
                      <a:pt x="112219" y="366654"/>
                      <a:pt x="109255" y="369669"/>
                      <a:pt x="105602" y="369669"/>
                    </a:cubicBezTo>
                    <a:close/>
                  </a:path>
                </a:pathLst>
              </a:custGeom>
              <a:grpFill/>
              <a:ln w="2555" cap="flat">
                <a:noFill/>
                <a:prstDash val="solid"/>
                <a:miter/>
              </a:ln>
            </p:spPr>
            <p:txBody>
              <a:bodyPr rtlCol="0" anchor="ctr"/>
              <a:lstStyle/>
              <a:p>
                <a:endParaRPr lang="en-GB" dirty="0"/>
              </a:p>
            </p:txBody>
          </p:sp>
          <p:sp>
            <p:nvSpPr>
              <p:cNvPr id="656" name="Freihandform: Form 280">
                <a:extLst>
                  <a:ext uri="{FF2B5EF4-FFF2-40B4-BE49-F238E27FC236}">
                    <a16:creationId xmlns:a16="http://schemas.microsoft.com/office/drawing/2014/main" id="{89497CE8-D9FA-45B7-92AF-141BF4BE9402}"/>
                  </a:ext>
                </a:extLst>
              </p:cNvPr>
              <p:cNvSpPr/>
              <p:nvPr/>
            </p:nvSpPr>
            <p:spPr>
              <a:xfrm>
                <a:off x="1154668" y="1666387"/>
                <a:ext cx="112219" cy="369643"/>
              </a:xfrm>
              <a:custGeom>
                <a:avLst/>
                <a:gdLst>
                  <a:gd name="connsiteX0" fmla="*/ 105602 w 112219"/>
                  <a:gd name="connsiteY0" fmla="*/ 369644 h 369643"/>
                  <a:gd name="connsiteX1" fmla="*/ 6592 w 112219"/>
                  <a:gd name="connsiteY1" fmla="*/ 369644 h 369643"/>
                  <a:gd name="connsiteX2" fmla="*/ 0 w 112219"/>
                  <a:gd name="connsiteY2" fmla="*/ 363052 h 369643"/>
                  <a:gd name="connsiteX3" fmla="*/ 6592 w 112219"/>
                  <a:gd name="connsiteY3" fmla="*/ 356460 h 369643"/>
                  <a:gd name="connsiteX4" fmla="*/ 99009 w 112219"/>
                  <a:gd name="connsiteY4" fmla="*/ 356460 h 369643"/>
                  <a:gd name="connsiteX5" fmla="*/ 99009 w 112219"/>
                  <a:gd name="connsiteY5" fmla="*/ 13184 h 369643"/>
                  <a:gd name="connsiteX6" fmla="*/ 19802 w 112219"/>
                  <a:gd name="connsiteY6" fmla="*/ 13184 h 369643"/>
                  <a:gd name="connsiteX7" fmla="*/ 13210 w 112219"/>
                  <a:gd name="connsiteY7" fmla="*/ 6592 h 369643"/>
                  <a:gd name="connsiteX8" fmla="*/ 19802 w 112219"/>
                  <a:gd name="connsiteY8" fmla="*/ 0 h 369643"/>
                  <a:gd name="connsiteX9" fmla="*/ 105627 w 112219"/>
                  <a:gd name="connsiteY9" fmla="*/ 0 h 369643"/>
                  <a:gd name="connsiteX10" fmla="*/ 112219 w 112219"/>
                  <a:gd name="connsiteY10" fmla="*/ 6592 h 369643"/>
                  <a:gd name="connsiteX11" fmla="*/ 112219 w 112219"/>
                  <a:gd name="connsiteY11" fmla="*/ 363052 h 369643"/>
                  <a:gd name="connsiteX12" fmla="*/ 105602 w 112219"/>
                  <a:gd name="connsiteY12" fmla="*/ 369644 h 36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219" h="369643">
                    <a:moveTo>
                      <a:pt x="105602" y="369644"/>
                    </a:moveTo>
                    <a:lnTo>
                      <a:pt x="6592" y="369644"/>
                    </a:lnTo>
                    <a:cubicBezTo>
                      <a:pt x="2938" y="369644"/>
                      <a:pt x="0" y="366680"/>
                      <a:pt x="0" y="363052"/>
                    </a:cubicBezTo>
                    <a:cubicBezTo>
                      <a:pt x="0" y="359424"/>
                      <a:pt x="2964" y="356460"/>
                      <a:pt x="6592" y="356460"/>
                    </a:cubicBezTo>
                    <a:lnTo>
                      <a:pt x="99009" y="356460"/>
                    </a:lnTo>
                    <a:lnTo>
                      <a:pt x="99009" y="13184"/>
                    </a:lnTo>
                    <a:lnTo>
                      <a:pt x="19802" y="13184"/>
                    </a:lnTo>
                    <a:cubicBezTo>
                      <a:pt x="16148" y="13184"/>
                      <a:pt x="13210" y="10220"/>
                      <a:pt x="13210" y="6592"/>
                    </a:cubicBezTo>
                    <a:cubicBezTo>
                      <a:pt x="13210" y="2964"/>
                      <a:pt x="16174" y="0"/>
                      <a:pt x="19802" y="0"/>
                    </a:cubicBezTo>
                    <a:lnTo>
                      <a:pt x="105627" y="0"/>
                    </a:lnTo>
                    <a:cubicBezTo>
                      <a:pt x="109281" y="0"/>
                      <a:pt x="112219" y="2964"/>
                      <a:pt x="112219" y="6592"/>
                    </a:cubicBezTo>
                    <a:lnTo>
                      <a:pt x="112219" y="363052"/>
                    </a:lnTo>
                    <a:cubicBezTo>
                      <a:pt x="112194" y="366680"/>
                      <a:pt x="109255" y="369644"/>
                      <a:pt x="105602" y="369644"/>
                    </a:cubicBezTo>
                    <a:close/>
                  </a:path>
                </a:pathLst>
              </a:custGeom>
              <a:grpFill/>
              <a:ln w="2555" cap="flat">
                <a:noFill/>
                <a:prstDash val="solid"/>
                <a:miter/>
              </a:ln>
            </p:spPr>
            <p:txBody>
              <a:bodyPr rtlCol="0" anchor="ctr"/>
              <a:lstStyle/>
              <a:p>
                <a:endParaRPr lang="en-GB" dirty="0"/>
              </a:p>
            </p:txBody>
          </p:sp>
          <p:sp>
            <p:nvSpPr>
              <p:cNvPr id="657" name="Freihandform: Form 281">
                <a:extLst>
                  <a:ext uri="{FF2B5EF4-FFF2-40B4-BE49-F238E27FC236}">
                    <a16:creationId xmlns:a16="http://schemas.microsoft.com/office/drawing/2014/main" id="{D17E591D-A7C6-4D2A-B3CF-C840B5C07B50}"/>
                  </a:ext>
                </a:extLst>
              </p:cNvPr>
              <p:cNvSpPr/>
              <p:nvPr/>
            </p:nvSpPr>
            <p:spPr>
              <a:xfrm>
                <a:off x="1062250" y="1758804"/>
                <a:ext cx="131995" cy="13184"/>
              </a:xfrm>
              <a:custGeom>
                <a:avLst/>
                <a:gdLst>
                  <a:gd name="connsiteX0" fmla="*/ 125403 w 131995"/>
                  <a:gd name="connsiteY0" fmla="*/ 13184 h 13184"/>
                  <a:gd name="connsiteX1" fmla="*/ 6592 w 131995"/>
                  <a:gd name="connsiteY1" fmla="*/ 13184 h 13184"/>
                  <a:gd name="connsiteX2" fmla="*/ 0 w 131995"/>
                  <a:gd name="connsiteY2" fmla="*/ 6592 h 13184"/>
                  <a:gd name="connsiteX3" fmla="*/ 6592 w 131995"/>
                  <a:gd name="connsiteY3" fmla="*/ 0 h 13184"/>
                  <a:gd name="connsiteX4" fmla="*/ 125403 w 131995"/>
                  <a:gd name="connsiteY4" fmla="*/ 0 h 13184"/>
                  <a:gd name="connsiteX5" fmla="*/ 131996 w 131995"/>
                  <a:gd name="connsiteY5" fmla="*/ 6592 h 13184"/>
                  <a:gd name="connsiteX6" fmla="*/ 125403 w 131995"/>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95" h="13184">
                    <a:moveTo>
                      <a:pt x="125403" y="13184"/>
                    </a:moveTo>
                    <a:lnTo>
                      <a:pt x="6592" y="13184"/>
                    </a:lnTo>
                    <a:cubicBezTo>
                      <a:pt x="2938" y="13184"/>
                      <a:pt x="0" y="10220"/>
                      <a:pt x="0" y="6592"/>
                    </a:cubicBezTo>
                    <a:cubicBezTo>
                      <a:pt x="0" y="2964"/>
                      <a:pt x="2964" y="0"/>
                      <a:pt x="6592" y="0"/>
                    </a:cubicBezTo>
                    <a:lnTo>
                      <a:pt x="125403" y="0"/>
                    </a:lnTo>
                    <a:cubicBezTo>
                      <a:pt x="129057" y="0"/>
                      <a:pt x="131996" y="2964"/>
                      <a:pt x="131996" y="6592"/>
                    </a:cubicBezTo>
                    <a:cubicBezTo>
                      <a:pt x="131996" y="10220"/>
                      <a:pt x="129057" y="13184"/>
                      <a:pt x="125403" y="13184"/>
                    </a:cubicBezTo>
                    <a:close/>
                  </a:path>
                </a:pathLst>
              </a:custGeom>
              <a:grpFill/>
              <a:ln w="2555" cap="flat">
                <a:noFill/>
                <a:prstDash val="solid"/>
                <a:miter/>
              </a:ln>
            </p:spPr>
            <p:txBody>
              <a:bodyPr rtlCol="0" anchor="ctr"/>
              <a:lstStyle/>
              <a:p>
                <a:endParaRPr lang="en-GB" dirty="0"/>
              </a:p>
            </p:txBody>
          </p:sp>
          <p:sp>
            <p:nvSpPr>
              <p:cNvPr id="658" name="Freihandform: Form 282">
                <a:extLst>
                  <a:ext uri="{FF2B5EF4-FFF2-40B4-BE49-F238E27FC236}">
                    <a16:creationId xmlns:a16="http://schemas.microsoft.com/office/drawing/2014/main" id="{39DABC7C-3AE4-4E2D-B759-1D615DC5CA83}"/>
                  </a:ext>
                </a:extLst>
              </p:cNvPr>
              <p:cNvSpPr/>
              <p:nvPr/>
            </p:nvSpPr>
            <p:spPr>
              <a:xfrm>
                <a:off x="1062250" y="1818210"/>
                <a:ext cx="131995" cy="13184"/>
              </a:xfrm>
              <a:custGeom>
                <a:avLst/>
                <a:gdLst>
                  <a:gd name="connsiteX0" fmla="*/ 125403 w 131995"/>
                  <a:gd name="connsiteY0" fmla="*/ 13184 h 13184"/>
                  <a:gd name="connsiteX1" fmla="*/ 6592 w 131995"/>
                  <a:gd name="connsiteY1" fmla="*/ 13184 h 13184"/>
                  <a:gd name="connsiteX2" fmla="*/ 0 w 131995"/>
                  <a:gd name="connsiteY2" fmla="*/ 6592 h 13184"/>
                  <a:gd name="connsiteX3" fmla="*/ 6592 w 131995"/>
                  <a:gd name="connsiteY3" fmla="*/ 0 h 13184"/>
                  <a:gd name="connsiteX4" fmla="*/ 125403 w 131995"/>
                  <a:gd name="connsiteY4" fmla="*/ 0 h 13184"/>
                  <a:gd name="connsiteX5" fmla="*/ 131996 w 131995"/>
                  <a:gd name="connsiteY5" fmla="*/ 6592 h 13184"/>
                  <a:gd name="connsiteX6" fmla="*/ 125403 w 131995"/>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95" h="13184">
                    <a:moveTo>
                      <a:pt x="125403" y="13184"/>
                    </a:moveTo>
                    <a:lnTo>
                      <a:pt x="6592" y="13184"/>
                    </a:lnTo>
                    <a:cubicBezTo>
                      <a:pt x="2938" y="13184"/>
                      <a:pt x="0" y="10220"/>
                      <a:pt x="0" y="6592"/>
                    </a:cubicBezTo>
                    <a:cubicBezTo>
                      <a:pt x="0" y="2964"/>
                      <a:pt x="2964" y="0"/>
                      <a:pt x="6592" y="0"/>
                    </a:cubicBezTo>
                    <a:lnTo>
                      <a:pt x="125403" y="0"/>
                    </a:lnTo>
                    <a:cubicBezTo>
                      <a:pt x="129057" y="0"/>
                      <a:pt x="131996" y="2964"/>
                      <a:pt x="131996" y="6592"/>
                    </a:cubicBezTo>
                    <a:cubicBezTo>
                      <a:pt x="131996" y="10220"/>
                      <a:pt x="129057" y="13184"/>
                      <a:pt x="125403" y="13184"/>
                    </a:cubicBezTo>
                    <a:close/>
                  </a:path>
                </a:pathLst>
              </a:custGeom>
              <a:grpFill/>
              <a:ln w="2555" cap="flat">
                <a:noFill/>
                <a:prstDash val="solid"/>
                <a:miter/>
              </a:ln>
            </p:spPr>
            <p:txBody>
              <a:bodyPr rtlCol="0" anchor="ctr"/>
              <a:lstStyle/>
              <a:p>
                <a:endParaRPr lang="en-GB" dirty="0"/>
              </a:p>
            </p:txBody>
          </p:sp>
          <p:sp>
            <p:nvSpPr>
              <p:cNvPr id="659" name="Freihandform: Form 283">
                <a:extLst>
                  <a:ext uri="{FF2B5EF4-FFF2-40B4-BE49-F238E27FC236}">
                    <a16:creationId xmlns:a16="http://schemas.microsoft.com/office/drawing/2014/main" id="{60A81905-AD12-4772-98C1-AD08D73887C3}"/>
                  </a:ext>
                </a:extLst>
              </p:cNvPr>
              <p:cNvSpPr/>
              <p:nvPr/>
            </p:nvSpPr>
            <p:spPr>
              <a:xfrm>
                <a:off x="1009437" y="1758804"/>
                <a:ext cx="26394" cy="13184"/>
              </a:xfrm>
              <a:custGeom>
                <a:avLst/>
                <a:gdLst>
                  <a:gd name="connsiteX0" fmla="*/ 19802 w 26394"/>
                  <a:gd name="connsiteY0" fmla="*/ 13184 h 13184"/>
                  <a:gd name="connsiteX1" fmla="*/ 6592 w 26394"/>
                  <a:gd name="connsiteY1" fmla="*/ 13184 h 13184"/>
                  <a:gd name="connsiteX2" fmla="*/ 0 w 26394"/>
                  <a:gd name="connsiteY2" fmla="*/ 6592 h 13184"/>
                  <a:gd name="connsiteX3" fmla="*/ 6592 w 26394"/>
                  <a:gd name="connsiteY3" fmla="*/ 0 h 13184"/>
                  <a:gd name="connsiteX4" fmla="*/ 19802 w 26394"/>
                  <a:gd name="connsiteY4" fmla="*/ 0 h 13184"/>
                  <a:gd name="connsiteX5" fmla="*/ 26394 w 26394"/>
                  <a:gd name="connsiteY5" fmla="*/ 6592 h 13184"/>
                  <a:gd name="connsiteX6" fmla="*/ 19802 w 26394"/>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94" h="13184">
                    <a:moveTo>
                      <a:pt x="19802" y="13184"/>
                    </a:moveTo>
                    <a:lnTo>
                      <a:pt x="6592" y="13184"/>
                    </a:lnTo>
                    <a:cubicBezTo>
                      <a:pt x="2938" y="13184"/>
                      <a:pt x="0" y="10220"/>
                      <a:pt x="0" y="6592"/>
                    </a:cubicBezTo>
                    <a:cubicBezTo>
                      <a:pt x="0" y="2964"/>
                      <a:pt x="2964" y="0"/>
                      <a:pt x="6592" y="0"/>
                    </a:cubicBezTo>
                    <a:lnTo>
                      <a:pt x="19802" y="0"/>
                    </a:lnTo>
                    <a:cubicBezTo>
                      <a:pt x="23456" y="0"/>
                      <a:pt x="26394" y="2964"/>
                      <a:pt x="26394" y="6592"/>
                    </a:cubicBezTo>
                    <a:cubicBezTo>
                      <a:pt x="26394" y="10220"/>
                      <a:pt x="23430" y="13184"/>
                      <a:pt x="19802" y="13184"/>
                    </a:cubicBezTo>
                    <a:close/>
                  </a:path>
                </a:pathLst>
              </a:custGeom>
              <a:grpFill/>
              <a:ln w="2555" cap="flat">
                <a:noFill/>
                <a:prstDash val="solid"/>
                <a:miter/>
              </a:ln>
            </p:spPr>
            <p:txBody>
              <a:bodyPr rtlCol="0" anchor="ctr"/>
              <a:lstStyle/>
              <a:p>
                <a:endParaRPr lang="en-GB" dirty="0"/>
              </a:p>
            </p:txBody>
          </p:sp>
          <p:sp>
            <p:nvSpPr>
              <p:cNvPr id="660" name="Freihandform: Form 284">
                <a:extLst>
                  <a:ext uri="{FF2B5EF4-FFF2-40B4-BE49-F238E27FC236}">
                    <a16:creationId xmlns:a16="http://schemas.microsoft.com/office/drawing/2014/main" id="{CF79A76B-B952-4612-A60D-A3BB7D22EEDC}"/>
                  </a:ext>
                </a:extLst>
              </p:cNvPr>
              <p:cNvSpPr/>
              <p:nvPr/>
            </p:nvSpPr>
            <p:spPr>
              <a:xfrm>
                <a:off x="1009437" y="1818210"/>
                <a:ext cx="26394" cy="13184"/>
              </a:xfrm>
              <a:custGeom>
                <a:avLst/>
                <a:gdLst>
                  <a:gd name="connsiteX0" fmla="*/ 19802 w 26394"/>
                  <a:gd name="connsiteY0" fmla="*/ 13184 h 13184"/>
                  <a:gd name="connsiteX1" fmla="*/ 6592 w 26394"/>
                  <a:gd name="connsiteY1" fmla="*/ 13184 h 13184"/>
                  <a:gd name="connsiteX2" fmla="*/ 0 w 26394"/>
                  <a:gd name="connsiteY2" fmla="*/ 6592 h 13184"/>
                  <a:gd name="connsiteX3" fmla="*/ 6592 w 26394"/>
                  <a:gd name="connsiteY3" fmla="*/ 0 h 13184"/>
                  <a:gd name="connsiteX4" fmla="*/ 19802 w 26394"/>
                  <a:gd name="connsiteY4" fmla="*/ 0 h 13184"/>
                  <a:gd name="connsiteX5" fmla="*/ 26394 w 26394"/>
                  <a:gd name="connsiteY5" fmla="*/ 6592 h 13184"/>
                  <a:gd name="connsiteX6" fmla="*/ 19802 w 26394"/>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94" h="13184">
                    <a:moveTo>
                      <a:pt x="19802" y="13184"/>
                    </a:moveTo>
                    <a:lnTo>
                      <a:pt x="6592" y="13184"/>
                    </a:lnTo>
                    <a:cubicBezTo>
                      <a:pt x="2938" y="13184"/>
                      <a:pt x="0" y="10220"/>
                      <a:pt x="0" y="6592"/>
                    </a:cubicBezTo>
                    <a:cubicBezTo>
                      <a:pt x="0" y="2964"/>
                      <a:pt x="2964" y="0"/>
                      <a:pt x="6592" y="0"/>
                    </a:cubicBezTo>
                    <a:lnTo>
                      <a:pt x="19802" y="0"/>
                    </a:lnTo>
                    <a:cubicBezTo>
                      <a:pt x="23456" y="0"/>
                      <a:pt x="26394" y="2964"/>
                      <a:pt x="26394" y="6592"/>
                    </a:cubicBezTo>
                    <a:cubicBezTo>
                      <a:pt x="26394" y="10220"/>
                      <a:pt x="23430" y="13184"/>
                      <a:pt x="19802" y="13184"/>
                    </a:cubicBezTo>
                    <a:close/>
                  </a:path>
                </a:pathLst>
              </a:custGeom>
              <a:grpFill/>
              <a:ln w="2555" cap="flat">
                <a:noFill/>
                <a:prstDash val="solid"/>
                <a:miter/>
              </a:ln>
            </p:spPr>
            <p:txBody>
              <a:bodyPr rtlCol="0" anchor="ctr"/>
              <a:lstStyle/>
              <a:p>
                <a:endParaRPr lang="en-GB" dirty="0"/>
              </a:p>
            </p:txBody>
          </p:sp>
          <p:sp>
            <p:nvSpPr>
              <p:cNvPr id="661" name="Freihandform: Form 285">
                <a:extLst>
                  <a:ext uri="{FF2B5EF4-FFF2-40B4-BE49-F238E27FC236}">
                    <a16:creationId xmlns:a16="http://schemas.microsoft.com/office/drawing/2014/main" id="{885228FD-5DA1-4E61-B370-A6A9E17F2498}"/>
                  </a:ext>
                </a:extLst>
              </p:cNvPr>
              <p:cNvSpPr/>
              <p:nvPr/>
            </p:nvSpPr>
            <p:spPr>
              <a:xfrm>
                <a:off x="1062250" y="1818210"/>
                <a:ext cx="131995" cy="13184"/>
              </a:xfrm>
              <a:custGeom>
                <a:avLst/>
                <a:gdLst>
                  <a:gd name="connsiteX0" fmla="*/ 125403 w 131995"/>
                  <a:gd name="connsiteY0" fmla="*/ 13184 h 13184"/>
                  <a:gd name="connsiteX1" fmla="*/ 6592 w 131995"/>
                  <a:gd name="connsiteY1" fmla="*/ 13184 h 13184"/>
                  <a:gd name="connsiteX2" fmla="*/ 0 w 131995"/>
                  <a:gd name="connsiteY2" fmla="*/ 6592 h 13184"/>
                  <a:gd name="connsiteX3" fmla="*/ 6592 w 131995"/>
                  <a:gd name="connsiteY3" fmla="*/ 0 h 13184"/>
                  <a:gd name="connsiteX4" fmla="*/ 125403 w 131995"/>
                  <a:gd name="connsiteY4" fmla="*/ 0 h 13184"/>
                  <a:gd name="connsiteX5" fmla="*/ 131996 w 131995"/>
                  <a:gd name="connsiteY5" fmla="*/ 6592 h 13184"/>
                  <a:gd name="connsiteX6" fmla="*/ 125403 w 131995"/>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95" h="13184">
                    <a:moveTo>
                      <a:pt x="125403" y="13184"/>
                    </a:moveTo>
                    <a:lnTo>
                      <a:pt x="6592" y="13184"/>
                    </a:lnTo>
                    <a:cubicBezTo>
                      <a:pt x="2938" y="13184"/>
                      <a:pt x="0" y="10220"/>
                      <a:pt x="0" y="6592"/>
                    </a:cubicBezTo>
                    <a:cubicBezTo>
                      <a:pt x="0" y="2964"/>
                      <a:pt x="2964" y="0"/>
                      <a:pt x="6592" y="0"/>
                    </a:cubicBezTo>
                    <a:lnTo>
                      <a:pt x="125403" y="0"/>
                    </a:lnTo>
                    <a:cubicBezTo>
                      <a:pt x="129057" y="0"/>
                      <a:pt x="131996" y="2964"/>
                      <a:pt x="131996" y="6592"/>
                    </a:cubicBezTo>
                    <a:cubicBezTo>
                      <a:pt x="131996" y="10220"/>
                      <a:pt x="129057" y="13184"/>
                      <a:pt x="125403" y="13184"/>
                    </a:cubicBezTo>
                    <a:close/>
                  </a:path>
                </a:pathLst>
              </a:custGeom>
              <a:grpFill/>
              <a:ln w="2555" cap="flat">
                <a:noFill/>
                <a:prstDash val="solid"/>
                <a:miter/>
              </a:ln>
            </p:spPr>
            <p:txBody>
              <a:bodyPr rtlCol="0" anchor="ctr"/>
              <a:lstStyle/>
              <a:p>
                <a:endParaRPr lang="en-GB" dirty="0"/>
              </a:p>
            </p:txBody>
          </p:sp>
          <p:sp>
            <p:nvSpPr>
              <p:cNvPr id="662" name="Freihandform: Form 286">
                <a:extLst>
                  <a:ext uri="{FF2B5EF4-FFF2-40B4-BE49-F238E27FC236}">
                    <a16:creationId xmlns:a16="http://schemas.microsoft.com/office/drawing/2014/main" id="{10217B0D-7163-4521-9263-31315E2289A3}"/>
                  </a:ext>
                </a:extLst>
              </p:cNvPr>
              <p:cNvSpPr/>
              <p:nvPr/>
            </p:nvSpPr>
            <p:spPr>
              <a:xfrm>
                <a:off x="1009437" y="1818210"/>
                <a:ext cx="26394" cy="13184"/>
              </a:xfrm>
              <a:custGeom>
                <a:avLst/>
                <a:gdLst>
                  <a:gd name="connsiteX0" fmla="*/ 19802 w 26394"/>
                  <a:gd name="connsiteY0" fmla="*/ 13184 h 13184"/>
                  <a:gd name="connsiteX1" fmla="*/ 6592 w 26394"/>
                  <a:gd name="connsiteY1" fmla="*/ 13184 h 13184"/>
                  <a:gd name="connsiteX2" fmla="*/ 0 w 26394"/>
                  <a:gd name="connsiteY2" fmla="*/ 6592 h 13184"/>
                  <a:gd name="connsiteX3" fmla="*/ 6592 w 26394"/>
                  <a:gd name="connsiteY3" fmla="*/ 0 h 13184"/>
                  <a:gd name="connsiteX4" fmla="*/ 19802 w 26394"/>
                  <a:gd name="connsiteY4" fmla="*/ 0 h 13184"/>
                  <a:gd name="connsiteX5" fmla="*/ 26394 w 26394"/>
                  <a:gd name="connsiteY5" fmla="*/ 6592 h 13184"/>
                  <a:gd name="connsiteX6" fmla="*/ 19802 w 26394"/>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94" h="13184">
                    <a:moveTo>
                      <a:pt x="19802" y="13184"/>
                    </a:moveTo>
                    <a:lnTo>
                      <a:pt x="6592" y="13184"/>
                    </a:lnTo>
                    <a:cubicBezTo>
                      <a:pt x="2938" y="13184"/>
                      <a:pt x="0" y="10220"/>
                      <a:pt x="0" y="6592"/>
                    </a:cubicBezTo>
                    <a:cubicBezTo>
                      <a:pt x="0" y="2964"/>
                      <a:pt x="2964" y="0"/>
                      <a:pt x="6592" y="0"/>
                    </a:cubicBezTo>
                    <a:lnTo>
                      <a:pt x="19802" y="0"/>
                    </a:lnTo>
                    <a:cubicBezTo>
                      <a:pt x="23456" y="0"/>
                      <a:pt x="26394" y="2964"/>
                      <a:pt x="26394" y="6592"/>
                    </a:cubicBezTo>
                    <a:cubicBezTo>
                      <a:pt x="26394" y="10220"/>
                      <a:pt x="23430" y="13184"/>
                      <a:pt x="19802" y="13184"/>
                    </a:cubicBezTo>
                    <a:close/>
                  </a:path>
                </a:pathLst>
              </a:custGeom>
              <a:grpFill/>
              <a:ln w="2555" cap="flat">
                <a:noFill/>
                <a:prstDash val="solid"/>
                <a:miter/>
              </a:ln>
            </p:spPr>
            <p:txBody>
              <a:bodyPr rtlCol="0" anchor="ctr"/>
              <a:lstStyle/>
              <a:p>
                <a:endParaRPr lang="en-GB" dirty="0"/>
              </a:p>
            </p:txBody>
          </p:sp>
        </p:grpSp>
        <p:grpSp>
          <p:nvGrpSpPr>
            <p:cNvPr id="645" name="Group 644">
              <a:extLst>
                <a:ext uri="{FF2B5EF4-FFF2-40B4-BE49-F238E27FC236}">
                  <a16:creationId xmlns:a16="http://schemas.microsoft.com/office/drawing/2014/main" id="{365CA74C-C0A9-4045-BCBF-9742D6DC25B2}"/>
                </a:ext>
              </a:extLst>
            </p:cNvPr>
            <p:cNvGrpSpPr/>
            <p:nvPr/>
          </p:nvGrpSpPr>
          <p:grpSpPr>
            <a:xfrm>
              <a:off x="8268202" y="4274625"/>
              <a:ext cx="148109" cy="197462"/>
              <a:chOff x="1022647" y="1877616"/>
              <a:chExt cx="158415" cy="211202"/>
            </a:xfrm>
            <a:solidFill>
              <a:schemeClr val="accent1"/>
            </a:solidFill>
          </p:grpSpPr>
          <p:sp>
            <p:nvSpPr>
              <p:cNvPr id="646" name="Freihandform: Form 275">
                <a:extLst>
                  <a:ext uri="{FF2B5EF4-FFF2-40B4-BE49-F238E27FC236}">
                    <a16:creationId xmlns:a16="http://schemas.microsoft.com/office/drawing/2014/main" id="{C0CF5751-92E6-45E0-A46F-95208CE4D8E1}"/>
                  </a:ext>
                </a:extLst>
              </p:cNvPr>
              <p:cNvSpPr/>
              <p:nvPr/>
            </p:nvSpPr>
            <p:spPr>
              <a:xfrm>
                <a:off x="1049040" y="2075634"/>
                <a:ext cx="105601" cy="13184"/>
              </a:xfrm>
              <a:custGeom>
                <a:avLst/>
                <a:gdLst>
                  <a:gd name="connsiteX0" fmla="*/ 99009 w 105601"/>
                  <a:gd name="connsiteY0" fmla="*/ 13184 h 13184"/>
                  <a:gd name="connsiteX1" fmla="*/ 6592 w 105601"/>
                  <a:gd name="connsiteY1" fmla="*/ 13184 h 13184"/>
                  <a:gd name="connsiteX2" fmla="*/ 0 w 105601"/>
                  <a:gd name="connsiteY2" fmla="*/ 6592 h 13184"/>
                  <a:gd name="connsiteX3" fmla="*/ 6592 w 105601"/>
                  <a:gd name="connsiteY3" fmla="*/ 0 h 13184"/>
                  <a:gd name="connsiteX4" fmla="*/ 99009 w 105601"/>
                  <a:gd name="connsiteY4" fmla="*/ 0 h 13184"/>
                  <a:gd name="connsiteX5" fmla="*/ 105602 w 105601"/>
                  <a:gd name="connsiteY5" fmla="*/ 6592 h 13184"/>
                  <a:gd name="connsiteX6" fmla="*/ 99009 w 105601"/>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601" h="13184">
                    <a:moveTo>
                      <a:pt x="99009" y="13184"/>
                    </a:moveTo>
                    <a:lnTo>
                      <a:pt x="6592" y="13184"/>
                    </a:lnTo>
                    <a:cubicBezTo>
                      <a:pt x="2938" y="13184"/>
                      <a:pt x="0" y="10220"/>
                      <a:pt x="0" y="6592"/>
                    </a:cubicBezTo>
                    <a:cubicBezTo>
                      <a:pt x="0" y="2938"/>
                      <a:pt x="2964" y="0"/>
                      <a:pt x="6592" y="0"/>
                    </a:cubicBezTo>
                    <a:lnTo>
                      <a:pt x="99009" y="0"/>
                    </a:lnTo>
                    <a:cubicBezTo>
                      <a:pt x="102663" y="0"/>
                      <a:pt x="105602" y="2964"/>
                      <a:pt x="105602" y="6592"/>
                    </a:cubicBezTo>
                    <a:cubicBezTo>
                      <a:pt x="105602" y="10246"/>
                      <a:pt x="102663" y="13184"/>
                      <a:pt x="99009" y="13184"/>
                    </a:cubicBezTo>
                    <a:close/>
                  </a:path>
                </a:pathLst>
              </a:custGeom>
              <a:solidFill>
                <a:schemeClr val="accent1"/>
              </a:solidFill>
              <a:ln w="2555" cap="flat">
                <a:noFill/>
                <a:prstDash val="solid"/>
                <a:miter/>
              </a:ln>
            </p:spPr>
            <p:txBody>
              <a:bodyPr rtlCol="0" anchor="ctr"/>
              <a:lstStyle/>
              <a:p>
                <a:endParaRPr lang="en-GB" dirty="0"/>
              </a:p>
            </p:txBody>
          </p:sp>
          <p:sp>
            <p:nvSpPr>
              <p:cNvPr id="647" name="Freihandform: Form 287">
                <a:extLst>
                  <a:ext uri="{FF2B5EF4-FFF2-40B4-BE49-F238E27FC236}">
                    <a16:creationId xmlns:a16="http://schemas.microsoft.com/office/drawing/2014/main" id="{738E76BA-DBFB-4B55-8309-F78ABFA94DB2}"/>
                  </a:ext>
                </a:extLst>
              </p:cNvPr>
              <p:cNvSpPr/>
              <p:nvPr/>
            </p:nvSpPr>
            <p:spPr>
              <a:xfrm>
                <a:off x="1022647" y="1904010"/>
                <a:ext cx="158415" cy="158415"/>
              </a:xfrm>
              <a:custGeom>
                <a:avLst/>
                <a:gdLst>
                  <a:gd name="connsiteX0" fmla="*/ 79208 w 158415"/>
                  <a:gd name="connsiteY0" fmla="*/ 158415 h 158415"/>
                  <a:gd name="connsiteX1" fmla="*/ 0 w 158415"/>
                  <a:gd name="connsiteY1" fmla="*/ 79208 h 158415"/>
                  <a:gd name="connsiteX2" fmla="*/ 79208 w 158415"/>
                  <a:gd name="connsiteY2" fmla="*/ 0 h 158415"/>
                  <a:gd name="connsiteX3" fmla="*/ 158415 w 158415"/>
                  <a:gd name="connsiteY3" fmla="*/ 79208 h 158415"/>
                  <a:gd name="connsiteX4" fmla="*/ 79208 w 158415"/>
                  <a:gd name="connsiteY4" fmla="*/ 158415 h 158415"/>
                  <a:gd name="connsiteX5" fmla="*/ 79208 w 158415"/>
                  <a:gd name="connsiteY5" fmla="*/ 13184 h 158415"/>
                  <a:gd name="connsiteX6" fmla="*/ 13210 w 158415"/>
                  <a:gd name="connsiteY6" fmla="*/ 79182 h 158415"/>
                  <a:gd name="connsiteX7" fmla="*/ 79208 w 158415"/>
                  <a:gd name="connsiteY7" fmla="*/ 145180 h 158415"/>
                  <a:gd name="connsiteX8" fmla="*/ 145205 w 158415"/>
                  <a:gd name="connsiteY8" fmla="*/ 79182 h 158415"/>
                  <a:gd name="connsiteX9" fmla="*/ 79208 w 158415"/>
                  <a:gd name="connsiteY9" fmla="*/ 13184 h 158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415" h="158415">
                    <a:moveTo>
                      <a:pt x="79208" y="158415"/>
                    </a:moveTo>
                    <a:cubicBezTo>
                      <a:pt x="35541" y="158415"/>
                      <a:pt x="0" y="122874"/>
                      <a:pt x="0" y="79208"/>
                    </a:cubicBezTo>
                    <a:cubicBezTo>
                      <a:pt x="0" y="35541"/>
                      <a:pt x="35541" y="0"/>
                      <a:pt x="79208" y="0"/>
                    </a:cubicBezTo>
                    <a:cubicBezTo>
                      <a:pt x="122874" y="0"/>
                      <a:pt x="158415" y="35541"/>
                      <a:pt x="158415" y="79208"/>
                    </a:cubicBezTo>
                    <a:cubicBezTo>
                      <a:pt x="158415" y="122874"/>
                      <a:pt x="122874" y="158415"/>
                      <a:pt x="79208" y="158415"/>
                    </a:cubicBezTo>
                    <a:close/>
                    <a:moveTo>
                      <a:pt x="79208" y="13184"/>
                    </a:moveTo>
                    <a:cubicBezTo>
                      <a:pt x="42798" y="13184"/>
                      <a:pt x="13210" y="42798"/>
                      <a:pt x="13210" y="79182"/>
                    </a:cubicBezTo>
                    <a:cubicBezTo>
                      <a:pt x="13210" y="115566"/>
                      <a:pt x="42823" y="145180"/>
                      <a:pt x="79208" y="145180"/>
                    </a:cubicBezTo>
                    <a:cubicBezTo>
                      <a:pt x="115592" y="145180"/>
                      <a:pt x="145205" y="115566"/>
                      <a:pt x="145205" y="79182"/>
                    </a:cubicBezTo>
                    <a:cubicBezTo>
                      <a:pt x="145205" y="42798"/>
                      <a:pt x="115592" y="13184"/>
                      <a:pt x="79208" y="13184"/>
                    </a:cubicBezTo>
                    <a:close/>
                  </a:path>
                </a:pathLst>
              </a:custGeom>
              <a:solidFill>
                <a:schemeClr val="accent1"/>
              </a:solidFill>
              <a:ln w="2555" cap="flat">
                <a:noFill/>
                <a:prstDash val="solid"/>
                <a:miter/>
              </a:ln>
            </p:spPr>
            <p:txBody>
              <a:bodyPr rtlCol="0" anchor="ctr"/>
              <a:lstStyle/>
              <a:p>
                <a:endParaRPr lang="en-GB" dirty="0"/>
              </a:p>
            </p:txBody>
          </p:sp>
          <p:sp>
            <p:nvSpPr>
              <p:cNvPr id="648" name="Freihandform: Form 288">
                <a:extLst>
                  <a:ext uri="{FF2B5EF4-FFF2-40B4-BE49-F238E27FC236}">
                    <a16:creationId xmlns:a16="http://schemas.microsoft.com/office/drawing/2014/main" id="{92E75379-2BC2-48B6-BB7C-8B2B820DB252}"/>
                  </a:ext>
                </a:extLst>
              </p:cNvPr>
              <p:cNvSpPr/>
              <p:nvPr/>
            </p:nvSpPr>
            <p:spPr>
              <a:xfrm>
                <a:off x="1088644" y="1877616"/>
                <a:ext cx="26394" cy="13184"/>
              </a:xfrm>
              <a:custGeom>
                <a:avLst/>
                <a:gdLst>
                  <a:gd name="connsiteX0" fmla="*/ 19802 w 26394"/>
                  <a:gd name="connsiteY0" fmla="*/ 13184 h 13184"/>
                  <a:gd name="connsiteX1" fmla="*/ 6592 w 26394"/>
                  <a:gd name="connsiteY1" fmla="*/ 13184 h 13184"/>
                  <a:gd name="connsiteX2" fmla="*/ 0 w 26394"/>
                  <a:gd name="connsiteY2" fmla="*/ 6592 h 13184"/>
                  <a:gd name="connsiteX3" fmla="*/ 6592 w 26394"/>
                  <a:gd name="connsiteY3" fmla="*/ 0 h 13184"/>
                  <a:gd name="connsiteX4" fmla="*/ 19802 w 26394"/>
                  <a:gd name="connsiteY4" fmla="*/ 0 h 13184"/>
                  <a:gd name="connsiteX5" fmla="*/ 26394 w 26394"/>
                  <a:gd name="connsiteY5" fmla="*/ 6592 h 13184"/>
                  <a:gd name="connsiteX6" fmla="*/ 19802 w 26394"/>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94" h="13184">
                    <a:moveTo>
                      <a:pt x="19802" y="13184"/>
                    </a:moveTo>
                    <a:lnTo>
                      <a:pt x="6592" y="13184"/>
                    </a:lnTo>
                    <a:cubicBezTo>
                      <a:pt x="2938" y="13184"/>
                      <a:pt x="0" y="10220"/>
                      <a:pt x="0" y="6592"/>
                    </a:cubicBezTo>
                    <a:cubicBezTo>
                      <a:pt x="0" y="2964"/>
                      <a:pt x="2964" y="0"/>
                      <a:pt x="6592" y="0"/>
                    </a:cubicBezTo>
                    <a:lnTo>
                      <a:pt x="19802" y="0"/>
                    </a:lnTo>
                    <a:cubicBezTo>
                      <a:pt x="23456" y="0"/>
                      <a:pt x="26394" y="2964"/>
                      <a:pt x="26394" y="6592"/>
                    </a:cubicBezTo>
                    <a:cubicBezTo>
                      <a:pt x="26394" y="10220"/>
                      <a:pt x="23456" y="13184"/>
                      <a:pt x="19802" y="13184"/>
                    </a:cubicBezTo>
                    <a:close/>
                  </a:path>
                </a:pathLst>
              </a:custGeom>
              <a:solidFill>
                <a:schemeClr val="accent1"/>
              </a:solidFill>
              <a:ln w="2555" cap="flat">
                <a:noFill/>
                <a:prstDash val="solid"/>
                <a:miter/>
              </a:ln>
            </p:spPr>
            <p:txBody>
              <a:bodyPr rtlCol="0" anchor="ctr"/>
              <a:lstStyle/>
              <a:p>
                <a:endParaRPr lang="en-GB" dirty="0"/>
              </a:p>
            </p:txBody>
          </p:sp>
          <p:sp>
            <p:nvSpPr>
              <p:cNvPr id="649" name="Freihandform: Form 289">
                <a:extLst>
                  <a:ext uri="{FF2B5EF4-FFF2-40B4-BE49-F238E27FC236}">
                    <a16:creationId xmlns:a16="http://schemas.microsoft.com/office/drawing/2014/main" id="{0C7B1E16-126C-4405-B685-F7D935ADAD6B}"/>
                  </a:ext>
                </a:extLst>
              </p:cNvPr>
              <p:cNvSpPr/>
              <p:nvPr/>
            </p:nvSpPr>
            <p:spPr>
              <a:xfrm>
                <a:off x="1141439" y="1903990"/>
                <a:ext cx="26406" cy="26413"/>
              </a:xfrm>
              <a:custGeom>
                <a:avLst/>
                <a:gdLst>
                  <a:gd name="connsiteX0" fmla="*/ 6611 w 26406"/>
                  <a:gd name="connsiteY0" fmla="*/ 26413 h 26413"/>
                  <a:gd name="connsiteX1" fmla="*/ 1935 w 26406"/>
                  <a:gd name="connsiteY1" fmla="*/ 24471 h 26413"/>
                  <a:gd name="connsiteX2" fmla="*/ 1935 w 26406"/>
                  <a:gd name="connsiteY2" fmla="*/ 15145 h 26413"/>
                  <a:gd name="connsiteX3" fmla="*/ 15145 w 26406"/>
                  <a:gd name="connsiteY3" fmla="*/ 1935 h 26413"/>
                  <a:gd name="connsiteX4" fmla="*/ 24471 w 26406"/>
                  <a:gd name="connsiteY4" fmla="*/ 1935 h 26413"/>
                  <a:gd name="connsiteX5" fmla="*/ 24471 w 26406"/>
                  <a:gd name="connsiteY5" fmla="*/ 11262 h 26413"/>
                  <a:gd name="connsiteX6" fmla="*/ 11262 w 26406"/>
                  <a:gd name="connsiteY6" fmla="*/ 24471 h 26413"/>
                  <a:gd name="connsiteX7" fmla="*/ 6611 w 26406"/>
                  <a:gd name="connsiteY7" fmla="*/ 26413 h 2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06" h="26413">
                    <a:moveTo>
                      <a:pt x="6611" y="26413"/>
                    </a:moveTo>
                    <a:cubicBezTo>
                      <a:pt x="4925" y="26413"/>
                      <a:pt x="3239" y="25774"/>
                      <a:pt x="1935" y="24471"/>
                    </a:cubicBezTo>
                    <a:cubicBezTo>
                      <a:pt x="-645" y="21891"/>
                      <a:pt x="-645" y="17726"/>
                      <a:pt x="1935" y="15145"/>
                    </a:cubicBezTo>
                    <a:lnTo>
                      <a:pt x="15145" y="1935"/>
                    </a:lnTo>
                    <a:cubicBezTo>
                      <a:pt x="17726" y="-645"/>
                      <a:pt x="21891" y="-645"/>
                      <a:pt x="24471" y="1935"/>
                    </a:cubicBezTo>
                    <a:cubicBezTo>
                      <a:pt x="27052" y="4516"/>
                      <a:pt x="27052" y="8681"/>
                      <a:pt x="24471" y="11262"/>
                    </a:cubicBezTo>
                    <a:lnTo>
                      <a:pt x="11262" y="24471"/>
                    </a:lnTo>
                    <a:cubicBezTo>
                      <a:pt x="9984" y="25774"/>
                      <a:pt x="8298" y="26413"/>
                      <a:pt x="6611" y="26413"/>
                    </a:cubicBezTo>
                    <a:close/>
                  </a:path>
                </a:pathLst>
              </a:custGeom>
              <a:solidFill>
                <a:schemeClr val="accent1"/>
              </a:solidFill>
              <a:ln w="2555" cap="flat">
                <a:noFill/>
                <a:prstDash val="solid"/>
                <a:miter/>
              </a:ln>
            </p:spPr>
            <p:txBody>
              <a:bodyPr rtlCol="0" anchor="ctr"/>
              <a:lstStyle/>
              <a:p>
                <a:endParaRPr lang="en-GB" dirty="0"/>
              </a:p>
            </p:txBody>
          </p:sp>
          <p:sp>
            <p:nvSpPr>
              <p:cNvPr id="650" name="Freihandform: Form 290">
                <a:extLst>
                  <a:ext uri="{FF2B5EF4-FFF2-40B4-BE49-F238E27FC236}">
                    <a16:creationId xmlns:a16="http://schemas.microsoft.com/office/drawing/2014/main" id="{56B6218C-0A17-480E-8443-E1D12122E3F6}"/>
                  </a:ext>
                </a:extLst>
              </p:cNvPr>
              <p:cNvSpPr/>
              <p:nvPr/>
            </p:nvSpPr>
            <p:spPr>
              <a:xfrm>
                <a:off x="1035812" y="1903990"/>
                <a:ext cx="26406" cy="26413"/>
              </a:xfrm>
              <a:custGeom>
                <a:avLst/>
                <a:gdLst>
                  <a:gd name="connsiteX0" fmla="*/ 19821 w 26406"/>
                  <a:gd name="connsiteY0" fmla="*/ 26413 h 26413"/>
                  <a:gd name="connsiteX1" fmla="*/ 15145 w 26406"/>
                  <a:gd name="connsiteY1" fmla="*/ 24471 h 26413"/>
                  <a:gd name="connsiteX2" fmla="*/ 1935 w 26406"/>
                  <a:gd name="connsiteY2" fmla="*/ 11262 h 26413"/>
                  <a:gd name="connsiteX3" fmla="*/ 1935 w 26406"/>
                  <a:gd name="connsiteY3" fmla="*/ 1935 h 26413"/>
                  <a:gd name="connsiteX4" fmla="*/ 11262 w 26406"/>
                  <a:gd name="connsiteY4" fmla="*/ 1935 h 26413"/>
                  <a:gd name="connsiteX5" fmla="*/ 24471 w 26406"/>
                  <a:gd name="connsiteY5" fmla="*/ 15145 h 26413"/>
                  <a:gd name="connsiteX6" fmla="*/ 24471 w 26406"/>
                  <a:gd name="connsiteY6" fmla="*/ 24471 h 26413"/>
                  <a:gd name="connsiteX7" fmla="*/ 19821 w 26406"/>
                  <a:gd name="connsiteY7" fmla="*/ 26413 h 26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06" h="26413">
                    <a:moveTo>
                      <a:pt x="19821" y="26413"/>
                    </a:moveTo>
                    <a:cubicBezTo>
                      <a:pt x="18135" y="26413"/>
                      <a:pt x="16448" y="25774"/>
                      <a:pt x="15145" y="24471"/>
                    </a:cubicBezTo>
                    <a:lnTo>
                      <a:pt x="1935" y="11262"/>
                    </a:lnTo>
                    <a:cubicBezTo>
                      <a:pt x="-645" y="8681"/>
                      <a:pt x="-645" y="4516"/>
                      <a:pt x="1935" y="1935"/>
                    </a:cubicBezTo>
                    <a:cubicBezTo>
                      <a:pt x="4516" y="-645"/>
                      <a:pt x="8681" y="-645"/>
                      <a:pt x="11262" y="1935"/>
                    </a:cubicBezTo>
                    <a:lnTo>
                      <a:pt x="24471" y="15145"/>
                    </a:lnTo>
                    <a:cubicBezTo>
                      <a:pt x="27052" y="17726"/>
                      <a:pt x="27052" y="21891"/>
                      <a:pt x="24471" y="24471"/>
                    </a:cubicBezTo>
                    <a:cubicBezTo>
                      <a:pt x="23194" y="25774"/>
                      <a:pt x="21507" y="26413"/>
                      <a:pt x="19821" y="26413"/>
                    </a:cubicBezTo>
                    <a:close/>
                  </a:path>
                </a:pathLst>
              </a:custGeom>
              <a:solidFill>
                <a:schemeClr val="accent1"/>
              </a:solidFill>
              <a:ln w="2555" cap="flat">
                <a:noFill/>
                <a:prstDash val="solid"/>
                <a:miter/>
              </a:ln>
            </p:spPr>
            <p:txBody>
              <a:bodyPr rtlCol="0" anchor="ctr"/>
              <a:lstStyle/>
              <a:p>
                <a:endParaRPr lang="en-GB" dirty="0"/>
              </a:p>
            </p:txBody>
          </p:sp>
          <p:sp>
            <p:nvSpPr>
              <p:cNvPr id="651" name="Freihandform: Form 291">
                <a:extLst>
                  <a:ext uri="{FF2B5EF4-FFF2-40B4-BE49-F238E27FC236}">
                    <a16:creationId xmlns:a16="http://schemas.microsoft.com/office/drawing/2014/main" id="{1A5D69D7-F2BF-480E-B551-C9A613544DE8}"/>
                  </a:ext>
                </a:extLst>
              </p:cNvPr>
              <p:cNvSpPr/>
              <p:nvPr/>
            </p:nvSpPr>
            <p:spPr>
              <a:xfrm>
                <a:off x="1095236" y="1943613"/>
                <a:ext cx="39592" cy="79207"/>
              </a:xfrm>
              <a:custGeom>
                <a:avLst/>
                <a:gdLst>
                  <a:gd name="connsiteX0" fmla="*/ 33012 w 39592"/>
                  <a:gd name="connsiteY0" fmla="*/ 79208 h 79207"/>
                  <a:gd name="connsiteX1" fmla="*/ 27850 w 39592"/>
                  <a:gd name="connsiteY1" fmla="*/ 76729 h 79207"/>
                  <a:gd name="connsiteX2" fmla="*/ 1456 w 39592"/>
                  <a:gd name="connsiteY2" fmla="*/ 43717 h 79207"/>
                  <a:gd name="connsiteX3" fmla="*/ 0 w 39592"/>
                  <a:gd name="connsiteY3" fmla="*/ 39604 h 79207"/>
                  <a:gd name="connsiteX4" fmla="*/ 0 w 39592"/>
                  <a:gd name="connsiteY4" fmla="*/ 6592 h 79207"/>
                  <a:gd name="connsiteX5" fmla="*/ 6592 w 39592"/>
                  <a:gd name="connsiteY5" fmla="*/ 0 h 79207"/>
                  <a:gd name="connsiteX6" fmla="*/ 13184 w 39592"/>
                  <a:gd name="connsiteY6" fmla="*/ 6592 h 79207"/>
                  <a:gd name="connsiteX7" fmla="*/ 13184 w 39592"/>
                  <a:gd name="connsiteY7" fmla="*/ 37279 h 79207"/>
                  <a:gd name="connsiteX8" fmla="*/ 38147 w 39592"/>
                  <a:gd name="connsiteY8" fmla="*/ 68476 h 79207"/>
                  <a:gd name="connsiteX9" fmla="*/ 37125 w 39592"/>
                  <a:gd name="connsiteY9" fmla="*/ 77751 h 79207"/>
                  <a:gd name="connsiteX10" fmla="*/ 33012 w 39592"/>
                  <a:gd name="connsiteY10" fmla="*/ 79208 h 79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592" h="79207">
                    <a:moveTo>
                      <a:pt x="33012" y="79208"/>
                    </a:moveTo>
                    <a:cubicBezTo>
                      <a:pt x="31070" y="79208"/>
                      <a:pt x="29154" y="78364"/>
                      <a:pt x="27850" y="76729"/>
                    </a:cubicBezTo>
                    <a:lnTo>
                      <a:pt x="1456" y="43717"/>
                    </a:lnTo>
                    <a:cubicBezTo>
                      <a:pt x="511" y="42542"/>
                      <a:pt x="0" y="41086"/>
                      <a:pt x="0" y="39604"/>
                    </a:cubicBezTo>
                    <a:lnTo>
                      <a:pt x="0" y="6592"/>
                    </a:lnTo>
                    <a:cubicBezTo>
                      <a:pt x="0" y="2938"/>
                      <a:pt x="2964" y="0"/>
                      <a:pt x="6592" y="0"/>
                    </a:cubicBezTo>
                    <a:cubicBezTo>
                      <a:pt x="10220" y="0"/>
                      <a:pt x="13184" y="2964"/>
                      <a:pt x="13184" y="6592"/>
                    </a:cubicBezTo>
                    <a:lnTo>
                      <a:pt x="13184" y="37279"/>
                    </a:lnTo>
                    <a:lnTo>
                      <a:pt x="38147" y="68476"/>
                    </a:lnTo>
                    <a:cubicBezTo>
                      <a:pt x="40421" y="71312"/>
                      <a:pt x="39962" y="75477"/>
                      <a:pt x="37125" y="77751"/>
                    </a:cubicBezTo>
                    <a:cubicBezTo>
                      <a:pt x="35924" y="78722"/>
                      <a:pt x="34468" y="79208"/>
                      <a:pt x="33012" y="79208"/>
                    </a:cubicBezTo>
                    <a:close/>
                  </a:path>
                </a:pathLst>
              </a:custGeom>
              <a:solidFill>
                <a:schemeClr val="accent1"/>
              </a:solidFill>
              <a:ln w="2555"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4150685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88A9E8A-DFDA-41F6-91EA-502E8E935FC4}"/>
              </a:ext>
            </a:extLst>
          </p:cNvPr>
          <p:cNvGraphicFramePr>
            <a:graphicFrameLocks noChangeAspect="1"/>
          </p:cNvGraphicFramePr>
          <p:nvPr>
            <p:custDataLst>
              <p:tags r:id="rId1"/>
            </p:custDataLst>
            <p:extLst>
              <p:ext uri="{D42A27DB-BD31-4B8C-83A1-F6EECF244321}">
                <p14:modId xmlns:p14="http://schemas.microsoft.com/office/powerpoint/2010/main" val="1031695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C88A9E8A-DFDA-41F6-91EA-502E8E935FC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A4E0296-AC67-43A4-B761-FB5298E3F598}"/>
              </a:ext>
            </a:extLst>
          </p:cNvPr>
          <p:cNvSpPr>
            <a:spLocks noGrp="1"/>
          </p:cNvSpPr>
          <p:nvPr>
            <p:ph type="sldNum" sz="quarter" idx="11"/>
          </p:nvPr>
        </p:nvSpPr>
        <p:spPr/>
        <p:txBody>
          <a:bodyPr/>
          <a:lstStyle/>
          <a:p>
            <a:fld id="{D56DB8AA-803C-49D2-90AA-1140CE72DCD7}" type="slidenum">
              <a:rPr lang="en-GB" smtClean="0"/>
              <a:pPr/>
              <a:t>3</a:t>
            </a:fld>
            <a:endParaRPr lang="en-GB" dirty="0"/>
          </a:p>
        </p:txBody>
      </p:sp>
      <p:sp>
        <p:nvSpPr>
          <p:cNvPr id="3" name="Title 2">
            <a:extLst>
              <a:ext uri="{FF2B5EF4-FFF2-40B4-BE49-F238E27FC236}">
                <a16:creationId xmlns:a16="http://schemas.microsoft.com/office/drawing/2014/main" id="{A58E4421-EEA5-DE56-41D3-1133C9F830C0}"/>
              </a:ext>
            </a:extLst>
          </p:cNvPr>
          <p:cNvSpPr>
            <a:spLocks noGrp="1"/>
          </p:cNvSpPr>
          <p:nvPr>
            <p:ph type="title"/>
          </p:nvPr>
        </p:nvSpPr>
        <p:spPr/>
        <p:txBody>
          <a:bodyPr/>
          <a:lstStyle/>
          <a:p>
            <a:r>
              <a:rPr lang="en-GB" dirty="0"/>
              <a:t>Munich Re Icons 1/12</a:t>
            </a:r>
            <a:br>
              <a:rPr lang="en-GB" dirty="0"/>
            </a:br>
            <a:endParaRPr lang="en-US" dirty="0"/>
          </a:p>
        </p:txBody>
      </p:sp>
      <p:sp>
        <p:nvSpPr>
          <p:cNvPr id="17" name="TextBox 16">
            <a:extLst>
              <a:ext uri="{FF2B5EF4-FFF2-40B4-BE49-F238E27FC236}">
                <a16:creationId xmlns:a16="http://schemas.microsoft.com/office/drawing/2014/main" id="{16239C3B-5E93-40A8-AFBA-30801BA4A9D4}"/>
              </a:ext>
            </a:extLst>
          </p:cNvPr>
          <p:cNvSpPr txBox="1"/>
          <p:nvPr/>
        </p:nvSpPr>
        <p:spPr>
          <a:xfrm>
            <a:off x="607300" y="2077494"/>
            <a:ext cx="373500" cy="107722"/>
          </a:xfrm>
          <a:prstGeom prst="rect">
            <a:avLst/>
          </a:prstGeom>
          <a:noFill/>
          <a:effectLst/>
        </p:spPr>
        <p:txBody>
          <a:bodyPr wrap="none" lIns="0" tIns="0" rIns="0" bIns="0" rtlCol="0" anchor="t">
            <a:spAutoFit/>
          </a:bodyPr>
          <a:lstStyle/>
          <a:p>
            <a:pPr algn="ctr"/>
            <a:r>
              <a:rPr lang="en-GB" sz="700">
                <a:solidFill>
                  <a:schemeClr val="tx2"/>
                </a:solidFill>
              </a:rPr>
              <a:t>AA-rating</a:t>
            </a:r>
            <a:endParaRPr lang="en-GB" sz="700" dirty="0">
              <a:solidFill>
                <a:schemeClr val="tx2"/>
              </a:solidFill>
            </a:endParaRPr>
          </a:p>
        </p:txBody>
      </p:sp>
      <p:sp>
        <p:nvSpPr>
          <p:cNvPr id="18" name="TextBox 17">
            <a:extLst>
              <a:ext uri="{FF2B5EF4-FFF2-40B4-BE49-F238E27FC236}">
                <a16:creationId xmlns:a16="http://schemas.microsoft.com/office/drawing/2014/main" id="{527EF6CA-B482-4E4B-BEC7-7F9642F5D442}"/>
              </a:ext>
            </a:extLst>
          </p:cNvPr>
          <p:cNvSpPr txBox="1"/>
          <p:nvPr/>
        </p:nvSpPr>
        <p:spPr>
          <a:xfrm>
            <a:off x="640162" y="2899619"/>
            <a:ext cx="307777" cy="107722"/>
          </a:xfrm>
          <a:prstGeom prst="rect">
            <a:avLst/>
          </a:prstGeom>
          <a:noFill/>
          <a:effectLst/>
        </p:spPr>
        <p:txBody>
          <a:bodyPr wrap="none" lIns="0" tIns="0" rIns="0" bIns="0" rtlCol="0" anchor="t">
            <a:spAutoFit/>
          </a:bodyPr>
          <a:lstStyle/>
          <a:p>
            <a:pPr algn="ctr"/>
            <a:r>
              <a:rPr lang="en-GB" sz="700" dirty="0">
                <a:solidFill>
                  <a:schemeClr val="tx2"/>
                </a:solidFill>
              </a:rPr>
              <a:t>Agenda</a:t>
            </a:r>
          </a:p>
        </p:txBody>
      </p:sp>
      <p:sp>
        <p:nvSpPr>
          <p:cNvPr id="19" name="TextBox 18">
            <a:extLst>
              <a:ext uri="{FF2B5EF4-FFF2-40B4-BE49-F238E27FC236}">
                <a16:creationId xmlns:a16="http://schemas.microsoft.com/office/drawing/2014/main" id="{EF3D1FD3-7BE8-42F3-B6FA-52BEF9BED315}"/>
              </a:ext>
            </a:extLst>
          </p:cNvPr>
          <p:cNvSpPr txBox="1"/>
          <p:nvPr/>
        </p:nvSpPr>
        <p:spPr>
          <a:xfrm>
            <a:off x="635352" y="3723675"/>
            <a:ext cx="317396" cy="107722"/>
          </a:xfrm>
          <a:prstGeom prst="rect">
            <a:avLst/>
          </a:prstGeom>
          <a:noFill/>
          <a:effectLst/>
        </p:spPr>
        <p:txBody>
          <a:bodyPr wrap="none" lIns="0" tIns="0" rIns="0" bIns="0" rtlCol="0" anchor="t">
            <a:spAutoFit/>
          </a:bodyPr>
          <a:lstStyle/>
          <a:p>
            <a:pPr algn="ctr"/>
            <a:r>
              <a:rPr lang="en-GB" sz="700" dirty="0">
                <a:solidFill>
                  <a:schemeClr val="tx2"/>
                </a:solidFill>
              </a:rPr>
              <a:t>Analyse</a:t>
            </a:r>
          </a:p>
        </p:txBody>
      </p:sp>
      <p:sp>
        <p:nvSpPr>
          <p:cNvPr id="20" name="TextBox 19">
            <a:extLst>
              <a:ext uri="{FF2B5EF4-FFF2-40B4-BE49-F238E27FC236}">
                <a16:creationId xmlns:a16="http://schemas.microsoft.com/office/drawing/2014/main" id="{93BD06DD-61BB-48B2-AAB3-D3674EF4ABC6}"/>
              </a:ext>
            </a:extLst>
          </p:cNvPr>
          <p:cNvSpPr txBox="1"/>
          <p:nvPr/>
        </p:nvSpPr>
        <p:spPr>
          <a:xfrm>
            <a:off x="604093" y="4547732"/>
            <a:ext cx="379912" cy="107722"/>
          </a:xfrm>
          <a:prstGeom prst="rect">
            <a:avLst/>
          </a:prstGeom>
          <a:noFill/>
          <a:effectLst/>
        </p:spPr>
        <p:txBody>
          <a:bodyPr wrap="none" lIns="0" tIns="0" rIns="0" bIns="0" rtlCol="0" anchor="t">
            <a:spAutoFit/>
          </a:bodyPr>
          <a:lstStyle/>
          <a:p>
            <a:pPr algn="ctr"/>
            <a:r>
              <a:rPr lang="en-GB" sz="700" dirty="0">
                <a:solidFill>
                  <a:schemeClr val="tx2"/>
                </a:solidFill>
              </a:rPr>
              <a:t>Arrow left</a:t>
            </a:r>
          </a:p>
        </p:txBody>
      </p:sp>
      <p:sp>
        <p:nvSpPr>
          <p:cNvPr id="21" name="TextBox 20">
            <a:extLst>
              <a:ext uri="{FF2B5EF4-FFF2-40B4-BE49-F238E27FC236}">
                <a16:creationId xmlns:a16="http://schemas.microsoft.com/office/drawing/2014/main" id="{E528E22E-D13F-42FE-827B-8A628219F018}"/>
              </a:ext>
            </a:extLst>
          </p:cNvPr>
          <p:cNvSpPr txBox="1"/>
          <p:nvPr/>
        </p:nvSpPr>
        <p:spPr>
          <a:xfrm>
            <a:off x="1690404" y="2077494"/>
            <a:ext cx="298160" cy="107722"/>
          </a:xfrm>
          <a:prstGeom prst="rect">
            <a:avLst/>
          </a:prstGeom>
          <a:noFill/>
          <a:effectLst/>
        </p:spPr>
        <p:txBody>
          <a:bodyPr wrap="none" lIns="0" tIns="0" rIns="0" bIns="0" rtlCol="0" anchor="t">
            <a:spAutoFit/>
          </a:bodyPr>
          <a:lstStyle/>
          <a:p>
            <a:pPr algn="ctr"/>
            <a:r>
              <a:rPr lang="en-GB" sz="700" dirty="0">
                <a:solidFill>
                  <a:schemeClr val="tx2"/>
                </a:solidFill>
              </a:rPr>
              <a:t>Abacus</a:t>
            </a:r>
          </a:p>
        </p:txBody>
      </p:sp>
      <p:sp>
        <p:nvSpPr>
          <p:cNvPr id="22" name="TextBox 21">
            <a:extLst>
              <a:ext uri="{FF2B5EF4-FFF2-40B4-BE49-F238E27FC236}">
                <a16:creationId xmlns:a16="http://schemas.microsoft.com/office/drawing/2014/main" id="{CD67594B-3761-476E-966E-A17BEBA93AFE}"/>
              </a:ext>
            </a:extLst>
          </p:cNvPr>
          <p:cNvSpPr txBox="1"/>
          <p:nvPr/>
        </p:nvSpPr>
        <p:spPr>
          <a:xfrm>
            <a:off x="1675978" y="2899619"/>
            <a:ext cx="327013" cy="107722"/>
          </a:xfrm>
          <a:prstGeom prst="rect">
            <a:avLst/>
          </a:prstGeom>
          <a:noFill/>
          <a:effectLst/>
        </p:spPr>
        <p:txBody>
          <a:bodyPr wrap="none" lIns="0" tIns="0" rIns="0" bIns="0" rtlCol="0" anchor="t">
            <a:spAutoFit/>
          </a:bodyPr>
          <a:lstStyle/>
          <a:p>
            <a:pPr algn="ctr"/>
            <a:r>
              <a:rPr lang="en-GB" sz="700" dirty="0">
                <a:solidFill>
                  <a:schemeClr val="tx2"/>
                </a:solidFill>
              </a:rPr>
              <a:t>Airplane</a:t>
            </a:r>
          </a:p>
        </p:txBody>
      </p:sp>
      <p:sp>
        <p:nvSpPr>
          <p:cNvPr id="23" name="TextBox 22">
            <a:extLst>
              <a:ext uri="{FF2B5EF4-FFF2-40B4-BE49-F238E27FC236}">
                <a16:creationId xmlns:a16="http://schemas.microsoft.com/office/drawing/2014/main" id="{7F636CD8-9B9C-430B-8610-F5DD360A4628}"/>
              </a:ext>
            </a:extLst>
          </p:cNvPr>
          <p:cNvSpPr txBox="1"/>
          <p:nvPr/>
        </p:nvSpPr>
        <p:spPr>
          <a:xfrm>
            <a:off x="1744906" y="3723675"/>
            <a:ext cx="189155" cy="107722"/>
          </a:xfrm>
          <a:prstGeom prst="rect">
            <a:avLst/>
          </a:prstGeom>
          <a:noFill/>
          <a:effectLst/>
        </p:spPr>
        <p:txBody>
          <a:bodyPr wrap="none" lIns="0" tIns="0" rIns="0" bIns="0" rtlCol="0" anchor="t">
            <a:spAutoFit/>
          </a:bodyPr>
          <a:lstStyle/>
          <a:p>
            <a:pPr algn="ctr"/>
            <a:r>
              <a:rPr lang="en-GB" sz="700">
                <a:solidFill>
                  <a:schemeClr val="tx2"/>
                </a:solidFill>
              </a:rPr>
              <a:t>Area</a:t>
            </a:r>
            <a:endParaRPr lang="en-GB" sz="700" dirty="0">
              <a:solidFill>
                <a:schemeClr val="tx2"/>
              </a:solidFill>
            </a:endParaRPr>
          </a:p>
        </p:txBody>
      </p:sp>
      <p:sp>
        <p:nvSpPr>
          <p:cNvPr id="24" name="TextBox 23">
            <a:extLst>
              <a:ext uri="{FF2B5EF4-FFF2-40B4-BE49-F238E27FC236}">
                <a16:creationId xmlns:a16="http://schemas.microsoft.com/office/drawing/2014/main" id="{3AF14787-E396-4265-ACE9-63D6DB4DFD8A}"/>
              </a:ext>
            </a:extLst>
          </p:cNvPr>
          <p:cNvSpPr txBox="1"/>
          <p:nvPr/>
        </p:nvSpPr>
        <p:spPr>
          <a:xfrm>
            <a:off x="1532509" y="4547732"/>
            <a:ext cx="613951" cy="107722"/>
          </a:xfrm>
          <a:prstGeom prst="rect">
            <a:avLst/>
          </a:prstGeom>
          <a:noFill/>
          <a:effectLst/>
        </p:spPr>
        <p:txBody>
          <a:bodyPr wrap="none" lIns="0" tIns="0" rIns="0" bIns="0" rtlCol="0" anchor="t">
            <a:spAutoFit/>
          </a:bodyPr>
          <a:lstStyle/>
          <a:p>
            <a:pPr algn="ctr"/>
            <a:r>
              <a:rPr lang="en-GB" sz="700">
                <a:solidFill>
                  <a:schemeClr val="tx2"/>
                </a:solidFill>
              </a:rPr>
              <a:t>Arrow left small</a:t>
            </a:r>
            <a:endParaRPr lang="en-GB" sz="700" dirty="0">
              <a:solidFill>
                <a:schemeClr val="tx2"/>
              </a:solidFill>
            </a:endParaRPr>
          </a:p>
        </p:txBody>
      </p:sp>
      <p:sp>
        <p:nvSpPr>
          <p:cNvPr id="25" name="TextBox 24">
            <a:extLst>
              <a:ext uri="{FF2B5EF4-FFF2-40B4-BE49-F238E27FC236}">
                <a16:creationId xmlns:a16="http://schemas.microsoft.com/office/drawing/2014/main" id="{4711E30B-0761-43A4-9620-BDBB9C4A10DB}"/>
              </a:ext>
            </a:extLst>
          </p:cNvPr>
          <p:cNvSpPr txBox="1"/>
          <p:nvPr/>
        </p:nvSpPr>
        <p:spPr>
          <a:xfrm>
            <a:off x="2735837" y="2077494"/>
            <a:ext cx="298160" cy="107722"/>
          </a:xfrm>
          <a:prstGeom prst="rect">
            <a:avLst/>
          </a:prstGeom>
          <a:noFill/>
          <a:effectLst/>
        </p:spPr>
        <p:txBody>
          <a:bodyPr wrap="none" lIns="0" tIns="0" rIns="0" bIns="0" rtlCol="0" anchor="t">
            <a:spAutoFit/>
          </a:bodyPr>
          <a:lstStyle/>
          <a:p>
            <a:pPr algn="ctr"/>
            <a:r>
              <a:rPr lang="en-GB" sz="700" dirty="0">
                <a:solidFill>
                  <a:schemeClr val="tx2"/>
                </a:solidFill>
              </a:rPr>
              <a:t>Add file</a:t>
            </a:r>
          </a:p>
        </p:txBody>
      </p:sp>
      <p:sp>
        <p:nvSpPr>
          <p:cNvPr id="26" name="TextBox 25">
            <a:extLst>
              <a:ext uri="{FF2B5EF4-FFF2-40B4-BE49-F238E27FC236}">
                <a16:creationId xmlns:a16="http://schemas.microsoft.com/office/drawing/2014/main" id="{1CEF7CD7-8F66-4D38-8F63-0EA1BAF2A4C0}"/>
              </a:ext>
            </a:extLst>
          </p:cNvPr>
          <p:cNvSpPr txBox="1"/>
          <p:nvPr/>
        </p:nvSpPr>
        <p:spPr>
          <a:xfrm>
            <a:off x="2830417" y="2899619"/>
            <a:ext cx="109004" cy="107722"/>
          </a:xfrm>
          <a:prstGeom prst="rect">
            <a:avLst/>
          </a:prstGeom>
          <a:noFill/>
          <a:effectLst/>
        </p:spPr>
        <p:txBody>
          <a:bodyPr wrap="none" lIns="0" tIns="0" rIns="0" bIns="0" rtlCol="0" anchor="t">
            <a:spAutoFit/>
          </a:bodyPr>
          <a:lstStyle/>
          <a:p>
            <a:pPr algn="ctr"/>
            <a:r>
              <a:rPr lang="en-GB" sz="700">
                <a:solidFill>
                  <a:schemeClr val="tx2"/>
                </a:solidFill>
              </a:rPr>
              <a:t>Air</a:t>
            </a:r>
            <a:endParaRPr lang="en-GB" sz="700" dirty="0">
              <a:solidFill>
                <a:schemeClr val="tx2"/>
              </a:solidFill>
            </a:endParaRPr>
          </a:p>
        </p:txBody>
      </p:sp>
      <p:sp>
        <p:nvSpPr>
          <p:cNvPr id="27" name="TextBox 26">
            <a:extLst>
              <a:ext uri="{FF2B5EF4-FFF2-40B4-BE49-F238E27FC236}">
                <a16:creationId xmlns:a16="http://schemas.microsoft.com/office/drawing/2014/main" id="{0491E7A9-50E7-4135-A6E8-E52547C252A9}"/>
              </a:ext>
            </a:extLst>
          </p:cNvPr>
          <p:cNvSpPr txBox="1"/>
          <p:nvPr/>
        </p:nvSpPr>
        <p:spPr>
          <a:xfrm>
            <a:off x="2648474" y="3723675"/>
            <a:ext cx="472886" cy="107722"/>
          </a:xfrm>
          <a:prstGeom prst="rect">
            <a:avLst/>
          </a:prstGeom>
          <a:noFill/>
          <a:effectLst/>
        </p:spPr>
        <p:txBody>
          <a:bodyPr wrap="none" lIns="0" tIns="0" rIns="0" bIns="0" rtlCol="0" anchor="t">
            <a:spAutoFit/>
          </a:bodyPr>
          <a:lstStyle/>
          <a:p>
            <a:pPr algn="ctr"/>
            <a:r>
              <a:rPr lang="en-GB" sz="700" dirty="0">
                <a:solidFill>
                  <a:schemeClr val="tx2"/>
                </a:solidFill>
              </a:rPr>
              <a:t>Arrow down</a:t>
            </a:r>
          </a:p>
        </p:txBody>
      </p:sp>
      <p:sp>
        <p:nvSpPr>
          <p:cNvPr id="28" name="TextBox 27">
            <a:extLst>
              <a:ext uri="{FF2B5EF4-FFF2-40B4-BE49-F238E27FC236}">
                <a16:creationId xmlns:a16="http://schemas.microsoft.com/office/drawing/2014/main" id="{700B168F-F743-45CF-8577-7111613B7113}"/>
              </a:ext>
            </a:extLst>
          </p:cNvPr>
          <p:cNvSpPr txBox="1"/>
          <p:nvPr/>
        </p:nvSpPr>
        <p:spPr>
          <a:xfrm>
            <a:off x="2667711" y="4547732"/>
            <a:ext cx="434414" cy="107722"/>
          </a:xfrm>
          <a:prstGeom prst="rect">
            <a:avLst/>
          </a:prstGeom>
          <a:noFill/>
          <a:effectLst/>
        </p:spPr>
        <p:txBody>
          <a:bodyPr wrap="none" lIns="0" tIns="0" rIns="0" bIns="0" rtlCol="0" anchor="t">
            <a:spAutoFit/>
          </a:bodyPr>
          <a:lstStyle/>
          <a:p>
            <a:pPr algn="ctr"/>
            <a:r>
              <a:rPr lang="en-GB" sz="700" dirty="0">
                <a:solidFill>
                  <a:schemeClr val="tx2"/>
                </a:solidFill>
              </a:rPr>
              <a:t>Arrow right</a:t>
            </a:r>
          </a:p>
        </p:txBody>
      </p:sp>
      <p:sp>
        <p:nvSpPr>
          <p:cNvPr id="29" name="TextBox 28">
            <a:extLst>
              <a:ext uri="{FF2B5EF4-FFF2-40B4-BE49-F238E27FC236}">
                <a16:creationId xmlns:a16="http://schemas.microsoft.com/office/drawing/2014/main" id="{34D3E0FE-F24B-4E5F-82F5-6B56F7E1EC2E}"/>
              </a:ext>
            </a:extLst>
          </p:cNvPr>
          <p:cNvSpPr txBox="1"/>
          <p:nvPr/>
        </p:nvSpPr>
        <p:spPr>
          <a:xfrm>
            <a:off x="3578491" y="2077494"/>
            <a:ext cx="703719" cy="107722"/>
          </a:xfrm>
          <a:prstGeom prst="rect">
            <a:avLst/>
          </a:prstGeom>
          <a:noFill/>
          <a:effectLst/>
        </p:spPr>
        <p:txBody>
          <a:bodyPr wrap="none" lIns="0" tIns="0" rIns="0" bIns="0" rtlCol="0" anchor="t">
            <a:spAutoFit/>
          </a:bodyPr>
          <a:lstStyle/>
          <a:p>
            <a:pPr algn="ctr"/>
            <a:r>
              <a:rPr lang="en-GB" sz="700" dirty="0">
                <a:solidFill>
                  <a:schemeClr val="tx2"/>
                </a:solidFill>
              </a:rPr>
              <a:t>Active checkmark</a:t>
            </a:r>
          </a:p>
        </p:txBody>
      </p:sp>
      <p:sp>
        <p:nvSpPr>
          <p:cNvPr id="30" name="TextBox 29">
            <a:extLst>
              <a:ext uri="{FF2B5EF4-FFF2-40B4-BE49-F238E27FC236}">
                <a16:creationId xmlns:a16="http://schemas.microsoft.com/office/drawing/2014/main" id="{7BB87622-4D71-4819-8BB2-137C858BDC93}"/>
              </a:ext>
            </a:extLst>
          </p:cNvPr>
          <p:cNvSpPr txBox="1"/>
          <p:nvPr/>
        </p:nvSpPr>
        <p:spPr>
          <a:xfrm>
            <a:off x="3764440" y="2899619"/>
            <a:ext cx="331822" cy="107722"/>
          </a:xfrm>
          <a:prstGeom prst="rect">
            <a:avLst/>
          </a:prstGeom>
          <a:noFill/>
          <a:effectLst/>
        </p:spPr>
        <p:txBody>
          <a:bodyPr wrap="none" lIns="0" tIns="0" rIns="0" bIns="0" rtlCol="0" anchor="t">
            <a:spAutoFit/>
          </a:bodyPr>
          <a:lstStyle/>
          <a:p>
            <a:pPr algn="ctr"/>
            <a:r>
              <a:rPr lang="en-GB" sz="700">
                <a:solidFill>
                  <a:schemeClr val="tx2"/>
                </a:solidFill>
              </a:rPr>
              <a:t>Analysis</a:t>
            </a:r>
            <a:endParaRPr lang="en-GB" sz="700" dirty="0">
              <a:solidFill>
                <a:schemeClr val="tx2"/>
              </a:solidFill>
            </a:endParaRPr>
          </a:p>
        </p:txBody>
      </p:sp>
      <p:sp>
        <p:nvSpPr>
          <p:cNvPr id="31" name="TextBox 30">
            <a:extLst>
              <a:ext uri="{FF2B5EF4-FFF2-40B4-BE49-F238E27FC236}">
                <a16:creationId xmlns:a16="http://schemas.microsoft.com/office/drawing/2014/main" id="{73CFF8A4-693A-4831-96B5-C4DBD8221612}"/>
              </a:ext>
            </a:extLst>
          </p:cNvPr>
          <p:cNvSpPr txBox="1"/>
          <p:nvPr/>
        </p:nvSpPr>
        <p:spPr>
          <a:xfrm>
            <a:off x="3576889" y="3723675"/>
            <a:ext cx="706925" cy="107722"/>
          </a:xfrm>
          <a:prstGeom prst="rect">
            <a:avLst/>
          </a:prstGeom>
          <a:noFill/>
          <a:effectLst/>
        </p:spPr>
        <p:txBody>
          <a:bodyPr wrap="none" lIns="0" tIns="0" rIns="0" bIns="0" rtlCol="0" anchor="t">
            <a:spAutoFit/>
          </a:bodyPr>
          <a:lstStyle/>
          <a:p>
            <a:pPr algn="ctr"/>
            <a:r>
              <a:rPr lang="en-GB" sz="700" dirty="0">
                <a:solidFill>
                  <a:schemeClr val="tx2"/>
                </a:solidFill>
              </a:rPr>
              <a:t>Arrow down small</a:t>
            </a:r>
          </a:p>
        </p:txBody>
      </p:sp>
      <p:sp>
        <p:nvSpPr>
          <p:cNvPr id="32" name="TextBox 31">
            <a:extLst>
              <a:ext uri="{FF2B5EF4-FFF2-40B4-BE49-F238E27FC236}">
                <a16:creationId xmlns:a16="http://schemas.microsoft.com/office/drawing/2014/main" id="{618BE480-D186-4D3E-9728-5575D9647FB1}"/>
              </a:ext>
            </a:extLst>
          </p:cNvPr>
          <p:cNvSpPr txBox="1"/>
          <p:nvPr/>
        </p:nvSpPr>
        <p:spPr>
          <a:xfrm>
            <a:off x="3596125" y="4547732"/>
            <a:ext cx="668453" cy="107722"/>
          </a:xfrm>
          <a:prstGeom prst="rect">
            <a:avLst/>
          </a:prstGeom>
          <a:noFill/>
          <a:effectLst/>
        </p:spPr>
        <p:txBody>
          <a:bodyPr wrap="none" lIns="0" tIns="0" rIns="0" bIns="0" rtlCol="0" anchor="t">
            <a:spAutoFit/>
          </a:bodyPr>
          <a:lstStyle/>
          <a:p>
            <a:pPr algn="ctr"/>
            <a:r>
              <a:rPr lang="en-GB" sz="700" dirty="0">
                <a:solidFill>
                  <a:schemeClr val="tx2"/>
                </a:solidFill>
              </a:rPr>
              <a:t>Arrow right small</a:t>
            </a:r>
          </a:p>
        </p:txBody>
      </p:sp>
      <p:sp>
        <p:nvSpPr>
          <p:cNvPr id="33" name="TextBox 32">
            <a:extLst>
              <a:ext uri="{FF2B5EF4-FFF2-40B4-BE49-F238E27FC236}">
                <a16:creationId xmlns:a16="http://schemas.microsoft.com/office/drawing/2014/main" id="{B3A51975-70B5-4B8F-8F30-1AFD0EE96C9D}"/>
              </a:ext>
            </a:extLst>
          </p:cNvPr>
          <p:cNvSpPr txBox="1"/>
          <p:nvPr/>
        </p:nvSpPr>
        <p:spPr>
          <a:xfrm>
            <a:off x="5033319" y="2077494"/>
            <a:ext cx="359073" cy="107722"/>
          </a:xfrm>
          <a:prstGeom prst="rect">
            <a:avLst/>
          </a:prstGeom>
          <a:noFill/>
          <a:effectLst/>
        </p:spPr>
        <p:txBody>
          <a:bodyPr wrap="none" lIns="0" tIns="0" rIns="0" bIns="0" rtlCol="0" anchor="t">
            <a:spAutoFit/>
          </a:bodyPr>
          <a:lstStyle/>
          <a:p>
            <a:pPr algn="ctr"/>
            <a:r>
              <a:rPr lang="en-GB" sz="700">
                <a:solidFill>
                  <a:schemeClr val="tx2"/>
                </a:solidFill>
              </a:rPr>
              <a:t>Arrow up</a:t>
            </a:r>
            <a:endParaRPr lang="en-GB" sz="700" dirty="0">
              <a:solidFill>
                <a:schemeClr val="tx2"/>
              </a:solidFill>
            </a:endParaRPr>
          </a:p>
        </p:txBody>
      </p:sp>
      <p:sp>
        <p:nvSpPr>
          <p:cNvPr id="34" name="TextBox 33">
            <a:extLst>
              <a:ext uri="{FF2B5EF4-FFF2-40B4-BE49-F238E27FC236}">
                <a16:creationId xmlns:a16="http://schemas.microsoft.com/office/drawing/2014/main" id="{0529CDED-5870-4B9C-A2A9-2175AD79AE05}"/>
              </a:ext>
            </a:extLst>
          </p:cNvPr>
          <p:cNvSpPr txBox="1"/>
          <p:nvPr/>
        </p:nvSpPr>
        <p:spPr>
          <a:xfrm>
            <a:off x="4985230" y="2899619"/>
            <a:ext cx="455253" cy="107722"/>
          </a:xfrm>
          <a:prstGeom prst="rect">
            <a:avLst/>
          </a:prstGeom>
          <a:noFill/>
          <a:effectLst/>
        </p:spPr>
        <p:txBody>
          <a:bodyPr wrap="none" lIns="0" tIns="0" rIns="0" bIns="0" rtlCol="0" anchor="t">
            <a:spAutoFit/>
          </a:bodyPr>
          <a:lstStyle/>
          <a:p>
            <a:pPr algn="ctr"/>
            <a:r>
              <a:rPr lang="en-GB" sz="700" dirty="0">
                <a:solidFill>
                  <a:schemeClr val="tx2"/>
                </a:solidFill>
              </a:rPr>
              <a:t>„At“ symbol</a:t>
            </a:r>
          </a:p>
        </p:txBody>
      </p:sp>
      <p:sp>
        <p:nvSpPr>
          <p:cNvPr id="35" name="TextBox 34">
            <a:extLst>
              <a:ext uri="{FF2B5EF4-FFF2-40B4-BE49-F238E27FC236}">
                <a16:creationId xmlns:a16="http://schemas.microsoft.com/office/drawing/2014/main" id="{F6539251-41B7-42C5-9978-5F808E209B50}"/>
              </a:ext>
            </a:extLst>
          </p:cNvPr>
          <p:cNvSpPr txBox="1"/>
          <p:nvPr/>
        </p:nvSpPr>
        <p:spPr>
          <a:xfrm>
            <a:off x="5139118" y="3723675"/>
            <a:ext cx="147476" cy="107722"/>
          </a:xfrm>
          <a:prstGeom prst="rect">
            <a:avLst/>
          </a:prstGeom>
          <a:noFill/>
          <a:effectLst/>
        </p:spPr>
        <p:txBody>
          <a:bodyPr wrap="none" lIns="0" tIns="0" rIns="0" bIns="0" rtlCol="0" anchor="t">
            <a:spAutoFit/>
          </a:bodyPr>
          <a:lstStyle/>
          <a:p>
            <a:pPr algn="ctr"/>
            <a:r>
              <a:rPr lang="en-GB" sz="700">
                <a:solidFill>
                  <a:schemeClr val="tx2"/>
                </a:solidFill>
              </a:rPr>
              <a:t>Bell</a:t>
            </a:r>
            <a:endParaRPr lang="en-GB" sz="700" dirty="0">
              <a:solidFill>
                <a:schemeClr val="tx2"/>
              </a:solidFill>
            </a:endParaRPr>
          </a:p>
        </p:txBody>
      </p:sp>
      <p:sp>
        <p:nvSpPr>
          <p:cNvPr id="36" name="TextBox 35">
            <a:extLst>
              <a:ext uri="{FF2B5EF4-FFF2-40B4-BE49-F238E27FC236}">
                <a16:creationId xmlns:a16="http://schemas.microsoft.com/office/drawing/2014/main" id="{15C0350E-41E0-4149-8F82-5782D7DE84D2}"/>
              </a:ext>
            </a:extLst>
          </p:cNvPr>
          <p:cNvSpPr txBox="1"/>
          <p:nvPr/>
        </p:nvSpPr>
        <p:spPr>
          <a:xfrm>
            <a:off x="5135912" y="4547732"/>
            <a:ext cx="153888" cy="107722"/>
          </a:xfrm>
          <a:prstGeom prst="rect">
            <a:avLst/>
          </a:prstGeom>
          <a:noFill/>
          <a:effectLst/>
        </p:spPr>
        <p:txBody>
          <a:bodyPr wrap="none" lIns="0" tIns="0" rIns="0" bIns="0" rtlCol="0" anchor="t">
            <a:spAutoFit/>
          </a:bodyPr>
          <a:lstStyle/>
          <a:p>
            <a:pPr algn="ctr"/>
            <a:r>
              <a:rPr lang="en-GB" sz="700" dirty="0">
                <a:solidFill>
                  <a:schemeClr val="tx2"/>
                </a:solidFill>
              </a:rPr>
              <a:t>Box</a:t>
            </a:r>
          </a:p>
        </p:txBody>
      </p:sp>
      <p:sp>
        <p:nvSpPr>
          <p:cNvPr id="37" name="TextBox 36">
            <a:extLst>
              <a:ext uri="{FF2B5EF4-FFF2-40B4-BE49-F238E27FC236}">
                <a16:creationId xmlns:a16="http://schemas.microsoft.com/office/drawing/2014/main" id="{077894B3-B9F3-47FC-AD96-6E4826B1A63C}"/>
              </a:ext>
            </a:extLst>
          </p:cNvPr>
          <p:cNvSpPr txBox="1"/>
          <p:nvPr/>
        </p:nvSpPr>
        <p:spPr>
          <a:xfrm>
            <a:off x="5961733" y="2077494"/>
            <a:ext cx="593112" cy="107722"/>
          </a:xfrm>
          <a:prstGeom prst="rect">
            <a:avLst/>
          </a:prstGeom>
          <a:noFill/>
          <a:effectLst/>
        </p:spPr>
        <p:txBody>
          <a:bodyPr wrap="none" lIns="0" tIns="0" rIns="0" bIns="0" rtlCol="0" anchor="t">
            <a:spAutoFit/>
          </a:bodyPr>
          <a:lstStyle/>
          <a:p>
            <a:pPr algn="ctr"/>
            <a:r>
              <a:rPr lang="en-GB" sz="700" dirty="0">
                <a:solidFill>
                  <a:schemeClr val="tx2"/>
                </a:solidFill>
              </a:rPr>
              <a:t>Arrow up small</a:t>
            </a:r>
          </a:p>
        </p:txBody>
      </p:sp>
      <p:sp>
        <p:nvSpPr>
          <p:cNvPr id="38" name="TextBox 37">
            <a:extLst>
              <a:ext uri="{FF2B5EF4-FFF2-40B4-BE49-F238E27FC236}">
                <a16:creationId xmlns:a16="http://schemas.microsoft.com/office/drawing/2014/main" id="{42A15269-B335-4B0E-8641-6B1B910AD8A8}"/>
              </a:ext>
            </a:extLst>
          </p:cNvPr>
          <p:cNvSpPr txBox="1"/>
          <p:nvPr/>
        </p:nvSpPr>
        <p:spPr>
          <a:xfrm>
            <a:off x="6109211" y="2899619"/>
            <a:ext cx="298160" cy="107722"/>
          </a:xfrm>
          <a:prstGeom prst="rect">
            <a:avLst/>
          </a:prstGeom>
          <a:noFill/>
          <a:effectLst/>
        </p:spPr>
        <p:txBody>
          <a:bodyPr wrap="none" lIns="0" tIns="0" rIns="0" bIns="0" rtlCol="0" anchor="t">
            <a:spAutoFit/>
          </a:bodyPr>
          <a:lstStyle/>
          <a:p>
            <a:pPr algn="ctr"/>
            <a:r>
              <a:rPr lang="en-GB" sz="700">
                <a:solidFill>
                  <a:schemeClr val="tx2"/>
                </a:solidFill>
              </a:rPr>
              <a:t>Auction</a:t>
            </a:r>
            <a:endParaRPr lang="en-GB" sz="700" dirty="0">
              <a:solidFill>
                <a:schemeClr val="tx2"/>
              </a:solidFill>
            </a:endParaRPr>
          </a:p>
        </p:txBody>
      </p:sp>
      <p:sp>
        <p:nvSpPr>
          <p:cNvPr id="39" name="TextBox 38">
            <a:extLst>
              <a:ext uri="{FF2B5EF4-FFF2-40B4-BE49-F238E27FC236}">
                <a16:creationId xmlns:a16="http://schemas.microsoft.com/office/drawing/2014/main" id="{FCCB2BAC-85D2-47B0-8D1D-79A77F89F900}"/>
              </a:ext>
            </a:extLst>
          </p:cNvPr>
          <p:cNvSpPr txBox="1"/>
          <p:nvPr/>
        </p:nvSpPr>
        <p:spPr>
          <a:xfrm>
            <a:off x="6049900" y="3723675"/>
            <a:ext cx="416781" cy="107722"/>
          </a:xfrm>
          <a:prstGeom prst="rect">
            <a:avLst/>
          </a:prstGeom>
          <a:noFill/>
          <a:effectLst/>
        </p:spPr>
        <p:txBody>
          <a:bodyPr wrap="none" lIns="0" tIns="0" rIns="0" bIns="0" rtlCol="0" anchor="t">
            <a:spAutoFit/>
          </a:bodyPr>
          <a:lstStyle/>
          <a:p>
            <a:pPr algn="ctr"/>
            <a:r>
              <a:rPr lang="en-GB" sz="700" dirty="0">
                <a:solidFill>
                  <a:schemeClr val="tx2"/>
                </a:solidFill>
              </a:rPr>
              <a:t>Binoculars</a:t>
            </a:r>
          </a:p>
        </p:txBody>
      </p:sp>
      <p:sp>
        <p:nvSpPr>
          <p:cNvPr id="40" name="TextBox 39">
            <a:extLst>
              <a:ext uri="{FF2B5EF4-FFF2-40B4-BE49-F238E27FC236}">
                <a16:creationId xmlns:a16="http://schemas.microsoft.com/office/drawing/2014/main" id="{C172B0BF-59C0-4016-B3C6-0F6B8D98E1A8}"/>
              </a:ext>
            </a:extLst>
          </p:cNvPr>
          <p:cNvSpPr txBox="1"/>
          <p:nvPr/>
        </p:nvSpPr>
        <p:spPr>
          <a:xfrm>
            <a:off x="5966543" y="4547732"/>
            <a:ext cx="583493" cy="107722"/>
          </a:xfrm>
          <a:prstGeom prst="rect">
            <a:avLst/>
          </a:prstGeom>
          <a:noFill/>
          <a:effectLst/>
        </p:spPr>
        <p:txBody>
          <a:bodyPr wrap="none" lIns="0" tIns="0" rIns="0" bIns="0" rtlCol="0" anchor="t">
            <a:spAutoFit/>
          </a:bodyPr>
          <a:lstStyle/>
          <a:p>
            <a:pPr algn="ctr"/>
            <a:r>
              <a:rPr lang="en-GB" sz="700" dirty="0">
                <a:solidFill>
                  <a:schemeClr val="tx2"/>
                </a:solidFill>
              </a:rPr>
              <a:t>Brain-storming</a:t>
            </a:r>
          </a:p>
        </p:txBody>
      </p:sp>
      <p:sp>
        <p:nvSpPr>
          <p:cNvPr id="41" name="TextBox 40">
            <a:extLst>
              <a:ext uri="{FF2B5EF4-FFF2-40B4-BE49-F238E27FC236}">
                <a16:creationId xmlns:a16="http://schemas.microsoft.com/office/drawing/2014/main" id="{2333A3E8-C0C7-47B8-8876-3C32D77D99CA}"/>
              </a:ext>
            </a:extLst>
          </p:cNvPr>
          <p:cNvSpPr txBox="1"/>
          <p:nvPr/>
        </p:nvSpPr>
        <p:spPr>
          <a:xfrm>
            <a:off x="7088922" y="2077494"/>
            <a:ext cx="429605" cy="107722"/>
          </a:xfrm>
          <a:prstGeom prst="rect">
            <a:avLst/>
          </a:prstGeom>
          <a:noFill/>
          <a:effectLst/>
        </p:spPr>
        <p:txBody>
          <a:bodyPr wrap="none" lIns="0" tIns="0" rIns="0" bIns="0" rtlCol="0" anchor="t">
            <a:spAutoFit/>
          </a:bodyPr>
          <a:lstStyle/>
          <a:p>
            <a:pPr algn="ctr"/>
            <a:r>
              <a:rPr lang="en-GB" sz="700" dirty="0">
                <a:solidFill>
                  <a:schemeClr val="tx2"/>
                </a:solidFill>
              </a:rPr>
              <a:t>Attention 1</a:t>
            </a:r>
          </a:p>
        </p:txBody>
      </p:sp>
      <p:sp>
        <p:nvSpPr>
          <p:cNvPr id="42" name="TextBox 41">
            <a:extLst>
              <a:ext uri="{FF2B5EF4-FFF2-40B4-BE49-F238E27FC236}">
                <a16:creationId xmlns:a16="http://schemas.microsoft.com/office/drawing/2014/main" id="{31697834-E2D7-494A-BCDE-A3916D2D3FFE}"/>
              </a:ext>
            </a:extLst>
          </p:cNvPr>
          <p:cNvSpPr txBox="1"/>
          <p:nvPr/>
        </p:nvSpPr>
        <p:spPr>
          <a:xfrm>
            <a:off x="7092128" y="2899619"/>
            <a:ext cx="423193" cy="107722"/>
          </a:xfrm>
          <a:prstGeom prst="rect">
            <a:avLst/>
          </a:prstGeom>
          <a:noFill/>
          <a:effectLst/>
        </p:spPr>
        <p:txBody>
          <a:bodyPr wrap="none" lIns="0" tIns="0" rIns="0" bIns="0" rtlCol="0" anchor="t">
            <a:spAutoFit/>
          </a:bodyPr>
          <a:lstStyle/>
          <a:p>
            <a:pPr algn="ctr"/>
            <a:r>
              <a:rPr lang="en-GB" sz="700" dirty="0" err="1">
                <a:solidFill>
                  <a:schemeClr val="tx2"/>
                </a:solidFill>
              </a:rPr>
              <a:t>Basemaps</a:t>
            </a:r>
            <a:endParaRPr lang="en-GB" sz="700" dirty="0">
              <a:solidFill>
                <a:schemeClr val="tx2"/>
              </a:solidFill>
            </a:endParaRPr>
          </a:p>
        </p:txBody>
      </p:sp>
      <p:sp>
        <p:nvSpPr>
          <p:cNvPr id="43" name="TextBox 42">
            <a:extLst>
              <a:ext uri="{FF2B5EF4-FFF2-40B4-BE49-F238E27FC236}">
                <a16:creationId xmlns:a16="http://schemas.microsoft.com/office/drawing/2014/main" id="{CC14AA65-C224-40A9-916F-FE7E5A306AF3}"/>
              </a:ext>
            </a:extLst>
          </p:cNvPr>
          <p:cNvSpPr txBox="1"/>
          <p:nvPr/>
        </p:nvSpPr>
        <p:spPr>
          <a:xfrm>
            <a:off x="7192315" y="3723675"/>
            <a:ext cx="222818" cy="107722"/>
          </a:xfrm>
          <a:prstGeom prst="rect">
            <a:avLst/>
          </a:prstGeom>
          <a:noFill/>
          <a:effectLst/>
        </p:spPr>
        <p:txBody>
          <a:bodyPr wrap="none" lIns="0" tIns="0" rIns="0" bIns="0" rtlCol="0" anchor="t">
            <a:spAutoFit/>
          </a:bodyPr>
          <a:lstStyle/>
          <a:p>
            <a:pPr algn="ctr"/>
            <a:r>
              <a:rPr lang="en-GB" sz="700" dirty="0">
                <a:solidFill>
                  <a:schemeClr val="tx2"/>
                </a:solidFill>
              </a:rPr>
              <a:t>Blogs</a:t>
            </a:r>
          </a:p>
        </p:txBody>
      </p:sp>
      <p:sp>
        <p:nvSpPr>
          <p:cNvPr id="44" name="TextBox 43">
            <a:extLst>
              <a:ext uri="{FF2B5EF4-FFF2-40B4-BE49-F238E27FC236}">
                <a16:creationId xmlns:a16="http://schemas.microsoft.com/office/drawing/2014/main" id="{5609B12B-B813-4060-9420-60E749AFBE34}"/>
              </a:ext>
            </a:extLst>
          </p:cNvPr>
          <p:cNvSpPr txBox="1"/>
          <p:nvPr/>
        </p:nvSpPr>
        <p:spPr>
          <a:xfrm>
            <a:off x="7116973" y="4547732"/>
            <a:ext cx="373500" cy="107722"/>
          </a:xfrm>
          <a:prstGeom prst="rect">
            <a:avLst/>
          </a:prstGeom>
          <a:noFill/>
          <a:effectLst/>
        </p:spPr>
        <p:txBody>
          <a:bodyPr wrap="none" lIns="0" tIns="0" rIns="0" bIns="0" rtlCol="0" anchor="t">
            <a:spAutoFit/>
          </a:bodyPr>
          <a:lstStyle/>
          <a:p>
            <a:pPr algn="ctr"/>
            <a:r>
              <a:rPr lang="en-GB" sz="700" dirty="0">
                <a:solidFill>
                  <a:schemeClr val="tx2"/>
                </a:solidFill>
              </a:rPr>
              <a:t>Briefcase</a:t>
            </a:r>
          </a:p>
        </p:txBody>
      </p:sp>
      <p:sp>
        <p:nvSpPr>
          <p:cNvPr id="45" name="TextBox 44">
            <a:extLst>
              <a:ext uri="{FF2B5EF4-FFF2-40B4-BE49-F238E27FC236}">
                <a16:creationId xmlns:a16="http://schemas.microsoft.com/office/drawing/2014/main" id="{9C4B15E6-65AF-428E-AE1A-3205D9335AE9}"/>
              </a:ext>
            </a:extLst>
          </p:cNvPr>
          <p:cNvSpPr txBox="1"/>
          <p:nvPr/>
        </p:nvSpPr>
        <p:spPr>
          <a:xfrm>
            <a:off x="8134354" y="2077494"/>
            <a:ext cx="429605" cy="107722"/>
          </a:xfrm>
          <a:prstGeom prst="rect">
            <a:avLst/>
          </a:prstGeom>
          <a:noFill/>
          <a:effectLst/>
        </p:spPr>
        <p:txBody>
          <a:bodyPr wrap="none" lIns="0" tIns="0" rIns="0" bIns="0" rtlCol="0" anchor="t">
            <a:spAutoFit/>
          </a:bodyPr>
          <a:lstStyle/>
          <a:p>
            <a:pPr algn="ctr"/>
            <a:r>
              <a:rPr lang="en-GB" sz="700" dirty="0">
                <a:solidFill>
                  <a:schemeClr val="tx2"/>
                </a:solidFill>
              </a:rPr>
              <a:t>Attention 2</a:t>
            </a:r>
          </a:p>
        </p:txBody>
      </p:sp>
      <p:sp>
        <p:nvSpPr>
          <p:cNvPr id="46" name="TextBox 45">
            <a:extLst>
              <a:ext uri="{FF2B5EF4-FFF2-40B4-BE49-F238E27FC236}">
                <a16:creationId xmlns:a16="http://schemas.microsoft.com/office/drawing/2014/main" id="{648ADF9B-A9F2-44CC-B9DF-F8274A8789D7}"/>
              </a:ext>
            </a:extLst>
          </p:cNvPr>
          <p:cNvSpPr txBox="1"/>
          <p:nvPr/>
        </p:nvSpPr>
        <p:spPr>
          <a:xfrm>
            <a:off x="8206488" y="2899619"/>
            <a:ext cx="285336" cy="107722"/>
          </a:xfrm>
          <a:prstGeom prst="rect">
            <a:avLst/>
          </a:prstGeom>
          <a:noFill/>
          <a:effectLst/>
        </p:spPr>
        <p:txBody>
          <a:bodyPr wrap="none" lIns="0" tIns="0" rIns="0" bIns="0" rtlCol="0" anchor="t">
            <a:spAutoFit/>
          </a:bodyPr>
          <a:lstStyle/>
          <a:p>
            <a:pPr algn="ctr"/>
            <a:r>
              <a:rPr lang="en-GB" sz="700">
                <a:solidFill>
                  <a:schemeClr val="tx2"/>
                </a:solidFill>
              </a:rPr>
              <a:t>Battery</a:t>
            </a:r>
            <a:endParaRPr lang="en-GB" sz="700" dirty="0">
              <a:solidFill>
                <a:schemeClr val="tx2"/>
              </a:solidFill>
            </a:endParaRPr>
          </a:p>
        </p:txBody>
      </p:sp>
      <p:sp>
        <p:nvSpPr>
          <p:cNvPr id="47" name="TextBox 46">
            <a:extLst>
              <a:ext uri="{FF2B5EF4-FFF2-40B4-BE49-F238E27FC236}">
                <a16:creationId xmlns:a16="http://schemas.microsoft.com/office/drawing/2014/main" id="{D63F888E-767B-491D-B972-245433581510}"/>
              </a:ext>
            </a:extLst>
          </p:cNvPr>
          <p:cNvSpPr txBox="1"/>
          <p:nvPr/>
        </p:nvSpPr>
        <p:spPr>
          <a:xfrm>
            <a:off x="8147179" y="3723675"/>
            <a:ext cx="403957" cy="107722"/>
          </a:xfrm>
          <a:prstGeom prst="rect">
            <a:avLst/>
          </a:prstGeom>
          <a:noFill/>
          <a:effectLst/>
        </p:spPr>
        <p:txBody>
          <a:bodyPr wrap="none" lIns="0" tIns="0" rIns="0" bIns="0" rtlCol="0" anchor="t">
            <a:spAutoFit/>
          </a:bodyPr>
          <a:lstStyle/>
          <a:p>
            <a:pPr algn="ctr"/>
            <a:r>
              <a:rPr lang="en-GB" sz="700" dirty="0">
                <a:solidFill>
                  <a:schemeClr val="tx2"/>
                </a:solidFill>
              </a:rPr>
              <a:t>Bookmark</a:t>
            </a:r>
          </a:p>
        </p:txBody>
      </p:sp>
      <p:sp>
        <p:nvSpPr>
          <p:cNvPr id="48" name="TextBox 47">
            <a:extLst>
              <a:ext uri="{FF2B5EF4-FFF2-40B4-BE49-F238E27FC236}">
                <a16:creationId xmlns:a16="http://schemas.microsoft.com/office/drawing/2014/main" id="{03F209D0-363A-48A1-A74F-FE8934796283}"/>
              </a:ext>
            </a:extLst>
          </p:cNvPr>
          <p:cNvSpPr txBox="1"/>
          <p:nvPr/>
        </p:nvSpPr>
        <p:spPr>
          <a:xfrm>
            <a:off x="8260190" y="4547732"/>
            <a:ext cx="177934" cy="107722"/>
          </a:xfrm>
          <a:prstGeom prst="rect">
            <a:avLst/>
          </a:prstGeom>
          <a:noFill/>
          <a:effectLst/>
        </p:spPr>
        <p:txBody>
          <a:bodyPr wrap="none" lIns="0" tIns="0" rIns="0" bIns="0" rtlCol="0" anchor="t">
            <a:spAutoFit/>
          </a:bodyPr>
          <a:lstStyle/>
          <a:p>
            <a:pPr algn="ctr"/>
            <a:r>
              <a:rPr lang="en-GB" sz="700" dirty="0">
                <a:solidFill>
                  <a:schemeClr val="tx2"/>
                </a:solidFill>
              </a:rPr>
              <a:t>Bulb</a:t>
            </a:r>
          </a:p>
        </p:txBody>
      </p:sp>
      <p:pic>
        <p:nvPicPr>
          <p:cNvPr id="127" name="Graphic 126">
            <a:extLst>
              <a:ext uri="{FF2B5EF4-FFF2-40B4-BE49-F238E27FC236}">
                <a16:creationId xmlns:a16="http://schemas.microsoft.com/office/drawing/2014/main" id="{C3DBCF29-CE34-4170-9ACC-7064909D875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27251" y="1581059"/>
            <a:ext cx="406198" cy="406198"/>
          </a:xfrm>
          <a:prstGeom prst="rect">
            <a:avLst/>
          </a:prstGeom>
        </p:spPr>
      </p:pic>
      <p:pic>
        <p:nvPicPr>
          <p:cNvPr id="128" name="Graphic 127">
            <a:extLst>
              <a:ext uri="{FF2B5EF4-FFF2-40B4-BE49-F238E27FC236}">
                <a16:creationId xmlns:a16="http://schemas.microsoft.com/office/drawing/2014/main" id="{A84F0F86-1D2D-46A2-B471-A5635241C04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0951" y="3201612"/>
            <a:ext cx="406198" cy="406198"/>
          </a:xfrm>
          <a:prstGeom prst="rect">
            <a:avLst/>
          </a:prstGeom>
        </p:spPr>
      </p:pic>
      <p:sp>
        <p:nvSpPr>
          <p:cNvPr id="145" name="Freeform 5">
            <a:extLst>
              <a:ext uri="{FF2B5EF4-FFF2-40B4-BE49-F238E27FC236}">
                <a16:creationId xmlns:a16="http://schemas.microsoft.com/office/drawing/2014/main" id="{F8E45998-23D7-4D0A-841E-94012D14EAB0}"/>
              </a:ext>
            </a:extLst>
          </p:cNvPr>
          <p:cNvSpPr>
            <a:spLocks noEditPoints="1"/>
          </p:cNvSpPr>
          <p:nvPr/>
        </p:nvSpPr>
        <p:spPr bwMode="auto">
          <a:xfrm>
            <a:off x="1632314" y="1592334"/>
            <a:ext cx="414338" cy="412750"/>
          </a:xfrm>
          <a:custGeom>
            <a:avLst/>
            <a:gdLst>
              <a:gd name="T0" fmla="*/ 120 w 128"/>
              <a:gd name="T1" fmla="*/ 0 h 128"/>
              <a:gd name="T2" fmla="*/ 120 w 128"/>
              <a:gd name="T3" fmla="*/ 22 h 128"/>
              <a:gd name="T4" fmla="*/ 64 w 128"/>
              <a:gd name="T5" fmla="*/ 22 h 128"/>
              <a:gd name="T6" fmla="*/ 52 w 128"/>
              <a:gd name="T7" fmla="*/ 12 h 128"/>
              <a:gd name="T8" fmla="*/ 40 w 128"/>
              <a:gd name="T9" fmla="*/ 22 h 128"/>
              <a:gd name="T10" fmla="*/ 40 w 128"/>
              <a:gd name="T11" fmla="*/ 22 h 128"/>
              <a:gd name="T12" fmla="*/ 28 w 128"/>
              <a:gd name="T13" fmla="*/ 12 h 128"/>
              <a:gd name="T14" fmla="*/ 16 w 128"/>
              <a:gd name="T15" fmla="*/ 22 h 128"/>
              <a:gd name="T16" fmla="*/ 8 w 128"/>
              <a:gd name="T17" fmla="*/ 22 h 128"/>
              <a:gd name="T18" fmla="*/ 8 w 128"/>
              <a:gd name="T19" fmla="*/ 0 h 128"/>
              <a:gd name="T20" fmla="*/ 0 w 128"/>
              <a:gd name="T21" fmla="*/ 0 h 128"/>
              <a:gd name="T22" fmla="*/ 0 w 128"/>
              <a:gd name="T23" fmla="*/ 128 h 128"/>
              <a:gd name="T24" fmla="*/ 128 w 128"/>
              <a:gd name="T25" fmla="*/ 128 h 128"/>
              <a:gd name="T26" fmla="*/ 128 w 128"/>
              <a:gd name="T27" fmla="*/ 0 h 128"/>
              <a:gd name="T28" fmla="*/ 120 w 128"/>
              <a:gd name="T29" fmla="*/ 0 h 128"/>
              <a:gd name="T30" fmla="*/ 120 w 128"/>
              <a:gd name="T31" fmla="*/ 120 h 128"/>
              <a:gd name="T32" fmla="*/ 8 w 128"/>
              <a:gd name="T33" fmla="*/ 120 h 128"/>
              <a:gd name="T34" fmla="*/ 8 w 128"/>
              <a:gd name="T35" fmla="*/ 98 h 128"/>
              <a:gd name="T36" fmla="*/ 40 w 128"/>
              <a:gd name="T37" fmla="*/ 98 h 128"/>
              <a:gd name="T38" fmla="*/ 52 w 128"/>
              <a:gd name="T39" fmla="*/ 108 h 128"/>
              <a:gd name="T40" fmla="*/ 64 w 128"/>
              <a:gd name="T41" fmla="*/ 98 h 128"/>
              <a:gd name="T42" fmla="*/ 64 w 128"/>
              <a:gd name="T43" fmla="*/ 98 h 128"/>
              <a:gd name="T44" fmla="*/ 76 w 128"/>
              <a:gd name="T45" fmla="*/ 108 h 128"/>
              <a:gd name="T46" fmla="*/ 88 w 128"/>
              <a:gd name="T47" fmla="*/ 98 h 128"/>
              <a:gd name="T48" fmla="*/ 120 w 128"/>
              <a:gd name="T49" fmla="*/ 98 h 128"/>
              <a:gd name="T50" fmla="*/ 120 w 128"/>
              <a:gd name="T51" fmla="*/ 120 h 128"/>
              <a:gd name="T52" fmla="*/ 120 w 128"/>
              <a:gd name="T53" fmla="*/ 94 h 128"/>
              <a:gd name="T54" fmla="*/ 88 w 128"/>
              <a:gd name="T55" fmla="*/ 94 h 128"/>
              <a:gd name="T56" fmla="*/ 76 w 128"/>
              <a:gd name="T57" fmla="*/ 84 h 128"/>
              <a:gd name="T58" fmla="*/ 64 w 128"/>
              <a:gd name="T59" fmla="*/ 94 h 128"/>
              <a:gd name="T60" fmla="*/ 64 w 128"/>
              <a:gd name="T61" fmla="*/ 94 h 128"/>
              <a:gd name="T62" fmla="*/ 52 w 128"/>
              <a:gd name="T63" fmla="*/ 84 h 128"/>
              <a:gd name="T64" fmla="*/ 40 w 128"/>
              <a:gd name="T65" fmla="*/ 94 h 128"/>
              <a:gd name="T66" fmla="*/ 8 w 128"/>
              <a:gd name="T67" fmla="*/ 94 h 128"/>
              <a:gd name="T68" fmla="*/ 8 w 128"/>
              <a:gd name="T69" fmla="*/ 62 h 128"/>
              <a:gd name="T70" fmla="*/ 40 w 128"/>
              <a:gd name="T71" fmla="*/ 62 h 128"/>
              <a:gd name="T72" fmla="*/ 52 w 128"/>
              <a:gd name="T73" fmla="*/ 72 h 128"/>
              <a:gd name="T74" fmla="*/ 64 w 128"/>
              <a:gd name="T75" fmla="*/ 62 h 128"/>
              <a:gd name="T76" fmla="*/ 88 w 128"/>
              <a:gd name="T77" fmla="*/ 62 h 128"/>
              <a:gd name="T78" fmla="*/ 100 w 128"/>
              <a:gd name="T79" fmla="*/ 72 h 128"/>
              <a:gd name="T80" fmla="*/ 112 w 128"/>
              <a:gd name="T81" fmla="*/ 62 h 128"/>
              <a:gd name="T82" fmla="*/ 120 w 128"/>
              <a:gd name="T83" fmla="*/ 62 h 128"/>
              <a:gd name="T84" fmla="*/ 120 w 128"/>
              <a:gd name="T85" fmla="*/ 94 h 128"/>
              <a:gd name="T86" fmla="*/ 120 w 128"/>
              <a:gd name="T87" fmla="*/ 58 h 128"/>
              <a:gd name="T88" fmla="*/ 112 w 128"/>
              <a:gd name="T89" fmla="*/ 58 h 128"/>
              <a:gd name="T90" fmla="*/ 100 w 128"/>
              <a:gd name="T91" fmla="*/ 48 h 128"/>
              <a:gd name="T92" fmla="*/ 88 w 128"/>
              <a:gd name="T93" fmla="*/ 58 h 128"/>
              <a:gd name="T94" fmla="*/ 64 w 128"/>
              <a:gd name="T95" fmla="*/ 58 h 128"/>
              <a:gd name="T96" fmla="*/ 52 w 128"/>
              <a:gd name="T97" fmla="*/ 48 h 128"/>
              <a:gd name="T98" fmla="*/ 40 w 128"/>
              <a:gd name="T99" fmla="*/ 58 h 128"/>
              <a:gd name="T100" fmla="*/ 8 w 128"/>
              <a:gd name="T101" fmla="*/ 58 h 128"/>
              <a:gd name="T102" fmla="*/ 8 w 128"/>
              <a:gd name="T103" fmla="*/ 26 h 128"/>
              <a:gd name="T104" fmla="*/ 16 w 128"/>
              <a:gd name="T105" fmla="*/ 26 h 128"/>
              <a:gd name="T106" fmla="*/ 28 w 128"/>
              <a:gd name="T107" fmla="*/ 36 h 128"/>
              <a:gd name="T108" fmla="*/ 40 w 128"/>
              <a:gd name="T109" fmla="*/ 26 h 128"/>
              <a:gd name="T110" fmla="*/ 40 w 128"/>
              <a:gd name="T111" fmla="*/ 26 h 128"/>
              <a:gd name="T112" fmla="*/ 52 w 128"/>
              <a:gd name="T113" fmla="*/ 36 h 128"/>
              <a:gd name="T114" fmla="*/ 64 w 128"/>
              <a:gd name="T115" fmla="*/ 26 h 128"/>
              <a:gd name="T116" fmla="*/ 120 w 128"/>
              <a:gd name="T117" fmla="*/ 26 h 128"/>
              <a:gd name="T118" fmla="*/ 120 w 128"/>
              <a:gd name="T119" fmla="*/ 5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 h="128">
                <a:moveTo>
                  <a:pt x="120" y="0"/>
                </a:moveTo>
                <a:cubicBezTo>
                  <a:pt x="120" y="22"/>
                  <a:pt x="120" y="22"/>
                  <a:pt x="120" y="22"/>
                </a:cubicBezTo>
                <a:cubicBezTo>
                  <a:pt x="64" y="22"/>
                  <a:pt x="64" y="22"/>
                  <a:pt x="64" y="22"/>
                </a:cubicBezTo>
                <a:cubicBezTo>
                  <a:pt x="63" y="16"/>
                  <a:pt x="58" y="12"/>
                  <a:pt x="52" y="12"/>
                </a:cubicBezTo>
                <a:cubicBezTo>
                  <a:pt x="46" y="12"/>
                  <a:pt x="41" y="16"/>
                  <a:pt x="40" y="22"/>
                </a:cubicBezTo>
                <a:cubicBezTo>
                  <a:pt x="40" y="22"/>
                  <a:pt x="40" y="22"/>
                  <a:pt x="40" y="22"/>
                </a:cubicBezTo>
                <a:cubicBezTo>
                  <a:pt x="39" y="16"/>
                  <a:pt x="34" y="12"/>
                  <a:pt x="28" y="12"/>
                </a:cubicBezTo>
                <a:cubicBezTo>
                  <a:pt x="22" y="12"/>
                  <a:pt x="17" y="16"/>
                  <a:pt x="16" y="22"/>
                </a:cubicBezTo>
                <a:cubicBezTo>
                  <a:pt x="8" y="22"/>
                  <a:pt x="8" y="22"/>
                  <a:pt x="8" y="22"/>
                </a:cubicBezTo>
                <a:cubicBezTo>
                  <a:pt x="8" y="0"/>
                  <a:pt x="8" y="0"/>
                  <a:pt x="8" y="0"/>
                </a:cubicBezTo>
                <a:cubicBezTo>
                  <a:pt x="0" y="0"/>
                  <a:pt x="0" y="0"/>
                  <a:pt x="0" y="0"/>
                </a:cubicBezTo>
                <a:cubicBezTo>
                  <a:pt x="0" y="128"/>
                  <a:pt x="0" y="128"/>
                  <a:pt x="0" y="128"/>
                </a:cubicBezTo>
                <a:cubicBezTo>
                  <a:pt x="128" y="128"/>
                  <a:pt x="128" y="128"/>
                  <a:pt x="128" y="128"/>
                </a:cubicBezTo>
                <a:cubicBezTo>
                  <a:pt x="128" y="0"/>
                  <a:pt x="128" y="0"/>
                  <a:pt x="128" y="0"/>
                </a:cubicBezTo>
                <a:lnTo>
                  <a:pt x="120" y="0"/>
                </a:lnTo>
                <a:close/>
                <a:moveTo>
                  <a:pt x="120" y="120"/>
                </a:moveTo>
                <a:cubicBezTo>
                  <a:pt x="8" y="120"/>
                  <a:pt x="8" y="120"/>
                  <a:pt x="8" y="120"/>
                </a:cubicBezTo>
                <a:cubicBezTo>
                  <a:pt x="8" y="98"/>
                  <a:pt x="8" y="98"/>
                  <a:pt x="8" y="98"/>
                </a:cubicBezTo>
                <a:cubicBezTo>
                  <a:pt x="40" y="98"/>
                  <a:pt x="40" y="98"/>
                  <a:pt x="40" y="98"/>
                </a:cubicBezTo>
                <a:cubicBezTo>
                  <a:pt x="41" y="104"/>
                  <a:pt x="46" y="108"/>
                  <a:pt x="52" y="108"/>
                </a:cubicBezTo>
                <a:cubicBezTo>
                  <a:pt x="58" y="108"/>
                  <a:pt x="63" y="104"/>
                  <a:pt x="64" y="98"/>
                </a:cubicBezTo>
                <a:cubicBezTo>
                  <a:pt x="64" y="98"/>
                  <a:pt x="64" y="98"/>
                  <a:pt x="64" y="98"/>
                </a:cubicBezTo>
                <a:cubicBezTo>
                  <a:pt x="65" y="104"/>
                  <a:pt x="70" y="108"/>
                  <a:pt x="76" y="108"/>
                </a:cubicBezTo>
                <a:cubicBezTo>
                  <a:pt x="82" y="108"/>
                  <a:pt x="87" y="104"/>
                  <a:pt x="88" y="98"/>
                </a:cubicBezTo>
                <a:cubicBezTo>
                  <a:pt x="120" y="98"/>
                  <a:pt x="120" y="98"/>
                  <a:pt x="120" y="98"/>
                </a:cubicBezTo>
                <a:lnTo>
                  <a:pt x="120" y="120"/>
                </a:lnTo>
                <a:close/>
                <a:moveTo>
                  <a:pt x="120" y="94"/>
                </a:moveTo>
                <a:cubicBezTo>
                  <a:pt x="88" y="94"/>
                  <a:pt x="88" y="94"/>
                  <a:pt x="88" y="94"/>
                </a:cubicBezTo>
                <a:cubicBezTo>
                  <a:pt x="87" y="88"/>
                  <a:pt x="82" y="84"/>
                  <a:pt x="76" y="84"/>
                </a:cubicBezTo>
                <a:cubicBezTo>
                  <a:pt x="70" y="84"/>
                  <a:pt x="65" y="88"/>
                  <a:pt x="64" y="94"/>
                </a:cubicBezTo>
                <a:cubicBezTo>
                  <a:pt x="64" y="94"/>
                  <a:pt x="64" y="94"/>
                  <a:pt x="64" y="94"/>
                </a:cubicBezTo>
                <a:cubicBezTo>
                  <a:pt x="63" y="88"/>
                  <a:pt x="58" y="84"/>
                  <a:pt x="52" y="84"/>
                </a:cubicBezTo>
                <a:cubicBezTo>
                  <a:pt x="46" y="84"/>
                  <a:pt x="41" y="88"/>
                  <a:pt x="40" y="94"/>
                </a:cubicBezTo>
                <a:cubicBezTo>
                  <a:pt x="8" y="94"/>
                  <a:pt x="8" y="94"/>
                  <a:pt x="8" y="94"/>
                </a:cubicBezTo>
                <a:cubicBezTo>
                  <a:pt x="8" y="62"/>
                  <a:pt x="8" y="62"/>
                  <a:pt x="8" y="62"/>
                </a:cubicBezTo>
                <a:cubicBezTo>
                  <a:pt x="40" y="62"/>
                  <a:pt x="40" y="62"/>
                  <a:pt x="40" y="62"/>
                </a:cubicBezTo>
                <a:cubicBezTo>
                  <a:pt x="41" y="68"/>
                  <a:pt x="46" y="72"/>
                  <a:pt x="52" y="72"/>
                </a:cubicBezTo>
                <a:cubicBezTo>
                  <a:pt x="58" y="72"/>
                  <a:pt x="63" y="68"/>
                  <a:pt x="64" y="62"/>
                </a:cubicBezTo>
                <a:cubicBezTo>
                  <a:pt x="88" y="62"/>
                  <a:pt x="88" y="62"/>
                  <a:pt x="88" y="62"/>
                </a:cubicBezTo>
                <a:cubicBezTo>
                  <a:pt x="89" y="68"/>
                  <a:pt x="94" y="72"/>
                  <a:pt x="100" y="72"/>
                </a:cubicBezTo>
                <a:cubicBezTo>
                  <a:pt x="106" y="72"/>
                  <a:pt x="111" y="68"/>
                  <a:pt x="112" y="62"/>
                </a:cubicBezTo>
                <a:cubicBezTo>
                  <a:pt x="120" y="62"/>
                  <a:pt x="120" y="62"/>
                  <a:pt x="120" y="62"/>
                </a:cubicBezTo>
                <a:lnTo>
                  <a:pt x="120" y="94"/>
                </a:lnTo>
                <a:close/>
                <a:moveTo>
                  <a:pt x="120" y="58"/>
                </a:moveTo>
                <a:cubicBezTo>
                  <a:pt x="112" y="58"/>
                  <a:pt x="112" y="58"/>
                  <a:pt x="112" y="58"/>
                </a:cubicBezTo>
                <a:cubicBezTo>
                  <a:pt x="111" y="52"/>
                  <a:pt x="106" y="48"/>
                  <a:pt x="100" y="48"/>
                </a:cubicBezTo>
                <a:cubicBezTo>
                  <a:pt x="94" y="48"/>
                  <a:pt x="89" y="52"/>
                  <a:pt x="88" y="58"/>
                </a:cubicBezTo>
                <a:cubicBezTo>
                  <a:pt x="64" y="58"/>
                  <a:pt x="64" y="58"/>
                  <a:pt x="64" y="58"/>
                </a:cubicBezTo>
                <a:cubicBezTo>
                  <a:pt x="63" y="52"/>
                  <a:pt x="58" y="48"/>
                  <a:pt x="52" y="48"/>
                </a:cubicBezTo>
                <a:cubicBezTo>
                  <a:pt x="46" y="48"/>
                  <a:pt x="41" y="52"/>
                  <a:pt x="40" y="58"/>
                </a:cubicBezTo>
                <a:cubicBezTo>
                  <a:pt x="8" y="58"/>
                  <a:pt x="8" y="58"/>
                  <a:pt x="8" y="58"/>
                </a:cubicBezTo>
                <a:cubicBezTo>
                  <a:pt x="8" y="26"/>
                  <a:pt x="8" y="26"/>
                  <a:pt x="8" y="26"/>
                </a:cubicBezTo>
                <a:cubicBezTo>
                  <a:pt x="16" y="26"/>
                  <a:pt x="16" y="26"/>
                  <a:pt x="16" y="26"/>
                </a:cubicBezTo>
                <a:cubicBezTo>
                  <a:pt x="17" y="32"/>
                  <a:pt x="22" y="36"/>
                  <a:pt x="28" y="36"/>
                </a:cubicBezTo>
                <a:cubicBezTo>
                  <a:pt x="34" y="36"/>
                  <a:pt x="39" y="32"/>
                  <a:pt x="40" y="26"/>
                </a:cubicBezTo>
                <a:cubicBezTo>
                  <a:pt x="40" y="26"/>
                  <a:pt x="40" y="26"/>
                  <a:pt x="40" y="26"/>
                </a:cubicBezTo>
                <a:cubicBezTo>
                  <a:pt x="41" y="32"/>
                  <a:pt x="46" y="36"/>
                  <a:pt x="52" y="36"/>
                </a:cubicBezTo>
                <a:cubicBezTo>
                  <a:pt x="58" y="36"/>
                  <a:pt x="63" y="32"/>
                  <a:pt x="64" y="26"/>
                </a:cubicBezTo>
                <a:cubicBezTo>
                  <a:pt x="120" y="26"/>
                  <a:pt x="120" y="26"/>
                  <a:pt x="120" y="26"/>
                </a:cubicBezTo>
                <a:lnTo>
                  <a:pt x="120" y="5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6" name="Freeform 9">
            <a:extLst>
              <a:ext uri="{FF2B5EF4-FFF2-40B4-BE49-F238E27FC236}">
                <a16:creationId xmlns:a16="http://schemas.microsoft.com/office/drawing/2014/main" id="{0426674B-27F1-4C3B-B67B-F5C35603B0AD}"/>
              </a:ext>
            </a:extLst>
          </p:cNvPr>
          <p:cNvSpPr>
            <a:spLocks noEditPoints="1"/>
          </p:cNvSpPr>
          <p:nvPr/>
        </p:nvSpPr>
        <p:spPr bwMode="auto">
          <a:xfrm>
            <a:off x="2678542" y="1589159"/>
            <a:ext cx="412750" cy="412750"/>
          </a:xfrm>
          <a:custGeom>
            <a:avLst/>
            <a:gdLst>
              <a:gd name="T0" fmla="*/ 260 w 260"/>
              <a:gd name="T1" fmla="*/ 260 h 260"/>
              <a:gd name="T2" fmla="*/ 195 w 260"/>
              <a:gd name="T3" fmla="*/ 260 h 260"/>
              <a:gd name="T4" fmla="*/ 195 w 260"/>
              <a:gd name="T5" fmla="*/ 244 h 260"/>
              <a:gd name="T6" fmla="*/ 244 w 260"/>
              <a:gd name="T7" fmla="*/ 244 h 260"/>
              <a:gd name="T8" fmla="*/ 244 w 260"/>
              <a:gd name="T9" fmla="*/ 81 h 260"/>
              <a:gd name="T10" fmla="*/ 179 w 260"/>
              <a:gd name="T11" fmla="*/ 81 h 260"/>
              <a:gd name="T12" fmla="*/ 179 w 260"/>
              <a:gd name="T13" fmla="*/ 16 h 260"/>
              <a:gd name="T14" fmla="*/ 81 w 260"/>
              <a:gd name="T15" fmla="*/ 16 h 260"/>
              <a:gd name="T16" fmla="*/ 81 w 260"/>
              <a:gd name="T17" fmla="*/ 65 h 260"/>
              <a:gd name="T18" fmla="*/ 65 w 260"/>
              <a:gd name="T19" fmla="*/ 65 h 260"/>
              <a:gd name="T20" fmla="*/ 65 w 260"/>
              <a:gd name="T21" fmla="*/ 0 h 260"/>
              <a:gd name="T22" fmla="*/ 179 w 260"/>
              <a:gd name="T23" fmla="*/ 0 h 260"/>
              <a:gd name="T24" fmla="*/ 260 w 260"/>
              <a:gd name="T25" fmla="*/ 81 h 260"/>
              <a:gd name="T26" fmla="*/ 260 w 260"/>
              <a:gd name="T27" fmla="*/ 260 h 260"/>
              <a:gd name="T28" fmla="*/ 146 w 260"/>
              <a:gd name="T29" fmla="*/ 162 h 260"/>
              <a:gd name="T30" fmla="*/ 81 w 260"/>
              <a:gd name="T31" fmla="*/ 162 h 260"/>
              <a:gd name="T32" fmla="*/ 81 w 260"/>
              <a:gd name="T33" fmla="*/ 97 h 260"/>
              <a:gd name="T34" fmla="*/ 65 w 260"/>
              <a:gd name="T35" fmla="*/ 97 h 260"/>
              <a:gd name="T36" fmla="*/ 65 w 260"/>
              <a:gd name="T37" fmla="*/ 162 h 260"/>
              <a:gd name="T38" fmla="*/ 0 w 260"/>
              <a:gd name="T39" fmla="*/ 162 h 260"/>
              <a:gd name="T40" fmla="*/ 0 w 260"/>
              <a:gd name="T41" fmla="*/ 179 h 260"/>
              <a:gd name="T42" fmla="*/ 65 w 260"/>
              <a:gd name="T43" fmla="*/ 179 h 260"/>
              <a:gd name="T44" fmla="*/ 65 w 260"/>
              <a:gd name="T45" fmla="*/ 244 h 260"/>
              <a:gd name="T46" fmla="*/ 81 w 260"/>
              <a:gd name="T47" fmla="*/ 244 h 260"/>
              <a:gd name="T48" fmla="*/ 81 w 260"/>
              <a:gd name="T49" fmla="*/ 179 h 260"/>
              <a:gd name="T50" fmla="*/ 146 w 260"/>
              <a:gd name="T51" fmla="*/ 179 h 260"/>
              <a:gd name="T52" fmla="*/ 146 w 260"/>
              <a:gd name="T53" fmla="*/ 16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0" h="260">
                <a:moveTo>
                  <a:pt x="260" y="260"/>
                </a:moveTo>
                <a:lnTo>
                  <a:pt x="195" y="260"/>
                </a:lnTo>
                <a:lnTo>
                  <a:pt x="195" y="244"/>
                </a:lnTo>
                <a:lnTo>
                  <a:pt x="244" y="244"/>
                </a:lnTo>
                <a:lnTo>
                  <a:pt x="244" y="81"/>
                </a:lnTo>
                <a:lnTo>
                  <a:pt x="179" y="81"/>
                </a:lnTo>
                <a:lnTo>
                  <a:pt x="179" y="16"/>
                </a:lnTo>
                <a:lnTo>
                  <a:pt x="81" y="16"/>
                </a:lnTo>
                <a:lnTo>
                  <a:pt x="81" y="65"/>
                </a:lnTo>
                <a:lnTo>
                  <a:pt x="65" y="65"/>
                </a:lnTo>
                <a:lnTo>
                  <a:pt x="65" y="0"/>
                </a:lnTo>
                <a:lnTo>
                  <a:pt x="179" y="0"/>
                </a:lnTo>
                <a:lnTo>
                  <a:pt x="260" y="81"/>
                </a:lnTo>
                <a:lnTo>
                  <a:pt x="260" y="260"/>
                </a:lnTo>
                <a:close/>
                <a:moveTo>
                  <a:pt x="146" y="162"/>
                </a:moveTo>
                <a:lnTo>
                  <a:pt x="81" y="162"/>
                </a:lnTo>
                <a:lnTo>
                  <a:pt x="81" y="97"/>
                </a:lnTo>
                <a:lnTo>
                  <a:pt x="65" y="97"/>
                </a:lnTo>
                <a:lnTo>
                  <a:pt x="65" y="162"/>
                </a:lnTo>
                <a:lnTo>
                  <a:pt x="0" y="162"/>
                </a:lnTo>
                <a:lnTo>
                  <a:pt x="0" y="179"/>
                </a:lnTo>
                <a:lnTo>
                  <a:pt x="65" y="179"/>
                </a:lnTo>
                <a:lnTo>
                  <a:pt x="65" y="244"/>
                </a:lnTo>
                <a:lnTo>
                  <a:pt x="81" y="244"/>
                </a:lnTo>
                <a:lnTo>
                  <a:pt x="81" y="179"/>
                </a:lnTo>
                <a:lnTo>
                  <a:pt x="146" y="179"/>
                </a:lnTo>
                <a:lnTo>
                  <a:pt x="146" y="16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7" name="Freeform 13">
            <a:extLst>
              <a:ext uri="{FF2B5EF4-FFF2-40B4-BE49-F238E27FC236}">
                <a16:creationId xmlns:a16="http://schemas.microsoft.com/office/drawing/2014/main" id="{118B0989-123E-4710-A5EE-DF6497CB2D8F}"/>
              </a:ext>
            </a:extLst>
          </p:cNvPr>
          <p:cNvSpPr>
            <a:spLocks noEditPoints="1"/>
          </p:cNvSpPr>
          <p:nvPr/>
        </p:nvSpPr>
        <p:spPr bwMode="auto">
          <a:xfrm>
            <a:off x="587675" y="2456984"/>
            <a:ext cx="412750" cy="361950"/>
          </a:xfrm>
          <a:custGeom>
            <a:avLst/>
            <a:gdLst>
              <a:gd name="T0" fmla="*/ 260 w 260"/>
              <a:gd name="T1" fmla="*/ 0 h 228"/>
              <a:gd name="T2" fmla="*/ 0 w 260"/>
              <a:gd name="T3" fmla="*/ 0 h 228"/>
              <a:gd name="T4" fmla="*/ 0 w 260"/>
              <a:gd name="T5" fmla="*/ 228 h 228"/>
              <a:gd name="T6" fmla="*/ 260 w 260"/>
              <a:gd name="T7" fmla="*/ 228 h 228"/>
              <a:gd name="T8" fmla="*/ 260 w 260"/>
              <a:gd name="T9" fmla="*/ 0 h 228"/>
              <a:gd name="T10" fmla="*/ 244 w 260"/>
              <a:gd name="T11" fmla="*/ 212 h 228"/>
              <a:gd name="T12" fmla="*/ 16 w 260"/>
              <a:gd name="T13" fmla="*/ 212 h 228"/>
              <a:gd name="T14" fmla="*/ 16 w 260"/>
              <a:gd name="T15" fmla="*/ 49 h 228"/>
              <a:gd name="T16" fmla="*/ 244 w 260"/>
              <a:gd name="T17" fmla="*/ 49 h 228"/>
              <a:gd name="T18" fmla="*/ 244 w 260"/>
              <a:gd name="T19" fmla="*/ 212 h 228"/>
              <a:gd name="T20" fmla="*/ 81 w 260"/>
              <a:gd name="T21" fmla="*/ 114 h 228"/>
              <a:gd name="T22" fmla="*/ 49 w 260"/>
              <a:gd name="T23" fmla="*/ 114 h 228"/>
              <a:gd name="T24" fmla="*/ 49 w 260"/>
              <a:gd name="T25" fmla="*/ 81 h 228"/>
              <a:gd name="T26" fmla="*/ 81 w 260"/>
              <a:gd name="T27" fmla="*/ 81 h 228"/>
              <a:gd name="T28" fmla="*/ 81 w 260"/>
              <a:gd name="T29" fmla="*/ 114 h 228"/>
              <a:gd name="T30" fmla="*/ 146 w 260"/>
              <a:gd name="T31" fmla="*/ 114 h 228"/>
              <a:gd name="T32" fmla="*/ 114 w 260"/>
              <a:gd name="T33" fmla="*/ 114 h 228"/>
              <a:gd name="T34" fmla="*/ 114 w 260"/>
              <a:gd name="T35" fmla="*/ 81 h 228"/>
              <a:gd name="T36" fmla="*/ 146 w 260"/>
              <a:gd name="T37" fmla="*/ 81 h 228"/>
              <a:gd name="T38" fmla="*/ 146 w 260"/>
              <a:gd name="T39" fmla="*/ 114 h 228"/>
              <a:gd name="T40" fmla="*/ 211 w 260"/>
              <a:gd name="T41" fmla="*/ 114 h 228"/>
              <a:gd name="T42" fmla="*/ 179 w 260"/>
              <a:gd name="T43" fmla="*/ 114 h 228"/>
              <a:gd name="T44" fmla="*/ 179 w 260"/>
              <a:gd name="T45" fmla="*/ 81 h 228"/>
              <a:gd name="T46" fmla="*/ 211 w 260"/>
              <a:gd name="T47" fmla="*/ 81 h 228"/>
              <a:gd name="T48" fmla="*/ 211 w 260"/>
              <a:gd name="T49" fmla="*/ 114 h 228"/>
              <a:gd name="T50" fmla="*/ 81 w 260"/>
              <a:gd name="T51" fmla="*/ 179 h 228"/>
              <a:gd name="T52" fmla="*/ 49 w 260"/>
              <a:gd name="T53" fmla="*/ 179 h 228"/>
              <a:gd name="T54" fmla="*/ 49 w 260"/>
              <a:gd name="T55" fmla="*/ 147 h 228"/>
              <a:gd name="T56" fmla="*/ 81 w 260"/>
              <a:gd name="T57" fmla="*/ 147 h 228"/>
              <a:gd name="T58" fmla="*/ 81 w 260"/>
              <a:gd name="T59" fmla="*/ 179 h 228"/>
              <a:gd name="T60" fmla="*/ 146 w 260"/>
              <a:gd name="T61" fmla="*/ 179 h 228"/>
              <a:gd name="T62" fmla="*/ 114 w 260"/>
              <a:gd name="T63" fmla="*/ 179 h 228"/>
              <a:gd name="T64" fmla="*/ 114 w 260"/>
              <a:gd name="T65" fmla="*/ 147 h 228"/>
              <a:gd name="T66" fmla="*/ 146 w 260"/>
              <a:gd name="T67" fmla="*/ 147 h 228"/>
              <a:gd name="T68" fmla="*/ 146 w 260"/>
              <a:gd name="T69" fmla="*/ 179 h 228"/>
              <a:gd name="T70" fmla="*/ 211 w 260"/>
              <a:gd name="T71" fmla="*/ 179 h 228"/>
              <a:gd name="T72" fmla="*/ 179 w 260"/>
              <a:gd name="T73" fmla="*/ 179 h 228"/>
              <a:gd name="T74" fmla="*/ 179 w 260"/>
              <a:gd name="T75" fmla="*/ 147 h 228"/>
              <a:gd name="T76" fmla="*/ 211 w 260"/>
              <a:gd name="T77" fmla="*/ 147 h 228"/>
              <a:gd name="T78" fmla="*/ 211 w 260"/>
              <a:gd name="T79" fmla="*/ 17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0" h="228">
                <a:moveTo>
                  <a:pt x="260" y="0"/>
                </a:moveTo>
                <a:lnTo>
                  <a:pt x="0" y="0"/>
                </a:lnTo>
                <a:lnTo>
                  <a:pt x="0" y="228"/>
                </a:lnTo>
                <a:lnTo>
                  <a:pt x="260" y="228"/>
                </a:lnTo>
                <a:lnTo>
                  <a:pt x="260" y="0"/>
                </a:lnTo>
                <a:close/>
                <a:moveTo>
                  <a:pt x="244" y="212"/>
                </a:moveTo>
                <a:lnTo>
                  <a:pt x="16" y="212"/>
                </a:lnTo>
                <a:lnTo>
                  <a:pt x="16" y="49"/>
                </a:lnTo>
                <a:lnTo>
                  <a:pt x="244" y="49"/>
                </a:lnTo>
                <a:lnTo>
                  <a:pt x="244" y="212"/>
                </a:lnTo>
                <a:close/>
                <a:moveTo>
                  <a:pt x="81" y="114"/>
                </a:moveTo>
                <a:lnTo>
                  <a:pt x="49" y="114"/>
                </a:lnTo>
                <a:lnTo>
                  <a:pt x="49" y="81"/>
                </a:lnTo>
                <a:lnTo>
                  <a:pt x="81" y="81"/>
                </a:lnTo>
                <a:lnTo>
                  <a:pt x="81" y="114"/>
                </a:lnTo>
                <a:close/>
                <a:moveTo>
                  <a:pt x="146" y="114"/>
                </a:moveTo>
                <a:lnTo>
                  <a:pt x="114" y="114"/>
                </a:lnTo>
                <a:lnTo>
                  <a:pt x="114" y="81"/>
                </a:lnTo>
                <a:lnTo>
                  <a:pt x="146" y="81"/>
                </a:lnTo>
                <a:lnTo>
                  <a:pt x="146" y="114"/>
                </a:lnTo>
                <a:close/>
                <a:moveTo>
                  <a:pt x="211" y="114"/>
                </a:moveTo>
                <a:lnTo>
                  <a:pt x="179" y="114"/>
                </a:lnTo>
                <a:lnTo>
                  <a:pt x="179" y="81"/>
                </a:lnTo>
                <a:lnTo>
                  <a:pt x="211" y="81"/>
                </a:lnTo>
                <a:lnTo>
                  <a:pt x="211" y="114"/>
                </a:lnTo>
                <a:close/>
                <a:moveTo>
                  <a:pt x="81" y="179"/>
                </a:moveTo>
                <a:lnTo>
                  <a:pt x="49" y="179"/>
                </a:lnTo>
                <a:lnTo>
                  <a:pt x="49" y="147"/>
                </a:lnTo>
                <a:lnTo>
                  <a:pt x="81" y="147"/>
                </a:lnTo>
                <a:lnTo>
                  <a:pt x="81" y="179"/>
                </a:lnTo>
                <a:close/>
                <a:moveTo>
                  <a:pt x="146" y="179"/>
                </a:moveTo>
                <a:lnTo>
                  <a:pt x="114" y="179"/>
                </a:lnTo>
                <a:lnTo>
                  <a:pt x="114" y="147"/>
                </a:lnTo>
                <a:lnTo>
                  <a:pt x="146" y="147"/>
                </a:lnTo>
                <a:lnTo>
                  <a:pt x="146" y="179"/>
                </a:lnTo>
                <a:close/>
                <a:moveTo>
                  <a:pt x="211" y="179"/>
                </a:moveTo>
                <a:lnTo>
                  <a:pt x="179" y="179"/>
                </a:lnTo>
                <a:lnTo>
                  <a:pt x="179" y="147"/>
                </a:lnTo>
                <a:lnTo>
                  <a:pt x="211" y="147"/>
                </a:lnTo>
                <a:lnTo>
                  <a:pt x="211" y="17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8" name="Freeform 17">
            <a:extLst>
              <a:ext uri="{FF2B5EF4-FFF2-40B4-BE49-F238E27FC236}">
                <a16:creationId xmlns:a16="http://schemas.microsoft.com/office/drawing/2014/main" id="{79EB9D91-C3F8-4BF0-A6BC-C883A1A63B52}"/>
              </a:ext>
            </a:extLst>
          </p:cNvPr>
          <p:cNvSpPr>
            <a:spLocks/>
          </p:cNvSpPr>
          <p:nvPr/>
        </p:nvSpPr>
        <p:spPr bwMode="auto">
          <a:xfrm>
            <a:off x="1633108" y="2406184"/>
            <a:ext cx="412750" cy="412750"/>
          </a:xfrm>
          <a:custGeom>
            <a:avLst/>
            <a:gdLst>
              <a:gd name="T0" fmla="*/ 72 w 128"/>
              <a:gd name="T1" fmla="*/ 68 h 128"/>
              <a:gd name="T2" fmla="*/ 72 w 128"/>
              <a:gd name="T3" fmla="*/ 108 h 128"/>
              <a:gd name="T4" fmla="*/ 92 w 128"/>
              <a:gd name="T5" fmla="*/ 121 h 128"/>
              <a:gd name="T6" fmla="*/ 92 w 128"/>
              <a:gd name="T7" fmla="*/ 128 h 128"/>
              <a:gd name="T8" fmla="*/ 64 w 128"/>
              <a:gd name="T9" fmla="*/ 117 h 128"/>
              <a:gd name="T10" fmla="*/ 36 w 128"/>
              <a:gd name="T11" fmla="*/ 128 h 128"/>
              <a:gd name="T12" fmla="*/ 36 w 128"/>
              <a:gd name="T13" fmla="*/ 121 h 128"/>
              <a:gd name="T14" fmla="*/ 56 w 128"/>
              <a:gd name="T15" fmla="*/ 108 h 128"/>
              <a:gd name="T16" fmla="*/ 56 w 128"/>
              <a:gd name="T17" fmla="*/ 68 h 128"/>
              <a:gd name="T18" fmla="*/ 0 w 128"/>
              <a:gd name="T19" fmla="*/ 88 h 128"/>
              <a:gd name="T20" fmla="*/ 0 w 128"/>
              <a:gd name="T21" fmla="*/ 76 h 128"/>
              <a:gd name="T22" fmla="*/ 56 w 128"/>
              <a:gd name="T23" fmla="*/ 44 h 128"/>
              <a:gd name="T24" fmla="*/ 56 w 128"/>
              <a:gd name="T25" fmla="*/ 8 h 128"/>
              <a:gd name="T26" fmla="*/ 56 w 128"/>
              <a:gd name="T27" fmla="*/ 8 h 128"/>
              <a:gd name="T28" fmla="*/ 64 w 128"/>
              <a:gd name="T29" fmla="*/ 0 h 128"/>
              <a:gd name="T30" fmla="*/ 72 w 128"/>
              <a:gd name="T31" fmla="*/ 8 h 128"/>
              <a:gd name="T32" fmla="*/ 72 w 128"/>
              <a:gd name="T33" fmla="*/ 8 h 128"/>
              <a:gd name="T34" fmla="*/ 72 w 128"/>
              <a:gd name="T35" fmla="*/ 8 h 128"/>
              <a:gd name="T36" fmla="*/ 72 w 128"/>
              <a:gd name="T37" fmla="*/ 44 h 128"/>
              <a:gd name="T38" fmla="*/ 128 w 128"/>
              <a:gd name="T39" fmla="*/ 76 h 128"/>
              <a:gd name="T40" fmla="*/ 128 w 128"/>
              <a:gd name="T41" fmla="*/ 88 h 128"/>
              <a:gd name="T42" fmla="*/ 72 w 128"/>
              <a:gd name="T43" fmla="*/ 6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128">
                <a:moveTo>
                  <a:pt x="72" y="68"/>
                </a:moveTo>
                <a:cubicBezTo>
                  <a:pt x="72" y="108"/>
                  <a:pt x="72" y="108"/>
                  <a:pt x="72" y="108"/>
                </a:cubicBezTo>
                <a:cubicBezTo>
                  <a:pt x="92" y="121"/>
                  <a:pt x="92" y="121"/>
                  <a:pt x="92" y="121"/>
                </a:cubicBezTo>
                <a:cubicBezTo>
                  <a:pt x="92" y="128"/>
                  <a:pt x="92" y="128"/>
                  <a:pt x="92" y="128"/>
                </a:cubicBezTo>
                <a:cubicBezTo>
                  <a:pt x="64" y="117"/>
                  <a:pt x="64" y="117"/>
                  <a:pt x="64" y="117"/>
                </a:cubicBezTo>
                <a:cubicBezTo>
                  <a:pt x="36" y="128"/>
                  <a:pt x="36" y="128"/>
                  <a:pt x="36" y="128"/>
                </a:cubicBezTo>
                <a:cubicBezTo>
                  <a:pt x="36" y="121"/>
                  <a:pt x="36" y="121"/>
                  <a:pt x="36" y="121"/>
                </a:cubicBezTo>
                <a:cubicBezTo>
                  <a:pt x="56" y="108"/>
                  <a:pt x="56" y="108"/>
                  <a:pt x="56" y="108"/>
                </a:cubicBezTo>
                <a:cubicBezTo>
                  <a:pt x="56" y="68"/>
                  <a:pt x="56" y="68"/>
                  <a:pt x="56" y="68"/>
                </a:cubicBezTo>
                <a:cubicBezTo>
                  <a:pt x="0" y="88"/>
                  <a:pt x="0" y="88"/>
                  <a:pt x="0" y="88"/>
                </a:cubicBezTo>
                <a:cubicBezTo>
                  <a:pt x="0" y="76"/>
                  <a:pt x="0" y="76"/>
                  <a:pt x="0" y="76"/>
                </a:cubicBezTo>
                <a:cubicBezTo>
                  <a:pt x="56" y="44"/>
                  <a:pt x="56" y="44"/>
                  <a:pt x="56" y="44"/>
                </a:cubicBezTo>
                <a:cubicBezTo>
                  <a:pt x="56" y="8"/>
                  <a:pt x="56" y="8"/>
                  <a:pt x="56" y="8"/>
                </a:cubicBezTo>
                <a:cubicBezTo>
                  <a:pt x="56" y="8"/>
                  <a:pt x="56" y="8"/>
                  <a:pt x="56" y="8"/>
                </a:cubicBezTo>
                <a:cubicBezTo>
                  <a:pt x="56" y="4"/>
                  <a:pt x="60" y="0"/>
                  <a:pt x="64" y="0"/>
                </a:cubicBezTo>
                <a:cubicBezTo>
                  <a:pt x="68" y="0"/>
                  <a:pt x="72" y="4"/>
                  <a:pt x="72" y="8"/>
                </a:cubicBezTo>
                <a:cubicBezTo>
                  <a:pt x="72" y="8"/>
                  <a:pt x="72" y="8"/>
                  <a:pt x="72" y="8"/>
                </a:cubicBezTo>
                <a:cubicBezTo>
                  <a:pt x="72" y="8"/>
                  <a:pt x="72" y="8"/>
                  <a:pt x="72" y="8"/>
                </a:cubicBezTo>
                <a:cubicBezTo>
                  <a:pt x="72" y="44"/>
                  <a:pt x="72" y="44"/>
                  <a:pt x="72" y="44"/>
                </a:cubicBezTo>
                <a:cubicBezTo>
                  <a:pt x="128" y="76"/>
                  <a:pt x="128" y="76"/>
                  <a:pt x="128" y="76"/>
                </a:cubicBezTo>
                <a:cubicBezTo>
                  <a:pt x="128" y="88"/>
                  <a:pt x="128" y="88"/>
                  <a:pt x="128" y="88"/>
                </a:cubicBezTo>
                <a:lnTo>
                  <a:pt x="72" y="6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9" name="Freeform 21">
            <a:extLst>
              <a:ext uri="{FF2B5EF4-FFF2-40B4-BE49-F238E27FC236}">
                <a16:creationId xmlns:a16="http://schemas.microsoft.com/office/drawing/2014/main" id="{7A011681-C647-44B0-B0A3-D00941A46062}"/>
              </a:ext>
            </a:extLst>
          </p:cNvPr>
          <p:cNvSpPr>
            <a:spLocks noEditPoints="1"/>
          </p:cNvSpPr>
          <p:nvPr/>
        </p:nvSpPr>
        <p:spPr bwMode="auto">
          <a:xfrm>
            <a:off x="3723975" y="2404596"/>
            <a:ext cx="412750" cy="414338"/>
          </a:xfrm>
          <a:custGeom>
            <a:avLst/>
            <a:gdLst>
              <a:gd name="T0" fmla="*/ 95 w 128"/>
              <a:gd name="T1" fmla="*/ 57 h 128"/>
              <a:gd name="T2" fmla="*/ 96 w 128"/>
              <a:gd name="T3" fmla="*/ 64 h 128"/>
              <a:gd name="T4" fmla="*/ 64 w 128"/>
              <a:gd name="T5" fmla="*/ 96 h 128"/>
              <a:gd name="T6" fmla="*/ 32 w 128"/>
              <a:gd name="T7" fmla="*/ 64 h 128"/>
              <a:gd name="T8" fmla="*/ 60 w 128"/>
              <a:gd name="T9" fmla="*/ 32 h 128"/>
              <a:gd name="T10" fmla="*/ 60 w 128"/>
              <a:gd name="T11" fmla="*/ 0 h 128"/>
              <a:gd name="T12" fmla="*/ 0 w 128"/>
              <a:gd name="T13" fmla="*/ 64 h 128"/>
              <a:gd name="T14" fmla="*/ 64 w 128"/>
              <a:gd name="T15" fmla="*/ 128 h 128"/>
              <a:gd name="T16" fmla="*/ 128 w 128"/>
              <a:gd name="T17" fmla="*/ 64 h 128"/>
              <a:gd name="T18" fmla="*/ 125 w 128"/>
              <a:gd name="T19" fmla="*/ 45 h 128"/>
              <a:gd name="T20" fmla="*/ 95 w 128"/>
              <a:gd name="T21" fmla="*/ 57 h 128"/>
              <a:gd name="T22" fmla="*/ 64 w 128"/>
              <a:gd name="T23" fmla="*/ 120 h 128"/>
              <a:gd name="T24" fmla="*/ 8 w 128"/>
              <a:gd name="T25" fmla="*/ 64 h 128"/>
              <a:gd name="T26" fmla="*/ 52 w 128"/>
              <a:gd name="T27" fmla="*/ 9 h 128"/>
              <a:gd name="T28" fmla="*/ 52 w 128"/>
              <a:gd name="T29" fmla="*/ 26 h 128"/>
              <a:gd name="T30" fmla="*/ 24 w 128"/>
              <a:gd name="T31" fmla="*/ 64 h 128"/>
              <a:gd name="T32" fmla="*/ 64 w 128"/>
              <a:gd name="T33" fmla="*/ 104 h 128"/>
              <a:gd name="T34" fmla="*/ 104 w 128"/>
              <a:gd name="T35" fmla="*/ 64 h 128"/>
              <a:gd name="T36" fmla="*/ 104 w 128"/>
              <a:gd name="T37" fmla="*/ 62 h 128"/>
              <a:gd name="T38" fmla="*/ 119 w 128"/>
              <a:gd name="T39" fmla="*/ 56 h 128"/>
              <a:gd name="T40" fmla="*/ 120 w 128"/>
              <a:gd name="T41" fmla="*/ 64 h 128"/>
              <a:gd name="T42" fmla="*/ 64 w 128"/>
              <a:gd name="T43" fmla="*/ 120 h 128"/>
              <a:gd name="T44" fmla="*/ 92 w 128"/>
              <a:gd name="T45" fmla="*/ 49 h 128"/>
              <a:gd name="T46" fmla="*/ 68 w 128"/>
              <a:gd name="T47" fmla="*/ 32 h 128"/>
              <a:gd name="T48" fmla="*/ 68 w 128"/>
              <a:gd name="T49" fmla="*/ 0 h 128"/>
              <a:gd name="T50" fmla="*/ 122 w 128"/>
              <a:gd name="T51" fmla="*/ 37 h 128"/>
              <a:gd name="T52" fmla="*/ 92 w 128"/>
              <a:gd name="T53" fmla="*/ 4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128">
                <a:moveTo>
                  <a:pt x="95" y="57"/>
                </a:moveTo>
                <a:cubicBezTo>
                  <a:pt x="96" y="59"/>
                  <a:pt x="96" y="62"/>
                  <a:pt x="96" y="64"/>
                </a:cubicBezTo>
                <a:cubicBezTo>
                  <a:pt x="96" y="82"/>
                  <a:pt x="82" y="96"/>
                  <a:pt x="64" y="96"/>
                </a:cubicBezTo>
                <a:cubicBezTo>
                  <a:pt x="46" y="96"/>
                  <a:pt x="32" y="82"/>
                  <a:pt x="32" y="64"/>
                </a:cubicBezTo>
                <a:cubicBezTo>
                  <a:pt x="32" y="48"/>
                  <a:pt x="44" y="34"/>
                  <a:pt x="60" y="32"/>
                </a:cubicBezTo>
                <a:cubicBezTo>
                  <a:pt x="60" y="0"/>
                  <a:pt x="60" y="0"/>
                  <a:pt x="60" y="0"/>
                </a:cubicBezTo>
                <a:cubicBezTo>
                  <a:pt x="27" y="2"/>
                  <a:pt x="0" y="30"/>
                  <a:pt x="0" y="64"/>
                </a:cubicBezTo>
                <a:cubicBezTo>
                  <a:pt x="0" y="99"/>
                  <a:pt x="29" y="128"/>
                  <a:pt x="64" y="128"/>
                </a:cubicBezTo>
                <a:cubicBezTo>
                  <a:pt x="99" y="128"/>
                  <a:pt x="128" y="99"/>
                  <a:pt x="128" y="64"/>
                </a:cubicBezTo>
                <a:cubicBezTo>
                  <a:pt x="128" y="57"/>
                  <a:pt x="127" y="51"/>
                  <a:pt x="125" y="45"/>
                </a:cubicBezTo>
                <a:lnTo>
                  <a:pt x="95" y="57"/>
                </a:lnTo>
                <a:close/>
                <a:moveTo>
                  <a:pt x="64" y="120"/>
                </a:moveTo>
                <a:cubicBezTo>
                  <a:pt x="33" y="120"/>
                  <a:pt x="8" y="95"/>
                  <a:pt x="8" y="64"/>
                </a:cubicBezTo>
                <a:cubicBezTo>
                  <a:pt x="8" y="37"/>
                  <a:pt x="27" y="15"/>
                  <a:pt x="52" y="9"/>
                </a:cubicBezTo>
                <a:cubicBezTo>
                  <a:pt x="52" y="26"/>
                  <a:pt x="52" y="26"/>
                  <a:pt x="52" y="26"/>
                </a:cubicBezTo>
                <a:cubicBezTo>
                  <a:pt x="36" y="31"/>
                  <a:pt x="24" y="46"/>
                  <a:pt x="24" y="64"/>
                </a:cubicBezTo>
                <a:cubicBezTo>
                  <a:pt x="24" y="86"/>
                  <a:pt x="42" y="104"/>
                  <a:pt x="64" y="104"/>
                </a:cubicBezTo>
                <a:cubicBezTo>
                  <a:pt x="86" y="104"/>
                  <a:pt x="104" y="86"/>
                  <a:pt x="104" y="64"/>
                </a:cubicBezTo>
                <a:cubicBezTo>
                  <a:pt x="104" y="63"/>
                  <a:pt x="104" y="63"/>
                  <a:pt x="104" y="62"/>
                </a:cubicBezTo>
                <a:cubicBezTo>
                  <a:pt x="119" y="56"/>
                  <a:pt x="119" y="56"/>
                  <a:pt x="119" y="56"/>
                </a:cubicBezTo>
                <a:cubicBezTo>
                  <a:pt x="120" y="58"/>
                  <a:pt x="120" y="61"/>
                  <a:pt x="120" y="64"/>
                </a:cubicBezTo>
                <a:cubicBezTo>
                  <a:pt x="120" y="95"/>
                  <a:pt x="95" y="120"/>
                  <a:pt x="64" y="120"/>
                </a:cubicBezTo>
                <a:close/>
                <a:moveTo>
                  <a:pt x="92" y="49"/>
                </a:moveTo>
                <a:cubicBezTo>
                  <a:pt x="87" y="40"/>
                  <a:pt x="79" y="34"/>
                  <a:pt x="68" y="32"/>
                </a:cubicBezTo>
                <a:cubicBezTo>
                  <a:pt x="68" y="0"/>
                  <a:pt x="68" y="0"/>
                  <a:pt x="68" y="0"/>
                </a:cubicBezTo>
                <a:cubicBezTo>
                  <a:pt x="92" y="2"/>
                  <a:pt x="112" y="16"/>
                  <a:pt x="122" y="37"/>
                </a:cubicBezTo>
                <a:lnTo>
                  <a:pt x="92" y="4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0" name="Freeform 25">
            <a:extLst>
              <a:ext uri="{FF2B5EF4-FFF2-40B4-BE49-F238E27FC236}">
                <a16:creationId xmlns:a16="http://schemas.microsoft.com/office/drawing/2014/main" id="{68EC46A7-D053-4878-97AA-41B5841D2D57}"/>
              </a:ext>
            </a:extLst>
          </p:cNvPr>
          <p:cNvSpPr>
            <a:spLocks noEditPoints="1"/>
          </p:cNvSpPr>
          <p:nvPr/>
        </p:nvSpPr>
        <p:spPr bwMode="auto">
          <a:xfrm>
            <a:off x="1632315" y="3195060"/>
            <a:ext cx="414337" cy="412750"/>
          </a:xfrm>
          <a:custGeom>
            <a:avLst/>
            <a:gdLst>
              <a:gd name="T0" fmla="*/ 64 w 128"/>
              <a:gd name="T1" fmla="*/ 128 h 128"/>
              <a:gd name="T2" fmla="*/ 0 w 128"/>
              <a:gd name="T3" fmla="*/ 64 h 128"/>
              <a:gd name="T4" fmla="*/ 64 w 128"/>
              <a:gd name="T5" fmla="*/ 0 h 128"/>
              <a:gd name="T6" fmla="*/ 128 w 128"/>
              <a:gd name="T7" fmla="*/ 64 h 128"/>
              <a:gd name="T8" fmla="*/ 64 w 128"/>
              <a:gd name="T9" fmla="*/ 128 h 128"/>
              <a:gd name="T10" fmla="*/ 64 w 128"/>
              <a:gd name="T11" fmla="*/ 8 h 128"/>
              <a:gd name="T12" fmla="*/ 8 w 128"/>
              <a:gd name="T13" fmla="*/ 64 h 128"/>
              <a:gd name="T14" fmla="*/ 64 w 128"/>
              <a:gd name="T15" fmla="*/ 120 h 128"/>
              <a:gd name="T16" fmla="*/ 120 w 128"/>
              <a:gd name="T17" fmla="*/ 64 h 128"/>
              <a:gd name="T18" fmla="*/ 64 w 128"/>
              <a:gd name="T19" fmla="*/ 8 h 128"/>
              <a:gd name="T20" fmla="*/ 64 w 128"/>
              <a:gd name="T21" fmla="*/ 48 h 128"/>
              <a:gd name="T22" fmla="*/ 80 w 128"/>
              <a:gd name="T23" fmla="*/ 64 h 128"/>
              <a:gd name="T24" fmla="*/ 64 w 128"/>
              <a:gd name="T25" fmla="*/ 80 h 128"/>
              <a:gd name="T26" fmla="*/ 48 w 128"/>
              <a:gd name="T27" fmla="*/ 64 h 128"/>
              <a:gd name="T28" fmla="*/ 64 w 128"/>
              <a:gd name="T29" fmla="*/ 4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8" h="128">
                <a:moveTo>
                  <a:pt x="64" y="128"/>
                </a:moveTo>
                <a:cubicBezTo>
                  <a:pt x="29" y="128"/>
                  <a:pt x="0" y="99"/>
                  <a:pt x="0" y="64"/>
                </a:cubicBezTo>
                <a:cubicBezTo>
                  <a:pt x="0" y="29"/>
                  <a:pt x="29" y="0"/>
                  <a:pt x="64" y="0"/>
                </a:cubicBezTo>
                <a:cubicBezTo>
                  <a:pt x="99" y="0"/>
                  <a:pt x="128" y="29"/>
                  <a:pt x="128" y="64"/>
                </a:cubicBezTo>
                <a:cubicBezTo>
                  <a:pt x="128" y="99"/>
                  <a:pt x="99" y="128"/>
                  <a:pt x="64" y="128"/>
                </a:cubicBezTo>
                <a:close/>
                <a:moveTo>
                  <a:pt x="64" y="8"/>
                </a:moveTo>
                <a:cubicBezTo>
                  <a:pt x="33" y="8"/>
                  <a:pt x="8" y="33"/>
                  <a:pt x="8" y="64"/>
                </a:cubicBezTo>
                <a:cubicBezTo>
                  <a:pt x="8" y="95"/>
                  <a:pt x="33" y="120"/>
                  <a:pt x="64" y="120"/>
                </a:cubicBezTo>
                <a:cubicBezTo>
                  <a:pt x="95" y="120"/>
                  <a:pt x="120" y="95"/>
                  <a:pt x="120" y="64"/>
                </a:cubicBezTo>
                <a:cubicBezTo>
                  <a:pt x="120" y="33"/>
                  <a:pt x="95" y="8"/>
                  <a:pt x="64" y="8"/>
                </a:cubicBezTo>
                <a:close/>
                <a:moveTo>
                  <a:pt x="64" y="48"/>
                </a:moveTo>
                <a:cubicBezTo>
                  <a:pt x="73" y="48"/>
                  <a:pt x="80" y="55"/>
                  <a:pt x="80" y="64"/>
                </a:cubicBezTo>
                <a:cubicBezTo>
                  <a:pt x="80" y="73"/>
                  <a:pt x="73" y="80"/>
                  <a:pt x="64" y="80"/>
                </a:cubicBezTo>
                <a:cubicBezTo>
                  <a:pt x="55" y="80"/>
                  <a:pt x="48" y="73"/>
                  <a:pt x="48" y="64"/>
                </a:cubicBezTo>
                <a:cubicBezTo>
                  <a:pt x="48" y="55"/>
                  <a:pt x="55" y="48"/>
                  <a:pt x="64"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1" name="Freeform 29">
            <a:extLst>
              <a:ext uri="{FF2B5EF4-FFF2-40B4-BE49-F238E27FC236}">
                <a16:creationId xmlns:a16="http://schemas.microsoft.com/office/drawing/2014/main" id="{26EBD9C0-4A73-4D1F-8DDA-DD54BEFF556F}"/>
              </a:ext>
            </a:extLst>
          </p:cNvPr>
          <p:cNvSpPr>
            <a:spLocks/>
          </p:cNvSpPr>
          <p:nvPr/>
        </p:nvSpPr>
        <p:spPr bwMode="auto">
          <a:xfrm>
            <a:off x="2678542" y="3368583"/>
            <a:ext cx="412750" cy="239227"/>
          </a:xfrm>
          <a:custGeom>
            <a:avLst/>
            <a:gdLst>
              <a:gd name="T0" fmla="*/ 152 w 260"/>
              <a:gd name="T1" fmla="*/ 132 h 155"/>
              <a:gd name="T2" fmla="*/ 152 w 260"/>
              <a:gd name="T3" fmla="*/ 132 h 155"/>
              <a:gd name="T4" fmla="*/ 130 w 260"/>
              <a:gd name="T5" fmla="*/ 155 h 155"/>
              <a:gd name="T6" fmla="*/ 130 w 260"/>
              <a:gd name="T7" fmla="*/ 155 h 155"/>
              <a:gd name="T8" fmla="*/ 130 w 260"/>
              <a:gd name="T9" fmla="*/ 155 h 155"/>
              <a:gd name="T10" fmla="*/ 108 w 260"/>
              <a:gd name="T11" fmla="*/ 132 h 155"/>
              <a:gd name="T12" fmla="*/ 108 w 260"/>
              <a:gd name="T13" fmla="*/ 132 h 155"/>
              <a:gd name="T14" fmla="*/ 0 w 260"/>
              <a:gd name="T15" fmla="*/ 23 h 155"/>
              <a:gd name="T16" fmla="*/ 22 w 260"/>
              <a:gd name="T17" fmla="*/ 0 h 155"/>
              <a:gd name="T18" fmla="*/ 130 w 260"/>
              <a:gd name="T19" fmla="*/ 107 h 155"/>
              <a:gd name="T20" fmla="*/ 238 w 260"/>
              <a:gd name="T21" fmla="*/ 0 h 155"/>
              <a:gd name="T22" fmla="*/ 260 w 260"/>
              <a:gd name="T23" fmla="*/ 23 h 155"/>
              <a:gd name="T24" fmla="*/ 152 w 260"/>
              <a:gd name="T25" fmla="*/ 13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55">
                <a:moveTo>
                  <a:pt x="152" y="132"/>
                </a:moveTo>
                <a:lnTo>
                  <a:pt x="152" y="132"/>
                </a:lnTo>
                <a:lnTo>
                  <a:pt x="130" y="155"/>
                </a:lnTo>
                <a:lnTo>
                  <a:pt x="130" y="155"/>
                </a:lnTo>
                <a:lnTo>
                  <a:pt x="130" y="155"/>
                </a:lnTo>
                <a:lnTo>
                  <a:pt x="108" y="132"/>
                </a:lnTo>
                <a:lnTo>
                  <a:pt x="108" y="132"/>
                </a:lnTo>
                <a:lnTo>
                  <a:pt x="0" y="23"/>
                </a:lnTo>
                <a:lnTo>
                  <a:pt x="22" y="0"/>
                </a:lnTo>
                <a:lnTo>
                  <a:pt x="130" y="107"/>
                </a:lnTo>
                <a:lnTo>
                  <a:pt x="238" y="0"/>
                </a:lnTo>
                <a:lnTo>
                  <a:pt x="260" y="23"/>
                </a:lnTo>
                <a:lnTo>
                  <a:pt x="152" y="13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2" name="Freeform 33">
            <a:extLst>
              <a:ext uri="{FF2B5EF4-FFF2-40B4-BE49-F238E27FC236}">
                <a16:creationId xmlns:a16="http://schemas.microsoft.com/office/drawing/2014/main" id="{70244795-B60F-45AA-A865-532230D10E5E}"/>
              </a:ext>
            </a:extLst>
          </p:cNvPr>
          <p:cNvSpPr>
            <a:spLocks/>
          </p:cNvSpPr>
          <p:nvPr/>
        </p:nvSpPr>
        <p:spPr bwMode="auto">
          <a:xfrm>
            <a:off x="3812082" y="3464935"/>
            <a:ext cx="236538" cy="142875"/>
          </a:xfrm>
          <a:custGeom>
            <a:avLst/>
            <a:gdLst>
              <a:gd name="T0" fmla="*/ 87 w 149"/>
              <a:gd name="T1" fmla="*/ 77 h 90"/>
              <a:gd name="T2" fmla="*/ 87 w 149"/>
              <a:gd name="T3" fmla="*/ 77 h 90"/>
              <a:gd name="T4" fmla="*/ 75 w 149"/>
              <a:gd name="T5" fmla="*/ 90 h 90"/>
              <a:gd name="T6" fmla="*/ 75 w 149"/>
              <a:gd name="T7" fmla="*/ 90 h 90"/>
              <a:gd name="T8" fmla="*/ 75 w 149"/>
              <a:gd name="T9" fmla="*/ 90 h 90"/>
              <a:gd name="T10" fmla="*/ 62 w 149"/>
              <a:gd name="T11" fmla="*/ 77 h 90"/>
              <a:gd name="T12" fmla="*/ 62 w 149"/>
              <a:gd name="T13" fmla="*/ 77 h 90"/>
              <a:gd name="T14" fmla="*/ 0 w 149"/>
              <a:gd name="T15" fmla="*/ 13 h 90"/>
              <a:gd name="T16" fmla="*/ 13 w 149"/>
              <a:gd name="T17" fmla="*/ 0 h 90"/>
              <a:gd name="T18" fmla="*/ 75 w 149"/>
              <a:gd name="T19" fmla="*/ 62 h 90"/>
              <a:gd name="T20" fmla="*/ 137 w 149"/>
              <a:gd name="T21" fmla="*/ 0 h 90"/>
              <a:gd name="T22" fmla="*/ 149 w 149"/>
              <a:gd name="T23" fmla="*/ 13 h 90"/>
              <a:gd name="T24" fmla="*/ 87 w 149"/>
              <a:gd name="T25" fmla="*/ 7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90">
                <a:moveTo>
                  <a:pt x="87" y="77"/>
                </a:moveTo>
                <a:lnTo>
                  <a:pt x="87" y="77"/>
                </a:lnTo>
                <a:lnTo>
                  <a:pt x="75" y="90"/>
                </a:lnTo>
                <a:lnTo>
                  <a:pt x="75" y="90"/>
                </a:lnTo>
                <a:lnTo>
                  <a:pt x="75" y="90"/>
                </a:lnTo>
                <a:lnTo>
                  <a:pt x="62" y="77"/>
                </a:lnTo>
                <a:lnTo>
                  <a:pt x="62" y="77"/>
                </a:lnTo>
                <a:lnTo>
                  <a:pt x="0" y="13"/>
                </a:lnTo>
                <a:lnTo>
                  <a:pt x="13" y="0"/>
                </a:lnTo>
                <a:lnTo>
                  <a:pt x="75" y="62"/>
                </a:lnTo>
                <a:lnTo>
                  <a:pt x="137" y="0"/>
                </a:lnTo>
                <a:lnTo>
                  <a:pt x="149" y="13"/>
                </a:lnTo>
                <a:lnTo>
                  <a:pt x="87" y="7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3" name="Freeform 37">
            <a:extLst>
              <a:ext uri="{FF2B5EF4-FFF2-40B4-BE49-F238E27FC236}">
                <a16:creationId xmlns:a16="http://schemas.microsoft.com/office/drawing/2014/main" id="{49DB726F-9664-445D-A242-C0E8EDC8CB2B}"/>
              </a:ext>
            </a:extLst>
          </p:cNvPr>
          <p:cNvSpPr>
            <a:spLocks/>
          </p:cNvSpPr>
          <p:nvPr/>
        </p:nvSpPr>
        <p:spPr bwMode="auto">
          <a:xfrm>
            <a:off x="671018" y="4050221"/>
            <a:ext cx="246063" cy="414338"/>
          </a:xfrm>
          <a:custGeom>
            <a:avLst/>
            <a:gdLst>
              <a:gd name="T0" fmla="*/ 23 w 155"/>
              <a:gd name="T1" fmla="*/ 153 h 261"/>
              <a:gd name="T2" fmla="*/ 23 w 155"/>
              <a:gd name="T3" fmla="*/ 153 h 261"/>
              <a:gd name="T4" fmla="*/ 0 w 155"/>
              <a:gd name="T5" fmla="*/ 130 h 261"/>
              <a:gd name="T6" fmla="*/ 0 w 155"/>
              <a:gd name="T7" fmla="*/ 130 h 261"/>
              <a:gd name="T8" fmla="*/ 0 w 155"/>
              <a:gd name="T9" fmla="*/ 130 h 261"/>
              <a:gd name="T10" fmla="*/ 23 w 155"/>
              <a:gd name="T11" fmla="*/ 108 h 261"/>
              <a:gd name="T12" fmla="*/ 23 w 155"/>
              <a:gd name="T13" fmla="*/ 108 h 261"/>
              <a:gd name="T14" fmla="*/ 132 w 155"/>
              <a:gd name="T15" fmla="*/ 0 h 261"/>
              <a:gd name="T16" fmla="*/ 155 w 155"/>
              <a:gd name="T17" fmla="*/ 22 h 261"/>
              <a:gd name="T18" fmla="*/ 48 w 155"/>
              <a:gd name="T19" fmla="*/ 130 h 261"/>
              <a:gd name="T20" fmla="*/ 155 w 155"/>
              <a:gd name="T21" fmla="*/ 238 h 261"/>
              <a:gd name="T22" fmla="*/ 132 w 155"/>
              <a:gd name="T23" fmla="*/ 261 h 261"/>
              <a:gd name="T24" fmla="*/ 23 w 155"/>
              <a:gd name="T25" fmla="*/ 15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 h="261">
                <a:moveTo>
                  <a:pt x="23" y="153"/>
                </a:moveTo>
                <a:lnTo>
                  <a:pt x="23" y="153"/>
                </a:lnTo>
                <a:lnTo>
                  <a:pt x="0" y="130"/>
                </a:lnTo>
                <a:lnTo>
                  <a:pt x="0" y="130"/>
                </a:lnTo>
                <a:lnTo>
                  <a:pt x="0" y="130"/>
                </a:lnTo>
                <a:lnTo>
                  <a:pt x="23" y="108"/>
                </a:lnTo>
                <a:lnTo>
                  <a:pt x="23" y="108"/>
                </a:lnTo>
                <a:lnTo>
                  <a:pt x="132" y="0"/>
                </a:lnTo>
                <a:lnTo>
                  <a:pt x="155" y="22"/>
                </a:lnTo>
                <a:lnTo>
                  <a:pt x="48" y="130"/>
                </a:lnTo>
                <a:lnTo>
                  <a:pt x="155" y="238"/>
                </a:lnTo>
                <a:lnTo>
                  <a:pt x="132" y="261"/>
                </a:lnTo>
                <a:lnTo>
                  <a:pt x="23" y="15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4" name="Freeform 41">
            <a:extLst>
              <a:ext uri="{FF2B5EF4-FFF2-40B4-BE49-F238E27FC236}">
                <a16:creationId xmlns:a16="http://schemas.microsoft.com/office/drawing/2014/main" id="{B090A706-7054-4A58-A371-2D2F1AD0A8B9}"/>
              </a:ext>
            </a:extLst>
          </p:cNvPr>
          <p:cNvSpPr>
            <a:spLocks/>
          </p:cNvSpPr>
          <p:nvPr/>
        </p:nvSpPr>
        <p:spPr bwMode="auto">
          <a:xfrm>
            <a:off x="1768047" y="4228022"/>
            <a:ext cx="142875" cy="236537"/>
          </a:xfrm>
          <a:custGeom>
            <a:avLst/>
            <a:gdLst>
              <a:gd name="T0" fmla="*/ 13 w 90"/>
              <a:gd name="T1" fmla="*/ 87 h 149"/>
              <a:gd name="T2" fmla="*/ 13 w 90"/>
              <a:gd name="T3" fmla="*/ 87 h 149"/>
              <a:gd name="T4" fmla="*/ 0 w 90"/>
              <a:gd name="T5" fmla="*/ 75 h 149"/>
              <a:gd name="T6" fmla="*/ 0 w 90"/>
              <a:gd name="T7" fmla="*/ 75 h 149"/>
              <a:gd name="T8" fmla="*/ 0 w 90"/>
              <a:gd name="T9" fmla="*/ 75 h 149"/>
              <a:gd name="T10" fmla="*/ 13 w 90"/>
              <a:gd name="T11" fmla="*/ 62 h 149"/>
              <a:gd name="T12" fmla="*/ 13 w 90"/>
              <a:gd name="T13" fmla="*/ 62 h 149"/>
              <a:gd name="T14" fmla="*/ 77 w 90"/>
              <a:gd name="T15" fmla="*/ 0 h 149"/>
              <a:gd name="T16" fmla="*/ 90 w 90"/>
              <a:gd name="T17" fmla="*/ 13 h 149"/>
              <a:gd name="T18" fmla="*/ 28 w 90"/>
              <a:gd name="T19" fmla="*/ 75 h 149"/>
              <a:gd name="T20" fmla="*/ 90 w 90"/>
              <a:gd name="T21" fmla="*/ 137 h 149"/>
              <a:gd name="T22" fmla="*/ 77 w 90"/>
              <a:gd name="T23" fmla="*/ 149 h 149"/>
              <a:gd name="T24" fmla="*/ 13 w 90"/>
              <a:gd name="T25" fmla="*/ 8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0" h="149">
                <a:moveTo>
                  <a:pt x="13" y="87"/>
                </a:moveTo>
                <a:lnTo>
                  <a:pt x="13" y="87"/>
                </a:lnTo>
                <a:lnTo>
                  <a:pt x="0" y="75"/>
                </a:lnTo>
                <a:lnTo>
                  <a:pt x="0" y="75"/>
                </a:lnTo>
                <a:lnTo>
                  <a:pt x="0" y="75"/>
                </a:lnTo>
                <a:lnTo>
                  <a:pt x="13" y="62"/>
                </a:lnTo>
                <a:lnTo>
                  <a:pt x="13" y="62"/>
                </a:lnTo>
                <a:lnTo>
                  <a:pt x="77" y="0"/>
                </a:lnTo>
                <a:lnTo>
                  <a:pt x="90" y="13"/>
                </a:lnTo>
                <a:lnTo>
                  <a:pt x="28" y="75"/>
                </a:lnTo>
                <a:lnTo>
                  <a:pt x="90" y="137"/>
                </a:lnTo>
                <a:lnTo>
                  <a:pt x="77" y="149"/>
                </a:lnTo>
                <a:lnTo>
                  <a:pt x="13" y="8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5" name="Freeform 45">
            <a:extLst>
              <a:ext uri="{FF2B5EF4-FFF2-40B4-BE49-F238E27FC236}">
                <a16:creationId xmlns:a16="http://schemas.microsoft.com/office/drawing/2014/main" id="{FF47D392-DDBE-4518-A225-58D307222D85}"/>
              </a:ext>
            </a:extLst>
          </p:cNvPr>
          <p:cNvSpPr>
            <a:spLocks/>
          </p:cNvSpPr>
          <p:nvPr/>
        </p:nvSpPr>
        <p:spPr bwMode="auto">
          <a:xfrm>
            <a:off x="2761887" y="4051809"/>
            <a:ext cx="246062" cy="412750"/>
          </a:xfrm>
          <a:custGeom>
            <a:avLst/>
            <a:gdLst>
              <a:gd name="T0" fmla="*/ 132 w 155"/>
              <a:gd name="T1" fmla="*/ 108 h 260"/>
              <a:gd name="T2" fmla="*/ 132 w 155"/>
              <a:gd name="T3" fmla="*/ 108 h 260"/>
              <a:gd name="T4" fmla="*/ 155 w 155"/>
              <a:gd name="T5" fmla="*/ 130 h 260"/>
              <a:gd name="T6" fmla="*/ 155 w 155"/>
              <a:gd name="T7" fmla="*/ 130 h 260"/>
              <a:gd name="T8" fmla="*/ 155 w 155"/>
              <a:gd name="T9" fmla="*/ 130 h 260"/>
              <a:gd name="T10" fmla="*/ 132 w 155"/>
              <a:gd name="T11" fmla="*/ 152 h 260"/>
              <a:gd name="T12" fmla="*/ 132 w 155"/>
              <a:gd name="T13" fmla="*/ 152 h 260"/>
              <a:gd name="T14" fmla="*/ 23 w 155"/>
              <a:gd name="T15" fmla="*/ 260 h 260"/>
              <a:gd name="T16" fmla="*/ 0 w 155"/>
              <a:gd name="T17" fmla="*/ 238 h 260"/>
              <a:gd name="T18" fmla="*/ 107 w 155"/>
              <a:gd name="T19" fmla="*/ 130 h 260"/>
              <a:gd name="T20" fmla="*/ 0 w 155"/>
              <a:gd name="T21" fmla="*/ 22 h 260"/>
              <a:gd name="T22" fmla="*/ 23 w 155"/>
              <a:gd name="T23" fmla="*/ 0 h 260"/>
              <a:gd name="T24" fmla="*/ 132 w 155"/>
              <a:gd name="T25" fmla="*/ 10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5" h="260">
                <a:moveTo>
                  <a:pt x="132" y="108"/>
                </a:moveTo>
                <a:lnTo>
                  <a:pt x="132" y="108"/>
                </a:lnTo>
                <a:lnTo>
                  <a:pt x="155" y="130"/>
                </a:lnTo>
                <a:lnTo>
                  <a:pt x="155" y="130"/>
                </a:lnTo>
                <a:lnTo>
                  <a:pt x="155" y="130"/>
                </a:lnTo>
                <a:lnTo>
                  <a:pt x="132" y="152"/>
                </a:lnTo>
                <a:lnTo>
                  <a:pt x="132" y="152"/>
                </a:lnTo>
                <a:lnTo>
                  <a:pt x="23" y="260"/>
                </a:lnTo>
                <a:lnTo>
                  <a:pt x="0" y="238"/>
                </a:lnTo>
                <a:lnTo>
                  <a:pt x="107" y="130"/>
                </a:lnTo>
                <a:lnTo>
                  <a:pt x="0" y="22"/>
                </a:lnTo>
                <a:lnTo>
                  <a:pt x="23" y="0"/>
                </a:lnTo>
                <a:lnTo>
                  <a:pt x="132" y="10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6" name="Freeform 49">
            <a:extLst>
              <a:ext uri="{FF2B5EF4-FFF2-40B4-BE49-F238E27FC236}">
                <a16:creationId xmlns:a16="http://schemas.microsoft.com/office/drawing/2014/main" id="{B29C7DCD-685C-4F38-8050-96851903A18F}"/>
              </a:ext>
            </a:extLst>
          </p:cNvPr>
          <p:cNvSpPr>
            <a:spLocks/>
          </p:cNvSpPr>
          <p:nvPr/>
        </p:nvSpPr>
        <p:spPr bwMode="auto">
          <a:xfrm>
            <a:off x="3859708" y="4228022"/>
            <a:ext cx="141287" cy="236537"/>
          </a:xfrm>
          <a:custGeom>
            <a:avLst/>
            <a:gdLst>
              <a:gd name="T0" fmla="*/ 76 w 89"/>
              <a:gd name="T1" fmla="*/ 62 h 149"/>
              <a:gd name="T2" fmla="*/ 76 w 89"/>
              <a:gd name="T3" fmla="*/ 62 h 149"/>
              <a:gd name="T4" fmla="*/ 89 w 89"/>
              <a:gd name="T5" fmla="*/ 75 h 149"/>
              <a:gd name="T6" fmla="*/ 89 w 89"/>
              <a:gd name="T7" fmla="*/ 75 h 149"/>
              <a:gd name="T8" fmla="*/ 89 w 89"/>
              <a:gd name="T9" fmla="*/ 75 h 149"/>
              <a:gd name="T10" fmla="*/ 76 w 89"/>
              <a:gd name="T11" fmla="*/ 87 h 149"/>
              <a:gd name="T12" fmla="*/ 76 w 89"/>
              <a:gd name="T13" fmla="*/ 87 h 149"/>
              <a:gd name="T14" fmla="*/ 13 w 89"/>
              <a:gd name="T15" fmla="*/ 149 h 149"/>
              <a:gd name="T16" fmla="*/ 0 w 89"/>
              <a:gd name="T17" fmla="*/ 137 h 149"/>
              <a:gd name="T18" fmla="*/ 62 w 89"/>
              <a:gd name="T19" fmla="*/ 75 h 149"/>
              <a:gd name="T20" fmla="*/ 0 w 89"/>
              <a:gd name="T21" fmla="*/ 13 h 149"/>
              <a:gd name="T22" fmla="*/ 13 w 89"/>
              <a:gd name="T23" fmla="*/ 0 h 149"/>
              <a:gd name="T24" fmla="*/ 76 w 89"/>
              <a:gd name="T25" fmla="*/ 62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9" h="149">
                <a:moveTo>
                  <a:pt x="76" y="62"/>
                </a:moveTo>
                <a:lnTo>
                  <a:pt x="76" y="62"/>
                </a:lnTo>
                <a:lnTo>
                  <a:pt x="89" y="75"/>
                </a:lnTo>
                <a:lnTo>
                  <a:pt x="89" y="75"/>
                </a:lnTo>
                <a:lnTo>
                  <a:pt x="89" y="75"/>
                </a:lnTo>
                <a:lnTo>
                  <a:pt x="76" y="87"/>
                </a:lnTo>
                <a:lnTo>
                  <a:pt x="76" y="87"/>
                </a:lnTo>
                <a:lnTo>
                  <a:pt x="13" y="149"/>
                </a:lnTo>
                <a:lnTo>
                  <a:pt x="0" y="137"/>
                </a:lnTo>
                <a:lnTo>
                  <a:pt x="62" y="75"/>
                </a:lnTo>
                <a:lnTo>
                  <a:pt x="0" y="13"/>
                </a:lnTo>
                <a:lnTo>
                  <a:pt x="13" y="0"/>
                </a:lnTo>
                <a:lnTo>
                  <a:pt x="76" y="6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7" name="Freeform 53">
            <a:extLst>
              <a:ext uri="{FF2B5EF4-FFF2-40B4-BE49-F238E27FC236}">
                <a16:creationId xmlns:a16="http://schemas.microsoft.com/office/drawing/2014/main" id="{7EB55906-3152-4EED-8B34-816A616BCC0E}"/>
              </a:ext>
            </a:extLst>
          </p:cNvPr>
          <p:cNvSpPr>
            <a:spLocks/>
          </p:cNvSpPr>
          <p:nvPr/>
        </p:nvSpPr>
        <p:spPr bwMode="auto">
          <a:xfrm>
            <a:off x="5006480" y="1741195"/>
            <a:ext cx="412750" cy="246062"/>
          </a:xfrm>
          <a:custGeom>
            <a:avLst/>
            <a:gdLst>
              <a:gd name="T0" fmla="*/ 108 w 260"/>
              <a:gd name="T1" fmla="*/ 23 h 155"/>
              <a:gd name="T2" fmla="*/ 108 w 260"/>
              <a:gd name="T3" fmla="*/ 23 h 155"/>
              <a:gd name="T4" fmla="*/ 130 w 260"/>
              <a:gd name="T5" fmla="*/ 0 h 155"/>
              <a:gd name="T6" fmla="*/ 130 w 260"/>
              <a:gd name="T7" fmla="*/ 0 h 155"/>
              <a:gd name="T8" fmla="*/ 130 w 260"/>
              <a:gd name="T9" fmla="*/ 0 h 155"/>
              <a:gd name="T10" fmla="*/ 152 w 260"/>
              <a:gd name="T11" fmla="*/ 23 h 155"/>
              <a:gd name="T12" fmla="*/ 152 w 260"/>
              <a:gd name="T13" fmla="*/ 23 h 155"/>
              <a:gd name="T14" fmla="*/ 260 w 260"/>
              <a:gd name="T15" fmla="*/ 132 h 155"/>
              <a:gd name="T16" fmla="*/ 238 w 260"/>
              <a:gd name="T17" fmla="*/ 155 h 155"/>
              <a:gd name="T18" fmla="*/ 130 w 260"/>
              <a:gd name="T19" fmla="*/ 48 h 155"/>
              <a:gd name="T20" fmla="*/ 22 w 260"/>
              <a:gd name="T21" fmla="*/ 155 h 155"/>
              <a:gd name="T22" fmla="*/ 0 w 260"/>
              <a:gd name="T23" fmla="*/ 132 h 155"/>
              <a:gd name="T24" fmla="*/ 108 w 260"/>
              <a:gd name="T25" fmla="*/ 23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155">
                <a:moveTo>
                  <a:pt x="108" y="23"/>
                </a:moveTo>
                <a:lnTo>
                  <a:pt x="108" y="23"/>
                </a:lnTo>
                <a:lnTo>
                  <a:pt x="130" y="0"/>
                </a:lnTo>
                <a:lnTo>
                  <a:pt x="130" y="0"/>
                </a:lnTo>
                <a:lnTo>
                  <a:pt x="130" y="0"/>
                </a:lnTo>
                <a:lnTo>
                  <a:pt x="152" y="23"/>
                </a:lnTo>
                <a:lnTo>
                  <a:pt x="152" y="23"/>
                </a:lnTo>
                <a:lnTo>
                  <a:pt x="260" y="132"/>
                </a:lnTo>
                <a:lnTo>
                  <a:pt x="238" y="155"/>
                </a:lnTo>
                <a:lnTo>
                  <a:pt x="130" y="48"/>
                </a:lnTo>
                <a:lnTo>
                  <a:pt x="22" y="155"/>
                </a:lnTo>
                <a:lnTo>
                  <a:pt x="0" y="132"/>
                </a:lnTo>
                <a:lnTo>
                  <a:pt x="108" y="2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9" name="Freeform 61">
            <a:extLst>
              <a:ext uri="{FF2B5EF4-FFF2-40B4-BE49-F238E27FC236}">
                <a16:creationId xmlns:a16="http://schemas.microsoft.com/office/drawing/2014/main" id="{A91589DE-65FC-49A2-82B7-0E7F857D6618}"/>
              </a:ext>
            </a:extLst>
          </p:cNvPr>
          <p:cNvSpPr>
            <a:spLocks noEditPoints="1"/>
          </p:cNvSpPr>
          <p:nvPr/>
        </p:nvSpPr>
        <p:spPr bwMode="auto">
          <a:xfrm>
            <a:off x="7261656" y="1574507"/>
            <a:ext cx="84137" cy="412750"/>
          </a:xfrm>
          <a:custGeom>
            <a:avLst/>
            <a:gdLst>
              <a:gd name="T0" fmla="*/ 0 w 53"/>
              <a:gd name="T1" fmla="*/ 0 h 260"/>
              <a:gd name="T2" fmla="*/ 53 w 53"/>
              <a:gd name="T3" fmla="*/ 0 h 260"/>
              <a:gd name="T4" fmla="*/ 44 w 53"/>
              <a:gd name="T5" fmla="*/ 179 h 260"/>
              <a:gd name="T6" fmla="*/ 9 w 53"/>
              <a:gd name="T7" fmla="*/ 179 h 260"/>
              <a:gd name="T8" fmla="*/ 0 w 53"/>
              <a:gd name="T9" fmla="*/ 0 h 260"/>
              <a:gd name="T10" fmla="*/ 0 w 53"/>
              <a:gd name="T11" fmla="*/ 211 h 260"/>
              <a:gd name="T12" fmla="*/ 53 w 53"/>
              <a:gd name="T13" fmla="*/ 211 h 260"/>
              <a:gd name="T14" fmla="*/ 53 w 53"/>
              <a:gd name="T15" fmla="*/ 260 h 260"/>
              <a:gd name="T16" fmla="*/ 0 w 53"/>
              <a:gd name="T17" fmla="*/ 260 h 260"/>
              <a:gd name="T18" fmla="*/ 0 w 53"/>
              <a:gd name="T19" fmla="*/ 21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260">
                <a:moveTo>
                  <a:pt x="0" y="0"/>
                </a:moveTo>
                <a:lnTo>
                  <a:pt x="53" y="0"/>
                </a:lnTo>
                <a:lnTo>
                  <a:pt x="44" y="179"/>
                </a:lnTo>
                <a:lnTo>
                  <a:pt x="9" y="179"/>
                </a:lnTo>
                <a:lnTo>
                  <a:pt x="0" y="0"/>
                </a:lnTo>
                <a:close/>
                <a:moveTo>
                  <a:pt x="0" y="211"/>
                </a:moveTo>
                <a:lnTo>
                  <a:pt x="53" y="211"/>
                </a:lnTo>
                <a:lnTo>
                  <a:pt x="53" y="260"/>
                </a:lnTo>
                <a:lnTo>
                  <a:pt x="0" y="260"/>
                </a:lnTo>
                <a:lnTo>
                  <a:pt x="0" y="21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0" name="Freeform: Shape 159">
            <a:extLst>
              <a:ext uri="{FF2B5EF4-FFF2-40B4-BE49-F238E27FC236}">
                <a16:creationId xmlns:a16="http://schemas.microsoft.com/office/drawing/2014/main" id="{7DECC437-07B2-4521-BA2E-318E4AD9D4C8}"/>
              </a:ext>
            </a:extLst>
          </p:cNvPr>
          <p:cNvSpPr/>
          <p:nvPr/>
        </p:nvSpPr>
        <p:spPr>
          <a:xfrm>
            <a:off x="2705134" y="2639150"/>
            <a:ext cx="359567" cy="179784"/>
          </a:xfrm>
          <a:custGeom>
            <a:avLst/>
            <a:gdLst>
              <a:gd name="connsiteX0" fmla="*/ 202883 w 304800"/>
              <a:gd name="connsiteY0" fmla="*/ 152400 h 152400"/>
              <a:gd name="connsiteX1" fmla="*/ 146685 w 304800"/>
              <a:gd name="connsiteY1" fmla="*/ 131445 h 152400"/>
              <a:gd name="connsiteX2" fmla="*/ 101918 w 304800"/>
              <a:gd name="connsiteY2" fmla="*/ 114300 h 152400"/>
              <a:gd name="connsiteX3" fmla="*/ 57150 w 304800"/>
              <a:gd name="connsiteY3" fmla="*/ 131445 h 152400"/>
              <a:gd name="connsiteX4" fmla="*/ 0 w 304800"/>
              <a:gd name="connsiteY4" fmla="*/ 152400 h 152400"/>
              <a:gd name="connsiteX5" fmla="*/ 0 w 304800"/>
              <a:gd name="connsiteY5" fmla="*/ 133350 h 152400"/>
              <a:gd name="connsiteX6" fmla="*/ 44768 w 304800"/>
              <a:gd name="connsiteY6" fmla="*/ 116205 h 152400"/>
              <a:gd name="connsiteX7" fmla="*/ 100965 w 304800"/>
              <a:gd name="connsiteY7" fmla="*/ 95250 h 152400"/>
              <a:gd name="connsiteX8" fmla="*/ 157163 w 304800"/>
              <a:gd name="connsiteY8" fmla="*/ 116205 h 152400"/>
              <a:gd name="connsiteX9" fmla="*/ 201930 w 304800"/>
              <a:gd name="connsiteY9" fmla="*/ 133350 h 152400"/>
              <a:gd name="connsiteX10" fmla="*/ 246698 w 304800"/>
              <a:gd name="connsiteY10" fmla="*/ 116205 h 152400"/>
              <a:gd name="connsiteX11" fmla="*/ 302895 w 304800"/>
              <a:gd name="connsiteY11" fmla="*/ 95250 h 152400"/>
              <a:gd name="connsiteX12" fmla="*/ 302895 w 304800"/>
              <a:gd name="connsiteY12" fmla="*/ 114300 h 152400"/>
              <a:gd name="connsiteX13" fmla="*/ 258128 w 304800"/>
              <a:gd name="connsiteY13" fmla="*/ 131445 h 152400"/>
              <a:gd name="connsiteX14" fmla="*/ 202883 w 304800"/>
              <a:gd name="connsiteY14" fmla="*/ 152400 h 152400"/>
              <a:gd name="connsiteX15" fmla="*/ 260033 w 304800"/>
              <a:gd name="connsiteY15" fmla="*/ 83820 h 152400"/>
              <a:gd name="connsiteX16" fmla="*/ 304800 w 304800"/>
              <a:gd name="connsiteY16" fmla="*/ 66675 h 152400"/>
              <a:gd name="connsiteX17" fmla="*/ 304800 w 304800"/>
              <a:gd name="connsiteY17" fmla="*/ 47625 h 152400"/>
              <a:gd name="connsiteX18" fmla="*/ 248603 w 304800"/>
              <a:gd name="connsiteY18" fmla="*/ 68580 h 152400"/>
              <a:gd name="connsiteX19" fmla="*/ 203835 w 304800"/>
              <a:gd name="connsiteY19" fmla="*/ 85725 h 152400"/>
              <a:gd name="connsiteX20" fmla="*/ 159068 w 304800"/>
              <a:gd name="connsiteY20" fmla="*/ 68580 h 152400"/>
              <a:gd name="connsiteX21" fmla="*/ 102870 w 304800"/>
              <a:gd name="connsiteY21" fmla="*/ 47625 h 152400"/>
              <a:gd name="connsiteX22" fmla="*/ 46673 w 304800"/>
              <a:gd name="connsiteY22" fmla="*/ 68580 h 152400"/>
              <a:gd name="connsiteX23" fmla="*/ 0 w 304800"/>
              <a:gd name="connsiteY23" fmla="*/ 85725 h 152400"/>
              <a:gd name="connsiteX24" fmla="*/ 0 w 304800"/>
              <a:gd name="connsiteY24" fmla="*/ 104775 h 152400"/>
              <a:gd name="connsiteX25" fmla="*/ 56198 w 304800"/>
              <a:gd name="connsiteY25" fmla="*/ 83820 h 152400"/>
              <a:gd name="connsiteX26" fmla="*/ 101918 w 304800"/>
              <a:gd name="connsiteY26" fmla="*/ 66675 h 152400"/>
              <a:gd name="connsiteX27" fmla="*/ 146685 w 304800"/>
              <a:gd name="connsiteY27" fmla="*/ 83820 h 152400"/>
              <a:gd name="connsiteX28" fmla="*/ 202883 w 304800"/>
              <a:gd name="connsiteY28" fmla="*/ 104775 h 152400"/>
              <a:gd name="connsiteX29" fmla="*/ 260033 w 304800"/>
              <a:gd name="connsiteY29" fmla="*/ 83820 h 152400"/>
              <a:gd name="connsiteX30" fmla="*/ 260033 w 304800"/>
              <a:gd name="connsiteY30" fmla="*/ 36195 h 152400"/>
              <a:gd name="connsiteX31" fmla="*/ 304800 w 304800"/>
              <a:gd name="connsiteY31" fmla="*/ 19050 h 152400"/>
              <a:gd name="connsiteX32" fmla="*/ 304800 w 304800"/>
              <a:gd name="connsiteY32" fmla="*/ 0 h 152400"/>
              <a:gd name="connsiteX33" fmla="*/ 248603 w 304800"/>
              <a:gd name="connsiteY33" fmla="*/ 20955 h 152400"/>
              <a:gd name="connsiteX34" fmla="*/ 203835 w 304800"/>
              <a:gd name="connsiteY34" fmla="*/ 38100 h 152400"/>
              <a:gd name="connsiteX35" fmla="*/ 159068 w 304800"/>
              <a:gd name="connsiteY35" fmla="*/ 20955 h 152400"/>
              <a:gd name="connsiteX36" fmla="*/ 102870 w 304800"/>
              <a:gd name="connsiteY36" fmla="*/ 0 h 152400"/>
              <a:gd name="connsiteX37" fmla="*/ 46673 w 304800"/>
              <a:gd name="connsiteY37" fmla="*/ 20955 h 152400"/>
              <a:gd name="connsiteX38" fmla="*/ 0 w 304800"/>
              <a:gd name="connsiteY38" fmla="*/ 38100 h 152400"/>
              <a:gd name="connsiteX39" fmla="*/ 0 w 304800"/>
              <a:gd name="connsiteY39" fmla="*/ 57150 h 152400"/>
              <a:gd name="connsiteX40" fmla="*/ 56198 w 304800"/>
              <a:gd name="connsiteY40" fmla="*/ 36195 h 152400"/>
              <a:gd name="connsiteX41" fmla="*/ 101918 w 304800"/>
              <a:gd name="connsiteY41" fmla="*/ 19050 h 152400"/>
              <a:gd name="connsiteX42" fmla="*/ 146685 w 304800"/>
              <a:gd name="connsiteY42" fmla="*/ 36195 h 152400"/>
              <a:gd name="connsiteX43" fmla="*/ 202883 w 304800"/>
              <a:gd name="connsiteY43" fmla="*/ 57150 h 152400"/>
              <a:gd name="connsiteX44" fmla="*/ 260033 w 304800"/>
              <a:gd name="connsiteY44" fmla="*/ 36195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04800" h="152400">
                <a:moveTo>
                  <a:pt x="202883" y="152400"/>
                </a:moveTo>
                <a:cubicBezTo>
                  <a:pt x="174308" y="152400"/>
                  <a:pt x="159068" y="140970"/>
                  <a:pt x="146685" y="131445"/>
                </a:cubicBezTo>
                <a:cubicBezTo>
                  <a:pt x="134303" y="121920"/>
                  <a:pt x="123825" y="114300"/>
                  <a:pt x="101918" y="114300"/>
                </a:cubicBezTo>
                <a:cubicBezTo>
                  <a:pt x="80010" y="114300"/>
                  <a:pt x="69533" y="121920"/>
                  <a:pt x="57150" y="131445"/>
                </a:cubicBezTo>
                <a:cubicBezTo>
                  <a:pt x="43815" y="140970"/>
                  <a:pt x="28575" y="152400"/>
                  <a:pt x="0" y="152400"/>
                </a:cubicBezTo>
                <a:lnTo>
                  <a:pt x="0" y="133350"/>
                </a:lnTo>
                <a:cubicBezTo>
                  <a:pt x="21908" y="133350"/>
                  <a:pt x="32385" y="125730"/>
                  <a:pt x="44768" y="116205"/>
                </a:cubicBezTo>
                <a:cubicBezTo>
                  <a:pt x="58103" y="106680"/>
                  <a:pt x="72390" y="95250"/>
                  <a:pt x="100965" y="95250"/>
                </a:cubicBezTo>
                <a:cubicBezTo>
                  <a:pt x="129540" y="95250"/>
                  <a:pt x="144780" y="106680"/>
                  <a:pt x="157163" y="116205"/>
                </a:cubicBezTo>
                <a:cubicBezTo>
                  <a:pt x="169545" y="125730"/>
                  <a:pt x="180023" y="133350"/>
                  <a:pt x="201930" y="133350"/>
                </a:cubicBezTo>
                <a:cubicBezTo>
                  <a:pt x="223838" y="133350"/>
                  <a:pt x="234315" y="125730"/>
                  <a:pt x="246698" y="116205"/>
                </a:cubicBezTo>
                <a:cubicBezTo>
                  <a:pt x="260033" y="106680"/>
                  <a:pt x="274320" y="95250"/>
                  <a:pt x="302895" y="95250"/>
                </a:cubicBezTo>
                <a:lnTo>
                  <a:pt x="302895" y="114300"/>
                </a:lnTo>
                <a:cubicBezTo>
                  <a:pt x="280988" y="114300"/>
                  <a:pt x="270510" y="121920"/>
                  <a:pt x="258128" y="131445"/>
                </a:cubicBezTo>
                <a:cubicBezTo>
                  <a:pt x="246698" y="140970"/>
                  <a:pt x="231458" y="152400"/>
                  <a:pt x="202883" y="152400"/>
                </a:cubicBezTo>
                <a:close/>
                <a:moveTo>
                  <a:pt x="260033" y="83820"/>
                </a:moveTo>
                <a:cubicBezTo>
                  <a:pt x="272415" y="74295"/>
                  <a:pt x="282893" y="66675"/>
                  <a:pt x="304800" y="66675"/>
                </a:cubicBezTo>
                <a:lnTo>
                  <a:pt x="304800" y="47625"/>
                </a:lnTo>
                <a:cubicBezTo>
                  <a:pt x="276225" y="47625"/>
                  <a:pt x="260985" y="59055"/>
                  <a:pt x="248603" y="68580"/>
                </a:cubicBezTo>
                <a:cubicBezTo>
                  <a:pt x="236220" y="78105"/>
                  <a:pt x="225743" y="85725"/>
                  <a:pt x="203835" y="85725"/>
                </a:cubicBezTo>
                <a:cubicBezTo>
                  <a:pt x="181928" y="85725"/>
                  <a:pt x="171450" y="78105"/>
                  <a:pt x="159068" y="68580"/>
                </a:cubicBezTo>
                <a:cubicBezTo>
                  <a:pt x="145733" y="59055"/>
                  <a:pt x="131445" y="47625"/>
                  <a:pt x="102870" y="47625"/>
                </a:cubicBezTo>
                <a:cubicBezTo>
                  <a:pt x="74295" y="47625"/>
                  <a:pt x="59055" y="59055"/>
                  <a:pt x="46673" y="68580"/>
                </a:cubicBezTo>
                <a:cubicBezTo>
                  <a:pt x="32385" y="78105"/>
                  <a:pt x="21908" y="85725"/>
                  <a:pt x="0" y="85725"/>
                </a:cubicBezTo>
                <a:lnTo>
                  <a:pt x="0" y="104775"/>
                </a:lnTo>
                <a:cubicBezTo>
                  <a:pt x="28575" y="104775"/>
                  <a:pt x="43815" y="93345"/>
                  <a:pt x="56198" y="83820"/>
                </a:cubicBezTo>
                <a:cubicBezTo>
                  <a:pt x="68580" y="74295"/>
                  <a:pt x="79058" y="66675"/>
                  <a:pt x="101918" y="66675"/>
                </a:cubicBezTo>
                <a:cubicBezTo>
                  <a:pt x="124778" y="66675"/>
                  <a:pt x="134303" y="74295"/>
                  <a:pt x="146685" y="83820"/>
                </a:cubicBezTo>
                <a:cubicBezTo>
                  <a:pt x="160020" y="93345"/>
                  <a:pt x="174308" y="104775"/>
                  <a:pt x="202883" y="104775"/>
                </a:cubicBezTo>
                <a:cubicBezTo>
                  <a:pt x="231458" y="104775"/>
                  <a:pt x="246698" y="93345"/>
                  <a:pt x="260033" y="83820"/>
                </a:cubicBezTo>
                <a:close/>
                <a:moveTo>
                  <a:pt x="260033" y="36195"/>
                </a:moveTo>
                <a:cubicBezTo>
                  <a:pt x="272415" y="26670"/>
                  <a:pt x="282893" y="19050"/>
                  <a:pt x="304800" y="19050"/>
                </a:cubicBezTo>
                <a:lnTo>
                  <a:pt x="304800" y="0"/>
                </a:lnTo>
                <a:cubicBezTo>
                  <a:pt x="276225" y="0"/>
                  <a:pt x="260985" y="11430"/>
                  <a:pt x="248603" y="20955"/>
                </a:cubicBezTo>
                <a:cubicBezTo>
                  <a:pt x="236220" y="30480"/>
                  <a:pt x="225743" y="38100"/>
                  <a:pt x="203835" y="38100"/>
                </a:cubicBezTo>
                <a:cubicBezTo>
                  <a:pt x="181928" y="38100"/>
                  <a:pt x="171450" y="30480"/>
                  <a:pt x="159068" y="20955"/>
                </a:cubicBezTo>
                <a:cubicBezTo>
                  <a:pt x="145733" y="11430"/>
                  <a:pt x="131445" y="0"/>
                  <a:pt x="102870" y="0"/>
                </a:cubicBezTo>
                <a:cubicBezTo>
                  <a:pt x="74295" y="0"/>
                  <a:pt x="59055" y="11430"/>
                  <a:pt x="46673" y="20955"/>
                </a:cubicBezTo>
                <a:cubicBezTo>
                  <a:pt x="32385" y="30480"/>
                  <a:pt x="21908" y="38100"/>
                  <a:pt x="0" y="38100"/>
                </a:cubicBezTo>
                <a:lnTo>
                  <a:pt x="0" y="57150"/>
                </a:lnTo>
                <a:cubicBezTo>
                  <a:pt x="28575" y="57150"/>
                  <a:pt x="43815" y="45720"/>
                  <a:pt x="56198" y="36195"/>
                </a:cubicBezTo>
                <a:cubicBezTo>
                  <a:pt x="68580" y="26670"/>
                  <a:pt x="79058" y="19050"/>
                  <a:pt x="101918" y="19050"/>
                </a:cubicBezTo>
                <a:cubicBezTo>
                  <a:pt x="124778" y="19050"/>
                  <a:pt x="134303" y="26670"/>
                  <a:pt x="146685" y="36195"/>
                </a:cubicBezTo>
                <a:cubicBezTo>
                  <a:pt x="160020" y="45720"/>
                  <a:pt x="174308" y="57150"/>
                  <a:pt x="202883" y="57150"/>
                </a:cubicBezTo>
                <a:cubicBezTo>
                  <a:pt x="231458" y="57150"/>
                  <a:pt x="246698" y="45720"/>
                  <a:pt x="260033" y="36195"/>
                </a:cubicBezTo>
                <a:close/>
              </a:path>
            </a:pathLst>
          </a:custGeom>
          <a:solidFill>
            <a:schemeClr val="tx2"/>
          </a:solid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6FB43424-325F-4CFD-A1DD-DAF25A7EAA1F}"/>
              </a:ext>
            </a:extLst>
          </p:cNvPr>
          <p:cNvSpPr/>
          <p:nvPr/>
        </p:nvSpPr>
        <p:spPr>
          <a:xfrm>
            <a:off x="590951" y="1821023"/>
            <a:ext cx="406198" cy="177711"/>
          </a:xfrm>
          <a:custGeom>
            <a:avLst/>
            <a:gdLst>
              <a:gd name="connsiteX0" fmla="*/ 62389 w 406198"/>
              <a:gd name="connsiteY0" fmla="*/ 0 h 177711"/>
              <a:gd name="connsiteX1" fmla="*/ 98338 w 406198"/>
              <a:gd name="connsiteY1" fmla="*/ 0 h 177711"/>
              <a:gd name="connsiteX2" fmla="*/ 161654 w 406198"/>
              <a:gd name="connsiteY2" fmla="*/ 177712 h 177711"/>
              <a:gd name="connsiteX3" fmla="*/ 128257 w 406198"/>
              <a:gd name="connsiteY3" fmla="*/ 177712 h 177711"/>
              <a:gd name="connsiteX4" fmla="*/ 112720 w 406198"/>
              <a:gd name="connsiteY4" fmla="*/ 132179 h 177711"/>
              <a:gd name="connsiteX5" fmla="*/ 45697 w 406198"/>
              <a:gd name="connsiteY5" fmla="*/ 132179 h 177711"/>
              <a:gd name="connsiteX6" fmla="*/ 30617 w 406198"/>
              <a:gd name="connsiteY6" fmla="*/ 177712 h 177711"/>
              <a:gd name="connsiteX7" fmla="*/ 0 w 406198"/>
              <a:gd name="connsiteY7" fmla="*/ 177712 h 177711"/>
              <a:gd name="connsiteX8" fmla="*/ 62389 w 406198"/>
              <a:gd name="connsiteY8" fmla="*/ 0 h 177711"/>
              <a:gd name="connsiteX9" fmla="*/ 53580 w 406198"/>
              <a:gd name="connsiteY9" fmla="*/ 108950 h 177711"/>
              <a:gd name="connsiteX10" fmla="*/ 105066 w 406198"/>
              <a:gd name="connsiteY10" fmla="*/ 108950 h 177711"/>
              <a:gd name="connsiteX11" fmla="*/ 86520 w 406198"/>
              <a:gd name="connsiteY11" fmla="*/ 52044 h 177711"/>
              <a:gd name="connsiteX12" fmla="*/ 79793 w 406198"/>
              <a:gd name="connsiteY12" fmla="*/ 27888 h 177711"/>
              <a:gd name="connsiteX13" fmla="*/ 79323 w 406198"/>
              <a:gd name="connsiteY13" fmla="*/ 27888 h 177711"/>
              <a:gd name="connsiteX14" fmla="*/ 72138 w 406198"/>
              <a:gd name="connsiteY14" fmla="*/ 52044 h 177711"/>
              <a:gd name="connsiteX15" fmla="*/ 53580 w 406198"/>
              <a:gd name="connsiteY15" fmla="*/ 108950 h 177711"/>
              <a:gd name="connsiteX16" fmla="*/ 236750 w 406198"/>
              <a:gd name="connsiteY16" fmla="*/ 0 h 177711"/>
              <a:gd name="connsiteX17" fmla="*/ 272699 w 406198"/>
              <a:gd name="connsiteY17" fmla="*/ 0 h 177711"/>
              <a:gd name="connsiteX18" fmla="*/ 336015 w 406198"/>
              <a:gd name="connsiteY18" fmla="*/ 177712 h 177711"/>
              <a:gd name="connsiteX19" fmla="*/ 302618 w 406198"/>
              <a:gd name="connsiteY19" fmla="*/ 177712 h 177711"/>
              <a:gd name="connsiteX20" fmla="*/ 287080 w 406198"/>
              <a:gd name="connsiteY20" fmla="*/ 132179 h 177711"/>
              <a:gd name="connsiteX21" fmla="*/ 220045 w 406198"/>
              <a:gd name="connsiteY21" fmla="*/ 132179 h 177711"/>
              <a:gd name="connsiteX22" fmla="*/ 204978 w 406198"/>
              <a:gd name="connsiteY22" fmla="*/ 177712 h 177711"/>
              <a:gd name="connsiteX23" fmla="*/ 174361 w 406198"/>
              <a:gd name="connsiteY23" fmla="*/ 177712 h 177711"/>
              <a:gd name="connsiteX24" fmla="*/ 236750 w 406198"/>
              <a:gd name="connsiteY24" fmla="*/ 0 h 177711"/>
              <a:gd name="connsiteX25" fmla="*/ 227941 w 406198"/>
              <a:gd name="connsiteY25" fmla="*/ 108950 h 177711"/>
              <a:gd name="connsiteX26" fmla="*/ 279426 w 406198"/>
              <a:gd name="connsiteY26" fmla="*/ 108950 h 177711"/>
              <a:gd name="connsiteX27" fmla="*/ 260868 w 406198"/>
              <a:gd name="connsiteY27" fmla="*/ 52044 h 177711"/>
              <a:gd name="connsiteX28" fmla="*/ 254153 w 406198"/>
              <a:gd name="connsiteY28" fmla="*/ 27888 h 177711"/>
              <a:gd name="connsiteX29" fmla="*/ 253683 w 406198"/>
              <a:gd name="connsiteY29" fmla="*/ 27888 h 177711"/>
              <a:gd name="connsiteX30" fmla="*/ 246486 w 406198"/>
              <a:gd name="connsiteY30" fmla="*/ 52044 h 177711"/>
              <a:gd name="connsiteX31" fmla="*/ 227941 w 406198"/>
              <a:gd name="connsiteY31" fmla="*/ 108950 h 177711"/>
              <a:gd name="connsiteX32" fmla="*/ 342730 w 406198"/>
              <a:gd name="connsiteY32" fmla="*/ 88995 h 177711"/>
              <a:gd name="connsiteX33" fmla="*/ 406198 w 406198"/>
              <a:gd name="connsiteY33" fmla="*/ 88995 h 177711"/>
              <a:gd name="connsiteX34" fmla="*/ 406198 w 406198"/>
              <a:gd name="connsiteY34" fmla="*/ 114421 h 177711"/>
              <a:gd name="connsiteX35" fmla="*/ 342730 w 406198"/>
              <a:gd name="connsiteY35" fmla="*/ 114421 h 177711"/>
              <a:gd name="connsiteX36" fmla="*/ 342730 w 406198"/>
              <a:gd name="connsiteY36" fmla="*/ 88995 h 177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06198" h="177711">
                <a:moveTo>
                  <a:pt x="62389" y="0"/>
                </a:moveTo>
                <a:lnTo>
                  <a:pt x="98338" y="0"/>
                </a:lnTo>
                <a:lnTo>
                  <a:pt x="161654" y="177712"/>
                </a:lnTo>
                <a:lnTo>
                  <a:pt x="128257" y="177712"/>
                </a:lnTo>
                <a:lnTo>
                  <a:pt x="112720" y="132179"/>
                </a:lnTo>
                <a:lnTo>
                  <a:pt x="45697" y="132179"/>
                </a:lnTo>
                <a:lnTo>
                  <a:pt x="30617" y="177712"/>
                </a:lnTo>
                <a:lnTo>
                  <a:pt x="0" y="177712"/>
                </a:lnTo>
                <a:lnTo>
                  <a:pt x="62389" y="0"/>
                </a:lnTo>
                <a:close/>
                <a:moveTo>
                  <a:pt x="53580" y="108950"/>
                </a:moveTo>
                <a:lnTo>
                  <a:pt x="105066" y="108950"/>
                </a:lnTo>
                <a:lnTo>
                  <a:pt x="86520" y="52044"/>
                </a:lnTo>
                <a:cubicBezTo>
                  <a:pt x="82115" y="38576"/>
                  <a:pt x="79793" y="27888"/>
                  <a:pt x="79793" y="27888"/>
                </a:cubicBezTo>
                <a:lnTo>
                  <a:pt x="79323" y="27888"/>
                </a:lnTo>
                <a:cubicBezTo>
                  <a:pt x="79323" y="27888"/>
                  <a:pt x="76530" y="38805"/>
                  <a:pt x="72138" y="52044"/>
                </a:cubicBezTo>
                <a:lnTo>
                  <a:pt x="53580" y="108950"/>
                </a:lnTo>
                <a:close/>
                <a:moveTo>
                  <a:pt x="236750" y="0"/>
                </a:moveTo>
                <a:lnTo>
                  <a:pt x="272699" y="0"/>
                </a:lnTo>
                <a:lnTo>
                  <a:pt x="336015" y="177712"/>
                </a:lnTo>
                <a:lnTo>
                  <a:pt x="302618" y="177712"/>
                </a:lnTo>
                <a:lnTo>
                  <a:pt x="287080" y="132179"/>
                </a:lnTo>
                <a:lnTo>
                  <a:pt x="220045" y="132179"/>
                </a:lnTo>
                <a:lnTo>
                  <a:pt x="204978" y="177712"/>
                </a:lnTo>
                <a:lnTo>
                  <a:pt x="174361" y="177712"/>
                </a:lnTo>
                <a:lnTo>
                  <a:pt x="236750" y="0"/>
                </a:lnTo>
                <a:close/>
                <a:moveTo>
                  <a:pt x="227941" y="108950"/>
                </a:moveTo>
                <a:lnTo>
                  <a:pt x="279426" y="108950"/>
                </a:lnTo>
                <a:lnTo>
                  <a:pt x="260868" y="52044"/>
                </a:lnTo>
                <a:cubicBezTo>
                  <a:pt x="256463" y="38576"/>
                  <a:pt x="254153" y="27888"/>
                  <a:pt x="254153" y="27888"/>
                </a:cubicBezTo>
                <a:lnTo>
                  <a:pt x="253683" y="27888"/>
                </a:lnTo>
                <a:cubicBezTo>
                  <a:pt x="253683" y="27888"/>
                  <a:pt x="250903" y="38805"/>
                  <a:pt x="246486" y="52044"/>
                </a:cubicBezTo>
                <a:lnTo>
                  <a:pt x="227941" y="108950"/>
                </a:lnTo>
                <a:close/>
                <a:moveTo>
                  <a:pt x="342730" y="88995"/>
                </a:moveTo>
                <a:lnTo>
                  <a:pt x="406198" y="88995"/>
                </a:lnTo>
                <a:lnTo>
                  <a:pt x="406198" y="114421"/>
                </a:lnTo>
                <a:lnTo>
                  <a:pt x="342730" y="114421"/>
                </a:lnTo>
                <a:lnTo>
                  <a:pt x="342730" y="88995"/>
                </a:lnTo>
                <a:close/>
              </a:path>
            </a:pathLst>
          </a:custGeom>
          <a:solidFill>
            <a:schemeClr val="tx2"/>
          </a:solidFill>
          <a:ln w="12502" cap="flat">
            <a:noFill/>
            <a:prstDash val="solid"/>
            <a:miter/>
          </a:ln>
        </p:spPr>
        <p:txBody>
          <a:bodyPr rtlCol="0" anchor="ctr"/>
          <a:lstStyle/>
          <a:p>
            <a:endParaRPr lang="en-GB"/>
          </a:p>
        </p:txBody>
      </p:sp>
      <p:sp>
        <p:nvSpPr>
          <p:cNvPr id="184" name="Freeform 65">
            <a:extLst>
              <a:ext uri="{FF2B5EF4-FFF2-40B4-BE49-F238E27FC236}">
                <a16:creationId xmlns:a16="http://schemas.microsoft.com/office/drawing/2014/main" id="{3DC3938C-0AB8-475F-83D1-9FFAD70E870C}"/>
              </a:ext>
            </a:extLst>
          </p:cNvPr>
          <p:cNvSpPr>
            <a:spLocks noEditPoints="1"/>
          </p:cNvSpPr>
          <p:nvPr/>
        </p:nvSpPr>
        <p:spPr bwMode="auto">
          <a:xfrm>
            <a:off x="8142782" y="1623720"/>
            <a:ext cx="412750" cy="363537"/>
          </a:xfrm>
          <a:custGeom>
            <a:avLst/>
            <a:gdLst>
              <a:gd name="T0" fmla="*/ 260 w 260"/>
              <a:gd name="T1" fmla="*/ 229 h 229"/>
              <a:gd name="T2" fmla="*/ 0 w 260"/>
              <a:gd name="T3" fmla="*/ 229 h 229"/>
              <a:gd name="T4" fmla="*/ 130 w 260"/>
              <a:gd name="T5" fmla="*/ 0 h 229"/>
              <a:gd name="T6" fmla="*/ 260 w 260"/>
              <a:gd name="T7" fmla="*/ 229 h 229"/>
              <a:gd name="T8" fmla="*/ 28 w 260"/>
              <a:gd name="T9" fmla="*/ 213 h 229"/>
              <a:gd name="T10" fmla="*/ 231 w 260"/>
              <a:gd name="T11" fmla="*/ 213 h 229"/>
              <a:gd name="T12" fmla="*/ 130 w 260"/>
              <a:gd name="T13" fmla="*/ 33 h 229"/>
              <a:gd name="T14" fmla="*/ 28 w 260"/>
              <a:gd name="T15" fmla="*/ 213 h 229"/>
              <a:gd name="T16" fmla="*/ 120 w 260"/>
              <a:gd name="T17" fmla="*/ 196 h 229"/>
              <a:gd name="T18" fmla="*/ 140 w 260"/>
              <a:gd name="T19" fmla="*/ 196 h 229"/>
              <a:gd name="T20" fmla="*/ 140 w 260"/>
              <a:gd name="T21" fmla="*/ 174 h 229"/>
              <a:gd name="T22" fmla="*/ 120 w 260"/>
              <a:gd name="T23" fmla="*/ 174 h 229"/>
              <a:gd name="T24" fmla="*/ 120 w 260"/>
              <a:gd name="T25" fmla="*/ 196 h 229"/>
              <a:gd name="T26" fmla="*/ 124 w 260"/>
              <a:gd name="T27" fmla="*/ 159 h 229"/>
              <a:gd name="T28" fmla="*/ 138 w 260"/>
              <a:gd name="T29" fmla="*/ 159 h 229"/>
              <a:gd name="T30" fmla="*/ 140 w 260"/>
              <a:gd name="T31" fmla="*/ 82 h 229"/>
              <a:gd name="T32" fmla="*/ 120 w 260"/>
              <a:gd name="T33" fmla="*/ 82 h 229"/>
              <a:gd name="T34" fmla="*/ 124 w 260"/>
              <a:gd name="T35" fmla="*/ 15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0" h="229">
                <a:moveTo>
                  <a:pt x="260" y="229"/>
                </a:moveTo>
                <a:lnTo>
                  <a:pt x="0" y="229"/>
                </a:lnTo>
                <a:lnTo>
                  <a:pt x="130" y="0"/>
                </a:lnTo>
                <a:lnTo>
                  <a:pt x="260" y="229"/>
                </a:lnTo>
                <a:close/>
                <a:moveTo>
                  <a:pt x="28" y="213"/>
                </a:moveTo>
                <a:lnTo>
                  <a:pt x="231" y="213"/>
                </a:lnTo>
                <a:lnTo>
                  <a:pt x="130" y="33"/>
                </a:lnTo>
                <a:lnTo>
                  <a:pt x="28" y="213"/>
                </a:lnTo>
                <a:close/>
                <a:moveTo>
                  <a:pt x="120" y="196"/>
                </a:moveTo>
                <a:lnTo>
                  <a:pt x="140" y="196"/>
                </a:lnTo>
                <a:lnTo>
                  <a:pt x="140" y="174"/>
                </a:lnTo>
                <a:lnTo>
                  <a:pt x="120" y="174"/>
                </a:lnTo>
                <a:lnTo>
                  <a:pt x="120" y="196"/>
                </a:lnTo>
                <a:close/>
                <a:moveTo>
                  <a:pt x="124" y="159"/>
                </a:moveTo>
                <a:lnTo>
                  <a:pt x="138" y="159"/>
                </a:lnTo>
                <a:lnTo>
                  <a:pt x="140" y="82"/>
                </a:lnTo>
                <a:lnTo>
                  <a:pt x="120" y="82"/>
                </a:lnTo>
                <a:lnTo>
                  <a:pt x="124" y="15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5" name="Freeform 57">
            <a:extLst>
              <a:ext uri="{FF2B5EF4-FFF2-40B4-BE49-F238E27FC236}">
                <a16:creationId xmlns:a16="http://schemas.microsoft.com/office/drawing/2014/main" id="{B115BC60-DC25-45D8-9303-0089D4098617}"/>
              </a:ext>
            </a:extLst>
          </p:cNvPr>
          <p:cNvSpPr>
            <a:spLocks noEditPoints="1"/>
          </p:cNvSpPr>
          <p:nvPr/>
        </p:nvSpPr>
        <p:spPr bwMode="auto">
          <a:xfrm>
            <a:off x="5008863" y="2406184"/>
            <a:ext cx="407988" cy="412750"/>
          </a:xfrm>
          <a:custGeom>
            <a:avLst/>
            <a:gdLst>
              <a:gd name="T0" fmla="*/ 73 w 126"/>
              <a:gd name="T1" fmla="*/ 82 h 128"/>
              <a:gd name="T2" fmla="*/ 73 w 126"/>
              <a:gd name="T3" fmla="*/ 82 h 128"/>
              <a:gd name="T4" fmla="*/ 51 w 126"/>
              <a:gd name="T5" fmla="*/ 95 h 128"/>
              <a:gd name="T6" fmla="*/ 30 w 126"/>
              <a:gd name="T7" fmla="*/ 70 h 128"/>
              <a:gd name="T8" fmla="*/ 61 w 126"/>
              <a:gd name="T9" fmla="*/ 32 h 128"/>
              <a:gd name="T10" fmla="*/ 77 w 126"/>
              <a:gd name="T11" fmla="*/ 42 h 128"/>
              <a:gd name="T12" fmla="*/ 77 w 126"/>
              <a:gd name="T13" fmla="*/ 42 h 128"/>
              <a:gd name="T14" fmla="*/ 79 w 126"/>
              <a:gd name="T15" fmla="*/ 34 h 128"/>
              <a:gd name="T16" fmla="*/ 98 w 126"/>
              <a:gd name="T17" fmla="*/ 34 h 128"/>
              <a:gd name="T18" fmla="*/ 89 w 126"/>
              <a:gd name="T19" fmla="*/ 72 h 128"/>
              <a:gd name="T20" fmla="*/ 97 w 126"/>
              <a:gd name="T21" fmla="*/ 85 h 128"/>
              <a:gd name="T22" fmla="*/ 115 w 126"/>
              <a:gd name="T23" fmla="*/ 55 h 128"/>
              <a:gd name="T24" fmla="*/ 65 w 126"/>
              <a:gd name="T25" fmla="*/ 9 h 128"/>
              <a:gd name="T26" fmla="*/ 11 w 126"/>
              <a:gd name="T27" fmla="*/ 66 h 128"/>
              <a:gd name="T28" fmla="*/ 62 w 126"/>
              <a:gd name="T29" fmla="*/ 119 h 128"/>
              <a:gd name="T30" fmla="*/ 98 w 126"/>
              <a:gd name="T31" fmla="*/ 107 h 128"/>
              <a:gd name="T32" fmla="*/ 103 w 126"/>
              <a:gd name="T33" fmla="*/ 114 h 128"/>
              <a:gd name="T34" fmla="*/ 61 w 126"/>
              <a:gd name="T35" fmla="*/ 128 h 128"/>
              <a:gd name="T36" fmla="*/ 0 w 126"/>
              <a:gd name="T37" fmla="*/ 66 h 128"/>
              <a:gd name="T38" fmla="*/ 66 w 126"/>
              <a:gd name="T39" fmla="*/ 0 h 128"/>
              <a:gd name="T40" fmla="*/ 126 w 126"/>
              <a:gd name="T41" fmla="*/ 54 h 128"/>
              <a:gd name="T42" fmla="*/ 92 w 126"/>
              <a:gd name="T43" fmla="*/ 95 h 128"/>
              <a:gd name="T44" fmla="*/ 73 w 126"/>
              <a:gd name="T45" fmla="*/ 82 h 128"/>
              <a:gd name="T46" fmla="*/ 72 w 126"/>
              <a:gd name="T47" fmla="*/ 66 h 128"/>
              <a:gd name="T48" fmla="*/ 73 w 126"/>
              <a:gd name="T49" fmla="*/ 60 h 128"/>
              <a:gd name="T50" fmla="*/ 65 w 126"/>
              <a:gd name="T51" fmla="*/ 44 h 128"/>
              <a:gd name="T52" fmla="*/ 49 w 126"/>
              <a:gd name="T53" fmla="*/ 70 h 128"/>
              <a:gd name="T54" fmla="*/ 58 w 126"/>
              <a:gd name="T55" fmla="*/ 82 h 128"/>
              <a:gd name="T56" fmla="*/ 72 w 126"/>
              <a:gd name="T57" fmla="*/ 6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6" h="128">
                <a:moveTo>
                  <a:pt x="73" y="82"/>
                </a:moveTo>
                <a:cubicBezTo>
                  <a:pt x="73" y="82"/>
                  <a:pt x="73" y="82"/>
                  <a:pt x="73" y="82"/>
                </a:cubicBezTo>
                <a:cubicBezTo>
                  <a:pt x="68" y="89"/>
                  <a:pt x="62" y="95"/>
                  <a:pt x="51" y="95"/>
                </a:cubicBezTo>
                <a:cubicBezTo>
                  <a:pt x="38" y="95"/>
                  <a:pt x="30" y="85"/>
                  <a:pt x="30" y="70"/>
                </a:cubicBezTo>
                <a:cubicBezTo>
                  <a:pt x="30" y="51"/>
                  <a:pt x="42" y="32"/>
                  <a:pt x="61" y="32"/>
                </a:cubicBezTo>
                <a:cubicBezTo>
                  <a:pt x="70" y="32"/>
                  <a:pt x="75" y="36"/>
                  <a:pt x="77" y="42"/>
                </a:cubicBezTo>
                <a:cubicBezTo>
                  <a:pt x="77" y="42"/>
                  <a:pt x="77" y="42"/>
                  <a:pt x="77" y="42"/>
                </a:cubicBezTo>
                <a:cubicBezTo>
                  <a:pt x="79" y="34"/>
                  <a:pt x="79" y="34"/>
                  <a:pt x="79" y="34"/>
                </a:cubicBezTo>
                <a:cubicBezTo>
                  <a:pt x="98" y="34"/>
                  <a:pt x="98" y="34"/>
                  <a:pt x="98" y="34"/>
                </a:cubicBezTo>
                <a:cubicBezTo>
                  <a:pt x="89" y="72"/>
                  <a:pt x="89" y="72"/>
                  <a:pt x="89" y="72"/>
                </a:cubicBezTo>
                <a:cubicBezTo>
                  <a:pt x="88" y="80"/>
                  <a:pt x="90" y="85"/>
                  <a:pt x="97" y="85"/>
                </a:cubicBezTo>
                <a:cubicBezTo>
                  <a:pt x="106" y="85"/>
                  <a:pt x="115" y="76"/>
                  <a:pt x="115" y="55"/>
                </a:cubicBezTo>
                <a:cubicBezTo>
                  <a:pt x="115" y="29"/>
                  <a:pt x="94" y="9"/>
                  <a:pt x="65" y="9"/>
                </a:cubicBezTo>
                <a:cubicBezTo>
                  <a:pt x="35" y="9"/>
                  <a:pt x="11" y="34"/>
                  <a:pt x="11" y="66"/>
                </a:cubicBezTo>
                <a:cubicBezTo>
                  <a:pt x="11" y="98"/>
                  <a:pt x="33" y="119"/>
                  <a:pt x="62" y="119"/>
                </a:cubicBezTo>
                <a:cubicBezTo>
                  <a:pt x="77" y="119"/>
                  <a:pt x="90" y="114"/>
                  <a:pt x="98" y="107"/>
                </a:cubicBezTo>
                <a:cubicBezTo>
                  <a:pt x="103" y="114"/>
                  <a:pt x="103" y="114"/>
                  <a:pt x="103" y="114"/>
                </a:cubicBezTo>
                <a:cubicBezTo>
                  <a:pt x="94" y="121"/>
                  <a:pt x="80" y="128"/>
                  <a:pt x="61" y="128"/>
                </a:cubicBezTo>
                <a:cubicBezTo>
                  <a:pt x="26" y="128"/>
                  <a:pt x="0" y="103"/>
                  <a:pt x="0" y="66"/>
                </a:cubicBezTo>
                <a:cubicBezTo>
                  <a:pt x="0" y="28"/>
                  <a:pt x="29" y="0"/>
                  <a:pt x="66" y="0"/>
                </a:cubicBezTo>
                <a:cubicBezTo>
                  <a:pt x="100" y="0"/>
                  <a:pt x="126" y="22"/>
                  <a:pt x="126" y="54"/>
                </a:cubicBezTo>
                <a:cubicBezTo>
                  <a:pt x="126" y="83"/>
                  <a:pt x="110" y="95"/>
                  <a:pt x="92" y="95"/>
                </a:cubicBezTo>
                <a:cubicBezTo>
                  <a:pt x="82" y="95"/>
                  <a:pt x="74" y="90"/>
                  <a:pt x="73" y="82"/>
                </a:cubicBezTo>
                <a:close/>
                <a:moveTo>
                  <a:pt x="72" y="66"/>
                </a:moveTo>
                <a:cubicBezTo>
                  <a:pt x="73" y="60"/>
                  <a:pt x="73" y="60"/>
                  <a:pt x="73" y="60"/>
                </a:cubicBezTo>
                <a:cubicBezTo>
                  <a:pt x="75" y="52"/>
                  <a:pt x="72" y="44"/>
                  <a:pt x="65" y="44"/>
                </a:cubicBezTo>
                <a:cubicBezTo>
                  <a:pt x="54" y="44"/>
                  <a:pt x="49" y="59"/>
                  <a:pt x="49" y="70"/>
                </a:cubicBezTo>
                <a:cubicBezTo>
                  <a:pt x="49" y="77"/>
                  <a:pt x="52" y="82"/>
                  <a:pt x="58" y="82"/>
                </a:cubicBezTo>
                <a:cubicBezTo>
                  <a:pt x="64" y="82"/>
                  <a:pt x="70" y="76"/>
                  <a:pt x="72" y="6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6" name="Freeform 69">
            <a:extLst>
              <a:ext uri="{FF2B5EF4-FFF2-40B4-BE49-F238E27FC236}">
                <a16:creationId xmlns:a16="http://schemas.microsoft.com/office/drawing/2014/main" id="{EE154AE6-E9ED-4688-9B40-E31BA417CCF9}"/>
              </a:ext>
            </a:extLst>
          </p:cNvPr>
          <p:cNvSpPr>
            <a:spLocks noEditPoints="1"/>
          </p:cNvSpPr>
          <p:nvPr/>
        </p:nvSpPr>
        <p:spPr bwMode="auto">
          <a:xfrm>
            <a:off x="6051914" y="2406184"/>
            <a:ext cx="412750" cy="412750"/>
          </a:xfrm>
          <a:custGeom>
            <a:avLst/>
            <a:gdLst>
              <a:gd name="T0" fmla="*/ 260 w 260"/>
              <a:gd name="T1" fmla="*/ 248 h 260"/>
              <a:gd name="T2" fmla="*/ 248 w 260"/>
              <a:gd name="T3" fmla="*/ 260 h 260"/>
              <a:gd name="T4" fmla="*/ 120 w 260"/>
              <a:gd name="T5" fmla="*/ 132 h 260"/>
              <a:gd name="T6" fmla="*/ 81 w 260"/>
              <a:gd name="T7" fmla="*/ 173 h 260"/>
              <a:gd name="T8" fmla="*/ 91 w 260"/>
              <a:gd name="T9" fmla="*/ 183 h 260"/>
              <a:gd name="T10" fmla="*/ 81 w 260"/>
              <a:gd name="T11" fmla="*/ 195 h 260"/>
              <a:gd name="T12" fmla="*/ 0 w 260"/>
              <a:gd name="T13" fmla="*/ 116 h 260"/>
              <a:gd name="T14" fmla="*/ 12 w 260"/>
              <a:gd name="T15" fmla="*/ 104 h 260"/>
              <a:gd name="T16" fmla="*/ 22 w 260"/>
              <a:gd name="T17" fmla="*/ 116 h 260"/>
              <a:gd name="T18" fmla="*/ 116 w 260"/>
              <a:gd name="T19" fmla="*/ 22 h 260"/>
              <a:gd name="T20" fmla="*/ 104 w 260"/>
              <a:gd name="T21" fmla="*/ 12 h 260"/>
              <a:gd name="T22" fmla="*/ 116 w 260"/>
              <a:gd name="T23" fmla="*/ 0 h 260"/>
              <a:gd name="T24" fmla="*/ 195 w 260"/>
              <a:gd name="T25" fmla="*/ 81 h 260"/>
              <a:gd name="T26" fmla="*/ 183 w 260"/>
              <a:gd name="T27" fmla="*/ 91 h 260"/>
              <a:gd name="T28" fmla="*/ 173 w 260"/>
              <a:gd name="T29" fmla="*/ 81 h 260"/>
              <a:gd name="T30" fmla="*/ 132 w 260"/>
              <a:gd name="T31" fmla="*/ 120 h 260"/>
              <a:gd name="T32" fmla="*/ 260 w 260"/>
              <a:gd name="T33" fmla="*/ 248 h 260"/>
              <a:gd name="T34" fmla="*/ 0 w 260"/>
              <a:gd name="T35" fmla="*/ 260 h 260"/>
              <a:gd name="T36" fmla="*/ 130 w 260"/>
              <a:gd name="T37" fmla="*/ 260 h 260"/>
              <a:gd name="T38" fmla="*/ 130 w 260"/>
              <a:gd name="T39" fmla="*/ 244 h 260"/>
              <a:gd name="T40" fmla="*/ 0 w 260"/>
              <a:gd name="T41" fmla="*/ 244 h 260"/>
              <a:gd name="T42" fmla="*/ 0 w 260"/>
              <a:gd name="T43"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0" h="260">
                <a:moveTo>
                  <a:pt x="260" y="248"/>
                </a:moveTo>
                <a:lnTo>
                  <a:pt x="248" y="260"/>
                </a:lnTo>
                <a:lnTo>
                  <a:pt x="120" y="132"/>
                </a:lnTo>
                <a:lnTo>
                  <a:pt x="81" y="173"/>
                </a:lnTo>
                <a:lnTo>
                  <a:pt x="91" y="183"/>
                </a:lnTo>
                <a:lnTo>
                  <a:pt x="81" y="195"/>
                </a:lnTo>
                <a:lnTo>
                  <a:pt x="0" y="116"/>
                </a:lnTo>
                <a:lnTo>
                  <a:pt x="12" y="104"/>
                </a:lnTo>
                <a:lnTo>
                  <a:pt x="22" y="116"/>
                </a:lnTo>
                <a:lnTo>
                  <a:pt x="116" y="22"/>
                </a:lnTo>
                <a:lnTo>
                  <a:pt x="104" y="12"/>
                </a:lnTo>
                <a:lnTo>
                  <a:pt x="116" y="0"/>
                </a:lnTo>
                <a:lnTo>
                  <a:pt x="195" y="81"/>
                </a:lnTo>
                <a:lnTo>
                  <a:pt x="183" y="91"/>
                </a:lnTo>
                <a:lnTo>
                  <a:pt x="173" y="81"/>
                </a:lnTo>
                <a:lnTo>
                  <a:pt x="132" y="120"/>
                </a:lnTo>
                <a:lnTo>
                  <a:pt x="260" y="248"/>
                </a:lnTo>
                <a:close/>
                <a:moveTo>
                  <a:pt x="0" y="260"/>
                </a:moveTo>
                <a:lnTo>
                  <a:pt x="130" y="260"/>
                </a:lnTo>
                <a:lnTo>
                  <a:pt x="130" y="244"/>
                </a:lnTo>
                <a:lnTo>
                  <a:pt x="0" y="244"/>
                </a:lnTo>
                <a:lnTo>
                  <a:pt x="0" y="2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7" name="Freeform 73">
            <a:extLst>
              <a:ext uri="{FF2B5EF4-FFF2-40B4-BE49-F238E27FC236}">
                <a16:creationId xmlns:a16="http://schemas.microsoft.com/office/drawing/2014/main" id="{5CA85F37-FAD2-486A-938A-C88427E22BB6}"/>
              </a:ext>
            </a:extLst>
          </p:cNvPr>
          <p:cNvSpPr>
            <a:spLocks noEditPoints="1"/>
          </p:cNvSpPr>
          <p:nvPr/>
        </p:nvSpPr>
        <p:spPr bwMode="auto">
          <a:xfrm>
            <a:off x="7110541" y="2406184"/>
            <a:ext cx="407987" cy="412750"/>
          </a:xfrm>
          <a:custGeom>
            <a:avLst/>
            <a:gdLst>
              <a:gd name="T0" fmla="*/ 257 w 257"/>
              <a:gd name="T1" fmla="*/ 130 h 260"/>
              <a:gd name="T2" fmla="*/ 220 w 257"/>
              <a:gd name="T3" fmla="*/ 106 h 260"/>
              <a:gd name="T4" fmla="*/ 257 w 257"/>
              <a:gd name="T5" fmla="*/ 83 h 260"/>
              <a:gd name="T6" fmla="*/ 128 w 257"/>
              <a:gd name="T7" fmla="*/ 0 h 260"/>
              <a:gd name="T8" fmla="*/ 0 w 257"/>
              <a:gd name="T9" fmla="*/ 83 h 260"/>
              <a:gd name="T10" fmla="*/ 37 w 257"/>
              <a:gd name="T11" fmla="*/ 106 h 260"/>
              <a:gd name="T12" fmla="*/ 0 w 257"/>
              <a:gd name="T13" fmla="*/ 130 h 260"/>
              <a:gd name="T14" fmla="*/ 37 w 257"/>
              <a:gd name="T15" fmla="*/ 154 h 260"/>
              <a:gd name="T16" fmla="*/ 0 w 257"/>
              <a:gd name="T17" fmla="*/ 177 h 260"/>
              <a:gd name="T18" fmla="*/ 128 w 257"/>
              <a:gd name="T19" fmla="*/ 260 h 260"/>
              <a:gd name="T20" fmla="*/ 257 w 257"/>
              <a:gd name="T21" fmla="*/ 177 h 260"/>
              <a:gd name="T22" fmla="*/ 220 w 257"/>
              <a:gd name="T23" fmla="*/ 154 h 260"/>
              <a:gd name="T24" fmla="*/ 257 w 257"/>
              <a:gd name="T25" fmla="*/ 130 h 260"/>
              <a:gd name="T26" fmla="*/ 128 w 257"/>
              <a:gd name="T27" fmla="*/ 146 h 260"/>
              <a:gd name="T28" fmla="*/ 29 w 257"/>
              <a:gd name="T29" fmla="*/ 83 h 260"/>
              <a:gd name="T30" fmla="*/ 128 w 257"/>
              <a:gd name="T31" fmla="*/ 20 h 260"/>
              <a:gd name="T32" fmla="*/ 228 w 257"/>
              <a:gd name="T33" fmla="*/ 83 h 260"/>
              <a:gd name="T34" fmla="*/ 128 w 257"/>
              <a:gd name="T35" fmla="*/ 146 h 260"/>
              <a:gd name="T36" fmla="*/ 29 w 257"/>
              <a:gd name="T37" fmla="*/ 130 h 260"/>
              <a:gd name="T38" fmla="*/ 51 w 257"/>
              <a:gd name="T39" fmla="*/ 116 h 260"/>
              <a:gd name="T40" fmla="*/ 128 w 257"/>
              <a:gd name="T41" fmla="*/ 167 h 260"/>
              <a:gd name="T42" fmla="*/ 206 w 257"/>
              <a:gd name="T43" fmla="*/ 116 h 260"/>
              <a:gd name="T44" fmla="*/ 228 w 257"/>
              <a:gd name="T45" fmla="*/ 130 h 260"/>
              <a:gd name="T46" fmla="*/ 128 w 257"/>
              <a:gd name="T47" fmla="*/ 193 h 260"/>
              <a:gd name="T48" fmla="*/ 29 w 257"/>
              <a:gd name="T49" fmla="*/ 130 h 260"/>
              <a:gd name="T50" fmla="*/ 228 w 257"/>
              <a:gd name="T51" fmla="*/ 177 h 260"/>
              <a:gd name="T52" fmla="*/ 128 w 257"/>
              <a:gd name="T53" fmla="*/ 240 h 260"/>
              <a:gd name="T54" fmla="*/ 29 w 257"/>
              <a:gd name="T55" fmla="*/ 177 h 260"/>
              <a:gd name="T56" fmla="*/ 51 w 257"/>
              <a:gd name="T57" fmla="*/ 162 h 260"/>
              <a:gd name="T58" fmla="*/ 128 w 257"/>
              <a:gd name="T59" fmla="*/ 213 h 260"/>
              <a:gd name="T60" fmla="*/ 206 w 257"/>
              <a:gd name="T61" fmla="*/ 162 h 260"/>
              <a:gd name="T62" fmla="*/ 228 w 257"/>
              <a:gd name="T63" fmla="*/ 17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7" h="260">
                <a:moveTo>
                  <a:pt x="257" y="130"/>
                </a:moveTo>
                <a:lnTo>
                  <a:pt x="220" y="106"/>
                </a:lnTo>
                <a:lnTo>
                  <a:pt x="257" y="83"/>
                </a:lnTo>
                <a:lnTo>
                  <a:pt x="128" y="0"/>
                </a:lnTo>
                <a:lnTo>
                  <a:pt x="0" y="83"/>
                </a:lnTo>
                <a:lnTo>
                  <a:pt x="37" y="106"/>
                </a:lnTo>
                <a:lnTo>
                  <a:pt x="0" y="130"/>
                </a:lnTo>
                <a:lnTo>
                  <a:pt x="37" y="154"/>
                </a:lnTo>
                <a:lnTo>
                  <a:pt x="0" y="177"/>
                </a:lnTo>
                <a:lnTo>
                  <a:pt x="128" y="260"/>
                </a:lnTo>
                <a:lnTo>
                  <a:pt x="257" y="177"/>
                </a:lnTo>
                <a:lnTo>
                  <a:pt x="220" y="154"/>
                </a:lnTo>
                <a:lnTo>
                  <a:pt x="257" y="130"/>
                </a:lnTo>
                <a:close/>
                <a:moveTo>
                  <a:pt x="128" y="146"/>
                </a:moveTo>
                <a:lnTo>
                  <a:pt x="29" y="83"/>
                </a:lnTo>
                <a:lnTo>
                  <a:pt x="128" y="20"/>
                </a:lnTo>
                <a:lnTo>
                  <a:pt x="228" y="83"/>
                </a:lnTo>
                <a:lnTo>
                  <a:pt x="128" y="146"/>
                </a:lnTo>
                <a:close/>
                <a:moveTo>
                  <a:pt x="29" y="130"/>
                </a:moveTo>
                <a:lnTo>
                  <a:pt x="51" y="116"/>
                </a:lnTo>
                <a:lnTo>
                  <a:pt x="128" y="167"/>
                </a:lnTo>
                <a:lnTo>
                  <a:pt x="206" y="116"/>
                </a:lnTo>
                <a:lnTo>
                  <a:pt x="228" y="130"/>
                </a:lnTo>
                <a:lnTo>
                  <a:pt x="128" y="193"/>
                </a:lnTo>
                <a:lnTo>
                  <a:pt x="29" y="130"/>
                </a:lnTo>
                <a:close/>
                <a:moveTo>
                  <a:pt x="228" y="177"/>
                </a:moveTo>
                <a:lnTo>
                  <a:pt x="128" y="240"/>
                </a:lnTo>
                <a:lnTo>
                  <a:pt x="29" y="177"/>
                </a:lnTo>
                <a:lnTo>
                  <a:pt x="51" y="162"/>
                </a:lnTo>
                <a:lnTo>
                  <a:pt x="128" y="213"/>
                </a:lnTo>
                <a:lnTo>
                  <a:pt x="206" y="162"/>
                </a:lnTo>
                <a:lnTo>
                  <a:pt x="228" y="17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8" name="Freeform 77">
            <a:extLst>
              <a:ext uri="{FF2B5EF4-FFF2-40B4-BE49-F238E27FC236}">
                <a16:creationId xmlns:a16="http://schemas.microsoft.com/office/drawing/2014/main" id="{0D295B8F-D687-4869-9436-61D6A9CC3A22}"/>
              </a:ext>
            </a:extLst>
          </p:cNvPr>
          <p:cNvSpPr>
            <a:spLocks noEditPoints="1"/>
          </p:cNvSpPr>
          <p:nvPr/>
        </p:nvSpPr>
        <p:spPr bwMode="auto">
          <a:xfrm>
            <a:off x="8230888" y="2406184"/>
            <a:ext cx="236538" cy="412750"/>
          </a:xfrm>
          <a:custGeom>
            <a:avLst/>
            <a:gdLst>
              <a:gd name="T0" fmla="*/ 108 w 149"/>
              <a:gd name="T1" fmla="*/ 24 h 260"/>
              <a:gd name="T2" fmla="*/ 108 w 149"/>
              <a:gd name="T3" fmla="*/ 0 h 260"/>
              <a:gd name="T4" fmla="*/ 42 w 149"/>
              <a:gd name="T5" fmla="*/ 0 h 260"/>
              <a:gd name="T6" fmla="*/ 42 w 149"/>
              <a:gd name="T7" fmla="*/ 24 h 260"/>
              <a:gd name="T8" fmla="*/ 0 w 149"/>
              <a:gd name="T9" fmla="*/ 24 h 260"/>
              <a:gd name="T10" fmla="*/ 0 w 149"/>
              <a:gd name="T11" fmla="*/ 260 h 260"/>
              <a:gd name="T12" fmla="*/ 149 w 149"/>
              <a:gd name="T13" fmla="*/ 260 h 260"/>
              <a:gd name="T14" fmla="*/ 149 w 149"/>
              <a:gd name="T15" fmla="*/ 24 h 260"/>
              <a:gd name="T16" fmla="*/ 108 w 149"/>
              <a:gd name="T17" fmla="*/ 24 h 260"/>
              <a:gd name="T18" fmla="*/ 133 w 149"/>
              <a:gd name="T19" fmla="*/ 41 h 260"/>
              <a:gd name="T20" fmla="*/ 133 w 149"/>
              <a:gd name="T21" fmla="*/ 244 h 260"/>
              <a:gd name="T22" fmla="*/ 17 w 149"/>
              <a:gd name="T23" fmla="*/ 244 h 260"/>
              <a:gd name="T24" fmla="*/ 17 w 149"/>
              <a:gd name="T25" fmla="*/ 41 h 260"/>
              <a:gd name="T26" fmla="*/ 133 w 149"/>
              <a:gd name="T27" fmla="*/ 41 h 260"/>
              <a:gd name="T28" fmla="*/ 108 w 149"/>
              <a:gd name="T29" fmla="*/ 81 h 260"/>
              <a:gd name="T30" fmla="*/ 108 w 149"/>
              <a:gd name="T31" fmla="*/ 97 h 260"/>
              <a:gd name="T32" fmla="*/ 83 w 149"/>
              <a:gd name="T33" fmla="*/ 97 h 260"/>
              <a:gd name="T34" fmla="*/ 83 w 149"/>
              <a:gd name="T35" fmla="*/ 122 h 260"/>
              <a:gd name="T36" fmla="*/ 66 w 149"/>
              <a:gd name="T37" fmla="*/ 122 h 260"/>
              <a:gd name="T38" fmla="*/ 66 w 149"/>
              <a:gd name="T39" fmla="*/ 97 h 260"/>
              <a:gd name="T40" fmla="*/ 42 w 149"/>
              <a:gd name="T41" fmla="*/ 97 h 260"/>
              <a:gd name="T42" fmla="*/ 42 w 149"/>
              <a:gd name="T43" fmla="*/ 81 h 260"/>
              <a:gd name="T44" fmla="*/ 66 w 149"/>
              <a:gd name="T45" fmla="*/ 81 h 260"/>
              <a:gd name="T46" fmla="*/ 66 w 149"/>
              <a:gd name="T47" fmla="*/ 57 h 260"/>
              <a:gd name="T48" fmla="*/ 83 w 149"/>
              <a:gd name="T49" fmla="*/ 57 h 260"/>
              <a:gd name="T50" fmla="*/ 83 w 149"/>
              <a:gd name="T51" fmla="*/ 81 h 260"/>
              <a:gd name="T52" fmla="*/ 108 w 149"/>
              <a:gd name="T53" fmla="*/ 81 h 260"/>
              <a:gd name="T54" fmla="*/ 108 w 149"/>
              <a:gd name="T55" fmla="*/ 219 h 260"/>
              <a:gd name="T56" fmla="*/ 42 w 149"/>
              <a:gd name="T57" fmla="*/ 219 h 260"/>
              <a:gd name="T58" fmla="*/ 42 w 149"/>
              <a:gd name="T59" fmla="*/ 203 h 260"/>
              <a:gd name="T60" fmla="*/ 108 w 149"/>
              <a:gd name="T61" fmla="*/ 203 h 260"/>
              <a:gd name="T62" fmla="*/ 108 w 149"/>
              <a:gd name="T63" fmla="*/ 219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60">
                <a:moveTo>
                  <a:pt x="108" y="24"/>
                </a:moveTo>
                <a:lnTo>
                  <a:pt x="108" y="0"/>
                </a:lnTo>
                <a:lnTo>
                  <a:pt x="42" y="0"/>
                </a:lnTo>
                <a:lnTo>
                  <a:pt x="42" y="24"/>
                </a:lnTo>
                <a:lnTo>
                  <a:pt x="0" y="24"/>
                </a:lnTo>
                <a:lnTo>
                  <a:pt x="0" y="260"/>
                </a:lnTo>
                <a:lnTo>
                  <a:pt x="149" y="260"/>
                </a:lnTo>
                <a:lnTo>
                  <a:pt x="149" y="24"/>
                </a:lnTo>
                <a:lnTo>
                  <a:pt x="108" y="24"/>
                </a:lnTo>
                <a:close/>
                <a:moveTo>
                  <a:pt x="133" y="41"/>
                </a:moveTo>
                <a:lnTo>
                  <a:pt x="133" y="244"/>
                </a:lnTo>
                <a:lnTo>
                  <a:pt x="17" y="244"/>
                </a:lnTo>
                <a:lnTo>
                  <a:pt x="17" y="41"/>
                </a:lnTo>
                <a:lnTo>
                  <a:pt x="133" y="41"/>
                </a:lnTo>
                <a:close/>
                <a:moveTo>
                  <a:pt x="108" y="81"/>
                </a:moveTo>
                <a:lnTo>
                  <a:pt x="108" y="97"/>
                </a:lnTo>
                <a:lnTo>
                  <a:pt x="83" y="97"/>
                </a:lnTo>
                <a:lnTo>
                  <a:pt x="83" y="122"/>
                </a:lnTo>
                <a:lnTo>
                  <a:pt x="66" y="122"/>
                </a:lnTo>
                <a:lnTo>
                  <a:pt x="66" y="97"/>
                </a:lnTo>
                <a:lnTo>
                  <a:pt x="42" y="97"/>
                </a:lnTo>
                <a:lnTo>
                  <a:pt x="42" y="81"/>
                </a:lnTo>
                <a:lnTo>
                  <a:pt x="66" y="81"/>
                </a:lnTo>
                <a:lnTo>
                  <a:pt x="66" y="57"/>
                </a:lnTo>
                <a:lnTo>
                  <a:pt x="83" y="57"/>
                </a:lnTo>
                <a:lnTo>
                  <a:pt x="83" y="81"/>
                </a:lnTo>
                <a:lnTo>
                  <a:pt x="108" y="81"/>
                </a:lnTo>
                <a:close/>
                <a:moveTo>
                  <a:pt x="108" y="219"/>
                </a:moveTo>
                <a:lnTo>
                  <a:pt x="42" y="219"/>
                </a:lnTo>
                <a:lnTo>
                  <a:pt x="42" y="203"/>
                </a:lnTo>
                <a:lnTo>
                  <a:pt x="108" y="203"/>
                </a:lnTo>
                <a:lnTo>
                  <a:pt x="108" y="21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9" name="Freeform 81">
            <a:extLst>
              <a:ext uri="{FF2B5EF4-FFF2-40B4-BE49-F238E27FC236}">
                <a16:creationId xmlns:a16="http://schemas.microsoft.com/office/drawing/2014/main" id="{9048A2BC-BF14-4E27-A86E-334A40B9702F}"/>
              </a:ext>
            </a:extLst>
          </p:cNvPr>
          <p:cNvSpPr>
            <a:spLocks noEditPoints="1"/>
          </p:cNvSpPr>
          <p:nvPr/>
        </p:nvSpPr>
        <p:spPr bwMode="auto">
          <a:xfrm>
            <a:off x="5019182" y="3195060"/>
            <a:ext cx="387350" cy="412750"/>
          </a:xfrm>
          <a:custGeom>
            <a:avLst/>
            <a:gdLst>
              <a:gd name="T0" fmla="*/ 120 w 120"/>
              <a:gd name="T1" fmla="*/ 108 h 128"/>
              <a:gd name="T2" fmla="*/ 0 w 120"/>
              <a:gd name="T3" fmla="*/ 108 h 128"/>
              <a:gd name="T4" fmla="*/ 5 w 120"/>
              <a:gd name="T5" fmla="*/ 102 h 128"/>
              <a:gd name="T6" fmla="*/ 24 w 120"/>
              <a:gd name="T7" fmla="*/ 36 h 128"/>
              <a:gd name="T8" fmla="*/ 60 w 120"/>
              <a:gd name="T9" fmla="*/ 0 h 128"/>
              <a:gd name="T10" fmla="*/ 96 w 120"/>
              <a:gd name="T11" fmla="*/ 36 h 128"/>
              <a:gd name="T12" fmla="*/ 115 w 120"/>
              <a:gd name="T13" fmla="*/ 102 h 128"/>
              <a:gd name="T14" fmla="*/ 120 w 120"/>
              <a:gd name="T15" fmla="*/ 108 h 128"/>
              <a:gd name="T16" fmla="*/ 15 w 120"/>
              <a:gd name="T17" fmla="*/ 100 h 128"/>
              <a:gd name="T18" fmla="*/ 105 w 120"/>
              <a:gd name="T19" fmla="*/ 100 h 128"/>
              <a:gd name="T20" fmla="*/ 88 w 120"/>
              <a:gd name="T21" fmla="*/ 36 h 128"/>
              <a:gd name="T22" fmla="*/ 60 w 120"/>
              <a:gd name="T23" fmla="*/ 8 h 128"/>
              <a:gd name="T24" fmla="*/ 32 w 120"/>
              <a:gd name="T25" fmla="*/ 36 h 128"/>
              <a:gd name="T26" fmla="*/ 15 w 120"/>
              <a:gd name="T27" fmla="*/ 100 h 128"/>
              <a:gd name="T28" fmla="*/ 60 w 120"/>
              <a:gd name="T29" fmla="*/ 128 h 128"/>
              <a:gd name="T30" fmla="*/ 76 w 120"/>
              <a:gd name="T31" fmla="*/ 112 h 128"/>
              <a:gd name="T32" fmla="*/ 44 w 120"/>
              <a:gd name="T33" fmla="*/ 112 h 128"/>
              <a:gd name="T34" fmla="*/ 60 w 120"/>
              <a:gd name="T3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108"/>
                </a:moveTo>
                <a:cubicBezTo>
                  <a:pt x="0" y="108"/>
                  <a:pt x="0" y="108"/>
                  <a:pt x="0" y="108"/>
                </a:cubicBezTo>
                <a:cubicBezTo>
                  <a:pt x="5" y="102"/>
                  <a:pt x="5" y="102"/>
                  <a:pt x="5" y="102"/>
                </a:cubicBezTo>
                <a:cubicBezTo>
                  <a:pt x="16" y="87"/>
                  <a:pt x="24" y="52"/>
                  <a:pt x="24" y="36"/>
                </a:cubicBezTo>
                <a:cubicBezTo>
                  <a:pt x="24" y="16"/>
                  <a:pt x="40" y="0"/>
                  <a:pt x="60" y="0"/>
                </a:cubicBezTo>
                <a:cubicBezTo>
                  <a:pt x="80" y="0"/>
                  <a:pt x="96" y="16"/>
                  <a:pt x="96" y="36"/>
                </a:cubicBezTo>
                <a:cubicBezTo>
                  <a:pt x="96" y="52"/>
                  <a:pt x="104" y="87"/>
                  <a:pt x="115" y="102"/>
                </a:cubicBezTo>
                <a:lnTo>
                  <a:pt x="120" y="108"/>
                </a:lnTo>
                <a:close/>
                <a:moveTo>
                  <a:pt x="15" y="100"/>
                </a:moveTo>
                <a:cubicBezTo>
                  <a:pt x="105" y="100"/>
                  <a:pt x="105" y="100"/>
                  <a:pt x="105" y="100"/>
                </a:cubicBezTo>
                <a:cubicBezTo>
                  <a:pt x="95" y="82"/>
                  <a:pt x="88" y="51"/>
                  <a:pt x="88" y="36"/>
                </a:cubicBezTo>
                <a:cubicBezTo>
                  <a:pt x="88" y="21"/>
                  <a:pt x="75" y="8"/>
                  <a:pt x="60" y="8"/>
                </a:cubicBezTo>
                <a:cubicBezTo>
                  <a:pt x="45" y="8"/>
                  <a:pt x="32" y="21"/>
                  <a:pt x="32" y="36"/>
                </a:cubicBezTo>
                <a:cubicBezTo>
                  <a:pt x="32" y="51"/>
                  <a:pt x="25" y="82"/>
                  <a:pt x="15" y="100"/>
                </a:cubicBezTo>
                <a:close/>
                <a:moveTo>
                  <a:pt x="60" y="128"/>
                </a:moveTo>
                <a:cubicBezTo>
                  <a:pt x="69" y="128"/>
                  <a:pt x="76" y="121"/>
                  <a:pt x="76" y="112"/>
                </a:cubicBezTo>
                <a:cubicBezTo>
                  <a:pt x="44" y="112"/>
                  <a:pt x="44" y="112"/>
                  <a:pt x="44" y="112"/>
                </a:cubicBezTo>
                <a:cubicBezTo>
                  <a:pt x="44" y="121"/>
                  <a:pt x="51" y="128"/>
                  <a:pt x="60" y="1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0" name="Freeform 85">
            <a:extLst>
              <a:ext uri="{FF2B5EF4-FFF2-40B4-BE49-F238E27FC236}">
                <a16:creationId xmlns:a16="http://schemas.microsoft.com/office/drawing/2014/main" id="{6DB00F9C-6680-4F73-A8DF-FA1D9385C8C6}"/>
              </a:ext>
            </a:extLst>
          </p:cNvPr>
          <p:cNvSpPr>
            <a:spLocks noEditPoints="1"/>
          </p:cNvSpPr>
          <p:nvPr/>
        </p:nvSpPr>
        <p:spPr bwMode="auto">
          <a:xfrm>
            <a:off x="6076522" y="3195060"/>
            <a:ext cx="363538" cy="412750"/>
          </a:xfrm>
          <a:custGeom>
            <a:avLst/>
            <a:gdLst>
              <a:gd name="T0" fmla="*/ 74 w 229"/>
              <a:gd name="T1" fmla="*/ 32 h 260"/>
              <a:gd name="T2" fmla="*/ 8 w 229"/>
              <a:gd name="T3" fmla="*/ 32 h 260"/>
              <a:gd name="T4" fmla="*/ 8 w 229"/>
              <a:gd name="T5" fmla="*/ 0 h 260"/>
              <a:gd name="T6" fmla="*/ 74 w 229"/>
              <a:gd name="T7" fmla="*/ 0 h 260"/>
              <a:gd name="T8" fmla="*/ 74 w 229"/>
              <a:gd name="T9" fmla="*/ 32 h 260"/>
              <a:gd name="T10" fmla="*/ 221 w 229"/>
              <a:gd name="T11" fmla="*/ 0 h 260"/>
              <a:gd name="T12" fmla="*/ 155 w 229"/>
              <a:gd name="T13" fmla="*/ 0 h 260"/>
              <a:gd name="T14" fmla="*/ 155 w 229"/>
              <a:gd name="T15" fmla="*/ 32 h 260"/>
              <a:gd name="T16" fmla="*/ 221 w 229"/>
              <a:gd name="T17" fmla="*/ 32 h 260"/>
              <a:gd name="T18" fmla="*/ 221 w 229"/>
              <a:gd name="T19" fmla="*/ 0 h 260"/>
              <a:gd name="T20" fmla="*/ 229 w 229"/>
              <a:gd name="T21" fmla="*/ 49 h 260"/>
              <a:gd name="T22" fmla="*/ 147 w 229"/>
              <a:gd name="T23" fmla="*/ 49 h 260"/>
              <a:gd name="T24" fmla="*/ 147 w 229"/>
              <a:gd name="T25" fmla="*/ 89 h 260"/>
              <a:gd name="T26" fmla="*/ 82 w 229"/>
              <a:gd name="T27" fmla="*/ 89 h 260"/>
              <a:gd name="T28" fmla="*/ 82 w 229"/>
              <a:gd name="T29" fmla="*/ 49 h 260"/>
              <a:gd name="T30" fmla="*/ 0 w 229"/>
              <a:gd name="T31" fmla="*/ 49 h 260"/>
              <a:gd name="T32" fmla="*/ 0 w 229"/>
              <a:gd name="T33" fmla="*/ 211 h 260"/>
              <a:gd name="T34" fmla="*/ 82 w 229"/>
              <a:gd name="T35" fmla="*/ 211 h 260"/>
              <a:gd name="T36" fmla="*/ 82 w 229"/>
              <a:gd name="T37" fmla="*/ 171 h 260"/>
              <a:gd name="T38" fmla="*/ 147 w 229"/>
              <a:gd name="T39" fmla="*/ 171 h 260"/>
              <a:gd name="T40" fmla="*/ 147 w 229"/>
              <a:gd name="T41" fmla="*/ 211 h 260"/>
              <a:gd name="T42" fmla="*/ 229 w 229"/>
              <a:gd name="T43" fmla="*/ 211 h 260"/>
              <a:gd name="T44" fmla="*/ 229 w 229"/>
              <a:gd name="T45" fmla="*/ 49 h 260"/>
              <a:gd name="T46" fmla="*/ 0 w 229"/>
              <a:gd name="T47" fmla="*/ 260 h 260"/>
              <a:gd name="T48" fmla="*/ 82 w 229"/>
              <a:gd name="T49" fmla="*/ 260 h 260"/>
              <a:gd name="T50" fmla="*/ 82 w 229"/>
              <a:gd name="T51" fmla="*/ 227 h 260"/>
              <a:gd name="T52" fmla="*/ 0 w 229"/>
              <a:gd name="T53" fmla="*/ 227 h 260"/>
              <a:gd name="T54" fmla="*/ 0 w 229"/>
              <a:gd name="T55" fmla="*/ 260 h 260"/>
              <a:gd name="T56" fmla="*/ 147 w 229"/>
              <a:gd name="T57" fmla="*/ 227 h 260"/>
              <a:gd name="T58" fmla="*/ 147 w 229"/>
              <a:gd name="T59" fmla="*/ 260 h 260"/>
              <a:gd name="T60" fmla="*/ 229 w 229"/>
              <a:gd name="T61" fmla="*/ 260 h 260"/>
              <a:gd name="T62" fmla="*/ 229 w 229"/>
              <a:gd name="T63" fmla="*/ 227 h 260"/>
              <a:gd name="T64" fmla="*/ 147 w 229"/>
              <a:gd name="T65" fmla="*/ 22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9" h="260">
                <a:moveTo>
                  <a:pt x="74" y="32"/>
                </a:moveTo>
                <a:lnTo>
                  <a:pt x="8" y="32"/>
                </a:lnTo>
                <a:lnTo>
                  <a:pt x="8" y="0"/>
                </a:lnTo>
                <a:lnTo>
                  <a:pt x="74" y="0"/>
                </a:lnTo>
                <a:lnTo>
                  <a:pt x="74" y="32"/>
                </a:lnTo>
                <a:close/>
                <a:moveTo>
                  <a:pt x="221" y="0"/>
                </a:moveTo>
                <a:lnTo>
                  <a:pt x="155" y="0"/>
                </a:lnTo>
                <a:lnTo>
                  <a:pt x="155" y="32"/>
                </a:lnTo>
                <a:lnTo>
                  <a:pt x="221" y="32"/>
                </a:lnTo>
                <a:lnTo>
                  <a:pt x="221" y="0"/>
                </a:lnTo>
                <a:close/>
                <a:moveTo>
                  <a:pt x="229" y="49"/>
                </a:moveTo>
                <a:lnTo>
                  <a:pt x="147" y="49"/>
                </a:lnTo>
                <a:lnTo>
                  <a:pt x="147" y="89"/>
                </a:lnTo>
                <a:lnTo>
                  <a:pt x="82" y="89"/>
                </a:lnTo>
                <a:lnTo>
                  <a:pt x="82" y="49"/>
                </a:lnTo>
                <a:lnTo>
                  <a:pt x="0" y="49"/>
                </a:lnTo>
                <a:lnTo>
                  <a:pt x="0" y="211"/>
                </a:lnTo>
                <a:lnTo>
                  <a:pt x="82" y="211"/>
                </a:lnTo>
                <a:lnTo>
                  <a:pt x="82" y="171"/>
                </a:lnTo>
                <a:lnTo>
                  <a:pt x="147" y="171"/>
                </a:lnTo>
                <a:lnTo>
                  <a:pt x="147" y="211"/>
                </a:lnTo>
                <a:lnTo>
                  <a:pt x="229" y="211"/>
                </a:lnTo>
                <a:lnTo>
                  <a:pt x="229" y="49"/>
                </a:lnTo>
                <a:close/>
                <a:moveTo>
                  <a:pt x="0" y="260"/>
                </a:moveTo>
                <a:lnTo>
                  <a:pt x="82" y="260"/>
                </a:lnTo>
                <a:lnTo>
                  <a:pt x="82" y="227"/>
                </a:lnTo>
                <a:lnTo>
                  <a:pt x="0" y="227"/>
                </a:lnTo>
                <a:lnTo>
                  <a:pt x="0" y="260"/>
                </a:lnTo>
                <a:close/>
                <a:moveTo>
                  <a:pt x="147" y="227"/>
                </a:moveTo>
                <a:lnTo>
                  <a:pt x="147" y="260"/>
                </a:lnTo>
                <a:lnTo>
                  <a:pt x="229" y="260"/>
                </a:lnTo>
                <a:lnTo>
                  <a:pt x="229" y="227"/>
                </a:lnTo>
                <a:lnTo>
                  <a:pt x="147" y="22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1" name="Freeform 89">
            <a:extLst>
              <a:ext uri="{FF2B5EF4-FFF2-40B4-BE49-F238E27FC236}">
                <a16:creationId xmlns:a16="http://schemas.microsoft.com/office/drawing/2014/main" id="{3283CA07-FAA9-446B-8E6D-DF8874861A3E}"/>
              </a:ext>
            </a:extLst>
          </p:cNvPr>
          <p:cNvSpPr>
            <a:spLocks noEditPoints="1"/>
          </p:cNvSpPr>
          <p:nvPr/>
        </p:nvSpPr>
        <p:spPr bwMode="auto">
          <a:xfrm>
            <a:off x="7107366" y="3195060"/>
            <a:ext cx="414338" cy="412750"/>
          </a:xfrm>
          <a:custGeom>
            <a:avLst/>
            <a:gdLst>
              <a:gd name="T0" fmla="*/ 112 w 128"/>
              <a:gd name="T1" fmla="*/ 56 h 128"/>
              <a:gd name="T2" fmla="*/ 112 w 128"/>
              <a:gd name="T3" fmla="*/ 24 h 128"/>
              <a:gd name="T4" fmla="*/ 88 w 128"/>
              <a:gd name="T5" fmla="*/ 0 h 128"/>
              <a:gd name="T6" fmla="*/ 24 w 128"/>
              <a:gd name="T7" fmla="*/ 0 h 128"/>
              <a:gd name="T8" fmla="*/ 0 w 128"/>
              <a:gd name="T9" fmla="*/ 24 h 128"/>
              <a:gd name="T10" fmla="*/ 0 w 128"/>
              <a:gd name="T11" fmla="*/ 104 h 128"/>
              <a:gd name="T12" fmla="*/ 24 w 128"/>
              <a:gd name="T13" fmla="*/ 128 h 128"/>
              <a:gd name="T14" fmla="*/ 104 w 128"/>
              <a:gd name="T15" fmla="*/ 128 h 128"/>
              <a:gd name="T16" fmla="*/ 128 w 128"/>
              <a:gd name="T17" fmla="*/ 104 h 128"/>
              <a:gd name="T18" fmla="*/ 128 w 128"/>
              <a:gd name="T19" fmla="*/ 56 h 128"/>
              <a:gd name="T20" fmla="*/ 112 w 128"/>
              <a:gd name="T21" fmla="*/ 56 h 128"/>
              <a:gd name="T22" fmla="*/ 16 w 128"/>
              <a:gd name="T23" fmla="*/ 24 h 128"/>
              <a:gd name="T24" fmla="*/ 24 w 128"/>
              <a:gd name="T25" fmla="*/ 16 h 128"/>
              <a:gd name="T26" fmla="*/ 88 w 128"/>
              <a:gd name="T27" fmla="*/ 16 h 128"/>
              <a:gd name="T28" fmla="*/ 96 w 128"/>
              <a:gd name="T29" fmla="*/ 24 h 128"/>
              <a:gd name="T30" fmla="*/ 96 w 128"/>
              <a:gd name="T31" fmla="*/ 56 h 128"/>
              <a:gd name="T32" fmla="*/ 16 w 128"/>
              <a:gd name="T33" fmla="*/ 56 h 128"/>
              <a:gd name="T34" fmla="*/ 16 w 128"/>
              <a:gd name="T35" fmla="*/ 24 h 128"/>
              <a:gd name="T36" fmla="*/ 112 w 128"/>
              <a:gd name="T37" fmla="*/ 104 h 128"/>
              <a:gd name="T38" fmla="*/ 104 w 128"/>
              <a:gd name="T39" fmla="*/ 112 h 128"/>
              <a:gd name="T40" fmla="*/ 24 w 128"/>
              <a:gd name="T41" fmla="*/ 112 h 128"/>
              <a:gd name="T42" fmla="*/ 16 w 128"/>
              <a:gd name="T43" fmla="*/ 104 h 128"/>
              <a:gd name="T44" fmla="*/ 16 w 128"/>
              <a:gd name="T45" fmla="*/ 72 h 128"/>
              <a:gd name="T46" fmla="*/ 112 w 128"/>
              <a:gd name="T47" fmla="*/ 72 h 128"/>
              <a:gd name="T48" fmla="*/ 112 w 128"/>
              <a:gd name="T49"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28">
                <a:moveTo>
                  <a:pt x="112" y="56"/>
                </a:moveTo>
                <a:cubicBezTo>
                  <a:pt x="112" y="24"/>
                  <a:pt x="112" y="24"/>
                  <a:pt x="112" y="24"/>
                </a:cubicBezTo>
                <a:cubicBezTo>
                  <a:pt x="112" y="11"/>
                  <a:pt x="101" y="0"/>
                  <a:pt x="88" y="0"/>
                </a:cubicBezTo>
                <a:cubicBezTo>
                  <a:pt x="24" y="0"/>
                  <a:pt x="24" y="0"/>
                  <a:pt x="24" y="0"/>
                </a:cubicBezTo>
                <a:cubicBezTo>
                  <a:pt x="11" y="0"/>
                  <a:pt x="0" y="11"/>
                  <a:pt x="0" y="24"/>
                </a:cubicBezTo>
                <a:cubicBezTo>
                  <a:pt x="0" y="104"/>
                  <a:pt x="0" y="104"/>
                  <a:pt x="0" y="104"/>
                </a:cubicBezTo>
                <a:cubicBezTo>
                  <a:pt x="0" y="117"/>
                  <a:pt x="11" y="128"/>
                  <a:pt x="24" y="128"/>
                </a:cubicBezTo>
                <a:cubicBezTo>
                  <a:pt x="104" y="128"/>
                  <a:pt x="104" y="128"/>
                  <a:pt x="104" y="128"/>
                </a:cubicBezTo>
                <a:cubicBezTo>
                  <a:pt x="117" y="128"/>
                  <a:pt x="128" y="117"/>
                  <a:pt x="128" y="104"/>
                </a:cubicBezTo>
                <a:cubicBezTo>
                  <a:pt x="128" y="56"/>
                  <a:pt x="128" y="56"/>
                  <a:pt x="128" y="56"/>
                </a:cubicBezTo>
                <a:lnTo>
                  <a:pt x="112" y="56"/>
                </a:lnTo>
                <a:close/>
                <a:moveTo>
                  <a:pt x="16" y="24"/>
                </a:moveTo>
                <a:cubicBezTo>
                  <a:pt x="16" y="20"/>
                  <a:pt x="20" y="16"/>
                  <a:pt x="24" y="16"/>
                </a:cubicBezTo>
                <a:cubicBezTo>
                  <a:pt x="88" y="16"/>
                  <a:pt x="88" y="16"/>
                  <a:pt x="88" y="16"/>
                </a:cubicBezTo>
                <a:cubicBezTo>
                  <a:pt x="92" y="16"/>
                  <a:pt x="96" y="20"/>
                  <a:pt x="96" y="24"/>
                </a:cubicBezTo>
                <a:cubicBezTo>
                  <a:pt x="96" y="56"/>
                  <a:pt x="96" y="56"/>
                  <a:pt x="96" y="56"/>
                </a:cubicBezTo>
                <a:cubicBezTo>
                  <a:pt x="16" y="56"/>
                  <a:pt x="16" y="56"/>
                  <a:pt x="16" y="56"/>
                </a:cubicBezTo>
                <a:lnTo>
                  <a:pt x="16" y="24"/>
                </a:lnTo>
                <a:close/>
                <a:moveTo>
                  <a:pt x="112" y="104"/>
                </a:moveTo>
                <a:cubicBezTo>
                  <a:pt x="112" y="108"/>
                  <a:pt x="108" y="112"/>
                  <a:pt x="104" y="112"/>
                </a:cubicBezTo>
                <a:cubicBezTo>
                  <a:pt x="24" y="112"/>
                  <a:pt x="24" y="112"/>
                  <a:pt x="24" y="112"/>
                </a:cubicBezTo>
                <a:cubicBezTo>
                  <a:pt x="20" y="112"/>
                  <a:pt x="16" y="108"/>
                  <a:pt x="16" y="104"/>
                </a:cubicBezTo>
                <a:cubicBezTo>
                  <a:pt x="16" y="72"/>
                  <a:pt x="16" y="72"/>
                  <a:pt x="16" y="72"/>
                </a:cubicBezTo>
                <a:cubicBezTo>
                  <a:pt x="112" y="72"/>
                  <a:pt x="112" y="72"/>
                  <a:pt x="112" y="72"/>
                </a:cubicBezTo>
                <a:lnTo>
                  <a:pt x="112" y="1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2" name="Freeform 93">
            <a:extLst>
              <a:ext uri="{FF2B5EF4-FFF2-40B4-BE49-F238E27FC236}">
                <a16:creationId xmlns:a16="http://schemas.microsoft.com/office/drawing/2014/main" id="{C75E59CF-B619-43B3-AB1B-443A9A14AEC6}"/>
              </a:ext>
            </a:extLst>
          </p:cNvPr>
          <p:cNvSpPr>
            <a:spLocks noEditPoints="1"/>
          </p:cNvSpPr>
          <p:nvPr/>
        </p:nvSpPr>
        <p:spPr bwMode="auto">
          <a:xfrm>
            <a:off x="8243589" y="3195060"/>
            <a:ext cx="211137" cy="412750"/>
          </a:xfrm>
          <a:custGeom>
            <a:avLst/>
            <a:gdLst>
              <a:gd name="T0" fmla="*/ 116 w 133"/>
              <a:gd name="T1" fmla="*/ 16 h 260"/>
              <a:gd name="T2" fmla="*/ 116 w 133"/>
              <a:gd name="T3" fmla="*/ 223 h 260"/>
              <a:gd name="T4" fmla="*/ 66 w 133"/>
              <a:gd name="T5" fmla="*/ 177 h 260"/>
              <a:gd name="T6" fmla="*/ 17 w 133"/>
              <a:gd name="T7" fmla="*/ 223 h 260"/>
              <a:gd name="T8" fmla="*/ 17 w 133"/>
              <a:gd name="T9" fmla="*/ 16 h 260"/>
              <a:gd name="T10" fmla="*/ 116 w 133"/>
              <a:gd name="T11" fmla="*/ 16 h 260"/>
              <a:gd name="T12" fmla="*/ 133 w 133"/>
              <a:gd name="T13" fmla="*/ 0 h 260"/>
              <a:gd name="T14" fmla="*/ 0 w 133"/>
              <a:gd name="T15" fmla="*/ 0 h 260"/>
              <a:gd name="T16" fmla="*/ 0 w 133"/>
              <a:gd name="T17" fmla="*/ 260 h 260"/>
              <a:gd name="T18" fmla="*/ 66 w 133"/>
              <a:gd name="T19" fmla="*/ 199 h 260"/>
              <a:gd name="T20" fmla="*/ 133 w 133"/>
              <a:gd name="T21" fmla="*/ 260 h 260"/>
              <a:gd name="T22" fmla="*/ 133 w 133"/>
              <a:gd name="T23" fmla="*/ 0 h 260"/>
              <a:gd name="T24" fmla="*/ 133 w 133"/>
              <a:gd name="T25"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 h="260">
                <a:moveTo>
                  <a:pt x="116" y="16"/>
                </a:moveTo>
                <a:lnTo>
                  <a:pt x="116" y="223"/>
                </a:lnTo>
                <a:lnTo>
                  <a:pt x="66" y="177"/>
                </a:lnTo>
                <a:lnTo>
                  <a:pt x="17" y="223"/>
                </a:lnTo>
                <a:lnTo>
                  <a:pt x="17" y="16"/>
                </a:lnTo>
                <a:lnTo>
                  <a:pt x="116" y="16"/>
                </a:lnTo>
                <a:close/>
                <a:moveTo>
                  <a:pt x="133" y="0"/>
                </a:moveTo>
                <a:lnTo>
                  <a:pt x="0" y="0"/>
                </a:lnTo>
                <a:lnTo>
                  <a:pt x="0" y="260"/>
                </a:lnTo>
                <a:lnTo>
                  <a:pt x="66" y="199"/>
                </a:lnTo>
                <a:lnTo>
                  <a:pt x="133" y="260"/>
                </a:lnTo>
                <a:lnTo>
                  <a:pt x="133" y="0"/>
                </a:lnTo>
                <a:lnTo>
                  <a:pt x="13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3" name="Freeform 98">
            <a:extLst>
              <a:ext uri="{FF2B5EF4-FFF2-40B4-BE49-F238E27FC236}">
                <a16:creationId xmlns:a16="http://schemas.microsoft.com/office/drawing/2014/main" id="{1AE86409-F168-4571-BE22-0EA4C59CC5EF}"/>
              </a:ext>
            </a:extLst>
          </p:cNvPr>
          <p:cNvSpPr>
            <a:spLocks noEditPoints="1"/>
          </p:cNvSpPr>
          <p:nvPr/>
        </p:nvSpPr>
        <p:spPr bwMode="auto">
          <a:xfrm>
            <a:off x="6045566" y="4056572"/>
            <a:ext cx="425450" cy="407987"/>
          </a:xfrm>
          <a:custGeom>
            <a:avLst/>
            <a:gdLst>
              <a:gd name="T0" fmla="*/ 66 w 132"/>
              <a:gd name="T1" fmla="*/ 97 h 126"/>
              <a:gd name="T2" fmla="*/ 51 w 132"/>
              <a:gd name="T3" fmla="*/ 111 h 126"/>
              <a:gd name="T4" fmla="*/ 66 w 132"/>
              <a:gd name="T5" fmla="*/ 126 h 126"/>
              <a:gd name="T6" fmla="*/ 81 w 132"/>
              <a:gd name="T7" fmla="*/ 111 h 126"/>
              <a:gd name="T8" fmla="*/ 66 w 132"/>
              <a:gd name="T9" fmla="*/ 97 h 126"/>
              <a:gd name="T10" fmla="*/ 44 w 132"/>
              <a:gd name="T11" fmla="*/ 29 h 126"/>
              <a:gd name="T12" fmla="*/ 47 w 132"/>
              <a:gd name="T13" fmla="*/ 8 h 126"/>
              <a:gd name="T14" fmla="*/ 27 w 132"/>
              <a:gd name="T15" fmla="*/ 5 h 126"/>
              <a:gd name="T16" fmla="*/ 24 w 132"/>
              <a:gd name="T17" fmla="*/ 26 h 126"/>
              <a:gd name="T18" fmla="*/ 44 w 132"/>
              <a:gd name="T19" fmla="*/ 29 h 126"/>
              <a:gd name="T20" fmla="*/ 102 w 132"/>
              <a:gd name="T21" fmla="*/ 71 h 126"/>
              <a:gd name="T22" fmla="*/ 111 w 132"/>
              <a:gd name="T23" fmla="*/ 89 h 126"/>
              <a:gd name="T24" fmla="*/ 129 w 132"/>
              <a:gd name="T25" fmla="*/ 80 h 126"/>
              <a:gd name="T26" fmla="*/ 120 w 132"/>
              <a:gd name="T27" fmla="*/ 61 h 126"/>
              <a:gd name="T28" fmla="*/ 102 w 132"/>
              <a:gd name="T29" fmla="*/ 71 h 126"/>
              <a:gd name="T30" fmla="*/ 30 w 132"/>
              <a:gd name="T31" fmla="*/ 71 h 126"/>
              <a:gd name="T32" fmla="*/ 12 w 132"/>
              <a:gd name="T33" fmla="*/ 61 h 126"/>
              <a:gd name="T34" fmla="*/ 3 w 132"/>
              <a:gd name="T35" fmla="*/ 80 h 126"/>
              <a:gd name="T36" fmla="*/ 21 w 132"/>
              <a:gd name="T37" fmla="*/ 89 h 126"/>
              <a:gd name="T38" fmla="*/ 30 w 132"/>
              <a:gd name="T39" fmla="*/ 71 h 126"/>
              <a:gd name="T40" fmla="*/ 88 w 132"/>
              <a:gd name="T41" fmla="*/ 29 h 126"/>
              <a:gd name="T42" fmla="*/ 108 w 132"/>
              <a:gd name="T43" fmla="*/ 26 h 126"/>
              <a:gd name="T44" fmla="*/ 105 w 132"/>
              <a:gd name="T45" fmla="*/ 5 h 126"/>
              <a:gd name="T46" fmla="*/ 85 w 132"/>
              <a:gd name="T47" fmla="*/ 8 h 126"/>
              <a:gd name="T48" fmla="*/ 88 w 132"/>
              <a:gd name="T49" fmla="*/ 29 h 126"/>
              <a:gd name="T50" fmla="*/ 114 w 132"/>
              <a:gd name="T51" fmla="*/ 30 h 126"/>
              <a:gd name="T52" fmla="*/ 108 w 132"/>
              <a:gd name="T53" fmla="*/ 36 h 126"/>
              <a:gd name="T54" fmla="*/ 114 w 132"/>
              <a:gd name="T55" fmla="*/ 53 h 126"/>
              <a:gd name="T56" fmla="*/ 122 w 132"/>
              <a:gd name="T57" fmla="*/ 54 h 126"/>
              <a:gd name="T58" fmla="*/ 114 w 132"/>
              <a:gd name="T59" fmla="*/ 30 h 126"/>
              <a:gd name="T60" fmla="*/ 18 w 132"/>
              <a:gd name="T61" fmla="*/ 30 h 126"/>
              <a:gd name="T62" fmla="*/ 10 w 132"/>
              <a:gd name="T63" fmla="*/ 54 h 126"/>
              <a:gd name="T64" fmla="*/ 18 w 132"/>
              <a:gd name="T65" fmla="*/ 53 h 126"/>
              <a:gd name="T66" fmla="*/ 24 w 132"/>
              <a:gd name="T67" fmla="*/ 36 h 126"/>
              <a:gd name="T68" fmla="*/ 18 w 132"/>
              <a:gd name="T69" fmla="*/ 30 h 126"/>
              <a:gd name="T70" fmla="*/ 24 w 132"/>
              <a:gd name="T71" fmla="*/ 96 h 126"/>
              <a:gd name="T72" fmla="*/ 44 w 132"/>
              <a:gd name="T73" fmla="*/ 111 h 126"/>
              <a:gd name="T74" fmla="*/ 46 w 132"/>
              <a:gd name="T75" fmla="*/ 103 h 126"/>
              <a:gd name="T76" fmla="*/ 31 w 132"/>
              <a:gd name="T77" fmla="*/ 92 h 126"/>
              <a:gd name="T78" fmla="*/ 24 w 132"/>
              <a:gd name="T79" fmla="*/ 96 h 126"/>
              <a:gd name="T80" fmla="*/ 86 w 132"/>
              <a:gd name="T81" fmla="*/ 103 h 126"/>
              <a:gd name="T82" fmla="*/ 88 w 132"/>
              <a:gd name="T83" fmla="*/ 111 h 126"/>
              <a:gd name="T84" fmla="*/ 108 w 132"/>
              <a:gd name="T85" fmla="*/ 96 h 126"/>
              <a:gd name="T86" fmla="*/ 101 w 132"/>
              <a:gd name="T87" fmla="*/ 92 h 126"/>
              <a:gd name="T88" fmla="*/ 86 w 132"/>
              <a:gd name="T89" fmla="*/ 103 h 126"/>
              <a:gd name="T90" fmla="*/ 53 w 132"/>
              <a:gd name="T91" fmla="*/ 4 h 126"/>
              <a:gd name="T92" fmla="*/ 57 w 132"/>
              <a:gd name="T93" fmla="*/ 12 h 126"/>
              <a:gd name="T94" fmla="*/ 66 w 132"/>
              <a:gd name="T95" fmla="*/ 11 h 126"/>
              <a:gd name="T96" fmla="*/ 75 w 132"/>
              <a:gd name="T97" fmla="*/ 12 h 126"/>
              <a:gd name="T98" fmla="*/ 79 w 132"/>
              <a:gd name="T99" fmla="*/ 4 h 126"/>
              <a:gd name="T100" fmla="*/ 66 w 132"/>
              <a:gd name="T101" fmla="*/ 3 h 126"/>
              <a:gd name="T102" fmla="*/ 53 w 132"/>
              <a:gd name="T103" fmla="*/ 4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32" h="126">
                <a:moveTo>
                  <a:pt x="66" y="97"/>
                </a:moveTo>
                <a:cubicBezTo>
                  <a:pt x="58" y="97"/>
                  <a:pt x="51" y="103"/>
                  <a:pt x="51" y="111"/>
                </a:cubicBezTo>
                <a:cubicBezTo>
                  <a:pt x="51" y="119"/>
                  <a:pt x="58" y="126"/>
                  <a:pt x="66" y="126"/>
                </a:cubicBezTo>
                <a:cubicBezTo>
                  <a:pt x="74" y="126"/>
                  <a:pt x="81" y="119"/>
                  <a:pt x="81" y="111"/>
                </a:cubicBezTo>
                <a:cubicBezTo>
                  <a:pt x="81" y="103"/>
                  <a:pt x="74" y="97"/>
                  <a:pt x="66" y="97"/>
                </a:cubicBezTo>
                <a:close/>
                <a:moveTo>
                  <a:pt x="44" y="29"/>
                </a:moveTo>
                <a:cubicBezTo>
                  <a:pt x="50" y="24"/>
                  <a:pt x="52" y="15"/>
                  <a:pt x="47" y="8"/>
                </a:cubicBezTo>
                <a:cubicBezTo>
                  <a:pt x="42" y="2"/>
                  <a:pt x="33" y="0"/>
                  <a:pt x="27" y="5"/>
                </a:cubicBezTo>
                <a:cubicBezTo>
                  <a:pt x="20" y="10"/>
                  <a:pt x="19" y="19"/>
                  <a:pt x="24" y="26"/>
                </a:cubicBezTo>
                <a:cubicBezTo>
                  <a:pt x="28" y="32"/>
                  <a:pt x="37" y="33"/>
                  <a:pt x="44" y="29"/>
                </a:cubicBezTo>
                <a:close/>
                <a:moveTo>
                  <a:pt x="102" y="71"/>
                </a:moveTo>
                <a:cubicBezTo>
                  <a:pt x="99" y="78"/>
                  <a:pt x="103" y="86"/>
                  <a:pt x="111" y="89"/>
                </a:cubicBezTo>
                <a:cubicBezTo>
                  <a:pt x="119" y="91"/>
                  <a:pt x="127" y="87"/>
                  <a:pt x="129" y="80"/>
                </a:cubicBezTo>
                <a:cubicBezTo>
                  <a:pt x="132" y="72"/>
                  <a:pt x="128" y="64"/>
                  <a:pt x="120" y="61"/>
                </a:cubicBezTo>
                <a:cubicBezTo>
                  <a:pt x="112" y="59"/>
                  <a:pt x="104" y="63"/>
                  <a:pt x="102" y="71"/>
                </a:cubicBezTo>
                <a:close/>
                <a:moveTo>
                  <a:pt x="30" y="71"/>
                </a:moveTo>
                <a:cubicBezTo>
                  <a:pt x="28" y="63"/>
                  <a:pt x="20" y="59"/>
                  <a:pt x="12" y="61"/>
                </a:cubicBezTo>
                <a:cubicBezTo>
                  <a:pt x="4" y="64"/>
                  <a:pt x="0" y="72"/>
                  <a:pt x="3" y="80"/>
                </a:cubicBezTo>
                <a:cubicBezTo>
                  <a:pt x="5" y="87"/>
                  <a:pt x="13" y="91"/>
                  <a:pt x="21" y="89"/>
                </a:cubicBezTo>
                <a:cubicBezTo>
                  <a:pt x="29" y="86"/>
                  <a:pt x="33" y="78"/>
                  <a:pt x="30" y="71"/>
                </a:cubicBezTo>
                <a:close/>
                <a:moveTo>
                  <a:pt x="88" y="29"/>
                </a:moveTo>
                <a:cubicBezTo>
                  <a:pt x="95" y="33"/>
                  <a:pt x="104" y="32"/>
                  <a:pt x="108" y="26"/>
                </a:cubicBezTo>
                <a:cubicBezTo>
                  <a:pt x="113" y="19"/>
                  <a:pt x="112" y="10"/>
                  <a:pt x="105" y="5"/>
                </a:cubicBezTo>
                <a:cubicBezTo>
                  <a:pt x="99" y="0"/>
                  <a:pt x="90" y="2"/>
                  <a:pt x="85" y="8"/>
                </a:cubicBezTo>
                <a:cubicBezTo>
                  <a:pt x="80" y="15"/>
                  <a:pt x="82" y="24"/>
                  <a:pt x="88" y="29"/>
                </a:cubicBezTo>
                <a:close/>
                <a:moveTo>
                  <a:pt x="114" y="30"/>
                </a:moveTo>
                <a:cubicBezTo>
                  <a:pt x="112" y="33"/>
                  <a:pt x="110" y="34"/>
                  <a:pt x="108" y="36"/>
                </a:cubicBezTo>
                <a:cubicBezTo>
                  <a:pt x="111" y="41"/>
                  <a:pt x="113" y="47"/>
                  <a:pt x="114" y="53"/>
                </a:cubicBezTo>
                <a:cubicBezTo>
                  <a:pt x="116" y="53"/>
                  <a:pt x="119" y="53"/>
                  <a:pt x="122" y="54"/>
                </a:cubicBezTo>
                <a:cubicBezTo>
                  <a:pt x="121" y="45"/>
                  <a:pt x="118" y="37"/>
                  <a:pt x="114" y="30"/>
                </a:cubicBezTo>
                <a:close/>
                <a:moveTo>
                  <a:pt x="18" y="30"/>
                </a:moveTo>
                <a:cubicBezTo>
                  <a:pt x="14" y="37"/>
                  <a:pt x="11" y="45"/>
                  <a:pt x="10" y="54"/>
                </a:cubicBezTo>
                <a:cubicBezTo>
                  <a:pt x="13" y="53"/>
                  <a:pt x="16" y="53"/>
                  <a:pt x="18" y="53"/>
                </a:cubicBezTo>
                <a:cubicBezTo>
                  <a:pt x="19" y="47"/>
                  <a:pt x="21" y="41"/>
                  <a:pt x="24" y="36"/>
                </a:cubicBezTo>
                <a:cubicBezTo>
                  <a:pt x="22" y="34"/>
                  <a:pt x="20" y="33"/>
                  <a:pt x="18" y="30"/>
                </a:cubicBezTo>
                <a:close/>
                <a:moveTo>
                  <a:pt x="24" y="96"/>
                </a:moveTo>
                <a:cubicBezTo>
                  <a:pt x="29" y="102"/>
                  <a:pt x="36" y="107"/>
                  <a:pt x="44" y="111"/>
                </a:cubicBezTo>
                <a:cubicBezTo>
                  <a:pt x="44" y="108"/>
                  <a:pt x="45" y="105"/>
                  <a:pt x="46" y="103"/>
                </a:cubicBezTo>
                <a:cubicBezTo>
                  <a:pt x="40" y="100"/>
                  <a:pt x="35" y="96"/>
                  <a:pt x="31" y="92"/>
                </a:cubicBezTo>
                <a:cubicBezTo>
                  <a:pt x="29" y="94"/>
                  <a:pt x="27" y="95"/>
                  <a:pt x="24" y="96"/>
                </a:cubicBezTo>
                <a:close/>
                <a:moveTo>
                  <a:pt x="86" y="103"/>
                </a:moveTo>
                <a:cubicBezTo>
                  <a:pt x="87" y="105"/>
                  <a:pt x="88" y="108"/>
                  <a:pt x="88" y="111"/>
                </a:cubicBezTo>
                <a:cubicBezTo>
                  <a:pt x="96" y="107"/>
                  <a:pt x="103" y="102"/>
                  <a:pt x="108" y="96"/>
                </a:cubicBezTo>
                <a:cubicBezTo>
                  <a:pt x="105" y="95"/>
                  <a:pt x="103" y="94"/>
                  <a:pt x="101" y="92"/>
                </a:cubicBezTo>
                <a:cubicBezTo>
                  <a:pt x="97" y="96"/>
                  <a:pt x="92" y="100"/>
                  <a:pt x="86" y="103"/>
                </a:cubicBezTo>
                <a:close/>
                <a:moveTo>
                  <a:pt x="53" y="4"/>
                </a:moveTo>
                <a:cubicBezTo>
                  <a:pt x="55" y="7"/>
                  <a:pt x="56" y="9"/>
                  <a:pt x="57" y="12"/>
                </a:cubicBezTo>
                <a:cubicBezTo>
                  <a:pt x="60" y="11"/>
                  <a:pt x="63" y="11"/>
                  <a:pt x="66" y="11"/>
                </a:cubicBezTo>
                <a:cubicBezTo>
                  <a:pt x="69" y="11"/>
                  <a:pt x="72" y="11"/>
                  <a:pt x="75" y="12"/>
                </a:cubicBezTo>
                <a:cubicBezTo>
                  <a:pt x="76" y="9"/>
                  <a:pt x="77" y="7"/>
                  <a:pt x="79" y="4"/>
                </a:cubicBezTo>
                <a:cubicBezTo>
                  <a:pt x="74" y="4"/>
                  <a:pt x="70" y="3"/>
                  <a:pt x="66" y="3"/>
                </a:cubicBezTo>
                <a:cubicBezTo>
                  <a:pt x="62" y="3"/>
                  <a:pt x="58" y="4"/>
                  <a:pt x="53" y="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4" name="Freeform 102">
            <a:extLst>
              <a:ext uri="{FF2B5EF4-FFF2-40B4-BE49-F238E27FC236}">
                <a16:creationId xmlns:a16="http://schemas.microsoft.com/office/drawing/2014/main" id="{9A1F6C2E-6393-41A1-852B-94C28E36394A}"/>
              </a:ext>
            </a:extLst>
          </p:cNvPr>
          <p:cNvSpPr>
            <a:spLocks noEditPoints="1"/>
          </p:cNvSpPr>
          <p:nvPr/>
        </p:nvSpPr>
        <p:spPr bwMode="auto">
          <a:xfrm>
            <a:off x="7108160" y="4113722"/>
            <a:ext cx="412750" cy="350837"/>
          </a:xfrm>
          <a:custGeom>
            <a:avLst/>
            <a:gdLst>
              <a:gd name="T0" fmla="*/ 195 w 260"/>
              <a:gd name="T1" fmla="*/ 49 h 221"/>
              <a:gd name="T2" fmla="*/ 195 w 260"/>
              <a:gd name="T3" fmla="*/ 0 h 221"/>
              <a:gd name="T4" fmla="*/ 65 w 260"/>
              <a:gd name="T5" fmla="*/ 0 h 221"/>
              <a:gd name="T6" fmla="*/ 65 w 260"/>
              <a:gd name="T7" fmla="*/ 49 h 221"/>
              <a:gd name="T8" fmla="*/ 0 w 260"/>
              <a:gd name="T9" fmla="*/ 49 h 221"/>
              <a:gd name="T10" fmla="*/ 0 w 260"/>
              <a:gd name="T11" fmla="*/ 221 h 221"/>
              <a:gd name="T12" fmla="*/ 260 w 260"/>
              <a:gd name="T13" fmla="*/ 221 h 221"/>
              <a:gd name="T14" fmla="*/ 260 w 260"/>
              <a:gd name="T15" fmla="*/ 49 h 221"/>
              <a:gd name="T16" fmla="*/ 195 w 260"/>
              <a:gd name="T17" fmla="*/ 49 h 221"/>
              <a:gd name="T18" fmla="*/ 81 w 260"/>
              <a:gd name="T19" fmla="*/ 16 h 221"/>
              <a:gd name="T20" fmla="*/ 179 w 260"/>
              <a:gd name="T21" fmla="*/ 16 h 221"/>
              <a:gd name="T22" fmla="*/ 179 w 260"/>
              <a:gd name="T23" fmla="*/ 49 h 221"/>
              <a:gd name="T24" fmla="*/ 81 w 260"/>
              <a:gd name="T25" fmla="*/ 49 h 221"/>
              <a:gd name="T26" fmla="*/ 81 w 260"/>
              <a:gd name="T27" fmla="*/ 16 h 221"/>
              <a:gd name="T28" fmla="*/ 65 w 260"/>
              <a:gd name="T29" fmla="*/ 65 h 221"/>
              <a:gd name="T30" fmla="*/ 195 w 260"/>
              <a:gd name="T31" fmla="*/ 65 h 221"/>
              <a:gd name="T32" fmla="*/ 244 w 260"/>
              <a:gd name="T33" fmla="*/ 65 h 221"/>
              <a:gd name="T34" fmla="*/ 244 w 260"/>
              <a:gd name="T35" fmla="*/ 115 h 221"/>
              <a:gd name="T36" fmla="*/ 16 w 260"/>
              <a:gd name="T37" fmla="*/ 115 h 221"/>
              <a:gd name="T38" fmla="*/ 16 w 260"/>
              <a:gd name="T39" fmla="*/ 65 h 221"/>
              <a:gd name="T40" fmla="*/ 65 w 260"/>
              <a:gd name="T41" fmla="*/ 65 h 221"/>
              <a:gd name="T42" fmla="*/ 16 w 260"/>
              <a:gd name="T43" fmla="*/ 205 h 221"/>
              <a:gd name="T44" fmla="*/ 16 w 260"/>
              <a:gd name="T45" fmla="*/ 131 h 221"/>
              <a:gd name="T46" fmla="*/ 106 w 260"/>
              <a:gd name="T47" fmla="*/ 131 h 221"/>
              <a:gd name="T48" fmla="*/ 106 w 260"/>
              <a:gd name="T49" fmla="*/ 156 h 221"/>
              <a:gd name="T50" fmla="*/ 154 w 260"/>
              <a:gd name="T51" fmla="*/ 156 h 221"/>
              <a:gd name="T52" fmla="*/ 154 w 260"/>
              <a:gd name="T53" fmla="*/ 131 h 221"/>
              <a:gd name="T54" fmla="*/ 244 w 260"/>
              <a:gd name="T55" fmla="*/ 131 h 221"/>
              <a:gd name="T56" fmla="*/ 244 w 260"/>
              <a:gd name="T57" fmla="*/ 205 h 221"/>
              <a:gd name="T58" fmla="*/ 16 w 260"/>
              <a:gd name="T59" fmla="*/ 205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0" h="221">
                <a:moveTo>
                  <a:pt x="195" y="49"/>
                </a:moveTo>
                <a:lnTo>
                  <a:pt x="195" y="0"/>
                </a:lnTo>
                <a:lnTo>
                  <a:pt x="65" y="0"/>
                </a:lnTo>
                <a:lnTo>
                  <a:pt x="65" y="49"/>
                </a:lnTo>
                <a:lnTo>
                  <a:pt x="0" y="49"/>
                </a:lnTo>
                <a:lnTo>
                  <a:pt x="0" y="221"/>
                </a:lnTo>
                <a:lnTo>
                  <a:pt x="260" y="221"/>
                </a:lnTo>
                <a:lnTo>
                  <a:pt x="260" y="49"/>
                </a:lnTo>
                <a:lnTo>
                  <a:pt x="195" y="49"/>
                </a:lnTo>
                <a:close/>
                <a:moveTo>
                  <a:pt x="81" y="16"/>
                </a:moveTo>
                <a:lnTo>
                  <a:pt x="179" y="16"/>
                </a:lnTo>
                <a:lnTo>
                  <a:pt x="179" y="49"/>
                </a:lnTo>
                <a:lnTo>
                  <a:pt x="81" y="49"/>
                </a:lnTo>
                <a:lnTo>
                  <a:pt x="81" y="16"/>
                </a:lnTo>
                <a:close/>
                <a:moveTo>
                  <a:pt x="65" y="65"/>
                </a:moveTo>
                <a:lnTo>
                  <a:pt x="195" y="65"/>
                </a:lnTo>
                <a:lnTo>
                  <a:pt x="244" y="65"/>
                </a:lnTo>
                <a:lnTo>
                  <a:pt x="244" y="115"/>
                </a:lnTo>
                <a:lnTo>
                  <a:pt x="16" y="115"/>
                </a:lnTo>
                <a:lnTo>
                  <a:pt x="16" y="65"/>
                </a:lnTo>
                <a:lnTo>
                  <a:pt x="65" y="65"/>
                </a:lnTo>
                <a:close/>
                <a:moveTo>
                  <a:pt x="16" y="205"/>
                </a:moveTo>
                <a:lnTo>
                  <a:pt x="16" y="131"/>
                </a:lnTo>
                <a:lnTo>
                  <a:pt x="106" y="131"/>
                </a:lnTo>
                <a:lnTo>
                  <a:pt x="106" y="156"/>
                </a:lnTo>
                <a:lnTo>
                  <a:pt x="154" y="156"/>
                </a:lnTo>
                <a:lnTo>
                  <a:pt x="154" y="131"/>
                </a:lnTo>
                <a:lnTo>
                  <a:pt x="244" y="131"/>
                </a:lnTo>
                <a:lnTo>
                  <a:pt x="244" y="205"/>
                </a:lnTo>
                <a:lnTo>
                  <a:pt x="16" y="20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5" name="Freeform 106">
            <a:extLst>
              <a:ext uri="{FF2B5EF4-FFF2-40B4-BE49-F238E27FC236}">
                <a16:creationId xmlns:a16="http://schemas.microsoft.com/office/drawing/2014/main" id="{4C25BEC8-E2CD-4A90-82C8-D1A8207D7AAC}"/>
              </a:ext>
            </a:extLst>
          </p:cNvPr>
          <p:cNvSpPr>
            <a:spLocks noEditPoints="1"/>
          </p:cNvSpPr>
          <p:nvPr/>
        </p:nvSpPr>
        <p:spPr bwMode="auto">
          <a:xfrm>
            <a:off x="8161039" y="4050221"/>
            <a:ext cx="376238" cy="414338"/>
          </a:xfrm>
          <a:custGeom>
            <a:avLst/>
            <a:gdLst>
              <a:gd name="T0" fmla="*/ 60 w 116"/>
              <a:gd name="T1" fmla="*/ 20 h 128"/>
              <a:gd name="T2" fmla="*/ 56 w 116"/>
              <a:gd name="T3" fmla="*/ 20 h 128"/>
              <a:gd name="T4" fmla="*/ 56 w 116"/>
              <a:gd name="T5" fmla="*/ 0 h 128"/>
              <a:gd name="T6" fmla="*/ 60 w 116"/>
              <a:gd name="T7" fmla="*/ 0 h 128"/>
              <a:gd name="T8" fmla="*/ 60 w 116"/>
              <a:gd name="T9" fmla="*/ 20 h 128"/>
              <a:gd name="T10" fmla="*/ 94 w 116"/>
              <a:gd name="T11" fmla="*/ 10 h 128"/>
              <a:gd name="T12" fmla="*/ 91 w 116"/>
              <a:gd name="T13" fmla="*/ 8 h 128"/>
              <a:gd name="T14" fmla="*/ 80 w 116"/>
              <a:gd name="T15" fmla="*/ 25 h 128"/>
              <a:gd name="T16" fmla="*/ 83 w 116"/>
              <a:gd name="T17" fmla="*/ 27 h 128"/>
              <a:gd name="T18" fmla="*/ 94 w 116"/>
              <a:gd name="T19" fmla="*/ 10 h 128"/>
              <a:gd name="T20" fmla="*/ 116 w 116"/>
              <a:gd name="T21" fmla="*/ 38 h 128"/>
              <a:gd name="T22" fmla="*/ 114 w 116"/>
              <a:gd name="T23" fmla="*/ 35 h 128"/>
              <a:gd name="T24" fmla="*/ 96 w 116"/>
              <a:gd name="T25" fmla="*/ 42 h 128"/>
              <a:gd name="T26" fmla="*/ 97 w 116"/>
              <a:gd name="T27" fmla="*/ 45 h 128"/>
              <a:gd name="T28" fmla="*/ 116 w 116"/>
              <a:gd name="T29" fmla="*/ 38 h 128"/>
              <a:gd name="T30" fmla="*/ 37 w 116"/>
              <a:gd name="T31" fmla="*/ 24 h 128"/>
              <a:gd name="T32" fmla="*/ 25 w 116"/>
              <a:gd name="T33" fmla="*/ 8 h 128"/>
              <a:gd name="T34" fmla="*/ 22 w 116"/>
              <a:gd name="T35" fmla="*/ 10 h 128"/>
              <a:gd name="T36" fmla="*/ 33 w 116"/>
              <a:gd name="T37" fmla="*/ 27 h 128"/>
              <a:gd name="T38" fmla="*/ 37 w 116"/>
              <a:gd name="T39" fmla="*/ 24 h 128"/>
              <a:gd name="T40" fmla="*/ 20 w 116"/>
              <a:gd name="T41" fmla="*/ 42 h 128"/>
              <a:gd name="T42" fmla="*/ 2 w 116"/>
              <a:gd name="T43" fmla="*/ 35 h 128"/>
              <a:gd name="T44" fmla="*/ 0 w 116"/>
              <a:gd name="T45" fmla="*/ 38 h 128"/>
              <a:gd name="T46" fmla="*/ 19 w 116"/>
              <a:gd name="T47" fmla="*/ 45 h 128"/>
              <a:gd name="T48" fmla="*/ 20 w 116"/>
              <a:gd name="T49" fmla="*/ 42 h 128"/>
              <a:gd name="T50" fmla="*/ 94 w 116"/>
              <a:gd name="T51" fmla="*/ 56 h 128"/>
              <a:gd name="T52" fmla="*/ 86 w 116"/>
              <a:gd name="T53" fmla="*/ 76 h 128"/>
              <a:gd name="T54" fmla="*/ 74 w 116"/>
              <a:gd name="T55" fmla="*/ 108 h 128"/>
              <a:gd name="T56" fmla="*/ 42 w 116"/>
              <a:gd name="T57" fmla="*/ 108 h 128"/>
              <a:gd name="T58" fmla="*/ 31 w 116"/>
              <a:gd name="T59" fmla="*/ 79 h 128"/>
              <a:gd name="T60" fmla="*/ 22 w 116"/>
              <a:gd name="T61" fmla="*/ 56 h 128"/>
              <a:gd name="T62" fmla="*/ 58 w 116"/>
              <a:gd name="T63" fmla="*/ 24 h 128"/>
              <a:gd name="T64" fmla="*/ 94 w 116"/>
              <a:gd name="T65" fmla="*/ 56 h 128"/>
              <a:gd name="T66" fmla="*/ 86 w 116"/>
              <a:gd name="T67" fmla="*/ 56 h 128"/>
              <a:gd name="T68" fmla="*/ 58 w 116"/>
              <a:gd name="T69" fmla="*/ 32 h 128"/>
              <a:gd name="T70" fmla="*/ 30 w 116"/>
              <a:gd name="T71" fmla="*/ 56 h 128"/>
              <a:gd name="T72" fmla="*/ 38 w 116"/>
              <a:gd name="T73" fmla="*/ 74 h 128"/>
              <a:gd name="T74" fmla="*/ 49 w 116"/>
              <a:gd name="T75" fmla="*/ 100 h 128"/>
              <a:gd name="T76" fmla="*/ 67 w 116"/>
              <a:gd name="T77" fmla="*/ 100 h 128"/>
              <a:gd name="T78" fmla="*/ 79 w 116"/>
              <a:gd name="T79" fmla="*/ 72 h 128"/>
              <a:gd name="T80" fmla="*/ 86 w 116"/>
              <a:gd name="T81" fmla="*/ 56 h 128"/>
              <a:gd name="T82" fmla="*/ 74 w 116"/>
              <a:gd name="T83" fmla="*/ 112 h 128"/>
              <a:gd name="T84" fmla="*/ 42 w 116"/>
              <a:gd name="T85" fmla="*/ 112 h 128"/>
              <a:gd name="T86" fmla="*/ 42 w 116"/>
              <a:gd name="T87" fmla="*/ 128 h 128"/>
              <a:gd name="T88" fmla="*/ 74 w 116"/>
              <a:gd name="T89" fmla="*/ 128 h 128"/>
              <a:gd name="T90" fmla="*/ 74 w 116"/>
              <a:gd name="T91"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6" h="128">
                <a:moveTo>
                  <a:pt x="60" y="20"/>
                </a:moveTo>
                <a:cubicBezTo>
                  <a:pt x="56" y="20"/>
                  <a:pt x="56" y="20"/>
                  <a:pt x="56" y="20"/>
                </a:cubicBezTo>
                <a:cubicBezTo>
                  <a:pt x="56" y="0"/>
                  <a:pt x="56" y="0"/>
                  <a:pt x="56" y="0"/>
                </a:cubicBezTo>
                <a:cubicBezTo>
                  <a:pt x="60" y="0"/>
                  <a:pt x="60" y="0"/>
                  <a:pt x="60" y="0"/>
                </a:cubicBezTo>
                <a:lnTo>
                  <a:pt x="60" y="20"/>
                </a:lnTo>
                <a:close/>
                <a:moveTo>
                  <a:pt x="94" y="10"/>
                </a:moveTo>
                <a:cubicBezTo>
                  <a:pt x="91" y="8"/>
                  <a:pt x="91" y="8"/>
                  <a:pt x="91" y="8"/>
                </a:cubicBezTo>
                <a:cubicBezTo>
                  <a:pt x="80" y="25"/>
                  <a:pt x="80" y="25"/>
                  <a:pt x="80" y="25"/>
                </a:cubicBezTo>
                <a:cubicBezTo>
                  <a:pt x="83" y="27"/>
                  <a:pt x="83" y="27"/>
                  <a:pt x="83" y="27"/>
                </a:cubicBezTo>
                <a:lnTo>
                  <a:pt x="94" y="10"/>
                </a:lnTo>
                <a:close/>
                <a:moveTo>
                  <a:pt x="116" y="38"/>
                </a:moveTo>
                <a:cubicBezTo>
                  <a:pt x="114" y="35"/>
                  <a:pt x="114" y="35"/>
                  <a:pt x="114" y="35"/>
                </a:cubicBezTo>
                <a:cubicBezTo>
                  <a:pt x="96" y="42"/>
                  <a:pt x="96" y="42"/>
                  <a:pt x="96" y="42"/>
                </a:cubicBezTo>
                <a:cubicBezTo>
                  <a:pt x="97" y="45"/>
                  <a:pt x="97" y="45"/>
                  <a:pt x="97" y="45"/>
                </a:cubicBezTo>
                <a:lnTo>
                  <a:pt x="116" y="38"/>
                </a:lnTo>
                <a:close/>
                <a:moveTo>
                  <a:pt x="37" y="24"/>
                </a:moveTo>
                <a:cubicBezTo>
                  <a:pt x="25" y="8"/>
                  <a:pt x="25" y="8"/>
                  <a:pt x="25" y="8"/>
                </a:cubicBezTo>
                <a:cubicBezTo>
                  <a:pt x="22" y="10"/>
                  <a:pt x="22" y="10"/>
                  <a:pt x="22" y="10"/>
                </a:cubicBezTo>
                <a:cubicBezTo>
                  <a:pt x="33" y="27"/>
                  <a:pt x="33" y="27"/>
                  <a:pt x="33" y="27"/>
                </a:cubicBezTo>
                <a:lnTo>
                  <a:pt x="37" y="24"/>
                </a:lnTo>
                <a:close/>
                <a:moveTo>
                  <a:pt x="20" y="42"/>
                </a:moveTo>
                <a:cubicBezTo>
                  <a:pt x="2" y="35"/>
                  <a:pt x="2" y="35"/>
                  <a:pt x="2" y="35"/>
                </a:cubicBezTo>
                <a:cubicBezTo>
                  <a:pt x="0" y="38"/>
                  <a:pt x="0" y="38"/>
                  <a:pt x="0" y="38"/>
                </a:cubicBezTo>
                <a:cubicBezTo>
                  <a:pt x="19" y="45"/>
                  <a:pt x="19" y="45"/>
                  <a:pt x="19" y="45"/>
                </a:cubicBezTo>
                <a:lnTo>
                  <a:pt x="20" y="42"/>
                </a:lnTo>
                <a:close/>
                <a:moveTo>
                  <a:pt x="94" y="56"/>
                </a:moveTo>
                <a:cubicBezTo>
                  <a:pt x="94" y="64"/>
                  <a:pt x="90" y="70"/>
                  <a:pt x="86" y="76"/>
                </a:cubicBezTo>
                <a:cubicBezTo>
                  <a:pt x="80" y="84"/>
                  <a:pt x="74" y="93"/>
                  <a:pt x="74" y="108"/>
                </a:cubicBezTo>
                <a:cubicBezTo>
                  <a:pt x="42" y="108"/>
                  <a:pt x="42" y="108"/>
                  <a:pt x="42" y="108"/>
                </a:cubicBezTo>
                <a:cubicBezTo>
                  <a:pt x="42" y="96"/>
                  <a:pt x="37" y="87"/>
                  <a:pt x="31" y="79"/>
                </a:cubicBezTo>
                <a:cubicBezTo>
                  <a:pt x="27" y="71"/>
                  <a:pt x="22" y="64"/>
                  <a:pt x="22" y="56"/>
                </a:cubicBezTo>
                <a:cubicBezTo>
                  <a:pt x="22" y="38"/>
                  <a:pt x="38" y="24"/>
                  <a:pt x="58" y="24"/>
                </a:cubicBezTo>
                <a:cubicBezTo>
                  <a:pt x="78" y="24"/>
                  <a:pt x="94" y="38"/>
                  <a:pt x="94" y="56"/>
                </a:cubicBezTo>
                <a:close/>
                <a:moveTo>
                  <a:pt x="86" y="56"/>
                </a:moveTo>
                <a:cubicBezTo>
                  <a:pt x="86" y="43"/>
                  <a:pt x="74" y="32"/>
                  <a:pt x="58" y="32"/>
                </a:cubicBezTo>
                <a:cubicBezTo>
                  <a:pt x="43" y="32"/>
                  <a:pt x="30" y="43"/>
                  <a:pt x="30" y="56"/>
                </a:cubicBezTo>
                <a:cubicBezTo>
                  <a:pt x="30" y="62"/>
                  <a:pt x="34" y="68"/>
                  <a:pt x="38" y="74"/>
                </a:cubicBezTo>
                <a:cubicBezTo>
                  <a:pt x="42" y="82"/>
                  <a:pt x="47" y="90"/>
                  <a:pt x="49" y="100"/>
                </a:cubicBezTo>
                <a:cubicBezTo>
                  <a:pt x="67" y="100"/>
                  <a:pt x="67" y="100"/>
                  <a:pt x="67" y="100"/>
                </a:cubicBezTo>
                <a:cubicBezTo>
                  <a:pt x="68" y="87"/>
                  <a:pt x="74" y="79"/>
                  <a:pt x="79" y="72"/>
                </a:cubicBezTo>
                <a:cubicBezTo>
                  <a:pt x="83" y="66"/>
                  <a:pt x="86" y="61"/>
                  <a:pt x="86" y="56"/>
                </a:cubicBezTo>
                <a:close/>
                <a:moveTo>
                  <a:pt x="74" y="112"/>
                </a:moveTo>
                <a:cubicBezTo>
                  <a:pt x="42" y="112"/>
                  <a:pt x="42" y="112"/>
                  <a:pt x="42" y="112"/>
                </a:cubicBezTo>
                <a:cubicBezTo>
                  <a:pt x="42" y="128"/>
                  <a:pt x="42" y="128"/>
                  <a:pt x="42" y="128"/>
                </a:cubicBezTo>
                <a:cubicBezTo>
                  <a:pt x="74" y="128"/>
                  <a:pt x="74" y="128"/>
                  <a:pt x="74" y="128"/>
                </a:cubicBezTo>
                <a:lnTo>
                  <a:pt x="74" y="11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9" name="Freeform: Shape 198">
            <a:extLst>
              <a:ext uri="{FF2B5EF4-FFF2-40B4-BE49-F238E27FC236}">
                <a16:creationId xmlns:a16="http://schemas.microsoft.com/office/drawing/2014/main" id="{30BCC2E7-8A5D-416E-BEF8-BD3AEAC653AF}"/>
              </a:ext>
            </a:extLst>
          </p:cNvPr>
          <p:cNvSpPr/>
          <p:nvPr/>
        </p:nvSpPr>
        <p:spPr>
          <a:xfrm>
            <a:off x="5044946" y="4106349"/>
            <a:ext cx="335822" cy="358210"/>
          </a:xfrm>
          <a:custGeom>
            <a:avLst/>
            <a:gdLst>
              <a:gd name="connsiteX0" fmla="*/ 142875 w 285750"/>
              <a:gd name="connsiteY0" fmla="*/ 0 h 304800"/>
              <a:gd name="connsiteX1" fmla="*/ 0 w 285750"/>
              <a:gd name="connsiteY1" fmla="*/ 59055 h 304800"/>
              <a:gd name="connsiteX2" fmla="*/ 0 w 285750"/>
              <a:gd name="connsiteY2" fmla="*/ 245745 h 304800"/>
              <a:gd name="connsiteX3" fmla="*/ 142875 w 285750"/>
              <a:gd name="connsiteY3" fmla="*/ 304800 h 304800"/>
              <a:gd name="connsiteX4" fmla="*/ 285750 w 285750"/>
              <a:gd name="connsiteY4" fmla="*/ 245745 h 304800"/>
              <a:gd name="connsiteX5" fmla="*/ 285750 w 285750"/>
              <a:gd name="connsiteY5" fmla="*/ 59055 h 304800"/>
              <a:gd name="connsiteX6" fmla="*/ 142875 w 285750"/>
              <a:gd name="connsiteY6" fmla="*/ 0 h 304800"/>
              <a:gd name="connsiteX7" fmla="*/ 251460 w 285750"/>
              <a:gd name="connsiteY7" fmla="*/ 65723 h 304800"/>
              <a:gd name="connsiteX8" fmla="*/ 142875 w 285750"/>
              <a:gd name="connsiteY8" fmla="*/ 110490 h 304800"/>
              <a:gd name="connsiteX9" fmla="*/ 34290 w 285750"/>
              <a:gd name="connsiteY9" fmla="*/ 65723 h 304800"/>
              <a:gd name="connsiteX10" fmla="*/ 142875 w 285750"/>
              <a:gd name="connsiteY10" fmla="*/ 20955 h 304800"/>
              <a:gd name="connsiteX11" fmla="*/ 251460 w 285750"/>
              <a:gd name="connsiteY11" fmla="*/ 65723 h 304800"/>
              <a:gd name="connsiteX12" fmla="*/ 19050 w 285750"/>
              <a:gd name="connsiteY12" fmla="*/ 80010 h 304800"/>
              <a:gd name="connsiteX13" fmla="*/ 133350 w 285750"/>
              <a:gd name="connsiteY13" fmla="*/ 127635 h 304800"/>
              <a:gd name="connsiteX14" fmla="*/ 133350 w 285750"/>
              <a:gd name="connsiteY14" fmla="*/ 280988 h 304800"/>
              <a:gd name="connsiteX15" fmla="*/ 19050 w 285750"/>
              <a:gd name="connsiteY15" fmla="*/ 233363 h 304800"/>
              <a:gd name="connsiteX16" fmla="*/ 19050 w 285750"/>
              <a:gd name="connsiteY16" fmla="*/ 80010 h 304800"/>
              <a:gd name="connsiteX17" fmla="*/ 152400 w 285750"/>
              <a:gd name="connsiteY17" fmla="*/ 280035 h 304800"/>
              <a:gd name="connsiteX18" fmla="*/ 152400 w 285750"/>
              <a:gd name="connsiteY18" fmla="*/ 126683 h 304800"/>
              <a:gd name="connsiteX19" fmla="*/ 266700 w 285750"/>
              <a:gd name="connsiteY19" fmla="*/ 79058 h 304800"/>
              <a:gd name="connsiteX20" fmla="*/ 266700 w 285750"/>
              <a:gd name="connsiteY20" fmla="*/ 232410 h 304800"/>
              <a:gd name="connsiteX21" fmla="*/ 152400 w 285750"/>
              <a:gd name="connsiteY21" fmla="*/ 28003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85750" h="304800">
                <a:moveTo>
                  <a:pt x="142875" y="0"/>
                </a:moveTo>
                <a:lnTo>
                  <a:pt x="0" y="59055"/>
                </a:lnTo>
                <a:lnTo>
                  <a:pt x="0" y="245745"/>
                </a:lnTo>
                <a:lnTo>
                  <a:pt x="142875" y="304800"/>
                </a:lnTo>
                <a:lnTo>
                  <a:pt x="285750" y="245745"/>
                </a:lnTo>
                <a:lnTo>
                  <a:pt x="285750" y="59055"/>
                </a:lnTo>
                <a:lnTo>
                  <a:pt x="142875" y="0"/>
                </a:lnTo>
                <a:close/>
                <a:moveTo>
                  <a:pt x="251460" y="65723"/>
                </a:moveTo>
                <a:lnTo>
                  <a:pt x="142875" y="110490"/>
                </a:lnTo>
                <a:lnTo>
                  <a:pt x="34290" y="65723"/>
                </a:lnTo>
                <a:lnTo>
                  <a:pt x="142875" y="20955"/>
                </a:lnTo>
                <a:lnTo>
                  <a:pt x="251460" y="65723"/>
                </a:lnTo>
                <a:close/>
                <a:moveTo>
                  <a:pt x="19050" y="80010"/>
                </a:moveTo>
                <a:lnTo>
                  <a:pt x="133350" y="127635"/>
                </a:lnTo>
                <a:lnTo>
                  <a:pt x="133350" y="280988"/>
                </a:lnTo>
                <a:lnTo>
                  <a:pt x="19050" y="233363"/>
                </a:lnTo>
                <a:lnTo>
                  <a:pt x="19050" y="80010"/>
                </a:lnTo>
                <a:close/>
                <a:moveTo>
                  <a:pt x="152400" y="280035"/>
                </a:moveTo>
                <a:lnTo>
                  <a:pt x="152400" y="126683"/>
                </a:lnTo>
                <a:lnTo>
                  <a:pt x="266700" y="79058"/>
                </a:lnTo>
                <a:lnTo>
                  <a:pt x="266700" y="232410"/>
                </a:lnTo>
                <a:lnTo>
                  <a:pt x="152400" y="280035"/>
                </a:lnTo>
                <a:close/>
              </a:path>
            </a:pathLst>
          </a:custGeom>
          <a:solidFill>
            <a:schemeClr val="tx2"/>
          </a:solidFill>
          <a:ln w="9525" cap="flat">
            <a:noFill/>
            <a:prstDash val="solid"/>
            <a:miter/>
          </a:ln>
        </p:spPr>
        <p:txBody>
          <a:bodyPr rtlCol="0" anchor="ctr"/>
          <a:lstStyle/>
          <a:p>
            <a:endParaRPr lang="en-GB"/>
          </a:p>
        </p:txBody>
      </p:sp>
      <p:grpSp>
        <p:nvGrpSpPr>
          <p:cNvPr id="9" name="Group 8">
            <a:extLst>
              <a:ext uri="{FF2B5EF4-FFF2-40B4-BE49-F238E27FC236}">
                <a16:creationId xmlns:a16="http://schemas.microsoft.com/office/drawing/2014/main" id="{E03268AA-BC03-42C2-FEF8-CB1E889353A8}"/>
              </a:ext>
            </a:extLst>
          </p:cNvPr>
          <p:cNvGrpSpPr/>
          <p:nvPr/>
        </p:nvGrpSpPr>
        <p:grpSpPr>
          <a:xfrm>
            <a:off x="6140450" y="1844675"/>
            <a:ext cx="239713" cy="146050"/>
            <a:chOff x="6140450" y="1844675"/>
            <a:chExt cx="239713" cy="146050"/>
          </a:xfrm>
        </p:grpSpPr>
        <p:sp>
          <p:nvSpPr>
            <p:cNvPr id="7" name="AutoShape 3">
              <a:extLst>
                <a:ext uri="{FF2B5EF4-FFF2-40B4-BE49-F238E27FC236}">
                  <a16:creationId xmlns:a16="http://schemas.microsoft.com/office/drawing/2014/main" id="{27C20755-CEDE-C420-F169-4C14910288B9}"/>
                </a:ext>
              </a:extLst>
            </p:cNvPr>
            <p:cNvSpPr>
              <a:spLocks noChangeAspect="1" noChangeArrowheads="1" noTextEdit="1"/>
            </p:cNvSpPr>
            <p:nvPr/>
          </p:nvSpPr>
          <p:spPr bwMode="auto">
            <a:xfrm>
              <a:off x="6140450" y="1844675"/>
              <a:ext cx="236538" cy="142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5">
              <a:extLst>
                <a:ext uri="{FF2B5EF4-FFF2-40B4-BE49-F238E27FC236}">
                  <a16:creationId xmlns:a16="http://schemas.microsoft.com/office/drawing/2014/main" id="{2458A316-22A5-81BC-CFB9-C8C218AF56AA}"/>
                </a:ext>
              </a:extLst>
            </p:cNvPr>
            <p:cNvSpPr>
              <a:spLocks/>
            </p:cNvSpPr>
            <p:nvPr/>
          </p:nvSpPr>
          <p:spPr bwMode="auto">
            <a:xfrm>
              <a:off x="6143625" y="1847850"/>
              <a:ext cx="236538" cy="142875"/>
            </a:xfrm>
            <a:custGeom>
              <a:avLst/>
              <a:gdLst>
                <a:gd name="T0" fmla="*/ 62 w 149"/>
                <a:gd name="T1" fmla="*/ 13 h 90"/>
                <a:gd name="T2" fmla="*/ 62 w 149"/>
                <a:gd name="T3" fmla="*/ 13 h 90"/>
                <a:gd name="T4" fmla="*/ 75 w 149"/>
                <a:gd name="T5" fmla="*/ 0 h 90"/>
                <a:gd name="T6" fmla="*/ 75 w 149"/>
                <a:gd name="T7" fmla="*/ 0 h 90"/>
                <a:gd name="T8" fmla="*/ 75 w 149"/>
                <a:gd name="T9" fmla="*/ 0 h 90"/>
                <a:gd name="T10" fmla="*/ 87 w 149"/>
                <a:gd name="T11" fmla="*/ 13 h 90"/>
                <a:gd name="T12" fmla="*/ 87 w 149"/>
                <a:gd name="T13" fmla="*/ 13 h 90"/>
                <a:gd name="T14" fmla="*/ 149 w 149"/>
                <a:gd name="T15" fmla="*/ 77 h 90"/>
                <a:gd name="T16" fmla="*/ 137 w 149"/>
                <a:gd name="T17" fmla="*/ 90 h 90"/>
                <a:gd name="T18" fmla="*/ 75 w 149"/>
                <a:gd name="T19" fmla="*/ 28 h 90"/>
                <a:gd name="T20" fmla="*/ 13 w 149"/>
                <a:gd name="T21" fmla="*/ 90 h 90"/>
                <a:gd name="T22" fmla="*/ 0 w 149"/>
                <a:gd name="T23" fmla="*/ 77 h 90"/>
                <a:gd name="T24" fmla="*/ 62 w 149"/>
                <a:gd name="T25" fmla="*/ 1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9" h="90">
                  <a:moveTo>
                    <a:pt x="62" y="13"/>
                  </a:moveTo>
                  <a:lnTo>
                    <a:pt x="62" y="13"/>
                  </a:lnTo>
                  <a:lnTo>
                    <a:pt x="75" y="0"/>
                  </a:lnTo>
                  <a:lnTo>
                    <a:pt x="75" y="0"/>
                  </a:lnTo>
                  <a:lnTo>
                    <a:pt x="75" y="0"/>
                  </a:lnTo>
                  <a:lnTo>
                    <a:pt x="87" y="13"/>
                  </a:lnTo>
                  <a:lnTo>
                    <a:pt x="87" y="13"/>
                  </a:lnTo>
                  <a:lnTo>
                    <a:pt x="149" y="77"/>
                  </a:lnTo>
                  <a:lnTo>
                    <a:pt x="137" y="90"/>
                  </a:lnTo>
                  <a:lnTo>
                    <a:pt x="75" y="28"/>
                  </a:lnTo>
                  <a:lnTo>
                    <a:pt x="13" y="90"/>
                  </a:lnTo>
                  <a:lnTo>
                    <a:pt x="0" y="77"/>
                  </a:lnTo>
                  <a:lnTo>
                    <a:pt x="62" y="1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13130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kt 18" hidden="1">
            <a:extLst>
              <a:ext uri="{FF2B5EF4-FFF2-40B4-BE49-F238E27FC236}">
                <a16:creationId xmlns:a16="http://schemas.microsoft.com/office/drawing/2014/main" id="{8A6EEA46-938F-4452-A39F-0F7C314E7024}"/>
              </a:ext>
            </a:extLst>
          </p:cNvPr>
          <p:cNvGraphicFramePr>
            <a:graphicFrameLocks noChangeAspect="1"/>
          </p:cNvGraphicFramePr>
          <p:nvPr>
            <p:custDataLst>
              <p:tags r:id="rId1"/>
            </p:custDataLst>
            <p:extLst>
              <p:ext uri="{D42A27DB-BD31-4B8C-83A1-F6EECF244321}">
                <p14:modId xmlns:p14="http://schemas.microsoft.com/office/powerpoint/2010/main" val="27207149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9" name="Objekt 18" hidden="1">
                        <a:extLst>
                          <a:ext uri="{FF2B5EF4-FFF2-40B4-BE49-F238E27FC236}">
                            <a16:creationId xmlns:a16="http://schemas.microsoft.com/office/drawing/2014/main" id="{8A6EEA46-938F-4452-A39F-0F7C314E7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CA995D0-D011-4AC4-A5F2-1861D8F9FB95}"/>
              </a:ext>
            </a:extLst>
          </p:cNvPr>
          <p:cNvSpPr>
            <a:spLocks noGrp="1"/>
          </p:cNvSpPr>
          <p:nvPr>
            <p:ph type="sldNum" sz="quarter" idx="11"/>
          </p:nvPr>
        </p:nvSpPr>
        <p:spPr/>
        <p:txBody>
          <a:bodyPr/>
          <a:lstStyle/>
          <a:p>
            <a:fld id="{D56DB8AA-803C-49D2-90AA-1140CE72DCD7}" type="slidenum">
              <a:rPr lang="en-GB" smtClean="0"/>
              <a:pPr/>
              <a:t>30</a:t>
            </a:fld>
            <a:endParaRPr lang="en-GB" dirty="0"/>
          </a:p>
        </p:txBody>
      </p:sp>
      <p:sp>
        <p:nvSpPr>
          <p:cNvPr id="3" name="Title 2">
            <a:extLst>
              <a:ext uri="{FF2B5EF4-FFF2-40B4-BE49-F238E27FC236}">
                <a16:creationId xmlns:a16="http://schemas.microsoft.com/office/drawing/2014/main" id="{A5AEB21C-291C-2482-9123-BF17080DC760}"/>
              </a:ext>
            </a:extLst>
          </p:cNvPr>
          <p:cNvSpPr>
            <a:spLocks noGrp="1"/>
          </p:cNvSpPr>
          <p:nvPr>
            <p:ph type="title"/>
          </p:nvPr>
        </p:nvSpPr>
        <p:spPr>
          <a:xfrm>
            <a:off x="252000" y="252000"/>
            <a:ext cx="6748875" cy="576000"/>
          </a:xfrm>
        </p:spPr>
        <p:txBody>
          <a:bodyPr/>
          <a:lstStyle/>
          <a:p>
            <a:r>
              <a:rPr lang="en-US" dirty="0"/>
              <a:t>General Business 2/2</a:t>
            </a:r>
            <a:br>
              <a:rPr lang="en-US" dirty="0"/>
            </a:br>
            <a:endParaRPr lang="en-US" dirty="0"/>
          </a:p>
        </p:txBody>
      </p:sp>
      <p:sp>
        <p:nvSpPr>
          <p:cNvPr id="5" name="TextBox 4">
            <a:extLst>
              <a:ext uri="{FF2B5EF4-FFF2-40B4-BE49-F238E27FC236}">
                <a16:creationId xmlns:a16="http://schemas.microsoft.com/office/drawing/2014/main" id="{1CA55876-C358-4096-8B4D-67342201D404}"/>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ject scope</a:t>
            </a:r>
          </a:p>
        </p:txBody>
      </p:sp>
      <p:sp>
        <p:nvSpPr>
          <p:cNvPr id="6" name="TextBox 5">
            <a:extLst>
              <a:ext uri="{FF2B5EF4-FFF2-40B4-BE49-F238E27FC236}">
                <a16:creationId xmlns:a16="http://schemas.microsoft.com/office/drawing/2014/main" id="{00FDC99F-D6EE-40C0-ADA7-DBE204C7A323}"/>
              </a:ext>
            </a:extLst>
          </p:cNvPr>
          <p:cNvSpPr txBox="1"/>
          <p:nvPr/>
        </p:nvSpPr>
        <p:spPr>
          <a:xfrm>
            <a:off x="254298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chedule</a:t>
            </a:r>
          </a:p>
        </p:txBody>
      </p:sp>
      <p:sp>
        <p:nvSpPr>
          <p:cNvPr id="7" name="TextBox 6">
            <a:extLst>
              <a:ext uri="{FF2B5EF4-FFF2-40B4-BE49-F238E27FC236}">
                <a16:creationId xmlns:a16="http://schemas.microsoft.com/office/drawing/2014/main" id="{D2BE6ABD-8835-486F-9D43-50A141AA1A1A}"/>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udget</a:t>
            </a:r>
          </a:p>
        </p:txBody>
      </p:sp>
      <p:sp>
        <p:nvSpPr>
          <p:cNvPr id="8" name="TextBox 7">
            <a:extLst>
              <a:ext uri="{FF2B5EF4-FFF2-40B4-BE49-F238E27FC236}">
                <a16:creationId xmlns:a16="http://schemas.microsoft.com/office/drawing/2014/main" id="{B96872AA-190F-40A3-A252-7304FB7F17D9}"/>
              </a:ext>
            </a:extLst>
          </p:cNvPr>
          <p:cNvSpPr txBox="1"/>
          <p:nvPr/>
        </p:nvSpPr>
        <p:spPr>
          <a:xfrm>
            <a:off x="3588420"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ject</a:t>
            </a:r>
            <a:br>
              <a:rPr lang="en-GB" sz="700" dirty="0">
                <a:solidFill>
                  <a:schemeClr val="tx2"/>
                </a:solidFill>
              </a:rPr>
            </a:br>
            <a:r>
              <a:rPr lang="en-GB" sz="700" dirty="0">
                <a:solidFill>
                  <a:schemeClr val="tx2"/>
                </a:solidFill>
              </a:rPr>
              <a:t>design</a:t>
            </a:r>
          </a:p>
        </p:txBody>
      </p:sp>
      <p:sp>
        <p:nvSpPr>
          <p:cNvPr id="9" name="TextBox 8">
            <a:extLst>
              <a:ext uri="{FF2B5EF4-FFF2-40B4-BE49-F238E27FC236}">
                <a16:creationId xmlns:a16="http://schemas.microsoft.com/office/drawing/2014/main" id="{880F74BA-8E5D-49C1-B185-97F3522DD12A}"/>
              </a:ext>
            </a:extLst>
          </p:cNvPr>
          <p:cNvSpPr txBox="1"/>
          <p:nvPr/>
        </p:nvSpPr>
        <p:spPr>
          <a:xfrm>
            <a:off x="254298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ject</a:t>
            </a:r>
            <a:br>
              <a:rPr lang="en-GB" sz="700" dirty="0">
                <a:solidFill>
                  <a:schemeClr val="tx2"/>
                </a:solidFill>
              </a:rPr>
            </a:br>
            <a:r>
              <a:rPr lang="en-GB" sz="700" dirty="0">
                <a:solidFill>
                  <a:schemeClr val="tx2"/>
                </a:solidFill>
              </a:rPr>
              <a:t>duration</a:t>
            </a:r>
          </a:p>
        </p:txBody>
      </p:sp>
      <p:sp>
        <p:nvSpPr>
          <p:cNvPr id="10" name="TextBox 9">
            <a:extLst>
              <a:ext uri="{FF2B5EF4-FFF2-40B4-BE49-F238E27FC236}">
                <a16:creationId xmlns:a16="http://schemas.microsoft.com/office/drawing/2014/main" id="{94F6216A-4B5F-42A9-9823-C04CDBBDB743}"/>
              </a:ext>
            </a:extLst>
          </p:cNvPr>
          <p:cNvSpPr txBox="1"/>
          <p:nvPr/>
        </p:nvSpPr>
        <p:spPr>
          <a:xfrm>
            <a:off x="1497553"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ject</a:t>
            </a:r>
            <a:br>
              <a:rPr lang="en-GB" sz="700" dirty="0">
                <a:solidFill>
                  <a:schemeClr val="tx2"/>
                </a:solidFill>
              </a:rPr>
            </a:br>
            <a:r>
              <a:rPr lang="en-GB" sz="700" dirty="0">
                <a:solidFill>
                  <a:schemeClr val="tx2"/>
                </a:solidFill>
              </a:rPr>
              <a:t>team</a:t>
            </a:r>
          </a:p>
        </p:txBody>
      </p:sp>
      <p:sp>
        <p:nvSpPr>
          <p:cNvPr id="11" name="TextBox 10">
            <a:extLst>
              <a:ext uri="{FF2B5EF4-FFF2-40B4-BE49-F238E27FC236}">
                <a16:creationId xmlns:a16="http://schemas.microsoft.com/office/drawing/2014/main" id="{0F406FCA-5FBC-4BE2-A9A5-C23BE124BCC7}"/>
              </a:ext>
            </a:extLst>
          </p:cNvPr>
          <p:cNvSpPr txBox="1"/>
          <p:nvPr/>
        </p:nvSpPr>
        <p:spPr>
          <a:xfrm>
            <a:off x="452119"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Risk</a:t>
            </a:r>
            <a:br>
              <a:rPr lang="en-GB" sz="700" dirty="0">
                <a:solidFill>
                  <a:schemeClr val="tx2"/>
                </a:solidFill>
              </a:rPr>
            </a:br>
            <a:r>
              <a:rPr lang="en-GB" sz="700" dirty="0">
                <a:solidFill>
                  <a:schemeClr val="tx2"/>
                </a:solidFill>
              </a:rPr>
              <a:t>management</a:t>
            </a:r>
          </a:p>
        </p:txBody>
      </p:sp>
      <p:sp>
        <p:nvSpPr>
          <p:cNvPr id="12" name="TextBox 11">
            <a:extLst>
              <a:ext uri="{FF2B5EF4-FFF2-40B4-BE49-F238E27FC236}">
                <a16:creationId xmlns:a16="http://schemas.microsoft.com/office/drawing/2014/main" id="{B1BFC6DD-A4AE-4FE2-B022-5600CA2D3787}"/>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search</a:t>
            </a:r>
          </a:p>
        </p:txBody>
      </p:sp>
      <p:sp>
        <p:nvSpPr>
          <p:cNvPr id="13" name="TextBox 12">
            <a:extLst>
              <a:ext uri="{FF2B5EF4-FFF2-40B4-BE49-F238E27FC236}">
                <a16:creationId xmlns:a16="http://schemas.microsoft.com/office/drawing/2014/main" id="{36195849-4AA5-4351-8B69-CFAD1C688E84}"/>
              </a:ext>
            </a:extLst>
          </p:cNvPr>
          <p:cNvSpPr txBox="1"/>
          <p:nvPr/>
        </p:nvSpPr>
        <p:spPr>
          <a:xfrm>
            <a:off x="2542987"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usiness</a:t>
            </a:r>
            <a:br>
              <a:rPr lang="en-GB" sz="700" dirty="0">
                <a:solidFill>
                  <a:schemeClr val="tx2"/>
                </a:solidFill>
              </a:rPr>
            </a:br>
            <a:r>
              <a:rPr lang="en-GB" sz="700" dirty="0">
                <a:solidFill>
                  <a:schemeClr val="tx2"/>
                </a:solidFill>
              </a:rPr>
              <a:t>ethics</a:t>
            </a:r>
          </a:p>
        </p:txBody>
      </p:sp>
      <p:sp>
        <p:nvSpPr>
          <p:cNvPr id="14" name="TextBox 13">
            <a:extLst>
              <a:ext uri="{FF2B5EF4-FFF2-40B4-BE49-F238E27FC236}">
                <a16:creationId xmlns:a16="http://schemas.microsoft.com/office/drawing/2014/main" id="{90DC56B5-9F3C-49C1-ABF0-75D91CAF31D1}"/>
              </a:ext>
            </a:extLst>
          </p:cNvPr>
          <p:cNvSpPr txBox="1"/>
          <p:nvPr/>
        </p:nvSpPr>
        <p:spPr>
          <a:xfrm>
            <a:off x="1497553"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ompetitive</a:t>
            </a:r>
            <a:br>
              <a:rPr lang="en-GB" sz="700" dirty="0">
                <a:solidFill>
                  <a:schemeClr val="tx2"/>
                </a:solidFill>
              </a:rPr>
            </a:br>
            <a:r>
              <a:rPr lang="en-GB" sz="700" dirty="0">
                <a:solidFill>
                  <a:schemeClr val="tx2"/>
                </a:solidFill>
              </a:rPr>
              <a:t>advantage</a:t>
            </a:r>
          </a:p>
        </p:txBody>
      </p:sp>
      <p:sp>
        <p:nvSpPr>
          <p:cNvPr id="15" name="TextBox 14">
            <a:extLst>
              <a:ext uri="{FF2B5EF4-FFF2-40B4-BE49-F238E27FC236}">
                <a16:creationId xmlns:a16="http://schemas.microsoft.com/office/drawing/2014/main" id="{F96432D3-C057-4462-87BA-65D56F5E1717}"/>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otivation</a:t>
            </a:r>
          </a:p>
        </p:txBody>
      </p:sp>
      <p:sp>
        <p:nvSpPr>
          <p:cNvPr id="16" name="TextBox 15">
            <a:extLst>
              <a:ext uri="{FF2B5EF4-FFF2-40B4-BE49-F238E27FC236}">
                <a16:creationId xmlns:a16="http://schemas.microsoft.com/office/drawing/2014/main" id="{54BAE518-5E50-4E8C-91BF-28E1FA1F133F}"/>
              </a:ext>
            </a:extLst>
          </p:cNvPr>
          <p:cNvSpPr txBox="1"/>
          <p:nvPr/>
        </p:nvSpPr>
        <p:spPr>
          <a:xfrm>
            <a:off x="3588420"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hange</a:t>
            </a:r>
            <a:br>
              <a:rPr lang="en-GB" sz="700" dirty="0">
                <a:solidFill>
                  <a:schemeClr val="tx2"/>
                </a:solidFill>
              </a:rPr>
            </a:br>
            <a:r>
              <a:rPr lang="en-GB" sz="700" dirty="0">
                <a:solidFill>
                  <a:schemeClr val="tx2"/>
                </a:solidFill>
              </a:rPr>
              <a:t>management</a:t>
            </a:r>
          </a:p>
        </p:txBody>
      </p:sp>
      <p:sp>
        <p:nvSpPr>
          <p:cNvPr id="17" name="TextBox 16">
            <a:extLst>
              <a:ext uri="{FF2B5EF4-FFF2-40B4-BE49-F238E27FC236}">
                <a16:creationId xmlns:a16="http://schemas.microsoft.com/office/drawing/2014/main" id="{DCABE2CB-8AA3-4FD0-B327-9BD566E4E4F0}"/>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Find a solution</a:t>
            </a:r>
          </a:p>
        </p:txBody>
      </p:sp>
      <p:sp>
        <p:nvSpPr>
          <p:cNvPr id="18" name="TextBox 17">
            <a:extLst>
              <a:ext uri="{FF2B5EF4-FFF2-40B4-BE49-F238E27FC236}">
                <a16:creationId xmlns:a16="http://schemas.microsoft.com/office/drawing/2014/main" id="{E327EBF9-E68F-4A0A-A696-E0C8310F2C80}"/>
              </a:ext>
            </a:extLst>
          </p:cNvPr>
          <p:cNvSpPr txBox="1"/>
          <p:nvPr/>
        </p:nvSpPr>
        <p:spPr>
          <a:xfrm>
            <a:off x="1497553"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areer advancement</a:t>
            </a:r>
          </a:p>
        </p:txBody>
      </p:sp>
      <p:sp>
        <p:nvSpPr>
          <p:cNvPr id="34" name="TextBox 33">
            <a:extLst>
              <a:ext uri="{FF2B5EF4-FFF2-40B4-BE49-F238E27FC236}">
                <a16:creationId xmlns:a16="http://schemas.microsoft.com/office/drawing/2014/main" id="{C0348359-ACB6-4A35-B19A-6F41964C6F95}"/>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formation</a:t>
            </a:r>
          </a:p>
        </p:txBody>
      </p:sp>
      <p:sp>
        <p:nvSpPr>
          <p:cNvPr id="49" name="TextBox 48">
            <a:extLst>
              <a:ext uri="{FF2B5EF4-FFF2-40B4-BE49-F238E27FC236}">
                <a16:creationId xmlns:a16="http://schemas.microsoft.com/office/drawing/2014/main" id="{880B98F1-10DF-4EA2-8D8D-403D641DE33E}"/>
              </a:ext>
            </a:extLst>
          </p:cNvPr>
          <p:cNvSpPr txBox="1"/>
          <p:nvPr/>
        </p:nvSpPr>
        <p:spPr>
          <a:xfrm>
            <a:off x="3588420"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ject</a:t>
            </a:r>
            <a:br>
              <a:rPr lang="en-GB" sz="700" dirty="0">
                <a:solidFill>
                  <a:schemeClr val="tx2"/>
                </a:solidFill>
              </a:rPr>
            </a:br>
            <a:r>
              <a:rPr lang="en-GB" sz="700" dirty="0">
                <a:solidFill>
                  <a:schemeClr val="tx2"/>
                </a:solidFill>
              </a:rPr>
              <a:t>details</a:t>
            </a:r>
          </a:p>
        </p:txBody>
      </p:sp>
      <p:grpSp>
        <p:nvGrpSpPr>
          <p:cNvPr id="4" name="Group 3">
            <a:extLst>
              <a:ext uri="{FF2B5EF4-FFF2-40B4-BE49-F238E27FC236}">
                <a16:creationId xmlns:a16="http://schemas.microsoft.com/office/drawing/2014/main" id="{9907BFAC-04C8-714A-6966-4E605F9E3A2B}"/>
              </a:ext>
            </a:extLst>
          </p:cNvPr>
          <p:cNvGrpSpPr/>
          <p:nvPr/>
        </p:nvGrpSpPr>
        <p:grpSpPr>
          <a:xfrm>
            <a:off x="593478" y="1585984"/>
            <a:ext cx="401144" cy="431999"/>
            <a:chOff x="593478" y="1585984"/>
            <a:chExt cx="401144" cy="431999"/>
          </a:xfrm>
        </p:grpSpPr>
        <p:grpSp>
          <p:nvGrpSpPr>
            <p:cNvPr id="52" name="Grafik 277">
              <a:extLst>
                <a:ext uri="{FF2B5EF4-FFF2-40B4-BE49-F238E27FC236}">
                  <a16:creationId xmlns:a16="http://schemas.microsoft.com/office/drawing/2014/main" id="{9F3EEC24-CB7F-4785-8EAE-71920572776F}"/>
                </a:ext>
              </a:extLst>
            </p:cNvPr>
            <p:cNvGrpSpPr/>
            <p:nvPr/>
          </p:nvGrpSpPr>
          <p:grpSpPr>
            <a:xfrm>
              <a:off x="658831" y="1635914"/>
              <a:ext cx="274562" cy="382069"/>
              <a:chOff x="973867" y="2525639"/>
              <a:chExt cx="260085" cy="361923"/>
            </a:xfrm>
            <a:solidFill>
              <a:schemeClr val="tx2"/>
            </a:solidFill>
          </p:grpSpPr>
          <p:sp>
            <p:nvSpPr>
              <p:cNvPr id="70" name="Freihandform: Form 307">
                <a:extLst>
                  <a:ext uri="{FF2B5EF4-FFF2-40B4-BE49-F238E27FC236}">
                    <a16:creationId xmlns:a16="http://schemas.microsoft.com/office/drawing/2014/main" id="{4DA5BF28-CA64-4C11-B17E-3796BE22C522}"/>
                  </a:ext>
                </a:extLst>
              </p:cNvPr>
              <p:cNvSpPr/>
              <p:nvPr/>
            </p:nvSpPr>
            <p:spPr>
              <a:xfrm>
                <a:off x="973867" y="2525639"/>
                <a:ext cx="260085" cy="285833"/>
              </a:xfrm>
              <a:custGeom>
                <a:avLst/>
                <a:gdLst>
                  <a:gd name="connsiteX0" fmla="*/ 188543 w 260085"/>
                  <a:gd name="connsiteY0" fmla="*/ 285834 h 285833"/>
                  <a:gd name="connsiteX1" fmla="*/ 187904 w 260085"/>
                  <a:gd name="connsiteY1" fmla="*/ 285808 h 285833"/>
                  <a:gd name="connsiteX2" fmla="*/ 181951 w 260085"/>
                  <a:gd name="connsiteY2" fmla="*/ 278603 h 285833"/>
                  <a:gd name="connsiteX3" fmla="*/ 182717 w 260085"/>
                  <a:gd name="connsiteY3" fmla="*/ 270580 h 285833"/>
                  <a:gd name="connsiteX4" fmla="*/ 212918 w 260085"/>
                  <a:gd name="connsiteY4" fmla="*/ 210944 h 285833"/>
                  <a:gd name="connsiteX5" fmla="*/ 246875 w 260085"/>
                  <a:gd name="connsiteY5" fmla="*/ 129207 h 285833"/>
                  <a:gd name="connsiteX6" fmla="*/ 208242 w 260085"/>
                  <a:gd name="connsiteY6" fmla="*/ 43024 h 285833"/>
                  <a:gd name="connsiteX7" fmla="*/ 116515 w 260085"/>
                  <a:gd name="connsiteY7" fmla="*/ 13973 h 285833"/>
                  <a:gd name="connsiteX8" fmla="*/ 14107 w 260085"/>
                  <a:gd name="connsiteY8" fmla="*/ 114438 h 285833"/>
                  <a:gd name="connsiteX9" fmla="*/ 48959 w 260085"/>
                  <a:gd name="connsiteY9" fmla="*/ 212733 h 285833"/>
                  <a:gd name="connsiteX10" fmla="*/ 77959 w 260085"/>
                  <a:gd name="connsiteY10" fmla="*/ 276405 h 285833"/>
                  <a:gd name="connsiteX11" fmla="*/ 78138 w 260085"/>
                  <a:gd name="connsiteY11" fmla="*/ 278730 h 285833"/>
                  <a:gd name="connsiteX12" fmla="*/ 72057 w 260085"/>
                  <a:gd name="connsiteY12" fmla="*/ 285808 h 285833"/>
                  <a:gd name="connsiteX13" fmla="*/ 64979 w 260085"/>
                  <a:gd name="connsiteY13" fmla="*/ 279727 h 285833"/>
                  <a:gd name="connsiteX14" fmla="*/ 64800 w 260085"/>
                  <a:gd name="connsiteY14" fmla="*/ 277299 h 285833"/>
                  <a:gd name="connsiteX15" fmla="*/ 39862 w 260085"/>
                  <a:gd name="connsiteY15" fmla="*/ 222237 h 285833"/>
                  <a:gd name="connsiteX16" fmla="*/ 1025 w 260085"/>
                  <a:gd name="connsiteY16" fmla="*/ 112752 h 285833"/>
                  <a:gd name="connsiteX17" fmla="*/ 115084 w 260085"/>
                  <a:gd name="connsiteY17" fmla="*/ 814 h 285833"/>
                  <a:gd name="connsiteX18" fmla="*/ 217058 w 260085"/>
                  <a:gd name="connsiteY18" fmla="*/ 33161 h 285833"/>
                  <a:gd name="connsiteX19" fmla="*/ 260085 w 260085"/>
                  <a:gd name="connsiteY19" fmla="*/ 129181 h 285833"/>
                  <a:gd name="connsiteX20" fmla="*/ 222244 w 260085"/>
                  <a:gd name="connsiteY20" fmla="*/ 220270 h 285833"/>
                  <a:gd name="connsiteX21" fmla="*/ 195825 w 260085"/>
                  <a:gd name="connsiteY21" fmla="*/ 272062 h 285833"/>
                  <a:gd name="connsiteX22" fmla="*/ 195084 w 260085"/>
                  <a:gd name="connsiteY22" fmla="*/ 279829 h 285833"/>
                  <a:gd name="connsiteX23" fmla="*/ 188543 w 260085"/>
                  <a:gd name="connsiteY23" fmla="*/ 285834 h 2858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0085" h="285833">
                    <a:moveTo>
                      <a:pt x="188543" y="285834"/>
                    </a:moveTo>
                    <a:cubicBezTo>
                      <a:pt x="188338" y="285834"/>
                      <a:pt x="188134" y="285834"/>
                      <a:pt x="187904" y="285808"/>
                    </a:cubicBezTo>
                    <a:cubicBezTo>
                      <a:pt x="184276" y="285476"/>
                      <a:pt x="181619" y="282231"/>
                      <a:pt x="181951" y="278603"/>
                    </a:cubicBezTo>
                    <a:lnTo>
                      <a:pt x="182717" y="270580"/>
                    </a:lnTo>
                    <a:cubicBezTo>
                      <a:pt x="185681" y="248274"/>
                      <a:pt x="196106" y="227731"/>
                      <a:pt x="212918" y="210944"/>
                    </a:cubicBezTo>
                    <a:cubicBezTo>
                      <a:pt x="234815" y="189072"/>
                      <a:pt x="246875" y="160047"/>
                      <a:pt x="246875" y="129207"/>
                    </a:cubicBezTo>
                    <a:cubicBezTo>
                      <a:pt x="246875" y="96425"/>
                      <a:pt x="232797" y="64998"/>
                      <a:pt x="208242" y="43024"/>
                    </a:cubicBezTo>
                    <a:cubicBezTo>
                      <a:pt x="183075" y="20514"/>
                      <a:pt x="150498" y="10191"/>
                      <a:pt x="116515" y="13973"/>
                    </a:cubicBezTo>
                    <a:cubicBezTo>
                      <a:pt x="63676" y="19849"/>
                      <a:pt x="20623" y="62085"/>
                      <a:pt x="14107" y="114438"/>
                    </a:cubicBezTo>
                    <a:cubicBezTo>
                      <a:pt x="9534" y="151334"/>
                      <a:pt x="22232" y="187156"/>
                      <a:pt x="48959" y="212733"/>
                    </a:cubicBezTo>
                    <a:cubicBezTo>
                      <a:pt x="66103" y="229136"/>
                      <a:pt x="76400" y="251749"/>
                      <a:pt x="77959" y="276405"/>
                    </a:cubicBezTo>
                    <a:lnTo>
                      <a:pt x="78138" y="278730"/>
                    </a:lnTo>
                    <a:cubicBezTo>
                      <a:pt x="78419" y="282359"/>
                      <a:pt x="75685" y="285527"/>
                      <a:pt x="72057" y="285808"/>
                    </a:cubicBezTo>
                    <a:cubicBezTo>
                      <a:pt x="68428" y="286063"/>
                      <a:pt x="65260" y="283381"/>
                      <a:pt x="64979" y="279727"/>
                    </a:cubicBezTo>
                    <a:lnTo>
                      <a:pt x="64800" y="277299"/>
                    </a:lnTo>
                    <a:cubicBezTo>
                      <a:pt x="63471" y="255862"/>
                      <a:pt x="54605" y="236341"/>
                      <a:pt x="39862" y="222237"/>
                    </a:cubicBezTo>
                    <a:cubicBezTo>
                      <a:pt x="10070" y="193748"/>
                      <a:pt x="-4085" y="153838"/>
                      <a:pt x="1025" y="112752"/>
                    </a:cubicBezTo>
                    <a:cubicBezTo>
                      <a:pt x="8282" y="54420"/>
                      <a:pt x="56241" y="7355"/>
                      <a:pt x="115084" y="814"/>
                    </a:cubicBezTo>
                    <a:cubicBezTo>
                      <a:pt x="152312" y="-3325"/>
                      <a:pt x="189488" y="8454"/>
                      <a:pt x="217058" y="33161"/>
                    </a:cubicBezTo>
                    <a:cubicBezTo>
                      <a:pt x="244397" y="57639"/>
                      <a:pt x="260085" y="92644"/>
                      <a:pt x="260085" y="129181"/>
                    </a:cubicBezTo>
                    <a:cubicBezTo>
                      <a:pt x="260085" y="163547"/>
                      <a:pt x="246645" y="195895"/>
                      <a:pt x="222244" y="220270"/>
                    </a:cubicBezTo>
                    <a:cubicBezTo>
                      <a:pt x="207502" y="234987"/>
                      <a:pt x="198380" y="252898"/>
                      <a:pt x="195825" y="272062"/>
                    </a:cubicBezTo>
                    <a:lnTo>
                      <a:pt x="195084" y="279829"/>
                    </a:lnTo>
                    <a:cubicBezTo>
                      <a:pt x="194777" y="283278"/>
                      <a:pt x="191916" y="285834"/>
                      <a:pt x="188543" y="285834"/>
                    </a:cubicBezTo>
                    <a:close/>
                  </a:path>
                </a:pathLst>
              </a:custGeom>
              <a:grpFill/>
              <a:ln w="2555" cap="flat">
                <a:noFill/>
                <a:prstDash val="solid"/>
                <a:miter/>
              </a:ln>
            </p:spPr>
            <p:txBody>
              <a:bodyPr rtlCol="0" anchor="ctr"/>
              <a:lstStyle/>
              <a:p>
                <a:endParaRPr lang="en-GB" dirty="0"/>
              </a:p>
            </p:txBody>
          </p:sp>
          <p:sp>
            <p:nvSpPr>
              <p:cNvPr id="71" name="Freihandform: Form 308">
                <a:extLst>
                  <a:ext uri="{FF2B5EF4-FFF2-40B4-BE49-F238E27FC236}">
                    <a16:creationId xmlns:a16="http://schemas.microsoft.com/office/drawing/2014/main" id="{986A85DF-F2FF-4368-9F5B-A961D353D51E}"/>
                  </a:ext>
                </a:extLst>
              </p:cNvPr>
              <p:cNvSpPr/>
              <p:nvPr/>
            </p:nvSpPr>
            <p:spPr>
              <a:xfrm>
                <a:off x="1035192" y="2836334"/>
                <a:ext cx="135751" cy="13184"/>
              </a:xfrm>
              <a:custGeom>
                <a:avLst/>
                <a:gdLst>
                  <a:gd name="connsiteX0" fmla="*/ 129159 w 135751"/>
                  <a:gd name="connsiteY0" fmla="*/ 13184 h 13184"/>
                  <a:gd name="connsiteX1" fmla="*/ 6592 w 135751"/>
                  <a:gd name="connsiteY1" fmla="*/ 13184 h 13184"/>
                  <a:gd name="connsiteX2" fmla="*/ 0 w 135751"/>
                  <a:gd name="connsiteY2" fmla="*/ 6592 h 13184"/>
                  <a:gd name="connsiteX3" fmla="*/ 6592 w 135751"/>
                  <a:gd name="connsiteY3" fmla="*/ 0 h 13184"/>
                  <a:gd name="connsiteX4" fmla="*/ 129159 w 135751"/>
                  <a:gd name="connsiteY4" fmla="*/ 0 h 13184"/>
                  <a:gd name="connsiteX5" fmla="*/ 135752 w 135751"/>
                  <a:gd name="connsiteY5" fmla="*/ 6592 h 13184"/>
                  <a:gd name="connsiteX6" fmla="*/ 129159 w 135751"/>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751" h="13184">
                    <a:moveTo>
                      <a:pt x="129159" y="13184"/>
                    </a:moveTo>
                    <a:lnTo>
                      <a:pt x="6592" y="13184"/>
                    </a:lnTo>
                    <a:cubicBezTo>
                      <a:pt x="2938" y="13184"/>
                      <a:pt x="0" y="10220"/>
                      <a:pt x="0" y="6592"/>
                    </a:cubicBezTo>
                    <a:cubicBezTo>
                      <a:pt x="0" y="2938"/>
                      <a:pt x="2964" y="0"/>
                      <a:pt x="6592" y="0"/>
                    </a:cubicBezTo>
                    <a:lnTo>
                      <a:pt x="129159" y="0"/>
                    </a:lnTo>
                    <a:cubicBezTo>
                      <a:pt x="132813" y="0"/>
                      <a:pt x="135752" y="2964"/>
                      <a:pt x="135752" y="6592"/>
                    </a:cubicBezTo>
                    <a:cubicBezTo>
                      <a:pt x="135752" y="10220"/>
                      <a:pt x="132813" y="13184"/>
                      <a:pt x="129159" y="13184"/>
                    </a:cubicBezTo>
                    <a:close/>
                  </a:path>
                </a:pathLst>
              </a:custGeom>
              <a:grpFill/>
              <a:ln w="2555" cap="flat">
                <a:noFill/>
                <a:prstDash val="solid"/>
                <a:miter/>
              </a:ln>
            </p:spPr>
            <p:txBody>
              <a:bodyPr rtlCol="0" anchor="ctr"/>
              <a:lstStyle/>
              <a:p>
                <a:endParaRPr lang="en-GB" dirty="0"/>
              </a:p>
            </p:txBody>
          </p:sp>
          <p:sp>
            <p:nvSpPr>
              <p:cNvPr id="72" name="Freihandform: Form 309">
                <a:extLst>
                  <a:ext uri="{FF2B5EF4-FFF2-40B4-BE49-F238E27FC236}">
                    <a16:creationId xmlns:a16="http://schemas.microsoft.com/office/drawing/2014/main" id="{9A353B14-EE7D-4674-BBFD-5DDF1128203A}"/>
                  </a:ext>
                </a:extLst>
              </p:cNvPr>
              <p:cNvSpPr/>
              <p:nvPr/>
            </p:nvSpPr>
            <p:spPr>
              <a:xfrm>
                <a:off x="1058162" y="2874379"/>
                <a:ext cx="89785" cy="13184"/>
              </a:xfrm>
              <a:custGeom>
                <a:avLst/>
                <a:gdLst>
                  <a:gd name="connsiteX0" fmla="*/ 83194 w 89785"/>
                  <a:gd name="connsiteY0" fmla="*/ 13184 h 13184"/>
                  <a:gd name="connsiteX1" fmla="*/ 6592 w 89785"/>
                  <a:gd name="connsiteY1" fmla="*/ 13184 h 13184"/>
                  <a:gd name="connsiteX2" fmla="*/ 0 w 89785"/>
                  <a:gd name="connsiteY2" fmla="*/ 6592 h 13184"/>
                  <a:gd name="connsiteX3" fmla="*/ 6592 w 89785"/>
                  <a:gd name="connsiteY3" fmla="*/ 0 h 13184"/>
                  <a:gd name="connsiteX4" fmla="*/ 83194 w 89785"/>
                  <a:gd name="connsiteY4" fmla="*/ 0 h 13184"/>
                  <a:gd name="connsiteX5" fmla="*/ 89786 w 89785"/>
                  <a:gd name="connsiteY5" fmla="*/ 6592 h 13184"/>
                  <a:gd name="connsiteX6" fmla="*/ 83194 w 89785"/>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785" h="13184">
                    <a:moveTo>
                      <a:pt x="83194" y="13184"/>
                    </a:moveTo>
                    <a:lnTo>
                      <a:pt x="6592" y="13184"/>
                    </a:lnTo>
                    <a:cubicBezTo>
                      <a:pt x="2938" y="13184"/>
                      <a:pt x="0" y="10220"/>
                      <a:pt x="0" y="6592"/>
                    </a:cubicBezTo>
                    <a:cubicBezTo>
                      <a:pt x="0" y="2964"/>
                      <a:pt x="2964" y="0"/>
                      <a:pt x="6592" y="0"/>
                    </a:cubicBezTo>
                    <a:lnTo>
                      <a:pt x="83194" y="0"/>
                    </a:lnTo>
                    <a:cubicBezTo>
                      <a:pt x="86847" y="0"/>
                      <a:pt x="89786" y="2964"/>
                      <a:pt x="89786" y="6592"/>
                    </a:cubicBezTo>
                    <a:cubicBezTo>
                      <a:pt x="89786" y="10220"/>
                      <a:pt x="86847" y="13184"/>
                      <a:pt x="83194" y="13184"/>
                    </a:cubicBezTo>
                    <a:close/>
                  </a:path>
                </a:pathLst>
              </a:custGeom>
              <a:grpFill/>
              <a:ln w="2555" cap="flat">
                <a:noFill/>
                <a:prstDash val="solid"/>
                <a:miter/>
              </a:ln>
            </p:spPr>
            <p:txBody>
              <a:bodyPr rtlCol="0" anchor="ctr"/>
              <a:lstStyle/>
              <a:p>
                <a:endParaRPr lang="en-GB" dirty="0"/>
              </a:p>
            </p:txBody>
          </p:sp>
          <p:sp>
            <p:nvSpPr>
              <p:cNvPr id="73" name="Freihandform: Form 310">
                <a:extLst>
                  <a:ext uri="{FF2B5EF4-FFF2-40B4-BE49-F238E27FC236}">
                    <a16:creationId xmlns:a16="http://schemas.microsoft.com/office/drawing/2014/main" id="{4CCE940B-B33F-4138-8108-6D176C4F06CC}"/>
                  </a:ext>
                </a:extLst>
              </p:cNvPr>
              <p:cNvSpPr/>
              <p:nvPr/>
            </p:nvSpPr>
            <p:spPr>
              <a:xfrm>
                <a:off x="1017690" y="2615215"/>
                <a:ext cx="178319" cy="110611"/>
              </a:xfrm>
              <a:custGeom>
                <a:avLst/>
                <a:gdLst>
                  <a:gd name="connsiteX0" fmla="*/ 60555 w 178319"/>
                  <a:gd name="connsiteY0" fmla="*/ 110611 h 110611"/>
                  <a:gd name="connsiteX1" fmla="*/ 45480 w 178319"/>
                  <a:gd name="connsiteY1" fmla="*/ 100391 h 110611"/>
                  <a:gd name="connsiteX2" fmla="*/ 28770 w 178319"/>
                  <a:gd name="connsiteY2" fmla="*/ 58079 h 110611"/>
                  <a:gd name="connsiteX3" fmla="*/ 23251 w 178319"/>
                  <a:gd name="connsiteY3" fmla="*/ 58104 h 110611"/>
                  <a:gd name="connsiteX4" fmla="*/ 6592 w 178319"/>
                  <a:gd name="connsiteY4" fmla="*/ 58002 h 110611"/>
                  <a:gd name="connsiteX5" fmla="*/ 0 w 178319"/>
                  <a:gd name="connsiteY5" fmla="*/ 51410 h 110611"/>
                  <a:gd name="connsiteX6" fmla="*/ 6592 w 178319"/>
                  <a:gd name="connsiteY6" fmla="*/ 44818 h 110611"/>
                  <a:gd name="connsiteX7" fmla="*/ 23532 w 178319"/>
                  <a:gd name="connsiteY7" fmla="*/ 44920 h 110611"/>
                  <a:gd name="connsiteX8" fmla="*/ 33139 w 178319"/>
                  <a:gd name="connsiteY8" fmla="*/ 44818 h 110611"/>
                  <a:gd name="connsiteX9" fmla="*/ 39425 w 178319"/>
                  <a:gd name="connsiteY9" fmla="*/ 49059 h 110611"/>
                  <a:gd name="connsiteX10" fmla="*/ 57745 w 178319"/>
                  <a:gd name="connsiteY10" fmla="*/ 95536 h 110611"/>
                  <a:gd name="connsiteX11" fmla="*/ 60913 w 178319"/>
                  <a:gd name="connsiteY11" fmla="*/ 97427 h 110611"/>
                  <a:gd name="connsiteX12" fmla="*/ 63698 w 178319"/>
                  <a:gd name="connsiteY12" fmla="*/ 94949 h 110611"/>
                  <a:gd name="connsiteX13" fmla="*/ 79897 w 178319"/>
                  <a:gd name="connsiteY13" fmla="*/ 13109 h 110611"/>
                  <a:gd name="connsiteX14" fmla="*/ 94717 w 178319"/>
                  <a:gd name="connsiteY14" fmla="*/ 53 h 110611"/>
                  <a:gd name="connsiteX15" fmla="*/ 111299 w 178319"/>
                  <a:gd name="connsiteY15" fmla="*/ 10835 h 110611"/>
                  <a:gd name="connsiteX16" fmla="*/ 130386 w 178319"/>
                  <a:gd name="connsiteY16" fmla="*/ 64364 h 110611"/>
                  <a:gd name="connsiteX17" fmla="*/ 133196 w 178319"/>
                  <a:gd name="connsiteY17" fmla="*/ 66408 h 110611"/>
                  <a:gd name="connsiteX18" fmla="*/ 136186 w 178319"/>
                  <a:gd name="connsiteY18" fmla="*/ 64620 h 110611"/>
                  <a:gd name="connsiteX19" fmla="*/ 147760 w 178319"/>
                  <a:gd name="connsiteY19" fmla="*/ 39733 h 110611"/>
                  <a:gd name="connsiteX20" fmla="*/ 153739 w 178319"/>
                  <a:gd name="connsiteY20" fmla="*/ 35926 h 110611"/>
                  <a:gd name="connsiteX21" fmla="*/ 171727 w 178319"/>
                  <a:gd name="connsiteY21" fmla="*/ 35926 h 110611"/>
                  <a:gd name="connsiteX22" fmla="*/ 178319 w 178319"/>
                  <a:gd name="connsiteY22" fmla="*/ 42518 h 110611"/>
                  <a:gd name="connsiteX23" fmla="*/ 171727 w 178319"/>
                  <a:gd name="connsiteY23" fmla="*/ 49110 h 110611"/>
                  <a:gd name="connsiteX24" fmla="*/ 157955 w 178319"/>
                  <a:gd name="connsiteY24" fmla="*/ 49110 h 110611"/>
                  <a:gd name="connsiteX25" fmla="*/ 148169 w 178319"/>
                  <a:gd name="connsiteY25" fmla="*/ 70164 h 110611"/>
                  <a:gd name="connsiteX26" fmla="*/ 132609 w 178319"/>
                  <a:gd name="connsiteY26" fmla="*/ 79567 h 110611"/>
                  <a:gd name="connsiteX27" fmla="*/ 117994 w 178319"/>
                  <a:gd name="connsiteY27" fmla="*/ 68759 h 110611"/>
                  <a:gd name="connsiteX28" fmla="*/ 98907 w 178319"/>
                  <a:gd name="connsiteY28" fmla="*/ 15230 h 110611"/>
                  <a:gd name="connsiteX29" fmla="*/ 95739 w 178319"/>
                  <a:gd name="connsiteY29" fmla="*/ 13186 h 110611"/>
                  <a:gd name="connsiteX30" fmla="*/ 92903 w 178319"/>
                  <a:gd name="connsiteY30" fmla="*/ 15639 h 110611"/>
                  <a:gd name="connsiteX31" fmla="*/ 76704 w 178319"/>
                  <a:gd name="connsiteY31" fmla="*/ 97478 h 110611"/>
                  <a:gd name="connsiteX32" fmla="*/ 62191 w 178319"/>
                  <a:gd name="connsiteY32" fmla="*/ 110560 h 110611"/>
                  <a:gd name="connsiteX33" fmla="*/ 60555 w 178319"/>
                  <a:gd name="connsiteY33" fmla="*/ 110611 h 110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78319" h="110611">
                    <a:moveTo>
                      <a:pt x="60555" y="110611"/>
                    </a:moveTo>
                    <a:cubicBezTo>
                      <a:pt x="53912" y="110611"/>
                      <a:pt x="47984" y="106651"/>
                      <a:pt x="45480" y="100391"/>
                    </a:cubicBezTo>
                    <a:cubicBezTo>
                      <a:pt x="40268" y="87360"/>
                      <a:pt x="34136" y="71953"/>
                      <a:pt x="28770" y="58079"/>
                    </a:cubicBezTo>
                    <a:cubicBezTo>
                      <a:pt x="25398" y="58130"/>
                      <a:pt x="24810" y="58130"/>
                      <a:pt x="23251" y="58104"/>
                    </a:cubicBezTo>
                    <a:cubicBezTo>
                      <a:pt x="21386" y="58079"/>
                      <a:pt x="18116" y="58002"/>
                      <a:pt x="6592" y="58002"/>
                    </a:cubicBezTo>
                    <a:cubicBezTo>
                      <a:pt x="2938" y="58002"/>
                      <a:pt x="0" y="55038"/>
                      <a:pt x="0" y="51410"/>
                    </a:cubicBezTo>
                    <a:cubicBezTo>
                      <a:pt x="0" y="47756"/>
                      <a:pt x="2964" y="44818"/>
                      <a:pt x="6592" y="44818"/>
                    </a:cubicBezTo>
                    <a:cubicBezTo>
                      <a:pt x="18294" y="44818"/>
                      <a:pt x="21642" y="44894"/>
                      <a:pt x="23532" y="44920"/>
                    </a:cubicBezTo>
                    <a:cubicBezTo>
                      <a:pt x="25500" y="44971"/>
                      <a:pt x="25832" y="44971"/>
                      <a:pt x="33139" y="44818"/>
                    </a:cubicBezTo>
                    <a:cubicBezTo>
                      <a:pt x="35746" y="44767"/>
                      <a:pt x="38428" y="46453"/>
                      <a:pt x="39425" y="49059"/>
                    </a:cubicBezTo>
                    <a:cubicBezTo>
                      <a:pt x="45148" y="63955"/>
                      <a:pt x="51996" y="81177"/>
                      <a:pt x="57745" y="95536"/>
                    </a:cubicBezTo>
                    <a:cubicBezTo>
                      <a:pt x="58486" y="97376"/>
                      <a:pt x="60044" y="97529"/>
                      <a:pt x="60913" y="97427"/>
                    </a:cubicBezTo>
                    <a:cubicBezTo>
                      <a:pt x="61629" y="97350"/>
                      <a:pt x="63289" y="96993"/>
                      <a:pt x="63698" y="94949"/>
                    </a:cubicBezTo>
                    <a:lnTo>
                      <a:pt x="79897" y="13109"/>
                    </a:lnTo>
                    <a:cubicBezTo>
                      <a:pt x="81328" y="5827"/>
                      <a:pt x="87282" y="589"/>
                      <a:pt x="94717" y="53"/>
                    </a:cubicBezTo>
                    <a:cubicBezTo>
                      <a:pt x="102203" y="-535"/>
                      <a:pt x="108821" y="3834"/>
                      <a:pt x="111299" y="10835"/>
                    </a:cubicBezTo>
                    <a:lnTo>
                      <a:pt x="130386" y="64364"/>
                    </a:lnTo>
                    <a:cubicBezTo>
                      <a:pt x="131025" y="66127"/>
                      <a:pt x="132558" y="66383"/>
                      <a:pt x="133196" y="66408"/>
                    </a:cubicBezTo>
                    <a:cubicBezTo>
                      <a:pt x="133861" y="66434"/>
                      <a:pt x="135394" y="66306"/>
                      <a:pt x="136186" y="64620"/>
                    </a:cubicBezTo>
                    <a:lnTo>
                      <a:pt x="147760" y="39733"/>
                    </a:lnTo>
                    <a:cubicBezTo>
                      <a:pt x="148834" y="37408"/>
                      <a:pt x="151184" y="35926"/>
                      <a:pt x="153739" y="35926"/>
                    </a:cubicBezTo>
                    <a:lnTo>
                      <a:pt x="171727" y="35926"/>
                    </a:lnTo>
                    <a:cubicBezTo>
                      <a:pt x="175381" y="35926"/>
                      <a:pt x="178319" y="38890"/>
                      <a:pt x="178319" y="42518"/>
                    </a:cubicBezTo>
                    <a:cubicBezTo>
                      <a:pt x="178319" y="46172"/>
                      <a:pt x="175355" y="49110"/>
                      <a:pt x="171727" y="49110"/>
                    </a:cubicBezTo>
                    <a:lnTo>
                      <a:pt x="157955" y="49110"/>
                    </a:lnTo>
                    <a:lnTo>
                      <a:pt x="148169" y="70164"/>
                    </a:lnTo>
                    <a:cubicBezTo>
                      <a:pt x="145384" y="76194"/>
                      <a:pt x="139278" y="79848"/>
                      <a:pt x="132609" y="79567"/>
                    </a:cubicBezTo>
                    <a:cubicBezTo>
                      <a:pt x="125966" y="79260"/>
                      <a:pt x="120217" y="75019"/>
                      <a:pt x="117994" y="68759"/>
                    </a:cubicBezTo>
                    <a:lnTo>
                      <a:pt x="98907" y="15230"/>
                    </a:lnTo>
                    <a:cubicBezTo>
                      <a:pt x="98217" y="13314"/>
                      <a:pt x="96608" y="13135"/>
                      <a:pt x="95739" y="13186"/>
                    </a:cubicBezTo>
                    <a:cubicBezTo>
                      <a:pt x="94845" y="13262"/>
                      <a:pt x="93312" y="13671"/>
                      <a:pt x="92903" y="15639"/>
                    </a:cubicBezTo>
                    <a:lnTo>
                      <a:pt x="76704" y="97478"/>
                    </a:lnTo>
                    <a:cubicBezTo>
                      <a:pt x="75298" y="104632"/>
                      <a:pt x="69447" y="109870"/>
                      <a:pt x="62191" y="110560"/>
                    </a:cubicBezTo>
                    <a:cubicBezTo>
                      <a:pt x="61603" y="110586"/>
                      <a:pt x="61066" y="110611"/>
                      <a:pt x="60555" y="110611"/>
                    </a:cubicBezTo>
                    <a:close/>
                  </a:path>
                </a:pathLst>
              </a:custGeom>
              <a:grpFill/>
              <a:ln w="2555" cap="flat">
                <a:noFill/>
                <a:prstDash val="solid"/>
                <a:miter/>
              </a:ln>
            </p:spPr>
            <p:txBody>
              <a:bodyPr rtlCol="0" anchor="ctr"/>
              <a:lstStyle/>
              <a:p>
                <a:endParaRPr lang="en-GB" dirty="0"/>
              </a:p>
            </p:txBody>
          </p:sp>
        </p:grpSp>
        <p:grpSp>
          <p:nvGrpSpPr>
            <p:cNvPr id="53" name="Group 52">
              <a:extLst>
                <a:ext uri="{FF2B5EF4-FFF2-40B4-BE49-F238E27FC236}">
                  <a16:creationId xmlns:a16="http://schemas.microsoft.com/office/drawing/2014/main" id="{05E5918C-97EA-4C9A-BE52-220E7C3EE0AF}"/>
                </a:ext>
              </a:extLst>
            </p:cNvPr>
            <p:cNvGrpSpPr/>
            <p:nvPr/>
          </p:nvGrpSpPr>
          <p:grpSpPr>
            <a:xfrm>
              <a:off x="593478" y="1585984"/>
              <a:ext cx="401144" cy="390085"/>
              <a:chOff x="911960" y="2478341"/>
              <a:chExt cx="379992" cy="369516"/>
            </a:xfrm>
            <a:solidFill>
              <a:schemeClr val="accent1"/>
            </a:solidFill>
          </p:grpSpPr>
          <p:sp>
            <p:nvSpPr>
              <p:cNvPr id="54" name="Freihandform: Form 311">
                <a:extLst>
                  <a:ext uri="{FF2B5EF4-FFF2-40B4-BE49-F238E27FC236}">
                    <a16:creationId xmlns:a16="http://schemas.microsoft.com/office/drawing/2014/main" id="{AD8FA2DD-B170-42DC-982E-9E99B931CEAF}"/>
                  </a:ext>
                </a:extLst>
              </p:cNvPr>
              <p:cNvSpPr/>
              <p:nvPr/>
            </p:nvSpPr>
            <p:spPr>
              <a:xfrm>
                <a:off x="924745" y="2669726"/>
                <a:ext cx="69227" cy="121306"/>
              </a:xfrm>
              <a:custGeom>
                <a:avLst/>
                <a:gdLst>
                  <a:gd name="connsiteX0" fmla="*/ 62642 w 69227"/>
                  <a:gd name="connsiteY0" fmla="*/ 121307 h 121306"/>
                  <a:gd name="connsiteX1" fmla="*/ 58247 w 69227"/>
                  <a:gd name="connsiteY1" fmla="*/ 119620 h 121306"/>
                  <a:gd name="connsiteX2" fmla="*/ 42 w 69227"/>
                  <a:gd name="connsiteY2" fmla="*/ 7350 h 121306"/>
                  <a:gd name="connsiteX3" fmla="*/ 5842 w 69227"/>
                  <a:gd name="connsiteY3" fmla="*/ 42 h 121306"/>
                  <a:gd name="connsiteX4" fmla="*/ 13150 w 69227"/>
                  <a:gd name="connsiteY4" fmla="*/ 5842 h 121306"/>
                  <a:gd name="connsiteX5" fmla="*/ 67037 w 69227"/>
                  <a:gd name="connsiteY5" fmla="*/ 109783 h 121306"/>
                  <a:gd name="connsiteX6" fmla="*/ 67548 w 69227"/>
                  <a:gd name="connsiteY6" fmla="*/ 119109 h 121306"/>
                  <a:gd name="connsiteX7" fmla="*/ 62642 w 69227"/>
                  <a:gd name="connsiteY7" fmla="*/ 121307 h 12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27" h="121306">
                    <a:moveTo>
                      <a:pt x="62642" y="121307"/>
                    </a:moveTo>
                    <a:cubicBezTo>
                      <a:pt x="61083" y="121307"/>
                      <a:pt x="59499" y="120744"/>
                      <a:pt x="58247" y="119620"/>
                    </a:cubicBezTo>
                    <a:cubicBezTo>
                      <a:pt x="25670" y="90441"/>
                      <a:pt x="4999" y="50582"/>
                      <a:pt x="42" y="7350"/>
                    </a:cubicBezTo>
                    <a:cubicBezTo>
                      <a:pt x="-367" y="3722"/>
                      <a:pt x="2240" y="451"/>
                      <a:pt x="5842" y="42"/>
                    </a:cubicBezTo>
                    <a:cubicBezTo>
                      <a:pt x="9496" y="-367"/>
                      <a:pt x="12741" y="2240"/>
                      <a:pt x="13150" y="5842"/>
                    </a:cubicBezTo>
                    <a:cubicBezTo>
                      <a:pt x="17749" y="45855"/>
                      <a:pt x="36887" y="82776"/>
                      <a:pt x="67037" y="109783"/>
                    </a:cubicBezTo>
                    <a:cubicBezTo>
                      <a:pt x="69745" y="112210"/>
                      <a:pt x="69975" y="116375"/>
                      <a:pt x="67548" y="119109"/>
                    </a:cubicBezTo>
                    <a:cubicBezTo>
                      <a:pt x="66270" y="120566"/>
                      <a:pt x="64456" y="121307"/>
                      <a:pt x="62642" y="121307"/>
                    </a:cubicBezTo>
                    <a:close/>
                  </a:path>
                </a:pathLst>
              </a:custGeom>
              <a:solidFill>
                <a:schemeClr val="accent1"/>
              </a:solidFill>
              <a:ln w="2555" cap="flat">
                <a:noFill/>
                <a:prstDash val="solid"/>
                <a:miter/>
              </a:ln>
            </p:spPr>
            <p:txBody>
              <a:bodyPr rtlCol="0" anchor="ctr"/>
              <a:lstStyle/>
              <a:p>
                <a:endParaRPr lang="en-GB" dirty="0"/>
              </a:p>
            </p:txBody>
          </p:sp>
          <p:sp>
            <p:nvSpPr>
              <p:cNvPr id="55" name="Freihandform: Form 312">
                <a:extLst>
                  <a:ext uri="{FF2B5EF4-FFF2-40B4-BE49-F238E27FC236}">
                    <a16:creationId xmlns:a16="http://schemas.microsoft.com/office/drawing/2014/main" id="{D6B03194-D13F-4BD7-A305-A53C5A84DC5A}"/>
                  </a:ext>
                </a:extLst>
              </p:cNvPr>
              <p:cNvSpPr/>
              <p:nvPr/>
            </p:nvSpPr>
            <p:spPr>
              <a:xfrm>
                <a:off x="925627" y="2480306"/>
                <a:ext cx="156427" cy="156425"/>
              </a:xfrm>
              <a:custGeom>
                <a:avLst/>
                <a:gdLst>
                  <a:gd name="connsiteX0" fmla="*/ 6621 w 156427"/>
                  <a:gd name="connsiteY0" fmla="*/ 156425 h 156425"/>
                  <a:gd name="connsiteX1" fmla="*/ 5598 w 156427"/>
                  <a:gd name="connsiteY1" fmla="*/ 156348 h 156425"/>
                  <a:gd name="connsiteX2" fmla="*/ 80 w 156427"/>
                  <a:gd name="connsiteY2" fmla="*/ 148811 h 156425"/>
                  <a:gd name="connsiteX3" fmla="*/ 148811 w 156427"/>
                  <a:gd name="connsiteY3" fmla="*/ 80 h 156425"/>
                  <a:gd name="connsiteX4" fmla="*/ 156348 w 156427"/>
                  <a:gd name="connsiteY4" fmla="*/ 5599 h 156425"/>
                  <a:gd name="connsiteX5" fmla="*/ 150829 w 156427"/>
                  <a:gd name="connsiteY5" fmla="*/ 13136 h 156425"/>
                  <a:gd name="connsiteX6" fmla="*/ 13136 w 156427"/>
                  <a:gd name="connsiteY6" fmla="*/ 150829 h 156425"/>
                  <a:gd name="connsiteX7" fmla="*/ 6621 w 156427"/>
                  <a:gd name="connsiteY7" fmla="*/ 156425 h 15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427" h="156425">
                    <a:moveTo>
                      <a:pt x="6621" y="156425"/>
                    </a:moveTo>
                    <a:cubicBezTo>
                      <a:pt x="6288" y="156425"/>
                      <a:pt x="5956" y="156400"/>
                      <a:pt x="5598" y="156348"/>
                    </a:cubicBezTo>
                    <a:cubicBezTo>
                      <a:pt x="1996" y="155786"/>
                      <a:pt x="-483" y="152414"/>
                      <a:pt x="80" y="148811"/>
                    </a:cubicBezTo>
                    <a:cubicBezTo>
                      <a:pt x="11986" y="71750"/>
                      <a:pt x="71750" y="11986"/>
                      <a:pt x="148811" y="80"/>
                    </a:cubicBezTo>
                    <a:cubicBezTo>
                      <a:pt x="152388" y="-483"/>
                      <a:pt x="155786" y="1996"/>
                      <a:pt x="156348" y="5599"/>
                    </a:cubicBezTo>
                    <a:cubicBezTo>
                      <a:pt x="156911" y="9201"/>
                      <a:pt x="154432" y="12574"/>
                      <a:pt x="150829" y="13136"/>
                    </a:cubicBezTo>
                    <a:cubicBezTo>
                      <a:pt x="79492" y="24148"/>
                      <a:pt x="24148" y="79492"/>
                      <a:pt x="13136" y="150829"/>
                    </a:cubicBezTo>
                    <a:cubicBezTo>
                      <a:pt x="12625" y="154074"/>
                      <a:pt x="9814" y="156425"/>
                      <a:pt x="6621" y="156425"/>
                    </a:cubicBezTo>
                    <a:close/>
                  </a:path>
                </a:pathLst>
              </a:custGeom>
              <a:solidFill>
                <a:schemeClr val="accent1"/>
              </a:solidFill>
              <a:ln w="2555" cap="flat">
                <a:noFill/>
                <a:prstDash val="solid"/>
                <a:miter/>
              </a:ln>
            </p:spPr>
            <p:txBody>
              <a:bodyPr rtlCol="0" anchor="ctr"/>
              <a:lstStyle/>
              <a:p>
                <a:endParaRPr lang="en-GB" dirty="0"/>
              </a:p>
            </p:txBody>
          </p:sp>
          <p:sp>
            <p:nvSpPr>
              <p:cNvPr id="56" name="Freihandform: Form 313">
                <a:extLst>
                  <a:ext uri="{FF2B5EF4-FFF2-40B4-BE49-F238E27FC236}">
                    <a16:creationId xmlns:a16="http://schemas.microsoft.com/office/drawing/2014/main" id="{5F360B42-F597-48CE-AD86-E12578BC6861}"/>
                  </a:ext>
                </a:extLst>
              </p:cNvPr>
              <p:cNvSpPr/>
              <p:nvPr/>
            </p:nvSpPr>
            <p:spPr>
              <a:xfrm>
                <a:off x="1121628" y="2480280"/>
                <a:ext cx="156402" cy="156425"/>
              </a:xfrm>
              <a:custGeom>
                <a:avLst/>
                <a:gdLst>
                  <a:gd name="connsiteX0" fmla="*/ 149807 w 156402"/>
                  <a:gd name="connsiteY0" fmla="*/ 156425 h 156425"/>
                  <a:gd name="connsiteX1" fmla="*/ 143292 w 156402"/>
                  <a:gd name="connsiteY1" fmla="*/ 150829 h 156425"/>
                  <a:gd name="connsiteX2" fmla="*/ 5599 w 156402"/>
                  <a:gd name="connsiteY2" fmla="*/ 13136 h 156425"/>
                  <a:gd name="connsiteX3" fmla="*/ 80 w 156402"/>
                  <a:gd name="connsiteY3" fmla="*/ 5599 h 156425"/>
                  <a:gd name="connsiteX4" fmla="*/ 7617 w 156402"/>
                  <a:gd name="connsiteY4" fmla="*/ 80 h 156425"/>
                  <a:gd name="connsiteX5" fmla="*/ 156323 w 156402"/>
                  <a:gd name="connsiteY5" fmla="*/ 148785 h 156425"/>
                  <a:gd name="connsiteX6" fmla="*/ 150804 w 156402"/>
                  <a:gd name="connsiteY6" fmla="*/ 156323 h 156425"/>
                  <a:gd name="connsiteX7" fmla="*/ 149807 w 156402"/>
                  <a:gd name="connsiteY7" fmla="*/ 156425 h 15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402" h="156425">
                    <a:moveTo>
                      <a:pt x="149807" y="156425"/>
                    </a:moveTo>
                    <a:cubicBezTo>
                      <a:pt x="146614" y="156425"/>
                      <a:pt x="143803" y="154100"/>
                      <a:pt x="143292" y="150829"/>
                    </a:cubicBezTo>
                    <a:cubicBezTo>
                      <a:pt x="132280" y="79492"/>
                      <a:pt x="76936" y="24174"/>
                      <a:pt x="5599" y="13136"/>
                    </a:cubicBezTo>
                    <a:cubicBezTo>
                      <a:pt x="1996" y="12574"/>
                      <a:pt x="-483" y="9201"/>
                      <a:pt x="80" y="5599"/>
                    </a:cubicBezTo>
                    <a:cubicBezTo>
                      <a:pt x="642" y="1996"/>
                      <a:pt x="4014" y="-483"/>
                      <a:pt x="7617" y="80"/>
                    </a:cubicBezTo>
                    <a:cubicBezTo>
                      <a:pt x="84678" y="11986"/>
                      <a:pt x="144442" y="71750"/>
                      <a:pt x="156323" y="148785"/>
                    </a:cubicBezTo>
                    <a:cubicBezTo>
                      <a:pt x="156885" y="152388"/>
                      <a:pt x="154407" y="155761"/>
                      <a:pt x="150804" y="156323"/>
                    </a:cubicBezTo>
                    <a:cubicBezTo>
                      <a:pt x="150497" y="156400"/>
                      <a:pt x="150140" y="156425"/>
                      <a:pt x="149807" y="156425"/>
                    </a:cubicBezTo>
                    <a:close/>
                  </a:path>
                </a:pathLst>
              </a:custGeom>
              <a:solidFill>
                <a:schemeClr val="accent1"/>
              </a:solidFill>
              <a:ln w="2555" cap="flat">
                <a:noFill/>
                <a:prstDash val="solid"/>
                <a:miter/>
              </a:ln>
            </p:spPr>
            <p:txBody>
              <a:bodyPr rtlCol="0" anchor="ctr"/>
              <a:lstStyle/>
              <a:p>
                <a:endParaRPr lang="en-GB" dirty="0"/>
              </a:p>
            </p:txBody>
          </p:sp>
          <p:sp>
            <p:nvSpPr>
              <p:cNvPr id="57" name="Freihandform: Form 314">
                <a:extLst>
                  <a:ext uri="{FF2B5EF4-FFF2-40B4-BE49-F238E27FC236}">
                    <a16:creationId xmlns:a16="http://schemas.microsoft.com/office/drawing/2014/main" id="{5B79ECE7-0543-4F61-9319-DE3F38FEF996}"/>
                  </a:ext>
                </a:extLst>
              </p:cNvPr>
              <p:cNvSpPr/>
              <p:nvPr/>
            </p:nvSpPr>
            <p:spPr>
              <a:xfrm>
                <a:off x="1209803" y="2669730"/>
                <a:ext cx="69134" cy="121200"/>
              </a:xfrm>
              <a:custGeom>
                <a:avLst/>
                <a:gdLst>
                  <a:gd name="connsiteX0" fmla="*/ 6595 w 69134"/>
                  <a:gd name="connsiteY0" fmla="*/ 121200 h 121200"/>
                  <a:gd name="connsiteX1" fmla="*/ 1689 w 69134"/>
                  <a:gd name="connsiteY1" fmla="*/ 119003 h 121200"/>
                  <a:gd name="connsiteX2" fmla="*/ 2200 w 69134"/>
                  <a:gd name="connsiteY2" fmla="*/ 109677 h 121200"/>
                  <a:gd name="connsiteX3" fmla="*/ 55985 w 69134"/>
                  <a:gd name="connsiteY3" fmla="*/ 5838 h 121200"/>
                  <a:gd name="connsiteX4" fmla="*/ 63292 w 69134"/>
                  <a:gd name="connsiteY4" fmla="*/ 38 h 121200"/>
                  <a:gd name="connsiteX5" fmla="*/ 69092 w 69134"/>
                  <a:gd name="connsiteY5" fmla="*/ 7346 h 121200"/>
                  <a:gd name="connsiteX6" fmla="*/ 11015 w 69134"/>
                  <a:gd name="connsiteY6" fmla="*/ 119488 h 121200"/>
                  <a:gd name="connsiteX7" fmla="*/ 6595 w 69134"/>
                  <a:gd name="connsiteY7" fmla="*/ 121200 h 12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134" h="121200">
                    <a:moveTo>
                      <a:pt x="6595" y="121200"/>
                    </a:moveTo>
                    <a:cubicBezTo>
                      <a:pt x="4781" y="121200"/>
                      <a:pt x="2992" y="120459"/>
                      <a:pt x="1689" y="119003"/>
                    </a:cubicBezTo>
                    <a:cubicBezTo>
                      <a:pt x="-738" y="116294"/>
                      <a:pt x="-534" y="112104"/>
                      <a:pt x="2200" y="109677"/>
                    </a:cubicBezTo>
                    <a:cubicBezTo>
                      <a:pt x="32299" y="82669"/>
                      <a:pt x="51411" y="45800"/>
                      <a:pt x="55985" y="5838"/>
                    </a:cubicBezTo>
                    <a:cubicBezTo>
                      <a:pt x="56394" y="2210"/>
                      <a:pt x="59715" y="-345"/>
                      <a:pt x="63292" y="38"/>
                    </a:cubicBezTo>
                    <a:cubicBezTo>
                      <a:pt x="66921" y="447"/>
                      <a:pt x="69501" y="3717"/>
                      <a:pt x="69092" y="7346"/>
                    </a:cubicBezTo>
                    <a:cubicBezTo>
                      <a:pt x="64135" y="50526"/>
                      <a:pt x="43490" y="90360"/>
                      <a:pt x="11015" y="119488"/>
                    </a:cubicBezTo>
                    <a:cubicBezTo>
                      <a:pt x="9738" y="120638"/>
                      <a:pt x="8179" y="121200"/>
                      <a:pt x="6595" y="121200"/>
                    </a:cubicBezTo>
                    <a:close/>
                  </a:path>
                </a:pathLst>
              </a:custGeom>
              <a:solidFill>
                <a:schemeClr val="accent1"/>
              </a:solidFill>
              <a:ln w="2555" cap="flat">
                <a:noFill/>
                <a:prstDash val="solid"/>
                <a:miter/>
              </a:ln>
            </p:spPr>
            <p:txBody>
              <a:bodyPr rtlCol="0" anchor="ctr"/>
              <a:lstStyle/>
              <a:p>
                <a:endParaRPr lang="en-GB" dirty="0"/>
              </a:p>
            </p:txBody>
          </p:sp>
          <p:grpSp>
            <p:nvGrpSpPr>
              <p:cNvPr id="58" name="Grafik 277">
                <a:extLst>
                  <a:ext uri="{FF2B5EF4-FFF2-40B4-BE49-F238E27FC236}">
                    <a16:creationId xmlns:a16="http://schemas.microsoft.com/office/drawing/2014/main" id="{19A3DE28-6753-4A58-A354-B537A80DA0EF}"/>
                  </a:ext>
                </a:extLst>
              </p:cNvPr>
              <p:cNvGrpSpPr/>
              <p:nvPr/>
            </p:nvGrpSpPr>
            <p:grpSpPr>
              <a:xfrm>
                <a:off x="1222716" y="2478878"/>
                <a:ext cx="69236" cy="69855"/>
                <a:chOff x="1222716" y="2478878"/>
                <a:chExt cx="69236" cy="69855"/>
              </a:xfrm>
              <a:solidFill>
                <a:schemeClr val="accent1"/>
              </a:solidFill>
            </p:grpSpPr>
            <p:sp>
              <p:nvSpPr>
                <p:cNvPr id="68" name="Freihandform: Form 316">
                  <a:extLst>
                    <a:ext uri="{FF2B5EF4-FFF2-40B4-BE49-F238E27FC236}">
                      <a16:creationId xmlns:a16="http://schemas.microsoft.com/office/drawing/2014/main" id="{881213C5-F61A-4F14-A788-5D809B725B95}"/>
                    </a:ext>
                  </a:extLst>
                </p:cNvPr>
                <p:cNvSpPr/>
                <p:nvPr/>
              </p:nvSpPr>
              <p:spPr>
                <a:xfrm>
                  <a:off x="1222716" y="2479523"/>
                  <a:ext cx="69204" cy="69210"/>
                </a:xfrm>
                <a:custGeom>
                  <a:avLst/>
                  <a:gdLst>
                    <a:gd name="connsiteX0" fmla="*/ 6611 w 69204"/>
                    <a:gd name="connsiteY0" fmla="*/ 69211 h 69210"/>
                    <a:gd name="connsiteX1" fmla="*/ 1935 w 69204"/>
                    <a:gd name="connsiteY1" fmla="*/ 67269 h 69210"/>
                    <a:gd name="connsiteX2" fmla="*/ 1935 w 69204"/>
                    <a:gd name="connsiteY2" fmla="*/ 57943 h 69210"/>
                    <a:gd name="connsiteX3" fmla="*/ 57943 w 69204"/>
                    <a:gd name="connsiteY3" fmla="*/ 1935 h 69210"/>
                    <a:gd name="connsiteX4" fmla="*/ 67269 w 69204"/>
                    <a:gd name="connsiteY4" fmla="*/ 1935 h 69210"/>
                    <a:gd name="connsiteX5" fmla="*/ 67269 w 69204"/>
                    <a:gd name="connsiteY5" fmla="*/ 11262 h 69210"/>
                    <a:gd name="connsiteX6" fmla="*/ 11262 w 69204"/>
                    <a:gd name="connsiteY6" fmla="*/ 67269 h 69210"/>
                    <a:gd name="connsiteX7" fmla="*/ 6611 w 69204"/>
                    <a:gd name="connsiteY7" fmla="*/ 69211 h 6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4" h="69210">
                      <a:moveTo>
                        <a:pt x="6611" y="69211"/>
                      </a:moveTo>
                      <a:cubicBezTo>
                        <a:pt x="4925" y="69211"/>
                        <a:pt x="3239" y="68572"/>
                        <a:pt x="1935" y="67269"/>
                      </a:cubicBezTo>
                      <a:cubicBezTo>
                        <a:pt x="-645" y="64688"/>
                        <a:pt x="-645" y="60524"/>
                        <a:pt x="1935" y="57943"/>
                      </a:cubicBezTo>
                      <a:lnTo>
                        <a:pt x="57943" y="1935"/>
                      </a:lnTo>
                      <a:cubicBezTo>
                        <a:pt x="60524" y="-645"/>
                        <a:pt x="64688" y="-645"/>
                        <a:pt x="67269" y="1935"/>
                      </a:cubicBezTo>
                      <a:cubicBezTo>
                        <a:pt x="69850" y="4516"/>
                        <a:pt x="69850" y="8681"/>
                        <a:pt x="67269" y="11262"/>
                      </a:cubicBezTo>
                      <a:lnTo>
                        <a:pt x="11262" y="67269"/>
                      </a:lnTo>
                      <a:cubicBezTo>
                        <a:pt x="9984" y="68546"/>
                        <a:pt x="8298" y="69211"/>
                        <a:pt x="6611" y="69211"/>
                      </a:cubicBezTo>
                      <a:close/>
                    </a:path>
                  </a:pathLst>
                </a:custGeom>
                <a:solidFill>
                  <a:schemeClr val="accent1"/>
                </a:solidFill>
                <a:ln w="2555" cap="flat">
                  <a:noFill/>
                  <a:prstDash val="solid"/>
                  <a:miter/>
                </a:ln>
              </p:spPr>
              <p:txBody>
                <a:bodyPr rtlCol="0" anchor="ctr"/>
                <a:lstStyle/>
                <a:p>
                  <a:endParaRPr lang="en-GB" dirty="0"/>
                </a:p>
              </p:txBody>
            </p:sp>
            <p:sp>
              <p:nvSpPr>
                <p:cNvPr id="69" name="Freihandform: Form 317">
                  <a:extLst>
                    <a:ext uri="{FF2B5EF4-FFF2-40B4-BE49-F238E27FC236}">
                      <a16:creationId xmlns:a16="http://schemas.microsoft.com/office/drawing/2014/main" id="{9494BED4-A6EE-43C8-BC66-BDDFDBD48F7C}"/>
                    </a:ext>
                  </a:extLst>
                </p:cNvPr>
                <p:cNvSpPr/>
                <p:nvPr/>
              </p:nvSpPr>
              <p:spPr>
                <a:xfrm>
                  <a:off x="1252374" y="2478878"/>
                  <a:ext cx="39578" cy="39578"/>
                </a:xfrm>
                <a:custGeom>
                  <a:avLst/>
                  <a:gdLst>
                    <a:gd name="connsiteX0" fmla="*/ 32986 w 39578"/>
                    <a:gd name="connsiteY0" fmla="*/ 39578 h 39578"/>
                    <a:gd name="connsiteX1" fmla="*/ 26394 w 39578"/>
                    <a:gd name="connsiteY1" fmla="*/ 32986 h 39578"/>
                    <a:gd name="connsiteX2" fmla="*/ 26394 w 39578"/>
                    <a:gd name="connsiteY2" fmla="*/ 13184 h 39578"/>
                    <a:gd name="connsiteX3" fmla="*/ 6592 w 39578"/>
                    <a:gd name="connsiteY3" fmla="*/ 13184 h 39578"/>
                    <a:gd name="connsiteX4" fmla="*/ 0 w 39578"/>
                    <a:gd name="connsiteY4" fmla="*/ 6592 h 39578"/>
                    <a:gd name="connsiteX5" fmla="*/ 6592 w 39578"/>
                    <a:gd name="connsiteY5" fmla="*/ 0 h 39578"/>
                    <a:gd name="connsiteX6" fmla="*/ 32986 w 39578"/>
                    <a:gd name="connsiteY6" fmla="*/ 0 h 39578"/>
                    <a:gd name="connsiteX7" fmla="*/ 39578 w 39578"/>
                    <a:gd name="connsiteY7" fmla="*/ 6592 h 39578"/>
                    <a:gd name="connsiteX8" fmla="*/ 39578 w 39578"/>
                    <a:gd name="connsiteY8" fmla="*/ 32986 h 39578"/>
                    <a:gd name="connsiteX9" fmla="*/ 32986 w 39578"/>
                    <a:gd name="connsiteY9" fmla="*/ 39578 h 39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78" h="39578">
                      <a:moveTo>
                        <a:pt x="32986" y="39578"/>
                      </a:moveTo>
                      <a:cubicBezTo>
                        <a:pt x="29332" y="39578"/>
                        <a:pt x="26394" y="36614"/>
                        <a:pt x="26394" y="32986"/>
                      </a:cubicBezTo>
                      <a:lnTo>
                        <a:pt x="26394" y="13184"/>
                      </a:lnTo>
                      <a:lnTo>
                        <a:pt x="6592" y="13184"/>
                      </a:lnTo>
                      <a:cubicBezTo>
                        <a:pt x="2938" y="13184"/>
                        <a:pt x="0" y="10220"/>
                        <a:pt x="0" y="6592"/>
                      </a:cubicBezTo>
                      <a:cubicBezTo>
                        <a:pt x="0" y="2938"/>
                        <a:pt x="2964" y="0"/>
                        <a:pt x="6592" y="0"/>
                      </a:cubicBezTo>
                      <a:lnTo>
                        <a:pt x="32986" y="0"/>
                      </a:lnTo>
                      <a:cubicBezTo>
                        <a:pt x="36640" y="0"/>
                        <a:pt x="39578" y="2964"/>
                        <a:pt x="39578" y="6592"/>
                      </a:cubicBezTo>
                      <a:lnTo>
                        <a:pt x="39578" y="32986"/>
                      </a:lnTo>
                      <a:cubicBezTo>
                        <a:pt x="39578" y="36614"/>
                        <a:pt x="36640" y="39578"/>
                        <a:pt x="32986" y="39578"/>
                      </a:cubicBezTo>
                      <a:close/>
                    </a:path>
                  </a:pathLst>
                </a:custGeom>
                <a:solidFill>
                  <a:schemeClr val="accent1"/>
                </a:solidFill>
                <a:ln w="2555" cap="flat">
                  <a:noFill/>
                  <a:prstDash val="solid"/>
                  <a:miter/>
                </a:ln>
              </p:spPr>
              <p:txBody>
                <a:bodyPr rtlCol="0" anchor="ctr"/>
                <a:lstStyle/>
                <a:p>
                  <a:endParaRPr lang="en-GB" dirty="0"/>
                </a:p>
              </p:txBody>
            </p:sp>
          </p:grpSp>
          <p:grpSp>
            <p:nvGrpSpPr>
              <p:cNvPr id="59" name="Grafik 277">
                <a:extLst>
                  <a:ext uri="{FF2B5EF4-FFF2-40B4-BE49-F238E27FC236}">
                    <a16:creationId xmlns:a16="http://schemas.microsoft.com/office/drawing/2014/main" id="{E6F7EF54-A72F-47C7-BDCA-704EB17927B6}"/>
                  </a:ext>
                </a:extLst>
              </p:cNvPr>
              <p:cNvGrpSpPr/>
              <p:nvPr/>
            </p:nvGrpSpPr>
            <p:grpSpPr>
              <a:xfrm>
                <a:off x="1210017" y="2777982"/>
                <a:ext cx="69236" cy="69875"/>
                <a:chOff x="1210017" y="2777982"/>
                <a:chExt cx="69236" cy="69875"/>
              </a:xfrm>
              <a:solidFill>
                <a:schemeClr val="accent1"/>
              </a:solidFill>
            </p:grpSpPr>
            <p:sp>
              <p:nvSpPr>
                <p:cNvPr id="66" name="Freihandform: Form 319">
                  <a:extLst>
                    <a:ext uri="{FF2B5EF4-FFF2-40B4-BE49-F238E27FC236}">
                      <a16:creationId xmlns:a16="http://schemas.microsoft.com/office/drawing/2014/main" id="{01708DED-1660-46EE-836A-E7F1329755C9}"/>
                    </a:ext>
                  </a:extLst>
                </p:cNvPr>
                <p:cNvSpPr/>
                <p:nvPr/>
              </p:nvSpPr>
              <p:spPr>
                <a:xfrm>
                  <a:off x="1210017" y="2777982"/>
                  <a:ext cx="69204" cy="69210"/>
                </a:xfrm>
                <a:custGeom>
                  <a:avLst/>
                  <a:gdLst>
                    <a:gd name="connsiteX0" fmla="*/ 62619 w 69204"/>
                    <a:gd name="connsiteY0" fmla="*/ 69211 h 69210"/>
                    <a:gd name="connsiteX1" fmla="*/ 57943 w 69204"/>
                    <a:gd name="connsiteY1" fmla="*/ 67269 h 69210"/>
                    <a:gd name="connsiteX2" fmla="*/ 1935 w 69204"/>
                    <a:gd name="connsiteY2" fmla="*/ 11262 h 69210"/>
                    <a:gd name="connsiteX3" fmla="*/ 1935 w 69204"/>
                    <a:gd name="connsiteY3" fmla="*/ 1935 h 69210"/>
                    <a:gd name="connsiteX4" fmla="*/ 11262 w 69204"/>
                    <a:gd name="connsiteY4" fmla="*/ 1935 h 69210"/>
                    <a:gd name="connsiteX5" fmla="*/ 67269 w 69204"/>
                    <a:gd name="connsiteY5" fmla="*/ 57943 h 69210"/>
                    <a:gd name="connsiteX6" fmla="*/ 67269 w 69204"/>
                    <a:gd name="connsiteY6" fmla="*/ 67269 h 69210"/>
                    <a:gd name="connsiteX7" fmla="*/ 62619 w 69204"/>
                    <a:gd name="connsiteY7" fmla="*/ 69211 h 6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4" h="69210">
                      <a:moveTo>
                        <a:pt x="62619" y="69211"/>
                      </a:moveTo>
                      <a:cubicBezTo>
                        <a:pt x="60932" y="69211"/>
                        <a:pt x="59246" y="68572"/>
                        <a:pt x="57943" y="67269"/>
                      </a:cubicBezTo>
                      <a:lnTo>
                        <a:pt x="1935" y="11262"/>
                      </a:lnTo>
                      <a:cubicBezTo>
                        <a:pt x="-645" y="8681"/>
                        <a:pt x="-645" y="4516"/>
                        <a:pt x="1935" y="1935"/>
                      </a:cubicBezTo>
                      <a:cubicBezTo>
                        <a:pt x="4516" y="-645"/>
                        <a:pt x="8681" y="-645"/>
                        <a:pt x="11262" y="1935"/>
                      </a:cubicBezTo>
                      <a:lnTo>
                        <a:pt x="67269" y="57943"/>
                      </a:lnTo>
                      <a:cubicBezTo>
                        <a:pt x="69850" y="60524"/>
                        <a:pt x="69850" y="64688"/>
                        <a:pt x="67269" y="67269"/>
                      </a:cubicBezTo>
                      <a:cubicBezTo>
                        <a:pt x="66017" y="68572"/>
                        <a:pt x="64331" y="69211"/>
                        <a:pt x="62619" y="69211"/>
                      </a:cubicBezTo>
                      <a:close/>
                    </a:path>
                  </a:pathLst>
                </a:custGeom>
                <a:solidFill>
                  <a:schemeClr val="accent1"/>
                </a:solidFill>
                <a:ln w="2555" cap="flat">
                  <a:noFill/>
                  <a:prstDash val="solid"/>
                  <a:miter/>
                </a:ln>
              </p:spPr>
              <p:txBody>
                <a:bodyPr rtlCol="0" anchor="ctr"/>
                <a:lstStyle/>
                <a:p>
                  <a:endParaRPr lang="en-GB" dirty="0"/>
                </a:p>
              </p:txBody>
            </p:sp>
            <p:sp>
              <p:nvSpPr>
                <p:cNvPr id="67" name="Freihandform: Form 320">
                  <a:extLst>
                    <a:ext uri="{FF2B5EF4-FFF2-40B4-BE49-F238E27FC236}">
                      <a16:creationId xmlns:a16="http://schemas.microsoft.com/office/drawing/2014/main" id="{B5A01054-A633-4081-83A4-34A10BC82AA5}"/>
                    </a:ext>
                  </a:extLst>
                </p:cNvPr>
                <p:cNvSpPr/>
                <p:nvPr/>
              </p:nvSpPr>
              <p:spPr>
                <a:xfrm>
                  <a:off x="1239675" y="2808279"/>
                  <a:ext cx="39578" cy="39578"/>
                </a:xfrm>
                <a:custGeom>
                  <a:avLst/>
                  <a:gdLst>
                    <a:gd name="connsiteX0" fmla="*/ 32986 w 39578"/>
                    <a:gd name="connsiteY0" fmla="*/ 39578 h 39578"/>
                    <a:gd name="connsiteX1" fmla="*/ 6592 w 39578"/>
                    <a:gd name="connsiteY1" fmla="*/ 39578 h 39578"/>
                    <a:gd name="connsiteX2" fmla="*/ 0 w 39578"/>
                    <a:gd name="connsiteY2" fmla="*/ 32986 h 39578"/>
                    <a:gd name="connsiteX3" fmla="*/ 6592 w 39578"/>
                    <a:gd name="connsiteY3" fmla="*/ 26394 h 39578"/>
                    <a:gd name="connsiteX4" fmla="*/ 26394 w 39578"/>
                    <a:gd name="connsiteY4" fmla="*/ 26394 h 39578"/>
                    <a:gd name="connsiteX5" fmla="*/ 26394 w 39578"/>
                    <a:gd name="connsiteY5" fmla="*/ 6592 h 39578"/>
                    <a:gd name="connsiteX6" fmla="*/ 32986 w 39578"/>
                    <a:gd name="connsiteY6" fmla="*/ 0 h 39578"/>
                    <a:gd name="connsiteX7" fmla="*/ 39578 w 39578"/>
                    <a:gd name="connsiteY7" fmla="*/ 6592 h 39578"/>
                    <a:gd name="connsiteX8" fmla="*/ 39578 w 39578"/>
                    <a:gd name="connsiteY8" fmla="*/ 32986 h 39578"/>
                    <a:gd name="connsiteX9" fmla="*/ 32986 w 39578"/>
                    <a:gd name="connsiteY9" fmla="*/ 39578 h 39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78" h="39578">
                      <a:moveTo>
                        <a:pt x="32986" y="39578"/>
                      </a:moveTo>
                      <a:lnTo>
                        <a:pt x="6592" y="39578"/>
                      </a:lnTo>
                      <a:cubicBezTo>
                        <a:pt x="2938" y="39578"/>
                        <a:pt x="0" y="36614"/>
                        <a:pt x="0" y="32986"/>
                      </a:cubicBezTo>
                      <a:cubicBezTo>
                        <a:pt x="0" y="29332"/>
                        <a:pt x="2964" y="26394"/>
                        <a:pt x="6592" y="26394"/>
                      </a:cubicBezTo>
                      <a:lnTo>
                        <a:pt x="26394" y="26394"/>
                      </a:lnTo>
                      <a:lnTo>
                        <a:pt x="26394" y="6592"/>
                      </a:lnTo>
                      <a:cubicBezTo>
                        <a:pt x="26394" y="2938"/>
                        <a:pt x="29358" y="0"/>
                        <a:pt x="32986" y="0"/>
                      </a:cubicBezTo>
                      <a:cubicBezTo>
                        <a:pt x="36640" y="0"/>
                        <a:pt x="39578" y="2964"/>
                        <a:pt x="39578" y="6592"/>
                      </a:cubicBezTo>
                      <a:lnTo>
                        <a:pt x="39578" y="32986"/>
                      </a:lnTo>
                      <a:cubicBezTo>
                        <a:pt x="39604" y="36614"/>
                        <a:pt x="36640" y="39578"/>
                        <a:pt x="32986" y="39578"/>
                      </a:cubicBezTo>
                      <a:close/>
                    </a:path>
                  </a:pathLst>
                </a:custGeom>
                <a:solidFill>
                  <a:schemeClr val="accent1"/>
                </a:solidFill>
                <a:ln w="2555" cap="flat">
                  <a:noFill/>
                  <a:prstDash val="solid"/>
                  <a:miter/>
                </a:ln>
              </p:spPr>
              <p:txBody>
                <a:bodyPr rtlCol="0" anchor="ctr"/>
                <a:lstStyle/>
                <a:p>
                  <a:endParaRPr lang="en-GB" dirty="0"/>
                </a:p>
              </p:txBody>
            </p:sp>
          </p:grpSp>
          <p:grpSp>
            <p:nvGrpSpPr>
              <p:cNvPr id="60" name="Grafik 277">
                <a:extLst>
                  <a:ext uri="{FF2B5EF4-FFF2-40B4-BE49-F238E27FC236}">
                    <a16:creationId xmlns:a16="http://schemas.microsoft.com/office/drawing/2014/main" id="{54F37BA1-8A47-4DA4-8628-6F653D8BEDBA}"/>
                  </a:ext>
                </a:extLst>
              </p:cNvPr>
              <p:cNvGrpSpPr/>
              <p:nvPr/>
            </p:nvGrpSpPr>
            <p:grpSpPr>
              <a:xfrm>
                <a:off x="924966" y="2777650"/>
                <a:ext cx="69236" cy="69875"/>
                <a:chOff x="924966" y="2777650"/>
                <a:chExt cx="69236" cy="69875"/>
              </a:xfrm>
              <a:solidFill>
                <a:schemeClr val="accent1"/>
              </a:solidFill>
            </p:grpSpPr>
            <p:sp>
              <p:nvSpPr>
                <p:cNvPr id="64" name="Freihandform: Form 322">
                  <a:extLst>
                    <a:ext uri="{FF2B5EF4-FFF2-40B4-BE49-F238E27FC236}">
                      <a16:creationId xmlns:a16="http://schemas.microsoft.com/office/drawing/2014/main" id="{6F0F9356-059F-4578-9618-3848F6A175F2}"/>
                    </a:ext>
                  </a:extLst>
                </p:cNvPr>
                <p:cNvSpPr/>
                <p:nvPr/>
              </p:nvSpPr>
              <p:spPr>
                <a:xfrm>
                  <a:off x="924998" y="2777650"/>
                  <a:ext cx="69204" cy="69210"/>
                </a:xfrm>
                <a:custGeom>
                  <a:avLst/>
                  <a:gdLst>
                    <a:gd name="connsiteX0" fmla="*/ 6611 w 69204"/>
                    <a:gd name="connsiteY0" fmla="*/ 69211 h 69210"/>
                    <a:gd name="connsiteX1" fmla="*/ 1935 w 69204"/>
                    <a:gd name="connsiteY1" fmla="*/ 67269 h 69210"/>
                    <a:gd name="connsiteX2" fmla="*/ 1935 w 69204"/>
                    <a:gd name="connsiteY2" fmla="*/ 57943 h 69210"/>
                    <a:gd name="connsiteX3" fmla="*/ 57943 w 69204"/>
                    <a:gd name="connsiteY3" fmla="*/ 1935 h 69210"/>
                    <a:gd name="connsiteX4" fmla="*/ 67269 w 69204"/>
                    <a:gd name="connsiteY4" fmla="*/ 1935 h 69210"/>
                    <a:gd name="connsiteX5" fmla="*/ 67269 w 69204"/>
                    <a:gd name="connsiteY5" fmla="*/ 11262 h 69210"/>
                    <a:gd name="connsiteX6" fmla="*/ 11262 w 69204"/>
                    <a:gd name="connsiteY6" fmla="*/ 67269 h 69210"/>
                    <a:gd name="connsiteX7" fmla="*/ 6611 w 69204"/>
                    <a:gd name="connsiteY7" fmla="*/ 69211 h 6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4" h="69210">
                      <a:moveTo>
                        <a:pt x="6611" y="69211"/>
                      </a:moveTo>
                      <a:cubicBezTo>
                        <a:pt x="4925" y="69211"/>
                        <a:pt x="3239" y="68572"/>
                        <a:pt x="1935" y="67269"/>
                      </a:cubicBezTo>
                      <a:cubicBezTo>
                        <a:pt x="-645" y="64688"/>
                        <a:pt x="-645" y="60524"/>
                        <a:pt x="1935" y="57943"/>
                      </a:cubicBezTo>
                      <a:lnTo>
                        <a:pt x="57943" y="1935"/>
                      </a:lnTo>
                      <a:cubicBezTo>
                        <a:pt x="60524" y="-645"/>
                        <a:pt x="64688" y="-645"/>
                        <a:pt x="67269" y="1935"/>
                      </a:cubicBezTo>
                      <a:cubicBezTo>
                        <a:pt x="69850" y="4516"/>
                        <a:pt x="69850" y="8681"/>
                        <a:pt x="67269" y="11262"/>
                      </a:cubicBezTo>
                      <a:lnTo>
                        <a:pt x="11262" y="67269"/>
                      </a:lnTo>
                      <a:cubicBezTo>
                        <a:pt x="9984" y="68547"/>
                        <a:pt x="8298" y="69211"/>
                        <a:pt x="6611" y="69211"/>
                      </a:cubicBezTo>
                      <a:close/>
                    </a:path>
                  </a:pathLst>
                </a:custGeom>
                <a:solidFill>
                  <a:schemeClr val="accent1"/>
                </a:solidFill>
                <a:ln w="2555" cap="flat">
                  <a:noFill/>
                  <a:prstDash val="solid"/>
                  <a:miter/>
                </a:ln>
              </p:spPr>
              <p:txBody>
                <a:bodyPr rtlCol="0" anchor="ctr"/>
                <a:lstStyle/>
                <a:p>
                  <a:endParaRPr lang="en-GB" dirty="0"/>
                </a:p>
              </p:txBody>
            </p:sp>
            <p:sp>
              <p:nvSpPr>
                <p:cNvPr id="65" name="Freihandform: Form 323">
                  <a:extLst>
                    <a:ext uri="{FF2B5EF4-FFF2-40B4-BE49-F238E27FC236}">
                      <a16:creationId xmlns:a16="http://schemas.microsoft.com/office/drawing/2014/main" id="{5663DFF3-7FD8-43A0-8D45-81D3B28453F3}"/>
                    </a:ext>
                  </a:extLst>
                </p:cNvPr>
                <p:cNvSpPr/>
                <p:nvPr/>
              </p:nvSpPr>
              <p:spPr>
                <a:xfrm>
                  <a:off x="924966" y="2807947"/>
                  <a:ext cx="39578" cy="39578"/>
                </a:xfrm>
                <a:custGeom>
                  <a:avLst/>
                  <a:gdLst>
                    <a:gd name="connsiteX0" fmla="*/ 33012 w 39578"/>
                    <a:gd name="connsiteY0" fmla="*/ 39578 h 39578"/>
                    <a:gd name="connsiteX1" fmla="*/ 6592 w 39578"/>
                    <a:gd name="connsiteY1" fmla="*/ 39578 h 39578"/>
                    <a:gd name="connsiteX2" fmla="*/ 0 w 39578"/>
                    <a:gd name="connsiteY2" fmla="*/ 32986 h 39578"/>
                    <a:gd name="connsiteX3" fmla="*/ 0 w 39578"/>
                    <a:gd name="connsiteY3" fmla="*/ 6592 h 39578"/>
                    <a:gd name="connsiteX4" fmla="*/ 6592 w 39578"/>
                    <a:gd name="connsiteY4" fmla="*/ 0 h 39578"/>
                    <a:gd name="connsiteX5" fmla="*/ 13184 w 39578"/>
                    <a:gd name="connsiteY5" fmla="*/ 6592 h 39578"/>
                    <a:gd name="connsiteX6" fmla="*/ 13184 w 39578"/>
                    <a:gd name="connsiteY6" fmla="*/ 26394 h 39578"/>
                    <a:gd name="connsiteX7" fmla="*/ 32986 w 39578"/>
                    <a:gd name="connsiteY7" fmla="*/ 26394 h 39578"/>
                    <a:gd name="connsiteX8" fmla="*/ 39578 w 39578"/>
                    <a:gd name="connsiteY8" fmla="*/ 32986 h 39578"/>
                    <a:gd name="connsiteX9" fmla="*/ 33012 w 39578"/>
                    <a:gd name="connsiteY9" fmla="*/ 39578 h 39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78" h="39578">
                      <a:moveTo>
                        <a:pt x="33012" y="39578"/>
                      </a:moveTo>
                      <a:lnTo>
                        <a:pt x="6592" y="39578"/>
                      </a:lnTo>
                      <a:cubicBezTo>
                        <a:pt x="2938" y="39578"/>
                        <a:pt x="0" y="36614"/>
                        <a:pt x="0" y="32986"/>
                      </a:cubicBezTo>
                      <a:lnTo>
                        <a:pt x="0" y="6592"/>
                      </a:lnTo>
                      <a:cubicBezTo>
                        <a:pt x="0" y="2938"/>
                        <a:pt x="2964" y="0"/>
                        <a:pt x="6592" y="0"/>
                      </a:cubicBezTo>
                      <a:cubicBezTo>
                        <a:pt x="10246" y="0"/>
                        <a:pt x="13184" y="2964"/>
                        <a:pt x="13184" y="6592"/>
                      </a:cubicBezTo>
                      <a:lnTo>
                        <a:pt x="13184" y="26394"/>
                      </a:lnTo>
                      <a:lnTo>
                        <a:pt x="32986" y="26394"/>
                      </a:lnTo>
                      <a:cubicBezTo>
                        <a:pt x="36640" y="26394"/>
                        <a:pt x="39578" y="29358"/>
                        <a:pt x="39578" y="32986"/>
                      </a:cubicBezTo>
                      <a:cubicBezTo>
                        <a:pt x="39604" y="36614"/>
                        <a:pt x="36665" y="39578"/>
                        <a:pt x="33012" y="39578"/>
                      </a:cubicBezTo>
                      <a:close/>
                    </a:path>
                  </a:pathLst>
                </a:custGeom>
                <a:solidFill>
                  <a:schemeClr val="accent1"/>
                </a:solidFill>
                <a:ln w="2555" cap="flat">
                  <a:noFill/>
                  <a:prstDash val="solid"/>
                  <a:miter/>
                </a:ln>
              </p:spPr>
              <p:txBody>
                <a:bodyPr rtlCol="0" anchor="ctr"/>
                <a:lstStyle/>
                <a:p>
                  <a:endParaRPr lang="en-GB" dirty="0"/>
                </a:p>
              </p:txBody>
            </p:sp>
          </p:grpSp>
          <p:grpSp>
            <p:nvGrpSpPr>
              <p:cNvPr id="61" name="Grafik 277">
                <a:extLst>
                  <a:ext uri="{FF2B5EF4-FFF2-40B4-BE49-F238E27FC236}">
                    <a16:creationId xmlns:a16="http://schemas.microsoft.com/office/drawing/2014/main" id="{26866FF6-AE82-4C85-9B3A-784E4233CF38}"/>
                  </a:ext>
                </a:extLst>
              </p:cNvPr>
              <p:cNvGrpSpPr/>
              <p:nvPr/>
            </p:nvGrpSpPr>
            <p:grpSpPr>
              <a:xfrm>
                <a:off x="911960" y="2478341"/>
                <a:ext cx="69210" cy="69855"/>
                <a:chOff x="911960" y="2478341"/>
                <a:chExt cx="69210" cy="69855"/>
              </a:xfrm>
              <a:solidFill>
                <a:schemeClr val="accent1"/>
              </a:solidFill>
            </p:grpSpPr>
            <p:sp>
              <p:nvSpPr>
                <p:cNvPr id="62" name="Freihandform: Form 325">
                  <a:extLst>
                    <a:ext uri="{FF2B5EF4-FFF2-40B4-BE49-F238E27FC236}">
                      <a16:creationId xmlns:a16="http://schemas.microsoft.com/office/drawing/2014/main" id="{4CF85A01-EBD2-45B3-BFE0-DDD5F5EC6818}"/>
                    </a:ext>
                  </a:extLst>
                </p:cNvPr>
                <p:cNvSpPr/>
                <p:nvPr/>
              </p:nvSpPr>
              <p:spPr>
                <a:xfrm>
                  <a:off x="911967" y="2478986"/>
                  <a:ext cx="69204" cy="69210"/>
                </a:xfrm>
                <a:custGeom>
                  <a:avLst/>
                  <a:gdLst>
                    <a:gd name="connsiteX0" fmla="*/ 62619 w 69204"/>
                    <a:gd name="connsiteY0" fmla="*/ 69211 h 69210"/>
                    <a:gd name="connsiteX1" fmla="*/ 57943 w 69204"/>
                    <a:gd name="connsiteY1" fmla="*/ 67269 h 69210"/>
                    <a:gd name="connsiteX2" fmla="*/ 1935 w 69204"/>
                    <a:gd name="connsiteY2" fmla="*/ 11262 h 69210"/>
                    <a:gd name="connsiteX3" fmla="*/ 1935 w 69204"/>
                    <a:gd name="connsiteY3" fmla="*/ 1935 h 69210"/>
                    <a:gd name="connsiteX4" fmla="*/ 11262 w 69204"/>
                    <a:gd name="connsiteY4" fmla="*/ 1935 h 69210"/>
                    <a:gd name="connsiteX5" fmla="*/ 67269 w 69204"/>
                    <a:gd name="connsiteY5" fmla="*/ 57943 h 69210"/>
                    <a:gd name="connsiteX6" fmla="*/ 67269 w 69204"/>
                    <a:gd name="connsiteY6" fmla="*/ 67269 h 69210"/>
                    <a:gd name="connsiteX7" fmla="*/ 62619 w 69204"/>
                    <a:gd name="connsiteY7" fmla="*/ 69211 h 6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4" h="69210">
                      <a:moveTo>
                        <a:pt x="62619" y="69211"/>
                      </a:moveTo>
                      <a:cubicBezTo>
                        <a:pt x="60932" y="69211"/>
                        <a:pt x="59246" y="68572"/>
                        <a:pt x="57943" y="67269"/>
                      </a:cubicBezTo>
                      <a:lnTo>
                        <a:pt x="1935" y="11262"/>
                      </a:lnTo>
                      <a:cubicBezTo>
                        <a:pt x="-645" y="8681"/>
                        <a:pt x="-645" y="4516"/>
                        <a:pt x="1935" y="1935"/>
                      </a:cubicBezTo>
                      <a:cubicBezTo>
                        <a:pt x="4516" y="-645"/>
                        <a:pt x="8681" y="-645"/>
                        <a:pt x="11262" y="1935"/>
                      </a:cubicBezTo>
                      <a:lnTo>
                        <a:pt x="67269" y="57943"/>
                      </a:lnTo>
                      <a:cubicBezTo>
                        <a:pt x="69850" y="60524"/>
                        <a:pt x="69850" y="64688"/>
                        <a:pt x="67269" y="67269"/>
                      </a:cubicBezTo>
                      <a:cubicBezTo>
                        <a:pt x="65991" y="68572"/>
                        <a:pt x="64305" y="69211"/>
                        <a:pt x="62619" y="69211"/>
                      </a:cubicBezTo>
                      <a:close/>
                    </a:path>
                  </a:pathLst>
                </a:custGeom>
                <a:solidFill>
                  <a:schemeClr val="accent1"/>
                </a:solidFill>
                <a:ln w="2555" cap="flat">
                  <a:noFill/>
                  <a:prstDash val="solid"/>
                  <a:miter/>
                </a:ln>
              </p:spPr>
              <p:txBody>
                <a:bodyPr rtlCol="0" anchor="ctr"/>
                <a:lstStyle/>
                <a:p>
                  <a:endParaRPr lang="en-GB" dirty="0"/>
                </a:p>
              </p:txBody>
            </p:sp>
            <p:sp>
              <p:nvSpPr>
                <p:cNvPr id="63" name="Freihandform: Form 326">
                  <a:extLst>
                    <a:ext uri="{FF2B5EF4-FFF2-40B4-BE49-F238E27FC236}">
                      <a16:creationId xmlns:a16="http://schemas.microsoft.com/office/drawing/2014/main" id="{261A7057-0863-4D3C-A24D-56188375D019}"/>
                    </a:ext>
                  </a:extLst>
                </p:cNvPr>
                <p:cNvSpPr/>
                <p:nvPr/>
              </p:nvSpPr>
              <p:spPr>
                <a:xfrm>
                  <a:off x="911960" y="2478341"/>
                  <a:ext cx="39578" cy="39578"/>
                </a:xfrm>
                <a:custGeom>
                  <a:avLst/>
                  <a:gdLst>
                    <a:gd name="connsiteX0" fmla="*/ 6592 w 39578"/>
                    <a:gd name="connsiteY0" fmla="*/ 39578 h 39578"/>
                    <a:gd name="connsiteX1" fmla="*/ 0 w 39578"/>
                    <a:gd name="connsiteY1" fmla="*/ 32986 h 39578"/>
                    <a:gd name="connsiteX2" fmla="*/ 0 w 39578"/>
                    <a:gd name="connsiteY2" fmla="*/ 6592 h 39578"/>
                    <a:gd name="connsiteX3" fmla="*/ 6592 w 39578"/>
                    <a:gd name="connsiteY3" fmla="*/ 0 h 39578"/>
                    <a:gd name="connsiteX4" fmla="*/ 32986 w 39578"/>
                    <a:gd name="connsiteY4" fmla="*/ 0 h 39578"/>
                    <a:gd name="connsiteX5" fmla="*/ 39578 w 39578"/>
                    <a:gd name="connsiteY5" fmla="*/ 6592 h 39578"/>
                    <a:gd name="connsiteX6" fmla="*/ 32986 w 39578"/>
                    <a:gd name="connsiteY6" fmla="*/ 13184 h 39578"/>
                    <a:gd name="connsiteX7" fmla="*/ 13184 w 39578"/>
                    <a:gd name="connsiteY7" fmla="*/ 13184 h 39578"/>
                    <a:gd name="connsiteX8" fmla="*/ 13184 w 39578"/>
                    <a:gd name="connsiteY8" fmla="*/ 32986 h 39578"/>
                    <a:gd name="connsiteX9" fmla="*/ 6592 w 39578"/>
                    <a:gd name="connsiteY9" fmla="*/ 39578 h 39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78" h="39578">
                      <a:moveTo>
                        <a:pt x="6592" y="39578"/>
                      </a:moveTo>
                      <a:cubicBezTo>
                        <a:pt x="2938" y="39578"/>
                        <a:pt x="0" y="36614"/>
                        <a:pt x="0" y="32986"/>
                      </a:cubicBezTo>
                      <a:lnTo>
                        <a:pt x="0" y="6592"/>
                      </a:lnTo>
                      <a:cubicBezTo>
                        <a:pt x="0" y="2938"/>
                        <a:pt x="2964" y="0"/>
                        <a:pt x="6592" y="0"/>
                      </a:cubicBezTo>
                      <a:lnTo>
                        <a:pt x="32986" y="0"/>
                      </a:lnTo>
                      <a:cubicBezTo>
                        <a:pt x="36640" y="0"/>
                        <a:pt x="39578" y="2964"/>
                        <a:pt x="39578" y="6592"/>
                      </a:cubicBezTo>
                      <a:cubicBezTo>
                        <a:pt x="39578" y="10246"/>
                        <a:pt x="36614" y="13184"/>
                        <a:pt x="32986" y="13184"/>
                      </a:cubicBezTo>
                      <a:lnTo>
                        <a:pt x="13184" y="13184"/>
                      </a:lnTo>
                      <a:lnTo>
                        <a:pt x="13184" y="32986"/>
                      </a:lnTo>
                      <a:cubicBezTo>
                        <a:pt x="13184" y="36614"/>
                        <a:pt x="10220" y="39578"/>
                        <a:pt x="6592" y="39578"/>
                      </a:cubicBezTo>
                      <a:close/>
                    </a:path>
                  </a:pathLst>
                </a:custGeom>
                <a:solidFill>
                  <a:schemeClr val="accent1"/>
                </a:solidFill>
                <a:ln w="2555" cap="flat">
                  <a:noFill/>
                  <a:prstDash val="solid"/>
                  <a:miter/>
                </a:ln>
              </p:spPr>
              <p:txBody>
                <a:bodyPr rtlCol="0" anchor="ctr"/>
                <a:lstStyle/>
                <a:p>
                  <a:endParaRPr lang="en-GB" dirty="0"/>
                </a:p>
              </p:txBody>
            </p:sp>
          </p:grpSp>
        </p:grpSp>
      </p:grpSp>
      <p:grpSp>
        <p:nvGrpSpPr>
          <p:cNvPr id="20" name="Group 19">
            <a:extLst>
              <a:ext uri="{FF2B5EF4-FFF2-40B4-BE49-F238E27FC236}">
                <a16:creationId xmlns:a16="http://schemas.microsoft.com/office/drawing/2014/main" id="{840DB98F-74E0-BDF2-229B-E23ABEA96091}"/>
              </a:ext>
            </a:extLst>
          </p:cNvPr>
          <p:cNvGrpSpPr/>
          <p:nvPr/>
        </p:nvGrpSpPr>
        <p:grpSpPr>
          <a:xfrm>
            <a:off x="1551487" y="1645768"/>
            <a:ext cx="576005" cy="312428"/>
            <a:chOff x="1551487" y="1645768"/>
            <a:chExt cx="576005" cy="312428"/>
          </a:xfrm>
        </p:grpSpPr>
        <p:grpSp>
          <p:nvGrpSpPr>
            <p:cNvPr id="75" name="Grafik 277">
              <a:extLst>
                <a:ext uri="{FF2B5EF4-FFF2-40B4-BE49-F238E27FC236}">
                  <a16:creationId xmlns:a16="http://schemas.microsoft.com/office/drawing/2014/main" id="{5BC68836-BD63-433B-B13D-0F77D9A19019}"/>
                </a:ext>
              </a:extLst>
            </p:cNvPr>
            <p:cNvGrpSpPr/>
            <p:nvPr/>
          </p:nvGrpSpPr>
          <p:grpSpPr>
            <a:xfrm>
              <a:off x="1551487" y="1645768"/>
              <a:ext cx="425728" cy="312100"/>
              <a:chOff x="3319819" y="2501315"/>
              <a:chExt cx="436355" cy="319893"/>
            </a:xfrm>
            <a:solidFill>
              <a:schemeClr val="tx2"/>
            </a:solidFill>
          </p:grpSpPr>
          <p:sp>
            <p:nvSpPr>
              <p:cNvPr id="100" name="Freihandform: Form 350">
                <a:extLst>
                  <a:ext uri="{FF2B5EF4-FFF2-40B4-BE49-F238E27FC236}">
                    <a16:creationId xmlns:a16="http://schemas.microsoft.com/office/drawing/2014/main" id="{9D9ED006-F32F-48FC-B89C-0860D5F1FD26}"/>
                  </a:ext>
                </a:extLst>
              </p:cNvPr>
              <p:cNvSpPr/>
              <p:nvPr/>
            </p:nvSpPr>
            <p:spPr>
              <a:xfrm>
                <a:off x="3324214" y="2501315"/>
                <a:ext cx="431960" cy="197811"/>
              </a:xfrm>
              <a:custGeom>
                <a:avLst/>
                <a:gdLst>
                  <a:gd name="connsiteX0" fmla="*/ 148476 w 431960"/>
                  <a:gd name="connsiteY0" fmla="*/ 197811 h 197811"/>
                  <a:gd name="connsiteX1" fmla="*/ 136749 w 431960"/>
                  <a:gd name="connsiteY1" fmla="*/ 195435 h 197811"/>
                  <a:gd name="connsiteX2" fmla="*/ 7640 w 431960"/>
                  <a:gd name="connsiteY2" fmla="*/ 133883 h 197811"/>
                  <a:gd name="connsiteX3" fmla="*/ 1 w 431960"/>
                  <a:gd name="connsiteY3" fmla="*/ 123458 h 197811"/>
                  <a:gd name="connsiteX4" fmla="*/ 7513 w 431960"/>
                  <a:gd name="connsiteY4" fmla="*/ 113417 h 197811"/>
                  <a:gd name="connsiteX5" fmla="*/ 250603 w 431960"/>
                  <a:gd name="connsiteY5" fmla="*/ 2577 h 197811"/>
                  <a:gd name="connsiteX6" fmla="*/ 250603 w 431960"/>
                  <a:gd name="connsiteY6" fmla="*/ 2577 h 197811"/>
                  <a:gd name="connsiteX7" fmla="*/ 274851 w 431960"/>
                  <a:gd name="connsiteY7" fmla="*/ 1428 h 197811"/>
                  <a:gd name="connsiteX8" fmla="*/ 422663 w 431960"/>
                  <a:gd name="connsiteY8" fmla="*/ 46934 h 197811"/>
                  <a:gd name="connsiteX9" fmla="*/ 431938 w 431960"/>
                  <a:gd name="connsiteY9" fmla="*/ 56490 h 197811"/>
                  <a:gd name="connsiteX10" fmla="*/ 424451 w 431960"/>
                  <a:gd name="connsiteY10" fmla="*/ 67170 h 197811"/>
                  <a:gd name="connsiteX11" fmla="*/ 161456 w 431960"/>
                  <a:gd name="connsiteY11" fmla="*/ 195103 h 197811"/>
                  <a:gd name="connsiteX12" fmla="*/ 148476 w 431960"/>
                  <a:gd name="connsiteY12" fmla="*/ 197811 h 197811"/>
                  <a:gd name="connsiteX13" fmla="*/ 16864 w 431960"/>
                  <a:gd name="connsiteY13" fmla="*/ 123663 h 197811"/>
                  <a:gd name="connsiteX14" fmla="*/ 142421 w 431960"/>
                  <a:gd name="connsiteY14" fmla="*/ 183528 h 197811"/>
                  <a:gd name="connsiteX15" fmla="*/ 155656 w 431960"/>
                  <a:gd name="connsiteY15" fmla="*/ 183222 h 197811"/>
                  <a:gd name="connsiteX16" fmla="*/ 413337 w 431960"/>
                  <a:gd name="connsiteY16" fmla="*/ 57869 h 197811"/>
                  <a:gd name="connsiteX17" fmla="*/ 270942 w 431960"/>
                  <a:gd name="connsiteY17" fmla="*/ 14050 h 197811"/>
                  <a:gd name="connsiteX18" fmla="*/ 256071 w 431960"/>
                  <a:gd name="connsiteY18" fmla="*/ 14612 h 197811"/>
                  <a:gd name="connsiteX19" fmla="*/ 16864 w 431960"/>
                  <a:gd name="connsiteY19" fmla="*/ 123663 h 197811"/>
                  <a:gd name="connsiteX20" fmla="*/ 12367 w 431960"/>
                  <a:gd name="connsiteY20" fmla="*/ 125758 h 197811"/>
                  <a:gd name="connsiteX21" fmla="*/ 12367 w 431960"/>
                  <a:gd name="connsiteY21" fmla="*/ 125758 h 197811"/>
                  <a:gd name="connsiteX22" fmla="*/ 12367 w 431960"/>
                  <a:gd name="connsiteY22" fmla="*/ 125758 h 197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31960" h="197811">
                    <a:moveTo>
                      <a:pt x="148476" y="197811"/>
                    </a:moveTo>
                    <a:cubicBezTo>
                      <a:pt x="144235" y="197811"/>
                      <a:pt x="140070" y="197019"/>
                      <a:pt x="136749" y="195435"/>
                    </a:cubicBezTo>
                    <a:lnTo>
                      <a:pt x="7640" y="133883"/>
                    </a:lnTo>
                    <a:cubicBezTo>
                      <a:pt x="691" y="130562"/>
                      <a:pt x="-25" y="125477"/>
                      <a:pt x="1" y="123458"/>
                    </a:cubicBezTo>
                    <a:cubicBezTo>
                      <a:pt x="1" y="121465"/>
                      <a:pt x="793" y="116483"/>
                      <a:pt x="7513" y="113417"/>
                    </a:cubicBezTo>
                    <a:lnTo>
                      <a:pt x="250603" y="2577"/>
                    </a:lnTo>
                    <a:lnTo>
                      <a:pt x="250603" y="2577"/>
                    </a:lnTo>
                    <a:cubicBezTo>
                      <a:pt x="257042" y="-361"/>
                      <a:pt x="267467" y="-846"/>
                      <a:pt x="274851" y="1428"/>
                    </a:cubicBezTo>
                    <a:lnTo>
                      <a:pt x="422663" y="46934"/>
                    </a:lnTo>
                    <a:cubicBezTo>
                      <a:pt x="430558" y="49361"/>
                      <a:pt x="431759" y="54420"/>
                      <a:pt x="431938" y="56490"/>
                    </a:cubicBezTo>
                    <a:cubicBezTo>
                      <a:pt x="432091" y="58534"/>
                      <a:pt x="431682" y="63670"/>
                      <a:pt x="424451" y="67170"/>
                    </a:cubicBezTo>
                    <a:lnTo>
                      <a:pt x="161456" y="195103"/>
                    </a:lnTo>
                    <a:cubicBezTo>
                      <a:pt x="157700" y="196892"/>
                      <a:pt x="153050" y="197811"/>
                      <a:pt x="148476" y="197811"/>
                    </a:cubicBezTo>
                    <a:close/>
                    <a:moveTo>
                      <a:pt x="16864" y="123663"/>
                    </a:moveTo>
                    <a:lnTo>
                      <a:pt x="142421" y="183528"/>
                    </a:lnTo>
                    <a:cubicBezTo>
                      <a:pt x="145692" y="185087"/>
                      <a:pt x="152105" y="184934"/>
                      <a:pt x="155656" y="183222"/>
                    </a:cubicBezTo>
                    <a:lnTo>
                      <a:pt x="413337" y="57869"/>
                    </a:lnTo>
                    <a:lnTo>
                      <a:pt x="270942" y="14050"/>
                    </a:lnTo>
                    <a:cubicBezTo>
                      <a:pt x="266675" y="12747"/>
                      <a:pt x="259571" y="13002"/>
                      <a:pt x="256071" y="14612"/>
                    </a:cubicBezTo>
                    <a:lnTo>
                      <a:pt x="16864" y="123663"/>
                    </a:lnTo>
                    <a:close/>
                    <a:moveTo>
                      <a:pt x="12367" y="125758"/>
                    </a:moveTo>
                    <a:lnTo>
                      <a:pt x="12367" y="125758"/>
                    </a:lnTo>
                    <a:lnTo>
                      <a:pt x="12367" y="125758"/>
                    </a:lnTo>
                    <a:close/>
                  </a:path>
                </a:pathLst>
              </a:custGeom>
              <a:grpFill/>
              <a:ln w="2555" cap="flat">
                <a:noFill/>
                <a:prstDash val="solid"/>
                <a:miter/>
              </a:ln>
            </p:spPr>
            <p:txBody>
              <a:bodyPr rtlCol="0" anchor="ctr"/>
              <a:lstStyle/>
              <a:p>
                <a:endParaRPr lang="en-GB" dirty="0"/>
              </a:p>
            </p:txBody>
          </p:sp>
          <p:sp>
            <p:nvSpPr>
              <p:cNvPr id="101" name="Freihandform: Form 351">
                <a:extLst>
                  <a:ext uri="{FF2B5EF4-FFF2-40B4-BE49-F238E27FC236}">
                    <a16:creationId xmlns:a16="http://schemas.microsoft.com/office/drawing/2014/main" id="{7FB97CCC-9D89-40B2-AB09-32A7D38F34B5}"/>
                  </a:ext>
                </a:extLst>
              </p:cNvPr>
              <p:cNvSpPr/>
              <p:nvPr/>
            </p:nvSpPr>
            <p:spPr>
              <a:xfrm>
                <a:off x="3635380" y="2602295"/>
                <a:ext cx="103951" cy="56996"/>
              </a:xfrm>
              <a:custGeom>
                <a:avLst/>
                <a:gdLst>
                  <a:gd name="connsiteX0" fmla="*/ 6610 w 103951"/>
                  <a:gd name="connsiteY0" fmla="*/ 56997 h 56996"/>
                  <a:gd name="connsiteX1" fmla="*/ 657 w 103951"/>
                  <a:gd name="connsiteY1" fmla="*/ 53266 h 56996"/>
                  <a:gd name="connsiteX2" fmla="*/ 3723 w 103951"/>
                  <a:gd name="connsiteY2" fmla="*/ 44451 h 56996"/>
                  <a:gd name="connsiteX3" fmla="*/ 94480 w 103951"/>
                  <a:gd name="connsiteY3" fmla="*/ 657 h 56996"/>
                  <a:gd name="connsiteX4" fmla="*/ 103295 w 103951"/>
                  <a:gd name="connsiteY4" fmla="*/ 3723 h 56996"/>
                  <a:gd name="connsiteX5" fmla="*/ 100229 w 103951"/>
                  <a:gd name="connsiteY5" fmla="*/ 12538 h 56996"/>
                  <a:gd name="connsiteX6" fmla="*/ 9472 w 103951"/>
                  <a:gd name="connsiteY6" fmla="*/ 56332 h 56996"/>
                  <a:gd name="connsiteX7" fmla="*/ 6610 w 103951"/>
                  <a:gd name="connsiteY7" fmla="*/ 56997 h 5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951" h="56996">
                    <a:moveTo>
                      <a:pt x="6610" y="56997"/>
                    </a:moveTo>
                    <a:cubicBezTo>
                      <a:pt x="4158" y="56997"/>
                      <a:pt x="1807" y="55617"/>
                      <a:pt x="657" y="53266"/>
                    </a:cubicBezTo>
                    <a:cubicBezTo>
                      <a:pt x="-927" y="49996"/>
                      <a:pt x="453" y="46035"/>
                      <a:pt x="3723" y="44451"/>
                    </a:cubicBezTo>
                    <a:lnTo>
                      <a:pt x="94480" y="657"/>
                    </a:lnTo>
                    <a:cubicBezTo>
                      <a:pt x="97750" y="-927"/>
                      <a:pt x="101711" y="453"/>
                      <a:pt x="103295" y="3723"/>
                    </a:cubicBezTo>
                    <a:cubicBezTo>
                      <a:pt x="104879" y="6994"/>
                      <a:pt x="103499" y="10954"/>
                      <a:pt x="100229" y="12538"/>
                    </a:cubicBezTo>
                    <a:lnTo>
                      <a:pt x="9472" y="56332"/>
                    </a:lnTo>
                    <a:cubicBezTo>
                      <a:pt x="8527" y="56767"/>
                      <a:pt x="7556" y="56997"/>
                      <a:pt x="6610" y="56997"/>
                    </a:cubicBezTo>
                    <a:close/>
                  </a:path>
                </a:pathLst>
              </a:custGeom>
              <a:grpFill/>
              <a:ln w="2555" cap="flat">
                <a:noFill/>
                <a:prstDash val="solid"/>
                <a:miter/>
              </a:ln>
            </p:spPr>
            <p:txBody>
              <a:bodyPr rtlCol="0" anchor="ctr"/>
              <a:lstStyle/>
              <a:p>
                <a:endParaRPr lang="en-GB" dirty="0"/>
              </a:p>
            </p:txBody>
          </p:sp>
          <p:sp>
            <p:nvSpPr>
              <p:cNvPr id="102" name="Freihandform: Form 352">
                <a:extLst>
                  <a:ext uri="{FF2B5EF4-FFF2-40B4-BE49-F238E27FC236}">
                    <a16:creationId xmlns:a16="http://schemas.microsoft.com/office/drawing/2014/main" id="{8D103943-9908-4D2E-A411-C057F9E7D7A2}"/>
                  </a:ext>
                </a:extLst>
              </p:cNvPr>
              <p:cNvSpPr/>
              <p:nvPr/>
            </p:nvSpPr>
            <p:spPr>
              <a:xfrm>
                <a:off x="3319819" y="2655927"/>
                <a:ext cx="254893" cy="84999"/>
              </a:xfrm>
              <a:custGeom>
                <a:avLst/>
                <a:gdLst>
                  <a:gd name="connsiteX0" fmla="*/ 148477 w 254893"/>
                  <a:gd name="connsiteY0" fmla="*/ 85000 h 84999"/>
                  <a:gd name="connsiteX1" fmla="*/ 136749 w 254893"/>
                  <a:gd name="connsiteY1" fmla="*/ 82649 h 84999"/>
                  <a:gd name="connsiteX2" fmla="*/ 7640 w 254893"/>
                  <a:gd name="connsiteY2" fmla="*/ 21072 h 84999"/>
                  <a:gd name="connsiteX3" fmla="*/ 1 w 254893"/>
                  <a:gd name="connsiteY3" fmla="*/ 10647 h 84999"/>
                  <a:gd name="connsiteX4" fmla="*/ 7538 w 254893"/>
                  <a:gd name="connsiteY4" fmla="*/ 606 h 84999"/>
                  <a:gd name="connsiteX5" fmla="*/ 16276 w 254893"/>
                  <a:gd name="connsiteY5" fmla="*/ 3876 h 84999"/>
                  <a:gd name="connsiteX6" fmla="*/ 15740 w 254893"/>
                  <a:gd name="connsiteY6" fmla="*/ 10315 h 84999"/>
                  <a:gd name="connsiteX7" fmla="*/ 142447 w 254893"/>
                  <a:gd name="connsiteY7" fmla="*/ 70717 h 84999"/>
                  <a:gd name="connsiteX8" fmla="*/ 155682 w 254893"/>
                  <a:gd name="connsiteY8" fmla="*/ 70410 h 84999"/>
                  <a:gd name="connsiteX9" fmla="*/ 245416 w 254893"/>
                  <a:gd name="connsiteY9" fmla="*/ 26770 h 84999"/>
                  <a:gd name="connsiteX10" fmla="*/ 254232 w 254893"/>
                  <a:gd name="connsiteY10" fmla="*/ 29810 h 84999"/>
                  <a:gd name="connsiteX11" fmla="*/ 251191 w 254893"/>
                  <a:gd name="connsiteY11" fmla="*/ 38625 h 84999"/>
                  <a:gd name="connsiteX12" fmla="*/ 161456 w 254893"/>
                  <a:gd name="connsiteY12" fmla="*/ 82266 h 84999"/>
                  <a:gd name="connsiteX13" fmla="*/ 148477 w 254893"/>
                  <a:gd name="connsiteY13" fmla="*/ 85000 h 84999"/>
                  <a:gd name="connsiteX14" fmla="*/ 12367 w 254893"/>
                  <a:gd name="connsiteY14" fmla="*/ 12972 h 84999"/>
                  <a:gd name="connsiteX15" fmla="*/ 12367 w 254893"/>
                  <a:gd name="connsiteY15" fmla="*/ 12972 h 84999"/>
                  <a:gd name="connsiteX16" fmla="*/ 12367 w 254893"/>
                  <a:gd name="connsiteY16" fmla="*/ 12972 h 8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4893" h="84999">
                    <a:moveTo>
                      <a:pt x="148477" y="85000"/>
                    </a:moveTo>
                    <a:cubicBezTo>
                      <a:pt x="144235" y="85000"/>
                      <a:pt x="140045" y="84208"/>
                      <a:pt x="136749" y="82649"/>
                    </a:cubicBezTo>
                    <a:lnTo>
                      <a:pt x="7640" y="21072"/>
                    </a:lnTo>
                    <a:cubicBezTo>
                      <a:pt x="691" y="17750"/>
                      <a:pt x="-25" y="12691"/>
                      <a:pt x="1" y="10647"/>
                    </a:cubicBezTo>
                    <a:cubicBezTo>
                      <a:pt x="26" y="8654"/>
                      <a:pt x="793" y="3672"/>
                      <a:pt x="7538" y="606"/>
                    </a:cubicBezTo>
                    <a:cubicBezTo>
                      <a:pt x="10860" y="-928"/>
                      <a:pt x="14769" y="554"/>
                      <a:pt x="16276" y="3876"/>
                    </a:cubicBezTo>
                    <a:cubicBezTo>
                      <a:pt x="17273" y="6048"/>
                      <a:pt x="16992" y="8475"/>
                      <a:pt x="15740" y="10315"/>
                    </a:cubicBezTo>
                    <a:lnTo>
                      <a:pt x="142447" y="70717"/>
                    </a:lnTo>
                    <a:cubicBezTo>
                      <a:pt x="145692" y="72276"/>
                      <a:pt x="152130" y="72122"/>
                      <a:pt x="155682" y="70410"/>
                    </a:cubicBezTo>
                    <a:lnTo>
                      <a:pt x="245416" y="26770"/>
                    </a:lnTo>
                    <a:cubicBezTo>
                      <a:pt x="248687" y="25185"/>
                      <a:pt x="252647" y="26540"/>
                      <a:pt x="254232" y="29810"/>
                    </a:cubicBezTo>
                    <a:cubicBezTo>
                      <a:pt x="255816" y="33081"/>
                      <a:pt x="254461" y="37041"/>
                      <a:pt x="251191" y="38625"/>
                    </a:cubicBezTo>
                    <a:lnTo>
                      <a:pt x="161456" y="82266"/>
                    </a:lnTo>
                    <a:cubicBezTo>
                      <a:pt x="157700" y="84080"/>
                      <a:pt x="153050" y="85000"/>
                      <a:pt x="148477" y="85000"/>
                    </a:cubicBezTo>
                    <a:close/>
                    <a:moveTo>
                      <a:pt x="12367" y="12972"/>
                    </a:moveTo>
                    <a:lnTo>
                      <a:pt x="12367" y="12972"/>
                    </a:lnTo>
                    <a:lnTo>
                      <a:pt x="12367" y="12972"/>
                    </a:lnTo>
                    <a:close/>
                  </a:path>
                </a:pathLst>
              </a:custGeom>
              <a:grpFill/>
              <a:ln w="2555" cap="flat">
                <a:noFill/>
                <a:prstDash val="solid"/>
                <a:miter/>
              </a:ln>
            </p:spPr>
            <p:txBody>
              <a:bodyPr rtlCol="0" anchor="ctr"/>
              <a:lstStyle/>
              <a:p>
                <a:endParaRPr lang="en-GB" dirty="0"/>
              </a:p>
            </p:txBody>
          </p:sp>
          <p:sp>
            <p:nvSpPr>
              <p:cNvPr id="103" name="Freihandform: Form 353">
                <a:extLst>
                  <a:ext uri="{FF2B5EF4-FFF2-40B4-BE49-F238E27FC236}">
                    <a16:creationId xmlns:a16="http://schemas.microsoft.com/office/drawing/2014/main" id="{AE09AF14-18D7-4BB3-BEEF-F6047049DD5E}"/>
                  </a:ext>
                </a:extLst>
              </p:cNvPr>
              <p:cNvSpPr/>
              <p:nvPr/>
            </p:nvSpPr>
            <p:spPr>
              <a:xfrm>
                <a:off x="3324214" y="2696042"/>
                <a:ext cx="250192" cy="84999"/>
              </a:xfrm>
              <a:custGeom>
                <a:avLst/>
                <a:gdLst>
                  <a:gd name="connsiteX0" fmla="*/ 148476 w 250192"/>
                  <a:gd name="connsiteY0" fmla="*/ 85000 h 84999"/>
                  <a:gd name="connsiteX1" fmla="*/ 136749 w 250192"/>
                  <a:gd name="connsiteY1" fmla="*/ 82649 h 84999"/>
                  <a:gd name="connsiteX2" fmla="*/ 7640 w 250192"/>
                  <a:gd name="connsiteY2" fmla="*/ 21072 h 84999"/>
                  <a:gd name="connsiteX3" fmla="*/ 1 w 250192"/>
                  <a:gd name="connsiteY3" fmla="*/ 10647 h 84999"/>
                  <a:gd name="connsiteX4" fmla="*/ 7513 w 250192"/>
                  <a:gd name="connsiteY4" fmla="*/ 606 h 84999"/>
                  <a:gd name="connsiteX5" fmla="*/ 16251 w 250192"/>
                  <a:gd name="connsiteY5" fmla="*/ 3876 h 84999"/>
                  <a:gd name="connsiteX6" fmla="*/ 15714 w 250192"/>
                  <a:gd name="connsiteY6" fmla="*/ 10315 h 84999"/>
                  <a:gd name="connsiteX7" fmla="*/ 142421 w 250192"/>
                  <a:gd name="connsiteY7" fmla="*/ 70717 h 84999"/>
                  <a:gd name="connsiteX8" fmla="*/ 155656 w 250192"/>
                  <a:gd name="connsiteY8" fmla="*/ 70410 h 84999"/>
                  <a:gd name="connsiteX9" fmla="*/ 240715 w 250192"/>
                  <a:gd name="connsiteY9" fmla="*/ 29044 h 84999"/>
                  <a:gd name="connsiteX10" fmla="*/ 249530 w 250192"/>
                  <a:gd name="connsiteY10" fmla="*/ 32084 h 84999"/>
                  <a:gd name="connsiteX11" fmla="*/ 246489 w 250192"/>
                  <a:gd name="connsiteY11" fmla="*/ 40899 h 84999"/>
                  <a:gd name="connsiteX12" fmla="*/ 161431 w 250192"/>
                  <a:gd name="connsiteY12" fmla="*/ 82266 h 84999"/>
                  <a:gd name="connsiteX13" fmla="*/ 148476 w 250192"/>
                  <a:gd name="connsiteY13" fmla="*/ 85000 h 8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192" h="84999">
                    <a:moveTo>
                      <a:pt x="148476" y="85000"/>
                    </a:moveTo>
                    <a:cubicBezTo>
                      <a:pt x="144235" y="85000"/>
                      <a:pt x="140070" y="84208"/>
                      <a:pt x="136749" y="82649"/>
                    </a:cubicBezTo>
                    <a:lnTo>
                      <a:pt x="7640" y="21072"/>
                    </a:lnTo>
                    <a:cubicBezTo>
                      <a:pt x="691" y="17750"/>
                      <a:pt x="-25" y="12691"/>
                      <a:pt x="1" y="10647"/>
                    </a:cubicBezTo>
                    <a:cubicBezTo>
                      <a:pt x="1" y="8654"/>
                      <a:pt x="793" y="3672"/>
                      <a:pt x="7513" y="606"/>
                    </a:cubicBezTo>
                    <a:cubicBezTo>
                      <a:pt x="10834" y="-928"/>
                      <a:pt x="14744" y="554"/>
                      <a:pt x="16251" y="3876"/>
                    </a:cubicBezTo>
                    <a:cubicBezTo>
                      <a:pt x="17247" y="6048"/>
                      <a:pt x="16966" y="8475"/>
                      <a:pt x="15714" y="10315"/>
                    </a:cubicBezTo>
                    <a:lnTo>
                      <a:pt x="142421" y="70717"/>
                    </a:lnTo>
                    <a:cubicBezTo>
                      <a:pt x="145692" y="72276"/>
                      <a:pt x="152105" y="72122"/>
                      <a:pt x="155656" y="70410"/>
                    </a:cubicBezTo>
                    <a:lnTo>
                      <a:pt x="240715" y="29044"/>
                    </a:lnTo>
                    <a:cubicBezTo>
                      <a:pt x="244011" y="27459"/>
                      <a:pt x="247946" y="28814"/>
                      <a:pt x="249530" y="32084"/>
                    </a:cubicBezTo>
                    <a:cubicBezTo>
                      <a:pt x="251114" y="35355"/>
                      <a:pt x="249760" y="39315"/>
                      <a:pt x="246489" y="40899"/>
                    </a:cubicBezTo>
                    <a:lnTo>
                      <a:pt x="161431" y="82266"/>
                    </a:lnTo>
                    <a:cubicBezTo>
                      <a:pt x="157700" y="84080"/>
                      <a:pt x="153050" y="85000"/>
                      <a:pt x="148476" y="85000"/>
                    </a:cubicBezTo>
                    <a:close/>
                  </a:path>
                </a:pathLst>
              </a:custGeom>
              <a:grpFill/>
              <a:ln w="2555" cap="flat">
                <a:noFill/>
                <a:prstDash val="solid"/>
                <a:miter/>
              </a:ln>
            </p:spPr>
            <p:txBody>
              <a:bodyPr rtlCol="0" anchor="ctr"/>
              <a:lstStyle/>
              <a:p>
                <a:endParaRPr lang="en-GB" dirty="0"/>
              </a:p>
            </p:txBody>
          </p:sp>
          <p:sp>
            <p:nvSpPr>
              <p:cNvPr id="104" name="Freihandform: Form 354">
                <a:extLst>
                  <a:ext uri="{FF2B5EF4-FFF2-40B4-BE49-F238E27FC236}">
                    <a16:creationId xmlns:a16="http://schemas.microsoft.com/office/drawing/2014/main" id="{D17E8898-4C18-4894-A3DD-5998B544C6CC}"/>
                  </a:ext>
                </a:extLst>
              </p:cNvPr>
              <p:cNvSpPr/>
              <p:nvPr/>
            </p:nvSpPr>
            <p:spPr>
              <a:xfrm>
                <a:off x="3324214" y="2736208"/>
                <a:ext cx="267233" cy="84999"/>
              </a:xfrm>
              <a:custGeom>
                <a:avLst/>
                <a:gdLst>
                  <a:gd name="connsiteX0" fmla="*/ 148476 w 267233"/>
                  <a:gd name="connsiteY0" fmla="*/ 85000 h 84999"/>
                  <a:gd name="connsiteX1" fmla="*/ 136749 w 267233"/>
                  <a:gd name="connsiteY1" fmla="*/ 82649 h 84999"/>
                  <a:gd name="connsiteX2" fmla="*/ 7640 w 267233"/>
                  <a:gd name="connsiteY2" fmla="*/ 21072 h 84999"/>
                  <a:gd name="connsiteX3" fmla="*/ 1 w 267233"/>
                  <a:gd name="connsiteY3" fmla="*/ 10647 h 84999"/>
                  <a:gd name="connsiteX4" fmla="*/ 7513 w 267233"/>
                  <a:gd name="connsiteY4" fmla="*/ 606 h 84999"/>
                  <a:gd name="connsiteX5" fmla="*/ 16251 w 267233"/>
                  <a:gd name="connsiteY5" fmla="*/ 3876 h 84999"/>
                  <a:gd name="connsiteX6" fmla="*/ 15714 w 267233"/>
                  <a:gd name="connsiteY6" fmla="*/ 10315 h 84999"/>
                  <a:gd name="connsiteX7" fmla="*/ 142421 w 267233"/>
                  <a:gd name="connsiteY7" fmla="*/ 70743 h 84999"/>
                  <a:gd name="connsiteX8" fmla="*/ 155656 w 267233"/>
                  <a:gd name="connsiteY8" fmla="*/ 70436 h 84999"/>
                  <a:gd name="connsiteX9" fmla="*/ 257757 w 267233"/>
                  <a:gd name="connsiteY9" fmla="*/ 20944 h 84999"/>
                  <a:gd name="connsiteX10" fmla="*/ 266572 w 267233"/>
                  <a:gd name="connsiteY10" fmla="*/ 24010 h 84999"/>
                  <a:gd name="connsiteX11" fmla="*/ 263506 w 267233"/>
                  <a:gd name="connsiteY11" fmla="*/ 32825 h 84999"/>
                  <a:gd name="connsiteX12" fmla="*/ 161405 w 267233"/>
                  <a:gd name="connsiteY12" fmla="*/ 82317 h 84999"/>
                  <a:gd name="connsiteX13" fmla="*/ 148476 w 267233"/>
                  <a:gd name="connsiteY13" fmla="*/ 85000 h 84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7233" h="84999">
                    <a:moveTo>
                      <a:pt x="148476" y="85000"/>
                    </a:moveTo>
                    <a:cubicBezTo>
                      <a:pt x="144235" y="85000"/>
                      <a:pt x="140070" y="84208"/>
                      <a:pt x="136749" y="82649"/>
                    </a:cubicBezTo>
                    <a:lnTo>
                      <a:pt x="7640" y="21072"/>
                    </a:lnTo>
                    <a:cubicBezTo>
                      <a:pt x="691" y="17750"/>
                      <a:pt x="-25" y="12666"/>
                      <a:pt x="1" y="10647"/>
                    </a:cubicBezTo>
                    <a:cubicBezTo>
                      <a:pt x="1" y="8654"/>
                      <a:pt x="793" y="3672"/>
                      <a:pt x="7513" y="606"/>
                    </a:cubicBezTo>
                    <a:cubicBezTo>
                      <a:pt x="10834" y="-928"/>
                      <a:pt x="14744" y="554"/>
                      <a:pt x="16251" y="3876"/>
                    </a:cubicBezTo>
                    <a:cubicBezTo>
                      <a:pt x="17247" y="6048"/>
                      <a:pt x="16966" y="8475"/>
                      <a:pt x="15714" y="10315"/>
                    </a:cubicBezTo>
                    <a:lnTo>
                      <a:pt x="142421" y="70743"/>
                    </a:lnTo>
                    <a:cubicBezTo>
                      <a:pt x="145692" y="72301"/>
                      <a:pt x="152105" y="72148"/>
                      <a:pt x="155656" y="70436"/>
                    </a:cubicBezTo>
                    <a:lnTo>
                      <a:pt x="257757" y="20944"/>
                    </a:lnTo>
                    <a:cubicBezTo>
                      <a:pt x="261054" y="19360"/>
                      <a:pt x="264988" y="20740"/>
                      <a:pt x="266572" y="24010"/>
                    </a:cubicBezTo>
                    <a:cubicBezTo>
                      <a:pt x="268157" y="27281"/>
                      <a:pt x="266803" y="31241"/>
                      <a:pt x="263506" y="32825"/>
                    </a:cubicBezTo>
                    <a:lnTo>
                      <a:pt x="161405" y="82317"/>
                    </a:lnTo>
                    <a:cubicBezTo>
                      <a:pt x="157700" y="84080"/>
                      <a:pt x="153050" y="85000"/>
                      <a:pt x="148476" y="85000"/>
                    </a:cubicBezTo>
                    <a:close/>
                  </a:path>
                </a:pathLst>
              </a:custGeom>
              <a:grpFill/>
              <a:ln w="2555" cap="flat">
                <a:noFill/>
                <a:prstDash val="solid"/>
                <a:miter/>
              </a:ln>
            </p:spPr>
            <p:txBody>
              <a:bodyPr rtlCol="0" anchor="ctr"/>
              <a:lstStyle/>
              <a:p>
                <a:endParaRPr lang="en-GB" dirty="0"/>
              </a:p>
            </p:txBody>
          </p:sp>
          <p:sp>
            <p:nvSpPr>
              <p:cNvPr id="105" name="Freihandform: Form 355">
                <a:extLst>
                  <a:ext uri="{FF2B5EF4-FFF2-40B4-BE49-F238E27FC236}">
                    <a16:creationId xmlns:a16="http://schemas.microsoft.com/office/drawing/2014/main" id="{B53A7763-9794-4BC7-9850-A8F44B1FA9E4}"/>
                  </a:ext>
                </a:extLst>
              </p:cNvPr>
              <p:cNvSpPr/>
              <p:nvPr/>
            </p:nvSpPr>
            <p:spPr>
              <a:xfrm>
                <a:off x="3404648" y="2588519"/>
                <a:ext cx="138427" cy="72254"/>
              </a:xfrm>
              <a:custGeom>
                <a:avLst/>
                <a:gdLst>
                  <a:gd name="connsiteX0" fmla="*/ 54909 w 138427"/>
                  <a:gd name="connsiteY0" fmla="*/ 72255 h 72254"/>
                  <a:gd name="connsiteX1" fmla="*/ 52150 w 138427"/>
                  <a:gd name="connsiteY1" fmla="*/ 71642 h 72254"/>
                  <a:gd name="connsiteX2" fmla="*/ 4293 w 138427"/>
                  <a:gd name="connsiteY2" fmla="*/ 49617 h 72254"/>
                  <a:gd name="connsiteX3" fmla="*/ 460 w 138427"/>
                  <a:gd name="connsiteY3" fmla="*/ 43638 h 72254"/>
                  <a:gd name="connsiteX4" fmla="*/ 4267 w 138427"/>
                  <a:gd name="connsiteY4" fmla="*/ 37633 h 72254"/>
                  <a:gd name="connsiteX5" fmla="*/ 8509 w 138427"/>
                  <a:gd name="connsiteY5" fmla="*/ 34491 h 72254"/>
                  <a:gd name="connsiteX6" fmla="*/ 3910 w 138427"/>
                  <a:gd name="connsiteY6" fmla="*/ 31476 h 72254"/>
                  <a:gd name="connsiteX7" fmla="*/ 0 w 138427"/>
                  <a:gd name="connsiteY7" fmla="*/ 25522 h 72254"/>
                  <a:gd name="connsiteX8" fmla="*/ 3782 w 138427"/>
                  <a:gd name="connsiteY8" fmla="*/ 19467 h 72254"/>
                  <a:gd name="connsiteX9" fmla="*/ 43743 w 138427"/>
                  <a:gd name="connsiteY9" fmla="*/ 636 h 72254"/>
                  <a:gd name="connsiteX10" fmla="*/ 52533 w 138427"/>
                  <a:gd name="connsiteY10" fmla="*/ 3779 h 72254"/>
                  <a:gd name="connsiteX11" fmla="*/ 49390 w 138427"/>
                  <a:gd name="connsiteY11" fmla="*/ 12568 h 72254"/>
                  <a:gd name="connsiteX12" fmla="*/ 19138 w 138427"/>
                  <a:gd name="connsiteY12" fmla="*/ 26825 h 72254"/>
                  <a:gd name="connsiteX13" fmla="*/ 21719 w 138427"/>
                  <a:gd name="connsiteY13" fmla="*/ 34491 h 72254"/>
                  <a:gd name="connsiteX14" fmla="*/ 19419 w 138427"/>
                  <a:gd name="connsiteY14" fmla="*/ 41977 h 72254"/>
                  <a:gd name="connsiteX15" fmla="*/ 55037 w 138427"/>
                  <a:gd name="connsiteY15" fmla="*/ 58381 h 72254"/>
                  <a:gd name="connsiteX16" fmla="*/ 95203 w 138427"/>
                  <a:gd name="connsiteY16" fmla="*/ 57691 h 72254"/>
                  <a:gd name="connsiteX17" fmla="*/ 129032 w 138427"/>
                  <a:gd name="connsiteY17" fmla="*/ 41849 h 72254"/>
                  <a:gd name="connsiteX18" fmla="*/ 137796 w 138427"/>
                  <a:gd name="connsiteY18" fmla="*/ 45018 h 72254"/>
                  <a:gd name="connsiteX19" fmla="*/ 134628 w 138427"/>
                  <a:gd name="connsiteY19" fmla="*/ 53807 h 72254"/>
                  <a:gd name="connsiteX20" fmla="*/ 98218 w 138427"/>
                  <a:gd name="connsiteY20" fmla="*/ 70849 h 72254"/>
                  <a:gd name="connsiteX21" fmla="*/ 92750 w 138427"/>
                  <a:gd name="connsiteY21" fmla="*/ 70901 h 72254"/>
                  <a:gd name="connsiteX22" fmla="*/ 57771 w 138427"/>
                  <a:gd name="connsiteY22" fmla="*/ 71539 h 72254"/>
                  <a:gd name="connsiteX23" fmla="*/ 54909 w 138427"/>
                  <a:gd name="connsiteY23" fmla="*/ 72255 h 7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8427" h="72254">
                    <a:moveTo>
                      <a:pt x="54909" y="72255"/>
                    </a:moveTo>
                    <a:cubicBezTo>
                      <a:pt x="53964" y="72255"/>
                      <a:pt x="53018" y="72050"/>
                      <a:pt x="52150" y="71642"/>
                    </a:cubicBezTo>
                    <a:lnTo>
                      <a:pt x="4293" y="49617"/>
                    </a:lnTo>
                    <a:cubicBezTo>
                      <a:pt x="1942" y="48544"/>
                      <a:pt x="460" y="46218"/>
                      <a:pt x="460" y="43638"/>
                    </a:cubicBezTo>
                    <a:cubicBezTo>
                      <a:pt x="460" y="41057"/>
                      <a:pt x="1942" y="38732"/>
                      <a:pt x="4267" y="37633"/>
                    </a:cubicBezTo>
                    <a:cubicBezTo>
                      <a:pt x="7359" y="36177"/>
                      <a:pt x="8381" y="34848"/>
                      <a:pt x="8509" y="34491"/>
                    </a:cubicBezTo>
                    <a:cubicBezTo>
                      <a:pt x="8381" y="34414"/>
                      <a:pt x="7282" y="32983"/>
                      <a:pt x="3910" y="31476"/>
                    </a:cubicBezTo>
                    <a:cubicBezTo>
                      <a:pt x="1559" y="30428"/>
                      <a:pt x="26" y="28103"/>
                      <a:pt x="0" y="25522"/>
                    </a:cubicBezTo>
                    <a:cubicBezTo>
                      <a:pt x="-25" y="22942"/>
                      <a:pt x="1457" y="20565"/>
                      <a:pt x="3782" y="19467"/>
                    </a:cubicBezTo>
                    <a:lnTo>
                      <a:pt x="43743" y="636"/>
                    </a:lnTo>
                    <a:cubicBezTo>
                      <a:pt x="47039" y="-923"/>
                      <a:pt x="50974" y="482"/>
                      <a:pt x="52533" y="3779"/>
                    </a:cubicBezTo>
                    <a:cubicBezTo>
                      <a:pt x="54092" y="7075"/>
                      <a:pt x="52686" y="11009"/>
                      <a:pt x="49390" y="12568"/>
                    </a:cubicBezTo>
                    <a:lnTo>
                      <a:pt x="19138" y="26825"/>
                    </a:lnTo>
                    <a:cubicBezTo>
                      <a:pt x="21208" y="29764"/>
                      <a:pt x="21693" y="32574"/>
                      <a:pt x="21719" y="34491"/>
                    </a:cubicBezTo>
                    <a:cubicBezTo>
                      <a:pt x="21744" y="36356"/>
                      <a:pt x="21335" y="39115"/>
                      <a:pt x="19419" y="41977"/>
                    </a:cubicBezTo>
                    <a:lnTo>
                      <a:pt x="55037" y="58381"/>
                    </a:lnTo>
                    <a:cubicBezTo>
                      <a:pt x="66918" y="53833"/>
                      <a:pt x="83347" y="53552"/>
                      <a:pt x="95203" y="57691"/>
                    </a:cubicBezTo>
                    <a:lnTo>
                      <a:pt x="129032" y="41849"/>
                    </a:lnTo>
                    <a:cubicBezTo>
                      <a:pt x="132328" y="40316"/>
                      <a:pt x="136263" y="41721"/>
                      <a:pt x="137796" y="45018"/>
                    </a:cubicBezTo>
                    <a:cubicBezTo>
                      <a:pt x="139355" y="48314"/>
                      <a:pt x="137924" y="52248"/>
                      <a:pt x="134628" y="53807"/>
                    </a:cubicBezTo>
                    <a:lnTo>
                      <a:pt x="98218" y="70849"/>
                    </a:lnTo>
                    <a:cubicBezTo>
                      <a:pt x="96480" y="71667"/>
                      <a:pt x="94487" y="71667"/>
                      <a:pt x="92750" y="70901"/>
                    </a:cubicBezTo>
                    <a:cubicBezTo>
                      <a:pt x="83296" y="66710"/>
                      <a:pt x="67301" y="66991"/>
                      <a:pt x="57771" y="71539"/>
                    </a:cubicBezTo>
                    <a:cubicBezTo>
                      <a:pt x="56851" y="72025"/>
                      <a:pt x="55880" y="72255"/>
                      <a:pt x="54909" y="72255"/>
                    </a:cubicBezTo>
                    <a:close/>
                  </a:path>
                </a:pathLst>
              </a:custGeom>
              <a:grpFill/>
              <a:ln w="2555" cap="flat">
                <a:noFill/>
                <a:prstDash val="solid"/>
                <a:miter/>
              </a:ln>
            </p:spPr>
            <p:txBody>
              <a:bodyPr rtlCol="0" anchor="ctr"/>
              <a:lstStyle/>
              <a:p>
                <a:endParaRPr lang="en-GB" dirty="0"/>
              </a:p>
            </p:txBody>
          </p:sp>
          <p:sp>
            <p:nvSpPr>
              <p:cNvPr id="106" name="Freihandform: Form 356">
                <a:extLst>
                  <a:ext uri="{FF2B5EF4-FFF2-40B4-BE49-F238E27FC236}">
                    <a16:creationId xmlns:a16="http://schemas.microsoft.com/office/drawing/2014/main" id="{2056C70F-E23C-480A-8439-6131965FF8A2}"/>
                  </a:ext>
                </a:extLst>
              </p:cNvPr>
              <p:cNvSpPr/>
              <p:nvPr/>
            </p:nvSpPr>
            <p:spPr>
              <a:xfrm>
                <a:off x="3521648" y="2537325"/>
                <a:ext cx="141180" cy="68616"/>
              </a:xfrm>
              <a:custGeom>
                <a:avLst/>
                <a:gdLst>
                  <a:gd name="connsiteX0" fmla="*/ 90652 w 141180"/>
                  <a:gd name="connsiteY0" fmla="*/ 68617 h 68616"/>
                  <a:gd name="connsiteX1" fmla="*/ 84698 w 141180"/>
                  <a:gd name="connsiteY1" fmla="*/ 64886 h 68616"/>
                  <a:gd name="connsiteX2" fmla="*/ 87764 w 141180"/>
                  <a:gd name="connsiteY2" fmla="*/ 56071 h 68616"/>
                  <a:gd name="connsiteX3" fmla="*/ 121159 w 141180"/>
                  <a:gd name="connsiteY3" fmla="*/ 39974 h 68616"/>
                  <a:gd name="connsiteX4" fmla="*/ 118349 w 141180"/>
                  <a:gd name="connsiteY4" fmla="*/ 32973 h 68616"/>
                  <a:gd name="connsiteX5" fmla="*/ 119805 w 141180"/>
                  <a:gd name="connsiteY5" fmla="*/ 26509 h 68616"/>
                  <a:gd name="connsiteX6" fmla="*/ 79639 w 141180"/>
                  <a:gd name="connsiteY6" fmla="*/ 13631 h 68616"/>
                  <a:gd name="connsiteX7" fmla="*/ 38043 w 141180"/>
                  <a:gd name="connsiteY7" fmla="*/ 15471 h 68616"/>
                  <a:gd name="connsiteX8" fmla="*/ 9374 w 141180"/>
                  <a:gd name="connsiteY8" fmla="*/ 28681 h 68616"/>
                  <a:gd name="connsiteX9" fmla="*/ 611 w 141180"/>
                  <a:gd name="connsiteY9" fmla="*/ 25461 h 68616"/>
                  <a:gd name="connsiteX10" fmla="*/ 3830 w 141180"/>
                  <a:gd name="connsiteY10" fmla="*/ 16697 h 68616"/>
                  <a:gd name="connsiteX11" fmla="*/ 34772 w 141180"/>
                  <a:gd name="connsiteY11" fmla="*/ 2440 h 68616"/>
                  <a:gd name="connsiteX12" fmla="*/ 39627 w 141180"/>
                  <a:gd name="connsiteY12" fmla="*/ 2185 h 68616"/>
                  <a:gd name="connsiteX13" fmla="*/ 76522 w 141180"/>
                  <a:gd name="connsiteY13" fmla="*/ 626 h 68616"/>
                  <a:gd name="connsiteX14" fmla="*/ 81326 w 141180"/>
                  <a:gd name="connsiteY14" fmla="*/ 319 h 68616"/>
                  <a:gd name="connsiteX15" fmla="*/ 134855 w 141180"/>
                  <a:gd name="connsiteY15" fmla="*/ 17490 h 68616"/>
                  <a:gd name="connsiteX16" fmla="*/ 139428 w 141180"/>
                  <a:gd name="connsiteY16" fmla="*/ 23341 h 68616"/>
                  <a:gd name="connsiteX17" fmla="*/ 135672 w 141180"/>
                  <a:gd name="connsiteY17" fmla="*/ 29754 h 68616"/>
                  <a:gd name="connsiteX18" fmla="*/ 131891 w 141180"/>
                  <a:gd name="connsiteY18" fmla="*/ 32207 h 68616"/>
                  <a:gd name="connsiteX19" fmla="*/ 136669 w 141180"/>
                  <a:gd name="connsiteY19" fmla="*/ 34583 h 68616"/>
                  <a:gd name="connsiteX20" fmla="*/ 141166 w 141180"/>
                  <a:gd name="connsiteY20" fmla="*/ 40434 h 68616"/>
                  <a:gd name="connsiteX21" fmla="*/ 137435 w 141180"/>
                  <a:gd name="connsiteY21" fmla="*/ 46796 h 68616"/>
                  <a:gd name="connsiteX22" fmla="*/ 93462 w 141180"/>
                  <a:gd name="connsiteY22" fmla="*/ 68004 h 68616"/>
                  <a:gd name="connsiteX23" fmla="*/ 90652 w 141180"/>
                  <a:gd name="connsiteY23" fmla="*/ 68617 h 68616"/>
                  <a:gd name="connsiteX24" fmla="*/ 131405 w 141180"/>
                  <a:gd name="connsiteY24" fmla="*/ 31645 h 68616"/>
                  <a:gd name="connsiteX25" fmla="*/ 131405 w 141180"/>
                  <a:gd name="connsiteY25" fmla="*/ 31645 h 68616"/>
                  <a:gd name="connsiteX26" fmla="*/ 131405 w 141180"/>
                  <a:gd name="connsiteY26" fmla="*/ 31645 h 6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41180" h="68616">
                    <a:moveTo>
                      <a:pt x="90652" y="68617"/>
                    </a:moveTo>
                    <a:cubicBezTo>
                      <a:pt x="88199" y="68617"/>
                      <a:pt x="85848" y="67237"/>
                      <a:pt x="84698" y="64886"/>
                    </a:cubicBezTo>
                    <a:cubicBezTo>
                      <a:pt x="83114" y="61590"/>
                      <a:pt x="84494" y="57655"/>
                      <a:pt x="87764" y="56071"/>
                    </a:cubicBezTo>
                    <a:lnTo>
                      <a:pt x="121159" y="39974"/>
                    </a:lnTo>
                    <a:cubicBezTo>
                      <a:pt x="119064" y="37368"/>
                      <a:pt x="118477" y="34787"/>
                      <a:pt x="118349" y="32973"/>
                    </a:cubicBezTo>
                    <a:cubicBezTo>
                      <a:pt x="118247" y="31338"/>
                      <a:pt x="118477" y="29013"/>
                      <a:pt x="119805" y="26509"/>
                    </a:cubicBezTo>
                    <a:lnTo>
                      <a:pt x="79639" y="13631"/>
                    </a:lnTo>
                    <a:cubicBezTo>
                      <a:pt x="67937" y="18128"/>
                      <a:pt x="50741" y="18895"/>
                      <a:pt x="38043" y="15471"/>
                    </a:cubicBezTo>
                    <a:lnTo>
                      <a:pt x="9374" y="28681"/>
                    </a:lnTo>
                    <a:cubicBezTo>
                      <a:pt x="6053" y="30214"/>
                      <a:pt x="2144" y="28757"/>
                      <a:pt x="611" y="25461"/>
                    </a:cubicBezTo>
                    <a:cubicBezTo>
                      <a:pt x="-922" y="22140"/>
                      <a:pt x="534" y="18231"/>
                      <a:pt x="3830" y="16697"/>
                    </a:cubicBezTo>
                    <a:lnTo>
                      <a:pt x="34772" y="2440"/>
                    </a:lnTo>
                    <a:cubicBezTo>
                      <a:pt x="36305" y="1725"/>
                      <a:pt x="38043" y="1648"/>
                      <a:pt x="39627" y="2185"/>
                    </a:cubicBezTo>
                    <a:cubicBezTo>
                      <a:pt x="50230" y="5736"/>
                      <a:pt x="67119" y="5021"/>
                      <a:pt x="76522" y="626"/>
                    </a:cubicBezTo>
                    <a:cubicBezTo>
                      <a:pt x="78029" y="-89"/>
                      <a:pt x="79741" y="-192"/>
                      <a:pt x="81326" y="319"/>
                    </a:cubicBezTo>
                    <a:lnTo>
                      <a:pt x="134855" y="17490"/>
                    </a:lnTo>
                    <a:cubicBezTo>
                      <a:pt x="137435" y="18307"/>
                      <a:pt x="139249" y="20632"/>
                      <a:pt x="139428" y="23341"/>
                    </a:cubicBezTo>
                    <a:cubicBezTo>
                      <a:pt x="139607" y="26049"/>
                      <a:pt x="138125" y="28579"/>
                      <a:pt x="135672" y="29754"/>
                    </a:cubicBezTo>
                    <a:cubicBezTo>
                      <a:pt x="133526" y="30776"/>
                      <a:pt x="132427" y="31670"/>
                      <a:pt x="131891" y="32207"/>
                    </a:cubicBezTo>
                    <a:cubicBezTo>
                      <a:pt x="132530" y="32769"/>
                      <a:pt x="133935" y="33663"/>
                      <a:pt x="136669" y="34583"/>
                    </a:cubicBezTo>
                    <a:cubicBezTo>
                      <a:pt x="139224" y="35426"/>
                      <a:pt x="141012" y="37751"/>
                      <a:pt x="141166" y="40434"/>
                    </a:cubicBezTo>
                    <a:cubicBezTo>
                      <a:pt x="141344" y="43117"/>
                      <a:pt x="139863" y="45621"/>
                      <a:pt x="137435" y="46796"/>
                    </a:cubicBezTo>
                    <a:lnTo>
                      <a:pt x="93462" y="68004"/>
                    </a:lnTo>
                    <a:cubicBezTo>
                      <a:pt x="92568" y="68412"/>
                      <a:pt x="91597" y="68617"/>
                      <a:pt x="90652" y="68617"/>
                    </a:cubicBezTo>
                    <a:close/>
                    <a:moveTo>
                      <a:pt x="131405" y="31645"/>
                    </a:moveTo>
                    <a:lnTo>
                      <a:pt x="131405" y="31645"/>
                    </a:lnTo>
                    <a:lnTo>
                      <a:pt x="131405" y="31645"/>
                    </a:lnTo>
                    <a:close/>
                  </a:path>
                </a:pathLst>
              </a:custGeom>
              <a:grpFill/>
              <a:ln w="2555" cap="flat">
                <a:noFill/>
                <a:prstDash val="solid"/>
                <a:miter/>
              </a:ln>
            </p:spPr>
            <p:txBody>
              <a:bodyPr rtlCol="0" anchor="ctr"/>
              <a:lstStyle/>
              <a:p>
                <a:endParaRPr lang="en-GB" dirty="0"/>
              </a:p>
            </p:txBody>
          </p:sp>
          <p:sp>
            <p:nvSpPr>
              <p:cNvPr id="107" name="Freihandform: Form 357">
                <a:extLst>
                  <a:ext uri="{FF2B5EF4-FFF2-40B4-BE49-F238E27FC236}">
                    <a16:creationId xmlns:a16="http://schemas.microsoft.com/office/drawing/2014/main" id="{F549DA66-9018-473A-ACE6-14191786FC24}"/>
                  </a:ext>
                </a:extLst>
              </p:cNvPr>
              <p:cNvSpPr/>
              <p:nvPr/>
            </p:nvSpPr>
            <p:spPr>
              <a:xfrm>
                <a:off x="3419339" y="2540720"/>
                <a:ext cx="226562" cy="114381"/>
              </a:xfrm>
              <a:custGeom>
                <a:avLst/>
                <a:gdLst>
                  <a:gd name="connsiteX0" fmla="*/ 150112 w 226562"/>
                  <a:gd name="connsiteY0" fmla="*/ 114382 h 114381"/>
                  <a:gd name="connsiteX1" fmla="*/ 147251 w 226562"/>
                  <a:gd name="connsiteY1" fmla="*/ 113743 h 114381"/>
                  <a:gd name="connsiteX2" fmla="*/ 3732 w 226562"/>
                  <a:gd name="connsiteY2" fmla="*/ 44705 h 114381"/>
                  <a:gd name="connsiteX3" fmla="*/ 1 w 226562"/>
                  <a:gd name="connsiteY3" fmla="*/ 38675 h 114381"/>
                  <a:gd name="connsiteX4" fmla="*/ 3885 w 226562"/>
                  <a:gd name="connsiteY4" fmla="*/ 32747 h 114381"/>
                  <a:gd name="connsiteX5" fmla="*/ 75325 w 226562"/>
                  <a:gd name="connsiteY5" fmla="*/ 578 h 114381"/>
                  <a:gd name="connsiteX6" fmla="*/ 80870 w 226562"/>
                  <a:gd name="connsiteY6" fmla="*/ 630 h 114381"/>
                  <a:gd name="connsiteX7" fmla="*/ 222804 w 226562"/>
                  <a:gd name="connsiteY7" fmla="*/ 68288 h 114381"/>
                  <a:gd name="connsiteX8" fmla="*/ 225922 w 226562"/>
                  <a:gd name="connsiteY8" fmla="*/ 77078 h 114381"/>
                  <a:gd name="connsiteX9" fmla="*/ 217132 w 226562"/>
                  <a:gd name="connsiteY9" fmla="*/ 80195 h 114381"/>
                  <a:gd name="connsiteX10" fmla="*/ 77982 w 226562"/>
                  <a:gd name="connsiteY10" fmla="*/ 13839 h 114381"/>
                  <a:gd name="connsiteX11" fmla="*/ 22256 w 226562"/>
                  <a:gd name="connsiteY11" fmla="*/ 38930 h 114381"/>
                  <a:gd name="connsiteX12" fmla="*/ 153000 w 226562"/>
                  <a:gd name="connsiteY12" fmla="*/ 101836 h 114381"/>
                  <a:gd name="connsiteX13" fmla="*/ 156091 w 226562"/>
                  <a:gd name="connsiteY13" fmla="*/ 110651 h 114381"/>
                  <a:gd name="connsiteX14" fmla="*/ 150112 w 226562"/>
                  <a:gd name="connsiteY14" fmla="*/ 114382 h 11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6562" h="114381">
                    <a:moveTo>
                      <a:pt x="150112" y="114382"/>
                    </a:moveTo>
                    <a:cubicBezTo>
                      <a:pt x="149142" y="114382"/>
                      <a:pt x="148171" y="114177"/>
                      <a:pt x="147251" y="113743"/>
                    </a:cubicBezTo>
                    <a:lnTo>
                      <a:pt x="3732" y="44705"/>
                    </a:lnTo>
                    <a:cubicBezTo>
                      <a:pt x="1407" y="43581"/>
                      <a:pt x="-50" y="41230"/>
                      <a:pt x="1" y="38675"/>
                    </a:cubicBezTo>
                    <a:cubicBezTo>
                      <a:pt x="27" y="36120"/>
                      <a:pt x="1560" y="33794"/>
                      <a:pt x="3885" y="32747"/>
                    </a:cubicBezTo>
                    <a:lnTo>
                      <a:pt x="75325" y="578"/>
                    </a:lnTo>
                    <a:cubicBezTo>
                      <a:pt x="77088" y="-214"/>
                      <a:pt x="79107" y="-188"/>
                      <a:pt x="80870" y="630"/>
                    </a:cubicBezTo>
                    <a:lnTo>
                      <a:pt x="222804" y="68288"/>
                    </a:lnTo>
                    <a:cubicBezTo>
                      <a:pt x="226101" y="69847"/>
                      <a:pt x="227480" y="73807"/>
                      <a:pt x="225922" y="77078"/>
                    </a:cubicBezTo>
                    <a:cubicBezTo>
                      <a:pt x="224363" y="80374"/>
                      <a:pt x="220454" y="81779"/>
                      <a:pt x="217132" y="80195"/>
                    </a:cubicBezTo>
                    <a:lnTo>
                      <a:pt x="77982" y="13839"/>
                    </a:lnTo>
                    <a:lnTo>
                      <a:pt x="22256" y="38930"/>
                    </a:lnTo>
                    <a:lnTo>
                      <a:pt x="153000" y="101836"/>
                    </a:lnTo>
                    <a:cubicBezTo>
                      <a:pt x="156296" y="103421"/>
                      <a:pt x="157675" y="107355"/>
                      <a:pt x="156091" y="110651"/>
                    </a:cubicBezTo>
                    <a:cubicBezTo>
                      <a:pt x="154916" y="113002"/>
                      <a:pt x="152565" y="114382"/>
                      <a:pt x="150112" y="114382"/>
                    </a:cubicBezTo>
                    <a:close/>
                  </a:path>
                </a:pathLst>
              </a:custGeom>
              <a:grpFill/>
              <a:ln w="2555" cap="flat">
                <a:noFill/>
                <a:prstDash val="solid"/>
                <a:miter/>
              </a:ln>
            </p:spPr>
            <p:txBody>
              <a:bodyPr rtlCol="0" anchor="ctr"/>
              <a:lstStyle/>
              <a:p>
                <a:endParaRPr lang="en-GB" dirty="0"/>
              </a:p>
            </p:txBody>
          </p:sp>
          <p:sp>
            <p:nvSpPr>
              <p:cNvPr id="108" name="Freihandform: Form 358">
                <a:extLst>
                  <a:ext uri="{FF2B5EF4-FFF2-40B4-BE49-F238E27FC236}">
                    <a16:creationId xmlns:a16="http://schemas.microsoft.com/office/drawing/2014/main" id="{C92D0923-D68D-413D-8EEB-5C2A71E802E2}"/>
                  </a:ext>
                </a:extLst>
              </p:cNvPr>
              <p:cNvSpPr/>
              <p:nvPr/>
            </p:nvSpPr>
            <p:spPr>
              <a:xfrm>
                <a:off x="3634529" y="2611640"/>
                <a:ext cx="13594" cy="46604"/>
              </a:xfrm>
              <a:custGeom>
                <a:avLst/>
                <a:gdLst>
                  <a:gd name="connsiteX0" fmla="*/ 6976 w 13594"/>
                  <a:gd name="connsiteY0" fmla="*/ 46605 h 46604"/>
                  <a:gd name="connsiteX1" fmla="*/ 384 w 13594"/>
                  <a:gd name="connsiteY1" fmla="*/ 40089 h 46604"/>
                  <a:gd name="connsiteX2" fmla="*/ 1 w 13594"/>
                  <a:gd name="connsiteY2" fmla="*/ 6669 h 46604"/>
                  <a:gd name="connsiteX3" fmla="*/ 6542 w 13594"/>
                  <a:gd name="connsiteY3" fmla="*/ 0 h 46604"/>
                  <a:gd name="connsiteX4" fmla="*/ 6619 w 13594"/>
                  <a:gd name="connsiteY4" fmla="*/ 0 h 46604"/>
                  <a:gd name="connsiteX5" fmla="*/ 13211 w 13594"/>
                  <a:gd name="connsiteY5" fmla="*/ 6516 h 46604"/>
                  <a:gd name="connsiteX6" fmla="*/ 13594 w 13594"/>
                  <a:gd name="connsiteY6" fmla="*/ 39936 h 46604"/>
                  <a:gd name="connsiteX7" fmla="*/ 7053 w 13594"/>
                  <a:gd name="connsiteY7" fmla="*/ 46605 h 46604"/>
                  <a:gd name="connsiteX8" fmla="*/ 6976 w 13594"/>
                  <a:gd name="connsiteY8" fmla="*/ 46605 h 4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94" h="46604">
                    <a:moveTo>
                      <a:pt x="6976" y="46605"/>
                    </a:moveTo>
                    <a:cubicBezTo>
                      <a:pt x="3374" y="46605"/>
                      <a:pt x="410" y="43692"/>
                      <a:pt x="384" y="40089"/>
                    </a:cubicBezTo>
                    <a:lnTo>
                      <a:pt x="1" y="6669"/>
                    </a:lnTo>
                    <a:cubicBezTo>
                      <a:pt x="-50" y="3015"/>
                      <a:pt x="2888" y="26"/>
                      <a:pt x="6542" y="0"/>
                    </a:cubicBezTo>
                    <a:cubicBezTo>
                      <a:pt x="6567" y="0"/>
                      <a:pt x="6593" y="0"/>
                      <a:pt x="6619" y="0"/>
                    </a:cubicBezTo>
                    <a:cubicBezTo>
                      <a:pt x="10221" y="0"/>
                      <a:pt x="13185" y="2913"/>
                      <a:pt x="13211" y="6516"/>
                    </a:cubicBezTo>
                    <a:lnTo>
                      <a:pt x="13594" y="39936"/>
                    </a:lnTo>
                    <a:cubicBezTo>
                      <a:pt x="13645" y="43590"/>
                      <a:pt x="10707" y="46579"/>
                      <a:pt x="7053" y="46605"/>
                    </a:cubicBezTo>
                    <a:cubicBezTo>
                      <a:pt x="7027" y="46605"/>
                      <a:pt x="7002" y="46605"/>
                      <a:pt x="6976" y="46605"/>
                    </a:cubicBezTo>
                    <a:close/>
                  </a:path>
                </a:pathLst>
              </a:custGeom>
              <a:grpFill/>
              <a:ln w="2555" cap="flat">
                <a:noFill/>
                <a:prstDash val="solid"/>
                <a:miter/>
              </a:ln>
            </p:spPr>
            <p:txBody>
              <a:bodyPr rtlCol="0" anchor="ctr"/>
              <a:lstStyle/>
              <a:p>
                <a:endParaRPr lang="en-GB" dirty="0"/>
              </a:p>
            </p:txBody>
          </p:sp>
          <p:sp>
            <p:nvSpPr>
              <p:cNvPr id="109" name="Freihandform: Form 359">
                <a:extLst>
                  <a:ext uri="{FF2B5EF4-FFF2-40B4-BE49-F238E27FC236}">
                    <a16:creationId xmlns:a16="http://schemas.microsoft.com/office/drawing/2014/main" id="{4FB6784C-9881-4758-A77E-BC70AF6004DB}"/>
                  </a:ext>
                </a:extLst>
              </p:cNvPr>
              <p:cNvSpPr/>
              <p:nvPr/>
            </p:nvSpPr>
            <p:spPr>
              <a:xfrm>
                <a:off x="3562450" y="2642582"/>
                <a:ext cx="13184" cy="132711"/>
              </a:xfrm>
              <a:custGeom>
                <a:avLst/>
                <a:gdLst>
                  <a:gd name="connsiteX0" fmla="*/ 6592 w 13184"/>
                  <a:gd name="connsiteY0" fmla="*/ 132711 h 132711"/>
                  <a:gd name="connsiteX1" fmla="*/ 0 w 13184"/>
                  <a:gd name="connsiteY1" fmla="*/ 126119 h 132711"/>
                  <a:gd name="connsiteX2" fmla="*/ 0 w 13184"/>
                  <a:gd name="connsiteY2" fmla="*/ 6592 h 132711"/>
                  <a:gd name="connsiteX3" fmla="*/ 6592 w 13184"/>
                  <a:gd name="connsiteY3" fmla="*/ 0 h 132711"/>
                  <a:gd name="connsiteX4" fmla="*/ 13184 w 13184"/>
                  <a:gd name="connsiteY4" fmla="*/ 6592 h 132711"/>
                  <a:gd name="connsiteX5" fmla="*/ 13184 w 13184"/>
                  <a:gd name="connsiteY5" fmla="*/ 126119 h 132711"/>
                  <a:gd name="connsiteX6" fmla="*/ 6592 w 13184"/>
                  <a:gd name="connsiteY6" fmla="*/ 132711 h 132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84" h="132711">
                    <a:moveTo>
                      <a:pt x="6592" y="132711"/>
                    </a:moveTo>
                    <a:cubicBezTo>
                      <a:pt x="2938" y="132711"/>
                      <a:pt x="0" y="129747"/>
                      <a:pt x="0" y="126119"/>
                    </a:cubicBezTo>
                    <a:lnTo>
                      <a:pt x="0" y="6592"/>
                    </a:lnTo>
                    <a:cubicBezTo>
                      <a:pt x="0" y="2938"/>
                      <a:pt x="2964" y="0"/>
                      <a:pt x="6592" y="0"/>
                    </a:cubicBezTo>
                    <a:cubicBezTo>
                      <a:pt x="10220" y="0"/>
                      <a:pt x="13184" y="2964"/>
                      <a:pt x="13184" y="6592"/>
                    </a:cubicBezTo>
                    <a:lnTo>
                      <a:pt x="13184" y="126119"/>
                    </a:lnTo>
                    <a:cubicBezTo>
                      <a:pt x="13184" y="129747"/>
                      <a:pt x="10246" y="132711"/>
                      <a:pt x="6592" y="132711"/>
                    </a:cubicBezTo>
                    <a:close/>
                  </a:path>
                </a:pathLst>
              </a:custGeom>
              <a:grpFill/>
              <a:ln w="2555" cap="flat">
                <a:noFill/>
                <a:prstDash val="solid"/>
                <a:miter/>
              </a:ln>
            </p:spPr>
            <p:txBody>
              <a:bodyPr rtlCol="0" anchor="ctr"/>
              <a:lstStyle/>
              <a:p>
                <a:endParaRPr lang="en-GB" dirty="0"/>
              </a:p>
            </p:txBody>
          </p:sp>
        </p:grpSp>
        <p:grpSp>
          <p:nvGrpSpPr>
            <p:cNvPr id="76" name="Grafik 277">
              <a:extLst>
                <a:ext uri="{FF2B5EF4-FFF2-40B4-BE49-F238E27FC236}">
                  <a16:creationId xmlns:a16="http://schemas.microsoft.com/office/drawing/2014/main" id="{50B01CF2-77E2-444C-BF43-ED4F040DF7ED}"/>
                </a:ext>
              </a:extLst>
            </p:cNvPr>
            <p:cNvGrpSpPr/>
            <p:nvPr/>
          </p:nvGrpSpPr>
          <p:grpSpPr>
            <a:xfrm>
              <a:off x="1825856" y="1710083"/>
              <a:ext cx="301636" cy="248113"/>
              <a:chOff x="3601032" y="2567232"/>
              <a:chExt cx="309165" cy="254307"/>
            </a:xfrm>
            <a:solidFill>
              <a:schemeClr val="accent1"/>
            </a:solidFill>
          </p:grpSpPr>
          <p:grpSp>
            <p:nvGrpSpPr>
              <p:cNvPr id="77" name="Grafik 277">
                <a:extLst>
                  <a:ext uri="{FF2B5EF4-FFF2-40B4-BE49-F238E27FC236}">
                    <a16:creationId xmlns:a16="http://schemas.microsoft.com/office/drawing/2014/main" id="{7C5A70D2-4A5C-4C89-9C05-A70A17EA8216}"/>
                  </a:ext>
                </a:extLst>
              </p:cNvPr>
              <p:cNvGrpSpPr/>
              <p:nvPr/>
            </p:nvGrpSpPr>
            <p:grpSpPr>
              <a:xfrm>
                <a:off x="3601032" y="2660468"/>
                <a:ext cx="140352" cy="141270"/>
                <a:chOff x="3601032" y="2660468"/>
                <a:chExt cx="140352" cy="141270"/>
              </a:xfrm>
              <a:solidFill>
                <a:schemeClr val="accent1"/>
              </a:solidFill>
            </p:grpSpPr>
            <p:sp>
              <p:nvSpPr>
                <p:cNvPr id="96" name="Freihandform: Form 362">
                  <a:extLst>
                    <a:ext uri="{FF2B5EF4-FFF2-40B4-BE49-F238E27FC236}">
                      <a16:creationId xmlns:a16="http://schemas.microsoft.com/office/drawing/2014/main" id="{D9A84DB9-A3A5-4871-8908-708D4B01B023}"/>
                    </a:ext>
                  </a:extLst>
                </p:cNvPr>
                <p:cNvSpPr/>
                <p:nvPr/>
              </p:nvSpPr>
              <p:spPr>
                <a:xfrm>
                  <a:off x="3601032" y="2724063"/>
                  <a:ext cx="140285" cy="77674"/>
                </a:xfrm>
                <a:custGeom>
                  <a:avLst/>
                  <a:gdLst>
                    <a:gd name="connsiteX0" fmla="*/ 91089 w 140285"/>
                    <a:gd name="connsiteY0" fmla="*/ 77675 h 77674"/>
                    <a:gd name="connsiteX1" fmla="*/ 0 w 140285"/>
                    <a:gd name="connsiteY1" fmla="*/ 42414 h 77674"/>
                    <a:gd name="connsiteX2" fmla="*/ 0 w 140285"/>
                    <a:gd name="connsiteY2" fmla="*/ 6592 h 77674"/>
                    <a:gd name="connsiteX3" fmla="*/ 6592 w 140285"/>
                    <a:gd name="connsiteY3" fmla="*/ 0 h 77674"/>
                    <a:gd name="connsiteX4" fmla="*/ 13184 w 140285"/>
                    <a:gd name="connsiteY4" fmla="*/ 6592 h 77674"/>
                    <a:gd name="connsiteX5" fmla="*/ 13184 w 140285"/>
                    <a:gd name="connsiteY5" fmla="*/ 42414 h 77674"/>
                    <a:gd name="connsiteX6" fmla="*/ 91063 w 140285"/>
                    <a:gd name="connsiteY6" fmla="*/ 64465 h 77674"/>
                    <a:gd name="connsiteX7" fmla="*/ 132328 w 140285"/>
                    <a:gd name="connsiteY7" fmla="*/ 60990 h 77674"/>
                    <a:gd name="connsiteX8" fmla="*/ 140146 w 140285"/>
                    <a:gd name="connsiteY8" fmla="*/ 66100 h 77674"/>
                    <a:gd name="connsiteX9" fmla="*/ 135011 w 140285"/>
                    <a:gd name="connsiteY9" fmla="*/ 73919 h 77674"/>
                    <a:gd name="connsiteX10" fmla="*/ 91089 w 140285"/>
                    <a:gd name="connsiteY10" fmla="*/ 77675 h 7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285" h="77674">
                      <a:moveTo>
                        <a:pt x="91089" y="77675"/>
                      </a:moveTo>
                      <a:cubicBezTo>
                        <a:pt x="45813" y="77675"/>
                        <a:pt x="0" y="65563"/>
                        <a:pt x="0" y="42414"/>
                      </a:cubicBezTo>
                      <a:lnTo>
                        <a:pt x="0" y="6592"/>
                      </a:lnTo>
                      <a:cubicBezTo>
                        <a:pt x="0" y="2938"/>
                        <a:pt x="2964" y="0"/>
                        <a:pt x="6592" y="0"/>
                      </a:cubicBezTo>
                      <a:cubicBezTo>
                        <a:pt x="10246" y="0"/>
                        <a:pt x="13184" y="2964"/>
                        <a:pt x="13184" y="6592"/>
                      </a:cubicBezTo>
                      <a:lnTo>
                        <a:pt x="13184" y="42414"/>
                      </a:lnTo>
                      <a:cubicBezTo>
                        <a:pt x="13184" y="51204"/>
                        <a:pt x="44254" y="64465"/>
                        <a:pt x="91063" y="64465"/>
                      </a:cubicBezTo>
                      <a:cubicBezTo>
                        <a:pt x="108029" y="64465"/>
                        <a:pt x="120753" y="63392"/>
                        <a:pt x="132328" y="60990"/>
                      </a:cubicBezTo>
                      <a:cubicBezTo>
                        <a:pt x="135879" y="60249"/>
                        <a:pt x="139380" y="62548"/>
                        <a:pt x="140146" y="66100"/>
                      </a:cubicBezTo>
                      <a:cubicBezTo>
                        <a:pt x="140887" y="69677"/>
                        <a:pt x="138588" y="73178"/>
                        <a:pt x="135011" y="73919"/>
                      </a:cubicBezTo>
                      <a:cubicBezTo>
                        <a:pt x="122542" y="76525"/>
                        <a:pt x="108974" y="77675"/>
                        <a:pt x="91089" y="77675"/>
                      </a:cubicBezTo>
                      <a:close/>
                    </a:path>
                  </a:pathLst>
                </a:custGeom>
                <a:solidFill>
                  <a:schemeClr val="accent1"/>
                </a:solidFill>
                <a:ln w="2555" cap="flat">
                  <a:noFill/>
                  <a:prstDash val="solid"/>
                  <a:miter/>
                </a:ln>
              </p:spPr>
              <p:txBody>
                <a:bodyPr rtlCol="0" anchor="ctr"/>
                <a:lstStyle/>
                <a:p>
                  <a:endParaRPr lang="en-GB" dirty="0"/>
                </a:p>
              </p:txBody>
            </p:sp>
            <p:grpSp>
              <p:nvGrpSpPr>
                <p:cNvPr id="97" name="Grafik 277">
                  <a:extLst>
                    <a:ext uri="{FF2B5EF4-FFF2-40B4-BE49-F238E27FC236}">
                      <a16:creationId xmlns:a16="http://schemas.microsoft.com/office/drawing/2014/main" id="{8C37ADB1-DA9F-4C54-9E37-F82F4E67C763}"/>
                    </a:ext>
                  </a:extLst>
                </p:cNvPr>
                <p:cNvGrpSpPr/>
                <p:nvPr/>
              </p:nvGrpSpPr>
              <p:grpSpPr>
                <a:xfrm>
                  <a:off x="3601032" y="2660468"/>
                  <a:ext cx="140352" cy="106342"/>
                  <a:chOff x="3601032" y="2660468"/>
                  <a:chExt cx="140352" cy="106342"/>
                </a:xfrm>
                <a:solidFill>
                  <a:schemeClr val="accent1"/>
                </a:solidFill>
              </p:grpSpPr>
              <p:sp>
                <p:nvSpPr>
                  <p:cNvPr id="98" name="Freihandform: Form 364">
                    <a:extLst>
                      <a:ext uri="{FF2B5EF4-FFF2-40B4-BE49-F238E27FC236}">
                        <a16:creationId xmlns:a16="http://schemas.microsoft.com/office/drawing/2014/main" id="{CD8083BB-9BB4-4903-ACF7-B8351673319D}"/>
                      </a:ext>
                    </a:extLst>
                  </p:cNvPr>
                  <p:cNvSpPr/>
                  <p:nvPr/>
                </p:nvSpPr>
                <p:spPr>
                  <a:xfrm>
                    <a:off x="3601032" y="2660468"/>
                    <a:ext cx="140352" cy="70520"/>
                  </a:xfrm>
                  <a:custGeom>
                    <a:avLst/>
                    <a:gdLst>
                      <a:gd name="connsiteX0" fmla="*/ 91089 w 140352"/>
                      <a:gd name="connsiteY0" fmla="*/ 70520 h 70520"/>
                      <a:gd name="connsiteX1" fmla="*/ 0 w 140352"/>
                      <a:gd name="connsiteY1" fmla="*/ 35260 h 70520"/>
                      <a:gd name="connsiteX2" fmla="*/ 91089 w 140352"/>
                      <a:gd name="connsiteY2" fmla="*/ 0 h 70520"/>
                      <a:gd name="connsiteX3" fmla="*/ 134142 w 140352"/>
                      <a:gd name="connsiteY3" fmla="*/ 3858 h 70520"/>
                      <a:gd name="connsiteX4" fmla="*/ 139354 w 140352"/>
                      <a:gd name="connsiteY4" fmla="*/ 11600 h 70520"/>
                      <a:gd name="connsiteX5" fmla="*/ 131612 w 140352"/>
                      <a:gd name="connsiteY5" fmla="*/ 16838 h 70520"/>
                      <a:gd name="connsiteX6" fmla="*/ 91089 w 140352"/>
                      <a:gd name="connsiteY6" fmla="*/ 13210 h 70520"/>
                      <a:gd name="connsiteX7" fmla="*/ 13210 w 140352"/>
                      <a:gd name="connsiteY7" fmla="*/ 35260 h 70520"/>
                      <a:gd name="connsiteX8" fmla="*/ 91089 w 140352"/>
                      <a:gd name="connsiteY8" fmla="*/ 57310 h 70520"/>
                      <a:gd name="connsiteX9" fmla="*/ 132455 w 140352"/>
                      <a:gd name="connsiteY9" fmla="*/ 53529 h 70520"/>
                      <a:gd name="connsiteX10" fmla="*/ 140223 w 140352"/>
                      <a:gd name="connsiteY10" fmla="*/ 58716 h 70520"/>
                      <a:gd name="connsiteX11" fmla="*/ 135036 w 140352"/>
                      <a:gd name="connsiteY11" fmla="*/ 66483 h 70520"/>
                      <a:gd name="connsiteX12" fmla="*/ 91089 w 140352"/>
                      <a:gd name="connsiteY12" fmla="*/ 70520 h 7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0352" h="70520">
                        <a:moveTo>
                          <a:pt x="91089" y="70520"/>
                        </a:moveTo>
                        <a:cubicBezTo>
                          <a:pt x="45813" y="70520"/>
                          <a:pt x="0" y="58409"/>
                          <a:pt x="0" y="35260"/>
                        </a:cubicBezTo>
                        <a:cubicBezTo>
                          <a:pt x="0" y="12111"/>
                          <a:pt x="45813" y="0"/>
                          <a:pt x="91089" y="0"/>
                        </a:cubicBezTo>
                        <a:cubicBezTo>
                          <a:pt x="106189" y="0"/>
                          <a:pt x="121060" y="1329"/>
                          <a:pt x="134142" y="3858"/>
                        </a:cubicBezTo>
                        <a:cubicBezTo>
                          <a:pt x="137719" y="4548"/>
                          <a:pt x="140070" y="8023"/>
                          <a:pt x="139354" y="11600"/>
                        </a:cubicBezTo>
                        <a:cubicBezTo>
                          <a:pt x="138664" y="15177"/>
                          <a:pt x="135266" y="17502"/>
                          <a:pt x="131612" y="16838"/>
                        </a:cubicBezTo>
                        <a:cubicBezTo>
                          <a:pt x="119348" y="14462"/>
                          <a:pt x="105346" y="13210"/>
                          <a:pt x="91089" y="13210"/>
                        </a:cubicBezTo>
                        <a:cubicBezTo>
                          <a:pt x="44280" y="13210"/>
                          <a:pt x="13210" y="26496"/>
                          <a:pt x="13210" y="35260"/>
                        </a:cubicBezTo>
                        <a:cubicBezTo>
                          <a:pt x="13210" y="44024"/>
                          <a:pt x="44254" y="57310"/>
                          <a:pt x="91089" y="57310"/>
                        </a:cubicBezTo>
                        <a:cubicBezTo>
                          <a:pt x="105704" y="57310"/>
                          <a:pt x="120012" y="56007"/>
                          <a:pt x="132455" y="53529"/>
                        </a:cubicBezTo>
                        <a:cubicBezTo>
                          <a:pt x="136084" y="52839"/>
                          <a:pt x="139507" y="55139"/>
                          <a:pt x="140223" y="58716"/>
                        </a:cubicBezTo>
                        <a:cubicBezTo>
                          <a:pt x="140938" y="62293"/>
                          <a:pt x="138613" y="65768"/>
                          <a:pt x="135036" y="66483"/>
                        </a:cubicBezTo>
                        <a:cubicBezTo>
                          <a:pt x="121724" y="69115"/>
                          <a:pt x="106547" y="70520"/>
                          <a:pt x="91089" y="70520"/>
                        </a:cubicBezTo>
                        <a:close/>
                      </a:path>
                    </a:pathLst>
                  </a:custGeom>
                  <a:solidFill>
                    <a:schemeClr val="accent1"/>
                  </a:solidFill>
                  <a:ln w="2555" cap="flat">
                    <a:noFill/>
                    <a:prstDash val="solid"/>
                    <a:miter/>
                  </a:ln>
                </p:spPr>
                <p:txBody>
                  <a:bodyPr rtlCol="0" anchor="ctr"/>
                  <a:lstStyle/>
                  <a:p>
                    <a:endParaRPr lang="en-GB" dirty="0"/>
                  </a:p>
                </p:txBody>
              </p:sp>
              <p:sp>
                <p:nvSpPr>
                  <p:cNvPr id="99" name="Freihandform: Form 365">
                    <a:extLst>
                      <a:ext uri="{FF2B5EF4-FFF2-40B4-BE49-F238E27FC236}">
                        <a16:creationId xmlns:a16="http://schemas.microsoft.com/office/drawing/2014/main" id="{DC34C31E-DC48-4D3E-B4FF-3FC5E0ED5E9A}"/>
                      </a:ext>
                    </a:extLst>
                  </p:cNvPr>
                  <p:cNvSpPr/>
                  <p:nvPr/>
                </p:nvSpPr>
                <p:spPr>
                  <a:xfrm>
                    <a:off x="3601032" y="2689136"/>
                    <a:ext cx="139424" cy="77674"/>
                  </a:xfrm>
                  <a:custGeom>
                    <a:avLst/>
                    <a:gdLst>
                      <a:gd name="connsiteX0" fmla="*/ 91089 w 139424"/>
                      <a:gd name="connsiteY0" fmla="*/ 77675 h 77674"/>
                      <a:gd name="connsiteX1" fmla="*/ 0 w 139424"/>
                      <a:gd name="connsiteY1" fmla="*/ 42414 h 77674"/>
                      <a:gd name="connsiteX2" fmla="*/ 0 w 139424"/>
                      <a:gd name="connsiteY2" fmla="*/ 6592 h 77674"/>
                      <a:gd name="connsiteX3" fmla="*/ 6592 w 139424"/>
                      <a:gd name="connsiteY3" fmla="*/ 0 h 77674"/>
                      <a:gd name="connsiteX4" fmla="*/ 13184 w 139424"/>
                      <a:gd name="connsiteY4" fmla="*/ 6592 h 77674"/>
                      <a:gd name="connsiteX5" fmla="*/ 13184 w 139424"/>
                      <a:gd name="connsiteY5" fmla="*/ 42414 h 77674"/>
                      <a:gd name="connsiteX6" fmla="*/ 91063 w 139424"/>
                      <a:gd name="connsiteY6" fmla="*/ 64465 h 77674"/>
                      <a:gd name="connsiteX7" fmla="*/ 131561 w 139424"/>
                      <a:gd name="connsiteY7" fmla="*/ 60837 h 77674"/>
                      <a:gd name="connsiteX8" fmla="*/ 139303 w 139424"/>
                      <a:gd name="connsiteY8" fmla="*/ 66074 h 77674"/>
                      <a:gd name="connsiteX9" fmla="*/ 134065 w 139424"/>
                      <a:gd name="connsiteY9" fmla="*/ 73816 h 77674"/>
                      <a:gd name="connsiteX10" fmla="*/ 91089 w 139424"/>
                      <a:gd name="connsiteY10" fmla="*/ 77675 h 7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9424" h="77674">
                        <a:moveTo>
                          <a:pt x="91089" y="77675"/>
                        </a:moveTo>
                        <a:cubicBezTo>
                          <a:pt x="45813" y="77675"/>
                          <a:pt x="0" y="65563"/>
                          <a:pt x="0" y="42414"/>
                        </a:cubicBezTo>
                        <a:lnTo>
                          <a:pt x="0" y="6592"/>
                        </a:lnTo>
                        <a:cubicBezTo>
                          <a:pt x="0" y="2938"/>
                          <a:pt x="2964" y="0"/>
                          <a:pt x="6592" y="0"/>
                        </a:cubicBezTo>
                        <a:cubicBezTo>
                          <a:pt x="10246" y="0"/>
                          <a:pt x="13184" y="2964"/>
                          <a:pt x="13184" y="6592"/>
                        </a:cubicBezTo>
                        <a:lnTo>
                          <a:pt x="13184" y="42414"/>
                        </a:lnTo>
                        <a:cubicBezTo>
                          <a:pt x="13184" y="51204"/>
                          <a:pt x="44254" y="64465"/>
                          <a:pt x="91063" y="64465"/>
                        </a:cubicBezTo>
                        <a:cubicBezTo>
                          <a:pt x="105295" y="64465"/>
                          <a:pt x="119297" y="63213"/>
                          <a:pt x="131561" y="60837"/>
                        </a:cubicBezTo>
                        <a:cubicBezTo>
                          <a:pt x="135113" y="60121"/>
                          <a:pt x="138613" y="62497"/>
                          <a:pt x="139303" y="66074"/>
                        </a:cubicBezTo>
                        <a:cubicBezTo>
                          <a:pt x="139993" y="69652"/>
                          <a:pt x="137668" y="73126"/>
                          <a:pt x="134065" y="73816"/>
                        </a:cubicBezTo>
                        <a:cubicBezTo>
                          <a:pt x="121009" y="76346"/>
                          <a:pt x="106138" y="77675"/>
                          <a:pt x="91089" y="77675"/>
                        </a:cubicBezTo>
                        <a:close/>
                      </a:path>
                    </a:pathLst>
                  </a:custGeom>
                  <a:solidFill>
                    <a:schemeClr val="accent1"/>
                  </a:solidFill>
                  <a:ln w="2555" cap="flat">
                    <a:noFill/>
                    <a:prstDash val="solid"/>
                    <a:miter/>
                  </a:ln>
                </p:spPr>
                <p:txBody>
                  <a:bodyPr rtlCol="0" anchor="ctr"/>
                  <a:lstStyle/>
                  <a:p>
                    <a:endParaRPr lang="en-GB" dirty="0"/>
                  </a:p>
                </p:txBody>
              </p:sp>
            </p:grpSp>
          </p:grpSp>
          <p:grpSp>
            <p:nvGrpSpPr>
              <p:cNvPr id="78" name="Grafik 277">
                <a:extLst>
                  <a:ext uri="{FF2B5EF4-FFF2-40B4-BE49-F238E27FC236}">
                    <a16:creationId xmlns:a16="http://schemas.microsoft.com/office/drawing/2014/main" id="{C90DE67F-3888-4F38-977D-828E4FAD5186}"/>
                  </a:ext>
                </a:extLst>
              </p:cNvPr>
              <p:cNvGrpSpPr/>
              <p:nvPr/>
            </p:nvGrpSpPr>
            <p:grpSpPr>
              <a:xfrm>
                <a:off x="3728020" y="2567232"/>
                <a:ext cx="182177" cy="254307"/>
                <a:chOff x="3728020" y="2567232"/>
                <a:chExt cx="182177" cy="254307"/>
              </a:xfrm>
              <a:solidFill>
                <a:schemeClr val="accent1"/>
              </a:solidFill>
            </p:grpSpPr>
            <p:grpSp>
              <p:nvGrpSpPr>
                <p:cNvPr id="79" name="Grafik 277">
                  <a:extLst>
                    <a:ext uri="{FF2B5EF4-FFF2-40B4-BE49-F238E27FC236}">
                      <a16:creationId xmlns:a16="http://schemas.microsoft.com/office/drawing/2014/main" id="{DEAD837A-8CA3-4B0A-8F3A-4C2E114AFBB8}"/>
                    </a:ext>
                  </a:extLst>
                </p:cNvPr>
                <p:cNvGrpSpPr/>
                <p:nvPr/>
              </p:nvGrpSpPr>
              <p:grpSpPr>
                <a:xfrm>
                  <a:off x="3728020" y="2741719"/>
                  <a:ext cx="182126" cy="79820"/>
                  <a:chOff x="3728020" y="2741719"/>
                  <a:chExt cx="182126" cy="79820"/>
                </a:xfrm>
                <a:solidFill>
                  <a:schemeClr val="accent1"/>
                </a:solidFill>
              </p:grpSpPr>
              <p:sp>
                <p:nvSpPr>
                  <p:cNvPr id="94" name="Freihandform: Form 368">
                    <a:extLst>
                      <a:ext uri="{FF2B5EF4-FFF2-40B4-BE49-F238E27FC236}">
                        <a16:creationId xmlns:a16="http://schemas.microsoft.com/office/drawing/2014/main" id="{85B117C6-E221-45C7-B201-EA2A2C422FA6}"/>
                      </a:ext>
                    </a:extLst>
                  </p:cNvPr>
                  <p:cNvSpPr/>
                  <p:nvPr/>
                </p:nvSpPr>
                <p:spPr>
                  <a:xfrm>
                    <a:off x="3728020" y="2741745"/>
                    <a:ext cx="182126" cy="42797"/>
                  </a:xfrm>
                  <a:custGeom>
                    <a:avLst/>
                    <a:gdLst>
                      <a:gd name="connsiteX0" fmla="*/ 91088 w 182126"/>
                      <a:gd name="connsiteY0" fmla="*/ 42798 h 42797"/>
                      <a:gd name="connsiteX1" fmla="*/ 0 w 182126"/>
                      <a:gd name="connsiteY1" fmla="*/ 6592 h 42797"/>
                      <a:gd name="connsiteX2" fmla="*/ 6592 w 182126"/>
                      <a:gd name="connsiteY2" fmla="*/ 0 h 42797"/>
                      <a:gd name="connsiteX3" fmla="*/ 13184 w 182126"/>
                      <a:gd name="connsiteY3" fmla="*/ 6592 h 42797"/>
                      <a:gd name="connsiteX4" fmla="*/ 91063 w 182126"/>
                      <a:gd name="connsiteY4" fmla="*/ 29588 h 42797"/>
                      <a:gd name="connsiteX5" fmla="*/ 168942 w 182126"/>
                      <a:gd name="connsiteY5" fmla="*/ 6592 h 42797"/>
                      <a:gd name="connsiteX6" fmla="*/ 175534 w 182126"/>
                      <a:gd name="connsiteY6" fmla="*/ 0 h 42797"/>
                      <a:gd name="connsiteX7" fmla="*/ 182126 w 182126"/>
                      <a:gd name="connsiteY7" fmla="*/ 6592 h 42797"/>
                      <a:gd name="connsiteX8" fmla="*/ 91088 w 182126"/>
                      <a:gd name="connsiteY8" fmla="*/ 42798 h 4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126" h="42797">
                        <a:moveTo>
                          <a:pt x="91088" y="42798"/>
                        </a:moveTo>
                        <a:cubicBezTo>
                          <a:pt x="45812" y="42798"/>
                          <a:pt x="0" y="30354"/>
                          <a:pt x="0" y="6592"/>
                        </a:cubicBezTo>
                        <a:cubicBezTo>
                          <a:pt x="0" y="2938"/>
                          <a:pt x="2964" y="0"/>
                          <a:pt x="6592" y="0"/>
                        </a:cubicBezTo>
                        <a:cubicBezTo>
                          <a:pt x="10246" y="0"/>
                          <a:pt x="13184" y="2964"/>
                          <a:pt x="13184" y="6592"/>
                        </a:cubicBezTo>
                        <a:cubicBezTo>
                          <a:pt x="13184" y="15969"/>
                          <a:pt x="43538" y="29588"/>
                          <a:pt x="91063" y="29588"/>
                        </a:cubicBezTo>
                        <a:cubicBezTo>
                          <a:pt x="138613" y="29588"/>
                          <a:pt x="168942" y="15969"/>
                          <a:pt x="168942" y="6592"/>
                        </a:cubicBezTo>
                        <a:cubicBezTo>
                          <a:pt x="168942" y="2938"/>
                          <a:pt x="171906" y="0"/>
                          <a:pt x="175534" y="0"/>
                        </a:cubicBezTo>
                        <a:cubicBezTo>
                          <a:pt x="179188" y="0"/>
                          <a:pt x="182126" y="2964"/>
                          <a:pt x="182126" y="6592"/>
                        </a:cubicBezTo>
                        <a:cubicBezTo>
                          <a:pt x="182152" y="30354"/>
                          <a:pt x="136339" y="42798"/>
                          <a:pt x="91088" y="42798"/>
                        </a:cubicBezTo>
                        <a:close/>
                      </a:path>
                    </a:pathLst>
                  </a:custGeom>
                  <a:solidFill>
                    <a:schemeClr val="accent1"/>
                  </a:solidFill>
                  <a:ln w="2555" cap="flat">
                    <a:noFill/>
                    <a:prstDash val="solid"/>
                    <a:miter/>
                  </a:ln>
                </p:spPr>
                <p:txBody>
                  <a:bodyPr rtlCol="0" anchor="ctr"/>
                  <a:lstStyle/>
                  <a:p>
                    <a:endParaRPr lang="en-GB" dirty="0"/>
                  </a:p>
                </p:txBody>
              </p:sp>
              <p:sp>
                <p:nvSpPr>
                  <p:cNvPr id="95" name="Freihandform: Form 369">
                    <a:extLst>
                      <a:ext uri="{FF2B5EF4-FFF2-40B4-BE49-F238E27FC236}">
                        <a16:creationId xmlns:a16="http://schemas.microsoft.com/office/drawing/2014/main" id="{8C8A73D0-7EB4-4DFC-8AB1-7425FEACF132}"/>
                      </a:ext>
                    </a:extLst>
                  </p:cNvPr>
                  <p:cNvSpPr/>
                  <p:nvPr/>
                </p:nvSpPr>
                <p:spPr>
                  <a:xfrm>
                    <a:off x="3728020" y="2741719"/>
                    <a:ext cx="182126" cy="79820"/>
                  </a:xfrm>
                  <a:custGeom>
                    <a:avLst/>
                    <a:gdLst>
                      <a:gd name="connsiteX0" fmla="*/ 91088 w 182126"/>
                      <a:gd name="connsiteY0" fmla="*/ 79821 h 79820"/>
                      <a:gd name="connsiteX1" fmla="*/ 0 w 182126"/>
                      <a:gd name="connsiteY1" fmla="*/ 43615 h 79820"/>
                      <a:gd name="connsiteX2" fmla="*/ 0 w 182126"/>
                      <a:gd name="connsiteY2" fmla="*/ 6592 h 79820"/>
                      <a:gd name="connsiteX3" fmla="*/ 6592 w 182126"/>
                      <a:gd name="connsiteY3" fmla="*/ 0 h 79820"/>
                      <a:gd name="connsiteX4" fmla="*/ 13184 w 182126"/>
                      <a:gd name="connsiteY4" fmla="*/ 6592 h 79820"/>
                      <a:gd name="connsiteX5" fmla="*/ 13184 w 182126"/>
                      <a:gd name="connsiteY5" fmla="*/ 43615 h 79820"/>
                      <a:gd name="connsiteX6" fmla="*/ 91063 w 182126"/>
                      <a:gd name="connsiteY6" fmla="*/ 66611 h 79820"/>
                      <a:gd name="connsiteX7" fmla="*/ 168942 w 182126"/>
                      <a:gd name="connsiteY7" fmla="*/ 43615 h 79820"/>
                      <a:gd name="connsiteX8" fmla="*/ 168942 w 182126"/>
                      <a:gd name="connsiteY8" fmla="*/ 6592 h 79820"/>
                      <a:gd name="connsiteX9" fmla="*/ 175534 w 182126"/>
                      <a:gd name="connsiteY9" fmla="*/ 0 h 79820"/>
                      <a:gd name="connsiteX10" fmla="*/ 182126 w 182126"/>
                      <a:gd name="connsiteY10" fmla="*/ 6592 h 79820"/>
                      <a:gd name="connsiteX11" fmla="*/ 182126 w 182126"/>
                      <a:gd name="connsiteY11" fmla="*/ 43615 h 79820"/>
                      <a:gd name="connsiteX12" fmla="*/ 91088 w 182126"/>
                      <a:gd name="connsiteY12" fmla="*/ 79821 h 7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2126" h="79820">
                        <a:moveTo>
                          <a:pt x="91088" y="79821"/>
                        </a:moveTo>
                        <a:cubicBezTo>
                          <a:pt x="45812" y="79821"/>
                          <a:pt x="0" y="67378"/>
                          <a:pt x="0" y="43615"/>
                        </a:cubicBezTo>
                        <a:lnTo>
                          <a:pt x="0" y="6592"/>
                        </a:lnTo>
                        <a:cubicBezTo>
                          <a:pt x="0" y="2938"/>
                          <a:pt x="2964" y="0"/>
                          <a:pt x="6592" y="0"/>
                        </a:cubicBezTo>
                        <a:cubicBezTo>
                          <a:pt x="10246" y="0"/>
                          <a:pt x="13184" y="2964"/>
                          <a:pt x="13184" y="6592"/>
                        </a:cubicBezTo>
                        <a:lnTo>
                          <a:pt x="13184" y="43615"/>
                        </a:lnTo>
                        <a:cubicBezTo>
                          <a:pt x="13184" y="52992"/>
                          <a:pt x="43538" y="66611"/>
                          <a:pt x="91063" y="66611"/>
                        </a:cubicBezTo>
                        <a:cubicBezTo>
                          <a:pt x="138613" y="66611"/>
                          <a:pt x="168942" y="52992"/>
                          <a:pt x="168942" y="43615"/>
                        </a:cubicBezTo>
                        <a:lnTo>
                          <a:pt x="168942" y="6592"/>
                        </a:lnTo>
                        <a:cubicBezTo>
                          <a:pt x="168942" y="2938"/>
                          <a:pt x="171906" y="0"/>
                          <a:pt x="175534" y="0"/>
                        </a:cubicBezTo>
                        <a:cubicBezTo>
                          <a:pt x="179188" y="0"/>
                          <a:pt x="182126" y="2964"/>
                          <a:pt x="182126" y="6592"/>
                        </a:cubicBezTo>
                        <a:lnTo>
                          <a:pt x="182126" y="43615"/>
                        </a:lnTo>
                        <a:cubicBezTo>
                          <a:pt x="182152" y="67378"/>
                          <a:pt x="136339" y="79821"/>
                          <a:pt x="91088" y="79821"/>
                        </a:cubicBezTo>
                        <a:close/>
                      </a:path>
                    </a:pathLst>
                  </a:custGeom>
                  <a:solidFill>
                    <a:schemeClr val="accent1"/>
                  </a:solidFill>
                  <a:ln w="2555" cap="flat">
                    <a:noFill/>
                    <a:prstDash val="solid"/>
                    <a:miter/>
                  </a:ln>
                </p:spPr>
                <p:txBody>
                  <a:bodyPr rtlCol="0" anchor="ctr"/>
                  <a:lstStyle/>
                  <a:p>
                    <a:endParaRPr lang="en-GB" dirty="0"/>
                  </a:p>
                </p:txBody>
              </p:sp>
            </p:grpSp>
            <p:grpSp>
              <p:nvGrpSpPr>
                <p:cNvPr id="80" name="Grafik 277">
                  <a:extLst>
                    <a:ext uri="{FF2B5EF4-FFF2-40B4-BE49-F238E27FC236}">
                      <a16:creationId xmlns:a16="http://schemas.microsoft.com/office/drawing/2014/main" id="{92E9B3D1-94C5-4AB5-89FF-599C15F32A92}"/>
                    </a:ext>
                  </a:extLst>
                </p:cNvPr>
                <p:cNvGrpSpPr/>
                <p:nvPr/>
              </p:nvGrpSpPr>
              <p:grpSpPr>
                <a:xfrm>
                  <a:off x="3728020" y="2669564"/>
                  <a:ext cx="182126" cy="115898"/>
                  <a:chOff x="3728020" y="2669564"/>
                  <a:chExt cx="182126" cy="115898"/>
                </a:xfrm>
                <a:solidFill>
                  <a:schemeClr val="accent1"/>
                </a:solidFill>
              </p:grpSpPr>
              <p:grpSp>
                <p:nvGrpSpPr>
                  <p:cNvPr id="88" name="Grafik 277">
                    <a:extLst>
                      <a:ext uri="{FF2B5EF4-FFF2-40B4-BE49-F238E27FC236}">
                        <a16:creationId xmlns:a16="http://schemas.microsoft.com/office/drawing/2014/main" id="{CBF1D6BE-C1CD-4A0A-AA63-BF055E3D144B}"/>
                      </a:ext>
                    </a:extLst>
                  </p:cNvPr>
                  <p:cNvGrpSpPr/>
                  <p:nvPr/>
                </p:nvGrpSpPr>
                <p:grpSpPr>
                  <a:xfrm>
                    <a:off x="3728020" y="2705667"/>
                    <a:ext cx="182126" cy="79795"/>
                    <a:chOff x="3728020" y="2705667"/>
                    <a:chExt cx="182126" cy="79795"/>
                  </a:xfrm>
                  <a:solidFill>
                    <a:schemeClr val="accent1"/>
                  </a:solidFill>
                </p:grpSpPr>
                <p:sp>
                  <p:nvSpPr>
                    <p:cNvPr id="92" name="Freihandform: Form 372">
                      <a:extLst>
                        <a:ext uri="{FF2B5EF4-FFF2-40B4-BE49-F238E27FC236}">
                          <a16:creationId xmlns:a16="http://schemas.microsoft.com/office/drawing/2014/main" id="{6EAEBACE-E248-4696-B952-ACF5F65FDBE5}"/>
                        </a:ext>
                      </a:extLst>
                    </p:cNvPr>
                    <p:cNvSpPr/>
                    <p:nvPr/>
                  </p:nvSpPr>
                  <p:spPr>
                    <a:xfrm>
                      <a:off x="3728020" y="2705667"/>
                      <a:ext cx="182126" cy="42797"/>
                    </a:xfrm>
                    <a:custGeom>
                      <a:avLst/>
                      <a:gdLst>
                        <a:gd name="connsiteX0" fmla="*/ 91088 w 182126"/>
                        <a:gd name="connsiteY0" fmla="*/ 42798 h 42797"/>
                        <a:gd name="connsiteX1" fmla="*/ 0 w 182126"/>
                        <a:gd name="connsiteY1" fmla="*/ 6592 h 42797"/>
                        <a:gd name="connsiteX2" fmla="*/ 6592 w 182126"/>
                        <a:gd name="connsiteY2" fmla="*/ 0 h 42797"/>
                        <a:gd name="connsiteX3" fmla="*/ 13184 w 182126"/>
                        <a:gd name="connsiteY3" fmla="*/ 6592 h 42797"/>
                        <a:gd name="connsiteX4" fmla="*/ 91063 w 182126"/>
                        <a:gd name="connsiteY4" fmla="*/ 29588 h 42797"/>
                        <a:gd name="connsiteX5" fmla="*/ 168942 w 182126"/>
                        <a:gd name="connsiteY5" fmla="*/ 6592 h 42797"/>
                        <a:gd name="connsiteX6" fmla="*/ 175534 w 182126"/>
                        <a:gd name="connsiteY6" fmla="*/ 0 h 42797"/>
                        <a:gd name="connsiteX7" fmla="*/ 182126 w 182126"/>
                        <a:gd name="connsiteY7" fmla="*/ 6592 h 42797"/>
                        <a:gd name="connsiteX8" fmla="*/ 91088 w 182126"/>
                        <a:gd name="connsiteY8" fmla="*/ 42798 h 4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126" h="42797">
                          <a:moveTo>
                            <a:pt x="91088" y="42798"/>
                          </a:moveTo>
                          <a:cubicBezTo>
                            <a:pt x="45812" y="42798"/>
                            <a:pt x="0" y="30354"/>
                            <a:pt x="0" y="6592"/>
                          </a:cubicBezTo>
                          <a:cubicBezTo>
                            <a:pt x="0" y="2938"/>
                            <a:pt x="2964" y="0"/>
                            <a:pt x="6592" y="0"/>
                          </a:cubicBezTo>
                          <a:cubicBezTo>
                            <a:pt x="10246" y="0"/>
                            <a:pt x="13184" y="2964"/>
                            <a:pt x="13184" y="6592"/>
                          </a:cubicBezTo>
                          <a:cubicBezTo>
                            <a:pt x="13184" y="15969"/>
                            <a:pt x="43538" y="29588"/>
                            <a:pt x="91063" y="29588"/>
                          </a:cubicBezTo>
                          <a:cubicBezTo>
                            <a:pt x="138613" y="29588"/>
                            <a:pt x="168942" y="15969"/>
                            <a:pt x="168942" y="6592"/>
                          </a:cubicBezTo>
                          <a:cubicBezTo>
                            <a:pt x="168942" y="2938"/>
                            <a:pt x="171906" y="0"/>
                            <a:pt x="175534" y="0"/>
                          </a:cubicBezTo>
                          <a:cubicBezTo>
                            <a:pt x="179188" y="0"/>
                            <a:pt x="182126" y="2964"/>
                            <a:pt x="182126" y="6592"/>
                          </a:cubicBezTo>
                          <a:cubicBezTo>
                            <a:pt x="182152" y="30354"/>
                            <a:pt x="136339" y="42798"/>
                            <a:pt x="91088" y="42798"/>
                          </a:cubicBezTo>
                          <a:close/>
                        </a:path>
                      </a:pathLst>
                    </a:custGeom>
                    <a:solidFill>
                      <a:schemeClr val="accent1"/>
                    </a:solidFill>
                    <a:ln w="2555" cap="flat">
                      <a:noFill/>
                      <a:prstDash val="solid"/>
                      <a:miter/>
                    </a:ln>
                  </p:spPr>
                  <p:txBody>
                    <a:bodyPr rtlCol="0" anchor="ctr"/>
                    <a:lstStyle/>
                    <a:p>
                      <a:endParaRPr lang="en-GB" dirty="0"/>
                    </a:p>
                  </p:txBody>
                </p:sp>
                <p:sp>
                  <p:nvSpPr>
                    <p:cNvPr id="93" name="Freihandform: Form 373">
                      <a:extLst>
                        <a:ext uri="{FF2B5EF4-FFF2-40B4-BE49-F238E27FC236}">
                          <a16:creationId xmlns:a16="http://schemas.microsoft.com/office/drawing/2014/main" id="{5CE5CC25-6447-4D2B-8D2B-778A61B5E15E}"/>
                        </a:ext>
                      </a:extLst>
                    </p:cNvPr>
                    <p:cNvSpPr/>
                    <p:nvPr/>
                  </p:nvSpPr>
                  <p:spPr>
                    <a:xfrm>
                      <a:off x="3728020" y="2705667"/>
                      <a:ext cx="182126" cy="79795"/>
                    </a:xfrm>
                    <a:custGeom>
                      <a:avLst/>
                      <a:gdLst>
                        <a:gd name="connsiteX0" fmla="*/ 91088 w 182126"/>
                        <a:gd name="connsiteY0" fmla="*/ 79795 h 79795"/>
                        <a:gd name="connsiteX1" fmla="*/ 0 w 182126"/>
                        <a:gd name="connsiteY1" fmla="*/ 43590 h 79795"/>
                        <a:gd name="connsiteX2" fmla="*/ 0 w 182126"/>
                        <a:gd name="connsiteY2" fmla="*/ 6592 h 79795"/>
                        <a:gd name="connsiteX3" fmla="*/ 6592 w 182126"/>
                        <a:gd name="connsiteY3" fmla="*/ 0 h 79795"/>
                        <a:gd name="connsiteX4" fmla="*/ 13184 w 182126"/>
                        <a:gd name="connsiteY4" fmla="*/ 6592 h 79795"/>
                        <a:gd name="connsiteX5" fmla="*/ 13184 w 182126"/>
                        <a:gd name="connsiteY5" fmla="*/ 43590 h 79795"/>
                        <a:gd name="connsiteX6" fmla="*/ 91063 w 182126"/>
                        <a:gd name="connsiteY6" fmla="*/ 66585 h 79795"/>
                        <a:gd name="connsiteX7" fmla="*/ 168942 w 182126"/>
                        <a:gd name="connsiteY7" fmla="*/ 43590 h 79795"/>
                        <a:gd name="connsiteX8" fmla="*/ 168942 w 182126"/>
                        <a:gd name="connsiteY8" fmla="*/ 6592 h 79795"/>
                        <a:gd name="connsiteX9" fmla="*/ 175534 w 182126"/>
                        <a:gd name="connsiteY9" fmla="*/ 0 h 79795"/>
                        <a:gd name="connsiteX10" fmla="*/ 182126 w 182126"/>
                        <a:gd name="connsiteY10" fmla="*/ 6592 h 79795"/>
                        <a:gd name="connsiteX11" fmla="*/ 182126 w 182126"/>
                        <a:gd name="connsiteY11" fmla="*/ 43590 h 79795"/>
                        <a:gd name="connsiteX12" fmla="*/ 91088 w 182126"/>
                        <a:gd name="connsiteY12" fmla="*/ 79795 h 79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2126" h="79795">
                          <a:moveTo>
                            <a:pt x="91088" y="79795"/>
                          </a:moveTo>
                          <a:cubicBezTo>
                            <a:pt x="45812" y="79795"/>
                            <a:pt x="0" y="67352"/>
                            <a:pt x="0" y="43590"/>
                          </a:cubicBezTo>
                          <a:lnTo>
                            <a:pt x="0" y="6592"/>
                          </a:lnTo>
                          <a:cubicBezTo>
                            <a:pt x="0" y="2938"/>
                            <a:pt x="2964" y="0"/>
                            <a:pt x="6592" y="0"/>
                          </a:cubicBezTo>
                          <a:cubicBezTo>
                            <a:pt x="10246" y="0"/>
                            <a:pt x="13184" y="2964"/>
                            <a:pt x="13184" y="6592"/>
                          </a:cubicBezTo>
                          <a:lnTo>
                            <a:pt x="13184" y="43590"/>
                          </a:lnTo>
                          <a:cubicBezTo>
                            <a:pt x="13184" y="52967"/>
                            <a:pt x="43538" y="66585"/>
                            <a:pt x="91063" y="66585"/>
                          </a:cubicBezTo>
                          <a:cubicBezTo>
                            <a:pt x="138613" y="66585"/>
                            <a:pt x="168942" y="52967"/>
                            <a:pt x="168942" y="43590"/>
                          </a:cubicBezTo>
                          <a:lnTo>
                            <a:pt x="168942" y="6592"/>
                          </a:lnTo>
                          <a:cubicBezTo>
                            <a:pt x="168942" y="2938"/>
                            <a:pt x="171906" y="0"/>
                            <a:pt x="175534" y="0"/>
                          </a:cubicBezTo>
                          <a:cubicBezTo>
                            <a:pt x="179188" y="0"/>
                            <a:pt x="182126" y="2964"/>
                            <a:pt x="182126" y="6592"/>
                          </a:cubicBezTo>
                          <a:lnTo>
                            <a:pt x="182126" y="43590"/>
                          </a:lnTo>
                          <a:cubicBezTo>
                            <a:pt x="182152" y="67352"/>
                            <a:pt x="136339" y="79795"/>
                            <a:pt x="91088" y="79795"/>
                          </a:cubicBezTo>
                          <a:close/>
                        </a:path>
                      </a:pathLst>
                    </a:custGeom>
                    <a:solidFill>
                      <a:schemeClr val="accent1"/>
                    </a:solidFill>
                    <a:ln w="2555" cap="flat">
                      <a:noFill/>
                      <a:prstDash val="solid"/>
                      <a:miter/>
                    </a:ln>
                  </p:spPr>
                  <p:txBody>
                    <a:bodyPr rtlCol="0" anchor="ctr"/>
                    <a:lstStyle/>
                    <a:p>
                      <a:endParaRPr lang="en-GB" dirty="0"/>
                    </a:p>
                  </p:txBody>
                </p:sp>
              </p:grpSp>
              <p:grpSp>
                <p:nvGrpSpPr>
                  <p:cNvPr id="89" name="Grafik 277">
                    <a:extLst>
                      <a:ext uri="{FF2B5EF4-FFF2-40B4-BE49-F238E27FC236}">
                        <a16:creationId xmlns:a16="http://schemas.microsoft.com/office/drawing/2014/main" id="{3A894BDF-3319-4A70-8A6F-7DD0AC520248}"/>
                      </a:ext>
                    </a:extLst>
                  </p:cNvPr>
                  <p:cNvGrpSpPr/>
                  <p:nvPr/>
                </p:nvGrpSpPr>
                <p:grpSpPr>
                  <a:xfrm>
                    <a:off x="3728020" y="2669564"/>
                    <a:ext cx="182126" cy="79820"/>
                    <a:chOff x="3728020" y="2669564"/>
                    <a:chExt cx="182126" cy="79820"/>
                  </a:xfrm>
                  <a:solidFill>
                    <a:schemeClr val="accent1"/>
                  </a:solidFill>
                </p:grpSpPr>
                <p:sp>
                  <p:nvSpPr>
                    <p:cNvPr id="90" name="Freihandform: Form 375">
                      <a:extLst>
                        <a:ext uri="{FF2B5EF4-FFF2-40B4-BE49-F238E27FC236}">
                          <a16:creationId xmlns:a16="http://schemas.microsoft.com/office/drawing/2014/main" id="{713464CD-3188-4276-B53A-3EA40E6817A9}"/>
                        </a:ext>
                      </a:extLst>
                    </p:cNvPr>
                    <p:cNvSpPr/>
                    <p:nvPr/>
                  </p:nvSpPr>
                  <p:spPr>
                    <a:xfrm>
                      <a:off x="3728020" y="2669564"/>
                      <a:ext cx="182126" cy="42797"/>
                    </a:xfrm>
                    <a:custGeom>
                      <a:avLst/>
                      <a:gdLst>
                        <a:gd name="connsiteX0" fmla="*/ 91088 w 182126"/>
                        <a:gd name="connsiteY0" fmla="*/ 42798 h 42797"/>
                        <a:gd name="connsiteX1" fmla="*/ 0 w 182126"/>
                        <a:gd name="connsiteY1" fmla="*/ 6592 h 42797"/>
                        <a:gd name="connsiteX2" fmla="*/ 6592 w 182126"/>
                        <a:gd name="connsiteY2" fmla="*/ 0 h 42797"/>
                        <a:gd name="connsiteX3" fmla="*/ 13184 w 182126"/>
                        <a:gd name="connsiteY3" fmla="*/ 6592 h 42797"/>
                        <a:gd name="connsiteX4" fmla="*/ 91063 w 182126"/>
                        <a:gd name="connsiteY4" fmla="*/ 29588 h 42797"/>
                        <a:gd name="connsiteX5" fmla="*/ 168942 w 182126"/>
                        <a:gd name="connsiteY5" fmla="*/ 6592 h 42797"/>
                        <a:gd name="connsiteX6" fmla="*/ 175534 w 182126"/>
                        <a:gd name="connsiteY6" fmla="*/ 0 h 42797"/>
                        <a:gd name="connsiteX7" fmla="*/ 182126 w 182126"/>
                        <a:gd name="connsiteY7" fmla="*/ 6592 h 42797"/>
                        <a:gd name="connsiteX8" fmla="*/ 91088 w 182126"/>
                        <a:gd name="connsiteY8" fmla="*/ 42798 h 4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126" h="42797">
                          <a:moveTo>
                            <a:pt x="91088" y="42798"/>
                          </a:moveTo>
                          <a:cubicBezTo>
                            <a:pt x="45812" y="42798"/>
                            <a:pt x="0" y="30354"/>
                            <a:pt x="0" y="6592"/>
                          </a:cubicBezTo>
                          <a:cubicBezTo>
                            <a:pt x="0" y="2938"/>
                            <a:pt x="2964" y="0"/>
                            <a:pt x="6592" y="0"/>
                          </a:cubicBezTo>
                          <a:cubicBezTo>
                            <a:pt x="10246" y="0"/>
                            <a:pt x="13184" y="2964"/>
                            <a:pt x="13184" y="6592"/>
                          </a:cubicBezTo>
                          <a:cubicBezTo>
                            <a:pt x="13184" y="15969"/>
                            <a:pt x="43538" y="29588"/>
                            <a:pt x="91063" y="29588"/>
                          </a:cubicBezTo>
                          <a:cubicBezTo>
                            <a:pt x="138613" y="29588"/>
                            <a:pt x="168942" y="15969"/>
                            <a:pt x="168942" y="6592"/>
                          </a:cubicBezTo>
                          <a:cubicBezTo>
                            <a:pt x="168942" y="2938"/>
                            <a:pt x="171906" y="0"/>
                            <a:pt x="175534" y="0"/>
                          </a:cubicBezTo>
                          <a:cubicBezTo>
                            <a:pt x="179188" y="0"/>
                            <a:pt x="182126" y="2964"/>
                            <a:pt x="182126" y="6592"/>
                          </a:cubicBezTo>
                          <a:cubicBezTo>
                            <a:pt x="182152" y="30354"/>
                            <a:pt x="136339" y="42798"/>
                            <a:pt x="91088" y="42798"/>
                          </a:cubicBezTo>
                          <a:close/>
                        </a:path>
                      </a:pathLst>
                    </a:custGeom>
                    <a:solidFill>
                      <a:schemeClr val="accent1"/>
                    </a:solidFill>
                    <a:ln w="2555" cap="flat">
                      <a:noFill/>
                      <a:prstDash val="solid"/>
                      <a:miter/>
                    </a:ln>
                  </p:spPr>
                  <p:txBody>
                    <a:bodyPr rtlCol="0" anchor="ctr"/>
                    <a:lstStyle/>
                    <a:p>
                      <a:endParaRPr lang="en-GB" dirty="0"/>
                    </a:p>
                  </p:txBody>
                </p:sp>
                <p:sp>
                  <p:nvSpPr>
                    <p:cNvPr id="91" name="Freihandform: Form 376">
                      <a:extLst>
                        <a:ext uri="{FF2B5EF4-FFF2-40B4-BE49-F238E27FC236}">
                          <a16:creationId xmlns:a16="http://schemas.microsoft.com/office/drawing/2014/main" id="{048557C8-878E-464F-85BE-C96B838D5DAD}"/>
                        </a:ext>
                      </a:extLst>
                    </p:cNvPr>
                    <p:cNvSpPr/>
                    <p:nvPr/>
                  </p:nvSpPr>
                  <p:spPr>
                    <a:xfrm>
                      <a:off x="3728020" y="2669564"/>
                      <a:ext cx="182126" cy="79820"/>
                    </a:xfrm>
                    <a:custGeom>
                      <a:avLst/>
                      <a:gdLst>
                        <a:gd name="connsiteX0" fmla="*/ 91088 w 182126"/>
                        <a:gd name="connsiteY0" fmla="*/ 79821 h 79820"/>
                        <a:gd name="connsiteX1" fmla="*/ 0 w 182126"/>
                        <a:gd name="connsiteY1" fmla="*/ 43615 h 79820"/>
                        <a:gd name="connsiteX2" fmla="*/ 0 w 182126"/>
                        <a:gd name="connsiteY2" fmla="*/ 6592 h 79820"/>
                        <a:gd name="connsiteX3" fmla="*/ 6592 w 182126"/>
                        <a:gd name="connsiteY3" fmla="*/ 0 h 79820"/>
                        <a:gd name="connsiteX4" fmla="*/ 13184 w 182126"/>
                        <a:gd name="connsiteY4" fmla="*/ 6592 h 79820"/>
                        <a:gd name="connsiteX5" fmla="*/ 13184 w 182126"/>
                        <a:gd name="connsiteY5" fmla="*/ 43615 h 79820"/>
                        <a:gd name="connsiteX6" fmla="*/ 91063 w 182126"/>
                        <a:gd name="connsiteY6" fmla="*/ 66611 h 79820"/>
                        <a:gd name="connsiteX7" fmla="*/ 168942 w 182126"/>
                        <a:gd name="connsiteY7" fmla="*/ 43615 h 79820"/>
                        <a:gd name="connsiteX8" fmla="*/ 168942 w 182126"/>
                        <a:gd name="connsiteY8" fmla="*/ 6592 h 79820"/>
                        <a:gd name="connsiteX9" fmla="*/ 175534 w 182126"/>
                        <a:gd name="connsiteY9" fmla="*/ 0 h 79820"/>
                        <a:gd name="connsiteX10" fmla="*/ 182126 w 182126"/>
                        <a:gd name="connsiteY10" fmla="*/ 6592 h 79820"/>
                        <a:gd name="connsiteX11" fmla="*/ 182126 w 182126"/>
                        <a:gd name="connsiteY11" fmla="*/ 43615 h 79820"/>
                        <a:gd name="connsiteX12" fmla="*/ 91088 w 182126"/>
                        <a:gd name="connsiteY12" fmla="*/ 79821 h 7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2126" h="79820">
                          <a:moveTo>
                            <a:pt x="91088" y="79821"/>
                          </a:moveTo>
                          <a:cubicBezTo>
                            <a:pt x="45812" y="79821"/>
                            <a:pt x="0" y="67378"/>
                            <a:pt x="0" y="43615"/>
                          </a:cubicBezTo>
                          <a:lnTo>
                            <a:pt x="0" y="6592"/>
                          </a:lnTo>
                          <a:cubicBezTo>
                            <a:pt x="0" y="2938"/>
                            <a:pt x="2964" y="0"/>
                            <a:pt x="6592" y="0"/>
                          </a:cubicBezTo>
                          <a:cubicBezTo>
                            <a:pt x="10246" y="0"/>
                            <a:pt x="13184" y="2964"/>
                            <a:pt x="13184" y="6592"/>
                          </a:cubicBezTo>
                          <a:lnTo>
                            <a:pt x="13184" y="43615"/>
                          </a:lnTo>
                          <a:cubicBezTo>
                            <a:pt x="13184" y="52992"/>
                            <a:pt x="43538" y="66611"/>
                            <a:pt x="91063" y="66611"/>
                          </a:cubicBezTo>
                          <a:cubicBezTo>
                            <a:pt x="138613" y="66611"/>
                            <a:pt x="168942" y="52992"/>
                            <a:pt x="168942" y="43615"/>
                          </a:cubicBezTo>
                          <a:lnTo>
                            <a:pt x="168942" y="6592"/>
                          </a:lnTo>
                          <a:cubicBezTo>
                            <a:pt x="168942" y="2938"/>
                            <a:pt x="171906" y="0"/>
                            <a:pt x="175534" y="0"/>
                          </a:cubicBezTo>
                          <a:cubicBezTo>
                            <a:pt x="179188" y="0"/>
                            <a:pt x="182126" y="2964"/>
                            <a:pt x="182126" y="6592"/>
                          </a:cubicBezTo>
                          <a:lnTo>
                            <a:pt x="182126" y="43615"/>
                          </a:lnTo>
                          <a:cubicBezTo>
                            <a:pt x="182152" y="67378"/>
                            <a:pt x="136339" y="79821"/>
                            <a:pt x="91088" y="79821"/>
                          </a:cubicBezTo>
                          <a:close/>
                        </a:path>
                      </a:pathLst>
                    </a:custGeom>
                    <a:solidFill>
                      <a:schemeClr val="accent1"/>
                    </a:solidFill>
                    <a:ln w="2555" cap="flat">
                      <a:noFill/>
                      <a:prstDash val="solid"/>
                      <a:miter/>
                    </a:ln>
                  </p:spPr>
                  <p:txBody>
                    <a:bodyPr rtlCol="0" anchor="ctr"/>
                    <a:lstStyle/>
                    <a:p>
                      <a:endParaRPr lang="en-GB" dirty="0"/>
                    </a:p>
                  </p:txBody>
                </p:sp>
              </p:grpSp>
            </p:grpSp>
            <p:grpSp>
              <p:nvGrpSpPr>
                <p:cNvPr id="81" name="Grafik 277">
                  <a:extLst>
                    <a:ext uri="{FF2B5EF4-FFF2-40B4-BE49-F238E27FC236}">
                      <a16:creationId xmlns:a16="http://schemas.microsoft.com/office/drawing/2014/main" id="{75F3BD41-05F1-46E3-A21E-DFE0C318046F}"/>
                    </a:ext>
                  </a:extLst>
                </p:cNvPr>
                <p:cNvGrpSpPr/>
                <p:nvPr/>
              </p:nvGrpSpPr>
              <p:grpSpPr>
                <a:xfrm>
                  <a:off x="3728020" y="2567232"/>
                  <a:ext cx="182177" cy="145512"/>
                  <a:chOff x="3728020" y="2567232"/>
                  <a:chExt cx="182177" cy="145512"/>
                </a:xfrm>
                <a:solidFill>
                  <a:schemeClr val="accent1"/>
                </a:solidFill>
              </p:grpSpPr>
              <p:grpSp>
                <p:nvGrpSpPr>
                  <p:cNvPr id="82" name="Grafik 277">
                    <a:extLst>
                      <a:ext uri="{FF2B5EF4-FFF2-40B4-BE49-F238E27FC236}">
                        <a16:creationId xmlns:a16="http://schemas.microsoft.com/office/drawing/2014/main" id="{D3317140-0966-4A56-82FB-76F9B4E6C627}"/>
                      </a:ext>
                    </a:extLst>
                  </p:cNvPr>
                  <p:cNvGrpSpPr/>
                  <p:nvPr/>
                </p:nvGrpSpPr>
                <p:grpSpPr>
                  <a:xfrm>
                    <a:off x="3728020" y="2632924"/>
                    <a:ext cx="182126" cy="79820"/>
                    <a:chOff x="3728020" y="2632924"/>
                    <a:chExt cx="182126" cy="79820"/>
                  </a:xfrm>
                  <a:solidFill>
                    <a:schemeClr val="accent1"/>
                  </a:solidFill>
                </p:grpSpPr>
                <p:sp>
                  <p:nvSpPr>
                    <p:cNvPr id="86" name="Freihandform: Form 379">
                      <a:extLst>
                        <a:ext uri="{FF2B5EF4-FFF2-40B4-BE49-F238E27FC236}">
                          <a16:creationId xmlns:a16="http://schemas.microsoft.com/office/drawing/2014/main" id="{243E0727-6E9C-456C-A188-C45A4D01A835}"/>
                        </a:ext>
                      </a:extLst>
                    </p:cNvPr>
                    <p:cNvSpPr/>
                    <p:nvPr/>
                  </p:nvSpPr>
                  <p:spPr>
                    <a:xfrm>
                      <a:off x="3728020" y="2632949"/>
                      <a:ext cx="182126" cy="42797"/>
                    </a:xfrm>
                    <a:custGeom>
                      <a:avLst/>
                      <a:gdLst>
                        <a:gd name="connsiteX0" fmla="*/ 91088 w 182126"/>
                        <a:gd name="connsiteY0" fmla="*/ 42798 h 42797"/>
                        <a:gd name="connsiteX1" fmla="*/ 0 w 182126"/>
                        <a:gd name="connsiteY1" fmla="*/ 6592 h 42797"/>
                        <a:gd name="connsiteX2" fmla="*/ 6592 w 182126"/>
                        <a:gd name="connsiteY2" fmla="*/ 0 h 42797"/>
                        <a:gd name="connsiteX3" fmla="*/ 13184 w 182126"/>
                        <a:gd name="connsiteY3" fmla="*/ 6592 h 42797"/>
                        <a:gd name="connsiteX4" fmla="*/ 91063 w 182126"/>
                        <a:gd name="connsiteY4" fmla="*/ 29588 h 42797"/>
                        <a:gd name="connsiteX5" fmla="*/ 168942 w 182126"/>
                        <a:gd name="connsiteY5" fmla="*/ 6592 h 42797"/>
                        <a:gd name="connsiteX6" fmla="*/ 175534 w 182126"/>
                        <a:gd name="connsiteY6" fmla="*/ 0 h 42797"/>
                        <a:gd name="connsiteX7" fmla="*/ 182126 w 182126"/>
                        <a:gd name="connsiteY7" fmla="*/ 6592 h 42797"/>
                        <a:gd name="connsiteX8" fmla="*/ 91088 w 182126"/>
                        <a:gd name="connsiteY8" fmla="*/ 42798 h 4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126" h="42797">
                          <a:moveTo>
                            <a:pt x="91088" y="42798"/>
                          </a:moveTo>
                          <a:cubicBezTo>
                            <a:pt x="45812" y="42798"/>
                            <a:pt x="0" y="30354"/>
                            <a:pt x="0" y="6592"/>
                          </a:cubicBezTo>
                          <a:cubicBezTo>
                            <a:pt x="0" y="2938"/>
                            <a:pt x="2964" y="0"/>
                            <a:pt x="6592" y="0"/>
                          </a:cubicBezTo>
                          <a:cubicBezTo>
                            <a:pt x="10246" y="0"/>
                            <a:pt x="13184" y="2964"/>
                            <a:pt x="13184" y="6592"/>
                          </a:cubicBezTo>
                          <a:cubicBezTo>
                            <a:pt x="13184" y="15969"/>
                            <a:pt x="43538" y="29588"/>
                            <a:pt x="91063" y="29588"/>
                          </a:cubicBezTo>
                          <a:cubicBezTo>
                            <a:pt x="138613" y="29588"/>
                            <a:pt x="168942" y="15969"/>
                            <a:pt x="168942" y="6592"/>
                          </a:cubicBezTo>
                          <a:cubicBezTo>
                            <a:pt x="168942" y="2938"/>
                            <a:pt x="171906" y="0"/>
                            <a:pt x="175534" y="0"/>
                          </a:cubicBezTo>
                          <a:cubicBezTo>
                            <a:pt x="179188" y="0"/>
                            <a:pt x="182126" y="2964"/>
                            <a:pt x="182126" y="6592"/>
                          </a:cubicBezTo>
                          <a:cubicBezTo>
                            <a:pt x="182152" y="30354"/>
                            <a:pt x="136339" y="42798"/>
                            <a:pt x="91088" y="42798"/>
                          </a:cubicBezTo>
                          <a:close/>
                        </a:path>
                      </a:pathLst>
                    </a:custGeom>
                    <a:solidFill>
                      <a:schemeClr val="accent1"/>
                    </a:solidFill>
                    <a:ln w="2555" cap="flat">
                      <a:noFill/>
                      <a:prstDash val="solid"/>
                      <a:miter/>
                    </a:ln>
                  </p:spPr>
                  <p:txBody>
                    <a:bodyPr rtlCol="0" anchor="ctr"/>
                    <a:lstStyle/>
                    <a:p>
                      <a:endParaRPr lang="en-GB" dirty="0"/>
                    </a:p>
                  </p:txBody>
                </p:sp>
                <p:sp>
                  <p:nvSpPr>
                    <p:cNvPr id="87" name="Freihandform: Form 380">
                      <a:extLst>
                        <a:ext uri="{FF2B5EF4-FFF2-40B4-BE49-F238E27FC236}">
                          <a16:creationId xmlns:a16="http://schemas.microsoft.com/office/drawing/2014/main" id="{2C9551C6-7143-41A6-8882-7E3AF97115A6}"/>
                        </a:ext>
                      </a:extLst>
                    </p:cNvPr>
                    <p:cNvSpPr/>
                    <p:nvPr/>
                  </p:nvSpPr>
                  <p:spPr>
                    <a:xfrm>
                      <a:off x="3728020" y="2632924"/>
                      <a:ext cx="182126" cy="79820"/>
                    </a:xfrm>
                    <a:custGeom>
                      <a:avLst/>
                      <a:gdLst>
                        <a:gd name="connsiteX0" fmla="*/ 91088 w 182126"/>
                        <a:gd name="connsiteY0" fmla="*/ 79821 h 79820"/>
                        <a:gd name="connsiteX1" fmla="*/ 0 w 182126"/>
                        <a:gd name="connsiteY1" fmla="*/ 43615 h 79820"/>
                        <a:gd name="connsiteX2" fmla="*/ 0 w 182126"/>
                        <a:gd name="connsiteY2" fmla="*/ 6592 h 79820"/>
                        <a:gd name="connsiteX3" fmla="*/ 6592 w 182126"/>
                        <a:gd name="connsiteY3" fmla="*/ 0 h 79820"/>
                        <a:gd name="connsiteX4" fmla="*/ 13184 w 182126"/>
                        <a:gd name="connsiteY4" fmla="*/ 6592 h 79820"/>
                        <a:gd name="connsiteX5" fmla="*/ 13184 w 182126"/>
                        <a:gd name="connsiteY5" fmla="*/ 43615 h 79820"/>
                        <a:gd name="connsiteX6" fmla="*/ 91063 w 182126"/>
                        <a:gd name="connsiteY6" fmla="*/ 66611 h 79820"/>
                        <a:gd name="connsiteX7" fmla="*/ 168942 w 182126"/>
                        <a:gd name="connsiteY7" fmla="*/ 43615 h 79820"/>
                        <a:gd name="connsiteX8" fmla="*/ 168942 w 182126"/>
                        <a:gd name="connsiteY8" fmla="*/ 6592 h 79820"/>
                        <a:gd name="connsiteX9" fmla="*/ 175534 w 182126"/>
                        <a:gd name="connsiteY9" fmla="*/ 0 h 79820"/>
                        <a:gd name="connsiteX10" fmla="*/ 182126 w 182126"/>
                        <a:gd name="connsiteY10" fmla="*/ 6592 h 79820"/>
                        <a:gd name="connsiteX11" fmla="*/ 182126 w 182126"/>
                        <a:gd name="connsiteY11" fmla="*/ 43615 h 79820"/>
                        <a:gd name="connsiteX12" fmla="*/ 91088 w 182126"/>
                        <a:gd name="connsiteY12" fmla="*/ 79821 h 7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2126" h="79820">
                          <a:moveTo>
                            <a:pt x="91088" y="79821"/>
                          </a:moveTo>
                          <a:cubicBezTo>
                            <a:pt x="45812" y="79821"/>
                            <a:pt x="0" y="67378"/>
                            <a:pt x="0" y="43615"/>
                          </a:cubicBezTo>
                          <a:lnTo>
                            <a:pt x="0" y="6592"/>
                          </a:lnTo>
                          <a:cubicBezTo>
                            <a:pt x="0" y="2938"/>
                            <a:pt x="2964" y="0"/>
                            <a:pt x="6592" y="0"/>
                          </a:cubicBezTo>
                          <a:cubicBezTo>
                            <a:pt x="10246" y="0"/>
                            <a:pt x="13184" y="2964"/>
                            <a:pt x="13184" y="6592"/>
                          </a:cubicBezTo>
                          <a:lnTo>
                            <a:pt x="13184" y="43615"/>
                          </a:lnTo>
                          <a:cubicBezTo>
                            <a:pt x="13184" y="52992"/>
                            <a:pt x="43538" y="66611"/>
                            <a:pt x="91063" y="66611"/>
                          </a:cubicBezTo>
                          <a:cubicBezTo>
                            <a:pt x="138613" y="66611"/>
                            <a:pt x="168942" y="52992"/>
                            <a:pt x="168942" y="43615"/>
                          </a:cubicBezTo>
                          <a:lnTo>
                            <a:pt x="168942" y="6592"/>
                          </a:lnTo>
                          <a:cubicBezTo>
                            <a:pt x="168942" y="2938"/>
                            <a:pt x="171906" y="0"/>
                            <a:pt x="175534" y="0"/>
                          </a:cubicBezTo>
                          <a:cubicBezTo>
                            <a:pt x="179188" y="0"/>
                            <a:pt x="182126" y="2964"/>
                            <a:pt x="182126" y="6592"/>
                          </a:cubicBezTo>
                          <a:lnTo>
                            <a:pt x="182126" y="43615"/>
                          </a:lnTo>
                          <a:cubicBezTo>
                            <a:pt x="182152" y="67378"/>
                            <a:pt x="136339" y="79821"/>
                            <a:pt x="91088" y="79821"/>
                          </a:cubicBezTo>
                          <a:close/>
                        </a:path>
                      </a:pathLst>
                    </a:custGeom>
                    <a:solidFill>
                      <a:schemeClr val="accent1"/>
                    </a:solidFill>
                    <a:ln w="2555" cap="flat">
                      <a:noFill/>
                      <a:prstDash val="solid"/>
                      <a:miter/>
                    </a:ln>
                  </p:spPr>
                  <p:txBody>
                    <a:bodyPr rtlCol="0" anchor="ctr"/>
                    <a:lstStyle/>
                    <a:p>
                      <a:endParaRPr lang="en-GB" dirty="0"/>
                    </a:p>
                  </p:txBody>
                </p:sp>
              </p:grpSp>
              <p:grpSp>
                <p:nvGrpSpPr>
                  <p:cNvPr id="83" name="Grafik 277">
                    <a:extLst>
                      <a:ext uri="{FF2B5EF4-FFF2-40B4-BE49-F238E27FC236}">
                        <a16:creationId xmlns:a16="http://schemas.microsoft.com/office/drawing/2014/main" id="{D5082F6A-3601-4614-92E1-EB9A233810B2}"/>
                      </a:ext>
                    </a:extLst>
                  </p:cNvPr>
                  <p:cNvGrpSpPr/>
                  <p:nvPr/>
                </p:nvGrpSpPr>
                <p:grpSpPr>
                  <a:xfrm>
                    <a:off x="3728020" y="2567232"/>
                    <a:ext cx="182177" cy="109434"/>
                    <a:chOff x="3728020" y="2567232"/>
                    <a:chExt cx="182177" cy="109434"/>
                  </a:xfrm>
                  <a:solidFill>
                    <a:schemeClr val="accent1"/>
                  </a:solidFill>
                </p:grpSpPr>
                <p:sp>
                  <p:nvSpPr>
                    <p:cNvPr id="84" name="Freihandform: Form 382">
                      <a:extLst>
                        <a:ext uri="{FF2B5EF4-FFF2-40B4-BE49-F238E27FC236}">
                          <a16:creationId xmlns:a16="http://schemas.microsoft.com/office/drawing/2014/main" id="{83F57CCE-CA5F-4AF5-AA55-699F14537F2D}"/>
                        </a:ext>
                      </a:extLst>
                    </p:cNvPr>
                    <p:cNvSpPr/>
                    <p:nvPr/>
                  </p:nvSpPr>
                  <p:spPr>
                    <a:xfrm>
                      <a:off x="3728020" y="2567232"/>
                      <a:ext cx="182177" cy="72411"/>
                    </a:xfrm>
                    <a:custGeom>
                      <a:avLst/>
                      <a:gdLst>
                        <a:gd name="connsiteX0" fmla="*/ 91088 w 182177"/>
                        <a:gd name="connsiteY0" fmla="*/ 72411 h 72411"/>
                        <a:gd name="connsiteX1" fmla="*/ 0 w 182177"/>
                        <a:gd name="connsiteY1" fmla="*/ 36206 h 72411"/>
                        <a:gd name="connsiteX2" fmla="*/ 91088 w 182177"/>
                        <a:gd name="connsiteY2" fmla="*/ 0 h 72411"/>
                        <a:gd name="connsiteX3" fmla="*/ 182177 w 182177"/>
                        <a:gd name="connsiteY3" fmla="*/ 36206 h 72411"/>
                        <a:gd name="connsiteX4" fmla="*/ 91088 w 182177"/>
                        <a:gd name="connsiteY4" fmla="*/ 72411 h 72411"/>
                        <a:gd name="connsiteX5" fmla="*/ 91088 w 182177"/>
                        <a:gd name="connsiteY5" fmla="*/ 13210 h 72411"/>
                        <a:gd name="connsiteX6" fmla="*/ 13210 w 182177"/>
                        <a:gd name="connsiteY6" fmla="*/ 36206 h 72411"/>
                        <a:gd name="connsiteX7" fmla="*/ 91088 w 182177"/>
                        <a:gd name="connsiteY7" fmla="*/ 59201 h 72411"/>
                        <a:gd name="connsiteX8" fmla="*/ 168968 w 182177"/>
                        <a:gd name="connsiteY8" fmla="*/ 36206 h 72411"/>
                        <a:gd name="connsiteX9" fmla="*/ 91088 w 182177"/>
                        <a:gd name="connsiteY9" fmla="*/ 13210 h 72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77" h="72411">
                          <a:moveTo>
                            <a:pt x="91088" y="72411"/>
                          </a:moveTo>
                          <a:cubicBezTo>
                            <a:pt x="45812" y="72411"/>
                            <a:pt x="0" y="59968"/>
                            <a:pt x="0" y="36206"/>
                          </a:cubicBezTo>
                          <a:cubicBezTo>
                            <a:pt x="0" y="12443"/>
                            <a:pt x="45812" y="0"/>
                            <a:pt x="91088" y="0"/>
                          </a:cubicBezTo>
                          <a:cubicBezTo>
                            <a:pt x="136365" y="0"/>
                            <a:pt x="182177" y="12443"/>
                            <a:pt x="182177" y="36206"/>
                          </a:cubicBezTo>
                          <a:cubicBezTo>
                            <a:pt x="182152" y="59968"/>
                            <a:pt x="136339" y="72411"/>
                            <a:pt x="91088" y="72411"/>
                          </a:cubicBezTo>
                          <a:close/>
                          <a:moveTo>
                            <a:pt x="91088" y="13210"/>
                          </a:moveTo>
                          <a:cubicBezTo>
                            <a:pt x="43538" y="13210"/>
                            <a:pt x="13210" y="26828"/>
                            <a:pt x="13210" y="36206"/>
                          </a:cubicBezTo>
                          <a:cubicBezTo>
                            <a:pt x="13210" y="45583"/>
                            <a:pt x="43564" y="59201"/>
                            <a:pt x="91088" y="59201"/>
                          </a:cubicBezTo>
                          <a:cubicBezTo>
                            <a:pt x="138639" y="59201"/>
                            <a:pt x="168968" y="45583"/>
                            <a:pt x="168968" y="36206"/>
                          </a:cubicBezTo>
                          <a:cubicBezTo>
                            <a:pt x="168968" y="26828"/>
                            <a:pt x="138613" y="13210"/>
                            <a:pt x="91088" y="13210"/>
                          </a:cubicBezTo>
                          <a:close/>
                        </a:path>
                      </a:pathLst>
                    </a:custGeom>
                    <a:solidFill>
                      <a:schemeClr val="accent1"/>
                    </a:solidFill>
                    <a:ln w="2555" cap="flat">
                      <a:noFill/>
                      <a:prstDash val="solid"/>
                      <a:miter/>
                    </a:ln>
                  </p:spPr>
                  <p:txBody>
                    <a:bodyPr rtlCol="0" anchor="ctr"/>
                    <a:lstStyle/>
                    <a:p>
                      <a:endParaRPr lang="en-GB" dirty="0"/>
                    </a:p>
                  </p:txBody>
                </p:sp>
                <p:sp>
                  <p:nvSpPr>
                    <p:cNvPr id="85" name="Freihandform: Form 383">
                      <a:extLst>
                        <a:ext uri="{FF2B5EF4-FFF2-40B4-BE49-F238E27FC236}">
                          <a16:creationId xmlns:a16="http://schemas.microsoft.com/office/drawing/2014/main" id="{704980A5-E936-4F57-8D9E-95171BEF1648}"/>
                        </a:ext>
                      </a:extLst>
                    </p:cNvPr>
                    <p:cNvSpPr/>
                    <p:nvPr/>
                  </p:nvSpPr>
                  <p:spPr>
                    <a:xfrm>
                      <a:off x="3728020" y="2596871"/>
                      <a:ext cx="182126" cy="79795"/>
                    </a:xfrm>
                    <a:custGeom>
                      <a:avLst/>
                      <a:gdLst>
                        <a:gd name="connsiteX0" fmla="*/ 91088 w 182126"/>
                        <a:gd name="connsiteY0" fmla="*/ 79795 h 79795"/>
                        <a:gd name="connsiteX1" fmla="*/ 0 w 182126"/>
                        <a:gd name="connsiteY1" fmla="*/ 43590 h 79795"/>
                        <a:gd name="connsiteX2" fmla="*/ 0 w 182126"/>
                        <a:gd name="connsiteY2" fmla="*/ 6592 h 79795"/>
                        <a:gd name="connsiteX3" fmla="*/ 6592 w 182126"/>
                        <a:gd name="connsiteY3" fmla="*/ 0 h 79795"/>
                        <a:gd name="connsiteX4" fmla="*/ 13184 w 182126"/>
                        <a:gd name="connsiteY4" fmla="*/ 6592 h 79795"/>
                        <a:gd name="connsiteX5" fmla="*/ 13184 w 182126"/>
                        <a:gd name="connsiteY5" fmla="*/ 43590 h 79795"/>
                        <a:gd name="connsiteX6" fmla="*/ 91063 w 182126"/>
                        <a:gd name="connsiteY6" fmla="*/ 66585 h 79795"/>
                        <a:gd name="connsiteX7" fmla="*/ 168942 w 182126"/>
                        <a:gd name="connsiteY7" fmla="*/ 43590 h 79795"/>
                        <a:gd name="connsiteX8" fmla="*/ 168942 w 182126"/>
                        <a:gd name="connsiteY8" fmla="*/ 6592 h 79795"/>
                        <a:gd name="connsiteX9" fmla="*/ 175534 w 182126"/>
                        <a:gd name="connsiteY9" fmla="*/ 0 h 79795"/>
                        <a:gd name="connsiteX10" fmla="*/ 182126 w 182126"/>
                        <a:gd name="connsiteY10" fmla="*/ 6592 h 79795"/>
                        <a:gd name="connsiteX11" fmla="*/ 182126 w 182126"/>
                        <a:gd name="connsiteY11" fmla="*/ 43590 h 79795"/>
                        <a:gd name="connsiteX12" fmla="*/ 91088 w 182126"/>
                        <a:gd name="connsiteY12" fmla="*/ 79795 h 79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2126" h="79795">
                          <a:moveTo>
                            <a:pt x="91088" y="79795"/>
                          </a:moveTo>
                          <a:cubicBezTo>
                            <a:pt x="45812" y="79795"/>
                            <a:pt x="0" y="67352"/>
                            <a:pt x="0" y="43590"/>
                          </a:cubicBezTo>
                          <a:lnTo>
                            <a:pt x="0" y="6592"/>
                          </a:lnTo>
                          <a:cubicBezTo>
                            <a:pt x="0" y="2938"/>
                            <a:pt x="2964" y="0"/>
                            <a:pt x="6592" y="0"/>
                          </a:cubicBezTo>
                          <a:cubicBezTo>
                            <a:pt x="10246" y="0"/>
                            <a:pt x="13184" y="2964"/>
                            <a:pt x="13184" y="6592"/>
                          </a:cubicBezTo>
                          <a:lnTo>
                            <a:pt x="13184" y="43590"/>
                          </a:lnTo>
                          <a:cubicBezTo>
                            <a:pt x="13184" y="52967"/>
                            <a:pt x="43538" y="66585"/>
                            <a:pt x="91063" y="66585"/>
                          </a:cubicBezTo>
                          <a:cubicBezTo>
                            <a:pt x="138613" y="66585"/>
                            <a:pt x="168942" y="52967"/>
                            <a:pt x="168942" y="43590"/>
                          </a:cubicBezTo>
                          <a:lnTo>
                            <a:pt x="168942" y="6592"/>
                          </a:lnTo>
                          <a:cubicBezTo>
                            <a:pt x="168942" y="2938"/>
                            <a:pt x="171906" y="0"/>
                            <a:pt x="175534" y="0"/>
                          </a:cubicBezTo>
                          <a:cubicBezTo>
                            <a:pt x="179188" y="0"/>
                            <a:pt x="182126" y="2964"/>
                            <a:pt x="182126" y="6592"/>
                          </a:cubicBezTo>
                          <a:lnTo>
                            <a:pt x="182126" y="43590"/>
                          </a:lnTo>
                          <a:cubicBezTo>
                            <a:pt x="182152" y="67352"/>
                            <a:pt x="136339" y="79795"/>
                            <a:pt x="91088" y="79795"/>
                          </a:cubicBezTo>
                          <a:close/>
                        </a:path>
                      </a:pathLst>
                    </a:custGeom>
                    <a:solidFill>
                      <a:schemeClr val="accent1"/>
                    </a:solidFill>
                    <a:ln w="2555" cap="flat">
                      <a:noFill/>
                      <a:prstDash val="solid"/>
                      <a:miter/>
                    </a:ln>
                  </p:spPr>
                  <p:txBody>
                    <a:bodyPr rtlCol="0" anchor="ctr"/>
                    <a:lstStyle/>
                    <a:p>
                      <a:endParaRPr lang="en-GB" dirty="0"/>
                    </a:p>
                  </p:txBody>
                </p:sp>
              </p:grpSp>
            </p:grpSp>
          </p:grpSp>
        </p:grpSp>
      </p:grpSp>
      <p:grpSp>
        <p:nvGrpSpPr>
          <p:cNvPr id="21" name="Group 20">
            <a:extLst>
              <a:ext uri="{FF2B5EF4-FFF2-40B4-BE49-F238E27FC236}">
                <a16:creationId xmlns:a16="http://schemas.microsoft.com/office/drawing/2014/main" id="{6EA0D827-0901-5B1C-9674-FCDBFE4C443B}"/>
              </a:ext>
            </a:extLst>
          </p:cNvPr>
          <p:cNvGrpSpPr/>
          <p:nvPr/>
        </p:nvGrpSpPr>
        <p:grpSpPr>
          <a:xfrm>
            <a:off x="2614918" y="1604957"/>
            <a:ext cx="540000" cy="394054"/>
            <a:chOff x="2614918" y="1604957"/>
            <a:chExt cx="540000" cy="394054"/>
          </a:xfrm>
        </p:grpSpPr>
        <p:sp>
          <p:nvSpPr>
            <p:cNvPr id="111" name="Freihandform: Form 492">
              <a:extLst>
                <a:ext uri="{FF2B5EF4-FFF2-40B4-BE49-F238E27FC236}">
                  <a16:creationId xmlns:a16="http://schemas.microsoft.com/office/drawing/2014/main" id="{687B2584-5823-475A-A7E1-E8EED9369176}"/>
                </a:ext>
              </a:extLst>
            </p:cNvPr>
            <p:cNvSpPr/>
            <p:nvPr/>
          </p:nvSpPr>
          <p:spPr>
            <a:xfrm>
              <a:off x="2848798" y="1880606"/>
              <a:ext cx="70593" cy="65190"/>
            </a:xfrm>
            <a:custGeom>
              <a:avLst/>
              <a:gdLst>
                <a:gd name="connsiteX0" fmla="*/ 57267 w 63858"/>
                <a:gd name="connsiteY0" fmla="*/ 58971 h 58971"/>
                <a:gd name="connsiteX1" fmla="*/ 12502 w 63858"/>
                <a:gd name="connsiteY1" fmla="*/ 58971 h 58971"/>
                <a:gd name="connsiteX2" fmla="*/ 5961 w 63858"/>
                <a:gd name="connsiteY2" fmla="*/ 53222 h 58971"/>
                <a:gd name="connsiteX3" fmla="*/ 59 w 63858"/>
                <a:gd name="connsiteY3" fmla="*/ 7461 h 58971"/>
                <a:gd name="connsiteX4" fmla="*/ 1643 w 63858"/>
                <a:gd name="connsiteY4" fmla="*/ 2248 h 58971"/>
                <a:gd name="connsiteX5" fmla="*/ 6600 w 63858"/>
                <a:gd name="connsiteY5" fmla="*/ 0 h 58971"/>
                <a:gd name="connsiteX6" fmla="*/ 51518 w 63858"/>
                <a:gd name="connsiteY6" fmla="*/ 0 h 58971"/>
                <a:gd name="connsiteX7" fmla="*/ 58059 w 63858"/>
                <a:gd name="connsiteY7" fmla="*/ 5775 h 58971"/>
                <a:gd name="connsiteX8" fmla="*/ 63808 w 63858"/>
                <a:gd name="connsiteY8" fmla="*/ 51536 h 58971"/>
                <a:gd name="connsiteX9" fmla="*/ 62198 w 63858"/>
                <a:gd name="connsiteY9" fmla="*/ 56723 h 58971"/>
                <a:gd name="connsiteX10" fmla="*/ 57267 w 63858"/>
                <a:gd name="connsiteY10" fmla="*/ 58971 h 58971"/>
                <a:gd name="connsiteX11" fmla="*/ 18302 w 63858"/>
                <a:gd name="connsiteY11" fmla="*/ 45761 h 58971"/>
                <a:gd name="connsiteX12" fmla="*/ 49781 w 63858"/>
                <a:gd name="connsiteY12" fmla="*/ 45761 h 58971"/>
                <a:gd name="connsiteX13" fmla="*/ 45692 w 63858"/>
                <a:gd name="connsiteY13" fmla="*/ 13210 h 58971"/>
                <a:gd name="connsiteX14" fmla="*/ 14086 w 63858"/>
                <a:gd name="connsiteY14" fmla="*/ 13210 h 58971"/>
                <a:gd name="connsiteX15" fmla="*/ 18302 w 63858"/>
                <a:gd name="connsiteY15" fmla="*/ 45761 h 5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858" h="58971">
                  <a:moveTo>
                    <a:pt x="57267" y="58971"/>
                  </a:moveTo>
                  <a:lnTo>
                    <a:pt x="12502" y="58971"/>
                  </a:lnTo>
                  <a:cubicBezTo>
                    <a:pt x="9180" y="58971"/>
                    <a:pt x="6370" y="56518"/>
                    <a:pt x="5961" y="53222"/>
                  </a:cubicBezTo>
                  <a:lnTo>
                    <a:pt x="59" y="7461"/>
                  </a:lnTo>
                  <a:cubicBezTo>
                    <a:pt x="-197" y="5570"/>
                    <a:pt x="391" y="3679"/>
                    <a:pt x="1643" y="2248"/>
                  </a:cubicBezTo>
                  <a:cubicBezTo>
                    <a:pt x="2895" y="818"/>
                    <a:pt x="4709" y="0"/>
                    <a:pt x="6600" y="0"/>
                  </a:cubicBezTo>
                  <a:lnTo>
                    <a:pt x="51518" y="0"/>
                  </a:lnTo>
                  <a:cubicBezTo>
                    <a:pt x="54840" y="0"/>
                    <a:pt x="57650" y="2478"/>
                    <a:pt x="58059" y="5775"/>
                  </a:cubicBezTo>
                  <a:lnTo>
                    <a:pt x="63808" y="51536"/>
                  </a:lnTo>
                  <a:cubicBezTo>
                    <a:pt x="64038" y="53427"/>
                    <a:pt x="63476" y="55318"/>
                    <a:pt x="62198" y="56723"/>
                  </a:cubicBezTo>
                  <a:cubicBezTo>
                    <a:pt x="60972" y="58154"/>
                    <a:pt x="59158" y="58971"/>
                    <a:pt x="57267" y="58971"/>
                  </a:cubicBezTo>
                  <a:close/>
                  <a:moveTo>
                    <a:pt x="18302" y="45761"/>
                  </a:moveTo>
                  <a:lnTo>
                    <a:pt x="49781" y="45761"/>
                  </a:lnTo>
                  <a:lnTo>
                    <a:pt x="45692" y="13210"/>
                  </a:lnTo>
                  <a:lnTo>
                    <a:pt x="14086" y="13210"/>
                  </a:lnTo>
                  <a:lnTo>
                    <a:pt x="18302" y="45761"/>
                  </a:lnTo>
                  <a:close/>
                </a:path>
              </a:pathLst>
            </a:custGeom>
            <a:solidFill>
              <a:schemeClr val="accent1"/>
            </a:solidFill>
            <a:ln w="2555" cap="flat">
              <a:noFill/>
              <a:prstDash val="solid"/>
              <a:miter/>
            </a:ln>
          </p:spPr>
          <p:txBody>
            <a:bodyPr rtlCol="0" anchor="ctr"/>
            <a:lstStyle/>
            <a:p>
              <a:endParaRPr lang="en-GB" dirty="0"/>
            </a:p>
          </p:txBody>
        </p:sp>
        <p:grpSp>
          <p:nvGrpSpPr>
            <p:cNvPr id="112" name="Group 111">
              <a:extLst>
                <a:ext uri="{FF2B5EF4-FFF2-40B4-BE49-F238E27FC236}">
                  <a16:creationId xmlns:a16="http://schemas.microsoft.com/office/drawing/2014/main" id="{F299AAC8-52AC-4D94-8A3E-5044D10F547B}"/>
                </a:ext>
              </a:extLst>
            </p:cNvPr>
            <p:cNvGrpSpPr/>
            <p:nvPr/>
          </p:nvGrpSpPr>
          <p:grpSpPr>
            <a:xfrm>
              <a:off x="2614918" y="1604957"/>
              <a:ext cx="540000" cy="394054"/>
              <a:chOff x="1695948" y="3349624"/>
              <a:chExt cx="488482" cy="356460"/>
            </a:xfrm>
            <a:solidFill>
              <a:schemeClr val="tx2"/>
            </a:solidFill>
          </p:grpSpPr>
          <p:grpSp>
            <p:nvGrpSpPr>
              <p:cNvPr id="113" name="Grafik 277">
                <a:extLst>
                  <a:ext uri="{FF2B5EF4-FFF2-40B4-BE49-F238E27FC236}">
                    <a16:creationId xmlns:a16="http://schemas.microsoft.com/office/drawing/2014/main" id="{39CB104D-7E8C-4B09-95A2-FD52D3C0EBB9}"/>
                  </a:ext>
                </a:extLst>
              </p:cNvPr>
              <p:cNvGrpSpPr/>
              <p:nvPr/>
            </p:nvGrpSpPr>
            <p:grpSpPr>
              <a:xfrm>
                <a:off x="1734024" y="3349624"/>
                <a:ext cx="450406" cy="356459"/>
                <a:chOff x="1734024" y="3349624"/>
                <a:chExt cx="450406" cy="356459"/>
              </a:xfrm>
              <a:grpFill/>
            </p:grpSpPr>
            <p:sp>
              <p:nvSpPr>
                <p:cNvPr id="123" name="Freihandform: Form 484">
                  <a:extLst>
                    <a:ext uri="{FF2B5EF4-FFF2-40B4-BE49-F238E27FC236}">
                      <a16:creationId xmlns:a16="http://schemas.microsoft.com/office/drawing/2014/main" id="{08C55B60-4213-4346-851A-3AD3D2AF03F5}"/>
                    </a:ext>
                  </a:extLst>
                </p:cNvPr>
                <p:cNvSpPr/>
                <p:nvPr/>
              </p:nvSpPr>
              <p:spPr>
                <a:xfrm>
                  <a:off x="1743656" y="3418280"/>
                  <a:ext cx="440774" cy="287804"/>
                </a:xfrm>
                <a:custGeom>
                  <a:avLst/>
                  <a:gdLst>
                    <a:gd name="connsiteX0" fmla="*/ 45107 w 440774"/>
                    <a:gd name="connsiteY0" fmla="*/ 287805 h 287804"/>
                    <a:gd name="connsiteX1" fmla="*/ 38566 w 440774"/>
                    <a:gd name="connsiteY1" fmla="*/ 282107 h 287804"/>
                    <a:gd name="connsiteX2" fmla="*/ 60 w 440774"/>
                    <a:gd name="connsiteY2" fmla="*/ 7512 h 287804"/>
                    <a:gd name="connsiteX3" fmla="*/ 1619 w 440774"/>
                    <a:gd name="connsiteY3" fmla="*/ 2274 h 287804"/>
                    <a:gd name="connsiteX4" fmla="*/ 6601 w 440774"/>
                    <a:gd name="connsiteY4" fmla="*/ 0 h 287804"/>
                    <a:gd name="connsiteX5" fmla="*/ 405373 w 440774"/>
                    <a:gd name="connsiteY5" fmla="*/ 0 h 287804"/>
                    <a:gd name="connsiteX6" fmla="*/ 411940 w 440774"/>
                    <a:gd name="connsiteY6" fmla="*/ 5902 h 287804"/>
                    <a:gd name="connsiteX7" fmla="*/ 440736 w 440774"/>
                    <a:gd name="connsiteY7" fmla="*/ 279807 h 287804"/>
                    <a:gd name="connsiteX8" fmla="*/ 439075 w 440774"/>
                    <a:gd name="connsiteY8" fmla="*/ 284917 h 287804"/>
                    <a:gd name="connsiteX9" fmla="*/ 434169 w 440774"/>
                    <a:gd name="connsiteY9" fmla="*/ 287115 h 287804"/>
                    <a:gd name="connsiteX10" fmla="*/ 45107 w 440774"/>
                    <a:gd name="connsiteY10" fmla="*/ 287805 h 287804"/>
                    <a:gd name="connsiteX11" fmla="*/ 45107 w 440774"/>
                    <a:gd name="connsiteY11" fmla="*/ 287805 h 287804"/>
                    <a:gd name="connsiteX12" fmla="*/ 14190 w 440774"/>
                    <a:gd name="connsiteY12" fmla="*/ 13210 h 287804"/>
                    <a:gd name="connsiteX13" fmla="*/ 50855 w 440774"/>
                    <a:gd name="connsiteY13" fmla="*/ 274595 h 287804"/>
                    <a:gd name="connsiteX14" fmla="*/ 426836 w 440774"/>
                    <a:gd name="connsiteY14" fmla="*/ 273931 h 287804"/>
                    <a:gd name="connsiteX15" fmla="*/ 399420 w 440774"/>
                    <a:gd name="connsiteY15" fmla="*/ 13210 h 287804"/>
                    <a:gd name="connsiteX16" fmla="*/ 14190 w 440774"/>
                    <a:gd name="connsiteY16" fmla="*/ 13210 h 28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0774" h="287804">
                      <a:moveTo>
                        <a:pt x="45107" y="287805"/>
                      </a:moveTo>
                      <a:cubicBezTo>
                        <a:pt x="41810" y="287805"/>
                        <a:pt x="39025" y="285377"/>
                        <a:pt x="38566" y="282107"/>
                      </a:cubicBezTo>
                      <a:lnTo>
                        <a:pt x="60" y="7512"/>
                      </a:lnTo>
                      <a:cubicBezTo>
                        <a:pt x="-195" y="5621"/>
                        <a:pt x="367" y="3705"/>
                        <a:pt x="1619" y="2274"/>
                      </a:cubicBezTo>
                      <a:cubicBezTo>
                        <a:pt x="2871" y="818"/>
                        <a:pt x="4685" y="0"/>
                        <a:pt x="6601" y="0"/>
                      </a:cubicBezTo>
                      <a:lnTo>
                        <a:pt x="405373" y="0"/>
                      </a:lnTo>
                      <a:cubicBezTo>
                        <a:pt x="408746" y="0"/>
                        <a:pt x="411582" y="2555"/>
                        <a:pt x="411940" y="5902"/>
                      </a:cubicBezTo>
                      <a:lnTo>
                        <a:pt x="440736" y="279807"/>
                      </a:lnTo>
                      <a:cubicBezTo>
                        <a:pt x="440940" y="281673"/>
                        <a:pt x="440327" y="283512"/>
                        <a:pt x="439075" y="284917"/>
                      </a:cubicBezTo>
                      <a:cubicBezTo>
                        <a:pt x="437823" y="286297"/>
                        <a:pt x="436034" y="287115"/>
                        <a:pt x="434169" y="287115"/>
                      </a:cubicBezTo>
                      <a:lnTo>
                        <a:pt x="45107" y="287805"/>
                      </a:lnTo>
                      <a:cubicBezTo>
                        <a:pt x="45107" y="287805"/>
                        <a:pt x="45107" y="287805"/>
                        <a:pt x="45107" y="287805"/>
                      </a:cubicBezTo>
                      <a:close/>
                      <a:moveTo>
                        <a:pt x="14190" y="13210"/>
                      </a:moveTo>
                      <a:lnTo>
                        <a:pt x="50855" y="274595"/>
                      </a:lnTo>
                      <a:lnTo>
                        <a:pt x="426836" y="273931"/>
                      </a:lnTo>
                      <a:lnTo>
                        <a:pt x="399420" y="13210"/>
                      </a:lnTo>
                      <a:lnTo>
                        <a:pt x="14190" y="13210"/>
                      </a:lnTo>
                      <a:close/>
                    </a:path>
                  </a:pathLst>
                </a:custGeom>
                <a:grpFill/>
                <a:ln w="2555" cap="flat">
                  <a:noFill/>
                  <a:prstDash val="solid"/>
                  <a:miter/>
                </a:ln>
              </p:spPr>
              <p:txBody>
                <a:bodyPr rtlCol="0" anchor="ctr"/>
                <a:lstStyle/>
                <a:p>
                  <a:endParaRPr lang="en-GB" dirty="0"/>
                </a:p>
              </p:txBody>
            </p:sp>
            <p:sp>
              <p:nvSpPr>
                <p:cNvPr id="124" name="Freihandform: Form 485">
                  <a:extLst>
                    <a:ext uri="{FF2B5EF4-FFF2-40B4-BE49-F238E27FC236}">
                      <a16:creationId xmlns:a16="http://schemas.microsoft.com/office/drawing/2014/main" id="{0531F81B-AA76-4242-BB63-58AC8FC6B026}"/>
                    </a:ext>
                  </a:extLst>
                </p:cNvPr>
                <p:cNvSpPr/>
                <p:nvPr/>
              </p:nvSpPr>
              <p:spPr>
                <a:xfrm>
                  <a:off x="1734024" y="3349624"/>
                  <a:ext cx="421611" cy="81864"/>
                </a:xfrm>
                <a:custGeom>
                  <a:avLst/>
                  <a:gdLst>
                    <a:gd name="connsiteX0" fmla="*/ 414980 w 421611"/>
                    <a:gd name="connsiteY0" fmla="*/ 81865 h 81864"/>
                    <a:gd name="connsiteX1" fmla="*/ 16234 w 421611"/>
                    <a:gd name="connsiteY1" fmla="*/ 81865 h 81864"/>
                    <a:gd name="connsiteX2" fmla="*/ 9693 w 421611"/>
                    <a:gd name="connsiteY2" fmla="*/ 76167 h 81864"/>
                    <a:gd name="connsiteX3" fmla="*/ 60 w 421611"/>
                    <a:gd name="connsiteY3" fmla="*/ 7512 h 81864"/>
                    <a:gd name="connsiteX4" fmla="*/ 1619 w 421611"/>
                    <a:gd name="connsiteY4" fmla="*/ 2274 h 81864"/>
                    <a:gd name="connsiteX5" fmla="*/ 6601 w 421611"/>
                    <a:gd name="connsiteY5" fmla="*/ 0 h 81864"/>
                    <a:gd name="connsiteX6" fmla="*/ 407520 w 421611"/>
                    <a:gd name="connsiteY6" fmla="*/ 0 h 81864"/>
                    <a:gd name="connsiteX7" fmla="*/ 414086 w 421611"/>
                    <a:gd name="connsiteY7" fmla="*/ 5877 h 81864"/>
                    <a:gd name="connsiteX8" fmla="*/ 421572 w 421611"/>
                    <a:gd name="connsiteY8" fmla="*/ 74532 h 81864"/>
                    <a:gd name="connsiteX9" fmla="*/ 419937 w 421611"/>
                    <a:gd name="connsiteY9" fmla="*/ 79667 h 81864"/>
                    <a:gd name="connsiteX10" fmla="*/ 414980 w 421611"/>
                    <a:gd name="connsiteY10" fmla="*/ 81865 h 81864"/>
                    <a:gd name="connsiteX11" fmla="*/ 21957 w 421611"/>
                    <a:gd name="connsiteY11" fmla="*/ 68655 h 81864"/>
                    <a:gd name="connsiteX12" fmla="*/ 407622 w 421611"/>
                    <a:gd name="connsiteY12" fmla="*/ 68655 h 81864"/>
                    <a:gd name="connsiteX13" fmla="*/ 401566 w 421611"/>
                    <a:gd name="connsiteY13" fmla="*/ 13210 h 81864"/>
                    <a:gd name="connsiteX14" fmla="*/ 14190 w 421611"/>
                    <a:gd name="connsiteY14" fmla="*/ 13210 h 81864"/>
                    <a:gd name="connsiteX15" fmla="*/ 21957 w 421611"/>
                    <a:gd name="connsiteY15" fmla="*/ 68655 h 8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1611" h="81864">
                      <a:moveTo>
                        <a:pt x="414980" y="81865"/>
                      </a:moveTo>
                      <a:lnTo>
                        <a:pt x="16234" y="81865"/>
                      </a:lnTo>
                      <a:cubicBezTo>
                        <a:pt x="12938" y="81865"/>
                        <a:pt x="10153" y="79438"/>
                        <a:pt x="9693" y="76167"/>
                      </a:cubicBezTo>
                      <a:lnTo>
                        <a:pt x="60" y="7512"/>
                      </a:lnTo>
                      <a:cubicBezTo>
                        <a:pt x="-195" y="5621"/>
                        <a:pt x="367" y="3705"/>
                        <a:pt x="1619" y="2274"/>
                      </a:cubicBezTo>
                      <a:cubicBezTo>
                        <a:pt x="2871" y="818"/>
                        <a:pt x="4685" y="0"/>
                        <a:pt x="6601" y="0"/>
                      </a:cubicBezTo>
                      <a:lnTo>
                        <a:pt x="407520" y="0"/>
                      </a:lnTo>
                      <a:cubicBezTo>
                        <a:pt x="410892" y="0"/>
                        <a:pt x="413728" y="2530"/>
                        <a:pt x="414086" y="5877"/>
                      </a:cubicBezTo>
                      <a:lnTo>
                        <a:pt x="421572" y="74532"/>
                      </a:lnTo>
                      <a:cubicBezTo>
                        <a:pt x="421777" y="76397"/>
                        <a:pt x="421164" y="78262"/>
                        <a:pt x="419937" y="79667"/>
                      </a:cubicBezTo>
                      <a:cubicBezTo>
                        <a:pt x="418660" y="81073"/>
                        <a:pt x="416871" y="81865"/>
                        <a:pt x="414980" y="81865"/>
                      </a:cubicBezTo>
                      <a:close/>
                      <a:moveTo>
                        <a:pt x="21957" y="68655"/>
                      </a:moveTo>
                      <a:lnTo>
                        <a:pt x="407622" y="68655"/>
                      </a:lnTo>
                      <a:lnTo>
                        <a:pt x="401566" y="13210"/>
                      </a:lnTo>
                      <a:lnTo>
                        <a:pt x="14190" y="13210"/>
                      </a:lnTo>
                      <a:lnTo>
                        <a:pt x="21957" y="68655"/>
                      </a:lnTo>
                      <a:close/>
                    </a:path>
                  </a:pathLst>
                </a:custGeom>
                <a:grpFill/>
                <a:ln w="2555" cap="flat">
                  <a:noFill/>
                  <a:prstDash val="solid"/>
                  <a:miter/>
                </a:ln>
              </p:spPr>
              <p:txBody>
                <a:bodyPr rtlCol="0" anchor="ctr"/>
                <a:lstStyle/>
                <a:p>
                  <a:endParaRPr lang="en-GB" dirty="0"/>
                </a:p>
              </p:txBody>
            </p:sp>
          </p:grpSp>
          <p:sp>
            <p:nvSpPr>
              <p:cNvPr id="114" name="Freihandform: Form 486">
                <a:extLst>
                  <a:ext uri="{FF2B5EF4-FFF2-40B4-BE49-F238E27FC236}">
                    <a16:creationId xmlns:a16="http://schemas.microsoft.com/office/drawing/2014/main" id="{E6465FD7-158D-41EA-BC49-92F7A00B701D}"/>
                  </a:ext>
                </a:extLst>
              </p:cNvPr>
              <p:cNvSpPr/>
              <p:nvPr/>
            </p:nvSpPr>
            <p:spPr>
              <a:xfrm>
                <a:off x="1897660" y="3464067"/>
                <a:ext cx="115361" cy="13184"/>
              </a:xfrm>
              <a:custGeom>
                <a:avLst/>
                <a:gdLst>
                  <a:gd name="connsiteX0" fmla="*/ 108770 w 115361"/>
                  <a:gd name="connsiteY0" fmla="*/ 13184 h 13184"/>
                  <a:gd name="connsiteX1" fmla="*/ 6592 w 115361"/>
                  <a:gd name="connsiteY1" fmla="*/ 13184 h 13184"/>
                  <a:gd name="connsiteX2" fmla="*/ 0 w 115361"/>
                  <a:gd name="connsiteY2" fmla="*/ 6592 h 13184"/>
                  <a:gd name="connsiteX3" fmla="*/ 6592 w 115361"/>
                  <a:gd name="connsiteY3" fmla="*/ 0 h 13184"/>
                  <a:gd name="connsiteX4" fmla="*/ 108770 w 115361"/>
                  <a:gd name="connsiteY4" fmla="*/ 0 h 13184"/>
                  <a:gd name="connsiteX5" fmla="*/ 115362 w 115361"/>
                  <a:gd name="connsiteY5" fmla="*/ 6592 h 13184"/>
                  <a:gd name="connsiteX6" fmla="*/ 108770 w 115361"/>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5361" h="13184">
                    <a:moveTo>
                      <a:pt x="108770" y="13184"/>
                    </a:moveTo>
                    <a:lnTo>
                      <a:pt x="6592" y="13184"/>
                    </a:lnTo>
                    <a:cubicBezTo>
                      <a:pt x="2938" y="13184"/>
                      <a:pt x="0" y="10220"/>
                      <a:pt x="0" y="6592"/>
                    </a:cubicBezTo>
                    <a:cubicBezTo>
                      <a:pt x="0" y="2938"/>
                      <a:pt x="2964" y="0"/>
                      <a:pt x="6592" y="0"/>
                    </a:cubicBezTo>
                    <a:lnTo>
                      <a:pt x="108770" y="0"/>
                    </a:lnTo>
                    <a:cubicBezTo>
                      <a:pt x="112424" y="0"/>
                      <a:pt x="115362" y="2964"/>
                      <a:pt x="115362" y="6592"/>
                    </a:cubicBezTo>
                    <a:cubicBezTo>
                      <a:pt x="115362" y="10220"/>
                      <a:pt x="112424" y="13184"/>
                      <a:pt x="108770" y="13184"/>
                    </a:cubicBezTo>
                    <a:close/>
                  </a:path>
                </a:pathLst>
              </a:custGeom>
              <a:grpFill/>
              <a:ln w="2555" cap="flat">
                <a:noFill/>
                <a:prstDash val="solid"/>
                <a:miter/>
              </a:ln>
            </p:spPr>
            <p:txBody>
              <a:bodyPr rtlCol="0" anchor="ctr"/>
              <a:lstStyle/>
              <a:p>
                <a:endParaRPr lang="en-GB" dirty="0"/>
              </a:p>
            </p:txBody>
          </p:sp>
          <p:grpSp>
            <p:nvGrpSpPr>
              <p:cNvPr id="115" name="Grafik 277">
                <a:extLst>
                  <a:ext uri="{FF2B5EF4-FFF2-40B4-BE49-F238E27FC236}">
                    <a16:creationId xmlns:a16="http://schemas.microsoft.com/office/drawing/2014/main" id="{0A126DFF-E671-4669-9A93-3ECFCD586717}"/>
                  </a:ext>
                </a:extLst>
              </p:cNvPr>
              <p:cNvGrpSpPr/>
              <p:nvPr/>
            </p:nvGrpSpPr>
            <p:grpSpPr>
              <a:xfrm>
                <a:off x="1895992" y="3509828"/>
                <a:ext cx="146871" cy="58971"/>
                <a:chOff x="1895992" y="3509828"/>
                <a:chExt cx="146871" cy="58971"/>
              </a:xfrm>
              <a:grpFill/>
            </p:grpSpPr>
            <p:sp>
              <p:nvSpPr>
                <p:cNvPr id="121" name="Freihandform: Form 488">
                  <a:extLst>
                    <a:ext uri="{FF2B5EF4-FFF2-40B4-BE49-F238E27FC236}">
                      <a16:creationId xmlns:a16="http://schemas.microsoft.com/office/drawing/2014/main" id="{B24A05E5-10E6-45BD-8967-0C1D984B0823}"/>
                    </a:ext>
                  </a:extLst>
                </p:cNvPr>
                <p:cNvSpPr/>
                <p:nvPr/>
              </p:nvSpPr>
              <p:spPr>
                <a:xfrm>
                  <a:off x="1895992" y="3509828"/>
                  <a:ext cx="64189" cy="58971"/>
                </a:xfrm>
                <a:custGeom>
                  <a:avLst/>
                  <a:gdLst>
                    <a:gd name="connsiteX0" fmla="*/ 57599 w 64189"/>
                    <a:gd name="connsiteY0" fmla="*/ 58971 h 58971"/>
                    <a:gd name="connsiteX1" fmla="*/ 12528 w 64189"/>
                    <a:gd name="connsiteY1" fmla="*/ 58971 h 58971"/>
                    <a:gd name="connsiteX2" fmla="*/ 5987 w 64189"/>
                    <a:gd name="connsiteY2" fmla="*/ 53222 h 58971"/>
                    <a:gd name="connsiteX3" fmla="*/ 59 w 64189"/>
                    <a:gd name="connsiteY3" fmla="*/ 7461 h 58971"/>
                    <a:gd name="connsiteX4" fmla="*/ 1643 w 64189"/>
                    <a:gd name="connsiteY4" fmla="*/ 2248 h 58971"/>
                    <a:gd name="connsiteX5" fmla="*/ 6600 w 64189"/>
                    <a:gd name="connsiteY5" fmla="*/ 0 h 58971"/>
                    <a:gd name="connsiteX6" fmla="*/ 51850 w 64189"/>
                    <a:gd name="connsiteY6" fmla="*/ 0 h 58971"/>
                    <a:gd name="connsiteX7" fmla="*/ 58391 w 64189"/>
                    <a:gd name="connsiteY7" fmla="*/ 5775 h 58971"/>
                    <a:gd name="connsiteX8" fmla="*/ 64140 w 64189"/>
                    <a:gd name="connsiteY8" fmla="*/ 51536 h 58971"/>
                    <a:gd name="connsiteX9" fmla="*/ 62531 w 64189"/>
                    <a:gd name="connsiteY9" fmla="*/ 56723 h 58971"/>
                    <a:gd name="connsiteX10" fmla="*/ 57599 w 64189"/>
                    <a:gd name="connsiteY10" fmla="*/ 58971 h 58971"/>
                    <a:gd name="connsiteX11" fmla="*/ 18328 w 64189"/>
                    <a:gd name="connsiteY11" fmla="*/ 45762 h 58971"/>
                    <a:gd name="connsiteX12" fmla="*/ 50113 w 64189"/>
                    <a:gd name="connsiteY12" fmla="*/ 45762 h 58971"/>
                    <a:gd name="connsiteX13" fmla="*/ 46025 w 64189"/>
                    <a:gd name="connsiteY13" fmla="*/ 13184 h 58971"/>
                    <a:gd name="connsiteX14" fmla="*/ 14112 w 64189"/>
                    <a:gd name="connsiteY14" fmla="*/ 13184 h 58971"/>
                    <a:gd name="connsiteX15" fmla="*/ 18328 w 64189"/>
                    <a:gd name="connsiteY15" fmla="*/ 45762 h 5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189" h="58971">
                      <a:moveTo>
                        <a:pt x="57599" y="58971"/>
                      </a:moveTo>
                      <a:lnTo>
                        <a:pt x="12528" y="58971"/>
                      </a:lnTo>
                      <a:cubicBezTo>
                        <a:pt x="9206" y="58971"/>
                        <a:pt x="6395" y="56518"/>
                        <a:pt x="5987" y="53222"/>
                      </a:cubicBezTo>
                      <a:lnTo>
                        <a:pt x="59" y="7461"/>
                      </a:lnTo>
                      <a:cubicBezTo>
                        <a:pt x="-197" y="5570"/>
                        <a:pt x="391" y="3679"/>
                        <a:pt x="1643" y="2248"/>
                      </a:cubicBezTo>
                      <a:cubicBezTo>
                        <a:pt x="2895" y="818"/>
                        <a:pt x="4709" y="0"/>
                        <a:pt x="6600" y="0"/>
                      </a:cubicBezTo>
                      <a:lnTo>
                        <a:pt x="51850" y="0"/>
                      </a:lnTo>
                      <a:cubicBezTo>
                        <a:pt x="55172" y="0"/>
                        <a:pt x="57982" y="2479"/>
                        <a:pt x="58391" y="5775"/>
                      </a:cubicBezTo>
                      <a:lnTo>
                        <a:pt x="64140" y="51536"/>
                      </a:lnTo>
                      <a:cubicBezTo>
                        <a:pt x="64370" y="53427"/>
                        <a:pt x="63782" y="55318"/>
                        <a:pt x="62531" y="56723"/>
                      </a:cubicBezTo>
                      <a:cubicBezTo>
                        <a:pt x="61304" y="58154"/>
                        <a:pt x="59490" y="58971"/>
                        <a:pt x="57599" y="58971"/>
                      </a:cubicBezTo>
                      <a:close/>
                      <a:moveTo>
                        <a:pt x="18328" y="45762"/>
                      </a:moveTo>
                      <a:lnTo>
                        <a:pt x="50113" y="45762"/>
                      </a:lnTo>
                      <a:lnTo>
                        <a:pt x="46025" y="13184"/>
                      </a:lnTo>
                      <a:lnTo>
                        <a:pt x="14112" y="13184"/>
                      </a:lnTo>
                      <a:lnTo>
                        <a:pt x="18328" y="45762"/>
                      </a:lnTo>
                      <a:close/>
                    </a:path>
                  </a:pathLst>
                </a:custGeom>
                <a:grpFill/>
                <a:ln w="2555" cap="flat">
                  <a:noFill/>
                  <a:prstDash val="solid"/>
                  <a:miter/>
                </a:ln>
              </p:spPr>
              <p:txBody>
                <a:bodyPr rtlCol="0" anchor="ctr"/>
                <a:lstStyle/>
                <a:p>
                  <a:endParaRPr lang="en-GB" dirty="0"/>
                </a:p>
              </p:txBody>
            </p:sp>
            <p:sp>
              <p:nvSpPr>
                <p:cNvPr id="122" name="Freihandform: Form 489">
                  <a:extLst>
                    <a:ext uri="{FF2B5EF4-FFF2-40B4-BE49-F238E27FC236}">
                      <a16:creationId xmlns:a16="http://schemas.microsoft.com/office/drawing/2014/main" id="{A93C59CE-08CD-4571-BACD-52B9283B065A}"/>
                    </a:ext>
                  </a:extLst>
                </p:cNvPr>
                <p:cNvSpPr/>
                <p:nvPr/>
              </p:nvSpPr>
              <p:spPr>
                <a:xfrm>
                  <a:off x="1978940" y="3509828"/>
                  <a:ext cx="63923" cy="58971"/>
                </a:xfrm>
                <a:custGeom>
                  <a:avLst/>
                  <a:gdLst>
                    <a:gd name="connsiteX0" fmla="*/ 57308 w 63923"/>
                    <a:gd name="connsiteY0" fmla="*/ 58971 h 58971"/>
                    <a:gd name="connsiteX1" fmla="*/ 12211 w 63923"/>
                    <a:gd name="connsiteY1" fmla="*/ 58971 h 58971"/>
                    <a:gd name="connsiteX2" fmla="*/ 5670 w 63923"/>
                    <a:gd name="connsiteY2" fmla="*/ 53171 h 58971"/>
                    <a:gd name="connsiteX3" fmla="*/ 49 w 63923"/>
                    <a:gd name="connsiteY3" fmla="*/ 7410 h 58971"/>
                    <a:gd name="connsiteX4" fmla="*/ 1659 w 63923"/>
                    <a:gd name="connsiteY4" fmla="*/ 2223 h 58971"/>
                    <a:gd name="connsiteX5" fmla="*/ 6616 w 63923"/>
                    <a:gd name="connsiteY5" fmla="*/ 0 h 58971"/>
                    <a:gd name="connsiteX6" fmla="*/ 51866 w 63923"/>
                    <a:gd name="connsiteY6" fmla="*/ 0 h 58971"/>
                    <a:gd name="connsiteX7" fmla="*/ 58433 w 63923"/>
                    <a:gd name="connsiteY7" fmla="*/ 5826 h 58971"/>
                    <a:gd name="connsiteX8" fmla="*/ 63875 w 63923"/>
                    <a:gd name="connsiteY8" fmla="*/ 51587 h 58971"/>
                    <a:gd name="connsiteX9" fmla="*/ 62265 w 63923"/>
                    <a:gd name="connsiteY9" fmla="*/ 56748 h 58971"/>
                    <a:gd name="connsiteX10" fmla="*/ 57308 w 63923"/>
                    <a:gd name="connsiteY10" fmla="*/ 58971 h 58971"/>
                    <a:gd name="connsiteX11" fmla="*/ 18062 w 63923"/>
                    <a:gd name="connsiteY11" fmla="*/ 45762 h 58971"/>
                    <a:gd name="connsiteX12" fmla="*/ 49873 w 63923"/>
                    <a:gd name="connsiteY12" fmla="*/ 45762 h 58971"/>
                    <a:gd name="connsiteX13" fmla="*/ 45989 w 63923"/>
                    <a:gd name="connsiteY13" fmla="*/ 13184 h 58971"/>
                    <a:gd name="connsiteX14" fmla="*/ 14051 w 63923"/>
                    <a:gd name="connsiteY14" fmla="*/ 13184 h 58971"/>
                    <a:gd name="connsiteX15" fmla="*/ 18062 w 63923"/>
                    <a:gd name="connsiteY15" fmla="*/ 45762 h 5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923" h="58971">
                      <a:moveTo>
                        <a:pt x="57308" y="58971"/>
                      </a:moveTo>
                      <a:lnTo>
                        <a:pt x="12211" y="58971"/>
                      </a:lnTo>
                      <a:cubicBezTo>
                        <a:pt x="8864" y="58971"/>
                        <a:pt x="6053" y="56493"/>
                        <a:pt x="5670" y="53171"/>
                      </a:cubicBezTo>
                      <a:lnTo>
                        <a:pt x="49" y="7410"/>
                      </a:lnTo>
                      <a:cubicBezTo>
                        <a:pt x="-181" y="5544"/>
                        <a:pt x="407" y="3654"/>
                        <a:pt x="1659" y="2223"/>
                      </a:cubicBezTo>
                      <a:cubicBezTo>
                        <a:pt x="2911" y="818"/>
                        <a:pt x="4699" y="0"/>
                        <a:pt x="6616" y="0"/>
                      </a:cubicBezTo>
                      <a:lnTo>
                        <a:pt x="51866" y="0"/>
                      </a:lnTo>
                      <a:cubicBezTo>
                        <a:pt x="55213" y="0"/>
                        <a:pt x="58024" y="2504"/>
                        <a:pt x="58433" y="5826"/>
                      </a:cubicBezTo>
                      <a:lnTo>
                        <a:pt x="63875" y="51587"/>
                      </a:lnTo>
                      <a:cubicBezTo>
                        <a:pt x="64105" y="53452"/>
                        <a:pt x="63517" y="55343"/>
                        <a:pt x="62265" y="56748"/>
                      </a:cubicBezTo>
                      <a:cubicBezTo>
                        <a:pt x="61013" y="58154"/>
                        <a:pt x="59199" y="58971"/>
                        <a:pt x="57308" y="58971"/>
                      </a:cubicBezTo>
                      <a:close/>
                      <a:moveTo>
                        <a:pt x="18062" y="45762"/>
                      </a:moveTo>
                      <a:lnTo>
                        <a:pt x="49873" y="45762"/>
                      </a:lnTo>
                      <a:lnTo>
                        <a:pt x="45989" y="13184"/>
                      </a:lnTo>
                      <a:lnTo>
                        <a:pt x="14051" y="13184"/>
                      </a:lnTo>
                      <a:lnTo>
                        <a:pt x="18062" y="45762"/>
                      </a:lnTo>
                      <a:close/>
                    </a:path>
                  </a:pathLst>
                </a:custGeom>
                <a:grpFill/>
                <a:ln w="2555" cap="flat">
                  <a:noFill/>
                  <a:prstDash val="solid"/>
                  <a:miter/>
                </a:ln>
              </p:spPr>
              <p:txBody>
                <a:bodyPr rtlCol="0" anchor="ctr"/>
                <a:lstStyle/>
                <a:p>
                  <a:endParaRPr lang="en-GB" dirty="0"/>
                </a:p>
              </p:txBody>
            </p:sp>
          </p:grpSp>
          <p:sp>
            <p:nvSpPr>
              <p:cNvPr id="116" name="Freihandform: Form 490">
                <a:extLst>
                  <a:ext uri="{FF2B5EF4-FFF2-40B4-BE49-F238E27FC236}">
                    <a16:creationId xmlns:a16="http://schemas.microsoft.com/office/drawing/2014/main" id="{DBADFB0D-0ED8-4210-A50B-333F7A226D4E}"/>
                  </a:ext>
                </a:extLst>
              </p:cNvPr>
              <p:cNvSpPr/>
              <p:nvPr/>
            </p:nvSpPr>
            <p:spPr>
              <a:xfrm>
                <a:off x="1825163" y="3598975"/>
                <a:ext cx="64200" cy="58971"/>
              </a:xfrm>
              <a:custGeom>
                <a:avLst/>
                <a:gdLst>
                  <a:gd name="connsiteX0" fmla="*/ 57575 w 64200"/>
                  <a:gd name="connsiteY0" fmla="*/ 58971 h 58971"/>
                  <a:gd name="connsiteX1" fmla="*/ 12810 w 64200"/>
                  <a:gd name="connsiteY1" fmla="*/ 58971 h 58971"/>
                  <a:gd name="connsiteX2" fmla="*/ 6269 w 64200"/>
                  <a:gd name="connsiteY2" fmla="*/ 53248 h 58971"/>
                  <a:gd name="connsiteX3" fmla="*/ 60 w 64200"/>
                  <a:gd name="connsiteY3" fmla="*/ 7486 h 58971"/>
                  <a:gd name="connsiteX4" fmla="*/ 1619 w 64200"/>
                  <a:gd name="connsiteY4" fmla="*/ 2248 h 58971"/>
                  <a:gd name="connsiteX5" fmla="*/ 6601 w 64200"/>
                  <a:gd name="connsiteY5" fmla="*/ 0 h 58971"/>
                  <a:gd name="connsiteX6" fmla="*/ 51545 w 64200"/>
                  <a:gd name="connsiteY6" fmla="*/ 0 h 58971"/>
                  <a:gd name="connsiteX7" fmla="*/ 58086 w 64200"/>
                  <a:gd name="connsiteY7" fmla="*/ 5749 h 58971"/>
                  <a:gd name="connsiteX8" fmla="*/ 64142 w 64200"/>
                  <a:gd name="connsiteY8" fmla="*/ 51510 h 58971"/>
                  <a:gd name="connsiteX9" fmla="*/ 62558 w 64200"/>
                  <a:gd name="connsiteY9" fmla="*/ 56723 h 58971"/>
                  <a:gd name="connsiteX10" fmla="*/ 57575 w 64200"/>
                  <a:gd name="connsiteY10" fmla="*/ 58971 h 58971"/>
                  <a:gd name="connsiteX11" fmla="*/ 18559 w 64200"/>
                  <a:gd name="connsiteY11" fmla="*/ 45761 h 58971"/>
                  <a:gd name="connsiteX12" fmla="*/ 50038 w 64200"/>
                  <a:gd name="connsiteY12" fmla="*/ 45761 h 58971"/>
                  <a:gd name="connsiteX13" fmla="*/ 45745 w 64200"/>
                  <a:gd name="connsiteY13" fmla="*/ 13210 h 58971"/>
                  <a:gd name="connsiteX14" fmla="*/ 14164 w 64200"/>
                  <a:gd name="connsiteY14" fmla="*/ 13210 h 58971"/>
                  <a:gd name="connsiteX15" fmla="*/ 18559 w 64200"/>
                  <a:gd name="connsiteY15" fmla="*/ 45761 h 5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200" h="58971">
                    <a:moveTo>
                      <a:pt x="57575" y="58971"/>
                    </a:moveTo>
                    <a:lnTo>
                      <a:pt x="12810" y="58971"/>
                    </a:lnTo>
                    <a:cubicBezTo>
                      <a:pt x="9514" y="58971"/>
                      <a:pt x="6704" y="56518"/>
                      <a:pt x="6269" y="53248"/>
                    </a:cubicBezTo>
                    <a:lnTo>
                      <a:pt x="60" y="7486"/>
                    </a:lnTo>
                    <a:cubicBezTo>
                      <a:pt x="-195" y="5596"/>
                      <a:pt x="367" y="3679"/>
                      <a:pt x="1619" y="2248"/>
                    </a:cubicBezTo>
                    <a:cubicBezTo>
                      <a:pt x="2871" y="818"/>
                      <a:pt x="4685" y="0"/>
                      <a:pt x="6601" y="0"/>
                    </a:cubicBezTo>
                    <a:lnTo>
                      <a:pt x="51545" y="0"/>
                    </a:lnTo>
                    <a:cubicBezTo>
                      <a:pt x="54867" y="0"/>
                      <a:pt x="57652" y="2453"/>
                      <a:pt x="58086" y="5749"/>
                    </a:cubicBezTo>
                    <a:lnTo>
                      <a:pt x="64142" y="51510"/>
                    </a:lnTo>
                    <a:cubicBezTo>
                      <a:pt x="64397" y="53401"/>
                      <a:pt x="63810" y="55292"/>
                      <a:pt x="62558" y="56723"/>
                    </a:cubicBezTo>
                    <a:cubicBezTo>
                      <a:pt x="61280" y="58128"/>
                      <a:pt x="59466" y="58971"/>
                      <a:pt x="57575" y="58971"/>
                    </a:cubicBezTo>
                    <a:close/>
                    <a:moveTo>
                      <a:pt x="18559" y="45761"/>
                    </a:moveTo>
                    <a:lnTo>
                      <a:pt x="50038" y="45761"/>
                    </a:lnTo>
                    <a:lnTo>
                      <a:pt x="45745" y="13210"/>
                    </a:lnTo>
                    <a:lnTo>
                      <a:pt x="14164" y="13210"/>
                    </a:lnTo>
                    <a:lnTo>
                      <a:pt x="18559" y="45761"/>
                    </a:lnTo>
                    <a:close/>
                  </a:path>
                </a:pathLst>
              </a:custGeom>
              <a:grpFill/>
              <a:ln w="2555" cap="flat">
                <a:noFill/>
                <a:prstDash val="solid"/>
                <a:miter/>
              </a:ln>
            </p:spPr>
            <p:txBody>
              <a:bodyPr rtlCol="0" anchor="ctr"/>
              <a:lstStyle/>
              <a:p>
                <a:endParaRPr lang="en-GB" dirty="0"/>
              </a:p>
            </p:txBody>
          </p:sp>
          <p:sp>
            <p:nvSpPr>
              <p:cNvPr id="117" name="Freihandform: Form 491">
                <a:extLst>
                  <a:ext uri="{FF2B5EF4-FFF2-40B4-BE49-F238E27FC236}">
                    <a16:creationId xmlns:a16="http://schemas.microsoft.com/office/drawing/2014/main" id="{C1E882F6-4FAF-46C2-A960-EF81B4F95E0F}"/>
                  </a:ext>
                </a:extLst>
              </p:cNvPr>
              <p:cNvSpPr/>
              <p:nvPr/>
            </p:nvSpPr>
            <p:spPr>
              <a:xfrm>
                <a:off x="2061879" y="3509803"/>
                <a:ext cx="63632" cy="58996"/>
              </a:xfrm>
              <a:custGeom>
                <a:avLst/>
                <a:gdLst>
                  <a:gd name="connsiteX0" fmla="*/ 57026 w 63632"/>
                  <a:gd name="connsiteY0" fmla="*/ 58997 h 58996"/>
                  <a:gd name="connsiteX1" fmla="*/ 11929 w 63632"/>
                  <a:gd name="connsiteY1" fmla="*/ 58997 h 58996"/>
                  <a:gd name="connsiteX2" fmla="*/ 5362 w 63632"/>
                  <a:gd name="connsiteY2" fmla="*/ 53146 h 58996"/>
                  <a:gd name="connsiteX3" fmla="*/ 48 w 63632"/>
                  <a:gd name="connsiteY3" fmla="*/ 7384 h 58996"/>
                  <a:gd name="connsiteX4" fmla="*/ 1683 w 63632"/>
                  <a:gd name="connsiteY4" fmla="*/ 2223 h 58996"/>
                  <a:gd name="connsiteX5" fmla="*/ 6614 w 63632"/>
                  <a:gd name="connsiteY5" fmla="*/ 0 h 58996"/>
                  <a:gd name="connsiteX6" fmla="*/ 51865 w 63632"/>
                  <a:gd name="connsiteY6" fmla="*/ 0 h 58996"/>
                  <a:gd name="connsiteX7" fmla="*/ 58431 w 63632"/>
                  <a:gd name="connsiteY7" fmla="*/ 5851 h 58996"/>
                  <a:gd name="connsiteX8" fmla="*/ 63592 w 63632"/>
                  <a:gd name="connsiteY8" fmla="*/ 51613 h 58996"/>
                  <a:gd name="connsiteX9" fmla="*/ 61957 w 63632"/>
                  <a:gd name="connsiteY9" fmla="*/ 56748 h 58996"/>
                  <a:gd name="connsiteX10" fmla="*/ 57026 w 63632"/>
                  <a:gd name="connsiteY10" fmla="*/ 58997 h 58996"/>
                  <a:gd name="connsiteX11" fmla="*/ 17831 w 63632"/>
                  <a:gd name="connsiteY11" fmla="*/ 45787 h 58996"/>
                  <a:gd name="connsiteX12" fmla="*/ 49642 w 63632"/>
                  <a:gd name="connsiteY12" fmla="*/ 45787 h 58996"/>
                  <a:gd name="connsiteX13" fmla="*/ 45962 w 63632"/>
                  <a:gd name="connsiteY13" fmla="*/ 13210 h 58996"/>
                  <a:gd name="connsiteX14" fmla="*/ 14024 w 63632"/>
                  <a:gd name="connsiteY14" fmla="*/ 13210 h 58996"/>
                  <a:gd name="connsiteX15" fmla="*/ 17831 w 63632"/>
                  <a:gd name="connsiteY15" fmla="*/ 45787 h 58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632" h="58996">
                    <a:moveTo>
                      <a:pt x="57026" y="58997"/>
                    </a:moveTo>
                    <a:lnTo>
                      <a:pt x="11929" y="58997"/>
                    </a:lnTo>
                    <a:cubicBezTo>
                      <a:pt x="8582" y="58997"/>
                      <a:pt x="5771" y="56493"/>
                      <a:pt x="5362" y="53146"/>
                    </a:cubicBezTo>
                    <a:lnTo>
                      <a:pt x="48" y="7384"/>
                    </a:lnTo>
                    <a:cubicBezTo>
                      <a:pt x="-182" y="5519"/>
                      <a:pt x="431" y="3628"/>
                      <a:pt x="1683" y="2223"/>
                    </a:cubicBezTo>
                    <a:cubicBezTo>
                      <a:pt x="2935" y="818"/>
                      <a:pt x="4723" y="0"/>
                      <a:pt x="6614" y="0"/>
                    </a:cubicBezTo>
                    <a:lnTo>
                      <a:pt x="51865" y="0"/>
                    </a:lnTo>
                    <a:cubicBezTo>
                      <a:pt x="55212" y="0"/>
                      <a:pt x="58048" y="2530"/>
                      <a:pt x="58431" y="5851"/>
                    </a:cubicBezTo>
                    <a:lnTo>
                      <a:pt x="63592" y="51613"/>
                    </a:lnTo>
                    <a:cubicBezTo>
                      <a:pt x="63797" y="53478"/>
                      <a:pt x="63209" y="55343"/>
                      <a:pt x="61957" y="56748"/>
                    </a:cubicBezTo>
                    <a:cubicBezTo>
                      <a:pt x="60705" y="58179"/>
                      <a:pt x="58917" y="58997"/>
                      <a:pt x="57026" y="58997"/>
                    </a:cubicBezTo>
                    <a:close/>
                    <a:moveTo>
                      <a:pt x="17831" y="45787"/>
                    </a:moveTo>
                    <a:lnTo>
                      <a:pt x="49642" y="45787"/>
                    </a:lnTo>
                    <a:lnTo>
                      <a:pt x="45962" y="13210"/>
                    </a:lnTo>
                    <a:lnTo>
                      <a:pt x="14024" y="13210"/>
                    </a:lnTo>
                    <a:lnTo>
                      <a:pt x="17831" y="45787"/>
                    </a:lnTo>
                    <a:close/>
                  </a:path>
                </a:pathLst>
              </a:custGeom>
              <a:grpFill/>
              <a:ln w="2555" cap="flat">
                <a:noFill/>
                <a:prstDash val="solid"/>
                <a:miter/>
              </a:ln>
            </p:spPr>
            <p:txBody>
              <a:bodyPr rtlCol="0" anchor="ctr"/>
              <a:lstStyle/>
              <a:p>
                <a:endParaRPr lang="en-GB" dirty="0"/>
              </a:p>
            </p:txBody>
          </p:sp>
          <p:sp>
            <p:nvSpPr>
              <p:cNvPr id="118" name="Freihandform: Form 493">
                <a:extLst>
                  <a:ext uri="{FF2B5EF4-FFF2-40B4-BE49-F238E27FC236}">
                    <a16:creationId xmlns:a16="http://schemas.microsoft.com/office/drawing/2014/main" id="{83599B7F-CEB4-4E0F-A1E5-708D8F28084B}"/>
                  </a:ext>
                </a:extLst>
              </p:cNvPr>
              <p:cNvSpPr/>
              <p:nvPr/>
            </p:nvSpPr>
            <p:spPr>
              <a:xfrm>
                <a:off x="1989875" y="3598975"/>
                <a:ext cx="63617" cy="58971"/>
              </a:xfrm>
              <a:custGeom>
                <a:avLst/>
                <a:gdLst>
                  <a:gd name="connsiteX0" fmla="*/ 56976 w 63617"/>
                  <a:gd name="connsiteY0" fmla="*/ 58971 h 58971"/>
                  <a:gd name="connsiteX1" fmla="*/ 12211 w 63617"/>
                  <a:gd name="connsiteY1" fmla="*/ 58971 h 58971"/>
                  <a:gd name="connsiteX2" fmla="*/ 5670 w 63617"/>
                  <a:gd name="connsiteY2" fmla="*/ 53171 h 58971"/>
                  <a:gd name="connsiteX3" fmla="*/ 49 w 63617"/>
                  <a:gd name="connsiteY3" fmla="*/ 7410 h 58971"/>
                  <a:gd name="connsiteX4" fmla="*/ 1659 w 63617"/>
                  <a:gd name="connsiteY4" fmla="*/ 2223 h 58971"/>
                  <a:gd name="connsiteX5" fmla="*/ 6616 w 63617"/>
                  <a:gd name="connsiteY5" fmla="*/ 0 h 58971"/>
                  <a:gd name="connsiteX6" fmla="*/ 51534 w 63617"/>
                  <a:gd name="connsiteY6" fmla="*/ 0 h 58971"/>
                  <a:gd name="connsiteX7" fmla="*/ 58100 w 63617"/>
                  <a:gd name="connsiteY7" fmla="*/ 5826 h 58971"/>
                  <a:gd name="connsiteX8" fmla="*/ 63568 w 63617"/>
                  <a:gd name="connsiteY8" fmla="*/ 51587 h 58971"/>
                  <a:gd name="connsiteX9" fmla="*/ 61959 w 63617"/>
                  <a:gd name="connsiteY9" fmla="*/ 56748 h 58971"/>
                  <a:gd name="connsiteX10" fmla="*/ 56976 w 63617"/>
                  <a:gd name="connsiteY10" fmla="*/ 58971 h 58971"/>
                  <a:gd name="connsiteX11" fmla="*/ 18037 w 63617"/>
                  <a:gd name="connsiteY11" fmla="*/ 45761 h 58971"/>
                  <a:gd name="connsiteX12" fmla="*/ 49541 w 63617"/>
                  <a:gd name="connsiteY12" fmla="*/ 45761 h 58971"/>
                  <a:gd name="connsiteX13" fmla="*/ 45657 w 63617"/>
                  <a:gd name="connsiteY13" fmla="*/ 13210 h 58971"/>
                  <a:gd name="connsiteX14" fmla="*/ 14051 w 63617"/>
                  <a:gd name="connsiteY14" fmla="*/ 13210 h 58971"/>
                  <a:gd name="connsiteX15" fmla="*/ 18037 w 63617"/>
                  <a:gd name="connsiteY15" fmla="*/ 45761 h 5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617" h="58971">
                    <a:moveTo>
                      <a:pt x="56976" y="58971"/>
                    </a:moveTo>
                    <a:lnTo>
                      <a:pt x="12211" y="58971"/>
                    </a:lnTo>
                    <a:cubicBezTo>
                      <a:pt x="8864" y="58971"/>
                      <a:pt x="6053" y="56493"/>
                      <a:pt x="5670" y="53171"/>
                    </a:cubicBezTo>
                    <a:lnTo>
                      <a:pt x="49" y="7410"/>
                    </a:lnTo>
                    <a:cubicBezTo>
                      <a:pt x="-181" y="5544"/>
                      <a:pt x="407" y="3654"/>
                      <a:pt x="1659" y="2223"/>
                    </a:cubicBezTo>
                    <a:cubicBezTo>
                      <a:pt x="2911" y="818"/>
                      <a:pt x="4699" y="0"/>
                      <a:pt x="6616" y="0"/>
                    </a:cubicBezTo>
                    <a:lnTo>
                      <a:pt x="51534" y="0"/>
                    </a:lnTo>
                    <a:cubicBezTo>
                      <a:pt x="54881" y="0"/>
                      <a:pt x="57692" y="2504"/>
                      <a:pt x="58100" y="5826"/>
                    </a:cubicBezTo>
                    <a:lnTo>
                      <a:pt x="63568" y="51587"/>
                    </a:lnTo>
                    <a:cubicBezTo>
                      <a:pt x="63798" y="53452"/>
                      <a:pt x="63211" y="55343"/>
                      <a:pt x="61959" y="56748"/>
                    </a:cubicBezTo>
                    <a:cubicBezTo>
                      <a:pt x="60656" y="58154"/>
                      <a:pt x="58841" y="58971"/>
                      <a:pt x="56976" y="58971"/>
                    </a:cubicBezTo>
                    <a:close/>
                    <a:moveTo>
                      <a:pt x="18037" y="45761"/>
                    </a:moveTo>
                    <a:lnTo>
                      <a:pt x="49541" y="45761"/>
                    </a:lnTo>
                    <a:lnTo>
                      <a:pt x="45657" y="13210"/>
                    </a:lnTo>
                    <a:lnTo>
                      <a:pt x="14051" y="13210"/>
                    </a:lnTo>
                    <a:lnTo>
                      <a:pt x="18037" y="45761"/>
                    </a:lnTo>
                    <a:close/>
                  </a:path>
                </a:pathLst>
              </a:custGeom>
              <a:grpFill/>
              <a:ln w="2555" cap="flat">
                <a:noFill/>
                <a:prstDash val="solid"/>
                <a:miter/>
              </a:ln>
            </p:spPr>
            <p:txBody>
              <a:bodyPr rtlCol="0" anchor="ctr"/>
              <a:lstStyle/>
              <a:p>
                <a:endParaRPr lang="en-GB" dirty="0"/>
              </a:p>
            </p:txBody>
          </p:sp>
          <p:sp>
            <p:nvSpPr>
              <p:cNvPr id="119" name="Freihandform: Form 494">
                <a:extLst>
                  <a:ext uri="{FF2B5EF4-FFF2-40B4-BE49-F238E27FC236}">
                    <a16:creationId xmlns:a16="http://schemas.microsoft.com/office/drawing/2014/main" id="{0A9A27F0-61A4-46A6-AA46-7B00AC95712B}"/>
                  </a:ext>
                </a:extLst>
              </p:cNvPr>
              <p:cNvSpPr/>
              <p:nvPr/>
            </p:nvSpPr>
            <p:spPr>
              <a:xfrm>
                <a:off x="2072072" y="3598975"/>
                <a:ext cx="63642" cy="58971"/>
              </a:xfrm>
              <a:custGeom>
                <a:avLst/>
                <a:gdLst>
                  <a:gd name="connsiteX0" fmla="*/ 56976 w 63642"/>
                  <a:gd name="connsiteY0" fmla="*/ 58971 h 58971"/>
                  <a:gd name="connsiteX1" fmla="*/ 12211 w 63642"/>
                  <a:gd name="connsiteY1" fmla="*/ 58971 h 58971"/>
                  <a:gd name="connsiteX2" fmla="*/ 5670 w 63642"/>
                  <a:gd name="connsiteY2" fmla="*/ 53171 h 58971"/>
                  <a:gd name="connsiteX3" fmla="*/ 49 w 63642"/>
                  <a:gd name="connsiteY3" fmla="*/ 7410 h 58971"/>
                  <a:gd name="connsiteX4" fmla="*/ 1659 w 63642"/>
                  <a:gd name="connsiteY4" fmla="*/ 2223 h 58971"/>
                  <a:gd name="connsiteX5" fmla="*/ 6615 w 63642"/>
                  <a:gd name="connsiteY5" fmla="*/ 0 h 58971"/>
                  <a:gd name="connsiteX6" fmla="*/ 51559 w 63642"/>
                  <a:gd name="connsiteY6" fmla="*/ 0 h 58971"/>
                  <a:gd name="connsiteX7" fmla="*/ 58126 w 63642"/>
                  <a:gd name="connsiteY7" fmla="*/ 5826 h 58971"/>
                  <a:gd name="connsiteX8" fmla="*/ 63594 w 63642"/>
                  <a:gd name="connsiteY8" fmla="*/ 51587 h 58971"/>
                  <a:gd name="connsiteX9" fmla="*/ 61984 w 63642"/>
                  <a:gd name="connsiteY9" fmla="*/ 56748 h 58971"/>
                  <a:gd name="connsiteX10" fmla="*/ 56976 w 63642"/>
                  <a:gd name="connsiteY10" fmla="*/ 58971 h 58971"/>
                  <a:gd name="connsiteX11" fmla="*/ 18037 w 63642"/>
                  <a:gd name="connsiteY11" fmla="*/ 45761 h 58971"/>
                  <a:gd name="connsiteX12" fmla="*/ 49541 w 63642"/>
                  <a:gd name="connsiteY12" fmla="*/ 45761 h 58971"/>
                  <a:gd name="connsiteX13" fmla="*/ 45657 w 63642"/>
                  <a:gd name="connsiteY13" fmla="*/ 13210 h 58971"/>
                  <a:gd name="connsiteX14" fmla="*/ 14051 w 63642"/>
                  <a:gd name="connsiteY14" fmla="*/ 13210 h 58971"/>
                  <a:gd name="connsiteX15" fmla="*/ 18037 w 63642"/>
                  <a:gd name="connsiteY15" fmla="*/ 45761 h 58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642" h="58971">
                    <a:moveTo>
                      <a:pt x="56976" y="58971"/>
                    </a:moveTo>
                    <a:lnTo>
                      <a:pt x="12211" y="58971"/>
                    </a:lnTo>
                    <a:cubicBezTo>
                      <a:pt x="8864" y="58971"/>
                      <a:pt x="6053" y="56493"/>
                      <a:pt x="5670" y="53171"/>
                    </a:cubicBezTo>
                    <a:lnTo>
                      <a:pt x="49" y="7410"/>
                    </a:lnTo>
                    <a:cubicBezTo>
                      <a:pt x="-181" y="5544"/>
                      <a:pt x="407" y="3654"/>
                      <a:pt x="1659" y="2223"/>
                    </a:cubicBezTo>
                    <a:cubicBezTo>
                      <a:pt x="2911" y="818"/>
                      <a:pt x="4699" y="0"/>
                      <a:pt x="6615" y="0"/>
                    </a:cubicBezTo>
                    <a:lnTo>
                      <a:pt x="51559" y="0"/>
                    </a:lnTo>
                    <a:cubicBezTo>
                      <a:pt x="54907" y="0"/>
                      <a:pt x="57717" y="2504"/>
                      <a:pt x="58126" y="5826"/>
                    </a:cubicBezTo>
                    <a:lnTo>
                      <a:pt x="63594" y="51587"/>
                    </a:lnTo>
                    <a:cubicBezTo>
                      <a:pt x="63824" y="53452"/>
                      <a:pt x="63236" y="55343"/>
                      <a:pt x="61984" y="56748"/>
                    </a:cubicBezTo>
                    <a:cubicBezTo>
                      <a:pt x="60656" y="58154"/>
                      <a:pt x="58867" y="58971"/>
                      <a:pt x="56976" y="58971"/>
                    </a:cubicBezTo>
                    <a:close/>
                    <a:moveTo>
                      <a:pt x="18037" y="45761"/>
                    </a:moveTo>
                    <a:lnTo>
                      <a:pt x="49541" y="45761"/>
                    </a:lnTo>
                    <a:lnTo>
                      <a:pt x="45657" y="13210"/>
                    </a:lnTo>
                    <a:lnTo>
                      <a:pt x="14051" y="13210"/>
                    </a:lnTo>
                    <a:lnTo>
                      <a:pt x="18037" y="45761"/>
                    </a:lnTo>
                    <a:close/>
                  </a:path>
                </a:pathLst>
              </a:custGeom>
              <a:grpFill/>
              <a:ln w="2555" cap="flat">
                <a:noFill/>
                <a:prstDash val="solid"/>
                <a:miter/>
              </a:ln>
            </p:spPr>
            <p:txBody>
              <a:bodyPr rtlCol="0" anchor="ctr"/>
              <a:lstStyle/>
              <a:p>
                <a:endParaRPr lang="en-GB" dirty="0"/>
              </a:p>
            </p:txBody>
          </p:sp>
          <p:sp>
            <p:nvSpPr>
              <p:cNvPr id="120" name="Freihandform: Form 495">
                <a:extLst>
                  <a:ext uri="{FF2B5EF4-FFF2-40B4-BE49-F238E27FC236}">
                    <a16:creationId xmlns:a16="http://schemas.microsoft.com/office/drawing/2014/main" id="{CB6B6B17-B9D8-4C75-A6F3-C75F105D3B03}"/>
                  </a:ext>
                </a:extLst>
              </p:cNvPr>
              <p:cNvSpPr/>
              <p:nvPr/>
            </p:nvSpPr>
            <p:spPr>
              <a:xfrm>
                <a:off x="1695948" y="3356447"/>
                <a:ext cx="64376" cy="349637"/>
              </a:xfrm>
              <a:custGeom>
                <a:avLst/>
                <a:gdLst>
                  <a:gd name="connsiteX0" fmla="*/ 64377 w 64376"/>
                  <a:gd name="connsiteY0" fmla="*/ 349638 h 349637"/>
                  <a:gd name="connsiteX1" fmla="*/ 6581 w 64376"/>
                  <a:gd name="connsiteY1" fmla="*/ 349510 h 349637"/>
                  <a:gd name="connsiteX2" fmla="*/ 1675 w 64376"/>
                  <a:gd name="connsiteY2" fmla="*/ 347312 h 349637"/>
                  <a:gd name="connsiteX3" fmla="*/ 40 w 64376"/>
                  <a:gd name="connsiteY3" fmla="*/ 342202 h 349637"/>
                  <a:gd name="connsiteX4" fmla="*/ 37267 w 64376"/>
                  <a:gd name="connsiteY4" fmla="*/ 0 h 349637"/>
                  <a:gd name="connsiteX5" fmla="*/ 50401 w 64376"/>
                  <a:gd name="connsiteY5" fmla="*/ 1431 h 349637"/>
                  <a:gd name="connsiteX6" fmla="*/ 13940 w 64376"/>
                  <a:gd name="connsiteY6" fmla="*/ 336326 h 349637"/>
                  <a:gd name="connsiteX7" fmla="*/ 64377 w 64376"/>
                  <a:gd name="connsiteY7" fmla="*/ 336428 h 349637"/>
                  <a:gd name="connsiteX8" fmla="*/ 64377 w 64376"/>
                  <a:gd name="connsiteY8" fmla="*/ 349638 h 34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376" h="349637">
                    <a:moveTo>
                      <a:pt x="64377" y="349638"/>
                    </a:moveTo>
                    <a:lnTo>
                      <a:pt x="6581" y="349510"/>
                    </a:lnTo>
                    <a:cubicBezTo>
                      <a:pt x="4716" y="349510"/>
                      <a:pt x="2927" y="348692"/>
                      <a:pt x="1675" y="347312"/>
                    </a:cubicBezTo>
                    <a:cubicBezTo>
                      <a:pt x="423" y="345933"/>
                      <a:pt x="-165" y="344067"/>
                      <a:pt x="40" y="342202"/>
                    </a:cubicBezTo>
                    <a:lnTo>
                      <a:pt x="37267" y="0"/>
                    </a:lnTo>
                    <a:lnTo>
                      <a:pt x="50401" y="1431"/>
                    </a:lnTo>
                    <a:lnTo>
                      <a:pt x="13940" y="336326"/>
                    </a:lnTo>
                    <a:lnTo>
                      <a:pt x="64377" y="336428"/>
                    </a:lnTo>
                    <a:lnTo>
                      <a:pt x="64377" y="349638"/>
                    </a:lnTo>
                    <a:close/>
                  </a:path>
                </a:pathLst>
              </a:custGeom>
              <a:grpFill/>
              <a:ln w="2555" cap="flat">
                <a:noFill/>
                <a:prstDash val="solid"/>
                <a:miter/>
              </a:ln>
            </p:spPr>
            <p:txBody>
              <a:bodyPr rtlCol="0" anchor="ctr"/>
              <a:lstStyle/>
              <a:p>
                <a:endParaRPr lang="en-GB" dirty="0"/>
              </a:p>
            </p:txBody>
          </p:sp>
        </p:grpSp>
      </p:grpSp>
      <p:grpSp>
        <p:nvGrpSpPr>
          <p:cNvPr id="22" name="Group 21">
            <a:extLst>
              <a:ext uri="{FF2B5EF4-FFF2-40B4-BE49-F238E27FC236}">
                <a16:creationId xmlns:a16="http://schemas.microsoft.com/office/drawing/2014/main" id="{B733D693-729D-1FAB-4A02-61A2C7CD0673}"/>
              </a:ext>
            </a:extLst>
          </p:cNvPr>
          <p:cNvGrpSpPr/>
          <p:nvPr/>
        </p:nvGrpSpPr>
        <p:grpSpPr>
          <a:xfrm>
            <a:off x="3729480" y="1585984"/>
            <a:ext cx="455745" cy="432000"/>
            <a:chOff x="3729480" y="1585984"/>
            <a:chExt cx="455745" cy="432000"/>
          </a:xfrm>
        </p:grpSpPr>
        <p:grpSp>
          <p:nvGrpSpPr>
            <p:cNvPr id="126" name="Group 125">
              <a:extLst>
                <a:ext uri="{FF2B5EF4-FFF2-40B4-BE49-F238E27FC236}">
                  <a16:creationId xmlns:a16="http://schemas.microsoft.com/office/drawing/2014/main" id="{15123EF9-B5E5-40B3-8DA8-3C9D54FED878}"/>
                </a:ext>
              </a:extLst>
            </p:cNvPr>
            <p:cNvGrpSpPr/>
            <p:nvPr/>
          </p:nvGrpSpPr>
          <p:grpSpPr>
            <a:xfrm>
              <a:off x="3766432" y="1686230"/>
              <a:ext cx="324125" cy="226334"/>
              <a:chOff x="2547469" y="3351285"/>
              <a:chExt cx="347388" cy="242579"/>
            </a:xfrm>
            <a:solidFill>
              <a:schemeClr val="accent1"/>
            </a:solidFill>
          </p:grpSpPr>
          <p:sp>
            <p:nvSpPr>
              <p:cNvPr id="134" name="Freihandform: Form 538">
                <a:extLst>
                  <a:ext uri="{FF2B5EF4-FFF2-40B4-BE49-F238E27FC236}">
                    <a16:creationId xmlns:a16="http://schemas.microsoft.com/office/drawing/2014/main" id="{6C242501-E60F-43A1-830D-F65DE722B581}"/>
                  </a:ext>
                </a:extLst>
              </p:cNvPr>
              <p:cNvSpPr/>
              <p:nvPr/>
            </p:nvSpPr>
            <p:spPr>
              <a:xfrm>
                <a:off x="2771975" y="3381394"/>
                <a:ext cx="94402" cy="124959"/>
              </a:xfrm>
              <a:custGeom>
                <a:avLst/>
                <a:gdLst>
                  <a:gd name="connsiteX0" fmla="*/ 6601 w 94402"/>
                  <a:gd name="connsiteY0" fmla="*/ 124960 h 124959"/>
                  <a:gd name="connsiteX1" fmla="*/ 2717 w 94402"/>
                  <a:gd name="connsiteY1" fmla="*/ 123708 h 124959"/>
                  <a:gd name="connsiteX2" fmla="*/ 1261 w 94402"/>
                  <a:gd name="connsiteY2" fmla="*/ 114484 h 124959"/>
                  <a:gd name="connsiteX3" fmla="*/ 82461 w 94402"/>
                  <a:gd name="connsiteY3" fmla="*/ 2725 h 124959"/>
                  <a:gd name="connsiteX4" fmla="*/ 91685 w 94402"/>
                  <a:gd name="connsiteY4" fmla="*/ 1268 h 124959"/>
                  <a:gd name="connsiteX5" fmla="*/ 93142 w 94402"/>
                  <a:gd name="connsiteY5" fmla="*/ 10492 h 124959"/>
                  <a:gd name="connsiteX6" fmla="*/ 11941 w 94402"/>
                  <a:gd name="connsiteY6" fmla="*/ 122251 h 124959"/>
                  <a:gd name="connsiteX7" fmla="*/ 6601 w 94402"/>
                  <a:gd name="connsiteY7" fmla="*/ 124960 h 124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402" h="124959">
                    <a:moveTo>
                      <a:pt x="6601" y="124960"/>
                    </a:moveTo>
                    <a:cubicBezTo>
                      <a:pt x="5247" y="124960"/>
                      <a:pt x="3893" y="124551"/>
                      <a:pt x="2717" y="123708"/>
                    </a:cubicBezTo>
                    <a:cubicBezTo>
                      <a:pt x="-221" y="121561"/>
                      <a:pt x="-885" y="117448"/>
                      <a:pt x="1261" y="114484"/>
                    </a:cubicBezTo>
                    <a:lnTo>
                      <a:pt x="82461" y="2725"/>
                    </a:lnTo>
                    <a:cubicBezTo>
                      <a:pt x="84582" y="-239"/>
                      <a:pt x="88721" y="-878"/>
                      <a:pt x="91685" y="1268"/>
                    </a:cubicBezTo>
                    <a:cubicBezTo>
                      <a:pt x="94624" y="3414"/>
                      <a:pt x="95288" y="7528"/>
                      <a:pt x="93142" y="10492"/>
                    </a:cubicBezTo>
                    <a:lnTo>
                      <a:pt x="11941" y="122251"/>
                    </a:lnTo>
                    <a:cubicBezTo>
                      <a:pt x="10664" y="124014"/>
                      <a:pt x="8645" y="124960"/>
                      <a:pt x="6601" y="124960"/>
                    </a:cubicBezTo>
                    <a:close/>
                  </a:path>
                </a:pathLst>
              </a:custGeom>
              <a:solidFill>
                <a:schemeClr val="accent1"/>
              </a:solidFill>
              <a:ln w="2555" cap="flat">
                <a:noFill/>
                <a:prstDash val="solid"/>
                <a:miter/>
              </a:ln>
            </p:spPr>
            <p:txBody>
              <a:bodyPr rtlCol="0" anchor="ctr"/>
              <a:lstStyle/>
              <a:p>
                <a:endParaRPr lang="en-GB" dirty="0"/>
              </a:p>
            </p:txBody>
          </p:sp>
          <p:sp>
            <p:nvSpPr>
              <p:cNvPr id="135" name="Freihandform: Form 539">
                <a:extLst>
                  <a:ext uri="{FF2B5EF4-FFF2-40B4-BE49-F238E27FC236}">
                    <a16:creationId xmlns:a16="http://schemas.microsoft.com/office/drawing/2014/main" id="{62E9BDDF-AF4B-4DBD-B886-31543A85C13F}"/>
                  </a:ext>
                </a:extLst>
              </p:cNvPr>
              <p:cNvSpPr/>
              <p:nvPr/>
            </p:nvSpPr>
            <p:spPr>
              <a:xfrm>
                <a:off x="2677821" y="3460189"/>
                <a:ext cx="79914" cy="50048"/>
              </a:xfrm>
              <a:custGeom>
                <a:avLst/>
                <a:gdLst>
                  <a:gd name="connsiteX0" fmla="*/ 73314 w 79914"/>
                  <a:gd name="connsiteY0" fmla="*/ 50048 h 50048"/>
                  <a:gd name="connsiteX1" fmla="*/ 70120 w 79914"/>
                  <a:gd name="connsiteY1" fmla="*/ 49231 h 50048"/>
                  <a:gd name="connsiteX2" fmla="*/ 3407 w 79914"/>
                  <a:gd name="connsiteY2" fmla="*/ 12386 h 50048"/>
                  <a:gd name="connsiteX3" fmla="*/ 826 w 79914"/>
                  <a:gd name="connsiteY3" fmla="*/ 3418 h 50048"/>
                  <a:gd name="connsiteX4" fmla="*/ 9795 w 79914"/>
                  <a:gd name="connsiteY4" fmla="*/ 838 h 50048"/>
                  <a:gd name="connsiteX5" fmla="*/ 76508 w 79914"/>
                  <a:gd name="connsiteY5" fmla="*/ 37682 h 50048"/>
                  <a:gd name="connsiteX6" fmla="*/ 79088 w 79914"/>
                  <a:gd name="connsiteY6" fmla="*/ 46650 h 50048"/>
                  <a:gd name="connsiteX7" fmla="*/ 73314 w 79914"/>
                  <a:gd name="connsiteY7" fmla="*/ 50048 h 50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914" h="50048">
                    <a:moveTo>
                      <a:pt x="73314" y="50048"/>
                    </a:moveTo>
                    <a:cubicBezTo>
                      <a:pt x="72241" y="50048"/>
                      <a:pt x="71142" y="49793"/>
                      <a:pt x="70120" y="49231"/>
                    </a:cubicBezTo>
                    <a:lnTo>
                      <a:pt x="3407" y="12386"/>
                    </a:lnTo>
                    <a:cubicBezTo>
                      <a:pt x="213" y="10623"/>
                      <a:pt x="-937" y="6612"/>
                      <a:pt x="826" y="3418"/>
                    </a:cubicBezTo>
                    <a:cubicBezTo>
                      <a:pt x="2589" y="224"/>
                      <a:pt x="6601" y="-951"/>
                      <a:pt x="9795" y="838"/>
                    </a:cubicBezTo>
                    <a:lnTo>
                      <a:pt x="76508" y="37682"/>
                    </a:lnTo>
                    <a:cubicBezTo>
                      <a:pt x="79702" y="39445"/>
                      <a:pt x="80851" y="43456"/>
                      <a:pt x="79088" y="46650"/>
                    </a:cubicBezTo>
                    <a:cubicBezTo>
                      <a:pt x="77913" y="48822"/>
                      <a:pt x="75639" y="50048"/>
                      <a:pt x="73314" y="50048"/>
                    </a:cubicBezTo>
                    <a:close/>
                  </a:path>
                </a:pathLst>
              </a:custGeom>
              <a:solidFill>
                <a:schemeClr val="accent1"/>
              </a:solidFill>
              <a:ln w="2555" cap="flat">
                <a:noFill/>
                <a:prstDash val="solid"/>
                <a:miter/>
              </a:ln>
            </p:spPr>
            <p:txBody>
              <a:bodyPr rtlCol="0" anchor="ctr"/>
              <a:lstStyle/>
              <a:p>
                <a:endParaRPr lang="en-GB" dirty="0"/>
              </a:p>
            </p:txBody>
          </p:sp>
          <p:sp>
            <p:nvSpPr>
              <p:cNvPr id="136" name="Freihandform: Form 540">
                <a:extLst>
                  <a:ext uri="{FF2B5EF4-FFF2-40B4-BE49-F238E27FC236}">
                    <a16:creationId xmlns:a16="http://schemas.microsoft.com/office/drawing/2014/main" id="{A5A28F08-9E00-41A0-BEC9-77E898C2D955}"/>
                  </a:ext>
                </a:extLst>
              </p:cNvPr>
              <p:cNvSpPr/>
              <p:nvPr/>
            </p:nvSpPr>
            <p:spPr>
              <a:xfrm>
                <a:off x="2576359" y="3468479"/>
                <a:ext cx="86633" cy="95696"/>
              </a:xfrm>
              <a:custGeom>
                <a:avLst/>
                <a:gdLst>
                  <a:gd name="connsiteX0" fmla="*/ 6600 w 86633"/>
                  <a:gd name="connsiteY0" fmla="*/ 95696 h 95696"/>
                  <a:gd name="connsiteX1" fmla="*/ 2206 w 86633"/>
                  <a:gd name="connsiteY1" fmla="*/ 94035 h 95696"/>
                  <a:gd name="connsiteX2" fmla="*/ 1669 w 86633"/>
                  <a:gd name="connsiteY2" fmla="*/ 84709 h 95696"/>
                  <a:gd name="connsiteX3" fmla="*/ 75102 w 86633"/>
                  <a:gd name="connsiteY3" fmla="*/ 2206 h 95696"/>
                  <a:gd name="connsiteX4" fmla="*/ 84428 w 86633"/>
                  <a:gd name="connsiteY4" fmla="*/ 1669 h 95696"/>
                  <a:gd name="connsiteX5" fmla="*/ 84965 w 86633"/>
                  <a:gd name="connsiteY5" fmla="*/ 10995 h 95696"/>
                  <a:gd name="connsiteX6" fmla="*/ 11532 w 86633"/>
                  <a:gd name="connsiteY6" fmla="*/ 93499 h 95696"/>
                  <a:gd name="connsiteX7" fmla="*/ 6600 w 86633"/>
                  <a:gd name="connsiteY7" fmla="*/ 95696 h 9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633" h="95696">
                    <a:moveTo>
                      <a:pt x="6600" y="95696"/>
                    </a:moveTo>
                    <a:cubicBezTo>
                      <a:pt x="5042" y="95696"/>
                      <a:pt x="3458" y="95160"/>
                      <a:pt x="2206" y="94035"/>
                    </a:cubicBezTo>
                    <a:cubicBezTo>
                      <a:pt x="-503" y="91608"/>
                      <a:pt x="-758" y="87443"/>
                      <a:pt x="1669" y="84709"/>
                    </a:cubicBezTo>
                    <a:lnTo>
                      <a:pt x="75102" y="2206"/>
                    </a:lnTo>
                    <a:cubicBezTo>
                      <a:pt x="77529" y="-503"/>
                      <a:pt x="81694" y="-758"/>
                      <a:pt x="84428" y="1669"/>
                    </a:cubicBezTo>
                    <a:cubicBezTo>
                      <a:pt x="87137" y="4096"/>
                      <a:pt x="87392" y="8261"/>
                      <a:pt x="84965" y="10995"/>
                    </a:cubicBezTo>
                    <a:lnTo>
                      <a:pt x="11532" y="93499"/>
                    </a:lnTo>
                    <a:cubicBezTo>
                      <a:pt x="10229" y="94930"/>
                      <a:pt x="8414" y="95696"/>
                      <a:pt x="6600" y="95696"/>
                    </a:cubicBezTo>
                    <a:close/>
                  </a:path>
                </a:pathLst>
              </a:custGeom>
              <a:solidFill>
                <a:schemeClr val="accent1"/>
              </a:solidFill>
              <a:ln w="2555" cap="flat">
                <a:noFill/>
                <a:prstDash val="solid"/>
                <a:miter/>
              </a:ln>
            </p:spPr>
            <p:txBody>
              <a:bodyPr rtlCol="0" anchor="ctr"/>
              <a:lstStyle/>
              <a:p>
                <a:endParaRPr lang="en-GB" dirty="0"/>
              </a:p>
            </p:txBody>
          </p:sp>
          <p:sp>
            <p:nvSpPr>
              <p:cNvPr id="137" name="Freihandform: Form 541">
                <a:extLst>
                  <a:ext uri="{FF2B5EF4-FFF2-40B4-BE49-F238E27FC236}">
                    <a16:creationId xmlns:a16="http://schemas.microsoft.com/office/drawing/2014/main" id="{C99D04E7-3EB7-431E-9E65-0908CB1910BC}"/>
                  </a:ext>
                </a:extLst>
              </p:cNvPr>
              <p:cNvSpPr/>
              <p:nvPr/>
            </p:nvSpPr>
            <p:spPr>
              <a:xfrm>
                <a:off x="2547469" y="3547669"/>
                <a:ext cx="46195" cy="46195"/>
              </a:xfrm>
              <a:custGeom>
                <a:avLst/>
                <a:gdLst>
                  <a:gd name="connsiteX0" fmla="*/ 23098 w 46195"/>
                  <a:gd name="connsiteY0" fmla="*/ 46196 h 46195"/>
                  <a:gd name="connsiteX1" fmla="*/ 0 w 46195"/>
                  <a:gd name="connsiteY1" fmla="*/ 23098 h 46195"/>
                  <a:gd name="connsiteX2" fmla="*/ 23098 w 46195"/>
                  <a:gd name="connsiteY2" fmla="*/ 0 h 46195"/>
                  <a:gd name="connsiteX3" fmla="*/ 46196 w 46195"/>
                  <a:gd name="connsiteY3" fmla="*/ 23098 h 46195"/>
                  <a:gd name="connsiteX4" fmla="*/ 23098 w 46195"/>
                  <a:gd name="connsiteY4" fmla="*/ 46196 h 46195"/>
                  <a:gd name="connsiteX5" fmla="*/ 23098 w 46195"/>
                  <a:gd name="connsiteY5" fmla="*/ 13184 h 46195"/>
                  <a:gd name="connsiteX6" fmla="*/ 13184 w 46195"/>
                  <a:gd name="connsiteY6" fmla="*/ 23098 h 46195"/>
                  <a:gd name="connsiteX7" fmla="*/ 23098 w 46195"/>
                  <a:gd name="connsiteY7" fmla="*/ 33012 h 46195"/>
                  <a:gd name="connsiteX8" fmla="*/ 33012 w 46195"/>
                  <a:gd name="connsiteY8" fmla="*/ 23098 h 46195"/>
                  <a:gd name="connsiteX9" fmla="*/ 23098 w 46195"/>
                  <a:gd name="connsiteY9" fmla="*/ 13184 h 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95" h="46195">
                    <a:moveTo>
                      <a:pt x="23098" y="46196"/>
                    </a:moveTo>
                    <a:cubicBezTo>
                      <a:pt x="10348" y="46196"/>
                      <a:pt x="0" y="35822"/>
                      <a:pt x="0" y="23098"/>
                    </a:cubicBezTo>
                    <a:cubicBezTo>
                      <a:pt x="0" y="10348"/>
                      <a:pt x="10374" y="0"/>
                      <a:pt x="23098" y="0"/>
                    </a:cubicBezTo>
                    <a:cubicBezTo>
                      <a:pt x="35848" y="0"/>
                      <a:pt x="46196" y="10374"/>
                      <a:pt x="46196" y="23098"/>
                    </a:cubicBezTo>
                    <a:cubicBezTo>
                      <a:pt x="46221" y="35848"/>
                      <a:pt x="35848" y="46196"/>
                      <a:pt x="23098" y="46196"/>
                    </a:cubicBezTo>
                    <a:close/>
                    <a:moveTo>
                      <a:pt x="23098" y="13184"/>
                    </a:moveTo>
                    <a:cubicBezTo>
                      <a:pt x="17630" y="13184"/>
                      <a:pt x="13184" y="17630"/>
                      <a:pt x="13184" y="23098"/>
                    </a:cubicBezTo>
                    <a:cubicBezTo>
                      <a:pt x="13184" y="28566"/>
                      <a:pt x="17630" y="33012"/>
                      <a:pt x="23098" y="33012"/>
                    </a:cubicBezTo>
                    <a:cubicBezTo>
                      <a:pt x="28566" y="33012"/>
                      <a:pt x="33012" y="28566"/>
                      <a:pt x="33012" y="23098"/>
                    </a:cubicBezTo>
                    <a:cubicBezTo>
                      <a:pt x="33012" y="17630"/>
                      <a:pt x="28566" y="13184"/>
                      <a:pt x="23098" y="13184"/>
                    </a:cubicBezTo>
                    <a:close/>
                  </a:path>
                </a:pathLst>
              </a:custGeom>
              <a:solidFill>
                <a:schemeClr val="accent1"/>
              </a:solidFill>
              <a:ln w="2555" cap="flat">
                <a:noFill/>
                <a:prstDash val="solid"/>
                <a:miter/>
              </a:ln>
            </p:spPr>
            <p:txBody>
              <a:bodyPr rtlCol="0" anchor="ctr"/>
              <a:lstStyle/>
              <a:p>
                <a:endParaRPr lang="en-GB" dirty="0"/>
              </a:p>
            </p:txBody>
          </p:sp>
          <p:sp>
            <p:nvSpPr>
              <p:cNvPr id="138" name="Freihandform: Form 542">
                <a:extLst>
                  <a:ext uri="{FF2B5EF4-FFF2-40B4-BE49-F238E27FC236}">
                    <a16:creationId xmlns:a16="http://schemas.microsoft.com/office/drawing/2014/main" id="{E408D924-8316-42D7-9845-43AE4655D29D}"/>
                  </a:ext>
                </a:extLst>
              </p:cNvPr>
              <p:cNvSpPr/>
              <p:nvPr/>
            </p:nvSpPr>
            <p:spPr>
              <a:xfrm>
                <a:off x="2848662" y="3351285"/>
                <a:ext cx="46195" cy="46195"/>
              </a:xfrm>
              <a:custGeom>
                <a:avLst/>
                <a:gdLst>
                  <a:gd name="connsiteX0" fmla="*/ 23098 w 46195"/>
                  <a:gd name="connsiteY0" fmla="*/ 46196 h 46195"/>
                  <a:gd name="connsiteX1" fmla="*/ 0 w 46195"/>
                  <a:gd name="connsiteY1" fmla="*/ 23098 h 46195"/>
                  <a:gd name="connsiteX2" fmla="*/ 23098 w 46195"/>
                  <a:gd name="connsiteY2" fmla="*/ 0 h 46195"/>
                  <a:gd name="connsiteX3" fmla="*/ 46196 w 46195"/>
                  <a:gd name="connsiteY3" fmla="*/ 23098 h 46195"/>
                  <a:gd name="connsiteX4" fmla="*/ 23098 w 46195"/>
                  <a:gd name="connsiteY4" fmla="*/ 46196 h 46195"/>
                  <a:gd name="connsiteX5" fmla="*/ 23098 w 46195"/>
                  <a:gd name="connsiteY5" fmla="*/ 13210 h 46195"/>
                  <a:gd name="connsiteX6" fmla="*/ 13184 w 46195"/>
                  <a:gd name="connsiteY6" fmla="*/ 23123 h 46195"/>
                  <a:gd name="connsiteX7" fmla="*/ 23098 w 46195"/>
                  <a:gd name="connsiteY7" fmla="*/ 33037 h 46195"/>
                  <a:gd name="connsiteX8" fmla="*/ 33012 w 46195"/>
                  <a:gd name="connsiteY8" fmla="*/ 23123 h 46195"/>
                  <a:gd name="connsiteX9" fmla="*/ 23098 w 46195"/>
                  <a:gd name="connsiteY9" fmla="*/ 13210 h 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95" h="46195">
                    <a:moveTo>
                      <a:pt x="23098" y="46196"/>
                    </a:moveTo>
                    <a:cubicBezTo>
                      <a:pt x="10348" y="46196"/>
                      <a:pt x="0" y="35822"/>
                      <a:pt x="0" y="23098"/>
                    </a:cubicBezTo>
                    <a:cubicBezTo>
                      <a:pt x="0" y="10348"/>
                      <a:pt x="10374" y="0"/>
                      <a:pt x="23098" y="0"/>
                    </a:cubicBezTo>
                    <a:cubicBezTo>
                      <a:pt x="35848" y="0"/>
                      <a:pt x="46196" y="10374"/>
                      <a:pt x="46196" y="23098"/>
                    </a:cubicBezTo>
                    <a:cubicBezTo>
                      <a:pt x="46196" y="35848"/>
                      <a:pt x="35822" y="46196"/>
                      <a:pt x="23098" y="46196"/>
                    </a:cubicBezTo>
                    <a:close/>
                    <a:moveTo>
                      <a:pt x="23098" y="13210"/>
                    </a:moveTo>
                    <a:cubicBezTo>
                      <a:pt x="17630" y="13210"/>
                      <a:pt x="13184" y="17656"/>
                      <a:pt x="13184" y="23123"/>
                    </a:cubicBezTo>
                    <a:cubicBezTo>
                      <a:pt x="13184" y="28591"/>
                      <a:pt x="17630" y="33037"/>
                      <a:pt x="23098" y="33037"/>
                    </a:cubicBezTo>
                    <a:cubicBezTo>
                      <a:pt x="28566" y="33037"/>
                      <a:pt x="33012" y="28591"/>
                      <a:pt x="33012" y="23123"/>
                    </a:cubicBezTo>
                    <a:cubicBezTo>
                      <a:pt x="32986" y="17630"/>
                      <a:pt x="28540" y="13210"/>
                      <a:pt x="23098" y="13210"/>
                    </a:cubicBezTo>
                    <a:close/>
                  </a:path>
                </a:pathLst>
              </a:custGeom>
              <a:solidFill>
                <a:schemeClr val="accent1"/>
              </a:solidFill>
              <a:ln w="2555" cap="flat">
                <a:noFill/>
                <a:prstDash val="solid"/>
                <a:miter/>
              </a:ln>
            </p:spPr>
            <p:txBody>
              <a:bodyPr rtlCol="0" anchor="ctr"/>
              <a:lstStyle/>
              <a:p>
                <a:endParaRPr lang="en-GB" dirty="0"/>
              </a:p>
            </p:txBody>
          </p:sp>
          <p:sp>
            <p:nvSpPr>
              <p:cNvPr id="139" name="Freihandform: Form 543">
                <a:extLst>
                  <a:ext uri="{FF2B5EF4-FFF2-40B4-BE49-F238E27FC236}">
                    <a16:creationId xmlns:a16="http://schemas.microsoft.com/office/drawing/2014/main" id="{990CA0C3-B137-49E8-B342-407E7901CEE2}"/>
                  </a:ext>
                </a:extLst>
              </p:cNvPr>
              <p:cNvSpPr/>
              <p:nvPr/>
            </p:nvSpPr>
            <p:spPr>
              <a:xfrm>
                <a:off x="2643182" y="3438746"/>
                <a:ext cx="46195" cy="46195"/>
              </a:xfrm>
              <a:custGeom>
                <a:avLst/>
                <a:gdLst>
                  <a:gd name="connsiteX0" fmla="*/ 23098 w 46195"/>
                  <a:gd name="connsiteY0" fmla="*/ 46196 h 46195"/>
                  <a:gd name="connsiteX1" fmla="*/ 0 w 46195"/>
                  <a:gd name="connsiteY1" fmla="*/ 23098 h 46195"/>
                  <a:gd name="connsiteX2" fmla="*/ 23098 w 46195"/>
                  <a:gd name="connsiteY2" fmla="*/ 0 h 46195"/>
                  <a:gd name="connsiteX3" fmla="*/ 46196 w 46195"/>
                  <a:gd name="connsiteY3" fmla="*/ 23098 h 46195"/>
                  <a:gd name="connsiteX4" fmla="*/ 23098 w 46195"/>
                  <a:gd name="connsiteY4" fmla="*/ 46196 h 46195"/>
                  <a:gd name="connsiteX5" fmla="*/ 23098 w 46195"/>
                  <a:gd name="connsiteY5" fmla="*/ 13210 h 46195"/>
                  <a:gd name="connsiteX6" fmla="*/ 13184 w 46195"/>
                  <a:gd name="connsiteY6" fmla="*/ 23123 h 46195"/>
                  <a:gd name="connsiteX7" fmla="*/ 23098 w 46195"/>
                  <a:gd name="connsiteY7" fmla="*/ 33037 h 46195"/>
                  <a:gd name="connsiteX8" fmla="*/ 33012 w 46195"/>
                  <a:gd name="connsiteY8" fmla="*/ 23123 h 46195"/>
                  <a:gd name="connsiteX9" fmla="*/ 23098 w 46195"/>
                  <a:gd name="connsiteY9" fmla="*/ 13210 h 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95" h="46195">
                    <a:moveTo>
                      <a:pt x="23098" y="46196"/>
                    </a:moveTo>
                    <a:cubicBezTo>
                      <a:pt x="10348" y="46196"/>
                      <a:pt x="0" y="35822"/>
                      <a:pt x="0" y="23098"/>
                    </a:cubicBezTo>
                    <a:cubicBezTo>
                      <a:pt x="0" y="10348"/>
                      <a:pt x="10374" y="0"/>
                      <a:pt x="23098" y="0"/>
                    </a:cubicBezTo>
                    <a:cubicBezTo>
                      <a:pt x="35848" y="0"/>
                      <a:pt x="46196" y="10374"/>
                      <a:pt x="46196" y="23098"/>
                    </a:cubicBezTo>
                    <a:cubicBezTo>
                      <a:pt x="46222" y="35848"/>
                      <a:pt x="35848" y="46196"/>
                      <a:pt x="23098" y="46196"/>
                    </a:cubicBezTo>
                    <a:close/>
                    <a:moveTo>
                      <a:pt x="23098" y="13210"/>
                    </a:moveTo>
                    <a:cubicBezTo>
                      <a:pt x="17630" y="13210"/>
                      <a:pt x="13184" y="17656"/>
                      <a:pt x="13184" y="23123"/>
                    </a:cubicBezTo>
                    <a:cubicBezTo>
                      <a:pt x="13184" y="28591"/>
                      <a:pt x="17630" y="33037"/>
                      <a:pt x="23098" y="33037"/>
                    </a:cubicBezTo>
                    <a:cubicBezTo>
                      <a:pt x="28566" y="33037"/>
                      <a:pt x="33012" y="28591"/>
                      <a:pt x="33012" y="23123"/>
                    </a:cubicBezTo>
                    <a:cubicBezTo>
                      <a:pt x="33012" y="17656"/>
                      <a:pt x="28566" y="13210"/>
                      <a:pt x="23098" y="13210"/>
                    </a:cubicBezTo>
                    <a:close/>
                  </a:path>
                </a:pathLst>
              </a:custGeom>
              <a:solidFill>
                <a:schemeClr val="accent1"/>
              </a:solidFill>
              <a:ln w="2555" cap="flat">
                <a:noFill/>
                <a:prstDash val="solid"/>
                <a:miter/>
              </a:ln>
            </p:spPr>
            <p:txBody>
              <a:bodyPr rtlCol="0" anchor="ctr"/>
              <a:lstStyle/>
              <a:p>
                <a:endParaRPr lang="en-GB" dirty="0"/>
              </a:p>
            </p:txBody>
          </p:sp>
          <p:sp>
            <p:nvSpPr>
              <p:cNvPr id="140" name="Freihandform: Form 544">
                <a:extLst>
                  <a:ext uri="{FF2B5EF4-FFF2-40B4-BE49-F238E27FC236}">
                    <a16:creationId xmlns:a16="http://schemas.microsoft.com/office/drawing/2014/main" id="{74B37B3B-0658-4C52-B680-801B62D286F8}"/>
                  </a:ext>
                </a:extLst>
              </p:cNvPr>
              <p:cNvSpPr/>
              <p:nvPr/>
            </p:nvSpPr>
            <p:spPr>
              <a:xfrm>
                <a:off x="2742217" y="3489081"/>
                <a:ext cx="46195" cy="46195"/>
              </a:xfrm>
              <a:custGeom>
                <a:avLst/>
                <a:gdLst>
                  <a:gd name="connsiteX0" fmla="*/ 23098 w 46195"/>
                  <a:gd name="connsiteY0" fmla="*/ 46196 h 46195"/>
                  <a:gd name="connsiteX1" fmla="*/ 0 w 46195"/>
                  <a:gd name="connsiteY1" fmla="*/ 23098 h 46195"/>
                  <a:gd name="connsiteX2" fmla="*/ 23098 w 46195"/>
                  <a:gd name="connsiteY2" fmla="*/ 0 h 46195"/>
                  <a:gd name="connsiteX3" fmla="*/ 46196 w 46195"/>
                  <a:gd name="connsiteY3" fmla="*/ 23098 h 46195"/>
                  <a:gd name="connsiteX4" fmla="*/ 23098 w 46195"/>
                  <a:gd name="connsiteY4" fmla="*/ 46196 h 46195"/>
                  <a:gd name="connsiteX5" fmla="*/ 23098 w 46195"/>
                  <a:gd name="connsiteY5" fmla="*/ 13210 h 46195"/>
                  <a:gd name="connsiteX6" fmla="*/ 13184 w 46195"/>
                  <a:gd name="connsiteY6" fmla="*/ 23123 h 46195"/>
                  <a:gd name="connsiteX7" fmla="*/ 23098 w 46195"/>
                  <a:gd name="connsiteY7" fmla="*/ 33037 h 46195"/>
                  <a:gd name="connsiteX8" fmla="*/ 33012 w 46195"/>
                  <a:gd name="connsiteY8" fmla="*/ 23123 h 46195"/>
                  <a:gd name="connsiteX9" fmla="*/ 23098 w 46195"/>
                  <a:gd name="connsiteY9" fmla="*/ 13210 h 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195" h="46195">
                    <a:moveTo>
                      <a:pt x="23098" y="46196"/>
                    </a:moveTo>
                    <a:cubicBezTo>
                      <a:pt x="10348" y="46196"/>
                      <a:pt x="0" y="35822"/>
                      <a:pt x="0" y="23098"/>
                    </a:cubicBezTo>
                    <a:cubicBezTo>
                      <a:pt x="0" y="10348"/>
                      <a:pt x="10374" y="0"/>
                      <a:pt x="23098" y="0"/>
                    </a:cubicBezTo>
                    <a:cubicBezTo>
                      <a:pt x="35848" y="0"/>
                      <a:pt x="46196" y="10374"/>
                      <a:pt x="46196" y="23098"/>
                    </a:cubicBezTo>
                    <a:cubicBezTo>
                      <a:pt x="46196" y="35848"/>
                      <a:pt x="35822" y="46196"/>
                      <a:pt x="23098" y="46196"/>
                    </a:cubicBezTo>
                    <a:close/>
                    <a:moveTo>
                      <a:pt x="23098" y="13210"/>
                    </a:moveTo>
                    <a:cubicBezTo>
                      <a:pt x="17630" y="13210"/>
                      <a:pt x="13184" y="17656"/>
                      <a:pt x="13184" y="23123"/>
                    </a:cubicBezTo>
                    <a:cubicBezTo>
                      <a:pt x="13184" y="28591"/>
                      <a:pt x="17630" y="33037"/>
                      <a:pt x="23098" y="33037"/>
                    </a:cubicBezTo>
                    <a:cubicBezTo>
                      <a:pt x="28566" y="33037"/>
                      <a:pt x="33012" y="28591"/>
                      <a:pt x="33012" y="23123"/>
                    </a:cubicBezTo>
                    <a:cubicBezTo>
                      <a:pt x="32986" y="17630"/>
                      <a:pt x="28540" y="13210"/>
                      <a:pt x="23098" y="13210"/>
                    </a:cubicBezTo>
                    <a:close/>
                  </a:path>
                </a:pathLst>
              </a:custGeom>
              <a:solidFill>
                <a:schemeClr val="accent1"/>
              </a:solidFill>
              <a:ln w="2555" cap="flat">
                <a:noFill/>
                <a:prstDash val="solid"/>
                <a:miter/>
              </a:ln>
            </p:spPr>
            <p:txBody>
              <a:bodyPr rtlCol="0" anchor="ctr"/>
              <a:lstStyle/>
              <a:p>
                <a:endParaRPr lang="en-GB" dirty="0"/>
              </a:p>
            </p:txBody>
          </p:sp>
        </p:grpSp>
        <p:grpSp>
          <p:nvGrpSpPr>
            <p:cNvPr id="127" name="Group 126">
              <a:extLst>
                <a:ext uri="{FF2B5EF4-FFF2-40B4-BE49-F238E27FC236}">
                  <a16:creationId xmlns:a16="http://schemas.microsoft.com/office/drawing/2014/main" id="{1373F471-1C8C-4D0F-B495-1758134F39EF}"/>
                </a:ext>
              </a:extLst>
            </p:cNvPr>
            <p:cNvGrpSpPr/>
            <p:nvPr/>
          </p:nvGrpSpPr>
          <p:grpSpPr>
            <a:xfrm>
              <a:off x="3729480" y="1585984"/>
              <a:ext cx="455745" cy="432000"/>
              <a:chOff x="2507865" y="3243844"/>
              <a:chExt cx="488455" cy="463006"/>
            </a:xfrm>
            <a:solidFill>
              <a:schemeClr val="tx2"/>
            </a:solidFill>
          </p:grpSpPr>
          <p:sp>
            <p:nvSpPr>
              <p:cNvPr id="128" name="Freihandform: Form 545">
                <a:extLst>
                  <a:ext uri="{FF2B5EF4-FFF2-40B4-BE49-F238E27FC236}">
                    <a16:creationId xmlns:a16="http://schemas.microsoft.com/office/drawing/2014/main" id="{5292A382-3027-40E9-819A-5493B97CFC9C}"/>
                  </a:ext>
                </a:extLst>
              </p:cNvPr>
              <p:cNvSpPr/>
              <p:nvPr/>
            </p:nvSpPr>
            <p:spPr>
              <a:xfrm>
                <a:off x="2600372" y="3349739"/>
                <a:ext cx="250730" cy="250717"/>
              </a:xfrm>
              <a:custGeom>
                <a:avLst/>
                <a:gdLst>
                  <a:gd name="connsiteX0" fmla="*/ 125365 w 250730"/>
                  <a:gd name="connsiteY0" fmla="*/ 250718 h 250717"/>
                  <a:gd name="connsiteX1" fmla="*/ 36678 w 250730"/>
                  <a:gd name="connsiteY1" fmla="*/ 214052 h 250717"/>
                  <a:gd name="connsiteX2" fmla="*/ 36678 w 250730"/>
                  <a:gd name="connsiteY2" fmla="*/ 214052 h 250717"/>
                  <a:gd name="connsiteX3" fmla="*/ 36678 w 250730"/>
                  <a:gd name="connsiteY3" fmla="*/ 36678 h 250717"/>
                  <a:gd name="connsiteX4" fmla="*/ 214052 w 250730"/>
                  <a:gd name="connsiteY4" fmla="*/ 36678 h 250717"/>
                  <a:gd name="connsiteX5" fmla="*/ 214052 w 250730"/>
                  <a:gd name="connsiteY5" fmla="*/ 214052 h 250717"/>
                  <a:gd name="connsiteX6" fmla="*/ 125365 w 250730"/>
                  <a:gd name="connsiteY6" fmla="*/ 250718 h 250717"/>
                  <a:gd name="connsiteX7" fmla="*/ 46004 w 250730"/>
                  <a:gd name="connsiteY7" fmla="*/ 204701 h 250717"/>
                  <a:gd name="connsiteX8" fmla="*/ 204701 w 250730"/>
                  <a:gd name="connsiteY8" fmla="*/ 204701 h 250717"/>
                  <a:gd name="connsiteX9" fmla="*/ 204701 w 250730"/>
                  <a:gd name="connsiteY9" fmla="*/ 46004 h 250717"/>
                  <a:gd name="connsiteX10" fmla="*/ 46004 w 250730"/>
                  <a:gd name="connsiteY10" fmla="*/ 46004 h 250717"/>
                  <a:gd name="connsiteX11" fmla="*/ 46004 w 250730"/>
                  <a:gd name="connsiteY11" fmla="*/ 204701 h 250717"/>
                  <a:gd name="connsiteX12" fmla="*/ 46004 w 250730"/>
                  <a:gd name="connsiteY12" fmla="*/ 204701 h 25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730" h="250717">
                    <a:moveTo>
                      <a:pt x="125365" y="250718"/>
                    </a:moveTo>
                    <a:cubicBezTo>
                      <a:pt x="93248" y="250718"/>
                      <a:pt x="61130" y="238504"/>
                      <a:pt x="36678" y="214052"/>
                    </a:cubicBezTo>
                    <a:lnTo>
                      <a:pt x="36678" y="214052"/>
                    </a:lnTo>
                    <a:cubicBezTo>
                      <a:pt x="-12226" y="165148"/>
                      <a:pt x="-12226" y="85583"/>
                      <a:pt x="36678" y="36678"/>
                    </a:cubicBezTo>
                    <a:cubicBezTo>
                      <a:pt x="85583" y="-12226"/>
                      <a:pt x="165148" y="-12226"/>
                      <a:pt x="214052" y="36678"/>
                    </a:cubicBezTo>
                    <a:cubicBezTo>
                      <a:pt x="262956" y="85583"/>
                      <a:pt x="262956" y="165148"/>
                      <a:pt x="214052" y="214052"/>
                    </a:cubicBezTo>
                    <a:cubicBezTo>
                      <a:pt x="189600" y="238479"/>
                      <a:pt x="157483" y="250718"/>
                      <a:pt x="125365" y="250718"/>
                    </a:cubicBezTo>
                    <a:close/>
                    <a:moveTo>
                      <a:pt x="46004" y="204701"/>
                    </a:moveTo>
                    <a:cubicBezTo>
                      <a:pt x="89773" y="248444"/>
                      <a:pt x="160958" y="248444"/>
                      <a:pt x="204701" y="204701"/>
                    </a:cubicBezTo>
                    <a:cubicBezTo>
                      <a:pt x="248444" y="160958"/>
                      <a:pt x="248444" y="89747"/>
                      <a:pt x="204701" y="46004"/>
                    </a:cubicBezTo>
                    <a:cubicBezTo>
                      <a:pt x="160958" y="2236"/>
                      <a:pt x="89747" y="2261"/>
                      <a:pt x="46004" y="46004"/>
                    </a:cubicBezTo>
                    <a:cubicBezTo>
                      <a:pt x="2261" y="89747"/>
                      <a:pt x="2261" y="160958"/>
                      <a:pt x="46004" y="204701"/>
                    </a:cubicBezTo>
                    <a:lnTo>
                      <a:pt x="46004" y="204701"/>
                    </a:lnTo>
                    <a:close/>
                  </a:path>
                </a:pathLst>
              </a:custGeom>
              <a:grpFill/>
              <a:ln w="2555" cap="flat">
                <a:noFill/>
                <a:prstDash val="solid"/>
                <a:miter/>
              </a:ln>
            </p:spPr>
            <p:txBody>
              <a:bodyPr rtlCol="0" anchor="ctr"/>
              <a:lstStyle/>
              <a:p>
                <a:endParaRPr lang="en-GB" dirty="0"/>
              </a:p>
            </p:txBody>
          </p:sp>
          <p:sp>
            <p:nvSpPr>
              <p:cNvPr id="129" name="Freihandform: Form 546">
                <a:extLst>
                  <a:ext uri="{FF2B5EF4-FFF2-40B4-BE49-F238E27FC236}">
                    <a16:creationId xmlns:a16="http://schemas.microsoft.com/office/drawing/2014/main" id="{681D10B5-6366-4C3B-A58D-15821391F361}"/>
                  </a:ext>
                </a:extLst>
              </p:cNvPr>
              <p:cNvSpPr/>
              <p:nvPr/>
            </p:nvSpPr>
            <p:spPr>
              <a:xfrm>
                <a:off x="2833900" y="3583242"/>
                <a:ext cx="123608" cy="123608"/>
              </a:xfrm>
              <a:custGeom>
                <a:avLst/>
                <a:gdLst>
                  <a:gd name="connsiteX0" fmla="*/ 90622 w 123608"/>
                  <a:gd name="connsiteY0" fmla="*/ 123609 h 123608"/>
                  <a:gd name="connsiteX1" fmla="*/ 67295 w 123608"/>
                  <a:gd name="connsiteY1" fmla="*/ 113950 h 123608"/>
                  <a:gd name="connsiteX2" fmla="*/ 67295 w 123608"/>
                  <a:gd name="connsiteY2" fmla="*/ 113950 h 123608"/>
                  <a:gd name="connsiteX3" fmla="*/ 1935 w 123608"/>
                  <a:gd name="connsiteY3" fmla="*/ 48591 h 123608"/>
                  <a:gd name="connsiteX4" fmla="*/ 1935 w 123608"/>
                  <a:gd name="connsiteY4" fmla="*/ 39265 h 123608"/>
                  <a:gd name="connsiteX5" fmla="*/ 39265 w 123608"/>
                  <a:gd name="connsiteY5" fmla="*/ 1935 h 123608"/>
                  <a:gd name="connsiteX6" fmla="*/ 48591 w 123608"/>
                  <a:gd name="connsiteY6" fmla="*/ 1935 h 123608"/>
                  <a:gd name="connsiteX7" fmla="*/ 113950 w 123608"/>
                  <a:gd name="connsiteY7" fmla="*/ 67295 h 123608"/>
                  <a:gd name="connsiteX8" fmla="*/ 113950 w 123608"/>
                  <a:gd name="connsiteY8" fmla="*/ 113976 h 123608"/>
                  <a:gd name="connsiteX9" fmla="*/ 90622 w 123608"/>
                  <a:gd name="connsiteY9" fmla="*/ 123609 h 123608"/>
                  <a:gd name="connsiteX10" fmla="*/ 76621 w 123608"/>
                  <a:gd name="connsiteY10" fmla="*/ 104624 h 123608"/>
                  <a:gd name="connsiteX11" fmla="*/ 104624 w 123608"/>
                  <a:gd name="connsiteY11" fmla="*/ 104624 h 123608"/>
                  <a:gd name="connsiteX12" fmla="*/ 104624 w 123608"/>
                  <a:gd name="connsiteY12" fmla="*/ 76621 h 123608"/>
                  <a:gd name="connsiteX13" fmla="*/ 43941 w 123608"/>
                  <a:gd name="connsiteY13" fmla="*/ 15937 h 123608"/>
                  <a:gd name="connsiteX14" fmla="*/ 15937 w 123608"/>
                  <a:gd name="connsiteY14" fmla="*/ 43941 h 123608"/>
                  <a:gd name="connsiteX15" fmla="*/ 76621 w 123608"/>
                  <a:gd name="connsiteY15" fmla="*/ 104624 h 123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3608" h="123608">
                    <a:moveTo>
                      <a:pt x="90622" y="123609"/>
                    </a:moveTo>
                    <a:cubicBezTo>
                      <a:pt x="82165" y="123609"/>
                      <a:pt x="73708" y="120389"/>
                      <a:pt x="67295" y="113950"/>
                    </a:cubicBezTo>
                    <a:lnTo>
                      <a:pt x="67295" y="113950"/>
                    </a:lnTo>
                    <a:lnTo>
                      <a:pt x="1935" y="48591"/>
                    </a:lnTo>
                    <a:cubicBezTo>
                      <a:pt x="-645" y="46011"/>
                      <a:pt x="-645" y="41846"/>
                      <a:pt x="1935" y="39265"/>
                    </a:cubicBezTo>
                    <a:lnTo>
                      <a:pt x="39265" y="1935"/>
                    </a:lnTo>
                    <a:cubicBezTo>
                      <a:pt x="41846" y="-645"/>
                      <a:pt x="46011" y="-645"/>
                      <a:pt x="48591" y="1935"/>
                    </a:cubicBezTo>
                    <a:lnTo>
                      <a:pt x="113950" y="67295"/>
                    </a:lnTo>
                    <a:cubicBezTo>
                      <a:pt x="126828" y="80172"/>
                      <a:pt x="126828" y="101098"/>
                      <a:pt x="113950" y="113976"/>
                    </a:cubicBezTo>
                    <a:cubicBezTo>
                      <a:pt x="107512" y="120389"/>
                      <a:pt x="99080" y="123609"/>
                      <a:pt x="90622" y="123609"/>
                    </a:cubicBezTo>
                    <a:close/>
                    <a:moveTo>
                      <a:pt x="76621" y="104624"/>
                    </a:moveTo>
                    <a:cubicBezTo>
                      <a:pt x="84363" y="112366"/>
                      <a:pt x="96908" y="112341"/>
                      <a:pt x="104624" y="104624"/>
                    </a:cubicBezTo>
                    <a:cubicBezTo>
                      <a:pt x="112341" y="96908"/>
                      <a:pt x="112341" y="84337"/>
                      <a:pt x="104624" y="76621"/>
                    </a:cubicBezTo>
                    <a:lnTo>
                      <a:pt x="43941" y="15937"/>
                    </a:lnTo>
                    <a:lnTo>
                      <a:pt x="15937" y="43941"/>
                    </a:lnTo>
                    <a:lnTo>
                      <a:pt x="76621" y="104624"/>
                    </a:lnTo>
                    <a:close/>
                  </a:path>
                </a:pathLst>
              </a:custGeom>
              <a:grpFill/>
              <a:ln w="2555" cap="flat">
                <a:noFill/>
                <a:prstDash val="solid"/>
                <a:miter/>
              </a:ln>
            </p:spPr>
            <p:txBody>
              <a:bodyPr rtlCol="0" anchor="ctr"/>
              <a:lstStyle/>
              <a:p>
                <a:endParaRPr lang="en-GB" dirty="0"/>
              </a:p>
            </p:txBody>
          </p:sp>
          <p:sp>
            <p:nvSpPr>
              <p:cNvPr id="130" name="Freihandform: Form 547">
                <a:extLst>
                  <a:ext uri="{FF2B5EF4-FFF2-40B4-BE49-F238E27FC236}">
                    <a16:creationId xmlns:a16="http://schemas.microsoft.com/office/drawing/2014/main" id="{5D18F7D7-CBAC-4DBB-ACFF-D72D156283F4}"/>
                  </a:ext>
                </a:extLst>
              </p:cNvPr>
              <p:cNvSpPr/>
              <p:nvPr/>
            </p:nvSpPr>
            <p:spPr>
              <a:xfrm>
                <a:off x="2793830" y="3543172"/>
                <a:ext cx="84011" cy="84011"/>
              </a:xfrm>
              <a:custGeom>
                <a:avLst/>
                <a:gdLst>
                  <a:gd name="connsiteX0" fmla="*/ 56007 w 84011"/>
                  <a:gd name="connsiteY0" fmla="*/ 84011 h 84011"/>
                  <a:gd name="connsiteX1" fmla="*/ 0 w 84011"/>
                  <a:gd name="connsiteY1" fmla="*/ 28004 h 84011"/>
                  <a:gd name="connsiteX2" fmla="*/ 9326 w 84011"/>
                  <a:gd name="connsiteY2" fmla="*/ 18678 h 84011"/>
                  <a:gd name="connsiteX3" fmla="*/ 56007 w 84011"/>
                  <a:gd name="connsiteY3" fmla="*/ 65333 h 84011"/>
                  <a:gd name="connsiteX4" fmla="*/ 65333 w 84011"/>
                  <a:gd name="connsiteY4" fmla="*/ 56008 h 84011"/>
                  <a:gd name="connsiteX5" fmla="*/ 18652 w 84011"/>
                  <a:gd name="connsiteY5" fmla="*/ 9326 h 84011"/>
                  <a:gd name="connsiteX6" fmla="*/ 28004 w 84011"/>
                  <a:gd name="connsiteY6" fmla="*/ 0 h 84011"/>
                  <a:gd name="connsiteX7" fmla="*/ 84011 w 84011"/>
                  <a:gd name="connsiteY7" fmla="*/ 56008 h 84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011" h="84011">
                    <a:moveTo>
                      <a:pt x="56007" y="84011"/>
                    </a:moveTo>
                    <a:lnTo>
                      <a:pt x="0" y="28004"/>
                    </a:lnTo>
                    <a:lnTo>
                      <a:pt x="9326" y="18678"/>
                    </a:lnTo>
                    <a:lnTo>
                      <a:pt x="56007" y="65333"/>
                    </a:lnTo>
                    <a:lnTo>
                      <a:pt x="65333" y="56008"/>
                    </a:lnTo>
                    <a:lnTo>
                      <a:pt x="18652" y="9326"/>
                    </a:lnTo>
                    <a:lnTo>
                      <a:pt x="28004" y="0"/>
                    </a:lnTo>
                    <a:lnTo>
                      <a:pt x="84011" y="56008"/>
                    </a:lnTo>
                    <a:close/>
                  </a:path>
                </a:pathLst>
              </a:custGeom>
              <a:grpFill/>
              <a:ln w="2555" cap="flat">
                <a:noFill/>
                <a:prstDash val="solid"/>
                <a:miter/>
              </a:ln>
            </p:spPr>
            <p:txBody>
              <a:bodyPr rtlCol="0" anchor="ctr"/>
              <a:lstStyle/>
              <a:p>
                <a:endParaRPr lang="en-GB" dirty="0"/>
              </a:p>
            </p:txBody>
          </p:sp>
          <p:sp>
            <p:nvSpPr>
              <p:cNvPr id="131" name="Freihandform: Form 548">
                <a:extLst>
                  <a:ext uri="{FF2B5EF4-FFF2-40B4-BE49-F238E27FC236}">
                    <a16:creationId xmlns:a16="http://schemas.microsoft.com/office/drawing/2014/main" id="{1D43AF71-5BDA-4FCC-B2FD-8DC2D56A4DB7}"/>
                  </a:ext>
                </a:extLst>
              </p:cNvPr>
              <p:cNvSpPr/>
              <p:nvPr/>
            </p:nvSpPr>
            <p:spPr>
              <a:xfrm>
                <a:off x="2805871" y="3555213"/>
                <a:ext cx="50552" cy="50558"/>
              </a:xfrm>
              <a:custGeom>
                <a:avLst/>
                <a:gdLst>
                  <a:gd name="connsiteX0" fmla="*/ 6611 w 50552"/>
                  <a:gd name="connsiteY0" fmla="*/ 50559 h 50558"/>
                  <a:gd name="connsiteX1" fmla="*/ 1935 w 50552"/>
                  <a:gd name="connsiteY1" fmla="*/ 48617 h 50558"/>
                  <a:gd name="connsiteX2" fmla="*/ 1935 w 50552"/>
                  <a:gd name="connsiteY2" fmla="*/ 39291 h 50558"/>
                  <a:gd name="connsiteX3" fmla="*/ 39291 w 50552"/>
                  <a:gd name="connsiteY3" fmla="*/ 1935 h 50558"/>
                  <a:gd name="connsiteX4" fmla="*/ 48617 w 50552"/>
                  <a:gd name="connsiteY4" fmla="*/ 1935 h 50558"/>
                  <a:gd name="connsiteX5" fmla="*/ 48617 w 50552"/>
                  <a:gd name="connsiteY5" fmla="*/ 11261 h 50558"/>
                  <a:gd name="connsiteX6" fmla="*/ 11261 w 50552"/>
                  <a:gd name="connsiteY6" fmla="*/ 48617 h 50558"/>
                  <a:gd name="connsiteX7" fmla="*/ 6611 w 50552"/>
                  <a:gd name="connsiteY7" fmla="*/ 50559 h 50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552" h="50558">
                    <a:moveTo>
                      <a:pt x="6611" y="50559"/>
                    </a:moveTo>
                    <a:cubicBezTo>
                      <a:pt x="4925" y="50559"/>
                      <a:pt x="3238" y="49920"/>
                      <a:pt x="1935" y="48617"/>
                    </a:cubicBezTo>
                    <a:cubicBezTo>
                      <a:pt x="-645" y="46036"/>
                      <a:pt x="-645" y="41871"/>
                      <a:pt x="1935" y="39291"/>
                    </a:cubicBezTo>
                    <a:lnTo>
                      <a:pt x="39291" y="1935"/>
                    </a:lnTo>
                    <a:cubicBezTo>
                      <a:pt x="41871" y="-645"/>
                      <a:pt x="46036" y="-645"/>
                      <a:pt x="48617" y="1935"/>
                    </a:cubicBezTo>
                    <a:cubicBezTo>
                      <a:pt x="51197" y="4516"/>
                      <a:pt x="51197" y="8681"/>
                      <a:pt x="48617" y="11261"/>
                    </a:cubicBezTo>
                    <a:lnTo>
                      <a:pt x="11261" y="48617"/>
                    </a:lnTo>
                    <a:cubicBezTo>
                      <a:pt x="9984" y="49920"/>
                      <a:pt x="8298" y="50559"/>
                      <a:pt x="6611" y="50559"/>
                    </a:cubicBezTo>
                    <a:close/>
                  </a:path>
                </a:pathLst>
              </a:custGeom>
              <a:grpFill/>
              <a:ln w="2555" cap="flat">
                <a:noFill/>
                <a:prstDash val="solid"/>
                <a:miter/>
              </a:ln>
            </p:spPr>
            <p:txBody>
              <a:bodyPr rtlCol="0" anchor="ctr"/>
              <a:lstStyle/>
              <a:p>
                <a:endParaRPr lang="en-GB" dirty="0"/>
              </a:p>
            </p:txBody>
          </p:sp>
          <p:sp>
            <p:nvSpPr>
              <p:cNvPr id="132" name="Freihandform: Form 550">
                <a:extLst>
                  <a:ext uri="{FF2B5EF4-FFF2-40B4-BE49-F238E27FC236}">
                    <a16:creationId xmlns:a16="http://schemas.microsoft.com/office/drawing/2014/main" id="{DCA0E36F-E59F-4319-AE74-9CF2E3605CD1}"/>
                  </a:ext>
                </a:extLst>
              </p:cNvPr>
              <p:cNvSpPr/>
              <p:nvPr/>
            </p:nvSpPr>
            <p:spPr>
              <a:xfrm>
                <a:off x="2507865" y="3290065"/>
                <a:ext cx="422457" cy="349842"/>
              </a:xfrm>
              <a:custGeom>
                <a:avLst/>
                <a:gdLst>
                  <a:gd name="connsiteX0" fmla="*/ 310264 w 422457"/>
                  <a:gd name="connsiteY0" fmla="*/ 349842 h 349842"/>
                  <a:gd name="connsiteX1" fmla="*/ 6592 w 422457"/>
                  <a:gd name="connsiteY1" fmla="*/ 349842 h 349842"/>
                  <a:gd name="connsiteX2" fmla="*/ 0 w 422457"/>
                  <a:gd name="connsiteY2" fmla="*/ 343250 h 349842"/>
                  <a:gd name="connsiteX3" fmla="*/ 0 w 422457"/>
                  <a:gd name="connsiteY3" fmla="*/ 6592 h 349842"/>
                  <a:gd name="connsiteX4" fmla="*/ 6592 w 422457"/>
                  <a:gd name="connsiteY4" fmla="*/ 0 h 349842"/>
                  <a:gd name="connsiteX5" fmla="*/ 415865 w 422457"/>
                  <a:gd name="connsiteY5" fmla="*/ 0 h 349842"/>
                  <a:gd name="connsiteX6" fmla="*/ 422457 w 422457"/>
                  <a:gd name="connsiteY6" fmla="*/ 6592 h 349842"/>
                  <a:gd name="connsiteX7" fmla="*/ 415865 w 422457"/>
                  <a:gd name="connsiteY7" fmla="*/ 13184 h 349842"/>
                  <a:gd name="connsiteX8" fmla="*/ 13210 w 422457"/>
                  <a:gd name="connsiteY8" fmla="*/ 13184 h 349842"/>
                  <a:gd name="connsiteX9" fmla="*/ 13210 w 422457"/>
                  <a:gd name="connsiteY9" fmla="*/ 336632 h 349842"/>
                  <a:gd name="connsiteX10" fmla="*/ 310264 w 422457"/>
                  <a:gd name="connsiteY10" fmla="*/ 336632 h 349842"/>
                  <a:gd name="connsiteX11" fmla="*/ 316856 w 422457"/>
                  <a:gd name="connsiteY11" fmla="*/ 343224 h 349842"/>
                  <a:gd name="connsiteX12" fmla="*/ 310264 w 422457"/>
                  <a:gd name="connsiteY12" fmla="*/ 349842 h 349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22457" h="349842">
                    <a:moveTo>
                      <a:pt x="310264" y="349842"/>
                    </a:moveTo>
                    <a:lnTo>
                      <a:pt x="6592" y="349842"/>
                    </a:lnTo>
                    <a:cubicBezTo>
                      <a:pt x="2938" y="349842"/>
                      <a:pt x="0" y="346878"/>
                      <a:pt x="0" y="343250"/>
                    </a:cubicBezTo>
                    <a:lnTo>
                      <a:pt x="0" y="6592"/>
                    </a:lnTo>
                    <a:cubicBezTo>
                      <a:pt x="0" y="2938"/>
                      <a:pt x="2964" y="0"/>
                      <a:pt x="6592" y="0"/>
                    </a:cubicBezTo>
                    <a:lnTo>
                      <a:pt x="415865" y="0"/>
                    </a:lnTo>
                    <a:cubicBezTo>
                      <a:pt x="419519" y="0"/>
                      <a:pt x="422457" y="2964"/>
                      <a:pt x="422457" y="6592"/>
                    </a:cubicBezTo>
                    <a:cubicBezTo>
                      <a:pt x="422457" y="10220"/>
                      <a:pt x="419494" y="13184"/>
                      <a:pt x="415865" y="13184"/>
                    </a:cubicBezTo>
                    <a:lnTo>
                      <a:pt x="13210" y="13184"/>
                    </a:lnTo>
                    <a:lnTo>
                      <a:pt x="13210" y="336632"/>
                    </a:lnTo>
                    <a:lnTo>
                      <a:pt x="310264" y="336632"/>
                    </a:lnTo>
                    <a:cubicBezTo>
                      <a:pt x="313918" y="336632"/>
                      <a:pt x="316856" y="339596"/>
                      <a:pt x="316856" y="343224"/>
                    </a:cubicBezTo>
                    <a:cubicBezTo>
                      <a:pt x="316856" y="346904"/>
                      <a:pt x="313892" y="349842"/>
                      <a:pt x="310264" y="349842"/>
                    </a:cubicBezTo>
                    <a:close/>
                  </a:path>
                </a:pathLst>
              </a:custGeom>
              <a:grpFill/>
              <a:ln w="2555" cap="flat">
                <a:noFill/>
                <a:prstDash val="solid"/>
                <a:miter/>
              </a:ln>
            </p:spPr>
            <p:txBody>
              <a:bodyPr rtlCol="0" anchor="ctr"/>
              <a:lstStyle/>
              <a:p>
                <a:endParaRPr lang="en-GB" dirty="0"/>
              </a:p>
            </p:txBody>
          </p:sp>
          <p:sp>
            <p:nvSpPr>
              <p:cNvPr id="133" name="Freihandform: Form 551">
                <a:extLst>
                  <a:ext uri="{FF2B5EF4-FFF2-40B4-BE49-F238E27FC236}">
                    <a16:creationId xmlns:a16="http://schemas.microsoft.com/office/drawing/2014/main" id="{7C5BB996-EECF-433B-A1E6-5DB76AF1B4B1}"/>
                  </a:ext>
                </a:extLst>
              </p:cNvPr>
              <p:cNvSpPr/>
              <p:nvPr/>
            </p:nvSpPr>
            <p:spPr>
              <a:xfrm>
                <a:off x="2914864" y="3243844"/>
                <a:ext cx="81456" cy="396063"/>
              </a:xfrm>
              <a:custGeom>
                <a:avLst/>
                <a:gdLst>
                  <a:gd name="connsiteX0" fmla="*/ 15458 w 81456"/>
                  <a:gd name="connsiteY0" fmla="*/ 396063 h 396063"/>
                  <a:gd name="connsiteX1" fmla="*/ 6592 w 81456"/>
                  <a:gd name="connsiteY1" fmla="*/ 396063 h 396063"/>
                  <a:gd name="connsiteX2" fmla="*/ 0 w 81456"/>
                  <a:gd name="connsiteY2" fmla="*/ 389471 h 396063"/>
                  <a:gd name="connsiteX3" fmla="*/ 6592 w 81456"/>
                  <a:gd name="connsiteY3" fmla="*/ 382879 h 396063"/>
                  <a:gd name="connsiteX4" fmla="*/ 15458 w 81456"/>
                  <a:gd name="connsiteY4" fmla="*/ 382879 h 396063"/>
                  <a:gd name="connsiteX5" fmla="*/ 68272 w 81456"/>
                  <a:gd name="connsiteY5" fmla="*/ 330066 h 396063"/>
                  <a:gd name="connsiteX6" fmla="*/ 15458 w 81456"/>
                  <a:gd name="connsiteY6" fmla="*/ 277252 h 396063"/>
                  <a:gd name="connsiteX7" fmla="*/ 8866 w 81456"/>
                  <a:gd name="connsiteY7" fmla="*/ 270660 h 396063"/>
                  <a:gd name="connsiteX8" fmla="*/ 8866 w 81456"/>
                  <a:gd name="connsiteY8" fmla="*/ 6592 h 396063"/>
                  <a:gd name="connsiteX9" fmla="*/ 15458 w 81456"/>
                  <a:gd name="connsiteY9" fmla="*/ 0 h 396063"/>
                  <a:gd name="connsiteX10" fmla="*/ 81456 w 81456"/>
                  <a:gd name="connsiteY10" fmla="*/ 65998 h 396063"/>
                  <a:gd name="connsiteX11" fmla="*/ 81456 w 81456"/>
                  <a:gd name="connsiteY11" fmla="*/ 330040 h 396063"/>
                  <a:gd name="connsiteX12" fmla="*/ 15458 w 81456"/>
                  <a:gd name="connsiteY12" fmla="*/ 396063 h 396063"/>
                  <a:gd name="connsiteX13" fmla="*/ 22076 w 81456"/>
                  <a:gd name="connsiteY13" fmla="*/ 264374 h 396063"/>
                  <a:gd name="connsiteX14" fmla="*/ 68272 w 81456"/>
                  <a:gd name="connsiteY14" fmla="*/ 290487 h 396063"/>
                  <a:gd name="connsiteX15" fmla="*/ 68272 w 81456"/>
                  <a:gd name="connsiteY15" fmla="*/ 66023 h 396063"/>
                  <a:gd name="connsiteX16" fmla="*/ 22076 w 81456"/>
                  <a:gd name="connsiteY16" fmla="*/ 13618 h 396063"/>
                  <a:gd name="connsiteX17" fmla="*/ 22076 w 81456"/>
                  <a:gd name="connsiteY17" fmla="*/ 264374 h 39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456" h="396063">
                    <a:moveTo>
                      <a:pt x="15458" y="396063"/>
                    </a:moveTo>
                    <a:lnTo>
                      <a:pt x="6592" y="396063"/>
                    </a:lnTo>
                    <a:cubicBezTo>
                      <a:pt x="2938" y="396063"/>
                      <a:pt x="0" y="393099"/>
                      <a:pt x="0" y="389471"/>
                    </a:cubicBezTo>
                    <a:cubicBezTo>
                      <a:pt x="0" y="385818"/>
                      <a:pt x="2964" y="382879"/>
                      <a:pt x="6592" y="382879"/>
                    </a:cubicBezTo>
                    <a:lnTo>
                      <a:pt x="15458" y="382879"/>
                    </a:lnTo>
                    <a:cubicBezTo>
                      <a:pt x="44586" y="382879"/>
                      <a:pt x="68272" y="359193"/>
                      <a:pt x="68272" y="330066"/>
                    </a:cubicBezTo>
                    <a:cubicBezTo>
                      <a:pt x="68272" y="300938"/>
                      <a:pt x="44586" y="277252"/>
                      <a:pt x="15458" y="277252"/>
                    </a:cubicBezTo>
                    <a:cubicBezTo>
                      <a:pt x="11804" y="277252"/>
                      <a:pt x="8866" y="274288"/>
                      <a:pt x="8866" y="270660"/>
                    </a:cubicBezTo>
                    <a:lnTo>
                      <a:pt x="8866" y="6592"/>
                    </a:lnTo>
                    <a:cubicBezTo>
                      <a:pt x="8866" y="2938"/>
                      <a:pt x="11830" y="0"/>
                      <a:pt x="15458" y="0"/>
                    </a:cubicBezTo>
                    <a:cubicBezTo>
                      <a:pt x="51843" y="0"/>
                      <a:pt x="81456" y="29613"/>
                      <a:pt x="81456" y="65998"/>
                    </a:cubicBezTo>
                    <a:lnTo>
                      <a:pt x="81456" y="330040"/>
                    </a:lnTo>
                    <a:cubicBezTo>
                      <a:pt x="81482" y="366450"/>
                      <a:pt x="51868" y="396063"/>
                      <a:pt x="15458" y="396063"/>
                    </a:cubicBezTo>
                    <a:close/>
                    <a:moveTo>
                      <a:pt x="22076" y="264374"/>
                    </a:moveTo>
                    <a:cubicBezTo>
                      <a:pt x="40932" y="266265"/>
                      <a:pt x="57464" y="276102"/>
                      <a:pt x="68272" y="290487"/>
                    </a:cubicBezTo>
                    <a:lnTo>
                      <a:pt x="68272" y="66023"/>
                    </a:lnTo>
                    <a:cubicBezTo>
                      <a:pt x="68272" y="39144"/>
                      <a:pt x="48087" y="16889"/>
                      <a:pt x="22076" y="13618"/>
                    </a:cubicBezTo>
                    <a:lnTo>
                      <a:pt x="22076" y="264374"/>
                    </a:lnTo>
                    <a:close/>
                  </a:path>
                </a:pathLst>
              </a:custGeom>
              <a:grpFill/>
              <a:ln w="2555" cap="flat">
                <a:noFill/>
                <a:prstDash val="solid"/>
                <a:miter/>
              </a:ln>
            </p:spPr>
            <p:txBody>
              <a:bodyPr rtlCol="0" anchor="ctr"/>
              <a:lstStyle/>
              <a:p>
                <a:endParaRPr lang="en-GB" dirty="0"/>
              </a:p>
            </p:txBody>
          </p:sp>
        </p:grpSp>
      </p:grpSp>
      <p:grpSp>
        <p:nvGrpSpPr>
          <p:cNvPr id="26" name="Group 25">
            <a:extLst>
              <a:ext uri="{FF2B5EF4-FFF2-40B4-BE49-F238E27FC236}">
                <a16:creationId xmlns:a16="http://schemas.microsoft.com/office/drawing/2014/main" id="{373B265B-A2D7-710D-0273-831448D63456}"/>
              </a:ext>
            </a:extLst>
          </p:cNvPr>
          <p:cNvGrpSpPr/>
          <p:nvPr/>
        </p:nvGrpSpPr>
        <p:grpSpPr>
          <a:xfrm>
            <a:off x="643516" y="2391526"/>
            <a:ext cx="301069" cy="432000"/>
            <a:chOff x="643516" y="2391526"/>
            <a:chExt cx="301069" cy="432000"/>
          </a:xfrm>
        </p:grpSpPr>
        <p:grpSp>
          <p:nvGrpSpPr>
            <p:cNvPr id="142" name="Group 141">
              <a:extLst>
                <a:ext uri="{FF2B5EF4-FFF2-40B4-BE49-F238E27FC236}">
                  <a16:creationId xmlns:a16="http://schemas.microsoft.com/office/drawing/2014/main" id="{9D413464-69FF-4DCD-92AC-ECECD0CAFEBC}"/>
                </a:ext>
              </a:extLst>
            </p:cNvPr>
            <p:cNvGrpSpPr/>
            <p:nvPr/>
          </p:nvGrpSpPr>
          <p:grpSpPr>
            <a:xfrm>
              <a:off x="774428" y="2489723"/>
              <a:ext cx="39245" cy="104715"/>
              <a:chOff x="3590454" y="3369452"/>
              <a:chExt cx="39578" cy="105602"/>
            </a:xfrm>
            <a:solidFill>
              <a:schemeClr val="accent1"/>
            </a:solidFill>
          </p:grpSpPr>
          <p:sp>
            <p:nvSpPr>
              <p:cNvPr id="156" name="Freihandform: Form 392">
                <a:extLst>
                  <a:ext uri="{FF2B5EF4-FFF2-40B4-BE49-F238E27FC236}">
                    <a16:creationId xmlns:a16="http://schemas.microsoft.com/office/drawing/2014/main" id="{96B48E35-4DEB-40E3-B39B-DDFE7088BA27}"/>
                  </a:ext>
                </a:extLst>
              </p:cNvPr>
              <p:cNvSpPr/>
              <p:nvPr/>
            </p:nvSpPr>
            <p:spPr>
              <a:xfrm>
                <a:off x="3597046" y="3395872"/>
                <a:ext cx="19776" cy="79182"/>
              </a:xfrm>
              <a:custGeom>
                <a:avLst/>
                <a:gdLst>
                  <a:gd name="connsiteX0" fmla="*/ 13184 w 19776"/>
                  <a:gd name="connsiteY0" fmla="*/ 79182 h 79182"/>
                  <a:gd name="connsiteX1" fmla="*/ 6592 w 19776"/>
                  <a:gd name="connsiteY1" fmla="*/ 72590 h 79182"/>
                  <a:gd name="connsiteX2" fmla="*/ 6592 w 19776"/>
                  <a:gd name="connsiteY2" fmla="*/ 13184 h 79182"/>
                  <a:gd name="connsiteX3" fmla="*/ 0 w 19776"/>
                  <a:gd name="connsiteY3" fmla="*/ 6592 h 79182"/>
                  <a:gd name="connsiteX4" fmla="*/ 6592 w 19776"/>
                  <a:gd name="connsiteY4" fmla="*/ 0 h 79182"/>
                  <a:gd name="connsiteX5" fmla="*/ 13184 w 19776"/>
                  <a:gd name="connsiteY5" fmla="*/ 0 h 79182"/>
                  <a:gd name="connsiteX6" fmla="*/ 19776 w 19776"/>
                  <a:gd name="connsiteY6" fmla="*/ 6592 h 79182"/>
                  <a:gd name="connsiteX7" fmla="*/ 19776 w 19776"/>
                  <a:gd name="connsiteY7" fmla="*/ 72590 h 79182"/>
                  <a:gd name="connsiteX8" fmla="*/ 13184 w 19776"/>
                  <a:gd name="connsiteY8" fmla="*/ 79182 h 7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76" h="79182">
                    <a:moveTo>
                      <a:pt x="13184" y="79182"/>
                    </a:moveTo>
                    <a:cubicBezTo>
                      <a:pt x="9530" y="79182"/>
                      <a:pt x="6592" y="76218"/>
                      <a:pt x="6592" y="72590"/>
                    </a:cubicBezTo>
                    <a:lnTo>
                      <a:pt x="6592" y="13184"/>
                    </a:lnTo>
                    <a:cubicBezTo>
                      <a:pt x="2938" y="13184"/>
                      <a:pt x="0" y="10220"/>
                      <a:pt x="0" y="6592"/>
                    </a:cubicBezTo>
                    <a:cubicBezTo>
                      <a:pt x="0" y="2938"/>
                      <a:pt x="2964" y="0"/>
                      <a:pt x="6592" y="0"/>
                    </a:cubicBezTo>
                    <a:lnTo>
                      <a:pt x="13184" y="0"/>
                    </a:lnTo>
                    <a:cubicBezTo>
                      <a:pt x="16838" y="0"/>
                      <a:pt x="19776" y="2964"/>
                      <a:pt x="19776" y="6592"/>
                    </a:cubicBezTo>
                    <a:lnTo>
                      <a:pt x="19776" y="72590"/>
                    </a:lnTo>
                    <a:cubicBezTo>
                      <a:pt x="19802" y="76218"/>
                      <a:pt x="16838" y="79182"/>
                      <a:pt x="13184" y="79182"/>
                    </a:cubicBezTo>
                    <a:close/>
                  </a:path>
                </a:pathLst>
              </a:custGeom>
              <a:solidFill>
                <a:schemeClr val="accent1"/>
              </a:solidFill>
              <a:ln w="2555" cap="flat">
                <a:noFill/>
                <a:prstDash val="solid"/>
                <a:miter/>
              </a:ln>
            </p:spPr>
            <p:txBody>
              <a:bodyPr rtlCol="0" anchor="ctr"/>
              <a:lstStyle/>
              <a:p>
                <a:endParaRPr lang="en-GB" dirty="0"/>
              </a:p>
            </p:txBody>
          </p:sp>
          <p:sp>
            <p:nvSpPr>
              <p:cNvPr id="157" name="Freihandform: Form 393">
                <a:extLst>
                  <a:ext uri="{FF2B5EF4-FFF2-40B4-BE49-F238E27FC236}">
                    <a16:creationId xmlns:a16="http://schemas.microsoft.com/office/drawing/2014/main" id="{34931C2B-6F20-4587-AC84-850A005372AA}"/>
                  </a:ext>
                </a:extLst>
              </p:cNvPr>
              <p:cNvSpPr/>
              <p:nvPr/>
            </p:nvSpPr>
            <p:spPr>
              <a:xfrm>
                <a:off x="3590454" y="3461869"/>
                <a:ext cx="39578" cy="13184"/>
              </a:xfrm>
              <a:custGeom>
                <a:avLst/>
                <a:gdLst>
                  <a:gd name="connsiteX0" fmla="*/ 32986 w 39578"/>
                  <a:gd name="connsiteY0" fmla="*/ 13184 h 13184"/>
                  <a:gd name="connsiteX1" fmla="*/ 6592 w 39578"/>
                  <a:gd name="connsiteY1" fmla="*/ 13184 h 13184"/>
                  <a:gd name="connsiteX2" fmla="*/ 0 w 39578"/>
                  <a:gd name="connsiteY2" fmla="*/ 6592 h 13184"/>
                  <a:gd name="connsiteX3" fmla="*/ 6592 w 39578"/>
                  <a:gd name="connsiteY3" fmla="*/ 0 h 13184"/>
                  <a:gd name="connsiteX4" fmla="*/ 32986 w 39578"/>
                  <a:gd name="connsiteY4" fmla="*/ 0 h 13184"/>
                  <a:gd name="connsiteX5" fmla="*/ 39578 w 39578"/>
                  <a:gd name="connsiteY5" fmla="*/ 6592 h 13184"/>
                  <a:gd name="connsiteX6" fmla="*/ 32986 w 39578"/>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78" h="13184">
                    <a:moveTo>
                      <a:pt x="32986" y="13184"/>
                    </a:moveTo>
                    <a:lnTo>
                      <a:pt x="6592" y="13184"/>
                    </a:lnTo>
                    <a:cubicBezTo>
                      <a:pt x="2938" y="13184"/>
                      <a:pt x="0" y="10220"/>
                      <a:pt x="0" y="6592"/>
                    </a:cubicBezTo>
                    <a:cubicBezTo>
                      <a:pt x="0" y="2938"/>
                      <a:pt x="2964" y="0"/>
                      <a:pt x="6592" y="0"/>
                    </a:cubicBezTo>
                    <a:lnTo>
                      <a:pt x="32986" y="0"/>
                    </a:lnTo>
                    <a:cubicBezTo>
                      <a:pt x="36640" y="0"/>
                      <a:pt x="39578" y="2964"/>
                      <a:pt x="39578" y="6592"/>
                    </a:cubicBezTo>
                    <a:cubicBezTo>
                      <a:pt x="39604" y="10220"/>
                      <a:pt x="36640" y="13184"/>
                      <a:pt x="32986" y="13184"/>
                    </a:cubicBezTo>
                    <a:close/>
                  </a:path>
                </a:pathLst>
              </a:custGeom>
              <a:solidFill>
                <a:schemeClr val="accent1"/>
              </a:solidFill>
              <a:ln w="2555" cap="flat">
                <a:noFill/>
                <a:prstDash val="solid"/>
                <a:miter/>
              </a:ln>
            </p:spPr>
            <p:txBody>
              <a:bodyPr rtlCol="0" anchor="ctr"/>
              <a:lstStyle/>
              <a:p>
                <a:endParaRPr lang="en-GB" dirty="0"/>
              </a:p>
            </p:txBody>
          </p:sp>
          <p:sp>
            <p:nvSpPr>
              <p:cNvPr id="158" name="Freihandform: Form 394">
                <a:extLst>
                  <a:ext uri="{FF2B5EF4-FFF2-40B4-BE49-F238E27FC236}">
                    <a16:creationId xmlns:a16="http://schemas.microsoft.com/office/drawing/2014/main" id="{E2F44BB5-23FE-44B0-A52C-8FE5A0593EA4}"/>
                  </a:ext>
                </a:extLst>
              </p:cNvPr>
              <p:cNvSpPr/>
              <p:nvPr/>
            </p:nvSpPr>
            <p:spPr>
              <a:xfrm>
                <a:off x="3597046" y="3369452"/>
                <a:ext cx="26393" cy="13184"/>
              </a:xfrm>
              <a:custGeom>
                <a:avLst/>
                <a:gdLst>
                  <a:gd name="connsiteX0" fmla="*/ 19802 w 26393"/>
                  <a:gd name="connsiteY0" fmla="*/ 13184 h 13184"/>
                  <a:gd name="connsiteX1" fmla="*/ 6592 w 26393"/>
                  <a:gd name="connsiteY1" fmla="*/ 13184 h 13184"/>
                  <a:gd name="connsiteX2" fmla="*/ 0 w 26393"/>
                  <a:gd name="connsiteY2" fmla="*/ 6592 h 13184"/>
                  <a:gd name="connsiteX3" fmla="*/ 6592 w 26393"/>
                  <a:gd name="connsiteY3" fmla="*/ 0 h 13184"/>
                  <a:gd name="connsiteX4" fmla="*/ 19802 w 26393"/>
                  <a:gd name="connsiteY4" fmla="*/ 0 h 13184"/>
                  <a:gd name="connsiteX5" fmla="*/ 26394 w 26393"/>
                  <a:gd name="connsiteY5" fmla="*/ 6592 h 13184"/>
                  <a:gd name="connsiteX6" fmla="*/ 19802 w 26393"/>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93" h="13184">
                    <a:moveTo>
                      <a:pt x="19802" y="13184"/>
                    </a:moveTo>
                    <a:lnTo>
                      <a:pt x="6592" y="13184"/>
                    </a:lnTo>
                    <a:cubicBezTo>
                      <a:pt x="2938" y="13184"/>
                      <a:pt x="0" y="10220"/>
                      <a:pt x="0" y="6592"/>
                    </a:cubicBezTo>
                    <a:cubicBezTo>
                      <a:pt x="0" y="2938"/>
                      <a:pt x="2964" y="0"/>
                      <a:pt x="6592" y="0"/>
                    </a:cubicBezTo>
                    <a:lnTo>
                      <a:pt x="19802" y="0"/>
                    </a:lnTo>
                    <a:cubicBezTo>
                      <a:pt x="23455" y="0"/>
                      <a:pt x="26394" y="2964"/>
                      <a:pt x="26394" y="6592"/>
                    </a:cubicBezTo>
                    <a:cubicBezTo>
                      <a:pt x="26394" y="10220"/>
                      <a:pt x="23455" y="13184"/>
                      <a:pt x="19802" y="13184"/>
                    </a:cubicBezTo>
                    <a:close/>
                  </a:path>
                </a:pathLst>
              </a:custGeom>
              <a:solidFill>
                <a:schemeClr val="accent1"/>
              </a:solidFill>
              <a:ln w="2555" cap="flat">
                <a:noFill/>
                <a:prstDash val="solid"/>
                <a:miter/>
              </a:ln>
            </p:spPr>
            <p:txBody>
              <a:bodyPr rtlCol="0" anchor="ctr"/>
              <a:lstStyle/>
              <a:p>
                <a:endParaRPr lang="en-GB" dirty="0"/>
              </a:p>
            </p:txBody>
          </p:sp>
        </p:grpSp>
        <p:grpSp>
          <p:nvGrpSpPr>
            <p:cNvPr id="143" name="Group 142">
              <a:extLst>
                <a:ext uri="{FF2B5EF4-FFF2-40B4-BE49-F238E27FC236}">
                  <a16:creationId xmlns:a16="http://schemas.microsoft.com/office/drawing/2014/main" id="{F59D7A6A-8D28-4181-83A4-1CE29F3D0563}"/>
                </a:ext>
              </a:extLst>
            </p:cNvPr>
            <p:cNvGrpSpPr/>
            <p:nvPr/>
          </p:nvGrpSpPr>
          <p:grpSpPr>
            <a:xfrm>
              <a:off x="643516" y="2391526"/>
              <a:ext cx="301069" cy="432000"/>
              <a:chOff x="3458433" y="3270423"/>
              <a:chExt cx="303620" cy="435660"/>
            </a:xfrm>
            <a:solidFill>
              <a:schemeClr val="tx2"/>
            </a:solidFill>
          </p:grpSpPr>
          <p:sp>
            <p:nvSpPr>
              <p:cNvPr id="144" name="Freihandform: Form 386">
                <a:extLst>
                  <a:ext uri="{FF2B5EF4-FFF2-40B4-BE49-F238E27FC236}">
                    <a16:creationId xmlns:a16="http://schemas.microsoft.com/office/drawing/2014/main" id="{651F9099-BB5B-4489-A697-462B9DA2B13B}"/>
                  </a:ext>
                </a:extLst>
              </p:cNvPr>
              <p:cNvSpPr/>
              <p:nvPr/>
            </p:nvSpPr>
            <p:spPr>
              <a:xfrm>
                <a:off x="3503280" y="3442065"/>
                <a:ext cx="213898" cy="85801"/>
              </a:xfrm>
              <a:custGeom>
                <a:avLst/>
                <a:gdLst>
                  <a:gd name="connsiteX0" fmla="*/ 106950 w 213898"/>
                  <a:gd name="connsiteY0" fmla="*/ 85802 h 85801"/>
                  <a:gd name="connsiteX1" fmla="*/ 327 w 213898"/>
                  <a:gd name="connsiteY1" fmla="*/ 8689 h 85801"/>
                  <a:gd name="connsiteX2" fmla="*/ 4543 w 213898"/>
                  <a:gd name="connsiteY2" fmla="*/ 360 h 85801"/>
                  <a:gd name="connsiteX3" fmla="*/ 12872 w 213898"/>
                  <a:gd name="connsiteY3" fmla="*/ 4576 h 85801"/>
                  <a:gd name="connsiteX4" fmla="*/ 106950 w 213898"/>
                  <a:gd name="connsiteY4" fmla="*/ 72618 h 85801"/>
                  <a:gd name="connsiteX5" fmla="*/ 201029 w 213898"/>
                  <a:gd name="connsiteY5" fmla="*/ 4550 h 85801"/>
                  <a:gd name="connsiteX6" fmla="*/ 209358 w 213898"/>
                  <a:gd name="connsiteY6" fmla="*/ 334 h 85801"/>
                  <a:gd name="connsiteX7" fmla="*/ 213574 w 213898"/>
                  <a:gd name="connsiteY7" fmla="*/ 8664 h 85801"/>
                  <a:gd name="connsiteX8" fmla="*/ 106950 w 213898"/>
                  <a:gd name="connsiteY8" fmla="*/ 85802 h 85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3898" h="85801">
                    <a:moveTo>
                      <a:pt x="106950" y="85802"/>
                    </a:moveTo>
                    <a:cubicBezTo>
                      <a:pt x="58353" y="85802"/>
                      <a:pt x="15504" y="54809"/>
                      <a:pt x="327" y="8689"/>
                    </a:cubicBezTo>
                    <a:cubicBezTo>
                      <a:pt x="-797" y="5240"/>
                      <a:pt x="1068" y="1484"/>
                      <a:pt x="4543" y="360"/>
                    </a:cubicBezTo>
                    <a:cubicBezTo>
                      <a:pt x="7992" y="-790"/>
                      <a:pt x="11748" y="1101"/>
                      <a:pt x="12872" y="4576"/>
                    </a:cubicBezTo>
                    <a:cubicBezTo>
                      <a:pt x="26261" y="45278"/>
                      <a:pt x="64076" y="72618"/>
                      <a:pt x="106950" y="72618"/>
                    </a:cubicBezTo>
                    <a:cubicBezTo>
                      <a:pt x="149850" y="72618"/>
                      <a:pt x="187640" y="45253"/>
                      <a:pt x="201029" y="4550"/>
                    </a:cubicBezTo>
                    <a:cubicBezTo>
                      <a:pt x="202178" y="1101"/>
                      <a:pt x="205909" y="-815"/>
                      <a:pt x="209358" y="334"/>
                    </a:cubicBezTo>
                    <a:cubicBezTo>
                      <a:pt x="212808" y="1484"/>
                      <a:pt x="214698" y="5189"/>
                      <a:pt x="213574" y="8664"/>
                    </a:cubicBezTo>
                    <a:cubicBezTo>
                      <a:pt x="198423" y="54783"/>
                      <a:pt x="155574" y="85802"/>
                      <a:pt x="106950" y="85802"/>
                    </a:cubicBezTo>
                    <a:close/>
                  </a:path>
                </a:pathLst>
              </a:custGeom>
              <a:grpFill/>
              <a:ln w="2555" cap="flat">
                <a:noFill/>
                <a:prstDash val="solid"/>
                <a:miter/>
              </a:ln>
            </p:spPr>
            <p:txBody>
              <a:bodyPr rtlCol="0" anchor="ctr"/>
              <a:lstStyle/>
              <a:p>
                <a:endParaRPr lang="en-GB" dirty="0"/>
              </a:p>
            </p:txBody>
          </p:sp>
          <p:sp>
            <p:nvSpPr>
              <p:cNvPr id="145" name="Freihandform: Form 387">
                <a:extLst>
                  <a:ext uri="{FF2B5EF4-FFF2-40B4-BE49-F238E27FC236}">
                    <a16:creationId xmlns:a16="http://schemas.microsoft.com/office/drawing/2014/main" id="{1E31B02A-F23D-4F50-819A-D8A6428029AA}"/>
                  </a:ext>
                </a:extLst>
              </p:cNvPr>
              <p:cNvSpPr/>
              <p:nvPr/>
            </p:nvSpPr>
            <p:spPr>
              <a:xfrm>
                <a:off x="3503282" y="3303429"/>
                <a:ext cx="213898" cy="85799"/>
              </a:xfrm>
              <a:custGeom>
                <a:avLst/>
                <a:gdLst>
                  <a:gd name="connsiteX0" fmla="*/ 6610 w 213898"/>
                  <a:gd name="connsiteY0" fmla="*/ 85800 h 85799"/>
                  <a:gd name="connsiteX1" fmla="*/ 4540 w 213898"/>
                  <a:gd name="connsiteY1" fmla="*/ 85467 h 85799"/>
                  <a:gd name="connsiteX2" fmla="*/ 324 w 213898"/>
                  <a:gd name="connsiteY2" fmla="*/ 77138 h 85799"/>
                  <a:gd name="connsiteX3" fmla="*/ 106948 w 213898"/>
                  <a:gd name="connsiteY3" fmla="*/ 0 h 85799"/>
                  <a:gd name="connsiteX4" fmla="*/ 213572 w 213898"/>
                  <a:gd name="connsiteY4" fmla="*/ 77112 h 85799"/>
                  <a:gd name="connsiteX5" fmla="*/ 209356 w 213898"/>
                  <a:gd name="connsiteY5" fmla="*/ 85442 h 85799"/>
                  <a:gd name="connsiteX6" fmla="*/ 201026 w 213898"/>
                  <a:gd name="connsiteY6" fmla="*/ 81226 h 85799"/>
                  <a:gd name="connsiteX7" fmla="*/ 106948 w 213898"/>
                  <a:gd name="connsiteY7" fmla="*/ 13184 h 85799"/>
                  <a:gd name="connsiteX8" fmla="*/ 12870 w 213898"/>
                  <a:gd name="connsiteY8" fmla="*/ 81252 h 85799"/>
                  <a:gd name="connsiteX9" fmla="*/ 6610 w 213898"/>
                  <a:gd name="connsiteY9" fmla="*/ 85800 h 85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3898" h="85799">
                    <a:moveTo>
                      <a:pt x="6610" y="85800"/>
                    </a:moveTo>
                    <a:cubicBezTo>
                      <a:pt x="5920" y="85800"/>
                      <a:pt x="5230" y="85697"/>
                      <a:pt x="4540" y="85467"/>
                    </a:cubicBezTo>
                    <a:cubicBezTo>
                      <a:pt x="1091" y="84318"/>
                      <a:pt x="-800" y="80613"/>
                      <a:pt x="324" y="77138"/>
                    </a:cubicBezTo>
                    <a:cubicBezTo>
                      <a:pt x="15502" y="30993"/>
                      <a:pt x="58351" y="0"/>
                      <a:pt x="106948" y="0"/>
                    </a:cubicBezTo>
                    <a:cubicBezTo>
                      <a:pt x="155546" y="0"/>
                      <a:pt x="198395" y="30993"/>
                      <a:pt x="213572" y="77112"/>
                    </a:cubicBezTo>
                    <a:cubicBezTo>
                      <a:pt x="214696" y="80562"/>
                      <a:pt x="212831" y="84318"/>
                      <a:pt x="209356" y="85442"/>
                    </a:cubicBezTo>
                    <a:cubicBezTo>
                      <a:pt x="205881" y="86592"/>
                      <a:pt x="202150" y="84701"/>
                      <a:pt x="201026" y="81226"/>
                    </a:cubicBezTo>
                    <a:cubicBezTo>
                      <a:pt x="187638" y="40524"/>
                      <a:pt x="149822" y="13184"/>
                      <a:pt x="106948" y="13184"/>
                    </a:cubicBezTo>
                    <a:cubicBezTo>
                      <a:pt x="64048" y="13184"/>
                      <a:pt x="26259" y="40549"/>
                      <a:pt x="12870" y="81252"/>
                    </a:cubicBezTo>
                    <a:cubicBezTo>
                      <a:pt x="11950" y="84037"/>
                      <a:pt x="9370" y="85800"/>
                      <a:pt x="6610" y="85800"/>
                    </a:cubicBezTo>
                    <a:close/>
                  </a:path>
                </a:pathLst>
              </a:custGeom>
              <a:grpFill/>
              <a:ln w="2555" cap="flat">
                <a:noFill/>
                <a:prstDash val="solid"/>
                <a:miter/>
              </a:ln>
            </p:spPr>
            <p:txBody>
              <a:bodyPr rtlCol="0" anchor="ctr"/>
              <a:lstStyle/>
              <a:p>
                <a:endParaRPr lang="en-GB" dirty="0"/>
              </a:p>
            </p:txBody>
          </p:sp>
          <p:sp>
            <p:nvSpPr>
              <p:cNvPr id="146" name="Freihandform: Form 388">
                <a:extLst>
                  <a:ext uri="{FF2B5EF4-FFF2-40B4-BE49-F238E27FC236}">
                    <a16:creationId xmlns:a16="http://schemas.microsoft.com/office/drawing/2014/main" id="{EAC32859-27ED-42BE-AD1A-886F24B90E36}"/>
                  </a:ext>
                </a:extLst>
              </p:cNvPr>
              <p:cNvSpPr/>
              <p:nvPr/>
            </p:nvSpPr>
            <p:spPr>
              <a:xfrm>
                <a:off x="3669657" y="3287122"/>
                <a:ext cx="85804" cy="257046"/>
              </a:xfrm>
              <a:custGeom>
                <a:avLst/>
                <a:gdLst>
                  <a:gd name="connsiteX0" fmla="*/ 6597 w 85804"/>
                  <a:gd name="connsiteY0" fmla="*/ 257046 h 257046"/>
                  <a:gd name="connsiteX1" fmla="*/ 797 w 85804"/>
                  <a:gd name="connsiteY1" fmla="*/ 253597 h 257046"/>
                  <a:gd name="connsiteX2" fmla="*/ 3454 w 85804"/>
                  <a:gd name="connsiteY2" fmla="*/ 244654 h 257046"/>
                  <a:gd name="connsiteX3" fmla="*/ 72620 w 85804"/>
                  <a:gd name="connsiteY3" fmla="*/ 128525 h 257046"/>
                  <a:gd name="connsiteX4" fmla="*/ 3454 w 85804"/>
                  <a:gd name="connsiteY4" fmla="*/ 12397 h 257046"/>
                  <a:gd name="connsiteX5" fmla="*/ 797 w 85804"/>
                  <a:gd name="connsiteY5" fmla="*/ 3454 h 257046"/>
                  <a:gd name="connsiteX6" fmla="*/ 9740 w 85804"/>
                  <a:gd name="connsiteY6" fmla="*/ 797 h 257046"/>
                  <a:gd name="connsiteX7" fmla="*/ 85805 w 85804"/>
                  <a:gd name="connsiteY7" fmla="*/ 128525 h 257046"/>
                  <a:gd name="connsiteX8" fmla="*/ 9740 w 85804"/>
                  <a:gd name="connsiteY8" fmla="*/ 256254 h 257046"/>
                  <a:gd name="connsiteX9" fmla="*/ 6597 w 85804"/>
                  <a:gd name="connsiteY9" fmla="*/ 257046 h 25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804" h="257046">
                    <a:moveTo>
                      <a:pt x="6597" y="257046"/>
                    </a:moveTo>
                    <a:cubicBezTo>
                      <a:pt x="4246" y="257046"/>
                      <a:pt x="1972" y="255794"/>
                      <a:pt x="797" y="253597"/>
                    </a:cubicBezTo>
                    <a:cubicBezTo>
                      <a:pt x="-941" y="250403"/>
                      <a:pt x="260" y="246391"/>
                      <a:pt x="3454" y="244654"/>
                    </a:cubicBezTo>
                    <a:cubicBezTo>
                      <a:pt x="46099" y="221505"/>
                      <a:pt x="72620" y="177021"/>
                      <a:pt x="72620" y="128525"/>
                    </a:cubicBezTo>
                    <a:cubicBezTo>
                      <a:pt x="72620" y="80030"/>
                      <a:pt x="46124" y="35546"/>
                      <a:pt x="3454" y="12397"/>
                    </a:cubicBezTo>
                    <a:cubicBezTo>
                      <a:pt x="260" y="10659"/>
                      <a:pt x="-941" y="6648"/>
                      <a:pt x="797" y="3454"/>
                    </a:cubicBezTo>
                    <a:cubicBezTo>
                      <a:pt x="2534" y="260"/>
                      <a:pt x="6546" y="-941"/>
                      <a:pt x="9740" y="797"/>
                    </a:cubicBezTo>
                    <a:cubicBezTo>
                      <a:pt x="56651" y="26245"/>
                      <a:pt x="85805" y="75175"/>
                      <a:pt x="85805" y="128525"/>
                    </a:cubicBezTo>
                    <a:cubicBezTo>
                      <a:pt x="85805" y="181850"/>
                      <a:pt x="56651" y="230805"/>
                      <a:pt x="9740" y="256254"/>
                    </a:cubicBezTo>
                    <a:cubicBezTo>
                      <a:pt x="8743" y="256791"/>
                      <a:pt x="7670" y="257046"/>
                      <a:pt x="6597" y="257046"/>
                    </a:cubicBezTo>
                    <a:close/>
                  </a:path>
                </a:pathLst>
              </a:custGeom>
              <a:grpFill/>
              <a:ln w="2555" cap="flat">
                <a:noFill/>
                <a:prstDash val="solid"/>
                <a:miter/>
              </a:ln>
            </p:spPr>
            <p:txBody>
              <a:bodyPr rtlCol="0" anchor="ctr"/>
              <a:lstStyle/>
              <a:p>
                <a:endParaRPr lang="en-GB" dirty="0"/>
              </a:p>
            </p:txBody>
          </p:sp>
          <p:sp>
            <p:nvSpPr>
              <p:cNvPr id="147" name="Freihandform: Form 389">
                <a:extLst>
                  <a:ext uri="{FF2B5EF4-FFF2-40B4-BE49-F238E27FC236}">
                    <a16:creationId xmlns:a16="http://schemas.microsoft.com/office/drawing/2014/main" id="{8B3AA3D3-38B9-4F06-AE6B-976DBCBC97E2}"/>
                  </a:ext>
                </a:extLst>
              </p:cNvPr>
              <p:cNvSpPr/>
              <p:nvPr/>
            </p:nvSpPr>
            <p:spPr>
              <a:xfrm>
                <a:off x="3597038" y="3547490"/>
                <a:ext cx="26384" cy="13363"/>
              </a:xfrm>
              <a:custGeom>
                <a:avLst/>
                <a:gdLst>
                  <a:gd name="connsiteX0" fmla="*/ 13192 w 26384"/>
                  <a:gd name="connsiteY0" fmla="*/ 13363 h 13363"/>
                  <a:gd name="connsiteX1" fmla="*/ 6294 w 26384"/>
                  <a:gd name="connsiteY1" fmla="*/ 13210 h 13363"/>
                  <a:gd name="connsiteX2" fmla="*/ 8 w 26384"/>
                  <a:gd name="connsiteY2" fmla="*/ 6311 h 13363"/>
                  <a:gd name="connsiteX3" fmla="*/ 6907 w 26384"/>
                  <a:gd name="connsiteY3" fmla="*/ 25 h 13363"/>
                  <a:gd name="connsiteX4" fmla="*/ 19478 w 26384"/>
                  <a:gd name="connsiteY4" fmla="*/ 25 h 13363"/>
                  <a:gd name="connsiteX5" fmla="*/ 26376 w 26384"/>
                  <a:gd name="connsiteY5" fmla="*/ 6311 h 13363"/>
                  <a:gd name="connsiteX6" fmla="*/ 20091 w 26384"/>
                  <a:gd name="connsiteY6" fmla="*/ 13210 h 13363"/>
                  <a:gd name="connsiteX7" fmla="*/ 13192 w 26384"/>
                  <a:gd name="connsiteY7" fmla="*/ 13363 h 1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84" h="13363">
                    <a:moveTo>
                      <a:pt x="13192" y="13363"/>
                    </a:moveTo>
                    <a:cubicBezTo>
                      <a:pt x="10867" y="13363"/>
                      <a:pt x="8568" y="13312"/>
                      <a:pt x="6294" y="13210"/>
                    </a:cubicBezTo>
                    <a:cubicBezTo>
                      <a:pt x="2640" y="13031"/>
                      <a:pt x="-171" y="9939"/>
                      <a:pt x="8" y="6311"/>
                    </a:cubicBezTo>
                    <a:cubicBezTo>
                      <a:pt x="187" y="2657"/>
                      <a:pt x="3253" y="-307"/>
                      <a:pt x="6907" y="25"/>
                    </a:cubicBezTo>
                    <a:cubicBezTo>
                      <a:pt x="11071" y="230"/>
                      <a:pt x="15339" y="230"/>
                      <a:pt x="19478" y="25"/>
                    </a:cubicBezTo>
                    <a:cubicBezTo>
                      <a:pt x="23157" y="-204"/>
                      <a:pt x="26198" y="2657"/>
                      <a:pt x="26376" y="6311"/>
                    </a:cubicBezTo>
                    <a:cubicBezTo>
                      <a:pt x="26555" y="9965"/>
                      <a:pt x="23745" y="13031"/>
                      <a:pt x="20091" y="13210"/>
                    </a:cubicBezTo>
                    <a:cubicBezTo>
                      <a:pt x="17817" y="13312"/>
                      <a:pt x="15517" y="13363"/>
                      <a:pt x="13192" y="13363"/>
                    </a:cubicBezTo>
                    <a:close/>
                  </a:path>
                </a:pathLst>
              </a:custGeom>
              <a:grpFill/>
              <a:ln w="2555" cap="flat">
                <a:noFill/>
                <a:prstDash val="solid"/>
                <a:miter/>
              </a:ln>
            </p:spPr>
            <p:txBody>
              <a:bodyPr rtlCol="0" anchor="ctr"/>
              <a:lstStyle/>
              <a:p>
                <a:endParaRPr lang="en-GB" dirty="0"/>
              </a:p>
            </p:txBody>
          </p:sp>
          <p:sp>
            <p:nvSpPr>
              <p:cNvPr id="148" name="Freihandform: Form 390">
                <a:extLst>
                  <a:ext uri="{FF2B5EF4-FFF2-40B4-BE49-F238E27FC236}">
                    <a16:creationId xmlns:a16="http://schemas.microsoft.com/office/drawing/2014/main" id="{C1ACA3AB-F773-4C11-AF62-BBEBE1E161A9}"/>
                  </a:ext>
                </a:extLst>
              </p:cNvPr>
              <p:cNvSpPr/>
              <p:nvPr/>
            </p:nvSpPr>
            <p:spPr>
              <a:xfrm>
                <a:off x="3465025" y="3287148"/>
                <a:ext cx="85830" cy="257046"/>
              </a:xfrm>
              <a:custGeom>
                <a:avLst/>
                <a:gdLst>
                  <a:gd name="connsiteX0" fmla="*/ 79233 w 85830"/>
                  <a:gd name="connsiteY0" fmla="*/ 257046 h 257046"/>
                  <a:gd name="connsiteX1" fmla="*/ 76090 w 85830"/>
                  <a:gd name="connsiteY1" fmla="*/ 256254 h 257046"/>
                  <a:gd name="connsiteX2" fmla="*/ 0 w 85830"/>
                  <a:gd name="connsiteY2" fmla="*/ 128526 h 257046"/>
                  <a:gd name="connsiteX3" fmla="*/ 76065 w 85830"/>
                  <a:gd name="connsiteY3" fmla="*/ 797 h 257046"/>
                  <a:gd name="connsiteX4" fmla="*/ 85008 w 85830"/>
                  <a:gd name="connsiteY4" fmla="*/ 3454 h 257046"/>
                  <a:gd name="connsiteX5" fmla="*/ 82350 w 85830"/>
                  <a:gd name="connsiteY5" fmla="*/ 12397 h 257046"/>
                  <a:gd name="connsiteX6" fmla="*/ 13184 w 85830"/>
                  <a:gd name="connsiteY6" fmla="*/ 128526 h 257046"/>
                  <a:gd name="connsiteX7" fmla="*/ 82376 w 85830"/>
                  <a:gd name="connsiteY7" fmla="*/ 244654 h 257046"/>
                  <a:gd name="connsiteX8" fmla="*/ 85033 w 85830"/>
                  <a:gd name="connsiteY8" fmla="*/ 253597 h 257046"/>
                  <a:gd name="connsiteX9" fmla="*/ 79233 w 85830"/>
                  <a:gd name="connsiteY9" fmla="*/ 257046 h 257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830" h="257046">
                    <a:moveTo>
                      <a:pt x="79233" y="257046"/>
                    </a:moveTo>
                    <a:cubicBezTo>
                      <a:pt x="78160" y="257046"/>
                      <a:pt x="77087" y="256791"/>
                      <a:pt x="76090" y="256254"/>
                    </a:cubicBezTo>
                    <a:cubicBezTo>
                      <a:pt x="29154" y="230805"/>
                      <a:pt x="0" y="181850"/>
                      <a:pt x="0" y="128526"/>
                    </a:cubicBezTo>
                    <a:cubicBezTo>
                      <a:pt x="0" y="75201"/>
                      <a:pt x="29154" y="26245"/>
                      <a:pt x="76065" y="797"/>
                    </a:cubicBezTo>
                    <a:cubicBezTo>
                      <a:pt x="79259" y="-941"/>
                      <a:pt x="83270" y="260"/>
                      <a:pt x="85008" y="3454"/>
                    </a:cubicBezTo>
                    <a:cubicBezTo>
                      <a:pt x="86745" y="6648"/>
                      <a:pt x="85544" y="10660"/>
                      <a:pt x="82350" y="12397"/>
                    </a:cubicBezTo>
                    <a:cubicBezTo>
                      <a:pt x="39706" y="35546"/>
                      <a:pt x="13184" y="80030"/>
                      <a:pt x="13184" y="128526"/>
                    </a:cubicBezTo>
                    <a:cubicBezTo>
                      <a:pt x="13184" y="177021"/>
                      <a:pt x="39681" y="221530"/>
                      <a:pt x="82376" y="244654"/>
                    </a:cubicBezTo>
                    <a:cubicBezTo>
                      <a:pt x="85570" y="246392"/>
                      <a:pt x="86771" y="250403"/>
                      <a:pt x="85033" y="253597"/>
                    </a:cubicBezTo>
                    <a:cubicBezTo>
                      <a:pt x="83832" y="255794"/>
                      <a:pt x="81584" y="257046"/>
                      <a:pt x="79233" y="257046"/>
                    </a:cubicBezTo>
                    <a:close/>
                  </a:path>
                </a:pathLst>
              </a:custGeom>
              <a:grpFill/>
              <a:ln w="2555" cap="flat">
                <a:noFill/>
                <a:prstDash val="solid"/>
                <a:miter/>
              </a:ln>
            </p:spPr>
            <p:txBody>
              <a:bodyPr rtlCol="0" anchor="ctr"/>
              <a:lstStyle/>
              <a:p>
                <a:endParaRPr lang="en-GB" dirty="0"/>
              </a:p>
            </p:txBody>
          </p:sp>
          <p:sp>
            <p:nvSpPr>
              <p:cNvPr id="149" name="Freihandform: Form 391">
                <a:extLst>
                  <a:ext uri="{FF2B5EF4-FFF2-40B4-BE49-F238E27FC236}">
                    <a16:creationId xmlns:a16="http://schemas.microsoft.com/office/drawing/2014/main" id="{95B296A4-AC72-4A0A-B712-9987A6EFC0F4}"/>
                  </a:ext>
                </a:extLst>
              </p:cNvPr>
              <p:cNvSpPr/>
              <p:nvPr/>
            </p:nvSpPr>
            <p:spPr>
              <a:xfrm>
                <a:off x="3597064" y="3270423"/>
                <a:ext cx="26410" cy="13369"/>
              </a:xfrm>
              <a:custGeom>
                <a:avLst/>
                <a:gdLst>
                  <a:gd name="connsiteX0" fmla="*/ 19784 w 26410"/>
                  <a:gd name="connsiteY0" fmla="*/ 13357 h 13369"/>
                  <a:gd name="connsiteX1" fmla="*/ 19478 w 26410"/>
                  <a:gd name="connsiteY1" fmla="*/ 13357 h 13369"/>
                  <a:gd name="connsiteX2" fmla="*/ 6907 w 26410"/>
                  <a:gd name="connsiteY2" fmla="*/ 13357 h 13369"/>
                  <a:gd name="connsiteX3" fmla="*/ 8 w 26410"/>
                  <a:gd name="connsiteY3" fmla="*/ 7071 h 13369"/>
                  <a:gd name="connsiteX4" fmla="*/ 6294 w 26410"/>
                  <a:gd name="connsiteY4" fmla="*/ 172 h 13369"/>
                  <a:gd name="connsiteX5" fmla="*/ 20117 w 26410"/>
                  <a:gd name="connsiteY5" fmla="*/ 172 h 13369"/>
                  <a:gd name="connsiteX6" fmla="*/ 26402 w 26410"/>
                  <a:gd name="connsiteY6" fmla="*/ 7071 h 13369"/>
                  <a:gd name="connsiteX7" fmla="*/ 19784 w 26410"/>
                  <a:gd name="connsiteY7" fmla="*/ 13357 h 13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10" h="13369">
                    <a:moveTo>
                      <a:pt x="19784" y="13357"/>
                    </a:moveTo>
                    <a:cubicBezTo>
                      <a:pt x="19682" y="13357"/>
                      <a:pt x="19580" y="13357"/>
                      <a:pt x="19478" y="13357"/>
                    </a:cubicBezTo>
                    <a:cubicBezTo>
                      <a:pt x="15313" y="13152"/>
                      <a:pt x="11071" y="13152"/>
                      <a:pt x="6907" y="13357"/>
                    </a:cubicBezTo>
                    <a:cubicBezTo>
                      <a:pt x="3330" y="13587"/>
                      <a:pt x="187" y="10725"/>
                      <a:pt x="8" y="7071"/>
                    </a:cubicBezTo>
                    <a:cubicBezTo>
                      <a:pt x="-171" y="3417"/>
                      <a:pt x="2640" y="351"/>
                      <a:pt x="6294" y="172"/>
                    </a:cubicBezTo>
                    <a:cubicBezTo>
                      <a:pt x="10867" y="-57"/>
                      <a:pt x="15543" y="-57"/>
                      <a:pt x="20117" y="172"/>
                    </a:cubicBezTo>
                    <a:cubicBezTo>
                      <a:pt x="23770" y="351"/>
                      <a:pt x="26581" y="3443"/>
                      <a:pt x="26402" y="7071"/>
                    </a:cubicBezTo>
                    <a:cubicBezTo>
                      <a:pt x="26198" y="10597"/>
                      <a:pt x="23285" y="13357"/>
                      <a:pt x="19784" y="13357"/>
                    </a:cubicBezTo>
                    <a:close/>
                  </a:path>
                </a:pathLst>
              </a:custGeom>
              <a:grpFill/>
              <a:ln w="2555" cap="flat">
                <a:noFill/>
                <a:prstDash val="solid"/>
                <a:miter/>
              </a:ln>
            </p:spPr>
            <p:txBody>
              <a:bodyPr rtlCol="0" anchor="ctr"/>
              <a:lstStyle/>
              <a:p>
                <a:endParaRPr lang="en-GB" dirty="0"/>
              </a:p>
            </p:txBody>
          </p:sp>
          <p:grpSp>
            <p:nvGrpSpPr>
              <p:cNvPr id="150" name="Grafik 277">
                <a:extLst>
                  <a:ext uri="{FF2B5EF4-FFF2-40B4-BE49-F238E27FC236}">
                    <a16:creationId xmlns:a16="http://schemas.microsoft.com/office/drawing/2014/main" id="{F745DD7B-C987-4F76-A2EB-D0676890232F}"/>
                  </a:ext>
                </a:extLst>
              </p:cNvPr>
              <p:cNvGrpSpPr/>
              <p:nvPr/>
            </p:nvGrpSpPr>
            <p:grpSpPr>
              <a:xfrm>
                <a:off x="3458433" y="3574089"/>
                <a:ext cx="303620" cy="52787"/>
                <a:chOff x="3458433" y="3574089"/>
                <a:chExt cx="303620" cy="52787"/>
              </a:xfrm>
              <a:grpFill/>
            </p:grpSpPr>
            <p:sp>
              <p:nvSpPr>
                <p:cNvPr id="154" name="Freihandform: Form 396">
                  <a:extLst>
                    <a:ext uri="{FF2B5EF4-FFF2-40B4-BE49-F238E27FC236}">
                      <a16:creationId xmlns:a16="http://schemas.microsoft.com/office/drawing/2014/main" id="{B1095206-CA5F-4F49-A5D1-132BEFD34A5A}"/>
                    </a:ext>
                  </a:extLst>
                </p:cNvPr>
                <p:cNvSpPr/>
                <p:nvPr/>
              </p:nvSpPr>
              <p:spPr>
                <a:xfrm>
                  <a:off x="3458433" y="3574089"/>
                  <a:ext cx="52787" cy="52787"/>
                </a:xfrm>
                <a:custGeom>
                  <a:avLst/>
                  <a:gdLst>
                    <a:gd name="connsiteX0" fmla="*/ 46196 w 52787"/>
                    <a:gd name="connsiteY0" fmla="*/ 52788 h 52787"/>
                    <a:gd name="connsiteX1" fmla="*/ 6592 w 52787"/>
                    <a:gd name="connsiteY1" fmla="*/ 52788 h 52787"/>
                    <a:gd name="connsiteX2" fmla="*/ 0 w 52787"/>
                    <a:gd name="connsiteY2" fmla="*/ 46196 h 52787"/>
                    <a:gd name="connsiteX3" fmla="*/ 0 w 52787"/>
                    <a:gd name="connsiteY3" fmla="*/ 6592 h 52787"/>
                    <a:gd name="connsiteX4" fmla="*/ 6592 w 52787"/>
                    <a:gd name="connsiteY4" fmla="*/ 0 h 52787"/>
                    <a:gd name="connsiteX5" fmla="*/ 46196 w 52787"/>
                    <a:gd name="connsiteY5" fmla="*/ 0 h 52787"/>
                    <a:gd name="connsiteX6" fmla="*/ 52788 w 52787"/>
                    <a:gd name="connsiteY6" fmla="*/ 6592 h 52787"/>
                    <a:gd name="connsiteX7" fmla="*/ 52788 w 52787"/>
                    <a:gd name="connsiteY7" fmla="*/ 46196 h 52787"/>
                    <a:gd name="connsiteX8" fmla="*/ 46196 w 52787"/>
                    <a:gd name="connsiteY8" fmla="*/ 52788 h 52787"/>
                    <a:gd name="connsiteX9" fmla="*/ 13184 w 52787"/>
                    <a:gd name="connsiteY9" fmla="*/ 39578 h 52787"/>
                    <a:gd name="connsiteX10" fmla="*/ 39578 w 52787"/>
                    <a:gd name="connsiteY10" fmla="*/ 39578 h 52787"/>
                    <a:gd name="connsiteX11" fmla="*/ 39578 w 52787"/>
                    <a:gd name="connsiteY11" fmla="*/ 13184 h 52787"/>
                    <a:gd name="connsiteX12" fmla="*/ 13184 w 52787"/>
                    <a:gd name="connsiteY12" fmla="*/ 13184 h 52787"/>
                    <a:gd name="connsiteX13" fmla="*/ 13184 w 52787"/>
                    <a:gd name="connsiteY13" fmla="*/ 39578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87" h="52787">
                      <a:moveTo>
                        <a:pt x="46196" y="52788"/>
                      </a:moveTo>
                      <a:lnTo>
                        <a:pt x="6592" y="52788"/>
                      </a:lnTo>
                      <a:cubicBezTo>
                        <a:pt x="2938" y="52788"/>
                        <a:pt x="0" y="49824"/>
                        <a:pt x="0" y="46196"/>
                      </a:cubicBezTo>
                      <a:lnTo>
                        <a:pt x="0" y="6592"/>
                      </a:lnTo>
                      <a:cubicBezTo>
                        <a:pt x="0" y="2938"/>
                        <a:pt x="2964" y="0"/>
                        <a:pt x="6592" y="0"/>
                      </a:cubicBezTo>
                      <a:lnTo>
                        <a:pt x="46196" y="0"/>
                      </a:lnTo>
                      <a:cubicBezTo>
                        <a:pt x="49850" y="0"/>
                        <a:pt x="52788" y="2964"/>
                        <a:pt x="52788" y="6592"/>
                      </a:cubicBezTo>
                      <a:lnTo>
                        <a:pt x="52788" y="46196"/>
                      </a:lnTo>
                      <a:cubicBezTo>
                        <a:pt x="52788" y="49824"/>
                        <a:pt x="49850" y="52788"/>
                        <a:pt x="46196" y="52788"/>
                      </a:cubicBezTo>
                      <a:close/>
                      <a:moveTo>
                        <a:pt x="13184" y="39578"/>
                      </a:moveTo>
                      <a:lnTo>
                        <a:pt x="39578" y="39578"/>
                      </a:lnTo>
                      <a:lnTo>
                        <a:pt x="39578" y="13184"/>
                      </a:lnTo>
                      <a:lnTo>
                        <a:pt x="13184" y="13184"/>
                      </a:lnTo>
                      <a:lnTo>
                        <a:pt x="13184" y="39578"/>
                      </a:lnTo>
                      <a:close/>
                    </a:path>
                  </a:pathLst>
                </a:custGeom>
                <a:grpFill/>
                <a:ln w="2555" cap="flat">
                  <a:noFill/>
                  <a:prstDash val="solid"/>
                  <a:miter/>
                </a:ln>
              </p:spPr>
              <p:txBody>
                <a:bodyPr rtlCol="0" anchor="ctr"/>
                <a:lstStyle/>
                <a:p>
                  <a:endParaRPr lang="en-GB" dirty="0"/>
                </a:p>
              </p:txBody>
            </p:sp>
            <p:sp>
              <p:nvSpPr>
                <p:cNvPr id="155" name="Freihandform: Form 397">
                  <a:extLst>
                    <a:ext uri="{FF2B5EF4-FFF2-40B4-BE49-F238E27FC236}">
                      <a16:creationId xmlns:a16="http://schemas.microsoft.com/office/drawing/2014/main" id="{7ED5D856-9947-4F38-A4C5-FD9408300CF0}"/>
                    </a:ext>
                  </a:extLst>
                </p:cNvPr>
                <p:cNvSpPr/>
                <p:nvPr/>
              </p:nvSpPr>
              <p:spPr>
                <a:xfrm>
                  <a:off x="3550850" y="3593890"/>
                  <a:ext cx="211203" cy="13184"/>
                </a:xfrm>
                <a:custGeom>
                  <a:avLst/>
                  <a:gdLst>
                    <a:gd name="connsiteX0" fmla="*/ 204611 w 211203"/>
                    <a:gd name="connsiteY0" fmla="*/ 13184 h 13184"/>
                    <a:gd name="connsiteX1" fmla="*/ 6592 w 211203"/>
                    <a:gd name="connsiteY1" fmla="*/ 13184 h 13184"/>
                    <a:gd name="connsiteX2" fmla="*/ 0 w 211203"/>
                    <a:gd name="connsiteY2" fmla="*/ 6592 h 13184"/>
                    <a:gd name="connsiteX3" fmla="*/ 6592 w 211203"/>
                    <a:gd name="connsiteY3" fmla="*/ 0 h 13184"/>
                    <a:gd name="connsiteX4" fmla="*/ 204611 w 211203"/>
                    <a:gd name="connsiteY4" fmla="*/ 0 h 13184"/>
                    <a:gd name="connsiteX5" fmla="*/ 211203 w 211203"/>
                    <a:gd name="connsiteY5" fmla="*/ 6592 h 13184"/>
                    <a:gd name="connsiteX6" fmla="*/ 204611 w 211203"/>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203" h="13184">
                      <a:moveTo>
                        <a:pt x="204611" y="13184"/>
                      </a:moveTo>
                      <a:lnTo>
                        <a:pt x="6592" y="13184"/>
                      </a:lnTo>
                      <a:cubicBezTo>
                        <a:pt x="2938" y="13184"/>
                        <a:pt x="0" y="10220"/>
                        <a:pt x="0" y="6592"/>
                      </a:cubicBezTo>
                      <a:cubicBezTo>
                        <a:pt x="0" y="2938"/>
                        <a:pt x="2964" y="0"/>
                        <a:pt x="6592" y="0"/>
                      </a:cubicBezTo>
                      <a:lnTo>
                        <a:pt x="204611" y="0"/>
                      </a:lnTo>
                      <a:cubicBezTo>
                        <a:pt x="208265" y="0"/>
                        <a:pt x="211203" y="2964"/>
                        <a:pt x="211203" y="6592"/>
                      </a:cubicBezTo>
                      <a:cubicBezTo>
                        <a:pt x="211229" y="10220"/>
                        <a:pt x="208265" y="13184"/>
                        <a:pt x="204611" y="13184"/>
                      </a:cubicBezTo>
                      <a:close/>
                    </a:path>
                  </a:pathLst>
                </a:custGeom>
                <a:grpFill/>
                <a:ln w="2555" cap="flat">
                  <a:noFill/>
                  <a:prstDash val="solid"/>
                  <a:miter/>
                </a:ln>
              </p:spPr>
              <p:txBody>
                <a:bodyPr rtlCol="0" anchor="ctr"/>
                <a:lstStyle/>
                <a:p>
                  <a:endParaRPr lang="en-GB" dirty="0"/>
                </a:p>
              </p:txBody>
            </p:sp>
          </p:grpSp>
          <p:grpSp>
            <p:nvGrpSpPr>
              <p:cNvPr id="151" name="Grafik 277">
                <a:extLst>
                  <a:ext uri="{FF2B5EF4-FFF2-40B4-BE49-F238E27FC236}">
                    <a16:creationId xmlns:a16="http://schemas.microsoft.com/office/drawing/2014/main" id="{ED26BE48-8240-40B6-926F-C4A2925CBCA9}"/>
                  </a:ext>
                </a:extLst>
              </p:cNvPr>
              <p:cNvGrpSpPr/>
              <p:nvPr/>
            </p:nvGrpSpPr>
            <p:grpSpPr>
              <a:xfrm>
                <a:off x="3458433" y="3653296"/>
                <a:ext cx="303620" cy="52787"/>
                <a:chOff x="3458433" y="3653296"/>
                <a:chExt cx="303620" cy="52787"/>
              </a:xfrm>
              <a:grpFill/>
            </p:grpSpPr>
            <p:sp>
              <p:nvSpPr>
                <p:cNvPr id="152" name="Freihandform: Form 399">
                  <a:extLst>
                    <a:ext uri="{FF2B5EF4-FFF2-40B4-BE49-F238E27FC236}">
                      <a16:creationId xmlns:a16="http://schemas.microsoft.com/office/drawing/2014/main" id="{0070D262-E1DE-4BB4-AD8D-6657165D4EB7}"/>
                    </a:ext>
                  </a:extLst>
                </p:cNvPr>
                <p:cNvSpPr/>
                <p:nvPr/>
              </p:nvSpPr>
              <p:spPr>
                <a:xfrm>
                  <a:off x="3458433" y="3653296"/>
                  <a:ext cx="52787" cy="52787"/>
                </a:xfrm>
                <a:custGeom>
                  <a:avLst/>
                  <a:gdLst>
                    <a:gd name="connsiteX0" fmla="*/ 46196 w 52787"/>
                    <a:gd name="connsiteY0" fmla="*/ 52788 h 52787"/>
                    <a:gd name="connsiteX1" fmla="*/ 6592 w 52787"/>
                    <a:gd name="connsiteY1" fmla="*/ 52788 h 52787"/>
                    <a:gd name="connsiteX2" fmla="*/ 0 w 52787"/>
                    <a:gd name="connsiteY2" fmla="*/ 46196 h 52787"/>
                    <a:gd name="connsiteX3" fmla="*/ 0 w 52787"/>
                    <a:gd name="connsiteY3" fmla="*/ 6592 h 52787"/>
                    <a:gd name="connsiteX4" fmla="*/ 6592 w 52787"/>
                    <a:gd name="connsiteY4" fmla="*/ 0 h 52787"/>
                    <a:gd name="connsiteX5" fmla="*/ 46196 w 52787"/>
                    <a:gd name="connsiteY5" fmla="*/ 0 h 52787"/>
                    <a:gd name="connsiteX6" fmla="*/ 52788 w 52787"/>
                    <a:gd name="connsiteY6" fmla="*/ 6592 h 52787"/>
                    <a:gd name="connsiteX7" fmla="*/ 52788 w 52787"/>
                    <a:gd name="connsiteY7" fmla="*/ 46196 h 52787"/>
                    <a:gd name="connsiteX8" fmla="*/ 46196 w 52787"/>
                    <a:gd name="connsiteY8" fmla="*/ 52788 h 52787"/>
                    <a:gd name="connsiteX9" fmla="*/ 13184 w 52787"/>
                    <a:gd name="connsiteY9" fmla="*/ 39578 h 52787"/>
                    <a:gd name="connsiteX10" fmla="*/ 39578 w 52787"/>
                    <a:gd name="connsiteY10" fmla="*/ 39578 h 52787"/>
                    <a:gd name="connsiteX11" fmla="*/ 39578 w 52787"/>
                    <a:gd name="connsiteY11" fmla="*/ 13184 h 52787"/>
                    <a:gd name="connsiteX12" fmla="*/ 13184 w 52787"/>
                    <a:gd name="connsiteY12" fmla="*/ 13184 h 52787"/>
                    <a:gd name="connsiteX13" fmla="*/ 13184 w 52787"/>
                    <a:gd name="connsiteY13" fmla="*/ 39578 h 52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87" h="52787">
                      <a:moveTo>
                        <a:pt x="46196" y="52788"/>
                      </a:moveTo>
                      <a:lnTo>
                        <a:pt x="6592" y="52788"/>
                      </a:lnTo>
                      <a:cubicBezTo>
                        <a:pt x="2938" y="52788"/>
                        <a:pt x="0" y="49824"/>
                        <a:pt x="0" y="46196"/>
                      </a:cubicBezTo>
                      <a:lnTo>
                        <a:pt x="0" y="6592"/>
                      </a:lnTo>
                      <a:cubicBezTo>
                        <a:pt x="0" y="2938"/>
                        <a:pt x="2964" y="0"/>
                        <a:pt x="6592" y="0"/>
                      </a:cubicBezTo>
                      <a:lnTo>
                        <a:pt x="46196" y="0"/>
                      </a:lnTo>
                      <a:cubicBezTo>
                        <a:pt x="49850" y="0"/>
                        <a:pt x="52788" y="2964"/>
                        <a:pt x="52788" y="6592"/>
                      </a:cubicBezTo>
                      <a:lnTo>
                        <a:pt x="52788" y="46196"/>
                      </a:lnTo>
                      <a:cubicBezTo>
                        <a:pt x="52788" y="49850"/>
                        <a:pt x="49850" y="52788"/>
                        <a:pt x="46196" y="52788"/>
                      </a:cubicBezTo>
                      <a:close/>
                      <a:moveTo>
                        <a:pt x="13184" y="39578"/>
                      </a:moveTo>
                      <a:lnTo>
                        <a:pt x="39578" y="39578"/>
                      </a:lnTo>
                      <a:lnTo>
                        <a:pt x="39578" y="13184"/>
                      </a:lnTo>
                      <a:lnTo>
                        <a:pt x="13184" y="13184"/>
                      </a:lnTo>
                      <a:lnTo>
                        <a:pt x="13184" y="39578"/>
                      </a:lnTo>
                      <a:close/>
                    </a:path>
                  </a:pathLst>
                </a:custGeom>
                <a:grpFill/>
                <a:ln w="2555" cap="flat">
                  <a:noFill/>
                  <a:prstDash val="solid"/>
                  <a:miter/>
                </a:ln>
              </p:spPr>
              <p:txBody>
                <a:bodyPr rtlCol="0" anchor="ctr"/>
                <a:lstStyle/>
                <a:p>
                  <a:endParaRPr lang="en-GB" dirty="0"/>
                </a:p>
              </p:txBody>
            </p:sp>
            <p:sp>
              <p:nvSpPr>
                <p:cNvPr id="153" name="Freihandform: Form 400">
                  <a:extLst>
                    <a:ext uri="{FF2B5EF4-FFF2-40B4-BE49-F238E27FC236}">
                      <a16:creationId xmlns:a16="http://schemas.microsoft.com/office/drawing/2014/main" id="{4A6495AE-A7D6-44B9-94DA-96516D3C9349}"/>
                    </a:ext>
                  </a:extLst>
                </p:cNvPr>
                <p:cNvSpPr/>
                <p:nvPr/>
              </p:nvSpPr>
              <p:spPr>
                <a:xfrm>
                  <a:off x="3550850" y="3673098"/>
                  <a:ext cx="211203" cy="13184"/>
                </a:xfrm>
                <a:custGeom>
                  <a:avLst/>
                  <a:gdLst>
                    <a:gd name="connsiteX0" fmla="*/ 204611 w 211203"/>
                    <a:gd name="connsiteY0" fmla="*/ 13184 h 13184"/>
                    <a:gd name="connsiteX1" fmla="*/ 6592 w 211203"/>
                    <a:gd name="connsiteY1" fmla="*/ 13184 h 13184"/>
                    <a:gd name="connsiteX2" fmla="*/ 0 w 211203"/>
                    <a:gd name="connsiteY2" fmla="*/ 6592 h 13184"/>
                    <a:gd name="connsiteX3" fmla="*/ 6592 w 211203"/>
                    <a:gd name="connsiteY3" fmla="*/ 0 h 13184"/>
                    <a:gd name="connsiteX4" fmla="*/ 204611 w 211203"/>
                    <a:gd name="connsiteY4" fmla="*/ 0 h 13184"/>
                    <a:gd name="connsiteX5" fmla="*/ 211203 w 211203"/>
                    <a:gd name="connsiteY5" fmla="*/ 6592 h 13184"/>
                    <a:gd name="connsiteX6" fmla="*/ 204611 w 211203"/>
                    <a:gd name="connsiteY6" fmla="*/ 13184 h 1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203" h="13184">
                      <a:moveTo>
                        <a:pt x="204611" y="13184"/>
                      </a:moveTo>
                      <a:lnTo>
                        <a:pt x="6592" y="13184"/>
                      </a:lnTo>
                      <a:cubicBezTo>
                        <a:pt x="2938" y="13184"/>
                        <a:pt x="0" y="10220"/>
                        <a:pt x="0" y="6592"/>
                      </a:cubicBezTo>
                      <a:cubicBezTo>
                        <a:pt x="0" y="2938"/>
                        <a:pt x="2964" y="0"/>
                        <a:pt x="6592" y="0"/>
                      </a:cubicBezTo>
                      <a:lnTo>
                        <a:pt x="204611" y="0"/>
                      </a:lnTo>
                      <a:cubicBezTo>
                        <a:pt x="208265" y="0"/>
                        <a:pt x="211203" y="2964"/>
                        <a:pt x="211203" y="6592"/>
                      </a:cubicBezTo>
                      <a:cubicBezTo>
                        <a:pt x="211229" y="10246"/>
                        <a:pt x="208265" y="13184"/>
                        <a:pt x="204611" y="13184"/>
                      </a:cubicBezTo>
                      <a:close/>
                    </a:path>
                  </a:pathLst>
                </a:custGeom>
                <a:grpFill/>
                <a:ln w="2555" cap="flat">
                  <a:noFill/>
                  <a:prstDash val="solid"/>
                  <a:miter/>
                </a:ln>
              </p:spPr>
              <p:txBody>
                <a:bodyPr rtlCol="0" anchor="ctr"/>
                <a:lstStyle/>
                <a:p>
                  <a:endParaRPr lang="en-GB" dirty="0"/>
                </a:p>
              </p:txBody>
            </p:sp>
          </p:grpSp>
        </p:grpSp>
      </p:grpSp>
      <p:grpSp>
        <p:nvGrpSpPr>
          <p:cNvPr id="25" name="Group 24">
            <a:extLst>
              <a:ext uri="{FF2B5EF4-FFF2-40B4-BE49-F238E27FC236}">
                <a16:creationId xmlns:a16="http://schemas.microsoft.com/office/drawing/2014/main" id="{603A4CFC-4972-80AB-7295-8D62D0043031}"/>
              </a:ext>
            </a:extLst>
          </p:cNvPr>
          <p:cNvGrpSpPr/>
          <p:nvPr/>
        </p:nvGrpSpPr>
        <p:grpSpPr>
          <a:xfrm>
            <a:off x="1623484" y="2391526"/>
            <a:ext cx="432000" cy="432001"/>
            <a:chOff x="1623484" y="2391526"/>
            <a:chExt cx="432000" cy="432001"/>
          </a:xfrm>
        </p:grpSpPr>
        <p:grpSp>
          <p:nvGrpSpPr>
            <p:cNvPr id="160" name="Grafik 278">
              <a:extLst>
                <a:ext uri="{FF2B5EF4-FFF2-40B4-BE49-F238E27FC236}">
                  <a16:creationId xmlns:a16="http://schemas.microsoft.com/office/drawing/2014/main" id="{A6123F20-38B5-4DA7-ACEC-89DC799E5C71}"/>
                </a:ext>
              </a:extLst>
            </p:cNvPr>
            <p:cNvGrpSpPr/>
            <p:nvPr/>
          </p:nvGrpSpPr>
          <p:grpSpPr>
            <a:xfrm>
              <a:off x="1643775" y="2515894"/>
              <a:ext cx="392092" cy="307633"/>
              <a:chOff x="7820781" y="2580720"/>
              <a:chExt cx="388731" cy="304996"/>
            </a:xfrm>
            <a:solidFill>
              <a:schemeClr val="accent1"/>
            </a:solidFill>
          </p:grpSpPr>
          <p:grpSp>
            <p:nvGrpSpPr>
              <p:cNvPr id="167" name="Grafik 278">
                <a:extLst>
                  <a:ext uri="{FF2B5EF4-FFF2-40B4-BE49-F238E27FC236}">
                    <a16:creationId xmlns:a16="http://schemas.microsoft.com/office/drawing/2014/main" id="{A913D7A5-C8C5-4E66-A466-7944BA6B4BAF}"/>
                  </a:ext>
                </a:extLst>
              </p:cNvPr>
              <p:cNvGrpSpPr/>
              <p:nvPr/>
            </p:nvGrpSpPr>
            <p:grpSpPr>
              <a:xfrm>
                <a:off x="8086014" y="2626125"/>
                <a:ext cx="123498" cy="259591"/>
                <a:chOff x="8086014" y="2626125"/>
                <a:chExt cx="123498" cy="259591"/>
              </a:xfrm>
              <a:solidFill>
                <a:schemeClr val="accent1"/>
              </a:solidFill>
            </p:grpSpPr>
            <p:sp>
              <p:nvSpPr>
                <p:cNvPr id="179" name="Freihandform: Form 940">
                  <a:extLst>
                    <a:ext uri="{FF2B5EF4-FFF2-40B4-BE49-F238E27FC236}">
                      <a16:creationId xmlns:a16="http://schemas.microsoft.com/office/drawing/2014/main" id="{BAF0A716-3C25-4E13-9836-2B44CC0DF680}"/>
                    </a:ext>
                  </a:extLst>
                </p:cNvPr>
                <p:cNvSpPr/>
                <p:nvPr/>
              </p:nvSpPr>
              <p:spPr>
                <a:xfrm>
                  <a:off x="8099202" y="2729977"/>
                  <a:ext cx="110309" cy="155739"/>
                </a:xfrm>
                <a:custGeom>
                  <a:avLst/>
                  <a:gdLst>
                    <a:gd name="connsiteX0" fmla="*/ 103802 w 110309"/>
                    <a:gd name="connsiteY0" fmla="*/ 155740 h 155739"/>
                    <a:gd name="connsiteX1" fmla="*/ 97319 w 110309"/>
                    <a:gd name="connsiteY1" fmla="*/ 149257 h 155739"/>
                    <a:gd name="connsiteX2" fmla="*/ 97319 w 110309"/>
                    <a:gd name="connsiteY2" fmla="*/ 69407 h 155739"/>
                    <a:gd name="connsiteX3" fmla="*/ 39764 w 110309"/>
                    <a:gd name="connsiteY3" fmla="*/ 12966 h 155739"/>
                    <a:gd name="connsiteX4" fmla="*/ 6483 w 110309"/>
                    <a:gd name="connsiteY4" fmla="*/ 12966 h 155739"/>
                    <a:gd name="connsiteX5" fmla="*/ 0 w 110309"/>
                    <a:gd name="connsiteY5" fmla="*/ 6483 h 155739"/>
                    <a:gd name="connsiteX6" fmla="*/ 6483 w 110309"/>
                    <a:gd name="connsiteY6" fmla="*/ 0 h 155739"/>
                    <a:gd name="connsiteX7" fmla="*/ 39764 w 110309"/>
                    <a:gd name="connsiteY7" fmla="*/ 0 h 155739"/>
                    <a:gd name="connsiteX8" fmla="*/ 110310 w 110309"/>
                    <a:gd name="connsiteY8" fmla="*/ 69407 h 155739"/>
                    <a:gd name="connsiteX9" fmla="*/ 110310 w 110309"/>
                    <a:gd name="connsiteY9" fmla="*/ 149257 h 155739"/>
                    <a:gd name="connsiteX10" fmla="*/ 103802 w 110309"/>
                    <a:gd name="connsiteY10" fmla="*/ 155740 h 15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0309" h="155739">
                      <a:moveTo>
                        <a:pt x="103802" y="155740"/>
                      </a:moveTo>
                      <a:cubicBezTo>
                        <a:pt x="100214" y="155740"/>
                        <a:pt x="97319" y="152845"/>
                        <a:pt x="97319" y="149257"/>
                      </a:cubicBezTo>
                      <a:lnTo>
                        <a:pt x="97319" y="69407"/>
                      </a:lnTo>
                      <a:cubicBezTo>
                        <a:pt x="97319" y="38279"/>
                        <a:pt x="71486" y="12966"/>
                        <a:pt x="39764" y="12966"/>
                      </a:cubicBezTo>
                      <a:lnTo>
                        <a:pt x="6483" y="12966"/>
                      </a:lnTo>
                      <a:cubicBezTo>
                        <a:pt x="2895" y="12966"/>
                        <a:pt x="0" y="10071"/>
                        <a:pt x="0" y="6483"/>
                      </a:cubicBezTo>
                      <a:cubicBezTo>
                        <a:pt x="0" y="2895"/>
                        <a:pt x="2895" y="0"/>
                        <a:pt x="6483" y="0"/>
                      </a:cubicBezTo>
                      <a:lnTo>
                        <a:pt x="39764" y="0"/>
                      </a:lnTo>
                      <a:cubicBezTo>
                        <a:pt x="78662" y="0"/>
                        <a:pt x="110310" y="31153"/>
                        <a:pt x="110310" y="69407"/>
                      </a:cubicBezTo>
                      <a:lnTo>
                        <a:pt x="110310" y="149257"/>
                      </a:lnTo>
                      <a:cubicBezTo>
                        <a:pt x="110285" y="152820"/>
                        <a:pt x="107390" y="155740"/>
                        <a:pt x="103802" y="155740"/>
                      </a:cubicBezTo>
                      <a:close/>
                    </a:path>
                  </a:pathLst>
                </a:custGeom>
                <a:solidFill>
                  <a:schemeClr val="accent1"/>
                </a:solidFill>
                <a:ln w="2470" cap="flat">
                  <a:noFill/>
                  <a:prstDash val="solid"/>
                  <a:miter/>
                </a:ln>
              </p:spPr>
              <p:txBody>
                <a:bodyPr rtlCol="0" anchor="ctr"/>
                <a:lstStyle/>
                <a:p>
                  <a:endParaRPr lang="en-GB" dirty="0"/>
                </a:p>
              </p:txBody>
            </p:sp>
            <p:sp>
              <p:nvSpPr>
                <p:cNvPr id="180" name="Freihandform: Form 941">
                  <a:extLst>
                    <a:ext uri="{FF2B5EF4-FFF2-40B4-BE49-F238E27FC236}">
                      <a16:creationId xmlns:a16="http://schemas.microsoft.com/office/drawing/2014/main" id="{4A7AC25D-6F44-443C-915E-FDDDAAE6A157}"/>
                    </a:ext>
                  </a:extLst>
                </p:cNvPr>
                <p:cNvSpPr/>
                <p:nvPr/>
              </p:nvSpPr>
              <p:spPr>
                <a:xfrm>
                  <a:off x="8164056" y="2814354"/>
                  <a:ext cx="19053" cy="71362"/>
                </a:xfrm>
                <a:custGeom>
                  <a:avLst/>
                  <a:gdLst>
                    <a:gd name="connsiteX0" fmla="*/ 6483 w 19053"/>
                    <a:gd name="connsiteY0" fmla="*/ 71362 h 71362"/>
                    <a:gd name="connsiteX1" fmla="*/ 0 w 19053"/>
                    <a:gd name="connsiteY1" fmla="*/ 64879 h 71362"/>
                    <a:gd name="connsiteX2" fmla="*/ 0 w 19053"/>
                    <a:gd name="connsiteY2" fmla="*/ 6483 h 71362"/>
                    <a:gd name="connsiteX3" fmla="*/ 6483 w 19053"/>
                    <a:gd name="connsiteY3" fmla="*/ 0 h 71362"/>
                    <a:gd name="connsiteX4" fmla="*/ 12570 w 19053"/>
                    <a:gd name="connsiteY4" fmla="*/ 0 h 71362"/>
                    <a:gd name="connsiteX5" fmla="*/ 19053 w 19053"/>
                    <a:gd name="connsiteY5" fmla="*/ 6483 h 71362"/>
                    <a:gd name="connsiteX6" fmla="*/ 12966 w 19053"/>
                    <a:gd name="connsiteY6" fmla="*/ 12966 h 71362"/>
                    <a:gd name="connsiteX7" fmla="*/ 12966 w 19053"/>
                    <a:gd name="connsiteY7" fmla="*/ 64904 h 71362"/>
                    <a:gd name="connsiteX8" fmla="*/ 6483 w 19053"/>
                    <a:gd name="connsiteY8" fmla="*/ 71362 h 71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3" h="71362">
                      <a:moveTo>
                        <a:pt x="6483" y="71362"/>
                      </a:moveTo>
                      <a:cubicBezTo>
                        <a:pt x="2895" y="71362"/>
                        <a:pt x="0" y="68467"/>
                        <a:pt x="0" y="64879"/>
                      </a:cubicBezTo>
                      <a:lnTo>
                        <a:pt x="0" y="6483"/>
                      </a:lnTo>
                      <a:cubicBezTo>
                        <a:pt x="0" y="2895"/>
                        <a:pt x="2895" y="0"/>
                        <a:pt x="6483" y="0"/>
                      </a:cubicBezTo>
                      <a:lnTo>
                        <a:pt x="12570" y="0"/>
                      </a:lnTo>
                      <a:cubicBezTo>
                        <a:pt x="16158" y="0"/>
                        <a:pt x="19053" y="2895"/>
                        <a:pt x="19053" y="6483"/>
                      </a:cubicBezTo>
                      <a:cubicBezTo>
                        <a:pt x="19053" y="9922"/>
                        <a:pt x="16356" y="12743"/>
                        <a:pt x="12966" y="12966"/>
                      </a:cubicBezTo>
                      <a:lnTo>
                        <a:pt x="12966" y="64904"/>
                      </a:lnTo>
                      <a:cubicBezTo>
                        <a:pt x="12991" y="68442"/>
                        <a:pt x="10071" y="71362"/>
                        <a:pt x="6483" y="71362"/>
                      </a:cubicBezTo>
                      <a:close/>
                    </a:path>
                  </a:pathLst>
                </a:custGeom>
                <a:solidFill>
                  <a:schemeClr val="accent1"/>
                </a:solidFill>
                <a:ln w="2470" cap="flat">
                  <a:noFill/>
                  <a:prstDash val="solid"/>
                  <a:miter/>
                </a:ln>
              </p:spPr>
              <p:txBody>
                <a:bodyPr rtlCol="0" anchor="ctr"/>
                <a:lstStyle/>
                <a:p>
                  <a:endParaRPr lang="en-GB" dirty="0"/>
                </a:p>
              </p:txBody>
            </p:sp>
            <p:sp>
              <p:nvSpPr>
                <p:cNvPr id="181" name="Freihandform: Form 942">
                  <a:extLst>
                    <a:ext uri="{FF2B5EF4-FFF2-40B4-BE49-F238E27FC236}">
                      <a16:creationId xmlns:a16="http://schemas.microsoft.com/office/drawing/2014/main" id="{C493C2B4-B3D9-42AD-8695-F1A9202C3941}"/>
                    </a:ext>
                  </a:extLst>
                </p:cNvPr>
                <p:cNvSpPr/>
                <p:nvPr/>
              </p:nvSpPr>
              <p:spPr>
                <a:xfrm>
                  <a:off x="8086014" y="2626125"/>
                  <a:ext cx="77894" cy="90860"/>
                </a:xfrm>
                <a:custGeom>
                  <a:avLst/>
                  <a:gdLst>
                    <a:gd name="connsiteX0" fmla="*/ 38947 w 77894"/>
                    <a:gd name="connsiteY0" fmla="*/ 90861 h 90860"/>
                    <a:gd name="connsiteX1" fmla="*/ 0 w 77894"/>
                    <a:gd name="connsiteY1" fmla="*/ 45430 h 90860"/>
                    <a:gd name="connsiteX2" fmla="*/ 38947 w 77894"/>
                    <a:gd name="connsiteY2" fmla="*/ 0 h 90860"/>
                    <a:gd name="connsiteX3" fmla="*/ 77895 w 77894"/>
                    <a:gd name="connsiteY3" fmla="*/ 45430 h 90860"/>
                    <a:gd name="connsiteX4" fmla="*/ 38947 w 77894"/>
                    <a:gd name="connsiteY4" fmla="*/ 90861 h 90860"/>
                    <a:gd name="connsiteX5" fmla="*/ 38947 w 77894"/>
                    <a:gd name="connsiteY5" fmla="*/ 12991 h 90860"/>
                    <a:gd name="connsiteX6" fmla="*/ 12991 w 77894"/>
                    <a:gd name="connsiteY6" fmla="*/ 45430 h 90860"/>
                    <a:gd name="connsiteX7" fmla="*/ 38947 w 77894"/>
                    <a:gd name="connsiteY7" fmla="*/ 77870 h 90860"/>
                    <a:gd name="connsiteX8" fmla="*/ 64904 w 77894"/>
                    <a:gd name="connsiteY8" fmla="*/ 45430 h 90860"/>
                    <a:gd name="connsiteX9" fmla="*/ 38947 w 77894"/>
                    <a:gd name="connsiteY9" fmla="*/ 12991 h 9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94" h="90860">
                      <a:moveTo>
                        <a:pt x="38947" y="90861"/>
                      </a:moveTo>
                      <a:cubicBezTo>
                        <a:pt x="15663" y="90861"/>
                        <a:pt x="0" y="72599"/>
                        <a:pt x="0" y="45430"/>
                      </a:cubicBezTo>
                      <a:cubicBezTo>
                        <a:pt x="0" y="18261"/>
                        <a:pt x="15638" y="0"/>
                        <a:pt x="38947" y="0"/>
                      </a:cubicBezTo>
                      <a:cubicBezTo>
                        <a:pt x="62232" y="0"/>
                        <a:pt x="77895" y="18261"/>
                        <a:pt x="77895" y="45430"/>
                      </a:cubicBezTo>
                      <a:cubicBezTo>
                        <a:pt x="77895" y="72599"/>
                        <a:pt x="62256" y="90861"/>
                        <a:pt x="38947" y="90861"/>
                      </a:cubicBezTo>
                      <a:close/>
                      <a:moveTo>
                        <a:pt x="38947" y="12991"/>
                      </a:moveTo>
                      <a:cubicBezTo>
                        <a:pt x="19820" y="12991"/>
                        <a:pt x="12991" y="29742"/>
                        <a:pt x="12991" y="45430"/>
                      </a:cubicBezTo>
                      <a:cubicBezTo>
                        <a:pt x="12991" y="61118"/>
                        <a:pt x="19820" y="77870"/>
                        <a:pt x="38947" y="77870"/>
                      </a:cubicBezTo>
                      <a:cubicBezTo>
                        <a:pt x="58075" y="77870"/>
                        <a:pt x="64904" y="61118"/>
                        <a:pt x="64904" y="45430"/>
                      </a:cubicBezTo>
                      <a:cubicBezTo>
                        <a:pt x="64929" y="29742"/>
                        <a:pt x="58099" y="12991"/>
                        <a:pt x="38947" y="12991"/>
                      </a:cubicBezTo>
                      <a:close/>
                    </a:path>
                  </a:pathLst>
                </a:custGeom>
                <a:solidFill>
                  <a:schemeClr val="accent1"/>
                </a:solidFill>
                <a:ln w="2470" cap="flat">
                  <a:noFill/>
                  <a:prstDash val="solid"/>
                  <a:miter/>
                </a:ln>
              </p:spPr>
              <p:txBody>
                <a:bodyPr rtlCol="0" anchor="ctr"/>
                <a:lstStyle/>
                <a:p>
                  <a:endParaRPr lang="en-GB" dirty="0"/>
                </a:p>
              </p:txBody>
            </p:sp>
          </p:grpSp>
          <p:sp>
            <p:nvSpPr>
              <p:cNvPr id="168" name="Freihandform: Form 943">
                <a:extLst>
                  <a:ext uri="{FF2B5EF4-FFF2-40B4-BE49-F238E27FC236}">
                    <a16:creationId xmlns:a16="http://schemas.microsoft.com/office/drawing/2014/main" id="{34F347F3-D16D-40FA-951C-ECDA358B693A}"/>
                  </a:ext>
                </a:extLst>
              </p:cNvPr>
              <p:cNvSpPr/>
              <p:nvPr/>
            </p:nvSpPr>
            <p:spPr>
              <a:xfrm>
                <a:off x="7820781" y="2729977"/>
                <a:ext cx="116792" cy="155739"/>
              </a:xfrm>
              <a:custGeom>
                <a:avLst/>
                <a:gdLst>
                  <a:gd name="connsiteX0" fmla="*/ 6483 w 116792"/>
                  <a:gd name="connsiteY0" fmla="*/ 155740 h 155739"/>
                  <a:gd name="connsiteX1" fmla="*/ 0 w 116792"/>
                  <a:gd name="connsiteY1" fmla="*/ 149257 h 155739"/>
                  <a:gd name="connsiteX2" fmla="*/ 0 w 116792"/>
                  <a:gd name="connsiteY2" fmla="*/ 69407 h 155739"/>
                  <a:gd name="connsiteX3" fmla="*/ 70546 w 116792"/>
                  <a:gd name="connsiteY3" fmla="*/ 0 h 155739"/>
                  <a:gd name="connsiteX4" fmla="*/ 110310 w 116792"/>
                  <a:gd name="connsiteY4" fmla="*/ 0 h 155739"/>
                  <a:gd name="connsiteX5" fmla="*/ 116793 w 116792"/>
                  <a:gd name="connsiteY5" fmla="*/ 6483 h 155739"/>
                  <a:gd name="connsiteX6" fmla="*/ 110310 w 116792"/>
                  <a:gd name="connsiteY6" fmla="*/ 12966 h 155739"/>
                  <a:gd name="connsiteX7" fmla="*/ 70546 w 116792"/>
                  <a:gd name="connsiteY7" fmla="*/ 12966 h 155739"/>
                  <a:gd name="connsiteX8" fmla="*/ 12966 w 116792"/>
                  <a:gd name="connsiteY8" fmla="*/ 69407 h 155739"/>
                  <a:gd name="connsiteX9" fmla="*/ 12966 w 116792"/>
                  <a:gd name="connsiteY9" fmla="*/ 149257 h 155739"/>
                  <a:gd name="connsiteX10" fmla="*/ 6483 w 116792"/>
                  <a:gd name="connsiteY10" fmla="*/ 155740 h 155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6792" h="155739">
                    <a:moveTo>
                      <a:pt x="6483" y="155740"/>
                    </a:moveTo>
                    <a:cubicBezTo>
                      <a:pt x="2895" y="155740"/>
                      <a:pt x="0" y="152845"/>
                      <a:pt x="0" y="149257"/>
                    </a:cubicBezTo>
                    <a:lnTo>
                      <a:pt x="0" y="69407"/>
                    </a:lnTo>
                    <a:cubicBezTo>
                      <a:pt x="0" y="31128"/>
                      <a:pt x="31648" y="0"/>
                      <a:pt x="70546" y="0"/>
                    </a:cubicBezTo>
                    <a:lnTo>
                      <a:pt x="110310" y="0"/>
                    </a:lnTo>
                    <a:cubicBezTo>
                      <a:pt x="113898" y="0"/>
                      <a:pt x="116793" y="2895"/>
                      <a:pt x="116793" y="6483"/>
                    </a:cubicBezTo>
                    <a:cubicBezTo>
                      <a:pt x="116793" y="10071"/>
                      <a:pt x="113898" y="12966"/>
                      <a:pt x="110310" y="12966"/>
                    </a:cubicBezTo>
                    <a:lnTo>
                      <a:pt x="70546" y="12966"/>
                    </a:lnTo>
                    <a:cubicBezTo>
                      <a:pt x="38799" y="12966"/>
                      <a:pt x="12966" y="38279"/>
                      <a:pt x="12966" y="69407"/>
                    </a:cubicBezTo>
                    <a:lnTo>
                      <a:pt x="12966" y="149257"/>
                    </a:lnTo>
                    <a:cubicBezTo>
                      <a:pt x="12966" y="152820"/>
                      <a:pt x="10071" y="155740"/>
                      <a:pt x="6483" y="155740"/>
                    </a:cubicBezTo>
                    <a:close/>
                  </a:path>
                </a:pathLst>
              </a:custGeom>
              <a:solidFill>
                <a:schemeClr val="accent1"/>
              </a:solidFill>
              <a:ln w="2470" cap="flat">
                <a:noFill/>
                <a:prstDash val="solid"/>
                <a:miter/>
              </a:ln>
            </p:spPr>
            <p:txBody>
              <a:bodyPr rtlCol="0" anchor="ctr"/>
              <a:lstStyle/>
              <a:p>
                <a:endParaRPr lang="en-GB" dirty="0"/>
              </a:p>
            </p:txBody>
          </p:sp>
          <p:sp>
            <p:nvSpPr>
              <p:cNvPr id="169" name="Freihandform: Form 944">
                <a:extLst>
                  <a:ext uri="{FF2B5EF4-FFF2-40B4-BE49-F238E27FC236}">
                    <a16:creationId xmlns:a16="http://schemas.microsoft.com/office/drawing/2014/main" id="{3CC88F3C-7DAD-4A6D-8162-D709C36FC498}"/>
                  </a:ext>
                </a:extLst>
              </p:cNvPr>
              <p:cNvSpPr/>
              <p:nvPr/>
            </p:nvSpPr>
            <p:spPr>
              <a:xfrm>
                <a:off x="7847158" y="2814329"/>
                <a:ext cx="19052" cy="71386"/>
              </a:xfrm>
              <a:custGeom>
                <a:avLst/>
                <a:gdLst>
                  <a:gd name="connsiteX0" fmla="*/ 12570 w 19052"/>
                  <a:gd name="connsiteY0" fmla="*/ 71387 h 71386"/>
                  <a:gd name="connsiteX1" fmla="*/ 6087 w 19052"/>
                  <a:gd name="connsiteY1" fmla="*/ 64904 h 71386"/>
                  <a:gd name="connsiteX2" fmla="*/ 6087 w 19052"/>
                  <a:gd name="connsiteY2" fmla="*/ 12966 h 71386"/>
                  <a:gd name="connsiteX3" fmla="*/ 0 w 19052"/>
                  <a:gd name="connsiteY3" fmla="*/ 6483 h 71386"/>
                  <a:gd name="connsiteX4" fmla="*/ 6483 w 19052"/>
                  <a:gd name="connsiteY4" fmla="*/ 0 h 71386"/>
                  <a:gd name="connsiteX5" fmla="*/ 12570 w 19052"/>
                  <a:gd name="connsiteY5" fmla="*/ 0 h 71386"/>
                  <a:gd name="connsiteX6" fmla="*/ 19053 w 19052"/>
                  <a:gd name="connsiteY6" fmla="*/ 6483 h 71386"/>
                  <a:gd name="connsiteX7" fmla="*/ 19053 w 19052"/>
                  <a:gd name="connsiteY7" fmla="*/ 64879 h 71386"/>
                  <a:gd name="connsiteX8" fmla="*/ 12570 w 19052"/>
                  <a:gd name="connsiteY8" fmla="*/ 71387 h 71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2" h="71386">
                    <a:moveTo>
                      <a:pt x="12570" y="71387"/>
                    </a:moveTo>
                    <a:cubicBezTo>
                      <a:pt x="8982" y="71387"/>
                      <a:pt x="6087" y="68492"/>
                      <a:pt x="6087" y="64904"/>
                    </a:cubicBezTo>
                    <a:lnTo>
                      <a:pt x="6087" y="12966"/>
                    </a:lnTo>
                    <a:cubicBezTo>
                      <a:pt x="2697" y="12768"/>
                      <a:pt x="0" y="9947"/>
                      <a:pt x="0" y="6483"/>
                    </a:cubicBezTo>
                    <a:cubicBezTo>
                      <a:pt x="0" y="2895"/>
                      <a:pt x="2895" y="0"/>
                      <a:pt x="6483" y="0"/>
                    </a:cubicBezTo>
                    <a:lnTo>
                      <a:pt x="12570" y="0"/>
                    </a:lnTo>
                    <a:cubicBezTo>
                      <a:pt x="16158" y="0"/>
                      <a:pt x="19053" y="2895"/>
                      <a:pt x="19053" y="6483"/>
                    </a:cubicBezTo>
                    <a:lnTo>
                      <a:pt x="19053" y="64879"/>
                    </a:lnTo>
                    <a:cubicBezTo>
                      <a:pt x="19053" y="68467"/>
                      <a:pt x="16133" y="71387"/>
                      <a:pt x="12570" y="71387"/>
                    </a:cubicBezTo>
                    <a:close/>
                  </a:path>
                </a:pathLst>
              </a:custGeom>
              <a:solidFill>
                <a:schemeClr val="accent1"/>
              </a:solidFill>
              <a:ln w="2470" cap="flat">
                <a:noFill/>
                <a:prstDash val="solid"/>
                <a:miter/>
              </a:ln>
            </p:spPr>
            <p:txBody>
              <a:bodyPr rtlCol="0" anchor="ctr"/>
              <a:lstStyle/>
              <a:p>
                <a:endParaRPr lang="en-GB" dirty="0"/>
              </a:p>
            </p:txBody>
          </p:sp>
          <p:sp>
            <p:nvSpPr>
              <p:cNvPr id="170" name="Freihandform: Form 945">
                <a:extLst>
                  <a:ext uri="{FF2B5EF4-FFF2-40B4-BE49-F238E27FC236}">
                    <a16:creationId xmlns:a16="http://schemas.microsoft.com/office/drawing/2014/main" id="{B1C36CE4-420C-4487-BD63-D95BB584BE66}"/>
                  </a:ext>
                </a:extLst>
              </p:cNvPr>
              <p:cNvSpPr/>
              <p:nvPr/>
            </p:nvSpPr>
            <p:spPr>
              <a:xfrm>
                <a:off x="7866335" y="2626125"/>
                <a:ext cx="77894" cy="90860"/>
              </a:xfrm>
              <a:custGeom>
                <a:avLst/>
                <a:gdLst>
                  <a:gd name="connsiteX0" fmla="*/ 38947 w 77894"/>
                  <a:gd name="connsiteY0" fmla="*/ 90861 h 90860"/>
                  <a:gd name="connsiteX1" fmla="*/ 0 w 77894"/>
                  <a:gd name="connsiteY1" fmla="*/ 45430 h 90860"/>
                  <a:gd name="connsiteX2" fmla="*/ 38947 w 77894"/>
                  <a:gd name="connsiteY2" fmla="*/ 0 h 90860"/>
                  <a:gd name="connsiteX3" fmla="*/ 77895 w 77894"/>
                  <a:gd name="connsiteY3" fmla="*/ 45430 h 90860"/>
                  <a:gd name="connsiteX4" fmla="*/ 38947 w 77894"/>
                  <a:gd name="connsiteY4" fmla="*/ 90861 h 90860"/>
                  <a:gd name="connsiteX5" fmla="*/ 38947 w 77894"/>
                  <a:gd name="connsiteY5" fmla="*/ 12991 h 90860"/>
                  <a:gd name="connsiteX6" fmla="*/ 12991 w 77894"/>
                  <a:gd name="connsiteY6" fmla="*/ 45430 h 90860"/>
                  <a:gd name="connsiteX7" fmla="*/ 38947 w 77894"/>
                  <a:gd name="connsiteY7" fmla="*/ 77870 h 90860"/>
                  <a:gd name="connsiteX8" fmla="*/ 64904 w 77894"/>
                  <a:gd name="connsiteY8" fmla="*/ 45430 h 90860"/>
                  <a:gd name="connsiteX9" fmla="*/ 38947 w 77894"/>
                  <a:gd name="connsiteY9" fmla="*/ 12991 h 90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94" h="90860">
                    <a:moveTo>
                      <a:pt x="38947" y="90861"/>
                    </a:moveTo>
                    <a:cubicBezTo>
                      <a:pt x="15663" y="90861"/>
                      <a:pt x="0" y="72599"/>
                      <a:pt x="0" y="45430"/>
                    </a:cubicBezTo>
                    <a:cubicBezTo>
                      <a:pt x="0" y="18261"/>
                      <a:pt x="15638" y="0"/>
                      <a:pt x="38947" y="0"/>
                    </a:cubicBezTo>
                    <a:cubicBezTo>
                      <a:pt x="62232" y="0"/>
                      <a:pt x="77895" y="18261"/>
                      <a:pt x="77895" y="45430"/>
                    </a:cubicBezTo>
                    <a:cubicBezTo>
                      <a:pt x="77895" y="72599"/>
                      <a:pt x="62256" y="90861"/>
                      <a:pt x="38947" y="90861"/>
                    </a:cubicBezTo>
                    <a:close/>
                    <a:moveTo>
                      <a:pt x="38947" y="12991"/>
                    </a:moveTo>
                    <a:cubicBezTo>
                      <a:pt x="19820" y="12991"/>
                      <a:pt x="12991" y="29742"/>
                      <a:pt x="12991" y="45430"/>
                    </a:cubicBezTo>
                    <a:cubicBezTo>
                      <a:pt x="12991" y="61118"/>
                      <a:pt x="19820" y="77870"/>
                      <a:pt x="38947" y="77870"/>
                    </a:cubicBezTo>
                    <a:cubicBezTo>
                      <a:pt x="58075" y="77870"/>
                      <a:pt x="64904" y="61118"/>
                      <a:pt x="64904" y="45430"/>
                    </a:cubicBezTo>
                    <a:cubicBezTo>
                      <a:pt x="64929" y="29742"/>
                      <a:pt x="58099" y="12991"/>
                      <a:pt x="38947" y="12991"/>
                    </a:cubicBezTo>
                    <a:close/>
                  </a:path>
                </a:pathLst>
              </a:custGeom>
              <a:solidFill>
                <a:schemeClr val="accent1"/>
              </a:solidFill>
              <a:ln w="2470" cap="flat">
                <a:noFill/>
                <a:prstDash val="solid"/>
                <a:miter/>
              </a:ln>
            </p:spPr>
            <p:txBody>
              <a:bodyPr rtlCol="0" anchor="ctr"/>
              <a:lstStyle/>
              <a:p>
                <a:endParaRPr lang="en-GB" dirty="0"/>
              </a:p>
            </p:txBody>
          </p:sp>
          <p:grpSp>
            <p:nvGrpSpPr>
              <p:cNvPr id="171" name="Grafik 278">
                <a:extLst>
                  <a:ext uri="{FF2B5EF4-FFF2-40B4-BE49-F238E27FC236}">
                    <a16:creationId xmlns:a16="http://schemas.microsoft.com/office/drawing/2014/main" id="{FDC4509E-D45B-4092-BA63-5EC7C0D6E1E1}"/>
                  </a:ext>
                </a:extLst>
              </p:cNvPr>
              <p:cNvGrpSpPr/>
              <p:nvPr/>
            </p:nvGrpSpPr>
            <p:grpSpPr>
              <a:xfrm>
                <a:off x="7904466" y="2580720"/>
                <a:ext cx="214151" cy="304996"/>
                <a:chOff x="7904466" y="2580720"/>
                <a:chExt cx="214151" cy="304996"/>
              </a:xfrm>
              <a:solidFill>
                <a:schemeClr val="accent1"/>
              </a:solidFill>
            </p:grpSpPr>
            <p:sp>
              <p:nvSpPr>
                <p:cNvPr id="172" name="Freihandform: Form 947">
                  <a:extLst>
                    <a:ext uri="{FF2B5EF4-FFF2-40B4-BE49-F238E27FC236}">
                      <a16:creationId xmlns:a16="http://schemas.microsoft.com/office/drawing/2014/main" id="{21BA0DC7-E9CE-4D27-9621-C0BC19EDCA53}"/>
                    </a:ext>
                  </a:extLst>
                </p:cNvPr>
                <p:cNvSpPr/>
                <p:nvPr/>
              </p:nvSpPr>
              <p:spPr>
                <a:xfrm>
                  <a:off x="7969369" y="2580720"/>
                  <a:ext cx="90860" cy="103826"/>
                </a:xfrm>
                <a:custGeom>
                  <a:avLst/>
                  <a:gdLst>
                    <a:gd name="connsiteX0" fmla="*/ 45430 w 90860"/>
                    <a:gd name="connsiteY0" fmla="*/ 103827 h 103826"/>
                    <a:gd name="connsiteX1" fmla="*/ 0 w 90860"/>
                    <a:gd name="connsiteY1" fmla="*/ 51913 h 103826"/>
                    <a:gd name="connsiteX2" fmla="*/ 45430 w 90860"/>
                    <a:gd name="connsiteY2" fmla="*/ 0 h 103826"/>
                    <a:gd name="connsiteX3" fmla="*/ 90861 w 90860"/>
                    <a:gd name="connsiteY3" fmla="*/ 51913 h 103826"/>
                    <a:gd name="connsiteX4" fmla="*/ 45430 w 90860"/>
                    <a:gd name="connsiteY4" fmla="*/ 103827 h 103826"/>
                    <a:gd name="connsiteX5" fmla="*/ 45430 w 90860"/>
                    <a:gd name="connsiteY5" fmla="*/ 12966 h 103826"/>
                    <a:gd name="connsiteX6" fmla="*/ 12991 w 90860"/>
                    <a:gd name="connsiteY6" fmla="*/ 51913 h 103826"/>
                    <a:gd name="connsiteX7" fmla="*/ 45430 w 90860"/>
                    <a:gd name="connsiteY7" fmla="*/ 90861 h 103826"/>
                    <a:gd name="connsiteX8" fmla="*/ 77870 w 90860"/>
                    <a:gd name="connsiteY8" fmla="*/ 51913 h 103826"/>
                    <a:gd name="connsiteX9" fmla="*/ 45430 w 90860"/>
                    <a:gd name="connsiteY9" fmla="*/ 12966 h 103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860" h="103826">
                      <a:moveTo>
                        <a:pt x="45430" y="103827"/>
                      </a:moveTo>
                      <a:cubicBezTo>
                        <a:pt x="18261" y="103827"/>
                        <a:pt x="0" y="82967"/>
                        <a:pt x="0" y="51913"/>
                      </a:cubicBezTo>
                      <a:cubicBezTo>
                        <a:pt x="0" y="20859"/>
                        <a:pt x="18261" y="0"/>
                        <a:pt x="45430" y="0"/>
                      </a:cubicBezTo>
                      <a:cubicBezTo>
                        <a:pt x="72599" y="0"/>
                        <a:pt x="90861" y="20859"/>
                        <a:pt x="90861" y="51913"/>
                      </a:cubicBezTo>
                      <a:cubicBezTo>
                        <a:pt x="90861" y="82967"/>
                        <a:pt x="72599" y="103827"/>
                        <a:pt x="45430" y="103827"/>
                      </a:cubicBezTo>
                      <a:close/>
                      <a:moveTo>
                        <a:pt x="45430" y="12966"/>
                      </a:moveTo>
                      <a:cubicBezTo>
                        <a:pt x="21478" y="12966"/>
                        <a:pt x="12991" y="33949"/>
                        <a:pt x="12991" y="51913"/>
                      </a:cubicBezTo>
                      <a:cubicBezTo>
                        <a:pt x="12991" y="69878"/>
                        <a:pt x="21478" y="90861"/>
                        <a:pt x="45430" y="90861"/>
                      </a:cubicBezTo>
                      <a:cubicBezTo>
                        <a:pt x="69383" y="90861"/>
                        <a:pt x="77870" y="69878"/>
                        <a:pt x="77870" y="51913"/>
                      </a:cubicBezTo>
                      <a:cubicBezTo>
                        <a:pt x="77870" y="33949"/>
                        <a:pt x="69383" y="12966"/>
                        <a:pt x="45430" y="12966"/>
                      </a:cubicBezTo>
                      <a:close/>
                    </a:path>
                  </a:pathLst>
                </a:custGeom>
                <a:solidFill>
                  <a:schemeClr val="accent1"/>
                </a:solidFill>
                <a:ln w="2470" cap="flat">
                  <a:noFill/>
                  <a:prstDash val="solid"/>
                  <a:miter/>
                </a:ln>
              </p:spPr>
              <p:txBody>
                <a:bodyPr rtlCol="0" anchor="ctr"/>
                <a:lstStyle/>
                <a:p>
                  <a:endParaRPr lang="en-GB" dirty="0"/>
                </a:p>
              </p:txBody>
            </p:sp>
            <p:sp>
              <p:nvSpPr>
                <p:cNvPr id="173" name="Freihandform: Form 948">
                  <a:extLst>
                    <a:ext uri="{FF2B5EF4-FFF2-40B4-BE49-F238E27FC236}">
                      <a16:creationId xmlns:a16="http://schemas.microsoft.com/office/drawing/2014/main" id="{D6068B3B-CC97-4D5B-9183-343ACD3BB9C2}"/>
                    </a:ext>
                  </a:extLst>
                </p:cNvPr>
                <p:cNvSpPr/>
                <p:nvPr/>
              </p:nvSpPr>
              <p:spPr>
                <a:xfrm>
                  <a:off x="8066738" y="2833803"/>
                  <a:ext cx="12965" cy="51913"/>
                </a:xfrm>
                <a:custGeom>
                  <a:avLst/>
                  <a:gdLst>
                    <a:gd name="connsiteX0" fmla="*/ 6483 w 12965"/>
                    <a:gd name="connsiteY0" fmla="*/ 51913 h 51913"/>
                    <a:gd name="connsiteX1" fmla="*/ 0 w 12965"/>
                    <a:gd name="connsiteY1" fmla="*/ 45430 h 51913"/>
                    <a:gd name="connsiteX2" fmla="*/ 0 w 12965"/>
                    <a:gd name="connsiteY2" fmla="*/ 6483 h 51913"/>
                    <a:gd name="connsiteX3" fmla="*/ 6483 w 12965"/>
                    <a:gd name="connsiteY3" fmla="*/ 0 h 51913"/>
                    <a:gd name="connsiteX4" fmla="*/ 12966 w 12965"/>
                    <a:gd name="connsiteY4" fmla="*/ 6483 h 51913"/>
                    <a:gd name="connsiteX5" fmla="*/ 12966 w 12965"/>
                    <a:gd name="connsiteY5" fmla="*/ 45430 h 51913"/>
                    <a:gd name="connsiteX6" fmla="*/ 6483 w 12965"/>
                    <a:gd name="connsiteY6" fmla="*/ 51913 h 5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5" h="51913">
                      <a:moveTo>
                        <a:pt x="6483" y="51913"/>
                      </a:moveTo>
                      <a:cubicBezTo>
                        <a:pt x="2895" y="51913"/>
                        <a:pt x="0" y="49018"/>
                        <a:pt x="0" y="45430"/>
                      </a:cubicBezTo>
                      <a:lnTo>
                        <a:pt x="0" y="6483"/>
                      </a:lnTo>
                      <a:cubicBezTo>
                        <a:pt x="0" y="2895"/>
                        <a:pt x="2895" y="0"/>
                        <a:pt x="6483" y="0"/>
                      </a:cubicBezTo>
                      <a:cubicBezTo>
                        <a:pt x="10071" y="0"/>
                        <a:pt x="12966" y="2895"/>
                        <a:pt x="12966" y="6483"/>
                      </a:cubicBezTo>
                      <a:lnTo>
                        <a:pt x="12966" y="45430"/>
                      </a:lnTo>
                      <a:cubicBezTo>
                        <a:pt x="12966" y="48993"/>
                        <a:pt x="10046" y="51913"/>
                        <a:pt x="6483" y="51913"/>
                      </a:cubicBezTo>
                      <a:close/>
                    </a:path>
                  </a:pathLst>
                </a:custGeom>
                <a:solidFill>
                  <a:schemeClr val="accent1"/>
                </a:solidFill>
                <a:ln w="2470" cap="flat">
                  <a:noFill/>
                  <a:prstDash val="solid"/>
                  <a:miter/>
                </a:ln>
              </p:spPr>
              <p:txBody>
                <a:bodyPr rtlCol="0" anchor="ctr"/>
                <a:lstStyle/>
                <a:p>
                  <a:endParaRPr lang="en-GB" dirty="0"/>
                </a:p>
              </p:txBody>
            </p:sp>
            <p:sp>
              <p:nvSpPr>
                <p:cNvPr id="174" name="Freihandform: Form 949">
                  <a:extLst>
                    <a:ext uri="{FF2B5EF4-FFF2-40B4-BE49-F238E27FC236}">
                      <a16:creationId xmlns:a16="http://schemas.microsoft.com/office/drawing/2014/main" id="{87F11718-E521-4943-95BA-0A8C8F613B5D}"/>
                    </a:ext>
                  </a:extLst>
                </p:cNvPr>
                <p:cNvSpPr/>
                <p:nvPr/>
              </p:nvSpPr>
              <p:spPr>
                <a:xfrm>
                  <a:off x="7949921" y="2833803"/>
                  <a:ext cx="12965" cy="51913"/>
                </a:xfrm>
                <a:custGeom>
                  <a:avLst/>
                  <a:gdLst>
                    <a:gd name="connsiteX0" fmla="*/ 6483 w 12965"/>
                    <a:gd name="connsiteY0" fmla="*/ 51913 h 51913"/>
                    <a:gd name="connsiteX1" fmla="*/ 0 w 12965"/>
                    <a:gd name="connsiteY1" fmla="*/ 45430 h 51913"/>
                    <a:gd name="connsiteX2" fmla="*/ 0 w 12965"/>
                    <a:gd name="connsiteY2" fmla="*/ 6483 h 51913"/>
                    <a:gd name="connsiteX3" fmla="*/ 6483 w 12965"/>
                    <a:gd name="connsiteY3" fmla="*/ 0 h 51913"/>
                    <a:gd name="connsiteX4" fmla="*/ 12966 w 12965"/>
                    <a:gd name="connsiteY4" fmla="*/ 6483 h 51913"/>
                    <a:gd name="connsiteX5" fmla="*/ 12966 w 12965"/>
                    <a:gd name="connsiteY5" fmla="*/ 45430 h 51913"/>
                    <a:gd name="connsiteX6" fmla="*/ 6483 w 12965"/>
                    <a:gd name="connsiteY6" fmla="*/ 51913 h 5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5" h="51913">
                      <a:moveTo>
                        <a:pt x="6483" y="51913"/>
                      </a:moveTo>
                      <a:cubicBezTo>
                        <a:pt x="2895" y="51913"/>
                        <a:pt x="0" y="49018"/>
                        <a:pt x="0" y="45430"/>
                      </a:cubicBezTo>
                      <a:lnTo>
                        <a:pt x="0" y="6483"/>
                      </a:lnTo>
                      <a:cubicBezTo>
                        <a:pt x="0" y="2895"/>
                        <a:pt x="2895" y="0"/>
                        <a:pt x="6483" y="0"/>
                      </a:cubicBezTo>
                      <a:cubicBezTo>
                        <a:pt x="10071" y="0"/>
                        <a:pt x="12966" y="2895"/>
                        <a:pt x="12966" y="6483"/>
                      </a:cubicBezTo>
                      <a:lnTo>
                        <a:pt x="12966" y="45430"/>
                      </a:lnTo>
                      <a:cubicBezTo>
                        <a:pt x="12966" y="48993"/>
                        <a:pt x="10071" y="51913"/>
                        <a:pt x="6483" y="51913"/>
                      </a:cubicBezTo>
                      <a:close/>
                    </a:path>
                  </a:pathLst>
                </a:custGeom>
                <a:solidFill>
                  <a:schemeClr val="accent1"/>
                </a:solidFill>
                <a:ln w="2470" cap="flat">
                  <a:noFill/>
                  <a:prstDash val="solid"/>
                  <a:miter/>
                </a:ln>
              </p:spPr>
              <p:txBody>
                <a:bodyPr rtlCol="0" anchor="ctr"/>
                <a:lstStyle/>
                <a:p>
                  <a:endParaRPr lang="en-GB" dirty="0"/>
                </a:p>
              </p:txBody>
            </p:sp>
            <p:sp>
              <p:nvSpPr>
                <p:cNvPr id="175" name="Freihandform: Form 950">
                  <a:extLst>
                    <a:ext uri="{FF2B5EF4-FFF2-40B4-BE49-F238E27FC236}">
                      <a16:creationId xmlns:a16="http://schemas.microsoft.com/office/drawing/2014/main" id="{73570389-D0B3-4022-B334-6BAE9A9EE9D3}"/>
                    </a:ext>
                  </a:extLst>
                </p:cNvPr>
                <p:cNvSpPr/>
                <p:nvPr/>
              </p:nvSpPr>
              <p:spPr>
                <a:xfrm>
                  <a:off x="8001809" y="2697537"/>
                  <a:ext cx="25956" cy="12965"/>
                </a:xfrm>
                <a:custGeom>
                  <a:avLst/>
                  <a:gdLst>
                    <a:gd name="connsiteX0" fmla="*/ 19474 w 25956"/>
                    <a:gd name="connsiteY0" fmla="*/ 12966 h 12965"/>
                    <a:gd name="connsiteX1" fmla="*/ 6483 w 25956"/>
                    <a:gd name="connsiteY1" fmla="*/ 12966 h 12965"/>
                    <a:gd name="connsiteX2" fmla="*/ 0 w 25956"/>
                    <a:gd name="connsiteY2" fmla="*/ 6483 h 12965"/>
                    <a:gd name="connsiteX3" fmla="*/ 6483 w 25956"/>
                    <a:gd name="connsiteY3" fmla="*/ 0 h 12965"/>
                    <a:gd name="connsiteX4" fmla="*/ 19474 w 25956"/>
                    <a:gd name="connsiteY4" fmla="*/ 0 h 12965"/>
                    <a:gd name="connsiteX5" fmla="*/ 25957 w 25956"/>
                    <a:gd name="connsiteY5" fmla="*/ 6483 h 12965"/>
                    <a:gd name="connsiteX6" fmla="*/ 19474 w 25956"/>
                    <a:gd name="connsiteY6" fmla="*/ 12966 h 1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56" h="12965">
                      <a:moveTo>
                        <a:pt x="19474" y="12966"/>
                      </a:moveTo>
                      <a:lnTo>
                        <a:pt x="6483" y="12966"/>
                      </a:lnTo>
                      <a:cubicBezTo>
                        <a:pt x="2895" y="12966"/>
                        <a:pt x="0" y="10071"/>
                        <a:pt x="0" y="6483"/>
                      </a:cubicBezTo>
                      <a:cubicBezTo>
                        <a:pt x="0" y="2895"/>
                        <a:pt x="2895" y="0"/>
                        <a:pt x="6483" y="0"/>
                      </a:cubicBezTo>
                      <a:lnTo>
                        <a:pt x="19474" y="0"/>
                      </a:lnTo>
                      <a:cubicBezTo>
                        <a:pt x="23061" y="0"/>
                        <a:pt x="25957" y="2895"/>
                        <a:pt x="25957" y="6483"/>
                      </a:cubicBezTo>
                      <a:cubicBezTo>
                        <a:pt x="25957" y="10071"/>
                        <a:pt x="23061" y="12966"/>
                        <a:pt x="19474" y="12966"/>
                      </a:cubicBezTo>
                      <a:close/>
                    </a:path>
                  </a:pathLst>
                </a:custGeom>
                <a:solidFill>
                  <a:schemeClr val="accent1"/>
                </a:solidFill>
                <a:ln w="2470" cap="flat">
                  <a:noFill/>
                  <a:prstDash val="solid"/>
                  <a:miter/>
                </a:ln>
              </p:spPr>
              <p:txBody>
                <a:bodyPr rtlCol="0" anchor="ctr"/>
                <a:lstStyle/>
                <a:p>
                  <a:endParaRPr lang="en-GB" dirty="0"/>
                </a:p>
              </p:txBody>
            </p:sp>
            <p:sp>
              <p:nvSpPr>
                <p:cNvPr id="176" name="Freihandform: Form 951">
                  <a:extLst>
                    <a:ext uri="{FF2B5EF4-FFF2-40B4-BE49-F238E27FC236}">
                      <a16:creationId xmlns:a16="http://schemas.microsoft.com/office/drawing/2014/main" id="{04171384-D2DB-4D11-BBDA-5E4D3EBA3745}"/>
                    </a:ext>
                  </a:extLst>
                </p:cNvPr>
                <p:cNvSpPr/>
                <p:nvPr/>
              </p:nvSpPr>
              <p:spPr>
                <a:xfrm>
                  <a:off x="8008317" y="2697537"/>
                  <a:ext cx="12965" cy="84352"/>
                </a:xfrm>
                <a:custGeom>
                  <a:avLst/>
                  <a:gdLst>
                    <a:gd name="connsiteX0" fmla="*/ 6483 w 12965"/>
                    <a:gd name="connsiteY0" fmla="*/ 84353 h 84352"/>
                    <a:gd name="connsiteX1" fmla="*/ 0 w 12965"/>
                    <a:gd name="connsiteY1" fmla="*/ 77870 h 84352"/>
                    <a:gd name="connsiteX2" fmla="*/ 0 w 12965"/>
                    <a:gd name="connsiteY2" fmla="*/ 6483 h 84352"/>
                    <a:gd name="connsiteX3" fmla="*/ 6483 w 12965"/>
                    <a:gd name="connsiteY3" fmla="*/ 0 h 84352"/>
                    <a:gd name="connsiteX4" fmla="*/ 12966 w 12965"/>
                    <a:gd name="connsiteY4" fmla="*/ 6483 h 84352"/>
                    <a:gd name="connsiteX5" fmla="*/ 12966 w 12965"/>
                    <a:gd name="connsiteY5" fmla="*/ 77870 h 84352"/>
                    <a:gd name="connsiteX6" fmla="*/ 6483 w 12965"/>
                    <a:gd name="connsiteY6" fmla="*/ 84353 h 84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5" h="84352">
                      <a:moveTo>
                        <a:pt x="6483" y="84353"/>
                      </a:moveTo>
                      <a:cubicBezTo>
                        <a:pt x="2895" y="84353"/>
                        <a:pt x="0" y="81458"/>
                        <a:pt x="0" y="77870"/>
                      </a:cubicBezTo>
                      <a:lnTo>
                        <a:pt x="0" y="6483"/>
                      </a:lnTo>
                      <a:cubicBezTo>
                        <a:pt x="0" y="2895"/>
                        <a:pt x="2895" y="0"/>
                        <a:pt x="6483" y="0"/>
                      </a:cubicBezTo>
                      <a:cubicBezTo>
                        <a:pt x="10071" y="0"/>
                        <a:pt x="12966" y="2895"/>
                        <a:pt x="12966" y="6483"/>
                      </a:cubicBezTo>
                      <a:lnTo>
                        <a:pt x="12966" y="77870"/>
                      </a:lnTo>
                      <a:cubicBezTo>
                        <a:pt x="12966" y="81433"/>
                        <a:pt x="10071" y="84353"/>
                        <a:pt x="6483" y="84353"/>
                      </a:cubicBezTo>
                      <a:close/>
                    </a:path>
                  </a:pathLst>
                </a:custGeom>
                <a:solidFill>
                  <a:schemeClr val="accent1"/>
                </a:solidFill>
                <a:ln w="2470" cap="flat">
                  <a:noFill/>
                  <a:prstDash val="solid"/>
                  <a:miter/>
                </a:ln>
              </p:spPr>
              <p:txBody>
                <a:bodyPr rtlCol="0" anchor="ctr"/>
                <a:lstStyle/>
                <a:p>
                  <a:endParaRPr lang="en-GB" dirty="0"/>
                </a:p>
              </p:txBody>
            </p:sp>
            <p:sp>
              <p:nvSpPr>
                <p:cNvPr id="177" name="Freihandform: Form 952">
                  <a:extLst>
                    <a:ext uri="{FF2B5EF4-FFF2-40B4-BE49-F238E27FC236}">
                      <a16:creationId xmlns:a16="http://schemas.microsoft.com/office/drawing/2014/main" id="{0D21773D-CF70-4537-8932-D07E940D78C6}"/>
                    </a:ext>
                  </a:extLst>
                </p:cNvPr>
                <p:cNvSpPr/>
                <p:nvPr/>
              </p:nvSpPr>
              <p:spPr>
                <a:xfrm>
                  <a:off x="7904466" y="2697537"/>
                  <a:ext cx="214151" cy="143293"/>
                </a:xfrm>
                <a:custGeom>
                  <a:avLst/>
                  <a:gdLst>
                    <a:gd name="connsiteX0" fmla="*/ 187313 w 214151"/>
                    <a:gd name="connsiteY0" fmla="*/ 143269 h 143293"/>
                    <a:gd name="connsiteX1" fmla="*/ 139087 w 214151"/>
                    <a:gd name="connsiteY1" fmla="*/ 143269 h 143293"/>
                    <a:gd name="connsiteX2" fmla="*/ 121617 w 214151"/>
                    <a:gd name="connsiteY2" fmla="*/ 140077 h 143293"/>
                    <a:gd name="connsiteX3" fmla="*/ 120776 w 214151"/>
                    <a:gd name="connsiteY3" fmla="*/ 140201 h 143293"/>
                    <a:gd name="connsiteX4" fmla="*/ 83437 w 214151"/>
                    <a:gd name="connsiteY4" fmla="*/ 143269 h 143293"/>
                    <a:gd name="connsiteX5" fmla="*/ 26773 w 214151"/>
                    <a:gd name="connsiteY5" fmla="*/ 143294 h 143293"/>
                    <a:gd name="connsiteX6" fmla="*/ 4973 w 214151"/>
                    <a:gd name="connsiteY6" fmla="*/ 133965 h 143293"/>
                    <a:gd name="connsiteX7" fmla="*/ 222 w 214151"/>
                    <a:gd name="connsiteY7" fmla="*/ 117807 h 143293"/>
                    <a:gd name="connsiteX8" fmla="*/ 346 w 214151"/>
                    <a:gd name="connsiteY8" fmla="*/ 117139 h 143293"/>
                    <a:gd name="connsiteX9" fmla="*/ 19646 w 214151"/>
                    <a:gd name="connsiteY9" fmla="*/ 42090 h 143293"/>
                    <a:gd name="connsiteX10" fmla="*/ 71362 w 214151"/>
                    <a:gd name="connsiteY10" fmla="*/ 0 h 143293"/>
                    <a:gd name="connsiteX11" fmla="*/ 77276 w 214151"/>
                    <a:gd name="connsiteY11" fmla="*/ 3835 h 143293"/>
                    <a:gd name="connsiteX12" fmla="*/ 110507 w 214151"/>
                    <a:gd name="connsiteY12" fmla="*/ 77598 h 143293"/>
                    <a:gd name="connsiteX13" fmla="*/ 143318 w 214151"/>
                    <a:gd name="connsiteY13" fmla="*/ 3835 h 143293"/>
                    <a:gd name="connsiteX14" fmla="*/ 149232 w 214151"/>
                    <a:gd name="connsiteY14" fmla="*/ 0 h 143293"/>
                    <a:gd name="connsiteX15" fmla="*/ 153859 w 214151"/>
                    <a:gd name="connsiteY15" fmla="*/ 0 h 143293"/>
                    <a:gd name="connsiteX16" fmla="*/ 203644 w 214151"/>
                    <a:gd name="connsiteY16" fmla="*/ 42412 h 143293"/>
                    <a:gd name="connsiteX17" fmla="*/ 213839 w 214151"/>
                    <a:gd name="connsiteY17" fmla="*/ 117881 h 143293"/>
                    <a:gd name="connsiteX18" fmla="*/ 209607 w 214151"/>
                    <a:gd name="connsiteY18" fmla="*/ 133198 h 143293"/>
                    <a:gd name="connsiteX19" fmla="*/ 187313 w 214151"/>
                    <a:gd name="connsiteY19" fmla="*/ 143269 h 143293"/>
                    <a:gd name="connsiteX20" fmla="*/ 119786 w 214151"/>
                    <a:gd name="connsiteY20" fmla="*/ 125626 h 143293"/>
                    <a:gd name="connsiteX21" fmla="*/ 139087 w 214151"/>
                    <a:gd name="connsiteY21" fmla="*/ 130278 h 143293"/>
                    <a:gd name="connsiteX22" fmla="*/ 187313 w 214151"/>
                    <a:gd name="connsiteY22" fmla="*/ 130278 h 143293"/>
                    <a:gd name="connsiteX23" fmla="*/ 199611 w 214151"/>
                    <a:gd name="connsiteY23" fmla="*/ 124933 h 143293"/>
                    <a:gd name="connsiteX24" fmla="*/ 201096 w 214151"/>
                    <a:gd name="connsiteY24" fmla="*/ 119985 h 143293"/>
                    <a:gd name="connsiteX25" fmla="*/ 190925 w 214151"/>
                    <a:gd name="connsiteY25" fmla="*/ 44540 h 143293"/>
                    <a:gd name="connsiteX26" fmla="*/ 153933 w 214151"/>
                    <a:gd name="connsiteY26" fmla="*/ 12941 h 143293"/>
                    <a:gd name="connsiteX27" fmla="*/ 153488 w 214151"/>
                    <a:gd name="connsiteY27" fmla="*/ 12941 h 143293"/>
                    <a:gd name="connsiteX28" fmla="*/ 121988 w 214151"/>
                    <a:gd name="connsiteY28" fmla="*/ 82868 h 143293"/>
                    <a:gd name="connsiteX29" fmla="*/ 110359 w 214151"/>
                    <a:gd name="connsiteY29" fmla="*/ 90094 h 143293"/>
                    <a:gd name="connsiteX30" fmla="*/ 98927 w 214151"/>
                    <a:gd name="connsiteY30" fmla="*/ 83264 h 143293"/>
                    <a:gd name="connsiteX31" fmla="*/ 67328 w 214151"/>
                    <a:gd name="connsiteY31" fmla="*/ 13164 h 143293"/>
                    <a:gd name="connsiteX32" fmla="*/ 32340 w 214151"/>
                    <a:gd name="connsiteY32" fmla="*/ 44960 h 143293"/>
                    <a:gd name="connsiteX33" fmla="*/ 13065 w 214151"/>
                    <a:gd name="connsiteY33" fmla="*/ 119935 h 143293"/>
                    <a:gd name="connsiteX34" fmla="*/ 14821 w 214151"/>
                    <a:gd name="connsiteY34" fmla="*/ 125428 h 143293"/>
                    <a:gd name="connsiteX35" fmla="*/ 26797 w 214151"/>
                    <a:gd name="connsiteY35" fmla="*/ 130278 h 143293"/>
                    <a:gd name="connsiteX36" fmla="*/ 82942 w 214151"/>
                    <a:gd name="connsiteY36" fmla="*/ 130278 h 143293"/>
                    <a:gd name="connsiteX37" fmla="*/ 101549 w 214151"/>
                    <a:gd name="connsiteY37" fmla="*/ 128744 h 143293"/>
                    <a:gd name="connsiteX38" fmla="*/ 47533 w 214151"/>
                    <a:gd name="connsiteY38" fmla="*/ 107637 h 143293"/>
                    <a:gd name="connsiteX39" fmla="*/ 41941 w 214151"/>
                    <a:gd name="connsiteY39" fmla="*/ 105559 h 143293"/>
                    <a:gd name="connsiteX40" fmla="*/ 40407 w 214151"/>
                    <a:gd name="connsiteY40" fmla="*/ 99793 h 143293"/>
                    <a:gd name="connsiteX41" fmla="*/ 47558 w 214151"/>
                    <a:gd name="connsiteY41" fmla="*/ 67131 h 143293"/>
                    <a:gd name="connsiteX42" fmla="*/ 55278 w 214151"/>
                    <a:gd name="connsiteY42" fmla="*/ 62182 h 143293"/>
                    <a:gd name="connsiteX43" fmla="*/ 60227 w 214151"/>
                    <a:gd name="connsiteY43" fmla="*/ 69902 h 143293"/>
                    <a:gd name="connsiteX44" fmla="*/ 54808 w 214151"/>
                    <a:gd name="connsiteY44" fmla="*/ 94696 h 143293"/>
                    <a:gd name="connsiteX45" fmla="*/ 119786 w 214151"/>
                    <a:gd name="connsiteY45" fmla="*/ 125626 h 143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14151" h="143293">
                      <a:moveTo>
                        <a:pt x="187313" y="143269"/>
                      </a:moveTo>
                      <a:lnTo>
                        <a:pt x="139087" y="143269"/>
                      </a:lnTo>
                      <a:cubicBezTo>
                        <a:pt x="134410" y="143269"/>
                        <a:pt x="127482" y="141834"/>
                        <a:pt x="121617" y="140077"/>
                      </a:cubicBezTo>
                      <a:cubicBezTo>
                        <a:pt x="121345" y="140126"/>
                        <a:pt x="121073" y="140176"/>
                        <a:pt x="120776" y="140201"/>
                      </a:cubicBezTo>
                      <a:lnTo>
                        <a:pt x="83437" y="143269"/>
                      </a:lnTo>
                      <a:lnTo>
                        <a:pt x="26773" y="143294"/>
                      </a:lnTo>
                      <a:cubicBezTo>
                        <a:pt x="18310" y="143294"/>
                        <a:pt x="9947" y="139706"/>
                        <a:pt x="4973" y="133965"/>
                      </a:cubicBezTo>
                      <a:cubicBezTo>
                        <a:pt x="1039" y="129412"/>
                        <a:pt x="-644" y="123696"/>
                        <a:pt x="222" y="117807"/>
                      </a:cubicBezTo>
                      <a:cubicBezTo>
                        <a:pt x="247" y="117584"/>
                        <a:pt x="296" y="117362"/>
                        <a:pt x="346" y="117139"/>
                      </a:cubicBezTo>
                      <a:lnTo>
                        <a:pt x="19646" y="42090"/>
                      </a:lnTo>
                      <a:cubicBezTo>
                        <a:pt x="24496" y="18236"/>
                        <a:pt x="46766" y="0"/>
                        <a:pt x="71362" y="0"/>
                      </a:cubicBezTo>
                      <a:cubicBezTo>
                        <a:pt x="73910" y="0"/>
                        <a:pt x="76236" y="1485"/>
                        <a:pt x="77276" y="3835"/>
                      </a:cubicBezTo>
                      <a:lnTo>
                        <a:pt x="110507" y="77598"/>
                      </a:lnTo>
                      <a:lnTo>
                        <a:pt x="143318" y="3835"/>
                      </a:lnTo>
                      <a:cubicBezTo>
                        <a:pt x="144382" y="1509"/>
                        <a:pt x="146683" y="0"/>
                        <a:pt x="149232" y="0"/>
                      </a:cubicBezTo>
                      <a:lnTo>
                        <a:pt x="153859" y="0"/>
                      </a:lnTo>
                      <a:cubicBezTo>
                        <a:pt x="177712" y="0"/>
                        <a:pt x="198646" y="17841"/>
                        <a:pt x="203644" y="42412"/>
                      </a:cubicBezTo>
                      <a:lnTo>
                        <a:pt x="213839" y="117881"/>
                      </a:lnTo>
                      <a:cubicBezTo>
                        <a:pt x="214853" y="123003"/>
                        <a:pt x="213393" y="128595"/>
                        <a:pt x="209607" y="133198"/>
                      </a:cubicBezTo>
                      <a:cubicBezTo>
                        <a:pt x="204609" y="139310"/>
                        <a:pt x="195850" y="143269"/>
                        <a:pt x="187313" y="143269"/>
                      </a:cubicBezTo>
                      <a:close/>
                      <a:moveTo>
                        <a:pt x="119786" y="125626"/>
                      </a:moveTo>
                      <a:cubicBezTo>
                        <a:pt x="124512" y="127804"/>
                        <a:pt x="134657" y="130278"/>
                        <a:pt x="139087" y="130278"/>
                      </a:cubicBezTo>
                      <a:lnTo>
                        <a:pt x="187313" y="130278"/>
                      </a:lnTo>
                      <a:cubicBezTo>
                        <a:pt x="191965" y="130278"/>
                        <a:pt x="197013" y="128076"/>
                        <a:pt x="199611" y="124933"/>
                      </a:cubicBezTo>
                      <a:cubicBezTo>
                        <a:pt x="201590" y="122533"/>
                        <a:pt x="201219" y="120603"/>
                        <a:pt x="201096" y="119985"/>
                      </a:cubicBezTo>
                      <a:lnTo>
                        <a:pt x="190925" y="44540"/>
                      </a:lnTo>
                      <a:cubicBezTo>
                        <a:pt x="187214" y="26427"/>
                        <a:pt x="171625" y="12941"/>
                        <a:pt x="153933" y="12941"/>
                      </a:cubicBezTo>
                      <a:lnTo>
                        <a:pt x="153488" y="12941"/>
                      </a:lnTo>
                      <a:lnTo>
                        <a:pt x="121988" y="82868"/>
                      </a:lnTo>
                      <a:cubicBezTo>
                        <a:pt x="119514" y="87495"/>
                        <a:pt x="115134" y="90094"/>
                        <a:pt x="110359" y="90094"/>
                      </a:cubicBezTo>
                      <a:cubicBezTo>
                        <a:pt x="105583" y="90094"/>
                        <a:pt x="101203" y="87471"/>
                        <a:pt x="98927" y="83264"/>
                      </a:cubicBezTo>
                      <a:lnTo>
                        <a:pt x="67328" y="13164"/>
                      </a:lnTo>
                      <a:cubicBezTo>
                        <a:pt x="50651" y="15069"/>
                        <a:pt x="35730" y="28332"/>
                        <a:pt x="32340" y="44960"/>
                      </a:cubicBezTo>
                      <a:lnTo>
                        <a:pt x="13065" y="119935"/>
                      </a:lnTo>
                      <a:cubicBezTo>
                        <a:pt x="12842" y="121989"/>
                        <a:pt x="13411" y="123795"/>
                        <a:pt x="14821" y="125428"/>
                      </a:cubicBezTo>
                      <a:cubicBezTo>
                        <a:pt x="17320" y="128323"/>
                        <a:pt x="22145" y="130278"/>
                        <a:pt x="26797" y="130278"/>
                      </a:cubicBezTo>
                      <a:lnTo>
                        <a:pt x="82942" y="130278"/>
                      </a:lnTo>
                      <a:lnTo>
                        <a:pt x="101549" y="128744"/>
                      </a:lnTo>
                      <a:cubicBezTo>
                        <a:pt x="86159" y="118723"/>
                        <a:pt x="62231" y="105781"/>
                        <a:pt x="47533" y="107637"/>
                      </a:cubicBezTo>
                      <a:cubicBezTo>
                        <a:pt x="45455" y="107885"/>
                        <a:pt x="43351" y="107118"/>
                        <a:pt x="41941" y="105559"/>
                      </a:cubicBezTo>
                      <a:cubicBezTo>
                        <a:pt x="40531" y="104000"/>
                        <a:pt x="39961" y="101847"/>
                        <a:pt x="40407" y="99793"/>
                      </a:cubicBezTo>
                      <a:lnTo>
                        <a:pt x="47558" y="67131"/>
                      </a:lnTo>
                      <a:cubicBezTo>
                        <a:pt x="48325" y="63617"/>
                        <a:pt x="51789" y="61415"/>
                        <a:pt x="55278" y="62182"/>
                      </a:cubicBezTo>
                      <a:cubicBezTo>
                        <a:pt x="58792" y="62949"/>
                        <a:pt x="60994" y="66413"/>
                        <a:pt x="60227" y="69902"/>
                      </a:cubicBezTo>
                      <a:lnTo>
                        <a:pt x="54808" y="94696"/>
                      </a:lnTo>
                      <a:cubicBezTo>
                        <a:pt x="80962" y="97294"/>
                        <a:pt x="113798" y="121148"/>
                        <a:pt x="119786" y="125626"/>
                      </a:cubicBezTo>
                      <a:close/>
                    </a:path>
                  </a:pathLst>
                </a:custGeom>
                <a:solidFill>
                  <a:schemeClr val="accent1"/>
                </a:solidFill>
                <a:ln w="2470" cap="flat">
                  <a:noFill/>
                  <a:prstDash val="solid"/>
                  <a:miter/>
                </a:ln>
              </p:spPr>
              <p:txBody>
                <a:bodyPr rtlCol="0" anchor="ctr"/>
                <a:lstStyle/>
                <a:p>
                  <a:endParaRPr lang="en-GB" dirty="0"/>
                </a:p>
              </p:txBody>
            </p:sp>
            <p:sp>
              <p:nvSpPr>
                <p:cNvPr id="178" name="Freihandform: Form 953">
                  <a:extLst>
                    <a:ext uri="{FF2B5EF4-FFF2-40B4-BE49-F238E27FC236}">
                      <a16:creationId xmlns:a16="http://schemas.microsoft.com/office/drawing/2014/main" id="{D498E7BF-5137-4F0A-B4AD-9EB1390644D2}"/>
                    </a:ext>
                  </a:extLst>
                </p:cNvPr>
                <p:cNvSpPr/>
                <p:nvPr/>
              </p:nvSpPr>
              <p:spPr>
                <a:xfrm>
                  <a:off x="7947294" y="2757878"/>
                  <a:ext cx="130409" cy="42916"/>
                </a:xfrm>
                <a:custGeom>
                  <a:avLst/>
                  <a:gdLst>
                    <a:gd name="connsiteX0" fmla="*/ 123923 w 130409"/>
                    <a:gd name="connsiteY0" fmla="*/ 42917 h 42916"/>
                    <a:gd name="connsiteX1" fmla="*/ 120855 w 130409"/>
                    <a:gd name="connsiteY1" fmla="*/ 42150 h 42916"/>
                    <a:gd name="connsiteX2" fmla="*/ 44915 w 130409"/>
                    <a:gd name="connsiteY2" fmla="*/ 35543 h 42916"/>
                    <a:gd name="connsiteX3" fmla="*/ 42911 w 130409"/>
                    <a:gd name="connsiteY3" fmla="*/ 35493 h 42916"/>
                    <a:gd name="connsiteX4" fmla="*/ 15815 w 130409"/>
                    <a:gd name="connsiteY4" fmla="*/ 30421 h 42916"/>
                    <a:gd name="connsiteX5" fmla="*/ 14430 w 130409"/>
                    <a:gd name="connsiteY5" fmla="*/ 30000 h 42916"/>
                    <a:gd name="connsiteX6" fmla="*/ 11757 w 130409"/>
                    <a:gd name="connsiteY6" fmla="*/ 31955 h 42916"/>
                    <a:gd name="connsiteX7" fmla="*/ 2701 w 130409"/>
                    <a:gd name="connsiteY7" fmla="*/ 33440 h 42916"/>
                    <a:gd name="connsiteX8" fmla="*/ 1216 w 130409"/>
                    <a:gd name="connsiteY8" fmla="*/ 24383 h 42916"/>
                    <a:gd name="connsiteX9" fmla="*/ 18809 w 130409"/>
                    <a:gd name="connsiteY9" fmla="*/ 17801 h 42916"/>
                    <a:gd name="connsiteX10" fmla="*/ 44321 w 130409"/>
                    <a:gd name="connsiteY10" fmla="*/ 22577 h 42916"/>
                    <a:gd name="connsiteX11" fmla="*/ 116401 w 130409"/>
                    <a:gd name="connsiteY11" fmla="*/ 26388 h 42916"/>
                    <a:gd name="connsiteX12" fmla="*/ 114495 w 130409"/>
                    <a:gd name="connsiteY12" fmla="*/ 7137 h 42916"/>
                    <a:gd name="connsiteX13" fmla="*/ 120310 w 130409"/>
                    <a:gd name="connsiteY13" fmla="*/ 35 h 42916"/>
                    <a:gd name="connsiteX14" fmla="*/ 127412 w 130409"/>
                    <a:gd name="connsiteY14" fmla="*/ 5850 h 42916"/>
                    <a:gd name="connsiteX15" fmla="*/ 130381 w 130409"/>
                    <a:gd name="connsiteY15" fmla="*/ 35840 h 42916"/>
                    <a:gd name="connsiteX16" fmla="*/ 127511 w 130409"/>
                    <a:gd name="connsiteY16" fmla="*/ 41877 h 42916"/>
                    <a:gd name="connsiteX17" fmla="*/ 123923 w 130409"/>
                    <a:gd name="connsiteY17" fmla="*/ 42917 h 42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409" h="42916">
                      <a:moveTo>
                        <a:pt x="123923" y="42917"/>
                      </a:moveTo>
                      <a:cubicBezTo>
                        <a:pt x="122859" y="42917"/>
                        <a:pt x="121819" y="42669"/>
                        <a:pt x="120855" y="42150"/>
                      </a:cubicBezTo>
                      <a:cubicBezTo>
                        <a:pt x="96877" y="29258"/>
                        <a:pt x="45434" y="35469"/>
                        <a:pt x="44915" y="35543"/>
                      </a:cubicBezTo>
                      <a:cubicBezTo>
                        <a:pt x="44247" y="35617"/>
                        <a:pt x="43578" y="35592"/>
                        <a:pt x="42911" y="35493"/>
                      </a:cubicBezTo>
                      <a:lnTo>
                        <a:pt x="15815" y="30421"/>
                      </a:lnTo>
                      <a:cubicBezTo>
                        <a:pt x="15346" y="30322"/>
                        <a:pt x="14875" y="30198"/>
                        <a:pt x="14430" y="30000"/>
                      </a:cubicBezTo>
                      <a:cubicBezTo>
                        <a:pt x="13960" y="29802"/>
                        <a:pt x="12623" y="30792"/>
                        <a:pt x="11757" y="31955"/>
                      </a:cubicBezTo>
                      <a:cubicBezTo>
                        <a:pt x="9654" y="34850"/>
                        <a:pt x="5596" y="35518"/>
                        <a:pt x="2701" y="33440"/>
                      </a:cubicBezTo>
                      <a:cubicBezTo>
                        <a:pt x="-219" y="31336"/>
                        <a:pt x="-862" y="27278"/>
                        <a:pt x="1216" y="24383"/>
                      </a:cubicBezTo>
                      <a:cubicBezTo>
                        <a:pt x="4705" y="19533"/>
                        <a:pt x="11362" y="15005"/>
                        <a:pt x="18809" y="17801"/>
                      </a:cubicBezTo>
                      <a:lnTo>
                        <a:pt x="44321" y="22577"/>
                      </a:lnTo>
                      <a:cubicBezTo>
                        <a:pt x="51274" y="21785"/>
                        <a:pt x="89578" y="17975"/>
                        <a:pt x="116401" y="26388"/>
                      </a:cubicBezTo>
                      <a:lnTo>
                        <a:pt x="114495" y="7137"/>
                      </a:lnTo>
                      <a:cubicBezTo>
                        <a:pt x="114149" y="3573"/>
                        <a:pt x="116747" y="381"/>
                        <a:pt x="120310" y="35"/>
                      </a:cubicBezTo>
                      <a:cubicBezTo>
                        <a:pt x="124022" y="-336"/>
                        <a:pt x="127065" y="2287"/>
                        <a:pt x="127412" y="5850"/>
                      </a:cubicBezTo>
                      <a:lnTo>
                        <a:pt x="130381" y="35840"/>
                      </a:lnTo>
                      <a:cubicBezTo>
                        <a:pt x="130604" y="38215"/>
                        <a:pt x="129515" y="40541"/>
                        <a:pt x="127511" y="41877"/>
                      </a:cubicBezTo>
                      <a:cubicBezTo>
                        <a:pt x="126447" y="42546"/>
                        <a:pt x="125185" y="42917"/>
                        <a:pt x="123923" y="42917"/>
                      </a:cubicBezTo>
                      <a:close/>
                    </a:path>
                  </a:pathLst>
                </a:custGeom>
                <a:solidFill>
                  <a:schemeClr val="accent1"/>
                </a:solidFill>
                <a:ln w="2470" cap="flat">
                  <a:noFill/>
                  <a:prstDash val="solid"/>
                  <a:miter/>
                </a:ln>
              </p:spPr>
              <p:txBody>
                <a:bodyPr rtlCol="0" anchor="ctr"/>
                <a:lstStyle/>
                <a:p>
                  <a:endParaRPr lang="en-GB" dirty="0"/>
                </a:p>
              </p:txBody>
            </p:sp>
          </p:grpSp>
        </p:grpSp>
        <p:grpSp>
          <p:nvGrpSpPr>
            <p:cNvPr id="161" name="Group 160">
              <a:extLst>
                <a:ext uri="{FF2B5EF4-FFF2-40B4-BE49-F238E27FC236}">
                  <a16:creationId xmlns:a16="http://schemas.microsoft.com/office/drawing/2014/main" id="{43AB2002-12FF-404E-90E8-924DE6E9AC87}"/>
                </a:ext>
              </a:extLst>
            </p:cNvPr>
            <p:cNvGrpSpPr/>
            <p:nvPr/>
          </p:nvGrpSpPr>
          <p:grpSpPr>
            <a:xfrm>
              <a:off x="1623484" y="2391526"/>
              <a:ext cx="432000" cy="255271"/>
              <a:chOff x="7800664" y="2457419"/>
              <a:chExt cx="428297" cy="253083"/>
            </a:xfrm>
            <a:solidFill>
              <a:schemeClr val="tx2"/>
            </a:solidFill>
          </p:grpSpPr>
          <p:sp>
            <p:nvSpPr>
              <p:cNvPr id="162" name="Freihandform: Form 954">
                <a:extLst>
                  <a:ext uri="{FF2B5EF4-FFF2-40B4-BE49-F238E27FC236}">
                    <a16:creationId xmlns:a16="http://schemas.microsoft.com/office/drawing/2014/main" id="{D442B2F9-6DD5-4428-99C3-232BAF488874}"/>
                  </a:ext>
                </a:extLst>
              </p:cNvPr>
              <p:cNvSpPr/>
              <p:nvPr/>
            </p:nvSpPr>
            <p:spPr>
              <a:xfrm>
                <a:off x="7826620" y="2483376"/>
                <a:ext cx="376383" cy="227126"/>
              </a:xfrm>
              <a:custGeom>
                <a:avLst/>
                <a:gdLst>
                  <a:gd name="connsiteX0" fmla="*/ 369876 w 376383"/>
                  <a:gd name="connsiteY0" fmla="*/ 227127 h 227126"/>
                  <a:gd name="connsiteX1" fmla="*/ 363393 w 376383"/>
                  <a:gd name="connsiteY1" fmla="*/ 220644 h 227126"/>
                  <a:gd name="connsiteX2" fmla="*/ 363393 w 376383"/>
                  <a:gd name="connsiteY2" fmla="*/ 12991 h 227126"/>
                  <a:gd name="connsiteX3" fmla="*/ 12966 w 376383"/>
                  <a:gd name="connsiteY3" fmla="*/ 12991 h 227126"/>
                  <a:gd name="connsiteX4" fmla="*/ 12966 w 376383"/>
                  <a:gd name="connsiteY4" fmla="*/ 220644 h 227126"/>
                  <a:gd name="connsiteX5" fmla="*/ 6483 w 376383"/>
                  <a:gd name="connsiteY5" fmla="*/ 227127 h 227126"/>
                  <a:gd name="connsiteX6" fmla="*/ 0 w 376383"/>
                  <a:gd name="connsiteY6" fmla="*/ 220644 h 227126"/>
                  <a:gd name="connsiteX7" fmla="*/ 0 w 376383"/>
                  <a:gd name="connsiteY7" fmla="*/ 6483 h 227126"/>
                  <a:gd name="connsiteX8" fmla="*/ 6483 w 376383"/>
                  <a:gd name="connsiteY8" fmla="*/ 0 h 227126"/>
                  <a:gd name="connsiteX9" fmla="*/ 369901 w 376383"/>
                  <a:gd name="connsiteY9" fmla="*/ 0 h 227126"/>
                  <a:gd name="connsiteX10" fmla="*/ 376384 w 376383"/>
                  <a:gd name="connsiteY10" fmla="*/ 6483 h 227126"/>
                  <a:gd name="connsiteX11" fmla="*/ 376384 w 376383"/>
                  <a:gd name="connsiteY11" fmla="*/ 220644 h 227126"/>
                  <a:gd name="connsiteX12" fmla="*/ 369876 w 376383"/>
                  <a:gd name="connsiteY12" fmla="*/ 227127 h 22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76383" h="227126">
                    <a:moveTo>
                      <a:pt x="369876" y="227127"/>
                    </a:moveTo>
                    <a:cubicBezTo>
                      <a:pt x="366288" y="227127"/>
                      <a:pt x="363393" y="224232"/>
                      <a:pt x="363393" y="220644"/>
                    </a:cubicBezTo>
                    <a:lnTo>
                      <a:pt x="363393" y="12991"/>
                    </a:lnTo>
                    <a:lnTo>
                      <a:pt x="12966" y="12991"/>
                    </a:lnTo>
                    <a:lnTo>
                      <a:pt x="12966" y="220644"/>
                    </a:lnTo>
                    <a:cubicBezTo>
                      <a:pt x="12966" y="224232"/>
                      <a:pt x="10071" y="227127"/>
                      <a:pt x="6483" y="227127"/>
                    </a:cubicBezTo>
                    <a:cubicBezTo>
                      <a:pt x="2895" y="227127"/>
                      <a:pt x="0" y="224232"/>
                      <a:pt x="0" y="220644"/>
                    </a:cubicBezTo>
                    <a:lnTo>
                      <a:pt x="0" y="6483"/>
                    </a:lnTo>
                    <a:cubicBezTo>
                      <a:pt x="0" y="2895"/>
                      <a:pt x="2895" y="0"/>
                      <a:pt x="6483" y="0"/>
                    </a:cubicBezTo>
                    <a:lnTo>
                      <a:pt x="369901" y="0"/>
                    </a:lnTo>
                    <a:cubicBezTo>
                      <a:pt x="373489" y="0"/>
                      <a:pt x="376384" y="2895"/>
                      <a:pt x="376384" y="6483"/>
                    </a:cubicBezTo>
                    <a:lnTo>
                      <a:pt x="376384" y="220644"/>
                    </a:lnTo>
                    <a:cubicBezTo>
                      <a:pt x="376384" y="224207"/>
                      <a:pt x="373464" y="227127"/>
                      <a:pt x="369876" y="227127"/>
                    </a:cubicBezTo>
                    <a:close/>
                  </a:path>
                </a:pathLst>
              </a:custGeom>
              <a:grpFill/>
              <a:ln w="2470" cap="flat">
                <a:noFill/>
                <a:prstDash val="solid"/>
                <a:miter/>
              </a:ln>
            </p:spPr>
            <p:txBody>
              <a:bodyPr rtlCol="0" anchor="ctr"/>
              <a:lstStyle/>
              <a:p>
                <a:endParaRPr lang="en-GB" dirty="0"/>
              </a:p>
            </p:txBody>
          </p:sp>
          <p:sp>
            <p:nvSpPr>
              <p:cNvPr id="163" name="Freihandform: Form 955">
                <a:extLst>
                  <a:ext uri="{FF2B5EF4-FFF2-40B4-BE49-F238E27FC236}">
                    <a16:creationId xmlns:a16="http://schemas.microsoft.com/office/drawing/2014/main" id="{DD54A04F-3A42-4070-BADB-A73AB609A9F3}"/>
                  </a:ext>
                </a:extLst>
              </p:cNvPr>
              <p:cNvSpPr/>
              <p:nvPr/>
            </p:nvSpPr>
            <p:spPr>
              <a:xfrm>
                <a:off x="7800664" y="2483376"/>
                <a:ext cx="428297" cy="12965"/>
              </a:xfrm>
              <a:custGeom>
                <a:avLst/>
                <a:gdLst>
                  <a:gd name="connsiteX0" fmla="*/ 421814 w 428297"/>
                  <a:gd name="connsiteY0" fmla="*/ 12966 h 12965"/>
                  <a:gd name="connsiteX1" fmla="*/ 6483 w 428297"/>
                  <a:gd name="connsiteY1" fmla="*/ 12966 h 12965"/>
                  <a:gd name="connsiteX2" fmla="*/ 0 w 428297"/>
                  <a:gd name="connsiteY2" fmla="*/ 6483 h 12965"/>
                  <a:gd name="connsiteX3" fmla="*/ 6483 w 428297"/>
                  <a:gd name="connsiteY3" fmla="*/ 0 h 12965"/>
                  <a:gd name="connsiteX4" fmla="*/ 421814 w 428297"/>
                  <a:gd name="connsiteY4" fmla="*/ 0 h 12965"/>
                  <a:gd name="connsiteX5" fmla="*/ 428297 w 428297"/>
                  <a:gd name="connsiteY5" fmla="*/ 6483 h 12965"/>
                  <a:gd name="connsiteX6" fmla="*/ 421814 w 428297"/>
                  <a:gd name="connsiteY6" fmla="*/ 12966 h 1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8297" h="12965">
                    <a:moveTo>
                      <a:pt x="421814" y="12966"/>
                    </a:moveTo>
                    <a:lnTo>
                      <a:pt x="6483" y="12966"/>
                    </a:lnTo>
                    <a:cubicBezTo>
                      <a:pt x="2895" y="12966"/>
                      <a:pt x="0" y="10071"/>
                      <a:pt x="0" y="6483"/>
                    </a:cubicBezTo>
                    <a:cubicBezTo>
                      <a:pt x="0" y="2895"/>
                      <a:pt x="2895" y="0"/>
                      <a:pt x="6483" y="0"/>
                    </a:cubicBezTo>
                    <a:lnTo>
                      <a:pt x="421814" y="0"/>
                    </a:lnTo>
                    <a:cubicBezTo>
                      <a:pt x="425402" y="0"/>
                      <a:pt x="428297" y="2895"/>
                      <a:pt x="428297" y="6483"/>
                    </a:cubicBezTo>
                    <a:cubicBezTo>
                      <a:pt x="428297" y="10071"/>
                      <a:pt x="425377" y="12966"/>
                      <a:pt x="421814" y="12966"/>
                    </a:cubicBezTo>
                    <a:close/>
                  </a:path>
                </a:pathLst>
              </a:custGeom>
              <a:grpFill/>
              <a:ln w="2470" cap="flat">
                <a:noFill/>
                <a:prstDash val="solid"/>
                <a:miter/>
              </a:ln>
            </p:spPr>
            <p:txBody>
              <a:bodyPr rtlCol="0" anchor="ctr"/>
              <a:lstStyle/>
              <a:p>
                <a:endParaRPr lang="en-GB" dirty="0"/>
              </a:p>
            </p:txBody>
          </p:sp>
          <p:sp>
            <p:nvSpPr>
              <p:cNvPr id="164" name="Freihandform: Form 956">
                <a:extLst>
                  <a:ext uri="{FF2B5EF4-FFF2-40B4-BE49-F238E27FC236}">
                    <a16:creationId xmlns:a16="http://schemas.microsoft.com/office/drawing/2014/main" id="{D7C54418-4359-40F6-BEA9-26E164418CDD}"/>
                  </a:ext>
                </a:extLst>
              </p:cNvPr>
              <p:cNvSpPr/>
              <p:nvPr/>
            </p:nvSpPr>
            <p:spPr>
              <a:xfrm>
                <a:off x="7800664" y="2457419"/>
                <a:ext cx="428297" cy="12965"/>
              </a:xfrm>
              <a:custGeom>
                <a:avLst/>
                <a:gdLst>
                  <a:gd name="connsiteX0" fmla="*/ 421814 w 428297"/>
                  <a:gd name="connsiteY0" fmla="*/ 12966 h 12965"/>
                  <a:gd name="connsiteX1" fmla="*/ 6483 w 428297"/>
                  <a:gd name="connsiteY1" fmla="*/ 12966 h 12965"/>
                  <a:gd name="connsiteX2" fmla="*/ 0 w 428297"/>
                  <a:gd name="connsiteY2" fmla="*/ 6483 h 12965"/>
                  <a:gd name="connsiteX3" fmla="*/ 6483 w 428297"/>
                  <a:gd name="connsiteY3" fmla="*/ 0 h 12965"/>
                  <a:gd name="connsiteX4" fmla="*/ 421814 w 428297"/>
                  <a:gd name="connsiteY4" fmla="*/ 0 h 12965"/>
                  <a:gd name="connsiteX5" fmla="*/ 428297 w 428297"/>
                  <a:gd name="connsiteY5" fmla="*/ 6483 h 12965"/>
                  <a:gd name="connsiteX6" fmla="*/ 421814 w 428297"/>
                  <a:gd name="connsiteY6" fmla="*/ 12966 h 1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8297" h="12965">
                    <a:moveTo>
                      <a:pt x="421814" y="12966"/>
                    </a:moveTo>
                    <a:lnTo>
                      <a:pt x="6483" y="12966"/>
                    </a:lnTo>
                    <a:cubicBezTo>
                      <a:pt x="2895" y="12966"/>
                      <a:pt x="0" y="10071"/>
                      <a:pt x="0" y="6483"/>
                    </a:cubicBezTo>
                    <a:cubicBezTo>
                      <a:pt x="0" y="2895"/>
                      <a:pt x="2895" y="0"/>
                      <a:pt x="6483" y="0"/>
                    </a:cubicBezTo>
                    <a:lnTo>
                      <a:pt x="421814" y="0"/>
                    </a:lnTo>
                    <a:cubicBezTo>
                      <a:pt x="425402" y="0"/>
                      <a:pt x="428297" y="2895"/>
                      <a:pt x="428297" y="6483"/>
                    </a:cubicBezTo>
                    <a:cubicBezTo>
                      <a:pt x="428297" y="10071"/>
                      <a:pt x="425377" y="12966"/>
                      <a:pt x="421814" y="12966"/>
                    </a:cubicBezTo>
                    <a:close/>
                  </a:path>
                </a:pathLst>
              </a:custGeom>
              <a:grpFill/>
              <a:ln w="2470" cap="flat">
                <a:noFill/>
                <a:prstDash val="solid"/>
                <a:miter/>
              </a:ln>
            </p:spPr>
            <p:txBody>
              <a:bodyPr rtlCol="0" anchor="ctr"/>
              <a:lstStyle/>
              <a:p>
                <a:endParaRPr lang="en-GB" dirty="0"/>
              </a:p>
            </p:txBody>
          </p:sp>
          <p:sp>
            <p:nvSpPr>
              <p:cNvPr id="165" name="Freihandform: Form 957">
                <a:extLst>
                  <a:ext uri="{FF2B5EF4-FFF2-40B4-BE49-F238E27FC236}">
                    <a16:creationId xmlns:a16="http://schemas.microsoft.com/office/drawing/2014/main" id="{F765AAB3-BA47-4205-8708-64E3963A4A59}"/>
                  </a:ext>
                </a:extLst>
              </p:cNvPr>
              <p:cNvSpPr/>
              <p:nvPr/>
            </p:nvSpPr>
            <p:spPr>
              <a:xfrm>
                <a:off x="7865543" y="2548280"/>
                <a:ext cx="298513" cy="12965"/>
              </a:xfrm>
              <a:custGeom>
                <a:avLst/>
                <a:gdLst>
                  <a:gd name="connsiteX0" fmla="*/ 292031 w 298513"/>
                  <a:gd name="connsiteY0" fmla="*/ 12966 h 12965"/>
                  <a:gd name="connsiteX1" fmla="*/ 6483 w 298513"/>
                  <a:gd name="connsiteY1" fmla="*/ 12966 h 12965"/>
                  <a:gd name="connsiteX2" fmla="*/ 0 w 298513"/>
                  <a:gd name="connsiteY2" fmla="*/ 6483 h 12965"/>
                  <a:gd name="connsiteX3" fmla="*/ 6483 w 298513"/>
                  <a:gd name="connsiteY3" fmla="*/ 0 h 12965"/>
                  <a:gd name="connsiteX4" fmla="*/ 292031 w 298513"/>
                  <a:gd name="connsiteY4" fmla="*/ 0 h 12965"/>
                  <a:gd name="connsiteX5" fmla="*/ 298514 w 298513"/>
                  <a:gd name="connsiteY5" fmla="*/ 6483 h 12965"/>
                  <a:gd name="connsiteX6" fmla="*/ 292031 w 298513"/>
                  <a:gd name="connsiteY6" fmla="*/ 12966 h 1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513" h="12965">
                    <a:moveTo>
                      <a:pt x="292031" y="12966"/>
                    </a:moveTo>
                    <a:lnTo>
                      <a:pt x="6483" y="12966"/>
                    </a:lnTo>
                    <a:cubicBezTo>
                      <a:pt x="2895" y="12966"/>
                      <a:pt x="0" y="10071"/>
                      <a:pt x="0" y="6483"/>
                    </a:cubicBezTo>
                    <a:cubicBezTo>
                      <a:pt x="0" y="2895"/>
                      <a:pt x="2895" y="0"/>
                      <a:pt x="6483" y="0"/>
                    </a:cubicBezTo>
                    <a:lnTo>
                      <a:pt x="292031" y="0"/>
                    </a:lnTo>
                    <a:cubicBezTo>
                      <a:pt x="295619" y="0"/>
                      <a:pt x="298514" y="2895"/>
                      <a:pt x="298514" y="6483"/>
                    </a:cubicBezTo>
                    <a:cubicBezTo>
                      <a:pt x="298514" y="10071"/>
                      <a:pt x="295619" y="12966"/>
                      <a:pt x="292031" y="12966"/>
                    </a:cubicBezTo>
                    <a:close/>
                  </a:path>
                </a:pathLst>
              </a:custGeom>
              <a:grpFill/>
              <a:ln w="2470" cap="flat">
                <a:noFill/>
                <a:prstDash val="solid"/>
                <a:miter/>
              </a:ln>
            </p:spPr>
            <p:txBody>
              <a:bodyPr rtlCol="0" anchor="ctr"/>
              <a:lstStyle/>
              <a:p>
                <a:endParaRPr lang="en-GB" dirty="0"/>
              </a:p>
            </p:txBody>
          </p:sp>
          <p:sp>
            <p:nvSpPr>
              <p:cNvPr id="166" name="Freihandform: Form 958">
                <a:extLst>
                  <a:ext uri="{FF2B5EF4-FFF2-40B4-BE49-F238E27FC236}">
                    <a16:creationId xmlns:a16="http://schemas.microsoft.com/office/drawing/2014/main" id="{2D08095E-F985-41C9-BB3F-3C041126AA7E}"/>
                  </a:ext>
                </a:extLst>
              </p:cNvPr>
              <p:cNvSpPr/>
              <p:nvPr/>
            </p:nvSpPr>
            <p:spPr>
              <a:xfrm>
                <a:off x="7930447" y="2515816"/>
                <a:ext cx="168705" cy="12965"/>
              </a:xfrm>
              <a:custGeom>
                <a:avLst/>
                <a:gdLst>
                  <a:gd name="connsiteX0" fmla="*/ 162223 w 168705"/>
                  <a:gd name="connsiteY0" fmla="*/ 12966 h 12965"/>
                  <a:gd name="connsiteX1" fmla="*/ 6483 w 168705"/>
                  <a:gd name="connsiteY1" fmla="*/ 12966 h 12965"/>
                  <a:gd name="connsiteX2" fmla="*/ 0 w 168705"/>
                  <a:gd name="connsiteY2" fmla="*/ 6483 h 12965"/>
                  <a:gd name="connsiteX3" fmla="*/ 6483 w 168705"/>
                  <a:gd name="connsiteY3" fmla="*/ 0 h 12965"/>
                  <a:gd name="connsiteX4" fmla="*/ 162223 w 168705"/>
                  <a:gd name="connsiteY4" fmla="*/ 0 h 12965"/>
                  <a:gd name="connsiteX5" fmla="*/ 168706 w 168705"/>
                  <a:gd name="connsiteY5" fmla="*/ 6483 h 12965"/>
                  <a:gd name="connsiteX6" fmla="*/ 162223 w 168705"/>
                  <a:gd name="connsiteY6" fmla="*/ 12966 h 1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705" h="12965">
                    <a:moveTo>
                      <a:pt x="162223" y="12966"/>
                    </a:moveTo>
                    <a:lnTo>
                      <a:pt x="6483" y="12966"/>
                    </a:lnTo>
                    <a:cubicBezTo>
                      <a:pt x="2895" y="12966"/>
                      <a:pt x="0" y="10071"/>
                      <a:pt x="0" y="6483"/>
                    </a:cubicBezTo>
                    <a:cubicBezTo>
                      <a:pt x="0" y="2895"/>
                      <a:pt x="2895" y="0"/>
                      <a:pt x="6483" y="0"/>
                    </a:cubicBezTo>
                    <a:lnTo>
                      <a:pt x="162223" y="0"/>
                    </a:lnTo>
                    <a:cubicBezTo>
                      <a:pt x="165811" y="0"/>
                      <a:pt x="168706" y="2895"/>
                      <a:pt x="168706" y="6483"/>
                    </a:cubicBezTo>
                    <a:cubicBezTo>
                      <a:pt x="168706" y="10071"/>
                      <a:pt x="165811" y="12966"/>
                      <a:pt x="162223" y="12966"/>
                    </a:cubicBezTo>
                    <a:close/>
                  </a:path>
                </a:pathLst>
              </a:custGeom>
              <a:grpFill/>
              <a:ln w="2470" cap="flat">
                <a:noFill/>
                <a:prstDash val="solid"/>
                <a:miter/>
              </a:ln>
            </p:spPr>
            <p:txBody>
              <a:bodyPr rtlCol="0" anchor="ctr"/>
              <a:lstStyle/>
              <a:p>
                <a:endParaRPr lang="en-GB" dirty="0"/>
              </a:p>
            </p:txBody>
          </p:sp>
        </p:grpSp>
      </p:grpSp>
      <p:grpSp>
        <p:nvGrpSpPr>
          <p:cNvPr id="24" name="Group 23">
            <a:extLst>
              <a:ext uri="{FF2B5EF4-FFF2-40B4-BE49-F238E27FC236}">
                <a16:creationId xmlns:a16="http://schemas.microsoft.com/office/drawing/2014/main" id="{F2308B05-601E-8937-C645-A4A1A93D28B3}"/>
              </a:ext>
            </a:extLst>
          </p:cNvPr>
          <p:cNvGrpSpPr/>
          <p:nvPr/>
        </p:nvGrpSpPr>
        <p:grpSpPr>
          <a:xfrm>
            <a:off x="2611698" y="2391526"/>
            <a:ext cx="546441" cy="431999"/>
            <a:chOff x="2611698" y="2391526"/>
            <a:chExt cx="546441" cy="431999"/>
          </a:xfrm>
        </p:grpSpPr>
        <p:grpSp>
          <p:nvGrpSpPr>
            <p:cNvPr id="183" name="Grafik 278">
              <a:extLst>
                <a:ext uri="{FF2B5EF4-FFF2-40B4-BE49-F238E27FC236}">
                  <a16:creationId xmlns:a16="http://schemas.microsoft.com/office/drawing/2014/main" id="{9D5474CD-742F-4AF9-A191-DC10B5F0CD62}"/>
                </a:ext>
              </a:extLst>
            </p:cNvPr>
            <p:cNvGrpSpPr/>
            <p:nvPr/>
          </p:nvGrpSpPr>
          <p:grpSpPr>
            <a:xfrm>
              <a:off x="2611698" y="2498115"/>
              <a:ext cx="253223" cy="325410"/>
              <a:chOff x="5282746" y="3391883"/>
              <a:chExt cx="246600" cy="316898"/>
            </a:xfrm>
            <a:solidFill>
              <a:schemeClr val="accent1"/>
            </a:solidFill>
          </p:grpSpPr>
          <p:sp>
            <p:nvSpPr>
              <p:cNvPr id="197" name="Freihandform: Form 961">
                <a:extLst>
                  <a:ext uri="{FF2B5EF4-FFF2-40B4-BE49-F238E27FC236}">
                    <a16:creationId xmlns:a16="http://schemas.microsoft.com/office/drawing/2014/main" id="{70E13EC0-1875-40AD-9A3B-5D320E3AA0FD}"/>
                  </a:ext>
                </a:extLst>
              </p:cNvPr>
              <p:cNvSpPr/>
              <p:nvPr/>
            </p:nvSpPr>
            <p:spPr>
              <a:xfrm>
                <a:off x="5399563" y="3676417"/>
                <a:ext cx="12965" cy="32365"/>
              </a:xfrm>
              <a:custGeom>
                <a:avLst/>
                <a:gdLst>
                  <a:gd name="connsiteX0" fmla="*/ 6483 w 12965"/>
                  <a:gd name="connsiteY0" fmla="*/ 32365 h 32365"/>
                  <a:gd name="connsiteX1" fmla="*/ 0 w 12965"/>
                  <a:gd name="connsiteY1" fmla="*/ 25882 h 32365"/>
                  <a:gd name="connsiteX2" fmla="*/ 0 w 12965"/>
                  <a:gd name="connsiteY2" fmla="*/ 6483 h 32365"/>
                  <a:gd name="connsiteX3" fmla="*/ 6483 w 12965"/>
                  <a:gd name="connsiteY3" fmla="*/ 0 h 32365"/>
                  <a:gd name="connsiteX4" fmla="*/ 12966 w 12965"/>
                  <a:gd name="connsiteY4" fmla="*/ 6483 h 32365"/>
                  <a:gd name="connsiteX5" fmla="*/ 12966 w 12965"/>
                  <a:gd name="connsiteY5" fmla="*/ 25882 h 32365"/>
                  <a:gd name="connsiteX6" fmla="*/ 6483 w 12965"/>
                  <a:gd name="connsiteY6" fmla="*/ 32365 h 32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5" h="32365">
                    <a:moveTo>
                      <a:pt x="6483" y="32365"/>
                    </a:moveTo>
                    <a:cubicBezTo>
                      <a:pt x="2895" y="32365"/>
                      <a:pt x="0" y="29470"/>
                      <a:pt x="0" y="25882"/>
                    </a:cubicBezTo>
                    <a:lnTo>
                      <a:pt x="0" y="6483"/>
                    </a:lnTo>
                    <a:cubicBezTo>
                      <a:pt x="0" y="2895"/>
                      <a:pt x="2895" y="0"/>
                      <a:pt x="6483" y="0"/>
                    </a:cubicBezTo>
                    <a:cubicBezTo>
                      <a:pt x="10071" y="0"/>
                      <a:pt x="12966" y="2895"/>
                      <a:pt x="12966" y="6483"/>
                    </a:cubicBezTo>
                    <a:lnTo>
                      <a:pt x="12966" y="25882"/>
                    </a:lnTo>
                    <a:cubicBezTo>
                      <a:pt x="12966" y="29470"/>
                      <a:pt x="10071" y="32365"/>
                      <a:pt x="6483" y="32365"/>
                    </a:cubicBezTo>
                    <a:close/>
                  </a:path>
                </a:pathLst>
              </a:custGeom>
              <a:solidFill>
                <a:schemeClr val="accent1"/>
              </a:solidFill>
              <a:ln w="2470" cap="flat">
                <a:noFill/>
                <a:prstDash val="solid"/>
                <a:miter/>
              </a:ln>
            </p:spPr>
            <p:txBody>
              <a:bodyPr rtlCol="0" anchor="ctr"/>
              <a:lstStyle/>
              <a:p>
                <a:endParaRPr lang="en-GB" dirty="0"/>
              </a:p>
            </p:txBody>
          </p:sp>
          <p:sp>
            <p:nvSpPr>
              <p:cNvPr id="198" name="Freihandform: Form 962">
                <a:extLst>
                  <a:ext uri="{FF2B5EF4-FFF2-40B4-BE49-F238E27FC236}">
                    <a16:creationId xmlns:a16="http://schemas.microsoft.com/office/drawing/2014/main" id="{9B3F493B-53CC-414A-ADEE-9C4A6188BD46}"/>
                  </a:ext>
                </a:extLst>
              </p:cNvPr>
              <p:cNvSpPr/>
              <p:nvPr/>
            </p:nvSpPr>
            <p:spPr>
              <a:xfrm>
                <a:off x="5315192" y="3662567"/>
                <a:ext cx="36507" cy="46214"/>
              </a:xfrm>
              <a:custGeom>
                <a:avLst/>
                <a:gdLst>
                  <a:gd name="connsiteX0" fmla="*/ 6476 w 36507"/>
                  <a:gd name="connsiteY0" fmla="*/ 46215 h 46214"/>
                  <a:gd name="connsiteX1" fmla="*/ 2739 w 36507"/>
                  <a:gd name="connsiteY1" fmla="*/ 45027 h 46214"/>
                  <a:gd name="connsiteX2" fmla="*/ 1180 w 36507"/>
                  <a:gd name="connsiteY2" fmla="*/ 35996 h 46214"/>
                  <a:gd name="connsiteX3" fmla="*/ 24712 w 36507"/>
                  <a:gd name="connsiteY3" fmla="*/ 2739 h 46214"/>
                  <a:gd name="connsiteX4" fmla="*/ 33769 w 36507"/>
                  <a:gd name="connsiteY4" fmla="*/ 1180 h 46214"/>
                  <a:gd name="connsiteX5" fmla="*/ 35327 w 36507"/>
                  <a:gd name="connsiteY5" fmla="*/ 10212 h 46214"/>
                  <a:gd name="connsiteX6" fmla="*/ 11796 w 36507"/>
                  <a:gd name="connsiteY6" fmla="*/ 43468 h 46214"/>
                  <a:gd name="connsiteX7" fmla="*/ 6476 w 36507"/>
                  <a:gd name="connsiteY7" fmla="*/ 46215 h 46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07" h="46214">
                    <a:moveTo>
                      <a:pt x="6476" y="46215"/>
                    </a:moveTo>
                    <a:cubicBezTo>
                      <a:pt x="5189" y="46215"/>
                      <a:pt x="3878" y="45819"/>
                      <a:pt x="2739" y="45027"/>
                    </a:cubicBezTo>
                    <a:cubicBezTo>
                      <a:pt x="-180" y="42949"/>
                      <a:pt x="-873" y="38915"/>
                      <a:pt x="1180" y="35996"/>
                    </a:cubicBezTo>
                    <a:lnTo>
                      <a:pt x="24712" y="2739"/>
                    </a:lnTo>
                    <a:cubicBezTo>
                      <a:pt x="26791" y="-180"/>
                      <a:pt x="30824" y="-873"/>
                      <a:pt x="33769" y="1180"/>
                    </a:cubicBezTo>
                    <a:cubicBezTo>
                      <a:pt x="36688" y="3259"/>
                      <a:pt x="37381" y="7292"/>
                      <a:pt x="35327" y="10212"/>
                    </a:cubicBezTo>
                    <a:lnTo>
                      <a:pt x="11796" y="43468"/>
                    </a:lnTo>
                    <a:cubicBezTo>
                      <a:pt x="10534" y="45275"/>
                      <a:pt x="8530" y="46215"/>
                      <a:pt x="6476" y="46215"/>
                    </a:cubicBezTo>
                    <a:close/>
                  </a:path>
                </a:pathLst>
              </a:custGeom>
              <a:solidFill>
                <a:schemeClr val="accent1"/>
              </a:solidFill>
              <a:ln w="2470" cap="flat">
                <a:noFill/>
                <a:prstDash val="solid"/>
                <a:miter/>
              </a:ln>
            </p:spPr>
            <p:txBody>
              <a:bodyPr rtlCol="0" anchor="ctr"/>
              <a:lstStyle/>
              <a:p>
                <a:endParaRPr lang="en-GB" dirty="0"/>
              </a:p>
            </p:txBody>
          </p:sp>
          <p:sp>
            <p:nvSpPr>
              <p:cNvPr id="199" name="Freihandform: Form 963">
                <a:extLst>
                  <a:ext uri="{FF2B5EF4-FFF2-40B4-BE49-F238E27FC236}">
                    <a16:creationId xmlns:a16="http://schemas.microsoft.com/office/drawing/2014/main" id="{E792DAAD-A5F2-4134-A26D-171982B206E0}"/>
                  </a:ext>
                </a:extLst>
              </p:cNvPr>
              <p:cNvSpPr/>
              <p:nvPr/>
            </p:nvSpPr>
            <p:spPr>
              <a:xfrm>
                <a:off x="5457962" y="3661729"/>
                <a:ext cx="38965" cy="47052"/>
              </a:xfrm>
              <a:custGeom>
                <a:avLst/>
                <a:gdLst>
                  <a:gd name="connsiteX0" fmla="*/ 32461 w 38965"/>
                  <a:gd name="connsiteY0" fmla="*/ 47053 h 47052"/>
                  <a:gd name="connsiteX1" fmla="*/ 27290 w 38965"/>
                  <a:gd name="connsiteY1" fmla="*/ 44504 h 47052"/>
                  <a:gd name="connsiteX2" fmla="*/ 1333 w 38965"/>
                  <a:gd name="connsiteY2" fmla="*/ 10431 h 47052"/>
                  <a:gd name="connsiteX3" fmla="*/ 2570 w 38965"/>
                  <a:gd name="connsiteY3" fmla="*/ 1326 h 47052"/>
                  <a:gd name="connsiteX4" fmla="*/ 11676 w 38965"/>
                  <a:gd name="connsiteY4" fmla="*/ 2563 h 47052"/>
                  <a:gd name="connsiteX5" fmla="*/ 37633 w 38965"/>
                  <a:gd name="connsiteY5" fmla="*/ 36636 h 47052"/>
                  <a:gd name="connsiteX6" fmla="*/ 36395 w 38965"/>
                  <a:gd name="connsiteY6" fmla="*/ 45741 h 47052"/>
                  <a:gd name="connsiteX7" fmla="*/ 32461 w 38965"/>
                  <a:gd name="connsiteY7" fmla="*/ 47053 h 4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65" h="47052">
                    <a:moveTo>
                      <a:pt x="32461" y="47053"/>
                    </a:moveTo>
                    <a:cubicBezTo>
                      <a:pt x="30506" y="47053"/>
                      <a:pt x="28576" y="46162"/>
                      <a:pt x="27290" y="44504"/>
                    </a:cubicBezTo>
                    <a:lnTo>
                      <a:pt x="1333" y="10431"/>
                    </a:lnTo>
                    <a:cubicBezTo>
                      <a:pt x="-844" y="7586"/>
                      <a:pt x="-300" y="3503"/>
                      <a:pt x="2570" y="1326"/>
                    </a:cubicBezTo>
                    <a:cubicBezTo>
                      <a:pt x="5441" y="-852"/>
                      <a:pt x="9499" y="-283"/>
                      <a:pt x="11676" y="2563"/>
                    </a:cubicBezTo>
                    <a:lnTo>
                      <a:pt x="37633" y="36636"/>
                    </a:lnTo>
                    <a:cubicBezTo>
                      <a:pt x="39810" y="39481"/>
                      <a:pt x="39266" y="43564"/>
                      <a:pt x="36395" y="45741"/>
                    </a:cubicBezTo>
                    <a:cubicBezTo>
                      <a:pt x="35208" y="46632"/>
                      <a:pt x="33822" y="47053"/>
                      <a:pt x="32461" y="47053"/>
                    </a:cubicBezTo>
                    <a:close/>
                  </a:path>
                </a:pathLst>
              </a:custGeom>
              <a:solidFill>
                <a:schemeClr val="accent1"/>
              </a:solidFill>
              <a:ln w="2470" cap="flat">
                <a:noFill/>
                <a:prstDash val="solid"/>
                <a:miter/>
              </a:ln>
            </p:spPr>
            <p:txBody>
              <a:bodyPr rtlCol="0" anchor="ctr"/>
              <a:lstStyle/>
              <a:p>
                <a:endParaRPr lang="en-GB" dirty="0"/>
              </a:p>
            </p:txBody>
          </p:sp>
          <p:sp>
            <p:nvSpPr>
              <p:cNvPr id="200" name="Freihandform: Form 964">
                <a:extLst>
                  <a:ext uri="{FF2B5EF4-FFF2-40B4-BE49-F238E27FC236}">
                    <a16:creationId xmlns:a16="http://schemas.microsoft.com/office/drawing/2014/main" id="{53B5A588-18C0-40CE-97E9-50B536F09800}"/>
                  </a:ext>
                </a:extLst>
              </p:cNvPr>
              <p:cNvSpPr/>
              <p:nvPr/>
            </p:nvSpPr>
            <p:spPr>
              <a:xfrm>
                <a:off x="5483928" y="3462169"/>
                <a:ext cx="25956" cy="25968"/>
              </a:xfrm>
              <a:custGeom>
                <a:avLst/>
                <a:gdLst>
                  <a:gd name="connsiteX0" fmla="*/ 6471 w 25956"/>
                  <a:gd name="connsiteY0" fmla="*/ 25969 h 25968"/>
                  <a:gd name="connsiteX1" fmla="*/ 1893 w 25956"/>
                  <a:gd name="connsiteY1" fmla="*/ 24064 h 25968"/>
                  <a:gd name="connsiteX2" fmla="*/ 1893 w 25956"/>
                  <a:gd name="connsiteY2" fmla="*/ 14884 h 25968"/>
                  <a:gd name="connsiteX3" fmla="*/ 14884 w 25956"/>
                  <a:gd name="connsiteY3" fmla="*/ 1893 h 25968"/>
                  <a:gd name="connsiteX4" fmla="*/ 24064 w 25956"/>
                  <a:gd name="connsiteY4" fmla="*/ 1893 h 25968"/>
                  <a:gd name="connsiteX5" fmla="*/ 24064 w 25956"/>
                  <a:gd name="connsiteY5" fmla="*/ 11073 h 25968"/>
                  <a:gd name="connsiteX6" fmla="*/ 11073 w 25956"/>
                  <a:gd name="connsiteY6" fmla="*/ 24064 h 25968"/>
                  <a:gd name="connsiteX7" fmla="*/ 6471 w 25956"/>
                  <a:gd name="connsiteY7" fmla="*/ 25969 h 25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56" h="25968">
                    <a:moveTo>
                      <a:pt x="6471" y="25969"/>
                    </a:moveTo>
                    <a:cubicBezTo>
                      <a:pt x="4813" y="25969"/>
                      <a:pt x="3155" y="25326"/>
                      <a:pt x="1893" y="24064"/>
                    </a:cubicBezTo>
                    <a:cubicBezTo>
                      <a:pt x="-631" y="21540"/>
                      <a:pt x="-631" y="17432"/>
                      <a:pt x="1893" y="14884"/>
                    </a:cubicBezTo>
                    <a:lnTo>
                      <a:pt x="14884" y="1893"/>
                    </a:lnTo>
                    <a:cubicBezTo>
                      <a:pt x="17408" y="-631"/>
                      <a:pt x="21515" y="-631"/>
                      <a:pt x="24064" y="1893"/>
                    </a:cubicBezTo>
                    <a:cubicBezTo>
                      <a:pt x="26588" y="4417"/>
                      <a:pt x="26588" y="8524"/>
                      <a:pt x="24064" y="11073"/>
                    </a:cubicBezTo>
                    <a:lnTo>
                      <a:pt x="11073" y="24064"/>
                    </a:lnTo>
                    <a:cubicBezTo>
                      <a:pt x="9811" y="25350"/>
                      <a:pt x="8128" y="25969"/>
                      <a:pt x="6471" y="25969"/>
                    </a:cubicBezTo>
                    <a:close/>
                  </a:path>
                </a:pathLst>
              </a:custGeom>
              <a:solidFill>
                <a:schemeClr val="accent1"/>
              </a:solidFill>
              <a:ln w="2470" cap="flat">
                <a:noFill/>
                <a:prstDash val="solid"/>
                <a:miter/>
              </a:ln>
            </p:spPr>
            <p:txBody>
              <a:bodyPr rtlCol="0" anchor="ctr"/>
              <a:lstStyle/>
              <a:p>
                <a:endParaRPr lang="en-GB" dirty="0"/>
              </a:p>
            </p:txBody>
          </p:sp>
          <p:sp>
            <p:nvSpPr>
              <p:cNvPr id="201" name="Freihandform: Form 965">
                <a:extLst>
                  <a:ext uri="{FF2B5EF4-FFF2-40B4-BE49-F238E27FC236}">
                    <a16:creationId xmlns:a16="http://schemas.microsoft.com/office/drawing/2014/main" id="{286B5F47-3CCA-445E-BE16-934805174D45}"/>
                  </a:ext>
                </a:extLst>
              </p:cNvPr>
              <p:cNvSpPr/>
              <p:nvPr/>
            </p:nvSpPr>
            <p:spPr>
              <a:xfrm>
                <a:off x="5308690" y="3462194"/>
                <a:ext cx="23704" cy="23717"/>
              </a:xfrm>
              <a:custGeom>
                <a:avLst/>
                <a:gdLst>
                  <a:gd name="connsiteX0" fmla="*/ 17234 w 23704"/>
                  <a:gd name="connsiteY0" fmla="*/ 23717 h 23717"/>
                  <a:gd name="connsiteX1" fmla="*/ 12632 w 23704"/>
                  <a:gd name="connsiteY1" fmla="*/ 21812 h 23717"/>
                  <a:gd name="connsiteX2" fmla="*/ 1893 w 23704"/>
                  <a:gd name="connsiteY2" fmla="*/ 11073 h 23717"/>
                  <a:gd name="connsiteX3" fmla="*/ 1893 w 23704"/>
                  <a:gd name="connsiteY3" fmla="*/ 1893 h 23717"/>
                  <a:gd name="connsiteX4" fmla="*/ 11073 w 23704"/>
                  <a:gd name="connsiteY4" fmla="*/ 1893 h 23717"/>
                  <a:gd name="connsiteX5" fmla="*/ 21812 w 23704"/>
                  <a:gd name="connsiteY5" fmla="*/ 12632 h 23717"/>
                  <a:gd name="connsiteX6" fmla="*/ 21812 w 23704"/>
                  <a:gd name="connsiteY6" fmla="*/ 21812 h 23717"/>
                  <a:gd name="connsiteX7" fmla="*/ 17234 w 23704"/>
                  <a:gd name="connsiteY7" fmla="*/ 23717 h 23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04" h="23717">
                    <a:moveTo>
                      <a:pt x="17234" y="23717"/>
                    </a:moveTo>
                    <a:cubicBezTo>
                      <a:pt x="15576" y="23717"/>
                      <a:pt x="13919" y="23074"/>
                      <a:pt x="12632" y="21812"/>
                    </a:cubicBezTo>
                    <a:lnTo>
                      <a:pt x="1893" y="11073"/>
                    </a:lnTo>
                    <a:cubicBezTo>
                      <a:pt x="-631" y="8549"/>
                      <a:pt x="-631" y="4417"/>
                      <a:pt x="1893" y="1893"/>
                    </a:cubicBezTo>
                    <a:cubicBezTo>
                      <a:pt x="4417" y="-631"/>
                      <a:pt x="8549" y="-631"/>
                      <a:pt x="11073" y="1893"/>
                    </a:cubicBezTo>
                    <a:lnTo>
                      <a:pt x="21812" y="12632"/>
                    </a:lnTo>
                    <a:cubicBezTo>
                      <a:pt x="24336" y="15156"/>
                      <a:pt x="24336" y="19288"/>
                      <a:pt x="21812" y="21812"/>
                    </a:cubicBezTo>
                    <a:cubicBezTo>
                      <a:pt x="20575" y="23099"/>
                      <a:pt x="18917" y="23717"/>
                      <a:pt x="17234" y="23717"/>
                    </a:cubicBezTo>
                    <a:close/>
                  </a:path>
                </a:pathLst>
              </a:custGeom>
              <a:solidFill>
                <a:schemeClr val="accent1"/>
              </a:solidFill>
              <a:ln w="2470" cap="flat">
                <a:noFill/>
                <a:prstDash val="solid"/>
                <a:miter/>
              </a:ln>
            </p:spPr>
            <p:txBody>
              <a:bodyPr rtlCol="0" anchor="ctr"/>
              <a:lstStyle/>
              <a:p>
                <a:endParaRPr lang="en-GB" dirty="0"/>
              </a:p>
            </p:txBody>
          </p:sp>
          <p:sp>
            <p:nvSpPr>
              <p:cNvPr id="202" name="Freihandform: Form 966">
                <a:extLst>
                  <a:ext uri="{FF2B5EF4-FFF2-40B4-BE49-F238E27FC236}">
                    <a16:creationId xmlns:a16="http://schemas.microsoft.com/office/drawing/2014/main" id="{BA1A0874-594F-4F9F-9B58-FA245415514A}"/>
                  </a:ext>
                </a:extLst>
              </p:cNvPr>
              <p:cNvSpPr/>
              <p:nvPr/>
            </p:nvSpPr>
            <p:spPr>
              <a:xfrm>
                <a:off x="5359007" y="3391883"/>
                <a:ext cx="94102" cy="40036"/>
              </a:xfrm>
              <a:custGeom>
                <a:avLst/>
                <a:gdLst>
                  <a:gd name="connsiteX0" fmla="*/ 80839 w 94102"/>
                  <a:gd name="connsiteY0" fmla="*/ 40036 h 40036"/>
                  <a:gd name="connsiteX1" fmla="*/ 13238 w 94102"/>
                  <a:gd name="connsiteY1" fmla="*/ 40036 h 40036"/>
                  <a:gd name="connsiteX2" fmla="*/ 0 w 94102"/>
                  <a:gd name="connsiteY2" fmla="*/ 26773 h 40036"/>
                  <a:gd name="connsiteX3" fmla="*/ 26773 w 94102"/>
                  <a:gd name="connsiteY3" fmla="*/ 0 h 40036"/>
                  <a:gd name="connsiteX4" fmla="*/ 67329 w 94102"/>
                  <a:gd name="connsiteY4" fmla="*/ 0 h 40036"/>
                  <a:gd name="connsiteX5" fmla="*/ 94102 w 94102"/>
                  <a:gd name="connsiteY5" fmla="*/ 26773 h 40036"/>
                  <a:gd name="connsiteX6" fmla="*/ 80839 w 94102"/>
                  <a:gd name="connsiteY6" fmla="*/ 40036 h 40036"/>
                  <a:gd name="connsiteX7" fmla="*/ 26748 w 94102"/>
                  <a:gd name="connsiteY7" fmla="*/ 12991 h 40036"/>
                  <a:gd name="connsiteX8" fmla="*/ 12966 w 94102"/>
                  <a:gd name="connsiteY8" fmla="*/ 26773 h 40036"/>
                  <a:gd name="connsiteX9" fmla="*/ 80839 w 94102"/>
                  <a:gd name="connsiteY9" fmla="*/ 27046 h 40036"/>
                  <a:gd name="connsiteX10" fmla="*/ 81111 w 94102"/>
                  <a:gd name="connsiteY10" fmla="*/ 26773 h 40036"/>
                  <a:gd name="connsiteX11" fmla="*/ 67329 w 94102"/>
                  <a:gd name="connsiteY11" fmla="*/ 12991 h 40036"/>
                  <a:gd name="connsiteX12" fmla="*/ 26748 w 94102"/>
                  <a:gd name="connsiteY12" fmla="*/ 12991 h 4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4102" h="40036">
                    <a:moveTo>
                      <a:pt x="80839" y="40036"/>
                    </a:moveTo>
                    <a:lnTo>
                      <a:pt x="13238" y="40036"/>
                    </a:lnTo>
                    <a:cubicBezTo>
                      <a:pt x="5939" y="40036"/>
                      <a:pt x="0" y="34098"/>
                      <a:pt x="0" y="26773"/>
                    </a:cubicBezTo>
                    <a:cubicBezTo>
                      <a:pt x="0" y="12026"/>
                      <a:pt x="12001" y="0"/>
                      <a:pt x="26773" y="0"/>
                    </a:cubicBezTo>
                    <a:lnTo>
                      <a:pt x="67329" y="0"/>
                    </a:lnTo>
                    <a:cubicBezTo>
                      <a:pt x="82076" y="0"/>
                      <a:pt x="94102" y="12001"/>
                      <a:pt x="94102" y="26773"/>
                    </a:cubicBezTo>
                    <a:cubicBezTo>
                      <a:pt x="94077" y="34073"/>
                      <a:pt x="88139" y="40036"/>
                      <a:pt x="80839" y="40036"/>
                    </a:cubicBezTo>
                    <a:close/>
                    <a:moveTo>
                      <a:pt x="26748" y="12991"/>
                    </a:moveTo>
                    <a:cubicBezTo>
                      <a:pt x="19152" y="12991"/>
                      <a:pt x="12966" y="19177"/>
                      <a:pt x="12966" y="26773"/>
                    </a:cubicBezTo>
                    <a:lnTo>
                      <a:pt x="80839" y="27046"/>
                    </a:lnTo>
                    <a:cubicBezTo>
                      <a:pt x="80988" y="27046"/>
                      <a:pt x="81111" y="26922"/>
                      <a:pt x="81111" y="26773"/>
                    </a:cubicBezTo>
                    <a:cubicBezTo>
                      <a:pt x="81111" y="19177"/>
                      <a:pt x="74925" y="12991"/>
                      <a:pt x="67329" y="12991"/>
                    </a:cubicBezTo>
                    <a:lnTo>
                      <a:pt x="26748" y="12991"/>
                    </a:lnTo>
                    <a:close/>
                  </a:path>
                </a:pathLst>
              </a:custGeom>
              <a:solidFill>
                <a:schemeClr val="accent1"/>
              </a:solidFill>
              <a:ln w="2470" cap="flat">
                <a:noFill/>
                <a:prstDash val="solid"/>
                <a:miter/>
              </a:ln>
            </p:spPr>
            <p:txBody>
              <a:bodyPr rtlCol="0" anchor="ctr"/>
              <a:lstStyle/>
              <a:p>
                <a:endParaRPr lang="en-GB" dirty="0"/>
              </a:p>
            </p:txBody>
          </p:sp>
          <p:grpSp>
            <p:nvGrpSpPr>
              <p:cNvPr id="203" name="Grafik 278">
                <a:extLst>
                  <a:ext uri="{FF2B5EF4-FFF2-40B4-BE49-F238E27FC236}">
                    <a16:creationId xmlns:a16="http://schemas.microsoft.com/office/drawing/2014/main" id="{A108C7C9-E4BF-4D44-888A-A0818F9F9AE4}"/>
                  </a:ext>
                </a:extLst>
              </p:cNvPr>
              <p:cNvGrpSpPr/>
              <p:nvPr/>
            </p:nvGrpSpPr>
            <p:grpSpPr>
              <a:xfrm>
                <a:off x="5282746" y="3442708"/>
                <a:ext cx="246600" cy="246600"/>
                <a:chOff x="5282746" y="3442708"/>
                <a:chExt cx="246600" cy="246600"/>
              </a:xfrm>
              <a:solidFill>
                <a:schemeClr val="accent1"/>
              </a:solidFill>
            </p:grpSpPr>
            <p:sp>
              <p:nvSpPr>
                <p:cNvPr id="204" name="Freihandform: Form 968">
                  <a:extLst>
                    <a:ext uri="{FF2B5EF4-FFF2-40B4-BE49-F238E27FC236}">
                      <a16:creationId xmlns:a16="http://schemas.microsoft.com/office/drawing/2014/main" id="{B39150C4-3A85-4471-B4F0-190D28BD2C1B}"/>
                    </a:ext>
                  </a:extLst>
                </p:cNvPr>
                <p:cNvSpPr/>
                <p:nvPr/>
              </p:nvSpPr>
              <p:spPr>
                <a:xfrm>
                  <a:off x="5282746" y="3442708"/>
                  <a:ext cx="246600" cy="246600"/>
                </a:xfrm>
                <a:custGeom>
                  <a:avLst/>
                  <a:gdLst>
                    <a:gd name="connsiteX0" fmla="*/ 123300 w 246600"/>
                    <a:gd name="connsiteY0" fmla="*/ 246600 h 246600"/>
                    <a:gd name="connsiteX1" fmla="*/ 0 w 246600"/>
                    <a:gd name="connsiteY1" fmla="*/ 123300 h 246600"/>
                    <a:gd name="connsiteX2" fmla="*/ 123300 w 246600"/>
                    <a:gd name="connsiteY2" fmla="*/ 0 h 246600"/>
                    <a:gd name="connsiteX3" fmla="*/ 246600 w 246600"/>
                    <a:gd name="connsiteY3" fmla="*/ 123300 h 246600"/>
                    <a:gd name="connsiteX4" fmla="*/ 123300 w 246600"/>
                    <a:gd name="connsiteY4" fmla="*/ 246600 h 246600"/>
                    <a:gd name="connsiteX5" fmla="*/ 123300 w 246600"/>
                    <a:gd name="connsiteY5" fmla="*/ 12991 h 246600"/>
                    <a:gd name="connsiteX6" fmla="*/ 12991 w 246600"/>
                    <a:gd name="connsiteY6" fmla="*/ 123300 h 246600"/>
                    <a:gd name="connsiteX7" fmla="*/ 123300 w 246600"/>
                    <a:gd name="connsiteY7" fmla="*/ 233610 h 246600"/>
                    <a:gd name="connsiteX8" fmla="*/ 233610 w 246600"/>
                    <a:gd name="connsiteY8" fmla="*/ 123300 h 246600"/>
                    <a:gd name="connsiteX9" fmla="*/ 123300 w 246600"/>
                    <a:gd name="connsiteY9" fmla="*/ 12991 h 2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600" h="246600">
                      <a:moveTo>
                        <a:pt x="123300" y="246600"/>
                      </a:moveTo>
                      <a:cubicBezTo>
                        <a:pt x="55303" y="246600"/>
                        <a:pt x="0" y="191297"/>
                        <a:pt x="0" y="123300"/>
                      </a:cubicBezTo>
                      <a:cubicBezTo>
                        <a:pt x="0" y="55303"/>
                        <a:pt x="55303" y="0"/>
                        <a:pt x="123300" y="0"/>
                      </a:cubicBezTo>
                      <a:cubicBezTo>
                        <a:pt x="191297" y="0"/>
                        <a:pt x="246600" y="55303"/>
                        <a:pt x="246600" y="123300"/>
                      </a:cubicBezTo>
                      <a:cubicBezTo>
                        <a:pt x="246600" y="191297"/>
                        <a:pt x="191297" y="246600"/>
                        <a:pt x="123300" y="246600"/>
                      </a:cubicBezTo>
                      <a:close/>
                      <a:moveTo>
                        <a:pt x="123300" y="12991"/>
                      </a:moveTo>
                      <a:cubicBezTo>
                        <a:pt x="62479" y="12991"/>
                        <a:pt x="12991" y="62479"/>
                        <a:pt x="12991" y="123300"/>
                      </a:cubicBezTo>
                      <a:cubicBezTo>
                        <a:pt x="12991" y="184121"/>
                        <a:pt x="62479" y="233610"/>
                        <a:pt x="123300" y="233610"/>
                      </a:cubicBezTo>
                      <a:cubicBezTo>
                        <a:pt x="184121" y="233610"/>
                        <a:pt x="233610" y="184121"/>
                        <a:pt x="233610" y="123300"/>
                      </a:cubicBezTo>
                      <a:cubicBezTo>
                        <a:pt x="233610" y="62479"/>
                        <a:pt x="184121" y="12991"/>
                        <a:pt x="123300" y="12991"/>
                      </a:cubicBezTo>
                      <a:close/>
                    </a:path>
                  </a:pathLst>
                </a:custGeom>
                <a:solidFill>
                  <a:schemeClr val="accent1"/>
                </a:solidFill>
                <a:ln w="2470" cap="flat">
                  <a:noFill/>
                  <a:prstDash val="solid"/>
                  <a:miter/>
                </a:ln>
              </p:spPr>
              <p:txBody>
                <a:bodyPr rtlCol="0" anchor="ctr"/>
                <a:lstStyle/>
                <a:p>
                  <a:endParaRPr lang="en-GB" dirty="0"/>
                </a:p>
              </p:txBody>
            </p:sp>
            <p:sp>
              <p:nvSpPr>
                <p:cNvPr id="205" name="Freihandform: Form 969">
                  <a:extLst>
                    <a:ext uri="{FF2B5EF4-FFF2-40B4-BE49-F238E27FC236}">
                      <a16:creationId xmlns:a16="http://schemas.microsoft.com/office/drawing/2014/main" id="{F6B0F059-0625-4C05-967F-8A4EC397F5C5}"/>
                    </a:ext>
                  </a:extLst>
                </p:cNvPr>
                <p:cNvSpPr/>
                <p:nvPr/>
              </p:nvSpPr>
              <p:spPr>
                <a:xfrm>
                  <a:off x="5386077" y="3485392"/>
                  <a:ext cx="39937" cy="102836"/>
                </a:xfrm>
                <a:custGeom>
                  <a:avLst/>
                  <a:gdLst>
                    <a:gd name="connsiteX0" fmla="*/ 19969 w 39937"/>
                    <a:gd name="connsiteY0" fmla="*/ 102837 h 102836"/>
                    <a:gd name="connsiteX1" fmla="*/ 0 w 39937"/>
                    <a:gd name="connsiteY1" fmla="*/ 80517 h 102836"/>
                    <a:gd name="connsiteX2" fmla="*/ 1089 w 39937"/>
                    <a:gd name="connsiteY2" fmla="*/ 73391 h 102836"/>
                    <a:gd name="connsiteX3" fmla="*/ 13585 w 39937"/>
                    <a:gd name="connsiteY3" fmla="*/ 5320 h 102836"/>
                    <a:gd name="connsiteX4" fmla="*/ 19969 w 39937"/>
                    <a:gd name="connsiteY4" fmla="*/ 0 h 102836"/>
                    <a:gd name="connsiteX5" fmla="*/ 26353 w 39937"/>
                    <a:gd name="connsiteY5" fmla="*/ 5320 h 102836"/>
                    <a:gd name="connsiteX6" fmla="*/ 38848 w 39937"/>
                    <a:gd name="connsiteY6" fmla="*/ 73391 h 102836"/>
                    <a:gd name="connsiteX7" fmla="*/ 39937 w 39937"/>
                    <a:gd name="connsiteY7" fmla="*/ 80517 h 102836"/>
                    <a:gd name="connsiteX8" fmla="*/ 19969 w 39937"/>
                    <a:gd name="connsiteY8" fmla="*/ 102837 h 102836"/>
                    <a:gd name="connsiteX9" fmla="*/ 19969 w 39937"/>
                    <a:gd name="connsiteY9" fmla="*/ 42436 h 102836"/>
                    <a:gd name="connsiteX10" fmla="*/ 13783 w 39937"/>
                    <a:gd name="connsiteY10" fmla="*/ 76162 h 102836"/>
                    <a:gd name="connsiteX11" fmla="*/ 13585 w 39937"/>
                    <a:gd name="connsiteY11" fmla="*/ 76979 h 102836"/>
                    <a:gd name="connsiteX12" fmla="*/ 12991 w 39937"/>
                    <a:gd name="connsiteY12" fmla="*/ 80542 h 102836"/>
                    <a:gd name="connsiteX13" fmla="*/ 19969 w 39937"/>
                    <a:gd name="connsiteY13" fmla="*/ 89871 h 102836"/>
                    <a:gd name="connsiteX14" fmla="*/ 26946 w 39937"/>
                    <a:gd name="connsiteY14" fmla="*/ 80542 h 102836"/>
                    <a:gd name="connsiteX15" fmla="*/ 26353 w 39937"/>
                    <a:gd name="connsiteY15" fmla="*/ 76979 h 102836"/>
                    <a:gd name="connsiteX16" fmla="*/ 26155 w 39937"/>
                    <a:gd name="connsiteY16" fmla="*/ 76162 h 102836"/>
                    <a:gd name="connsiteX17" fmla="*/ 19969 w 39937"/>
                    <a:gd name="connsiteY17" fmla="*/ 42436 h 102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937" h="102836">
                      <a:moveTo>
                        <a:pt x="19969" y="102837"/>
                      </a:moveTo>
                      <a:cubicBezTo>
                        <a:pt x="8957" y="102837"/>
                        <a:pt x="0" y="92840"/>
                        <a:pt x="0" y="80517"/>
                      </a:cubicBezTo>
                      <a:cubicBezTo>
                        <a:pt x="0" y="78142"/>
                        <a:pt x="371" y="75742"/>
                        <a:pt x="1089" y="73391"/>
                      </a:cubicBezTo>
                      <a:lnTo>
                        <a:pt x="13585" y="5320"/>
                      </a:lnTo>
                      <a:cubicBezTo>
                        <a:pt x="14154" y="2252"/>
                        <a:pt x="16826" y="0"/>
                        <a:pt x="19969" y="0"/>
                      </a:cubicBezTo>
                      <a:cubicBezTo>
                        <a:pt x="23111" y="0"/>
                        <a:pt x="25783" y="2227"/>
                        <a:pt x="26353" y="5320"/>
                      </a:cubicBezTo>
                      <a:lnTo>
                        <a:pt x="38848" y="73391"/>
                      </a:lnTo>
                      <a:cubicBezTo>
                        <a:pt x="39566" y="75767"/>
                        <a:pt x="39937" y="78142"/>
                        <a:pt x="39937" y="80517"/>
                      </a:cubicBezTo>
                      <a:cubicBezTo>
                        <a:pt x="39937" y="92840"/>
                        <a:pt x="30980" y="102837"/>
                        <a:pt x="19969" y="102837"/>
                      </a:cubicBezTo>
                      <a:close/>
                      <a:moveTo>
                        <a:pt x="19969" y="42436"/>
                      </a:moveTo>
                      <a:lnTo>
                        <a:pt x="13783" y="76162"/>
                      </a:lnTo>
                      <a:cubicBezTo>
                        <a:pt x="13733" y="76435"/>
                        <a:pt x="13659" y="76707"/>
                        <a:pt x="13585" y="76979"/>
                      </a:cubicBezTo>
                      <a:cubicBezTo>
                        <a:pt x="13189" y="78192"/>
                        <a:pt x="12991" y="79404"/>
                        <a:pt x="12991" y="80542"/>
                      </a:cubicBezTo>
                      <a:cubicBezTo>
                        <a:pt x="12991" y="85590"/>
                        <a:pt x="16183" y="89871"/>
                        <a:pt x="19969" y="89871"/>
                      </a:cubicBezTo>
                      <a:cubicBezTo>
                        <a:pt x="23754" y="89871"/>
                        <a:pt x="26946" y="85590"/>
                        <a:pt x="26946" y="80542"/>
                      </a:cubicBezTo>
                      <a:cubicBezTo>
                        <a:pt x="26946" y="79379"/>
                        <a:pt x="26748" y="78192"/>
                        <a:pt x="26353" y="76979"/>
                      </a:cubicBezTo>
                      <a:cubicBezTo>
                        <a:pt x="26278" y="76707"/>
                        <a:pt x="26204" y="76435"/>
                        <a:pt x="26155" y="76162"/>
                      </a:cubicBezTo>
                      <a:lnTo>
                        <a:pt x="19969" y="42436"/>
                      </a:lnTo>
                      <a:close/>
                    </a:path>
                  </a:pathLst>
                </a:custGeom>
                <a:solidFill>
                  <a:schemeClr val="accent1"/>
                </a:solidFill>
                <a:ln w="2470" cap="flat">
                  <a:noFill/>
                  <a:prstDash val="solid"/>
                  <a:miter/>
                </a:ln>
              </p:spPr>
              <p:txBody>
                <a:bodyPr rtlCol="0" anchor="ctr"/>
                <a:lstStyle/>
                <a:p>
                  <a:endParaRPr lang="en-GB" dirty="0"/>
                </a:p>
              </p:txBody>
            </p:sp>
          </p:grpSp>
        </p:grpSp>
        <p:grpSp>
          <p:nvGrpSpPr>
            <p:cNvPr id="184" name="Grafik 278">
              <a:extLst>
                <a:ext uri="{FF2B5EF4-FFF2-40B4-BE49-F238E27FC236}">
                  <a16:creationId xmlns:a16="http://schemas.microsoft.com/office/drawing/2014/main" id="{D08E74B7-474F-4ABD-870A-931C28A3C17A}"/>
                </a:ext>
              </a:extLst>
            </p:cNvPr>
            <p:cNvGrpSpPr/>
            <p:nvPr/>
          </p:nvGrpSpPr>
          <p:grpSpPr>
            <a:xfrm>
              <a:off x="2665031" y="2391526"/>
              <a:ext cx="493108" cy="399807"/>
              <a:chOff x="5334684" y="3288081"/>
              <a:chExt cx="480210" cy="389349"/>
            </a:xfrm>
            <a:solidFill>
              <a:schemeClr val="tx2"/>
            </a:solidFill>
          </p:grpSpPr>
          <p:sp>
            <p:nvSpPr>
              <p:cNvPr id="185" name="Freihandform: Form 971">
                <a:extLst>
                  <a:ext uri="{FF2B5EF4-FFF2-40B4-BE49-F238E27FC236}">
                    <a16:creationId xmlns:a16="http://schemas.microsoft.com/office/drawing/2014/main" id="{C866C7F2-39CC-4E39-96AC-3A17AC8DDB1F}"/>
                  </a:ext>
                </a:extLst>
              </p:cNvPr>
              <p:cNvSpPr/>
              <p:nvPr/>
            </p:nvSpPr>
            <p:spPr>
              <a:xfrm>
                <a:off x="5535829" y="3606044"/>
                <a:ext cx="220619" cy="12965"/>
              </a:xfrm>
              <a:custGeom>
                <a:avLst/>
                <a:gdLst>
                  <a:gd name="connsiteX0" fmla="*/ 214161 w 220619"/>
                  <a:gd name="connsiteY0" fmla="*/ 12966 h 12965"/>
                  <a:gd name="connsiteX1" fmla="*/ 6483 w 220619"/>
                  <a:gd name="connsiteY1" fmla="*/ 12966 h 12965"/>
                  <a:gd name="connsiteX2" fmla="*/ 0 w 220619"/>
                  <a:gd name="connsiteY2" fmla="*/ 6483 h 12965"/>
                  <a:gd name="connsiteX3" fmla="*/ 6483 w 220619"/>
                  <a:gd name="connsiteY3" fmla="*/ 0 h 12965"/>
                  <a:gd name="connsiteX4" fmla="*/ 214136 w 220619"/>
                  <a:gd name="connsiteY4" fmla="*/ 0 h 12965"/>
                  <a:gd name="connsiteX5" fmla="*/ 220619 w 220619"/>
                  <a:gd name="connsiteY5" fmla="*/ 6483 h 12965"/>
                  <a:gd name="connsiteX6" fmla="*/ 214161 w 220619"/>
                  <a:gd name="connsiteY6" fmla="*/ 12966 h 1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619" h="12965">
                    <a:moveTo>
                      <a:pt x="214161" y="12966"/>
                    </a:moveTo>
                    <a:lnTo>
                      <a:pt x="6483" y="12966"/>
                    </a:lnTo>
                    <a:cubicBezTo>
                      <a:pt x="2895" y="12966"/>
                      <a:pt x="0" y="10071"/>
                      <a:pt x="0" y="6483"/>
                    </a:cubicBezTo>
                    <a:cubicBezTo>
                      <a:pt x="0" y="2895"/>
                      <a:pt x="2895" y="0"/>
                      <a:pt x="6483" y="0"/>
                    </a:cubicBezTo>
                    <a:lnTo>
                      <a:pt x="214136" y="0"/>
                    </a:lnTo>
                    <a:cubicBezTo>
                      <a:pt x="217724" y="0"/>
                      <a:pt x="220619" y="2895"/>
                      <a:pt x="220619" y="6483"/>
                    </a:cubicBezTo>
                    <a:cubicBezTo>
                      <a:pt x="220619" y="10071"/>
                      <a:pt x="217749" y="12966"/>
                      <a:pt x="214161" y="12966"/>
                    </a:cubicBezTo>
                    <a:close/>
                  </a:path>
                </a:pathLst>
              </a:custGeom>
              <a:grpFill/>
              <a:ln w="2470" cap="flat">
                <a:noFill/>
                <a:prstDash val="solid"/>
                <a:miter/>
              </a:ln>
            </p:spPr>
            <p:txBody>
              <a:bodyPr rtlCol="0" anchor="ctr"/>
              <a:lstStyle/>
              <a:p>
                <a:endParaRPr lang="en-GB" dirty="0"/>
              </a:p>
            </p:txBody>
          </p:sp>
          <p:sp>
            <p:nvSpPr>
              <p:cNvPr id="186" name="Freihandform: Form 972">
                <a:extLst>
                  <a:ext uri="{FF2B5EF4-FFF2-40B4-BE49-F238E27FC236}">
                    <a16:creationId xmlns:a16="http://schemas.microsoft.com/office/drawing/2014/main" id="{95A16B31-09C5-4143-A164-A347230372A0}"/>
                  </a:ext>
                </a:extLst>
              </p:cNvPr>
              <p:cNvSpPr/>
              <p:nvPr/>
            </p:nvSpPr>
            <p:spPr>
              <a:xfrm>
                <a:off x="5334684" y="3288081"/>
                <a:ext cx="480210" cy="389349"/>
              </a:xfrm>
              <a:custGeom>
                <a:avLst/>
                <a:gdLst>
                  <a:gd name="connsiteX0" fmla="*/ 415306 w 480210"/>
                  <a:gd name="connsiteY0" fmla="*/ 389350 h 389349"/>
                  <a:gd name="connsiteX1" fmla="*/ 408823 w 480210"/>
                  <a:gd name="connsiteY1" fmla="*/ 382867 h 389349"/>
                  <a:gd name="connsiteX2" fmla="*/ 408823 w 480210"/>
                  <a:gd name="connsiteY2" fmla="*/ 123300 h 389349"/>
                  <a:gd name="connsiteX3" fmla="*/ 415306 w 480210"/>
                  <a:gd name="connsiteY3" fmla="*/ 116817 h 389349"/>
                  <a:gd name="connsiteX4" fmla="*/ 467220 w 480210"/>
                  <a:gd name="connsiteY4" fmla="*/ 64904 h 389349"/>
                  <a:gd name="connsiteX5" fmla="*/ 415306 w 480210"/>
                  <a:gd name="connsiteY5" fmla="*/ 12991 h 389349"/>
                  <a:gd name="connsiteX6" fmla="*/ 12966 w 480210"/>
                  <a:gd name="connsiteY6" fmla="*/ 12991 h 389349"/>
                  <a:gd name="connsiteX7" fmla="*/ 12966 w 480210"/>
                  <a:gd name="connsiteY7" fmla="*/ 142774 h 389349"/>
                  <a:gd name="connsiteX8" fmla="*/ 6483 w 480210"/>
                  <a:gd name="connsiteY8" fmla="*/ 149257 h 389349"/>
                  <a:gd name="connsiteX9" fmla="*/ 0 w 480210"/>
                  <a:gd name="connsiteY9" fmla="*/ 142774 h 389349"/>
                  <a:gd name="connsiteX10" fmla="*/ 0 w 480210"/>
                  <a:gd name="connsiteY10" fmla="*/ 6483 h 389349"/>
                  <a:gd name="connsiteX11" fmla="*/ 6483 w 480210"/>
                  <a:gd name="connsiteY11" fmla="*/ 0 h 389349"/>
                  <a:gd name="connsiteX12" fmla="*/ 415306 w 480210"/>
                  <a:gd name="connsiteY12" fmla="*/ 0 h 389349"/>
                  <a:gd name="connsiteX13" fmla="*/ 480210 w 480210"/>
                  <a:gd name="connsiteY13" fmla="*/ 64904 h 389349"/>
                  <a:gd name="connsiteX14" fmla="*/ 480210 w 480210"/>
                  <a:gd name="connsiteY14" fmla="*/ 324470 h 389349"/>
                  <a:gd name="connsiteX15" fmla="*/ 415306 w 480210"/>
                  <a:gd name="connsiteY15" fmla="*/ 389350 h 389349"/>
                  <a:gd name="connsiteX16" fmla="*/ 421789 w 480210"/>
                  <a:gd name="connsiteY16" fmla="*/ 129437 h 389349"/>
                  <a:gd name="connsiteX17" fmla="*/ 421789 w 480210"/>
                  <a:gd name="connsiteY17" fmla="*/ 375963 h 389349"/>
                  <a:gd name="connsiteX18" fmla="*/ 467220 w 480210"/>
                  <a:gd name="connsiteY18" fmla="*/ 324446 h 389349"/>
                  <a:gd name="connsiteX19" fmla="*/ 467220 w 480210"/>
                  <a:gd name="connsiteY19" fmla="*/ 103777 h 389349"/>
                  <a:gd name="connsiteX20" fmla="*/ 421789 w 480210"/>
                  <a:gd name="connsiteY20" fmla="*/ 129437 h 38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0210" h="389349">
                    <a:moveTo>
                      <a:pt x="415306" y="389350"/>
                    </a:moveTo>
                    <a:cubicBezTo>
                      <a:pt x="411718" y="389350"/>
                      <a:pt x="408823" y="386455"/>
                      <a:pt x="408823" y="382867"/>
                    </a:cubicBezTo>
                    <a:lnTo>
                      <a:pt x="408823" y="123300"/>
                    </a:lnTo>
                    <a:cubicBezTo>
                      <a:pt x="408823" y="119712"/>
                      <a:pt x="411718" y="116817"/>
                      <a:pt x="415306" y="116817"/>
                    </a:cubicBezTo>
                    <a:cubicBezTo>
                      <a:pt x="443935" y="116817"/>
                      <a:pt x="467220" y="93533"/>
                      <a:pt x="467220" y="64904"/>
                    </a:cubicBezTo>
                    <a:cubicBezTo>
                      <a:pt x="467220" y="36275"/>
                      <a:pt x="443935" y="12991"/>
                      <a:pt x="415306" y="12991"/>
                    </a:cubicBezTo>
                    <a:lnTo>
                      <a:pt x="12966" y="12991"/>
                    </a:lnTo>
                    <a:lnTo>
                      <a:pt x="12966" y="142774"/>
                    </a:lnTo>
                    <a:cubicBezTo>
                      <a:pt x="12966" y="146362"/>
                      <a:pt x="10071" y="149257"/>
                      <a:pt x="6483" y="149257"/>
                    </a:cubicBezTo>
                    <a:cubicBezTo>
                      <a:pt x="2895" y="149257"/>
                      <a:pt x="0" y="146362"/>
                      <a:pt x="0" y="142774"/>
                    </a:cubicBezTo>
                    <a:lnTo>
                      <a:pt x="0" y="6483"/>
                    </a:lnTo>
                    <a:cubicBezTo>
                      <a:pt x="0" y="2895"/>
                      <a:pt x="2895" y="0"/>
                      <a:pt x="6483" y="0"/>
                    </a:cubicBezTo>
                    <a:lnTo>
                      <a:pt x="415306" y="0"/>
                    </a:lnTo>
                    <a:cubicBezTo>
                      <a:pt x="451086" y="0"/>
                      <a:pt x="480210" y="29124"/>
                      <a:pt x="480210" y="64904"/>
                    </a:cubicBezTo>
                    <a:lnTo>
                      <a:pt x="480210" y="324470"/>
                    </a:lnTo>
                    <a:cubicBezTo>
                      <a:pt x="480186" y="360226"/>
                      <a:pt x="451086" y="389350"/>
                      <a:pt x="415306" y="389350"/>
                    </a:cubicBezTo>
                    <a:close/>
                    <a:moveTo>
                      <a:pt x="421789" y="129437"/>
                    </a:moveTo>
                    <a:lnTo>
                      <a:pt x="421789" y="375963"/>
                    </a:lnTo>
                    <a:cubicBezTo>
                      <a:pt x="447375" y="372771"/>
                      <a:pt x="467220" y="350872"/>
                      <a:pt x="467220" y="324446"/>
                    </a:cubicBezTo>
                    <a:lnTo>
                      <a:pt x="467220" y="103777"/>
                    </a:lnTo>
                    <a:cubicBezTo>
                      <a:pt x="456604" y="117906"/>
                      <a:pt x="440323" y="127581"/>
                      <a:pt x="421789" y="129437"/>
                    </a:cubicBezTo>
                    <a:close/>
                  </a:path>
                </a:pathLst>
              </a:custGeom>
              <a:grpFill/>
              <a:ln w="2470" cap="flat">
                <a:noFill/>
                <a:prstDash val="solid"/>
                <a:miter/>
              </a:ln>
            </p:spPr>
            <p:txBody>
              <a:bodyPr rtlCol="0" anchor="ctr"/>
              <a:lstStyle/>
              <a:p>
                <a:endParaRPr lang="en-GB" dirty="0"/>
              </a:p>
            </p:txBody>
          </p:sp>
          <p:grpSp>
            <p:nvGrpSpPr>
              <p:cNvPr id="187" name="Grafik 278">
                <a:extLst>
                  <a:ext uri="{FF2B5EF4-FFF2-40B4-BE49-F238E27FC236}">
                    <a16:creationId xmlns:a16="http://schemas.microsoft.com/office/drawing/2014/main" id="{73501EB9-6846-4EB6-ADC5-47D0D99881D1}"/>
                  </a:ext>
                </a:extLst>
              </p:cNvPr>
              <p:cNvGrpSpPr/>
              <p:nvPr/>
            </p:nvGrpSpPr>
            <p:grpSpPr>
              <a:xfrm>
                <a:off x="5523989" y="3354087"/>
                <a:ext cx="49686" cy="49673"/>
                <a:chOff x="5523989" y="3354087"/>
                <a:chExt cx="49686" cy="49673"/>
              </a:xfrm>
              <a:grpFill/>
            </p:grpSpPr>
            <p:sp>
              <p:nvSpPr>
                <p:cNvPr id="195" name="Freihandform: Form 974">
                  <a:extLst>
                    <a:ext uri="{FF2B5EF4-FFF2-40B4-BE49-F238E27FC236}">
                      <a16:creationId xmlns:a16="http://schemas.microsoft.com/office/drawing/2014/main" id="{ADD85D0D-C128-4531-9439-1B4BCF1EF655}"/>
                    </a:ext>
                  </a:extLst>
                </p:cNvPr>
                <p:cNvSpPr/>
                <p:nvPr/>
              </p:nvSpPr>
              <p:spPr>
                <a:xfrm>
                  <a:off x="5523989" y="3354087"/>
                  <a:ext cx="49686" cy="49673"/>
                </a:xfrm>
                <a:custGeom>
                  <a:avLst/>
                  <a:gdLst>
                    <a:gd name="connsiteX0" fmla="*/ 43191 w 49686"/>
                    <a:gd name="connsiteY0" fmla="*/ 49674 h 49673"/>
                    <a:gd name="connsiteX1" fmla="*/ 38613 w 49686"/>
                    <a:gd name="connsiteY1" fmla="*/ 47769 h 49673"/>
                    <a:gd name="connsiteX2" fmla="*/ 1893 w 49686"/>
                    <a:gd name="connsiteY2" fmla="*/ 11073 h 49673"/>
                    <a:gd name="connsiteX3" fmla="*/ 1893 w 49686"/>
                    <a:gd name="connsiteY3" fmla="*/ 1893 h 49673"/>
                    <a:gd name="connsiteX4" fmla="*/ 11073 w 49686"/>
                    <a:gd name="connsiteY4" fmla="*/ 1893 h 49673"/>
                    <a:gd name="connsiteX5" fmla="*/ 47793 w 49686"/>
                    <a:gd name="connsiteY5" fmla="*/ 38588 h 49673"/>
                    <a:gd name="connsiteX6" fmla="*/ 47793 w 49686"/>
                    <a:gd name="connsiteY6" fmla="*/ 47769 h 49673"/>
                    <a:gd name="connsiteX7" fmla="*/ 43191 w 49686"/>
                    <a:gd name="connsiteY7" fmla="*/ 49674 h 4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86" h="49673">
                      <a:moveTo>
                        <a:pt x="43191" y="49674"/>
                      </a:moveTo>
                      <a:cubicBezTo>
                        <a:pt x="41533" y="49674"/>
                        <a:pt x="39875" y="49031"/>
                        <a:pt x="38613" y="47769"/>
                      </a:cubicBezTo>
                      <a:lnTo>
                        <a:pt x="1893" y="11073"/>
                      </a:lnTo>
                      <a:cubicBezTo>
                        <a:pt x="-631" y="8549"/>
                        <a:pt x="-631" y="4442"/>
                        <a:pt x="1893" y="1893"/>
                      </a:cubicBezTo>
                      <a:cubicBezTo>
                        <a:pt x="4417" y="-631"/>
                        <a:pt x="8524" y="-631"/>
                        <a:pt x="11073" y="1893"/>
                      </a:cubicBezTo>
                      <a:lnTo>
                        <a:pt x="47793" y="38588"/>
                      </a:lnTo>
                      <a:cubicBezTo>
                        <a:pt x="50317" y="41112"/>
                        <a:pt x="50317" y="45220"/>
                        <a:pt x="47793" y="47769"/>
                      </a:cubicBezTo>
                      <a:cubicBezTo>
                        <a:pt x="46507" y="49031"/>
                        <a:pt x="44849" y="49674"/>
                        <a:pt x="43191" y="49674"/>
                      </a:cubicBezTo>
                      <a:close/>
                    </a:path>
                  </a:pathLst>
                </a:custGeom>
                <a:grpFill/>
                <a:ln w="2470" cap="flat">
                  <a:noFill/>
                  <a:prstDash val="solid"/>
                  <a:miter/>
                </a:ln>
              </p:spPr>
              <p:txBody>
                <a:bodyPr rtlCol="0" anchor="ctr"/>
                <a:lstStyle/>
                <a:p>
                  <a:endParaRPr lang="en-GB" dirty="0"/>
                </a:p>
              </p:txBody>
            </p:sp>
            <p:sp>
              <p:nvSpPr>
                <p:cNvPr id="196" name="Freihandform: Form 975">
                  <a:extLst>
                    <a:ext uri="{FF2B5EF4-FFF2-40B4-BE49-F238E27FC236}">
                      <a16:creationId xmlns:a16="http://schemas.microsoft.com/office/drawing/2014/main" id="{DAE02876-1F66-4729-9B02-A2E2C37CCA86}"/>
                    </a:ext>
                  </a:extLst>
                </p:cNvPr>
                <p:cNvSpPr/>
                <p:nvPr/>
              </p:nvSpPr>
              <p:spPr>
                <a:xfrm>
                  <a:off x="5523989" y="3354087"/>
                  <a:ext cx="49686" cy="49673"/>
                </a:xfrm>
                <a:custGeom>
                  <a:avLst/>
                  <a:gdLst>
                    <a:gd name="connsiteX0" fmla="*/ 6471 w 49686"/>
                    <a:gd name="connsiteY0" fmla="*/ 49674 h 49673"/>
                    <a:gd name="connsiteX1" fmla="*/ 1893 w 49686"/>
                    <a:gd name="connsiteY1" fmla="*/ 47769 h 49673"/>
                    <a:gd name="connsiteX2" fmla="*/ 1893 w 49686"/>
                    <a:gd name="connsiteY2" fmla="*/ 38588 h 49673"/>
                    <a:gd name="connsiteX3" fmla="*/ 38613 w 49686"/>
                    <a:gd name="connsiteY3" fmla="*/ 1893 h 49673"/>
                    <a:gd name="connsiteX4" fmla="*/ 47793 w 49686"/>
                    <a:gd name="connsiteY4" fmla="*/ 1893 h 49673"/>
                    <a:gd name="connsiteX5" fmla="*/ 47793 w 49686"/>
                    <a:gd name="connsiteY5" fmla="*/ 11073 h 49673"/>
                    <a:gd name="connsiteX6" fmla="*/ 11073 w 49686"/>
                    <a:gd name="connsiteY6" fmla="*/ 47769 h 49673"/>
                    <a:gd name="connsiteX7" fmla="*/ 6471 w 49686"/>
                    <a:gd name="connsiteY7" fmla="*/ 49674 h 4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86" h="49673">
                      <a:moveTo>
                        <a:pt x="6471" y="49674"/>
                      </a:moveTo>
                      <a:cubicBezTo>
                        <a:pt x="4813" y="49674"/>
                        <a:pt x="3155" y="49031"/>
                        <a:pt x="1893" y="47769"/>
                      </a:cubicBezTo>
                      <a:cubicBezTo>
                        <a:pt x="-631" y="45245"/>
                        <a:pt x="-631" y="41137"/>
                        <a:pt x="1893" y="38588"/>
                      </a:cubicBezTo>
                      <a:lnTo>
                        <a:pt x="38613" y="1893"/>
                      </a:lnTo>
                      <a:cubicBezTo>
                        <a:pt x="41137" y="-631"/>
                        <a:pt x="45245" y="-631"/>
                        <a:pt x="47793" y="1893"/>
                      </a:cubicBezTo>
                      <a:cubicBezTo>
                        <a:pt x="50317" y="4417"/>
                        <a:pt x="50317" y="8524"/>
                        <a:pt x="47793" y="11073"/>
                      </a:cubicBezTo>
                      <a:lnTo>
                        <a:pt x="11073" y="47769"/>
                      </a:lnTo>
                      <a:cubicBezTo>
                        <a:pt x="9786" y="49031"/>
                        <a:pt x="8128" y="49674"/>
                        <a:pt x="6471" y="49674"/>
                      </a:cubicBezTo>
                      <a:close/>
                    </a:path>
                  </a:pathLst>
                </a:custGeom>
                <a:grpFill/>
                <a:ln w="2470" cap="flat">
                  <a:noFill/>
                  <a:prstDash val="solid"/>
                  <a:miter/>
                </a:ln>
              </p:spPr>
              <p:txBody>
                <a:bodyPr rtlCol="0" anchor="ctr"/>
                <a:lstStyle/>
                <a:p>
                  <a:endParaRPr lang="en-GB" dirty="0"/>
                </a:p>
              </p:txBody>
            </p:sp>
          </p:grpSp>
          <p:sp>
            <p:nvSpPr>
              <p:cNvPr id="188" name="Freihandform: Form 976">
                <a:extLst>
                  <a:ext uri="{FF2B5EF4-FFF2-40B4-BE49-F238E27FC236}">
                    <a16:creationId xmlns:a16="http://schemas.microsoft.com/office/drawing/2014/main" id="{5E4D105C-D565-42A0-8CBA-257A19BC48F2}"/>
                  </a:ext>
                </a:extLst>
              </p:cNvPr>
              <p:cNvSpPr/>
              <p:nvPr/>
            </p:nvSpPr>
            <p:spPr>
              <a:xfrm>
                <a:off x="5548820" y="3554131"/>
                <a:ext cx="25956" cy="12965"/>
              </a:xfrm>
              <a:custGeom>
                <a:avLst/>
                <a:gdLst>
                  <a:gd name="connsiteX0" fmla="*/ 19474 w 25956"/>
                  <a:gd name="connsiteY0" fmla="*/ 12966 h 12965"/>
                  <a:gd name="connsiteX1" fmla="*/ 6483 w 25956"/>
                  <a:gd name="connsiteY1" fmla="*/ 12966 h 12965"/>
                  <a:gd name="connsiteX2" fmla="*/ 0 w 25956"/>
                  <a:gd name="connsiteY2" fmla="*/ 6483 h 12965"/>
                  <a:gd name="connsiteX3" fmla="*/ 6483 w 25956"/>
                  <a:gd name="connsiteY3" fmla="*/ 0 h 12965"/>
                  <a:gd name="connsiteX4" fmla="*/ 19474 w 25956"/>
                  <a:gd name="connsiteY4" fmla="*/ 0 h 12965"/>
                  <a:gd name="connsiteX5" fmla="*/ 25957 w 25956"/>
                  <a:gd name="connsiteY5" fmla="*/ 6483 h 12965"/>
                  <a:gd name="connsiteX6" fmla="*/ 19474 w 25956"/>
                  <a:gd name="connsiteY6" fmla="*/ 12966 h 1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56" h="12965">
                    <a:moveTo>
                      <a:pt x="19474" y="12966"/>
                    </a:moveTo>
                    <a:lnTo>
                      <a:pt x="6483" y="12966"/>
                    </a:lnTo>
                    <a:cubicBezTo>
                      <a:pt x="2895" y="12966"/>
                      <a:pt x="0" y="10071"/>
                      <a:pt x="0" y="6483"/>
                    </a:cubicBezTo>
                    <a:cubicBezTo>
                      <a:pt x="0" y="2895"/>
                      <a:pt x="2895" y="0"/>
                      <a:pt x="6483" y="0"/>
                    </a:cubicBezTo>
                    <a:lnTo>
                      <a:pt x="19474" y="0"/>
                    </a:lnTo>
                    <a:cubicBezTo>
                      <a:pt x="23062" y="0"/>
                      <a:pt x="25957" y="2895"/>
                      <a:pt x="25957" y="6483"/>
                    </a:cubicBezTo>
                    <a:cubicBezTo>
                      <a:pt x="25957" y="10071"/>
                      <a:pt x="23037" y="12966"/>
                      <a:pt x="19474" y="12966"/>
                    </a:cubicBezTo>
                    <a:close/>
                  </a:path>
                </a:pathLst>
              </a:custGeom>
              <a:grpFill/>
              <a:ln w="2470" cap="flat">
                <a:noFill/>
                <a:prstDash val="solid"/>
                <a:miter/>
              </a:ln>
            </p:spPr>
            <p:txBody>
              <a:bodyPr rtlCol="0" anchor="ctr"/>
              <a:lstStyle/>
              <a:p>
                <a:endParaRPr lang="en-GB" dirty="0"/>
              </a:p>
            </p:txBody>
          </p:sp>
          <p:sp>
            <p:nvSpPr>
              <p:cNvPr id="189" name="Freihandform: Form 977">
                <a:extLst>
                  <a:ext uri="{FF2B5EF4-FFF2-40B4-BE49-F238E27FC236}">
                    <a16:creationId xmlns:a16="http://schemas.microsoft.com/office/drawing/2014/main" id="{2B6890B6-99D0-41F0-A25A-ECCAD908F48C}"/>
                  </a:ext>
                </a:extLst>
              </p:cNvPr>
              <p:cNvSpPr/>
              <p:nvPr/>
            </p:nvSpPr>
            <p:spPr>
              <a:xfrm>
                <a:off x="5594250" y="3554131"/>
                <a:ext cx="19448" cy="12965"/>
              </a:xfrm>
              <a:custGeom>
                <a:avLst/>
                <a:gdLst>
                  <a:gd name="connsiteX0" fmla="*/ 12966 w 19448"/>
                  <a:gd name="connsiteY0" fmla="*/ 12966 h 12965"/>
                  <a:gd name="connsiteX1" fmla="*/ 6483 w 19448"/>
                  <a:gd name="connsiteY1" fmla="*/ 12966 h 12965"/>
                  <a:gd name="connsiteX2" fmla="*/ 0 w 19448"/>
                  <a:gd name="connsiteY2" fmla="*/ 6483 h 12965"/>
                  <a:gd name="connsiteX3" fmla="*/ 6483 w 19448"/>
                  <a:gd name="connsiteY3" fmla="*/ 0 h 12965"/>
                  <a:gd name="connsiteX4" fmla="*/ 12966 w 19448"/>
                  <a:gd name="connsiteY4" fmla="*/ 0 h 12965"/>
                  <a:gd name="connsiteX5" fmla="*/ 19449 w 19448"/>
                  <a:gd name="connsiteY5" fmla="*/ 6483 h 12965"/>
                  <a:gd name="connsiteX6" fmla="*/ 12966 w 19448"/>
                  <a:gd name="connsiteY6" fmla="*/ 12966 h 1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48" h="12965">
                    <a:moveTo>
                      <a:pt x="12966" y="12966"/>
                    </a:moveTo>
                    <a:lnTo>
                      <a:pt x="6483" y="12966"/>
                    </a:lnTo>
                    <a:cubicBezTo>
                      <a:pt x="2895" y="12966"/>
                      <a:pt x="0" y="10071"/>
                      <a:pt x="0" y="6483"/>
                    </a:cubicBezTo>
                    <a:cubicBezTo>
                      <a:pt x="0" y="2895"/>
                      <a:pt x="2895" y="0"/>
                      <a:pt x="6483" y="0"/>
                    </a:cubicBezTo>
                    <a:lnTo>
                      <a:pt x="12966" y="0"/>
                    </a:lnTo>
                    <a:cubicBezTo>
                      <a:pt x="16554" y="0"/>
                      <a:pt x="19449" y="2895"/>
                      <a:pt x="19449" y="6483"/>
                    </a:cubicBezTo>
                    <a:cubicBezTo>
                      <a:pt x="19449" y="10071"/>
                      <a:pt x="16554" y="12966"/>
                      <a:pt x="12966" y="12966"/>
                    </a:cubicBezTo>
                    <a:close/>
                  </a:path>
                </a:pathLst>
              </a:custGeom>
              <a:grpFill/>
              <a:ln w="2470" cap="flat">
                <a:noFill/>
                <a:prstDash val="solid"/>
                <a:miter/>
              </a:ln>
            </p:spPr>
            <p:txBody>
              <a:bodyPr rtlCol="0" anchor="ctr"/>
              <a:lstStyle/>
              <a:p>
                <a:endParaRPr lang="en-GB" dirty="0"/>
              </a:p>
            </p:txBody>
          </p:sp>
          <p:sp>
            <p:nvSpPr>
              <p:cNvPr id="190" name="Freihandform: Form 978">
                <a:extLst>
                  <a:ext uri="{FF2B5EF4-FFF2-40B4-BE49-F238E27FC236}">
                    <a16:creationId xmlns:a16="http://schemas.microsoft.com/office/drawing/2014/main" id="{238E5D20-94D8-41F3-8B19-DAAD4AB7560A}"/>
                  </a:ext>
                </a:extLst>
              </p:cNvPr>
              <p:cNvSpPr/>
              <p:nvPr/>
            </p:nvSpPr>
            <p:spPr>
              <a:xfrm>
                <a:off x="5633173" y="3528174"/>
                <a:ext cx="38922" cy="38922"/>
              </a:xfrm>
              <a:custGeom>
                <a:avLst/>
                <a:gdLst>
                  <a:gd name="connsiteX0" fmla="*/ 32440 w 38922"/>
                  <a:gd name="connsiteY0" fmla="*/ 38923 h 38922"/>
                  <a:gd name="connsiteX1" fmla="*/ 6483 w 38922"/>
                  <a:gd name="connsiteY1" fmla="*/ 38923 h 38922"/>
                  <a:gd name="connsiteX2" fmla="*/ 0 w 38922"/>
                  <a:gd name="connsiteY2" fmla="*/ 32440 h 38922"/>
                  <a:gd name="connsiteX3" fmla="*/ 6483 w 38922"/>
                  <a:gd name="connsiteY3" fmla="*/ 25957 h 38922"/>
                  <a:gd name="connsiteX4" fmla="*/ 25957 w 38922"/>
                  <a:gd name="connsiteY4" fmla="*/ 25957 h 38922"/>
                  <a:gd name="connsiteX5" fmla="*/ 25957 w 38922"/>
                  <a:gd name="connsiteY5" fmla="*/ 6483 h 38922"/>
                  <a:gd name="connsiteX6" fmla="*/ 32440 w 38922"/>
                  <a:gd name="connsiteY6" fmla="*/ 0 h 38922"/>
                  <a:gd name="connsiteX7" fmla="*/ 38923 w 38922"/>
                  <a:gd name="connsiteY7" fmla="*/ 6483 h 38922"/>
                  <a:gd name="connsiteX8" fmla="*/ 38923 w 38922"/>
                  <a:gd name="connsiteY8" fmla="*/ 32440 h 38922"/>
                  <a:gd name="connsiteX9" fmla="*/ 32440 w 38922"/>
                  <a:gd name="connsiteY9" fmla="*/ 38923 h 3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922" h="38922">
                    <a:moveTo>
                      <a:pt x="32440" y="38923"/>
                    </a:moveTo>
                    <a:lnTo>
                      <a:pt x="6483" y="38923"/>
                    </a:lnTo>
                    <a:cubicBezTo>
                      <a:pt x="2895" y="38923"/>
                      <a:pt x="0" y="36028"/>
                      <a:pt x="0" y="32440"/>
                    </a:cubicBezTo>
                    <a:cubicBezTo>
                      <a:pt x="0" y="28852"/>
                      <a:pt x="2895" y="25957"/>
                      <a:pt x="6483" y="25957"/>
                    </a:cubicBezTo>
                    <a:lnTo>
                      <a:pt x="25957" y="25957"/>
                    </a:lnTo>
                    <a:lnTo>
                      <a:pt x="25957" y="6483"/>
                    </a:lnTo>
                    <a:cubicBezTo>
                      <a:pt x="25957" y="2895"/>
                      <a:pt x="28852" y="0"/>
                      <a:pt x="32440" y="0"/>
                    </a:cubicBezTo>
                    <a:cubicBezTo>
                      <a:pt x="36028" y="0"/>
                      <a:pt x="38923" y="2895"/>
                      <a:pt x="38923" y="6483"/>
                    </a:cubicBezTo>
                    <a:lnTo>
                      <a:pt x="38923" y="32440"/>
                    </a:lnTo>
                    <a:cubicBezTo>
                      <a:pt x="38947" y="36028"/>
                      <a:pt x="36028" y="38923"/>
                      <a:pt x="32440" y="38923"/>
                    </a:cubicBezTo>
                    <a:close/>
                  </a:path>
                </a:pathLst>
              </a:custGeom>
              <a:grpFill/>
              <a:ln w="2470" cap="flat">
                <a:noFill/>
                <a:prstDash val="solid"/>
                <a:miter/>
              </a:ln>
            </p:spPr>
            <p:txBody>
              <a:bodyPr rtlCol="0" anchor="ctr"/>
              <a:lstStyle/>
              <a:p>
                <a:endParaRPr lang="en-GB" dirty="0"/>
              </a:p>
            </p:txBody>
          </p:sp>
          <p:sp>
            <p:nvSpPr>
              <p:cNvPr id="191" name="Freihandform: Form 979">
                <a:extLst>
                  <a:ext uri="{FF2B5EF4-FFF2-40B4-BE49-F238E27FC236}">
                    <a16:creationId xmlns:a16="http://schemas.microsoft.com/office/drawing/2014/main" id="{9741B6BA-359A-40FE-A41B-143289A1790D}"/>
                  </a:ext>
                </a:extLst>
              </p:cNvPr>
              <p:cNvSpPr/>
              <p:nvPr/>
            </p:nvSpPr>
            <p:spPr>
              <a:xfrm>
                <a:off x="5659129" y="3476261"/>
                <a:ext cx="12966" cy="32439"/>
              </a:xfrm>
              <a:custGeom>
                <a:avLst/>
                <a:gdLst>
                  <a:gd name="connsiteX0" fmla="*/ 6483 w 12966"/>
                  <a:gd name="connsiteY0" fmla="*/ 32440 h 32439"/>
                  <a:gd name="connsiteX1" fmla="*/ 0 w 12966"/>
                  <a:gd name="connsiteY1" fmla="*/ 25957 h 32439"/>
                  <a:gd name="connsiteX2" fmla="*/ 0 w 12966"/>
                  <a:gd name="connsiteY2" fmla="*/ 6483 h 32439"/>
                  <a:gd name="connsiteX3" fmla="*/ 6483 w 12966"/>
                  <a:gd name="connsiteY3" fmla="*/ 0 h 32439"/>
                  <a:gd name="connsiteX4" fmla="*/ 12966 w 12966"/>
                  <a:gd name="connsiteY4" fmla="*/ 6483 h 32439"/>
                  <a:gd name="connsiteX5" fmla="*/ 12966 w 12966"/>
                  <a:gd name="connsiteY5" fmla="*/ 25957 h 32439"/>
                  <a:gd name="connsiteX6" fmla="*/ 6483 w 12966"/>
                  <a:gd name="connsiteY6" fmla="*/ 32440 h 32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6" h="32439">
                    <a:moveTo>
                      <a:pt x="6483" y="32440"/>
                    </a:moveTo>
                    <a:cubicBezTo>
                      <a:pt x="2895" y="32440"/>
                      <a:pt x="0" y="29545"/>
                      <a:pt x="0" y="25957"/>
                    </a:cubicBezTo>
                    <a:lnTo>
                      <a:pt x="0" y="6483"/>
                    </a:lnTo>
                    <a:cubicBezTo>
                      <a:pt x="0" y="2895"/>
                      <a:pt x="2895" y="0"/>
                      <a:pt x="6483" y="0"/>
                    </a:cubicBezTo>
                    <a:cubicBezTo>
                      <a:pt x="10071" y="0"/>
                      <a:pt x="12966" y="2895"/>
                      <a:pt x="12966" y="6483"/>
                    </a:cubicBezTo>
                    <a:lnTo>
                      <a:pt x="12966" y="25957"/>
                    </a:lnTo>
                    <a:cubicBezTo>
                      <a:pt x="12991" y="29545"/>
                      <a:pt x="10071" y="32440"/>
                      <a:pt x="6483" y="32440"/>
                    </a:cubicBezTo>
                    <a:close/>
                  </a:path>
                </a:pathLst>
              </a:custGeom>
              <a:grpFill/>
              <a:ln w="2470" cap="flat">
                <a:noFill/>
                <a:prstDash val="solid"/>
                <a:miter/>
              </a:ln>
            </p:spPr>
            <p:txBody>
              <a:bodyPr rtlCol="0" anchor="ctr"/>
              <a:lstStyle/>
              <a:p>
                <a:endParaRPr lang="en-GB" dirty="0"/>
              </a:p>
            </p:txBody>
          </p:sp>
          <p:sp>
            <p:nvSpPr>
              <p:cNvPr id="192" name="Freihandform: Form 980">
                <a:extLst>
                  <a:ext uri="{FF2B5EF4-FFF2-40B4-BE49-F238E27FC236}">
                    <a16:creationId xmlns:a16="http://schemas.microsoft.com/office/drawing/2014/main" id="{E1BCDBD3-0D95-4BA8-968F-6AD00EA55C14}"/>
                  </a:ext>
                </a:extLst>
              </p:cNvPr>
              <p:cNvSpPr/>
              <p:nvPr/>
            </p:nvSpPr>
            <p:spPr>
              <a:xfrm>
                <a:off x="5659129" y="3430831"/>
                <a:ext cx="12966" cy="25956"/>
              </a:xfrm>
              <a:custGeom>
                <a:avLst/>
                <a:gdLst>
                  <a:gd name="connsiteX0" fmla="*/ 6483 w 12966"/>
                  <a:gd name="connsiteY0" fmla="*/ 25957 h 25956"/>
                  <a:gd name="connsiteX1" fmla="*/ 0 w 12966"/>
                  <a:gd name="connsiteY1" fmla="*/ 19474 h 25956"/>
                  <a:gd name="connsiteX2" fmla="*/ 0 w 12966"/>
                  <a:gd name="connsiteY2" fmla="*/ 6483 h 25956"/>
                  <a:gd name="connsiteX3" fmla="*/ 6483 w 12966"/>
                  <a:gd name="connsiteY3" fmla="*/ 0 h 25956"/>
                  <a:gd name="connsiteX4" fmla="*/ 12966 w 12966"/>
                  <a:gd name="connsiteY4" fmla="*/ 6483 h 25956"/>
                  <a:gd name="connsiteX5" fmla="*/ 12966 w 12966"/>
                  <a:gd name="connsiteY5" fmla="*/ 19474 h 25956"/>
                  <a:gd name="connsiteX6" fmla="*/ 6483 w 12966"/>
                  <a:gd name="connsiteY6" fmla="*/ 25957 h 25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6" h="25956">
                    <a:moveTo>
                      <a:pt x="6483" y="25957"/>
                    </a:moveTo>
                    <a:cubicBezTo>
                      <a:pt x="2895" y="25957"/>
                      <a:pt x="0" y="23061"/>
                      <a:pt x="0" y="19474"/>
                    </a:cubicBezTo>
                    <a:lnTo>
                      <a:pt x="0" y="6483"/>
                    </a:lnTo>
                    <a:cubicBezTo>
                      <a:pt x="0" y="2895"/>
                      <a:pt x="2895" y="0"/>
                      <a:pt x="6483" y="0"/>
                    </a:cubicBezTo>
                    <a:cubicBezTo>
                      <a:pt x="10071" y="0"/>
                      <a:pt x="12966" y="2895"/>
                      <a:pt x="12966" y="6483"/>
                    </a:cubicBezTo>
                    <a:lnTo>
                      <a:pt x="12966" y="19474"/>
                    </a:lnTo>
                    <a:cubicBezTo>
                      <a:pt x="12991" y="23037"/>
                      <a:pt x="10071" y="25957"/>
                      <a:pt x="6483" y="25957"/>
                    </a:cubicBezTo>
                    <a:close/>
                  </a:path>
                </a:pathLst>
              </a:custGeom>
              <a:grpFill/>
              <a:ln w="2470" cap="flat">
                <a:noFill/>
                <a:prstDash val="solid"/>
                <a:miter/>
              </a:ln>
            </p:spPr>
            <p:txBody>
              <a:bodyPr rtlCol="0" anchor="ctr"/>
              <a:lstStyle/>
              <a:p>
                <a:endParaRPr lang="en-GB" dirty="0"/>
              </a:p>
            </p:txBody>
          </p:sp>
          <p:sp>
            <p:nvSpPr>
              <p:cNvPr id="193" name="Freihandform: Form 981">
                <a:extLst>
                  <a:ext uri="{FF2B5EF4-FFF2-40B4-BE49-F238E27FC236}">
                    <a16:creationId xmlns:a16="http://schemas.microsoft.com/office/drawing/2014/main" id="{52E27200-D3FD-4C17-B0F6-258119531DFF}"/>
                  </a:ext>
                </a:extLst>
              </p:cNvPr>
              <p:cNvSpPr/>
              <p:nvPr/>
            </p:nvSpPr>
            <p:spPr>
              <a:xfrm>
                <a:off x="5633173" y="3372434"/>
                <a:ext cx="38922" cy="38922"/>
              </a:xfrm>
              <a:custGeom>
                <a:avLst/>
                <a:gdLst>
                  <a:gd name="connsiteX0" fmla="*/ 32440 w 38922"/>
                  <a:gd name="connsiteY0" fmla="*/ 38923 h 38922"/>
                  <a:gd name="connsiteX1" fmla="*/ 25957 w 38922"/>
                  <a:gd name="connsiteY1" fmla="*/ 32440 h 38922"/>
                  <a:gd name="connsiteX2" fmla="*/ 25957 w 38922"/>
                  <a:gd name="connsiteY2" fmla="*/ 12966 h 38922"/>
                  <a:gd name="connsiteX3" fmla="*/ 6483 w 38922"/>
                  <a:gd name="connsiteY3" fmla="*/ 12966 h 38922"/>
                  <a:gd name="connsiteX4" fmla="*/ 0 w 38922"/>
                  <a:gd name="connsiteY4" fmla="*/ 6483 h 38922"/>
                  <a:gd name="connsiteX5" fmla="*/ 6483 w 38922"/>
                  <a:gd name="connsiteY5" fmla="*/ 0 h 38922"/>
                  <a:gd name="connsiteX6" fmla="*/ 32440 w 38922"/>
                  <a:gd name="connsiteY6" fmla="*/ 0 h 38922"/>
                  <a:gd name="connsiteX7" fmla="*/ 38923 w 38922"/>
                  <a:gd name="connsiteY7" fmla="*/ 6483 h 38922"/>
                  <a:gd name="connsiteX8" fmla="*/ 38923 w 38922"/>
                  <a:gd name="connsiteY8" fmla="*/ 32440 h 38922"/>
                  <a:gd name="connsiteX9" fmla="*/ 32440 w 38922"/>
                  <a:gd name="connsiteY9" fmla="*/ 38923 h 38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922" h="38922">
                    <a:moveTo>
                      <a:pt x="32440" y="38923"/>
                    </a:moveTo>
                    <a:cubicBezTo>
                      <a:pt x="28852" y="38923"/>
                      <a:pt x="25957" y="36028"/>
                      <a:pt x="25957" y="32440"/>
                    </a:cubicBezTo>
                    <a:lnTo>
                      <a:pt x="25957" y="12966"/>
                    </a:lnTo>
                    <a:lnTo>
                      <a:pt x="6483" y="12966"/>
                    </a:lnTo>
                    <a:cubicBezTo>
                      <a:pt x="2895" y="12966"/>
                      <a:pt x="0" y="10071"/>
                      <a:pt x="0" y="6483"/>
                    </a:cubicBezTo>
                    <a:cubicBezTo>
                      <a:pt x="0" y="2895"/>
                      <a:pt x="2895" y="0"/>
                      <a:pt x="6483" y="0"/>
                    </a:cubicBezTo>
                    <a:lnTo>
                      <a:pt x="32440" y="0"/>
                    </a:lnTo>
                    <a:cubicBezTo>
                      <a:pt x="36028" y="0"/>
                      <a:pt x="38923" y="2895"/>
                      <a:pt x="38923" y="6483"/>
                    </a:cubicBezTo>
                    <a:lnTo>
                      <a:pt x="38923" y="32440"/>
                    </a:lnTo>
                    <a:cubicBezTo>
                      <a:pt x="38947" y="36028"/>
                      <a:pt x="36028" y="38923"/>
                      <a:pt x="32440" y="38923"/>
                    </a:cubicBezTo>
                    <a:close/>
                  </a:path>
                </a:pathLst>
              </a:custGeom>
              <a:grpFill/>
              <a:ln w="2470" cap="flat">
                <a:noFill/>
                <a:prstDash val="solid"/>
                <a:miter/>
              </a:ln>
            </p:spPr>
            <p:txBody>
              <a:bodyPr rtlCol="0" anchor="ctr"/>
              <a:lstStyle/>
              <a:p>
                <a:endParaRPr lang="en-GB" dirty="0"/>
              </a:p>
            </p:txBody>
          </p:sp>
          <p:sp>
            <p:nvSpPr>
              <p:cNvPr id="194" name="Freihandform: Form 982">
                <a:extLst>
                  <a:ext uri="{FF2B5EF4-FFF2-40B4-BE49-F238E27FC236}">
                    <a16:creationId xmlns:a16="http://schemas.microsoft.com/office/drawing/2014/main" id="{3BB4595A-BA3D-4297-BB9E-BF6356B19BB0}"/>
                  </a:ext>
                </a:extLst>
              </p:cNvPr>
              <p:cNvSpPr/>
              <p:nvPr/>
            </p:nvSpPr>
            <p:spPr>
              <a:xfrm>
                <a:off x="5581259" y="3372434"/>
                <a:ext cx="32439" cy="12965"/>
              </a:xfrm>
              <a:custGeom>
                <a:avLst/>
                <a:gdLst>
                  <a:gd name="connsiteX0" fmla="*/ 25957 w 32439"/>
                  <a:gd name="connsiteY0" fmla="*/ 12966 h 12965"/>
                  <a:gd name="connsiteX1" fmla="*/ 6483 w 32439"/>
                  <a:gd name="connsiteY1" fmla="*/ 12966 h 12965"/>
                  <a:gd name="connsiteX2" fmla="*/ 0 w 32439"/>
                  <a:gd name="connsiteY2" fmla="*/ 6483 h 12965"/>
                  <a:gd name="connsiteX3" fmla="*/ 6483 w 32439"/>
                  <a:gd name="connsiteY3" fmla="*/ 0 h 12965"/>
                  <a:gd name="connsiteX4" fmla="*/ 25957 w 32439"/>
                  <a:gd name="connsiteY4" fmla="*/ 0 h 12965"/>
                  <a:gd name="connsiteX5" fmla="*/ 32440 w 32439"/>
                  <a:gd name="connsiteY5" fmla="*/ 6483 h 12965"/>
                  <a:gd name="connsiteX6" fmla="*/ 25957 w 32439"/>
                  <a:gd name="connsiteY6" fmla="*/ 12966 h 1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9" h="12965">
                    <a:moveTo>
                      <a:pt x="25957" y="12966"/>
                    </a:moveTo>
                    <a:lnTo>
                      <a:pt x="6483" y="12966"/>
                    </a:lnTo>
                    <a:cubicBezTo>
                      <a:pt x="2895" y="12966"/>
                      <a:pt x="0" y="10071"/>
                      <a:pt x="0" y="6483"/>
                    </a:cubicBezTo>
                    <a:cubicBezTo>
                      <a:pt x="0" y="2895"/>
                      <a:pt x="2895" y="0"/>
                      <a:pt x="6483" y="0"/>
                    </a:cubicBezTo>
                    <a:lnTo>
                      <a:pt x="25957" y="0"/>
                    </a:lnTo>
                    <a:cubicBezTo>
                      <a:pt x="29545" y="0"/>
                      <a:pt x="32440" y="2895"/>
                      <a:pt x="32440" y="6483"/>
                    </a:cubicBezTo>
                    <a:cubicBezTo>
                      <a:pt x="32440" y="10071"/>
                      <a:pt x="29545" y="12966"/>
                      <a:pt x="25957" y="12966"/>
                    </a:cubicBezTo>
                    <a:close/>
                  </a:path>
                </a:pathLst>
              </a:custGeom>
              <a:grpFill/>
              <a:ln w="2470" cap="flat">
                <a:noFill/>
                <a:prstDash val="solid"/>
                <a:miter/>
              </a:ln>
            </p:spPr>
            <p:txBody>
              <a:bodyPr rtlCol="0" anchor="ctr"/>
              <a:lstStyle/>
              <a:p>
                <a:endParaRPr lang="en-GB" dirty="0"/>
              </a:p>
            </p:txBody>
          </p:sp>
        </p:grpSp>
      </p:grpSp>
      <p:grpSp>
        <p:nvGrpSpPr>
          <p:cNvPr id="23" name="Group 22">
            <a:extLst>
              <a:ext uri="{FF2B5EF4-FFF2-40B4-BE49-F238E27FC236}">
                <a16:creationId xmlns:a16="http://schemas.microsoft.com/office/drawing/2014/main" id="{A7B25FBF-DA9B-2340-2F10-D509CC5A3CD8}"/>
              </a:ext>
            </a:extLst>
          </p:cNvPr>
          <p:cNvGrpSpPr/>
          <p:nvPr/>
        </p:nvGrpSpPr>
        <p:grpSpPr>
          <a:xfrm>
            <a:off x="3741348" y="2391529"/>
            <a:ext cx="432000" cy="432000"/>
            <a:chOff x="3741348" y="2391529"/>
            <a:chExt cx="432000" cy="432000"/>
          </a:xfrm>
        </p:grpSpPr>
        <p:grpSp>
          <p:nvGrpSpPr>
            <p:cNvPr id="207" name="Grafik 278">
              <a:extLst>
                <a:ext uri="{FF2B5EF4-FFF2-40B4-BE49-F238E27FC236}">
                  <a16:creationId xmlns:a16="http://schemas.microsoft.com/office/drawing/2014/main" id="{335D4ED7-099F-41DD-86EF-BE28A6875F24}"/>
                </a:ext>
              </a:extLst>
            </p:cNvPr>
            <p:cNvGrpSpPr/>
            <p:nvPr/>
          </p:nvGrpSpPr>
          <p:grpSpPr>
            <a:xfrm>
              <a:off x="3741348" y="2391529"/>
              <a:ext cx="432000" cy="432000"/>
              <a:chOff x="6187405" y="3311823"/>
              <a:chExt cx="366300" cy="366300"/>
            </a:xfrm>
            <a:solidFill>
              <a:schemeClr val="accent1"/>
            </a:solidFill>
          </p:grpSpPr>
          <p:sp>
            <p:nvSpPr>
              <p:cNvPr id="212" name="Freihandform: Form 986">
                <a:extLst>
                  <a:ext uri="{FF2B5EF4-FFF2-40B4-BE49-F238E27FC236}">
                    <a16:creationId xmlns:a16="http://schemas.microsoft.com/office/drawing/2014/main" id="{C84835C7-C1BD-4168-B6C9-0BEE00BBD855}"/>
                  </a:ext>
                </a:extLst>
              </p:cNvPr>
              <p:cNvSpPr/>
              <p:nvPr/>
            </p:nvSpPr>
            <p:spPr>
              <a:xfrm>
                <a:off x="6355096" y="3311823"/>
                <a:ext cx="198609" cy="198411"/>
              </a:xfrm>
              <a:custGeom>
                <a:avLst/>
                <a:gdLst>
                  <a:gd name="connsiteX0" fmla="*/ 70929 w 198609"/>
                  <a:gd name="connsiteY0" fmla="*/ 198411 h 198411"/>
                  <a:gd name="connsiteX1" fmla="*/ 66352 w 198609"/>
                  <a:gd name="connsiteY1" fmla="*/ 196506 h 198411"/>
                  <a:gd name="connsiteX2" fmla="*/ 66352 w 198609"/>
                  <a:gd name="connsiteY2" fmla="*/ 187326 h 198411"/>
                  <a:gd name="connsiteX3" fmla="*/ 182946 w 198609"/>
                  <a:gd name="connsiteY3" fmla="*/ 70731 h 198411"/>
                  <a:gd name="connsiteX4" fmla="*/ 127866 w 198609"/>
                  <a:gd name="connsiteY4" fmla="*/ 15675 h 198411"/>
                  <a:gd name="connsiteX5" fmla="*/ 11073 w 198609"/>
                  <a:gd name="connsiteY5" fmla="*/ 132468 h 198411"/>
                  <a:gd name="connsiteX6" fmla="*/ 1893 w 198609"/>
                  <a:gd name="connsiteY6" fmla="*/ 132468 h 198411"/>
                  <a:gd name="connsiteX7" fmla="*/ 1893 w 198609"/>
                  <a:gd name="connsiteY7" fmla="*/ 123288 h 198411"/>
                  <a:gd name="connsiteX8" fmla="*/ 123288 w 198609"/>
                  <a:gd name="connsiteY8" fmla="*/ 1893 h 198411"/>
                  <a:gd name="connsiteX9" fmla="*/ 132468 w 198609"/>
                  <a:gd name="connsiteY9" fmla="*/ 1893 h 198411"/>
                  <a:gd name="connsiteX10" fmla="*/ 196704 w 198609"/>
                  <a:gd name="connsiteY10" fmla="*/ 66129 h 198411"/>
                  <a:gd name="connsiteX11" fmla="*/ 198609 w 198609"/>
                  <a:gd name="connsiteY11" fmla="*/ 70707 h 198411"/>
                  <a:gd name="connsiteX12" fmla="*/ 196704 w 198609"/>
                  <a:gd name="connsiteY12" fmla="*/ 75284 h 198411"/>
                  <a:gd name="connsiteX13" fmla="*/ 75507 w 198609"/>
                  <a:gd name="connsiteY13" fmla="*/ 196481 h 198411"/>
                  <a:gd name="connsiteX14" fmla="*/ 70929 w 198609"/>
                  <a:gd name="connsiteY14" fmla="*/ 198411 h 19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8609" h="198411">
                    <a:moveTo>
                      <a:pt x="70929" y="198411"/>
                    </a:moveTo>
                    <a:cubicBezTo>
                      <a:pt x="69271" y="198411"/>
                      <a:pt x="67614" y="197768"/>
                      <a:pt x="66352" y="196506"/>
                    </a:cubicBezTo>
                    <a:cubicBezTo>
                      <a:pt x="63828" y="193982"/>
                      <a:pt x="63828" y="189874"/>
                      <a:pt x="66352" y="187326"/>
                    </a:cubicBezTo>
                    <a:lnTo>
                      <a:pt x="182946" y="70731"/>
                    </a:lnTo>
                    <a:lnTo>
                      <a:pt x="127866" y="15675"/>
                    </a:lnTo>
                    <a:lnTo>
                      <a:pt x="11073" y="132468"/>
                    </a:lnTo>
                    <a:cubicBezTo>
                      <a:pt x="8549" y="134992"/>
                      <a:pt x="4442" y="134992"/>
                      <a:pt x="1893" y="132468"/>
                    </a:cubicBezTo>
                    <a:cubicBezTo>
                      <a:pt x="-631" y="129944"/>
                      <a:pt x="-631" y="125836"/>
                      <a:pt x="1893" y="123288"/>
                    </a:cubicBezTo>
                    <a:lnTo>
                      <a:pt x="123288" y="1893"/>
                    </a:lnTo>
                    <a:cubicBezTo>
                      <a:pt x="125812" y="-631"/>
                      <a:pt x="129919" y="-631"/>
                      <a:pt x="132468" y="1893"/>
                    </a:cubicBezTo>
                    <a:lnTo>
                      <a:pt x="196704" y="66129"/>
                    </a:lnTo>
                    <a:cubicBezTo>
                      <a:pt x="197916" y="67341"/>
                      <a:pt x="198609" y="68999"/>
                      <a:pt x="198609" y="70707"/>
                    </a:cubicBezTo>
                    <a:cubicBezTo>
                      <a:pt x="198609" y="72439"/>
                      <a:pt x="197916" y="74072"/>
                      <a:pt x="196704" y="75284"/>
                    </a:cubicBezTo>
                    <a:lnTo>
                      <a:pt x="75507" y="196481"/>
                    </a:lnTo>
                    <a:cubicBezTo>
                      <a:pt x="74245" y="197768"/>
                      <a:pt x="72587" y="198411"/>
                      <a:pt x="70929" y="198411"/>
                    </a:cubicBezTo>
                    <a:close/>
                  </a:path>
                </a:pathLst>
              </a:custGeom>
              <a:solidFill>
                <a:schemeClr val="accent1"/>
              </a:solidFill>
              <a:ln w="2470" cap="flat">
                <a:noFill/>
                <a:prstDash val="solid"/>
                <a:miter/>
              </a:ln>
            </p:spPr>
            <p:txBody>
              <a:bodyPr rtlCol="0" anchor="ctr"/>
              <a:lstStyle/>
              <a:p>
                <a:endParaRPr lang="en-GB" dirty="0"/>
              </a:p>
            </p:txBody>
          </p:sp>
          <p:sp>
            <p:nvSpPr>
              <p:cNvPr id="213" name="Freihandform: Form 987">
                <a:extLst>
                  <a:ext uri="{FF2B5EF4-FFF2-40B4-BE49-F238E27FC236}">
                    <a16:creationId xmlns:a16="http://schemas.microsoft.com/office/drawing/2014/main" id="{F4396190-ABC8-4ADA-B766-75AF8D765E03}"/>
                  </a:ext>
                </a:extLst>
              </p:cNvPr>
              <p:cNvSpPr/>
              <p:nvPr/>
            </p:nvSpPr>
            <p:spPr>
              <a:xfrm>
                <a:off x="6187405" y="3479243"/>
                <a:ext cx="198670" cy="198881"/>
              </a:xfrm>
              <a:custGeom>
                <a:avLst/>
                <a:gdLst>
                  <a:gd name="connsiteX0" fmla="*/ 70706 w 198670"/>
                  <a:gd name="connsiteY0" fmla="*/ 198881 h 198881"/>
                  <a:gd name="connsiteX1" fmla="*/ 66129 w 198670"/>
                  <a:gd name="connsiteY1" fmla="*/ 196976 h 198881"/>
                  <a:gd name="connsiteX2" fmla="*/ 1893 w 198670"/>
                  <a:gd name="connsiteY2" fmla="*/ 132740 h 198881"/>
                  <a:gd name="connsiteX3" fmla="*/ 1893 w 198670"/>
                  <a:gd name="connsiteY3" fmla="*/ 123560 h 198881"/>
                  <a:gd name="connsiteX4" fmla="*/ 123560 w 198670"/>
                  <a:gd name="connsiteY4" fmla="*/ 1893 h 198881"/>
                  <a:gd name="connsiteX5" fmla="*/ 132740 w 198670"/>
                  <a:gd name="connsiteY5" fmla="*/ 1893 h 198881"/>
                  <a:gd name="connsiteX6" fmla="*/ 132740 w 198670"/>
                  <a:gd name="connsiteY6" fmla="*/ 11073 h 198881"/>
                  <a:gd name="connsiteX7" fmla="*/ 15675 w 198670"/>
                  <a:gd name="connsiteY7" fmla="*/ 128138 h 198881"/>
                  <a:gd name="connsiteX8" fmla="*/ 70731 w 198670"/>
                  <a:gd name="connsiteY8" fmla="*/ 183193 h 198881"/>
                  <a:gd name="connsiteX9" fmla="*/ 187598 w 198670"/>
                  <a:gd name="connsiteY9" fmla="*/ 66327 h 198881"/>
                  <a:gd name="connsiteX10" fmla="*/ 196778 w 198670"/>
                  <a:gd name="connsiteY10" fmla="*/ 66327 h 198881"/>
                  <a:gd name="connsiteX11" fmla="*/ 196778 w 198670"/>
                  <a:gd name="connsiteY11" fmla="*/ 75507 h 198881"/>
                  <a:gd name="connsiteX12" fmla="*/ 75309 w 198670"/>
                  <a:gd name="connsiteY12" fmla="*/ 196976 h 198881"/>
                  <a:gd name="connsiteX13" fmla="*/ 70706 w 198670"/>
                  <a:gd name="connsiteY13" fmla="*/ 198881 h 198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8670" h="198881">
                    <a:moveTo>
                      <a:pt x="70706" y="198881"/>
                    </a:moveTo>
                    <a:cubicBezTo>
                      <a:pt x="69049" y="198881"/>
                      <a:pt x="67391" y="198238"/>
                      <a:pt x="66129" y="196976"/>
                    </a:cubicBezTo>
                    <a:lnTo>
                      <a:pt x="1893" y="132740"/>
                    </a:lnTo>
                    <a:cubicBezTo>
                      <a:pt x="-631" y="130216"/>
                      <a:pt x="-631" y="126109"/>
                      <a:pt x="1893" y="123560"/>
                    </a:cubicBezTo>
                    <a:lnTo>
                      <a:pt x="123560" y="1893"/>
                    </a:lnTo>
                    <a:cubicBezTo>
                      <a:pt x="126084" y="-631"/>
                      <a:pt x="130191" y="-631"/>
                      <a:pt x="132740" y="1893"/>
                    </a:cubicBezTo>
                    <a:cubicBezTo>
                      <a:pt x="135264" y="4417"/>
                      <a:pt x="135264" y="8524"/>
                      <a:pt x="132740" y="11073"/>
                    </a:cubicBezTo>
                    <a:lnTo>
                      <a:pt x="15675" y="128138"/>
                    </a:lnTo>
                    <a:lnTo>
                      <a:pt x="70731" y="183193"/>
                    </a:lnTo>
                    <a:lnTo>
                      <a:pt x="187598" y="66327"/>
                    </a:lnTo>
                    <a:cubicBezTo>
                      <a:pt x="190122" y="63803"/>
                      <a:pt x="194229" y="63803"/>
                      <a:pt x="196778" y="66327"/>
                    </a:cubicBezTo>
                    <a:cubicBezTo>
                      <a:pt x="199302" y="68851"/>
                      <a:pt x="199302" y="72958"/>
                      <a:pt x="196778" y="75507"/>
                    </a:cubicBezTo>
                    <a:lnTo>
                      <a:pt x="75309" y="196976"/>
                    </a:lnTo>
                    <a:cubicBezTo>
                      <a:pt x="74022" y="198263"/>
                      <a:pt x="72364" y="198881"/>
                      <a:pt x="70706" y="198881"/>
                    </a:cubicBezTo>
                    <a:close/>
                  </a:path>
                </a:pathLst>
              </a:custGeom>
              <a:solidFill>
                <a:schemeClr val="accent1"/>
              </a:solidFill>
              <a:ln w="2470" cap="flat">
                <a:noFill/>
                <a:prstDash val="solid"/>
                <a:miter/>
              </a:ln>
            </p:spPr>
            <p:txBody>
              <a:bodyPr rtlCol="0" anchor="ctr"/>
              <a:lstStyle/>
              <a:p>
                <a:endParaRPr lang="en-GB" dirty="0"/>
              </a:p>
            </p:txBody>
          </p:sp>
          <p:sp>
            <p:nvSpPr>
              <p:cNvPr id="214" name="Freihandform: Form 988">
                <a:extLst>
                  <a:ext uri="{FF2B5EF4-FFF2-40B4-BE49-F238E27FC236}">
                    <a16:creationId xmlns:a16="http://schemas.microsoft.com/office/drawing/2014/main" id="{E2E3B149-9B52-4E04-B7D7-B8E0112610D4}"/>
                  </a:ext>
                </a:extLst>
              </p:cNvPr>
              <p:cNvSpPr/>
              <p:nvPr/>
            </p:nvSpPr>
            <p:spPr>
              <a:xfrm>
                <a:off x="6444373" y="3343941"/>
                <a:ext cx="26723" cy="26736"/>
              </a:xfrm>
              <a:custGeom>
                <a:avLst/>
                <a:gdLst>
                  <a:gd name="connsiteX0" fmla="*/ 20228 w 26723"/>
                  <a:gd name="connsiteY0" fmla="*/ 26736 h 26736"/>
                  <a:gd name="connsiteX1" fmla="*/ 15651 w 26723"/>
                  <a:gd name="connsiteY1" fmla="*/ 24831 h 26736"/>
                  <a:gd name="connsiteX2" fmla="*/ 1893 w 26723"/>
                  <a:gd name="connsiteY2" fmla="*/ 11073 h 26736"/>
                  <a:gd name="connsiteX3" fmla="*/ 1893 w 26723"/>
                  <a:gd name="connsiteY3" fmla="*/ 1893 h 26736"/>
                  <a:gd name="connsiteX4" fmla="*/ 11073 w 26723"/>
                  <a:gd name="connsiteY4" fmla="*/ 1893 h 26736"/>
                  <a:gd name="connsiteX5" fmla="*/ 24831 w 26723"/>
                  <a:gd name="connsiteY5" fmla="*/ 15651 h 26736"/>
                  <a:gd name="connsiteX6" fmla="*/ 24831 w 26723"/>
                  <a:gd name="connsiteY6" fmla="*/ 24831 h 26736"/>
                  <a:gd name="connsiteX7" fmla="*/ 20228 w 26723"/>
                  <a:gd name="connsiteY7" fmla="*/ 26736 h 2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23" h="26736">
                    <a:moveTo>
                      <a:pt x="20228" y="26736"/>
                    </a:moveTo>
                    <a:cubicBezTo>
                      <a:pt x="18570" y="26736"/>
                      <a:pt x="16913" y="26093"/>
                      <a:pt x="15651" y="24831"/>
                    </a:cubicBezTo>
                    <a:lnTo>
                      <a:pt x="1893" y="11073"/>
                    </a:lnTo>
                    <a:cubicBezTo>
                      <a:pt x="-631" y="8549"/>
                      <a:pt x="-631" y="4442"/>
                      <a:pt x="1893" y="1893"/>
                    </a:cubicBezTo>
                    <a:cubicBezTo>
                      <a:pt x="4417" y="-631"/>
                      <a:pt x="8524" y="-631"/>
                      <a:pt x="11073" y="1893"/>
                    </a:cubicBezTo>
                    <a:lnTo>
                      <a:pt x="24831" y="15651"/>
                    </a:lnTo>
                    <a:cubicBezTo>
                      <a:pt x="27355" y="18175"/>
                      <a:pt x="27355" y="22282"/>
                      <a:pt x="24831" y="24831"/>
                    </a:cubicBezTo>
                    <a:cubicBezTo>
                      <a:pt x="23569" y="26118"/>
                      <a:pt x="21886" y="26736"/>
                      <a:pt x="20228" y="26736"/>
                    </a:cubicBezTo>
                    <a:close/>
                  </a:path>
                </a:pathLst>
              </a:custGeom>
              <a:solidFill>
                <a:schemeClr val="accent1"/>
              </a:solidFill>
              <a:ln w="2470" cap="flat">
                <a:noFill/>
                <a:prstDash val="solid"/>
                <a:miter/>
              </a:ln>
            </p:spPr>
            <p:txBody>
              <a:bodyPr rtlCol="0" anchor="ctr"/>
              <a:lstStyle/>
              <a:p>
                <a:endParaRPr lang="en-GB" dirty="0"/>
              </a:p>
            </p:txBody>
          </p:sp>
          <p:sp>
            <p:nvSpPr>
              <p:cNvPr id="215" name="Freihandform: Form 989">
                <a:extLst>
                  <a:ext uri="{FF2B5EF4-FFF2-40B4-BE49-F238E27FC236}">
                    <a16:creationId xmlns:a16="http://schemas.microsoft.com/office/drawing/2014/main" id="{C212662D-3B13-4DE1-B22E-82A824E6C952}"/>
                  </a:ext>
                </a:extLst>
              </p:cNvPr>
              <p:cNvSpPr/>
              <p:nvPr/>
            </p:nvSpPr>
            <p:spPr>
              <a:xfrm>
                <a:off x="6380137" y="3408202"/>
                <a:ext cx="26723" cy="26736"/>
              </a:xfrm>
              <a:custGeom>
                <a:avLst/>
                <a:gdLst>
                  <a:gd name="connsiteX0" fmla="*/ 20228 w 26723"/>
                  <a:gd name="connsiteY0" fmla="*/ 26736 h 26736"/>
                  <a:gd name="connsiteX1" fmla="*/ 15651 w 26723"/>
                  <a:gd name="connsiteY1" fmla="*/ 24831 h 26736"/>
                  <a:gd name="connsiteX2" fmla="*/ 1893 w 26723"/>
                  <a:gd name="connsiteY2" fmla="*/ 11073 h 26736"/>
                  <a:gd name="connsiteX3" fmla="*/ 1893 w 26723"/>
                  <a:gd name="connsiteY3" fmla="*/ 1893 h 26736"/>
                  <a:gd name="connsiteX4" fmla="*/ 11073 w 26723"/>
                  <a:gd name="connsiteY4" fmla="*/ 1893 h 26736"/>
                  <a:gd name="connsiteX5" fmla="*/ 24831 w 26723"/>
                  <a:gd name="connsiteY5" fmla="*/ 15651 h 26736"/>
                  <a:gd name="connsiteX6" fmla="*/ 24831 w 26723"/>
                  <a:gd name="connsiteY6" fmla="*/ 24831 h 26736"/>
                  <a:gd name="connsiteX7" fmla="*/ 20228 w 26723"/>
                  <a:gd name="connsiteY7" fmla="*/ 26736 h 2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23" h="26736">
                    <a:moveTo>
                      <a:pt x="20228" y="26736"/>
                    </a:moveTo>
                    <a:cubicBezTo>
                      <a:pt x="18571" y="26736"/>
                      <a:pt x="16913" y="26093"/>
                      <a:pt x="15651" y="24831"/>
                    </a:cubicBezTo>
                    <a:lnTo>
                      <a:pt x="1893" y="11073"/>
                    </a:lnTo>
                    <a:cubicBezTo>
                      <a:pt x="-631" y="8549"/>
                      <a:pt x="-631" y="4442"/>
                      <a:pt x="1893" y="1893"/>
                    </a:cubicBezTo>
                    <a:cubicBezTo>
                      <a:pt x="4417" y="-631"/>
                      <a:pt x="8524" y="-631"/>
                      <a:pt x="11073" y="1893"/>
                    </a:cubicBezTo>
                    <a:lnTo>
                      <a:pt x="24831" y="15651"/>
                    </a:lnTo>
                    <a:cubicBezTo>
                      <a:pt x="27355" y="18175"/>
                      <a:pt x="27355" y="22282"/>
                      <a:pt x="24831" y="24831"/>
                    </a:cubicBezTo>
                    <a:cubicBezTo>
                      <a:pt x="23544" y="26093"/>
                      <a:pt x="21886" y="26736"/>
                      <a:pt x="20228" y="26736"/>
                    </a:cubicBezTo>
                    <a:close/>
                  </a:path>
                </a:pathLst>
              </a:custGeom>
              <a:solidFill>
                <a:schemeClr val="accent1"/>
              </a:solidFill>
              <a:ln w="2470" cap="flat">
                <a:noFill/>
                <a:prstDash val="solid"/>
                <a:miter/>
              </a:ln>
            </p:spPr>
            <p:txBody>
              <a:bodyPr rtlCol="0" anchor="ctr"/>
              <a:lstStyle/>
              <a:p>
                <a:endParaRPr lang="en-GB" dirty="0"/>
              </a:p>
            </p:txBody>
          </p:sp>
          <p:sp>
            <p:nvSpPr>
              <p:cNvPr id="216" name="Freihandform: Form 990">
                <a:extLst>
                  <a:ext uri="{FF2B5EF4-FFF2-40B4-BE49-F238E27FC236}">
                    <a16:creationId xmlns:a16="http://schemas.microsoft.com/office/drawing/2014/main" id="{A70381CB-496B-40DE-A1F7-4D218861A531}"/>
                  </a:ext>
                </a:extLst>
              </p:cNvPr>
              <p:cNvSpPr/>
              <p:nvPr/>
            </p:nvSpPr>
            <p:spPr>
              <a:xfrm>
                <a:off x="6412255" y="3376084"/>
                <a:ext cx="35903" cy="35916"/>
              </a:xfrm>
              <a:custGeom>
                <a:avLst/>
                <a:gdLst>
                  <a:gd name="connsiteX0" fmla="*/ 29408 w 35903"/>
                  <a:gd name="connsiteY0" fmla="*/ 35916 h 35916"/>
                  <a:gd name="connsiteX1" fmla="*/ 24831 w 35903"/>
                  <a:gd name="connsiteY1" fmla="*/ 34011 h 35916"/>
                  <a:gd name="connsiteX2" fmla="*/ 1893 w 35903"/>
                  <a:gd name="connsiteY2" fmla="*/ 11073 h 35916"/>
                  <a:gd name="connsiteX3" fmla="*/ 1893 w 35903"/>
                  <a:gd name="connsiteY3" fmla="*/ 1893 h 35916"/>
                  <a:gd name="connsiteX4" fmla="*/ 11073 w 35903"/>
                  <a:gd name="connsiteY4" fmla="*/ 1893 h 35916"/>
                  <a:gd name="connsiteX5" fmla="*/ 34011 w 35903"/>
                  <a:gd name="connsiteY5" fmla="*/ 24831 h 35916"/>
                  <a:gd name="connsiteX6" fmla="*/ 34011 w 35903"/>
                  <a:gd name="connsiteY6" fmla="*/ 34011 h 35916"/>
                  <a:gd name="connsiteX7" fmla="*/ 29408 w 35903"/>
                  <a:gd name="connsiteY7" fmla="*/ 35916 h 3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03" h="35916">
                    <a:moveTo>
                      <a:pt x="29408" y="35916"/>
                    </a:moveTo>
                    <a:cubicBezTo>
                      <a:pt x="27751" y="35916"/>
                      <a:pt x="26093" y="35273"/>
                      <a:pt x="24831" y="34011"/>
                    </a:cubicBezTo>
                    <a:lnTo>
                      <a:pt x="1893" y="11073"/>
                    </a:lnTo>
                    <a:cubicBezTo>
                      <a:pt x="-631" y="8549"/>
                      <a:pt x="-631" y="4442"/>
                      <a:pt x="1893" y="1893"/>
                    </a:cubicBezTo>
                    <a:cubicBezTo>
                      <a:pt x="4417" y="-631"/>
                      <a:pt x="8524" y="-631"/>
                      <a:pt x="11073" y="1893"/>
                    </a:cubicBezTo>
                    <a:lnTo>
                      <a:pt x="34011" y="24831"/>
                    </a:lnTo>
                    <a:cubicBezTo>
                      <a:pt x="36535" y="27355"/>
                      <a:pt x="36535" y="31462"/>
                      <a:pt x="34011" y="34011"/>
                    </a:cubicBezTo>
                    <a:cubicBezTo>
                      <a:pt x="32724" y="35273"/>
                      <a:pt x="31066" y="35916"/>
                      <a:pt x="29408" y="35916"/>
                    </a:cubicBezTo>
                    <a:close/>
                  </a:path>
                </a:pathLst>
              </a:custGeom>
              <a:solidFill>
                <a:schemeClr val="accent1"/>
              </a:solidFill>
              <a:ln w="2470" cap="flat">
                <a:noFill/>
                <a:prstDash val="solid"/>
                <a:miter/>
              </a:ln>
            </p:spPr>
            <p:txBody>
              <a:bodyPr rtlCol="0" anchor="ctr"/>
              <a:lstStyle/>
              <a:p>
                <a:endParaRPr lang="en-GB" dirty="0"/>
              </a:p>
            </p:txBody>
          </p:sp>
          <p:sp>
            <p:nvSpPr>
              <p:cNvPr id="217" name="Freihandform: Form 991">
                <a:extLst>
                  <a:ext uri="{FF2B5EF4-FFF2-40B4-BE49-F238E27FC236}">
                    <a16:creationId xmlns:a16="http://schemas.microsoft.com/office/drawing/2014/main" id="{C85A26D2-BABC-4607-A0B4-4C08D4F4C5C5}"/>
                  </a:ext>
                </a:extLst>
              </p:cNvPr>
              <p:cNvSpPr/>
              <p:nvPr/>
            </p:nvSpPr>
            <p:spPr>
              <a:xfrm>
                <a:off x="6283784" y="3504531"/>
                <a:ext cx="26723" cy="26760"/>
              </a:xfrm>
              <a:custGeom>
                <a:avLst/>
                <a:gdLst>
                  <a:gd name="connsiteX0" fmla="*/ 20228 w 26723"/>
                  <a:gd name="connsiteY0" fmla="*/ 26761 h 26760"/>
                  <a:gd name="connsiteX1" fmla="*/ 15651 w 26723"/>
                  <a:gd name="connsiteY1" fmla="*/ 24855 h 26760"/>
                  <a:gd name="connsiteX2" fmla="*/ 1893 w 26723"/>
                  <a:gd name="connsiteY2" fmla="*/ 11073 h 26760"/>
                  <a:gd name="connsiteX3" fmla="*/ 1893 w 26723"/>
                  <a:gd name="connsiteY3" fmla="*/ 1893 h 26760"/>
                  <a:gd name="connsiteX4" fmla="*/ 11073 w 26723"/>
                  <a:gd name="connsiteY4" fmla="*/ 1893 h 26760"/>
                  <a:gd name="connsiteX5" fmla="*/ 24831 w 26723"/>
                  <a:gd name="connsiteY5" fmla="*/ 15675 h 26760"/>
                  <a:gd name="connsiteX6" fmla="*/ 24831 w 26723"/>
                  <a:gd name="connsiteY6" fmla="*/ 24855 h 26760"/>
                  <a:gd name="connsiteX7" fmla="*/ 20228 w 26723"/>
                  <a:gd name="connsiteY7" fmla="*/ 26761 h 26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23" h="26760">
                    <a:moveTo>
                      <a:pt x="20228" y="26761"/>
                    </a:moveTo>
                    <a:cubicBezTo>
                      <a:pt x="18571" y="26761"/>
                      <a:pt x="16913" y="26117"/>
                      <a:pt x="15651" y="24855"/>
                    </a:cubicBezTo>
                    <a:lnTo>
                      <a:pt x="1893" y="11073"/>
                    </a:lnTo>
                    <a:cubicBezTo>
                      <a:pt x="-631" y="8549"/>
                      <a:pt x="-631" y="4442"/>
                      <a:pt x="1893" y="1893"/>
                    </a:cubicBezTo>
                    <a:cubicBezTo>
                      <a:pt x="4417" y="-631"/>
                      <a:pt x="8549" y="-631"/>
                      <a:pt x="11073" y="1893"/>
                    </a:cubicBezTo>
                    <a:lnTo>
                      <a:pt x="24831" y="15675"/>
                    </a:lnTo>
                    <a:cubicBezTo>
                      <a:pt x="27355" y="18199"/>
                      <a:pt x="27355" y="22307"/>
                      <a:pt x="24831" y="24855"/>
                    </a:cubicBezTo>
                    <a:cubicBezTo>
                      <a:pt x="23544" y="26142"/>
                      <a:pt x="21886" y="26761"/>
                      <a:pt x="20228" y="26761"/>
                    </a:cubicBezTo>
                    <a:close/>
                  </a:path>
                </a:pathLst>
              </a:custGeom>
              <a:solidFill>
                <a:schemeClr val="accent1"/>
              </a:solidFill>
              <a:ln w="2470" cap="flat">
                <a:noFill/>
                <a:prstDash val="solid"/>
                <a:miter/>
              </a:ln>
            </p:spPr>
            <p:txBody>
              <a:bodyPr rtlCol="0" anchor="ctr"/>
              <a:lstStyle/>
              <a:p>
                <a:endParaRPr lang="en-GB" dirty="0"/>
              </a:p>
            </p:txBody>
          </p:sp>
          <p:sp>
            <p:nvSpPr>
              <p:cNvPr id="218" name="Freihandform: Form 992">
                <a:extLst>
                  <a:ext uri="{FF2B5EF4-FFF2-40B4-BE49-F238E27FC236}">
                    <a16:creationId xmlns:a16="http://schemas.microsoft.com/office/drawing/2014/main" id="{25C1ECAC-A1E8-4941-9F87-0D35D12455CE}"/>
                  </a:ext>
                </a:extLst>
              </p:cNvPr>
              <p:cNvSpPr/>
              <p:nvPr/>
            </p:nvSpPr>
            <p:spPr>
              <a:xfrm>
                <a:off x="6219523" y="3568792"/>
                <a:ext cx="26723" cy="26736"/>
              </a:xfrm>
              <a:custGeom>
                <a:avLst/>
                <a:gdLst>
                  <a:gd name="connsiteX0" fmla="*/ 20228 w 26723"/>
                  <a:gd name="connsiteY0" fmla="*/ 26736 h 26736"/>
                  <a:gd name="connsiteX1" fmla="*/ 15651 w 26723"/>
                  <a:gd name="connsiteY1" fmla="*/ 24831 h 26736"/>
                  <a:gd name="connsiteX2" fmla="*/ 1893 w 26723"/>
                  <a:gd name="connsiteY2" fmla="*/ 11073 h 26736"/>
                  <a:gd name="connsiteX3" fmla="*/ 1893 w 26723"/>
                  <a:gd name="connsiteY3" fmla="*/ 1893 h 26736"/>
                  <a:gd name="connsiteX4" fmla="*/ 11073 w 26723"/>
                  <a:gd name="connsiteY4" fmla="*/ 1893 h 26736"/>
                  <a:gd name="connsiteX5" fmla="*/ 24831 w 26723"/>
                  <a:gd name="connsiteY5" fmla="*/ 15651 h 26736"/>
                  <a:gd name="connsiteX6" fmla="*/ 24831 w 26723"/>
                  <a:gd name="connsiteY6" fmla="*/ 24831 h 26736"/>
                  <a:gd name="connsiteX7" fmla="*/ 20228 w 26723"/>
                  <a:gd name="connsiteY7" fmla="*/ 26736 h 26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23" h="26736">
                    <a:moveTo>
                      <a:pt x="20228" y="26736"/>
                    </a:moveTo>
                    <a:cubicBezTo>
                      <a:pt x="18571" y="26736"/>
                      <a:pt x="16913" y="26093"/>
                      <a:pt x="15651" y="24831"/>
                    </a:cubicBezTo>
                    <a:lnTo>
                      <a:pt x="1893" y="11073"/>
                    </a:lnTo>
                    <a:cubicBezTo>
                      <a:pt x="-631" y="8549"/>
                      <a:pt x="-631" y="4442"/>
                      <a:pt x="1893" y="1893"/>
                    </a:cubicBezTo>
                    <a:cubicBezTo>
                      <a:pt x="4417" y="-631"/>
                      <a:pt x="8524" y="-631"/>
                      <a:pt x="11073" y="1893"/>
                    </a:cubicBezTo>
                    <a:lnTo>
                      <a:pt x="24831" y="15651"/>
                    </a:lnTo>
                    <a:cubicBezTo>
                      <a:pt x="27355" y="18175"/>
                      <a:pt x="27355" y="22282"/>
                      <a:pt x="24831" y="24831"/>
                    </a:cubicBezTo>
                    <a:cubicBezTo>
                      <a:pt x="23569" y="26117"/>
                      <a:pt x="21911" y="26736"/>
                      <a:pt x="20228" y="26736"/>
                    </a:cubicBezTo>
                    <a:close/>
                  </a:path>
                </a:pathLst>
              </a:custGeom>
              <a:solidFill>
                <a:schemeClr val="accent1"/>
              </a:solidFill>
              <a:ln w="2470" cap="flat">
                <a:noFill/>
                <a:prstDash val="solid"/>
                <a:miter/>
              </a:ln>
            </p:spPr>
            <p:txBody>
              <a:bodyPr rtlCol="0" anchor="ctr"/>
              <a:lstStyle/>
              <a:p>
                <a:endParaRPr lang="en-GB" dirty="0"/>
              </a:p>
            </p:txBody>
          </p:sp>
          <p:sp>
            <p:nvSpPr>
              <p:cNvPr id="219" name="Freihandform: Form 993">
                <a:extLst>
                  <a:ext uri="{FF2B5EF4-FFF2-40B4-BE49-F238E27FC236}">
                    <a16:creationId xmlns:a16="http://schemas.microsoft.com/office/drawing/2014/main" id="{8400AC8E-D881-4359-9150-F004C981271B}"/>
                  </a:ext>
                </a:extLst>
              </p:cNvPr>
              <p:cNvSpPr/>
              <p:nvPr/>
            </p:nvSpPr>
            <p:spPr>
              <a:xfrm>
                <a:off x="6251666" y="3536674"/>
                <a:ext cx="35903" cy="35916"/>
              </a:xfrm>
              <a:custGeom>
                <a:avLst/>
                <a:gdLst>
                  <a:gd name="connsiteX0" fmla="*/ 29408 w 35903"/>
                  <a:gd name="connsiteY0" fmla="*/ 35916 h 35916"/>
                  <a:gd name="connsiteX1" fmla="*/ 24831 w 35903"/>
                  <a:gd name="connsiteY1" fmla="*/ 34011 h 35916"/>
                  <a:gd name="connsiteX2" fmla="*/ 1893 w 35903"/>
                  <a:gd name="connsiteY2" fmla="*/ 11073 h 35916"/>
                  <a:gd name="connsiteX3" fmla="*/ 1893 w 35903"/>
                  <a:gd name="connsiteY3" fmla="*/ 1893 h 35916"/>
                  <a:gd name="connsiteX4" fmla="*/ 11073 w 35903"/>
                  <a:gd name="connsiteY4" fmla="*/ 1893 h 35916"/>
                  <a:gd name="connsiteX5" fmla="*/ 34011 w 35903"/>
                  <a:gd name="connsiteY5" fmla="*/ 24831 h 35916"/>
                  <a:gd name="connsiteX6" fmla="*/ 34011 w 35903"/>
                  <a:gd name="connsiteY6" fmla="*/ 34011 h 35916"/>
                  <a:gd name="connsiteX7" fmla="*/ 29408 w 35903"/>
                  <a:gd name="connsiteY7" fmla="*/ 35916 h 35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03" h="35916">
                    <a:moveTo>
                      <a:pt x="29408" y="35916"/>
                    </a:moveTo>
                    <a:cubicBezTo>
                      <a:pt x="27751" y="35916"/>
                      <a:pt x="26093" y="35273"/>
                      <a:pt x="24831" y="34011"/>
                    </a:cubicBezTo>
                    <a:lnTo>
                      <a:pt x="1893" y="11073"/>
                    </a:lnTo>
                    <a:cubicBezTo>
                      <a:pt x="-631" y="8549"/>
                      <a:pt x="-631" y="4442"/>
                      <a:pt x="1893" y="1893"/>
                    </a:cubicBezTo>
                    <a:cubicBezTo>
                      <a:pt x="4417" y="-631"/>
                      <a:pt x="8524" y="-631"/>
                      <a:pt x="11073" y="1893"/>
                    </a:cubicBezTo>
                    <a:lnTo>
                      <a:pt x="34011" y="24831"/>
                    </a:lnTo>
                    <a:cubicBezTo>
                      <a:pt x="36535" y="27355"/>
                      <a:pt x="36535" y="31462"/>
                      <a:pt x="34011" y="34011"/>
                    </a:cubicBezTo>
                    <a:cubicBezTo>
                      <a:pt x="32724" y="35273"/>
                      <a:pt x="31066" y="35916"/>
                      <a:pt x="29408" y="35916"/>
                    </a:cubicBezTo>
                    <a:close/>
                  </a:path>
                </a:pathLst>
              </a:custGeom>
              <a:solidFill>
                <a:schemeClr val="accent1"/>
              </a:solidFill>
              <a:ln w="2470" cap="flat">
                <a:noFill/>
                <a:prstDash val="solid"/>
                <a:miter/>
              </a:ln>
            </p:spPr>
            <p:txBody>
              <a:bodyPr rtlCol="0" anchor="ctr"/>
              <a:lstStyle/>
              <a:p>
                <a:endParaRPr lang="en-GB" dirty="0"/>
              </a:p>
            </p:txBody>
          </p:sp>
        </p:grpSp>
        <p:grpSp>
          <p:nvGrpSpPr>
            <p:cNvPr id="208" name="Group 207">
              <a:extLst>
                <a:ext uri="{FF2B5EF4-FFF2-40B4-BE49-F238E27FC236}">
                  <a16:creationId xmlns:a16="http://schemas.microsoft.com/office/drawing/2014/main" id="{99E76FA0-3448-42A4-BA66-C34CF38709AF}"/>
                </a:ext>
              </a:extLst>
            </p:cNvPr>
            <p:cNvGrpSpPr/>
            <p:nvPr/>
          </p:nvGrpSpPr>
          <p:grpSpPr>
            <a:xfrm>
              <a:off x="3768390" y="2418607"/>
              <a:ext cx="377884" cy="377867"/>
              <a:chOff x="6210331" y="3334786"/>
              <a:chExt cx="320414" cy="320400"/>
            </a:xfrm>
            <a:solidFill>
              <a:schemeClr val="tx2"/>
            </a:solidFill>
          </p:grpSpPr>
          <p:sp>
            <p:nvSpPr>
              <p:cNvPr id="209" name="Freihandform: Form 995">
                <a:extLst>
                  <a:ext uri="{FF2B5EF4-FFF2-40B4-BE49-F238E27FC236}">
                    <a16:creationId xmlns:a16="http://schemas.microsoft.com/office/drawing/2014/main" id="{B198F6A7-923A-40B4-85E0-704A3FA1A1F2}"/>
                  </a:ext>
                </a:extLst>
              </p:cNvPr>
              <p:cNvSpPr/>
              <p:nvPr/>
            </p:nvSpPr>
            <p:spPr>
              <a:xfrm>
                <a:off x="6224125" y="3348593"/>
                <a:ext cx="288282" cy="288232"/>
              </a:xfrm>
              <a:custGeom>
                <a:avLst/>
                <a:gdLst>
                  <a:gd name="connsiteX0" fmla="*/ 235899 w 288282"/>
                  <a:gd name="connsiteY0" fmla="*/ 288233 h 288232"/>
                  <a:gd name="connsiteX1" fmla="*/ 231321 w 288282"/>
                  <a:gd name="connsiteY1" fmla="*/ 286327 h 288232"/>
                  <a:gd name="connsiteX2" fmla="*/ 1893 w 288282"/>
                  <a:gd name="connsiteY2" fmla="*/ 56899 h 288232"/>
                  <a:gd name="connsiteX3" fmla="*/ 1893 w 288282"/>
                  <a:gd name="connsiteY3" fmla="*/ 47719 h 288232"/>
                  <a:gd name="connsiteX4" fmla="*/ 47769 w 288282"/>
                  <a:gd name="connsiteY4" fmla="*/ 1819 h 288232"/>
                  <a:gd name="connsiteX5" fmla="*/ 56949 w 288282"/>
                  <a:gd name="connsiteY5" fmla="*/ 1819 h 288232"/>
                  <a:gd name="connsiteX6" fmla="*/ 286377 w 288282"/>
                  <a:gd name="connsiteY6" fmla="*/ 231247 h 288232"/>
                  <a:gd name="connsiteX7" fmla="*/ 288282 w 288282"/>
                  <a:gd name="connsiteY7" fmla="*/ 235824 h 288232"/>
                  <a:gd name="connsiteX8" fmla="*/ 286377 w 288282"/>
                  <a:gd name="connsiteY8" fmla="*/ 240402 h 288232"/>
                  <a:gd name="connsiteX9" fmla="*/ 240501 w 288282"/>
                  <a:gd name="connsiteY9" fmla="*/ 286278 h 288232"/>
                  <a:gd name="connsiteX10" fmla="*/ 235899 w 288282"/>
                  <a:gd name="connsiteY10" fmla="*/ 288233 h 288232"/>
                  <a:gd name="connsiteX11" fmla="*/ 15626 w 288282"/>
                  <a:gd name="connsiteY11" fmla="*/ 52322 h 288232"/>
                  <a:gd name="connsiteX12" fmla="*/ 235899 w 288282"/>
                  <a:gd name="connsiteY12" fmla="*/ 272570 h 288232"/>
                  <a:gd name="connsiteX13" fmla="*/ 272619 w 288282"/>
                  <a:gd name="connsiteY13" fmla="*/ 235874 h 288232"/>
                  <a:gd name="connsiteX14" fmla="*/ 52346 w 288282"/>
                  <a:gd name="connsiteY14" fmla="*/ 15601 h 288232"/>
                  <a:gd name="connsiteX15" fmla="*/ 15626 w 288282"/>
                  <a:gd name="connsiteY15" fmla="*/ 52322 h 288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8282" h="288232">
                    <a:moveTo>
                      <a:pt x="235899" y="288233"/>
                    </a:moveTo>
                    <a:cubicBezTo>
                      <a:pt x="234241" y="288233"/>
                      <a:pt x="232583" y="287589"/>
                      <a:pt x="231321" y="286327"/>
                    </a:cubicBezTo>
                    <a:lnTo>
                      <a:pt x="1893" y="56899"/>
                    </a:lnTo>
                    <a:cubicBezTo>
                      <a:pt x="-631" y="54375"/>
                      <a:pt x="-631" y="50268"/>
                      <a:pt x="1893" y="47719"/>
                    </a:cubicBezTo>
                    <a:lnTo>
                      <a:pt x="47769" y="1819"/>
                    </a:lnTo>
                    <a:cubicBezTo>
                      <a:pt x="50194" y="-606"/>
                      <a:pt x="54499" y="-606"/>
                      <a:pt x="56949" y="1819"/>
                    </a:cubicBezTo>
                    <a:lnTo>
                      <a:pt x="286377" y="231247"/>
                    </a:lnTo>
                    <a:cubicBezTo>
                      <a:pt x="287589" y="232459"/>
                      <a:pt x="288282" y="234117"/>
                      <a:pt x="288282" y="235824"/>
                    </a:cubicBezTo>
                    <a:cubicBezTo>
                      <a:pt x="288282" y="237556"/>
                      <a:pt x="287589" y="239190"/>
                      <a:pt x="286377" y="240402"/>
                    </a:cubicBezTo>
                    <a:lnTo>
                      <a:pt x="240501" y="286278"/>
                    </a:lnTo>
                    <a:cubicBezTo>
                      <a:pt x="239214" y="287614"/>
                      <a:pt x="237557" y="288233"/>
                      <a:pt x="235899" y="288233"/>
                    </a:cubicBezTo>
                    <a:close/>
                    <a:moveTo>
                      <a:pt x="15626" y="52322"/>
                    </a:moveTo>
                    <a:lnTo>
                      <a:pt x="235899" y="272570"/>
                    </a:lnTo>
                    <a:lnTo>
                      <a:pt x="272619" y="235874"/>
                    </a:lnTo>
                    <a:lnTo>
                      <a:pt x="52346" y="15601"/>
                    </a:lnTo>
                    <a:lnTo>
                      <a:pt x="15626" y="52322"/>
                    </a:lnTo>
                    <a:close/>
                  </a:path>
                </a:pathLst>
              </a:custGeom>
              <a:grpFill/>
              <a:ln w="2470" cap="flat">
                <a:noFill/>
                <a:prstDash val="solid"/>
                <a:miter/>
              </a:ln>
            </p:spPr>
            <p:txBody>
              <a:bodyPr rtlCol="0" anchor="ctr"/>
              <a:lstStyle/>
              <a:p>
                <a:endParaRPr lang="en-GB" dirty="0"/>
              </a:p>
            </p:txBody>
          </p:sp>
          <p:sp>
            <p:nvSpPr>
              <p:cNvPr id="210" name="Freihandform: Form 996">
                <a:extLst>
                  <a:ext uri="{FF2B5EF4-FFF2-40B4-BE49-F238E27FC236}">
                    <a16:creationId xmlns:a16="http://schemas.microsoft.com/office/drawing/2014/main" id="{63023F05-5261-4EFB-BCA5-4E65CD147199}"/>
                  </a:ext>
                </a:extLst>
              </p:cNvPr>
              <p:cNvSpPr/>
              <p:nvPr/>
            </p:nvSpPr>
            <p:spPr>
              <a:xfrm>
                <a:off x="6453536" y="3577990"/>
                <a:ext cx="77209" cy="77196"/>
              </a:xfrm>
              <a:custGeom>
                <a:avLst/>
                <a:gdLst>
                  <a:gd name="connsiteX0" fmla="*/ 70724 w 77209"/>
                  <a:gd name="connsiteY0" fmla="*/ 77197 h 77196"/>
                  <a:gd name="connsiteX1" fmla="*/ 68943 w 77209"/>
                  <a:gd name="connsiteY1" fmla="*/ 76949 h 77196"/>
                  <a:gd name="connsiteX2" fmla="*/ 4707 w 77209"/>
                  <a:gd name="connsiteY2" fmla="*/ 58589 h 77196"/>
                  <a:gd name="connsiteX3" fmla="*/ 203 w 77209"/>
                  <a:gd name="connsiteY3" fmla="*/ 53986 h 77196"/>
                  <a:gd name="connsiteX4" fmla="*/ 1911 w 77209"/>
                  <a:gd name="connsiteY4" fmla="*/ 47776 h 77196"/>
                  <a:gd name="connsiteX5" fmla="*/ 47786 w 77209"/>
                  <a:gd name="connsiteY5" fmla="*/ 1900 h 77196"/>
                  <a:gd name="connsiteX6" fmla="*/ 53997 w 77209"/>
                  <a:gd name="connsiteY6" fmla="*/ 217 h 77196"/>
                  <a:gd name="connsiteX7" fmla="*/ 58600 w 77209"/>
                  <a:gd name="connsiteY7" fmla="*/ 4721 h 77196"/>
                  <a:gd name="connsiteX8" fmla="*/ 76960 w 77209"/>
                  <a:gd name="connsiteY8" fmla="*/ 68957 h 77196"/>
                  <a:gd name="connsiteX9" fmla="*/ 75302 w 77209"/>
                  <a:gd name="connsiteY9" fmla="*/ 75316 h 77196"/>
                  <a:gd name="connsiteX10" fmla="*/ 70724 w 77209"/>
                  <a:gd name="connsiteY10" fmla="*/ 77197 h 77196"/>
                  <a:gd name="connsiteX11" fmla="*/ 18885 w 77209"/>
                  <a:gd name="connsiteY11" fmla="*/ 49137 h 77196"/>
                  <a:gd name="connsiteX12" fmla="*/ 61297 w 77209"/>
                  <a:gd name="connsiteY12" fmla="*/ 61261 h 77196"/>
                  <a:gd name="connsiteX13" fmla="*/ 49172 w 77209"/>
                  <a:gd name="connsiteY13" fmla="*/ 18850 h 77196"/>
                  <a:gd name="connsiteX14" fmla="*/ 18885 w 77209"/>
                  <a:gd name="connsiteY14" fmla="*/ 49137 h 77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209" h="77196">
                    <a:moveTo>
                      <a:pt x="70724" y="77197"/>
                    </a:moveTo>
                    <a:cubicBezTo>
                      <a:pt x="70130" y="77197"/>
                      <a:pt x="69537" y="77122"/>
                      <a:pt x="68943" y="76949"/>
                    </a:cubicBezTo>
                    <a:lnTo>
                      <a:pt x="4707" y="58589"/>
                    </a:lnTo>
                    <a:cubicBezTo>
                      <a:pt x="2505" y="57945"/>
                      <a:pt x="772" y="56189"/>
                      <a:pt x="203" y="53986"/>
                    </a:cubicBezTo>
                    <a:cubicBezTo>
                      <a:pt x="-366" y="51759"/>
                      <a:pt x="278" y="49384"/>
                      <a:pt x="1911" y="47776"/>
                    </a:cubicBezTo>
                    <a:lnTo>
                      <a:pt x="47786" y="1900"/>
                    </a:lnTo>
                    <a:cubicBezTo>
                      <a:pt x="49420" y="267"/>
                      <a:pt x="51770" y="-377"/>
                      <a:pt x="53997" y="217"/>
                    </a:cubicBezTo>
                    <a:cubicBezTo>
                      <a:pt x="56224" y="786"/>
                      <a:pt x="57981" y="2494"/>
                      <a:pt x="58600" y="4721"/>
                    </a:cubicBezTo>
                    <a:lnTo>
                      <a:pt x="76960" y="68957"/>
                    </a:lnTo>
                    <a:cubicBezTo>
                      <a:pt x="77603" y="71208"/>
                      <a:pt x="76984" y="73658"/>
                      <a:pt x="75302" y="75316"/>
                    </a:cubicBezTo>
                    <a:cubicBezTo>
                      <a:pt x="74089" y="76528"/>
                      <a:pt x="72432" y="77197"/>
                      <a:pt x="70724" y="77197"/>
                    </a:cubicBezTo>
                    <a:close/>
                    <a:moveTo>
                      <a:pt x="18885" y="49137"/>
                    </a:moveTo>
                    <a:lnTo>
                      <a:pt x="61297" y="61261"/>
                    </a:lnTo>
                    <a:lnTo>
                      <a:pt x="49172" y="18850"/>
                    </a:lnTo>
                    <a:lnTo>
                      <a:pt x="18885" y="49137"/>
                    </a:lnTo>
                    <a:close/>
                  </a:path>
                </a:pathLst>
              </a:custGeom>
              <a:grpFill/>
              <a:ln w="2470" cap="flat">
                <a:noFill/>
                <a:prstDash val="solid"/>
                <a:miter/>
              </a:ln>
            </p:spPr>
            <p:txBody>
              <a:bodyPr rtlCol="0" anchor="ctr"/>
              <a:lstStyle/>
              <a:p>
                <a:endParaRPr lang="en-GB" dirty="0"/>
              </a:p>
            </p:txBody>
          </p:sp>
          <p:sp>
            <p:nvSpPr>
              <p:cNvPr id="211" name="Freihandform: Form 997">
                <a:extLst>
                  <a:ext uri="{FF2B5EF4-FFF2-40B4-BE49-F238E27FC236}">
                    <a16:creationId xmlns:a16="http://schemas.microsoft.com/office/drawing/2014/main" id="{7483A2D1-1E86-428C-AA94-11D5BAB633A3}"/>
                  </a:ext>
                </a:extLst>
              </p:cNvPr>
              <p:cNvSpPr/>
              <p:nvPr/>
            </p:nvSpPr>
            <p:spPr>
              <a:xfrm>
                <a:off x="6210331" y="3334786"/>
                <a:ext cx="68071" cy="68009"/>
              </a:xfrm>
              <a:custGeom>
                <a:avLst/>
                <a:gdLst>
                  <a:gd name="connsiteX0" fmla="*/ 24843 w 68071"/>
                  <a:gd name="connsiteY0" fmla="*/ 68009 h 68009"/>
                  <a:gd name="connsiteX1" fmla="*/ 20265 w 68071"/>
                  <a:gd name="connsiteY1" fmla="*/ 66104 h 68009"/>
                  <a:gd name="connsiteX2" fmla="*/ 1905 w 68071"/>
                  <a:gd name="connsiteY2" fmla="*/ 47744 h 68009"/>
                  <a:gd name="connsiteX3" fmla="*/ 0 w 68071"/>
                  <a:gd name="connsiteY3" fmla="*/ 43166 h 68009"/>
                  <a:gd name="connsiteX4" fmla="*/ 1905 w 68071"/>
                  <a:gd name="connsiteY4" fmla="*/ 38589 h 68009"/>
                  <a:gd name="connsiteX5" fmla="*/ 38626 w 68071"/>
                  <a:gd name="connsiteY5" fmla="*/ 1893 h 68009"/>
                  <a:gd name="connsiteX6" fmla="*/ 47806 w 68071"/>
                  <a:gd name="connsiteY6" fmla="*/ 1893 h 68009"/>
                  <a:gd name="connsiteX7" fmla="*/ 66166 w 68071"/>
                  <a:gd name="connsiteY7" fmla="*/ 20253 h 68009"/>
                  <a:gd name="connsiteX8" fmla="*/ 68071 w 68071"/>
                  <a:gd name="connsiteY8" fmla="*/ 24831 h 68009"/>
                  <a:gd name="connsiteX9" fmla="*/ 66166 w 68071"/>
                  <a:gd name="connsiteY9" fmla="*/ 29408 h 68009"/>
                  <a:gd name="connsiteX10" fmla="*/ 29421 w 68071"/>
                  <a:gd name="connsiteY10" fmla="*/ 66129 h 68009"/>
                  <a:gd name="connsiteX11" fmla="*/ 24843 w 68071"/>
                  <a:gd name="connsiteY11" fmla="*/ 68009 h 68009"/>
                  <a:gd name="connsiteX12" fmla="*/ 15663 w 68071"/>
                  <a:gd name="connsiteY12" fmla="*/ 43166 h 68009"/>
                  <a:gd name="connsiteX13" fmla="*/ 24843 w 68071"/>
                  <a:gd name="connsiteY13" fmla="*/ 52346 h 68009"/>
                  <a:gd name="connsiteX14" fmla="*/ 52383 w 68071"/>
                  <a:gd name="connsiteY14" fmla="*/ 24806 h 68009"/>
                  <a:gd name="connsiteX15" fmla="*/ 43203 w 68071"/>
                  <a:gd name="connsiteY15" fmla="*/ 15626 h 68009"/>
                  <a:gd name="connsiteX16" fmla="*/ 15663 w 68071"/>
                  <a:gd name="connsiteY16" fmla="*/ 43166 h 68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071" h="68009">
                    <a:moveTo>
                      <a:pt x="24843" y="68009"/>
                    </a:moveTo>
                    <a:cubicBezTo>
                      <a:pt x="23185" y="68009"/>
                      <a:pt x="21527" y="67366"/>
                      <a:pt x="20265" y="66104"/>
                    </a:cubicBezTo>
                    <a:lnTo>
                      <a:pt x="1905" y="47744"/>
                    </a:lnTo>
                    <a:cubicBezTo>
                      <a:pt x="693" y="46531"/>
                      <a:pt x="0" y="44873"/>
                      <a:pt x="0" y="43166"/>
                    </a:cubicBezTo>
                    <a:cubicBezTo>
                      <a:pt x="0" y="41434"/>
                      <a:pt x="693" y="39801"/>
                      <a:pt x="1905" y="38589"/>
                    </a:cubicBezTo>
                    <a:lnTo>
                      <a:pt x="38626" y="1893"/>
                    </a:lnTo>
                    <a:cubicBezTo>
                      <a:pt x="41150" y="-631"/>
                      <a:pt x="45257" y="-631"/>
                      <a:pt x="47806" y="1893"/>
                    </a:cubicBezTo>
                    <a:lnTo>
                      <a:pt x="66166" y="20253"/>
                    </a:lnTo>
                    <a:cubicBezTo>
                      <a:pt x="67378" y="21466"/>
                      <a:pt x="68071" y="23123"/>
                      <a:pt x="68071" y="24831"/>
                    </a:cubicBezTo>
                    <a:cubicBezTo>
                      <a:pt x="68071" y="26563"/>
                      <a:pt x="67378" y="28196"/>
                      <a:pt x="66166" y="29408"/>
                    </a:cubicBezTo>
                    <a:lnTo>
                      <a:pt x="29421" y="66129"/>
                    </a:lnTo>
                    <a:cubicBezTo>
                      <a:pt x="28159" y="67391"/>
                      <a:pt x="26501" y="68009"/>
                      <a:pt x="24843" y="68009"/>
                    </a:cubicBezTo>
                    <a:close/>
                    <a:moveTo>
                      <a:pt x="15663" y="43166"/>
                    </a:moveTo>
                    <a:lnTo>
                      <a:pt x="24843" y="52346"/>
                    </a:lnTo>
                    <a:lnTo>
                      <a:pt x="52383" y="24806"/>
                    </a:lnTo>
                    <a:lnTo>
                      <a:pt x="43203" y="15626"/>
                    </a:lnTo>
                    <a:lnTo>
                      <a:pt x="15663" y="43166"/>
                    </a:lnTo>
                    <a:close/>
                  </a:path>
                </a:pathLst>
              </a:custGeom>
              <a:grpFill/>
              <a:ln w="2470" cap="flat">
                <a:noFill/>
                <a:prstDash val="solid"/>
                <a:miter/>
              </a:ln>
            </p:spPr>
            <p:txBody>
              <a:bodyPr rtlCol="0" anchor="ctr"/>
              <a:lstStyle/>
              <a:p>
                <a:endParaRPr lang="en-GB" dirty="0"/>
              </a:p>
            </p:txBody>
          </p:sp>
        </p:grpSp>
      </p:grpSp>
      <p:grpSp>
        <p:nvGrpSpPr>
          <p:cNvPr id="220" name="Group 219">
            <a:extLst>
              <a:ext uri="{FF2B5EF4-FFF2-40B4-BE49-F238E27FC236}">
                <a16:creationId xmlns:a16="http://schemas.microsoft.com/office/drawing/2014/main" id="{5C330D67-1E69-413F-978D-FCDA96E3D7CB}"/>
              </a:ext>
            </a:extLst>
          </p:cNvPr>
          <p:cNvGrpSpPr>
            <a:grpSpLocks noChangeAspect="1"/>
          </p:cNvGrpSpPr>
          <p:nvPr/>
        </p:nvGrpSpPr>
        <p:grpSpPr>
          <a:xfrm>
            <a:off x="568877" y="3197065"/>
            <a:ext cx="450356" cy="431991"/>
            <a:chOff x="6957036" y="3275099"/>
            <a:chExt cx="480313" cy="460728"/>
          </a:xfrm>
        </p:grpSpPr>
        <p:grpSp>
          <p:nvGrpSpPr>
            <p:cNvPr id="221" name="Group 220">
              <a:extLst>
                <a:ext uri="{FF2B5EF4-FFF2-40B4-BE49-F238E27FC236}">
                  <a16:creationId xmlns:a16="http://schemas.microsoft.com/office/drawing/2014/main" id="{576C4E3D-0294-478D-BCB9-4CDEE1D37756}"/>
                </a:ext>
              </a:extLst>
            </p:cNvPr>
            <p:cNvGrpSpPr/>
            <p:nvPr/>
          </p:nvGrpSpPr>
          <p:grpSpPr>
            <a:xfrm>
              <a:off x="6957113" y="3275099"/>
              <a:ext cx="480236" cy="259567"/>
              <a:chOff x="6957110" y="3275091"/>
              <a:chExt cx="480235" cy="259566"/>
            </a:xfrm>
          </p:grpSpPr>
          <p:sp>
            <p:nvSpPr>
              <p:cNvPr id="230" name="Freihandform: Form 999">
                <a:extLst>
                  <a:ext uri="{FF2B5EF4-FFF2-40B4-BE49-F238E27FC236}">
                    <a16:creationId xmlns:a16="http://schemas.microsoft.com/office/drawing/2014/main" id="{69111C38-B47E-4335-976A-5C5D89E14755}"/>
                  </a:ext>
                </a:extLst>
              </p:cNvPr>
              <p:cNvSpPr/>
              <p:nvPr/>
            </p:nvSpPr>
            <p:spPr>
              <a:xfrm>
                <a:off x="6957110" y="3288057"/>
                <a:ext cx="480235" cy="246600"/>
              </a:xfrm>
              <a:custGeom>
                <a:avLst/>
                <a:gdLst>
                  <a:gd name="connsiteX0" fmla="*/ 473653 w 480235"/>
                  <a:gd name="connsiteY0" fmla="*/ 246600 h 246600"/>
                  <a:gd name="connsiteX1" fmla="*/ 467170 w 480235"/>
                  <a:gd name="connsiteY1" fmla="*/ 240117 h 246600"/>
                  <a:gd name="connsiteX2" fmla="*/ 434730 w 480235"/>
                  <a:gd name="connsiteY2" fmla="*/ 207678 h 246600"/>
                  <a:gd name="connsiteX3" fmla="*/ 402291 w 480235"/>
                  <a:gd name="connsiteY3" fmla="*/ 240117 h 246600"/>
                  <a:gd name="connsiteX4" fmla="*/ 395808 w 480235"/>
                  <a:gd name="connsiteY4" fmla="*/ 246600 h 246600"/>
                  <a:gd name="connsiteX5" fmla="*/ 389127 w 480235"/>
                  <a:gd name="connsiteY5" fmla="*/ 240117 h 246600"/>
                  <a:gd name="connsiteX6" fmla="*/ 356687 w 480235"/>
                  <a:gd name="connsiteY6" fmla="*/ 207678 h 246600"/>
                  <a:gd name="connsiteX7" fmla="*/ 324322 w 480235"/>
                  <a:gd name="connsiteY7" fmla="*/ 238583 h 246600"/>
                  <a:gd name="connsiteX8" fmla="*/ 317839 w 480235"/>
                  <a:gd name="connsiteY8" fmla="*/ 244769 h 246600"/>
                  <a:gd name="connsiteX9" fmla="*/ 317839 w 480235"/>
                  <a:gd name="connsiteY9" fmla="*/ 244769 h 246600"/>
                  <a:gd name="connsiteX10" fmla="*/ 311356 w 480235"/>
                  <a:gd name="connsiteY10" fmla="*/ 238583 h 246600"/>
                  <a:gd name="connsiteX11" fmla="*/ 278991 w 480235"/>
                  <a:gd name="connsiteY11" fmla="*/ 207678 h 246600"/>
                  <a:gd name="connsiteX12" fmla="*/ 246551 w 480235"/>
                  <a:gd name="connsiteY12" fmla="*/ 240117 h 246600"/>
                  <a:gd name="connsiteX13" fmla="*/ 240068 w 480235"/>
                  <a:gd name="connsiteY13" fmla="*/ 246600 h 246600"/>
                  <a:gd name="connsiteX14" fmla="*/ 233585 w 480235"/>
                  <a:gd name="connsiteY14" fmla="*/ 240117 h 246600"/>
                  <a:gd name="connsiteX15" fmla="*/ 201146 w 480235"/>
                  <a:gd name="connsiteY15" fmla="*/ 207678 h 246600"/>
                  <a:gd name="connsiteX16" fmla="*/ 168706 w 480235"/>
                  <a:gd name="connsiteY16" fmla="*/ 240117 h 246600"/>
                  <a:gd name="connsiteX17" fmla="*/ 162223 w 480235"/>
                  <a:gd name="connsiteY17" fmla="*/ 246600 h 246600"/>
                  <a:gd name="connsiteX18" fmla="*/ 155542 w 480235"/>
                  <a:gd name="connsiteY18" fmla="*/ 240117 h 246600"/>
                  <a:gd name="connsiteX19" fmla="*/ 123102 w 480235"/>
                  <a:gd name="connsiteY19" fmla="*/ 207678 h 246600"/>
                  <a:gd name="connsiteX20" fmla="*/ 90737 w 480235"/>
                  <a:gd name="connsiteY20" fmla="*/ 238583 h 246600"/>
                  <a:gd name="connsiteX21" fmla="*/ 84254 w 480235"/>
                  <a:gd name="connsiteY21" fmla="*/ 244769 h 246600"/>
                  <a:gd name="connsiteX22" fmla="*/ 84254 w 480235"/>
                  <a:gd name="connsiteY22" fmla="*/ 244769 h 246600"/>
                  <a:gd name="connsiteX23" fmla="*/ 77771 w 480235"/>
                  <a:gd name="connsiteY23" fmla="*/ 238583 h 246600"/>
                  <a:gd name="connsiteX24" fmla="*/ 45406 w 480235"/>
                  <a:gd name="connsiteY24" fmla="*/ 207678 h 246600"/>
                  <a:gd name="connsiteX25" fmla="*/ 12966 w 480235"/>
                  <a:gd name="connsiteY25" fmla="*/ 240117 h 246600"/>
                  <a:gd name="connsiteX26" fmla="*/ 6483 w 480235"/>
                  <a:gd name="connsiteY26" fmla="*/ 246600 h 246600"/>
                  <a:gd name="connsiteX27" fmla="*/ 0 w 480235"/>
                  <a:gd name="connsiteY27" fmla="*/ 240117 h 246600"/>
                  <a:gd name="connsiteX28" fmla="*/ 240118 w 480235"/>
                  <a:gd name="connsiteY28" fmla="*/ 0 h 246600"/>
                  <a:gd name="connsiteX29" fmla="*/ 480235 w 480235"/>
                  <a:gd name="connsiteY29" fmla="*/ 240117 h 246600"/>
                  <a:gd name="connsiteX30" fmla="*/ 473653 w 480235"/>
                  <a:gd name="connsiteY30" fmla="*/ 246600 h 246600"/>
                  <a:gd name="connsiteX31" fmla="*/ 395758 w 480235"/>
                  <a:gd name="connsiteY31" fmla="*/ 240117 h 246600"/>
                  <a:gd name="connsiteX32" fmla="*/ 395833 w 480235"/>
                  <a:gd name="connsiteY32" fmla="*/ 240117 h 246600"/>
                  <a:gd name="connsiteX33" fmla="*/ 395758 w 480235"/>
                  <a:gd name="connsiteY33" fmla="*/ 240117 h 246600"/>
                  <a:gd name="connsiteX34" fmla="*/ 356638 w 480235"/>
                  <a:gd name="connsiteY34" fmla="*/ 194687 h 246600"/>
                  <a:gd name="connsiteX35" fmla="*/ 395659 w 480235"/>
                  <a:gd name="connsiteY35" fmla="*/ 216883 h 246600"/>
                  <a:gd name="connsiteX36" fmla="*/ 434681 w 480235"/>
                  <a:gd name="connsiteY36" fmla="*/ 194687 h 246600"/>
                  <a:gd name="connsiteX37" fmla="*/ 464572 w 480235"/>
                  <a:gd name="connsiteY37" fmla="*/ 205921 h 246600"/>
                  <a:gd name="connsiteX38" fmla="*/ 240019 w 480235"/>
                  <a:gd name="connsiteY38" fmla="*/ 12991 h 246600"/>
                  <a:gd name="connsiteX39" fmla="*/ 15465 w 480235"/>
                  <a:gd name="connsiteY39" fmla="*/ 205921 h 246600"/>
                  <a:gd name="connsiteX40" fmla="*/ 45356 w 480235"/>
                  <a:gd name="connsiteY40" fmla="*/ 194687 h 246600"/>
                  <a:gd name="connsiteX41" fmla="*/ 84205 w 480235"/>
                  <a:gd name="connsiteY41" fmla="*/ 216586 h 246600"/>
                  <a:gd name="connsiteX42" fmla="*/ 123053 w 480235"/>
                  <a:gd name="connsiteY42" fmla="*/ 194687 h 246600"/>
                  <a:gd name="connsiteX43" fmla="*/ 162074 w 480235"/>
                  <a:gd name="connsiteY43" fmla="*/ 216883 h 246600"/>
                  <a:gd name="connsiteX44" fmla="*/ 201096 w 480235"/>
                  <a:gd name="connsiteY44" fmla="*/ 194687 h 246600"/>
                  <a:gd name="connsiteX45" fmla="*/ 240043 w 480235"/>
                  <a:gd name="connsiteY45" fmla="*/ 216734 h 246600"/>
                  <a:gd name="connsiteX46" fmla="*/ 278991 w 480235"/>
                  <a:gd name="connsiteY46" fmla="*/ 194687 h 246600"/>
                  <a:gd name="connsiteX47" fmla="*/ 317839 w 480235"/>
                  <a:gd name="connsiteY47" fmla="*/ 216586 h 246600"/>
                  <a:gd name="connsiteX48" fmla="*/ 356638 w 480235"/>
                  <a:gd name="connsiteY48" fmla="*/ 194687 h 24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80235" h="246600">
                    <a:moveTo>
                      <a:pt x="473653" y="246600"/>
                    </a:moveTo>
                    <a:cubicBezTo>
                      <a:pt x="470065" y="246600"/>
                      <a:pt x="467170" y="243705"/>
                      <a:pt x="467170" y="240117"/>
                    </a:cubicBezTo>
                    <a:cubicBezTo>
                      <a:pt x="467170" y="222227"/>
                      <a:pt x="452621" y="207678"/>
                      <a:pt x="434730" y="207678"/>
                    </a:cubicBezTo>
                    <a:cubicBezTo>
                      <a:pt x="416840" y="207678"/>
                      <a:pt x="402291" y="222227"/>
                      <a:pt x="402291" y="240117"/>
                    </a:cubicBezTo>
                    <a:cubicBezTo>
                      <a:pt x="402291" y="243705"/>
                      <a:pt x="399396" y="246600"/>
                      <a:pt x="395808" y="246600"/>
                    </a:cubicBezTo>
                    <a:cubicBezTo>
                      <a:pt x="392220" y="246600"/>
                      <a:pt x="389127" y="243705"/>
                      <a:pt x="389127" y="240117"/>
                    </a:cubicBezTo>
                    <a:cubicBezTo>
                      <a:pt x="389127" y="222227"/>
                      <a:pt x="374577" y="207678"/>
                      <a:pt x="356687" y="207678"/>
                    </a:cubicBezTo>
                    <a:cubicBezTo>
                      <a:pt x="339366" y="207678"/>
                      <a:pt x="325139" y="221262"/>
                      <a:pt x="324322" y="238583"/>
                    </a:cubicBezTo>
                    <a:cubicBezTo>
                      <a:pt x="324149" y="242048"/>
                      <a:pt x="321303" y="244769"/>
                      <a:pt x="317839" y="244769"/>
                    </a:cubicBezTo>
                    <a:lnTo>
                      <a:pt x="317839" y="244769"/>
                    </a:lnTo>
                    <a:cubicBezTo>
                      <a:pt x="314375" y="244769"/>
                      <a:pt x="311529" y="242048"/>
                      <a:pt x="311356" y="238583"/>
                    </a:cubicBezTo>
                    <a:cubicBezTo>
                      <a:pt x="310539" y="221262"/>
                      <a:pt x="296336" y="207678"/>
                      <a:pt x="278991" y="207678"/>
                    </a:cubicBezTo>
                    <a:cubicBezTo>
                      <a:pt x="261101" y="207678"/>
                      <a:pt x="246551" y="222227"/>
                      <a:pt x="246551" y="240117"/>
                    </a:cubicBezTo>
                    <a:cubicBezTo>
                      <a:pt x="246551" y="243705"/>
                      <a:pt x="243656" y="246600"/>
                      <a:pt x="240068" y="246600"/>
                    </a:cubicBezTo>
                    <a:cubicBezTo>
                      <a:pt x="236480" y="246600"/>
                      <a:pt x="233585" y="243705"/>
                      <a:pt x="233585" y="240117"/>
                    </a:cubicBezTo>
                    <a:cubicBezTo>
                      <a:pt x="233585" y="222227"/>
                      <a:pt x="219036" y="207678"/>
                      <a:pt x="201146" y="207678"/>
                    </a:cubicBezTo>
                    <a:cubicBezTo>
                      <a:pt x="183255" y="207678"/>
                      <a:pt x="168706" y="222227"/>
                      <a:pt x="168706" y="240117"/>
                    </a:cubicBezTo>
                    <a:cubicBezTo>
                      <a:pt x="168706" y="243705"/>
                      <a:pt x="165811" y="246600"/>
                      <a:pt x="162223" y="246600"/>
                    </a:cubicBezTo>
                    <a:cubicBezTo>
                      <a:pt x="158635" y="246600"/>
                      <a:pt x="155542" y="243705"/>
                      <a:pt x="155542" y="240117"/>
                    </a:cubicBezTo>
                    <a:cubicBezTo>
                      <a:pt x="155542" y="222227"/>
                      <a:pt x="140992" y="207678"/>
                      <a:pt x="123102" y="207678"/>
                    </a:cubicBezTo>
                    <a:cubicBezTo>
                      <a:pt x="105781" y="207678"/>
                      <a:pt x="91553" y="221262"/>
                      <a:pt x="90737" y="238583"/>
                    </a:cubicBezTo>
                    <a:cubicBezTo>
                      <a:pt x="90564" y="242048"/>
                      <a:pt x="87718" y="244769"/>
                      <a:pt x="84254" y="244769"/>
                    </a:cubicBezTo>
                    <a:lnTo>
                      <a:pt x="84254" y="244769"/>
                    </a:lnTo>
                    <a:cubicBezTo>
                      <a:pt x="80790" y="244769"/>
                      <a:pt x="77944" y="242048"/>
                      <a:pt x="77771" y="238583"/>
                    </a:cubicBezTo>
                    <a:cubicBezTo>
                      <a:pt x="76954" y="221262"/>
                      <a:pt x="62751" y="207678"/>
                      <a:pt x="45406" y="207678"/>
                    </a:cubicBezTo>
                    <a:cubicBezTo>
                      <a:pt x="27516" y="207678"/>
                      <a:pt x="12966" y="222227"/>
                      <a:pt x="12966" y="240117"/>
                    </a:cubicBezTo>
                    <a:cubicBezTo>
                      <a:pt x="12966" y="243705"/>
                      <a:pt x="10071" y="246600"/>
                      <a:pt x="6483" y="246600"/>
                    </a:cubicBezTo>
                    <a:cubicBezTo>
                      <a:pt x="2895" y="246600"/>
                      <a:pt x="0" y="243705"/>
                      <a:pt x="0" y="240117"/>
                    </a:cubicBezTo>
                    <a:cubicBezTo>
                      <a:pt x="0" y="107711"/>
                      <a:pt x="107711" y="0"/>
                      <a:pt x="240118" y="0"/>
                    </a:cubicBezTo>
                    <a:cubicBezTo>
                      <a:pt x="372524" y="0"/>
                      <a:pt x="480235" y="107711"/>
                      <a:pt x="480235" y="240117"/>
                    </a:cubicBezTo>
                    <a:cubicBezTo>
                      <a:pt x="480136" y="243705"/>
                      <a:pt x="477241" y="246600"/>
                      <a:pt x="473653" y="246600"/>
                    </a:cubicBezTo>
                    <a:close/>
                    <a:moveTo>
                      <a:pt x="395758" y="240117"/>
                    </a:moveTo>
                    <a:lnTo>
                      <a:pt x="395833" y="240117"/>
                    </a:lnTo>
                    <a:lnTo>
                      <a:pt x="395758" y="240117"/>
                    </a:lnTo>
                    <a:close/>
                    <a:moveTo>
                      <a:pt x="356638" y="194687"/>
                    </a:moveTo>
                    <a:cubicBezTo>
                      <a:pt x="373192" y="194687"/>
                      <a:pt x="387717" y="203595"/>
                      <a:pt x="395659" y="216883"/>
                    </a:cubicBezTo>
                    <a:cubicBezTo>
                      <a:pt x="403602" y="203595"/>
                      <a:pt x="418127" y="194687"/>
                      <a:pt x="434681" y="194687"/>
                    </a:cubicBezTo>
                    <a:cubicBezTo>
                      <a:pt x="446113" y="194687"/>
                      <a:pt x="456580" y="198943"/>
                      <a:pt x="464572" y="205921"/>
                    </a:cubicBezTo>
                    <a:cubicBezTo>
                      <a:pt x="448043" y="96849"/>
                      <a:pt x="353619" y="12991"/>
                      <a:pt x="240019" y="12991"/>
                    </a:cubicBezTo>
                    <a:cubicBezTo>
                      <a:pt x="126393" y="12991"/>
                      <a:pt x="31994" y="96849"/>
                      <a:pt x="15465" y="205921"/>
                    </a:cubicBezTo>
                    <a:cubicBezTo>
                      <a:pt x="23458" y="198943"/>
                      <a:pt x="33924" y="194687"/>
                      <a:pt x="45356" y="194687"/>
                    </a:cubicBezTo>
                    <a:cubicBezTo>
                      <a:pt x="61811" y="194687"/>
                      <a:pt x="76237" y="203397"/>
                      <a:pt x="84205" y="216586"/>
                    </a:cubicBezTo>
                    <a:cubicBezTo>
                      <a:pt x="92172" y="203422"/>
                      <a:pt x="106598" y="194687"/>
                      <a:pt x="123053" y="194687"/>
                    </a:cubicBezTo>
                    <a:cubicBezTo>
                      <a:pt x="139607" y="194687"/>
                      <a:pt x="154132" y="203595"/>
                      <a:pt x="162074" y="216883"/>
                    </a:cubicBezTo>
                    <a:cubicBezTo>
                      <a:pt x="170017" y="203595"/>
                      <a:pt x="184542" y="194687"/>
                      <a:pt x="201096" y="194687"/>
                    </a:cubicBezTo>
                    <a:cubicBezTo>
                      <a:pt x="217600" y="194687"/>
                      <a:pt x="232076" y="203546"/>
                      <a:pt x="240043" y="216734"/>
                    </a:cubicBezTo>
                    <a:cubicBezTo>
                      <a:pt x="247986" y="203546"/>
                      <a:pt x="262486" y="194687"/>
                      <a:pt x="278991" y="194687"/>
                    </a:cubicBezTo>
                    <a:cubicBezTo>
                      <a:pt x="295446" y="194687"/>
                      <a:pt x="309871" y="203397"/>
                      <a:pt x="317839" y="216586"/>
                    </a:cubicBezTo>
                    <a:cubicBezTo>
                      <a:pt x="325757" y="203397"/>
                      <a:pt x="340208" y="194687"/>
                      <a:pt x="356638" y="194687"/>
                    </a:cubicBezTo>
                    <a:close/>
                  </a:path>
                </a:pathLst>
              </a:custGeom>
              <a:solidFill>
                <a:schemeClr val="tx2"/>
              </a:solidFill>
              <a:ln w="2470" cap="flat">
                <a:noFill/>
                <a:prstDash val="solid"/>
                <a:miter/>
              </a:ln>
            </p:spPr>
            <p:txBody>
              <a:bodyPr rtlCol="0" anchor="ctr"/>
              <a:lstStyle/>
              <a:p>
                <a:endParaRPr lang="en-GB" dirty="0"/>
              </a:p>
            </p:txBody>
          </p:sp>
          <p:sp>
            <p:nvSpPr>
              <p:cNvPr id="231" name="Freihandform: Form 1000">
                <a:extLst>
                  <a:ext uri="{FF2B5EF4-FFF2-40B4-BE49-F238E27FC236}">
                    <a16:creationId xmlns:a16="http://schemas.microsoft.com/office/drawing/2014/main" id="{3FBAE309-8E24-420A-9C1B-22FF4D0A04D7}"/>
                  </a:ext>
                </a:extLst>
              </p:cNvPr>
              <p:cNvSpPr/>
              <p:nvPr/>
            </p:nvSpPr>
            <p:spPr>
              <a:xfrm>
                <a:off x="7190645" y="3275091"/>
                <a:ext cx="12965" cy="25956"/>
              </a:xfrm>
              <a:custGeom>
                <a:avLst/>
                <a:gdLst>
                  <a:gd name="connsiteX0" fmla="*/ 6483 w 12965"/>
                  <a:gd name="connsiteY0" fmla="*/ 25957 h 25956"/>
                  <a:gd name="connsiteX1" fmla="*/ 0 w 12965"/>
                  <a:gd name="connsiteY1" fmla="*/ 19474 h 25956"/>
                  <a:gd name="connsiteX2" fmla="*/ 0 w 12965"/>
                  <a:gd name="connsiteY2" fmla="*/ 6483 h 25956"/>
                  <a:gd name="connsiteX3" fmla="*/ 6483 w 12965"/>
                  <a:gd name="connsiteY3" fmla="*/ 0 h 25956"/>
                  <a:gd name="connsiteX4" fmla="*/ 12966 w 12965"/>
                  <a:gd name="connsiteY4" fmla="*/ 6483 h 25956"/>
                  <a:gd name="connsiteX5" fmla="*/ 12966 w 12965"/>
                  <a:gd name="connsiteY5" fmla="*/ 19474 h 25956"/>
                  <a:gd name="connsiteX6" fmla="*/ 6483 w 12965"/>
                  <a:gd name="connsiteY6" fmla="*/ 25957 h 25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5" h="25956">
                    <a:moveTo>
                      <a:pt x="6483" y="25957"/>
                    </a:moveTo>
                    <a:cubicBezTo>
                      <a:pt x="2895" y="25957"/>
                      <a:pt x="0" y="23061"/>
                      <a:pt x="0" y="19474"/>
                    </a:cubicBezTo>
                    <a:lnTo>
                      <a:pt x="0" y="6483"/>
                    </a:lnTo>
                    <a:cubicBezTo>
                      <a:pt x="0" y="2895"/>
                      <a:pt x="2895" y="0"/>
                      <a:pt x="6483" y="0"/>
                    </a:cubicBezTo>
                    <a:cubicBezTo>
                      <a:pt x="10071" y="0"/>
                      <a:pt x="12966" y="2895"/>
                      <a:pt x="12966" y="6483"/>
                    </a:cubicBezTo>
                    <a:lnTo>
                      <a:pt x="12966" y="19474"/>
                    </a:lnTo>
                    <a:cubicBezTo>
                      <a:pt x="12966" y="23037"/>
                      <a:pt x="10071" y="25957"/>
                      <a:pt x="6483" y="25957"/>
                    </a:cubicBezTo>
                    <a:close/>
                  </a:path>
                </a:pathLst>
              </a:custGeom>
              <a:solidFill>
                <a:schemeClr val="tx2"/>
              </a:solidFill>
              <a:ln w="2470" cap="flat">
                <a:noFill/>
                <a:prstDash val="solid"/>
                <a:miter/>
              </a:ln>
            </p:spPr>
            <p:txBody>
              <a:bodyPr rtlCol="0" anchor="ctr"/>
              <a:lstStyle/>
              <a:p>
                <a:endParaRPr lang="en-GB" dirty="0"/>
              </a:p>
            </p:txBody>
          </p:sp>
        </p:grpSp>
        <p:grpSp>
          <p:nvGrpSpPr>
            <p:cNvPr id="222" name="Group 221">
              <a:extLst>
                <a:ext uri="{FF2B5EF4-FFF2-40B4-BE49-F238E27FC236}">
                  <a16:creationId xmlns:a16="http://schemas.microsoft.com/office/drawing/2014/main" id="{D6097CE8-0CE1-4C20-B192-9EB013F82196}"/>
                </a:ext>
              </a:extLst>
            </p:cNvPr>
            <p:cNvGrpSpPr/>
            <p:nvPr/>
          </p:nvGrpSpPr>
          <p:grpSpPr>
            <a:xfrm>
              <a:off x="6957036" y="3560637"/>
              <a:ext cx="480210" cy="175190"/>
              <a:chOff x="6957036" y="3560638"/>
              <a:chExt cx="480210" cy="175189"/>
            </a:xfrm>
            <a:solidFill>
              <a:schemeClr val="accent1"/>
            </a:solidFill>
          </p:grpSpPr>
          <p:sp>
            <p:nvSpPr>
              <p:cNvPr id="223" name="Freihandform: Form 1001">
                <a:extLst>
                  <a:ext uri="{FF2B5EF4-FFF2-40B4-BE49-F238E27FC236}">
                    <a16:creationId xmlns:a16="http://schemas.microsoft.com/office/drawing/2014/main" id="{BAF79F16-5C3D-46E9-8673-2097F9F7B0A5}"/>
                  </a:ext>
                </a:extLst>
              </p:cNvPr>
              <p:cNvSpPr/>
              <p:nvPr/>
            </p:nvSpPr>
            <p:spPr>
              <a:xfrm>
                <a:off x="6995945" y="3632149"/>
                <a:ext cx="90887" cy="103678"/>
              </a:xfrm>
              <a:custGeom>
                <a:avLst/>
                <a:gdLst>
                  <a:gd name="connsiteX0" fmla="*/ 64917 w 90887"/>
                  <a:gd name="connsiteY0" fmla="*/ 103678 h 103678"/>
                  <a:gd name="connsiteX1" fmla="*/ 58434 w 90887"/>
                  <a:gd name="connsiteY1" fmla="*/ 97195 h 103678"/>
                  <a:gd name="connsiteX2" fmla="*/ 58434 w 90887"/>
                  <a:gd name="connsiteY2" fmla="*/ 58248 h 103678"/>
                  <a:gd name="connsiteX3" fmla="*/ 64917 w 90887"/>
                  <a:gd name="connsiteY3" fmla="*/ 51765 h 103678"/>
                  <a:gd name="connsiteX4" fmla="*/ 71400 w 90887"/>
                  <a:gd name="connsiteY4" fmla="*/ 51765 h 103678"/>
                  <a:gd name="connsiteX5" fmla="*/ 45444 w 90887"/>
                  <a:gd name="connsiteY5" fmla="*/ 17148 h 103678"/>
                  <a:gd name="connsiteX6" fmla="*/ 19487 w 90887"/>
                  <a:gd name="connsiteY6" fmla="*/ 51765 h 103678"/>
                  <a:gd name="connsiteX7" fmla="*/ 25970 w 90887"/>
                  <a:gd name="connsiteY7" fmla="*/ 51765 h 103678"/>
                  <a:gd name="connsiteX8" fmla="*/ 32453 w 90887"/>
                  <a:gd name="connsiteY8" fmla="*/ 58248 h 103678"/>
                  <a:gd name="connsiteX9" fmla="*/ 32453 w 90887"/>
                  <a:gd name="connsiteY9" fmla="*/ 97195 h 103678"/>
                  <a:gd name="connsiteX10" fmla="*/ 25970 w 90887"/>
                  <a:gd name="connsiteY10" fmla="*/ 103678 h 103678"/>
                  <a:gd name="connsiteX11" fmla="*/ 19487 w 90887"/>
                  <a:gd name="connsiteY11" fmla="*/ 97195 h 103678"/>
                  <a:gd name="connsiteX12" fmla="*/ 19487 w 90887"/>
                  <a:gd name="connsiteY12" fmla="*/ 64756 h 103678"/>
                  <a:gd name="connsiteX13" fmla="*/ 6496 w 90887"/>
                  <a:gd name="connsiteY13" fmla="*/ 64756 h 103678"/>
                  <a:gd name="connsiteX14" fmla="*/ 682 w 90887"/>
                  <a:gd name="connsiteY14" fmla="*/ 61168 h 103678"/>
                  <a:gd name="connsiteX15" fmla="*/ 1300 w 90887"/>
                  <a:gd name="connsiteY15" fmla="*/ 54363 h 103678"/>
                  <a:gd name="connsiteX16" fmla="*/ 40247 w 90887"/>
                  <a:gd name="connsiteY16" fmla="*/ 2450 h 103678"/>
                  <a:gd name="connsiteX17" fmla="*/ 50640 w 90887"/>
                  <a:gd name="connsiteY17" fmla="*/ 2450 h 103678"/>
                  <a:gd name="connsiteX18" fmla="*/ 89587 w 90887"/>
                  <a:gd name="connsiteY18" fmla="*/ 54363 h 103678"/>
                  <a:gd name="connsiteX19" fmla="*/ 90206 w 90887"/>
                  <a:gd name="connsiteY19" fmla="*/ 61168 h 103678"/>
                  <a:gd name="connsiteX20" fmla="*/ 84391 w 90887"/>
                  <a:gd name="connsiteY20" fmla="*/ 64756 h 103678"/>
                  <a:gd name="connsiteX21" fmla="*/ 71400 w 90887"/>
                  <a:gd name="connsiteY21" fmla="*/ 64756 h 103678"/>
                  <a:gd name="connsiteX22" fmla="*/ 71400 w 90887"/>
                  <a:gd name="connsiteY22" fmla="*/ 97195 h 103678"/>
                  <a:gd name="connsiteX23" fmla="*/ 64917 w 90887"/>
                  <a:gd name="connsiteY23" fmla="*/ 103678 h 10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0887" h="103678">
                    <a:moveTo>
                      <a:pt x="64917" y="103678"/>
                    </a:moveTo>
                    <a:cubicBezTo>
                      <a:pt x="61330" y="103678"/>
                      <a:pt x="58434" y="100783"/>
                      <a:pt x="58434" y="97195"/>
                    </a:cubicBezTo>
                    <a:lnTo>
                      <a:pt x="58434" y="58248"/>
                    </a:lnTo>
                    <a:cubicBezTo>
                      <a:pt x="58434" y="54660"/>
                      <a:pt x="61330" y="51765"/>
                      <a:pt x="64917" y="51765"/>
                    </a:cubicBezTo>
                    <a:lnTo>
                      <a:pt x="71400" y="51765"/>
                    </a:lnTo>
                    <a:lnTo>
                      <a:pt x="45444" y="17148"/>
                    </a:lnTo>
                    <a:lnTo>
                      <a:pt x="19487" y="51765"/>
                    </a:lnTo>
                    <a:lnTo>
                      <a:pt x="25970" y="51765"/>
                    </a:lnTo>
                    <a:cubicBezTo>
                      <a:pt x="29558" y="51765"/>
                      <a:pt x="32453" y="54660"/>
                      <a:pt x="32453" y="58248"/>
                    </a:cubicBezTo>
                    <a:lnTo>
                      <a:pt x="32453" y="97195"/>
                    </a:lnTo>
                    <a:cubicBezTo>
                      <a:pt x="32453" y="100783"/>
                      <a:pt x="29558" y="103678"/>
                      <a:pt x="25970" y="103678"/>
                    </a:cubicBezTo>
                    <a:cubicBezTo>
                      <a:pt x="22382" y="103678"/>
                      <a:pt x="19487" y="100783"/>
                      <a:pt x="19487" y="97195"/>
                    </a:cubicBezTo>
                    <a:lnTo>
                      <a:pt x="19487" y="64756"/>
                    </a:lnTo>
                    <a:lnTo>
                      <a:pt x="6496" y="64756"/>
                    </a:lnTo>
                    <a:cubicBezTo>
                      <a:pt x="4047" y="64756"/>
                      <a:pt x="1795" y="63370"/>
                      <a:pt x="682" y="61168"/>
                    </a:cubicBezTo>
                    <a:cubicBezTo>
                      <a:pt x="-407" y="58965"/>
                      <a:pt x="-185" y="56342"/>
                      <a:pt x="1300" y="54363"/>
                    </a:cubicBezTo>
                    <a:lnTo>
                      <a:pt x="40247" y="2450"/>
                    </a:lnTo>
                    <a:cubicBezTo>
                      <a:pt x="42697" y="-817"/>
                      <a:pt x="48190" y="-817"/>
                      <a:pt x="50640" y="2450"/>
                    </a:cubicBezTo>
                    <a:lnTo>
                      <a:pt x="89587" y="54363"/>
                    </a:lnTo>
                    <a:cubicBezTo>
                      <a:pt x="91072" y="56318"/>
                      <a:pt x="91295" y="58965"/>
                      <a:pt x="90206" y="61168"/>
                    </a:cubicBezTo>
                    <a:cubicBezTo>
                      <a:pt x="89092" y="63370"/>
                      <a:pt x="86865" y="64756"/>
                      <a:pt x="84391" y="64756"/>
                    </a:cubicBezTo>
                    <a:lnTo>
                      <a:pt x="71400" y="64756"/>
                    </a:lnTo>
                    <a:lnTo>
                      <a:pt x="71400" y="97195"/>
                    </a:lnTo>
                    <a:cubicBezTo>
                      <a:pt x="71400" y="100783"/>
                      <a:pt x="68505" y="103678"/>
                      <a:pt x="64917" y="103678"/>
                    </a:cubicBezTo>
                    <a:close/>
                  </a:path>
                </a:pathLst>
              </a:custGeom>
              <a:solidFill>
                <a:schemeClr val="accent1"/>
              </a:solidFill>
              <a:ln w="2470" cap="flat">
                <a:noFill/>
                <a:prstDash val="solid"/>
                <a:miter/>
              </a:ln>
            </p:spPr>
            <p:txBody>
              <a:bodyPr rtlCol="0" anchor="ctr"/>
              <a:lstStyle/>
              <a:p>
                <a:endParaRPr lang="en-GB" dirty="0"/>
              </a:p>
            </p:txBody>
          </p:sp>
          <p:sp>
            <p:nvSpPr>
              <p:cNvPr id="224" name="Freihandform: Form 1002">
                <a:extLst>
                  <a:ext uri="{FF2B5EF4-FFF2-40B4-BE49-F238E27FC236}">
                    <a16:creationId xmlns:a16="http://schemas.microsoft.com/office/drawing/2014/main" id="{0060FC89-588C-4B21-87BB-BACA9519D1E5}"/>
                  </a:ext>
                </a:extLst>
              </p:cNvPr>
              <p:cNvSpPr/>
              <p:nvPr/>
            </p:nvSpPr>
            <p:spPr>
              <a:xfrm>
                <a:off x="7151685" y="3606193"/>
                <a:ext cx="90887" cy="129634"/>
              </a:xfrm>
              <a:custGeom>
                <a:avLst/>
                <a:gdLst>
                  <a:gd name="connsiteX0" fmla="*/ 64917 w 90887"/>
                  <a:gd name="connsiteY0" fmla="*/ 129635 h 129634"/>
                  <a:gd name="connsiteX1" fmla="*/ 58434 w 90887"/>
                  <a:gd name="connsiteY1" fmla="*/ 123152 h 129634"/>
                  <a:gd name="connsiteX2" fmla="*/ 58434 w 90887"/>
                  <a:gd name="connsiteY2" fmla="*/ 58248 h 129634"/>
                  <a:gd name="connsiteX3" fmla="*/ 64917 w 90887"/>
                  <a:gd name="connsiteY3" fmla="*/ 51765 h 129634"/>
                  <a:gd name="connsiteX4" fmla="*/ 71400 w 90887"/>
                  <a:gd name="connsiteY4" fmla="*/ 51765 h 129634"/>
                  <a:gd name="connsiteX5" fmla="*/ 45444 w 90887"/>
                  <a:gd name="connsiteY5" fmla="*/ 17148 h 129634"/>
                  <a:gd name="connsiteX6" fmla="*/ 19487 w 90887"/>
                  <a:gd name="connsiteY6" fmla="*/ 51765 h 129634"/>
                  <a:gd name="connsiteX7" fmla="*/ 25970 w 90887"/>
                  <a:gd name="connsiteY7" fmla="*/ 51765 h 129634"/>
                  <a:gd name="connsiteX8" fmla="*/ 32453 w 90887"/>
                  <a:gd name="connsiteY8" fmla="*/ 58248 h 129634"/>
                  <a:gd name="connsiteX9" fmla="*/ 32453 w 90887"/>
                  <a:gd name="connsiteY9" fmla="*/ 123152 h 129634"/>
                  <a:gd name="connsiteX10" fmla="*/ 25970 w 90887"/>
                  <a:gd name="connsiteY10" fmla="*/ 129635 h 129634"/>
                  <a:gd name="connsiteX11" fmla="*/ 19487 w 90887"/>
                  <a:gd name="connsiteY11" fmla="*/ 123152 h 129634"/>
                  <a:gd name="connsiteX12" fmla="*/ 19487 w 90887"/>
                  <a:gd name="connsiteY12" fmla="*/ 64756 h 129634"/>
                  <a:gd name="connsiteX13" fmla="*/ 6496 w 90887"/>
                  <a:gd name="connsiteY13" fmla="*/ 64756 h 129634"/>
                  <a:gd name="connsiteX14" fmla="*/ 682 w 90887"/>
                  <a:gd name="connsiteY14" fmla="*/ 61168 h 129634"/>
                  <a:gd name="connsiteX15" fmla="*/ 1300 w 90887"/>
                  <a:gd name="connsiteY15" fmla="*/ 54363 h 129634"/>
                  <a:gd name="connsiteX16" fmla="*/ 40247 w 90887"/>
                  <a:gd name="connsiteY16" fmla="*/ 2450 h 129634"/>
                  <a:gd name="connsiteX17" fmla="*/ 50640 w 90887"/>
                  <a:gd name="connsiteY17" fmla="*/ 2450 h 129634"/>
                  <a:gd name="connsiteX18" fmla="*/ 89587 w 90887"/>
                  <a:gd name="connsiteY18" fmla="*/ 54363 h 129634"/>
                  <a:gd name="connsiteX19" fmla="*/ 90206 w 90887"/>
                  <a:gd name="connsiteY19" fmla="*/ 61168 h 129634"/>
                  <a:gd name="connsiteX20" fmla="*/ 84391 w 90887"/>
                  <a:gd name="connsiteY20" fmla="*/ 64756 h 129634"/>
                  <a:gd name="connsiteX21" fmla="*/ 71400 w 90887"/>
                  <a:gd name="connsiteY21" fmla="*/ 64756 h 129634"/>
                  <a:gd name="connsiteX22" fmla="*/ 71400 w 90887"/>
                  <a:gd name="connsiteY22" fmla="*/ 123152 h 129634"/>
                  <a:gd name="connsiteX23" fmla="*/ 64917 w 90887"/>
                  <a:gd name="connsiteY23" fmla="*/ 129635 h 129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0887" h="129634">
                    <a:moveTo>
                      <a:pt x="64917" y="129635"/>
                    </a:moveTo>
                    <a:cubicBezTo>
                      <a:pt x="61330" y="129635"/>
                      <a:pt x="58434" y="126740"/>
                      <a:pt x="58434" y="123152"/>
                    </a:cubicBezTo>
                    <a:lnTo>
                      <a:pt x="58434" y="58248"/>
                    </a:lnTo>
                    <a:cubicBezTo>
                      <a:pt x="58434" y="54660"/>
                      <a:pt x="61330" y="51765"/>
                      <a:pt x="64917" y="51765"/>
                    </a:cubicBezTo>
                    <a:lnTo>
                      <a:pt x="71400" y="51765"/>
                    </a:lnTo>
                    <a:lnTo>
                      <a:pt x="45444" y="17148"/>
                    </a:lnTo>
                    <a:lnTo>
                      <a:pt x="19487" y="51765"/>
                    </a:lnTo>
                    <a:lnTo>
                      <a:pt x="25970" y="51765"/>
                    </a:lnTo>
                    <a:cubicBezTo>
                      <a:pt x="29558" y="51765"/>
                      <a:pt x="32453" y="54660"/>
                      <a:pt x="32453" y="58248"/>
                    </a:cubicBezTo>
                    <a:lnTo>
                      <a:pt x="32453" y="123152"/>
                    </a:lnTo>
                    <a:cubicBezTo>
                      <a:pt x="32453" y="126740"/>
                      <a:pt x="29558" y="129635"/>
                      <a:pt x="25970" y="129635"/>
                    </a:cubicBezTo>
                    <a:cubicBezTo>
                      <a:pt x="22382" y="129635"/>
                      <a:pt x="19487" y="126740"/>
                      <a:pt x="19487" y="123152"/>
                    </a:cubicBezTo>
                    <a:lnTo>
                      <a:pt x="19487" y="64756"/>
                    </a:lnTo>
                    <a:lnTo>
                      <a:pt x="6496" y="64756"/>
                    </a:lnTo>
                    <a:cubicBezTo>
                      <a:pt x="4047" y="64756"/>
                      <a:pt x="1795" y="63370"/>
                      <a:pt x="682" y="61168"/>
                    </a:cubicBezTo>
                    <a:cubicBezTo>
                      <a:pt x="-407" y="58965"/>
                      <a:pt x="-185" y="56342"/>
                      <a:pt x="1300" y="54363"/>
                    </a:cubicBezTo>
                    <a:lnTo>
                      <a:pt x="40247" y="2450"/>
                    </a:lnTo>
                    <a:cubicBezTo>
                      <a:pt x="42697" y="-817"/>
                      <a:pt x="48190" y="-817"/>
                      <a:pt x="50640" y="2450"/>
                    </a:cubicBezTo>
                    <a:lnTo>
                      <a:pt x="89587" y="54363"/>
                    </a:lnTo>
                    <a:cubicBezTo>
                      <a:pt x="91072" y="56318"/>
                      <a:pt x="91295" y="58965"/>
                      <a:pt x="90206" y="61168"/>
                    </a:cubicBezTo>
                    <a:cubicBezTo>
                      <a:pt x="89092" y="63370"/>
                      <a:pt x="86865" y="64756"/>
                      <a:pt x="84391" y="64756"/>
                    </a:cubicBezTo>
                    <a:lnTo>
                      <a:pt x="71400" y="64756"/>
                    </a:lnTo>
                    <a:lnTo>
                      <a:pt x="71400" y="123152"/>
                    </a:lnTo>
                    <a:cubicBezTo>
                      <a:pt x="71400" y="126740"/>
                      <a:pt x="68505" y="129635"/>
                      <a:pt x="64917" y="129635"/>
                    </a:cubicBezTo>
                    <a:close/>
                  </a:path>
                </a:pathLst>
              </a:custGeom>
              <a:solidFill>
                <a:schemeClr val="accent1"/>
              </a:solidFill>
              <a:ln w="2470" cap="flat">
                <a:noFill/>
                <a:prstDash val="solid"/>
                <a:miter/>
              </a:ln>
            </p:spPr>
            <p:txBody>
              <a:bodyPr rtlCol="0" anchor="ctr"/>
              <a:lstStyle/>
              <a:p>
                <a:endParaRPr lang="en-GB" dirty="0"/>
              </a:p>
            </p:txBody>
          </p:sp>
          <p:sp>
            <p:nvSpPr>
              <p:cNvPr id="225" name="Freihandform: Form 1003">
                <a:extLst>
                  <a:ext uri="{FF2B5EF4-FFF2-40B4-BE49-F238E27FC236}">
                    <a16:creationId xmlns:a16="http://schemas.microsoft.com/office/drawing/2014/main" id="{6D867610-7550-495D-B7C6-913A2621BB6F}"/>
                  </a:ext>
                </a:extLst>
              </p:cNvPr>
              <p:cNvSpPr/>
              <p:nvPr/>
            </p:nvSpPr>
            <p:spPr>
              <a:xfrm>
                <a:off x="7307425" y="3573728"/>
                <a:ext cx="90887" cy="162099"/>
              </a:xfrm>
              <a:custGeom>
                <a:avLst/>
                <a:gdLst>
                  <a:gd name="connsiteX0" fmla="*/ 64917 w 90887"/>
                  <a:gd name="connsiteY0" fmla="*/ 162099 h 162099"/>
                  <a:gd name="connsiteX1" fmla="*/ 58434 w 90887"/>
                  <a:gd name="connsiteY1" fmla="*/ 155616 h 162099"/>
                  <a:gd name="connsiteX2" fmla="*/ 58434 w 90887"/>
                  <a:gd name="connsiteY2" fmla="*/ 58273 h 162099"/>
                  <a:gd name="connsiteX3" fmla="*/ 64917 w 90887"/>
                  <a:gd name="connsiteY3" fmla="*/ 51790 h 162099"/>
                  <a:gd name="connsiteX4" fmla="*/ 71400 w 90887"/>
                  <a:gd name="connsiteY4" fmla="*/ 51790 h 162099"/>
                  <a:gd name="connsiteX5" fmla="*/ 45444 w 90887"/>
                  <a:gd name="connsiteY5" fmla="*/ 17173 h 162099"/>
                  <a:gd name="connsiteX6" fmla="*/ 19487 w 90887"/>
                  <a:gd name="connsiteY6" fmla="*/ 51790 h 162099"/>
                  <a:gd name="connsiteX7" fmla="*/ 25970 w 90887"/>
                  <a:gd name="connsiteY7" fmla="*/ 51790 h 162099"/>
                  <a:gd name="connsiteX8" fmla="*/ 32453 w 90887"/>
                  <a:gd name="connsiteY8" fmla="*/ 58273 h 162099"/>
                  <a:gd name="connsiteX9" fmla="*/ 32453 w 90887"/>
                  <a:gd name="connsiteY9" fmla="*/ 155616 h 162099"/>
                  <a:gd name="connsiteX10" fmla="*/ 25970 w 90887"/>
                  <a:gd name="connsiteY10" fmla="*/ 162099 h 162099"/>
                  <a:gd name="connsiteX11" fmla="*/ 19487 w 90887"/>
                  <a:gd name="connsiteY11" fmla="*/ 155616 h 162099"/>
                  <a:gd name="connsiteX12" fmla="*/ 19487 w 90887"/>
                  <a:gd name="connsiteY12" fmla="*/ 64756 h 162099"/>
                  <a:gd name="connsiteX13" fmla="*/ 6496 w 90887"/>
                  <a:gd name="connsiteY13" fmla="*/ 64756 h 162099"/>
                  <a:gd name="connsiteX14" fmla="*/ 682 w 90887"/>
                  <a:gd name="connsiteY14" fmla="*/ 61168 h 162099"/>
                  <a:gd name="connsiteX15" fmla="*/ 1300 w 90887"/>
                  <a:gd name="connsiteY15" fmla="*/ 54363 h 162099"/>
                  <a:gd name="connsiteX16" fmla="*/ 40247 w 90887"/>
                  <a:gd name="connsiteY16" fmla="*/ 2450 h 162099"/>
                  <a:gd name="connsiteX17" fmla="*/ 50640 w 90887"/>
                  <a:gd name="connsiteY17" fmla="*/ 2450 h 162099"/>
                  <a:gd name="connsiteX18" fmla="*/ 89587 w 90887"/>
                  <a:gd name="connsiteY18" fmla="*/ 54363 h 162099"/>
                  <a:gd name="connsiteX19" fmla="*/ 90206 w 90887"/>
                  <a:gd name="connsiteY19" fmla="*/ 61168 h 162099"/>
                  <a:gd name="connsiteX20" fmla="*/ 84391 w 90887"/>
                  <a:gd name="connsiteY20" fmla="*/ 64756 h 162099"/>
                  <a:gd name="connsiteX21" fmla="*/ 71400 w 90887"/>
                  <a:gd name="connsiteY21" fmla="*/ 64756 h 162099"/>
                  <a:gd name="connsiteX22" fmla="*/ 71400 w 90887"/>
                  <a:gd name="connsiteY22" fmla="*/ 155616 h 162099"/>
                  <a:gd name="connsiteX23" fmla="*/ 64917 w 90887"/>
                  <a:gd name="connsiteY23" fmla="*/ 162099 h 16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0887" h="162099">
                    <a:moveTo>
                      <a:pt x="64917" y="162099"/>
                    </a:moveTo>
                    <a:cubicBezTo>
                      <a:pt x="61330" y="162099"/>
                      <a:pt x="58434" y="159204"/>
                      <a:pt x="58434" y="155616"/>
                    </a:cubicBezTo>
                    <a:lnTo>
                      <a:pt x="58434" y="58273"/>
                    </a:lnTo>
                    <a:cubicBezTo>
                      <a:pt x="58434" y="54685"/>
                      <a:pt x="61330" y="51790"/>
                      <a:pt x="64917" y="51790"/>
                    </a:cubicBezTo>
                    <a:lnTo>
                      <a:pt x="71400" y="51790"/>
                    </a:lnTo>
                    <a:lnTo>
                      <a:pt x="45444" y="17173"/>
                    </a:lnTo>
                    <a:lnTo>
                      <a:pt x="19487" y="51790"/>
                    </a:lnTo>
                    <a:lnTo>
                      <a:pt x="25970" y="51790"/>
                    </a:lnTo>
                    <a:cubicBezTo>
                      <a:pt x="29558" y="51790"/>
                      <a:pt x="32453" y="54685"/>
                      <a:pt x="32453" y="58273"/>
                    </a:cubicBezTo>
                    <a:lnTo>
                      <a:pt x="32453" y="155616"/>
                    </a:lnTo>
                    <a:cubicBezTo>
                      <a:pt x="32453" y="159204"/>
                      <a:pt x="29558" y="162099"/>
                      <a:pt x="25970" y="162099"/>
                    </a:cubicBezTo>
                    <a:cubicBezTo>
                      <a:pt x="22382" y="162099"/>
                      <a:pt x="19487" y="159204"/>
                      <a:pt x="19487" y="155616"/>
                    </a:cubicBezTo>
                    <a:lnTo>
                      <a:pt x="19487" y="64756"/>
                    </a:lnTo>
                    <a:lnTo>
                      <a:pt x="6496" y="64756"/>
                    </a:lnTo>
                    <a:cubicBezTo>
                      <a:pt x="4047" y="64756"/>
                      <a:pt x="1795" y="63370"/>
                      <a:pt x="682" y="61168"/>
                    </a:cubicBezTo>
                    <a:cubicBezTo>
                      <a:pt x="-407" y="58965"/>
                      <a:pt x="-185" y="56342"/>
                      <a:pt x="1300" y="54363"/>
                    </a:cubicBezTo>
                    <a:lnTo>
                      <a:pt x="40247" y="2450"/>
                    </a:lnTo>
                    <a:cubicBezTo>
                      <a:pt x="42697" y="-817"/>
                      <a:pt x="48190" y="-817"/>
                      <a:pt x="50640" y="2450"/>
                    </a:cubicBezTo>
                    <a:lnTo>
                      <a:pt x="89587" y="54363"/>
                    </a:lnTo>
                    <a:cubicBezTo>
                      <a:pt x="91072" y="56318"/>
                      <a:pt x="91295" y="58965"/>
                      <a:pt x="90206" y="61168"/>
                    </a:cubicBezTo>
                    <a:cubicBezTo>
                      <a:pt x="89092" y="63370"/>
                      <a:pt x="86865" y="64756"/>
                      <a:pt x="84391" y="64756"/>
                    </a:cubicBezTo>
                    <a:lnTo>
                      <a:pt x="71400" y="64756"/>
                    </a:lnTo>
                    <a:lnTo>
                      <a:pt x="71400" y="155616"/>
                    </a:lnTo>
                    <a:cubicBezTo>
                      <a:pt x="71425" y="159204"/>
                      <a:pt x="68505" y="162099"/>
                      <a:pt x="64917" y="162099"/>
                    </a:cubicBezTo>
                    <a:close/>
                  </a:path>
                </a:pathLst>
              </a:custGeom>
              <a:solidFill>
                <a:schemeClr val="accent1"/>
              </a:solidFill>
              <a:ln w="2470" cap="flat">
                <a:noFill/>
                <a:prstDash val="solid"/>
                <a:miter/>
              </a:ln>
            </p:spPr>
            <p:txBody>
              <a:bodyPr rtlCol="0" anchor="ctr"/>
              <a:lstStyle/>
              <a:p>
                <a:endParaRPr lang="en-GB" dirty="0"/>
              </a:p>
            </p:txBody>
          </p:sp>
          <p:sp>
            <p:nvSpPr>
              <p:cNvPr id="226" name="Freihandform: Form 1004">
                <a:extLst>
                  <a:ext uri="{FF2B5EF4-FFF2-40B4-BE49-F238E27FC236}">
                    <a16:creationId xmlns:a16="http://schemas.microsoft.com/office/drawing/2014/main" id="{270381D4-A945-43EA-9CA3-07E277E740EF}"/>
                  </a:ext>
                </a:extLst>
              </p:cNvPr>
              <p:cNvSpPr/>
              <p:nvPr/>
            </p:nvSpPr>
            <p:spPr>
              <a:xfrm>
                <a:off x="7112775" y="3560638"/>
                <a:ext cx="12965" cy="19448"/>
              </a:xfrm>
              <a:custGeom>
                <a:avLst/>
                <a:gdLst>
                  <a:gd name="connsiteX0" fmla="*/ 6483 w 12965"/>
                  <a:gd name="connsiteY0" fmla="*/ 19449 h 19448"/>
                  <a:gd name="connsiteX1" fmla="*/ 0 w 12965"/>
                  <a:gd name="connsiteY1" fmla="*/ 12966 h 19448"/>
                  <a:gd name="connsiteX2" fmla="*/ 0 w 12965"/>
                  <a:gd name="connsiteY2" fmla="*/ 6483 h 19448"/>
                  <a:gd name="connsiteX3" fmla="*/ 6483 w 12965"/>
                  <a:gd name="connsiteY3" fmla="*/ 0 h 19448"/>
                  <a:gd name="connsiteX4" fmla="*/ 12966 w 12965"/>
                  <a:gd name="connsiteY4" fmla="*/ 6483 h 19448"/>
                  <a:gd name="connsiteX5" fmla="*/ 12966 w 12965"/>
                  <a:gd name="connsiteY5" fmla="*/ 12966 h 19448"/>
                  <a:gd name="connsiteX6" fmla="*/ 6483 w 12965"/>
                  <a:gd name="connsiteY6" fmla="*/ 19449 h 1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5" h="19448">
                    <a:moveTo>
                      <a:pt x="6483" y="19449"/>
                    </a:moveTo>
                    <a:cubicBezTo>
                      <a:pt x="2895" y="19449"/>
                      <a:pt x="0" y="16554"/>
                      <a:pt x="0" y="12966"/>
                    </a:cubicBezTo>
                    <a:lnTo>
                      <a:pt x="0" y="6483"/>
                    </a:lnTo>
                    <a:cubicBezTo>
                      <a:pt x="0" y="2895"/>
                      <a:pt x="2895" y="0"/>
                      <a:pt x="6483" y="0"/>
                    </a:cubicBezTo>
                    <a:cubicBezTo>
                      <a:pt x="10071" y="0"/>
                      <a:pt x="12966" y="2895"/>
                      <a:pt x="12966" y="6483"/>
                    </a:cubicBezTo>
                    <a:lnTo>
                      <a:pt x="12966" y="12966"/>
                    </a:lnTo>
                    <a:cubicBezTo>
                      <a:pt x="12966" y="16529"/>
                      <a:pt x="10071" y="19449"/>
                      <a:pt x="6483" y="19449"/>
                    </a:cubicBezTo>
                    <a:close/>
                  </a:path>
                </a:pathLst>
              </a:custGeom>
              <a:solidFill>
                <a:schemeClr val="accent1"/>
              </a:solidFill>
              <a:ln w="2470" cap="flat">
                <a:noFill/>
                <a:prstDash val="solid"/>
                <a:miter/>
              </a:ln>
            </p:spPr>
            <p:txBody>
              <a:bodyPr rtlCol="0" anchor="ctr"/>
              <a:lstStyle/>
              <a:p>
                <a:endParaRPr lang="en-GB" dirty="0"/>
              </a:p>
            </p:txBody>
          </p:sp>
          <p:sp>
            <p:nvSpPr>
              <p:cNvPr id="227" name="Freihandform: Form 1005">
                <a:extLst>
                  <a:ext uri="{FF2B5EF4-FFF2-40B4-BE49-F238E27FC236}">
                    <a16:creationId xmlns:a16="http://schemas.microsoft.com/office/drawing/2014/main" id="{4EF7AD03-5913-400D-9166-5A63B3166FDC}"/>
                  </a:ext>
                </a:extLst>
              </p:cNvPr>
              <p:cNvSpPr/>
              <p:nvPr/>
            </p:nvSpPr>
            <p:spPr>
              <a:xfrm>
                <a:off x="7268515" y="3560638"/>
                <a:ext cx="12966" cy="19448"/>
              </a:xfrm>
              <a:custGeom>
                <a:avLst/>
                <a:gdLst>
                  <a:gd name="connsiteX0" fmla="*/ 6483 w 12966"/>
                  <a:gd name="connsiteY0" fmla="*/ 19449 h 19448"/>
                  <a:gd name="connsiteX1" fmla="*/ 0 w 12966"/>
                  <a:gd name="connsiteY1" fmla="*/ 12966 h 19448"/>
                  <a:gd name="connsiteX2" fmla="*/ 0 w 12966"/>
                  <a:gd name="connsiteY2" fmla="*/ 6483 h 19448"/>
                  <a:gd name="connsiteX3" fmla="*/ 6483 w 12966"/>
                  <a:gd name="connsiteY3" fmla="*/ 0 h 19448"/>
                  <a:gd name="connsiteX4" fmla="*/ 12966 w 12966"/>
                  <a:gd name="connsiteY4" fmla="*/ 6483 h 19448"/>
                  <a:gd name="connsiteX5" fmla="*/ 12966 w 12966"/>
                  <a:gd name="connsiteY5" fmla="*/ 12966 h 19448"/>
                  <a:gd name="connsiteX6" fmla="*/ 6483 w 12966"/>
                  <a:gd name="connsiteY6" fmla="*/ 19449 h 1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6" h="19448">
                    <a:moveTo>
                      <a:pt x="6483" y="19449"/>
                    </a:moveTo>
                    <a:cubicBezTo>
                      <a:pt x="2895" y="19449"/>
                      <a:pt x="0" y="16554"/>
                      <a:pt x="0" y="12966"/>
                    </a:cubicBezTo>
                    <a:lnTo>
                      <a:pt x="0" y="6483"/>
                    </a:lnTo>
                    <a:cubicBezTo>
                      <a:pt x="0" y="2895"/>
                      <a:pt x="2895" y="0"/>
                      <a:pt x="6483" y="0"/>
                    </a:cubicBezTo>
                    <a:cubicBezTo>
                      <a:pt x="10071" y="0"/>
                      <a:pt x="12966" y="2895"/>
                      <a:pt x="12966" y="6483"/>
                    </a:cubicBezTo>
                    <a:lnTo>
                      <a:pt x="12966" y="12966"/>
                    </a:lnTo>
                    <a:cubicBezTo>
                      <a:pt x="12991" y="16529"/>
                      <a:pt x="10071" y="19449"/>
                      <a:pt x="6483" y="19449"/>
                    </a:cubicBezTo>
                    <a:close/>
                  </a:path>
                </a:pathLst>
              </a:custGeom>
              <a:solidFill>
                <a:schemeClr val="accent1"/>
              </a:solidFill>
              <a:ln w="2470" cap="flat">
                <a:noFill/>
                <a:prstDash val="solid"/>
                <a:miter/>
              </a:ln>
            </p:spPr>
            <p:txBody>
              <a:bodyPr rtlCol="0" anchor="ctr"/>
              <a:lstStyle/>
              <a:p>
                <a:endParaRPr lang="en-GB" dirty="0"/>
              </a:p>
            </p:txBody>
          </p:sp>
          <p:sp>
            <p:nvSpPr>
              <p:cNvPr id="228" name="Freihandform: Form 1006">
                <a:extLst>
                  <a:ext uri="{FF2B5EF4-FFF2-40B4-BE49-F238E27FC236}">
                    <a16:creationId xmlns:a16="http://schemas.microsoft.com/office/drawing/2014/main" id="{C089C322-3B0B-408E-A1C4-A60B413C9466}"/>
                  </a:ext>
                </a:extLst>
              </p:cNvPr>
              <p:cNvSpPr/>
              <p:nvPr/>
            </p:nvSpPr>
            <p:spPr>
              <a:xfrm>
                <a:off x="7424280" y="3560638"/>
                <a:ext cx="12966" cy="19448"/>
              </a:xfrm>
              <a:custGeom>
                <a:avLst/>
                <a:gdLst>
                  <a:gd name="connsiteX0" fmla="*/ 6483 w 12966"/>
                  <a:gd name="connsiteY0" fmla="*/ 19449 h 19448"/>
                  <a:gd name="connsiteX1" fmla="*/ 0 w 12966"/>
                  <a:gd name="connsiteY1" fmla="*/ 12966 h 19448"/>
                  <a:gd name="connsiteX2" fmla="*/ 0 w 12966"/>
                  <a:gd name="connsiteY2" fmla="*/ 6483 h 19448"/>
                  <a:gd name="connsiteX3" fmla="*/ 6483 w 12966"/>
                  <a:gd name="connsiteY3" fmla="*/ 0 h 19448"/>
                  <a:gd name="connsiteX4" fmla="*/ 12966 w 12966"/>
                  <a:gd name="connsiteY4" fmla="*/ 6483 h 19448"/>
                  <a:gd name="connsiteX5" fmla="*/ 12966 w 12966"/>
                  <a:gd name="connsiteY5" fmla="*/ 12966 h 19448"/>
                  <a:gd name="connsiteX6" fmla="*/ 6483 w 12966"/>
                  <a:gd name="connsiteY6" fmla="*/ 19449 h 1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6" h="19448">
                    <a:moveTo>
                      <a:pt x="6483" y="19449"/>
                    </a:moveTo>
                    <a:cubicBezTo>
                      <a:pt x="2895" y="19449"/>
                      <a:pt x="0" y="16554"/>
                      <a:pt x="0" y="12966"/>
                    </a:cubicBezTo>
                    <a:lnTo>
                      <a:pt x="0" y="6483"/>
                    </a:lnTo>
                    <a:cubicBezTo>
                      <a:pt x="0" y="2895"/>
                      <a:pt x="2895" y="0"/>
                      <a:pt x="6483" y="0"/>
                    </a:cubicBezTo>
                    <a:cubicBezTo>
                      <a:pt x="10071" y="0"/>
                      <a:pt x="12966" y="2895"/>
                      <a:pt x="12966" y="6483"/>
                    </a:cubicBezTo>
                    <a:lnTo>
                      <a:pt x="12966" y="12966"/>
                    </a:lnTo>
                    <a:cubicBezTo>
                      <a:pt x="12966" y="16529"/>
                      <a:pt x="10071" y="19449"/>
                      <a:pt x="6483" y="19449"/>
                    </a:cubicBezTo>
                    <a:close/>
                  </a:path>
                </a:pathLst>
              </a:custGeom>
              <a:solidFill>
                <a:schemeClr val="accent1"/>
              </a:solidFill>
              <a:ln w="2470" cap="flat">
                <a:noFill/>
                <a:prstDash val="solid"/>
                <a:miter/>
              </a:ln>
            </p:spPr>
            <p:txBody>
              <a:bodyPr rtlCol="0" anchor="ctr"/>
              <a:lstStyle/>
              <a:p>
                <a:endParaRPr lang="en-GB" dirty="0"/>
              </a:p>
            </p:txBody>
          </p:sp>
          <p:sp>
            <p:nvSpPr>
              <p:cNvPr id="229" name="Freihandform: Form 1007">
                <a:extLst>
                  <a:ext uri="{FF2B5EF4-FFF2-40B4-BE49-F238E27FC236}">
                    <a16:creationId xmlns:a16="http://schemas.microsoft.com/office/drawing/2014/main" id="{3C5ECDEC-2C84-4055-9018-AEAAC2B441D3}"/>
                  </a:ext>
                </a:extLst>
              </p:cNvPr>
              <p:cNvSpPr/>
              <p:nvPr/>
            </p:nvSpPr>
            <p:spPr>
              <a:xfrm>
                <a:off x="6957036" y="3560638"/>
                <a:ext cx="12965" cy="19448"/>
              </a:xfrm>
              <a:custGeom>
                <a:avLst/>
                <a:gdLst>
                  <a:gd name="connsiteX0" fmla="*/ 6483 w 12965"/>
                  <a:gd name="connsiteY0" fmla="*/ 19449 h 19448"/>
                  <a:gd name="connsiteX1" fmla="*/ 0 w 12965"/>
                  <a:gd name="connsiteY1" fmla="*/ 12966 h 19448"/>
                  <a:gd name="connsiteX2" fmla="*/ 0 w 12965"/>
                  <a:gd name="connsiteY2" fmla="*/ 6483 h 19448"/>
                  <a:gd name="connsiteX3" fmla="*/ 6483 w 12965"/>
                  <a:gd name="connsiteY3" fmla="*/ 0 h 19448"/>
                  <a:gd name="connsiteX4" fmla="*/ 12966 w 12965"/>
                  <a:gd name="connsiteY4" fmla="*/ 6483 h 19448"/>
                  <a:gd name="connsiteX5" fmla="*/ 12966 w 12965"/>
                  <a:gd name="connsiteY5" fmla="*/ 12966 h 19448"/>
                  <a:gd name="connsiteX6" fmla="*/ 6483 w 12965"/>
                  <a:gd name="connsiteY6" fmla="*/ 19449 h 194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5" h="19448">
                    <a:moveTo>
                      <a:pt x="6483" y="19449"/>
                    </a:moveTo>
                    <a:cubicBezTo>
                      <a:pt x="2895" y="19449"/>
                      <a:pt x="0" y="16554"/>
                      <a:pt x="0" y="12966"/>
                    </a:cubicBezTo>
                    <a:lnTo>
                      <a:pt x="0" y="6483"/>
                    </a:lnTo>
                    <a:cubicBezTo>
                      <a:pt x="0" y="2895"/>
                      <a:pt x="2895" y="0"/>
                      <a:pt x="6483" y="0"/>
                    </a:cubicBezTo>
                    <a:cubicBezTo>
                      <a:pt x="10071" y="0"/>
                      <a:pt x="12966" y="2895"/>
                      <a:pt x="12966" y="6483"/>
                    </a:cubicBezTo>
                    <a:lnTo>
                      <a:pt x="12966" y="12966"/>
                    </a:lnTo>
                    <a:cubicBezTo>
                      <a:pt x="12966" y="16529"/>
                      <a:pt x="10071" y="19449"/>
                      <a:pt x="6483" y="19449"/>
                    </a:cubicBezTo>
                    <a:close/>
                  </a:path>
                </a:pathLst>
              </a:custGeom>
              <a:solidFill>
                <a:schemeClr val="accent1"/>
              </a:solidFill>
              <a:ln w="2470" cap="flat">
                <a:noFill/>
                <a:prstDash val="solid"/>
                <a:miter/>
              </a:ln>
            </p:spPr>
            <p:txBody>
              <a:bodyPr rtlCol="0" anchor="ctr"/>
              <a:lstStyle/>
              <a:p>
                <a:endParaRPr lang="en-GB" dirty="0"/>
              </a:p>
            </p:txBody>
          </p:sp>
        </p:grpSp>
      </p:grpSp>
      <p:grpSp>
        <p:nvGrpSpPr>
          <p:cNvPr id="29" name="Group 28">
            <a:extLst>
              <a:ext uri="{FF2B5EF4-FFF2-40B4-BE49-F238E27FC236}">
                <a16:creationId xmlns:a16="http://schemas.microsoft.com/office/drawing/2014/main" id="{700BEFF4-94BD-4EFE-D846-76187B0EBCDD}"/>
              </a:ext>
            </a:extLst>
          </p:cNvPr>
          <p:cNvGrpSpPr/>
          <p:nvPr/>
        </p:nvGrpSpPr>
        <p:grpSpPr>
          <a:xfrm>
            <a:off x="1631496" y="3197071"/>
            <a:ext cx="415985" cy="431991"/>
            <a:chOff x="1631496" y="3197071"/>
            <a:chExt cx="415985" cy="431991"/>
          </a:xfrm>
        </p:grpSpPr>
        <p:grpSp>
          <p:nvGrpSpPr>
            <p:cNvPr id="233" name="Grafik 149">
              <a:extLst>
                <a:ext uri="{FF2B5EF4-FFF2-40B4-BE49-F238E27FC236}">
                  <a16:creationId xmlns:a16="http://schemas.microsoft.com/office/drawing/2014/main" id="{51359450-C142-4C25-A981-4AF0A4F4AAB2}"/>
                </a:ext>
              </a:extLst>
            </p:cNvPr>
            <p:cNvGrpSpPr/>
            <p:nvPr/>
          </p:nvGrpSpPr>
          <p:grpSpPr>
            <a:xfrm>
              <a:off x="1631496" y="3285297"/>
              <a:ext cx="415985" cy="343765"/>
              <a:chOff x="3399647" y="4232724"/>
              <a:chExt cx="402444" cy="332577"/>
            </a:xfrm>
            <a:solidFill>
              <a:schemeClr val="tx2"/>
            </a:solidFill>
          </p:grpSpPr>
          <p:grpSp>
            <p:nvGrpSpPr>
              <p:cNvPr id="245" name="Grafik 149">
                <a:extLst>
                  <a:ext uri="{FF2B5EF4-FFF2-40B4-BE49-F238E27FC236}">
                    <a16:creationId xmlns:a16="http://schemas.microsoft.com/office/drawing/2014/main" id="{98D60ACF-A305-41AB-A9C8-DF62FDCBB0A1}"/>
                  </a:ext>
                </a:extLst>
              </p:cNvPr>
              <p:cNvGrpSpPr/>
              <p:nvPr/>
            </p:nvGrpSpPr>
            <p:grpSpPr>
              <a:xfrm>
                <a:off x="3399647" y="4232724"/>
                <a:ext cx="205582" cy="332577"/>
                <a:chOff x="3399647" y="4232724"/>
                <a:chExt cx="205582" cy="332577"/>
              </a:xfrm>
              <a:grpFill/>
            </p:grpSpPr>
            <p:sp>
              <p:nvSpPr>
                <p:cNvPr id="249" name="Freihandform: Form 518">
                  <a:extLst>
                    <a:ext uri="{FF2B5EF4-FFF2-40B4-BE49-F238E27FC236}">
                      <a16:creationId xmlns:a16="http://schemas.microsoft.com/office/drawing/2014/main" id="{F46D6902-7CD9-44FA-9BFE-4B6C93CC3888}"/>
                    </a:ext>
                  </a:extLst>
                </p:cNvPr>
                <p:cNvSpPr/>
                <p:nvPr/>
              </p:nvSpPr>
              <p:spPr>
                <a:xfrm>
                  <a:off x="3399647" y="4232724"/>
                  <a:ext cx="119704" cy="332577"/>
                </a:xfrm>
                <a:custGeom>
                  <a:avLst/>
                  <a:gdLst>
                    <a:gd name="connsiteX0" fmla="*/ 114771 w 119704"/>
                    <a:gd name="connsiteY0" fmla="*/ 332578 h 332577"/>
                    <a:gd name="connsiteX1" fmla="*/ 109838 w 119704"/>
                    <a:gd name="connsiteY1" fmla="*/ 327699 h 332577"/>
                    <a:gd name="connsiteX2" fmla="*/ 109461 w 119704"/>
                    <a:gd name="connsiteY2" fmla="*/ 293329 h 332577"/>
                    <a:gd name="connsiteX3" fmla="*/ 8346 w 119704"/>
                    <a:gd name="connsiteY3" fmla="*/ 171888 h 332577"/>
                    <a:gd name="connsiteX4" fmla="*/ 798 w 119704"/>
                    <a:gd name="connsiteY4" fmla="*/ 91934 h 332577"/>
                    <a:gd name="connsiteX5" fmla="*/ 36704 w 119704"/>
                    <a:gd name="connsiteY5" fmla="*/ 4162 h 332577"/>
                    <a:gd name="connsiteX6" fmla="*/ 50425 w 119704"/>
                    <a:gd name="connsiteY6" fmla="*/ 1547 h 332577"/>
                    <a:gd name="connsiteX7" fmla="*/ 65197 w 119704"/>
                    <a:gd name="connsiteY7" fmla="*/ 44867 h 332577"/>
                    <a:gd name="connsiteX8" fmla="*/ 45492 w 119704"/>
                    <a:gd name="connsiteY8" fmla="*/ 101746 h 332577"/>
                    <a:gd name="connsiteX9" fmla="*/ 64739 w 119704"/>
                    <a:gd name="connsiteY9" fmla="*/ 155579 h 332577"/>
                    <a:gd name="connsiteX10" fmla="*/ 72179 w 119704"/>
                    <a:gd name="connsiteY10" fmla="*/ 167682 h 332577"/>
                    <a:gd name="connsiteX11" fmla="*/ 73743 w 119704"/>
                    <a:gd name="connsiteY11" fmla="*/ 169731 h 332577"/>
                    <a:gd name="connsiteX12" fmla="*/ 86413 w 119704"/>
                    <a:gd name="connsiteY12" fmla="*/ 182077 h 332577"/>
                    <a:gd name="connsiteX13" fmla="*/ 88623 w 119704"/>
                    <a:gd name="connsiteY13" fmla="*/ 188709 h 332577"/>
                    <a:gd name="connsiteX14" fmla="*/ 81992 w 119704"/>
                    <a:gd name="connsiteY14" fmla="*/ 190919 h 332577"/>
                    <a:gd name="connsiteX15" fmla="*/ 65925 w 119704"/>
                    <a:gd name="connsiteY15" fmla="*/ 175797 h 332577"/>
                    <a:gd name="connsiteX16" fmla="*/ 63985 w 119704"/>
                    <a:gd name="connsiteY16" fmla="*/ 173208 h 332577"/>
                    <a:gd name="connsiteX17" fmla="*/ 56329 w 119704"/>
                    <a:gd name="connsiteY17" fmla="*/ 160781 h 332577"/>
                    <a:gd name="connsiteX18" fmla="*/ 35599 w 119704"/>
                    <a:gd name="connsiteY18" fmla="*/ 101746 h 332577"/>
                    <a:gd name="connsiteX19" fmla="*/ 56005 w 119704"/>
                    <a:gd name="connsiteY19" fmla="*/ 41174 h 332577"/>
                    <a:gd name="connsiteX20" fmla="*/ 51207 w 119704"/>
                    <a:gd name="connsiteY20" fmla="*/ 15430 h 332577"/>
                    <a:gd name="connsiteX21" fmla="*/ 44576 w 119704"/>
                    <a:gd name="connsiteY21" fmla="*/ 9904 h 332577"/>
                    <a:gd name="connsiteX22" fmla="*/ 10367 w 119704"/>
                    <a:gd name="connsiteY22" fmla="*/ 94333 h 332577"/>
                    <a:gd name="connsiteX23" fmla="*/ 17969 w 119704"/>
                    <a:gd name="connsiteY23" fmla="*/ 169731 h 332577"/>
                    <a:gd name="connsiteX24" fmla="*/ 117305 w 119704"/>
                    <a:gd name="connsiteY24" fmla="*/ 286886 h 332577"/>
                    <a:gd name="connsiteX25" fmla="*/ 119300 w 119704"/>
                    <a:gd name="connsiteY25" fmla="*/ 290794 h 332577"/>
                    <a:gd name="connsiteX26" fmla="*/ 119704 w 119704"/>
                    <a:gd name="connsiteY26" fmla="*/ 327591 h 332577"/>
                    <a:gd name="connsiteX27" fmla="*/ 114825 w 119704"/>
                    <a:gd name="connsiteY27" fmla="*/ 332578 h 332577"/>
                    <a:gd name="connsiteX28" fmla="*/ 114771 w 119704"/>
                    <a:gd name="connsiteY28" fmla="*/ 332578 h 332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9704" h="332577">
                      <a:moveTo>
                        <a:pt x="114771" y="332578"/>
                      </a:moveTo>
                      <a:cubicBezTo>
                        <a:pt x="112076" y="332578"/>
                        <a:pt x="109865" y="330394"/>
                        <a:pt x="109838" y="327699"/>
                      </a:cubicBezTo>
                      <a:lnTo>
                        <a:pt x="109461" y="293329"/>
                      </a:lnTo>
                      <a:cubicBezTo>
                        <a:pt x="95821" y="282896"/>
                        <a:pt x="19613" y="222782"/>
                        <a:pt x="8346" y="171888"/>
                      </a:cubicBezTo>
                      <a:cubicBezTo>
                        <a:pt x="3412" y="150241"/>
                        <a:pt x="-2087" y="103471"/>
                        <a:pt x="798" y="91934"/>
                      </a:cubicBezTo>
                      <a:cubicBezTo>
                        <a:pt x="959" y="91314"/>
                        <a:pt x="16621" y="29259"/>
                        <a:pt x="36704" y="4162"/>
                      </a:cubicBezTo>
                      <a:cubicBezTo>
                        <a:pt x="39508" y="-124"/>
                        <a:pt x="44980" y="-1283"/>
                        <a:pt x="50425" y="1547"/>
                      </a:cubicBezTo>
                      <a:cubicBezTo>
                        <a:pt x="61073" y="7073"/>
                        <a:pt x="71964" y="27695"/>
                        <a:pt x="65197" y="44867"/>
                      </a:cubicBezTo>
                      <a:cubicBezTo>
                        <a:pt x="60696" y="55676"/>
                        <a:pt x="45654" y="96274"/>
                        <a:pt x="45492" y="101746"/>
                      </a:cubicBezTo>
                      <a:cubicBezTo>
                        <a:pt x="45492" y="124471"/>
                        <a:pt x="49940" y="131695"/>
                        <a:pt x="64739" y="155579"/>
                      </a:cubicBezTo>
                      <a:cubicBezTo>
                        <a:pt x="66977" y="159218"/>
                        <a:pt x="69457" y="163208"/>
                        <a:pt x="72179" y="167682"/>
                      </a:cubicBezTo>
                      <a:lnTo>
                        <a:pt x="73743" y="169731"/>
                      </a:lnTo>
                      <a:cubicBezTo>
                        <a:pt x="77059" y="173828"/>
                        <a:pt x="83286" y="180514"/>
                        <a:pt x="86413" y="182077"/>
                      </a:cubicBezTo>
                      <a:cubicBezTo>
                        <a:pt x="88866" y="183290"/>
                        <a:pt x="89836" y="186256"/>
                        <a:pt x="88623" y="188709"/>
                      </a:cubicBezTo>
                      <a:cubicBezTo>
                        <a:pt x="87410" y="191162"/>
                        <a:pt x="84445" y="192159"/>
                        <a:pt x="81992" y="190919"/>
                      </a:cubicBezTo>
                      <a:cubicBezTo>
                        <a:pt x="75819" y="187819"/>
                        <a:pt x="67516" y="177791"/>
                        <a:pt x="65925" y="175797"/>
                      </a:cubicBezTo>
                      <a:lnTo>
                        <a:pt x="63985" y="173208"/>
                      </a:lnTo>
                      <a:cubicBezTo>
                        <a:pt x="61019" y="168356"/>
                        <a:pt x="58566" y="164394"/>
                        <a:pt x="56329" y="160781"/>
                      </a:cubicBezTo>
                      <a:cubicBezTo>
                        <a:pt x="41260" y="136412"/>
                        <a:pt x="35599" y="127301"/>
                        <a:pt x="35599" y="101746"/>
                      </a:cubicBezTo>
                      <a:cubicBezTo>
                        <a:pt x="35599" y="92796"/>
                        <a:pt x="55817" y="41659"/>
                        <a:pt x="56005" y="41174"/>
                      </a:cubicBezTo>
                      <a:cubicBezTo>
                        <a:pt x="59402" y="32547"/>
                        <a:pt x="56059" y="22007"/>
                        <a:pt x="51207" y="15430"/>
                      </a:cubicBezTo>
                      <a:cubicBezTo>
                        <a:pt x="47999" y="11090"/>
                        <a:pt x="45330" y="9580"/>
                        <a:pt x="44576" y="9904"/>
                      </a:cubicBezTo>
                      <a:cubicBezTo>
                        <a:pt x="28833" y="29798"/>
                        <a:pt x="14546" y="77565"/>
                        <a:pt x="10367" y="94333"/>
                      </a:cubicBezTo>
                      <a:cubicBezTo>
                        <a:pt x="8265" y="102797"/>
                        <a:pt x="12659" y="146467"/>
                        <a:pt x="17969" y="169731"/>
                      </a:cubicBezTo>
                      <a:cubicBezTo>
                        <a:pt x="29291" y="220922"/>
                        <a:pt x="116416" y="286239"/>
                        <a:pt x="117305" y="286886"/>
                      </a:cubicBezTo>
                      <a:cubicBezTo>
                        <a:pt x="118545" y="287802"/>
                        <a:pt x="119273" y="289258"/>
                        <a:pt x="119300" y="290794"/>
                      </a:cubicBezTo>
                      <a:lnTo>
                        <a:pt x="119704" y="327591"/>
                      </a:lnTo>
                      <a:cubicBezTo>
                        <a:pt x="119731" y="330313"/>
                        <a:pt x="117548" y="332551"/>
                        <a:pt x="114825" y="332578"/>
                      </a:cubicBezTo>
                      <a:cubicBezTo>
                        <a:pt x="114825" y="332578"/>
                        <a:pt x="114798" y="332578"/>
                        <a:pt x="114771" y="332578"/>
                      </a:cubicBezTo>
                      <a:close/>
                    </a:path>
                  </a:pathLst>
                </a:custGeom>
                <a:grpFill/>
                <a:ln w="2688" cap="flat">
                  <a:noFill/>
                  <a:prstDash val="solid"/>
                  <a:miter/>
                </a:ln>
              </p:spPr>
              <p:txBody>
                <a:bodyPr rtlCol="0" anchor="ctr"/>
                <a:lstStyle/>
                <a:p>
                  <a:endParaRPr lang="en-GB" dirty="0"/>
                </a:p>
              </p:txBody>
            </p:sp>
            <p:sp>
              <p:nvSpPr>
                <p:cNvPr id="250" name="Freihandform: Form 519">
                  <a:extLst>
                    <a:ext uri="{FF2B5EF4-FFF2-40B4-BE49-F238E27FC236}">
                      <a16:creationId xmlns:a16="http://schemas.microsoft.com/office/drawing/2014/main" id="{FAC51C84-2370-4A72-AA1D-72E219C0A81B}"/>
                    </a:ext>
                  </a:extLst>
                </p:cNvPr>
                <p:cNvSpPr/>
                <p:nvPr/>
              </p:nvSpPr>
              <p:spPr>
                <a:xfrm>
                  <a:off x="3450620" y="4342743"/>
                  <a:ext cx="154609" cy="222154"/>
                </a:xfrm>
                <a:custGeom>
                  <a:avLst/>
                  <a:gdLst>
                    <a:gd name="connsiteX0" fmla="*/ 139062 w 154609"/>
                    <a:gd name="connsiteY0" fmla="*/ 222154 h 222154"/>
                    <a:gd name="connsiteX1" fmla="*/ 139008 w 154609"/>
                    <a:gd name="connsiteY1" fmla="*/ 222154 h 222154"/>
                    <a:gd name="connsiteX2" fmla="*/ 134129 w 154609"/>
                    <a:gd name="connsiteY2" fmla="*/ 217167 h 222154"/>
                    <a:gd name="connsiteX3" fmla="*/ 134533 w 154609"/>
                    <a:gd name="connsiteY3" fmla="*/ 183229 h 222154"/>
                    <a:gd name="connsiteX4" fmla="*/ 135153 w 154609"/>
                    <a:gd name="connsiteY4" fmla="*/ 180883 h 222154"/>
                    <a:gd name="connsiteX5" fmla="*/ 121244 w 154609"/>
                    <a:gd name="connsiteY5" fmla="*/ 99905 h 222154"/>
                    <a:gd name="connsiteX6" fmla="*/ 94287 w 154609"/>
                    <a:gd name="connsiteY6" fmla="*/ 85483 h 222154"/>
                    <a:gd name="connsiteX7" fmla="*/ 64742 w 154609"/>
                    <a:gd name="connsiteY7" fmla="*/ 61060 h 222154"/>
                    <a:gd name="connsiteX8" fmla="*/ 51264 w 154609"/>
                    <a:gd name="connsiteY8" fmla="*/ 43295 h 222154"/>
                    <a:gd name="connsiteX9" fmla="*/ 16193 w 154609"/>
                    <a:gd name="connsiteY9" fmla="*/ 10812 h 222154"/>
                    <a:gd name="connsiteX10" fmla="*/ 20155 w 154609"/>
                    <a:gd name="connsiteY10" fmla="*/ 55399 h 222154"/>
                    <a:gd name="connsiteX11" fmla="*/ 20667 w 154609"/>
                    <a:gd name="connsiteY11" fmla="*/ 56477 h 222154"/>
                    <a:gd name="connsiteX12" fmla="*/ 18322 w 154609"/>
                    <a:gd name="connsiteY12" fmla="*/ 63055 h 222154"/>
                    <a:gd name="connsiteX13" fmla="*/ 11745 w 154609"/>
                    <a:gd name="connsiteY13" fmla="*/ 60710 h 222154"/>
                    <a:gd name="connsiteX14" fmla="*/ 11233 w 154609"/>
                    <a:gd name="connsiteY14" fmla="*/ 59658 h 222154"/>
                    <a:gd name="connsiteX15" fmla="*/ 11152 w 154609"/>
                    <a:gd name="connsiteY15" fmla="*/ 2348 h 222154"/>
                    <a:gd name="connsiteX16" fmla="*/ 59243 w 154609"/>
                    <a:gd name="connsiteY16" fmla="*/ 37446 h 222154"/>
                    <a:gd name="connsiteX17" fmla="*/ 72613 w 154609"/>
                    <a:gd name="connsiteY17" fmla="*/ 55075 h 222154"/>
                    <a:gd name="connsiteX18" fmla="*/ 98492 w 154609"/>
                    <a:gd name="connsiteY18" fmla="*/ 76560 h 222154"/>
                    <a:gd name="connsiteX19" fmla="*/ 126554 w 154609"/>
                    <a:gd name="connsiteY19" fmla="*/ 91602 h 222154"/>
                    <a:gd name="connsiteX20" fmla="*/ 144426 w 154609"/>
                    <a:gd name="connsiteY20" fmla="*/ 184522 h 222154"/>
                    <a:gd name="connsiteX21" fmla="*/ 144022 w 154609"/>
                    <a:gd name="connsiteY21" fmla="*/ 217302 h 222154"/>
                    <a:gd name="connsiteX22" fmla="*/ 139062 w 154609"/>
                    <a:gd name="connsiteY22" fmla="*/ 222154 h 22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4609" h="222154">
                      <a:moveTo>
                        <a:pt x="139062" y="222154"/>
                      </a:moveTo>
                      <a:cubicBezTo>
                        <a:pt x="139035" y="222154"/>
                        <a:pt x="139035" y="222154"/>
                        <a:pt x="139008" y="222154"/>
                      </a:cubicBezTo>
                      <a:cubicBezTo>
                        <a:pt x="136285" y="222128"/>
                        <a:pt x="134102" y="219890"/>
                        <a:pt x="134129" y="217167"/>
                      </a:cubicBezTo>
                      <a:lnTo>
                        <a:pt x="134533" y="183229"/>
                      </a:lnTo>
                      <a:cubicBezTo>
                        <a:pt x="134533" y="182420"/>
                        <a:pt x="134749" y="181611"/>
                        <a:pt x="135153" y="180883"/>
                      </a:cubicBezTo>
                      <a:cubicBezTo>
                        <a:pt x="136339" y="178727"/>
                        <a:pt x="163809" y="127670"/>
                        <a:pt x="121244" y="99905"/>
                      </a:cubicBezTo>
                      <a:cubicBezTo>
                        <a:pt x="109032" y="92357"/>
                        <a:pt x="100864" y="88529"/>
                        <a:pt x="94287" y="85483"/>
                      </a:cubicBezTo>
                      <a:cubicBezTo>
                        <a:pt x="82722" y="80092"/>
                        <a:pt x="76360" y="77126"/>
                        <a:pt x="64742" y="61060"/>
                      </a:cubicBezTo>
                      <a:cubicBezTo>
                        <a:pt x="60294" y="55561"/>
                        <a:pt x="55711" y="49334"/>
                        <a:pt x="51264" y="43295"/>
                      </a:cubicBezTo>
                      <a:cubicBezTo>
                        <a:pt x="38998" y="26663"/>
                        <a:pt x="23741" y="6014"/>
                        <a:pt x="16193" y="10812"/>
                      </a:cubicBezTo>
                      <a:cubicBezTo>
                        <a:pt x="2526" y="18414"/>
                        <a:pt x="14872" y="44320"/>
                        <a:pt x="20155" y="55399"/>
                      </a:cubicBezTo>
                      <a:lnTo>
                        <a:pt x="20667" y="56477"/>
                      </a:lnTo>
                      <a:cubicBezTo>
                        <a:pt x="21827" y="58930"/>
                        <a:pt x="20802" y="61896"/>
                        <a:pt x="18322" y="63055"/>
                      </a:cubicBezTo>
                      <a:cubicBezTo>
                        <a:pt x="15842" y="64214"/>
                        <a:pt x="12904" y="63162"/>
                        <a:pt x="11745" y="60710"/>
                      </a:cubicBezTo>
                      <a:lnTo>
                        <a:pt x="11233" y="59658"/>
                      </a:lnTo>
                      <a:cubicBezTo>
                        <a:pt x="4763" y="46099"/>
                        <a:pt x="-10387" y="14317"/>
                        <a:pt x="11152" y="2348"/>
                      </a:cubicBezTo>
                      <a:cubicBezTo>
                        <a:pt x="26275" y="-7303"/>
                        <a:pt x="42260" y="14452"/>
                        <a:pt x="59243" y="37446"/>
                      </a:cubicBezTo>
                      <a:cubicBezTo>
                        <a:pt x="63610" y="43376"/>
                        <a:pt x="68138" y="49522"/>
                        <a:pt x="72613" y="55075"/>
                      </a:cubicBezTo>
                      <a:cubicBezTo>
                        <a:pt x="82911" y="69282"/>
                        <a:pt x="87467" y="71411"/>
                        <a:pt x="98492" y="76560"/>
                      </a:cubicBezTo>
                      <a:cubicBezTo>
                        <a:pt x="104935" y="79552"/>
                        <a:pt x="113749" y="83677"/>
                        <a:pt x="126554" y="91602"/>
                      </a:cubicBezTo>
                      <a:cubicBezTo>
                        <a:pt x="173055" y="121929"/>
                        <a:pt x="148713" y="175896"/>
                        <a:pt x="144426" y="184522"/>
                      </a:cubicBezTo>
                      <a:lnTo>
                        <a:pt x="144022" y="217302"/>
                      </a:lnTo>
                      <a:cubicBezTo>
                        <a:pt x="143968" y="219971"/>
                        <a:pt x="141758" y="222154"/>
                        <a:pt x="139062" y="222154"/>
                      </a:cubicBezTo>
                      <a:close/>
                    </a:path>
                  </a:pathLst>
                </a:custGeom>
                <a:grpFill/>
                <a:ln w="2688" cap="flat">
                  <a:noFill/>
                  <a:prstDash val="solid"/>
                  <a:miter/>
                </a:ln>
              </p:spPr>
              <p:txBody>
                <a:bodyPr rtlCol="0" anchor="ctr"/>
                <a:lstStyle/>
                <a:p>
                  <a:endParaRPr lang="en-GB" dirty="0"/>
                </a:p>
              </p:txBody>
            </p:sp>
          </p:grpSp>
          <p:grpSp>
            <p:nvGrpSpPr>
              <p:cNvPr id="246" name="Grafik 149">
                <a:extLst>
                  <a:ext uri="{FF2B5EF4-FFF2-40B4-BE49-F238E27FC236}">
                    <a16:creationId xmlns:a16="http://schemas.microsoft.com/office/drawing/2014/main" id="{05609965-031D-413E-BB26-A74EAE60E0F1}"/>
                  </a:ext>
                </a:extLst>
              </p:cNvPr>
              <p:cNvGrpSpPr/>
              <p:nvPr/>
            </p:nvGrpSpPr>
            <p:grpSpPr>
              <a:xfrm>
                <a:off x="3596509" y="4232770"/>
                <a:ext cx="205582" cy="332532"/>
                <a:chOff x="3596509" y="4232770"/>
                <a:chExt cx="205582" cy="332532"/>
              </a:xfrm>
              <a:grpFill/>
            </p:grpSpPr>
            <p:sp>
              <p:nvSpPr>
                <p:cNvPr id="247" name="Freihandform: Form 521">
                  <a:extLst>
                    <a:ext uri="{FF2B5EF4-FFF2-40B4-BE49-F238E27FC236}">
                      <a16:creationId xmlns:a16="http://schemas.microsoft.com/office/drawing/2014/main" id="{F692FDFA-3A2A-4E90-8A26-F0F09162348E}"/>
                    </a:ext>
                  </a:extLst>
                </p:cNvPr>
                <p:cNvSpPr/>
                <p:nvPr/>
              </p:nvSpPr>
              <p:spPr>
                <a:xfrm>
                  <a:off x="3682359" y="4232770"/>
                  <a:ext cx="119731" cy="332532"/>
                </a:xfrm>
                <a:custGeom>
                  <a:avLst/>
                  <a:gdLst>
                    <a:gd name="connsiteX0" fmla="*/ 4934 w 119731"/>
                    <a:gd name="connsiteY0" fmla="*/ 332532 h 332532"/>
                    <a:gd name="connsiteX1" fmla="*/ 4880 w 119731"/>
                    <a:gd name="connsiteY1" fmla="*/ 332532 h 332532"/>
                    <a:gd name="connsiteX2" fmla="*/ 0 w 119731"/>
                    <a:gd name="connsiteY2" fmla="*/ 327545 h 332532"/>
                    <a:gd name="connsiteX3" fmla="*/ 405 w 119731"/>
                    <a:gd name="connsiteY3" fmla="*/ 290749 h 332532"/>
                    <a:gd name="connsiteX4" fmla="*/ 2399 w 119731"/>
                    <a:gd name="connsiteY4" fmla="*/ 286840 h 332532"/>
                    <a:gd name="connsiteX5" fmla="*/ 101736 w 119731"/>
                    <a:gd name="connsiteY5" fmla="*/ 169712 h 332532"/>
                    <a:gd name="connsiteX6" fmla="*/ 109338 w 119731"/>
                    <a:gd name="connsiteY6" fmla="*/ 94287 h 332532"/>
                    <a:gd name="connsiteX7" fmla="*/ 75318 w 119731"/>
                    <a:gd name="connsiteY7" fmla="*/ 10316 h 332532"/>
                    <a:gd name="connsiteX8" fmla="*/ 74914 w 119731"/>
                    <a:gd name="connsiteY8" fmla="*/ 9750 h 332532"/>
                    <a:gd name="connsiteX9" fmla="*/ 68498 w 119731"/>
                    <a:gd name="connsiteY9" fmla="*/ 15357 h 332532"/>
                    <a:gd name="connsiteX10" fmla="*/ 63753 w 119731"/>
                    <a:gd name="connsiteY10" fmla="*/ 41182 h 332532"/>
                    <a:gd name="connsiteX11" fmla="*/ 84133 w 119731"/>
                    <a:gd name="connsiteY11" fmla="*/ 101673 h 332532"/>
                    <a:gd name="connsiteX12" fmla="*/ 63403 w 119731"/>
                    <a:gd name="connsiteY12" fmla="*/ 160709 h 332532"/>
                    <a:gd name="connsiteX13" fmla="*/ 56017 w 119731"/>
                    <a:gd name="connsiteY13" fmla="*/ 172732 h 332532"/>
                    <a:gd name="connsiteX14" fmla="*/ 53887 w 119731"/>
                    <a:gd name="connsiteY14" fmla="*/ 175589 h 332532"/>
                    <a:gd name="connsiteX15" fmla="*/ 37740 w 119731"/>
                    <a:gd name="connsiteY15" fmla="*/ 190847 h 332532"/>
                    <a:gd name="connsiteX16" fmla="*/ 31109 w 119731"/>
                    <a:gd name="connsiteY16" fmla="*/ 188636 h 332532"/>
                    <a:gd name="connsiteX17" fmla="*/ 33319 w 119731"/>
                    <a:gd name="connsiteY17" fmla="*/ 182005 h 332532"/>
                    <a:gd name="connsiteX18" fmla="*/ 46096 w 119731"/>
                    <a:gd name="connsiteY18" fmla="*/ 169524 h 332532"/>
                    <a:gd name="connsiteX19" fmla="*/ 47849 w 119731"/>
                    <a:gd name="connsiteY19" fmla="*/ 167206 h 332532"/>
                    <a:gd name="connsiteX20" fmla="*/ 54992 w 119731"/>
                    <a:gd name="connsiteY20" fmla="*/ 155533 h 332532"/>
                    <a:gd name="connsiteX21" fmla="*/ 74240 w 119731"/>
                    <a:gd name="connsiteY21" fmla="*/ 101700 h 332532"/>
                    <a:gd name="connsiteX22" fmla="*/ 54588 w 119731"/>
                    <a:gd name="connsiteY22" fmla="*/ 44929 h 332532"/>
                    <a:gd name="connsiteX23" fmla="*/ 69306 w 119731"/>
                    <a:gd name="connsiteY23" fmla="*/ 1528 h 332532"/>
                    <a:gd name="connsiteX24" fmla="*/ 83297 w 119731"/>
                    <a:gd name="connsiteY24" fmla="*/ 4521 h 332532"/>
                    <a:gd name="connsiteX25" fmla="*/ 118934 w 119731"/>
                    <a:gd name="connsiteY25" fmla="*/ 91915 h 332532"/>
                    <a:gd name="connsiteX26" fmla="*/ 111386 w 119731"/>
                    <a:gd name="connsiteY26" fmla="*/ 171896 h 332532"/>
                    <a:gd name="connsiteX27" fmla="*/ 10271 w 119731"/>
                    <a:gd name="connsiteY27" fmla="*/ 293310 h 332532"/>
                    <a:gd name="connsiteX28" fmla="*/ 9894 w 119731"/>
                    <a:gd name="connsiteY28" fmla="*/ 327680 h 332532"/>
                    <a:gd name="connsiteX29" fmla="*/ 4934 w 119731"/>
                    <a:gd name="connsiteY29" fmla="*/ 332532 h 33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9731" h="332532">
                      <a:moveTo>
                        <a:pt x="4934" y="332532"/>
                      </a:moveTo>
                      <a:cubicBezTo>
                        <a:pt x="4907" y="332532"/>
                        <a:pt x="4907" y="332532"/>
                        <a:pt x="4880" y="332532"/>
                      </a:cubicBezTo>
                      <a:cubicBezTo>
                        <a:pt x="2157" y="332505"/>
                        <a:pt x="-27" y="330268"/>
                        <a:pt x="0" y="327545"/>
                      </a:cubicBezTo>
                      <a:lnTo>
                        <a:pt x="405" y="290749"/>
                      </a:lnTo>
                      <a:cubicBezTo>
                        <a:pt x="432" y="289213"/>
                        <a:pt x="1160" y="287757"/>
                        <a:pt x="2399" y="286840"/>
                      </a:cubicBezTo>
                      <a:cubicBezTo>
                        <a:pt x="3262" y="286193"/>
                        <a:pt x="90414" y="220850"/>
                        <a:pt x="101736" y="169712"/>
                      </a:cubicBezTo>
                      <a:cubicBezTo>
                        <a:pt x="107046" y="146422"/>
                        <a:pt x="111440" y="102725"/>
                        <a:pt x="109338" y="94287"/>
                      </a:cubicBezTo>
                      <a:cubicBezTo>
                        <a:pt x="105132" y="77520"/>
                        <a:pt x="90845" y="29725"/>
                        <a:pt x="75318" y="10316"/>
                      </a:cubicBezTo>
                      <a:lnTo>
                        <a:pt x="74914" y="9750"/>
                      </a:lnTo>
                      <a:cubicBezTo>
                        <a:pt x="74482" y="9804"/>
                        <a:pt x="71732" y="11017"/>
                        <a:pt x="68498" y="15357"/>
                      </a:cubicBezTo>
                      <a:cubicBezTo>
                        <a:pt x="63645" y="21935"/>
                        <a:pt x="60303" y="32448"/>
                        <a:pt x="63753" y="41182"/>
                      </a:cubicBezTo>
                      <a:cubicBezTo>
                        <a:pt x="63915" y="41586"/>
                        <a:pt x="84133" y="92697"/>
                        <a:pt x="84133" y="101673"/>
                      </a:cubicBezTo>
                      <a:cubicBezTo>
                        <a:pt x="84133" y="127228"/>
                        <a:pt x="78499" y="136340"/>
                        <a:pt x="63403" y="160709"/>
                      </a:cubicBezTo>
                      <a:cubicBezTo>
                        <a:pt x="61166" y="164321"/>
                        <a:pt x="58712" y="168284"/>
                        <a:pt x="56017" y="172732"/>
                      </a:cubicBezTo>
                      <a:lnTo>
                        <a:pt x="53887" y="175589"/>
                      </a:lnTo>
                      <a:cubicBezTo>
                        <a:pt x="52189" y="177692"/>
                        <a:pt x="43913" y="187747"/>
                        <a:pt x="37740" y="190847"/>
                      </a:cubicBezTo>
                      <a:cubicBezTo>
                        <a:pt x="35260" y="192087"/>
                        <a:pt x="32322" y="191089"/>
                        <a:pt x="31109" y="188636"/>
                      </a:cubicBezTo>
                      <a:cubicBezTo>
                        <a:pt x="29895" y="186183"/>
                        <a:pt x="30866" y="183218"/>
                        <a:pt x="33319" y="182005"/>
                      </a:cubicBezTo>
                      <a:cubicBezTo>
                        <a:pt x="36473" y="180442"/>
                        <a:pt x="42673" y="173756"/>
                        <a:pt x="46096" y="169524"/>
                      </a:cubicBezTo>
                      <a:lnTo>
                        <a:pt x="47849" y="167206"/>
                      </a:lnTo>
                      <a:cubicBezTo>
                        <a:pt x="50275" y="163162"/>
                        <a:pt x="52755" y="159173"/>
                        <a:pt x="54992" y="155533"/>
                      </a:cubicBezTo>
                      <a:cubicBezTo>
                        <a:pt x="69765" y="131649"/>
                        <a:pt x="74240" y="124425"/>
                        <a:pt x="74240" y="101700"/>
                      </a:cubicBezTo>
                      <a:cubicBezTo>
                        <a:pt x="74078" y="96228"/>
                        <a:pt x="59197" y="56008"/>
                        <a:pt x="54588" y="44929"/>
                      </a:cubicBezTo>
                      <a:cubicBezTo>
                        <a:pt x="47795" y="27677"/>
                        <a:pt x="58685" y="7055"/>
                        <a:pt x="69306" y="1528"/>
                      </a:cubicBezTo>
                      <a:cubicBezTo>
                        <a:pt x="74752" y="-1302"/>
                        <a:pt x="80224" y="-143"/>
                        <a:pt x="83297" y="4521"/>
                      </a:cubicBezTo>
                      <a:cubicBezTo>
                        <a:pt x="103110" y="29240"/>
                        <a:pt x="118772" y="91295"/>
                        <a:pt x="118934" y="91915"/>
                      </a:cubicBezTo>
                      <a:cubicBezTo>
                        <a:pt x="121819" y="103452"/>
                        <a:pt x="116319" y="150223"/>
                        <a:pt x="111386" y="171896"/>
                      </a:cubicBezTo>
                      <a:cubicBezTo>
                        <a:pt x="100118" y="222764"/>
                        <a:pt x="23911" y="282878"/>
                        <a:pt x="10271" y="293310"/>
                      </a:cubicBezTo>
                      <a:lnTo>
                        <a:pt x="9894" y="327680"/>
                      </a:lnTo>
                      <a:cubicBezTo>
                        <a:pt x="9840" y="330376"/>
                        <a:pt x="7656" y="332532"/>
                        <a:pt x="4934" y="332532"/>
                      </a:cubicBezTo>
                      <a:close/>
                    </a:path>
                  </a:pathLst>
                </a:custGeom>
                <a:grpFill/>
                <a:ln w="2688" cap="flat">
                  <a:noFill/>
                  <a:prstDash val="solid"/>
                  <a:miter/>
                </a:ln>
              </p:spPr>
              <p:txBody>
                <a:bodyPr rtlCol="0" anchor="ctr"/>
                <a:lstStyle/>
                <a:p>
                  <a:endParaRPr lang="en-GB" dirty="0"/>
                </a:p>
              </p:txBody>
            </p:sp>
            <p:sp>
              <p:nvSpPr>
                <p:cNvPr id="248" name="Freihandform: Form 522">
                  <a:extLst>
                    <a:ext uri="{FF2B5EF4-FFF2-40B4-BE49-F238E27FC236}">
                      <a16:creationId xmlns:a16="http://schemas.microsoft.com/office/drawing/2014/main" id="{B2F44604-CF17-4E4A-B67B-E4943BE867F5}"/>
                    </a:ext>
                  </a:extLst>
                </p:cNvPr>
                <p:cNvSpPr/>
                <p:nvPr/>
              </p:nvSpPr>
              <p:spPr>
                <a:xfrm>
                  <a:off x="3596509" y="4342782"/>
                  <a:ext cx="154699" cy="222168"/>
                </a:xfrm>
                <a:custGeom>
                  <a:avLst/>
                  <a:gdLst>
                    <a:gd name="connsiteX0" fmla="*/ 15548 w 154699"/>
                    <a:gd name="connsiteY0" fmla="*/ 222115 h 222168"/>
                    <a:gd name="connsiteX1" fmla="*/ 10614 w 154699"/>
                    <a:gd name="connsiteY1" fmla="*/ 217236 h 222168"/>
                    <a:gd name="connsiteX2" fmla="*/ 10210 w 154699"/>
                    <a:gd name="connsiteY2" fmla="*/ 184456 h 222168"/>
                    <a:gd name="connsiteX3" fmla="*/ 27975 w 154699"/>
                    <a:gd name="connsiteY3" fmla="*/ 91590 h 222168"/>
                    <a:gd name="connsiteX4" fmla="*/ 56145 w 154699"/>
                    <a:gd name="connsiteY4" fmla="*/ 76467 h 222168"/>
                    <a:gd name="connsiteX5" fmla="*/ 81889 w 154699"/>
                    <a:gd name="connsiteY5" fmla="*/ 55198 h 222168"/>
                    <a:gd name="connsiteX6" fmla="*/ 95394 w 154699"/>
                    <a:gd name="connsiteY6" fmla="*/ 37379 h 222168"/>
                    <a:gd name="connsiteX7" fmla="*/ 143754 w 154699"/>
                    <a:gd name="connsiteY7" fmla="*/ 2416 h 222168"/>
                    <a:gd name="connsiteX8" fmla="*/ 143404 w 154699"/>
                    <a:gd name="connsiteY8" fmla="*/ 59565 h 222168"/>
                    <a:gd name="connsiteX9" fmla="*/ 142892 w 154699"/>
                    <a:gd name="connsiteY9" fmla="*/ 60643 h 222168"/>
                    <a:gd name="connsiteX10" fmla="*/ 136314 w 154699"/>
                    <a:gd name="connsiteY10" fmla="*/ 62989 h 222168"/>
                    <a:gd name="connsiteX11" fmla="*/ 133969 w 154699"/>
                    <a:gd name="connsiteY11" fmla="*/ 56411 h 222168"/>
                    <a:gd name="connsiteX12" fmla="*/ 134481 w 154699"/>
                    <a:gd name="connsiteY12" fmla="*/ 55333 h 222168"/>
                    <a:gd name="connsiteX13" fmla="*/ 138687 w 154699"/>
                    <a:gd name="connsiteY13" fmla="*/ 10908 h 222168"/>
                    <a:gd name="connsiteX14" fmla="*/ 103346 w 154699"/>
                    <a:gd name="connsiteY14" fmla="*/ 43283 h 222168"/>
                    <a:gd name="connsiteX15" fmla="*/ 89733 w 154699"/>
                    <a:gd name="connsiteY15" fmla="*/ 61236 h 222168"/>
                    <a:gd name="connsiteX16" fmla="*/ 60323 w 154699"/>
                    <a:gd name="connsiteY16" fmla="*/ 85471 h 222168"/>
                    <a:gd name="connsiteX17" fmla="*/ 33285 w 154699"/>
                    <a:gd name="connsiteY17" fmla="*/ 99973 h 222168"/>
                    <a:gd name="connsiteX18" fmla="*/ 10183 w 154699"/>
                    <a:gd name="connsiteY18" fmla="*/ 150491 h 222168"/>
                    <a:gd name="connsiteX19" fmla="*/ 19456 w 154699"/>
                    <a:gd name="connsiteY19" fmla="*/ 180898 h 222168"/>
                    <a:gd name="connsiteX20" fmla="*/ 20076 w 154699"/>
                    <a:gd name="connsiteY20" fmla="*/ 183243 h 222168"/>
                    <a:gd name="connsiteX21" fmla="*/ 20481 w 154699"/>
                    <a:gd name="connsiteY21" fmla="*/ 217182 h 222168"/>
                    <a:gd name="connsiteX22" fmla="*/ 15602 w 154699"/>
                    <a:gd name="connsiteY22" fmla="*/ 222169 h 222168"/>
                    <a:gd name="connsiteX23" fmla="*/ 15548 w 154699"/>
                    <a:gd name="connsiteY23" fmla="*/ 222115 h 222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4699" h="222168">
                      <a:moveTo>
                        <a:pt x="15548" y="222115"/>
                      </a:moveTo>
                      <a:cubicBezTo>
                        <a:pt x="12852" y="222115"/>
                        <a:pt x="10641" y="219932"/>
                        <a:pt x="10614" y="217236"/>
                      </a:cubicBezTo>
                      <a:lnTo>
                        <a:pt x="10210" y="184456"/>
                      </a:lnTo>
                      <a:cubicBezTo>
                        <a:pt x="5924" y="175830"/>
                        <a:pt x="-18445" y="121862"/>
                        <a:pt x="27975" y="91590"/>
                      </a:cubicBezTo>
                      <a:cubicBezTo>
                        <a:pt x="40887" y="83584"/>
                        <a:pt x="49702" y="79486"/>
                        <a:pt x="56145" y="76467"/>
                      </a:cubicBezTo>
                      <a:cubicBezTo>
                        <a:pt x="67170" y="71318"/>
                        <a:pt x="71753" y="69189"/>
                        <a:pt x="81889" y="55198"/>
                      </a:cubicBezTo>
                      <a:cubicBezTo>
                        <a:pt x="86498" y="49456"/>
                        <a:pt x="91027" y="43310"/>
                        <a:pt x="95394" y="37379"/>
                      </a:cubicBezTo>
                      <a:cubicBezTo>
                        <a:pt x="112377" y="14358"/>
                        <a:pt x="128443" y="-7396"/>
                        <a:pt x="143754" y="2416"/>
                      </a:cubicBezTo>
                      <a:cubicBezTo>
                        <a:pt x="165024" y="14224"/>
                        <a:pt x="149874" y="46006"/>
                        <a:pt x="143404" y="59565"/>
                      </a:cubicBezTo>
                      <a:lnTo>
                        <a:pt x="142892" y="60643"/>
                      </a:lnTo>
                      <a:cubicBezTo>
                        <a:pt x="141733" y="63096"/>
                        <a:pt x="138795" y="64148"/>
                        <a:pt x="136314" y="62989"/>
                      </a:cubicBezTo>
                      <a:cubicBezTo>
                        <a:pt x="133862" y="61829"/>
                        <a:pt x="132810" y="58864"/>
                        <a:pt x="133969" y="56411"/>
                      </a:cubicBezTo>
                      <a:lnTo>
                        <a:pt x="134481" y="55333"/>
                      </a:lnTo>
                      <a:cubicBezTo>
                        <a:pt x="139765" y="44280"/>
                        <a:pt x="152111" y="18375"/>
                        <a:pt x="138687" y="10908"/>
                      </a:cubicBezTo>
                      <a:cubicBezTo>
                        <a:pt x="130896" y="5975"/>
                        <a:pt x="115612" y="26624"/>
                        <a:pt x="103346" y="43283"/>
                      </a:cubicBezTo>
                      <a:cubicBezTo>
                        <a:pt x="98925" y="49294"/>
                        <a:pt x="94343" y="55522"/>
                        <a:pt x="89733" y="61236"/>
                      </a:cubicBezTo>
                      <a:cubicBezTo>
                        <a:pt x="78249" y="77114"/>
                        <a:pt x="71888" y="80079"/>
                        <a:pt x="60323" y="85471"/>
                      </a:cubicBezTo>
                      <a:cubicBezTo>
                        <a:pt x="53772" y="88544"/>
                        <a:pt x="45605" y="92345"/>
                        <a:pt x="33285" y="99973"/>
                      </a:cubicBezTo>
                      <a:cubicBezTo>
                        <a:pt x="15575" y="111538"/>
                        <a:pt x="7757" y="128548"/>
                        <a:pt x="10183" y="150491"/>
                      </a:cubicBezTo>
                      <a:cubicBezTo>
                        <a:pt x="12043" y="167339"/>
                        <a:pt x="19375" y="180736"/>
                        <a:pt x="19456" y="180898"/>
                      </a:cubicBezTo>
                      <a:cubicBezTo>
                        <a:pt x="19861" y="181599"/>
                        <a:pt x="20049" y="182407"/>
                        <a:pt x="20076" y="183243"/>
                      </a:cubicBezTo>
                      <a:lnTo>
                        <a:pt x="20481" y="217182"/>
                      </a:lnTo>
                      <a:cubicBezTo>
                        <a:pt x="20508" y="219905"/>
                        <a:pt x="18324" y="222142"/>
                        <a:pt x="15602" y="222169"/>
                      </a:cubicBezTo>
                      <a:cubicBezTo>
                        <a:pt x="15575" y="222115"/>
                        <a:pt x="15575" y="222115"/>
                        <a:pt x="15548" y="222115"/>
                      </a:cubicBezTo>
                      <a:close/>
                    </a:path>
                  </a:pathLst>
                </a:custGeom>
                <a:grpFill/>
                <a:ln w="2688" cap="flat">
                  <a:noFill/>
                  <a:prstDash val="solid"/>
                  <a:miter/>
                </a:ln>
              </p:spPr>
              <p:txBody>
                <a:bodyPr rtlCol="0" anchor="ctr"/>
                <a:lstStyle/>
                <a:p>
                  <a:endParaRPr lang="en-GB" dirty="0"/>
                </a:p>
              </p:txBody>
            </p:sp>
          </p:grpSp>
        </p:grpSp>
        <p:grpSp>
          <p:nvGrpSpPr>
            <p:cNvPr id="234" name="Grafik 149">
              <a:extLst>
                <a:ext uri="{FF2B5EF4-FFF2-40B4-BE49-F238E27FC236}">
                  <a16:creationId xmlns:a16="http://schemas.microsoft.com/office/drawing/2014/main" id="{DF49D267-6955-4832-9C3F-D3E510BB0B4A}"/>
                </a:ext>
              </a:extLst>
            </p:cNvPr>
            <p:cNvGrpSpPr/>
            <p:nvPr/>
          </p:nvGrpSpPr>
          <p:grpSpPr>
            <a:xfrm>
              <a:off x="1706192" y="3197071"/>
              <a:ext cx="266601" cy="243530"/>
              <a:chOff x="3471907" y="4147362"/>
              <a:chExt cx="257923" cy="235603"/>
            </a:xfrm>
            <a:solidFill>
              <a:schemeClr val="accent1"/>
            </a:solidFill>
          </p:grpSpPr>
          <p:grpSp>
            <p:nvGrpSpPr>
              <p:cNvPr id="235" name="Grafik 149">
                <a:extLst>
                  <a:ext uri="{FF2B5EF4-FFF2-40B4-BE49-F238E27FC236}">
                    <a16:creationId xmlns:a16="http://schemas.microsoft.com/office/drawing/2014/main" id="{B8A65801-3FAB-4611-8E5F-72A2EBCA7B68}"/>
                  </a:ext>
                </a:extLst>
              </p:cNvPr>
              <p:cNvGrpSpPr/>
              <p:nvPr/>
            </p:nvGrpSpPr>
            <p:grpSpPr>
              <a:xfrm>
                <a:off x="3572295" y="4147362"/>
                <a:ext cx="57175" cy="235603"/>
                <a:chOff x="3572295" y="4147362"/>
                <a:chExt cx="57175" cy="235603"/>
              </a:xfrm>
              <a:solidFill>
                <a:schemeClr val="accent1"/>
              </a:solidFill>
            </p:grpSpPr>
            <p:sp>
              <p:nvSpPr>
                <p:cNvPr id="243" name="Freihandform: Form 525">
                  <a:extLst>
                    <a:ext uri="{FF2B5EF4-FFF2-40B4-BE49-F238E27FC236}">
                      <a16:creationId xmlns:a16="http://schemas.microsoft.com/office/drawing/2014/main" id="{B8949B87-91C5-4974-A0F6-9AF34016C901}"/>
                    </a:ext>
                  </a:extLst>
                </p:cNvPr>
                <p:cNvSpPr/>
                <p:nvPr/>
              </p:nvSpPr>
              <p:spPr>
                <a:xfrm>
                  <a:off x="3597365" y="4153670"/>
                  <a:ext cx="9866" cy="229295"/>
                </a:xfrm>
                <a:custGeom>
                  <a:avLst/>
                  <a:gdLst>
                    <a:gd name="connsiteX0" fmla="*/ 4933 w 9866"/>
                    <a:gd name="connsiteY0" fmla="*/ 229295 h 229295"/>
                    <a:gd name="connsiteX1" fmla="*/ 0 w 9866"/>
                    <a:gd name="connsiteY1" fmla="*/ 224362 h 229295"/>
                    <a:gd name="connsiteX2" fmla="*/ 0 w 9866"/>
                    <a:gd name="connsiteY2" fmla="*/ 4933 h 229295"/>
                    <a:gd name="connsiteX3" fmla="*/ 4933 w 9866"/>
                    <a:gd name="connsiteY3" fmla="*/ 0 h 229295"/>
                    <a:gd name="connsiteX4" fmla="*/ 9866 w 9866"/>
                    <a:gd name="connsiteY4" fmla="*/ 4933 h 229295"/>
                    <a:gd name="connsiteX5" fmla="*/ 9866 w 9866"/>
                    <a:gd name="connsiteY5" fmla="*/ 224362 h 229295"/>
                    <a:gd name="connsiteX6" fmla="*/ 4933 w 9866"/>
                    <a:gd name="connsiteY6" fmla="*/ 229295 h 22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66" h="229295">
                      <a:moveTo>
                        <a:pt x="4933" y="229295"/>
                      </a:moveTo>
                      <a:cubicBezTo>
                        <a:pt x="2211" y="229295"/>
                        <a:pt x="0" y="227085"/>
                        <a:pt x="0" y="224362"/>
                      </a:cubicBezTo>
                      <a:lnTo>
                        <a:pt x="0" y="4933"/>
                      </a:lnTo>
                      <a:cubicBezTo>
                        <a:pt x="0" y="2210"/>
                        <a:pt x="2211" y="0"/>
                        <a:pt x="4933" y="0"/>
                      </a:cubicBezTo>
                      <a:cubicBezTo>
                        <a:pt x="7656" y="0"/>
                        <a:pt x="9866" y="2210"/>
                        <a:pt x="9866" y="4933"/>
                      </a:cubicBezTo>
                      <a:lnTo>
                        <a:pt x="9866" y="224362"/>
                      </a:lnTo>
                      <a:cubicBezTo>
                        <a:pt x="9866" y="227085"/>
                        <a:pt x="7656" y="229295"/>
                        <a:pt x="4933" y="229295"/>
                      </a:cubicBezTo>
                      <a:close/>
                    </a:path>
                  </a:pathLst>
                </a:custGeom>
                <a:solidFill>
                  <a:schemeClr val="accent1"/>
                </a:solidFill>
                <a:ln w="2688" cap="flat">
                  <a:noFill/>
                  <a:prstDash val="solid"/>
                  <a:miter/>
                </a:ln>
              </p:spPr>
              <p:txBody>
                <a:bodyPr rtlCol="0" anchor="ctr"/>
                <a:lstStyle/>
                <a:p>
                  <a:endParaRPr lang="en-GB" dirty="0"/>
                </a:p>
              </p:txBody>
            </p:sp>
            <p:sp>
              <p:nvSpPr>
                <p:cNvPr id="244" name="Freihandform: Form 526">
                  <a:extLst>
                    <a:ext uri="{FF2B5EF4-FFF2-40B4-BE49-F238E27FC236}">
                      <a16:creationId xmlns:a16="http://schemas.microsoft.com/office/drawing/2014/main" id="{135DE557-E29C-4725-A674-670C7F78FF0B}"/>
                    </a:ext>
                  </a:extLst>
                </p:cNvPr>
                <p:cNvSpPr/>
                <p:nvPr/>
              </p:nvSpPr>
              <p:spPr>
                <a:xfrm>
                  <a:off x="3572295" y="4147362"/>
                  <a:ext cx="57175" cy="33534"/>
                </a:xfrm>
                <a:custGeom>
                  <a:avLst/>
                  <a:gdLst>
                    <a:gd name="connsiteX0" fmla="*/ 52216 w 57175"/>
                    <a:gd name="connsiteY0" fmla="*/ 33534 h 33534"/>
                    <a:gd name="connsiteX1" fmla="*/ 48711 w 57175"/>
                    <a:gd name="connsiteY1" fmla="*/ 32079 h 33534"/>
                    <a:gd name="connsiteX2" fmla="*/ 28574 w 57175"/>
                    <a:gd name="connsiteY2" fmla="*/ 11942 h 33534"/>
                    <a:gd name="connsiteX3" fmla="*/ 8438 w 57175"/>
                    <a:gd name="connsiteY3" fmla="*/ 32079 h 33534"/>
                    <a:gd name="connsiteX4" fmla="*/ 1456 w 57175"/>
                    <a:gd name="connsiteY4" fmla="*/ 32079 h 33534"/>
                    <a:gd name="connsiteX5" fmla="*/ 1456 w 57175"/>
                    <a:gd name="connsiteY5" fmla="*/ 25097 h 33534"/>
                    <a:gd name="connsiteX6" fmla="*/ 25097 w 57175"/>
                    <a:gd name="connsiteY6" fmla="*/ 1456 h 33534"/>
                    <a:gd name="connsiteX7" fmla="*/ 32079 w 57175"/>
                    <a:gd name="connsiteY7" fmla="*/ 1456 h 33534"/>
                    <a:gd name="connsiteX8" fmla="*/ 55720 w 57175"/>
                    <a:gd name="connsiteY8" fmla="*/ 25097 h 33534"/>
                    <a:gd name="connsiteX9" fmla="*/ 55720 w 57175"/>
                    <a:gd name="connsiteY9" fmla="*/ 32079 h 33534"/>
                    <a:gd name="connsiteX10" fmla="*/ 52216 w 57175"/>
                    <a:gd name="connsiteY10"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175" h="33534">
                      <a:moveTo>
                        <a:pt x="52216" y="33534"/>
                      </a:moveTo>
                      <a:cubicBezTo>
                        <a:pt x="50949" y="33534"/>
                        <a:pt x="49682" y="33049"/>
                        <a:pt x="48711" y="32079"/>
                      </a:cubicBezTo>
                      <a:lnTo>
                        <a:pt x="28574" y="11942"/>
                      </a:lnTo>
                      <a:lnTo>
                        <a:pt x="8438" y="32079"/>
                      </a:lnTo>
                      <a:cubicBezTo>
                        <a:pt x="6497" y="34020"/>
                        <a:pt x="3370" y="34020"/>
                        <a:pt x="1456" y="32079"/>
                      </a:cubicBezTo>
                      <a:cubicBezTo>
                        <a:pt x="-485" y="30138"/>
                        <a:pt x="-485" y="27011"/>
                        <a:pt x="1456" y="25097"/>
                      </a:cubicBezTo>
                      <a:lnTo>
                        <a:pt x="25097" y="1456"/>
                      </a:lnTo>
                      <a:cubicBezTo>
                        <a:pt x="27038" y="-485"/>
                        <a:pt x="30165" y="-485"/>
                        <a:pt x="32079" y="1456"/>
                      </a:cubicBezTo>
                      <a:lnTo>
                        <a:pt x="55720" y="25097"/>
                      </a:lnTo>
                      <a:cubicBezTo>
                        <a:pt x="57661" y="27038"/>
                        <a:pt x="57661" y="30165"/>
                        <a:pt x="55720" y="32079"/>
                      </a:cubicBezTo>
                      <a:cubicBezTo>
                        <a:pt x="54749" y="33049"/>
                        <a:pt x="53483" y="33534"/>
                        <a:pt x="52216" y="33534"/>
                      </a:cubicBezTo>
                      <a:close/>
                    </a:path>
                  </a:pathLst>
                </a:custGeom>
                <a:solidFill>
                  <a:schemeClr val="accent1"/>
                </a:solidFill>
                <a:ln w="2688" cap="flat">
                  <a:noFill/>
                  <a:prstDash val="solid"/>
                  <a:miter/>
                </a:ln>
              </p:spPr>
              <p:txBody>
                <a:bodyPr rtlCol="0" anchor="ctr"/>
                <a:lstStyle/>
                <a:p>
                  <a:endParaRPr lang="en-GB" dirty="0"/>
                </a:p>
              </p:txBody>
            </p:sp>
          </p:grpSp>
          <p:grpSp>
            <p:nvGrpSpPr>
              <p:cNvPr id="236" name="Grafik 149">
                <a:extLst>
                  <a:ext uri="{FF2B5EF4-FFF2-40B4-BE49-F238E27FC236}">
                    <a16:creationId xmlns:a16="http://schemas.microsoft.com/office/drawing/2014/main" id="{295711BE-24D8-4976-A247-DDC9E9AF44D4}"/>
                  </a:ext>
                </a:extLst>
              </p:cNvPr>
              <p:cNvGrpSpPr/>
              <p:nvPr/>
            </p:nvGrpSpPr>
            <p:grpSpPr>
              <a:xfrm>
                <a:off x="3471907" y="4178713"/>
                <a:ext cx="257923" cy="162442"/>
                <a:chOff x="3471907" y="4178713"/>
                <a:chExt cx="257923" cy="162442"/>
              </a:xfrm>
              <a:solidFill>
                <a:schemeClr val="accent1"/>
              </a:solidFill>
            </p:grpSpPr>
            <p:grpSp>
              <p:nvGrpSpPr>
                <p:cNvPr id="237" name="Grafik 149">
                  <a:extLst>
                    <a:ext uri="{FF2B5EF4-FFF2-40B4-BE49-F238E27FC236}">
                      <a16:creationId xmlns:a16="http://schemas.microsoft.com/office/drawing/2014/main" id="{76DC9615-CFC9-4658-8D64-947D28EADC98}"/>
                    </a:ext>
                  </a:extLst>
                </p:cNvPr>
                <p:cNvGrpSpPr/>
                <p:nvPr/>
              </p:nvGrpSpPr>
              <p:grpSpPr>
                <a:xfrm>
                  <a:off x="3662816" y="4178713"/>
                  <a:ext cx="67014" cy="162442"/>
                  <a:chOff x="3662816" y="4178713"/>
                  <a:chExt cx="67014" cy="162442"/>
                </a:xfrm>
                <a:solidFill>
                  <a:schemeClr val="accent1"/>
                </a:solidFill>
              </p:grpSpPr>
              <p:sp>
                <p:nvSpPr>
                  <p:cNvPr id="241" name="Freihandform: Form 529">
                    <a:extLst>
                      <a:ext uri="{FF2B5EF4-FFF2-40B4-BE49-F238E27FC236}">
                        <a16:creationId xmlns:a16="http://schemas.microsoft.com/office/drawing/2014/main" id="{46F27203-509C-4D50-BCB0-33593C71142E}"/>
                      </a:ext>
                    </a:extLst>
                  </p:cNvPr>
                  <p:cNvSpPr/>
                  <p:nvPr/>
                </p:nvSpPr>
                <p:spPr>
                  <a:xfrm>
                    <a:off x="3662816" y="4189199"/>
                    <a:ext cx="43292" cy="151956"/>
                  </a:xfrm>
                  <a:custGeom>
                    <a:avLst/>
                    <a:gdLst>
                      <a:gd name="connsiteX0" fmla="*/ 4933 w 43292"/>
                      <a:gd name="connsiteY0" fmla="*/ 151956 h 151956"/>
                      <a:gd name="connsiteX1" fmla="*/ 0 w 43292"/>
                      <a:gd name="connsiteY1" fmla="*/ 147023 h 151956"/>
                      <a:gd name="connsiteX2" fmla="*/ 0 w 43292"/>
                      <a:gd name="connsiteY2" fmla="*/ 80143 h 151956"/>
                      <a:gd name="connsiteX3" fmla="*/ 2723 w 43292"/>
                      <a:gd name="connsiteY3" fmla="*/ 75722 h 151956"/>
                      <a:gd name="connsiteX4" fmla="*/ 33427 w 43292"/>
                      <a:gd name="connsiteY4" fmla="*/ 60383 h 151956"/>
                      <a:gd name="connsiteX5" fmla="*/ 33427 w 43292"/>
                      <a:gd name="connsiteY5" fmla="*/ 4933 h 151956"/>
                      <a:gd name="connsiteX6" fmla="*/ 38360 w 43292"/>
                      <a:gd name="connsiteY6" fmla="*/ 0 h 151956"/>
                      <a:gd name="connsiteX7" fmla="*/ 43293 w 43292"/>
                      <a:gd name="connsiteY7" fmla="*/ 4933 h 151956"/>
                      <a:gd name="connsiteX8" fmla="*/ 43293 w 43292"/>
                      <a:gd name="connsiteY8" fmla="*/ 63456 h 151956"/>
                      <a:gd name="connsiteX9" fmla="*/ 40570 w 43292"/>
                      <a:gd name="connsiteY9" fmla="*/ 67877 h 151956"/>
                      <a:gd name="connsiteX10" fmla="*/ 9866 w 43292"/>
                      <a:gd name="connsiteY10" fmla="*/ 83216 h 151956"/>
                      <a:gd name="connsiteX11" fmla="*/ 9866 w 43292"/>
                      <a:gd name="connsiteY11" fmla="*/ 147023 h 151956"/>
                      <a:gd name="connsiteX12" fmla="*/ 4933 w 43292"/>
                      <a:gd name="connsiteY12" fmla="*/ 151956 h 15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92" h="151956">
                        <a:moveTo>
                          <a:pt x="4933" y="151956"/>
                        </a:moveTo>
                        <a:cubicBezTo>
                          <a:pt x="2211" y="151956"/>
                          <a:pt x="0" y="149746"/>
                          <a:pt x="0" y="147023"/>
                        </a:cubicBezTo>
                        <a:lnTo>
                          <a:pt x="0" y="80143"/>
                        </a:lnTo>
                        <a:cubicBezTo>
                          <a:pt x="0" y="78283"/>
                          <a:pt x="1051" y="76557"/>
                          <a:pt x="2723" y="75722"/>
                        </a:cubicBezTo>
                        <a:lnTo>
                          <a:pt x="33427" y="60383"/>
                        </a:lnTo>
                        <a:lnTo>
                          <a:pt x="33427" y="4933"/>
                        </a:lnTo>
                        <a:cubicBezTo>
                          <a:pt x="33427" y="2210"/>
                          <a:pt x="35637" y="0"/>
                          <a:pt x="38360" y="0"/>
                        </a:cubicBezTo>
                        <a:cubicBezTo>
                          <a:pt x="41082" y="0"/>
                          <a:pt x="43293" y="2210"/>
                          <a:pt x="43293" y="4933"/>
                        </a:cubicBezTo>
                        <a:lnTo>
                          <a:pt x="43293" y="63456"/>
                        </a:lnTo>
                        <a:cubicBezTo>
                          <a:pt x="43293" y="65317"/>
                          <a:pt x="42242" y="67042"/>
                          <a:pt x="40570" y="67877"/>
                        </a:cubicBezTo>
                        <a:lnTo>
                          <a:pt x="9866" y="83216"/>
                        </a:lnTo>
                        <a:lnTo>
                          <a:pt x="9866" y="147023"/>
                        </a:lnTo>
                        <a:cubicBezTo>
                          <a:pt x="9866" y="149746"/>
                          <a:pt x="7656" y="151956"/>
                          <a:pt x="4933" y="151956"/>
                        </a:cubicBezTo>
                        <a:close/>
                      </a:path>
                    </a:pathLst>
                  </a:custGeom>
                  <a:solidFill>
                    <a:schemeClr val="accent1"/>
                  </a:solidFill>
                  <a:ln w="2688" cap="flat">
                    <a:noFill/>
                    <a:prstDash val="solid"/>
                    <a:miter/>
                  </a:ln>
                </p:spPr>
                <p:txBody>
                  <a:bodyPr rtlCol="0" anchor="ctr"/>
                  <a:lstStyle/>
                  <a:p>
                    <a:endParaRPr lang="en-GB" dirty="0"/>
                  </a:p>
                </p:txBody>
              </p:sp>
              <p:sp>
                <p:nvSpPr>
                  <p:cNvPr id="242" name="Freihandform: Form 530">
                    <a:extLst>
                      <a:ext uri="{FF2B5EF4-FFF2-40B4-BE49-F238E27FC236}">
                        <a16:creationId xmlns:a16="http://schemas.microsoft.com/office/drawing/2014/main" id="{82AA516C-CA38-4466-9A03-4FAD3DB6394E}"/>
                      </a:ext>
                    </a:extLst>
                  </p:cNvPr>
                  <p:cNvSpPr/>
                  <p:nvPr/>
                </p:nvSpPr>
                <p:spPr>
                  <a:xfrm>
                    <a:off x="3672655" y="4178713"/>
                    <a:ext cx="57175" cy="33534"/>
                  </a:xfrm>
                  <a:custGeom>
                    <a:avLst/>
                    <a:gdLst>
                      <a:gd name="connsiteX0" fmla="*/ 52216 w 57175"/>
                      <a:gd name="connsiteY0" fmla="*/ 33534 h 33534"/>
                      <a:gd name="connsiteX1" fmla="*/ 48711 w 57175"/>
                      <a:gd name="connsiteY1" fmla="*/ 32079 h 33534"/>
                      <a:gd name="connsiteX2" fmla="*/ 28574 w 57175"/>
                      <a:gd name="connsiteY2" fmla="*/ 11942 h 33534"/>
                      <a:gd name="connsiteX3" fmla="*/ 8438 w 57175"/>
                      <a:gd name="connsiteY3" fmla="*/ 32079 h 33534"/>
                      <a:gd name="connsiteX4" fmla="*/ 1456 w 57175"/>
                      <a:gd name="connsiteY4" fmla="*/ 32079 h 33534"/>
                      <a:gd name="connsiteX5" fmla="*/ 1456 w 57175"/>
                      <a:gd name="connsiteY5" fmla="*/ 25097 h 33534"/>
                      <a:gd name="connsiteX6" fmla="*/ 25097 w 57175"/>
                      <a:gd name="connsiteY6" fmla="*/ 1456 h 33534"/>
                      <a:gd name="connsiteX7" fmla="*/ 32079 w 57175"/>
                      <a:gd name="connsiteY7" fmla="*/ 1456 h 33534"/>
                      <a:gd name="connsiteX8" fmla="*/ 55720 w 57175"/>
                      <a:gd name="connsiteY8" fmla="*/ 25097 h 33534"/>
                      <a:gd name="connsiteX9" fmla="*/ 55720 w 57175"/>
                      <a:gd name="connsiteY9" fmla="*/ 32079 h 33534"/>
                      <a:gd name="connsiteX10" fmla="*/ 52216 w 57175"/>
                      <a:gd name="connsiteY10"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175" h="33534">
                        <a:moveTo>
                          <a:pt x="52216" y="33534"/>
                        </a:moveTo>
                        <a:cubicBezTo>
                          <a:pt x="50949" y="33534"/>
                          <a:pt x="49682" y="33049"/>
                          <a:pt x="48711" y="32079"/>
                        </a:cubicBezTo>
                        <a:lnTo>
                          <a:pt x="28574" y="11942"/>
                        </a:lnTo>
                        <a:lnTo>
                          <a:pt x="8438" y="32079"/>
                        </a:lnTo>
                        <a:cubicBezTo>
                          <a:pt x="6497" y="34020"/>
                          <a:pt x="3370" y="34020"/>
                          <a:pt x="1456" y="32079"/>
                        </a:cubicBezTo>
                        <a:cubicBezTo>
                          <a:pt x="-485" y="30138"/>
                          <a:pt x="-485" y="27011"/>
                          <a:pt x="1456" y="25097"/>
                        </a:cubicBezTo>
                        <a:lnTo>
                          <a:pt x="25097" y="1456"/>
                        </a:lnTo>
                        <a:cubicBezTo>
                          <a:pt x="27038" y="-485"/>
                          <a:pt x="30165" y="-485"/>
                          <a:pt x="32079" y="1456"/>
                        </a:cubicBezTo>
                        <a:lnTo>
                          <a:pt x="55720" y="25097"/>
                        </a:lnTo>
                        <a:cubicBezTo>
                          <a:pt x="57661" y="27038"/>
                          <a:pt x="57661" y="30165"/>
                          <a:pt x="55720" y="32079"/>
                        </a:cubicBezTo>
                        <a:cubicBezTo>
                          <a:pt x="54723" y="33049"/>
                          <a:pt x="53482" y="33534"/>
                          <a:pt x="52216" y="33534"/>
                        </a:cubicBezTo>
                        <a:close/>
                      </a:path>
                    </a:pathLst>
                  </a:custGeom>
                  <a:solidFill>
                    <a:schemeClr val="accent1"/>
                  </a:solidFill>
                  <a:ln w="2688" cap="flat">
                    <a:noFill/>
                    <a:prstDash val="solid"/>
                    <a:miter/>
                  </a:ln>
                </p:spPr>
                <p:txBody>
                  <a:bodyPr rtlCol="0" anchor="ctr"/>
                  <a:lstStyle/>
                  <a:p>
                    <a:endParaRPr lang="en-GB" dirty="0"/>
                  </a:p>
                </p:txBody>
              </p:sp>
            </p:grpSp>
            <p:grpSp>
              <p:nvGrpSpPr>
                <p:cNvPr id="238" name="Grafik 149">
                  <a:extLst>
                    <a:ext uri="{FF2B5EF4-FFF2-40B4-BE49-F238E27FC236}">
                      <a16:creationId xmlns:a16="http://schemas.microsoft.com/office/drawing/2014/main" id="{CBEA9A45-3F7F-4324-8E21-8DE40D762448}"/>
                    </a:ext>
                  </a:extLst>
                </p:cNvPr>
                <p:cNvGrpSpPr/>
                <p:nvPr/>
              </p:nvGrpSpPr>
              <p:grpSpPr>
                <a:xfrm>
                  <a:off x="3471907" y="4178713"/>
                  <a:ext cx="67014" cy="162442"/>
                  <a:chOff x="3471907" y="4178713"/>
                  <a:chExt cx="67014" cy="162442"/>
                </a:xfrm>
                <a:solidFill>
                  <a:schemeClr val="accent1"/>
                </a:solidFill>
              </p:grpSpPr>
              <p:sp>
                <p:nvSpPr>
                  <p:cNvPr id="239" name="Freihandform: Form 532">
                    <a:extLst>
                      <a:ext uri="{FF2B5EF4-FFF2-40B4-BE49-F238E27FC236}">
                        <a16:creationId xmlns:a16="http://schemas.microsoft.com/office/drawing/2014/main" id="{8F1029D6-9FCA-4033-8280-96FE2701C86A}"/>
                      </a:ext>
                    </a:extLst>
                  </p:cNvPr>
                  <p:cNvSpPr/>
                  <p:nvPr/>
                </p:nvSpPr>
                <p:spPr>
                  <a:xfrm>
                    <a:off x="3495629" y="4189199"/>
                    <a:ext cx="43292" cy="151956"/>
                  </a:xfrm>
                  <a:custGeom>
                    <a:avLst/>
                    <a:gdLst>
                      <a:gd name="connsiteX0" fmla="*/ 38359 w 43292"/>
                      <a:gd name="connsiteY0" fmla="*/ 151956 h 151956"/>
                      <a:gd name="connsiteX1" fmla="*/ 33426 w 43292"/>
                      <a:gd name="connsiteY1" fmla="*/ 147023 h 151956"/>
                      <a:gd name="connsiteX2" fmla="*/ 33426 w 43292"/>
                      <a:gd name="connsiteY2" fmla="*/ 83216 h 151956"/>
                      <a:gd name="connsiteX3" fmla="*/ 2723 w 43292"/>
                      <a:gd name="connsiteY3" fmla="*/ 67877 h 151956"/>
                      <a:gd name="connsiteX4" fmla="*/ 0 w 43292"/>
                      <a:gd name="connsiteY4" fmla="*/ 63456 h 151956"/>
                      <a:gd name="connsiteX5" fmla="*/ 0 w 43292"/>
                      <a:gd name="connsiteY5" fmla="*/ 4933 h 151956"/>
                      <a:gd name="connsiteX6" fmla="*/ 4933 w 43292"/>
                      <a:gd name="connsiteY6" fmla="*/ 0 h 151956"/>
                      <a:gd name="connsiteX7" fmla="*/ 9866 w 43292"/>
                      <a:gd name="connsiteY7" fmla="*/ 4933 h 151956"/>
                      <a:gd name="connsiteX8" fmla="*/ 9866 w 43292"/>
                      <a:gd name="connsiteY8" fmla="*/ 60383 h 151956"/>
                      <a:gd name="connsiteX9" fmla="*/ 40570 w 43292"/>
                      <a:gd name="connsiteY9" fmla="*/ 75722 h 151956"/>
                      <a:gd name="connsiteX10" fmla="*/ 43293 w 43292"/>
                      <a:gd name="connsiteY10" fmla="*/ 80143 h 151956"/>
                      <a:gd name="connsiteX11" fmla="*/ 43293 w 43292"/>
                      <a:gd name="connsiteY11" fmla="*/ 147023 h 151956"/>
                      <a:gd name="connsiteX12" fmla="*/ 38359 w 43292"/>
                      <a:gd name="connsiteY12" fmla="*/ 151956 h 15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292" h="151956">
                        <a:moveTo>
                          <a:pt x="38359" y="151956"/>
                        </a:moveTo>
                        <a:cubicBezTo>
                          <a:pt x="35637" y="151956"/>
                          <a:pt x="33426" y="149746"/>
                          <a:pt x="33426" y="147023"/>
                        </a:cubicBezTo>
                        <a:lnTo>
                          <a:pt x="33426" y="83216"/>
                        </a:lnTo>
                        <a:lnTo>
                          <a:pt x="2723" y="67877"/>
                        </a:lnTo>
                        <a:cubicBezTo>
                          <a:pt x="1051" y="67042"/>
                          <a:pt x="0" y="65317"/>
                          <a:pt x="0" y="63456"/>
                        </a:cubicBezTo>
                        <a:lnTo>
                          <a:pt x="0" y="4933"/>
                        </a:lnTo>
                        <a:cubicBezTo>
                          <a:pt x="0" y="2210"/>
                          <a:pt x="2210" y="0"/>
                          <a:pt x="4933" y="0"/>
                        </a:cubicBezTo>
                        <a:cubicBezTo>
                          <a:pt x="7656" y="0"/>
                          <a:pt x="9866" y="2210"/>
                          <a:pt x="9866" y="4933"/>
                        </a:cubicBezTo>
                        <a:lnTo>
                          <a:pt x="9866" y="60383"/>
                        </a:lnTo>
                        <a:lnTo>
                          <a:pt x="40570" y="75722"/>
                        </a:lnTo>
                        <a:cubicBezTo>
                          <a:pt x="42241" y="76557"/>
                          <a:pt x="43293" y="78283"/>
                          <a:pt x="43293" y="80143"/>
                        </a:cubicBezTo>
                        <a:lnTo>
                          <a:pt x="43293" y="147023"/>
                        </a:lnTo>
                        <a:cubicBezTo>
                          <a:pt x="43293" y="149746"/>
                          <a:pt x="41082" y="151956"/>
                          <a:pt x="38359" y="151956"/>
                        </a:cubicBezTo>
                        <a:close/>
                      </a:path>
                    </a:pathLst>
                  </a:custGeom>
                  <a:solidFill>
                    <a:schemeClr val="accent1"/>
                  </a:solidFill>
                  <a:ln w="2688" cap="flat">
                    <a:noFill/>
                    <a:prstDash val="solid"/>
                    <a:miter/>
                  </a:ln>
                </p:spPr>
                <p:txBody>
                  <a:bodyPr rtlCol="0" anchor="ctr"/>
                  <a:lstStyle/>
                  <a:p>
                    <a:endParaRPr lang="en-GB" dirty="0"/>
                  </a:p>
                </p:txBody>
              </p:sp>
              <p:sp>
                <p:nvSpPr>
                  <p:cNvPr id="240" name="Freihandform: Form 533">
                    <a:extLst>
                      <a:ext uri="{FF2B5EF4-FFF2-40B4-BE49-F238E27FC236}">
                        <a16:creationId xmlns:a16="http://schemas.microsoft.com/office/drawing/2014/main" id="{7FB98CAE-BE21-43A3-A58C-C06B7BBBAD89}"/>
                      </a:ext>
                    </a:extLst>
                  </p:cNvPr>
                  <p:cNvSpPr/>
                  <p:nvPr/>
                </p:nvSpPr>
                <p:spPr>
                  <a:xfrm>
                    <a:off x="3471907" y="4178713"/>
                    <a:ext cx="57175" cy="33534"/>
                  </a:xfrm>
                  <a:custGeom>
                    <a:avLst/>
                    <a:gdLst>
                      <a:gd name="connsiteX0" fmla="*/ 4960 w 57175"/>
                      <a:gd name="connsiteY0" fmla="*/ 33534 h 33534"/>
                      <a:gd name="connsiteX1" fmla="*/ 1456 w 57175"/>
                      <a:gd name="connsiteY1" fmla="*/ 32079 h 33534"/>
                      <a:gd name="connsiteX2" fmla="*/ 1456 w 57175"/>
                      <a:gd name="connsiteY2" fmla="*/ 25097 h 33534"/>
                      <a:gd name="connsiteX3" fmla="*/ 25097 w 57175"/>
                      <a:gd name="connsiteY3" fmla="*/ 1456 h 33534"/>
                      <a:gd name="connsiteX4" fmla="*/ 32079 w 57175"/>
                      <a:gd name="connsiteY4" fmla="*/ 1456 h 33534"/>
                      <a:gd name="connsiteX5" fmla="*/ 55720 w 57175"/>
                      <a:gd name="connsiteY5" fmla="*/ 25097 h 33534"/>
                      <a:gd name="connsiteX6" fmla="*/ 55720 w 57175"/>
                      <a:gd name="connsiteY6" fmla="*/ 32079 h 33534"/>
                      <a:gd name="connsiteX7" fmla="*/ 48738 w 57175"/>
                      <a:gd name="connsiteY7" fmla="*/ 32079 h 33534"/>
                      <a:gd name="connsiteX8" fmla="*/ 28574 w 57175"/>
                      <a:gd name="connsiteY8" fmla="*/ 11942 h 33534"/>
                      <a:gd name="connsiteX9" fmla="*/ 8437 w 57175"/>
                      <a:gd name="connsiteY9" fmla="*/ 32079 h 33534"/>
                      <a:gd name="connsiteX10" fmla="*/ 4960 w 57175"/>
                      <a:gd name="connsiteY10" fmla="*/ 33534 h 33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175" h="33534">
                        <a:moveTo>
                          <a:pt x="4960" y="33534"/>
                        </a:moveTo>
                        <a:cubicBezTo>
                          <a:pt x="3693" y="33534"/>
                          <a:pt x="2426" y="33049"/>
                          <a:pt x="1456" y="32079"/>
                        </a:cubicBezTo>
                        <a:cubicBezTo>
                          <a:pt x="-485" y="30138"/>
                          <a:pt x="-485" y="27011"/>
                          <a:pt x="1456" y="25097"/>
                        </a:cubicBezTo>
                        <a:lnTo>
                          <a:pt x="25097" y="1456"/>
                        </a:lnTo>
                        <a:cubicBezTo>
                          <a:pt x="27038" y="-485"/>
                          <a:pt x="30165" y="-485"/>
                          <a:pt x="32079" y="1456"/>
                        </a:cubicBezTo>
                        <a:lnTo>
                          <a:pt x="55720" y="25097"/>
                        </a:lnTo>
                        <a:cubicBezTo>
                          <a:pt x="57661" y="27038"/>
                          <a:pt x="57661" y="30165"/>
                          <a:pt x="55720" y="32079"/>
                        </a:cubicBezTo>
                        <a:cubicBezTo>
                          <a:pt x="53779" y="34020"/>
                          <a:pt x="50652" y="34020"/>
                          <a:pt x="48738" y="32079"/>
                        </a:cubicBezTo>
                        <a:lnTo>
                          <a:pt x="28574" y="11942"/>
                        </a:lnTo>
                        <a:lnTo>
                          <a:pt x="8437" y="32079"/>
                        </a:lnTo>
                        <a:cubicBezTo>
                          <a:pt x="7494" y="33049"/>
                          <a:pt x="6227" y="33534"/>
                          <a:pt x="4960" y="33534"/>
                        </a:cubicBezTo>
                        <a:close/>
                      </a:path>
                    </a:pathLst>
                  </a:custGeom>
                  <a:solidFill>
                    <a:schemeClr val="accent1"/>
                  </a:solidFill>
                  <a:ln w="2688" cap="flat">
                    <a:noFill/>
                    <a:prstDash val="solid"/>
                    <a:miter/>
                  </a:ln>
                </p:spPr>
                <p:txBody>
                  <a:bodyPr rtlCol="0" anchor="ctr"/>
                  <a:lstStyle/>
                  <a:p>
                    <a:endParaRPr lang="en-GB" dirty="0"/>
                  </a:p>
                </p:txBody>
              </p:sp>
            </p:grpSp>
          </p:grpSp>
        </p:grpSp>
      </p:grpSp>
      <p:grpSp>
        <p:nvGrpSpPr>
          <p:cNvPr id="28" name="Group 27">
            <a:extLst>
              <a:ext uri="{FF2B5EF4-FFF2-40B4-BE49-F238E27FC236}">
                <a16:creationId xmlns:a16="http://schemas.microsoft.com/office/drawing/2014/main" id="{B3BB8860-A2ED-FC51-06BA-763B1610653E}"/>
              </a:ext>
            </a:extLst>
          </p:cNvPr>
          <p:cNvGrpSpPr/>
          <p:nvPr/>
        </p:nvGrpSpPr>
        <p:grpSpPr>
          <a:xfrm>
            <a:off x="2681825" y="3197067"/>
            <a:ext cx="406187" cy="432003"/>
            <a:chOff x="2681825" y="3197067"/>
            <a:chExt cx="406187" cy="432003"/>
          </a:xfrm>
        </p:grpSpPr>
        <p:grpSp>
          <p:nvGrpSpPr>
            <p:cNvPr id="252" name="Group 251">
              <a:extLst>
                <a:ext uri="{FF2B5EF4-FFF2-40B4-BE49-F238E27FC236}">
                  <a16:creationId xmlns:a16="http://schemas.microsoft.com/office/drawing/2014/main" id="{F1593A0C-9196-4048-9822-288054CEC2FB}"/>
                </a:ext>
              </a:extLst>
            </p:cNvPr>
            <p:cNvGrpSpPr/>
            <p:nvPr/>
          </p:nvGrpSpPr>
          <p:grpSpPr>
            <a:xfrm>
              <a:off x="2779023" y="3431154"/>
              <a:ext cx="285514" cy="197916"/>
              <a:chOff x="5413852" y="4407111"/>
              <a:chExt cx="374870" cy="259858"/>
            </a:xfrm>
          </p:grpSpPr>
          <p:sp>
            <p:nvSpPr>
              <p:cNvPr id="275" name="Freihandform: Form 1048">
                <a:extLst>
                  <a:ext uri="{FF2B5EF4-FFF2-40B4-BE49-F238E27FC236}">
                    <a16:creationId xmlns:a16="http://schemas.microsoft.com/office/drawing/2014/main" id="{671F54B2-D275-4E79-9F54-10A93C16EB62}"/>
                  </a:ext>
                </a:extLst>
              </p:cNvPr>
              <p:cNvSpPr/>
              <p:nvPr/>
            </p:nvSpPr>
            <p:spPr>
              <a:xfrm>
                <a:off x="5582941" y="4407180"/>
                <a:ext cx="127338" cy="200057"/>
              </a:xfrm>
              <a:custGeom>
                <a:avLst/>
                <a:gdLst>
                  <a:gd name="connsiteX0" fmla="*/ 122409 w 127338"/>
                  <a:gd name="connsiteY0" fmla="*/ 200057 h 200057"/>
                  <a:gd name="connsiteX1" fmla="*/ 99326 w 127338"/>
                  <a:gd name="connsiteY1" fmla="*/ 200057 h 200057"/>
                  <a:gd name="connsiteX2" fmla="*/ 94424 w 127338"/>
                  <a:gd name="connsiteY2" fmla="*/ 195155 h 200057"/>
                  <a:gd name="connsiteX3" fmla="*/ 99326 w 127338"/>
                  <a:gd name="connsiteY3" fmla="*/ 190252 h 200057"/>
                  <a:gd name="connsiteX4" fmla="*/ 117506 w 127338"/>
                  <a:gd name="connsiteY4" fmla="*/ 190252 h 200057"/>
                  <a:gd name="connsiteX5" fmla="*/ 117506 w 127338"/>
                  <a:gd name="connsiteY5" fmla="*/ 61668 h 200057"/>
                  <a:gd name="connsiteX6" fmla="*/ 86341 w 127338"/>
                  <a:gd name="connsiteY6" fmla="*/ 61668 h 200057"/>
                  <a:gd name="connsiteX7" fmla="*/ 81491 w 127338"/>
                  <a:gd name="connsiteY7" fmla="*/ 57401 h 200057"/>
                  <a:gd name="connsiteX8" fmla="*/ 4903 w 127338"/>
                  <a:gd name="connsiteY8" fmla="*/ 9805 h 200057"/>
                  <a:gd name="connsiteX9" fmla="*/ 0 w 127338"/>
                  <a:gd name="connsiteY9" fmla="*/ 4903 h 200057"/>
                  <a:gd name="connsiteX10" fmla="*/ 4903 w 127338"/>
                  <a:gd name="connsiteY10" fmla="*/ 0 h 200057"/>
                  <a:gd name="connsiteX11" fmla="*/ 90528 w 127338"/>
                  <a:gd name="connsiteY11" fmla="*/ 51863 h 200057"/>
                  <a:gd name="connsiteX12" fmla="*/ 122435 w 127338"/>
                  <a:gd name="connsiteY12" fmla="*/ 51863 h 200057"/>
                  <a:gd name="connsiteX13" fmla="*/ 127338 w 127338"/>
                  <a:gd name="connsiteY13" fmla="*/ 56765 h 200057"/>
                  <a:gd name="connsiteX14" fmla="*/ 127338 w 127338"/>
                  <a:gd name="connsiteY14" fmla="*/ 195155 h 200057"/>
                  <a:gd name="connsiteX15" fmla="*/ 122409 w 127338"/>
                  <a:gd name="connsiteY15" fmla="*/ 200057 h 200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338" h="200057">
                    <a:moveTo>
                      <a:pt x="122409" y="200057"/>
                    </a:moveTo>
                    <a:lnTo>
                      <a:pt x="99326" y="200057"/>
                    </a:lnTo>
                    <a:cubicBezTo>
                      <a:pt x="96623" y="200057"/>
                      <a:pt x="94424" y="197857"/>
                      <a:pt x="94424" y="195155"/>
                    </a:cubicBezTo>
                    <a:cubicBezTo>
                      <a:pt x="94424" y="192451"/>
                      <a:pt x="96623" y="190252"/>
                      <a:pt x="99326" y="190252"/>
                    </a:cubicBezTo>
                    <a:lnTo>
                      <a:pt x="117506" y="190252"/>
                    </a:lnTo>
                    <a:lnTo>
                      <a:pt x="117506" y="61668"/>
                    </a:lnTo>
                    <a:lnTo>
                      <a:pt x="86341" y="61668"/>
                    </a:lnTo>
                    <a:cubicBezTo>
                      <a:pt x="83876" y="61668"/>
                      <a:pt x="81809" y="59840"/>
                      <a:pt x="81491" y="57401"/>
                    </a:cubicBezTo>
                    <a:cubicBezTo>
                      <a:pt x="77516" y="26713"/>
                      <a:pt x="50299" y="9805"/>
                      <a:pt x="4903" y="9805"/>
                    </a:cubicBezTo>
                    <a:cubicBezTo>
                      <a:pt x="2200" y="9805"/>
                      <a:pt x="0" y="7606"/>
                      <a:pt x="0" y="4903"/>
                    </a:cubicBezTo>
                    <a:cubicBezTo>
                      <a:pt x="0" y="2199"/>
                      <a:pt x="2200" y="0"/>
                      <a:pt x="4903" y="0"/>
                    </a:cubicBezTo>
                    <a:cubicBezTo>
                      <a:pt x="69168" y="0"/>
                      <a:pt x="86341" y="30741"/>
                      <a:pt x="90528" y="51863"/>
                    </a:cubicBezTo>
                    <a:lnTo>
                      <a:pt x="122435" y="51863"/>
                    </a:lnTo>
                    <a:cubicBezTo>
                      <a:pt x="125138" y="51863"/>
                      <a:pt x="127338" y="54062"/>
                      <a:pt x="127338" y="56765"/>
                    </a:cubicBezTo>
                    <a:lnTo>
                      <a:pt x="127338" y="195155"/>
                    </a:lnTo>
                    <a:cubicBezTo>
                      <a:pt x="127312" y="197857"/>
                      <a:pt x="125112" y="200057"/>
                      <a:pt x="122409" y="200057"/>
                    </a:cubicBezTo>
                    <a:close/>
                  </a:path>
                </a:pathLst>
              </a:custGeom>
              <a:solidFill>
                <a:schemeClr val="accent1"/>
              </a:solidFill>
              <a:ln w="2647" cap="flat">
                <a:noFill/>
                <a:prstDash val="solid"/>
                <a:miter/>
              </a:ln>
            </p:spPr>
            <p:txBody>
              <a:bodyPr rtlCol="0" anchor="ctr"/>
              <a:lstStyle/>
              <a:p>
                <a:endParaRPr lang="en-GB" dirty="0"/>
              </a:p>
            </p:txBody>
          </p:sp>
          <p:sp>
            <p:nvSpPr>
              <p:cNvPr id="276" name="Freihandform: Form 1049">
                <a:extLst>
                  <a:ext uri="{FF2B5EF4-FFF2-40B4-BE49-F238E27FC236}">
                    <a16:creationId xmlns:a16="http://schemas.microsoft.com/office/drawing/2014/main" id="{2E5B069C-5712-4748-B861-DB06183D227B}"/>
                  </a:ext>
                </a:extLst>
              </p:cNvPr>
              <p:cNvSpPr/>
              <p:nvPr/>
            </p:nvSpPr>
            <p:spPr>
              <a:xfrm>
                <a:off x="5700315" y="4448071"/>
                <a:ext cx="88407" cy="168441"/>
              </a:xfrm>
              <a:custGeom>
                <a:avLst/>
                <a:gdLst>
                  <a:gd name="connsiteX0" fmla="*/ 83505 w 88407"/>
                  <a:gd name="connsiteY0" fmla="*/ 168442 h 168441"/>
                  <a:gd name="connsiteX1" fmla="*/ 4903 w 88407"/>
                  <a:gd name="connsiteY1" fmla="*/ 168442 h 168441"/>
                  <a:gd name="connsiteX2" fmla="*/ 0 w 88407"/>
                  <a:gd name="connsiteY2" fmla="*/ 163539 h 168441"/>
                  <a:gd name="connsiteX3" fmla="*/ 0 w 88407"/>
                  <a:gd name="connsiteY3" fmla="*/ 4903 h 168441"/>
                  <a:gd name="connsiteX4" fmla="*/ 4903 w 88407"/>
                  <a:gd name="connsiteY4" fmla="*/ 0 h 168441"/>
                  <a:gd name="connsiteX5" fmla="*/ 83505 w 88407"/>
                  <a:gd name="connsiteY5" fmla="*/ 0 h 168441"/>
                  <a:gd name="connsiteX6" fmla="*/ 88408 w 88407"/>
                  <a:gd name="connsiteY6" fmla="*/ 4903 h 168441"/>
                  <a:gd name="connsiteX7" fmla="*/ 83505 w 88407"/>
                  <a:gd name="connsiteY7" fmla="*/ 9806 h 168441"/>
                  <a:gd name="connsiteX8" fmla="*/ 9805 w 88407"/>
                  <a:gd name="connsiteY8" fmla="*/ 9806 h 168441"/>
                  <a:gd name="connsiteX9" fmla="*/ 9805 w 88407"/>
                  <a:gd name="connsiteY9" fmla="*/ 158636 h 168441"/>
                  <a:gd name="connsiteX10" fmla="*/ 83505 w 88407"/>
                  <a:gd name="connsiteY10" fmla="*/ 158636 h 168441"/>
                  <a:gd name="connsiteX11" fmla="*/ 88408 w 88407"/>
                  <a:gd name="connsiteY11" fmla="*/ 163539 h 168441"/>
                  <a:gd name="connsiteX12" fmla="*/ 83505 w 88407"/>
                  <a:gd name="connsiteY12" fmla="*/ 168442 h 168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407" h="168441">
                    <a:moveTo>
                      <a:pt x="83505" y="168442"/>
                    </a:moveTo>
                    <a:lnTo>
                      <a:pt x="4903" y="168442"/>
                    </a:lnTo>
                    <a:cubicBezTo>
                      <a:pt x="2200" y="168442"/>
                      <a:pt x="0" y="166242"/>
                      <a:pt x="0" y="163539"/>
                    </a:cubicBezTo>
                    <a:lnTo>
                      <a:pt x="0" y="4903"/>
                    </a:lnTo>
                    <a:cubicBezTo>
                      <a:pt x="0" y="2200"/>
                      <a:pt x="2200" y="0"/>
                      <a:pt x="4903" y="0"/>
                    </a:cubicBezTo>
                    <a:lnTo>
                      <a:pt x="83505" y="0"/>
                    </a:lnTo>
                    <a:cubicBezTo>
                      <a:pt x="86208" y="0"/>
                      <a:pt x="88408" y="2200"/>
                      <a:pt x="88408" y="4903"/>
                    </a:cubicBezTo>
                    <a:cubicBezTo>
                      <a:pt x="88408" y="7606"/>
                      <a:pt x="86208" y="9806"/>
                      <a:pt x="83505" y="9806"/>
                    </a:cubicBezTo>
                    <a:lnTo>
                      <a:pt x="9805" y="9806"/>
                    </a:lnTo>
                    <a:lnTo>
                      <a:pt x="9805" y="158636"/>
                    </a:lnTo>
                    <a:lnTo>
                      <a:pt x="83505" y="158636"/>
                    </a:lnTo>
                    <a:cubicBezTo>
                      <a:pt x="86208" y="158636"/>
                      <a:pt x="88408" y="160836"/>
                      <a:pt x="88408" y="163539"/>
                    </a:cubicBezTo>
                    <a:cubicBezTo>
                      <a:pt x="88408" y="166268"/>
                      <a:pt x="86208" y="168442"/>
                      <a:pt x="83505" y="168442"/>
                    </a:cubicBezTo>
                    <a:close/>
                  </a:path>
                </a:pathLst>
              </a:custGeom>
              <a:solidFill>
                <a:schemeClr val="accent1"/>
              </a:solidFill>
              <a:ln w="2647" cap="flat">
                <a:noFill/>
                <a:prstDash val="solid"/>
                <a:miter/>
              </a:ln>
            </p:spPr>
            <p:txBody>
              <a:bodyPr rtlCol="0" anchor="ctr"/>
              <a:lstStyle/>
              <a:p>
                <a:endParaRPr lang="en-GB" dirty="0"/>
              </a:p>
            </p:txBody>
          </p:sp>
          <p:grpSp>
            <p:nvGrpSpPr>
              <p:cNvPr id="277" name="Grafik 150">
                <a:extLst>
                  <a:ext uri="{FF2B5EF4-FFF2-40B4-BE49-F238E27FC236}">
                    <a16:creationId xmlns:a16="http://schemas.microsoft.com/office/drawing/2014/main" id="{9D3E7AB5-1252-444C-B7D0-13195B8B6562}"/>
                  </a:ext>
                </a:extLst>
              </p:cNvPr>
              <p:cNvGrpSpPr/>
              <p:nvPr/>
            </p:nvGrpSpPr>
            <p:grpSpPr>
              <a:xfrm>
                <a:off x="5413852" y="4525640"/>
                <a:ext cx="167001" cy="141329"/>
                <a:chOff x="5413852" y="4525640"/>
                <a:chExt cx="167001" cy="141329"/>
              </a:xfrm>
              <a:solidFill>
                <a:schemeClr val="accent1"/>
              </a:solidFill>
            </p:grpSpPr>
            <p:grpSp>
              <p:nvGrpSpPr>
                <p:cNvPr id="279" name="Grafik 150">
                  <a:extLst>
                    <a:ext uri="{FF2B5EF4-FFF2-40B4-BE49-F238E27FC236}">
                      <a16:creationId xmlns:a16="http://schemas.microsoft.com/office/drawing/2014/main" id="{27EFD659-3583-4393-898E-ACBB7380BFE4}"/>
                    </a:ext>
                  </a:extLst>
                </p:cNvPr>
                <p:cNvGrpSpPr/>
                <p:nvPr/>
              </p:nvGrpSpPr>
              <p:grpSpPr>
                <a:xfrm>
                  <a:off x="5413852" y="4525640"/>
                  <a:ext cx="149652" cy="120128"/>
                  <a:chOff x="5413852" y="4525640"/>
                  <a:chExt cx="149652" cy="120128"/>
                </a:xfrm>
                <a:solidFill>
                  <a:schemeClr val="accent1"/>
                </a:solidFill>
              </p:grpSpPr>
              <p:sp>
                <p:nvSpPr>
                  <p:cNvPr id="281" name="Freihandform: Form 1053">
                    <a:extLst>
                      <a:ext uri="{FF2B5EF4-FFF2-40B4-BE49-F238E27FC236}">
                        <a16:creationId xmlns:a16="http://schemas.microsoft.com/office/drawing/2014/main" id="{013BFD07-8316-470F-A00F-3E3E52C7C308}"/>
                      </a:ext>
                    </a:extLst>
                  </p:cNvPr>
                  <p:cNvSpPr/>
                  <p:nvPr/>
                </p:nvSpPr>
                <p:spPr>
                  <a:xfrm>
                    <a:off x="5413852" y="4525640"/>
                    <a:ext cx="65243" cy="70916"/>
                  </a:xfrm>
                  <a:custGeom>
                    <a:avLst/>
                    <a:gdLst>
                      <a:gd name="connsiteX0" fmla="*/ 25930 w 65243"/>
                      <a:gd name="connsiteY0" fmla="*/ 70916 h 70916"/>
                      <a:gd name="connsiteX1" fmla="*/ 10957 w 65243"/>
                      <a:gd name="connsiteY1" fmla="*/ 66067 h 70916"/>
                      <a:gd name="connsiteX2" fmla="*/ 569 w 65243"/>
                      <a:gd name="connsiteY2" fmla="*/ 50643 h 70916"/>
                      <a:gd name="connsiteX3" fmla="*/ 3987 w 65243"/>
                      <a:gd name="connsiteY3" fmla="*/ 32940 h 70916"/>
                      <a:gd name="connsiteX4" fmla="*/ 20736 w 65243"/>
                      <a:gd name="connsiteY4" fmla="*/ 9301 h 70916"/>
                      <a:gd name="connsiteX5" fmla="*/ 36292 w 65243"/>
                      <a:gd name="connsiteY5" fmla="*/ 185 h 70916"/>
                      <a:gd name="connsiteX6" fmla="*/ 54286 w 65243"/>
                      <a:gd name="connsiteY6" fmla="*/ 4849 h 70916"/>
                      <a:gd name="connsiteX7" fmla="*/ 64675 w 65243"/>
                      <a:gd name="connsiteY7" fmla="*/ 20273 h 70916"/>
                      <a:gd name="connsiteX8" fmla="*/ 61256 w 65243"/>
                      <a:gd name="connsiteY8" fmla="*/ 37975 h 70916"/>
                      <a:gd name="connsiteX9" fmla="*/ 44508 w 65243"/>
                      <a:gd name="connsiteY9" fmla="*/ 61641 h 70916"/>
                      <a:gd name="connsiteX10" fmla="*/ 28951 w 65243"/>
                      <a:gd name="connsiteY10" fmla="*/ 70757 h 70916"/>
                      <a:gd name="connsiteX11" fmla="*/ 25930 w 65243"/>
                      <a:gd name="connsiteY11" fmla="*/ 70916 h 70916"/>
                      <a:gd name="connsiteX12" fmla="*/ 39287 w 65243"/>
                      <a:gd name="connsiteY12" fmla="*/ 9805 h 70916"/>
                      <a:gd name="connsiteX13" fmla="*/ 37485 w 65243"/>
                      <a:gd name="connsiteY13" fmla="*/ 9911 h 70916"/>
                      <a:gd name="connsiteX14" fmla="*/ 28739 w 65243"/>
                      <a:gd name="connsiteY14" fmla="*/ 14973 h 70916"/>
                      <a:gd name="connsiteX15" fmla="*/ 11991 w 65243"/>
                      <a:gd name="connsiteY15" fmla="*/ 38638 h 70916"/>
                      <a:gd name="connsiteX16" fmla="*/ 10136 w 65243"/>
                      <a:gd name="connsiteY16" fmla="*/ 48576 h 70916"/>
                      <a:gd name="connsiteX17" fmla="*/ 16602 w 65243"/>
                      <a:gd name="connsiteY17" fmla="*/ 58090 h 70916"/>
                      <a:gd name="connsiteX18" fmla="*/ 27732 w 65243"/>
                      <a:gd name="connsiteY18" fmla="*/ 61032 h 70916"/>
                      <a:gd name="connsiteX19" fmla="*/ 36478 w 65243"/>
                      <a:gd name="connsiteY19" fmla="*/ 55970 h 70916"/>
                      <a:gd name="connsiteX20" fmla="*/ 53226 w 65243"/>
                      <a:gd name="connsiteY20" fmla="*/ 32304 h 70916"/>
                      <a:gd name="connsiteX21" fmla="*/ 53226 w 65243"/>
                      <a:gd name="connsiteY21" fmla="*/ 32304 h 70916"/>
                      <a:gd name="connsiteX22" fmla="*/ 55081 w 65243"/>
                      <a:gd name="connsiteY22" fmla="*/ 22366 h 70916"/>
                      <a:gd name="connsiteX23" fmla="*/ 48589 w 65243"/>
                      <a:gd name="connsiteY23" fmla="*/ 12826 h 70916"/>
                      <a:gd name="connsiteX24" fmla="*/ 39287 w 65243"/>
                      <a:gd name="connsiteY24" fmla="*/ 9805 h 70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5243" h="70916">
                        <a:moveTo>
                          <a:pt x="25930" y="70916"/>
                        </a:moveTo>
                        <a:cubicBezTo>
                          <a:pt x="20656" y="70916"/>
                          <a:pt x="15436" y="69247"/>
                          <a:pt x="10957" y="66067"/>
                        </a:cubicBezTo>
                        <a:cubicBezTo>
                          <a:pt x="5630" y="62304"/>
                          <a:pt x="1920" y="56818"/>
                          <a:pt x="569" y="50643"/>
                        </a:cubicBezTo>
                        <a:cubicBezTo>
                          <a:pt x="-836" y="44309"/>
                          <a:pt x="383" y="38028"/>
                          <a:pt x="3987" y="32940"/>
                        </a:cubicBezTo>
                        <a:lnTo>
                          <a:pt x="20736" y="9301"/>
                        </a:lnTo>
                        <a:cubicBezTo>
                          <a:pt x="24340" y="4213"/>
                          <a:pt x="29852" y="980"/>
                          <a:pt x="36292" y="185"/>
                        </a:cubicBezTo>
                        <a:cubicBezTo>
                          <a:pt x="42573" y="-584"/>
                          <a:pt x="48933" y="1059"/>
                          <a:pt x="54286" y="4849"/>
                        </a:cubicBezTo>
                        <a:cubicBezTo>
                          <a:pt x="59640" y="8639"/>
                          <a:pt x="63323" y="14098"/>
                          <a:pt x="64675" y="20273"/>
                        </a:cubicBezTo>
                        <a:cubicBezTo>
                          <a:pt x="66079" y="26607"/>
                          <a:pt x="64860" y="32887"/>
                          <a:pt x="61256" y="37975"/>
                        </a:cubicBezTo>
                        <a:lnTo>
                          <a:pt x="44508" y="61641"/>
                        </a:lnTo>
                        <a:cubicBezTo>
                          <a:pt x="40903" y="66729"/>
                          <a:pt x="35391" y="69962"/>
                          <a:pt x="28951" y="70757"/>
                        </a:cubicBezTo>
                        <a:cubicBezTo>
                          <a:pt x="27944" y="70863"/>
                          <a:pt x="26937" y="70916"/>
                          <a:pt x="25930" y="70916"/>
                        </a:cubicBezTo>
                        <a:close/>
                        <a:moveTo>
                          <a:pt x="39287" y="9805"/>
                        </a:moveTo>
                        <a:cubicBezTo>
                          <a:pt x="38677" y="9805"/>
                          <a:pt x="38094" y="9831"/>
                          <a:pt x="37485" y="9911"/>
                        </a:cubicBezTo>
                        <a:cubicBezTo>
                          <a:pt x="33828" y="10361"/>
                          <a:pt x="30727" y="12163"/>
                          <a:pt x="28739" y="14973"/>
                        </a:cubicBezTo>
                        <a:lnTo>
                          <a:pt x="11991" y="38638"/>
                        </a:lnTo>
                        <a:cubicBezTo>
                          <a:pt x="10003" y="41447"/>
                          <a:pt x="9340" y="44972"/>
                          <a:pt x="10136" y="48576"/>
                        </a:cubicBezTo>
                        <a:cubicBezTo>
                          <a:pt x="10957" y="52339"/>
                          <a:pt x="13263" y="55731"/>
                          <a:pt x="16602" y="58090"/>
                        </a:cubicBezTo>
                        <a:cubicBezTo>
                          <a:pt x="19941" y="60475"/>
                          <a:pt x="23916" y="61508"/>
                          <a:pt x="27732" y="61032"/>
                        </a:cubicBezTo>
                        <a:cubicBezTo>
                          <a:pt x="31389" y="60581"/>
                          <a:pt x="34490" y="58806"/>
                          <a:pt x="36478" y="55970"/>
                        </a:cubicBezTo>
                        <a:lnTo>
                          <a:pt x="53226" y="32304"/>
                        </a:lnTo>
                        <a:cubicBezTo>
                          <a:pt x="53226" y="32304"/>
                          <a:pt x="53226" y="32304"/>
                          <a:pt x="53226" y="32304"/>
                        </a:cubicBezTo>
                        <a:cubicBezTo>
                          <a:pt x="55214" y="29495"/>
                          <a:pt x="55877" y="25971"/>
                          <a:pt x="55081" y="22366"/>
                        </a:cubicBezTo>
                        <a:cubicBezTo>
                          <a:pt x="54260" y="18603"/>
                          <a:pt x="51954" y="15211"/>
                          <a:pt x="48589" y="12826"/>
                        </a:cubicBezTo>
                        <a:cubicBezTo>
                          <a:pt x="45780" y="10865"/>
                          <a:pt x="42546" y="9805"/>
                          <a:pt x="39287" y="9805"/>
                        </a:cubicBezTo>
                        <a:close/>
                      </a:path>
                    </a:pathLst>
                  </a:custGeom>
                  <a:solidFill>
                    <a:schemeClr val="accent1"/>
                  </a:solidFill>
                  <a:ln w="2647" cap="flat">
                    <a:noFill/>
                    <a:prstDash val="solid"/>
                    <a:miter/>
                  </a:ln>
                </p:spPr>
                <p:txBody>
                  <a:bodyPr rtlCol="0" anchor="ctr"/>
                  <a:lstStyle/>
                  <a:p>
                    <a:endParaRPr lang="en-GB" dirty="0"/>
                  </a:p>
                </p:txBody>
              </p:sp>
              <p:sp>
                <p:nvSpPr>
                  <p:cNvPr id="282" name="Freihandform: Form 1054">
                    <a:extLst>
                      <a:ext uri="{FF2B5EF4-FFF2-40B4-BE49-F238E27FC236}">
                        <a16:creationId xmlns:a16="http://schemas.microsoft.com/office/drawing/2014/main" id="{0F904802-1784-44E7-9A3D-5198B8C83AA5}"/>
                      </a:ext>
                    </a:extLst>
                  </p:cNvPr>
                  <p:cNvSpPr/>
                  <p:nvPr/>
                </p:nvSpPr>
                <p:spPr>
                  <a:xfrm>
                    <a:off x="5447558" y="4531932"/>
                    <a:ext cx="78367" cy="88740"/>
                  </a:xfrm>
                  <a:custGeom>
                    <a:avLst/>
                    <a:gdLst>
                      <a:gd name="connsiteX0" fmla="*/ 26569 w 78367"/>
                      <a:gd name="connsiteY0" fmla="*/ 88741 h 88740"/>
                      <a:gd name="connsiteX1" fmla="*/ 11251 w 78367"/>
                      <a:gd name="connsiteY1" fmla="*/ 83838 h 88740"/>
                      <a:gd name="connsiteX2" fmla="*/ 386 w 78367"/>
                      <a:gd name="connsiteY2" fmla="*/ 66586 h 88740"/>
                      <a:gd name="connsiteX3" fmla="*/ 4891 w 78367"/>
                      <a:gd name="connsiteY3" fmla="*/ 46710 h 88740"/>
                      <a:gd name="connsiteX4" fmla="*/ 29988 w 78367"/>
                      <a:gd name="connsiteY4" fmla="*/ 11251 h 88740"/>
                      <a:gd name="connsiteX5" fmla="*/ 47240 w 78367"/>
                      <a:gd name="connsiteY5" fmla="*/ 386 h 88740"/>
                      <a:gd name="connsiteX6" fmla="*/ 67116 w 78367"/>
                      <a:gd name="connsiteY6" fmla="*/ 4891 h 88740"/>
                      <a:gd name="connsiteX7" fmla="*/ 77981 w 78367"/>
                      <a:gd name="connsiteY7" fmla="*/ 22143 h 88740"/>
                      <a:gd name="connsiteX8" fmla="*/ 73476 w 78367"/>
                      <a:gd name="connsiteY8" fmla="*/ 42019 h 88740"/>
                      <a:gd name="connsiteX9" fmla="*/ 48353 w 78367"/>
                      <a:gd name="connsiteY9" fmla="*/ 77478 h 88740"/>
                      <a:gd name="connsiteX10" fmla="*/ 31101 w 78367"/>
                      <a:gd name="connsiteY10" fmla="*/ 88343 h 88740"/>
                      <a:gd name="connsiteX11" fmla="*/ 26569 w 78367"/>
                      <a:gd name="connsiteY11" fmla="*/ 88741 h 88740"/>
                      <a:gd name="connsiteX12" fmla="*/ 51772 w 78367"/>
                      <a:gd name="connsiteY12" fmla="*/ 9794 h 88740"/>
                      <a:gd name="connsiteX13" fmla="*/ 48883 w 78367"/>
                      <a:gd name="connsiteY13" fmla="*/ 10033 h 88740"/>
                      <a:gd name="connsiteX14" fmla="*/ 37991 w 78367"/>
                      <a:gd name="connsiteY14" fmla="*/ 16896 h 88740"/>
                      <a:gd name="connsiteX15" fmla="*/ 12895 w 78367"/>
                      <a:gd name="connsiteY15" fmla="*/ 52355 h 88740"/>
                      <a:gd name="connsiteX16" fmla="*/ 12895 w 78367"/>
                      <a:gd name="connsiteY16" fmla="*/ 52355 h 88740"/>
                      <a:gd name="connsiteX17" fmla="*/ 10032 w 78367"/>
                      <a:gd name="connsiteY17" fmla="*/ 64916 h 88740"/>
                      <a:gd name="connsiteX18" fmla="*/ 16896 w 78367"/>
                      <a:gd name="connsiteY18" fmla="*/ 75808 h 88740"/>
                      <a:gd name="connsiteX19" fmla="*/ 29458 w 78367"/>
                      <a:gd name="connsiteY19" fmla="*/ 78671 h 88740"/>
                      <a:gd name="connsiteX20" fmla="*/ 40350 w 78367"/>
                      <a:gd name="connsiteY20" fmla="*/ 71807 h 88740"/>
                      <a:gd name="connsiteX21" fmla="*/ 65473 w 78367"/>
                      <a:gd name="connsiteY21" fmla="*/ 36321 h 88740"/>
                      <a:gd name="connsiteX22" fmla="*/ 68335 w 78367"/>
                      <a:gd name="connsiteY22" fmla="*/ 23760 h 88740"/>
                      <a:gd name="connsiteX23" fmla="*/ 61471 w 78367"/>
                      <a:gd name="connsiteY23" fmla="*/ 12841 h 88740"/>
                      <a:gd name="connsiteX24" fmla="*/ 51772 w 78367"/>
                      <a:gd name="connsiteY24" fmla="*/ 9794 h 88740"/>
                      <a:gd name="connsiteX25" fmla="*/ 8893 w 78367"/>
                      <a:gd name="connsiteY25" fmla="*/ 49545 h 88740"/>
                      <a:gd name="connsiteX26" fmla="*/ 8946 w 78367"/>
                      <a:gd name="connsiteY26" fmla="*/ 49545 h 88740"/>
                      <a:gd name="connsiteX27" fmla="*/ 8893 w 78367"/>
                      <a:gd name="connsiteY27" fmla="*/ 49545 h 88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8367" h="88740">
                        <a:moveTo>
                          <a:pt x="26569" y="88741"/>
                        </a:moveTo>
                        <a:cubicBezTo>
                          <a:pt x="21110" y="88741"/>
                          <a:pt x="15783" y="87071"/>
                          <a:pt x="11251" y="83838"/>
                        </a:cubicBezTo>
                        <a:cubicBezTo>
                          <a:pt x="5448" y="79730"/>
                          <a:pt x="1579" y="73609"/>
                          <a:pt x="386" y="66586"/>
                        </a:cubicBezTo>
                        <a:cubicBezTo>
                          <a:pt x="-807" y="59563"/>
                          <a:pt x="783" y="52514"/>
                          <a:pt x="4891" y="46710"/>
                        </a:cubicBezTo>
                        <a:lnTo>
                          <a:pt x="29988" y="11251"/>
                        </a:lnTo>
                        <a:cubicBezTo>
                          <a:pt x="34095" y="5448"/>
                          <a:pt x="40217" y="1605"/>
                          <a:pt x="47240" y="386"/>
                        </a:cubicBezTo>
                        <a:cubicBezTo>
                          <a:pt x="54263" y="-807"/>
                          <a:pt x="61312" y="784"/>
                          <a:pt x="67116" y="4891"/>
                        </a:cubicBezTo>
                        <a:cubicBezTo>
                          <a:pt x="72920" y="8999"/>
                          <a:pt x="76789" y="15121"/>
                          <a:pt x="77981" y="22143"/>
                        </a:cubicBezTo>
                        <a:cubicBezTo>
                          <a:pt x="79174" y="29140"/>
                          <a:pt x="77584" y="36216"/>
                          <a:pt x="73476" y="42019"/>
                        </a:cubicBezTo>
                        <a:lnTo>
                          <a:pt x="48353" y="77478"/>
                        </a:lnTo>
                        <a:cubicBezTo>
                          <a:pt x="44245" y="83282"/>
                          <a:pt x="38124" y="87151"/>
                          <a:pt x="31101" y="88343"/>
                        </a:cubicBezTo>
                        <a:cubicBezTo>
                          <a:pt x="29590" y="88609"/>
                          <a:pt x="28080" y="88741"/>
                          <a:pt x="26569" y="88741"/>
                        </a:cubicBezTo>
                        <a:close/>
                        <a:moveTo>
                          <a:pt x="51772" y="9794"/>
                        </a:moveTo>
                        <a:cubicBezTo>
                          <a:pt x="50818" y="9794"/>
                          <a:pt x="49864" y="9873"/>
                          <a:pt x="48883" y="10033"/>
                        </a:cubicBezTo>
                        <a:cubicBezTo>
                          <a:pt x="44457" y="10801"/>
                          <a:pt x="40588" y="13239"/>
                          <a:pt x="37991" y="16896"/>
                        </a:cubicBezTo>
                        <a:lnTo>
                          <a:pt x="12895" y="52355"/>
                        </a:lnTo>
                        <a:cubicBezTo>
                          <a:pt x="12895" y="52355"/>
                          <a:pt x="12895" y="52355"/>
                          <a:pt x="12895" y="52355"/>
                        </a:cubicBezTo>
                        <a:cubicBezTo>
                          <a:pt x="10297" y="56038"/>
                          <a:pt x="9290" y="60490"/>
                          <a:pt x="10032" y="64916"/>
                        </a:cubicBezTo>
                        <a:cubicBezTo>
                          <a:pt x="10801" y="69342"/>
                          <a:pt x="13239" y="73211"/>
                          <a:pt x="16896" y="75808"/>
                        </a:cubicBezTo>
                        <a:cubicBezTo>
                          <a:pt x="20553" y="78405"/>
                          <a:pt x="25006" y="79412"/>
                          <a:pt x="29458" y="78671"/>
                        </a:cubicBezTo>
                        <a:cubicBezTo>
                          <a:pt x="33883" y="77928"/>
                          <a:pt x="37753" y="75464"/>
                          <a:pt x="40350" y="71807"/>
                        </a:cubicBezTo>
                        <a:lnTo>
                          <a:pt x="65473" y="36321"/>
                        </a:lnTo>
                        <a:cubicBezTo>
                          <a:pt x="68070" y="32664"/>
                          <a:pt x="69077" y="28186"/>
                          <a:pt x="68335" y="23760"/>
                        </a:cubicBezTo>
                        <a:cubicBezTo>
                          <a:pt x="67566" y="19334"/>
                          <a:pt x="65128" y="15439"/>
                          <a:pt x="61471" y="12841"/>
                        </a:cubicBezTo>
                        <a:cubicBezTo>
                          <a:pt x="58583" y="10854"/>
                          <a:pt x="55217" y="9794"/>
                          <a:pt x="51772" y="9794"/>
                        </a:cubicBezTo>
                        <a:close/>
                        <a:moveTo>
                          <a:pt x="8893" y="49545"/>
                        </a:moveTo>
                        <a:lnTo>
                          <a:pt x="8946" y="49545"/>
                        </a:lnTo>
                        <a:lnTo>
                          <a:pt x="8893" y="49545"/>
                        </a:lnTo>
                        <a:close/>
                      </a:path>
                    </a:pathLst>
                  </a:custGeom>
                  <a:solidFill>
                    <a:schemeClr val="accent1"/>
                  </a:solidFill>
                  <a:ln w="2647" cap="flat">
                    <a:noFill/>
                    <a:prstDash val="solid"/>
                    <a:miter/>
                  </a:ln>
                </p:spPr>
                <p:txBody>
                  <a:bodyPr rtlCol="0" anchor="ctr"/>
                  <a:lstStyle/>
                  <a:p>
                    <a:endParaRPr lang="en-GB" dirty="0"/>
                  </a:p>
                </p:txBody>
              </p:sp>
              <p:sp>
                <p:nvSpPr>
                  <p:cNvPr id="283" name="Freihandform: Form 1055">
                    <a:extLst>
                      <a:ext uri="{FF2B5EF4-FFF2-40B4-BE49-F238E27FC236}">
                        <a16:creationId xmlns:a16="http://schemas.microsoft.com/office/drawing/2014/main" id="{80BF81C8-66BA-42B0-90A4-A863B2A2F933}"/>
                      </a:ext>
                    </a:extLst>
                  </p:cNvPr>
                  <p:cNvSpPr/>
                  <p:nvPr/>
                </p:nvSpPr>
                <p:spPr>
                  <a:xfrm>
                    <a:off x="5483029" y="4554098"/>
                    <a:ext cx="80474" cy="91671"/>
                  </a:xfrm>
                  <a:custGeom>
                    <a:avLst/>
                    <a:gdLst>
                      <a:gd name="connsiteX0" fmla="*/ 26583 w 80474"/>
                      <a:gd name="connsiteY0" fmla="*/ 91672 h 91671"/>
                      <a:gd name="connsiteX1" fmla="*/ 11239 w 80474"/>
                      <a:gd name="connsiteY1" fmla="*/ 86796 h 91671"/>
                      <a:gd name="connsiteX2" fmla="*/ 4879 w 80474"/>
                      <a:gd name="connsiteY2" fmla="*/ 49667 h 91671"/>
                      <a:gd name="connsiteX3" fmla="*/ 4879 w 80474"/>
                      <a:gd name="connsiteY3" fmla="*/ 49667 h 91671"/>
                      <a:gd name="connsiteX4" fmla="*/ 32095 w 80474"/>
                      <a:gd name="connsiteY4" fmla="*/ 11241 h 91671"/>
                      <a:gd name="connsiteX5" fmla="*/ 49347 w 80474"/>
                      <a:gd name="connsiteY5" fmla="*/ 375 h 91671"/>
                      <a:gd name="connsiteX6" fmla="*/ 69223 w 80474"/>
                      <a:gd name="connsiteY6" fmla="*/ 4880 h 91671"/>
                      <a:gd name="connsiteX7" fmla="*/ 80089 w 80474"/>
                      <a:gd name="connsiteY7" fmla="*/ 22133 h 91671"/>
                      <a:gd name="connsiteX8" fmla="*/ 75584 w 80474"/>
                      <a:gd name="connsiteY8" fmla="*/ 42009 h 91671"/>
                      <a:gd name="connsiteX9" fmla="*/ 48393 w 80474"/>
                      <a:gd name="connsiteY9" fmla="*/ 80435 h 91671"/>
                      <a:gd name="connsiteX10" fmla="*/ 26583 w 80474"/>
                      <a:gd name="connsiteY10" fmla="*/ 91672 h 91671"/>
                      <a:gd name="connsiteX11" fmla="*/ 12882 w 80474"/>
                      <a:gd name="connsiteY11" fmla="*/ 55312 h 91671"/>
                      <a:gd name="connsiteX12" fmla="*/ 16884 w 80474"/>
                      <a:gd name="connsiteY12" fmla="*/ 78792 h 91671"/>
                      <a:gd name="connsiteX13" fmla="*/ 40364 w 80474"/>
                      <a:gd name="connsiteY13" fmla="*/ 74764 h 91671"/>
                      <a:gd name="connsiteX14" fmla="*/ 67554 w 80474"/>
                      <a:gd name="connsiteY14" fmla="*/ 36337 h 91671"/>
                      <a:gd name="connsiteX15" fmla="*/ 70416 w 80474"/>
                      <a:gd name="connsiteY15" fmla="*/ 23776 h 91671"/>
                      <a:gd name="connsiteX16" fmla="*/ 63552 w 80474"/>
                      <a:gd name="connsiteY16" fmla="*/ 12884 h 91671"/>
                      <a:gd name="connsiteX17" fmla="*/ 50991 w 80474"/>
                      <a:gd name="connsiteY17" fmla="*/ 10022 h 91671"/>
                      <a:gd name="connsiteX18" fmla="*/ 40099 w 80474"/>
                      <a:gd name="connsiteY18" fmla="*/ 16886 h 91671"/>
                      <a:gd name="connsiteX19" fmla="*/ 12882 w 80474"/>
                      <a:gd name="connsiteY19" fmla="*/ 55312 h 9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0474" h="91671">
                        <a:moveTo>
                          <a:pt x="26583" y="91672"/>
                        </a:moveTo>
                        <a:cubicBezTo>
                          <a:pt x="21256" y="91672"/>
                          <a:pt x="15903" y="90082"/>
                          <a:pt x="11239" y="86796"/>
                        </a:cubicBezTo>
                        <a:cubicBezTo>
                          <a:pt x="-740" y="78315"/>
                          <a:pt x="-3602" y="61673"/>
                          <a:pt x="4879" y="49667"/>
                        </a:cubicBezTo>
                        <a:lnTo>
                          <a:pt x="4879" y="49667"/>
                        </a:lnTo>
                        <a:lnTo>
                          <a:pt x="32095" y="11241"/>
                        </a:lnTo>
                        <a:cubicBezTo>
                          <a:pt x="36203" y="5437"/>
                          <a:pt x="42325" y="1568"/>
                          <a:pt x="49347" y="375"/>
                        </a:cubicBezTo>
                        <a:cubicBezTo>
                          <a:pt x="56344" y="-791"/>
                          <a:pt x="63420" y="773"/>
                          <a:pt x="69223" y="4880"/>
                        </a:cubicBezTo>
                        <a:cubicBezTo>
                          <a:pt x="75027" y="8988"/>
                          <a:pt x="78896" y="15110"/>
                          <a:pt x="80089" y="22133"/>
                        </a:cubicBezTo>
                        <a:cubicBezTo>
                          <a:pt x="81281" y="29156"/>
                          <a:pt x="79691" y="36205"/>
                          <a:pt x="75584" y="42009"/>
                        </a:cubicBezTo>
                        <a:lnTo>
                          <a:pt x="48393" y="80435"/>
                        </a:lnTo>
                        <a:cubicBezTo>
                          <a:pt x="43173" y="87776"/>
                          <a:pt x="34957" y="91672"/>
                          <a:pt x="26583" y="91672"/>
                        </a:cubicBezTo>
                        <a:close/>
                        <a:moveTo>
                          <a:pt x="12882" y="55312"/>
                        </a:moveTo>
                        <a:cubicBezTo>
                          <a:pt x="7529" y="62891"/>
                          <a:pt x="9331" y="73439"/>
                          <a:pt x="16884" y="78792"/>
                        </a:cubicBezTo>
                        <a:cubicBezTo>
                          <a:pt x="24463" y="84145"/>
                          <a:pt x="34984" y="82344"/>
                          <a:pt x="40364" y="74764"/>
                        </a:cubicBezTo>
                        <a:lnTo>
                          <a:pt x="67554" y="36337"/>
                        </a:lnTo>
                        <a:cubicBezTo>
                          <a:pt x="70151" y="32680"/>
                          <a:pt x="71158" y="28202"/>
                          <a:pt x="70416" y="23776"/>
                        </a:cubicBezTo>
                        <a:cubicBezTo>
                          <a:pt x="69647" y="19350"/>
                          <a:pt x="67209" y="15454"/>
                          <a:pt x="63552" y="12884"/>
                        </a:cubicBezTo>
                        <a:cubicBezTo>
                          <a:pt x="59895" y="10287"/>
                          <a:pt x="55416" y="9280"/>
                          <a:pt x="50991" y="10022"/>
                        </a:cubicBezTo>
                        <a:cubicBezTo>
                          <a:pt x="46565" y="10790"/>
                          <a:pt x="42696" y="13228"/>
                          <a:pt x="40099" y="16886"/>
                        </a:cubicBezTo>
                        <a:lnTo>
                          <a:pt x="12882" y="55312"/>
                        </a:lnTo>
                        <a:close/>
                      </a:path>
                    </a:pathLst>
                  </a:custGeom>
                  <a:solidFill>
                    <a:schemeClr val="accent1"/>
                  </a:solidFill>
                  <a:ln w="2647" cap="flat">
                    <a:noFill/>
                    <a:prstDash val="solid"/>
                    <a:miter/>
                  </a:ln>
                </p:spPr>
                <p:txBody>
                  <a:bodyPr rtlCol="0" anchor="ctr"/>
                  <a:lstStyle/>
                  <a:p>
                    <a:endParaRPr lang="en-GB" dirty="0"/>
                  </a:p>
                </p:txBody>
              </p:sp>
            </p:grpSp>
            <p:sp>
              <p:nvSpPr>
                <p:cNvPr id="280" name="Freihandform: Form 1056">
                  <a:extLst>
                    <a:ext uri="{FF2B5EF4-FFF2-40B4-BE49-F238E27FC236}">
                      <a16:creationId xmlns:a16="http://schemas.microsoft.com/office/drawing/2014/main" id="{793A4C00-E2E1-4B8D-AE06-8FE98600CF71}"/>
                    </a:ext>
                  </a:extLst>
                </p:cNvPr>
                <p:cNvSpPr/>
                <p:nvPr/>
              </p:nvSpPr>
              <p:spPr>
                <a:xfrm>
                  <a:off x="5516052" y="4593406"/>
                  <a:ext cx="64801" cy="73564"/>
                </a:xfrm>
                <a:custGeom>
                  <a:avLst/>
                  <a:gdLst>
                    <a:gd name="connsiteX0" fmla="*/ 21943 w 64801"/>
                    <a:gd name="connsiteY0" fmla="*/ 73564 h 73564"/>
                    <a:gd name="connsiteX1" fmla="*/ 9249 w 64801"/>
                    <a:gd name="connsiteY1" fmla="*/ 69457 h 73564"/>
                    <a:gd name="connsiteX2" fmla="*/ 3471 w 64801"/>
                    <a:gd name="connsiteY2" fmla="*/ 40915 h 73564"/>
                    <a:gd name="connsiteX3" fmla="*/ 26686 w 64801"/>
                    <a:gd name="connsiteY3" fmla="*/ 8133 h 73564"/>
                    <a:gd name="connsiteX4" fmla="*/ 40096 w 64801"/>
                    <a:gd name="connsiteY4" fmla="*/ 183 h 73564"/>
                    <a:gd name="connsiteX5" fmla="*/ 55520 w 64801"/>
                    <a:gd name="connsiteY5" fmla="*/ 4105 h 73564"/>
                    <a:gd name="connsiteX6" fmla="*/ 64345 w 64801"/>
                    <a:gd name="connsiteY6" fmla="*/ 17355 h 73564"/>
                    <a:gd name="connsiteX7" fmla="*/ 61297 w 64801"/>
                    <a:gd name="connsiteY7" fmla="*/ 32673 h 73564"/>
                    <a:gd name="connsiteX8" fmla="*/ 38082 w 64801"/>
                    <a:gd name="connsiteY8" fmla="*/ 65455 h 73564"/>
                    <a:gd name="connsiteX9" fmla="*/ 24672 w 64801"/>
                    <a:gd name="connsiteY9" fmla="*/ 73405 h 73564"/>
                    <a:gd name="connsiteX10" fmla="*/ 21943 w 64801"/>
                    <a:gd name="connsiteY10" fmla="*/ 73564 h 73564"/>
                    <a:gd name="connsiteX11" fmla="*/ 42852 w 64801"/>
                    <a:gd name="connsiteY11" fmla="*/ 9802 h 73564"/>
                    <a:gd name="connsiteX12" fmla="*/ 41395 w 64801"/>
                    <a:gd name="connsiteY12" fmla="*/ 9909 h 73564"/>
                    <a:gd name="connsiteX13" fmla="*/ 34716 w 64801"/>
                    <a:gd name="connsiteY13" fmla="*/ 13831 h 73564"/>
                    <a:gd name="connsiteX14" fmla="*/ 11501 w 64801"/>
                    <a:gd name="connsiteY14" fmla="*/ 46613 h 73564"/>
                    <a:gd name="connsiteX15" fmla="*/ 11501 w 64801"/>
                    <a:gd name="connsiteY15" fmla="*/ 46613 h 73564"/>
                    <a:gd name="connsiteX16" fmla="*/ 14920 w 64801"/>
                    <a:gd name="connsiteY16" fmla="*/ 61480 h 73564"/>
                    <a:gd name="connsiteX17" fmla="*/ 23427 w 64801"/>
                    <a:gd name="connsiteY17" fmla="*/ 63679 h 73564"/>
                    <a:gd name="connsiteX18" fmla="*/ 30105 w 64801"/>
                    <a:gd name="connsiteY18" fmla="*/ 59784 h 73564"/>
                    <a:gd name="connsiteX19" fmla="*/ 53320 w 64801"/>
                    <a:gd name="connsiteY19" fmla="*/ 27002 h 73564"/>
                    <a:gd name="connsiteX20" fmla="*/ 54778 w 64801"/>
                    <a:gd name="connsiteY20" fmla="*/ 19396 h 73564"/>
                    <a:gd name="connsiteX21" fmla="*/ 49875 w 64801"/>
                    <a:gd name="connsiteY21" fmla="*/ 12108 h 73564"/>
                    <a:gd name="connsiteX22" fmla="*/ 42852 w 64801"/>
                    <a:gd name="connsiteY22" fmla="*/ 9802 h 73564"/>
                    <a:gd name="connsiteX23" fmla="*/ 7500 w 64801"/>
                    <a:gd name="connsiteY23" fmla="*/ 43750 h 73564"/>
                    <a:gd name="connsiteX24" fmla="*/ 7553 w 64801"/>
                    <a:gd name="connsiteY24" fmla="*/ 43750 h 73564"/>
                    <a:gd name="connsiteX25" fmla="*/ 7500 w 64801"/>
                    <a:gd name="connsiteY25" fmla="*/ 43750 h 73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4801" h="73564">
                      <a:moveTo>
                        <a:pt x="21943" y="73564"/>
                      </a:moveTo>
                      <a:cubicBezTo>
                        <a:pt x="17464" y="73564"/>
                        <a:pt x="13065" y="72160"/>
                        <a:pt x="9249" y="69457"/>
                      </a:cubicBezTo>
                      <a:cubicBezTo>
                        <a:pt x="-292" y="62699"/>
                        <a:pt x="-2862" y="49899"/>
                        <a:pt x="3471" y="40915"/>
                      </a:cubicBezTo>
                      <a:lnTo>
                        <a:pt x="26686" y="8133"/>
                      </a:lnTo>
                      <a:cubicBezTo>
                        <a:pt x="29814" y="3734"/>
                        <a:pt x="34584" y="898"/>
                        <a:pt x="40096" y="183"/>
                      </a:cubicBezTo>
                      <a:cubicBezTo>
                        <a:pt x="45449" y="-533"/>
                        <a:pt x="50962" y="872"/>
                        <a:pt x="55520" y="4105"/>
                      </a:cubicBezTo>
                      <a:cubicBezTo>
                        <a:pt x="60078" y="7338"/>
                        <a:pt x="63205" y="12029"/>
                        <a:pt x="64345" y="17355"/>
                      </a:cubicBezTo>
                      <a:cubicBezTo>
                        <a:pt x="65511" y="22815"/>
                        <a:pt x="64424" y="28247"/>
                        <a:pt x="61297" y="32673"/>
                      </a:cubicBezTo>
                      <a:lnTo>
                        <a:pt x="38082" y="65455"/>
                      </a:lnTo>
                      <a:cubicBezTo>
                        <a:pt x="34955" y="69854"/>
                        <a:pt x="30185" y="72690"/>
                        <a:pt x="24672" y="73405"/>
                      </a:cubicBezTo>
                      <a:cubicBezTo>
                        <a:pt x="23771" y="73485"/>
                        <a:pt x="22844" y="73564"/>
                        <a:pt x="21943" y="73564"/>
                      </a:cubicBezTo>
                      <a:close/>
                      <a:moveTo>
                        <a:pt x="42852" y="9802"/>
                      </a:moveTo>
                      <a:cubicBezTo>
                        <a:pt x="42349" y="9802"/>
                        <a:pt x="41872" y="9829"/>
                        <a:pt x="41395" y="9909"/>
                      </a:cubicBezTo>
                      <a:cubicBezTo>
                        <a:pt x="38612" y="10279"/>
                        <a:pt x="36227" y="11657"/>
                        <a:pt x="34716" y="13831"/>
                      </a:cubicBezTo>
                      <a:lnTo>
                        <a:pt x="11501" y="46613"/>
                      </a:lnTo>
                      <a:lnTo>
                        <a:pt x="11501" y="46613"/>
                      </a:lnTo>
                      <a:cubicBezTo>
                        <a:pt x="8268" y="51197"/>
                        <a:pt x="9805" y="57849"/>
                        <a:pt x="14920" y="61480"/>
                      </a:cubicBezTo>
                      <a:cubicBezTo>
                        <a:pt x="17464" y="63282"/>
                        <a:pt x="20485" y="64050"/>
                        <a:pt x="23427" y="63679"/>
                      </a:cubicBezTo>
                      <a:cubicBezTo>
                        <a:pt x="26209" y="63308"/>
                        <a:pt x="28595" y="61930"/>
                        <a:pt x="30105" y="59784"/>
                      </a:cubicBezTo>
                      <a:lnTo>
                        <a:pt x="53320" y="27002"/>
                      </a:lnTo>
                      <a:cubicBezTo>
                        <a:pt x="54857" y="24855"/>
                        <a:pt x="55361" y="22152"/>
                        <a:pt x="54778" y="19396"/>
                      </a:cubicBezTo>
                      <a:cubicBezTo>
                        <a:pt x="54168" y="16507"/>
                        <a:pt x="52419" y="13910"/>
                        <a:pt x="49875" y="12108"/>
                      </a:cubicBezTo>
                      <a:cubicBezTo>
                        <a:pt x="47728" y="10597"/>
                        <a:pt x="45290" y="9802"/>
                        <a:pt x="42852" y="9802"/>
                      </a:cubicBezTo>
                      <a:close/>
                      <a:moveTo>
                        <a:pt x="7500" y="43750"/>
                      </a:moveTo>
                      <a:lnTo>
                        <a:pt x="7553" y="43750"/>
                      </a:lnTo>
                      <a:lnTo>
                        <a:pt x="7500" y="43750"/>
                      </a:lnTo>
                      <a:close/>
                    </a:path>
                  </a:pathLst>
                </a:custGeom>
                <a:solidFill>
                  <a:schemeClr val="accent1"/>
                </a:solidFill>
                <a:ln w="2647" cap="flat">
                  <a:noFill/>
                  <a:prstDash val="solid"/>
                  <a:miter/>
                </a:ln>
              </p:spPr>
              <p:txBody>
                <a:bodyPr rtlCol="0" anchor="ctr"/>
                <a:lstStyle/>
                <a:p>
                  <a:endParaRPr lang="en-GB" dirty="0"/>
                </a:p>
              </p:txBody>
            </p:sp>
          </p:grpSp>
          <p:sp>
            <p:nvSpPr>
              <p:cNvPr id="278" name="Freihandform: Form 1057">
                <a:extLst>
                  <a:ext uri="{FF2B5EF4-FFF2-40B4-BE49-F238E27FC236}">
                    <a16:creationId xmlns:a16="http://schemas.microsoft.com/office/drawing/2014/main" id="{2859A05C-D2EE-4806-B8C2-5A5BC202EE13}"/>
                  </a:ext>
                </a:extLst>
              </p:cNvPr>
              <p:cNvSpPr/>
              <p:nvPr/>
            </p:nvSpPr>
            <p:spPr>
              <a:xfrm>
                <a:off x="5465638" y="4407111"/>
                <a:ext cx="174544" cy="102415"/>
              </a:xfrm>
              <a:custGeom>
                <a:avLst/>
                <a:gdLst>
                  <a:gd name="connsiteX0" fmla="*/ 38594 w 174544"/>
                  <a:gd name="connsiteY0" fmla="*/ 102416 h 102415"/>
                  <a:gd name="connsiteX1" fmla="*/ 3056 w 174544"/>
                  <a:gd name="connsiteY1" fmla="*/ 89192 h 102415"/>
                  <a:gd name="connsiteX2" fmla="*/ 2818 w 174544"/>
                  <a:gd name="connsiteY2" fmla="*/ 75279 h 102415"/>
                  <a:gd name="connsiteX3" fmla="*/ 65281 w 174544"/>
                  <a:gd name="connsiteY3" fmla="*/ 12868 h 102415"/>
                  <a:gd name="connsiteX4" fmla="*/ 91332 w 174544"/>
                  <a:gd name="connsiteY4" fmla="*/ 307 h 102415"/>
                  <a:gd name="connsiteX5" fmla="*/ 134873 w 174544"/>
                  <a:gd name="connsiteY5" fmla="*/ 466 h 102415"/>
                  <a:gd name="connsiteX6" fmla="*/ 139643 w 174544"/>
                  <a:gd name="connsiteY6" fmla="*/ 5475 h 102415"/>
                  <a:gd name="connsiteX7" fmla="*/ 134634 w 174544"/>
                  <a:gd name="connsiteY7" fmla="*/ 10245 h 102415"/>
                  <a:gd name="connsiteX8" fmla="*/ 92736 w 174544"/>
                  <a:gd name="connsiteY8" fmla="*/ 9980 h 102415"/>
                  <a:gd name="connsiteX9" fmla="*/ 72171 w 174544"/>
                  <a:gd name="connsiteY9" fmla="*/ 19812 h 102415"/>
                  <a:gd name="connsiteX10" fmla="*/ 9920 w 174544"/>
                  <a:gd name="connsiteY10" fmla="*/ 82010 h 102415"/>
                  <a:gd name="connsiteX11" fmla="*/ 21156 w 174544"/>
                  <a:gd name="connsiteY11" fmla="*/ 89271 h 102415"/>
                  <a:gd name="connsiteX12" fmla="*/ 57622 w 174544"/>
                  <a:gd name="connsiteY12" fmla="*/ 87098 h 102415"/>
                  <a:gd name="connsiteX13" fmla="*/ 98354 w 174544"/>
                  <a:gd name="connsiteY13" fmla="*/ 46578 h 102415"/>
                  <a:gd name="connsiteX14" fmla="*/ 99202 w 174544"/>
                  <a:gd name="connsiteY14" fmla="*/ 45650 h 102415"/>
                  <a:gd name="connsiteX15" fmla="*/ 103867 w 174544"/>
                  <a:gd name="connsiteY15" fmla="*/ 44060 h 102415"/>
                  <a:gd name="connsiteX16" fmla="*/ 107550 w 174544"/>
                  <a:gd name="connsiteY16" fmla="*/ 47320 h 102415"/>
                  <a:gd name="connsiteX17" fmla="*/ 154510 w 174544"/>
                  <a:gd name="connsiteY17" fmla="*/ 70800 h 102415"/>
                  <a:gd name="connsiteX18" fmla="*/ 156524 w 174544"/>
                  <a:gd name="connsiteY18" fmla="*/ 70164 h 102415"/>
                  <a:gd name="connsiteX19" fmla="*/ 166966 w 174544"/>
                  <a:gd name="connsiteY19" fmla="*/ 65367 h 102415"/>
                  <a:gd name="connsiteX20" fmla="*/ 173750 w 174544"/>
                  <a:gd name="connsiteY20" fmla="*/ 66798 h 102415"/>
                  <a:gd name="connsiteX21" fmla="*/ 172319 w 174544"/>
                  <a:gd name="connsiteY21" fmla="*/ 73583 h 102415"/>
                  <a:gd name="connsiteX22" fmla="*/ 159678 w 174544"/>
                  <a:gd name="connsiteY22" fmla="*/ 79439 h 102415"/>
                  <a:gd name="connsiteX23" fmla="*/ 157293 w 174544"/>
                  <a:gd name="connsiteY23" fmla="*/ 80181 h 102415"/>
                  <a:gd name="connsiteX24" fmla="*/ 101269 w 174544"/>
                  <a:gd name="connsiteY24" fmla="*/ 57470 h 102415"/>
                  <a:gd name="connsiteX25" fmla="*/ 64247 w 174544"/>
                  <a:gd name="connsiteY25" fmla="*/ 94306 h 102415"/>
                  <a:gd name="connsiteX26" fmla="*/ 63691 w 174544"/>
                  <a:gd name="connsiteY26" fmla="*/ 94784 h 102415"/>
                  <a:gd name="connsiteX27" fmla="*/ 38594 w 174544"/>
                  <a:gd name="connsiteY27" fmla="*/ 102416 h 102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4544" h="102415">
                    <a:moveTo>
                      <a:pt x="38594" y="102416"/>
                    </a:moveTo>
                    <a:cubicBezTo>
                      <a:pt x="23515" y="102416"/>
                      <a:pt x="8886" y="96056"/>
                      <a:pt x="3056" y="89192"/>
                    </a:cubicBezTo>
                    <a:cubicBezTo>
                      <a:pt x="-1794" y="83494"/>
                      <a:pt x="-97" y="78141"/>
                      <a:pt x="2818" y="75279"/>
                    </a:cubicBezTo>
                    <a:lnTo>
                      <a:pt x="65281" y="12868"/>
                    </a:lnTo>
                    <a:cubicBezTo>
                      <a:pt x="65413" y="12736"/>
                      <a:pt x="76411" y="2453"/>
                      <a:pt x="91332" y="307"/>
                    </a:cubicBezTo>
                    <a:cubicBezTo>
                      <a:pt x="96155" y="-409"/>
                      <a:pt x="128433" y="333"/>
                      <a:pt x="134873" y="466"/>
                    </a:cubicBezTo>
                    <a:cubicBezTo>
                      <a:pt x="137576" y="519"/>
                      <a:pt x="139723" y="2771"/>
                      <a:pt x="139643" y="5475"/>
                    </a:cubicBezTo>
                    <a:cubicBezTo>
                      <a:pt x="139590" y="8178"/>
                      <a:pt x="137258" y="10536"/>
                      <a:pt x="134634" y="10245"/>
                    </a:cubicBezTo>
                    <a:cubicBezTo>
                      <a:pt x="116375" y="9794"/>
                      <a:pt x="95492" y="9582"/>
                      <a:pt x="92736" y="9980"/>
                    </a:cubicBezTo>
                    <a:cubicBezTo>
                      <a:pt x="81314" y="11623"/>
                      <a:pt x="72251" y="19732"/>
                      <a:pt x="72171" y="19812"/>
                    </a:cubicBezTo>
                    <a:lnTo>
                      <a:pt x="9920" y="82010"/>
                    </a:lnTo>
                    <a:cubicBezTo>
                      <a:pt x="10636" y="83308"/>
                      <a:pt x="13869" y="86515"/>
                      <a:pt x="21156" y="89271"/>
                    </a:cubicBezTo>
                    <a:cubicBezTo>
                      <a:pt x="31253" y="93088"/>
                      <a:pt x="46810" y="94810"/>
                      <a:pt x="57622" y="87098"/>
                    </a:cubicBezTo>
                    <a:lnTo>
                      <a:pt x="98354" y="46578"/>
                    </a:lnTo>
                    <a:cubicBezTo>
                      <a:pt x="98699" y="46233"/>
                      <a:pt x="98964" y="45942"/>
                      <a:pt x="99202" y="45650"/>
                    </a:cubicBezTo>
                    <a:cubicBezTo>
                      <a:pt x="100342" y="44325"/>
                      <a:pt x="102144" y="43716"/>
                      <a:pt x="103867" y="44060"/>
                    </a:cubicBezTo>
                    <a:cubicBezTo>
                      <a:pt x="105589" y="44405"/>
                      <a:pt x="106994" y="45650"/>
                      <a:pt x="107550" y="47320"/>
                    </a:cubicBezTo>
                    <a:cubicBezTo>
                      <a:pt x="108690" y="50792"/>
                      <a:pt x="119794" y="81029"/>
                      <a:pt x="154510" y="70800"/>
                    </a:cubicBezTo>
                    <a:cubicBezTo>
                      <a:pt x="155173" y="70615"/>
                      <a:pt x="155862" y="70402"/>
                      <a:pt x="156524" y="70164"/>
                    </a:cubicBezTo>
                    <a:cubicBezTo>
                      <a:pt x="160712" y="68786"/>
                      <a:pt x="164210" y="67169"/>
                      <a:pt x="166966" y="65367"/>
                    </a:cubicBezTo>
                    <a:cubicBezTo>
                      <a:pt x="169218" y="63883"/>
                      <a:pt x="172266" y="64546"/>
                      <a:pt x="173750" y="66798"/>
                    </a:cubicBezTo>
                    <a:cubicBezTo>
                      <a:pt x="175234" y="69077"/>
                      <a:pt x="174572" y="72098"/>
                      <a:pt x="172319" y="73583"/>
                    </a:cubicBezTo>
                    <a:cubicBezTo>
                      <a:pt x="168847" y="75835"/>
                      <a:pt x="164607" y="77823"/>
                      <a:pt x="159678" y="79439"/>
                    </a:cubicBezTo>
                    <a:cubicBezTo>
                      <a:pt x="158909" y="79704"/>
                      <a:pt x="158088" y="79943"/>
                      <a:pt x="157293" y="80181"/>
                    </a:cubicBezTo>
                    <a:cubicBezTo>
                      <a:pt x="126896" y="89112"/>
                      <a:pt x="109061" y="72470"/>
                      <a:pt x="101269" y="57470"/>
                    </a:cubicBezTo>
                    <a:lnTo>
                      <a:pt x="64247" y="94306"/>
                    </a:lnTo>
                    <a:cubicBezTo>
                      <a:pt x="64062" y="94492"/>
                      <a:pt x="63876" y="94651"/>
                      <a:pt x="63691" y="94784"/>
                    </a:cubicBezTo>
                    <a:cubicBezTo>
                      <a:pt x="56271" y="100269"/>
                      <a:pt x="47366" y="102416"/>
                      <a:pt x="38594" y="102416"/>
                    </a:cubicBezTo>
                    <a:close/>
                  </a:path>
                </a:pathLst>
              </a:custGeom>
              <a:solidFill>
                <a:schemeClr val="accent1"/>
              </a:solidFill>
              <a:ln w="2647" cap="flat">
                <a:noFill/>
                <a:prstDash val="solid"/>
                <a:miter/>
              </a:ln>
            </p:spPr>
            <p:txBody>
              <a:bodyPr rtlCol="0" anchor="ctr"/>
              <a:lstStyle/>
              <a:p>
                <a:endParaRPr lang="en-GB" dirty="0"/>
              </a:p>
            </p:txBody>
          </p:sp>
        </p:grpSp>
        <p:grpSp>
          <p:nvGrpSpPr>
            <p:cNvPr id="253" name="Group 252">
              <a:extLst>
                <a:ext uri="{FF2B5EF4-FFF2-40B4-BE49-F238E27FC236}">
                  <a16:creationId xmlns:a16="http://schemas.microsoft.com/office/drawing/2014/main" id="{D512C6E0-4B43-4754-B5CF-3C423FF78AB1}"/>
                </a:ext>
              </a:extLst>
            </p:cNvPr>
            <p:cNvGrpSpPr/>
            <p:nvPr/>
          </p:nvGrpSpPr>
          <p:grpSpPr>
            <a:xfrm>
              <a:off x="2681825" y="3197067"/>
              <a:ext cx="406187" cy="424068"/>
              <a:chOff x="5286234" y="4099766"/>
              <a:chExt cx="533309" cy="556789"/>
            </a:xfrm>
            <a:solidFill>
              <a:schemeClr val="tx2"/>
            </a:solidFill>
          </p:grpSpPr>
          <p:sp>
            <p:nvSpPr>
              <p:cNvPr id="254" name="Freihandform: Form 1047">
                <a:extLst>
                  <a:ext uri="{FF2B5EF4-FFF2-40B4-BE49-F238E27FC236}">
                    <a16:creationId xmlns:a16="http://schemas.microsoft.com/office/drawing/2014/main" id="{89216319-CCC5-4EB9-9140-3573EF899CEC}"/>
                  </a:ext>
                </a:extLst>
              </p:cNvPr>
              <p:cNvSpPr/>
              <p:nvPr/>
            </p:nvSpPr>
            <p:spPr>
              <a:xfrm>
                <a:off x="5395975" y="4396871"/>
                <a:ext cx="148591" cy="165075"/>
              </a:xfrm>
              <a:custGeom>
                <a:avLst/>
                <a:gdLst>
                  <a:gd name="connsiteX0" fmla="*/ 4903 w 148591"/>
                  <a:gd name="connsiteY0" fmla="*/ 165076 h 165075"/>
                  <a:gd name="connsiteX1" fmla="*/ 0 w 148591"/>
                  <a:gd name="connsiteY1" fmla="*/ 160173 h 165075"/>
                  <a:gd name="connsiteX2" fmla="*/ 0 w 148591"/>
                  <a:gd name="connsiteY2" fmla="*/ 38665 h 165075"/>
                  <a:gd name="connsiteX3" fmla="*/ 4903 w 148591"/>
                  <a:gd name="connsiteY3" fmla="*/ 33762 h 165075"/>
                  <a:gd name="connsiteX4" fmla="*/ 32835 w 148591"/>
                  <a:gd name="connsiteY4" fmla="*/ 33762 h 165075"/>
                  <a:gd name="connsiteX5" fmla="*/ 89150 w 148591"/>
                  <a:gd name="connsiteY5" fmla="*/ 0 h 165075"/>
                  <a:gd name="connsiteX6" fmla="*/ 143689 w 148591"/>
                  <a:gd name="connsiteY6" fmla="*/ 0 h 165075"/>
                  <a:gd name="connsiteX7" fmla="*/ 148592 w 148591"/>
                  <a:gd name="connsiteY7" fmla="*/ 4903 h 165075"/>
                  <a:gd name="connsiteX8" fmla="*/ 143689 w 148591"/>
                  <a:gd name="connsiteY8" fmla="*/ 9805 h 165075"/>
                  <a:gd name="connsiteX9" fmla="*/ 89150 w 148591"/>
                  <a:gd name="connsiteY9" fmla="*/ 9805 h 165075"/>
                  <a:gd name="connsiteX10" fmla="*/ 40255 w 148591"/>
                  <a:gd name="connsiteY10" fmla="*/ 40759 h 165075"/>
                  <a:gd name="connsiteX11" fmla="*/ 35830 w 148591"/>
                  <a:gd name="connsiteY11" fmla="*/ 43541 h 165075"/>
                  <a:gd name="connsiteX12" fmla="*/ 9779 w 148591"/>
                  <a:gd name="connsiteY12" fmla="*/ 43541 h 165075"/>
                  <a:gd name="connsiteX13" fmla="*/ 9779 w 148591"/>
                  <a:gd name="connsiteY13" fmla="*/ 160146 h 165075"/>
                  <a:gd name="connsiteX14" fmla="*/ 4903 w 148591"/>
                  <a:gd name="connsiteY14" fmla="*/ 165076 h 16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8591" h="165075">
                    <a:moveTo>
                      <a:pt x="4903" y="165076"/>
                    </a:moveTo>
                    <a:cubicBezTo>
                      <a:pt x="2200" y="165076"/>
                      <a:pt x="0" y="162876"/>
                      <a:pt x="0" y="160173"/>
                    </a:cubicBezTo>
                    <a:lnTo>
                      <a:pt x="0" y="38665"/>
                    </a:lnTo>
                    <a:cubicBezTo>
                      <a:pt x="0" y="35962"/>
                      <a:pt x="2200" y="33762"/>
                      <a:pt x="4903" y="33762"/>
                    </a:cubicBezTo>
                    <a:lnTo>
                      <a:pt x="32835" y="33762"/>
                    </a:lnTo>
                    <a:cubicBezTo>
                      <a:pt x="43912" y="13171"/>
                      <a:pt x="65696" y="0"/>
                      <a:pt x="89150" y="0"/>
                    </a:cubicBezTo>
                    <a:lnTo>
                      <a:pt x="143689" y="0"/>
                    </a:lnTo>
                    <a:cubicBezTo>
                      <a:pt x="146392" y="0"/>
                      <a:pt x="148592" y="2199"/>
                      <a:pt x="148592" y="4903"/>
                    </a:cubicBezTo>
                    <a:cubicBezTo>
                      <a:pt x="148592" y="7606"/>
                      <a:pt x="146392" y="9805"/>
                      <a:pt x="143689" y="9805"/>
                    </a:cubicBezTo>
                    <a:lnTo>
                      <a:pt x="89150" y="9805"/>
                    </a:lnTo>
                    <a:cubicBezTo>
                      <a:pt x="68399" y="9805"/>
                      <a:pt x="49213" y="21943"/>
                      <a:pt x="40255" y="40759"/>
                    </a:cubicBezTo>
                    <a:cubicBezTo>
                      <a:pt x="39434" y="42455"/>
                      <a:pt x="37711" y="43541"/>
                      <a:pt x="35830" y="43541"/>
                    </a:cubicBezTo>
                    <a:lnTo>
                      <a:pt x="9779" y="43541"/>
                    </a:lnTo>
                    <a:lnTo>
                      <a:pt x="9779" y="160146"/>
                    </a:lnTo>
                    <a:cubicBezTo>
                      <a:pt x="9805" y="162876"/>
                      <a:pt x="7606" y="165076"/>
                      <a:pt x="4903" y="165076"/>
                    </a:cubicBezTo>
                    <a:close/>
                  </a:path>
                </a:pathLst>
              </a:custGeom>
              <a:grpFill/>
              <a:ln w="2647" cap="flat">
                <a:noFill/>
                <a:prstDash val="solid"/>
                <a:miter/>
              </a:ln>
            </p:spPr>
            <p:txBody>
              <a:bodyPr rtlCol="0" anchor="ctr"/>
              <a:lstStyle/>
              <a:p>
                <a:endParaRPr lang="en-GB" dirty="0"/>
              </a:p>
            </p:txBody>
          </p:sp>
          <p:sp>
            <p:nvSpPr>
              <p:cNvPr id="255" name="Freihandform: Form 1050">
                <a:extLst>
                  <a:ext uri="{FF2B5EF4-FFF2-40B4-BE49-F238E27FC236}">
                    <a16:creationId xmlns:a16="http://schemas.microsoft.com/office/drawing/2014/main" id="{D6D731AE-88D0-4699-A31B-1229EC539B1B}"/>
                  </a:ext>
                </a:extLst>
              </p:cNvPr>
              <p:cNvSpPr/>
              <p:nvPr/>
            </p:nvSpPr>
            <p:spPr>
              <a:xfrm>
                <a:off x="5560958" y="4489724"/>
                <a:ext cx="135525" cy="166831"/>
              </a:xfrm>
              <a:custGeom>
                <a:avLst/>
                <a:gdLst>
                  <a:gd name="connsiteX0" fmla="*/ 14987 w 135525"/>
                  <a:gd name="connsiteY0" fmla="*/ 166805 h 166831"/>
                  <a:gd name="connsiteX1" fmla="*/ 10084 w 135525"/>
                  <a:gd name="connsiteY1" fmla="*/ 161982 h 166831"/>
                  <a:gd name="connsiteX2" fmla="*/ 14934 w 135525"/>
                  <a:gd name="connsiteY2" fmla="*/ 157026 h 166831"/>
                  <a:gd name="connsiteX3" fmla="*/ 25243 w 135525"/>
                  <a:gd name="connsiteY3" fmla="*/ 152759 h 166831"/>
                  <a:gd name="connsiteX4" fmla="*/ 30861 w 135525"/>
                  <a:gd name="connsiteY4" fmla="*/ 142185 h 166831"/>
                  <a:gd name="connsiteX5" fmla="*/ 29245 w 135525"/>
                  <a:gd name="connsiteY5" fmla="*/ 136249 h 166831"/>
                  <a:gd name="connsiteX6" fmla="*/ 24580 w 135525"/>
                  <a:gd name="connsiteY6" fmla="*/ 131240 h 166831"/>
                  <a:gd name="connsiteX7" fmla="*/ 24819 w 135525"/>
                  <a:gd name="connsiteY7" fmla="*/ 124324 h 166831"/>
                  <a:gd name="connsiteX8" fmla="*/ 31736 w 135525"/>
                  <a:gd name="connsiteY8" fmla="*/ 124536 h 166831"/>
                  <a:gd name="connsiteX9" fmla="*/ 36135 w 135525"/>
                  <a:gd name="connsiteY9" fmla="*/ 129200 h 166831"/>
                  <a:gd name="connsiteX10" fmla="*/ 36612 w 135525"/>
                  <a:gd name="connsiteY10" fmla="*/ 129783 h 166831"/>
                  <a:gd name="connsiteX11" fmla="*/ 49863 w 135525"/>
                  <a:gd name="connsiteY11" fmla="*/ 143988 h 166831"/>
                  <a:gd name="connsiteX12" fmla="*/ 67221 w 135525"/>
                  <a:gd name="connsiteY12" fmla="*/ 142610 h 166831"/>
                  <a:gd name="connsiteX13" fmla="*/ 72680 w 135525"/>
                  <a:gd name="connsiteY13" fmla="*/ 133308 h 166831"/>
                  <a:gd name="connsiteX14" fmla="*/ 70878 w 135525"/>
                  <a:gd name="connsiteY14" fmla="*/ 125675 h 166831"/>
                  <a:gd name="connsiteX15" fmla="*/ 1233 w 135525"/>
                  <a:gd name="connsiteY15" fmla="*/ 47205 h 166831"/>
                  <a:gd name="connsiteX16" fmla="*/ 835 w 135525"/>
                  <a:gd name="connsiteY16" fmla="*/ 41216 h 166831"/>
                  <a:gd name="connsiteX17" fmla="*/ 4731 w 135525"/>
                  <a:gd name="connsiteY17" fmla="*/ 38857 h 166831"/>
                  <a:gd name="connsiteX18" fmla="*/ 8865 w 135525"/>
                  <a:gd name="connsiteY18" fmla="*/ 40289 h 166831"/>
                  <a:gd name="connsiteX19" fmla="*/ 76099 w 135525"/>
                  <a:gd name="connsiteY19" fmla="*/ 116665 h 166831"/>
                  <a:gd name="connsiteX20" fmla="*/ 93351 w 135525"/>
                  <a:gd name="connsiteY20" fmla="*/ 115154 h 166831"/>
                  <a:gd name="connsiteX21" fmla="*/ 98810 w 135525"/>
                  <a:gd name="connsiteY21" fmla="*/ 105852 h 166831"/>
                  <a:gd name="connsiteX22" fmla="*/ 97008 w 135525"/>
                  <a:gd name="connsiteY22" fmla="*/ 98220 h 166831"/>
                  <a:gd name="connsiteX23" fmla="*/ 23043 w 135525"/>
                  <a:gd name="connsiteY23" fmla="*/ 14874 h 166831"/>
                  <a:gd name="connsiteX24" fmla="*/ 22646 w 135525"/>
                  <a:gd name="connsiteY24" fmla="*/ 8858 h 166831"/>
                  <a:gd name="connsiteX25" fmla="*/ 26515 w 135525"/>
                  <a:gd name="connsiteY25" fmla="*/ 6526 h 166831"/>
                  <a:gd name="connsiteX26" fmla="*/ 30623 w 135525"/>
                  <a:gd name="connsiteY26" fmla="*/ 8010 h 166831"/>
                  <a:gd name="connsiteX27" fmla="*/ 102865 w 135525"/>
                  <a:gd name="connsiteY27" fmla="*/ 90058 h 166831"/>
                  <a:gd name="connsiteX28" fmla="*/ 120117 w 135525"/>
                  <a:gd name="connsiteY28" fmla="*/ 88574 h 166831"/>
                  <a:gd name="connsiteX29" fmla="*/ 123774 w 135525"/>
                  <a:gd name="connsiteY29" fmla="*/ 71639 h 166831"/>
                  <a:gd name="connsiteX30" fmla="*/ 66585 w 135525"/>
                  <a:gd name="connsiteY30" fmla="*/ 8169 h 166831"/>
                  <a:gd name="connsiteX31" fmla="*/ 66956 w 135525"/>
                  <a:gd name="connsiteY31" fmla="*/ 1252 h 166831"/>
                  <a:gd name="connsiteX32" fmla="*/ 73873 w 135525"/>
                  <a:gd name="connsiteY32" fmla="*/ 1624 h 166831"/>
                  <a:gd name="connsiteX33" fmla="*/ 131115 w 135525"/>
                  <a:gd name="connsiteY33" fmla="*/ 65147 h 166831"/>
                  <a:gd name="connsiteX34" fmla="*/ 126610 w 135525"/>
                  <a:gd name="connsiteY34" fmla="*/ 95941 h 166831"/>
                  <a:gd name="connsiteX35" fmla="*/ 108748 w 135525"/>
                  <a:gd name="connsiteY35" fmla="*/ 102593 h 166831"/>
                  <a:gd name="connsiteX36" fmla="*/ 108457 w 135525"/>
                  <a:gd name="connsiteY36" fmla="*/ 107522 h 166831"/>
                  <a:gd name="connsiteX37" fmla="*/ 99817 w 135525"/>
                  <a:gd name="connsiteY37" fmla="*/ 122495 h 166831"/>
                  <a:gd name="connsiteX38" fmla="*/ 82539 w 135525"/>
                  <a:gd name="connsiteY38" fmla="*/ 129174 h 166831"/>
                  <a:gd name="connsiteX39" fmla="*/ 82327 w 135525"/>
                  <a:gd name="connsiteY39" fmla="*/ 134951 h 166831"/>
                  <a:gd name="connsiteX40" fmla="*/ 73687 w 135525"/>
                  <a:gd name="connsiteY40" fmla="*/ 149950 h 166831"/>
                  <a:gd name="connsiteX41" fmla="*/ 42601 w 135525"/>
                  <a:gd name="connsiteY41" fmla="*/ 150560 h 166831"/>
                  <a:gd name="connsiteX42" fmla="*/ 39792 w 135525"/>
                  <a:gd name="connsiteY42" fmla="*/ 147565 h 166831"/>
                  <a:gd name="connsiteX43" fmla="*/ 31683 w 135525"/>
                  <a:gd name="connsiteY43" fmla="*/ 160127 h 166831"/>
                  <a:gd name="connsiteX44" fmla="*/ 15040 w 135525"/>
                  <a:gd name="connsiteY44" fmla="*/ 166832 h 166831"/>
                  <a:gd name="connsiteX45" fmla="*/ 14987 w 135525"/>
                  <a:gd name="connsiteY45" fmla="*/ 166805 h 166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35525" h="166831">
                    <a:moveTo>
                      <a:pt x="14987" y="166805"/>
                    </a:moveTo>
                    <a:cubicBezTo>
                      <a:pt x="12310" y="166805"/>
                      <a:pt x="10137" y="164658"/>
                      <a:pt x="10084" y="161982"/>
                    </a:cubicBezTo>
                    <a:cubicBezTo>
                      <a:pt x="10058" y="159279"/>
                      <a:pt x="12204" y="157053"/>
                      <a:pt x="14934" y="157026"/>
                    </a:cubicBezTo>
                    <a:cubicBezTo>
                      <a:pt x="18459" y="156973"/>
                      <a:pt x="22222" y="155436"/>
                      <a:pt x="25243" y="152759"/>
                    </a:cubicBezTo>
                    <a:cubicBezTo>
                      <a:pt x="28582" y="149818"/>
                      <a:pt x="30623" y="145975"/>
                      <a:pt x="30861" y="142185"/>
                    </a:cubicBezTo>
                    <a:cubicBezTo>
                      <a:pt x="30967" y="140542"/>
                      <a:pt x="30755" y="138237"/>
                      <a:pt x="29245" y="136249"/>
                    </a:cubicBezTo>
                    <a:lnTo>
                      <a:pt x="24580" y="131240"/>
                    </a:lnTo>
                    <a:cubicBezTo>
                      <a:pt x="22725" y="129253"/>
                      <a:pt x="22831" y="126179"/>
                      <a:pt x="24819" y="124324"/>
                    </a:cubicBezTo>
                    <a:cubicBezTo>
                      <a:pt x="26780" y="122469"/>
                      <a:pt x="29881" y="122575"/>
                      <a:pt x="31736" y="124536"/>
                    </a:cubicBezTo>
                    <a:lnTo>
                      <a:pt x="36135" y="129200"/>
                    </a:lnTo>
                    <a:cubicBezTo>
                      <a:pt x="36294" y="129386"/>
                      <a:pt x="36453" y="129571"/>
                      <a:pt x="36612" y="129783"/>
                    </a:cubicBezTo>
                    <a:lnTo>
                      <a:pt x="49863" y="143988"/>
                    </a:lnTo>
                    <a:cubicBezTo>
                      <a:pt x="53652" y="148281"/>
                      <a:pt x="61550" y="147592"/>
                      <a:pt x="67221" y="142610"/>
                    </a:cubicBezTo>
                    <a:cubicBezTo>
                      <a:pt x="70163" y="140013"/>
                      <a:pt x="72097" y="136726"/>
                      <a:pt x="72680" y="133308"/>
                    </a:cubicBezTo>
                    <a:cubicBezTo>
                      <a:pt x="73210" y="130286"/>
                      <a:pt x="72548" y="127583"/>
                      <a:pt x="70878" y="125675"/>
                    </a:cubicBezTo>
                    <a:lnTo>
                      <a:pt x="1233" y="47205"/>
                    </a:lnTo>
                    <a:cubicBezTo>
                      <a:pt x="-251" y="45536"/>
                      <a:pt x="-410" y="43071"/>
                      <a:pt x="835" y="41216"/>
                    </a:cubicBezTo>
                    <a:cubicBezTo>
                      <a:pt x="1683" y="39944"/>
                      <a:pt x="3221" y="38964"/>
                      <a:pt x="4731" y="38857"/>
                    </a:cubicBezTo>
                    <a:cubicBezTo>
                      <a:pt x="6215" y="38699"/>
                      <a:pt x="7858" y="39149"/>
                      <a:pt x="8865" y="40289"/>
                    </a:cubicBezTo>
                    <a:lnTo>
                      <a:pt x="76099" y="116665"/>
                    </a:lnTo>
                    <a:cubicBezTo>
                      <a:pt x="79782" y="120826"/>
                      <a:pt x="87680" y="120163"/>
                      <a:pt x="93351" y="115154"/>
                    </a:cubicBezTo>
                    <a:cubicBezTo>
                      <a:pt x="96293" y="112557"/>
                      <a:pt x="98227" y="109271"/>
                      <a:pt x="98810" y="105852"/>
                    </a:cubicBezTo>
                    <a:cubicBezTo>
                      <a:pt x="99340" y="102831"/>
                      <a:pt x="98678" y="100128"/>
                      <a:pt x="97008" y="98220"/>
                    </a:cubicBezTo>
                    <a:lnTo>
                      <a:pt x="23043" y="14874"/>
                    </a:lnTo>
                    <a:cubicBezTo>
                      <a:pt x="21559" y="13205"/>
                      <a:pt x="21400" y="10713"/>
                      <a:pt x="22646" y="8858"/>
                    </a:cubicBezTo>
                    <a:cubicBezTo>
                      <a:pt x="23494" y="7613"/>
                      <a:pt x="25005" y="6632"/>
                      <a:pt x="26515" y="6526"/>
                    </a:cubicBezTo>
                    <a:cubicBezTo>
                      <a:pt x="28052" y="6473"/>
                      <a:pt x="29616" y="6871"/>
                      <a:pt x="30623" y="8010"/>
                    </a:cubicBezTo>
                    <a:lnTo>
                      <a:pt x="102865" y="90058"/>
                    </a:lnTo>
                    <a:cubicBezTo>
                      <a:pt x="106549" y="94245"/>
                      <a:pt x="114446" y="93556"/>
                      <a:pt x="120117" y="88574"/>
                    </a:cubicBezTo>
                    <a:cubicBezTo>
                      <a:pt x="125788" y="83565"/>
                      <a:pt x="127458" y="75827"/>
                      <a:pt x="123774" y="71639"/>
                    </a:cubicBezTo>
                    <a:lnTo>
                      <a:pt x="66585" y="8169"/>
                    </a:lnTo>
                    <a:cubicBezTo>
                      <a:pt x="64783" y="6155"/>
                      <a:pt x="64942" y="3054"/>
                      <a:pt x="66956" y="1252"/>
                    </a:cubicBezTo>
                    <a:cubicBezTo>
                      <a:pt x="68970" y="-550"/>
                      <a:pt x="72071" y="-391"/>
                      <a:pt x="73873" y="1624"/>
                    </a:cubicBezTo>
                    <a:lnTo>
                      <a:pt x="131115" y="65147"/>
                    </a:lnTo>
                    <a:cubicBezTo>
                      <a:pt x="138456" y="73495"/>
                      <a:pt x="136415" y="87302"/>
                      <a:pt x="126610" y="95941"/>
                    </a:cubicBezTo>
                    <a:cubicBezTo>
                      <a:pt x="121310" y="100632"/>
                      <a:pt x="114764" y="102831"/>
                      <a:pt x="108748" y="102593"/>
                    </a:cubicBezTo>
                    <a:cubicBezTo>
                      <a:pt x="108854" y="104183"/>
                      <a:pt x="108748" y="105852"/>
                      <a:pt x="108457" y="107522"/>
                    </a:cubicBezTo>
                    <a:cubicBezTo>
                      <a:pt x="107503" y="113114"/>
                      <a:pt x="104429" y="118441"/>
                      <a:pt x="99817" y="122495"/>
                    </a:cubicBezTo>
                    <a:cubicBezTo>
                      <a:pt x="94676" y="127027"/>
                      <a:pt x="88316" y="128961"/>
                      <a:pt x="82539" y="129174"/>
                    </a:cubicBezTo>
                    <a:cubicBezTo>
                      <a:pt x="82724" y="131029"/>
                      <a:pt x="82671" y="132963"/>
                      <a:pt x="82327" y="134951"/>
                    </a:cubicBezTo>
                    <a:cubicBezTo>
                      <a:pt x="81373" y="140542"/>
                      <a:pt x="78298" y="145869"/>
                      <a:pt x="73687" y="149950"/>
                    </a:cubicBezTo>
                    <a:cubicBezTo>
                      <a:pt x="63855" y="158590"/>
                      <a:pt x="49916" y="158881"/>
                      <a:pt x="42601" y="150560"/>
                    </a:cubicBezTo>
                    <a:lnTo>
                      <a:pt x="39792" y="147565"/>
                    </a:lnTo>
                    <a:cubicBezTo>
                      <a:pt x="38467" y="152230"/>
                      <a:pt x="35632" y="156655"/>
                      <a:pt x="31683" y="160127"/>
                    </a:cubicBezTo>
                    <a:cubicBezTo>
                      <a:pt x="26860" y="164367"/>
                      <a:pt x="20950" y="166752"/>
                      <a:pt x="15040" y="166832"/>
                    </a:cubicBezTo>
                    <a:cubicBezTo>
                      <a:pt x="15014" y="166805"/>
                      <a:pt x="15014" y="166805"/>
                      <a:pt x="14987" y="166805"/>
                    </a:cubicBezTo>
                    <a:close/>
                  </a:path>
                </a:pathLst>
              </a:custGeom>
              <a:grpFill/>
              <a:ln w="2647" cap="flat">
                <a:noFill/>
                <a:prstDash val="solid"/>
                <a:miter/>
              </a:ln>
            </p:spPr>
            <p:txBody>
              <a:bodyPr rtlCol="0" anchor="ctr"/>
              <a:lstStyle/>
              <a:p>
                <a:endParaRPr lang="en-GB" dirty="0"/>
              </a:p>
            </p:txBody>
          </p:sp>
          <p:sp>
            <p:nvSpPr>
              <p:cNvPr id="256" name="Freihandform: Form 1058">
                <a:extLst>
                  <a:ext uri="{FF2B5EF4-FFF2-40B4-BE49-F238E27FC236}">
                    <a16:creationId xmlns:a16="http://schemas.microsoft.com/office/drawing/2014/main" id="{176E994A-BA6E-4392-9608-4FA3ED293030}"/>
                  </a:ext>
                </a:extLst>
              </p:cNvPr>
              <p:cNvSpPr/>
              <p:nvPr/>
            </p:nvSpPr>
            <p:spPr>
              <a:xfrm>
                <a:off x="5317055" y="4413752"/>
                <a:ext cx="88540" cy="165075"/>
              </a:xfrm>
              <a:custGeom>
                <a:avLst/>
                <a:gdLst>
                  <a:gd name="connsiteX0" fmla="*/ 83638 w 88540"/>
                  <a:gd name="connsiteY0" fmla="*/ 165076 h 165075"/>
                  <a:gd name="connsiteX1" fmla="*/ 4903 w 88540"/>
                  <a:gd name="connsiteY1" fmla="*/ 165076 h 165075"/>
                  <a:gd name="connsiteX2" fmla="*/ 0 w 88540"/>
                  <a:gd name="connsiteY2" fmla="*/ 160173 h 165075"/>
                  <a:gd name="connsiteX3" fmla="*/ 4903 w 88540"/>
                  <a:gd name="connsiteY3" fmla="*/ 155270 h 165075"/>
                  <a:gd name="connsiteX4" fmla="*/ 78735 w 88540"/>
                  <a:gd name="connsiteY4" fmla="*/ 155270 h 165075"/>
                  <a:gd name="connsiteX5" fmla="*/ 78735 w 88540"/>
                  <a:gd name="connsiteY5" fmla="*/ 9805 h 165075"/>
                  <a:gd name="connsiteX6" fmla="*/ 4903 w 88540"/>
                  <a:gd name="connsiteY6" fmla="*/ 9805 h 165075"/>
                  <a:gd name="connsiteX7" fmla="*/ 0 w 88540"/>
                  <a:gd name="connsiteY7" fmla="*/ 4903 h 165075"/>
                  <a:gd name="connsiteX8" fmla="*/ 4903 w 88540"/>
                  <a:gd name="connsiteY8" fmla="*/ 0 h 165075"/>
                  <a:gd name="connsiteX9" fmla="*/ 83638 w 88540"/>
                  <a:gd name="connsiteY9" fmla="*/ 0 h 165075"/>
                  <a:gd name="connsiteX10" fmla="*/ 88540 w 88540"/>
                  <a:gd name="connsiteY10" fmla="*/ 4903 h 165075"/>
                  <a:gd name="connsiteX11" fmla="*/ 88540 w 88540"/>
                  <a:gd name="connsiteY11" fmla="*/ 160173 h 165075"/>
                  <a:gd name="connsiteX12" fmla="*/ 83638 w 88540"/>
                  <a:gd name="connsiteY12" fmla="*/ 165076 h 165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540" h="165075">
                    <a:moveTo>
                      <a:pt x="83638" y="165076"/>
                    </a:moveTo>
                    <a:lnTo>
                      <a:pt x="4903" y="165076"/>
                    </a:lnTo>
                    <a:cubicBezTo>
                      <a:pt x="2200" y="165076"/>
                      <a:pt x="0" y="162876"/>
                      <a:pt x="0" y="160173"/>
                    </a:cubicBezTo>
                    <a:cubicBezTo>
                      <a:pt x="0" y="157470"/>
                      <a:pt x="2200" y="155270"/>
                      <a:pt x="4903" y="155270"/>
                    </a:cubicBezTo>
                    <a:lnTo>
                      <a:pt x="78735" y="155270"/>
                    </a:lnTo>
                    <a:lnTo>
                      <a:pt x="78735" y="9805"/>
                    </a:lnTo>
                    <a:lnTo>
                      <a:pt x="4903" y="9805"/>
                    </a:lnTo>
                    <a:cubicBezTo>
                      <a:pt x="2200" y="9805"/>
                      <a:pt x="0" y="7606"/>
                      <a:pt x="0" y="4903"/>
                    </a:cubicBezTo>
                    <a:cubicBezTo>
                      <a:pt x="0" y="2199"/>
                      <a:pt x="2200" y="0"/>
                      <a:pt x="4903" y="0"/>
                    </a:cubicBezTo>
                    <a:lnTo>
                      <a:pt x="83638" y="0"/>
                    </a:lnTo>
                    <a:cubicBezTo>
                      <a:pt x="86341" y="0"/>
                      <a:pt x="88540" y="2199"/>
                      <a:pt x="88540" y="4903"/>
                    </a:cubicBezTo>
                    <a:lnTo>
                      <a:pt x="88540" y="160173"/>
                    </a:lnTo>
                    <a:cubicBezTo>
                      <a:pt x="88540" y="162876"/>
                      <a:pt x="86341" y="165076"/>
                      <a:pt x="83638" y="165076"/>
                    </a:cubicBezTo>
                    <a:close/>
                  </a:path>
                </a:pathLst>
              </a:custGeom>
              <a:grpFill/>
              <a:ln w="2647" cap="flat">
                <a:noFill/>
                <a:prstDash val="solid"/>
                <a:miter/>
              </a:ln>
            </p:spPr>
            <p:txBody>
              <a:bodyPr rtlCol="0" anchor="ctr"/>
              <a:lstStyle/>
              <a:p>
                <a:endParaRPr lang="en-GB" dirty="0"/>
              </a:p>
            </p:txBody>
          </p:sp>
          <p:grpSp>
            <p:nvGrpSpPr>
              <p:cNvPr id="257" name="Grafik 150">
                <a:extLst>
                  <a:ext uri="{FF2B5EF4-FFF2-40B4-BE49-F238E27FC236}">
                    <a16:creationId xmlns:a16="http://schemas.microsoft.com/office/drawing/2014/main" id="{21206540-C567-4CEC-8C64-4483CD6F01E2}"/>
                  </a:ext>
                </a:extLst>
              </p:cNvPr>
              <p:cNvGrpSpPr/>
              <p:nvPr/>
            </p:nvGrpSpPr>
            <p:grpSpPr>
              <a:xfrm>
                <a:off x="5286234" y="4099766"/>
                <a:ext cx="533309" cy="284357"/>
                <a:chOff x="5286234" y="4099766"/>
                <a:chExt cx="533309" cy="284357"/>
              </a:xfrm>
              <a:grpFill/>
            </p:grpSpPr>
            <p:grpSp>
              <p:nvGrpSpPr>
                <p:cNvPr id="259" name="Grafik 150">
                  <a:extLst>
                    <a:ext uri="{FF2B5EF4-FFF2-40B4-BE49-F238E27FC236}">
                      <a16:creationId xmlns:a16="http://schemas.microsoft.com/office/drawing/2014/main" id="{C5F0A874-D076-4B0F-A60F-1EC0B0489FAA}"/>
                    </a:ext>
                  </a:extLst>
                </p:cNvPr>
                <p:cNvGrpSpPr/>
                <p:nvPr/>
              </p:nvGrpSpPr>
              <p:grpSpPr>
                <a:xfrm>
                  <a:off x="5286234" y="4159076"/>
                  <a:ext cx="533309" cy="225047"/>
                  <a:chOff x="5286234" y="4159076"/>
                  <a:chExt cx="533309" cy="225047"/>
                </a:xfrm>
                <a:grpFill/>
              </p:grpSpPr>
              <p:grpSp>
                <p:nvGrpSpPr>
                  <p:cNvPr id="261" name="Grafik 150">
                    <a:extLst>
                      <a:ext uri="{FF2B5EF4-FFF2-40B4-BE49-F238E27FC236}">
                        <a16:creationId xmlns:a16="http://schemas.microsoft.com/office/drawing/2014/main" id="{6AC32689-D91D-4AC8-ABED-89558A1D4D3F}"/>
                      </a:ext>
                    </a:extLst>
                  </p:cNvPr>
                  <p:cNvGrpSpPr/>
                  <p:nvPr/>
                </p:nvGrpSpPr>
                <p:grpSpPr>
                  <a:xfrm>
                    <a:off x="5638117" y="4159765"/>
                    <a:ext cx="181426" cy="224358"/>
                    <a:chOff x="5638117" y="4159765"/>
                    <a:chExt cx="181426" cy="224358"/>
                  </a:xfrm>
                  <a:grpFill/>
                </p:grpSpPr>
                <p:sp>
                  <p:nvSpPr>
                    <p:cNvPr id="270" name="Freihandform: Form 1063">
                      <a:extLst>
                        <a:ext uri="{FF2B5EF4-FFF2-40B4-BE49-F238E27FC236}">
                          <a16:creationId xmlns:a16="http://schemas.microsoft.com/office/drawing/2014/main" id="{E7B4F3D5-79BD-42EE-869B-DFFD67E0934F}"/>
                        </a:ext>
                      </a:extLst>
                    </p:cNvPr>
                    <p:cNvSpPr/>
                    <p:nvPr/>
                  </p:nvSpPr>
                  <p:spPr>
                    <a:xfrm>
                      <a:off x="5638117" y="4287712"/>
                      <a:ext cx="181426" cy="96411"/>
                    </a:xfrm>
                    <a:custGeom>
                      <a:avLst/>
                      <a:gdLst>
                        <a:gd name="connsiteX0" fmla="*/ 90740 w 181426"/>
                        <a:gd name="connsiteY0" fmla="*/ 96411 h 96411"/>
                        <a:gd name="connsiteX1" fmla="*/ 0 w 181426"/>
                        <a:gd name="connsiteY1" fmla="*/ 5698 h 96411"/>
                        <a:gd name="connsiteX2" fmla="*/ 26 w 181426"/>
                        <a:gd name="connsiteY2" fmla="*/ 4956 h 96411"/>
                        <a:gd name="connsiteX3" fmla="*/ 4929 w 181426"/>
                        <a:gd name="connsiteY3" fmla="*/ 0 h 96411"/>
                        <a:gd name="connsiteX4" fmla="*/ 176498 w 181426"/>
                        <a:gd name="connsiteY4" fmla="*/ 0 h 96411"/>
                        <a:gd name="connsiteX5" fmla="*/ 181400 w 181426"/>
                        <a:gd name="connsiteY5" fmla="*/ 4903 h 96411"/>
                        <a:gd name="connsiteX6" fmla="*/ 181427 w 181426"/>
                        <a:gd name="connsiteY6" fmla="*/ 5724 h 96411"/>
                        <a:gd name="connsiteX7" fmla="*/ 90740 w 181426"/>
                        <a:gd name="connsiteY7" fmla="*/ 96411 h 96411"/>
                        <a:gd name="connsiteX8" fmla="*/ 9911 w 181426"/>
                        <a:gd name="connsiteY8" fmla="*/ 9779 h 96411"/>
                        <a:gd name="connsiteX9" fmla="*/ 90740 w 181426"/>
                        <a:gd name="connsiteY9" fmla="*/ 86632 h 96411"/>
                        <a:gd name="connsiteX10" fmla="*/ 171542 w 181426"/>
                        <a:gd name="connsiteY10" fmla="*/ 9779 h 96411"/>
                        <a:gd name="connsiteX11" fmla="*/ 9911 w 181426"/>
                        <a:gd name="connsiteY11" fmla="*/ 9779 h 96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426" h="96411">
                          <a:moveTo>
                            <a:pt x="90740" y="96411"/>
                          </a:moveTo>
                          <a:cubicBezTo>
                            <a:pt x="40706" y="96411"/>
                            <a:pt x="0" y="55705"/>
                            <a:pt x="0" y="5698"/>
                          </a:cubicBezTo>
                          <a:cubicBezTo>
                            <a:pt x="0" y="5592"/>
                            <a:pt x="26" y="5062"/>
                            <a:pt x="26" y="4956"/>
                          </a:cubicBezTo>
                          <a:cubicBezTo>
                            <a:pt x="212" y="2385"/>
                            <a:pt x="2359" y="0"/>
                            <a:pt x="4929" y="0"/>
                          </a:cubicBezTo>
                          <a:lnTo>
                            <a:pt x="176498" y="0"/>
                          </a:lnTo>
                          <a:cubicBezTo>
                            <a:pt x="179201" y="0"/>
                            <a:pt x="181400" y="2199"/>
                            <a:pt x="181400" y="4903"/>
                          </a:cubicBezTo>
                          <a:lnTo>
                            <a:pt x="181427" y="5724"/>
                          </a:lnTo>
                          <a:cubicBezTo>
                            <a:pt x="181453" y="55732"/>
                            <a:pt x="140774" y="96411"/>
                            <a:pt x="90740" y="96411"/>
                          </a:cubicBezTo>
                          <a:close/>
                          <a:moveTo>
                            <a:pt x="9911" y="9779"/>
                          </a:moveTo>
                          <a:cubicBezTo>
                            <a:pt x="12058" y="52525"/>
                            <a:pt x="47490" y="86632"/>
                            <a:pt x="90740" y="86632"/>
                          </a:cubicBezTo>
                          <a:cubicBezTo>
                            <a:pt x="133990" y="86632"/>
                            <a:pt x="169395" y="52525"/>
                            <a:pt x="171542" y="9779"/>
                          </a:cubicBezTo>
                          <a:lnTo>
                            <a:pt x="9911" y="9779"/>
                          </a:lnTo>
                          <a:close/>
                        </a:path>
                      </a:pathLst>
                    </a:custGeom>
                    <a:grpFill/>
                    <a:ln w="2647" cap="flat">
                      <a:noFill/>
                      <a:prstDash val="solid"/>
                      <a:miter/>
                    </a:ln>
                  </p:spPr>
                  <p:txBody>
                    <a:bodyPr rtlCol="0" anchor="ctr"/>
                    <a:lstStyle/>
                    <a:p>
                      <a:endParaRPr lang="en-GB" dirty="0"/>
                    </a:p>
                  </p:txBody>
                </p:sp>
                <p:grpSp>
                  <p:nvGrpSpPr>
                    <p:cNvPr id="271" name="Grafik 150">
                      <a:extLst>
                        <a:ext uri="{FF2B5EF4-FFF2-40B4-BE49-F238E27FC236}">
                          <a16:creationId xmlns:a16="http://schemas.microsoft.com/office/drawing/2014/main" id="{78AB0F1C-39A5-4ECC-A3EB-9B1E8FC0D8D0}"/>
                        </a:ext>
                      </a:extLst>
                    </p:cNvPr>
                    <p:cNvGrpSpPr/>
                    <p:nvPr/>
                  </p:nvGrpSpPr>
                  <p:grpSpPr>
                    <a:xfrm>
                      <a:off x="5639143" y="4159765"/>
                      <a:ext cx="180135" cy="137752"/>
                      <a:chOff x="5639143" y="4159765"/>
                      <a:chExt cx="180135" cy="137752"/>
                    </a:xfrm>
                    <a:grpFill/>
                  </p:grpSpPr>
                  <p:sp>
                    <p:nvSpPr>
                      <p:cNvPr id="272" name="Freihandform: Form 1065">
                        <a:extLst>
                          <a:ext uri="{FF2B5EF4-FFF2-40B4-BE49-F238E27FC236}">
                            <a16:creationId xmlns:a16="http://schemas.microsoft.com/office/drawing/2014/main" id="{86164F88-6D59-4D06-84FB-457CD6AA992C}"/>
                          </a:ext>
                        </a:extLst>
                      </p:cNvPr>
                      <p:cNvSpPr/>
                      <p:nvPr/>
                    </p:nvSpPr>
                    <p:spPr>
                      <a:xfrm>
                        <a:off x="5639143" y="4160420"/>
                        <a:ext cx="93351" cy="137097"/>
                      </a:xfrm>
                      <a:custGeom>
                        <a:avLst/>
                        <a:gdLst>
                          <a:gd name="connsiteX0" fmla="*/ 4883 w 93351"/>
                          <a:gd name="connsiteY0" fmla="*/ 137098 h 137097"/>
                          <a:gd name="connsiteX1" fmla="*/ 2207 w 93351"/>
                          <a:gd name="connsiteY1" fmla="*/ 136303 h 137097"/>
                          <a:gd name="connsiteX2" fmla="*/ 802 w 93351"/>
                          <a:gd name="connsiteY2" fmla="*/ 129518 h 137097"/>
                          <a:gd name="connsiteX3" fmla="*/ 84360 w 93351"/>
                          <a:gd name="connsiteY3" fmla="*/ 2207 h 137097"/>
                          <a:gd name="connsiteX4" fmla="*/ 91145 w 93351"/>
                          <a:gd name="connsiteY4" fmla="*/ 802 h 137097"/>
                          <a:gd name="connsiteX5" fmla="*/ 92549 w 93351"/>
                          <a:gd name="connsiteY5" fmla="*/ 7586 h 137097"/>
                          <a:gd name="connsiteX6" fmla="*/ 8991 w 93351"/>
                          <a:gd name="connsiteY6" fmla="*/ 134898 h 137097"/>
                          <a:gd name="connsiteX7" fmla="*/ 4883 w 93351"/>
                          <a:gd name="connsiteY7" fmla="*/ 137098 h 13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351" h="137097">
                            <a:moveTo>
                              <a:pt x="4883" y="137098"/>
                            </a:moveTo>
                            <a:cubicBezTo>
                              <a:pt x="3956" y="137098"/>
                              <a:pt x="3028" y="136833"/>
                              <a:pt x="2207" y="136303"/>
                            </a:cubicBezTo>
                            <a:cubicBezTo>
                              <a:pt x="-46" y="134819"/>
                              <a:pt x="-682" y="131771"/>
                              <a:pt x="802" y="129518"/>
                            </a:cubicBezTo>
                            <a:lnTo>
                              <a:pt x="84360" y="2207"/>
                            </a:lnTo>
                            <a:cubicBezTo>
                              <a:pt x="85844" y="-46"/>
                              <a:pt x="88892" y="-682"/>
                              <a:pt x="91145" y="802"/>
                            </a:cubicBezTo>
                            <a:cubicBezTo>
                              <a:pt x="93397" y="2286"/>
                              <a:pt x="94033" y="5334"/>
                              <a:pt x="92549" y="7586"/>
                            </a:cubicBezTo>
                            <a:lnTo>
                              <a:pt x="8991" y="134898"/>
                            </a:lnTo>
                            <a:cubicBezTo>
                              <a:pt x="8037" y="136303"/>
                              <a:pt x="6473" y="137098"/>
                              <a:pt x="4883" y="137098"/>
                            </a:cubicBezTo>
                            <a:close/>
                          </a:path>
                        </a:pathLst>
                      </a:custGeom>
                      <a:grpFill/>
                      <a:ln w="2647" cap="flat">
                        <a:noFill/>
                        <a:prstDash val="solid"/>
                        <a:miter/>
                      </a:ln>
                    </p:spPr>
                    <p:txBody>
                      <a:bodyPr rtlCol="0" anchor="ctr"/>
                      <a:lstStyle/>
                      <a:p>
                        <a:endParaRPr lang="en-GB" dirty="0"/>
                      </a:p>
                    </p:txBody>
                  </p:sp>
                  <p:sp>
                    <p:nvSpPr>
                      <p:cNvPr id="273" name="Freihandform: Form 1066">
                        <a:extLst>
                          <a:ext uri="{FF2B5EF4-FFF2-40B4-BE49-F238E27FC236}">
                            <a16:creationId xmlns:a16="http://schemas.microsoft.com/office/drawing/2014/main" id="{A7FAB53F-DF9B-4A3E-B3EF-596BDEBA3B09}"/>
                          </a:ext>
                        </a:extLst>
                      </p:cNvPr>
                      <p:cNvSpPr/>
                      <p:nvPr/>
                    </p:nvSpPr>
                    <p:spPr>
                      <a:xfrm>
                        <a:off x="5725146" y="4160049"/>
                        <a:ext cx="94132" cy="136567"/>
                      </a:xfrm>
                      <a:custGeom>
                        <a:avLst/>
                        <a:gdLst>
                          <a:gd name="connsiteX0" fmla="*/ 89230 w 94132"/>
                          <a:gd name="connsiteY0" fmla="*/ 136568 h 136567"/>
                          <a:gd name="connsiteX1" fmla="*/ 85149 w 94132"/>
                          <a:gd name="connsiteY1" fmla="*/ 134368 h 136567"/>
                          <a:gd name="connsiteX2" fmla="*/ 822 w 94132"/>
                          <a:gd name="connsiteY2" fmla="*/ 7613 h 136567"/>
                          <a:gd name="connsiteX3" fmla="*/ 2200 w 94132"/>
                          <a:gd name="connsiteY3" fmla="*/ 829 h 136567"/>
                          <a:gd name="connsiteX4" fmla="*/ 8984 w 94132"/>
                          <a:gd name="connsiteY4" fmla="*/ 2207 h 136567"/>
                          <a:gd name="connsiteX5" fmla="*/ 93311 w 94132"/>
                          <a:gd name="connsiteY5" fmla="*/ 128962 h 136567"/>
                          <a:gd name="connsiteX6" fmla="*/ 91933 w 94132"/>
                          <a:gd name="connsiteY6" fmla="*/ 135746 h 136567"/>
                          <a:gd name="connsiteX7" fmla="*/ 89230 w 94132"/>
                          <a:gd name="connsiteY7" fmla="*/ 136568 h 136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32" h="136567">
                            <a:moveTo>
                              <a:pt x="89230" y="136568"/>
                            </a:moveTo>
                            <a:cubicBezTo>
                              <a:pt x="87640" y="136568"/>
                              <a:pt x="86103" y="135799"/>
                              <a:pt x="85149" y="134368"/>
                            </a:cubicBezTo>
                            <a:lnTo>
                              <a:pt x="822" y="7613"/>
                            </a:lnTo>
                            <a:cubicBezTo>
                              <a:pt x="-689" y="5361"/>
                              <a:pt x="-53" y="2339"/>
                              <a:pt x="2200" y="829"/>
                            </a:cubicBezTo>
                            <a:cubicBezTo>
                              <a:pt x="4453" y="-682"/>
                              <a:pt x="7500" y="-72"/>
                              <a:pt x="8984" y="2207"/>
                            </a:cubicBezTo>
                            <a:lnTo>
                              <a:pt x="93311" y="128962"/>
                            </a:lnTo>
                            <a:cubicBezTo>
                              <a:pt x="94822" y="131215"/>
                              <a:pt x="94186" y="134236"/>
                              <a:pt x="91933" y="135746"/>
                            </a:cubicBezTo>
                            <a:cubicBezTo>
                              <a:pt x="91111" y="136303"/>
                              <a:pt x="90157" y="136568"/>
                              <a:pt x="89230" y="136568"/>
                            </a:cubicBezTo>
                            <a:close/>
                          </a:path>
                        </a:pathLst>
                      </a:custGeom>
                      <a:grpFill/>
                      <a:ln w="2647" cap="flat">
                        <a:noFill/>
                        <a:prstDash val="solid"/>
                        <a:miter/>
                      </a:ln>
                    </p:spPr>
                    <p:txBody>
                      <a:bodyPr rtlCol="0" anchor="ctr"/>
                      <a:lstStyle/>
                      <a:p>
                        <a:endParaRPr lang="en-GB" dirty="0"/>
                      </a:p>
                    </p:txBody>
                  </p:sp>
                  <p:sp>
                    <p:nvSpPr>
                      <p:cNvPr id="274" name="Freihandform: Form 1067">
                        <a:extLst>
                          <a:ext uri="{FF2B5EF4-FFF2-40B4-BE49-F238E27FC236}">
                            <a16:creationId xmlns:a16="http://schemas.microsoft.com/office/drawing/2014/main" id="{64976EEC-1064-4C2B-8599-225213740AAF}"/>
                          </a:ext>
                        </a:extLst>
                      </p:cNvPr>
                      <p:cNvSpPr/>
                      <p:nvPr/>
                    </p:nvSpPr>
                    <p:spPr>
                      <a:xfrm>
                        <a:off x="5723954" y="4159765"/>
                        <a:ext cx="9805" cy="137329"/>
                      </a:xfrm>
                      <a:custGeom>
                        <a:avLst/>
                        <a:gdLst>
                          <a:gd name="connsiteX0" fmla="*/ 4903 w 9805"/>
                          <a:gd name="connsiteY0" fmla="*/ 137329 h 137329"/>
                          <a:gd name="connsiteX1" fmla="*/ 0 w 9805"/>
                          <a:gd name="connsiteY1" fmla="*/ 132426 h 137329"/>
                          <a:gd name="connsiteX2" fmla="*/ 0 w 9805"/>
                          <a:gd name="connsiteY2" fmla="*/ 4903 h 137329"/>
                          <a:gd name="connsiteX3" fmla="*/ 4903 w 9805"/>
                          <a:gd name="connsiteY3" fmla="*/ 0 h 137329"/>
                          <a:gd name="connsiteX4" fmla="*/ 9805 w 9805"/>
                          <a:gd name="connsiteY4" fmla="*/ 4903 h 137329"/>
                          <a:gd name="connsiteX5" fmla="*/ 9805 w 9805"/>
                          <a:gd name="connsiteY5" fmla="*/ 132426 h 137329"/>
                          <a:gd name="connsiteX6" fmla="*/ 4903 w 9805"/>
                          <a:gd name="connsiteY6" fmla="*/ 137329 h 137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5" h="137329">
                            <a:moveTo>
                              <a:pt x="4903" y="137329"/>
                            </a:moveTo>
                            <a:cubicBezTo>
                              <a:pt x="2200" y="137329"/>
                              <a:pt x="0" y="135129"/>
                              <a:pt x="0" y="132426"/>
                            </a:cubicBezTo>
                            <a:lnTo>
                              <a:pt x="0" y="4903"/>
                            </a:lnTo>
                            <a:cubicBezTo>
                              <a:pt x="0" y="2200"/>
                              <a:pt x="2200" y="0"/>
                              <a:pt x="4903" y="0"/>
                            </a:cubicBezTo>
                            <a:cubicBezTo>
                              <a:pt x="7606" y="0"/>
                              <a:pt x="9805" y="2200"/>
                              <a:pt x="9805" y="4903"/>
                            </a:cubicBezTo>
                            <a:lnTo>
                              <a:pt x="9805" y="132426"/>
                            </a:lnTo>
                            <a:cubicBezTo>
                              <a:pt x="9805" y="135156"/>
                              <a:pt x="7606" y="137329"/>
                              <a:pt x="4903" y="137329"/>
                            </a:cubicBezTo>
                            <a:close/>
                          </a:path>
                        </a:pathLst>
                      </a:custGeom>
                      <a:grpFill/>
                      <a:ln w="2647" cap="flat">
                        <a:noFill/>
                        <a:prstDash val="solid"/>
                        <a:miter/>
                      </a:ln>
                    </p:spPr>
                    <p:txBody>
                      <a:bodyPr rtlCol="0" anchor="ctr"/>
                      <a:lstStyle/>
                      <a:p>
                        <a:endParaRPr lang="en-GB" dirty="0"/>
                      </a:p>
                    </p:txBody>
                  </p:sp>
                </p:grpSp>
              </p:grpSp>
              <p:grpSp>
                <p:nvGrpSpPr>
                  <p:cNvPr id="262" name="Grafik 150">
                    <a:extLst>
                      <a:ext uri="{FF2B5EF4-FFF2-40B4-BE49-F238E27FC236}">
                        <a16:creationId xmlns:a16="http://schemas.microsoft.com/office/drawing/2014/main" id="{D83F55DD-3C43-4BDC-B35B-4959398F14E5}"/>
                      </a:ext>
                    </a:extLst>
                  </p:cNvPr>
                  <p:cNvGrpSpPr/>
                  <p:nvPr/>
                </p:nvGrpSpPr>
                <p:grpSpPr>
                  <a:xfrm>
                    <a:off x="5286234" y="4159341"/>
                    <a:ext cx="181400" cy="224358"/>
                    <a:chOff x="5286234" y="4159341"/>
                    <a:chExt cx="181400" cy="224358"/>
                  </a:xfrm>
                  <a:grpFill/>
                </p:grpSpPr>
                <p:sp>
                  <p:nvSpPr>
                    <p:cNvPr id="265" name="Freihandform: Form 1069">
                      <a:extLst>
                        <a:ext uri="{FF2B5EF4-FFF2-40B4-BE49-F238E27FC236}">
                          <a16:creationId xmlns:a16="http://schemas.microsoft.com/office/drawing/2014/main" id="{1A86D152-008C-4F76-9A49-E3F27145C6C4}"/>
                        </a:ext>
                      </a:extLst>
                    </p:cNvPr>
                    <p:cNvSpPr/>
                    <p:nvPr/>
                  </p:nvSpPr>
                  <p:spPr>
                    <a:xfrm>
                      <a:off x="5286234" y="4287262"/>
                      <a:ext cx="181400" cy="96437"/>
                    </a:xfrm>
                    <a:custGeom>
                      <a:avLst/>
                      <a:gdLst>
                        <a:gd name="connsiteX0" fmla="*/ 90713 w 181400"/>
                        <a:gd name="connsiteY0" fmla="*/ 96438 h 96437"/>
                        <a:gd name="connsiteX1" fmla="*/ 0 w 181400"/>
                        <a:gd name="connsiteY1" fmla="*/ 5724 h 96437"/>
                        <a:gd name="connsiteX2" fmla="*/ 27 w 181400"/>
                        <a:gd name="connsiteY2" fmla="*/ 4982 h 96437"/>
                        <a:gd name="connsiteX3" fmla="*/ 4929 w 181400"/>
                        <a:gd name="connsiteY3" fmla="*/ 0 h 96437"/>
                        <a:gd name="connsiteX4" fmla="*/ 176471 w 181400"/>
                        <a:gd name="connsiteY4" fmla="*/ 0 h 96437"/>
                        <a:gd name="connsiteX5" fmla="*/ 181374 w 181400"/>
                        <a:gd name="connsiteY5" fmla="*/ 4903 h 96437"/>
                        <a:gd name="connsiteX6" fmla="*/ 181400 w 181400"/>
                        <a:gd name="connsiteY6" fmla="*/ 5724 h 96437"/>
                        <a:gd name="connsiteX7" fmla="*/ 90713 w 181400"/>
                        <a:gd name="connsiteY7" fmla="*/ 96438 h 96437"/>
                        <a:gd name="connsiteX8" fmla="*/ 9885 w 181400"/>
                        <a:gd name="connsiteY8" fmla="*/ 9805 h 96437"/>
                        <a:gd name="connsiteX9" fmla="*/ 90713 w 181400"/>
                        <a:gd name="connsiteY9" fmla="*/ 86659 h 96437"/>
                        <a:gd name="connsiteX10" fmla="*/ 171516 w 181400"/>
                        <a:gd name="connsiteY10" fmla="*/ 9805 h 96437"/>
                        <a:gd name="connsiteX11" fmla="*/ 9885 w 181400"/>
                        <a:gd name="connsiteY11" fmla="*/ 9805 h 96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1400" h="96437">
                          <a:moveTo>
                            <a:pt x="90713" y="96438"/>
                          </a:moveTo>
                          <a:cubicBezTo>
                            <a:pt x="40679" y="96438"/>
                            <a:pt x="0" y="55732"/>
                            <a:pt x="0" y="5724"/>
                          </a:cubicBezTo>
                          <a:cubicBezTo>
                            <a:pt x="0" y="5618"/>
                            <a:pt x="27" y="5088"/>
                            <a:pt x="27" y="4982"/>
                          </a:cubicBezTo>
                          <a:cubicBezTo>
                            <a:pt x="212" y="2412"/>
                            <a:pt x="2359" y="0"/>
                            <a:pt x="4929" y="0"/>
                          </a:cubicBezTo>
                          <a:lnTo>
                            <a:pt x="176471" y="0"/>
                          </a:lnTo>
                          <a:cubicBezTo>
                            <a:pt x="179174" y="0"/>
                            <a:pt x="181374" y="2200"/>
                            <a:pt x="181374" y="4903"/>
                          </a:cubicBezTo>
                          <a:lnTo>
                            <a:pt x="181400" y="5724"/>
                          </a:lnTo>
                          <a:cubicBezTo>
                            <a:pt x="181427" y="55758"/>
                            <a:pt x="140721" y="96438"/>
                            <a:pt x="90713" y="96438"/>
                          </a:cubicBezTo>
                          <a:close/>
                          <a:moveTo>
                            <a:pt x="9885" y="9805"/>
                          </a:moveTo>
                          <a:cubicBezTo>
                            <a:pt x="12032" y="52578"/>
                            <a:pt x="47464" y="86659"/>
                            <a:pt x="90713" y="86659"/>
                          </a:cubicBezTo>
                          <a:cubicBezTo>
                            <a:pt x="133963" y="86659"/>
                            <a:pt x="169395" y="52552"/>
                            <a:pt x="171516" y="9805"/>
                          </a:cubicBezTo>
                          <a:lnTo>
                            <a:pt x="9885" y="9805"/>
                          </a:lnTo>
                          <a:close/>
                        </a:path>
                      </a:pathLst>
                    </a:custGeom>
                    <a:grpFill/>
                    <a:ln w="2647" cap="flat">
                      <a:noFill/>
                      <a:prstDash val="solid"/>
                      <a:miter/>
                    </a:ln>
                  </p:spPr>
                  <p:txBody>
                    <a:bodyPr rtlCol="0" anchor="ctr"/>
                    <a:lstStyle/>
                    <a:p>
                      <a:endParaRPr lang="en-GB" dirty="0"/>
                    </a:p>
                  </p:txBody>
                </p:sp>
                <p:grpSp>
                  <p:nvGrpSpPr>
                    <p:cNvPr id="266" name="Grafik 150">
                      <a:extLst>
                        <a:ext uri="{FF2B5EF4-FFF2-40B4-BE49-F238E27FC236}">
                          <a16:creationId xmlns:a16="http://schemas.microsoft.com/office/drawing/2014/main" id="{BDAEDC5D-39C4-4D3B-8335-629357E9BD7A}"/>
                        </a:ext>
                      </a:extLst>
                    </p:cNvPr>
                    <p:cNvGrpSpPr/>
                    <p:nvPr/>
                  </p:nvGrpSpPr>
                  <p:grpSpPr>
                    <a:xfrm>
                      <a:off x="5287208" y="4159341"/>
                      <a:ext cx="180135" cy="137752"/>
                      <a:chOff x="5287208" y="4159341"/>
                      <a:chExt cx="180135" cy="137752"/>
                    </a:xfrm>
                    <a:grpFill/>
                  </p:grpSpPr>
                  <p:sp>
                    <p:nvSpPr>
                      <p:cNvPr id="267" name="Freihandform: Form 1071">
                        <a:extLst>
                          <a:ext uri="{FF2B5EF4-FFF2-40B4-BE49-F238E27FC236}">
                            <a16:creationId xmlns:a16="http://schemas.microsoft.com/office/drawing/2014/main" id="{DD00D04F-F4B2-4E95-945C-10E9CDAC4B68}"/>
                          </a:ext>
                        </a:extLst>
                      </p:cNvPr>
                      <p:cNvSpPr/>
                      <p:nvPr/>
                    </p:nvSpPr>
                    <p:spPr>
                      <a:xfrm>
                        <a:off x="5287208" y="4159989"/>
                        <a:ext cx="93351" cy="137104"/>
                      </a:xfrm>
                      <a:custGeom>
                        <a:avLst/>
                        <a:gdLst>
                          <a:gd name="connsiteX0" fmla="*/ 4883 w 93351"/>
                          <a:gd name="connsiteY0" fmla="*/ 137104 h 137104"/>
                          <a:gd name="connsiteX1" fmla="*/ 2207 w 93351"/>
                          <a:gd name="connsiteY1" fmla="*/ 136309 h 137104"/>
                          <a:gd name="connsiteX2" fmla="*/ 802 w 93351"/>
                          <a:gd name="connsiteY2" fmla="*/ 129525 h 137104"/>
                          <a:gd name="connsiteX3" fmla="*/ 84360 w 93351"/>
                          <a:gd name="connsiteY3" fmla="*/ 2213 h 137104"/>
                          <a:gd name="connsiteX4" fmla="*/ 91145 w 93351"/>
                          <a:gd name="connsiteY4" fmla="*/ 809 h 137104"/>
                          <a:gd name="connsiteX5" fmla="*/ 92549 w 93351"/>
                          <a:gd name="connsiteY5" fmla="*/ 7593 h 137104"/>
                          <a:gd name="connsiteX6" fmla="*/ 8991 w 93351"/>
                          <a:gd name="connsiteY6" fmla="*/ 134905 h 137104"/>
                          <a:gd name="connsiteX7" fmla="*/ 4883 w 93351"/>
                          <a:gd name="connsiteY7" fmla="*/ 137104 h 13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351" h="137104">
                            <a:moveTo>
                              <a:pt x="4883" y="137104"/>
                            </a:moveTo>
                            <a:cubicBezTo>
                              <a:pt x="3956" y="137104"/>
                              <a:pt x="3028" y="136839"/>
                              <a:pt x="2207" y="136309"/>
                            </a:cubicBezTo>
                            <a:cubicBezTo>
                              <a:pt x="-46" y="134825"/>
                              <a:pt x="-682" y="131778"/>
                              <a:pt x="802" y="129525"/>
                            </a:cubicBezTo>
                            <a:lnTo>
                              <a:pt x="84360" y="2213"/>
                            </a:lnTo>
                            <a:cubicBezTo>
                              <a:pt x="85844" y="-66"/>
                              <a:pt x="88892" y="-675"/>
                              <a:pt x="91145" y="809"/>
                            </a:cubicBezTo>
                            <a:cubicBezTo>
                              <a:pt x="93397" y="2293"/>
                              <a:pt x="94033" y="5341"/>
                              <a:pt x="92549" y="7593"/>
                            </a:cubicBezTo>
                            <a:lnTo>
                              <a:pt x="8991" y="134905"/>
                            </a:lnTo>
                            <a:cubicBezTo>
                              <a:pt x="8037" y="136309"/>
                              <a:pt x="6500" y="137104"/>
                              <a:pt x="4883" y="137104"/>
                            </a:cubicBezTo>
                            <a:close/>
                          </a:path>
                        </a:pathLst>
                      </a:custGeom>
                      <a:grpFill/>
                      <a:ln w="2647" cap="flat">
                        <a:noFill/>
                        <a:prstDash val="solid"/>
                        <a:miter/>
                      </a:ln>
                    </p:spPr>
                    <p:txBody>
                      <a:bodyPr rtlCol="0" anchor="ctr"/>
                      <a:lstStyle/>
                      <a:p>
                        <a:endParaRPr lang="en-GB" dirty="0"/>
                      </a:p>
                    </p:txBody>
                  </p:sp>
                  <p:sp>
                    <p:nvSpPr>
                      <p:cNvPr id="268" name="Freihandform: Form 1072">
                        <a:extLst>
                          <a:ext uri="{FF2B5EF4-FFF2-40B4-BE49-F238E27FC236}">
                            <a16:creationId xmlns:a16="http://schemas.microsoft.com/office/drawing/2014/main" id="{2D20B139-AC7C-4B9F-BAE2-5A2702CF50B7}"/>
                          </a:ext>
                        </a:extLst>
                      </p:cNvPr>
                      <p:cNvSpPr/>
                      <p:nvPr/>
                    </p:nvSpPr>
                    <p:spPr>
                      <a:xfrm>
                        <a:off x="5373210" y="4159625"/>
                        <a:ext cx="94133" cy="136567"/>
                      </a:xfrm>
                      <a:custGeom>
                        <a:avLst/>
                        <a:gdLst>
                          <a:gd name="connsiteX0" fmla="*/ 89230 w 94133"/>
                          <a:gd name="connsiteY0" fmla="*/ 136568 h 136567"/>
                          <a:gd name="connsiteX1" fmla="*/ 85149 w 94133"/>
                          <a:gd name="connsiteY1" fmla="*/ 134368 h 136567"/>
                          <a:gd name="connsiteX2" fmla="*/ 822 w 94133"/>
                          <a:gd name="connsiteY2" fmla="*/ 7613 h 136567"/>
                          <a:gd name="connsiteX3" fmla="*/ 2200 w 94133"/>
                          <a:gd name="connsiteY3" fmla="*/ 829 h 136567"/>
                          <a:gd name="connsiteX4" fmla="*/ 8984 w 94133"/>
                          <a:gd name="connsiteY4" fmla="*/ 2207 h 136567"/>
                          <a:gd name="connsiteX5" fmla="*/ 93311 w 94133"/>
                          <a:gd name="connsiteY5" fmla="*/ 128962 h 136567"/>
                          <a:gd name="connsiteX6" fmla="*/ 91933 w 94133"/>
                          <a:gd name="connsiteY6" fmla="*/ 135746 h 136567"/>
                          <a:gd name="connsiteX7" fmla="*/ 89230 w 94133"/>
                          <a:gd name="connsiteY7" fmla="*/ 136568 h 136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133" h="136567">
                            <a:moveTo>
                              <a:pt x="89230" y="136568"/>
                            </a:moveTo>
                            <a:cubicBezTo>
                              <a:pt x="87640" y="136568"/>
                              <a:pt x="86103" y="135799"/>
                              <a:pt x="85149" y="134368"/>
                            </a:cubicBezTo>
                            <a:lnTo>
                              <a:pt x="822" y="7613"/>
                            </a:lnTo>
                            <a:cubicBezTo>
                              <a:pt x="-689" y="5361"/>
                              <a:pt x="-53" y="2313"/>
                              <a:pt x="2200" y="829"/>
                            </a:cubicBezTo>
                            <a:cubicBezTo>
                              <a:pt x="4453" y="-682"/>
                              <a:pt x="7500" y="-72"/>
                              <a:pt x="8984" y="2207"/>
                            </a:cubicBezTo>
                            <a:lnTo>
                              <a:pt x="93311" y="128962"/>
                            </a:lnTo>
                            <a:cubicBezTo>
                              <a:pt x="94822" y="131215"/>
                              <a:pt x="94186" y="134236"/>
                              <a:pt x="91933" y="135746"/>
                            </a:cubicBezTo>
                            <a:cubicBezTo>
                              <a:pt x="91111" y="136303"/>
                              <a:pt x="90184" y="136568"/>
                              <a:pt x="89230" y="136568"/>
                            </a:cubicBezTo>
                            <a:close/>
                          </a:path>
                        </a:pathLst>
                      </a:custGeom>
                      <a:grpFill/>
                      <a:ln w="2647" cap="flat">
                        <a:noFill/>
                        <a:prstDash val="solid"/>
                        <a:miter/>
                      </a:ln>
                    </p:spPr>
                    <p:txBody>
                      <a:bodyPr rtlCol="0" anchor="ctr"/>
                      <a:lstStyle/>
                      <a:p>
                        <a:endParaRPr lang="en-GB" dirty="0"/>
                      </a:p>
                    </p:txBody>
                  </p:sp>
                  <p:sp>
                    <p:nvSpPr>
                      <p:cNvPr id="269" name="Freihandform: Form 1073">
                        <a:extLst>
                          <a:ext uri="{FF2B5EF4-FFF2-40B4-BE49-F238E27FC236}">
                            <a16:creationId xmlns:a16="http://schemas.microsoft.com/office/drawing/2014/main" id="{FFC05436-35D5-4CD6-BF06-4218365702A7}"/>
                          </a:ext>
                        </a:extLst>
                      </p:cNvPr>
                      <p:cNvSpPr/>
                      <p:nvPr/>
                    </p:nvSpPr>
                    <p:spPr>
                      <a:xfrm>
                        <a:off x="5372045" y="4159341"/>
                        <a:ext cx="9805" cy="137328"/>
                      </a:xfrm>
                      <a:custGeom>
                        <a:avLst/>
                        <a:gdLst>
                          <a:gd name="connsiteX0" fmla="*/ 4903 w 9805"/>
                          <a:gd name="connsiteY0" fmla="*/ 137329 h 137328"/>
                          <a:gd name="connsiteX1" fmla="*/ 0 w 9805"/>
                          <a:gd name="connsiteY1" fmla="*/ 132426 h 137328"/>
                          <a:gd name="connsiteX2" fmla="*/ 0 w 9805"/>
                          <a:gd name="connsiteY2" fmla="*/ 4903 h 137328"/>
                          <a:gd name="connsiteX3" fmla="*/ 4903 w 9805"/>
                          <a:gd name="connsiteY3" fmla="*/ 0 h 137328"/>
                          <a:gd name="connsiteX4" fmla="*/ 9805 w 9805"/>
                          <a:gd name="connsiteY4" fmla="*/ 4903 h 137328"/>
                          <a:gd name="connsiteX5" fmla="*/ 9805 w 9805"/>
                          <a:gd name="connsiteY5" fmla="*/ 132426 h 137328"/>
                          <a:gd name="connsiteX6" fmla="*/ 4903 w 9805"/>
                          <a:gd name="connsiteY6" fmla="*/ 137329 h 13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5" h="137328">
                            <a:moveTo>
                              <a:pt x="4903" y="137329"/>
                            </a:moveTo>
                            <a:cubicBezTo>
                              <a:pt x="2200" y="137329"/>
                              <a:pt x="0" y="135129"/>
                              <a:pt x="0" y="132426"/>
                            </a:cubicBezTo>
                            <a:lnTo>
                              <a:pt x="0" y="4903"/>
                            </a:lnTo>
                            <a:cubicBezTo>
                              <a:pt x="0" y="2199"/>
                              <a:pt x="2200" y="0"/>
                              <a:pt x="4903" y="0"/>
                            </a:cubicBezTo>
                            <a:cubicBezTo>
                              <a:pt x="7606" y="0"/>
                              <a:pt x="9805" y="2199"/>
                              <a:pt x="9805" y="4903"/>
                            </a:cubicBezTo>
                            <a:lnTo>
                              <a:pt x="9805" y="132426"/>
                            </a:lnTo>
                            <a:cubicBezTo>
                              <a:pt x="9805" y="135156"/>
                              <a:pt x="7606" y="137329"/>
                              <a:pt x="4903" y="137329"/>
                            </a:cubicBezTo>
                            <a:close/>
                          </a:path>
                        </a:pathLst>
                      </a:custGeom>
                      <a:grpFill/>
                      <a:ln w="2647" cap="flat">
                        <a:noFill/>
                        <a:prstDash val="solid"/>
                        <a:miter/>
                      </a:ln>
                    </p:spPr>
                    <p:txBody>
                      <a:bodyPr rtlCol="0" anchor="ctr"/>
                      <a:lstStyle/>
                      <a:p>
                        <a:endParaRPr lang="en-GB" dirty="0"/>
                      </a:p>
                    </p:txBody>
                  </p:sp>
                </p:grpSp>
              </p:grpSp>
              <p:sp>
                <p:nvSpPr>
                  <p:cNvPr id="263" name="Freihandform: Form 1074">
                    <a:extLst>
                      <a:ext uri="{FF2B5EF4-FFF2-40B4-BE49-F238E27FC236}">
                        <a16:creationId xmlns:a16="http://schemas.microsoft.com/office/drawing/2014/main" id="{E97E1C96-1C13-4F12-8E5A-E036F5F8AD31}"/>
                      </a:ext>
                    </a:extLst>
                  </p:cNvPr>
                  <p:cNvSpPr/>
                  <p:nvPr/>
                </p:nvSpPr>
                <p:spPr>
                  <a:xfrm>
                    <a:off x="5570618" y="4159076"/>
                    <a:ext cx="163538" cy="9805"/>
                  </a:xfrm>
                  <a:custGeom>
                    <a:avLst/>
                    <a:gdLst>
                      <a:gd name="connsiteX0" fmla="*/ 158636 w 163538"/>
                      <a:gd name="connsiteY0" fmla="*/ 9805 h 9805"/>
                      <a:gd name="connsiteX1" fmla="*/ 4903 w 163538"/>
                      <a:gd name="connsiteY1" fmla="*/ 9805 h 9805"/>
                      <a:gd name="connsiteX2" fmla="*/ 0 w 163538"/>
                      <a:gd name="connsiteY2" fmla="*/ 4903 h 9805"/>
                      <a:gd name="connsiteX3" fmla="*/ 4903 w 163538"/>
                      <a:gd name="connsiteY3" fmla="*/ 0 h 9805"/>
                      <a:gd name="connsiteX4" fmla="*/ 158636 w 163538"/>
                      <a:gd name="connsiteY4" fmla="*/ 0 h 9805"/>
                      <a:gd name="connsiteX5" fmla="*/ 163539 w 163538"/>
                      <a:gd name="connsiteY5" fmla="*/ 4903 h 9805"/>
                      <a:gd name="connsiteX6" fmla="*/ 158636 w 163538"/>
                      <a:gd name="connsiteY6" fmla="*/ 9805 h 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538" h="9805">
                        <a:moveTo>
                          <a:pt x="158636" y="9805"/>
                        </a:moveTo>
                        <a:lnTo>
                          <a:pt x="4903" y="9805"/>
                        </a:lnTo>
                        <a:cubicBezTo>
                          <a:pt x="2200" y="9805"/>
                          <a:pt x="0" y="7606"/>
                          <a:pt x="0" y="4903"/>
                        </a:cubicBezTo>
                        <a:cubicBezTo>
                          <a:pt x="0" y="2200"/>
                          <a:pt x="2200" y="0"/>
                          <a:pt x="4903" y="0"/>
                        </a:cubicBezTo>
                        <a:lnTo>
                          <a:pt x="158636" y="0"/>
                        </a:lnTo>
                        <a:cubicBezTo>
                          <a:pt x="161339" y="0"/>
                          <a:pt x="163539" y="2200"/>
                          <a:pt x="163539" y="4903"/>
                        </a:cubicBezTo>
                        <a:cubicBezTo>
                          <a:pt x="163539" y="7606"/>
                          <a:pt x="161339" y="9805"/>
                          <a:pt x="158636" y="9805"/>
                        </a:cubicBezTo>
                        <a:close/>
                      </a:path>
                    </a:pathLst>
                  </a:custGeom>
                  <a:grpFill/>
                  <a:ln w="2647" cap="flat">
                    <a:noFill/>
                    <a:prstDash val="solid"/>
                    <a:miter/>
                  </a:ln>
                </p:spPr>
                <p:txBody>
                  <a:bodyPr rtlCol="0" anchor="ctr"/>
                  <a:lstStyle/>
                  <a:p>
                    <a:endParaRPr lang="en-GB" dirty="0"/>
                  </a:p>
                </p:txBody>
              </p:sp>
              <p:sp>
                <p:nvSpPr>
                  <p:cNvPr id="264" name="Freihandform: Form 1075">
                    <a:extLst>
                      <a:ext uri="{FF2B5EF4-FFF2-40B4-BE49-F238E27FC236}">
                        <a16:creationId xmlns:a16="http://schemas.microsoft.com/office/drawing/2014/main" id="{720089A3-8621-429B-8061-ED0AD3186AE4}"/>
                      </a:ext>
                    </a:extLst>
                  </p:cNvPr>
                  <p:cNvSpPr/>
                  <p:nvPr/>
                </p:nvSpPr>
                <p:spPr>
                  <a:xfrm>
                    <a:off x="5372495" y="4159076"/>
                    <a:ext cx="162664" cy="9805"/>
                  </a:xfrm>
                  <a:custGeom>
                    <a:avLst/>
                    <a:gdLst>
                      <a:gd name="connsiteX0" fmla="*/ 157761 w 162664"/>
                      <a:gd name="connsiteY0" fmla="*/ 9805 h 9805"/>
                      <a:gd name="connsiteX1" fmla="*/ 4903 w 162664"/>
                      <a:gd name="connsiteY1" fmla="*/ 9805 h 9805"/>
                      <a:gd name="connsiteX2" fmla="*/ 0 w 162664"/>
                      <a:gd name="connsiteY2" fmla="*/ 4903 h 9805"/>
                      <a:gd name="connsiteX3" fmla="*/ 4903 w 162664"/>
                      <a:gd name="connsiteY3" fmla="*/ 0 h 9805"/>
                      <a:gd name="connsiteX4" fmla="*/ 157761 w 162664"/>
                      <a:gd name="connsiteY4" fmla="*/ 0 h 9805"/>
                      <a:gd name="connsiteX5" fmla="*/ 162664 w 162664"/>
                      <a:gd name="connsiteY5" fmla="*/ 4903 h 9805"/>
                      <a:gd name="connsiteX6" fmla="*/ 157761 w 162664"/>
                      <a:gd name="connsiteY6" fmla="*/ 9805 h 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664" h="9805">
                        <a:moveTo>
                          <a:pt x="157761" y="9805"/>
                        </a:moveTo>
                        <a:lnTo>
                          <a:pt x="4903" y="9805"/>
                        </a:lnTo>
                        <a:cubicBezTo>
                          <a:pt x="2200" y="9805"/>
                          <a:pt x="0" y="7606"/>
                          <a:pt x="0" y="4903"/>
                        </a:cubicBezTo>
                        <a:cubicBezTo>
                          <a:pt x="0" y="2200"/>
                          <a:pt x="2200" y="0"/>
                          <a:pt x="4903" y="0"/>
                        </a:cubicBezTo>
                        <a:lnTo>
                          <a:pt x="157761" y="0"/>
                        </a:lnTo>
                        <a:cubicBezTo>
                          <a:pt x="160465" y="0"/>
                          <a:pt x="162664" y="2200"/>
                          <a:pt x="162664" y="4903"/>
                        </a:cubicBezTo>
                        <a:cubicBezTo>
                          <a:pt x="162664" y="7606"/>
                          <a:pt x="160465" y="9805"/>
                          <a:pt x="157761" y="9805"/>
                        </a:cubicBezTo>
                        <a:close/>
                      </a:path>
                    </a:pathLst>
                  </a:custGeom>
                  <a:grpFill/>
                  <a:ln w="2647" cap="flat">
                    <a:noFill/>
                    <a:prstDash val="solid"/>
                    <a:miter/>
                  </a:ln>
                </p:spPr>
                <p:txBody>
                  <a:bodyPr rtlCol="0" anchor="ctr"/>
                  <a:lstStyle/>
                  <a:p>
                    <a:endParaRPr lang="en-GB" dirty="0"/>
                  </a:p>
                </p:txBody>
              </p:sp>
            </p:grpSp>
            <p:sp>
              <p:nvSpPr>
                <p:cNvPr id="260" name="Freihandform: Form 1076">
                  <a:extLst>
                    <a:ext uri="{FF2B5EF4-FFF2-40B4-BE49-F238E27FC236}">
                      <a16:creationId xmlns:a16="http://schemas.microsoft.com/office/drawing/2014/main" id="{7220B094-35A0-4F05-9BE0-62476D29FB17}"/>
                    </a:ext>
                  </a:extLst>
                </p:cNvPr>
                <p:cNvSpPr/>
                <p:nvPr/>
              </p:nvSpPr>
              <p:spPr>
                <a:xfrm>
                  <a:off x="5526043" y="4099766"/>
                  <a:ext cx="53691" cy="128292"/>
                </a:xfrm>
                <a:custGeom>
                  <a:avLst/>
                  <a:gdLst>
                    <a:gd name="connsiteX0" fmla="*/ 26846 w 53691"/>
                    <a:gd name="connsiteY0" fmla="*/ 128292 h 128292"/>
                    <a:gd name="connsiteX1" fmla="*/ 0 w 53691"/>
                    <a:gd name="connsiteY1" fmla="*/ 101447 h 128292"/>
                    <a:gd name="connsiteX2" fmla="*/ 0 w 53691"/>
                    <a:gd name="connsiteY2" fmla="*/ 26846 h 128292"/>
                    <a:gd name="connsiteX3" fmla="*/ 26846 w 53691"/>
                    <a:gd name="connsiteY3" fmla="*/ 0 h 128292"/>
                    <a:gd name="connsiteX4" fmla="*/ 53691 w 53691"/>
                    <a:gd name="connsiteY4" fmla="*/ 26846 h 128292"/>
                    <a:gd name="connsiteX5" fmla="*/ 53691 w 53691"/>
                    <a:gd name="connsiteY5" fmla="*/ 101447 h 128292"/>
                    <a:gd name="connsiteX6" fmla="*/ 26846 w 53691"/>
                    <a:gd name="connsiteY6" fmla="*/ 128292 h 128292"/>
                    <a:gd name="connsiteX7" fmla="*/ 26846 w 53691"/>
                    <a:gd name="connsiteY7" fmla="*/ 9779 h 128292"/>
                    <a:gd name="connsiteX8" fmla="*/ 9805 w 53691"/>
                    <a:gd name="connsiteY8" fmla="*/ 26819 h 128292"/>
                    <a:gd name="connsiteX9" fmla="*/ 9805 w 53691"/>
                    <a:gd name="connsiteY9" fmla="*/ 101420 h 128292"/>
                    <a:gd name="connsiteX10" fmla="*/ 26846 w 53691"/>
                    <a:gd name="connsiteY10" fmla="*/ 118460 h 128292"/>
                    <a:gd name="connsiteX11" fmla="*/ 43886 w 53691"/>
                    <a:gd name="connsiteY11" fmla="*/ 101420 h 128292"/>
                    <a:gd name="connsiteX12" fmla="*/ 43886 w 53691"/>
                    <a:gd name="connsiteY12" fmla="*/ 26819 h 128292"/>
                    <a:gd name="connsiteX13" fmla="*/ 26846 w 53691"/>
                    <a:gd name="connsiteY13" fmla="*/ 9779 h 12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691" h="128292">
                      <a:moveTo>
                        <a:pt x="26846" y="128292"/>
                      </a:moveTo>
                      <a:cubicBezTo>
                        <a:pt x="12058" y="128292"/>
                        <a:pt x="0" y="116234"/>
                        <a:pt x="0" y="101447"/>
                      </a:cubicBezTo>
                      <a:lnTo>
                        <a:pt x="0" y="26846"/>
                      </a:lnTo>
                      <a:cubicBezTo>
                        <a:pt x="0" y="12058"/>
                        <a:pt x="12032" y="0"/>
                        <a:pt x="26846" y="0"/>
                      </a:cubicBezTo>
                      <a:cubicBezTo>
                        <a:pt x="41633" y="0"/>
                        <a:pt x="53691" y="12032"/>
                        <a:pt x="53691" y="26846"/>
                      </a:cubicBezTo>
                      <a:lnTo>
                        <a:pt x="53691" y="101447"/>
                      </a:lnTo>
                      <a:cubicBezTo>
                        <a:pt x="53691" y="116234"/>
                        <a:pt x="41660" y="128292"/>
                        <a:pt x="26846" y="128292"/>
                      </a:cubicBezTo>
                      <a:close/>
                      <a:moveTo>
                        <a:pt x="26846" y="9779"/>
                      </a:moveTo>
                      <a:cubicBezTo>
                        <a:pt x="17438" y="9779"/>
                        <a:pt x="9805" y="17438"/>
                        <a:pt x="9805" y="26819"/>
                      </a:cubicBezTo>
                      <a:lnTo>
                        <a:pt x="9805" y="101420"/>
                      </a:lnTo>
                      <a:cubicBezTo>
                        <a:pt x="9805" y="110828"/>
                        <a:pt x="17438" y="118460"/>
                        <a:pt x="26846" y="118460"/>
                      </a:cubicBezTo>
                      <a:cubicBezTo>
                        <a:pt x="36254" y="118460"/>
                        <a:pt x="43886" y="110801"/>
                        <a:pt x="43886" y="101420"/>
                      </a:cubicBezTo>
                      <a:lnTo>
                        <a:pt x="43886" y="26819"/>
                      </a:lnTo>
                      <a:cubicBezTo>
                        <a:pt x="43886" y="17438"/>
                        <a:pt x="36254" y="9779"/>
                        <a:pt x="26846" y="9779"/>
                      </a:cubicBezTo>
                      <a:close/>
                    </a:path>
                  </a:pathLst>
                </a:custGeom>
                <a:grpFill/>
                <a:ln w="2647" cap="flat">
                  <a:noFill/>
                  <a:prstDash val="solid"/>
                  <a:miter/>
                </a:ln>
              </p:spPr>
              <p:txBody>
                <a:bodyPr rtlCol="0" anchor="ctr"/>
                <a:lstStyle/>
                <a:p>
                  <a:endParaRPr lang="en-GB" dirty="0"/>
                </a:p>
              </p:txBody>
            </p:sp>
          </p:grpSp>
          <p:sp>
            <p:nvSpPr>
              <p:cNvPr id="258" name="Freihandform: Form 1077">
                <a:extLst>
                  <a:ext uri="{FF2B5EF4-FFF2-40B4-BE49-F238E27FC236}">
                    <a16:creationId xmlns:a16="http://schemas.microsoft.com/office/drawing/2014/main" id="{F1434844-9840-4F5D-AD3C-726CC00A1739}"/>
                  </a:ext>
                </a:extLst>
              </p:cNvPr>
              <p:cNvSpPr/>
              <p:nvPr/>
            </p:nvSpPr>
            <p:spPr>
              <a:xfrm>
                <a:off x="5547986" y="4220558"/>
                <a:ext cx="9805" cy="167248"/>
              </a:xfrm>
              <a:custGeom>
                <a:avLst/>
                <a:gdLst>
                  <a:gd name="connsiteX0" fmla="*/ 4903 w 9805"/>
                  <a:gd name="connsiteY0" fmla="*/ 167249 h 167248"/>
                  <a:gd name="connsiteX1" fmla="*/ 0 w 9805"/>
                  <a:gd name="connsiteY1" fmla="*/ 162346 h 167248"/>
                  <a:gd name="connsiteX2" fmla="*/ 0 w 9805"/>
                  <a:gd name="connsiteY2" fmla="*/ 4903 h 167248"/>
                  <a:gd name="connsiteX3" fmla="*/ 4903 w 9805"/>
                  <a:gd name="connsiteY3" fmla="*/ 0 h 167248"/>
                  <a:gd name="connsiteX4" fmla="*/ 9805 w 9805"/>
                  <a:gd name="connsiteY4" fmla="*/ 4903 h 167248"/>
                  <a:gd name="connsiteX5" fmla="*/ 9805 w 9805"/>
                  <a:gd name="connsiteY5" fmla="*/ 162346 h 167248"/>
                  <a:gd name="connsiteX6" fmla="*/ 4903 w 9805"/>
                  <a:gd name="connsiteY6" fmla="*/ 167249 h 16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05" h="167248">
                    <a:moveTo>
                      <a:pt x="4903" y="167249"/>
                    </a:moveTo>
                    <a:cubicBezTo>
                      <a:pt x="2200" y="167249"/>
                      <a:pt x="0" y="165049"/>
                      <a:pt x="0" y="162346"/>
                    </a:cubicBezTo>
                    <a:lnTo>
                      <a:pt x="0" y="4903"/>
                    </a:lnTo>
                    <a:cubicBezTo>
                      <a:pt x="0" y="2200"/>
                      <a:pt x="2200" y="0"/>
                      <a:pt x="4903" y="0"/>
                    </a:cubicBezTo>
                    <a:cubicBezTo>
                      <a:pt x="7606" y="0"/>
                      <a:pt x="9805" y="2200"/>
                      <a:pt x="9805" y="4903"/>
                    </a:cubicBezTo>
                    <a:lnTo>
                      <a:pt x="9805" y="162346"/>
                    </a:lnTo>
                    <a:cubicBezTo>
                      <a:pt x="9805" y="165049"/>
                      <a:pt x="7632" y="167249"/>
                      <a:pt x="4903" y="167249"/>
                    </a:cubicBezTo>
                    <a:close/>
                  </a:path>
                </a:pathLst>
              </a:custGeom>
              <a:grpFill/>
              <a:ln w="2647" cap="flat">
                <a:noFill/>
                <a:prstDash val="solid"/>
                <a:miter/>
              </a:ln>
            </p:spPr>
            <p:txBody>
              <a:bodyPr rtlCol="0" anchor="ctr"/>
              <a:lstStyle/>
              <a:p>
                <a:endParaRPr lang="en-GB" dirty="0"/>
              </a:p>
            </p:txBody>
          </p:sp>
        </p:grpSp>
      </p:grpSp>
      <p:grpSp>
        <p:nvGrpSpPr>
          <p:cNvPr id="27" name="Group 26">
            <a:extLst>
              <a:ext uri="{FF2B5EF4-FFF2-40B4-BE49-F238E27FC236}">
                <a16:creationId xmlns:a16="http://schemas.microsoft.com/office/drawing/2014/main" id="{B5089D66-C8B7-B25E-E9AA-0D89E5EB18AF}"/>
              </a:ext>
            </a:extLst>
          </p:cNvPr>
          <p:cNvGrpSpPr/>
          <p:nvPr/>
        </p:nvGrpSpPr>
        <p:grpSpPr>
          <a:xfrm>
            <a:off x="3772113" y="3197068"/>
            <a:ext cx="370481" cy="432000"/>
            <a:chOff x="3772113" y="3197068"/>
            <a:chExt cx="370481" cy="432000"/>
          </a:xfrm>
        </p:grpSpPr>
        <p:grpSp>
          <p:nvGrpSpPr>
            <p:cNvPr id="285" name="Group 284">
              <a:extLst>
                <a:ext uri="{FF2B5EF4-FFF2-40B4-BE49-F238E27FC236}">
                  <a16:creationId xmlns:a16="http://schemas.microsoft.com/office/drawing/2014/main" id="{CE133A04-E1AF-43F6-A372-98D6E1976DDB}"/>
                </a:ext>
              </a:extLst>
            </p:cNvPr>
            <p:cNvGrpSpPr/>
            <p:nvPr/>
          </p:nvGrpSpPr>
          <p:grpSpPr>
            <a:xfrm>
              <a:off x="3936385" y="3321660"/>
              <a:ext cx="206209" cy="275647"/>
              <a:chOff x="3587605" y="4228406"/>
              <a:chExt cx="205906" cy="275242"/>
            </a:xfrm>
            <a:solidFill>
              <a:schemeClr val="accent1"/>
            </a:solidFill>
          </p:grpSpPr>
          <p:sp>
            <p:nvSpPr>
              <p:cNvPr id="292" name="Freihandform: Form 563">
                <a:extLst>
                  <a:ext uri="{FF2B5EF4-FFF2-40B4-BE49-F238E27FC236}">
                    <a16:creationId xmlns:a16="http://schemas.microsoft.com/office/drawing/2014/main" id="{5BC17B47-D802-4FA3-A219-0B8E203B8E9F}"/>
                  </a:ext>
                </a:extLst>
              </p:cNvPr>
              <p:cNvSpPr/>
              <p:nvPr/>
            </p:nvSpPr>
            <p:spPr>
              <a:xfrm>
                <a:off x="3623498" y="4228406"/>
                <a:ext cx="170013" cy="169898"/>
              </a:xfrm>
              <a:custGeom>
                <a:avLst/>
                <a:gdLst>
                  <a:gd name="connsiteX0" fmla="*/ 84890 w 170013"/>
                  <a:gd name="connsiteY0" fmla="*/ 169899 h 169898"/>
                  <a:gd name="connsiteX1" fmla="*/ 42533 w 170013"/>
                  <a:gd name="connsiteY1" fmla="*/ 158529 h 169898"/>
                  <a:gd name="connsiteX2" fmla="*/ 2935 w 170013"/>
                  <a:gd name="connsiteY2" fmla="*/ 106937 h 169898"/>
                  <a:gd name="connsiteX3" fmla="*/ 11417 w 170013"/>
                  <a:gd name="connsiteY3" fmla="*/ 42466 h 169898"/>
                  <a:gd name="connsiteX4" fmla="*/ 127480 w 170013"/>
                  <a:gd name="connsiteY4" fmla="*/ 11349 h 169898"/>
                  <a:gd name="connsiteX5" fmla="*/ 167078 w 170013"/>
                  <a:gd name="connsiteY5" fmla="*/ 62942 h 169898"/>
                  <a:gd name="connsiteX6" fmla="*/ 158597 w 170013"/>
                  <a:gd name="connsiteY6" fmla="*/ 127412 h 169898"/>
                  <a:gd name="connsiteX7" fmla="*/ 84890 w 170013"/>
                  <a:gd name="connsiteY7" fmla="*/ 169899 h 169898"/>
                  <a:gd name="connsiteX8" fmla="*/ 85150 w 170013"/>
                  <a:gd name="connsiteY8" fmla="*/ 13066 h 169898"/>
                  <a:gd name="connsiteX9" fmla="*/ 22760 w 170013"/>
                  <a:gd name="connsiteY9" fmla="*/ 48996 h 169898"/>
                  <a:gd name="connsiteX10" fmla="*/ 22760 w 170013"/>
                  <a:gd name="connsiteY10" fmla="*/ 48996 h 169898"/>
                  <a:gd name="connsiteX11" fmla="*/ 15580 w 170013"/>
                  <a:gd name="connsiteY11" fmla="*/ 103555 h 169898"/>
                  <a:gd name="connsiteX12" fmla="*/ 49090 w 170013"/>
                  <a:gd name="connsiteY12" fmla="*/ 147212 h 169898"/>
                  <a:gd name="connsiteX13" fmla="*/ 147305 w 170013"/>
                  <a:gd name="connsiteY13" fmla="*/ 120908 h 169898"/>
                  <a:gd name="connsiteX14" fmla="*/ 154486 w 170013"/>
                  <a:gd name="connsiteY14" fmla="*/ 66350 h 169898"/>
                  <a:gd name="connsiteX15" fmla="*/ 120976 w 170013"/>
                  <a:gd name="connsiteY15" fmla="*/ 22693 h 169898"/>
                  <a:gd name="connsiteX16" fmla="*/ 85150 w 170013"/>
                  <a:gd name="connsiteY16" fmla="*/ 13066 h 169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0013" h="169898">
                    <a:moveTo>
                      <a:pt x="84890" y="169899"/>
                    </a:moveTo>
                    <a:cubicBezTo>
                      <a:pt x="70476" y="169899"/>
                      <a:pt x="55880" y="166230"/>
                      <a:pt x="42533" y="158529"/>
                    </a:cubicBezTo>
                    <a:cubicBezTo>
                      <a:pt x="22890" y="147186"/>
                      <a:pt x="8815" y="128844"/>
                      <a:pt x="2935" y="106937"/>
                    </a:cubicBezTo>
                    <a:cubicBezTo>
                      <a:pt x="-2945" y="85004"/>
                      <a:pt x="73" y="62109"/>
                      <a:pt x="11417" y="42466"/>
                    </a:cubicBezTo>
                    <a:cubicBezTo>
                      <a:pt x="34832" y="1879"/>
                      <a:pt x="86919" y="-12040"/>
                      <a:pt x="127480" y="11349"/>
                    </a:cubicBezTo>
                    <a:cubicBezTo>
                      <a:pt x="147149" y="22693"/>
                      <a:pt x="161198" y="41035"/>
                      <a:pt x="167078" y="62942"/>
                    </a:cubicBezTo>
                    <a:cubicBezTo>
                      <a:pt x="172958" y="84874"/>
                      <a:pt x="169940" y="107770"/>
                      <a:pt x="158597" y="127412"/>
                    </a:cubicBezTo>
                    <a:cubicBezTo>
                      <a:pt x="142882" y="154653"/>
                      <a:pt x="114263" y="169899"/>
                      <a:pt x="84890" y="169899"/>
                    </a:cubicBezTo>
                    <a:close/>
                    <a:moveTo>
                      <a:pt x="85150" y="13066"/>
                    </a:moveTo>
                    <a:cubicBezTo>
                      <a:pt x="60277" y="13066"/>
                      <a:pt x="36081" y="25971"/>
                      <a:pt x="22760" y="48996"/>
                    </a:cubicBezTo>
                    <a:lnTo>
                      <a:pt x="22760" y="48996"/>
                    </a:lnTo>
                    <a:cubicBezTo>
                      <a:pt x="13160" y="65621"/>
                      <a:pt x="10610" y="85004"/>
                      <a:pt x="15580" y="103555"/>
                    </a:cubicBezTo>
                    <a:cubicBezTo>
                      <a:pt x="20549" y="122105"/>
                      <a:pt x="32439" y="137611"/>
                      <a:pt x="49090" y="147212"/>
                    </a:cubicBezTo>
                    <a:cubicBezTo>
                      <a:pt x="83433" y="167037"/>
                      <a:pt x="127480" y="155225"/>
                      <a:pt x="147305" y="120908"/>
                    </a:cubicBezTo>
                    <a:cubicBezTo>
                      <a:pt x="156906" y="104283"/>
                      <a:pt x="159455" y="84900"/>
                      <a:pt x="154486" y="66350"/>
                    </a:cubicBezTo>
                    <a:cubicBezTo>
                      <a:pt x="149517" y="47800"/>
                      <a:pt x="137627" y="32293"/>
                      <a:pt x="120976" y="22693"/>
                    </a:cubicBezTo>
                    <a:cubicBezTo>
                      <a:pt x="109684" y="16163"/>
                      <a:pt x="97352" y="13066"/>
                      <a:pt x="85150" y="13066"/>
                    </a:cubicBezTo>
                    <a:close/>
                  </a:path>
                </a:pathLst>
              </a:custGeom>
              <a:solidFill>
                <a:schemeClr val="accent1"/>
              </a:solidFill>
              <a:ln w="2597" cap="flat">
                <a:noFill/>
                <a:prstDash val="solid"/>
                <a:miter/>
              </a:ln>
            </p:spPr>
            <p:txBody>
              <a:bodyPr rtlCol="0" anchor="ctr"/>
              <a:lstStyle/>
              <a:p>
                <a:endParaRPr lang="en-GB" dirty="0"/>
              </a:p>
            </p:txBody>
          </p:sp>
          <p:sp>
            <p:nvSpPr>
              <p:cNvPr id="293" name="Freihandform: Form 564">
                <a:extLst>
                  <a:ext uri="{FF2B5EF4-FFF2-40B4-BE49-F238E27FC236}">
                    <a16:creationId xmlns:a16="http://schemas.microsoft.com/office/drawing/2014/main" id="{29047460-08FA-4EA4-93E4-9E1139F652A2}"/>
                  </a:ext>
                </a:extLst>
              </p:cNvPr>
              <p:cNvSpPr/>
              <p:nvPr/>
            </p:nvSpPr>
            <p:spPr>
              <a:xfrm>
                <a:off x="3728148" y="4261545"/>
                <a:ext cx="39202" cy="84491"/>
              </a:xfrm>
              <a:custGeom>
                <a:avLst/>
                <a:gdLst>
                  <a:gd name="connsiteX0" fmla="*/ 25666 w 39202"/>
                  <a:gd name="connsiteY0" fmla="*/ 84491 h 84491"/>
                  <a:gd name="connsiteX1" fmla="*/ 22414 w 39202"/>
                  <a:gd name="connsiteY1" fmla="*/ 83606 h 84491"/>
                  <a:gd name="connsiteX2" fmla="*/ 20020 w 39202"/>
                  <a:gd name="connsiteY2" fmla="*/ 74683 h 84491"/>
                  <a:gd name="connsiteX3" fmla="*/ 3265 w 39202"/>
                  <a:gd name="connsiteY3" fmla="*/ 12189 h 84491"/>
                  <a:gd name="connsiteX4" fmla="*/ 871 w 39202"/>
                  <a:gd name="connsiteY4" fmla="*/ 3265 h 84491"/>
                  <a:gd name="connsiteX5" fmla="*/ 9795 w 39202"/>
                  <a:gd name="connsiteY5" fmla="*/ 871 h 84491"/>
                  <a:gd name="connsiteX6" fmla="*/ 31338 w 39202"/>
                  <a:gd name="connsiteY6" fmla="*/ 81239 h 84491"/>
                  <a:gd name="connsiteX7" fmla="*/ 25666 w 39202"/>
                  <a:gd name="connsiteY7" fmla="*/ 84491 h 84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202" h="84491">
                    <a:moveTo>
                      <a:pt x="25666" y="84491"/>
                    </a:moveTo>
                    <a:cubicBezTo>
                      <a:pt x="24547" y="84491"/>
                      <a:pt x="23428" y="84205"/>
                      <a:pt x="22414" y="83606"/>
                    </a:cubicBezTo>
                    <a:cubicBezTo>
                      <a:pt x="19292" y="81811"/>
                      <a:pt x="18225" y="77804"/>
                      <a:pt x="20020" y="74683"/>
                    </a:cubicBezTo>
                    <a:cubicBezTo>
                      <a:pt x="32639" y="52828"/>
                      <a:pt x="25120" y="24781"/>
                      <a:pt x="3265" y="12189"/>
                    </a:cubicBezTo>
                    <a:cubicBezTo>
                      <a:pt x="143" y="10394"/>
                      <a:pt x="-924" y="6387"/>
                      <a:pt x="871" y="3265"/>
                    </a:cubicBezTo>
                    <a:cubicBezTo>
                      <a:pt x="2667" y="143"/>
                      <a:pt x="6673" y="-924"/>
                      <a:pt x="9795" y="871"/>
                    </a:cubicBezTo>
                    <a:cubicBezTo>
                      <a:pt x="37894" y="17106"/>
                      <a:pt x="47546" y="53140"/>
                      <a:pt x="31338" y="81239"/>
                    </a:cubicBezTo>
                    <a:cubicBezTo>
                      <a:pt x="30115" y="83320"/>
                      <a:pt x="27929" y="84491"/>
                      <a:pt x="25666" y="84491"/>
                    </a:cubicBezTo>
                    <a:close/>
                  </a:path>
                </a:pathLst>
              </a:custGeom>
              <a:solidFill>
                <a:schemeClr val="accent1"/>
              </a:solidFill>
              <a:ln w="2597" cap="flat">
                <a:noFill/>
                <a:prstDash val="solid"/>
                <a:miter/>
              </a:ln>
            </p:spPr>
            <p:txBody>
              <a:bodyPr rtlCol="0" anchor="ctr"/>
              <a:lstStyle/>
              <a:p>
                <a:endParaRPr lang="en-GB" dirty="0"/>
              </a:p>
            </p:txBody>
          </p:sp>
          <p:sp>
            <p:nvSpPr>
              <p:cNvPr id="294" name="Freihandform: Form 565">
                <a:extLst>
                  <a:ext uri="{FF2B5EF4-FFF2-40B4-BE49-F238E27FC236}">
                    <a16:creationId xmlns:a16="http://schemas.microsoft.com/office/drawing/2014/main" id="{5E520622-F93A-4B09-988C-A8568EDA5E89}"/>
                  </a:ext>
                </a:extLst>
              </p:cNvPr>
              <p:cNvSpPr/>
              <p:nvPr/>
            </p:nvSpPr>
            <p:spPr>
              <a:xfrm rot="17999574">
                <a:off x="3630104" y="4397204"/>
                <a:ext cx="52295" cy="13086"/>
              </a:xfrm>
              <a:custGeom>
                <a:avLst/>
                <a:gdLst>
                  <a:gd name="connsiteX0" fmla="*/ 0 w 52295"/>
                  <a:gd name="connsiteY0" fmla="*/ 0 h 13086"/>
                  <a:gd name="connsiteX1" fmla="*/ 52295 w 52295"/>
                  <a:gd name="connsiteY1" fmla="*/ 0 h 13086"/>
                  <a:gd name="connsiteX2" fmla="*/ 52295 w 52295"/>
                  <a:gd name="connsiteY2" fmla="*/ 13087 h 13086"/>
                  <a:gd name="connsiteX3" fmla="*/ 0 w 52295"/>
                  <a:gd name="connsiteY3" fmla="*/ 13087 h 13086"/>
                </a:gdLst>
                <a:ahLst/>
                <a:cxnLst>
                  <a:cxn ang="0">
                    <a:pos x="connsiteX0" y="connsiteY0"/>
                  </a:cxn>
                  <a:cxn ang="0">
                    <a:pos x="connsiteX1" y="connsiteY1"/>
                  </a:cxn>
                  <a:cxn ang="0">
                    <a:pos x="connsiteX2" y="connsiteY2"/>
                  </a:cxn>
                  <a:cxn ang="0">
                    <a:pos x="connsiteX3" y="connsiteY3"/>
                  </a:cxn>
                </a:cxnLst>
                <a:rect l="l" t="t" r="r" b="b"/>
                <a:pathLst>
                  <a:path w="52295" h="13086">
                    <a:moveTo>
                      <a:pt x="0" y="0"/>
                    </a:moveTo>
                    <a:lnTo>
                      <a:pt x="52295" y="0"/>
                    </a:lnTo>
                    <a:lnTo>
                      <a:pt x="52295" y="13087"/>
                    </a:lnTo>
                    <a:lnTo>
                      <a:pt x="0" y="13087"/>
                    </a:lnTo>
                    <a:close/>
                  </a:path>
                </a:pathLst>
              </a:custGeom>
              <a:solidFill>
                <a:schemeClr val="accent1"/>
              </a:solidFill>
              <a:ln w="2597" cap="flat">
                <a:noFill/>
                <a:prstDash val="solid"/>
                <a:miter/>
              </a:ln>
            </p:spPr>
            <p:txBody>
              <a:bodyPr rtlCol="0" anchor="ctr"/>
              <a:lstStyle/>
              <a:p>
                <a:endParaRPr lang="en-GB" dirty="0"/>
              </a:p>
            </p:txBody>
          </p:sp>
          <p:sp>
            <p:nvSpPr>
              <p:cNvPr id="295" name="Freihandform: Form 566">
                <a:extLst>
                  <a:ext uri="{FF2B5EF4-FFF2-40B4-BE49-F238E27FC236}">
                    <a16:creationId xmlns:a16="http://schemas.microsoft.com/office/drawing/2014/main" id="{06194B05-959B-41BD-9300-EA34FF97FCF4}"/>
                  </a:ext>
                </a:extLst>
              </p:cNvPr>
              <p:cNvSpPr/>
              <p:nvPr/>
            </p:nvSpPr>
            <p:spPr>
              <a:xfrm>
                <a:off x="3587605" y="4404556"/>
                <a:ext cx="82313" cy="99092"/>
              </a:xfrm>
              <a:custGeom>
                <a:avLst/>
                <a:gdLst>
                  <a:gd name="connsiteX0" fmla="*/ 26106 w 82313"/>
                  <a:gd name="connsiteY0" fmla="*/ 99092 h 99092"/>
                  <a:gd name="connsiteX1" fmla="*/ 13071 w 82313"/>
                  <a:gd name="connsiteY1" fmla="*/ 95606 h 99092"/>
                  <a:gd name="connsiteX2" fmla="*/ 13071 w 82313"/>
                  <a:gd name="connsiteY2" fmla="*/ 95606 h 99092"/>
                  <a:gd name="connsiteX3" fmla="*/ 3497 w 82313"/>
                  <a:gd name="connsiteY3" fmla="*/ 59884 h 99092"/>
                  <a:gd name="connsiteX4" fmla="*/ 36174 w 82313"/>
                  <a:gd name="connsiteY4" fmla="*/ 3271 h 99092"/>
                  <a:gd name="connsiteX5" fmla="*/ 45098 w 82313"/>
                  <a:gd name="connsiteY5" fmla="*/ 877 h 99092"/>
                  <a:gd name="connsiteX6" fmla="*/ 79051 w 82313"/>
                  <a:gd name="connsiteY6" fmla="*/ 20494 h 99092"/>
                  <a:gd name="connsiteX7" fmla="*/ 82095 w 82313"/>
                  <a:gd name="connsiteY7" fmla="*/ 24475 h 99092"/>
                  <a:gd name="connsiteX8" fmla="*/ 81445 w 82313"/>
                  <a:gd name="connsiteY8" fmla="*/ 29444 h 99092"/>
                  <a:gd name="connsiteX9" fmla="*/ 48767 w 82313"/>
                  <a:gd name="connsiteY9" fmla="*/ 86058 h 99092"/>
                  <a:gd name="connsiteX10" fmla="*/ 26106 w 82313"/>
                  <a:gd name="connsiteY10" fmla="*/ 99092 h 99092"/>
                  <a:gd name="connsiteX11" fmla="*/ 19601 w 82313"/>
                  <a:gd name="connsiteY11" fmla="*/ 84263 h 99092"/>
                  <a:gd name="connsiteX12" fmla="*/ 37449 w 82313"/>
                  <a:gd name="connsiteY12" fmla="*/ 79475 h 99092"/>
                  <a:gd name="connsiteX13" fmla="*/ 66875 w 82313"/>
                  <a:gd name="connsiteY13" fmla="*/ 28533 h 99092"/>
                  <a:gd name="connsiteX14" fmla="*/ 44240 w 82313"/>
                  <a:gd name="connsiteY14" fmla="*/ 15473 h 99092"/>
                  <a:gd name="connsiteX15" fmla="*/ 14814 w 82313"/>
                  <a:gd name="connsiteY15" fmla="*/ 66415 h 99092"/>
                  <a:gd name="connsiteX16" fmla="*/ 19601 w 82313"/>
                  <a:gd name="connsiteY16" fmla="*/ 84263 h 9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2313" h="99092">
                    <a:moveTo>
                      <a:pt x="26106" y="99092"/>
                    </a:moveTo>
                    <a:cubicBezTo>
                      <a:pt x="21657" y="99092"/>
                      <a:pt x="17182" y="97974"/>
                      <a:pt x="13071" y="95606"/>
                    </a:cubicBezTo>
                    <a:lnTo>
                      <a:pt x="13071" y="95606"/>
                    </a:lnTo>
                    <a:cubicBezTo>
                      <a:pt x="583" y="88399"/>
                      <a:pt x="-3710" y="72373"/>
                      <a:pt x="3497" y="59884"/>
                    </a:cubicBezTo>
                    <a:lnTo>
                      <a:pt x="36174" y="3271"/>
                    </a:lnTo>
                    <a:cubicBezTo>
                      <a:pt x="37970" y="122"/>
                      <a:pt x="41976" y="-918"/>
                      <a:pt x="45098" y="877"/>
                    </a:cubicBezTo>
                    <a:lnTo>
                      <a:pt x="79051" y="20494"/>
                    </a:lnTo>
                    <a:cubicBezTo>
                      <a:pt x="80560" y="21353"/>
                      <a:pt x="81653" y="22784"/>
                      <a:pt x="82095" y="24475"/>
                    </a:cubicBezTo>
                    <a:cubicBezTo>
                      <a:pt x="82537" y="26140"/>
                      <a:pt x="82303" y="27935"/>
                      <a:pt x="81445" y="29444"/>
                    </a:cubicBezTo>
                    <a:lnTo>
                      <a:pt x="48767" y="86058"/>
                    </a:lnTo>
                    <a:cubicBezTo>
                      <a:pt x="43954" y="94383"/>
                      <a:pt x="35134" y="99092"/>
                      <a:pt x="26106" y="99092"/>
                    </a:cubicBezTo>
                    <a:close/>
                    <a:moveTo>
                      <a:pt x="19601" y="84263"/>
                    </a:moveTo>
                    <a:cubicBezTo>
                      <a:pt x="25846" y="87879"/>
                      <a:pt x="33859" y="85719"/>
                      <a:pt x="37449" y="79475"/>
                    </a:cubicBezTo>
                    <a:lnTo>
                      <a:pt x="66875" y="28533"/>
                    </a:lnTo>
                    <a:lnTo>
                      <a:pt x="44240" y="15473"/>
                    </a:lnTo>
                    <a:lnTo>
                      <a:pt x="14814" y="66415"/>
                    </a:lnTo>
                    <a:cubicBezTo>
                      <a:pt x="11224" y="72659"/>
                      <a:pt x="13357" y="80672"/>
                      <a:pt x="19601" y="84263"/>
                    </a:cubicBezTo>
                    <a:close/>
                  </a:path>
                </a:pathLst>
              </a:custGeom>
              <a:solidFill>
                <a:schemeClr val="accent1"/>
              </a:solidFill>
              <a:ln w="2597" cap="flat">
                <a:noFill/>
                <a:prstDash val="solid"/>
                <a:miter/>
              </a:ln>
            </p:spPr>
            <p:txBody>
              <a:bodyPr rtlCol="0" anchor="ctr"/>
              <a:lstStyle/>
              <a:p>
                <a:endParaRPr lang="en-GB" dirty="0"/>
              </a:p>
            </p:txBody>
          </p:sp>
        </p:grpSp>
        <p:grpSp>
          <p:nvGrpSpPr>
            <p:cNvPr id="286" name="Group 285">
              <a:extLst>
                <a:ext uri="{FF2B5EF4-FFF2-40B4-BE49-F238E27FC236}">
                  <a16:creationId xmlns:a16="http://schemas.microsoft.com/office/drawing/2014/main" id="{27BBD210-032C-4BCD-AC80-B352E0C27514}"/>
                </a:ext>
              </a:extLst>
            </p:cNvPr>
            <p:cNvGrpSpPr/>
            <p:nvPr/>
          </p:nvGrpSpPr>
          <p:grpSpPr>
            <a:xfrm>
              <a:off x="3772113" y="3197068"/>
              <a:ext cx="366529" cy="432000"/>
              <a:chOff x="3423576" y="4103997"/>
              <a:chExt cx="365991" cy="431366"/>
            </a:xfrm>
            <a:solidFill>
              <a:schemeClr val="tx2"/>
            </a:solidFill>
          </p:grpSpPr>
          <p:sp>
            <p:nvSpPr>
              <p:cNvPr id="287" name="Freihandform: Form 559">
                <a:extLst>
                  <a:ext uri="{FF2B5EF4-FFF2-40B4-BE49-F238E27FC236}">
                    <a16:creationId xmlns:a16="http://schemas.microsoft.com/office/drawing/2014/main" id="{714B6A20-64C3-40F1-879D-2816636E3874}"/>
                  </a:ext>
                </a:extLst>
              </p:cNvPr>
              <p:cNvSpPr/>
              <p:nvPr/>
            </p:nvSpPr>
            <p:spPr>
              <a:xfrm>
                <a:off x="3423576" y="4130144"/>
                <a:ext cx="365991" cy="405219"/>
              </a:xfrm>
              <a:custGeom>
                <a:avLst/>
                <a:gdLst>
                  <a:gd name="connsiteX0" fmla="*/ 333541 w 365991"/>
                  <a:gd name="connsiteY0" fmla="*/ 405220 h 405219"/>
                  <a:gd name="connsiteX1" fmla="*/ 32495 w 365991"/>
                  <a:gd name="connsiteY1" fmla="*/ 405220 h 405219"/>
                  <a:gd name="connsiteX2" fmla="*/ 4787 w 365991"/>
                  <a:gd name="connsiteY2" fmla="*/ 389557 h 405219"/>
                  <a:gd name="connsiteX3" fmla="*/ 3772 w 365991"/>
                  <a:gd name="connsiteY3" fmla="*/ 357322 h 405219"/>
                  <a:gd name="connsiteX4" fmla="*/ 129592 w 365991"/>
                  <a:gd name="connsiteY4" fmla="*/ 142028 h 405219"/>
                  <a:gd name="connsiteX5" fmla="*/ 129592 w 365991"/>
                  <a:gd name="connsiteY5" fmla="*/ 6530 h 405219"/>
                  <a:gd name="connsiteX6" fmla="*/ 136122 w 365991"/>
                  <a:gd name="connsiteY6" fmla="*/ 0 h 405219"/>
                  <a:gd name="connsiteX7" fmla="*/ 233323 w 365991"/>
                  <a:gd name="connsiteY7" fmla="*/ 0 h 405219"/>
                  <a:gd name="connsiteX8" fmla="*/ 239853 w 365991"/>
                  <a:gd name="connsiteY8" fmla="*/ 6530 h 405219"/>
                  <a:gd name="connsiteX9" fmla="*/ 239853 w 365991"/>
                  <a:gd name="connsiteY9" fmla="*/ 89369 h 405219"/>
                  <a:gd name="connsiteX10" fmla="*/ 233323 w 365991"/>
                  <a:gd name="connsiteY10" fmla="*/ 95900 h 405219"/>
                  <a:gd name="connsiteX11" fmla="*/ 226792 w 365991"/>
                  <a:gd name="connsiteY11" fmla="*/ 89369 h 405219"/>
                  <a:gd name="connsiteX12" fmla="*/ 226792 w 365991"/>
                  <a:gd name="connsiteY12" fmla="*/ 13087 h 405219"/>
                  <a:gd name="connsiteX13" fmla="*/ 142652 w 365991"/>
                  <a:gd name="connsiteY13" fmla="*/ 13087 h 405219"/>
                  <a:gd name="connsiteX14" fmla="*/ 142652 w 365991"/>
                  <a:gd name="connsiteY14" fmla="*/ 143824 h 405219"/>
                  <a:gd name="connsiteX15" fmla="*/ 141768 w 365991"/>
                  <a:gd name="connsiteY15" fmla="*/ 147128 h 405219"/>
                  <a:gd name="connsiteX16" fmla="*/ 15193 w 365991"/>
                  <a:gd name="connsiteY16" fmla="*/ 363696 h 405219"/>
                  <a:gd name="connsiteX17" fmla="*/ 15948 w 365991"/>
                  <a:gd name="connsiteY17" fmla="*/ 382845 h 405219"/>
                  <a:gd name="connsiteX18" fmla="*/ 32469 w 365991"/>
                  <a:gd name="connsiteY18" fmla="*/ 392211 h 405219"/>
                  <a:gd name="connsiteX19" fmla="*/ 333515 w 365991"/>
                  <a:gd name="connsiteY19" fmla="*/ 392211 h 405219"/>
                  <a:gd name="connsiteX20" fmla="*/ 350036 w 365991"/>
                  <a:gd name="connsiteY20" fmla="*/ 382845 h 405219"/>
                  <a:gd name="connsiteX21" fmla="*/ 350635 w 365991"/>
                  <a:gd name="connsiteY21" fmla="*/ 363436 h 405219"/>
                  <a:gd name="connsiteX22" fmla="*/ 306405 w 365991"/>
                  <a:gd name="connsiteY22" fmla="*/ 285982 h 405219"/>
                  <a:gd name="connsiteX23" fmla="*/ 308825 w 365991"/>
                  <a:gd name="connsiteY23" fmla="*/ 277058 h 405219"/>
                  <a:gd name="connsiteX24" fmla="*/ 317749 w 365991"/>
                  <a:gd name="connsiteY24" fmla="*/ 279478 h 405219"/>
                  <a:gd name="connsiteX25" fmla="*/ 362108 w 365991"/>
                  <a:gd name="connsiteY25" fmla="*/ 357140 h 405219"/>
                  <a:gd name="connsiteX26" fmla="*/ 361224 w 365991"/>
                  <a:gd name="connsiteY26" fmla="*/ 389609 h 405219"/>
                  <a:gd name="connsiteX27" fmla="*/ 333541 w 365991"/>
                  <a:gd name="connsiteY27" fmla="*/ 405220 h 40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5991" h="405219">
                    <a:moveTo>
                      <a:pt x="333541" y="405220"/>
                    </a:moveTo>
                    <a:lnTo>
                      <a:pt x="32495" y="405220"/>
                    </a:lnTo>
                    <a:cubicBezTo>
                      <a:pt x="21073" y="405220"/>
                      <a:pt x="10719" y="399366"/>
                      <a:pt x="4787" y="389557"/>
                    </a:cubicBezTo>
                    <a:cubicBezTo>
                      <a:pt x="-1223" y="379645"/>
                      <a:pt x="-1588" y="367599"/>
                      <a:pt x="3772" y="357322"/>
                    </a:cubicBezTo>
                    <a:lnTo>
                      <a:pt x="129592" y="142028"/>
                    </a:lnTo>
                    <a:lnTo>
                      <a:pt x="129592" y="6530"/>
                    </a:lnTo>
                    <a:cubicBezTo>
                      <a:pt x="129592" y="2914"/>
                      <a:pt x="132506" y="0"/>
                      <a:pt x="136122" y="0"/>
                    </a:cubicBezTo>
                    <a:lnTo>
                      <a:pt x="233323" y="0"/>
                    </a:lnTo>
                    <a:cubicBezTo>
                      <a:pt x="236939" y="0"/>
                      <a:pt x="239853" y="2914"/>
                      <a:pt x="239853" y="6530"/>
                    </a:cubicBezTo>
                    <a:lnTo>
                      <a:pt x="239853" y="89369"/>
                    </a:lnTo>
                    <a:cubicBezTo>
                      <a:pt x="239853" y="92986"/>
                      <a:pt x="236939" y="95900"/>
                      <a:pt x="233323" y="95900"/>
                    </a:cubicBezTo>
                    <a:cubicBezTo>
                      <a:pt x="229706" y="95900"/>
                      <a:pt x="226792" y="92986"/>
                      <a:pt x="226792" y="89369"/>
                    </a:cubicBezTo>
                    <a:lnTo>
                      <a:pt x="226792" y="13087"/>
                    </a:lnTo>
                    <a:lnTo>
                      <a:pt x="142652" y="13087"/>
                    </a:lnTo>
                    <a:lnTo>
                      <a:pt x="142652" y="143824"/>
                    </a:lnTo>
                    <a:cubicBezTo>
                      <a:pt x="142652" y="144994"/>
                      <a:pt x="142340" y="146113"/>
                      <a:pt x="141768" y="147128"/>
                    </a:cubicBezTo>
                    <a:lnTo>
                      <a:pt x="15193" y="363696"/>
                    </a:lnTo>
                    <a:cubicBezTo>
                      <a:pt x="12097" y="369602"/>
                      <a:pt x="12332" y="376861"/>
                      <a:pt x="15948" y="382845"/>
                    </a:cubicBezTo>
                    <a:cubicBezTo>
                      <a:pt x="19486" y="388699"/>
                      <a:pt x="25678" y="392211"/>
                      <a:pt x="32469" y="392211"/>
                    </a:cubicBezTo>
                    <a:lnTo>
                      <a:pt x="333515" y="392211"/>
                    </a:lnTo>
                    <a:cubicBezTo>
                      <a:pt x="340306" y="392211"/>
                      <a:pt x="346498" y="388699"/>
                      <a:pt x="350036" y="382845"/>
                    </a:cubicBezTo>
                    <a:cubicBezTo>
                      <a:pt x="353653" y="376861"/>
                      <a:pt x="353887" y="369602"/>
                      <a:pt x="350635" y="363436"/>
                    </a:cubicBezTo>
                    <a:lnTo>
                      <a:pt x="306405" y="285982"/>
                    </a:lnTo>
                    <a:cubicBezTo>
                      <a:pt x="304610" y="282860"/>
                      <a:pt x="305703" y="278854"/>
                      <a:pt x="308825" y="277058"/>
                    </a:cubicBezTo>
                    <a:cubicBezTo>
                      <a:pt x="311947" y="275263"/>
                      <a:pt x="315954" y="276356"/>
                      <a:pt x="317749" y="279478"/>
                    </a:cubicBezTo>
                    <a:lnTo>
                      <a:pt x="362108" y="357140"/>
                    </a:lnTo>
                    <a:cubicBezTo>
                      <a:pt x="367598" y="367625"/>
                      <a:pt x="367234" y="379697"/>
                      <a:pt x="361224" y="389609"/>
                    </a:cubicBezTo>
                    <a:cubicBezTo>
                      <a:pt x="355318" y="399366"/>
                      <a:pt x="344937" y="405220"/>
                      <a:pt x="333541" y="405220"/>
                    </a:cubicBezTo>
                    <a:close/>
                  </a:path>
                </a:pathLst>
              </a:custGeom>
              <a:grpFill/>
              <a:ln w="2597" cap="flat">
                <a:noFill/>
                <a:prstDash val="solid"/>
                <a:miter/>
              </a:ln>
            </p:spPr>
            <p:txBody>
              <a:bodyPr rtlCol="0" anchor="ctr"/>
              <a:lstStyle/>
              <a:p>
                <a:endParaRPr lang="en-GB" dirty="0"/>
              </a:p>
            </p:txBody>
          </p:sp>
          <p:sp>
            <p:nvSpPr>
              <p:cNvPr id="288" name="Freihandform: Form 560">
                <a:extLst>
                  <a:ext uri="{FF2B5EF4-FFF2-40B4-BE49-F238E27FC236}">
                    <a16:creationId xmlns:a16="http://schemas.microsoft.com/office/drawing/2014/main" id="{0DA267C4-6146-4C24-9EB7-28E50782BE3E}"/>
                  </a:ext>
                </a:extLst>
              </p:cNvPr>
              <p:cNvSpPr/>
              <p:nvPr/>
            </p:nvSpPr>
            <p:spPr>
              <a:xfrm>
                <a:off x="3526084" y="4130144"/>
                <a:ext cx="163388" cy="13060"/>
              </a:xfrm>
              <a:custGeom>
                <a:avLst/>
                <a:gdLst>
                  <a:gd name="connsiteX0" fmla="*/ 156858 w 163388"/>
                  <a:gd name="connsiteY0" fmla="*/ 13061 h 13060"/>
                  <a:gd name="connsiteX1" fmla="*/ 6530 w 163388"/>
                  <a:gd name="connsiteY1" fmla="*/ 13061 h 13060"/>
                  <a:gd name="connsiteX2" fmla="*/ 0 w 163388"/>
                  <a:gd name="connsiteY2" fmla="*/ 6530 h 13060"/>
                  <a:gd name="connsiteX3" fmla="*/ 6530 w 163388"/>
                  <a:gd name="connsiteY3" fmla="*/ 0 h 13060"/>
                  <a:gd name="connsiteX4" fmla="*/ 156858 w 163388"/>
                  <a:gd name="connsiteY4" fmla="*/ 0 h 13060"/>
                  <a:gd name="connsiteX5" fmla="*/ 163389 w 163388"/>
                  <a:gd name="connsiteY5" fmla="*/ 6530 h 13060"/>
                  <a:gd name="connsiteX6" fmla="*/ 156858 w 163388"/>
                  <a:gd name="connsiteY6" fmla="*/ 13061 h 13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88" h="13060">
                    <a:moveTo>
                      <a:pt x="156858" y="13061"/>
                    </a:moveTo>
                    <a:lnTo>
                      <a:pt x="6530" y="13061"/>
                    </a:lnTo>
                    <a:cubicBezTo>
                      <a:pt x="2914" y="13061"/>
                      <a:pt x="0" y="10147"/>
                      <a:pt x="0" y="6530"/>
                    </a:cubicBezTo>
                    <a:cubicBezTo>
                      <a:pt x="0" y="2914"/>
                      <a:pt x="2914" y="0"/>
                      <a:pt x="6530" y="0"/>
                    </a:cubicBezTo>
                    <a:lnTo>
                      <a:pt x="156858" y="0"/>
                    </a:lnTo>
                    <a:cubicBezTo>
                      <a:pt x="160475" y="0"/>
                      <a:pt x="163389" y="2914"/>
                      <a:pt x="163389" y="6530"/>
                    </a:cubicBezTo>
                    <a:cubicBezTo>
                      <a:pt x="163389" y="10121"/>
                      <a:pt x="160475" y="13061"/>
                      <a:pt x="156858" y="13061"/>
                    </a:cubicBezTo>
                    <a:close/>
                  </a:path>
                </a:pathLst>
              </a:custGeom>
              <a:grpFill/>
              <a:ln w="2597" cap="flat">
                <a:noFill/>
                <a:prstDash val="solid"/>
                <a:miter/>
              </a:ln>
            </p:spPr>
            <p:txBody>
              <a:bodyPr rtlCol="0" anchor="ctr"/>
              <a:lstStyle/>
              <a:p>
                <a:endParaRPr lang="en-GB" dirty="0"/>
              </a:p>
            </p:txBody>
          </p:sp>
          <p:sp>
            <p:nvSpPr>
              <p:cNvPr id="289" name="Freihandform: Form 561">
                <a:extLst>
                  <a:ext uri="{FF2B5EF4-FFF2-40B4-BE49-F238E27FC236}">
                    <a16:creationId xmlns:a16="http://schemas.microsoft.com/office/drawing/2014/main" id="{918DF547-6B06-4A95-8919-FC788DC7A7DD}"/>
                  </a:ext>
                </a:extLst>
              </p:cNvPr>
              <p:cNvSpPr/>
              <p:nvPr/>
            </p:nvSpPr>
            <p:spPr>
              <a:xfrm>
                <a:off x="3526084" y="4103997"/>
                <a:ext cx="163388" cy="13060"/>
              </a:xfrm>
              <a:custGeom>
                <a:avLst/>
                <a:gdLst>
                  <a:gd name="connsiteX0" fmla="*/ 156858 w 163388"/>
                  <a:gd name="connsiteY0" fmla="*/ 13061 h 13060"/>
                  <a:gd name="connsiteX1" fmla="*/ 6530 w 163388"/>
                  <a:gd name="connsiteY1" fmla="*/ 13061 h 13060"/>
                  <a:gd name="connsiteX2" fmla="*/ 0 w 163388"/>
                  <a:gd name="connsiteY2" fmla="*/ 6530 h 13060"/>
                  <a:gd name="connsiteX3" fmla="*/ 6530 w 163388"/>
                  <a:gd name="connsiteY3" fmla="*/ 0 h 13060"/>
                  <a:gd name="connsiteX4" fmla="*/ 156858 w 163388"/>
                  <a:gd name="connsiteY4" fmla="*/ 0 h 13060"/>
                  <a:gd name="connsiteX5" fmla="*/ 163389 w 163388"/>
                  <a:gd name="connsiteY5" fmla="*/ 6530 h 13060"/>
                  <a:gd name="connsiteX6" fmla="*/ 156858 w 163388"/>
                  <a:gd name="connsiteY6" fmla="*/ 13061 h 13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388" h="13060">
                    <a:moveTo>
                      <a:pt x="156858" y="13061"/>
                    </a:moveTo>
                    <a:lnTo>
                      <a:pt x="6530" y="13061"/>
                    </a:lnTo>
                    <a:cubicBezTo>
                      <a:pt x="2914" y="13061"/>
                      <a:pt x="0" y="10147"/>
                      <a:pt x="0" y="6530"/>
                    </a:cubicBezTo>
                    <a:cubicBezTo>
                      <a:pt x="0" y="2914"/>
                      <a:pt x="2914" y="0"/>
                      <a:pt x="6530" y="0"/>
                    </a:cubicBezTo>
                    <a:lnTo>
                      <a:pt x="156858" y="0"/>
                    </a:lnTo>
                    <a:cubicBezTo>
                      <a:pt x="160475" y="0"/>
                      <a:pt x="163389" y="2914"/>
                      <a:pt x="163389" y="6530"/>
                    </a:cubicBezTo>
                    <a:cubicBezTo>
                      <a:pt x="163389" y="10147"/>
                      <a:pt x="160475" y="13061"/>
                      <a:pt x="156858" y="13061"/>
                    </a:cubicBezTo>
                    <a:close/>
                  </a:path>
                </a:pathLst>
              </a:custGeom>
              <a:grpFill/>
              <a:ln w="2597" cap="flat">
                <a:noFill/>
                <a:prstDash val="solid"/>
                <a:miter/>
              </a:ln>
            </p:spPr>
            <p:txBody>
              <a:bodyPr rtlCol="0" anchor="ctr"/>
              <a:lstStyle/>
              <a:p>
                <a:endParaRPr lang="en-GB" dirty="0"/>
              </a:p>
            </p:txBody>
          </p:sp>
          <p:sp>
            <p:nvSpPr>
              <p:cNvPr id="290" name="Freihandform: Form 567">
                <a:extLst>
                  <a:ext uri="{FF2B5EF4-FFF2-40B4-BE49-F238E27FC236}">
                    <a16:creationId xmlns:a16="http://schemas.microsoft.com/office/drawing/2014/main" id="{9EE5355F-D2F6-4D20-97B8-E8B55BB9B073}"/>
                  </a:ext>
                </a:extLst>
              </p:cNvPr>
              <p:cNvSpPr/>
              <p:nvPr/>
            </p:nvSpPr>
            <p:spPr>
              <a:xfrm>
                <a:off x="3593547" y="4385062"/>
                <a:ext cx="26121" cy="13060"/>
              </a:xfrm>
              <a:custGeom>
                <a:avLst/>
                <a:gdLst>
                  <a:gd name="connsiteX0" fmla="*/ 19591 w 26121"/>
                  <a:gd name="connsiteY0" fmla="*/ 13060 h 13060"/>
                  <a:gd name="connsiteX1" fmla="*/ 6530 w 26121"/>
                  <a:gd name="connsiteY1" fmla="*/ 13060 h 13060"/>
                  <a:gd name="connsiteX2" fmla="*/ 0 w 26121"/>
                  <a:gd name="connsiteY2" fmla="*/ 6530 h 13060"/>
                  <a:gd name="connsiteX3" fmla="*/ 6530 w 26121"/>
                  <a:gd name="connsiteY3" fmla="*/ 0 h 13060"/>
                  <a:gd name="connsiteX4" fmla="*/ 19591 w 26121"/>
                  <a:gd name="connsiteY4" fmla="*/ 0 h 13060"/>
                  <a:gd name="connsiteX5" fmla="*/ 26121 w 26121"/>
                  <a:gd name="connsiteY5" fmla="*/ 6530 h 13060"/>
                  <a:gd name="connsiteX6" fmla="*/ 19591 w 26121"/>
                  <a:gd name="connsiteY6" fmla="*/ 13060 h 13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1" h="13060">
                    <a:moveTo>
                      <a:pt x="19591" y="13060"/>
                    </a:moveTo>
                    <a:lnTo>
                      <a:pt x="6530" y="13060"/>
                    </a:lnTo>
                    <a:cubicBezTo>
                      <a:pt x="2914" y="13060"/>
                      <a:pt x="0" y="10147"/>
                      <a:pt x="0" y="6530"/>
                    </a:cubicBezTo>
                    <a:cubicBezTo>
                      <a:pt x="0" y="2914"/>
                      <a:pt x="2914" y="0"/>
                      <a:pt x="6530" y="0"/>
                    </a:cubicBezTo>
                    <a:lnTo>
                      <a:pt x="19591" y="0"/>
                    </a:lnTo>
                    <a:cubicBezTo>
                      <a:pt x="23207" y="0"/>
                      <a:pt x="26121" y="2914"/>
                      <a:pt x="26121" y="6530"/>
                    </a:cubicBezTo>
                    <a:cubicBezTo>
                      <a:pt x="26121" y="10147"/>
                      <a:pt x="23207" y="13060"/>
                      <a:pt x="19591" y="13060"/>
                    </a:cubicBezTo>
                    <a:close/>
                  </a:path>
                </a:pathLst>
              </a:custGeom>
              <a:grpFill/>
              <a:ln w="2597" cap="flat">
                <a:noFill/>
                <a:prstDash val="solid"/>
                <a:miter/>
              </a:ln>
            </p:spPr>
            <p:txBody>
              <a:bodyPr rtlCol="0" anchor="ctr"/>
              <a:lstStyle/>
              <a:p>
                <a:endParaRPr lang="en-GB" dirty="0"/>
              </a:p>
            </p:txBody>
          </p:sp>
          <p:sp>
            <p:nvSpPr>
              <p:cNvPr id="291" name="Freihandform: Form 568">
                <a:extLst>
                  <a:ext uri="{FF2B5EF4-FFF2-40B4-BE49-F238E27FC236}">
                    <a16:creationId xmlns:a16="http://schemas.microsoft.com/office/drawing/2014/main" id="{4DBBE56E-2135-43D5-AB3C-92165CF49AD9}"/>
                  </a:ext>
                </a:extLst>
              </p:cNvPr>
              <p:cNvSpPr/>
              <p:nvPr/>
            </p:nvSpPr>
            <p:spPr>
              <a:xfrm>
                <a:off x="3593547" y="4345827"/>
                <a:ext cx="26121" cy="13060"/>
              </a:xfrm>
              <a:custGeom>
                <a:avLst/>
                <a:gdLst>
                  <a:gd name="connsiteX0" fmla="*/ 19591 w 26121"/>
                  <a:gd name="connsiteY0" fmla="*/ 13061 h 13060"/>
                  <a:gd name="connsiteX1" fmla="*/ 6530 w 26121"/>
                  <a:gd name="connsiteY1" fmla="*/ 13061 h 13060"/>
                  <a:gd name="connsiteX2" fmla="*/ 0 w 26121"/>
                  <a:gd name="connsiteY2" fmla="*/ 6530 h 13060"/>
                  <a:gd name="connsiteX3" fmla="*/ 6530 w 26121"/>
                  <a:gd name="connsiteY3" fmla="*/ 0 h 13060"/>
                  <a:gd name="connsiteX4" fmla="*/ 19591 w 26121"/>
                  <a:gd name="connsiteY4" fmla="*/ 0 h 13060"/>
                  <a:gd name="connsiteX5" fmla="*/ 26121 w 26121"/>
                  <a:gd name="connsiteY5" fmla="*/ 6530 h 13060"/>
                  <a:gd name="connsiteX6" fmla="*/ 19591 w 26121"/>
                  <a:gd name="connsiteY6" fmla="*/ 13061 h 13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21" h="13060">
                    <a:moveTo>
                      <a:pt x="19591" y="13061"/>
                    </a:moveTo>
                    <a:lnTo>
                      <a:pt x="6530" y="13061"/>
                    </a:lnTo>
                    <a:cubicBezTo>
                      <a:pt x="2914" y="13061"/>
                      <a:pt x="0" y="10147"/>
                      <a:pt x="0" y="6530"/>
                    </a:cubicBezTo>
                    <a:cubicBezTo>
                      <a:pt x="0" y="2914"/>
                      <a:pt x="2914" y="0"/>
                      <a:pt x="6530" y="0"/>
                    </a:cubicBezTo>
                    <a:lnTo>
                      <a:pt x="19591" y="0"/>
                    </a:lnTo>
                    <a:cubicBezTo>
                      <a:pt x="23207" y="0"/>
                      <a:pt x="26121" y="2914"/>
                      <a:pt x="26121" y="6530"/>
                    </a:cubicBezTo>
                    <a:cubicBezTo>
                      <a:pt x="26121" y="10147"/>
                      <a:pt x="23207" y="13061"/>
                      <a:pt x="19591" y="13061"/>
                    </a:cubicBezTo>
                    <a:close/>
                  </a:path>
                </a:pathLst>
              </a:custGeom>
              <a:grpFill/>
              <a:ln w="2597" cap="flat">
                <a:noFill/>
                <a:prstDash val="solid"/>
                <a:miter/>
              </a:ln>
            </p:spPr>
            <p:txBody>
              <a:bodyPr rtlCol="0" anchor="ctr"/>
              <a:lstStyle/>
              <a:p>
                <a:endParaRPr lang="en-GB" dirty="0"/>
              </a:p>
            </p:txBody>
          </p:sp>
        </p:grpSp>
      </p:grpSp>
      <p:grpSp>
        <p:nvGrpSpPr>
          <p:cNvPr id="297" name="Gruppieren 1044">
            <a:extLst>
              <a:ext uri="{FF2B5EF4-FFF2-40B4-BE49-F238E27FC236}">
                <a16:creationId xmlns:a16="http://schemas.microsoft.com/office/drawing/2014/main" id="{28699B6E-2524-47A5-9CE6-C84C5B66225F}"/>
              </a:ext>
            </a:extLst>
          </p:cNvPr>
          <p:cNvGrpSpPr/>
          <p:nvPr/>
        </p:nvGrpSpPr>
        <p:grpSpPr>
          <a:xfrm>
            <a:off x="755591" y="4209727"/>
            <a:ext cx="232795" cy="224886"/>
            <a:chOff x="5536667" y="2687429"/>
            <a:chExt cx="240093" cy="231936"/>
          </a:xfrm>
          <a:solidFill>
            <a:schemeClr val="tx2"/>
          </a:solidFill>
        </p:grpSpPr>
        <p:sp>
          <p:nvSpPr>
            <p:cNvPr id="322" name="Freeform: Shape 777">
              <a:extLst>
                <a:ext uri="{FF2B5EF4-FFF2-40B4-BE49-F238E27FC236}">
                  <a16:creationId xmlns:a16="http://schemas.microsoft.com/office/drawing/2014/main" id="{A279A83E-94E5-497B-81D8-E5047A94E351}"/>
                </a:ext>
              </a:extLst>
            </p:cNvPr>
            <p:cNvSpPr/>
            <p:nvPr/>
          </p:nvSpPr>
          <p:spPr>
            <a:xfrm>
              <a:off x="5624907" y="2815938"/>
              <a:ext cx="112356" cy="83413"/>
            </a:xfrm>
            <a:custGeom>
              <a:avLst/>
              <a:gdLst>
                <a:gd name="connsiteX0" fmla="*/ 6395 w 112356"/>
                <a:gd name="connsiteY0" fmla="*/ 83413 h 83413"/>
                <a:gd name="connsiteX1" fmla="*/ 1874 w 112356"/>
                <a:gd name="connsiteY1" fmla="*/ 81464 h 83413"/>
                <a:gd name="connsiteX2" fmla="*/ 1874 w 112356"/>
                <a:gd name="connsiteY2" fmla="*/ 72047 h 83413"/>
                <a:gd name="connsiteX3" fmla="*/ 32378 w 112356"/>
                <a:gd name="connsiteY3" fmla="*/ 40275 h 83413"/>
                <a:gd name="connsiteX4" fmla="*/ 36140 w 112356"/>
                <a:gd name="connsiteY4" fmla="*/ 38372 h 83413"/>
                <a:gd name="connsiteX5" fmla="*/ 70605 w 112356"/>
                <a:gd name="connsiteY5" fmla="*/ 34071 h 83413"/>
                <a:gd name="connsiteX6" fmla="*/ 101441 w 112356"/>
                <a:gd name="connsiteY6" fmla="*/ 1951 h 83413"/>
                <a:gd name="connsiteX7" fmla="*/ 110483 w 112356"/>
                <a:gd name="connsiteY7" fmla="*/ 1951 h 83413"/>
                <a:gd name="connsiteX8" fmla="*/ 110483 w 112356"/>
                <a:gd name="connsiteY8" fmla="*/ 11368 h 83413"/>
                <a:gd name="connsiteX9" fmla="*/ 78082 w 112356"/>
                <a:gd name="connsiteY9" fmla="*/ 45120 h 83413"/>
                <a:gd name="connsiteX10" fmla="*/ 74320 w 112356"/>
                <a:gd name="connsiteY10" fmla="*/ 47023 h 83413"/>
                <a:gd name="connsiteX11" fmla="*/ 39856 w 112356"/>
                <a:gd name="connsiteY11" fmla="*/ 51323 h 83413"/>
                <a:gd name="connsiteX12" fmla="*/ 10916 w 112356"/>
                <a:gd name="connsiteY12" fmla="*/ 81467 h 83413"/>
                <a:gd name="connsiteX13" fmla="*/ 6395 w 112356"/>
                <a:gd name="connsiteY13" fmla="*/ 83413 h 83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356" h="83413">
                  <a:moveTo>
                    <a:pt x="6395" y="83413"/>
                  </a:moveTo>
                  <a:cubicBezTo>
                    <a:pt x="4759" y="83413"/>
                    <a:pt x="3124" y="82761"/>
                    <a:pt x="1874" y="81464"/>
                  </a:cubicBezTo>
                  <a:cubicBezTo>
                    <a:pt x="-625" y="78862"/>
                    <a:pt x="-625" y="74649"/>
                    <a:pt x="1874" y="72047"/>
                  </a:cubicBezTo>
                  <a:lnTo>
                    <a:pt x="32378" y="40275"/>
                  </a:lnTo>
                  <a:cubicBezTo>
                    <a:pt x="33392" y="39218"/>
                    <a:pt x="34716" y="38549"/>
                    <a:pt x="36140" y="38372"/>
                  </a:cubicBezTo>
                  <a:lnTo>
                    <a:pt x="70605" y="34071"/>
                  </a:lnTo>
                  <a:lnTo>
                    <a:pt x="101441" y="1951"/>
                  </a:lnTo>
                  <a:cubicBezTo>
                    <a:pt x="103939" y="-650"/>
                    <a:pt x="107985" y="-650"/>
                    <a:pt x="110483" y="1951"/>
                  </a:cubicBezTo>
                  <a:cubicBezTo>
                    <a:pt x="112981" y="4553"/>
                    <a:pt x="112981" y="8767"/>
                    <a:pt x="110483" y="11368"/>
                  </a:cubicBezTo>
                  <a:lnTo>
                    <a:pt x="78082" y="45120"/>
                  </a:lnTo>
                  <a:cubicBezTo>
                    <a:pt x="77072" y="46177"/>
                    <a:pt x="75745" y="46846"/>
                    <a:pt x="74320" y="47023"/>
                  </a:cubicBezTo>
                  <a:lnTo>
                    <a:pt x="39856" y="51323"/>
                  </a:lnTo>
                  <a:lnTo>
                    <a:pt x="10916" y="81467"/>
                  </a:lnTo>
                  <a:cubicBezTo>
                    <a:pt x="9665" y="82761"/>
                    <a:pt x="8030" y="83413"/>
                    <a:pt x="6395" y="83413"/>
                  </a:cubicBezTo>
                  <a:close/>
                </a:path>
              </a:pathLst>
            </a:custGeom>
            <a:grpFill/>
            <a:ln w="334" cap="flat">
              <a:noFill/>
              <a:prstDash val="solid"/>
              <a:miter/>
            </a:ln>
          </p:spPr>
          <p:txBody>
            <a:bodyPr rtlCol="0" anchor="ctr"/>
            <a:lstStyle/>
            <a:p>
              <a:endParaRPr lang="en-GB" dirty="0"/>
            </a:p>
          </p:txBody>
        </p:sp>
        <p:sp>
          <p:nvSpPr>
            <p:cNvPr id="323" name="Freeform: Shape 779">
              <a:extLst>
                <a:ext uri="{FF2B5EF4-FFF2-40B4-BE49-F238E27FC236}">
                  <a16:creationId xmlns:a16="http://schemas.microsoft.com/office/drawing/2014/main" id="{A5EC6EEB-BE66-44EC-9736-D2C44AB7D7F8}"/>
                </a:ext>
              </a:extLst>
            </p:cNvPr>
            <p:cNvSpPr/>
            <p:nvPr/>
          </p:nvSpPr>
          <p:spPr>
            <a:xfrm>
              <a:off x="5644754" y="2711899"/>
              <a:ext cx="72481" cy="63155"/>
            </a:xfrm>
            <a:custGeom>
              <a:avLst/>
              <a:gdLst>
                <a:gd name="connsiteX0" fmla="*/ 45037 w 72481"/>
                <a:gd name="connsiteY0" fmla="*/ 63156 h 63155"/>
                <a:gd name="connsiteX1" fmla="*/ 22651 w 72481"/>
                <a:gd name="connsiteY1" fmla="*/ 53802 h 63155"/>
                <a:gd name="connsiteX2" fmla="*/ 2406 w 72481"/>
                <a:gd name="connsiteY2" fmla="*/ 37025 h 63155"/>
                <a:gd name="connsiteX3" fmla="*/ 1396 w 72481"/>
                <a:gd name="connsiteY3" fmla="*/ 27665 h 63155"/>
                <a:gd name="connsiteX4" fmla="*/ 10382 w 72481"/>
                <a:gd name="connsiteY4" fmla="*/ 26612 h 63155"/>
                <a:gd name="connsiteX5" fmla="*/ 31065 w 72481"/>
                <a:gd name="connsiteY5" fmla="*/ 43790 h 63155"/>
                <a:gd name="connsiteX6" fmla="*/ 57363 w 72481"/>
                <a:gd name="connsiteY6" fmla="*/ 45282 h 63155"/>
                <a:gd name="connsiteX7" fmla="*/ 59196 w 72481"/>
                <a:gd name="connsiteY7" fmla="*/ 43730 h 63155"/>
                <a:gd name="connsiteX8" fmla="*/ 28895 w 72481"/>
                <a:gd name="connsiteY8" fmla="*/ 11302 h 63155"/>
                <a:gd name="connsiteX9" fmla="*/ 29019 w 72481"/>
                <a:gd name="connsiteY9" fmla="*/ 1885 h 63155"/>
                <a:gd name="connsiteX10" fmla="*/ 38061 w 72481"/>
                <a:gd name="connsiteY10" fmla="*/ 2016 h 63155"/>
                <a:gd name="connsiteX11" fmla="*/ 69154 w 72481"/>
                <a:gd name="connsiteY11" fmla="*/ 35293 h 63155"/>
                <a:gd name="connsiteX12" fmla="*/ 72462 w 72481"/>
                <a:gd name="connsiteY12" fmla="*/ 44526 h 63155"/>
                <a:gd name="connsiteX13" fmla="*/ 68158 w 72481"/>
                <a:gd name="connsiteY13" fmla="*/ 53311 h 63155"/>
                <a:gd name="connsiteX14" fmla="*/ 65439 w 72481"/>
                <a:gd name="connsiteY14" fmla="*/ 55618 h 63155"/>
                <a:gd name="connsiteX15" fmla="*/ 45037 w 72481"/>
                <a:gd name="connsiteY15" fmla="*/ 63156 h 6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481" h="63155">
                  <a:moveTo>
                    <a:pt x="45037" y="63156"/>
                  </a:moveTo>
                  <a:cubicBezTo>
                    <a:pt x="36941" y="63156"/>
                    <a:pt x="28871" y="60016"/>
                    <a:pt x="22651" y="53802"/>
                  </a:cubicBezTo>
                  <a:lnTo>
                    <a:pt x="2406" y="37025"/>
                  </a:lnTo>
                  <a:cubicBezTo>
                    <a:pt x="-353" y="34731"/>
                    <a:pt x="-807" y="30544"/>
                    <a:pt x="1396" y="27665"/>
                  </a:cubicBezTo>
                  <a:cubicBezTo>
                    <a:pt x="3600" y="24792"/>
                    <a:pt x="7630" y="24318"/>
                    <a:pt x="10382" y="26612"/>
                  </a:cubicBezTo>
                  <a:lnTo>
                    <a:pt x="31065" y="43790"/>
                  </a:lnTo>
                  <a:cubicBezTo>
                    <a:pt x="38609" y="51291"/>
                    <a:pt x="49722" y="51769"/>
                    <a:pt x="57363" y="45282"/>
                  </a:cubicBezTo>
                  <a:lnTo>
                    <a:pt x="59196" y="43730"/>
                  </a:lnTo>
                  <a:lnTo>
                    <a:pt x="28895" y="11302"/>
                  </a:lnTo>
                  <a:cubicBezTo>
                    <a:pt x="26430" y="8667"/>
                    <a:pt x="26487" y="4450"/>
                    <a:pt x="29019" y="1885"/>
                  </a:cubicBezTo>
                  <a:cubicBezTo>
                    <a:pt x="31547" y="-673"/>
                    <a:pt x="35593" y="-626"/>
                    <a:pt x="38061" y="2016"/>
                  </a:cubicBezTo>
                  <a:lnTo>
                    <a:pt x="69154" y="35293"/>
                  </a:lnTo>
                  <a:cubicBezTo>
                    <a:pt x="71442" y="37741"/>
                    <a:pt x="72652" y="41108"/>
                    <a:pt x="72462" y="44526"/>
                  </a:cubicBezTo>
                  <a:cubicBezTo>
                    <a:pt x="72274" y="47944"/>
                    <a:pt x="70703" y="51147"/>
                    <a:pt x="68158" y="53311"/>
                  </a:cubicBezTo>
                  <a:lnTo>
                    <a:pt x="65439" y="55618"/>
                  </a:lnTo>
                  <a:cubicBezTo>
                    <a:pt x="59483" y="60661"/>
                    <a:pt x="52253" y="63156"/>
                    <a:pt x="45037" y="63156"/>
                  </a:cubicBezTo>
                  <a:close/>
                </a:path>
              </a:pathLst>
            </a:custGeom>
            <a:grpFill/>
            <a:ln w="334" cap="flat">
              <a:noFill/>
              <a:prstDash val="solid"/>
              <a:miter/>
            </a:ln>
          </p:spPr>
          <p:txBody>
            <a:bodyPr rtlCol="0" anchor="ctr"/>
            <a:lstStyle/>
            <a:p>
              <a:endParaRPr lang="en-GB" dirty="0"/>
            </a:p>
          </p:txBody>
        </p:sp>
        <p:grpSp>
          <p:nvGrpSpPr>
            <p:cNvPr id="324" name="Graphic 24">
              <a:extLst>
                <a:ext uri="{FF2B5EF4-FFF2-40B4-BE49-F238E27FC236}">
                  <a16:creationId xmlns:a16="http://schemas.microsoft.com/office/drawing/2014/main" id="{9C27F752-8A93-48B6-915C-B9B4E62BD26C}"/>
                </a:ext>
              </a:extLst>
            </p:cNvPr>
            <p:cNvGrpSpPr/>
            <p:nvPr/>
          </p:nvGrpSpPr>
          <p:grpSpPr>
            <a:xfrm>
              <a:off x="5673012" y="2687429"/>
              <a:ext cx="103748" cy="140314"/>
              <a:chOff x="1254241" y="2687429"/>
              <a:chExt cx="103748" cy="140314"/>
            </a:xfrm>
            <a:grpFill/>
          </p:grpSpPr>
          <p:sp>
            <p:nvSpPr>
              <p:cNvPr id="330" name="Freeform: Shape 786">
                <a:extLst>
                  <a:ext uri="{FF2B5EF4-FFF2-40B4-BE49-F238E27FC236}">
                    <a16:creationId xmlns:a16="http://schemas.microsoft.com/office/drawing/2014/main" id="{A09A5AEA-F228-43A3-941B-78421D63FBA2}"/>
                  </a:ext>
                </a:extLst>
              </p:cNvPr>
              <p:cNvSpPr/>
              <p:nvPr/>
            </p:nvSpPr>
            <p:spPr>
              <a:xfrm>
                <a:off x="1286459" y="2753418"/>
                <a:ext cx="71530" cy="74325"/>
              </a:xfrm>
              <a:custGeom>
                <a:avLst/>
                <a:gdLst>
                  <a:gd name="connsiteX0" fmla="*/ 25429 w 71530"/>
                  <a:gd name="connsiteY0" fmla="*/ 74326 h 74325"/>
                  <a:gd name="connsiteX1" fmla="*/ 25355 w 71530"/>
                  <a:gd name="connsiteY1" fmla="*/ 74326 h 74325"/>
                  <a:gd name="connsiteX2" fmla="*/ 12958 w 71530"/>
                  <a:gd name="connsiteY2" fmla="*/ 68915 h 74325"/>
                  <a:gd name="connsiteX3" fmla="*/ 5093 w 71530"/>
                  <a:gd name="connsiteY3" fmla="*/ 60655 h 74325"/>
                  <a:gd name="connsiteX4" fmla="*/ 0 w 71530"/>
                  <a:gd name="connsiteY4" fmla="*/ 47700 h 74325"/>
                  <a:gd name="connsiteX5" fmla="*/ 5197 w 71530"/>
                  <a:gd name="connsiteY5" fmla="*/ 34789 h 74325"/>
                  <a:gd name="connsiteX6" fmla="*/ 33742 w 71530"/>
                  <a:gd name="connsiteY6" fmla="*/ 5304 h 74325"/>
                  <a:gd name="connsiteX7" fmla="*/ 46102 w 71530"/>
                  <a:gd name="connsiteY7" fmla="*/ 0 h 74325"/>
                  <a:gd name="connsiteX8" fmla="*/ 46179 w 71530"/>
                  <a:gd name="connsiteY8" fmla="*/ 0 h 74325"/>
                  <a:gd name="connsiteX9" fmla="*/ 58575 w 71530"/>
                  <a:gd name="connsiteY9" fmla="*/ 5411 h 74325"/>
                  <a:gd name="connsiteX10" fmla="*/ 66437 w 71530"/>
                  <a:gd name="connsiteY10" fmla="*/ 13671 h 74325"/>
                  <a:gd name="connsiteX11" fmla="*/ 71530 w 71530"/>
                  <a:gd name="connsiteY11" fmla="*/ 26626 h 74325"/>
                  <a:gd name="connsiteX12" fmla="*/ 66334 w 71530"/>
                  <a:gd name="connsiteY12" fmla="*/ 39537 h 74325"/>
                  <a:gd name="connsiteX13" fmla="*/ 37788 w 71530"/>
                  <a:gd name="connsiteY13" fmla="*/ 69022 h 74325"/>
                  <a:gd name="connsiteX14" fmla="*/ 25429 w 71530"/>
                  <a:gd name="connsiteY14" fmla="*/ 74326 h 74325"/>
                  <a:gd name="connsiteX15" fmla="*/ 46112 w 71530"/>
                  <a:gd name="connsiteY15" fmla="*/ 13319 h 74325"/>
                  <a:gd name="connsiteX16" fmla="*/ 42751 w 71530"/>
                  <a:gd name="connsiteY16" fmla="*/ 14761 h 74325"/>
                  <a:gd name="connsiteX17" fmla="*/ 14206 w 71530"/>
                  <a:gd name="connsiteY17" fmla="*/ 44246 h 74325"/>
                  <a:gd name="connsiteX18" fmla="*/ 12791 w 71530"/>
                  <a:gd name="connsiteY18" fmla="*/ 47757 h 74325"/>
                  <a:gd name="connsiteX19" fmla="*/ 14176 w 71530"/>
                  <a:gd name="connsiteY19" fmla="*/ 51275 h 74325"/>
                  <a:gd name="connsiteX20" fmla="*/ 14176 w 71530"/>
                  <a:gd name="connsiteY20" fmla="*/ 51275 h 74325"/>
                  <a:gd name="connsiteX21" fmla="*/ 22041 w 71530"/>
                  <a:gd name="connsiteY21" fmla="*/ 59535 h 74325"/>
                  <a:gd name="connsiteX22" fmla="*/ 28789 w 71530"/>
                  <a:gd name="connsiteY22" fmla="*/ 59565 h 74325"/>
                  <a:gd name="connsiteX23" fmla="*/ 57335 w 71530"/>
                  <a:gd name="connsiteY23" fmla="*/ 30080 h 74325"/>
                  <a:gd name="connsiteX24" fmla="*/ 57361 w 71530"/>
                  <a:gd name="connsiteY24" fmla="*/ 23047 h 74325"/>
                  <a:gd name="connsiteX25" fmla="*/ 49499 w 71530"/>
                  <a:gd name="connsiteY25" fmla="*/ 14788 h 74325"/>
                  <a:gd name="connsiteX26" fmla="*/ 46112 w 71530"/>
                  <a:gd name="connsiteY26" fmla="*/ 13319 h 7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1530" h="74325">
                    <a:moveTo>
                      <a:pt x="25429" y="74326"/>
                    </a:moveTo>
                    <a:cubicBezTo>
                      <a:pt x="25405" y="74326"/>
                      <a:pt x="25378" y="74326"/>
                      <a:pt x="25355" y="74326"/>
                    </a:cubicBezTo>
                    <a:cubicBezTo>
                      <a:pt x="20667" y="74306"/>
                      <a:pt x="16262" y="72383"/>
                      <a:pt x="12958" y="68915"/>
                    </a:cubicBezTo>
                    <a:lnTo>
                      <a:pt x="5093" y="60655"/>
                    </a:lnTo>
                    <a:cubicBezTo>
                      <a:pt x="1789" y="57187"/>
                      <a:pt x="-17" y="52586"/>
                      <a:pt x="0" y="47700"/>
                    </a:cubicBezTo>
                    <a:cubicBezTo>
                      <a:pt x="24" y="42814"/>
                      <a:pt x="1866" y="38230"/>
                      <a:pt x="5197" y="34789"/>
                    </a:cubicBezTo>
                    <a:lnTo>
                      <a:pt x="33742" y="5304"/>
                    </a:lnTo>
                    <a:cubicBezTo>
                      <a:pt x="37053" y="1883"/>
                      <a:pt x="41440" y="0"/>
                      <a:pt x="46102" y="0"/>
                    </a:cubicBezTo>
                    <a:cubicBezTo>
                      <a:pt x="46129" y="0"/>
                      <a:pt x="46155" y="0"/>
                      <a:pt x="46179" y="0"/>
                    </a:cubicBezTo>
                    <a:cubicBezTo>
                      <a:pt x="50867" y="23"/>
                      <a:pt x="55271" y="1943"/>
                      <a:pt x="58575" y="5411"/>
                    </a:cubicBezTo>
                    <a:lnTo>
                      <a:pt x="66437" y="13671"/>
                    </a:lnTo>
                    <a:cubicBezTo>
                      <a:pt x="69741" y="17142"/>
                      <a:pt x="71547" y="21743"/>
                      <a:pt x="71530" y="26626"/>
                    </a:cubicBezTo>
                    <a:cubicBezTo>
                      <a:pt x="71510" y="31511"/>
                      <a:pt x="69668" y="36096"/>
                      <a:pt x="66334" y="39537"/>
                    </a:cubicBezTo>
                    <a:lnTo>
                      <a:pt x="37788" y="69022"/>
                    </a:lnTo>
                    <a:cubicBezTo>
                      <a:pt x="34481" y="72446"/>
                      <a:pt x="30090" y="74326"/>
                      <a:pt x="25429" y="74326"/>
                    </a:cubicBezTo>
                    <a:close/>
                    <a:moveTo>
                      <a:pt x="46112" y="13319"/>
                    </a:moveTo>
                    <a:cubicBezTo>
                      <a:pt x="44844" y="13319"/>
                      <a:pt x="43651" y="13831"/>
                      <a:pt x="42751" y="14761"/>
                    </a:cubicBezTo>
                    <a:lnTo>
                      <a:pt x="14206" y="44246"/>
                    </a:lnTo>
                    <a:cubicBezTo>
                      <a:pt x="13300" y="45182"/>
                      <a:pt x="12798" y="46429"/>
                      <a:pt x="12791" y="47757"/>
                    </a:cubicBezTo>
                    <a:cubicBezTo>
                      <a:pt x="12785" y="49085"/>
                      <a:pt x="13279" y="50332"/>
                      <a:pt x="14176" y="51275"/>
                    </a:cubicBezTo>
                    <a:lnTo>
                      <a:pt x="14176" y="51275"/>
                    </a:lnTo>
                    <a:lnTo>
                      <a:pt x="22041" y="59535"/>
                    </a:lnTo>
                    <a:cubicBezTo>
                      <a:pt x="23897" y="61488"/>
                      <a:pt x="26923" y="61491"/>
                      <a:pt x="28789" y="59565"/>
                    </a:cubicBezTo>
                    <a:lnTo>
                      <a:pt x="57335" y="30080"/>
                    </a:lnTo>
                    <a:cubicBezTo>
                      <a:pt x="59201" y="28147"/>
                      <a:pt x="59214" y="24997"/>
                      <a:pt x="57361" y="23047"/>
                    </a:cubicBezTo>
                    <a:lnTo>
                      <a:pt x="49499" y="14788"/>
                    </a:lnTo>
                    <a:cubicBezTo>
                      <a:pt x="48600" y="13841"/>
                      <a:pt x="47520" y="13356"/>
                      <a:pt x="46112" y="13319"/>
                    </a:cubicBezTo>
                    <a:close/>
                  </a:path>
                </a:pathLst>
              </a:custGeom>
              <a:grpFill/>
              <a:ln w="334" cap="flat">
                <a:noFill/>
                <a:prstDash val="solid"/>
                <a:miter/>
              </a:ln>
            </p:spPr>
            <p:txBody>
              <a:bodyPr rtlCol="0" anchor="ctr"/>
              <a:lstStyle/>
              <a:p>
                <a:endParaRPr lang="en-GB" dirty="0"/>
              </a:p>
            </p:txBody>
          </p:sp>
          <p:sp>
            <p:nvSpPr>
              <p:cNvPr id="331" name="Freeform: Shape 787">
                <a:extLst>
                  <a:ext uri="{FF2B5EF4-FFF2-40B4-BE49-F238E27FC236}">
                    <a16:creationId xmlns:a16="http://schemas.microsoft.com/office/drawing/2014/main" id="{BD3FDDC8-BA2A-4A18-8D0B-B51B8BBE0B0B}"/>
                  </a:ext>
                </a:extLst>
              </p:cNvPr>
              <p:cNvSpPr/>
              <p:nvPr/>
            </p:nvSpPr>
            <p:spPr>
              <a:xfrm>
                <a:off x="1259738" y="2720433"/>
                <a:ext cx="79412" cy="82534"/>
              </a:xfrm>
              <a:custGeom>
                <a:avLst/>
                <a:gdLst>
                  <a:gd name="connsiteX0" fmla="*/ 28560 w 79412"/>
                  <a:gd name="connsiteY0" fmla="*/ 82534 h 82534"/>
                  <a:gd name="connsiteX1" fmla="*/ 28490 w 79412"/>
                  <a:gd name="connsiteY1" fmla="*/ 82534 h 82534"/>
                  <a:gd name="connsiteX2" fmla="*/ 16093 w 79412"/>
                  <a:gd name="connsiteY2" fmla="*/ 77120 h 82534"/>
                  <a:gd name="connsiteX3" fmla="*/ 5088 w 79412"/>
                  <a:gd name="connsiteY3" fmla="*/ 65560 h 82534"/>
                  <a:gd name="connsiteX4" fmla="*/ 1724 w 79412"/>
                  <a:gd name="connsiteY4" fmla="*/ 44766 h 82534"/>
                  <a:gd name="connsiteX5" fmla="*/ 10254 w 79412"/>
                  <a:gd name="connsiteY5" fmla="*/ 41643 h 82534"/>
                  <a:gd name="connsiteX6" fmla="*/ 13251 w 79412"/>
                  <a:gd name="connsiteY6" fmla="*/ 50528 h 82534"/>
                  <a:gd name="connsiteX7" fmla="*/ 14167 w 79412"/>
                  <a:gd name="connsiteY7" fmla="*/ 56180 h 82534"/>
                  <a:gd name="connsiteX8" fmla="*/ 25176 w 79412"/>
                  <a:gd name="connsiteY8" fmla="*/ 67744 h 82534"/>
                  <a:gd name="connsiteX9" fmla="*/ 28543 w 79412"/>
                  <a:gd name="connsiteY9" fmla="*/ 69215 h 82534"/>
                  <a:gd name="connsiteX10" fmla="*/ 31924 w 79412"/>
                  <a:gd name="connsiteY10" fmla="*/ 67774 h 82534"/>
                  <a:gd name="connsiteX11" fmla="*/ 65228 w 79412"/>
                  <a:gd name="connsiteY11" fmla="*/ 33376 h 82534"/>
                  <a:gd name="connsiteX12" fmla="*/ 65255 w 79412"/>
                  <a:gd name="connsiteY12" fmla="*/ 26344 h 82534"/>
                  <a:gd name="connsiteX13" fmla="*/ 54246 w 79412"/>
                  <a:gd name="connsiteY13" fmla="*/ 14780 h 82534"/>
                  <a:gd name="connsiteX14" fmla="*/ 47494 w 79412"/>
                  <a:gd name="connsiteY14" fmla="*/ 14750 h 82534"/>
                  <a:gd name="connsiteX15" fmla="*/ 33720 w 79412"/>
                  <a:gd name="connsiteY15" fmla="*/ 28979 h 82534"/>
                  <a:gd name="connsiteX16" fmla="*/ 24677 w 79412"/>
                  <a:gd name="connsiteY16" fmla="*/ 28939 h 82534"/>
                  <a:gd name="connsiteX17" fmla="*/ 24714 w 79412"/>
                  <a:gd name="connsiteY17" fmla="*/ 19522 h 82534"/>
                  <a:gd name="connsiteX18" fmla="*/ 38489 w 79412"/>
                  <a:gd name="connsiteY18" fmla="*/ 5293 h 82534"/>
                  <a:gd name="connsiteX19" fmla="*/ 63322 w 79412"/>
                  <a:gd name="connsiteY19" fmla="*/ 5400 h 82534"/>
                  <a:gd name="connsiteX20" fmla="*/ 74331 w 79412"/>
                  <a:gd name="connsiteY20" fmla="*/ 16963 h 82534"/>
                  <a:gd name="connsiteX21" fmla="*/ 74227 w 79412"/>
                  <a:gd name="connsiteY21" fmla="*/ 42830 h 82534"/>
                  <a:gd name="connsiteX22" fmla="*/ 40923 w 79412"/>
                  <a:gd name="connsiteY22" fmla="*/ 77227 h 82534"/>
                  <a:gd name="connsiteX23" fmla="*/ 28560 w 79412"/>
                  <a:gd name="connsiteY23" fmla="*/ 82534 h 82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9412" h="82534">
                    <a:moveTo>
                      <a:pt x="28560" y="82534"/>
                    </a:moveTo>
                    <a:cubicBezTo>
                      <a:pt x="28536" y="82534"/>
                      <a:pt x="28513" y="82534"/>
                      <a:pt x="28490" y="82534"/>
                    </a:cubicBezTo>
                    <a:cubicBezTo>
                      <a:pt x="23798" y="82514"/>
                      <a:pt x="19394" y="80592"/>
                      <a:pt x="16093" y="77120"/>
                    </a:cubicBezTo>
                    <a:lnTo>
                      <a:pt x="5088" y="65560"/>
                    </a:lnTo>
                    <a:cubicBezTo>
                      <a:pt x="-132" y="60079"/>
                      <a:pt x="-1483" y="51722"/>
                      <a:pt x="1724" y="44766"/>
                    </a:cubicBezTo>
                    <a:cubicBezTo>
                      <a:pt x="3252" y="41449"/>
                      <a:pt x="7077" y="40048"/>
                      <a:pt x="10254" y="41643"/>
                    </a:cubicBezTo>
                    <a:cubicBezTo>
                      <a:pt x="13438" y="43235"/>
                      <a:pt x="14782" y="47214"/>
                      <a:pt x="13251" y="50528"/>
                    </a:cubicBezTo>
                    <a:cubicBezTo>
                      <a:pt x="12381" y="52418"/>
                      <a:pt x="12752" y="54688"/>
                      <a:pt x="14167" y="56180"/>
                    </a:cubicBezTo>
                    <a:lnTo>
                      <a:pt x="25176" y="67744"/>
                    </a:lnTo>
                    <a:cubicBezTo>
                      <a:pt x="26075" y="68687"/>
                      <a:pt x="27269" y="69212"/>
                      <a:pt x="28543" y="69215"/>
                    </a:cubicBezTo>
                    <a:cubicBezTo>
                      <a:pt x="29573" y="69255"/>
                      <a:pt x="31014" y="68707"/>
                      <a:pt x="31924" y="67774"/>
                    </a:cubicBezTo>
                    <a:lnTo>
                      <a:pt x="65228" y="33376"/>
                    </a:lnTo>
                    <a:cubicBezTo>
                      <a:pt x="67094" y="31443"/>
                      <a:pt x="67107" y="28290"/>
                      <a:pt x="65255" y="26344"/>
                    </a:cubicBezTo>
                    <a:lnTo>
                      <a:pt x="54246" y="14780"/>
                    </a:lnTo>
                    <a:cubicBezTo>
                      <a:pt x="52393" y="12830"/>
                      <a:pt x="49367" y="12830"/>
                      <a:pt x="47494" y="14750"/>
                    </a:cubicBezTo>
                    <a:lnTo>
                      <a:pt x="33720" y="28979"/>
                    </a:lnTo>
                    <a:cubicBezTo>
                      <a:pt x="31218" y="31570"/>
                      <a:pt x="27165" y="31557"/>
                      <a:pt x="24677" y="28939"/>
                    </a:cubicBezTo>
                    <a:cubicBezTo>
                      <a:pt x="22189" y="26327"/>
                      <a:pt x="22206" y="22110"/>
                      <a:pt x="24714" y="19522"/>
                    </a:cubicBezTo>
                    <a:lnTo>
                      <a:pt x="38489" y="5293"/>
                    </a:lnTo>
                    <a:cubicBezTo>
                      <a:pt x="45367" y="-1807"/>
                      <a:pt x="56506" y="-1757"/>
                      <a:pt x="63322" y="5400"/>
                    </a:cubicBezTo>
                    <a:lnTo>
                      <a:pt x="74331" y="16963"/>
                    </a:lnTo>
                    <a:cubicBezTo>
                      <a:pt x="81146" y="24123"/>
                      <a:pt x="81102" y="35727"/>
                      <a:pt x="74227" y="42830"/>
                    </a:cubicBezTo>
                    <a:lnTo>
                      <a:pt x="40923" y="77227"/>
                    </a:lnTo>
                    <a:cubicBezTo>
                      <a:pt x="37612" y="80655"/>
                      <a:pt x="33225" y="82534"/>
                      <a:pt x="28560" y="82534"/>
                    </a:cubicBezTo>
                    <a:close/>
                  </a:path>
                </a:pathLst>
              </a:custGeom>
              <a:grpFill/>
              <a:ln w="334" cap="flat">
                <a:noFill/>
                <a:prstDash val="solid"/>
                <a:miter/>
              </a:ln>
            </p:spPr>
            <p:txBody>
              <a:bodyPr rtlCol="0" anchor="ctr"/>
              <a:lstStyle/>
              <a:p>
                <a:endParaRPr lang="en-GB" dirty="0"/>
              </a:p>
            </p:txBody>
          </p:sp>
          <p:sp>
            <p:nvSpPr>
              <p:cNvPr id="332" name="Freeform: Shape 788">
                <a:extLst>
                  <a:ext uri="{FF2B5EF4-FFF2-40B4-BE49-F238E27FC236}">
                    <a16:creationId xmlns:a16="http://schemas.microsoft.com/office/drawing/2014/main" id="{F428F4C7-535B-49C0-832C-6BAECFA9292B}"/>
                  </a:ext>
                </a:extLst>
              </p:cNvPr>
              <p:cNvSpPr/>
              <p:nvPr/>
            </p:nvSpPr>
            <p:spPr>
              <a:xfrm>
                <a:off x="1254241" y="2687429"/>
                <a:ext cx="62937" cy="66992"/>
              </a:xfrm>
              <a:custGeom>
                <a:avLst/>
                <a:gdLst>
                  <a:gd name="connsiteX0" fmla="*/ 31773 w 62937"/>
                  <a:gd name="connsiteY0" fmla="*/ 66992 h 66992"/>
                  <a:gd name="connsiteX1" fmla="*/ 27235 w 62937"/>
                  <a:gd name="connsiteY1" fmla="*/ 65026 h 66992"/>
                  <a:gd name="connsiteX2" fmla="*/ 27266 w 62937"/>
                  <a:gd name="connsiteY2" fmla="*/ 55609 h 66992"/>
                  <a:gd name="connsiteX3" fmla="*/ 48741 w 62937"/>
                  <a:gd name="connsiteY3" fmla="*/ 33387 h 66992"/>
                  <a:gd name="connsiteX4" fmla="*/ 50156 w 62937"/>
                  <a:gd name="connsiteY4" fmla="*/ 29876 h 66992"/>
                  <a:gd name="connsiteX5" fmla="*/ 48771 w 62937"/>
                  <a:gd name="connsiteY5" fmla="*/ 26355 h 66992"/>
                  <a:gd name="connsiteX6" fmla="*/ 37766 w 62937"/>
                  <a:gd name="connsiteY6" fmla="*/ 14791 h 66992"/>
                  <a:gd name="connsiteX7" fmla="*/ 34375 w 62937"/>
                  <a:gd name="connsiteY7" fmla="*/ 13320 h 66992"/>
                  <a:gd name="connsiteX8" fmla="*/ 31014 w 62937"/>
                  <a:gd name="connsiteY8" fmla="*/ 14761 h 66992"/>
                  <a:gd name="connsiteX9" fmla="*/ 10960 w 62937"/>
                  <a:gd name="connsiteY9" fmla="*/ 36059 h 66992"/>
                  <a:gd name="connsiteX10" fmla="*/ 1917 w 62937"/>
                  <a:gd name="connsiteY10" fmla="*/ 36150 h 66992"/>
                  <a:gd name="connsiteX11" fmla="*/ 1830 w 62937"/>
                  <a:gd name="connsiteY11" fmla="*/ 26733 h 66992"/>
                  <a:gd name="connsiteX12" fmla="*/ 21945 w 62937"/>
                  <a:gd name="connsiteY12" fmla="*/ 5371 h 66992"/>
                  <a:gd name="connsiteX13" fmla="*/ 34372 w 62937"/>
                  <a:gd name="connsiteY13" fmla="*/ 0 h 66992"/>
                  <a:gd name="connsiteX14" fmla="*/ 34445 w 62937"/>
                  <a:gd name="connsiteY14" fmla="*/ 0 h 66992"/>
                  <a:gd name="connsiteX15" fmla="*/ 46838 w 62937"/>
                  <a:gd name="connsiteY15" fmla="*/ 5411 h 66992"/>
                  <a:gd name="connsiteX16" fmla="*/ 57844 w 62937"/>
                  <a:gd name="connsiteY16" fmla="*/ 16975 h 66992"/>
                  <a:gd name="connsiteX17" fmla="*/ 62937 w 62937"/>
                  <a:gd name="connsiteY17" fmla="*/ 29930 h 66992"/>
                  <a:gd name="connsiteX18" fmla="*/ 57740 w 62937"/>
                  <a:gd name="connsiteY18" fmla="*/ 42841 h 66992"/>
                  <a:gd name="connsiteX19" fmla="*/ 36268 w 62937"/>
                  <a:gd name="connsiteY19" fmla="*/ 65059 h 66992"/>
                  <a:gd name="connsiteX20" fmla="*/ 31773 w 62937"/>
                  <a:gd name="connsiteY20" fmla="*/ 66992 h 66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937" h="66992">
                    <a:moveTo>
                      <a:pt x="31773" y="66992"/>
                    </a:moveTo>
                    <a:cubicBezTo>
                      <a:pt x="30131" y="66992"/>
                      <a:pt x="28486" y="66337"/>
                      <a:pt x="27235" y="65026"/>
                    </a:cubicBezTo>
                    <a:cubicBezTo>
                      <a:pt x="24747" y="62417"/>
                      <a:pt x="24761" y="58201"/>
                      <a:pt x="27266" y="55609"/>
                    </a:cubicBezTo>
                    <a:lnTo>
                      <a:pt x="48741" y="33387"/>
                    </a:lnTo>
                    <a:cubicBezTo>
                      <a:pt x="49651" y="32448"/>
                      <a:pt x="50152" y="31200"/>
                      <a:pt x="50156" y="29876"/>
                    </a:cubicBezTo>
                    <a:cubicBezTo>
                      <a:pt x="50162" y="28548"/>
                      <a:pt x="49671" y="27298"/>
                      <a:pt x="48771" y="26355"/>
                    </a:cubicBezTo>
                    <a:lnTo>
                      <a:pt x="37766" y="14791"/>
                    </a:lnTo>
                    <a:cubicBezTo>
                      <a:pt x="36863" y="13845"/>
                      <a:pt x="35903" y="13396"/>
                      <a:pt x="34375" y="13320"/>
                    </a:cubicBezTo>
                    <a:cubicBezTo>
                      <a:pt x="33108" y="13320"/>
                      <a:pt x="31917" y="13831"/>
                      <a:pt x="31014" y="14761"/>
                    </a:cubicBezTo>
                    <a:lnTo>
                      <a:pt x="10960" y="36059"/>
                    </a:lnTo>
                    <a:cubicBezTo>
                      <a:pt x="8488" y="38688"/>
                      <a:pt x="4442" y="38725"/>
                      <a:pt x="1917" y="36150"/>
                    </a:cubicBezTo>
                    <a:cubicBezTo>
                      <a:pt x="-604" y="33575"/>
                      <a:pt x="-644" y="29354"/>
                      <a:pt x="1830" y="26733"/>
                    </a:cubicBezTo>
                    <a:lnTo>
                      <a:pt x="21945" y="5371"/>
                    </a:lnTo>
                    <a:cubicBezTo>
                      <a:pt x="25316" y="1883"/>
                      <a:pt x="29707" y="0"/>
                      <a:pt x="34372" y="0"/>
                    </a:cubicBezTo>
                    <a:cubicBezTo>
                      <a:pt x="34395" y="0"/>
                      <a:pt x="34422" y="0"/>
                      <a:pt x="34445" y="0"/>
                    </a:cubicBezTo>
                    <a:cubicBezTo>
                      <a:pt x="39134" y="20"/>
                      <a:pt x="43538" y="1943"/>
                      <a:pt x="46838" y="5411"/>
                    </a:cubicBezTo>
                    <a:lnTo>
                      <a:pt x="57844" y="16975"/>
                    </a:lnTo>
                    <a:cubicBezTo>
                      <a:pt x="61148" y="20442"/>
                      <a:pt x="62954" y="25044"/>
                      <a:pt x="62937" y="29930"/>
                    </a:cubicBezTo>
                    <a:cubicBezTo>
                      <a:pt x="62917" y="34815"/>
                      <a:pt x="61074" y="39400"/>
                      <a:pt x="57740" y="42841"/>
                    </a:cubicBezTo>
                    <a:lnTo>
                      <a:pt x="36268" y="65059"/>
                    </a:lnTo>
                    <a:cubicBezTo>
                      <a:pt x="35030" y="66347"/>
                      <a:pt x="33402" y="66992"/>
                      <a:pt x="31773" y="66992"/>
                    </a:cubicBezTo>
                    <a:close/>
                  </a:path>
                </a:pathLst>
              </a:custGeom>
              <a:grpFill/>
              <a:ln w="334" cap="flat">
                <a:noFill/>
                <a:prstDash val="solid"/>
                <a:miter/>
              </a:ln>
            </p:spPr>
            <p:txBody>
              <a:bodyPr rtlCol="0" anchor="ctr"/>
              <a:lstStyle/>
              <a:p>
                <a:endParaRPr lang="en-GB" dirty="0"/>
              </a:p>
            </p:txBody>
          </p:sp>
        </p:grpSp>
        <p:sp>
          <p:nvSpPr>
            <p:cNvPr id="325" name="Freeform: Shape 781">
              <a:extLst>
                <a:ext uri="{FF2B5EF4-FFF2-40B4-BE49-F238E27FC236}">
                  <a16:creationId xmlns:a16="http://schemas.microsoft.com/office/drawing/2014/main" id="{8BF4D6B3-655B-437B-9C24-EBD38D9588F9}"/>
                </a:ext>
              </a:extLst>
            </p:cNvPr>
            <p:cNvSpPr/>
            <p:nvPr/>
          </p:nvSpPr>
          <p:spPr>
            <a:xfrm>
              <a:off x="5644755" y="2737049"/>
              <a:ext cx="22445" cy="87918"/>
            </a:xfrm>
            <a:custGeom>
              <a:avLst/>
              <a:gdLst>
                <a:gd name="connsiteX0" fmla="*/ 8043 w 22445"/>
                <a:gd name="connsiteY0" fmla="*/ 87919 h 87918"/>
                <a:gd name="connsiteX1" fmla="*/ 4060 w 22445"/>
                <a:gd name="connsiteY1" fmla="*/ 86464 h 87918"/>
                <a:gd name="connsiteX2" fmla="*/ 3047 w 22445"/>
                <a:gd name="connsiteY2" fmla="*/ 77104 h 87918"/>
                <a:gd name="connsiteX3" fmla="*/ 522 w 22445"/>
                <a:gd name="connsiteY3" fmla="*/ 9303 h 87918"/>
                <a:gd name="connsiteX4" fmla="*/ 3863 w 22445"/>
                <a:gd name="connsiteY4" fmla="*/ 551 h 87918"/>
                <a:gd name="connsiteX5" fmla="*/ 12263 w 22445"/>
                <a:gd name="connsiteY5" fmla="*/ 4026 h 87918"/>
                <a:gd name="connsiteX6" fmla="*/ 13042 w 22445"/>
                <a:gd name="connsiteY6" fmla="*/ 85411 h 87918"/>
                <a:gd name="connsiteX7" fmla="*/ 8043 w 22445"/>
                <a:gd name="connsiteY7" fmla="*/ 87919 h 8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45" h="87918">
                  <a:moveTo>
                    <a:pt x="8043" y="87919"/>
                  </a:moveTo>
                  <a:cubicBezTo>
                    <a:pt x="6645" y="87919"/>
                    <a:pt x="5237" y="87444"/>
                    <a:pt x="4060" y="86464"/>
                  </a:cubicBezTo>
                  <a:cubicBezTo>
                    <a:pt x="1301" y="84167"/>
                    <a:pt x="846" y="79980"/>
                    <a:pt x="3047" y="77104"/>
                  </a:cubicBezTo>
                  <a:cubicBezTo>
                    <a:pt x="16634" y="59367"/>
                    <a:pt x="5833" y="22151"/>
                    <a:pt x="522" y="9303"/>
                  </a:cubicBezTo>
                  <a:cubicBezTo>
                    <a:pt x="-872" y="5928"/>
                    <a:pt x="622" y="2009"/>
                    <a:pt x="3863" y="551"/>
                  </a:cubicBezTo>
                  <a:cubicBezTo>
                    <a:pt x="7100" y="-914"/>
                    <a:pt x="10865" y="641"/>
                    <a:pt x="12263" y="4026"/>
                  </a:cubicBezTo>
                  <a:cubicBezTo>
                    <a:pt x="13169" y="6209"/>
                    <a:pt x="34200" y="57795"/>
                    <a:pt x="13042" y="85411"/>
                  </a:cubicBezTo>
                  <a:cubicBezTo>
                    <a:pt x="11778" y="87060"/>
                    <a:pt x="9919" y="87919"/>
                    <a:pt x="8043" y="87919"/>
                  </a:cubicBezTo>
                  <a:close/>
                </a:path>
              </a:pathLst>
            </a:custGeom>
            <a:grpFill/>
            <a:ln w="334" cap="flat">
              <a:noFill/>
              <a:prstDash val="solid"/>
              <a:miter/>
            </a:ln>
          </p:spPr>
          <p:txBody>
            <a:bodyPr rtlCol="0" anchor="ctr"/>
            <a:lstStyle/>
            <a:p>
              <a:endParaRPr lang="en-GB" dirty="0"/>
            </a:p>
          </p:txBody>
        </p:sp>
        <p:sp>
          <p:nvSpPr>
            <p:cNvPr id="326" name="Freeform: Shape 782">
              <a:extLst>
                <a:ext uri="{FF2B5EF4-FFF2-40B4-BE49-F238E27FC236}">
                  <a16:creationId xmlns:a16="http://schemas.microsoft.com/office/drawing/2014/main" id="{A91E6CE1-9261-41B1-9EDC-C7EE3567FA41}"/>
                </a:ext>
              </a:extLst>
            </p:cNvPr>
            <p:cNvSpPr/>
            <p:nvPr/>
          </p:nvSpPr>
          <p:spPr>
            <a:xfrm>
              <a:off x="5543198" y="2854177"/>
              <a:ext cx="62369" cy="65188"/>
            </a:xfrm>
            <a:custGeom>
              <a:avLst/>
              <a:gdLst>
                <a:gd name="connsiteX0" fmla="*/ 6395 w 62369"/>
                <a:gd name="connsiteY0" fmla="*/ 65188 h 65188"/>
                <a:gd name="connsiteX1" fmla="*/ 1884 w 62369"/>
                <a:gd name="connsiteY1" fmla="*/ 63245 h 65188"/>
                <a:gd name="connsiteX2" fmla="*/ 1864 w 62369"/>
                <a:gd name="connsiteY2" fmla="*/ 53828 h 65188"/>
                <a:gd name="connsiteX3" fmla="*/ 51443 w 62369"/>
                <a:gd name="connsiteY3" fmla="*/ 1961 h 65188"/>
                <a:gd name="connsiteX4" fmla="*/ 60485 w 62369"/>
                <a:gd name="connsiteY4" fmla="*/ 1941 h 65188"/>
                <a:gd name="connsiteX5" fmla="*/ 60506 w 62369"/>
                <a:gd name="connsiteY5" fmla="*/ 11358 h 65188"/>
                <a:gd name="connsiteX6" fmla="*/ 10926 w 62369"/>
                <a:gd name="connsiteY6" fmla="*/ 63225 h 65188"/>
                <a:gd name="connsiteX7" fmla="*/ 6395 w 62369"/>
                <a:gd name="connsiteY7" fmla="*/ 65188 h 65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369" h="65188">
                  <a:moveTo>
                    <a:pt x="6395" y="65188"/>
                  </a:moveTo>
                  <a:cubicBezTo>
                    <a:pt x="4763" y="65188"/>
                    <a:pt x="3131" y="64539"/>
                    <a:pt x="1884" y="63245"/>
                  </a:cubicBezTo>
                  <a:cubicBezTo>
                    <a:pt x="-621" y="60650"/>
                    <a:pt x="-628" y="56433"/>
                    <a:pt x="1864" y="53828"/>
                  </a:cubicBezTo>
                  <a:lnTo>
                    <a:pt x="51443" y="1961"/>
                  </a:lnTo>
                  <a:cubicBezTo>
                    <a:pt x="53931" y="-647"/>
                    <a:pt x="57977" y="-654"/>
                    <a:pt x="60485" y="1941"/>
                  </a:cubicBezTo>
                  <a:cubicBezTo>
                    <a:pt x="62990" y="4536"/>
                    <a:pt x="62997" y="8753"/>
                    <a:pt x="60506" y="11358"/>
                  </a:cubicBezTo>
                  <a:lnTo>
                    <a:pt x="10926" y="63225"/>
                  </a:lnTo>
                  <a:cubicBezTo>
                    <a:pt x="9675" y="64533"/>
                    <a:pt x="8037" y="65188"/>
                    <a:pt x="6395" y="65188"/>
                  </a:cubicBezTo>
                  <a:close/>
                </a:path>
              </a:pathLst>
            </a:custGeom>
            <a:grpFill/>
            <a:ln w="334" cap="flat">
              <a:noFill/>
              <a:prstDash val="solid"/>
              <a:miter/>
            </a:ln>
          </p:spPr>
          <p:txBody>
            <a:bodyPr rtlCol="0" anchor="ctr"/>
            <a:lstStyle/>
            <a:p>
              <a:endParaRPr lang="en-GB" dirty="0"/>
            </a:p>
          </p:txBody>
        </p:sp>
        <p:sp>
          <p:nvSpPr>
            <p:cNvPr id="327" name="Freeform: Shape 783">
              <a:extLst>
                <a:ext uri="{FF2B5EF4-FFF2-40B4-BE49-F238E27FC236}">
                  <a16:creationId xmlns:a16="http://schemas.microsoft.com/office/drawing/2014/main" id="{729DEC81-CB43-46DF-B63E-DD39C0B17D6D}"/>
                </a:ext>
              </a:extLst>
            </p:cNvPr>
            <p:cNvSpPr/>
            <p:nvPr/>
          </p:nvSpPr>
          <p:spPr>
            <a:xfrm>
              <a:off x="5588122" y="2891871"/>
              <a:ext cx="20899" cy="22080"/>
            </a:xfrm>
            <a:custGeom>
              <a:avLst/>
              <a:gdLst>
                <a:gd name="connsiteX0" fmla="*/ 6395 w 20899"/>
                <a:gd name="connsiteY0" fmla="*/ 22080 h 22080"/>
                <a:gd name="connsiteX1" fmla="*/ 1954 w 20899"/>
                <a:gd name="connsiteY1" fmla="*/ 20214 h 22080"/>
                <a:gd name="connsiteX2" fmla="*/ 1790 w 20899"/>
                <a:gd name="connsiteY2" fmla="*/ 10797 h 22080"/>
                <a:gd name="connsiteX3" fmla="*/ 9903 w 20899"/>
                <a:gd name="connsiteY3" fmla="*/ 2033 h 22080"/>
                <a:gd name="connsiteX4" fmla="*/ 18945 w 20899"/>
                <a:gd name="connsiteY4" fmla="*/ 1862 h 22080"/>
                <a:gd name="connsiteX5" fmla="*/ 19109 w 20899"/>
                <a:gd name="connsiteY5" fmla="*/ 11279 h 22080"/>
                <a:gd name="connsiteX6" fmla="*/ 10993 w 20899"/>
                <a:gd name="connsiteY6" fmla="*/ 20044 h 22080"/>
                <a:gd name="connsiteX7" fmla="*/ 6395 w 20899"/>
                <a:gd name="connsiteY7" fmla="*/ 22080 h 22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899" h="22080">
                  <a:moveTo>
                    <a:pt x="6395" y="22080"/>
                  </a:moveTo>
                  <a:cubicBezTo>
                    <a:pt x="4796" y="22080"/>
                    <a:pt x="3198" y="21458"/>
                    <a:pt x="1954" y="20214"/>
                  </a:cubicBezTo>
                  <a:cubicBezTo>
                    <a:pt x="-588" y="17663"/>
                    <a:pt x="-658" y="13443"/>
                    <a:pt x="1790" y="10797"/>
                  </a:cubicBezTo>
                  <a:lnTo>
                    <a:pt x="9903" y="2033"/>
                  </a:lnTo>
                  <a:cubicBezTo>
                    <a:pt x="12361" y="-613"/>
                    <a:pt x="16404" y="-683"/>
                    <a:pt x="18945" y="1862"/>
                  </a:cubicBezTo>
                  <a:cubicBezTo>
                    <a:pt x="21487" y="4414"/>
                    <a:pt x="21557" y="8630"/>
                    <a:pt x="19109" y="11279"/>
                  </a:cubicBezTo>
                  <a:lnTo>
                    <a:pt x="10993" y="20044"/>
                  </a:lnTo>
                  <a:cubicBezTo>
                    <a:pt x="9742" y="21398"/>
                    <a:pt x="8067" y="22080"/>
                    <a:pt x="6395" y="22080"/>
                  </a:cubicBezTo>
                  <a:close/>
                </a:path>
              </a:pathLst>
            </a:custGeom>
            <a:grpFill/>
            <a:ln w="334" cap="flat">
              <a:noFill/>
              <a:prstDash val="solid"/>
              <a:miter/>
            </a:ln>
          </p:spPr>
          <p:txBody>
            <a:bodyPr rtlCol="0" anchor="ctr"/>
            <a:lstStyle/>
            <a:p>
              <a:endParaRPr lang="en-GB" dirty="0"/>
            </a:p>
          </p:txBody>
        </p:sp>
        <p:sp>
          <p:nvSpPr>
            <p:cNvPr id="328" name="Freeform: Shape 784">
              <a:extLst>
                <a:ext uri="{FF2B5EF4-FFF2-40B4-BE49-F238E27FC236}">
                  <a16:creationId xmlns:a16="http://schemas.microsoft.com/office/drawing/2014/main" id="{B27A14D5-9EEB-478D-AA07-2D812C1DA97E}"/>
                </a:ext>
              </a:extLst>
            </p:cNvPr>
            <p:cNvSpPr/>
            <p:nvPr/>
          </p:nvSpPr>
          <p:spPr>
            <a:xfrm>
              <a:off x="5562791" y="2838009"/>
              <a:ext cx="19320" cy="20123"/>
            </a:xfrm>
            <a:custGeom>
              <a:avLst/>
              <a:gdLst>
                <a:gd name="connsiteX0" fmla="*/ 6395 w 19320"/>
                <a:gd name="connsiteY0" fmla="*/ 20123 h 20123"/>
                <a:gd name="connsiteX1" fmla="*/ 1874 w 19320"/>
                <a:gd name="connsiteY1" fmla="*/ 18170 h 20123"/>
                <a:gd name="connsiteX2" fmla="*/ 1874 w 19320"/>
                <a:gd name="connsiteY2" fmla="*/ 8753 h 20123"/>
                <a:gd name="connsiteX3" fmla="*/ 8405 w 19320"/>
                <a:gd name="connsiteY3" fmla="*/ 1951 h 20123"/>
                <a:gd name="connsiteX4" fmla="*/ 17447 w 19320"/>
                <a:gd name="connsiteY4" fmla="*/ 1951 h 20123"/>
                <a:gd name="connsiteX5" fmla="*/ 17447 w 19320"/>
                <a:gd name="connsiteY5" fmla="*/ 11368 h 20123"/>
                <a:gd name="connsiteX6" fmla="*/ 10916 w 19320"/>
                <a:gd name="connsiteY6" fmla="*/ 18170 h 20123"/>
                <a:gd name="connsiteX7" fmla="*/ 6395 w 19320"/>
                <a:gd name="connsiteY7" fmla="*/ 20123 h 20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20" h="20123">
                  <a:moveTo>
                    <a:pt x="6395" y="20123"/>
                  </a:moveTo>
                  <a:cubicBezTo>
                    <a:pt x="4759" y="20123"/>
                    <a:pt x="3124" y="19471"/>
                    <a:pt x="1874" y="18170"/>
                  </a:cubicBezTo>
                  <a:cubicBezTo>
                    <a:pt x="-625" y="15568"/>
                    <a:pt x="-625" y="11355"/>
                    <a:pt x="1874" y="8753"/>
                  </a:cubicBezTo>
                  <a:lnTo>
                    <a:pt x="8405" y="1951"/>
                  </a:lnTo>
                  <a:cubicBezTo>
                    <a:pt x="10903" y="-650"/>
                    <a:pt x="14949" y="-650"/>
                    <a:pt x="17447" y="1951"/>
                  </a:cubicBezTo>
                  <a:cubicBezTo>
                    <a:pt x="19945" y="4553"/>
                    <a:pt x="19945" y="8767"/>
                    <a:pt x="17447" y="11368"/>
                  </a:cubicBezTo>
                  <a:lnTo>
                    <a:pt x="10916" y="18170"/>
                  </a:lnTo>
                  <a:cubicBezTo>
                    <a:pt x="9669" y="19474"/>
                    <a:pt x="8030" y="20123"/>
                    <a:pt x="6395" y="20123"/>
                  </a:cubicBezTo>
                  <a:close/>
                </a:path>
              </a:pathLst>
            </a:custGeom>
            <a:grpFill/>
            <a:ln w="334" cap="flat">
              <a:noFill/>
              <a:prstDash val="solid"/>
              <a:miter/>
            </a:ln>
          </p:spPr>
          <p:txBody>
            <a:bodyPr rtlCol="0" anchor="ctr"/>
            <a:lstStyle/>
            <a:p>
              <a:endParaRPr lang="en-GB" dirty="0"/>
            </a:p>
          </p:txBody>
        </p:sp>
        <p:sp>
          <p:nvSpPr>
            <p:cNvPr id="329" name="Freeform: Shape 785">
              <a:extLst>
                <a:ext uri="{FF2B5EF4-FFF2-40B4-BE49-F238E27FC236}">
                  <a16:creationId xmlns:a16="http://schemas.microsoft.com/office/drawing/2014/main" id="{F7594DD0-4402-47D6-BAD8-8892C0E7C212}"/>
                </a:ext>
              </a:extLst>
            </p:cNvPr>
            <p:cNvSpPr/>
            <p:nvPr/>
          </p:nvSpPr>
          <p:spPr>
            <a:xfrm>
              <a:off x="5536667" y="2858418"/>
              <a:ext cx="25851" cy="26928"/>
            </a:xfrm>
            <a:custGeom>
              <a:avLst/>
              <a:gdLst>
                <a:gd name="connsiteX0" fmla="*/ 6395 w 25851"/>
                <a:gd name="connsiteY0" fmla="*/ 26928 h 26928"/>
                <a:gd name="connsiteX1" fmla="*/ 1874 w 25851"/>
                <a:gd name="connsiteY1" fmla="*/ 24975 h 26928"/>
                <a:gd name="connsiteX2" fmla="*/ 1874 w 25851"/>
                <a:gd name="connsiteY2" fmla="*/ 15558 h 26928"/>
                <a:gd name="connsiteX3" fmla="*/ 14936 w 25851"/>
                <a:gd name="connsiteY3" fmla="*/ 1951 h 26928"/>
                <a:gd name="connsiteX4" fmla="*/ 23978 w 25851"/>
                <a:gd name="connsiteY4" fmla="*/ 1951 h 26928"/>
                <a:gd name="connsiteX5" fmla="*/ 23978 w 25851"/>
                <a:gd name="connsiteY5" fmla="*/ 11368 h 26928"/>
                <a:gd name="connsiteX6" fmla="*/ 10916 w 25851"/>
                <a:gd name="connsiteY6" fmla="*/ 24975 h 26928"/>
                <a:gd name="connsiteX7" fmla="*/ 6395 w 25851"/>
                <a:gd name="connsiteY7" fmla="*/ 26928 h 26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51" h="26928">
                  <a:moveTo>
                    <a:pt x="6395" y="26928"/>
                  </a:moveTo>
                  <a:cubicBezTo>
                    <a:pt x="4759" y="26928"/>
                    <a:pt x="3124" y="26276"/>
                    <a:pt x="1874" y="24975"/>
                  </a:cubicBezTo>
                  <a:cubicBezTo>
                    <a:pt x="-625" y="22374"/>
                    <a:pt x="-625" y="18160"/>
                    <a:pt x="1874" y="15558"/>
                  </a:cubicBezTo>
                  <a:lnTo>
                    <a:pt x="14936" y="1951"/>
                  </a:lnTo>
                  <a:cubicBezTo>
                    <a:pt x="17434" y="-650"/>
                    <a:pt x="21480" y="-650"/>
                    <a:pt x="23978" y="1951"/>
                  </a:cubicBezTo>
                  <a:cubicBezTo>
                    <a:pt x="26476" y="4553"/>
                    <a:pt x="26476" y="8767"/>
                    <a:pt x="23978" y="11368"/>
                  </a:cubicBezTo>
                  <a:lnTo>
                    <a:pt x="10916" y="24975"/>
                  </a:lnTo>
                  <a:cubicBezTo>
                    <a:pt x="9665" y="26280"/>
                    <a:pt x="8030" y="26928"/>
                    <a:pt x="6395" y="26928"/>
                  </a:cubicBezTo>
                  <a:close/>
                </a:path>
              </a:pathLst>
            </a:custGeom>
            <a:grpFill/>
            <a:ln w="334" cap="flat">
              <a:noFill/>
              <a:prstDash val="solid"/>
              <a:miter/>
            </a:ln>
          </p:spPr>
          <p:txBody>
            <a:bodyPr rtlCol="0" anchor="ctr"/>
            <a:lstStyle/>
            <a:p>
              <a:endParaRPr lang="en-GB" dirty="0"/>
            </a:p>
          </p:txBody>
        </p:sp>
      </p:grpSp>
      <p:grpSp>
        <p:nvGrpSpPr>
          <p:cNvPr id="30" name="Group 29">
            <a:extLst>
              <a:ext uri="{FF2B5EF4-FFF2-40B4-BE49-F238E27FC236}">
                <a16:creationId xmlns:a16="http://schemas.microsoft.com/office/drawing/2014/main" id="{E6BD04FA-CC0C-7C93-A29B-D92B3AA426D8}"/>
              </a:ext>
            </a:extLst>
          </p:cNvPr>
          <p:cNvGrpSpPr/>
          <p:nvPr/>
        </p:nvGrpSpPr>
        <p:grpSpPr>
          <a:xfrm>
            <a:off x="599527" y="4002617"/>
            <a:ext cx="389029" cy="347080"/>
            <a:chOff x="599527" y="4002617"/>
            <a:chExt cx="389029" cy="347080"/>
          </a:xfrm>
        </p:grpSpPr>
        <p:grpSp>
          <p:nvGrpSpPr>
            <p:cNvPr id="298" name="Gruppieren 1045">
              <a:extLst>
                <a:ext uri="{FF2B5EF4-FFF2-40B4-BE49-F238E27FC236}">
                  <a16:creationId xmlns:a16="http://schemas.microsoft.com/office/drawing/2014/main" id="{979BDC73-209A-423A-99C4-80BB0BFF9DF3}"/>
                </a:ext>
              </a:extLst>
            </p:cNvPr>
            <p:cNvGrpSpPr/>
            <p:nvPr/>
          </p:nvGrpSpPr>
          <p:grpSpPr>
            <a:xfrm>
              <a:off x="689084" y="4002617"/>
              <a:ext cx="299472" cy="347080"/>
              <a:chOff x="5468083" y="2473822"/>
              <a:chExt cx="308860" cy="357961"/>
            </a:xfrm>
          </p:grpSpPr>
          <p:sp>
            <p:nvSpPr>
              <p:cNvPr id="311" name="Freeform: Shape 770">
                <a:extLst>
                  <a:ext uri="{FF2B5EF4-FFF2-40B4-BE49-F238E27FC236}">
                    <a16:creationId xmlns:a16="http://schemas.microsoft.com/office/drawing/2014/main" id="{D2EFA8E7-33BB-4BFB-B6AE-DFF648FE531A}"/>
                  </a:ext>
                </a:extLst>
              </p:cNvPr>
              <p:cNvSpPr/>
              <p:nvPr/>
            </p:nvSpPr>
            <p:spPr>
              <a:xfrm>
                <a:off x="5539285" y="2499961"/>
                <a:ext cx="161215" cy="112340"/>
              </a:xfrm>
              <a:custGeom>
                <a:avLst/>
                <a:gdLst>
                  <a:gd name="connsiteX0" fmla="*/ 127793 w 161215"/>
                  <a:gd name="connsiteY0" fmla="*/ 112340 h 112340"/>
                  <a:gd name="connsiteX1" fmla="*/ 100304 w 161215"/>
                  <a:gd name="connsiteY1" fmla="*/ 100856 h 112340"/>
                  <a:gd name="connsiteX2" fmla="*/ 74183 w 161215"/>
                  <a:gd name="connsiteY2" fmla="*/ 79200 h 112340"/>
                  <a:gd name="connsiteX3" fmla="*/ 73174 w 161215"/>
                  <a:gd name="connsiteY3" fmla="*/ 69840 h 112340"/>
                  <a:gd name="connsiteX4" fmla="*/ 82159 w 161215"/>
                  <a:gd name="connsiteY4" fmla="*/ 68787 h 112340"/>
                  <a:gd name="connsiteX5" fmla="*/ 108715 w 161215"/>
                  <a:gd name="connsiteY5" fmla="*/ 90844 h 112340"/>
                  <a:gd name="connsiteX6" fmla="*/ 144764 w 161215"/>
                  <a:gd name="connsiteY6" fmla="*/ 92750 h 112340"/>
                  <a:gd name="connsiteX7" fmla="*/ 148252 w 161215"/>
                  <a:gd name="connsiteY7" fmla="*/ 89798 h 112340"/>
                  <a:gd name="connsiteX8" fmla="*/ 152873 w 161215"/>
                  <a:gd name="connsiteY8" fmla="*/ 84417 h 112340"/>
                  <a:gd name="connsiteX9" fmla="*/ 148292 w 161215"/>
                  <a:gd name="connsiteY9" fmla="*/ 89065 h 112340"/>
                  <a:gd name="connsiteX10" fmla="*/ 84426 w 161215"/>
                  <a:gd name="connsiteY10" fmla="*/ 20772 h 112340"/>
                  <a:gd name="connsiteX11" fmla="*/ 53741 w 161215"/>
                  <a:gd name="connsiteY11" fmla="*/ 17732 h 112340"/>
                  <a:gd name="connsiteX12" fmla="*/ 18006 w 161215"/>
                  <a:gd name="connsiteY12" fmla="*/ 58376 h 112340"/>
                  <a:gd name="connsiteX13" fmla="*/ 12599 w 161215"/>
                  <a:gd name="connsiteY13" fmla="*/ 68867 h 112340"/>
                  <a:gd name="connsiteX14" fmla="*/ 4847 w 161215"/>
                  <a:gd name="connsiteY14" fmla="*/ 73716 h 112340"/>
                  <a:gd name="connsiteX15" fmla="*/ 192 w 161215"/>
                  <a:gd name="connsiteY15" fmla="*/ 65640 h 112340"/>
                  <a:gd name="connsiteX16" fmla="*/ 8576 w 161215"/>
                  <a:gd name="connsiteY16" fmla="*/ 49381 h 112340"/>
                  <a:gd name="connsiteX17" fmla="*/ 44762 w 161215"/>
                  <a:gd name="connsiteY17" fmla="*/ 8222 h 112340"/>
                  <a:gd name="connsiteX18" fmla="*/ 45688 w 161215"/>
                  <a:gd name="connsiteY18" fmla="*/ 7352 h 112340"/>
                  <a:gd name="connsiteX19" fmla="*/ 93589 w 161215"/>
                  <a:gd name="connsiteY19" fmla="*/ 11472 h 112340"/>
                  <a:gd name="connsiteX20" fmla="*/ 157455 w 161215"/>
                  <a:gd name="connsiteY20" fmla="*/ 79765 h 112340"/>
                  <a:gd name="connsiteX21" fmla="*/ 161193 w 161215"/>
                  <a:gd name="connsiteY21" fmla="*/ 90206 h 112340"/>
                  <a:gd name="connsiteX22" fmla="*/ 156324 w 161215"/>
                  <a:gd name="connsiteY22" fmla="*/ 100124 h 112340"/>
                  <a:gd name="connsiteX23" fmla="*/ 152840 w 161215"/>
                  <a:gd name="connsiteY23" fmla="*/ 103077 h 112340"/>
                  <a:gd name="connsiteX24" fmla="*/ 127793 w 161215"/>
                  <a:gd name="connsiteY24" fmla="*/ 112340 h 112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1215" h="112340">
                    <a:moveTo>
                      <a:pt x="127793" y="112340"/>
                    </a:moveTo>
                    <a:cubicBezTo>
                      <a:pt x="117851" y="112340"/>
                      <a:pt x="107939" y="108484"/>
                      <a:pt x="100304" y="100856"/>
                    </a:cubicBezTo>
                    <a:lnTo>
                      <a:pt x="74183" y="79200"/>
                    </a:lnTo>
                    <a:cubicBezTo>
                      <a:pt x="71425" y="76906"/>
                      <a:pt x="70970" y="72719"/>
                      <a:pt x="73174" y="69840"/>
                    </a:cubicBezTo>
                    <a:cubicBezTo>
                      <a:pt x="75377" y="66964"/>
                      <a:pt x="79400" y="66496"/>
                      <a:pt x="82159" y="68787"/>
                    </a:cubicBezTo>
                    <a:lnTo>
                      <a:pt x="108715" y="90844"/>
                    </a:lnTo>
                    <a:cubicBezTo>
                      <a:pt x="118937" y="101014"/>
                      <a:pt x="134253" y="101669"/>
                      <a:pt x="144764" y="92750"/>
                    </a:cubicBezTo>
                    <a:lnTo>
                      <a:pt x="148252" y="89798"/>
                    </a:lnTo>
                    <a:lnTo>
                      <a:pt x="152873" y="84417"/>
                    </a:lnTo>
                    <a:lnTo>
                      <a:pt x="148292" y="89065"/>
                    </a:lnTo>
                    <a:lnTo>
                      <a:pt x="84426" y="20772"/>
                    </a:lnTo>
                    <a:cubicBezTo>
                      <a:pt x="76320" y="12101"/>
                      <a:pt x="63232" y="10840"/>
                      <a:pt x="53741" y="17732"/>
                    </a:cubicBezTo>
                    <a:lnTo>
                      <a:pt x="18006" y="58376"/>
                    </a:lnTo>
                    <a:cubicBezTo>
                      <a:pt x="15404" y="61339"/>
                      <a:pt x="13532" y="64968"/>
                      <a:pt x="12599" y="68867"/>
                    </a:cubicBezTo>
                    <a:cubicBezTo>
                      <a:pt x="11746" y="72442"/>
                      <a:pt x="8251" y="74622"/>
                      <a:pt x="4847" y="73716"/>
                    </a:cubicBezTo>
                    <a:cubicBezTo>
                      <a:pt x="1423" y="72826"/>
                      <a:pt x="-664" y="69208"/>
                      <a:pt x="192" y="65640"/>
                    </a:cubicBezTo>
                    <a:cubicBezTo>
                      <a:pt x="1640" y="59597"/>
                      <a:pt x="4539" y="53979"/>
                      <a:pt x="8576" y="49381"/>
                    </a:cubicBezTo>
                    <a:lnTo>
                      <a:pt x="44762" y="8222"/>
                    </a:lnTo>
                    <a:cubicBezTo>
                      <a:pt x="45043" y="7901"/>
                      <a:pt x="45351" y="7610"/>
                      <a:pt x="45688" y="7352"/>
                    </a:cubicBezTo>
                    <a:cubicBezTo>
                      <a:pt x="60319" y="-3847"/>
                      <a:pt x="80918" y="-2078"/>
                      <a:pt x="93589" y="11472"/>
                    </a:cubicBezTo>
                    <a:lnTo>
                      <a:pt x="157455" y="79765"/>
                    </a:lnTo>
                    <a:cubicBezTo>
                      <a:pt x="160046" y="82538"/>
                      <a:pt x="161411" y="86340"/>
                      <a:pt x="161193" y="90206"/>
                    </a:cubicBezTo>
                    <a:cubicBezTo>
                      <a:pt x="160983" y="94068"/>
                      <a:pt x="159204" y="97683"/>
                      <a:pt x="156324" y="100124"/>
                    </a:cubicBezTo>
                    <a:lnTo>
                      <a:pt x="152840" y="103077"/>
                    </a:lnTo>
                    <a:cubicBezTo>
                      <a:pt x="145530" y="109277"/>
                      <a:pt x="136651" y="112340"/>
                      <a:pt x="127793" y="112340"/>
                    </a:cubicBezTo>
                    <a:close/>
                  </a:path>
                </a:pathLst>
              </a:custGeom>
              <a:solidFill>
                <a:schemeClr val="accent1"/>
              </a:solidFill>
              <a:ln w="334" cap="flat">
                <a:noFill/>
                <a:prstDash val="solid"/>
                <a:miter/>
              </a:ln>
            </p:spPr>
            <p:txBody>
              <a:bodyPr rtlCol="0" anchor="ctr"/>
              <a:lstStyle/>
              <a:p>
                <a:endParaRPr lang="en-GB" dirty="0"/>
              </a:p>
            </p:txBody>
          </p:sp>
          <p:grpSp>
            <p:nvGrpSpPr>
              <p:cNvPr id="312" name="Graphic 24">
                <a:extLst>
                  <a:ext uri="{FF2B5EF4-FFF2-40B4-BE49-F238E27FC236}">
                    <a16:creationId xmlns:a16="http://schemas.microsoft.com/office/drawing/2014/main" id="{F099C4E8-7D4B-4721-A871-0D6524F1F81D}"/>
                  </a:ext>
                </a:extLst>
              </p:cNvPr>
              <p:cNvGrpSpPr/>
              <p:nvPr/>
            </p:nvGrpSpPr>
            <p:grpSpPr>
              <a:xfrm>
                <a:off x="5611537" y="2473822"/>
                <a:ext cx="165406" cy="206139"/>
                <a:chOff x="1192766" y="2473822"/>
                <a:chExt cx="165406" cy="206139"/>
              </a:xfrm>
              <a:solidFill>
                <a:schemeClr val="accent1"/>
              </a:solidFill>
            </p:grpSpPr>
            <p:sp>
              <p:nvSpPr>
                <p:cNvPr id="318" name="Freeform: Shape 789">
                  <a:extLst>
                    <a:ext uri="{FF2B5EF4-FFF2-40B4-BE49-F238E27FC236}">
                      <a16:creationId xmlns:a16="http://schemas.microsoft.com/office/drawing/2014/main" id="{E397CB6F-BCA2-4FF0-A256-5AF07EB53D0B}"/>
                    </a:ext>
                  </a:extLst>
                </p:cNvPr>
                <p:cNvSpPr/>
                <p:nvPr/>
              </p:nvSpPr>
              <p:spPr>
                <a:xfrm>
                  <a:off x="1269956" y="2588301"/>
                  <a:ext cx="88217" cy="91660"/>
                </a:xfrm>
                <a:custGeom>
                  <a:avLst/>
                  <a:gdLst>
                    <a:gd name="connsiteX0" fmla="*/ 30829 w 88217"/>
                    <a:gd name="connsiteY0" fmla="*/ 91660 h 91660"/>
                    <a:gd name="connsiteX1" fmla="*/ 30739 w 88217"/>
                    <a:gd name="connsiteY1" fmla="*/ 91660 h 91660"/>
                    <a:gd name="connsiteX2" fmla="*/ 16105 w 88217"/>
                    <a:gd name="connsiteY2" fmla="*/ 85270 h 91660"/>
                    <a:gd name="connsiteX3" fmla="*/ 6010 w 88217"/>
                    <a:gd name="connsiteY3" fmla="*/ 74666 h 91660"/>
                    <a:gd name="connsiteX4" fmla="*/ 6010 w 88217"/>
                    <a:gd name="connsiteY4" fmla="*/ 74666 h 91660"/>
                    <a:gd name="connsiteX5" fmla="*/ 0 w 88217"/>
                    <a:gd name="connsiteY5" fmla="*/ 59366 h 91660"/>
                    <a:gd name="connsiteX6" fmla="*/ 6137 w 88217"/>
                    <a:gd name="connsiteY6" fmla="*/ 44124 h 91660"/>
                    <a:gd name="connsiteX7" fmla="*/ 42791 w 88217"/>
                    <a:gd name="connsiteY7" fmla="*/ 6266 h 91660"/>
                    <a:gd name="connsiteX8" fmla="*/ 57475 w 88217"/>
                    <a:gd name="connsiteY8" fmla="*/ 2 h 91660"/>
                    <a:gd name="connsiteX9" fmla="*/ 72112 w 88217"/>
                    <a:gd name="connsiteY9" fmla="*/ 6393 h 91660"/>
                    <a:gd name="connsiteX10" fmla="*/ 82205 w 88217"/>
                    <a:gd name="connsiteY10" fmla="*/ 16997 h 91660"/>
                    <a:gd name="connsiteX11" fmla="*/ 88217 w 88217"/>
                    <a:gd name="connsiteY11" fmla="*/ 32296 h 91660"/>
                    <a:gd name="connsiteX12" fmla="*/ 82081 w 88217"/>
                    <a:gd name="connsiteY12" fmla="*/ 47538 h 91660"/>
                    <a:gd name="connsiteX13" fmla="*/ 45426 w 88217"/>
                    <a:gd name="connsiteY13" fmla="*/ 85397 h 91660"/>
                    <a:gd name="connsiteX14" fmla="*/ 30829 w 88217"/>
                    <a:gd name="connsiteY14" fmla="*/ 91660 h 91660"/>
                    <a:gd name="connsiteX15" fmla="*/ 15085 w 88217"/>
                    <a:gd name="connsiteY15" fmla="*/ 65286 h 91660"/>
                    <a:gd name="connsiteX16" fmla="*/ 25181 w 88217"/>
                    <a:gd name="connsiteY16" fmla="*/ 75890 h 91660"/>
                    <a:gd name="connsiteX17" fmla="*/ 36417 w 88217"/>
                    <a:gd name="connsiteY17" fmla="*/ 75940 h 91660"/>
                    <a:gd name="connsiteX18" fmla="*/ 73072 w 88217"/>
                    <a:gd name="connsiteY18" fmla="*/ 38081 h 91660"/>
                    <a:gd name="connsiteX19" fmla="*/ 75423 w 88217"/>
                    <a:gd name="connsiteY19" fmla="*/ 32239 h 91660"/>
                    <a:gd name="connsiteX20" fmla="*/ 73119 w 88217"/>
                    <a:gd name="connsiteY20" fmla="*/ 26377 h 91660"/>
                    <a:gd name="connsiteX21" fmla="*/ 63023 w 88217"/>
                    <a:gd name="connsiteY21" fmla="*/ 15773 h 91660"/>
                    <a:gd name="connsiteX22" fmla="*/ 57418 w 88217"/>
                    <a:gd name="connsiteY22" fmla="*/ 13325 h 91660"/>
                    <a:gd name="connsiteX23" fmla="*/ 57385 w 88217"/>
                    <a:gd name="connsiteY23" fmla="*/ 13325 h 91660"/>
                    <a:gd name="connsiteX24" fmla="*/ 51790 w 88217"/>
                    <a:gd name="connsiteY24" fmla="*/ 15726 h 91660"/>
                    <a:gd name="connsiteX25" fmla="*/ 15136 w 88217"/>
                    <a:gd name="connsiteY25" fmla="*/ 53585 h 91660"/>
                    <a:gd name="connsiteX26" fmla="*/ 12785 w 88217"/>
                    <a:gd name="connsiteY26" fmla="*/ 59430 h 91660"/>
                    <a:gd name="connsiteX27" fmla="*/ 15085 w 88217"/>
                    <a:gd name="connsiteY27" fmla="*/ 65286 h 91660"/>
                    <a:gd name="connsiteX28" fmla="*/ 15085 w 88217"/>
                    <a:gd name="connsiteY28" fmla="*/ 65286 h 91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8217" h="91660">
                      <a:moveTo>
                        <a:pt x="30829" y="91660"/>
                      </a:moveTo>
                      <a:cubicBezTo>
                        <a:pt x="30799" y="91660"/>
                        <a:pt x="30769" y="91660"/>
                        <a:pt x="30739" y="91660"/>
                      </a:cubicBezTo>
                      <a:cubicBezTo>
                        <a:pt x="25205" y="91634"/>
                        <a:pt x="20005" y="89366"/>
                        <a:pt x="16105" y="85270"/>
                      </a:cubicBezTo>
                      <a:lnTo>
                        <a:pt x="6010" y="74666"/>
                      </a:lnTo>
                      <a:lnTo>
                        <a:pt x="6010" y="74666"/>
                      </a:lnTo>
                      <a:cubicBezTo>
                        <a:pt x="2110" y="70573"/>
                        <a:pt x="-27" y="65138"/>
                        <a:pt x="0" y="59366"/>
                      </a:cubicBezTo>
                      <a:cubicBezTo>
                        <a:pt x="24" y="53598"/>
                        <a:pt x="2201" y="48187"/>
                        <a:pt x="6137" y="44124"/>
                      </a:cubicBezTo>
                      <a:lnTo>
                        <a:pt x="42791" y="6266"/>
                      </a:lnTo>
                      <a:cubicBezTo>
                        <a:pt x="46724" y="2203"/>
                        <a:pt x="52111" y="-81"/>
                        <a:pt x="57475" y="2"/>
                      </a:cubicBezTo>
                      <a:cubicBezTo>
                        <a:pt x="63013" y="29"/>
                        <a:pt x="68213" y="2300"/>
                        <a:pt x="72112" y="6393"/>
                      </a:cubicBezTo>
                      <a:lnTo>
                        <a:pt x="82205" y="16997"/>
                      </a:lnTo>
                      <a:cubicBezTo>
                        <a:pt x="86104" y="21090"/>
                        <a:pt x="88241" y="26524"/>
                        <a:pt x="88217" y="32296"/>
                      </a:cubicBezTo>
                      <a:cubicBezTo>
                        <a:pt x="88194" y="38061"/>
                        <a:pt x="86017" y="43479"/>
                        <a:pt x="82081" y="47538"/>
                      </a:cubicBezTo>
                      <a:lnTo>
                        <a:pt x="45426" y="85397"/>
                      </a:lnTo>
                      <a:cubicBezTo>
                        <a:pt x="41510" y="89437"/>
                        <a:pt x="36334" y="91660"/>
                        <a:pt x="30829" y="91660"/>
                      </a:cubicBezTo>
                      <a:close/>
                      <a:moveTo>
                        <a:pt x="15085" y="65286"/>
                      </a:moveTo>
                      <a:lnTo>
                        <a:pt x="25181" y="75890"/>
                      </a:lnTo>
                      <a:cubicBezTo>
                        <a:pt x="28271" y="79137"/>
                        <a:pt x="33307" y="79150"/>
                        <a:pt x="36417" y="75940"/>
                      </a:cubicBezTo>
                      <a:lnTo>
                        <a:pt x="73072" y="38081"/>
                      </a:lnTo>
                      <a:cubicBezTo>
                        <a:pt x="74580" y="36523"/>
                        <a:pt x="75413" y="34450"/>
                        <a:pt x="75423" y="32239"/>
                      </a:cubicBezTo>
                      <a:cubicBezTo>
                        <a:pt x="75430" y="30029"/>
                        <a:pt x="74610" y="27945"/>
                        <a:pt x="73119" y="26377"/>
                      </a:cubicBezTo>
                      <a:lnTo>
                        <a:pt x="63023" y="15773"/>
                      </a:lnTo>
                      <a:cubicBezTo>
                        <a:pt x="61528" y="14201"/>
                        <a:pt x="59538" y="13335"/>
                        <a:pt x="57418" y="13325"/>
                      </a:cubicBezTo>
                      <a:cubicBezTo>
                        <a:pt x="57405" y="13325"/>
                        <a:pt x="57395" y="13325"/>
                        <a:pt x="57385" y="13325"/>
                      </a:cubicBezTo>
                      <a:cubicBezTo>
                        <a:pt x="55275" y="13325"/>
                        <a:pt x="53288" y="14178"/>
                        <a:pt x="51790" y="15726"/>
                      </a:cubicBezTo>
                      <a:lnTo>
                        <a:pt x="15136" y="53585"/>
                      </a:lnTo>
                      <a:cubicBezTo>
                        <a:pt x="13627" y="55143"/>
                        <a:pt x="12795" y="57216"/>
                        <a:pt x="12785" y="59430"/>
                      </a:cubicBezTo>
                      <a:cubicBezTo>
                        <a:pt x="12775" y="61634"/>
                        <a:pt x="13594" y="63717"/>
                        <a:pt x="15085" y="65286"/>
                      </a:cubicBezTo>
                      <a:lnTo>
                        <a:pt x="15085" y="65286"/>
                      </a:lnTo>
                      <a:close/>
                    </a:path>
                  </a:pathLst>
                </a:custGeom>
                <a:solidFill>
                  <a:schemeClr val="accent1"/>
                </a:solidFill>
                <a:ln w="334" cap="flat">
                  <a:noFill/>
                  <a:prstDash val="solid"/>
                  <a:miter/>
                </a:ln>
              </p:spPr>
              <p:txBody>
                <a:bodyPr rtlCol="0" anchor="ctr"/>
                <a:lstStyle/>
                <a:p>
                  <a:endParaRPr lang="en-GB" dirty="0"/>
                </a:p>
              </p:txBody>
            </p:sp>
            <p:sp>
              <p:nvSpPr>
                <p:cNvPr id="319" name="Freeform: Shape 790">
                  <a:extLst>
                    <a:ext uri="{FF2B5EF4-FFF2-40B4-BE49-F238E27FC236}">
                      <a16:creationId xmlns:a16="http://schemas.microsoft.com/office/drawing/2014/main" id="{F5E41559-64A7-4CA9-8C17-CA2D1A549832}"/>
                    </a:ext>
                  </a:extLst>
                </p:cNvPr>
                <p:cNvSpPr/>
                <p:nvPr/>
              </p:nvSpPr>
              <p:spPr>
                <a:xfrm>
                  <a:off x="1235625" y="2545927"/>
                  <a:ext cx="98360" cy="102218"/>
                </a:xfrm>
                <a:custGeom>
                  <a:avLst/>
                  <a:gdLst>
                    <a:gd name="connsiteX0" fmla="*/ 34869 w 98360"/>
                    <a:gd name="connsiteY0" fmla="*/ 102219 h 102218"/>
                    <a:gd name="connsiteX1" fmla="*/ 34779 w 98360"/>
                    <a:gd name="connsiteY1" fmla="*/ 102216 h 102218"/>
                    <a:gd name="connsiteX2" fmla="*/ 20142 w 98360"/>
                    <a:gd name="connsiteY2" fmla="*/ 95825 h 102218"/>
                    <a:gd name="connsiteX3" fmla="*/ 6009 w 98360"/>
                    <a:gd name="connsiteY3" fmla="*/ 80977 h 102218"/>
                    <a:gd name="connsiteX4" fmla="*/ 2033 w 98360"/>
                    <a:gd name="connsiteY4" fmla="*/ 56425 h 102218"/>
                    <a:gd name="connsiteX5" fmla="*/ 10564 w 98360"/>
                    <a:gd name="connsiteY5" fmla="*/ 53302 h 102218"/>
                    <a:gd name="connsiteX6" fmla="*/ 13560 w 98360"/>
                    <a:gd name="connsiteY6" fmla="*/ 62187 h 102218"/>
                    <a:gd name="connsiteX7" fmla="*/ 15089 w 98360"/>
                    <a:gd name="connsiteY7" fmla="*/ 71597 h 102218"/>
                    <a:gd name="connsiteX8" fmla="*/ 29224 w 98360"/>
                    <a:gd name="connsiteY8" fmla="*/ 86445 h 102218"/>
                    <a:gd name="connsiteX9" fmla="*/ 34836 w 98360"/>
                    <a:gd name="connsiteY9" fmla="*/ 88896 h 102218"/>
                    <a:gd name="connsiteX10" fmla="*/ 40460 w 98360"/>
                    <a:gd name="connsiteY10" fmla="*/ 86495 h 102218"/>
                    <a:gd name="connsiteX11" fmla="*/ 83221 w 98360"/>
                    <a:gd name="connsiteY11" fmla="*/ 42323 h 102218"/>
                    <a:gd name="connsiteX12" fmla="*/ 85572 w 98360"/>
                    <a:gd name="connsiteY12" fmla="*/ 36481 h 102218"/>
                    <a:gd name="connsiteX13" fmla="*/ 83271 w 98360"/>
                    <a:gd name="connsiteY13" fmla="*/ 30622 h 102218"/>
                    <a:gd name="connsiteX14" fmla="*/ 69136 w 98360"/>
                    <a:gd name="connsiteY14" fmla="*/ 15771 h 102218"/>
                    <a:gd name="connsiteX15" fmla="*/ 57900 w 98360"/>
                    <a:gd name="connsiteY15" fmla="*/ 15721 h 102218"/>
                    <a:gd name="connsiteX16" fmla="*/ 40213 w 98360"/>
                    <a:gd name="connsiteY16" fmla="*/ 33989 h 102218"/>
                    <a:gd name="connsiteX17" fmla="*/ 31170 w 98360"/>
                    <a:gd name="connsiteY17" fmla="*/ 33949 h 102218"/>
                    <a:gd name="connsiteX18" fmla="*/ 31207 w 98360"/>
                    <a:gd name="connsiteY18" fmla="*/ 24532 h 102218"/>
                    <a:gd name="connsiteX19" fmla="*/ 48894 w 98360"/>
                    <a:gd name="connsiteY19" fmla="*/ 6264 h 102218"/>
                    <a:gd name="connsiteX20" fmla="*/ 63491 w 98360"/>
                    <a:gd name="connsiteY20" fmla="*/ 0 h 102218"/>
                    <a:gd name="connsiteX21" fmla="*/ 63581 w 98360"/>
                    <a:gd name="connsiteY21" fmla="*/ 0 h 102218"/>
                    <a:gd name="connsiteX22" fmla="*/ 78215 w 98360"/>
                    <a:gd name="connsiteY22" fmla="*/ 6391 h 102218"/>
                    <a:gd name="connsiteX23" fmla="*/ 92351 w 98360"/>
                    <a:gd name="connsiteY23" fmla="*/ 21238 h 102218"/>
                    <a:gd name="connsiteX24" fmla="*/ 98360 w 98360"/>
                    <a:gd name="connsiteY24" fmla="*/ 36538 h 102218"/>
                    <a:gd name="connsiteX25" fmla="*/ 92224 w 98360"/>
                    <a:gd name="connsiteY25" fmla="*/ 51780 h 102218"/>
                    <a:gd name="connsiteX26" fmla="*/ 49463 w 98360"/>
                    <a:gd name="connsiteY26" fmla="*/ 95949 h 102218"/>
                    <a:gd name="connsiteX27" fmla="*/ 34869 w 98360"/>
                    <a:gd name="connsiteY27" fmla="*/ 102219 h 102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8360" h="102218">
                      <a:moveTo>
                        <a:pt x="34869" y="102219"/>
                      </a:moveTo>
                      <a:cubicBezTo>
                        <a:pt x="34839" y="102219"/>
                        <a:pt x="34809" y="102219"/>
                        <a:pt x="34779" y="102216"/>
                      </a:cubicBezTo>
                      <a:cubicBezTo>
                        <a:pt x="29241" y="102192"/>
                        <a:pt x="24041" y="99922"/>
                        <a:pt x="20142" y="95825"/>
                      </a:cubicBezTo>
                      <a:lnTo>
                        <a:pt x="6009" y="80977"/>
                      </a:lnTo>
                      <a:cubicBezTo>
                        <a:pt x="-154" y="74510"/>
                        <a:pt x="-1752" y="64638"/>
                        <a:pt x="2033" y="56425"/>
                      </a:cubicBezTo>
                      <a:cubicBezTo>
                        <a:pt x="3562" y="53104"/>
                        <a:pt x="7381" y="51703"/>
                        <a:pt x="10564" y="53302"/>
                      </a:cubicBezTo>
                      <a:cubicBezTo>
                        <a:pt x="13748" y="54893"/>
                        <a:pt x="15092" y="58873"/>
                        <a:pt x="13560" y="62187"/>
                      </a:cubicBezTo>
                      <a:cubicBezTo>
                        <a:pt x="12112" y="65334"/>
                        <a:pt x="12724" y="69116"/>
                        <a:pt x="15089" y="71597"/>
                      </a:cubicBezTo>
                      <a:lnTo>
                        <a:pt x="29224" y="86445"/>
                      </a:lnTo>
                      <a:cubicBezTo>
                        <a:pt x="30719" y="88017"/>
                        <a:pt x="32712" y="88886"/>
                        <a:pt x="34836" y="88896"/>
                      </a:cubicBezTo>
                      <a:cubicBezTo>
                        <a:pt x="36765" y="89137"/>
                        <a:pt x="38952" y="88053"/>
                        <a:pt x="40460" y="86495"/>
                      </a:cubicBezTo>
                      <a:lnTo>
                        <a:pt x="83221" y="42323"/>
                      </a:lnTo>
                      <a:cubicBezTo>
                        <a:pt x="84729" y="40765"/>
                        <a:pt x="85562" y="38695"/>
                        <a:pt x="85572" y="36481"/>
                      </a:cubicBezTo>
                      <a:cubicBezTo>
                        <a:pt x="85582" y="34274"/>
                        <a:pt x="84763" y="32190"/>
                        <a:pt x="83271" y="30622"/>
                      </a:cubicBezTo>
                      <a:lnTo>
                        <a:pt x="69136" y="15771"/>
                      </a:lnTo>
                      <a:cubicBezTo>
                        <a:pt x="66053" y="12530"/>
                        <a:pt x="61016" y="12517"/>
                        <a:pt x="57900" y="15721"/>
                      </a:cubicBezTo>
                      <a:lnTo>
                        <a:pt x="40213" y="33989"/>
                      </a:lnTo>
                      <a:cubicBezTo>
                        <a:pt x="37711" y="36584"/>
                        <a:pt x="33658" y="36564"/>
                        <a:pt x="31170" y="33949"/>
                      </a:cubicBezTo>
                      <a:cubicBezTo>
                        <a:pt x="28682" y="31338"/>
                        <a:pt x="28702" y="27121"/>
                        <a:pt x="31207" y="24532"/>
                      </a:cubicBezTo>
                      <a:lnTo>
                        <a:pt x="48894" y="6264"/>
                      </a:lnTo>
                      <a:cubicBezTo>
                        <a:pt x="52807" y="2224"/>
                        <a:pt x="57987" y="0"/>
                        <a:pt x="63491" y="0"/>
                      </a:cubicBezTo>
                      <a:cubicBezTo>
                        <a:pt x="63521" y="0"/>
                        <a:pt x="63551" y="0"/>
                        <a:pt x="63581" y="0"/>
                      </a:cubicBezTo>
                      <a:cubicBezTo>
                        <a:pt x="69116" y="27"/>
                        <a:pt x="74316" y="2294"/>
                        <a:pt x="78215" y="6391"/>
                      </a:cubicBezTo>
                      <a:lnTo>
                        <a:pt x="92351" y="21238"/>
                      </a:lnTo>
                      <a:cubicBezTo>
                        <a:pt x="96250" y="25332"/>
                        <a:pt x="98387" y="30766"/>
                        <a:pt x="98360" y="36538"/>
                      </a:cubicBezTo>
                      <a:cubicBezTo>
                        <a:pt x="98336" y="42306"/>
                        <a:pt x="96156" y="47720"/>
                        <a:pt x="92224" y="51780"/>
                      </a:cubicBezTo>
                      <a:lnTo>
                        <a:pt x="49463" y="95949"/>
                      </a:lnTo>
                      <a:cubicBezTo>
                        <a:pt x="45553" y="99995"/>
                        <a:pt x="40373" y="102216"/>
                        <a:pt x="34869" y="102219"/>
                      </a:cubicBezTo>
                      <a:close/>
                    </a:path>
                  </a:pathLst>
                </a:custGeom>
                <a:solidFill>
                  <a:schemeClr val="accent1"/>
                </a:solidFill>
                <a:ln w="334" cap="flat">
                  <a:noFill/>
                  <a:prstDash val="solid"/>
                  <a:miter/>
                </a:ln>
              </p:spPr>
              <p:txBody>
                <a:bodyPr rtlCol="0" anchor="ctr"/>
                <a:lstStyle/>
                <a:p>
                  <a:endParaRPr lang="en-GB" dirty="0"/>
                </a:p>
              </p:txBody>
            </p:sp>
            <p:sp>
              <p:nvSpPr>
                <p:cNvPr id="320" name="Freeform: Shape 791">
                  <a:extLst>
                    <a:ext uri="{FF2B5EF4-FFF2-40B4-BE49-F238E27FC236}">
                      <a16:creationId xmlns:a16="http://schemas.microsoft.com/office/drawing/2014/main" id="{6FB5FFAE-B905-4518-BB4D-13829EA81785}"/>
                    </a:ext>
                  </a:extLst>
                </p:cNvPr>
                <p:cNvSpPr/>
                <p:nvPr/>
              </p:nvSpPr>
              <p:spPr>
                <a:xfrm>
                  <a:off x="1228585" y="2503586"/>
                  <a:ext cx="77183" cy="82222"/>
                </a:xfrm>
                <a:custGeom>
                  <a:avLst/>
                  <a:gdLst>
                    <a:gd name="connsiteX0" fmla="*/ 38970 w 77183"/>
                    <a:gd name="connsiteY0" fmla="*/ 82222 h 82222"/>
                    <a:gd name="connsiteX1" fmla="*/ 34432 w 77183"/>
                    <a:gd name="connsiteY1" fmla="*/ 80256 h 82222"/>
                    <a:gd name="connsiteX2" fmla="*/ 34462 w 77183"/>
                    <a:gd name="connsiteY2" fmla="*/ 70839 h 82222"/>
                    <a:gd name="connsiteX3" fmla="*/ 62041 w 77183"/>
                    <a:gd name="connsiteY3" fmla="*/ 42304 h 82222"/>
                    <a:gd name="connsiteX4" fmla="*/ 64398 w 77183"/>
                    <a:gd name="connsiteY4" fmla="*/ 36459 h 82222"/>
                    <a:gd name="connsiteX5" fmla="*/ 62094 w 77183"/>
                    <a:gd name="connsiteY5" fmla="*/ 30600 h 82222"/>
                    <a:gd name="connsiteX6" fmla="*/ 47959 w 77183"/>
                    <a:gd name="connsiteY6" fmla="*/ 15752 h 82222"/>
                    <a:gd name="connsiteX7" fmla="*/ 36723 w 77183"/>
                    <a:gd name="connsiteY7" fmla="*/ 15702 h 82222"/>
                    <a:gd name="connsiteX8" fmla="*/ 10960 w 77183"/>
                    <a:gd name="connsiteY8" fmla="*/ 43070 h 82222"/>
                    <a:gd name="connsiteX9" fmla="*/ 1917 w 77183"/>
                    <a:gd name="connsiteY9" fmla="*/ 43160 h 82222"/>
                    <a:gd name="connsiteX10" fmla="*/ 1830 w 77183"/>
                    <a:gd name="connsiteY10" fmla="*/ 33743 h 82222"/>
                    <a:gd name="connsiteX11" fmla="*/ 27657 w 77183"/>
                    <a:gd name="connsiteY11" fmla="*/ 6312 h 82222"/>
                    <a:gd name="connsiteX12" fmla="*/ 57038 w 77183"/>
                    <a:gd name="connsiteY12" fmla="*/ 6372 h 82222"/>
                    <a:gd name="connsiteX13" fmla="*/ 71173 w 77183"/>
                    <a:gd name="connsiteY13" fmla="*/ 21220 h 82222"/>
                    <a:gd name="connsiteX14" fmla="*/ 77183 w 77183"/>
                    <a:gd name="connsiteY14" fmla="*/ 36519 h 82222"/>
                    <a:gd name="connsiteX15" fmla="*/ 71043 w 77183"/>
                    <a:gd name="connsiteY15" fmla="*/ 51761 h 82222"/>
                    <a:gd name="connsiteX16" fmla="*/ 43471 w 77183"/>
                    <a:gd name="connsiteY16" fmla="*/ 80290 h 82222"/>
                    <a:gd name="connsiteX17" fmla="*/ 38970 w 77183"/>
                    <a:gd name="connsiteY17" fmla="*/ 82222 h 82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183" h="82222">
                      <a:moveTo>
                        <a:pt x="38970" y="82222"/>
                      </a:moveTo>
                      <a:cubicBezTo>
                        <a:pt x="37328" y="82222"/>
                        <a:pt x="35683" y="81567"/>
                        <a:pt x="34432" y="80256"/>
                      </a:cubicBezTo>
                      <a:cubicBezTo>
                        <a:pt x="31944" y="77648"/>
                        <a:pt x="31957" y="73431"/>
                        <a:pt x="34462" y="70839"/>
                      </a:cubicBezTo>
                      <a:lnTo>
                        <a:pt x="62041" y="42304"/>
                      </a:lnTo>
                      <a:cubicBezTo>
                        <a:pt x="63552" y="40742"/>
                        <a:pt x="64388" y="38672"/>
                        <a:pt x="64398" y="36459"/>
                      </a:cubicBezTo>
                      <a:cubicBezTo>
                        <a:pt x="64405" y="34251"/>
                        <a:pt x="63586" y="32168"/>
                        <a:pt x="62094" y="30600"/>
                      </a:cubicBezTo>
                      <a:lnTo>
                        <a:pt x="47959" y="15752"/>
                      </a:lnTo>
                      <a:cubicBezTo>
                        <a:pt x="44876" y="12512"/>
                        <a:pt x="39839" y="12498"/>
                        <a:pt x="36723" y="15702"/>
                      </a:cubicBezTo>
                      <a:lnTo>
                        <a:pt x="10960" y="43070"/>
                      </a:lnTo>
                      <a:cubicBezTo>
                        <a:pt x="8488" y="45702"/>
                        <a:pt x="4442" y="45732"/>
                        <a:pt x="1917" y="43160"/>
                      </a:cubicBezTo>
                      <a:cubicBezTo>
                        <a:pt x="-604" y="40585"/>
                        <a:pt x="-644" y="36368"/>
                        <a:pt x="1830" y="33743"/>
                      </a:cubicBezTo>
                      <a:lnTo>
                        <a:pt x="27657" y="6312"/>
                      </a:lnTo>
                      <a:cubicBezTo>
                        <a:pt x="35833" y="-2142"/>
                        <a:pt x="48989" y="-2085"/>
                        <a:pt x="57038" y="6372"/>
                      </a:cubicBezTo>
                      <a:lnTo>
                        <a:pt x="71173" y="21220"/>
                      </a:lnTo>
                      <a:cubicBezTo>
                        <a:pt x="75073" y="25313"/>
                        <a:pt x="77210" y="30747"/>
                        <a:pt x="77183" y="36519"/>
                      </a:cubicBezTo>
                      <a:cubicBezTo>
                        <a:pt x="77159" y="42287"/>
                        <a:pt x="74982" y="47701"/>
                        <a:pt x="71043" y="51761"/>
                      </a:cubicBezTo>
                      <a:lnTo>
                        <a:pt x="43471" y="80290"/>
                      </a:lnTo>
                      <a:cubicBezTo>
                        <a:pt x="42230" y="81580"/>
                        <a:pt x="40598" y="82222"/>
                        <a:pt x="38970" y="82222"/>
                      </a:cubicBezTo>
                      <a:close/>
                    </a:path>
                  </a:pathLst>
                </a:custGeom>
                <a:solidFill>
                  <a:schemeClr val="accent1"/>
                </a:solidFill>
                <a:ln w="334" cap="flat">
                  <a:noFill/>
                  <a:prstDash val="solid"/>
                  <a:miter/>
                </a:ln>
              </p:spPr>
              <p:txBody>
                <a:bodyPr rtlCol="0" anchor="ctr"/>
                <a:lstStyle/>
                <a:p>
                  <a:endParaRPr lang="en-GB" dirty="0"/>
                </a:p>
              </p:txBody>
            </p:sp>
            <p:sp>
              <p:nvSpPr>
                <p:cNvPr id="321" name="Freeform: Shape 792">
                  <a:extLst>
                    <a:ext uri="{FF2B5EF4-FFF2-40B4-BE49-F238E27FC236}">
                      <a16:creationId xmlns:a16="http://schemas.microsoft.com/office/drawing/2014/main" id="{7AA8A9BF-5F57-4D59-B6BD-D97DF6206E62}"/>
                    </a:ext>
                  </a:extLst>
                </p:cNvPr>
                <p:cNvSpPr/>
                <p:nvPr/>
              </p:nvSpPr>
              <p:spPr>
                <a:xfrm>
                  <a:off x="1192766" y="2473822"/>
                  <a:ext cx="72555" cy="76325"/>
                </a:xfrm>
                <a:custGeom>
                  <a:avLst/>
                  <a:gdLst>
                    <a:gd name="connsiteX0" fmla="*/ 40408 w 72555"/>
                    <a:gd name="connsiteY0" fmla="*/ 76326 h 76325"/>
                    <a:gd name="connsiteX1" fmla="*/ 35907 w 72555"/>
                    <a:gd name="connsiteY1" fmla="*/ 74396 h 76325"/>
                    <a:gd name="connsiteX2" fmla="*/ 35867 w 72555"/>
                    <a:gd name="connsiteY2" fmla="*/ 64976 h 76325"/>
                    <a:gd name="connsiteX3" fmla="*/ 57389 w 72555"/>
                    <a:gd name="connsiteY3" fmla="*/ 42356 h 76325"/>
                    <a:gd name="connsiteX4" fmla="*/ 59780 w 72555"/>
                    <a:gd name="connsiteY4" fmla="*/ 36474 h 76325"/>
                    <a:gd name="connsiteX5" fmla="*/ 57480 w 72555"/>
                    <a:gd name="connsiteY5" fmla="*/ 30615 h 76325"/>
                    <a:gd name="connsiteX6" fmla="*/ 43344 w 72555"/>
                    <a:gd name="connsiteY6" fmla="*/ 15771 h 76325"/>
                    <a:gd name="connsiteX7" fmla="*/ 37733 w 72555"/>
                    <a:gd name="connsiteY7" fmla="*/ 13320 h 76325"/>
                    <a:gd name="connsiteX8" fmla="*/ 37699 w 72555"/>
                    <a:gd name="connsiteY8" fmla="*/ 13320 h 76325"/>
                    <a:gd name="connsiteX9" fmla="*/ 32108 w 72555"/>
                    <a:gd name="connsiteY9" fmla="*/ 15721 h 76325"/>
                    <a:gd name="connsiteX10" fmla="*/ 10926 w 72555"/>
                    <a:gd name="connsiteY10" fmla="*/ 37862 h 76325"/>
                    <a:gd name="connsiteX11" fmla="*/ 1881 w 72555"/>
                    <a:gd name="connsiteY11" fmla="*/ 37879 h 76325"/>
                    <a:gd name="connsiteX12" fmla="*/ 1864 w 72555"/>
                    <a:gd name="connsiteY12" fmla="*/ 28458 h 76325"/>
                    <a:gd name="connsiteX13" fmla="*/ 23072 w 72555"/>
                    <a:gd name="connsiteY13" fmla="*/ 6290 h 76325"/>
                    <a:gd name="connsiteX14" fmla="*/ 37696 w 72555"/>
                    <a:gd name="connsiteY14" fmla="*/ 0 h 76325"/>
                    <a:gd name="connsiteX15" fmla="*/ 37786 w 72555"/>
                    <a:gd name="connsiteY15" fmla="*/ 3 h 76325"/>
                    <a:gd name="connsiteX16" fmla="*/ 52423 w 72555"/>
                    <a:gd name="connsiteY16" fmla="*/ 6394 h 76325"/>
                    <a:gd name="connsiteX17" fmla="*/ 66555 w 72555"/>
                    <a:gd name="connsiteY17" fmla="*/ 21242 h 76325"/>
                    <a:gd name="connsiteX18" fmla="*/ 66432 w 72555"/>
                    <a:gd name="connsiteY18" fmla="*/ 51783 h 76325"/>
                    <a:gd name="connsiteX19" fmla="*/ 44949 w 72555"/>
                    <a:gd name="connsiteY19" fmla="*/ 74363 h 76325"/>
                    <a:gd name="connsiteX20" fmla="*/ 40408 w 72555"/>
                    <a:gd name="connsiteY20" fmla="*/ 76326 h 76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2555" h="76325">
                      <a:moveTo>
                        <a:pt x="40408" y="76326"/>
                      </a:moveTo>
                      <a:cubicBezTo>
                        <a:pt x="38783" y="76326"/>
                        <a:pt x="37154" y="75680"/>
                        <a:pt x="35907" y="74396"/>
                      </a:cubicBezTo>
                      <a:cubicBezTo>
                        <a:pt x="33399" y="71804"/>
                        <a:pt x="33382" y="67591"/>
                        <a:pt x="35867" y="64976"/>
                      </a:cubicBezTo>
                      <a:lnTo>
                        <a:pt x="57389" y="42356"/>
                      </a:lnTo>
                      <a:cubicBezTo>
                        <a:pt x="58938" y="40761"/>
                        <a:pt x="59770" y="38684"/>
                        <a:pt x="59780" y="36474"/>
                      </a:cubicBezTo>
                      <a:cubicBezTo>
                        <a:pt x="59790" y="34267"/>
                        <a:pt x="58971" y="32184"/>
                        <a:pt x="57480" y="30615"/>
                      </a:cubicBezTo>
                      <a:lnTo>
                        <a:pt x="43344" y="15771"/>
                      </a:lnTo>
                      <a:cubicBezTo>
                        <a:pt x="41849" y="14199"/>
                        <a:pt x="39856" y="13330"/>
                        <a:pt x="37733" y="13320"/>
                      </a:cubicBezTo>
                      <a:cubicBezTo>
                        <a:pt x="37723" y="13320"/>
                        <a:pt x="37709" y="13320"/>
                        <a:pt x="37699" y="13320"/>
                      </a:cubicBezTo>
                      <a:cubicBezTo>
                        <a:pt x="35592" y="13320"/>
                        <a:pt x="33606" y="14172"/>
                        <a:pt x="32108" y="15721"/>
                      </a:cubicBezTo>
                      <a:lnTo>
                        <a:pt x="10926" y="37862"/>
                      </a:lnTo>
                      <a:cubicBezTo>
                        <a:pt x="8425" y="40460"/>
                        <a:pt x="4382" y="40470"/>
                        <a:pt x="1881" y="37879"/>
                      </a:cubicBezTo>
                      <a:cubicBezTo>
                        <a:pt x="-621" y="35280"/>
                        <a:pt x="-627" y="31063"/>
                        <a:pt x="1864" y="28458"/>
                      </a:cubicBezTo>
                      <a:lnTo>
                        <a:pt x="23072" y="6290"/>
                      </a:lnTo>
                      <a:cubicBezTo>
                        <a:pt x="27012" y="2224"/>
                        <a:pt x="32191" y="0"/>
                        <a:pt x="37696" y="0"/>
                      </a:cubicBezTo>
                      <a:cubicBezTo>
                        <a:pt x="37726" y="0"/>
                        <a:pt x="37756" y="0"/>
                        <a:pt x="37786" y="3"/>
                      </a:cubicBezTo>
                      <a:cubicBezTo>
                        <a:pt x="43324" y="27"/>
                        <a:pt x="48524" y="2297"/>
                        <a:pt x="52423" y="6394"/>
                      </a:cubicBezTo>
                      <a:lnTo>
                        <a:pt x="66555" y="21242"/>
                      </a:lnTo>
                      <a:cubicBezTo>
                        <a:pt x="74605" y="29699"/>
                        <a:pt x="74548" y="43400"/>
                        <a:pt x="66432" y="51783"/>
                      </a:cubicBezTo>
                      <a:lnTo>
                        <a:pt x="44949" y="74363"/>
                      </a:lnTo>
                      <a:cubicBezTo>
                        <a:pt x="43699" y="75667"/>
                        <a:pt x="42053" y="76326"/>
                        <a:pt x="40408" y="76326"/>
                      </a:cubicBezTo>
                      <a:close/>
                    </a:path>
                  </a:pathLst>
                </a:custGeom>
                <a:solidFill>
                  <a:schemeClr val="accent1"/>
                </a:solidFill>
                <a:ln w="334" cap="flat">
                  <a:noFill/>
                  <a:prstDash val="solid"/>
                  <a:miter/>
                </a:ln>
              </p:spPr>
              <p:txBody>
                <a:bodyPr rtlCol="0" anchor="ctr"/>
                <a:lstStyle/>
                <a:p>
                  <a:endParaRPr lang="en-GB" dirty="0"/>
                </a:p>
              </p:txBody>
            </p:sp>
          </p:grpSp>
          <p:sp>
            <p:nvSpPr>
              <p:cNvPr id="313" name="Freeform: Shape 772">
                <a:extLst>
                  <a:ext uri="{FF2B5EF4-FFF2-40B4-BE49-F238E27FC236}">
                    <a16:creationId xmlns:a16="http://schemas.microsoft.com/office/drawing/2014/main" id="{02749A54-FE54-4A32-94CB-1CDA20ACE8C1}"/>
                  </a:ext>
                </a:extLst>
              </p:cNvPr>
              <p:cNvSpPr/>
              <p:nvPr/>
            </p:nvSpPr>
            <p:spPr>
              <a:xfrm>
                <a:off x="5608598" y="2560368"/>
                <a:ext cx="27105" cy="116028"/>
              </a:xfrm>
              <a:custGeom>
                <a:avLst/>
                <a:gdLst>
                  <a:gd name="connsiteX0" fmla="*/ 10977 w 27105"/>
                  <a:gd name="connsiteY0" fmla="*/ 116029 h 116028"/>
                  <a:gd name="connsiteX1" fmla="*/ 6994 w 27105"/>
                  <a:gd name="connsiteY1" fmla="*/ 114574 h 116028"/>
                  <a:gd name="connsiteX2" fmla="*/ 5984 w 27105"/>
                  <a:gd name="connsiteY2" fmla="*/ 105214 h 116028"/>
                  <a:gd name="connsiteX3" fmla="*/ 513 w 27105"/>
                  <a:gd name="connsiteY3" fmla="*/ 9265 h 116028"/>
                  <a:gd name="connsiteX4" fmla="*/ 3891 w 27105"/>
                  <a:gd name="connsiteY4" fmla="*/ 531 h 116028"/>
                  <a:gd name="connsiteX5" fmla="*/ 12277 w 27105"/>
                  <a:gd name="connsiteY5" fmla="*/ 4045 h 116028"/>
                  <a:gd name="connsiteX6" fmla="*/ 15979 w 27105"/>
                  <a:gd name="connsiteY6" fmla="*/ 113521 h 116028"/>
                  <a:gd name="connsiteX7" fmla="*/ 10977 w 27105"/>
                  <a:gd name="connsiteY7" fmla="*/ 116029 h 116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05" h="116028">
                    <a:moveTo>
                      <a:pt x="10977" y="116029"/>
                    </a:moveTo>
                    <a:cubicBezTo>
                      <a:pt x="9579" y="116029"/>
                      <a:pt x="8171" y="115554"/>
                      <a:pt x="6994" y="114574"/>
                    </a:cubicBezTo>
                    <a:cubicBezTo>
                      <a:pt x="4235" y="112277"/>
                      <a:pt x="3780" y="108090"/>
                      <a:pt x="5984" y="105214"/>
                    </a:cubicBezTo>
                    <a:cubicBezTo>
                      <a:pt x="27717" y="76846"/>
                      <a:pt x="787" y="9938"/>
                      <a:pt x="513" y="9265"/>
                    </a:cubicBezTo>
                    <a:cubicBezTo>
                      <a:pt x="-871" y="5884"/>
                      <a:pt x="643" y="1972"/>
                      <a:pt x="3891" y="531"/>
                    </a:cubicBezTo>
                    <a:cubicBezTo>
                      <a:pt x="7148" y="-904"/>
                      <a:pt x="10896" y="671"/>
                      <a:pt x="12277" y="4045"/>
                    </a:cubicBezTo>
                    <a:cubicBezTo>
                      <a:pt x="13525" y="7088"/>
                      <a:pt x="42458" y="78956"/>
                      <a:pt x="15979" y="113521"/>
                    </a:cubicBezTo>
                    <a:cubicBezTo>
                      <a:pt x="14715" y="115169"/>
                      <a:pt x="12853" y="116029"/>
                      <a:pt x="10977" y="116029"/>
                    </a:cubicBezTo>
                    <a:close/>
                  </a:path>
                </a:pathLst>
              </a:custGeom>
              <a:solidFill>
                <a:schemeClr val="accent1"/>
              </a:solidFill>
              <a:ln w="334" cap="flat">
                <a:noFill/>
                <a:prstDash val="solid"/>
                <a:miter/>
              </a:ln>
            </p:spPr>
            <p:txBody>
              <a:bodyPr rtlCol="0" anchor="ctr"/>
              <a:lstStyle/>
              <a:p>
                <a:endParaRPr lang="en-GB" dirty="0"/>
              </a:p>
            </p:txBody>
          </p:sp>
          <p:sp>
            <p:nvSpPr>
              <p:cNvPr id="314" name="Freeform: Shape 773">
                <a:extLst>
                  <a:ext uri="{FF2B5EF4-FFF2-40B4-BE49-F238E27FC236}">
                    <a16:creationId xmlns:a16="http://schemas.microsoft.com/office/drawing/2014/main" id="{906873EB-3B98-404B-8315-6F7928C1E9D2}"/>
                  </a:ext>
                </a:extLst>
              </p:cNvPr>
              <p:cNvSpPr/>
              <p:nvPr/>
            </p:nvSpPr>
            <p:spPr>
              <a:xfrm>
                <a:off x="5468085" y="2748260"/>
                <a:ext cx="59678" cy="62449"/>
              </a:xfrm>
              <a:custGeom>
                <a:avLst/>
                <a:gdLst>
                  <a:gd name="connsiteX0" fmla="*/ 6393 w 59678"/>
                  <a:gd name="connsiteY0" fmla="*/ 62449 h 62449"/>
                  <a:gd name="connsiteX1" fmla="*/ 1885 w 59678"/>
                  <a:gd name="connsiteY1" fmla="*/ 60510 h 62449"/>
                  <a:gd name="connsiteX2" fmla="*/ 1862 w 59678"/>
                  <a:gd name="connsiteY2" fmla="*/ 51093 h 62449"/>
                  <a:gd name="connsiteX3" fmla="*/ 48749 w 59678"/>
                  <a:gd name="connsiteY3" fmla="*/ 1965 h 62449"/>
                  <a:gd name="connsiteX4" fmla="*/ 57792 w 59678"/>
                  <a:gd name="connsiteY4" fmla="*/ 1938 h 62449"/>
                  <a:gd name="connsiteX5" fmla="*/ 57815 w 59678"/>
                  <a:gd name="connsiteY5" fmla="*/ 11355 h 62449"/>
                  <a:gd name="connsiteX6" fmla="*/ 10928 w 59678"/>
                  <a:gd name="connsiteY6" fmla="*/ 60483 h 62449"/>
                  <a:gd name="connsiteX7" fmla="*/ 6393 w 59678"/>
                  <a:gd name="connsiteY7" fmla="*/ 62449 h 6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678" h="62449">
                    <a:moveTo>
                      <a:pt x="6393" y="62449"/>
                    </a:moveTo>
                    <a:cubicBezTo>
                      <a:pt x="4765" y="62449"/>
                      <a:pt x="3133" y="61804"/>
                      <a:pt x="1885" y="60510"/>
                    </a:cubicBezTo>
                    <a:cubicBezTo>
                      <a:pt x="-619" y="57918"/>
                      <a:pt x="-630" y="53701"/>
                      <a:pt x="1862" y="51093"/>
                    </a:cubicBezTo>
                    <a:lnTo>
                      <a:pt x="48749" y="1965"/>
                    </a:lnTo>
                    <a:cubicBezTo>
                      <a:pt x="51241" y="-644"/>
                      <a:pt x="55287" y="-657"/>
                      <a:pt x="57792" y="1938"/>
                    </a:cubicBezTo>
                    <a:cubicBezTo>
                      <a:pt x="60297" y="4530"/>
                      <a:pt x="60310" y="8747"/>
                      <a:pt x="57815" y="11355"/>
                    </a:cubicBezTo>
                    <a:lnTo>
                      <a:pt x="10928" y="60483"/>
                    </a:lnTo>
                    <a:cubicBezTo>
                      <a:pt x="9677" y="61797"/>
                      <a:pt x="8035" y="62449"/>
                      <a:pt x="6393" y="62449"/>
                    </a:cubicBezTo>
                    <a:close/>
                  </a:path>
                </a:pathLst>
              </a:custGeom>
              <a:solidFill>
                <a:schemeClr val="accent1"/>
              </a:solidFill>
              <a:ln w="334" cap="flat">
                <a:noFill/>
                <a:prstDash val="solid"/>
                <a:miter/>
              </a:ln>
            </p:spPr>
            <p:txBody>
              <a:bodyPr rtlCol="0" anchor="ctr"/>
              <a:lstStyle/>
              <a:p>
                <a:endParaRPr lang="en-GB" dirty="0"/>
              </a:p>
            </p:txBody>
          </p:sp>
          <p:sp>
            <p:nvSpPr>
              <p:cNvPr id="315" name="Freeform: Shape 774">
                <a:extLst>
                  <a:ext uri="{FF2B5EF4-FFF2-40B4-BE49-F238E27FC236}">
                    <a16:creationId xmlns:a16="http://schemas.microsoft.com/office/drawing/2014/main" id="{3C0F110C-FF97-4954-A74B-FF04E40D8AEC}"/>
                  </a:ext>
                </a:extLst>
              </p:cNvPr>
              <p:cNvSpPr/>
              <p:nvPr/>
            </p:nvSpPr>
            <p:spPr>
              <a:xfrm>
                <a:off x="5522188" y="2766078"/>
                <a:ext cx="39366" cy="41403"/>
              </a:xfrm>
              <a:custGeom>
                <a:avLst/>
                <a:gdLst>
                  <a:gd name="connsiteX0" fmla="*/ 6397 w 39366"/>
                  <a:gd name="connsiteY0" fmla="*/ 41404 h 41403"/>
                  <a:gd name="connsiteX1" fmla="*/ 1906 w 39366"/>
                  <a:gd name="connsiteY1" fmla="*/ 39488 h 41403"/>
                  <a:gd name="connsiteX2" fmla="*/ 1839 w 39366"/>
                  <a:gd name="connsiteY2" fmla="*/ 30067 h 41403"/>
                  <a:gd name="connsiteX3" fmla="*/ 28415 w 39366"/>
                  <a:gd name="connsiteY3" fmla="*/ 1984 h 41403"/>
                  <a:gd name="connsiteX4" fmla="*/ 37460 w 39366"/>
                  <a:gd name="connsiteY4" fmla="*/ 1917 h 41403"/>
                  <a:gd name="connsiteX5" fmla="*/ 37527 w 39366"/>
                  <a:gd name="connsiteY5" fmla="*/ 11337 h 41403"/>
                  <a:gd name="connsiteX6" fmla="*/ 10952 w 39366"/>
                  <a:gd name="connsiteY6" fmla="*/ 39421 h 41403"/>
                  <a:gd name="connsiteX7" fmla="*/ 6397 w 39366"/>
                  <a:gd name="connsiteY7" fmla="*/ 41404 h 4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366" h="41403">
                    <a:moveTo>
                      <a:pt x="6397" y="41404"/>
                    </a:moveTo>
                    <a:cubicBezTo>
                      <a:pt x="4775" y="41404"/>
                      <a:pt x="3153" y="40765"/>
                      <a:pt x="1906" y="39488"/>
                    </a:cubicBezTo>
                    <a:cubicBezTo>
                      <a:pt x="-609" y="36903"/>
                      <a:pt x="-639" y="32686"/>
                      <a:pt x="1839" y="30067"/>
                    </a:cubicBezTo>
                    <a:lnTo>
                      <a:pt x="28415" y="1984"/>
                    </a:lnTo>
                    <a:cubicBezTo>
                      <a:pt x="30892" y="-631"/>
                      <a:pt x="34942" y="-668"/>
                      <a:pt x="37460" y="1917"/>
                    </a:cubicBezTo>
                    <a:cubicBezTo>
                      <a:pt x="39975" y="4502"/>
                      <a:pt x="40005" y="8719"/>
                      <a:pt x="37527" y="11337"/>
                    </a:cubicBezTo>
                    <a:lnTo>
                      <a:pt x="10952" y="39421"/>
                    </a:lnTo>
                    <a:cubicBezTo>
                      <a:pt x="9701" y="40742"/>
                      <a:pt x="8049" y="41404"/>
                      <a:pt x="6397" y="41404"/>
                    </a:cubicBezTo>
                    <a:close/>
                  </a:path>
                </a:pathLst>
              </a:custGeom>
              <a:solidFill>
                <a:schemeClr val="accent1"/>
              </a:solidFill>
              <a:ln w="334" cap="flat">
                <a:noFill/>
                <a:prstDash val="solid"/>
                <a:miter/>
              </a:ln>
            </p:spPr>
            <p:txBody>
              <a:bodyPr rtlCol="0" anchor="ctr"/>
              <a:lstStyle/>
              <a:p>
                <a:endParaRPr lang="en-GB" dirty="0"/>
              </a:p>
            </p:txBody>
          </p:sp>
          <p:sp>
            <p:nvSpPr>
              <p:cNvPr id="316" name="Freeform: Shape 775">
                <a:extLst>
                  <a:ext uri="{FF2B5EF4-FFF2-40B4-BE49-F238E27FC236}">
                    <a16:creationId xmlns:a16="http://schemas.microsoft.com/office/drawing/2014/main" id="{6D4907CC-062E-4909-92A3-3323A1B3D760}"/>
                  </a:ext>
                </a:extLst>
              </p:cNvPr>
              <p:cNvSpPr/>
              <p:nvPr/>
            </p:nvSpPr>
            <p:spPr>
              <a:xfrm>
                <a:off x="5468083" y="2744969"/>
                <a:ext cx="21176" cy="22059"/>
              </a:xfrm>
              <a:custGeom>
                <a:avLst/>
                <a:gdLst>
                  <a:gd name="connsiteX0" fmla="*/ 6395 w 21176"/>
                  <a:gd name="connsiteY0" fmla="*/ 22059 h 22059"/>
                  <a:gd name="connsiteX1" fmla="*/ 1874 w 21176"/>
                  <a:gd name="connsiteY1" fmla="*/ 20106 h 22059"/>
                  <a:gd name="connsiteX2" fmla="*/ 1874 w 21176"/>
                  <a:gd name="connsiteY2" fmla="*/ 10689 h 22059"/>
                  <a:gd name="connsiteX3" fmla="*/ 10261 w 21176"/>
                  <a:gd name="connsiteY3" fmla="*/ 1951 h 22059"/>
                  <a:gd name="connsiteX4" fmla="*/ 19303 w 21176"/>
                  <a:gd name="connsiteY4" fmla="*/ 1951 h 22059"/>
                  <a:gd name="connsiteX5" fmla="*/ 19303 w 21176"/>
                  <a:gd name="connsiteY5" fmla="*/ 11368 h 22059"/>
                  <a:gd name="connsiteX6" fmla="*/ 10916 w 21176"/>
                  <a:gd name="connsiteY6" fmla="*/ 20106 h 22059"/>
                  <a:gd name="connsiteX7" fmla="*/ 6395 w 21176"/>
                  <a:gd name="connsiteY7" fmla="*/ 22059 h 22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176" h="22059">
                    <a:moveTo>
                      <a:pt x="6395" y="22059"/>
                    </a:moveTo>
                    <a:cubicBezTo>
                      <a:pt x="4759" y="22059"/>
                      <a:pt x="3124" y="21407"/>
                      <a:pt x="1874" y="20106"/>
                    </a:cubicBezTo>
                    <a:cubicBezTo>
                      <a:pt x="-625" y="17508"/>
                      <a:pt x="-625" y="13291"/>
                      <a:pt x="1874" y="10689"/>
                    </a:cubicBezTo>
                    <a:lnTo>
                      <a:pt x="10261" y="1951"/>
                    </a:lnTo>
                    <a:cubicBezTo>
                      <a:pt x="12752" y="-650"/>
                      <a:pt x="16805" y="-650"/>
                      <a:pt x="19303" y="1951"/>
                    </a:cubicBezTo>
                    <a:cubicBezTo>
                      <a:pt x="21801" y="4550"/>
                      <a:pt x="21801" y="8767"/>
                      <a:pt x="19303" y="11368"/>
                    </a:cubicBezTo>
                    <a:lnTo>
                      <a:pt x="10916" y="20106"/>
                    </a:lnTo>
                    <a:cubicBezTo>
                      <a:pt x="9669" y="21411"/>
                      <a:pt x="8030" y="22059"/>
                      <a:pt x="6395" y="22059"/>
                    </a:cubicBezTo>
                    <a:close/>
                  </a:path>
                </a:pathLst>
              </a:custGeom>
              <a:solidFill>
                <a:schemeClr val="accent1"/>
              </a:solidFill>
              <a:ln w="334" cap="flat">
                <a:noFill/>
                <a:prstDash val="solid"/>
                <a:miter/>
              </a:ln>
            </p:spPr>
            <p:txBody>
              <a:bodyPr rtlCol="0" anchor="ctr"/>
              <a:lstStyle/>
              <a:p>
                <a:endParaRPr lang="en-GB" dirty="0"/>
              </a:p>
            </p:txBody>
          </p:sp>
          <p:sp>
            <p:nvSpPr>
              <p:cNvPr id="317" name="Freeform: Shape 778">
                <a:extLst>
                  <a:ext uri="{FF2B5EF4-FFF2-40B4-BE49-F238E27FC236}">
                    <a16:creationId xmlns:a16="http://schemas.microsoft.com/office/drawing/2014/main" id="{79F2496A-1E89-483F-902A-A0261EA1712A}"/>
                  </a:ext>
                </a:extLst>
              </p:cNvPr>
              <p:cNvSpPr/>
              <p:nvPr/>
            </p:nvSpPr>
            <p:spPr>
              <a:xfrm>
                <a:off x="5557731" y="2668577"/>
                <a:ext cx="168483" cy="163206"/>
              </a:xfrm>
              <a:custGeom>
                <a:avLst/>
                <a:gdLst>
                  <a:gd name="connsiteX0" fmla="*/ 6395 w 168483"/>
                  <a:gd name="connsiteY0" fmla="*/ 163207 h 163206"/>
                  <a:gd name="connsiteX1" fmla="*/ 1874 w 168483"/>
                  <a:gd name="connsiteY1" fmla="*/ 161254 h 163206"/>
                  <a:gd name="connsiteX2" fmla="*/ 1874 w 168483"/>
                  <a:gd name="connsiteY2" fmla="*/ 151837 h 163206"/>
                  <a:gd name="connsiteX3" fmla="*/ 30452 w 168483"/>
                  <a:gd name="connsiteY3" fmla="*/ 122068 h 163206"/>
                  <a:gd name="connsiteX4" fmla="*/ 29951 w 168483"/>
                  <a:gd name="connsiteY4" fmla="*/ 94469 h 163206"/>
                  <a:gd name="connsiteX5" fmla="*/ 31830 w 168483"/>
                  <a:gd name="connsiteY5" fmla="*/ 89623 h 163206"/>
                  <a:gd name="connsiteX6" fmla="*/ 68896 w 168483"/>
                  <a:gd name="connsiteY6" fmla="*/ 51150 h 163206"/>
                  <a:gd name="connsiteX7" fmla="*/ 72648 w 168483"/>
                  <a:gd name="connsiteY7" fmla="*/ 49257 h 163206"/>
                  <a:gd name="connsiteX8" fmla="*/ 117529 w 168483"/>
                  <a:gd name="connsiteY8" fmla="*/ 43655 h 163206"/>
                  <a:gd name="connsiteX9" fmla="*/ 157568 w 168483"/>
                  <a:gd name="connsiteY9" fmla="*/ 1951 h 163206"/>
                  <a:gd name="connsiteX10" fmla="*/ 166610 w 168483"/>
                  <a:gd name="connsiteY10" fmla="*/ 1951 h 163206"/>
                  <a:gd name="connsiteX11" fmla="*/ 166610 w 168483"/>
                  <a:gd name="connsiteY11" fmla="*/ 11368 h 163206"/>
                  <a:gd name="connsiteX12" fmla="*/ 125006 w 168483"/>
                  <a:gd name="connsiteY12" fmla="*/ 54704 h 163206"/>
                  <a:gd name="connsiteX13" fmla="*/ 121248 w 168483"/>
                  <a:gd name="connsiteY13" fmla="*/ 56607 h 163206"/>
                  <a:gd name="connsiteX14" fmla="*/ 76360 w 168483"/>
                  <a:gd name="connsiteY14" fmla="*/ 62208 h 163206"/>
                  <a:gd name="connsiteX15" fmla="*/ 42788 w 168483"/>
                  <a:gd name="connsiteY15" fmla="*/ 97054 h 163206"/>
                  <a:gd name="connsiteX16" fmla="*/ 43290 w 168483"/>
                  <a:gd name="connsiteY16" fmla="*/ 124646 h 163206"/>
                  <a:gd name="connsiteX17" fmla="*/ 41417 w 168483"/>
                  <a:gd name="connsiteY17" fmla="*/ 129482 h 163206"/>
                  <a:gd name="connsiteX18" fmla="*/ 10913 w 168483"/>
                  <a:gd name="connsiteY18" fmla="*/ 161254 h 163206"/>
                  <a:gd name="connsiteX19" fmla="*/ 6395 w 168483"/>
                  <a:gd name="connsiteY19" fmla="*/ 163207 h 163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8483" h="163206">
                    <a:moveTo>
                      <a:pt x="6395" y="163207"/>
                    </a:moveTo>
                    <a:cubicBezTo>
                      <a:pt x="4759" y="163207"/>
                      <a:pt x="3124" y="162555"/>
                      <a:pt x="1874" y="161254"/>
                    </a:cubicBezTo>
                    <a:cubicBezTo>
                      <a:pt x="-625" y="158652"/>
                      <a:pt x="-625" y="154439"/>
                      <a:pt x="1874" y="151837"/>
                    </a:cubicBezTo>
                    <a:lnTo>
                      <a:pt x="30452" y="122068"/>
                    </a:lnTo>
                    <a:lnTo>
                      <a:pt x="29951" y="94469"/>
                    </a:lnTo>
                    <a:cubicBezTo>
                      <a:pt x="29920" y="92653"/>
                      <a:pt x="30596" y="90904"/>
                      <a:pt x="31830" y="89623"/>
                    </a:cubicBezTo>
                    <a:lnTo>
                      <a:pt x="68896" y="51150"/>
                    </a:lnTo>
                    <a:cubicBezTo>
                      <a:pt x="69909" y="50100"/>
                      <a:pt x="71230" y="49434"/>
                      <a:pt x="72648" y="49257"/>
                    </a:cubicBezTo>
                    <a:lnTo>
                      <a:pt x="117529" y="43655"/>
                    </a:lnTo>
                    <a:lnTo>
                      <a:pt x="157568" y="1951"/>
                    </a:lnTo>
                    <a:cubicBezTo>
                      <a:pt x="160066" y="-650"/>
                      <a:pt x="164112" y="-650"/>
                      <a:pt x="166610" y="1951"/>
                    </a:cubicBezTo>
                    <a:cubicBezTo>
                      <a:pt x="169108" y="4553"/>
                      <a:pt x="169108" y="8767"/>
                      <a:pt x="166610" y="11368"/>
                    </a:cubicBezTo>
                    <a:lnTo>
                      <a:pt x="125006" y="54704"/>
                    </a:lnTo>
                    <a:cubicBezTo>
                      <a:pt x="123996" y="55761"/>
                      <a:pt x="122669" y="56430"/>
                      <a:pt x="121248" y="56607"/>
                    </a:cubicBezTo>
                    <a:lnTo>
                      <a:pt x="76360" y="62208"/>
                    </a:lnTo>
                    <a:lnTo>
                      <a:pt x="42788" y="97054"/>
                    </a:lnTo>
                    <a:lnTo>
                      <a:pt x="43290" y="124646"/>
                    </a:lnTo>
                    <a:cubicBezTo>
                      <a:pt x="43320" y="126459"/>
                      <a:pt x="42648" y="128204"/>
                      <a:pt x="41417" y="129482"/>
                    </a:cubicBezTo>
                    <a:lnTo>
                      <a:pt x="10913" y="161254"/>
                    </a:lnTo>
                    <a:cubicBezTo>
                      <a:pt x="9665" y="162558"/>
                      <a:pt x="8030" y="163207"/>
                      <a:pt x="6395" y="163207"/>
                    </a:cubicBezTo>
                    <a:close/>
                  </a:path>
                </a:pathLst>
              </a:custGeom>
              <a:solidFill>
                <a:schemeClr val="accent1"/>
              </a:solidFill>
              <a:ln w="334" cap="flat">
                <a:noFill/>
                <a:prstDash val="solid"/>
                <a:miter/>
              </a:ln>
            </p:spPr>
            <p:txBody>
              <a:bodyPr rtlCol="0" anchor="ctr"/>
              <a:lstStyle/>
              <a:p>
                <a:endParaRPr lang="en-GB" dirty="0"/>
              </a:p>
            </p:txBody>
          </p:sp>
        </p:grpSp>
        <p:grpSp>
          <p:nvGrpSpPr>
            <p:cNvPr id="299" name="Graphic 24">
              <a:extLst>
                <a:ext uri="{FF2B5EF4-FFF2-40B4-BE49-F238E27FC236}">
                  <a16:creationId xmlns:a16="http://schemas.microsoft.com/office/drawing/2014/main" id="{1760C0D0-89CD-410C-90CC-31045B92C109}"/>
                </a:ext>
              </a:extLst>
            </p:cNvPr>
            <p:cNvGrpSpPr/>
            <p:nvPr/>
          </p:nvGrpSpPr>
          <p:grpSpPr>
            <a:xfrm>
              <a:off x="599527" y="4048178"/>
              <a:ext cx="212366" cy="242098"/>
              <a:chOff x="956951" y="2520818"/>
              <a:chExt cx="219024" cy="249688"/>
            </a:xfrm>
            <a:solidFill>
              <a:schemeClr val="tx2"/>
            </a:solidFill>
          </p:grpSpPr>
          <p:sp>
            <p:nvSpPr>
              <p:cNvPr id="300" name="Freeform: Shape 793">
                <a:extLst>
                  <a:ext uri="{FF2B5EF4-FFF2-40B4-BE49-F238E27FC236}">
                    <a16:creationId xmlns:a16="http://schemas.microsoft.com/office/drawing/2014/main" id="{D6028BAC-64BA-41B2-87E3-E6A1542DBE99}"/>
                  </a:ext>
                </a:extLst>
              </p:cNvPr>
              <p:cNvSpPr/>
              <p:nvPr/>
            </p:nvSpPr>
            <p:spPr>
              <a:xfrm>
                <a:off x="1024128" y="2672483"/>
                <a:ext cx="112356" cy="83420"/>
              </a:xfrm>
              <a:custGeom>
                <a:avLst/>
                <a:gdLst>
                  <a:gd name="connsiteX0" fmla="*/ 6395 w 112356"/>
                  <a:gd name="connsiteY0" fmla="*/ 83420 h 83420"/>
                  <a:gd name="connsiteX1" fmla="*/ 1874 w 112356"/>
                  <a:gd name="connsiteY1" fmla="*/ 81467 h 83420"/>
                  <a:gd name="connsiteX2" fmla="*/ 1874 w 112356"/>
                  <a:gd name="connsiteY2" fmla="*/ 72050 h 83420"/>
                  <a:gd name="connsiteX3" fmla="*/ 32378 w 112356"/>
                  <a:gd name="connsiteY3" fmla="*/ 40278 h 83420"/>
                  <a:gd name="connsiteX4" fmla="*/ 36137 w 112356"/>
                  <a:gd name="connsiteY4" fmla="*/ 38375 h 83420"/>
                  <a:gd name="connsiteX5" fmla="*/ 70605 w 112356"/>
                  <a:gd name="connsiteY5" fmla="*/ 34071 h 83420"/>
                  <a:gd name="connsiteX6" fmla="*/ 101441 w 112356"/>
                  <a:gd name="connsiteY6" fmla="*/ 1951 h 83420"/>
                  <a:gd name="connsiteX7" fmla="*/ 110483 w 112356"/>
                  <a:gd name="connsiteY7" fmla="*/ 1951 h 83420"/>
                  <a:gd name="connsiteX8" fmla="*/ 110483 w 112356"/>
                  <a:gd name="connsiteY8" fmla="*/ 11368 h 83420"/>
                  <a:gd name="connsiteX9" fmla="*/ 78082 w 112356"/>
                  <a:gd name="connsiteY9" fmla="*/ 45120 h 83420"/>
                  <a:gd name="connsiteX10" fmla="*/ 74323 w 112356"/>
                  <a:gd name="connsiteY10" fmla="*/ 47023 h 83420"/>
                  <a:gd name="connsiteX11" fmla="*/ 39856 w 112356"/>
                  <a:gd name="connsiteY11" fmla="*/ 51327 h 83420"/>
                  <a:gd name="connsiteX12" fmla="*/ 10916 w 112356"/>
                  <a:gd name="connsiteY12" fmla="*/ 81470 h 83420"/>
                  <a:gd name="connsiteX13" fmla="*/ 6395 w 112356"/>
                  <a:gd name="connsiteY13" fmla="*/ 83420 h 8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356" h="83420">
                    <a:moveTo>
                      <a:pt x="6395" y="83420"/>
                    </a:moveTo>
                    <a:cubicBezTo>
                      <a:pt x="4759" y="83420"/>
                      <a:pt x="3124" y="82768"/>
                      <a:pt x="1874" y="81467"/>
                    </a:cubicBezTo>
                    <a:cubicBezTo>
                      <a:pt x="-625" y="78865"/>
                      <a:pt x="-625" y="74652"/>
                      <a:pt x="1874" y="72050"/>
                    </a:cubicBezTo>
                    <a:lnTo>
                      <a:pt x="32378" y="40278"/>
                    </a:lnTo>
                    <a:cubicBezTo>
                      <a:pt x="33388" y="39221"/>
                      <a:pt x="34716" y="38552"/>
                      <a:pt x="36137" y="38375"/>
                    </a:cubicBezTo>
                    <a:lnTo>
                      <a:pt x="70605" y="34071"/>
                    </a:lnTo>
                    <a:lnTo>
                      <a:pt x="101441" y="1951"/>
                    </a:lnTo>
                    <a:cubicBezTo>
                      <a:pt x="103939" y="-650"/>
                      <a:pt x="107985" y="-650"/>
                      <a:pt x="110483" y="1951"/>
                    </a:cubicBezTo>
                    <a:cubicBezTo>
                      <a:pt x="112981" y="4553"/>
                      <a:pt x="112981" y="8767"/>
                      <a:pt x="110483" y="11368"/>
                    </a:cubicBezTo>
                    <a:lnTo>
                      <a:pt x="78082" y="45120"/>
                    </a:lnTo>
                    <a:cubicBezTo>
                      <a:pt x="77069" y="46177"/>
                      <a:pt x="75745" y="46846"/>
                      <a:pt x="74323" y="47023"/>
                    </a:cubicBezTo>
                    <a:lnTo>
                      <a:pt x="39856" y="51327"/>
                    </a:lnTo>
                    <a:lnTo>
                      <a:pt x="10916" y="81470"/>
                    </a:lnTo>
                    <a:cubicBezTo>
                      <a:pt x="9665" y="82771"/>
                      <a:pt x="8030" y="83420"/>
                      <a:pt x="6395" y="83420"/>
                    </a:cubicBezTo>
                    <a:close/>
                  </a:path>
                </a:pathLst>
              </a:custGeom>
              <a:grpFill/>
              <a:ln w="334" cap="flat">
                <a:noFill/>
                <a:prstDash val="solid"/>
                <a:miter/>
              </a:ln>
            </p:spPr>
            <p:txBody>
              <a:bodyPr rtlCol="0" anchor="ctr"/>
              <a:lstStyle/>
              <a:p>
                <a:endParaRPr lang="en-GB" dirty="0"/>
              </a:p>
            </p:txBody>
          </p:sp>
          <p:sp>
            <p:nvSpPr>
              <p:cNvPr id="301" name="Freeform: Shape 794">
                <a:extLst>
                  <a:ext uri="{FF2B5EF4-FFF2-40B4-BE49-F238E27FC236}">
                    <a16:creationId xmlns:a16="http://schemas.microsoft.com/office/drawing/2014/main" id="{0812BC9B-1053-4DB4-897A-967BB027E8B4}"/>
                  </a:ext>
                </a:extLst>
              </p:cNvPr>
              <p:cNvSpPr/>
              <p:nvPr/>
            </p:nvSpPr>
            <p:spPr>
              <a:xfrm>
                <a:off x="956951" y="2541173"/>
                <a:ext cx="159510" cy="147165"/>
              </a:xfrm>
              <a:custGeom>
                <a:avLst/>
                <a:gdLst>
                  <a:gd name="connsiteX0" fmla="*/ 6395 w 159510"/>
                  <a:gd name="connsiteY0" fmla="*/ 147166 h 147165"/>
                  <a:gd name="connsiteX1" fmla="*/ 1874 w 159510"/>
                  <a:gd name="connsiteY1" fmla="*/ 145213 h 147165"/>
                  <a:gd name="connsiteX2" fmla="*/ 1874 w 159510"/>
                  <a:gd name="connsiteY2" fmla="*/ 135796 h 147165"/>
                  <a:gd name="connsiteX3" fmla="*/ 30502 w 159510"/>
                  <a:gd name="connsiteY3" fmla="*/ 105976 h 147165"/>
                  <a:gd name="connsiteX4" fmla="*/ 30435 w 159510"/>
                  <a:gd name="connsiteY4" fmla="*/ 59708 h 147165"/>
                  <a:gd name="connsiteX5" fmla="*/ 38174 w 159510"/>
                  <a:gd name="connsiteY5" fmla="*/ 38934 h 147165"/>
                  <a:gd name="connsiteX6" fmla="*/ 66351 w 159510"/>
                  <a:gd name="connsiteY6" fmla="*/ 6881 h 147165"/>
                  <a:gd name="connsiteX7" fmla="*/ 67277 w 159510"/>
                  <a:gd name="connsiteY7" fmla="*/ 6011 h 147165"/>
                  <a:gd name="connsiteX8" fmla="*/ 106437 w 159510"/>
                  <a:gd name="connsiteY8" fmla="*/ 9379 h 147165"/>
                  <a:gd name="connsiteX9" fmla="*/ 156177 w 159510"/>
                  <a:gd name="connsiteY9" fmla="*/ 62567 h 147165"/>
                  <a:gd name="connsiteX10" fmla="*/ 159491 w 159510"/>
                  <a:gd name="connsiteY10" fmla="*/ 71813 h 147165"/>
                  <a:gd name="connsiteX11" fmla="*/ 155177 w 159510"/>
                  <a:gd name="connsiteY11" fmla="*/ 80591 h 147165"/>
                  <a:gd name="connsiteX12" fmla="*/ 152465 w 159510"/>
                  <a:gd name="connsiteY12" fmla="*/ 82892 h 147165"/>
                  <a:gd name="connsiteX13" fmla="*/ 109680 w 159510"/>
                  <a:gd name="connsiteY13" fmla="*/ 81080 h 147165"/>
                  <a:gd name="connsiteX14" fmla="*/ 89435 w 159510"/>
                  <a:gd name="connsiteY14" fmla="*/ 64302 h 147165"/>
                  <a:gd name="connsiteX15" fmla="*/ 88425 w 159510"/>
                  <a:gd name="connsiteY15" fmla="*/ 54942 h 147165"/>
                  <a:gd name="connsiteX16" fmla="*/ 97411 w 159510"/>
                  <a:gd name="connsiteY16" fmla="*/ 53889 h 147165"/>
                  <a:gd name="connsiteX17" fmla="*/ 118094 w 159510"/>
                  <a:gd name="connsiteY17" fmla="*/ 71067 h 147165"/>
                  <a:gd name="connsiteX18" fmla="*/ 144392 w 159510"/>
                  <a:gd name="connsiteY18" fmla="*/ 72562 h 147165"/>
                  <a:gd name="connsiteX19" fmla="*/ 146221 w 159510"/>
                  <a:gd name="connsiteY19" fmla="*/ 71011 h 147165"/>
                  <a:gd name="connsiteX20" fmla="*/ 97280 w 159510"/>
                  <a:gd name="connsiteY20" fmla="*/ 18672 h 147165"/>
                  <a:gd name="connsiteX21" fmla="*/ 75330 w 159510"/>
                  <a:gd name="connsiteY21" fmla="*/ 16395 h 147165"/>
                  <a:gd name="connsiteX22" fmla="*/ 47607 w 159510"/>
                  <a:gd name="connsiteY22" fmla="*/ 47926 h 147165"/>
                  <a:gd name="connsiteX23" fmla="*/ 43230 w 159510"/>
                  <a:gd name="connsiteY23" fmla="*/ 59687 h 147165"/>
                  <a:gd name="connsiteX24" fmla="*/ 43300 w 159510"/>
                  <a:gd name="connsiteY24" fmla="*/ 108722 h 147165"/>
                  <a:gd name="connsiteX25" fmla="*/ 41427 w 159510"/>
                  <a:gd name="connsiteY25" fmla="*/ 113440 h 147165"/>
                  <a:gd name="connsiteX26" fmla="*/ 10923 w 159510"/>
                  <a:gd name="connsiteY26" fmla="*/ 145213 h 147165"/>
                  <a:gd name="connsiteX27" fmla="*/ 6395 w 159510"/>
                  <a:gd name="connsiteY27" fmla="*/ 147166 h 147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9510" h="147165">
                    <a:moveTo>
                      <a:pt x="6395" y="147166"/>
                    </a:moveTo>
                    <a:cubicBezTo>
                      <a:pt x="4759" y="147166"/>
                      <a:pt x="3124" y="146514"/>
                      <a:pt x="1874" y="145213"/>
                    </a:cubicBezTo>
                    <a:cubicBezTo>
                      <a:pt x="-625" y="142611"/>
                      <a:pt x="-625" y="138397"/>
                      <a:pt x="1874" y="135796"/>
                    </a:cubicBezTo>
                    <a:lnTo>
                      <a:pt x="30502" y="105976"/>
                    </a:lnTo>
                    <a:lnTo>
                      <a:pt x="30435" y="59708"/>
                    </a:lnTo>
                    <a:cubicBezTo>
                      <a:pt x="30422" y="51999"/>
                      <a:pt x="33171" y="44622"/>
                      <a:pt x="38174" y="38934"/>
                    </a:cubicBezTo>
                    <a:lnTo>
                      <a:pt x="66351" y="6881"/>
                    </a:lnTo>
                    <a:cubicBezTo>
                      <a:pt x="66632" y="6560"/>
                      <a:pt x="66940" y="6269"/>
                      <a:pt x="67277" y="6011"/>
                    </a:cubicBezTo>
                    <a:cubicBezTo>
                      <a:pt x="79229" y="-3145"/>
                      <a:pt x="96073" y="-1700"/>
                      <a:pt x="106437" y="9379"/>
                    </a:cubicBezTo>
                    <a:lnTo>
                      <a:pt x="156177" y="62567"/>
                    </a:lnTo>
                    <a:cubicBezTo>
                      <a:pt x="158471" y="65021"/>
                      <a:pt x="159681" y="68392"/>
                      <a:pt x="159491" y="71813"/>
                    </a:cubicBezTo>
                    <a:cubicBezTo>
                      <a:pt x="159300" y="75231"/>
                      <a:pt x="157728" y="78431"/>
                      <a:pt x="155177" y="80591"/>
                    </a:cubicBezTo>
                    <a:lnTo>
                      <a:pt x="152465" y="82892"/>
                    </a:lnTo>
                    <a:cubicBezTo>
                      <a:pt x="139834" y="93603"/>
                      <a:pt x="121442" y="92827"/>
                      <a:pt x="109680" y="81080"/>
                    </a:cubicBezTo>
                    <a:lnTo>
                      <a:pt x="89435" y="64302"/>
                    </a:lnTo>
                    <a:cubicBezTo>
                      <a:pt x="86676" y="62008"/>
                      <a:pt x="86222" y="57822"/>
                      <a:pt x="88425" y="54942"/>
                    </a:cubicBezTo>
                    <a:cubicBezTo>
                      <a:pt x="90629" y="52070"/>
                      <a:pt x="94659" y="51595"/>
                      <a:pt x="97411" y="53889"/>
                    </a:cubicBezTo>
                    <a:lnTo>
                      <a:pt x="118094" y="71067"/>
                    </a:lnTo>
                    <a:cubicBezTo>
                      <a:pt x="125638" y="78565"/>
                      <a:pt x="136754" y="79040"/>
                      <a:pt x="144392" y="72562"/>
                    </a:cubicBezTo>
                    <a:lnTo>
                      <a:pt x="146221" y="71011"/>
                    </a:lnTo>
                    <a:lnTo>
                      <a:pt x="97280" y="18672"/>
                    </a:lnTo>
                    <a:cubicBezTo>
                      <a:pt x="91485" y="12476"/>
                      <a:pt x="82138" y="11539"/>
                      <a:pt x="75330" y="16395"/>
                    </a:cubicBezTo>
                    <a:lnTo>
                      <a:pt x="47607" y="47926"/>
                    </a:lnTo>
                    <a:cubicBezTo>
                      <a:pt x="44778" y="51147"/>
                      <a:pt x="43223" y="55324"/>
                      <a:pt x="43230" y="59687"/>
                    </a:cubicBezTo>
                    <a:lnTo>
                      <a:pt x="43300" y="108722"/>
                    </a:lnTo>
                    <a:cubicBezTo>
                      <a:pt x="43303" y="110491"/>
                      <a:pt x="42628" y="112190"/>
                      <a:pt x="41427" y="113440"/>
                    </a:cubicBezTo>
                    <a:lnTo>
                      <a:pt x="10923" y="145213"/>
                    </a:lnTo>
                    <a:cubicBezTo>
                      <a:pt x="9665" y="146514"/>
                      <a:pt x="8030" y="147166"/>
                      <a:pt x="6395" y="147166"/>
                    </a:cubicBezTo>
                    <a:close/>
                  </a:path>
                </a:pathLst>
              </a:custGeom>
              <a:grpFill/>
              <a:ln w="334" cap="flat">
                <a:noFill/>
                <a:prstDash val="solid"/>
                <a:miter/>
              </a:ln>
            </p:spPr>
            <p:txBody>
              <a:bodyPr rtlCol="0" anchor="ctr"/>
              <a:lstStyle/>
              <a:p>
                <a:endParaRPr lang="en-GB" dirty="0"/>
              </a:p>
            </p:txBody>
          </p:sp>
          <p:grpSp>
            <p:nvGrpSpPr>
              <p:cNvPr id="302" name="Graphic 24">
                <a:extLst>
                  <a:ext uri="{FF2B5EF4-FFF2-40B4-BE49-F238E27FC236}">
                    <a16:creationId xmlns:a16="http://schemas.microsoft.com/office/drawing/2014/main" id="{271A2601-9FF0-4651-B459-F490241B131A}"/>
                  </a:ext>
                </a:extLst>
              </p:cNvPr>
              <p:cNvGrpSpPr/>
              <p:nvPr/>
            </p:nvGrpSpPr>
            <p:grpSpPr>
              <a:xfrm>
                <a:off x="1044349" y="2520818"/>
                <a:ext cx="131626" cy="163480"/>
                <a:chOff x="1044349" y="2520818"/>
                <a:chExt cx="131626" cy="163480"/>
              </a:xfrm>
              <a:grpFill/>
            </p:grpSpPr>
            <p:sp>
              <p:nvSpPr>
                <p:cNvPr id="307" name="Freeform: Shape 800">
                  <a:extLst>
                    <a:ext uri="{FF2B5EF4-FFF2-40B4-BE49-F238E27FC236}">
                      <a16:creationId xmlns:a16="http://schemas.microsoft.com/office/drawing/2014/main" id="{495A5E13-C998-4BEC-970B-F47F8C6A5968}"/>
                    </a:ext>
                  </a:extLst>
                </p:cNvPr>
                <p:cNvSpPr/>
                <p:nvPr/>
              </p:nvSpPr>
              <p:spPr>
                <a:xfrm>
                  <a:off x="1104457" y="2609983"/>
                  <a:ext cx="71519" cy="74316"/>
                </a:xfrm>
                <a:custGeom>
                  <a:avLst/>
                  <a:gdLst>
                    <a:gd name="connsiteX0" fmla="*/ 25429 w 71519"/>
                    <a:gd name="connsiteY0" fmla="*/ 74316 h 74316"/>
                    <a:gd name="connsiteX1" fmla="*/ 25352 w 71519"/>
                    <a:gd name="connsiteY1" fmla="*/ 74316 h 74316"/>
                    <a:gd name="connsiteX2" fmla="*/ 12955 w 71519"/>
                    <a:gd name="connsiteY2" fmla="*/ 68902 h 74316"/>
                    <a:gd name="connsiteX3" fmla="*/ 5093 w 71519"/>
                    <a:gd name="connsiteY3" fmla="*/ 60646 h 74316"/>
                    <a:gd name="connsiteX4" fmla="*/ 5093 w 71519"/>
                    <a:gd name="connsiteY4" fmla="*/ 60646 h 74316"/>
                    <a:gd name="connsiteX5" fmla="*/ 0 w 71519"/>
                    <a:gd name="connsiteY5" fmla="*/ 47691 h 74316"/>
                    <a:gd name="connsiteX6" fmla="*/ 5197 w 71519"/>
                    <a:gd name="connsiteY6" fmla="*/ 34776 h 74316"/>
                    <a:gd name="connsiteX7" fmla="*/ 33739 w 71519"/>
                    <a:gd name="connsiteY7" fmla="*/ 5291 h 74316"/>
                    <a:gd name="connsiteX8" fmla="*/ 58572 w 71519"/>
                    <a:gd name="connsiteY8" fmla="*/ 5401 h 74316"/>
                    <a:gd name="connsiteX9" fmla="*/ 66437 w 71519"/>
                    <a:gd name="connsiteY9" fmla="*/ 13661 h 74316"/>
                    <a:gd name="connsiteX10" fmla="*/ 66330 w 71519"/>
                    <a:gd name="connsiteY10" fmla="*/ 39528 h 74316"/>
                    <a:gd name="connsiteX11" fmla="*/ 37785 w 71519"/>
                    <a:gd name="connsiteY11" fmla="*/ 69013 h 74316"/>
                    <a:gd name="connsiteX12" fmla="*/ 25429 w 71519"/>
                    <a:gd name="connsiteY12" fmla="*/ 74316 h 74316"/>
                    <a:gd name="connsiteX13" fmla="*/ 14172 w 71519"/>
                    <a:gd name="connsiteY13" fmla="*/ 51266 h 74316"/>
                    <a:gd name="connsiteX14" fmla="*/ 22034 w 71519"/>
                    <a:gd name="connsiteY14" fmla="*/ 59522 h 74316"/>
                    <a:gd name="connsiteX15" fmla="*/ 25402 w 71519"/>
                    <a:gd name="connsiteY15" fmla="*/ 60997 h 74316"/>
                    <a:gd name="connsiteX16" fmla="*/ 28783 w 71519"/>
                    <a:gd name="connsiteY16" fmla="*/ 59556 h 74316"/>
                    <a:gd name="connsiteX17" fmla="*/ 57328 w 71519"/>
                    <a:gd name="connsiteY17" fmla="*/ 30071 h 74316"/>
                    <a:gd name="connsiteX18" fmla="*/ 57358 w 71519"/>
                    <a:gd name="connsiteY18" fmla="*/ 23038 h 74316"/>
                    <a:gd name="connsiteX19" fmla="*/ 49493 w 71519"/>
                    <a:gd name="connsiteY19" fmla="*/ 14778 h 74316"/>
                    <a:gd name="connsiteX20" fmla="*/ 42741 w 71519"/>
                    <a:gd name="connsiteY20" fmla="*/ 14748 h 74316"/>
                    <a:gd name="connsiteX21" fmla="*/ 14199 w 71519"/>
                    <a:gd name="connsiteY21" fmla="*/ 44233 h 74316"/>
                    <a:gd name="connsiteX22" fmla="*/ 12788 w 71519"/>
                    <a:gd name="connsiteY22" fmla="*/ 47741 h 74316"/>
                    <a:gd name="connsiteX23" fmla="*/ 14172 w 71519"/>
                    <a:gd name="connsiteY23" fmla="*/ 51266 h 74316"/>
                    <a:gd name="connsiteX24" fmla="*/ 14172 w 71519"/>
                    <a:gd name="connsiteY24" fmla="*/ 51266 h 74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1519" h="74316">
                      <a:moveTo>
                        <a:pt x="25429" y="74316"/>
                      </a:moveTo>
                      <a:cubicBezTo>
                        <a:pt x="25402" y="74316"/>
                        <a:pt x="25375" y="74316"/>
                        <a:pt x="25352" y="74316"/>
                      </a:cubicBezTo>
                      <a:cubicBezTo>
                        <a:pt x="20660" y="74293"/>
                        <a:pt x="16259" y="72370"/>
                        <a:pt x="12955" y="68902"/>
                      </a:cubicBezTo>
                      <a:lnTo>
                        <a:pt x="5093" y="60646"/>
                      </a:lnTo>
                      <a:lnTo>
                        <a:pt x="5093" y="60646"/>
                      </a:lnTo>
                      <a:cubicBezTo>
                        <a:pt x="1789" y="57175"/>
                        <a:pt x="-17" y="52573"/>
                        <a:pt x="0" y="47691"/>
                      </a:cubicBezTo>
                      <a:cubicBezTo>
                        <a:pt x="20" y="42802"/>
                        <a:pt x="1863" y="38217"/>
                        <a:pt x="5197" y="34776"/>
                      </a:cubicBezTo>
                      <a:lnTo>
                        <a:pt x="33739" y="5291"/>
                      </a:lnTo>
                      <a:cubicBezTo>
                        <a:pt x="40617" y="-1809"/>
                        <a:pt x="51763" y="-1755"/>
                        <a:pt x="58572" y="5401"/>
                      </a:cubicBezTo>
                      <a:lnTo>
                        <a:pt x="66437" y="13661"/>
                      </a:lnTo>
                      <a:cubicBezTo>
                        <a:pt x="73256" y="20821"/>
                        <a:pt x="73206" y="32428"/>
                        <a:pt x="66330" y="39528"/>
                      </a:cubicBezTo>
                      <a:lnTo>
                        <a:pt x="37785" y="69013"/>
                      </a:lnTo>
                      <a:cubicBezTo>
                        <a:pt x="34474" y="72434"/>
                        <a:pt x="30090" y="74316"/>
                        <a:pt x="25429" y="74316"/>
                      </a:cubicBezTo>
                      <a:close/>
                      <a:moveTo>
                        <a:pt x="14172" y="51266"/>
                      </a:moveTo>
                      <a:lnTo>
                        <a:pt x="22034" y="59522"/>
                      </a:lnTo>
                      <a:cubicBezTo>
                        <a:pt x="22934" y="60465"/>
                        <a:pt x="24128" y="60990"/>
                        <a:pt x="25402" y="60997"/>
                      </a:cubicBezTo>
                      <a:cubicBezTo>
                        <a:pt x="26897" y="60947"/>
                        <a:pt x="27876" y="60489"/>
                        <a:pt x="28783" y="59556"/>
                      </a:cubicBezTo>
                      <a:lnTo>
                        <a:pt x="57328" y="30071"/>
                      </a:lnTo>
                      <a:cubicBezTo>
                        <a:pt x="59197" y="28138"/>
                        <a:pt x="59211" y="24984"/>
                        <a:pt x="57358" y="23038"/>
                      </a:cubicBezTo>
                      <a:lnTo>
                        <a:pt x="49493" y="14778"/>
                      </a:lnTo>
                      <a:cubicBezTo>
                        <a:pt x="47637" y="12832"/>
                        <a:pt x="44614" y="12819"/>
                        <a:pt x="42741" y="14748"/>
                      </a:cubicBezTo>
                      <a:lnTo>
                        <a:pt x="14199" y="44233"/>
                      </a:lnTo>
                      <a:cubicBezTo>
                        <a:pt x="13293" y="45169"/>
                        <a:pt x="12791" y="46417"/>
                        <a:pt x="12788" y="47741"/>
                      </a:cubicBezTo>
                      <a:cubicBezTo>
                        <a:pt x="12781" y="49068"/>
                        <a:pt x="13276" y="50322"/>
                        <a:pt x="14172" y="51266"/>
                      </a:cubicBezTo>
                      <a:lnTo>
                        <a:pt x="14172" y="51266"/>
                      </a:lnTo>
                      <a:close/>
                    </a:path>
                  </a:pathLst>
                </a:custGeom>
                <a:grpFill/>
                <a:ln w="334" cap="flat">
                  <a:noFill/>
                  <a:prstDash val="solid"/>
                  <a:miter/>
                </a:ln>
              </p:spPr>
              <p:txBody>
                <a:bodyPr rtlCol="0" anchor="ctr"/>
                <a:lstStyle/>
                <a:p>
                  <a:endParaRPr lang="en-GB" dirty="0"/>
                </a:p>
              </p:txBody>
            </p:sp>
            <p:sp>
              <p:nvSpPr>
                <p:cNvPr id="308" name="Freeform: Shape 801">
                  <a:extLst>
                    <a:ext uri="{FF2B5EF4-FFF2-40B4-BE49-F238E27FC236}">
                      <a16:creationId xmlns:a16="http://schemas.microsoft.com/office/drawing/2014/main" id="{0C93E3BF-C8E9-408F-BDFE-2FB2248D15B0}"/>
                    </a:ext>
                  </a:extLst>
                </p:cNvPr>
                <p:cNvSpPr/>
                <p:nvPr/>
              </p:nvSpPr>
              <p:spPr>
                <a:xfrm>
                  <a:off x="1077728" y="2576974"/>
                  <a:ext cx="79417" cy="82532"/>
                </a:xfrm>
                <a:custGeom>
                  <a:avLst/>
                  <a:gdLst>
                    <a:gd name="connsiteX0" fmla="*/ 28564 w 79417"/>
                    <a:gd name="connsiteY0" fmla="*/ 82532 h 82532"/>
                    <a:gd name="connsiteX1" fmla="*/ 16094 w 79417"/>
                    <a:gd name="connsiteY1" fmla="*/ 77131 h 82532"/>
                    <a:gd name="connsiteX2" fmla="*/ 5085 w 79417"/>
                    <a:gd name="connsiteY2" fmla="*/ 65571 h 82532"/>
                    <a:gd name="connsiteX3" fmla="*/ 1725 w 79417"/>
                    <a:gd name="connsiteY3" fmla="*/ 44771 h 82532"/>
                    <a:gd name="connsiteX4" fmla="*/ 10259 w 79417"/>
                    <a:gd name="connsiteY4" fmla="*/ 41651 h 82532"/>
                    <a:gd name="connsiteX5" fmla="*/ 13252 w 79417"/>
                    <a:gd name="connsiteY5" fmla="*/ 50539 h 82532"/>
                    <a:gd name="connsiteX6" fmla="*/ 14168 w 79417"/>
                    <a:gd name="connsiteY6" fmla="*/ 56191 h 82532"/>
                    <a:gd name="connsiteX7" fmla="*/ 25173 w 79417"/>
                    <a:gd name="connsiteY7" fmla="*/ 67751 h 82532"/>
                    <a:gd name="connsiteX8" fmla="*/ 31925 w 79417"/>
                    <a:gd name="connsiteY8" fmla="*/ 67781 h 82532"/>
                    <a:gd name="connsiteX9" fmla="*/ 65226 w 79417"/>
                    <a:gd name="connsiteY9" fmla="*/ 33384 h 82532"/>
                    <a:gd name="connsiteX10" fmla="*/ 66637 w 79417"/>
                    <a:gd name="connsiteY10" fmla="*/ 29876 h 82532"/>
                    <a:gd name="connsiteX11" fmla="*/ 65252 w 79417"/>
                    <a:gd name="connsiteY11" fmla="*/ 26355 h 82532"/>
                    <a:gd name="connsiteX12" fmla="*/ 54247 w 79417"/>
                    <a:gd name="connsiteY12" fmla="*/ 14794 h 82532"/>
                    <a:gd name="connsiteX13" fmla="*/ 50853 w 79417"/>
                    <a:gd name="connsiteY13" fmla="*/ 13320 h 82532"/>
                    <a:gd name="connsiteX14" fmla="*/ 47492 w 79417"/>
                    <a:gd name="connsiteY14" fmla="*/ 14761 h 82532"/>
                    <a:gd name="connsiteX15" fmla="*/ 33721 w 79417"/>
                    <a:gd name="connsiteY15" fmla="*/ 28990 h 82532"/>
                    <a:gd name="connsiteX16" fmla="*/ 24678 w 79417"/>
                    <a:gd name="connsiteY16" fmla="*/ 28950 h 82532"/>
                    <a:gd name="connsiteX17" fmla="*/ 24715 w 79417"/>
                    <a:gd name="connsiteY17" fmla="*/ 19533 h 82532"/>
                    <a:gd name="connsiteX18" fmla="*/ 38486 w 79417"/>
                    <a:gd name="connsiteY18" fmla="*/ 5304 h 82532"/>
                    <a:gd name="connsiteX19" fmla="*/ 50849 w 79417"/>
                    <a:gd name="connsiteY19" fmla="*/ 0 h 82532"/>
                    <a:gd name="connsiteX20" fmla="*/ 50926 w 79417"/>
                    <a:gd name="connsiteY20" fmla="*/ 0 h 82532"/>
                    <a:gd name="connsiteX21" fmla="*/ 63319 w 79417"/>
                    <a:gd name="connsiteY21" fmla="*/ 5414 h 82532"/>
                    <a:gd name="connsiteX22" fmla="*/ 74325 w 79417"/>
                    <a:gd name="connsiteY22" fmla="*/ 16975 h 82532"/>
                    <a:gd name="connsiteX23" fmla="*/ 79418 w 79417"/>
                    <a:gd name="connsiteY23" fmla="*/ 29930 h 82532"/>
                    <a:gd name="connsiteX24" fmla="*/ 74221 w 79417"/>
                    <a:gd name="connsiteY24" fmla="*/ 42845 h 82532"/>
                    <a:gd name="connsiteX25" fmla="*/ 40921 w 79417"/>
                    <a:gd name="connsiteY25" fmla="*/ 77242 h 82532"/>
                    <a:gd name="connsiteX26" fmla="*/ 28564 w 79417"/>
                    <a:gd name="connsiteY26" fmla="*/ 82532 h 8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9417" h="82532">
                      <a:moveTo>
                        <a:pt x="28564" y="82532"/>
                      </a:moveTo>
                      <a:cubicBezTo>
                        <a:pt x="24040" y="82532"/>
                        <a:pt x="19518" y="80730"/>
                        <a:pt x="16094" y="77131"/>
                      </a:cubicBezTo>
                      <a:lnTo>
                        <a:pt x="5085" y="65571"/>
                      </a:lnTo>
                      <a:cubicBezTo>
                        <a:pt x="-135" y="60083"/>
                        <a:pt x="-1482" y="51726"/>
                        <a:pt x="1725" y="44771"/>
                      </a:cubicBezTo>
                      <a:cubicBezTo>
                        <a:pt x="3253" y="41457"/>
                        <a:pt x="7082" y="40079"/>
                        <a:pt x="10259" y="41651"/>
                      </a:cubicBezTo>
                      <a:cubicBezTo>
                        <a:pt x="13439" y="43246"/>
                        <a:pt x="14783" y="47222"/>
                        <a:pt x="13252" y="50539"/>
                      </a:cubicBezTo>
                      <a:cubicBezTo>
                        <a:pt x="12382" y="52429"/>
                        <a:pt x="12750" y="54703"/>
                        <a:pt x="14168" y="56191"/>
                      </a:cubicBezTo>
                      <a:lnTo>
                        <a:pt x="25173" y="67751"/>
                      </a:lnTo>
                      <a:cubicBezTo>
                        <a:pt x="27029" y="69698"/>
                        <a:pt x="30052" y="69711"/>
                        <a:pt x="31925" y="67781"/>
                      </a:cubicBezTo>
                      <a:lnTo>
                        <a:pt x="65226" y="33384"/>
                      </a:lnTo>
                      <a:cubicBezTo>
                        <a:pt x="66132" y="32448"/>
                        <a:pt x="66633" y="31204"/>
                        <a:pt x="66637" y="29876"/>
                      </a:cubicBezTo>
                      <a:cubicBezTo>
                        <a:pt x="66643" y="28549"/>
                        <a:pt x="66148" y="27298"/>
                        <a:pt x="65252" y="26355"/>
                      </a:cubicBezTo>
                      <a:lnTo>
                        <a:pt x="54247" y="14794"/>
                      </a:lnTo>
                      <a:cubicBezTo>
                        <a:pt x="53344" y="13848"/>
                        <a:pt x="52214" y="13363"/>
                        <a:pt x="50853" y="13320"/>
                      </a:cubicBezTo>
                      <a:cubicBezTo>
                        <a:pt x="49585" y="13320"/>
                        <a:pt x="48391" y="13831"/>
                        <a:pt x="47492" y="14761"/>
                      </a:cubicBezTo>
                      <a:lnTo>
                        <a:pt x="33721" y="28990"/>
                      </a:lnTo>
                      <a:cubicBezTo>
                        <a:pt x="31216" y="31585"/>
                        <a:pt x="27163" y="31565"/>
                        <a:pt x="24678" y="28950"/>
                      </a:cubicBezTo>
                      <a:cubicBezTo>
                        <a:pt x="22190" y="26338"/>
                        <a:pt x="22210" y="22121"/>
                        <a:pt x="24715" y="19533"/>
                      </a:cubicBezTo>
                      <a:lnTo>
                        <a:pt x="38486" y="5304"/>
                      </a:lnTo>
                      <a:cubicBezTo>
                        <a:pt x="41800" y="1883"/>
                        <a:pt x="46188" y="0"/>
                        <a:pt x="50849" y="0"/>
                      </a:cubicBezTo>
                      <a:cubicBezTo>
                        <a:pt x="50873" y="0"/>
                        <a:pt x="50903" y="0"/>
                        <a:pt x="50926" y="0"/>
                      </a:cubicBezTo>
                      <a:cubicBezTo>
                        <a:pt x="55615" y="23"/>
                        <a:pt x="60019" y="1946"/>
                        <a:pt x="63319" y="5414"/>
                      </a:cubicBezTo>
                      <a:lnTo>
                        <a:pt x="74325" y="16975"/>
                      </a:lnTo>
                      <a:cubicBezTo>
                        <a:pt x="77629" y="20446"/>
                        <a:pt x="79435" y="25047"/>
                        <a:pt x="79418" y="29930"/>
                      </a:cubicBezTo>
                      <a:cubicBezTo>
                        <a:pt x="79398" y="34819"/>
                        <a:pt x="77555" y="39403"/>
                        <a:pt x="74221" y="42845"/>
                      </a:cubicBezTo>
                      <a:lnTo>
                        <a:pt x="40921" y="77242"/>
                      </a:lnTo>
                      <a:cubicBezTo>
                        <a:pt x="37510" y="80770"/>
                        <a:pt x="33035" y="82532"/>
                        <a:pt x="28564" y="82532"/>
                      </a:cubicBezTo>
                      <a:close/>
                    </a:path>
                  </a:pathLst>
                </a:custGeom>
                <a:grpFill/>
                <a:ln w="334" cap="flat">
                  <a:noFill/>
                  <a:prstDash val="solid"/>
                  <a:miter/>
                </a:ln>
              </p:spPr>
              <p:txBody>
                <a:bodyPr rtlCol="0" anchor="ctr"/>
                <a:lstStyle/>
                <a:p>
                  <a:endParaRPr lang="en-GB" dirty="0"/>
                </a:p>
              </p:txBody>
            </p:sp>
            <p:sp>
              <p:nvSpPr>
                <p:cNvPr id="309" name="Freeform: Shape 802">
                  <a:extLst>
                    <a:ext uri="{FF2B5EF4-FFF2-40B4-BE49-F238E27FC236}">
                      <a16:creationId xmlns:a16="http://schemas.microsoft.com/office/drawing/2014/main" id="{55B6BB2C-CDC4-46BB-BE12-0D1DCA1250C5}"/>
                    </a:ext>
                  </a:extLst>
                </p:cNvPr>
                <p:cNvSpPr/>
                <p:nvPr/>
              </p:nvSpPr>
              <p:spPr>
                <a:xfrm>
                  <a:off x="1072239" y="2543978"/>
                  <a:ext cx="62927" cy="66995"/>
                </a:xfrm>
                <a:custGeom>
                  <a:avLst/>
                  <a:gdLst>
                    <a:gd name="connsiteX0" fmla="*/ 31767 w 62927"/>
                    <a:gd name="connsiteY0" fmla="*/ 66996 h 66995"/>
                    <a:gd name="connsiteX1" fmla="*/ 27229 w 62927"/>
                    <a:gd name="connsiteY1" fmla="*/ 65029 h 66995"/>
                    <a:gd name="connsiteX2" fmla="*/ 27259 w 62927"/>
                    <a:gd name="connsiteY2" fmla="*/ 55612 h 66995"/>
                    <a:gd name="connsiteX3" fmla="*/ 48735 w 62927"/>
                    <a:gd name="connsiteY3" fmla="*/ 33391 h 66995"/>
                    <a:gd name="connsiteX4" fmla="*/ 48765 w 62927"/>
                    <a:gd name="connsiteY4" fmla="*/ 26351 h 66995"/>
                    <a:gd name="connsiteX5" fmla="*/ 37759 w 62927"/>
                    <a:gd name="connsiteY5" fmla="*/ 14794 h 66995"/>
                    <a:gd name="connsiteX6" fmla="*/ 34388 w 62927"/>
                    <a:gd name="connsiteY6" fmla="*/ 13319 h 66995"/>
                    <a:gd name="connsiteX7" fmla="*/ 31011 w 62927"/>
                    <a:gd name="connsiteY7" fmla="*/ 14761 h 66995"/>
                    <a:gd name="connsiteX8" fmla="*/ 10960 w 62927"/>
                    <a:gd name="connsiteY8" fmla="*/ 36059 h 66995"/>
                    <a:gd name="connsiteX9" fmla="*/ 1917 w 62927"/>
                    <a:gd name="connsiteY9" fmla="*/ 36150 h 66995"/>
                    <a:gd name="connsiteX10" fmla="*/ 1830 w 62927"/>
                    <a:gd name="connsiteY10" fmla="*/ 26733 h 66995"/>
                    <a:gd name="connsiteX11" fmla="*/ 21942 w 62927"/>
                    <a:gd name="connsiteY11" fmla="*/ 5371 h 66995"/>
                    <a:gd name="connsiteX12" fmla="*/ 34365 w 62927"/>
                    <a:gd name="connsiteY12" fmla="*/ 0 h 66995"/>
                    <a:gd name="connsiteX13" fmla="*/ 34442 w 62927"/>
                    <a:gd name="connsiteY13" fmla="*/ 0 h 66995"/>
                    <a:gd name="connsiteX14" fmla="*/ 46838 w 62927"/>
                    <a:gd name="connsiteY14" fmla="*/ 5414 h 66995"/>
                    <a:gd name="connsiteX15" fmla="*/ 57847 w 62927"/>
                    <a:gd name="connsiteY15" fmla="*/ 16975 h 66995"/>
                    <a:gd name="connsiteX16" fmla="*/ 57740 w 62927"/>
                    <a:gd name="connsiteY16" fmla="*/ 42841 h 66995"/>
                    <a:gd name="connsiteX17" fmla="*/ 36268 w 62927"/>
                    <a:gd name="connsiteY17" fmla="*/ 65059 h 66995"/>
                    <a:gd name="connsiteX18" fmla="*/ 31767 w 62927"/>
                    <a:gd name="connsiteY18" fmla="*/ 66996 h 66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2927" h="66995">
                      <a:moveTo>
                        <a:pt x="31767" y="66996"/>
                      </a:moveTo>
                      <a:cubicBezTo>
                        <a:pt x="30125" y="66996"/>
                        <a:pt x="28479" y="66340"/>
                        <a:pt x="27229" y="65029"/>
                      </a:cubicBezTo>
                      <a:cubicBezTo>
                        <a:pt x="24741" y="62421"/>
                        <a:pt x="24754" y="58204"/>
                        <a:pt x="27259" y="55612"/>
                      </a:cubicBezTo>
                      <a:lnTo>
                        <a:pt x="48735" y="33391"/>
                      </a:lnTo>
                      <a:cubicBezTo>
                        <a:pt x="50604" y="31455"/>
                        <a:pt x="50621" y="28301"/>
                        <a:pt x="48765" y="26351"/>
                      </a:cubicBezTo>
                      <a:lnTo>
                        <a:pt x="37759" y="14794"/>
                      </a:lnTo>
                      <a:cubicBezTo>
                        <a:pt x="36860" y="13851"/>
                        <a:pt x="35666" y="13326"/>
                        <a:pt x="34388" y="13319"/>
                      </a:cubicBezTo>
                      <a:cubicBezTo>
                        <a:pt x="33425" y="13286"/>
                        <a:pt x="31921" y="13824"/>
                        <a:pt x="31011" y="14761"/>
                      </a:cubicBezTo>
                      <a:lnTo>
                        <a:pt x="10960" y="36059"/>
                      </a:lnTo>
                      <a:cubicBezTo>
                        <a:pt x="8488" y="38691"/>
                        <a:pt x="4442" y="38728"/>
                        <a:pt x="1917" y="36150"/>
                      </a:cubicBezTo>
                      <a:cubicBezTo>
                        <a:pt x="-604" y="33575"/>
                        <a:pt x="-644" y="29358"/>
                        <a:pt x="1830" y="26733"/>
                      </a:cubicBezTo>
                      <a:lnTo>
                        <a:pt x="21942" y="5371"/>
                      </a:lnTo>
                      <a:cubicBezTo>
                        <a:pt x="25313" y="1883"/>
                        <a:pt x="29700" y="0"/>
                        <a:pt x="34365" y="0"/>
                      </a:cubicBezTo>
                      <a:cubicBezTo>
                        <a:pt x="34388" y="0"/>
                        <a:pt x="34419" y="0"/>
                        <a:pt x="34442" y="0"/>
                      </a:cubicBezTo>
                      <a:cubicBezTo>
                        <a:pt x="39130" y="23"/>
                        <a:pt x="43535" y="1946"/>
                        <a:pt x="46838" y="5414"/>
                      </a:cubicBezTo>
                      <a:lnTo>
                        <a:pt x="57847" y="16975"/>
                      </a:lnTo>
                      <a:cubicBezTo>
                        <a:pt x="64663" y="24138"/>
                        <a:pt x="64616" y="35742"/>
                        <a:pt x="57740" y="42841"/>
                      </a:cubicBezTo>
                      <a:lnTo>
                        <a:pt x="36268" y="65059"/>
                      </a:lnTo>
                      <a:cubicBezTo>
                        <a:pt x="35027" y="66350"/>
                        <a:pt x="33395" y="66996"/>
                        <a:pt x="31767" y="66996"/>
                      </a:cubicBezTo>
                      <a:close/>
                    </a:path>
                  </a:pathLst>
                </a:custGeom>
                <a:grpFill/>
                <a:ln w="334" cap="flat">
                  <a:noFill/>
                  <a:prstDash val="solid"/>
                  <a:miter/>
                </a:ln>
              </p:spPr>
              <p:txBody>
                <a:bodyPr rtlCol="0" anchor="ctr"/>
                <a:lstStyle/>
                <a:p>
                  <a:endParaRPr lang="en-GB" dirty="0"/>
                </a:p>
              </p:txBody>
            </p:sp>
            <p:sp>
              <p:nvSpPr>
                <p:cNvPr id="310" name="Freeform: Shape 803">
                  <a:extLst>
                    <a:ext uri="{FF2B5EF4-FFF2-40B4-BE49-F238E27FC236}">
                      <a16:creationId xmlns:a16="http://schemas.microsoft.com/office/drawing/2014/main" id="{A43F3780-97EA-4E9F-A7EA-E3F853CD1A9E}"/>
                    </a:ext>
                  </a:extLst>
                </p:cNvPr>
                <p:cNvSpPr/>
                <p:nvPr/>
              </p:nvSpPr>
              <p:spPr>
                <a:xfrm>
                  <a:off x="1044349" y="2520818"/>
                  <a:ext cx="59342" cy="62378"/>
                </a:xfrm>
                <a:custGeom>
                  <a:avLst/>
                  <a:gdLst>
                    <a:gd name="connsiteX0" fmla="*/ 32880 w 59342"/>
                    <a:gd name="connsiteY0" fmla="*/ 62379 h 62378"/>
                    <a:gd name="connsiteX1" fmla="*/ 28379 w 59342"/>
                    <a:gd name="connsiteY1" fmla="*/ 60449 h 62378"/>
                    <a:gd name="connsiteX2" fmla="*/ 28339 w 59342"/>
                    <a:gd name="connsiteY2" fmla="*/ 51029 h 62378"/>
                    <a:gd name="connsiteX3" fmla="*/ 45103 w 59342"/>
                    <a:gd name="connsiteY3" fmla="*/ 33412 h 62378"/>
                    <a:gd name="connsiteX4" fmla="*/ 46554 w 59342"/>
                    <a:gd name="connsiteY4" fmla="*/ 29864 h 62378"/>
                    <a:gd name="connsiteX5" fmla="*/ 45170 w 59342"/>
                    <a:gd name="connsiteY5" fmla="*/ 26343 h 62378"/>
                    <a:gd name="connsiteX6" fmla="*/ 34165 w 59342"/>
                    <a:gd name="connsiteY6" fmla="*/ 14779 h 62378"/>
                    <a:gd name="connsiteX7" fmla="*/ 27413 w 59342"/>
                    <a:gd name="connsiteY7" fmla="*/ 14749 h 62378"/>
                    <a:gd name="connsiteX8" fmla="*/ 10926 w 59342"/>
                    <a:gd name="connsiteY8" fmla="*/ 31984 h 62378"/>
                    <a:gd name="connsiteX9" fmla="*/ 1881 w 59342"/>
                    <a:gd name="connsiteY9" fmla="*/ 32001 h 62378"/>
                    <a:gd name="connsiteX10" fmla="*/ 1864 w 59342"/>
                    <a:gd name="connsiteY10" fmla="*/ 22581 h 62378"/>
                    <a:gd name="connsiteX11" fmla="*/ 18380 w 59342"/>
                    <a:gd name="connsiteY11" fmla="*/ 5318 h 62378"/>
                    <a:gd name="connsiteX12" fmla="*/ 43244 w 59342"/>
                    <a:gd name="connsiteY12" fmla="*/ 5399 h 62378"/>
                    <a:gd name="connsiteX13" fmla="*/ 54249 w 59342"/>
                    <a:gd name="connsiteY13" fmla="*/ 16963 h 62378"/>
                    <a:gd name="connsiteX14" fmla="*/ 59342 w 59342"/>
                    <a:gd name="connsiteY14" fmla="*/ 29918 h 62378"/>
                    <a:gd name="connsiteX15" fmla="*/ 54145 w 59342"/>
                    <a:gd name="connsiteY15" fmla="*/ 42829 h 62378"/>
                    <a:gd name="connsiteX16" fmla="*/ 37425 w 59342"/>
                    <a:gd name="connsiteY16" fmla="*/ 60406 h 62378"/>
                    <a:gd name="connsiteX17" fmla="*/ 32880 w 59342"/>
                    <a:gd name="connsiteY17" fmla="*/ 62379 h 62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342" h="62378">
                      <a:moveTo>
                        <a:pt x="32880" y="62379"/>
                      </a:moveTo>
                      <a:cubicBezTo>
                        <a:pt x="31255" y="62379"/>
                        <a:pt x="29627" y="61733"/>
                        <a:pt x="28379" y="60449"/>
                      </a:cubicBezTo>
                      <a:cubicBezTo>
                        <a:pt x="25871" y="57858"/>
                        <a:pt x="25854" y="53644"/>
                        <a:pt x="28339" y="51029"/>
                      </a:cubicBezTo>
                      <a:lnTo>
                        <a:pt x="45103" y="33412"/>
                      </a:lnTo>
                      <a:cubicBezTo>
                        <a:pt x="46049" y="32436"/>
                        <a:pt x="46551" y="31192"/>
                        <a:pt x="46554" y="29864"/>
                      </a:cubicBezTo>
                      <a:cubicBezTo>
                        <a:pt x="46561" y="28536"/>
                        <a:pt x="46066" y="27286"/>
                        <a:pt x="45170" y="26343"/>
                      </a:cubicBezTo>
                      <a:lnTo>
                        <a:pt x="34165" y="14779"/>
                      </a:lnTo>
                      <a:cubicBezTo>
                        <a:pt x="32309" y="12833"/>
                        <a:pt x="29285" y="12823"/>
                        <a:pt x="27413" y="14749"/>
                      </a:cubicBezTo>
                      <a:lnTo>
                        <a:pt x="10926" y="31984"/>
                      </a:lnTo>
                      <a:cubicBezTo>
                        <a:pt x="8432" y="34586"/>
                        <a:pt x="4382" y="34589"/>
                        <a:pt x="1881" y="32001"/>
                      </a:cubicBezTo>
                      <a:cubicBezTo>
                        <a:pt x="-621" y="29403"/>
                        <a:pt x="-627" y="25186"/>
                        <a:pt x="1864" y="22581"/>
                      </a:cubicBezTo>
                      <a:lnTo>
                        <a:pt x="18380" y="5318"/>
                      </a:lnTo>
                      <a:cubicBezTo>
                        <a:pt x="25286" y="-1811"/>
                        <a:pt x="36425" y="-1761"/>
                        <a:pt x="43244" y="5399"/>
                      </a:cubicBezTo>
                      <a:lnTo>
                        <a:pt x="54249" y="16963"/>
                      </a:lnTo>
                      <a:cubicBezTo>
                        <a:pt x="57553" y="20434"/>
                        <a:pt x="59359" y="25035"/>
                        <a:pt x="59342" y="29918"/>
                      </a:cubicBezTo>
                      <a:cubicBezTo>
                        <a:pt x="59325" y="34800"/>
                        <a:pt x="57480" y="39388"/>
                        <a:pt x="54145" y="42829"/>
                      </a:cubicBezTo>
                      <a:lnTo>
                        <a:pt x="37425" y="60406"/>
                      </a:lnTo>
                      <a:cubicBezTo>
                        <a:pt x="36171" y="61723"/>
                        <a:pt x="34526" y="62379"/>
                        <a:pt x="32880" y="62379"/>
                      </a:cubicBezTo>
                      <a:close/>
                    </a:path>
                  </a:pathLst>
                </a:custGeom>
                <a:grpFill/>
                <a:ln w="334" cap="flat">
                  <a:noFill/>
                  <a:prstDash val="solid"/>
                  <a:miter/>
                </a:ln>
              </p:spPr>
              <p:txBody>
                <a:bodyPr rtlCol="0" anchor="ctr"/>
                <a:lstStyle/>
                <a:p>
                  <a:endParaRPr lang="en-GB" dirty="0"/>
                </a:p>
              </p:txBody>
            </p:sp>
          </p:grpSp>
          <p:sp>
            <p:nvSpPr>
              <p:cNvPr id="303" name="Freeform: Shape 796">
                <a:extLst>
                  <a:ext uri="{FF2B5EF4-FFF2-40B4-BE49-F238E27FC236}">
                    <a16:creationId xmlns:a16="http://schemas.microsoft.com/office/drawing/2014/main" id="{055D8BDC-97F8-4BC5-9FA9-724F221C931A}"/>
                  </a:ext>
                </a:extLst>
              </p:cNvPr>
              <p:cNvSpPr/>
              <p:nvPr/>
            </p:nvSpPr>
            <p:spPr>
              <a:xfrm>
                <a:off x="1042058" y="2588212"/>
                <a:ext cx="23907" cy="93308"/>
              </a:xfrm>
              <a:custGeom>
                <a:avLst/>
                <a:gdLst>
                  <a:gd name="connsiteX0" fmla="*/ 9960 w 23907"/>
                  <a:gd name="connsiteY0" fmla="*/ 93309 h 93308"/>
                  <a:gd name="connsiteX1" fmla="*/ 5977 w 23907"/>
                  <a:gd name="connsiteY1" fmla="*/ 91854 h 93308"/>
                  <a:gd name="connsiteX2" fmla="*/ 4967 w 23907"/>
                  <a:gd name="connsiteY2" fmla="*/ 82494 h 93308"/>
                  <a:gd name="connsiteX3" fmla="*/ 513 w 23907"/>
                  <a:gd name="connsiteY3" fmla="*/ 9265 h 93308"/>
                  <a:gd name="connsiteX4" fmla="*/ 3891 w 23907"/>
                  <a:gd name="connsiteY4" fmla="*/ 530 h 93308"/>
                  <a:gd name="connsiteX5" fmla="*/ 12277 w 23907"/>
                  <a:gd name="connsiteY5" fmla="*/ 4045 h 93308"/>
                  <a:gd name="connsiteX6" fmla="*/ 14966 w 23907"/>
                  <a:gd name="connsiteY6" fmla="*/ 90801 h 93308"/>
                  <a:gd name="connsiteX7" fmla="*/ 9960 w 23907"/>
                  <a:gd name="connsiteY7" fmla="*/ 93309 h 9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07" h="93308">
                    <a:moveTo>
                      <a:pt x="9960" y="93309"/>
                    </a:moveTo>
                    <a:cubicBezTo>
                      <a:pt x="8562" y="93309"/>
                      <a:pt x="7154" y="92834"/>
                      <a:pt x="5977" y="91854"/>
                    </a:cubicBezTo>
                    <a:cubicBezTo>
                      <a:pt x="3218" y="89557"/>
                      <a:pt x="2764" y="85370"/>
                      <a:pt x="4967" y="82494"/>
                    </a:cubicBezTo>
                    <a:cubicBezTo>
                      <a:pt x="18574" y="64733"/>
                      <a:pt x="6362" y="23611"/>
                      <a:pt x="513" y="9265"/>
                    </a:cubicBezTo>
                    <a:cubicBezTo>
                      <a:pt x="-871" y="5881"/>
                      <a:pt x="643" y="1971"/>
                      <a:pt x="3891" y="530"/>
                    </a:cubicBezTo>
                    <a:cubicBezTo>
                      <a:pt x="7134" y="-901"/>
                      <a:pt x="10890" y="664"/>
                      <a:pt x="12277" y="4045"/>
                    </a:cubicBezTo>
                    <a:cubicBezTo>
                      <a:pt x="13261" y="6449"/>
                      <a:pt x="36104" y="63202"/>
                      <a:pt x="14966" y="90801"/>
                    </a:cubicBezTo>
                    <a:cubicBezTo>
                      <a:pt x="13699" y="92449"/>
                      <a:pt x="11836" y="93309"/>
                      <a:pt x="9960" y="93309"/>
                    </a:cubicBezTo>
                    <a:close/>
                  </a:path>
                </a:pathLst>
              </a:custGeom>
              <a:grpFill/>
              <a:ln w="334" cap="flat">
                <a:noFill/>
                <a:prstDash val="solid"/>
                <a:miter/>
              </a:ln>
            </p:spPr>
            <p:txBody>
              <a:bodyPr rtlCol="0" anchor="ctr"/>
              <a:lstStyle/>
              <a:p>
                <a:endParaRPr lang="en-GB" dirty="0"/>
              </a:p>
            </p:txBody>
          </p:sp>
          <p:sp>
            <p:nvSpPr>
              <p:cNvPr id="304" name="Freeform: Shape 797">
                <a:extLst>
                  <a:ext uri="{FF2B5EF4-FFF2-40B4-BE49-F238E27FC236}">
                    <a16:creationId xmlns:a16="http://schemas.microsoft.com/office/drawing/2014/main" id="{7CC29B30-1D36-4201-98F7-50A762CDF9E7}"/>
                  </a:ext>
                </a:extLst>
              </p:cNvPr>
              <p:cNvSpPr/>
              <p:nvPr/>
            </p:nvSpPr>
            <p:spPr>
              <a:xfrm>
                <a:off x="967581" y="2710727"/>
                <a:ext cx="37208" cy="38982"/>
              </a:xfrm>
              <a:custGeom>
                <a:avLst/>
                <a:gdLst>
                  <a:gd name="connsiteX0" fmla="*/ 6393 w 37208"/>
                  <a:gd name="connsiteY0" fmla="*/ 38983 h 38982"/>
                  <a:gd name="connsiteX1" fmla="*/ 1892 w 37208"/>
                  <a:gd name="connsiteY1" fmla="*/ 37050 h 38982"/>
                  <a:gd name="connsiteX2" fmla="*/ 1855 w 37208"/>
                  <a:gd name="connsiteY2" fmla="*/ 27633 h 38982"/>
                  <a:gd name="connsiteX3" fmla="*/ 26270 w 37208"/>
                  <a:gd name="connsiteY3" fmla="*/ 1974 h 38982"/>
                  <a:gd name="connsiteX4" fmla="*/ 35316 w 37208"/>
                  <a:gd name="connsiteY4" fmla="*/ 1934 h 38982"/>
                  <a:gd name="connsiteX5" fmla="*/ 35356 w 37208"/>
                  <a:gd name="connsiteY5" fmla="*/ 11351 h 38982"/>
                  <a:gd name="connsiteX6" fmla="*/ 10938 w 37208"/>
                  <a:gd name="connsiteY6" fmla="*/ 37010 h 38982"/>
                  <a:gd name="connsiteX7" fmla="*/ 6393 w 37208"/>
                  <a:gd name="connsiteY7" fmla="*/ 38983 h 38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08" h="38982">
                    <a:moveTo>
                      <a:pt x="6393" y="38983"/>
                    </a:moveTo>
                    <a:cubicBezTo>
                      <a:pt x="4768" y="38983"/>
                      <a:pt x="3139" y="38338"/>
                      <a:pt x="1892" y="37050"/>
                    </a:cubicBezTo>
                    <a:cubicBezTo>
                      <a:pt x="-616" y="34462"/>
                      <a:pt x="-633" y="30248"/>
                      <a:pt x="1855" y="27633"/>
                    </a:cubicBezTo>
                    <a:lnTo>
                      <a:pt x="26270" y="1974"/>
                    </a:lnTo>
                    <a:cubicBezTo>
                      <a:pt x="28755" y="-641"/>
                      <a:pt x="32798" y="-661"/>
                      <a:pt x="35316" y="1934"/>
                    </a:cubicBezTo>
                    <a:cubicBezTo>
                      <a:pt x="37824" y="4522"/>
                      <a:pt x="37841" y="8736"/>
                      <a:pt x="35356" y="11351"/>
                    </a:cubicBezTo>
                    <a:lnTo>
                      <a:pt x="10938" y="37010"/>
                    </a:lnTo>
                    <a:cubicBezTo>
                      <a:pt x="9684" y="38324"/>
                      <a:pt x="8038" y="38983"/>
                      <a:pt x="6393" y="38983"/>
                    </a:cubicBezTo>
                    <a:close/>
                  </a:path>
                </a:pathLst>
              </a:custGeom>
              <a:grpFill/>
              <a:ln w="334" cap="flat">
                <a:noFill/>
                <a:prstDash val="solid"/>
                <a:miter/>
              </a:ln>
            </p:spPr>
            <p:txBody>
              <a:bodyPr rtlCol="0" anchor="ctr"/>
              <a:lstStyle/>
              <a:p>
                <a:endParaRPr lang="en-GB" dirty="0"/>
              </a:p>
            </p:txBody>
          </p:sp>
          <p:sp>
            <p:nvSpPr>
              <p:cNvPr id="305" name="Freeform: Shape 798">
                <a:extLst>
                  <a:ext uri="{FF2B5EF4-FFF2-40B4-BE49-F238E27FC236}">
                    <a16:creationId xmlns:a16="http://schemas.microsoft.com/office/drawing/2014/main" id="{98EF625C-511D-4EFF-B58C-B8B46695EF2F}"/>
                  </a:ext>
                </a:extLst>
              </p:cNvPr>
              <p:cNvSpPr/>
              <p:nvPr/>
            </p:nvSpPr>
            <p:spPr>
              <a:xfrm>
                <a:off x="987342" y="2748423"/>
                <a:ext cx="20902" cy="22083"/>
              </a:xfrm>
              <a:custGeom>
                <a:avLst/>
                <a:gdLst>
                  <a:gd name="connsiteX0" fmla="*/ 6395 w 20902"/>
                  <a:gd name="connsiteY0" fmla="*/ 22084 h 22083"/>
                  <a:gd name="connsiteX1" fmla="*/ 1954 w 20902"/>
                  <a:gd name="connsiteY1" fmla="*/ 20218 h 22083"/>
                  <a:gd name="connsiteX2" fmla="*/ 1790 w 20902"/>
                  <a:gd name="connsiteY2" fmla="*/ 10801 h 22083"/>
                  <a:gd name="connsiteX3" fmla="*/ 9906 w 20902"/>
                  <a:gd name="connsiteY3" fmla="*/ 2033 h 22083"/>
                  <a:gd name="connsiteX4" fmla="*/ 18949 w 20902"/>
                  <a:gd name="connsiteY4" fmla="*/ 1862 h 22083"/>
                  <a:gd name="connsiteX5" fmla="*/ 19113 w 20902"/>
                  <a:gd name="connsiteY5" fmla="*/ 11279 h 22083"/>
                  <a:gd name="connsiteX6" fmla="*/ 10996 w 20902"/>
                  <a:gd name="connsiteY6" fmla="*/ 20047 h 22083"/>
                  <a:gd name="connsiteX7" fmla="*/ 6395 w 20902"/>
                  <a:gd name="connsiteY7" fmla="*/ 22084 h 22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02" h="22083">
                    <a:moveTo>
                      <a:pt x="6395" y="22084"/>
                    </a:moveTo>
                    <a:cubicBezTo>
                      <a:pt x="4796" y="22084"/>
                      <a:pt x="3198" y="21462"/>
                      <a:pt x="1954" y="20218"/>
                    </a:cubicBezTo>
                    <a:cubicBezTo>
                      <a:pt x="-588" y="17666"/>
                      <a:pt x="-658" y="13446"/>
                      <a:pt x="1790" y="10801"/>
                    </a:cubicBezTo>
                    <a:lnTo>
                      <a:pt x="9906" y="2033"/>
                    </a:lnTo>
                    <a:cubicBezTo>
                      <a:pt x="12364" y="-616"/>
                      <a:pt x="16407" y="-680"/>
                      <a:pt x="18949" y="1862"/>
                    </a:cubicBezTo>
                    <a:cubicBezTo>
                      <a:pt x="21490" y="4414"/>
                      <a:pt x="21560" y="8634"/>
                      <a:pt x="19113" y="11279"/>
                    </a:cubicBezTo>
                    <a:lnTo>
                      <a:pt x="10996" y="20047"/>
                    </a:lnTo>
                    <a:cubicBezTo>
                      <a:pt x="9742" y="21401"/>
                      <a:pt x="8067" y="22084"/>
                      <a:pt x="6395" y="22084"/>
                    </a:cubicBezTo>
                    <a:close/>
                  </a:path>
                </a:pathLst>
              </a:custGeom>
              <a:grpFill/>
              <a:ln w="334" cap="flat">
                <a:noFill/>
                <a:prstDash val="solid"/>
                <a:miter/>
              </a:ln>
            </p:spPr>
            <p:txBody>
              <a:bodyPr rtlCol="0" anchor="ctr"/>
              <a:lstStyle/>
              <a:p>
                <a:endParaRPr lang="en-GB" dirty="0"/>
              </a:p>
            </p:txBody>
          </p:sp>
          <p:sp>
            <p:nvSpPr>
              <p:cNvPr id="306" name="Freeform: Shape 799">
                <a:extLst>
                  <a:ext uri="{FF2B5EF4-FFF2-40B4-BE49-F238E27FC236}">
                    <a16:creationId xmlns:a16="http://schemas.microsoft.com/office/drawing/2014/main" id="{67BB5B6F-79A6-4654-96ED-0F41AAF89D83}"/>
                  </a:ext>
                </a:extLst>
              </p:cNvPr>
              <p:cNvSpPr/>
              <p:nvPr/>
            </p:nvSpPr>
            <p:spPr>
              <a:xfrm>
                <a:off x="962014" y="2694564"/>
                <a:ext cx="19320" cy="20119"/>
              </a:xfrm>
              <a:custGeom>
                <a:avLst/>
                <a:gdLst>
                  <a:gd name="connsiteX0" fmla="*/ 6395 w 19320"/>
                  <a:gd name="connsiteY0" fmla="*/ 20120 h 20119"/>
                  <a:gd name="connsiteX1" fmla="*/ 1874 w 19320"/>
                  <a:gd name="connsiteY1" fmla="*/ 18170 h 20119"/>
                  <a:gd name="connsiteX2" fmla="*/ 1874 w 19320"/>
                  <a:gd name="connsiteY2" fmla="*/ 8753 h 20119"/>
                  <a:gd name="connsiteX3" fmla="*/ 8405 w 19320"/>
                  <a:gd name="connsiteY3" fmla="*/ 1951 h 20119"/>
                  <a:gd name="connsiteX4" fmla="*/ 17447 w 19320"/>
                  <a:gd name="connsiteY4" fmla="*/ 1951 h 20119"/>
                  <a:gd name="connsiteX5" fmla="*/ 17447 w 19320"/>
                  <a:gd name="connsiteY5" fmla="*/ 11368 h 20119"/>
                  <a:gd name="connsiteX6" fmla="*/ 10916 w 19320"/>
                  <a:gd name="connsiteY6" fmla="*/ 18170 h 20119"/>
                  <a:gd name="connsiteX7" fmla="*/ 6395 w 19320"/>
                  <a:gd name="connsiteY7" fmla="*/ 20120 h 20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20" h="20119">
                    <a:moveTo>
                      <a:pt x="6395" y="20120"/>
                    </a:moveTo>
                    <a:cubicBezTo>
                      <a:pt x="4759" y="20120"/>
                      <a:pt x="3124" y="19468"/>
                      <a:pt x="1874" y="18170"/>
                    </a:cubicBezTo>
                    <a:cubicBezTo>
                      <a:pt x="-625" y="15568"/>
                      <a:pt x="-625" y="11355"/>
                      <a:pt x="1874" y="8753"/>
                    </a:cubicBezTo>
                    <a:lnTo>
                      <a:pt x="8405" y="1951"/>
                    </a:lnTo>
                    <a:cubicBezTo>
                      <a:pt x="10903" y="-650"/>
                      <a:pt x="14949" y="-650"/>
                      <a:pt x="17447" y="1951"/>
                    </a:cubicBezTo>
                    <a:cubicBezTo>
                      <a:pt x="19945" y="4553"/>
                      <a:pt x="19945" y="8767"/>
                      <a:pt x="17447" y="11368"/>
                    </a:cubicBezTo>
                    <a:lnTo>
                      <a:pt x="10916" y="18170"/>
                    </a:lnTo>
                    <a:cubicBezTo>
                      <a:pt x="9669" y="19468"/>
                      <a:pt x="8033" y="20120"/>
                      <a:pt x="6395" y="20120"/>
                    </a:cubicBezTo>
                    <a:close/>
                  </a:path>
                </a:pathLst>
              </a:custGeom>
              <a:grpFill/>
              <a:ln w="334" cap="flat">
                <a:noFill/>
                <a:prstDash val="solid"/>
                <a:miter/>
              </a:ln>
            </p:spPr>
            <p:txBody>
              <a:bodyPr rtlCol="0" anchor="ctr"/>
              <a:lstStyle/>
              <a:p>
                <a:endParaRPr lang="en-GB" dirty="0"/>
              </a:p>
            </p:txBody>
          </p:sp>
        </p:grpSp>
      </p:grpSp>
      <p:grpSp>
        <p:nvGrpSpPr>
          <p:cNvPr id="31" name="Group 30">
            <a:extLst>
              <a:ext uri="{FF2B5EF4-FFF2-40B4-BE49-F238E27FC236}">
                <a16:creationId xmlns:a16="http://schemas.microsoft.com/office/drawing/2014/main" id="{E043B78E-0C27-A1DA-3D7B-6E3638FE14B3}"/>
              </a:ext>
            </a:extLst>
          </p:cNvPr>
          <p:cNvGrpSpPr/>
          <p:nvPr/>
        </p:nvGrpSpPr>
        <p:grpSpPr>
          <a:xfrm>
            <a:off x="1535889" y="4002611"/>
            <a:ext cx="607183" cy="432000"/>
            <a:chOff x="1535889" y="4002611"/>
            <a:chExt cx="607183" cy="432000"/>
          </a:xfrm>
        </p:grpSpPr>
        <p:grpSp>
          <p:nvGrpSpPr>
            <p:cNvPr id="334" name="Group 333">
              <a:extLst>
                <a:ext uri="{FF2B5EF4-FFF2-40B4-BE49-F238E27FC236}">
                  <a16:creationId xmlns:a16="http://schemas.microsoft.com/office/drawing/2014/main" id="{50A46367-9918-4EB3-A10F-EBA0A18F8EE2}"/>
                </a:ext>
              </a:extLst>
            </p:cNvPr>
            <p:cNvGrpSpPr/>
            <p:nvPr/>
          </p:nvGrpSpPr>
          <p:grpSpPr>
            <a:xfrm>
              <a:off x="1535889" y="4024982"/>
              <a:ext cx="607183" cy="376777"/>
              <a:chOff x="5990227" y="3369991"/>
              <a:chExt cx="731081" cy="453659"/>
            </a:xfrm>
            <a:solidFill>
              <a:schemeClr val="tx2"/>
            </a:solidFill>
          </p:grpSpPr>
          <p:grpSp>
            <p:nvGrpSpPr>
              <p:cNvPr id="345" name="Grafik 252">
                <a:extLst>
                  <a:ext uri="{FF2B5EF4-FFF2-40B4-BE49-F238E27FC236}">
                    <a16:creationId xmlns:a16="http://schemas.microsoft.com/office/drawing/2014/main" id="{975BEF25-4655-4ED2-AF55-A33282CECD60}"/>
                  </a:ext>
                </a:extLst>
              </p:cNvPr>
              <p:cNvGrpSpPr/>
              <p:nvPr/>
            </p:nvGrpSpPr>
            <p:grpSpPr>
              <a:xfrm>
                <a:off x="5990227" y="3369991"/>
                <a:ext cx="318934" cy="452378"/>
                <a:chOff x="5990227" y="3369991"/>
                <a:chExt cx="318934" cy="452378"/>
              </a:xfrm>
              <a:grpFill/>
            </p:grpSpPr>
            <p:sp>
              <p:nvSpPr>
                <p:cNvPr id="353" name="Freihandform: Form 743">
                  <a:extLst>
                    <a:ext uri="{FF2B5EF4-FFF2-40B4-BE49-F238E27FC236}">
                      <a16:creationId xmlns:a16="http://schemas.microsoft.com/office/drawing/2014/main" id="{15508CC2-8DCA-4EA3-B5C5-93AFA57DAF57}"/>
                    </a:ext>
                  </a:extLst>
                </p:cNvPr>
                <p:cNvSpPr/>
                <p:nvPr/>
              </p:nvSpPr>
              <p:spPr>
                <a:xfrm rot="-5131226">
                  <a:off x="5991066" y="3723204"/>
                  <a:ext cx="180063" cy="13509"/>
                </a:xfrm>
                <a:custGeom>
                  <a:avLst/>
                  <a:gdLst>
                    <a:gd name="connsiteX0" fmla="*/ 0 w 180063"/>
                    <a:gd name="connsiteY0" fmla="*/ 0 h 13509"/>
                    <a:gd name="connsiteX1" fmla="*/ 180064 w 180063"/>
                    <a:gd name="connsiteY1" fmla="*/ 0 h 13509"/>
                    <a:gd name="connsiteX2" fmla="*/ 180064 w 180063"/>
                    <a:gd name="connsiteY2" fmla="*/ 13510 h 13509"/>
                    <a:gd name="connsiteX3" fmla="*/ 0 w 180063"/>
                    <a:gd name="connsiteY3" fmla="*/ 13510 h 13509"/>
                  </a:gdLst>
                  <a:ahLst/>
                  <a:cxnLst>
                    <a:cxn ang="0">
                      <a:pos x="connsiteX0" y="connsiteY0"/>
                    </a:cxn>
                    <a:cxn ang="0">
                      <a:pos x="connsiteX1" y="connsiteY1"/>
                    </a:cxn>
                    <a:cxn ang="0">
                      <a:pos x="connsiteX2" y="connsiteY2"/>
                    </a:cxn>
                    <a:cxn ang="0">
                      <a:pos x="connsiteX3" y="connsiteY3"/>
                    </a:cxn>
                  </a:cxnLst>
                  <a:rect l="l" t="t" r="r" b="b"/>
                  <a:pathLst>
                    <a:path w="180063" h="13509">
                      <a:moveTo>
                        <a:pt x="0" y="0"/>
                      </a:moveTo>
                      <a:lnTo>
                        <a:pt x="180064" y="0"/>
                      </a:lnTo>
                      <a:lnTo>
                        <a:pt x="180064" y="13510"/>
                      </a:lnTo>
                      <a:lnTo>
                        <a:pt x="0" y="13510"/>
                      </a:lnTo>
                      <a:close/>
                    </a:path>
                  </a:pathLst>
                </a:custGeom>
                <a:grpFill/>
                <a:ln w="2602" cap="flat">
                  <a:noFill/>
                  <a:prstDash val="solid"/>
                  <a:miter/>
                </a:ln>
              </p:spPr>
              <p:txBody>
                <a:bodyPr rtlCol="0" anchor="ctr"/>
                <a:lstStyle/>
                <a:p>
                  <a:endParaRPr lang="en-GB" dirty="0"/>
                </a:p>
              </p:txBody>
            </p:sp>
            <p:grpSp>
              <p:nvGrpSpPr>
                <p:cNvPr id="354" name="Grafik 252">
                  <a:extLst>
                    <a:ext uri="{FF2B5EF4-FFF2-40B4-BE49-F238E27FC236}">
                      <a16:creationId xmlns:a16="http://schemas.microsoft.com/office/drawing/2014/main" id="{BEA51D37-BDE8-41E2-8DC5-18C47C302458}"/>
                    </a:ext>
                  </a:extLst>
                </p:cNvPr>
                <p:cNvGrpSpPr/>
                <p:nvPr/>
              </p:nvGrpSpPr>
              <p:grpSpPr>
                <a:xfrm>
                  <a:off x="5990227" y="3369991"/>
                  <a:ext cx="318934" cy="452378"/>
                  <a:chOff x="5990227" y="3369991"/>
                  <a:chExt cx="318934" cy="452378"/>
                </a:xfrm>
                <a:grpFill/>
              </p:grpSpPr>
              <p:sp>
                <p:nvSpPr>
                  <p:cNvPr id="355" name="Freihandform: Form 745">
                    <a:extLst>
                      <a:ext uri="{FF2B5EF4-FFF2-40B4-BE49-F238E27FC236}">
                        <a16:creationId xmlns:a16="http://schemas.microsoft.com/office/drawing/2014/main" id="{D02321AC-409B-4161-94DC-359B33DB0B36}"/>
                      </a:ext>
                    </a:extLst>
                  </p:cNvPr>
                  <p:cNvSpPr/>
                  <p:nvPr/>
                </p:nvSpPr>
                <p:spPr>
                  <a:xfrm>
                    <a:off x="6102997" y="3369991"/>
                    <a:ext cx="85184" cy="95878"/>
                  </a:xfrm>
                  <a:custGeom>
                    <a:avLst/>
                    <a:gdLst>
                      <a:gd name="connsiteX0" fmla="*/ 42253 w 85184"/>
                      <a:gd name="connsiteY0" fmla="*/ 95879 h 95878"/>
                      <a:gd name="connsiteX1" fmla="*/ 39097 w 85184"/>
                      <a:gd name="connsiteY1" fmla="*/ 95774 h 95878"/>
                      <a:gd name="connsiteX2" fmla="*/ 11007 w 85184"/>
                      <a:gd name="connsiteY2" fmla="*/ 82342 h 95878"/>
                      <a:gd name="connsiteX3" fmla="*/ 183 w 85184"/>
                      <a:gd name="connsiteY3" fmla="*/ 45018 h 95878"/>
                      <a:gd name="connsiteX4" fmla="*/ 46087 w 85184"/>
                      <a:gd name="connsiteY4" fmla="*/ 105 h 95878"/>
                      <a:gd name="connsiteX5" fmla="*/ 74178 w 85184"/>
                      <a:gd name="connsiteY5" fmla="*/ 13537 h 95878"/>
                      <a:gd name="connsiteX6" fmla="*/ 85002 w 85184"/>
                      <a:gd name="connsiteY6" fmla="*/ 50861 h 95878"/>
                      <a:gd name="connsiteX7" fmla="*/ 85002 w 85184"/>
                      <a:gd name="connsiteY7" fmla="*/ 50861 h 95878"/>
                      <a:gd name="connsiteX8" fmla="*/ 42253 w 85184"/>
                      <a:gd name="connsiteY8" fmla="*/ 95879 h 95878"/>
                      <a:gd name="connsiteX9" fmla="*/ 42775 w 85184"/>
                      <a:gd name="connsiteY9" fmla="*/ 13485 h 95878"/>
                      <a:gd name="connsiteX10" fmla="*/ 13667 w 85184"/>
                      <a:gd name="connsiteY10" fmla="*/ 46009 h 95878"/>
                      <a:gd name="connsiteX11" fmla="*/ 21231 w 85184"/>
                      <a:gd name="connsiteY11" fmla="*/ 73500 h 95878"/>
                      <a:gd name="connsiteX12" fmla="*/ 40010 w 85184"/>
                      <a:gd name="connsiteY12" fmla="*/ 82290 h 95878"/>
                      <a:gd name="connsiteX13" fmla="*/ 71518 w 85184"/>
                      <a:gd name="connsiteY13" fmla="*/ 49870 h 95878"/>
                      <a:gd name="connsiteX14" fmla="*/ 63954 w 85184"/>
                      <a:gd name="connsiteY14" fmla="*/ 22379 h 95878"/>
                      <a:gd name="connsiteX15" fmla="*/ 45175 w 85184"/>
                      <a:gd name="connsiteY15" fmla="*/ 13589 h 95878"/>
                      <a:gd name="connsiteX16" fmla="*/ 42775 w 85184"/>
                      <a:gd name="connsiteY16" fmla="*/ 13485 h 95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184" h="95878">
                        <a:moveTo>
                          <a:pt x="42253" y="95879"/>
                        </a:moveTo>
                        <a:cubicBezTo>
                          <a:pt x="41210" y="95879"/>
                          <a:pt x="40167" y="95853"/>
                          <a:pt x="39097" y="95774"/>
                        </a:cubicBezTo>
                        <a:cubicBezTo>
                          <a:pt x="27673" y="94992"/>
                          <a:pt x="17971" y="90349"/>
                          <a:pt x="11007" y="82342"/>
                        </a:cubicBezTo>
                        <a:cubicBezTo>
                          <a:pt x="2947" y="73031"/>
                          <a:pt x="-913" y="59781"/>
                          <a:pt x="183" y="45018"/>
                        </a:cubicBezTo>
                        <a:cubicBezTo>
                          <a:pt x="2269" y="16876"/>
                          <a:pt x="21075" y="-1565"/>
                          <a:pt x="46087" y="105"/>
                        </a:cubicBezTo>
                        <a:cubicBezTo>
                          <a:pt x="57511" y="887"/>
                          <a:pt x="67214" y="5530"/>
                          <a:pt x="74178" y="13537"/>
                        </a:cubicBezTo>
                        <a:cubicBezTo>
                          <a:pt x="82237" y="22848"/>
                          <a:pt x="86098" y="36098"/>
                          <a:pt x="85002" y="50861"/>
                        </a:cubicBezTo>
                        <a:lnTo>
                          <a:pt x="85002" y="50861"/>
                        </a:lnTo>
                        <a:cubicBezTo>
                          <a:pt x="82994" y="77804"/>
                          <a:pt x="65623" y="95879"/>
                          <a:pt x="42253" y="95879"/>
                        </a:cubicBezTo>
                        <a:close/>
                        <a:moveTo>
                          <a:pt x="42775" y="13485"/>
                        </a:moveTo>
                        <a:cubicBezTo>
                          <a:pt x="23135" y="13485"/>
                          <a:pt x="14815" y="30725"/>
                          <a:pt x="13667" y="46009"/>
                        </a:cubicBezTo>
                        <a:cubicBezTo>
                          <a:pt x="12833" y="57173"/>
                          <a:pt x="15519" y="66927"/>
                          <a:pt x="21231" y="73500"/>
                        </a:cubicBezTo>
                        <a:cubicBezTo>
                          <a:pt x="25848" y="78795"/>
                          <a:pt x="32160" y="81768"/>
                          <a:pt x="40010" y="82290"/>
                        </a:cubicBezTo>
                        <a:cubicBezTo>
                          <a:pt x="61450" y="83855"/>
                          <a:pt x="70344" y="65728"/>
                          <a:pt x="71518" y="49870"/>
                        </a:cubicBezTo>
                        <a:cubicBezTo>
                          <a:pt x="72352" y="38706"/>
                          <a:pt x="69666" y="28952"/>
                          <a:pt x="63954" y="22379"/>
                        </a:cubicBezTo>
                        <a:cubicBezTo>
                          <a:pt x="59337" y="17084"/>
                          <a:pt x="53025" y="14111"/>
                          <a:pt x="45175" y="13589"/>
                        </a:cubicBezTo>
                        <a:cubicBezTo>
                          <a:pt x="44366" y="13511"/>
                          <a:pt x="43557" y="13485"/>
                          <a:pt x="42775" y="13485"/>
                        </a:cubicBezTo>
                        <a:close/>
                      </a:path>
                    </a:pathLst>
                  </a:custGeom>
                  <a:grpFill/>
                  <a:ln w="2602" cap="flat">
                    <a:noFill/>
                    <a:prstDash val="solid"/>
                    <a:miter/>
                  </a:ln>
                </p:spPr>
                <p:txBody>
                  <a:bodyPr rtlCol="0" anchor="ctr"/>
                  <a:lstStyle/>
                  <a:p>
                    <a:endParaRPr lang="en-GB" dirty="0"/>
                  </a:p>
                </p:txBody>
              </p:sp>
              <p:sp>
                <p:nvSpPr>
                  <p:cNvPr id="356" name="Freihandform: Form 746">
                    <a:extLst>
                      <a:ext uri="{FF2B5EF4-FFF2-40B4-BE49-F238E27FC236}">
                        <a16:creationId xmlns:a16="http://schemas.microsoft.com/office/drawing/2014/main" id="{38730745-E9C6-4C1C-818E-E076880316D0}"/>
                      </a:ext>
                    </a:extLst>
                  </p:cNvPr>
                  <p:cNvSpPr/>
                  <p:nvPr/>
                </p:nvSpPr>
                <p:spPr>
                  <a:xfrm>
                    <a:off x="5990227" y="3477067"/>
                    <a:ext cx="278092" cy="275368"/>
                  </a:xfrm>
                  <a:custGeom>
                    <a:avLst/>
                    <a:gdLst>
                      <a:gd name="connsiteX0" fmla="*/ 264230 w 278092"/>
                      <a:gd name="connsiteY0" fmla="*/ 275369 h 275368"/>
                      <a:gd name="connsiteX1" fmla="*/ 250849 w 278092"/>
                      <a:gd name="connsiteY1" fmla="*/ 273412 h 275368"/>
                      <a:gd name="connsiteX2" fmla="*/ 263917 w 278092"/>
                      <a:gd name="connsiteY2" fmla="*/ 183794 h 275368"/>
                      <a:gd name="connsiteX3" fmla="*/ 260369 w 278092"/>
                      <a:gd name="connsiteY3" fmla="*/ 163815 h 275368"/>
                      <a:gd name="connsiteX4" fmla="*/ 244250 w 278092"/>
                      <a:gd name="connsiteY4" fmla="*/ 152886 h 275368"/>
                      <a:gd name="connsiteX5" fmla="*/ 181444 w 278092"/>
                      <a:gd name="connsiteY5" fmla="*/ 139976 h 275368"/>
                      <a:gd name="connsiteX6" fmla="*/ 176098 w 278092"/>
                      <a:gd name="connsiteY6" fmla="*/ 132620 h 275368"/>
                      <a:gd name="connsiteX7" fmla="*/ 186609 w 278092"/>
                      <a:gd name="connsiteY7" fmla="*/ 37159 h 275368"/>
                      <a:gd name="connsiteX8" fmla="*/ 182775 w 278092"/>
                      <a:gd name="connsiteY8" fmla="*/ 24353 h 275368"/>
                      <a:gd name="connsiteX9" fmla="*/ 171038 w 278092"/>
                      <a:gd name="connsiteY9" fmla="*/ 18276 h 275368"/>
                      <a:gd name="connsiteX10" fmla="*/ 110866 w 278092"/>
                      <a:gd name="connsiteY10" fmla="*/ 13659 h 275368"/>
                      <a:gd name="connsiteX11" fmla="*/ 68926 w 278092"/>
                      <a:gd name="connsiteY11" fmla="*/ 33351 h 275368"/>
                      <a:gd name="connsiteX12" fmla="*/ 25890 w 278092"/>
                      <a:gd name="connsiteY12" fmla="*/ 96262 h 275368"/>
                      <a:gd name="connsiteX13" fmla="*/ 13683 w 278092"/>
                      <a:gd name="connsiteY13" fmla="*/ 153590 h 275368"/>
                      <a:gd name="connsiteX14" fmla="*/ 15144 w 278092"/>
                      <a:gd name="connsiteY14" fmla="*/ 159459 h 275368"/>
                      <a:gd name="connsiteX15" fmla="*/ 20595 w 278092"/>
                      <a:gd name="connsiteY15" fmla="*/ 161885 h 275368"/>
                      <a:gd name="connsiteX16" fmla="*/ 26881 w 278092"/>
                      <a:gd name="connsiteY16" fmla="*/ 157007 h 275368"/>
                      <a:gd name="connsiteX17" fmla="*/ 43756 w 278092"/>
                      <a:gd name="connsiteY17" fmla="*/ 100956 h 275368"/>
                      <a:gd name="connsiteX18" fmla="*/ 45243 w 278092"/>
                      <a:gd name="connsiteY18" fmla="*/ 98322 h 275368"/>
                      <a:gd name="connsiteX19" fmla="*/ 93678 w 278092"/>
                      <a:gd name="connsiteY19" fmla="*/ 45584 h 275368"/>
                      <a:gd name="connsiteX20" fmla="*/ 101554 w 278092"/>
                      <a:gd name="connsiteY20" fmla="*/ 44071 h 275368"/>
                      <a:gd name="connsiteX21" fmla="*/ 105336 w 278092"/>
                      <a:gd name="connsiteY21" fmla="*/ 51166 h 275368"/>
                      <a:gd name="connsiteX22" fmla="*/ 96416 w 278092"/>
                      <a:gd name="connsiteY22" fmla="*/ 111050 h 275368"/>
                      <a:gd name="connsiteX23" fmla="*/ 142556 w 278092"/>
                      <a:gd name="connsiteY23" fmla="*/ 174352 h 275368"/>
                      <a:gd name="connsiteX24" fmla="*/ 230010 w 278092"/>
                      <a:gd name="connsiteY24" fmla="*/ 187576 h 275368"/>
                      <a:gd name="connsiteX25" fmla="*/ 235722 w 278092"/>
                      <a:gd name="connsiteY25" fmla="*/ 194800 h 275368"/>
                      <a:gd name="connsiteX26" fmla="*/ 229123 w 278092"/>
                      <a:gd name="connsiteY26" fmla="*/ 274925 h 275368"/>
                      <a:gd name="connsiteX27" fmla="*/ 215664 w 278092"/>
                      <a:gd name="connsiteY27" fmla="*/ 273830 h 275368"/>
                      <a:gd name="connsiteX28" fmla="*/ 221741 w 278092"/>
                      <a:gd name="connsiteY28" fmla="*/ 199991 h 275368"/>
                      <a:gd name="connsiteX29" fmla="*/ 140547 w 278092"/>
                      <a:gd name="connsiteY29" fmla="*/ 187706 h 275368"/>
                      <a:gd name="connsiteX30" fmla="*/ 83010 w 278092"/>
                      <a:gd name="connsiteY30" fmla="*/ 109146 h 275368"/>
                      <a:gd name="connsiteX31" fmla="*/ 88696 w 278092"/>
                      <a:gd name="connsiteY31" fmla="*/ 70962 h 275368"/>
                      <a:gd name="connsiteX32" fmla="*/ 56224 w 278092"/>
                      <a:gd name="connsiteY32" fmla="*/ 106329 h 275368"/>
                      <a:gd name="connsiteX33" fmla="*/ 39792 w 278092"/>
                      <a:gd name="connsiteY33" fmla="*/ 160893 h 275368"/>
                      <a:gd name="connsiteX34" fmla="*/ 21065 w 278092"/>
                      <a:gd name="connsiteY34" fmla="*/ 175369 h 275368"/>
                      <a:gd name="connsiteX35" fmla="*/ 4789 w 278092"/>
                      <a:gd name="connsiteY35" fmla="*/ 168144 h 275368"/>
                      <a:gd name="connsiteX36" fmla="*/ 460 w 278092"/>
                      <a:gd name="connsiteY36" fmla="*/ 150748 h 275368"/>
                      <a:gd name="connsiteX37" fmla="*/ 12927 w 278092"/>
                      <a:gd name="connsiteY37" fmla="*/ 92115 h 275368"/>
                      <a:gd name="connsiteX38" fmla="*/ 13970 w 278092"/>
                      <a:gd name="connsiteY38" fmla="*/ 89715 h 275368"/>
                      <a:gd name="connsiteX39" fmla="*/ 57815 w 278092"/>
                      <a:gd name="connsiteY39" fmla="*/ 25605 h 275368"/>
                      <a:gd name="connsiteX40" fmla="*/ 111883 w 278092"/>
                      <a:gd name="connsiteY40" fmla="*/ 175 h 275368"/>
                      <a:gd name="connsiteX41" fmla="*/ 172055 w 278092"/>
                      <a:gd name="connsiteY41" fmla="*/ 4791 h 275368"/>
                      <a:gd name="connsiteX42" fmla="*/ 193181 w 278092"/>
                      <a:gd name="connsiteY42" fmla="*/ 15720 h 275368"/>
                      <a:gd name="connsiteX43" fmla="*/ 200041 w 278092"/>
                      <a:gd name="connsiteY43" fmla="*/ 38620 h 275368"/>
                      <a:gd name="connsiteX44" fmla="*/ 190208 w 278092"/>
                      <a:gd name="connsiteY44" fmla="*/ 127978 h 275368"/>
                      <a:gd name="connsiteX45" fmla="*/ 246989 w 278092"/>
                      <a:gd name="connsiteY45" fmla="*/ 139663 h 275368"/>
                      <a:gd name="connsiteX46" fmla="*/ 271689 w 278092"/>
                      <a:gd name="connsiteY46" fmla="*/ 156434 h 275368"/>
                      <a:gd name="connsiteX47" fmla="*/ 277219 w 278092"/>
                      <a:gd name="connsiteY47" fmla="*/ 186167 h 275368"/>
                      <a:gd name="connsiteX48" fmla="*/ 264230 w 278092"/>
                      <a:gd name="connsiteY48" fmla="*/ 275369 h 27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78092" h="275368">
                        <a:moveTo>
                          <a:pt x="264230" y="275369"/>
                        </a:moveTo>
                        <a:lnTo>
                          <a:pt x="250849" y="273412"/>
                        </a:lnTo>
                        <a:lnTo>
                          <a:pt x="263917" y="183794"/>
                        </a:lnTo>
                        <a:cubicBezTo>
                          <a:pt x="265429" y="176543"/>
                          <a:pt x="264151" y="169605"/>
                          <a:pt x="260369" y="163815"/>
                        </a:cubicBezTo>
                        <a:cubicBezTo>
                          <a:pt x="256640" y="158129"/>
                          <a:pt x="250928" y="154269"/>
                          <a:pt x="244250" y="152886"/>
                        </a:cubicBezTo>
                        <a:lnTo>
                          <a:pt x="181444" y="139976"/>
                        </a:lnTo>
                        <a:cubicBezTo>
                          <a:pt x="178028" y="139271"/>
                          <a:pt x="175706" y="136089"/>
                          <a:pt x="176098" y="132620"/>
                        </a:cubicBezTo>
                        <a:lnTo>
                          <a:pt x="186609" y="37159"/>
                        </a:lnTo>
                        <a:cubicBezTo>
                          <a:pt x="187130" y="32491"/>
                          <a:pt x="185748" y="27952"/>
                          <a:pt x="182775" y="24353"/>
                        </a:cubicBezTo>
                        <a:cubicBezTo>
                          <a:pt x="179827" y="20780"/>
                          <a:pt x="175654" y="18615"/>
                          <a:pt x="171038" y="18276"/>
                        </a:cubicBezTo>
                        <a:lnTo>
                          <a:pt x="110866" y="13659"/>
                        </a:lnTo>
                        <a:cubicBezTo>
                          <a:pt x="94538" y="12355"/>
                          <a:pt x="78446" y="19945"/>
                          <a:pt x="68926" y="33351"/>
                        </a:cubicBezTo>
                        <a:lnTo>
                          <a:pt x="25890" y="96262"/>
                        </a:lnTo>
                        <a:lnTo>
                          <a:pt x="13683" y="153590"/>
                        </a:lnTo>
                        <a:cubicBezTo>
                          <a:pt x="13240" y="155677"/>
                          <a:pt x="13762" y="157842"/>
                          <a:pt x="15144" y="159459"/>
                        </a:cubicBezTo>
                        <a:cubicBezTo>
                          <a:pt x="16500" y="161076"/>
                          <a:pt x="18404" y="161911"/>
                          <a:pt x="20595" y="161885"/>
                        </a:cubicBezTo>
                        <a:cubicBezTo>
                          <a:pt x="23516" y="161780"/>
                          <a:pt x="26020" y="159824"/>
                          <a:pt x="26881" y="157007"/>
                        </a:cubicBezTo>
                        <a:lnTo>
                          <a:pt x="43756" y="100956"/>
                        </a:lnTo>
                        <a:cubicBezTo>
                          <a:pt x="44043" y="99991"/>
                          <a:pt x="44565" y="99079"/>
                          <a:pt x="45243" y="98322"/>
                        </a:cubicBezTo>
                        <a:lnTo>
                          <a:pt x="93678" y="45584"/>
                        </a:lnTo>
                        <a:cubicBezTo>
                          <a:pt x="95686" y="43393"/>
                          <a:pt x="98894" y="42793"/>
                          <a:pt x="101554" y="44071"/>
                        </a:cubicBezTo>
                        <a:cubicBezTo>
                          <a:pt x="104241" y="45349"/>
                          <a:pt x="105754" y="48218"/>
                          <a:pt x="105336" y="51166"/>
                        </a:cubicBezTo>
                        <a:lnTo>
                          <a:pt x="96416" y="111050"/>
                        </a:lnTo>
                        <a:cubicBezTo>
                          <a:pt x="91122" y="150121"/>
                          <a:pt x="96364" y="167597"/>
                          <a:pt x="142556" y="174352"/>
                        </a:cubicBezTo>
                        <a:lnTo>
                          <a:pt x="230010" y="187576"/>
                        </a:lnTo>
                        <a:cubicBezTo>
                          <a:pt x="233531" y="188097"/>
                          <a:pt x="236035" y="191253"/>
                          <a:pt x="235722" y="194800"/>
                        </a:cubicBezTo>
                        <a:lnTo>
                          <a:pt x="229123" y="274925"/>
                        </a:lnTo>
                        <a:lnTo>
                          <a:pt x="215664" y="273830"/>
                        </a:lnTo>
                        <a:lnTo>
                          <a:pt x="221741" y="199991"/>
                        </a:lnTo>
                        <a:lnTo>
                          <a:pt x="140547" y="187706"/>
                        </a:lnTo>
                        <a:cubicBezTo>
                          <a:pt x="84653" y="179516"/>
                          <a:pt x="77115" y="152678"/>
                          <a:pt x="83010" y="109146"/>
                        </a:cubicBezTo>
                        <a:lnTo>
                          <a:pt x="88696" y="70962"/>
                        </a:lnTo>
                        <a:lnTo>
                          <a:pt x="56224" y="106329"/>
                        </a:lnTo>
                        <a:lnTo>
                          <a:pt x="39792" y="160893"/>
                        </a:lnTo>
                        <a:cubicBezTo>
                          <a:pt x="37288" y="169240"/>
                          <a:pt x="29750" y="175056"/>
                          <a:pt x="21065" y="175369"/>
                        </a:cubicBezTo>
                        <a:cubicBezTo>
                          <a:pt x="14701" y="175708"/>
                          <a:pt x="8832" y="172970"/>
                          <a:pt x="4789" y="168144"/>
                        </a:cubicBezTo>
                        <a:cubicBezTo>
                          <a:pt x="720" y="163293"/>
                          <a:pt x="-871" y="156955"/>
                          <a:pt x="460" y="150748"/>
                        </a:cubicBezTo>
                        <a:lnTo>
                          <a:pt x="12927" y="92115"/>
                        </a:lnTo>
                        <a:cubicBezTo>
                          <a:pt x="13110" y="91254"/>
                          <a:pt x="13449" y="90419"/>
                          <a:pt x="13970" y="89715"/>
                        </a:cubicBezTo>
                        <a:lnTo>
                          <a:pt x="57815" y="25605"/>
                        </a:lnTo>
                        <a:cubicBezTo>
                          <a:pt x="70151" y="8260"/>
                          <a:pt x="90861" y="-1442"/>
                          <a:pt x="111883" y="175"/>
                        </a:cubicBezTo>
                        <a:lnTo>
                          <a:pt x="172055" y="4791"/>
                        </a:lnTo>
                        <a:cubicBezTo>
                          <a:pt x="180349" y="5443"/>
                          <a:pt x="187861" y="9330"/>
                          <a:pt x="193181" y="15720"/>
                        </a:cubicBezTo>
                        <a:cubicBezTo>
                          <a:pt x="198528" y="22162"/>
                          <a:pt x="200954" y="30300"/>
                          <a:pt x="200041" y="38620"/>
                        </a:cubicBezTo>
                        <a:lnTo>
                          <a:pt x="190208" y="127978"/>
                        </a:lnTo>
                        <a:lnTo>
                          <a:pt x="246989" y="139663"/>
                        </a:lnTo>
                        <a:cubicBezTo>
                          <a:pt x="257213" y="141749"/>
                          <a:pt x="265977" y="147722"/>
                          <a:pt x="271689" y="156434"/>
                        </a:cubicBezTo>
                        <a:cubicBezTo>
                          <a:pt x="277453" y="165223"/>
                          <a:pt x="279409" y="175786"/>
                          <a:pt x="277219" y="186167"/>
                        </a:cubicBezTo>
                        <a:lnTo>
                          <a:pt x="264230" y="275369"/>
                        </a:lnTo>
                        <a:close/>
                      </a:path>
                    </a:pathLst>
                  </a:custGeom>
                  <a:grpFill/>
                  <a:ln w="2602" cap="flat">
                    <a:noFill/>
                    <a:prstDash val="solid"/>
                    <a:miter/>
                  </a:ln>
                </p:spPr>
                <p:txBody>
                  <a:bodyPr rtlCol="0" anchor="ctr"/>
                  <a:lstStyle/>
                  <a:p>
                    <a:endParaRPr lang="en-GB" dirty="0"/>
                  </a:p>
                </p:txBody>
              </p:sp>
              <p:sp>
                <p:nvSpPr>
                  <p:cNvPr id="357" name="Freihandform: Form 747">
                    <a:extLst>
                      <a:ext uri="{FF2B5EF4-FFF2-40B4-BE49-F238E27FC236}">
                        <a16:creationId xmlns:a16="http://schemas.microsoft.com/office/drawing/2014/main" id="{373338FC-B51E-4E71-AC51-A78A531841BA}"/>
                      </a:ext>
                    </a:extLst>
                  </p:cNvPr>
                  <p:cNvSpPr/>
                  <p:nvPr/>
                </p:nvSpPr>
                <p:spPr>
                  <a:xfrm rot="-4932031">
                    <a:off x="6056988" y="3745847"/>
                    <a:ext cx="138985" cy="13509"/>
                  </a:xfrm>
                  <a:custGeom>
                    <a:avLst/>
                    <a:gdLst>
                      <a:gd name="connsiteX0" fmla="*/ 0 w 138985"/>
                      <a:gd name="connsiteY0" fmla="*/ 0 h 13509"/>
                      <a:gd name="connsiteX1" fmla="*/ 138985 w 138985"/>
                      <a:gd name="connsiteY1" fmla="*/ 0 h 13509"/>
                      <a:gd name="connsiteX2" fmla="*/ 138985 w 138985"/>
                      <a:gd name="connsiteY2" fmla="*/ 13510 h 13509"/>
                      <a:gd name="connsiteX3" fmla="*/ 0 w 138985"/>
                      <a:gd name="connsiteY3" fmla="*/ 13510 h 13509"/>
                    </a:gdLst>
                    <a:ahLst/>
                    <a:cxnLst>
                      <a:cxn ang="0">
                        <a:pos x="connsiteX0" y="connsiteY0"/>
                      </a:cxn>
                      <a:cxn ang="0">
                        <a:pos x="connsiteX1" y="connsiteY1"/>
                      </a:cxn>
                      <a:cxn ang="0">
                        <a:pos x="connsiteX2" y="connsiteY2"/>
                      </a:cxn>
                      <a:cxn ang="0">
                        <a:pos x="connsiteX3" y="connsiteY3"/>
                      </a:cxn>
                    </a:cxnLst>
                    <a:rect l="l" t="t" r="r" b="b"/>
                    <a:pathLst>
                      <a:path w="138985" h="13509">
                        <a:moveTo>
                          <a:pt x="0" y="0"/>
                        </a:moveTo>
                        <a:lnTo>
                          <a:pt x="138985" y="0"/>
                        </a:lnTo>
                        <a:lnTo>
                          <a:pt x="138985" y="13510"/>
                        </a:lnTo>
                        <a:lnTo>
                          <a:pt x="0" y="13510"/>
                        </a:lnTo>
                        <a:close/>
                      </a:path>
                    </a:pathLst>
                  </a:custGeom>
                  <a:grpFill/>
                  <a:ln w="2602" cap="flat">
                    <a:noFill/>
                    <a:prstDash val="solid"/>
                    <a:miter/>
                  </a:ln>
                </p:spPr>
                <p:txBody>
                  <a:bodyPr rtlCol="0" anchor="ctr"/>
                  <a:lstStyle/>
                  <a:p>
                    <a:endParaRPr lang="en-GB" dirty="0"/>
                  </a:p>
                </p:txBody>
              </p:sp>
              <p:sp>
                <p:nvSpPr>
                  <p:cNvPr id="358" name="Freihandform: Form 748">
                    <a:extLst>
                      <a:ext uri="{FF2B5EF4-FFF2-40B4-BE49-F238E27FC236}">
                        <a16:creationId xmlns:a16="http://schemas.microsoft.com/office/drawing/2014/main" id="{2311DB66-B876-44D3-BCDE-A37AC3CDF20B}"/>
                      </a:ext>
                    </a:extLst>
                  </p:cNvPr>
                  <p:cNvSpPr/>
                  <p:nvPr/>
                </p:nvSpPr>
                <p:spPr>
                  <a:xfrm>
                    <a:off x="6171933" y="3487909"/>
                    <a:ext cx="137229" cy="86488"/>
                  </a:xfrm>
                  <a:custGeom>
                    <a:avLst/>
                    <a:gdLst>
                      <a:gd name="connsiteX0" fmla="*/ 69979 w 137229"/>
                      <a:gd name="connsiteY0" fmla="*/ 86489 h 86488"/>
                      <a:gd name="connsiteX1" fmla="*/ 67683 w 137229"/>
                      <a:gd name="connsiteY1" fmla="*/ 86098 h 86488"/>
                      <a:gd name="connsiteX2" fmla="*/ 24230 w 137229"/>
                      <a:gd name="connsiteY2" fmla="*/ 70500 h 86488"/>
                      <a:gd name="connsiteX3" fmla="*/ 28795 w 137229"/>
                      <a:gd name="connsiteY3" fmla="*/ 57772 h 86488"/>
                      <a:gd name="connsiteX4" fmla="*/ 69874 w 137229"/>
                      <a:gd name="connsiteY4" fmla="*/ 72509 h 86488"/>
                      <a:gd name="connsiteX5" fmla="*/ 119926 w 137229"/>
                      <a:gd name="connsiteY5" fmla="*/ 53234 h 86488"/>
                      <a:gd name="connsiteX6" fmla="*/ 123291 w 137229"/>
                      <a:gd name="connsiteY6" fmla="*/ 44418 h 86488"/>
                      <a:gd name="connsiteX7" fmla="*/ 114345 w 137229"/>
                      <a:gd name="connsiteY7" fmla="*/ 39958 h 86488"/>
                      <a:gd name="connsiteX8" fmla="*/ 72222 w 137229"/>
                      <a:gd name="connsiteY8" fmla="*/ 53443 h 86488"/>
                      <a:gd name="connsiteX9" fmla="*/ 66614 w 137229"/>
                      <a:gd name="connsiteY9" fmla="*/ 52738 h 86488"/>
                      <a:gd name="connsiteX10" fmla="*/ 0 w 137229"/>
                      <a:gd name="connsiteY10" fmla="*/ 11476 h 86488"/>
                      <a:gd name="connsiteX11" fmla="*/ 7120 w 137229"/>
                      <a:gd name="connsiteY11" fmla="*/ 0 h 86488"/>
                      <a:gd name="connsiteX12" fmla="*/ 71074 w 137229"/>
                      <a:gd name="connsiteY12" fmla="*/ 39619 h 86488"/>
                      <a:gd name="connsiteX13" fmla="*/ 110224 w 137229"/>
                      <a:gd name="connsiteY13" fmla="*/ 27100 h 86488"/>
                      <a:gd name="connsiteX14" fmla="*/ 136019 w 137229"/>
                      <a:gd name="connsiteY14" fmla="*/ 39932 h 86488"/>
                      <a:gd name="connsiteX15" fmla="*/ 125195 w 137229"/>
                      <a:gd name="connsiteY15" fmla="*/ 65701 h 86488"/>
                      <a:gd name="connsiteX16" fmla="*/ 72378 w 137229"/>
                      <a:gd name="connsiteY16" fmla="*/ 86071 h 86488"/>
                      <a:gd name="connsiteX17" fmla="*/ 69979 w 137229"/>
                      <a:gd name="connsiteY17" fmla="*/ 86489 h 86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229" h="86488">
                        <a:moveTo>
                          <a:pt x="69979" y="86489"/>
                        </a:moveTo>
                        <a:cubicBezTo>
                          <a:pt x="69196" y="86489"/>
                          <a:pt x="68440" y="86358"/>
                          <a:pt x="67683" y="86098"/>
                        </a:cubicBezTo>
                        <a:lnTo>
                          <a:pt x="24230" y="70500"/>
                        </a:lnTo>
                        <a:lnTo>
                          <a:pt x="28795" y="57772"/>
                        </a:lnTo>
                        <a:lnTo>
                          <a:pt x="69874" y="72509"/>
                        </a:lnTo>
                        <a:lnTo>
                          <a:pt x="119926" y="53234"/>
                        </a:lnTo>
                        <a:cubicBezTo>
                          <a:pt x="122926" y="51825"/>
                          <a:pt x="124543" y="47965"/>
                          <a:pt x="123291" y="44418"/>
                        </a:cubicBezTo>
                        <a:cubicBezTo>
                          <a:pt x="121987" y="40740"/>
                          <a:pt x="118074" y="38784"/>
                          <a:pt x="114345" y="39958"/>
                        </a:cubicBezTo>
                        <a:lnTo>
                          <a:pt x="72222" y="53443"/>
                        </a:lnTo>
                        <a:cubicBezTo>
                          <a:pt x="70344" y="54068"/>
                          <a:pt x="68283" y="53808"/>
                          <a:pt x="66614" y="52738"/>
                        </a:cubicBezTo>
                        <a:lnTo>
                          <a:pt x="0" y="11476"/>
                        </a:lnTo>
                        <a:lnTo>
                          <a:pt x="7120" y="0"/>
                        </a:lnTo>
                        <a:lnTo>
                          <a:pt x="71074" y="39619"/>
                        </a:lnTo>
                        <a:lnTo>
                          <a:pt x="110224" y="27100"/>
                        </a:lnTo>
                        <a:cubicBezTo>
                          <a:pt x="120943" y="23657"/>
                          <a:pt x="132263" y="29290"/>
                          <a:pt x="136019" y="39932"/>
                        </a:cubicBezTo>
                        <a:cubicBezTo>
                          <a:pt x="139618" y="50104"/>
                          <a:pt x="134950" y="61163"/>
                          <a:pt x="125195" y="65701"/>
                        </a:cubicBezTo>
                        <a:lnTo>
                          <a:pt x="72378" y="86071"/>
                        </a:lnTo>
                        <a:cubicBezTo>
                          <a:pt x="71622" y="86358"/>
                          <a:pt x="70813" y="86489"/>
                          <a:pt x="69979" y="86489"/>
                        </a:cubicBezTo>
                        <a:close/>
                      </a:path>
                    </a:pathLst>
                  </a:custGeom>
                  <a:grpFill/>
                  <a:ln w="2602" cap="flat">
                    <a:noFill/>
                    <a:prstDash val="solid"/>
                    <a:miter/>
                  </a:ln>
                </p:spPr>
                <p:txBody>
                  <a:bodyPr rtlCol="0" anchor="ctr"/>
                  <a:lstStyle/>
                  <a:p>
                    <a:endParaRPr lang="en-GB" dirty="0"/>
                  </a:p>
                </p:txBody>
              </p:sp>
            </p:grpSp>
          </p:grpSp>
          <p:grpSp>
            <p:nvGrpSpPr>
              <p:cNvPr id="346" name="Grafik 252">
                <a:extLst>
                  <a:ext uri="{FF2B5EF4-FFF2-40B4-BE49-F238E27FC236}">
                    <a16:creationId xmlns:a16="http://schemas.microsoft.com/office/drawing/2014/main" id="{E9C1E318-764B-45C6-B48C-9C1FFCA24DBA}"/>
                  </a:ext>
                </a:extLst>
              </p:cNvPr>
              <p:cNvGrpSpPr/>
              <p:nvPr/>
            </p:nvGrpSpPr>
            <p:grpSpPr>
              <a:xfrm>
                <a:off x="6402400" y="3371138"/>
                <a:ext cx="318908" cy="452512"/>
                <a:chOff x="6402400" y="3371138"/>
                <a:chExt cx="318908" cy="452512"/>
              </a:xfrm>
              <a:grpFill/>
            </p:grpSpPr>
            <p:sp>
              <p:nvSpPr>
                <p:cNvPr id="347" name="Freihandform: Form 750">
                  <a:extLst>
                    <a:ext uri="{FF2B5EF4-FFF2-40B4-BE49-F238E27FC236}">
                      <a16:creationId xmlns:a16="http://schemas.microsoft.com/office/drawing/2014/main" id="{7B5303B1-3148-4B1A-8256-1D041435CC19}"/>
                    </a:ext>
                  </a:extLst>
                </p:cNvPr>
                <p:cNvSpPr/>
                <p:nvPr/>
              </p:nvSpPr>
              <p:spPr>
                <a:xfrm rot="-262209">
                  <a:off x="6623778" y="3641696"/>
                  <a:ext cx="13510" cy="179473"/>
                </a:xfrm>
                <a:custGeom>
                  <a:avLst/>
                  <a:gdLst>
                    <a:gd name="connsiteX0" fmla="*/ 0 w 13510"/>
                    <a:gd name="connsiteY0" fmla="*/ 0 h 179473"/>
                    <a:gd name="connsiteX1" fmla="*/ 13511 w 13510"/>
                    <a:gd name="connsiteY1" fmla="*/ 0 h 179473"/>
                    <a:gd name="connsiteX2" fmla="*/ 13511 w 13510"/>
                    <a:gd name="connsiteY2" fmla="*/ 179473 h 179473"/>
                    <a:gd name="connsiteX3" fmla="*/ 0 w 13510"/>
                    <a:gd name="connsiteY3" fmla="*/ 179473 h 179473"/>
                  </a:gdLst>
                  <a:ahLst/>
                  <a:cxnLst>
                    <a:cxn ang="0">
                      <a:pos x="connsiteX0" y="connsiteY0"/>
                    </a:cxn>
                    <a:cxn ang="0">
                      <a:pos x="connsiteX1" y="connsiteY1"/>
                    </a:cxn>
                    <a:cxn ang="0">
                      <a:pos x="connsiteX2" y="connsiteY2"/>
                    </a:cxn>
                    <a:cxn ang="0">
                      <a:pos x="connsiteX3" y="connsiteY3"/>
                    </a:cxn>
                  </a:cxnLst>
                  <a:rect l="l" t="t" r="r" b="b"/>
                  <a:pathLst>
                    <a:path w="13510" h="179473">
                      <a:moveTo>
                        <a:pt x="0" y="0"/>
                      </a:moveTo>
                      <a:lnTo>
                        <a:pt x="13511" y="0"/>
                      </a:lnTo>
                      <a:lnTo>
                        <a:pt x="13511" y="179473"/>
                      </a:lnTo>
                      <a:lnTo>
                        <a:pt x="0" y="179473"/>
                      </a:lnTo>
                      <a:close/>
                    </a:path>
                  </a:pathLst>
                </a:custGeom>
                <a:grpFill/>
                <a:ln w="2602" cap="flat">
                  <a:noFill/>
                  <a:prstDash val="solid"/>
                  <a:miter/>
                </a:ln>
              </p:spPr>
              <p:txBody>
                <a:bodyPr rtlCol="0" anchor="ctr"/>
                <a:lstStyle/>
                <a:p>
                  <a:endParaRPr lang="en-GB" dirty="0"/>
                </a:p>
              </p:txBody>
            </p:sp>
            <p:grpSp>
              <p:nvGrpSpPr>
                <p:cNvPr id="348" name="Grafik 252">
                  <a:extLst>
                    <a:ext uri="{FF2B5EF4-FFF2-40B4-BE49-F238E27FC236}">
                      <a16:creationId xmlns:a16="http://schemas.microsoft.com/office/drawing/2014/main" id="{8812623E-6CC6-49AA-9864-F01B62A096CD}"/>
                    </a:ext>
                  </a:extLst>
                </p:cNvPr>
                <p:cNvGrpSpPr/>
                <p:nvPr/>
              </p:nvGrpSpPr>
              <p:grpSpPr>
                <a:xfrm>
                  <a:off x="6402400" y="3371138"/>
                  <a:ext cx="318908" cy="452512"/>
                  <a:chOff x="6402400" y="3371138"/>
                  <a:chExt cx="318908" cy="452512"/>
                </a:xfrm>
                <a:grpFill/>
              </p:grpSpPr>
              <p:sp>
                <p:nvSpPr>
                  <p:cNvPr id="349" name="Freihandform: Form 752">
                    <a:extLst>
                      <a:ext uri="{FF2B5EF4-FFF2-40B4-BE49-F238E27FC236}">
                        <a16:creationId xmlns:a16="http://schemas.microsoft.com/office/drawing/2014/main" id="{0EF9932A-6123-440A-9E0D-673BCAADBED2}"/>
                      </a:ext>
                    </a:extLst>
                  </p:cNvPr>
                  <p:cNvSpPr/>
                  <p:nvPr/>
                </p:nvSpPr>
                <p:spPr>
                  <a:xfrm>
                    <a:off x="6523391" y="3371138"/>
                    <a:ext cx="85185" cy="95878"/>
                  </a:xfrm>
                  <a:custGeom>
                    <a:avLst/>
                    <a:gdLst>
                      <a:gd name="connsiteX0" fmla="*/ 42931 w 85185"/>
                      <a:gd name="connsiteY0" fmla="*/ 95879 h 95878"/>
                      <a:gd name="connsiteX1" fmla="*/ 183 w 85185"/>
                      <a:gd name="connsiteY1" fmla="*/ 50861 h 95878"/>
                      <a:gd name="connsiteX2" fmla="*/ 183 w 85185"/>
                      <a:gd name="connsiteY2" fmla="*/ 50861 h 95878"/>
                      <a:gd name="connsiteX3" fmla="*/ 11007 w 85185"/>
                      <a:gd name="connsiteY3" fmla="*/ 13537 h 95878"/>
                      <a:gd name="connsiteX4" fmla="*/ 39097 w 85185"/>
                      <a:gd name="connsiteY4" fmla="*/ 105 h 95878"/>
                      <a:gd name="connsiteX5" fmla="*/ 85002 w 85185"/>
                      <a:gd name="connsiteY5" fmla="*/ 45018 h 95878"/>
                      <a:gd name="connsiteX6" fmla="*/ 74178 w 85185"/>
                      <a:gd name="connsiteY6" fmla="*/ 82368 h 95878"/>
                      <a:gd name="connsiteX7" fmla="*/ 46088 w 85185"/>
                      <a:gd name="connsiteY7" fmla="*/ 95800 h 95878"/>
                      <a:gd name="connsiteX8" fmla="*/ 42931 w 85185"/>
                      <a:gd name="connsiteY8" fmla="*/ 95879 h 95878"/>
                      <a:gd name="connsiteX9" fmla="*/ 13667 w 85185"/>
                      <a:gd name="connsiteY9" fmla="*/ 49870 h 95878"/>
                      <a:gd name="connsiteX10" fmla="*/ 45175 w 85185"/>
                      <a:gd name="connsiteY10" fmla="*/ 82290 h 95878"/>
                      <a:gd name="connsiteX11" fmla="*/ 63954 w 85185"/>
                      <a:gd name="connsiteY11" fmla="*/ 73500 h 95878"/>
                      <a:gd name="connsiteX12" fmla="*/ 71518 w 85185"/>
                      <a:gd name="connsiteY12" fmla="*/ 46009 h 95878"/>
                      <a:gd name="connsiteX13" fmla="*/ 40010 w 85185"/>
                      <a:gd name="connsiteY13" fmla="*/ 13589 h 95878"/>
                      <a:gd name="connsiteX14" fmla="*/ 21231 w 85185"/>
                      <a:gd name="connsiteY14" fmla="*/ 22405 h 95878"/>
                      <a:gd name="connsiteX15" fmla="*/ 13667 w 85185"/>
                      <a:gd name="connsiteY15" fmla="*/ 49870 h 95878"/>
                      <a:gd name="connsiteX16" fmla="*/ 13667 w 85185"/>
                      <a:gd name="connsiteY16" fmla="*/ 49870 h 95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5185" h="95878">
                        <a:moveTo>
                          <a:pt x="42931" y="95879"/>
                        </a:moveTo>
                        <a:cubicBezTo>
                          <a:pt x="19562" y="95879"/>
                          <a:pt x="2191" y="77804"/>
                          <a:pt x="183" y="50861"/>
                        </a:cubicBezTo>
                        <a:lnTo>
                          <a:pt x="183" y="50861"/>
                        </a:lnTo>
                        <a:cubicBezTo>
                          <a:pt x="-913" y="36098"/>
                          <a:pt x="2947" y="22822"/>
                          <a:pt x="11007" y="13537"/>
                        </a:cubicBezTo>
                        <a:cubicBezTo>
                          <a:pt x="17945" y="5530"/>
                          <a:pt x="27673" y="887"/>
                          <a:pt x="39097" y="105"/>
                        </a:cubicBezTo>
                        <a:cubicBezTo>
                          <a:pt x="64189" y="-1565"/>
                          <a:pt x="82916" y="16876"/>
                          <a:pt x="85002" y="45018"/>
                        </a:cubicBezTo>
                        <a:cubicBezTo>
                          <a:pt x="86098" y="59807"/>
                          <a:pt x="82264" y="73057"/>
                          <a:pt x="74178" y="82368"/>
                        </a:cubicBezTo>
                        <a:cubicBezTo>
                          <a:pt x="67240" y="90375"/>
                          <a:pt x="57512" y="95018"/>
                          <a:pt x="46088" y="95800"/>
                        </a:cubicBezTo>
                        <a:cubicBezTo>
                          <a:pt x="45018" y="95853"/>
                          <a:pt x="43975" y="95879"/>
                          <a:pt x="42931" y="95879"/>
                        </a:cubicBezTo>
                        <a:close/>
                        <a:moveTo>
                          <a:pt x="13667" y="49870"/>
                        </a:moveTo>
                        <a:cubicBezTo>
                          <a:pt x="14841" y="65728"/>
                          <a:pt x="23683" y="83803"/>
                          <a:pt x="45175" y="82290"/>
                        </a:cubicBezTo>
                        <a:cubicBezTo>
                          <a:pt x="53051" y="81768"/>
                          <a:pt x="59363" y="78795"/>
                          <a:pt x="63954" y="73500"/>
                        </a:cubicBezTo>
                        <a:cubicBezTo>
                          <a:pt x="69640" y="66927"/>
                          <a:pt x="72326" y="57173"/>
                          <a:pt x="71518" y="46009"/>
                        </a:cubicBezTo>
                        <a:cubicBezTo>
                          <a:pt x="70344" y="30151"/>
                          <a:pt x="61450" y="11972"/>
                          <a:pt x="40010" y="13589"/>
                        </a:cubicBezTo>
                        <a:cubicBezTo>
                          <a:pt x="32133" y="14111"/>
                          <a:pt x="25822" y="17084"/>
                          <a:pt x="21231" y="22405"/>
                        </a:cubicBezTo>
                        <a:cubicBezTo>
                          <a:pt x="15519" y="28952"/>
                          <a:pt x="12833" y="38706"/>
                          <a:pt x="13667" y="49870"/>
                        </a:cubicBezTo>
                        <a:lnTo>
                          <a:pt x="13667" y="49870"/>
                        </a:lnTo>
                        <a:close/>
                      </a:path>
                    </a:pathLst>
                  </a:custGeom>
                  <a:grpFill/>
                  <a:ln w="2602" cap="flat">
                    <a:noFill/>
                    <a:prstDash val="solid"/>
                    <a:miter/>
                  </a:ln>
                </p:spPr>
                <p:txBody>
                  <a:bodyPr rtlCol="0" anchor="ctr"/>
                  <a:lstStyle/>
                  <a:p>
                    <a:endParaRPr lang="en-GB" dirty="0"/>
                  </a:p>
                </p:txBody>
              </p:sp>
              <p:sp>
                <p:nvSpPr>
                  <p:cNvPr id="350" name="Freihandform: Form 753">
                    <a:extLst>
                      <a:ext uri="{FF2B5EF4-FFF2-40B4-BE49-F238E27FC236}">
                        <a16:creationId xmlns:a16="http://schemas.microsoft.com/office/drawing/2014/main" id="{172D6FC8-F701-4147-8436-155104291386}"/>
                      </a:ext>
                    </a:extLst>
                  </p:cNvPr>
                  <p:cNvSpPr/>
                  <p:nvPr/>
                </p:nvSpPr>
                <p:spPr>
                  <a:xfrm>
                    <a:off x="6443221" y="3478214"/>
                    <a:ext cx="278087" cy="275368"/>
                  </a:xfrm>
                  <a:custGeom>
                    <a:avLst/>
                    <a:gdLst>
                      <a:gd name="connsiteX0" fmla="*/ 13895 w 278087"/>
                      <a:gd name="connsiteY0" fmla="*/ 275369 h 275368"/>
                      <a:gd name="connsiteX1" fmla="*/ 827 w 278087"/>
                      <a:gd name="connsiteY1" fmla="*/ 185750 h 275368"/>
                      <a:gd name="connsiteX2" fmla="*/ 6435 w 278087"/>
                      <a:gd name="connsiteY2" fmla="*/ 156434 h 275368"/>
                      <a:gd name="connsiteX3" fmla="*/ 31135 w 278087"/>
                      <a:gd name="connsiteY3" fmla="*/ 139663 h 275368"/>
                      <a:gd name="connsiteX4" fmla="*/ 87916 w 278087"/>
                      <a:gd name="connsiteY4" fmla="*/ 128004 h 275368"/>
                      <a:gd name="connsiteX5" fmla="*/ 78083 w 278087"/>
                      <a:gd name="connsiteY5" fmla="*/ 38646 h 275368"/>
                      <a:gd name="connsiteX6" fmla="*/ 84943 w 278087"/>
                      <a:gd name="connsiteY6" fmla="*/ 15720 h 275368"/>
                      <a:gd name="connsiteX7" fmla="*/ 106043 w 278087"/>
                      <a:gd name="connsiteY7" fmla="*/ 4791 h 275368"/>
                      <a:gd name="connsiteX8" fmla="*/ 166215 w 278087"/>
                      <a:gd name="connsiteY8" fmla="*/ 175 h 275368"/>
                      <a:gd name="connsiteX9" fmla="*/ 220205 w 278087"/>
                      <a:gd name="connsiteY9" fmla="*/ 25501 h 275368"/>
                      <a:gd name="connsiteX10" fmla="*/ 264128 w 278087"/>
                      <a:gd name="connsiteY10" fmla="*/ 89715 h 275368"/>
                      <a:gd name="connsiteX11" fmla="*/ 265171 w 278087"/>
                      <a:gd name="connsiteY11" fmla="*/ 92115 h 275368"/>
                      <a:gd name="connsiteX12" fmla="*/ 277638 w 278087"/>
                      <a:gd name="connsiteY12" fmla="*/ 150748 h 275368"/>
                      <a:gd name="connsiteX13" fmla="*/ 273309 w 278087"/>
                      <a:gd name="connsiteY13" fmla="*/ 168118 h 275368"/>
                      <a:gd name="connsiteX14" fmla="*/ 257033 w 278087"/>
                      <a:gd name="connsiteY14" fmla="*/ 175369 h 275368"/>
                      <a:gd name="connsiteX15" fmla="*/ 238306 w 278087"/>
                      <a:gd name="connsiteY15" fmla="*/ 160868 h 275368"/>
                      <a:gd name="connsiteX16" fmla="*/ 221874 w 278087"/>
                      <a:gd name="connsiteY16" fmla="*/ 106303 h 275368"/>
                      <a:gd name="connsiteX17" fmla="*/ 189402 w 278087"/>
                      <a:gd name="connsiteY17" fmla="*/ 70936 h 275368"/>
                      <a:gd name="connsiteX18" fmla="*/ 195088 w 278087"/>
                      <a:gd name="connsiteY18" fmla="*/ 109016 h 275368"/>
                      <a:gd name="connsiteX19" fmla="*/ 137524 w 278087"/>
                      <a:gd name="connsiteY19" fmla="*/ 187680 h 275368"/>
                      <a:gd name="connsiteX20" fmla="*/ 56383 w 278087"/>
                      <a:gd name="connsiteY20" fmla="*/ 199965 h 275368"/>
                      <a:gd name="connsiteX21" fmla="*/ 62460 w 278087"/>
                      <a:gd name="connsiteY21" fmla="*/ 273804 h 275368"/>
                      <a:gd name="connsiteX22" fmla="*/ 49001 w 278087"/>
                      <a:gd name="connsiteY22" fmla="*/ 274899 h 275368"/>
                      <a:gd name="connsiteX23" fmla="*/ 42402 w 278087"/>
                      <a:gd name="connsiteY23" fmla="*/ 194774 h 275368"/>
                      <a:gd name="connsiteX24" fmla="*/ 48114 w 278087"/>
                      <a:gd name="connsiteY24" fmla="*/ 187550 h 275368"/>
                      <a:gd name="connsiteX25" fmla="*/ 135542 w 278087"/>
                      <a:gd name="connsiteY25" fmla="*/ 174326 h 275368"/>
                      <a:gd name="connsiteX26" fmla="*/ 181708 w 278087"/>
                      <a:gd name="connsiteY26" fmla="*/ 110920 h 275368"/>
                      <a:gd name="connsiteX27" fmla="*/ 172788 w 278087"/>
                      <a:gd name="connsiteY27" fmla="*/ 51113 h 275368"/>
                      <a:gd name="connsiteX28" fmla="*/ 176570 w 278087"/>
                      <a:gd name="connsiteY28" fmla="*/ 44019 h 275368"/>
                      <a:gd name="connsiteX29" fmla="*/ 184446 w 278087"/>
                      <a:gd name="connsiteY29" fmla="*/ 45532 h 275368"/>
                      <a:gd name="connsiteX30" fmla="*/ 232881 w 278087"/>
                      <a:gd name="connsiteY30" fmla="*/ 98270 h 275368"/>
                      <a:gd name="connsiteX31" fmla="*/ 234368 w 278087"/>
                      <a:gd name="connsiteY31" fmla="*/ 100904 h 275368"/>
                      <a:gd name="connsiteX32" fmla="*/ 251243 w 278087"/>
                      <a:gd name="connsiteY32" fmla="*/ 156955 h 275368"/>
                      <a:gd name="connsiteX33" fmla="*/ 257529 w 278087"/>
                      <a:gd name="connsiteY33" fmla="*/ 161833 h 275368"/>
                      <a:gd name="connsiteX34" fmla="*/ 262980 w 278087"/>
                      <a:gd name="connsiteY34" fmla="*/ 159407 h 275368"/>
                      <a:gd name="connsiteX35" fmla="*/ 264441 w 278087"/>
                      <a:gd name="connsiteY35" fmla="*/ 153538 h 275368"/>
                      <a:gd name="connsiteX36" fmla="*/ 252234 w 278087"/>
                      <a:gd name="connsiteY36" fmla="*/ 96210 h 275368"/>
                      <a:gd name="connsiteX37" fmla="*/ 209146 w 278087"/>
                      <a:gd name="connsiteY37" fmla="*/ 33195 h 275368"/>
                      <a:gd name="connsiteX38" fmla="*/ 167258 w 278087"/>
                      <a:gd name="connsiteY38" fmla="*/ 13607 h 275368"/>
                      <a:gd name="connsiteX39" fmla="*/ 107086 w 278087"/>
                      <a:gd name="connsiteY39" fmla="*/ 18224 h 275368"/>
                      <a:gd name="connsiteX40" fmla="*/ 95349 w 278087"/>
                      <a:gd name="connsiteY40" fmla="*/ 24301 h 275368"/>
                      <a:gd name="connsiteX41" fmla="*/ 91515 w 278087"/>
                      <a:gd name="connsiteY41" fmla="*/ 37107 h 275368"/>
                      <a:gd name="connsiteX42" fmla="*/ 102026 w 278087"/>
                      <a:gd name="connsiteY42" fmla="*/ 132568 h 275368"/>
                      <a:gd name="connsiteX43" fmla="*/ 96680 w 278087"/>
                      <a:gd name="connsiteY43" fmla="*/ 139923 h 275368"/>
                      <a:gd name="connsiteX44" fmla="*/ 33874 w 278087"/>
                      <a:gd name="connsiteY44" fmla="*/ 152834 h 275368"/>
                      <a:gd name="connsiteX45" fmla="*/ 17755 w 278087"/>
                      <a:gd name="connsiteY45" fmla="*/ 163763 h 275368"/>
                      <a:gd name="connsiteX46" fmla="*/ 14129 w 278087"/>
                      <a:gd name="connsiteY46" fmla="*/ 183298 h 275368"/>
                      <a:gd name="connsiteX47" fmla="*/ 27275 w 278087"/>
                      <a:gd name="connsiteY47" fmla="*/ 273360 h 275368"/>
                      <a:gd name="connsiteX48" fmla="*/ 13895 w 278087"/>
                      <a:gd name="connsiteY48" fmla="*/ 275369 h 275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78087" h="275368">
                        <a:moveTo>
                          <a:pt x="13895" y="275369"/>
                        </a:moveTo>
                        <a:lnTo>
                          <a:pt x="827" y="185750"/>
                        </a:lnTo>
                        <a:cubicBezTo>
                          <a:pt x="-1285" y="175787"/>
                          <a:pt x="671" y="165223"/>
                          <a:pt x="6435" y="156434"/>
                        </a:cubicBezTo>
                        <a:cubicBezTo>
                          <a:pt x="12147" y="147722"/>
                          <a:pt x="20911" y="141775"/>
                          <a:pt x="31135" y="139663"/>
                        </a:cubicBezTo>
                        <a:lnTo>
                          <a:pt x="87916" y="128004"/>
                        </a:lnTo>
                        <a:lnTo>
                          <a:pt x="78083" y="38646"/>
                        </a:lnTo>
                        <a:cubicBezTo>
                          <a:pt x="77170" y="30300"/>
                          <a:pt x="79596" y="22162"/>
                          <a:pt x="84943" y="15720"/>
                        </a:cubicBezTo>
                        <a:cubicBezTo>
                          <a:pt x="90263" y="9303"/>
                          <a:pt x="97749" y="5417"/>
                          <a:pt x="106043" y="4791"/>
                        </a:cubicBezTo>
                        <a:lnTo>
                          <a:pt x="166215" y="175"/>
                        </a:lnTo>
                        <a:cubicBezTo>
                          <a:pt x="187342" y="-1442"/>
                          <a:pt x="207946" y="8260"/>
                          <a:pt x="220205" y="25501"/>
                        </a:cubicBezTo>
                        <a:lnTo>
                          <a:pt x="264128" y="89715"/>
                        </a:lnTo>
                        <a:cubicBezTo>
                          <a:pt x="264623" y="90445"/>
                          <a:pt x="264989" y="91254"/>
                          <a:pt x="265171" y="92115"/>
                        </a:cubicBezTo>
                        <a:lnTo>
                          <a:pt x="277638" y="150748"/>
                        </a:lnTo>
                        <a:cubicBezTo>
                          <a:pt x="278942" y="156955"/>
                          <a:pt x="277378" y="163267"/>
                          <a:pt x="273309" y="168118"/>
                        </a:cubicBezTo>
                        <a:cubicBezTo>
                          <a:pt x="269240" y="172943"/>
                          <a:pt x="263267" y="175656"/>
                          <a:pt x="257033" y="175369"/>
                        </a:cubicBezTo>
                        <a:cubicBezTo>
                          <a:pt x="248322" y="175056"/>
                          <a:pt x="240810" y="169240"/>
                          <a:pt x="238306" y="160868"/>
                        </a:cubicBezTo>
                        <a:lnTo>
                          <a:pt x="221874" y="106303"/>
                        </a:lnTo>
                        <a:lnTo>
                          <a:pt x="189402" y="70936"/>
                        </a:lnTo>
                        <a:lnTo>
                          <a:pt x="195088" y="109016"/>
                        </a:lnTo>
                        <a:cubicBezTo>
                          <a:pt x="200983" y="152678"/>
                          <a:pt x="193471" y="179490"/>
                          <a:pt x="137524" y="187680"/>
                        </a:cubicBezTo>
                        <a:lnTo>
                          <a:pt x="56383" y="199965"/>
                        </a:lnTo>
                        <a:lnTo>
                          <a:pt x="62460" y="273804"/>
                        </a:lnTo>
                        <a:lnTo>
                          <a:pt x="49001" y="274899"/>
                        </a:lnTo>
                        <a:lnTo>
                          <a:pt x="42402" y="194774"/>
                        </a:lnTo>
                        <a:cubicBezTo>
                          <a:pt x="42116" y="191227"/>
                          <a:pt x="44619" y="188071"/>
                          <a:pt x="48114" y="187550"/>
                        </a:cubicBezTo>
                        <a:lnTo>
                          <a:pt x="135542" y="174326"/>
                        </a:lnTo>
                        <a:cubicBezTo>
                          <a:pt x="181760" y="167545"/>
                          <a:pt x="187002" y="150096"/>
                          <a:pt x="181708" y="110920"/>
                        </a:cubicBezTo>
                        <a:lnTo>
                          <a:pt x="172788" y="51113"/>
                        </a:lnTo>
                        <a:cubicBezTo>
                          <a:pt x="172344" y="48166"/>
                          <a:pt x="173883" y="45297"/>
                          <a:pt x="176570" y="44019"/>
                        </a:cubicBezTo>
                        <a:cubicBezTo>
                          <a:pt x="179256" y="42741"/>
                          <a:pt x="182438" y="43367"/>
                          <a:pt x="184446" y="45532"/>
                        </a:cubicBezTo>
                        <a:lnTo>
                          <a:pt x="232881" y="98270"/>
                        </a:lnTo>
                        <a:cubicBezTo>
                          <a:pt x="233559" y="99026"/>
                          <a:pt x="234081" y="99913"/>
                          <a:pt x="234368" y="100904"/>
                        </a:cubicBezTo>
                        <a:lnTo>
                          <a:pt x="251243" y="156955"/>
                        </a:lnTo>
                        <a:cubicBezTo>
                          <a:pt x="252078" y="159772"/>
                          <a:pt x="254608" y="161728"/>
                          <a:pt x="257529" y="161833"/>
                        </a:cubicBezTo>
                        <a:cubicBezTo>
                          <a:pt x="259563" y="161780"/>
                          <a:pt x="261598" y="161024"/>
                          <a:pt x="262980" y="159407"/>
                        </a:cubicBezTo>
                        <a:cubicBezTo>
                          <a:pt x="264362" y="157764"/>
                          <a:pt x="264884" y="155625"/>
                          <a:pt x="264441" y="153538"/>
                        </a:cubicBezTo>
                        <a:lnTo>
                          <a:pt x="252234" y="96210"/>
                        </a:lnTo>
                        <a:lnTo>
                          <a:pt x="209146" y="33195"/>
                        </a:lnTo>
                        <a:cubicBezTo>
                          <a:pt x="199678" y="19893"/>
                          <a:pt x="183612" y="12329"/>
                          <a:pt x="167258" y="13607"/>
                        </a:cubicBezTo>
                        <a:lnTo>
                          <a:pt x="107086" y="18224"/>
                        </a:lnTo>
                        <a:cubicBezTo>
                          <a:pt x="102470" y="18563"/>
                          <a:pt x="98297" y="20727"/>
                          <a:pt x="95349" y="24301"/>
                        </a:cubicBezTo>
                        <a:cubicBezTo>
                          <a:pt x="92376" y="27900"/>
                          <a:pt x="90994" y="32438"/>
                          <a:pt x="91515" y="37107"/>
                        </a:cubicBezTo>
                        <a:lnTo>
                          <a:pt x="102026" y="132568"/>
                        </a:lnTo>
                        <a:cubicBezTo>
                          <a:pt x="102418" y="136037"/>
                          <a:pt x="100096" y="139219"/>
                          <a:pt x="96680" y="139923"/>
                        </a:cubicBezTo>
                        <a:lnTo>
                          <a:pt x="33874" y="152834"/>
                        </a:lnTo>
                        <a:cubicBezTo>
                          <a:pt x="27197" y="154216"/>
                          <a:pt x="21485" y="158103"/>
                          <a:pt x="17755" y="163763"/>
                        </a:cubicBezTo>
                        <a:cubicBezTo>
                          <a:pt x="13973" y="169527"/>
                          <a:pt x="12695" y="176465"/>
                          <a:pt x="14129" y="183298"/>
                        </a:cubicBezTo>
                        <a:lnTo>
                          <a:pt x="27275" y="273360"/>
                        </a:lnTo>
                        <a:lnTo>
                          <a:pt x="13895" y="275369"/>
                        </a:lnTo>
                        <a:close/>
                      </a:path>
                    </a:pathLst>
                  </a:custGeom>
                  <a:grpFill/>
                  <a:ln w="2602" cap="flat">
                    <a:noFill/>
                    <a:prstDash val="solid"/>
                    <a:miter/>
                  </a:ln>
                </p:spPr>
                <p:txBody>
                  <a:bodyPr rtlCol="0" anchor="ctr"/>
                  <a:lstStyle/>
                  <a:p>
                    <a:endParaRPr lang="en-GB" dirty="0"/>
                  </a:p>
                </p:txBody>
              </p:sp>
              <p:sp>
                <p:nvSpPr>
                  <p:cNvPr id="351" name="Freihandform: Form 754">
                    <a:extLst>
                      <a:ext uri="{FF2B5EF4-FFF2-40B4-BE49-F238E27FC236}">
                        <a16:creationId xmlns:a16="http://schemas.microsoft.com/office/drawing/2014/main" id="{1F1ADB32-8A57-483E-8E70-B93FF7EEF3B9}"/>
                      </a:ext>
                    </a:extLst>
                  </p:cNvPr>
                  <p:cNvSpPr/>
                  <p:nvPr/>
                </p:nvSpPr>
                <p:spPr>
                  <a:xfrm rot="-468991">
                    <a:off x="6578098" y="3684361"/>
                    <a:ext cx="13510" cy="139017"/>
                  </a:xfrm>
                  <a:custGeom>
                    <a:avLst/>
                    <a:gdLst>
                      <a:gd name="connsiteX0" fmla="*/ 0 w 13510"/>
                      <a:gd name="connsiteY0" fmla="*/ 0 h 139017"/>
                      <a:gd name="connsiteX1" fmla="*/ 13510 w 13510"/>
                      <a:gd name="connsiteY1" fmla="*/ 0 h 139017"/>
                      <a:gd name="connsiteX2" fmla="*/ 13510 w 13510"/>
                      <a:gd name="connsiteY2" fmla="*/ 139017 h 139017"/>
                      <a:gd name="connsiteX3" fmla="*/ 0 w 13510"/>
                      <a:gd name="connsiteY3" fmla="*/ 139017 h 139017"/>
                    </a:gdLst>
                    <a:ahLst/>
                    <a:cxnLst>
                      <a:cxn ang="0">
                        <a:pos x="connsiteX0" y="connsiteY0"/>
                      </a:cxn>
                      <a:cxn ang="0">
                        <a:pos x="connsiteX1" y="connsiteY1"/>
                      </a:cxn>
                      <a:cxn ang="0">
                        <a:pos x="connsiteX2" y="connsiteY2"/>
                      </a:cxn>
                      <a:cxn ang="0">
                        <a:pos x="connsiteX3" y="connsiteY3"/>
                      </a:cxn>
                    </a:cxnLst>
                    <a:rect l="l" t="t" r="r" b="b"/>
                    <a:pathLst>
                      <a:path w="13510" h="139017">
                        <a:moveTo>
                          <a:pt x="0" y="0"/>
                        </a:moveTo>
                        <a:lnTo>
                          <a:pt x="13510" y="0"/>
                        </a:lnTo>
                        <a:lnTo>
                          <a:pt x="13510" y="139017"/>
                        </a:lnTo>
                        <a:lnTo>
                          <a:pt x="0" y="139017"/>
                        </a:lnTo>
                        <a:close/>
                      </a:path>
                    </a:pathLst>
                  </a:custGeom>
                  <a:grpFill/>
                  <a:ln w="2602" cap="flat">
                    <a:noFill/>
                    <a:prstDash val="solid"/>
                    <a:miter/>
                  </a:ln>
                </p:spPr>
                <p:txBody>
                  <a:bodyPr rtlCol="0" anchor="ctr"/>
                  <a:lstStyle/>
                  <a:p>
                    <a:endParaRPr lang="en-GB" dirty="0"/>
                  </a:p>
                </p:txBody>
              </p:sp>
              <p:sp>
                <p:nvSpPr>
                  <p:cNvPr id="352" name="Freihandform: Form 755">
                    <a:extLst>
                      <a:ext uri="{FF2B5EF4-FFF2-40B4-BE49-F238E27FC236}">
                        <a16:creationId xmlns:a16="http://schemas.microsoft.com/office/drawing/2014/main" id="{0A0C6C01-B445-49A0-91FA-F718159FCFBC}"/>
                      </a:ext>
                    </a:extLst>
                  </p:cNvPr>
                  <p:cNvSpPr/>
                  <p:nvPr/>
                </p:nvSpPr>
                <p:spPr>
                  <a:xfrm>
                    <a:off x="6402400" y="3489030"/>
                    <a:ext cx="137213" cy="86514"/>
                  </a:xfrm>
                  <a:custGeom>
                    <a:avLst/>
                    <a:gdLst>
                      <a:gd name="connsiteX0" fmla="*/ 67261 w 137213"/>
                      <a:gd name="connsiteY0" fmla="*/ 86515 h 86514"/>
                      <a:gd name="connsiteX1" fmla="*/ 64836 w 137213"/>
                      <a:gd name="connsiteY1" fmla="*/ 86071 h 86514"/>
                      <a:gd name="connsiteX2" fmla="*/ 12436 w 137213"/>
                      <a:gd name="connsiteY2" fmla="*/ 65884 h 86514"/>
                      <a:gd name="connsiteX3" fmla="*/ 1195 w 137213"/>
                      <a:gd name="connsiteY3" fmla="*/ 39932 h 86514"/>
                      <a:gd name="connsiteX4" fmla="*/ 26990 w 137213"/>
                      <a:gd name="connsiteY4" fmla="*/ 27100 h 86514"/>
                      <a:gd name="connsiteX5" fmla="*/ 66140 w 137213"/>
                      <a:gd name="connsiteY5" fmla="*/ 39645 h 86514"/>
                      <a:gd name="connsiteX6" fmla="*/ 130093 w 137213"/>
                      <a:gd name="connsiteY6" fmla="*/ 0 h 86514"/>
                      <a:gd name="connsiteX7" fmla="*/ 137214 w 137213"/>
                      <a:gd name="connsiteY7" fmla="*/ 11476 h 86514"/>
                      <a:gd name="connsiteX8" fmla="*/ 70600 w 137213"/>
                      <a:gd name="connsiteY8" fmla="*/ 52738 h 86514"/>
                      <a:gd name="connsiteX9" fmla="*/ 64992 w 137213"/>
                      <a:gd name="connsiteY9" fmla="*/ 53443 h 86514"/>
                      <a:gd name="connsiteX10" fmla="*/ 22869 w 137213"/>
                      <a:gd name="connsiteY10" fmla="*/ 39958 h 86514"/>
                      <a:gd name="connsiteX11" fmla="*/ 13923 w 137213"/>
                      <a:gd name="connsiteY11" fmla="*/ 44418 h 86514"/>
                      <a:gd name="connsiteX12" fmla="*/ 17679 w 137213"/>
                      <a:gd name="connsiteY12" fmla="*/ 53416 h 86514"/>
                      <a:gd name="connsiteX13" fmla="*/ 67313 w 137213"/>
                      <a:gd name="connsiteY13" fmla="*/ 72535 h 86514"/>
                      <a:gd name="connsiteX14" fmla="*/ 108393 w 137213"/>
                      <a:gd name="connsiteY14" fmla="*/ 57772 h 86514"/>
                      <a:gd name="connsiteX15" fmla="*/ 112957 w 137213"/>
                      <a:gd name="connsiteY15" fmla="*/ 70500 h 86514"/>
                      <a:gd name="connsiteX16" fmla="*/ 69530 w 137213"/>
                      <a:gd name="connsiteY16" fmla="*/ 86124 h 86514"/>
                      <a:gd name="connsiteX17" fmla="*/ 67261 w 137213"/>
                      <a:gd name="connsiteY17" fmla="*/ 86515 h 86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7213" h="86514">
                        <a:moveTo>
                          <a:pt x="67261" y="86515"/>
                        </a:moveTo>
                        <a:cubicBezTo>
                          <a:pt x="66427" y="86515"/>
                          <a:pt x="65618" y="86358"/>
                          <a:pt x="64836" y="86071"/>
                        </a:cubicBezTo>
                        <a:lnTo>
                          <a:pt x="12436" y="65884"/>
                        </a:lnTo>
                        <a:cubicBezTo>
                          <a:pt x="2264" y="61189"/>
                          <a:pt x="-2378" y="50104"/>
                          <a:pt x="1195" y="39932"/>
                        </a:cubicBezTo>
                        <a:cubicBezTo>
                          <a:pt x="4951" y="29316"/>
                          <a:pt x="16323" y="23683"/>
                          <a:pt x="26990" y="27100"/>
                        </a:cubicBezTo>
                        <a:lnTo>
                          <a:pt x="66140" y="39645"/>
                        </a:lnTo>
                        <a:lnTo>
                          <a:pt x="130093" y="0"/>
                        </a:lnTo>
                        <a:lnTo>
                          <a:pt x="137214" y="11476"/>
                        </a:lnTo>
                        <a:lnTo>
                          <a:pt x="70600" y="52738"/>
                        </a:lnTo>
                        <a:cubicBezTo>
                          <a:pt x="68904" y="53782"/>
                          <a:pt x="66844" y="54042"/>
                          <a:pt x="64992" y="53443"/>
                        </a:cubicBezTo>
                        <a:lnTo>
                          <a:pt x="22869" y="39958"/>
                        </a:lnTo>
                        <a:cubicBezTo>
                          <a:pt x="19165" y="38784"/>
                          <a:pt x="15227" y="40740"/>
                          <a:pt x="13923" y="44418"/>
                        </a:cubicBezTo>
                        <a:cubicBezTo>
                          <a:pt x="12671" y="47965"/>
                          <a:pt x="14288" y="51852"/>
                          <a:pt x="17679" y="53416"/>
                        </a:cubicBezTo>
                        <a:lnTo>
                          <a:pt x="67313" y="72535"/>
                        </a:lnTo>
                        <a:lnTo>
                          <a:pt x="108393" y="57772"/>
                        </a:lnTo>
                        <a:lnTo>
                          <a:pt x="112957" y="70500"/>
                        </a:lnTo>
                        <a:lnTo>
                          <a:pt x="69530" y="86124"/>
                        </a:lnTo>
                        <a:cubicBezTo>
                          <a:pt x="68800" y="86384"/>
                          <a:pt x="68044" y="86515"/>
                          <a:pt x="67261" y="86515"/>
                        </a:cubicBezTo>
                        <a:close/>
                      </a:path>
                    </a:pathLst>
                  </a:custGeom>
                  <a:grpFill/>
                  <a:ln w="2602" cap="flat">
                    <a:noFill/>
                    <a:prstDash val="solid"/>
                    <a:miter/>
                  </a:ln>
                </p:spPr>
                <p:txBody>
                  <a:bodyPr rtlCol="0" anchor="ctr"/>
                  <a:lstStyle/>
                  <a:p>
                    <a:endParaRPr lang="en-GB" dirty="0"/>
                  </a:p>
                </p:txBody>
              </p:sp>
            </p:grpSp>
          </p:grpSp>
        </p:grpSp>
        <p:grpSp>
          <p:nvGrpSpPr>
            <p:cNvPr id="335" name="Group 334">
              <a:extLst>
                <a:ext uri="{FF2B5EF4-FFF2-40B4-BE49-F238E27FC236}">
                  <a16:creationId xmlns:a16="http://schemas.microsoft.com/office/drawing/2014/main" id="{5972977B-6620-4C29-A405-54A29F5DFD07}"/>
                </a:ext>
              </a:extLst>
            </p:cNvPr>
            <p:cNvGrpSpPr/>
            <p:nvPr/>
          </p:nvGrpSpPr>
          <p:grpSpPr>
            <a:xfrm>
              <a:off x="1569569" y="4002611"/>
              <a:ext cx="538713" cy="432000"/>
              <a:chOff x="6030775" y="3343055"/>
              <a:chExt cx="648640" cy="520151"/>
            </a:xfrm>
          </p:grpSpPr>
          <p:sp>
            <p:nvSpPr>
              <p:cNvPr id="336" name="Freihandform: Form 756">
                <a:extLst>
                  <a:ext uri="{FF2B5EF4-FFF2-40B4-BE49-F238E27FC236}">
                    <a16:creationId xmlns:a16="http://schemas.microsoft.com/office/drawing/2014/main" id="{5A8CD3DF-D66E-4790-A0FC-D92E361E1FE6}"/>
                  </a:ext>
                </a:extLst>
              </p:cNvPr>
              <p:cNvSpPr/>
              <p:nvPr/>
            </p:nvSpPr>
            <p:spPr>
              <a:xfrm>
                <a:off x="6030775" y="3680813"/>
                <a:ext cx="324306" cy="182393"/>
              </a:xfrm>
              <a:custGeom>
                <a:avLst/>
                <a:gdLst>
                  <a:gd name="connsiteX0" fmla="*/ 13511 w 324306"/>
                  <a:gd name="connsiteY0" fmla="*/ 182393 h 182393"/>
                  <a:gd name="connsiteX1" fmla="*/ 0 w 324306"/>
                  <a:gd name="connsiteY1" fmla="*/ 182393 h 182393"/>
                  <a:gd name="connsiteX2" fmla="*/ 0 w 324306"/>
                  <a:gd name="connsiteY2" fmla="*/ 141861 h 182393"/>
                  <a:gd name="connsiteX3" fmla="*/ 6755 w 324306"/>
                  <a:gd name="connsiteY3" fmla="*/ 135106 h 182393"/>
                  <a:gd name="connsiteX4" fmla="*/ 135132 w 324306"/>
                  <a:gd name="connsiteY4" fmla="*/ 135106 h 182393"/>
                  <a:gd name="connsiteX5" fmla="*/ 135132 w 324306"/>
                  <a:gd name="connsiteY5" fmla="*/ 74308 h 182393"/>
                  <a:gd name="connsiteX6" fmla="*/ 141888 w 324306"/>
                  <a:gd name="connsiteY6" fmla="*/ 67553 h 182393"/>
                  <a:gd name="connsiteX7" fmla="*/ 270264 w 324306"/>
                  <a:gd name="connsiteY7" fmla="*/ 67553 h 182393"/>
                  <a:gd name="connsiteX8" fmla="*/ 270264 w 324306"/>
                  <a:gd name="connsiteY8" fmla="*/ 6755 h 182393"/>
                  <a:gd name="connsiteX9" fmla="*/ 277020 w 324306"/>
                  <a:gd name="connsiteY9" fmla="*/ 0 h 182393"/>
                  <a:gd name="connsiteX10" fmla="*/ 324307 w 324306"/>
                  <a:gd name="connsiteY10" fmla="*/ 0 h 182393"/>
                  <a:gd name="connsiteX11" fmla="*/ 324307 w 324306"/>
                  <a:gd name="connsiteY11" fmla="*/ 13511 h 182393"/>
                  <a:gd name="connsiteX12" fmla="*/ 283775 w 324306"/>
                  <a:gd name="connsiteY12" fmla="*/ 13511 h 182393"/>
                  <a:gd name="connsiteX13" fmla="*/ 283775 w 324306"/>
                  <a:gd name="connsiteY13" fmla="*/ 74308 h 182393"/>
                  <a:gd name="connsiteX14" fmla="*/ 277020 w 324306"/>
                  <a:gd name="connsiteY14" fmla="*/ 81064 h 182393"/>
                  <a:gd name="connsiteX15" fmla="*/ 148643 w 324306"/>
                  <a:gd name="connsiteY15" fmla="*/ 81064 h 182393"/>
                  <a:gd name="connsiteX16" fmla="*/ 148643 w 324306"/>
                  <a:gd name="connsiteY16" fmla="*/ 141861 h 182393"/>
                  <a:gd name="connsiteX17" fmla="*/ 141888 w 324306"/>
                  <a:gd name="connsiteY17" fmla="*/ 148617 h 182393"/>
                  <a:gd name="connsiteX18" fmla="*/ 13511 w 324306"/>
                  <a:gd name="connsiteY18" fmla="*/ 148617 h 182393"/>
                  <a:gd name="connsiteX19" fmla="*/ 13511 w 324306"/>
                  <a:gd name="connsiteY19" fmla="*/ 182393 h 182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24306" h="182393">
                    <a:moveTo>
                      <a:pt x="13511" y="182393"/>
                    </a:moveTo>
                    <a:lnTo>
                      <a:pt x="0" y="182393"/>
                    </a:lnTo>
                    <a:lnTo>
                      <a:pt x="0" y="141861"/>
                    </a:lnTo>
                    <a:cubicBezTo>
                      <a:pt x="0" y="138132"/>
                      <a:pt x="3026" y="135106"/>
                      <a:pt x="6755" y="135106"/>
                    </a:cubicBezTo>
                    <a:lnTo>
                      <a:pt x="135132" y="135106"/>
                    </a:lnTo>
                    <a:lnTo>
                      <a:pt x="135132" y="74308"/>
                    </a:lnTo>
                    <a:cubicBezTo>
                      <a:pt x="135132" y="70579"/>
                      <a:pt x="138158" y="67553"/>
                      <a:pt x="141888" y="67553"/>
                    </a:cubicBezTo>
                    <a:lnTo>
                      <a:pt x="270264" y="67553"/>
                    </a:lnTo>
                    <a:lnTo>
                      <a:pt x="270264" y="6755"/>
                    </a:lnTo>
                    <a:cubicBezTo>
                      <a:pt x="270264" y="3025"/>
                      <a:pt x="273290" y="0"/>
                      <a:pt x="277020" y="0"/>
                    </a:cubicBezTo>
                    <a:lnTo>
                      <a:pt x="324307" y="0"/>
                    </a:lnTo>
                    <a:lnTo>
                      <a:pt x="324307" y="13511"/>
                    </a:lnTo>
                    <a:lnTo>
                      <a:pt x="283775" y="13511"/>
                    </a:lnTo>
                    <a:lnTo>
                      <a:pt x="283775" y="74308"/>
                    </a:lnTo>
                    <a:cubicBezTo>
                      <a:pt x="283775" y="78038"/>
                      <a:pt x="280749" y="81064"/>
                      <a:pt x="277020" y="81064"/>
                    </a:cubicBezTo>
                    <a:lnTo>
                      <a:pt x="148643" y="81064"/>
                    </a:lnTo>
                    <a:lnTo>
                      <a:pt x="148643" y="141861"/>
                    </a:lnTo>
                    <a:cubicBezTo>
                      <a:pt x="148643" y="145591"/>
                      <a:pt x="145617" y="148617"/>
                      <a:pt x="141888" y="148617"/>
                    </a:cubicBezTo>
                    <a:lnTo>
                      <a:pt x="13511" y="148617"/>
                    </a:lnTo>
                    <a:lnTo>
                      <a:pt x="13511" y="182393"/>
                    </a:lnTo>
                    <a:close/>
                  </a:path>
                </a:pathLst>
              </a:custGeom>
              <a:solidFill>
                <a:schemeClr val="accent1"/>
              </a:solidFill>
              <a:ln w="2602" cap="flat">
                <a:noFill/>
                <a:prstDash val="solid"/>
                <a:miter/>
              </a:ln>
            </p:spPr>
            <p:txBody>
              <a:bodyPr rtlCol="0" anchor="ctr"/>
              <a:lstStyle/>
              <a:p>
                <a:endParaRPr lang="en-GB" dirty="0"/>
              </a:p>
            </p:txBody>
          </p:sp>
          <p:sp>
            <p:nvSpPr>
              <p:cNvPr id="337" name="Freihandform: Form 757">
                <a:extLst>
                  <a:ext uri="{FF2B5EF4-FFF2-40B4-BE49-F238E27FC236}">
                    <a16:creationId xmlns:a16="http://schemas.microsoft.com/office/drawing/2014/main" id="{04EC0109-FB68-482F-8316-0C39AB2403FB}"/>
                  </a:ext>
                </a:extLst>
              </p:cNvPr>
              <p:cNvSpPr/>
              <p:nvPr/>
            </p:nvSpPr>
            <p:spPr>
              <a:xfrm>
                <a:off x="6368619" y="3403768"/>
                <a:ext cx="13510" cy="148642"/>
              </a:xfrm>
              <a:custGeom>
                <a:avLst/>
                <a:gdLst>
                  <a:gd name="connsiteX0" fmla="*/ 0 w 13510"/>
                  <a:gd name="connsiteY0" fmla="*/ 0 h 148642"/>
                  <a:gd name="connsiteX1" fmla="*/ 13511 w 13510"/>
                  <a:gd name="connsiteY1" fmla="*/ 0 h 148642"/>
                  <a:gd name="connsiteX2" fmla="*/ 13511 w 13510"/>
                  <a:gd name="connsiteY2" fmla="*/ 148643 h 148642"/>
                  <a:gd name="connsiteX3" fmla="*/ 0 w 13510"/>
                  <a:gd name="connsiteY3" fmla="*/ 148643 h 148642"/>
                </a:gdLst>
                <a:ahLst/>
                <a:cxnLst>
                  <a:cxn ang="0">
                    <a:pos x="connsiteX0" y="connsiteY0"/>
                  </a:cxn>
                  <a:cxn ang="0">
                    <a:pos x="connsiteX1" y="connsiteY1"/>
                  </a:cxn>
                  <a:cxn ang="0">
                    <a:pos x="connsiteX2" y="connsiteY2"/>
                  </a:cxn>
                  <a:cxn ang="0">
                    <a:pos x="connsiteX3" y="connsiteY3"/>
                  </a:cxn>
                </a:cxnLst>
                <a:rect l="l" t="t" r="r" b="b"/>
                <a:pathLst>
                  <a:path w="13510" h="148642">
                    <a:moveTo>
                      <a:pt x="0" y="0"/>
                    </a:moveTo>
                    <a:lnTo>
                      <a:pt x="13511" y="0"/>
                    </a:lnTo>
                    <a:lnTo>
                      <a:pt x="13511" y="148643"/>
                    </a:lnTo>
                    <a:lnTo>
                      <a:pt x="0" y="148643"/>
                    </a:lnTo>
                    <a:close/>
                  </a:path>
                </a:pathLst>
              </a:custGeom>
              <a:solidFill>
                <a:schemeClr val="accent1"/>
              </a:solidFill>
              <a:ln w="2602" cap="flat">
                <a:noFill/>
                <a:prstDash val="solid"/>
                <a:miter/>
              </a:ln>
            </p:spPr>
            <p:txBody>
              <a:bodyPr rtlCol="0" anchor="ctr"/>
              <a:lstStyle/>
              <a:p>
                <a:endParaRPr lang="en-GB" dirty="0"/>
              </a:p>
            </p:txBody>
          </p:sp>
          <p:sp>
            <p:nvSpPr>
              <p:cNvPr id="338" name="Freihandform: Form 758">
                <a:extLst>
                  <a:ext uri="{FF2B5EF4-FFF2-40B4-BE49-F238E27FC236}">
                    <a16:creationId xmlns:a16="http://schemas.microsoft.com/office/drawing/2014/main" id="{3179CA77-5A92-4741-9B90-79177740E860}"/>
                  </a:ext>
                </a:extLst>
              </p:cNvPr>
              <p:cNvSpPr/>
              <p:nvPr/>
            </p:nvSpPr>
            <p:spPr>
              <a:xfrm>
                <a:off x="6328061" y="3505097"/>
                <a:ext cx="13510" cy="13510"/>
              </a:xfrm>
              <a:custGeom>
                <a:avLst/>
                <a:gdLst>
                  <a:gd name="connsiteX0" fmla="*/ 0 w 13510"/>
                  <a:gd name="connsiteY0" fmla="*/ 0 h 13510"/>
                  <a:gd name="connsiteX1" fmla="*/ 13511 w 13510"/>
                  <a:gd name="connsiteY1" fmla="*/ 0 h 13510"/>
                  <a:gd name="connsiteX2" fmla="*/ 13511 w 13510"/>
                  <a:gd name="connsiteY2" fmla="*/ 13511 h 13510"/>
                  <a:gd name="connsiteX3" fmla="*/ 0 w 13510"/>
                  <a:gd name="connsiteY3" fmla="*/ 13511 h 13510"/>
                </a:gdLst>
                <a:ahLst/>
                <a:cxnLst>
                  <a:cxn ang="0">
                    <a:pos x="connsiteX0" y="connsiteY0"/>
                  </a:cxn>
                  <a:cxn ang="0">
                    <a:pos x="connsiteX1" y="connsiteY1"/>
                  </a:cxn>
                  <a:cxn ang="0">
                    <a:pos x="connsiteX2" y="connsiteY2"/>
                  </a:cxn>
                  <a:cxn ang="0">
                    <a:pos x="connsiteX3" y="connsiteY3"/>
                  </a:cxn>
                </a:cxnLst>
                <a:rect l="l" t="t" r="r" b="b"/>
                <a:pathLst>
                  <a:path w="13510" h="13510">
                    <a:moveTo>
                      <a:pt x="0" y="0"/>
                    </a:moveTo>
                    <a:lnTo>
                      <a:pt x="13511" y="0"/>
                    </a:lnTo>
                    <a:lnTo>
                      <a:pt x="13511" y="13511"/>
                    </a:lnTo>
                    <a:lnTo>
                      <a:pt x="0" y="13511"/>
                    </a:lnTo>
                    <a:close/>
                  </a:path>
                </a:pathLst>
              </a:custGeom>
              <a:solidFill>
                <a:schemeClr val="accent1"/>
              </a:solidFill>
              <a:ln w="2602" cap="flat">
                <a:noFill/>
                <a:prstDash val="solid"/>
                <a:miter/>
              </a:ln>
            </p:spPr>
            <p:txBody>
              <a:bodyPr rtlCol="0" anchor="ctr"/>
              <a:lstStyle/>
              <a:p>
                <a:endParaRPr lang="en-GB" dirty="0"/>
              </a:p>
            </p:txBody>
          </p:sp>
          <p:sp>
            <p:nvSpPr>
              <p:cNvPr id="339" name="Freihandform: Form 759">
                <a:extLst>
                  <a:ext uri="{FF2B5EF4-FFF2-40B4-BE49-F238E27FC236}">
                    <a16:creationId xmlns:a16="http://schemas.microsoft.com/office/drawing/2014/main" id="{B5492BE8-2EAC-496D-B103-B7EB174F527B}"/>
                  </a:ext>
                </a:extLst>
              </p:cNvPr>
              <p:cNvSpPr/>
              <p:nvPr/>
            </p:nvSpPr>
            <p:spPr>
              <a:xfrm>
                <a:off x="6328061" y="3471321"/>
                <a:ext cx="13510" cy="13510"/>
              </a:xfrm>
              <a:custGeom>
                <a:avLst/>
                <a:gdLst>
                  <a:gd name="connsiteX0" fmla="*/ 0 w 13510"/>
                  <a:gd name="connsiteY0" fmla="*/ 0 h 13510"/>
                  <a:gd name="connsiteX1" fmla="*/ 13511 w 13510"/>
                  <a:gd name="connsiteY1" fmla="*/ 0 h 13510"/>
                  <a:gd name="connsiteX2" fmla="*/ 13511 w 13510"/>
                  <a:gd name="connsiteY2" fmla="*/ 13511 h 13510"/>
                  <a:gd name="connsiteX3" fmla="*/ 0 w 13510"/>
                  <a:gd name="connsiteY3" fmla="*/ 13511 h 13510"/>
                </a:gdLst>
                <a:ahLst/>
                <a:cxnLst>
                  <a:cxn ang="0">
                    <a:pos x="connsiteX0" y="connsiteY0"/>
                  </a:cxn>
                  <a:cxn ang="0">
                    <a:pos x="connsiteX1" y="connsiteY1"/>
                  </a:cxn>
                  <a:cxn ang="0">
                    <a:pos x="connsiteX2" y="connsiteY2"/>
                  </a:cxn>
                  <a:cxn ang="0">
                    <a:pos x="connsiteX3" y="connsiteY3"/>
                  </a:cxn>
                </a:cxnLst>
                <a:rect l="l" t="t" r="r" b="b"/>
                <a:pathLst>
                  <a:path w="13510" h="13510">
                    <a:moveTo>
                      <a:pt x="0" y="0"/>
                    </a:moveTo>
                    <a:lnTo>
                      <a:pt x="13511" y="0"/>
                    </a:lnTo>
                    <a:lnTo>
                      <a:pt x="13511" y="13511"/>
                    </a:lnTo>
                    <a:lnTo>
                      <a:pt x="0" y="13511"/>
                    </a:lnTo>
                    <a:close/>
                  </a:path>
                </a:pathLst>
              </a:custGeom>
              <a:solidFill>
                <a:schemeClr val="accent1"/>
              </a:solidFill>
              <a:ln w="2602" cap="flat">
                <a:noFill/>
                <a:prstDash val="solid"/>
                <a:miter/>
              </a:ln>
            </p:spPr>
            <p:txBody>
              <a:bodyPr rtlCol="0" anchor="ctr"/>
              <a:lstStyle/>
              <a:p>
                <a:endParaRPr lang="en-GB" dirty="0"/>
              </a:p>
            </p:txBody>
          </p:sp>
          <p:sp>
            <p:nvSpPr>
              <p:cNvPr id="340" name="Freihandform: Form 760">
                <a:extLst>
                  <a:ext uri="{FF2B5EF4-FFF2-40B4-BE49-F238E27FC236}">
                    <a16:creationId xmlns:a16="http://schemas.microsoft.com/office/drawing/2014/main" id="{F61F21B3-0989-47DC-AC26-3F65BA760B6C}"/>
                  </a:ext>
                </a:extLst>
              </p:cNvPr>
              <p:cNvSpPr/>
              <p:nvPr/>
            </p:nvSpPr>
            <p:spPr>
              <a:xfrm>
                <a:off x="6301062" y="3343055"/>
                <a:ext cx="108092" cy="108000"/>
              </a:xfrm>
              <a:custGeom>
                <a:avLst/>
                <a:gdLst>
                  <a:gd name="connsiteX0" fmla="*/ 40536 w 108092"/>
                  <a:gd name="connsiteY0" fmla="*/ 108000 h 108000"/>
                  <a:gd name="connsiteX1" fmla="*/ 27025 w 108092"/>
                  <a:gd name="connsiteY1" fmla="*/ 108000 h 108000"/>
                  <a:gd name="connsiteX2" fmla="*/ 27025 w 108092"/>
                  <a:gd name="connsiteY2" fmla="*/ 67468 h 108000"/>
                  <a:gd name="connsiteX3" fmla="*/ 6759 w 108092"/>
                  <a:gd name="connsiteY3" fmla="*/ 67468 h 108000"/>
                  <a:gd name="connsiteX4" fmla="*/ 604 w 108092"/>
                  <a:gd name="connsiteY4" fmla="*/ 63504 h 108000"/>
                  <a:gd name="connsiteX5" fmla="*/ 1673 w 108092"/>
                  <a:gd name="connsiteY5" fmla="*/ 56253 h 108000"/>
                  <a:gd name="connsiteX6" fmla="*/ 48960 w 108092"/>
                  <a:gd name="connsiteY6" fmla="*/ 2210 h 108000"/>
                  <a:gd name="connsiteX7" fmla="*/ 59133 w 108092"/>
                  <a:gd name="connsiteY7" fmla="*/ 2210 h 108000"/>
                  <a:gd name="connsiteX8" fmla="*/ 106420 w 108092"/>
                  <a:gd name="connsiteY8" fmla="*/ 56253 h 108000"/>
                  <a:gd name="connsiteX9" fmla="*/ 107489 w 108092"/>
                  <a:gd name="connsiteY9" fmla="*/ 63504 h 108000"/>
                  <a:gd name="connsiteX10" fmla="*/ 101334 w 108092"/>
                  <a:gd name="connsiteY10" fmla="*/ 67468 h 108000"/>
                  <a:gd name="connsiteX11" fmla="*/ 60802 w 108092"/>
                  <a:gd name="connsiteY11" fmla="*/ 67468 h 108000"/>
                  <a:gd name="connsiteX12" fmla="*/ 60802 w 108092"/>
                  <a:gd name="connsiteY12" fmla="*/ 53958 h 108000"/>
                  <a:gd name="connsiteX13" fmla="*/ 86441 w 108092"/>
                  <a:gd name="connsiteY13" fmla="*/ 53958 h 108000"/>
                  <a:gd name="connsiteX14" fmla="*/ 54020 w 108092"/>
                  <a:gd name="connsiteY14" fmla="*/ 16921 h 108000"/>
                  <a:gd name="connsiteX15" fmla="*/ 21600 w 108092"/>
                  <a:gd name="connsiteY15" fmla="*/ 53958 h 108000"/>
                  <a:gd name="connsiteX16" fmla="*/ 33728 w 108092"/>
                  <a:gd name="connsiteY16" fmla="*/ 53958 h 108000"/>
                  <a:gd name="connsiteX17" fmla="*/ 40484 w 108092"/>
                  <a:gd name="connsiteY17" fmla="*/ 60713 h 108000"/>
                  <a:gd name="connsiteX18" fmla="*/ 40484 w 108092"/>
                  <a:gd name="connsiteY18" fmla="*/ 108000 h 10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8092" h="108000">
                    <a:moveTo>
                      <a:pt x="40536" y="108000"/>
                    </a:moveTo>
                    <a:lnTo>
                      <a:pt x="27025" y="108000"/>
                    </a:lnTo>
                    <a:lnTo>
                      <a:pt x="27025" y="67468"/>
                    </a:lnTo>
                    <a:lnTo>
                      <a:pt x="6759" y="67468"/>
                    </a:lnTo>
                    <a:cubicBezTo>
                      <a:pt x="4099" y="67468"/>
                      <a:pt x="1699" y="65929"/>
                      <a:pt x="604" y="63504"/>
                    </a:cubicBezTo>
                    <a:cubicBezTo>
                      <a:pt x="-492" y="61078"/>
                      <a:pt x="-74" y="58261"/>
                      <a:pt x="1673" y="56253"/>
                    </a:cubicBezTo>
                    <a:lnTo>
                      <a:pt x="48960" y="2210"/>
                    </a:lnTo>
                    <a:cubicBezTo>
                      <a:pt x="51516" y="-737"/>
                      <a:pt x="56550" y="-737"/>
                      <a:pt x="59133" y="2210"/>
                    </a:cubicBezTo>
                    <a:lnTo>
                      <a:pt x="106420" y="56253"/>
                    </a:lnTo>
                    <a:cubicBezTo>
                      <a:pt x="108167" y="58235"/>
                      <a:pt x="108584" y="61078"/>
                      <a:pt x="107489" y="63504"/>
                    </a:cubicBezTo>
                    <a:cubicBezTo>
                      <a:pt x="106394" y="65929"/>
                      <a:pt x="103994" y="67468"/>
                      <a:pt x="101334" y="67468"/>
                    </a:cubicBezTo>
                    <a:lnTo>
                      <a:pt x="60802" y="67468"/>
                    </a:lnTo>
                    <a:lnTo>
                      <a:pt x="60802" y="53958"/>
                    </a:lnTo>
                    <a:lnTo>
                      <a:pt x="86441" y="53958"/>
                    </a:lnTo>
                    <a:lnTo>
                      <a:pt x="54020" y="16921"/>
                    </a:lnTo>
                    <a:lnTo>
                      <a:pt x="21600" y="53958"/>
                    </a:lnTo>
                    <a:lnTo>
                      <a:pt x="33728" y="53958"/>
                    </a:lnTo>
                    <a:cubicBezTo>
                      <a:pt x="37458" y="53958"/>
                      <a:pt x="40484" y="56983"/>
                      <a:pt x="40484" y="60713"/>
                    </a:cubicBezTo>
                    <a:lnTo>
                      <a:pt x="40484" y="108000"/>
                    </a:lnTo>
                    <a:close/>
                  </a:path>
                </a:pathLst>
              </a:custGeom>
              <a:solidFill>
                <a:schemeClr val="accent1"/>
              </a:solidFill>
              <a:ln w="2602" cap="flat">
                <a:noFill/>
                <a:prstDash val="solid"/>
                <a:miter/>
              </a:ln>
            </p:spPr>
            <p:txBody>
              <a:bodyPr rtlCol="0" anchor="ctr"/>
              <a:lstStyle/>
              <a:p>
                <a:endParaRPr lang="en-GB" dirty="0"/>
              </a:p>
            </p:txBody>
          </p:sp>
          <p:sp>
            <p:nvSpPr>
              <p:cNvPr id="341" name="Freihandform: Form 761">
                <a:extLst>
                  <a:ext uri="{FF2B5EF4-FFF2-40B4-BE49-F238E27FC236}">
                    <a16:creationId xmlns:a16="http://schemas.microsoft.com/office/drawing/2014/main" id="{F9375D36-E7AD-4ABB-8F42-4F1063A8A563}"/>
                  </a:ext>
                </a:extLst>
              </p:cNvPr>
              <p:cNvSpPr/>
              <p:nvPr/>
            </p:nvSpPr>
            <p:spPr>
              <a:xfrm>
                <a:off x="6368619" y="3572676"/>
                <a:ext cx="13510" cy="13510"/>
              </a:xfrm>
              <a:custGeom>
                <a:avLst/>
                <a:gdLst>
                  <a:gd name="connsiteX0" fmla="*/ 0 w 13510"/>
                  <a:gd name="connsiteY0" fmla="*/ 0 h 13510"/>
                  <a:gd name="connsiteX1" fmla="*/ 13511 w 13510"/>
                  <a:gd name="connsiteY1" fmla="*/ 0 h 13510"/>
                  <a:gd name="connsiteX2" fmla="*/ 13511 w 13510"/>
                  <a:gd name="connsiteY2" fmla="*/ 13511 h 13510"/>
                  <a:gd name="connsiteX3" fmla="*/ 0 w 13510"/>
                  <a:gd name="connsiteY3" fmla="*/ 13511 h 13510"/>
                </a:gdLst>
                <a:ahLst/>
                <a:cxnLst>
                  <a:cxn ang="0">
                    <a:pos x="connsiteX0" y="connsiteY0"/>
                  </a:cxn>
                  <a:cxn ang="0">
                    <a:pos x="connsiteX1" y="connsiteY1"/>
                  </a:cxn>
                  <a:cxn ang="0">
                    <a:pos x="connsiteX2" y="connsiteY2"/>
                  </a:cxn>
                  <a:cxn ang="0">
                    <a:pos x="connsiteX3" y="connsiteY3"/>
                  </a:cxn>
                </a:cxnLst>
                <a:rect l="l" t="t" r="r" b="b"/>
                <a:pathLst>
                  <a:path w="13510" h="13510">
                    <a:moveTo>
                      <a:pt x="0" y="0"/>
                    </a:moveTo>
                    <a:lnTo>
                      <a:pt x="13511" y="0"/>
                    </a:lnTo>
                    <a:lnTo>
                      <a:pt x="13511" y="13511"/>
                    </a:lnTo>
                    <a:lnTo>
                      <a:pt x="0" y="13511"/>
                    </a:lnTo>
                    <a:close/>
                  </a:path>
                </a:pathLst>
              </a:custGeom>
              <a:solidFill>
                <a:schemeClr val="accent1"/>
              </a:solidFill>
              <a:ln w="2602" cap="flat">
                <a:noFill/>
                <a:prstDash val="solid"/>
                <a:miter/>
              </a:ln>
            </p:spPr>
            <p:txBody>
              <a:bodyPr rtlCol="0" anchor="ctr"/>
              <a:lstStyle/>
              <a:p>
                <a:endParaRPr lang="en-GB" dirty="0"/>
              </a:p>
            </p:txBody>
          </p:sp>
          <p:sp>
            <p:nvSpPr>
              <p:cNvPr id="342" name="Freihandform: Form 762">
                <a:extLst>
                  <a:ext uri="{FF2B5EF4-FFF2-40B4-BE49-F238E27FC236}">
                    <a16:creationId xmlns:a16="http://schemas.microsoft.com/office/drawing/2014/main" id="{7864BB20-18B1-44F3-9093-C3DE0E659F26}"/>
                  </a:ext>
                </a:extLst>
              </p:cNvPr>
              <p:cNvSpPr/>
              <p:nvPr/>
            </p:nvSpPr>
            <p:spPr>
              <a:xfrm>
                <a:off x="6368619" y="3606453"/>
                <a:ext cx="13510" cy="13510"/>
              </a:xfrm>
              <a:custGeom>
                <a:avLst/>
                <a:gdLst>
                  <a:gd name="connsiteX0" fmla="*/ 0 w 13510"/>
                  <a:gd name="connsiteY0" fmla="*/ 0 h 13510"/>
                  <a:gd name="connsiteX1" fmla="*/ 13511 w 13510"/>
                  <a:gd name="connsiteY1" fmla="*/ 0 h 13510"/>
                  <a:gd name="connsiteX2" fmla="*/ 13511 w 13510"/>
                  <a:gd name="connsiteY2" fmla="*/ 13511 h 13510"/>
                  <a:gd name="connsiteX3" fmla="*/ 0 w 13510"/>
                  <a:gd name="connsiteY3" fmla="*/ 13511 h 13510"/>
                </a:gdLst>
                <a:ahLst/>
                <a:cxnLst>
                  <a:cxn ang="0">
                    <a:pos x="connsiteX0" y="connsiteY0"/>
                  </a:cxn>
                  <a:cxn ang="0">
                    <a:pos x="connsiteX1" y="connsiteY1"/>
                  </a:cxn>
                  <a:cxn ang="0">
                    <a:pos x="connsiteX2" y="connsiteY2"/>
                  </a:cxn>
                  <a:cxn ang="0">
                    <a:pos x="connsiteX3" y="connsiteY3"/>
                  </a:cxn>
                </a:cxnLst>
                <a:rect l="l" t="t" r="r" b="b"/>
                <a:pathLst>
                  <a:path w="13510" h="13510">
                    <a:moveTo>
                      <a:pt x="0" y="0"/>
                    </a:moveTo>
                    <a:lnTo>
                      <a:pt x="13511" y="0"/>
                    </a:lnTo>
                    <a:lnTo>
                      <a:pt x="13511" y="13511"/>
                    </a:lnTo>
                    <a:lnTo>
                      <a:pt x="0" y="13511"/>
                    </a:lnTo>
                    <a:close/>
                  </a:path>
                </a:pathLst>
              </a:custGeom>
              <a:solidFill>
                <a:schemeClr val="accent1"/>
              </a:solidFill>
              <a:ln w="2602" cap="flat">
                <a:noFill/>
                <a:prstDash val="solid"/>
                <a:miter/>
              </a:ln>
            </p:spPr>
            <p:txBody>
              <a:bodyPr rtlCol="0" anchor="ctr"/>
              <a:lstStyle/>
              <a:p>
                <a:endParaRPr lang="en-GB" dirty="0"/>
              </a:p>
            </p:txBody>
          </p:sp>
          <p:sp>
            <p:nvSpPr>
              <p:cNvPr id="343" name="Freihandform: Form 763">
                <a:extLst>
                  <a:ext uri="{FF2B5EF4-FFF2-40B4-BE49-F238E27FC236}">
                    <a16:creationId xmlns:a16="http://schemas.microsoft.com/office/drawing/2014/main" id="{71B249EC-8BA9-4BDC-B458-157122BC8391}"/>
                  </a:ext>
                </a:extLst>
              </p:cNvPr>
              <p:cNvSpPr/>
              <p:nvPr/>
            </p:nvSpPr>
            <p:spPr>
              <a:xfrm>
                <a:off x="6328061" y="3538900"/>
                <a:ext cx="13510" cy="47287"/>
              </a:xfrm>
              <a:custGeom>
                <a:avLst/>
                <a:gdLst>
                  <a:gd name="connsiteX0" fmla="*/ 0 w 13510"/>
                  <a:gd name="connsiteY0" fmla="*/ 0 h 47287"/>
                  <a:gd name="connsiteX1" fmla="*/ 13511 w 13510"/>
                  <a:gd name="connsiteY1" fmla="*/ 0 h 47287"/>
                  <a:gd name="connsiteX2" fmla="*/ 13511 w 13510"/>
                  <a:gd name="connsiteY2" fmla="*/ 47287 h 47287"/>
                  <a:gd name="connsiteX3" fmla="*/ 0 w 13510"/>
                  <a:gd name="connsiteY3" fmla="*/ 47287 h 47287"/>
                </a:gdLst>
                <a:ahLst/>
                <a:cxnLst>
                  <a:cxn ang="0">
                    <a:pos x="connsiteX0" y="connsiteY0"/>
                  </a:cxn>
                  <a:cxn ang="0">
                    <a:pos x="connsiteX1" y="connsiteY1"/>
                  </a:cxn>
                  <a:cxn ang="0">
                    <a:pos x="connsiteX2" y="connsiteY2"/>
                  </a:cxn>
                  <a:cxn ang="0">
                    <a:pos x="connsiteX3" y="connsiteY3"/>
                  </a:cxn>
                </a:cxnLst>
                <a:rect l="l" t="t" r="r" b="b"/>
                <a:pathLst>
                  <a:path w="13510" h="47287">
                    <a:moveTo>
                      <a:pt x="0" y="0"/>
                    </a:moveTo>
                    <a:lnTo>
                      <a:pt x="13511" y="0"/>
                    </a:lnTo>
                    <a:lnTo>
                      <a:pt x="13511" y="47287"/>
                    </a:lnTo>
                    <a:lnTo>
                      <a:pt x="0" y="47287"/>
                    </a:lnTo>
                    <a:close/>
                  </a:path>
                </a:pathLst>
              </a:custGeom>
              <a:solidFill>
                <a:schemeClr val="accent1"/>
              </a:solidFill>
              <a:ln w="2602" cap="flat">
                <a:noFill/>
                <a:prstDash val="solid"/>
                <a:miter/>
              </a:ln>
            </p:spPr>
            <p:txBody>
              <a:bodyPr rtlCol="0" anchor="ctr"/>
              <a:lstStyle/>
              <a:p>
                <a:endParaRPr lang="en-GB" dirty="0"/>
              </a:p>
            </p:txBody>
          </p:sp>
          <p:sp>
            <p:nvSpPr>
              <p:cNvPr id="344" name="Freihandform: Form 764">
                <a:extLst>
                  <a:ext uri="{FF2B5EF4-FFF2-40B4-BE49-F238E27FC236}">
                    <a16:creationId xmlns:a16="http://schemas.microsoft.com/office/drawing/2014/main" id="{1A89772D-11C9-49B6-9121-506DBE1F2DED}"/>
                  </a:ext>
                </a:extLst>
              </p:cNvPr>
              <p:cNvSpPr/>
              <p:nvPr/>
            </p:nvSpPr>
            <p:spPr>
              <a:xfrm>
                <a:off x="6368619" y="3640255"/>
                <a:ext cx="310796" cy="222951"/>
              </a:xfrm>
              <a:custGeom>
                <a:avLst/>
                <a:gdLst>
                  <a:gd name="connsiteX0" fmla="*/ 310796 w 310796"/>
                  <a:gd name="connsiteY0" fmla="*/ 222951 h 222951"/>
                  <a:gd name="connsiteX1" fmla="*/ 297286 w 310796"/>
                  <a:gd name="connsiteY1" fmla="*/ 222951 h 222951"/>
                  <a:gd name="connsiteX2" fmla="*/ 297286 w 310796"/>
                  <a:gd name="connsiteY2" fmla="*/ 189175 h 222951"/>
                  <a:gd name="connsiteX3" fmla="*/ 168909 w 310796"/>
                  <a:gd name="connsiteY3" fmla="*/ 189175 h 222951"/>
                  <a:gd name="connsiteX4" fmla="*/ 162153 w 310796"/>
                  <a:gd name="connsiteY4" fmla="*/ 182419 h 222951"/>
                  <a:gd name="connsiteX5" fmla="*/ 162153 w 310796"/>
                  <a:gd name="connsiteY5" fmla="*/ 121595 h 222951"/>
                  <a:gd name="connsiteX6" fmla="*/ 33776 w 310796"/>
                  <a:gd name="connsiteY6" fmla="*/ 121595 h 222951"/>
                  <a:gd name="connsiteX7" fmla="*/ 27021 w 310796"/>
                  <a:gd name="connsiteY7" fmla="*/ 114840 h 222951"/>
                  <a:gd name="connsiteX8" fmla="*/ 27021 w 310796"/>
                  <a:gd name="connsiteY8" fmla="*/ 54043 h 222951"/>
                  <a:gd name="connsiteX9" fmla="*/ 6755 w 310796"/>
                  <a:gd name="connsiteY9" fmla="*/ 54043 h 222951"/>
                  <a:gd name="connsiteX10" fmla="*/ 0 w 310796"/>
                  <a:gd name="connsiteY10" fmla="*/ 47287 h 222951"/>
                  <a:gd name="connsiteX11" fmla="*/ 0 w 310796"/>
                  <a:gd name="connsiteY11" fmla="*/ 0 h 222951"/>
                  <a:gd name="connsiteX12" fmla="*/ 13511 w 310796"/>
                  <a:gd name="connsiteY12" fmla="*/ 0 h 222951"/>
                  <a:gd name="connsiteX13" fmla="*/ 13511 w 310796"/>
                  <a:gd name="connsiteY13" fmla="*/ 40532 h 222951"/>
                  <a:gd name="connsiteX14" fmla="*/ 33776 w 310796"/>
                  <a:gd name="connsiteY14" fmla="*/ 40532 h 222951"/>
                  <a:gd name="connsiteX15" fmla="*/ 40532 w 310796"/>
                  <a:gd name="connsiteY15" fmla="*/ 47287 h 222951"/>
                  <a:gd name="connsiteX16" fmla="*/ 40532 w 310796"/>
                  <a:gd name="connsiteY16" fmla="*/ 108085 h 222951"/>
                  <a:gd name="connsiteX17" fmla="*/ 168909 w 310796"/>
                  <a:gd name="connsiteY17" fmla="*/ 108085 h 222951"/>
                  <a:gd name="connsiteX18" fmla="*/ 175664 w 310796"/>
                  <a:gd name="connsiteY18" fmla="*/ 114840 h 222951"/>
                  <a:gd name="connsiteX19" fmla="*/ 175664 w 310796"/>
                  <a:gd name="connsiteY19" fmla="*/ 175638 h 222951"/>
                  <a:gd name="connsiteX20" fmla="*/ 304041 w 310796"/>
                  <a:gd name="connsiteY20" fmla="*/ 175638 h 222951"/>
                  <a:gd name="connsiteX21" fmla="*/ 310796 w 310796"/>
                  <a:gd name="connsiteY21" fmla="*/ 182393 h 222951"/>
                  <a:gd name="connsiteX22" fmla="*/ 310796 w 310796"/>
                  <a:gd name="connsiteY22" fmla="*/ 222951 h 222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796" h="222951">
                    <a:moveTo>
                      <a:pt x="310796" y="222951"/>
                    </a:moveTo>
                    <a:lnTo>
                      <a:pt x="297286" y="222951"/>
                    </a:lnTo>
                    <a:lnTo>
                      <a:pt x="297286" y="189175"/>
                    </a:lnTo>
                    <a:lnTo>
                      <a:pt x="168909" y="189175"/>
                    </a:lnTo>
                    <a:cubicBezTo>
                      <a:pt x="165179" y="189175"/>
                      <a:pt x="162153" y="186149"/>
                      <a:pt x="162153" y="182419"/>
                    </a:cubicBezTo>
                    <a:lnTo>
                      <a:pt x="162153" y="121595"/>
                    </a:lnTo>
                    <a:lnTo>
                      <a:pt x="33776" y="121595"/>
                    </a:lnTo>
                    <a:cubicBezTo>
                      <a:pt x="30047" y="121595"/>
                      <a:pt x="27021" y="118570"/>
                      <a:pt x="27021" y="114840"/>
                    </a:cubicBezTo>
                    <a:lnTo>
                      <a:pt x="27021" y="54043"/>
                    </a:lnTo>
                    <a:lnTo>
                      <a:pt x="6755" y="54043"/>
                    </a:lnTo>
                    <a:cubicBezTo>
                      <a:pt x="3025" y="54043"/>
                      <a:pt x="0" y="51017"/>
                      <a:pt x="0" y="47287"/>
                    </a:cubicBezTo>
                    <a:lnTo>
                      <a:pt x="0" y="0"/>
                    </a:lnTo>
                    <a:lnTo>
                      <a:pt x="13511" y="0"/>
                    </a:lnTo>
                    <a:lnTo>
                      <a:pt x="13511" y="40532"/>
                    </a:lnTo>
                    <a:lnTo>
                      <a:pt x="33776" y="40532"/>
                    </a:lnTo>
                    <a:cubicBezTo>
                      <a:pt x="37506" y="40532"/>
                      <a:pt x="40532" y="43557"/>
                      <a:pt x="40532" y="47287"/>
                    </a:cubicBezTo>
                    <a:lnTo>
                      <a:pt x="40532" y="108085"/>
                    </a:lnTo>
                    <a:lnTo>
                      <a:pt x="168909" y="108085"/>
                    </a:lnTo>
                    <a:cubicBezTo>
                      <a:pt x="172638" y="108085"/>
                      <a:pt x="175664" y="111111"/>
                      <a:pt x="175664" y="114840"/>
                    </a:cubicBezTo>
                    <a:lnTo>
                      <a:pt x="175664" y="175638"/>
                    </a:lnTo>
                    <a:lnTo>
                      <a:pt x="304041" y="175638"/>
                    </a:lnTo>
                    <a:cubicBezTo>
                      <a:pt x="307771" y="175638"/>
                      <a:pt x="310796" y="178663"/>
                      <a:pt x="310796" y="182393"/>
                    </a:cubicBezTo>
                    <a:lnTo>
                      <a:pt x="310796" y="222951"/>
                    </a:lnTo>
                    <a:close/>
                  </a:path>
                </a:pathLst>
              </a:custGeom>
              <a:solidFill>
                <a:schemeClr val="accent1"/>
              </a:solidFill>
              <a:ln w="2602" cap="flat">
                <a:noFill/>
                <a:prstDash val="solid"/>
                <a:miter/>
              </a:ln>
            </p:spPr>
            <p:txBody>
              <a:bodyPr rtlCol="0" anchor="ctr"/>
              <a:lstStyle/>
              <a:p>
                <a:endParaRPr lang="en-GB" dirty="0"/>
              </a:p>
            </p:txBody>
          </p:sp>
        </p:grpSp>
      </p:grpSp>
      <p:grpSp>
        <p:nvGrpSpPr>
          <p:cNvPr id="32" name="Group 31">
            <a:extLst>
              <a:ext uri="{FF2B5EF4-FFF2-40B4-BE49-F238E27FC236}">
                <a16:creationId xmlns:a16="http://schemas.microsoft.com/office/drawing/2014/main" id="{2430F5E1-3518-32D1-2A56-F9F29D80688F}"/>
              </a:ext>
            </a:extLst>
          </p:cNvPr>
          <p:cNvGrpSpPr/>
          <p:nvPr/>
        </p:nvGrpSpPr>
        <p:grpSpPr>
          <a:xfrm>
            <a:off x="2624105" y="4002613"/>
            <a:ext cx="521628" cy="432000"/>
            <a:chOff x="2624105" y="4002613"/>
            <a:chExt cx="521628" cy="432000"/>
          </a:xfrm>
        </p:grpSpPr>
        <p:grpSp>
          <p:nvGrpSpPr>
            <p:cNvPr id="360" name="Group 359">
              <a:extLst>
                <a:ext uri="{FF2B5EF4-FFF2-40B4-BE49-F238E27FC236}">
                  <a16:creationId xmlns:a16="http://schemas.microsoft.com/office/drawing/2014/main" id="{52231877-7306-4063-93ED-9F6782ECE718}"/>
                </a:ext>
              </a:extLst>
            </p:cNvPr>
            <p:cNvGrpSpPr/>
            <p:nvPr/>
          </p:nvGrpSpPr>
          <p:grpSpPr>
            <a:xfrm>
              <a:off x="2711481" y="4002613"/>
              <a:ext cx="434252" cy="432000"/>
              <a:chOff x="1801196" y="2561715"/>
              <a:chExt cx="374619" cy="372676"/>
            </a:xfrm>
            <a:solidFill>
              <a:schemeClr val="tx2"/>
            </a:solidFill>
          </p:grpSpPr>
          <p:sp>
            <p:nvSpPr>
              <p:cNvPr id="365" name="Freihandform: Form 142">
                <a:extLst>
                  <a:ext uri="{FF2B5EF4-FFF2-40B4-BE49-F238E27FC236}">
                    <a16:creationId xmlns:a16="http://schemas.microsoft.com/office/drawing/2014/main" id="{F346E4C2-D6E6-4ED1-AEE9-57D5E8921EE7}"/>
                  </a:ext>
                </a:extLst>
              </p:cNvPr>
              <p:cNvSpPr/>
              <p:nvPr/>
            </p:nvSpPr>
            <p:spPr>
              <a:xfrm>
                <a:off x="1801196" y="2561880"/>
                <a:ext cx="173643" cy="282657"/>
              </a:xfrm>
              <a:custGeom>
                <a:avLst/>
                <a:gdLst>
                  <a:gd name="connsiteX0" fmla="*/ 30464 w 173643"/>
                  <a:gd name="connsiteY0" fmla="*/ 282658 h 282657"/>
                  <a:gd name="connsiteX1" fmla="*/ 24830 w 173643"/>
                  <a:gd name="connsiteY1" fmla="*/ 279398 h 282657"/>
                  <a:gd name="connsiteX2" fmla="*/ 0 w 173643"/>
                  <a:gd name="connsiteY2" fmla="*/ 186180 h 282657"/>
                  <a:gd name="connsiteX3" fmla="*/ 166457 w 173643"/>
                  <a:gd name="connsiteY3" fmla="*/ 31 h 282657"/>
                  <a:gd name="connsiteX4" fmla="*/ 173604 w 173643"/>
                  <a:gd name="connsiteY4" fmla="*/ 5769 h 282657"/>
                  <a:gd name="connsiteX5" fmla="*/ 167865 w 173643"/>
                  <a:gd name="connsiteY5" fmla="*/ 12915 h 282657"/>
                  <a:gd name="connsiteX6" fmla="*/ 12937 w 173643"/>
                  <a:gd name="connsiteY6" fmla="*/ 186180 h 282657"/>
                  <a:gd name="connsiteX7" fmla="*/ 36020 w 173643"/>
                  <a:gd name="connsiteY7" fmla="*/ 272955 h 282657"/>
                  <a:gd name="connsiteX8" fmla="*/ 33646 w 173643"/>
                  <a:gd name="connsiteY8" fmla="*/ 281797 h 282657"/>
                  <a:gd name="connsiteX9" fmla="*/ 30464 w 173643"/>
                  <a:gd name="connsiteY9" fmla="*/ 282658 h 282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643" h="282657">
                    <a:moveTo>
                      <a:pt x="30464" y="282658"/>
                    </a:moveTo>
                    <a:cubicBezTo>
                      <a:pt x="28221" y="282658"/>
                      <a:pt x="26030" y="281484"/>
                      <a:pt x="24830" y="279398"/>
                    </a:cubicBezTo>
                    <a:cubicBezTo>
                      <a:pt x="8607" y="251151"/>
                      <a:pt x="0" y="218913"/>
                      <a:pt x="0" y="186180"/>
                    </a:cubicBezTo>
                    <a:cubicBezTo>
                      <a:pt x="0" y="90562"/>
                      <a:pt x="71570" y="10542"/>
                      <a:pt x="166457" y="31"/>
                    </a:cubicBezTo>
                    <a:cubicBezTo>
                      <a:pt x="169978" y="-308"/>
                      <a:pt x="173212" y="2196"/>
                      <a:pt x="173604" y="5769"/>
                    </a:cubicBezTo>
                    <a:cubicBezTo>
                      <a:pt x="173995" y="9316"/>
                      <a:pt x="171439" y="12524"/>
                      <a:pt x="167865" y="12915"/>
                    </a:cubicBezTo>
                    <a:cubicBezTo>
                      <a:pt x="79551" y="22696"/>
                      <a:pt x="12937" y="97187"/>
                      <a:pt x="12937" y="186180"/>
                    </a:cubicBezTo>
                    <a:cubicBezTo>
                      <a:pt x="12937" y="216670"/>
                      <a:pt x="20918" y="246665"/>
                      <a:pt x="36020" y="272955"/>
                    </a:cubicBezTo>
                    <a:cubicBezTo>
                      <a:pt x="37793" y="276059"/>
                      <a:pt x="36724" y="280024"/>
                      <a:pt x="33646" y="281797"/>
                    </a:cubicBezTo>
                    <a:cubicBezTo>
                      <a:pt x="32655" y="282371"/>
                      <a:pt x="31560" y="282658"/>
                      <a:pt x="30464" y="282658"/>
                    </a:cubicBezTo>
                    <a:close/>
                  </a:path>
                </a:pathLst>
              </a:custGeom>
              <a:grpFill/>
              <a:ln w="2605" cap="flat">
                <a:noFill/>
                <a:prstDash val="solid"/>
                <a:miter/>
              </a:ln>
            </p:spPr>
            <p:txBody>
              <a:bodyPr rtlCol="0" anchor="ctr"/>
              <a:lstStyle/>
              <a:p>
                <a:endParaRPr lang="en-GB" dirty="0"/>
              </a:p>
            </p:txBody>
          </p:sp>
          <p:sp>
            <p:nvSpPr>
              <p:cNvPr id="366" name="Freihandform: Form 143">
                <a:extLst>
                  <a:ext uri="{FF2B5EF4-FFF2-40B4-BE49-F238E27FC236}">
                    <a16:creationId xmlns:a16="http://schemas.microsoft.com/office/drawing/2014/main" id="{08C48BDB-031E-439E-AC97-3760F197B328}"/>
                  </a:ext>
                </a:extLst>
              </p:cNvPr>
              <p:cNvSpPr/>
              <p:nvPr/>
            </p:nvSpPr>
            <p:spPr>
              <a:xfrm>
                <a:off x="2000795" y="2561715"/>
                <a:ext cx="175020" cy="372676"/>
              </a:xfrm>
              <a:custGeom>
                <a:avLst/>
                <a:gdLst>
                  <a:gd name="connsiteX0" fmla="*/ 6477 w 175020"/>
                  <a:gd name="connsiteY0" fmla="*/ 372676 h 372676"/>
                  <a:gd name="connsiteX1" fmla="*/ 34 w 175020"/>
                  <a:gd name="connsiteY1" fmla="*/ 366860 h 372676"/>
                  <a:gd name="connsiteX2" fmla="*/ 5825 w 175020"/>
                  <a:gd name="connsiteY2" fmla="*/ 359739 h 372676"/>
                  <a:gd name="connsiteX3" fmla="*/ 162057 w 175020"/>
                  <a:gd name="connsiteY3" fmla="*/ 186344 h 372676"/>
                  <a:gd name="connsiteX4" fmla="*/ 5825 w 175020"/>
                  <a:gd name="connsiteY4" fmla="*/ 12950 h 372676"/>
                  <a:gd name="connsiteX5" fmla="*/ 34 w 175020"/>
                  <a:gd name="connsiteY5" fmla="*/ 5829 h 372676"/>
                  <a:gd name="connsiteX6" fmla="*/ 7155 w 175020"/>
                  <a:gd name="connsiteY6" fmla="*/ 39 h 372676"/>
                  <a:gd name="connsiteX7" fmla="*/ 175020 w 175020"/>
                  <a:gd name="connsiteY7" fmla="*/ 186344 h 372676"/>
                  <a:gd name="connsiteX8" fmla="*/ 7155 w 175020"/>
                  <a:gd name="connsiteY8" fmla="*/ 372650 h 372676"/>
                  <a:gd name="connsiteX9" fmla="*/ 6477 w 175020"/>
                  <a:gd name="connsiteY9" fmla="*/ 372676 h 372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020" h="372676">
                    <a:moveTo>
                      <a:pt x="6477" y="372676"/>
                    </a:moveTo>
                    <a:cubicBezTo>
                      <a:pt x="3190" y="372676"/>
                      <a:pt x="373" y="370198"/>
                      <a:pt x="34" y="366860"/>
                    </a:cubicBezTo>
                    <a:cubicBezTo>
                      <a:pt x="-331" y="363286"/>
                      <a:pt x="2251" y="360104"/>
                      <a:pt x="5825" y="359739"/>
                    </a:cubicBezTo>
                    <a:cubicBezTo>
                      <a:pt x="94896" y="350558"/>
                      <a:pt x="162057" y="276015"/>
                      <a:pt x="162057" y="186344"/>
                    </a:cubicBezTo>
                    <a:cubicBezTo>
                      <a:pt x="162057" y="96674"/>
                      <a:pt x="94896" y="22131"/>
                      <a:pt x="5825" y="12950"/>
                    </a:cubicBezTo>
                    <a:cubicBezTo>
                      <a:pt x="2251" y="12584"/>
                      <a:pt x="-331" y="9402"/>
                      <a:pt x="34" y="5829"/>
                    </a:cubicBezTo>
                    <a:cubicBezTo>
                      <a:pt x="400" y="2256"/>
                      <a:pt x="3582" y="-352"/>
                      <a:pt x="7155" y="39"/>
                    </a:cubicBezTo>
                    <a:cubicBezTo>
                      <a:pt x="102851" y="9898"/>
                      <a:pt x="175020" y="89997"/>
                      <a:pt x="175020" y="186344"/>
                    </a:cubicBezTo>
                    <a:cubicBezTo>
                      <a:pt x="175020" y="282666"/>
                      <a:pt x="102851" y="362765"/>
                      <a:pt x="7155" y="372650"/>
                    </a:cubicBezTo>
                    <a:cubicBezTo>
                      <a:pt x="6920" y="372650"/>
                      <a:pt x="6711" y="372676"/>
                      <a:pt x="6477" y="372676"/>
                    </a:cubicBezTo>
                    <a:close/>
                  </a:path>
                </a:pathLst>
              </a:custGeom>
              <a:grpFill/>
              <a:ln w="2605" cap="flat">
                <a:noFill/>
                <a:prstDash val="solid"/>
                <a:miter/>
              </a:ln>
            </p:spPr>
            <p:txBody>
              <a:bodyPr rtlCol="0" anchor="ctr"/>
              <a:lstStyle/>
              <a:p>
                <a:endParaRPr lang="en-GB" dirty="0"/>
              </a:p>
            </p:txBody>
          </p:sp>
          <p:sp>
            <p:nvSpPr>
              <p:cNvPr id="367" name="Freihandform: Form 144">
                <a:extLst>
                  <a:ext uri="{FF2B5EF4-FFF2-40B4-BE49-F238E27FC236}">
                    <a16:creationId xmlns:a16="http://schemas.microsoft.com/office/drawing/2014/main" id="{8EA4FD38-D717-40B4-B916-8F66ACEBDCE0}"/>
                  </a:ext>
                </a:extLst>
              </p:cNvPr>
              <p:cNvSpPr/>
              <p:nvPr/>
            </p:nvSpPr>
            <p:spPr>
              <a:xfrm>
                <a:off x="1841461" y="2855345"/>
                <a:ext cx="133404" cy="78889"/>
              </a:xfrm>
              <a:custGeom>
                <a:avLst/>
                <a:gdLst>
                  <a:gd name="connsiteX0" fmla="*/ 126922 w 133404"/>
                  <a:gd name="connsiteY0" fmla="*/ 78890 h 78889"/>
                  <a:gd name="connsiteX1" fmla="*/ 126192 w 133404"/>
                  <a:gd name="connsiteY1" fmla="*/ 78864 h 78889"/>
                  <a:gd name="connsiteX2" fmla="*/ 1441 w 133404"/>
                  <a:gd name="connsiteY2" fmla="*/ 10554 h 78889"/>
                  <a:gd name="connsiteX3" fmla="*/ 2406 w 133404"/>
                  <a:gd name="connsiteY3" fmla="*/ 1452 h 78889"/>
                  <a:gd name="connsiteX4" fmla="*/ 11508 w 133404"/>
                  <a:gd name="connsiteY4" fmla="*/ 2417 h 78889"/>
                  <a:gd name="connsiteX5" fmla="*/ 127627 w 133404"/>
                  <a:gd name="connsiteY5" fmla="*/ 66005 h 78889"/>
                  <a:gd name="connsiteX6" fmla="*/ 133365 w 133404"/>
                  <a:gd name="connsiteY6" fmla="*/ 73152 h 78889"/>
                  <a:gd name="connsiteX7" fmla="*/ 126922 w 133404"/>
                  <a:gd name="connsiteY7" fmla="*/ 78890 h 78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3404" h="78889">
                    <a:moveTo>
                      <a:pt x="126922" y="78890"/>
                    </a:moveTo>
                    <a:cubicBezTo>
                      <a:pt x="126688" y="78890"/>
                      <a:pt x="126453" y="78890"/>
                      <a:pt x="126192" y="78864"/>
                    </a:cubicBezTo>
                    <a:cubicBezTo>
                      <a:pt x="77027" y="73413"/>
                      <a:pt x="32713" y="49156"/>
                      <a:pt x="1441" y="10554"/>
                    </a:cubicBezTo>
                    <a:cubicBezTo>
                      <a:pt x="-802" y="7763"/>
                      <a:pt x="-385" y="3695"/>
                      <a:pt x="2406" y="1452"/>
                    </a:cubicBezTo>
                    <a:cubicBezTo>
                      <a:pt x="5170" y="-818"/>
                      <a:pt x="9265" y="-374"/>
                      <a:pt x="11508" y="2417"/>
                    </a:cubicBezTo>
                    <a:cubicBezTo>
                      <a:pt x="40642" y="38358"/>
                      <a:pt x="81878" y="60919"/>
                      <a:pt x="127627" y="66005"/>
                    </a:cubicBezTo>
                    <a:cubicBezTo>
                      <a:pt x="131200" y="66396"/>
                      <a:pt x="133756" y="69605"/>
                      <a:pt x="133365" y="73152"/>
                    </a:cubicBezTo>
                    <a:cubicBezTo>
                      <a:pt x="133000" y="76438"/>
                      <a:pt x="130183" y="78890"/>
                      <a:pt x="126922" y="78890"/>
                    </a:cubicBezTo>
                    <a:close/>
                  </a:path>
                </a:pathLst>
              </a:custGeom>
              <a:grpFill/>
              <a:ln w="2605" cap="flat">
                <a:noFill/>
                <a:prstDash val="solid"/>
                <a:miter/>
              </a:ln>
            </p:spPr>
            <p:txBody>
              <a:bodyPr rtlCol="0" anchor="ctr"/>
              <a:lstStyle/>
              <a:p>
                <a:endParaRPr lang="en-GB" dirty="0"/>
              </a:p>
            </p:txBody>
          </p:sp>
          <p:sp>
            <p:nvSpPr>
              <p:cNvPr id="368" name="Freihandform: Form 145">
                <a:extLst>
                  <a:ext uri="{FF2B5EF4-FFF2-40B4-BE49-F238E27FC236}">
                    <a16:creationId xmlns:a16="http://schemas.microsoft.com/office/drawing/2014/main" id="{F265F321-6EFC-4DC8-AAA9-61448D51BA97}"/>
                  </a:ext>
                </a:extLst>
              </p:cNvPr>
              <p:cNvSpPr/>
              <p:nvPr/>
            </p:nvSpPr>
            <p:spPr>
              <a:xfrm>
                <a:off x="1924148" y="2683715"/>
                <a:ext cx="96112" cy="98408"/>
              </a:xfrm>
              <a:custGeom>
                <a:avLst/>
                <a:gdLst>
                  <a:gd name="connsiteX0" fmla="*/ 13485 w 96112"/>
                  <a:gd name="connsiteY0" fmla="*/ 98408 h 98408"/>
                  <a:gd name="connsiteX1" fmla="*/ 7773 w 96112"/>
                  <a:gd name="connsiteY1" fmla="*/ 95018 h 98408"/>
                  <a:gd name="connsiteX2" fmla="*/ 0 w 96112"/>
                  <a:gd name="connsiteY2" fmla="*/ 64345 h 98408"/>
                  <a:gd name="connsiteX3" fmla="*/ 64345 w 96112"/>
                  <a:gd name="connsiteY3" fmla="*/ 0 h 98408"/>
                  <a:gd name="connsiteX4" fmla="*/ 92462 w 96112"/>
                  <a:gd name="connsiteY4" fmla="*/ 6442 h 98408"/>
                  <a:gd name="connsiteX5" fmla="*/ 95461 w 96112"/>
                  <a:gd name="connsiteY5" fmla="*/ 15102 h 98408"/>
                  <a:gd name="connsiteX6" fmla="*/ 86802 w 96112"/>
                  <a:gd name="connsiteY6" fmla="*/ 18101 h 98408"/>
                  <a:gd name="connsiteX7" fmla="*/ 64371 w 96112"/>
                  <a:gd name="connsiteY7" fmla="*/ 12963 h 98408"/>
                  <a:gd name="connsiteX8" fmla="*/ 12989 w 96112"/>
                  <a:gd name="connsiteY8" fmla="*/ 64345 h 98408"/>
                  <a:gd name="connsiteX9" fmla="*/ 19197 w 96112"/>
                  <a:gd name="connsiteY9" fmla="*/ 88836 h 98408"/>
                  <a:gd name="connsiteX10" fmla="*/ 16588 w 96112"/>
                  <a:gd name="connsiteY10" fmla="*/ 97626 h 98408"/>
                  <a:gd name="connsiteX11" fmla="*/ 13485 w 96112"/>
                  <a:gd name="connsiteY11" fmla="*/ 98408 h 98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112" h="98408">
                    <a:moveTo>
                      <a:pt x="13485" y="98408"/>
                    </a:moveTo>
                    <a:cubicBezTo>
                      <a:pt x="11189" y="98408"/>
                      <a:pt x="8946" y="97183"/>
                      <a:pt x="7773" y="95018"/>
                    </a:cubicBezTo>
                    <a:cubicBezTo>
                      <a:pt x="2686" y="85654"/>
                      <a:pt x="0" y="75065"/>
                      <a:pt x="0" y="64345"/>
                    </a:cubicBezTo>
                    <a:cubicBezTo>
                      <a:pt x="0" y="28873"/>
                      <a:pt x="28873" y="0"/>
                      <a:pt x="64345" y="0"/>
                    </a:cubicBezTo>
                    <a:cubicBezTo>
                      <a:pt x="74204" y="0"/>
                      <a:pt x="83646" y="2165"/>
                      <a:pt x="92462" y="6442"/>
                    </a:cubicBezTo>
                    <a:cubicBezTo>
                      <a:pt x="95670" y="8007"/>
                      <a:pt x="97026" y="11894"/>
                      <a:pt x="95461" y="15102"/>
                    </a:cubicBezTo>
                    <a:cubicBezTo>
                      <a:pt x="93896" y="18310"/>
                      <a:pt x="90036" y="19666"/>
                      <a:pt x="86802" y="18101"/>
                    </a:cubicBezTo>
                    <a:cubicBezTo>
                      <a:pt x="79786" y="14684"/>
                      <a:pt x="72248" y="12963"/>
                      <a:pt x="64371" y="12963"/>
                    </a:cubicBezTo>
                    <a:cubicBezTo>
                      <a:pt x="36046" y="12963"/>
                      <a:pt x="12989" y="36020"/>
                      <a:pt x="12989" y="64345"/>
                    </a:cubicBezTo>
                    <a:cubicBezTo>
                      <a:pt x="12989" y="72900"/>
                      <a:pt x="15128" y="81377"/>
                      <a:pt x="19197" y="88836"/>
                    </a:cubicBezTo>
                    <a:cubicBezTo>
                      <a:pt x="20918" y="91992"/>
                      <a:pt x="19744" y="95905"/>
                      <a:pt x="16588" y="97626"/>
                    </a:cubicBezTo>
                    <a:cubicBezTo>
                      <a:pt x="15597" y="98148"/>
                      <a:pt x="14528" y="98408"/>
                      <a:pt x="13485" y="98408"/>
                    </a:cubicBezTo>
                    <a:close/>
                  </a:path>
                </a:pathLst>
              </a:custGeom>
              <a:grpFill/>
              <a:ln w="2605" cap="flat">
                <a:noFill/>
                <a:prstDash val="solid"/>
                <a:miter/>
              </a:ln>
            </p:spPr>
            <p:txBody>
              <a:bodyPr rtlCol="0" anchor="ctr"/>
              <a:lstStyle/>
              <a:p>
                <a:endParaRPr lang="en-GB" dirty="0"/>
              </a:p>
            </p:txBody>
          </p:sp>
          <p:sp>
            <p:nvSpPr>
              <p:cNvPr id="369" name="Freihandform: Form 146">
                <a:extLst>
                  <a:ext uri="{FF2B5EF4-FFF2-40B4-BE49-F238E27FC236}">
                    <a16:creationId xmlns:a16="http://schemas.microsoft.com/office/drawing/2014/main" id="{C55BE700-ABBB-4BC4-B671-B08871BD26ED}"/>
                  </a:ext>
                </a:extLst>
              </p:cNvPr>
              <p:cNvSpPr/>
              <p:nvPr/>
            </p:nvSpPr>
            <p:spPr>
              <a:xfrm>
                <a:off x="1952017" y="2716366"/>
                <a:ext cx="100821" cy="96038"/>
              </a:xfrm>
              <a:custGeom>
                <a:avLst/>
                <a:gdLst>
                  <a:gd name="connsiteX0" fmla="*/ 36476 w 100821"/>
                  <a:gd name="connsiteY0" fmla="*/ 96038 h 96038"/>
                  <a:gd name="connsiteX1" fmla="*/ 3117 w 100821"/>
                  <a:gd name="connsiteY1" fmla="*/ 86727 h 96038"/>
                  <a:gd name="connsiteX2" fmla="*/ 952 w 100821"/>
                  <a:gd name="connsiteY2" fmla="*/ 77833 h 96038"/>
                  <a:gd name="connsiteX3" fmla="*/ 9846 w 100821"/>
                  <a:gd name="connsiteY3" fmla="*/ 75668 h 96038"/>
                  <a:gd name="connsiteX4" fmla="*/ 36476 w 100821"/>
                  <a:gd name="connsiteY4" fmla="*/ 83101 h 96038"/>
                  <a:gd name="connsiteX5" fmla="*/ 87858 w 100821"/>
                  <a:gd name="connsiteY5" fmla="*/ 31719 h 96038"/>
                  <a:gd name="connsiteX6" fmla="*/ 82720 w 100821"/>
                  <a:gd name="connsiteY6" fmla="*/ 9315 h 96038"/>
                  <a:gd name="connsiteX7" fmla="*/ 85720 w 100821"/>
                  <a:gd name="connsiteY7" fmla="*/ 656 h 96038"/>
                  <a:gd name="connsiteX8" fmla="*/ 94379 w 100821"/>
                  <a:gd name="connsiteY8" fmla="*/ 3655 h 96038"/>
                  <a:gd name="connsiteX9" fmla="*/ 100821 w 100821"/>
                  <a:gd name="connsiteY9" fmla="*/ 31719 h 96038"/>
                  <a:gd name="connsiteX10" fmla="*/ 36476 w 100821"/>
                  <a:gd name="connsiteY10" fmla="*/ 96038 h 96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821" h="96038">
                    <a:moveTo>
                      <a:pt x="36476" y="96038"/>
                    </a:moveTo>
                    <a:cubicBezTo>
                      <a:pt x="24687" y="96038"/>
                      <a:pt x="13133" y="92804"/>
                      <a:pt x="3117" y="86727"/>
                    </a:cubicBezTo>
                    <a:cubicBezTo>
                      <a:pt x="66" y="84875"/>
                      <a:pt x="-926" y="80884"/>
                      <a:pt x="952" y="77833"/>
                    </a:cubicBezTo>
                    <a:cubicBezTo>
                      <a:pt x="2804" y="74781"/>
                      <a:pt x="6795" y="73790"/>
                      <a:pt x="9846" y="75668"/>
                    </a:cubicBezTo>
                    <a:cubicBezTo>
                      <a:pt x="17854" y="80545"/>
                      <a:pt x="27061" y="83101"/>
                      <a:pt x="36476" y="83101"/>
                    </a:cubicBezTo>
                    <a:cubicBezTo>
                      <a:pt x="64802" y="83101"/>
                      <a:pt x="87858" y="60045"/>
                      <a:pt x="87858" y="31719"/>
                    </a:cubicBezTo>
                    <a:cubicBezTo>
                      <a:pt x="87858" y="23843"/>
                      <a:pt x="86137" y="16305"/>
                      <a:pt x="82720" y="9315"/>
                    </a:cubicBezTo>
                    <a:cubicBezTo>
                      <a:pt x="81155" y="6107"/>
                      <a:pt x="82512" y="2220"/>
                      <a:pt x="85720" y="656"/>
                    </a:cubicBezTo>
                    <a:cubicBezTo>
                      <a:pt x="88928" y="-909"/>
                      <a:pt x="92814" y="421"/>
                      <a:pt x="94379" y="3655"/>
                    </a:cubicBezTo>
                    <a:cubicBezTo>
                      <a:pt x="98657" y="12445"/>
                      <a:pt x="100821" y="21886"/>
                      <a:pt x="100821" y="31719"/>
                    </a:cubicBezTo>
                    <a:cubicBezTo>
                      <a:pt x="100821" y="67165"/>
                      <a:pt x="71974" y="96038"/>
                      <a:pt x="36476" y="96038"/>
                    </a:cubicBezTo>
                    <a:close/>
                  </a:path>
                </a:pathLst>
              </a:custGeom>
              <a:grpFill/>
              <a:ln w="2605" cap="flat">
                <a:noFill/>
                <a:prstDash val="solid"/>
                <a:miter/>
              </a:ln>
            </p:spPr>
            <p:txBody>
              <a:bodyPr rtlCol="0" anchor="ctr"/>
              <a:lstStyle/>
              <a:p>
                <a:endParaRPr lang="en-GB" dirty="0"/>
              </a:p>
            </p:txBody>
          </p:sp>
          <p:sp>
            <p:nvSpPr>
              <p:cNvPr id="370" name="Freihandform: Form 147">
                <a:extLst>
                  <a:ext uri="{FF2B5EF4-FFF2-40B4-BE49-F238E27FC236}">
                    <a16:creationId xmlns:a16="http://schemas.microsoft.com/office/drawing/2014/main" id="{62859D7D-82BB-42C2-AFE8-480E7954E96B}"/>
                  </a:ext>
                </a:extLst>
              </p:cNvPr>
              <p:cNvSpPr/>
              <p:nvPr/>
            </p:nvSpPr>
            <p:spPr>
              <a:xfrm>
                <a:off x="1859073" y="2670926"/>
                <a:ext cx="35245" cy="145208"/>
              </a:xfrm>
              <a:custGeom>
                <a:avLst/>
                <a:gdLst>
                  <a:gd name="connsiteX0" fmla="*/ 23005 w 35245"/>
                  <a:gd name="connsiteY0" fmla="*/ 145208 h 145208"/>
                  <a:gd name="connsiteX1" fmla="*/ 17397 w 35245"/>
                  <a:gd name="connsiteY1" fmla="*/ 141974 h 145208"/>
                  <a:gd name="connsiteX2" fmla="*/ 0 w 35245"/>
                  <a:gd name="connsiteY2" fmla="*/ 77107 h 145208"/>
                  <a:gd name="connsiteX3" fmla="*/ 23474 w 35245"/>
                  <a:gd name="connsiteY3" fmla="*/ 2747 h 145208"/>
                  <a:gd name="connsiteX4" fmla="*/ 32498 w 35245"/>
                  <a:gd name="connsiteY4" fmla="*/ 1182 h 145208"/>
                  <a:gd name="connsiteX5" fmla="*/ 34063 w 35245"/>
                  <a:gd name="connsiteY5" fmla="*/ 10206 h 145208"/>
                  <a:gd name="connsiteX6" fmla="*/ 12937 w 35245"/>
                  <a:gd name="connsiteY6" fmla="*/ 77107 h 145208"/>
                  <a:gd name="connsiteX7" fmla="*/ 28586 w 35245"/>
                  <a:gd name="connsiteY7" fmla="*/ 135453 h 145208"/>
                  <a:gd name="connsiteX8" fmla="*/ 26239 w 35245"/>
                  <a:gd name="connsiteY8" fmla="*/ 144321 h 145208"/>
                  <a:gd name="connsiteX9" fmla="*/ 23005 w 35245"/>
                  <a:gd name="connsiteY9" fmla="*/ 145208 h 1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45" h="145208">
                    <a:moveTo>
                      <a:pt x="23005" y="145208"/>
                    </a:moveTo>
                    <a:cubicBezTo>
                      <a:pt x="20761" y="145208"/>
                      <a:pt x="18597" y="144060"/>
                      <a:pt x="17397" y="141974"/>
                    </a:cubicBezTo>
                    <a:cubicBezTo>
                      <a:pt x="6025" y="122360"/>
                      <a:pt x="0" y="99929"/>
                      <a:pt x="0" y="77107"/>
                    </a:cubicBezTo>
                    <a:cubicBezTo>
                      <a:pt x="0" y="50321"/>
                      <a:pt x="8112" y="24604"/>
                      <a:pt x="23474" y="2747"/>
                    </a:cubicBezTo>
                    <a:cubicBezTo>
                      <a:pt x="25535" y="-175"/>
                      <a:pt x="29577" y="-879"/>
                      <a:pt x="32498" y="1182"/>
                    </a:cubicBezTo>
                    <a:cubicBezTo>
                      <a:pt x="35420" y="3242"/>
                      <a:pt x="36124" y="7285"/>
                      <a:pt x="34063" y="10206"/>
                    </a:cubicBezTo>
                    <a:cubicBezTo>
                      <a:pt x="20240" y="29872"/>
                      <a:pt x="12937" y="53007"/>
                      <a:pt x="12937" y="77107"/>
                    </a:cubicBezTo>
                    <a:cubicBezTo>
                      <a:pt x="12937" y="97634"/>
                      <a:pt x="18336" y="117822"/>
                      <a:pt x="28586" y="135453"/>
                    </a:cubicBezTo>
                    <a:cubicBezTo>
                      <a:pt x="30386" y="138557"/>
                      <a:pt x="29343" y="142522"/>
                      <a:pt x="26239" y="144321"/>
                    </a:cubicBezTo>
                    <a:cubicBezTo>
                      <a:pt x="25221" y="144921"/>
                      <a:pt x="24100" y="145208"/>
                      <a:pt x="23005" y="145208"/>
                    </a:cubicBezTo>
                    <a:close/>
                  </a:path>
                </a:pathLst>
              </a:custGeom>
              <a:grpFill/>
              <a:ln w="2605" cap="flat">
                <a:noFill/>
                <a:prstDash val="solid"/>
                <a:miter/>
              </a:ln>
            </p:spPr>
            <p:txBody>
              <a:bodyPr rtlCol="0" anchor="ctr"/>
              <a:lstStyle/>
              <a:p>
                <a:endParaRPr lang="en-GB" dirty="0"/>
              </a:p>
            </p:txBody>
          </p:sp>
          <p:sp>
            <p:nvSpPr>
              <p:cNvPr id="371" name="Freihandform: Form 148">
                <a:extLst>
                  <a:ext uri="{FF2B5EF4-FFF2-40B4-BE49-F238E27FC236}">
                    <a16:creationId xmlns:a16="http://schemas.microsoft.com/office/drawing/2014/main" id="{CA89081C-F98F-46C3-B829-FBE78AF02D67}"/>
                  </a:ext>
                </a:extLst>
              </p:cNvPr>
              <p:cNvSpPr/>
              <p:nvPr/>
            </p:nvSpPr>
            <p:spPr>
              <a:xfrm>
                <a:off x="1910042" y="2618613"/>
                <a:ext cx="206461" cy="117161"/>
              </a:xfrm>
              <a:custGeom>
                <a:avLst/>
                <a:gdLst>
                  <a:gd name="connsiteX0" fmla="*/ 199968 w 206461"/>
                  <a:gd name="connsiteY0" fmla="*/ 117162 h 117161"/>
                  <a:gd name="connsiteX1" fmla="*/ 193578 w 206461"/>
                  <a:gd name="connsiteY1" fmla="*/ 111658 h 117161"/>
                  <a:gd name="connsiteX2" fmla="*/ 78451 w 206461"/>
                  <a:gd name="connsiteY2" fmla="*/ 12989 h 117161"/>
                  <a:gd name="connsiteX3" fmla="*/ 10272 w 206461"/>
                  <a:gd name="connsiteY3" fmla="*/ 35002 h 117161"/>
                  <a:gd name="connsiteX4" fmla="*/ 1221 w 206461"/>
                  <a:gd name="connsiteY4" fmla="*/ 33542 h 117161"/>
                  <a:gd name="connsiteX5" fmla="*/ 2682 w 206461"/>
                  <a:gd name="connsiteY5" fmla="*/ 24491 h 117161"/>
                  <a:gd name="connsiteX6" fmla="*/ 78451 w 206461"/>
                  <a:gd name="connsiteY6" fmla="*/ 0 h 117161"/>
                  <a:gd name="connsiteX7" fmla="*/ 206384 w 206461"/>
                  <a:gd name="connsiteY7" fmla="*/ 109676 h 117161"/>
                  <a:gd name="connsiteX8" fmla="*/ 200959 w 206461"/>
                  <a:gd name="connsiteY8" fmla="*/ 117057 h 117161"/>
                  <a:gd name="connsiteX9" fmla="*/ 199968 w 206461"/>
                  <a:gd name="connsiteY9" fmla="*/ 117162 h 11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461" h="117161">
                    <a:moveTo>
                      <a:pt x="199968" y="117162"/>
                    </a:moveTo>
                    <a:cubicBezTo>
                      <a:pt x="196812" y="117162"/>
                      <a:pt x="194073" y="114866"/>
                      <a:pt x="193578" y="111658"/>
                    </a:cubicBezTo>
                    <a:cubicBezTo>
                      <a:pt x="184945" y="55399"/>
                      <a:pt x="135467" y="12989"/>
                      <a:pt x="78451" y="12989"/>
                    </a:cubicBezTo>
                    <a:cubicBezTo>
                      <a:pt x="53777" y="12989"/>
                      <a:pt x="30199" y="20605"/>
                      <a:pt x="10272" y="35002"/>
                    </a:cubicBezTo>
                    <a:cubicBezTo>
                      <a:pt x="7351" y="37115"/>
                      <a:pt x="3308" y="36437"/>
                      <a:pt x="1221" y="33542"/>
                    </a:cubicBezTo>
                    <a:cubicBezTo>
                      <a:pt x="-865" y="30647"/>
                      <a:pt x="-213" y="26578"/>
                      <a:pt x="2682" y="24491"/>
                    </a:cubicBezTo>
                    <a:cubicBezTo>
                      <a:pt x="24826" y="8477"/>
                      <a:pt x="51038" y="0"/>
                      <a:pt x="78451" y="0"/>
                    </a:cubicBezTo>
                    <a:cubicBezTo>
                      <a:pt x="141805" y="0"/>
                      <a:pt x="196812" y="47157"/>
                      <a:pt x="206384" y="109676"/>
                    </a:cubicBezTo>
                    <a:cubicBezTo>
                      <a:pt x="206932" y="113223"/>
                      <a:pt x="204506" y="116509"/>
                      <a:pt x="200959" y="117057"/>
                    </a:cubicBezTo>
                    <a:cubicBezTo>
                      <a:pt x="200646" y="117135"/>
                      <a:pt x="200307" y="117162"/>
                      <a:pt x="199968" y="117162"/>
                    </a:cubicBezTo>
                    <a:close/>
                  </a:path>
                </a:pathLst>
              </a:custGeom>
              <a:grpFill/>
              <a:ln w="2605" cap="flat">
                <a:noFill/>
                <a:prstDash val="solid"/>
                <a:miter/>
              </a:ln>
            </p:spPr>
            <p:txBody>
              <a:bodyPr rtlCol="0" anchor="ctr"/>
              <a:lstStyle/>
              <a:p>
                <a:endParaRPr lang="en-GB" dirty="0"/>
              </a:p>
            </p:txBody>
          </p:sp>
          <p:sp>
            <p:nvSpPr>
              <p:cNvPr id="372" name="Freihandform: Form 149">
                <a:extLst>
                  <a:ext uri="{FF2B5EF4-FFF2-40B4-BE49-F238E27FC236}">
                    <a16:creationId xmlns:a16="http://schemas.microsoft.com/office/drawing/2014/main" id="{1B54691F-3724-4AD5-B769-30987C3719B5}"/>
                  </a:ext>
                </a:extLst>
              </p:cNvPr>
              <p:cNvSpPr/>
              <p:nvPr/>
            </p:nvSpPr>
            <p:spPr>
              <a:xfrm>
                <a:off x="1892814" y="2761668"/>
                <a:ext cx="223488" cy="115811"/>
              </a:xfrm>
              <a:custGeom>
                <a:avLst/>
                <a:gdLst>
                  <a:gd name="connsiteX0" fmla="*/ 95679 w 223488"/>
                  <a:gd name="connsiteY0" fmla="*/ 115812 h 115811"/>
                  <a:gd name="connsiteX1" fmla="*/ 1783 w 223488"/>
                  <a:gd name="connsiteY1" fmla="*/ 75463 h 115811"/>
                  <a:gd name="connsiteX2" fmla="*/ 2017 w 223488"/>
                  <a:gd name="connsiteY2" fmla="*/ 66308 h 115811"/>
                  <a:gd name="connsiteX3" fmla="*/ 11172 w 223488"/>
                  <a:gd name="connsiteY3" fmla="*/ 66542 h 115811"/>
                  <a:gd name="connsiteX4" fmla="*/ 95679 w 223488"/>
                  <a:gd name="connsiteY4" fmla="*/ 102849 h 115811"/>
                  <a:gd name="connsiteX5" fmla="*/ 210597 w 223488"/>
                  <a:gd name="connsiteY5" fmla="*/ 5432 h 115811"/>
                  <a:gd name="connsiteX6" fmla="*/ 218057 w 223488"/>
                  <a:gd name="connsiteY6" fmla="*/ 85 h 115811"/>
                  <a:gd name="connsiteX7" fmla="*/ 223404 w 223488"/>
                  <a:gd name="connsiteY7" fmla="*/ 7544 h 115811"/>
                  <a:gd name="connsiteX8" fmla="*/ 95679 w 223488"/>
                  <a:gd name="connsiteY8" fmla="*/ 115812 h 11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488" h="115811">
                    <a:moveTo>
                      <a:pt x="95679" y="115812"/>
                    </a:moveTo>
                    <a:cubicBezTo>
                      <a:pt x="59816" y="115812"/>
                      <a:pt x="26482" y="101493"/>
                      <a:pt x="1783" y="75463"/>
                    </a:cubicBezTo>
                    <a:cubicBezTo>
                      <a:pt x="-695" y="72854"/>
                      <a:pt x="-565" y="68759"/>
                      <a:pt x="2017" y="66308"/>
                    </a:cubicBezTo>
                    <a:cubicBezTo>
                      <a:pt x="4599" y="63830"/>
                      <a:pt x="8720" y="63934"/>
                      <a:pt x="11172" y="66542"/>
                    </a:cubicBezTo>
                    <a:cubicBezTo>
                      <a:pt x="33394" y="89964"/>
                      <a:pt x="63389" y="102849"/>
                      <a:pt x="95679" y="102849"/>
                    </a:cubicBezTo>
                    <a:cubicBezTo>
                      <a:pt x="152981" y="102849"/>
                      <a:pt x="201312" y="61874"/>
                      <a:pt x="210597" y="5432"/>
                    </a:cubicBezTo>
                    <a:cubicBezTo>
                      <a:pt x="211171" y="1911"/>
                      <a:pt x="214483" y="-489"/>
                      <a:pt x="218057" y="85"/>
                    </a:cubicBezTo>
                    <a:cubicBezTo>
                      <a:pt x="221578" y="659"/>
                      <a:pt x="223977" y="3997"/>
                      <a:pt x="223404" y="7544"/>
                    </a:cubicBezTo>
                    <a:cubicBezTo>
                      <a:pt x="213075" y="70298"/>
                      <a:pt x="159372" y="115812"/>
                      <a:pt x="95679" y="115812"/>
                    </a:cubicBezTo>
                    <a:close/>
                  </a:path>
                </a:pathLst>
              </a:custGeom>
              <a:grpFill/>
              <a:ln w="2605" cap="flat">
                <a:noFill/>
                <a:prstDash val="solid"/>
                <a:miter/>
              </a:ln>
            </p:spPr>
            <p:txBody>
              <a:bodyPr rtlCol="0" anchor="ctr"/>
              <a:lstStyle/>
              <a:p>
                <a:endParaRPr lang="en-GB" dirty="0"/>
              </a:p>
            </p:txBody>
          </p:sp>
          <p:sp>
            <p:nvSpPr>
              <p:cNvPr id="373" name="Freihandform: Form 154">
                <a:extLst>
                  <a:ext uri="{FF2B5EF4-FFF2-40B4-BE49-F238E27FC236}">
                    <a16:creationId xmlns:a16="http://schemas.microsoft.com/office/drawing/2014/main" id="{6E784B34-B8AA-4454-9761-A18947D1D8E3}"/>
                  </a:ext>
                </a:extLst>
              </p:cNvPr>
              <p:cNvSpPr/>
              <p:nvPr/>
            </p:nvSpPr>
            <p:spPr>
              <a:xfrm>
                <a:off x="2069407" y="2613690"/>
                <a:ext cx="53455" cy="53462"/>
              </a:xfrm>
              <a:custGeom>
                <a:avLst/>
                <a:gdLst>
                  <a:gd name="connsiteX0" fmla="*/ 6488 w 53455"/>
                  <a:gd name="connsiteY0" fmla="*/ 53462 h 53462"/>
                  <a:gd name="connsiteX1" fmla="*/ 1897 w 53455"/>
                  <a:gd name="connsiteY1" fmla="*/ 51558 h 53462"/>
                  <a:gd name="connsiteX2" fmla="*/ 1897 w 53455"/>
                  <a:gd name="connsiteY2" fmla="*/ 42403 h 53462"/>
                  <a:gd name="connsiteX3" fmla="*/ 42403 w 53455"/>
                  <a:gd name="connsiteY3" fmla="*/ 1897 h 53462"/>
                  <a:gd name="connsiteX4" fmla="*/ 51558 w 53455"/>
                  <a:gd name="connsiteY4" fmla="*/ 1897 h 53462"/>
                  <a:gd name="connsiteX5" fmla="*/ 51558 w 53455"/>
                  <a:gd name="connsiteY5" fmla="*/ 11052 h 53462"/>
                  <a:gd name="connsiteX6" fmla="*/ 11078 w 53455"/>
                  <a:gd name="connsiteY6" fmla="*/ 51532 h 53462"/>
                  <a:gd name="connsiteX7" fmla="*/ 6488 w 53455"/>
                  <a:gd name="connsiteY7" fmla="*/ 53462 h 53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55" h="53462">
                    <a:moveTo>
                      <a:pt x="6488" y="53462"/>
                    </a:moveTo>
                    <a:cubicBezTo>
                      <a:pt x="4819" y="53462"/>
                      <a:pt x="3175" y="52836"/>
                      <a:pt x="1897" y="51558"/>
                    </a:cubicBezTo>
                    <a:cubicBezTo>
                      <a:pt x="-632" y="49028"/>
                      <a:pt x="-632" y="44933"/>
                      <a:pt x="1897" y="42403"/>
                    </a:cubicBezTo>
                    <a:lnTo>
                      <a:pt x="42403" y="1897"/>
                    </a:lnTo>
                    <a:cubicBezTo>
                      <a:pt x="44933" y="-632"/>
                      <a:pt x="49028" y="-632"/>
                      <a:pt x="51558" y="1897"/>
                    </a:cubicBezTo>
                    <a:cubicBezTo>
                      <a:pt x="54088" y="4427"/>
                      <a:pt x="54088" y="8522"/>
                      <a:pt x="51558" y="11052"/>
                    </a:cubicBezTo>
                    <a:lnTo>
                      <a:pt x="11078" y="51532"/>
                    </a:lnTo>
                    <a:cubicBezTo>
                      <a:pt x="9800" y="52810"/>
                      <a:pt x="8157" y="53462"/>
                      <a:pt x="6488" y="53462"/>
                    </a:cubicBezTo>
                    <a:close/>
                  </a:path>
                </a:pathLst>
              </a:custGeom>
              <a:grpFill/>
              <a:ln w="2605" cap="flat">
                <a:noFill/>
                <a:prstDash val="solid"/>
                <a:miter/>
              </a:ln>
            </p:spPr>
            <p:txBody>
              <a:bodyPr rtlCol="0" anchor="ctr"/>
              <a:lstStyle/>
              <a:p>
                <a:endParaRPr lang="en-GB" dirty="0"/>
              </a:p>
            </p:txBody>
          </p:sp>
          <p:sp>
            <p:nvSpPr>
              <p:cNvPr id="374" name="Freihandform: Form 155">
                <a:extLst>
                  <a:ext uri="{FF2B5EF4-FFF2-40B4-BE49-F238E27FC236}">
                    <a16:creationId xmlns:a16="http://schemas.microsoft.com/office/drawing/2014/main" id="{BC8C28DE-AC51-4033-8C33-6743460871D4}"/>
                  </a:ext>
                </a:extLst>
              </p:cNvPr>
              <p:cNvSpPr/>
              <p:nvPr/>
            </p:nvSpPr>
            <p:spPr>
              <a:xfrm>
                <a:off x="1854437" y="2615334"/>
                <a:ext cx="32302" cy="32309"/>
              </a:xfrm>
              <a:custGeom>
                <a:avLst/>
                <a:gdLst>
                  <a:gd name="connsiteX0" fmla="*/ 25841 w 32302"/>
                  <a:gd name="connsiteY0" fmla="*/ 32309 h 32309"/>
                  <a:gd name="connsiteX1" fmla="*/ 21251 w 32302"/>
                  <a:gd name="connsiteY1" fmla="*/ 30405 h 32309"/>
                  <a:gd name="connsiteX2" fmla="*/ 1897 w 32302"/>
                  <a:gd name="connsiteY2" fmla="*/ 11052 h 32309"/>
                  <a:gd name="connsiteX3" fmla="*/ 1897 w 32302"/>
                  <a:gd name="connsiteY3" fmla="*/ 1897 h 32309"/>
                  <a:gd name="connsiteX4" fmla="*/ 11052 w 32302"/>
                  <a:gd name="connsiteY4" fmla="*/ 1897 h 32309"/>
                  <a:gd name="connsiteX5" fmla="*/ 30405 w 32302"/>
                  <a:gd name="connsiteY5" fmla="*/ 21251 h 32309"/>
                  <a:gd name="connsiteX6" fmla="*/ 30405 w 32302"/>
                  <a:gd name="connsiteY6" fmla="*/ 30405 h 32309"/>
                  <a:gd name="connsiteX7" fmla="*/ 25841 w 32302"/>
                  <a:gd name="connsiteY7" fmla="*/ 32309 h 3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02" h="32309">
                    <a:moveTo>
                      <a:pt x="25841" y="32309"/>
                    </a:moveTo>
                    <a:cubicBezTo>
                      <a:pt x="24172" y="32309"/>
                      <a:pt x="22529" y="31683"/>
                      <a:pt x="21251" y="30405"/>
                    </a:cubicBezTo>
                    <a:lnTo>
                      <a:pt x="1897" y="11052"/>
                    </a:lnTo>
                    <a:cubicBezTo>
                      <a:pt x="-632" y="8522"/>
                      <a:pt x="-632" y="4427"/>
                      <a:pt x="1897" y="1897"/>
                    </a:cubicBezTo>
                    <a:cubicBezTo>
                      <a:pt x="4427" y="-632"/>
                      <a:pt x="8522" y="-632"/>
                      <a:pt x="11052" y="1897"/>
                    </a:cubicBezTo>
                    <a:lnTo>
                      <a:pt x="30405" y="21251"/>
                    </a:lnTo>
                    <a:cubicBezTo>
                      <a:pt x="32935" y="23781"/>
                      <a:pt x="32935" y="27875"/>
                      <a:pt x="30405" y="30405"/>
                    </a:cubicBezTo>
                    <a:cubicBezTo>
                      <a:pt x="29153" y="31683"/>
                      <a:pt x="27484" y="32309"/>
                      <a:pt x="25841" y="32309"/>
                    </a:cubicBezTo>
                    <a:close/>
                  </a:path>
                </a:pathLst>
              </a:custGeom>
              <a:grpFill/>
              <a:ln w="2605" cap="flat">
                <a:noFill/>
                <a:prstDash val="solid"/>
                <a:miter/>
              </a:ln>
            </p:spPr>
            <p:txBody>
              <a:bodyPr rtlCol="0" anchor="ctr"/>
              <a:lstStyle/>
              <a:p>
                <a:endParaRPr lang="en-GB" dirty="0"/>
              </a:p>
            </p:txBody>
          </p:sp>
          <p:sp>
            <p:nvSpPr>
              <p:cNvPr id="375" name="Freihandform: Form 156">
                <a:extLst>
                  <a:ext uri="{FF2B5EF4-FFF2-40B4-BE49-F238E27FC236}">
                    <a16:creationId xmlns:a16="http://schemas.microsoft.com/office/drawing/2014/main" id="{70D2EB6C-9063-4F0E-857B-9F593AF236A9}"/>
                  </a:ext>
                </a:extLst>
              </p:cNvPr>
              <p:cNvSpPr/>
              <p:nvPr/>
            </p:nvSpPr>
            <p:spPr>
              <a:xfrm>
                <a:off x="2068859" y="2829756"/>
                <a:ext cx="51838" cy="51844"/>
              </a:xfrm>
              <a:custGeom>
                <a:avLst/>
                <a:gdLst>
                  <a:gd name="connsiteX0" fmla="*/ 45377 w 51838"/>
                  <a:gd name="connsiteY0" fmla="*/ 51845 h 51844"/>
                  <a:gd name="connsiteX1" fmla="*/ 40786 w 51838"/>
                  <a:gd name="connsiteY1" fmla="*/ 49941 h 51844"/>
                  <a:gd name="connsiteX2" fmla="*/ 1897 w 51838"/>
                  <a:gd name="connsiteY2" fmla="*/ 11052 h 51844"/>
                  <a:gd name="connsiteX3" fmla="*/ 1897 w 51838"/>
                  <a:gd name="connsiteY3" fmla="*/ 1897 h 51844"/>
                  <a:gd name="connsiteX4" fmla="*/ 11052 w 51838"/>
                  <a:gd name="connsiteY4" fmla="*/ 1897 h 51844"/>
                  <a:gd name="connsiteX5" fmla="*/ 49941 w 51838"/>
                  <a:gd name="connsiteY5" fmla="*/ 40786 h 51844"/>
                  <a:gd name="connsiteX6" fmla="*/ 49941 w 51838"/>
                  <a:gd name="connsiteY6" fmla="*/ 49941 h 51844"/>
                  <a:gd name="connsiteX7" fmla="*/ 45377 w 51838"/>
                  <a:gd name="connsiteY7" fmla="*/ 51845 h 51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38" h="51844">
                    <a:moveTo>
                      <a:pt x="45377" y="51845"/>
                    </a:moveTo>
                    <a:cubicBezTo>
                      <a:pt x="43707" y="51845"/>
                      <a:pt x="42064" y="51219"/>
                      <a:pt x="40786" y="49941"/>
                    </a:cubicBezTo>
                    <a:lnTo>
                      <a:pt x="1897" y="11052"/>
                    </a:lnTo>
                    <a:cubicBezTo>
                      <a:pt x="-632" y="8522"/>
                      <a:pt x="-632" y="4427"/>
                      <a:pt x="1897" y="1897"/>
                    </a:cubicBezTo>
                    <a:cubicBezTo>
                      <a:pt x="4427" y="-632"/>
                      <a:pt x="8522" y="-632"/>
                      <a:pt x="11052" y="1897"/>
                    </a:cubicBezTo>
                    <a:lnTo>
                      <a:pt x="49941" y="40786"/>
                    </a:lnTo>
                    <a:cubicBezTo>
                      <a:pt x="52471" y="43316"/>
                      <a:pt x="52471" y="47411"/>
                      <a:pt x="49941" y="49941"/>
                    </a:cubicBezTo>
                    <a:cubicBezTo>
                      <a:pt x="48689" y="51219"/>
                      <a:pt x="47020" y="51845"/>
                      <a:pt x="45377" y="51845"/>
                    </a:cubicBezTo>
                    <a:close/>
                  </a:path>
                </a:pathLst>
              </a:custGeom>
              <a:grpFill/>
              <a:ln w="2605" cap="flat">
                <a:noFill/>
                <a:prstDash val="solid"/>
                <a:miter/>
              </a:ln>
            </p:spPr>
            <p:txBody>
              <a:bodyPr rtlCol="0" anchor="ctr"/>
              <a:lstStyle/>
              <a:p>
                <a:endParaRPr lang="en-GB" dirty="0"/>
              </a:p>
            </p:txBody>
          </p:sp>
          <p:sp>
            <p:nvSpPr>
              <p:cNvPr id="376" name="Freihandform: Form 157">
                <a:extLst>
                  <a:ext uri="{FF2B5EF4-FFF2-40B4-BE49-F238E27FC236}">
                    <a16:creationId xmlns:a16="http://schemas.microsoft.com/office/drawing/2014/main" id="{9F2B49D5-6A61-46AD-97D9-4EF33953A4BD}"/>
                  </a:ext>
                </a:extLst>
              </p:cNvPr>
              <p:cNvSpPr/>
              <p:nvPr/>
            </p:nvSpPr>
            <p:spPr>
              <a:xfrm>
                <a:off x="1981371" y="2618613"/>
                <a:ext cx="13644" cy="45852"/>
              </a:xfrm>
              <a:custGeom>
                <a:avLst/>
                <a:gdLst>
                  <a:gd name="connsiteX0" fmla="*/ 6470 w 13644"/>
                  <a:gd name="connsiteY0" fmla="*/ 45853 h 45852"/>
                  <a:gd name="connsiteX1" fmla="*/ 6340 w 13644"/>
                  <a:gd name="connsiteY1" fmla="*/ 45853 h 45852"/>
                  <a:gd name="connsiteX2" fmla="*/ 2 w 13644"/>
                  <a:gd name="connsiteY2" fmla="*/ 39228 h 45852"/>
                  <a:gd name="connsiteX3" fmla="*/ 680 w 13644"/>
                  <a:gd name="connsiteY3" fmla="*/ 6338 h 45852"/>
                  <a:gd name="connsiteX4" fmla="*/ 7305 w 13644"/>
                  <a:gd name="connsiteY4" fmla="*/ 0 h 45852"/>
                  <a:gd name="connsiteX5" fmla="*/ 13643 w 13644"/>
                  <a:gd name="connsiteY5" fmla="*/ 6625 h 45852"/>
                  <a:gd name="connsiteX6" fmla="*/ 12964 w 13644"/>
                  <a:gd name="connsiteY6" fmla="*/ 39515 h 45852"/>
                  <a:gd name="connsiteX7" fmla="*/ 6470 w 13644"/>
                  <a:gd name="connsiteY7" fmla="*/ 45853 h 4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644" h="45852">
                    <a:moveTo>
                      <a:pt x="6470" y="45853"/>
                    </a:moveTo>
                    <a:cubicBezTo>
                      <a:pt x="6418" y="45853"/>
                      <a:pt x="6392" y="45853"/>
                      <a:pt x="6340" y="45853"/>
                    </a:cubicBezTo>
                    <a:cubicBezTo>
                      <a:pt x="2766" y="45775"/>
                      <a:pt x="-77" y="42827"/>
                      <a:pt x="2" y="39228"/>
                    </a:cubicBezTo>
                    <a:lnTo>
                      <a:pt x="680" y="6338"/>
                    </a:lnTo>
                    <a:cubicBezTo>
                      <a:pt x="758" y="2765"/>
                      <a:pt x="3575" y="-26"/>
                      <a:pt x="7305" y="0"/>
                    </a:cubicBezTo>
                    <a:cubicBezTo>
                      <a:pt x="10878" y="78"/>
                      <a:pt x="13721" y="3026"/>
                      <a:pt x="13643" y="6625"/>
                    </a:cubicBezTo>
                    <a:lnTo>
                      <a:pt x="12964" y="39515"/>
                    </a:lnTo>
                    <a:cubicBezTo>
                      <a:pt x="12860" y="43036"/>
                      <a:pt x="9991" y="45853"/>
                      <a:pt x="6470" y="45853"/>
                    </a:cubicBezTo>
                    <a:close/>
                  </a:path>
                </a:pathLst>
              </a:custGeom>
              <a:grpFill/>
              <a:ln w="2605" cap="flat">
                <a:noFill/>
                <a:prstDash val="solid"/>
                <a:miter/>
              </a:ln>
            </p:spPr>
            <p:txBody>
              <a:bodyPr rtlCol="0" anchor="ctr"/>
              <a:lstStyle/>
              <a:p>
                <a:endParaRPr lang="en-GB" dirty="0"/>
              </a:p>
            </p:txBody>
          </p:sp>
          <p:sp>
            <p:nvSpPr>
              <p:cNvPr id="377" name="Freihandform: Form 158">
                <a:extLst>
                  <a:ext uri="{FF2B5EF4-FFF2-40B4-BE49-F238E27FC236}">
                    <a16:creationId xmlns:a16="http://schemas.microsoft.com/office/drawing/2014/main" id="{AB12079E-CEFB-4D76-92B6-B29BBA361D59}"/>
                  </a:ext>
                </a:extLst>
              </p:cNvPr>
              <p:cNvSpPr/>
              <p:nvPr/>
            </p:nvSpPr>
            <p:spPr>
              <a:xfrm>
                <a:off x="1981346" y="2800563"/>
                <a:ext cx="12988" cy="74960"/>
              </a:xfrm>
              <a:custGeom>
                <a:avLst/>
                <a:gdLst>
                  <a:gd name="connsiteX0" fmla="*/ 6494 w 12988"/>
                  <a:gd name="connsiteY0" fmla="*/ 74960 h 74960"/>
                  <a:gd name="connsiteX1" fmla="*/ 0 w 12988"/>
                  <a:gd name="connsiteY1" fmla="*/ 68466 h 74960"/>
                  <a:gd name="connsiteX2" fmla="*/ 0 w 12988"/>
                  <a:gd name="connsiteY2" fmla="*/ 6494 h 74960"/>
                  <a:gd name="connsiteX3" fmla="*/ 6494 w 12988"/>
                  <a:gd name="connsiteY3" fmla="*/ 0 h 74960"/>
                  <a:gd name="connsiteX4" fmla="*/ 12989 w 12988"/>
                  <a:gd name="connsiteY4" fmla="*/ 6494 h 74960"/>
                  <a:gd name="connsiteX5" fmla="*/ 12989 w 12988"/>
                  <a:gd name="connsiteY5" fmla="*/ 68466 h 74960"/>
                  <a:gd name="connsiteX6" fmla="*/ 6494 w 12988"/>
                  <a:gd name="connsiteY6" fmla="*/ 74960 h 7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88" h="74960">
                    <a:moveTo>
                      <a:pt x="6494" y="74960"/>
                    </a:moveTo>
                    <a:cubicBezTo>
                      <a:pt x="2921" y="74960"/>
                      <a:pt x="0" y="72065"/>
                      <a:pt x="0" y="68466"/>
                    </a:cubicBezTo>
                    <a:lnTo>
                      <a:pt x="0" y="6494"/>
                    </a:lnTo>
                    <a:cubicBezTo>
                      <a:pt x="0" y="2921"/>
                      <a:pt x="2895" y="0"/>
                      <a:pt x="6494" y="0"/>
                    </a:cubicBezTo>
                    <a:cubicBezTo>
                      <a:pt x="10068" y="0"/>
                      <a:pt x="12989" y="2895"/>
                      <a:pt x="12989" y="6494"/>
                    </a:cubicBezTo>
                    <a:lnTo>
                      <a:pt x="12989" y="68466"/>
                    </a:lnTo>
                    <a:cubicBezTo>
                      <a:pt x="12963" y="72065"/>
                      <a:pt x="10068" y="74960"/>
                      <a:pt x="6494" y="74960"/>
                    </a:cubicBezTo>
                    <a:close/>
                  </a:path>
                </a:pathLst>
              </a:custGeom>
              <a:grpFill/>
              <a:ln w="2605" cap="flat">
                <a:noFill/>
                <a:prstDash val="solid"/>
                <a:miter/>
              </a:ln>
            </p:spPr>
            <p:txBody>
              <a:bodyPr rtlCol="0" anchor="ctr"/>
              <a:lstStyle/>
              <a:p>
                <a:endParaRPr lang="en-GB" dirty="0"/>
              </a:p>
            </p:txBody>
          </p:sp>
          <p:sp>
            <p:nvSpPr>
              <p:cNvPr id="378" name="Freihandform: Form 159">
                <a:extLst>
                  <a:ext uri="{FF2B5EF4-FFF2-40B4-BE49-F238E27FC236}">
                    <a16:creationId xmlns:a16="http://schemas.microsoft.com/office/drawing/2014/main" id="{5B8222C5-031E-4470-99BF-24FD9AD8401A}"/>
                  </a:ext>
                </a:extLst>
              </p:cNvPr>
              <p:cNvSpPr/>
              <p:nvPr/>
            </p:nvSpPr>
            <p:spPr>
              <a:xfrm>
                <a:off x="1832260" y="2742217"/>
                <a:ext cx="39723" cy="12988"/>
              </a:xfrm>
              <a:custGeom>
                <a:avLst/>
                <a:gdLst>
                  <a:gd name="connsiteX0" fmla="*/ 33229 w 39723"/>
                  <a:gd name="connsiteY0" fmla="*/ 12989 h 12988"/>
                  <a:gd name="connsiteX1" fmla="*/ 6494 w 39723"/>
                  <a:gd name="connsiteY1" fmla="*/ 12989 h 12988"/>
                  <a:gd name="connsiteX2" fmla="*/ 0 w 39723"/>
                  <a:gd name="connsiteY2" fmla="*/ 6494 h 12988"/>
                  <a:gd name="connsiteX3" fmla="*/ 6494 w 39723"/>
                  <a:gd name="connsiteY3" fmla="*/ 0 h 12988"/>
                  <a:gd name="connsiteX4" fmla="*/ 33229 w 39723"/>
                  <a:gd name="connsiteY4" fmla="*/ 0 h 12988"/>
                  <a:gd name="connsiteX5" fmla="*/ 39723 w 39723"/>
                  <a:gd name="connsiteY5" fmla="*/ 6494 h 12988"/>
                  <a:gd name="connsiteX6" fmla="*/ 33229 w 39723"/>
                  <a:gd name="connsiteY6" fmla="*/ 12989 h 12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23" h="12988">
                    <a:moveTo>
                      <a:pt x="33229" y="12989"/>
                    </a:moveTo>
                    <a:lnTo>
                      <a:pt x="6494" y="12989"/>
                    </a:lnTo>
                    <a:cubicBezTo>
                      <a:pt x="2921" y="12989"/>
                      <a:pt x="0" y="10094"/>
                      <a:pt x="0" y="6494"/>
                    </a:cubicBezTo>
                    <a:cubicBezTo>
                      <a:pt x="0" y="2921"/>
                      <a:pt x="2895" y="0"/>
                      <a:pt x="6494" y="0"/>
                    </a:cubicBezTo>
                    <a:lnTo>
                      <a:pt x="33229" y="0"/>
                    </a:lnTo>
                    <a:cubicBezTo>
                      <a:pt x="36802" y="0"/>
                      <a:pt x="39723" y="2895"/>
                      <a:pt x="39723" y="6494"/>
                    </a:cubicBezTo>
                    <a:cubicBezTo>
                      <a:pt x="39697" y="10094"/>
                      <a:pt x="36802" y="12989"/>
                      <a:pt x="33229" y="12989"/>
                    </a:cubicBezTo>
                    <a:close/>
                  </a:path>
                </a:pathLst>
              </a:custGeom>
              <a:grpFill/>
              <a:ln w="2605" cap="flat">
                <a:noFill/>
                <a:prstDash val="solid"/>
                <a:miter/>
              </a:ln>
            </p:spPr>
            <p:txBody>
              <a:bodyPr rtlCol="0" anchor="ctr"/>
              <a:lstStyle/>
              <a:p>
                <a:endParaRPr lang="en-GB" dirty="0"/>
              </a:p>
            </p:txBody>
          </p:sp>
          <p:sp>
            <p:nvSpPr>
              <p:cNvPr id="379" name="Freihandform: Form 160">
                <a:extLst>
                  <a:ext uri="{FF2B5EF4-FFF2-40B4-BE49-F238E27FC236}">
                    <a16:creationId xmlns:a16="http://schemas.microsoft.com/office/drawing/2014/main" id="{E42B90F1-7AF7-4C55-BD26-30B2DED5C094}"/>
                  </a:ext>
                </a:extLst>
              </p:cNvPr>
              <p:cNvSpPr/>
              <p:nvPr/>
            </p:nvSpPr>
            <p:spPr>
              <a:xfrm>
                <a:off x="2040214" y="2742217"/>
                <a:ext cx="38367" cy="12988"/>
              </a:xfrm>
              <a:custGeom>
                <a:avLst/>
                <a:gdLst>
                  <a:gd name="connsiteX0" fmla="*/ 31873 w 38367"/>
                  <a:gd name="connsiteY0" fmla="*/ 12989 h 12988"/>
                  <a:gd name="connsiteX1" fmla="*/ 6495 w 38367"/>
                  <a:gd name="connsiteY1" fmla="*/ 12989 h 12988"/>
                  <a:gd name="connsiteX2" fmla="*/ 0 w 38367"/>
                  <a:gd name="connsiteY2" fmla="*/ 6494 h 12988"/>
                  <a:gd name="connsiteX3" fmla="*/ 6495 w 38367"/>
                  <a:gd name="connsiteY3" fmla="*/ 0 h 12988"/>
                  <a:gd name="connsiteX4" fmla="*/ 31873 w 38367"/>
                  <a:gd name="connsiteY4" fmla="*/ 0 h 12988"/>
                  <a:gd name="connsiteX5" fmla="*/ 38367 w 38367"/>
                  <a:gd name="connsiteY5" fmla="*/ 6494 h 12988"/>
                  <a:gd name="connsiteX6" fmla="*/ 31873 w 38367"/>
                  <a:gd name="connsiteY6" fmla="*/ 12989 h 12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67" h="12988">
                    <a:moveTo>
                      <a:pt x="31873" y="12989"/>
                    </a:moveTo>
                    <a:lnTo>
                      <a:pt x="6495" y="12989"/>
                    </a:lnTo>
                    <a:cubicBezTo>
                      <a:pt x="2921" y="12989"/>
                      <a:pt x="0" y="10094"/>
                      <a:pt x="0" y="6494"/>
                    </a:cubicBezTo>
                    <a:cubicBezTo>
                      <a:pt x="0" y="2921"/>
                      <a:pt x="2895" y="0"/>
                      <a:pt x="6495" y="0"/>
                    </a:cubicBezTo>
                    <a:lnTo>
                      <a:pt x="31873" y="0"/>
                    </a:lnTo>
                    <a:cubicBezTo>
                      <a:pt x="35446" y="0"/>
                      <a:pt x="38367" y="2895"/>
                      <a:pt x="38367" y="6494"/>
                    </a:cubicBezTo>
                    <a:cubicBezTo>
                      <a:pt x="38341" y="10094"/>
                      <a:pt x="35446" y="12989"/>
                      <a:pt x="31873" y="12989"/>
                    </a:cubicBezTo>
                    <a:close/>
                  </a:path>
                </a:pathLst>
              </a:custGeom>
              <a:grpFill/>
              <a:ln w="2605" cap="flat">
                <a:noFill/>
                <a:prstDash val="solid"/>
                <a:miter/>
              </a:ln>
            </p:spPr>
            <p:txBody>
              <a:bodyPr rtlCol="0" anchor="ctr"/>
              <a:lstStyle/>
              <a:p>
                <a:endParaRPr lang="en-GB" dirty="0"/>
              </a:p>
            </p:txBody>
          </p:sp>
        </p:grpSp>
        <p:grpSp>
          <p:nvGrpSpPr>
            <p:cNvPr id="361" name="Grafik 271">
              <a:extLst>
                <a:ext uri="{FF2B5EF4-FFF2-40B4-BE49-F238E27FC236}">
                  <a16:creationId xmlns:a16="http://schemas.microsoft.com/office/drawing/2014/main" id="{F54FE4A2-43BC-4C57-B23E-5E286D78B128}"/>
                </a:ext>
              </a:extLst>
            </p:cNvPr>
            <p:cNvGrpSpPr/>
            <p:nvPr/>
          </p:nvGrpSpPr>
          <p:grpSpPr>
            <a:xfrm>
              <a:off x="2624105" y="4219385"/>
              <a:ext cx="311941" cy="210656"/>
              <a:chOff x="1725818" y="2741578"/>
              <a:chExt cx="269104" cy="181728"/>
            </a:xfrm>
            <a:solidFill>
              <a:schemeClr val="accent1"/>
            </a:solidFill>
          </p:grpSpPr>
          <p:sp>
            <p:nvSpPr>
              <p:cNvPr id="362" name="Freihandform: Form 151">
                <a:extLst>
                  <a:ext uri="{FF2B5EF4-FFF2-40B4-BE49-F238E27FC236}">
                    <a16:creationId xmlns:a16="http://schemas.microsoft.com/office/drawing/2014/main" id="{564FE82F-6D95-4DD1-85BD-F5A0DDF5A296}"/>
                  </a:ext>
                </a:extLst>
              </p:cNvPr>
              <p:cNvSpPr/>
              <p:nvPr/>
            </p:nvSpPr>
            <p:spPr>
              <a:xfrm>
                <a:off x="1725818" y="2822397"/>
                <a:ext cx="93688" cy="58734"/>
              </a:xfrm>
              <a:custGeom>
                <a:avLst/>
                <a:gdLst>
                  <a:gd name="connsiteX0" fmla="*/ 43375 w 93688"/>
                  <a:gd name="connsiteY0" fmla="*/ 58734 h 58734"/>
                  <a:gd name="connsiteX1" fmla="*/ 40219 w 93688"/>
                  <a:gd name="connsiteY1" fmla="*/ 57926 h 58734"/>
                  <a:gd name="connsiteX2" fmla="*/ 3339 w 93688"/>
                  <a:gd name="connsiteY2" fmla="*/ 37451 h 58734"/>
                  <a:gd name="connsiteX3" fmla="*/ 0 w 93688"/>
                  <a:gd name="connsiteY3" fmla="*/ 31843 h 58734"/>
                  <a:gd name="connsiteX4" fmla="*/ 3235 w 93688"/>
                  <a:gd name="connsiteY4" fmla="*/ 26184 h 58734"/>
                  <a:gd name="connsiteX5" fmla="*/ 47079 w 93688"/>
                  <a:gd name="connsiteY5" fmla="*/ 858 h 58734"/>
                  <a:gd name="connsiteX6" fmla="*/ 53469 w 93688"/>
                  <a:gd name="connsiteY6" fmla="*/ 806 h 58734"/>
                  <a:gd name="connsiteX7" fmla="*/ 90349 w 93688"/>
                  <a:gd name="connsiteY7" fmla="*/ 21280 h 58734"/>
                  <a:gd name="connsiteX8" fmla="*/ 93688 w 93688"/>
                  <a:gd name="connsiteY8" fmla="*/ 26888 h 58734"/>
                  <a:gd name="connsiteX9" fmla="*/ 90454 w 93688"/>
                  <a:gd name="connsiteY9" fmla="*/ 32548 h 58734"/>
                  <a:gd name="connsiteX10" fmla="*/ 46609 w 93688"/>
                  <a:gd name="connsiteY10" fmla="*/ 57847 h 58734"/>
                  <a:gd name="connsiteX11" fmla="*/ 43375 w 93688"/>
                  <a:gd name="connsiteY11" fmla="*/ 58734 h 58734"/>
                  <a:gd name="connsiteX12" fmla="*/ 19666 w 93688"/>
                  <a:gd name="connsiteY12" fmla="*/ 31687 h 58734"/>
                  <a:gd name="connsiteX13" fmla="*/ 43323 w 93688"/>
                  <a:gd name="connsiteY13" fmla="*/ 44806 h 58734"/>
                  <a:gd name="connsiteX14" fmla="*/ 74074 w 93688"/>
                  <a:gd name="connsiteY14" fmla="*/ 27044 h 58734"/>
                  <a:gd name="connsiteX15" fmla="*/ 50417 w 93688"/>
                  <a:gd name="connsiteY15" fmla="*/ 13899 h 58734"/>
                  <a:gd name="connsiteX16" fmla="*/ 19666 w 93688"/>
                  <a:gd name="connsiteY16" fmla="*/ 31687 h 58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688" h="58734">
                    <a:moveTo>
                      <a:pt x="43375" y="58734"/>
                    </a:moveTo>
                    <a:cubicBezTo>
                      <a:pt x="42280" y="58734"/>
                      <a:pt x="41210" y="58473"/>
                      <a:pt x="40219" y="57926"/>
                    </a:cubicBezTo>
                    <a:lnTo>
                      <a:pt x="3339" y="37451"/>
                    </a:lnTo>
                    <a:cubicBezTo>
                      <a:pt x="1305" y="36330"/>
                      <a:pt x="26" y="34165"/>
                      <a:pt x="0" y="31843"/>
                    </a:cubicBezTo>
                    <a:cubicBezTo>
                      <a:pt x="-26" y="29522"/>
                      <a:pt x="1226" y="27331"/>
                      <a:pt x="3235" y="26184"/>
                    </a:cubicBezTo>
                    <a:lnTo>
                      <a:pt x="47079" y="858"/>
                    </a:lnTo>
                    <a:cubicBezTo>
                      <a:pt x="49061" y="-264"/>
                      <a:pt x="51461" y="-290"/>
                      <a:pt x="53469" y="806"/>
                    </a:cubicBezTo>
                    <a:lnTo>
                      <a:pt x="90349" y="21280"/>
                    </a:lnTo>
                    <a:cubicBezTo>
                      <a:pt x="92384" y="22428"/>
                      <a:pt x="93662" y="24566"/>
                      <a:pt x="93688" y="26888"/>
                    </a:cubicBezTo>
                    <a:cubicBezTo>
                      <a:pt x="93714" y="29235"/>
                      <a:pt x="92462" y="31400"/>
                      <a:pt x="90454" y="32548"/>
                    </a:cubicBezTo>
                    <a:lnTo>
                      <a:pt x="46609" y="57847"/>
                    </a:lnTo>
                    <a:cubicBezTo>
                      <a:pt x="45618" y="58447"/>
                      <a:pt x="44497" y="58734"/>
                      <a:pt x="43375" y="58734"/>
                    </a:cubicBezTo>
                    <a:close/>
                    <a:moveTo>
                      <a:pt x="19666" y="31687"/>
                    </a:moveTo>
                    <a:lnTo>
                      <a:pt x="43323" y="44806"/>
                    </a:lnTo>
                    <a:lnTo>
                      <a:pt x="74074" y="27044"/>
                    </a:lnTo>
                    <a:lnTo>
                      <a:pt x="50417" y="13899"/>
                    </a:lnTo>
                    <a:lnTo>
                      <a:pt x="19666" y="31687"/>
                    </a:lnTo>
                    <a:close/>
                  </a:path>
                </a:pathLst>
              </a:custGeom>
              <a:solidFill>
                <a:schemeClr val="accent1"/>
              </a:solidFill>
              <a:ln w="2605" cap="flat">
                <a:noFill/>
                <a:prstDash val="solid"/>
                <a:miter/>
              </a:ln>
            </p:spPr>
            <p:txBody>
              <a:bodyPr rtlCol="0" anchor="ctr"/>
              <a:lstStyle/>
              <a:p>
                <a:endParaRPr lang="en-GB" dirty="0"/>
              </a:p>
            </p:txBody>
          </p:sp>
          <p:sp>
            <p:nvSpPr>
              <p:cNvPr id="363" name="Freihandform: Form 152">
                <a:extLst>
                  <a:ext uri="{FF2B5EF4-FFF2-40B4-BE49-F238E27FC236}">
                    <a16:creationId xmlns:a16="http://schemas.microsoft.com/office/drawing/2014/main" id="{4F1D3AA0-0B14-4E29-9BA3-F3E0ECAA0264}"/>
                  </a:ext>
                </a:extLst>
              </p:cNvPr>
              <p:cNvSpPr/>
              <p:nvPr/>
            </p:nvSpPr>
            <p:spPr>
              <a:xfrm>
                <a:off x="1762019" y="2842888"/>
                <a:ext cx="57488" cy="80418"/>
              </a:xfrm>
              <a:custGeom>
                <a:avLst/>
                <a:gdLst>
                  <a:gd name="connsiteX0" fmla="*/ 6470 w 57488"/>
                  <a:gd name="connsiteY0" fmla="*/ 80418 h 80418"/>
                  <a:gd name="connsiteX1" fmla="*/ 3184 w 57488"/>
                  <a:gd name="connsiteY1" fmla="*/ 79531 h 80418"/>
                  <a:gd name="connsiteX2" fmla="*/ 2 w 57488"/>
                  <a:gd name="connsiteY2" fmla="*/ 73845 h 80418"/>
                  <a:gd name="connsiteX3" fmla="*/ 706 w 57488"/>
                  <a:gd name="connsiteY3" fmla="*/ 31671 h 80418"/>
                  <a:gd name="connsiteX4" fmla="*/ 3940 w 57488"/>
                  <a:gd name="connsiteY4" fmla="*/ 26167 h 80418"/>
                  <a:gd name="connsiteX5" fmla="*/ 47784 w 57488"/>
                  <a:gd name="connsiteY5" fmla="*/ 867 h 80418"/>
                  <a:gd name="connsiteX6" fmla="*/ 54305 w 57488"/>
                  <a:gd name="connsiteY6" fmla="*/ 893 h 80418"/>
                  <a:gd name="connsiteX7" fmla="*/ 57487 w 57488"/>
                  <a:gd name="connsiteY7" fmla="*/ 6579 h 80418"/>
                  <a:gd name="connsiteX8" fmla="*/ 56783 w 57488"/>
                  <a:gd name="connsiteY8" fmla="*/ 48754 h 80418"/>
                  <a:gd name="connsiteX9" fmla="*/ 53548 w 57488"/>
                  <a:gd name="connsiteY9" fmla="*/ 54258 h 80418"/>
                  <a:gd name="connsiteX10" fmla="*/ 9704 w 57488"/>
                  <a:gd name="connsiteY10" fmla="*/ 79584 h 80418"/>
                  <a:gd name="connsiteX11" fmla="*/ 6470 w 57488"/>
                  <a:gd name="connsiteY11" fmla="*/ 80418 h 80418"/>
                  <a:gd name="connsiteX12" fmla="*/ 13590 w 57488"/>
                  <a:gd name="connsiteY12" fmla="*/ 35531 h 80418"/>
                  <a:gd name="connsiteX13" fmla="*/ 13147 w 57488"/>
                  <a:gd name="connsiteY13" fmla="*/ 62578 h 80418"/>
                  <a:gd name="connsiteX14" fmla="*/ 43898 w 57488"/>
                  <a:gd name="connsiteY14" fmla="*/ 44816 h 80418"/>
                  <a:gd name="connsiteX15" fmla="*/ 44341 w 57488"/>
                  <a:gd name="connsiteY15" fmla="*/ 17769 h 80418"/>
                  <a:gd name="connsiteX16" fmla="*/ 13590 w 57488"/>
                  <a:gd name="connsiteY16" fmla="*/ 35531 h 80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488" h="80418">
                    <a:moveTo>
                      <a:pt x="6470" y="80418"/>
                    </a:moveTo>
                    <a:cubicBezTo>
                      <a:pt x="5322" y="80418"/>
                      <a:pt x="4201" y="80131"/>
                      <a:pt x="3184" y="79531"/>
                    </a:cubicBezTo>
                    <a:cubicBezTo>
                      <a:pt x="1175" y="78358"/>
                      <a:pt x="-51" y="76167"/>
                      <a:pt x="2" y="73845"/>
                    </a:cubicBezTo>
                    <a:lnTo>
                      <a:pt x="706" y="31671"/>
                    </a:lnTo>
                    <a:cubicBezTo>
                      <a:pt x="732" y="29401"/>
                      <a:pt x="1984" y="27315"/>
                      <a:pt x="3940" y="26167"/>
                    </a:cubicBezTo>
                    <a:lnTo>
                      <a:pt x="47784" y="867"/>
                    </a:lnTo>
                    <a:cubicBezTo>
                      <a:pt x="49819" y="-306"/>
                      <a:pt x="52296" y="-280"/>
                      <a:pt x="54305" y="893"/>
                    </a:cubicBezTo>
                    <a:cubicBezTo>
                      <a:pt x="56313" y="2067"/>
                      <a:pt x="57539" y="4258"/>
                      <a:pt x="57487" y="6579"/>
                    </a:cubicBezTo>
                    <a:lnTo>
                      <a:pt x="56783" y="48754"/>
                    </a:lnTo>
                    <a:cubicBezTo>
                      <a:pt x="56757" y="51023"/>
                      <a:pt x="55505" y="53110"/>
                      <a:pt x="53548" y="54258"/>
                    </a:cubicBezTo>
                    <a:lnTo>
                      <a:pt x="9704" y="79584"/>
                    </a:lnTo>
                    <a:cubicBezTo>
                      <a:pt x="8687" y="80131"/>
                      <a:pt x="7591" y="80418"/>
                      <a:pt x="6470" y="80418"/>
                    </a:cubicBezTo>
                    <a:close/>
                    <a:moveTo>
                      <a:pt x="13590" y="35531"/>
                    </a:moveTo>
                    <a:lnTo>
                      <a:pt x="13147" y="62578"/>
                    </a:lnTo>
                    <a:lnTo>
                      <a:pt x="43898" y="44816"/>
                    </a:lnTo>
                    <a:lnTo>
                      <a:pt x="44341" y="17769"/>
                    </a:lnTo>
                    <a:lnTo>
                      <a:pt x="13590" y="35531"/>
                    </a:lnTo>
                    <a:close/>
                  </a:path>
                </a:pathLst>
              </a:custGeom>
              <a:solidFill>
                <a:schemeClr val="accent1"/>
              </a:solidFill>
              <a:ln w="2605" cap="flat">
                <a:noFill/>
                <a:prstDash val="solid"/>
                <a:miter/>
              </a:ln>
            </p:spPr>
            <p:txBody>
              <a:bodyPr rtlCol="0" anchor="ctr"/>
              <a:lstStyle/>
              <a:p>
                <a:endParaRPr lang="en-GB" dirty="0"/>
              </a:p>
            </p:txBody>
          </p:sp>
          <p:sp>
            <p:nvSpPr>
              <p:cNvPr id="364" name="Freihandform: Form 153">
                <a:extLst>
                  <a:ext uri="{FF2B5EF4-FFF2-40B4-BE49-F238E27FC236}">
                    <a16:creationId xmlns:a16="http://schemas.microsoft.com/office/drawing/2014/main" id="{98348A0F-753D-4EDE-9ADF-B09B48BE9706}"/>
                  </a:ext>
                </a:extLst>
              </p:cNvPr>
              <p:cNvSpPr/>
              <p:nvPr/>
            </p:nvSpPr>
            <p:spPr>
              <a:xfrm>
                <a:off x="1743906" y="2741578"/>
                <a:ext cx="251016" cy="150403"/>
              </a:xfrm>
              <a:custGeom>
                <a:avLst/>
                <a:gdLst>
                  <a:gd name="connsiteX0" fmla="*/ 6508 w 251016"/>
                  <a:gd name="connsiteY0" fmla="*/ 150404 h 150403"/>
                  <a:gd name="connsiteX1" fmla="*/ 874 w 251016"/>
                  <a:gd name="connsiteY1" fmla="*/ 147170 h 150403"/>
                  <a:gd name="connsiteX2" fmla="*/ 3248 w 251016"/>
                  <a:gd name="connsiteY2" fmla="*/ 138302 h 150403"/>
                  <a:gd name="connsiteX3" fmla="*/ 241275 w 251016"/>
                  <a:gd name="connsiteY3" fmla="*/ 874 h 150403"/>
                  <a:gd name="connsiteX4" fmla="*/ 250143 w 251016"/>
                  <a:gd name="connsiteY4" fmla="*/ 3248 h 150403"/>
                  <a:gd name="connsiteX5" fmla="*/ 247769 w 251016"/>
                  <a:gd name="connsiteY5" fmla="*/ 12116 h 150403"/>
                  <a:gd name="connsiteX6" fmla="*/ 9742 w 251016"/>
                  <a:gd name="connsiteY6" fmla="*/ 149543 h 150403"/>
                  <a:gd name="connsiteX7" fmla="*/ 6508 w 251016"/>
                  <a:gd name="connsiteY7" fmla="*/ 150404 h 150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1016" h="150403">
                    <a:moveTo>
                      <a:pt x="6508" y="150404"/>
                    </a:moveTo>
                    <a:cubicBezTo>
                      <a:pt x="4265" y="150404"/>
                      <a:pt x="2100" y="149230"/>
                      <a:pt x="874" y="147170"/>
                    </a:cubicBezTo>
                    <a:cubicBezTo>
                      <a:pt x="-925" y="144066"/>
                      <a:pt x="144" y="140101"/>
                      <a:pt x="3248" y="138302"/>
                    </a:cubicBezTo>
                    <a:lnTo>
                      <a:pt x="241275" y="874"/>
                    </a:lnTo>
                    <a:cubicBezTo>
                      <a:pt x="244378" y="-925"/>
                      <a:pt x="248343" y="144"/>
                      <a:pt x="250143" y="3248"/>
                    </a:cubicBezTo>
                    <a:cubicBezTo>
                      <a:pt x="251942" y="6352"/>
                      <a:pt x="250873" y="10316"/>
                      <a:pt x="247769" y="12116"/>
                    </a:cubicBezTo>
                    <a:lnTo>
                      <a:pt x="9742" y="149543"/>
                    </a:lnTo>
                    <a:cubicBezTo>
                      <a:pt x="8725" y="150117"/>
                      <a:pt x="7604" y="150404"/>
                      <a:pt x="6508" y="150404"/>
                    </a:cubicBezTo>
                    <a:close/>
                  </a:path>
                </a:pathLst>
              </a:custGeom>
              <a:solidFill>
                <a:schemeClr val="accent1"/>
              </a:solidFill>
              <a:ln w="2605" cap="flat">
                <a:noFill/>
                <a:prstDash val="solid"/>
                <a:miter/>
              </a:ln>
            </p:spPr>
            <p:txBody>
              <a:bodyPr rtlCol="0" anchor="ctr"/>
              <a:lstStyle/>
              <a:p>
                <a:endParaRPr lang="en-GB" dirty="0"/>
              </a:p>
            </p:txBody>
          </p:sp>
        </p:grpSp>
      </p:grpSp>
      <p:grpSp>
        <p:nvGrpSpPr>
          <p:cNvPr id="33" name="Group 32">
            <a:extLst>
              <a:ext uri="{FF2B5EF4-FFF2-40B4-BE49-F238E27FC236}">
                <a16:creationId xmlns:a16="http://schemas.microsoft.com/office/drawing/2014/main" id="{6596A49F-1B14-15B8-E354-4090E4D27FB0}"/>
              </a:ext>
            </a:extLst>
          </p:cNvPr>
          <p:cNvGrpSpPr/>
          <p:nvPr/>
        </p:nvGrpSpPr>
        <p:grpSpPr>
          <a:xfrm>
            <a:off x="3721706" y="4002611"/>
            <a:ext cx="471298" cy="432001"/>
            <a:chOff x="3721706" y="4002611"/>
            <a:chExt cx="471298" cy="432001"/>
          </a:xfrm>
        </p:grpSpPr>
        <p:grpSp>
          <p:nvGrpSpPr>
            <p:cNvPr id="381" name="Group 380">
              <a:extLst>
                <a:ext uri="{FF2B5EF4-FFF2-40B4-BE49-F238E27FC236}">
                  <a16:creationId xmlns:a16="http://schemas.microsoft.com/office/drawing/2014/main" id="{B3A0E45D-BD27-46AE-9E4C-C60A49382A10}"/>
                </a:ext>
              </a:extLst>
            </p:cNvPr>
            <p:cNvGrpSpPr/>
            <p:nvPr/>
          </p:nvGrpSpPr>
          <p:grpSpPr>
            <a:xfrm>
              <a:off x="3762079" y="4126356"/>
              <a:ext cx="430925" cy="308256"/>
              <a:chOff x="5318113" y="1751816"/>
              <a:chExt cx="434488" cy="310805"/>
            </a:xfrm>
            <a:solidFill>
              <a:schemeClr val="accent1"/>
            </a:solidFill>
          </p:grpSpPr>
          <p:grpSp>
            <p:nvGrpSpPr>
              <p:cNvPr id="390" name="Grafik 272">
                <a:extLst>
                  <a:ext uri="{FF2B5EF4-FFF2-40B4-BE49-F238E27FC236}">
                    <a16:creationId xmlns:a16="http://schemas.microsoft.com/office/drawing/2014/main" id="{0381D18E-856F-417C-91AB-D98640DD54E2}"/>
                  </a:ext>
                </a:extLst>
              </p:cNvPr>
              <p:cNvGrpSpPr/>
              <p:nvPr/>
            </p:nvGrpSpPr>
            <p:grpSpPr>
              <a:xfrm>
                <a:off x="5604089" y="1751816"/>
                <a:ext cx="148512" cy="192000"/>
                <a:chOff x="5604089" y="1751816"/>
                <a:chExt cx="148512" cy="192000"/>
              </a:xfrm>
              <a:solidFill>
                <a:schemeClr val="accent1"/>
              </a:solidFill>
            </p:grpSpPr>
            <p:sp>
              <p:nvSpPr>
                <p:cNvPr id="393" name="Freihandform: Form 843">
                  <a:extLst>
                    <a:ext uri="{FF2B5EF4-FFF2-40B4-BE49-F238E27FC236}">
                      <a16:creationId xmlns:a16="http://schemas.microsoft.com/office/drawing/2014/main" id="{3BD4D1B0-28C4-4217-9605-324A5B0FDD35}"/>
                    </a:ext>
                  </a:extLst>
                </p:cNvPr>
                <p:cNvSpPr/>
                <p:nvPr/>
              </p:nvSpPr>
              <p:spPr>
                <a:xfrm>
                  <a:off x="5604089" y="1835878"/>
                  <a:ext cx="148512" cy="107939"/>
                </a:xfrm>
                <a:custGeom>
                  <a:avLst/>
                  <a:gdLst>
                    <a:gd name="connsiteX0" fmla="*/ 67180 w 148512"/>
                    <a:gd name="connsiteY0" fmla="*/ 107939 h 107939"/>
                    <a:gd name="connsiteX1" fmla="*/ 2544 w 148512"/>
                    <a:gd name="connsiteY1" fmla="*/ 93231 h 107939"/>
                    <a:gd name="connsiteX2" fmla="*/ 0 w 148512"/>
                    <a:gd name="connsiteY2" fmla="*/ 88010 h 107939"/>
                    <a:gd name="connsiteX3" fmla="*/ 0 w 148512"/>
                    <a:gd name="connsiteY3" fmla="*/ 59151 h 107939"/>
                    <a:gd name="connsiteX4" fmla="*/ 56315 w 148512"/>
                    <a:gd name="connsiteY4" fmla="*/ 0 h 107939"/>
                    <a:gd name="connsiteX5" fmla="*/ 92198 w 148512"/>
                    <a:gd name="connsiteY5" fmla="*/ 0 h 107939"/>
                    <a:gd name="connsiteX6" fmla="*/ 148513 w 148512"/>
                    <a:gd name="connsiteY6" fmla="*/ 59151 h 107939"/>
                    <a:gd name="connsiteX7" fmla="*/ 148513 w 148512"/>
                    <a:gd name="connsiteY7" fmla="*/ 88010 h 107939"/>
                    <a:gd name="connsiteX8" fmla="*/ 145359 w 148512"/>
                    <a:gd name="connsiteY8" fmla="*/ 93655 h 107939"/>
                    <a:gd name="connsiteX9" fmla="*/ 74389 w 148512"/>
                    <a:gd name="connsiteY9" fmla="*/ 107807 h 107939"/>
                    <a:gd name="connsiteX10" fmla="*/ 67180 w 148512"/>
                    <a:gd name="connsiteY10" fmla="*/ 107939 h 107939"/>
                    <a:gd name="connsiteX11" fmla="*/ 13224 w 148512"/>
                    <a:gd name="connsiteY11" fmla="*/ 84353 h 107939"/>
                    <a:gd name="connsiteX12" fmla="*/ 73965 w 148512"/>
                    <a:gd name="connsiteY12" fmla="*/ 94636 h 107939"/>
                    <a:gd name="connsiteX13" fmla="*/ 135315 w 148512"/>
                    <a:gd name="connsiteY13" fmla="*/ 83903 h 107939"/>
                    <a:gd name="connsiteX14" fmla="*/ 135315 w 148512"/>
                    <a:gd name="connsiteY14" fmla="*/ 59177 h 107939"/>
                    <a:gd name="connsiteX15" fmla="*/ 92198 w 148512"/>
                    <a:gd name="connsiteY15" fmla="*/ 13224 h 107939"/>
                    <a:gd name="connsiteX16" fmla="*/ 56315 w 148512"/>
                    <a:gd name="connsiteY16" fmla="*/ 13224 h 107939"/>
                    <a:gd name="connsiteX17" fmla="*/ 13198 w 148512"/>
                    <a:gd name="connsiteY17" fmla="*/ 59177 h 107939"/>
                    <a:gd name="connsiteX18" fmla="*/ 13198 w 148512"/>
                    <a:gd name="connsiteY18" fmla="*/ 84353 h 107939"/>
                    <a:gd name="connsiteX19" fmla="*/ 141914 w 148512"/>
                    <a:gd name="connsiteY19" fmla="*/ 88037 h 107939"/>
                    <a:gd name="connsiteX20" fmla="*/ 141967 w 148512"/>
                    <a:gd name="connsiteY20" fmla="*/ 88037 h 107939"/>
                    <a:gd name="connsiteX21" fmla="*/ 141914 w 148512"/>
                    <a:gd name="connsiteY21" fmla="*/ 88037 h 10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8512" h="107939">
                      <a:moveTo>
                        <a:pt x="67180" y="107939"/>
                      </a:moveTo>
                      <a:cubicBezTo>
                        <a:pt x="21996" y="107939"/>
                        <a:pt x="3366" y="93867"/>
                        <a:pt x="2544" y="93231"/>
                      </a:cubicBezTo>
                      <a:cubicBezTo>
                        <a:pt x="928" y="91986"/>
                        <a:pt x="0" y="90051"/>
                        <a:pt x="0" y="88010"/>
                      </a:cubicBezTo>
                      <a:lnTo>
                        <a:pt x="0" y="59151"/>
                      </a:lnTo>
                      <a:cubicBezTo>
                        <a:pt x="0" y="25415"/>
                        <a:pt x="24196" y="0"/>
                        <a:pt x="56315" y="0"/>
                      </a:cubicBezTo>
                      <a:lnTo>
                        <a:pt x="92198" y="0"/>
                      </a:lnTo>
                      <a:cubicBezTo>
                        <a:pt x="124290" y="0"/>
                        <a:pt x="148513" y="25441"/>
                        <a:pt x="148513" y="59151"/>
                      </a:cubicBezTo>
                      <a:lnTo>
                        <a:pt x="148513" y="88010"/>
                      </a:lnTo>
                      <a:cubicBezTo>
                        <a:pt x="148513" y="90316"/>
                        <a:pt x="147320" y="92436"/>
                        <a:pt x="145359" y="93655"/>
                      </a:cubicBezTo>
                      <a:cubicBezTo>
                        <a:pt x="144511" y="94159"/>
                        <a:pt x="124158" y="106243"/>
                        <a:pt x="74389" y="107807"/>
                      </a:cubicBezTo>
                      <a:cubicBezTo>
                        <a:pt x="71924" y="107913"/>
                        <a:pt x="69513" y="107939"/>
                        <a:pt x="67180" y="107939"/>
                      </a:cubicBezTo>
                      <a:close/>
                      <a:moveTo>
                        <a:pt x="13224" y="84353"/>
                      </a:moveTo>
                      <a:cubicBezTo>
                        <a:pt x="19611" y="87798"/>
                        <a:pt x="38400" y="95802"/>
                        <a:pt x="73965" y="94636"/>
                      </a:cubicBezTo>
                      <a:cubicBezTo>
                        <a:pt x="109105" y="93523"/>
                        <a:pt x="128239" y="86950"/>
                        <a:pt x="135315" y="83903"/>
                      </a:cubicBezTo>
                      <a:lnTo>
                        <a:pt x="135315" y="59177"/>
                      </a:lnTo>
                      <a:cubicBezTo>
                        <a:pt x="135315" y="32543"/>
                        <a:pt x="117188" y="13224"/>
                        <a:pt x="92198" y="13224"/>
                      </a:cubicBezTo>
                      <a:lnTo>
                        <a:pt x="56315" y="13224"/>
                      </a:lnTo>
                      <a:cubicBezTo>
                        <a:pt x="31324" y="13224"/>
                        <a:pt x="13198" y="32543"/>
                        <a:pt x="13198" y="59177"/>
                      </a:cubicBezTo>
                      <a:lnTo>
                        <a:pt x="13198" y="84353"/>
                      </a:lnTo>
                      <a:close/>
                      <a:moveTo>
                        <a:pt x="141914" y="88037"/>
                      </a:moveTo>
                      <a:lnTo>
                        <a:pt x="141967" y="88037"/>
                      </a:lnTo>
                      <a:lnTo>
                        <a:pt x="141914" y="88037"/>
                      </a:lnTo>
                      <a:close/>
                    </a:path>
                  </a:pathLst>
                </a:custGeom>
                <a:solidFill>
                  <a:schemeClr val="accent1"/>
                </a:solidFill>
                <a:ln w="2648" cap="flat">
                  <a:noFill/>
                  <a:prstDash val="solid"/>
                  <a:miter/>
                </a:ln>
              </p:spPr>
              <p:txBody>
                <a:bodyPr rtlCol="0" anchor="ctr"/>
                <a:lstStyle/>
                <a:p>
                  <a:endParaRPr lang="en-GB" dirty="0"/>
                </a:p>
              </p:txBody>
            </p:sp>
            <p:sp>
              <p:nvSpPr>
                <p:cNvPr id="394" name="Freihandform: Form 844">
                  <a:extLst>
                    <a:ext uri="{FF2B5EF4-FFF2-40B4-BE49-F238E27FC236}">
                      <a16:creationId xmlns:a16="http://schemas.microsoft.com/office/drawing/2014/main" id="{7C28A7A4-43A7-4398-8A71-A2B0CCCC5C45}"/>
                    </a:ext>
                  </a:extLst>
                </p:cNvPr>
                <p:cNvSpPr/>
                <p:nvPr/>
              </p:nvSpPr>
              <p:spPr>
                <a:xfrm>
                  <a:off x="5645855" y="1751816"/>
                  <a:ext cx="65245" cy="76270"/>
                </a:xfrm>
                <a:custGeom>
                  <a:avLst/>
                  <a:gdLst>
                    <a:gd name="connsiteX0" fmla="*/ 32623 w 65245"/>
                    <a:gd name="connsiteY0" fmla="*/ 76270 h 76270"/>
                    <a:gd name="connsiteX1" fmla="*/ 0 w 65245"/>
                    <a:gd name="connsiteY1" fmla="*/ 38135 h 76270"/>
                    <a:gd name="connsiteX2" fmla="*/ 32623 w 65245"/>
                    <a:gd name="connsiteY2" fmla="*/ 0 h 76270"/>
                    <a:gd name="connsiteX3" fmla="*/ 65246 w 65245"/>
                    <a:gd name="connsiteY3" fmla="*/ 38135 h 76270"/>
                    <a:gd name="connsiteX4" fmla="*/ 32623 w 65245"/>
                    <a:gd name="connsiteY4" fmla="*/ 76270 h 76270"/>
                    <a:gd name="connsiteX5" fmla="*/ 32623 w 65245"/>
                    <a:gd name="connsiteY5" fmla="*/ 13198 h 76270"/>
                    <a:gd name="connsiteX6" fmla="*/ 13198 w 65245"/>
                    <a:gd name="connsiteY6" fmla="*/ 38135 h 76270"/>
                    <a:gd name="connsiteX7" fmla="*/ 32623 w 65245"/>
                    <a:gd name="connsiteY7" fmla="*/ 63073 h 76270"/>
                    <a:gd name="connsiteX8" fmla="*/ 52048 w 65245"/>
                    <a:gd name="connsiteY8" fmla="*/ 38135 h 76270"/>
                    <a:gd name="connsiteX9" fmla="*/ 32623 w 65245"/>
                    <a:gd name="connsiteY9" fmla="*/ 13198 h 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45" h="76270">
                      <a:moveTo>
                        <a:pt x="32623" y="76270"/>
                      </a:moveTo>
                      <a:cubicBezTo>
                        <a:pt x="13118" y="76270"/>
                        <a:pt x="0" y="60953"/>
                        <a:pt x="0" y="38135"/>
                      </a:cubicBezTo>
                      <a:cubicBezTo>
                        <a:pt x="0" y="15318"/>
                        <a:pt x="13118" y="0"/>
                        <a:pt x="32623" y="0"/>
                      </a:cubicBezTo>
                      <a:cubicBezTo>
                        <a:pt x="52128" y="0"/>
                        <a:pt x="65246" y="15318"/>
                        <a:pt x="65246" y="38135"/>
                      </a:cubicBezTo>
                      <a:cubicBezTo>
                        <a:pt x="65246" y="60953"/>
                        <a:pt x="52128" y="76270"/>
                        <a:pt x="32623" y="76270"/>
                      </a:cubicBezTo>
                      <a:close/>
                      <a:moveTo>
                        <a:pt x="32623" y="13198"/>
                      </a:moveTo>
                      <a:cubicBezTo>
                        <a:pt x="14602" y="13198"/>
                        <a:pt x="13198" y="32278"/>
                        <a:pt x="13198" y="38135"/>
                      </a:cubicBezTo>
                      <a:cubicBezTo>
                        <a:pt x="13198" y="43992"/>
                        <a:pt x="14602" y="63073"/>
                        <a:pt x="32623" y="63073"/>
                      </a:cubicBezTo>
                      <a:cubicBezTo>
                        <a:pt x="50644" y="63073"/>
                        <a:pt x="52048" y="43992"/>
                        <a:pt x="52048" y="38135"/>
                      </a:cubicBezTo>
                      <a:cubicBezTo>
                        <a:pt x="52048" y="32278"/>
                        <a:pt x="50644" y="13198"/>
                        <a:pt x="32623" y="13198"/>
                      </a:cubicBezTo>
                      <a:close/>
                    </a:path>
                  </a:pathLst>
                </a:custGeom>
                <a:solidFill>
                  <a:schemeClr val="accent1"/>
                </a:solidFill>
                <a:ln w="2648" cap="flat">
                  <a:noFill/>
                  <a:prstDash val="solid"/>
                  <a:miter/>
                </a:ln>
              </p:spPr>
              <p:txBody>
                <a:bodyPr rtlCol="0" anchor="ctr"/>
                <a:lstStyle/>
                <a:p>
                  <a:endParaRPr lang="en-GB" dirty="0"/>
                </a:p>
              </p:txBody>
            </p:sp>
            <p:sp>
              <p:nvSpPr>
                <p:cNvPr id="395" name="Freihandform: Form 845">
                  <a:extLst>
                    <a:ext uri="{FF2B5EF4-FFF2-40B4-BE49-F238E27FC236}">
                      <a16:creationId xmlns:a16="http://schemas.microsoft.com/office/drawing/2014/main" id="{00D97277-72B2-4791-8DCF-A0F2AA579576}"/>
                    </a:ext>
                  </a:extLst>
                </p:cNvPr>
                <p:cNvSpPr/>
                <p:nvPr/>
              </p:nvSpPr>
              <p:spPr>
                <a:xfrm>
                  <a:off x="5630246" y="1893730"/>
                  <a:ext cx="13197" cy="43382"/>
                </a:xfrm>
                <a:custGeom>
                  <a:avLst/>
                  <a:gdLst>
                    <a:gd name="connsiteX0" fmla="*/ 6599 w 13197"/>
                    <a:gd name="connsiteY0" fmla="*/ 43382 h 43382"/>
                    <a:gd name="connsiteX1" fmla="*/ 0 w 13197"/>
                    <a:gd name="connsiteY1" fmla="*/ 36784 h 43382"/>
                    <a:gd name="connsiteX2" fmla="*/ 0 w 13197"/>
                    <a:gd name="connsiteY2" fmla="*/ 6599 h 43382"/>
                    <a:gd name="connsiteX3" fmla="*/ 6599 w 13197"/>
                    <a:gd name="connsiteY3" fmla="*/ 0 h 43382"/>
                    <a:gd name="connsiteX4" fmla="*/ 13198 w 13197"/>
                    <a:gd name="connsiteY4" fmla="*/ 6599 h 43382"/>
                    <a:gd name="connsiteX5" fmla="*/ 13198 w 13197"/>
                    <a:gd name="connsiteY5" fmla="*/ 36784 h 43382"/>
                    <a:gd name="connsiteX6" fmla="*/ 6599 w 13197"/>
                    <a:gd name="connsiteY6" fmla="*/ 43382 h 4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7" h="43382">
                      <a:moveTo>
                        <a:pt x="6599" y="43382"/>
                      </a:moveTo>
                      <a:cubicBezTo>
                        <a:pt x="2942" y="43382"/>
                        <a:pt x="0" y="40441"/>
                        <a:pt x="0" y="36784"/>
                      </a:cubicBezTo>
                      <a:lnTo>
                        <a:pt x="0" y="6599"/>
                      </a:lnTo>
                      <a:cubicBezTo>
                        <a:pt x="0" y="2942"/>
                        <a:pt x="2942" y="0"/>
                        <a:pt x="6599" y="0"/>
                      </a:cubicBezTo>
                      <a:cubicBezTo>
                        <a:pt x="10256" y="0"/>
                        <a:pt x="13198" y="2968"/>
                        <a:pt x="13198" y="6599"/>
                      </a:cubicBezTo>
                      <a:lnTo>
                        <a:pt x="13198" y="36784"/>
                      </a:lnTo>
                      <a:cubicBezTo>
                        <a:pt x="13198" y="40441"/>
                        <a:pt x="10256" y="43382"/>
                        <a:pt x="6599" y="43382"/>
                      </a:cubicBezTo>
                      <a:close/>
                    </a:path>
                  </a:pathLst>
                </a:custGeom>
                <a:solidFill>
                  <a:schemeClr val="accent1"/>
                </a:solidFill>
                <a:ln w="2648" cap="flat">
                  <a:noFill/>
                  <a:prstDash val="solid"/>
                  <a:miter/>
                </a:ln>
              </p:spPr>
              <p:txBody>
                <a:bodyPr rtlCol="0" anchor="ctr"/>
                <a:lstStyle/>
                <a:p>
                  <a:endParaRPr lang="en-GB" dirty="0"/>
                </a:p>
              </p:txBody>
            </p:sp>
            <p:sp>
              <p:nvSpPr>
                <p:cNvPr id="396" name="Freihandform: Form 846">
                  <a:extLst>
                    <a:ext uri="{FF2B5EF4-FFF2-40B4-BE49-F238E27FC236}">
                      <a16:creationId xmlns:a16="http://schemas.microsoft.com/office/drawing/2014/main" id="{D34FD4AC-FB6F-42CB-A89F-F7DA5187EA68}"/>
                    </a:ext>
                  </a:extLst>
                </p:cNvPr>
                <p:cNvSpPr/>
                <p:nvPr/>
              </p:nvSpPr>
              <p:spPr>
                <a:xfrm>
                  <a:off x="5713592" y="1893730"/>
                  <a:ext cx="13197" cy="43382"/>
                </a:xfrm>
                <a:custGeom>
                  <a:avLst/>
                  <a:gdLst>
                    <a:gd name="connsiteX0" fmla="*/ 6599 w 13197"/>
                    <a:gd name="connsiteY0" fmla="*/ 43382 h 43382"/>
                    <a:gd name="connsiteX1" fmla="*/ 0 w 13197"/>
                    <a:gd name="connsiteY1" fmla="*/ 36784 h 43382"/>
                    <a:gd name="connsiteX2" fmla="*/ 0 w 13197"/>
                    <a:gd name="connsiteY2" fmla="*/ 6599 h 43382"/>
                    <a:gd name="connsiteX3" fmla="*/ 6599 w 13197"/>
                    <a:gd name="connsiteY3" fmla="*/ 0 h 43382"/>
                    <a:gd name="connsiteX4" fmla="*/ 13198 w 13197"/>
                    <a:gd name="connsiteY4" fmla="*/ 6599 h 43382"/>
                    <a:gd name="connsiteX5" fmla="*/ 13198 w 13197"/>
                    <a:gd name="connsiteY5" fmla="*/ 36784 h 43382"/>
                    <a:gd name="connsiteX6" fmla="*/ 6599 w 13197"/>
                    <a:gd name="connsiteY6" fmla="*/ 43382 h 4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7" h="43382">
                      <a:moveTo>
                        <a:pt x="6599" y="43382"/>
                      </a:moveTo>
                      <a:cubicBezTo>
                        <a:pt x="2942" y="43382"/>
                        <a:pt x="0" y="40441"/>
                        <a:pt x="0" y="36784"/>
                      </a:cubicBezTo>
                      <a:lnTo>
                        <a:pt x="0" y="6599"/>
                      </a:lnTo>
                      <a:cubicBezTo>
                        <a:pt x="0" y="2942"/>
                        <a:pt x="2942" y="0"/>
                        <a:pt x="6599" y="0"/>
                      </a:cubicBezTo>
                      <a:cubicBezTo>
                        <a:pt x="10256" y="0"/>
                        <a:pt x="13198" y="2968"/>
                        <a:pt x="13198" y="6599"/>
                      </a:cubicBezTo>
                      <a:lnTo>
                        <a:pt x="13198" y="36784"/>
                      </a:lnTo>
                      <a:cubicBezTo>
                        <a:pt x="13198" y="40441"/>
                        <a:pt x="10229" y="43382"/>
                        <a:pt x="6599" y="43382"/>
                      </a:cubicBezTo>
                      <a:close/>
                    </a:path>
                  </a:pathLst>
                </a:custGeom>
                <a:solidFill>
                  <a:schemeClr val="accent1"/>
                </a:solidFill>
                <a:ln w="2648" cap="flat">
                  <a:noFill/>
                  <a:prstDash val="solid"/>
                  <a:miter/>
                </a:ln>
              </p:spPr>
              <p:txBody>
                <a:bodyPr rtlCol="0" anchor="ctr"/>
                <a:lstStyle/>
                <a:p>
                  <a:endParaRPr lang="en-GB" dirty="0"/>
                </a:p>
              </p:txBody>
            </p:sp>
          </p:grpSp>
          <p:sp>
            <p:nvSpPr>
              <p:cNvPr id="391" name="Freihandform: Form 848">
                <a:extLst>
                  <a:ext uri="{FF2B5EF4-FFF2-40B4-BE49-F238E27FC236}">
                    <a16:creationId xmlns:a16="http://schemas.microsoft.com/office/drawing/2014/main" id="{52E6D95B-848D-4EA9-851C-F83F64A8FC0F}"/>
                  </a:ext>
                </a:extLst>
              </p:cNvPr>
              <p:cNvSpPr/>
              <p:nvPr/>
            </p:nvSpPr>
            <p:spPr>
              <a:xfrm>
                <a:off x="5318113" y="1957034"/>
                <a:ext cx="68552" cy="42700"/>
              </a:xfrm>
              <a:custGeom>
                <a:avLst/>
                <a:gdLst>
                  <a:gd name="connsiteX0" fmla="*/ 61988 w 68552"/>
                  <a:gd name="connsiteY0" fmla="*/ 42701 h 42700"/>
                  <a:gd name="connsiteX1" fmla="*/ 57033 w 68552"/>
                  <a:gd name="connsiteY1" fmla="*/ 40474 h 42700"/>
                  <a:gd name="connsiteX2" fmla="*/ 35302 w 68552"/>
                  <a:gd name="connsiteY2" fmla="*/ 15961 h 42700"/>
                  <a:gd name="connsiteX3" fmla="*/ 11027 w 68552"/>
                  <a:gd name="connsiteY3" fmla="*/ 37904 h 42700"/>
                  <a:gd name="connsiteX4" fmla="*/ 1698 w 68552"/>
                  <a:gd name="connsiteY4" fmla="*/ 37427 h 42700"/>
                  <a:gd name="connsiteX5" fmla="*/ 2175 w 68552"/>
                  <a:gd name="connsiteY5" fmla="*/ 28098 h 42700"/>
                  <a:gd name="connsiteX6" fmla="*/ 31379 w 68552"/>
                  <a:gd name="connsiteY6" fmla="*/ 1703 h 42700"/>
                  <a:gd name="connsiteX7" fmla="*/ 36176 w 68552"/>
                  <a:gd name="connsiteY7" fmla="*/ 7 h 42700"/>
                  <a:gd name="connsiteX8" fmla="*/ 40761 w 68552"/>
                  <a:gd name="connsiteY8" fmla="*/ 2233 h 42700"/>
                  <a:gd name="connsiteX9" fmla="*/ 66891 w 68552"/>
                  <a:gd name="connsiteY9" fmla="*/ 31756 h 42700"/>
                  <a:gd name="connsiteX10" fmla="*/ 66334 w 68552"/>
                  <a:gd name="connsiteY10" fmla="*/ 41084 h 42700"/>
                  <a:gd name="connsiteX11" fmla="*/ 61988 w 68552"/>
                  <a:gd name="connsiteY11" fmla="*/ 42701 h 42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52" h="42700">
                    <a:moveTo>
                      <a:pt x="61988" y="42701"/>
                    </a:moveTo>
                    <a:cubicBezTo>
                      <a:pt x="60160" y="42701"/>
                      <a:pt x="58358" y="41959"/>
                      <a:pt x="57033" y="40474"/>
                    </a:cubicBezTo>
                    <a:lnTo>
                      <a:pt x="35302" y="15961"/>
                    </a:lnTo>
                    <a:lnTo>
                      <a:pt x="11027" y="37904"/>
                    </a:lnTo>
                    <a:cubicBezTo>
                      <a:pt x="8323" y="40342"/>
                      <a:pt x="4136" y="40130"/>
                      <a:pt x="1698" y="37427"/>
                    </a:cubicBezTo>
                    <a:cubicBezTo>
                      <a:pt x="-740" y="34724"/>
                      <a:pt x="-528" y="30563"/>
                      <a:pt x="2175" y="28098"/>
                    </a:cubicBezTo>
                    <a:lnTo>
                      <a:pt x="31379" y="1703"/>
                    </a:lnTo>
                    <a:cubicBezTo>
                      <a:pt x="32678" y="511"/>
                      <a:pt x="34427" y="-72"/>
                      <a:pt x="36176" y="7"/>
                    </a:cubicBezTo>
                    <a:cubicBezTo>
                      <a:pt x="37925" y="113"/>
                      <a:pt x="39595" y="908"/>
                      <a:pt x="40761" y="2233"/>
                    </a:cubicBezTo>
                    <a:lnTo>
                      <a:pt x="66891" y="31756"/>
                    </a:lnTo>
                    <a:cubicBezTo>
                      <a:pt x="69303" y="34485"/>
                      <a:pt x="69064" y="38646"/>
                      <a:pt x="66334" y="41084"/>
                    </a:cubicBezTo>
                    <a:cubicBezTo>
                      <a:pt x="65089" y="42171"/>
                      <a:pt x="63525" y="42701"/>
                      <a:pt x="61988" y="42701"/>
                    </a:cubicBezTo>
                    <a:close/>
                  </a:path>
                </a:pathLst>
              </a:custGeom>
              <a:solidFill>
                <a:schemeClr val="accent1"/>
              </a:solidFill>
              <a:ln w="2648" cap="flat">
                <a:noFill/>
                <a:prstDash val="solid"/>
                <a:miter/>
              </a:ln>
            </p:spPr>
            <p:txBody>
              <a:bodyPr rtlCol="0" anchor="ctr"/>
              <a:lstStyle/>
              <a:p>
                <a:endParaRPr lang="en-GB" dirty="0"/>
              </a:p>
            </p:txBody>
          </p:sp>
          <p:sp>
            <p:nvSpPr>
              <p:cNvPr id="392" name="Freihandform: Form 849">
                <a:extLst>
                  <a:ext uri="{FF2B5EF4-FFF2-40B4-BE49-F238E27FC236}">
                    <a16:creationId xmlns:a16="http://schemas.microsoft.com/office/drawing/2014/main" id="{E137FF8B-F579-404C-A9A8-40446DD02DF3}"/>
                  </a:ext>
                </a:extLst>
              </p:cNvPr>
              <p:cNvSpPr/>
              <p:nvPr/>
            </p:nvSpPr>
            <p:spPr>
              <a:xfrm>
                <a:off x="5347372" y="1930646"/>
                <a:ext cx="339877" cy="131975"/>
              </a:xfrm>
              <a:custGeom>
                <a:avLst/>
                <a:gdLst>
                  <a:gd name="connsiteX0" fmla="*/ 281018 w 339877"/>
                  <a:gd name="connsiteY0" fmla="*/ 131976 h 131975"/>
                  <a:gd name="connsiteX1" fmla="*/ 58859 w 339877"/>
                  <a:gd name="connsiteY1" fmla="*/ 131976 h 131975"/>
                  <a:gd name="connsiteX2" fmla="*/ 0 w 339877"/>
                  <a:gd name="connsiteY2" fmla="*/ 72587 h 131975"/>
                  <a:gd name="connsiteX3" fmla="*/ 0 w 339877"/>
                  <a:gd name="connsiteY3" fmla="*/ 39593 h 131975"/>
                  <a:gd name="connsiteX4" fmla="*/ 6599 w 339877"/>
                  <a:gd name="connsiteY4" fmla="*/ 32994 h 131975"/>
                  <a:gd name="connsiteX5" fmla="*/ 13198 w 339877"/>
                  <a:gd name="connsiteY5" fmla="*/ 39593 h 131975"/>
                  <a:gd name="connsiteX6" fmla="*/ 13198 w 339877"/>
                  <a:gd name="connsiteY6" fmla="*/ 72587 h 131975"/>
                  <a:gd name="connsiteX7" fmla="*/ 58859 w 339877"/>
                  <a:gd name="connsiteY7" fmla="*/ 118778 h 131975"/>
                  <a:gd name="connsiteX8" fmla="*/ 281018 w 339877"/>
                  <a:gd name="connsiteY8" fmla="*/ 118778 h 131975"/>
                  <a:gd name="connsiteX9" fmla="*/ 326680 w 339877"/>
                  <a:gd name="connsiteY9" fmla="*/ 72587 h 131975"/>
                  <a:gd name="connsiteX10" fmla="*/ 326680 w 339877"/>
                  <a:gd name="connsiteY10" fmla="*/ 6599 h 131975"/>
                  <a:gd name="connsiteX11" fmla="*/ 333279 w 339877"/>
                  <a:gd name="connsiteY11" fmla="*/ 0 h 131975"/>
                  <a:gd name="connsiteX12" fmla="*/ 339877 w 339877"/>
                  <a:gd name="connsiteY12" fmla="*/ 6599 h 131975"/>
                  <a:gd name="connsiteX13" fmla="*/ 339877 w 339877"/>
                  <a:gd name="connsiteY13" fmla="*/ 72587 h 131975"/>
                  <a:gd name="connsiteX14" fmla="*/ 281018 w 339877"/>
                  <a:gd name="connsiteY14" fmla="*/ 131976 h 13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9877" h="131975">
                    <a:moveTo>
                      <a:pt x="281018" y="131976"/>
                    </a:moveTo>
                    <a:lnTo>
                      <a:pt x="58859" y="131976"/>
                    </a:lnTo>
                    <a:cubicBezTo>
                      <a:pt x="26395" y="131976"/>
                      <a:pt x="0" y="105316"/>
                      <a:pt x="0" y="72587"/>
                    </a:cubicBezTo>
                    <a:lnTo>
                      <a:pt x="0" y="39593"/>
                    </a:lnTo>
                    <a:cubicBezTo>
                      <a:pt x="0" y="35936"/>
                      <a:pt x="2942" y="32994"/>
                      <a:pt x="6599" y="32994"/>
                    </a:cubicBezTo>
                    <a:cubicBezTo>
                      <a:pt x="10256" y="32994"/>
                      <a:pt x="13198" y="35936"/>
                      <a:pt x="13198" y="39593"/>
                    </a:cubicBezTo>
                    <a:lnTo>
                      <a:pt x="13198" y="72587"/>
                    </a:lnTo>
                    <a:cubicBezTo>
                      <a:pt x="13198" y="98054"/>
                      <a:pt x="33683" y="118778"/>
                      <a:pt x="58859" y="118778"/>
                    </a:cubicBezTo>
                    <a:lnTo>
                      <a:pt x="281018" y="118778"/>
                    </a:lnTo>
                    <a:cubicBezTo>
                      <a:pt x="306194" y="118778"/>
                      <a:pt x="326680" y="98054"/>
                      <a:pt x="326680" y="72587"/>
                    </a:cubicBezTo>
                    <a:lnTo>
                      <a:pt x="326680" y="6599"/>
                    </a:lnTo>
                    <a:cubicBezTo>
                      <a:pt x="326680" y="2942"/>
                      <a:pt x="329621" y="0"/>
                      <a:pt x="333279" y="0"/>
                    </a:cubicBezTo>
                    <a:cubicBezTo>
                      <a:pt x="336936" y="0"/>
                      <a:pt x="339877" y="2968"/>
                      <a:pt x="339877" y="6599"/>
                    </a:cubicBezTo>
                    <a:lnTo>
                      <a:pt x="339877" y="72587"/>
                    </a:lnTo>
                    <a:cubicBezTo>
                      <a:pt x="339877" y="105342"/>
                      <a:pt x="313482" y="131976"/>
                      <a:pt x="281018" y="131976"/>
                    </a:cubicBezTo>
                    <a:close/>
                  </a:path>
                </a:pathLst>
              </a:custGeom>
              <a:solidFill>
                <a:schemeClr val="accent1"/>
              </a:solidFill>
              <a:ln w="2648" cap="flat">
                <a:noFill/>
                <a:prstDash val="solid"/>
                <a:miter/>
              </a:ln>
            </p:spPr>
            <p:txBody>
              <a:bodyPr rtlCol="0" anchor="ctr"/>
              <a:lstStyle/>
              <a:p>
                <a:endParaRPr lang="en-GB" dirty="0"/>
              </a:p>
            </p:txBody>
          </p:sp>
        </p:grpSp>
        <p:grpSp>
          <p:nvGrpSpPr>
            <p:cNvPr id="382" name="Group 381">
              <a:extLst>
                <a:ext uri="{FF2B5EF4-FFF2-40B4-BE49-F238E27FC236}">
                  <a16:creationId xmlns:a16="http://schemas.microsoft.com/office/drawing/2014/main" id="{54C8C154-B1DF-407E-87CE-F63406A07607}"/>
                </a:ext>
              </a:extLst>
            </p:cNvPr>
            <p:cNvGrpSpPr/>
            <p:nvPr/>
          </p:nvGrpSpPr>
          <p:grpSpPr>
            <a:xfrm>
              <a:off x="3721706" y="4002611"/>
              <a:ext cx="432439" cy="314169"/>
              <a:chOff x="5277409" y="1627049"/>
              <a:chExt cx="436015" cy="316767"/>
            </a:xfrm>
            <a:solidFill>
              <a:schemeClr val="tx2"/>
            </a:solidFill>
          </p:grpSpPr>
          <p:grpSp>
            <p:nvGrpSpPr>
              <p:cNvPr id="383" name="Grafik 272">
                <a:extLst>
                  <a:ext uri="{FF2B5EF4-FFF2-40B4-BE49-F238E27FC236}">
                    <a16:creationId xmlns:a16="http://schemas.microsoft.com/office/drawing/2014/main" id="{CCE16041-D92D-4408-B911-B76EBF7E5F12}"/>
                  </a:ext>
                </a:extLst>
              </p:cNvPr>
              <p:cNvGrpSpPr/>
              <p:nvPr/>
            </p:nvGrpSpPr>
            <p:grpSpPr>
              <a:xfrm>
                <a:off x="5277409" y="1751816"/>
                <a:ext cx="148512" cy="192000"/>
                <a:chOff x="5277409" y="1751816"/>
                <a:chExt cx="148512" cy="192000"/>
              </a:xfrm>
              <a:grpFill/>
            </p:grpSpPr>
            <p:sp>
              <p:nvSpPr>
                <p:cNvPr id="386" name="Freihandform: Form 838">
                  <a:extLst>
                    <a:ext uri="{FF2B5EF4-FFF2-40B4-BE49-F238E27FC236}">
                      <a16:creationId xmlns:a16="http://schemas.microsoft.com/office/drawing/2014/main" id="{47C81A35-A45B-41CC-8790-6D269EC1FBAB}"/>
                    </a:ext>
                  </a:extLst>
                </p:cNvPr>
                <p:cNvSpPr/>
                <p:nvPr/>
              </p:nvSpPr>
              <p:spPr>
                <a:xfrm>
                  <a:off x="5277409" y="1835878"/>
                  <a:ext cx="148512" cy="107939"/>
                </a:xfrm>
                <a:custGeom>
                  <a:avLst/>
                  <a:gdLst>
                    <a:gd name="connsiteX0" fmla="*/ 67180 w 148512"/>
                    <a:gd name="connsiteY0" fmla="*/ 107939 h 107939"/>
                    <a:gd name="connsiteX1" fmla="*/ 2544 w 148512"/>
                    <a:gd name="connsiteY1" fmla="*/ 93231 h 107939"/>
                    <a:gd name="connsiteX2" fmla="*/ 0 w 148512"/>
                    <a:gd name="connsiteY2" fmla="*/ 88010 h 107939"/>
                    <a:gd name="connsiteX3" fmla="*/ 0 w 148512"/>
                    <a:gd name="connsiteY3" fmla="*/ 59151 h 107939"/>
                    <a:gd name="connsiteX4" fmla="*/ 56315 w 148512"/>
                    <a:gd name="connsiteY4" fmla="*/ 0 h 107939"/>
                    <a:gd name="connsiteX5" fmla="*/ 92198 w 148512"/>
                    <a:gd name="connsiteY5" fmla="*/ 0 h 107939"/>
                    <a:gd name="connsiteX6" fmla="*/ 148512 w 148512"/>
                    <a:gd name="connsiteY6" fmla="*/ 59151 h 107939"/>
                    <a:gd name="connsiteX7" fmla="*/ 148512 w 148512"/>
                    <a:gd name="connsiteY7" fmla="*/ 88010 h 107939"/>
                    <a:gd name="connsiteX8" fmla="*/ 145359 w 148512"/>
                    <a:gd name="connsiteY8" fmla="*/ 93655 h 107939"/>
                    <a:gd name="connsiteX9" fmla="*/ 74389 w 148512"/>
                    <a:gd name="connsiteY9" fmla="*/ 107807 h 107939"/>
                    <a:gd name="connsiteX10" fmla="*/ 67180 w 148512"/>
                    <a:gd name="connsiteY10" fmla="*/ 107939 h 107939"/>
                    <a:gd name="connsiteX11" fmla="*/ 13198 w 148512"/>
                    <a:gd name="connsiteY11" fmla="*/ 84353 h 107939"/>
                    <a:gd name="connsiteX12" fmla="*/ 73938 w 148512"/>
                    <a:gd name="connsiteY12" fmla="*/ 94636 h 107939"/>
                    <a:gd name="connsiteX13" fmla="*/ 135288 w 148512"/>
                    <a:gd name="connsiteY13" fmla="*/ 83903 h 107939"/>
                    <a:gd name="connsiteX14" fmla="*/ 135288 w 148512"/>
                    <a:gd name="connsiteY14" fmla="*/ 59177 h 107939"/>
                    <a:gd name="connsiteX15" fmla="*/ 92171 w 148512"/>
                    <a:gd name="connsiteY15" fmla="*/ 13224 h 107939"/>
                    <a:gd name="connsiteX16" fmla="*/ 56315 w 148512"/>
                    <a:gd name="connsiteY16" fmla="*/ 13224 h 107939"/>
                    <a:gd name="connsiteX17" fmla="*/ 13198 w 148512"/>
                    <a:gd name="connsiteY17" fmla="*/ 59177 h 107939"/>
                    <a:gd name="connsiteX18" fmla="*/ 13198 w 148512"/>
                    <a:gd name="connsiteY18" fmla="*/ 84353 h 107939"/>
                    <a:gd name="connsiteX19" fmla="*/ 141887 w 148512"/>
                    <a:gd name="connsiteY19" fmla="*/ 88037 h 107939"/>
                    <a:gd name="connsiteX20" fmla="*/ 141940 w 148512"/>
                    <a:gd name="connsiteY20" fmla="*/ 88037 h 107939"/>
                    <a:gd name="connsiteX21" fmla="*/ 141887 w 148512"/>
                    <a:gd name="connsiteY21" fmla="*/ 88037 h 10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8512" h="107939">
                      <a:moveTo>
                        <a:pt x="67180" y="107939"/>
                      </a:moveTo>
                      <a:cubicBezTo>
                        <a:pt x="21996" y="107939"/>
                        <a:pt x="3366" y="93867"/>
                        <a:pt x="2544" y="93231"/>
                      </a:cubicBezTo>
                      <a:cubicBezTo>
                        <a:pt x="928" y="91986"/>
                        <a:pt x="0" y="90051"/>
                        <a:pt x="0" y="88010"/>
                      </a:cubicBezTo>
                      <a:lnTo>
                        <a:pt x="0" y="59151"/>
                      </a:lnTo>
                      <a:cubicBezTo>
                        <a:pt x="0" y="25415"/>
                        <a:pt x="24196" y="0"/>
                        <a:pt x="56315" y="0"/>
                      </a:cubicBezTo>
                      <a:lnTo>
                        <a:pt x="92198" y="0"/>
                      </a:lnTo>
                      <a:cubicBezTo>
                        <a:pt x="124290" y="0"/>
                        <a:pt x="148512" y="25441"/>
                        <a:pt x="148512" y="59151"/>
                      </a:cubicBezTo>
                      <a:lnTo>
                        <a:pt x="148512" y="88010"/>
                      </a:lnTo>
                      <a:cubicBezTo>
                        <a:pt x="148512" y="90316"/>
                        <a:pt x="147320" y="92436"/>
                        <a:pt x="145359" y="93655"/>
                      </a:cubicBezTo>
                      <a:cubicBezTo>
                        <a:pt x="144511" y="94159"/>
                        <a:pt x="124158" y="106243"/>
                        <a:pt x="74389" y="107807"/>
                      </a:cubicBezTo>
                      <a:cubicBezTo>
                        <a:pt x="71898" y="107913"/>
                        <a:pt x="69486" y="107939"/>
                        <a:pt x="67180" y="107939"/>
                      </a:cubicBezTo>
                      <a:close/>
                      <a:moveTo>
                        <a:pt x="13198" y="84353"/>
                      </a:moveTo>
                      <a:cubicBezTo>
                        <a:pt x="19584" y="87798"/>
                        <a:pt x="38400" y="95802"/>
                        <a:pt x="73938" y="94636"/>
                      </a:cubicBezTo>
                      <a:cubicBezTo>
                        <a:pt x="109079" y="93523"/>
                        <a:pt x="128213" y="86950"/>
                        <a:pt x="135288" y="83903"/>
                      </a:cubicBezTo>
                      <a:lnTo>
                        <a:pt x="135288" y="59177"/>
                      </a:lnTo>
                      <a:cubicBezTo>
                        <a:pt x="135288" y="32543"/>
                        <a:pt x="117162" y="13224"/>
                        <a:pt x="92171" y="13224"/>
                      </a:cubicBezTo>
                      <a:lnTo>
                        <a:pt x="56315" y="13224"/>
                      </a:lnTo>
                      <a:cubicBezTo>
                        <a:pt x="31324" y="13224"/>
                        <a:pt x="13198" y="32543"/>
                        <a:pt x="13198" y="59177"/>
                      </a:cubicBezTo>
                      <a:lnTo>
                        <a:pt x="13198" y="84353"/>
                      </a:lnTo>
                      <a:close/>
                      <a:moveTo>
                        <a:pt x="141887" y="88037"/>
                      </a:moveTo>
                      <a:lnTo>
                        <a:pt x="141940" y="88037"/>
                      </a:lnTo>
                      <a:lnTo>
                        <a:pt x="141887" y="88037"/>
                      </a:lnTo>
                      <a:close/>
                    </a:path>
                  </a:pathLst>
                </a:custGeom>
                <a:grpFill/>
                <a:ln w="2648" cap="flat">
                  <a:noFill/>
                  <a:prstDash val="solid"/>
                  <a:miter/>
                </a:ln>
              </p:spPr>
              <p:txBody>
                <a:bodyPr rtlCol="0" anchor="ctr"/>
                <a:lstStyle/>
                <a:p>
                  <a:endParaRPr lang="en-GB" dirty="0"/>
                </a:p>
              </p:txBody>
            </p:sp>
            <p:sp>
              <p:nvSpPr>
                <p:cNvPr id="387" name="Freihandform: Form 839">
                  <a:extLst>
                    <a:ext uri="{FF2B5EF4-FFF2-40B4-BE49-F238E27FC236}">
                      <a16:creationId xmlns:a16="http://schemas.microsoft.com/office/drawing/2014/main" id="{BABC664F-4F0A-4449-8916-10CDA257A46F}"/>
                    </a:ext>
                  </a:extLst>
                </p:cNvPr>
                <p:cNvSpPr/>
                <p:nvPr/>
              </p:nvSpPr>
              <p:spPr>
                <a:xfrm>
                  <a:off x="5319175" y="1751816"/>
                  <a:ext cx="65245" cy="76270"/>
                </a:xfrm>
                <a:custGeom>
                  <a:avLst/>
                  <a:gdLst>
                    <a:gd name="connsiteX0" fmla="*/ 32623 w 65245"/>
                    <a:gd name="connsiteY0" fmla="*/ 76270 h 76270"/>
                    <a:gd name="connsiteX1" fmla="*/ 0 w 65245"/>
                    <a:gd name="connsiteY1" fmla="*/ 38135 h 76270"/>
                    <a:gd name="connsiteX2" fmla="*/ 32623 w 65245"/>
                    <a:gd name="connsiteY2" fmla="*/ 0 h 76270"/>
                    <a:gd name="connsiteX3" fmla="*/ 65246 w 65245"/>
                    <a:gd name="connsiteY3" fmla="*/ 38135 h 76270"/>
                    <a:gd name="connsiteX4" fmla="*/ 32623 w 65245"/>
                    <a:gd name="connsiteY4" fmla="*/ 76270 h 76270"/>
                    <a:gd name="connsiteX5" fmla="*/ 32623 w 65245"/>
                    <a:gd name="connsiteY5" fmla="*/ 13198 h 76270"/>
                    <a:gd name="connsiteX6" fmla="*/ 13198 w 65245"/>
                    <a:gd name="connsiteY6" fmla="*/ 38135 h 76270"/>
                    <a:gd name="connsiteX7" fmla="*/ 32623 w 65245"/>
                    <a:gd name="connsiteY7" fmla="*/ 63073 h 76270"/>
                    <a:gd name="connsiteX8" fmla="*/ 52048 w 65245"/>
                    <a:gd name="connsiteY8" fmla="*/ 38135 h 76270"/>
                    <a:gd name="connsiteX9" fmla="*/ 32623 w 65245"/>
                    <a:gd name="connsiteY9" fmla="*/ 13198 h 76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45" h="76270">
                      <a:moveTo>
                        <a:pt x="32623" y="76270"/>
                      </a:moveTo>
                      <a:cubicBezTo>
                        <a:pt x="13118" y="76270"/>
                        <a:pt x="0" y="60953"/>
                        <a:pt x="0" y="38135"/>
                      </a:cubicBezTo>
                      <a:cubicBezTo>
                        <a:pt x="0" y="15318"/>
                        <a:pt x="13118" y="0"/>
                        <a:pt x="32623" y="0"/>
                      </a:cubicBezTo>
                      <a:cubicBezTo>
                        <a:pt x="52128" y="0"/>
                        <a:pt x="65246" y="15318"/>
                        <a:pt x="65246" y="38135"/>
                      </a:cubicBezTo>
                      <a:cubicBezTo>
                        <a:pt x="65219" y="60953"/>
                        <a:pt x="52128" y="76270"/>
                        <a:pt x="32623" y="76270"/>
                      </a:cubicBezTo>
                      <a:close/>
                      <a:moveTo>
                        <a:pt x="32623" y="13198"/>
                      </a:moveTo>
                      <a:cubicBezTo>
                        <a:pt x="14602" y="13198"/>
                        <a:pt x="13198" y="32278"/>
                        <a:pt x="13198" y="38135"/>
                      </a:cubicBezTo>
                      <a:cubicBezTo>
                        <a:pt x="13198" y="43992"/>
                        <a:pt x="14602" y="63073"/>
                        <a:pt x="32623" y="63073"/>
                      </a:cubicBezTo>
                      <a:cubicBezTo>
                        <a:pt x="50644" y="63073"/>
                        <a:pt x="52048" y="43992"/>
                        <a:pt x="52048" y="38135"/>
                      </a:cubicBezTo>
                      <a:cubicBezTo>
                        <a:pt x="52048" y="32278"/>
                        <a:pt x="50617" y="13198"/>
                        <a:pt x="32623" y="13198"/>
                      </a:cubicBezTo>
                      <a:close/>
                    </a:path>
                  </a:pathLst>
                </a:custGeom>
                <a:grpFill/>
                <a:ln w="2648" cap="flat">
                  <a:noFill/>
                  <a:prstDash val="solid"/>
                  <a:miter/>
                </a:ln>
              </p:spPr>
              <p:txBody>
                <a:bodyPr rtlCol="0" anchor="ctr"/>
                <a:lstStyle/>
                <a:p>
                  <a:endParaRPr lang="en-GB" dirty="0"/>
                </a:p>
              </p:txBody>
            </p:sp>
            <p:sp>
              <p:nvSpPr>
                <p:cNvPr id="388" name="Freihandform: Form 840">
                  <a:extLst>
                    <a:ext uri="{FF2B5EF4-FFF2-40B4-BE49-F238E27FC236}">
                      <a16:creationId xmlns:a16="http://schemas.microsoft.com/office/drawing/2014/main" id="{94BB5904-0E96-4C76-9A29-B7913F915DCF}"/>
                    </a:ext>
                  </a:extLst>
                </p:cNvPr>
                <p:cNvSpPr/>
                <p:nvPr/>
              </p:nvSpPr>
              <p:spPr>
                <a:xfrm>
                  <a:off x="5303566" y="1893730"/>
                  <a:ext cx="13197" cy="43382"/>
                </a:xfrm>
                <a:custGeom>
                  <a:avLst/>
                  <a:gdLst>
                    <a:gd name="connsiteX0" fmla="*/ 6599 w 13197"/>
                    <a:gd name="connsiteY0" fmla="*/ 43382 h 43382"/>
                    <a:gd name="connsiteX1" fmla="*/ 0 w 13197"/>
                    <a:gd name="connsiteY1" fmla="*/ 36784 h 43382"/>
                    <a:gd name="connsiteX2" fmla="*/ 0 w 13197"/>
                    <a:gd name="connsiteY2" fmla="*/ 6599 h 43382"/>
                    <a:gd name="connsiteX3" fmla="*/ 6599 w 13197"/>
                    <a:gd name="connsiteY3" fmla="*/ 0 h 43382"/>
                    <a:gd name="connsiteX4" fmla="*/ 13198 w 13197"/>
                    <a:gd name="connsiteY4" fmla="*/ 6599 h 43382"/>
                    <a:gd name="connsiteX5" fmla="*/ 13198 w 13197"/>
                    <a:gd name="connsiteY5" fmla="*/ 36784 h 43382"/>
                    <a:gd name="connsiteX6" fmla="*/ 6599 w 13197"/>
                    <a:gd name="connsiteY6" fmla="*/ 43382 h 4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7" h="43382">
                      <a:moveTo>
                        <a:pt x="6599" y="43382"/>
                      </a:moveTo>
                      <a:cubicBezTo>
                        <a:pt x="2942" y="43382"/>
                        <a:pt x="0" y="40441"/>
                        <a:pt x="0" y="36784"/>
                      </a:cubicBezTo>
                      <a:lnTo>
                        <a:pt x="0" y="6599"/>
                      </a:lnTo>
                      <a:cubicBezTo>
                        <a:pt x="0" y="2942"/>
                        <a:pt x="2942" y="0"/>
                        <a:pt x="6599" y="0"/>
                      </a:cubicBezTo>
                      <a:cubicBezTo>
                        <a:pt x="10256" y="0"/>
                        <a:pt x="13198" y="2968"/>
                        <a:pt x="13198" y="6599"/>
                      </a:cubicBezTo>
                      <a:lnTo>
                        <a:pt x="13198" y="36784"/>
                      </a:lnTo>
                      <a:cubicBezTo>
                        <a:pt x="13198" y="40441"/>
                        <a:pt x="10229" y="43382"/>
                        <a:pt x="6599" y="43382"/>
                      </a:cubicBezTo>
                      <a:close/>
                    </a:path>
                  </a:pathLst>
                </a:custGeom>
                <a:grpFill/>
                <a:ln w="2648" cap="flat">
                  <a:noFill/>
                  <a:prstDash val="solid"/>
                  <a:miter/>
                </a:ln>
              </p:spPr>
              <p:txBody>
                <a:bodyPr rtlCol="0" anchor="ctr"/>
                <a:lstStyle/>
                <a:p>
                  <a:endParaRPr lang="en-GB" dirty="0"/>
                </a:p>
              </p:txBody>
            </p:sp>
            <p:sp>
              <p:nvSpPr>
                <p:cNvPr id="389" name="Freihandform: Form 841">
                  <a:extLst>
                    <a:ext uri="{FF2B5EF4-FFF2-40B4-BE49-F238E27FC236}">
                      <a16:creationId xmlns:a16="http://schemas.microsoft.com/office/drawing/2014/main" id="{6AF38AA3-09D4-4CC8-9DAF-9CA99BB2DD52}"/>
                    </a:ext>
                  </a:extLst>
                </p:cNvPr>
                <p:cNvSpPr/>
                <p:nvPr/>
              </p:nvSpPr>
              <p:spPr>
                <a:xfrm>
                  <a:off x="5386886" y="1893730"/>
                  <a:ext cx="13197" cy="43382"/>
                </a:xfrm>
                <a:custGeom>
                  <a:avLst/>
                  <a:gdLst>
                    <a:gd name="connsiteX0" fmla="*/ 6599 w 13197"/>
                    <a:gd name="connsiteY0" fmla="*/ 43382 h 43382"/>
                    <a:gd name="connsiteX1" fmla="*/ 0 w 13197"/>
                    <a:gd name="connsiteY1" fmla="*/ 36784 h 43382"/>
                    <a:gd name="connsiteX2" fmla="*/ 0 w 13197"/>
                    <a:gd name="connsiteY2" fmla="*/ 6599 h 43382"/>
                    <a:gd name="connsiteX3" fmla="*/ 6599 w 13197"/>
                    <a:gd name="connsiteY3" fmla="*/ 0 h 43382"/>
                    <a:gd name="connsiteX4" fmla="*/ 13198 w 13197"/>
                    <a:gd name="connsiteY4" fmla="*/ 6599 h 43382"/>
                    <a:gd name="connsiteX5" fmla="*/ 13198 w 13197"/>
                    <a:gd name="connsiteY5" fmla="*/ 36784 h 43382"/>
                    <a:gd name="connsiteX6" fmla="*/ 6599 w 13197"/>
                    <a:gd name="connsiteY6" fmla="*/ 43382 h 43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97" h="43382">
                      <a:moveTo>
                        <a:pt x="6599" y="43382"/>
                      </a:moveTo>
                      <a:cubicBezTo>
                        <a:pt x="2942" y="43382"/>
                        <a:pt x="0" y="40441"/>
                        <a:pt x="0" y="36784"/>
                      </a:cubicBezTo>
                      <a:lnTo>
                        <a:pt x="0" y="6599"/>
                      </a:lnTo>
                      <a:cubicBezTo>
                        <a:pt x="0" y="2942"/>
                        <a:pt x="2942" y="0"/>
                        <a:pt x="6599" y="0"/>
                      </a:cubicBezTo>
                      <a:cubicBezTo>
                        <a:pt x="10256" y="0"/>
                        <a:pt x="13198" y="2968"/>
                        <a:pt x="13198" y="6599"/>
                      </a:cubicBezTo>
                      <a:lnTo>
                        <a:pt x="13198" y="36784"/>
                      </a:lnTo>
                      <a:cubicBezTo>
                        <a:pt x="13198" y="40441"/>
                        <a:pt x="10229" y="43382"/>
                        <a:pt x="6599" y="43382"/>
                      </a:cubicBezTo>
                      <a:close/>
                    </a:path>
                  </a:pathLst>
                </a:custGeom>
                <a:grpFill/>
                <a:ln w="2648" cap="flat">
                  <a:noFill/>
                  <a:prstDash val="solid"/>
                  <a:miter/>
                </a:ln>
              </p:spPr>
              <p:txBody>
                <a:bodyPr rtlCol="0" anchor="ctr"/>
                <a:lstStyle/>
                <a:p>
                  <a:endParaRPr lang="en-GB" dirty="0"/>
                </a:p>
              </p:txBody>
            </p:sp>
          </p:grpSp>
          <p:sp>
            <p:nvSpPr>
              <p:cNvPr id="384" name="Freihandform: Form 847">
                <a:extLst>
                  <a:ext uri="{FF2B5EF4-FFF2-40B4-BE49-F238E27FC236}">
                    <a16:creationId xmlns:a16="http://schemas.microsoft.com/office/drawing/2014/main" id="{00956663-8DAE-4D11-8D32-076BDDB48BDD}"/>
                  </a:ext>
                </a:extLst>
              </p:cNvPr>
              <p:cNvSpPr/>
              <p:nvPr/>
            </p:nvSpPr>
            <p:spPr>
              <a:xfrm>
                <a:off x="5644846" y="1693072"/>
                <a:ext cx="68578" cy="42738"/>
              </a:xfrm>
              <a:custGeom>
                <a:avLst/>
                <a:gdLst>
                  <a:gd name="connsiteX0" fmla="*/ 35805 w 68578"/>
                  <a:gd name="connsiteY0" fmla="*/ 42685 h 42738"/>
                  <a:gd name="connsiteX1" fmla="*/ 31379 w 68578"/>
                  <a:gd name="connsiteY1" fmla="*/ 40989 h 42738"/>
                  <a:gd name="connsiteX2" fmla="*/ 2175 w 68578"/>
                  <a:gd name="connsiteY2" fmla="*/ 14594 h 42738"/>
                  <a:gd name="connsiteX3" fmla="*/ 1698 w 68578"/>
                  <a:gd name="connsiteY3" fmla="*/ 5265 h 42738"/>
                  <a:gd name="connsiteX4" fmla="*/ 11027 w 68578"/>
                  <a:gd name="connsiteY4" fmla="*/ 4788 h 42738"/>
                  <a:gd name="connsiteX5" fmla="*/ 35302 w 68578"/>
                  <a:gd name="connsiteY5" fmla="*/ 26731 h 42738"/>
                  <a:gd name="connsiteX6" fmla="*/ 57033 w 68578"/>
                  <a:gd name="connsiteY6" fmla="*/ 2218 h 42738"/>
                  <a:gd name="connsiteX7" fmla="*/ 66361 w 68578"/>
                  <a:gd name="connsiteY7" fmla="*/ 1661 h 42738"/>
                  <a:gd name="connsiteX8" fmla="*/ 66917 w 68578"/>
                  <a:gd name="connsiteY8" fmla="*/ 10990 h 42738"/>
                  <a:gd name="connsiteX9" fmla="*/ 40787 w 68578"/>
                  <a:gd name="connsiteY9" fmla="*/ 40512 h 42738"/>
                  <a:gd name="connsiteX10" fmla="*/ 36203 w 68578"/>
                  <a:gd name="connsiteY10" fmla="*/ 42738 h 42738"/>
                  <a:gd name="connsiteX11" fmla="*/ 35805 w 68578"/>
                  <a:gd name="connsiteY11" fmla="*/ 42685 h 42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578" h="42738">
                    <a:moveTo>
                      <a:pt x="35805" y="42685"/>
                    </a:moveTo>
                    <a:cubicBezTo>
                      <a:pt x="34162" y="42685"/>
                      <a:pt x="32598" y="42075"/>
                      <a:pt x="31379" y="40989"/>
                    </a:cubicBezTo>
                    <a:lnTo>
                      <a:pt x="2175" y="14594"/>
                    </a:lnTo>
                    <a:cubicBezTo>
                      <a:pt x="-528" y="12156"/>
                      <a:pt x="-740" y="7968"/>
                      <a:pt x="1698" y="5265"/>
                    </a:cubicBezTo>
                    <a:cubicBezTo>
                      <a:pt x="4136" y="2562"/>
                      <a:pt x="8323" y="2350"/>
                      <a:pt x="11027" y="4788"/>
                    </a:cubicBezTo>
                    <a:lnTo>
                      <a:pt x="35302" y="26731"/>
                    </a:lnTo>
                    <a:lnTo>
                      <a:pt x="57033" y="2218"/>
                    </a:lnTo>
                    <a:cubicBezTo>
                      <a:pt x="59444" y="-512"/>
                      <a:pt x="63631" y="-750"/>
                      <a:pt x="66361" y="1661"/>
                    </a:cubicBezTo>
                    <a:cubicBezTo>
                      <a:pt x="69091" y="4073"/>
                      <a:pt x="69329" y="8260"/>
                      <a:pt x="66917" y="10990"/>
                    </a:cubicBezTo>
                    <a:lnTo>
                      <a:pt x="40787" y="40512"/>
                    </a:lnTo>
                    <a:cubicBezTo>
                      <a:pt x="39621" y="41837"/>
                      <a:pt x="37978" y="42632"/>
                      <a:pt x="36203" y="42738"/>
                    </a:cubicBezTo>
                    <a:cubicBezTo>
                      <a:pt x="36044" y="42685"/>
                      <a:pt x="35938" y="42685"/>
                      <a:pt x="35805" y="42685"/>
                    </a:cubicBezTo>
                    <a:close/>
                  </a:path>
                </a:pathLst>
              </a:custGeom>
              <a:grpFill/>
              <a:ln w="2648" cap="flat">
                <a:noFill/>
                <a:prstDash val="solid"/>
                <a:miter/>
              </a:ln>
            </p:spPr>
            <p:txBody>
              <a:bodyPr rtlCol="0" anchor="ctr"/>
              <a:lstStyle/>
              <a:p>
                <a:endParaRPr lang="en-GB" dirty="0"/>
              </a:p>
            </p:txBody>
          </p:sp>
          <p:sp>
            <p:nvSpPr>
              <p:cNvPr id="385" name="Freihandform: Form 850">
                <a:extLst>
                  <a:ext uri="{FF2B5EF4-FFF2-40B4-BE49-F238E27FC236}">
                    <a16:creationId xmlns:a16="http://schemas.microsoft.com/office/drawing/2014/main" id="{7931BA96-C4F6-49FB-8CAA-6D4B6C216F66}"/>
                  </a:ext>
                </a:extLst>
              </p:cNvPr>
              <p:cNvSpPr/>
              <p:nvPr/>
            </p:nvSpPr>
            <p:spPr>
              <a:xfrm>
                <a:off x="5347372" y="1627049"/>
                <a:ext cx="339903" cy="138601"/>
              </a:xfrm>
              <a:custGeom>
                <a:avLst/>
                <a:gdLst>
                  <a:gd name="connsiteX0" fmla="*/ 6599 w 339903"/>
                  <a:gd name="connsiteY0" fmla="*/ 138601 h 138601"/>
                  <a:gd name="connsiteX1" fmla="*/ 0 w 339903"/>
                  <a:gd name="connsiteY1" fmla="*/ 132002 h 138601"/>
                  <a:gd name="connsiteX2" fmla="*/ 0 w 339903"/>
                  <a:gd name="connsiteY2" fmla="*/ 59389 h 138601"/>
                  <a:gd name="connsiteX3" fmla="*/ 58859 w 339903"/>
                  <a:gd name="connsiteY3" fmla="*/ 0 h 138601"/>
                  <a:gd name="connsiteX4" fmla="*/ 281018 w 339903"/>
                  <a:gd name="connsiteY4" fmla="*/ 0 h 138601"/>
                  <a:gd name="connsiteX5" fmla="*/ 339904 w 339903"/>
                  <a:gd name="connsiteY5" fmla="*/ 59389 h 138601"/>
                  <a:gd name="connsiteX6" fmla="*/ 339904 w 339903"/>
                  <a:gd name="connsiteY6" fmla="*/ 98982 h 138601"/>
                  <a:gd name="connsiteX7" fmla="*/ 333305 w 339903"/>
                  <a:gd name="connsiteY7" fmla="*/ 105581 h 138601"/>
                  <a:gd name="connsiteX8" fmla="*/ 326706 w 339903"/>
                  <a:gd name="connsiteY8" fmla="*/ 98982 h 138601"/>
                  <a:gd name="connsiteX9" fmla="*/ 326706 w 339903"/>
                  <a:gd name="connsiteY9" fmla="*/ 59389 h 138601"/>
                  <a:gd name="connsiteX10" fmla="*/ 281045 w 339903"/>
                  <a:gd name="connsiteY10" fmla="*/ 13198 h 138601"/>
                  <a:gd name="connsiteX11" fmla="*/ 58859 w 339903"/>
                  <a:gd name="connsiteY11" fmla="*/ 13198 h 138601"/>
                  <a:gd name="connsiteX12" fmla="*/ 13198 w 339903"/>
                  <a:gd name="connsiteY12" fmla="*/ 59389 h 138601"/>
                  <a:gd name="connsiteX13" fmla="*/ 13198 w 339903"/>
                  <a:gd name="connsiteY13" fmla="*/ 132002 h 138601"/>
                  <a:gd name="connsiteX14" fmla="*/ 6599 w 339903"/>
                  <a:gd name="connsiteY14" fmla="*/ 138601 h 138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9903" h="138601">
                    <a:moveTo>
                      <a:pt x="6599" y="138601"/>
                    </a:moveTo>
                    <a:cubicBezTo>
                      <a:pt x="2942" y="138601"/>
                      <a:pt x="0" y="135633"/>
                      <a:pt x="0" y="132002"/>
                    </a:cubicBezTo>
                    <a:lnTo>
                      <a:pt x="0" y="59389"/>
                    </a:lnTo>
                    <a:cubicBezTo>
                      <a:pt x="0" y="26634"/>
                      <a:pt x="26422" y="0"/>
                      <a:pt x="58859" y="0"/>
                    </a:cubicBezTo>
                    <a:lnTo>
                      <a:pt x="281018" y="0"/>
                    </a:lnTo>
                    <a:cubicBezTo>
                      <a:pt x="313482" y="0"/>
                      <a:pt x="339904" y="26660"/>
                      <a:pt x="339904" y="59389"/>
                    </a:cubicBezTo>
                    <a:lnTo>
                      <a:pt x="339904" y="98982"/>
                    </a:lnTo>
                    <a:cubicBezTo>
                      <a:pt x="339904" y="102639"/>
                      <a:pt x="336936" y="105581"/>
                      <a:pt x="333305" y="105581"/>
                    </a:cubicBezTo>
                    <a:cubicBezTo>
                      <a:pt x="329648" y="105581"/>
                      <a:pt x="326706" y="102612"/>
                      <a:pt x="326706" y="98982"/>
                    </a:cubicBezTo>
                    <a:lnTo>
                      <a:pt x="326706" y="59389"/>
                    </a:lnTo>
                    <a:cubicBezTo>
                      <a:pt x="326706" y="33921"/>
                      <a:pt x="306221" y="13198"/>
                      <a:pt x="281045" y="13198"/>
                    </a:cubicBezTo>
                    <a:lnTo>
                      <a:pt x="58859" y="13198"/>
                    </a:lnTo>
                    <a:cubicBezTo>
                      <a:pt x="33683" y="13198"/>
                      <a:pt x="13198" y="33921"/>
                      <a:pt x="13198" y="59389"/>
                    </a:cubicBezTo>
                    <a:lnTo>
                      <a:pt x="13198" y="132002"/>
                    </a:lnTo>
                    <a:cubicBezTo>
                      <a:pt x="13198" y="135633"/>
                      <a:pt x="10229" y="138601"/>
                      <a:pt x="6599" y="138601"/>
                    </a:cubicBezTo>
                    <a:close/>
                  </a:path>
                </a:pathLst>
              </a:custGeom>
              <a:grpFill/>
              <a:ln w="2648"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62673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7" name="Objekt 116" hidden="1">
            <a:extLst>
              <a:ext uri="{FF2B5EF4-FFF2-40B4-BE49-F238E27FC236}">
                <a16:creationId xmlns:a16="http://schemas.microsoft.com/office/drawing/2014/main" id="{8637660D-3290-4BBB-B6E6-F0C0426117CD}"/>
              </a:ext>
            </a:extLst>
          </p:cNvPr>
          <p:cNvGraphicFramePr>
            <a:graphicFrameLocks noChangeAspect="1"/>
          </p:cNvGraphicFramePr>
          <p:nvPr>
            <p:custDataLst>
              <p:tags r:id="rId1"/>
            </p:custDataLst>
            <p:extLst>
              <p:ext uri="{D42A27DB-BD31-4B8C-83A1-F6EECF244321}">
                <p14:modId xmlns:p14="http://schemas.microsoft.com/office/powerpoint/2010/main" val="2627604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17" name="Objekt 116" hidden="1">
                        <a:extLst>
                          <a:ext uri="{FF2B5EF4-FFF2-40B4-BE49-F238E27FC236}">
                            <a16:creationId xmlns:a16="http://schemas.microsoft.com/office/drawing/2014/main" id="{8637660D-3290-4BBB-B6E6-F0C0426117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BA50745-CC57-45C2-9B8F-D65A4F8156E4}"/>
              </a:ext>
            </a:extLst>
          </p:cNvPr>
          <p:cNvSpPr>
            <a:spLocks noGrp="1"/>
          </p:cNvSpPr>
          <p:nvPr>
            <p:ph type="sldNum" sz="quarter" idx="11"/>
          </p:nvPr>
        </p:nvSpPr>
        <p:spPr/>
        <p:txBody>
          <a:bodyPr/>
          <a:lstStyle/>
          <a:p>
            <a:fld id="{D56DB8AA-803C-49D2-90AA-1140CE72DCD7}" type="slidenum">
              <a:rPr lang="en-GB" smtClean="0"/>
              <a:pPr/>
              <a:t>31</a:t>
            </a:fld>
            <a:endParaRPr lang="en-GB" dirty="0"/>
          </a:p>
        </p:txBody>
      </p:sp>
      <p:sp>
        <p:nvSpPr>
          <p:cNvPr id="3" name="Title 2">
            <a:extLst>
              <a:ext uri="{FF2B5EF4-FFF2-40B4-BE49-F238E27FC236}">
                <a16:creationId xmlns:a16="http://schemas.microsoft.com/office/drawing/2014/main" id="{80833DCB-F656-448A-785C-08C50BACE365}"/>
              </a:ext>
            </a:extLst>
          </p:cNvPr>
          <p:cNvSpPr>
            <a:spLocks noGrp="1"/>
          </p:cNvSpPr>
          <p:nvPr>
            <p:ph type="title"/>
          </p:nvPr>
        </p:nvSpPr>
        <p:spPr>
          <a:xfrm>
            <a:off x="252000" y="252000"/>
            <a:ext cx="6748875" cy="576000"/>
          </a:xfrm>
        </p:spPr>
        <p:txBody>
          <a:bodyPr/>
          <a:lstStyle/>
          <a:p>
            <a:r>
              <a:rPr lang="en-US" dirty="0"/>
              <a:t>Human Relations/Work 1/2</a:t>
            </a:r>
            <a:br>
              <a:rPr lang="en-US" dirty="0"/>
            </a:br>
            <a:endParaRPr lang="en-US" dirty="0"/>
          </a:p>
        </p:txBody>
      </p:sp>
      <p:sp>
        <p:nvSpPr>
          <p:cNvPr id="30" name="TextBox 29">
            <a:extLst>
              <a:ext uri="{FF2B5EF4-FFF2-40B4-BE49-F238E27FC236}">
                <a16:creationId xmlns:a16="http://schemas.microsoft.com/office/drawing/2014/main" id="{CEB75D01-2792-4122-920F-84E7F6BEB6C7}"/>
              </a:ext>
            </a:extLst>
          </p:cNvPr>
          <p:cNvSpPr txBox="1"/>
          <p:nvPr/>
        </p:nvSpPr>
        <p:spPr>
          <a:xfrm>
            <a:off x="4813583" y="3723675"/>
            <a:ext cx="798548" cy="107722"/>
          </a:xfrm>
          <a:prstGeom prst="rect">
            <a:avLst/>
          </a:prstGeom>
          <a:noFill/>
          <a:effectLst/>
        </p:spPr>
        <p:txBody>
          <a:bodyPr wrap="square" lIns="0" tIns="0" rIns="0" bIns="0" rtlCol="0" anchor="t">
            <a:spAutoFit/>
          </a:bodyPr>
          <a:lstStyle/>
          <a:p>
            <a:pPr algn="ctr"/>
            <a:r>
              <a:rPr lang="en-GB" sz="700" dirty="0">
                <a:solidFill>
                  <a:schemeClr val="tx2"/>
                </a:solidFill>
              </a:rPr>
              <a:t>Initiative</a:t>
            </a:r>
          </a:p>
        </p:txBody>
      </p:sp>
      <p:sp>
        <p:nvSpPr>
          <p:cNvPr id="6" name="TextBox 5">
            <a:extLst>
              <a:ext uri="{FF2B5EF4-FFF2-40B4-BE49-F238E27FC236}">
                <a16:creationId xmlns:a16="http://schemas.microsoft.com/office/drawing/2014/main" id="{BA2AD8F8-9716-4C56-980C-E9553BA8B7C6}"/>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acancies</a:t>
            </a:r>
          </a:p>
        </p:txBody>
      </p:sp>
      <p:sp>
        <p:nvSpPr>
          <p:cNvPr id="7" name="TextBox 6">
            <a:extLst>
              <a:ext uri="{FF2B5EF4-FFF2-40B4-BE49-F238E27FC236}">
                <a16:creationId xmlns:a16="http://schemas.microsoft.com/office/drawing/2014/main" id="{65F89369-50FC-40E9-BC33-E72D7B1B1ADA}"/>
              </a:ext>
            </a:extLst>
          </p:cNvPr>
          <p:cNvSpPr txBox="1"/>
          <p:nvPr/>
        </p:nvSpPr>
        <p:spPr>
          <a:xfrm>
            <a:off x="3588420"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echnical</a:t>
            </a:r>
            <a:br>
              <a:rPr lang="en-GB" sz="700" dirty="0">
                <a:solidFill>
                  <a:schemeClr val="tx2"/>
                </a:solidFill>
              </a:rPr>
            </a:br>
            <a:r>
              <a:rPr lang="en-GB" sz="700" dirty="0">
                <a:solidFill>
                  <a:schemeClr val="tx2"/>
                </a:solidFill>
              </a:rPr>
              <a:t>knowledge</a:t>
            </a:r>
          </a:p>
        </p:txBody>
      </p:sp>
      <p:sp>
        <p:nvSpPr>
          <p:cNvPr id="8" name="TextBox 7">
            <a:extLst>
              <a:ext uri="{FF2B5EF4-FFF2-40B4-BE49-F238E27FC236}">
                <a16:creationId xmlns:a16="http://schemas.microsoft.com/office/drawing/2014/main" id="{FBA87378-01B9-48DE-8F78-63538ABFF0B4}"/>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Recruitment</a:t>
            </a:r>
            <a:br>
              <a:rPr lang="en-GB" sz="700" dirty="0">
                <a:solidFill>
                  <a:schemeClr val="tx2"/>
                </a:solidFill>
              </a:rPr>
            </a:br>
            <a:r>
              <a:rPr lang="en-GB" sz="700" dirty="0">
                <a:solidFill>
                  <a:schemeClr val="tx2"/>
                </a:solidFill>
              </a:rPr>
              <a:t>advertising</a:t>
            </a:r>
          </a:p>
        </p:txBody>
      </p:sp>
      <p:sp>
        <p:nvSpPr>
          <p:cNvPr id="9" name="TextBox 8">
            <a:extLst>
              <a:ext uri="{FF2B5EF4-FFF2-40B4-BE49-F238E27FC236}">
                <a16:creationId xmlns:a16="http://schemas.microsoft.com/office/drawing/2014/main" id="{C44B258D-D79A-4B89-A33E-E793EA61903D}"/>
              </a:ext>
            </a:extLst>
          </p:cNvPr>
          <p:cNvSpPr txBox="1"/>
          <p:nvPr/>
        </p:nvSpPr>
        <p:spPr>
          <a:xfrm>
            <a:off x="1497553"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Recruitment &amp;</a:t>
            </a:r>
            <a:br>
              <a:rPr lang="en-GB" sz="700" dirty="0">
                <a:solidFill>
                  <a:schemeClr val="tx2"/>
                </a:solidFill>
              </a:rPr>
            </a:br>
            <a:r>
              <a:rPr lang="en-GB" sz="700" dirty="0">
                <a:solidFill>
                  <a:schemeClr val="tx2"/>
                </a:solidFill>
              </a:rPr>
              <a:t>selection</a:t>
            </a:r>
          </a:p>
        </p:txBody>
      </p:sp>
      <p:sp>
        <p:nvSpPr>
          <p:cNvPr id="10" name="TextBox 9">
            <a:extLst>
              <a:ext uri="{FF2B5EF4-FFF2-40B4-BE49-F238E27FC236}">
                <a16:creationId xmlns:a16="http://schemas.microsoft.com/office/drawing/2014/main" id="{3DA35BCF-9A6E-4583-90A7-BE39E36E2FED}"/>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mmunication</a:t>
            </a:r>
          </a:p>
        </p:txBody>
      </p:sp>
      <p:sp>
        <p:nvSpPr>
          <p:cNvPr id="11" name="TextBox 10">
            <a:extLst>
              <a:ext uri="{FF2B5EF4-FFF2-40B4-BE49-F238E27FC236}">
                <a16:creationId xmlns:a16="http://schemas.microsoft.com/office/drawing/2014/main" id="{2DB9ACFE-009E-441B-A2D8-F7D34010346E}"/>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Flexibility</a:t>
            </a:r>
          </a:p>
        </p:txBody>
      </p:sp>
      <p:sp>
        <p:nvSpPr>
          <p:cNvPr id="12" name="TextBox 11">
            <a:extLst>
              <a:ext uri="{FF2B5EF4-FFF2-40B4-BE49-F238E27FC236}">
                <a16:creationId xmlns:a16="http://schemas.microsoft.com/office/drawing/2014/main" id="{2EE09ED4-7827-4D31-B951-CEF39936CC26}"/>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mpathy</a:t>
            </a:r>
          </a:p>
        </p:txBody>
      </p:sp>
      <p:sp>
        <p:nvSpPr>
          <p:cNvPr id="13" name="TextBox 12">
            <a:extLst>
              <a:ext uri="{FF2B5EF4-FFF2-40B4-BE49-F238E27FC236}">
                <a16:creationId xmlns:a16="http://schemas.microsoft.com/office/drawing/2014/main" id="{F19B7BE3-7F48-4A5B-97C5-5A05188E442E}"/>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spects</a:t>
            </a:r>
          </a:p>
        </p:txBody>
      </p:sp>
      <p:sp>
        <p:nvSpPr>
          <p:cNvPr id="14" name="TextBox 13">
            <a:extLst>
              <a:ext uri="{FF2B5EF4-FFF2-40B4-BE49-F238E27FC236}">
                <a16:creationId xmlns:a16="http://schemas.microsoft.com/office/drawing/2014/main" id="{72EB9266-A9AC-422A-9539-1C34A5B946D6}"/>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Operability</a:t>
            </a:r>
          </a:p>
        </p:txBody>
      </p:sp>
      <p:sp>
        <p:nvSpPr>
          <p:cNvPr id="15" name="TextBox 14">
            <a:extLst>
              <a:ext uri="{FF2B5EF4-FFF2-40B4-BE49-F238E27FC236}">
                <a16:creationId xmlns:a16="http://schemas.microsoft.com/office/drawing/2014/main" id="{76E4F107-DE9B-443F-9F0E-AB81995AB722}"/>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Forum</a:t>
            </a:r>
          </a:p>
        </p:txBody>
      </p:sp>
      <p:sp>
        <p:nvSpPr>
          <p:cNvPr id="16" name="TextBox 15">
            <a:extLst>
              <a:ext uri="{FF2B5EF4-FFF2-40B4-BE49-F238E27FC236}">
                <a16:creationId xmlns:a16="http://schemas.microsoft.com/office/drawing/2014/main" id="{4A768487-0615-4BA7-9485-7CA41F221E00}"/>
              </a:ext>
            </a:extLst>
          </p:cNvPr>
          <p:cNvSpPr txBox="1"/>
          <p:nvPr/>
        </p:nvSpPr>
        <p:spPr>
          <a:xfrm>
            <a:off x="2542987"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Job</a:t>
            </a:r>
            <a:br>
              <a:rPr lang="en-GB" sz="700" dirty="0">
                <a:solidFill>
                  <a:schemeClr val="tx2"/>
                </a:solidFill>
              </a:rPr>
            </a:br>
            <a:r>
              <a:rPr lang="en-GB" sz="700" dirty="0">
                <a:solidFill>
                  <a:schemeClr val="tx2"/>
                </a:solidFill>
              </a:rPr>
              <a:t>descriptions</a:t>
            </a:r>
          </a:p>
        </p:txBody>
      </p:sp>
      <p:sp>
        <p:nvSpPr>
          <p:cNvPr id="17" name="TextBox 16">
            <a:extLst>
              <a:ext uri="{FF2B5EF4-FFF2-40B4-BE49-F238E27FC236}">
                <a16:creationId xmlns:a16="http://schemas.microsoft.com/office/drawing/2014/main" id="{829FD4A7-D161-4E8A-B9A5-47BE46D4F4DD}"/>
              </a:ext>
            </a:extLst>
          </p:cNvPr>
          <p:cNvSpPr txBox="1"/>
          <p:nvPr/>
        </p:nvSpPr>
        <p:spPr>
          <a:xfrm>
            <a:off x="1497553"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Job</a:t>
            </a:r>
            <a:br>
              <a:rPr lang="en-GB" sz="700" dirty="0">
                <a:solidFill>
                  <a:schemeClr val="tx2"/>
                </a:solidFill>
              </a:rPr>
            </a:br>
            <a:r>
              <a:rPr lang="en-GB" sz="700" dirty="0">
                <a:solidFill>
                  <a:schemeClr val="tx2"/>
                </a:solidFill>
              </a:rPr>
              <a:t>search</a:t>
            </a:r>
          </a:p>
        </p:txBody>
      </p:sp>
      <p:sp>
        <p:nvSpPr>
          <p:cNvPr id="18" name="TextBox 17">
            <a:extLst>
              <a:ext uri="{FF2B5EF4-FFF2-40B4-BE49-F238E27FC236}">
                <a16:creationId xmlns:a16="http://schemas.microsoft.com/office/drawing/2014/main" id="{67173F8D-CFBE-4EFB-8F85-5BAACF365306}"/>
              </a:ext>
            </a:extLst>
          </p:cNvPr>
          <p:cNvSpPr txBox="1"/>
          <p:nvPr/>
        </p:nvSpPr>
        <p:spPr>
          <a:xfrm>
            <a:off x="452119"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ime</a:t>
            </a:r>
            <a:br>
              <a:rPr lang="en-GB" sz="700" dirty="0">
                <a:solidFill>
                  <a:schemeClr val="tx2"/>
                </a:solidFill>
              </a:rPr>
            </a:br>
            <a:r>
              <a:rPr lang="en-GB" sz="700" dirty="0">
                <a:solidFill>
                  <a:schemeClr val="tx2"/>
                </a:solidFill>
              </a:rPr>
              <a:t>management</a:t>
            </a:r>
          </a:p>
        </p:txBody>
      </p:sp>
      <p:sp>
        <p:nvSpPr>
          <p:cNvPr id="19" name="TextBox 18">
            <a:extLst>
              <a:ext uri="{FF2B5EF4-FFF2-40B4-BE49-F238E27FC236}">
                <a16:creationId xmlns:a16="http://schemas.microsoft.com/office/drawing/2014/main" id="{1E919520-4680-440D-8581-91877E3ED0A1}"/>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Growth</a:t>
            </a:r>
          </a:p>
        </p:txBody>
      </p:sp>
      <p:sp>
        <p:nvSpPr>
          <p:cNvPr id="20" name="TextBox 19">
            <a:extLst>
              <a:ext uri="{FF2B5EF4-FFF2-40B4-BE49-F238E27FC236}">
                <a16:creationId xmlns:a16="http://schemas.microsoft.com/office/drawing/2014/main" id="{145FD961-C6A3-46DA-AE58-009A2D1639DB}"/>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HR-strategy</a:t>
            </a:r>
          </a:p>
        </p:txBody>
      </p:sp>
      <p:sp>
        <p:nvSpPr>
          <p:cNvPr id="21" name="TextBox 20">
            <a:extLst>
              <a:ext uri="{FF2B5EF4-FFF2-40B4-BE49-F238E27FC236}">
                <a16:creationId xmlns:a16="http://schemas.microsoft.com/office/drawing/2014/main" id="{8BEA7240-DD39-46EE-AA74-A0F62ED98BAA}"/>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motion</a:t>
            </a:r>
          </a:p>
        </p:txBody>
      </p:sp>
      <p:grpSp>
        <p:nvGrpSpPr>
          <p:cNvPr id="4" name="Group 3">
            <a:extLst>
              <a:ext uri="{FF2B5EF4-FFF2-40B4-BE49-F238E27FC236}">
                <a16:creationId xmlns:a16="http://schemas.microsoft.com/office/drawing/2014/main" id="{062E1821-E4B6-ABFA-368E-5483667E8741}"/>
              </a:ext>
            </a:extLst>
          </p:cNvPr>
          <p:cNvGrpSpPr/>
          <p:nvPr/>
        </p:nvGrpSpPr>
        <p:grpSpPr>
          <a:xfrm>
            <a:off x="476747" y="1585984"/>
            <a:ext cx="634601" cy="432000"/>
            <a:chOff x="476747" y="1585984"/>
            <a:chExt cx="634601" cy="432000"/>
          </a:xfrm>
        </p:grpSpPr>
        <p:grpSp>
          <p:nvGrpSpPr>
            <p:cNvPr id="39" name="Group 38">
              <a:extLst>
                <a:ext uri="{FF2B5EF4-FFF2-40B4-BE49-F238E27FC236}">
                  <a16:creationId xmlns:a16="http://schemas.microsoft.com/office/drawing/2014/main" id="{3EC3B51D-3C81-4E5A-B853-624C192E287F}"/>
                </a:ext>
              </a:extLst>
            </p:cNvPr>
            <p:cNvGrpSpPr/>
            <p:nvPr/>
          </p:nvGrpSpPr>
          <p:grpSpPr>
            <a:xfrm>
              <a:off x="476747" y="1602846"/>
              <a:ext cx="634601" cy="378865"/>
              <a:chOff x="845115" y="1700791"/>
              <a:chExt cx="575982" cy="343868"/>
            </a:xfrm>
            <a:solidFill>
              <a:schemeClr val="tx2"/>
            </a:solidFill>
          </p:grpSpPr>
          <p:grpSp>
            <p:nvGrpSpPr>
              <p:cNvPr id="50" name="Grafik 294">
                <a:extLst>
                  <a:ext uri="{FF2B5EF4-FFF2-40B4-BE49-F238E27FC236}">
                    <a16:creationId xmlns:a16="http://schemas.microsoft.com/office/drawing/2014/main" id="{C2256E28-32AC-44C7-8EB2-45F423A8BE71}"/>
                  </a:ext>
                </a:extLst>
              </p:cNvPr>
              <p:cNvGrpSpPr/>
              <p:nvPr/>
            </p:nvGrpSpPr>
            <p:grpSpPr>
              <a:xfrm>
                <a:off x="1234345" y="1700818"/>
                <a:ext cx="186752" cy="343841"/>
                <a:chOff x="1234345" y="1700818"/>
                <a:chExt cx="186752" cy="343841"/>
              </a:xfrm>
              <a:grpFill/>
            </p:grpSpPr>
            <p:sp>
              <p:nvSpPr>
                <p:cNvPr id="59" name="Freihandform: Form 5">
                  <a:extLst>
                    <a:ext uri="{FF2B5EF4-FFF2-40B4-BE49-F238E27FC236}">
                      <a16:creationId xmlns:a16="http://schemas.microsoft.com/office/drawing/2014/main" id="{E501F1B3-FAE6-47C0-A861-F77DE820554C}"/>
                    </a:ext>
                  </a:extLst>
                </p:cNvPr>
                <p:cNvSpPr/>
                <p:nvPr/>
              </p:nvSpPr>
              <p:spPr>
                <a:xfrm>
                  <a:off x="1241585" y="1700818"/>
                  <a:ext cx="179512" cy="204818"/>
                </a:xfrm>
                <a:custGeom>
                  <a:avLst/>
                  <a:gdLst>
                    <a:gd name="connsiteX0" fmla="*/ 72772 w 179512"/>
                    <a:gd name="connsiteY0" fmla="*/ 204818 h 204818"/>
                    <a:gd name="connsiteX1" fmla="*/ 4214 w 179512"/>
                    <a:gd name="connsiteY1" fmla="*/ 197675 h 204818"/>
                    <a:gd name="connsiteX2" fmla="*/ 401 w 179512"/>
                    <a:gd name="connsiteY2" fmla="*/ 189404 h 204818"/>
                    <a:gd name="connsiteX3" fmla="*/ 8672 w 179512"/>
                    <a:gd name="connsiteY3" fmla="*/ 185591 h 204818"/>
                    <a:gd name="connsiteX4" fmla="*/ 81876 w 179512"/>
                    <a:gd name="connsiteY4" fmla="*/ 191901 h 204818"/>
                    <a:gd name="connsiteX5" fmla="*/ 164774 w 179512"/>
                    <a:gd name="connsiteY5" fmla="*/ 180891 h 204818"/>
                    <a:gd name="connsiteX6" fmla="*/ 159376 w 179512"/>
                    <a:gd name="connsiteY6" fmla="*/ 151459 h 204818"/>
                    <a:gd name="connsiteX7" fmla="*/ 131556 w 179512"/>
                    <a:gd name="connsiteY7" fmla="*/ 69769 h 204818"/>
                    <a:gd name="connsiteX8" fmla="*/ 125916 w 179512"/>
                    <a:gd name="connsiteY8" fmla="*/ 37625 h 204818"/>
                    <a:gd name="connsiteX9" fmla="*/ 82305 w 179512"/>
                    <a:gd name="connsiteY9" fmla="*/ 12866 h 204818"/>
                    <a:gd name="connsiteX10" fmla="*/ 38399 w 179512"/>
                    <a:gd name="connsiteY10" fmla="*/ 37545 h 204818"/>
                    <a:gd name="connsiteX11" fmla="*/ 33163 w 179512"/>
                    <a:gd name="connsiteY11" fmla="*/ 68239 h 204818"/>
                    <a:gd name="connsiteX12" fmla="*/ 24032 w 179512"/>
                    <a:gd name="connsiteY12" fmla="*/ 113676 h 204818"/>
                    <a:gd name="connsiteX13" fmla="*/ 15976 w 179512"/>
                    <a:gd name="connsiteY13" fmla="*/ 117919 h 204818"/>
                    <a:gd name="connsiteX14" fmla="*/ 11733 w 179512"/>
                    <a:gd name="connsiteY14" fmla="*/ 109862 h 204818"/>
                    <a:gd name="connsiteX15" fmla="*/ 20407 w 179512"/>
                    <a:gd name="connsiteY15" fmla="*/ 66359 h 204818"/>
                    <a:gd name="connsiteX16" fmla="*/ 25805 w 179512"/>
                    <a:gd name="connsiteY16" fmla="*/ 34832 h 204818"/>
                    <a:gd name="connsiteX17" fmla="*/ 82252 w 179512"/>
                    <a:gd name="connsiteY17" fmla="*/ 3 h 204818"/>
                    <a:gd name="connsiteX18" fmla="*/ 138457 w 179512"/>
                    <a:gd name="connsiteY18" fmla="*/ 34779 h 204818"/>
                    <a:gd name="connsiteX19" fmla="*/ 144284 w 179512"/>
                    <a:gd name="connsiteY19" fmla="*/ 67890 h 204818"/>
                    <a:gd name="connsiteX20" fmla="*/ 169608 w 179512"/>
                    <a:gd name="connsiteY20" fmla="*/ 143672 h 204818"/>
                    <a:gd name="connsiteX21" fmla="*/ 175677 w 179512"/>
                    <a:gd name="connsiteY21" fmla="*/ 187793 h 204818"/>
                    <a:gd name="connsiteX22" fmla="*/ 82010 w 179512"/>
                    <a:gd name="connsiteY22" fmla="*/ 204818 h 204818"/>
                    <a:gd name="connsiteX23" fmla="*/ 72772 w 179512"/>
                    <a:gd name="connsiteY23" fmla="*/ 204818 h 20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9512" h="204818">
                      <a:moveTo>
                        <a:pt x="72772" y="204818"/>
                      </a:moveTo>
                      <a:cubicBezTo>
                        <a:pt x="48174" y="204818"/>
                        <a:pt x="20487" y="203690"/>
                        <a:pt x="4214" y="197675"/>
                      </a:cubicBezTo>
                      <a:cubicBezTo>
                        <a:pt x="884" y="196440"/>
                        <a:pt x="-835" y="192734"/>
                        <a:pt x="401" y="189404"/>
                      </a:cubicBezTo>
                      <a:cubicBezTo>
                        <a:pt x="1636" y="186074"/>
                        <a:pt x="5342" y="184355"/>
                        <a:pt x="8672" y="185591"/>
                      </a:cubicBezTo>
                      <a:cubicBezTo>
                        <a:pt x="25241" y="191713"/>
                        <a:pt x="58405" y="192143"/>
                        <a:pt x="81876" y="191901"/>
                      </a:cubicBezTo>
                      <a:cubicBezTo>
                        <a:pt x="152797" y="191203"/>
                        <a:pt x="163270" y="183281"/>
                        <a:pt x="164774" y="180891"/>
                      </a:cubicBezTo>
                      <a:cubicBezTo>
                        <a:pt x="169796" y="172942"/>
                        <a:pt x="163190" y="156454"/>
                        <a:pt x="159376" y="151459"/>
                      </a:cubicBezTo>
                      <a:cubicBezTo>
                        <a:pt x="139988" y="126082"/>
                        <a:pt x="135691" y="97456"/>
                        <a:pt x="131556" y="69769"/>
                      </a:cubicBezTo>
                      <a:cubicBezTo>
                        <a:pt x="129971" y="59243"/>
                        <a:pt x="128360" y="48340"/>
                        <a:pt x="125916" y="37625"/>
                      </a:cubicBezTo>
                      <a:cubicBezTo>
                        <a:pt x="120169" y="12356"/>
                        <a:pt x="82708" y="12893"/>
                        <a:pt x="82305" y="12866"/>
                      </a:cubicBezTo>
                      <a:cubicBezTo>
                        <a:pt x="81688" y="12839"/>
                        <a:pt x="43797" y="12624"/>
                        <a:pt x="38399" y="37545"/>
                      </a:cubicBezTo>
                      <a:cubicBezTo>
                        <a:pt x="36197" y="47776"/>
                        <a:pt x="34640" y="58168"/>
                        <a:pt x="33163" y="68239"/>
                      </a:cubicBezTo>
                      <a:cubicBezTo>
                        <a:pt x="30934" y="83304"/>
                        <a:pt x="28624" y="98852"/>
                        <a:pt x="24032" y="113676"/>
                      </a:cubicBezTo>
                      <a:cubicBezTo>
                        <a:pt x="22985" y="117086"/>
                        <a:pt x="19360" y="118966"/>
                        <a:pt x="15976" y="117919"/>
                      </a:cubicBezTo>
                      <a:cubicBezTo>
                        <a:pt x="12566" y="116871"/>
                        <a:pt x="10686" y="113273"/>
                        <a:pt x="11733" y="109862"/>
                      </a:cubicBezTo>
                      <a:cubicBezTo>
                        <a:pt x="16030" y="96006"/>
                        <a:pt x="18151" y="81612"/>
                        <a:pt x="20407" y="66359"/>
                      </a:cubicBezTo>
                      <a:cubicBezTo>
                        <a:pt x="21911" y="56101"/>
                        <a:pt x="23495" y="45493"/>
                        <a:pt x="25805" y="34832"/>
                      </a:cubicBezTo>
                      <a:cubicBezTo>
                        <a:pt x="33431" y="-427"/>
                        <a:pt x="80291" y="-24"/>
                        <a:pt x="82252" y="3"/>
                      </a:cubicBezTo>
                      <a:cubicBezTo>
                        <a:pt x="83970" y="30"/>
                        <a:pt x="130401" y="-669"/>
                        <a:pt x="138457" y="34779"/>
                      </a:cubicBezTo>
                      <a:cubicBezTo>
                        <a:pt x="141008" y="45977"/>
                        <a:pt x="142673" y="57121"/>
                        <a:pt x="144284" y="67890"/>
                      </a:cubicBezTo>
                      <a:cubicBezTo>
                        <a:pt x="148366" y="95173"/>
                        <a:pt x="152206" y="120926"/>
                        <a:pt x="169608" y="143672"/>
                      </a:cubicBezTo>
                      <a:cubicBezTo>
                        <a:pt x="174576" y="150170"/>
                        <a:pt x="185210" y="172674"/>
                        <a:pt x="175677" y="187793"/>
                      </a:cubicBezTo>
                      <a:cubicBezTo>
                        <a:pt x="168507" y="199152"/>
                        <a:pt x="140498" y="204254"/>
                        <a:pt x="82010" y="204818"/>
                      </a:cubicBezTo>
                      <a:cubicBezTo>
                        <a:pt x="79002" y="204791"/>
                        <a:pt x="75914" y="204818"/>
                        <a:pt x="72772" y="204818"/>
                      </a:cubicBezTo>
                      <a:close/>
                    </a:path>
                  </a:pathLst>
                </a:custGeom>
                <a:grpFill/>
                <a:ln w="2681" cap="flat">
                  <a:noFill/>
                  <a:prstDash val="solid"/>
                  <a:miter/>
                </a:ln>
              </p:spPr>
              <p:txBody>
                <a:bodyPr rtlCol="0" anchor="ctr"/>
                <a:lstStyle/>
                <a:p>
                  <a:endParaRPr lang="en-GB" dirty="0"/>
                </a:p>
              </p:txBody>
            </p:sp>
            <p:sp>
              <p:nvSpPr>
                <p:cNvPr id="60" name="Freihandform: Form 8">
                  <a:extLst>
                    <a:ext uri="{FF2B5EF4-FFF2-40B4-BE49-F238E27FC236}">
                      <a16:creationId xmlns:a16="http://schemas.microsoft.com/office/drawing/2014/main" id="{3676F1B0-5D5D-4F5B-83BE-4653AFDAE81D}"/>
                    </a:ext>
                  </a:extLst>
                </p:cNvPr>
                <p:cNvSpPr/>
                <p:nvPr/>
              </p:nvSpPr>
              <p:spPr>
                <a:xfrm>
                  <a:off x="1267261" y="1856934"/>
                  <a:ext cx="112958" cy="19458"/>
                </a:xfrm>
                <a:custGeom>
                  <a:avLst/>
                  <a:gdLst>
                    <a:gd name="connsiteX0" fmla="*/ 54427 w 112958"/>
                    <a:gd name="connsiteY0" fmla="*/ 19458 h 19458"/>
                    <a:gd name="connsiteX1" fmla="*/ 4909 w 112958"/>
                    <a:gd name="connsiteY1" fmla="*/ 14302 h 19458"/>
                    <a:gd name="connsiteX2" fmla="*/ 182 w 112958"/>
                    <a:gd name="connsiteY2" fmla="*/ 6542 h 19458"/>
                    <a:gd name="connsiteX3" fmla="*/ 7943 w 112958"/>
                    <a:gd name="connsiteY3" fmla="*/ 1788 h 19458"/>
                    <a:gd name="connsiteX4" fmla="*/ 104832 w 112958"/>
                    <a:gd name="connsiteY4" fmla="*/ 231 h 19458"/>
                    <a:gd name="connsiteX5" fmla="*/ 112727 w 112958"/>
                    <a:gd name="connsiteY5" fmla="*/ 4742 h 19458"/>
                    <a:gd name="connsiteX6" fmla="*/ 108216 w 112958"/>
                    <a:gd name="connsiteY6" fmla="*/ 12637 h 19458"/>
                    <a:gd name="connsiteX7" fmla="*/ 54427 w 112958"/>
                    <a:gd name="connsiteY7" fmla="*/ 19458 h 1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58" h="19458">
                      <a:moveTo>
                        <a:pt x="54427" y="19458"/>
                      </a:moveTo>
                      <a:cubicBezTo>
                        <a:pt x="26660" y="19458"/>
                        <a:pt x="6251" y="14625"/>
                        <a:pt x="4909" y="14302"/>
                      </a:cubicBezTo>
                      <a:cubicBezTo>
                        <a:pt x="1444" y="13470"/>
                        <a:pt x="-650" y="9979"/>
                        <a:pt x="182" y="6542"/>
                      </a:cubicBezTo>
                      <a:cubicBezTo>
                        <a:pt x="1015" y="3077"/>
                        <a:pt x="4533" y="983"/>
                        <a:pt x="7943" y="1788"/>
                      </a:cubicBezTo>
                      <a:cubicBezTo>
                        <a:pt x="8426" y="1896"/>
                        <a:pt x="56871" y="13336"/>
                        <a:pt x="104832" y="231"/>
                      </a:cubicBezTo>
                      <a:cubicBezTo>
                        <a:pt x="108243" y="-709"/>
                        <a:pt x="111814" y="1305"/>
                        <a:pt x="112727" y="4742"/>
                      </a:cubicBezTo>
                      <a:cubicBezTo>
                        <a:pt x="113667" y="8180"/>
                        <a:pt x="111653" y="11724"/>
                        <a:pt x="108216" y="12637"/>
                      </a:cubicBezTo>
                      <a:cubicBezTo>
                        <a:pt x="89338" y="17793"/>
                        <a:pt x="70620" y="19458"/>
                        <a:pt x="54427" y="19458"/>
                      </a:cubicBezTo>
                      <a:close/>
                    </a:path>
                  </a:pathLst>
                </a:custGeom>
                <a:grpFill/>
                <a:ln w="2681" cap="flat">
                  <a:noFill/>
                  <a:prstDash val="solid"/>
                  <a:miter/>
                </a:ln>
              </p:spPr>
              <p:txBody>
                <a:bodyPr rtlCol="0" anchor="ctr"/>
                <a:lstStyle/>
                <a:p>
                  <a:endParaRPr lang="en-GB" dirty="0"/>
                </a:p>
              </p:txBody>
            </p:sp>
            <p:grpSp>
              <p:nvGrpSpPr>
                <p:cNvPr id="61" name="Grafik 294">
                  <a:extLst>
                    <a:ext uri="{FF2B5EF4-FFF2-40B4-BE49-F238E27FC236}">
                      <a16:creationId xmlns:a16="http://schemas.microsoft.com/office/drawing/2014/main" id="{8BCDA121-ADF1-47A5-9C1F-A15865646770}"/>
                    </a:ext>
                  </a:extLst>
                </p:cNvPr>
                <p:cNvGrpSpPr/>
                <p:nvPr/>
              </p:nvGrpSpPr>
              <p:grpSpPr>
                <a:xfrm>
                  <a:off x="1250855" y="1904884"/>
                  <a:ext cx="153939" cy="93908"/>
                  <a:chOff x="1250855" y="1904884"/>
                  <a:chExt cx="153939" cy="93908"/>
                </a:xfrm>
                <a:grpFill/>
              </p:grpSpPr>
              <p:sp>
                <p:nvSpPr>
                  <p:cNvPr id="64" name="Freihandform: Form 13">
                    <a:extLst>
                      <a:ext uri="{FF2B5EF4-FFF2-40B4-BE49-F238E27FC236}">
                        <a16:creationId xmlns:a16="http://schemas.microsoft.com/office/drawing/2014/main" id="{E113F7F7-7876-490D-BF56-378C172ADB70}"/>
                      </a:ext>
                    </a:extLst>
                  </p:cNvPr>
                  <p:cNvSpPr/>
                  <p:nvPr/>
                </p:nvSpPr>
                <p:spPr>
                  <a:xfrm>
                    <a:off x="1278192" y="1906107"/>
                    <a:ext cx="126602" cy="92148"/>
                  </a:xfrm>
                  <a:custGeom>
                    <a:avLst/>
                    <a:gdLst>
                      <a:gd name="connsiteX0" fmla="*/ 120165 w 126602"/>
                      <a:gd name="connsiteY0" fmla="*/ 92149 h 92148"/>
                      <a:gd name="connsiteX1" fmla="*/ 116486 w 126602"/>
                      <a:gd name="connsiteY1" fmla="*/ 90994 h 92148"/>
                      <a:gd name="connsiteX2" fmla="*/ 2759 w 126602"/>
                      <a:gd name="connsiteY2" fmla="*/ 11721 h 92148"/>
                      <a:gd name="connsiteX3" fmla="*/ 1148 w 126602"/>
                      <a:gd name="connsiteY3" fmla="*/ 2752 h 92148"/>
                      <a:gd name="connsiteX4" fmla="*/ 10117 w 126602"/>
                      <a:gd name="connsiteY4" fmla="*/ 1140 h 92148"/>
                      <a:gd name="connsiteX5" fmla="*/ 123844 w 126602"/>
                      <a:gd name="connsiteY5" fmla="*/ 80413 h 92148"/>
                      <a:gd name="connsiteX6" fmla="*/ 125455 w 126602"/>
                      <a:gd name="connsiteY6" fmla="*/ 89383 h 92148"/>
                      <a:gd name="connsiteX7" fmla="*/ 120165 w 126602"/>
                      <a:gd name="connsiteY7" fmla="*/ 92149 h 9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602" h="92148">
                        <a:moveTo>
                          <a:pt x="120165" y="92149"/>
                        </a:moveTo>
                        <a:cubicBezTo>
                          <a:pt x="118903" y="92149"/>
                          <a:pt x="117614" y="91773"/>
                          <a:pt x="116486" y="90994"/>
                        </a:cubicBezTo>
                        <a:lnTo>
                          <a:pt x="2759" y="11721"/>
                        </a:lnTo>
                        <a:cubicBezTo>
                          <a:pt x="-168" y="9680"/>
                          <a:pt x="-866" y="5679"/>
                          <a:pt x="1148" y="2752"/>
                        </a:cubicBezTo>
                        <a:cubicBezTo>
                          <a:pt x="3189" y="-149"/>
                          <a:pt x="7190" y="-874"/>
                          <a:pt x="10117" y="1140"/>
                        </a:cubicBezTo>
                        <a:lnTo>
                          <a:pt x="123844" y="80413"/>
                        </a:lnTo>
                        <a:cubicBezTo>
                          <a:pt x="126771" y="82454"/>
                          <a:pt x="127469" y="86456"/>
                          <a:pt x="125455" y="89383"/>
                        </a:cubicBezTo>
                        <a:cubicBezTo>
                          <a:pt x="124220" y="91182"/>
                          <a:pt x="122206" y="92149"/>
                          <a:pt x="120165" y="92149"/>
                        </a:cubicBezTo>
                        <a:close/>
                      </a:path>
                    </a:pathLst>
                  </a:custGeom>
                  <a:grpFill/>
                  <a:ln w="2681" cap="flat">
                    <a:noFill/>
                    <a:prstDash val="solid"/>
                    <a:miter/>
                  </a:ln>
                </p:spPr>
                <p:txBody>
                  <a:bodyPr rtlCol="0" anchor="ctr"/>
                  <a:lstStyle/>
                  <a:p>
                    <a:endParaRPr lang="en-GB" dirty="0"/>
                  </a:p>
                </p:txBody>
              </p:sp>
              <p:sp>
                <p:nvSpPr>
                  <p:cNvPr id="65" name="Freihandform: Form 14">
                    <a:extLst>
                      <a:ext uri="{FF2B5EF4-FFF2-40B4-BE49-F238E27FC236}">
                        <a16:creationId xmlns:a16="http://schemas.microsoft.com/office/drawing/2014/main" id="{B7EB3C17-1568-42AC-810A-3F714A205FD0}"/>
                      </a:ext>
                    </a:extLst>
                  </p:cNvPr>
                  <p:cNvSpPr/>
                  <p:nvPr/>
                </p:nvSpPr>
                <p:spPr>
                  <a:xfrm>
                    <a:off x="1250855" y="1904884"/>
                    <a:ext cx="125931" cy="93908"/>
                  </a:xfrm>
                  <a:custGeom>
                    <a:avLst/>
                    <a:gdLst>
                      <a:gd name="connsiteX0" fmla="*/ 6438 w 125931"/>
                      <a:gd name="connsiteY0" fmla="*/ 93909 h 93908"/>
                      <a:gd name="connsiteX1" fmla="*/ 1201 w 125931"/>
                      <a:gd name="connsiteY1" fmla="*/ 91223 h 93908"/>
                      <a:gd name="connsiteX2" fmla="*/ 2678 w 125931"/>
                      <a:gd name="connsiteY2" fmla="*/ 82227 h 93908"/>
                      <a:gd name="connsiteX3" fmla="*/ 115734 w 125931"/>
                      <a:gd name="connsiteY3" fmla="*/ 1209 h 93908"/>
                      <a:gd name="connsiteX4" fmla="*/ 124730 w 125931"/>
                      <a:gd name="connsiteY4" fmla="*/ 2686 h 93908"/>
                      <a:gd name="connsiteX5" fmla="*/ 123253 w 125931"/>
                      <a:gd name="connsiteY5" fmla="*/ 11682 h 93908"/>
                      <a:gd name="connsiteX6" fmla="*/ 10197 w 125931"/>
                      <a:gd name="connsiteY6" fmla="*/ 92700 h 93908"/>
                      <a:gd name="connsiteX7" fmla="*/ 6438 w 125931"/>
                      <a:gd name="connsiteY7" fmla="*/ 93909 h 9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931" h="93908">
                        <a:moveTo>
                          <a:pt x="6438" y="93909"/>
                        </a:moveTo>
                        <a:cubicBezTo>
                          <a:pt x="4424" y="93909"/>
                          <a:pt x="2463" y="92969"/>
                          <a:pt x="1201" y="91223"/>
                        </a:cubicBezTo>
                        <a:cubicBezTo>
                          <a:pt x="-866" y="88323"/>
                          <a:pt x="-195" y="84322"/>
                          <a:pt x="2678" y="82227"/>
                        </a:cubicBezTo>
                        <a:lnTo>
                          <a:pt x="115734" y="1209"/>
                        </a:lnTo>
                        <a:cubicBezTo>
                          <a:pt x="118634" y="-859"/>
                          <a:pt x="122635" y="-214"/>
                          <a:pt x="124730" y="2686"/>
                        </a:cubicBezTo>
                        <a:cubicBezTo>
                          <a:pt x="126797" y="5586"/>
                          <a:pt x="126126" y="9587"/>
                          <a:pt x="123253" y="11682"/>
                        </a:cubicBezTo>
                        <a:lnTo>
                          <a:pt x="10197" y="92700"/>
                        </a:lnTo>
                        <a:cubicBezTo>
                          <a:pt x="9043" y="93533"/>
                          <a:pt x="7727" y="93909"/>
                          <a:pt x="6438" y="93909"/>
                        </a:cubicBezTo>
                        <a:close/>
                      </a:path>
                    </a:pathLst>
                  </a:custGeom>
                  <a:grpFill/>
                  <a:ln w="2681" cap="flat">
                    <a:noFill/>
                    <a:prstDash val="solid"/>
                    <a:miter/>
                  </a:ln>
                </p:spPr>
                <p:txBody>
                  <a:bodyPr rtlCol="0" anchor="ctr"/>
                  <a:lstStyle/>
                  <a:p>
                    <a:endParaRPr lang="en-GB" dirty="0"/>
                  </a:p>
                </p:txBody>
              </p:sp>
            </p:grpSp>
            <p:sp>
              <p:nvSpPr>
                <p:cNvPr id="62" name="Freihandform: Form 15">
                  <a:extLst>
                    <a:ext uri="{FF2B5EF4-FFF2-40B4-BE49-F238E27FC236}">
                      <a16:creationId xmlns:a16="http://schemas.microsoft.com/office/drawing/2014/main" id="{50990919-AE7C-4516-A2F3-7DC891C81B27}"/>
                    </a:ext>
                  </a:extLst>
                </p:cNvPr>
                <p:cNvSpPr/>
                <p:nvPr/>
              </p:nvSpPr>
              <p:spPr>
                <a:xfrm>
                  <a:off x="1234345" y="1893994"/>
                  <a:ext cx="59590" cy="150316"/>
                </a:xfrm>
                <a:custGeom>
                  <a:avLst/>
                  <a:gdLst>
                    <a:gd name="connsiteX0" fmla="*/ 6432 w 59590"/>
                    <a:gd name="connsiteY0" fmla="*/ 150316 h 150316"/>
                    <a:gd name="connsiteX1" fmla="*/ 4365 w 59590"/>
                    <a:gd name="connsiteY1" fmla="*/ 149967 h 150316"/>
                    <a:gd name="connsiteX2" fmla="*/ 336 w 59590"/>
                    <a:gd name="connsiteY2" fmla="*/ 141803 h 150316"/>
                    <a:gd name="connsiteX3" fmla="*/ 47062 w 59590"/>
                    <a:gd name="connsiteY3" fmla="*/ 4365 h 150316"/>
                    <a:gd name="connsiteX4" fmla="*/ 55226 w 59590"/>
                    <a:gd name="connsiteY4" fmla="*/ 336 h 150316"/>
                    <a:gd name="connsiteX5" fmla="*/ 59254 w 59590"/>
                    <a:gd name="connsiteY5" fmla="*/ 8500 h 150316"/>
                    <a:gd name="connsiteX6" fmla="*/ 12528 w 59590"/>
                    <a:gd name="connsiteY6" fmla="*/ 145939 h 150316"/>
                    <a:gd name="connsiteX7" fmla="*/ 6432 w 59590"/>
                    <a:gd name="connsiteY7" fmla="*/ 150316 h 15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90" h="150316">
                      <a:moveTo>
                        <a:pt x="6432" y="150316"/>
                      </a:moveTo>
                      <a:cubicBezTo>
                        <a:pt x="5734" y="150316"/>
                        <a:pt x="5036" y="150209"/>
                        <a:pt x="4365" y="149967"/>
                      </a:cubicBezTo>
                      <a:cubicBezTo>
                        <a:pt x="1008" y="148812"/>
                        <a:pt x="-791" y="145160"/>
                        <a:pt x="336" y="141803"/>
                      </a:cubicBezTo>
                      <a:lnTo>
                        <a:pt x="47062" y="4365"/>
                      </a:lnTo>
                      <a:cubicBezTo>
                        <a:pt x="48217" y="1008"/>
                        <a:pt x="51869" y="-791"/>
                        <a:pt x="55226" y="336"/>
                      </a:cubicBezTo>
                      <a:cubicBezTo>
                        <a:pt x="58583" y="1491"/>
                        <a:pt x="60382" y="5143"/>
                        <a:pt x="59254" y="8500"/>
                      </a:cubicBezTo>
                      <a:lnTo>
                        <a:pt x="12528" y="145939"/>
                      </a:lnTo>
                      <a:cubicBezTo>
                        <a:pt x="11615" y="148624"/>
                        <a:pt x="9118" y="150316"/>
                        <a:pt x="6432" y="150316"/>
                      </a:cubicBezTo>
                      <a:close/>
                    </a:path>
                  </a:pathLst>
                </a:custGeom>
                <a:grpFill/>
                <a:ln w="2681" cap="flat">
                  <a:noFill/>
                  <a:prstDash val="solid"/>
                  <a:miter/>
                </a:ln>
              </p:spPr>
              <p:txBody>
                <a:bodyPr rtlCol="0" anchor="ctr"/>
                <a:lstStyle/>
                <a:p>
                  <a:endParaRPr lang="en-GB" dirty="0"/>
                </a:p>
              </p:txBody>
            </p:sp>
            <p:sp>
              <p:nvSpPr>
                <p:cNvPr id="63" name="Freihandform: Form 16">
                  <a:extLst>
                    <a:ext uri="{FF2B5EF4-FFF2-40B4-BE49-F238E27FC236}">
                      <a16:creationId xmlns:a16="http://schemas.microsoft.com/office/drawing/2014/main" id="{12AE8938-275B-4801-83FA-C83CCBF0795F}"/>
                    </a:ext>
                  </a:extLst>
                </p:cNvPr>
                <p:cNvSpPr/>
                <p:nvPr/>
              </p:nvSpPr>
              <p:spPr>
                <a:xfrm>
                  <a:off x="1360922" y="1893965"/>
                  <a:ext cx="59724" cy="150694"/>
                </a:xfrm>
                <a:custGeom>
                  <a:avLst/>
                  <a:gdLst>
                    <a:gd name="connsiteX0" fmla="*/ 53279 w 59724"/>
                    <a:gd name="connsiteY0" fmla="*/ 150695 h 150694"/>
                    <a:gd name="connsiteX1" fmla="*/ 47183 w 59724"/>
                    <a:gd name="connsiteY1" fmla="*/ 146317 h 150694"/>
                    <a:gd name="connsiteX2" fmla="*/ 350 w 59724"/>
                    <a:gd name="connsiteY2" fmla="*/ 8503 h 150694"/>
                    <a:gd name="connsiteX3" fmla="*/ 4378 w 59724"/>
                    <a:gd name="connsiteY3" fmla="*/ 339 h 150694"/>
                    <a:gd name="connsiteX4" fmla="*/ 12541 w 59724"/>
                    <a:gd name="connsiteY4" fmla="*/ 4367 h 150694"/>
                    <a:gd name="connsiteX5" fmla="*/ 59375 w 59724"/>
                    <a:gd name="connsiteY5" fmla="*/ 142182 h 150694"/>
                    <a:gd name="connsiteX6" fmla="*/ 55347 w 59724"/>
                    <a:gd name="connsiteY6" fmla="*/ 150346 h 150694"/>
                    <a:gd name="connsiteX7" fmla="*/ 53279 w 59724"/>
                    <a:gd name="connsiteY7" fmla="*/ 150695 h 15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24" h="150694">
                      <a:moveTo>
                        <a:pt x="53279" y="150695"/>
                      </a:moveTo>
                      <a:cubicBezTo>
                        <a:pt x="50593" y="150695"/>
                        <a:pt x="48096" y="149003"/>
                        <a:pt x="47183" y="146317"/>
                      </a:cubicBezTo>
                      <a:lnTo>
                        <a:pt x="350" y="8503"/>
                      </a:lnTo>
                      <a:cubicBezTo>
                        <a:pt x="-805" y="5146"/>
                        <a:pt x="994" y="1494"/>
                        <a:pt x="4378" y="339"/>
                      </a:cubicBezTo>
                      <a:cubicBezTo>
                        <a:pt x="7734" y="-789"/>
                        <a:pt x="11387" y="984"/>
                        <a:pt x="12541" y="4367"/>
                      </a:cubicBezTo>
                      <a:lnTo>
                        <a:pt x="59375" y="142182"/>
                      </a:lnTo>
                      <a:cubicBezTo>
                        <a:pt x="60529" y="145539"/>
                        <a:pt x="58730" y="149191"/>
                        <a:pt x="55347" y="150346"/>
                      </a:cubicBezTo>
                      <a:cubicBezTo>
                        <a:pt x="54675" y="150587"/>
                        <a:pt x="53977" y="150695"/>
                        <a:pt x="53279" y="150695"/>
                      </a:cubicBezTo>
                      <a:close/>
                    </a:path>
                  </a:pathLst>
                </a:custGeom>
                <a:grpFill/>
                <a:ln w="2681" cap="flat">
                  <a:noFill/>
                  <a:prstDash val="solid"/>
                  <a:miter/>
                </a:ln>
              </p:spPr>
              <p:txBody>
                <a:bodyPr rtlCol="0" anchor="ctr"/>
                <a:lstStyle/>
                <a:p>
                  <a:endParaRPr lang="en-GB" dirty="0"/>
                </a:p>
              </p:txBody>
            </p:sp>
          </p:grpSp>
          <p:grpSp>
            <p:nvGrpSpPr>
              <p:cNvPr id="51" name="Grafik 294">
                <a:extLst>
                  <a:ext uri="{FF2B5EF4-FFF2-40B4-BE49-F238E27FC236}">
                    <a16:creationId xmlns:a16="http://schemas.microsoft.com/office/drawing/2014/main" id="{546B9C4C-8726-44FD-BFE6-D1F0D3EEAF49}"/>
                  </a:ext>
                </a:extLst>
              </p:cNvPr>
              <p:cNvGrpSpPr/>
              <p:nvPr/>
            </p:nvGrpSpPr>
            <p:grpSpPr>
              <a:xfrm>
                <a:off x="845115" y="1700791"/>
                <a:ext cx="194284" cy="343868"/>
                <a:chOff x="845115" y="1700791"/>
                <a:chExt cx="194284" cy="343868"/>
              </a:xfrm>
              <a:grpFill/>
            </p:grpSpPr>
            <p:sp>
              <p:nvSpPr>
                <p:cNvPr id="52" name="Freihandform: Form 18">
                  <a:extLst>
                    <a:ext uri="{FF2B5EF4-FFF2-40B4-BE49-F238E27FC236}">
                      <a16:creationId xmlns:a16="http://schemas.microsoft.com/office/drawing/2014/main" id="{2637799A-F4A0-4E20-9100-ADF2D1A26CC0}"/>
                    </a:ext>
                  </a:extLst>
                </p:cNvPr>
                <p:cNvSpPr/>
                <p:nvPr/>
              </p:nvSpPr>
              <p:spPr>
                <a:xfrm>
                  <a:off x="845115" y="1700791"/>
                  <a:ext cx="181645" cy="204818"/>
                </a:xfrm>
                <a:custGeom>
                  <a:avLst/>
                  <a:gdLst>
                    <a:gd name="connsiteX0" fmla="*/ 90950 w 181645"/>
                    <a:gd name="connsiteY0" fmla="*/ 204818 h 204818"/>
                    <a:gd name="connsiteX1" fmla="*/ 3836 w 181645"/>
                    <a:gd name="connsiteY1" fmla="*/ 187739 h 204818"/>
                    <a:gd name="connsiteX2" fmla="*/ 9905 w 181645"/>
                    <a:gd name="connsiteY2" fmla="*/ 143645 h 204818"/>
                    <a:gd name="connsiteX3" fmla="*/ 35658 w 181645"/>
                    <a:gd name="connsiteY3" fmla="*/ 66359 h 204818"/>
                    <a:gd name="connsiteX4" fmla="*/ 41055 w 181645"/>
                    <a:gd name="connsiteY4" fmla="*/ 34832 h 204818"/>
                    <a:gd name="connsiteX5" fmla="*/ 97502 w 181645"/>
                    <a:gd name="connsiteY5" fmla="*/ 3 h 204818"/>
                    <a:gd name="connsiteX6" fmla="*/ 153708 w 181645"/>
                    <a:gd name="connsiteY6" fmla="*/ 34779 h 204818"/>
                    <a:gd name="connsiteX7" fmla="*/ 159535 w 181645"/>
                    <a:gd name="connsiteY7" fmla="*/ 67863 h 204818"/>
                    <a:gd name="connsiteX8" fmla="*/ 168961 w 181645"/>
                    <a:gd name="connsiteY8" fmla="*/ 113165 h 204818"/>
                    <a:gd name="connsiteX9" fmla="*/ 164906 w 181645"/>
                    <a:gd name="connsiteY9" fmla="*/ 121302 h 204818"/>
                    <a:gd name="connsiteX10" fmla="*/ 156769 w 181645"/>
                    <a:gd name="connsiteY10" fmla="*/ 117247 h 204818"/>
                    <a:gd name="connsiteX11" fmla="*/ 146806 w 181645"/>
                    <a:gd name="connsiteY11" fmla="*/ 69769 h 204818"/>
                    <a:gd name="connsiteX12" fmla="*/ 141167 w 181645"/>
                    <a:gd name="connsiteY12" fmla="*/ 37625 h 204818"/>
                    <a:gd name="connsiteX13" fmla="*/ 97556 w 181645"/>
                    <a:gd name="connsiteY13" fmla="*/ 12866 h 204818"/>
                    <a:gd name="connsiteX14" fmla="*/ 53650 w 181645"/>
                    <a:gd name="connsiteY14" fmla="*/ 37545 h 204818"/>
                    <a:gd name="connsiteX15" fmla="*/ 48413 w 181645"/>
                    <a:gd name="connsiteY15" fmla="*/ 68239 h 204818"/>
                    <a:gd name="connsiteX16" fmla="*/ 20163 w 181645"/>
                    <a:gd name="connsiteY16" fmla="*/ 151459 h 204818"/>
                    <a:gd name="connsiteX17" fmla="*/ 14765 w 181645"/>
                    <a:gd name="connsiteY17" fmla="*/ 180891 h 204818"/>
                    <a:gd name="connsiteX18" fmla="*/ 97126 w 181645"/>
                    <a:gd name="connsiteY18" fmla="*/ 191928 h 204818"/>
                    <a:gd name="connsiteX19" fmla="*/ 172747 w 181645"/>
                    <a:gd name="connsiteY19" fmla="*/ 184919 h 204818"/>
                    <a:gd name="connsiteX20" fmla="*/ 181153 w 181645"/>
                    <a:gd name="connsiteY20" fmla="*/ 188410 h 204818"/>
                    <a:gd name="connsiteX21" fmla="*/ 177662 w 181645"/>
                    <a:gd name="connsiteY21" fmla="*/ 196816 h 204818"/>
                    <a:gd name="connsiteX22" fmla="*/ 97234 w 181645"/>
                    <a:gd name="connsiteY22" fmla="*/ 204818 h 204818"/>
                    <a:gd name="connsiteX23" fmla="*/ 90950 w 181645"/>
                    <a:gd name="connsiteY23" fmla="*/ 204818 h 20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1645" h="204818">
                      <a:moveTo>
                        <a:pt x="90950" y="204818"/>
                      </a:moveTo>
                      <a:cubicBezTo>
                        <a:pt x="54724" y="204818"/>
                        <a:pt x="12617" y="201676"/>
                        <a:pt x="3836" y="187739"/>
                      </a:cubicBezTo>
                      <a:cubicBezTo>
                        <a:pt x="-5697" y="172620"/>
                        <a:pt x="4937" y="150117"/>
                        <a:pt x="9905" y="143645"/>
                      </a:cubicBezTo>
                      <a:cubicBezTo>
                        <a:pt x="27628" y="120443"/>
                        <a:pt x="31522" y="94180"/>
                        <a:pt x="35658" y="66359"/>
                      </a:cubicBezTo>
                      <a:cubicBezTo>
                        <a:pt x="37188" y="56101"/>
                        <a:pt x="38746" y="45493"/>
                        <a:pt x="41055" y="34832"/>
                      </a:cubicBezTo>
                      <a:cubicBezTo>
                        <a:pt x="48682" y="-427"/>
                        <a:pt x="95542" y="-24"/>
                        <a:pt x="97502" y="3"/>
                      </a:cubicBezTo>
                      <a:cubicBezTo>
                        <a:pt x="99194" y="30"/>
                        <a:pt x="145652" y="-669"/>
                        <a:pt x="153708" y="34779"/>
                      </a:cubicBezTo>
                      <a:cubicBezTo>
                        <a:pt x="156259" y="45977"/>
                        <a:pt x="157924" y="57094"/>
                        <a:pt x="159535" y="67863"/>
                      </a:cubicBezTo>
                      <a:cubicBezTo>
                        <a:pt x="161898" y="83760"/>
                        <a:pt x="164154" y="98799"/>
                        <a:pt x="168961" y="113165"/>
                      </a:cubicBezTo>
                      <a:cubicBezTo>
                        <a:pt x="170089" y="116522"/>
                        <a:pt x="168263" y="120174"/>
                        <a:pt x="164906" y="121302"/>
                      </a:cubicBezTo>
                      <a:cubicBezTo>
                        <a:pt x="161522" y="122430"/>
                        <a:pt x="157870" y="120604"/>
                        <a:pt x="156769" y="117247"/>
                      </a:cubicBezTo>
                      <a:cubicBezTo>
                        <a:pt x="151613" y="101806"/>
                        <a:pt x="149170" y="85506"/>
                        <a:pt x="146806" y="69769"/>
                      </a:cubicBezTo>
                      <a:cubicBezTo>
                        <a:pt x="145222" y="59243"/>
                        <a:pt x="143611" y="48340"/>
                        <a:pt x="141167" y="37625"/>
                      </a:cubicBezTo>
                      <a:cubicBezTo>
                        <a:pt x="135420" y="12356"/>
                        <a:pt x="97932" y="12893"/>
                        <a:pt x="97556" y="12866"/>
                      </a:cubicBezTo>
                      <a:cubicBezTo>
                        <a:pt x="96992" y="12866"/>
                        <a:pt x="59048" y="12624"/>
                        <a:pt x="53650" y="37545"/>
                      </a:cubicBezTo>
                      <a:cubicBezTo>
                        <a:pt x="51421" y="47803"/>
                        <a:pt x="49890" y="58195"/>
                        <a:pt x="48413" y="68239"/>
                      </a:cubicBezTo>
                      <a:cubicBezTo>
                        <a:pt x="44224" y="96462"/>
                        <a:pt x="39927" y="125626"/>
                        <a:pt x="20163" y="151459"/>
                      </a:cubicBezTo>
                      <a:cubicBezTo>
                        <a:pt x="16350" y="156454"/>
                        <a:pt x="9744" y="172942"/>
                        <a:pt x="14765" y="180891"/>
                      </a:cubicBezTo>
                      <a:cubicBezTo>
                        <a:pt x="17746" y="185618"/>
                        <a:pt x="42183" y="192385"/>
                        <a:pt x="97126" y="191928"/>
                      </a:cubicBezTo>
                      <a:cubicBezTo>
                        <a:pt x="122477" y="191687"/>
                        <a:pt x="157172" y="191337"/>
                        <a:pt x="172747" y="184919"/>
                      </a:cubicBezTo>
                      <a:cubicBezTo>
                        <a:pt x="176050" y="183550"/>
                        <a:pt x="179810" y="185134"/>
                        <a:pt x="181153" y="188410"/>
                      </a:cubicBezTo>
                      <a:cubicBezTo>
                        <a:pt x="182522" y="191687"/>
                        <a:pt x="180938" y="195473"/>
                        <a:pt x="177662" y="196816"/>
                      </a:cubicBezTo>
                      <a:cubicBezTo>
                        <a:pt x="159777" y="204200"/>
                        <a:pt x="125108" y="204550"/>
                        <a:pt x="97234" y="204818"/>
                      </a:cubicBezTo>
                      <a:cubicBezTo>
                        <a:pt x="95166" y="204818"/>
                        <a:pt x="93045" y="204818"/>
                        <a:pt x="90950" y="204818"/>
                      </a:cubicBezTo>
                      <a:close/>
                    </a:path>
                  </a:pathLst>
                </a:custGeom>
                <a:grpFill/>
                <a:ln w="2681" cap="flat">
                  <a:noFill/>
                  <a:prstDash val="solid"/>
                  <a:miter/>
                </a:ln>
              </p:spPr>
              <p:txBody>
                <a:bodyPr rtlCol="0" anchor="ctr"/>
                <a:lstStyle/>
                <a:p>
                  <a:endParaRPr lang="en-GB" dirty="0"/>
                </a:p>
              </p:txBody>
            </p:sp>
            <p:sp>
              <p:nvSpPr>
                <p:cNvPr id="53" name="Freihandform: Form 19">
                  <a:extLst>
                    <a:ext uri="{FF2B5EF4-FFF2-40B4-BE49-F238E27FC236}">
                      <a16:creationId xmlns:a16="http://schemas.microsoft.com/office/drawing/2014/main" id="{13751E8A-B31E-453D-AC6D-8E2039DE5F3B}"/>
                    </a:ext>
                  </a:extLst>
                </p:cNvPr>
                <p:cNvSpPr/>
                <p:nvPr/>
              </p:nvSpPr>
              <p:spPr>
                <a:xfrm>
                  <a:off x="885988" y="1856934"/>
                  <a:ext cx="112956" cy="19458"/>
                </a:xfrm>
                <a:custGeom>
                  <a:avLst/>
                  <a:gdLst>
                    <a:gd name="connsiteX0" fmla="*/ 54427 w 112956"/>
                    <a:gd name="connsiteY0" fmla="*/ 19458 h 19458"/>
                    <a:gd name="connsiteX1" fmla="*/ 4909 w 112956"/>
                    <a:gd name="connsiteY1" fmla="*/ 14302 h 19458"/>
                    <a:gd name="connsiteX2" fmla="*/ 182 w 112956"/>
                    <a:gd name="connsiteY2" fmla="*/ 6542 h 19458"/>
                    <a:gd name="connsiteX3" fmla="*/ 7943 w 112956"/>
                    <a:gd name="connsiteY3" fmla="*/ 1788 h 19458"/>
                    <a:gd name="connsiteX4" fmla="*/ 104832 w 112956"/>
                    <a:gd name="connsiteY4" fmla="*/ 231 h 19458"/>
                    <a:gd name="connsiteX5" fmla="*/ 112727 w 112956"/>
                    <a:gd name="connsiteY5" fmla="*/ 4742 h 19458"/>
                    <a:gd name="connsiteX6" fmla="*/ 108216 w 112956"/>
                    <a:gd name="connsiteY6" fmla="*/ 12637 h 19458"/>
                    <a:gd name="connsiteX7" fmla="*/ 54427 w 112956"/>
                    <a:gd name="connsiteY7" fmla="*/ 19458 h 1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956" h="19458">
                      <a:moveTo>
                        <a:pt x="54427" y="19458"/>
                      </a:moveTo>
                      <a:cubicBezTo>
                        <a:pt x="26660" y="19458"/>
                        <a:pt x="6224" y="14625"/>
                        <a:pt x="4909" y="14302"/>
                      </a:cubicBezTo>
                      <a:cubicBezTo>
                        <a:pt x="1444" y="13470"/>
                        <a:pt x="-650" y="9979"/>
                        <a:pt x="182" y="6542"/>
                      </a:cubicBezTo>
                      <a:cubicBezTo>
                        <a:pt x="1015" y="3077"/>
                        <a:pt x="4506" y="983"/>
                        <a:pt x="7943" y="1788"/>
                      </a:cubicBezTo>
                      <a:cubicBezTo>
                        <a:pt x="8426" y="1896"/>
                        <a:pt x="56871" y="13336"/>
                        <a:pt x="104832" y="231"/>
                      </a:cubicBezTo>
                      <a:cubicBezTo>
                        <a:pt x="108243" y="-709"/>
                        <a:pt x="111814" y="1305"/>
                        <a:pt x="112727" y="4742"/>
                      </a:cubicBezTo>
                      <a:cubicBezTo>
                        <a:pt x="113667" y="8180"/>
                        <a:pt x="111626" y="11724"/>
                        <a:pt x="108216" y="12637"/>
                      </a:cubicBezTo>
                      <a:cubicBezTo>
                        <a:pt x="89338" y="17793"/>
                        <a:pt x="70647" y="19458"/>
                        <a:pt x="54427" y="19458"/>
                      </a:cubicBezTo>
                      <a:close/>
                    </a:path>
                  </a:pathLst>
                </a:custGeom>
                <a:grpFill/>
                <a:ln w="2681" cap="flat">
                  <a:noFill/>
                  <a:prstDash val="solid"/>
                  <a:miter/>
                </a:ln>
              </p:spPr>
              <p:txBody>
                <a:bodyPr rtlCol="0" anchor="ctr"/>
                <a:lstStyle/>
                <a:p>
                  <a:endParaRPr lang="en-GB" dirty="0"/>
                </a:p>
              </p:txBody>
            </p:sp>
            <p:grpSp>
              <p:nvGrpSpPr>
                <p:cNvPr id="54" name="Grafik 294">
                  <a:extLst>
                    <a:ext uri="{FF2B5EF4-FFF2-40B4-BE49-F238E27FC236}">
                      <a16:creationId xmlns:a16="http://schemas.microsoft.com/office/drawing/2014/main" id="{51865AE6-7200-466F-AEEC-C5AA42FCEB9A}"/>
                    </a:ext>
                  </a:extLst>
                </p:cNvPr>
                <p:cNvGrpSpPr/>
                <p:nvPr/>
              </p:nvGrpSpPr>
              <p:grpSpPr>
                <a:xfrm>
                  <a:off x="869608" y="1904884"/>
                  <a:ext cx="153939" cy="93908"/>
                  <a:chOff x="869608" y="1904884"/>
                  <a:chExt cx="153939" cy="93908"/>
                </a:xfrm>
                <a:grpFill/>
              </p:grpSpPr>
              <p:sp>
                <p:nvSpPr>
                  <p:cNvPr id="57" name="Freihandform: Form 21">
                    <a:extLst>
                      <a:ext uri="{FF2B5EF4-FFF2-40B4-BE49-F238E27FC236}">
                        <a16:creationId xmlns:a16="http://schemas.microsoft.com/office/drawing/2014/main" id="{48968E31-EE0A-48D0-9768-6D66302A7D85}"/>
                      </a:ext>
                    </a:extLst>
                  </p:cNvPr>
                  <p:cNvSpPr/>
                  <p:nvPr/>
                </p:nvSpPr>
                <p:spPr>
                  <a:xfrm>
                    <a:off x="896946" y="1906107"/>
                    <a:ext cx="126602" cy="92148"/>
                  </a:xfrm>
                  <a:custGeom>
                    <a:avLst/>
                    <a:gdLst>
                      <a:gd name="connsiteX0" fmla="*/ 120165 w 126602"/>
                      <a:gd name="connsiteY0" fmla="*/ 92149 h 92148"/>
                      <a:gd name="connsiteX1" fmla="*/ 116486 w 126602"/>
                      <a:gd name="connsiteY1" fmla="*/ 90994 h 92148"/>
                      <a:gd name="connsiteX2" fmla="*/ 2759 w 126602"/>
                      <a:gd name="connsiteY2" fmla="*/ 11721 h 92148"/>
                      <a:gd name="connsiteX3" fmla="*/ 1148 w 126602"/>
                      <a:gd name="connsiteY3" fmla="*/ 2752 h 92148"/>
                      <a:gd name="connsiteX4" fmla="*/ 10117 w 126602"/>
                      <a:gd name="connsiteY4" fmla="*/ 1140 h 92148"/>
                      <a:gd name="connsiteX5" fmla="*/ 123844 w 126602"/>
                      <a:gd name="connsiteY5" fmla="*/ 80413 h 92148"/>
                      <a:gd name="connsiteX6" fmla="*/ 125455 w 126602"/>
                      <a:gd name="connsiteY6" fmla="*/ 89383 h 92148"/>
                      <a:gd name="connsiteX7" fmla="*/ 120165 w 126602"/>
                      <a:gd name="connsiteY7" fmla="*/ 92149 h 92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602" h="92148">
                        <a:moveTo>
                          <a:pt x="120165" y="92149"/>
                        </a:moveTo>
                        <a:cubicBezTo>
                          <a:pt x="118903" y="92149"/>
                          <a:pt x="117614" y="91773"/>
                          <a:pt x="116486" y="90994"/>
                        </a:cubicBezTo>
                        <a:lnTo>
                          <a:pt x="2759" y="11721"/>
                        </a:lnTo>
                        <a:cubicBezTo>
                          <a:pt x="-168" y="9680"/>
                          <a:pt x="-866" y="5679"/>
                          <a:pt x="1148" y="2752"/>
                        </a:cubicBezTo>
                        <a:cubicBezTo>
                          <a:pt x="3189" y="-149"/>
                          <a:pt x="7190" y="-874"/>
                          <a:pt x="10117" y="1140"/>
                        </a:cubicBezTo>
                        <a:lnTo>
                          <a:pt x="123844" y="80413"/>
                        </a:lnTo>
                        <a:cubicBezTo>
                          <a:pt x="126771" y="82454"/>
                          <a:pt x="127469" y="86456"/>
                          <a:pt x="125455" y="89383"/>
                        </a:cubicBezTo>
                        <a:cubicBezTo>
                          <a:pt x="124193" y="91182"/>
                          <a:pt x="122206" y="92149"/>
                          <a:pt x="120165" y="92149"/>
                        </a:cubicBezTo>
                        <a:close/>
                      </a:path>
                    </a:pathLst>
                  </a:custGeom>
                  <a:grpFill/>
                  <a:ln w="2681" cap="flat">
                    <a:noFill/>
                    <a:prstDash val="solid"/>
                    <a:miter/>
                  </a:ln>
                </p:spPr>
                <p:txBody>
                  <a:bodyPr rtlCol="0" anchor="ctr"/>
                  <a:lstStyle/>
                  <a:p>
                    <a:endParaRPr lang="en-GB" dirty="0"/>
                  </a:p>
                </p:txBody>
              </p:sp>
              <p:sp>
                <p:nvSpPr>
                  <p:cNvPr id="58" name="Freihandform: Form 22">
                    <a:extLst>
                      <a:ext uri="{FF2B5EF4-FFF2-40B4-BE49-F238E27FC236}">
                        <a16:creationId xmlns:a16="http://schemas.microsoft.com/office/drawing/2014/main" id="{DD402C21-6074-42E4-8B33-7EB82E1A013E}"/>
                      </a:ext>
                    </a:extLst>
                  </p:cNvPr>
                  <p:cNvSpPr/>
                  <p:nvPr/>
                </p:nvSpPr>
                <p:spPr>
                  <a:xfrm>
                    <a:off x="869608" y="1904884"/>
                    <a:ext cx="125931" cy="93908"/>
                  </a:xfrm>
                  <a:custGeom>
                    <a:avLst/>
                    <a:gdLst>
                      <a:gd name="connsiteX0" fmla="*/ 6438 w 125931"/>
                      <a:gd name="connsiteY0" fmla="*/ 93909 h 93908"/>
                      <a:gd name="connsiteX1" fmla="*/ 1201 w 125931"/>
                      <a:gd name="connsiteY1" fmla="*/ 91223 h 93908"/>
                      <a:gd name="connsiteX2" fmla="*/ 2678 w 125931"/>
                      <a:gd name="connsiteY2" fmla="*/ 82227 h 93908"/>
                      <a:gd name="connsiteX3" fmla="*/ 115734 w 125931"/>
                      <a:gd name="connsiteY3" fmla="*/ 1209 h 93908"/>
                      <a:gd name="connsiteX4" fmla="*/ 124730 w 125931"/>
                      <a:gd name="connsiteY4" fmla="*/ 2686 h 93908"/>
                      <a:gd name="connsiteX5" fmla="*/ 123253 w 125931"/>
                      <a:gd name="connsiteY5" fmla="*/ 11682 h 93908"/>
                      <a:gd name="connsiteX6" fmla="*/ 10197 w 125931"/>
                      <a:gd name="connsiteY6" fmla="*/ 92700 h 93908"/>
                      <a:gd name="connsiteX7" fmla="*/ 6438 w 125931"/>
                      <a:gd name="connsiteY7" fmla="*/ 93909 h 93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5931" h="93908">
                        <a:moveTo>
                          <a:pt x="6438" y="93909"/>
                        </a:moveTo>
                        <a:cubicBezTo>
                          <a:pt x="4424" y="93909"/>
                          <a:pt x="2463" y="92969"/>
                          <a:pt x="1201" y="91223"/>
                        </a:cubicBezTo>
                        <a:cubicBezTo>
                          <a:pt x="-866" y="88323"/>
                          <a:pt x="-195" y="84322"/>
                          <a:pt x="2678" y="82227"/>
                        </a:cubicBezTo>
                        <a:lnTo>
                          <a:pt x="115734" y="1209"/>
                        </a:lnTo>
                        <a:cubicBezTo>
                          <a:pt x="118607" y="-859"/>
                          <a:pt x="122635" y="-214"/>
                          <a:pt x="124730" y="2686"/>
                        </a:cubicBezTo>
                        <a:cubicBezTo>
                          <a:pt x="126797" y="5586"/>
                          <a:pt x="126126" y="9587"/>
                          <a:pt x="123253" y="11682"/>
                        </a:cubicBezTo>
                        <a:lnTo>
                          <a:pt x="10197" y="92700"/>
                        </a:lnTo>
                        <a:cubicBezTo>
                          <a:pt x="9043" y="93533"/>
                          <a:pt x="7727" y="93909"/>
                          <a:pt x="6438" y="93909"/>
                        </a:cubicBezTo>
                        <a:close/>
                      </a:path>
                    </a:pathLst>
                  </a:custGeom>
                  <a:grpFill/>
                  <a:ln w="2681" cap="flat">
                    <a:noFill/>
                    <a:prstDash val="solid"/>
                    <a:miter/>
                  </a:ln>
                </p:spPr>
                <p:txBody>
                  <a:bodyPr rtlCol="0" anchor="ctr"/>
                  <a:lstStyle/>
                  <a:p>
                    <a:endParaRPr lang="en-GB" dirty="0"/>
                  </a:p>
                </p:txBody>
              </p:sp>
            </p:grpSp>
            <p:sp>
              <p:nvSpPr>
                <p:cNvPr id="55" name="Freihandform: Form 23">
                  <a:extLst>
                    <a:ext uri="{FF2B5EF4-FFF2-40B4-BE49-F238E27FC236}">
                      <a16:creationId xmlns:a16="http://schemas.microsoft.com/office/drawing/2014/main" id="{5675824E-7771-4550-953D-8B631B5EAA9D}"/>
                    </a:ext>
                  </a:extLst>
                </p:cNvPr>
                <p:cNvSpPr/>
                <p:nvPr/>
              </p:nvSpPr>
              <p:spPr>
                <a:xfrm>
                  <a:off x="853099" y="1893994"/>
                  <a:ext cx="59590" cy="150316"/>
                </a:xfrm>
                <a:custGeom>
                  <a:avLst/>
                  <a:gdLst>
                    <a:gd name="connsiteX0" fmla="*/ 6432 w 59590"/>
                    <a:gd name="connsiteY0" fmla="*/ 150316 h 150316"/>
                    <a:gd name="connsiteX1" fmla="*/ 4365 w 59590"/>
                    <a:gd name="connsiteY1" fmla="*/ 149967 h 150316"/>
                    <a:gd name="connsiteX2" fmla="*/ 336 w 59590"/>
                    <a:gd name="connsiteY2" fmla="*/ 141803 h 150316"/>
                    <a:gd name="connsiteX3" fmla="*/ 47062 w 59590"/>
                    <a:gd name="connsiteY3" fmla="*/ 4365 h 150316"/>
                    <a:gd name="connsiteX4" fmla="*/ 55226 w 59590"/>
                    <a:gd name="connsiteY4" fmla="*/ 336 h 150316"/>
                    <a:gd name="connsiteX5" fmla="*/ 59254 w 59590"/>
                    <a:gd name="connsiteY5" fmla="*/ 8500 h 150316"/>
                    <a:gd name="connsiteX6" fmla="*/ 12528 w 59590"/>
                    <a:gd name="connsiteY6" fmla="*/ 145939 h 150316"/>
                    <a:gd name="connsiteX7" fmla="*/ 6432 w 59590"/>
                    <a:gd name="connsiteY7" fmla="*/ 150316 h 15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90" h="150316">
                      <a:moveTo>
                        <a:pt x="6432" y="150316"/>
                      </a:moveTo>
                      <a:cubicBezTo>
                        <a:pt x="5734" y="150316"/>
                        <a:pt x="5036" y="150209"/>
                        <a:pt x="4365" y="149967"/>
                      </a:cubicBezTo>
                      <a:cubicBezTo>
                        <a:pt x="1008" y="148812"/>
                        <a:pt x="-791" y="145160"/>
                        <a:pt x="336" y="141803"/>
                      </a:cubicBezTo>
                      <a:lnTo>
                        <a:pt x="47062" y="4365"/>
                      </a:lnTo>
                      <a:cubicBezTo>
                        <a:pt x="48217" y="1008"/>
                        <a:pt x="51869" y="-791"/>
                        <a:pt x="55226" y="336"/>
                      </a:cubicBezTo>
                      <a:cubicBezTo>
                        <a:pt x="58583" y="1491"/>
                        <a:pt x="60382" y="5143"/>
                        <a:pt x="59254" y="8500"/>
                      </a:cubicBezTo>
                      <a:lnTo>
                        <a:pt x="12528" y="145939"/>
                      </a:lnTo>
                      <a:cubicBezTo>
                        <a:pt x="11615" y="148624"/>
                        <a:pt x="9118" y="150316"/>
                        <a:pt x="6432" y="150316"/>
                      </a:cubicBezTo>
                      <a:close/>
                    </a:path>
                  </a:pathLst>
                </a:custGeom>
                <a:grpFill/>
                <a:ln w="2681" cap="flat">
                  <a:noFill/>
                  <a:prstDash val="solid"/>
                  <a:miter/>
                </a:ln>
              </p:spPr>
              <p:txBody>
                <a:bodyPr rtlCol="0" anchor="ctr"/>
                <a:lstStyle/>
                <a:p>
                  <a:endParaRPr lang="en-GB" dirty="0"/>
                </a:p>
              </p:txBody>
            </p:sp>
            <p:sp>
              <p:nvSpPr>
                <p:cNvPr id="56" name="Freihandform: Form 24">
                  <a:extLst>
                    <a:ext uri="{FF2B5EF4-FFF2-40B4-BE49-F238E27FC236}">
                      <a16:creationId xmlns:a16="http://schemas.microsoft.com/office/drawing/2014/main" id="{2BFC2138-2A6D-41D5-823F-D88D39416803}"/>
                    </a:ext>
                  </a:extLst>
                </p:cNvPr>
                <p:cNvSpPr/>
                <p:nvPr/>
              </p:nvSpPr>
              <p:spPr>
                <a:xfrm>
                  <a:off x="979675" y="1893965"/>
                  <a:ext cx="59724" cy="150694"/>
                </a:xfrm>
                <a:custGeom>
                  <a:avLst/>
                  <a:gdLst>
                    <a:gd name="connsiteX0" fmla="*/ 53279 w 59724"/>
                    <a:gd name="connsiteY0" fmla="*/ 150695 h 150694"/>
                    <a:gd name="connsiteX1" fmla="*/ 47183 w 59724"/>
                    <a:gd name="connsiteY1" fmla="*/ 146317 h 150694"/>
                    <a:gd name="connsiteX2" fmla="*/ 350 w 59724"/>
                    <a:gd name="connsiteY2" fmla="*/ 8503 h 150694"/>
                    <a:gd name="connsiteX3" fmla="*/ 4378 w 59724"/>
                    <a:gd name="connsiteY3" fmla="*/ 339 h 150694"/>
                    <a:gd name="connsiteX4" fmla="*/ 12541 w 59724"/>
                    <a:gd name="connsiteY4" fmla="*/ 4367 h 150694"/>
                    <a:gd name="connsiteX5" fmla="*/ 59375 w 59724"/>
                    <a:gd name="connsiteY5" fmla="*/ 142182 h 150694"/>
                    <a:gd name="connsiteX6" fmla="*/ 55347 w 59724"/>
                    <a:gd name="connsiteY6" fmla="*/ 150346 h 150694"/>
                    <a:gd name="connsiteX7" fmla="*/ 53279 w 59724"/>
                    <a:gd name="connsiteY7" fmla="*/ 150695 h 150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24" h="150694">
                      <a:moveTo>
                        <a:pt x="53279" y="150695"/>
                      </a:moveTo>
                      <a:cubicBezTo>
                        <a:pt x="50593" y="150695"/>
                        <a:pt x="48096" y="149003"/>
                        <a:pt x="47183" y="146317"/>
                      </a:cubicBezTo>
                      <a:lnTo>
                        <a:pt x="350" y="8503"/>
                      </a:lnTo>
                      <a:cubicBezTo>
                        <a:pt x="-805" y="5146"/>
                        <a:pt x="994" y="1494"/>
                        <a:pt x="4378" y="339"/>
                      </a:cubicBezTo>
                      <a:cubicBezTo>
                        <a:pt x="7734" y="-789"/>
                        <a:pt x="11387" y="984"/>
                        <a:pt x="12541" y="4367"/>
                      </a:cubicBezTo>
                      <a:lnTo>
                        <a:pt x="59375" y="142182"/>
                      </a:lnTo>
                      <a:cubicBezTo>
                        <a:pt x="60529" y="145539"/>
                        <a:pt x="58730" y="149191"/>
                        <a:pt x="55347" y="150346"/>
                      </a:cubicBezTo>
                      <a:cubicBezTo>
                        <a:pt x="54648" y="150587"/>
                        <a:pt x="53950" y="150695"/>
                        <a:pt x="53279" y="150695"/>
                      </a:cubicBezTo>
                      <a:close/>
                    </a:path>
                  </a:pathLst>
                </a:custGeom>
                <a:grpFill/>
                <a:ln w="2681" cap="flat">
                  <a:noFill/>
                  <a:prstDash val="solid"/>
                  <a:miter/>
                </a:ln>
              </p:spPr>
              <p:txBody>
                <a:bodyPr rtlCol="0" anchor="ctr"/>
                <a:lstStyle/>
                <a:p>
                  <a:endParaRPr lang="en-GB" dirty="0"/>
                </a:p>
              </p:txBody>
            </p:sp>
          </p:grpSp>
        </p:grpSp>
        <p:grpSp>
          <p:nvGrpSpPr>
            <p:cNvPr id="40" name="Grafik 294">
              <a:extLst>
                <a:ext uri="{FF2B5EF4-FFF2-40B4-BE49-F238E27FC236}">
                  <a16:creationId xmlns:a16="http://schemas.microsoft.com/office/drawing/2014/main" id="{609386B7-DF97-4AA8-BED2-6D8F81DAD1F1}"/>
                </a:ext>
              </a:extLst>
            </p:cNvPr>
            <p:cNvGrpSpPr/>
            <p:nvPr/>
          </p:nvGrpSpPr>
          <p:grpSpPr>
            <a:xfrm>
              <a:off x="664533" y="1585984"/>
              <a:ext cx="261135" cy="432000"/>
              <a:chOff x="1015553" y="1685487"/>
              <a:chExt cx="237013" cy="392095"/>
            </a:xfrm>
            <a:solidFill>
              <a:schemeClr val="accent1"/>
            </a:solidFill>
          </p:grpSpPr>
          <p:grpSp>
            <p:nvGrpSpPr>
              <p:cNvPr id="41" name="Grafik 294">
                <a:extLst>
                  <a:ext uri="{FF2B5EF4-FFF2-40B4-BE49-F238E27FC236}">
                    <a16:creationId xmlns:a16="http://schemas.microsoft.com/office/drawing/2014/main" id="{8725E7AE-4EC2-4517-95D3-C7B304B54491}"/>
                  </a:ext>
                </a:extLst>
              </p:cNvPr>
              <p:cNvGrpSpPr/>
              <p:nvPr/>
            </p:nvGrpSpPr>
            <p:grpSpPr>
              <a:xfrm>
                <a:off x="1015553" y="1685487"/>
                <a:ext cx="237013" cy="392095"/>
                <a:chOff x="1015553" y="1685487"/>
                <a:chExt cx="237013" cy="392095"/>
              </a:xfrm>
              <a:solidFill>
                <a:schemeClr val="accent1"/>
              </a:solidFill>
            </p:grpSpPr>
            <p:sp>
              <p:nvSpPr>
                <p:cNvPr id="43" name="Freihandform: Form 27">
                  <a:extLst>
                    <a:ext uri="{FF2B5EF4-FFF2-40B4-BE49-F238E27FC236}">
                      <a16:creationId xmlns:a16="http://schemas.microsoft.com/office/drawing/2014/main" id="{5B48047D-9EAB-4274-B2B9-77EAB92C2320}"/>
                    </a:ext>
                  </a:extLst>
                </p:cNvPr>
                <p:cNvSpPr/>
                <p:nvPr/>
              </p:nvSpPr>
              <p:spPr>
                <a:xfrm>
                  <a:off x="1036687" y="1685487"/>
                  <a:ext cx="194637" cy="157820"/>
                </a:xfrm>
                <a:custGeom>
                  <a:avLst/>
                  <a:gdLst>
                    <a:gd name="connsiteX0" fmla="*/ 188246 w 194637"/>
                    <a:gd name="connsiteY0" fmla="*/ 157821 h 157820"/>
                    <a:gd name="connsiteX1" fmla="*/ 181802 w 194637"/>
                    <a:gd name="connsiteY1" fmla="*/ 151376 h 157820"/>
                    <a:gd name="connsiteX2" fmla="*/ 181802 w 194637"/>
                    <a:gd name="connsiteY2" fmla="*/ 108571 h 157820"/>
                    <a:gd name="connsiteX3" fmla="*/ 97346 w 194637"/>
                    <a:gd name="connsiteY3" fmla="*/ 12890 h 157820"/>
                    <a:gd name="connsiteX4" fmla="*/ 12890 w 194637"/>
                    <a:gd name="connsiteY4" fmla="*/ 108571 h 157820"/>
                    <a:gd name="connsiteX5" fmla="*/ 12890 w 194637"/>
                    <a:gd name="connsiteY5" fmla="*/ 151376 h 157820"/>
                    <a:gd name="connsiteX6" fmla="*/ 6445 w 194637"/>
                    <a:gd name="connsiteY6" fmla="*/ 157821 h 157820"/>
                    <a:gd name="connsiteX7" fmla="*/ 0 w 194637"/>
                    <a:gd name="connsiteY7" fmla="*/ 151376 h 157820"/>
                    <a:gd name="connsiteX8" fmla="*/ 0 w 194637"/>
                    <a:gd name="connsiteY8" fmla="*/ 108571 h 157820"/>
                    <a:gd name="connsiteX9" fmla="*/ 97319 w 194637"/>
                    <a:gd name="connsiteY9" fmla="*/ 0 h 157820"/>
                    <a:gd name="connsiteX10" fmla="*/ 194638 w 194637"/>
                    <a:gd name="connsiteY10" fmla="*/ 108571 h 157820"/>
                    <a:gd name="connsiteX11" fmla="*/ 194638 w 194637"/>
                    <a:gd name="connsiteY11" fmla="*/ 151376 h 157820"/>
                    <a:gd name="connsiteX12" fmla="*/ 188246 w 194637"/>
                    <a:gd name="connsiteY12" fmla="*/ 157821 h 157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4637" h="157820">
                      <a:moveTo>
                        <a:pt x="188246" y="157821"/>
                      </a:moveTo>
                      <a:cubicBezTo>
                        <a:pt x="184702" y="157821"/>
                        <a:pt x="181802" y="154948"/>
                        <a:pt x="181802" y="151376"/>
                      </a:cubicBezTo>
                      <a:lnTo>
                        <a:pt x="181802" y="108571"/>
                      </a:lnTo>
                      <a:cubicBezTo>
                        <a:pt x="181802" y="54030"/>
                        <a:pt x="145495" y="12890"/>
                        <a:pt x="97346" y="12890"/>
                      </a:cubicBezTo>
                      <a:cubicBezTo>
                        <a:pt x="49197" y="12890"/>
                        <a:pt x="12890" y="54030"/>
                        <a:pt x="12890" y="108571"/>
                      </a:cubicBezTo>
                      <a:lnTo>
                        <a:pt x="12890" y="151376"/>
                      </a:lnTo>
                      <a:cubicBezTo>
                        <a:pt x="12890" y="154921"/>
                        <a:pt x="10017" y="157821"/>
                        <a:pt x="6445" y="157821"/>
                      </a:cubicBezTo>
                      <a:cubicBezTo>
                        <a:pt x="2900" y="157821"/>
                        <a:pt x="0" y="154948"/>
                        <a:pt x="0" y="151376"/>
                      </a:cubicBezTo>
                      <a:lnTo>
                        <a:pt x="0" y="108571"/>
                      </a:lnTo>
                      <a:cubicBezTo>
                        <a:pt x="0" y="46672"/>
                        <a:pt x="41839" y="0"/>
                        <a:pt x="97319" y="0"/>
                      </a:cubicBezTo>
                      <a:cubicBezTo>
                        <a:pt x="152799" y="0"/>
                        <a:pt x="194638" y="46672"/>
                        <a:pt x="194638" y="108571"/>
                      </a:cubicBezTo>
                      <a:lnTo>
                        <a:pt x="194638" y="151376"/>
                      </a:lnTo>
                      <a:cubicBezTo>
                        <a:pt x="194665" y="154948"/>
                        <a:pt x="191791" y="157821"/>
                        <a:pt x="188246" y="157821"/>
                      </a:cubicBezTo>
                      <a:close/>
                    </a:path>
                  </a:pathLst>
                </a:custGeom>
                <a:solidFill>
                  <a:schemeClr val="accent1"/>
                </a:solidFill>
                <a:ln w="2681" cap="flat">
                  <a:noFill/>
                  <a:prstDash val="solid"/>
                  <a:miter/>
                </a:ln>
              </p:spPr>
              <p:txBody>
                <a:bodyPr rtlCol="0" anchor="ctr"/>
                <a:lstStyle/>
                <a:p>
                  <a:endParaRPr lang="en-GB" dirty="0"/>
                </a:p>
              </p:txBody>
            </p:sp>
            <p:grpSp>
              <p:nvGrpSpPr>
                <p:cNvPr id="44" name="Grafik 294">
                  <a:extLst>
                    <a:ext uri="{FF2B5EF4-FFF2-40B4-BE49-F238E27FC236}">
                      <a16:creationId xmlns:a16="http://schemas.microsoft.com/office/drawing/2014/main" id="{72F7C4D1-4024-45EA-826D-498D452EB273}"/>
                    </a:ext>
                  </a:extLst>
                </p:cNvPr>
                <p:cNvGrpSpPr/>
                <p:nvPr/>
              </p:nvGrpSpPr>
              <p:grpSpPr>
                <a:xfrm>
                  <a:off x="1015553" y="1832137"/>
                  <a:ext cx="237013" cy="245445"/>
                  <a:chOff x="1015553" y="1832137"/>
                  <a:chExt cx="237013" cy="245445"/>
                </a:xfrm>
                <a:solidFill>
                  <a:schemeClr val="accent1"/>
                </a:solidFill>
              </p:grpSpPr>
              <p:grpSp>
                <p:nvGrpSpPr>
                  <p:cNvPr id="45" name="Grafik 294">
                    <a:extLst>
                      <a:ext uri="{FF2B5EF4-FFF2-40B4-BE49-F238E27FC236}">
                        <a16:creationId xmlns:a16="http://schemas.microsoft.com/office/drawing/2014/main" id="{4E76D85C-48F2-446D-B15D-781060137432}"/>
                      </a:ext>
                    </a:extLst>
                  </p:cNvPr>
                  <p:cNvGrpSpPr/>
                  <p:nvPr/>
                </p:nvGrpSpPr>
                <p:grpSpPr>
                  <a:xfrm>
                    <a:off x="1015553" y="1832137"/>
                    <a:ext cx="237013" cy="104139"/>
                    <a:chOff x="1015553" y="1832137"/>
                    <a:chExt cx="237013" cy="104139"/>
                  </a:xfrm>
                  <a:solidFill>
                    <a:schemeClr val="accent1"/>
                  </a:solidFill>
                </p:grpSpPr>
                <p:sp>
                  <p:nvSpPr>
                    <p:cNvPr id="48" name="Freihandform: Form 30">
                      <a:extLst>
                        <a:ext uri="{FF2B5EF4-FFF2-40B4-BE49-F238E27FC236}">
                          <a16:creationId xmlns:a16="http://schemas.microsoft.com/office/drawing/2014/main" id="{8C3B9CD9-B213-407F-B9E9-C4CD8A93D592}"/>
                        </a:ext>
                      </a:extLst>
                    </p:cNvPr>
                    <p:cNvSpPr/>
                    <p:nvPr/>
                  </p:nvSpPr>
                  <p:spPr>
                    <a:xfrm>
                      <a:off x="1015553" y="1832137"/>
                      <a:ext cx="44550" cy="104139"/>
                    </a:xfrm>
                    <a:custGeom>
                      <a:avLst/>
                      <a:gdLst>
                        <a:gd name="connsiteX0" fmla="*/ 19496 w 44550"/>
                        <a:gd name="connsiteY0" fmla="*/ 104140 h 104139"/>
                        <a:gd name="connsiteX1" fmla="*/ 18717 w 44550"/>
                        <a:gd name="connsiteY1" fmla="*/ 104086 h 104139"/>
                        <a:gd name="connsiteX2" fmla="*/ 0 w 44550"/>
                        <a:gd name="connsiteY2" fmla="*/ 82952 h 104139"/>
                        <a:gd name="connsiteX3" fmla="*/ 0 w 44550"/>
                        <a:gd name="connsiteY3" fmla="*/ 21295 h 104139"/>
                        <a:gd name="connsiteX4" fmla="*/ 21295 w 44550"/>
                        <a:gd name="connsiteY4" fmla="*/ 0 h 104139"/>
                        <a:gd name="connsiteX5" fmla="*/ 23282 w 44550"/>
                        <a:gd name="connsiteY5" fmla="*/ 0 h 104139"/>
                        <a:gd name="connsiteX6" fmla="*/ 44551 w 44550"/>
                        <a:gd name="connsiteY6" fmla="*/ 21295 h 104139"/>
                        <a:gd name="connsiteX7" fmla="*/ 44551 w 44550"/>
                        <a:gd name="connsiteY7" fmla="*/ 78387 h 104139"/>
                        <a:gd name="connsiteX8" fmla="*/ 38106 w 44550"/>
                        <a:gd name="connsiteY8" fmla="*/ 84832 h 104139"/>
                        <a:gd name="connsiteX9" fmla="*/ 31661 w 44550"/>
                        <a:gd name="connsiteY9" fmla="*/ 78387 h 104139"/>
                        <a:gd name="connsiteX10" fmla="*/ 31661 w 44550"/>
                        <a:gd name="connsiteY10" fmla="*/ 21295 h 104139"/>
                        <a:gd name="connsiteX11" fmla="*/ 23256 w 44550"/>
                        <a:gd name="connsiteY11" fmla="*/ 12890 h 104139"/>
                        <a:gd name="connsiteX12" fmla="*/ 21268 w 44550"/>
                        <a:gd name="connsiteY12" fmla="*/ 12890 h 104139"/>
                        <a:gd name="connsiteX13" fmla="*/ 12863 w 44550"/>
                        <a:gd name="connsiteY13" fmla="*/ 21295 h 104139"/>
                        <a:gd name="connsiteX14" fmla="*/ 12863 w 44550"/>
                        <a:gd name="connsiteY14" fmla="*/ 82979 h 104139"/>
                        <a:gd name="connsiteX15" fmla="*/ 20248 w 44550"/>
                        <a:gd name="connsiteY15" fmla="*/ 91330 h 104139"/>
                        <a:gd name="connsiteX16" fmla="*/ 25860 w 44550"/>
                        <a:gd name="connsiteY16" fmla="*/ 98500 h 104139"/>
                        <a:gd name="connsiteX17" fmla="*/ 19496 w 44550"/>
                        <a:gd name="connsiteY17" fmla="*/ 10414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550" h="104139">
                          <a:moveTo>
                            <a:pt x="19496" y="104140"/>
                          </a:moveTo>
                          <a:cubicBezTo>
                            <a:pt x="19227" y="104140"/>
                            <a:pt x="18959" y="104113"/>
                            <a:pt x="18717" y="104086"/>
                          </a:cubicBezTo>
                          <a:cubicBezTo>
                            <a:pt x="8056" y="102797"/>
                            <a:pt x="0" y="93694"/>
                            <a:pt x="0" y="82952"/>
                          </a:cubicBezTo>
                          <a:lnTo>
                            <a:pt x="0" y="21295"/>
                          </a:lnTo>
                          <a:cubicBezTo>
                            <a:pt x="0" y="9560"/>
                            <a:pt x="9533" y="0"/>
                            <a:pt x="21295" y="0"/>
                          </a:cubicBezTo>
                          <a:lnTo>
                            <a:pt x="23282" y="0"/>
                          </a:lnTo>
                          <a:cubicBezTo>
                            <a:pt x="35018" y="0"/>
                            <a:pt x="44551" y="9533"/>
                            <a:pt x="44551" y="21295"/>
                          </a:cubicBezTo>
                          <a:lnTo>
                            <a:pt x="44551" y="78387"/>
                          </a:lnTo>
                          <a:cubicBezTo>
                            <a:pt x="44551" y="81932"/>
                            <a:pt x="41677" y="84832"/>
                            <a:pt x="38106" y="84832"/>
                          </a:cubicBezTo>
                          <a:cubicBezTo>
                            <a:pt x="34561" y="84832"/>
                            <a:pt x="31661" y="81958"/>
                            <a:pt x="31661" y="78387"/>
                          </a:cubicBezTo>
                          <a:lnTo>
                            <a:pt x="31661" y="21295"/>
                          </a:lnTo>
                          <a:cubicBezTo>
                            <a:pt x="31661" y="16649"/>
                            <a:pt x="27901" y="12890"/>
                            <a:pt x="23256" y="12890"/>
                          </a:cubicBezTo>
                          <a:lnTo>
                            <a:pt x="21268" y="12890"/>
                          </a:lnTo>
                          <a:cubicBezTo>
                            <a:pt x="16623" y="12890"/>
                            <a:pt x="12863" y="16649"/>
                            <a:pt x="12863" y="21295"/>
                          </a:cubicBezTo>
                          <a:lnTo>
                            <a:pt x="12863" y="82979"/>
                          </a:lnTo>
                          <a:cubicBezTo>
                            <a:pt x="12863" y="87222"/>
                            <a:pt x="16032" y="90820"/>
                            <a:pt x="20248" y="91330"/>
                          </a:cubicBezTo>
                          <a:cubicBezTo>
                            <a:pt x="23766" y="91760"/>
                            <a:pt x="26290" y="94983"/>
                            <a:pt x="25860" y="98500"/>
                          </a:cubicBezTo>
                          <a:cubicBezTo>
                            <a:pt x="25484" y="101750"/>
                            <a:pt x="22718" y="104140"/>
                            <a:pt x="19496" y="104140"/>
                          </a:cubicBezTo>
                          <a:close/>
                        </a:path>
                      </a:pathLst>
                    </a:custGeom>
                    <a:solidFill>
                      <a:schemeClr val="accent1"/>
                    </a:solidFill>
                    <a:ln w="2681" cap="flat">
                      <a:noFill/>
                      <a:prstDash val="solid"/>
                      <a:miter/>
                    </a:ln>
                  </p:spPr>
                  <p:txBody>
                    <a:bodyPr rtlCol="0" anchor="ctr"/>
                    <a:lstStyle/>
                    <a:p>
                      <a:endParaRPr lang="en-GB" dirty="0"/>
                    </a:p>
                  </p:txBody>
                </p:sp>
                <p:sp>
                  <p:nvSpPr>
                    <p:cNvPr id="49" name="Freihandform: Form 31">
                      <a:extLst>
                        <a:ext uri="{FF2B5EF4-FFF2-40B4-BE49-F238E27FC236}">
                          <a16:creationId xmlns:a16="http://schemas.microsoft.com/office/drawing/2014/main" id="{EF82216D-A752-47A3-9E5E-C7A25CE4BB34}"/>
                        </a:ext>
                      </a:extLst>
                    </p:cNvPr>
                    <p:cNvSpPr/>
                    <p:nvPr/>
                  </p:nvSpPr>
                  <p:spPr>
                    <a:xfrm>
                      <a:off x="1207989" y="1832137"/>
                      <a:ext cx="44577" cy="104139"/>
                    </a:xfrm>
                    <a:custGeom>
                      <a:avLst/>
                      <a:gdLst>
                        <a:gd name="connsiteX0" fmla="*/ 25162 w 44577"/>
                        <a:gd name="connsiteY0" fmla="*/ 104140 h 104139"/>
                        <a:gd name="connsiteX1" fmla="*/ 18798 w 44577"/>
                        <a:gd name="connsiteY1" fmla="*/ 98527 h 104139"/>
                        <a:gd name="connsiteX2" fmla="*/ 24357 w 44577"/>
                        <a:gd name="connsiteY2" fmla="*/ 91304 h 104139"/>
                        <a:gd name="connsiteX3" fmla="*/ 31688 w 44577"/>
                        <a:gd name="connsiteY3" fmla="*/ 82952 h 104139"/>
                        <a:gd name="connsiteX4" fmla="*/ 31688 w 44577"/>
                        <a:gd name="connsiteY4" fmla="*/ 21295 h 104139"/>
                        <a:gd name="connsiteX5" fmla="*/ 23282 w 44577"/>
                        <a:gd name="connsiteY5" fmla="*/ 12890 h 104139"/>
                        <a:gd name="connsiteX6" fmla="*/ 21295 w 44577"/>
                        <a:gd name="connsiteY6" fmla="*/ 12890 h 104139"/>
                        <a:gd name="connsiteX7" fmla="*/ 12890 w 44577"/>
                        <a:gd name="connsiteY7" fmla="*/ 21295 h 104139"/>
                        <a:gd name="connsiteX8" fmla="*/ 12890 w 44577"/>
                        <a:gd name="connsiteY8" fmla="*/ 78387 h 104139"/>
                        <a:gd name="connsiteX9" fmla="*/ 6445 w 44577"/>
                        <a:gd name="connsiteY9" fmla="*/ 84832 h 104139"/>
                        <a:gd name="connsiteX10" fmla="*/ 0 w 44577"/>
                        <a:gd name="connsiteY10" fmla="*/ 78387 h 104139"/>
                        <a:gd name="connsiteX11" fmla="*/ 0 w 44577"/>
                        <a:gd name="connsiteY11" fmla="*/ 21295 h 104139"/>
                        <a:gd name="connsiteX12" fmla="*/ 21295 w 44577"/>
                        <a:gd name="connsiteY12" fmla="*/ 0 h 104139"/>
                        <a:gd name="connsiteX13" fmla="*/ 23282 w 44577"/>
                        <a:gd name="connsiteY13" fmla="*/ 0 h 104139"/>
                        <a:gd name="connsiteX14" fmla="*/ 44578 w 44577"/>
                        <a:gd name="connsiteY14" fmla="*/ 21295 h 104139"/>
                        <a:gd name="connsiteX15" fmla="*/ 44578 w 44577"/>
                        <a:gd name="connsiteY15" fmla="*/ 82979 h 104139"/>
                        <a:gd name="connsiteX16" fmla="*/ 26048 w 44577"/>
                        <a:gd name="connsiteY16" fmla="*/ 104086 h 104139"/>
                        <a:gd name="connsiteX17" fmla="*/ 25162 w 44577"/>
                        <a:gd name="connsiteY17" fmla="*/ 104140 h 104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577" h="104139">
                          <a:moveTo>
                            <a:pt x="25162" y="104140"/>
                          </a:moveTo>
                          <a:cubicBezTo>
                            <a:pt x="21967" y="104140"/>
                            <a:pt x="19201" y="101777"/>
                            <a:pt x="18798" y="98527"/>
                          </a:cubicBezTo>
                          <a:cubicBezTo>
                            <a:pt x="18341" y="95009"/>
                            <a:pt x="20839" y="91760"/>
                            <a:pt x="24357" y="91304"/>
                          </a:cubicBezTo>
                          <a:cubicBezTo>
                            <a:pt x="28519" y="90766"/>
                            <a:pt x="31688" y="87168"/>
                            <a:pt x="31688" y="82952"/>
                          </a:cubicBezTo>
                          <a:lnTo>
                            <a:pt x="31688" y="21295"/>
                          </a:lnTo>
                          <a:cubicBezTo>
                            <a:pt x="31688" y="16649"/>
                            <a:pt x="27928" y="12890"/>
                            <a:pt x="23282" y="12890"/>
                          </a:cubicBezTo>
                          <a:lnTo>
                            <a:pt x="21295" y="12890"/>
                          </a:lnTo>
                          <a:cubicBezTo>
                            <a:pt x="16649" y="12890"/>
                            <a:pt x="12890" y="16649"/>
                            <a:pt x="12890" y="21295"/>
                          </a:cubicBezTo>
                          <a:lnTo>
                            <a:pt x="12890" y="78387"/>
                          </a:lnTo>
                          <a:cubicBezTo>
                            <a:pt x="12890" y="81932"/>
                            <a:pt x="10017" y="84832"/>
                            <a:pt x="6445" y="84832"/>
                          </a:cubicBezTo>
                          <a:cubicBezTo>
                            <a:pt x="2900" y="84832"/>
                            <a:pt x="0" y="81958"/>
                            <a:pt x="0" y="78387"/>
                          </a:cubicBezTo>
                          <a:lnTo>
                            <a:pt x="0" y="21295"/>
                          </a:lnTo>
                          <a:cubicBezTo>
                            <a:pt x="0" y="9560"/>
                            <a:pt x="9533" y="0"/>
                            <a:pt x="21295" y="0"/>
                          </a:cubicBezTo>
                          <a:lnTo>
                            <a:pt x="23282" y="0"/>
                          </a:lnTo>
                          <a:cubicBezTo>
                            <a:pt x="35018" y="0"/>
                            <a:pt x="44578" y="9533"/>
                            <a:pt x="44578" y="21295"/>
                          </a:cubicBezTo>
                          <a:lnTo>
                            <a:pt x="44578" y="82979"/>
                          </a:lnTo>
                          <a:cubicBezTo>
                            <a:pt x="44578" y="93640"/>
                            <a:pt x="36602" y="102717"/>
                            <a:pt x="26048" y="104086"/>
                          </a:cubicBezTo>
                          <a:cubicBezTo>
                            <a:pt x="25726" y="104113"/>
                            <a:pt x="25431" y="104140"/>
                            <a:pt x="25162" y="104140"/>
                          </a:cubicBezTo>
                          <a:close/>
                        </a:path>
                      </a:pathLst>
                    </a:custGeom>
                    <a:solidFill>
                      <a:schemeClr val="accent1"/>
                    </a:solidFill>
                    <a:ln w="2681" cap="flat">
                      <a:noFill/>
                      <a:prstDash val="solid"/>
                      <a:miter/>
                    </a:ln>
                  </p:spPr>
                  <p:txBody>
                    <a:bodyPr rtlCol="0" anchor="ctr"/>
                    <a:lstStyle/>
                    <a:p>
                      <a:endParaRPr lang="en-GB" dirty="0"/>
                    </a:p>
                  </p:txBody>
                </p:sp>
              </p:grpSp>
              <p:sp>
                <p:nvSpPr>
                  <p:cNvPr id="46" name="Freihandform: Form 32">
                    <a:extLst>
                      <a:ext uri="{FF2B5EF4-FFF2-40B4-BE49-F238E27FC236}">
                        <a16:creationId xmlns:a16="http://schemas.microsoft.com/office/drawing/2014/main" id="{DD4EE034-ED4B-46A2-AA3F-35F37DC65B00}"/>
                      </a:ext>
                    </a:extLst>
                  </p:cNvPr>
                  <p:cNvSpPr/>
                  <p:nvPr/>
                </p:nvSpPr>
                <p:spPr>
                  <a:xfrm>
                    <a:off x="1028308" y="1904323"/>
                    <a:ext cx="211478" cy="71322"/>
                  </a:xfrm>
                  <a:custGeom>
                    <a:avLst/>
                    <a:gdLst>
                      <a:gd name="connsiteX0" fmla="*/ 113620 w 211478"/>
                      <a:gd name="connsiteY0" fmla="*/ 71322 h 71322"/>
                      <a:gd name="connsiteX1" fmla="*/ 105591 w 211478"/>
                      <a:gd name="connsiteY1" fmla="*/ 71215 h 71322"/>
                      <a:gd name="connsiteX2" fmla="*/ 14126 w 211478"/>
                      <a:gd name="connsiteY2" fmla="*/ 56928 h 71322"/>
                      <a:gd name="connsiteX3" fmla="*/ 135 w 211478"/>
                      <a:gd name="connsiteY3" fmla="*/ 38238 h 71322"/>
                      <a:gd name="connsiteX4" fmla="*/ 17805 w 211478"/>
                      <a:gd name="connsiteY4" fmla="*/ 5261 h 71322"/>
                      <a:gd name="connsiteX5" fmla="*/ 56851 w 211478"/>
                      <a:gd name="connsiteY5" fmla="*/ 374 h 71322"/>
                      <a:gd name="connsiteX6" fmla="*/ 94607 w 211478"/>
                      <a:gd name="connsiteY6" fmla="*/ 3757 h 71322"/>
                      <a:gd name="connsiteX7" fmla="*/ 116869 w 211478"/>
                      <a:gd name="connsiteY7" fmla="*/ 3757 h 71322"/>
                      <a:gd name="connsiteX8" fmla="*/ 154626 w 211478"/>
                      <a:gd name="connsiteY8" fmla="*/ 374 h 71322"/>
                      <a:gd name="connsiteX9" fmla="*/ 193913 w 211478"/>
                      <a:gd name="connsiteY9" fmla="*/ 5342 h 71322"/>
                      <a:gd name="connsiteX10" fmla="*/ 211342 w 211478"/>
                      <a:gd name="connsiteY10" fmla="*/ 38265 h 71322"/>
                      <a:gd name="connsiteX11" fmla="*/ 197351 w 211478"/>
                      <a:gd name="connsiteY11" fmla="*/ 56955 h 71322"/>
                      <a:gd name="connsiteX12" fmla="*/ 113620 w 211478"/>
                      <a:gd name="connsiteY12" fmla="*/ 71322 h 71322"/>
                      <a:gd name="connsiteX13" fmla="*/ 105591 w 211478"/>
                      <a:gd name="connsiteY13" fmla="*/ 58352 h 71322"/>
                      <a:gd name="connsiteX14" fmla="*/ 192436 w 211478"/>
                      <a:gd name="connsiteY14" fmla="*/ 45032 h 71322"/>
                      <a:gd name="connsiteX15" fmla="*/ 198479 w 211478"/>
                      <a:gd name="connsiteY15" fmla="*/ 37405 h 71322"/>
                      <a:gd name="connsiteX16" fmla="*/ 190181 w 211478"/>
                      <a:gd name="connsiteY16" fmla="*/ 17641 h 71322"/>
                      <a:gd name="connsiteX17" fmla="*/ 189751 w 211478"/>
                      <a:gd name="connsiteY17" fmla="*/ 17507 h 71322"/>
                      <a:gd name="connsiteX18" fmla="*/ 155781 w 211478"/>
                      <a:gd name="connsiteY18" fmla="*/ 13183 h 71322"/>
                      <a:gd name="connsiteX19" fmla="*/ 118024 w 211478"/>
                      <a:gd name="connsiteY19" fmla="*/ 16567 h 71322"/>
                      <a:gd name="connsiteX20" fmla="*/ 93453 w 211478"/>
                      <a:gd name="connsiteY20" fmla="*/ 16567 h 71322"/>
                      <a:gd name="connsiteX21" fmla="*/ 55696 w 211478"/>
                      <a:gd name="connsiteY21" fmla="*/ 13183 h 71322"/>
                      <a:gd name="connsiteX22" fmla="*/ 21726 w 211478"/>
                      <a:gd name="connsiteY22" fmla="*/ 17507 h 71322"/>
                      <a:gd name="connsiteX23" fmla="*/ 12971 w 211478"/>
                      <a:gd name="connsiteY23" fmla="*/ 37405 h 71322"/>
                      <a:gd name="connsiteX24" fmla="*/ 19013 w 211478"/>
                      <a:gd name="connsiteY24" fmla="*/ 45032 h 71322"/>
                      <a:gd name="connsiteX25" fmla="*/ 105591 w 211478"/>
                      <a:gd name="connsiteY25" fmla="*/ 58352 h 71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1478" h="71322">
                        <a:moveTo>
                          <a:pt x="113620" y="71322"/>
                        </a:moveTo>
                        <a:cubicBezTo>
                          <a:pt x="110961" y="71322"/>
                          <a:pt x="108303" y="71295"/>
                          <a:pt x="105591" y="71215"/>
                        </a:cubicBezTo>
                        <a:cubicBezTo>
                          <a:pt x="70009" y="72074"/>
                          <a:pt x="39100" y="67267"/>
                          <a:pt x="14126" y="56928"/>
                        </a:cubicBezTo>
                        <a:cubicBezTo>
                          <a:pt x="6043" y="53598"/>
                          <a:pt x="672" y="46428"/>
                          <a:pt x="135" y="38238"/>
                        </a:cubicBezTo>
                        <a:cubicBezTo>
                          <a:pt x="-1020" y="20514"/>
                          <a:pt x="5264" y="8779"/>
                          <a:pt x="17805" y="5261"/>
                        </a:cubicBezTo>
                        <a:cubicBezTo>
                          <a:pt x="29809" y="911"/>
                          <a:pt x="43477" y="-835"/>
                          <a:pt x="56851" y="374"/>
                        </a:cubicBezTo>
                        <a:lnTo>
                          <a:pt x="94607" y="3757"/>
                        </a:lnTo>
                        <a:cubicBezTo>
                          <a:pt x="101992" y="4429"/>
                          <a:pt x="109484" y="4429"/>
                          <a:pt x="116869" y="3757"/>
                        </a:cubicBezTo>
                        <a:lnTo>
                          <a:pt x="154626" y="374"/>
                        </a:lnTo>
                        <a:cubicBezTo>
                          <a:pt x="167946" y="-808"/>
                          <a:pt x="181507" y="911"/>
                          <a:pt x="193913" y="5342"/>
                        </a:cubicBezTo>
                        <a:cubicBezTo>
                          <a:pt x="206320" y="8940"/>
                          <a:pt x="212496" y="20622"/>
                          <a:pt x="211342" y="38265"/>
                        </a:cubicBezTo>
                        <a:cubicBezTo>
                          <a:pt x="210805" y="46455"/>
                          <a:pt x="205461" y="53598"/>
                          <a:pt x="197351" y="56955"/>
                        </a:cubicBezTo>
                        <a:cubicBezTo>
                          <a:pt x="174256" y="66488"/>
                          <a:pt x="146113" y="71322"/>
                          <a:pt x="113620" y="71322"/>
                        </a:cubicBezTo>
                        <a:close/>
                        <a:moveTo>
                          <a:pt x="105591" y="58352"/>
                        </a:moveTo>
                        <a:cubicBezTo>
                          <a:pt x="140017" y="59130"/>
                          <a:pt x="169127" y="54673"/>
                          <a:pt x="192436" y="45032"/>
                        </a:cubicBezTo>
                        <a:cubicBezTo>
                          <a:pt x="195954" y="43582"/>
                          <a:pt x="198264" y="40655"/>
                          <a:pt x="198479" y="37405"/>
                        </a:cubicBezTo>
                        <a:cubicBezTo>
                          <a:pt x="198989" y="29591"/>
                          <a:pt x="197968" y="19843"/>
                          <a:pt x="190181" y="17641"/>
                        </a:cubicBezTo>
                        <a:cubicBezTo>
                          <a:pt x="190020" y="17587"/>
                          <a:pt x="189885" y="17560"/>
                          <a:pt x="189751" y="17507"/>
                        </a:cubicBezTo>
                        <a:cubicBezTo>
                          <a:pt x="179036" y="13640"/>
                          <a:pt x="167301" y="12136"/>
                          <a:pt x="155781" y="13183"/>
                        </a:cubicBezTo>
                        <a:lnTo>
                          <a:pt x="118024" y="16567"/>
                        </a:lnTo>
                        <a:cubicBezTo>
                          <a:pt x="109887" y="17292"/>
                          <a:pt x="101616" y="17292"/>
                          <a:pt x="93453" y="16567"/>
                        </a:cubicBezTo>
                        <a:lnTo>
                          <a:pt x="55696" y="13183"/>
                        </a:lnTo>
                        <a:cubicBezTo>
                          <a:pt x="44176" y="12163"/>
                          <a:pt x="32440" y="13640"/>
                          <a:pt x="21726" y="17507"/>
                        </a:cubicBezTo>
                        <a:cubicBezTo>
                          <a:pt x="13508" y="19843"/>
                          <a:pt x="12461" y="29591"/>
                          <a:pt x="12971" y="37405"/>
                        </a:cubicBezTo>
                        <a:cubicBezTo>
                          <a:pt x="13186" y="40655"/>
                          <a:pt x="15495" y="43555"/>
                          <a:pt x="19013" y="45032"/>
                        </a:cubicBezTo>
                        <a:cubicBezTo>
                          <a:pt x="42349" y="54673"/>
                          <a:pt x="71513" y="59157"/>
                          <a:pt x="105591" y="58352"/>
                        </a:cubicBezTo>
                        <a:close/>
                      </a:path>
                    </a:pathLst>
                  </a:custGeom>
                  <a:solidFill>
                    <a:schemeClr val="accent1"/>
                  </a:solidFill>
                  <a:ln w="2681" cap="flat">
                    <a:noFill/>
                    <a:prstDash val="solid"/>
                    <a:miter/>
                  </a:ln>
                </p:spPr>
                <p:txBody>
                  <a:bodyPr rtlCol="0" anchor="ctr"/>
                  <a:lstStyle/>
                  <a:p>
                    <a:endParaRPr lang="en-GB" dirty="0"/>
                  </a:p>
                </p:txBody>
              </p:sp>
              <p:sp>
                <p:nvSpPr>
                  <p:cNvPr id="47" name="Freihandform: Form 33">
                    <a:extLst>
                      <a:ext uri="{FF2B5EF4-FFF2-40B4-BE49-F238E27FC236}">
                        <a16:creationId xmlns:a16="http://schemas.microsoft.com/office/drawing/2014/main" id="{9049AE80-561B-4F4B-B3C7-BF8ADE5C20B4}"/>
                      </a:ext>
                    </a:extLst>
                  </p:cNvPr>
                  <p:cNvSpPr/>
                  <p:nvPr/>
                </p:nvSpPr>
                <p:spPr>
                  <a:xfrm>
                    <a:off x="1067650" y="2036845"/>
                    <a:ext cx="132739" cy="40737"/>
                  </a:xfrm>
                  <a:custGeom>
                    <a:avLst/>
                    <a:gdLst>
                      <a:gd name="connsiteX0" fmla="*/ 126321 w 132739"/>
                      <a:gd name="connsiteY0" fmla="*/ 40738 h 40737"/>
                      <a:gd name="connsiteX1" fmla="*/ 126321 w 132739"/>
                      <a:gd name="connsiteY1" fmla="*/ 40738 h 40737"/>
                      <a:gd name="connsiteX2" fmla="*/ 6445 w 132739"/>
                      <a:gd name="connsiteY2" fmla="*/ 40684 h 40737"/>
                      <a:gd name="connsiteX3" fmla="*/ 0 w 132739"/>
                      <a:gd name="connsiteY3" fmla="*/ 34239 h 40737"/>
                      <a:gd name="connsiteX4" fmla="*/ 0 w 132739"/>
                      <a:gd name="connsiteY4" fmla="*/ 19657 h 40737"/>
                      <a:gd name="connsiteX5" fmla="*/ 20597 w 132739"/>
                      <a:gd name="connsiteY5" fmla="*/ 0 h 40737"/>
                      <a:gd name="connsiteX6" fmla="*/ 112142 w 132739"/>
                      <a:gd name="connsiteY6" fmla="*/ 0 h 40737"/>
                      <a:gd name="connsiteX7" fmla="*/ 132739 w 132739"/>
                      <a:gd name="connsiteY7" fmla="*/ 19657 h 40737"/>
                      <a:gd name="connsiteX8" fmla="*/ 132739 w 132739"/>
                      <a:gd name="connsiteY8" fmla="*/ 34293 h 40737"/>
                      <a:gd name="connsiteX9" fmla="*/ 130860 w 132739"/>
                      <a:gd name="connsiteY9" fmla="*/ 38858 h 40737"/>
                      <a:gd name="connsiteX10" fmla="*/ 126321 w 132739"/>
                      <a:gd name="connsiteY10" fmla="*/ 40738 h 40737"/>
                      <a:gd name="connsiteX11" fmla="*/ 12890 w 132739"/>
                      <a:gd name="connsiteY11" fmla="*/ 27794 h 40737"/>
                      <a:gd name="connsiteX12" fmla="*/ 119903 w 132739"/>
                      <a:gd name="connsiteY12" fmla="*/ 27848 h 40737"/>
                      <a:gd name="connsiteX13" fmla="*/ 119903 w 132739"/>
                      <a:gd name="connsiteY13" fmla="*/ 19711 h 40737"/>
                      <a:gd name="connsiteX14" fmla="*/ 112169 w 132739"/>
                      <a:gd name="connsiteY14" fmla="*/ 12863 h 40737"/>
                      <a:gd name="connsiteX15" fmla="*/ 20624 w 132739"/>
                      <a:gd name="connsiteY15" fmla="*/ 12863 h 40737"/>
                      <a:gd name="connsiteX16" fmla="*/ 12890 w 132739"/>
                      <a:gd name="connsiteY16" fmla="*/ 19711 h 40737"/>
                      <a:gd name="connsiteX17" fmla="*/ 12890 w 132739"/>
                      <a:gd name="connsiteY17" fmla="*/ 27794 h 40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2739" h="40737">
                        <a:moveTo>
                          <a:pt x="126321" y="40738"/>
                        </a:moveTo>
                        <a:lnTo>
                          <a:pt x="126321" y="40738"/>
                        </a:lnTo>
                        <a:lnTo>
                          <a:pt x="6445" y="40684"/>
                        </a:lnTo>
                        <a:cubicBezTo>
                          <a:pt x="2900" y="40684"/>
                          <a:pt x="0" y="37810"/>
                          <a:pt x="0" y="34239"/>
                        </a:cubicBezTo>
                        <a:lnTo>
                          <a:pt x="0" y="19657"/>
                        </a:lnTo>
                        <a:cubicBezTo>
                          <a:pt x="134" y="8593"/>
                          <a:pt x="9184" y="0"/>
                          <a:pt x="20597" y="0"/>
                        </a:cubicBezTo>
                        <a:lnTo>
                          <a:pt x="112142" y="0"/>
                        </a:lnTo>
                        <a:cubicBezTo>
                          <a:pt x="123609" y="0"/>
                          <a:pt x="132659" y="8647"/>
                          <a:pt x="132739" y="19657"/>
                        </a:cubicBezTo>
                        <a:lnTo>
                          <a:pt x="132739" y="34293"/>
                        </a:lnTo>
                        <a:cubicBezTo>
                          <a:pt x="132739" y="36011"/>
                          <a:pt x="132068" y="37649"/>
                          <a:pt x="130860" y="38858"/>
                        </a:cubicBezTo>
                        <a:cubicBezTo>
                          <a:pt x="129678" y="40066"/>
                          <a:pt x="128040" y="40738"/>
                          <a:pt x="126321" y="40738"/>
                        </a:cubicBezTo>
                        <a:close/>
                        <a:moveTo>
                          <a:pt x="12890" y="27794"/>
                        </a:moveTo>
                        <a:lnTo>
                          <a:pt x="119903" y="27848"/>
                        </a:lnTo>
                        <a:lnTo>
                          <a:pt x="119903" y="19711"/>
                        </a:lnTo>
                        <a:cubicBezTo>
                          <a:pt x="119876" y="15226"/>
                          <a:pt x="115982" y="12863"/>
                          <a:pt x="112169" y="12863"/>
                        </a:cubicBezTo>
                        <a:lnTo>
                          <a:pt x="20624" y="12863"/>
                        </a:lnTo>
                        <a:cubicBezTo>
                          <a:pt x="16837" y="12863"/>
                          <a:pt x="12944" y="15226"/>
                          <a:pt x="12890" y="19711"/>
                        </a:cubicBezTo>
                        <a:lnTo>
                          <a:pt x="12890" y="27794"/>
                        </a:lnTo>
                        <a:close/>
                      </a:path>
                    </a:pathLst>
                  </a:custGeom>
                  <a:solidFill>
                    <a:schemeClr val="accent1"/>
                  </a:solidFill>
                  <a:ln w="2681" cap="flat">
                    <a:noFill/>
                    <a:prstDash val="solid"/>
                    <a:miter/>
                  </a:ln>
                </p:spPr>
                <p:txBody>
                  <a:bodyPr rtlCol="0" anchor="ctr"/>
                  <a:lstStyle/>
                  <a:p>
                    <a:endParaRPr lang="en-GB" dirty="0"/>
                  </a:p>
                </p:txBody>
              </p:sp>
            </p:grpSp>
          </p:grpSp>
          <p:sp>
            <p:nvSpPr>
              <p:cNvPr id="42" name="Freihandform: Form 34">
                <a:extLst>
                  <a:ext uri="{FF2B5EF4-FFF2-40B4-BE49-F238E27FC236}">
                    <a16:creationId xmlns:a16="http://schemas.microsoft.com/office/drawing/2014/main" id="{B26EB639-6CEE-4E2B-87C5-E4B5526C50ED}"/>
                  </a:ext>
                </a:extLst>
              </p:cNvPr>
              <p:cNvSpPr/>
              <p:nvPr/>
            </p:nvSpPr>
            <p:spPr>
              <a:xfrm>
                <a:off x="1127588" y="1962647"/>
                <a:ext cx="13158" cy="86980"/>
              </a:xfrm>
              <a:custGeom>
                <a:avLst/>
                <a:gdLst>
                  <a:gd name="connsiteX0" fmla="*/ 6713 w 13158"/>
                  <a:gd name="connsiteY0" fmla="*/ 86980 h 86980"/>
                  <a:gd name="connsiteX1" fmla="*/ 269 w 13158"/>
                  <a:gd name="connsiteY1" fmla="*/ 80562 h 86980"/>
                  <a:gd name="connsiteX2" fmla="*/ 0 w 13158"/>
                  <a:gd name="connsiteY2" fmla="*/ 6472 h 86980"/>
                  <a:gd name="connsiteX3" fmla="*/ 6418 w 13158"/>
                  <a:gd name="connsiteY3" fmla="*/ 0 h 86980"/>
                  <a:gd name="connsiteX4" fmla="*/ 6445 w 13158"/>
                  <a:gd name="connsiteY4" fmla="*/ 0 h 86980"/>
                  <a:gd name="connsiteX5" fmla="*/ 12890 w 13158"/>
                  <a:gd name="connsiteY5" fmla="*/ 6418 h 86980"/>
                  <a:gd name="connsiteX6" fmla="*/ 13158 w 13158"/>
                  <a:gd name="connsiteY6" fmla="*/ 80508 h 86980"/>
                  <a:gd name="connsiteX7" fmla="*/ 6713 w 13158"/>
                  <a:gd name="connsiteY7" fmla="*/ 86980 h 86980"/>
                  <a:gd name="connsiteX8" fmla="*/ 6713 w 13158"/>
                  <a:gd name="connsiteY8" fmla="*/ 86980 h 8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58" h="86980">
                    <a:moveTo>
                      <a:pt x="6713" y="86980"/>
                    </a:moveTo>
                    <a:cubicBezTo>
                      <a:pt x="3169" y="86980"/>
                      <a:pt x="295" y="84107"/>
                      <a:pt x="269" y="80562"/>
                    </a:cubicBezTo>
                    <a:lnTo>
                      <a:pt x="0" y="6472"/>
                    </a:lnTo>
                    <a:cubicBezTo>
                      <a:pt x="0" y="2927"/>
                      <a:pt x="2873" y="27"/>
                      <a:pt x="6418" y="0"/>
                    </a:cubicBezTo>
                    <a:cubicBezTo>
                      <a:pt x="6418" y="0"/>
                      <a:pt x="6445" y="0"/>
                      <a:pt x="6445" y="0"/>
                    </a:cubicBezTo>
                    <a:cubicBezTo>
                      <a:pt x="9990" y="0"/>
                      <a:pt x="12863" y="2873"/>
                      <a:pt x="12890" y="6418"/>
                    </a:cubicBezTo>
                    <a:lnTo>
                      <a:pt x="13158" y="80508"/>
                    </a:lnTo>
                    <a:cubicBezTo>
                      <a:pt x="13158" y="84080"/>
                      <a:pt x="10285" y="86980"/>
                      <a:pt x="6713" y="86980"/>
                    </a:cubicBezTo>
                    <a:cubicBezTo>
                      <a:pt x="6740" y="86980"/>
                      <a:pt x="6713" y="86980"/>
                      <a:pt x="6713" y="86980"/>
                    </a:cubicBezTo>
                    <a:close/>
                  </a:path>
                </a:pathLst>
              </a:custGeom>
              <a:solidFill>
                <a:schemeClr val="accent1"/>
              </a:solidFill>
              <a:ln w="2681" cap="flat">
                <a:noFill/>
                <a:prstDash val="solid"/>
                <a:miter/>
              </a:ln>
            </p:spPr>
            <p:txBody>
              <a:bodyPr rtlCol="0" anchor="ctr"/>
              <a:lstStyle/>
              <a:p>
                <a:endParaRPr lang="en-GB" dirty="0"/>
              </a:p>
            </p:txBody>
          </p:sp>
        </p:grpSp>
      </p:grpSp>
      <p:grpSp>
        <p:nvGrpSpPr>
          <p:cNvPr id="5" name="Group 4">
            <a:extLst>
              <a:ext uri="{FF2B5EF4-FFF2-40B4-BE49-F238E27FC236}">
                <a16:creationId xmlns:a16="http://schemas.microsoft.com/office/drawing/2014/main" id="{E7A60862-0744-1AD3-CFE9-37DD01D383D3}"/>
              </a:ext>
            </a:extLst>
          </p:cNvPr>
          <p:cNvGrpSpPr/>
          <p:nvPr/>
        </p:nvGrpSpPr>
        <p:grpSpPr>
          <a:xfrm>
            <a:off x="1482682" y="1585986"/>
            <a:ext cx="713605" cy="431998"/>
            <a:chOff x="1482682" y="1585986"/>
            <a:chExt cx="713605" cy="431998"/>
          </a:xfrm>
        </p:grpSpPr>
        <p:grpSp>
          <p:nvGrpSpPr>
            <p:cNvPr id="67" name="Group 66">
              <a:extLst>
                <a:ext uri="{FF2B5EF4-FFF2-40B4-BE49-F238E27FC236}">
                  <a16:creationId xmlns:a16="http://schemas.microsoft.com/office/drawing/2014/main" id="{DE7FBE24-73F1-4917-9936-4F4EF56F3941}"/>
                </a:ext>
              </a:extLst>
            </p:cNvPr>
            <p:cNvGrpSpPr/>
            <p:nvPr/>
          </p:nvGrpSpPr>
          <p:grpSpPr>
            <a:xfrm>
              <a:off x="1702453" y="1660987"/>
              <a:ext cx="279306" cy="356997"/>
              <a:chOff x="1835862" y="1726117"/>
              <a:chExt cx="231803" cy="296280"/>
            </a:xfrm>
          </p:grpSpPr>
          <p:grpSp>
            <p:nvGrpSpPr>
              <p:cNvPr id="83" name="Grafik 294">
                <a:extLst>
                  <a:ext uri="{FF2B5EF4-FFF2-40B4-BE49-F238E27FC236}">
                    <a16:creationId xmlns:a16="http://schemas.microsoft.com/office/drawing/2014/main" id="{2DDBB372-2458-4110-B9F0-4F8AB1C9080C}"/>
                  </a:ext>
                </a:extLst>
              </p:cNvPr>
              <p:cNvGrpSpPr/>
              <p:nvPr/>
            </p:nvGrpSpPr>
            <p:grpSpPr>
              <a:xfrm>
                <a:off x="1850191" y="1726117"/>
                <a:ext cx="192093" cy="259221"/>
                <a:chOff x="1850191" y="1726117"/>
                <a:chExt cx="192093" cy="259221"/>
              </a:xfrm>
              <a:solidFill>
                <a:schemeClr val="accent1"/>
              </a:solidFill>
            </p:grpSpPr>
            <p:sp>
              <p:nvSpPr>
                <p:cNvPr id="85" name="Freihandform: Form 37">
                  <a:extLst>
                    <a:ext uri="{FF2B5EF4-FFF2-40B4-BE49-F238E27FC236}">
                      <a16:creationId xmlns:a16="http://schemas.microsoft.com/office/drawing/2014/main" id="{E51AB5CA-865E-4A8E-AC7B-378C73039C49}"/>
                    </a:ext>
                  </a:extLst>
                </p:cNvPr>
                <p:cNvSpPr/>
                <p:nvPr/>
              </p:nvSpPr>
              <p:spPr>
                <a:xfrm>
                  <a:off x="1939733" y="1826900"/>
                  <a:ext cx="24088" cy="12889"/>
                </a:xfrm>
                <a:custGeom>
                  <a:avLst/>
                  <a:gdLst>
                    <a:gd name="connsiteX0" fmla="*/ 17643 w 24088"/>
                    <a:gd name="connsiteY0" fmla="*/ 12890 h 12889"/>
                    <a:gd name="connsiteX1" fmla="*/ 6445 w 24088"/>
                    <a:gd name="connsiteY1" fmla="*/ 12890 h 12889"/>
                    <a:gd name="connsiteX2" fmla="*/ 0 w 24088"/>
                    <a:gd name="connsiteY2" fmla="*/ 6445 h 12889"/>
                    <a:gd name="connsiteX3" fmla="*/ 6445 w 24088"/>
                    <a:gd name="connsiteY3" fmla="*/ 0 h 12889"/>
                    <a:gd name="connsiteX4" fmla="*/ 17643 w 24088"/>
                    <a:gd name="connsiteY4" fmla="*/ 0 h 12889"/>
                    <a:gd name="connsiteX5" fmla="*/ 24088 w 24088"/>
                    <a:gd name="connsiteY5" fmla="*/ 6445 h 12889"/>
                    <a:gd name="connsiteX6" fmla="*/ 17643 w 24088"/>
                    <a:gd name="connsiteY6" fmla="*/ 12890 h 12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88" h="12889">
                      <a:moveTo>
                        <a:pt x="17643" y="12890"/>
                      </a:moveTo>
                      <a:lnTo>
                        <a:pt x="6445" y="12890"/>
                      </a:lnTo>
                      <a:cubicBezTo>
                        <a:pt x="2900" y="12890"/>
                        <a:pt x="0" y="10017"/>
                        <a:pt x="0" y="6445"/>
                      </a:cubicBezTo>
                      <a:cubicBezTo>
                        <a:pt x="0" y="2900"/>
                        <a:pt x="2873" y="0"/>
                        <a:pt x="6445" y="0"/>
                      </a:cubicBezTo>
                      <a:lnTo>
                        <a:pt x="17643" y="0"/>
                      </a:lnTo>
                      <a:cubicBezTo>
                        <a:pt x="21188" y="0"/>
                        <a:pt x="24088" y="2873"/>
                        <a:pt x="24088" y="6445"/>
                      </a:cubicBezTo>
                      <a:cubicBezTo>
                        <a:pt x="24088" y="9990"/>
                        <a:pt x="21215" y="12890"/>
                        <a:pt x="17643" y="12890"/>
                      </a:cubicBezTo>
                      <a:close/>
                    </a:path>
                  </a:pathLst>
                </a:custGeom>
                <a:solidFill>
                  <a:schemeClr val="accent1"/>
                </a:solidFill>
                <a:ln w="2681" cap="flat">
                  <a:noFill/>
                  <a:prstDash val="solid"/>
                  <a:miter/>
                </a:ln>
              </p:spPr>
              <p:txBody>
                <a:bodyPr rtlCol="0" anchor="ctr"/>
                <a:lstStyle/>
                <a:p>
                  <a:endParaRPr lang="en-GB" dirty="0"/>
                </a:p>
              </p:txBody>
            </p:sp>
            <p:sp>
              <p:nvSpPr>
                <p:cNvPr id="86" name="Freihandform: Form 38">
                  <a:extLst>
                    <a:ext uri="{FF2B5EF4-FFF2-40B4-BE49-F238E27FC236}">
                      <a16:creationId xmlns:a16="http://schemas.microsoft.com/office/drawing/2014/main" id="{63120770-FFC3-40CA-828D-9B08F874151A}"/>
                    </a:ext>
                  </a:extLst>
                </p:cNvPr>
                <p:cNvSpPr/>
                <p:nvPr/>
              </p:nvSpPr>
              <p:spPr>
                <a:xfrm>
                  <a:off x="1911751" y="1726117"/>
                  <a:ext cx="80078" cy="91276"/>
                </a:xfrm>
                <a:custGeom>
                  <a:avLst/>
                  <a:gdLst>
                    <a:gd name="connsiteX0" fmla="*/ 40039 w 80078"/>
                    <a:gd name="connsiteY0" fmla="*/ 91277 h 91276"/>
                    <a:gd name="connsiteX1" fmla="*/ 0 w 80078"/>
                    <a:gd name="connsiteY1" fmla="*/ 45652 h 91276"/>
                    <a:gd name="connsiteX2" fmla="*/ 40039 w 80078"/>
                    <a:gd name="connsiteY2" fmla="*/ 0 h 91276"/>
                    <a:gd name="connsiteX3" fmla="*/ 80079 w 80078"/>
                    <a:gd name="connsiteY3" fmla="*/ 45625 h 91276"/>
                    <a:gd name="connsiteX4" fmla="*/ 40039 w 80078"/>
                    <a:gd name="connsiteY4" fmla="*/ 91277 h 91276"/>
                    <a:gd name="connsiteX5" fmla="*/ 40039 w 80078"/>
                    <a:gd name="connsiteY5" fmla="*/ 12890 h 91276"/>
                    <a:gd name="connsiteX6" fmla="*/ 12890 w 80078"/>
                    <a:gd name="connsiteY6" fmla="*/ 45652 h 91276"/>
                    <a:gd name="connsiteX7" fmla="*/ 40039 w 80078"/>
                    <a:gd name="connsiteY7" fmla="*/ 78414 h 91276"/>
                    <a:gd name="connsiteX8" fmla="*/ 67189 w 80078"/>
                    <a:gd name="connsiteY8" fmla="*/ 45652 h 91276"/>
                    <a:gd name="connsiteX9" fmla="*/ 40039 w 80078"/>
                    <a:gd name="connsiteY9" fmla="*/ 12890 h 91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078" h="91276">
                      <a:moveTo>
                        <a:pt x="40039" y="91277"/>
                      </a:moveTo>
                      <a:cubicBezTo>
                        <a:pt x="16462" y="91277"/>
                        <a:pt x="0" y="72506"/>
                        <a:pt x="0" y="45652"/>
                      </a:cubicBezTo>
                      <a:cubicBezTo>
                        <a:pt x="0" y="18798"/>
                        <a:pt x="16462" y="0"/>
                        <a:pt x="40039" y="0"/>
                      </a:cubicBezTo>
                      <a:cubicBezTo>
                        <a:pt x="63617" y="0"/>
                        <a:pt x="80079" y="18771"/>
                        <a:pt x="80079" y="45625"/>
                      </a:cubicBezTo>
                      <a:cubicBezTo>
                        <a:pt x="80079" y="72479"/>
                        <a:pt x="63590" y="91277"/>
                        <a:pt x="40039" y="91277"/>
                      </a:cubicBezTo>
                      <a:close/>
                      <a:moveTo>
                        <a:pt x="40039" y="12890"/>
                      </a:moveTo>
                      <a:cubicBezTo>
                        <a:pt x="20006" y="12890"/>
                        <a:pt x="12890" y="30533"/>
                        <a:pt x="12890" y="45652"/>
                      </a:cubicBezTo>
                      <a:cubicBezTo>
                        <a:pt x="12890" y="60771"/>
                        <a:pt x="20006" y="78414"/>
                        <a:pt x="40039" y="78414"/>
                      </a:cubicBezTo>
                      <a:cubicBezTo>
                        <a:pt x="60072" y="78414"/>
                        <a:pt x="67189" y="60771"/>
                        <a:pt x="67189" y="45652"/>
                      </a:cubicBezTo>
                      <a:cubicBezTo>
                        <a:pt x="67189" y="30533"/>
                        <a:pt x="60072" y="12890"/>
                        <a:pt x="40039" y="12890"/>
                      </a:cubicBezTo>
                      <a:close/>
                    </a:path>
                  </a:pathLst>
                </a:custGeom>
                <a:solidFill>
                  <a:schemeClr val="accent1"/>
                </a:solidFill>
                <a:ln w="2681" cap="flat">
                  <a:noFill/>
                  <a:prstDash val="solid"/>
                  <a:miter/>
                </a:ln>
              </p:spPr>
              <p:txBody>
                <a:bodyPr rtlCol="0" anchor="ctr"/>
                <a:lstStyle/>
                <a:p>
                  <a:endParaRPr lang="en-GB" dirty="0"/>
                </a:p>
              </p:txBody>
            </p:sp>
            <p:sp>
              <p:nvSpPr>
                <p:cNvPr id="87" name="Freihandform: Form 39">
                  <a:extLst>
                    <a:ext uri="{FF2B5EF4-FFF2-40B4-BE49-F238E27FC236}">
                      <a16:creationId xmlns:a16="http://schemas.microsoft.com/office/drawing/2014/main" id="{06DF7301-E4AE-4A20-BCF3-0AC9836AD5DE}"/>
                    </a:ext>
                  </a:extLst>
                </p:cNvPr>
                <p:cNvSpPr/>
                <p:nvPr/>
              </p:nvSpPr>
              <p:spPr>
                <a:xfrm>
                  <a:off x="1945345" y="1826900"/>
                  <a:ext cx="12889" cy="74466"/>
                </a:xfrm>
                <a:custGeom>
                  <a:avLst/>
                  <a:gdLst>
                    <a:gd name="connsiteX0" fmla="*/ 6445 w 12889"/>
                    <a:gd name="connsiteY0" fmla="*/ 74466 h 74466"/>
                    <a:gd name="connsiteX1" fmla="*/ 0 w 12889"/>
                    <a:gd name="connsiteY1" fmla="*/ 68021 h 74466"/>
                    <a:gd name="connsiteX2" fmla="*/ 0 w 12889"/>
                    <a:gd name="connsiteY2" fmla="*/ 6445 h 74466"/>
                    <a:gd name="connsiteX3" fmla="*/ 6445 w 12889"/>
                    <a:gd name="connsiteY3" fmla="*/ 0 h 74466"/>
                    <a:gd name="connsiteX4" fmla="*/ 12890 w 12889"/>
                    <a:gd name="connsiteY4" fmla="*/ 6445 h 74466"/>
                    <a:gd name="connsiteX5" fmla="*/ 12890 w 12889"/>
                    <a:gd name="connsiteY5" fmla="*/ 68021 h 74466"/>
                    <a:gd name="connsiteX6" fmla="*/ 6445 w 12889"/>
                    <a:gd name="connsiteY6" fmla="*/ 74466 h 7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89" h="74466">
                      <a:moveTo>
                        <a:pt x="6445" y="74466"/>
                      </a:moveTo>
                      <a:cubicBezTo>
                        <a:pt x="2900" y="74466"/>
                        <a:pt x="0" y="71593"/>
                        <a:pt x="0" y="68021"/>
                      </a:cubicBezTo>
                      <a:lnTo>
                        <a:pt x="0" y="6445"/>
                      </a:lnTo>
                      <a:cubicBezTo>
                        <a:pt x="0" y="2900"/>
                        <a:pt x="2873" y="0"/>
                        <a:pt x="6445" y="0"/>
                      </a:cubicBezTo>
                      <a:cubicBezTo>
                        <a:pt x="9990" y="0"/>
                        <a:pt x="12890" y="2873"/>
                        <a:pt x="12890" y="6445"/>
                      </a:cubicBezTo>
                      <a:lnTo>
                        <a:pt x="12890" y="68021"/>
                      </a:lnTo>
                      <a:cubicBezTo>
                        <a:pt x="12863" y="71593"/>
                        <a:pt x="9990" y="74466"/>
                        <a:pt x="6445" y="74466"/>
                      </a:cubicBezTo>
                      <a:close/>
                    </a:path>
                  </a:pathLst>
                </a:custGeom>
                <a:solidFill>
                  <a:schemeClr val="accent1"/>
                </a:solidFill>
                <a:ln w="2681" cap="flat">
                  <a:noFill/>
                  <a:prstDash val="solid"/>
                  <a:miter/>
                </a:ln>
              </p:spPr>
              <p:txBody>
                <a:bodyPr rtlCol="0" anchor="ctr"/>
                <a:lstStyle/>
                <a:p>
                  <a:endParaRPr lang="en-GB" dirty="0"/>
                </a:p>
              </p:txBody>
            </p:sp>
            <p:sp>
              <p:nvSpPr>
                <p:cNvPr id="88" name="Freihandform: Form 40">
                  <a:extLst>
                    <a:ext uri="{FF2B5EF4-FFF2-40B4-BE49-F238E27FC236}">
                      <a16:creationId xmlns:a16="http://schemas.microsoft.com/office/drawing/2014/main" id="{AB732F8E-D085-4251-B012-38D0C9184547}"/>
                    </a:ext>
                  </a:extLst>
                </p:cNvPr>
                <p:cNvSpPr/>
                <p:nvPr/>
              </p:nvSpPr>
              <p:spPr>
                <a:xfrm>
                  <a:off x="1885931" y="1878939"/>
                  <a:ext cx="120943" cy="40983"/>
                </a:xfrm>
                <a:custGeom>
                  <a:avLst/>
                  <a:gdLst>
                    <a:gd name="connsiteX0" fmla="*/ 6432 w 120943"/>
                    <a:gd name="connsiteY0" fmla="*/ 40984 h 40983"/>
                    <a:gd name="connsiteX1" fmla="*/ 2672 w 120943"/>
                    <a:gd name="connsiteY1" fmla="*/ 39776 h 40983"/>
                    <a:gd name="connsiteX2" fmla="*/ 1222 w 120943"/>
                    <a:gd name="connsiteY2" fmla="*/ 30779 h 40983"/>
                    <a:gd name="connsiteX3" fmla="*/ 7989 w 120943"/>
                    <a:gd name="connsiteY3" fmla="*/ 21381 h 40983"/>
                    <a:gd name="connsiteX4" fmla="*/ 24075 w 120943"/>
                    <a:gd name="connsiteY4" fmla="*/ 15365 h 40983"/>
                    <a:gd name="connsiteX5" fmla="*/ 45907 w 120943"/>
                    <a:gd name="connsiteY5" fmla="*/ 19447 h 40983"/>
                    <a:gd name="connsiteX6" fmla="*/ 107081 w 120943"/>
                    <a:gd name="connsiteY6" fmla="*/ 22428 h 40983"/>
                    <a:gd name="connsiteX7" fmla="*/ 105550 w 120943"/>
                    <a:gd name="connsiteY7" fmla="*/ 7067 h 40983"/>
                    <a:gd name="connsiteX8" fmla="*/ 111324 w 120943"/>
                    <a:gd name="connsiteY8" fmla="*/ 32 h 40983"/>
                    <a:gd name="connsiteX9" fmla="*/ 118359 w 120943"/>
                    <a:gd name="connsiteY9" fmla="*/ 5805 h 40983"/>
                    <a:gd name="connsiteX10" fmla="*/ 120910 w 120943"/>
                    <a:gd name="connsiteY10" fmla="*/ 31666 h 40983"/>
                    <a:gd name="connsiteX11" fmla="*/ 118064 w 120943"/>
                    <a:gd name="connsiteY11" fmla="*/ 37654 h 40983"/>
                    <a:gd name="connsiteX12" fmla="*/ 111431 w 120943"/>
                    <a:gd name="connsiteY12" fmla="*/ 37976 h 40983"/>
                    <a:gd name="connsiteX13" fmla="*/ 46444 w 120943"/>
                    <a:gd name="connsiteY13" fmla="*/ 32364 h 40983"/>
                    <a:gd name="connsiteX14" fmla="*/ 44457 w 120943"/>
                    <a:gd name="connsiteY14" fmla="*/ 32310 h 40983"/>
                    <a:gd name="connsiteX15" fmla="*/ 21094 w 120943"/>
                    <a:gd name="connsiteY15" fmla="*/ 27906 h 40983"/>
                    <a:gd name="connsiteX16" fmla="*/ 19698 w 120943"/>
                    <a:gd name="connsiteY16" fmla="*/ 27476 h 40983"/>
                    <a:gd name="connsiteX17" fmla="*/ 18409 w 120943"/>
                    <a:gd name="connsiteY17" fmla="*/ 28900 h 40983"/>
                    <a:gd name="connsiteX18" fmla="*/ 11642 w 120943"/>
                    <a:gd name="connsiteY18" fmla="*/ 38299 h 40983"/>
                    <a:gd name="connsiteX19" fmla="*/ 6432 w 120943"/>
                    <a:gd name="connsiteY19" fmla="*/ 40984 h 4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943" h="40983">
                      <a:moveTo>
                        <a:pt x="6432" y="40984"/>
                      </a:moveTo>
                      <a:cubicBezTo>
                        <a:pt x="5116" y="40984"/>
                        <a:pt x="3800" y="40581"/>
                        <a:pt x="2672" y="39776"/>
                      </a:cubicBezTo>
                      <a:cubicBezTo>
                        <a:pt x="-201" y="37708"/>
                        <a:pt x="-872" y="33680"/>
                        <a:pt x="1222" y="30779"/>
                      </a:cubicBezTo>
                      <a:lnTo>
                        <a:pt x="7989" y="21381"/>
                      </a:lnTo>
                      <a:cubicBezTo>
                        <a:pt x="11400" y="16627"/>
                        <a:pt x="17630" y="13056"/>
                        <a:pt x="24075" y="15365"/>
                      </a:cubicBezTo>
                      <a:lnTo>
                        <a:pt x="45907" y="19447"/>
                      </a:lnTo>
                      <a:cubicBezTo>
                        <a:pt x="52164" y="18749"/>
                        <a:pt x="84040" y="15634"/>
                        <a:pt x="107081" y="22428"/>
                      </a:cubicBezTo>
                      <a:lnTo>
                        <a:pt x="105550" y="7067"/>
                      </a:lnTo>
                      <a:cubicBezTo>
                        <a:pt x="105201" y="3523"/>
                        <a:pt x="107779" y="381"/>
                        <a:pt x="111324" y="32"/>
                      </a:cubicBezTo>
                      <a:cubicBezTo>
                        <a:pt x="114868" y="-317"/>
                        <a:pt x="118010" y="2261"/>
                        <a:pt x="118359" y="5805"/>
                      </a:cubicBezTo>
                      <a:lnTo>
                        <a:pt x="120910" y="31666"/>
                      </a:lnTo>
                      <a:cubicBezTo>
                        <a:pt x="121152" y="34029"/>
                        <a:pt x="120051" y="36338"/>
                        <a:pt x="118064" y="37654"/>
                      </a:cubicBezTo>
                      <a:cubicBezTo>
                        <a:pt x="116077" y="38970"/>
                        <a:pt x="113526" y="39104"/>
                        <a:pt x="111431" y="37976"/>
                      </a:cubicBezTo>
                      <a:cubicBezTo>
                        <a:pt x="94432" y="28819"/>
                        <a:pt x="58743" y="30833"/>
                        <a:pt x="46444" y="32364"/>
                      </a:cubicBezTo>
                      <a:cubicBezTo>
                        <a:pt x="45800" y="32444"/>
                        <a:pt x="45102" y="32418"/>
                        <a:pt x="44457" y="32310"/>
                      </a:cubicBezTo>
                      <a:lnTo>
                        <a:pt x="21094" y="27906"/>
                      </a:lnTo>
                      <a:cubicBezTo>
                        <a:pt x="20611" y="27826"/>
                        <a:pt x="20154" y="27664"/>
                        <a:pt x="19698" y="27476"/>
                      </a:cubicBezTo>
                      <a:cubicBezTo>
                        <a:pt x="19698" y="27584"/>
                        <a:pt x="18946" y="28148"/>
                        <a:pt x="18409" y="28900"/>
                      </a:cubicBezTo>
                      <a:lnTo>
                        <a:pt x="11642" y="38299"/>
                      </a:lnTo>
                      <a:cubicBezTo>
                        <a:pt x="10406" y="40044"/>
                        <a:pt x="8419" y="40984"/>
                        <a:pt x="6432" y="40984"/>
                      </a:cubicBezTo>
                      <a:close/>
                    </a:path>
                  </a:pathLst>
                </a:custGeom>
                <a:solidFill>
                  <a:schemeClr val="accent1"/>
                </a:solidFill>
                <a:ln w="2681" cap="flat">
                  <a:noFill/>
                  <a:prstDash val="solid"/>
                  <a:miter/>
                </a:ln>
              </p:spPr>
              <p:txBody>
                <a:bodyPr rtlCol="0" anchor="ctr"/>
                <a:lstStyle/>
                <a:p>
                  <a:endParaRPr lang="en-GB" dirty="0"/>
                </a:p>
              </p:txBody>
            </p:sp>
            <p:sp>
              <p:nvSpPr>
                <p:cNvPr id="89" name="Freihandform: Form 41">
                  <a:extLst>
                    <a:ext uri="{FF2B5EF4-FFF2-40B4-BE49-F238E27FC236}">
                      <a16:creationId xmlns:a16="http://schemas.microsoft.com/office/drawing/2014/main" id="{27F8A78D-44DC-4D7F-BB76-755EED461E50}"/>
                    </a:ext>
                  </a:extLst>
                </p:cNvPr>
                <p:cNvSpPr/>
                <p:nvPr/>
              </p:nvSpPr>
              <p:spPr>
                <a:xfrm>
                  <a:off x="2001336" y="1944467"/>
                  <a:ext cx="12889" cy="40871"/>
                </a:xfrm>
                <a:custGeom>
                  <a:avLst/>
                  <a:gdLst>
                    <a:gd name="connsiteX0" fmla="*/ 6445 w 12889"/>
                    <a:gd name="connsiteY0" fmla="*/ 40872 h 40871"/>
                    <a:gd name="connsiteX1" fmla="*/ 0 w 12889"/>
                    <a:gd name="connsiteY1" fmla="*/ 34427 h 40871"/>
                    <a:gd name="connsiteX2" fmla="*/ 0 w 12889"/>
                    <a:gd name="connsiteY2" fmla="*/ 6445 h 40871"/>
                    <a:gd name="connsiteX3" fmla="*/ 6445 w 12889"/>
                    <a:gd name="connsiteY3" fmla="*/ 0 h 40871"/>
                    <a:gd name="connsiteX4" fmla="*/ 12890 w 12889"/>
                    <a:gd name="connsiteY4" fmla="*/ 6445 h 40871"/>
                    <a:gd name="connsiteX5" fmla="*/ 12890 w 12889"/>
                    <a:gd name="connsiteY5" fmla="*/ 34427 h 40871"/>
                    <a:gd name="connsiteX6" fmla="*/ 6445 w 12889"/>
                    <a:gd name="connsiteY6" fmla="*/ 40872 h 40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89" h="40871">
                      <a:moveTo>
                        <a:pt x="6445" y="40872"/>
                      </a:moveTo>
                      <a:cubicBezTo>
                        <a:pt x="2900" y="40872"/>
                        <a:pt x="0" y="37998"/>
                        <a:pt x="0" y="34427"/>
                      </a:cubicBezTo>
                      <a:lnTo>
                        <a:pt x="0" y="6445"/>
                      </a:lnTo>
                      <a:cubicBezTo>
                        <a:pt x="0" y="2900"/>
                        <a:pt x="2873" y="0"/>
                        <a:pt x="6445" y="0"/>
                      </a:cubicBezTo>
                      <a:cubicBezTo>
                        <a:pt x="9990" y="0"/>
                        <a:pt x="12890" y="2873"/>
                        <a:pt x="12890" y="6445"/>
                      </a:cubicBezTo>
                      <a:lnTo>
                        <a:pt x="12890" y="34427"/>
                      </a:lnTo>
                      <a:cubicBezTo>
                        <a:pt x="12863" y="37998"/>
                        <a:pt x="9990" y="40872"/>
                        <a:pt x="6445" y="40872"/>
                      </a:cubicBezTo>
                      <a:close/>
                    </a:path>
                  </a:pathLst>
                </a:custGeom>
                <a:solidFill>
                  <a:schemeClr val="accent1"/>
                </a:solidFill>
                <a:ln w="2681" cap="flat">
                  <a:noFill/>
                  <a:prstDash val="solid"/>
                  <a:miter/>
                </a:ln>
              </p:spPr>
              <p:txBody>
                <a:bodyPr rtlCol="0" anchor="ctr"/>
                <a:lstStyle/>
                <a:p>
                  <a:endParaRPr lang="en-GB" dirty="0"/>
                </a:p>
              </p:txBody>
            </p:sp>
            <p:sp>
              <p:nvSpPr>
                <p:cNvPr id="90" name="Freihandform: Form 42">
                  <a:extLst>
                    <a:ext uri="{FF2B5EF4-FFF2-40B4-BE49-F238E27FC236}">
                      <a16:creationId xmlns:a16="http://schemas.microsoft.com/office/drawing/2014/main" id="{F2F4F18F-48DB-49CB-889F-18774DED37CC}"/>
                    </a:ext>
                  </a:extLst>
                </p:cNvPr>
                <p:cNvSpPr/>
                <p:nvPr/>
              </p:nvSpPr>
              <p:spPr>
                <a:xfrm>
                  <a:off x="1889355" y="1944467"/>
                  <a:ext cx="12889" cy="40871"/>
                </a:xfrm>
                <a:custGeom>
                  <a:avLst/>
                  <a:gdLst>
                    <a:gd name="connsiteX0" fmla="*/ 6445 w 12889"/>
                    <a:gd name="connsiteY0" fmla="*/ 40872 h 40871"/>
                    <a:gd name="connsiteX1" fmla="*/ 0 w 12889"/>
                    <a:gd name="connsiteY1" fmla="*/ 34427 h 40871"/>
                    <a:gd name="connsiteX2" fmla="*/ 0 w 12889"/>
                    <a:gd name="connsiteY2" fmla="*/ 6445 h 40871"/>
                    <a:gd name="connsiteX3" fmla="*/ 6445 w 12889"/>
                    <a:gd name="connsiteY3" fmla="*/ 0 h 40871"/>
                    <a:gd name="connsiteX4" fmla="*/ 12890 w 12889"/>
                    <a:gd name="connsiteY4" fmla="*/ 6445 h 40871"/>
                    <a:gd name="connsiteX5" fmla="*/ 12890 w 12889"/>
                    <a:gd name="connsiteY5" fmla="*/ 34427 h 40871"/>
                    <a:gd name="connsiteX6" fmla="*/ 6445 w 12889"/>
                    <a:gd name="connsiteY6" fmla="*/ 40872 h 40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89" h="40871">
                      <a:moveTo>
                        <a:pt x="6445" y="40872"/>
                      </a:moveTo>
                      <a:cubicBezTo>
                        <a:pt x="2900" y="40872"/>
                        <a:pt x="0" y="37998"/>
                        <a:pt x="0" y="34427"/>
                      </a:cubicBezTo>
                      <a:lnTo>
                        <a:pt x="0" y="6445"/>
                      </a:lnTo>
                      <a:cubicBezTo>
                        <a:pt x="0" y="2900"/>
                        <a:pt x="2873" y="0"/>
                        <a:pt x="6445" y="0"/>
                      </a:cubicBezTo>
                      <a:cubicBezTo>
                        <a:pt x="9990" y="0"/>
                        <a:pt x="12890" y="2873"/>
                        <a:pt x="12890" y="6445"/>
                      </a:cubicBezTo>
                      <a:lnTo>
                        <a:pt x="12890" y="34427"/>
                      </a:lnTo>
                      <a:cubicBezTo>
                        <a:pt x="12863" y="37998"/>
                        <a:pt x="9990" y="40872"/>
                        <a:pt x="6445" y="40872"/>
                      </a:cubicBezTo>
                      <a:close/>
                    </a:path>
                  </a:pathLst>
                </a:custGeom>
                <a:solidFill>
                  <a:schemeClr val="accent1"/>
                </a:solidFill>
                <a:ln w="2681" cap="flat">
                  <a:noFill/>
                  <a:prstDash val="solid"/>
                  <a:miter/>
                </a:ln>
              </p:spPr>
              <p:txBody>
                <a:bodyPr rtlCol="0" anchor="ctr"/>
                <a:lstStyle/>
                <a:p>
                  <a:endParaRPr lang="en-GB" dirty="0"/>
                </a:p>
              </p:txBody>
            </p:sp>
            <p:sp>
              <p:nvSpPr>
                <p:cNvPr id="91" name="Freihandform: Form 43">
                  <a:extLst>
                    <a:ext uri="{FF2B5EF4-FFF2-40B4-BE49-F238E27FC236}">
                      <a16:creationId xmlns:a16="http://schemas.microsoft.com/office/drawing/2014/main" id="{08A180C4-BC66-4890-9EF3-1244BAC0B7C1}"/>
                    </a:ext>
                  </a:extLst>
                </p:cNvPr>
                <p:cNvSpPr/>
                <p:nvPr/>
              </p:nvSpPr>
              <p:spPr>
                <a:xfrm>
                  <a:off x="1850191" y="1826900"/>
                  <a:ext cx="192093" cy="125300"/>
                </a:xfrm>
                <a:custGeom>
                  <a:avLst/>
                  <a:gdLst>
                    <a:gd name="connsiteX0" fmla="*/ 168009 w 192093"/>
                    <a:gd name="connsiteY0" fmla="*/ 125301 h 125300"/>
                    <a:gd name="connsiteX1" fmla="*/ 126412 w 192093"/>
                    <a:gd name="connsiteY1" fmla="*/ 125301 h 125300"/>
                    <a:gd name="connsiteX2" fmla="*/ 111320 w 192093"/>
                    <a:gd name="connsiteY2" fmla="*/ 122562 h 125300"/>
                    <a:gd name="connsiteX3" fmla="*/ 110703 w 192093"/>
                    <a:gd name="connsiteY3" fmla="*/ 122642 h 125300"/>
                    <a:gd name="connsiteX4" fmla="*/ 78505 w 192093"/>
                    <a:gd name="connsiteY4" fmla="*/ 125274 h 125300"/>
                    <a:gd name="connsiteX5" fmla="*/ 23937 w 192093"/>
                    <a:gd name="connsiteY5" fmla="*/ 125301 h 125300"/>
                    <a:gd name="connsiteX6" fmla="*/ 4495 w 192093"/>
                    <a:gd name="connsiteY6" fmla="*/ 116949 h 125300"/>
                    <a:gd name="connsiteX7" fmla="*/ 198 w 192093"/>
                    <a:gd name="connsiteY7" fmla="*/ 102341 h 125300"/>
                    <a:gd name="connsiteX8" fmla="*/ 11826 w 192093"/>
                    <a:gd name="connsiteY8" fmla="*/ 37408 h 125300"/>
                    <a:gd name="connsiteX9" fmla="*/ 61157 w 192093"/>
                    <a:gd name="connsiteY9" fmla="*/ 0 h 125300"/>
                    <a:gd name="connsiteX10" fmla="*/ 68032 w 192093"/>
                    <a:gd name="connsiteY10" fmla="*/ 0 h 125300"/>
                    <a:gd name="connsiteX11" fmla="*/ 73913 w 192093"/>
                    <a:gd name="connsiteY11" fmla="*/ 3786 h 125300"/>
                    <a:gd name="connsiteX12" fmla="*/ 101653 w 192093"/>
                    <a:gd name="connsiteY12" fmla="*/ 65363 h 125300"/>
                    <a:gd name="connsiteX13" fmla="*/ 129366 w 192093"/>
                    <a:gd name="connsiteY13" fmla="*/ 3786 h 125300"/>
                    <a:gd name="connsiteX14" fmla="*/ 135247 w 192093"/>
                    <a:gd name="connsiteY14" fmla="*/ 0 h 125300"/>
                    <a:gd name="connsiteX15" fmla="*/ 139248 w 192093"/>
                    <a:gd name="connsiteY15" fmla="*/ 0 h 125300"/>
                    <a:gd name="connsiteX16" fmla="*/ 183020 w 192093"/>
                    <a:gd name="connsiteY16" fmla="*/ 37246 h 125300"/>
                    <a:gd name="connsiteX17" fmla="*/ 191802 w 192093"/>
                    <a:gd name="connsiteY17" fmla="*/ 102421 h 125300"/>
                    <a:gd name="connsiteX18" fmla="*/ 187961 w 192093"/>
                    <a:gd name="connsiteY18" fmla="*/ 116278 h 125300"/>
                    <a:gd name="connsiteX19" fmla="*/ 168009 w 192093"/>
                    <a:gd name="connsiteY19" fmla="*/ 125301 h 125300"/>
                    <a:gd name="connsiteX20" fmla="*/ 110165 w 192093"/>
                    <a:gd name="connsiteY20" fmla="*/ 108517 h 125300"/>
                    <a:gd name="connsiteX21" fmla="*/ 126385 w 192093"/>
                    <a:gd name="connsiteY21" fmla="*/ 112438 h 125300"/>
                    <a:gd name="connsiteX22" fmla="*/ 167982 w 192093"/>
                    <a:gd name="connsiteY22" fmla="*/ 112438 h 125300"/>
                    <a:gd name="connsiteX23" fmla="*/ 177945 w 192093"/>
                    <a:gd name="connsiteY23" fmla="*/ 108141 h 125300"/>
                    <a:gd name="connsiteX24" fmla="*/ 179046 w 192093"/>
                    <a:gd name="connsiteY24" fmla="*/ 104569 h 125300"/>
                    <a:gd name="connsiteX25" fmla="*/ 170265 w 192093"/>
                    <a:gd name="connsiteY25" fmla="*/ 39422 h 125300"/>
                    <a:gd name="connsiteX26" fmla="*/ 139329 w 192093"/>
                    <a:gd name="connsiteY26" fmla="*/ 12890 h 125300"/>
                    <a:gd name="connsiteX27" fmla="*/ 112368 w 192093"/>
                    <a:gd name="connsiteY27" fmla="*/ 72721 h 125300"/>
                    <a:gd name="connsiteX28" fmla="*/ 101572 w 192093"/>
                    <a:gd name="connsiteY28" fmla="*/ 79461 h 125300"/>
                    <a:gd name="connsiteX29" fmla="*/ 90965 w 192093"/>
                    <a:gd name="connsiteY29" fmla="*/ 73123 h 125300"/>
                    <a:gd name="connsiteX30" fmla="*/ 63816 w 192093"/>
                    <a:gd name="connsiteY30" fmla="*/ 12890 h 125300"/>
                    <a:gd name="connsiteX31" fmla="*/ 61103 w 192093"/>
                    <a:gd name="connsiteY31" fmla="*/ 12890 h 125300"/>
                    <a:gd name="connsiteX32" fmla="*/ 24421 w 192093"/>
                    <a:gd name="connsiteY32" fmla="*/ 39851 h 125300"/>
                    <a:gd name="connsiteX33" fmla="*/ 12847 w 192093"/>
                    <a:gd name="connsiteY33" fmla="*/ 104435 h 125300"/>
                    <a:gd name="connsiteX34" fmla="*/ 14162 w 192093"/>
                    <a:gd name="connsiteY34" fmla="*/ 108544 h 125300"/>
                    <a:gd name="connsiteX35" fmla="*/ 23857 w 192093"/>
                    <a:gd name="connsiteY35" fmla="*/ 112438 h 125300"/>
                    <a:gd name="connsiteX36" fmla="*/ 77887 w 192093"/>
                    <a:gd name="connsiteY36" fmla="*/ 112438 h 125300"/>
                    <a:gd name="connsiteX37" fmla="*/ 91153 w 192093"/>
                    <a:gd name="connsiteY37" fmla="*/ 111337 h 125300"/>
                    <a:gd name="connsiteX38" fmla="*/ 41688 w 192093"/>
                    <a:gd name="connsiteY38" fmla="*/ 94580 h 125300"/>
                    <a:gd name="connsiteX39" fmla="*/ 36236 w 192093"/>
                    <a:gd name="connsiteY39" fmla="*/ 92458 h 125300"/>
                    <a:gd name="connsiteX40" fmla="*/ 34759 w 192093"/>
                    <a:gd name="connsiteY40" fmla="*/ 86792 h 125300"/>
                    <a:gd name="connsiteX41" fmla="*/ 40936 w 192093"/>
                    <a:gd name="connsiteY41" fmla="*/ 58595 h 125300"/>
                    <a:gd name="connsiteX42" fmla="*/ 48589 w 192093"/>
                    <a:gd name="connsiteY42" fmla="*/ 53681 h 125300"/>
                    <a:gd name="connsiteX43" fmla="*/ 53504 w 192093"/>
                    <a:gd name="connsiteY43" fmla="*/ 61335 h 125300"/>
                    <a:gd name="connsiteX44" fmla="*/ 49046 w 192093"/>
                    <a:gd name="connsiteY44" fmla="*/ 81690 h 125300"/>
                    <a:gd name="connsiteX45" fmla="*/ 110165 w 192093"/>
                    <a:gd name="connsiteY45" fmla="*/ 108517 h 12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2093" h="125300">
                      <a:moveTo>
                        <a:pt x="168009" y="125301"/>
                      </a:moveTo>
                      <a:lnTo>
                        <a:pt x="126412" y="125301"/>
                      </a:lnTo>
                      <a:cubicBezTo>
                        <a:pt x="122357" y="125301"/>
                        <a:pt x="116396" y="124092"/>
                        <a:pt x="111320" y="122562"/>
                      </a:cubicBezTo>
                      <a:cubicBezTo>
                        <a:pt x="111105" y="122588"/>
                        <a:pt x="110917" y="122615"/>
                        <a:pt x="110703" y="122642"/>
                      </a:cubicBezTo>
                      <a:lnTo>
                        <a:pt x="78505" y="125274"/>
                      </a:lnTo>
                      <a:lnTo>
                        <a:pt x="23937" y="125301"/>
                      </a:lnTo>
                      <a:cubicBezTo>
                        <a:pt x="16391" y="125301"/>
                        <a:pt x="8926" y="122105"/>
                        <a:pt x="4495" y="116949"/>
                      </a:cubicBezTo>
                      <a:cubicBezTo>
                        <a:pt x="950" y="112840"/>
                        <a:pt x="-580" y="107658"/>
                        <a:pt x="198" y="102341"/>
                      </a:cubicBezTo>
                      <a:lnTo>
                        <a:pt x="11826" y="37408"/>
                      </a:lnTo>
                      <a:cubicBezTo>
                        <a:pt x="15962" y="17052"/>
                        <a:pt x="38546" y="0"/>
                        <a:pt x="61157" y="0"/>
                      </a:cubicBezTo>
                      <a:lnTo>
                        <a:pt x="68032" y="0"/>
                      </a:lnTo>
                      <a:cubicBezTo>
                        <a:pt x="70556" y="0"/>
                        <a:pt x="72865" y="1477"/>
                        <a:pt x="73913" y="3786"/>
                      </a:cubicBezTo>
                      <a:lnTo>
                        <a:pt x="101653" y="65363"/>
                      </a:lnTo>
                      <a:lnTo>
                        <a:pt x="129366" y="3786"/>
                      </a:lnTo>
                      <a:cubicBezTo>
                        <a:pt x="130413" y="1477"/>
                        <a:pt x="132696" y="0"/>
                        <a:pt x="135247" y="0"/>
                      </a:cubicBezTo>
                      <a:lnTo>
                        <a:pt x="139248" y="0"/>
                      </a:lnTo>
                      <a:cubicBezTo>
                        <a:pt x="160221" y="0"/>
                        <a:pt x="178616" y="15683"/>
                        <a:pt x="183020" y="37246"/>
                      </a:cubicBezTo>
                      <a:lnTo>
                        <a:pt x="191802" y="102421"/>
                      </a:lnTo>
                      <a:cubicBezTo>
                        <a:pt x="192741" y="107040"/>
                        <a:pt x="191399" y="112115"/>
                        <a:pt x="187961" y="116278"/>
                      </a:cubicBezTo>
                      <a:cubicBezTo>
                        <a:pt x="183423" y="121783"/>
                        <a:pt x="175609" y="125301"/>
                        <a:pt x="168009" y="125301"/>
                      </a:cubicBezTo>
                      <a:close/>
                      <a:moveTo>
                        <a:pt x="110165" y="108517"/>
                      </a:moveTo>
                      <a:cubicBezTo>
                        <a:pt x="114113" y="110316"/>
                        <a:pt x="122760" y="112438"/>
                        <a:pt x="126385" y="112438"/>
                      </a:cubicBezTo>
                      <a:lnTo>
                        <a:pt x="167982" y="112438"/>
                      </a:lnTo>
                      <a:cubicBezTo>
                        <a:pt x="171688" y="112438"/>
                        <a:pt x="175877" y="110612"/>
                        <a:pt x="177945" y="108141"/>
                      </a:cubicBezTo>
                      <a:cubicBezTo>
                        <a:pt x="179261" y="106557"/>
                        <a:pt x="179207" y="105348"/>
                        <a:pt x="179046" y="104569"/>
                      </a:cubicBezTo>
                      <a:lnTo>
                        <a:pt x="170265" y="39422"/>
                      </a:lnTo>
                      <a:cubicBezTo>
                        <a:pt x="167177" y="24276"/>
                        <a:pt x="154152" y="12970"/>
                        <a:pt x="139329" y="12890"/>
                      </a:cubicBezTo>
                      <a:lnTo>
                        <a:pt x="112368" y="72721"/>
                      </a:lnTo>
                      <a:cubicBezTo>
                        <a:pt x="110058" y="77044"/>
                        <a:pt x="106003" y="79461"/>
                        <a:pt x="101572" y="79461"/>
                      </a:cubicBezTo>
                      <a:cubicBezTo>
                        <a:pt x="97141" y="79461"/>
                        <a:pt x="93086" y="77044"/>
                        <a:pt x="90965" y="73123"/>
                      </a:cubicBezTo>
                      <a:lnTo>
                        <a:pt x="63816" y="12890"/>
                      </a:lnTo>
                      <a:lnTo>
                        <a:pt x="61103" y="12890"/>
                      </a:lnTo>
                      <a:cubicBezTo>
                        <a:pt x="44481" y="12890"/>
                        <a:pt x="27348" y="25484"/>
                        <a:pt x="24421" y="39851"/>
                      </a:cubicBezTo>
                      <a:lnTo>
                        <a:pt x="12847" y="104435"/>
                      </a:lnTo>
                      <a:cubicBezTo>
                        <a:pt x="12632" y="105885"/>
                        <a:pt x="13035" y="107255"/>
                        <a:pt x="14162" y="108544"/>
                      </a:cubicBezTo>
                      <a:cubicBezTo>
                        <a:pt x="16176" y="110853"/>
                        <a:pt x="20070" y="112438"/>
                        <a:pt x="23857" y="112438"/>
                      </a:cubicBezTo>
                      <a:lnTo>
                        <a:pt x="77887" y="112438"/>
                      </a:lnTo>
                      <a:lnTo>
                        <a:pt x="91153" y="111337"/>
                      </a:lnTo>
                      <a:cubicBezTo>
                        <a:pt x="78478" y="103549"/>
                        <a:pt x="57908" y="92995"/>
                        <a:pt x="41688" y="94580"/>
                      </a:cubicBezTo>
                      <a:cubicBezTo>
                        <a:pt x="39620" y="94768"/>
                        <a:pt x="37606" y="93989"/>
                        <a:pt x="36236" y="92458"/>
                      </a:cubicBezTo>
                      <a:cubicBezTo>
                        <a:pt x="34867" y="90928"/>
                        <a:pt x="34303" y="88806"/>
                        <a:pt x="34759" y="86792"/>
                      </a:cubicBezTo>
                      <a:lnTo>
                        <a:pt x="40936" y="58595"/>
                      </a:lnTo>
                      <a:cubicBezTo>
                        <a:pt x="41688" y="55131"/>
                        <a:pt x="45125" y="52929"/>
                        <a:pt x="48589" y="53681"/>
                      </a:cubicBezTo>
                      <a:cubicBezTo>
                        <a:pt x="52053" y="54433"/>
                        <a:pt x="54256" y="57870"/>
                        <a:pt x="53504" y="61335"/>
                      </a:cubicBezTo>
                      <a:lnTo>
                        <a:pt x="49046" y="81690"/>
                      </a:lnTo>
                      <a:cubicBezTo>
                        <a:pt x="75900" y="83811"/>
                        <a:pt x="105627" y="105160"/>
                        <a:pt x="110165" y="108517"/>
                      </a:cubicBezTo>
                      <a:close/>
                    </a:path>
                  </a:pathLst>
                </a:custGeom>
                <a:solidFill>
                  <a:schemeClr val="accent1"/>
                </a:solidFill>
                <a:ln w="2681" cap="flat">
                  <a:noFill/>
                  <a:prstDash val="solid"/>
                  <a:miter/>
                </a:ln>
              </p:spPr>
              <p:txBody>
                <a:bodyPr rtlCol="0" anchor="ctr"/>
                <a:lstStyle/>
                <a:p>
                  <a:endParaRPr lang="en-GB" dirty="0"/>
                </a:p>
              </p:txBody>
            </p:sp>
          </p:grpSp>
          <p:sp>
            <p:nvSpPr>
              <p:cNvPr id="84" name="Freihandform: Form 44">
                <a:extLst>
                  <a:ext uri="{FF2B5EF4-FFF2-40B4-BE49-F238E27FC236}">
                    <a16:creationId xmlns:a16="http://schemas.microsoft.com/office/drawing/2014/main" id="{833A8444-DA36-4BF1-A031-603909325823}"/>
                  </a:ext>
                </a:extLst>
              </p:cNvPr>
              <p:cNvSpPr/>
              <p:nvPr/>
            </p:nvSpPr>
            <p:spPr>
              <a:xfrm>
                <a:off x="1835862" y="1961608"/>
                <a:ext cx="231803" cy="60789"/>
              </a:xfrm>
              <a:custGeom>
                <a:avLst/>
                <a:gdLst>
                  <a:gd name="connsiteX0" fmla="*/ 115875 w 231803"/>
                  <a:gd name="connsiteY0" fmla="*/ 60790 h 60789"/>
                  <a:gd name="connsiteX1" fmla="*/ 0 w 231803"/>
                  <a:gd name="connsiteY1" fmla="*/ 28592 h 60789"/>
                  <a:gd name="connsiteX2" fmla="*/ 59052 w 231803"/>
                  <a:gd name="connsiteY2" fmla="*/ 73 h 60789"/>
                  <a:gd name="connsiteX3" fmla="*/ 66329 w 231803"/>
                  <a:gd name="connsiteY3" fmla="*/ 5551 h 60789"/>
                  <a:gd name="connsiteX4" fmla="*/ 60851 w 231803"/>
                  <a:gd name="connsiteY4" fmla="*/ 12828 h 60789"/>
                  <a:gd name="connsiteX5" fmla="*/ 12890 w 231803"/>
                  <a:gd name="connsiteY5" fmla="*/ 28619 h 60789"/>
                  <a:gd name="connsiteX6" fmla="*/ 115902 w 231803"/>
                  <a:gd name="connsiteY6" fmla="*/ 47900 h 60789"/>
                  <a:gd name="connsiteX7" fmla="*/ 218914 w 231803"/>
                  <a:gd name="connsiteY7" fmla="*/ 28565 h 60789"/>
                  <a:gd name="connsiteX8" fmla="*/ 172161 w 231803"/>
                  <a:gd name="connsiteY8" fmla="*/ 13016 h 60789"/>
                  <a:gd name="connsiteX9" fmla="*/ 166710 w 231803"/>
                  <a:gd name="connsiteY9" fmla="*/ 5712 h 60789"/>
                  <a:gd name="connsiteX10" fmla="*/ 174014 w 231803"/>
                  <a:gd name="connsiteY10" fmla="*/ 261 h 60789"/>
                  <a:gd name="connsiteX11" fmla="*/ 231804 w 231803"/>
                  <a:gd name="connsiteY11" fmla="*/ 28592 h 60789"/>
                  <a:gd name="connsiteX12" fmla="*/ 115875 w 231803"/>
                  <a:gd name="connsiteY12" fmla="*/ 60790 h 6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1803" h="60789">
                    <a:moveTo>
                      <a:pt x="115875" y="60790"/>
                    </a:moveTo>
                    <a:cubicBezTo>
                      <a:pt x="72828" y="60790"/>
                      <a:pt x="0" y="54022"/>
                      <a:pt x="0" y="28592"/>
                    </a:cubicBezTo>
                    <a:cubicBezTo>
                      <a:pt x="0" y="11862"/>
                      <a:pt x="32117" y="3859"/>
                      <a:pt x="59052" y="73"/>
                    </a:cubicBezTo>
                    <a:cubicBezTo>
                      <a:pt x="62543" y="-464"/>
                      <a:pt x="65819" y="2033"/>
                      <a:pt x="66329" y="5551"/>
                    </a:cubicBezTo>
                    <a:cubicBezTo>
                      <a:pt x="66813" y="9069"/>
                      <a:pt x="64369" y="12318"/>
                      <a:pt x="60851" y="12828"/>
                    </a:cubicBezTo>
                    <a:cubicBezTo>
                      <a:pt x="22826" y="18145"/>
                      <a:pt x="13239" y="26766"/>
                      <a:pt x="12890" y="28619"/>
                    </a:cubicBezTo>
                    <a:cubicBezTo>
                      <a:pt x="14098" y="35117"/>
                      <a:pt x="51560" y="47900"/>
                      <a:pt x="115902" y="47900"/>
                    </a:cubicBezTo>
                    <a:cubicBezTo>
                      <a:pt x="180217" y="47900"/>
                      <a:pt x="217678" y="35117"/>
                      <a:pt x="218914" y="28565"/>
                    </a:cubicBezTo>
                    <a:cubicBezTo>
                      <a:pt x="218565" y="26819"/>
                      <a:pt x="209193" y="18360"/>
                      <a:pt x="172161" y="13016"/>
                    </a:cubicBezTo>
                    <a:cubicBezTo>
                      <a:pt x="168643" y="12506"/>
                      <a:pt x="166199" y="9257"/>
                      <a:pt x="166710" y="5712"/>
                    </a:cubicBezTo>
                    <a:cubicBezTo>
                      <a:pt x="167220" y="2194"/>
                      <a:pt x="170523" y="-223"/>
                      <a:pt x="174014" y="261"/>
                    </a:cubicBezTo>
                    <a:cubicBezTo>
                      <a:pt x="212361" y="5793"/>
                      <a:pt x="231804" y="15326"/>
                      <a:pt x="231804" y="28592"/>
                    </a:cubicBezTo>
                    <a:cubicBezTo>
                      <a:pt x="231750" y="54022"/>
                      <a:pt x="158922" y="60790"/>
                      <a:pt x="115875" y="60790"/>
                    </a:cubicBezTo>
                    <a:close/>
                  </a:path>
                </a:pathLst>
              </a:custGeom>
              <a:solidFill>
                <a:schemeClr val="accent1"/>
              </a:solidFill>
              <a:ln w="2681" cap="flat">
                <a:noFill/>
                <a:prstDash val="solid"/>
                <a:miter/>
              </a:ln>
            </p:spPr>
            <p:txBody>
              <a:bodyPr rtlCol="0" anchor="ctr"/>
              <a:lstStyle/>
              <a:p>
                <a:endParaRPr lang="en-GB" dirty="0"/>
              </a:p>
            </p:txBody>
          </p:sp>
        </p:grpSp>
        <p:grpSp>
          <p:nvGrpSpPr>
            <p:cNvPr id="68" name="Group 67">
              <a:extLst>
                <a:ext uri="{FF2B5EF4-FFF2-40B4-BE49-F238E27FC236}">
                  <a16:creationId xmlns:a16="http://schemas.microsoft.com/office/drawing/2014/main" id="{0D639FE2-E425-47D9-8318-9F9F1E295DEA}"/>
                </a:ext>
              </a:extLst>
            </p:cNvPr>
            <p:cNvGrpSpPr/>
            <p:nvPr/>
          </p:nvGrpSpPr>
          <p:grpSpPr>
            <a:xfrm>
              <a:off x="1482682" y="1585986"/>
              <a:ext cx="713605" cy="248017"/>
              <a:chOff x="1653469" y="1663870"/>
              <a:chExt cx="592238" cy="205835"/>
            </a:xfrm>
            <a:solidFill>
              <a:schemeClr val="tx2"/>
            </a:solidFill>
          </p:grpSpPr>
          <p:grpSp>
            <p:nvGrpSpPr>
              <p:cNvPr id="69" name="Grafik 294">
                <a:extLst>
                  <a:ext uri="{FF2B5EF4-FFF2-40B4-BE49-F238E27FC236}">
                    <a16:creationId xmlns:a16="http://schemas.microsoft.com/office/drawing/2014/main" id="{A270B9B4-440A-45AB-90B9-A4303B34E04C}"/>
                  </a:ext>
                </a:extLst>
              </p:cNvPr>
              <p:cNvGrpSpPr/>
              <p:nvPr/>
            </p:nvGrpSpPr>
            <p:grpSpPr>
              <a:xfrm>
                <a:off x="2052600" y="1663870"/>
                <a:ext cx="193107" cy="205835"/>
                <a:chOff x="2052600" y="1663870"/>
                <a:chExt cx="193107" cy="205835"/>
              </a:xfrm>
              <a:grpFill/>
            </p:grpSpPr>
            <p:grpSp>
              <p:nvGrpSpPr>
                <p:cNvPr id="77" name="Grafik 294">
                  <a:extLst>
                    <a:ext uri="{FF2B5EF4-FFF2-40B4-BE49-F238E27FC236}">
                      <a16:creationId xmlns:a16="http://schemas.microsoft.com/office/drawing/2014/main" id="{1AC3B169-2225-4AE7-82B7-E7EC3E2E2978}"/>
                    </a:ext>
                  </a:extLst>
                </p:cNvPr>
                <p:cNvGrpSpPr/>
                <p:nvPr/>
              </p:nvGrpSpPr>
              <p:grpSpPr>
                <a:xfrm>
                  <a:off x="2082516" y="1663870"/>
                  <a:ext cx="133276" cy="174309"/>
                  <a:chOff x="2082516" y="1663870"/>
                  <a:chExt cx="133276" cy="174309"/>
                </a:xfrm>
                <a:grpFill/>
              </p:grpSpPr>
              <p:sp>
                <p:nvSpPr>
                  <p:cNvPr id="79" name="Freihandform: Form 47">
                    <a:extLst>
                      <a:ext uri="{FF2B5EF4-FFF2-40B4-BE49-F238E27FC236}">
                        <a16:creationId xmlns:a16="http://schemas.microsoft.com/office/drawing/2014/main" id="{1F9FAB8B-82DB-429B-A449-0FB54A5069A4}"/>
                      </a:ext>
                    </a:extLst>
                  </p:cNvPr>
                  <p:cNvSpPr/>
                  <p:nvPr/>
                </p:nvSpPr>
                <p:spPr>
                  <a:xfrm>
                    <a:off x="2082516" y="1752327"/>
                    <a:ext cx="133276" cy="85852"/>
                  </a:xfrm>
                  <a:custGeom>
                    <a:avLst/>
                    <a:gdLst>
                      <a:gd name="connsiteX0" fmla="*/ 126885 w 133276"/>
                      <a:gd name="connsiteY0" fmla="*/ 85825 h 85852"/>
                      <a:gd name="connsiteX1" fmla="*/ 120440 w 133276"/>
                      <a:gd name="connsiteY1" fmla="*/ 79380 h 85852"/>
                      <a:gd name="connsiteX2" fmla="*/ 120440 w 133276"/>
                      <a:gd name="connsiteY2" fmla="*/ 51264 h 85852"/>
                      <a:gd name="connsiteX3" fmla="*/ 77903 w 133276"/>
                      <a:gd name="connsiteY3" fmla="*/ 12863 h 85852"/>
                      <a:gd name="connsiteX4" fmla="*/ 55427 w 133276"/>
                      <a:gd name="connsiteY4" fmla="*/ 12863 h 85852"/>
                      <a:gd name="connsiteX5" fmla="*/ 12890 w 133276"/>
                      <a:gd name="connsiteY5" fmla="*/ 51264 h 85852"/>
                      <a:gd name="connsiteX6" fmla="*/ 12890 w 133276"/>
                      <a:gd name="connsiteY6" fmla="*/ 79407 h 85852"/>
                      <a:gd name="connsiteX7" fmla="*/ 6445 w 133276"/>
                      <a:gd name="connsiteY7" fmla="*/ 85852 h 85852"/>
                      <a:gd name="connsiteX8" fmla="*/ 0 w 133276"/>
                      <a:gd name="connsiteY8" fmla="*/ 79407 h 85852"/>
                      <a:gd name="connsiteX9" fmla="*/ 0 w 133276"/>
                      <a:gd name="connsiteY9" fmla="*/ 51264 h 85852"/>
                      <a:gd name="connsiteX10" fmla="*/ 55400 w 133276"/>
                      <a:gd name="connsiteY10" fmla="*/ 0 h 85852"/>
                      <a:gd name="connsiteX11" fmla="*/ 77877 w 133276"/>
                      <a:gd name="connsiteY11" fmla="*/ 0 h 85852"/>
                      <a:gd name="connsiteX12" fmla="*/ 133276 w 133276"/>
                      <a:gd name="connsiteY12" fmla="*/ 51264 h 85852"/>
                      <a:gd name="connsiteX13" fmla="*/ 133276 w 133276"/>
                      <a:gd name="connsiteY13" fmla="*/ 79407 h 85852"/>
                      <a:gd name="connsiteX14" fmla="*/ 126885 w 133276"/>
                      <a:gd name="connsiteY14" fmla="*/ 85825 h 8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3276" h="85852">
                        <a:moveTo>
                          <a:pt x="126885" y="85825"/>
                        </a:moveTo>
                        <a:cubicBezTo>
                          <a:pt x="123340" y="85825"/>
                          <a:pt x="120440" y="82952"/>
                          <a:pt x="120440" y="79380"/>
                        </a:cubicBezTo>
                        <a:lnTo>
                          <a:pt x="120440" y="51264"/>
                        </a:lnTo>
                        <a:cubicBezTo>
                          <a:pt x="120440" y="27230"/>
                          <a:pt x="104543" y="12863"/>
                          <a:pt x="77903" y="12863"/>
                        </a:cubicBezTo>
                        <a:lnTo>
                          <a:pt x="55427" y="12863"/>
                        </a:lnTo>
                        <a:cubicBezTo>
                          <a:pt x="28787" y="12863"/>
                          <a:pt x="12890" y="27203"/>
                          <a:pt x="12890" y="51264"/>
                        </a:cubicBezTo>
                        <a:lnTo>
                          <a:pt x="12890" y="79407"/>
                        </a:lnTo>
                        <a:cubicBezTo>
                          <a:pt x="12890" y="82952"/>
                          <a:pt x="10016" y="85852"/>
                          <a:pt x="6445" y="85852"/>
                        </a:cubicBezTo>
                        <a:cubicBezTo>
                          <a:pt x="2900" y="85852"/>
                          <a:pt x="0" y="82979"/>
                          <a:pt x="0" y="79407"/>
                        </a:cubicBezTo>
                        <a:lnTo>
                          <a:pt x="0" y="51264"/>
                        </a:lnTo>
                        <a:cubicBezTo>
                          <a:pt x="0" y="20114"/>
                          <a:pt x="21752" y="0"/>
                          <a:pt x="55400" y="0"/>
                        </a:cubicBezTo>
                        <a:lnTo>
                          <a:pt x="77877" y="0"/>
                        </a:lnTo>
                        <a:cubicBezTo>
                          <a:pt x="111552" y="0"/>
                          <a:pt x="133276" y="20114"/>
                          <a:pt x="133276" y="51264"/>
                        </a:cubicBezTo>
                        <a:lnTo>
                          <a:pt x="133276" y="79407"/>
                        </a:lnTo>
                        <a:cubicBezTo>
                          <a:pt x="133303" y="82952"/>
                          <a:pt x="130430" y="85825"/>
                          <a:pt x="126885" y="85825"/>
                        </a:cubicBezTo>
                        <a:close/>
                      </a:path>
                    </a:pathLst>
                  </a:custGeom>
                  <a:grpFill/>
                  <a:ln w="2681" cap="flat">
                    <a:noFill/>
                    <a:prstDash val="solid"/>
                    <a:miter/>
                  </a:ln>
                </p:spPr>
                <p:txBody>
                  <a:bodyPr rtlCol="0" anchor="ctr"/>
                  <a:lstStyle/>
                  <a:p>
                    <a:endParaRPr lang="en-GB" dirty="0"/>
                  </a:p>
                </p:txBody>
              </p:sp>
              <p:sp>
                <p:nvSpPr>
                  <p:cNvPr id="80" name="Freihandform: Form 48">
                    <a:extLst>
                      <a:ext uri="{FF2B5EF4-FFF2-40B4-BE49-F238E27FC236}">
                        <a16:creationId xmlns:a16="http://schemas.microsoft.com/office/drawing/2014/main" id="{FA0957AB-AC01-44B9-82EE-6C106F011AD1}"/>
                      </a:ext>
                    </a:extLst>
                  </p:cNvPr>
                  <p:cNvSpPr/>
                  <p:nvPr/>
                </p:nvSpPr>
                <p:spPr>
                  <a:xfrm>
                    <a:off x="2117238" y="1663870"/>
                    <a:ext cx="64127" cy="74385"/>
                  </a:xfrm>
                  <a:custGeom>
                    <a:avLst/>
                    <a:gdLst>
                      <a:gd name="connsiteX0" fmla="*/ 32064 w 64127"/>
                      <a:gd name="connsiteY0" fmla="*/ 74386 h 74385"/>
                      <a:gd name="connsiteX1" fmla="*/ 0 w 64127"/>
                      <a:gd name="connsiteY1" fmla="*/ 37193 h 74385"/>
                      <a:gd name="connsiteX2" fmla="*/ 32064 w 64127"/>
                      <a:gd name="connsiteY2" fmla="*/ 0 h 74385"/>
                      <a:gd name="connsiteX3" fmla="*/ 64127 w 64127"/>
                      <a:gd name="connsiteY3" fmla="*/ 37193 h 74385"/>
                      <a:gd name="connsiteX4" fmla="*/ 32064 w 64127"/>
                      <a:gd name="connsiteY4" fmla="*/ 74386 h 74385"/>
                      <a:gd name="connsiteX5" fmla="*/ 32064 w 64127"/>
                      <a:gd name="connsiteY5" fmla="*/ 12863 h 74385"/>
                      <a:gd name="connsiteX6" fmla="*/ 12863 w 64127"/>
                      <a:gd name="connsiteY6" fmla="*/ 37193 h 74385"/>
                      <a:gd name="connsiteX7" fmla="*/ 32064 w 64127"/>
                      <a:gd name="connsiteY7" fmla="*/ 61522 h 74385"/>
                      <a:gd name="connsiteX8" fmla="*/ 51264 w 64127"/>
                      <a:gd name="connsiteY8" fmla="*/ 37193 h 74385"/>
                      <a:gd name="connsiteX9" fmla="*/ 32064 w 64127"/>
                      <a:gd name="connsiteY9" fmla="*/ 12863 h 7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27" h="74385">
                        <a:moveTo>
                          <a:pt x="32064" y="74386"/>
                        </a:moveTo>
                        <a:cubicBezTo>
                          <a:pt x="12890" y="74386"/>
                          <a:pt x="0" y="59428"/>
                          <a:pt x="0" y="37193"/>
                        </a:cubicBezTo>
                        <a:cubicBezTo>
                          <a:pt x="0" y="14958"/>
                          <a:pt x="12890" y="0"/>
                          <a:pt x="32064" y="0"/>
                        </a:cubicBezTo>
                        <a:cubicBezTo>
                          <a:pt x="51237" y="0"/>
                          <a:pt x="64127" y="14958"/>
                          <a:pt x="64127" y="37193"/>
                        </a:cubicBezTo>
                        <a:cubicBezTo>
                          <a:pt x="64154" y="59428"/>
                          <a:pt x="51264" y="74386"/>
                          <a:pt x="32064" y="74386"/>
                        </a:cubicBezTo>
                        <a:close/>
                        <a:moveTo>
                          <a:pt x="32064" y="12863"/>
                        </a:moveTo>
                        <a:cubicBezTo>
                          <a:pt x="14259" y="12863"/>
                          <a:pt x="12863" y="31473"/>
                          <a:pt x="12863" y="37193"/>
                        </a:cubicBezTo>
                        <a:cubicBezTo>
                          <a:pt x="12863" y="42886"/>
                          <a:pt x="14259" y="61522"/>
                          <a:pt x="32064" y="61522"/>
                        </a:cubicBezTo>
                        <a:cubicBezTo>
                          <a:pt x="49868" y="61522"/>
                          <a:pt x="51264" y="42913"/>
                          <a:pt x="51264" y="37193"/>
                        </a:cubicBezTo>
                        <a:cubicBezTo>
                          <a:pt x="51264" y="31473"/>
                          <a:pt x="49895" y="12863"/>
                          <a:pt x="32064" y="12863"/>
                        </a:cubicBezTo>
                        <a:close/>
                      </a:path>
                    </a:pathLst>
                  </a:custGeom>
                  <a:grpFill/>
                  <a:ln w="2681" cap="flat">
                    <a:noFill/>
                    <a:prstDash val="solid"/>
                    <a:miter/>
                  </a:ln>
                </p:spPr>
                <p:txBody>
                  <a:bodyPr rtlCol="0" anchor="ctr"/>
                  <a:lstStyle/>
                  <a:p>
                    <a:endParaRPr lang="en-GB" dirty="0"/>
                  </a:p>
                </p:txBody>
              </p:sp>
              <p:sp>
                <p:nvSpPr>
                  <p:cNvPr id="81" name="Freihandform: Form 49">
                    <a:extLst>
                      <a:ext uri="{FF2B5EF4-FFF2-40B4-BE49-F238E27FC236}">
                        <a16:creationId xmlns:a16="http://schemas.microsoft.com/office/drawing/2014/main" id="{59236C93-71F1-4B0D-9D39-B6B67024BE82}"/>
                      </a:ext>
                    </a:extLst>
                  </p:cNvPr>
                  <p:cNvSpPr/>
                  <p:nvPr/>
                </p:nvSpPr>
                <p:spPr>
                  <a:xfrm>
                    <a:off x="2108296" y="1809392"/>
                    <a:ext cx="12889" cy="28760"/>
                  </a:xfrm>
                  <a:custGeom>
                    <a:avLst/>
                    <a:gdLst>
                      <a:gd name="connsiteX0" fmla="*/ 6445 w 12889"/>
                      <a:gd name="connsiteY0" fmla="*/ 28761 h 28760"/>
                      <a:gd name="connsiteX1" fmla="*/ 0 w 12889"/>
                      <a:gd name="connsiteY1" fmla="*/ 22316 h 28760"/>
                      <a:gd name="connsiteX2" fmla="*/ 0 w 12889"/>
                      <a:gd name="connsiteY2" fmla="*/ 6445 h 28760"/>
                      <a:gd name="connsiteX3" fmla="*/ 6445 w 12889"/>
                      <a:gd name="connsiteY3" fmla="*/ 0 h 28760"/>
                      <a:gd name="connsiteX4" fmla="*/ 12890 w 12889"/>
                      <a:gd name="connsiteY4" fmla="*/ 6445 h 28760"/>
                      <a:gd name="connsiteX5" fmla="*/ 12890 w 12889"/>
                      <a:gd name="connsiteY5" fmla="*/ 22316 h 28760"/>
                      <a:gd name="connsiteX6" fmla="*/ 6445 w 12889"/>
                      <a:gd name="connsiteY6" fmla="*/ 28761 h 2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89" h="28760">
                        <a:moveTo>
                          <a:pt x="6445" y="28761"/>
                        </a:moveTo>
                        <a:cubicBezTo>
                          <a:pt x="2900" y="28761"/>
                          <a:pt x="0" y="25887"/>
                          <a:pt x="0" y="22316"/>
                        </a:cubicBezTo>
                        <a:lnTo>
                          <a:pt x="0" y="6445"/>
                        </a:lnTo>
                        <a:cubicBezTo>
                          <a:pt x="0" y="2900"/>
                          <a:pt x="2873" y="0"/>
                          <a:pt x="6445" y="0"/>
                        </a:cubicBezTo>
                        <a:cubicBezTo>
                          <a:pt x="9990" y="0"/>
                          <a:pt x="12890" y="2873"/>
                          <a:pt x="12890" y="6445"/>
                        </a:cubicBezTo>
                        <a:lnTo>
                          <a:pt x="12890" y="22316"/>
                        </a:lnTo>
                        <a:cubicBezTo>
                          <a:pt x="12863" y="25887"/>
                          <a:pt x="9990" y="28761"/>
                          <a:pt x="6445" y="28761"/>
                        </a:cubicBezTo>
                        <a:close/>
                      </a:path>
                    </a:pathLst>
                  </a:custGeom>
                  <a:grpFill/>
                  <a:ln w="2681" cap="flat">
                    <a:noFill/>
                    <a:prstDash val="solid"/>
                    <a:miter/>
                  </a:ln>
                </p:spPr>
                <p:txBody>
                  <a:bodyPr rtlCol="0" anchor="ctr"/>
                  <a:lstStyle/>
                  <a:p>
                    <a:endParaRPr lang="en-GB" dirty="0"/>
                  </a:p>
                </p:txBody>
              </p:sp>
              <p:sp>
                <p:nvSpPr>
                  <p:cNvPr id="82" name="Freihandform: Form 50">
                    <a:extLst>
                      <a:ext uri="{FF2B5EF4-FFF2-40B4-BE49-F238E27FC236}">
                        <a16:creationId xmlns:a16="http://schemas.microsoft.com/office/drawing/2014/main" id="{063F61C4-BE6A-4A81-9E92-2E44BF01AB23}"/>
                      </a:ext>
                    </a:extLst>
                  </p:cNvPr>
                  <p:cNvSpPr/>
                  <p:nvPr/>
                </p:nvSpPr>
                <p:spPr>
                  <a:xfrm>
                    <a:off x="2177498" y="1809579"/>
                    <a:ext cx="12889" cy="28572"/>
                  </a:xfrm>
                  <a:custGeom>
                    <a:avLst/>
                    <a:gdLst>
                      <a:gd name="connsiteX0" fmla="*/ 6445 w 12889"/>
                      <a:gd name="connsiteY0" fmla="*/ 28573 h 28572"/>
                      <a:gd name="connsiteX1" fmla="*/ 0 w 12889"/>
                      <a:gd name="connsiteY1" fmla="*/ 22128 h 28572"/>
                      <a:gd name="connsiteX2" fmla="*/ 0 w 12889"/>
                      <a:gd name="connsiteY2" fmla="*/ 6445 h 28572"/>
                      <a:gd name="connsiteX3" fmla="*/ 6445 w 12889"/>
                      <a:gd name="connsiteY3" fmla="*/ 0 h 28572"/>
                      <a:gd name="connsiteX4" fmla="*/ 12890 w 12889"/>
                      <a:gd name="connsiteY4" fmla="*/ 6445 h 28572"/>
                      <a:gd name="connsiteX5" fmla="*/ 12890 w 12889"/>
                      <a:gd name="connsiteY5" fmla="*/ 22128 h 28572"/>
                      <a:gd name="connsiteX6" fmla="*/ 6445 w 12889"/>
                      <a:gd name="connsiteY6" fmla="*/ 28573 h 28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89" h="28572">
                        <a:moveTo>
                          <a:pt x="6445" y="28573"/>
                        </a:moveTo>
                        <a:cubicBezTo>
                          <a:pt x="2900" y="28573"/>
                          <a:pt x="0" y="25699"/>
                          <a:pt x="0" y="22128"/>
                        </a:cubicBezTo>
                        <a:lnTo>
                          <a:pt x="0" y="6445"/>
                        </a:lnTo>
                        <a:cubicBezTo>
                          <a:pt x="0" y="2900"/>
                          <a:pt x="2873" y="0"/>
                          <a:pt x="6445" y="0"/>
                        </a:cubicBezTo>
                        <a:cubicBezTo>
                          <a:pt x="9990" y="0"/>
                          <a:pt x="12890" y="2873"/>
                          <a:pt x="12890" y="6445"/>
                        </a:cubicBezTo>
                        <a:lnTo>
                          <a:pt x="12890" y="22128"/>
                        </a:lnTo>
                        <a:cubicBezTo>
                          <a:pt x="12890" y="25699"/>
                          <a:pt x="10017" y="28573"/>
                          <a:pt x="6445" y="28573"/>
                        </a:cubicBezTo>
                        <a:close/>
                      </a:path>
                    </a:pathLst>
                  </a:custGeom>
                  <a:grpFill/>
                  <a:ln w="2681" cap="flat">
                    <a:noFill/>
                    <a:prstDash val="solid"/>
                    <a:miter/>
                  </a:ln>
                </p:spPr>
                <p:txBody>
                  <a:bodyPr rtlCol="0" anchor="ctr"/>
                  <a:lstStyle/>
                  <a:p>
                    <a:endParaRPr lang="en-GB" dirty="0"/>
                  </a:p>
                </p:txBody>
              </p:sp>
            </p:grpSp>
            <p:sp>
              <p:nvSpPr>
                <p:cNvPr id="78" name="Freihandform: Form 51">
                  <a:extLst>
                    <a:ext uri="{FF2B5EF4-FFF2-40B4-BE49-F238E27FC236}">
                      <a16:creationId xmlns:a16="http://schemas.microsoft.com/office/drawing/2014/main" id="{90D6DF34-9747-4576-BEE5-61A83E12513F}"/>
                    </a:ext>
                  </a:extLst>
                </p:cNvPr>
                <p:cNvSpPr/>
                <p:nvPr/>
              </p:nvSpPr>
              <p:spPr>
                <a:xfrm>
                  <a:off x="2052600" y="1808788"/>
                  <a:ext cx="193107" cy="60917"/>
                </a:xfrm>
                <a:custGeom>
                  <a:avLst/>
                  <a:gdLst>
                    <a:gd name="connsiteX0" fmla="*/ 96567 w 193107"/>
                    <a:gd name="connsiteY0" fmla="*/ 60917 h 60917"/>
                    <a:gd name="connsiteX1" fmla="*/ 0 w 193107"/>
                    <a:gd name="connsiteY1" fmla="*/ 26786 h 60917"/>
                    <a:gd name="connsiteX2" fmla="*/ 33460 w 193107"/>
                    <a:gd name="connsiteY2" fmla="*/ 308 h 60917"/>
                    <a:gd name="connsiteX3" fmla="*/ 41409 w 193107"/>
                    <a:gd name="connsiteY3" fmla="*/ 4739 h 60917"/>
                    <a:gd name="connsiteX4" fmla="*/ 36978 w 193107"/>
                    <a:gd name="connsiteY4" fmla="*/ 12687 h 60917"/>
                    <a:gd name="connsiteX5" fmla="*/ 12863 w 193107"/>
                    <a:gd name="connsiteY5" fmla="*/ 26786 h 60917"/>
                    <a:gd name="connsiteX6" fmla="*/ 96540 w 193107"/>
                    <a:gd name="connsiteY6" fmla="*/ 48054 h 60917"/>
                    <a:gd name="connsiteX7" fmla="*/ 180217 w 193107"/>
                    <a:gd name="connsiteY7" fmla="*/ 26786 h 60917"/>
                    <a:gd name="connsiteX8" fmla="*/ 155941 w 193107"/>
                    <a:gd name="connsiteY8" fmla="*/ 12634 h 60917"/>
                    <a:gd name="connsiteX9" fmla="*/ 151510 w 193107"/>
                    <a:gd name="connsiteY9" fmla="*/ 4685 h 60917"/>
                    <a:gd name="connsiteX10" fmla="*/ 159459 w 193107"/>
                    <a:gd name="connsiteY10" fmla="*/ 254 h 60917"/>
                    <a:gd name="connsiteX11" fmla="*/ 193107 w 193107"/>
                    <a:gd name="connsiteY11" fmla="*/ 26786 h 60917"/>
                    <a:gd name="connsiteX12" fmla="*/ 96567 w 193107"/>
                    <a:gd name="connsiteY12" fmla="*/ 60917 h 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107" h="60917">
                      <a:moveTo>
                        <a:pt x="96567" y="60917"/>
                      </a:moveTo>
                      <a:cubicBezTo>
                        <a:pt x="48579" y="60917"/>
                        <a:pt x="0" y="49182"/>
                        <a:pt x="0" y="26786"/>
                      </a:cubicBezTo>
                      <a:cubicBezTo>
                        <a:pt x="0" y="19052"/>
                        <a:pt x="5800" y="8203"/>
                        <a:pt x="33460" y="308"/>
                      </a:cubicBezTo>
                      <a:cubicBezTo>
                        <a:pt x="36871" y="-659"/>
                        <a:pt x="40442" y="1301"/>
                        <a:pt x="41409" y="4739"/>
                      </a:cubicBezTo>
                      <a:cubicBezTo>
                        <a:pt x="42376" y="8149"/>
                        <a:pt x="40415" y="11721"/>
                        <a:pt x="36978" y="12687"/>
                      </a:cubicBezTo>
                      <a:cubicBezTo>
                        <a:pt x="19281" y="17736"/>
                        <a:pt x="12863" y="23885"/>
                        <a:pt x="12863" y="26786"/>
                      </a:cubicBezTo>
                      <a:cubicBezTo>
                        <a:pt x="12863" y="34009"/>
                        <a:pt x="42402" y="48054"/>
                        <a:pt x="96540" y="48054"/>
                      </a:cubicBezTo>
                      <a:cubicBezTo>
                        <a:pt x="150705" y="48054"/>
                        <a:pt x="180217" y="34009"/>
                        <a:pt x="180217" y="26786"/>
                      </a:cubicBezTo>
                      <a:cubicBezTo>
                        <a:pt x="180217" y="23859"/>
                        <a:pt x="173745" y="17709"/>
                        <a:pt x="155941" y="12634"/>
                      </a:cubicBezTo>
                      <a:cubicBezTo>
                        <a:pt x="152531" y="11667"/>
                        <a:pt x="150543" y="8095"/>
                        <a:pt x="151510" y="4685"/>
                      </a:cubicBezTo>
                      <a:cubicBezTo>
                        <a:pt x="152477" y="1274"/>
                        <a:pt x="156049" y="-740"/>
                        <a:pt x="159459" y="254"/>
                      </a:cubicBezTo>
                      <a:cubicBezTo>
                        <a:pt x="181479" y="6511"/>
                        <a:pt x="193107" y="15668"/>
                        <a:pt x="193107" y="26786"/>
                      </a:cubicBezTo>
                      <a:cubicBezTo>
                        <a:pt x="193134" y="49182"/>
                        <a:pt x="144555" y="60917"/>
                        <a:pt x="96567" y="60917"/>
                      </a:cubicBezTo>
                      <a:close/>
                    </a:path>
                  </a:pathLst>
                </a:custGeom>
                <a:grpFill/>
                <a:ln w="2681" cap="flat">
                  <a:noFill/>
                  <a:prstDash val="solid"/>
                  <a:miter/>
                </a:ln>
              </p:spPr>
              <p:txBody>
                <a:bodyPr rtlCol="0" anchor="ctr"/>
                <a:lstStyle/>
                <a:p>
                  <a:endParaRPr lang="en-GB" dirty="0"/>
                </a:p>
              </p:txBody>
            </p:sp>
          </p:grpSp>
          <p:grpSp>
            <p:nvGrpSpPr>
              <p:cNvPr id="70" name="Grafik 294">
                <a:extLst>
                  <a:ext uri="{FF2B5EF4-FFF2-40B4-BE49-F238E27FC236}">
                    <a16:creationId xmlns:a16="http://schemas.microsoft.com/office/drawing/2014/main" id="{0C6E31FF-D53C-4A7A-8470-A7626647C311}"/>
                  </a:ext>
                </a:extLst>
              </p:cNvPr>
              <p:cNvGrpSpPr/>
              <p:nvPr/>
            </p:nvGrpSpPr>
            <p:grpSpPr>
              <a:xfrm>
                <a:off x="1653469" y="1663870"/>
                <a:ext cx="193107" cy="205835"/>
                <a:chOff x="1653469" y="1663870"/>
                <a:chExt cx="193107" cy="205835"/>
              </a:xfrm>
              <a:grpFill/>
            </p:grpSpPr>
            <p:grpSp>
              <p:nvGrpSpPr>
                <p:cNvPr id="71" name="Grafik 294">
                  <a:extLst>
                    <a:ext uri="{FF2B5EF4-FFF2-40B4-BE49-F238E27FC236}">
                      <a16:creationId xmlns:a16="http://schemas.microsoft.com/office/drawing/2014/main" id="{45C19BD2-7E9F-42DD-8284-F1F7593FC332}"/>
                    </a:ext>
                  </a:extLst>
                </p:cNvPr>
                <p:cNvGrpSpPr/>
                <p:nvPr/>
              </p:nvGrpSpPr>
              <p:grpSpPr>
                <a:xfrm>
                  <a:off x="1683358" y="1663870"/>
                  <a:ext cx="133277" cy="174309"/>
                  <a:chOff x="1683358" y="1663870"/>
                  <a:chExt cx="133277" cy="174309"/>
                </a:xfrm>
                <a:grpFill/>
              </p:grpSpPr>
              <p:sp>
                <p:nvSpPr>
                  <p:cNvPr id="73" name="Freihandform: Form 54">
                    <a:extLst>
                      <a:ext uri="{FF2B5EF4-FFF2-40B4-BE49-F238E27FC236}">
                        <a16:creationId xmlns:a16="http://schemas.microsoft.com/office/drawing/2014/main" id="{B052CE6B-F86A-4565-851F-0D68B037909A}"/>
                      </a:ext>
                    </a:extLst>
                  </p:cNvPr>
                  <p:cNvSpPr/>
                  <p:nvPr/>
                </p:nvSpPr>
                <p:spPr>
                  <a:xfrm>
                    <a:off x="1683358" y="1752327"/>
                    <a:ext cx="133277" cy="85852"/>
                  </a:xfrm>
                  <a:custGeom>
                    <a:avLst/>
                    <a:gdLst>
                      <a:gd name="connsiteX0" fmla="*/ 126885 w 133277"/>
                      <a:gd name="connsiteY0" fmla="*/ 85825 h 85852"/>
                      <a:gd name="connsiteX1" fmla="*/ 120440 w 133277"/>
                      <a:gd name="connsiteY1" fmla="*/ 79380 h 85852"/>
                      <a:gd name="connsiteX2" fmla="*/ 120440 w 133277"/>
                      <a:gd name="connsiteY2" fmla="*/ 51264 h 85852"/>
                      <a:gd name="connsiteX3" fmla="*/ 77903 w 133277"/>
                      <a:gd name="connsiteY3" fmla="*/ 12863 h 85852"/>
                      <a:gd name="connsiteX4" fmla="*/ 55427 w 133277"/>
                      <a:gd name="connsiteY4" fmla="*/ 12863 h 85852"/>
                      <a:gd name="connsiteX5" fmla="*/ 12890 w 133277"/>
                      <a:gd name="connsiteY5" fmla="*/ 51264 h 85852"/>
                      <a:gd name="connsiteX6" fmla="*/ 12890 w 133277"/>
                      <a:gd name="connsiteY6" fmla="*/ 79407 h 85852"/>
                      <a:gd name="connsiteX7" fmla="*/ 6445 w 133277"/>
                      <a:gd name="connsiteY7" fmla="*/ 85852 h 85852"/>
                      <a:gd name="connsiteX8" fmla="*/ 0 w 133277"/>
                      <a:gd name="connsiteY8" fmla="*/ 79407 h 85852"/>
                      <a:gd name="connsiteX9" fmla="*/ 0 w 133277"/>
                      <a:gd name="connsiteY9" fmla="*/ 51264 h 85852"/>
                      <a:gd name="connsiteX10" fmla="*/ 55400 w 133277"/>
                      <a:gd name="connsiteY10" fmla="*/ 0 h 85852"/>
                      <a:gd name="connsiteX11" fmla="*/ 77877 w 133277"/>
                      <a:gd name="connsiteY11" fmla="*/ 0 h 85852"/>
                      <a:gd name="connsiteX12" fmla="*/ 133276 w 133277"/>
                      <a:gd name="connsiteY12" fmla="*/ 51264 h 85852"/>
                      <a:gd name="connsiteX13" fmla="*/ 133276 w 133277"/>
                      <a:gd name="connsiteY13" fmla="*/ 79407 h 85852"/>
                      <a:gd name="connsiteX14" fmla="*/ 126885 w 133277"/>
                      <a:gd name="connsiteY14" fmla="*/ 85825 h 85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3277" h="85852">
                        <a:moveTo>
                          <a:pt x="126885" y="85825"/>
                        </a:moveTo>
                        <a:cubicBezTo>
                          <a:pt x="123340" y="85825"/>
                          <a:pt x="120440" y="82952"/>
                          <a:pt x="120440" y="79380"/>
                        </a:cubicBezTo>
                        <a:lnTo>
                          <a:pt x="120440" y="51264"/>
                        </a:lnTo>
                        <a:cubicBezTo>
                          <a:pt x="120440" y="27230"/>
                          <a:pt x="104543" y="12863"/>
                          <a:pt x="77903" y="12863"/>
                        </a:cubicBezTo>
                        <a:lnTo>
                          <a:pt x="55427" y="12863"/>
                        </a:lnTo>
                        <a:cubicBezTo>
                          <a:pt x="28787" y="12863"/>
                          <a:pt x="12890" y="27203"/>
                          <a:pt x="12890" y="51264"/>
                        </a:cubicBezTo>
                        <a:lnTo>
                          <a:pt x="12890" y="79407"/>
                        </a:lnTo>
                        <a:cubicBezTo>
                          <a:pt x="12890" y="82952"/>
                          <a:pt x="10017" y="85852"/>
                          <a:pt x="6445" y="85852"/>
                        </a:cubicBezTo>
                        <a:cubicBezTo>
                          <a:pt x="2900" y="85852"/>
                          <a:pt x="0" y="82979"/>
                          <a:pt x="0" y="79407"/>
                        </a:cubicBezTo>
                        <a:lnTo>
                          <a:pt x="0" y="51264"/>
                        </a:lnTo>
                        <a:cubicBezTo>
                          <a:pt x="0" y="20114"/>
                          <a:pt x="21752" y="0"/>
                          <a:pt x="55400" y="0"/>
                        </a:cubicBezTo>
                        <a:lnTo>
                          <a:pt x="77877" y="0"/>
                        </a:lnTo>
                        <a:cubicBezTo>
                          <a:pt x="111552" y="0"/>
                          <a:pt x="133276" y="20114"/>
                          <a:pt x="133276" y="51264"/>
                        </a:cubicBezTo>
                        <a:lnTo>
                          <a:pt x="133276" y="79407"/>
                        </a:lnTo>
                        <a:cubicBezTo>
                          <a:pt x="133330" y="82952"/>
                          <a:pt x="130457" y="85825"/>
                          <a:pt x="126885" y="85825"/>
                        </a:cubicBezTo>
                        <a:close/>
                      </a:path>
                    </a:pathLst>
                  </a:custGeom>
                  <a:grpFill/>
                  <a:ln w="2681" cap="flat">
                    <a:noFill/>
                    <a:prstDash val="solid"/>
                    <a:miter/>
                  </a:ln>
                </p:spPr>
                <p:txBody>
                  <a:bodyPr rtlCol="0" anchor="ctr"/>
                  <a:lstStyle/>
                  <a:p>
                    <a:endParaRPr lang="en-GB" dirty="0"/>
                  </a:p>
                </p:txBody>
              </p:sp>
              <p:sp>
                <p:nvSpPr>
                  <p:cNvPr id="74" name="Freihandform: Form 55">
                    <a:extLst>
                      <a:ext uri="{FF2B5EF4-FFF2-40B4-BE49-F238E27FC236}">
                        <a16:creationId xmlns:a16="http://schemas.microsoft.com/office/drawing/2014/main" id="{B9AE7693-3988-4CE1-BBC0-4C257C92285F}"/>
                      </a:ext>
                    </a:extLst>
                  </p:cNvPr>
                  <p:cNvSpPr/>
                  <p:nvPr/>
                </p:nvSpPr>
                <p:spPr>
                  <a:xfrm>
                    <a:off x="1718107" y="1663870"/>
                    <a:ext cx="64127" cy="74385"/>
                  </a:xfrm>
                  <a:custGeom>
                    <a:avLst/>
                    <a:gdLst>
                      <a:gd name="connsiteX0" fmla="*/ 32064 w 64127"/>
                      <a:gd name="connsiteY0" fmla="*/ 74386 h 74385"/>
                      <a:gd name="connsiteX1" fmla="*/ 0 w 64127"/>
                      <a:gd name="connsiteY1" fmla="*/ 37193 h 74385"/>
                      <a:gd name="connsiteX2" fmla="*/ 32064 w 64127"/>
                      <a:gd name="connsiteY2" fmla="*/ 0 h 74385"/>
                      <a:gd name="connsiteX3" fmla="*/ 64127 w 64127"/>
                      <a:gd name="connsiteY3" fmla="*/ 37193 h 74385"/>
                      <a:gd name="connsiteX4" fmla="*/ 32064 w 64127"/>
                      <a:gd name="connsiteY4" fmla="*/ 74386 h 74385"/>
                      <a:gd name="connsiteX5" fmla="*/ 32064 w 64127"/>
                      <a:gd name="connsiteY5" fmla="*/ 12863 h 74385"/>
                      <a:gd name="connsiteX6" fmla="*/ 12863 w 64127"/>
                      <a:gd name="connsiteY6" fmla="*/ 37193 h 74385"/>
                      <a:gd name="connsiteX7" fmla="*/ 32064 w 64127"/>
                      <a:gd name="connsiteY7" fmla="*/ 61522 h 74385"/>
                      <a:gd name="connsiteX8" fmla="*/ 51264 w 64127"/>
                      <a:gd name="connsiteY8" fmla="*/ 37193 h 74385"/>
                      <a:gd name="connsiteX9" fmla="*/ 32064 w 64127"/>
                      <a:gd name="connsiteY9" fmla="*/ 12863 h 74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27" h="74385">
                        <a:moveTo>
                          <a:pt x="32064" y="74386"/>
                        </a:moveTo>
                        <a:cubicBezTo>
                          <a:pt x="12890" y="74386"/>
                          <a:pt x="0" y="59428"/>
                          <a:pt x="0" y="37193"/>
                        </a:cubicBezTo>
                        <a:cubicBezTo>
                          <a:pt x="0" y="14958"/>
                          <a:pt x="12890" y="0"/>
                          <a:pt x="32064" y="0"/>
                        </a:cubicBezTo>
                        <a:cubicBezTo>
                          <a:pt x="51237" y="0"/>
                          <a:pt x="64127" y="14958"/>
                          <a:pt x="64127" y="37193"/>
                        </a:cubicBezTo>
                        <a:cubicBezTo>
                          <a:pt x="64154" y="59428"/>
                          <a:pt x="51264" y="74386"/>
                          <a:pt x="32064" y="74386"/>
                        </a:cubicBezTo>
                        <a:close/>
                        <a:moveTo>
                          <a:pt x="32064" y="12863"/>
                        </a:moveTo>
                        <a:cubicBezTo>
                          <a:pt x="14259" y="12863"/>
                          <a:pt x="12863" y="31473"/>
                          <a:pt x="12863" y="37193"/>
                        </a:cubicBezTo>
                        <a:cubicBezTo>
                          <a:pt x="12863" y="42886"/>
                          <a:pt x="14259" y="61522"/>
                          <a:pt x="32064" y="61522"/>
                        </a:cubicBezTo>
                        <a:cubicBezTo>
                          <a:pt x="49868" y="61522"/>
                          <a:pt x="51264" y="42913"/>
                          <a:pt x="51264" y="37193"/>
                        </a:cubicBezTo>
                        <a:cubicBezTo>
                          <a:pt x="51264" y="31473"/>
                          <a:pt x="49895" y="12863"/>
                          <a:pt x="32064" y="12863"/>
                        </a:cubicBezTo>
                        <a:close/>
                      </a:path>
                    </a:pathLst>
                  </a:custGeom>
                  <a:grpFill/>
                  <a:ln w="2681" cap="flat">
                    <a:noFill/>
                    <a:prstDash val="solid"/>
                    <a:miter/>
                  </a:ln>
                </p:spPr>
                <p:txBody>
                  <a:bodyPr rtlCol="0" anchor="ctr"/>
                  <a:lstStyle/>
                  <a:p>
                    <a:endParaRPr lang="en-GB" dirty="0"/>
                  </a:p>
                </p:txBody>
              </p:sp>
              <p:sp>
                <p:nvSpPr>
                  <p:cNvPr id="75" name="Freihandform: Form 56">
                    <a:extLst>
                      <a:ext uri="{FF2B5EF4-FFF2-40B4-BE49-F238E27FC236}">
                        <a16:creationId xmlns:a16="http://schemas.microsoft.com/office/drawing/2014/main" id="{AC3E0E6B-ECB6-4697-BC65-45409FC6ECCB}"/>
                      </a:ext>
                    </a:extLst>
                  </p:cNvPr>
                  <p:cNvSpPr/>
                  <p:nvPr/>
                </p:nvSpPr>
                <p:spPr>
                  <a:xfrm>
                    <a:off x="1709165" y="1809392"/>
                    <a:ext cx="12889" cy="28760"/>
                  </a:xfrm>
                  <a:custGeom>
                    <a:avLst/>
                    <a:gdLst>
                      <a:gd name="connsiteX0" fmla="*/ 6445 w 12889"/>
                      <a:gd name="connsiteY0" fmla="*/ 28761 h 28760"/>
                      <a:gd name="connsiteX1" fmla="*/ 0 w 12889"/>
                      <a:gd name="connsiteY1" fmla="*/ 22316 h 28760"/>
                      <a:gd name="connsiteX2" fmla="*/ 0 w 12889"/>
                      <a:gd name="connsiteY2" fmla="*/ 6445 h 28760"/>
                      <a:gd name="connsiteX3" fmla="*/ 6445 w 12889"/>
                      <a:gd name="connsiteY3" fmla="*/ 0 h 28760"/>
                      <a:gd name="connsiteX4" fmla="*/ 12890 w 12889"/>
                      <a:gd name="connsiteY4" fmla="*/ 6445 h 28760"/>
                      <a:gd name="connsiteX5" fmla="*/ 12890 w 12889"/>
                      <a:gd name="connsiteY5" fmla="*/ 22316 h 28760"/>
                      <a:gd name="connsiteX6" fmla="*/ 6445 w 12889"/>
                      <a:gd name="connsiteY6" fmla="*/ 28761 h 28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89" h="28760">
                        <a:moveTo>
                          <a:pt x="6445" y="28761"/>
                        </a:moveTo>
                        <a:cubicBezTo>
                          <a:pt x="2900" y="28761"/>
                          <a:pt x="0" y="25887"/>
                          <a:pt x="0" y="22316"/>
                        </a:cubicBezTo>
                        <a:lnTo>
                          <a:pt x="0" y="6445"/>
                        </a:lnTo>
                        <a:cubicBezTo>
                          <a:pt x="0" y="2900"/>
                          <a:pt x="2873" y="0"/>
                          <a:pt x="6445" y="0"/>
                        </a:cubicBezTo>
                        <a:cubicBezTo>
                          <a:pt x="9990" y="0"/>
                          <a:pt x="12890" y="2873"/>
                          <a:pt x="12890" y="6445"/>
                        </a:cubicBezTo>
                        <a:lnTo>
                          <a:pt x="12890" y="22316"/>
                        </a:lnTo>
                        <a:cubicBezTo>
                          <a:pt x="12863" y="25887"/>
                          <a:pt x="9990" y="28761"/>
                          <a:pt x="6445" y="28761"/>
                        </a:cubicBezTo>
                        <a:close/>
                      </a:path>
                    </a:pathLst>
                  </a:custGeom>
                  <a:grpFill/>
                  <a:ln w="2681" cap="flat">
                    <a:noFill/>
                    <a:prstDash val="solid"/>
                    <a:miter/>
                  </a:ln>
                </p:spPr>
                <p:txBody>
                  <a:bodyPr rtlCol="0" anchor="ctr"/>
                  <a:lstStyle/>
                  <a:p>
                    <a:endParaRPr lang="en-GB" dirty="0"/>
                  </a:p>
                </p:txBody>
              </p:sp>
              <p:sp>
                <p:nvSpPr>
                  <p:cNvPr id="76" name="Freihandform: Form 57">
                    <a:extLst>
                      <a:ext uri="{FF2B5EF4-FFF2-40B4-BE49-F238E27FC236}">
                        <a16:creationId xmlns:a16="http://schemas.microsoft.com/office/drawing/2014/main" id="{32B94645-62B5-4CFD-8B22-C43B5855A0CD}"/>
                      </a:ext>
                    </a:extLst>
                  </p:cNvPr>
                  <p:cNvSpPr/>
                  <p:nvPr/>
                </p:nvSpPr>
                <p:spPr>
                  <a:xfrm>
                    <a:off x="1778367" y="1809579"/>
                    <a:ext cx="12889" cy="28572"/>
                  </a:xfrm>
                  <a:custGeom>
                    <a:avLst/>
                    <a:gdLst>
                      <a:gd name="connsiteX0" fmla="*/ 6445 w 12889"/>
                      <a:gd name="connsiteY0" fmla="*/ 28573 h 28572"/>
                      <a:gd name="connsiteX1" fmla="*/ 0 w 12889"/>
                      <a:gd name="connsiteY1" fmla="*/ 22128 h 28572"/>
                      <a:gd name="connsiteX2" fmla="*/ 0 w 12889"/>
                      <a:gd name="connsiteY2" fmla="*/ 6445 h 28572"/>
                      <a:gd name="connsiteX3" fmla="*/ 6445 w 12889"/>
                      <a:gd name="connsiteY3" fmla="*/ 0 h 28572"/>
                      <a:gd name="connsiteX4" fmla="*/ 12890 w 12889"/>
                      <a:gd name="connsiteY4" fmla="*/ 6445 h 28572"/>
                      <a:gd name="connsiteX5" fmla="*/ 12890 w 12889"/>
                      <a:gd name="connsiteY5" fmla="*/ 22128 h 28572"/>
                      <a:gd name="connsiteX6" fmla="*/ 6445 w 12889"/>
                      <a:gd name="connsiteY6" fmla="*/ 28573 h 28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89" h="28572">
                        <a:moveTo>
                          <a:pt x="6445" y="28573"/>
                        </a:moveTo>
                        <a:cubicBezTo>
                          <a:pt x="2900" y="28573"/>
                          <a:pt x="0" y="25699"/>
                          <a:pt x="0" y="22128"/>
                        </a:cubicBezTo>
                        <a:lnTo>
                          <a:pt x="0" y="6445"/>
                        </a:lnTo>
                        <a:cubicBezTo>
                          <a:pt x="0" y="2900"/>
                          <a:pt x="2873" y="0"/>
                          <a:pt x="6445" y="0"/>
                        </a:cubicBezTo>
                        <a:cubicBezTo>
                          <a:pt x="9990" y="0"/>
                          <a:pt x="12890" y="2873"/>
                          <a:pt x="12890" y="6445"/>
                        </a:cubicBezTo>
                        <a:lnTo>
                          <a:pt x="12890" y="22128"/>
                        </a:lnTo>
                        <a:cubicBezTo>
                          <a:pt x="12890" y="25699"/>
                          <a:pt x="10017" y="28573"/>
                          <a:pt x="6445" y="28573"/>
                        </a:cubicBezTo>
                        <a:close/>
                      </a:path>
                    </a:pathLst>
                  </a:custGeom>
                  <a:grpFill/>
                  <a:ln w="2681" cap="flat">
                    <a:noFill/>
                    <a:prstDash val="solid"/>
                    <a:miter/>
                  </a:ln>
                </p:spPr>
                <p:txBody>
                  <a:bodyPr rtlCol="0" anchor="ctr"/>
                  <a:lstStyle/>
                  <a:p>
                    <a:endParaRPr lang="en-GB" dirty="0"/>
                  </a:p>
                </p:txBody>
              </p:sp>
            </p:grpSp>
            <p:sp>
              <p:nvSpPr>
                <p:cNvPr id="72" name="Freihandform: Form 58">
                  <a:extLst>
                    <a:ext uri="{FF2B5EF4-FFF2-40B4-BE49-F238E27FC236}">
                      <a16:creationId xmlns:a16="http://schemas.microsoft.com/office/drawing/2014/main" id="{683E2490-3E48-4869-B15C-7F4931E9B9DF}"/>
                    </a:ext>
                  </a:extLst>
                </p:cNvPr>
                <p:cNvSpPr/>
                <p:nvPr/>
              </p:nvSpPr>
              <p:spPr>
                <a:xfrm>
                  <a:off x="1653469" y="1808788"/>
                  <a:ext cx="193107" cy="60917"/>
                </a:xfrm>
                <a:custGeom>
                  <a:avLst/>
                  <a:gdLst>
                    <a:gd name="connsiteX0" fmla="*/ 96567 w 193107"/>
                    <a:gd name="connsiteY0" fmla="*/ 60917 h 60917"/>
                    <a:gd name="connsiteX1" fmla="*/ 0 w 193107"/>
                    <a:gd name="connsiteY1" fmla="*/ 26786 h 60917"/>
                    <a:gd name="connsiteX2" fmla="*/ 33460 w 193107"/>
                    <a:gd name="connsiteY2" fmla="*/ 308 h 60917"/>
                    <a:gd name="connsiteX3" fmla="*/ 41409 w 193107"/>
                    <a:gd name="connsiteY3" fmla="*/ 4739 h 60917"/>
                    <a:gd name="connsiteX4" fmla="*/ 36978 w 193107"/>
                    <a:gd name="connsiteY4" fmla="*/ 12687 h 60917"/>
                    <a:gd name="connsiteX5" fmla="*/ 12863 w 193107"/>
                    <a:gd name="connsiteY5" fmla="*/ 26786 h 60917"/>
                    <a:gd name="connsiteX6" fmla="*/ 96540 w 193107"/>
                    <a:gd name="connsiteY6" fmla="*/ 48054 h 60917"/>
                    <a:gd name="connsiteX7" fmla="*/ 180217 w 193107"/>
                    <a:gd name="connsiteY7" fmla="*/ 26786 h 60917"/>
                    <a:gd name="connsiteX8" fmla="*/ 155941 w 193107"/>
                    <a:gd name="connsiteY8" fmla="*/ 12634 h 60917"/>
                    <a:gd name="connsiteX9" fmla="*/ 151510 w 193107"/>
                    <a:gd name="connsiteY9" fmla="*/ 4685 h 60917"/>
                    <a:gd name="connsiteX10" fmla="*/ 159459 w 193107"/>
                    <a:gd name="connsiteY10" fmla="*/ 254 h 60917"/>
                    <a:gd name="connsiteX11" fmla="*/ 193107 w 193107"/>
                    <a:gd name="connsiteY11" fmla="*/ 26786 h 60917"/>
                    <a:gd name="connsiteX12" fmla="*/ 96567 w 193107"/>
                    <a:gd name="connsiteY12" fmla="*/ 60917 h 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3107" h="60917">
                      <a:moveTo>
                        <a:pt x="96567" y="60917"/>
                      </a:moveTo>
                      <a:cubicBezTo>
                        <a:pt x="48579" y="60917"/>
                        <a:pt x="0" y="49182"/>
                        <a:pt x="0" y="26786"/>
                      </a:cubicBezTo>
                      <a:cubicBezTo>
                        <a:pt x="0" y="19052"/>
                        <a:pt x="5800" y="8203"/>
                        <a:pt x="33460" y="308"/>
                      </a:cubicBezTo>
                      <a:cubicBezTo>
                        <a:pt x="36871" y="-659"/>
                        <a:pt x="40442" y="1301"/>
                        <a:pt x="41409" y="4739"/>
                      </a:cubicBezTo>
                      <a:cubicBezTo>
                        <a:pt x="42376" y="8149"/>
                        <a:pt x="40415" y="11721"/>
                        <a:pt x="36978" y="12687"/>
                      </a:cubicBezTo>
                      <a:cubicBezTo>
                        <a:pt x="19281" y="17736"/>
                        <a:pt x="12863" y="23885"/>
                        <a:pt x="12863" y="26786"/>
                      </a:cubicBezTo>
                      <a:cubicBezTo>
                        <a:pt x="12863" y="34009"/>
                        <a:pt x="42402" y="48054"/>
                        <a:pt x="96540" y="48054"/>
                      </a:cubicBezTo>
                      <a:cubicBezTo>
                        <a:pt x="150705" y="48054"/>
                        <a:pt x="180217" y="34009"/>
                        <a:pt x="180217" y="26786"/>
                      </a:cubicBezTo>
                      <a:cubicBezTo>
                        <a:pt x="180217" y="23859"/>
                        <a:pt x="173745" y="17709"/>
                        <a:pt x="155941" y="12634"/>
                      </a:cubicBezTo>
                      <a:cubicBezTo>
                        <a:pt x="152531" y="11667"/>
                        <a:pt x="150544" y="8095"/>
                        <a:pt x="151510" y="4685"/>
                      </a:cubicBezTo>
                      <a:cubicBezTo>
                        <a:pt x="152477" y="1274"/>
                        <a:pt x="156049" y="-740"/>
                        <a:pt x="159459" y="254"/>
                      </a:cubicBezTo>
                      <a:cubicBezTo>
                        <a:pt x="181479" y="6511"/>
                        <a:pt x="193107" y="15668"/>
                        <a:pt x="193107" y="26786"/>
                      </a:cubicBezTo>
                      <a:cubicBezTo>
                        <a:pt x="193134" y="49182"/>
                        <a:pt x="144555" y="60917"/>
                        <a:pt x="96567" y="60917"/>
                      </a:cubicBezTo>
                      <a:close/>
                    </a:path>
                  </a:pathLst>
                </a:custGeom>
                <a:grpFill/>
                <a:ln w="2681" cap="flat">
                  <a:noFill/>
                  <a:prstDash val="solid"/>
                  <a:miter/>
                </a:ln>
              </p:spPr>
              <p:txBody>
                <a:bodyPr rtlCol="0" anchor="ctr"/>
                <a:lstStyle/>
                <a:p>
                  <a:endParaRPr lang="en-GB" dirty="0"/>
                </a:p>
              </p:txBody>
            </p:sp>
          </p:grpSp>
        </p:grpSp>
      </p:grpSp>
      <p:grpSp>
        <p:nvGrpSpPr>
          <p:cNvPr id="25" name="Group 24">
            <a:extLst>
              <a:ext uri="{FF2B5EF4-FFF2-40B4-BE49-F238E27FC236}">
                <a16:creationId xmlns:a16="http://schemas.microsoft.com/office/drawing/2014/main" id="{BF9A8706-D2FA-828D-B554-2350C2F8DDFD}"/>
              </a:ext>
            </a:extLst>
          </p:cNvPr>
          <p:cNvGrpSpPr/>
          <p:nvPr/>
        </p:nvGrpSpPr>
        <p:grpSpPr>
          <a:xfrm>
            <a:off x="2658388" y="1585985"/>
            <a:ext cx="453069" cy="432007"/>
            <a:chOff x="2658388" y="1585985"/>
            <a:chExt cx="453069" cy="432007"/>
          </a:xfrm>
        </p:grpSpPr>
        <p:grpSp>
          <p:nvGrpSpPr>
            <p:cNvPr id="93" name="Group 92">
              <a:extLst>
                <a:ext uri="{FF2B5EF4-FFF2-40B4-BE49-F238E27FC236}">
                  <a16:creationId xmlns:a16="http://schemas.microsoft.com/office/drawing/2014/main" id="{A2077C41-A501-4361-BA90-AC033CBDE78C}"/>
                </a:ext>
              </a:extLst>
            </p:cNvPr>
            <p:cNvGrpSpPr/>
            <p:nvPr/>
          </p:nvGrpSpPr>
          <p:grpSpPr>
            <a:xfrm>
              <a:off x="2658388" y="1585985"/>
              <a:ext cx="453069" cy="278547"/>
              <a:chOff x="2532338" y="2441629"/>
              <a:chExt cx="475162" cy="292130"/>
            </a:xfrm>
          </p:grpSpPr>
          <p:grpSp>
            <p:nvGrpSpPr>
              <p:cNvPr id="102" name="Grafik 294">
                <a:extLst>
                  <a:ext uri="{FF2B5EF4-FFF2-40B4-BE49-F238E27FC236}">
                    <a16:creationId xmlns:a16="http://schemas.microsoft.com/office/drawing/2014/main" id="{51959A79-5AC3-416A-83E4-32492780FDD0}"/>
                  </a:ext>
                </a:extLst>
              </p:cNvPr>
              <p:cNvGrpSpPr/>
              <p:nvPr/>
            </p:nvGrpSpPr>
            <p:grpSpPr>
              <a:xfrm>
                <a:off x="2661085" y="2469812"/>
                <a:ext cx="218913" cy="263947"/>
                <a:chOff x="2661085" y="2469812"/>
                <a:chExt cx="218913" cy="263947"/>
              </a:xfrm>
              <a:solidFill>
                <a:schemeClr val="accent1"/>
              </a:solidFill>
            </p:grpSpPr>
            <p:sp>
              <p:nvSpPr>
                <p:cNvPr id="114" name="Freihandform: Form 393">
                  <a:extLst>
                    <a:ext uri="{FF2B5EF4-FFF2-40B4-BE49-F238E27FC236}">
                      <a16:creationId xmlns:a16="http://schemas.microsoft.com/office/drawing/2014/main" id="{6E285FDD-FE79-43CF-8A32-91A636F7981F}"/>
                    </a:ext>
                  </a:extLst>
                </p:cNvPr>
                <p:cNvSpPr/>
                <p:nvPr/>
              </p:nvSpPr>
              <p:spPr>
                <a:xfrm>
                  <a:off x="2661085" y="2604995"/>
                  <a:ext cx="218913" cy="128764"/>
                </a:xfrm>
                <a:custGeom>
                  <a:avLst/>
                  <a:gdLst>
                    <a:gd name="connsiteX0" fmla="*/ 193134 w 218913"/>
                    <a:gd name="connsiteY0" fmla="*/ 128765 h 128764"/>
                    <a:gd name="connsiteX1" fmla="*/ 154518 w 218913"/>
                    <a:gd name="connsiteY1" fmla="*/ 128765 h 128764"/>
                    <a:gd name="connsiteX2" fmla="*/ 148073 w 218913"/>
                    <a:gd name="connsiteY2" fmla="*/ 122320 h 128764"/>
                    <a:gd name="connsiteX3" fmla="*/ 148073 w 218913"/>
                    <a:gd name="connsiteY3" fmla="*/ 77259 h 128764"/>
                    <a:gd name="connsiteX4" fmla="*/ 70814 w 218913"/>
                    <a:gd name="connsiteY4" fmla="*/ 77259 h 128764"/>
                    <a:gd name="connsiteX5" fmla="*/ 70814 w 218913"/>
                    <a:gd name="connsiteY5" fmla="*/ 122320 h 128764"/>
                    <a:gd name="connsiteX6" fmla="*/ 64369 w 218913"/>
                    <a:gd name="connsiteY6" fmla="*/ 128765 h 128764"/>
                    <a:gd name="connsiteX7" fmla="*/ 25753 w 218913"/>
                    <a:gd name="connsiteY7" fmla="*/ 128765 h 128764"/>
                    <a:gd name="connsiteX8" fmla="*/ 19308 w 218913"/>
                    <a:gd name="connsiteY8" fmla="*/ 122320 h 128764"/>
                    <a:gd name="connsiteX9" fmla="*/ 19308 w 218913"/>
                    <a:gd name="connsiteY9" fmla="*/ 61603 h 128764"/>
                    <a:gd name="connsiteX10" fmla="*/ 0 w 218913"/>
                    <a:gd name="connsiteY10" fmla="*/ 32198 h 128764"/>
                    <a:gd name="connsiteX11" fmla="*/ 32198 w 218913"/>
                    <a:gd name="connsiteY11" fmla="*/ 0 h 128764"/>
                    <a:gd name="connsiteX12" fmla="*/ 63751 w 218913"/>
                    <a:gd name="connsiteY12" fmla="*/ 25753 h 128764"/>
                    <a:gd name="connsiteX13" fmla="*/ 155162 w 218913"/>
                    <a:gd name="connsiteY13" fmla="*/ 25753 h 128764"/>
                    <a:gd name="connsiteX14" fmla="*/ 186716 w 218913"/>
                    <a:gd name="connsiteY14" fmla="*/ 0 h 128764"/>
                    <a:gd name="connsiteX15" fmla="*/ 218914 w 218913"/>
                    <a:gd name="connsiteY15" fmla="*/ 32198 h 128764"/>
                    <a:gd name="connsiteX16" fmla="*/ 199606 w 218913"/>
                    <a:gd name="connsiteY16" fmla="*/ 61603 h 128764"/>
                    <a:gd name="connsiteX17" fmla="*/ 199606 w 218913"/>
                    <a:gd name="connsiteY17" fmla="*/ 122320 h 128764"/>
                    <a:gd name="connsiteX18" fmla="*/ 193134 w 218913"/>
                    <a:gd name="connsiteY18" fmla="*/ 128765 h 128764"/>
                    <a:gd name="connsiteX19" fmla="*/ 160936 w 218913"/>
                    <a:gd name="connsiteY19" fmla="*/ 115875 h 128764"/>
                    <a:gd name="connsiteX20" fmla="*/ 186689 w 218913"/>
                    <a:gd name="connsiteY20" fmla="*/ 115875 h 128764"/>
                    <a:gd name="connsiteX21" fmla="*/ 186689 w 218913"/>
                    <a:gd name="connsiteY21" fmla="*/ 57038 h 128764"/>
                    <a:gd name="connsiteX22" fmla="*/ 191523 w 218913"/>
                    <a:gd name="connsiteY22" fmla="*/ 50808 h 128764"/>
                    <a:gd name="connsiteX23" fmla="*/ 206024 w 218913"/>
                    <a:gd name="connsiteY23" fmla="*/ 32198 h 128764"/>
                    <a:gd name="connsiteX24" fmla="*/ 186716 w 218913"/>
                    <a:gd name="connsiteY24" fmla="*/ 12890 h 128764"/>
                    <a:gd name="connsiteX25" fmla="*/ 167408 w 218913"/>
                    <a:gd name="connsiteY25" fmla="*/ 32198 h 128764"/>
                    <a:gd name="connsiteX26" fmla="*/ 160963 w 218913"/>
                    <a:gd name="connsiteY26" fmla="*/ 38643 h 128764"/>
                    <a:gd name="connsiteX27" fmla="*/ 57951 w 218913"/>
                    <a:gd name="connsiteY27" fmla="*/ 38643 h 128764"/>
                    <a:gd name="connsiteX28" fmla="*/ 51506 w 218913"/>
                    <a:gd name="connsiteY28" fmla="*/ 32198 h 128764"/>
                    <a:gd name="connsiteX29" fmla="*/ 32198 w 218913"/>
                    <a:gd name="connsiteY29" fmla="*/ 12890 h 128764"/>
                    <a:gd name="connsiteX30" fmla="*/ 12890 w 218913"/>
                    <a:gd name="connsiteY30" fmla="*/ 32198 h 128764"/>
                    <a:gd name="connsiteX31" fmla="*/ 27391 w 218913"/>
                    <a:gd name="connsiteY31" fmla="*/ 50808 h 128764"/>
                    <a:gd name="connsiteX32" fmla="*/ 32225 w 218913"/>
                    <a:gd name="connsiteY32" fmla="*/ 57038 h 128764"/>
                    <a:gd name="connsiteX33" fmla="*/ 32225 w 218913"/>
                    <a:gd name="connsiteY33" fmla="*/ 115875 h 128764"/>
                    <a:gd name="connsiteX34" fmla="*/ 57978 w 218913"/>
                    <a:gd name="connsiteY34" fmla="*/ 115875 h 128764"/>
                    <a:gd name="connsiteX35" fmla="*/ 57978 w 218913"/>
                    <a:gd name="connsiteY35" fmla="*/ 70814 h 128764"/>
                    <a:gd name="connsiteX36" fmla="*/ 64423 w 218913"/>
                    <a:gd name="connsiteY36" fmla="*/ 64369 h 128764"/>
                    <a:gd name="connsiteX37" fmla="*/ 154545 w 218913"/>
                    <a:gd name="connsiteY37" fmla="*/ 64369 h 128764"/>
                    <a:gd name="connsiteX38" fmla="*/ 160990 w 218913"/>
                    <a:gd name="connsiteY38" fmla="*/ 70814 h 128764"/>
                    <a:gd name="connsiteX39" fmla="*/ 160990 w 218913"/>
                    <a:gd name="connsiteY39" fmla="*/ 115875 h 128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8913" h="128764">
                      <a:moveTo>
                        <a:pt x="193134" y="128765"/>
                      </a:moveTo>
                      <a:lnTo>
                        <a:pt x="154518" y="128765"/>
                      </a:lnTo>
                      <a:cubicBezTo>
                        <a:pt x="150946" y="128765"/>
                        <a:pt x="148073" y="125892"/>
                        <a:pt x="148073" y="122320"/>
                      </a:cubicBezTo>
                      <a:lnTo>
                        <a:pt x="148073" y="77259"/>
                      </a:lnTo>
                      <a:lnTo>
                        <a:pt x="70814" y="77259"/>
                      </a:lnTo>
                      <a:lnTo>
                        <a:pt x="70814" y="122320"/>
                      </a:lnTo>
                      <a:cubicBezTo>
                        <a:pt x="70814" y="125865"/>
                        <a:pt x="67941" y="128765"/>
                        <a:pt x="64369" y="128765"/>
                      </a:cubicBezTo>
                      <a:lnTo>
                        <a:pt x="25753" y="128765"/>
                      </a:lnTo>
                      <a:cubicBezTo>
                        <a:pt x="22181" y="128765"/>
                        <a:pt x="19308" y="125892"/>
                        <a:pt x="19308" y="122320"/>
                      </a:cubicBezTo>
                      <a:lnTo>
                        <a:pt x="19308" y="61603"/>
                      </a:lnTo>
                      <a:cubicBezTo>
                        <a:pt x="7734" y="56555"/>
                        <a:pt x="0" y="45088"/>
                        <a:pt x="0" y="32198"/>
                      </a:cubicBezTo>
                      <a:cubicBezTo>
                        <a:pt x="0" y="14447"/>
                        <a:pt x="14447" y="0"/>
                        <a:pt x="32198" y="0"/>
                      </a:cubicBezTo>
                      <a:cubicBezTo>
                        <a:pt x="47746" y="0"/>
                        <a:pt x="60744" y="11091"/>
                        <a:pt x="63751" y="25753"/>
                      </a:cubicBezTo>
                      <a:lnTo>
                        <a:pt x="155162" y="25753"/>
                      </a:lnTo>
                      <a:cubicBezTo>
                        <a:pt x="158143" y="11091"/>
                        <a:pt x="171167" y="0"/>
                        <a:pt x="186716" y="0"/>
                      </a:cubicBezTo>
                      <a:cubicBezTo>
                        <a:pt x="204466" y="0"/>
                        <a:pt x="218914" y="14447"/>
                        <a:pt x="218914" y="32198"/>
                      </a:cubicBezTo>
                      <a:cubicBezTo>
                        <a:pt x="218914" y="45088"/>
                        <a:pt x="211180" y="56555"/>
                        <a:pt x="199606" y="61603"/>
                      </a:cubicBezTo>
                      <a:lnTo>
                        <a:pt x="199606" y="122320"/>
                      </a:lnTo>
                      <a:cubicBezTo>
                        <a:pt x="199579" y="125865"/>
                        <a:pt x="196706" y="128765"/>
                        <a:pt x="193134" y="128765"/>
                      </a:cubicBezTo>
                      <a:close/>
                      <a:moveTo>
                        <a:pt x="160936" y="115875"/>
                      </a:moveTo>
                      <a:lnTo>
                        <a:pt x="186689" y="115875"/>
                      </a:lnTo>
                      <a:lnTo>
                        <a:pt x="186689" y="57038"/>
                      </a:lnTo>
                      <a:cubicBezTo>
                        <a:pt x="186689" y="54111"/>
                        <a:pt x="188676" y="51533"/>
                        <a:pt x="191523" y="50808"/>
                      </a:cubicBezTo>
                      <a:cubicBezTo>
                        <a:pt x="200062" y="48606"/>
                        <a:pt x="206024" y="40952"/>
                        <a:pt x="206024" y="32198"/>
                      </a:cubicBezTo>
                      <a:cubicBezTo>
                        <a:pt x="206024" y="21537"/>
                        <a:pt x="197350" y="12890"/>
                        <a:pt x="186716" y="12890"/>
                      </a:cubicBezTo>
                      <a:cubicBezTo>
                        <a:pt x="176082" y="12890"/>
                        <a:pt x="167408" y="21564"/>
                        <a:pt x="167408" y="32198"/>
                      </a:cubicBezTo>
                      <a:cubicBezTo>
                        <a:pt x="167408" y="35743"/>
                        <a:pt x="164534" y="38643"/>
                        <a:pt x="160963" y="38643"/>
                      </a:cubicBezTo>
                      <a:lnTo>
                        <a:pt x="57951" y="38643"/>
                      </a:lnTo>
                      <a:cubicBezTo>
                        <a:pt x="54379" y="38643"/>
                        <a:pt x="51506" y="35770"/>
                        <a:pt x="51506" y="32198"/>
                      </a:cubicBezTo>
                      <a:cubicBezTo>
                        <a:pt x="51506" y="21537"/>
                        <a:pt x="42832" y="12890"/>
                        <a:pt x="32198" y="12890"/>
                      </a:cubicBezTo>
                      <a:cubicBezTo>
                        <a:pt x="21564" y="12890"/>
                        <a:pt x="12890" y="21564"/>
                        <a:pt x="12890" y="32198"/>
                      </a:cubicBezTo>
                      <a:cubicBezTo>
                        <a:pt x="12890" y="40952"/>
                        <a:pt x="18852" y="48606"/>
                        <a:pt x="27391" y="50808"/>
                      </a:cubicBezTo>
                      <a:cubicBezTo>
                        <a:pt x="30238" y="51533"/>
                        <a:pt x="32225" y="54111"/>
                        <a:pt x="32225" y="57038"/>
                      </a:cubicBezTo>
                      <a:lnTo>
                        <a:pt x="32225" y="115875"/>
                      </a:lnTo>
                      <a:lnTo>
                        <a:pt x="57978" y="115875"/>
                      </a:lnTo>
                      <a:lnTo>
                        <a:pt x="57978" y="70814"/>
                      </a:lnTo>
                      <a:cubicBezTo>
                        <a:pt x="57978" y="67269"/>
                        <a:pt x="60851" y="64369"/>
                        <a:pt x="64423" y="64369"/>
                      </a:cubicBezTo>
                      <a:lnTo>
                        <a:pt x="154545" y="64369"/>
                      </a:lnTo>
                      <a:cubicBezTo>
                        <a:pt x="158089" y="64369"/>
                        <a:pt x="160990" y="67242"/>
                        <a:pt x="160990" y="70814"/>
                      </a:cubicBezTo>
                      <a:lnTo>
                        <a:pt x="160990" y="115875"/>
                      </a:lnTo>
                      <a:close/>
                    </a:path>
                  </a:pathLst>
                </a:custGeom>
                <a:solidFill>
                  <a:schemeClr val="accent1"/>
                </a:solidFill>
                <a:ln w="2681" cap="flat">
                  <a:noFill/>
                  <a:prstDash val="solid"/>
                  <a:miter/>
                </a:ln>
              </p:spPr>
              <p:txBody>
                <a:bodyPr rtlCol="0" anchor="ctr"/>
                <a:lstStyle/>
                <a:p>
                  <a:endParaRPr lang="en-GB" dirty="0"/>
                </a:p>
              </p:txBody>
            </p:sp>
            <p:sp>
              <p:nvSpPr>
                <p:cNvPr id="115" name="Freihandform: Form 394">
                  <a:extLst>
                    <a:ext uri="{FF2B5EF4-FFF2-40B4-BE49-F238E27FC236}">
                      <a16:creationId xmlns:a16="http://schemas.microsoft.com/office/drawing/2014/main" id="{BB1D2FC7-8918-4785-AF98-6F66A565146E}"/>
                    </a:ext>
                  </a:extLst>
                </p:cNvPr>
                <p:cNvSpPr/>
                <p:nvPr/>
              </p:nvSpPr>
              <p:spPr>
                <a:xfrm>
                  <a:off x="2693283" y="2469812"/>
                  <a:ext cx="154544" cy="148072"/>
                </a:xfrm>
                <a:custGeom>
                  <a:avLst/>
                  <a:gdLst>
                    <a:gd name="connsiteX0" fmla="*/ 148073 w 154544"/>
                    <a:gd name="connsiteY0" fmla="*/ 148073 h 148072"/>
                    <a:gd name="connsiteX1" fmla="*/ 141628 w 154544"/>
                    <a:gd name="connsiteY1" fmla="*/ 141628 h 148072"/>
                    <a:gd name="connsiteX2" fmla="*/ 141628 w 154544"/>
                    <a:gd name="connsiteY2" fmla="*/ 12863 h 148072"/>
                    <a:gd name="connsiteX3" fmla="*/ 128765 w 154544"/>
                    <a:gd name="connsiteY3" fmla="*/ 12863 h 148072"/>
                    <a:gd name="connsiteX4" fmla="*/ 128765 w 154544"/>
                    <a:gd name="connsiteY4" fmla="*/ 25726 h 148072"/>
                    <a:gd name="connsiteX5" fmla="*/ 122320 w 154544"/>
                    <a:gd name="connsiteY5" fmla="*/ 32171 h 148072"/>
                    <a:gd name="connsiteX6" fmla="*/ 32198 w 154544"/>
                    <a:gd name="connsiteY6" fmla="*/ 32171 h 148072"/>
                    <a:gd name="connsiteX7" fmla="*/ 25753 w 154544"/>
                    <a:gd name="connsiteY7" fmla="*/ 25726 h 148072"/>
                    <a:gd name="connsiteX8" fmla="*/ 25753 w 154544"/>
                    <a:gd name="connsiteY8" fmla="*/ 12863 h 148072"/>
                    <a:gd name="connsiteX9" fmla="*/ 12890 w 154544"/>
                    <a:gd name="connsiteY9" fmla="*/ 12863 h 148072"/>
                    <a:gd name="connsiteX10" fmla="*/ 12890 w 154544"/>
                    <a:gd name="connsiteY10" fmla="*/ 141628 h 148072"/>
                    <a:gd name="connsiteX11" fmla="*/ 6445 w 154544"/>
                    <a:gd name="connsiteY11" fmla="*/ 148073 h 148072"/>
                    <a:gd name="connsiteX12" fmla="*/ 0 w 154544"/>
                    <a:gd name="connsiteY12" fmla="*/ 141628 h 148072"/>
                    <a:gd name="connsiteX13" fmla="*/ 0 w 154544"/>
                    <a:gd name="connsiteY13" fmla="*/ 6445 h 148072"/>
                    <a:gd name="connsiteX14" fmla="*/ 6445 w 154544"/>
                    <a:gd name="connsiteY14" fmla="*/ 0 h 148072"/>
                    <a:gd name="connsiteX15" fmla="*/ 32198 w 154544"/>
                    <a:gd name="connsiteY15" fmla="*/ 0 h 148072"/>
                    <a:gd name="connsiteX16" fmla="*/ 38643 w 154544"/>
                    <a:gd name="connsiteY16" fmla="*/ 6445 h 148072"/>
                    <a:gd name="connsiteX17" fmla="*/ 38643 w 154544"/>
                    <a:gd name="connsiteY17" fmla="*/ 19308 h 148072"/>
                    <a:gd name="connsiteX18" fmla="*/ 115902 w 154544"/>
                    <a:gd name="connsiteY18" fmla="*/ 19308 h 148072"/>
                    <a:gd name="connsiteX19" fmla="*/ 115902 w 154544"/>
                    <a:gd name="connsiteY19" fmla="*/ 6445 h 148072"/>
                    <a:gd name="connsiteX20" fmla="*/ 122347 w 154544"/>
                    <a:gd name="connsiteY20" fmla="*/ 0 h 148072"/>
                    <a:gd name="connsiteX21" fmla="*/ 148100 w 154544"/>
                    <a:gd name="connsiteY21" fmla="*/ 0 h 148072"/>
                    <a:gd name="connsiteX22" fmla="*/ 154545 w 154544"/>
                    <a:gd name="connsiteY22" fmla="*/ 6445 h 148072"/>
                    <a:gd name="connsiteX23" fmla="*/ 154545 w 154544"/>
                    <a:gd name="connsiteY23" fmla="*/ 141628 h 148072"/>
                    <a:gd name="connsiteX24" fmla="*/ 148073 w 154544"/>
                    <a:gd name="connsiteY24" fmla="*/ 148073 h 148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4544" h="148072">
                      <a:moveTo>
                        <a:pt x="148073" y="148073"/>
                      </a:moveTo>
                      <a:cubicBezTo>
                        <a:pt x="144501" y="148073"/>
                        <a:pt x="141628" y="145200"/>
                        <a:pt x="141628" y="141628"/>
                      </a:cubicBezTo>
                      <a:lnTo>
                        <a:pt x="141628" y="12863"/>
                      </a:lnTo>
                      <a:lnTo>
                        <a:pt x="128765" y="12863"/>
                      </a:lnTo>
                      <a:lnTo>
                        <a:pt x="128765" y="25726"/>
                      </a:lnTo>
                      <a:cubicBezTo>
                        <a:pt x="128765" y="29271"/>
                        <a:pt x="125892" y="32171"/>
                        <a:pt x="122320" y="32171"/>
                      </a:cubicBezTo>
                      <a:lnTo>
                        <a:pt x="32198" y="32171"/>
                      </a:lnTo>
                      <a:cubicBezTo>
                        <a:pt x="28626" y="32171"/>
                        <a:pt x="25753" y="29298"/>
                        <a:pt x="25753" y="25726"/>
                      </a:cubicBezTo>
                      <a:lnTo>
                        <a:pt x="25753" y="12863"/>
                      </a:lnTo>
                      <a:lnTo>
                        <a:pt x="12890" y="12863"/>
                      </a:lnTo>
                      <a:lnTo>
                        <a:pt x="12890" y="141628"/>
                      </a:lnTo>
                      <a:cubicBezTo>
                        <a:pt x="12890" y="145173"/>
                        <a:pt x="10017" y="148073"/>
                        <a:pt x="6445" y="148073"/>
                      </a:cubicBezTo>
                      <a:cubicBezTo>
                        <a:pt x="2873" y="148073"/>
                        <a:pt x="0" y="145200"/>
                        <a:pt x="0" y="141628"/>
                      </a:cubicBezTo>
                      <a:lnTo>
                        <a:pt x="0" y="6445"/>
                      </a:lnTo>
                      <a:cubicBezTo>
                        <a:pt x="0" y="2900"/>
                        <a:pt x="2873" y="0"/>
                        <a:pt x="6445" y="0"/>
                      </a:cubicBezTo>
                      <a:lnTo>
                        <a:pt x="32198" y="0"/>
                      </a:lnTo>
                      <a:cubicBezTo>
                        <a:pt x="35770" y="0"/>
                        <a:pt x="38643" y="2873"/>
                        <a:pt x="38643" y="6445"/>
                      </a:cubicBezTo>
                      <a:lnTo>
                        <a:pt x="38643" y="19308"/>
                      </a:lnTo>
                      <a:lnTo>
                        <a:pt x="115902" y="19308"/>
                      </a:lnTo>
                      <a:lnTo>
                        <a:pt x="115902" y="6445"/>
                      </a:lnTo>
                      <a:cubicBezTo>
                        <a:pt x="115902" y="2900"/>
                        <a:pt x="118775" y="0"/>
                        <a:pt x="122347" y="0"/>
                      </a:cubicBezTo>
                      <a:lnTo>
                        <a:pt x="148100" y="0"/>
                      </a:lnTo>
                      <a:cubicBezTo>
                        <a:pt x="151671" y="0"/>
                        <a:pt x="154545" y="2873"/>
                        <a:pt x="154545" y="6445"/>
                      </a:cubicBezTo>
                      <a:lnTo>
                        <a:pt x="154545" y="141628"/>
                      </a:lnTo>
                      <a:cubicBezTo>
                        <a:pt x="154491" y="145173"/>
                        <a:pt x="151618" y="148073"/>
                        <a:pt x="148073" y="148073"/>
                      </a:cubicBezTo>
                      <a:close/>
                    </a:path>
                  </a:pathLst>
                </a:custGeom>
                <a:solidFill>
                  <a:schemeClr val="accent1"/>
                </a:solidFill>
                <a:ln w="2681" cap="flat">
                  <a:noFill/>
                  <a:prstDash val="solid"/>
                  <a:miter/>
                </a:ln>
              </p:spPr>
              <p:txBody>
                <a:bodyPr rtlCol="0" anchor="ctr"/>
                <a:lstStyle/>
                <a:p>
                  <a:endParaRPr lang="en-GB" dirty="0"/>
                </a:p>
              </p:txBody>
            </p:sp>
            <p:sp>
              <p:nvSpPr>
                <p:cNvPr id="116" name="Freihandform: Form 395">
                  <a:extLst>
                    <a:ext uri="{FF2B5EF4-FFF2-40B4-BE49-F238E27FC236}">
                      <a16:creationId xmlns:a16="http://schemas.microsoft.com/office/drawing/2014/main" id="{F7529B3F-6C4F-4D00-8C01-8629F9290EAD}"/>
                    </a:ext>
                  </a:extLst>
                </p:cNvPr>
                <p:cNvSpPr/>
                <p:nvPr/>
              </p:nvSpPr>
              <p:spPr>
                <a:xfrm>
                  <a:off x="2719009" y="2514873"/>
                  <a:ext cx="103011" cy="96566"/>
                </a:xfrm>
                <a:custGeom>
                  <a:avLst/>
                  <a:gdLst>
                    <a:gd name="connsiteX0" fmla="*/ 96594 w 103011"/>
                    <a:gd name="connsiteY0" fmla="*/ 96567 h 96566"/>
                    <a:gd name="connsiteX1" fmla="*/ 90149 w 103011"/>
                    <a:gd name="connsiteY1" fmla="*/ 90122 h 96566"/>
                    <a:gd name="connsiteX2" fmla="*/ 90149 w 103011"/>
                    <a:gd name="connsiteY2" fmla="*/ 12863 h 96566"/>
                    <a:gd name="connsiteX3" fmla="*/ 12890 w 103011"/>
                    <a:gd name="connsiteY3" fmla="*/ 12863 h 96566"/>
                    <a:gd name="connsiteX4" fmla="*/ 12890 w 103011"/>
                    <a:gd name="connsiteY4" fmla="*/ 90122 h 96566"/>
                    <a:gd name="connsiteX5" fmla="*/ 6445 w 103011"/>
                    <a:gd name="connsiteY5" fmla="*/ 96567 h 96566"/>
                    <a:gd name="connsiteX6" fmla="*/ 0 w 103011"/>
                    <a:gd name="connsiteY6" fmla="*/ 90122 h 96566"/>
                    <a:gd name="connsiteX7" fmla="*/ 0 w 103011"/>
                    <a:gd name="connsiteY7" fmla="*/ 6445 h 96566"/>
                    <a:gd name="connsiteX8" fmla="*/ 6445 w 103011"/>
                    <a:gd name="connsiteY8" fmla="*/ 0 h 96566"/>
                    <a:gd name="connsiteX9" fmla="*/ 96567 w 103011"/>
                    <a:gd name="connsiteY9" fmla="*/ 0 h 96566"/>
                    <a:gd name="connsiteX10" fmla="*/ 103012 w 103011"/>
                    <a:gd name="connsiteY10" fmla="*/ 6445 h 96566"/>
                    <a:gd name="connsiteX11" fmla="*/ 103012 w 103011"/>
                    <a:gd name="connsiteY11" fmla="*/ 90122 h 96566"/>
                    <a:gd name="connsiteX12" fmla="*/ 96594 w 103011"/>
                    <a:gd name="connsiteY12" fmla="*/ 96567 h 9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011" h="96566">
                      <a:moveTo>
                        <a:pt x="96594" y="96567"/>
                      </a:moveTo>
                      <a:cubicBezTo>
                        <a:pt x="93022" y="96567"/>
                        <a:pt x="90149" y="93694"/>
                        <a:pt x="90149" y="90122"/>
                      </a:cubicBezTo>
                      <a:lnTo>
                        <a:pt x="90149" y="12863"/>
                      </a:lnTo>
                      <a:lnTo>
                        <a:pt x="12890" y="12863"/>
                      </a:lnTo>
                      <a:lnTo>
                        <a:pt x="12890" y="90122"/>
                      </a:lnTo>
                      <a:cubicBezTo>
                        <a:pt x="12890" y="93667"/>
                        <a:pt x="10016" y="96567"/>
                        <a:pt x="6445" y="96567"/>
                      </a:cubicBezTo>
                      <a:cubicBezTo>
                        <a:pt x="2873" y="96567"/>
                        <a:pt x="0" y="93694"/>
                        <a:pt x="0" y="90122"/>
                      </a:cubicBezTo>
                      <a:lnTo>
                        <a:pt x="0" y="6445"/>
                      </a:lnTo>
                      <a:cubicBezTo>
                        <a:pt x="0" y="2900"/>
                        <a:pt x="2873" y="0"/>
                        <a:pt x="6445" y="0"/>
                      </a:cubicBezTo>
                      <a:lnTo>
                        <a:pt x="96567" y="0"/>
                      </a:lnTo>
                      <a:cubicBezTo>
                        <a:pt x="100112" y="0"/>
                        <a:pt x="103012" y="2873"/>
                        <a:pt x="103012" y="6445"/>
                      </a:cubicBezTo>
                      <a:lnTo>
                        <a:pt x="103012" y="90122"/>
                      </a:lnTo>
                      <a:cubicBezTo>
                        <a:pt x="103012" y="93694"/>
                        <a:pt x="100138" y="96567"/>
                        <a:pt x="96594" y="96567"/>
                      </a:cubicBezTo>
                      <a:close/>
                    </a:path>
                  </a:pathLst>
                </a:custGeom>
                <a:solidFill>
                  <a:schemeClr val="accent1"/>
                </a:solidFill>
                <a:ln w="2681" cap="flat">
                  <a:noFill/>
                  <a:prstDash val="solid"/>
                  <a:miter/>
                </a:ln>
              </p:spPr>
              <p:txBody>
                <a:bodyPr rtlCol="0" anchor="ctr"/>
                <a:lstStyle/>
                <a:p>
                  <a:endParaRPr lang="en-GB" dirty="0"/>
                </a:p>
              </p:txBody>
            </p:sp>
          </p:grpSp>
          <p:grpSp>
            <p:nvGrpSpPr>
              <p:cNvPr id="103" name="Grafik 294">
                <a:extLst>
                  <a:ext uri="{FF2B5EF4-FFF2-40B4-BE49-F238E27FC236}">
                    <a16:creationId xmlns:a16="http://schemas.microsoft.com/office/drawing/2014/main" id="{DFC9BE24-52DA-49AA-B1D2-1FD26DA4DEB3}"/>
                  </a:ext>
                </a:extLst>
              </p:cNvPr>
              <p:cNvGrpSpPr/>
              <p:nvPr/>
            </p:nvGrpSpPr>
            <p:grpSpPr>
              <a:xfrm>
                <a:off x="2532338" y="2441629"/>
                <a:ext cx="475162" cy="289767"/>
                <a:chOff x="2532338" y="2441629"/>
                <a:chExt cx="475162" cy="289767"/>
              </a:xfrm>
              <a:solidFill>
                <a:schemeClr val="accent1"/>
              </a:solidFill>
            </p:grpSpPr>
            <p:grpSp>
              <p:nvGrpSpPr>
                <p:cNvPr id="104" name="Grafik 294">
                  <a:extLst>
                    <a:ext uri="{FF2B5EF4-FFF2-40B4-BE49-F238E27FC236}">
                      <a16:creationId xmlns:a16="http://schemas.microsoft.com/office/drawing/2014/main" id="{784133A0-F9E6-4564-9F81-2241DE2D2868}"/>
                    </a:ext>
                  </a:extLst>
                </p:cNvPr>
                <p:cNvGrpSpPr/>
                <p:nvPr/>
              </p:nvGrpSpPr>
              <p:grpSpPr>
                <a:xfrm>
                  <a:off x="2896093" y="2441683"/>
                  <a:ext cx="111407" cy="289713"/>
                  <a:chOff x="2896093" y="2441683"/>
                  <a:chExt cx="111407" cy="289713"/>
                </a:xfrm>
                <a:solidFill>
                  <a:schemeClr val="accent1"/>
                </a:solidFill>
              </p:grpSpPr>
              <p:sp>
                <p:nvSpPr>
                  <p:cNvPr id="110" name="Freihandform: Form 398">
                    <a:extLst>
                      <a:ext uri="{FF2B5EF4-FFF2-40B4-BE49-F238E27FC236}">
                        <a16:creationId xmlns:a16="http://schemas.microsoft.com/office/drawing/2014/main" id="{28EC113C-7856-41BE-B609-92149050084B}"/>
                      </a:ext>
                    </a:extLst>
                  </p:cNvPr>
                  <p:cNvSpPr/>
                  <p:nvPr/>
                </p:nvSpPr>
                <p:spPr>
                  <a:xfrm>
                    <a:off x="2896093" y="2675044"/>
                    <a:ext cx="73326" cy="56352"/>
                  </a:xfrm>
                  <a:custGeom>
                    <a:avLst/>
                    <a:gdLst>
                      <a:gd name="connsiteX0" fmla="*/ 29316 w 73326"/>
                      <a:gd name="connsiteY0" fmla="*/ 56353 h 56352"/>
                      <a:gd name="connsiteX1" fmla="*/ 3268 w 73326"/>
                      <a:gd name="connsiteY1" fmla="*/ 48485 h 56352"/>
                      <a:gd name="connsiteX2" fmla="*/ 18 w 73326"/>
                      <a:gd name="connsiteY2" fmla="*/ 42389 h 56352"/>
                      <a:gd name="connsiteX3" fmla="*/ 18709 w 73326"/>
                      <a:gd name="connsiteY3" fmla="*/ 6190 h 56352"/>
                      <a:gd name="connsiteX4" fmla="*/ 69221 w 73326"/>
                      <a:gd name="connsiteY4" fmla="*/ 4847 h 56352"/>
                      <a:gd name="connsiteX5" fmla="*/ 73169 w 73326"/>
                      <a:gd name="connsiteY5" fmla="*/ 12258 h 56352"/>
                      <a:gd name="connsiteX6" fmla="*/ 43737 w 73326"/>
                      <a:gd name="connsiteY6" fmla="*/ 53318 h 56352"/>
                      <a:gd name="connsiteX7" fmla="*/ 29316 w 73326"/>
                      <a:gd name="connsiteY7" fmla="*/ 56353 h 56352"/>
                      <a:gd name="connsiteX8" fmla="*/ 13338 w 73326"/>
                      <a:gd name="connsiteY8" fmla="*/ 39247 h 56352"/>
                      <a:gd name="connsiteX9" fmla="*/ 38527 w 73326"/>
                      <a:gd name="connsiteY9" fmla="*/ 41556 h 56352"/>
                      <a:gd name="connsiteX10" fmla="*/ 58909 w 73326"/>
                      <a:gd name="connsiteY10" fmla="*/ 15078 h 56352"/>
                      <a:gd name="connsiteX11" fmla="*/ 25557 w 73326"/>
                      <a:gd name="connsiteY11" fmla="*/ 17092 h 56352"/>
                      <a:gd name="connsiteX12" fmla="*/ 13338 w 73326"/>
                      <a:gd name="connsiteY12" fmla="*/ 39247 h 56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326" h="56352">
                        <a:moveTo>
                          <a:pt x="29316" y="56353"/>
                        </a:moveTo>
                        <a:cubicBezTo>
                          <a:pt x="21179" y="56353"/>
                          <a:pt x="12479" y="53721"/>
                          <a:pt x="3268" y="48485"/>
                        </a:cubicBezTo>
                        <a:cubicBezTo>
                          <a:pt x="1092" y="47249"/>
                          <a:pt x="-170" y="44886"/>
                          <a:pt x="18" y="42389"/>
                        </a:cubicBezTo>
                        <a:cubicBezTo>
                          <a:pt x="1361" y="25283"/>
                          <a:pt x="7645" y="13118"/>
                          <a:pt x="18709" y="6190"/>
                        </a:cubicBezTo>
                        <a:cubicBezTo>
                          <a:pt x="39198" y="-6647"/>
                          <a:pt x="67986" y="4390"/>
                          <a:pt x="69221" y="4847"/>
                        </a:cubicBezTo>
                        <a:cubicBezTo>
                          <a:pt x="72202" y="6002"/>
                          <a:pt x="73867" y="9143"/>
                          <a:pt x="73169" y="12258"/>
                        </a:cubicBezTo>
                        <a:cubicBezTo>
                          <a:pt x="72873" y="13521"/>
                          <a:pt x="65864" y="43543"/>
                          <a:pt x="43737" y="53318"/>
                        </a:cubicBezTo>
                        <a:cubicBezTo>
                          <a:pt x="39172" y="55332"/>
                          <a:pt x="34365" y="56353"/>
                          <a:pt x="29316" y="56353"/>
                        </a:cubicBezTo>
                        <a:close/>
                        <a:moveTo>
                          <a:pt x="13338" y="39247"/>
                        </a:moveTo>
                        <a:cubicBezTo>
                          <a:pt x="22952" y="43892"/>
                          <a:pt x="31384" y="44671"/>
                          <a:pt x="38527" y="41556"/>
                        </a:cubicBezTo>
                        <a:cubicBezTo>
                          <a:pt x="49886" y="36561"/>
                          <a:pt x="56143" y="22893"/>
                          <a:pt x="58909" y="15078"/>
                        </a:cubicBezTo>
                        <a:cubicBezTo>
                          <a:pt x="50907" y="12984"/>
                          <a:pt x="36056" y="10513"/>
                          <a:pt x="25557" y="17092"/>
                        </a:cubicBezTo>
                        <a:cubicBezTo>
                          <a:pt x="18977" y="21255"/>
                          <a:pt x="14869" y="28666"/>
                          <a:pt x="13338" y="39247"/>
                        </a:cubicBezTo>
                        <a:close/>
                      </a:path>
                    </a:pathLst>
                  </a:custGeom>
                  <a:solidFill>
                    <a:schemeClr val="accent1"/>
                  </a:solidFill>
                  <a:ln w="2681" cap="flat">
                    <a:noFill/>
                    <a:prstDash val="solid"/>
                    <a:miter/>
                  </a:ln>
                </p:spPr>
                <p:txBody>
                  <a:bodyPr rtlCol="0" anchor="ctr"/>
                  <a:lstStyle/>
                  <a:p>
                    <a:endParaRPr lang="en-GB" dirty="0"/>
                  </a:p>
                </p:txBody>
              </p:sp>
              <p:sp>
                <p:nvSpPr>
                  <p:cNvPr id="111" name="Freihandform: Form 399">
                    <a:extLst>
                      <a:ext uri="{FF2B5EF4-FFF2-40B4-BE49-F238E27FC236}">
                        <a16:creationId xmlns:a16="http://schemas.microsoft.com/office/drawing/2014/main" id="{ECA0ACB5-E996-411D-B0F2-8287210BBDC4}"/>
                      </a:ext>
                    </a:extLst>
                  </p:cNvPr>
                  <p:cNvSpPr/>
                  <p:nvPr/>
                </p:nvSpPr>
                <p:spPr>
                  <a:xfrm>
                    <a:off x="2944896" y="2595968"/>
                    <a:ext cx="62603" cy="63191"/>
                  </a:xfrm>
                  <a:custGeom>
                    <a:avLst/>
                    <a:gdLst>
                      <a:gd name="connsiteX0" fmla="*/ 20579 w 62603"/>
                      <a:gd name="connsiteY0" fmla="*/ 63192 h 63191"/>
                      <a:gd name="connsiteX1" fmla="*/ 6776 w 62603"/>
                      <a:gd name="connsiteY1" fmla="*/ 61634 h 63191"/>
                      <a:gd name="connsiteX2" fmla="*/ 1835 w 62603"/>
                      <a:gd name="connsiteY2" fmla="*/ 56800 h 63191"/>
                      <a:gd name="connsiteX3" fmla="*/ 8709 w 62603"/>
                      <a:gd name="connsiteY3" fmla="*/ 16627 h 63191"/>
                      <a:gd name="connsiteX4" fmla="*/ 56456 w 62603"/>
                      <a:gd name="connsiteY4" fmla="*/ 85 h 63191"/>
                      <a:gd name="connsiteX5" fmla="*/ 62444 w 62603"/>
                      <a:gd name="connsiteY5" fmla="*/ 5966 h 63191"/>
                      <a:gd name="connsiteX6" fmla="*/ 46815 w 62603"/>
                      <a:gd name="connsiteY6" fmla="*/ 54008 h 63191"/>
                      <a:gd name="connsiteX7" fmla="*/ 20579 w 62603"/>
                      <a:gd name="connsiteY7" fmla="*/ 63192 h 63191"/>
                      <a:gd name="connsiteX8" fmla="*/ 13570 w 62603"/>
                      <a:gd name="connsiteY8" fmla="*/ 49765 h 63191"/>
                      <a:gd name="connsiteX9" fmla="*/ 38276 w 62603"/>
                      <a:gd name="connsiteY9" fmla="*/ 44367 h 63191"/>
                      <a:gd name="connsiteX10" fmla="*/ 49689 w 62603"/>
                      <a:gd name="connsiteY10" fmla="*/ 12975 h 63191"/>
                      <a:gd name="connsiteX11" fmla="*/ 18511 w 62603"/>
                      <a:gd name="connsiteY11" fmla="*/ 24978 h 63191"/>
                      <a:gd name="connsiteX12" fmla="*/ 13570 w 62603"/>
                      <a:gd name="connsiteY12" fmla="*/ 49765 h 6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603" h="63191">
                        <a:moveTo>
                          <a:pt x="20579" y="63192"/>
                        </a:moveTo>
                        <a:cubicBezTo>
                          <a:pt x="16255" y="63192"/>
                          <a:pt x="11663" y="62681"/>
                          <a:pt x="6776" y="61634"/>
                        </a:cubicBezTo>
                        <a:cubicBezTo>
                          <a:pt x="4332" y="61124"/>
                          <a:pt x="2426" y="59217"/>
                          <a:pt x="1835" y="56800"/>
                        </a:cubicBezTo>
                        <a:cubicBezTo>
                          <a:pt x="-2059" y="40097"/>
                          <a:pt x="250" y="26590"/>
                          <a:pt x="8709" y="16627"/>
                        </a:cubicBezTo>
                        <a:cubicBezTo>
                          <a:pt x="24365" y="-1822"/>
                          <a:pt x="55140" y="4"/>
                          <a:pt x="56456" y="85"/>
                        </a:cubicBezTo>
                        <a:cubicBezTo>
                          <a:pt x="59625" y="300"/>
                          <a:pt x="62176" y="2797"/>
                          <a:pt x="62444" y="5966"/>
                        </a:cubicBezTo>
                        <a:cubicBezTo>
                          <a:pt x="62552" y="7255"/>
                          <a:pt x="64942" y="38003"/>
                          <a:pt x="46815" y="54008"/>
                        </a:cubicBezTo>
                        <a:cubicBezTo>
                          <a:pt x="39887" y="60103"/>
                          <a:pt x="31079" y="63192"/>
                          <a:pt x="20579" y="63192"/>
                        </a:cubicBezTo>
                        <a:close/>
                        <a:moveTo>
                          <a:pt x="13570" y="49765"/>
                        </a:moveTo>
                        <a:cubicBezTo>
                          <a:pt x="24097" y="51268"/>
                          <a:pt x="32422" y="49469"/>
                          <a:pt x="38276" y="44367"/>
                        </a:cubicBezTo>
                        <a:cubicBezTo>
                          <a:pt x="47594" y="36177"/>
                          <a:pt x="49447" y="21246"/>
                          <a:pt x="49689" y="12975"/>
                        </a:cubicBezTo>
                        <a:cubicBezTo>
                          <a:pt x="41418" y="13404"/>
                          <a:pt x="26514" y="15526"/>
                          <a:pt x="18511" y="24978"/>
                        </a:cubicBezTo>
                        <a:cubicBezTo>
                          <a:pt x="13516" y="30913"/>
                          <a:pt x="11851" y="39238"/>
                          <a:pt x="13570" y="49765"/>
                        </a:cubicBezTo>
                        <a:close/>
                      </a:path>
                    </a:pathLst>
                  </a:custGeom>
                  <a:solidFill>
                    <a:schemeClr val="accent1"/>
                  </a:solidFill>
                  <a:ln w="2681" cap="flat">
                    <a:noFill/>
                    <a:prstDash val="solid"/>
                    <a:miter/>
                  </a:ln>
                </p:spPr>
                <p:txBody>
                  <a:bodyPr rtlCol="0" anchor="ctr"/>
                  <a:lstStyle/>
                  <a:p>
                    <a:endParaRPr lang="en-GB" dirty="0"/>
                  </a:p>
                </p:txBody>
              </p:sp>
              <p:sp>
                <p:nvSpPr>
                  <p:cNvPr id="112" name="Freihandform: Form 400">
                    <a:extLst>
                      <a:ext uri="{FF2B5EF4-FFF2-40B4-BE49-F238E27FC236}">
                        <a16:creationId xmlns:a16="http://schemas.microsoft.com/office/drawing/2014/main" id="{EA4254DE-8FEE-47B8-94BC-C7B5FD6DA604}"/>
                      </a:ext>
                    </a:extLst>
                  </p:cNvPr>
                  <p:cNvSpPr/>
                  <p:nvPr/>
                </p:nvSpPr>
                <p:spPr>
                  <a:xfrm>
                    <a:off x="2930958" y="2519058"/>
                    <a:ext cx="59656" cy="66897"/>
                  </a:xfrm>
                  <a:custGeom>
                    <a:avLst/>
                    <a:gdLst>
                      <a:gd name="connsiteX0" fmla="*/ 16713 w 59656"/>
                      <a:gd name="connsiteY0" fmla="*/ 66897 h 66897"/>
                      <a:gd name="connsiteX1" fmla="*/ 9086 w 59656"/>
                      <a:gd name="connsiteY1" fmla="*/ 66494 h 66897"/>
                      <a:gd name="connsiteX2" fmla="*/ 3662 w 59656"/>
                      <a:gd name="connsiteY2" fmla="*/ 62198 h 66897"/>
                      <a:gd name="connsiteX3" fmla="*/ 6240 w 59656"/>
                      <a:gd name="connsiteY3" fmla="*/ 21514 h 66897"/>
                      <a:gd name="connsiteX4" fmla="*/ 51945 w 59656"/>
                      <a:gd name="connsiteY4" fmla="*/ 4 h 66897"/>
                      <a:gd name="connsiteX5" fmla="*/ 58524 w 59656"/>
                      <a:gd name="connsiteY5" fmla="*/ 5213 h 66897"/>
                      <a:gd name="connsiteX6" fmla="*/ 48051 w 59656"/>
                      <a:gd name="connsiteY6" fmla="*/ 54625 h 66897"/>
                      <a:gd name="connsiteX7" fmla="*/ 16713 w 59656"/>
                      <a:gd name="connsiteY7" fmla="*/ 66897 h 66897"/>
                      <a:gd name="connsiteX8" fmla="*/ 14564 w 59656"/>
                      <a:gd name="connsiteY8" fmla="*/ 53980 h 66897"/>
                      <a:gd name="connsiteX9" fmla="*/ 38572 w 59656"/>
                      <a:gd name="connsiteY9" fmla="*/ 45951 h 66897"/>
                      <a:gd name="connsiteX10" fmla="*/ 46628 w 59656"/>
                      <a:gd name="connsiteY10" fmla="*/ 13538 h 66897"/>
                      <a:gd name="connsiteX11" fmla="*/ 16874 w 59656"/>
                      <a:gd name="connsiteY11" fmla="*/ 28791 h 66897"/>
                      <a:gd name="connsiteX12" fmla="*/ 14564 w 59656"/>
                      <a:gd name="connsiteY12" fmla="*/ 53980 h 66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656" h="66897">
                        <a:moveTo>
                          <a:pt x="16713" y="66897"/>
                        </a:moveTo>
                        <a:cubicBezTo>
                          <a:pt x="14269" y="66897"/>
                          <a:pt x="11718" y="66763"/>
                          <a:pt x="9086" y="66494"/>
                        </a:cubicBezTo>
                        <a:cubicBezTo>
                          <a:pt x="6616" y="66226"/>
                          <a:pt x="4494" y="64561"/>
                          <a:pt x="3662" y="62198"/>
                        </a:cubicBezTo>
                        <a:cubicBezTo>
                          <a:pt x="-1978" y="46005"/>
                          <a:pt x="-1091" y="32309"/>
                          <a:pt x="6240" y="21514"/>
                        </a:cubicBezTo>
                        <a:cubicBezTo>
                          <a:pt x="19855" y="1534"/>
                          <a:pt x="50656" y="57"/>
                          <a:pt x="51945" y="4"/>
                        </a:cubicBezTo>
                        <a:cubicBezTo>
                          <a:pt x="55382" y="-104"/>
                          <a:pt x="57934" y="2098"/>
                          <a:pt x="58524" y="5213"/>
                        </a:cubicBezTo>
                        <a:cubicBezTo>
                          <a:pt x="58766" y="6502"/>
                          <a:pt x="64405" y="36821"/>
                          <a:pt x="48051" y="54625"/>
                        </a:cubicBezTo>
                        <a:cubicBezTo>
                          <a:pt x="40613" y="62788"/>
                          <a:pt x="30086" y="66897"/>
                          <a:pt x="16713" y="66897"/>
                        </a:cubicBezTo>
                        <a:close/>
                        <a:moveTo>
                          <a:pt x="14564" y="53980"/>
                        </a:moveTo>
                        <a:cubicBezTo>
                          <a:pt x="25279" y="54383"/>
                          <a:pt x="33335" y="51698"/>
                          <a:pt x="38572" y="45951"/>
                        </a:cubicBezTo>
                        <a:cubicBezTo>
                          <a:pt x="46467" y="37331"/>
                          <a:pt x="47299" y="22722"/>
                          <a:pt x="46628" y="13538"/>
                        </a:cubicBezTo>
                        <a:cubicBezTo>
                          <a:pt x="38438" y="14827"/>
                          <a:pt x="23829" y="18506"/>
                          <a:pt x="16874" y="28791"/>
                        </a:cubicBezTo>
                        <a:cubicBezTo>
                          <a:pt x="12524" y="35236"/>
                          <a:pt x="11745" y="43668"/>
                          <a:pt x="14564" y="53980"/>
                        </a:cubicBezTo>
                        <a:close/>
                      </a:path>
                    </a:pathLst>
                  </a:custGeom>
                  <a:solidFill>
                    <a:schemeClr val="accent1"/>
                  </a:solidFill>
                  <a:ln w="2681" cap="flat">
                    <a:noFill/>
                    <a:prstDash val="solid"/>
                    <a:miter/>
                  </a:ln>
                </p:spPr>
                <p:txBody>
                  <a:bodyPr rtlCol="0" anchor="ctr"/>
                  <a:lstStyle/>
                  <a:p>
                    <a:endParaRPr lang="en-GB" dirty="0"/>
                  </a:p>
                </p:txBody>
              </p:sp>
              <p:sp>
                <p:nvSpPr>
                  <p:cNvPr id="113" name="Freihandform: Form 401">
                    <a:extLst>
                      <a:ext uri="{FF2B5EF4-FFF2-40B4-BE49-F238E27FC236}">
                        <a16:creationId xmlns:a16="http://schemas.microsoft.com/office/drawing/2014/main" id="{74EC41F0-5838-4703-9F82-6F3E4037504B}"/>
                      </a:ext>
                    </a:extLst>
                  </p:cNvPr>
                  <p:cNvSpPr/>
                  <p:nvPr/>
                </p:nvSpPr>
                <p:spPr>
                  <a:xfrm>
                    <a:off x="2900333" y="2441683"/>
                    <a:ext cx="55061" cy="76600"/>
                  </a:xfrm>
                  <a:custGeom>
                    <a:avLst/>
                    <a:gdLst>
                      <a:gd name="connsiteX0" fmla="*/ 16241 w 55061"/>
                      <a:gd name="connsiteY0" fmla="*/ 76600 h 76600"/>
                      <a:gd name="connsiteX1" fmla="*/ 11058 w 55061"/>
                      <a:gd name="connsiteY1" fmla="*/ 73969 h 76600"/>
                      <a:gd name="connsiteX2" fmla="*/ 1579 w 55061"/>
                      <a:gd name="connsiteY2" fmla="*/ 34332 h 76600"/>
                      <a:gd name="connsiteX3" fmla="*/ 38959 w 55061"/>
                      <a:gd name="connsiteY3" fmla="*/ 362 h 76600"/>
                      <a:gd name="connsiteX4" fmla="*/ 46774 w 55061"/>
                      <a:gd name="connsiteY4" fmla="*/ 3423 h 76600"/>
                      <a:gd name="connsiteX5" fmla="*/ 51285 w 55061"/>
                      <a:gd name="connsiteY5" fmla="*/ 53748 h 76600"/>
                      <a:gd name="connsiteX6" fmla="*/ 17476 w 55061"/>
                      <a:gd name="connsiteY6" fmla="*/ 76520 h 76600"/>
                      <a:gd name="connsiteX7" fmla="*/ 16241 w 55061"/>
                      <a:gd name="connsiteY7" fmla="*/ 76600 h 76600"/>
                      <a:gd name="connsiteX8" fmla="*/ 37858 w 55061"/>
                      <a:gd name="connsiteY8" fmla="*/ 14836 h 76600"/>
                      <a:gd name="connsiteX9" fmla="*/ 13878 w 55061"/>
                      <a:gd name="connsiteY9" fmla="*/ 38172 h 76600"/>
                      <a:gd name="connsiteX10" fmla="*/ 19087 w 55061"/>
                      <a:gd name="connsiteY10" fmla="*/ 62905 h 76600"/>
                      <a:gd name="connsiteX11" fmla="*/ 39684 w 55061"/>
                      <a:gd name="connsiteY11" fmla="*/ 48189 h 76600"/>
                      <a:gd name="connsiteX12" fmla="*/ 37858 w 55061"/>
                      <a:gd name="connsiteY12" fmla="*/ 14836 h 7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061" h="76600">
                        <a:moveTo>
                          <a:pt x="16241" y="76600"/>
                        </a:moveTo>
                        <a:cubicBezTo>
                          <a:pt x="14227" y="76600"/>
                          <a:pt x="12267" y="75634"/>
                          <a:pt x="11058" y="73969"/>
                        </a:cubicBezTo>
                        <a:cubicBezTo>
                          <a:pt x="907" y="60139"/>
                          <a:pt x="-2262" y="46819"/>
                          <a:pt x="1579" y="34332"/>
                        </a:cubicBezTo>
                        <a:cubicBezTo>
                          <a:pt x="8722" y="11238"/>
                          <a:pt x="37724" y="791"/>
                          <a:pt x="38959" y="362"/>
                        </a:cubicBezTo>
                        <a:cubicBezTo>
                          <a:pt x="41967" y="-686"/>
                          <a:pt x="45297" y="603"/>
                          <a:pt x="46774" y="3423"/>
                        </a:cubicBezTo>
                        <a:cubicBezTo>
                          <a:pt x="47391" y="4578"/>
                          <a:pt x="61678" y="31888"/>
                          <a:pt x="51285" y="53748"/>
                        </a:cubicBezTo>
                        <a:cubicBezTo>
                          <a:pt x="45673" y="65536"/>
                          <a:pt x="34314" y="73190"/>
                          <a:pt x="17476" y="76520"/>
                        </a:cubicBezTo>
                        <a:cubicBezTo>
                          <a:pt x="17073" y="76547"/>
                          <a:pt x="16670" y="76600"/>
                          <a:pt x="16241" y="76600"/>
                        </a:cubicBezTo>
                        <a:close/>
                        <a:moveTo>
                          <a:pt x="37858" y="14836"/>
                        </a:moveTo>
                        <a:cubicBezTo>
                          <a:pt x="30420" y="18461"/>
                          <a:pt x="17530" y="26303"/>
                          <a:pt x="13878" y="38172"/>
                        </a:cubicBezTo>
                        <a:cubicBezTo>
                          <a:pt x="11595" y="45584"/>
                          <a:pt x="13341" y="53909"/>
                          <a:pt x="19087" y="62905"/>
                        </a:cubicBezTo>
                        <a:cubicBezTo>
                          <a:pt x="29426" y="60139"/>
                          <a:pt x="36328" y="55198"/>
                          <a:pt x="39684" y="48189"/>
                        </a:cubicBezTo>
                        <a:cubicBezTo>
                          <a:pt x="44706" y="37635"/>
                          <a:pt x="41188" y="23402"/>
                          <a:pt x="37858" y="14836"/>
                        </a:cubicBezTo>
                        <a:close/>
                      </a:path>
                    </a:pathLst>
                  </a:custGeom>
                  <a:solidFill>
                    <a:schemeClr val="accent1"/>
                  </a:solidFill>
                  <a:ln w="2681" cap="flat">
                    <a:noFill/>
                    <a:prstDash val="solid"/>
                    <a:miter/>
                  </a:ln>
                </p:spPr>
                <p:txBody>
                  <a:bodyPr rtlCol="0" anchor="ctr"/>
                  <a:lstStyle/>
                  <a:p>
                    <a:endParaRPr lang="en-GB" dirty="0"/>
                  </a:p>
                </p:txBody>
              </p:sp>
            </p:grpSp>
            <p:grpSp>
              <p:nvGrpSpPr>
                <p:cNvPr id="105" name="Grafik 294">
                  <a:extLst>
                    <a:ext uri="{FF2B5EF4-FFF2-40B4-BE49-F238E27FC236}">
                      <a16:creationId xmlns:a16="http://schemas.microsoft.com/office/drawing/2014/main" id="{B9B36E2E-8E5C-429E-8A31-2A3EEED46A90}"/>
                    </a:ext>
                  </a:extLst>
                </p:cNvPr>
                <p:cNvGrpSpPr/>
                <p:nvPr/>
              </p:nvGrpSpPr>
              <p:grpSpPr>
                <a:xfrm>
                  <a:off x="2532338" y="2441629"/>
                  <a:ext cx="111418" cy="289767"/>
                  <a:chOff x="2532338" y="2441629"/>
                  <a:chExt cx="111418" cy="289767"/>
                </a:xfrm>
                <a:solidFill>
                  <a:schemeClr val="accent1"/>
                </a:solidFill>
              </p:grpSpPr>
              <p:sp>
                <p:nvSpPr>
                  <p:cNvPr id="106" name="Freihandform: Form 403">
                    <a:extLst>
                      <a:ext uri="{FF2B5EF4-FFF2-40B4-BE49-F238E27FC236}">
                        <a16:creationId xmlns:a16="http://schemas.microsoft.com/office/drawing/2014/main" id="{CEFDB900-D74B-424F-8DE0-10382EAD7C02}"/>
                      </a:ext>
                    </a:extLst>
                  </p:cNvPr>
                  <p:cNvSpPr/>
                  <p:nvPr/>
                </p:nvSpPr>
                <p:spPr>
                  <a:xfrm>
                    <a:off x="2570429" y="2675037"/>
                    <a:ext cx="73327" cy="56359"/>
                  </a:xfrm>
                  <a:custGeom>
                    <a:avLst/>
                    <a:gdLst>
                      <a:gd name="connsiteX0" fmla="*/ 44011 w 73327"/>
                      <a:gd name="connsiteY0" fmla="*/ 56360 h 56359"/>
                      <a:gd name="connsiteX1" fmla="*/ 29590 w 73327"/>
                      <a:gd name="connsiteY1" fmla="*/ 53325 h 56359"/>
                      <a:gd name="connsiteX2" fmla="*/ 158 w 73327"/>
                      <a:gd name="connsiteY2" fmla="*/ 12265 h 56359"/>
                      <a:gd name="connsiteX3" fmla="*/ 4106 w 73327"/>
                      <a:gd name="connsiteY3" fmla="*/ 4854 h 56359"/>
                      <a:gd name="connsiteX4" fmla="*/ 54618 w 73327"/>
                      <a:gd name="connsiteY4" fmla="*/ 6196 h 56359"/>
                      <a:gd name="connsiteX5" fmla="*/ 73309 w 73327"/>
                      <a:gd name="connsiteY5" fmla="*/ 42395 h 56359"/>
                      <a:gd name="connsiteX6" fmla="*/ 70059 w 73327"/>
                      <a:gd name="connsiteY6" fmla="*/ 48491 h 56359"/>
                      <a:gd name="connsiteX7" fmla="*/ 44011 w 73327"/>
                      <a:gd name="connsiteY7" fmla="*/ 56360 h 56359"/>
                      <a:gd name="connsiteX8" fmla="*/ 14445 w 73327"/>
                      <a:gd name="connsiteY8" fmla="*/ 15058 h 56359"/>
                      <a:gd name="connsiteX9" fmla="*/ 34827 w 73327"/>
                      <a:gd name="connsiteY9" fmla="*/ 41563 h 56359"/>
                      <a:gd name="connsiteX10" fmla="*/ 59989 w 73327"/>
                      <a:gd name="connsiteY10" fmla="*/ 39254 h 56359"/>
                      <a:gd name="connsiteX11" fmla="*/ 47744 w 73327"/>
                      <a:gd name="connsiteY11" fmla="*/ 17099 h 56359"/>
                      <a:gd name="connsiteX12" fmla="*/ 14445 w 73327"/>
                      <a:gd name="connsiteY12" fmla="*/ 15058 h 56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327" h="56359">
                        <a:moveTo>
                          <a:pt x="44011" y="56360"/>
                        </a:moveTo>
                        <a:cubicBezTo>
                          <a:pt x="38962" y="56360"/>
                          <a:pt x="34155" y="55339"/>
                          <a:pt x="29590" y="53325"/>
                        </a:cubicBezTo>
                        <a:cubicBezTo>
                          <a:pt x="7463" y="43550"/>
                          <a:pt x="427" y="13527"/>
                          <a:pt x="158" y="12265"/>
                        </a:cubicBezTo>
                        <a:cubicBezTo>
                          <a:pt x="-540" y="9150"/>
                          <a:pt x="1125" y="6008"/>
                          <a:pt x="4106" y="4854"/>
                        </a:cubicBezTo>
                        <a:cubicBezTo>
                          <a:pt x="5314" y="4370"/>
                          <a:pt x="34102" y="-6640"/>
                          <a:pt x="54618" y="6196"/>
                        </a:cubicBezTo>
                        <a:cubicBezTo>
                          <a:pt x="65682" y="13125"/>
                          <a:pt x="71966" y="25316"/>
                          <a:pt x="73309" y="42395"/>
                        </a:cubicBezTo>
                        <a:cubicBezTo>
                          <a:pt x="73496" y="44893"/>
                          <a:pt x="72234" y="47256"/>
                          <a:pt x="70059" y="48491"/>
                        </a:cubicBezTo>
                        <a:cubicBezTo>
                          <a:pt x="60848" y="53728"/>
                          <a:pt x="52148" y="56360"/>
                          <a:pt x="44011" y="56360"/>
                        </a:cubicBezTo>
                        <a:close/>
                        <a:moveTo>
                          <a:pt x="14445" y="15058"/>
                        </a:moveTo>
                        <a:cubicBezTo>
                          <a:pt x="17184" y="22873"/>
                          <a:pt x="23468" y="36568"/>
                          <a:pt x="34827" y="41563"/>
                        </a:cubicBezTo>
                        <a:cubicBezTo>
                          <a:pt x="41943" y="44678"/>
                          <a:pt x="50402" y="43899"/>
                          <a:pt x="59989" y="39254"/>
                        </a:cubicBezTo>
                        <a:cubicBezTo>
                          <a:pt x="58431" y="28673"/>
                          <a:pt x="54350" y="21235"/>
                          <a:pt x="47744" y="17099"/>
                        </a:cubicBezTo>
                        <a:cubicBezTo>
                          <a:pt x="37861" y="10896"/>
                          <a:pt x="23333" y="12749"/>
                          <a:pt x="14445" y="15058"/>
                        </a:cubicBezTo>
                        <a:close/>
                      </a:path>
                    </a:pathLst>
                  </a:custGeom>
                  <a:solidFill>
                    <a:schemeClr val="accent1"/>
                  </a:solidFill>
                  <a:ln w="2681" cap="flat">
                    <a:noFill/>
                    <a:prstDash val="solid"/>
                    <a:miter/>
                  </a:ln>
                </p:spPr>
                <p:txBody>
                  <a:bodyPr rtlCol="0" anchor="ctr"/>
                  <a:lstStyle/>
                  <a:p>
                    <a:endParaRPr lang="en-GB" dirty="0"/>
                  </a:p>
                </p:txBody>
              </p:sp>
              <p:sp>
                <p:nvSpPr>
                  <p:cNvPr id="107" name="Freihandform: Form 404">
                    <a:extLst>
                      <a:ext uri="{FF2B5EF4-FFF2-40B4-BE49-F238E27FC236}">
                        <a16:creationId xmlns:a16="http://schemas.microsoft.com/office/drawing/2014/main" id="{EF55CE9C-109D-45EE-BD15-07D7C8291811}"/>
                      </a:ext>
                    </a:extLst>
                  </p:cNvPr>
                  <p:cNvSpPr/>
                  <p:nvPr/>
                </p:nvSpPr>
                <p:spPr>
                  <a:xfrm>
                    <a:off x="2532338" y="2595970"/>
                    <a:ext cx="62614" cy="63189"/>
                  </a:xfrm>
                  <a:custGeom>
                    <a:avLst/>
                    <a:gdLst>
                      <a:gd name="connsiteX0" fmla="*/ 42036 w 62614"/>
                      <a:gd name="connsiteY0" fmla="*/ 63190 h 63189"/>
                      <a:gd name="connsiteX1" fmla="*/ 15799 w 62614"/>
                      <a:gd name="connsiteY1" fmla="*/ 54005 h 63189"/>
                      <a:gd name="connsiteX2" fmla="*/ 170 w 62614"/>
                      <a:gd name="connsiteY2" fmla="*/ 5964 h 63189"/>
                      <a:gd name="connsiteX3" fmla="*/ 6159 w 62614"/>
                      <a:gd name="connsiteY3" fmla="*/ 83 h 63189"/>
                      <a:gd name="connsiteX4" fmla="*/ 53905 w 62614"/>
                      <a:gd name="connsiteY4" fmla="*/ 16625 h 63189"/>
                      <a:gd name="connsiteX5" fmla="*/ 60780 w 62614"/>
                      <a:gd name="connsiteY5" fmla="*/ 56798 h 63189"/>
                      <a:gd name="connsiteX6" fmla="*/ 55839 w 62614"/>
                      <a:gd name="connsiteY6" fmla="*/ 61632 h 63189"/>
                      <a:gd name="connsiteX7" fmla="*/ 42036 w 62614"/>
                      <a:gd name="connsiteY7" fmla="*/ 63190 h 63189"/>
                      <a:gd name="connsiteX8" fmla="*/ 54496 w 62614"/>
                      <a:gd name="connsiteY8" fmla="*/ 55321 h 63189"/>
                      <a:gd name="connsiteX9" fmla="*/ 54550 w 62614"/>
                      <a:gd name="connsiteY9" fmla="*/ 55321 h 63189"/>
                      <a:gd name="connsiteX10" fmla="*/ 54496 w 62614"/>
                      <a:gd name="connsiteY10" fmla="*/ 55321 h 63189"/>
                      <a:gd name="connsiteX11" fmla="*/ 12926 w 62614"/>
                      <a:gd name="connsiteY11" fmla="*/ 12919 h 63189"/>
                      <a:gd name="connsiteX12" fmla="*/ 24339 w 62614"/>
                      <a:gd name="connsiteY12" fmla="*/ 44365 h 63189"/>
                      <a:gd name="connsiteX13" fmla="*/ 49045 w 62614"/>
                      <a:gd name="connsiteY13" fmla="*/ 49763 h 63189"/>
                      <a:gd name="connsiteX14" fmla="*/ 44077 w 62614"/>
                      <a:gd name="connsiteY14" fmla="*/ 24949 h 63189"/>
                      <a:gd name="connsiteX15" fmla="*/ 12926 w 62614"/>
                      <a:gd name="connsiteY15" fmla="*/ 12919 h 6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614" h="63189">
                        <a:moveTo>
                          <a:pt x="42036" y="63190"/>
                        </a:moveTo>
                        <a:cubicBezTo>
                          <a:pt x="31536" y="63190"/>
                          <a:pt x="22755" y="60128"/>
                          <a:pt x="15799" y="54005"/>
                        </a:cubicBezTo>
                        <a:cubicBezTo>
                          <a:pt x="-2327" y="38000"/>
                          <a:pt x="36" y="7280"/>
                          <a:pt x="170" y="5964"/>
                        </a:cubicBezTo>
                        <a:cubicBezTo>
                          <a:pt x="439" y="2795"/>
                          <a:pt x="2990" y="297"/>
                          <a:pt x="6159" y="83"/>
                        </a:cubicBezTo>
                        <a:cubicBezTo>
                          <a:pt x="7448" y="2"/>
                          <a:pt x="38249" y="-1797"/>
                          <a:pt x="53905" y="16625"/>
                        </a:cubicBezTo>
                        <a:cubicBezTo>
                          <a:pt x="62364" y="26588"/>
                          <a:pt x="64674" y="40095"/>
                          <a:pt x="60780" y="56798"/>
                        </a:cubicBezTo>
                        <a:cubicBezTo>
                          <a:pt x="60216" y="59242"/>
                          <a:pt x="58309" y="61122"/>
                          <a:pt x="55839" y="61632"/>
                        </a:cubicBezTo>
                        <a:cubicBezTo>
                          <a:pt x="50951" y="62652"/>
                          <a:pt x="46332" y="63190"/>
                          <a:pt x="42036" y="63190"/>
                        </a:cubicBezTo>
                        <a:close/>
                        <a:moveTo>
                          <a:pt x="54496" y="55321"/>
                        </a:moveTo>
                        <a:lnTo>
                          <a:pt x="54550" y="55321"/>
                        </a:lnTo>
                        <a:lnTo>
                          <a:pt x="54496" y="55321"/>
                        </a:lnTo>
                        <a:close/>
                        <a:moveTo>
                          <a:pt x="12926" y="12919"/>
                        </a:moveTo>
                        <a:cubicBezTo>
                          <a:pt x="13195" y="21190"/>
                          <a:pt x="15021" y="36148"/>
                          <a:pt x="24339" y="44365"/>
                        </a:cubicBezTo>
                        <a:cubicBezTo>
                          <a:pt x="30193" y="49494"/>
                          <a:pt x="38464" y="51293"/>
                          <a:pt x="49045" y="49763"/>
                        </a:cubicBezTo>
                        <a:cubicBezTo>
                          <a:pt x="50763" y="39209"/>
                          <a:pt x="49098" y="30884"/>
                          <a:pt x="44077" y="24949"/>
                        </a:cubicBezTo>
                        <a:cubicBezTo>
                          <a:pt x="36504" y="16034"/>
                          <a:pt x="22110" y="13402"/>
                          <a:pt x="12926" y="12919"/>
                        </a:cubicBezTo>
                        <a:close/>
                      </a:path>
                    </a:pathLst>
                  </a:custGeom>
                  <a:solidFill>
                    <a:schemeClr val="accent1"/>
                  </a:solidFill>
                  <a:ln w="2681" cap="flat">
                    <a:noFill/>
                    <a:prstDash val="solid"/>
                    <a:miter/>
                  </a:ln>
                </p:spPr>
                <p:txBody>
                  <a:bodyPr rtlCol="0" anchor="ctr"/>
                  <a:lstStyle/>
                  <a:p>
                    <a:endParaRPr lang="en-GB" dirty="0"/>
                  </a:p>
                </p:txBody>
              </p:sp>
              <p:sp>
                <p:nvSpPr>
                  <p:cNvPr id="108" name="Freihandform: Form 405">
                    <a:extLst>
                      <a:ext uri="{FF2B5EF4-FFF2-40B4-BE49-F238E27FC236}">
                        <a16:creationId xmlns:a16="http://schemas.microsoft.com/office/drawing/2014/main" id="{10E13D22-DC13-4010-B646-4C5F8A778EDE}"/>
                      </a:ext>
                    </a:extLst>
                  </p:cNvPr>
                  <p:cNvSpPr/>
                  <p:nvPr/>
                </p:nvSpPr>
                <p:spPr>
                  <a:xfrm>
                    <a:off x="2549234" y="2519087"/>
                    <a:ext cx="59664" cy="66868"/>
                  </a:xfrm>
                  <a:custGeom>
                    <a:avLst/>
                    <a:gdLst>
                      <a:gd name="connsiteX0" fmla="*/ 42971 w 59664"/>
                      <a:gd name="connsiteY0" fmla="*/ 66869 h 66868"/>
                      <a:gd name="connsiteX1" fmla="*/ 11605 w 59664"/>
                      <a:gd name="connsiteY1" fmla="*/ 54623 h 66868"/>
                      <a:gd name="connsiteX2" fmla="*/ 1132 w 59664"/>
                      <a:gd name="connsiteY2" fmla="*/ 5212 h 66868"/>
                      <a:gd name="connsiteX3" fmla="*/ 7711 w 59664"/>
                      <a:gd name="connsiteY3" fmla="*/ 2 h 66868"/>
                      <a:gd name="connsiteX4" fmla="*/ 53417 w 59664"/>
                      <a:gd name="connsiteY4" fmla="*/ 21512 h 66868"/>
                      <a:gd name="connsiteX5" fmla="*/ 55995 w 59664"/>
                      <a:gd name="connsiteY5" fmla="*/ 62196 h 66868"/>
                      <a:gd name="connsiteX6" fmla="*/ 50570 w 59664"/>
                      <a:gd name="connsiteY6" fmla="*/ 66493 h 66868"/>
                      <a:gd name="connsiteX7" fmla="*/ 42971 w 59664"/>
                      <a:gd name="connsiteY7" fmla="*/ 66869 h 66868"/>
                      <a:gd name="connsiteX8" fmla="*/ 49926 w 59664"/>
                      <a:gd name="connsiteY8" fmla="*/ 60048 h 66868"/>
                      <a:gd name="connsiteX9" fmla="*/ 49979 w 59664"/>
                      <a:gd name="connsiteY9" fmla="*/ 60048 h 66868"/>
                      <a:gd name="connsiteX10" fmla="*/ 49926 w 59664"/>
                      <a:gd name="connsiteY10" fmla="*/ 60048 h 66868"/>
                      <a:gd name="connsiteX11" fmla="*/ 13055 w 59664"/>
                      <a:gd name="connsiteY11" fmla="*/ 13537 h 66868"/>
                      <a:gd name="connsiteX12" fmla="*/ 21085 w 59664"/>
                      <a:gd name="connsiteY12" fmla="*/ 45949 h 66868"/>
                      <a:gd name="connsiteX13" fmla="*/ 45065 w 59664"/>
                      <a:gd name="connsiteY13" fmla="*/ 53952 h 66868"/>
                      <a:gd name="connsiteX14" fmla="*/ 42783 w 59664"/>
                      <a:gd name="connsiteY14" fmla="*/ 28790 h 66868"/>
                      <a:gd name="connsiteX15" fmla="*/ 13055 w 59664"/>
                      <a:gd name="connsiteY15" fmla="*/ 13537 h 6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664" h="66868">
                        <a:moveTo>
                          <a:pt x="42971" y="66869"/>
                        </a:moveTo>
                        <a:cubicBezTo>
                          <a:pt x="29597" y="66869"/>
                          <a:pt x="19070" y="62760"/>
                          <a:pt x="11605" y="54623"/>
                        </a:cubicBezTo>
                        <a:cubicBezTo>
                          <a:pt x="-4749" y="36792"/>
                          <a:pt x="890" y="6474"/>
                          <a:pt x="1132" y="5212"/>
                        </a:cubicBezTo>
                        <a:cubicBezTo>
                          <a:pt x="1723" y="2097"/>
                          <a:pt x="4301" y="-78"/>
                          <a:pt x="7711" y="2"/>
                        </a:cubicBezTo>
                        <a:cubicBezTo>
                          <a:pt x="9027" y="56"/>
                          <a:pt x="39802" y="1506"/>
                          <a:pt x="53417" y="21512"/>
                        </a:cubicBezTo>
                        <a:cubicBezTo>
                          <a:pt x="60775" y="32308"/>
                          <a:pt x="61634" y="45976"/>
                          <a:pt x="55995" y="62196"/>
                        </a:cubicBezTo>
                        <a:cubicBezTo>
                          <a:pt x="55189" y="64559"/>
                          <a:pt x="53068" y="66224"/>
                          <a:pt x="50570" y="66493"/>
                        </a:cubicBezTo>
                        <a:cubicBezTo>
                          <a:pt x="47965" y="66734"/>
                          <a:pt x="45414" y="66869"/>
                          <a:pt x="42971" y="66869"/>
                        </a:cubicBezTo>
                        <a:close/>
                        <a:moveTo>
                          <a:pt x="49926" y="60048"/>
                        </a:moveTo>
                        <a:lnTo>
                          <a:pt x="49979" y="60048"/>
                        </a:lnTo>
                        <a:lnTo>
                          <a:pt x="49926" y="60048"/>
                        </a:lnTo>
                        <a:close/>
                        <a:moveTo>
                          <a:pt x="13055" y="13537"/>
                        </a:moveTo>
                        <a:cubicBezTo>
                          <a:pt x="12438" y="21808"/>
                          <a:pt x="12706" y="36846"/>
                          <a:pt x="21085" y="45949"/>
                        </a:cubicBezTo>
                        <a:cubicBezTo>
                          <a:pt x="26348" y="51669"/>
                          <a:pt x="34377" y="54381"/>
                          <a:pt x="45065" y="53952"/>
                        </a:cubicBezTo>
                        <a:cubicBezTo>
                          <a:pt x="47885" y="43667"/>
                          <a:pt x="47133" y="35208"/>
                          <a:pt x="42783" y="28790"/>
                        </a:cubicBezTo>
                        <a:cubicBezTo>
                          <a:pt x="35827" y="18531"/>
                          <a:pt x="21246" y="14826"/>
                          <a:pt x="13055" y="13537"/>
                        </a:cubicBezTo>
                        <a:close/>
                      </a:path>
                    </a:pathLst>
                  </a:custGeom>
                  <a:solidFill>
                    <a:schemeClr val="accent1"/>
                  </a:solidFill>
                  <a:ln w="2681" cap="flat">
                    <a:noFill/>
                    <a:prstDash val="solid"/>
                    <a:miter/>
                  </a:ln>
                </p:spPr>
                <p:txBody>
                  <a:bodyPr rtlCol="0" anchor="ctr"/>
                  <a:lstStyle/>
                  <a:p>
                    <a:endParaRPr lang="en-GB" dirty="0"/>
                  </a:p>
                </p:txBody>
              </p:sp>
              <p:sp>
                <p:nvSpPr>
                  <p:cNvPr id="109" name="Freihandform: Form 406">
                    <a:extLst>
                      <a:ext uri="{FF2B5EF4-FFF2-40B4-BE49-F238E27FC236}">
                        <a16:creationId xmlns:a16="http://schemas.microsoft.com/office/drawing/2014/main" id="{F01DBEF1-BE7D-4E4E-B03D-C0830E412381}"/>
                      </a:ext>
                    </a:extLst>
                  </p:cNvPr>
                  <p:cNvSpPr/>
                  <p:nvPr/>
                </p:nvSpPr>
                <p:spPr>
                  <a:xfrm>
                    <a:off x="2584454" y="2441629"/>
                    <a:ext cx="55073" cy="76653"/>
                  </a:xfrm>
                  <a:custGeom>
                    <a:avLst/>
                    <a:gdLst>
                      <a:gd name="connsiteX0" fmla="*/ 38821 w 55073"/>
                      <a:gd name="connsiteY0" fmla="*/ 76654 h 76653"/>
                      <a:gd name="connsiteX1" fmla="*/ 37586 w 55073"/>
                      <a:gd name="connsiteY1" fmla="*/ 76520 h 76653"/>
                      <a:gd name="connsiteX2" fmla="*/ 3776 w 55073"/>
                      <a:gd name="connsiteY2" fmla="*/ 53747 h 76653"/>
                      <a:gd name="connsiteX3" fmla="*/ 8288 w 55073"/>
                      <a:gd name="connsiteY3" fmla="*/ 3423 h 76653"/>
                      <a:gd name="connsiteX4" fmla="*/ 16103 w 55073"/>
                      <a:gd name="connsiteY4" fmla="*/ 362 h 76653"/>
                      <a:gd name="connsiteX5" fmla="*/ 53483 w 55073"/>
                      <a:gd name="connsiteY5" fmla="*/ 34332 h 76653"/>
                      <a:gd name="connsiteX6" fmla="*/ 44004 w 55073"/>
                      <a:gd name="connsiteY6" fmla="*/ 73969 h 76653"/>
                      <a:gd name="connsiteX7" fmla="*/ 38821 w 55073"/>
                      <a:gd name="connsiteY7" fmla="*/ 76654 h 76653"/>
                      <a:gd name="connsiteX8" fmla="*/ 17257 w 55073"/>
                      <a:gd name="connsiteY8" fmla="*/ 14917 h 76653"/>
                      <a:gd name="connsiteX9" fmla="*/ 15404 w 55073"/>
                      <a:gd name="connsiteY9" fmla="*/ 48269 h 76653"/>
                      <a:gd name="connsiteX10" fmla="*/ 35974 w 55073"/>
                      <a:gd name="connsiteY10" fmla="*/ 62958 h 76653"/>
                      <a:gd name="connsiteX11" fmla="*/ 41184 w 55073"/>
                      <a:gd name="connsiteY11" fmla="*/ 38226 h 76653"/>
                      <a:gd name="connsiteX12" fmla="*/ 17257 w 55073"/>
                      <a:gd name="connsiteY12" fmla="*/ 14917 h 7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073" h="76653">
                        <a:moveTo>
                          <a:pt x="38821" y="76654"/>
                        </a:moveTo>
                        <a:cubicBezTo>
                          <a:pt x="38418" y="76654"/>
                          <a:pt x="37988" y="76600"/>
                          <a:pt x="37586" y="76520"/>
                        </a:cubicBezTo>
                        <a:cubicBezTo>
                          <a:pt x="20775" y="73217"/>
                          <a:pt x="9389" y="65536"/>
                          <a:pt x="3776" y="53747"/>
                        </a:cubicBezTo>
                        <a:cubicBezTo>
                          <a:pt x="-6616" y="31915"/>
                          <a:pt x="7670" y="4578"/>
                          <a:pt x="8288" y="3423"/>
                        </a:cubicBezTo>
                        <a:cubicBezTo>
                          <a:pt x="9792" y="603"/>
                          <a:pt x="13095" y="-686"/>
                          <a:pt x="16103" y="362"/>
                        </a:cubicBezTo>
                        <a:cubicBezTo>
                          <a:pt x="17338" y="791"/>
                          <a:pt x="46340" y="11238"/>
                          <a:pt x="53483" y="34332"/>
                        </a:cubicBezTo>
                        <a:cubicBezTo>
                          <a:pt x="57350" y="46819"/>
                          <a:pt x="54155" y="60139"/>
                          <a:pt x="44004" y="73969"/>
                        </a:cubicBezTo>
                        <a:cubicBezTo>
                          <a:pt x="42768" y="75687"/>
                          <a:pt x="40835" y="76654"/>
                          <a:pt x="38821" y="76654"/>
                        </a:cubicBezTo>
                        <a:close/>
                        <a:moveTo>
                          <a:pt x="17257" y="14917"/>
                        </a:moveTo>
                        <a:cubicBezTo>
                          <a:pt x="14250" y="22624"/>
                          <a:pt x="10060" y="37098"/>
                          <a:pt x="15404" y="48269"/>
                        </a:cubicBezTo>
                        <a:cubicBezTo>
                          <a:pt x="18761" y="55278"/>
                          <a:pt x="25663" y="60192"/>
                          <a:pt x="35974" y="62958"/>
                        </a:cubicBezTo>
                        <a:cubicBezTo>
                          <a:pt x="41721" y="53962"/>
                          <a:pt x="43467" y="45638"/>
                          <a:pt x="41184" y="38226"/>
                        </a:cubicBezTo>
                        <a:cubicBezTo>
                          <a:pt x="37559" y="26383"/>
                          <a:pt x="24696" y="18569"/>
                          <a:pt x="17257" y="14917"/>
                        </a:cubicBezTo>
                        <a:close/>
                      </a:path>
                    </a:pathLst>
                  </a:custGeom>
                  <a:solidFill>
                    <a:schemeClr val="accent1"/>
                  </a:solidFill>
                  <a:ln w="2681" cap="flat">
                    <a:noFill/>
                    <a:prstDash val="solid"/>
                    <a:miter/>
                  </a:ln>
                </p:spPr>
                <p:txBody>
                  <a:bodyPr rtlCol="0" anchor="ctr"/>
                  <a:lstStyle/>
                  <a:p>
                    <a:endParaRPr lang="en-GB" dirty="0"/>
                  </a:p>
                </p:txBody>
              </p:sp>
            </p:grpSp>
          </p:grpSp>
        </p:grpSp>
        <p:grpSp>
          <p:nvGrpSpPr>
            <p:cNvPr id="94" name="Grafik 294">
              <a:extLst>
                <a:ext uri="{FF2B5EF4-FFF2-40B4-BE49-F238E27FC236}">
                  <a16:creationId xmlns:a16="http://schemas.microsoft.com/office/drawing/2014/main" id="{BEF01B99-1F45-4F68-80DF-DE5D4A8E1065}"/>
                </a:ext>
              </a:extLst>
            </p:cNvPr>
            <p:cNvGrpSpPr/>
            <p:nvPr/>
          </p:nvGrpSpPr>
          <p:grpSpPr>
            <a:xfrm>
              <a:off x="2707478" y="1852224"/>
              <a:ext cx="356042" cy="165768"/>
              <a:chOff x="2583826" y="2720843"/>
              <a:chExt cx="373404" cy="173852"/>
            </a:xfrm>
            <a:solidFill>
              <a:schemeClr val="tx2"/>
            </a:solidFill>
          </p:grpSpPr>
          <p:sp>
            <p:nvSpPr>
              <p:cNvPr id="95" name="Freihandform: Form 408">
                <a:extLst>
                  <a:ext uri="{FF2B5EF4-FFF2-40B4-BE49-F238E27FC236}">
                    <a16:creationId xmlns:a16="http://schemas.microsoft.com/office/drawing/2014/main" id="{CABB9F04-12FC-45CD-BBAC-0554276538DC}"/>
                  </a:ext>
                </a:extLst>
              </p:cNvPr>
              <p:cNvSpPr/>
              <p:nvPr/>
            </p:nvSpPr>
            <p:spPr>
              <a:xfrm>
                <a:off x="2583826" y="2843190"/>
                <a:ext cx="373404" cy="51505"/>
              </a:xfrm>
              <a:custGeom>
                <a:avLst/>
                <a:gdLst>
                  <a:gd name="connsiteX0" fmla="*/ 366960 w 373404"/>
                  <a:gd name="connsiteY0" fmla="*/ 51506 h 51505"/>
                  <a:gd name="connsiteX1" fmla="*/ 6445 w 373404"/>
                  <a:gd name="connsiteY1" fmla="*/ 51506 h 51505"/>
                  <a:gd name="connsiteX2" fmla="*/ 0 w 373404"/>
                  <a:gd name="connsiteY2" fmla="*/ 45061 h 51505"/>
                  <a:gd name="connsiteX3" fmla="*/ 0 w 373404"/>
                  <a:gd name="connsiteY3" fmla="*/ 6445 h 51505"/>
                  <a:gd name="connsiteX4" fmla="*/ 6445 w 373404"/>
                  <a:gd name="connsiteY4" fmla="*/ 0 h 51505"/>
                  <a:gd name="connsiteX5" fmla="*/ 366960 w 373404"/>
                  <a:gd name="connsiteY5" fmla="*/ 0 h 51505"/>
                  <a:gd name="connsiteX6" fmla="*/ 373405 w 373404"/>
                  <a:gd name="connsiteY6" fmla="*/ 6445 h 51505"/>
                  <a:gd name="connsiteX7" fmla="*/ 373405 w 373404"/>
                  <a:gd name="connsiteY7" fmla="*/ 45061 h 51505"/>
                  <a:gd name="connsiteX8" fmla="*/ 366960 w 373404"/>
                  <a:gd name="connsiteY8" fmla="*/ 51506 h 51505"/>
                  <a:gd name="connsiteX9" fmla="*/ 12890 w 373404"/>
                  <a:gd name="connsiteY9" fmla="*/ 38643 h 51505"/>
                  <a:gd name="connsiteX10" fmla="*/ 360515 w 373404"/>
                  <a:gd name="connsiteY10" fmla="*/ 38643 h 51505"/>
                  <a:gd name="connsiteX11" fmla="*/ 360515 w 373404"/>
                  <a:gd name="connsiteY11" fmla="*/ 12890 h 51505"/>
                  <a:gd name="connsiteX12" fmla="*/ 12890 w 373404"/>
                  <a:gd name="connsiteY12" fmla="*/ 12890 h 51505"/>
                  <a:gd name="connsiteX13" fmla="*/ 12890 w 373404"/>
                  <a:gd name="connsiteY13" fmla="*/ 38643 h 5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3404" h="51505">
                    <a:moveTo>
                      <a:pt x="366960" y="51506"/>
                    </a:moveTo>
                    <a:lnTo>
                      <a:pt x="6445" y="51506"/>
                    </a:lnTo>
                    <a:cubicBezTo>
                      <a:pt x="2873" y="51506"/>
                      <a:pt x="0" y="48633"/>
                      <a:pt x="0" y="45061"/>
                    </a:cubicBezTo>
                    <a:lnTo>
                      <a:pt x="0" y="6445"/>
                    </a:lnTo>
                    <a:cubicBezTo>
                      <a:pt x="0" y="2900"/>
                      <a:pt x="2873" y="0"/>
                      <a:pt x="6445" y="0"/>
                    </a:cubicBezTo>
                    <a:lnTo>
                      <a:pt x="366960" y="0"/>
                    </a:lnTo>
                    <a:cubicBezTo>
                      <a:pt x="370531" y="0"/>
                      <a:pt x="373405" y="2873"/>
                      <a:pt x="373405" y="6445"/>
                    </a:cubicBezTo>
                    <a:lnTo>
                      <a:pt x="373405" y="45061"/>
                    </a:lnTo>
                    <a:cubicBezTo>
                      <a:pt x="373405" y="48633"/>
                      <a:pt x="370531" y="51506"/>
                      <a:pt x="366960" y="51506"/>
                    </a:cubicBezTo>
                    <a:close/>
                    <a:moveTo>
                      <a:pt x="12890" y="38643"/>
                    </a:moveTo>
                    <a:lnTo>
                      <a:pt x="360515" y="38643"/>
                    </a:lnTo>
                    <a:lnTo>
                      <a:pt x="360515" y="12890"/>
                    </a:lnTo>
                    <a:lnTo>
                      <a:pt x="12890" y="12890"/>
                    </a:lnTo>
                    <a:lnTo>
                      <a:pt x="12890" y="38643"/>
                    </a:lnTo>
                    <a:close/>
                  </a:path>
                </a:pathLst>
              </a:custGeom>
              <a:grpFill/>
              <a:ln w="2681" cap="flat">
                <a:noFill/>
                <a:prstDash val="solid"/>
                <a:miter/>
              </a:ln>
            </p:spPr>
            <p:txBody>
              <a:bodyPr rtlCol="0" anchor="ctr"/>
              <a:lstStyle/>
              <a:p>
                <a:endParaRPr lang="en-GB" dirty="0"/>
              </a:p>
            </p:txBody>
          </p:sp>
          <p:sp>
            <p:nvSpPr>
              <p:cNvPr id="96" name="Freihandform: Form 409">
                <a:extLst>
                  <a:ext uri="{FF2B5EF4-FFF2-40B4-BE49-F238E27FC236}">
                    <a16:creationId xmlns:a16="http://schemas.microsoft.com/office/drawing/2014/main" id="{7407A69A-9784-4297-A80F-26C2549DDA51}"/>
                  </a:ext>
                </a:extLst>
              </p:cNvPr>
              <p:cNvSpPr/>
              <p:nvPr/>
            </p:nvSpPr>
            <p:spPr>
              <a:xfrm>
                <a:off x="2622469" y="2778821"/>
                <a:ext cx="296145" cy="51505"/>
              </a:xfrm>
              <a:custGeom>
                <a:avLst/>
                <a:gdLst>
                  <a:gd name="connsiteX0" fmla="*/ 289701 w 296145"/>
                  <a:gd name="connsiteY0" fmla="*/ 51506 h 51505"/>
                  <a:gd name="connsiteX1" fmla="*/ 6445 w 296145"/>
                  <a:gd name="connsiteY1" fmla="*/ 51506 h 51505"/>
                  <a:gd name="connsiteX2" fmla="*/ 0 w 296145"/>
                  <a:gd name="connsiteY2" fmla="*/ 45061 h 51505"/>
                  <a:gd name="connsiteX3" fmla="*/ 0 w 296145"/>
                  <a:gd name="connsiteY3" fmla="*/ 6445 h 51505"/>
                  <a:gd name="connsiteX4" fmla="*/ 6445 w 296145"/>
                  <a:gd name="connsiteY4" fmla="*/ 0 h 51505"/>
                  <a:gd name="connsiteX5" fmla="*/ 289701 w 296145"/>
                  <a:gd name="connsiteY5" fmla="*/ 0 h 51505"/>
                  <a:gd name="connsiteX6" fmla="*/ 296146 w 296145"/>
                  <a:gd name="connsiteY6" fmla="*/ 6445 h 51505"/>
                  <a:gd name="connsiteX7" fmla="*/ 296146 w 296145"/>
                  <a:gd name="connsiteY7" fmla="*/ 45061 h 51505"/>
                  <a:gd name="connsiteX8" fmla="*/ 289701 w 296145"/>
                  <a:gd name="connsiteY8" fmla="*/ 51506 h 51505"/>
                  <a:gd name="connsiteX9" fmla="*/ 12863 w 296145"/>
                  <a:gd name="connsiteY9" fmla="*/ 38616 h 51505"/>
                  <a:gd name="connsiteX10" fmla="*/ 283256 w 296145"/>
                  <a:gd name="connsiteY10" fmla="*/ 38616 h 51505"/>
                  <a:gd name="connsiteX11" fmla="*/ 283256 w 296145"/>
                  <a:gd name="connsiteY11" fmla="*/ 12863 h 51505"/>
                  <a:gd name="connsiteX12" fmla="*/ 12863 w 296145"/>
                  <a:gd name="connsiteY12" fmla="*/ 12863 h 51505"/>
                  <a:gd name="connsiteX13" fmla="*/ 12863 w 296145"/>
                  <a:gd name="connsiteY13" fmla="*/ 38616 h 51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6145" h="51505">
                    <a:moveTo>
                      <a:pt x="289701" y="51506"/>
                    </a:moveTo>
                    <a:lnTo>
                      <a:pt x="6445" y="51506"/>
                    </a:lnTo>
                    <a:cubicBezTo>
                      <a:pt x="2873" y="51506"/>
                      <a:pt x="0" y="48633"/>
                      <a:pt x="0" y="45061"/>
                    </a:cubicBezTo>
                    <a:lnTo>
                      <a:pt x="0" y="6445"/>
                    </a:lnTo>
                    <a:cubicBezTo>
                      <a:pt x="0" y="2900"/>
                      <a:pt x="2873" y="0"/>
                      <a:pt x="6445" y="0"/>
                    </a:cubicBezTo>
                    <a:lnTo>
                      <a:pt x="289701" y="0"/>
                    </a:lnTo>
                    <a:cubicBezTo>
                      <a:pt x="293273" y="0"/>
                      <a:pt x="296146" y="2873"/>
                      <a:pt x="296146" y="6445"/>
                    </a:cubicBezTo>
                    <a:lnTo>
                      <a:pt x="296146" y="45061"/>
                    </a:lnTo>
                    <a:cubicBezTo>
                      <a:pt x="296119" y="48606"/>
                      <a:pt x="293246" y="51506"/>
                      <a:pt x="289701" y="51506"/>
                    </a:cubicBezTo>
                    <a:close/>
                    <a:moveTo>
                      <a:pt x="12863" y="38616"/>
                    </a:moveTo>
                    <a:lnTo>
                      <a:pt x="283256" y="38616"/>
                    </a:lnTo>
                    <a:lnTo>
                      <a:pt x="283256" y="12863"/>
                    </a:lnTo>
                    <a:lnTo>
                      <a:pt x="12863" y="12863"/>
                    </a:lnTo>
                    <a:lnTo>
                      <a:pt x="12863" y="38616"/>
                    </a:lnTo>
                    <a:close/>
                  </a:path>
                </a:pathLst>
              </a:custGeom>
              <a:grpFill/>
              <a:ln w="2681" cap="flat">
                <a:noFill/>
                <a:prstDash val="solid"/>
                <a:miter/>
              </a:ln>
            </p:spPr>
            <p:txBody>
              <a:bodyPr rtlCol="0" anchor="ctr"/>
              <a:lstStyle/>
              <a:p>
                <a:endParaRPr lang="en-GB" dirty="0"/>
              </a:p>
            </p:txBody>
          </p:sp>
          <p:sp>
            <p:nvSpPr>
              <p:cNvPr id="97" name="Freihandform: Form 410">
                <a:extLst>
                  <a:ext uri="{FF2B5EF4-FFF2-40B4-BE49-F238E27FC236}">
                    <a16:creationId xmlns:a16="http://schemas.microsoft.com/office/drawing/2014/main" id="{B0F5F6D7-C2CB-4179-B07C-B758EEBCDB5D}"/>
                  </a:ext>
                </a:extLst>
              </p:cNvPr>
              <p:cNvSpPr/>
              <p:nvPr/>
            </p:nvSpPr>
            <p:spPr>
              <a:xfrm>
                <a:off x="2667530" y="2720843"/>
                <a:ext cx="206023" cy="45087"/>
              </a:xfrm>
              <a:custGeom>
                <a:avLst/>
                <a:gdLst>
                  <a:gd name="connsiteX0" fmla="*/ 199579 w 206023"/>
                  <a:gd name="connsiteY0" fmla="*/ 45088 h 45087"/>
                  <a:gd name="connsiteX1" fmla="*/ 6445 w 206023"/>
                  <a:gd name="connsiteY1" fmla="*/ 45088 h 45087"/>
                  <a:gd name="connsiteX2" fmla="*/ 0 w 206023"/>
                  <a:gd name="connsiteY2" fmla="*/ 38643 h 45087"/>
                  <a:gd name="connsiteX3" fmla="*/ 0 w 206023"/>
                  <a:gd name="connsiteY3" fmla="*/ 6445 h 45087"/>
                  <a:gd name="connsiteX4" fmla="*/ 6445 w 206023"/>
                  <a:gd name="connsiteY4" fmla="*/ 0 h 45087"/>
                  <a:gd name="connsiteX5" fmla="*/ 199579 w 206023"/>
                  <a:gd name="connsiteY5" fmla="*/ 0 h 45087"/>
                  <a:gd name="connsiteX6" fmla="*/ 206024 w 206023"/>
                  <a:gd name="connsiteY6" fmla="*/ 6445 h 45087"/>
                  <a:gd name="connsiteX7" fmla="*/ 206024 w 206023"/>
                  <a:gd name="connsiteY7" fmla="*/ 38643 h 45087"/>
                  <a:gd name="connsiteX8" fmla="*/ 199579 w 206023"/>
                  <a:gd name="connsiteY8" fmla="*/ 45088 h 45087"/>
                  <a:gd name="connsiteX9" fmla="*/ 12863 w 206023"/>
                  <a:gd name="connsiteY9" fmla="*/ 32225 h 45087"/>
                  <a:gd name="connsiteX10" fmla="*/ 193107 w 206023"/>
                  <a:gd name="connsiteY10" fmla="*/ 32225 h 45087"/>
                  <a:gd name="connsiteX11" fmla="*/ 193107 w 206023"/>
                  <a:gd name="connsiteY11" fmla="*/ 12917 h 45087"/>
                  <a:gd name="connsiteX12" fmla="*/ 12863 w 206023"/>
                  <a:gd name="connsiteY12" fmla="*/ 12917 h 45087"/>
                  <a:gd name="connsiteX13" fmla="*/ 12863 w 206023"/>
                  <a:gd name="connsiteY13" fmla="*/ 32225 h 45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6023" h="45087">
                    <a:moveTo>
                      <a:pt x="199579" y="45088"/>
                    </a:moveTo>
                    <a:lnTo>
                      <a:pt x="6445" y="45088"/>
                    </a:lnTo>
                    <a:cubicBezTo>
                      <a:pt x="2873" y="45088"/>
                      <a:pt x="0" y="42214"/>
                      <a:pt x="0" y="38643"/>
                    </a:cubicBezTo>
                    <a:lnTo>
                      <a:pt x="0" y="6445"/>
                    </a:lnTo>
                    <a:cubicBezTo>
                      <a:pt x="0" y="2900"/>
                      <a:pt x="2873" y="0"/>
                      <a:pt x="6445" y="0"/>
                    </a:cubicBezTo>
                    <a:lnTo>
                      <a:pt x="199579" y="0"/>
                    </a:lnTo>
                    <a:cubicBezTo>
                      <a:pt x="203124" y="0"/>
                      <a:pt x="206024" y="2873"/>
                      <a:pt x="206024" y="6445"/>
                    </a:cubicBezTo>
                    <a:lnTo>
                      <a:pt x="206024" y="38643"/>
                    </a:lnTo>
                    <a:cubicBezTo>
                      <a:pt x="205997" y="42214"/>
                      <a:pt x="203124" y="45088"/>
                      <a:pt x="199579" y="45088"/>
                    </a:cubicBezTo>
                    <a:close/>
                    <a:moveTo>
                      <a:pt x="12863" y="32225"/>
                    </a:moveTo>
                    <a:lnTo>
                      <a:pt x="193107" y="32225"/>
                    </a:lnTo>
                    <a:lnTo>
                      <a:pt x="193107" y="12917"/>
                    </a:lnTo>
                    <a:lnTo>
                      <a:pt x="12863" y="12917"/>
                    </a:lnTo>
                    <a:lnTo>
                      <a:pt x="12863" y="32225"/>
                    </a:lnTo>
                    <a:close/>
                  </a:path>
                </a:pathLst>
              </a:custGeom>
              <a:grpFill/>
              <a:ln w="2681" cap="flat">
                <a:noFill/>
                <a:prstDash val="solid"/>
                <a:miter/>
              </a:ln>
            </p:spPr>
            <p:txBody>
              <a:bodyPr rtlCol="0" anchor="ctr"/>
              <a:lstStyle/>
              <a:p>
                <a:endParaRPr lang="en-GB" dirty="0"/>
              </a:p>
            </p:txBody>
          </p:sp>
          <p:sp>
            <p:nvSpPr>
              <p:cNvPr id="98" name="Freihandform: Form 411">
                <a:extLst>
                  <a:ext uri="{FF2B5EF4-FFF2-40B4-BE49-F238E27FC236}">
                    <a16:creationId xmlns:a16="http://schemas.microsoft.com/office/drawing/2014/main" id="{F153F3C4-CF64-438A-82DD-6B5802F2F981}"/>
                  </a:ext>
                </a:extLst>
              </p:cNvPr>
              <p:cNvSpPr/>
              <p:nvPr/>
            </p:nvSpPr>
            <p:spPr>
              <a:xfrm>
                <a:off x="2583836" y="2817446"/>
                <a:ext cx="51475" cy="38633"/>
              </a:xfrm>
              <a:custGeom>
                <a:avLst/>
                <a:gdLst>
                  <a:gd name="connsiteX0" fmla="*/ 6462 w 51475"/>
                  <a:gd name="connsiteY0" fmla="*/ 38633 h 38633"/>
                  <a:gd name="connsiteX1" fmla="*/ 1091 w 51475"/>
                  <a:gd name="connsiteY1" fmla="*/ 35760 h 38633"/>
                  <a:gd name="connsiteX2" fmla="*/ 2864 w 51475"/>
                  <a:gd name="connsiteY2" fmla="*/ 26844 h 38633"/>
                  <a:gd name="connsiteX3" fmla="*/ 41480 w 51475"/>
                  <a:gd name="connsiteY3" fmla="*/ 1091 h 38633"/>
                  <a:gd name="connsiteX4" fmla="*/ 50395 w 51475"/>
                  <a:gd name="connsiteY4" fmla="*/ 2864 h 38633"/>
                  <a:gd name="connsiteX5" fmla="*/ 48623 w 51475"/>
                  <a:gd name="connsiteY5" fmla="*/ 11779 h 38633"/>
                  <a:gd name="connsiteX6" fmla="*/ 10007 w 51475"/>
                  <a:gd name="connsiteY6" fmla="*/ 37532 h 38633"/>
                  <a:gd name="connsiteX7" fmla="*/ 6462 w 51475"/>
                  <a:gd name="connsiteY7" fmla="*/ 38633 h 38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75" h="38633">
                    <a:moveTo>
                      <a:pt x="6462" y="38633"/>
                    </a:moveTo>
                    <a:cubicBezTo>
                      <a:pt x="4368" y="38633"/>
                      <a:pt x="2327" y="37640"/>
                      <a:pt x="1091" y="35760"/>
                    </a:cubicBezTo>
                    <a:cubicBezTo>
                      <a:pt x="-896" y="32806"/>
                      <a:pt x="-90" y="28805"/>
                      <a:pt x="2864" y="26844"/>
                    </a:cubicBezTo>
                    <a:lnTo>
                      <a:pt x="41480" y="1091"/>
                    </a:lnTo>
                    <a:cubicBezTo>
                      <a:pt x="44434" y="-896"/>
                      <a:pt x="48435" y="-90"/>
                      <a:pt x="50395" y="2864"/>
                    </a:cubicBezTo>
                    <a:cubicBezTo>
                      <a:pt x="52356" y="5818"/>
                      <a:pt x="51577" y="9819"/>
                      <a:pt x="48623" y="11779"/>
                    </a:cubicBezTo>
                    <a:lnTo>
                      <a:pt x="10007" y="37532"/>
                    </a:lnTo>
                    <a:cubicBezTo>
                      <a:pt x="8906" y="38284"/>
                      <a:pt x="7671" y="38633"/>
                      <a:pt x="6462" y="38633"/>
                    </a:cubicBezTo>
                    <a:close/>
                  </a:path>
                </a:pathLst>
              </a:custGeom>
              <a:grpFill/>
              <a:ln w="2681" cap="flat">
                <a:noFill/>
                <a:prstDash val="solid"/>
                <a:miter/>
              </a:ln>
            </p:spPr>
            <p:txBody>
              <a:bodyPr rtlCol="0" anchor="ctr"/>
              <a:lstStyle/>
              <a:p>
                <a:endParaRPr lang="en-GB" dirty="0"/>
              </a:p>
            </p:txBody>
          </p:sp>
          <p:sp>
            <p:nvSpPr>
              <p:cNvPr id="99" name="Freihandform: Form 412">
                <a:extLst>
                  <a:ext uri="{FF2B5EF4-FFF2-40B4-BE49-F238E27FC236}">
                    <a16:creationId xmlns:a16="http://schemas.microsoft.com/office/drawing/2014/main" id="{5347B718-6BBD-48F4-BD5B-E840EABD78BB}"/>
                  </a:ext>
                </a:extLst>
              </p:cNvPr>
              <p:cNvSpPr/>
              <p:nvPr/>
            </p:nvSpPr>
            <p:spPr>
              <a:xfrm>
                <a:off x="2622474" y="2753045"/>
                <a:ext cx="57941" cy="38638"/>
              </a:xfrm>
              <a:custGeom>
                <a:avLst/>
                <a:gdLst>
                  <a:gd name="connsiteX0" fmla="*/ 6440 w 57941"/>
                  <a:gd name="connsiteY0" fmla="*/ 38638 h 38638"/>
                  <a:gd name="connsiteX1" fmla="*/ 855 w 57941"/>
                  <a:gd name="connsiteY1" fmla="*/ 35389 h 38638"/>
                  <a:gd name="connsiteX2" fmla="*/ 3245 w 57941"/>
                  <a:gd name="connsiteY2" fmla="*/ 26608 h 38638"/>
                  <a:gd name="connsiteX3" fmla="*/ 48306 w 57941"/>
                  <a:gd name="connsiteY3" fmla="*/ 855 h 38638"/>
                  <a:gd name="connsiteX4" fmla="*/ 57087 w 57941"/>
                  <a:gd name="connsiteY4" fmla="*/ 3245 h 38638"/>
                  <a:gd name="connsiteX5" fmla="*/ 54697 w 57941"/>
                  <a:gd name="connsiteY5" fmla="*/ 12026 h 38638"/>
                  <a:gd name="connsiteX6" fmla="*/ 9636 w 57941"/>
                  <a:gd name="connsiteY6" fmla="*/ 37779 h 38638"/>
                  <a:gd name="connsiteX7" fmla="*/ 6440 w 57941"/>
                  <a:gd name="connsiteY7" fmla="*/ 38638 h 3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41" h="38638">
                    <a:moveTo>
                      <a:pt x="6440" y="38638"/>
                    </a:moveTo>
                    <a:cubicBezTo>
                      <a:pt x="4211" y="38638"/>
                      <a:pt x="2036" y="37483"/>
                      <a:pt x="855" y="35389"/>
                    </a:cubicBezTo>
                    <a:cubicBezTo>
                      <a:pt x="-918" y="32301"/>
                      <a:pt x="156" y="28380"/>
                      <a:pt x="3245" y="26608"/>
                    </a:cubicBezTo>
                    <a:lnTo>
                      <a:pt x="48306" y="855"/>
                    </a:lnTo>
                    <a:cubicBezTo>
                      <a:pt x="51394" y="-918"/>
                      <a:pt x="55315" y="156"/>
                      <a:pt x="57087" y="3245"/>
                    </a:cubicBezTo>
                    <a:cubicBezTo>
                      <a:pt x="58859" y="6333"/>
                      <a:pt x="57785" y="10254"/>
                      <a:pt x="54697" y="12026"/>
                    </a:cubicBezTo>
                    <a:lnTo>
                      <a:pt x="9636" y="37779"/>
                    </a:lnTo>
                    <a:cubicBezTo>
                      <a:pt x="8615" y="38370"/>
                      <a:pt x="7514" y="38638"/>
                      <a:pt x="6440" y="38638"/>
                    </a:cubicBezTo>
                    <a:close/>
                  </a:path>
                </a:pathLst>
              </a:custGeom>
              <a:grpFill/>
              <a:ln w="2681" cap="flat">
                <a:noFill/>
                <a:prstDash val="solid"/>
                <a:miter/>
              </a:ln>
            </p:spPr>
            <p:txBody>
              <a:bodyPr rtlCol="0" anchor="ctr"/>
              <a:lstStyle/>
              <a:p>
                <a:endParaRPr lang="en-GB" dirty="0"/>
              </a:p>
            </p:txBody>
          </p:sp>
          <p:sp>
            <p:nvSpPr>
              <p:cNvPr id="100" name="Freihandform: Form 413">
                <a:extLst>
                  <a:ext uri="{FF2B5EF4-FFF2-40B4-BE49-F238E27FC236}">
                    <a16:creationId xmlns:a16="http://schemas.microsoft.com/office/drawing/2014/main" id="{8B903524-E970-4CE3-9919-C5B279255EF9}"/>
                  </a:ext>
                </a:extLst>
              </p:cNvPr>
              <p:cNvSpPr/>
              <p:nvPr/>
            </p:nvSpPr>
            <p:spPr>
              <a:xfrm>
                <a:off x="2905728" y="2817473"/>
                <a:ext cx="51466" cy="38606"/>
              </a:xfrm>
              <a:custGeom>
                <a:avLst/>
                <a:gdLst>
                  <a:gd name="connsiteX0" fmla="*/ 45058 w 51466"/>
                  <a:gd name="connsiteY0" fmla="*/ 38606 h 38606"/>
                  <a:gd name="connsiteX1" fmla="*/ 41486 w 51466"/>
                  <a:gd name="connsiteY1" fmla="*/ 37532 h 38606"/>
                  <a:gd name="connsiteX2" fmla="*/ 2870 w 51466"/>
                  <a:gd name="connsiteY2" fmla="*/ 11779 h 38606"/>
                  <a:gd name="connsiteX3" fmla="*/ 1071 w 51466"/>
                  <a:gd name="connsiteY3" fmla="*/ 2864 h 38606"/>
                  <a:gd name="connsiteX4" fmla="*/ 9987 w 51466"/>
                  <a:gd name="connsiteY4" fmla="*/ 1091 h 38606"/>
                  <a:gd name="connsiteX5" fmla="*/ 48603 w 51466"/>
                  <a:gd name="connsiteY5" fmla="*/ 26844 h 38606"/>
                  <a:gd name="connsiteX6" fmla="*/ 50375 w 51466"/>
                  <a:gd name="connsiteY6" fmla="*/ 35760 h 38606"/>
                  <a:gd name="connsiteX7" fmla="*/ 45058 w 51466"/>
                  <a:gd name="connsiteY7" fmla="*/ 38606 h 3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466" h="38606">
                    <a:moveTo>
                      <a:pt x="45058" y="38606"/>
                    </a:moveTo>
                    <a:cubicBezTo>
                      <a:pt x="43823" y="38606"/>
                      <a:pt x="42588" y="38257"/>
                      <a:pt x="41486" y="37532"/>
                    </a:cubicBezTo>
                    <a:lnTo>
                      <a:pt x="2870" y="11779"/>
                    </a:lnTo>
                    <a:cubicBezTo>
                      <a:pt x="-83" y="9819"/>
                      <a:pt x="-889" y="5818"/>
                      <a:pt x="1071" y="2864"/>
                    </a:cubicBezTo>
                    <a:cubicBezTo>
                      <a:pt x="3032" y="-90"/>
                      <a:pt x="7033" y="-896"/>
                      <a:pt x="9987" y="1091"/>
                    </a:cubicBezTo>
                    <a:lnTo>
                      <a:pt x="48603" y="26844"/>
                    </a:lnTo>
                    <a:cubicBezTo>
                      <a:pt x="51557" y="28805"/>
                      <a:pt x="52362" y="32806"/>
                      <a:pt x="50375" y="35760"/>
                    </a:cubicBezTo>
                    <a:cubicBezTo>
                      <a:pt x="49167" y="37586"/>
                      <a:pt x="47126" y="38606"/>
                      <a:pt x="45058" y="38606"/>
                    </a:cubicBezTo>
                    <a:close/>
                  </a:path>
                </a:pathLst>
              </a:custGeom>
              <a:grpFill/>
              <a:ln w="2681" cap="flat">
                <a:noFill/>
                <a:prstDash val="solid"/>
                <a:miter/>
              </a:ln>
            </p:spPr>
            <p:txBody>
              <a:bodyPr rtlCol="0" anchor="ctr"/>
              <a:lstStyle/>
              <a:p>
                <a:endParaRPr lang="en-GB" dirty="0"/>
              </a:p>
            </p:txBody>
          </p:sp>
          <p:sp>
            <p:nvSpPr>
              <p:cNvPr id="101" name="Freihandform: Form 414">
                <a:extLst>
                  <a:ext uri="{FF2B5EF4-FFF2-40B4-BE49-F238E27FC236}">
                    <a16:creationId xmlns:a16="http://schemas.microsoft.com/office/drawing/2014/main" id="{D6140807-CC71-44F2-BC90-C61D02E2D564}"/>
                  </a:ext>
                </a:extLst>
              </p:cNvPr>
              <p:cNvSpPr/>
              <p:nvPr/>
            </p:nvSpPr>
            <p:spPr>
              <a:xfrm>
                <a:off x="2860642" y="2753045"/>
                <a:ext cx="57941" cy="38638"/>
              </a:xfrm>
              <a:custGeom>
                <a:avLst/>
                <a:gdLst>
                  <a:gd name="connsiteX0" fmla="*/ 51501 w 57941"/>
                  <a:gd name="connsiteY0" fmla="*/ 38638 h 38638"/>
                  <a:gd name="connsiteX1" fmla="*/ 48306 w 57941"/>
                  <a:gd name="connsiteY1" fmla="*/ 37779 h 38638"/>
                  <a:gd name="connsiteX2" fmla="*/ 3245 w 57941"/>
                  <a:gd name="connsiteY2" fmla="*/ 12026 h 38638"/>
                  <a:gd name="connsiteX3" fmla="*/ 855 w 57941"/>
                  <a:gd name="connsiteY3" fmla="*/ 3245 h 38638"/>
                  <a:gd name="connsiteX4" fmla="*/ 9636 w 57941"/>
                  <a:gd name="connsiteY4" fmla="*/ 855 h 38638"/>
                  <a:gd name="connsiteX5" fmla="*/ 54697 w 57941"/>
                  <a:gd name="connsiteY5" fmla="*/ 26608 h 38638"/>
                  <a:gd name="connsiteX6" fmla="*/ 57087 w 57941"/>
                  <a:gd name="connsiteY6" fmla="*/ 35389 h 38638"/>
                  <a:gd name="connsiteX7" fmla="*/ 51501 w 57941"/>
                  <a:gd name="connsiteY7" fmla="*/ 38638 h 3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941" h="38638">
                    <a:moveTo>
                      <a:pt x="51501" y="38638"/>
                    </a:moveTo>
                    <a:cubicBezTo>
                      <a:pt x="50427" y="38638"/>
                      <a:pt x="49326" y="38370"/>
                      <a:pt x="48306" y="37779"/>
                    </a:cubicBezTo>
                    <a:lnTo>
                      <a:pt x="3245" y="12026"/>
                    </a:lnTo>
                    <a:cubicBezTo>
                      <a:pt x="156" y="10254"/>
                      <a:pt x="-918" y="6333"/>
                      <a:pt x="855" y="3245"/>
                    </a:cubicBezTo>
                    <a:cubicBezTo>
                      <a:pt x="2627" y="156"/>
                      <a:pt x="6548" y="-918"/>
                      <a:pt x="9636" y="855"/>
                    </a:cubicBezTo>
                    <a:lnTo>
                      <a:pt x="54697" y="26608"/>
                    </a:lnTo>
                    <a:cubicBezTo>
                      <a:pt x="57785" y="28380"/>
                      <a:pt x="58859" y="32301"/>
                      <a:pt x="57087" y="35389"/>
                    </a:cubicBezTo>
                    <a:cubicBezTo>
                      <a:pt x="55932" y="37483"/>
                      <a:pt x="53757" y="38638"/>
                      <a:pt x="51501" y="38638"/>
                    </a:cubicBezTo>
                    <a:close/>
                  </a:path>
                </a:pathLst>
              </a:custGeom>
              <a:grpFill/>
              <a:ln w="2681" cap="flat">
                <a:noFill/>
                <a:prstDash val="solid"/>
                <a:miter/>
              </a:ln>
            </p:spPr>
            <p:txBody>
              <a:bodyPr rtlCol="0" anchor="ctr"/>
              <a:lstStyle/>
              <a:p>
                <a:endParaRPr lang="en-GB" dirty="0"/>
              </a:p>
            </p:txBody>
          </p:sp>
        </p:grpSp>
      </p:grpSp>
      <p:grpSp>
        <p:nvGrpSpPr>
          <p:cNvPr id="118" name="Group 117">
            <a:extLst>
              <a:ext uri="{FF2B5EF4-FFF2-40B4-BE49-F238E27FC236}">
                <a16:creationId xmlns:a16="http://schemas.microsoft.com/office/drawing/2014/main" id="{527056B4-C7DF-88DE-6521-675F0DD61994}"/>
              </a:ext>
            </a:extLst>
          </p:cNvPr>
          <p:cNvGrpSpPr/>
          <p:nvPr/>
        </p:nvGrpSpPr>
        <p:grpSpPr>
          <a:xfrm>
            <a:off x="3771855" y="1585984"/>
            <a:ext cx="371009" cy="432000"/>
            <a:chOff x="3771855" y="1585984"/>
            <a:chExt cx="371009" cy="432000"/>
          </a:xfrm>
        </p:grpSpPr>
        <p:grpSp>
          <p:nvGrpSpPr>
            <p:cNvPr id="130" name="Grafik 295">
              <a:extLst>
                <a:ext uri="{FF2B5EF4-FFF2-40B4-BE49-F238E27FC236}">
                  <a16:creationId xmlns:a16="http://schemas.microsoft.com/office/drawing/2014/main" id="{8AE7FDC5-A7AC-4C32-92D1-9EA7024C5934}"/>
                </a:ext>
              </a:extLst>
            </p:cNvPr>
            <p:cNvGrpSpPr/>
            <p:nvPr/>
          </p:nvGrpSpPr>
          <p:grpSpPr>
            <a:xfrm>
              <a:off x="3850974" y="1625301"/>
              <a:ext cx="291890" cy="392683"/>
              <a:chOff x="7029944" y="4091305"/>
              <a:chExt cx="354474" cy="476880"/>
            </a:xfrm>
            <a:solidFill>
              <a:schemeClr val="tx2"/>
            </a:solidFill>
          </p:grpSpPr>
          <p:sp>
            <p:nvSpPr>
              <p:cNvPr id="142" name="Freihandform: Form 934">
                <a:extLst>
                  <a:ext uri="{FF2B5EF4-FFF2-40B4-BE49-F238E27FC236}">
                    <a16:creationId xmlns:a16="http://schemas.microsoft.com/office/drawing/2014/main" id="{D5A5894D-C028-4B59-BE54-6216A67B03C5}"/>
                  </a:ext>
                </a:extLst>
              </p:cNvPr>
              <p:cNvSpPr/>
              <p:nvPr/>
            </p:nvSpPr>
            <p:spPr>
              <a:xfrm>
                <a:off x="7158844" y="4091305"/>
                <a:ext cx="225574" cy="476880"/>
              </a:xfrm>
              <a:custGeom>
                <a:avLst/>
                <a:gdLst>
                  <a:gd name="connsiteX0" fmla="*/ 66678 w 225574"/>
                  <a:gd name="connsiteY0" fmla="*/ 476881 h 476880"/>
                  <a:gd name="connsiteX1" fmla="*/ 60229 w 225574"/>
                  <a:gd name="connsiteY1" fmla="*/ 470432 h 476880"/>
                  <a:gd name="connsiteX2" fmla="*/ 60229 w 225574"/>
                  <a:gd name="connsiteY2" fmla="*/ 388535 h 476880"/>
                  <a:gd name="connsiteX3" fmla="*/ 66678 w 225574"/>
                  <a:gd name="connsiteY3" fmla="*/ 382086 h 476880"/>
                  <a:gd name="connsiteX4" fmla="*/ 140973 w 225574"/>
                  <a:gd name="connsiteY4" fmla="*/ 382086 h 476880"/>
                  <a:gd name="connsiteX5" fmla="*/ 168306 w 225574"/>
                  <a:gd name="connsiteY5" fmla="*/ 354420 h 476880"/>
                  <a:gd name="connsiteX6" fmla="*/ 168306 w 225574"/>
                  <a:gd name="connsiteY6" fmla="*/ 286165 h 476880"/>
                  <a:gd name="connsiteX7" fmla="*/ 174756 w 225574"/>
                  <a:gd name="connsiteY7" fmla="*/ 279716 h 476880"/>
                  <a:gd name="connsiteX8" fmla="*/ 212684 w 225574"/>
                  <a:gd name="connsiteY8" fmla="*/ 279716 h 476880"/>
                  <a:gd name="connsiteX9" fmla="*/ 168076 w 225574"/>
                  <a:gd name="connsiteY9" fmla="*/ 149347 h 476880"/>
                  <a:gd name="connsiteX10" fmla="*/ 167743 w 225574"/>
                  <a:gd name="connsiteY10" fmla="*/ 147786 h 476880"/>
                  <a:gd name="connsiteX11" fmla="*/ 40139 w 225574"/>
                  <a:gd name="connsiteY11" fmla="*/ 13553 h 476880"/>
                  <a:gd name="connsiteX12" fmla="*/ 7304 w 225574"/>
                  <a:gd name="connsiteY12" fmla="*/ 14142 h 476880"/>
                  <a:gd name="connsiteX13" fmla="*/ 61 w 225574"/>
                  <a:gd name="connsiteY13" fmla="*/ 8614 h 476880"/>
                  <a:gd name="connsiteX14" fmla="*/ 5589 w 225574"/>
                  <a:gd name="connsiteY14" fmla="*/ 1371 h 476880"/>
                  <a:gd name="connsiteX15" fmla="*/ 41393 w 225574"/>
                  <a:gd name="connsiteY15" fmla="*/ 731 h 476880"/>
                  <a:gd name="connsiteX16" fmla="*/ 180514 w 225574"/>
                  <a:gd name="connsiteY16" fmla="*/ 145944 h 476880"/>
                  <a:gd name="connsiteX17" fmla="*/ 224789 w 225574"/>
                  <a:gd name="connsiteY17" fmla="*/ 275263 h 476880"/>
                  <a:gd name="connsiteX18" fmla="*/ 223253 w 225574"/>
                  <a:gd name="connsiteY18" fmla="*/ 287061 h 476880"/>
                  <a:gd name="connsiteX19" fmla="*/ 212658 w 225574"/>
                  <a:gd name="connsiteY19" fmla="*/ 292614 h 476880"/>
                  <a:gd name="connsiteX20" fmla="*/ 181179 w 225574"/>
                  <a:gd name="connsiteY20" fmla="*/ 292614 h 476880"/>
                  <a:gd name="connsiteX21" fmla="*/ 181179 w 225574"/>
                  <a:gd name="connsiteY21" fmla="*/ 354420 h 476880"/>
                  <a:gd name="connsiteX22" fmla="*/ 140973 w 225574"/>
                  <a:gd name="connsiteY22" fmla="*/ 394984 h 476880"/>
                  <a:gd name="connsiteX23" fmla="*/ 73102 w 225574"/>
                  <a:gd name="connsiteY23" fmla="*/ 394984 h 476880"/>
                  <a:gd name="connsiteX24" fmla="*/ 73102 w 225574"/>
                  <a:gd name="connsiteY24" fmla="*/ 470432 h 476880"/>
                  <a:gd name="connsiteX25" fmla="*/ 66678 w 225574"/>
                  <a:gd name="connsiteY25" fmla="*/ 476881 h 47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5574" h="476880">
                    <a:moveTo>
                      <a:pt x="66678" y="476881"/>
                    </a:moveTo>
                    <a:cubicBezTo>
                      <a:pt x="63121" y="476881"/>
                      <a:pt x="60229" y="473989"/>
                      <a:pt x="60229" y="470432"/>
                    </a:cubicBezTo>
                    <a:lnTo>
                      <a:pt x="60229" y="388535"/>
                    </a:lnTo>
                    <a:cubicBezTo>
                      <a:pt x="60229" y="384978"/>
                      <a:pt x="63121" y="382086"/>
                      <a:pt x="66678" y="382086"/>
                    </a:cubicBezTo>
                    <a:lnTo>
                      <a:pt x="140973" y="382086"/>
                    </a:lnTo>
                    <a:cubicBezTo>
                      <a:pt x="156047" y="382086"/>
                      <a:pt x="168306" y="369673"/>
                      <a:pt x="168306" y="354420"/>
                    </a:cubicBezTo>
                    <a:lnTo>
                      <a:pt x="168306" y="286165"/>
                    </a:lnTo>
                    <a:cubicBezTo>
                      <a:pt x="168306" y="282608"/>
                      <a:pt x="171198" y="279716"/>
                      <a:pt x="174756" y="279716"/>
                    </a:cubicBezTo>
                    <a:lnTo>
                      <a:pt x="212684" y="279716"/>
                    </a:lnTo>
                    <a:lnTo>
                      <a:pt x="168076" y="149347"/>
                    </a:lnTo>
                    <a:cubicBezTo>
                      <a:pt x="167897" y="148836"/>
                      <a:pt x="167794" y="148298"/>
                      <a:pt x="167743" y="147786"/>
                    </a:cubicBezTo>
                    <a:cubicBezTo>
                      <a:pt x="161985" y="76665"/>
                      <a:pt x="108343" y="20207"/>
                      <a:pt x="40139" y="13553"/>
                    </a:cubicBezTo>
                    <a:cubicBezTo>
                      <a:pt x="29160" y="12478"/>
                      <a:pt x="18104" y="12658"/>
                      <a:pt x="7304" y="14142"/>
                    </a:cubicBezTo>
                    <a:cubicBezTo>
                      <a:pt x="3746" y="14603"/>
                      <a:pt x="522" y="12146"/>
                      <a:pt x="61" y="8614"/>
                    </a:cubicBezTo>
                    <a:cubicBezTo>
                      <a:pt x="-425" y="5082"/>
                      <a:pt x="2057" y="1832"/>
                      <a:pt x="5589" y="1371"/>
                    </a:cubicBezTo>
                    <a:cubicBezTo>
                      <a:pt x="17387" y="-216"/>
                      <a:pt x="29416" y="-420"/>
                      <a:pt x="41393" y="731"/>
                    </a:cubicBezTo>
                    <a:cubicBezTo>
                      <a:pt x="115535" y="8000"/>
                      <a:pt x="173937" y="68987"/>
                      <a:pt x="180514" y="145944"/>
                    </a:cubicBezTo>
                    <a:lnTo>
                      <a:pt x="224789" y="275263"/>
                    </a:lnTo>
                    <a:cubicBezTo>
                      <a:pt x="226222" y="279076"/>
                      <a:pt x="225685" y="283555"/>
                      <a:pt x="223253" y="287061"/>
                    </a:cubicBezTo>
                    <a:cubicBezTo>
                      <a:pt x="220848" y="290541"/>
                      <a:pt x="216881" y="292614"/>
                      <a:pt x="212658" y="292614"/>
                    </a:cubicBezTo>
                    <a:lnTo>
                      <a:pt x="181179" y="292614"/>
                    </a:lnTo>
                    <a:lnTo>
                      <a:pt x="181179" y="354420"/>
                    </a:lnTo>
                    <a:cubicBezTo>
                      <a:pt x="181179" y="376788"/>
                      <a:pt x="163137" y="394984"/>
                      <a:pt x="140973" y="394984"/>
                    </a:cubicBezTo>
                    <a:lnTo>
                      <a:pt x="73102" y="394984"/>
                    </a:lnTo>
                    <a:lnTo>
                      <a:pt x="73102" y="470432"/>
                    </a:lnTo>
                    <a:cubicBezTo>
                      <a:pt x="73102" y="474014"/>
                      <a:pt x="70236" y="476881"/>
                      <a:pt x="66678" y="476881"/>
                    </a:cubicBezTo>
                    <a:close/>
                  </a:path>
                </a:pathLst>
              </a:custGeom>
              <a:grpFill/>
              <a:ln w="2558" cap="flat">
                <a:noFill/>
                <a:prstDash val="solid"/>
                <a:miter/>
              </a:ln>
            </p:spPr>
            <p:txBody>
              <a:bodyPr rtlCol="0" anchor="ctr"/>
              <a:lstStyle/>
              <a:p>
                <a:endParaRPr lang="en-GB" dirty="0"/>
              </a:p>
            </p:txBody>
          </p:sp>
          <p:sp>
            <p:nvSpPr>
              <p:cNvPr id="143" name="Freihandform: Form 935">
                <a:extLst>
                  <a:ext uri="{FF2B5EF4-FFF2-40B4-BE49-F238E27FC236}">
                    <a16:creationId xmlns:a16="http://schemas.microsoft.com/office/drawing/2014/main" id="{0597D77B-656D-472A-9B54-BEF0A7230D31}"/>
                  </a:ext>
                </a:extLst>
              </p:cNvPr>
              <p:cNvSpPr/>
              <p:nvPr/>
            </p:nvSpPr>
            <p:spPr>
              <a:xfrm>
                <a:off x="7029944" y="4241395"/>
                <a:ext cx="12898" cy="326791"/>
              </a:xfrm>
              <a:custGeom>
                <a:avLst/>
                <a:gdLst>
                  <a:gd name="connsiteX0" fmla="*/ 6449 w 12898"/>
                  <a:gd name="connsiteY0" fmla="*/ 326791 h 326791"/>
                  <a:gd name="connsiteX1" fmla="*/ 0 w 12898"/>
                  <a:gd name="connsiteY1" fmla="*/ 320342 h 326791"/>
                  <a:gd name="connsiteX2" fmla="*/ 0 w 12898"/>
                  <a:gd name="connsiteY2" fmla="*/ 6449 h 326791"/>
                  <a:gd name="connsiteX3" fmla="*/ 6449 w 12898"/>
                  <a:gd name="connsiteY3" fmla="*/ 0 h 326791"/>
                  <a:gd name="connsiteX4" fmla="*/ 12899 w 12898"/>
                  <a:gd name="connsiteY4" fmla="*/ 6449 h 326791"/>
                  <a:gd name="connsiteX5" fmla="*/ 12899 w 12898"/>
                  <a:gd name="connsiteY5" fmla="*/ 320342 h 326791"/>
                  <a:gd name="connsiteX6" fmla="*/ 6449 w 12898"/>
                  <a:gd name="connsiteY6" fmla="*/ 326791 h 32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 h="326791">
                    <a:moveTo>
                      <a:pt x="6449" y="326791"/>
                    </a:moveTo>
                    <a:cubicBezTo>
                      <a:pt x="2892" y="326791"/>
                      <a:pt x="0" y="323899"/>
                      <a:pt x="0" y="320342"/>
                    </a:cubicBezTo>
                    <a:lnTo>
                      <a:pt x="0" y="6449"/>
                    </a:lnTo>
                    <a:cubicBezTo>
                      <a:pt x="0" y="2892"/>
                      <a:pt x="2892" y="0"/>
                      <a:pt x="6449" y="0"/>
                    </a:cubicBezTo>
                    <a:cubicBezTo>
                      <a:pt x="10007" y="0"/>
                      <a:pt x="12899" y="2892"/>
                      <a:pt x="12899" y="6449"/>
                    </a:cubicBezTo>
                    <a:lnTo>
                      <a:pt x="12899" y="320342"/>
                    </a:lnTo>
                    <a:cubicBezTo>
                      <a:pt x="12899" y="323925"/>
                      <a:pt x="10007" y="326791"/>
                      <a:pt x="6449" y="326791"/>
                    </a:cubicBezTo>
                    <a:close/>
                  </a:path>
                </a:pathLst>
              </a:custGeom>
              <a:grpFill/>
              <a:ln w="2558" cap="flat">
                <a:noFill/>
                <a:prstDash val="solid"/>
                <a:miter/>
              </a:ln>
            </p:spPr>
            <p:txBody>
              <a:bodyPr rtlCol="0" anchor="ctr"/>
              <a:lstStyle/>
              <a:p>
                <a:endParaRPr lang="en-GB" dirty="0"/>
              </a:p>
            </p:txBody>
          </p:sp>
        </p:grpSp>
        <p:grpSp>
          <p:nvGrpSpPr>
            <p:cNvPr id="131" name="Group 130">
              <a:extLst>
                <a:ext uri="{FF2B5EF4-FFF2-40B4-BE49-F238E27FC236}">
                  <a16:creationId xmlns:a16="http://schemas.microsoft.com/office/drawing/2014/main" id="{D02D94B9-2ADB-4A59-A4F0-6B60467E8473}"/>
                </a:ext>
              </a:extLst>
            </p:cNvPr>
            <p:cNvGrpSpPr/>
            <p:nvPr/>
          </p:nvGrpSpPr>
          <p:grpSpPr>
            <a:xfrm>
              <a:off x="3771855" y="1585984"/>
              <a:ext cx="276834" cy="276516"/>
              <a:chOff x="6933863" y="4043558"/>
              <a:chExt cx="336190" cy="335805"/>
            </a:xfrm>
            <a:solidFill>
              <a:schemeClr val="accent1"/>
            </a:solidFill>
          </p:grpSpPr>
          <p:grpSp>
            <p:nvGrpSpPr>
              <p:cNvPr id="132" name="Grafik 295">
                <a:extLst>
                  <a:ext uri="{FF2B5EF4-FFF2-40B4-BE49-F238E27FC236}">
                    <a16:creationId xmlns:a16="http://schemas.microsoft.com/office/drawing/2014/main" id="{7915F34A-AC52-41AD-8F93-CF1589A36D14}"/>
                  </a:ext>
                </a:extLst>
              </p:cNvPr>
              <p:cNvGrpSpPr/>
              <p:nvPr/>
            </p:nvGrpSpPr>
            <p:grpSpPr>
              <a:xfrm>
                <a:off x="7076625" y="4186076"/>
                <a:ext cx="193428" cy="193287"/>
                <a:chOff x="7076625" y="4186076"/>
                <a:chExt cx="193428" cy="193287"/>
              </a:xfrm>
              <a:solidFill>
                <a:schemeClr val="accent1"/>
              </a:solidFill>
            </p:grpSpPr>
            <p:sp>
              <p:nvSpPr>
                <p:cNvPr id="140" name="Freihandform: Form 937">
                  <a:extLst>
                    <a:ext uri="{FF2B5EF4-FFF2-40B4-BE49-F238E27FC236}">
                      <a16:creationId xmlns:a16="http://schemas.microsoft.com/office/drawing/2014/main" id="{D31E0317-0E0C-425F-8AEB-504F0E2AD6B9}"/>
                    </a:ext>
                  </a:extLst>
                </p:cNvPr>
                <p:cNvSpPr/>
                <p:nvPr/>
              </p:nvSpPr>
              <p:spPr>
                <a:xfrm>
                  <a:off x="7141809" y="4251196"/>
                  <a:ext cx="63008" cy="63008"/>
                </a:xfrm>
                <a:custGeom>
                  <a:avLst/>
                  <a:gdLst>
                    <a:gd name="connsiteX0" fmla="*/ 31504 w 63008"/>
                    <a:gd name="connsiteY0" fmla="*/ 63009 h 63008"/>
                    <a:gd name="connsiteX1" fmla="*/ 0 w 63008"/>
                    <a:gd name="connsiteY1" fmla="*/ 31505 h 63008"/>
                    <a:gd name="connsiteX2" fmla="*/ 31504 w 63008"/>
                    <a:gd name="connsiteY2" fmla="*/ 0 h 63008"/>
                    <a:gd name="connsiteX3" fmla="*/ 63009 w 63008"/>
                    <a:gd name="connsiteY3" fmla="*/ 31505 h 63008"/>
                    <a:gd name="connsiteX4" fmla="*/ 31504 w 63008"/>
                    <a:gd name="connsiteY4" fmla="*/ 63009 h 63008"/>
                    <a:gd name="connsiteX5" fmla="*/ 31504 w 63008"/>
                    <a:gd name="connsiteY5" fmla="*/ 12899 h 63008"/>
                    <a:gd name="connsiteX6" fmla="*/ 12899 w 63008"/>
                    <a:gd name="connsiteY6" fmla="*/ 31505 h 63008"/>
                    <a:gd name="connsiteX7" fmla="*/ 31504 w 63008"/>
                    <a:gd name="connsiteY7" fmla="*/ 50136 h 63008"/>
                    <a:gd name="connsiteX8" fmla="*/ 50110 w 63008"/>
                    <a:gd name="connsiteY8" fmla="*/ 31505 h 63008"/>
                    <a:gd name="connsiteX9" fmla="*/ 31504 w 63008"/>
                    <a:gd name="connsiteY9" fmla="*/ 12899 h 63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008" h="63008">
                      <a:moveTo>
                        <a:pt x="31504" y="63009"/>
                      </a:moveTo>
                      <a:cubicBezTo>
                        <a:pt x="14127" y="63009"/>
                        <a:pt x="0" y="48882"/>
                        <a:pt x="0" y="31505"/>
                      </a:cubicBezTo>
                      <a:cubicBezTo>
                        <a:pt x="0" y="14127"/>
                        <a:pt x="14127" y="0"/>
                        <a:pt x="31504" y="0"/>
                      </a:cubicBezTo>
                      <a:cubicBezTo>
                        <a:pt x="48882" y="0"/>
                        <a:pt x="63009" y="14127"/>
                        <a:pt x="63009" y="31505"/>
                      </a:cubicBezTo>
                      <a:cubicBezTo>
                        <a:pt x="63009" y="48882"/>
                        <a:pt x="48882" y="63009"/>
                        <a:pt x="31504" y="63009"/>
                      </a:cubicBezTo>
                      <a:close/>
                      <a:moveTo>
                        <a:pt x="31504" y="12899"/>
                      </a:moveTo>
                      <a:cubicBezTo>
                        <a:pt x="21242" y="12899"/>
                        <a:pt x="12899" y="21242"/>
                        <a:pt x="12899" y="31505"/>
                      </a:cubicBezTo>
                      <a:cubicBezTo>
                        <a:pt x="12899" y="41767"/>
                        <a:pt x="21242" y="50136"/>
                        <a:pt x="31504" y="50136"/>
                      </a:cubicBezTo>
                      <a:cubicBezTo>
                        <a:pt x="41767" y="50136"/>
                        <a:pt x="50110" y="41793"/>
                        <a:pt x="50110" y="31505"/>
                      </a:cubicBezTo>
                      <a:cubicBezTo>
                        <a:pt x="50110" y="21242"/>
                        <a:pt x="41767" y="12899"/>
                        <a:pt x="31504" y="12899"/>
                      </a:cubicBezTo>
                      <a:close/>
                    </a:path>
                  </a:pathLst>
                </a:custGeom>
                <a:solidFill>
                  <a:schemeClr val="accent1"/>
                </a:solidFill>
                <a:ln w="2558" cap="flat">
                  <a:noFill/>
                  <a:prstDash val="solid"/>
                  <a:miter/>
                </a:ln>
              </p:spPr>
              <p:txBody>
                <a:bodyPr rtlCol="0" anchor="ctr"/>
                <a:lstStyle/>
                <a:p>
                  <a:endParaRPr lang="en-GB" dirty="0"/>
                </a:p>
              </p:txBody>
            </p:sp>
            <p:sp>
              <p:nvSpPr>
                <p:cNvPr id="141" name="Freihandform: Form 938">
                  <a:extLst>
                    <a:ext uri="{FF2B5EF4-FFF2-40B4-BE49-F238E27FC236}">
                      <a16:creationId xmlns:a16="http://schemas.microsoft.com/office/drawing/2014/main" id="{554EFAA2-61D6-4425-86A1-4956C4E7510B}"/>
                    </a:ext>
                  </a:extLst>
                </p:cNvPr>
                <p:cNvSpPr/>
                <p:nvPr/>
              </p:nvSpPr>
              <p:spPr>
                <a:xfrm>
                  <a:off x="7076625" y="4186076"/>
                  <a:ext cx="193428" cy="193287"/>
                </a:xfrm>
                <a:custGeom>
                  <a:avLst/>
                  <a:gdLst>
                    <a:gd name="connsiteX0" fmla="*/ 96689 w 193428"/>
                    <a:gd name="connsiteY0" fmla="*/ 193288 h 193287"/>
                    <a:gd name="connsiteX1" fmla="*/ 80079 w 193428"/>
                    <a:gd name="connsiteY1" fmla="*/ 191778 h 193287"/>
                    <a:gd name="connsiteX2" fmla="*/ 75882 w 193428"/>
                    <a:gd name="connsiteY2" fmla="*/ 189091 h 193287"/>
                    <a:gd name="connsiteX3" fmla="*/ 74858 w 193428"/>
                    <a:gd name="connsiteY3" fmla="*/ 184202 h 193287"/>
                    <a:gd name="connsiteX4" fmla="*/ 76010 w 193428"/>
                    <a:gd name="connsiteY4" fmla="*/ 172609 h 193287"/>
                    <a:gd name="connsiteX5" fmla="*/ 74065 w 193428"/>
                    <a:gd name="connsiteY5" fmla="*/ 157535 h 193287"/>
                    <a:gd name="connsiteX6" fmla="*/ 72350 w 193428"/>
                    <a:gd name="connsiteY6" fmla="*/ 155488 h 193287"/>
                    <a:gd name="connsiteX7" fmla="*/ 69612 w 193428"/>
                    <a:gd name="connsiteY7" fmla="*/ 155513 h 193287"/>
                    <a:gd name="connsiteX8" fmla="*/ 53105 w 193428"/>
                    <a:gd name="connsiteY8" fmla="*/ 167209 h 193287"/>
                    <a:gd name="connsiteX9" fmla="*/ 47858 w 193428"/>
                    <a:gd name="connsiteY9" fmla="*/ 173325 h 193287"/>
                    <a:gd name="connsiteX10" fmla="*/ 43533 w 193428"/>
                    <a:gd name="connsiteY10" fmla="*/ 175808 h 193287"/>
                    <a:gd name="connsiteX11" fmla="*/ 38722 w 193428"/>
                    <a:gd name="connsiteY11" fmla="*/ 174451 h 193287"/>
                    <a:gd name="connsiteX12" fmla="*/ 30558 w 193428"/>
                    <a:gd name="connsiteY12" fmla="*/ 167209 h 193287"/>
                    <a:gd name="connsiteX13" fmla="*/ 20346 w 193428"/>
                    <a:gd name="connsiteY13" fmla="*/ 155027 h 193287"/>
                    <a:gd name="connsiteX14" fmla="*/ 21600 w 193428"/>
                    <a:gd name="connsiteY14" fmla="*/ 146197 h 193287"/>
                    <a:gd name="connsiteX15" fmla="*/ 27179 w 193428"/>
                    <a:gd name="connsiteY15" fmla="*/ 141335 h 193287"/>
                    <a:gd name="connsiteX16" fmla="*/ 40564 w 193428"/>
                    <a:gd name="connsiteY16" fmla="*/ 120810 h 193287"/>
                    <a:gd name="connsiteX17" fmla="*/ 39054 w 193428"/>
                    <a:gd name="connsiteY17" fmla="*/ 117252 h 193287"/>
                    <a:gd name="connsiteX18" fmla="*/ 15918 w 193428"/>
                    <a:gd name="connsiteY18" fmla="*/ 112594 h 193287"/>
                    <a:gd name="connsiteX19" fmla="*/ 7883 w 193428"/>
                    <a:gd name="connsiteY19" fmla="*/ 113209 h 193287"/>
                    <a:gd name="connsiteX20" fmla="*/ 3071 w 193428"/>
                    <a:gd name="connsiteY20" fmla="*/ 111903 h 193287"/>
                    <a:gd name="connsiteX21" fmla="*/ 640 w 193428"/>
                    <a:gd name="connsiteY21" fmla="*/ 107553 h 193287"/>
                    <a:gd name="connsiteX22" fmla="*/ 0 w 193428"/>
                    <a:gd name="connsiteY22" fmla="*/ 96676 h 193287"/>
                    <a:gd name="connsiteX23" fmla="*/ 1408 w 193428"/>
                    <a:gd name="connsiteY23" fmla="*/ 80834 h 193287"/>
                    <a:gd name="connsiteX24" fmla="*/ 8548 w 193428"/>
                    <a:gd name="connsiteY24" fmla="*/ 75485 h 193287"/>
                    <a:gd name="connsiteX25" fmla="*/ 15944 w 193428"/>
                    <a:gd name="connsiteY25" fmla="*/ 75997 h 193287"/>
                    <a:gd name="connsiteX26" fmla="*/ 34729 w 193428"/>
                    <a:gd name="connsiteY26" fmla="*/ 72977 h 193287"/>
                    <a:gd name="connsiteX27" fmla="*/ 36674 w 193428"/>
                    <a:gd name="connsiteY27" fmla="*/ 71109 h 193287"/>
                    <a:gd name="connsiteX28" fmla="*/ 36444 w 193428"/>
                    <a:gd name="connsiteY28" fmla="*/ 68396 h 193287"/>
                    <a:gd name="connsiteX29" fmla="*/ 27205 w 193428"/>
                    <a:gd name="connsiteY29" fmla="*/ 56444 h 193287"/>
                    <a:gd name="connsiteX30" fmla="*/ 21626 w 193428"/>
                    <a:gd name="connsiteY30" fmla="*/ 51582 h 193287"/>
                    <a:gd name="connsiteX31" fmla="*/ 20372 w 193428"/>
                    <a:gd name="connsiteY31" fmla="*/ 42752 h 193287"/>
                    <a:gd name="connsiteX32" fmla="*/ 30583 w 193428"/>
                    <a:gd name="connsiteY32" fmla="*/ 30545 h 193287"/>
                    <a:gd name="connsiteX33" fmla="*/ 42791 w 193428"/>
                    <a:gd name="connsiteY33" fmla="*/ 20333 h 193287"/>
                    <a:gd name="connsiteX34" fmla="*/ 51646 w 193428"/>
                    <a:gd name="connsiteY34" fmla="*/ 21613 h 193287"/>
                    <a:gd name="connsiteX35" fmla="*/ 56508 w 193428"/>
                    <a:gd name="connsiteY35" fmla="*/ 27192 h 193287"/>
                    <a:gd name="connsiteX36" fmla="*/ 68460 w 193428"/>
                    <a:gd name="connsiteY36" fmla="*/ 36431 h 193287"/>
                    <a:gd name="connsiteX37" fmla="*/ 71173 w 193428"/>
                    <a:gd name="connsiteY37" fmla="*/ 36661 h 193287"/>
                    <a:gd name="connsiteX38" fmla="*/ 73041 w 193428"/>
                    <a:gd name="connsiteY38" fmla="*/ 34716 h 193287"/>
                    <a:gd name="connsiteX39" fmla="*/ 76061 w 193428"/>
                    <a:gd name="connsiteY39" fmla="*/ 15931 h 193287"/>
                    <a:gd name="connsiteX40" fmla="*/ 75549 w 193428"/>
                    <a:gd name="connsiteY40" fmla="*/ 8561 h 193287"/>
                    <a:gd name="connsiteX41" fmla="*/ 80898 w 193428"/>
                    <a:gd name="connsiteY41" fmla="*/ 1420 h 193287"/>
                    <a:gd name="connsiteX42" fmla="*/ 112607 w 193428"/>
                    <a:gd name="connsiteY42" fmla="*/ 1420 h 193287"/>
                    <a:gd name="connsiteX43" fmla="*/ 117956 w 193428"/>
                    <a:gd name="connsiteY43" fmla="*/ 8561 h 193287"/>
                    <a:gd name="connsiteX44" fmla="*/ 117444 w 193428"/>
                    <a:gd name="connsiteY44" fmla="*/ 15931 h 193287"/>
                    <a:gd name="connsiteX45" fmla="*/ 121181 w 193428"/>
                    <a:gd name="connsiteY45" fmla="*/ 36815 h 193287"/>
                    <a:gd name="connsiteX46" fmla="*/ 122921 w 193428"/>
                    <a:gd name="connsiteY46" fmla="*/ 38606 h 193287"/>
                    <a:gd name="connsiteX47" fmla="*/ 125608 w 193428"/>
                    <a:gd name="connsiteY47" fmla="*/ 38478 h 193287"/>
                    <a:gd name="connsiteX48" fmla="*/ 141424 w 193428"/>
                    <a:gd name="connsiteY48" fmla="*/ 27141 h 193287"/>
                    <a:gd name="connsiteX49" fmla="*/ 146287 w 193428"/>
                    <a:gd name="connsiteY49" fmla="*/ 21562 h 193287"/>
                    <a:gd name="connsiteX50" fmla="*/ 155142 w 193428"/>
                    <a:gd name="connsiteY50" fmla="*/ 20282 h 193287"/>
                    <a:gd name="connsiteX51" fmla="*/ 167324 w 193428"/>
                    <a:gd name="connsiteY51" fmla="*/ 30493 h 193287"/>
                    <a:gd name="connsiteX52" fmla="*/ 174567 w 193428"/>
                    <a:gd name="connsiteY52" fmla="*/ 38657 h 193287"/>
                    <a:gd name="connsiteX53" fmla="*/ 175923 w 193428"/>
                    <a:gd name="connsiteY53" fmla="*/ 43469 h 193287"/>
                    <a:gd name="connsiteX54" fmla="*/ 173441 w 193428"/>
                    <a:gd name="connsiteY54" fmla="*/ 47794 h 193287"/>
                    <a:gd name="connsiteX55" fmla="*/ 167324 w 193428"/>
                    <a:gd name="connsiteY55" fmla="*/ 53066 h 193287"/>
                    <a:gd name="connsiteX56" fmla="*/ 156294 w 193428"/>
                    <a:gd name="connsiteY56" fmla="*/ 68319 h 193287"/>
                    <a:gd name="connsiteX57" fmla="*/ 156191 w 193428"/>
                    <a:gd name="connsiteY57" fmla="*/ 70930 h 193287"/>
                    <a:gd name="connsiteX58" fmla="*/ 158136 w 193428"/>
                    <a:gd name="connsiteY58" fmla="*/ 72772 h 193287"/>
                    <a:gd name="connsiteX59" fmla="*/ 177484 w 193428"/>
                    <a:gd name="connsiteY59" fmla="*/ 75997 h 193287"/>
                    <a:gd name="connsiteX60" fmla="*/ 184881 w 193428"/>
                    <a:gd name="connsiteY60" fmla="*/ 75485 h 193287"/>
                    <a:gd name="connsiteX61" fmla="*/ 192021 w 193428"/>
                    <a:gd name="connsiteY61" fmla="*/ 80834 h 193287"/>
                    <a:gd name="connsiteX62" fmla="*/ 193429 w 193428"/>
                    <a:gd name="connsiteY62" fmla="*/ 96676 h 193287"/>
                    <a:gd name="connsiteX63" fmla="*/ 192789 w 193428"/>
                    <a:gd name="connsiteY63" fmla="*/ 107553 h 193287"/>
                    <a:gd name="connsiteX64" fmla="*/ 190357 w 193428"/>
                    <a:gd name="connsiteY64" fmla="*/ 111903 h 193287"/>
                    <a:gd name="connsiteX65" fmla="*/ 185546 w 193428"/>
                    <a:gd name="connsiteY65" fmla="*/ 113209 h 193287"/>
                    <a:gd name="connsiteX66" fmla="*/ 177510 w 193428"/>
                    <a:gd name="connsiteY66" fmla="*/ 112594 h 193287"/>
                    <a:gd name="connsiteX67" fmla="*/ 156934 w 193428"/>
                    <a:gd name="connsiteY67" fmla="*/ 116228 h 193287"/>
                    <a:gd name="connsiteX68" fmla="*/ 155040 w 193428"/>
                    <a:gd name="connsiteY68" fmla="*/ 118020 h 193287"/>
                    <a:gd name="connsiteX69" fmla="*/ 155040 w 193428"/>
                    <a:gd name="connsiteY69" fmla="*/ 120093 h 193287"/>
                    <a:gd name="connsiteX70" fmla="*/ 167375 w 193428"/>
                    <a:gd name="connsiteY70" fmla="*/ 137982 h 193287"/>
                    <a:gd name="connsiteX71" fmla="*/ 176384 w 193428"/>
                    <a:gd name="connsiteY71" fmla="*/ 145378 h 193287"/>
                    <a:gd name="connsiteX72" fmla="*/ 179122 w 193428"/>
                    <a:gd name="connsiteY72" fmla="*/ 149550 h 193287"/>
                    <a:gd name="connsiteX73" fmla="*/ 178047 w 193428"/>
                    <a:gd name="connsiteY73" fmla="*/ 154438 h 193287"/>
                    <a:gd name="connsiteX74" fmla="*/ 167375 w 193428"/>
                    <a:gd name="connsiteY74" fmla="*/ 167260 h 193287"/>
                    <a:gd name="connsiteX75" fmla="*/ 154553 w 193428"/>
                    <a:gd name="connsiteY75" fmla="*/ 177932 h 193287"/>
                    <a:gd name="connsiteX76" fmla="*/ 149665 w 193428"/>
                    <a:gd name="connsiteY76" fmla="*/ 179007 h 193287"/>
                    <a:gd name="connsiteX77" fmla="*/ 145494 w 193428"/>
                    <a:gd name="connsiteY77" fmla="*/ 176269 h 193287"/>
                    <a:gd name="connsiteX78" fmla="*/ 138097 w 193428"/>
                    <a:gd name="connsiteY78" fmla="*/ 167260 h 193287"/>
                    <a:gd name="connsiteX79" fmla="*/ 123561 w 193428"/>
                    <a:gd name="connsiteY79" fmla="*/ 156588 h 193287"/>
                    <a:gd name="connsiteX80" fmla="*/ 120874 w 193428"/>
                    <a:gd name="connsiteY80" fmla="*/ 156537 h 193287"/>
                    <a:gd name="connsiteX81" fmla="*/ 119159 w 193428"/>
                    <a:gd name="connsiteY81" fmla="*/ 158584 h 193287"/>
                    <a:gd name="connsiteX82" fmla="*/ 117495 w 193428"/>
                    <a:gd name="connsiteY82" fmla="*/ 172660 h 193287"/>
                    <a:gd name="connsiteX83" fmla="*/ 118647 w 193428"/>
                    <a:gd name="connsiteY83" fmla="*/ 184254 h 193287"/>
                    <a:gd name="connsiteX84" fmla="*/ 117623 w 193428"/>
                    <a:gd name="connsiteY84" fmla="*/ 189142 h 193287"/>
                    <a:gd name="connsiteX85" fmla="*/ 113426 w 193428"/>
                    <a:gd name="connsiteY85" fmla="*/ 191829 h 193287"/>
                    <a:gd name="connsiteX86" fmla="*/ 96689 w 193428"/>
                    <a:gd name="connsiteY86" fmla="*/ 193288 h 193287"/>
                    <a:gd name="connsiteX87" fmla="*/ 88499 w 193428"/>
                    <a:gd name="connsiteY87" fmla="*/ 179954 h 193287"/>
                    <a:gd name="connsiteX88" fmla="*/ 104853 w 193428"/>
                    <a:gd name="connsiteY88" fmla="*/ 179954 h 193287"/>
                    <a:gd name="connsiteX89" fmla="*/ 104469 w 193428"/>
                    <a:gd name="connsiteY89" fmla="*/ 172609 h 193287"/>
                    <a:gd name="connsiteX90" fmla="*/ 106491 w 193428"/>
                    <a:gd name="connsiteY90" fmla="*/ 155513 h 193287"/>
                    <a:gd name="connsiteX91" fmla="*/ 115397 w 193428"/>
                    <a:gd name="connsiteY91" fmla="*/ 144738 h 193287"/>
                    <a:gd name="connsiteX92" fmla="*/ 129370 w 193428"/>
                    <a:gd name="connsiteY92" fmla="*/ 145097 h 193287"/>
                    <a:gd name="connsiteX93" fmla="*/ 147080 w 193428"/>
                    <a:gd name="connsiteY93" fmla="*/ 158072 h 193287"/>
                    <a:gd name="connsiteX94" fmla="*/ 152020 w 193428"/>
                    <a:gd name="connsiteY94" fmla="*/ 163549 h 193287"/>
                    <a:gd name="connsiteX95" fmla="*/ 158111 w 193428"/>
                    <a:gd name="connsiteY95" fmla="*/ 158098 h 193287"/>
                    <a:gd name="connsiteX96" fmla="*/ 163588 w 193428"/>
                    <a:gd name="connsiteY96" fmla="*/ 151981 h 193287"/>
                    <a:gd name="connsiteX97" fmla="*/ 158111 w 193428"/>
                    <a:gd name="connsiteY97" fmla="*/ 147042 h 193287"/>
                    <a:gd name="connsiteX98" fmla="*/ 143113 w 193428"/>
                    <a:gd name="connsiteY98" fmla="*/ 125314 h 193287"/>
                    <a:gd name="connsiteX99" fmla="*/ 143037 w 193428"/>
                    <a:gd name="connsiteY99" fmla="*/ 112953 h 193287"/>
                    <a:gd name="connsiteX100" fmla="*/ 152378 w 193428"/>
                    <a:gd name="connsiteY100" fmla="*/ 104072 h 193287"/>
                    <a:gd name="connsiteX101" fmla="*/ 180351 w 193428"/>
                    <a:gd name="connsiteY101" fmla="*/ 99747 h 193287"/>
                    <a:gd name="connsiteX102" fmla="*/ 180427 w 193428"/>
                    <a:gd name="connsiteY102" fmla="*/ 96625 h 193287"/>
                    <a:gd name="connsiteX103" fmla="*/ 179992 w 193428"/>
                    <a:gd name="connsiteY103" fmla="*/ 88768 h 193287"/>
                    <a:gd name="connsiteX104" fmla="*/ 153837 w 193428"/>
                    <a:gd name="connsiteY104" fmla="*/ 84903 h 193287"/>
                    <a:gd name="connsiteX105" fmla="*/ 144112 w 193428"/>
                    <a:gd name="connsiteY105" fmla="*/ 75741 h 193287"/>
                    <a:gd name="connsiteX106" fmla="*/ 144649 w 193428"/>
                    <a:gd name="connsiteY106" fmla="*/ 62459 h 193287"/>
                    <a:gd name="connsiteX107" fmla="*/ 158085 w 193428"/>
                    <a:gd name="connsiteY107" fmla="*/ 43904 h 193287"/>
                    <a:gd name="connsiteX108" fmla="*/ 160261 w 193428"/>
                    <a:gd name="connsiteY108" fmla="*/ 41857 h 193287"/>
                    <a:gd name="connsiteX109" fmla="*/ 158085 w 193428"/>
                    <a:gd name="connsiteY109" fmla="*/ 39604 h 193287"/>
                    <a:gd name="connsiteX110" fmla="*/ 152224 w 193428"/>
                    <a:gd name="connsiteY110" fmla="*/ 34358 h 193287"/>
                    <a:gd name="connsiteX111" fmla="*/ 150407 w 193428"/>
                    <a:gd name="connsiteY111" fmla="*/ 36252 h 193287"/>
                    <a:gd name="connsiteX112" fmla="*/ 131162 w 193428"/>
                    <a:gd name="connsiteY112" fmla="*/ 50046 h 193287"/>
                    <a:gd name="connsiteX113" fmla="*/ 118033 w 193428"/>
                    <a:gd name="connsiteY113" fmla="*/ 50558 h 193287"/>
                    <a:gd name="connsiteX114" fmla="*/ 108973 w 193428"/>
                    <a:gd name="connsiteY114" fmla="*/ 41293 h 193287"/>
                    <a:gd name="connsiteX115" fmla="*/ 104418 w 193428"/>
                    <a:gd name="connsiteY115" fmla="*/ 15880 h 193287"/>
                    <a:gd name="connsiteX116" fmla="*/ 104469 w 193428"/>
                    <a:gd name="connsiteY116" fmla="*/ 13244 h 193287"/>
                    <a:gd name="connsiteX117" fmla="*/ 88755 w 193428"/>
                    <a:gd name="connsiteY117" fmla="*/ 13244 h 193287"/>
                    <a:gd name="connsiteX118" fmla="*/ 88806 w 193428"/>
                    <a:gd name="connsiteY118" fmla="*/ 15880 h 193287"/>
                    <a:gd name="connsiteX119" fmla="*/ 85121 w 193428"/>
                    <a:gd name="connsiteY119" fmla="*/ 38709 h 193287"/>
                    <a:gd name="connsiteX120" fmla="*/ 75549 w 193428"/>
                    <a:gd name="connsiteY120" fmla="*/ 48664 h 193287"/>
                    <a:gd name="connsiteX121" fmla="*/ 61780 w 193428"/>
                    <a:gd name="connsiteY121" fmla="*/ 47487 h 193287"/>
                    <a:gd name="connsiteX122" fmla="*/ 47244 w 193428"/>
                    <a:gd name="connsiteY122" fmla="*/ 36252 h 193287"/>
                    <a:gd name="connsiteX123" fmla="*/ 45427 w 193428"/>
                    <a:gd name="connsiteY123" fmla="*/ 34358 h 193287"/>
                    <a:gd name="connsiteX124" fmla="*/ 39566 w 193428"/>
                    <a:gd name="connsiteY124" fmla="*/ 39604 h 193287"/>
                    <a:gd name="connsiteX125" fmla="*/ 34320 w 193428"/>
                    <a:gd name="connsiteY125" fmla="*/ 45465 h 193287"/>
                    <a:gd name="connsiteX126" fmla="*/ 36213 w 193428"/>
                    <a:gd name="connsiteY126" fmla="*/ 47282 h 193287"/>
                    <a:gd name="connsiteX127" fmla="*/ 47449 w 193428"/>
                    <a:gd name="connsiteY127" fmla="*/ 61793 h 193287"/>
                    <a:gd name="connsiteX128" fmla="*/ 48626 w 193428"/>
                    <a:gd name="connsiteY128" fmla="*/ 75588 h 193287"/>
                    <a:gd name="connsiteX129" fmla="*/ 38670 w 193428"/>
                    <a:gd name="connsiteY129" fmla="*/ 85134 h 193287"/>
                    <a:gd name="connsiteX130" fmla="*/ 13231 w 193428"/>
                    <a:gd name="connsiteY130" fmla="*/ 88768 h 193287"/>
                    <a:gd name="connsiteX131" fmla="*/ 12796 w 193428"/>
                    <a:gd name="connsiteY131" fmla="*/ 96625 h 193287"/>
                    <a:gd name="connsiteX132" fmla="*/ 12873 w 193428"/>
                    <a:gd name="connsiteY132" fmla="*/ 99747 h 193287"/>
                    <a:gd name="connsiteX133" fmla="*/ 15867 w 193428"/>
                    <a:gd name="connsiteY133" fmla="*/ 99670 h 193287"/>
                    <a:gd name="connsiteX134" fmla="*/ 43994 w 193428"/>
                    <a:gd name="connsiteY134" fmla="*/ 105352 h 193287"/>
                    <a:gd name="connsiteX135" fmla="*/ 52490 w 193428"/>
                    <a:gd name="connsiteY135" fmla="*/ 125468 h 193287"/>
                    <a:gd name="connsiteX136" fmla="*/ 36213 w 193428"/>
                    <a:gd name="connsiteY136" fmla="*/ 150420 h 193287"/>
                    <a:gd name="connsiteX137" fmla="*/ 34320 w 193428"/>
                    <a:gd name="connsiteY137" fmla="*/ 152237 h 193287"/>
                    <a:gd name="connsiteX138" fmla="*/ 39566 w 193428"/>
                    <a:gd name="connsiteY138" fmla="*/ 158072 h 193287"/>
                    <a:gd name="connsiteX139" fmla="*/ 41844 w 193428"/>
                    <a:gd name="connsiteY139" fmla="*/ 160248 h 193287"/>
                    <a:gd name="connsiteX140" fmla="*/ 43891 w 193428"/>
                    <a:gd name="connsiteY140" fmla="*/ 158098 h 193287"/>
                    <a:gd name="connsiteX141" fmla="*/ 63956 w 193428"/>
                    <a:gd name="connsiteY141" fmla="*/ 143868 h 193287"/>
                    <a:gd name="connsiteX142" fmla="*/ 77673 w 193428"/>
                    <a:gd name="connsiteY142" fmla="*/ 143766 h 193287"/>
                    <a:gd name="connsiteX143" fmla="*/ 86426 w 193428"/>
                    <a:gd name="connsiteY143" fmla="*/ 154259 h 193287"/>
                    <a:gd name="connsiteX144" fmla="*/ 88781 w 193428"/>
                    <a:gd name="connsiteY144" fmla="*/ 172583 h 193287"/>
                    <a:gd name="connsiteX145" fmla="*/ 88499 w 193428"/>
                    <a:gd name="connsiteY145" fmla="*/ 179954 h 193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193428" h="193287">
                      <a:moveTo>
                        <a:pt x="96689" y="193288"/>
                      </a:moveTo>
                      <a:cubicBezTo>
                        <a:pt x="91391" y="193288"/>
                        <a:pt x="85965" y="192801"/>
                        <a:pt x="80079" y="191778"/>
                      </a:cubicBezTo>
                      <a:cubicBezTo>
                        <a:pt x="78364" y="191470"/>
                        <a:pt x="76854" y="190524"/>
                        <a:pt x="75882" y="189091"/>
                      </a:cubicBezTo>
                      <a:cubicBezTo>
                        <a:pt x="74884" y="187657"/>
                        <a:pt x="74525" y="185891"/>
                        <a:pt x="74858" y="184202"/>
                      </a:cubicBezTo>
                      <a:cubicBezTo>
                        <a:pt x="75626" y="180338"/>
                        <a:pt x="76010" y="176448"/>
                        <a:pt x="76010" y="172609"/>
                      </a:cubicBezTo>
                      <a:cubicBezTo>
                        <a:pt x="76010" y="167490"/>
                        <a:pt x="75370" y="162423"/>
                        <a:pt x="74065" y="157535"/>
                      </a:cubicBezTo>
                      <a:cubicBezTo>
                        <a:pt x="73732" y="156281"/>
                        <a:pt x="72862" y="155718"/>
                        <a:pt x="72350" y="155488"/>
                      </a:cubicBezTo>
                      <a:cubicBezTo>
                        <a:pt x="71838" y="155257"/>
                        <a:pt x="70815" y="154950"/>
                        <a:pt x="69612" y="155513"/>
                      </a:cubicBezTo>
                      <a:cubicBezTo>
                        <a:pt x="63495" y="158431"/>
                        <a:pt x="57942" y="162372"/>
                        <a:pt x="53105" y="167209"/>
                      </a:cubicBezTo>
                      <a:cubicBezTo>
                        <a:pt x="51415" y="168924"/>
                        <a:pt x="49675" y="170920"/>
                        <a:pt x="47858" y="173325"/>
                      </a:cubicBezTo>
                      <a:cubicBezTo>
                        <a:pt x="46809" y="174708"/>
                        <a:pt x="45248" y="175603"/>
                        <a:pt x="43533" y="175808"/>
                      </a:cubicBezTo>
                      <a:cubicBezTo>
                        <a:pt x="41818" y="176013"/>
                        <a:pt x="40078" y="175526"/>
                        <a:pt x="38722" y="174451"/>
                      </a:cubicBezTo>
                      <a:cubicBezTo>
                        <a:pt x="35650" y="171995"/>
                        <a:pt x="32963" y="169615"/>
                        <a:pt x="30558" y="167209"/>
                      </a:cubicBezTo>
                      <a:cubicBezTo>
                        <a:pt x="27077" y="163728"/>
                        <a:pt x="23724" y="159736"/>
                        <a:pt x="20346" y="155027"/>
                      </a:cubicBezTo>
                      <a:cubicBezTo>
                        <a:pt x="18324" y="152212"/>
                        <a:pt x="18887" y="148322"/>
                        <a:pt x="21600" y="146197"/>
                      </a:cubicBezTo>
                      <a:cubicBezTo>
                        <a:pt x="23852" y="144431"/>
                        <a:pt x="25618" y="142896"/>
                        <a:pt x="27179" y="141335"/>
                      </a:cubicBezTo>
                      <a:cubicBezTo>
                        <a:pt x="33040" y="135474"/>
                        <a:pt x="37570" y="128564"/>
                        <a:pt x="40564" y="120810"/>
                      </a:cubicBezTo>
                      <a:cubicBezTo>
                        <a:pt x="41076" y="119479"/>
                        <a:pt x="40385" y="117815"/>
                        <a:pt x="39054" y="117252"/>
                      </a:cubicBezTo>
                      <a:cubicBezTo>
                        <a:pt x="31709" y="114156"/>
                        <a:pt x="23903" y="112594"/>
                        <a:pt x="15918" y="112594"/>
                      </a:cubicBezTo>
                      <a:cubicBezTo>
                        <a:pt x="13538" y="112594"/>
                        <a:pt x="11005" y="112799"/>
                        <a:pt x="7883" y="113209"/>
                      </a:cubicBezTo>
                      <a:cubicBezTo>
                        <a:pt x="6168" y="113439"/>
                        <a:pt x="4427" y="112978"/>
                        <a:pt x="3071" y="111903"/>
                      </a:cubicBezTo>
                      <a:cubicBezTo>
                        <a:pt x="1715" y="110828"/>
                        <a:pt x="819" y="109267"/>
                        <a:pt x="640" y="107553"/>
                      </a:cubicBezTo>
                      <a:cubicBezTo>
                        <a:pt x="205" y="103688"/>
                        <a:pt x="0" y="100105"/>
                        <a:pt x="0" y="96676"/>
                      </a:cubicBezTo>
                      <a:cubicBezTo>
                        <a:pt x="0" y="91711"/>
                        <a:pt x="461" y="86515"/>
                        <a:pt x="1408" y="80834"/>
                      </a:cubicBezTo>
                      <a:cubicBezTo>
                        <a:pt x="1971" y="77430"/>
                        <a:pt x="5093" y="75024"/>
                        <a:pt x="8548" y="75485"/>
                      </a:cubicBezTo>
                      <a:cubicBezTo>
                        <a:pt x="11389" y="75818"/>
                        <a:pt x="13743" y="75997"/>
                        <a:pt x="15944" y="75997"/>
                      </a:cubicBezTo>
                      <a:cubicBezTo>
                        <a:pt x="22342" y="75997"/>
                        <a:pt x="28664" y="74973"/>
                        <a:pt x="34729" y="72977"/>
                      </a:cubicBezTo>
                      <a:cubicBezTo>
                        <a:pt x="35957" y="72568"/>
                        <a:pt x="36469" y="71646"/>
                        <a:pt x="36674" y="71109"/>
                      </a:cubicBezTo>
                      <a:cubicBezTo>
                        <a:pt x="36879" y="70597"/>
                        <a:pt x="37109" y="69522"/>
                        <a:pt x="36444" y="68396"/>
                      </a:cubicBezTo>
                      <a:cubicBezTo>
                        <a:pt x="33910" y="64071"/>
                        <a:pt x="30788" y="60053"/>
                        <a:pt x="27205" y="56444"/>
                      </a:cubicBezTo>
                      <a:cubicBezTo>
                        <a:pt x="25644" y="54883"/>
                        <a:pt x="23878" y="53322"/>
                        <a:pt x="21626" y="51582"/>
                      </a:cubicBezTo>
                      <a:cubicBezTo>
                        <a:pt x="18913" y="49457"/>
                        <a:pt x="18350" y="45568"/>
                        <a:pt x="20372" y="42752"/>
                      </a:cubicBezTo>
                      <a:cubicBezTo>
                        <a:pt x="23750" y="38043"/>
                        <a:pt x="27102" y="34051"/>
                        <a:pt x="30583" y="30545"/>
                      </a:cubicBezTo>
                      <a:cubicBezTo>
                        <a:pt x="34089" y="27039"/>
                        <a:pt x="38082" y="23686"/>
                        <a:pt x="42791" y="20333"/>
                      </a:cubicBezTo>
                      <a:cubicBezTo>
                        <a:pt x="45606" y="18311"/>
                        <a:pt x="49522" y="18875"/>
                        <a:pt x="51646" y="21613"/>
                      </a:cubicBezTo>
                      <a:cubicBezTo>
                        <a:pt x="53335" y="23788"/>
                        <a:pt x="54947" y="25631"/>
                        <a:pt x="56508" y="27192"/>
                      </a:cubicBezTo>
                      <a:cubicBezTo>
                        <a:pt x="60091" y="30775"/>
                        <a:pt x="64109" y="33872"/>
                        <a:pt x="68460" y="36431"/>
                      </a:cubicBezTo>
                      <a:cubicBezTo>
                        <a:pt x="69586" y="37096"/>
                        <a:pt x="70635" y="36866"/>
                        <a:pt x="71173" y="36661"/>
                      </a:cubicBezTo>
                      <a:cubicBezTo>
                        <a:pt x="71685" y="36457"/>
                        <a:pt x="72632" y="35945"/>
                        <a:pt x="73041" y="34716"/>
                      </a:cubicBezTo>
                      <a:cubicBezTo>
                        <a:pt x="75037" y="28676"/>
                        <a:pt x="76061" y="22355"/>
                        <a:pt x="76061" y="15931"/>
                      </a:cubicBezTo>
                      <a:cubicBezTo>
                        <a:pt x="76061" y="13705"/>
                        <a:pt x="75907" y="11273"/>
                        <a:pt x="75549" y="8561"/>
                      </a:cubicBezTo>
                      <a:cubicBezTo>
                        <a:pt x="75114" y="5131"/>
                        <a:pt x="77469" y="1983"/>
                        <a:pt x="80898" y="1420"/>
                      </a:cubicBezTo>
                      <a:cubicBezTo>
                        <a:pt x="92338" y="-473"/>
                        <a:pt x="101167" y="-473"/>
                        <a:pt x="112607" y="1420"/>
                      </a:cubicBezTo>
                      <a:cubicBezTo>
                        <a:pt x="116011" y="1983"/>
                        <a:pt x="118391" y="5131"/>
                        <a:pt x="117956" y="8561"/>
                      </a:cubicBezTo>
                      <a:cubicBezTo>
                        <a:pt x="117623" y="11299"/>
                        <a:pt x="117444" y="13705"/>
                        <a:pt x="117444" y="15931"/>
                      </a:cubicBezTo>
                      <a:cubicBezTo>
                        <a:pt x="117444" y="23123"/>
                        <a:pt x="118698" y="30161"/>
                        <a:pt x="121181" y="36815"/>
                      </a:cubicBezTo>
                      <a:cubicBezTo>
                        <a:pt x="121590" y="37941"/>
                        <a:pt x="122460" y="38427"/>
                        <a:pt x="122921" y="38606"/>
                      </a:cubicBezTo>
                      <a:cubicBezTo>
                        <a:pt x="123433" y="38811"/>
                        <a:pt x="124457" y="39041"/>
                        <a:pt x="125608" y="38478"/>
                      </a:cubicBezTo>
                      <a:cubicBezTo>
                        <a:pt x="131469" y="35586"/>
                        <a:pt x="136792" y="31773"/>
                        <a:pt x="141424" y="27141"/>
                      </a:cubicBezTo>
                      <a:cubicBezTo>
                        <a:pt x="143011" y="25580"/>
                        <a:pt x="144598" y="23737"/>
                        <a:pt x="146287" y="21562"/>
                      </a:cubicBezTo>
                      <a:cubicBezTo>
                        <a:pt x="148411" y="18823"/>
                        <a:pt x="152301" y="18260"/>
                        <a:pt x="155142" y="20282"/>
                      </a:cubicBezTo>
                      <a:cubicBezTo>
                        <a:pt x="159825" y="23635"/>
                        <a:pt x="163818" y="26987"/>
                        <a:pt x="167324" y="30493"/>
                      </a:cubicBezTo>
                      <a:cubicBezTo>
                        <a:pt x="169755" y="32925"/>
                        <a:pt x="172110" y="35586"/>
                        <a:pt x="174567" y="38657"/>
                      </a:cubicBezTo>
                      <a:cubicBezTo>
                        <a:pt x="175642" y="40014"/>
                        <a:pt x="176128" y="41729"/>
                        <a:pt x="175923" y="43469"/>
                      </a:cubicBezTo>
                      <a:cubicBezTo>
                        <a:pt x="175718" y="45184"/>
                        <a:pt x="174823" y="46745"/>
                        <a:pt x="173441" y="47794"/>
                      </a:cubicBezTo>
                      <a:cubicBezTo>
                        <a:pt x="170958" y="49688"/>
                        <a:pt x="169013" y="51351"/>
                        <a:pt x="167324" y="53066"/>
                      </a:cubicBezTo>
                      <a:cubicBezTo>
                        <a:pt x="162871" y="57519"/>
                        <a:pt x="159160" y="62663"/>
                        <a:pt x="156294" y="68319"/>
                      </a:cubicBezTo>
                      <a:cubicBezTo>
                        <a:pt x="155731" y="69445"/>
                        <a:pt x="155987" y="70444"/>
                        <a:pt x="156191" y="70930"/>
                      </a:cubicBezTo>
                      <a:cubicBezTo>
                        <a:pt x="156396" y="71441"/>
                        <a:pt x="156934" y="72337"/>
                        <a:pt x="158136" y="72772"/>
                      </a:cubicBezTo>
                      <a:cubicBezTo>
                        <a:pt x="164355" y="74897"/>
                        <a:pt x="170856" y="75997"/>
                        <a:pt x="177484" y="75997"/>
                      </a:cubicBezTo>
                      <a:cubicBezTo>
                        <a:pt x="179711" y="75997"/>
                        <a:pt x="182040" y="75844"/>
                        <a:pt x="184881" y="75485"/>
                      </a:cubicBezTo>
                      <a:cubicBezTo>
                        <a:pt x="188361" y="75024"/>
                        <a:pt x="191458" y="77405"/>
                        <a:pt x="192021" y="80834"/>
                      </a:cubicBezTo>
                      <a:cubicBezTo>
                        <a:pt x="192968" y="86541"/>
                        <a:pt x="193429" y="91711"/>
                        <a:pt x="193429" y="96676"/>
                      </a:cubicBezTo>
                      <a:cubicBezTo>
                        <a:pt x="193429" y="100131"/>
                        <a:pt x="193224" y="103688"/>
                        <a:pt x="192789" y="107553"/>
                      </a:cubicBezTo>
                      <a:cubicBezTo>
                        <a:pt x="192584" y="109267"/>
                        <a:pt x="191714" y="110854"/>
                        <a:pt x="190357" y="111903"/>
                      </a:cubicBezTo>
                      <a:cubicBezTo>
                        <a:pt x="189001" y="112978"/>
                        <a:pt x="187235" y="113439"/>
                        <a:pt x="185546" y="113209"/>
                      </a:cubicBezTo>
                      <a:cubicBezTo>
                        <a:pt x="182424" y="112799"/>
                        <a:pt x="179890" y="112594"/>
                        <a:pt x="177510" y="112594"/>
                      </a:cubicBezTo>
                      <a:cubicBezTo>
                        <a:pt x="170446" y="112594"/>
                        <a:pt x="163536" y="113823"/>
                        <a:pt x="156934" y="116228"/>
                      </a:cubicBezTo>
                      <a:cubicBezTo>
                        <a:pt x="156089" y="116536"/>
                        <a:pt x="155372" y="117201"/>
                        <a:pt x="155040" y="118020"/>
                      </a:cubicBezTo>
                      <a:cubicBezTo>
                        <a:pt x="154835" y="118506"/>
                        <a:pt x="154656" y="119274"/>
                        <a:pt x="155040" y="120093"/>
                      </a:cubicBezTo>
                      <a:cubicBezTo>
                        <a:pt x="158034" y="126773"/>
                        <a:pt x="162180" y="132787"/>
                        <a:pt x="167375" y="137982"/>
                      </a:cubicBezTo>
                      <a:cubicBezTo>
                        <a:pt x="170063" y="140669"/>
                        <a:pt x="173108" y="143152"/>
                        <a:pt x="176384" y="145378"/>
                      </a:cubicBezTo>
                      <a:cubicBezTo>
                        <a:pt x="177817" y="146351"/>
                        <a:pt x="178815" y="147835"/>
                        <a:pt x="179122" y="149550"/>
                      </a:cubicBezTo>
                      <a:cubicBezTo>
                        <a:pt x="179429" y="151239"/>
                        <a:pt x="179045" y="153005"/>
                        <a:pt x="178047" y="154438"/>
                      </a:cubicBezTo>
                      <a:cubicBezTo>
                        <a:pt x="174618" y="159301"/>
                        <a:pt x="171137" y="163498"/>
                        <a:pt x="167375" y="167260"/>
                      </a:cubicBezTo>
                      <a:cubicBezTo>
                        <a:pt x="163664" y="170971"/>
                        <a:pt x="159467" y="174477"/>
                        <a:pt x="154553" y="177932"/>
                      </a:cubicBezTo>
                      <a:cubicBezTo>
                        <a:pt x="153120" y="178930"/>
                        <a:pt x="151354" y="179288"/>
                        <a:pt x="149665" y="179007"/>
                      </a:cubicBezTo>
                      <a:cubicBezTo>
                        <a:pt x="147951" y="178700"/>
                        <a:pt x="146466" y="177702"/>
                        <a:pt x="145494" y="176269"/>
                      </a:cubicBezTo>
                      <a:cubicBezTo>
                        <a:pt x="143293" y="172993"/>
                        <a:pt x="140810" y="169973"/>
                        <a:pt x="138097" y="167260"/>
                      </a:cubicBezTo>
                      <a:cubicBezTo>
                        <a:pt x="133798" y="162986"/>
                        <a:pt x="128910" y="159378"/>
                        <a:pt x="123561" y="156588"/>
                      </a:cubicBezTo>
                      <a:cubicBezTo>
                        <a:pt x="122409" y="155999"/>
                        <a:pt x="121385" y="156281"/>
                        <a:pt x="120874" y="156537"/>
                      </a:cubicBezTo>
                      <a:cubicBezTo>
                        <a:pt x="120362" y="156767"/>
                        <a:pt x="119440" y="157356"/>
                        <a:pt x="119159" y="158584"/>
                      </a:cubicBezTo>
                      <a:cubicBezTo>
                        <a:pt x="118058" y="163165"/>
                        <a:pt x="117495" y="167900"/>
                        <a:pt x="117495" y="172660"/>
                      </a:cubicBezTo>
                      <a:cubicBezTo>
                        <a:pt x="117495" y="176473"/>
                        <a:pt x="117879" y="180363"/>
                        <a:pt x="118647" y="184254"/>
                      </a:cubicBezTo>
                      <a:cubicBezTo>
                        <a:pt x="118980" y="185943"/>
                        <a:pt x="118621" y="187708"/>
                        <a:pt x="117623" y="189142"/>
                      </a:cubicBezTo>
                      <a:cubicBezTo>
                        <a:pt x="116651" y="190575"/>
                        <a:pt x="115115" y="191547"/>
                        <a:pt x="113426" y="191829"/>
                      </a:cubicBezTo>
                      <a:cubicBezTo>
                        <a:pt x="107412" y="192801"/>
                        <a:pt x="101986" y="193288"/>
                        <a:pt x="96689" y="193288"/>
                      </a:cubicBezTo>
                      <a:close/>
                      <a:moveTo>
                        <a:pt x="88499" y="179954"/>
                      </a:moveTo>
                      <a:cubicBezTo>
                        <a:pt x="94129" y="180542"/>
                        <a:pt x="99222" y="180542"/>
                        <a:pt x="104853" y="179954"/>
                      </a:cubicBezTo>
                      <a:cubicBezTo>
                        <a:pt x="104597" y="177497"/>
                        <a:pt x="104469" y="175040"/>
                        <a:pt x="104469" y="172609"/>
                      </a:cubicBezTo>
                      <a:cubicBezTo>
                        <a:pt x="104469" y="166825"/>
                        <a:pt x="105160" y="161067"/>
                        <a:pt x="106491" y="155513"/>
                      </a:cubicBezTo>
                      <a:cubicBezTo>
                        <a:pt x="107642" y="150702"/>
                        <a:pt x="110893" y="146786"/>
                        <a:pt x="115397" y="144738"/>
                      </a:cubicBezTo>
                      <a:cubicBezTo>
                        <a:pt x="119927" y="142691"/>
                        <a:pt x="124994" y="142819"/>
                        <a:pt x="129370" y="145097"/>
                      </a:cubicBezTo>
                      <a:cubicBezTo>
                        <a:pt x="135896" y="148475"/>
                        <a:pt x="141834" y="152851"/>
                        <a:pt x="147080" y="158072"/>
                      </a:cubicBezTo>
                      <a:cubicBezTo>
                        <a:pt x="148795" y="159813"/>
                        <a:pt x="150459" y="161630"/>
                        <a:pt x="152020" y="163549"/>
                      </a:cubicBezTo>
                      <a:cubicBezTo>
                        <a:pt x="154246" y="161758"/>
                        <a:pt x="156268" y="159941"/>
                        <a:pt x="158111" y="158098"/>
                      </a:cubicBezTo>
                      <a:cubicBezTo>
                        <a:pt x="160005" y="156204"/>
                        <a:pt x="161822" y="154182"/>
                        <a:pt x="163588" y="151981"/>
                      </a:cubicBezTo>
                      <a:cubicBezTo>
                        <a:pt x="161668" y="150420"/>
                        <a:pt x="159825" y="148782"/>
                        <a:pt x="158111" y="147042"/>
                      </a:cubicBezTo>
                      <a:cubicBezTo>
                        <a:pt x="151815" y="140746"/>
                        <a:pt x="146773" y="133427"/>
                        <a:pt x="143113" y="125314"/>
                      </a:cubicBezTo>
                      <a:cubicBezTo>
                        <a:pt x="141348" y="121372"/>
                        <a:pt x="141322" y="116996"/>
                        <a:pt x="143037" y="112953"/>
                      </a:cubicBezTo>
                      <a:cubicBezTo>
                        <a:pt x="144777" y="108832"/>
                        <a:pt x="148181" y="105608"/>
                        <a:pt x="152378" y="104072"/>
                      </a:cubicBezTo>
                      <a:cubicBezTo>
                        <a:pt x="161310" y="100822"/>
                        <a:pt x="170370" y="99235"/>
                        <a:pt x="180351" y="99747"/>
                      </a:cubicBezTo>
                      <a:cubicBezTo>
                        <a:pt x="180402" y="98672"/>
                        <a:pt x="180427" y="97648"/>
                        <a:pt x="180427" y="96625"/>
                      </a:cubicBezTo>
                      <a:cubicBezTo>
                        <a:pt x="180427" y="94117"/>
                        <a:pt x="180300" y="91506"/>
                        <a:pt x="179992" y="88768"/>
                      </a:cubicBezTo>
                      <a:cubicBezTo>
                        <a:pt x="170779" y="89152"/>
                        <a:pt x="162231" y="87795"/>
                        <a:pt x="153837" y="84903"/>
                      </a:cubicBezTo>
                      <a:cubicBezTo>
                        <a:pt x="149409" y="83393"/>
                        <a:pt x="145878" y="80041"/>
                        <a:pt x="144112" y="75741"/>
                      </a:cubicBezTo>
                      <a:cubicBezTo>
                        <a:pt x="142371" y="71441"/>
                        <a:pt x="142576" y="66605"/>
                        <a:pt x="144649" y="62459"/>
                      </a:cubicBezTo>
                      <a:cubicBezTo>
                        <a:pt x="148130" y="55574"/>
                        <a:pt x="152634" y="49330"/>
                        <a:pt x="158085" y="43904"/>
                      </a:cubicBezTo>
                      <a:cubicBezTo>
                        <a:pt x="158776" y="43213"/>
                        <a:pt x="159493" y="42522"/>
                        <a:pt x="160261" y="41857"/>
                      </a:cubicBezTo>
                      <a:cubicBezTo>
                        <a:pt x="159544" y="41063"/>
                        <a:pt x="158827" y="40321"/>
                        <a:pt x="158085" y="39604"/>
                      </a:cubicBezTo>
                      <a:cubicBezTo>
                        <a:pt x="156294" y="37839"/>
                        <a:pt x="154374" y="36098"/>
                        <a:pt x="152224" y="34358"/>
                      </a:cubicBezTo>
                      <a:cubicBezTo>
                        <a:pt x="151610" y="35023"/>
                        <a:pt x="151022" y="35638"/>
                        <a:pt x="150407" y="36252"/>
                      </a:cubicBezTo>
                      <a:cubicBezTo>
                        <a:pt x="144803" y="41882"/>
                        <a:pt x="138328" y="46514"/>
                        <a:pt x="131162" y="50046"/>
                      </a:cubicBezTo>
                      <a:cubicBezTo>
                        <a:pt x="127067" y="52068"/>
                        <a:pt x="122281" y="52273"/>
                        <a:pt x="118033" y="50558"/>
                      </a:cubicBezTo>
                      <a:cubicBezTo>
                        <a:pt x="113836" y="48895"/>
                        <a:pt x="110560" y="45516"/>
                        <a:pt x="108973" y="41293"/>
                      </a:cubicBezTo>
                      <a:cubicBezTo>
                        <a:pt x="105953" y="33181"/>
                        <a:pt x="104418" y="24633"/>
                        <a:pt x="104418" y="15880"/>
                      </a:cubicBezTo>
                      <a:cubicBezTo>
                        <a:pt x="104418" y="15036"/>
                        <a:pt x="104443" y="14140"/>
                        <a:pt x="104469" y="13244"/>
                      </a:cubicBezTo>
                      <a:cubicBezTo>
                        <a:pt x="98966" y="12681"/>
                        <a:pt x="94257" y="12681"/>
                        <a:pt x="88755" y="13244"/>
                      </a:cubicBezTo>
                      <a:cubicBezTo>
                        <a:pt x="88781" y="14140"/>
                        <a:pt x="88806" y="15010"/>
                        <a:pt x="88806" y="15880"/>
                      </a:cubicBezTo>
                      <a:cubicBezTo>
                        <a:pt x="88806" y="23686"/>
                        <a:pt x="87578" y="31364"/>
                        <a:pt x="85121" y="38709"/>
                      </a:cubicBezTo>
                      <a:cubicBezTo>
                        <a:pt x="83585" y="43315"/>
                        <a:pt x="80105" y="46949"/>
                        <a:pt x="75549" y="48664"/>
                      </a:cubicBezTo>
                      <a:cubicBezTo>
                        <a:pt x="70994" y="50379"/>
                        <a:pt x="65978" y="49944"/>
                        <a:pt x="61780" y="47487"/>
                      </a:cubicBezTo>
                      <a:cubicBezTo>
                        <a:pt x="56483" y="44390"/>
                        <a:pt x="51620" y="40603"/>
                        <a:pt x="47244" y="36252"/>
                      </a:cubicBezTo>
                      <a:cubicBezTo>
                        <a:pt x="46630" y="35638"/>
                        <a:pt x="46041" y="35023"/>
                        <a:pt x="45427" y="34358"/>
                      </a:cubicBezTo>
                      <a:cubicBezTo>
                        <a:pt x="43277" y="36098"/>
                        <a:pt x="41357" y="37839"/>
                        <a:pt x="39566" y="39604"/>
                      </a:cubicBezTo>
                      <a:cubicBezTo>
                        <a:pt x="37800" y="41370"/>
                        <a:pt x="36060" y="43315"/>
                        <a:pt x="34320" y="45465"/>
                      </a:cubicBezTo>
                      <a:cubicBezTo>
                        <a:pt x="34985" y="46079"/>
                        <a:pt x="35599" y="46668"/>
                        <a:pt x="36213" y="47282"/>
                      </a:cubicBezTo>
                      <a:cubicBezTo>
                        <a:pt x="40564" y="51633"/>
                        <a:pt x="44352" y="56521"/>
                        <a:pt x="47449" y="61793"/>
                      </a:cubicBezTo>
                      <a:cubicBezTo>
                        <a:pt x="49905" y="65990"/>
                        <a:pt x="50340" y="71007"/>
                        <a:pt x="48626" y="75588"/>
                      </a:cubicBezTo>
                      <a:cubicBezTo>
                        <a:pt x="46911" y="80143"/>
                        <a:pt x="43277" y="83623"/>
                        <a:pt x="38670" y="85134"/>
                      </a:cubicBezTo>
                      <a:cubicBezTo>
                        <a:pt x="30506" y="87846"/>
                        <a:pt x="22163" y="89100"/>
                        <a:pt x="13231" y="88768"/>
                      </a:cubicBezTo>
                      <a:cubicBezTo>
                        <a:pt x="12950" y="91506"/>
                        <a:pt x="12796" y="94117"/>
                        <a:pt x="12796" y="96625"/>
                      </a:cubicBezTo>
                      <a:cubicBezTo>
                        <a:pt x="12796" y="97648"/>
                        <a:pt x="12822" y="98698"/>
                        <a:pt x="12873" y="99747"/>
                      </a:cubicBezTo>
                      <a:cubicBezTo>
                        <a:pt x="13897" y="99696"/>
                        <a:pt x="14869" y="99670"/>
                        <a:pt x="15867" y="99670"/>
                      </a:cubicBezTo>
                      <a:cubicBezTo>
                        <a:pt x="25567" y="99670"/>
                        <a:pt x="35036" y="101589"/>
                        <a:pt x="43994" y="105352"/>
                      </a:cubicBezTo>
                      <a:cubicBezTo>
                        <a:pt x="51722" y="108627"/>
                        <a:pt x="55561" y="117636"/>
                        <a:pt x="52490" y="125468"/>
                      </a:cubicBezTo>
                      <a:cubicBezTo>
                        <a:pt x="48831" y="134885"/>
                        <a:pt x="43354" y="143280"/>
                        <a:pt x="36213" y="150420"/>
                      </a:cubicBezTo>
                      <a:cubicBezTo>
                        <a:pt x="35599" y="151034"/>
                        <a:pt x="34985" y="151623"/>
                        <a:pt x="34320" y="152237"/>
                      </a:cubicBezTo>
                      <a:cubicBezTo>
                        <a:pt x="36060" y="154387"/>
                        <a:pt x="37800" y="156306"/>
                        <a:pt x="39566" y="158072"/>
                      </a:cubicBezTo>
                      <a:cubicBezTo>
                        <a:pt x="40283" y="158789"/>
                        <a:pt x="41050" y="159531"/>
                        <a:pt x="41844" y="160248"/>
                      </a:cubicBezTo>
                      <a:cubicBezTo>
                        <a:pt x="42535" y="159480"/>
                        <a:pt x="43200" y="158763"/>
                        <a:pt x="43891" y="158098"/>
                      </a:cubicBezTo>
                      <a:cubicBezTo>
                        <a:pt x="49778" y="152212"/>
                        <a:pt x="56534" y="147426"/>
                        <a:pt x="63956" y="143868"/>
                      </a:cubicBezTo>
                      <a:cubicBezTo>
                        <a:pt x="68307" y="141770"/>
                        <a:pt x="73297" y="141744"/>
                        <a:pt x="77673" y="143766"/>
                      </a:cubicBezTo>
                      <a:cubicBezTo>
                        <a:pt x="82024" y="145788"/>
                        <a:pt x="85223" y="149601"/>
                        <a:pt x="86426" y="154259"/>
                      </a:cubicBezTo>
                      <a:cubicBezTo>
                        <a:pt x="87987" y="160222"/>
                        <a:pt x="88781" y="166390"/>
                        <a:pt x="88781" y="172583"/>
                      </a:cubicBezTo>
                      <a:cubicBezTo>
                        <a:pt x="88883" y="175040"/>
                        <a:pt x="88755" y="177497"/>
                        <a:pt x="88499" y="179954"/>
                      </a:cubicBezTo>
                      <a:close/>
                    </a:path>
                  </a:pathLst>
                </a:custGeom>
                <a:solidFill>
                  <a:schemeClr val="accent1"/>
                </a:solidFill>
                <a:ln w="2558" cap="flat">
                  <a:noFill/>
                  <a:prstDash val="solid"/>
                  <a:miter/>
                </a:ln>
              </p:spPr>
              <p:txBody>
                <a:bodyPr rtlCol="0" anchor="ctr"/>
                <a:lstStyle/>
                <a:p>
                  <a:endParaRPr lang="en-GB" dirty="0"/>
                </a:p>
              </p:txBody>
            </p:sp>
          </p:grpSp>
          <p:grpSp>
            <p:nvGrpSpPr>
              <p:cNvPr id="133" name="Grafik 295">
                <a:extLst>
                  <a:ext uri="{FF2B5EF4-FFF2-40B4-BE49-F238E27FC236}">
                    <a16:creationId xmlns:a16="http://schemas.microsoft.com/office/drawing/2014/main" id="{737A1E05-9FD3-4100-A3E6-E9C3DDCAD8D4}"/>
                  </a:ext>
                </a:extLst>
              </p:cNvPr>
              <p:cNvGrpSpPr/>
              <p:nvPr/>
            </p:nvGrpSpPr>
            <p:grpSpPr>
              <a:xfrm>
                <a:off x="6933863" y="4043558"/>
                <a:ext cx="210281" cy="210223"/>
                <a:chOff x="6933863" y="4043558"/>
                <a:chExt cx="210281" cy="210223"/>
              </a:xfrm>
              <a:solidFill>
                <a:schemeClr val="accent1"/>
              </a:solidFill>
            </p:grpSpPr>
            <p:sp>
              <p:nvSpPr>
                <p:cNvPr id="134" name="Freihandform: Form 940">
                  <a:extLst>
                    <a:ext uri="{FF2B5EF4-FFF2-40B4-BE49-F238E27FC236}">
                      <a16:creationId xmlns:a16="http://schemas.microsoft.com/office/drawing/2014/main" id="{DB390582-1A1E-41F7-9991-AF3C9790272D}"/>
                    </a:ext>
                  </a:extLst>
                </p:cNvPr>
                <p:cNvSpPr/>
                <p:nvPr/>
              </p:nvSpPr>
              <p:spPr>
                <a:xfrm>
                  <a:off x="6983999" y="4093693"/>
                  <a:ext cx="64448" cy="64397"/>
                </a:xfrm>
                <a:custGeom>
                  <a:avLst/>
                  <a:gdLst>
                    <a:gd name="connsiteX0" fmla="*/ 32202 w 64448"/>
                    <a:gd name="connsiteY0" fmla="*/ 64397 h 64397"/>
                    <a:gd name="connsiteX1" fmla="*/ 9424 w 64448"/>
                    <a:gd name="connsiteY1" fmla="*/ 54979 h 64397"/>
                    <a:gd name="connsiteX2" fmla="*/ 9424 w 64448"/>
                    <a:gd name="connsiteY2" fmla="*/ 9424 h 64397"/>
                    <a:gd name="connsiteX3" fmla="*/ 55005 w 64448"/>
                    <a:gd name="connsiteY3" fmla="*/ 9424 h 64397"/>
                    <a:gd name="connsiteX4" fmla="*/ 55005 w 64448"/>
                    <a:gd name="connsiteY4" fmla="*/ 9424 h 64397"/>
                    <a:gd name="connsiteX5" fmla="*/ 55005 w 64448"/>
                    <a:gd name="connsiteY5" fmla="*/ 9424 h 64397"/>
                    <a:gd name="connsiteX6" fmla="*/ 55005 w 64448"/>
                    <a:gd name="connsiteY6" fmla="*/ 9424 h 64397"/>
                    <a:gd name="connsiteX7" fmla="*/ 64448 w 64448"/>
                    <a:gd name="connsiteY7" fmla="*/ 32202 h 64397"/>
                    <a:gd name="connsiteX8" fmla="*/ 55005 w 64448"/>
                    <a:gd name="connsiteY8" fmla="*/ 54979 h 64397"/>
                    <a:gd name="connsiteX9" fmla="*/ 32202 w 64448"/>
                    <a:gd name="connsiteY9" fmla="*/ 64397 h 64397"/>
                    <a:gd name="connsiteX10" fmla="*/ 32202 w 64448"/>
                    <a:gd name="connsiteY10" fmla="*/ 12854 h 64397"/>
                    <a:gd name="connsiteX11" fmla="*/ 18535 w 64448"/>
                    <a:gd name="connsiteY11" fmla="*/ 18510 h 64397"/>
                    <a:gd name="connsiteX12" fmla="*/ 12879 w 64448"/>
                    <a:gd name="connsiteY12" fmla="*/ 32176 h 64397"/>
                    <a:gd name="connsiteX13" fmla="*/ 18535 w 64448"/>
                    <a:gd name="connsiteY13" fmla="*/ 45843 h 64397"/>
                    <a:gd name="connsiteX14" fmla="*/ 45868 w 64448"/>
                    <a:gd name="connsiteY14" fmla="*/ 45843 h 64397"/>
                    <a:gd name="connsiteX15" fmla="*/ 51524 w 64448"/>
                    <a:gd name="connsiteY15" fmla="*/ 32176 h 64397"/>
                    <a:gd name="connsiteX16" fmla="*/ 45868 w 64448"/>
                    <a:gd name="connsiteY16" fmla="*/ 18510 h 64397"/>
                    <a:gd name="connsiteX17" fmla="*/ 45868 w 64448"/>
                    <a:gd name="connsiteY17" fmla="*/ 18510 h 64397"/>
                    <a:gd name="connsiteX18" fmla="*/ 32202 w 64448"/>
                    <a:gd name="connsiteY18" fmla="*/ 12854 h 6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4448" h="64397">
                      <a:moveTo>
                        <a:pt x="32202" y="64397"/>
                      </a:moveTo>
                      <a:cubicBezTo>
                        <a:pt x="23935" y="64397"/>
                        <a:pt x="15695" y="61249"/>
                        <a:pt x="9424" y="54979"/>
                      </a:cubicBezTo>
                      <a:cubicBezTo>
                        <a:pt x="-3141" y="42413"/>
                        <a:pt x="-3141" y="21965"/>
                        <a:pt x="9424" y="9424"/>
                      </a:cubicBezTo>
                      <a:cubicBezTo>
                        <a:pt x="21990" y="-3141"/>
                        <a:pt x="42439" y="-3141"/>
                        <a:pt x="55005" y="9424"/>
                      </a:cubicBezTo>
                      <a:lnTo>
                        <a:pt x="55005" y="9424"/>
                      </a:lnTo>
                      <a:lnTo>
                        <a:pt x="55005" y="9424"/>
                      </a:lnTo>
                      <a:lnTo>
                        <a:pt x="55005" y="9424"/>
                      </a:lnTo>
                      <a:cubicBezTo>
                        <a:pt x="61096" y="15515"/>
                        <a:pt x="64448" y="23603"/>
                        <a:pt x="64448" y="32202"/>
                      </a:cubicBezTo>
                      <a:cubicBezTo>
                        <a:pt x="64448" y="40801"/>
                        <a:pt x="61096" y="48914"/>
                        <a:pt x="55005" y="54979"/>
                      </a:cubicBezTo>
                      <a:cubicBezTo>
                        <a:pt x="48709" y="61249"/>
                        <a:pt x="40468" y="64397"/>
                        <a:pt x="32202" y="64397"/>
                      </a:cubicBezTo>
                      <a:close/>
                      <a:moveTo>
                        <a:pt x="32202" y="12854"/>
                      </a:moveTo>
                      <a:cubicBezTo>
                        <a:pt x="27237" y="12854"/>
                        <a:pt x="22298" y="14748"/>
                        <a:pt x="18535" y="18510"/>
                      </a:cubicBezTo>
                      <a:cubicBezTo>
                        <a:pt x="14876" y="22170"/>
                        <a:pt x="12879" y="27006"/>
                        <a:pt x="12879" y="32176"/>
                      </a:cubicBezTo>
                      <a:cubicBezTo>
                        <a:pt x="12879" y="37346"/>
                        <a:pt x="14876" y="42208"/>
                        <a:pt x="18535" y="45843"/>
                      </a:cubicBezTo>
                      <a:cubicBezTo>
                        <a:pt x="26060" y="53367"/>
                        <a:pt x="38344" y="53392"/>
                        <a:pt x="45868" y="45843"/>
                      </a:cubicBezTo>
                      <a:cubicBezTo>
                        <a:pt x="49528" y="42183"/>
                        <a:pt x="51524" y="37346"/>
                        <a:pt x="51524" y="32176"/>
                      </a:cubicBezTo>
                      <a:cubicBezTo>
                        <a:pt x="51524" y="27006"/>
                        <a:pt x="49502" y="22144"/>
                        <a:pt x="45868" y="18510"/>
                      </a:cubicBezTo>
                      <a:lnTo>
                        <a:pt x="45868" y="18510"/>
                      </a:lnTo>
                      <a:cubicBezTo>
                        <a:pt x="42106" y="14748"/>
                        <a:pt x="37167" y="12854"/>
                        <a:pt x="32202" y="12854"/>
                      </a:cubicBezTo>
                      <a:close/>
                    </a:path>
                  </a:pathLst>
                </a:custGeom>
                <a:solidFill>
                  <a:schemeClr val="accent1"/>
                </a:solidFill>
                <a:ln w="2558" cap="flat">
                  <a:noFill/>
                  <a:prstDash val="solid"/>
                  <a:miter/>
                </a:ln>
              </p:spPr>
              <p:txBody>
                <a:bodyPr rtlCol="0" anchor="ctr"/>
                <a:lstStyle/>
                <a:p>
                  <a:endParaRPr lang="en-GB" dirty="0"/>
                </a:p>
              </p:txBody>
            </p:sp>
            <p:sp>
              <p:nvSpPr>
                <p:cNvPr id="135" name="Freihandform: Form 941">
                  <a:extLst>
                    <a:ext uri="{FF2B5EF4-FFF2-40B4-BE49-F238E27FC236}">
                      <a16:creationId xmlns:a16="http://schemas.microsoft.com/office/drawing/2014/main" id="{4EC1D7E8-BFF8-44E8-8779-011851C8B80F}"/>
                    </a:ext>
                  </a:extLst>
                </p:cNvPr>
                <p:cNvSpPr/>
                <p:nvPr/>
              </p:nvSpPr>
              <p:spPr>
                <a:xfrm>
                  <a:off x="7079696" y="4043558"/>
                  <a:ext cx="64448" cy="64397"/>
                </a:xfrm>
                <a:custGeom>
                  <a:avLst/>
                  <a:gdLst>
                    <a:gd name="connsiteX0" fmla="*/ 32221 w 64448"/>
                    <a:gd name="connsiteY0" fmla="*/ 64397 h 64397"/>
                    <a:gd name="connsiteX1" fmla="*/ 9444 w 64448"/>
                    <a:gd name="connsiteY1" fmla="*/ 54979 h 64397"/>
                    <a:gd name="connsiteX2" fmla="*/ 0 w 64448"/>
                    <a:gd name="connsiteY2" fmla="*/ 32202 h 64397"/>
                    <a:gd name="connsiteX3" fmla="*/ 9444 w 64448"/>
                    <a:gd name="connsiteY3" fmla="*/ 9425 h 64397"/>
                    <a:gd name="connsiteX4" fmla="*/ 55024 w 64448"/>
                    <a:gd name="connsiteY4" fmla="*/ 9425 h 64397"/>
                    <a:gd name="connsiteX5" fmla="*/ 55024 w 64448"/>
                    <a:gd name="connsiteY5" fmla="*/ 54979 h 64397"/>
                    <a:gd name="connsiteX6" fmla="*/ 32221 w 64448"/>
                    <a:gd name="connsiteY6" fmla="*/ 64397 h 64397"/>
                    <a:gd name="connsiteX7" fmla="*/ 32221 w 64448"/>
                    <a:gd name="connsiteY7" fmla="*/ 12879 h 64397"/>
                    <a:gd name="connsiteX8" fmla="*/ 18555 w 64448"/>
                    <a:gd name="connsiteY8" fmla="*/ 18535 h 64397"/>
                    <a:gd name="connsiteX9" fmla="*/ 12899 w 64448"/>
                    <a:gd name="connsiteY9" fmla="*/ 32202 h 64397"/>
                    <a:gd name="connsiteX10" fmla="*/ 18555 w 64448"/>
                    <a:gd name="connsiteY10" fmla="*/ 45868 h 64397"/>
                    <a:gd name="connsiteX11" fmla="*/ 45913 w 64448"/>
                    <a:gd name="connsiteY11" fmla="*/ 45868 h 64397"/>
                    <a:gd name="connsiteX12" fmla="*/ 51569 w 64448"/>
                    <a:gd name="connsiteY12" fmla="*/ 32202 h 64397"/>
                    <a:gd name="connsiteX13" fmla="*/ 45913 w 64448"/>
                    <a:gd name="connsiteY13" fmla="*/ 18535 h 64397"/>
                    <a:gd name="connsiteX14" fmla="*/ 32221 w 64448"/>
                    <a:gd name="connsiteY14" fmla="*/ 12879 h 64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448" h="64397">
                      <a:moveTo>
                        <a:pt x="32221" y="64397"/>
                      </a:moveTo>
                      <a:cubicBezTo>
                        <a:pt x="23955" y="64397"/>
                        <a:pt x="15714" y="61249"/>
                        <a:pt x="9444" y="54979"/>
                      </a:cubicBezTo>
                      <a:cubicBezTo>
                        <a:pt x="3353" y="48888"/>
                        <a:pt x="0" y="40801"/>
                        <a:pt x="0" y="32202"/>
                      </a:cubicBezTo>
                      <a:cubicBezTo>
                        <a:pt x="0" y="23603"/>
                        <a:pt x="3353" y="15490"/>
                        <a:pt x="9444" y="9425"/>
                      </a:cubicBezTo>
                      <a:cubicBezTo>
                        <a:pt x="22010" y="-3142"/>
                        <a:pt x="42458" y="-3142"/>
                        <a:pt x="55024" y="9425"/>
                      </a:cubicBezTo>
                      <a:cubicBezTo>
                        <a:pt x="67590" y="21990"/>
                        <a:pt x="67590" y="42439"/>
                        <a:pt x="55024" y="54979"/>
                      </a:cubicBezTo>
                      <a:cubicBezTo>
                        <a:pt x="48728" y="61249"/>
                        <a:pt x="40462" y="64397"/>
                        <a:pt x="32221" y="64397"/>
                      </a:cubicBezTo>
                      <a:close/>
                      <a:moveTo>
                        <a:pt x="32221" y="12879"/>
                      </a:moveTo>
                      <a:cubicBezTo>
                        <a:pt x="27282" y="12879"/>
                        <a:pt x="22317" y="14773"/>
                        <a:pt x="18555" y="18535"/>
                      </a:cubicBezTo>
                      <a:cubicBezTo>
                        <a:pt x="14895" y="22195"/>
                        <a:pt x="12899" y="27032"/>
                        <a:pt x="12899" y="32202"/>
                      </a:cubicBezTo>
                      <a:cubicBezTo>
                        <a:pt x="12899" y="37372"/>
                        <a:pt x="14920" y="42234"/>
                        <a:pt x="18555" y="45868"/>
                      </a:cubicBezTo>
                      <a:cubicBezTo>
                        <a:pt x="26079" y="53392"/>
                        <a:pt x="38363" y="53418"/>
                        <a:pt x="45913" y="45868"/>
                      </a:cubicBezTo>
                      <a:cubicBezTo>
                        <a:pt x="49573" y="42209"/>
                        <a:pt x="51569" y="37372"/>
                        <a:pt x="51569" y="32202"/>
                      </a:cubicBezTo>
                      <a:cubicBezTo>
                        <a:pt x="51569" y="27032"/>
                        <a:pt x="49573" y="22170"/>
                        <a:pt x="45913" y="18535"/>
                      </a:cubicBezTo>
                      <a:cubicBezTo>
                        <a:pt x="42125" y="14748"/>
                        <a:pt x="37160" y="12879"/>
                        <a:pt x="32221" y="12879"/>
                      </a:cubicBezTo>
                      <a:close/>
                    </a:path>
                  </a:pathLst>
                </a:custGeom>
                <a:solidFill>
                  <a:schemeClr val="accent1"/>
                </a:solidFill>
                <a:ln w="2558" cap="flat">
                  <a:noFill/>
                  <a:prstDash val="solid"/>
                  <a:miter/>
                </a:ln>
              </p:spPr>
              <p:txBody>
                <a:bodyPr rtlCol="0" anchor="ctr"/>
                <a:lstStyle/>
                <a:p>
                  <a:endParaRPr lang="en-GB" dirty="0"/>
                </a:p>
              </p:txBody>
            </p:sp>
            <p:sp>
              <p:nvSpPr>
                <p:cNvPr id="136" name="Freihandform: Form 942">
                  <a:extLst>
                    <a:ext uri="{FF2B5EF4-FFF2-40B4-BE49-F238E27FC236}">
                      <a16:creationId xmlns:a16="http://schemas.microsoft.com/office/drawing/2014/main" id="{614E2364-55A9-4F58-B0BE-C33B6D56253A}"/>
                    </a:ext>
                  </a:extLst>
                </p:cNvPr>
                <p:cNvSpPr/>
                <p:nvPr/>
              </p:nvSpPr>
              <p:spPr>
                <a:xfrm>
                  <a:off x="7027986" y="4137655"/>
                  <a:ext cx="72119" cy="72132"/>
                </a:xfrm>
                <a:custGeom>
                  <a:avLst/>
                  <a:gdLst>
                    <a:gd name="connsiteX0" fmla="*/ 65683 w 72119"/>
                    <a:gd name="connsiteY0" fmla="*/ 72133 h 72132"/>
                    <a:gd name="connsiteX1" fmla="*/ 61128 w 72119"/>
                    <a:gd name="connsiteY1" fmla="*/ 70239 h 72132"/>
                    <a:gd name="connsiteX2" fmla="*/ 1881 w 72119"/>
                    <a:gd name="connsiteY2" fmla="*/ 10992 h 72132"/>
                    <a:gd name="connsiteX3" fmla="*/ 1881 w 72119"/>
                    <a:gd name="connsiteY3" fmla="*/ 1881 h 72132"/>
                    <a:gd name="connsiteX4" fmla="*/ 10992 w 72119"/>
                    <a:gd name="connsiteY4" fmla="*/ 1881 h 72132"/>
                    <a:gd name="connsiteX5" fmla="*/ 70239 w 72119"/>
                    <a:gd name="connsiteY5" fmla="*/ 61128 h 72132"/>
                    <a:gd name="connsiteX6" fmla="*/ 70239 w 72119"/>
                    <a:gd name="connsiteY6" fmla="*/ 70239 h 72132"/>
                    <a:gd name="connsiteX7" fmla="*/ 65683 w 72119"/>
                    <a:gd name="connsiteY7" fmla="*/ 72133 h 7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119" h="72132">
                      <a:moveTo>
                        <a:pt x="65683" y="72133"/>
                      </a:moveTo>
                      <a:cubicBezTo>
                        <a:pt x="64045" y="72133"/>
                        <a:pt x="62382" y="71493"/>
                        <a:pt x="61128" y="70239"/>
                      </a:cubicBezTo>
                      <a:lnTo>
                        <a:pt x="1881" y="10992"/>
                      </a:lnTo>
                      <a:cubicBezTo>
                        <a:pt x="-627" y="8484"/>
                        <a:pt x="-627" y="4389"/>
                        <a:pt x="1881" y="1881"/>
                      </a:cubicBezTo>
                      <a:cubicBezTo>
                        <a:pt x="4389" y="-627"/>
                        <a:pt x="8484" y="-627"/>
                        <a:pt x="10992" y="1881"/>
                      </a:cubicBezTo>
                      <a:lnTo>
                        <a:pt x="70239" y="61128"/>
                      </a:lnTo>
                      <a:cubicBezTo>
                        <a:pt x="72747" y="63636"/>
                        <a:pt x="72747" y="67731"/>
                        <a:pt x="70239" y="70239"/>
                      </a:cubicBezTo>
                      <a:cubicBezTo>
                        <a:pt x="68985" y="71518"/>
                        <a:pt x="67347" y="72133"/>
                        <a:pt x="65683" y="72133"/>
                      </a:cubicBezTo>
                      <a:close/>
                    </a:path>
                  </a:pathLst>
                </a:custGeom>
                <a:solidFill>
                  <a:schemeClr val="accent1"/>
                </a:solidFill>
                <a:ln w="2558" cap="flat">
                  <a:noFill/>
                  <a:prstDash val="solid"/>
                  <a:miter/>
                </a:ln>
              </p:spPr>
              <p:txBody>
                <a:bodyPr rtlCol="0" anchor="ctr"/>
                <a:lstStyle/>
                <a:p>
                  <a:endParaRPr lang="en-GB" dirty="0"/>
                </a:p>
              </p:txBody>
            </p:sp>
            <p:sp>
              <p:nvSpPr>
                <p:cNvPr id="137" name="Freihandform: Form 943">
                  <a:extLst>
                    <a:ext uri="{FF2B5EF4-FFF2-40B4-BE49-F238E27FC236}">
                      <a16:creationId xmlns:a16="http://schemas.microsoft.com/office/drawing/2014/main" id="{1F7535D0-CB82-4E62-BF1A-A669391BAEAC}"/>
                    </a:ext>
                  </a:extLst>
                </p:cNvPr>
                <p:cNvSpPr/>
                <p:nvPr/>
              </p:nvSpPr>
              <p:spPr>
                <a:xfrm>
                  <a:off x="7091805" y="4095307"/>
                  <a:ext cx="35634" cy="87147"/>
                </a:xfrm>
                <a:custGeom>
                  <a:avLst/>
                  <a:gdLst>
                    <a:gd name="connsiteX0" fmla="*/ 29223 w 35634"/>
                    <a:gd name="connsiteY0" fmla="*/ 87148 h 87147"/>
                    <a:gd name="connsiteX1" fmla="*/ 24668 w 35634"/>
                    <a:gd name="connsiteY1" fmla="*/ 85254 h 87147"/>
                    <a:gd name="connsiteX2" fmla="*/ 1891 w 35634"/>
                    <a:gd name="connsiteY2" fmla="*/ 62476 h 87147"/>
                    <a:gd name="connsiteX3" fmla="*/ 73 w 35634"/>
                    <a:gd name="connsiteY3" fmla="*/ 56897 h 87147"/>
                    <a:gd name="connsiteX4" fmla="*/ 8314 w 35634"/>
                    <a:gd name="connsiteY4" fmla="*/ 5431 h 87147"/>
                    <a:gd name="connsiteX5" fmla="*/ 15685 w 35634"/>
                    <a:gd name="connsiteY5" fmla="*/ 82 h 87147"/>
                    <a:gd name="connsiteX6" fmla="*/ 21034 w 35634"/>
                    <a:gd name="connsiteY6" fmla="*/ 7452 h 87147"/>
                    <a:gd name="connsiteX7" fmla="*/ 13305 w 35634"/>
                    <a:gd name="connsiteY7" fmla="*/ 55669 h 87147"/>
                    <a:gd name="connsiteX8" fmla="*/ 33753 w 35634"/>
                    <a:gd name="connsiteY8" fmla="*/ 76117 h 87147"/>
                    <a:gd name="connsiteX9" fmla="*/ 33753 w 35634"/>
                    <a:gd name="connsiteY9" fmla="*/ 85228 h 87147"/>
                    <a:gd name="connsiteX10" fmla="*/ 29223 w 35634"/>
                    <a:gd name="connsiteY10" fmla="*/ 87148 h 87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634" h="87147">
                      <a:moveTo>
                        <a:pt x="29223" y="87148"/>
                      </a:moveTo>
                      <a:cubicBezTo>
                        <a:pt x="27585" y="87148"/>
                        <a:pt x="25922" y="86508"/>
                        <a:pt x="24668" y="85254"/>
                      </a:cubicBezTo>
                      <a:lnTo>
                        <a:pt x="1891" y="62476"/>
                      </a:lnTo>
                      <a:cubicBezTo>
                        <a:pt x="432" y="61018"/>
                        <a:pt x="-234" y="58945"/>
                        <a:pt x="73" y="56897"/>
                      </a:cubicBezTo>
                      <a:lnTo>
                        <a:pt x="8314" y="5431"/>
                      </a:lnTo>
                      <a:cubicBezTo>
                        <a:pt x="8877" y="1924"/>
                        <a:pt x="12179" y="-481"/>
                        <a:pt x="15685" y="82"/>
                      </a:cubicBezTo>
                      <a:cubicBezTo>
                        <a:pt x="19191" y="645"/>
                        <a:pt x="21597" y="3946"/>
                        <a:pt x="21034" y="7452"/>
                      </a:cubicBezTo>
                      <a:lnTo>
                        <a:pt x="13305" y="55669"/>
                      </a:lnTo>
                      <a:lnTo>
                        <a:pt x="33753" y="76117"/>
                      </a:lnTo>
                      <a:cubicBezTo>
                        <a:pt x="36261" y="78625"/>
                        <a:pt x="36261" y="82720"/>
                        <a:pt x="33753" y="85228"/>
                      </a:cubicBezTo>
                      <a:cubicBezTo>
                        <a:pt x="32525" y="86508"/>
                        <a:pt x="30861" y="87148"/>
                        <a:pt x="29223" y="87148"/>
                      </a:cubicBezTo>
                      <a:close/>
                    </a:path>
                  </a:pathLst>
                </a:custGeom>
                <a:solidFill>
                  <a:schemeClr val="accent1"/>
                </a:solidFill>
                <a:ln w="2558" cap="flat">
                  <a:noFill/>
                  <a:prstDash val="solid"/>
                  <a:miter/>
                </a:ln>
              </p:spPr>
              <p:txBody>
                <a:bodyPr rtlCol="0" anchor="ctr"/>
                <a:lstStyle/>
                <a:p>
                  <a:endParaRPr lang="en-GB" dirty="0"/>
                </a:p>
              </p:txBody>
            </p:sp>
            <p:sp>
              <p:nvSpPr>
                <p:cNvPr id="138" name="Freihandform: Form 944">
                  <a:extLst>
                    <a:ext uri="{FF2B5EF4-FFF2-40B4-BE49-F238E27FC236}">
                      <a16:creationId xmlns:a16="http://schemas.microsoft.com/office/drawing/2014/main" id="{4924F39D-46AC-42BE-806C-FE1791103C59}"/>
                    </a:ext>
                  </a:extLst>
                </p:cNvPr>
                <p:cNvSpPr/>
                <p:nvPr/>
              </p:nvSpPr>
              <p:spPr>
                <a:xfrm>
                  <a:off x="6933863" y="4189358"/>
                  <a:ext cx="64429" cy="64422"/>
                </a:xfrm>
                <a:custGeom>
                  <a:avLst/>
                  <a:gdLst>
                    <a:gd name="connsiteX0" fmla="*/ 32202 w 64429"/>
                    <a:gd name="connsiteY0" fmla="*/ 64423 h 64422"/>
                    <a:gd name="connsiteX1" fmla="*/ 9424 w 64429"/>
                    <a:gd name="connsiteY1" fmla="*/ 55005 h 64422"/>
                    <a:gd name="connsiteX2" fmla="*/ 9424 w 64429"/>
                    <a:gd name="connsiteY2" fmla="*/ 55005 h 64422"/>
                    <a:gd name="connsiteX3" fmla="*/ 9424 w 64429"/>
                    <a:gd name="connsiteY3" fmla="*/ 9424 h 64422"/>
                    <a:gd name="connsiteX4" fmla="*/ 55005 w 64429"/>
                    <a:gd name="connsiteY4" fmla="*/ 9424 h 64422"/>
                    <a:gd name="connsiteX5" fmla="*/ 55005 w 64429"/>
                    <a:gd name="connsiteY5" fmla="*/ 55005 h 64422"/>
                    <a:gd name="connsiteX6" fmla="*/ 32202 w 64429"/>
                    <a:gd name="connsiteY6" fmla="*/ 64423 h 64422"/>
                    <a:gd name="connsiteX7" fmla="*/ 18535 w 64429"/>
                    <a:gd name="connsiteY7" fmla="*/ 45894 h 64422"/>
                    <a:gd name="connsiteX8" fmla="*/ 45868 w 64429"/>
                    <a:gd name="connsiteY8" fmla="*/ 45894 h 64422"/>
                    <a:gd name="connsiteX9" fmla="*/ 45868 w 64429"/>
                    <a:gd name="connsiteY9" fmla="*/ 18561 h 64422"/>
                    <a:gd name="connsiteX10" fmla="*/ 18535 w 64429"/>
                    <a:gd name="connsiteY10" fmla="*/ 18561 h 64422"/>
                    <a:gd name="connsiteX11" fmla="*/ 18535 w 64429"/>
                    <a:gd name="connsiteY11" fmla="*/ 45894 h 64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429" h="64422">
                      <a:moveTo>
                        <a:pt x="32202" y="64423"/>
                      </a:moveTo>
                      <a:cubicBezTo>
                        <a:pt x="23961" y="64423"/>
                        <a:pt x="15695" y="61275"/>
                        <a:pt x="9424" y="55005"/>
                      </a:cubicBezTo>
                      <a:lnTo>
                        <a:pt x="9424" y="55005"/>
                      </a:lnTo>
                      <a:cubicBezTo>
                        <a:pt x="-3141" y="42439"/>
                        <a:pt x="-3141" y="21990"/>
                        <a:pt x="9424" y="9424"/>
                      </a:cubicBezTo>
                      <a:cubicBezTo>
                        <a:pt x="21990" y="-3141"/>
                        <a:pt x="42439" y="-3141"/>
                        <a:pt x="55005" y="9424"/>
                      </a:cubicBezTo>
                      <a:cubicBezTo>
                        <a:pt x="67571" y="21990"/>
                        <a:pt x="67571" y="42439"/>
                        <a:pt x="55005" y="55005"/>
                      </a:cubicBezTo>
                      <a:cubicBezTo>
                        <a:pt x="48709" y="61275"/>
                        <a:pt x="40468" y="64423"/>
                        <a:pt x="32202" y="64423"/>
                      </a:cubicBezTo>
                      <a:close/>
                      <a:moveTo>
                        <a:pt x="18535" y="45894"/>
                      </a:moveTo>
                      <a:cubicBezTo>
                        <a:pt x="26085" y="53418"/>
                        <a:pt x="38344" y="53418"/>
                        <a:pt x="45868" y="45894"/>
                      </a:cubicBezTo>
                      <a:cubicBezTo>
                        <a:pt x="53418" y="38344"/>
                        <a:pt x="53418" y="26085"/>
                        <a:pt x="45868" y="18561"/>
                      </a:cubicBezTo>
                      <a:cubicBezTo>
                        <a:pt x="38318" y="11037"/>
                        <a:pt x="26060" y="11037"/>
                        <a:pt x="18535" y="18561"/>
                      </a:cubicBezTo>
                      <a:cubicBezTo>
                        <a:pt x="11011" y="26085"/>
                        <a:pt x="11011" y="38344"/>
                        <a:pt x="18535" y="45894"/>
                      </a:cubicBezTo>
                      <a:close/>
                    </a:path>
                  </a:pathLst>
                </a:custGeom>
                <a:solidFill>
                  <a:schemeClr val="accent1"/>
                </a:solidFill>
                <a:ln w="2558" cap="flat">
                  <a:noFill/>
                  <a:prstDash val="solid"/>
                  <a:miter/>
                </a:ln>
              </p:spPr>
              <p:txBody>
                <a:bodyPr rtlCol="0" anchor="ctr"/>
                <a:lstStyle/>
                <a:p>
                  <a:endParaRPr lang="en-GB" dirty="0"/>
                </a:p>
              </p:txBody>
            </p:sp>
            <p:sp>
              <p:nvSpPr>
                <p:cNvPr id="139" name="Freihandform: Form 945">
                  <a:extLst>
                    <a:ext uri="{FF2B5EF4-FFF2-40B4-BE49-F238E27FC236}">
                      <a16:creationId xmlns:a16="http://schemas.microsoft.com/office/drawing/2014/main" id="{83C53503-F281-4C38-92F5-D5E045621CDD}"/>
                    </a:ext>
                  </a:extLst>
                </p:cNvPr>
                <p:cNvSpPr/>
                <p:nvPr/>
              </p:nvSpPr>
              <p:spPr>
                <a:xfrm>
                  <a:off x="6986468" y="4201477"/>
                  <a:ext cx="86330" cy="35668"/>
                </a:xfrm>
                <a:custGeom>
                  <a:avLst/>
                  <a:gdLst>
                    <a:gd name="connsiteX0" fmla="*/ 79869 w 86330"/>
                    <a:gd name="connsiteY0" fmla="*/ 35669 h 35668"/>
                    <a:gd name="connsiteX1" fmla="*/ 75313 w 86330"/>
                    <a:gd name="connsiteY1" fmla="*/ 33775 h 35668"/>
                    <a:gd name="connsiteX2" fmla="*/ 54890 w 86330"/>
                    <a:gd name="connsiteY2" fmla="*/ 13352 h 35668"/>
                    <a:gd name="connsiteX3" fmla="*/ 7518 w 86330"/>
                    <a:gd name="connsiteY3" fmla="*/ 21439 h 35668"/>
                    <a:gd name="connsiteX4" fmla="*/ 97 w 86330"/>
                    <a:gd name="connsiteY4" fmla="*/ 16167 h 35668"/>
                    <a:gd name="connsiteX5" fmla="*/ 5369 w 86330"/>
                    <a:gd name="connsiteY5" fmla="*/ 8745 h 35668"/>
                    <a:gd name="connsiteX6" fmla="*/ 56042 w 86330"/>
                    <a:gd name="connsiteY6" fmla="*/ 95 h 35668"/>
                    <a:gd name="connsiteX7" fmla="*/ 61672 w 86330"/>
                    <a:gd name="connsiteY7" fmla="*/ 1887 h 35668"/>
                    <a:gd name="connsiteX8" fmla="*/ 84450 w 86330"/>
                    <a:gd name="connsiteY8" fmla="*/ 24664 h 35668"/>
                    <a:gd name="connsiteX9" fmla="*/ 84450 w 86330"/>
                    <a:gd name="connsiteY9" fmla="*/ 33775 h 35668"/>
                    <a:gd name="connsiteX10" fmla="*/ 79869 w 86330"/>
                    <a:gd name="connsiteY10" fmla="*/ 35669 h 3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6330" h="35668">
                      <a:moveTo>
                        <a:pt x="79869" y="35669"/>
                      </a:moveTo>
                      <a:cubicBezTo>
                        <a:pt x="78231" y="35669"/>
                        <a:pt x="76567" y="35029"/>
                        <a:pt x="75313" y="33775"/>
                      </a:cubicBezTo>
                      <a:lnTo>
                        <a:pt x="54890" y="13352"/>
                      </a:lnTo>
                      <a:lnTo>
                        <a:pt x="7518" y="21439"/>
                      </a:lnTo>
                      <a:cubicBezTo>
                        <a:pt x="4038" y="22079"/>
                        <a:pt x="685" y="19673"/>
                        <a:pt x="97" y="16167"/>
                      </a:cubicBezTo>
                      <a:cubicBezTo>
                        <a:pt x="-518" y="12661"/>
                        <a:pt x="1863" y="9334"/>
                        <a:pt x="5369" y="8745"/>
                      </a:cubicBezTo>
                      <a:lnTo>
                        <a:pt x="56042" y="95"/>
                      </a:lnTo>
                      <a:cubicBezTo>
                        <a:pt x="58089" y="-263"/>
                        <a:pt x="60213" y="402"/>
                        <a:pt x="61672" y="1887"/>
                      </a:cubicBezTo>
                      <a:lnTo>
                        <a:pt x="84450" y="24664"/>
                      </a:lnTo>
                      <a:cubicBezTo>
                        <a:pt x="86958" y="27172"/>
                        <a:pt x="86958" y="31267"/>
                        <a:pt x="84450" y="33775"/>
                      </a:cubicBezTo>
                      <a:cubicBezTo>
                        <a:pt x="83170" y="35029"/>
                        <a:pt x="81506" y="35669"/>
                        <a:pt x="79869" y="35669"/>
                      </a:cubicBezTo>
                      <a:close/>
                    </a:path>
                  </a:pathLst>
                </a:custGeom>
                <a:solidFill>
                  <a:schemeClr val="accent1"/>
                </a:solidFill>
                <a:ln w="2558" cap="flat">
                  <a:noFill/>
                  <a:prstDash val="solid"/>
                  <a:miter/>
                </a:ln>
              </p:spPr>
              <p:txBody>
                <a:bodyPr rtlCol="0" anchor="ctr"/>
                <a:lstStyle/>
                <a:p>
                  <a:endParaRPr lang="en-GB" dirty="0"/>
                </a:p>
              </p:txBody>
            </p:sp>
          </p:grpSp>
        </p:grpSp>
      </p:grpSp>
      <p:grpSp>
        <p:nvGrpSpPr>
          <p:cNvPr id="119" name="Group 118">
            <a:extLst>
              <a:ext uri="{FF2B5EF4-FFF2-40B4-BE49-F238E27FC236}">
                <a16:creationId xmlns:a16="http://schemas.microsoft.com/office/drawing/2014/main" id="{50B6DEE7-4736-B873-7282-81BE5918486F}"/>
              </a:ext>
            </a:extLst>
          </p:cNvPr>
          <p:cNvGrpSpPr/>
          <p:nvPr/>
        </p:nvGrpSpPr>
        <p:grpSpPr>
          <a:xfrm>
            <a:off x="1693158" y="2391527"/>
            <a:ext cx="292652" cy="432000"/>
            <a:chOff x="1693158" y="2391527"/>
            <a:chExt cx="292652" cy="432000"/>
          </a:xfrm>
        </p:grpSpPr>
        <p:grpSp>
          <p:nvGrpSpPr>
            <p:cNvPr id="161" name="Grafik 126">
              <a:extLst>
                <a:ext uri="{FF2B5EF4-FFF2-40B4-BE49-F238E27FC236}">
                  <a16:creationId xmlns:a16="http://schemas.microsoft.com/office/drawing/2014/main" id="{1D4895BE-46A9-4C64-96A2-B87486699F7B}"/>
                </a:ext>
              </a:extLst>
            </p:cNvPr>
            <p:cNvGrpSpPr/>
            <p:nvPr/>
          </p:nvGrpSpPr>
          <p:grpSpPr>
            <a:xfrm>
              <a:off x="1708283" y="2510860"/>
              <a:ext cx="262385" cy="312667"/>
              <a:chOff x="985927" y="1786092"/>
              <a:chExt cx="311542" cy="371244"/>
            </a:xfrm>
            <a:solidFill>
              <a:schemeClr val="tx2"/>
            </a:solidFill>
          </p:grpSpPr>
          <p:grpSp>
            <p:nvGrpSpPr>
              <p:cNvPr id="163" name="Grafik 126">
                <a:extLst>
                  <a:ext uri="{FF2B5EF4-FFF2-40B4-BE49-F238E27FC236}">
                    <a16:creationId xmlns:a16="http://schemas.microsoft.com/office/drawing/2014/main" id="{9B7D0290-7C01-45A8-91BF-0C0B23CC2248}"/>
                  </a:ext>
                </a:extLst>
              </p:cNvPr>
              <p:cNvGrpSpPr/>
              <p:nvPr/>
            </p:nvGrpSpPr>
            <p:grpSpPr>
              <a:xfrm>
                <a:off x="1076592" y="1786092"/>
                <a:ext cx="130413" cy="371244"/>
                <a:chOff x="1076592" y="1786092"/>
                <a:chExt cx="130413" cy="371244"/>
              </a:xfrm>
              <a:grpFill/>
            </p:grpSpPr>
            <p:sp>
              <p:nvSpPr>
                <p:cNvPr id="168" name="Freihandform: Form 229">
                  <a:extLst>
                    <a:ext uri="{FF2B5EF4-FFF2-40B4-BE49-F238E27FC236}">
                      <a16:creationId xmlns:a16="http://schemas.microsoft.com/office/drawing/2014/main" id="{3459449E-F931-48FD-92E9-E084D3FD3B30}"/>
                    </a:ext>
                  </a:extLst>
                </p:cNvPr>
                <p:cNvSpPr/>
                <p:nvPr/>
              </p:nvSpPr>
              <p:spPr>
                <a:xfrm>
                  <a:off x="1076592" y="1786092"/>
                  <a:ext cx="130413" cy="341141"/>
                </a:xfrm>
                <a:custGeom>
                  <a:avLst/>
                  <a:gdLst>
                    <a:gd name="connsiteX0" fmla="*/ 125404 w 130413"/>
                    <a:gd name="connsiteY0" fmla="*/ 341142 h 341141"/>
                    <a:gd name="connsiteX1" fmla="*/ 4966 w 130413"/>
                    <a:gd name="connsiteY1" fmla="*/ 341142 h 341141"/>
                    <a:gd name="connsiteX2" fmla="*/ 0 w 130413"/>
                    <a:gd name="connsiteY2" fmla="*/ 336176 h 341141"/>
                    <a:gd name="connsiteX3" fmla="*/ 0 w 130413"/>
                    <a:gd name="connsiteY3" fmla="*/ 71219 h 341141"/>
                    <a:gd name="connsiteX4" fmla="*/ 65199 w 130413"/>
                    <a:gd name="connsiteY4" fmla="*/ 0 h 341141"/>
                    <a:gd name="connsiteX5" fmla="*/ 111337 w 130413"/>
                    <a:gd name="connsiteY5" fmla="*/ 18394 h 341141"/>
                    <a:gd name="connsiteX6" fmla="*/ 130397 w 130413"/>
                    <a:gd name="connsiteY6" fmla="*/ 71275 h 341141"/>
                    <a:gd name="connsiteX7" fmla="*/ 130397 w 130413"/>
                    <a:gd name="connsiteY7" fmla="*/ 336176 h 341141"/>
                    <a:gd name="connsiteX8" fmla="*/ 125404 w 130413"/>
                    <a:gd name="connsiteY8" fmla="*/ 341142 h 341141"/>
                    <a:gd name="connsiteX9" fmla="*/ 9960 w 130413"/>
                    <a:gd name="connsiteY9" fmla="*/ 331209 h 341141"/>
                    <a:gd name="connsiteX10" fmla="*/ 120437 w 130413"/>
                    <a:gd name="connsiteY10" fmla="*/ 331209 h 341141"/>
                    <a:gd name="connsiteX11" fmla="*/ 120437 w 130413"/>
                    <a:gd name="connsiteY11" fmla="*/ 71219 h 341141"/>
                    <a:gd name="connsiteX12" fmla="*/ 120437 w 130413"/>
                    <a:gd name="connsiteY12" fmla="*/ 71136 h 341141"/>
                    <a:gd name="connsiteX13" fmla="*/ 104235 w 130413"/>
                    <a:gd name="connsiteY13" fmla="*/ 25358 h 341141"/>
                    <a:gd name="connsiteX14" fmla="*/ 65199 w 130413"/>
                    <a:gd name="connsiteY14" fmla="*/ 9960 h 341141"/>
                    <a:gd name="connsiteX15" fmla="*/ 9960 w 130413"/>
                    <a:gd name="connsiteY15" fmla="*/ 71219 h 341141"/>
                    <a:gd name="connsiteX16" fmla="*/ 9960 w 130413"/>
                    <a:gd name="connsiteY16" fmla="*/ 331209 h 34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0413" h="341141">
                      <a:moveTo>
                        <a:pt x="125404" y="341142"/>
                      </a:moveTo>
                      <a:lnTo>
                        <a:pt x="4966" y="341142"/>
                      </a:lnTo>
                      <a:cubicBezTo>
                        <a:pt x="2220" y="341142"/>
                        <a:pt x="0" y="338922"/>
                        <a:pt x="0" y="336176"/>
                      </a:cubicBezTo>
                      <a:lnTo>
                        <a:pt x="0" y="71219"/>
                      </a:lnTo>
                      <a:cubicBezTo>
                        <a:pt x="0" y="27966"/>
                        <a:pt x="25580" y="0"/>
                        <a:pt x="65199" y="0"/>
                      </a:cubicBezTo>
                      <a:cubicBezTo>
                        <a:pt x="83593" y="0"/>
                        <a:pt x="99546" y="6353"/>
                        <a:pt x="111337" y="18394"/>
                      </a:cubicBezTo>
                      <a:cubicBezTo>
                        <a:pt x="124016" y="31323"/>
                        <a:pt x="130786" y="50106"/>
                        <a:pt x="130397" y="71275"/>
                      </a:cubicBezTo>
                      <a:lnTo>
                        <a:pt x="130397" y="336176"/>
                      </a:lnTo>
                      <a:cubicBezTo>
                        <a:pt x="130370" y="338922"/>
                        <a:pt x="128150" y="341142"/>
                        <a:pt x="125404" y="341142"/>
                      </a:cubicBezTo>
                      <a:close/>
                      <a:moveTo>
                        <a:pt x="9960" y="331209"/>
                      </a:moveTo>
                      <a:lnTo>
                        <a:pt x="120437" y="331209"/>
                      </a:lnTo>
                      <a:lnTo>
                        <a:pt x="120437" y="71219"/>
                      </a:lnTo>
                      <a:cubicBezTo>
                        <a:pt x="120437" y="71191"/>
                        <a:pt x="120437" y="71164"/>
                        <a:pt x="120437" y="71136"/>
                      </a:cubicBezTo>
                      <a:cubicBezTo>
                        <a:pt x="120798" y="52631"/>
                        <a:pt x="115027" y="36373"/>
                        <a:pt x="104235" y="25358"/>
                      </a:cubicBezTo>
                      <a:cubicBezTo>
                        <a:pt x="94358" y="15287"/>
                        <a:pt x="80846" y="9960"/>
                        <a:pt x="65199" y="9960"/>
                      </a:cubicBezTo>
                      <a:cubicBezTo>
                        <a:pt x="31129" y="9960"/>
                        <a:pt x="9960" y="33432"/>
                        <a:pt x="9960" y="71219"/>
                      </a:cubicBezTo>
                      <a:lnTo>
                        <a:pt x="9960" y="331209"/>
                      </a:lnTo>
                      <a:close/>
                    </a:path>
                  </a:pathLst>
                </a:custGeom>
                <a:grpFill/>
                <a:ln w="2769" cap="flat">
                  <a:noFill/>
                  <a:prstDash val="solid"/>
                  <a:miter/>
                </a:ln>
              </p:spPr>
              <p:txBody>
                <a:bodyPr rtlCol="0" anchor="ctr"/>
                <a:lstStyle/>
                <a:p>
                  <a:endParaRPr lang="en-GB" dirty="0"/>
                </a:p>
              </p:txBody>
            </p:sp>
            <p:sp>
              <p:nvSpPr>
                <p:cNvPr id="169" name="Freihandform: Form 230">
                  <a:extLst>
                    <a:ext uri="{FF2B5EF4-FFF2-40B4-BE49-F238E27FC236}">
                      <a16:creationId xmlns:a16="http://schemas.microsoft.com/office/drawing/2014/main" id="{69AF723D-1E3E-46A3-95A3-FFF79D3ED967}"/>
                    </a:ext>
                  </a:extLst>
                </p:cNvPr>
                <p:cNvSpPr/>
                <p:nvPr/>
              </p:nvSpPr>
              <p:spPr>
                <a:xfrm>
                  <a:off x="1088633" y="2117302"/>
                  <a:ext cx="106287" cy="40034"/>
                </a:xfrm>
                <a:custGeom>
                  <a:avLst/>
                  <a:gdLst>
                    <a:gd name="connsiteX0" fmla="*/ 101322 w 106287"/>
                    <a:gd name="connsiteY0" fmla="*/ 40035 h 40034"/>
                    <a:gd name="connsiteX1" fmla="*/ 4966 w 106287"/>
                    <a:gd name="connsiteY1" fmla="*/ 40035 h 40034"/>
                    <a:gd name="connsiteX2" fmla="*/ 0 w 106287"/>
                    <a:gd name="connsiteY2" fmla="*/ 35069 h 40034"/>
                    <a:gd name="connsiteX3" fmla="*/ 0 w 106287"/>
                    <a:gd name="connsiteY3" fmla="*/ 4966 h 40034"/>
                    <a:gd name="connsiteX4" fmla="*/ 4966 w 106287"/>
                    <a:gd name="connsiteY4" fmla="*/ 0 h 40034"/>
                    <a:gd name="connsiteX5" fmla="*/ 101322 w 106287"/>
                    <a:gd name="connsiteY5" fmla="*/ 0 h 40034"/>
                    <a:gd name="connsiteX6" fmla="*/ 106288 w 106287"/>
                    <a:gd name="connsiteY6" fmla="*/ 4966 h 40034"/>
                    <a:gd name="connsiteX7" fmla="*/ 106288 w 106287"/>
                    <a:gd name="connsiteY7" fmla="*/ 35069 h 40034"/>
                    <a:gd name="connsiteX8" fmla="*/ 101322 w 106287"/>
                    <a:gd name="connsiteY8" fmla="*/ 40035 h 40034"/>
                    <a:gd name="connsiteX9" fmla="*/ 9960 w 106287"/>
                    <a:gd name="connsiteY9" fmla="*/ 30102 h 40034"/>
                    <a:gd name="connsiteX10" fmla="*/ 96355 w 106287"/>
                    <a:gd name="connsiteY10" fmla="*/ 30102 h 40034"/>
                    <a:gd name="connsiteX11" fmla="*/ 96355 w 106287"/>
                    <a:gd name="connsiteY11" fmla="*/ 9932 h 40034"/>
                    <a:gd name="connsiteX12" fmla="*/ 9960 w 106287"/>
                    <a:gd name="connsiteY12" fmla="*/ 9932 h 40034"/>
                    <a:gd name="connsiteX13" fmla="*/ 9960 w 106287"/>
                    <a:gd name="connsiteY13" fmla="*/ 30102 h 4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287" h="40034">
                      <a:moveTo>
                        <a:pt x="101322" y="40035"/>
                      </a:moveTo>
                      <a:lnTo>
                        <a:pt x="4966" y="40035"/>
                      </a:lnTo>
                      <a:cubicBezTo>
                        <a:pt x="2220" y="40035"/>
                        <a:pt x="0" y="37815"/>
                        <a:pt x="0" y="35069"/>
                      </a:cubicBezTo>
                      <a:lnTo>
                        <a:pt x="0" y="4966"/>
                      </a:lnTo>
                      <a:cubicBezTo>
                        <a:pt x="0" y="2220"/>
                        <a:pt x="2220" y="0"/>
                        <a:pt x="4966" y="0"/>
                      </a:cubicBezTo>
                      <a:lnTo>
                        <a:pt x="101322" y="0"/>
                      </a:lnTo>
                      <a:cubicBezTo>
                        <a:pt x="104068" y="0"/>
                        <a:pt x="106288" y="2220"/>
                        <a:pt x="106288" y="4966"/>
                      </a:cubicBezTo>
                      <a:lnTo>
                        <a:pt x="106288" y="35069"/>
                      </a:lnTo>
                      <a:cubicBezTo>
                        <a:pt x="106288" y="37815"/>
                        <a:pt x="104068" y="40035"/>
                        <a:pt x="101322" y="40035"/>
                      </a:cubicBezTo>
                      <a:close/>
                      <a:moveTo>
                        <a:pt x="9960" y="30102"/>
                      </a:moveTo>
                      <a:lnTo>
                        <a:pt x="96355" y="30102"/>
                      </a:lnTo>
                      <a:lnTo>
                        <a:pt x="96355" y="9932"/>
                      </a:lnTo>
                      <a:lnTo>
                        <a:pt x="9960" y="9932"/>
                      </a:lnTo>
                      <a:lnTo>
                        <a:pt x="9960" y="30102"/>
                      </a:lnTo>
                      <a:close/>
                    </a:path>
                  </a:pathLst>
                </a:custGeom>
                <a:grpFill/>
                <a:ln w="2769" cap="flat">
                  <a:noFill/>
                  <a:prstDash val="solid"/>
                  <a:miter/>
                </a:ln>
              </p:spPr>
              <p:txBody>
                <a:bodyPr rtlCol="0" anchor="ctr"/>
                <a:lstStyle/>
                <a:p>
                  <a:endParaRPr lang="en-GB" dirty="0"/>
                </a:p>
              </p:txBody>
            </p:sp>
          </p:grpSp>
          <p:sp>
            <p:nvSpPr>
              <p:cNvPr id="164" name="Freihandform: Form 231">
                <a:extLst>
                  <a:ext uri="{FF2B5EF4-FFF2-40B4-BE49-F238E27FC236}">
                    <a16:creationId xmlns:a16="http://schemas.microsoft.com/office/drawing/2014/main" id="{4FC0AFBA-6D8F-40DB-92CE-DB96B8C8B978}"/>
                  </a:ext>
                </a:extLst>
              </p:cNvPr>
              <p:cNvSpPr/>
              <p:nvPr/>
            </p:nvSpPr>
            <p:spPr>
              <a:xfrm>
                <a:off x="1196891" y="1968732"/>
                <a:ext cx="100578" cy="146461"/>
              </a:xfrm>
              <a:custGeom>
                <a:avLst/>
                <a:gdLst>
                  <a:gd name="connsiteX0" fmla="*/ 95440 w 100578"/>
                  <a:gd name="connsiteY0" fmla="*/ 146461 h 146461"/>
                  <a:gd name="connsiteX1" fmla="*/ 4966 w 100578"/>
                  <a:gd name="connsiteY1" fmla="*/ 146461 h 146461"/>
                  <a:gd name="connsiteX2" fmla="*/ 0 w 100578"/>
                  <a:gd name="connsiteY2" fmla="*/ 141495 h 146461"/>
                  <a:gd name="connsiteX3" fmla="*/ 0 w 100578"/>
                  <a:gd name="connsiteY3" fmla="*/ 0 h 146461"/>
                  <a:gd name="connsiteX4" fmla="*/ 9932 w 100578"/>
                  <a:gd name="connsiteY4" fmla="*/ 0 h 146461"/>
                  <a:gd name="connsiteX5" fmla="*/ 9932 w 100578"/>
                  <a:gd name="connsiteY5" fmla="*/ 2996 h 146461"/>
                  <a:gd name="connsiteX6" fmla="*/ 73217 w 100578"/>
                  <a:gd name="connsiteY6" fmla="*/ 64644 h 146461"/>
                  <a:gd name="connsiteX7" fmla="*/ 100351 w 100578"/>
                  <a:gd name="connsiteY7" fmla="*/ 111948 h 146461"/>
                  <a:gd name="connsiteX8" fmla="*/ 100378 w 100578"/>
                  <a:gd name="connsiteY8" fmla="*/ 141495 h 146461"/>
                  <a:gd name="connsiteX9" fmla="*/ 95440 w 100578"/>
                  <a:gd name="connsiteY9" fmla="*/ 146461 h 146461"/>
                  <a:gd name="connsiteX10" fmla="*/ 9932 w 100578"/>
                  <a:gd name="connsiteY10" fmla="*/ 136501 h 146461"/>
                  <a:gd name="connsiteX11" fmla="*/ 90446 w 100578"/>
                  <a:gd name="connsiteY11" fmla="*/ 136501 h 146461"/>
                  <a:gd name="connsiteX12" fmla="*/ 90446 w 100578"/>
                  <a:gd name="connsiteY12" fmla="*/ 111365 h 146461"/>
                  <a:gd name="connsiteX13" fmla="*/ 69444 w 100578"/>
                  <a:gd name="connsiteY13" fmla="*/ 73799 h 146461"/>
                  <a:gd name="connsiteX14" fmla="*/ 9932 w 100578"/>
                  <a:gd name="connsiteY14" fmla="*/ 32183 h 146461"/>
                  <a:gd name="connsiteX15" fmla="*/ 9932 w 100578"/>
                  <a:gd name="connsiteY15" fmla="*/ 136501 h 14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578" h="146461">
                    <a:moveTo>
                      <a:pt x="95440" y="146461"/>
                    </a:moveTo>
                    <a:lnTo>
                      <a:pt x="4966" y="146461"/>
                    </a:lnTo>
                    <a:cubicBezTo>
                      <a:pt x="2220" y="146461"/>
                      <a:pt x="0" y="144242"/>
                      <a:pt x="0" y="141495"/>
                    </a:cubicBezTo>
                    <a:lnTo>
                      <a:pt x="0" y="0"/>
                    </a:lnTo>
                    <a:lnTo>
                      <a:pt x="9932" y="0"/>
                    </a:lnTo>
                    <a:lnTo>
                      <a:pt x="9932" y="2996"/>
                    </a:lnTo>
                    <a:cubicBezTo>
                      <a:pt x="9932" y="25608"/>
                      <a:pt x="32988" y="48081"/>
                      <a:pt x="73217" y="64644"/>
                    </a:cubicBezTo>
                    <a:cubicBezTo>
                      <a:pt x="97743" y="74743"/>
                      <a:pt x="101682" y="99990"/>
                      <a:pt x="100351" y="111948"/>
                    </a:cubicBezTo>
                    <a:lnTo>
                      <a:pt x="100378" y="141495"/>
                    </a:lnTo>
                    <a:cubicBezTo>
                      <a:pt x="100406" y="144242"/>
                      <a:pt x="98186" y="146461"/>
                      <a:pt x="95440" y="146461"/>
                    </a:cubicBezTo>
                    <a:close/>
                    <a:moveTo>
                      <a:pt x="9932" y="136501"/>
                    </a:moveTo>
                    <a:lnTo>
                      <a:pt x="90446" y="136501"/>
                    </a:lnTo>
                    <a:lnTo>
                      <a:pt x="90446" y="111365"/>
                    </a:lnTo>
                    <a:cubicBezTo>
                      <a:pt x="90585" y="109728"/>
                      <a:pt x="93082" y="83538"/>
                      <a:pt x="69444" y="73799"/>
                    </a:cubicBezTo>
                    <a:cubicBezTo>
                      <a:pt x="41256" y="62202"/>
                      <a:pt x="21058" y="47942"/>
                      <a:pt x="9932" y="32183"/>
                    </a:cubicBezTo>
                    <a:lnTo>
                      <a:pt x="9932" y="136501"/>
                    </a:lnTo>
                    <a:close/>
                  </a:path>
                </a:pathLst>
              </a:custGeom>
              <a:grpFill/>
              <a:ln w="2769" cap="flat">
                <a:noFill/>
                <a:prstDash val="solid"/>
                <a:miter/>
              </a:ln>
            </p:spPr>
            <p:txBody>
              <a:bodyPr rtlCol="0" anchor="ctr"/>
              <a:lstStyle/>
              <a:p>
                <a:endParaRPr lang="en-GB" dirty="0"/>
              </a:p>
            </p:txBody>
          </p:sp>
          <p:sp>
            <p:nvSpPr>
              <p:cNvPr id="165" name="Freihandform: Form 232">
                <a:extLst>
                  <a:ext uri="{FF2B5EF4-FFF2-40B4-BE49-F238E27FC236}">
                    <a16:creationId xmlns:a16="http://schemas.microsoft.com/office/drawing/2014/main" id="{499C7A6D-BABA-4E1D-831C-6CCC00D18F70}"/>
                  </a:ext>
                </a:extLst>
              </p:cNvPr>
              <p:cNvSpPr/>
              <p:nvPr/>
            </p:nvSpPr>
            <p:spPr>
              <a:xfrm>
                <a:off x="985927" y="1968732"/>
                <a:ext cx="100598" cy="146461"/>
              </a:xfrm>
              <a:custGeom>
                <a:avLst/>
                <a:gdLst>
                  <a:gd name="connsiteX0" fmla="*/ 95632 w 100598"/>
                  <a:gd name="connsiteY0" fmla="*/ 146461 h 146461"/>
                  <a:gd name="connsiteX1" fmla="*/ 5186 w 100598"/>
                  <a:gd name="connsiteY1" fmla="*/ 146461 h 146461"/>
                  <a:gd name="connsiteX2" fmla="*/ 220 w 100598"/>
                  <a:gd name="connsiteY2" fmla="*/ 141495 h 146461"/>
                  <a:gd name="connsiteX3" fmla="*/ 220 w 100598"/>
                  <a:gd name="connsiteY3" fmla="*/ 111393 h 146461"/>
                  <a:gd name="connsiteX4" fmla="*/ 27381 w 100598"/>
                  <a:gd name="connsiteY4" fmla="*/ 64644 h 146461"/>
                  <a:gd name="connsiteX5" fmla="*/ 90666 w 100598"/>
                  <a:gd name="connsiteY5" fmla="*/ 2996 h 146461"/>
                  <a:gd name="connsiteX6" fmla="*/ 90666 w 100598"/>
                  <a:gd name="connsiteY6" fmla="*/ 0 h 146461"/>
                  <a:gd name="connsiteX7" fmla="*/ 100598 w 100598"/>
                  <a:gd name="connsiteY7" fmla="*/ 0 h 146461"/>
                  <a:gd name="connsiteX8" fmla="*/ 100598 w 100598"/>
                  <a:gd name="connsiteY8" fmla="*/ 141495 h 146461"/>
                  <a:gd name="connsiteX9" fmla="*/ 95632 w 100598"/>
                  <a:gd name="connsiteY9" fmla="*/ 146461 h 146461"/>
                  <a:gd name="connsiteX10" fmla="*/ 10152 w 100598"/>
                  <a:gd name="connsiteY10" fmla="*/ 141495 h 146461"/>
                  <a:gd name="connsiteX11" fmla="*/ 10208 w 100598"/>
                  <a:gd name="connsiteY11" fmla="*/ 141495 h 146461"/>
                  <a:gd name="connsiteX12" fmla="*/ 10152 w 100598"/>
                  <a:gd name="connsiteY12" fmla="*/ 141495 h 146461"/>
                  <a:gd name="connsiteX13" fmla="*/ 10152 w 100598"/>
                  <a:gd name="connsiteY13" fmla="*/ 136501 h 146461"/>
                  <a:gd name="connsiteX14" fmla="*/ 90666 w 100598"/>
                  <a:gd name="connsiteY14" fmla="*/ 136501 h 146461"/>
                  <a:gd name="connsiteX15" fmla="*/ 90666 w 100598"/>
                  <a:gd name="connsiteY15" fmla="*/ 32183 h 146461"/>
                  <a:gd name="connsiteX16" fmla="*/ 31154 w 100598"/>
                  <a:gd name="connsiteY16" fmla="*/ 73799 h 146461"/>
                  <a:gd name="connsiteX17" fmla="*/ 10124 w 100598"/>
                  <a:gd name="connsiteY17" fmla="*/ 110810 h 146461"/>
                  <a:gd name="connsiteX18" fmla="*/ 10152 w 100598"/>
                  <a:gd name="connsiteY18" fmla="*/ 136501 h 14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598" h="146461">
                    <a:moveTo>
                      <a:pt x="95632" y="146461"/>
                    </a:moveTo>
                    <a:lnTo>
                      <a:pt x="5186" y="146461"/>
                    </a:lnTo>
                    <a:cubicBezTo>
                      <a:pt x="2439" y="146461"/>
                      <a:pt x="220" y="144242"/>
                      <a:pt x="220" y="141495"/>
                    </a:cubicBezTo>
                    <a:lnTo>
                      <a:pt x="220" y="111393"/>
                    </a:lnTo>
                    <a:cubicBezTo>
                      <a:pt x="-1084" y="99990"/>
                      <a:pt x="2855" y="74743"/>
                      <a:pt x="27381" y="64644"/>
                    </a:cubicBezTo>
                    <a:cubicBezTo>
                      <a:pt x="67610" y="48081"/>
                      <a:pt x="90666" y="25608"/>
                      <a:pt x="90666" y="2996"/>
                    </a:cubicBezTo>
                    <a:lnTo>
                      <a:pt x="90666" y="0"/>
                    </a:lnTo>
                    <a:lnTo>
                      <a:pt x="100598" y="0"/>
                    </a:lnTo>
                    <a:lnTo>
                      <a:pt x="100598" y="141495"/>
                    </a:lnTo>
                    <a:cubicBezTo>
                      <a:pt x="100626" y="144242"/>
                      <a:pt x="98378" y="146461"/>
                      <a:pt x="95632" y="146461"/>
                    </a:cubicBezTo>
                    <a:close/>
                    <a:moveTo>
                      <a:pt x="10152" y="141495"/>
                    </a:moveTo>
                    <a:lnTo>
                      <a:pt x="10208" y="141495"/>
                    </a:lnTo>
                    <a:lnTo>
                      <a:pt x="10152" y="141495"/>
                    </a:lnTo>
                    <a:close/>
                    <a:moveTo>
                      <a:pt x="10152" y="136501"/>
                    </a:moveTo>
                    <a:lnTo>
                      <a:pt x="90666" y="136501"/>
                    </a:lnTo>
                    <a:lnTo>
                      <a:pt x="90666" y="32183"/>
                    </a:lnTo>
                    <a:cubicBezTo>
                      <a:pt x="79540" y="47942"/>
                      <a:pt x="59342" y="62202"/>
                      <a:pt x="31154" y="73799"/>
                    </a:cubicBezTo>
                    <a:cubicBezTo>
                      <a:pt x="7350" y="83593"/>
                      <a:pt x="10097" y="110533"/>
                      <a:pt x="10124" y="110810"/>
                    </a:cubicBezTo>
                    <a:lnTo>
                      <a:pt x="10152" y="136501"/>
                    </a:lnTo>
                    <a:close/>
                  </a:path>
                </a:pathLst>
              </a:custGeom>
              <a:grpFill/>
              <a:ln w="2769" cap="flat">
                <a:noFill/>
                <a:prstDash val="solid"/>
                <a:miter/>
              </a:ln>
            </p:spPr>
            <p:txBody>
              <a:bodyPr rtlCol="0" anchor="ctr"/>
              <a:lstStyle/>
              <a:p>
                <a:endParaRPr lang="en-GB" dirty="0"/>
              </a:p>
            </p:txBody>
          </p:sp>
          <p:sp>
            <p:nvSpPr>
              <p:cNvPr id="166" name="Freihandform: Form 233">
                <a:extLst>
                  <a:ext uri="{FF2B5EF4-FFF2-40B4-BE49-F238E27FC236}">
                    <a16:creationId xmlns:a16="http://schemas.microsoft.com/office/drawing/2014/main" id="{CB8EFCD4-CFD8-4F9F-99B4-0F8751708C93}"/>
                  </a:ext>
                </a:extLst>
              </p:cNvPr>
              <p:cNvSpPr/>
              <p:nvPr/>
            </p:nvSpPr>
            <p:spPr>
              <a:xfrm>
                <a:off x="1100702" y="1852345"/>
                <a:ext cx="82178" cy="9932"/>
              </a:xfrm>
              <a:custGeom>
                <a:avLst/>
                <a:gdLst>
                  <a:gd name="connsiteX0" fmla="*/ 77212 w 82178"/>
                  <a:gd name="connsiteY0" fmla="*/ 9932 h 9932"/>
                  <a:gd name="connsiteX1" fmla="*/ 4966 w 82178"/>
                  <a:gd name="connsiteY1" fmla="*/ 9932 h 9932"/>
                  <a:gd name="connsiteX2" fmla="*/ 0 w 82178"/>
                  <a:gd name="connsiteY2" fmla="*/ 4966 h 9932"/>
                  <a:gd name="connsiteX3" fmla="*/ 4966 w 82178"/>
                  <a:gd name="connsiteY3" fmla="*/ 0 h 9932"/>
                  <a:gd name="connsiteX4" fmla="*/ 77212 w 82178"/>
                  <a:gd name="connsiteY4" fmla="*/ 0 h 9932"/>
                  <a:gd name="connsiteX5" fmla="*/ 82178 w 82178"/>
                  <a:gd name="connsiteY5" fmla="*/ 4966 h 9932"/>
                  <a:gd name="connsiteX6" fmla="*/ 77212 w 82178"/>
                  <a:gd name="connsiteY6" fmla="*/ 9932 h 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178" h="9932">
                    <a:moveTo>
                      <a:pt x="77212" y="9932"/>
                    </a:moveTo>
                    <a:lnTo>
                      <a:pt x="4966" y="9932"/>
                    </a:lnTo>
                    <a:cubicBezTo>
                      <a:pt x="2220" y="9932"/>
                      <a:pt x="0" y="7713"/>
                      <a:pt x="0" y="4966"/>
                    </a:cubicBezTo>
                    <a:cubicBezTo>
                      <a:pt x="0" y="2220"/>
                      <a:pt x="2220" y="0"/>
                      <a:pt x="4966" y="0"/>
                    </a:cubicBezTo>
                    <a:lnTo>
                      <a:pt x="77212" y="0"/>
                    </a:lnTo>
                    <a:cubicBezTo>
                      <a:pt x="79959" y="0"/>
                      <a:pt x="82178" y="2220"/>
                      <a:pt x="82178" y="4966"/>
                    </a:cubicBezTo>
                    <a:cubicBezTo>
                      <a:pt x="82178" y="7713"/>
                      <a:pt x="79959" y="9932"/>
                      <a:pt x="77212" y="9932"/>
                    </a:cubicBezTo>
                    <a:close/>
                  </a:path>
                </a:pathLst>
              </a:custGeom>
              <a:grpFill/>
              <a:ln w="2769" cap="flat">
                <a:noFill/>
                <a:prstDash val="solid"/>
                <a:miter/>
              </a:ln>
            </p:spPr>
            <p:txBody>
              <a:bodyPr rtlCol="0" anchor="ctr"/>
              <a:lstStyle/>
              <a:p>
                <a:endParaRPr lang="en-GB" dirty="0"/>
              </a:p>
            </p:txBody>
          </p:sp>
          <p:sp>
            <p:nvSpPr>
              <p:cNvPr id="167" name="Freihandform: Form 234">
                <a:extLst>
                  <a:ext uri="{FF2B5EF4-FFF2-40B4-BE49-F238E27FC236}">
                    <a16:creationId xmlns:a16="http://schemas.microsoft.com/office/drawing/2014/main" id="{D7865A9C-FF7E-4B9C-BAE7-A3A5CB04FFCB}"/>
                  </a:ext>
                </a:extLst>
              </p:cNvPr>
              <p:cNvSpPr/>
              <p:nvPr/>
            </p:nvSpPr>
            <p:spPr>
              <a:xfrm>
                <a:off x="1100702" y="1942680"/>
                <a:ext cx="82205" cy="40034"/>
              </a:xfrm>
              <a:custGeom>
                <a:avLst/>
                <a:gdLst>
                  <a:gd name="connsiteX0" fmla="*/ 77212 w 82205"/>
                  <a:gd name="connsiteY0" fmla="*/ 40035 h 40034"/>
                  <a:gd name="connsiteX1" fmla="*/ 72246 w 82205"/>
                  <a:gd name="connsiteY1" fmla="*/ 35069 h 40034"/>
                  <a:gd name="connsiteX2" fmla="*/ 41089 w 82205"/>
                  <a:gd name="connsiteY2" fmla="*/ 9932 h 40034"/>
                  <a:gd name="connsiteX3" fmla="*/ 9932 w 82205"/>
                  <a:gd name="connsiteY3" fmla="*/ 35069 h 40034"/>
                  <a:gd name="connsiteX4" fmla="*/ 4966 w 82205"/>
                  <a:gd name="connsiteY4" fmla="*/ 40035 h 40034"/>
                  <a:gd name="connsiteX5" fmla="*/ 0 w 82205"/>
                  <a:gd name="connsiteY5" fmla="*/ 35069 h 40034"/>
                  <a:gd name="connsiteX6" fmla="*/ 41089 w 82205"/>
                  <a:gd name="connsiteY6" fmla="*/ 0 h 40034"/>
                  <a:gd name="connsiteX7" fmla="*/ 82206 w 82205"/>
                  <a:gd name="connsiteY7" fmla="*/ 35069 h 40034"/>
                  <a:gd name="connsiteX8" fmla="*/ 77212 w 82205"/>
                  <a:gd name="connsiteY8" fmla="*/ 40035 h 4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205" h="40034">
                    <a:moveTo>
                      <a:pt x="77212" y="40035"/>
                    </a:moveTo>
                    <a:cubicBezTo>
                      <a:pt x="74465" y="40035"/>
                      <a:pt x="72246" y="37815"/>
                      <a:pt x="72246" y="35069"/>
                    </a:cubicBezTo>
                    <a:cubicBezTo>
                      <a:pt x="72246" y="16536"/>
                      <a:pt x="56154" y="9932"/>
                      <a:pt x="41089" y="9932"/>
                    </a:cubicBezTo>
                    <a:cubicBezTo>
                      <a:pt x="26024" y="9932"/>
                      <a:pt x="9932" y="16536"/>
                      <a:pt x="9932" y="35069"/>
                    </a:cubicBezTo>
                    <a:cubicBezTo>
                      <a:pt x="9932" y="37815"/>
                      <a:pt x="7713" y="40035"/>
                      <a:pt x="4966" y="40035"/>
                    </a:cubicBezTo>
                    <a:cubicBezTo>
                      <a:pt x="2220" y="40035"/>
                      <a:pt x="0" y="37815"/>
                      <a:pt x="0" y="35069"/>
                    </a:cubicBezTo>
                    <a:cubicBezTo>
                      <a:pt x="0" y="14094"/>
                      <a:pt x="16508" y="0"/>
                      <a:pt x="41089" y="0"/>
                    </a:cubicBezTo>
                    <a:cubicBezTo>
                      <a:pt x="65670" y="0"/>
                      <a:pt x="82206" y="14094"/>
                      <a:pt x="82206" y="35069"/>
                    </a:cubicBezTo>
                    <a:cubicBezTo>
                      <a:pt x="82178" y="37815"/>
                      <a:pt x="79959" y="40035"/>
                      <a:pt x="77212" y="40035"/>
                    </a:cubicBezTo>
                    <a:close/>
                  </a:path>
                </a:pathLst>
              </a:custGeom>
              <a:grpFill/>
              <a:ln w="2769" cap="flat">
                <a:noFill/>
                <a:prstDash val="solid"/>
                <a:miter/>
              </a:ln>
            </p:spPr>
            <p:txBody>
              <a:bodyPr rtlCol="0" anchor="ctr"/>
              <a:lstStyle/>
              <a:p>
                <a:endParaRPr lang="en-GB" dirty="0"/>
              </a:p>
            </p:txBody>
          </p:sp>
        </p:grpSp>
        <p:sp>
          <p:nvSpPr>
            <p:cNvPr id="162" name="Freihandform: Form 235">
              <a:extLst>
                <a:ext uri="{FF2B5EF4-FFF2-40B4-BE49-F238E27FC236}">
                  <a16:creationId xmlns:a16="http://schemas.microsoft.com/office/drawing/2014/main" id="{03FC2701-DCAE-4B2B-AD9D-693B3361E7FF}"/>
                </a:ext>
              </a:extLst>
            </p:cNvPr>
            <p:cNvSpPr/>
            <p:nvPr/>
          </p:nvSpPr>
          <p:spPr>
            <a:xfrm>
              <a:off x="1693158" y="2391527"/>
              <a:ext cx="292652" cy="279908"/>
            </a:xfrm>
            <a:custGeom>
              <a:avLst/>
              <a:gdLst>
                <a:gd name="connsiteX0" fmla="*/ 269041 w 347479"/>
                <a:gd name="connsiteY0" fmla="*/ 332347 h 332346"/>
                <a:gd name="connsiteX1" fmla="*/ 259941 w 347479"/>
                <a:gd name="connsiteY1" fmla="*/ 330072 h 332346"/>
                <a:gd name="connsiteX2" fmla="*/ 257860 w 347479"/>
                <a:gd name="connsiteY2" fmla="*/ 323358 h 332346"/>
                <a:gd name="connsiteX3" fmla="*/ 264574 w 347479"/>
                <a:gd name="connsiteY3" fmla="*/ 321277 h 332346"/>
                <a:gd name="connsiteX4" fmla="*/ 274673 w 347479"/>
                <a:gd name="connsiteY4" fmla="*/ 320556 h 332346"/>
                <a:gd name="connsiteX5" fmla="*/ 278502 w 347479"/>
                <a:gd name="connsiteY5" fmla="*/ 311178 h 332346"/>
                <a:gd name="connsiteX6" fmla="*/ 261605 w 347479"/>
                <a:gd name="connsiteY6" fmla="*/ 212631 h 332346"/>
                <a:gd name="connsiteX7" fmla="*/ 263048 w 347479"/>
                <a:gd name="connsiteY7" fmla="*/ 208220 h 332346"/>
                <a:gd name="connsiteX8" fmla="*/ 334656 w 347479"/>
                <a:gd name="connsiteY8" fmla="*/ 138415 h 332346"/>
                <a:gd name="connsiteX9" fmla="*/ 337097 w 347479"/>
                <a:gd name="connsiteY9" fmla="*/ 128566 h 332346"/>
                <a:gd name="connsiteX10" fmla="*/ 329357 w 347479"/>
                <a:gd name="connsiteY10" fmla="*/ 122019 h 332346"/>
                <a:gd name="connsiteX11" fmla="*/ 230421 w 347479"/>
                <a:gd name="connsiteY11" fmla="*/ 107647 h 332346"/>
                <a:gd name="connsiteX12" fmla="*/ 226675 w 347479"/>
                <a:gd name="connsiteY12" fmla="*/ 104928 h 332346"/>
                <a:gd name="connsiteX13" fmla="*/ 182368 w 347479"/>
                <a:gd name="connsiteY13" fmla="*/ 15287 h 332346"/>
                <a:gd name="connsiteX14" fmla="*/ 173740 w 347479"/>
                <a:gd name="connsiteY14" fmla="*/ 9932 h 332346"/>
                <a:gd name="connsiteX15" fmla="*/ 165139 w 347479"/>
                <a:gd name="connsiteY15" fmla="*/ 15287 h 332346"/>
                <a:gd name="connsiteX16" fmla="*/ 120887 w 347479"/>
                <a:gd name="connsiteY16" fmla="*/ 104956 h 332346"/>
                <a:gd name="connsiteX17" fmla="*/ 117142 w 347479"/>
                <a:gd name="connsiteY17" fmla="*/ 107675 h 332346"/>
                <a:gd name="connsiteX18" fmla="*/ 18178 w 347479"/>
                <a:gd name="connsiteY18" fmla="*/ 122046 h 332346"/>
                <a:gd name="connsiteX19" fmla="*/ 10438 w 347479"/>
                <a:gd name="connsiteY19" fmla="*/ 128566 h 332346"/>
                <a:gd name="connsiteX20" fmla="*/ 12879 w 347479"/>
                <a:gd name="connsiteY20" fmla="*/ 138415 h 332346"/>
                <a:gd name="connsiteX21" fmla="*/ 84487 w 347479"/>
                <a:gd name="connsiteY21" fmla="*/ 208220 h 332346"/>
                <a:gd name="connsiteX22" fmla="*/ 85929 w 347479"/>
                <a:gd name="connsiteY22" fmla="*/ 212631 h 332346"/>
                <a:gd name="connsiteX23" fmla="*/ 69033 w 347479"/>
                <a:gd name="connsiteY23" fmla="*/ 311178 h 332346"/>
                <a:gd name="connsiteX24" fmla="*/ 72862 w 347479"/>
                <a:gd name="connsiteY24" fmla="*/ 320556 h 332346"/>
                <a:gd name="connsiteX25" fmla="*/ 82961 w 347479"/>
                <a:gd name="connsiteY25" fmla="*/ 321277 h 332346"/>
                <a:gd name="connsiteX26" fmla="*/ 89675 w 347479"/>
                <a:gd name="connsiteY26" fmla="*/ 323358 h 332346"/>
                <a:gd name="connsiteX27" fmla="*/ 87594 w 347479"/>
                <a:gd name="connsiteY27" fmla="*/ 330072 h 332346"/>
                <a:gd name="connsiteX28" fmla="*/ 67008 w 347479"/>
                <a:gd name="connsiteY28" fmla="*/ 328574 h 332346"/>
                <a:gd name="connsiteX29" fmla="*/ 59240 w 347479"/>
                <a:gd name="connsiteY29" fmla="*/ 309458 h 332346"/>
                <a:gd name="connsiteX30" fmla="*/ 75692 w 347479"/>
                <a:gd name="connsiteY30" fmla="*/ 213491 h 332346"/>
                <a:gd name="connsiteX31" fmla="*/ 5915 w 347479"/>
                <a:gd name="connsiteY31" fmla="*/ 145546 h 332346"/>
                <a:gd name="connsiteX32" fmla="*/ 977 w 347479"/>
                <a:gd name="connsiteY32" fmla="*/ 125514 h 332346"/>
                <a:gd name="connsiteX33" fmla="*/ 16763 w 347479"/>
                <a:gd name="connsiteY33" fmla="*/ 112225 h 332346"/>
                <a:gd name="connsiteX34" fmla="*/ 113119 w 347479"/>
                <a:gd name="connsiteY34" fmla="*/ 98214 h 332346"/>
                <a:gd name="connsiteX35" fmla="*/ 156205 w 347479"/>
                <a:gd name="connsiteY35" fmla="*/ 10903 h 332346"/>
                <a:gd name="connsiteX36" fmla="*/ 173740 w 347479"/>
                <a:gd name="connsiteY36" fmla="*/ 0 h 332346"/>
                <a:gd name="connsiteX37" fmla="*/ 191274 w 347479"/>
                <a:gd name="connsiteY37" fmla="*/ 10903 h 332346"/>
                <a:gd name="connsiteX38" fmla="*/ 234361 w 347479"/>
                <a:gd name="connsiteY38" fmla="*/ 98214 h 332346"/>
                <a:gd name="connsiteX39" fmla="*/ 330716 w 347479"/>
                <a:gd name="connsiteY39" fmla="*/ 112225 h 332346"/>
                <a:gd name="connsiteX40" fmla="*/ 346502 w 347479"/>
                <a:gd name="connsiteY40" fmla="*/ 125514 h 332346"/>
                <a:gd name="connsiteX41" fmla="*/ 341564 w 347479"/>
                <a:gd name="connsiteY41" fmla="*/ 145546 h 332346"/>
                <a:gd name="connsiteX42" fmla="*/ 271843 w 347479"/>
                <a:gd name="connsiteY42" fmla="*/ 213519 h 332346"/>
                <a:gd name="connsiteX43" fmla="*/ 288295 w 347479"/>
                <a:gd name="connsiteY43" fmla="*/ 309486 h 332346"/>
                <a:gd name="connsiteX44" fmla="*/ 280527 w 347479"/>
                <a:gd name="connsiteY44" fmla="*/ 328602 h 332346"/>
                <a:gd name="connsiteX45" fmla="*/ 269041 w 347479"/>
                <a:gd name="connsiteY45" fmla="*/ 332347 h 332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47479" h="332346">
                  <a:moveTo>
                    <a:pt x="269041" y="332347"/>
                  </a:moveTo>
                  <a:cubicBezTo>
                    <a:pt x="265933" y="332347"/>
                    <a:pt x="262826" y="331598"/>
                    <a:pt x="259941" y="330072"/>
                  </a:cubicBezTo>
                  <a:cubicBezTo>
                    <a:pt x="257499" y="328796"/>
                    <a:pt x="256584" y="325799"/>
                    <a:pt x="257860" y="323358"/>
                  </a:cubicBezTo>
                  <a:cubicBezTo>
                    <a:pt x="259136" y="320916"/>
                    <a:pt x="262132" y="320001"/>
                    <a:pt x="264574" y="321277"/>
                  </a:cubicBezTo>
                  <a:cubicBezTo>
                    <a:pt x="267876" y="323025"/>
                    <a:pt x="271649" y="322748"/>
                    <a:pt x="274673" y="320556"/>
                  </a:cubicBezTo>
                  <a:cubicBezTo>
                    <a:pt x="277697" y="318364"/>
                    <a:pt x="279112" y="314840"/>
                    <a:pt x="278502" y="311178"/>
                  </a:cubicBezTo>
                  <a:lnTo>
                    <a:pt x="261605" y="212631"/>
                  </a:lnTo>
                  <a:cubicBezTo>
                    <a:pt x="261328" y="211022"/>
                    <a:pt x="261855" y="209357"/>
                    <a:pt x="263048" y="208220"/>
                  </a:cubicBezTo>
                  <a:lnTo>
                    <a:pt x="334656" y="138415"/>
                  </a:lnTo>
                  <a:cubicBezTo>
                    <a:pt x="337319" y="135808"/>
                    <a:pt x="338235" y="132118"/>
                    <a:pt x="337097" y="128566"/>
                  </a:cubicBezTo>
                  <a:cubicBezTo>
                    <a:pt x="335932" y="125015"/>
                    <a:pt x="333046" y="122574"/>
                    <a:pt x="329357" y="122019"/>
                  </a:cubicBezTo>
                  <a:lnTo>
                    <a:pt x="230421" y="107647"/>
                  </a:lnTo>
                  <a:cubicBezTo>
                    <a:pt x="228812" y="107398"/>
                    <a:pt x="227397" y="106399"/>
                    <a:pt x="226675" y="104928"/>
                  </a:cubicBezTo>
                  <a:lnTo>
                    <a:pt x="182368" y="15287"/>
                  </a:lnTo>
                  <a:cubicBezTo>
                    <a:pt x="180703" y="11930"/>
                    <a:pt x="177485" y="9932"/>
                    <a:pt x="173740" y="9932"/>
                  </a:cubicBezTo>
                  <a:cubicBezTo>
                    <a:pt x="169994" y="9932"/>
                    <a:pt x="166776" y="11930"/>
                    <a:pt x="165139" y="15287"/>
                  </a:cubicBezTo>
                  <a:lnTo>
                    <a:pt x="120887" y="104956"/>
                  </a:lnTo>
                  <a:cubicBezTo>
                    <a:pt x="120166" y="106427"/>
                    <a:pt x="118751" y="107453"/>
                    <a:pt x="117142" y="107675"/>
                  </a:cubicBezTo>
                  <a:lnTo>
                    <a:pt x="18178" y="122046"/>
                  </a:lnTo>
                  <a:cubicBezTo>
                    <a:pt x="14488" y="122574"/>
                    <a:pt x="11575" y="125015"/>
                    <a:pt x="10438" y="128566"/>
                  </a:cubicBezTo>
                  <a:cubicBezTo>
                    <a:pt x="9272" y="132118"/>
                    <a:pt x="10188" y="135808"/>
                    <a:pt x="12879" y="138415"/>
                  </a:cubicBezTo>
                  <a:lnTo>
                    <a:pt x="84487" y="208220"/>
                  </a:lnTo>
                  <a:cubicBezTo>
                    <a:pt x="85652" y="209357"/>
                    <a:pt x="86179" y="210994"/>
                    <a:pt x="85929" y="212631"/>
                  </a:cubicBezTo>
                  <a:lnTo>
                    <a:pt x="69033" y="311178"/>
                  </a:lnTo>
                  <a:cubicBezTo>
                    <a:pt x="68395" y="314868"/>
                    <a:pt x="69838" y="318364"/>
                    <a:pt x="72862" y="320556"/>
                  </a:cubicBezTo>
                  <a:cubicBezTo>
                    <a:pt x="75886" y="322748"/>
                    <a:pt x="79659" y="323025"/>
                    <a:pt x="82961" y="321277"/>
                  </a:cubicBezTo>
                  <a:cubicBezTo>
                    <a:pt x="85375" y="320001"/>
                    <a:pt x="88399" y="320944"/>
                    <a:pt x="89675" y="323358"/>
                  </a:cubicBezTo>
                  <a:cubicBezTo>
                    <a:pt x="90951" y="325799"/>
                    <a:pt x="90008" y="328796"/>
                    <a:pt x="87594" y="330072"/>
                  </a:cubicBezTo>
                  <a:cubicBezTo>
                    <a:pt x="80963" y="333568"/>
                    <a:pt x="73084" y="332985"/>
                    <a:pt x="67008" y="328574"/>
                  </a:cubicBezTo>
                  <a:cubicBezTo>
                    <a:pt x="60960" y="324162"/>
                    <a:pt x="57963" y="316838"/>
                    <a:pt x="59240" y="309458"/>
                  </a:cubicBezTo>
                  <a:lnTo>
                    <a:pt x="75692" y="213491"/>
                  </a:lnTo>
                  <a:lnTo>
                    <a:pt x="5915" y="145546"/>
                  </a:lnTo>
                  <a:cubicBezTo>
                    <a:pt x="561" y="140302"/>
                    <a:pt x="-1354" y="132645"/>
                    <a:pt x="977" y="125514"/>
                  </a:cubicBezTo>
                  <a:cubicBezTo>
                    <a:pt x="3280" y="118384"/>
                    <a:pt x="9328" y="113279"/>
                    <a:pt x="16763" y="112225"/>
                  </a:cubicBezTo>
                  <a:lnTo>
                    <a:pt x="113119" y="98214"/>
                  </a:lnTo>
                  <a:lnTo>
                    <a:pt x="156205" y="10903"/>
                  </a:lnTo>
                  <a:cubicBezTo>
                    <a:pt x="159507" y="4189"/>
                    <a:pt x="166221" y="0"/>
                    <a:pt x="173740" y="0"/>
                  </a:cubicBezTo>
                  <a:cubicBezTo>
                    <a:pt x="181231" y="0"/>
                    <a:pt x="187945" y="4162"/>
                    <a:pt x="191274" y="10903"/>
                  </a:cubicBezTo>
                  <a:lnTo>
                    <a:pt x="234361" y="98214"/>
                  </a:lnTo>
                  <a:lnTo>
                    <a:pt x="330716" y="112225"/>
                  </a:lnTo>
                  <a:cubicBezTo>
                    <a:pt x="338124" y="113307"/>
                    <a:pt x="344172" y="118412"/>
                    <a:pt x="346502" y="125514"/>
                  </a:cubicBezTo>
                  <a:cubicBezTo>
                    <a:pt x="348833" y="132645"/>
                    <a:pt x="346919" y="140330"/>
                    <a:pt x="341564" y="145546"/>
                  </a:cubicBezTo>
                  <a:lnTo>
                    <a:pt x="271843" y="213519"/>
                  </a:lnTo>
                  <a:lnTo>
                    <a:pt x="288295" y="309486"/>
                  </a:lnTo>
                  <a:cubicBezTo>
                    <a:pt x="289571" y="316866"/>
                    <a:pt x="286575" y="324190"/>
                    <a:pt x="280527" y="328602"/>
                  </a:cubicBezTo>
                  <a:cubicBezTo>
                    <a:pt x="277087" y="331071"/>
                    <a:pt x="273091" y="332347"/>
                    <a:pt x="269041" y="332347"/>
                  </a:cubicBezTo>
                  <a:close/>
                </a:path>
              </a:pathLst>
            </a:custGeom>
            <a:solidFill>
              <a:schemeClr val="accent1"/>
            </a:solidFill>
            <a:ln w="2769" cap="flat">
              <a:noFill/>
              <a:prstDash val="solid"/>
              <a:miter/>
            </a:ln>
          </p:spPr>
          <p:txBody>
            <a:bodyPr rtlCol="0" anchor="ctr"/>
            <a:lstStyle/>
            <a:p>
              <a:endParaRPr lang="en-GB" dirty="0"/>
            </a:p>
          </p:txBody>
        </p:sp>
      </p:grpSp>
      <p:grpSp>
        <p:nvGrpSpPr>
          <p:cNvPr id="170" name="Gruppieren 236">
            <a:extLst>
              <a:ext uri="{FF2B5EF4-FFF2-40B4-BE49-F238E27FC236}">
                <a16:creationId xmlns:a16="http://schemas.microsoft.com/office/drawing/2014/main" id="{2E87B62F-C2A0-4B00-87AB-770C4AD78969}"/>
              </a:ext>
            </a:extLst>
          </p:cNvPr>
          <p:cNvGrpSpPr>
            <a:grpSpLocks noChangeAspect="1"/>
          </p:cNvGrpSpPr>
          <p:nvPr/>
        </p:nvGrpSpPr>
        <p:grpSpPr>
          <a:xfrm>
            <a:off x="2682964" y="2391525"/>
            <a:ext cx="403905" cy="431996"/>
            <a:chOff x="1756818" y="3356632"/>
            <a:chExt cx="418719" cy="447841"/>
          </a:xfrm>
        </p:grpSpPr>
        <p:grpSp>
          <p:nvGrpSpPr>
            <p:cNvPr id="171" name="Gruppieren 7">
              <a:extLst>
                <a:ext uri="{FF2B5EF4-FFF2-40B4-BE49-F238E27FC236}">
                  <a16:creationId xmlns:a16="http://schemas.microsoft.com/office/drawing/2014/main" id="{809B1AFC-85A9-4BFD-9EC6-4EF743095008}"/>
                </a:ext>
              </a:extLst>
            </p:cNvPr>
            <p:cNvGrpSpPr/>
            <p:nvPr/>
          </p:nvGrpSpPr>
          <p:grpSpPr>
            <a:xfrm>
              <a:off x="1756818" y="3393389"/>
              <a:ext cx="239514" cy="411084"/>
              <a:chOff x="1756823" y="3393393"/>
              <a:chExt cx="239514" cy="411084"/>
            </a:xfrm>
          </p:grpSpPr>
          <p:sp>
            <p:nvSpPr>
              <p:cNvPr id="180" name="Freihandform: Form 370">
                <a:extLst>
                  <a:ext uri="{FF2B5EF4-FFF2-40B4-BE49-F238E27FC236}">
                    <a16:creationId xmlns:a16="http://schemas.microsoft.com/office/drawing/2014/main" id="{DCF00F8C-3694-44DC-882A-9084F9FB1B4A}"/>
                  </a:ext>
                </a:extLst>
              </p:cNvPr>
              <p:cNvSpPr/>
              <p:nvPr/>
            </p:nvSpPr>
            <p:spPr>
              <a:xfrm>
                <a:off x="1756823" y="3522348"/>
                <a:ext cx="84204" cy="248948"/>
              </a:xfrm>
              <a:custGeom>
                <a:avLst/>
                <a:gdLst>
                  <a:gd name="connsiteX0" fmla="*/ 23610 w 84204"/>
                  <a:gd name="connsiteY0" fmla="*/ 248948 h 248948"/>
                  <a:gd name="connsiteX1" fmla="*/ 0 w 84204"/>
                  <a:gd name="connsiteY1" fmla="*/ 225338 h 248948"/>
                  <a:gd name="connsiteX2" fmla="*/ 0 w 84204"/>
                  <a:gd name="connsiteY2" fmla="*/ 43947 h 248948"/>
                  <a:gd name="connsiteX3" fmla="*/ 39757 w 84204"/>
                  <a:gd name="connsiteY3" fmla="*/ 9156 h 248948"/>
                  <a:gd name="connsiteX4" fmla="*/ 68389 w 84204"/>
                  <a:gd name="connsiteY4" fmla="*/ 9156 h 248948"/>
                  <a:gd name="connsiteX5" fmla="*/ 74271 w 84204"/>
                  <a:gd name="connsiteY5" fmla="*/ 4883 h 248948"/>
                  <a:gd name="connsiteX6" fmla="*/ 79321 w 84204"/>
                  <a:gd name="connsiteY6" fmla="*/ 0 h 248948"/>
                  <a:gd name="connsiteX7" fmla="*/ 84203 w 84204"/>
                  <a:gd name="connsiteY7" fmla="*/ 5049 h 248948"/>
                  <a:gd name="connsiteX8" fmla="*/ 68889 w 84204"/>
                  <a:gd name="connsiteY8" fmla="*/ 19088 h 248948"/>
                  <a:gd name="connsiteX9" fmla="*/ 39730 w 84204"/>
                  <a:gd name="connsiteY9" fmla="*/ 19116 h 248948"/>
                  <a:gd name="connsiteX10" fmla="*/ 9905 w 84204"/>
                  <a:gd name="connsiteY10" fmla="*/ 43975 h 248948"/>
                  <a:gd name="connsiteX11" fmla="*/ 9905 w 84204"/>
                  <a:gd name="connsiteY11" fmla="*/ 225366 h 248948"/>
                  <a:gd name="connsiteX12" fmla="*/ 23583 w 84204"/>
                  <a:gd name="connsiteY12" fmla="*/ 239044 h 248948"/>
                  <a:gd name="connsiteX13" fmla="*/ 37260 w 84204"/>
                  <a:gd name="connsiteY13" fmla="*/ 225366 h 248948"/>
                  <a:gd name="connsiteX14" fmla="*/ 37260 w 84204"/>
                  <a:gd name="connsiteY14" fmla="*/ 79099 h 248948"/>
                  <a:gd name="connsiteX15" fmla="*/ 42227 w 84204"/>
                  <a:gd name="connsiteY15" fmla="*/ 74132 h 248948"/>
                  <a:gd name="connsiteX16" fmla="*/ 47193 w 84204"/>
                  <a:gd name="connsiteY16" fmla="*/ 79099 h 248948"/>
                  <a:gd name="connsiteX17" fmla="*/ 47193 w 84204"/>
                  <a:gd name="connsiteY17" fmla="*/ 225366 h 248948"/>
                  <a:gd name="connsiteX18" fmla="*/ 23610 w 84204"/>
                  <a:gd name="connsiteY18" fmla="*/ 248948 h 248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204" h="248948">
                    <a:moveTo>
                      <a:pt x="23610" y="248948"/>
                    </a:moveTo>
                    <a:cubicBezTo>
                      <a:pt x="10598" y="248948"/>
                      <a:pt x="0" y="238350"/>
                      <a:pt x="0" y="225338"/>
                    </a:cubicBezTo>
                    <a:lnTo>
                      <a:pt x="0" y="43947"/>
                    </a:lnTo>
                    <a:cubicBezTo>
                      <a:pt x="0" y="16424"/>
                      <a:pt x="26024" y="9156"/>
                      <a:pt x="39757" y="9156"/>
                    </a:cubicBezTo>
                    <a:lnTo>
                      <a:pt x="68389" y="9156"/>
                    </a:lnTo>
                    <a:cubicBezTo>
                      <a:pt x="68251" y="9128"/>
                      <a:pt x="74243" y="8268"/>
                      <a:pt x="74271" y="4883"/>
                    </a:cubicBezTo>
                    <a:cubicBezTo>
                      <a:pt x="74327" y="2136"/>
                      <a:pt x="76574" y="278"/>
                      <a:pt x="79321" y="0"/>
                    </a:cubicBezTo>
                    <a:cubicBezTo>
                      <a:pt x="82067" y="56"/>
                      <a:pt x="84259" y="2303"/>
                      <a:pt x="84203" y="5049"/>
                    </a:cubicBezTo>
                    <a:cubicBezTo>
                      <a:pt x="84037" y="14954"/>
                      <a:pt x="74132" y="18561"/>
                      <a:pt x="68889" y="19088"/>
                    </a:cubicBezTo>
                    <a:lnTo>
                      <a:pt x="39730" y="19116"/>
                    </a:lnTo>
                    <a:cubicBezTo>
                      <a:pt x="38509" y="19116"/>
                      <a:pt x="9905" y="19532"/>
                      <a:pt x="9905" y="43975"/>
                    </a:cubicBezTo>
                    <a:lnTo>
                      <a:pt x="9905" y="225366"/>
                    </a:lnTo>
                    <a:cubicBezTo>
                      <a:pt x="9905" y="232912"/>
                      <a:pt x="16036" y="239044"/>
                      <a:pt x="23583" y="239044"/>
                    </a:cubicBezTo>
                    <a:cubicBezTo>
                      <a:pt x="31129" y="239044"/>
                      <a:pt x="37260" y="232912"/>
                      <a:pt x="37260" y="225366"/>
                    </a:cubicBezTo>
                    <a:lnTo>
                      <a:pt x="37260" y="79099"/>
                    </a:lnTo>
                    <a:cubicBezTo>
                      <a:pt x="37260" y="76352"/>
                      <a:pt x="39480" y="74132"/>
                      <a:pt x="42227" y="74132"/>
                    </a:cubicBezTo>
                    <a:cubicBezTo>
                      <a:pt x="44973" y="74132"/>
                      <a:pt x="47193" y="76352"/>
                      <a:pt x="47193" y="79099"/>
                    </a:cubicBezTo>
                    <a:lnTo>
                      <a:pt x="47193" y="225366"/>
                    </a:lnTo>
                    <a:cubicBezTo>
                      <a:pt x="47221" y="238350"/>
                      <a:pt x="36622" y="248948"/>
                      <a:pt x="23610" y="248948"/>
                    </a:cubicBezTo>
                    <a:close/>
                  </a:path>
                </a:pathLst>
              </a:custGeom>
              <a:solidFill>
                <a:schemeClr val="tx2"/>
              </a:solidFill>
              <a:ln w="2769" cap="flat">
                <a:noFill/>
                <a:prstDash val="solid"/>
                <a:miter/>
              </a:ln>
            </p:spPr>
            <p:txBody>
              <a:bodyPr rtlCol="0" anchor="ctr"/>
              <a:lstStyle/>
              <a:p>
                <a:endParaRPr lang="en-GB" dirty="0"/>
              </a:p>
            </p:txBody>
          </p:sp>
          <p:sp>
            <p:nvSpPr>
              <p:cNvPr id="181" name="Freihandform: Form 371">
                <a:extLst>
                  <a:ext uri="{FF2B5EF4-FFF2-40B4-BE49-F238E27FC236}">
                    <a16:creationId xmlns:a16="http://schemas.microsoft.com/office/drawing/2014/main" id="{D0869327-810A-4F20-B762-B3D2D7A1096F}"/>
                  </a:ext>
                </a:extLst>
              </p:cNvPr>
              <p:cNvSpPr/>
              <p:nvPr/>
            </p:nvSpPr>
            <p:spPr>
              <a:xfrm>
                <a:off x="1882504" y="3522486"/>
                <a:ext cx="24470" cy="19476"/>
              </a:xfrm>
              <a:custGeom>
                <a:avLst/>
                <a:gdLst>
                  <a:gd name="connsiteX0" fmla="*/ 19504 w 24470"/>
                  <a:gd name="connsiteY0" fmla="*/ 19476 h 19476"/>
                  <a:gd name="connsiteX1" fmla="*/ 0 w 24470"/>
                  <a:gd name="connsiteY1" fmla="*/ 4966 h 19476"/>
                  <a:gd name="connsiteX2" fmla="*/ 4966 w 24470"/>
                  <a:gd name="connsiteY2" fmla="*/ 0 h 19476"/>
                  <a:gd name="connsiteX3" fmla="*/ 9932 w 24470"/>
                  <a:gd name="connsiteY3" fmla="*/ 4966 h 19476"/>
                  <a:gd name="connsiteX4" fmla="*/ 19504 w 24470"/>
                  <a:gd name="connsiteY4" fmla="*/ 9544 h 19476"/>
                  <a:gd name="connsiteX5" fmla="*/ 24470 w 24470"/>
                  <a:gd name="connsiteY5" fmla="*/ 14510 h 19476"/>
                  <a:gd name="connsiteX6" fmla="*/ 19504 w 24470"/>
                  <a:gd name="connsiteY6" fmla="*/ 19476 h 1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70" h="19476">
                    <a:moveTo>
                      <a:pt x="19504" y="19476"/>
                    </a:moveTo>
                    <a:cubicBezTo>
                      <a:pt x="4078" y="19476"/>
                      <a:pt x="0" y="9988"/>
                      <a:pt x="0" y="4966"/>
                    </a:cubicBezTo>
                    <a:cubicBezTo>
                      <a:pt x="0" y="2220"/>
                      <a:pt x="2219" y="0"/>
                      <a:pt x="4966" y="0"/>
                    </a:cubicBezTo>
                    <a:cubicBezTo>
                      <a:pt x="7713" y="0"/>
                      <a:pt x="9932" y="2220"/>
                      <a:pt x="9932" y="4966"/>
                    </a:cubicBezTo>
                    <a:cubicBezTo>
                      <a:pt x="9988" y="5604"/>
                      <a:pt x="10709" y="9544"/>
                      <a:pt x="19504" y="9544"/>
                    </a:cubicBezTo>
                    <a:cubicBezTo>
                      <a:pt x="22251" y="9544"/>
                      <a:pt x="24470" y="11764"/>
                      <a:pt x="24470" y="14510"/>
                    </a:cubicBezTo>
                    <a:cubicBezTo>
                      <a:pt x="24470" y="17257"/>
                      <a:pt x="22251" y="19476"/>
                      <a:pt x="19504" y="19476"/>
                    </a:cubicBezTo>
                    <a:close/>
                  </a:path>
                </a:pathLst>
              </a:custGeom>
              <a:solidFill>
                <a:schemeClr val="tx2"/>
              </a:solidFill>
              <a:ln w="2769" cap="flat">
                <a:noFill/>
                <a:prstDash val="solid"/>
                <a:miter/>
              </a:ln>
            </p:spPr>
            <p:txBody>
              <a:bodyPr rtlCol="0" anchor="ctr"/>
              <a:lstStyle/>
              <a:p>
                <a:endParaRPr lang="en-GB" dirty="0"/>
              </a:p>
            </p:txBody>
          </p:sp>
          <p:sp>
            <p:nvSpPr>
              <p:cNvPr id="182" name="Freihandform: Form 372">
                <a:extLst>
                  <a:ext uri="{FF2B5EF4-FFF2-40B4-BE49-F238E27FC236}">
                    <a16:creationId xmlns:a16="http://schemas.microsoft.com/office/drawing/2014/main" id="{95F86570-6081-4390-8AC3-D774770DD768}"/>
                  </a:ext>
                </a:extLst>
              </p:cNvPr>
              <p:cNvSpPr/>
              <p:nvPr/>
            </p:nvSpPr>
            <p:spPr>
              <a:xfrm>
                <a:off x="1913383" y="3569063"/>
                <a:ext cx="82954" cy="235414"/>
              </a:xfrm>
              <a:custGeom>
                <a:avLst/>
                <a:gdLst>
                  <a:gd name="connsiteX0" fmla="*/ 5022 w 82954"/>
                  <a:gd name="connsiteY0" fmla="*/ 235415 h 235414"/>
                  <a:gd name="connsiteX1" fmla="*/ 55 w 82954"/>
                  <a:gd name="connsiteY1" fmla="*/ 230449 h 235414"/>
                  <a:gd name="connsiteX2" fmla="*/ 0 w 82954"/>
                  <a:gd name="connsiteY2" fmla="*/ 12935 h 235414"/>
                  <a:gd name="connsiteX3" fmla="*/ 139 w 82954"/>
                  <a:gd name="connsiteY3" fmla="*/ 11769 h 235414"/>
                  <a:gd name="connsiteX4" fmla="*/ 14066 w 82954"/>
                  <a:gd name="connsiteY4" fmla="*/ 394 h 235414"/>
                  <a:gd name="connsiteX5" fmla="*/ 24470 w 82954"/>
                  <a:gd name="connsiteY5" fmla="*/ 339 h 235414"/>
                  <a:gd name="connsiteX6" fmla="*/ 77961 w 82954"/>
                  <a:gd name="connsiteY6" fmla="*/ 6 h 235414"/>
                  <a:gd name="connsiteX7" fmla="*/ 82955 w 82954"/>
                  <a:gd name="connsiteY7" fmla="*/ 4972 h 235414"/>
                  <a:gd name="connsiteX8" fmla="*/ 78016 w 82954"/>
                  <a:gd name="connsiteY8" fmla="*/ 9966 h 235414"/>
                  <a:gd name="connsiteX9" fmla="*/ 24553 w 82954"/>
                  <a:gd name="connsiteY9" fmla="*/ 10299 h 235414"/>
                  <a:gd name="connsiteX10" fmla="*/ 14066 w 82954"/>
                  <a:gd name="connsiteY10" fmla="*/ 10354 h 235414"/>
                  <a:gd name="connsiteX11" fmla="*/ 9960 w 82954"/>
                  <a:gd name="connsiteY11" fmla="*/ 13684 h 235414"/>
                  <a:gd name="connsiteX12" fmla="*/ 10016 w 82954"/>
                  <a:gd name="connsiteY12" fmla="*/ 230476 h 235414"/>
                  <a:gd name="connsiteX13" fmla="*/ 5022 w 82954"/>
                  <a:gd name="connsiteY13" fmla="*/ 235415 h 23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954" h="235414">
                    <a:moveTo>
                      <a:pt x="5022" y="235415"/>
                    </a:moveTo>
                    <a:cubicBezTo>
                      <a:pt x="2275" y="235415"/>
                      <a:pt x="55" y="233195"/>
                      <a:pt x="55" y="230449"/>
                    </a:cubicBezTo>
                    <a:lnTo>
                      <a:pt x="0" y="12935"/>
                    </a:lnTo>
                    <a:cubicBezTo>
                      <a:pt x="0" y="12546"/>
                      <a:pt x="55" y="12158"/>
                      <a:pt x="139" y="11769"/>
                    </a:cubicBezTo>
                    <a:cubicBezTo>
                      <a:pt x="1082" y="7830"/>
                      <a:pt x="5188" y="394"/>
                      <a:pt x="14066" y="394"/>
                    </a:cubicBezTo>
                    <a:cubicBezTo>
                      <a:pt x="15564" y="394"/>
                      <a:pt x="19005" y="367"/>
                      <a:pt x="24470" y="339"/>
                    </a:cubicBezTo>
                    <a:cubicBezTo>
                      <a:pt x="34819" y="255"/>
                      <a:pt x="52436" y="145"/>
                      <a:pt x="77961" y="6"/>
                    </a:cubicBezTo>
                    <a:cubicBezTo>
                      <a:pt x="80541" y="-133"/>
                      <a:pt x="82955" y="2225"/>
                      <a:pt x="82955" y="4972"/>
                    </a:cubicBezTo>
                    <a:cubicBezTo>
                      <a:pt x="82955" y="7719"/>
                      <a:pt x="80763" y="9938"/>
                      <a:pt x="78016" y="9966"/>
                    </a:cubicBezTo>
                    <a:cubicBezTo>
                      <a:pt x="52492" y="10077"/>
                      <a:pt x="34902" y="10216"/>
                      <a:pt x="24553" y="10299"/>
                    </a:cubicBezTo>
                    <a:cubicBezTo>
                      <a:pt x="19060" y="10327"/>
                      <a:pt x="15592" y="10354"/>
                      <a:pt x="14066" y="10354"/>
                    </a:cubicBezTo>
                    <a:cubicBezTo>
                      <a:pt x="11431" y="10354"/>
                      <a:pt x="10321" y="12685"/>
                      <a:pt x="9960" y="13684"/>
                    </a:cubicBezTo>
                    <a:lnTo>
                      <a:pt x="10016" y="230476"/>
                    </a:lnTo>
                    <a:cubicBezTo>
                      <a:pt x="9988" y="233195"/>
                      <a:pt x="7768" y="235415"/>
                      <a:pt x="5022" y="235415"/>
                    </a:cubicBezTo>
                    <a:close/>
                  </a:path>
                </a:pathLst>
              </a:custGeom>
              <a:solidFill>
                <a:schemeClr val="tx2"/>
              </a:solidFill>
              <a:ln w="2769" cap="flat">
                <a:noFill/>
                <a:prstDash val="solid"/>
                <a:miter/>
              </a:ln>
            </p:spPr>
            <p:txBody>
              <a:bodyPr rtlCol="0" anchor="ctr"/>
              <a:lstStyle/>
              <a:p>
                <a:endParaRPr lang="en-GB" dirty="0"/>
              </a:p>
            </p:txBody>
          </p:sp>
          <p:sp>
            <p:nvSpPr>
              <p:cNvPr id="183" name="Freihandform: Form 373">
                <a:extLst>
                  <a:ext uri="{FF2B5EF4-FFF2-40B4-BE49-F238E27FC236}">
                    <a16:creationId xmlns:a16="http://schemas.microsoft.com/office/drawing/2014/main" id="{13107CA2-0183-4BCA-8A48-0304FC83B291}"/>
                  </a:ext>
                </a:extLst>
              </p:cNvPr>
              <p:cNvSpPr/>
              <p:nvPr/>
            </p:nvSpPr>
            <p:spPr>
              <a:xfrm>
                <a:off x="1855259" y="3740472"/>
                <a:ext cx="9932" cy="64005"/>
              </a:xfrm>
              <a:custGeom>
                <a:avLst/>
                <a:gdLst>
                  <a:gd name="connsiteX0" fmla="*/ 4966 w 9932"/>
                  <a:gd name="connsiteY0" fmla="*/ 64006 h 64005"/>
                  <a:gd name="connsiteX1" fmla="*/ 0 w 9932"/>
                  <a:gd name="connsiteY1" fmla="*/ 59040 h 64005"/>
                  <a:gd name="connsiteX2" fmla="*/ 0 w 9932"/>
                  <a:gd name="connsiteY2" fmla="*/ 4966 h 64005"/>
                  <a:gd name="connsiteX3" fmla="*/ 4966 w 9932"/>
                  <a:gd name="connsiteY3" fmla="*/ 0 h 64005"/>
                  <a:gd name="connsiteX4" fmla="*/ 9932 w 9932"/>
                  <a:gd name="connsiteY4" fmla="*/ 4966 h 64005"/>
                  <a:gd name="connsiteX5" fmla="*/ 9932 w 9932"/>
                  <a:gd name="connsiteY5" fmla="*/ 59040 h 64005"/>
                  <a:gd name="connsiteX6" fmla="*/ 4966 w 9932"/>
                  <a:gd name="connsiteY6" fmla="*/ 64006 h 64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2" h="64005">
                    <a:moveTo>
                      <a:pt x="4966" y="64006"/>
                    </a:moveTo>
                    <a:cubicBezTo>
                      <a:pt x="2219" y="64006"/>
                      <a:pt x="0" y="61786"/>
                      <a:pt x="0" y="59040"/>
                    </a:cubicBezTo>
                    <a:lnTo>
                      <a:pt x="0" y="4966"/>
                    </a:lnTo>
                    <a:cubicBezTo>
                      <a:pt x="0" y="2219"/>
                      <a:pt x="2219" y="0"/>
                      <a:pt x="4966" y="0"/>
                    </a:cubicBezTo>
                    <a:cubicBezTo>
                      <a:pt x="7713" y="0"/>
                      <a:pt x="9932" y="2219"/>
                      <a:pt x="9932" y="4966"/>
                    </a:cubicBezTo>
                    <a:lnTo>
                      <a:pt x="9932" y="59040"/>
                    </a:lnTo>
                    <a:cubicBezTo>
                      <a:pt x="9932" y="61786"/>
                      <a:pt x="7713" y="64006"/>
                      <a:pt x="4966" y="64006"/>
                    </a:cubicBezTo>
                    <a:close/>
                  </a:path>
                </a:pathLst>
              </a:custGeom>
              <a:solidFill>
                <a:schemeClr val="tx2"/>
              </a:solidFill>
              <a:ln w="2769" cap="flat">
                <a:noFill/>
                <a:prstDash val="solid"/>
                <a:miter/>
              </a:ln>
            </p:spPr>
            <p:txBody>
              <a:bodyPr rtlCol="0" anchor="ctr"/>
              <a:lstStyle/>
              <a:p>
                <a:endParaRPr lang="en-GB" dirty="0"/>
              </a:p>
            </p:txBody>
          </p:sp>
          <p:sp>
            <p:nvSpPr>
              <p:cNvPr id="184" name="Freihandform: Form 374">
                <a:extLst>
                  <a:ext uri="{FF2B5EF4-FFF2-40B4-BE49-F238E27FC236}">
                    <a16:creationId xmlns:a16="http://schemas.microsoft.com/office/drawing/2014/main" id="{51E453B8-185C-4813-8319-4EC3BF0A6B07}"/>
                  </a:ext>
                </a:extLst>
              </p:cNvPr>
              <p:cNvSpPr/>
              <p:nvPr/>
            </p:nvSpPr>
            <p:spPr>
              <a:xfrm>
                <a:off x="1794111" y="3634434"/>
                <a:ext cx="9960" cy="170043"/>
              </a:xfrm>
              <a:custGeom>
                <a:avLst/>
                <a:gdLst>
                  <a:gd name="connsiteX0" fmla="*/ 4994 w 9960"/>
                  <a:gd name="connsiteY0" fmla="*/ 170044 h 170043"/>
                  <a:gd name="connsiteX1" fmla="*/ 28 w 9960"/>
                  <a:gd name="connsiteY1" fmla="*/ 165078 h 170043"/>
                  <a:gd name="connsiteX2" fmla="*/ 0 w 9960"/>
                  <a:gd name="connsiteY2" fmla="*/ 4966 h 170043"/>
                  <a:gd name="connsiteX3" fmla="*/ 4966 w 9960"/>
                  <a:gd name="connsiteY3" fmla="*/ 0 h 170043"/>
                  <a:gd name="connsiteX4" fmla="*/ 9932 w 9960"/>
                  <a:gd name="connsiteY4" fmla="*/ 4966 h 170043"/>
                  <a:gd name="connsiteX5" fmla="*/ 9960 w 9960"/>
                  <a:gd name="connsiteY5" fmla="*/ 165078 h 170043"/>
                  <a:gd name="connsiteX6" fmla="*/ 4994 w 9960"/>
                  <a:gd name="connsiteY6" fmla="*/ 170044 h 170043"/>
                  <a:gd name="connsiteX7" fmla="*/ 4994 w 9960"/>
                  <a:gd name="connsiteY7" fmla="*/ 170044 h 17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0" h="170043">
                    <a:moveTo>
                      <a:pt x="4994" y="170044"/>
                    </a:moveTo>
                    <a:cubicBezTo>
                      <a:pt x="2247" y="170044"/>
                      <a:pt x="28" y="167824"/>
                      <a:pt x="28" y="165078"/>
                    </a:cubicBezTo>
                    <a:lnTo>
                      <a:pt x="0" y="4966"/>
                    </a:lnTo>
                    <a:cubicBezTo>
                      <a:pt x="0" y="2219"/>
                      <a:pt x="2220" y="0"/>
                      <a:pt x="4966" y="0"/>
                    </a:cubicBezTo>
                    <a:cubicBezTo>
                      <a:pt x="7713" y="0"/>
                      <a:pt x="9932" y="2219"/>
                      <a:pt x="9932" y="4966"/>
                    </a:cubicBezTo>
                    <a:lnTo>
                      <a:pt x="9960" y="165078"/>
                    </a:lnTo>
                    <a:cubicBezTo>
                      <a:pt x="9960" y="167824"/>
                      <a:pt x="7741" y="170044"/>
                      <a:pt x="4994" y="170044"/>
                    </a:cubicBezTo>
                    <a:lnTo>
                      <a:pt x="4994" y="170044"/>
                    </a:lnTo>
                    <a:close/>
                  </a:path>
                </a:pathLst>
              </a:custGeom>
              <a:solidFill>
                <a:schemeClr val="tx2"/>
              </a:solidFill>
              <a:ln w="2769" cap="flat">
                <a:noFill/>
                <a:prstDash val="solid"/>
                <a:miter/>
              </a:ln>
            </p:spPr>
            <p:txBody>
              <a:bodyPr rtlCol="0" anchor="ctr"/>
              <a:lstStyle/>
              <a:p>
                <a:endParaRPr lang="en-GB" dirty="0"/>
              </a:p>
            </p:txBody>
          </p:sp>
          <p:sp>
            <p:nvSpPr>
              <p:cNvPr id="185" name="Freihandform: Form 378">
                <a:extLst>
                  <a:ext uri="{FF2B5EF4-FFF2-40B4-BE49-F238E27FC236}">
                    <a16:creationId xmlns:a16="http://schemas.microsoft.com/office/drawing/2014/main" id="{76AEACA2-CFB4-4C0F-B25E-F2E2B4A87759}"/>
                  </a:ext>
                </a:extLst>
              </p:cNvPr>
              <p:cNvSpPr/>
              <p:nvPr/>
            </p:nvSpPr>
            <p:spPr>
              <a:xfrm>
                <a:off x="1806707" y="3393393"/>
                <a:ext cx="107591" cy="120631"/>
              </a:xfrm>
              <a:custGeom>
                <a:avLst/>
                <a:gdLst>
                  <a:gd name="connsiteX0" fmla="*/ 53796 w 107591"/>
                  <a:gd name="connsiteY0" fmla="*/ 120631 h 120631"/>
                  <a:gd name="connsiteX1" fmla="*/ 0 w 107591"/>
                  <a:gd name="connsiteY1" fmla="*/ 60316 h 120631"/>
                  <a:gd name="connsiteX2" fmla="*/ 53796 w 107591"/>
                  <a:gd name="connsiteY2" fmla="*/ 0 h 120631"/>
                  <a:gd name="connsiteX3" fmla="*/ 107592 w 107591"/>
                  <a:gd name="connsiteY3" fmla="*/ 60316 h 120631"/>
                  <a:gd name="connsiteX4" fmla="*/ 53796 w 107591"/>
                  <a:gd name="connsiteY4" fmla="*/ 120631 h 120631"/>
                  <a:gd name="connsiteX5" fmla="*/ 53796 w 107591"/>
                  <a:gd name="connsiteY5" fmla="*/ 9932 h 120631"/>
                  <a:gd name="connsiteX6" fmla="*/ 9960 w 107591"/>
                  <a:gd name="connsiteY6" fmla="*/ 60316 h 120631"/>
                  <a:gd name="connsiteX7" fmla="*/ 53796 w 107591"/>
                  <a:gd name="connsiteY7" fmla="*/ 110699 h 120631"/>
                  <a:gd name="connsiteX8" fmla="*/ 97659 w 107591"/>
                  <a:gd name="connsiteY8" fmla="*/ 60316 h 120631"/>
                  <a:gd name="connsiteX9" fmla="*/ 53796 w 107591"/>
                  <a:gd name="connsiteY9" fmla="*/ 9932 h 120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591" h="120631">
                    <a:moveTo>
                      <a:pt x="53796" y="120631"/>
                    </a:moveTo>
                    <a:cubicBezTo>
                      <a:pt x="24137" y="120631"/>
                      <a:pt x="0" y="93581"/>
                      <a:pt x="0" y="60316"/>
                    </a:cubicBezTo>
                    <a:cubicBezTo>
                      <a:pt x="0" y="27051"/>
                      <a:pt x="24137" y="0"/>
                      <a:pt x="53796" y="0"/>
                    </a:cubicBezTo>
                    <a:cubicBezTo>
                      <a:pt x="83454" y="0"/>
                      <a:pt x="107592" y="27051"/>
                      <a:pt x="107592" y="60316"/>
                    </a:cubicBezTo>
                    <a:cubicBezTo>
                      <a:pt x="107620" y="93581"/>
                      <a:pt x="83482" y="120631"/>
                      <a:pt x="53796" y="120631"/>
                    </a:cubicBezTo>
                    <a:close/>
                    <a:moveTo>
                      <a:pt x="53796" y="9932"/>
                    </a:moveTo>
                    <a:cubicBezTo>
                      <a:pt x="29631" y="9932"/>
                      <a:pt x="9960" y="32544"/>
                      <a:pt x="9960" y="60316"/>
                    </a:cubicBezTo>
                    <a:cubicBezTo>
                      <a:pt x="9960" y="88088"/>
                      <a:pt x="29631" y="110699"/>
                      <a:pt x="53796" y="110699"/>
                    </a:cubicBezTo>
                    <a:cubicBezTo>
                      <a:pt x="77989" y="110699"/>
                      <a:pt x="97659" y="88088"/>
                      <a:pt x="97659" y="60316"/>
                    </a:cubicBezTo>
                    <a:cubicBezTo>
                      <a:pt x="97659" y="32544"/>
                      <a:pt x="77989" y="9932"/>
                      <a:pt x="53796" y="9932"/>
                    </a:cubicBezTo>
                    <a:close/>
                  </a:path>
                </a:pathLst>
              </a:custGeom>
              <a:solidFill>
                <a:schemeClr val="tx2"/>
              </a:solidFill>
              <a:ln w="2769" cap="flat">
                <a:noFill/>
                <a:prstDash val="solid"/>
                <a:miter/>
              </a:ln>
            </p:spPr>
            <p:txBody>
              <a:bodyPr rtlCol="0" anchor="ctr"/>
              <a:lstStyle/>
              <a:p>
                <a:endParaRPr lang="en-GB" dirty="0"/>
              </a:p>
            </p:txBody>
          </p:sp>
        </p:grpSp>
        <p:grpSp>
          <p:nvGrpSpPr>
            <p:cNvPr id="172" name="Gruppieren 226">
              <a:extLst>
                <a:ext uri="{FF2B5EF4-FFF2-40B4-BE49-F238E27FC236}">
                  <a16:creationId xmlns:a16="http://schemas.microsoft.com/office/drawing/2014/main" id="{B16AA63A-6A4C-4C45-BBA9-CE5B5D0AA849}"/>
                </a:ext>
              </a:extLst>
            </p:cNvPr>
            <p:cNvGrpSpPr/>
            <p:nvPr/>
          </p:nvGrpSpPr>
          <p:grpSpPr>
            <a:xfrm>
              <a:off x="1898956" y="3356632"/>
              <a:ext cx="276581" cy="447596"/>
              <a:chOff x="1898956" y="3356632"/>
              <a:chExt cx="276581" cy="447596"/>
            </a:xfrm>
          </p:grpSpPr>
          <p:grpSp>
            <p:nvGrpSpPr>
              <p:cNvPr id="173" name="Grafik 126">
                <a:extLst>
                  <a:ext uri="{FF2B5EF4-FFF2-40B4-BE49-F238E27FC236}">
                    <a16:creationId xmlns:a16="http://schemas.microsoft.com/office/drawing/2014/main" id="{7DDF4F42-7DAE-49CF-8F42-54C5F4670A96}"/>
                  </a:ext>
                </a:extLst>
              </p:cNvPr>
              <p:cNvGrpSpPr/>
              <p:nvPr/>
            </p:nvGrpSpPr>
            <p:grpSpPr>
              <a:xfrm>
                <a:off x="2091333" y="3485670"/>
                <a:ext cx="84204" cy="318558"/>
                <a:chOff x="2091333" y="3485670"/>
                <a:chExt cx="84204" cy="318558"/>
              </a:xfrm>
              <a:solidFill>
                <a:schemeClr val="accent1"/>
              </a:solidFill>
            </p:grpSpPr>
            <p:sp>
              <p:nvSpPr>
                <p:cNvPr id="178" name="Freihandform: Form 376">
                  <a:extLst>
                    <a:ext uri="{FF2B5EF4-FFF2-40B4-BE49-F238E27FC236}">
                      <a16:creationId xmlns:a16="http://schemas.microsoft.com/office/drawing/2014/main" id="{4DE71776-AE7C-4E41-AEE9-600A326D3F8C}"/>
                    </a:ext>
                  </a:extLst>
                </p:cNvPr>
                <p:cNvSpPr/>
                <p:nvPr/>
              </p:nvSpPr>
              <p:spPr>
                <a:xfrm>
                  <a:off x="2091333" y="3485670"/>
                  <a:ext cx="84204" cy="249003"/>
                </a:xfrm>
                <a:custGeom>
                  <a:avLst/>
                  <a:gdLst>
                    <a:gd name="connsiteX0" fmla="*/ 60622 w 84204"/>
                    <a:gd name="connsiteY0" fmla="*/ 249004 h 249003"/>
                    <a:gd name="connsiteX1" fmla="*/ 37012 w 84204"/>
                    <a:gd name="connsiteY1" fmla="*/ 225366 h 249003"/>
                    <a:gd name="connsiteX2" fmla="*/ 37012 w 84204"/>
                    <a:gd name="connsiteY2" fmla="*/ 79099 h 249003"/>
                    <a:gd name="connsiteX3" fmla="*/ 41978 w 84204"/>
                    <a:gd name="connsiteY3" fmla="*/ 74132 h 249003"/>
                    <a:gd name="connsiteX4" fmla="*/ 46944 w 84204"/>
                    <a:gd name="connsiteY4" fmla="*/ 79099 h 249003"/>
                    <a:gd name="connsiteX5" fmla="*/ 46944 w 84204"/>
                    <a:gd name="connsiteY5" fmla="*/ 225366 h 249003"/>
                    <a:gd name="connsiteX6" fmla="*/ 60622 w 84204"/>
                    <a:gd name="connsiteY6" fmla="*/ 239043 h 249003"/>
                    <a:gd name="connsiteX7" fmla="*/ 74300 w 84204"/>
                    <a:gd name="connsiteY7" fmla="*/ 225366 h 249003"/>
                    <a:gd name="connsiteX8" fmla="*/ 74300 w 84204"/>
                    <a:gd name="connsiteY8" fmla="*/ 43974 h 249003"/>
                    <a:gd name="connsiteX9" fmla="*/ 44475 w 84204"/>
                    <a:gd name="connsiteY9" fmla="*/ 19116 h 249003"/>
                    <a:gd name="connsiteX10" fmla="*/ 15815 w 84204"/>
                    <a:gd name="connsiteY10" fmla="*/ 19116 h 249003"/>
                    <a:gd name="connsiteX11" fmla="*/ 1 w 84204"/>
                    <a:gd name="connsiteY11" fmla="*/ 5049 h 249003"/>
                    <a:gd name="connsiteX12" fmla="*/ 4884 w 84204"/>
                    <a:gd name="connsiteY12" fmla="*/ 0 h 249003"/>
                    <a:gd name="connsiteX13" fmla="*/ 9933 w 84204"/>
                    <a:gd name="connsiteY13" fmla="*/ 4883 h 249003"/>
                    <a:gd name="connsiteX14" fmla="*/ 16315 w 84204"/>
                    <a:gd name="connsiteY14" fmla="*/ 9183 h 249003"/>
                    <a:gd name="connsiteX15" fmla="*/ 44447 w 84204"/>
                    <a:gd name="connsiteY15" fmla="*/ 9156 h 249003"/>
                    <a:gd name="connsiteX16" fmla="*/ 84204 w 84204"/>
                    <a:gd name="connsiteY16" fmla="*/ 43947 h 249003"/>
                    <a:gd name="connsiteX17" fmla="*/ 84204 w 84204"/>
                    <a:gd name="connsiteY17" fmla="*/ 225338 h 249003"/>
                    <a:gd name="connsiteX18" fmla="*/ 60622 w 84204"/>
                    <a:gd name="connsiteY18" fmla="*/ 249004 h 24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4204" h="249003">
                      <a:moveTo>
                        <a:pt x="60622" y="249004"/>
                      </a:moveTo>
                      <a:cubicBezTo>
                        <a:pt x="47582" y="249004"/>
                        <a:pt x="37012" y="238405"/>
                        <a:pt x="37012" y="225366"/>
                      </a:cubicBezTo>
                      <a:lnTo>
                        <a:pt x="37012" y="79099"/>
                      </a:lnTo>
                      <a:cubicBezTo>
                        <a:pt x="37012" y="76352"/>
                        <a:pt x="39231" y="74132"/>
                        <a:pt x="41978" y="74132"/>
                      </a:cubicBezTo>
                      <a:cubicBezTo>
                        <a:pt x="44725" y="74132"/>
                        <a:pt x="46944" y="76352"/>
                        <a:pt x="46944" y="79099"/>
                      </a:cubicBezTo>
                      <a:lnTo>
                        <a:pt x="46944" y="225366"/>
                      </a:lnTo>
                      <a:cubicBezTo>
                        <a:pt x="46944" y="232912"/>
                        <a:pt x="53076" y="239043"/>
                        <a:pt x="60622" y="239043"/>
                      </a:cubicBezTo>
                      <a:cubicBezTo>
                        <a:pt x="68168" y="239043"/>
                        <a:pt x="74300" y="232912"/>
                        <a:pt x="74300" y="225366"/>
                      </a:cubicBezTo>
                      <a:lnTo>
                        <a:pt x="74300" y="43974"/>
                      </a:lnTo>
                      <a:cubicBezTo>
                        <a:pt x="74300" y="19532"/>
                        <a:pt x="45696" y="19116"/>
                        <a:pt x="44475" y="19116"/>
                      </a:cubicBezTo>
                      <a:lnTo>
                        <a:pt x="15815" y="19116"/>
                      </a:lnTo>
                      <a:cubicBezTo>
                        <a:pt x="10100" y="18561"/>
                        <a:pt x="167" y="14954"/>
                        <a:pt x="1" y="5049"/>
                      </a:cubicBezTo>
                      <a:cubicBezTo>
                        <a:pt x="-54" y="2303"/>
                        <a:pt x="2137" y="55"/>
                        <a:pt x="4884" y="0"/>
                      </a:cubicBezTo>
                      <a:cubicBezTo>
                        <a:pt x="7658" y="194"/>
                        <a:pt x="9906" y="2136"/>
                        <a:pt x="9933" y="4883"/>
                      </a:cubicBezTo>
                      <a:cubicBezTo>
                        <a:pt x="9989" y="8379"/>
                        <a:pt x="16259" y="9156"/>
                        <a:pt x="16315" y="9183"/>
                      </a:cubicBezTo>
                      <a:lnTo>
                        <a:pt x="44447" y="9156"/>
                      </a:lnTo>
                      <a:cubicBezTo>
                        <a:pt x="58208" y="9156"/>
                        <a:pt x="84204" y="16424"/>
                        <a:pt x="84204" y="43947"/>
                      </a:cubicBezTo>
                      <a:lnTo>
                        <a:pt x="84204" y="225338"/>
                      </a:lnTo>
                      <a:cubicBezTo>
                        <a:pt x="84232" y="238405"/>
                        <a:pt x="73634" y="249004"/>
                        <a:pt x="60622" y="249004"/>
                      </a:cubicBezTo>
                      <a:close/>
                    </a:path>
                  </a:pathLst>
                </a:custGeom>
                <a:solidFill>
                  <a:schemeClr val="accent1"/>
                </a:solidFill>
                <a:ln w="2769" cap="flat">
                  <a:noFill/>
                  <a:prstDash val="solid"/>
                  <a:miter/>
                </a:ln>
              </p:spPr>
              <p:txBody>
                <a:bodyPr rtlCol="0" anchor="ctr"/>
                <a:lstStyle/>
                <a:p>
                  <a:endParaRPr lang="en-GB" dirty="0"/>
                </a:p>
              </p:txBody>
            </p:sp>
            <p:sp>
              <p:nvSpPr>
                <p:cNvPr id="179" name="Freihandform: Form 377">
                  <a:extLst>
                    <a:ext uri="{FF2B5EF4-FFF2-40B4-BE49-F238E27FC236}">
                      <a16:creationId xmlns:a16="http://schemas.microsoft.com/office/drawing/2014/main" id="{1ABC1CEC-277C-4DCE-A26F-3B13312C9B51}"/>
                    </a:ext>
                  </a:extLst>
                </p:cNvPr>
                <p:cNvSpPr/>
                <p:nvPr/>
              </p:nvSpPr>
              <p:spPr>
                <a:xfrm>
                  <a:off x="2128289" y="3597839"/>
                  <a:ext cx="9960" cy="206388"/>
                </a:xfrm>
                <a:custGeom>
                  <a:avLst/>
                  <a:gdLst>
                    <a:gd name="connsiteX0" fmla="*/ 4966 w 9960"/>
                    <a:gd name="connsiteY0" fmla="*/ 206389 h 206388"/>
                    <a:gd name="connsiteX1" fmla="*/ 4966 w 9960"/>
                    <a:gd name="connsiteY1" fmla="*/ 206389 h 206388"/>
                    <a:gd name="connsiteX2" fmla="*/ 0 w 9960"/>
                    <a:gd name="connsiteY2" fmla="*/ 201422 h 206388"/>
                    <a:gd name="connsiteX3" fmla="*/ 28 w 9960"/>
                    <a:gd name="connsiteY3" fmla="*/ 4966 h 206388"/>
                    <a:gd name="connsiteX4" fmla="*/ 4994 w 9960"/>
                    <a:gd name="connsiteY4" fmla="*/ 0 h 206388"/>
                    <a:gd name="connsiteX5" fmla="*/ 9960 w 9960"/>
                    <a:gd name="connsiteY5" fmla="*/ 4966 h 206388"/>
                    <a:gd name="connsiteX6" fmla="*/ 9932 w 9960"/>
                    <a:gd name="connsiteY6" fmla="*/ 201422 h 206388"/>
                    <a:gd name="connsiteX7" fmla="*/ 4966 w 9960"/>
                    <a:gd name="connsiteY7" fmla="*/ 206389 h 206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60" h="206388">
                      <a:moveTo>
                        <a:pt x="4966" y="206389"/>
                      </a:moveTo>
                      <a:lnTo>
                        <a:pt x="4966" y="206389"/>
                      </a:lnTo>
                      <a:cubicBezTo>
                        <a:pt x="2219" y="206389"/>
                        <a:pt x="0" y="204169"/>
                        <a:pt x="0" y="201422"/>
                      </a:cubicBezTo>
                      <a:lnTo>
                        <a:pt x="28" y="4966"/>
                      </a:lnTo>
                      <a:cubicBezTo>
                        <a:pt x="28" y="2219"/>
                        <a:pt x="2247" y="0"/>
                        <a:pt x="4994" y="0"/>
                      </a:cubicBezTo>
                      <a:cubicBezTo>
                        <a:pt x="7741" y="0"/>
                        <a:pt x="9960" y="2219"/>
                        <a:pt x="9960" y="4966"/>
                      </a:cubicBezTo>
                      <a:lnTo>
                        <a:pt x="9932" y="201422"/>
                      </a:lnTo>
                      <a:cubicBezTo>
                        <a:pt x="9932" y="204169"/>
                        <a:pt x="7713" y="206389"/>
                        <a:pt x="4966" y="206389"/>
                      </a:cubicBezTo>
                      <a:close/>
                    </a:path>
                  </a:pathLst>
                </a:custGeom>
                <a:solidFill>
                  <a:schemeClr val="accent1"/>
                </a:solidFill>
                <a:ln w="2769" cap="flat">
                  <a:noFill/>
                  <a:prstDash val="solid"/>
                  <a:miter/>
                </a:ln>
              </p:spPr>
              <p:txBody>
                <a:bodyPr rtlCol="0" anchor="ctr"/>
                <a:lstStyle/>
                <a:p>
                  <a:endParaRPr lang="en-GB" dirty="0"/>
                </a:p>
              </p:txBody>
            </p:sp>
          </p:grpSp>
          <p:sp>
            <p:nvSpPr>
              <p:cNvPr id="174" name="Freihandform: Form 379">
                <a:extLst>
                  <a:ext uri="{FF2B5EF4-FFF2-40B4-BE49-F238E27FC236}">
                    <a16:creationId xmlns:a16="http://schemas.microsoft.com/office/drawing/2014/main" id="{D9C81FB7-F0B3-4614-A2C4-3419318B5F0A}"/>
                  </a:ext>
                </a:extLst>
              </p:cNvPr>
              <p:cNvSpPr/>
              <p:nvPr/>
            </p:nvSpPr>
            <p:spPr>
              <a:xfrm>
                <a:off x="2073439" y="3703711"/>
                <a:ext cx="9932" cy="100378"/>
              </a:xfrm>
              <a:custGeom>
                <a:avLst/>
                <a:gdLst>
                  <a:gd name="connsiteX0" fmla="*/ 4966 w 9932"/>
                  <a:gd name="connsiteY0" fmla="*/ 100378 h 100378"/>
                  <a:gd name="connsiteX1" fmla="*/ 0 w 9932"/>
                  <a:gd name="connsiteY1" fmla="*/ 95412 h 100378"/>
                  <a:gd name="connsiteX2" fmla="*/ 0 w 9932"/>
                  <a:gd name="connsiteY2" fmla="*/ 4966 h 100378"/>
                  <a:gd name="connsiteX3" fmla="*/ 4966 w 9932"/>
                  <a:gd name="connsiteY3" fmla="*/ 0 h 100378"/>
                  <a:gd name="connsiteX4" fmla="*/ 9932 w 9932"/>
                  <a:gd name="connsiteY4" fmla="*/ 4966 h 100378"/>
                  <a:gd name="connsiteX5" fmla="*/ 9932 w 9932"/>
                  <a:gd name="connsiteY5" fmla="*/ 95412 h 100378"/>
                  <a:gd name="connsiteX6" fmla="*/ 4966 w 9932"/>
                  <a:gd name="connsiteY6" fmla="*/ 100378 h 100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2" h="100378">
                    <a:moveTo>
                      <a:pt x="4966" y="100378"/>
                    </a:moveTo>
                    <a:cubicBezTo>
                      <a:pt x="2219" y="100378"/>
                      <a:pt x="0" y="98159"/>
                      <a:pt x="0" y="95412"/>
                    </a:cubicBezTo>
                    <a:lnTo>
                      <a:pt x="0" y="4966"/>
                    </a:lnTo>
                    <a:cubicBezTo>
                      <a:pt x="0" y="2219"/>
                      <a:pt x="2219" y="0"/>
                      <a:pt x="4966" y="0"/>
                    </a:cubicBezTo>
                    <a:cubicBezTo>
                      <a:pt x="7713" y="0"/>
                      <a:pt x="9932" y="2219"/>
                      <a:pt x="9932" y="4966"/>
                    </a:cubicBezTo>
                    <a:lnTo>
                      <a:pt x="9932" y="95412"/>
                    </a:lnTo>
                    <a:cubicBezTo>
                      <a:pt x="9932" y="98131"/>
                      <a:pt x="7713" y="100378"/>
                      <a:pt x="4966" y="100378"/>
                    </a:cubicBezTo>
                    <a:close/>
                  </a:path>
                </a:pathLst>
              </a:custGeom>
              <a:solidFill>
                <a:schemeClr val="accent1"/>
              </a:solidFill>
              <a:ln w="2769" cap="flat">
                <a:noFill/>
                <a:prstDash val="solid"/>
                <a:miter/>
              </a:ln>
            </p:spPr>
            <p:txBody>
              <a:bodyPr rtlCol="0" anchor="ctr"/>
              <a:lstStyle/>
              <a:p>
                <a:endParaRPr lang="en-GB" dirty="0"/>
              </a:p>
            </p:txBody>
          </p:sp>
          <p:sp>
            <p:nvSpPr>
              <p:cNvPr id="175" name="Freihandform: Form 380">
                <a:extLst>
                  <a:ext uri="{FF2B5EF4-FFF2-40B4-BE49-F238E27FC236}">
                    <a16:creationId xmlns:a16="http://schemas.microsoft.com/office/drawing/2014/main" id="{FCAD05A4-D465-46F2-BD67-66E55CA2920A}"/>
                  </a:ext>
                </a:extLst>
              </p:cNvPr>
              <p:cNvSpPr/>
              <p:nvPr/>
            </p:nvSpPr>
            <p:spPr>
              <a:xfrm>
                <a:off x="1915908" y="3485725"/>
                <a:ext cx="138609" cy="19642"/>
              </a:xfrm>
              <a:custGeom>
                <a:avLst/>
                <a:gdLst>
                  <a:gd name="connsiteX0" fmla="*/ 108396 w 138609"/>
                  <a:gd name="connsiteY0" fmla="*/ 19643 h 19642"/>
                  <a:gd name="connsiteX1" fmla="*/ 0 w 138609"/>
                  <a:gd name="connsiteY1" fmla="*/ 18949 h 19642"/>
                  <a:gd name="connsiteX2" fmla="*/ 83 w 138609"/>
                  <a:gd name="connsiteY2" fmla="*/ 9017 h 19642"/>
                  <a:gd name="connsiteX3" fmla="*/ 108369 w 138609"/>
                  <a:gd name="connsiteY3" fmla="*/ 9710 h 19642"/>
                  <a:gd name="connsiteX4" fmla="*/ 120465 w 138609"/>
                  <a:gd name="connsiteY4" fmla="*/ 9544 h 19642"/>
                  <a:gd name="connsiteX5" fmla="*/ 120465 w 138609"/>
                  <a:gd name="connsiteY5" fmla="*/ 9544 h 19642"/>
                  <a:gd name="connsiteX6" fmla="*/ 127900 w 138609"/>
                  <a:gd name="connsiteY6" fmla="*/ 6936 h 19642"/>
                  <a:gd name="connsiteX7" fmla="*/ 128677 w 138609"/>
                  <a:gd name="connsiteY7" fmla="*/ 4966 h 19642"/>
                  <a:gd name="connsiteX8" fmla="*/ 133643 w 138609"/>
                  <a:gd name="connsiteY8" fmla="*/ 0 h 19642"/>
                  <a:gd name="connsiteX9" fmla="*/ 133643 w 138609"/>
                  <a:gd name="connsiteY9" fmla="*/ 0 h 19642"/>
                  <a:gd name="connsiteX10" fmla="*/ 138610 w 138609"/>
                  <a:gd name="connsiteY10" fmla="*/ 4966 h 19642"/>
                  <a:gd name="connsiteX11" fmla="*/ 136085 w 138609"/>
                  <a:gd name="connsiteY11" fmla="*/ 12568 h 19642"/>
                  <a:gd name="connsiteX12" fmla="*/ 120520 w 138609"/>
                  <a:gd name="connsiteY12" fmla="*/ 19504 h 19642"/>
                  <a:gd name="connsiteX13" fmla="*/ 120493 w 138609"/>
                  <a:gd name="connsiteY13" fmla="*/ 19504 h 19642"/>
                  <a:gd name="connsiteX14" fmla="*/ 108396 w 138609"/>
                  <a:gd name="connsiteY14" fmla="*/ 19643 h 19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8609" h="19642">
                    <a:moveTo>
                      <a:pt x="108396" y="19643"/>
                    </a:moveTo>
                    <a:cubicBezTo>
                      <a:pt x="81374" y="19532"/>
                      <a:pt x="0" y="18949"/>
                      <a:pt x="0" y="18949"/>
                    </a:cubicBezTo>
                    <a:lnTo>
                      <a:pt x="83" y="9017"/>
                    </a:lnTo>
                    <a:cubicBezTo>
                      <a:pt x="83" y="9017"/>
                      <a:pt x="81429" y="9600"/>
                      <a:pt x="108369" y="9710"/>
                    </a:cubicBezTo>
                    <a:lnTo>
                      <a:pt x="120465" y="9544"/>
                    </a:lnTo>
                    <a:cubicBezTo>
                      <a:pt x="120465" y="9544"/>
                      <a:pt x="120465" y="9544"/>
                      <a:pt x="120465" y="9544"/>
                    </a:cubicBezTo>
                    <a:cubicBezTo>
                      <a:pt x="123073" y="9544"/>
                      <a:pt x="126430" y="9100"/>
                      <a:pt x="127900" y="6936"/>
                    </a:cubicBezTo>
                    <a:cubicBezTo>
                      <a:pt x="128539" y="5993"/>
                      <a:pt x="128677" y="4994"/>
                      <a:pt x="128677" y="4966"/>
                    </a:cubicBezTo>
                    <a:cubicBezTo>
                      <a:pt x="128677" y="2220"/>
                      <a:pt x="130897" y="0"/>
                      <a:pt x="133643" y="0"/>
                    </a:cubicBezTo>
                    <a:lnTo>
                      <a:pt x="133643" y="0"/>
                    </a:lnTo>
                    <a:cubicBezTo>
                      <a:pt x="136390" y="0"/>
                      <a:pt x="138610" y="2220"/>
                      <a:pt x="138610" y="4966"/>
                    </a:cubicBezTo>
                    <a:cubicBezTo>
                      <a:pt x="138610" y="5632"/>
                      <a:pt x="138499" y="9072"/>
                      <a:pt x="136085" y="12568"/>
                    </a:cubicBezTo>
                    <a:cubicBezTo>
                      <a:pt x="133921" y="15731"/>
                      <a:pt x="129454" y="19504"/>
                      <a:pt x="120520" y="19504"/>
                    </a:cubicBezTo>
                    <a:cubicBezTo>
                      <a:pt x="120520" y="19504"/>
                      <a:pt x="120520" y="19504"/>
                      <a:pt x="120493" y="19504"/>
                    </a:cubicBezTo>
                    <a:lnTo>
                      <a:pt x="108396" y="19643"/>
                    </a:lnTo>
                    <a:close/>
                  </a:path>
                </a:pathLst>
              </a:custGeom>
              <a:solidFill>
                <a:schemeClr val="accent1"/>
              </a:solidFill>
              <a:ln w="2769" cap="flat">
                <a:noFill/>
                <a:prstDash val="solid"/>
                <a:miter/>
              </a:ln>
            </p:spPr>
            <p:txBody>
              <a:bodyPr rtlCol="0" anchor="ctr"/>
              <a:lstStyle/>
              <a:p>
                <a:endParaRPr lang="en-GB" dirty="0"/>
              </a:p>
            </p:txBody>
          </p:sp>
          <p:sp>
            <p:nvSpPr>
              <p:cNvPr id="176" name="Freihandform: Form 381">
                <a:extLst>
                  <a:ext uri="{FF2B5EF4-FFF2-40B4-BE49-F238E27FC236}">
                    <a16:creationId xmlns:a16="http://schemas.microsoft.com/office/drawing/2014/main" id="{AF1169EF-FACD-4312-8775-43F676D288AD}"/>
                  </a:ext>
                </a:extLst>
              </p:cNvPr>
              <p:cNvSpPr/>
              <p:nvPr/>
            </p:nvSpPr>
            <p:spPr>
              <a:xfrm>
                <a:off x="1898956" y="3532003"/>
                <a:ext cx="124710" cy="272086"/>
              </a:xfrm>
              <a:custGeom>
                <a:avLst/>
                <a:gdLst>
                  <a:gd name="connsiteX0" fmla="*/ 119633 w 124710"/>
                  <a:gd name="connsiteY0" fmla="*/ 272087 h 272086"/>
                  <a:gd name="connsiteX1" fmla="*/ 114667 w 124710"/>
                  <a:gd name="connsiteY1" fmla="*/ 267121 h 272086"/>
                  <a:gd name="connsiteX2" fmla="*/ 114722 w 124710"/>
                  <a:gd name="connsiteY2" fmla="*/ 13955 h 272086"/>
                  <a:gd name="connsiteX3" fmla="*/ 110616 w 124710"/>
                  <a:gd name="connsiteY3" fmla="*/ 10626 h 272086"/>
                  <a:gd name="connsiteX4" fmla="*/ 88865 w 124710"/>
                  <a:gd name="connsiteY4" fmla="*/ 10487 h 272086"/>
                  <a:gd name="connsiteX5" fmla="*/ 4939 w 124710"/>
                  <a:gd name="connsiteY5" fmla="*/ 9960 h 272086"/>
                  <a:gd name="connsiteX6" fmla="*/ 0 w 124710"/>
                  <a:gd name="connsiteY6" fmla="*/ 4966 h 272086"/>
                  <a:gd name="connsiteX7" fmla="*/ 4966 w 124710"/>
                  <a:gd name="connsiteY7" fmla="*/ 0 h 272086"/>
                  <a:gd name="connsiteX8" fmla="*/ 4994 w 124710"/>
                  <a:gd name="connsiteY8" fmla="*/ 0 h 272086"/>
                  <a:gd name="connsiteX9" fmla="*/ 88948 w 124710"/>
                  <a:gd name="connsiteY9" fmla="*/ 527 h 272086"/>
                  <a:gd name="connsiteX10" fmla="*/ 110644 w 124710"/>
                  <a:gd name="connsiteY10" fmla="*/ 666 h 272086"/>
                  <a:gd name="connsiteX11" fmla="*/ 124571 w 124710"/>
                  <a:gd name="connsiteY11" fmla="*/ 12041 h 272086"/>
                  <a:gd name="connsiteX12" fmla="*/ 124710 w 124710"/>
                  <a:gd name="connsiteY12" fmla="*/ 13206 h 272086"/>
                  <a:gd name="connsiteX13" fmla="*/ 124627 w 124710"/>
                  <a:gd name="connsiteY13" fmla="*/ 267121 h 272086"/>
                  <a:gd name="connsiteX14" fmla="*/ 119633 w 124710"/>
                  <a:gd name="connsiteY14" fmla="*/ 272087 h 272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710" h="272086">
                    <a:moveTo>
                      <a:pt x="119633" y="272087"/>
                    </a:moveTo>
                    <a:cubicBezTo>
                      <a:pt x="116886" y="272087"/>
                      <a:pt x="114667" y="269867"/>
                      <a:pt x="114667" y="267121"/>
                    </a:cubicBezTo>
                    <a:lnTo>
                      <a:pt x="114722" y="13955"/>
                    </a:lnTo>
                    <a:cubicBezTo>
                      <a:pt x="114334" y="12901"/>
                      <a:pt x="113224" y="10626"/>
                      <a:pt x="110616" y="10626"/>
                    </a:cubicBezTo>
                    <a:cubicBezTo>
                      <a:pt x="109090" y="10626"/>
                      <a:pt x="100739" y="10571"/>
                      <a:pt x="88865" y="10487"/>
                    </a:cubicBezTo>
                    <a:cubicBezTo>
                      <a:pt x="66225" y="10321"/>
                      <a:pt x="30685" y="10071"/>
                      <a:pt x="4939" y="9960"/>
                    </a:cubicBezTo>
                    <a:cubicBezTo>
                      <a:pt x="2192" y="9960"/>
                      <a:pt x="-28" y="7713"/>
                      <a:pt x="0" y="4966"/>
                    </a:cubicBezTo>
                    <a:cubicBezTo>
                      <a:pt x="0" y="2220"/>
                      <a:pt x="2248" y="0"/>
                      <a:pt x="4966" y="0"/>
                    </a:cubicBezTo>
                    <a:cubicBezTo>
                      <a:pt x="4966" y="0"/>
                      <a:pt x="4966" y="0"/>
                      <a:pt x="4994" y="0"/>
                    </a:cubicBezTo>
                    <a:cubicBezTo>
                      <a:pt x="30741" y="111"/>
                      <a:pt x="66309" y="361"/>
                      <a:pt x="88948" y="527"/>
                    </a:cubicBezTo>
                    <a:cubicBezTo>
                      <a:pt x="100795" y="610"/>
                      <a:pt x="109118" y="666"/>
                      <a:pt x="110644" y="666"/>
                    </a:cubicBezTo>
                    <a:cubicBezTo>
                      <a:pt x="119494" y="666"/>
                      <a:pt x="123628" y="8101"/>
                      <a:pt x="124571" y="12041"/>
                    </a:cubicBezTo>
                    <a:cubicBezTo>
                      <a:pt x="124655" y="12429"/>
                      <a:pt x="124710" y="12818"/>
                      <a:pt x="124710" y="13206"/>
                    </a:cubicBezTo>
                    <a:lnTo>
                      <a:pt x="124627" y="267121"/>
                    </a:lnTo>
                    <a:cubicBezTo>
                      <a:pt x="124627" y="269839"/>
                      <a:pt x="122380" y="272087"/>
                      <a:pt x="119633" y="272087"/>
                    </a:cubicBezTo>
                    <a:close/>
                  </a:path>
                </a:pathLst>
              </a:custGeom>
              <a:solidFill>
                <a:schemeClr val="accent1"/>
              </a:solidFill>
              <a:ln w="2769" cap="flat">
                <a:noFill/>
                <a:prstDash val="solid"/>
                <a:miter/>
              </a:ln>
            </p:spPr>
            <p:txBody>
              <a:bodyPr rtlCol="0" anchor="ctr"/>
              <a:lstStyle/>
              <a:p>
                <a:endParaRPr lang="en-GB" dirty="0"/>
              </a:p>
            </p:txBody>
          </p:sp>
          <p:sp>
            <p:nvSpPr>
              <p:cNvPr id="177" name="Freihandform: Form 382">
                <a:extLst>
                  <a:ext uri="{FF2B5EF4-FFF2-40B4-BE49-F238E27FC236}">
                    <a16:creationId xmlns:a16="http://schemas.microsoft.com/office/drawing/2014/main" id="{2DB70376-7976-4E33-925D-1AA902C98DE7}"/>
                  </a:ext>
                </a:extLst>
              </p:cNvPr>
              <p:cNvSpPr/>
              <p:nvPr/>
            </p:nvSpPr>
            <p:spPr>
              <a:xfrm>
                <a:off x="2024609" y="3356632"/>
                <a:ext cx="107591" cy="120631"/>
              </a:xfrm>
              <a:custGeom>
                <a:avLst/>
                <a:gdLst>
                  <a:gd name="connsiteX0" fmla="*/ 53796 w 107591"/>
                  <a:gd name="connsiteY0" fmla="*/ 120631 h 120631"/>
                  <a:gd name="connsiteX1" fmla="*/ 0 w 107591"/>
                  <a:gd name="connsiteY1" fmla="*/ 60316 h 120631"/>
                  <a:gd name="connsiteX2" fmla="*/ 53796 w 107591"/>
                  <a:gd name="connsiteY2" fmla="*/ 0 h 120631"/>
                  <a:gd name="connsiteX3" fmla="*/ 107592 w 107591"/>
                  <a:gd name="connsiteY3" fmla="*/ 60316 h 120631"/>
                  <a:gd name="connsiteX4" fmla="*/ 53796 w 107591"/>
                  <a:gd name="connsiteY4" fmla="*/ 120631 h 120631"/>
                  <a:gd name="connsiteX5" fmla="*/ 53796 w 107591"/>
                  <a:gd name="connsiteY5" fmla="*/ 9932 h 120631"/>
                  <a:gd name="connsiteX6" fmla="*/ 9960 w 107591"/>
                  <a:gd name="connsiteY6" fmla="*/ 60316 h 120631"/>
                  <a:gd name="connsiteX7" fmla="*/ 53796 w 107591"/>
                  <a:gd name="connsiteY7" fmla="*/ 110699 h 120631"/>
                  <a:gd name="connsiteX8" fmla="*/ 97659 w 107591"/>
                  <a:gd name="connsiteY8" fmla="*/ 60316 h 120631"/>
                  <a:gd name="connsiteX9" fmla="*/ 53796 w 107591"/>
                  <a:gd name="connsiteY9" fmla="*/ 9932 h 120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591" h="120631">
                    <a:moveTo>
                      <a:pt x="53796" y="120631"/>
                    </a:moveTo>
                    <a:cubicBezTo>
                      <a:pt x="24137" y="120631"/>
                      <a:pt x="0" y="93581"/>
                      <a:pt x="0" y="60316"/>
                    </a:cubicBezTo>
                    <a:cubicBezTo>
                      <a:pt x="0" y="27051"/>
                      <a:pt x="24137" y="0"/>
                      <a:pt x="53796" y="0"/>
                    </a:cubicBezTo>
                    <a:cubicBezTo>
                      <a:pt x="83454" y="0"/>
                      <a:pt x="107592" y="27051"/>
                      <a:pt x="107592" y="60316"/>
                    </a:cubicBezTo>
                    <a:cubicBezTo>
                      <a:pt x="107592" y="93581"/>
                      <a:pt x="83454" y="120631"/>
                      <a:pt x="53796" y="120631"/>
                    </a:cubicBezTo>
                    <a:close/>
                    <a:moveTo>
                      <a:pt x="53796" y="9932"/>
                    </a:moveTo>
                    <a:cubicBezTo>
                      <a:pt x="29631" y="9932"/>
                      <a:pt x="9960" y="32544"/>
                      <a:pt x="9960" y="60316"/>
                    </a:cubicBezTo>
                    <a:cubicBezTo>
                      <a:pt x="9960" y="88088"/>
                      <a:pt x="29631" y="110699"/>
                      <a:pt x="53796" y="110699"/>
                    </a:cubicBezTo>
                    <a:cubicBezTo>
                      <a:pt x="77989" y="110699"/>
                      <a:pt x="97659" y="88088"/>
                      <a:pt x="97659" y="60316"/>
                    </a:cubicBezTo>
                    <a:cubicBezTo>
                      <a:pt x="97659" y="32544"/>
                      <a:pt x="77961" y="9932"/>
                      <a:pt x="53796" y="9932"/>
                    </a:cubicBezTo>
                    <a:close/>
                  </a:path>
                </a:pathLst>
              </a:custGeom>
              <a:solidFill>
                <a:schemeClr val="accent1"/>
              </a:solidFill>
              <a:ln w="2769" cap="flat">
                <a:noFill/>
                <a:prstDash val="solid"/>
                <a:miter/>
              </a:ln>
            </p:spPr>
            <p:txBody>
              <a:bodyPr rtlCol="0" anchor="ctr"/>
              <a:lstStyle/>
              <a:p>
                <a:endParaRPr lang="en-GB" dirty="0"/>
              </a:p>
            </p:txBody>
          </p:sp>
        </p:grpSp>
      </p:grpSp>
      <p:grpSp>
        <p:nvGrpSpPr>
          <p:cNvPr id="186" name="Group 185">
            <a:extLst>
              <a:ext uri="{FF2B5EF4-FFF2-40B4-BE49-F238E27FC236}">
                <a16:creationId xmlns:a16="http://schemas.microsoft.com/office/drawing/2014/main" id="{DA2843BD-585C-4EAE-A8A5-01AC4D04778C}"/>
              </a:ext>
            </a:extLst>
          </p:cNvPr>
          <p:cNvGrpSpPr>
            <a:grpSpLocks noChangeAspect="1"/>
          </p:cNvGrpSpPr>
          <p:nvPr/>
        </p:nvGrpSpPr>
        <p:grpSpPr>
          <a:xfrm>
            <a:off x="3708533" y="2391526"/>
            <a:ext cx="497638" cy="432000"/>
            <a:chOff x="3362335" y="3337294"/>
            <a:chExt cx="462775" cy="401735"/>
          </a:xfrm>
        </p:grpSpPr>
        <p:sp>
          <p:nvSpPr>
            <p:cNvPr id="187" name="Freihandform: Form 418">
              <a:extLst>
                <a:ext uri="{FF2B5EF4-FFF2-40B4-BE49-F238E27FC236}">
                  <a16:creationId xmlns:a16="http://schemas.microsoft.com/office/drawing/2014/main" id="{CE4F5438-FF07-4B1B-BADD-8801B90178D4}"/>
                </a:ext>
              </a:extLst>
            </p:cNvPr>
            <p:cNvSpPr/>
            <p:nvPr/>
          </p:nvSpPr>
          <p:spPr>
            <a:xfrm>
              <a:off x="3469274" y="3337905"/>
              <a:ext cx="355836" cy="401124"/>
            </a:xfrm>
            <a:custGeom>
              <a:avLst/>
              <a:gdLst>
                <a:gd name="connsiteX0" fmla="*/ 316866 w 355836"/>
                <a:gd name="connsiteY0" fmla="*/ 401125 h 401124"/>
                <a:gd name="connsiteX1" fmla="*/ 312565 w 355836"/>
                <a:gd name="connsiteY1" fmla="*/ 398655 h 401124"/>
                <a:gd name="connsiteX2" fmla="*/ 158724 w 355836"/>
                <a:gd name="connsiteY2" fmla="*/ 135225 h 401124"/>
                <a:gd name="connsiteX3" fmla="*/ 87422 w 355836"/>
                <a:gd name="connsiteY3" fmla="*/ 253470 h 401124"/>
                <a:gd name="connsiteX4" fmla="*/ 80597 w 355836"/>
                <a:gd name="connsiteY4" fmla="*/ 255163 h 401124"/>
                <a:gd name="connsiteX5" fmla="*/ 78904 w 355836"/>
                <a:gd name="connsiteY5" fmla="*/ 248338 h 401124"/>
                <a:gd name="connsiteX6" fmla="*/ 154535 w 355836"/>
                <a:gd name="connsiteY6" fmla="*/ 122906 h 401124"/>
                <a:gd name="connsiteX7" fmla="*/ 158807 w 355836"/>
                <a:gd name="connsiteY7" fmla="*/ 120493 h 401124"/>
                <a:gd name="connsiteX8" fmla="*/ 158835 w 355836"/>
                <a:gd name="connsiteY8" fmla="*/ 120493 h 401124"/>
                <a:gd name="connsiteX9" fmla="*/ 163108 w 355836"/>
                <a:gd name="connsiteY9" fmla="*/ 122962 h 401124"/>
                <a:gd name="connsiteX10" fmla="*/ 316755 w 355836"/>
                <a:gd name="connsiteY10" fmla="*/ 386060 h 401124"/>
                <a:gd name="connsiteX11" fmla="*/ 345109 w 355836"/>
                <a:gd name="connsiteY11" fmla="*/ 334594 h 401124"/>
                <a:gd name="connsiteX12" fmla="*/ 158419 w 355836"/>
                <a:gd name="connsiteY12" fmla="*/ 14899 h 401124"/>
                <a:gd name="connsiteX13" fmla="*/ 13567 w 355836"/>
                <a:gd name="connsiteY13" fmla="*/ 265400 h 401124"/>
                <a:gd name="connsiteX14" fmla="*/ 153536 w 355836"/>
                <a:gd name="connsiteY14" fmla="*/ 265400 h 401124"/>
                <a:gd name="connsiteX15" fmla="*/ 158502 w 355836"/>
                <a:gd name="connsiteY15" fmla="*/ 270367 h 401124"/>
                <a:gd name="connsiteX16" fmla="*/ 153536 w 355836"/>
                <a:gd name="connsiteY16" fmla="*/ 275333 h 401124"/>
                <a:gd name="connsiteX17" fmla="*/ 4966 w 355836"/>
                <a:gd name="connsiteY17" fmla="*/ 275333 h 401124"/>
                <a:gd name="connsiteX18" fmla="*/ 666 w 355836"/>
                <a:gd name="connsiteY18" fmla="*/ 272836 h 401124"/>
                <a:gd name="connsiteX19" fmla="*/ 666 w 355836"/>
                <a:gd name="connsiteY19" fmla="*/ 267870 h 401124"/>
                <a:gd name="connsiteX20" fmla="*/ 154119 w 355836"/>
                <a:gd name="connsiteY20" fmla="*/ 2497 h 401124"/>
                <a:gd name="connsiteX21" fmla="*/ 158419 w 355836"/>
                <a:gd name="connsiteY21" fmla="*/ 0 h 401124"/>
                <a:gd name="connsiteX22" fmla="*/ 158419 w 355836"/>
                <a:gd name="connsiteY22" fmla="*/ 0 h 401124"/>
                <a:gd name="connsiteX23" fmla="*/ 162719 w 355836"/>
                <a:gd name="connsiteY23" fmla="*/ 2469 h 401124"/>
                <a:gd name="connsiteX24" fmla="*/ 355153 w 355836"/>
                <a:gd name="connsiteY24" fmla="*/ 332014 h 401124"/>
                <a:gd name="connsiteX25" fmla="*/ 355208 w 355836"/>
                <a:gd name="connsiteY25" fmla="*/ 336925 h 401124"/>
                <a:gd name="connsiteX26" fmla="*/ 321249 w 355836"/>
                <a:gd name="connsiteY26" fmla="*/ 398544 h 401124"/>
                <a:gd name="connsiteX27" fmla="*/ 316949 w 355836"/>
                <a:gd name="connsiteY27" fmla="*/ 401125 h 401124"/>
                <a:gd name="connsiteX28" fmla="*/ 316866 w 355836"/>
                <a:gd name="connsiteY28" fmla="*/ 401125 h 401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5836" h="401124">
                  <a:moveTo>
                    <a:pt x="316866" y="401125"/>
                  </a:moveTo>
                  <a:cubicBezTo>
                    <a:pt x="315090" y="401125"/>
                    <a:pt x="313453" y="400181"/>
                    <a:pt x="312565" y="398655"/>
                  </a:cubicBezTo>
                  <a:lnTo>
                    <a:pt x="158724" y="135225"/>
                  </a:lnTo>
                  <a:lnTo>
                    <a:pt x="87422" y="253470"/>
                  </a:lnTo>
                  <a:cubicBezTo>
                    <a:pt x="86007" y="255801"/>
                    <a:pt x="82955" y="256578"/>
                    <a:pt x="80597" y="255163"/>
                  </a:cubicBezTo>
                  <a:cubicBezTo>
                    <a:pt x="78238" y="253748"/>
                    <a:pt x="77489" y="250696"/>
                    <a:pt x="78904" y="248338"/>
                  </a:cubicBezTo>
                  <a:lnTo>
                    <a:pt x="154535" y="122906"/>
                  </a:lnTo>
                  <a:cubicBezTo>
                    <a:pt x="155423" y="121408"/>
                    <a:pt x="157060" y="120493"/>
                    <a:pt x="158807" y="120493"/>
                  </a:cubicBezTo>
                  <a:cubicBezTo>
                    <a:pt x="158807" y="120493"/>
                    <a:pt x="158835" y="120493"/>
                    <a:pt x="158835" y="120493"/>
                  </a:cubicBezTo>
                  <a:cubicBezTo>
                    <a:pt x="160583" y="120493"/>
                    <a:pt x="162220" y="121436"/>
                    <a:pt x="163108" y="122962"/>
                  </a:cubicBezTo>
                  <a:lnTo>
                    <a:pt x="316755" y="386060"/>
                  </a:lnTo>
                  <a:lnTo>
                    <a:pt x="345109" y="334594"/>
                  </a:lnTo>
                  <a:lnTo>
                    <a:pt x="158419" y="14899"/>
                  </a:lnTo>
                  <a:lnTo>
                    <a:pt x="13567" y="265400"/>
                  </a:lnTo>
                  <a:lnTo>
                    <a:pt x="153536" y="265400"/>
                  </a:lnTo>
                  <a:cubicBezTo>
                    <a:pt x="156283" y="265400"/>
                    <a:pt x="158502" y="267620"/>
                    <a:pt x="158502" y="270367"/>
                  </a:cubicBezTo>
                  <a:cubicBezTo>
                    <a:pt x="158502" y="273113"/>
                    <a:pt x="156283" y="275333"/>
                    <a:pt x="153536" y="275333"/>
                  </a:cubicBezTo>
                  <a:lnTo>
                    <a:pt x="4966" y="275333"/>
                  </a:lnTo>
                  <a:cubicBezTo>
                    <a:pt x="3191" y="275333"/>
                    <a:pt x="1554" y="274389"/>
                    <a:pt x="666" y="272836"/>
                  </a:cubicBezTo>
                  <a:cubicBezTo>
                    <a:pt x="-222" y="271282"/>
                    <a:pt x="-222" y="269395"/>
                    <a:pt x="666" y="267870"/>
                  </a:cubicBezTo>
                  <a:lnTo>
                    <a:pt x="154119" y="2497"/>
                  </a:lnTo>
                  <a:cubicBezTo>
                    <a:pt x="155007" y="971"/>
                    <a:pt x="156643" y="28"/>
                    <a:pt x="158419" y="0"/>
                  </a:cubicBezTo>
                  <a:cubicBezTo>
                    <a:pt x="158419" y="0"/>
                    <a:pt x="158419" y="0"/>
                    <a:pt x="158419" y="0"/>
                  </a:cubicBezTo>
                  <a:cubicBezTo>
                    <a:pt x="160195" y="0"/>
                    <a:pt x="161831" y="943"/>
                    <a:pt x="162719" y="2469"/>
                  </a:cubicBezTo>
                  <a:lnTo>
                    <a:pt x="355153" y="332014"/>
                  </a:lnTo>
                  <a:cubicBezTo>
                    <a:pt x="356040" y="333512"/>
                    <a:pt x="356068" y="335399"/>
                    <a:pt x="355208" y="336925"/>
                  </a:cubicBezTo>
                  <a:lnTo>
                    <a:pt x="321249" y="398544"/>
                  </a:lnTo>
                  <a:cubicBezTo>
                    <a:pt x="320389" y="400098"/>
                    <a:pt x="318752" y="401097"/>
                    <a:pt x="316949" y="401125"/>
                  </a:cubicBezTo>
                  <a:cubicBezTo>
                    <a:pt x="316921" y="401125"/>
                    <a:pt x="316893" y="401125"/>
                    <a:pt x="316866" y="401125"/>
                  </a:cubicBezTo>
                  <a:close/>
                </a:path>
              </a:pathLst>
            </a:custGeom>
            <a:solidFill>
              <a:schemeClr val="tx2"/>
            </a:solidFill>
            <a:ln w="2769" cap="flat">
              <a:noFill/>
              <a:prstDash val="solid"/>
              <a:miter/>
            </a:ln>
          </p:spPr>
          <p:txBody>
            <a:bodyPr rtlCol="0" anchor="ctr"/>
            <a:lstStyle/>
            <a:p>
              <a:endParaRPr lang="en-GB" dirty="0"/>
            </a:p>
          </p:txBody>
        </p:sp>
        <p:sp>
          <p:nvSpPr>
            <p:cNvPr id="188" name="Freihandform: Form 419">
              <a:extLst>
                <a:ext uri="{FF2B5EF4-FFF2-40B4-BE49-F238E27FC236}">
                  <a16:creationId xmlns:a16="http://schemas.microsoft.com/office/drawing/2014/main" id="{A0B75A7B-90DA-46E0-A37A-E1CD072866E0}"/>
                </a:ext>
              </a:extLst>
            </p:cNvPr>
            <p:cNvSpPr/>
            <p:nvPr/>
          </p:nvSpPr>
          <p:spPr>
            <a:xfrm>
              <a:off x="3362358" y="3534987"/>
              <a:ext cx="426888" cy="204042"/>
            </a:xfrm>
            <a:custGeom>
              <a:avLst/>
              <a:gdLst>
                <a:gd name="connsiteX0" fmla="*/ 421895 w 426888"/>
                <a:gd name="connsiteY0" fmla="*/ 204042 h 204042"/>
                <a:gd name="connsiteX1" fmla="*/ 40802 w 426888"/>
                <a:gd name="connsiteY1" fmla="*/ 204042 h 204042"/>
                <a:gd name="connsiteX2" fmla="*/ 36474 w 426888"/>
                <a:gd name="connsiteY2" fmla="*/ 201490 h 204042"/>
                <a:gd name="connsiteX3" fmla="*/ 628 w 426888"/>
                <a:gd name="connsiteY3" fmla="*/ 137345 h 204042"/>
                <a:gd name="connsiteX4" fmla="*/ 684 w 426888"/>
                <a:gd name="connsiteY4" fmla="*/ 132407 h 204042"/>
                <a:gd name="connsiteX5" fmla="*/ 4956 w 426888"/>
                <a:gd name="connsiteY5" fmla="*/ 129965 h 204042"/>
                <a:gd name="connsiteX6" fmla="*/ 306036 w 426888"/>
                <a:gd name="connsiteY6" fmla="*/ 129965 h 204042"/>
                <a:gd name="connsiteX7" fmla="*/ 240005 w 426888"/>
                <a:gd name="connsiteY7" fmla="*/ 7336 h 204042"/>
                <a:gd name="connsiteX8" fmla="*/ 242030 w 426888"/>
                <a:gd name="connsiteY8" fmla="*/ 594 h 204042"/>
                <a:gd name="connsiteX9" fmla="*/ 248772 w 426888"/>
                <a:gd name="connsiteY9" fmla="*/ 2620 h 204042"/>
                <a:gd name="connsiteX10" fmla="*/ 318742 w 426888"/>
                <a:gd name="connsiteY10" fmla="*/ 132573 h 204042"/>
                <a:gd name="connsiteX11" fmla="*/ 318631 w 426888"/>
                <a:gd name="connsiteY11" fmla="*/ 137484 h 204042"/>
                <a:gd name="connsiteX12" fmla="*/ 314359 w 426888"/>
                <a:gd name="connsiteY12" fmla="*/ 139898 h 204042"/>
                <a:gd name="connsiteX13" fmla="*/ 13446 w 426888"/>
                <a:gd name="connsiteY13" fmla="*/ 139898 h 204042"/>
                <a:gd name="connsiteX14" fmla="*/ 43743 w 426888"/>
                <a:gd name="connsiteY14" fmla="*/ 194110 h 204042"/>
                <a:gd name="connsiteX15" fmla="*/ 421923 w 426888"/>
                <a:gd name="connsiteY15" fmla="*/ 194110 h 204042"/>
                <a:gd name="connsiteX16" fmla="*/ 426889 w 426888"/>
                <a:gd name="connsiteY16" fmla="*/ 199076 h 204042"/>
                <a:gd name="connsiteX17" fmla="*/ 421895 w 426888"/>
                <a:gd name="connsiteY17" fmla="*/ 204042 h 204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6888" h="204042">
                  <a:moveTo>
                    <a:pt x="421895" y="204042"/>
                  </a:moveTo>
                  <a:lnTo>
                    <a:pt x="40802" y="204042"/>
                  </a:lnTo>
                  <a:cubicBezTo>
                    <a:pt x="38998" y="204042"/>
                    <a:pt x="37334" y="203071"/>
                    <a:pt x="36474" y="201490"/>
                  </a:cubicBezTo>
                  <a:lnTo>
                    <a:pt x="628" y="137345"/>
                  </a:lnTo>
                  <a:cubicBezTo>
                    <a:pt x="-232" y="135791"/>
                    <a:pt x="-204" y="133933"/>
                    <a:pt x="684" y="132407"/>
                  </a:cubicBezTo>
                  <a:cubicBezTo>
                    <a:pt x="1571" y="130881"/>
                    <a:pt x="3208" y="129965"/>
                    <a:pt x="4956" y="129965"/>
                  </a:cubicBezTo>
                  <a:lnTo>
                    <a:pt x="306036" y="129965"/>
                  </a:lnTo>
                  <a:lnTo>
                    <a:pt x="240005" y="7336"/>
                  </a:lnTo>
                  <a:cubicBezTo>
                    <a:pt x="238701" y="4922"/>
                    <a:pt x="239616" y="1898"/>
                    <a:pt x="242030" y="594"/>
                  </a:cubicBezTo>
                  <a:cubicBezTo>
                    <a:pt x="244471" y="-710"/>
                    <a:pt x="247468" y="206"/>
                    <a:pt x="248772" y="2620"/>
                  </a:cubicBezTo>
                  <a:lnTo>
                    <a:pt x="318742" y="132573"/>
                  </a:lnTo>
                  <a:cubicBezTo>
                    <a:pt x="319575" y="134127"/>
                    <a:pt x="319519" y="135986"/>
                    <a:pt x="318631" y="137484"/>
                  </a:cubicBezTo>
                  <a:cubicBezTo>
                    <a:pt x="317744" y="138982"/>
                    <a:pt x="316107" y="139898"/>
                    <a:pt x="314359" y="139898"/>
                  </a:cubicBezTo>
                  <a:lnTo>
                    <a:pt x="13446" y="139898"/>
                  </a:lnTo>
                  <a:lnTo>
                    <a:pt x="43743" y="194110"/>
                  </a:lnTo>
                  <a:lnTo>
                    <a:pt x="421923" y="194110"/>
                  </a:lnTo>
                  <a:cubicBezTo>
                    <a:pt x="424670" y="194110"/>
                    <a:pt x="426889" y="196329"/>
                    <a:pt x="426889" y="199076"/>
                  </a:cubicBezTo>
                  <a:cubicBezTo>
                    <a:pt x="426889" y="201795"/>
                    <a:pt x="424642" y="204042"/>
                    <a:pt x="421895" y="204042"/>
                  </a:cubicBezTo>
                  <a:close/>
                </a:path>
              </a:pathLst>
            </a:custGeom>
            <a:solidFill>
              <a:schemeClr val="tx2"/>
            </a:solidFill>
            <a:ln w="2769" cap="flat">
              <a:noFill/>
              <a:prstDash val="solid"/>
              <a:miter/>
            </a:ln>
          </p:spPr>
          <p:txBody>
            <a:bodyPr rtlCol="0" anchor="ctr"/>
            <a:lstStyle/>
            <a:p>
              <a:endParaRPr lang="en-GB" dirty="0"/>
            </a:p>
          </p:txBody>
        </p:sp>
        <p:sp>
          <p:nvSpPr>
            <p:cNvPr id="189" name="Freihandform: Form 420">
              <a:extLst>
                <a:ext uri="{FF2B5EF4-FFF2-40B4-BE49-F238E27FC236}">
                  <a16:creationId xmlns:a16="http://schemas.microsoft.com/office/drawing/2014/main" id="{C3386512-CD30-4613-940E-DC10B258498B}"/>
                </a:ext>
              </a:extLst>
            </p:cNvPr>
            <p:cNvSpPr/>
            <p:nvPr/>
          </p:nvSpPr>
          <p:spPr>
            <a:xfrm>
              <a:off x="3362335" y="3337294"/>
              <a:ext cx="260863" cy="337590"/>
            </a:xfrm>
            <a:custGeom>
              <a:avLst/>
              <a:gdLst>
                <a:gd name="connsiteX0" fmla="*/ 4980 w 260863"/>
                <a:gd name="connsiteY0" fmla="*/ 337591 h 337590"/>
                <a:gd name="connsiteX1" fmla="*/ 2483 w 260863"/>
                <a:gd name="connsiteY1" fmla="*/ 336925 h 337590"/>
                <a:gd name="connsiteX2" fmla="*/ 679 w 260863"/>
                <a:gd name="connsiteY2" fmla="*/ 330128 h 337590"/>
                <a:gd name="connsiteX3" fmla="*/ 191226 w 260863"/>
                <a:gd name="connsiteY3" fmla="*/ 2469 h 337590"/>
                <a:gd name="connsiteX4" fmla="*/ 195526 w 260863"/>
                <a:gd name="connsiteY4" fmla="*/ 0 h 337590"/>
                <a:gd name="connsiteX5" fmla="*/ 255897 w 260863"/>
                <a:gd name="connsiteY5" fmla="*/ 0 h 337590"/>
                <a:gd name="connsiteX6" fmla="*/ 260864 w 260863"/>
                <a:gd name="connsiteY6" fmla="*/ 4966 h 337590"/>
                <a:gd name="connsiteX7" fmla="*/ 255897 w 260863"/>
                <a:gd name="connsiteY7" fmla="*/ 9932 h 337590"/>
                <a:gd name="connsiteX8" fmla="*/ 198384 w 260863"/>
                <a:gd name="connsiteY8" fmla="*/ 9932 h 337590"/>
                <a:gd name="connsiteX9" fmla="*/ 9280 w 260863"/>
                <a:gd name="connsiteY9" fmla="*/ 335094 h 337590"/>
                <a:gd name="connsiteX10" fmla="*/ 4980 w 260863"/>
                <a:gd name="connsiteY10" fmla="*/ 337591 h 33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863" h="337590">
                  <a:moveTo>
                    <a:pt x="4980" y="337591"/>
                  </a:moveTo>
                  <a:cubicBezTo>
                    <a:pt x="4119" y="337591"/>
                    <a:pt x="3259" y="337369"/>
                    <a:pt x="2483" y="336925"/>
                  </a:cubicBezTo>
                  <a:cubicBezTo>
                    <a:pt x="97" y="335538"/>
                    <a:pt x="-708" y="332514"/>
                    <a:pt x="679" y="330128"/>
                  </a:cubicBezTo>
                  <a:lnTo>
                    <a:pt x="191226" y="2469"/>
                  </a:lnTo>
                  <a:cubicBezTo>
                    <a:pt x="192114" y="943"/>
                    <a:pt x="193751" y="0"/>
                    <a:pt x="195526" y="0"/>
                  </a:cubicBezTo>
                  <a:lnTo>
                    <a:pt x="255897" y="0"/>
                  </a:lnTo>
                  <a:cubicBezTo>
                    <a:pt x="258644" y="0"/>
                    <a:pt x="260864" y="2220"/>
                    <a:pt x="260864" y="4966"/>
                  </a:cubicBezTo>
                  <a:cubicBezTo>
                    <a:pt x="260864" y="7713"/>
                    <a:pt x="258644" y="9932"/>
                    <a:pt x="255897" y="9932"/>
                  </a:cubicBezTo>
                  <a:lnTo>
                    <a:pt x="198384" y="9932"/>
                  </a:lnTo>
                  <a:lnTo>
                    <a:pt x="9280" y="335094"/>
                  </a:lnTo>
                  <a:cubicBezTo>
                    <a:pt x="8364" y="336703"/>
                    <a:pt x="6700" y="337591"/>
                    <a:pt x="4980" y="337591"/>
                  </a:cubicBezTo>
                  <a:close/>
                </a:path>
              </a:pathLst>
            </a:custGeom>
            <a:solidFill>
              <a:schemeClr val="tx2"/>
            </a:solidFill>
            <a:ln w="2769" cap="flat">
              <a:noFill/>
              <a:prstDash val="solid"/>
              <a:miter/>
            </a:ln>
          </p:spPr>
          <p:txBody>
            <a:bodyPr rtlCol="0" anchor="ctr"/>
            <a:lstStyle/>
            <a:p>
              <a:endParaRPr lang="en-GB" dirty="0"/>
            </a:p>
          </p:txBody>
        </p:sp>
      </p:grpSp>
      <p:grpSp>
        <p:nvGrpSpPr>
          <p:cNvPr id="120" name="Group 119">
            <a:extLst>
              <a:ext uri="{FF2B5EF4-FFF2-40B4-BE49-F238E27FC236}">
                <a16:creationId xmlns:a16="http://schemas.microsoft.com/office/drawing/2014/main" id="{4D261DEF-5798-B0D3-117D-CA4CA6C0C821}"/>
              </a:ext>
            </a:extLst>
          </p:cNvPr>
          <p:cNvGrpSpPr/>
          <p:nvPr/>
        </p:nvGrpSpPr>
        <p:grpSpPr>
          <a:xfrm>
            <a:off x="649266" y="3197068"/>
            <a:ext cx="289569" cy="432000"/>
            <a:chOff x="649266" y="3197068"/>
            <a:chExt cx="289569" cy="432000"/>
          </a:xfrm>
        </p:grpSpPr>
        <p:grpSp>
          <p:nvGrpSpPr>
            <p:cNvPr id="191" name="Grafik 126">
              <a:extLst>
                <a:ext uri="{FF2B5EF4-FFF2-40B4-BE49-F238E27FC236}">
                  <a16:creationId xmlns:a16="http://schemas.microsoft.com/office/drawing/2014/main" id="{047E17CE-B81D-420B-9A7F-9F40EC9CAC9E}"/>
                </a:ext>
              </a:extLst>
            </p:cNvPr>
            <p:cNvGrpSpPr/>
            <p:nvPr/>
          </p:nvGrpSpPr>
          <p:grpSpPr>
            <a:xfrm>
              <a:off x="649266" y="3197068"/>
              <a:ext cx="289569" cy="359393"/>
              <a:chOff x="1819136" y="4152056"/>
              <a:chExt cx="317559" cy="394133"/>
            </a:xfrm>
            <a:solidFill>
              <a:schemeClr val="tx2"/>
            </a:solidFill>
          </p:grpSpPr>
          <p:sp>
            <p:nvSpPr>
              <p:cNvPr id="193" name="Freihandform: Form 468">
                <a:extLst>
                  <a:ext uri="{FF2B5EF4-FFF2-40B4-BE49-F238E27FC236}">
                    <a16:creationId xmlns:a16="http://schemas.microsoft.com/office/drawing/2014/main" id="{E4EB592D-EC61-404B-AC40-38886011CC38}"/>
                  </a:ext>
                </a:extLst>
              </p:cNvPr>
              <p:cNvSpPr/>
              <p:nvPr/>
            </p:nvSpPr>
            <p:spPr>
              <a:xfrm>
                <a:off x="1893546" y="4228852"/>
                <a:ext cx="168712" cy="103263"/>
              </a:xfrm>
              <a:custGeom>
                <a:avLst/>
                <a:gdLst>
                  <a:gd name="connsiteX0" fmla="*/ 84370 w 168712"/>
                  <a:gd name="connsiteY0" fmla="*/ 103264 h 103263"/>
                  <a:gd name="connsiteX1" fmla="*/ 81346 w 168712"/>
                  <a:gd name="connsiteY1" fmla="*/ 102237 h 103263"/>
                  <a:gd name="connsiteX2" fmla="*/ 12540 w 168712"/>
                  <a:gd name="connsiteY2" fmla="*/ 49912 h 103263"/>
                  <a:gd name="connsiteX3" fmla="*/ 0 w 168712"/>
                  <a:gd name="connsiteY3" fmla="*/ 24609 h 103263"/>
                  <a:gd name="connsiteX4" fmla="*/ 0 w 168712"/>
                  <a:gd name="connsiteY4" fmla="*/ 4966 h 103263"/>
                  <a:gd name="connsiteX5" fmla="*/ 4966 w 168712"/>
                  <a:gd name="connsiteY5" fmla="*/ 0 h 103263"/>
                  <a:gd name="connsiteX6" fmla="*/ 163746 w 168712"/>
                  <a:gd name="connsiteY6" fmla="*/ 0 h 103263"/>
                  <a:gd name="connsiteX7" fmla="*/ 168712 w 168712"/>
                  <a:gd name="connsiteY7" fmla="*/ 4966 h 103263"/>
                  <a:gd name="connsiteX8" fmla="*/ 168712 w 168712"/>
                  <a:gd name="connsiteY8" fmla="*/ 24609 h 103263"/>
                  <a:gd name="connsiteX9" fmla="*/ 156172 w 168712"/>
                  <a:gd name="connsiteY9" fmla="*/ 49912 h 103263"/>
                  <a:gd name="connsiteX10" fmla="*/ 87366 w 168712"/>
                  <a:gd name="connsiteY10" fmla="*/ 102237 h 103263"/>
                  <a:gd name="connsiteX11" fmla="*/ 84370 w 168712"/>
                  <a:gd name="connsiteY11" fmla="*/ 103264 h 103263"/>
                  <a:gd name="connsiteX12" fmla="*/ 9960 w 168712"/>
                  <a:gd name="connsiteY12" fmla="*/ 9960 h 103263"/>
                  <a:gd name="connsiteX13" fmla="*/ 9960 w 168712"/>
                  <a:gd name="connsiteY13" fmla="*/ 24637 h 103263"/>
                  <a:gd name="connsiteX14" fmla="*/ 18589 w 168712"/>
                  <a:gd name="connsiteY14" fmla="*/ 42032 h 103263"/>
                  <a:gd name="connsiteX15" fmla="*/ 84370 w 168712"/>
                  <a:gd name="connsiteY15" fmla="*/ 92055 h 103263"/>
                  <a:gd name="connsiteX16" fmla="*/ 150151 w 168712"/>
                  <a:gd name="connsiteY16" fmla="*/ 42032 h 103263"/>
                  <a:gd name="connsiteX17" fmla="*/ 158780 w 168712"/>
                  <a:gd name="connsiteY17" fmla="*/ 24637 h 103263"/>
                  <a:gd name="connsiteX18" fmla="*/ 158780 w 168712"/>
                  <a:gd name="connsiteY18" fmla="*/ 9960 h 103263"/>
                  <a:gd name="connsiteX19" fmla="*/ 9960 w 168712"/>
                  <a:gd name="connsiteY19" fmla="*/ 9960 h 10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8712" h="103263">
                    <a:moveTo>
                      <a:pt x="84370" y="103264"/>
                    </a:moveTo>
                    <a:cubicBezTo>
                      <a:pt x="83316" y="103264"/>
                      <a:pt x="82261" y="102931"/>
                      <a:pt x="81346" y="102237"/>
                    </a:cubicBezTo>
                    <a:lnTo>
                      <a:pt x="12540" y="49912"/>
                    </a:lnTo>
                    <a:cubicBezTo>
                      <a:pt x="4689" y="43947"/>
                      <a:pt x="0" y="34486"/>
                      <a:pt x="0" y="24609"/>
                    </a:cubicBezTo>
                    <a:lnTo>
                      <a:pt x="0" y="4966"/>
                    </a:lnTo>
                    <a:cubicBezTo>
                      <a:pt x="0" y="2219"/>
                      <a:pt x="2220" y="0"/>
                      <a:pt x="4966" y="0"/>
                    </a:cubicBezTo>
                    <a:lnTo>
                      <a:pt x="163746" y="0"/>
                    </a:lnTo>
                    <a:cubicBezTo>
                      <a:pt x="166493" y="0"/>
                      <a:pt x="168712" y="2219"/>
                      <a:pt x="168712" y="4966"/>
                    </a:cubicBezTo>
                    <a:lnTo>
                      <a:pt x="168712" y="24609"/>
                    </a:lnTo>
                    <a:cubicBezTo>
                      <a:pt x="168712" y="34486"/>
                      <a:pt x="164023" y="43947"/>
                      <a:pt x="156172" y="49912"/>
                    </a:cubicBezTo>
                    <a:lnTo>
                      <a:pt x="87366" y="102237"/>
                    </a:lnTo>
                    <a:cubicBezTo>
                      <a:pt x="86479" y="102931"/>
                      <a:pt x="85424" y="103264"/>
                      <a:pt x="84370" y="103264"/>
                    </a:cubicBezTo>
                    <a:close/>
                    <a:moveTo>
                      <a:pt x="9960" y="9960"/>
                    </a:moveTo>
                    <a:lnTo>
                      <a:pt x="9960" y="24637"/>
                    </a:lnTo>
                    <a:cubicBezTo>
                      <a:pt x="9960" y="31406"/>
                      <a:pt x="13178" y="37926"/>
                      <a:pt x="18589" y="42032"/>
                    </a:cubicBezTo>
                    <a:lnTo>
                      <a:pt x="84370" y="92055"/>
                    </a:lnTo>
                    <a:lnTo>
                      <a:pt x="150151" y="42032"/>
                    </a:lnTo>
                    <a:cubicBezTo>
                      <a:pt x="155561" y="37926"/>
                      <a:pt x="158780" y="31434"/>
                      <a:pt x="158780" y="24637"/>
                    </a:cubicBezTo>
                    <a:lnTo>
                      <a:pt x="158780" y="9960"/>
                    </a:lnTo>
                    <a:lnTo>
                      <a:pt x="9960" y="9960"/>
                    </a:lnTo>
                    <a:close/>
                  </a:path>
                </a:pathLst>
              </a:custGeom>
              <a:grpFill/>
              <a:ln w="2769" cap="flat">
                <a:noFill/>
                <a:prstDash val="solid"/>
                <a:miter/>
              </a:ln>
            </p:spPr>
            <p:txBody>
              <a:bodyPr rtlCol="0" anchor="ctr"/>
              <a:lstStyle/>
              <a:p>
                <a:endParaRPr lang="en-GB" dirty="0"/>
              </a:p>
            </p:txBody>
          </p:sp>
          <p:sp>
            <p:nvSpPr>
              <p:cNvPr id="194" name="Freihandform: Form 469">
                <a:extLst>
                  <a:ext uri="{FF2B5EF4-FFF2-40B4-BE49-F238E27FC236}">
                    <a16:creationId xmlns:a16="http://schemas.microsoft.com/office/drawing/2014/main" id="{F0390484-DC6E-4720-9420-B13B77358EAD}"/>
                  </a:ext>
                </a:extLst>
              </p:cNvPr>
              <p:cNvSpPr/>
              <p:nvPr/>
            </p:nvSpPr>
            <p:spPr>
              <a:xfrm>
                <a:off x="1990429" y="4174695"/>
                <a:ext cx="96632" cy="348826"/>
              </a:xfrm>
              <a:custGeom>
                <a:avLst/>
                <a:gdLst>
                  <a:gd name="connsiteX0" fmla="*/ 91667 w 96632"/>
                  <a:gd name="connsiteY0" fmla="*/ 348827 h 348826"/>
                  <a:gd name="connsiteX1" fmla="*/ 86700 w 96632"/>
                  <a:gd name="connsiteY1" fmla="*/ 343861 h 348826"/>
                  <a:gd name="connsiteX2" fmla="*/ 86700 w 96632"/>
                  <a:gd name="connsiteY2" fmla="*/ 248088 h 348826"/>
                  <a:gd name="connsiteX3" fmla="*/ 1803 w 96632"/>
                  <a:gd name="connsiteY3" fmla="*/ 178228 h 348826"/>
                  <a:gd name="connsiteX4" fmla="*/ 0 w 96632"/>
                  <a:gd name="connsiteY4" fmla="*/ 174400 h 348826"/>
                  <a:gd name="connsiteX5" fmla="*/ 1803 w 96632"/>
                  <a:gd name="connsiteY5" fmla="*/ 170571 h 348826"/>
                  <a:gd name="connsiteX6" fmla="*/ 86700 w 96632"/>
                  <a:gd name="connsiteY6" fmla="*/ 100711 h 348826"/>
                  <a:gd name="connsiteX7" fmla="*/ 86700 w 96632"/>
                  <a:gd name="connsiteY7" fmla="*/ 4966 h 348826"/>
                  <a:gd name="connsiteX8" fmla="*/ 91667 w 96632"/>
                  <a:gd name="connsiteY8" fmla="*/ 0 h 348826"/>
                  <a:gd name="connsiteX9" fmla="*/ 96633 w 96632"/>
                  <a:gd name="connsiteY9" fmla="*/ 4966 h 348826"/>
                  <a:gd name="connsiteX10" fmla="*/ 96633 w 96632"/>
                  <a:gd name="connsiteY10" fmla="*/ 103070 h 348826"/>
                  <a:gd name="connsiteX11" fmla="*/ 94829 w 96632"/>
                  <a:gd name="connsiteY11" fmla="*/ 106898 h 348826"/>
                  <a:gd name="connsiteX12" fmla="*/ 12790 w 96632"/>
                  <a:gd name="connsiteY12" fmla="*/ 174427 h 348826"/>
                  <a:gd name="connsiteX13" fmla="*/ 94829 w 96632"/>
                  <a:gd name="connsiteY13" fmla="*/ 241929 h 348826"/>
                  <a:gd name="connsiteX14" fmla="*/ 96633 w 96632"/>
                  <a:gd name="connsiteY14" fmla="*/ 245758 h 348826"/>
                  <a:gd name="connsiteX15" fmla="*/ 96633 w 96632"/>
                  <a:gd name="connsiteY15" fmla="*/ 343861 h 348826"/>
                  <a:gd name="connsiteX16" fmla="*/ 91667 w 96632"/>
                  <a:gd name="connsiteY16" fmla="*/ 348827 h 34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632" h="348826">
                    <a:moveTo>
                      <a:pt x="91667" y="348827"/>
                    </a:moveTo>
                    <a:cubicBezTo>
                      <a:pt x="88920" y="348827"/>
                      <a:pt x="86700" y="346608"/>
                      <a:pt x="86700" y="343861"/>
                    </a:cubicBezTo>
                    <a:lnTo>
                      <a:pt x="86700" y="248088"/>
                    </a:lnTo>
                    <a:lnTo>
                      <a:pt x="1803" y="178228"/>
                    </a:lnTo>
                    <a:cubicBezTo>
                      <a:pt x="666" y="177285"/>
                      <a:pt x="0" y="175870"/>
                      <a:pt x="0" y="174400"/>
                    </a:cubicBezTo>
                    <a:cubicBezTo>
                      <a:pt x="0" y="172901"/>
                      <a:pt x="666" y="171514"/>
                      <a:pt x="1803" y="170571"/>
                    </a:cubicBezTo>
                    <a:lnTo>
                      <a:pt x="86700" y="100711"/>
                    </a:lnTo>
                    <a:lnTo>
                      <a:pt x="86700" y="4966"/>
                    </a:lnTo>
                    <a:cubicBezTo>
                      <a:pt x="86700" y="2219"/>
                      <a:pt x="88920" y="0"/>
                      <a:pt x="91667" y="0"/>
                    </a:cubicBezTo>
                    <a:cubicBezTo>
                      <a:pt x="94413" y="0"/>
                      <a:pt x="96633" y="2219"/>
                      <a:pt x="96633" y="4966"/>
                    </a:cubicBezTo>
                    <a:lnTo>
                      <a:pt x="96633" y="103070"/>
                    </a:lnTo>
                    <a:cubicBezTo>
                      <a:pt x="96633" y="104568"/>
                      <a:pt x="95967" y="105955"/>
                      <a:pt x="94829" y="106898"/>
                    </a:cubicBezTo>
                    <a:lnTo>
                      <a:pt x="12790" y="174427"/>
                    </a:lnTo>
                    <a:lnTo>
                      <a:pt x="94829" y="241929"/>
                    </a:lnTo>
                    <a:cubicBezTo>
                      <a:pt x="95967" y="242872"/>
                      <a:pt x="96633" y="244287"/>
                      <a:pt x="96633" y="245758"/>
                    </a:cubicBezTo>
                    <a:lnTo>
                      <a:pt x="96633" y="343861"/>
                    </a:lnTo>
                    <a:cubicBezTo>
                      <a:pt x="96633" y="346608"/>
                      <a:pt x="94413" y="348827"/>
                      <a:pt x="91667" y="348827"/>
                    </a:cubicBezTo>
                    <a:close/>
                  </a:path>
                </a:pathLst>
              </a:custGeom>
              <a:grpFill/>
              <a:ln w="2769" cap="flat">
                <a:noFill/>
                <a:prstDash val="solid"/>
                <a:miter/>
              </a:ln>
            </p:spPr>
            <p:txBody>
              <a:bodyPr rtlCol="0" anchor="ctr"/>
              <a:lstStyle/>
              <a:p>
                <a:endParaRPr lang="en-GB" dirty="0"/>
              </a:p>
            </p:txBody>
          </p:sp>
          <p:sp>
            <p:nvSpPr>
              <p:cNvPr id="195" name="Freihandform: Form 470">
                <a:extLst>
                  <a:ext uri="{FF2B5EF4-FFF2-40B4-BE49-F238E27FC236}">
                    <a16:creationId xmlns:a16="http://schemas.microsoft.com/office/drawing/2014/main" id="{AB0676BC-4A07-45ED-BC23-29A8EBF7A61A}"/>
                  </a:ext>
                </a:extLst>
              </p:cNvPr>
              <p:cNvSpPr/>
              <p:nvPr/>
            </p:nvSpPr>
            <p:spPr>
              <a:xfrm>
                <a:off x="1868743" y="4174695"/>
                <a:ext cx="96632" cy="348826"/>
              </a:xfrm>
              <a:custGeom>
                <a:avLst/>
                <a:gdLst>
                  <a:gd name="connsiteX0" fmla="*/ 4966 w 96632"/>
                  <a:gd name="connsiteY0" fmla="*/ 348827 h 348826"/>
                  <a:gd name="connsiteX1" fmla="*/ 0 w 96632"/>
                  <a:gd name="connsiteY1" fmla="*/ 343861 h 348826"/>
                  <a:gd name="connsiteX2" fmla="*/ 0 w 96632"/>
                  <a:gd name="connsiteY2" fmla="*/ 245758 h 348826"/>
                  <a:gd name="connsiteX3" fmla="*/ 1803 w 96632"/>
                  <a:gd name="connsiteY3" fmla="*/ 241929 h 348826"/>
                  <a:gd name="connsiteX4" fmla="*/ 83843 w 96632"/>
                  <a:gd name="connsiteY4" fmla="*/ 174427 h 348826"/>
                  <a:gd name="connsiteX5" fmla="*/ 1803 w 96632"/>
                  <a:gd name="connsiteY5" fmla="*/ 106898 h 348826"/>
                  <a:gd name="connsiteX6" fmla="*/ 0 w 96632"/>
                  <a:gd name="connsiteY6" fmla="*/ 103070 h 348826"/>
                  <a:gd name="connsiteX7" fmla="*/ 0 w 96632"/>
                  <a:gd name="connsiteY7" fmla="*/ 4966 h 348826"/>
                  <a:gd name="connsiteX8" fmla="*/ 4966 w 96632"/>
                  <a:gd name="connsiteY8" fmla="*/ 0 h 348826"/>
                  <a:gd name="connsiteX9" fmla="*/ 9932 w 96632"/>
                  <a:gd name="connsiteY9" fmla="*/ 4966 h 348826"/>
                  <a:gd name="connsiteX10" fmla="*/ 9932 w 96632"/>
                  <a:gd name="connsiteY10" fmla="*/ 100711 h 348826"/>
                  <a:gd name="connsiteX11" fmla="*/ 94829 w 96632"/>
                  <a:gd name="connsiteY11" fmla="*/ 170571 h 348826"/>
                  <a:gd name="connsiteX12" fmla="*/ 96633 w 96632"/>
                  <a:gd name="connsiteY12" fmla="*/ 174400 h 348826"/>
                  <a:gd name="connsiteX13" fmla="*/ 94829 w 96632"/>
                  <a:gd name="connsiteY13" fmla="*/ 178228 h 348826"/>
                  <a:gd name="connsiteX14" fmla="*/ 9932 w 96632"/>
                  <a:gd name="connsiteY14" fmla="*/ 248088 h 348826"/>
                  <a:gd name="connsiteX15" fmla="*/ 9932 w 96632"/>
                  <a:gd name="connsiteY15" fmla="*/ 343861 h 348826"/>
                  <a:gd name="connsiteX16" fmla="*/ 4966 w 96632"/>
                  <a:gd name="connsiteY16" fmla="*/ 348827 h 34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632" h="348826">
                    <a:moveTo>
                      <a:pt x="4966" y="348827"/>
                    </a:moveTo>
                    <a:cubicBezTo>
                      <a:pt x="2219" y="348827"/>
                      <a:pt x="0" y="346608"/>
                      <a:pt x="0" y="343861"/>
                    </a:cubicBezTo>
                    <a:lnTo>
                      <a:pt x="0" y="245758"/>
                    </a:lnTo>
                    <a:cubicBezTo>
                      <a:pt x="0" y="244259"/>
                      <a:pt x="666" y="242872"/>
                      <a:pt x="1803" y="241929"/>
                    </a:cubicBezTo>
                    <a:lnTo>
                      <a:pt x="83843" y="174427"/>
                    </a:lnTo>
                    <a:lnTo>
                      <a:pt x="1803" y="106898"/>
                    </a:lnTo>
                    <a:cubicBezTo>
                      <a:pt x="666" y="105955"/>
                      <a:pt x="0" y="104540"/>
                      <a:pt x="0" y="103070"/>
                    </a:cubicBezTo>
                    <a:lnTo>
                      <a:pt x="0" y="4966"/>
                    </a:lnTo>
                    <a:cubicBezTo>
                      <a:pt x="0" y="2219"/>
                      <a:pt x="2219" y="0"/>
                      <a:pt x="4966" y="0"/>
                    </a:cubicBezTo>
                    <a:cubicBezTo>
                      <a:pt x="7713" y="0"/>
                      <a:pt x="9932" y="2219"/>
                      <a:pt x="9932" y="4966"/>
                    </a:cubicBezTo>
                    <a:lnTo>
                      <a:pt x="9932" y="100711"/>
                    </a:lnTo>
                    <a:lnTo>
                      <a:pt x="94829" y="170571"/>
                    </a:lnTo>
                    <a:cubicBezTo>
                      <a:pt x="95967" y="171514"/>
                      <a:pt x="96633" y="172929"/>
                      <a:pt x="96633" y="174400"/>
                    </a:cubicBezTo>
                    <a:cubicBezTo>
                      <a:pt x="96633" y="175898"/>
                      <a:pt x="95967" y="177285"/>
                      <a:pt x="94829" y="178228"/>
                    </a:cubicBezTo>
                    <a:lnTo>
                      <a:pt x="9932" y="248088"/>
                    </a:lnTo>
                    <a:lnTo>
                      <a:pt x="9932" y="343861"/>
                    </a:lnTo>
                    <a:cubicBezTo>
                      <a:pt x="9932" y="346608"/>
                      <a:pt x="7713" y="348827"/>
                      <a:pt x="4966" y="348827"/>
                    </a:cubicBezTo>
                    <a:close/>
                  </a:path>
                </a:pathLst>
              </a:custGeom>
              <a:grpFill/>
              <a:ln w="2769" cap="flat">
                <a:noFill/>
                <a:prstDash val="solid"/>
                <a:miter/>
              </a:ln>
            </p:spPr>
            <p:txBody>
              <a:bodyPr rtlCol="0" anchor="ctr"/>
              <a:lstStyle/>
              <a:p>
                <a:endParaRPr lang="en-GB" dirty="0"/>
              </a:p>
            </p:txBody>
          </p:sp>
          <p:sp>
            <p:nvSpPr>
              <p:cNvPr id="196" name="Freihandform: Form 471">
                <a:extLst>
                  <a:ext uri="{FF2B5EF4-FFF2-40B4-BE49-F238E27FC236}">
                    <a16:creationId xmlns:a16="http://schemas.microsoft.com/office/drawing/2014/main" id="{5E250041-BC12-4E32-A936-32FE5F4A4BE7}"/>
                  </a:ext>
                </a:extLst>
              </p:cNvPr>
              <p:cNvSpPr/>
              <p:nvPr/>
            </p:nvSpPr>
            <p:spPr>
              <a:xfrm>
                <a:off x="1819136" y="4152056"/>
                <a:ext cx="317559" cy="9932"/>
              </a:xfrm>
              <a:custGeom>
                <a:avLst/>
                <a:gdLst>
                  <a:gd name="connsiteX0" fmla="*/ 312565 w 317559"/>
                  <a:gd name="connsiteY0" fmla="*/ 9932 h 9932"/>
                  <a:gd name="connsiteX1" fmla="*/ 4966 w 317559"/>
                  <a:gd name="connsiteY1" fmla="*/ 9932 h 9932"/>
                  <a:gd name="connsiteX2" fmla="*/ 0 w 317559"/>
                  <a:gd name="connsiteY2" fmla="*/ 4966 h 9932"/>
                  <a:gd name="connsiteX3" fmla="*/ 4966 w 317559"/>
                  <a:gd name="connsiteY3" fmla="*/ 0 h 9932"/>
                  <a:gd name="connsiteX4" fmla="*/ 312593 w 317559"/>
                  <a:gd name="connsiteY4" fmla="*/ 0 h 9932"/>
                  <a:gd name="connsiteX5" fmla="*/ 317559 w 317559"/>
                  <a:gd name="connsiteY5" fmla="*/ 4966 h 9932"/>
                  <a:gd name="connsiteX6" fmla="*/ 312565 w 317559"/>
                  <a:gd name="connsiteY6" fmla="*/ 9932 h 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559" h="9932">
                    <a:moveTo>
                      <a:pt x="312565" y="9932"/>
                    </a:moveTo>
                    <a:lnTo>
                      <a:pt x="4966" y="9932"/>
                    </a:lnTo>
                    <a:cubicBezTo>
                      <a:pt x="2219" y="9932"/>
                      <a:pt x="0" y="7713"/>
                      <a:pt x="0" y="4966"/>
                    </a:cubicBezTo>
                    <a:cubicBezTo>
                      <a:pt x="0" y="2219"/>
                      <a:pt x="2219" y="0"/>
                      <a:pt x="4966" y="0"/>
                    </a:cubicBezTo>
                    <a:lnTo>
                      <a:pt x="312593" y="0"/>
                    </a:lnTo>
                    <a:cubicBezTo>
                      <a:pt x="315340" y="0"/>
                      <a:pt x="317559" y="2219"/>
                      <a:pt x="317559" y="4966"/>
                    </a:cubicBezTo>
                    <a:cubicBezTo>
                      <a:pt x="317559" y="7713"/>
                      <a:pt x="315312" y="9932"/>
                      <a:pt x="312565" y="9932"/>
                    </a:cubicBezTo>
                    <a:close/>
                  </a:path>
                </a:pathLst>
              </a:custGeom>
              <a:grpFill/>
              <a:ln w="2769" cap="flat">
                <a:noFill/>
                <a:prstDash val="solid"/>
                <a:miter/>
              </a:ln>
            </p:spPr>
            <p:txBody>
              <a:bodyPr rtlCol="0" anchor="ctr"/>
              <a:lstStyle/>
              <a:p>
                <a:endParaRPr lang="en-GB" dirty="0"/>
              </a:p>
            </p:txBody>
          </p:sp>
          <p:sp>
            <p:nvSpPr>
              <p:cNvPr id="197" name="Freihandform: Form 472">
                <a:extLst>
                  <a:ext uri="{FF2B5EF4-FFF2-40B4-BE49-F238E27FC236}">
                    <a16:creationId xmlns:a16="http://schemas.microsoft.com/office/drawing/2014/main" id="{F583C6C8-AD69-46BC-8CB1-7D45F5CBFF34}"/>
                  </a:ext>
                </a:extLst>
              </p:cNvPr>
              <p:cNvSpPr/>
              <p:nvPr/>
            </p:nvSpPr>
            <p:spPr>
              <a:xfrm>
                <a:off x="2072690" y="4536257"/>
                <a:ext cx="63978" cy="9932"/>
              </a:xfrm>
              <a:custGeom>
                <a:avLst/>
                <a:gdLst>
                  <a:gd name="connsiteX0" fmla="*/ 59012 w 63978"/>
                  <a:gd name="connsiteY0" fmla="*/ 9933 h 9932"/>
                  <a:gd name="connsiteX1" fmla="*/ 4966 w 63978"/>
                  <a:gd name="connsiteY1" fmla="*/ 9933 h 9932"/>
                  <a:gd name="connsiteX2" fmla="*/ 0 w 63978"/>
                  <a:gd name="connsiteY2" fmla="*/ 4966 h 9932"/>
                  <a:gd name="connsiteX3" fmla="*/ 4966 w 63978"/>
                  <a:gd name="connsiteY3" fmla="*/ 0 h 9932"/>
                  <a:gd name="connsiteX4" fmla="*/ 59012 w 63978"/>
                  <a:gd name="connsiteY4" fmla="*/ 0 h 9932"/>
                  <a:gd name="connsiteX5" fmla="*/ 63978 w 63978"/>
                  <a:gd name="connsiteY5" fmla="*/ 4966 h 9932"/>
                  <a:gd name="connsiteX6" fmla="*/ 59012 w 63978"/>
                  <a:gd name="connsiteY6" fmla="*/ 9933 h 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978" h="9932">
                    <a:moveTo>
                      <a:pt x="59012" y="9933"/>
                    </a:moveTo>
                    <a:lnTo>
                      <a:pt x="4966" y="9933"/>
                    </a:lnTo>
                    <a:cubicBezTo>
                      <a:pt x="2220" y="9933"/>
                      <a:pt x="0" y="7713"/>
                      <a:pt x="0" y="4966"/>
                    </a:cubicBezTo>
                    <a:cubicBezTo>
                      <a:pt x="0" y="2220"/>
                      <a:pt x="2220" y="0"/>
                      <a:pt x="4966" y="0"/>
                    </a:cubicBezTo>
                    <a:lnTo>
                      <a:pt x="59012" y="0"/>
                    </a:lnTo>
                    <a:cubicBezTo>
                      <a:pt x="61758" y="0"/>
                      <a:pt x="63978" y="2220"/>
                      <a:pt x="63978" y="4966"/>
                    </a:cubicBezTo>
                    <a:cubicBezTo>
                      <a:pt x="64006" y="7685"/>
                      <a:pt x="61758" y="9933"/>
                      <a:pt x="59012" y="9933"/>
                    </a:cubicBezTo>
                    <a:close/>
                  </a:path>
                </a:pathLst>
              </a:custGeom>
              <a:grpFill/>
              <a:ln w="2769" cap="flat">
                <a:noFill/>
                <a:prstDash val="solid"/>
                <a:miter/>
              </a:ln>
            </p:spPr>
            <p:txBody>
              <a:bodyPr rtlCol="0" anchor="ctr"/>
              <a:lstStyle/>
              <a:p>
                <a:endParaRPr lang="en-GB" dirty="0"/>
              </a:p>
            </p:txBody>
          </p:sp>
          <p:sp>
            <p:nvSpPr>
              <p:cNvPr id="198" name="Freihandform: Form 473">
                <a:extLst>
                  <a:ext uri="{FF2B5EF4-FFF2-40B4-BE49-F238E27FC236}">
                    <a16:creationId xmlns:a16="http://schemas.microsoft.com/office/drawing/2014/main" id="{D8AE6D9A-AF75-4A9B-A0E7-EE49CA199332}"/>
                  </a:ext>
                </a:extLst>
              </p:cNvPr>
              <p:cNvSpPr/>
              <p:nvPr/>
            </p:nvSpPr>
            <p:spPr>
              <a:xfrm>
                <a:off x="1819136" y="4536257"/>
                <a:ext cx="73743" cy="9932"/>
              </a:xfrm>
              <a:custGeom>
                <a:avLst/>
                <a:gdLst>
                  <a:gd name="connsiteX0" fmla="*/ 68778 w 73743"/>
                  <a:gd name="connsiteY0" fmla="*/ 9933 h 9932"/>
                  <a:gd name="connsiteX1" fmla="*/ 4966 w 73743"/>
                  <a:gd name="connsiteY1" fmla="*/ 9933 h 9932"/>
                  <a:gd name="connsiteX2" fmla="*/ 0 w 73743"/>
                  <a:gd name="connsiteY2" fmla="*/ 4966 h 9932"/>
                  <a:gd name="connsiteX3" fmla="*/ 4966 w 73743"/>
                  <a:gd name="connsiteY3" fmla="*/ 0 h 9932"/>
                  <a:gd name="connsiteX4" fmla="*/ 68778 w 73743"/>
                  <a:gd name="connsiteY4" fmla="*/ 0 h 9932"/>
                  <a:gd name="connsiteX5" fmla="*/ 73744 w 73743"/>
                  <a:gd name="connsiteY5" fmla="*/ 4966 h 9932"/>
                  <a:gd name="connsiteX6" fmla="*/ 68778 w 73743"/>
                  <a:gd name="connsiteY6" fmla="*/ 9933 h 9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743" h="9932">
                    <a:moveTo>
                      <a:pt x="68778" y="9933"/>
                    </a:moveTo>
                    <a:lnTo>
                      <a:pt x="4966" y="9933"/>
                    </a:lnTo>
                    <a:cubicBezTo>
                      <a:pt x="2219" y="9933"/>
                      <a:pt x="0" y="7713"/>
                      <a:pt x="0" y="4966"/>
                    </a:cubicBezTo>
                    <a:cubicBezTo>
                      <a:pt x="0" y="2220"/>
                      <a:pt x="2219" y="0"/>
                      <a:pt x="4966" y="0"/>
                    </a:cubicBezTo>
                    <a:lnTo>
                      <a:pt x="68778" y="0"/>
                    </a:lnTo>
                    <a:cubicBezTo>
                      <a:pt x="71524" y="0"/>
                      <a:pt x="73744" y="2220"/>
                      <a:pt x="73744" y="4966"/>
                    </a:cubicBezTo>
                    <a:cubicBezTo>
                      <a:pt x="73744" y="7685"/>
                      <a:pt x="71497" y="9933"/>
                      <a:pt x="68778" y="9933"/>
                    </a:cubicBezTo>
                    <a:close/>
                  </a:path>
                </a:pathLst>
              </a:custGeom>
              <a:grpFill/>
              <a:ln w="2769" cap="flat">
                <a:noFill/>
                <a:prstDash val="solid"/>
                <a:miter/>
              </a:ln>
            </p:spPr>
            <p:txBody>
              <a:bodyPr rtlCol="0" anchor="ctr"/>
              <a:lstStyle/>
              <a:p>
                <a:endParaRPr lang="en-GB" dirty="0"/>
              </a:p>
            </p:txBody>
          </p:sp>
        </p:grpSp>
        <p:sp>
          <p:nvSpPr>
            <p:cNvPr id="192" name="Freihandform: Form 474">
              <a:extLst>
                <a:ext uri="{FF2B5EF4-FFF2-40B4-BE49-F238E27FC236}">
                  <a16:creationId xmlns:a16="http://schemas.microsoft.com/office/drawing/2014/main" id="{C0A9668C-5EEC-475D-90B5-1A973EE10858}"/>
                </a:ext>
              </a:extLst>
            </p:cNvPr>
            <p:cNvSpPr/>
            <p:nvPr/>
          </p:nvSpPr>
          <p:spPr>
            <a:xfrm>
              <a:off x="713749" y="3468519"/>
              <a:ext cx="160530" cy="160549"/>
            </a:xfrm>
            <a:custGeom>
              <a:avLst/>
              <a:gdLst>
                <a:gd name="connsiteX0" fmla="*/ 68560 w 176047"/>
                <a:gd name="connsiteY0" fmla="*/ 176069 h 176068"/>
                <a:gd name="connsiteX1" fmla="*/ 65369 w 176047"/>
                <a:gd name="connsiteY1" fmla="*/ 175597 h 176068"/>
                <a:gd name="connsiteX2" fmla="*/ 57379 w 176047"/>
                <a:gd name="connsiteY2" fmla="*/ 173156 h 176068"/>
                <a:gd name="connsiteX3" fmla="*/ 50998 w 176047"/>
                <a:gd name="connsiteY3" fmla="*/ 167884 h 176068"/>
                <a:gd name="connsiteX4" fmla="*/ 50221 w 176047"/>
                <a:gd name="connsiteY4" fmla="*/ 159616 h 176068"/>
                <a:gd name="connsiteX5" fmla="*/ 53939 w 176047"/>
                <a:gd name="connsiteY5" fmla="*/ 147575 h 176068"/>
                <a:gd name="connsiteX6" fmla="*/ 34990 w 176047"/>
                <a:gd name="connsiteY6" fmla="*/ 131512 h 176068"/>
                <a:gd name="connsiteX7" fmla="*/ 23698 w 176047"/>
                <a:gd name="connsiteY7" fmla="*/ 137143 h 176068"/>
                <a:gd name="connsiteX8" fmla="*/ 9160 w 176047"/>
                <a:gd name="connsiteY8" fmla="*/ 132316 h 176068"/>
                <a:gd name="connsiteX9" fmla="*/ 5387 w 176047"/>
                <a:gd name="connsiteY9" fmla="*/ 124825 h 176068"/>
                <a:gd name="connsiteX10" fmla="*/ 4776 w 176047"/>
                <a:gd name="connsiteY10" fmla="*/ 116558 h 176068"/>
                <a:gd name="connsiteX11" fmla="*/ 10214 w 176047"/>
                <a:gd name="connsiteY11" fmla="*/ 110287 h 176068"/>
                <a:gd name="connsiteX12" fmla="*/ 21478 w 176047"/>
                <a:gd name="connsiteY12" fmla="*/ 104655 h 176068"/>
                <a:gd name="connsiteX13" fmla="*/ 19647 w 176047"/>
                <a:gd name="connsiteY13" fmla="*/ 82654 h 176068"/>
                <a:gd name="connsiteX14" fmla="*/ 7634 w 176047"/>
                <a:gd name="connsiteY14" fmla="*/ 78936 h 176068"/>
                <a:gd name="connsiteX15" fmla="*/ 476 w 176047"/>
                <a:gd name="connsiteY15" fmla="*/ 65397 h 176068"/>
                <a:gd name="connsiteX16" fmla="*/ 2945 w 176047"/>
                <a:gd name="connsiteY16" fmla="*/ 57379 h 176068"/>
                <a:gd name="connsiteX17" fmla="*/ 8244 w 176047"/>
                <a:gd name="connsiteY17" fmla="*/ 50998 h 176068"/>
                <a:gd name="connsiteX18" fmla="*/ 16484 w 176047"/>
                <a:gd name="connsiteY18" fmla="*/ 50221 h 176068"/>
                <a:gd name="connsiteX19" fmla="*/ 28497 w 176047"/>
                <a:gd name="connsiteY19" fmla="*/ 53939 h 176068"/>
                <a:gd name="connsiteX20" fmla="*/ 42453 w 176047"/>
                <a:gd name="connsiteY20" fmla="*/ 36793 h 176068"/>
                <a:gd name="connsiteX21" fmla="*/ 36349 w 176047"/>
                <a:gd name="connsiteY21" fmla="*/ 25779 h 176068"/>
                <a:gd name="connsiteX22" fmla="*/ 35406 w 176047"/>
                <a:gd name="connsiteY22" fmla="*/ 17539 h 176068"/>
                <a:gd name="connsiteX23" fmla="*/ 40566 w 176047"/>
                <a:gd name="connsiteY23" fmla="*/ 11046 h 176068"/>
                <a:gd name="connsiteX24" fmla="*/ 47891 w 176047"/>
                <a:gd name="connsiteY24" fmla="*/ 6996 h 176068"/>
                <a:gd name="connsiteX25" fmla="*/ 62595 w 176047"/>
                <a:gd name="connsiteY25" fmla="*/ 11213 h 176068"/>
                <a:gd name="connsiteX26" fmla="*/ 68699 w 176047"/>
                <a:gd name="connsiteY26" fmla="*/ 22227 h 176068"/>
                <a:gd name="connsiteX27" fmla="*/ 93419 w 176047"/>
                <a:gd name="connsiteY27" fmla="*/ 19675 h 176068"/>
                <a:gd name="connsiteX28" fmla="*/ 97137 w 176047"/>
                <a:gd name="connsiteY28" fmla="*/ 7634 h 176068"/>
                <a:gd name="connsiteX29" fmla="*/ 110676 w 176047"/>
                <a:gd name="connsiteY29" fmla="*/ 476 h 176068"/>
                <a:gd name="connsiteX30" fmla="*/ 118666 w 176047"/>
                <a:gd name="connsiteY30" fmla="*/ 2945 h 176068"/>
                <a:gd name="connsiteX31" fmla="*/ 125824 w 176047"/>
                <a:gd name="connsiteY31" fmla="*/ 16484 h 176068"/>
                <a:gd name="connsiteX32" fmla="*/ 122106 w 176047"/>
                <a:gd name="connsiteY32" fmla="*/ 28525 h 176068"/>
                <a:gd name="connsiteX33" fmla="*/ 141055 w 176047"/>
                <a:gd name="connsiteY33" fmla="*/ 44589 h 176068"/>
                <a:gd name="connsiteX34" fmla="*/ 152347 w 176047"/>
                <a:gd name="connsiteY34" fmla="*/ 38929 h 176068"/>
                <a:gd name="connsiteX35" fmla="*/ 166858 w 176047"/>
                <a:gd name="connsiteY35" fmla="*/ 43757 h 176068"/>
                <a:gd name="connsiteX36" fmla="*/ 170631 w 176047"/>
                <a:gd name="connsiteY36" fmla="*/ 51248 h 176068"/>
                <a:gd name="connsiteX37" fmla="*/ 165803 w 176047"/>
                <a:gd name="connsiteY37" fmla="*/ 65786 h 176068"/>
                <a:gd name="connsiteX38" fmla="*/ 154539 w 176047"/>
                <a:gd name="connsiteY38" fmla="*/ 71446 h 176068"/>
                <a:gd name="connsiteX39" fmla="*/ 156370 w 176047"/>
                <a:gd name="connsiteY39" fmla="*/ 93446 h 176068"/>
                <a:gd name="connsiteX40" fmla="*/ 168411 w 176047"/>
                <a:gd name="connsiteY40" fmla="*/ 97164 h 176068"/>
                <a:gd name="connsiteX41" fmla="*/ 174792 w 176047"/>
                <a:gd name="connsiteY41" fmla="*/ 102463 h 176068"/>
                <a:gd name="connsiteX42" fmla="*/ 175569 w 176047"/>
                <a:gd name="connsiteY42" fmla="*/ 110731 h 176068"/>
                <a:gd name="connsiteX43" fmla="*/ 173072 w 176047"/>
                <a:gd name="connsiteY43" fmla="*/ 118749 h 176068"/>
                <a:gd name="connsiteX44" fmla="*/ 167773 w 176047"/>
                <a:gd name="connsiteY44" fmla="*/ 125130 h 176068"/>
                <a:gd name="connsiteX45" fmla="*/ 159505 w 176047"/>
                <a:gd name="connsiteY45" fmla="*/ 125907 h 176068"/>
                <a:gd name="connsiteX46" fmla="*/ 147492 w 176047"/>
                <a:gd name="connsiteY46" fmla="*/ 122190 h 176068"/>
                <a:gd name="connsiteX47" fmla="*/ 133565 w 176047"/>
                <a:gd name="connsiteY47" fmla="*/ 139308 h 176068"/>
                <a:gd name="connsiteX48" fmla="*/ 139668 w 176047"/>
                <a:gd name="connsiteY48" fmla="*/ 150322 h 176068"/>
                <a:gd name="connsiteX49" fmla="*/ 140612 w 176047"/>
                <a:gd name="connsiteY49" fmla="*/ 158562 h 176068"/>
                <a:gd name="connsiteX50" fmla="*/ 135451 w 176047"/>
                <a:gd name="connsiteY50" fmla="*/ 165054 h 176068"/>
                <a:gd name="connsiteX51" fmla="*/ 128099 w 176047"/>
                <a:gd name="connsiteY51" fmla="*/ 169133 h 176068"/>
                <a:gd name="connsiteX52" fmla="*/ 119859 w 176047"/>
                <a:gd name="connsiteY52" fmla="*/ 170076 h 176068"/>
                <a:gd name="connsiteX53" fmla="*/ 113367 w 176047"/>
                <a:gd name="connsiteY53" fmla="*/ 164915 h 176068"/>
                <a:gd name="connsiteX54" fmla="*/ 107263 w 176047"/>
                <a:gd name="connsiteY54" fmla="*/ 153901 h 176068"/>
                <a:gd name="connsiteX55" fmla="*/ 82543 w 176047"/>
                <a:gd name="connsiteY55" fmla="*/ 156454 h 176068"/>
                <a:gd name="connsiteX56" fmla="*/ 78825 w 176047"/>
                <a:gd name="connsiteY56" fmla="*/ 168467 h 176068"/>
                <a:gd name="connsiteX57" fmla="*/ 68560 w 176047"/>
                <a:gd name="connsiteY57" fmla="*/ 176069 h 176068"/>
                <a:gd name="connsiteX58" fmla="*/ 36405 w 176047"/>
                <a:gd name="connsiteY58" fmla="*/ 120247 h 176068"/>
                <a:gd name="connsiteX59" fmla="*/ 40455 w 176047"/>
                <a:gd name="connsiteY59" fmla="*/ 122300 h 176068"/>
                <a:gd name="connsiteX60" fmla="*/ 62096 w 176047"/>
                <a:gd name="connsiteY60" fmla="*/ 140639 h 176068"/>
                <a:gd name="connsiteX61" fmla="*/ 64648 w 176047"/>
                <a:gd name="connsiteY61" fmla="*/ 146577 h 176068"/>
                <a:gd name="connsiteX62" fmla="*/ 59737 w 176047"/>
                <a:gd name="connsiteY62" fmla="*/ 162529 h 176068"/>
                <a:gd name="connsiteX63" fmla="*/ 60320 w 176047"/>
                <a:gd name="connsiteY63" fmla="*/ 163639 h 176068"/>
                <a:gd name="connsiteX64" fmla="*/ 68310 w 176047"/>
                <a:gd name="connsiteY64" fmla="*/ 166081 h 176068"/>
                <a:gd name="connsiteX65" fmla="*/ 69420 w 176047"/>
                <a:gd name="connsiteY65" fmla="*/ 165498 h 176068"/>
                <a:gd name="connsiteX66" fmla="*/ 74331 w 176047"/>
                <a:gd name="connsiteY66" fmla="*/ 149545 h 176068"/>
                <a:gd name="connsiteX67" fmla="*/ 79769 w 176047"/>
                <a:gd name="connsiteY67" fmla="*/ 146105 h 176068"/>
                <a:gd name="connsiteX68" fmla="*/ 107985 w 176047"/>
                <a:gd name="connsiteY68" fmla="*/ 143164 h 176068"/>
                <a:gd name="connsiteX69" fmla="*/ 114033 w 176047"/>
                <a:gd name="connsiteY69" fmla="*/ 145439 h 176068"/>
                <a:gd name="connsiteX70" fmla="*/ 122134 w 176047"/>
                <a:gd name="connsiteY70" fmla="*/ 160060 h 176068"/>
                <a:gd name="connsiteX71" fmla="*/ 123327 w 176047"/>
                <a:gd name="connsiteY71" fmla="*/ 160421 h 176068"/>
                <a:gd name="connsiteX72" fmla="*/ 130679 w 176047"/>
                <a:gd name="connsiteY72" fmla="*/ 156343 h 176068"/>
                <a:gd name="connsiteX73" fmla="*/ 131012 w 176047"/>
                <a:gd name="connsiteY73" fmla="*/ 155122 h 176068"/>
                <a:gd name="connsiteX74" fmla="*/ 122911 w 176047"/>
                <a:gd name="connsiteY74" fmla="*/ 140501 h 176068"/>
                <a:gd name="connsiteX75" fmla="*/ 124187 w 176047"/>
                <a:gd name="connsiteY75" fmla="*/ 134175 h 176068"/>
                <a:gd name="connsiteX76" fmla="*/ 140612 w 176047"/>
                <a:gd name="connsiteY76" fmla="*/ 113977 h 176068"/>
                <a:gd name="connsiteX77" fmla="*/ 146549 w 176047"/>
                <a:gd name="connsiteY77" fmla="*/ 111425 h 176068"/>
                <a:gd name="connsiteX78" fmla="*/ 162502 w 176047"/>
                <a:gd name="connsiteY78" fmla="*/ 116363 h 176068"/>
                <a:gd name="connsiteX79" fmla="*/ 163611 w 176047"/>
                <a:gd name="connsiteY79" fmla="*/ 115781 h 176068"/>
                <a:gd name="connsiteX80" fmla="*/ 166108 w 176047"/>
                <a:gd name="connsiteY80" fmla="*/ 107762 h 176068"/>
                <a:gd name="connsiteX81" fmla="*/ 165526 w 176047"/>
                <a:gd name="connsiteY81" fmla="*/ 106653 h 176068"/>
                <a:gd name="connsiteX82" fmla="*/ 149573 w 176047"/>
                <a:gd name="connsiteY82" fmla="*/ 101714 h 176068"/>
                <a:gd name="connsiteX83" fmla="*/ 146105 w 176047"/>
                <a:gd name="connsiteY83" fmla="*/ 96249 h 176068"/>
                <a:gd name="connsiteX84" fmla="*/ 143941 w 176047"/>
                <a:gd name="connsiteY84" fmla="*/ 70336 h 176068"/>
                <a:gd name="connsiteX85" fmla="*/ 146438 w 176047"/>
                <a:gd name="connsiteY85" fmla="*/ 64371 h 176068"/>
                <a:gd name="connsiteX86" fmla="*/ 161392 w 176047"/>
                <a:gd name="connsiteY86" fmla="*/ 56880 h 176068"/>
                <a:gd name="connsiteX87" fmla="*/ 161780 w 176047"/>
                <a:gd name="connsiteY87" fmla="*/ 55687 h 176068"/>
                <a:gd name="connsiteX88" fmla="*/ 158007 w 176047"/>
                <a:gd name="connsiteY88" fmla="*/ 48196 h 176068"/>
                <a:gd name="connsiteX89" fmla="*/ 156814 w 176047"/>
                <a:gd name="connsiteY89" fmla="*/ 47807 h 176068"/>
                <a:gd name="connsiteX90" fmla="*/ 141860 w 176047"/>
                <a:gd name="connsiteY90" fmla="*/ 55298 h 176068"/>
                <a:gd name="connsiteX91" fmla="*/ 135590 w 176047"/>
                <a:gd name="connsiteY91" fmla="*/ 53745 h 176068"/>
                <a:gd name="connsiteX92" fmla="*/ 113977 w 176047"/>
                <a:gd name="connsiteY92" fmla="*/ 35406 h 176068"/>
                <a:gd name="connsiteX93" fmla="*/ 111425 w 176047"/>
                <a:gd name="connsiteY93" fmla="*/ 29469 h 176068"/>
                <a:gd name="connsiteX94" fmla="*/ 116363 w 176047"/>
                <a:gd name="connsiteY94" fmla="*/ 13516 h 176068"/>
                <a:gd name="connsiteX95" fmla="*/ 115781 w 176047"/>
                <a:gd name="connsiteY95" fmla="*/ 12406 h 176068"/>
                <a:gd name="connsiteX96" fmla="*/ 107790 w 176047"/>
                <a:gd name="connsiteY96" fmla="*/ 9937 h 176068"/>
                <a:gd name="connsiteX97" fmla="*/ 106681 w 176047"/>
                <a:gd name="connsiteY97" fmla="*/ 10519 h 176068"/>
                <a:gd name="connsiteX98" fmla="*/ 101742 w 176047"/>
                <a:gd name="connsiteY98" fmla="*/ 26472 h 176068"/>
                <a:gd name="connsiteX99" fmla="*/ 96304 w 176047"/>
                <a:gd name="connsiteY99" fmla="*/ 29913 h 176068"/>
                <a:gd name="connsiteX100" fmla="*/ 68088 w 176047"/>
                <a:gd name="connsiteY100" fmla="*/ 32853 h 176068"/>
                <a:gd name="connsiteX101" fmla="*/ 62040 w 176047"/>
                <a:gd name="connsiteY101" fmla="*/ 30606 h 176068"/>
                <a:gd name="connsiteX102" fmla="*/ 53939 w 176047"/>
                <a:gd name="connsiteY102" fmla="*/ 15985 h 176068"/>
                <a:gd name="connsiteX103" fmla="*/ 52746 w 176047"/>
                <a:gd name="connsiteY103" fmla="*/ 15652 h 176068"/>
                <a:gd name="connsiteX104" fmla="*/ 45421 w 176047"/>
                <a:gd name="connsiteY104" fmla="*/ 19703 h 176068"/>
                <a:gd name="connsiteX105" fmla="*/ 45005 w 176047"/>
                <a:gd name="connsiteY105" fmla="*/ 20230 h 176068"/>
                <a:gd name="connsiteX106" fmla="*/ 45089 w 176047"/>
                <a:gd name="connsiteY106" fmla="*/ 20896 h 176068"/>
                <a:gd name="connsiteX107" fmla="*/ 53190 w 176047"/>
                <a:gd name="connsiteY107" fmla="*/ 35517 h 176068"/>
                <a:gd name="connsiteX108" fmla="*/ 51914 w 176047"/>
                <a:gd name="connsiteY108" fmla="*/ 41842 h 176068"/>
                <a:gd name="connsiteX109" fmla="*/ 35489 w 176047"/>
                <a:gd name="connsiteY109" fmla="*/ 62040 h 176068"/>
                <a:gd name="connsiteX110" fmla="*/ 29552 w 176047"/>
                <a:gd name="connsiteY110" fmla="*/ 64593 h 176068"/>
                <a:gd name="connsiteX111" fmla="*/ 13599 w 176047"/>
                <a:gd name="connsiteY111" fmla="*/ 59654 h 176068"/>
                <a:gd name="connsiteX112" fmla="*/ 12489 w 176047"/>
                <a:gd name="connsiteY112" fmla="*/ 60237 h 176068"/>
                <a:gd name="connsiteX113" fmla="*/ 10020 w 176047"/>
                <a:gd name="connsiteY113" fmla="*/ 68255 h 176068"/>
                <a:gd name="connsiteX114" fmla="*/ 10603 w 176047"/>
                <a:gd name="connsiteY114" fmla="*/ 69365 h 176068"/>
                <a:gd name="connsiteX115" fmla="*/ 26555 w 176047"/>
                <a:gd name="connsiteY115" fmla="*/ 74303 h 176068"/>
                <a:gd name="connsiteX116" fmla="*/ 29996 w 176047"/>
                <a:gd name="connsiteY116" fmla="*/ 79769 h 176068"/>
                <a:gd name="connsiteX117" fmla="*/ 32160 w 176047"/>
                <a:gd name="connsiteY117" fmla="*/ 105682 h 176068"/>
                <a:gd name="connsiteX118" fmla="*/ 29663 w 176047"/>
                <a:gd name="connsiteY118" fmla="*/ 111647 h 176068"/>
                <a:gd name="connsiteX119" fmla="*/ 14709 w 176047"/>
                <a:gd name="connsiteY119" fmla="*/ 119138 h 176068"/>
                <a:gd name="connsiteX120" fmla="*/ 14320 w 176047"/>
                <a:gd name="connsiteY120" fmla="*/ 120331 h 176068"/>
                <a:gd name="connsiteX121" fmla="*/ 18093 w 176047"/>
                <a:gd name="connsiteY121" fmla="*/ 127821 h 176068"/>
                <a:gd name="connsiteX122" fmla="*/ 19287 w 176047"/>
                <a:gd name="connsiteY122" fmla="*/ 128210 h 176068"/>
                <a:gd name="connsiteX123" fmla="*/ 34241 w 176047"/>
                <a:gd name="connsiteY123" fmla="*/ 120719 h 176068"/>
                <a:gd name="connsiteX124" fmla="*/ 36405 w 176047"/>
                <a:gd name="connsiteY124" fmla="*/ 120247 h 176068"/>
                <a:gd name="connsiteX125" fmla="*/ 88064 w 176047"/>
                <a:gd name="connsiteY125" fmla="*/ 126878 h 176068"/>
                <a:gd name="connsiteX126" fmla="*/ 83764 w 176047"/>
                <a:gd name="connsiteY126" fmla="*/ 126629 h 176068"/>
                <a:gd name="connsiteX127" fmla="*/ 57740 w 176047"/>
                <a:gd name="connsiteY127" fmla="*/ 112313 h 176068"/>
                <a:gd name="connsiteX128" fmla="*/ 49472 w 176047"/>
                <a:gd name="connsiteY128" fmla="*/ 83764 h 176068"/>
                <a:gd name="connsiteX129" fmla="*/ 63760 w 176047"/>
                <a:gd name="connsiteY129" fmla="*/ 57712 h 176068"/>
                <a:gd name="connsiteX130" fmla="*/ 92281 w 176047"/>
                <a:gd name="connsiteY130" fmla="*/ 49417 h 176068"/>
                <a:gd name="connsiteX131" fmla="*/ 126629 w 176047"/>
                <a:gd name="connsiteY131" fmla="*/ 92281 h 176068"/>
                <a:gd name="connsiteX132" fmla="*/ 88064 w 176047"/>
                <a:gd name="connsiteY132" fmla="*/ 126878 h 176068"/>
                <a:gd name="connsiteX133" fmla="*/ 87981 w 176047"/>
                <a:gd name="connsiteY133" fmla="*/ 59127 h 176068"/>
                <a:gd name="connsiteX134" fmla="*/ 70003 w 176047"/>
                <a:gd name="connsiteY134" fmla="*/ 65480 h 176068"/>
                <a:gd name="connsiteX135" fmla="*/ 59377 w 176047"/>
                <a:gd name="connsiteY135" fmla="*/ 84846 h 176068"/>
                <a:gd name="connsiteX136" fmla="*/ 65536 w 176047"/>
                <a:gd name="connsiteY136" fmla="*/ 106098 h 176068"/>
                <a:gd name="connsiteX137" fmla="*/ 84901 w 176047"/>
                <a:gd name="connsiteY137" fmla="*/ 116752 h 176068"/>
                <a:gd name="connsiteX138" fmla="*/ 84901 w 176047"/>
                <a:gd name="connsiteY138" fmla="*/ 116752 h 176068"/>
                <a:gd name="connsiteX139" fmla="*/ 116779 w 176047"/>
                <a:gd name="connsiteY139" fmla="*/ 91199 h 176068"/>
                <a:gd name="connsiteX140" fmla="*/ 91227 w 176047"/>
                <a:gd name="connsiteY140" fmla="*/ 59294 h 176068"/>
                <a:gd name="connsiteX141" fmla="*/ 87981 w 176047"/>
                <a:gd name="connsiteY141" fmla="*/ 59127 h 176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76047" h="176068">
                  <a:moveTo>
                    <a:pt x="68560" y="176069"/>
                  </a:moveTo>
                  <a:cubicBezTo>
                    <a:pt x="67506" y="176069"/>
                    <a:pt x="66424" y="175902"/>
                    <a:pt x="65369" y="175597"/>
                  </a:cubicBezTo>
                  <a:lnTo>
                    <a:pt x="57379" y="173156"/>
                  </a:lnTo>
                  <a:cubicBezTo>
                    <a:pt x="54605" y="172295"/>
                    <a:pt x="52330" y="170436"/>
                    <a:pt x="50998" y="167884"/>
                  </a:cubicBezTo>
                  <a:cubicBezTo>
                    <a:pt x="49639" y="165332"/>
                    <a:pt x="49361" y="162391"/>
                    <a:pt x="50221" y="159616"/>
                  </a:cubicBezTo>
                  <a:lnTo>
                    <a:pt x="53939" y="147575"/>
                  </a:lnTo>
                  <a:cubicBezTo>
                    <a:pt x="46725" y="143441"/>
                    <a:pt x="40289" y="137976"/>
                    <a:pt x="34990" y="131512"/>
                  </a:cubicBezTo>
                  <a:lnTo>
                    <a:pt x="23698" y="137143"/>
                  </a:lnTo>
                  <a:cubicBezTo>
                    <a:pt x="18371" y="139807"/>
                    <a:pt x="11851" y="137643"/>
                    <a:pt x="9160" y="132316"/>
                  </a:cubicBezTo>
                  <a:lnTo>
                    <a:pt x="5387" y="124825"/>
                  </a:lnTo>
                  <a:cubicBezTo>
                    <a:pt x="4083" y="122245"/>
                    <a:pt x="3888" y="119304"/>
                    <a:pt x="4776" y="116558"/>
                  </a:cubicBezTo>
                  <a:cubicBezTo>
                    <a:pt x="5692" y="113811"/>
                    <a:pt x="7606" y="111591"/>
                    <a:pt x="10214" y="110287"/>
                  </a:cubicBezTo>
                  <a:lnTo>
                    <a:pt x="21478" y="104655"/>
                  </a:lnTo>
                  <a:cubicBezTo>
                    <a:pt x="19675" y="97497"/>
                    <a:pt x="19065" y="90034"/>
                    <a:pt x="19647" y="82654"/>
                  </a:cubicBezTo>
                  <a:lnTo>
                    <a:pt x="7634" y="78936"/>
                  </a:lnTo>
                  <a:cubicBezTo>
                    <a:pt x="1946" y="77161"/>
                    <a:pt x="-1272" y="71085"/>
                    <a:pt x="476" y="65397"/>
                  </a:cubicBezTo>
                  <a:lnTo>
                    <a:pt x="2945" y="57379"/>
                  </a:lnTo>
                  <a:cubicBezTo>
                    <a:pt x="3805" y="54632"/>
                    <a:pt x="5664" y="52358"/>
                    <a:pt x="8244" y="50998"/>
                  </a:cubicBezTo>
                  <a:cubicBezTo>
                    <a:pt x="10797" y="49639"/>
                    <a:pt x="13738" y="49389"/>
                    <a:pt x="16484" y="50221"/>
                  </a:cubicBezTo>
                  <a:lnTo>
                    <a:pt x="28497" y="53939"/>
                  </a:lnTo>
                  <a:cubicBezTo>
                    <a:pt x="32188" y="47475"/>
                    <a:pt x="36849" y="41732"/>
                    <a:pt x="42453" y="36793"/>
                  </a:cubicBezTo>
                  <a:lnTo>
                    <a:pt x="36349" y="25779"/>
                  </a:lnTo>
                  <a:cubicBezTo>
                    <a:pt x="34934" y="23226"/>
                    <a:pt x="34601" y="20313"/>
                    <a:pt x="35406" y="17539"/>
                  </a:cubicBezTo>
                  <a:cubicBezTo>
                    <a:pt x="36210" y="14764"/>
                    <a:pt x="38041" y="12461"/>
                    <a:pt x="40566" y="11046"/>
                  </a:cubicBezTo>
                  <a:lnTo>
                    <a:pt x="47891" y="6996"/>
                  </a:lnTo>
                  <a:cubicBezTo>
                    <a:pt x="53107" y="4083"/>
                    <a:pt x="59710" y="5997"/>
                    <a:pt x="62595" y="11213"/>
                  </a:cubicBezTo>
                  <a:lnTo>
                    <a:pt x="68699" y="22227"/>
                  </a:lnTo>
                  <a:cubicBezTo>
                    <a:pt x="76661" y="19897"/>
                    <a:pt x="85096" y="18981"/>
                    <a:pt x="93419" y="19675"/>
                  </a:cubicBezTo>
                  <a:lnTo>
                    <a:pt x="97137" y="7634"/>
                  </a:lnTo>
                  <a:cubicBezTo>
                    <a:pt x="98884" y="1947"/>
                    <a:pt x="104960" y="-1272"/>
                    <a:pt x="110676" y="476"/>
                  </a:cubicBezTo>
                  <a:lnTo>
                    <a:pt x="118666" y="2945"/>
                  </a:lnTo>
                  <a:cubicBezTo>
                    <a:pt x="124381" y="4721"/>
                    <a:pt x="127572" y="10797"/>
                    <a:pt x="125824" y="16484"/>
                  </a:cubicBezTo>
                  <a:lnTo>
                    <a:pt x="122106" y="28525"/>
                  </a:lnTo>
                  <a:cubicBezTo>
                    <a:pt x="129320" y="32659"/>
                    <a:pt x="135756" y="38125"/>
                    <a:pt x="141055" y="44589"/>
                  </a:cubicBezTo>
                  <a:lnTo>
                    <a:pt x="152347" y="38929"/>
                  </a:lnTo>
                  <a:cubicBezTo>
                    <a:pt x="157674" y="36266"/>
                    <a:pt x="164194" y="38430"/>
                    <a:pt x="166858" y="43757"/>
                  </a:cubicBezTo>
                  <a:lnTo>
                    <a:pt x="170631" y="51248"/>
                  </a:lnTo>
                  <a:cubicBezTo>
                    <a:pt x="173322" y="56602"/>
                    <a:pt x="171158" y="63122"/>
                    <a:pt x="165803" y="65786"/>
                  </a:cubicBezTo>
                  <a:lnTo>
                    <a:pt x="154539" y="71446"/>
                  </a:lnTo>
                  <a:cubicBezTo>
                    <a:pt x="156343" y="78603"/>
                    <a:pt x="156953" y="86067"/>
                    <a:pt x="156370" y="93446"/>
                  </a:cubicBezTo>
                  <a:lnTo>
                    <a:pt x="168411" y="97164"/>
                  </a:lnTo>
                  <a:cubicBezTo>
                    <a:pt x="171186" y="98024"/>
                    <a:pt x="173461" y="99911"/>
                    <a:pt x="174792" y="102463"/>
                  </a:cubicBezTo>
                  <a:cubicBezTo>
                    <a:pt x="176152" y="105016"/>
                    <a:pt x="176401" y="107957"/>
                    <a:pt x="175569" y="110731"/>
                  </a:cubicBezTo>
                  <a:lnTo>
                    <a:pt x="173072" y="118749"/>
                  </a:lnTo>
                  <a:cubicBezTo>
                    <a:pt x="172212" y="121496"/>
                    <a:pt x="170326" y="123771"/>
                    <a:pt x="167773" y="125130"/>
                  </a:cubicBezTo>
                  <a:cubicBezTo>
                    <a:pt x="165221" y="126490"/>
                    <a:pt x="162280" y="126739"/>
                    <a:pt x="159505" y="125907"/>
                  </a:cubicBezTo>
                  <a:lnTo>
                    <a:pt x="147492" y="122190"/>
                  </a:lnTo>
                  <a:cubicBezTo>
                    <a:pt x="143802" y="128598"/>
                    <a:pt x="139086" y="134425"/>
                    <a:pt x="133565" y="139308"/>
                  </a:cubicBezTo>
                  <a:lnTo>
                    <a:pt x="139668" y="150322"/>
                  </a:lnTo>
                  <a:cubicBezTo>
                    <a:pt x="141083" y="152847"/>
                    <a:pt x="141416" y="155788"/>
                    <a:pt x="140612" y="158562"/>
                  </a:cubicBezTo>
                  <a:cubicBezTo>
                    <a:pt x="139807" y="161337"/>
                    <a:pt x="137976" y="163639"/>
                    <a:pt x="135451" y="165054"/>
                  </a:cubicBezTo>
                  <a:lnTo>
                    <a:pt x="128099" y="169133"/>
                  </a:lnTo>
                  <a:cubicBezTo>
                    <a:pt x="125574" y="170547"/>
                    <a:pt x="122661" y="170880"/>
                    <a:pt x="119859" y="170076"/>
                  </a:cubicBezTo>
                  <a:cubicBezTo>
                    <a:pt x="117085" y="169271"/>
                    <a:pt x="114782" y="167440"/>
                    <a:pt x="113367" y="164915"/>
                  </a:cubicBezTo>
                  <a:lnTo>
                    <a:pt x="107263" y="153901"/>
                  </a:lnTo>
                  <a:cubicBezTo>
                    <a:pt x="99301" y="156231"/>
                    <a:pt x="90894" y="157119"/>
                    <a:pt x="82543" y="156454"/>
                  </a:cubicBezTo>
                  <a:lnTo>
                    <a:pt x="78825" y="168467"/>
                  </a:lnTo>
                  <a:cubicBezTo>
                    <a:pt x="77466" y="173072"/>
                    <a:pt x="73193" y="176069"/>
                    <a:pt x="68560" y="176069"/>
                  </a:cubicBezTo>
                  <a:close/>
                  <a:moveTo>
                    <a:pt x="36405" y="120247"/>
                  </a:moveTo>
                  <a:cubicBezTo>
                    <a:pt x="37958" y="120247"/>
                    <a:pt x="39484" y="120969"/>
                    <a:pt x="40455" y="122300"/>
                  </a:cubicBezTo>
                  <a:cubicBezTo>
                    <a:pt x="46060" y="130097"/>
                    <a:pt x="53550" y="136422"/>
                    <a:pt x="62096" y="140639"/>
                  </a:cubicBezTo>
                  <a:cubicBezTo>
                    <a:pt x="64287" y="141721"/>
                    <a:pt x="65369" y="144246"/>
                    <a:pt x="64648" y="146577"/>
                  </a:cubicBezTo>
                  <a:lnTo>
                    <a:pt x="59737" y="162529"/>
                  </a:lnTo>
                  <a:cubicBezTo>
                    <a:pt x="59626" y="162918"/>
                    <a:pt x="59932" y="163500"/>
                    <a:pt x="60320" y="163639"/>
                  </a:cubicBezTo>
                  <a:lnTo>
                    <a:pt x="68310" y="166081"/>
                  </a:lnTo>
                  <a:cubicBezTo>
                    <a:pt x="68782" y="166220"/>
                    <a:pt x="69281" y="165970"/>
                    <a:pt x="69420" y="165498"/>
                  </a:cubicBezTo>
                  <a:lnTo>
                    <a:pt x="74331" y="149545"/>
                  </a:lnTo>
                  <a:cubicBezTo>
                    <a:pt x="75052" y="147215"/>
                    <a:pt x="77327" y="145689"/>
                    <a:pt x="79769" y="146105"/>
                  </a:cubicBezTo>
                  <a:cubicBezTo>
                    <a:pt x="89285" y="147437"/>
                    <a:pt x="99051" y="146438"/>
                    <a:pt x="107985" y="143164"/>
                  </a:cubicBezTo>
                  <a:cubicBezTo>
                    <a:pt x="110287" y="142332"/>
                    <a:pt x="112840" y="143303"/>
                    <a:pt x="114033" y="145439"/>
                  </a:cubicBezTo>
                  <a:lnTo>
                    <a:pt x="122134" y="160060"/>
                  </a:lnTo>
                  <a:cubicBezTo>
                    <a:pt x="122328" y="160421"/>
                    <a:pt x="122966" y="160615"/>
                    <a:pt x="123327" y="160421"/>
                  </a:cubicBezTo>
                  <a:lnTo>
                    <a:pt x="130679" y="156343"/>
                  </a:lnTo>
                  <a:cubicBezTo>
                    <a:pt x="131040" y="156148"/>
                    <a:pt x="131234" y="155510"/>
                    <a:pt x="131012" y="155122"/>
                  </a:cubicBezTo>
                  <a:lnTo>
                    <a:pt x="122911" y="140501"/>
                  </a:lnTo>
                  <a:cubicBezTo>
                    <a:pt x="121718" y="138364"/>
                    <a:pt x="122273" y="135673"/>
                    <a:pt x="124187" y="134175"/>
                  </a:cubicBezTo>
                  <a:cubicBezTo>
                    <a:pt x="131068" y="128820"/>
                    <a:pt x="136727" y="121829"/>
                    <a:pt x="140612" y="113977"/>
                  </a:cubicBezTo>
                  <a:cubicBezTo>
                    <a:pt x="141694" y="111786"/>
                    <a:pt x="144191" y="110704"/>
                    <a:pt x="146549" y="111425"/>
                  </a:cubicBezTo>
                  <a:lnTo>
                    <a:pt x="162502" y="116363"/>
                  </a:lnTo>
                  <a:cubicBezTo>
                    <a:pt x="162890" y="116474"/>
                    <a:pt x="163473" y="116169"/>
                    <a:pt x="163611" y="115781"/>
                  </a:cubicBezTo>
                  <a:lnTo>
                    <a:pt x="166108" y="107762"/>
                  </a:lnTo>
                  <a:cubicBezTo>
                    <a:pt x="166247" y="107291"/>
                    <a:pt x="165997" y="106792"/>
                    <a:pt x="165526" y="106653"/>
                  </a:cubicBezTo>
                  <a:lnTo>
                    <a:pt x="149573" y="101714"/>
                  </a:lnTo>
                  <a:cubicBezTo>
                    <a:pt x="147242" y="100993"/>
                    <a:pt x="145772" y="98690"/>
                    <a:pt x="146105" y="96249"/>
                  </a:cubicBezTo>
                  <a:cubicBezTo>
                    <a:pt x="147353" y="87565"/>
                    <a:pt x="146604" y="78603"/>
                    <a:pt x="143941" y="70336"/>
                  </a:cubicBezTo>
                  <a:cubicBezTo>
                    <a:pt x="143192" y="68005"/>
                    <a:pt x="144246" y="65453"/>
                    <a:pt x="146438" y="64371"/>
                  </a:cubicBezTo>
                  <a:lnTo>
                    <a:pt x="161392" y="56880"/>
                  </a:lnTo>
                  <a:cubicBezTo>
                    <a:pt x="161836" y="56658"/>
                    <a:pt x="162002" y="56131"/>
                    <a:pt x="161780" y="55687"/>
                  </a:cubicBezTo>
                  <a:lnTo>
                    <a:pt x="158007" y="48196"/>
                  </a:lnTo>
                  <a:cubicBezTo>
                    <a:pt x="157785" y="47752"/>
                    <a:pt x="157258" y="47586"/>
                    <a:pt x="156814" y="47807"/>
                  </a:cubicBezTo>
                  <a:lnTo>
                    <a:pt x="141860" y="55298"/>
                  </a:lnTo>
                  <a:cubicBezTo>
                    <a:pt x="139668" y="56380"/>
                    <a:pt x="137005" y="55742"/>
                    <a:pt x="135590" y="53745"/>
                  </a:cubicBezTo>
                  <a:cubicBezTo>
                    <a:pt x="129986" y="45921"/>
                    <a:pt x="122495" y="39595"/>
                    <a:pt x="113977" y="35406"/>
                  </a:cubicBezTo>
                  <a:cubicBezTo>
                    <a:pt x="111785" y="34324"/>
                    <a:pt x="110676" y="31799"/>
                    <a:pt x="111425" y="29469"/>
                  </a:cubicBezTo>
                  <a:lnTo>
                    <a:pt x="116363" y="13516"/>
                  </a:lnTo>
                  <a:cubicBezTo>
                    <a:pt x="116502" y="13044"/>
                    <a:pt x="116252" y="12545"/>
                    <a:pt x="115781" y="12406"/>
                  </a:cubicBezTo>
                  <a:lnTo>
                    <a:pt x="107790" y="9937"/>
                  </a:lnTo>
                  <a:cubicBezTo>
                    <a:pt x="107319" y="9798"/>
                    <a:pt x="106819" y="10048"/>
                    <a:pt x="106681" y="10519"/>
                  </a:cubicBezTo>
                  <a:lnTo>
                    <a:pt x="101742" y="26472"/>
                  </a:lnTo>
                  <a:cubicBezTo>
                    <a:pt x="101021" y="28803"/>
                    <a:pt x="98718" y="30329"/>
                    <a:pt x="96304" y="29913"/>
                  </a:cubicBezTo>
                  <a:cubicBezTo>
                    <a:pt x="86788" y="28581"/>
                    <a:pt x="77022" y="29580"/>
                    <a:pt x="68088" y="32853"/>
                  </a:cubicBezTo>
                  <a:cubicBezTo>
                    <a:pt x="65786" y="33714"/>
                    <a:pt x="63233" y="32743"/>
                    <a:pt x="62040" y="30606"/>
                  </a:cubicBezTo>
                  <a:lnTo>
                    <a:pt x="53939" y="15985"/>
                  </a:lnTo>
                  <a:cubicBezTo>
                    <a:pt x="53689" y="15569"/>
                    <a:pt x="53162" y="15402"/>
                    <a:pt x="52746" y="15652"/>
                  </a:cubicBezTo>
                  <a:lnTo>
                    <a:pt x="45421" y="19703"/>
                  </a:lnTo>
                  <a:cubicBezTo>
                    <a:pt x="45144" y="19842"/>
                    <a:pt x="45033" y="20063"/>
                    <a:pt x="45005" y="20230"/>
                  </a:cubicBezTo>
                  <a:cubicBezTo>
                    <a:pt x="44950" y="20396"/>
                    <a:pt x="44922" y="20646"/>
                    <a:pt x="45089" y="20896"/>
                  </a:cubicBezTo>
                  <a:lnTo>
                    <a:pt x="53190" y="35517"/>
                  </a:lnTo>
                  <a:cubicBezTo>
                    <a:pt x="54383" y="37653"/>
                    <a:pt x="53828" y="40344"/>
                    <a:pt x="51914" y="41842"/>
                  </a:cubicBezTo>
                  <a:cubicBezTo>
                    <a:pt x="44894" y="47308"/>
                    <a:pt x="39373" y="54105"/>
                    <a:pt x="35489" y="62040"/>
                  </a:cubicBezTo>
                  <a:cubicBezTo>
                    <a:pt x="34407" y="64232"/>
                    <a:pt x="31882" y="65314"/>
                    <a:pt x="29552" y="64593"/>
                  </a:cubicBezTo>
                  <a:lnTo>
                    <a:pt x="13599" y="59654"/>
                  </a:lnTo>
                  <a:cubicBezTo>
                    <a:pt x="13183" y="59515"/>
                    <a:pt x="12628" y="59821"/>
                    <a:pt x="12489" y="60237"/>
                  </a:cubicBezTo>
                  <a:lnTo>
                    <a:pt x="10020" y="68255"/>
                  </a:lnTo>
                  <a:cubicBezTo>
                    <a:pt x="9881" y="68727"/>
                    <a:pt x="10131" y="69226"/>
                    <a:pt x="10603" y="69365"/>
                  </a:cubicBezTo>
                  <a:lnTo>
                    <a:pt x="26555" y="74303"/>
                  </a:lnTo>
                  <a:cubicBezTo>
                    <a:pt x="28886" y="75025"/>
                    <a:pt x="30356" y="77355"/>
                    <a:pt x="29996" y="79769"/>
                  </a:cubicBezTo>
                  <a:cubicBezTo>
                    <a:pt x="28747" y="88425"/>
                    <a:pt x="29496" y="97386"/>
                    <a:pt x="32160" y="105682"/>
                  </a:cubicBezTo>
                  <a:cubicBezTo>
                    <a:pt x="32909" y="108012"/>
                    <a:pt x="31855" y="110537"/>
                    <a:pt x="29663" y="111647"/>
                  </a:cubicBezTo>
                  <a:lnTo>
                    <a:pt x="14709" y="119138"/>
                  </a:lnTo>
                  <a:cubicBezTo>
                    <a:pt x="14320" y="119332"/>
                    <a:pt x="14126" y="119942"/>
                    <a:pt x="14320" y="120331"/>
                  </a:cubicBezTo>
                  <a:lnTo>
                    <a:pt x="18093" y="127821"/>
                  </a:lnTo>
                  <a:cubicBezTo>
                    <a:pt x="18315" y="128265"/>
                    <a:pt x="18843" y="128432"/>
                    <a:pt x="19287" y="128210"/>
                  </a:cubicBezTo>
                  <a:lnTo>
                    <a:pt x="34241" y="120719"/>
                  </a:lnTo>
                  <a:cubicBezTo>
                    <a:pt x="34906" y="120414"/>
                    <a:pt x="35656" y="120247"/>
                    <a:pt x="36405" y="120247"/>
                  </a:cubicBezTo>
                  <a:close/>
                  <a:moveTo>
                    <a:pt x="88064" y="126878"/>
                  </a:moveTo>
                  <a:cubicBezTo>
                    <a:pt x="86649" y="126878"/>
                    <a:pt x="85207" y="126795"/>
                    <a:pt x="83764" y="126629"/>
                  </a:cubicBezTo>
                  <a:cubicBezTo>
                    <a:pt x="73443" y="125491"/>
                    <a:pt x="64204" y="120414"/>
                    <a:pt x="57740" y="112313"/>
                  </a:cubicBezTo>
                  <a:cubicBezTo>
                    <a:pt x="51275" y="104211"/>
                    <a:pt x="48335" y="94085"/>
                    <a:pt x="49472" y="83764"/>
                  </a:cubicBezTo>
                  <a:cubicBezTo>
                    <a:pt x="50610" y="73443"/>
                    <a:pt x="55687" y="64204"/>
                    <a:pt x="63760" y="57712"/>
                  </a:cubicBezTo>
                  <a:cubicBezTo>
                    <a:pt x="71834" y="51220"/>
                    <a:pt x="81988" y="48279"/>
                    <a:pt x="92281" y="49417"/>
                  </a:cubicBezTo>
                  <a:cubicBezTo>
                    <a:pt x="113561" y="51775"/>
                    <a:pt x="128987" y="71002"/>
                    <a:pt x="126629" y="92281"/>
                  </a:cubicBezTo>
                  <a:cubicBezTo>
                    <a:pt x="124464" y="112146"/>
                    <a:pt x="107596" y="126878"/>
                    <a:pt x="88064" y="126878"/>
                  </a:cubicBezTo>
                  <a:close/>
                  <a:moveTo>
                    <a:pt x="87981" y="59127"/>
                  </a:moveTo>
                  <a:cubicBezTo>
                    <a:pt x="81461" y="59127"/>
                    <a:pt x="75163" y="61319"/>
                    <a:pt x="70003" y="65480"/>
                  </a:cubicBezTo>
                  <a:cubicBezTo>
                    <a:pt x="63982" y="70308"/>
                    <a:pt x="60209" y="77188"/>
                    <a:pt x="59377" y="84846"/>
                  </a:cubicBezTo>
                  <a:cubicBezTo>
                    <a:pt x="58517" y="92531"/>
                    <a:pt x="60708" y="100077"/>
                    <a:pt x="65536" y="106098"/>
                  </a:cubicBezTo>
                  <a:cubicBezTo>
                    <a:pt x="70363" y="112119"/>
                    <a:pt x="77216" y="115919"/>
                    <a:pt x="84901" y="116752"/>
                  </a:cubicBezTo>
                  <a:lnTo>
                    <a:pt x="84901" y="116752"/>
                  </a:lnTo>
                  <a:cubicBezTo>
                    <a:pt x="100743" y="118444"/>
                    <a:pt x="115031" y="107041"/>
                    <a:pt x="116779" y="91199"/>
                  </a:cubicBezTo>
                  <a:cubicBezTo>
                    <a:pt x="118527" y="75358"/>
                    <a:pt x="107069" y="61069"/>
                    <a:pt x="91227" y="59294"/>
                  </a:cubicBezTo>
                  <a:cubicBezTo>
                    <a:pt x="90117" y="59182"/>
                    <a:pt x="89063" y="59127"/>
                    <a:pt x="87981" y="59127"/>
                  </a:cubicBezTo>
                  <a:close/>
                </a:path>
              </a:pathLst>
            </a:custGeom>
            <a:solidFill>
              <a:schemeClr val="accent1"/>
            </a:solidFill>
            <a:ln w="2769" cap="flat">
              <a:noFill/>
              <a:prstDash val="solid"/>
              <a:miter/>
            </a:ln>
          </p:spPr>
          <p:txBody>
            <a:bodyPr rtlCol="0" anchor="ctr"/>
            <a:lstStyle/>
            <a:p>
              <a:endParaRPr lang="en-GB" dirty="0"/>
            </a:p>
          </p:txBody>
        </p:sp>
      </p:grpSp>
      <p:grpSp>
        <p:nvGrpSpPr>
          <p:cNvPr id="121" name="Group 120">
            <a:extLst>
              <a:ext uri="{FF2B5EF4-FFF2-40B4-BE49-F238E27FC236}">
                <a16:creationId xmlns:a16="http://schemas.microsoft.com/office/drawing/2014/main" id="{C768B634-B7DA-C349-59ED-3655E730EAAD}"/>
              </a:ext>
            </a:extLst>
          </p:cNvPr>
          <p:cNvGrpSpPr/>
          <p:nvPr/>
        </p:nvGrpSpPr>
        <p:grpSpPr>
          <a:xfrm>
            <a:off x="1658867" y="3197067"/>
            <a:ext cx="361235" cy="431999"/>
            <a:chOff x="1658867" y="3197067"/>
            <a:chExt cx="361235" cy="431999"/>
          </a:xfrm>
        </p:grpSpPr>
        <p:grpSp>
          <p:nvGrpSpPr>
            <p:cNvPr id="200" name="Grafik 102">
              <a:extLst>
                <a:ext uri="{FF2B5EF4-FFF2-40B4-BE49-F238E27FC236}">
                  <a16:creationId xmlns:a16="http://schemas.microsoft.com/office/drawing/2014/main" id="{43D88DB0-3684-4B00-84C0-3185C291F2FB}"/>
                </a:ext>
              </a:extLst>
            </p:cNvPr>
            <p:cNvGrpSpPr/>
            <p:nvPr/>
          </p:nvGrpSpPr>
          <p:grpSpPr>
            <a:xfrm>
              <a:off x="1694422" y="3445363"/>
              <a:ext cx="290165" cy="183703"/>
              <a:chOff x="5372018" y="1950723"/>
              <a:chExt cx="378593" cy="239687"/>
            </a:xfrm>
            <a:solidFill>
              <a:schemeClr val="tx2"/>
            </a:solidFill>
          </p:grpSpPr>
          <p:sp>
            <p:nvSpPr>
              <p:cNvPr id="212" name="Freihandform: Form 732">
                <a:extLst>
                  <a:ext uri="{FF2B5EF4-FFF2-40B4-BE49-F238E27FC236}">
                    <a16:creationId xmlns:a16="http://schemas.microsoft.com/office/drawing/2014/main" id="{AF9128DC-CFF3-4815-A587-F6F1F996594B}"/>
                  </a:ext>
                </a:extLst>
              </p:cNvPr>
              <p:cNvSpPr/>
              <p:nvPr/>
            </p:nvSpPr>
            <p:spPr>
              <a:xfrm>
                <a:off x="5372018" y="2068529"/>
                <a:ext cx="121881" cy="121881"/>
              </a:xfrm>
              <a:custGeom>
                <a:avLst/>
                <a:gdLst>
                  <a:gd name="connsiteX0" fmla="*/ 60928 w 121881"/>
                  <a:gd name="connsiteY0" fmla="*/ 121882 h 121881"/>
                  <a:gd name="connsiteX1" fmla="*/ 0 w 121881"/>
                  <a:gd name="connsiteY1" fmla="*/ 60928 h 121881"/>
                  <a:gd name="connsiteX2" fmla="*/ 60928 w 121881"/>
                  <a:gd name="connsiteY2" fmla="*/ 0 h 121881"/>
                  <a:gd name="connsiteX3" fmla="*/ 121882 w 121881"/>
                  <a:gd name="connsiteY3" fmla="*/ 60928 h 121881"/>
                  <a:gd name="connsiteX4" fmla="*/ 60928 w 121881"/>
                  <a:gd name="connsiteY4" fmla="*/ 121882 h 121881"/>
                  <a:gd name="connsiteX5" fmla="*/ 60928 w 121881"/>
                  <a:gd name="connsiteY5" fmla="*/ 9824 h 121881"/>
                  <a:gd name="connsiteX6" fmla="*/ 9797 w 121881"/>
                  <a:gd name="connsiteY6" fmla="*/ 60954 h 121881"/>
                  <a:gd name="connsiteX7" fmla="*/ 60928 w 121881"/>
                  <a:gd name="connsiteY7" fmla="*/ 112085 h 121881"/>
                  <a:gd name="connsiteX8" fmla="*/ 112058 w 121881"/>
                  <a:gd name="connsiteY8" fmla="*/ 60954 h 121881"/>
                  <a:gd name="connsiteX9" fmla="*/ 60928 w 121881"/>
                  <a:gd name="connsiteY9" fmla="*/ 9824 h 12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881" h="121881">
                    <a:moveTo>
                      <a:pt x="60928" y="121882"/>
                    </a:moveTo>
                    <a:cubicBezTo>
                      <a:pt x="27326" y="121882"/>
                      <a:pt x="0" y="94556"/>
                      <a:pt x="0" y="60928"/>
                    </a:cubicBezTo>
                    <a:cubicBezTo>
                      <a:pt x="0" y="27326"/>
                      <a:pt x="27326" y="0"/>
                      <a:pt x="60928" y="0"/>
                    </a:cubicBezTo>
                    <a:cubicBezTo>
                      <a:pt x="94529" y="0"/>
                      <a:pt x="121882" y="27326"/>
                      <a:pt x="121882" y="60928"/>
                    </a:cubicBezTo>
                    <a:cubicBezTo>
                      <a:pt x="121882" y="94556"/>
                      <a:pt x="94529" y="121882"/>
                      <a:pt x="60928" y="121882"/>
                    </a:cubicBezTo>
                    <a:close/>
                    <a:moveTo>
                      <a:pt x="60928" y="9824"/>
                    </a:moveTo>
                    <a:cubicBezTo>
                      <a:pt x="32728" y="9824"/>
                      <a:pt x="9797" y="32754"/>
                      <a:pt x="9797" y="60954"/>
                    </a:cubicBezTo>
                    <a:cubicBezTo>
                      <a:pt x="9797" y="89154"/>
                      <a:pt x="32728" y="112085"/>
                      <a:pt x="60928" y="112085"/>
                    </a:cubicBezTo>
                    <a:cubicBezTo>
                      <a:pt x="89128" y="112085"/>
                      <a:pt x="112058" y="89154"/>
                      <a:pt x="112058" y="60954"/>
                    </a:cubicBezTo>
                    <a:cubicBezTo>
                      <a:pt x="112058" y="32754"/>
                      <a:pt x="89128" y="9824"/>
                      <a:pt x="60928" y="9824"/>
                    </a:cubicBezTo>
                    <a:close/>
                  </a:path>
                </a:pathLst>
              </a:custGeom>
              <a:solidFill>
                <a:schemeClr val="accent1"/>
              </a:solidFill>
              <a:ln w="2648" cap="flat">
                <a:noFill/>
                <a:prstDash val="solid"/>
                <a:miter/>
              </a:ln>
            </p:spPr>
            <p:txBody>
              <a:bodyPr rtlCol="0" anchor="ctr"/>
              <a:lstStyle/>
              <a:p>
                <a:endParaRPr lang="en-GB" dirty="0"/>
              </a:p>
            </p:txBody>
          </p:sp>
          <p:sp>
            <p:nvSpPr>
              <p:cNvPr id="213" name="Freihandform: Form 733">
                <a:extLst>
                  <a:ext uri="{FF2B5EF4-FFF2-40B4-BE49-F238E27FC236}">
                    <a16:creationId xmlns:a16="http://schemas.microsoft.com/office/drawing/2014/main" id="{3AB95684-6361-4A51-A293-251193079FA2}"/>
                  </a:ext>
                </a:extLst>
              </p:cNvPr>
              <p:cNvSpPr/>
              <p:nvPr/>
            </p:nvSpPr>
            <p:spPr>
              <a:xfrm>
                <a:off x="5628729" y="2068529"/>
                <a:ext cx="121881" cy="121881"/>
              </a:xfrm>
              <a:custGeom>
                <a:avLst/>
                <a:gdLst>
                  <a:gd name="connsiteX0" fmla="*/ 60928 w 121881"/>
                  <a:gd name="connsiteY0" fmla="*/ 121882 h 121881"/>
                  <a:gd name="connsiteX1" fmla="*/ 0 w 121881"/>
                  <a:gd name="connsiteY1" fmla="*/ 60928 h 121881"/>
                  <a:gd name="connsiteX2" fmla="*/ 60928 w 121881"/>
                  <a:gd name="connsiteY2" fmla="*/ 0 h 121881"/>
                  <a:gd name="connsiteX3" fmla="*/ 121882 w 121881"/>
                  <a:gd name="connsiteY3" fmla="*/ 60928 h 121881"/>
                  <a:gd name="connsiteX4" fmla="*/ 60928 w 121881"/>
                  <a:gd name="connsiteY4" fmla="*/ 121882 h 121881"/>
                  <a:gd name="connsiteX5" fmla="*/ 60928 w 121881"/>
                  <a:gd name="connsiteY5" fmla="*/ 9824 h 121881"/>
                  <a:gd name="connsiteX6" fmla="*/ 9797 w 121881"/>
                  <a:gd name="connsiteY6" fmla="*/ 60954 h 121881"/>
                  <a:gd name="connsiteX7" fmla="*/ 60928 w 121881"/>
                  <a:gd name="connsiteY7" fmla="*/ 112085 h 121881"/>
                  <a:gd name="connsiteX8" fmla="*/ 112058 w 121881"/>
                  <a:gd name="connsiteY8" fmla="*/ 60954 h 121881"/>
                  <a:gd name="connsiteX9" fmla="*/ 60928 w 121881"/>
                  <a:gd name="connsiteY9" fmla="*/ 9824 h 121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881" h="121881">
                    <a:moveTo>
                      <a:pt x="60928" y="121882"/>
                    </a:moveTo>
                    <a:cubicBezTo>
                      <a:pt x="27326" y="121882"/>
                      <a:pt x="0" y="94556"/>
                      <a:pt x="0" y="60928"/>
                    </a:cubicBezTo>
                    <a:cubicBezTo>
                      <a:pt x="0" y="27326"/>
                      <a:pt x="27326" y="0"/>
                      <a:pt x="60928" y="0"/>
                    </a:cubicBezTo>
                    <a:cubicBezTo>
                      <a:pt x="94529" y="0"/>
                      <a:pt x="121882" y="27326"/>
                      <a:pt x="121882" y="60928"/>
                    </a:cubicBezTo>
                    <a:cubicBezTo>
                      <a:pt x="121882" y="94556"/>
                      <a:pt x="94529" y="121882"/>
                      <a:pt x="60928" y="121882"/>
                    </a:cubicBezTo>
                    <a:close/>
                    <a:moveTo>
                      <a:pt x="60928" y="9824"/>
                    </a:moveTo>
                    <a:cubicBezTo>
                      <a:pt x="32728" y="9824"/>
                      <a:pt x="9797" y="32754"/>
                      <a:pt x="9797" y="60954"/>
                    </a:cubicBezTo>
                    <a:cubicBezTo>
                      <a:pt x="9797" y="89154"/>
                      <a:pt x="32728" y="112085"/>
                      <a:pt x="60928" y="112085"/>
                    </a:cubicBezTo>
                    <a:cubicBezTo>
                      <a:pt x="89128" y="112085"/>
                      <a:pt x="112058" y="89154"/>
                      <a:pt x="112058" y="60954"/>
                    </a:cubicBezTo>
                    <a:cubicBezTo>
                      <a:pt x="112058" y="32754"/>
                      <a:pt x="89128" y="9824"/>
                      <a:pt x="60928" y="9824"/>
                    </a:cubicBezTo>
                    <a:close/>
                  </a:path>
                </a:pathLst>
              </a:custGeom>
              <a:solidFill>
                <a:schemeClr val="accent1"/>
              </a:solidFill>
              <a:ln w="2648" cap="flat">
                <a:noFill/>
                <a:prstDash val="solid"/>
                <a:miter/>
              </a:ln>
            </p:spPr>
            <p:txBody>
              <a:bodyPr rtlCol="0" anchor="ctr"/>
              <a:lstStyle/>
              <a:p>
                <a:endParaRPr lang="en-GB" dirty="0"/>
              </a:p>
            </p:txBody>
          </p:sp>
          <p:sp>
            <p:nvSpPr>
              <p:cNvPr id="214" name="Freihandform: Form 734">
                <a:extLst>
                  <a:ext uri="{FF2B5EF4-FFF2-40B4-BE49-F238E27FC236}">
                    <a16:creationId xmlns:a16="http://schemas.microsoft.com/office/drawing/2014/main" id="{BAC5633A-B1DB-4350-BADC-72017CA38F28}"/>
                  </a:ext>
                </a:extLst>
              </p:cNvPr>
              <p:cNvSpPr/>
              <p:nvPr/>
            </p:nvSpPr>
            <p:spPr>
              <a:xfrm>
                <a:off x="5383485" y="1950723"/>
                <a:ext cx="356055" cy="149476"/>
              </a:xfrm>
              <a:custGeom>
                <a:avLst/>
                <a:gdLst>
                  <a:gd name="connsiteX0" fmla="*/ 4896 w 356055"/>
                  <a:gd name="connsiteY0" fmla="*/ 149475 h 149476"/>
                  <a:gd name="connsiteX1" fmla="*/ 2804 w 356055"/>
                  <a:gd name="connsiteY1" fmla="*/ 148998 h 149476"/>
                  <a:gd name="connsiteX2" fmla="*/ 474 w 356055"/>
                  <a:gd name="connsiteY2" fmla="*/ 142458 h 149476"/>
                  <a:gd name="connsiteX3" fmla="*/ 38498 w 356055"/>
                  <a:gd name="connsiteY3" fmla="*/ 72051 h 149476"/>
                  <a:gd name="connsiteX4" fmla="*/ 107793 w 356055"/>
                  <a:gd name="connsiteY4" fmla="*/ 108 h 149476"/>
                  <a:gd name="connsiteX5" fmla="*/ 111182 w 356055"/>
                  <a:gd name="connsiteY5" fmla="*/ 55 h 149476"/>
                  <a:gd name="connsiteX6" fmla="*/ 148252 w 356055"/>
                  <a:gd name="connsiteY6" fmla="*/ 34901 h 149476"/>
                  <a:gd name="connsiteX7" fmla="*/ 207829 w 356055"/>
                  <a:gd name="connsiteY7" fmla="*/ 34901 h 149476"/>
                  <a:gd name="connsiteX8" fmla="*/ 244900 w 356055"/>
                  <a:gd name="connsiteY8" fmla="*/ 55 h 149476"/>
                  <a:gd name="connsiteX9" fmla="*/ 248368 w 356055"/>
                  <a:gd name="connsiteY9" fmla="*/ 108 h 149476"/>
                  <a:gd name="connsiteX10" fmla="*/ 317557 w 356055"/>
                  <a:gd name="connsiteY10" fmla="*/ 72051 h 149476"/>
                  <a:gd name="connsiteX11" fmla="*/ 355581 w 356055"/>
                  <a:gd name="connsiteY11" fmla="*/ 142458 h 149476"/>
                  <a:gd name="connsiteX12" fmla="*/ 353251 w 356055"/>
                  <a:gd name="connsiteY12" fmla="*/ 148998 h 149476"/>
                  <a:gd name="connsiteX13" fmla="*/ 346711 w 356055"/>
                  <a:gd name="connsiteY13" fmla="*/ 146668 h 149476"/>
                  <a:gd name="connsiteX14" fmla="*/ 248527 w 356055"/>
                  <a:gd name="connsiteY14" fmla="*/ 9932 h 149476"/>
                  <a:gd name="connsiteX15" fmla="*/ 248368 w 356055"/>
                  <a:gd name="connsiteY15" fmla="*/ 9932 h 149476"/>
                  <a:gd name="connsiteX16" fmla="*/ 244661 w 356055"/>
                  <a:gd name="connsiteY16" fmla="*/ 9879 h 149476"/>
                  <a:gd name="connsiteX17" fmla="*/ 217335 w 356055"/>
                  <a:gd name="connsiteY17" fmla="*/ 39906 h 149476"/>
                  <a:gd name="connsiteX18" fmla="*/ 212622 w 356055"/>
                  <a:gd name="connsiteY18" fmla="*/ 44672 h 149476"/>
                  <a:gd name="connsiteX19" fmla="*/ 143354 w 356055"/>
                  <a:gd name="connsiteY19" fmla="*/ 44672 h 149476"/>
                  <a:gd name="connsiteX20" fmla="*/ 138640 w 356055"/>
                  <a:gd name="connsiteY20" fmla="*/ 39906 h 149476"/>
                  <a:gd name="connsiteX21" fmla="*/ 111314 w 356055"/>
                  <a:gd name="connsiteY21" fmla="*/ 9879 h 149476"/>
                  <a:gd name="connsiteX22" fmla="*/ 107713 w 356055"/>
                  <a:gd name="connsiteY22" fmla="*/ 9932 h 149476"/>
                  <a:gd name="connsiteX23" fmla="*/ 107554 w 356055"/>
                  <a:gd name="connsiteY23" fmla="*/ 9932 h 149476"/>
                  <a:gd name="connsiteX24" fmla="*/ 9265 w 356055"/>
                  <a:gd name="connsiteY24" fmla="*/ 146668 h 149476"/>
                  <a:gd name="connsiteX25" fmla="*/ 4896 w 356055"/>
                  <a:gd name="connsiteY25" fmla="*/ 149475 h 1494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56055" h="149476">
                    <a:moveTo>
                      <a:pt x="4896" y="149475"/>
                    </a:moveTo>
                    <a:cubicBezTo>
                      <a:pt x="4181" y="149475"/>
                      <a:pt x="3466" y="149316"/>
                      <a:pt x="2804" y="148998"/>
                    </a:cubicBezTo>
                    <a:cubicBezTo>
                      <a:pt x="368" y="147833"/>
                      <a:pt x="-691" y="144920"/>
                      <a:pt x="474" y="142458"/>
                    </a:cubicBezTo>
                    <a:cubicBezTo>
                      <a:pt x="633" y="142114"/>
                      <a:pt x="17447" y="106817"/>
                      <a:pt x="38498" y="72051"/>
                    </a:cubicBezTo>
                    <a:cubicBezTo>
                      <a:pt x="67969" y="23409"/>
                      <a:pt x="90370" y="-104"/>
                      <a:pt x="107793" y="108"/>
                    </a:cubicBezTo>
                    <a:lnTo>
                      <a:pt x="111182" y="55"/>
                    </a:lnTo>
                    <a:cubicBezTo>
                      <a:pt x="125825" y="-236"/>
                      <a:pt x="145631" y="-633"/>
                      <a:pt x="148252" y="34901"/>
                    </a:cubicBezTo>
                    <a:cubicBezTo>
                      <a:pt x="160830" y="34981"/>
                      <a:pt x="195252" y="34981"/>
                      <a:pt x="207829" y="34901"/>
                    </a:cubicBezTo>
                    <a:cubicBezTo>
                      <a:pt x="210451" y="-633"/>
                      <a:pt x="230310" y="-210"/>
                      <a:pt x="244900" y="55"/>
                    </a:cubicBezTo>
                    <a:lnTo>
                      <a:pt x="248368" y="108"/>
                    </a:lnTo>
                    <a:cubicBezTo>
                      <a:pt x="265288" y="81"/>
                      <a:pt x="288113" y="23383"/>
                      <a:pt x="317557" y="72051"/>
                    </a:cubicBezTo>
                    <a:cubicBezTo>
                      <a:pt x="338608" y="106817"/>
                      <a:pt x="355422" y="142114"/>
                      <a:pt x="355581" y="142458"/>
                    </a:cubicBezTo>
                    <a:cubicBezTo>
                      <a:pt x="356746" y="144894"/>
                      <a:pt x="355687" y="147833"/>
                      <a:pt x="353251" y="148998"/>
                    </a:cubicBezTo>
                    <a:cubicBezTo>
                      <a:pt x="350788" y="150163"/>
                      <a:pt x="347876" y="149131"/>
                      <a:pt x="346711" y="146668"/>
                    </a:cubicBezTo>
                    <a:cubicBezTo>
                      <a:pt x="321556" y="93737"/>
                      <a:pt x="272729" y="9932"/>
                      <a:pt x="248527" y="9932"/>
                    </a:cubicBezTo>
                    <a:cubicBezTo>
                      <a:pt x="248474" y="9932"/>
                      <a:pt x="248421" y="9932"/>
                      <a:pt x="248368" y="9932"/>
                    </a:cubicBezTo>
                    <a:lnTo>
                      <a:pt x="244661" y="9879"/>
                    </a:lnTo>
                    <a:cubicBezTo>
                      <a:pt x="229330" y="9587"/>
                      <a:pt x="218236" y="9349"/>
                      <a:pt x="217335" y="39906"/>
                    </a:cubicBezTo>
                    <a:cubicBezTo>
                      <a:pt x="217256" y="42500"/>
                      <a:pt x="215191" y="44566"/>
                      <a:pt x="212622" y="44672"/>
                    </a:cubicBezTo>
                    <a:cubicBezTo>
                      <a:pt x="208412" y="44831"/>
                      <a:pt x="147564" y="44831"/>
                      <a:pt x="143354" y="44672"/>
                    </a:cubicBezTo>
                    <a:cubicBezTo>
                      <a:pt x="140759" y="44566"/>
                      <a:pt x="138693" y="42500"/>
                      <a:pt x="138640" y="39906"/>
                    </a:cubicBezTo>
                    <a:cubicBezTo>
                      <a:pt x="137740" y="9349"/>
                      <a:pt x="126619" y="9534"/>
                      <a:pt x="111314" y="9879"/>
                    </a:cubicBezTo>
                    <a:lnTo>
                      <a:pt x="107713" y="9932"/>
                    </a:lnTo>
                    <a:cubicBezTo>
                      <a:pt x="107660" y="9932"/>
                      <a:pt x="107607" y="9932"/>
                      <a:pt x="107554" y="9932"/>
                    </a:cubicBezTo>
                    <a:cubicBezTo>
                      <a:pt x="83247" y="9932"/>
                      <a:pt x="34420" y="93737"/>
                      <a:pt x="9265" y="146668"/>
                    </a:cubicBezTo>
                    <a:cubicBezTo>
                      <a:pt x="8497" y="148442"/>
                      <a:pt x="6750" y="149475"/>
                      <a:pt x="4896" y="149475"/>
                    </a:cubicBezTo>
                    <a:close/>
                  </a:path>
                </a:pathLst>
              </a:custGeom>
              <a:solidFill>
                <a:schemeClr val="accent1"/>
              </a:solidFill>
              <a:ln w="2648" cap="flat">
                <a:noFill/>
                <a:prstDash val="solid"/>
                <a:miter/>
              </a:ln>
            </p:spPr>
            <p:txBody>
              <a:bodyPr rtlCol="0" anchor="ctr"/>
              <a:lstStyle/>
              <a:p>
                <a:endParaRPr lang="en-GB" dirty="0"/>
              </a:p>
            </p:txBody>
          </p:sp>
          <p:sp>
            <p:nvSpPr>
              <p:cNvPr id="215" name="Freihandform: Form 735">
                <a:extLst>
                  <a:ext uri="{FF2B5EF4-FFF2-40B4-BE49-F238E27FC236}">
                    <a16:creationId xmlns:a16="http://schemas.microsoft.com/office/drawing/2014/main" id="{15E3E611-830B-4F2E-BE53-AE50FC982FFD}"/>
                  </a:ext>
                </a:extLst>
              </p:cNvPr>
              <p:cNvSpPr/>
              <p:nvPr/>
            </p:nvSpPr>
            <p:spPr>
              <a:xfrm>
                <a:off x="5482268" y="2099271"/>
                <a:ext cx="158608" cy="51388"/>
              </a:xfrm>
              <a:custGeom>
                <a:avLst/>
                <a:gdLst>
                  <a:gd name="connsiteX0" fmla="*/ 153664 w 158608"/>
                  <a:gd name="connsiteY0" fmla="*/ 51369 h 51388"/>
                  <a:gd name="connsiteX1" fmla="*/ 149242 w 158608"/>
                  <a:gd name="connsiteY1" fmla="*/ 48615 h 51388"/>
                  <a:gd name="connsiteX2" fmla="*/ 130416 w 158608"/>
                  <a:gd name="connsiteY2" fmla="*/ 9771 h 51388"/>
                  <a:gd name="connsiteX3" fmla="*/ 28128 w 158608"/>
                  <a:gd name="connsiteY3" fmla="*/ 9771 h 51388"/>
                  <a:gd name="connsiteX4" fmla="*/ 9302 w 158608"/>
                  <a:gd name="connsiteY4" fmla="*/ 48615 h 51388"/>
                  <a:gd name="connsiteX5" fmla="*/ 2761 w 158608"/>
                  <a:gd name="connsiteY5" fmla="*/ 50892 h 51388"/>
                  <a:gd name="connsiteX6" fmla="*/ 484 w 158608"/>
                  <a:gd name="connsiteY6" fmla="*/ 44352 h 51388"/>
                  <a:gd name="connsiteX7" fmla="*/ 20661 w 158608"/>
                  <a:gd name="connsiteY7" fmla="*/ 2754 h 51388"/>
                  <a:gd name="connsiteX8" fmla="*/ 25083 w 158608"/>
                  <a:gd name="connsiteY8" fmla="*/ 0 h 51388"/>
                  <a:gd name="connsiteX9" fmla="*/ 133514 w 158608"/>
                  <a:gd name="connsiteY9" fmla="*/ 0 h 51388"/>
                  <a:gd name="connsiteX10" fmla="*/ 137936 w 158608"/>
                  <a:gd name="connsiteY10" fmla="*/ 2754 h 51388"/>
                  <a:gd name="connsiteX11" fmla="*/ 158112 w 158608"/>
                  <a:gd name="connsiteY11" fmla="*/ 44352 h 51388"/>
                  <a:gd name="connsiteX12" fmla="*/ 155835 w 158608"/>
                  <a:gd name="connsiteY12" fmla="*/ 50892 h 51388"/>
                  <a:gd name="connsiteX13" fmla="*/ 153664 w 158608"/>
                  <a:gd name="connsiteY13" fmla="*/ 51369 h 5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8608" h="51388">
                    <a:moveTo>
                      <a:pt x="153664" y="51369"/>
                    </a:moveTo>
                    <a:cubicBezTo>
                      <a:pt x="151837" y="51369"/>
                      <a:pt x="150089" y="50363"/>
                      <a:pt x="149242" y="48615"/>
                    </a:cubicBezTo>
                    <a:lnTo>
                      <a:pt x="130416" y="9771"/>
                    </a:lnTo>
                    <a:lnTo>
                      <a:pt x="28128" y="9771"/>
                    </a:lnTo>
                    <a:lnTo>
                      <a:pt x="9302" y="48615"/>
                    </a:lnTo>
                    <a:cubicBezTo>
                      <a:pt x="8110" y="51051"/>
                      <a:pt x="5198" y="52084"/>
                      <a:pt x="2761" y="50892"/>
                    </a:cubicBezTo>
                    <a:cubicBezTo>
                      <a:pt x="325" y="49701"/>
                      <a:pt x="-681" y="46788"/>
                      <a:pt x="484" y="44352"/>
                    </a:cubicBezTo>
                    <a:lnTo>
                      <a:pt x="20661" y="2754"/>
                    </a:lnTo>
                    <a:cubicBezTo>
                      <a:pt x="21482" y="1059"/>
                      <a:pt x="23203" y="0"/>
                      <a:pt x="25083" y="0"/>
                    </a:cubicBezTo>
                    <a:lnTo>
                      <a:pt x="133514" y="0"/>
                    </a:lnTo>
                    <a:cubicBezTo>
                      <a:pt x="135394" y="0"/>
                      <a:pt x="137115" y="1086"/>
                      <a:pt x="137936" y="2754"/>
                    </a:cubicBezTo>
                    <a:lnTo>
                      <a:pt x="158112" y="44352"/>
                    </a:lnTo>
                    <a:cubicBezTo>
                      <a:pt x="159304" y="46788"/>
                      <a:pt x="158271" y="49727"/>
                      <a:pt x="155835" y="50892"/>
                    </a:cubicBezTo>
                    <a:cubicBezTo>
                      <a:pt x="155120" y="51210"/>
                      <a:pt x="154379" y="51369"/>
                      <a:pt x="153664" y="51369"/>
                    </a:cubicBezTo>
                    <a:close/>
                  </a:path>
                </a:pathLst>
              </a:custGeom>
              <a:solidFill>
                <a:schemeClr val="accent1"/>
              </a:solidFill>
              <a:ln w="2648" cap="flat">
                <a:noFill/>
                <a:prstDash val="solid"/>
                <a:miter/>
              </a:ln>
            </p:spPr>
            <p:txBody>
              <a:bodyPr rtlCol="0" anchor="ctr"/>
              <a:lstStyle/>
              <a:p>
                <a:endParaRPr lang="en-GB" dirty="0"/>
              </a:p>
            </p:txBody>
          </p:sp>
          <p:sp>
            <p:nvSpPr>
              <p:cNvPr id="216" name="Freihandform: Form 736">
                <a:extLst>
                  <a:ext uri="{FF2B5EF4-FFF2-40B4-BE49-F238E27FC236}">
                    <a16:creationId xmlns:a16="http://schemas.microsoft.com/office/drawing/2014/main" id="{EDB8C9B6-002D-47C6-B5C3-F5080808E2E1}"/>
                  </a:ext>
                </a:extLst>
              </p:cNvPr>
              <p:cNvSpPr/>
              <p:nvPr/>
            </p:nvSpPr>
            <p:spPr>
              <a:xfrm>
                <a:off x="5492025" y="2014248"/>
                <a:ext cx="138579" cy="31244"/>
              </a:xfrm>
              <a:custGeom>
                <a:avLst/>
                <a:gdLst>
                  <a:gd name="connsiteX0" fmla="*/ 133660 w 138579"/>
                  <a:gd name="connsiteY0" fmla="*/ 31245 h 31244"/>
                  <a:gd name="connsiteX1" fmla="*/ 4920 w 138579"/>
                  <a:gd name="connsiteY1" fmla="*/ 31245 h 31244"/>
                  <a:gd name="connsiteX2" fmla="*/ 736 w 138579"/>
                  <a:gd name="connsiteY2" fmla="*/ 28915 h 31244"/>
                  <a:gd name="connsiteX3" fmla="*/ 524 w 138579"/>
                  <a:gd name="connsiteY3" fmla="*/ 24149 h 31244"/>
                  <a:gd name="connsiteX4" fmla="*/ 11248 w 138579"/>
                  <a:gd name="connsiteY4" fmla="*/ 2701 h 31244"/>
                  <a:gd name="connsiteX5" fmla="*/ 15644 w 138579"/>
                  <a:gd name="connsiteY5" fmla="*/ 0 h 31244"/>
                  <a:gd name="connsiteX6" fmla="*/ 122936 w 138579"/>
                  <a:gd name="connsiteY6" fmla="*/ 0 h 31244"/>
                  <a:gd name="connsiteX7" fmla="*/ 127331 w 138579"/>
                  <a:gd name="connsiteY7" fmla="*/ 2701 h 31244"/>
                  <a:gd name="connsiteX8" fmla="*/ 138055 w 138579"/>
                  <a:gd name="connsiteY8" fmla="*/ 24149 h 31244"/>
                  <a:gd name="connsiteX9" fmla="*/ 137843 w 138579"/>
                  <a:gd name="connsiteY9" fmla="*/ 28915 h 31244"/>
                  <a:gd name="connsiteX10" fmla="*/ 133660 w 138579"/>
                  <a:gd name="connsiteY10" fmla="*/ 31245 h 31244"/>
                  <a:gd name="connsiteX11" fmla="*/ 12837 w 138579"/>
                  <a:gd name="connsiteY11" fmla="*/ 21448 h 31244"/>
                  <a:gd name="connsiteX12" fmla="*/ 125716 w 138579"/>
                  <a:gd name="connsiteY12" fmla="*/ 21448 h 31244"/>
                  <a:gd name="connsiteX13" fmla="*/ 119891 w 138579"/>
                  <a:gd name="connsiteY13" fmla="*/ 9797 h 31244"/>
                  <a:gd name="connsiteX14" fmla="*/ 18662 w 138579"/>
                  <a:gd name="connsiteY14" fmla="*/ 9797 h 31244"/>
                  <a:gd name="connsiteX15" fmla="*/ 12837 w 138579"/>
                  <a:gd name="connsiteY15" fmla="*/ 21448 h 3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579" h="31244">
                    <a:moveTo>
                      <a:pt x="133660" y="31245"/>
                    </a:moveTo>
                    <a:lnTo>
                      <a:pt x="4920" y="31245"/>
                    </a:lnTo>
                    <a:cubicBezTo>
                      <a:pt x="3225" y="31245"/>
                      <a:pt x="1637" y="30371"/>
                      <a:pt x="736" y="28915"/>
                    </a:cubicBezTo>
                    <a:cubicBezTo>
                      <a:pt x="-164" y="27459"/>
                      <a:pt x="-243" y="25658"/>
                      <a:pt x="524" y="24149"/>
                    </a:cubicBezTo>
                    <a:lnTo>
                      <a:pt x="11248" y="2701"/>
                    </a:lnTo>
                    <a:cubicBezTo>
                      <a:pt x="12069" y="1033"/>
                      <a:pt x="13764" y="0"/>
                      <a:pt x="15644" y="0"/>
                    </a:cubicBezTo>
                    <a:lnTo>
                      <a:pt x="122936" y="0"/>
                    </a:lnTo>
                    <a:cubicBezTo>
                      <a:pt x="124789" y="0"/>
                      <a:pt x="126484" y="1059"/>
                      <a:pt x="127331" y="2701"/>
                    </a:cubicBezTo>
                    <a:lnTo>
                      <a:pt x="138055" y="24149"/>
                    </a:lnTo>
                    <a:cubicBezTo>
                      <a:pt x="138823" y="25658"/>
                      <a:pt x="138744" y="27485"/>
                      <a:pt x="137843" y="28915"/>
                    </a:cubicBezTo>
                    <a:cubicBezTo>
                      <a:pt x="136917" y="30371"/>
                      <a:pt x="135354" y="31245"/>
                      <a:pt x="133660" y="31245"/>
                    </a:cubicBezTo>
                    <a:close/>
                    <a:moveTo>
                      <a:pt x="12837" y="21448"/>
                    </a:moveTo>
                    <a:lnTo>
                      <a:pt x="125716" y="21448"/>
                    </a:lnTo>
                    <a:lnTo>
                      <a:pt x="119891" y="9797"/>
                    </a:lnTo>
                    <a:lnTo>
                      <a:pt x="18662" y="9797"/>
                    </a:lnTo>
                    <a:lnTo>
                      <a:pt x="12837" y="21448"/>
                    </a:lnTo>
                    <a:close/>
                  </a:path>
                </a:pathLst>
              </a:custGeom>
              <a:solidFill>
                <a:schemeClr val="accent1"/>
              </a:solidFill>
              <a:ln w="2648" cap="flat">
                <a:noFill/>
                <a:prstDash val="solid"/>
                <a:miter/>
              </a:ln>
            </p:spPr>
            <p:txBody>
              <a:bodyPr rtlCol="0" anchor="ctr"/>
              <a:lstStyle/>
              <a:p>
                <a:endParaRPr lang="en-GB" dirty="0"/>
              </a:p>
            </p:txBody>
          </p:sp>
        </p:grpSp>
        <p:grpSp>
          <p:nvGrpSpPr>
            <p:cNvPr id="201" name="Grafik 102">
              <a:extLst>
                <a:ext uri="{FF2B5EF4-FFF2-40B4-BE49-F238E27FC236}">
                  <a16:creationId xmlns:a16="http://schemas.microsoft.com/office/drawing/2014/main" id="{359D2F43-ED3E-4C06-A203-A4B3FF2E32EC}"/>
                </a:ext>
              </a:extLst>
            </p:cNvPr>
            <p:cNvGrpSpPr/>
            <p:nvPr/>
          </p:nvGrpSpPr>
          <p:grpSpPr>
            <a:xfrm>
              <a:off x="1658867" y="3197067"/>
              <a:ext cx="361235" cy="312286"/>
              <a:chOff x="5325627" y="1626758"/>
              <a:chExt cx="471322" cy="407455"/>
            </a:xfrm>
            <a:solidFill>
              <a:schemeClr val="tx2"/>
            </a:solidFill>
          </p:grpSpPr>
          <p:grpSp>
            <p:nvGrpSpPr>
              <p:cNvPr id="202" name="Grafik 102">
                <a:extLst>
                  <a:ext uri="{FF2B5EF4-FFF2-40B4-BE49-F238E27FC236}">
                    <a16:creationId xmlns:a16="http://schemas.microsoft.com/office/drawing/2014/main" id="{38C30AF7-8D99-43A1-9F13-0E4D690876B7}"/>
                  </a:ext>
                </a:extLst>
              </p:cNvPr>
              <p:cNvGrpSpPr/>
              <p:nvPr/>
            </p:nvGrpSpPr>
            <p:grpSpPr>
              <a:xfrm>
                <a:off x="5325627" y="1626758"/>
                <a:ext cx="471322" cy="407455"/>
                <a:chOff x="5325627" y="1626758"/>
                <a:chExt cx="471322" cy="407455"/>
              </a:xfrm>
              <a:grpFill/>
            </p:grpSpPr>
            <p:grpSp>
              <p:nvGrpSpPr>
                <p:cNvPr id="204" name="Grafik 102">
                  <a:extLst>
                    <a:ext uri="{FF2B5EF4-FFF2-40B4-BE49-F238E27FC236}">
                      <a16:creationId xmlns:a16="http://schemas.microsoft.com/office/drawing/2014/main" id="{9465FE9C-3D57-4757-98AE-FE558317AFC8}"/>
                    </a:ext>
                  </a:extLst>
                </p:cNvPr>
                <p:cNvGrpSpPr/>
                <p:nvPr/>
              </p:nvGrpSpPr>
              <p:grpSpPr>
                <a:xfrm>
                  <a:off x="5325627" y="1697800"/>
                  <a:ext cx="471322" cy="336412"/>
                  <a:chOff x="5325627" y="1697800"/>
                  <a:chExt cx="471322" cy="336412"/>
                </a:xfrm>
                <a:grpFill/>
              </p:grpSpPr>
              <p:sp>
                <p:nvSpPr>
                  <p:cNvPr id="209" name="Freihandform: Form 740">
                    <a:extLst>
                      <a:ext uri="{FF2B5EF4-FFF2-40B4-BE49-F238E27FC236}">
                        <a16:creationId xmlns:a16="http://schemas.microsoft.com/office/drawing/2014/main" id="{FBC13A06-9E02-4E8D-BE02-09B6679132E9}"/>
                      </a:ext>
                    </a:extLst>
                  </p:cNvPr>
                  <p:cNvSpPr/>
                  <p:nvPr/>
                </p:nvSpPr>
                <p:spPr>
                  <a:xfrm>
                    <a:off x="5325627" y="1697800"/>
                    <a:ext cx="471322" cy="168510"/>
                  </a:xfrm>
                  <a:custGeom>
                    <a:avLst/>
                    <a:gdLst>
                      <a:gd name="connsiteX0" fmla="*/ 312926 w 471322"/>
                      <a:gd name="connsiteY0" fmla="*/ 168511 h 168510"/>
                      <a:gd name="connsiteX1" fmla="*/ 308081 w 471322"/>
                      <a:gd name="connsiteY1" fmla="*/ 164221 h 168510"/>
                      <a:gd name="connsiteX2" fmla="*/ 312317 w 471322"/>
                      <a:gd name="connsiteY2" fmla="*/ 158740 h 168510"/>
                      <a:gd name="connsiteX3" fmla="*/ 461551 w 471322"/>
                      <a:gd name="connsiteY3" fmla="*/ 115553 h 168510"/>
                      <a:gd name="connsiteX4" fmla="*/ 461551 w 471322"/>
                      <a:gd name="connsiteY4" fmla="*/ 9797 h 168510"/>
                      <a:gd name="connsiteX5" fmla="*/ 9824 w 471322"/>
                      <a:gd name="connsiteY5" fmla="*/ 9797 h 168510"/>
                      <a:gd name="connsiteX6" fmla="*/ 9824 w 471322"/>
                      <a:gd name="connsiteY6" fmla="*/ 115474 h 168510"/>
                      <a:gd name="connsiteX7" fmla="*/ 157813 w 471322"/>
                      <a:gd name="connsiteY7" fmla="*/ 157734 h 168510"/>
                      <a:gd name="connsiteX8" fmla="*/ 161997 w 471322"/>
                      <a:gd name="connsiteY8" fmla="*/ 163268 h 168510"/>
                      <a:gd name="connsiteX9" fmla="*/ 156463 w 471322"/>
                      <a:gd name="connsiteY9" fmla="*/ 167452 h 168510"/>
                      <a:gd name="connsiteX10" fmla="*/ 2568 w 471322"/>
                      <a:gd name="connsiteY10" fmla="*/ 122809 h 168510"/>
                      <a:gd name="connsiteX11" fmla="*/ 0 w 471322"/>
                      <a:gd name="connsiteY11" fmla="*/ 118493 h 168510"/>
                      <a:gd name="connsiteX12" fmla="*/ 0 w 471322"/>
                      <a:gd name="connsiteY12" fmla="*/ 4899 h 168510"/>
                      <a:gd name="connsiteX13" fmla="*/ 4899 w 471322"/>
                      <a:gd name="connsiteY13" fmla="*/ 0 h 168510"/>
                      <a:gd name="connsiteX14" fmla="*/ 466424 w 471322"/>
                      <a:gd name="connsiteY14" fmla="*/ 0 h 168510"/>
                      <a:gd name="connsiteX15" fmla="*/ 471322 w 471322"/>
                      <a:gd name="connsiteY15" fmla="*/ 4899 h 168510"/>
                      <a:gd name="connsiteX16" fmla="*/ 471322 w 471322"/>
                      <a:gd name="connsiteY16" fmla="*/ 118493 h 168510"/>
                      <a:gd name="connsiteX17" fmla="*/ 468886 w 471322"/>
                      <a:gd name="connsiteY17" fmla="*/ 122729 h 168510"/>
                      <a:gd name="connsiteX18" fmla="*/ 313535 w 471322"/>
                      <a:gd name="connsiteY18" fmla="*/ 168484 h 168510"/>
                      <a:gd name="connsiteX19" fmla="*/ 312926 w 471322"/>
                      <a:gd name="connsiteY19" fmla="*/ 168511 h 168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71322" h="168510">
                        <a:moveTo>
                          <a:pt x="312926" y="168511"/>
                        </a:moveTo>
                        <a:cubicBezTo>
                          <a:pt x="310490" y="168511"/>
                          <a:pt x="308372" y="166710"/>
                          <a:pt x="308081" y="164221"/>
                        </a:cubicBezTo>
                        <a:cubicBezTo>
                          <a:pt x="307736" y="161521"/>
                          <a:pt x="309643" y="159084"/>
                          <a:pt x="312317" y="158740"/>
                        </a:cubicBezTo>
                        <a:cubicBezTo>
                          <a:pt x="396228" y="148122"/>
                          <a:pt x="449795" y="121776"/>
                          <a:pt x="461551" y="115553"/>
                        </a:cubicBezTo>
                        <a:lnTo>
                          <a:pt x="461551" y="9797"/>
                        </a:lnTo>
                        <a:lnTo>
                          <a:pt x="9824" y="9797"/>
                        </a:lnTo>
                        <a:lnTo>
                          <a:pt x="9824" y="115474"/>
                        </a:lnTo>
                        <a:cubicBezTo>
                          <a:pt x="22004" y="121485"/>
                          <a:pt x="76418" y="146534"/>
                          <a:pt x="157813" y="157734"/>
                        </a:cubicBezTo>
                        <a:cubicBezTo>
                          <a:pt x="160488" y="158105"/>
                          <a:pt x="162368" y="160567"/>
                          <a:pt x="161997" y="163268"/>
                        </a:cubicBezTo>
                        <a:cubicBezTo>
                          <a:pt x="161626" y="165942"/>
                          <a:pt x="159137" y="167796"/>
                          <a:pt x="156463" y="167452"/>
                        </a:cubicBezTo>
                        <a:cubicBezTo>
                          <a:pt x="62199" y="154477"/>
                          <a:pt x="4978" y="124080"/>
                          <a:pt x="2568" y="122809"/>
                        </a:cubicBezTo>
                        <a:cubicBezTo>
                          <a:pt x="980" y="121961"/>
                          <a:pt x="0" y="120293"/>
                          <a:pt x="0" y="118493"/>
                        </a:cubicBezTo>
                        <a:lnTo>
                          <a:pt x="0" y="4899"/>
                        </a:lnTo>
                        <a:cubicBezTo>
                          <a:pt x="0" y="2198"/>
                          <a:pt x="2198" y="0"/>
                          <a:pt x="4899" y="0"/>
                        </a:cubicBezTo>
                        <a:lnTo>
                          <a:pt x="466424" y="0"/>
                        </a:lnTo>
                        <a:cubicBezTo>
                          <a:pt x="469124" y="0"/>
                          <a:pt x="471322" y="2198"/>
                          <a:pt x="471322" y="4899"/>
                        </a:cubicBezTo>
                        <a:lnTo>
                          <a:pt x="471322" y="118493"/>
                        </a:lnTo>
                        <a:cubicBezTo>
                          <a:pt x="471322" y="120240"/>
                          <a:pt x="470395" y="121855"/>
                          <a:pt x="468886" y="122729"/>
                        </a:cubicBezTo>
                        <a:cubicBezTo>
                          <a:pt x="466556" y="124080"/>
                          <a:pt x="410659" y="156198"/>
                          <a:pt x="313535" y="168484"/>
                        </a:cubicBezTo>
                        <a:cubicBezTo>
                          <a:pt x="313350" y="168484"/>
                          <a:pt x="313138" y="168511"/>
                          <a:pt x="312926" y="168511"/>
                        </a:cubicBezTo>
                        <a:close/>
                      </a:path>
                    </a:pathLst>
                  </a:custGeom>
                  <a:grpFill/>
                  <a:ln w="2648" cap="flat">
                    <a:noFill/>
                    <a:prstDash val="solid"/>
                    <a:miter/>
                  </a:ln>
                </p:spPr>
                <p:txBody>
                  <a:bodyPr rtlCol="0" anchor="ctr"/>
                  <a:lstStyle/>
                  <a:p>
                    <a:endParaRPr lang="en-GB" dirty="0"/>
                  </a:p>
                </p:txBody>
              </p:sp>
              <p:sp>
                <p:nvSpPr>
                  <p:cNvPr id="210" name="Freihandform: Form 741">
                    <a:extLst>
                      <a:ext uri="{FF2B5EF4-FFF2-40B4-BE49-F238E27FC236}">
                        <a16:creationId xmlns:a16="http://schemas.microsoft.com/office/drawing/2014/main" id="{D509AC0B-BEC2-41AA-AC53-002418F77931}"/>
                      </a:ext>
                    </a:extLst>
                  </p:cNvPr>
                  <p:cNvSpPr/>
                  <p:nvPr/>
                </p:nvSpPr>
                <p:spPr>
                  <a:xfrm>
                    <a:off x="5719340" y="1825587"/>
                    <a:ext cx="56320" cy="208626"/>
                  </a:xfrm>
                  <a:custGeom>
                    <a:avLst/>
                    <a:gdLst>
                      <a:gd name="connsiteX0" fmla="*/ 51422 w 56320"/>
                      <a:gd name="connsiteY0" fmla="*/ 208626 h 208626"/>
                      <a:gd name="connsiteX1" fmla="*/ 4899 w 56320"/>
                      <a:gd name="connsiteY1" fmla="*/ 208626 h 208626"/>
                      <a:gd name="connsiteX2" fmla="*/ 0 w 56320"/>
                      <a:gd name="connsiteY2" fmla="*/ 203728 h 208626"/>
                      <a:gd name="connsiteX3" fmla="*/ 4899 w 56320"/>
                      <a:gd name="connsiteY3" fmla="*/ 198829 h 208626"/>
                      <a:gd name="connsiteX4" fmla="*/ 46523 w 56320"/>
                      <a:gd name="connsiteY4" fmla="*/ 198829 h 208626"/>
                      <a:gd name="connsiteX5" fmla="*/ 46523 w 56320"/>
                      <a:gd name="connsiteY5" fmla="*/ 4899 h 208626"/>
                      <a:gd name="connsiteX6" fmla="*/ 51422 w 56320"/>
                      <a:gd name="connsiteY6" fmla="*/ 0 h 208626"/>
                      <a:gd name="connsiteX7" fmla="*/ 56320 w 56320"/>
                      <a:gd name="connsiteY7" fmla="*/ 4899 h 208626"/>
                      <a:gd name="connsiteX8" fmla="*/ 56320 w 56320"/>
                      <a:gd name="connsiteY8" fmla="*/ 203701 h 208626"/>
                      <a:gd name="connsiteX9" fmla="*/ 51422 w 56320"/>
                      <a:gd name="connsiteY9" fmla="*/ 208626 h 20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320" h="208626">
                        <a:moveTo>
                          <a:pt x="51422" y="208626"/>
                        </a:moveTo>
                        <a:lnTo>
                          <a:pt x="4899" y="208626"/>
                        </a:lnTo>
                        <a:cubicBezTo>
                          <a:pt x="2198" y="208626"/>
                          <a:pt x="0" y="206429"/>
                          <a:pt x="0" y="203728"/>
                        </a:cubicBezTo>
                        <a:cubicBezTo>
                          <a:pt x="0" y="201027"/>
                          <a:pt x="2198" y="198829"/>
                          <a:pt x="4899" y="198829"/>
                        </a:cubicBezTo>
                        <a:lnTo>
                          <a:pt x="46523" y="198829"/>
                        </a:lnTo>
                        <a:lnTo>
                          <a:pt x="46523" y="4899"/>
                        </a:lnTo>
                        <a:cubicBezTo>
                          <a:pt x="46523" y="2198"/>
                          <a:pt x="48721" y="0"/>
                          <a:pt x="51422" y="0"/>
                        </a:cubicBezTo>
                        <a:cubicBezTo>
                          <a:pt x="54123" y="0"/>
                          <a:pt x="56320" y="2198"/>
                          <a:pt x="56320" y="4899"/>
                        </a:cubicBezTo>
                        <a:lnTo>
                          <a:pt x="56320" y="203701"/>
                        </a:lnTo>
                        <a:cubicBezTo>
                          <a:pt x="56320" y="206429"/>
                          <a:pt x="54149" y="208626"/>
                          <a:pt x="51422" y="208626"/>
                        </a:cubicBezTo>
                        <a:close/>
                      </a:path>
                    </a:pathLst>
                  </a:custGeom>
                  <a:grpFill/>
                  <a:ln w="2648" cap="flat">
                    <a:noFill/>
                    <a:prstDash val="solid"/>
                    <a:miter/>
                  </a:ln>
                </p:spPr>
                <p:txBody>
                  <a:bodyPr rtlCol="0" anchor="ctr"/>
                  <a:lstStyle/>
                  <a:p>
                    <a:endParaRPr lang="en-GB" dirty="0"/>
                  </a:p>
                </p:txBody>
              </p:sp>
              <p:sp>
                <p:nvSpPr>
                  <p:cNvPr id="211" name="Freihandform: Form 742">
                    <a:extLst>
                      <a:ext uri="{FF2B5EF4-FFF2-40B4-BE49-F238E27FC236}">
                        <a16:creationId xmlns:a16="http://schemas.microsoft.com/office/drawing/2014/main" id="{2B7D7240-1D82-45DB-B6D3-DEB034097560}"/>
                      </a:ext>
                    </a:extLst>
                  </p:cNvPr>
                  <p:cNvSpPr/>
                  <p:nvPr/>
                </p:nvSpPr>
                <p:spPr>
                  <a:xfrm>
                    <a:off x="5346942" y="1825587"/>
                    <a:ext cx="61007" cy="208626"/>
                  </a:xfrm>
                  <a:custGeom>
                    <a:avLst/>
                    <a:gdLst>
                      <a:gd name="connsiteX0" fmla="*/ 56109 w 61007"/>
                      <a:gd name="connsiteY0" fmla="*/ 208626 h 208626"/>
                      <a:gd name="connsiteX1" fmla="*/ 4899 w 61007"/>
                      <a:gd name="connsiteY1" fmla="*/ 208626 h 208626"/>
                      <a:gd name="connsiteX2" fmla="*/ 0 w 61007"/>
                      <a:gd name="connsiteY2" fmla="*/ 203728 h 208626"/>
                      <a:gd name="connsiteX3" fmla="*/ 0 w 61007"/>
                      <a:gd name="connsiteY3" fmla="*/ 4899 h 208626"/>
                      <a:gd name="connsiteX4" fmla="*/ 4899 w 61007"/>
                      <a:gd name="connsiteY4" fmla="*/ 0 h 208626"/>
                      <a:gd name="connsiteX5" fmla="*/ 9797 w 61007"/>
                      <a:gd name="connsiteY5" fmla="*/ 4899 h 208626"/>
                      <a:gd name="connsiteX6" fmla="*/ 9797 w 61007"/>
                      <a:gd name="connsiteY6" fmla="*/ 198803 h 208626"/>
                      <a:gd name="connsiteX7" fmla="*/ 56109 w 61007"/>
                      <a:gd name="connsiteY7" fmla="*/ 198803 h 208626"/>
                      <a:gd name="connsiteX8" fmla="*/ 61007 w 61007"/>
                      <a:gd name="connsiteY8" fmla="*/ 203701 h 208626"/>
                      <a:gd name="connsiteX9" fmla="*/ 56109 w 61007"/>
                      <a:gd name="connsiteY9" fmla="*/ 208626 h 208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007" h="208626">
                        <a:moveTo>
                          <a:pt x="56109" y="208626"/>
                        </a:moveTo>
                        <a:lnTo>
                          <a:pt x="4899" y="208626"/>
                        </a:lnTo>
                        <a:cubicBezTo>
                          <a:pt x="2198" y="208626"/>
                          <a:pt x="0" y="206429"/>
                          <a:pt x="0" y="203728"/>
                        </a:cubicBezTo>
                        <a:lnTo>
                          <a:pt x="0" y="4899"/>
                        </a:lnTo>
                        <a:cubicBezTo>
                          <a:pt x="0" y="2198"/>
                          <a:pt x="2198" y="0"/>
                          <a:pt x="4899" y="0"/>
                        </a:cubicBezTo>
                        <a:cubicBezTo>
                          <a:pt x="7599" y="0"/>
                          <a:pt x="9797" y="2198"/>
                          <a:pt x="9797" y="4899"/>
                        </a:cubicBezTo>
                        <a:lnTo>
                          <a:pt x="9797" y="198803"/>
                        </a:lnTo>
                        <a:lnTo>
                          <a:pt x="56109" y="198803"/>
                        </a:lnTo>
                        <a:cubicBezTo>
                          <a:pt x="58809" y="198803"/>
                          <a:pt x="61007" y="201000"/>
                          <a:pt x="61007" y="203701"/>
                        </a:cubicBezTo>
                        <a:cubicBezTo>
                          <a:pt x="61034" y="206429"/>
                          <a:pt x="58836" y="208626"/>
                          <a:pt x="56109" y="208626"/>
                        </a:cubicBezTo>
                        <a:close/>
                      </a:path>
                    </a:pathLst>
                  </a:custGeom>
                  <a:grpFill/>
                  <a:ln w="2648" cap="flat">
                    <a:noFill/>
                    <a:prstDash val="solid"/>
                    <a:miter/>
                  </a:ln>
                </p:spPr>
                <p:txBody>
                  <a:bodyPr rtlCol="0" anchor="ctr"/>
                  <a:lstStyle/>
                  <a:p>
                    <a:endParaRPr lang="en-GB" dirty="0"/>
                  </a:p>
                </p:txBody>
              </p:sp>
            </p:grpSp>
            <p:sp>
              <p:nvSpPr>
                <p:cNvPr id="205" name="Freihandform: Form 743">
                  <a:extLst>
                    <a:ext uri="{FF2B5EF4-FFF2-40B4-BE49-F238E27FC236}">
                      <a16:creationId xmlns:a16="http://schemas.microsoft.com/office/drawing/2014/main" id="{DE698DC0-7CEB-4BF8-B42C-89122E3C688D}"/>
                    </a:ext>
                  </a:extLst>
                </p:cNvPr>
                <p:cNvSpPr/>
                <p:nvPr/>
              </p:nvSpPr>
              <p:spPr>
                <a:xfrm>
                  <a:off x="5502346" y="1626758"/>
                  <a:ext cx="117936" cy="41757"/>
                </a:xfrm>
                <a:custGeom>
                  <a:avLst/>
                  <a:gdLst>
                    <a:gd name="connsiteX0" fmla="*/ 99798 w 117936"/>
                    <a:gd name="connsiteY0" fmla="*/ 41757 h 41757"/>
                    <a:gd name="connsiteX1" fmla="*/ 18138 w 117936"/>
                    <a:gd name="connsiteY1" fmla="*/ 41757 h 41757"/>
                    <a:gd name="connsiteX2" fmla="*/ 0 w 117936"/>
                    <a:gd name="connsiteY2" fmla="*/ 20892 h 41757"/>
                    <a:gd name="connsiteX3" fmla="*/ 18138 w 117936"/>
                    <a:gd name="connsiteY3" fmla="*/ 0 h 41757"/>
                    <a:gd name="connsiteX4" fmla="*/ 99798 w 117936"/>
                    <a:gd name="connsiteY4" fmla="*/ 0 h 41757"/>
                    <a:gd name="connsiteX5" fmla="*/ 117936 w 117936"/>
                    <a:gd name="connsiteY5" fmla="*/ 20892 h 41757"/>
                    <a:gd name="connsiteX6" fmla="*/ 99798 w 117936"/>
                    <a:gd name="connsiteY6" fmla="*/ 41757 h 41757"/>
                    <a:gd name="connsiteX7" fmla="*/ 18138 w 117936"/>
                    <a:gd name="connsiteY7" fmla="*/ 9797 h 41757"/>
                    <a:gd name="connsiteX8" fmla="*/ 9797 w 117936"/>
                    <a:gd name="connsiteY8" fmla="*/ 20892 h 41757"/>
                    <a:gd name="connsiteX9" fmla="*/ 18138 w 117936"/>
                    <a:gd name="connsiteY9" fmla="*/ 31960 h 41757"/>
                    <a:gd name="connsiteX10" fmla="*/ 99798 w 117936"/>
                    <a:gd name="connsiteY10" fmla="*/ 31960 h 41757"/>
                    <a:gd name="connsiteX11" fmla="*/ 108139 w 117936"/>
                    <a:gd name="connsiteY11" fmla="*/ 20892 h 41757"/>
                    <a:gd name="connsiteX12" fmla="*/ 99798 w 117936"/>
                    <a:gd name="connsiteY12" fmla="*/ 9797 h 41757"/>
                    <a:gd name="connsiteX13" fmla="*/ 18138 w 117936"/>
                    <a:gd name="connsiteY13" fmla="*/ 9797 h 4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7936" h="41757">
                      <a:moveTo>
                        <a:pt x="99798" y="41757"/>
                      </a:moveTo>
                      <a:lnTo>
                        <a:pt x="18138" y="41757"/>
                      </a:lnTo>
                      <a:cubicBezTo>
                        <a:pt x="8129" y="41757"/>
                        <a:pt x="0" y="32384"/>
                        <a:pt x="0" y="20892"/>
                      </a:cubicBezTo>
                      <a:cubicBezTo>
                        <a:pt x="0" y="9373"/>
                        <a:pt x="8129" y="0"/>
                        <a:pt x="18138" y="0"/>
                      </a:cubicBezTo>
                      <a:lnTo>
                        <a:pt x="99798" y="0"/>
                      </a:lnTo>
                      <a:cubicBezTo>
                        <a:pt x="109807" y="0"/>
                        <a:pt x="117936" y="9373"/>
                        <a:pt x="117936" y="20892"/>
                      </a:cubicBezTo>
                      <a:cubicBezTo>
                        <a:pt x="117936" y="32410"/>
                        <a:pt x="109781" y="41757"/>
                        <a:pt x="99798" y="41757"/>
                      </a:cubicBezTo>
                      <a:close/>
                      <a:moveTo>
                        <a:pt x="18138" y="9797"/>
                      </a:moveTo>
                      <a:cubicBezTo>
                        <a:pt x="13637" y="9797"/>
                        <a:pt x="9797" y="14881"/>
                        <a:pt x="9797" y="20892"/>
                      </a:cubicBezTo>
                      <a:cubicBezTo>
                        <a:pt x="9797" y="26902"/>
                        <a:pt x="13610" y="31960"/>
                        <a:pt x="18138" y="31960"/>
                      </a:cubicBezTo>
                      <a:lnTo>
                        <a:pt x="99798" y="31960"/>
                      </a:lnTo>
                      <a:cubicBezTo>
                        <a:pt x="104326" y="31960"/>
                        <a:pt x="108139" y="26902"/>
                        <a:pt x="108139" y="20892"/>
                      </a:cubicBezTo>
                      <a:cubicBezTo>
                        <a:pt x="108139" y="14881"/>
                        <a:pt x="104326" y="9797"/>
                        <a:pt x="99798" y="9797"/>
                      </a:cubicBezTo>
                      <a:lnTo>
                        <a:pt x="18138" y="9797"/>
                      </a:lnTo>
                      <a:close/>
                    </a:path>
                  </a:pathLst>
                </a:custGeom>
                <a:grpFill/>
                <a:ln w="2648" cap="flat">
                  <a:noFill/>
                  <a:prstDash val="solid"/>
                  <a:miter/>
                </a:ln>
              </p:spPr>
              <p:txBody>
                <a:bodyPr rtlCol="0" anchor="ctr"/>
                <a:lstStyle/>
                <a:p>
                  <a:endParaRPr lang="en-GB" dirty="0"/>
                </a:p>
              </p:txBody>
            </p:sp>
            <p:grpSp>
              <p:nvGrpSpPr>
                <p:cNvPr id="206" name="Grafik 102">
                  <a:extLst>
                    <a:ext uri="{FF2B5EF4-FFF2-40B4-BE49-F238E27FC236}">
                      <a16:creationId xmlns:a16="http://schemas.microsoft.com/office/drawing/2014/main" id="{70F64DBA-CAC3-4D5E-A646-AFA78C243ADF}"/>
                    </a:ext>
                  </a:extLst>
                </p:cNvPr>
                <p:cNvGrpSpPr/>
                <p:nvPr/>
              </p:nvGrpSpPr>
              <p:grpSpPr>
                <a:xfrm>
                  <a:off x="5474755" y="1640977"/>
                  <a:ext cx="173118" cy="66620"/>
                  <a:chOff x="5474755" y="1640977"/>
                  <a:chExt cx="173118" cy="66620"/>
                </a:xfrm>
                <a:grpFill/>
              </p:grpSpPr>
              <p:sp>
                <p:nvSpPr>
                  <p:cNvPr id="207" name="Freihandform: Form 745">
                    <a:extLst>
                      <a:ext uri="{FF2B5EF4-FFF2-40B4-BE49-F238E27FC236}">
                        <a16:creationId xmlns:a16="http://schemas.microsoft.com/office/drawing/2014/main" id="{44E67143-61BA-4BF8-859D-9DAA976645B6}"/>
                      </a:ext>
                    </a:extLst>
                  </p:cNvPr>
                  <p:cNvSpPr/>
                  <p:nvPr/>
                </p:nvSpPr>
                <p:spPr>
                  <a:xfrm>
                    <a:off x="5474755" y="1640977"/>
                    <a:ext cx="38208" cy="59497"/>
                  </a:xfrm>
                  <a:custGeom>
                    <a:avLst/>
                    <a:gdLst>
                      <a:gd name="connsiteX0" fmla="*/ 4899 w 38208"/>
                      <a:gd name="connsiteY0" fmla="*/ 59498 h 59497"/>
                      <a:gd name="connsiteX1" fmla="*/ 0 w 38208"/>
                      <a:gd name="connsiteY1" fmla="*/ 54599 h 59497"/>
                      <a:gd name="connsiteX2" fmla="*/ 0 w 38208"/>
                      <a:gd name="connsiteY2" fmla="*/ 4899 h 59497"/>
                      <a:gd name="connsiteX3" fmla="*/ 4899 w 38208"/>
                      <a:gd name="connsiteY3" fmla="*/ 0 h 59497"/>
                      <a:gd name="connsiteX4" fmla="*/ 33310 w 38208"/>
                      <a:gd name="connsiteY4" fmla="*/ 0 h 59497"/>
                      <a:gd name="connsiteX5" fmla="*/ 38209 w 38208"/>
                      <a:gd name="connsiteY5" fmla="*/ 4899 h 59497"/>
                      <a:gd name="connsiteX6" fmla="*/ 33310 w 38208"/>
                      <a:gd name="connsiteY6" fmla="*/ 9797 h 59497"/>
                      <a:gd name="connsiteX7" fmla="*/ 9797 w 38208"/>
                      <a:gd name="connsiteY7" fmla="*/ 9797 h 59497"/>
                      <a:gd name="connsiteX8" fmla="*/ 9797 w 38208"/>
                      <a:gd name="connsiteY8" fmla="*/ 54573 h 59497"/>
                      <a:gd name="connsiteX9" fmla="*/ 4899 w 38208"/>
                      <a:gd name="connsiteY9" fmla="*/ 59498 h 5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208" h="59497">
                        <a:moveTo>
                          <a:pt x="4899" y="59498"/>
                        </a:moveTo>
                        <a:cubicBezTo>
                          <a:pt x="2198" y="59498"/>
                          <a:pt x="0" y="57300"/>
                          <a:pt x="0" y="54599"/>
                        </a:cubicBezTo>
                        <a:lnTo>
                          <a:pt x="0" y="4899"/>
                        </a:lnTo>
                        <a:cubicBezTo>
                          <a:pt x="0" y="2198"/>
                          <a:pt x="2198" y="0"/>
                          <a:pt x="4899" y="0"/>
                        </a:cubicBezTo>
                        <a:lnTo>
                          <a:pt x="33310" y="0"/>
                        </a:lnTo>
                        <a:cubicBezTo>
                          <a:pt x="36011" y="0"/>
                          <a:pt x="38209" y="2198"/>
                          <a:pt x="38209" y="4899"/>
                        </a:cubicBezTo>
                        <a:cubicBezTo>
                          <a:pt x="38209" y="7599"/>
                          <a:pt x="36011" y="9797"/>
                          <a:pt x="33310" y="9797"/>
                        </a:cubicBezTo>
                        <a:lnTo>
                          <a:pt x="9797" y="9797"/>
                        </a:lnTo>
                        <a:lnTo>
                          <a:pt x="9797" y="54573"/>
                        </a:lnTo>
                        <a:cubicBezTo>
                          <a:pt x="9797" y="57300"/>
                          <a:pt x="7599" y="59498"/>
                          <a:pt x="4899" y="59498"/>
                        </a:cubicBezTo>
                        <a:close/>
                      </a:path>
                    </a:pathLst>
                  </a:custGeom>
                  <a:grpFill/>
                  <a:ln w="2648" cap="flat">
                    <a:noFill/>
                    <a:prstDash val="solid"/>
                    <a:miter/>
                  </a:ln>
                </p:spPr>
                <p:txBody>
                  <a:bodyPr rtlCol="0" anchor="ctr"/>
                  <a:lstStyle/>
                  <a:p>
                    <a:endParaRPr lang="en-GB" dirty="0"/>
                  </a:p>
                </p:txBody>
              </p:sp>
              <p:sp>
                <p:nvSpPr>
                  <p:cNvPr id="208" name="Freihandform: Form 746">
                    <a:extLst>
                      <a:ext uri="{FF2B5EF4-FFF2-40B4-BE49-F238E27FC236}">
                        <a16:creationId xmlns:a16="http://schemas.microsoft.com/office/drawing/2014/main" id="{D90063A5-7E43-4213-B14A-DE6D3EB98681}"/>
                      </a:ext>
                    </a:extLst>
                  </p:cNvPr>
                  <p:cNvSpPr/>
                  <p:nvPr/>
                </p:nvSpPr>
                <p:spPr>
                  <a:xfrm>
                    <a:off x="5616787" y="1640977"/>
                    <a:ext cx="31086" cy="66620"/>
                  </a:xfrm>
                  <a:custGeom>
                    <a:avLst/>
                    <a:gdLst>
                      <a:gd name="connsiteX0" fmla="*/ 26188 w 31086"/>
                      <a:gd name="connsiteY0" fmla="*/ 66621 h 66620"/>
                      <a:gd name="connsiteX1" fmla="*/ 21289 w 31086"/>
                      <a:gd name="connsiteY1" fmla="*/ 61722 h 66620"/>
                      <a:gd name="connsiteX2" fmla="*/ 21289 w 31086"/>
                      <a:gd name="connsiteY2" fmla="*/ 9797 h 66620"/>
                      <a:gd name="connsiteX3" fmla="*/ 4899 w 31086"/>
                      <a:gd name="connsiteY3" fmla="*/ 9797 h 66620"/>
                      <a:gd name="connsiteX4" fmla="*/ 0 w 31086"/>
                      <a:gd name="connsiteY4" fmla="*/ 4899 h 66620"/>
                      <a:gd name="connsiteX5" fmla="*/ 4899 w 31086"/>
                      <a:gd name="connsiteY5" fmla="*/ 0 h 66620"/>
                      <a:gd name="connsiteX6" fmla="*/ 26188 w 31086"/>
                      <a:gd name="connsiteY6" fmla="*/ 0 h 66620"/>
                      <a:gd name="connsiteX7" fmla="*/ 31086 w 31086"/>
                      <a:gd name="connsiteY7" fmla="*/ 4899 h 66620"/>
                      <a:gd name="connsiteX8" fmla="*/ 31086 w 31086"/>
                      <a:gd name="connsiteY8" fmla="*/ 61696 h 66620"/>
                      <a:gd name="connsiteX9" fmla="*/ 26188 w 31086"/>
                      <a:gd name="connsiteY9" fmla="*/ 66621 h 66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86" h="66620">
                        <a:moveTo>
                          <a:pt x="26188" y="66621"/>
                        </a:moveTo>
                        <a:cubicBezTo>
                          <a:pt x="23487" y="66621"/>
                          <a:pt x="21289" y="64423"/>
                          <a:pt x="21289" y="61722"/>
                        </a:cubicBezTo>
                        <a:lnTo>
                          <a:pt x="21289" y="9797"/>
                        </a:lnTo>
                        <a:lnTo>
                          <a:pt x="4899" y="9797"/>
                        </a:lnTo>
                        <a:cubicBezTo>
                          <a:pt x="2198" y="9797"/>
                          <a:pt x="0" y="7599"/>
                          <a:pt x="0" y="4899"/>
                        </a:cubicBezTo>
                        <a:cubicBezTo>
                          <a:pt x="0" y="2198"/>
                          <a:pt x="2198" y="0"/>
                          <a:pt x="4899" y="0"/>
                        </a:cubicBezTo>
                        <a:lnTo>
                          <a:pt x="26188" y="0"/>
                        </a:lnTo>
                        <a:cubicBezTo>
                          <a:pt x="28888" y="0"/>
                          <a:pt x="31086" y="2198"/>
                          <a:pt x="31086" y="4899"/>
                        </a:cubicBezTo>
                        <a:lnTo>
                          <a:pt x="31086" y="61696"/>
                        </a:lnTo>
                        <a:cubicBezTo>
                          <a:pt x="31086" y="64423"/>
                          <a:pt x="28888" y="66621"/>
                          <a:pt x="26188" y="66621"/>
                        </a:cubicBezTo>
                        <a:close/>
                      </a:path>
                    </a:pathLst>
                  </a:custGeom>
                  <a:grpFill/>
                  <a:ln w="2648" cap="flat">
                    <a:noFill/>
                    <a:prstDash val="solid"/>
                    <a:miter/>
                  </a:ln>
                </p:spPr>
                <p:txBody>
                  <a:bodyPr rtlCol="0" anchor="ctr"/>
                  <a:lstStyle/>
                  <a:p>
                    <a:endParaRPr lang="en-GB" dirty="0"/>
                  </a:p>
                </p:txBody>
              </p:sp>
            </p:grpSp>
          </p:grpSp>
          <p:sp>
            <p:nvSpPr>
              <p:cNvPr id="203" name="Freihandform: Form 747">
                <a:extLst>
                  <a:ext uri="{FF2B5EF4-FFF2-40B4-BE49-F238E27FC236}">
                    <a16:creationId xmlns:a16="http://schemas.microsoft.com/office/drawing/2014/main" id="{60FCA8E5-E01E-450C-BE9E-AE21237E3AF7}"/>
                  </a:ext>
                </a:extLst>
              </p:cNvPr>
              <p:cNvSpPr/>
              <p:nvPr/>
            </p:nvSpPr>
            <p:spPr>
              <a:xfrm>
                <a:off x="5513308" y="1821641"/>
                <a:ext cx="96012" cy="96012"/>
              </a:xfrm>
              <a:custGeom>
                <a:avLst/>
                <a:gdLst>
                  <a:gd name="connsiteX0" fmla="*/ 48006 w 96012"/>
                  <a:gd name="connsiteY0" fmla="*/ 96012 h 96012"/>
                  <a:gd name="connsiteX1" fmla="*/ 0 w 96012"/>
                  <a:gd name="connsiteY1" fmla="*/ 48006 h 96012"/>
                  <a:gd name="connsiteX2" fmla="*/ 48006 w 96012"/>
                  <a:gd name="connsiteY2" fmla="*/ 0 h 96012"/>
                  <a:gd name="connsiteX3" fmla="*/ 96012 w 96012"/>
                  <a:gd name="connsiteY3" fmla="*/ 48006 h 96012"/>
                  <a:gd name="connsiteX4" fmla="*/ 48006 w 96012"/>
                  <a:gd name="connsiteY4" fmla="*/ 96012 h 96012"/>
                  <a:gd name="connsiteX5" fmla="*/ 48006 w 96012"/>
                  <a:gd name="connsiteY5" fmla="*/ 9824 h 96012"/>
                  <a:gd name="connsiteX6" fmla="*/ 9824 w 96012"/>
                  <a:gd name="connsiteY6" fmla="*/ 48006 h 96012"/>
                  <a:gd name="connsiteX7" fmla="*/ 48006 w 96012"/>
                  <a:gd name="connsiteY7" fmla="*/ 86188 h 96012"/>
                  <a:gd name="connsiteX8" fmla="*/ 86188 w 96012"/>
                  <a:gd name="connsiteY8" fmla="*/ 48006 h 96012"/>
                  <a:gd name="connsiteX9" fmla="*/ 48006 w 96012"/>
                  <a:gd name="connsiteY9" fmla="*/ 9824 h 96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012" h="96012">
                    <a:moveTo>
                      <a:pt x="48006" y="96012"/>
                    </a:moveTo>
                    <a:cubicBezTo>
                      <a:pt x="21527" y="96012"/>
                      <a:pt x="0" y="74485"/>
                      <a:pt x="0" y="48006"/>
                    </a:cubicBezTo>
                    <a:cubicBezTo>
                      <a:pt x="0" y="21554"/>
                      <a:pt x="21527" y="0"/>
                      <a:pt x="48006" y="0"/>
                    </a:cubicBezTo>
                    <a:cubicBezTo>
                      <a:pt x="74458" y="0"/>
                      <a:pt x="96012" y="21527"/>
                      <a:pt x="96012" y="48006"/>
                    </a:cubicBezTo>
                    <a:cubicBezTo>
                      <a:pt x="95986" y="74485"/>
                      <a:pt x="74458" y="96012"/>
                      <a:pt x="48006" y="96012"/>
                    </a:cubicBezTo>
                    <a:close/>
                    <a:moveTo>
                      <a:pt x="48006" y="9824"/>
                    </a:moveTo>
                    <a:cubicBezTo>
                      <a:pt x="26955" y="9824"/>
                      <a:pt x="9824" y="26955"/>
                      <a:pt x="9824" y="48006"/>
                    </a:cubicBezTo>
                    <a:cubicBezTo>
                      <a:pt x="9824" y="69057"/>
                      <a:pt x="26955" y="86188"/>
                      <a:pt x="48006" y="86188"/>
                    </a:cubicBezTo>
                    <a:cubicBezTo>
                      <a:pt x="69057" y="86188"/>
                      <a:pt x="86188" y="69057"/>
                      <a:pt x="86188" y="48006"/>
                    </a:cubicBezTo>
                    <a:cubicBezTo>
                      <a:pt x="86188" y="26955"/>
                      <a:pt x="69057" y="9824"/>
                      <a:pt x="48006" y="9824"/>
                    </a:cubicBezTo>
                    <a:close/>
                  </a:path>
                </a:pathLst>
              </a:custGeom>
              <a:grpFill/>
              <a:ln w="2648" cap="flat">
                <a:noFill/>
                <a:prstDash val="solid"/>
                <a:miter/>
              </a:ln>
            </p:spPr>
            <p:txBody>
              <a:bodyPr rtlCol="0" anchor="ctr"/>
              <a:lstStyle/>
              <a:p>
                <a:endParaRPr lang="en-GB" dirty="0"/>
              </a:p>
            </p:txBody>
          </p:sp>
        </p:grpSp>
      </p:grpSp>
      <p:grpSp>
        <p:nvGrpSpPr>
          <p:cNvPr id="122" name="Group 121">
            <a:extLst>
              <a:ext uri="{FF2B5EF4-FFF2-40B4-BE49-F238E27FC236}">
                <a16:creationId xmlns:a16="http://schemas.microsoft.com/office/drawing/2014/main" id="{FAAB1031-B657-330C-9AAB-82A79203250B}"/>
              </a:ext>
            </a:extLst>
          </p:cNvPr>
          <p:cNvGrpSpPr/>
          <p:nvPr/>
        </p:nvGrpSpPr>
        <p:grpSpPr>
          <a:xfrm>
            <a:off x="2733627" y="3197068"/>
            <a:ext cx="302596" cy="432000"/>
            <a:chOff x="2733627" y="3197068"/>
            <a:chExt cx="302596" cy="432000"/>
          </a:xfrm>
        </p:grpSpPr>
        <p:grpSp>
          <p:nvGrpSpPr>
            <p:cNvPr id="218" name="Grafik 102">
              <a:extLst>
                <a:ext uri="{FF2B5EF4-FFF2-40B4-BE49-F238E27FC236}">
                  <a16:creationId xmlns:a16="http://schemas.microsoft.com/office/drawing/2014/main" id="{ACD00240-04C6-4037-85CF-4F9AAD21FAC6}"/>
                </a:ext>
              </a:extLst>
            </p:cNvPr>
            <p:cNvGrpSpPr/>
            <p:nvPr/>
          </p:nvGrpSpPr>
          <p:grpSpPr>
            <a:xfrm>
              <a:off x="2733627" y="3444591"/>
              <a:ext cx="302596" cy="184477"/>
              <a:chOff x="7013203" y="1946282"/>
              <a:chExt cx="361743" cy="220536"/>
            </a:xfrm>
            <a:solidFill>
              <a:schemeClr val="accent1"/>
            </a:solidFill>
          </p:grpSpPr>
          <p:grpSp>
            <p:nvGrpSpPr>
              <p:cNvPr id="239" name="Grafik 102">
                <a:extLst>
                  <a:ext uri="{FF2B5EF4-FFF2-40B4-BE49-F238E27FC236}">
                    <a16:creationId xmlns:a16="http://schemas.microsoft.com/office/drawing/2014/main" id="{D0787E1C-7B20-4AB0-8892-7E8BBEECDB11}"/>
                  </a:ext>
                </a:extLst>
              </p:cNvPr>
              <p:cNvGrpSpPr/>
              <p:nvPr/>
            </p:nvGrpSpPr>
            <p:grpSpPr>
              <a:xfrm>
                <a:off x="7013209" y="1946282"/>
                <a:ext cx="361737" cy="220536"/>
                <a:chOff x="7013209" y="1946282"/>
                <a:chExt cx="361737" cy="220536"/>
              </a:xfrm>
              <a:solidFill>
                <a:schemeClr val="accent1"/>
              </a:solidFill>
            </p:grpSpPr>
            <p:sp>
              <p:nvSpPr>
                <p:cNvPr id="244" name="Freihandform: Form 762">
                  <a:extLst>
                    <a:ext uri="{FF2B5EF4-FFF2-40B4-BE49-F238E27FC236}">
                      <a16:creationId xmlns:a16="http://schemas.microsoft.com/office/drawing/2014/main" id="{67440CB1-8196-40DA-AAE8-11D1DAE991B2}"/>
                    </a:ext>
                  </a:extLst>
                </p:cNvPr>
                <p:cNvSpPr/>
                <p:nvPr/>
              </p:nvSpPr>
              <p:spPr>
                <a:xfrm>
                  <a:off x="7191159" y="2056274"/>
                  <a:ext cx="159586" cy="107923"/>
                </a:xfrm>
                <a:custGeom>
                  <a:avLst/>
                  <a:gdLst>
                    <a:gd name="connsiteX0" fmla="*/ 135071 w 159586"/>
                    <a:gd name="connsiteY0" fmla="*/ 107924 h 107923"/>
                    <a:gd name="connsiteX1" fmla="*/ 132582 w 159586"/>
                    <a:gd name="connsiteY1" fmla="*/ 107235 h 107923"/>
                    <a:gd name="connsiteX2" fmla="*/ 2412 w 159586"/>
                    <a:gd name="connsiteY2" fmla="*/ 30632 h 107923"/>
                    <a:gd name="connsiteX3" fmla="*/ 665 w 159586"/>
                    <a:gd name="connsiteY3" fmla="*/ 23906 h 107923"/>
                    <a:gd name="connsiteX4" fmla="*/ 7390 w 159586"/>
                    <a:gd name="connsiteY4" fmla="*/ 22159 h 107923"/>
                    <a:gd name="connsiteX5" fmla="*/ 133297 w 159586"/>
                    <a:gd name="connsiteY5" fmla="*/ 96273 h 107923"/>
                    <a:gd name="connsiteX6" fmla="*/ 147993 w 159586"/>
                    <a:gd name="connsiteY6" fmla="*/ 70827 h 107923"/>
                    <a:gd name="connsiteX7" fmla="*/ 41945 w 159586"/>
                    <a:gd name="connsiteY7" fmla="*/ 9131 h 107923"/>
                    <a:gd name="connsiteX8" fmla="*/ 40171 w 159586"/>
                    <a:gd name="connsiteY8" fmla="*/ 2432 h 107923"/>
                    <a:gd name="connsiteX9" fmla="*/ 46870 w 159586"/>
                    <a:gd name="connsiteY9" fmla="*/ 658 h 107923"/>
                    <a:gd name="connsiteX10" fmla="*/ 157154 w 159586"/>
                    <a:gd name="connsiteY10" fmla="*/ 64816 h 107923"/>
                    <a:gd name="connsiteX11" fmla="*/ 158928 w 159586"/>
                    <a:gd name="connsiteY11" fmla="*/ 71515 h 107923"/>
                    <a:gd name="connsiteX12" fmla="*/ 139308 w 159586"/>
                    <a:gd name="connsiteY12" fmla="*/ 105488 h 107923"/>
                    <a:gd name="connsiteX13" fmla="*/ 136316 w 159586"/>
                    <a:gd name="connsiteY13" fmla="*/ 107765 h 107923"/>
                    <a:gd name="connsiteX14" fmla="*/ 135071 w 159586"/>
                    <a:gd name="connsiteY14" fmla="*/ 107924 h 107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9586" h="107923">
                      <a:moveTo>
                        <a:pt x="135071" y="107924"/>
                      </a:moveTo>
                      <a:cubicBezTo>
                        <a:pt x="134197" y="107924"/>
                        <a:pt x="133350" y="107685"/>
                        <a:pt x="132582" y="107235"/>
                      </a:cubicBezTo>
                      <a:lnTo>
                        <a:pt x="2412" y="30632"/>
                      </a:lnTo>
                      <a:cubicBezTo>
                        <a:pt x="82" y="29255"/>
                        <a:pt x="-685" y="26263"/>
                        <a:pt x="665" y="23906"/>
                      </a:cubicBezTo>
                      <a:cubicBezTo>
                        <a:pt x="2042" y="21576"/>
                        <a:pt x="5034" y="20782"/>
                        <a:pt x="7390" y="22159"/>
                      </a:cubicBezTo>
                      <a:lnTo>
                        <a:pt x="133297" y="96273"/>
                      </a:lnTo>
                      <a:lnTo>
                        <a:pt x="147993" y="70827"/>
                      </a:lnTo>
                      <a:lnTo>
                        <a:pt x="41945" y="9131"/>
                      </a:lnTo>
                      <a:cubicBezTo>
                        <a:pt x="39615" y="7781"/>
                        <a:pt x="38821" y="4762"/>
                        <a:pt x="40171" y="2432"/>
                      </a:cubicBezTo>
                      <a:cubicBezTo>
                        <a:pt x="41548" y="102"/>
                        <a:pt x="44540" y="-692"/>
                        <a:pt x="46870" y="658"/>
                      </a:cubicBezTo>
                      <a:lnTo>
                        <a:pt x="157154" y="64816"/>
                      </a:lnTo>
                      <a:cubicBezTo>
                        <a:pt x="159485" y="66167"/>
                        <a:pt x="160279" y="69159"/>
                        <a:pt x="158928" y="71515"/>
                      </a:cubicBezTo>
                      <a:lnTo>
                        <a:pt x="139308" y="105488"/>
                      </a:lnTo>
                      <a:cubicBezTo>
                        <a:pt x="138646" y="106626"/>
                        <a:pt x="137587" y="107447"/>
                        <a:pt x="136316" y="107765"/>
                      </a:cubicBezTo>
                      <a:cubicBezTo>
                        <a:pt x="135892" y="107871"/>
                        <a:pt x="135495" y="107924"/>
                        <a:pt x="135071" y="107924"/>
                      </a:cubicBezTo>
                      <a:close/>
                    </a:path>
                  </a:pathLst>
                </a:custGeom>
                <a:solidFill>
                  <a:schemeClr val="accent1"/>
                </a:solidFill>
                <a:ln w="2648" cap="flat">
                  <a:noFill/>
                  <a:prstDash val="solid"/>
                  <a:miter/>
                </a:ln>
              </p:spPr>
              <p:txBody>
                <a:bodyPr rtlCol="0" anchor="ctr"/>
                <a:lstStyle/>
                <a:p>
                  <a:endParaRPr lang="en-GB" dirty="0"/>
                </a:p>
              </p:txBody>
            </p:sp>
            <p:sp>
              <p:nvSpPr>
                <p:cNvPr id="245" name="Freihandform: Form 763">
                  <a:extLst>
                    <a:ext uri="{FF2B5EF4-FFF2-40B4-BE49-F238E27FC236}">
                      <a16:creationId xmlns:a16="http://schemas.microsoft.com/office/drawing/2014/main" id="{330A5D6C-EE95-454D-89B8-A4706F236E78}"/>
                    </a:ext>
                  </a:extLst>
                </p:cNvPr>
                <p:cNvSpPr/>
                <p:nvPr/>
              </p:nvSpPr>
              <p:spPr>
                <a:xfrm>
                  <a:off x="7032570" y="1953707"/>
                  <a:ext cx="166101" cy="110771"/>
                </a:xfrm>
                <a:custGeom>
                  <a:avLst/>
                  <a:gdLst>
                    <a:gd name="connsiteX0" fmla="*/ 120939 w 166101"/>
                    <a:gd name="connsiteY0" fmla="*/ 110772 h 110771"/>
                    <a:gd name="connsiteX1" fmla="*/ 118503 w 166101"/>
                    <a:gd name="connsiteY1" fmla="*/ 110110 h 110771"/>
                    <a:gd name="connsiteX2" fmla="*/ 2447 w 166101"/>
                    <a:gd name="connsiteY2" fmla="*/ 43118 h 110771"/>
                    <a:gd name="connsiteX3" fmla="*/ 170 w 166101"/>
                    <a:gd name="connsiteY3" fmla="*/ 40153 h 110771"/>
                    <a:gd name="connsiteX4" fmla="*/ 673 w 166101"/>
                    <a:gd name="connsiteY4" fmla="*/ 36419 h 110771"/>
                    <a:gd name="connsiteX5" fmla="*/ 20293 w 166101"/>
                    <a:gd name="connsiteY5" fmla="*/ 2447 h 110771"/>
                    <a:gd name="connsiteX6" fmla="*/ 23259 w 166101"/>
                    <a:gd name="connsiteY6" fmla="*/ 170 h 110771"/>
                    <a:gd name="connsiteX7" fmla="*/ 26993 w 166101"/>
                    <a:gd name="connsiteY7" fmla="*/ 673 h 110771"/>
                    <a:gd name="connsiteX8" fmla="*/ 163650 w 166101"/>
                    <a:gd name="connsiteY8" fmla="*/ 79580 h 110771"/>
                    <a:gd name="connsiteX9" fmla="*/ 165450 w 166101"/>
                    <a:gd name="connsiteY9" fmla="*/ 86279 h 110771"/>
                    <a:gd name="connsiteX10" fmla="*/ 158751 w 166101"/>
                    <a:gd name="connsiteY10" fmla="*/ 88079 h 110771"/>
                    <a:gd name="connsiteX11" fmla="*/ 26331 w 166101"/>
                    <a:gd name="connsiteY11" fmla="*/ 11635 h 110771"/>
                    <a:gd name="connsiteX12" fmla="*/ 11609 w 166101"/>
                    <a:gd name="connsiteY12" fmla="*/ 37108 h 110771"/>
                    <a:gd name="connsiteX13" fmla="*/ 123402 w 166101"/>
                    <a:gd name="connsiteY13" fmla="*/ 101663 h 110771"/>
                    <a:gd name="connsiteX14" fmla="*/ 125202 w 166101"/>
                    <a:gd name="connsiteY14" fmla="*/ 108362 h 110771"/>
                    <a:gd name="connsiteX15" fmla="*/ 120939 w 166101"/>
                    <a:gd name="connsiteY15" fmla="*/ 110772 h 110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101" h="110771">
                      <a:moveTo>
                        <a:pt x="120939" y="110772"/>
                      </a:moveTo>
                      <a:cubicBezTo>
                        <a:pt x="120118" y="110772"/>
                        <a:pt x="119271" y="110560"/>
                        <a:pt x="118503" y="110110"/>
                      </a:cubicBezTo>
                      <a:lnTo>
                        <a:pt x="2447" y="43118"/>
                      </a:lnTo>
                      <a:cubicBezTo>
                        <a:pt x="1335" y="42483"/>
                        <a:pt x="487" y="41397"/>
                        <a:pt x="170" y="40153"/>
                      </a:cubicBezTo>
                      <a:cubicBezTo>
                        <a:pt x="-175" y="38882"/>
                        <a:pt x="11" y="37558"/>
                        <a:pt x="673" y="36419"/>
                      </a:cubicBezTo>
                      <a:lnTo>
                        <a:pt x="20293" y="2447"/>
                      </a:lnTo>
                      <a:cubicBezTo>
                        <a:pt x="20955" y="1308"/>
                        <a:pt x="22015" y="487"/>
                        <a:pt x="23259" y="170"/>
                      </a:cubicBezTo>
                      <a:cubicBezTo>
                        <a:pt x="24530" y="-175"/>
                        <a:pt x="25854" y="11"/>
                        <a:pt x="26993" y="673"/>
                      </a:cubicBezTo>
                      <a:lnTo>
                        <a:pt x="163650" y="79580"/>
                      </a:lnTo>
                      <a:cubicBezTo>
                        <a:pt x="165980" y="80930"/>
                        <a:pt x="166801" y="83922"/>
                        <a:pt x="165450" y="86279"/>
                      </a:cubicBezTo>
                      <a:cubicBezTo>
                        <a:pt x="164100" y="88609"/>
                        <a:pt x="161108" y="89430"/>
                        <a:pt x="158751" y="88079"/>
                      </a:cubicBezTo>
                      <a:lnTo>
                        <a:pt x="26331" y="11635"/>
                      </a:lnTo>
                      <a:lnTo>
                        <a:pt x="11609" y="37108"/>
                      </a:lnTo>
                      <a:lnTo>
                        <a:pt x="123402" y="101663"/>
                      </a:lnTo>
                      <a:cubicBezTo>
                        <a:pt x="125732" y="103013"/>
                        <a:pt x="126553" y="106005"/>
                        <a:pt x="125202" y="108362"/>
                      </a:cubicBezTo>
                      <a:cubicBezTo>
                        <a:pt x="124276" y="109898"/>
                        <a:pt x="122634" y="110772"/>
                        <a:pt x="120939" y="110772"/>
                      </a:cubicBezTo>
                      <a:close/>
                    </a:path>
                  </a:pathLst>
                </a:custGeom>
                <a:solidFill>
                  <a:schemeClr val="accent1"/>
                </a:solidFill>
                <a:ln w="2648" cap="flat">
                  <a:noFill/>
                  <a:prstDash val="solid"/>
                  <a:miter/>
                </a:ln>
              </p:spPr>
              <p:txBody>
                <a:bodyPr rtlCol="0" anchor="ctr"/>
                <a:lstStyle/>
                <a:p>
                  <a:endParaRPr lang="en-GB" dirty="0"/>
                </a:p>
              </p:txBody>
            </p:sp>
            <p:sp>
              <p:nvSpPr>
                <p:cNvPr id="246" name="Freihandform: Form 764">
                  <a:extLst>
                    <a:ext uri="{FF2B5EF4-FFF2-40B4-BE49-F238E27FC236}">
                      <a16:creationId xmlns:a16="http://schemas.microsoft.com/office/drawing/2014/main" id="{925C6150-1ED4-4A55-A887-C6139C3F930A}"/>
                    </a:ext>
                  </a:extLst>
                </p:cNvPr>
                <p:cNvSpPr/>
                <p:nvPr/>
              </p:nvSpPr>
              <p:spPr>
                <a:xfrm>
                  <a:off x="7321338" y="2120452"/>
                  <a:ext cx="53609" cy="46366"/>
                </a:xfrm>
                <a:custGeom>
                  <a:avLst/>
                  <a:gdLst>
                    <a:gd name="connsiteX0" fmla="*/ 48662 w 53609"/>
                    <a:gd name="connsiteY0" fmla="*/ 46367 h 46366"/>
                    <a:gd name="connsiteX1" fmla="*/ 48371 w 53609"/>
                    <a:gd name="connsiteY1" fmla="*/ 46367 h 46366"/>
                    <a:gd name="connsiteX2" fmla="*/ 4601 w 53609"/>
                    <a:gd name="connsiteY2" fmla="*/ 43745 h 46366"/>
                    <a:gd name="connsiteX3" fmla="*/ 577 w 53609"/>
                    <a:gd name="connsiteY3" fmla="*/ 41177 h 46366"/>
                    <a:gd name="connsiteX4" fmla="*/ 656 w 53609"/>
                    <a:gd name="connsiteY4" fmla="*/ 36411 h 46366"/>
                    <a:gd name="connsiteX5" fmla="*/ 20277 w 53609"/>
                    <a:gd name="connsiteY5" fmla="*/ 2438 h 46366"/>
                    <a:gd name="connsiteX6" fmla="*/ 24381 w 53609"/>
                    <a:gd name="connsiteY6" fmla="*/ 2 h 46366"/>
                    <a:gd name="connsiteX7" fmla="*/ 28618 w 53609"/>
                    <a:gd name="connsiteY7" fmla="*/ 2200 h 46366"/>
                    <a:gd name="connsiteX8" fmla="*/ 52793 w 53609"/>
                    <a:gd name="connsiteY8" fmla="*/ 38794 h 46366"/>
                    <a:gd name="connsiteX9" fmla="*/ 52952 w 53609"/>
                    <a:gd name="connsiteY9" fmla="*/ 43957 h 46366"/>
                    <a:gd name="connsiteX10" fmla="*/ 48662 w 53609"/>
                    <a:gd name="connsiteY10" fmla="*/ 46367 h 46366"/>
                    <a:gd name="connsiteX11" fmla="*/ 13101 w 53609"/>
                    <a:gd name="connsiteY11" fmla="*/ 34425 h 46366"/>
                    <a:gd name="connsiteX12" fmla="*/ 39183 w 53609"/>
                    <a:gd name="connsiteY12" fmla="*/ 35987 h 46366"/>
                    <a:gd name="connsiteX13" fmla="*/ 24778 w 53609"/>
                    <a:gd name="connsiteY13" fmla="*/ 14195 h 46366"/>
                    <a:gd name="connsiteX14" fmla="*/ 13101 w 53609"/>
                    <a:gd name="connsiteY14" fmla="*/ 34425 h 46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609" h="46366">
                      <a:moveTo>
                        <a:pt x="48662" y="46367"/>
                      </a:moveTo>
                      <a:cubicBezTo>
                        <a:pt x="48556" y="46367"/>
                        <a:pt x="48477" y="46367"/>
                        <a:pt x="48371" y="46367"/>
                      </a:cubicBezTo>
                      <a:lnTo>
                        <a:pt x="4601" y="43745"/>
                      </a:lnTo>
                      <a:cubicBezTo>
                        <a:pt x="2907" y="43639"/>
                        <a:pt x="1371" y="42660"/>
                        <a:pt x="577" y="41177"/>
                      </a:cubicBezTo>
                      <a:cubicBezTo>
                        <a:pt x="-218" y="39668"/>
                        <a:pt x="-191" y="37867"/>
                        <a:pt x="656" y="36411"/>
                      </a:cubicBezTo>
                      <a:lnTo>
                        <a:pt x="20277" y="2438"/>
                      </a:lnTo>
                      <a:cubicBezTo>
                        <a:pt x="21124" y="956"/>
                        <a:pt x="22686" y="29"/>
                        <a:pt x="24381" y="2"/>
                      </a:cubicBezTo>
                      <a:cubicBezTo>
                        <a:pt x="26076" y="-51"/>
                        <a:pt x="27691" y="770"/>
                        <a:pt x="28618" y="2200"/>
                      </a:cubicBezTo>
                      <a:lnTo>
                        <a:pt x="52793" y="38794"/>
                      </a:lnTo>
                      <a:cubicBezTo>
                        <a:pt x="53825" y="40330"/>
                        <a:pt x="53878" y="42342"/>
                        <a:pt x="52952" y="43957"/>
                      </a:cubicBezTo>
                      <a:cubicBezTo>
                        <a:pt x="52025" y="45440"/>
                        <a:pt x="50410" y="46367"/>
                        <a:pt x="48662" y="46367"/>
                      </a:cubicBezTo>
                      <a:close/>
                      <a:moveTo>
                        <a:pt x="13101" y="34425"/>
                      </a:moveTo>
                      <a:lnTo>
                        <a:pt x="39183" y="35987"/>
                      </a:lnTo>
                      <a:lnTo>
                        <a:pt x="24778" y="14195"/>
                      </a:lnTo>
                      <a:lnTo>
                        <a:pt x="13101" y="34425"/>
                      </a:lnTo>
                      <a:close/>
                    </a:path>
                  </a:pathLst>
                </a:custGeom>
                <a:solidFill>
                  <a:schemeClr val="accent1"/>
                </a:solidFill>
                <a:ln w="2648" cap="flat">
                  <a:noFill/>
                  <a:prstDash val="solid"/>
                  <a:miter/>
                </a:ln>
              </p:spPr>
              <p:txBody>
                <a:bodyPr rtlCol="0" anchor="ctr"/>
                <a:lstStyle/>
                <a:p>
                  <a:endParaRPr lang="en-GB" dirty="0"/>
                </a:p>
              </p:txBody>
            </p:sp>
            <p:sp>
              <p:nvSpPr>
                <p:cNvPr id="247" name="Freihandform: Form 765">
                  <a:extLst>
                    <a:ext uri="{FF2B5EF4-FFF2-40B4-BE49-F238E27FC236}">
                      <a16:creationId xmlns:a16="http://schemas.microsoft.com/office/drawing/2014/main" id="{9EB48174-912C-4D0A-8936-A5F2E0ACC591}"/>
                    </a:ext>
                  </a:extLst>
                </p:cNvPr>
                <p:cNvSpPr/>
                <p:nvPr/>
              </p:nvSpPr>
              <p:spPr>
                <a:xfrm>
                  <a:off x="7013209" y="1946282"/>
                  <a:ext cx="45522" cy="45538"/>
                </a:xfrm>
                <a:custGeom>
                  <a:avLst/>
                  <a:gdLst>
                    <a:gd name="connsiteX0" fmla="*/ 27527 w 45522"/>
                    <a:gd name="connsiteY0" fmla="*/ 45539 h 45538"/>
                    <a:gd name="connsiteX1" fmla="*/ 25091 w 45522"/>
                    <a:gd name="connsiteY1" fmla="*/ 44877 h 45538"/>
                    <a:gd name="connsiteX2" fmla="*/ 2452 w 45522"/>
                    <a:gd name="connsiteY2" fmla="*/ 31796 h 45538"/>
                    <a:gd name="connsiteX3" fmla="*/ 651 w 45522"/>
                    <a:gd name="connsiteY3" fmla="*/ 25097 h 45538"/>
                    <a:gd name="connsiteX4" fmla="*/ 13732 w 45522"/>
                    <a:gd name="connsiteY4" fmla="*/ 2458 h 45538"/>
                    <a:gd name="connsiteX5" fmla="*/ 20431 w 45522"/>
                    <a:gd name="connsiteY5" fmla="*/ 657 h 45538"/>
                    <a:gd name="connsiteX6" fmla="*/ 43070 w 45522"/>
                    <a:gd name="connsiteY6" fmla="*/ 13738 h 45538"/>
                    <a:gd name="connsiteX7" fmla="*/ 44871 w 45522"/>
                    <a:gd name="connsiteY7" fmla="*/ 20437 h 45538"/>
                    <a:gd name="connsiteX8" fmla="*/ 31790 w 45522"/>
                    <a:gd name="connsiteY8" fmla="*/ 43076 h 45538"/>
                    <a:gd name="connsiteX9" fmla="*/ 27527 w 45522"/>
                    <a:gd name="connsiteY9" fmla="*/ 45539 h 45538"/>
                    <a:gd name="connsiteX10" fmla="*/ 11561 w 45522"/>
                    <a:gd name="connsiteY10" fmla="*/ 25759 h 45538"/>
                    <a:gd name="connsiteX11" fmla="*/ 25727 w 45522"/>
                    <a:gd name="connsiteY11" fmla="*/ 33941 h 45538"/>
                    <a:gd name="connsiteX12" fmla="*/ 33909 w 45522"/>
                    <a:gd name="connsiteY12" fmla="*/ 19775 h 45538"/>
                    <a:gd name="connsiteX13" fmla="*/ 19743 w 45522"/>
                    <a:gd name="connsiteY13" fmla="*/ 11593 h 45538"/>
                    <a:gd name="connsiteX14" fmla="*/ 11561 w 45522"/>
                    <a:gd name="connsiteY14" fmla="*/ 25759 h 4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522" h="45538">
                      <a:moveTo>
                        <a:pt x="27527" y="45539"/>
                      </a:moveTo>
                      <a:cubicBezTo>
                        <a:pt x="26707" y="45539"/>
                        <a:pt x="25859" y="45327"/>
                        <a:pt x="25091" y="44877"/>
                      </a:cubicBezTo>
                      <a:lnTo>
                        <a:pt x="2452" y="31796"/>
                      </a:lnTo>
                      <a:cubicBezTo>
                        <a:pt x="122" y="30446"/>
                        <a:pt x="-699" y="27454"/>
                        <a:pt x="651" y="25097"/>
                      </a:cubicBezTo>
                      <a:lnTo>
                        <a:pt x="13732" y="2458"/>
                      </a:lnTo>
                      <a:cubicBezTo>
                        <a:pt x="15082" y="101"/>
                        <a:pt x="18074" y="-693"/>
                        <a:pt x="20431" y="657"/>
                      </a:cubicBezTo>
                      <a:lnTo>
                        <a:pt x="43070" y="13738"/>
                      </a:lnTo>
                      <a:cubicBezTo>
                        <a:pt x="45401" y="15088"/>
                        <a:pt x="46221" y="18080"/>
                        <a:pt x="44871" y="20437"/>
                      </a:cubicBezTo>
                      <a:lnTo>
                        <a:pt x="31790" y="43076"/>
                      </a:lnTo>
                      <a:cubicBezTo>
                        <a:pt x="30864" y="44638"/>
                        <a:pt x="29222" y="45539"/>
                        <a:pt x="27527" y="45539"/>
                      </a:cubicBezTo>
                      <a:close/>
                      <a:moveTo>
                        <a:pt x="11561" y="25759"/>
                      </a:moveTo>
                      <a:lnTo>
                        <a:pt x="25727" y="33941"/>
                      </a:lnTo>
                      <a:lnTo>
                        <a:pt x="33909" y="19775"/>
                      </a:lnTo>
                      <a:lnTo>
                        <a:pt x="19743" y="11593"/>
                      </a:lnTo>
                      <a:lnTo>
                        <a:pt x="11561" y="25759"/>
                      </a:lnTo>
                      <a:close/>
                    </a:path>
                  </a:pathLst>
                </a:custGeom>
                <a:solidFill>
                  <a:schemeClr val="accent1"/>
                </a:solidFill>
                <a:ln w="2648" cap="flat">
                  <a:noFill/>
                  <a:prstDash val="solid"/>
                  <a:miter/>
                </a:ln>
              </p:spPr>
              <p:txBody>
                <a:bodyPr rtlCol="0" anchor="ctr"/>
                <a:lstStyle/>
                <a:p>
                  <a:endParaRPr lang="en-GB" dirty="0"/>
                </a:p>
              </p:txBody>
            </p:sp>
          </p:grpSp>
          <p:grpSp>
            <p:nvGrpSpPr>
              <p:cNvPr id="240" name="Grafik 102">
                <a:extLst>
                  <a:ext uri="{FF2B5EF4-FFF2-40B4-BE49-F238E27FC236}">
                    <a16:creationId xmlns:a16="http://schemas.microsoft.com/office/drawing/2014/main" id="{D9C46423-F317-4530-9220-AB97104BCC46}"/>
                  </a:ext>
                </a:extLst>
              </p:cNvPr>
              <p:cNvGrpSpPr/>
              <p:nvPr/>
            </p:nvGrpSpPr>
            <p:grpSpPr>
              <a:xfrm>
                <a:off x="7013203" y="1946282"/>
                <a:ext cx="361690" cy="220536"/>
                <a:chOff x="7013203" y="1946282"/>
                <a:chExt cx="361690" cy="220536"/>
              </a:xfrm>
              <a:solidFill>
                <a:schemeClr val="accent1"/>
              </a:solidFill>
            </p:grpSpPr>
            <p:sp>
              <p:nvSpPr>
                <p:cNvPr id="241" name="Freihandform: Form 767">
                  <a:extLst>
                    <a:ext uri="{FF2B5EF4-FFF2-40B4-BE49-F238E27FC236}">
                      <a16:creationId xmlns:a16="http://schemas.microsoft.com/office/drawing/2014/main" id="{60AB6ED7-E80B-4CB0-9081-C67A830AB1E3}"/>
                    </a:ext>
                  </a:extLst>
                </p:cNvPr>
                <p:cNvSpPr/>
                <p:nvPr/>
              </p:nvSpPr>
              <p:spPr>
                <a:xfrm>
                  <a:off x="7037352" y="1953718"/>
                  <a:ext cx="318185" cy="210478"/>
                </a:xfrm>
                <a:custGeom>
                  <a:avLst/>
                  <a:gdLst>
                    <a:gd name="connsiteX0" fmla="*/ 24515 w 318185"/>
                    <a:gd name="connsiteY0" fmla="*/ 210479 h 210478"/>
                    <a:gd name="connsiteX1" fmla="*/ 23244 w 318185"/>
                    <a:gd name="connsiteY1" fmla="*/ 210320 h 210478"/>
                    <a:gd name="connsiteX2" fmla="*/ 20278 w 318185"/>
                    <a:gd name="connsiteY2" fmla="*/ 208043 h 210478"/>
                    <a:gd name="connsiteX3" fmla="*/ 657 w 318185"/>
                    <a:gd name="connsiteY3" fmla="*/ 174071 h 210478"/>
                    <a:gd name="connsiteX4" fmla="*/ 2458 w 318185"/>
                    <a:gd name="connsiteY4" fmla="*/ 167371 h 210478"/>
                    <a:gd name="connsiteX5" fmla="*/ 291209 w 318185"/>
                    <a:gd name="connsiteY5" fmla="*/ 661 h 210478"/>
                    <a:gd name="connsiteX6" fmla="*/ 294942 w 318185"/>
                    <a:gd name="connsiteY6" fmla="*/ 158 h 210478"/>
                    <a:gd name="connsiteX7" fmla="*/ 297908 w 318185"/>
                    <a:gd name="connsiteY7" fmla="*/ 2435 h 210478"/>
                    <a:gd name="connsiteX8" fmla="*/ 317529 w 318185"/>
                    <a:gd name="connsiteY8" fmla="*/ 36407 h 210478"/>
                    <a:gd name="connsiteX9" fmla="*/ 315728 w 318185"/>
                    <a:gd name="connsiteY9" fmla="*/ 43106 h 210478"/>
                    <a:gd name="connsiteX10" fmla="*/ 26977 w 318185"/>
                    <a:gd name="connsiteY10" fmla="*/ 209817 h 210478"/>
                    <a:gd name="connsiteX11" fmla="*/ 24515 w 318185"/>
                    <a:gd name="connsiteY11" fmla="*/ 210479 h 210478"/>
                    <a:gd name="connsiteX12" fmla="*/ 11593 w 318185"/>
                    <a:gd name="connsiteY12" fmla="*/ 173382 h 210478"/>
                    <a:gd name="connsiteX13" fmla="*/ 26315 w 318185"/>
                    <a:gd name="connsiteY13" fmla="*/ 198855 h 210478"/>
                    <a:gd name="connsiteX14" fmla="*/ 306593 w 318185"/>
                    <a:gd name="connsiteY14" fmla="*/ 37043 h 210478"/>
                    <a:gd name="connsiteX15" fmla="*/ 291871 w 318185"/>
                    <a:gd name="connsiteY15" fmla="*/ 11570 h 210478"/>
                    <a:gd name="connsiteX16" fmla="*/ 11593 w 318185"/>
                    <a:gd name="connsiteY16" fmla="*/ 173382 h 210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8185" h="210478">
                      <a:moveTo>
                        <a:pt x="24515" y="210479"/>
                      </a:moveTo>
                      <a:cubicBezTo>
                        <a:pt x="24091" y="210479"/>
                        <a:pt x="23667" y="210426"/>
                        <a:pt x="23244" y="210320"/>
                      </a:cubicBezTo>
                      <a:cubicBezTo>
                        <a:pt x="21973" y="209976"/>
                        <a:pt x="20913" y="209155"/>
                        <a:pt x="20278" y="208043"/>
                      </a:cubicBezTo>
                      <a:lnTo>
                        <a:pt x="657" y="174071"/>
                      </a:lnTo>
                      <a:cubicBezTo>
                        <a:pt x="-693" y="171714"/>
                        <a:pt x="101" y="168722"/>
                        <a:pt x="2458" y="167371"/>
                      </a:cubicBezTo>
                      <a:lnTo>
                        <a:pt x="291209" y="661"/>
                      </a:lnTo>
                      <a:cubicBezTo>
                        <a:pt x="292347" y="-1"/>
                        <a:pt x="293671" y="-160"/>
                        <a:pt x="294942" y="158"/>
                      </a:cubicBezTo>
                      <a:cubicBezTo>
                        <a:pt x="296213" y="502"/>
                        <a:pt x="297272" y="1323"/>
                        <a:pt x="297908" y="2435"/>
                      </a:cubicBezTo>
                      <a:lnTo>
                        <a:pt x="317529" y="36407"/>
                      </a:lnTo>
                      <a:cubicBezTo>
                        <a:pt x="318879" y="38764"/>
                        <a:pt x="318085" y="41756"/>
                        <a:pt x="315728" y="43106"/>
                      </a:cubicBezTo>
                      <a:lnTo>
                        <a:pt x="26977" y="209817"/>
                      </a:lnTo>
                      <a:cubicBezTo>
                        <a:pt x="26209" y="210241"/>
                        <a:pt x="25362" y="210479"/>
                        <a:pt x="24515" y="210479"/>
                      </a:cubicBezTo>
                      <a:close/>
                      <a:moveTo>
                        <a:pt x="11593" y="173382"/>
                      </a:moveTo>
                      <a:lnTo>
                        <a:pt x="26315" y="198855"/>
                      </a:lnTo>
                      <a:lnTo>
                        <a:pt x="306593" y="37043"/>
                      </a:lnTo>
                      <a:lnTo>
                        <a:pt x="291871" y="11570"/>
                      </a:lnTo>
                      <a:lnTo>
                        <a:pt x="11593" y="173382"/>
                      </a:lnTo>
                      <a:close/>
                    </a:path>
                  </a:pathLst>
                </a:custGeom>
                <a:solidFill>
                  <a:schemeClr val="accent1"/>
                </a:solidFill>
                <a:ln w="2648" cap="flat">
                  <a:noFill/>
                  <a:prstDash val="solid"/>
                  <a:miter/>
                </a:ln>
              </p:spPr>
              <p:txBody>
                <a:bodyPr rtlCol="0" anchor="ctr"/>
                <a:lstStyle/>
                <a:p>
                  <a:endParaRPr lang="en-GB" dirty="0"/>
                </a:p>
              </p:txBody>
            </p:sp>
            <p:sp>
              <p:nvSpPr>
                <p:cNvPr id="242" name="Freihandform: Form 768">
                  <a:extLst>
                    <a:ext uri="{FF2B5EF4-FFF2-40B4-BE49-F238E27FC236}">
                      <a16:creationId xmlns:a16="http://schemas.microsoft.com/office/drawing/2014/main" id="{7F617A03-4F0D-4DCF-84C9-3F4861A4B021}"/>
                    </a:ext>
                  </a:extLst>
                </p:cNvPr>
                <p:cNvSpPr/>
                <p:nvPr/>
              </p:nvSpPr>
              <p:spPr>
                <a:xfrm>
                  <a:off x="7013203" y="2120399"/>
                  <a:ext cx="53609" cy="46419"/>
                </a:xfrm>
                <a:custGeom>
                  <a:avLst/>
                  <a:gdLst>
                    <a:gd name="connsiteX0" fmla="*/ 4894 w 53609"/>
                    <a:gd name="connsiteY0" fmla="*/ 46420 h 46419"/>
                    <a:gd name="connsiteX1" fmla="*/ 657 w 53609"/>
                    <a:gd name="connsiteY1" fmla="*/ 43957 h 46419"/>
                    <a:gd name="connsiteX2" fmla="*/ 816 w 53609"/>
                    <a:gd name="connsiteY2" fmla="*/ 38794 h 46419"/>
                    <a:gd name="connsiteX3" fmla="*/ 24991 w 53609"/>
                    <a:gd name="connsiteY3" fmla="*/ 2200 h 46419"/>
                    <a:gd name="connsiteX4" fmla="*/ 29228 w 53609"/>
                    <a:gd name="connsiteY4" fmla="*/ 2 h 46419"/>
                    <a:gd name="connsiteX5" fmla="*/ 33332 w 53609"/>
                    <a:gd name="connsiteY5" fmla="*/ 2438 h 46419"/>
                    <a:gd name="connsiteX6" fmla="*/ 52953 w 53609"/>
                    <a:gd name="connsiteY6" fmla="*/ 36411 h 46419"/>
                    <a:gd name="connsiteX7" fmla="*/ 53032 w 53609"/>
                    <a:gd name="connsiteY7" fmla="*/ 41177 h 46419"/>
                    <a:gd name="connsiteX8" fmla="*/ 49008 w 53609"/>
                    <a:gd name="connsiteY8" fmla="*/ 43745 h 46419"/>
                    <a:gd name="connsiteX9" fmla="*/ 5238 w 53609"/>
                    <a:gd name="connsiteY9" fmla="*/ 46367 h 46419"/>
                    <a:gd name="connsiteX10" fmla="*/ 4894 w 53609"/>
                    <a:gd name="connsiteY10" fmla="*/ 46420 h 46419"/>
                    <a:gd name="connsiteX11" fmla="*/ 28778 w 53609"/>
                    <a:gd name="connsiteY11" fmla="*/ 14248 h 46419"/>
                    <a:gd name="connsiteX12" fmla="*/ 14373 w 53609"/>
                    <a:gd name="connsiteY12" fmla="*/ 36040 h 46419"/>
                    <a:gd name="connsiteX13" fmla="*/ 40455 w 53609"/>
                    <a:gd name="connsiteY13" fmla="*/ 34478 h 46419"/>
                    <a:gd name="connsiteX14" fmla="*/ 28778 w 53609"/>
                    <a:gd name="connsiteY14" fmla="*/ 14248 h 46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3609" h="46419">
                      <a:moveTo>
                        <a:pt x="4894" y="46420"/>
                      </a:moveTo>
                      <a:cubicBezTo>
                        <a:pt x="3146" y="46420"/>
                        <a:pt x="1531" y="45493"/>
                        <a:pt x="657" y="43957"/>
                      </a:cubicBezTo>
                      <a:cubicBezTo>
                        <a:pt x="-269" y="42342"/>
                        <a:pt x="-216" y="40356"/>
                        <a:pt x="816" y="38794"/>
                      </a:cubicBezTo>
                      <a:lnTo>
                        <a:pt x="24991" y="2200"/>
                      </a:lnTo>
                      <a:cubicBezTo>
                        <a:pt x="25945" y="770"/>
                        <a:pt x="27507" y="-51"/>
                        <a:pt x="29228" y="2"/>
                      </a:cubicBezTo>
                      <a:cubicBezTo>
                        <a:pt x="30923" y="55"/>
                        <a:pt x="32485" y="982"/>
                        <a:pt x="33332" y="2438"/>
                      </a:cubicBezTo>
                      <a:lnTo>
                        <a:pt x="52953" y="36411"/>
                      </a:lnTo>
                      <a:cubicBezTo>
                        <a:pt x="53800" y="37894"/>
                        <a:pt x="53827" y="39694"/>
                        <a:pt x="53032" y="41177"/>
                      </a:cubicBezTo>
                      <a:cubicBezTo>
                        <a:pt x="52238" y="42686"/>
                        <a:pt x="50702" y="43639"/>
                        <a:pt x="49008" y="43745"/>
                      </a:cubicBezTo>
                      <a:lnTo>
                        <a:pt x="5238" y="46367"/>
                      </a:lnTo>
                      <a:cubicBezTo>
                        <a:pt x="5079" y="46420"/>
                        <a:pt x="4974" y="46420"/>
                        <a:pt x="4894" y="46420"/>
                      </a:cubicBezTo>
                      <a:close/>
                      <a:moveTo>
                        <a:pt x="28778" y="14248"/>
                      </a:moveTo>
                      <a:lnTo>
                        <a:pt x="14373" y="36040"/>
                      </a:lnTo>
                      <a:lnTo>
                        <a:pt x="40455" y="34478"/>
                      </a:lnTo>
                      <a:lnTo>
                        <a:pt x="28778" y="14248"/>
                      </a:lnTo>
                      <a:close/>
                    </a:path>
                  </a:pathLst>
                </a:custGeom>
                <a:solidFill>
                  <a:schemeClr val="accent1"/>
                </a:solidFill>
                <a:ln w="2648" cap="flat">
                  <a:noFill/>
                  <a:prstDash val="solid"/>
                  <a:miter/>
                </a:ln>
              </p:spPr>
              <p:txBody>
                <a:bodyPr rtlCol="0" anchor="ctr"/>
                <a:lstStyle/>
                <a:p>
                  <a:endParaRPr lang="en-GB" dirty="0"/>
                </a:p>
              </p:txBody>
            </p:sp>
            <p:sp>
              <p:nvSpPr>
                <p:cNvPr id="243" name="Freihandform: Form 769">
                  <a:extLst>
                    <a:ext uri="{FF2B5EF4-FFF2-40B4-BE49-F238E27FC236}">
                      <a16:creationId xmlns:a16="http://schemas.microsoft.com/office/drawing/2014/main" id="{720F39A2-D2DC-4164-9CAB-02EB39A224BA}"/>
                    </a:ext>
                  </a:extLst>
                </p:cNvPr>
                <p:cNvSpPr/>
                <p:nvPr/>
              </p:nvSpPr>
              <p:spPr>
                <a:xfrm>
                  <a:off x="7329360" y="1946282"/>
                  <a:ext cx="45533" cy="45538"/>
                </a:xfrm>
                <a:custGeom>
                  <a:avLst/>
                  <a:gdLst>
                    <a:gd name="connsiteX0" fmla="*/ 18001 w 45533"/>
                    <a:gd name="connsiteY0" fmla="*/ 45539 h 45538"/>
                    <a:gd name="connsiteX1" fmla="*/ 13738 w 45533"/>
                    <a:gd name="connsiteY1" fmla="*/ 43076 h 45538"/>
                    <a:gd name="connsiteX2" fmla="*/ 657 w 45533"/>
                    <a:gd name="connsiteY2" fmla="*/ 20437 h 45538"/>
                    <a:gd name="connsiteX3" fmla="*/ 2458 w 45533"/>
                    <a:gd name="connsiteY3" fmla="*/ 13738 h 45538"/>
                    <a:gd name="connsiteX4" fmla="*/ 25097 w 45533"/>
                    <a:gd name="connsiteY4" fmla="*/ 657 h 45538"/>
                    <a:gd name="connsiteX5" fmla="*/ 31796 w 45533"/>
                    <a:gd name="connsiteY5" fmla="*/ 2458 h 45538"/>
                    <a:gd name="connsiteX6" fmla="*/ 44877 w 45533"/>
                    <a:gd name="connsiteY6" fmla="*/ 25097 h 45538"/>
                    <a:gd name="connsiteX7" fmla="*/ 43076 w 45533"/>
                    <a:gd name="connsiteY7" fmla="*/ 31796 h 45538"/>
                    <a:gd name="connsiteX8" fmla="*/ 20437 w 45533"/>
                    <a:gd name="connsiteY8" fmla="*/ 44877 h 45538"/>
                    <a:gd name="connsiteX9" fmla="*/ 18001 w 45533"/>
                    <a:gd name="connsiteY9" fmla="*/ 45539 h 45538"/>
                    <a:gd name="connsiteX10" fmla="*/ 11619 w 45533"/>
                    <a:gd name="connsiteY10" fmla="*/ 19775 h 45538"/>
                    <a:gd name="connsiteX11" fmla="*/ 19801 w 45533"/>
                    <a:gd name="connsiteY11" fmla="*/ 33941 h 45538"/>
                    <a:gd name="connsiteX12" fmla="*/ 33967 w 45533"/>
                    <a:gd name="connsiteY12" fmla="*/ 25759 h 45538"/>
                    <a:gd name="connsiteX13" fmla="*/ 25786 w 45533"/>
                    <a:gd name="connsiteY13" fmla="*/ 11593 h 45538"/>
                    <a:gd name="connsiteX14" fmla="*/ 11619 w 45533"/>
                    <a:gd name="connsiteY14" fmla="*/ 19775 h 4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533" h="45538">
                      <a:moveTo>
                        <a:pt x="18001" y="45539"/>
                      </a:moveTo>
                      <a:cubicBezTo>
                        <a:pt x="16306" y="45539"/>
                        <a:pt x="14664" y="44665"/>
                        <a:pt x="13738" y="43076"/>
                      </a:cubicBezTo>
                      <a:lnTo>
                        <a:pt x="657" y="20437"/>
                      </a:lnTo>
                      <a:cubicBezTo>
                        <a:pt x="-693" y="18080"/>
                        <a:pt x="101" y="15088"/>
                        <a:pt x="2458" y="13738"/>
                      </a:cubicBezTo>
                      <a:lnTo>
                        <a:pt x="25097" y="657"/>
                      </a:lnTo>
                      <a:cubicBezTo>
                        <a:pt x="27454" y="-693"/>
                        <a:pt x="30446" y="101"/>
                        <a:pt x="31796" y="2458"/>
                      </a:cubicBezTo>
                      <a:lnTo>
                        <a:pt x="44877" y="25097"/>
                      </a:lnTo>
                      <a:cubicBezTo>
                        <a:pt x="46227" y="27454"/>
                        <a:pt x="45433" y="30446"/>
                        <a:pt x="43076" y="31796"/>
                      </a:cubicBezTo>
                      <a:lnTo>
                        <a:pt x="20437" y="44877"/>
                      </a:lnTo>
                      <a:cubicBezTo>
                        <a:pt x="19669" y="45327"/>
                        <a:pt x="18848" y="45539"/>
                        <a:pt x="18001" y="45539"/>
                      </a:cubicBezTo>
                      <a:close/>
                      <a:moveTo>
                        <a:pt x="11619" y="19775"/>
                      </a:moveTo>
                      <a:lnTo>
                        <a:pt x="19801" y="33941"/>
                      </a:lnTo>
                      <a:lnTo>
                        <a:pt x="33967" y="25759"/>
                      </a:lnTo>
                      <a:lnTo>
                        <a:pt x="25786" y="11593"/>
                      </a:lnTo>
                      <a:lnTo>
                        <a:pt x="11619" y="19775"/>
                      </a:lnTo>
                      <a:close/>
                    </a:path>
                  </a:pathLst>
                </a:custGeom>
                <a:solidFill>
                  <a:schemeClr val="accent1"/>
                </a:solidFill>
                <a:ln w="2648" cap="flat">
                  <a:noFill/>
                  <a:prstDash val="solid"/>
                  <a:miter/>
                </a:ln>
              </p:spPr>
              <p:txBody>
                <a:bodyPr rtlCol="0" anchor="ctr"/>
                <a:lstStyle/>
                <a:p>
                  <a:endParaRPr lang="en-GB" dirty="0"/>
                </a:p>
              </p:txBody>
            </p:sp>
          </p:grpSp>
        </p:grpSp>
        <p:grpSp>
          <p:nvGrpSpPr>
            <p:cNvPr id="219" name="Grafik 102">
              <a:extLst>
                <a:ext uri="{FF2B5EF4-FFF2-40B4-BE49-F238E27FC236}">
                  <a16:creationId xmlns:a16="http://schemas.microsoft.com/office/drawing/2014/main" id="{2E80AB06-3CDF-49C7-9153-68C6BD48F821}"/>
                </a:ext>
              </a:extLst>
            </p:cNvPr>
            <p:cNvGrpSpPr/>
            <p:nvPr/>
          </p:nvGrpSpPr>
          <p:grpSpPr>
            <a:xfrm>
              <a:off x="2748169" y="3197068"/>
              <a:ext cx="273433" cy="328120"/>
              <a:chOff x="7030595" y="1650377"/>
              <a:chExt cx="326880" cy="392256"/>
            </a:xfrm>
            <a:solidFill>
              <a:schemeClr val="tx2"/>
            </a:solidFill>
          </p:grpSpPr>
          <p:sp>
            <p:nvSpPr>
              <p:cNvPr id="220" name="Freihandform: Form 771">
                <a:extLst>
                  <a:ext uri="{FF2B5EF4-FFF2-40B4-BE49-F238E27FC236}">
                    <a16:creationId xmlns:a16="http://schemas.microsoft.com/office/drawing/2014/main" id="{AB39278F-1BC8-42EF-B59E-7CCBED895C36}"/>
                  </a:ext>
                </a:extLst>
              </p:cNvPr>
              <p:cNvSpPr/>
              <p:nvPr/>
            </p:nvSpPr>
            <p:spPr>
              <a:xfrm>
                <a:off x="7303512" y="2010223"/>
                <a:ext cx="53963" cy="32409"/>
              </a:xfrm>
              <a:custGeom>
                <a:avLst/>
                <a:gdLst>
                  <a:gd name="connsiteX0" fmla="*/ 49065 w 53963"/>
                  <a:gd name="connsiteY0" fmla="*/ 32410 h 32409"/>
                  <a:gd name="connsiteX1" fmla="*/ 4899 w 53963"/>
                  <a:gd name="connsiteY1" fmla="*/ 32410 h 32409"/>
                  <a:gd name="connsiteX2" fmla="*/ 0 w 53963"/>
                  <a:gd name="connsiteY2" fmla="*/ 27511 h 32409"/>
                  <a:gd name="connsiteX3" fmla="*/ 4899 w 53963"/>
                  <a:gd name="connsiteY3" fmla="*/ 22613 h 32409"/>
                  <a:gd name="connsiteX4" fmla="*/ 44167 w 53963"/>
                  <a:gd name="connsiteY4" fmla="*/ 22613 h 32409"/>
                  <a:gd name="connsiteX5" fmla="*/ 44167 w 53963"/>
                  <a:gd name="connsiteY5" fmla="*/ 4899 h 32409"/>
                  <a:gd name="connsiteX6" fmla="*/ 49065 w 53963"/>
                  <a:gd name="connsiteY6" fmla="*/ 0 h 32409"/>
                  <a:gd name="connsiteX7" fmla="*/ 53964 w 53963"/>
                  <a:gd name="connsiteY7" fmla="*/ 4899 h 32409"/>
                  <a:gd name="connsiteX8" fmla="*/ 53964 w 53963"/>
                  <a:gd name="connsiteY8" fmla="*/ 27511 h 32409"/>
                  <a:gd name="connsiteX9" fmla="*/ 49065 w 53963"/>
                  <a:gd name="connsiteY9" fmla="*/ 32410 h 32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963" h="32409">
                    <a:moveTo>
                      <a:pt x="49065" y="32410"/>
                    </a:moveTo>
                    <a:lnTo>
                      <a:pt x="4899" y="32410"/>
                    </a:lnTo>
                    <a:cubicBezTo>
                      <a:pt x="2198" y="32410"/>
                      <a:pt x="0" y="30212"/>
                      <a:pt x="0" y="27511"/>
                    </a:cubicBezTo>
                    <a:cubicBezTo>
                      <a:pt x="0" y="24811"/>
                      <a:pt x="2198" y="22613"/>
                      <a:pt x="4899" y="22613"/>
                    </a:cubicBezTo>
                    <a:lnTo>
                      <a:pt x="44167" y="22613"/>
                    </a:lnTo>
                    <a:lnTo>
                      <a:pt x="44167" y="4899"/>
                    </a:lnTo>
                    <a:cubicBezTo>
                      <a:pt x="44167" y="2198"/>
                      <a:pt x="46364" y="0"/>
                      <a:pt x="49065" y="0"/>
                    </a:cubicBezTo>
                    <a:cubicBezTo>
                      <a:pt x="51766" y="0"/>
                      <a:pt x="53964" y="2198"/>
                      <a:pt x="53964" y="4899"/>
                    </a:cubicBezTo>
                    <a:lnTo>
                      <a:pt x="53964" y="27511"/>
                    </a:lnTo>
                    <a:cubicBezTo>
                      <a:pt x="53990" y="30212"/>
                      <a:pt x="51792" y="32410"/>
                      <a:pt x="49065" y="32410"/>
                    </a:cubicBezTo>
                    <a:close/>
                  </a:path>
                </a:pathLst>
              </a:custGeom>
              <a:grpFill/>
              <a:ln w="2648" cap="flat">
                <a:noFill/>
                <a:prstDash val="solid"/>
                <a:miter/>
              </a:ln>
            </p:spPr>
            <p:txBody>
              <a:bodyPr rtlCol="0" anchor="ctr"/>
              <a:lstStyle/>
              <a:p>
                <a:endParaRPr lang="en-GB" dirty="0"/>
              </a:p>
            </p:txBody>
          </p:sp>
          <p:sp>
            <p:nvSpPr>
              <p:cNvPr id="221" name="Freihandform: Form 772">
                <a:extLst>
                  <a:ext uri="{FF2B5EF4-FFF2-40B4-BE49-F238E27FC236}">
                    <a16:creationId xmlns:a16="http://schemas.microsoft.com/office/drawing/2014/main" id="{E73A8043-9256-4DEB-98BA-FF44E4F19590}"/>
                  </a:ext>
                </a:extLst>
              </p:cNvPr>
              <p:cNvSpPr/>
              <p:nvPr/>
            </p:nvSpPr>
            <p:spPr>
              <a:xfrm>
                <a:off x="7030621" y="2007761"/>
                <a:ext cx="56743" cy="34872"/>
              </a:xfrm>
              <a:custGeom>
                <a:avLst/>
                <a:gdLst>
                  <a:gd name="connsiteX0" fmla="*/ 51845 w 56743"/>
                  <a:gd name="connsiteY0" fmla="*/ 34873 h 34872"/>
                  <a:gd name="connsiteX1" fmla="*/ 4899 w 56743"/>
                  <a:gd name="connsiteY1" fmla="*/ 34873 h 34872"/>
                  <a:gd name="connsiteX2" fmla="*/ 0 w 56743"/>
                  <a:gd name="connsiteY2" fmla="*/ 29974 h 34872"/>
                  <a:gd name="connsiteX3" fmla="*/ 0 w 56743"/>
                  <a:gd name="connsiteY3" fmla="*/ 4899 h 34872"/>
                  <a:gd name="connsiteX4" fmla="*/ 4899 w 56743"/>
                  <a:gd name="connsiteY4" fmla="*/ 0 h 34872"/>
                  <a:gd name="connsiteX5" fmla="*/ 9797 w 56743"/>
                  <a:gd name="connsiteY5" fmla="*/ 4899 h 34872"/>
                  <a:gd name="connsiteX6" fmla="*/ 9797 w 56743"/>
                  <a:gd name="connsiteY6" fmla="*/ 25075 h 34872"/>
                  <a:gd name="connsiteX7" fmla="*/ 51845 w 56743"/>
                  <a:gd name="connsiteY7" fmla="*/ 25075 h 34872"/>
                  <a:gd name="connsiteX8" fmla="*/ 56744 w 56743"/>
                  <a:gd name="connsiteY8" fmla="*/ 29974 h 34872"/>
                  <a:gd name="connsiteX9" fmla="*/ 51845 w 56743"/>
                  <a:gd name="connsiteY9" fmla="*/ 34873 h 34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743" h="34872">
                    <a:moveTo>
                      <a:pt x="51845" y="34873"/>
                    </a:moveTo>
                    <a:lnTo>
                      <a:pt x="4899" y="34873"/>
                    </a:lnTo>
                    <a:cubicBezTo>
                      <a:pt x="2198" y="34873"/>
                      <a:pt x="0" y="32675"/>
                      <a:pt x="0" y="29974"/>
                    </a:cubicBezTo>
                    <a:lnTo>
                      <a:pt x="0" y="4899"/>
                    </a:lnTo>
                    <a:cubicBezTo>
                      <a:pt x="0" y="2198"/>
                      <a:pt x="2198" y="0"/>
                      <a:pt x="4899" y="0"/>
                    </a:cubicBezTo>
                    <a:cubicBezTo>
                      <a:pt x="7599" y="0"/>
                      <a:pt x="9797" y="2198"/>
                      <a:pt x="9797" y="4899"/>
                    </a:cubicBezTo>
                    <a:lnTo>
                      <a:pt x="9797" y="25075"/>
                    </a:lnTo>
                    <a:lnTo>
                      <a:pt x="51845" y="25075"/>
                    </a:lnTo>
                    <a:cubicBezTo>
                      <a:pt x="54546" y="25075"/>
                      <a:pt x="56744" y="27273"/>
                      <a:pt x="56744" y="29974"/>
                    </a:cubicBezTo>
                    <a:cubicBezTo>
                      <a:pt x="56744" y="32675"/>
                      <a:pt x="54546" y="34873"/>
                      <a:pt x="51845" y="34873"/>
                    </a:cubicBezTo>
                    <a:close/>
                  </a:path>
                </a:pathLst>
              </a:custGeom>
              <a:grpFill/>
              <a:ln w="2648" cap="flat">
                <a:noFill/>
                <a:prstDash val="solid"/>
                <a:miter/>
              </a:ln>
            </p:spPr>
            <p:txBody>
              <a:bodyPr rtlCol="0" anchor="ctr"/>
              <a:lstStyle/>
              <a:p>
                <a:endParaRPr lang="en-GB" dirty="0"/>
              </a:p>
            </p:txBody>
          </p:sp>
          <p:sp>
            <p:nvSpPr>
              <p:cNvPr id="222" name="Freihandform: Form 773">
                <a:extLst>
                  <a:ext uri="{FF2B5EF4-FFF2-40B4-BE49-F238E27FC236}">
                    <a16:creationId xmlns:a16="http://schemas.microsoft.com/office/drawing/2014/main" id="{9686DC9F-E3F5-4DE4-A853-EEFE3FED21E8}"/>
                  </a:ext>
                </a:extLst>
              </p:cNvPr>
              <p:cNvSpPr/>
              <p:nvPr/>
            </p:nvSpPr>
            <p:spPr>
              <a:xfrm>
                <a:off x="7030595" y="1650377"/>
                <a:ext cx="326880" cy="286685"/>
              </a:xfrm>
              <a:custGeom>
                <a:avLst/>
                <a:gdLst>
                  <a:gd name="connsiteX0" fmla="*/ 321982 w 326880"/>
                  <a:gd name="connsiteY0" fmla="*/ 286686 h 286685"/>
                  <a:gd name="connsiteX1" fmla="*/ 317083 w 326880"/>
                  <a:gd name="connsiteY1" fmla="*/ 281787 h 286685"/>
                  <a:gd name="connsiteX2" fmla="*/ 317083 w 326880"/>
                  <a:gd name="connsiteY2" fmla="*/ 9797 h 286685"/>
                  <a:gd name="connsiteX3" fmla="*/ 9797 w 326880"/>
                  <a:gd name="connsiteY3" fmla="*/ 9797 h 286685"/>
                  <a:gd name="connsiteX4" fmla="*/ 9797 w 326880"/>
                  <a:gd name="connsiteY4" fmla="*/ 277312 h 286685"/>
                  <a:gd name="connsiteX5" fmla="*/ 4899 w 326880"/>
                  <a:gd name="connsiteY5" fmla="*/ 282211 h 286685"/>
                  <a:gd name="connsiteX6" fmla="*/ 0 w 326880"/>
                  <a:gd name="connsiteY6" fmla="*/ 277312 h 286685"/>
                  <a:gd name="connsiteX7" fmla="*/ 0 w 326880"/>
                  <a:gd name="connsiteY7" fmla="*/ 4899 h 286685"/>
                  <a:gd name="connsiteX8" fmla="*/ 4899 w 326880"/>
                  <a:gd name="connsiteY8" fmla="*/ 0 h 286685"/>
                  <a:gd name="connsiteX9" fmla="*/ 321982 w 326880"/>
                  <a:gd name="connsiteY9" fmla="*/ 0 h 286685"/>
                  <a:gd name="connsiteX10" fmla="*/ 326880 w 326880"/>
                  <a:gd name="connsiteY10" fmla="*/ 4899 h 286685"/>
                  <a:gd name="connsiteX11" fmla="*/ 326880 w 326880"/>
                  <a:gd name="connsiteY11" fmla="*/ 281814 h 286685"/>
                  <a:gd name="connsiteX12" fmla="*/ 321982 w 326880"/>
                  <a:gd name="connsiteY12" fmla="*/ 286686 h 28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6880" h="286685">
                    <a:moveTo>
                      <a:pt x="321982" y="286686"/>
                    </a:moveTo>
                    <a:cubicBezTo>
                      <a:pt x="319281" y="286686"/>
                      <a:pt x="317083" y="284488"/>
                      <a:pt x="317083" y="281787"/>
                    </a:cubicBezTo>
                    <a:lnTo>
                      <a:pt x="317083" y="9797"/>
                    </a:lnTo>
                    <a:lnTo>
                      <a:pt x="9797" y="9797"/>
                    </a:lnTo>
                    <a:lnTo>
                      <a:pt x="9797" y="277312"/>
                    </a:lnTo>
                    <a:cubicBezTo>
                      <a:pt x="9797" y="280013"/>
                      <a:pt x="7599" y="282211"/>
                      <a:pt x="4899" y="282211"/>
                    </a:cubicBezTo>
                    <a:cubicBezTo>
                      <a:pt x="2198" y="282211"/>
                      <a:pt x="0" y="280013"/>
                      <a:pt x="0" y="277312"/>
                    </a:cubicBezTo>
                    <a:lnTo>
                      <a:pt x="0" y="4899"/>
                    </a:lnTo>
                    <a:cubicBezTo>
                      <a:pt x="0" y="2198"/>
                      <a:pt x="2198" y="0"/>
                      <a:pt x="4899" y="0"/>
                    </a:cubicBezTo>
                    <a:lnTo>
                      <a:pt x="321982" y="0"/>
                    </a:lnTo>
                    <a:cubicBezTo>
                      <a:pt x="324683" y="0"/>
                      <a:pt x="326880" y="2198"/>
                      <a:pt x="326880" y="4899"/>
                    </a:cubicBezTo>
                    <a:lnTo>
                      <a:pt x="326880" y="281814"/>
                    </a:lnTo>
                    <a:cubicBezTo>
                      <a:pt x="326907" y="284488"/>
                      <a:pt x="324709" y="286686"/>
                      <a:pt x="321982" y="286686"/>
                    </a:cubicBezTo>
                    <a:close/>
                  </a:path>
                </a:pathLst>
              </a:custGeom>
              <a:grpFill/>
              <a:ln w="2648" cap="flat">
                <a:noFill/>
                <a:prstDash val="solid"/>
                <a:miter/>
              </a:ln>
            </p:spPr>
            <p:txBody>
              <a:bodyPr rtlCol="0" anchor="ctr"/>
              <a:lstStyle/>
              <a:p>
                <a:endParaRPr lang="en-GB" dirty="0"/>
              </a:p>
            </p:txBody>
          </p:sp>
          <p:grpSp>
            <p:nvGrpSpPr>
              <p:cNvPr id="223" name="Grafik 102">
                <a:extLst>
                  <a:ext uri="{FF2B5EF4-FFF2-40B4-BE49-F238E27FC236}">
                    <a16:creationId xmlns:a16="http://schemas.microsoft.com/office/drawing/2014/main" id="{EFE3C09E-23B3-4200-A682-CFAA6AF6990B}"/>
                  </a:ext>
                </a:extLst>
              </p:cNvPr>
              <p:cNvGrpSpPr/>
              <p:nvPr/>
            </p:nvGrpSpPr>
            <p:grpSpPr>
              <a:xfrm>
                <a:off x="7084876" y="1754597"/>
                <a:ext cx="218317" cy="228194"/>
                <a:chOff x="7084876" y="1754597"/>
                <a:chExt cx="218317" cy="228194"/>
              </a:xfrm>
              <a:grpFill/>
            </p:grpSpPr>
            <p:grpSp>
              <p:nvGrpSpPr>
                <p:cNvPr id="224" name="Grafik 102">
                  <a:extLst>
                    <a:ext uri="{FF2B5EF4-FFF2-40B4-BE49-F238E27FC236}">
                      <a16:creationId xmlns:a16="http://schemas.microsoft.com/office/drawing/2014/main" id="{CE821327-C925-4E6B-9757-B2F287CC573F}"/>
                    </a:ext>
                  </a:extLst>
                </p:cNvPr>
                <p:cNvGrpSpPr/>
                <p:nvPr/>
              </p:nvGrpSpPr>
              <p:grpSpPr>
                <a:xfrm>
                  <a:off x="7084876" y="1918051"/>
                  <a:ext cx="217443" cy="64740"/>
                  <a:chOff x="7084876" y="1918051"/>
                  <a:chExt cx="217443" cy="64740"/>
                </a:xfrm>
                <a:grpFill/>
              </p:grpSpPr>
              <p:grpSp>
                <p:nvGrpSpPr>
                  <p:cNvPr id="235" name="Grafik 102">
                    <a:extLst>
                      <a:ext uri="{FF2B5EF4-FFF2-40B4-BE49-F238E27FC236}">
                        <a16:creationId xmlns:a16="http://schemas.microsoft.com/office/drawing/2014/main" id="{A8B14619-3F83-46DF-9670-62EA6F328236}"/>
                      </a:ext>
                    </a:extLst>
                  </p:cNvPr>
                  <p:cNvGrpSpPr/>
                  <p:nvPr/>
                </p:nvGrpSpPr>
                <p:grpSpPr>
                  <a:xfrm>
                    <a:off x="7084876" y="1918051"/>
                    <a:ext cx="217443" cy="9797"/>
                    <a:chOff x="7084876" y="1918051"/>
                    <a:chExt cx="217443" cy="9797"/>
                  </a:xfrm>
                  <a:grpFill/>
                </p:grpSpPr>
                <p:sp>
                  <p:nvSpPr>
                    <p:cNvPr id="237" name="Freihandform: Form 777">
                      <a:extLst>
                        <a:ext uri="{FF2B5EF4-FFF2-40B4-BE49-F238E27FC236}">
                          <a16:creationId xmlns:a16="http://schemas.microsoft.com/office/drawing/2014/main" id="{7EB60CD6-C5CE-4CD6-A6EF-7B34B9BF0BB4}"/>
                        </a:ext>
                      </a:extLst>
                    </p:cNvPr>
                    <p:cNvSpPr/>
                    <p:nvPr/>
                  </p:nvSpPr>
                  <p:spPr>
                    <a:xfrm>
                      <a:off x="7084876" y="1918051"/>
                      <a:ext cx="34237" cy="9797"/>
                    </a:xfrm>
                    <a:custGeom>
                      <a:avLst/>
                      <a:gdLst>
                        <a:gd name="connsiteX0" fmla="*/ 29339 w 34237"/>
                        <a:gd name="connsiteY0" fmla="*/ 9797 h 9797"/>
                        <a:gd name="connsiteX1" fmla="*/ 4899 w 34237"/>
                        <a:gd name="connsiteY1" fmla="*/ 9797 h 9797"/>
                        <a:gd name="connsiteX2" fmla="*/ 0 w 34237"/>
                        <a:gd name="connsiteY2" fmla="*/ 4899 h 9797"/>
                        <a:gd name="connsiteX3" fmla="*/ 4899 w 34237"/>
                        <a:gd name="connsiteY3" fmla="*/ 0 h 9797"/>
                        <a:gd name="connsiteX4" fmla="*/ 29339 w 34237"/>
                        <a:gd name="connsiteY4" fmla="*/ 0 h 9797"/>
                        <a:gd name="connsiteX5" fmla="*/ 34237 w 34237"/>
                        <a:gd name="connsiteY5" fmla="*/ 4899 h 9797"/>
                        <a:gd name="connsiteX6" fmla="*/ 29339 w 34237"/>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37" h="9797">
                          <a:moveTo>
                            <a:pt x="29339" y="9797"/>
                          </a:moveTo>
                          <a:lnTo>
                            <a:pt x="4899" y="9797"/>
                          </a:lnTo>
                          <a:cubicBezTo>
                            <a:pt x="2198" y="9797"/>
                            <a:pt x="0" y="7599"/>
                            <a:pt x="0" y="4899"/>
                          </a:cubicBezTo>
                          <a:cubicBezTo>
                            <a:pt x="0" y="2198"/>
                            <a:pt x="2198" y="0"/>
                            <a:pt x="4899" y="0"/>
                          </a:cubicBezTo>
                          <a:lnTo>
                            <a:pt x="29339" y="0"/>
                          </a:lnTo>
                          <a:cubicBezTo>
                            <a:pt x="32039" y="0"/>
                            <a:pt x="34237" y="2198"/>
                            <a:pt x="34237" y="4899"/>
                          </a:cubicBezTo>
                          <a:cubicBezTo>
                            <a:pt x="34264" y="7599"/>
                            <a:pt x="32066" y="9797"/>
                            <a:pt x="29339" y="9797"/>
                          </a:cubicBezTo>
                          <a:close/>
                        </a:path>
                      </a:pathLst>
                    </a:custGeom>
                    <a:grpFill/>
                    <a:ln w="2648" cap="flat">
                      <a:noFill/>
                      <a:prstDash val="solid"/>
                      <a:miter/>
                    </a:ln>
                  </p:spPr>
                  <p:txBody>
                    <a:bodyPr rtlCol="0" anchor="ctr"/>
                    <a:lstStyle/>
                    <a:p>
                      <a:endParaRPr lang="en-GB" dirty="0"/>
                    </a:p>
                  </p:txBody>
                </p:sp>
                <p:sp>
                  <p:nvSpPr>
                    <p:cNvPr id="238" name="Freihandform: Form 778">
                      <a:extLst>
                        <a:ext uri="{FF2B5EF4-FFF2-40B4-BE49-F238E27FC236}">
                          <a16:creationId xmlns:a16="http://schemas.microsoft.com/office/drawing/2014/main" id="{9AB0000B-FB33-4F41-88A0-1C87E8F98119}"/>
                        </a:ext>
                      </a:extLst>
                    </p:cNvPr>
                    <p:cNvSpPr/>
                    <p:nvPr/>
                  </p:nvSpPr>
                  <p:spPr>
                    <a:xfrm>
                      <a:off x="7152080" y="1918051"/>
                      <a:ext cx="150240" cy="9797"/>
                    </a:xfrm>
                    <a:custGeom>
                      <a:avLst/>
                      <a:gdLst>
                        <a:gd name="connsiteX0" fmla="*/ 145342 w 150240"/>
                        <a:gd name="connsiteY0" fmla="*/ 9797 h 9797"/>
                        <a:gd name="connsiteX1" fmla="*/ 4899 w 150240"/>
                        <a:gd name="connsiteY1" fmla="*/ 9797 h 9797"/>
                        <a:gd name="connsiteX2" fmla="*/ 0 w 150240"/>
                        <a:gd name="connsiteY2" fmla="*/ 4899 h 9797"/>
                        <a:gd name="connsiteX3" fmla="*/ 4899 w 150240"/>
                        <a:gd name="connsiteY3" fmla="*/ 0 h 9797"/>
                        <a:gd name="connsiteX4" fmla="*/ 145342 w 150240"/>
                        <a:gd name="connsiteY4" fmla="*/ 0 h 9797"/>
                        <a:gd name="connsiteX5" fmla="*/ 150241 w 150240"/>
                        <a:gd name="connsiteY5" fmla="*/ 4899 h 9797"/>
                        <a:gd name="connsiteX6" fmla="*/ 145342 w 150240"/>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240" h="9797">
                          <a:moveTo>
                            <a:pt x="145342" y="9797"/>
                          </a:moveTo>
                          <a:lnTo>
                            <a:pt x="4899" y="9797"/>
                          </a:lnTo>
                          <a:cubicBezTo>
                            <a:pt x="2198" y="9797"/>
                            <a:pt x="0" y="7599"/>
                            <a:pt x="0" y="4899"/>
                          </a:cubicBezTo>
                          <a:cubicBezTo>
                            <a:pt x="0" y="2198"/>
                            <a:pt x="2198" y="0"/>
                            <a:pt x="4899" y="0"/>
                          </a:cubicBezTo>
                          <a:lnTo>
                            <a:pt x="145342" y="0"/>
                          </a:lnTo>
                          <a:cubicBezTo>
                            <a:pt x="148043" y="0"/>
                            <a:pt x="150241" y="2198"/>
                            <a:pt x="150241" y="4899"/>
                          </a:cubicBezTo>
                          <a:cubicBezTo>
                            <a:pt x="150241" y="7599"/>
                            <a:pt x="148043" y="9797"/>
                            <a:pt x="145342" y="9797"/>
                          </a:cubicBezTo>
                          <a:close/>
                        </a:path>
                      </a:pathLst>
                    </a:custGeom>
                    <a:grpFill/>
                    <a:ln w="2648" cap="flat">
                      <a:noFill/>
                      <a:prstDash val="solid"/>
                      <a:miter/>
                    </a:ln>
                  </p:spPr>
                  <p:txBody>
                    <a:bodyPr rtlCol="0" anchor="ctr"/>
                    <a:lstStyle/>
                    <a:p>
                      <a:endParaRPr lang="en-GB" dirty="0"/>
                    </a:p>
                  </p:txBody>
                </p:sp>
              </p:grpSp>
              <p:sp>
                <p:nvSpPr>
                  <p:cNvPr id="236" name="Freihandform: Form 779">
                    <a:extLst>
                      <a:ext uri="{FF2B5EF4-FFF2-40B4-BE49-F238E27FC236}">
                        <a16:creationId xmlns:a16="http://schemas.microsoft.com/office/drawing/2014/main" id="{1E2ED22C-C823-4776-A3B5-1016C877770E}"/>
                      </a:ext>
                    </a:extLst>
                  </p:cNvPr>
                  <p:cNvSpPr/>
                  <p:nvPr/>
                </p:nvSpPr>
                <p:spPr>
                  <a:xfrm>
                    <a:off x="7152080" y="1972994"/>
                    <a:ext cx="105358" cy="9797"/>
                  </a:xfrm>
                  <a:custGeom>
                    <a:avLst/>
                    <a:gdLst>
                      <a:gd name="connsiteX0" fmla="*/ 100460 w 105358"/>
                      <a:gd name="connsiteY0" fmla="*/ 9797 h 9797"/>
                      <a:gd name="connsiteX1" fmla="*/ 4899 w 105358"/>
                      <a:gd name="connsiteY1" fmla="*/ 9797 h 9797"/>
                      <a:gd name="connsiteX2" fmla="*/ 0 w 105358"/>
                      <a:gd name="connsiteY2" fmla="*/ 4899 h 9797"/>
                      <a:gd name="connsiteX3" fmla="*/ 4899 w 105358"/>
                      <a:gd name="connsiteY3" fmla="*/ 0 h 9797"/>
                      <a:gd name="connsiteX4" fmla="*/ 100460 w 105358"/>
                      <a:gd name="connsiteY4" fmla="*/ 0 h 9797"/>
                      <a:gd name="connsiteX5" fmla="*/ 105359 w 105358"/>
                      <a:gd name="connsiteY5" fmla="*/ 4899 h 9797"/>
                      <a:gd name="connsiteX6" fmla="*/ 100460 w 105358"/>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358" h="9797">
                        <a:moveTo>
                          <a:pt x="100460" y="9797"/>
                        </a:moveTo>
                        <a:lnTo>
                          <a:pt x="4899" y="9797"/>
                        </a:lnTo>
                        <a:cubicBezTo>
                          <a:pt x="2198" y="9797"/>
                          <a:pt x="0" y="7599"/>
                          <a:pt x="0" y="4899"/>
                        </a:cubicBezTo>
                        <a:cubicBezTo>
                          <a:pt x="0" y="2198"/>
                          <a:pt x="2198" y="0"/>
                          <a:pt x="4899" y="0"/>
                        </a:cubicBezTo>
                        <a:lnTo>
                          <a:pt x="100460" y="0"/>
                        </a:lnTo>
                        <a:cubicBezTo>
                          <a:pt x="103161" y="0"/>
                          <a:pt x="105359" y="2198"/>
                          <a:pt x="105359" y="4899"/>
                        </a:cubicBezTo>
                        <a:cubicBezTo>
                          <a:pt x="105359" y="7599"/>
                          <a:pt x="103161" y="9797"/>
                          <a:pt x="100460" y="9797"/>
                        </a:cubicBezTo>
                        <a:close/>
                      </a:path>
                    </a:pathLst>
                  </a:custGeom>
                  <a:grpFill/>
                  <a:ln w="2648" cap="flat">
                    <a:noFill/>
                    <a:prstDash val="solid"/>
                    <a:miter/>
                  </a:ln>
                </p:spPr>
                <p:txBody>
                  <a:bodyPr rtlCol="0" anchor="ctr"/>
                  <a:lstStyle/>
                  <a:p>
                    <a:endParaRPr lang="en-GB" dirty="0"/>
                  </a:p>
                </p:txBody>
              </p:sp>
            </p:grpSp>
            <p:grpSp>
              <p:nvGrpSpPr>
                <p:cNvPr id="225" name="Grafik 102">
                  <a:extLst>
                    <a:ext uri="{FF2B5EF4-FFF2-40B4-BE49-F238E27FC236}">
                      <a16:creationId xmlns:a16="http://schemas.microsoft.com/office/drawing/2014/main" id="{83E2D331-CDE9-404E-B053-DA0F8F411F57}"/>
                    </a:ext>
                  </a:extLst>
                </p:cNvPr>
                <p:cNvGrpSpPr/>
                <p:nvPr/>
              </p:nvGrpSpPr>
              <p:grpSpPr>
                <a:xfrm>
                  <a:off x="7084876" y="1809355"/>
                  <a:ext cx="218317" cy="64740"/>
                  <a:chOff x="7084876" y="1809355"/>
                  <a:chExt cx="218317" cy="64740"/>
                </a:xfrm>
                <a:grpFill/>
              </p:grpSpPr>
              <p:grpSp>
                <p:nvGrpSpPr>
                  <p:cNvPr id="229" name="Grafik 102">
                    <a:extLst>
                      <a:ext uri="{FF2B5EF4-FFF2-40B4-BE49-F238E27FC236}">
                        <a16:creationId xmlns:a16="http://schemas.microsoft.com/office/drawing/2014/main" id="{75BB0EF0-9922-47FF-939F-41D4212CF2D7}"/>
                      </a:ext>
                    </a:extLst>
                  </p:cNvPr>
                  <p:cNvGrpSpPr/>
                  <p:nvPr/>
                </p:nvGrpSpPr>
                <p:grpSpPr>
                  <a:xfrm>
                    <a:off x="7084876" y="1809355"/>
                    <a:ext cx="217443" cy="9797"/>
                    <a:chOff x="7084876" y="1809355"/>
                    <a:chExt cx="217443" cy="9797"/>
                  </a:xfrm>
                  <a:grpFill/>
                </p:grpSpPr>
                <p:sp>
                  <p:nvSpPr>
                    <p:cNvPr id="233" name="Freihandform: Form 782">
                      <a:extLst>
                        <a:ext uri="{FF2B5EF4-FFF2-40B4-BE49-F238E27FC236}">
                          <a16:creationId xmlns:a16="http://schemas.microsoft.com/office/drawing/2014/main" id="{5CE0DC42-4DB1-4152-BCF9-0A707F83C44A}"/>
                        </a:ext>
                      </a:extLst>
                    </p:cNvPr>
                    <p:cNvSpPr/>
                    <p:nvPr/>
                  </p:nvSpPr>
                  <p:spPr>
                    <a:xfrm>
                      <a:off x="7084876" y="1809355"/>
                      <a:ext cx="34237" cy="9797"/>
                    </a:xfrm>
                    <a:custGeom>
                      <a:avLst/>
                      <a:gdLst>
                        <a:gd name="connsiteX0" fmla="*/ 29339 w 34237"/>
                        <a:gd name="connsiteY0" fmla="*/ 9797 h 9797"/>
                        <a:gd name="connsiteX1" fmla="*/ 4899 w 34237"/>
                        <a:gd name="connsiteY1" fmla="*/ 9797 h 9797"/>
                        <a:gd name="connsiteX2" fmla="*/ 0 w 34237"/>
                        <a:gd name="connsiteY2" fmla="*/ 4899 h 9797"/>
                        <a:gd name="connsiteX3" fmla="*/ 4899 w 34237"/>
                        <a:gd name="connsiteY3" fmla="*/ 0 h 9797"/>
                        <a:gd name="connsiteX4" fmla="*/ 29339 w 34237"/>
                        <a:gd name="connsiteY4" fmla="*/ 0 h 9797"/>
                        <a:gd name="connsiteX5" fmla="*/ 34237 w 34237"/>
                        <a:gd name="connsiteY5" fmla="*/ 4899 h 9797"/>
                        <a:gd name="connsiteX6" fmla="*/ 29339 w 34237"/>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37" h="9797">
                          <a:moveTo>
                            <a:pt x="29339" y="9797"/>
                          </a:moveTo>
                          <a:lnTo>
                            <a:pt x="4899" y="9797"/>
                          </a:lnTo>
                          <a:cubicBezTo>
                            <a:pt x="2198" y="9797"/>
                            <a:pt x="0" y="7599"/>
                            <a:pt x="0" y="4899"/>
                          </a:cubicBezTo>
                          <a:cubicBezTo>
                            <a:pt x="0" y="2198"/>
                            <a:pt x="2198" y="0"/>
                            <a:pt x="4899" y="0"/>
                          </a:cubicBezTo>
                          <a:lnTo>
                            <a:pt x="29339" y="0"/>
                          </a:lnTo>
                          <a:cubicBezTo>
                            <a:pt x="32039" y="0"/>
                            <a:pt x="34237" y="2198"/>
                            <a:pt x="34237" y="4899"/>
                          </a:cubicBezTo>
                          <a:cubicBezTo>
                            <a:pt x="34264" y="7599"/>
                            <a:pt x="32066" y="9797"/>
                            <a:pt x="29339" y="9797"/>
                          </a:cubicBezTo>
                          <a:close/>
                        </a:path>
                      </a:pathLst>
                    </a:custGeom>
                    <a:grpFill/>
                    <a:ln w="2648" cap="flat">
                      <a:noFill/>
                      <a:prstDash val="solid"/>
                      <a:miter/>
                    </a:ln>
                  </p:spPr>
                  <p:txBody>
                    <a:bodyPr rtlCol="0" anchor="ctr"/>
                    <a:lstStyle/>
                    <a:p>
                      <a:endParaRPr lang="en-GB" dirty="0"/>
                    </a:p>
                  </p:txBody>
                </p:sp>
                <p:sp>
                  <p:nvSpPr>
                    <p:cNvPr id="234" name="Freihandform: Form 783">
                      <a:extLst>
                        <a:ext uri="{FF2B5EF4-FFF2-40B4-BE49-F238E27FC236}">
                          <a16:creationId xmlns:a16="http://schemas.microsoft.com/office/drawing/2014/main" id="{1A554CF9-4FB8-4D62-B6F9-5D3DB436D946}"/>
                        </a:ext>
                      </a:extLst>
                    </p:cNvPr>
                    <p:cNvSpPr/>
                    <p:nvPr/>
                  </p:nvSpPr>
                  <p:spPr>
                    <a:xfrm>
                      <a:off x="7152080" y="1809355"/>
                      <a:ext cx="150240" cy="9797"/>
                    </a:xfrm>
                    <a:custGeom>
                      <a:avLst/>
                      <a:gdLst>
                        <a:gd name="connsiteX0" fmla="*/ 145342 w 150240"/>
                        <a:gd name="connsiteY0" fmla="*/ 9797 h 9797"/>
                        <a:gd name="connsiteX1" fmla="*/ 4899 w 150240"/>
                        <a:gd name="connsiteY1" fmla="*/ 9797 h 9797"/>
                        <a:gd name="connsiteX2" fmla="*/ 0 w 150240"/>
                        <a:gd name="connsiteY2" fmla="*/ 4899 h 9797"/>
                        <a:gd name="connsiteX3" fmla="*/ 4899 w 150240"/>
                        <a:gd name="connsiteY3" fmla="*/ 0 h 9797"/>
                        <a:gd name="connsiteX4" fmla="*/ 145342 w 150240"/>
                        <a:gd name="connsiteY4" fmla="*/ 0 h 9797"/>
                        <a:gd name="connsiteX5" fmla="*/ 150241 w 150240"/>
                        <a:gd name="connsiteY5" fmla="*/ 4899 h 9797"/>
                        <a:gd name="connsiteX6" fmla="*/ 145342 w 150240"/>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240" h="9797">
                          <a:moveTo>
                            <a:pt x="145342" y="9797"/>
                          </a:moveTo>
                          <a:lnTo>
                            <a:pt x="4899" y="9797"/>
                          </a:lnTo>
                          <a:cubicBezTo>
                            <a:pt x="2198" y="9797"/>
                            <a:pt x="0" y="7599"/>
                            <a:pt x="0" y="4899"/>
                          </a:cubicBezTo>
                          <a:cubicBezTo>
                            <a:pt x="0" y="2198"/>
                            <a:pt x="2198" y="0"/>
                            <a:pt x="4899" y="0"/>
                          </a:cubicBezTo>
                          <a:lnTo>
                            <a:pt x="145342" y="0"/>
                          </a:lnTo>
                          <a:cubicBezTo>
                            <a:pt x="148043" y="0"/>
                            <a:pt x="150241" y="2198"/>
                            <a:pt x="150241" y="4899"/>
                          </a:cubicBezTo>
                          <a:cubicBezTo>
                            <a:pt x="150241" y="7599"/>
                            <a:pt x="148043" y="9797"/>
                            <a:pt x="145342" y="9797"/>
                          </a:cubicBezTo>
                          <a:close/>
                        </a:path>
                      </a:pathLst>
                    </a:custGeom>
                    <a:grpFill/>
                    <a:ln w="2648" cap="flat">
                      <a:noFill/>
                      <a:prstDash val="solid"/>
                      <a:miter/>
                    </a:ln>
                  </p:spPr>
                  <p:txBody>
                    <a:bodyPr rtlCol="0" anchor="ctr"/>
                    <a:lstStyle/>
                    <a:p>
                      <a:endParaRPr lang="en-GB" dirty="0"/>
                    </a:p>
                  </p:txBody>
                </p:sp>
              </p:grpSp>
              <p:grpSp>
                <p:nvGrpSpPr>
                  <p:cNvPr id="230" name="Grafik 102">
                    <a:extLst>
                      <a:ext uri="{FF2B5EF4-FFF2-40B4-BE49-F238E27FC236}">
                        <a16:creationId xmlns:a16="http://schemas.microsoft.com/office/drawing/2014/main" id="{6C566B07-795F-442D-AFB6-241EBF60CBB9}"/>
                      </a:ext>
                    </a:extLst>
                  </p:cNvPr>
                  <p:cNvGrpSpPr/>
                  <p:nvPr/>
                </p:nvGrpSpPr>
                <p:grpSpPr>
                  <a:xfrm>
                    <a:off x="7084876" y="1864299"/>
                    <a:ext cx="218317" cy="9797"/>
                    <a:chOff x="7084876" y="1864299"/>
                    <a:chExt cx="218317" cy="9797"/>
                  </a:xfrm>
                  <a:grpFill/>
                </p:grpSpPr>
                <p:sp>
                  <p:nvSpPr>
                    <p:cNvPr id="231" name="Freihandform: Form 785">
                      <a:extLst>
                        <a:ext uri="{FF2B5EF4-FFF2-40B4-BE49-F238E27FC236}">
                          <a16:creationId xmlns:a16="http://schemas.microsoft.com/office/drawing/2014/main" id="{BB2F3682-9FD8-4F8F-8630-333C97A3DC06}"/>
                        </a:ext>
                      </a:extLst>
                    </p:cNvPr>
                    <p:cNvSpPr/>
                    <p:nvPr/>
                  </p:nvSpPr>
                  <p:spPr>
                    <a:xfrm>
                      <a:off x="7084876" y="1864299"/>
                      <a:ext cx="34237" cy="9797"/>
                    </a:xfrm>
                    <a:custGeom>
                      <a:avLst/>
                      <a:gdLst>
                        <a:gd name="connsiteX0" fmla="*/ 29339 w 34237"/>
                        <a:gd name="connsiteY0" fmla="*/ 9797 h 9797"/>
                        <a:gd name="connsiteX1" fmla="*/ 4899 w 34237"/>
                        <a:gd name="connsiteY1" fmla="*/ 9797 h 9797"/>
                        <a:gd name="connsiteX2" fmla="*/ 0 w 34237"/>
                        <a:gd name="connsiteY2" fmla="*/ 4899 h 9797"/>
                        <a:gd name="connsiteX3" fmla="*/ 4899 w 34237"/>
                        <a:gd name="connsiteY3" fmla="*/ 0 h 9797"/>
                        <a:gd name="connsiteX4" fmla="*/ 29339 w 34237"/>
                        <a:gd name="connsiteY4" fmla="*/ 0 h 9797"/>
                        <a:gd name="connsiteX5" fmla="*/ 34237 w 34237"/>
                        <a:gd name="connsiteY5" fmla="*/ 4899 h 9797"/>
                        <a:gd name="connsiteX6" fmla="*/ 29339 w 34237"/>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37" h="9797">
                          <a:moveTo>
                            <a:pt x="29339" y="9797"/>
                          </a:moveTo>
                          <a:lnTo>
                            <a:pt x="4899" y="9797"/>
                          </a:lnTo>
                          <a:cubicBezTo>
                            <a:pt x="2198" y="9797"/>
                            <a:pt x="0" y="7599"/>
                            <a:pt x="0" y="4899"/>
                          </a:cubicBezTo>
                          <a:cubicBezTo>
                            <a:pt x="0" y="2198"/>
                            <a:pt x="2198" y="0"/>
                            <a:pt x="4899" y="0"/>
                          </a:cubicBezTo>
                          <a:lnTo>
                            <a:pt x="29339" y="0"/>
                          </a:lnTo>
                          <a:cubicBezTo>
                            <a:pt x="32039" y="0"/>
                            <a:pt x="34237" y="2198"/>
                            <a:pt x="34237" y="4899"/>
                          </a:cubicBezTo>
                          <a:cubicBezTo>
                            <a:pt x="34237" y="7599"/>
                            <a:pt x="32066" y="9797"/>
                            <a:pt x="29339" y="9797"/>
                          </a:cubicBezTo>
                          <a:close/>
                        </a:path>
                      </a:pathLst>
                    </a:custGeom>
                    <a:grpFill/>
                    <a:ln w="2648" cap="flat">
                      <a:noFill/>
                      <a:prstDash val="solid"/>
                      <a:miter/>
                    </a:ln>
                  </p:spPr>
                  <p:txBody>
                    <a:bodyPr rtlCol="0" anchor="ctr"/>
                    <a:lstStyle/>
                    <a:p>
                      <a:endParaRPr lang="en-GB" dirty="0"/>
                    </a:p>
                  </p:txBody>
                </p:sp>
                <p:sp>
                  <p:nvSpPr>
                    <p:cNvPr id="232" name="Freihandform: Form 786">
                      <a:extLst>
                        <a:ext uri="{FF2B5EF4-FFF2-40B4-BE49-F238E27FC236}">
                          <a16:creationId xmlns:a16="http://schemas.microsoft.com/office/drawing/2014/main" id="{F6A5D724-EAC0-41BA-A8EF-981775B454DD}"/>
                        </a:ext>
                      </a:extLst>
                    </p:cNvPr>
                    <p:cNvSpPr/>
                    <p:nvPr/>
                  </p:nvSpPr>
                  <p:spPr>
                    <a:xfrm>
                      <a:off x="7152080" y="1864299"/>
                      <a:ext cx="151114" cy="9797"/>
                    </a:xfrm>
                    <a:custGeom>
                      <a:avLst/>
                      <a:gdLst>
                        <a:gd name="connsiteX0" fmla="*/ 146216 w 151114"/>
                        <a:gd name="connsiteY0" fmla="*/ 9797 h 9797"/>
                        <a:gd name="connsiteX1" fmla="*/ 4899 w 151114"/>
                        <a:gd name="connsiteY1" fmla="*/ 9797 h 9797"/>
                        <a:gd name="connsiteX2" fmla="*/ 0 w 151114"/>
                        <a:gd name="connsiteY2" fmla="*/ 4899 h 9797"/>
                        <a:gd name="connsiteX3" fmla="*/ 4899 w 151114"/>
                        <a:gd name="connsiteY3" fmla="*/ 0 h 9797"/>
                        <a:gd name="connsiteX4" fmla="*/ 146216 w 151114"/>
                        <a:gd name="connsiteY4" fmla="*/ 0 h 9797"/>
                        <a:gd name="connsiteX5" fmla="*/ 151114 w 151114"/>
                        <a:gd name="connsiteY5" fmla="*/ 4899 h 9797"/>
                        <a:gd name="connsiteX6" fmla="*/ 146216 w 151114"/>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114" h="9797">
                          <a:moveTo>
                            <a:pt x="146216" y="9797"/>
                          </a:moveTo>
                          <a:lnTo>
                            <a:pt x="4899" y="9797"/>
                          </a:lnTo>
                          <a:cubicBezTo>
                            <a:pt x="2198" y="9797"/>
                            <a:pt x="0" y="7599"/>
                            <a:pt x="0" y="4899"/>
                          </a:cubicBezTo>
                          <a:cubicBezTo>
                            <a:pt x="0" y="2198"/>
                            <a:pt x="2198" y="0"/>
                            <a:pt x="4899" y="0"/>
                          </a:cubicBezTo>
                          <a:lnTo>
                            <a:pt x="146216" y="0"/>
                          </a:lnTo>
                          <a:cubicBezTo>
                            <a:pt x="148917" y="0"/>
                            <a:pt x="151114" y="2198"/>
                            <a:pt x="151114" y="4899"/>
                          </a:cubicBezTo>
                          <a:cubicBezTo>
                            <a:pt x="151114" y="7599"/>
                            <a:pt x="148917" y="9797"/>
                            <a:pt x="146216" y="9797"/>
                          </a:cubicBezTo>
                          <a:close/>
                        </a:path>
                      </a:pathLst>
                    </a:custGeom>
                    <a:grpFill/>
                    <a:ln w="2648" cap="flat">
                      <a:noFill/>
                      <a:prstDash val="solid"/>
                      <a:miter/>
                    </a:ln>
                  </p:spPr>
                  <p:txBody>
                    <a:bodyPr rtlCol="0" anchor="ctr"/>
                    <a:lstStyle/>
                    <a:p>
                      <a:endParaRPr lang="en-GB" dirty="0"/>
                    </a:p>
                  </p:txBody>
                </p:sp>
              </p:grpSp>
            </p:grpSp>
            <p:grpSp>
              <p:nvGrpSpPr>
                <p:cNvPr id="226" name="Grafik 102">
                  <a:extLst>
                    <a:ext uri="{FF2B5EF4-FFF2-40B4-BE49-F238E27FC236}">
                      <a16:creationId xmlns:a16="http://schemas.microsoft.com/office/drawing/2014/main" id="{31831F12-83E4-489A-AB0E-9AD8C5ECFD2E}"/>
                    </a:ext>
                  </a:extLst>
                </p:cNvPr>
                <p:cNvGrpSpPr/>
                <p:nvPr/>
              </p:nvGrpSpPr>
              <p:grpSpPr>
                <a:xfrm>
                  <a:off x="7085326" y="1754597"/>
                  <a:ext cx="217443" cy="9797"/>
                  <a:chOff x="7085326" y="1754597"/>
                  <a:chExt cx="217443" cy="9797"/>
                </a:xfrm>
                <a:grpFill/>
              </p:grpSpPr>
              <p:sp>
                <p:nvSpPr>
                  <p:cNvPr id="227" name="Freihandform: Form 788">
                    <a:extLst>
                      <a:ext uri="{FF2B5EF4-FFF2-40B4-BE49-F238E27FC236}">
                        <a16:creationId xmlns:a16="http://schemas.microsoft.com/office/drawing/2014/main" id="{9D6EB7B6-1695-4D8F-9578-494B8F58ACDE}"/>
                      </a:ext>
                    </a:extLst>
                  </p:cNvPr>
                  <p:cNvSpPr/>
                  <p:nvPr/>
                </p:nvSpPr>
                <p:spPr>
                  <a:xfrm>
                    <a:off x="7085326" y="1754597"/>
                    <a:ext cx="34237" cy="9797"/>
                  </a:xfrm>
                  <a:custGeom>
                    <a:avLst/>
                    <a:gdLst>
                      <a:gd name="connsiteX0" fmla="*/ 29339 w 34237"/>
                      <a:gd name="connsiteY0" fmla="*/ 9797 h 9797"/>
                      <a:gd name="connsiteX1" fmla="*/ 4899 w 34237"/>
                      <a:gd name="connsiteY1" fmla="*/ 9797 h 9797"/>
                      <a:gd name="connsiteX2" fmla="*/ 0 w 34237"/>
                      <a:gd name="connsiteY2" fmla="*/ 4899 h 9797"/>
                      <a:gd name="connsiteX3" fmla="*/ 4899 w 34237"/>
                      <a:gd name="connsiteY3" fmla="*/ 0 h 9797"/>
                      <a:gd name="connsiteX4" fmla="*/ 29339 w 34237"/>
                      <a:gd name="connsiteY4" fmla="*/ 0 h 9797"/>
                      <a:gd name="connsiteX5" fmla="*/ 34237 w 34237"/>
                      <a:gd name="connsiteY5" fmla="*/ 4899 h 9797"/>
                      <a:gd name="connsiteX6" fmla="*/ 29339 w 34237"/>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37" h="9797">
                        <a:moveTo>
                          <a:pt x="29339" y="9797"/>
                        </a:moveTo>
                        <a:lnTo>
                          <a:pt x="4899" y="9797"/>
                        </a:lnTo>
                        <a:cubicBezTo>
                          <a:pt x="2198" y="9797"/>
                          <a:pt x="0" y="7599"/>
                          <a:pt x="0" y="4899"/>
                        </a:cubicBezTo>
                        <a:cubicBezTo>
                          <a:pt x="0" y="2198"/>
                          <a:pt x="2198" y="0"/>
                          <a:pt x="4899" y="0"/>
                        </a:cubicBezTo>
                        <a:lnTo>
                          <a:pt x="29339" y="0"/>
                        </a:lnTo>
                        <a:cubicBezTo>
                          <a:pt x="32039" y="0"/>
                          <a:pt x="34237" y="2198"/>
                          <a:pt x="34237" y="4899"/>
                        </a:cubicBezTo>
                        <a:cubicBezTo>
                          <a:pt x="34237" y="7599"/>
                          <a:pt x="32039" y="9797"/>
                          <a:pt x="29339" y="9797"/>
                        </a:cubicBezTo>
                        <a:close/>
                      </a:path>
                    </a:pathLst>
                  </a:custGeom>
                  <a:grpFill/>
                  <a:ln w="2648" cap="flat">
                    <a:noFill/>
                    <a:prstDash val="solid"/>
                    <a:miter/>
                  </a:ln>
                </p:spPr>
                <p:txBody>
                  <a:bodyPr rtlCol="0" anchor="ctr"/>
                  <a:lstStyle/>
                  <a:p>
                    <a:endParaRPr lang="en-GB" dirty="0"/>
                  </a:p>
                </p:txBody>
              </p:sp>
              <p:sp>
                <p:nvSpPr>
                  <p:cNvPr id="228" name="Freihandform: Form 789">
                    <a:extLst>
                      <a:ext uri="{FF2B5EF4-FFF2-40B4-BE49-F238E27FC236}">
                        <a16:creationId xmlns:a16="http://schemas.microsoft.com/office/drawing/2014/main" id="{4192C88E-8FB1-4B87-B3BB-E6D9C1172C3A}"/>
                      </a:ext>
                    </a:extLst>
                  </p:cNvPr>
                  <p:cNvSpPr/>
                  <p:nvPr/>
                </p:nvSpPr>
                <p:spPr>
                  <a:xfrm>
                    <a:off x="7152530" y="1754597"/>
                    <a:ext cx="150240" cy="9797"/>
                  </a:xfrm>
                  <a:custGeom>
                    <a:avLst/>
                    <a:gdLst>
                      <a:gd name="connsiteX0" fmla="*/ 145342 w 150240"/>
                      <a:gd name="connsiteY0" fmla="*/ 9797 h 9797"/>
                      <a:gd name="connsiteX1" fmla="*/ 4899 w 150240"/>
                      <a:gd name="connsiteY1" fmla="*/ 9797 h 9797"/>
                      <a:gd name="connsiteX2" fmla="*/ 0 w 150240"/>
                      <a:gd name="connsiteY2" fmla="*/ 4899 h 9797"/>
                      <a:gd name="connsiteX3" fmla="*/ 4899 w 150240"/>
                      <a:gd name="connsiteY3" fmla="*/ 0 h 9797"/>
                      <a:gd name="connsiteX4" fmla="*/ 145342 w 150240"/>
                      <a:gd name="connsiteY4" fmla="*/ 0 h 9797"/>
                      <a:gd name="connsiteX5" fmla="*/ 150241 w 150240"/>
                      <a:gd name="connsiteY5" fmla="*/ 4899 h 9797"/>
                      <a:gd name="connsiteX6" fmla="*/ 145342 w 150240"/>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0240" h="9797">
                        <a:moveTo>
                          <a:pt x="145342" y="9797"/>
                        </a:moveTo>
                        <a:lnTo>
                          <a:pt x="4899" y="9797"/>
                        </a:lnTo>
                        <a:cubicBezTo>
                          <a:pt x="2198" y="9797"/>
                          <a:pt x="0" y="7599"/>
                          <a:pt x="0" y="4899"/>
                        </a:cubicBezTo>
                        <a:cubicBezTo>
                          <a:pt x="0" y="2198"/>
                          <a:pt x="2198" y="0"/>
                          <a:pt x="4899" y="0"/>
                        </a:cubicBezTo>
                        <a:lnTo>
                          <a:pt x="145342" y="0"/>
                        </a:lnTo>
                        <a:cubicBezTo>
                          <a:pt x="148043" y="0"/>
                          <a:pt x="150241" y="2198"/>
                          <a:pt x="150241" y="4899"/>
                        </a:cubicBezTo>
                        <a:cubicBezTo>
                          <a:pt x="150241" y="7599"/>
                          <a:pt x="148043" y="9797"/>
                          <a:pt x="145342" y="9797"/>
                        </a:cubicBezTo>
                        <a:close/>
                      </a:path>
                    </a:pathLst>
                  </a:custGeom>
                  <a:grpFill/>
                  <a:ln w="2648" cap="flat">
                    <a:noFill/>
                    <a:prstDash val="solid"/>
                    <a:miter/>
                  </a:ln>
                </p:spPr>
                <p:txBody>
                  <a:bodyPr rtlCol="0" anchor="ctr"/>
                  <a:lstStyle/>
                  <a:p>
                    <a:endParaRPr lang="en-GB" dirty="0"/>
                  </a:p>
                </p:txBody>
              </p:sp>
            </p:grpSp>
          </p:grpSp>
        </p:grpSp>
      </p:grpSp>
      <p:grpSp>
        <p:nvGrpSpPr>
          <p:cNvPr id="248" name="Group 247">
            <a:extLst>
              <a:ext uri="{FF2B5EF4-FFF2-40B4-BE49-F238E27FC236}">
                <a16:creationId xmlns:a16="http://schemas.microsoft.com/office/drawing/2014/main" id="{1051F782-375E-45E2-B245-BD1B0737D96C}"/>
              </a:ext>
            </a:extLst>
          </p:cNvPr>
          <p:cNvGrpSpPr>
            <a:grpSpLocks noChangeAspect="1"/>
          </p:cNvGrpSpPr>
          <p:nvPr/>
        </p:nvGrpSpPr>
        <p:grpSpPr>
          <a:xfrm>
            <a:off x="3704273" y="3229231"/>
            <a:ext cx="506182" cy="367673"/>
            <a:chOff x="7720738" y="1696850"/>
            <a:chExt cx="582996" cy="423471"/>
          </a:xfrm>
        </p:grpSpPr>
        <p:grpSp>
          <p:nvGrpSpPr>
            <p:cNvPr id="249" name="Grafik 102">
              <a:extLst>
                <a:ext uri="{FF2B5EF4-FFF2-40B4-BE49-F238E27FC236}">
                  <a16:creationId xmlns:a16="http://schemas.microsoft.com/office/drawing/2014/main" id="{2F601A51-16F2-4A72-BCF1-6734351CA1FF}"/>
                </a:ext>
              </a:extLst>
            </p:cNvPr>
            <p:cNvGrpSpPr/>
            <p:nvPr/>
          </p:nvGrpSpPr>
          <p:grpSpPr>
            <a:xfrm>
              <a:off x="7921117" y="1696850"/>
              <a:ext cx="382617" cy="382088"/>
              <a:chOff x="7921129" y="1696847"/>
              <a:chExt cx="382618" cy="382088"/>
            </a:xfrm>
            <a:solidFill>
              <a:schemeClr val="accent1"/>
            </a:solidFill>
          </p:grpSpPr>
          <p:grpSp>
            <p:nvGrpSpPr>
              <p:cNvPr id="255" name="Grafik 102">
                <a:extLst>
                  <a:ext uri="{FF2B5EF4-FFF2-40B4-BE49-F238E27FC236}">
                    <a16:creationId xmlns:a16="http://schemas.microsoft.com/office/drawing/2014/main" id="{812A7EFC-AE80-47BD-A860-1F250036663F}"/>
                  </a:ext>
                </a:extLst>
              </p:cNvPr>
              <p:cNvGrpSpPr/>
              <p:nvPr/>
            </p:nvGrpSpPr>
            <p:grpSpPr>
              <a:xfrm>
                <a:off x="8030777" y="1848147"/>
                <a:ext cx="156860" cy="93019"/>
                <a:chOff x="8030777" y="1848147"/>
                <a:chExt cx="156860" cy="93019"/>
              </a:xfrm>
              <a:solidFill>
                <a:schemeClr val="accent1"/>
              </a:solidFill>
            </p:grpSpPr>
            <p:sp>
              <p:nvSpPr>
                <p:cNvPr id="258" name="Freihandform: Form 794">
                  <a:extLst>
                    <a:ext uri="{FF2B5EF4-FFF2-40B4-BE49-F238E27FC236}">
                      <a16:creationId xmlns:a16="http://schemas.microsoft.com/office/drawing/2014/main" id="{0656771B-DA2C-4F4A-924D-0A84E27548FB}"/>
                    </a:ext>
                  </a:extLst>
                </p:cNvPr>
                <p:cNvSpPr/>
                <p:nvPr/>
              </p:nvSpPr>
              <p:spPr>
                <a:xfrm>
                  <a:off x="8059057" y="1904387"/>
                  <a:ext cx="9797" cy="36779"/>
                </a:xfrm>
                <a:custGeom>
                  <a:avLst/>
                  <a:gdLst>
                    <a:gd name="connsiteX0" fmla="*/ 4899 w 9797"/>
                    <a:gd name="connsiteY0" fmla="*/ 36779 h 36779"/>
                    <a:gd name="connsiteX1" fmla="*/ 0 w 9797"/>
                    <a:gd name="connsiteY1" fmla="*/ 31880 h 36779"/>
                    <a:gd name="connsiteX2" fmla="*/ 0 w 9797"/>
                    <a:gd name="connsiteY2" fmla="*/ 4899 h 36779"/>
                    <a:gd name="connsiteX3" fmla="*/ 4899 w 9797"/>
                    <a:gd name="connsiteY3" fmla="*/ 0 h 36779"/>
                    <a:gd name="connsiteX4" fmla="*/ 9797 w 9797"/>
                    <a:gd name="connsiteY4" fmla="*/ 4899 h 36779"/>
                    <a:gd name="connsiteX5" fmla="*/ 9797 w 9797"/>
                    <a:gd name="connsiteY5" fmla="*/ 31880 h 36779"/>
                    <a:gd name="connsiteX6" fmla="*/ 4899 w 9797"/>
                    <a:gd name="connsiteY6" fmla="*/ 36779 h 3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36779">
                      <a:moveTo>
                        <a:pt x="4899" y="36779"/>
                      </a:moveTo>
                      <a:cubicBezTo>
                        <a:pt x="2198" y="36779"/>
                        <a:pt x="0" y="34581"/>
                        <a:pt x="0" y="31880"/>
                      </a:cubicBezTo>
                      <a:lnTo>
                        <a:pt x="0" y="4899"/>
                      </a:lnTo>
                      <a:cubicBezTo>
                        <a:pt x="0" y="2198"/>
                        <a:pt x="2198" y="0"/>
                        <a:pt x="4899" y="0"/>
                      </a:cubicBezTo>
                      <a:cubicBezTo>
                        <a:pt x="7599" y="0"/>
                        <a:pt x="9797" y="2198"/>
                        <a:pt x="9797" y="4899"/>
                      </a:cubicBezTo>
                      <a:lnTo>
                        <a:pt x="9797" y="31880"/>
                      </a:lnTo>
                      <a:cubicBezTo>
                        <a:pt x="9797" y="34581"/>
                        <a:pt x="7599" y="36779"/>
                        <a:pt x="4899" y="36779"/>
                      </a:cubicBezTo>
                      <a:close/>
                    </a:path>
                  </a:pathLst>
                </a:custGeom>
                <a:solidFill>
                  <a:schemeClr val="accent1"/>
                </a:solidFill>
                <a:ln w="2648" cap="flat">
                  <a:noFill/>
                  <a:prstDash val="solid"/>
                  <a:miter/>
                </a:ln>
              </p:spPr>
              <p:txBody>
                <a:bodyPr rtlCol="0" anchor="ctr"/>
                <a:lstStyle/>
                <a:p>
                  <a:endParaRPr lang="en-GB" dirty="0"/>
                </a:p>
              </p:txBody>
            </p:sp>
            <p:sp>
              <p:nvSpPr>
                <p:cNvPr id="259" name="Freihandform: Form 795">
                  <a:extLst>
                    <a:ext uri="{FF2B5EF4-FFF2-40B4-BE49-F238E27FC236}">
                      <a16:creationId xmlns:a16="http://schemas.microsoft.com/office/drawing/2014/main" id="{E3C52240-F478-4AE5-B89C-7CD4F9971BC6}"/>
                    </a:ext>
                  </a:extLst>
                </p:cNvPr>
                <p:cNvSpPr/>
                <p:nvPr/>
              </p:nvSpPr>
              <p:spPr>
                <a:xfrm>
                  <a:off x="8030777" y="1848147"/>
                  <a:ext cx="66144" cy="93019"/>
                </a:xfrm>
                <a:custGeom>
                  <a:avLst/>
                  <a:gdLst>
                    <a:gd name="connsiteX0" fmla="*/ 4899 w 66144"/>
                    <a:gd name="connsiteY0" fmla="*/ 93020 h 93019"/>
                    <a:gd name="connsiteX1" fmla="*/ 0 w 66144"/>
                    <a:gd name="connsiteY1" fmla="*/ 88121 h 93019"/>
                    <a:gd name="connsiteX2" fmla="*/ 0 w 66144"/>
                    <a:gd name="connsiteY2" fmla="*/ 34475 h 93019"/>
                    <a:gd name="connsiteX3" fmla="*/ 31298 w 66144"/>
                    <a:gd name="connsiteY3" fmla="*/ 6937 h 93019"/>
                    <a:gd name="connsiteX4" fmla="*/ 52984 w 66144"/>
                    <a:gd name="connsiteY4" fmla="*/ 6937 h 93019"/>
                    <a:gd name="connsiteX5" fmla="*/ 56347 w 66144"/>
                    <a:gd name="connsiteY5" fmla="*/ 4819 h 93019"/>
                    <a:gd name="connsiteX6" fmla="*/ 61245 w 66144"/>
                    <a:gd name="connsiteY6" fmla="*/ 0 h 93019"/>
                    <a:gd name="connsiteX7" fmla="*/ 61325 w 66144"/>
                    <a:gd name="connsiteY7" fmla="*/ 0 h 93019"/>
                    <a:gd name="connsiteX8" fmla="*/ 66144 w 66144"/>
                    <a:gd name="connsiteY8" fmla="*/ 4978 h 93019"/>
                    <a:gd name="connsiteX9" fmla="*/ 53513 w 66144"/>
                    <a:gd name="connsiteY9" fmla="*/ 16735 h 93019"/>
                    <a:gd name="connsiteX10" fmla="*/ 31298 w 66144"/>
                    <a:gd name="connsiteY10" fmla="*/ 16761 h 93019"/>
                    <a:gd name="connsiteX11" fmla="*/ 9797 w 66144"/>
                    <a:gd name="connsiteY11" fmla="*/ 34475 h 93019"/>
                    <a:gd name="connsiteX12" fmla="*/ 9797 w 66144"/>
                    <a:gd name="connsiteY12" fmla="*/ 88121 h 93019"/>
                    <a:gd name="connsiteX13" fmla="*/ 4899 w 66144"/>
                    <a:gd name="connsiteY13" fmla="*/ 93020 h 93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144" h="93019">
                      <a:moveTo>
                        <a:pt x="4899" y="93020"/>
                      </a:moveTo>
                      <a:cubicBezTo>
                        <a:pt x="2198" y="93020"/>
                        <a:pt x="0" y="90822"/>
                        <a:pt x="0" y="88121"/>
                      </a:cubicBezTo>
                      <a:lnTo>
                        <a:pt x="0" y="34475"/>
                      </a:lnTo>
                      <a:cubicBezTo>
                        <a:pt x="0" y="12710"/>
                        <a:pt x="20468" y="6937"/>
                        <a:pt x="31298" y="6937"/>
                      </a:cubicBezTo>
                      <a:lnTo>
                        <a:pt x="52984" y="6937"/>
                      </a:lnTo>
                      <a:cubicBezTo>
                        <a:pt x="52799" y="6911"/>
                        <a:pt x="56320" y="6275"/>
                        <a:pt x="56347" y="4819"/>
                      </a:cubicBezTo>
                      <a:cubicBezTo>
                        <a:pt x="56400" y="2145"/>
                        <a:pt x="58571" y="0"/>
                        <a:pt x="61245" y="0"/>
                      </a:cubicBezTo>
                      <a:cubicBezTo>
                        <a:pt x="61272" y="0"/>
                        <a:pt x="61298" y="0"/>
                        <a:pt x="61325" y="0"/>
                      </a:cubicBezTo>
                      <a:cubicBezTo>
                        <a:pt x="64026" y="53"/>
                        <a:pt x="66197" y="2277"/>
                        <a:pt x="66144" y="4978"/>
                      </a:cubicBezTo>
                      <a:cubicBezTo>
                        <a:pt x="66038" y="12180"/>
                        <a:pt x="59498" y="16126"/>
                        <a:pt x="53513" y="16735"/>
                      </a:cubicBezTo>
                      <a:lnTo>
                        <a:pt x="31298" y="16761"/>
                      </a:lnTo>
                      <a:cubicBezTo>
                        <a:pt x="29100" y="16761"/>
                        <a:pt x="9797" y="17397"/>
                        <a:pt x="9797" y="34475"/>
                      </a:cubicBezTo>
                      <a:lnTo>
                        <a:pt x="9797" y="88121"/>
                      </a:lnTo>
                      <a:cubicBezTo>
                        <a:pt x="9797" y="90822"/>
                        <a:pt x="7599" y="93020"/>
                        <a:pt x="4899" y="93020"/>
                      </a:cubicBezTo>
                      <a:close/>
                    </a:path>
                  </a:pathLst>
                </a:custGeom>
                <a:solidFill>
                  <a:schemeClr val="accent1"/>
                </a:solidFill>
                <a:ln w="2648" cap="flat">
                  <a:noFill/>
                  <a:prstDash val="solid"/>
                  <a:miter/>
                </a:ln>
              </p:spPr>
              <p:txBody>
                <a:bodyPr rtlCol="0" anchor="ctr"/>
                <a:lstStyle/>
                <a:p>
                  <a:endParaRPr lang="en-GB" dirty="0"/>
                </a:p>
              </p:txBody>
            </p:sp>
            <p:sp>
              <p:nvSpPr>
                <p:cNvPr id="260" name="Freihandform: Form 796">
                  <a:extLst>
                    <a:ext uri="{FF2B5EF4-FFF2-40B4-BE49-F238E27FC236}">
                      <a16:creationId xmlns:a16="http://schemas.microsoft.com/office/drawing/2014/main" id="{19079552-72B0-4C2D-8334-31B9901C0A65}"/>
                    </a:ext>
                  </a:extLst>
                </p:cNvPr>
                <p:cNvSpPr/>
                <p:nvPr/>
              </p:nvSpPr>
              <p:spPr>
                <a:xfrm>
                  <a:off x="8149535" y="1904838"/>
                  <a:ext cx="9797" cy="34475"/>
                </a:xfrm>
                <a:custGeom>
                  <a:avLst/>
                  <a:gdLst>
                    <a:gd name="connsiteX0" fmla="*/ 4899 w 9797"/>
                    <a:gd name="connsiteY0" fmla="*/ 34475 h 34475"/>
                    <a:gd name="connsiteX1" fmla="*/ 0 w 9797"/>
                    <a:gd name="connsiteY1" fmla="*/ 29577 h 34475"/>
                    <a:gd name="connsiteX2" fmla="*/ 0 w 9797"/>
                    <a:gd name="connsiteY2" fmla="*/ 4899 h 34475"/>
                    <a:gd name="connsiteX3" fmla="*/ 4899 w 9797"/>
                    <a:gd name="connsiteY3" fmla="*/ 0 h 34475"/>
                    <a:gd name="connsiteX4" fmla="*/ 9797 w 9797"/>
                    <a:gd name="connsiteY4" fmla="*/ 4899 h 34475"/>
                    <a:gd name="connsiteX5" fmla="*/ 9797 w 9797"/>
                    <a:gd name="connsiteY5" fmla="*/ 29577 h 34475"/>
                    <a:gd name="connsiteX6" fmla="*/ 4899 w 9797"/>
                    <a:gd name="connsiteY6" fmla="*/ 34475 h 3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34475">
                      <a:moveTo>
                        <a:pt x="4899" y="34475"/>
                      </a:moveTo>
                      <a:cubicBezTo>
                        <a:pt x="2198" y="34475"/>
                        <a:pt x="0" y="32278"/>
                        <a:pt x="0" y="29577"/>
                      </a:cubicBezTo>
                      <a:lnTo>
                        <a:pt x="0" y="4899"/>
                      </a:lnTo>
                      <a:cubicBezTo>
                        <a:pt x="0" y="2198"/>
                        <a:pt x="2198" y="0"/>
                        <a:pt x="4899" y="0"/>
                      </a:cubicBezTo>
                      <a:cubicBezTo>
                        <a:pt x="7599" y="0"/>
                        <a:pt x="9797" y="2198"/>
                        <a:pt x="9797" y="4899"/>
                      </a:cubicBezTo>
                      <a:lnTo>
                        <a:pt x="9797" y="29577"/>
                      </a:lnTo>
                      <a:cubicBezTo>
                        <a:pt x="9797" y="32278"/>
                        <a:pt x="7599" y="34475"/>
                        <a:pt x="4899" y="34475"/>
                      </a:cubicBezTo>
                      <a:close/>
                    </a:path>
                  </a:pathLst>
                </a:custGeom>
                <a:solidFill>
                  <a:schemeClr val="accent1"/>
                </a:solidFill>
                <a:ln w="2648" cap="flat">
                  <a:noFill/>
                  <a:prstDash val="solid"/>
                  <a:miter/>
                </a:ln>
              </p:spPr>
              <p:txBody>
                <a:bodyPr rtlCol="0" anchor="ctr"/>
                <a:lstStyle/>
                <a:p>
                  <a:endParaRPr lang="en-GB" dirty="0"/>
                </a:p>
              </p:txBody>
            </p:sp>
            <p:sp>
              <p:nvSpPr>
                <p:cNvPr id="261" name="Freihandform: Form 797">
                  <a:extLst>
                    <a:ext uri="{FF2B5EF4-FFF2-40B4-BE49-F238E27FC236}">
                      <a16:creationId xmlns:a16="http://schemas.microsoft.com/office/drawing/2014/main" id="{77D0F024-D0E2-485F-A61C-86B71E913ECB}"/>
                    </a:ext>
                  </a:extLst>
                </p:cNvPr>
                <p:cNvSpPr/>
                <p:nvPr/>
              </p:nvSpPr>
              <p:spPr>
                <a:xfrm>
                  <a:off x="8123268" y="1848173"/>
                  <a:ext cx="64369" cy="92066"/>
                </a:xfrm>
                <a:custGeom>
                  <a:avLst/>
                  <a:gdLst>
                    <a:gd name="connsiteX0" fmla="*/ 59445 w 64369"/>
                    <a:gd name="connsiteY0" fmla="*/ 92067 h 92066"/>
                    <a:gd name="connsiteX1" fmla="*/ 54546 w 64369"/>
                    <a:gd name="connsiteY1" fmla="*/ 87168 h 92066"/>
                    <a:gd name="connsiteX2" fmla="*/ 54546 w 64369"/>
                    <a:gd name="connsiteY2" fmla="*/ 34449 h 92066"/>
                    <a:gd name="connsiteX3" fmla="*/ 33046 w 64369"/>
                    <a:gd name="connsiteY3" fmla="*/ 16735 h 92066"/>
                    <a:gd name="connsiteX4" fmla="*/ 11333 w 64369"/>
                    <a:gd name="connsiteY4" fmla="*/ 16735 h 92066"/>
                    <a:gd name="connsiteX5" fmla="*/ 3416 w 64369"/>
                    <a:gd name="connsiteY5" fmla="*/ 13637 h 92066"/>
                    <a:gd name="connsiteX6" fmla="*/ 0 w 64369"/>
                    <a:gd name="connsiteY6" fmla="*/ 4925 h 92066"/>
                    <a:gd name="connsiteX7" fmla="*/ 4872 w 64369"/>
                    <a:gd name="connsiteY7" fmla="*/ 0 h 92066"/>
                    <a:gd name="connsiteX8" fmla="*/ 9797 w 64369"/>
                    <a:gd name="connsiteY8" fmla="*/ 4872 h 92066"/>
                    <a:gd name="connsiteX9" fmla="*/ 11280 w 64369"/>
                    <a:gd name="connsiteY9" fmla="*/ 6937 h 92066"/>
                    <a:gd name="connsiteX10" fmla="*/ 33072 w 64369"/>
                    <a:gd name="connsiteY10" fmla="*/ 6937 h 92066"/>
                    <a:gd name="connsiteX11" fmla="*/ 64370 w 64369"/>
                    <a:gd name="connsiteY11" fmla="*/ 34475 h 92066"/>
                    <a:gd name="connsiteX12" fmla="*/ 64370 w 64369"/>
                    <a:gd name="connsiteY12" fmla="*/ 87195 h 92066"/>
                    <a:gd name="connsiteX13" fmla="*/ 59445 w 64369"/>
                    <a:gd name="connsiteY13" fmla="*/ 92067 h 92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369" h="92066">
                      <a:moveTo>
                        <a:pt x="59445" y="92067"/>
                      </a:moveTo>
                      <a:cubicBezTo>
                        <a:pt x="56744" y="92067"/>
                        <a:pt x="54546" y="89869"/>
                        <a:pt x="54546" y="87168"/>
                      </a:cubicBezTo>
                      <a:lnTo>
                        <a:pt x="54546" y="34449"/>
                      </a:lnTo>
                      <a:cubicBezTo>
                        <a:pt x="54546" y="17344"/>
                        <a:pt x="35243" y="16735"/>
                        <a:pt x="33046" y="16735"/>
                      </a:cubicBezTo>
                      <a:lnTo>
                        <a:pt x="11333" y="16735"/>
                      </a:lnTo>
                      <a:cubicBezTo>
                        <a:pt x="10671" y="16735"/>
                        <a:pt x="6646" y="16735"/>
                        <a:pt x="3416" y="13637"/>
                      </a:cubicBezTo>
                      <a:cubicBezTo>
                        <a:pt x="1854" y="12154"/>
                        <a:pt x="0" y="9426"/>
                        <a:pt x="0" y="4925"/>
                      </a:cubicBezTo>
                      <a:cubicBezTo>
                        <a:pt x="-26" y="2224"/>
                        <a:pt x="2171" y="0"/>
                        <a:pt x="4872" y="0"/>
                      </a:cubicBezTo>
                      <a:cubicBezTo>
                        <a:pt x="7388" y="106"/>
                        <a:pt x="9797" y="2171"/>
                        <a:pt x="9797" y="4872"/>
                      </a:cubicBezTo>
                      <a:cubicBezTo>
                        <a:pt x="9797" y="6434"/>
                        <a:pt x="10141" y="6911"/>
                        <a:pt x="11280" y="6937"/>
                      </a:cubicBezTo>
                      <a:lnTo>
                        <a:pt x="33072" y="6937"/>
                      </a:lnTo>
                      <a:cubicBezTo>
                        <a:pt x="43902" y="6937"/>
                        <a:pt x="64370" y="12683"/>
                        <a:pt x="64370" y="34475"/>
                      </a:cubicBezTo>
                      <a:lnTo>
                        <a:pt x="64370" y="87195"/>
                      </a:lnTo>
                      <a:cubicBezTo>
                        <a:pt x="64343" y="89869"/>
                        <a:pt x="62146" y="92067"/>
                        <a:pt x="59445" y="92067"/>
                      </a:cubicBezTo>
                      <a:close/>
                    </a:path>
                  </a:pathLst>
                </a:custGeom>
                <a:solidFill>
                  <a:schemeClr val="accent1"/>
                </a:solidFill>
                <a:ln w="2648" cap="flat">
                  <a:noFill/>
                  <a:prstDash val="solid"/>
                  <a:miter/>
                </a:ln>
              </p:spPr>
              <p:txBody>
                <a:bodyPr rtlCol="0" anchor="ctr"/>
                <a:lstStyle/>
                <a:p>
                  <a:endParaRPr lang="en-GB" dirty="0"/>
                </a:p>
              </p:txBody>
            </p:sp>
          </p:grpSp>
          <p:sp>
            <p:nvSpPr>
              <p:cNvPr id="256" name="Freihandform: Form 798">
                <a:extLst>
                  <a:ext uri="{FF2B5EF4-FFF2-40B4-BE49-F238E27FC236}">
                    <a16:creationId xmlns:a16="http://schemas.microsoft.com/office/drawing/2014/main" id="{C913BF2F-3E24-4E53-9977-99EE14CBF05C}"/>
                  </a:ext>
                </a:extLst>
              </p:cNvPr>
              <p:cNvSpPr/>
              <p:nvPr/>
            </p:nvSpPr>
            <p:spPr>
              <a:xfrm>
                <a:off x="8067292" y="1748030"/>
                <a:ext cx="83858" cy="93761"/>
              </a:xfrm>
              <a:custGeom>
                <a:avLst/>
                <a:gdLst>
                  <a:gd name="connsiteX0" fmla="*/ 41916 w 83858"/>
                  <a:gd name="connsiteY0" fmla="*/ 93761 h 93761"/>
                  <a:gd name="connsiteX1" fmla="*/ 0 w 83858"/>
                  <a:gd name="connsiteY1" fmla="*/ 46867 h 93761"/>
                  <a:gd name="connsiteX2" fmla="*/ 41916 w 83858"/>
                  <a:gd name="connsiteY2" fmla="*/ 0 h 93761"/>
                  <a:gd name="connsiteX3" fmla="*/ 83858 w 83858"/>
                  <a:gd name="connsiteY3" fmla="*/ 46867 h 93761"/>
                  <a:gd name="connsiteX4" fmla="*/ 41916 w 83858"/>
                  <a:gd name="connsiteY4" fmla="*/ 93761 h 93761"/>
                  <a:gd name="connsiteX5" fmla="*/ 41916 w 83858"/>
                  <a:gd name="connsiteY5" fmla="*/ 9797 h 93761"/>
                  <a:gd name="connsiteX6" fmla="*/ 9797 w 83858"/>
                  <a:gd name="connsiteY6" fmla="*/ 46867 h 93761"/>
                  <a:gd name="connsiteX7" fmla="*/ 41916 w 83858"/>
                  <a:gd name="connsiteY7" fmla="*/ 83938 h 93761"/>
                  <a:gd name="connsiteX8" fmla="*/ 74035 w 83858"/>
                  <a:gd name="connsiteY8" fmla="*/ 46867 h 93761"/>
                  <a:gd name="connsiteX9" fmla="*/ 41916 w 83858"/>
                  <a:gd name="connsiteY9" fmla="*/ 9797 h 9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858" h="93761">
                    <a:moveTo>
                      <a:pt x="41916" y="93761"/>
                    </a:moveTo>
                    <a:cubicBezTo>
                      <a:pt x="18800" y="93761"/>
                      <a:pt x="0" y="72737"/>
                      <a:pt x="0" y="46867"/>
                    </a:cubicBezTo>
                    <a:cubicBezTo>
                      <a:pt x="0" y="21024"/>
                      <a:pt x="18800" y="0"/>
                      <a:pt x="41916" y="0"/>
                    </a:cubicBezTo>
                    <a:cubicBezTo>
                      <a:pt x="65032" y="0"/>
                      <a:pt x="83858" y="21024"/>
                      <a:pt x="83858" y="46867"/>
                    </a:cubicBezTo>
                    <a:cubicBezTo>
                      <a:pt x="83832" y="72737"/>
                      <a:pt x="65032" y="93761"/>
                      <a:pt x="41916" y="93761"/>
                    </a:cubicBezTo>
                    <a:close/>
                    <a:moveTo>
                      <a:pt x="41916" y="9797"/>
                    </a:moveTo>
                    <a:cubicBezTo>
                      <a:pt x="24202" y="9797"/>
                      <a:pt x="9797" y="26426"/>
                      <a:pt x="9797" y="46867"/>
                    </a:cubicBezTo>
                    <a:cubicBezTo>
                      <a:pt x="9797" y="67309"/>
                      <a:pt x="24202" y="83938"/>
                      <a:pt x="41916" y="83938"/>
                    </a:cubicBezTo>
                    <a:cubicBezTo>
                      <a:pt x="59630" y="83938"/>
                      <a:pt x="74035" y="67309"/>
                      <a:pt x="74035" y="46867"/>
                    </a:cubicBezTo>
                    <a:cubicBezTo>
                      <a:pt x="74035" y="26426"/>
                      <a:pt x="59630" y="9797"/>
                      <a:pt x="41916" y="9797"/>
                    </a:cubicBezTo>
                    <a:close/>
                  </a:path>
                </a:pathLst>
              </a:custGeom>
              <a:solidFill>
                <a:schemeClr val="accent1"/>
              </a:solidFill>
              <a:ln w="2648" cap="flat">
                <a:noFill/>
                <a:prstDash val="solid"/>
                <a:miter/>
              </a:ln>
            </p:spPr>
            <p:txBody>
              <a:bodyPr rtlCol="0" anchor="ctr"/>
              <a:lstStyle/>
              <a:p>
                <a:endParaRPr lang="en-GB" dirty="0"/>
              </a:p>
            </p:txBody>
          </p:sp>
          <p:sp>
            <p:nvSpPr>
              <p:cNvPr id="257" name="Freihandform: Form 799">
                <a:extLst>
                  <a:ext uri="{FF2B5EF4-FFF2-40B4-BE49-F238E27FC236}">
                    <a16:creationId xmlns:a16="http://schemas.microsoft.com/office/drawing/2014/main" id="{56EF35A4-F75A-4C9E-97C4-DE963B179851}"/>
                  </a:ext>
                </a:extLst>
              </p:cNvPr>
              <p:cNvSpPr/>
              <p:nvPr/>
            </p:nvSpPr>
            <p:spPr>
              <a:xfrm>
                <a:off x="7921129" y="1696847"/>
                <a:ext cx="382618" cy="382088"/>
              </a:xfrm>
              <a:custGeom>
                <a:avLst/>
                <a:gdLst>
                  <a:gd name="connsiteX0" fmla="*/ 365725 w 382618"/>
                  <a:gd name="connsiteY0" fmla="*/ 382089 h 382088"/>
                  <a:gd name="connsiteX1" fmla="*/ 353968 w 382618"/>
                  <a:gd name="connsiteY1" fmla="*/ 377137 h 382088"/>
                  <a:gd name="connsiteX2" fmla="*/ 353465 w 382618"/>
                  <a:gd name="connsiteY2" fmla="*/ 376528 h 382088"/>
                  <a:gd name="connsiteX3" fmla="*/ 287877 w 382618"/>
                  <a:gd name="connsiteY3" fmla="*/ 285362 h 382088"/>
                  <a:gd name="connsiteX4" fmla="*/ 39374 w 382618"/>
                  <a:gd name="connsiteY4" fmla="*/ 285362 h 382088"/>
                  <a:gd name="connsiteX5" fmla="*/ 0 w 382618"/>
                  <a:gd name="connsiteY5" fmla="*/ 245988 h 382088"/>
                  <a:gd name="connsiteX6" fmla="*/ 0 w 382618"/>
                  <a:gd name="connsiteY6" fmla="*/ 39374 h 382088"/>
                  <a:gd name="connsiteX7" fmla="*/ 39374 w 382618"/>
                  <a:gd name="connsiteY7" fmla="*/ 0 h 382088"/>
                  <a:gd name="connsiteX8" fmla="*/ 343244 w 382618"/>
                  <a:gd name="connsiteY8" fmla="*/ 0 h 382088"/>
                  <a:gd name="connsiteX9" fmla="*/ 382618 w 382618"/>
                  <a:gd name="connsiteY9" fmla="*/ 39374 h 382088"/>
                  <a:gd name="connsiteX10" fmla="*/ 382618 w 382618"/>
                  <a:gd name="connsiteY10" fmla="*/ 365275 h 382088"/>
                  <a:gd name="connsiteX11" fmla="*/ 372265 w 382618"/>
                  <a:gd name="connsiteY11" fmla="*/ 380765 h 382088"/>
                  <a:gd name="connsiteX12" fmla="*/ 365725 w 382618"/>
                  <a:gd name="connsiteY12" fmla="*/ 382089 h 382088"/>
                  <a:gd name="connsiteX13" fmla="*/ 361144 w 382618"/>
                  <a:gd name="connsiteY13" fmla="*/ 370438 h 382088"/>
                  <a:gd name="connsiteX14" fmla="*/ 368479 w 382618"/>
                  <a:gd name="connsiteY14" fmla="*/ 371709 h 382088"/>
                  <a:gd name="connsiteX15" fmla="*/ 372768 w 382618"/>
                  <a:gd name="connsiteY15" fmla="*/ 365301 h 382088"/>
                  <a:gd name="connsiteX16" fmla="*/ 372768 w 382618"/>
                  <a:gd name="connsiteY16" fmla="*/ 39374 h 382088"/>
                  <a:gd name="connsiteX17" fmla="*/ 343218 w 382618"/>
                  <a:gd name="connsiteY17" fmla="*/ 9824 h 382088"/>
                  <a:gd name="connsiteX18" fmla="*/ 39347 w 382618"/>
                  <a:gd name="connsiteY18" fmla="*/ 9824 h 382088"/>
                  <a:gd name="connsiteX19" fmla="*/ 9797 w 382618"/>
                  <a:gd name="connsiteY19" fmla="*/ 39374 h 382088"/>
                  <a:gd name="connsiteX20" fmla="*/ 9797 w 382618"/>
                  <a:gd name="connsiteY20" fmla="*/ 245988 h 382088"/>
                  <a:gd name="connsiteX21" fmla="*/ 39347 w 382618"/>
                  <a:gd name="connsiteY21" fmla="*/ 275538 h 382088"/>
                  <a:gd name="connsiteX22" fmla="*/ 290366 w 382618"/>
                  <a:gd name="connsiteY22" fmla="*/ 275538 h 382088"/>
                  <a:gd name="connsiteX23" fmla="*/ 294338 w 382618"/>
                  <a:gd name="connsiteY23" fmla="*/ 277577 h 382088"/>
                  <a:gd name="connsiteX24" fmla="*/ 361144 w 382618"/>
                  <a:gd name="connsiteY24" fmla="*/ 370438 h 382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2618" h="382088">
                    <a:moveTo>
                      <a:pt x="365725" y="382089"/>
                    </a:moveTo>
                    <a:cubicBezTo>
                      <a:pt x="361409" y="382089"/>
                      <a:pt x="357225" y="380394"/>
                      <a:pt x="353968" y="377137"/>
                    </a:cubicBezTo>
                    <a:cubicBezTo>
                      <a:pt x="353783" y="376952"/>
                      <a:pt x="353597" y="376740"/>
                      <a:pt x="353465" y="376528"/>
                    </a:cubicBezTo>
                    <a:lnTo>
                      <a:pt x="287877" y="285362"/>
                    </a:lnTo>
                    <a:lnTo>
                      <a:pt x="39374" y="285362"/>
                    </a:lnTo>
                    <a:cubicBezTo>
                      <a:pt x="17661" y="285362"/>
                      <a:pt x="0" y="267700"/>
                      <a:pt x="0" y="245988"/>
                    </a:cubicBezTo>
                    <a:lnTo>
                      <a:pt x="0" y="39374"/>
                    </a:lnTo>
                    <a:cubicBezTo>
                      <a:pt x="0" y="17661"/>
                      <a:pt x="17661" y="0"/>
                      <a:pt x="39374" y="0"/>
                    </a:cubicBezTo>
                    <a:lnTo>
                      <a:pt x="343244" y="0"/>
                    </a:lnTo>
                    <a:cubicBezTo>
                      <a:pt x="364957" y="0"/>
                      <a:pt x="382618" y="17661"/>
                      <a:pt x="382618" y="39374"/>
                    </a:cubicBezTo>
                    <a:lnTo>
                      <a:pt x="382618" y="365275"/>
                    </a:lnTo>
                    <a:cubicBezTo>
                      <a:pt x="382618" y="372186"/>
                      <a:pt x="378646" y="378117"/>
                      <a:pt x="372265" y="380765"/>
                    </a:cubicBezTo>
                    <a:cubicBezTo>
                      <a:pt x="370094" y="381639"/>
                      <a:pt x="367870" y="382089"/>
                      <a:pt x="365725" y="382089"/>
                    </a:cubicBezTo>
                    <a:close/>
                    <a:moveTo>
                      <a:pt x="361144" y="370438"/>
                    </a:moveTo>
                    <a:cubicBezTo>
                      <a:pt x="363183" y="372292"/>
                      <a:pt x="365884" y="372768"/>
                      <a:pt x="368479" y="371709"/>
                    </a:cubicBezTo>
                    <a:cubicBezTo>
                      <a:pt x="371179" y="370597"/>
                      <a:pt x="372768" y="368187"/>
                      <a:pt x="372768" y="365301"/>
                    </a:cubicBezTo>
                    <a:lnTo>
                      <a:pt x="372768" y="39374"/>
                    </a:lnTo>
                    <a:cubicBezTo>
                      <a:pt x="372768" y="23089"/>
                      <a:pt x="359502" y="9824"/>
                      <a:pt x="343218" y="9824"/>
                    </a:cubicBezTo>
                    <a:lnTo>
                      <a:pt x="39347" y="9824"/>
                    </a:lnTo>
                    <a:cubicBezTo>
                      <a:pt x="23063" y="9824"/>
                      <a:pt x="9797" y="23089"/>
                      <a:pt x="9797" y="39374"/>
                    </a:cubicBezTo>
                    <a:lnTo>
                      <a:pt x="9797" y="245988"/>
                    </a:lnTo>
                    <a:cubicBezTo>
                      <a:pt x="9797" y="262272"/>
                      <a:pt x="23063" y="275538"/>
                      <a:pt x="39347" y="275538"/>
                    </a:cubicBezTo>
                    <a:lnTo>
                      <a:pt x="290366" y="275538"/>
                    </a:lnTo>
                    <a:cubicBezTo>
                      <a:pt x="291955" y="275538"/>
                      <a:pt x="293411" y="276306"/>
                      <a:pt x="294338" y="277577"/>
                    </a:cubicBezTo>
                    <a:lnTo>
                      <a:pt x="361144" y="370438"/>
                    </a:lnTo>
                    <a:close/>
                  </a:path>
                </a:pathLst>
              </a:custGeom>
              <a:solidFill>
                <a:schemeClr val="accent1"/>
              </a:solidFill>
              <a:ln w="2648" cap="flat">
                <a:noFill/>
                <a:prstDash val="solid"/>
                <a:miter/>
              </a:ln>
            </p:spPr>
            <p:txBody>
              <a:bodyPr rtlCol="0" anchor="ctr"/>
              <a:lstStyle/>
              <a:p>
                <a:endParaRPr lang="en-GB" dirty="0"/>
              </a:p>
            </p:txBody>
          </p:sp>
        </p:grpSp>
        <p:grpSp>
          <p:nvGrpSpPr>
            <p:cNvPr id="250" name="Group 249">
              <a:extLst>
                <a:ext uri="{FF2B5EF4-FFF2-40B4-BE49-F238E27FC236}">
                  <a16:creationId xmlns:a16="http://schemas.microsoft.com/office/drawing/2014/main" id="{C03E97C3-DAF4-4182-B08C-646BF25FC322}"/>
                </a:ext>
              </a:extLst>
            </p:cNvPr>
            <p:cNvGrpSpPr/>
            <p:nvPr/>
          </p:nvGrpSpPr>
          <p:grpSpPr>
            <a:xfrm>
              <a:off x="7720738" y="1810175"/>
              <a:ext cx="310569" cy="310146"/>
              <a:chOff x="7720738" y="1810176"/>
              <a:chExt cx="310569" cy="310145"/>
            </a:xfrm>
          </p:grpSpPr>
          <p:sp>
            <p:nvSpPr>
              <p:cNvPr id="251" name="Freihandform: Form 791">
                <a:extLst>
                  <a:ext uri="{FF2B5EF4-FFF2-40B4-BE49-F238E27FC236}">
                    <a16:creationId xmlns:a16="http://schemas.microsoft.com/office/drawing/2014/main" id="{82A669B9-8BAF-4297-980B-15E4354E6638}"/>
                  </a:ext>
                </a:extLst>
              </p:cNvPr>
              <p:cNvSpPr/>
              <p:nvPr/>
            </p:nvSpPr>
            <p:spPr>
              <a:xfrm>
                <a:off x="7720738" y="1810176"/>
                <a:ext cx="310569" cy="310145"/>
              </a:xfrm>
              <a:custGeom>
                <a:avLst/>
                <a:gdLst>
                  <a:gd name="connsiteX0" fmla="*/ 14563 w 310569"/>
                  <a:gd name="connsiteY0" fmla="*/ 310146 h 310145"/>
                  <a:gd name="connsiteX1" fmla="*/ 8923 w 310569"/>
                  <a:gd name="connsiteY1" fmla="*/ 309007 h 310145"/>
                  <a:gd name="connsiteX2" fmla="*/ 0 w 310569"/>
                  <a:gd name="connsiteY2" fmla="*/ 295636 h 310145"/>
                  <a:gd name="connsiteX3" fmla="*/ 0 w 310569"/>
                  <a:gd name="connsiteY3" fmla="*/ 32701 h 310145"/>
                  <a:gd name="connsiteX4" fmla="*/ 32701 w 310569"/>
                  <a:gd name="connsiteY4" fmla="*/ 0 h 310145"/>
                  <a:gd name="connsiteX5" fmla="*/ 177064 w 310569"/>
                  <a:gd name="connsiteY5" fmla="*/ 0 h 310145"/>
                  <a:gd name="connsiteX6" fmla="*/ 181962 w 310569"/>
                  <a:gd name="connsiteY6" fmla="*/ 4899 h 310145"/>
                  <a:gd name="connsiteX7" fmla="*/ 177064 w 310569"/>
                  <a:gd name="connsiteY7" fmla="*/ 9797 h 310145"/>
                  <a:gd name="connsiteX8" fmla="*/ 32701 w 310569"/>
                  <a:gd name="connsiteY8" fmla="*/ 9797 h 310145"/>
                  <a:gd name="connsiteX9" fmla="*/ 9797 w 310569"/>
                  <a:gd name="connsiteY9" fmla="*/ 32701 h 310145"/>
                  <a:gd name="connsiteX10" fmla="*/ 9797 w 310569"/>
                  <a:gd name="connsiteY10" fmla="*/ 295636 h 310145"/>
                  <a:gd name="connsiteX11" fmla="*/ 12683 w 310569"/>
                  <a:gd name="connsiteY11" fmla="*/ 299952 h 310145"/>
                  <a:gd name="connsiteX12" fmla="*/ 17449 w 310569"/>
                  <a:gd name="connsiteY12" fmla="*/ 299237 h 310145"/>
                  <a:gd name="connsiteX13" fmla="*/ 66197 w 310569"/>
                  <a:gd name="connsiteY13" fmla="*/ 224514 h 310145"/>
                  <a:gd name="connsiteX14" fmla="*/ 70301 w 310569"/>
                  <a:gd name="connsiteY14" fmla="*/ 222289 h 310145"/>
                  <a:gd name="connsiteX15" fmla="*/ 277868 w 310569"/>
                  <a:gd name="connsiteY15" fmla="*/ 222289 h 310145"/>
                  <a:gd name="connsiteX16" fmla="*/ 300772 w 310569"/>
                  <a:gd name="connsiteY16" fmla="*/ 199385 h 310145"/>
                  <a:gd name="connsiteX17" fmla="*/ 305671 w 310569"/>
                  <a:gd name="connsiteY17" fmla="*/ 194487 h 310145"/>
                  <a:gd name="connsiteX18" fmla="*/ 310569 w 310569"/>
                  <a:gd name="connsiteY18" fmla="*/ 199385 h 310145"/>
                  <a:gd name="connsiteX19" fmla="*/ 277868 w 310569"/>
                  <a:gd name="connsiteY19" fmla="*/ 232086 h 310145"/>
                  <a:gd name="connsiteX20" fmla="*/ 72949 w 310569"/>
                  <a:gd name="connsiteY20" fmla="*/ 232086 h 310145"/>
                  <a:gd name="connsiteX21" fmla="*/ 25340 w 310569"/>
                  <a:gd name="connsiteY21" fmla="*/ 305062 h 310145"/>
                  <a:gd name="connsiteX22" fmla="*/ 24705 w 310569"/>
                  <a:gd name="connsiteY22" fmla="*/ 305856 h 310145"/>
                  <a:gd name="connsiteX23" fmla="*/ 14563 w 310569"/>
                  <a:gd name="connsiteY23" fmla="*/ 310146 h 310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0569" h="310145">
                    <a:moveTo>
                      <a:pt x="14563" y="310146"/>
                    </a:moveTo>
                    <a:cubicBezTo>
                      <a:pt x="12683" y="310146"/>
                      <a:pt x="10777" y="309775"/>
                      <a:pt x="8923" y="309007"/>
                    </a:cubicBezTo>
                    <a:cubicBezTo>
                      <a:pt x="3416" y="306730"/>
                      <a:pt x="0" y="301593"/>
                      <a:pt x="0" y="295636"/>
                    </a:cubicBezTo>
                    <a:lnTo>
                      <a:pt x="0" y="32701"/>
                    </a:lnTo>
                    <a:cubicBezTo>
                      <a:pt x="0" y="14669"/>
                      <a:pt x="14669" y="0"/>
                      <a:pt x="32701" y="0"/>
                    </a:cubicBezTo>
                    <a:lnTo>
                      <a:pt x="177064" y="0"/>
                    </a:lnTo>
                    <a:cubicBezTo>
                      <a:pt x="179764" y="0"/>
                      <a:pt x="181962" y="2198"/>
                      <a:pt x="181962" y="4899"/>
                    </a:cubicBezTo>
                    <a:cubicBezTo>
                      <a:pt x="181962" y="7599"/>
                      <a:pt x="179764" y="9797"/>
                      <a:pt x="177064" y="9797"/>
                    </a:cubicBezTo>
                    <a:lnTo>
                      <a:pt x="32701" y="9797"/>
                    </a:lnTo>
                    <a:cubicBezTo>
                      <a:pt x="20071" y="9797"/>
                      <a:pt x="9797" y="20071"/>
                      <a:pt x="9797" y="32701"/>
                    </a:cubicBezTo>
                    <a:lnTo>
                      <a:pt x="9797" y="295636"/>
                    </a:lnTo>
                    <a:cubicBezTo>
                      <a:pt x="9797" y="298522"/>
                      <a:pt x="11995" y="299660"/>
                      <a:pt x="12683" y="299952"/>
                    </a:cubicBezTo>
                    <a:cubicBezTo>
                      <a:pt x="13319" y="300216"/>
                      <a:pt x="15490" y="300905"/>
                      <a:pt x="17449" y="299237"/>
                    </a:cubicBezTo>
                    <a:lnTo>
                      <a:pt x="66197" y="224514"/>
                    </a:lnTo>
                    <a:cubicBezTo>
                      <a:pt x="67097" y="223137"/>
                      <a:pt x="68633" y="222289"/>
                      <a:pt x="70301" y="222289"/>
                    </a:cubicBezTo>
                    <a:lnTo>
                      <a:pt x="277868" y="222289"/>
                    </a:lnTo>
                    <a:cubicBezTo>
                      <a:pt x="290499" y="222289"/>
                      <a:pt x="300772" y="212016"/>
                      <a:pt x="300772" y="199385"/>
                    </a:cubicBezTo>
                    <a:cubicBezTo>
                      <a:pt x="300772" y="196684"/>
                      <a:pt x="302970" y="194487"/>
                      <a:pt x="305671" y="194487"/>
                    </a:cubicBezTo>
                    <a:cubicBezTo>
                      <a:pt x="308372" y="194487"/>
                      <a:pt x="310569" y="196684"/>
                      <a:pt x="310569" y="199385"/>
                    </a:cubicBezTo>
                    <a:cubicBezTo>
                      <a:pt x="310569" y="217417"/>
                      <a:pt x="295900" y="232086"/>
                      <a:pt x="277868" y="232086"/>
                    </a:cubicBezTo>
                    <a:lnTo>
                      <a:pt x="72949" y="232086"/>
                    </a:lnTo>
                    <a:lnTo>
                      <a:pt x="25340" y="305062"/>
                    </a:lnTo>
                    <a:cubicBezTo>
                      <a:pt x="25155" y="305353"/>
                      <a:pt x="24943" y="305618"/>
                      <a:pt x="24705" y="305856"/>
                    </a:cubicBezTo>
                    <a:cubicBezTo>
                      <a:pt x="21871" y="308690"/>
                      <a:pt x="18270" y="310146"/>
                      <a:pt x="14563" y="310146"/>
                    </a:cubicBezTo>
                    <a:close/>
                  </a:path>
                </a:pathLst>
              </a:custGeom>
              <a:solidFill>
                <a:schemeClr val="tx2"/>
              </a:solidFill>
              <a:ln w="2648" cap="flat">
                <a:noFill/>
                <a:prstDash val="solid"/>
                <a:miter/>
              </a:ln>
            </p:spPr>
            <p:txBody>
              <a:bodyPr rtlCol="0" anchor="ctr"/>
              <a:lstStyle/>
              <a:p>
                <a:endParaRPr lang="en-GB" dirty="0"/>
              </a:p>
            </p:txBody>
          </p:sp>
          <p:sp>
            <p:nvSpPr>
              <p:cNvPr id="252" name="Freihandform: Form 800">
                <a:extLst>
                  <a:ext uri="{FF2B5EF4-FFF2-40B4-BE49-F238E27FC236}">
                    <a16:creationId xmlns:a16="http://schemas.microsoft.com/office/drawing/2014/main" id="{29070DCB-BB8E-4A77-A976-492C8D15A8D9}"/>
                  </a:ext>
                </a:extLst>
              </p:cNvPr>
              <p:cNvSpPr/>
              <p:nvPr/>
            </p:nvSpPr>
            <p:spPr>
              <a:xfrm>
                <a:off x="7779573" y="1873407"/>
                <a:ext cx="120955" cy="9797"/>
              </a:xfrm>
              <a:custGeom>
                <a:avLst/>
                <a:gdLst>
                  <a:gd name="connsiteX0" fmla="*/ 116057 w 120955"/>
                  <a:gd name="connsiteY0" fmla="*/ 9797 h 9797"/>
                  <a:gd name="connsiteX1" fmla="*/ 4899 w 120955"/>
                  <a:gd name="connsiteY1" fmla="*/ 9797 h 9797"/>
                  <a:gd name="connsiteX2" fmla="*/ 0 w 120955"/>
                  <a:gd name="connsiteY2" fmla="*/ 4899 h 9797"/>
                  <a:gd name="connsiteX3" fmla="*/ 4899 w 120955"/>
                  <a:gd name="connsiteY3" fmla="*/ 0 h 9797"/>
                  <a:gd name="connsiteX4" fmla="*/ 116057 w 120955"/>
                  <a:gd name="connsiteY4" fmla="*/ 0 h 9797"/>
                  <a:gd name="connsiteX5" fmla="*/ 120955 w 120955"/>
                  <a:gd name="connsiteY5" fmla="*/ 4899 h 9797"/>
                  <a:gd name="connsiteX6" fmla="*/ 116057 w 120955"/>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55" h="9797">
                    <a:moveTo>
                      <a:pt x="116057" y="9797"/>
                    </a:moveTo>
                    <a:lnTo>
                      <a:pt x="4899" y="9797"/>
                    </a:lnTo>
                    <a:cubicBezTo>
                      <a:pt x="2198" y="9797"/>
                      <a:pt x="0" y="7599"/>
                      <a:pt x="0" y="4899"/>
                    </a:cubicBezTo>
                    <a:cubicBezTo>
                      <a:pt x="0" y="2198"/>
                      <a:pt x="2198" y="0"/>
                      <a:pt x="4899" y="0"/>
                    </a:cubicBezTo>
                    <a:lnTo>
                      <a:pt x="116057" y="0"/>
                    </a:lnTo>
                    <a:cubicBezTo>
                      <a:pt x="118757" y="0"/>
                      <a:pt x="120955" y="2198"/>
                      <a:pt x="120955" y="4899"/>
                    </a:cubicBezTo>
                    <a:cubicBezTo>
                      <a:pt x="120955" y="7599"/>
                      <a:pt x="118757" y="9797"/>
                      <a:pt x="116057" y="9797"/>
                    </a:cubicBezTo>
                    <a:close/>
                  </a:path>
                </a:pathLst>
              </a:custGeom>
              <a:solidFill>
                <a:schemeClr val="tx2"/>
              </a:solidFill>
              <a:ln w="2648" cap="flat">
                <a:noFill/>
                <a:prstDash val="solid"/>
                <a:miter/>
              </a:ln>
            </p:spPr>
            <p:txBody>
              <a:bodyPr rtlCol="0" anchor="ctr"/>
              <a:lstStyle/>
              <a:p>
                <a:endParaRPr lang="en-GB" dirty="0"/>
              </a:p>
            </p:txBody>
          </p:sp>
          <p:sp>
            <p:nvSpPr>
              <p:cNvPr id="253" name="Freihandform: Form 801">
                <a:extLst>
                  <a:ext uri="{FF2B5EF4-FFF2-40B4-BE49-F238E27FC236}">
                    <a16:creationId xmlns:a16="http://schemas.microsoft.com/office/drawing/2014/main" id="{E874DC90-FC40-418D-810B-19FB4462FE73}"/>
                  </a:ext>
                </a:extLst>
              </p:cNvPr>
              <p:cNvSpPr/>
              <p:nvPr/>
            </p:nvSpPr>
            <p:spPr>
              <a:xfrm>
                <a:off x="7779573" y="1925703"/>
                <a:ext cx="120955" cy="9797"/>
              </a:xfrm>
              <a:custGeom>
                <a:avLst/>
                <a:gdLst>
                  <a:gd name="connsiteX0" fmla="*/ 116057 w 120955"/>
                  <a:gd name="connsiteY0" fmla="*/ 9797 h 9797"/>
                  <a:gd name="connsiteX1" fmla="*/ 4899 w 120955"/>
                  <a:gd name="connsiteY1" fmla="*/ 9797 h 9797"/>
                  <a:gd name="connsiteX2" fmla="*/ 0 w 120955"/>
                  <a:gd name="connsiteY2" fmla="*/ 4899 h 9797"/>
                  <a:gd name="connsiteX3" fmla="*/ 4899 w 120955"/>
                  <a:gd name="connsiteY3" fmla="*/ 0 h 9797"/>
                  <a:gd name="connsiteX4" fmla="*/ 116057 w 120955"/>
                  <a:gd name="connsiteY4" fmla="*/ 0 h 9797"/>
                  <a:gd name="connsiteX5" fmla="*/ 120955 w 120955"/>
                  <a:gd name="connsiteY5" fmla="*/ 4899 h 9797"/>
                  <a:gd name="connsiteX6" fmla="*/ 116057 w 120955"/>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55" h="9797">
                    <a:moveTo>
                      <a:pt x="116057" y="9797"/>
                    </a:moveTo>
                    <a:lnTo>
                      <a:pt x="4899" y="9797"/>
                    </a:lnTo>
                    <a:cubicBezTo>
                      <a:pt x="2198" y="9797"/>
                      <a:pt x="0" y="7599"/>
                      <a:pt x="0" y="4899"/>
                    </a:cubicBezTo>
                    <a:cubicBezTo>
                      <a:pt x="0" y="2198"/>
                      <a:pt x="2198" y="0"/>
                      <a:pt x="4899" y="0"/>
                    </a:cubicBezTo>
                    <a:lnTo>
                      <a:pt x="116057" y="0"/>
                    </a:lnTo>
                    <a:cubicBezTo>
                      <a:pt x="118757" y="0"/>
                      <a:pt x="120955" y="2198"/>
                      <a:pt x="120955" y="4899"/>
                    </a:cubicBezTo>
                    <a:cubicBezTo>
                      <a:pt x="120955" y="7599"/>
                      <a:pt x="118757" y="9797"/>
                      <a:pt x="116057" y="9797"/>
                    </a:cubicBezTo>
                    <a:close/>
                  </a:path>
                </a:pathLst>
              </a:custGeom>
              <a:solidFill>
                <a:schemeClr val="tx2"/>
              </a:solidFill>
              <a:ln w="2648" cap="flat">
                <a:noFill/>
                <a:prstDash val="solid"/>
                <a:miter/>
              </a:ln>
            </p:spPr>
            <p:txBody>
              <a:bodyPr rtlCol="0" anchor="ctr"/>
              <a:lstStyle/>
              <a:p>
                <a:endParaRPr lang="en-GB" dirty="0"/>
              </a:p>
            </p:txBody>
          </p:sp>
          <p:sp>
            <p:nvSpPr>
              <p:cNvPr id="254" name="Freihandform: Form 802">
                <a:extLst>
                  <a:ext uri="{FF2B5EF4-FFF2-40B4-BE49-F238E27FC236}">
                    <a16:creationId xmlns:a16="http://schemas.microsoft.com/office/drawing/2014/main" id="{4DAD516C-58C9-4121-BBAD-0F514D4E5D95}"/>
                  </a:ext>
                </a:extLst>
              </p:cNvPr>
              <p:cNvSpPr/>
              <p:nvPr/>
            </p:nvSpPr>
            <p:spPr>
              <a:xfrm>
                <a:off x="7779573" y="1977998"/>
                <a:ext cx="120955" cy="9797"/>
              </a:xfrm>
              <a:custGeom>
                <a:avLst/>
                <a:gdLst>
                  <a:gd name="connsiteX0" fmla="*/ 116057 w 120955"/>
                  <a:gd name="connsiteY0" fmla="*/ 9797 h 9797"/>
                  <a:gd name="connsiteX1" fmla="*/ 4899 w 120955"/>
                  <a:gd name="connsiteY1" fmla="*/ 9797 h 9797"/>
                  <a:gd name="connsiteX2" fmla="*/ 0 w 120955"/>
                  <a:gd name="connsiteY2" fmla="*/ 4899 h 9797"/>
                  <a:gd name="connsiteX3" fmla="*/ 4899 w 120955"/>
                  <a:gd name="connsiteY3" fmla="*/ 0 h 9797"/>
                  <a:gd name="connsiteX4" fmla="*/ 116057 w 120955"/>
                  <a:gd name="connsiteY4" fmla="*/ 0 h 9797"/>
                  <a:gd name="connsiteX5" fmla="*/ 120955 w 120955"/>
                  <a:gd name="connsiteY5" fmla="*/ 4899 h 9797"/>
                  <a:gd name="connsiteX6" fmla="*/ 116057 w 120955"/>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0955" h="9797">
                    <a:moveTo>
                      <a:pt x="116057" y="9797"/>
                    </a:moveTo>
                    <a:lnTo>
                      <a:pt x="4899" y="9797"/>
                    </a:lnTo>
                    <a:cubicBezTo>
                      <a:pt x="2198" y="9797"/>
                      <a:pt x="0" y="7599"/>
                      <a:pt x="0" y="4899"/>
                    </a:cubicBezTo>
                    <a:cubicBezTo>
                      <a:pt x="0" y="2198"/>
                      <a:pt x="2198" y="0"/>
                      <a:pt x="4899" y="0"/>
                    </a:cubicBezTo>
                    <a:lnTo>
                      <a:pt x="116057" y="0"/>
                    </a:lnTo>
                    <a:cubicBezTo>
                      <a:pt x="118757" y="0"/>
                      <a:pt x="120955" y="2198"/>
                      <a:pt x="120955" y="4899"/>
                    </a:cubicBezTo>
                    <a:cubicBezTo>
                      <a:pt x="120955" y="7599"/>
                      <a:pt x="118757" y="9797"/>
                      <a:pt x="116057" y="9797"/>
                    </a:cubicBezTo>
                    <a:close/>
                  </a:path>
                </a:pathLst>
              </a:custGeom>
              <a:solidFill>
                <a:schemeClr val="tx2"/>
              </a:solidFill>
              <a:ln w="2648" cap="flat">
                <a:noFill/>
                <a:prstDash val="solid"/>
                <a:miter/>
              </a:ln>
            </p:spPr>
            <p:txBody>
              <a:bodyPr rtlCol="0" anchor="ctr"/>
              <a:lstStyle/>
              <a:p>
                <a:endParaRPr lang="en-GB" dirty="0"/>
              </a:p>
            </p:txBody>
          </p:sp>
        </p:grpSp>
      </p:grpSp>
      <p:grpSp>
        <p:nvGrpSpPr>
          <p:cNvPr id="262" name="Group 261">
            <a:extLst>
              <a:ext uri="{FF2B5EF4-FFF2-40B4-BE49-F238E27FC236}">
                <a16:creationId xmlns:a16="http://schemas.microsoft.com/office/drawing/2014/main" id="{BE807841-6DBE-4A64-A4A0-8C13016C0A04}"/>
              </a:ext>
            </a:extLst>
          </p:cNvPr>
          <p:cNvGrpSpPr>
            <a:grpSpLocks noChangeAspect="1"/>
          </p:cNvGrpSpPr>
          <p:nvPr/>
        </p:nvGrpSpPr>
        <p:grpSpPr>
          <a:xfrm>
            <a:off x="577870" y="4002611"/>
            <a:ext cx="432361" cy="432000"/>
            <a:chOff x="6962412" y="3276842"/>
            <a:chExt cx="483820" cy="483416"/>
          </a:xfrm>
        </p:grpSpPr>
        <p:grpSp>
          <p:nvGrpSpPr>
            <p:cNvPr id="263" name="Group 262">
              <a:extLst>
                <a:ext uri="{FF2B5EF4-FFF2-40B4-BE49-F238E27FC236}">
                  <a16:creationId xmlns:a16="http://schemas.microsoft.com/office/drawing/2014/main" id="{ACE5A2AB-1A31-449A-80AF-5E5CCF0E7399}"/>
                </a:ext>
              </a:extLst>
            </p:cNvPr>
            <p:cNvGrpSpPr/>
            <p:nvPr/>
          </p:nvGrpSpPr>
          <p:grpSpPr>
            <a:xfrm>
              <a:off x="7083499" y="3359476"/>
              <a:ext cx="241645" cy="289201"/>
              <a:chOff x="7083499" y="3359476"/>
              <a:chExt cx="241645" cy="289201"/>
            </a:xfrm>
          </p:grpSpPr>
          <p:sp>
            <p:nvSpPr>
              <p:cNvPr id="271" name="Freihandform: Form 931">
                <a:extLst>
                  <a:ext uri="{FF2B5EF4-FFF2-40B4-BE49-F238E27FC236}">
                    <a16:creationId xmlns:a16="http://schemas.microsoft.com/office/drawing/2014/main" id="{FEC73075-ADCB-4AC4-ACAE-5765918E00AE}"/>
                  </a:ext>
                </a:extLst>
              </p:cNvPr>
              <p:cNvSpPr/>
              <p:nvPr/>
            </p:nvSpPr>
            <p:spPr>
              <a:xfrm>
                <a:off x="7083499" y="3407032"/>
                <a:ext cx="241645" cy="241645"/>
              </a:xfrm>
              <a:custGeom>
                <a:avLst/>
                <a:gdLst>
                  <a:gd name="connsiteX0" fmla="*/ 120823 w 241645"/>
                  <a:gd name="connsiteY0" fmla="*/ 241645 h 241645"/>
                  <a:gd name="connsiteX1" fmla="*/ 0 w 241645"/>
                  <a:gd name="connsiteY1" fmla="*/ 120823 h 241645"/>
                  <a:gd name="connsiteX2" fmla="*/ 120823 w 241645"/>
                  <a:gd name="connsiteY2" fmla="*/ 0 h 241645"/>
                  <a:gd name="connsiteX3" fmla="*/ 241645 w 241645"/>
                  <a:gd name="connsiteY3" fmla="*/ 120823 h 241645"/>
                  <a:gd name="connsiteX4" fmla="*/ 120823 w 241645"/>
                  <a:gd name="connsiteY4" fmla="*/ 241645 h 241645"/>
                  <a:gd name="connsiteX5" fmla="*/ 120823 w 241645"/>
                  <a:gd name="connsiteY5" fmla="*/ 9771 h 241645"/>
                  <a:gd name="connsiteX6" fmla="*/ 9797 w 241645"/>
                  <a:gd name="connsiteY6" fmla="*/ 120796 h 241645"/>
                  <a:gd name="connsiteX7" fmla="*/ 120823 w 241645"/>
                  <a:gd name="connsiteY7" fmla="*/ 231822 h 241645"/>
                  <a:gd name="connsiteX8" fmla="*/ 231848 w 241645"/>
                  <a:gd name="connsiteY8" fmla="*/ 120796 h 241645"/>
                  <a:gd name="connsiteX9" fmla="*/ 120823 w 241645"/>
                  <a:gd name="connsiteY9" fmla="*/ 9771 h 241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645" h="241645">
                    <a:moveTo>
                      <a:pt x="120823" y="241645"/>
                    </a:moveTo>
                    <a:cubicBezTo>
                      <a:pt x="54202" y="241645"/>
                      <a:pt x="0" y="187443"/>
                      <a:pt x="0" y="120823"/>
                    </a:cubicBezTo>
                    <a:cubicBezTo>
                      <a:pt x="0" y="54202"/>
                      <a:pt x="54202" y="0"/>
                      <a:pt x="120823" y="0"/>
                    </a:cubicBezTo>
                    <a:cubicBezTo>
                      <a:pt x="187443" y="0"/>
                      <a:pt x="241645" y="54202"/>
                      <a:pt x="241645" y="120823"/>
                    </a:cubicBezTo>
                    <a:cubicBezTo>
                      <a:pt x="241645" y="187443"/>
                      <a:pt x="187443" y="241645"/>
                      <a:pt x="120823" y="241645"/>
                    </a:cubicBezTo>
                    <a:close/>
                    <a:moveTo>
                      <a:pt x="120823" y="9771"/>
                    </a:moveTo>
                    <a:cubicBezTo>
                      <a:pt x="59604" y="9771"/>
                      <a:pt x="9797" y="59577"/>
                      <a:pt x="9797" y="120796"/>
                    </a:cubicBezTo>
                    <a:cubicBezTo>
                      <a:pt x="9797" y="182015"/>
                      <a:pt x="59604" y="231822"/>
                      <a:pt x="120823" y="231822"/>
                    </a:cubicBezTo>
                    <a:cubicBezTo>
                      <a:pt x="182042" y="231822"/>
                      <a:pt x="231848" y="182015"/>
                      <a:pt x="231848" y="120796"/>
                    </a:cubicBezTo>
                    <a:cubicBezTo>
                      <a:pt x="231848" y="59577"/>
                      <a:pt x="182042" y="9771"/>
                      <a:pt x="120823" y="9771"/>
                    </a:cubicBezTo>
                    <a:close/>
                  </a:path>
                </a:pathLst>
              </a:custGeom>
              <a:solidFill>
                <a:schemeClr val="tx2"/>
              </a:solidFill>
              <a:ln w="2648" cap="flat">
                <a:noFill/>
                <a:prstDash val="solid"/>
                <a:miter/>
              </a:ln>
            </p:spPr>
            <p:txBody>
              <a:bodyPr rtlCol="0" anchor="ctr"/>
              <a:lstStyle/>
              <a:p>
                <a:endParaRPr lang="en-GB" dirty="0"/>
              </a:p>
            </p:txBody>
          </p:sp>
          <p:sp>
            <p:nvSpPr>
              <p:cNvPr id="272" name="Freihandform: Form 932">
                <a:extLst>
                  <a:ext uri="{FF2B5EF4-FFF2-40B4-BE49-F238E27FC236}">
                    <a16:creationId xmlns:a16="http://schemas.microsoft.com/office/drawing/2014/main" id="{070D3214-C8D3-4D3B-B53E-349412D53972}"/>
                  </a:ext>
                </a:extLst>
              </p:cNvPr>
              <p:cNvSpPr/>
              <p:nvPr/>
            </p:nvSpPr>
            <p:spPr>
              <a:xfrm>
                <a:off x="7181603" y="3378408"/>
                <a:ext cx="45464" cy="39267"/>
              </a:xfrm>
              <a:custGeom>
                <a:avLst/>
                <a:gdLst>
                  <a:gd name="connsiteX0" fmla="*/ 40565 w 45464"/>
                  <a:gd name="connsiteY0" fmla="*/ 39268 h 39267"/>
                  <a:gd name="connsiteX1" fmla="*/ 35667 w 45464"/>
                  <a:gd name="connsiteY1" fmla="*/ 34369 h 39267"/>
                  <a:gd name="connsiteX2" fmla="*/ 35667 w 45464"/>
                  <a:gd name="connsiteY2" fmla="*/ 9797 h 39267"/>
                  <a:gd name="connsiteX3" fmla="*/ 9797 w 45464"/>
                  <a:gd name="connsiteY3" fmla="*/ 9797 h 39267"/>
                  <a:gd name="connsiteX4" fmla="*/ 9797 w 45464"/>
                  <a:gd name="connsiteY4" fmla="*/ 34369 h 39267"/>
                  <a:gd name="connsiteX5" fmla="*/ 4899 w 45464"/>
                  <a:gd name="connsiteY5" fmla="*/ 39268 h 39267"/>
                  <a:gd name="connsiteX6" fmla="*/ 0 w 45464"/>
                  <a:gd name="connsiteY6" fmla="*/ 34369 h 39267"/>
                  <a:gd name="connsiteX7" fmla="*/ 0 w 45464"/>
                  <a:gd name="connsiteY7" fmla="*/ 4899 h 39267"/>
                  <a:gd name="connsiteX8" fmla="*/ 4899 w 45464"/>
                  <a:gd name="connsiteY8" fmla="*/ 0 h 39267"/>
                  <a:gd name="connsiteX9" fmla="*/ 40565 w 45464"/>
                  <a:gd name="connsiteY9" fmla="*/ 0 h 39267"/>
                  <a:gd name="connsiteX10" fmla="*/ 45464 w 45464"/>
                  <a:gd name="connsiteY10" fmla="*/ 4899 h 39267"/>
                  <a:gd name="connsiteX11" fmla="*/ 45464 w 45464"/>
                  <a:gd name="connsiteY11" fmla="*/ 34369 h 39267"/>
                  <a:gd name="connsiteX12" fmla="*/ 40565 w 45464"/>
                  <a:gd name="connsiteY12" fmla="*/ 39268 h 39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464" h="39267">
                    <a:moveTo>
                      <a:pt x="40565" y="39268"/>
                    </a:moveTo>
                    <a:cubicBezTo>
                      <a:pt x="37865" y="39268"/>
                      <a:pt x="35667" y="37070"/>
                      <a:pt x="35667" y="34369"/>
                    </a:cubicBezTo>
                    <a:lnTo>
                      <a:pt x="35667" y="9797"/>
                    </a:lnTo>
                    <a:lnTo>
                      <a:pt x="9797" y="9797"/>
                    </a:lnTo>
                    <a:lnTo>
                      <a:pt x="9797" y="34369"/>
                    </a:lnTo>
                    <a:cubicBezTo>
                      <a:pt x="9797" y="37070"/>
                      <a:pt x="7599" y="39268"/>
                      <a:pt x="4899" y="39268"/>
                    </a:cubicBezTo>
                    <a:cubicBezTo>
                      <a:pt x="2198" y="39268"/>
                      <a:pt x="0" y="37070"/>
                      <a:pt x="0" y="34369"/>
                    </a:cubicBezTo>
                    <a:lnTo>
                      <a:pt x="0" y="4899"/>
                    </a:lnTo>
                    <a:cubicBezTo>
                      <a:pt x="0" y="2198"/>
                      <a:pt x="2198" y="0"/>
                      <a:pt x="4899" y="0"/>
                    </a:cubicBezTo>
                    <a:lnTo>
                      <a:pt x="40565" y="0"/>
                    </a:lnTo>
                    <a:cubicBezTo>
                      <a:pt x="43266" y="0"/>
                      <a:pt x="45464" y="2198"/>
                      <a:pt x="45464" y="4899"/>
                    </a:cubicBezTo>
                    <a:lnTo>
                      <a:pt x="45464" y="34369"/>
                    </a:lnTo>
                    <a:cubicBezTo>
                      <a:pt x="45464" y="37070"/>
                      <a:pt x="43266" y="39268"/>
                      <a:pt x="40565" y="39268"/>
                    </a:cubicBezTo>
                    <a:close/>
                  </a:path>
                </a:pathLst>
              </a:custGeom>
              <a:solidFill>
                <a:schemeClr val="tx2"/>
              </a:solidFill>
              <a:ln w="2648" cap="flat">
                <a:noFill/>
                <a:prstDash val="solid"/>
                <a:miter/>
              </a:ln>
            </p:spPr>
            <p:txBody>
              <a:bodyPr rtlCol="0" anchor="ctr"/>
              <a:lstStyle/>
              <a:p>
                <a:endParaRPr lang="en-GB" dirty="0"/>
              </a:p>
            </p:txBody>
          </p:sp>
          <p:sp>
            <p:nvSpPr>
              <p:cNvPr id="273" name="Freihandform: Form 933">
                <a:extLst>
                  <a:ext uri="{FF2B5EF4-FFF2-40B4-BE49-F238E27FC236}">
                    <a16:creationId xmlns:a16="http://schemas.microsoft.com/office/drawing/2014/main" id="{D19A2324-72ED-4BBF-A097-5526393AD6E4}"/>
                  </a:ext>
                </a:extLst>
              </p:cNvPr>
              <p:cNvSpPr/>
              <p:nvPr/>
            </p:nvSpPr>
            <p:spPr>
              <a:xfrm>
                <a:off x="7166193" y="3359476"/>
                <a:ext cx="78297" cy="28729"/>
              </a:xfrm>
              <a:custGeom>
                <a:avLst/>
                <a:gdLst>
                  <a:gd name="connsiteX0" fmla="*/ 73399 w 78297"/>
                  <a:gd name="connsiteY0" fmla="*/ 28729 h 28729"/>
                  <a:gd name="connsiteX1" fmla="*/ 4899 w 78297"/>
                  <a:gd name="connsiteY1" fmla="*/ 28729 h 28729"/>
                  <a:gd name="connsiteX2" fmla="*/ 0 w 78297"/>
                  <a:gd name="connsiteY2" fmla="*/ 23831 h 28729"/>
                  <a:gd name="connsiteX3" fmla="*/ 0 w 78297"/>
                  <a:gd name="connsiteY3" fmla="*/ 4899 h 28729"/>
                  <a:gd name="connsiteX4" fmla="*/ 4899 w 78297"/>
                  <a:gd name="connsiteY4" fmla="*/ 0 h 28729"/>
                  <a:gd name="connsiteX5" fmla="*/ 73399 w 78297"/>
                  <a:gd name="connsiteY5" fmla="*/ 0 h 28729"/>
                  <a:gd name="connsiteX6" fmla="*/ 78298 w 78297"/>
                  <a:gd name="connsiteY6" fmla="*/ 4899 h 28729"/>
                  <a:gd name="connsiteX7" fmla="*/ 78298 w 78297"/>
                  <a:gd name="connsiteY7" fmla="*/ 23831 h 28729"/>
                  <a:gd name="connsiteX8" fmla="*/ 73399 w 78297"/>
                  <a:gd name="connsiteY8" fmla="*/ 28729 h 28729"/>
                  <a:gd name="connsiteX9" fmla="*/ 9797 w 78297"/>
                  <a:gd name="connsiteY9" fmla="*/ 18906 h 28729"/>
                  <a:gd name="connsiteX10" fmla="*/ 68474 w 78297"/>
                  <a:gd name="connsiteY10" fmla="*/ 18906 h 28729"/>
                  <a:gd name="connsiteX11" fmla="*/ 68474 w 78297"/>
                  <a:gd name="connsiteY11" fmla="*/ 9771 h 28729"/>
                  <a:gd name="connsiteX12" fmla="*/ 9797 w 78297"/>
                  <a:gd name="connsiteY12" fmla="*/ 9771 h 28729"/>
                  <a:gd name="connsiteX13" fmla="*/ 9797 w 78297"/>
                  <a:gd name="connsiteY13" fmla="*/ 18906 h 28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297" h="28729">
                    <a:moveTo>
                      <a:pt x="73399" y="28729"/>
                    </a:moveTo>
                    <a:lnTo>
                      <a:pt x="4899" y="28729"/>
                    </a:lnTo>
                    <a:cubicBezTo>
                      <a:pt x="2198" y="28729"/>
                      <a:pt x="0" y="26532"/>
                      <a:pt x="0" y="23831"/>
                    </a:cubicBezTo>
                    <a:lnTo>
                      <a:pt x="0" y="4899"/>
                    </a:lnTo>
                    <a:cubicBezTo>
                      <a:pt x="0" y="2198"/>
                      <a:pt x="2198" y="0"/>
                      <a:pt x="4899" y="0"/>
                    </a:cubicBezTo>
                    <a:lnTo>
                      <a:pt x="73399" y="0"/>
                    </a:lnTo>
                    <a:cubicBezTo>
                      <a:pt x="76100" y="0"/>
                      <a:pt x="78298" y="2198"/>
                      <a:pt x="78298" y="4899"/>
                    </a:cubicBezTo>
                    <a:lnTo>
                      <a:pt x="78298" y="23831"/>
                    </a:lnTo>
                    <a:cubicBezTo>
                      <a:pt x="78298" y="26532"/>
                      <a:pt x="76100" y="28729"/>
                      <a:pt x="73399" y="28729"/>
                    </a:cubicBezTo>
                    <a:close/>
                    <a:moveTo>
                      <a:pt x="9797" y="18906"/>
                    </a:moveTo>
                    <a:lnTo>
                      <a:pt x="68474" y="18906"/>
                    </a:lnTo>
                    <a:lnTo>
                      <a:pt x="68474" y="9771"/>
                    </a:lnTo>
                    <a:lnTo>
                      <a:pt x="9797" y="9771"/>
                    </a:lnTo>
                    <a:lnTo>
                      <a:pt x="9797" y="18906"/>
                    </a:lnTo>
                    <a:close/>
                  </a:path>
                </a:pathLst>
              </a:custGeom>
              <a:solidFill>
                <a:schemeClr val="tx2"/>
              </a:solidFill>
              <a:ln w="2648" cap="flat">
                <a:noFill/>
                <a:prstDash val="solid"/>
                <a:miter/>
              </a:ln>
            </p:spPr>
            <p:txBody>
              <a:bodyPr rtlCol="0" anchor="ctr"/>
              <a:lstStyle/>
              <a:p>
                <a:endParaRPr lang="en-GB" dirty="0"/>
              </a:p>
            </p:txBody>
          </p:sp>
          <p:sp>
            <p:nvSpPr>
              <p:cNvPr id="274" name="Freihandform: Form 935">
                <a:extLst>
                  <a:ext uri="{FF2B5EF4-FFF2-40B4-BE49-F238E27FC236}">
                    <a16:creationId xmlns:a16="http://schemas.microsoft.com/office/drawing/2014/main" id="{351B18C3-C567-4630-9974-CC23180AEFB3}"/>
                  </a:ext>
                </a:extLst>
              </p:cNvPr>
              <p:cNvSpPr/>
              <p:nvPr/>
            </p:nvSpPr>
            <p:spPr>
              <a:xfrm>
                <a:off x="7119934" y="3446852"/>
                <a:ext cx="123822" cy="166343"/>
              </a:xfrm>
              <a:custGeom>
                <a:avLst/>
                <a:gdLst>
                  <a:gd name="connsiteX0" fmla="*/ 85076 w 123822"/>
                  <a:gd name="connsiteY0" fmla="*/ 166343 h 166343"/>
                  <a:gd name="connsiteX1" fmla="*/ 0 w 123822"/>
                  <a:gd name="connsiteY1" fmla="*/ 81267 h 166343"/>
                  <a:gd name="connsiteX2" fmla="*/ 59101 w 123822"/>
                  <a:gd name="connsiteY2" fmla="*/ 242 h 166343"/>
                  <a:gd name="connsiteX3" fmla="*/ 65270 w 123822"/>
                  <a:gd name="connsiteY3" fmla="*/ 3419 h 166343"/>
                  <a:gd name="connsiteX4" fmla="*/ 62093 w 123822"/>
                  <a:gd name="connsiteY4" fmla="*/ 9589 h 166343"/>
                  <a:gd name="connsiteX5" fmla="*/ 9824 w 123822"/>
                  <a:gd name="connsiteY5" fmla="*/ 81293 h 166343"/>
                  <a:gd name="connsiteX6" fmla="*/ 85076 w 123822"/>
                  <a:gd name="connsiteY6" fmla="*/ 156546 h 166343"/>
                  <a:gd name="connsiteX7" fmla="*/ 116851 w 123822"/>
                  <a:gd name="connsiteY7" fmla="*/ 149529 h 166343"/>
                  <a:gd name="connsiteX8" fmla="*/ 123365 w 123822"/>
                  <a:gd name="connsiteY8" fmla="*/ 151886 h 166343"/>
                  <a:gd name="connsiteX9" fmla="*/ 121008 w 123822"/>
                  <a:gd name="connsiteY9" fmla="*/ 158400 h 166343"/>
                  <a:gd name="connsiteX10" fmla="*/ 85076 w 123822"/>
                  <a:gd name="connsiteY10" fmla="*/ 166343 h 166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822" h="166343">
                    <a:moveTo>
                      <a:pt x="85076" y="166343"/>
                    </a:moveTo>
                    <a:cubicBezTo>
                      <a:pt x="38156" y="166343"/>
                      <a:pt x="0" y="128187"/>
                      <a:pt x="0" y="81267"/>
                    </a:cubicBezTo>
                    <a:cubicBezTo>
                      <a:pt x="0" y="44117"/>
                      <a:pt x="23751" y="11548"/>
                      <a:pt x="59101" y="242"/>
                    </a:cubicBezTo>
                    <a:cubicBezTo>
                      <a:pt x="61696" y="-606"/>
                      <a:pt x="64449" y="851"/>
                      <a:pt x="65270" y="3419"/>
                    </a:cubicBezTo>
                    <a:cubicBezTo>
                      <a:pt x="66091" y="5988"/>
                      <a:pt x="64688" y="8768"/>
                      <a:pt x="62093" y="9589"/>
                    </a:cubicBezTo>
                    <a:cubicBezTo>
                      <a:pt x="30821" y="19598"/>
                      <a:pt x="9824" y="48407"/>
                      <a:pt x="9824" y="81293"/>
                    </a:cubicBezTo>
                    <a:cubicBezTo>
                      <a:pt x="9824" y="122786"/>
                      <a:pt x="43584" y="156546"/>
                      <a:pt x="85076" y="156546"/>
                    </a:cubicBezTo>
                    <a:cubicBezTo>
                      <a:pt x="96171" y="156546"/>
                      <a:pt x="106868" y="154189"/>
                      <a:pt x="116851" y="149529"/>
                    </a:cubicBezTo>
                    <a:cubicBezTo>
                      <a:pt x="119313" y="148364"/>
                      <a:pt x="122226" y="149450"/>
                      <a:pt x="123365" y="151886"/>
                    </a:cubicBezTo>
                    <a:cubicBezTo>
                      <a:pt x="124503" y="154348"/>
                      <a:pt x="123444" y="157261"/>
                      <a:pt x="121008" y="158400"/>
                    </a:cubicBezTo>
                    <a:cubicBezTo>
                      <a:pt x="109702" y="163669"/>
                      <a:pt x="97627" y="166343"/>
                      <a:pt x="85076" y="166343"/>
                    </a:cubicBezTo>
                    <a:close/>
                  </a:path>
                </a:pathLst>
              </a:custGeom>
              <a:solidFill>
                <a:schemeClr val="tx2"/>
              </a:solidFill>
              <a:ln w="2648" cap="flat">
                <a:noFill/>
                <a:prstDash val="solid"/>
                <a:miter/>
              </a:ln>
            </p:spPr>
            <p:txBody>
              <a:bodyPr rtlCol="0" anchor="ctr"/>
              <a:lstStyle/>
              <a:p>
                <a:endParaRPr lang="en-GB" dirty="0"/>
              </a:p>
            </p:txBody>
          </p:sp>
        </p:grpSp>
        <p:grpSp>
          <p:nvGrpSpPr>
            <p:cNvPr id="264" name="Group 263">
              <a:extLst>
                <a:ext uri="{FF2B5EF4-FFF2-40B4-BE49-F238E27FC236}">
                  <a16:creationId xmlns:a16="http://schemas.microsoft.com/office/drawing/2014/main" id="{0F5EB15B-6734-49BE-9897-DCCAB72E4C63}"/>
                </a:ext>
              </a:extLst>
            </p:cNvPr>
            <p:cNvGrpSpPr/>
            <p:nvPr/>
          </p:nvGrpSpPr>
          <p:grpSpPr>
            <a:xfrm>
              <a:off x="6962412" y="3276842"/>
              <a:ext cx="483820" cy="483416"/>
              <a:chOff x="6962412" y="3276842"/>
              <a:chExt cx="483820" cy="483416"/>
            </a:xfrm>
          </p:grpSpPr>
          <p:sp>
            <p:nvSpPr>
              <p:cNvPr id="265" name="Freihandform: Form 934">
                <a:extLst>
                  <a:ext uri="{FF2B5EF4-FFF2-40B4-BE49-F238E27FC236}">
                    <a16:creationId xmlns:a16="http://schemas.microsoft.com/office/drawing/2014/main" id="{E23A99FB-2BEB-4538-AD22-27E69ED9AE53}"/>
                  </a:ext>
                </a:extLst>
              </p:cNvPr>
              <p:cNvSpPr/>
              <p:nvPr/>
            </p:nvSpPr>
            <p:spPr>
              <a:xfrm>
                <a:off x="7200377" y="3443069"/>
                <a:ext cx="89736" cy="147221"/>
              </a:xfrm>
              <a:custGeom>
                <a:avLst/>
                <a:gdLst>
                  <a:gd name="connsiteX0" fmla="*/ 59604 w 89736"/>
                  <a:gd name="connsiteY0" fmla="*/ 147222 h 147221"/>
                  <a:gd name="connsiteX1" fmla="*/ 56320 w 89736"/>
                  <a:gd name="connsiteY1" fmla="*/ 145951 h 147221"/>
                  <a:gd name="connsiteX2" fmla="*/ 1430 w 89736"/>
                  <a:gd name="connsiteY2" fmla="*/ 91061 h 147221"/>
                  <a:gd name="connsiteX3" fmla="*/ 0 w 89736"/>
                  <a:gd name="connsiteY3" fmla="*/ 87618 h 147221"/>
                  <a:gd name="connsiteX4" fmla="*/ 0 w 89736"/>
                  <a:gd name="connsiteY4" fmla="*/ 4899 h 147221"/>
                  <a:gd name="connsiteX5" fmla="*/ 4899 w 89736"/>
                  <a:gd name="connsiteY5" fmla="*/ 0 h 147221"/>
                  <a:gd name="connsiteX6" fmla="*/ 4925 w 89736"/>
                  <a:gd name="connsiteY6" fmla="*/ 0 h 147221"/>
                  <a:gd name="connsiteX7" fmla="*/ 89737 w 89736"/>
                  <a:gd name="connsiteY7" fmla="*/ 84573 h 147221"/>
                  <a:gd name="connsiteX8" fmla="*/ 64052 w 89736"/>
                  <a:gd name="connsiteY8" fmla="*/ 145263 h 147221"/>
                  <a:gd name="connsiteX9" fmla="*/ 63337 w 89736"/>
                  <a:gd name="connsiteY9" fmla="*/ 145898 h 147221"/>
                  <a:gd name="connsiteX10" fmla="*/ 59604 w 89736"/>
                  <a:gd name="connsiteY10" fmla="*/ 147222 h 147221"/>
                  <a:gd name="connsiteX11" fmla="*/ 9771 w 89736"/>
                  <a:gd name="connsiteY11" fmla="*/ 85553 h 147221"/>
                  <a:gd name="connsiteX12" fmla="*/ 59789 w 89736"/>
                  <a:gd name="connsiteY12" fmla="*/ 135571 h 147221"/>
                  <a:gd name="connsiteX13" fmla="*/ 79913 w 89736"/>
                  <a:gd name="connsiteY13" fmla="*/ 84573 h 147221"/>
                  <a:gd name="connsiteX14" fmla="*/ 9771 w 89736"/>
                  <a:gd name="connsiteY14" fmla="*/ 9930 h 147221"/>
                  <a:gd name="connsiteX15" fmla="*/ 9771 w 89736"/>
                  <a:gd name="connsiteY15" fmla="*/ 85553 h 14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736" h="147221">
                    <a:moveTo>
                      <a:pt x="59604" y="147222"/>
                    </a:moveTo>
                    <a:cubicBezTo>
                      <a:pt x="58359" y="147222"/>
                      <a:pt x="57168" y="146825"/>
                      <a:pt x="56320" y="145951"/>
                    </a:cubicBezTo>
                    <a:lnTo>
                      <a:pt x="1430" y="91061"/>
                    </a:lnTo>
                    <a:cubicBezTo>
                      <a:pt x="530" y="90160"/>
                      <a:pt x="0" y="88916"/>
                      <a:pt x="0" y="87618"/>
                    </a:cubicBezTo>
                    <a:lnTo>
                      <a:pt x="0" y="4899"/>
                    </a:lnTo>
                    <a:cubicBezTo>
                      <a:pt x="0" y="2198"/>
                      <a:pt x="2198" y="0"/>
                      <a:pt x="4899" y="0"/>
                    </a:cubicBezTo>
                    <a:cubicBezTo>
                      <a:pt x="4899" y="0"/>
                      <a:pt x="4925" y="0"/>
                      <a:pt x="4925" y="0"/>
                    </a:cubicBezTo>
                    <a:cubicBezTo>
                      <a:pt x="51819" y="0"/>
                      <a:pt x="89737" y="37944"/>
                      <a:pt x="89737" y="84573"/>
                    </a:cubicBezTo>
                    <a:cubicBezTo>
                      <a:pt x="89737" y="107636"/>
                      <a:pt x="80628" y="129190"/>
                      <a:pt x="64052" y="145263"/>
                    </a:cubicBezTo>
                    <a:cubicBezTo>
                      <a:pt x="63973" y="145342"/>
                      <a:pt x="63443" y="145819"/>
                      <a:pt x="63337" y="145898"/>
                    </a:cubicBezTo>
                    <a:cubicBezTo>
                      <a:pt x="62331" y="146745"/>
                      <a:pt x="60928" y="147222"/>
                      <a:pt x="59604" y="147222"/>
                    </a:cubicBezTo>
                    <a:close/>
                    <a:moveTo>
                      <a:pt x="9771" y="85553"/>
                    </a:moveTo>
                    <a:lnTo>
                      <a:pt x="59789" y="135571"/>
                    </a:lnTo>
                    <a:cubicBezTo>
                      <a:pt x="72843" y="121564"/>
                      <a:pt x="79913" y="103638"/>
                      <a:pt x="79913" y="84573"/>
                    </a:cubicBezTo>
                    <a:cubicBezTo>
                      <a:pt x="79913" y="44882"/>
                      <a:pt x="48853" y="12339"/>
                      <a:pt x="9771" y="9930"/>
                    </a:cubicBezTo>
                    <a:lnTo>
                      <a:pt x="9771" y="85553"/>
                    </a:lnTo>
                    <a:close/>
                  </a:path>
                </a:pathLst>
              </a:custGeom>
              <a:solidFill>
                <a:schemeClr val="accent1"/>
              </a:solidFill>
              <a:ln w="2648" cap="flat">
                <a:noFill/>
                <a:prstDash val="solid"/>
                <a:miter/>
              </a:ln>
            </p:spPr>
            <p:txBody>
              <a:bodyPr rtlCol="0" anchor="ctr"/>
              <a:lstStyle/>
              <a:p>
                <a:endParaRPr lang="en-GB" dirty="0"/>
              </a:p>
            </p:txBody>
          </p:sp>
          <p:grpSp>
            <p:nvGrpSpPr>
              <p:cNvPr id="266" name="Grafik 102">
                <a:extLst>
                  <a:ext uri="{FF2B5EF4-FFF2-40B4-BE49-F238E27FC236}">
                    <a16:creationId xmlns:a16="http://schemas.microsoft.com/office/drawing/2014/main" id="{B89A332A-B142-4D7E-B844-C5112B7685BC}"/>
                  </a:ext>
                </a:extLst>
              </p:cNvPr>
              <p:cNvGrpSpPr/>
              <p:nvPr/>
            </p:nvGrpSpPr>
            <p:grpSpPr>
              <a:xfrm>
                <a:off x="6962412" y="3276842"/>
                <a:ext cx="483820" cy="483416"/>
                <a:chOff x="6962412" y="3276842"/>
                <a:chExt cx="483820" cy="483416"/>
              </a:xfrm>
              <a:solidFill>
                <a:schemeClr val="accent1"/>
              </a:solidFill>
            </p:grpSpPr>
            <p:grpSp>
              <p:nvGrpSpPr>
                <p:cNvPr id="267" name="Grafik 102">
                  <a:extLst>
                    <a:ext uri="{FF2B5EF4-FFF2-40B4-BE49-F238E27FC236}">
                      <a16:creationId xmlns:a16="http://schemas.microsoft.com/office/drawing/2014/main" id="{2D03EE59-113B-4546-9135-9EBEADDC6B91}"/>
                    </a:ext>
                  </a:extLst>
                </p:cNvPr>
                <p:cNvGrpSpPr/>
                <p:nvPr/>
              </p:nvGrpSpPr>
              <p:grpSpPr>
                <a:xfrm>
                  <a:off x="6962412" y="3499486"/>
                  <a:ext cx="483820" cy="260772"/>
                  <a:chOff x="6962412" y="3499486"/>
                  <a:chExt cx="483820" cy="260772"/>
                </a:xfrm>
                <a:solidFill>
                  <a:schemeClr val="accent1"/>
                </a:solidFill>
              </p:grpSpPr>
              <p:sp>
                <p:nvSpPr>
                  <p:cNvPr id="269" name="Freihandform: Form 938">
                    <a:extLst>
                      <a:ext uri="{FF2B5EF4-FFF2-40B4-BE49-F238E27FC236}">
                        <a16:creationId xmlns:a16="http://schemas.microsoft.com/office/drawing/2014/main" id="{34ED76C5-15C5-4B90-A41E-CD2CB8583863}"/>
                      </a:ext>
                    </a:extLst>
                  </p:cNvPr>
                  <p:cNvSpPr/>
                  <p:nvPr/>
                </p:nvSpPr>
                <p:spPr>
                  <a:xfrm>
                    <a:off x="7215125" y="3499486"/>
                    <a:ext cx="231106" cy="260772"/>
                  </a:xfrm>
                  <a:custGeom>
                    <a:avLst/>
                    <a:gdLst>
                      <a:gd name="connsiteX0" fmla="*/ 115553 w 231106"/>
                      <a:gd name="connsiteY0" fmla="*/ 260772 h 260772"/>
                      <a:gd name="connsiteX1" fmla="*/ 113091 w 231106"/>
                      <a:gd name="connsiteY1" fmla="*/ 260110 h 260772"/>
                      <a:gd name="connsiteX2" fmla="*/ 2463 w 231106"/>
                      <a:gd name="connsiteY2" fmla="*/ 196244 h 260772"/>
                      <a:gd name="connsiteX3" fmla="*/ 0 w 231106"/>
                      <a:gd name="connsiteY3" fmla="*/ 192007 h 260772"/>
                      <a:gd name="connsiteX4" fmla="*/ 0 w 231106"/>
                      <a:gd name="connsiteY4" fmla="*/ 162324 h 260772"/>
                      <a:gd name="connsiteX5" fmla="*/ 4899 w 231106"/>
                      <a:gd name="connsiteY5" fmla="*/ 157426 h 260772"/>
                      <a:gd name="connsiteX6" fmla="*/ 9797 w 231106"/>
                      <a:gd name="connsiteY6" fmla="*/ 162324 h 260772"/>
                      <a:gd name="connsiteX7" fmla="*/ 9797 w 231106"/>
                      <a:gd name="connsiteY7" fmla="*/ 189174 h 260772"/>
                      <a:gd name="connsiteX8" fmla="*/ 115527 w 231106"/>
                      <a:gd name="connsiteY8" fmla="*/ 250207 h 260772"/>
                      <a:gd name="connsiteX9" fmla="*/ 221257 w 231106"/>
                      <a:gd name="connsiteY9" fmla="*/ 189174 h 260772"/>
                      <a:gd name="connsiteX10" fmla="*/ 221257 w 231106"/>
                      <a:gd name="connsiteY10" fmla="*/ 67106 h 260772"/>
                      <a:gd name="connsiteX11" fmla="*/ 119393 w 231106"/>
                      <a:gd name="connsiteY11" fmla="*/ 9171 h 260772"/>
                      <a:gd name="connsiteX12" fmla="*/ 117566 w 231106"/>
                      <a:gd name="connsiteY12" fmla="*/ 2472 h 260772"/>
                      <a:gd name="connsiteX13" fmla="*/ 124265 w 231106"/>
                      <a:gd name="connsiteY13" fmla="*/ 645 h 260772"/>
                      <a:gd name="connsiteX14" fmla="*/ 228618 w 231106"/>
                      <a:gd name="connsiteY14" fmla="*/ 59984 h 260772"/>
                      <a:gd name="connsiteX15" fmla="*/ 231107 w 231106"/>
                      <a:gd name="connsiteY15" fmla="*/ 64247 h 260772"/>
                      <a:gd name="connsiteX16" fmla="*/ 231107 w 231106"/>
                      <a:gd name="connsiteY16" fmla="*/ 191980 h 260772"/>
                      <a:gd name="connsiteX17" fmla="*/ 228644 w 231106"/>
                      <a:gd name="connsiteY17" fmla="*/ 196217 h 260772"/>
                      <a:gd name="connsiteX18" fmla="*/ 118016 w 231106"/>
                      <a:gd name="connsiteY18" fmla="*/ 260084 h 260772"/>
                      <a:gd name="connsiteX19" fmla="*/ 115553 w 231106"/>
                      <a:gd name="connsiteY19" fmla="*/ 260772 h 26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1106" h="260772">
                        <a:moveTo>
                          <a:pt x="115553" y="260772"/>
                        </a:moveTo>
                        <a:cubicBezTo>
                          <a:pt x="114706" y="260772"/>
                          <a:pt x="113859" y="260560"/>
                          <a:pt x="113091" y="260110"/>
                        </a:cubicBezTo>
                        <a:lnTo>
                          <a:pt x="2463" y="196244"/>
                        </a:lnTo>
                        <a:cubicBezTo>
                          <a:pt x="953" y="195370"/>
                          <a:pt x="0" y="193755"/>
                          <a:pt x="0" y="192007"/>
                        </a:cubicBezTo>
                        <a:lnTo>
                          <a:pt x="0" y="162324"/>
                        </a:lnTo>
                        <a:cubicBezTo>
                          <a:pt x="0" y="159623"/>
                          <a:pt x="2198" y="157426"/>
                          <a:pt x="4899" y="157426"/>
                        </a:cubicBezTo>
                        <a:cubicBezTo>
                          <a:pt x="7599" y="157426"/>
                          <a:pt x="9797" y="159623"/>
                          <a:pt x="9797" y="162324"/>
                        </a:cubicBezTo>
                        <a:lnTo>
                          <a:pt x="9797" y="189174"/>
                        </a:lnTo>
                        <a:lnTo>
                          <a:pt x="115527" y="250207"/>
                        </a:lnTo>
                        <a:lnTo>
                          <a:pt x="221257" y="189174"/>
                        </a:lnTo>
                        <a:lnTo>
                          <a:pt x="221257" y="67106"/>
                        </a:lnTo>
                        <a:lnTo>
                          <a:pt x="119393" y="9171"/>
                        </a:lnTo>
                        <a:cubicBezTo>
                          <a:pt x="117036" y="7821"/>
                          <a:pt x="116215" y="4828"/>
                          <a:pt x="117566" y="2472"/>
                        </a:cubicBezTo>
                        <a:cubicBezTo>
                          <a:pt x="118916" y="142"/>
                          <a:pt x="121882" y="-706"/>
                          <a:pt x="124265" y="645"/>
                        </a:cubicBezTo>
                        <a:lnTo>
                          <a:pt x="228618" y="59984"/>
                        </a:lnTo>
                        <a:cubicBezTo>
                          <a:pt x="230153" y="60858"/>
                          <a:pt x="231107" y="62499"/>
                          <a:pt x="231107" y="64247"/>
                        </a:cubicBezTo>
                        <a:lnTo>
                          <a:pt x="231107" y="191980"/>
                        </a:lnTo>
                        <a:cubicBezTo>
                          <a:pt x="231107" y="193728"/>
                          <a:pt x="230180" y="195343"/>
                          <a:pt x="228644" y="196217"/>
                        </a:cubicBezTo>
                        <a:lnTo>
                          <a:pt x="118016" y="260084"/>
                        </a:lnTo>
                        <a:cubicBezTo>
                          <a:pt x="117248" y="260560"/>
                          <a:pt x="116401" y="260772"/>
                          <a:pt x="115553" y="260772"/>
                        </a:cubicBezTo>
                        <a:close/>
                      </a:path>
                    </a:pathLst>
                  </a:custGeom>
                  <a:solidFill>
                    <a:schemeClr val="accent1"/>
                  </a:solidFill>
                  <a:ln w="2648" cap="flat">
                    <a:noFill/>
                    <a:prstDash val="solid"/>
                    <a:miter/>
                  </a:ln>
                </p:spPr>
                <p:txBody>
                  <a:bodyPr rtlCol="0" anchor="ctr"/>
                  <a:lstStyle/>
                  <a:p>
                    <a:endParaRPr lang="en-GB" dirty="0"/>
                  </a:p>
                </p:txBody>
              </p:sp>
              <p:sp>
                <p:nvSpPr>
                  <p:cNvPr id="270" name="Freihandform: Form 939">
                    <a:extLst>
                      <a:ext uri="{FF2B5EF4-FFF2-40B4-BE49-F238E27FC236}">
                        <a16:creationId xmlns:a16="http://schemas.microsoft.com/office/drawing/2014/main" id="{4D162E8B-C2B3-4AC8-B3AE-BF449B2951EE}"/>
                      </a:ext>
                    </a:extLst>
                  </p:cNvPr>
                  <p:cNvSpPr/>
                  <p:nvPr/>
                </p:nvSpPr>
                <p:spPr>
                  <a:xfrm>
                    <a:off x="6962412" y="3499506"/>
                    <a:ext cx="231053" cy="260752"/>
                  </a:xfrm>
                  <a:custGeom>
                    <a:avLst/>
                    <a:gdLst>
                      <a:gd name="connsiteX0" fmla="*/ 115553 w 231053"/>
                      <a:gd name="connsiteY0" fmla="*/ 260752 h 260752"/>
                      <a:gd name="connsiteX1" fmla="*/ 113091 w 231053"/>
                      <a:gd name="connsiteY1" fmla="*/ 260090 h 260752"/>
                      <a:gd name="connsiteX2" fmla="*/ 2463 w 231053"/>
                      <a:gd name="connsiteY2" fmla="*/ 196224 h 260752"/>
                      <a:gd name="connsiteX3" fmla="*/ 0 w 231053"/>
                      <a:gd name="connsiteY3" fmla="*/ 191987 h 260752"/>
                      <a:gd name="connsiteX4" fmla="*/ 0 w 231053"/>
                      <a:gd name="connsiteY4" fmla="*/ 64253 h 260752"/>
                      <a:gd name="connsiteX5" fmla="*/ 2463 w 231053"/>
                      <a:gd name="connsiteY5" fmla="*/ 59990 h 260752"/>
                      <a:gd name="connsiteX6" fmla="*/ 105650 w 231053"/>
                      <a:gd name="connsiteY6" fmla="*/ 651 h 260752"/>
                      <a:gd name="connsiteX7" fmla="*/ 112349 w 231053"/>
                      <a:gd name="connsiteY7" fmla="*/ 2452 h 260752"/>
                      <a:gd name="connsiteX8" fmla="*/ 110549 w 231053"/>
                      <a:gd name="connsiteY8" fmla="*/ 9151 h 260752"/>
                      <a:gd name="connsiteX9" fmla="*/ 9797 w 231053"/>
                      <a:gd name="connsiteY9" fmla="*/ 67060 h 260752"/>
                      <a:gd name="connsiteX10" fmla="*/ 9797 w 231053"/>
                      <a:gd name="connsiteY10" fmla="*/ 189127 h 260752"/>
                      <a:gd name="connsiteX11" fmla="*/ 115527 w 231053"/>
                      <a:gd name="connsiteY11" fmla="*/ 250161 h 260752"/>
                      <a:gd name="connsiteX12" fmla="*/ 221257 w 231053"/>
                      <a:gd name="connsiteY12" fmla="*/ 189127 h 260752"/>
                      <a:gd name="connsiteX13" fmla="*/ 221257 w 231053"/>
                      <a:gd name="connsiteY13" fmla="*/ 162278 h 260752"/>
                      <a:gd name="connsiteX14" fmla="*/ 226155 w 231053"/>
                      <a:gd name="connsiteY14" fmla="*/ 157379 h 260752"/>
                      <a:gd name="connsiteX15" fmla="*/ 231054 w 231053"/>
                      <a:gd name="connsiteY15" fmla="*/ 162278 h 260752"/>
                      <a:gd name="connsiteX16" fmla="*/ 231054 w 231053"/>
                      <a:gd name="connsiteY16" fmla="*/ 191961 h 260752"/>
                      <a:gd name="connsiteX17" fmla="*/ 228591 w 231053"/>
                      <a:gd name="connsiteY17" fmla="*/ 196197 h 260752"/>
                      <a:gd name="connsiteX18" fmla="*/ 117963 w 231053"/>
                      <a:gd name="connsiteY18" fmla="*/ 260064 h 260752"/>
                      <a:gd name="connsiteX19" fmla="*/ 115553 w 231053"/>
                      <a:gd name="connsiteY19" fmla="*/ 260752 h 260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1053" h="260752">
                        <a:moveTo>
                          <a:pt x="115553" y="260752"/>
                        </a:moveTo>
                        <a:cubicBezTo>
                          <a:pt x="114706" y="260752"/>
                          <a:pt x="113859" y="260541"/>
                          <a:pt x="113091" y="260090"/>
                        </a:cubicBezTo>
                        <a:lnTo>
                          <a:pt x="2463" y="196224"/>
                        </a:lnTo>
                        <a:cubicBezTo>
                          <a:pt x="953" y="195350"/>
                          <a:pt x="0" y="193735"/>
                          <a:pt x="0" y="191987"/>
                        </a:cubicBezTo>
                        <a:lnTo>
                          <a:pt x="0" y="64253"/>
                        </a:lnTo>
                        <a:cubicBezTo>
                          <a:pt x="0" y="62506"/>
                          <a:pt x="927" y="60864"/>
                          <a:pt x="2463" y="59990"/>
                        </a:cubicBezTo>
                        <a:lnTo>
                          <a:pt x="105650" y="651"/>
                        </a:lnTo>
                        <a:cubicBezTo>
                          <a:pt x="108007" y="-699"/>
                          <a:pt x="110999" y="122"/>
                          <a:pt x="112349" y="2452"/>
                        </a:cubicBezTo>
                        <a:cubicBezTo>
                          <a:pt x="113700" y="4809"/>
                          <a:pt x="112906" y="7801"/>
                          <a:pt x="110549" y="9151"/>
                        </a:cubicBezTo>
                        <a:lnTo>
                          <a:pt x="9797" y="67060"/>
                        </a:lnTo>
                        <a:lnTo>
                          <a:pt x="9797" y="189127"/>
                        </a:lnTo>
                        <a:lnTo>
                          <a:pt x="115527" y="250161"/>
                        </a:lnTo>
                        <a:lnTo>
                          <a:pt x="221257" y="189127"/>
                        </a:lnTo>
                        <a:lnTo>
                          <a:pt x="221257" y="162278"/>
                        </a:lnTo>
                        <a:cubicBezTo>
                          <a:pt x="221257" y="159577"/>
                          <a:pt x="223454" y="157379"/>
                          <a:pt x="226155" y="157379"/>
                        </a:cubicBezTo>
                        <a:cubicBezTo>
                          <a:pt x="228856" y="157379"/>
                          <a:pt x="231054" y="159577"/>
                          <a:pt x="231054" y="162278"/>
                        </a:cubicBezTo>
                        <a:lnTo>
                          <a:pt x="231054" y="191961"/>
                        </a:lnTo>
                        <a:cubicBezTo>
                          <a:pt x="231054" y="193708"/>
                          <a:pt x="230127" y="195323"/>
                          <a:pt x="228591" y="196197"/>
                        </a:cubicBezTo>
                        <a:lnTo>
                          <a:pt x="117963" y="260064"/>
                        </a:lnTo>
                        <a:cubicBezTo>
                          <a:pt x="117248" y="260541"/>
                          <a:pt x="116401" y="260752"/>
                          <a:pt x="115553" y="260752"/>
                        </a:cubicBezTo>
                        <a:close/>
                      </a:path>
                    </a:pathLst>
                  </a:custGeom>
                  <a:solidFill>
                    <a:schemeClr val="accent1"/>
                  </a:solidFill>
                  <a:ln w="2648" cap="flat">
                    <a:noFill/>
                    <a:prstDash val="solid"/>
                    <a:miter/>
                  </a:ln>
                </p:spPr>
                <p:txBody>
                  <a:bodyPr rtlCol="0" anchor="ctr"/>
                  <a:lstStyle/>
                  <a:p>
                    <a:endParaRPr lang="en-GB" dirty="0"/>
                  </a:p>
                </p:txBody>
              </p:sp>
            </p:grpSp>
            <p:sp>
              <p:nvSpPr>
                <p:cNvPr id="268" name="Freihandform: Form 940">
                  <a:extLst>
                    <a:ext uri="{FF2B5EF4-FFF2-40B4-BE49-F238E27FC236}">
                      <a16:creationId xmlns:a16="http://schemas.microsoft.com/office/drawing/2014/main" id="{9A7690A1-C087-4239-B704-C40EDD83FB4D}"/>
                    </a:ext>
                  </a:extLst>
                </p:cNvPr>
                <p:cNvSpPr/>
                <p:nvPr/>
              </p:nvSpPr>
              <p:spPr>
                <a:xfrm>
                  <a:off x="7088795" y="3276842"/>
                  <a:ext cx="231080" cy="168716"/>
                </a:xfrm>
                <a:custGeom>
                  <a:avLst/>
                  <a:gdLst>
                    <a:gd name="connsiteX0" fmla="*/ 226155 w 231080"/>
                    <a:gd name="connsiteY0" fmla="*/ 168716 h 168716"/>
                    <a:gd name="connsiteX1" fmla="*/ 221257 w 231080"/>
                    <a:gd name="connsiteY1" fmla="*/ 163817 h 168716"/>
                    <a:gd name="connsiteX2" fmla="*/ 221257 w 231080"/>
                    <a:gd name="connsiteY2" fmla="*/ 71592 h 168716"/>
                    <a:gd name="connsiteX3" fmla="*/ 115527 w 231080"/>
                    <a:gd name="connsiteY3" fmla="*/ 10558 h 168716"/>
                    <a:gd name="connsiteX4" fmla="*/ 9797 w 231080"/>
                    <a:gd name="connsiteY4" fmla="*/ 71592 h 168716"/>
                    <a:gd name="connsiteX5" fmla="*/ 9797 w 231080"/>
                    <a:gd name="connsiteY5" fmla="*/ 163817 h 168716"/>
                    <a:gd name="connsiteX6" fmla="*/ 4899 w 231080"/>
                    <a:gd name="connsiteY6" fmla="*/ 168716 h 168716"/>
                    <a:gd name="connsiteX7" fmla="*/ 0 w 231080"/>
                    <a:gd name="connsiteY7" fmla="*/ 163817 h 168716"/>
                    <a:gd name="connsiteX8" fmla="*/ 0 w 231080"/>
                    <a:gd name="connsiteY8" fmla="*/ 68759 h 168716"/>
                    <a:gd name="connsiteX9" fmla="*/ 2463 w 231080"/>
                    <a:gd name="connsiteY9" fmla="*/ 64522 h 168716"/>
                    <a:gd name="connsiteX10" fmla="*/ 113091 w 231080"/>
                    <a:gd name="connsiteY10" fmla="*/ 655 h 168716"/>
                    <a:gd name="connsiteX11" fmla="*/ 117989 w 231080"/>
                    <a:gd name="connsiteY11" fmla="*/ 655 h 168716"/>
                    <a:gd name="connsiteX12" fmla="*/ 228618 w 231080"/>
                    <a:gd name="connsiteY12" fmla="*/ 64522 h 168716"/>
                    <a:gd name="connsiteX13" fmla="*/ 231080 w 231080"/>
                    <a:gd name="connsiteY13" fmla="*/ 68759 h 168716"/>
                    <a:gd name="connsiteX14" fmla="*/ 231080 w 231080"/>
                    <a:gd name="connsiteY14" fmla="*/ 163817 h 168716"/>
                    <a:gd name="connsiteX15" fmla="*/ 226155 w 231080"/>
                    <a:gd name="connsiteY15" fmla="*/ 168716 h 168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1080" h="168716">
                      <a:moveTo>
                        <a:pt x="226155" y="168716"/>
                      </a:moveTo>
                      <a:cubicBezTo>
                        <a:pt x="223454" y="168716"/>
                        <a:pt x="221257" y="166518"/>
                        <a:pt x="221257" y="163817"/>
                      </a:cubicBezTo>
                      <a:lnTo>
                        <a:pt x="221257" y="71592"/>
                      </a:lnTo>
                      <a:lnTo>
                        <a:pt x="115527" y="10558"/>
                      </a:lnTo>
                      <a:lnTo>
                        <a:pt x="9797" y="71592"/>
                      </a:lnTo>
                      <a:lnTo>
                        <a:pt x="9797" y="163817"/>
                      </a:lnTo>
                      <a:cubicBezTo>
                        <a:pt x="9797" y="166518"/>
                        <a:pt x="7599" y="168716"/>
                        <a:pt x="4899" y="168716"/>
                      </a:cubicBezTo>
                      <a:cubicBezTo>
                        <a:pt x="2198" y="168716"/>
                        <a:pt x="0" y="166518"/>
                        <a:pt x="0" y="163817"/>
                      </a:cubicBezTo>
                      <a:lnTo>
                        <a:pt x="0" y="68759"/>
                      </a:lnTo>
                      <a:cubicBezTo>
                        <a:pt x="0" y="67011"/>
                        <a:pt x="927" y="65396"/>
                        <a:pt x="2463" y="64522"/>
                      </a:cubicBezTo>
                      <a:lnTo>
                        <a:pt x="113091" y="655"/>
                      </a:lnTo>
                      <a:cubicBezTo>
                        <a:pt x="114600" y="-218"/>
                        <a:pt x="116480" y="-218"/>
                        <a:pt x="117989" y="655"/>
                      </a:cubicBezTo>
                      <a:lnTo>
                        <a:pt x="228618" y="64522"/>
                      </a:lnTo>
                      <a:cubicBezTo>
                        <a:pt x="230127" y="65396"/>
                        <a:pt x="231080" y="67011"/>
                        <a:pt x="231080" y="68759"/>
                      </a:cubicBezTo>
                      <a:lnTo>
                        <a:pt x="231080" y="163817"/>
                      </a:lnTo>
                      <a:cubicBezTo>
                        <a:pt x="231054" y="166518"/>
                        <a:pt x="228856" y="168716"/>
                        <a:pt x="226155" y="168716"/>
                      </a:cubicBezTo>
                      <a:close/>
                    </a:path>
                  </a:pathLst>
                </a:custGeom>
                <a:solidFill>
                  <a:schemeClr val="accent1"/>
                </a:solidFill>
                <a:ln w="2648" cap="flat">
                  <a:noFill/>
                  <a:prstDash val="solid"/>
                  <a:miter/>
                </a:ln>
              </p:spPr>
              <p:txBody>
                <a:bodyPr rtlCol="0" anchor="ctr"/>
                <a:lstStyle/>
                <a:p>
                  <a:endParaRPr lang="en-GB" dirty="0"/>
                </a:p>
              </p:txBody>
            </p:sp>
          </p:grpSp>
        </p:grpSp>
      </p:grpSp>
      <p:grpSp>
        <p:nvGrpSpPr>
          <p:cNvPr id="124" name="Group 123">
            <a:extLst>
              <a:ext uri="{FF2B5EF4-FFF2-40B4-BE49-F238E27FC236}">
                <a16:creationId xmlns:a16="http://schemas.microsoft.com/office/drawing/2014/main" id="{FF387540-3997-49B4-5ED1-E86571231C7D}"/>
              </a:ext>
            </a:extLst>
          </p:cNvPr>
          <p:cNvGrpSpPr/>
          <p:nvPr/>
        </p:nvGrpSpPr>
        <p:grpSpPr>
          <a:xfrm>
            <a:off x="1526722" y="4024273"/>
            <a:ext cx="625524" cy="388676"/>
            <a:chOff x="1526722" y="4024273"/>
            <a:chExt cx="625524" cy="388676"/>
          </a:xfrm>
        </p:grpSpPr>
        <p:grpSp>
          <p:nvGrpSpPr>
            <p:cNvPr id="276" name="Grafik 102">
              <a:extLst>
                <a:ext uri="{FF2B5EF4-FFF2-40B4-BE49-F238E27FC236}">
                  <a16:creationId xmlns:a16="http://schemas.microsoft.com/office/drawing/2014/main" id="{3E02C4EF-DE14-41CA-BA60-A1DB905B6846}"/>
                </a:ext>
              </a:extLst>
            </p:cNvPr>
            <p:cNvGrpSpPr/>
            <p:nvPr/>
          </p:nvGrpSpPr>
          <p:grpSpPr>
            <a:xfrm>
              <a:off x="1745730" y="4194319"/>
              <a:ext cx="170490" cy="63687"/>
              <a:chOff x="7928622" y="3504632"/>
              <a:chExt cx="162606" cy="60742"/>
            </a:xfrm>
            <a:solidFill>
              <a:schemeClr val="accent1"/>
            </a:solidFill>
          </p:grpSpPr>
          <p:sp>
            <p:nvSpPr>
              <p:cNvPr id="291" name="Freihandform: Form 943">
                <a:extLst>
                  <a:ext uri="{FF2B5EF4-FFF2-40B4-BE49-F238E27FC236}">
                    <a16:creationId xmlns:a16="http://schemas.microsoft.com/office/drawing/2014/main" id="{A1897EA7-C3F2-4759-8986-00A85D0F5C75}"/>
                  </a:ext>
                </a:extLst>
              </p:cNvPr>
              <p:cNvSpPr/>
              <p:nvPr/>
            </p:nvSpPr>
            <p:spPr>
              <a:xfrm>
                <a:off x="7992304" y="3530105"/>
                <a:ext cx="91484" cy="9797"/>
              </a:xfrm>
              <a:custGeom>
                <a:avLst/>
                <a:gdLst>
                  <a:gd name="connsiteX0" fmla="*/ 86586 w 91484"/>
                  <a:gd name="connsiteY0" fmla="*/ 9797 h 9797"/>
                  <a:gd name="connsiteX1" fmla="*/ 4899 w 91484"/>
                  <a:gd name="connsiteY1" fmla="*/ 9797 h 9797"/>
                  <a:gd name="connsiteX2" fmla="*/ 0 w 91484"/>
                  <a:gd name="connsiteY2" fmla="*/ 4899 h 9797"/>
                  <a:gd name="connsiteX3" fmla="*/ 4899 w 91484"/>
                  <a:gd name="connsiteY3" fmla="*/ 0 h 9797"/>
                  <a:gd name="connsiteX4" fmla="*/ 86586 w 91484"/>
                  <a:gd name="connsiteY4" fmla="*/ 0 h 9797"/>
                  <a:gd name="connsiteX5" fmla="*/ 91484 w 91484"/>
                  <a:gd name="connsiteY5" fmla="*/ 4899 h 9797"/>
                  <a:gd name="connsiteX6" fmla="*/ 86586 w 91484"/>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84" h="9797">
                    <a:moveTo>
                      <a:pt x="86586" y="9797"/>
                    </a:moveTo>
                    <a:lnTo>
                      <a:pt x="4899" y="9797"/>
                    </a:lnTo>
                    <a:cubicBezTo>
                      <a:pt x="2198" y="9797"/>
                      <a:pt x="0" y="7599"/>
                      <a:pt x="0" y="4899"/>
                    </a:cubicBezTo>
                    <a:cubicBezTo>
                      <a:pt x="0" y="2198"/>
                      <a:pt x="2198" y="0"/>
                      <a:pt x="4899" y="0"/>
                    </a:cubicBezTo>
                    <a:lnTo>
                      <a:pt x="86586" y="0"/>
                    </a:lnTo>
                    <a:cubicBezTo>
                      <a:pt x="89287" y="0"/>
                      <a:pt x="91484" y="2198"/>
                      <a:pt x="91484" y="4899"/>
                    </a:cubicBezTo>
                    <a:cubicBezTo>
                      <a:pt x="91484" y="7599"/>
                      <a:pt x="89287" y="9797"/>
                      <a:pt x="86586" y="9797"/>
                    </a:cubicBezTo>
                    <a:close/>
                  </a:path>
                </a:pathLst>
              </a:custGeom>
              <a:solidFill>
                <a:schemeClr val="accent1"/>
              </a:solidFill>
              <a:ln w="2648" cap="flat">
                <a:noFill/>
                <a:prstDash val="solid"/>
                <a:miter/>
              </a:ln>
            </p:spPr>
            <p:txBody>
              <a:bodyPr rtlCol="0" anchor="ctr"/>
              <a:lstStyle/>
              <a:p>
                <a:endParaRPr lang="en-GB" dirty="0"/>
              </a:p>
            </p:txBody>
          </p:sp>
          <p:sp>
            <p:nvSpPr>
              <p:cNvPr id="292" name="Freihandform: Form 944">
                <a:extLst>
                  <a:ext uri="{FF2B5EF4-FFF2-40B4-BE49-F238E27FC236}">
                    <a16:creationId xmlns:a16="http://schemas.microsoft.com/office/drawing/2014/main" id="{B033F105-4AE7-4FFE-A9BE-C264121C90D0}"/>
                  </a:ext>
                </a:extLst>
              </p:cNvPr>
              <p:cNvSpPr/>
              <p:nvPr/>
            </p:nvSpPr>
            <p:spPr>
              <a:xfrm>
                <a:off x="7928622" y="3530105"/>
                <a:ext cx="37441" cy="9797"/>
              </a:xfrm>
              <a:custGeom>
                <a:avLst/>
                <a:gdLst>
                  <a:gd name="connsiteX0" fmla="*/ 32542 w 37441"/>
                  <a:gd name="connsiteY0" fmla="*/ 9797 h 9797"/>
                  <a:gd name="connsiteX1" fmla="*/ 4899 w 37441"/>
                  <a:gd name="connsiteY1" fmla="*/ 9797 h 9797"/>
                  <a:gd name="connsiteX2" fmla="*/ 0 w 37441"/>
                  <a:gd name="connsiteY2" fmla="*/ 4899 h 9797"/>
                  <a:gd name="connsiteX3" fmla="*/ 4899 w 37441"/>
                  <a:gd name="connsiteY3" fmla="*/ 0 h 9797"/>
                  <a:gd name="connsiteX4" fmla="*/ 32542 w 37441"/>
                  <a:gd name="connsiteY4" fmla="*/ 0 h 9797"/>
                  <a:gd name="connsiteX5" fmla="*/ 37441 w 37441"/>
                  <a:gd name="connsiteY5" fmla="*/ 4899 h 9797"/>
                  <a:gd name="connsiteX6" fmla="*/ 32542 w 37441"/>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441" h="9797">
                    <a:moveTo>
                      <a:pt x="32542" y="9797"/>
                    </a:moveTo>
                    <a:lnTo>
                      <a:pt x="4899" y="9797"/>
                    </a:lnTo>
                    <a:cubicBezTo>
                      <a:pt x="2198" y="9797"/>
                      <a:pt x="0" y="7599"/>
                      <a:pt x="0" y="4899"/>
                    </a:cubicBezTo>
                    <a:cubicBezTo>
                      <a:pt x="0" y="2198"/>
                      <a:pt x="2198" y="0"/>
                      <a:pt x="4899" y="0"/>
                    </a:cubicBezTo>
                    <a:lnTo>
                      <a:pt x="32542" y="0"/>
                    </a:lnTo>
                    <a:cubicBezTo>
                      <a:pt x="35243" y="0"/>
                      <a:pt x="37441" y="2198"/>
                      <a:pt x="37441" y="4899"/>
                    </a:cubicBezTo>
                    <a:cubicBezTo>
                      <a:pt x="37441" y="7599"/>
                      <a:pt x="35270" y="9797"/>
                      <a:pt x="32542" y="9797"/>
                    </a:cubicBezTo>
                    <a:close/>
                  </a:path>
                </a:pathLst>
              </a:custGeom>
              <a:solidFill>
                <a:schemeClr val="accent1"/>
              </a:solidFill>
              <a:ln w="2648" cap="flat">
                <a:noFill/>
                <a:prstDash val="solid"/>
                <a:miter/>
              </a:ln>
            </p:spPr>
            <p:txBody>
              <a:bodyPr rtlCol="0" anchor="ctr"/>
              <a:lstStyle/>
              <a:p>
                <a:endParaRPr lang="en-GB" dirty="0"/>
              </a:p>
            </p:txBody>
          </p:sp>
          <p:sp>
            <p:nvSpPr>
              <p:cNvPr id="293" name="Freihandform: Form 945">
                <a:extLst>
                  <a:ext uri="{FF2B5EF4-FFF2-40B4-BE49-F238E27FC236}">
                    <a16:creationId xmlns:a16="http://schemas.microsoft.com/office/drawing/2014/main" id="{5959A70F-24E5-4B2F-864A-6E04285846D5}"/>
                  </a:ext>
                </a:extLst>
              </p:cNvPr>
              <p:cNvSpPr/>
              <p:nvPr/>
            </p:nvSpPr>
            <p:spPr>
              <a:xfrm>
                <a:off x="8055959" y="3504632"/>
                <a:ext cx="35269" cy="60742"/>
              </a:xfrm>
              <a:custGeom>
                <a:avLst/>
                <a:gdLst>
                  <a:gd name="connsiteX0" fmla="*/ 4899 w 35269"/>
                  <a:gd name="connsiteY0" fmla="*/ 60742 h 60742"/>
                  <a:gd name="connsiteX1" fmla="*/ 1430 w 35269"/>
                  <a:gd name="connsiteY1" fmla="*/ 59312 h 60742"/>
                  <a:gd name="connsiteX2" fmla="*/ 1430 w 35269"/>
                  <a:gd name="connsiteY2" fmla="*/ 52375 h 60742"/>
                  <a:gd name="connsiteX3" fmla="*/ 23434 w 35269"/>
                  <a:gd name="connsiteY3" fmla="*/ 30371 h 60742"/>
                  <a:gd name="connsiteX4" fmla="*/ 1430 w 35269"/>
                  <a:gd name="connsiteY4" fmla="*/ 8367 h 60742"/>
                  <a:gd name="connsiteX5" fmla="*/ 1430 w 35269"/>
                  <a:gd name="connsiteY5" fmla="*/ 1430 h 60742"/>
                  <a:gd name="connsiteX6" fmla="*/ 8367 w 35269"/>
                  <a:gd name="connsiteY6" fmla="*/ 1430 h 60742"/>
                  <a:gd name="connsiteX7" fmla="*/ 33840 w 35269"/>
                  <a:gd name="connsiteY7" fmla="*/ 26902 h 60742"/>
                  <a:gd name="connsiteX8" fmla="*/ 35270 w 35269"/>
                  <a:gd name="connsiteY8" fmla="*/ 30371 h 60742"/>
                  <a:gd name="connsiteX9" fmla="*/ 33840 w 35269"/>
                  <a:gd name="connsiteY9" fmla="*/ 33840 h 60742"/>
                  <a:gd name="connsiteX10" fmla="*/ 8367 w 35269"/>
                  <a:gd name="connsiteY10" fmla="*/ 59312 h 60742"/>
                  <a:gd name="connsiteX11" fmla="*/ 4899 w 35269"/>
                  <a:gd name="connsiteY11" fmla="*/ 60742 h 60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5269" h="60742">
                    <a:moveTo>
                      <a:pt x="4899" y="60742"/>
                    </a:moveTo>
                    <a:cubicBezTo>
                      <a:pt x="3628" y="60742"/>
                      <a:pt x="2383" y="60266"/>
                      <a:pt x="1430" y="59312"/>
                    </a:cubicBezTo>
                    <a:cubicBezTo>
                      <a:pt x="-477" y="57406"/>
                      <a:pt x="-477" y="54281"/>
                      <a:pt x="1430" y="52375"/>
                    </a:cubicBezTo>
                    <a:lnTo>
                      <a:pt x="23434" y="30371"/>
                    </a:lnTo>
                    <a:lnTo>
                      <a:pt x="1430" y="8367"/>
                    </a:lnTo>
                    <a:cubicBezTo>
                      <a:pt x="-477" y="6461"/>
                      <a:pt x="-477" y="3336"/>
                      <a:pt x="1430" y="1430"/>
                    </a:cubicBezTo>
                    <a:cubicBezTo>
                      <a:pt x="3336" y="-477"/>
                      <a:pt x="6461" y="-477"/>
                      <a:pt x="8367" y="1430"/>
                    </a:cubicBezTo>
                    <a:lnTo>
                      <a:pt x="33840" y="26902"/>
                    </a:lnTo>
                    <a:cubicBezTo>
                      <a:pt x="34767" y="27829"/>
                      <a:pt x="35270" y="29074"/>
                      <a:pt x="35270" y="30371"/>
                    </a:cubicBezTo>
                    <a:cubicBezTo>
                      <a:pt x="35270" y="31669"/>
                      <a:pt x="34740" y="32913"/>
                      <a:pt x="33840" y="33840"/>
                    </a:cubicBezTo>
                    <a:lnTo>
                      <a:pt x="8367" y="59312"/>
                    </a:lnTo>
                    <a:cubicBezTo>
                      <a:pt x="7414" y="60266"/>
                      <a:pt x="6170" y="60742"/>
                      <a:pt x="4899" y="60742"/>
                    </a:cubicBezTo>
                    <a:close/>
                  </a:path>
                </a:pathLst>
              </a:custGeom>
              <a:solidFill>
                <a:schemeClr val="accent1"/>
              </a:solidFill>
              <a:ln w="2648" cap="flat">
                <a:noFill/>
                <a:prstDash val="solid"/>
                <a:miter/>
              </a:ln>
            </p:spPr>
            <p:txBody>
              <a:bodyPr rtlCol="0" anchor="ctr"/>
              <a:lstStyle/>
              <a:p>
                <a:endParaRPr lang="en-GB" dirty="0"/>
              </a:p>
            </p:txBody>
          </p:sp>
        </p:grpSp>
        <p:grpSp>
          <p:nvGrpSpPr>
            <p:cNvPr id="277" name="Group 276">
              <a:extLst>
                <a:ext uri="{FF2B5EF4-FFF2-40B4-BE49-F238E27FC236}">
                  <a16:creationId xmlns:a16="http://schemas.microsoft.com/office/drawing/2014/main" id="{2ADCCBFA-A9B8-424A-8980-B9A587283A67}"/>
                </a:ext>
              </a:extLst>
            </p:cNvPr>
            <p:cNvGrpSpPr/>
            <p:nvPr/>
          </p:nvGrpSpPr>
          <p:grpSpPr>
            <a:xfrm>
              <a:off x="1526722" y="4024273"/>
              <a:ext cx="625524" cy="388676"/>
              <a:chOff x="7719742" y="3342450"/>
              <a:chExt cx="596598" cy="370702"/>
            </a:xfrm>
            <a:solidFill>
              <a:schemeClr val="tx2"/>
            </a:solidFill>
          </p:grpSpPr>
          <p:grpSp>
            <p:nvGrpSpPr>
              <p:cNvPr id="278" name="Group 277">
                <a:extLst>
                  <a:ext uri="{FF2B5EF4-FFF2-40B4-BE49-F238E27FC236}">
                    <a16:creationId xmlns:a16="http://schemas.microsoft.com/office/drawing/2014/main" id="{CCF07084-A889-45AD-A813-830B5B6082C3}"/>
                  </a:ext>
                </a:extLst>
              </p:cNvPr>
              <p:cNvGrpSpPr/>
              <p:nvPr/>
            </p:nvGrpSpPr>
            <p:grpSpPr>
              <a:xfrm>
                <a:off x="7719742" y="3415002"/>
                <a:ext cx="216564" cy="298150"/>
                <a:chOff x="7719742" y="3415002"/>
                <a:chExt cx="216564" cy="298150"/>
              </a:xfrm>
              <a:grpFill/>
            </p:grpSpPr>
            <p:sp>
              <p:nvSpPr>
                <p:cNvPr id="286" name="Freihandform: Form 952">
                  <a:extLst>
                    <a:ext uri="{FF2B5EF4-FFF2-40B4-BE49-F238E27FC236}">
                      <a16:creationId xmlns:a16="http://schemas.microsoft.com/office/drawing/2014/main" id="{C6429EA7-FEEC-4935-88B3-2415A64430DF}"/>
                    </a:ext>
                  </a:extLst>
                </p:cNvPr>
                <p:cNvSpPr/>
                <p:nvPr/>
              </p:nvSpPr>
              <p:spPr>
                <a:xfrm>
                  <a:off x="7778091" y="3415002"/>
                  <a:ext cx="99878" cy="89418"/>
                </a:xfrm>
                <a:custGeom>
                  <a:avLst/>
                  <a:gdLst>
                    <a:gd name="connsiteX0" fmla="*/ 21077 w 99878"/>
                    <a:gd name="connsiteY0" fmla="*/ 89419 h 89418"/>
                    <a:gd name="connsiteX1" fmla="*/ 17926 w 99878"/>
                    <a:gd name="connsiteY1" fmla="*/ 88280 h 89418"/>
                    <a:gd name="connsiteX2" fmla="*/ 0 w 99878"/>
                    <a:gd name="connsiteY2" fmla="*/ 49939 h 89418"/>
                    <a:gd name="connsiteX3" fmla="*/ 49939 w 99878"/>
                    <a:gd name="connsiteY3" fmla="*/ 0 h 89418"/>
                    <a:gd name="connsiteX4" fmla="*/ 99878 w 99878"/>
                    <a:gd name="connsiteY4" fmla="*/ 49939 h 89418"/>
                    <a:gd name="connsiteX5" fmla="*/ 82852 w 99878"/>
                    <a:gd name="connsiteY5" fmla="*/ 87512 h 89418"/>
                    <a:gd name="connsiteX6" fmla="*/ 75941 w 99878"/>
                    <a:gd name="connsiteY6" fmla="*/ 87062 h 89418"/>
                    <a:gd name="connsiteX7" fmla="*/ 76391 w 99878"/>
                    <a:gd name="connsiteY7" fmla="*/ 80151 h 89418"/>
                    <a:gd name="connsiteX8" fmla="*/ 90081 w 99878"/>
                    <a:gd name="connsiteY8" fmla="*/ 49939 h 89418"/>
                    <a:gd name="connsiteX9" fmla="*/ 49965 w 99878"/>
                    <a:gd name="connsiteY9" fmla="*/ 9797 h 89418"/>
                    <a:gd name="connsiteX10" fmla="*/ 9850 w 99878"/>
                    <a:gd name="connsiteY10" fmla="*/ 49939 h 89418"/>
                    <a:gd name="connsiteX11" fmla="*/ 24254 w 99878"/>
                    <a:gd name="connsiteY11" fmla="*/ 80760 h 89418"/>
                    <a:gd name="connsiteX12" fmla="*/ 24864 w 99878"/>
                    <a:gd name="connsiteY12" fmla="*/ 87671 h 89418"/>
                    <a:gd name="connsiteX13" fmla="*/ 21077 w 99878"/>
                    <a:gd name="connsiteY13" fmla="*/ 89419 h 8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878" h="89418">
                      <a:moveTo>
                        <a:pt x="21077" y="89419"/>
                      </a:moveTo>
                      <a:cubicBezTo>
                        <a:pt x="19965" y="89419"/>
                        <a:pt x="18853" y="89048"/>
                        <a:pt x="17926" y="88280"/>
                      </a:cubicBezTo>
                      <a:cubicBezTo>
                        <a:pt x="6540" y="78748"/>
                        <a:pt x="0" y="64767"/>
                        <a:pt x="0" y="49939"/>
                      </a:cubicBezTo>
                      <a:cubicBezTo>
                        <a:pt x="0" y="22401"/>
                        <a:pt x="22401" y="0"/>
                        <a:pt x="49939" y="0"/>
                      </a:cubicBezTo>
                      <a:cubicBezTo>
                        <a:pt x="77477" y="0"/>
                        <a:pt x="99878" y="22401"/>
                        <a:pt x="99878" y="49939"/>
                      </a:cubicBezTo>
                      <a:cubicBezTo>
                        <a:pt x="99878" y="64317"/>
                        <a:pt x="93682" y="78007"/>
                        <a:pt x="82852" y="87512"/>
                      </a:cubicBezTo>
                      <a:cubicBezTo>
                        <a:pt x="80813" y="89287"/>
                        <a:pt x="77715" y="89101"/>
                        <a:pt x="75941" y="87062"/>
                      </a:cubicBezTo>
                      <a:cubicBezTo>
                        <a:pt x="74141" y="85023"/>
                        <a:pt x="74352" y="81925"/>
                        <a:pt x="76391" y="80151"/>
                      </a:cubicBezTo>
                      <a:cubicBezTo>
                        <a:pt x="85076" y="72525"/>
                        <a:pt x="90081" y="61510"/>
                        <a:pt x="90081" y="49939"/>
                      </a:cubicBezTo>
                      <a:cubicBezTo>
                        <a:pt x="90081" y="27803"/>
                        <a:pt x="72075" y="9797"/>
                        <a:pt x="49965" y="9797"/>
                      </a:cubicBezTo>
                      <a:cubicBezTo>
                        <a:pt x="27829" y="9797"/>
                        <a:pt x="9850" y="27803"/>
                        <a:pt x="9850" y="49939"/>
                      </a:cubicBezTo>
                      <a:cubicBezTo>
                        <a:pt x="9850" y="61855"/>
                        <a:pt x="15093" y="73082"/>
                        <a:pt x="24254" y="80760"/>
                      </a:cubicBezTo>
                      <a:cubicBezTo>
                        <a:pt x="26320" y="82508"/>
                        <a:pt x="26611" y="85579"/>
                        <a:pt x="24864" y="87671"/>
                      </a:cubicBezTo>
                      <a:cubicBezTo>
                        <a:pt x="23857" y="88810"/>
                        <a:pt x="22480" y="89419"/>
                        <a:pt x="21077" y="89419"/>
                      </a:cubicBezTo>
                      <a:close/>
                    </a:path>
                  </a:pathLst>
                </a:custGeom>
                <a:grpFill/>
                <a:ln w="2648" cap="flat">
                  <a:noFill/>
                  <a:prstDash val="solid"/>
                  <a:miter/>
                </a:ln>
              </p:spPr>
              <p:txBody>
                <a:bodyPr rtlCol="0" anchor="ctr"/>
                <a:lstStyle/>
                <a:p>
                  <a:endParaRPr lang="en-GB" dirty="0"/>
                </a:p>
              </p:txBody>
            </p:sp>
            <p:sp>
              <p:nvSpPr>
                <p:cNvPr id="287" name="Freihandform: Form 953">
                  <a:extLst>
                    <a:ext uri="{FF2B5EF4-FFF2-40B4-BE49-F238E27FC236}">
                      <a16:creationId xmlns:a16="http://schemas.microsoft.com/office/drawing/2014/main" id="{60BB5399-5D10-45D8-B601-0E866E610407}"/>
                    </a:ext>
                  </a:extLst>
                </p:cNvPr>
                <p:cNvSpPr/>
                <p:nvPr/>
              </p:nvSpPr>
              <p:spPr>
                <a:xfrm>
                  <a:off x="7765990" y="3494517"/>
                  <a:ext cx="124105" cy="47079"/>
                </a:xfrm>
                <a:custGeom>
                  <a:avLst/>
                  <a:gdLst>
                    <a:gd name="connsiteX0" fmla="*/ 100566 w 124105"/>
                    <a:gd name="connsiteY0" fmla="*/ 47079 h 47079"/>
                    <a:gd name="connsiteX1" fmla="*/ 23540 w 124105"/>
                    <a:gd name="connsiteY1" fmla="*/ 47079 h 47079"/>
                    <a:gd name="connsiteX2" fmla="*/ 0 w 124105"/>
                    <a:gd name="connsiteY2" fmla="*/ 23540 h 47079"/>
                    <a:gd name="connsiteX3" fmla="*/ 23540 w 124105"/>
                    <a:gd name="connsiteY3" fmla="*/ 0 h 47079"/>
                    <a:gd name="connsiteX4" fmla="*/ 100566 w 124105"/>
                    <a:gd name="connsiteY4" fmla="*/ 0 h 47079"/>
                    <a:gd name="connsiteX5" fmla="*/ 124106 w 124105"/>
                    <a:gd name="connsiteY5" fmla="*/ 23540 h 47079"/>
                    <a:gd name="connsiteX6" fmla="*/ 100566 w 124105"/>
                    <a:gd name="connsiteY6" fmla="*/ 47079 h 47079"/>
                    <a:gd name="connsiteX7" fmla="*/ 23540 w 124105"/>
                    <a:gd name="connsiteY7" fmla="*/ 9797 h 47079"/>
                    <a:gd name="connsiteX8" fmla="*/ 9797 w 124105"/>
                    <a:gd name="connsiteY8" fmla="*/ 23540 h 47079"/>
                    <a:gd name="connsiteX9" fmla="*/ 23540 w 124105"/>
                    <a:gd name="connsiteY9" fmla="*/ 37282 h 47079"/>
                    <a:gd name="connsiteX10" fmla="*/ 100566 w 124105"/>
                    <a:gd name="connsiteY10" fmla="*/ 37282 h 47079"/>
                    <a:gd name="connsiteX11" fmla="*/ 114282 w 124105"/>
                    <a:gd name="connsiteY11" fmla="*/ 23540 h 47079"/>
                    <a:gd name="connsiteX12" fmla="*/ 100566 w 124105"/>
                    <a:gd name="connsiteY12" fmla="*/ 9797 h 47079"/>
                    <a:gd name="connsiteX13" fmla="*/ 23540 w 124105"/>
                    <a:gd name="connsiteY13" fmla="*/ 9797 h 47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4105" h="47079">
                      <a:moveTo>
                        <a:pt x="100566" y="47079"/>
                      </a:moveTo>
                      <a:lnTo>
                        <a:pt x="23540" y="47079"/>
                      </a:lnTo>
                      <a:cubicBezTo>
                        <a:pt x="10565" y="47079"/>
                        <a:pt x="0" y="36514"/>
                        <a:pt x="0" y="23540"/>
                      </a:cubicBezTo>
                      <a:cubicBezTo>
                        <a:pt x="0" y="10565"/>
                        <a:pt x="10565" y="0"/>
                        <a:pt x="23540" y="0"/>
                      </a:cubicBezTo>
                      <a:lnTo>
                        <a:pt x="100566" y="0"/>
                      </a:lnTo>
                      <a:cubicBezTo>
                        <a:pt x="113541" y="0"/>
                        <a:pt x="124106" y="10565"/>
                        <a:pt x="124106" y="23540"/>
                      </a:cubicBezTo>
                      <a:cubicBezTo>
                        <a:pt x="124079" y="36514"/>
                        <a:pt x="113541" y="47079"/>
                        <a:pt x="100566" y="47079"/>
                      </a:cubicBezTo>
                      <a:close/>
                      <a:moveTo>
                        <a:pt x="23540" y="9797"/>
                      </a:moveTo>
                      <a:cubicBezTo>
                        <a:pt x="15967" y="9797"/>
                        <a:pt x="9797" y="15967"/>
                        <a:pt x="9797" y="23540"/>
                      </a:cubicBezTo>
                      <a:cubicBezTo>
                        <a:pt x="9797" y="31113"/>
                        <a:pt x="15967" y="37282"/>
                        <a:pt x="23540" y="37282"/>
                      </a:cubicBezTo>
                      <a:lnTo>
                        <a:pt x="100566" y="37282"/>
                      </a:lnTo>
                      <a:cubicBezTo>
                        <a:pt x="108139" y="37282"/>
                        <a:pt x="114282" y="31113"/>
                        <a:pt x="114282" y="23540"/>
                      </a:cubicBezTo>
                      <a:cubicBezTo>
                        <a:pt x="114282" y="15967"/>
                        <a:pt x="108139" y="9797"/>
                        <a:pt x="100566" y="9797"/>
                      </a:cubicBezTo>
                      <a:lnTo>
                        <a:pt x="23540" y="9797"/>
                      </a:lnTo>
                      <a:close/>
                    </a:path>
                  </a:pathLst>
                </a:custGeom>
                <a:grpFill/>
                <a:ln w="2648" cap="flat">
                  <a:noFill/>
                  <a:prstDash val="solid"/>
                  <a:miter/>
                </a:ln>
              </p:spPr>
              <p:txBody>
                <a:bodyPr rtlCol="0" anchor="ctr"/>
                <a:lstStyle/>
                <a:p>
                  <a:endParaRPr lang="en-GB" dirty="0"/>
                </a:p>
              </p:txBody>
            </p:sp>
            <p:sp>
              <p:nvSpPr>
                <p:cNvPr id="288" name="Freihandform: Form 954">
                  <a:extLst>
                    <a:ext uri="{FF2B5EF4-FFF2-40B4-BE49-F238E27FC236}">
                      <a16:creationId xmlns:a16="http://schemas.microsoft.com/office/drawing/2014/main" id="{18246507-C004-43BC-9A6A-7A29A8E02311}"/>
                    </a:ext>
                  </a:extLst>
                </p:cNvPr>
                <p:cNvSpPr/>
                <p:nvPr/>
              </p:nvSpPr>
              <p:spPr>
                <a:xfrm>
                  <a:off x="7775943" y="3531681"/>
                  <a:ext cx="104199" cy="73888"/>
                </a:xfrm>
                <a:custGeom>
                  <a:avLst/>
                  <a:gdLst>
                    <a:gd name="connsiteX0" fmla="*/ 99298 w 104199"/>
                    <a:gd name="connsiteY0" fmla="*/ 73888 h 73888"/>
                    <a:gd name="connsiteX1" fmla="*/ 4901 w 104199"/>
                    <a:gd name="connsiteY1" fmla="*/ 73888 h 73888"/>
                    <a:gd name="connsiteX2" fmla="*/ 506 w 104199"/>
                    <a:gd name="connsiteY2" fmla="*/ 71161 h 73888"/>
                    <a:gd name="connsiteX3" fmla="*/ 1009 w 104199"/>
                    <a:gd name="connsiteY3" fmla="*/ 66024 h 73888"/>
                    <a:gd name="connsiteX4" fmla="*/ 15837 w 104199"/>
                    <a:gd name="connsiteY4" fmla="*/ 5599 h 73888"/>
                    <a:gd name="connsiteX5" fmla="*/ 19994 w 104199"/>
                    <a:gd name="connsiteY5" fmla="*/ 65 h 73888"/>
                    <a:gd name="connsiteX6" fmla="*/ 25528 w 104199"/>
                    <a:gd name="connsiteY6" fmla="*/ 4222 h 73888"/>
                    <a:gd name="connsiteX7" fmla="*/ 14143 w 104199"/>
                    <a:gd name="connsiteY7" fmla="*/ 64091 h 73888"/>
                    <a:gd name="connsiteX8" fmla="*/ 90057 w 104199"/>
                    <a:gd name="connsiteY8" fmla="*/ 64091 h 73888"/>
                    <a:gd name="connsiteX9" fmla="*/ 78592 w 104199"/>
                    <a:gd name="connsiteY9" fmla="*/ 4726 h 73888"/>
                    <a:gd name="connsiteX10" fmla="*/ 84126 w 104199"/>
                    <a:gd name="connsiteY10" fmla="*/ 542 h 73888"/>
                    <a:gd name="connsiteX11" fmla="*/ 88309 w 104199"/>
                    <a:gd name="connsiteY11" fmla="*/ 6076 h 73888"/>
                    <a:gd name="connsiteX12" fmla="*/ 103190 w 104199"/>
                    <a:gd name="connsiteY12" fmla="*/ 66050 h 73888"/>
                    <a:gd name="connsiteX13" fmla="*/ 103694 w 104199"/>
                    <a:gd name="connsiteY13" fmla="*/ 71187 h 73888"/>
                    <a:gd name="connsiteX14" fmla="*/ 99298 w 104199"/>
                    <a:gd name="connsiteY14" fmla="*/ 73888 h 7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4199" h="73888">
                      <a:moveTo>
                        <a:pt x="99298" y="73888"/>
                      </a:moveTo>
                      <a:lnTo>
                        <a:pt x="4901" y="73888"/>
                      </a:lnTo>
                      <a:cubicBezTo>
                        <a:pt x="3048" y="73888"/>
                        <a:pt x="1327" y="72829"/>
                        <a:pt x="506" y="71161"/>
                      </a:cubicBezTo>
                      <a:cubicBezTo>
                        <a:pt x="-315" y="69492"/>
                        <a:pt x="-130" y="67507"/>
                        <a:pt x="1009" y="66024"/>
                      </a:cubicBezTo>
                      <a:cubicBezTo>
                        <a:pt x="18829" y="42696"/>
                        <a:pt x="17320" y="16005"/>
                        <a:pt x="15837" y="5599"/>
                      </a:cubicBezTo>
                      <a:cubicBezTo>
                        <a:pt x="15466" y="2925"/>
                        <a:pt x="17320" y="436"/>
                        <a:pt x="19994" y="65"/>
                      </a:cubicBezTo>
                      <a:cubicBezTo>
                        <a:pt x="22616" y="-385"/>
                        <a:pt x="25158" y="1548"/>
                        <a:pt x="25528" y="4222"/>
                      </a:cubicBezTo>
                      <a:cubicBezTo>
                        <a:pt x="27011" y="14682"/>
                        <a:pt x="28547" y="39969"/>
                        <a:pt x="14143" y="64091"/>
                      </a:cubicBezTo>
                      <a:lnTo>
                        <a:pt x="90057" y="64091"/>
                      </a:lnTo>
                      <a:cubicBezTo>
                        <a:pt x="75785" y="40181"/>
                        <a:pt x="77162" y="15105"/>
                        <a:pt x="78592" y="4726"/>
                      </a:cubicBezTo>
                      <a:cubicBezTo>
                        <a:pt x="78962" y="2025"/>
                        <a:pt x="81478" y="145"/>
                        <a:pt x="84126" y="542"/>
                      </a:cubicBezTo>
                      <a:cubicBezTo>
                        <a:pt x="86800" y="913"/>
                        <a:pt x="88680" y="3375"/>
                        <a:pt x="88309" y="6076"/>
                      </a:cubicBezTo>
                      <a:cubicBezTo>
                        <a:pt x="86906" y="16403"/>
                        <a:pt x="85529" y="42934"/>
                        <a:pt x="103190" y="66050"/>
                      </a:cubicBezTo>
                      <a:cubicBezTo>
                        <a:pt x="104329" y="67533"/>
                        <a:pt x="104514" y="69519"/>
                        <a:pt x="103694" y="71187"/>
                      </a:cubicBezTo>
                      <a:cubicBezTo>
                        <a:pt x="102846" y="72829"/>
                        <a:pt x="101152" y="73888"/>
                        <a:pt x="99298" y="73888"/>
                      </a:cubicBezTo>
                      <a:close/>
                    </a:path>
                  </a:pathLst>
                </a:custGeom>
                <a:grpFill/>
                <a:ln w="2648" cap="flat">
                  <a:noFill/>
                  <a:prstDash val="solid"/>
                  <a:miter/>
                </a:ln>
              </p:spPr>
              <p:txBody>
                <a:bodyPr rtlCol="0" anchor="ctr"/>
                <a:lstStyle/>
                <a:p>
                  <a:endParaRPr lang="en-GB" dirty="0"/>
                </a:p>
              </p:txBody>
            </p:sp>
            <p:sp>
              <p:nvSpPr>
                <p:cNvPr id="289" name="Freihandform: Form 956">
                  <a:extLst>
                    <a:ext uri="{FF2B5EF4-FFF2-40B4-BE49-F238E27FC236}">
                      <a16:creationId xmlns:a16="http://schemas.microsoft.com/office/drawing/2014/main" id="{775855F0-F336-44CA-8C1A-4ABD983A5F57}"/>
                    </a:ext>
                  </a:extLst>
                </p:cNvPr>
                <p:cNvSpPr/>
                <p:nvPr/>
              </p:nvSpPr>
              <p:spPr>
                <a:xfrm>
                  <a:off x="7734480" y="3595513"/>
                  <a:ext cx="187217" cy="77418"/>
                </a:xfrm>
                <a:custGeom>
                  <a:avLst/>
                  <a:gdLst>
                    <a:gd name="connsiteX0" fmla="*/ 174972 w 187217"/>
                    <a:gd name="connsiteY0" fmla="*/ 77418 h 77418"/>
                    <a:gd name="connsiteX1" fmla="*/ 12127 w 187217"/>
                    <a:gd name="connsiteY1" fmla="*/ 77418 h 77418"/>
                    <a:gd name="connsiteX2" fmla="*/ 9533 w 187217"/>
                    <a:gd name="connsiteY2" fmla="*/ 76677 h 77418"/>
                    <a:gd name="connsiteX3" fmla="*/ 847 w 187217"/>
                    <a:gd name="connsiteY3" fmla="*/ 56288 h 77418"/>
                    <a:gd name="connsiteX4" fmla="*/ 14855 w 187217"/>
                    <a:gd name="connsiteY4" fmla="*/ 43446 h 77418"/>
                    <a:gd name="connsiteX5" fmla="*/ 29921 w 187217"/>
                    <a:gd name="connsiteY5" fmla="*/ 22554 h 77418"/>
                    <a:gd name="connsiteX6" fmla="*/ 37282 w 187217"/>
                    <a:gd name="connsiteY6" fmla="*/ 2033 h 77418"/>
                    <a:gd name="connsiteX7" fmla="*/ 40380 w 187217"/>
                    <a:gd name="connsiteY7" fmla="*/ 921 h 77418"/>
                    <a:gd name="connsiteX8" fmla="*/ 49436 w 187217"/>
                    <a:gd name="connsiteY8" fmla="*/ 21 h 77418"/>
                    <a:gd name="connsiteX9" fmla="*/ 54891 w 187217"/>
                    <a:gd name="connsiteY9" fmla="*/ 4310 h 77418"/>
                    <a:gd name="connsiteX10" fmla="*/ 50601 w 187217"/>
                    <a:gd name="connsiteY10" fmla="*/ 9765 h 77418"/>
                    <a:gd name="connsiteX11" fmla="*/ 42525 w 187217"/>
                    <a:gd name="connsiteY11" fmla="*/ 10638 h 77418"/>
                    <a:gd name="connsiteX12" fmla="*/ 39824 w 187217"/>
                    <a:gd name="connsiteY12" fmla="*/ 22077 h 77418"/>
                    <a:gd name="connsiteX13" fmla="*/ 39507 w 187217"/>
                    <a:gd name="connsiteY13" fmla="*/ 25387 h 77418"/>
                    <a:gd name="connsiteX14" fmla="*/ 16470 w 187217"/>
                    <a:gd name="connsiteY14" fmla="*/ 53216 h 77418"/>
                    <a:gd name="connsiteX15" fmla="*/ 15623 w 187217"/>
                    <a:gd name="connsiteY15" fmla="*/ 53216 h 77418"/>
                    <a:gd name="connsiteX16" fmla="*/ 9983 w 187217"/>
                    <a:gd name="connsiteY16" fmla="*/ 59942 h 77418"/>
                    <a:gd name="connsiteX17" fmla="*/ 13610 w 187217"/>
                    <a:gd name="connsiteY17" fmla="*/ 67647 h 77418"/>
                    <a:gd name="connsiteX18" fmla="*/ 173489 w 187217"/>
                    <a:gd name="connsiteY18" fmla="*/ 67647 h 77418"/>
                    <a:gd name="connsiteX19" fmla="*/ 177117 w 187217"/>
                    <a:gd name="connsiteY19" fmla="*/ 59942 h 77418"/>
                    <a:gd name="connsiteX20" fmla="*/ 171397 w 187217"/>
                    <a:gd name="connsiteY20" fmla="*/ 53216 h 77418"/>
                    <a:gd name="connsiteX21" fmla="*/ 170656 w 187217"/>
                    <a:gd name="connsiteY21" fmla="*/ 53216 h 77418"/>
                    <a:gd name="connsiteX22" fmla="*/ 147646 w 187217"/>
                    <a:gd name="connsiteY22" fmla="*/ 25387 h 77418"/>
                    <a:gd name="connsiteX23" fmla="*/ 147328 w 187217"/>
                    <a:gd name="connsiteY23" fmla="*/ 22077 h 77418"/>
                    <a:gd name="connsiteX24" fmla="*/ 144627 w 187217"/>
                    <a:gd name="connsiteY24" fmla="*/ 10638 h 77418"/>
                    <a:gd name="connsiteX25" fmla="*/ 137028 w 187217"/>
                    <a:gd name="connsiteY25" fmla="*/ 9844 h 77418"/>
                    <a:gd name="connsiteX26" fmla="*/ 132738 w 187217"/>
                    <a:gd name="connsiteY26" fmla="*/ 4390 h 77418"/>
                    <a:gd name="connsiteX27" fmla="*/ 138193 w 187217"/>
                    <a:gd name="connsiteY27" fmla="*/ 100 h 77418"/>
                    <a:gd name="connsiteX28" fmla="*/ 146799 w 187217"/>
                    <a:gd name="connsiteY28" fmla="*/ 947 h 77418"/>
                    <a:gd name="connsiteX29" fmla="*/ 149897 w 187217"/>
                    <a:gd name="connsiteY29" fmla="*/ 2059 h 77418"/>
                    <a:gd name="connsiteX30" fmla="*/ 157284 w 187217"/>
                    <a:gd name="connsiteY30" fmla="*/ 22580 h 77418"/>
                    <a:gd name="connsiteX31" fmla="*/ 172351 w 187217"/>
                    <a:gd name="connsiteY31" fmla="*/ 43472 h 77418"/>
                    <a:gd name="connsiteX32" fmla="*/ 186384 w 187217"/>
                    <a:gd name="connsiteY32" fmla="*/ 56314 h 77418"/>
                    <a:gd name="connsiteX33" fmla="*/ 177673 w 187217"/>
                    <a:gd name="connsiteY33" fmla="*/ 76703 h 77418"/>
                    <a:gd name="connsiteX34" fmla="*/ 174972 w 187217"/>
                    <a:gd name="connsiteY34" fmla="*/ 77418 h 77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7217" h="77418">
                      <a:moveTo>
                        <a:pt x="174972" y="77418"/>
                      </a:moveTo>
                      <a:lnTo>
                        <a:pt x="12127" y="77418"/>
                      </a:lnTo>
                      <a:cubicBezTo>
                        <a:pt x="11201" y="77418"/>
                        <a:pt x="10300" y="77153"/>
                        <a:pt x="9533" y="76677"/>
                      </a:cubicBezTo>
                      <a:cubicBezTo>
                        <a:pt x="1562" y="71699"/>
                        <a:pt x="-1694" y="64073"/>
                        <a:pt x="847" y="56288"/>
                      </a:cubicBezTo>
                      <a:cubicBezTo>
                        <a:pt x="3045" y="49483"/>
                        <a:pt x="9215" y="43975"/>
                        <a:pt x="14855" y="43446"/>
                      </a:cubicBezTo>
                      <a:cubicBezTo>
                        <a:pt x="18138" y="40904"/>
                        <a:pt x="26797" y="28194"/>
                        <a:pt x="29921" y="22554"/>
                      </a:cubicBezTo>
                      <a:cubicBezTo>
                        <a:pt x="27776" y="9976"/>
                        <a:pt x="36885" y="2377"/>
                        <a:pt x="37282" y="2033"/>
                      </a:cubicBezTo>
                      <a:cubicBezTo>
                        <a:pt x="38156" y="1318"/>
                        <a:pt x="39242" y="921"/>
                        <a:pt x="40380" y="921"/>
                      </a:cubicBezTo>
                      <a:cubicBezTo>
                        <a:pt x="40724" y="921"/>
                        <a:pt x="42393" y="868"/>
                        <a:pt x="49436" y="21"/>
                      </a:cubicBezTo>
                      <a:cubicBezTo>
                        <a:pt x="52084" y="-218"/>
                        <a:pt x="54573" y="1636"/>
                        <a:pt x="54891" y="4310"/>
                      </a:cubicBezTo>
                      <a:cubicBezTo>
                        <a:pt x="55208" y="7011"/>
                        <a:pt x="53302" y="9447"/>
                        <a:pt x="50601" y="9765"/>
                      </a:cubicBezTo>
                      <a:cubicBezTo>
                        <a:pt x="46470" y="10268"/>
                        <a:pt x="44034" y="10506"/>
                        <a:pt x="42525" y="10638"/>
                      </a:cubicBezTo>
                      <a:cubicBezTo>
                        <a:pt x="41016" y="12413"/>
                        <a:pt x="38395" y="16437"/>
                        <a:pt x="39824" y="22077"/>
                      </a:cubicBezTo>
                      <a:cubicBezTo>
                        <a:pt x="40116" y="23190"/>
                        <a:pt x="40010" y="24354"/>
                        <a:pt x="39507" y="25387"/>
                      </a:cubicBezTo>
                      <a:cubicBezTo>
                        <a:pt x="39374" y="25652"/>
                        <a:pt x="24731" y="52343"/>
                        <a:pt x="16470" y="53216"/>
                      </a:cubicBezTo>
                      <a:cubicBezTo>
                        <a:pt x="16179" y="53243"/>
                        <a:pt x="15914" y="53243"/>
                        <a:pt x="15623" y="53216"/>
                      </a:cubicBezTo>
                      <a:cubicBezTo>
                        <a:pt x="14484" y="53349"/>
                        <a:pt x="10883" y="56129"/>
                        <a:pt x="9983" y="59942"/>
                      </a:cubicBezTo>
                      <a:cubicBezTo>
                        <a:pt x="9718" y="61054"/>
                        <a:pt x="8976" y="64232"/>
                        <a:pt x="13610" y="67647"/>
                      </a:cubicBezTo>
                      <a:lnTo>
                        <a:pt x="173489" y="67647"/>
                      </a:lnTo>
                      <a:cubicBezTo>
                        <a:pt x="178149" y="64258"/>
                        <a:pt x="177382" y="61054"/>
                        <a:pt x="177117" y="59942"/>
                      </a:cubicBezTo>
                      <a:cubicBezTo>
                        <a:pt x="176216" y="56155"/>
                        <a:pt x="172615" y="53349"/>
                        <a:pt x="171397" y="53216"/>
                      </a:cubicBezTo>
                      <a:cubicBezTo>
                        <a:pt x="171106" y="53243"/>
                        <a:pt x="170921" y="53216"/>
                        <a:pt x="170656" y="53216"/>
                      </a:cubicBezTo>
                      <a:cubicBezTo>
                        <a:pt x="162421" y="52343"/>
                        <a:pt x="147752" y="25652"/>
                        <a:pt x="147646" y="25387"/>
                      </a:cubicBezTo>
                      <a:cubicBezTo>
                        <a:pt x="147169" y="24354"/>
                        <a:pt x="147037" y="23190"/>
                        <a:pt x="147328" y="22077"/>
                      </a:cubicBezTo>
                      <a:cubicBezTo>
                        <a:pt x="148758" y="16464"/>
                        <a:pt x="146137" y="12439"/>
                        <a:pt x="144627" y="10638"/>
                      </a:cubicBezTo>
                      <a:cubicBezTo>
                        <a:pt x="143197" y="10533"/>
                        <a:pt x="140867" y="10294"/>
                        <a:pt x="137028" y="9844"/>
                      </a:cubicBezTo>
                      <a:cubicBezTo>
                        <a:pt x="134327" y="9526"/>
                        <a:pt x="132420" y="7090"/>
                        <a:pt x="132738" y="4390"/>
                      </a:cubicBezTo>
                      <a:cubicBezTo>
                        <a:pt x="133056" y="1715"/>
                        <a:pt x="135466" y="-165"/>
                        <a:pt x="138193" y="100"/>
                      </a:cubicBezTo>
                      <a:cubicBezTo>
                        <a:pt x="144839" y="894"/>
                        <a:pt x="146454" y="947"/>
                        <a:pt x="146799" y="947"/>
                      </a:cubicBezTo>
                      <a:cubicBezTo>
                        <a:pt x="147937" y="947"/>
                        <a:pt x="149023" y="1345"/>
                        <a:pt x="149897" y="2059"/>
                      </a:cubicBezTo>
                      <a:cubicBezTo>
                        <a:pt x="150294" y="2404"/>
                        <a:pt x="159429" y="10003"/>
                        <a:pt x="157284" y="22580"/>
                      </a:cubicBezTo>
                      <a:cubicBezTo>
                        <a:pt x="160409" y="28220"/>
                        <a:pt x="169067" y="40930"/>
                        <a:pt x="172351" y="43472"/>
                      </a:cubicBezTo>
                      <a:cubicBezTo>
                        <a:pt x="177991" y="44002"/>
                        <a:pt x="184187" y="49509"/>
                        <a:pt x="186384" y="56314"/>
                      </a:cubicBezTo>
                      <a:cubicBezTo>
                        <a:pt x="188900" y="64099"/>
                        <a:pt x="185643" y="71752"/>
                        <a:pt x="177673" y="76703"/>
                      </a:cubicBezTo>
                      <a:cubicBezTo>
                        <a:pt x="176799" y="77180"/>
                        <a:pt x="175899" y="77418"/>
                        <a:pt x="174972" y="77418"/>
                      </a:cubicBezTo>
                      <a:close/>
                    </a:path>
                  </a:pathLst>
                </a:custGeom>
                <a:grpFill/>
                <a:ln w="2648" cap="flat">
                  <a:noFill/>
                  <a:prstDash val="solid"/>
                  <a:miter/>
                </a:ln>
              </p:spPr>
              <p:txBody>
                <a:bodyPr rtlCol="0" anchor="ctr"/>
                <a:lstStyle/>
                <a:p>
                  <a:endParaRPr lang="en-GB" dirty="0"/>
                </a:p>
              </p:txBody>
            </p:sp>
            <p:sp>
              <p:nvSpPr>
                <p:cNvPr id="290" name="Freihandform: Form 957">
                  <a:extLst>
                    <a:ext uri="{FF2B5EF4-FFF2-40B4-BE49-F238E27FC236}">
                      <a16:creationId xmlns:a16="http://schemas.microsoft.com/office/drawing/2014/main" id="{B3161587-F379-4FD5-8E51-06AEC80EF734}"/>
                    </a:ext>
                  </a:extLst>
                </p:cNvPr>
                <p:cNvSpPr/>
                <p:nvPr/>
              </p:nvSpPr>
              <p:spPr>
                <a:xfrm>
                  <a:off x="7719742" y="3663151"/>
                  <a:ext cx="216564" cy="50001"/>
                </a:xfrm>
                <a:custGeom>
                  <a:avLst/>
                  <a:gdLst>
                    <a:gd name="connsiteX0" fmla="*/ 211131 w 216564"/>
                    <a:gd name="connsiteY0" fmla="*/ 50002 h 50001"/>
                    <a:gd name="connsiteX1" fmla="*/ 5444 w 216564"/>
                    <a:gd name="connsiteY1" fmla="*/ 50002 h 50001"/>
                    <a:gd name="connsiteX2" fmla="*/ 572 w 216564"/>
                    <a:gd name="connsiteY2" fmla="*/ 45580 h 50001"/>
                    <a:gd name="connsiteX3" fmla="*/ 13335 w 216564"/>
                    <a:gd name="connsiteY3" fmla="*/ 8112 h 50001"/>
                    <a:gd name="connsiteX4" fmla="*/ 20405 w 216564"/>
                    <a:gd name="connsiteY4" fmla="*/ 1440 h 50001"/>
                    <a:gd name="connsiteX5" fmla="*/ 27342 w 216564"/>
                    <a:gd name="connsiteY5" fmla="*/ 1440 h 50001"/>
                    <a:gd name="connsiteX6" fmla="*/ 27342 w 216564"/>
                    <a:gd name="connsiteY6" fmla="*/ 8377 h 50001"/>
                    <a:gd name="connsiteX7" fmla="*/ 19955 w 216564"/>
                    <a:gd name="connsiteY7" fmla="*/ 15368 h 50001"/>
                    <a:gd name="connsiteX8" fmla="*/ 9972 w 216564"/>
                    <a:gd name="connsiteY8" fmla="*/ 40205 h 50001"/>
                    <a:gd name="connsiteX9" fmla="*/ 206630 w 216564"/>
                    <a:gd name="connsiteY9" fmla="*/ 40205 h 50001"/>
                    <a:gd name="connsiteX10" fmla="*/ 196621 w 216564"/>
                    <a:gd name="connsiteY10" fmla="*/ 15368 h 50001"/>
                    <a:gd name="connsiteX11" fmla="*/ 189233 w 216564"/>
                    <a:gd name="connsiteY11" fmla="*/ 8404 h 50001"/>
                    <a:gd name="connsiteX12" fmla="*/ 189233 w 216564"/>
                    <a:gd name="connsiteY12" fmla="*/ 1466 h 50001"/>
                    <a:gd name="connsiteX13" fmla="*/ 196171 w 216564"/>
                    <a:gd name="connsiteY13" fmla="*/ 1466 h 50001"/>
                    <a:gd name="connsiteX14" fmla="*/ 203214 w 216564"/>
                    <a:gd name="connsiteY14" fmla="*/ 8112 h 50001"/>
                    <a:gd name="connsiteX15" fmla="*/ 216003 w 216564"/>
                    <a:gd name="connsiteY15" fmla="*/ 45580 h 50001"/>
                    <a:gd name="connsiteX16" fmla="*/ 211131 w 216564"/>
                    <a:gd name="connsiteY16" fmla="*/ 50002 h 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6564" h="50001">
                      <a:moveTo>
                        <a:pt x="211131" y="50002"/>
                      </a:moveTo>
                      <a:lnTo>
                        <a:pt x="5444" y="50002"/>
                      </a:lnTo>
                      <a:cubicBezTo>
                        <a:pt x="2929" y="50002"/>
                        <a:pt x="810" y="48095"/>
                        <a:pt x="572" y="45580"/>
                      </a:cubicBezTo>
                      <a:cubicBezTo>
                        <a:pt x="-1652" y="22755"/>
                        <a:pt x="2611" y="17883"/>
                        <a:pt x="13335" y="8112"/>
                      </a:cubicBezTo>
                      <a:cubicBezTo>
                        <a:pt x="15400" y="6232"/>
                        <a:pt x="17757" y="4088"/>
                        <a:pt x="20405" y="1440"/>
                      </a:cubicBezTo>
                      <a:cubicBezTo>
                        <a:pt x="22311" y="-467"/>
                        <a:pt x="25409" y="-493"/>
                        <a:pt x="27342" y="1440"/>
                      </a:cubicBezTo>
                      <a:cubicBezTo>
                        <a:pt x="29249" y="3346"/>
                        <a:pt x="29249" y="6471"/>
                        <a:pt x="27342" y="8377"/>
                      </a:cubicBezTo>
                      <a:cubicBezTo>
                        <a:pt x="24588" y="11131"/>
                        <a:pt x="22126" y="13382"/>
                        <a:pt x="19955" y="15368"/>
                      </a:cubicBezTo>
                      <a:cubicBezTo>
                        <a:pt x="11508" y="23073"/>
                        <a:pt x="8939" y="25403"/>
                        <a:pt x="9972" y="40205"/>
                      </a:cubicBezTo>
                      <a:lnTo>
                        <a:pt x="206630" y="40205"/>
                      </a:lnTo>
                      <a:cubicBezTo>
                        <a:pt x="207663" y="25377"/>
                        <a:pt x="205094" y="23073"/>
                        <a:pt x="196621" y="15368"/>
                      </a:cubicBezTo>
                      <a:cubicBezTo>
                        <a:pt x="194450" y="13408"/>
                        <a:pt x="191987" y="11158"/>
                        <a:pt x="189233" y="8404"/>
                      </a:cubicBezTo>
                      <a:cubicBezTo>
                        <a:pt x="187327" y="6497"/>
                        <a:pt x="187327" y="3373"/>
                        <a:pt x="189233" y="1466"/>
                      </a:cubicBezTo>
                      <a:cubicBezTo>
                        <a:pt x="191140" y="-440"/>
                        <a:pt x="194238" y="-467"/>
                        <a:pt x="196171" y="1466"/>
                      </a:cubicBezTo>
                      <a:cubicBezTo>
                        <a:pt x="198819" y="4114"/>
                        <a:pt x="201149" y="6232"/>
                        <a:pt x="203214" y="8112"/>
                      </a:cubicBezTo>
                      <a:cubicBezTo>
                        <a:pt x="213938" y="17883"/>
                        <a:pt x="218201" y="22755"/>
                        <a:pt x="216003" y="45580"/>
                      </a:cubicBezTo>
                      <a:cubicBezTo>
                        <a:pt x="215765" y="48095"/>
                        <a:pt x="213647" y="50002"/>
                        <a:pt x="211131" y="50002"/>
                      </a:cubicBezTo>
                      <a:close/>
                    </a:path>
                  </a:pathLst>
                </a:custGeom>
                <a:grpFill/>
                <a:ln w="2648" cap="flat">
                  <a:noFill/>
                  <a:prstDash val="solid"/>
                  <a:miter/>
                </a:ln>
              </p:spPr>
              <p:txBody>
                <a:bodyPr rtlCol="0" anchor="ctr"/>
                <a:lstStyle/>
                <a:p>
                  <a:endParaRPr lang="en-GB" dirty="0"/>
                </a:p>
              </p:txBody>
            </p:sp>
          </p:grpSp>
          <p:grpSp>
            <p:nvGrpSpPr>
              <p:cNvPr id="279" name="Group 278">
                <a:extLst>
                  <a:ext uri="{FF2B5EF4-FFF2-40B4-BE49-F238E27FC236}">
                    <a16:creationId xmlns:a16="http://schemas.microsoft.com/office/drawing/2014/main" id="{636EAFC1-C4C8-4ACD-AEB5-13ABAF954E91}"/>
                  </a:ext>
                </a:extLst>
              </p:cNvPr>
              <p:cNvGrpSpPr/>
              <p:nvPr/>
            </p:nvGrpSpPr>
            <p:grpSpPr>
              <a:xfrm>
                <a:off x="8099765" y="3342450"/>
                <a:ext cx="216575" cy="370702"/>
                <a:chOff x="8099765" y="3342450"/>
                <a:chExt cx="216575" cy="370702"/>
              </a:xfrm>
              <a:grpFill/>
            </p:grpSpPr>
            <p:grpSp>
              <p:nvGrpSpPr>
                <p:cNvPr id="280" name="Grafik 102">
                  <a:extLst>
                    <a:ext uri="{FF2B5EF4-FFF2-40B4-BE49-F238E27FC236}">
                      <a16:creationId xmlns:a16="http://schemas.microsoft.com/office/drawing/2014/main" id="{D8EDD594-AD5C-4205-9605-E343BFB1942E}"/>
                    </a:ext>
                  </a:extLst>
                </p:cNvPr>
                <p:cNvGrpSpPr/>
                <p:nvPr/>
              </p:nvGrpSpPr>
              <p:grpSpPr>
                <a:xfrm>
                  <a:off x="8099765" y="3342450"/>
                  <a:ext cx="216575" cy="370702"/>
                  <a:chOff x="8099765" y="3342450"/>
                  <a:chExt cx="216575" cy="370702"/>
                </a:xfrm>
                <a:grpFill/>
              </p:grpSpPr>
              <p:grpSp>
                <p:nvGrpSpPr>
                  <p:cNvPr id="282" name="Grafik 102">
                    <a:extLst>
                      <a:ext uri="{FF2B5EF4-FFF2-40B4-BE49-F238E27FC236}">
                        <a16:creationId xmlns:a16="http://schemas.microsoft.com/office/drawing/2014/main" id="{8ADFBCDC-898D-4201-BDD4-BCE9804058DB}"/>
                      </a:ext>
                    </a:extLst>
                  </p:cNvPr>
                  <p:cNvGrpSpPr/>
                  <p:nvPr/>
                </p:nvGrpSpPr>
                <p:grpSpPr>
                  <a:xfrm>
                    <a:off x="8099765" y="3342450"/>
                    <a:ext cx="216575" cy="370702"/>
                    <a:chOff x="8099765" y="3342450"/>
                    <a:chExt cx="216575" cy="370702"/>
                  </a:xfrm>
                  <a:grpFill/>
                </p:grpSpPr>
                <p:sp>
                  <p:nvSpPr>
                    <p:cNvPr id="284" name="Freihandform: Form 948">
                      <a:extLst>
                        <a:ext uri="{FF2B5EF4-FFF2-40B4-BE49-F238E27FC236}">
                          <a16:creationId xmlns:a16="http://schemas.microsoft.com/office/drawing/2014/main" id="{446ACC9E-EB9A-4A55-A790-82566FA162F6}"/>
                        </a:ext>
                      </a:extLst>
                    </p:cNvPr>
                    <p:cNvSpPr/>
                    <p:nvPr/>
                  </p:nvSpPr>
                  <p:spPr>
                    <a:xfrm>
                      <a:off x="8099765" y="3422866"/>
                      <a:ext cx="216575" cy="290286"/>
                    </a:xfrm>
                    <a:custGeom>
                      <a:avLst/>
                      <a:gdLst>
                        <a:gd name="connsiteX0" fmla="*/ 211131 w 216575"/>
                        <a:gd name="connsiteY0" fmla="*/ 290287 h 290286"/>
                        <a:gd name="connsiteX1" fmla="*/ 5444 w 216575"/>
                        <a:gd name="connsiteY1" fmla="*/ 290287 h 290286"/>
                        <a:gd name="connsiteX2" fmla="*/ 572 w 216575"/>
                        <a:gd name="connsiteY2" fmla="*/ 285865 h 290286"/>
                        <a:gd name="connsiteX3" fmla="*/ 13335 w 216575"/>
                        <a:gd name="connsiteY3" fmla="*/ 248397 h 290286"/>
                        <a:gd name="connsiteX4" fmla="*/ 14076 w 216575"/>
                        <a:gd name="connsiteY4" fmla="*/ 247709 h 290286"/>
                        <a:gd name="connsiteX5" fmla="*/ 5921 w 216575"/>
                        <a:gd name="connsiteY5" fmla="*/ 233172 h 290286"/>
                        <a:gd name="connsiteX6" fmla="*/ 20484 w 216575"/>
                        <a:gd name="connsiteY6" fmla="*/ 212598 h 290286"/>
                        <a:gd name="connsiteX7" fmla="*/ 41402 w 216575"/>
                        <a:gd name="connsiteY7" fmla="*/ 135545 h 290286"/>
                        <a:gd name="connsiteX8" fmla="*/ 41958 w 216575"/>
                        <a:gd name="connsiteY8" fmla="*/ 134777 h 290286"/>
                        <a:gd name="connsiteX9" fmla="*/ 67563 w 216575"/>
                        <a:gd name="connsiteY9" fmla="*/ 5534 h 290286"/>
                        <a:gd name="connsiteX10" fmla="*/ 68755 w 216575"/>
                        <a:gd name="connsiteY10" fmla="*/ 1668 h 290286"/>
                        <a:gd name="connsiteX11" fmla="*/ 72435 w 216575"/>
                        <a:gd name="connsiteY11" fmla="*/ 0 h 290286"/>
                        <a:gd name="connsiteX12" fmla="*/ 144166 w 216575"/>
                        <a:gd name="connsiteY12" fmla="*/ 0 h 290286"/>
                        <a:gd name="connsiteX13" fmla="*/ 147847 w 216575"/>
                        <a:gd name="connsiteY13" fmla="*/ 1668 h 290286"/>
                        <a:gd name="connsiteX14" fmla="*/ 149038 w 216575"/>
                        <a:gd name="connsiteY14" fmla="*/ 5534 h 290286"/>
                        <a:gd name="connsiteX15" fmla="*/ 174643 w 216575"/>
                        <a:gd name="connsiteY15" fmla="*/ 134777 h 290286"/>
                        <a:gd name="connsiteX16" fmla="*/ 175199 w 216575"/>
                        <a:gd name="connsiteY16" fmla="*/ 135545 h 290286"/>
                        <a:gd name="connsiteX17" fmla="*/ 196118 w 216575"/>
                        <a:gd name="connsiteY17" fmla="*/ 212598 h 290286"/>
                        <a:gd name="connsiteX18" fmla="*/ 210655 w 216575"/>
                        <a:gd name="connsiteY18" fmla="*/ 233172 h 290286"/>
                        <a:gd name="connsiteX19" fmla="*/ 202499 w 216575"/>
                        <a:gd name="connsiteY19" fmla="*/ 247709 h 290286"/>
                        <a:gd name="connsiteX20" fmla="*/ 203241 w 216575"/>
                        <a:gd name="connsiteY20" fmla="*/ 248397 h 290286"/>
                        <a:gd name="connsiteX21" fmla="*/ 216003 w 216575"/>
                        <a:gd name="connsiteY21" fmla="*/ 285865 h 290286"/>
                        <a:gd name="connsiteX22" fmla="*/ 211131 w 216575"/>
                        <a:gd name="connsiteY22" fmla="*/ 290287 h 290286"/>
                        <a:gd name="connsiteX23" fmla="*/ 9946 w 216575"/>
                        <a:gd name="connsiteY23" fmla="*/ 280490 h 290286"/>
                        <a:gd name="connsiteX24" fmla="*/ 206603 w 216575"/>
                        <a:gd name="connsiteY24" fmla="*/ 280490 h 290286"/>
                        <a:gd name="connsiteX25" fmla="*/ 196621 w 216575"/>
                        <a:gd name="connsiteY25" fmla="*/ 255653 h 290286"/>
                        <a:gd name="connsiteX26" fmla="*/ 189233 w 216575"/>
                        <a:gd name="connsiteY26" fmla="*/ 248662 h 290286"/>
                        <a:gd name="connsiteX27" fmla="*/ 188174 w 216575"/>
                        <a:gd name="connsiteY27" fmla="*/ 243314 h 290286"/>
                        <a:gd name="connsiteX28" fmla="*/ 192702 w 216575"/>
                        <a:gd name="connsiteY28" fmla="*/ 240295 h 290286"/>
                        <a:gd name="connsiteX29" fmla="*/ 200831 w 216575"/>
                        <a:gd name="connsiteY29" fmla="*/ 232934 h 290286"/>
                        <a:gd name="connsiteX30" fmla="*/ 190795 w 216575"/>
                        <a:gd name="connsiteY30" fmla="*/ 221601 h 290286"/>
                        <a:gd name="connsiteX31" fmla="*/ 187380 w 216575"/>
                        <a:gd name="connsiteY31" fmla="*/ 219986 h 290286"/>
                        <a:gd name="connsiteX32" fmla="*/ 186135 w 216575"/>
                        <a:gd name="connsiteY32" fmla="*/ 216437 h 290286"/>
                        <a:gd name="connsiteX33" fmla="*/ 166938 w 216575"/>
                        <a:gd name="connsiteY33" fmla="*/ 140894 h 290286"/>
                        <a:gd name="connsiteX34" fmla="*/ 138685 w 216575"/>
                        <a:gd name="connsiteY34" fmla="*/ 9797 h 290286"/>
                        <a:gd name="connsiteX35" fmla="*/ 77890 w 216575"/>
                        <a:gd name="connsiteY35" fmla="*/ 9797 h 290286"/>
                        <a:gd name="connsiteX36" fmla="*/ 49637 w 216575"/>
                        <a:gd name="connsiteY36" fmla="*/ 140894 h 290286"/>
                        <a:gd name="connsiteX37" fmla="*/ 30440 w 216575"/>
                        <a:gd name="connsiteY37" fmla="*/ 216437 h 290286"/>
                        <a:gd name="connsiteX38" fmla="*/ 29169 w 216575"/>
                        <a:gd name="connsiteY38" fmla="*/ 219986 h 290286"/>
                        <a:gd name="connsiteX39" fmla="*/ 25753 w 216575"/>
                        <a:gd name="connsiteY39" fmla="*/ 221601 h 290286"/>
                        <a:gd name="connsiteX40" fmla="*/ 15691 w 216575"/>
                        <a:gd name="connsiteY40" fmla="*/ 232934 h 290286"/>
                        <a:gd name="connsiteX41" fmla="*/ 23820 w 216575"/>
                        <a:gd name="connsiteY41" fmla="*/ 240268 h 290286"/>
                        <a:gd name="connsiteX42" fmla="*/ 28348 w 216575"/>
                        <a:gd name="connsiteY42" fmla="*/ 243287 h 290286"/>
                        <a:gd name="connsiteX43" fmla="*/ 27289 w 216575"/>
                        <a:gd name="connsiteY43" fmla="*/ 248636 h 290286"/>
                        <a:gd name="connsiteX44" fmla="*/ 19902 w 216575"/>
                        <a:gd name="connsiteY44" fmla="*/ 255626 h 290286"/>
                        <a:gd name="connsiteX45" fmla="*/ 9946 w 216575"/>
                        <a:gd name="connsiteY45" fmla="*/ 280490 h 29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16575" h="290286">
                          <a:moveTo>
                            <a:pt x="211131" y="290287"/>
                          </a:moveTo>
                          <a:lnTo>
                            <a:pt x="5444" y="290287"/>
                          </a:lnTo>
                          <a:cubicBezTo>
                            <a:pt x="2929" y="290287"/>
                            <a:pt x="810" y="288380"/>
                            <a:pt x="572" y="285865"/>
                          </a:cubicBezTo>
                          <a:cubicBezTo>
                            <a:pt x="-1652" y="263040"/>
                            <a:pt x="2611" y="258168"/>
                            <a:pt x="13335" y="248397"/>
                          </a:cubicBezTo>
                          <a:cubicBezTo>
                            <a:pt x="13573" y="248186"/>
                            <a:pt x="13838" y="247947"/>
                            <a:pt x="14076" y="247709"/>
                          </a:cubicBezTo>
                          <a:cubicBezTo>
                            <a:pt x="8674" y="244584"/>
                            <a:pt x="6053" y="238865"/>
                            <a:pt x="5921" y="233172"/>
                          </a:cubicBezTo>
                          <a:cubicBezTo>
                            <a:pt x="5709" y="224513"/>
                            <a:pt x="11031" y="215352"/>
                            <a:pt x="20484" y="212598"/>
                          </a:cubicBezTo>
                          <a:cubicBezTo>
                            <a:pt x="19743" y="178149"/>
                            <a:pt x="33115" y="149737"/>
                            <a:pt x="41402" y="135545"/>
                          </a:cubicBezTo>
                          <a:cubicBezTo>
                            <a:pt x="41561" y="135280"/>
                            <a:pt x="41747" y="135015"/>
                            <a:pt x="41958" y="134777"/>
                          </a:cubicBezTo>
                          <a:cubicBezTo>
                            <a:pt x="78525" y="93417"/>
                            <a:pt x="67669" y="6408"/>
                            <a:pt x="67563" y="5534"/>
                          </a:cubicBezTo>
                          <a:cubicBezTo>
                            <a:pt x="67378" y="4131"/>
                            <a:pt x="67802" y="2727"/>
                            <a:pt x="68755" y="1668"/>
                          </a:cubicBezTo>
                          <a:cubicBezTo>
                            <a:pt x="69682" y="609"/>
                            <a:pt x="71032" y="0"/>
                            <a:pt x="72435" y="0"/>
                          </a:cubicBezTo>
                          <a:lnTo>
                            <a:pt x="144166" y="0"/>
                          </a:lnTo>
                          <a:cubicBezTo>
                            <a:pt x="145570" y="0"/>
                            <a:pt x="146920" y="609"/>
                            <a:pt x="147847" y="1668"/>
                          </a:cubicBezTo>
                          <a:cubicBezTo>
                            <a:pt x="148774" y="2727"/>
                            <a:pt x="149197" y="4131"/>
                            <a:pt x="149038" y="5534"/>
                          </a:cubicBezTo>
                          <a:cubicBezTo>
                            <a:pt x="148933" y="6408"/>
                            <a:pt x="138076" y="93444"/>
                            <a:pt x="174643" y="134777"/>
                          </a:cubicBezTo>
                          <a:cubicBezTo>
                            <a:pt x="174855" y="135015"/>
                            <a:pt x="175041" y="135280"/>
                            <a:pt x="175199" y="135545"/>
                          </a:cubicBezTo>
                          <a:cubicBezTo>
                            <a:pt x="183461" y="149711"/>
                            <a:pt x="196833" y="178096"/>
                            <a:pt x="196118" y="212598"/>
                          </a:cubicBezTo>
                          <a:cubicBezTo>
                            <a:pt x="205571" y="215352"/>
                            <a:pt x="210867" y="224513"/>
                            <a:pt x="210655" y="233172"/>
                          </a:cubicBezTo>
                          <a:cubicBezTo>
                            <a:pt x="210522" y="238865"/>
                            <a:pt x="207901" y="244584"/>
                            <a:pt x="202499" y="247709"/>
                          </a:cubicBezTo>
                          <a:cubicBezTo>
                            <a:pt x="202737" y="247947"/>
                            <a:pt x="203002" y="248159"/>
                            <a:pt x="203241" y="248397"/>
                          </a:cubicBezTo>
                          <a:cubicBezTo>
                            <a:pt x="213964" y="258168"/>
                            <a:pt x="218227" y="263040"/>
                            <a:pt x="216003" y="285865"/>
                          </a:cubicBezTo>
                          <a:cubicBezTo>
                            <a:pt x="215765" y="288380"/>
                            <a:pt x="213647" y="290287"/>
                            <a:pt x="211131" y="290287"/>
                          </a:cubicBezTo>
                          <a:close/>
                          <a:moveTo>
                            <a:pt x="9946" y="280490"/>
                          </a:moveTo>
                          <a:lnTo>
                            <a:pt x="206603" y="280490"/>
                          </a:lnTo>
                          <a:cubicBezTo>
                            <a:pt x="207636" y="265688"/>
                            <a:pt x="205068" y="263358"/>
                            <a:pt x="196621" y="255653"/>
                          </a:cubicBezTo>
                          <a:cubicBezTo>
                            <a:pt x="194450" y="253667"/>
                            <a:pt x="191987" y="251443"/>
                            <a:pt x="189233" y="248662"/>
                          </a:cubicBezTo>
                          <a:cubicBezTo>
                            <a:pt x="187830" y="247259"/>
                            <a:pt x="187406" y="245141"/>
                            <a:pt x="188174" y="243314"/>
                          </a:cubicBezTo>
                          <a:cubicBezTo>
                            <a:pt x="188942" y="241486"/>
                            <a:pt x="190716" y="240295"/>
                            <a:pt x="192702" y="240295"/>
                          </a:cubicBezTo>
                          <a:cubicBezTo>
                            <a:pt x="199639" y="240295"/>
                            <a:pt x="200778" y="235688"/>
                            <a:pt x="200831" y="232934"/>
                          </a:cubicBezTo>
                          <a:cubicBezTo>
                            <a:pt x="200937" y="228432"/>
                            <a:pt x="197892" y="221945"/>
                            <a:pt x="190795" y="221601"/>
                          </a:cubicBezTo>
                          <a:cubicBezTo>
                            <a:pt x="189498" y="221548"/>
                            <a:pt x="188254" y="220965"/>
                            <a:pt x="187380" y="219986"/>
                          </a:cubicBezTo>
                          <a:cubicBezTo>
                            <a:pt x="186506" y="219006"/>
                            <a:pt x="186056" y="217735"/>
                            <a:pt x="186135" y="216437"/>
                          </a:cubicBezTo>
                          <a:cubicBezTo>
                            <a:pt x="187486" y="191812"/>
                            <a:pt x="180495" y="164301"/>
                            <a:pt x="166938" y="140894"/>
                          </a:cubicBezTo>
                          <a:cubicBezTo>
                            <a:pt x="132939" y="101943"/>
                            <a:pt x="136752" y="30371"/>
                            <a:pt x="138685" y="9797"/>
                          </a:cubicBezTo>
                          <a:lnTo>
                            <a:pt x="77890" y="9797"/>
                          </a:lnTo>
                          <a:cubicBezTo>
                            <a:pt x="79797" y="30371"/>
                            <a:pt x="83662" y="101970"/>
                            <a:pt x="49637" y="140894"/>
                          </a:cubicBezTo>
                          <a:cubicBezTo>
                            <a:pt x="36080" y="164354"/>
                            <a:pt x="29090" y="191865"/>
                            <a:pt x="30440" y="216437"/>
                          </a:cubicBezTo>
                          <a:cubicBezTo>
                            <a:pt x="30519" y="217735"/>
                            <a:pt x="30069" y="219032"/>
                            <a:pt x="29169" y="219986"/>
                          </a:cubicBezTo>
                          <a:cubicBezTo>
                            <a:pt x="28295" y="220965"/>
                            <a:pt x="27077" y="221548"/>
                            <a:pt x="25753" y="221601"/>
                          </a:cubicBezTo>
                          <a:cubicBezTo>
                            <a:pt x="18630" y="221945"/>
                            <a:pt x="15586" y="228432"/>
                            <a:pt x="15691" y="232934"/>
                          </a:cubicBezTo>
                          <a:cubicBezTo>
                            <a:pt x="15744" y="235661"/>
                            <a:pt x="16910" y="240268"/>
                            <a:pt x="23820" y="240268"/>
                          </a:cubicBezTo>
                          <a:cubicBezTo>
                            <a:pt x="25806" y="240268"/>
                            <a:pt x="27607" y="241460"/>
                            <a:pt x="28348" y="243287"/>
                          </a:cubicBezTo>
                          <a:cubicBezTo>
                            <a:pt x="29090" y="245114"/>
                            <a:pt x="28692" y="247232"/>
                            <a:pt x="27289" y="248636"/>
                          </a:cubicBezTo>
                          <a:cubicBezTo>
                            <a:pt x="24535" y="251390"/>
                            <a:pt x="22073" y="253640"/>
                            <a:pt x="19902" y="255626"/>
                          </a:cubicBezTo>
                          <a:cubicBezTo>
                            <a:pt x="11481" y="263358"/>
                            <a:pt x="8913" y="265688"/>
                            <a:pt x="9946" y="280490"/>
                          </a:cubicBezTo>
                          <a:close/>
                        </a:path>
                      </a:pathLst>
                    </a:custGeom>
                    <a:grpFill/>
                    <a:ln w="2648" cap="flat">
                      <a:noFill/>
                      <a:prstDash val="solid"/>
                      <a:miter/>
                    </a:ln>
                  </p:spPr>
                  <p:txBody>
                    <a:bodyPr rtlCol="0" anchor="ctr"/>
                    <a:lstStyle/>
                    <a:p>
                      <a:endParaRPr lang="en-GB" dirty="0"/>
                    </a:p>
                  </p:txBody>
                </p:sp>
                <p:sp>
                  <p:nvSpPr>
                    <p:cNvPr id="285" name="Freihandform: Form 949">
                      <a:extLst>
                        <a:ext uri="{FF2B5EF4-FFF2-40B4-BE49-F238E27FC236}">
                          <a16:creationId xmlns:a16="http://schemas.microsoft.com/office/drawing/2014/main" id="{DA494071-7189-4856-B27D-676545E37F91}"/>
                        </a:ext>
                      </a:extLst>
                    </p:cNvPr>
                    <p:cNvSpPr/>
                    <p:nvPr/>
                  </p:nvSpPr>
                  <p:spPr>
                    <a:xfrm>
                      <a:off x="8139505" y="3342450"/>
                      <a:ext cx="137052" cy="90186"/>
                    </a:xfrm>
                    <a:custGeom>
                      <a:avLst/>
                      <a:gdLst>
                        <a:gd name="connsiteX0" fmla="*/ 113721 w 137052"/>
                        <a:gd name="connsiteY0" fmla="*/ 90187 h 90186"/>
                        <a:gd name="connsiteX1" fmla="*/ 23349 w 137052"/>
                        <a:gd name="connsiteY1" fmla="*/ 90187 h 90186"/>
                        <a:gd name="connsiteX2" fmla="*/ 7488 w 137052"/>
                        <a:gd name="connsiteY2" fmla="*/ 83699 h 90186"/>
                        <a:gd name="connsiteX3" fmla="*/ 48 w 137052"/>
                        <a:gd name="connsiteY3" fmla="*/ 59286 h 90186"/>
                        <a:gd name="connsiteX4" fmla="*/ 48 w 137052"/>
                        <a:gd name="connsiteY4" fmla="*/ 4899 h 90186"/>
                        <a:gd name="connsiteX5" fmla="*/ 4946 w 137052"/>
                        <a:gd name="connsiteY5" fmla="*/ 0 h 90186"/>
                        <a:gd name="connsiteX6" fmla="*/ 31690 w 137052"/>
                        <a:gd name="connsiteY6" fmla="*/ 0 h 90186"/>
                        <a:gd name="connsiteX7" fmla="*/ 36588 w 137052"/>
                        <a:gd name="connsiteY7" fmla="*/ 4899 h 90186"/>
                        <a:gd name="connsiteX8" fmla="*/ 36588 w 137052"/>
                        <a:gd name="connsiteY8" fmla="*/ 33496 h 90186"/>
                        <a:gd name="connsiteX9" fmla="*/ 46889 w 137052"/>
                        <a:gd name="connsiteY9" fmla="*/ 33496 h 90186"/>
                        <a:gd name="connsiteX10" fmla="*/ 46889 w 137052"/>
                        <a:gd name="connsiteY10" fmla="*/ 4899 h 90186"/>
                        <a:gd name="connsiteX11" fmla="*/ 51787 w 137052"/>
                        <a:gd name="connsiteY11" fmla="*/ 0 h 90186"/>
                        <a:gd name="connsiteX12" fmla="*/ 85256 w 137052"/>
                        <a:gd name="connsiteY12" fmla="*/ 0 h 90186"/>
                        <a:gd name="connsiteX13" fmla="*/ 90155 w 137052"/>
                        <a:gd name="connsiteY13" fmla="*/ 4899 h 90186"/>
                        <a:gd name="connsiteX14" fmla="*/ 90155 w 137052"/>
                        <a:gd name="connsiteY14" fmla="*/ 33496 h 90186"/>
                        <a:gd name="connsiteX15" fmla="*/ 100455 w 137052"/>
                        <a:gd name="connsiteY15" fmla="*/ 33496 h 90186"/>
                        <a:gd name="connsiteX16" fmla="*/ 100455 w 137052"/>
                        <a:gd name="connsiteY16" fmla="*/ 4899 h 90186"/>
                        <a:gd name="connsiteX17" fmla="*/ 105354 w 137052"/>
                        <a:gd name="connsiteY17" fmla="*/ 0 h 90186"/>
                        <a:gd name="connsiteX18" fmla="*/ 132124 w 137052"/>
                        <a:gd name="connsiteY18" fmla="*/ 0 h 90186"/>
                        <a:gd name="connsiteX19" fmla="*/ 137023 w 137052"/>
                        <a:gd name="connsiteY19" fmla="*/ 4899 h 90186"/>
                        <a:gd name="connsiteX20" fmla="*/ 137023 w 137052"/>
                        <a:gd name="connsiteY20" fmla="*/ 59471 h 90186"/>
                        <a:gd name="connsiteX21" fmla="*/ 129555 w 137052"/>
                        <a:gd name="connsiteY21" fmla="*/ 83726 h 90186"/>
                        <a:gd name="connsiteX22" fmla="*/ 113721 w 137052"/>
                        <a:gd name="connsiteY22" fmla="*/ 90187 h 90186"/>
                        <a:gd name="connsiteX23" fmla="*/ 9845 w 137052"/>
                        <a:gd name="connsiteY23" fmla="*/ 9797 h 90186"/>
                        <a:gd name="connsiteX24" fmla="*/ 9845 w 137052"/>
                        <a:gd name="connsiteY24" fmla="*/ 59604 h 90186"/>
                        <a:gd name="connsiteX25" fmla="*/ 14664 w 137052"/>
                        <a:gd name="connsiteY25" fmla="*/ 77027 h 90186"/>
                        <a:gd name="connsiteX26" fmla="*/ 23349 w 137052"/>
                        <a:gd name="connsiteY26" fmla="*/ 80390 h 90186"/>
                        <a:gd name="connsiteX27" fmla="*/ 113721 w 137052"/>
                        <a:gd name="connsiteY27" fmla="*/ 80390 h 90186"/>
                        <a:gd name="connsiteX28" fmla="*/ 122406 w 137052"/>
                        <a:gd name="connsiteY28" fmla="*/ 77027 h 90186"/>
                        <a:gd name="connsiteX29" fmla="*/ 127225 w 137052"/>
                        <a:gd name="connsiteY29" fmla="*/ 59921 h 90186"/>
                        <a:gd name="connsiteX30" fmla="*/ 127225 w 137052"/>
                        <a:gd name="connsiteY30" fmla="*/ 59604 h 90186"/>
                        <a:gd name="connsiteX31" fmla="*/ 127225 w 137052"/>
                        <a:gd name="connsiteY31" fmla="*/ 9797 h 90186"/>
                        <a:gd name="connsiteX32" fmla="*/ 110279 w 137052"/>
                        <a:gd name="connsiteY32" fmla="*/ 9797 h 90186"/>
                        <a:gd name="connsiteX33" fmla="*/ 110279 w 137052"/>
                        <a:gd name="connsiteY33" fmla="*/ 38394 h 90186"/>
                        <a:gd name="connsiteX34" fmla="*/ 105380 w 137052"/>
                        <a:gd name="connsiteY34" fmla="*/ 43293 h 90186"/>
                        <a:gd name="connsiteX35" fmla="*/ 85283 w 137052"/>
                        <a:gd name="connsiteY35" fmla="*/ 43293 h 90186"/>
                        <a:gd name="connsiteX36" fmla="*/ 80384 w 137052"/>
                        <a:gd name="connsiteY36" fmla="*/ 38394 h 90186"/>
                        <a:gd name="connsiteX37" fmla="*/ 80384 w 137052"/>
                        <a:gd name="connsiteY37" fmla="*/ 9797 h 90186"/>
                        <a:gd name="connsiteX38" fmla="*/ 56712 w 137052"/>
                        <a:gd name="connsiteY38" fmla="*/ 9797 h 90186"/>
                        <a:gd name="connsiteX39" fmla="*/ 56712 w 137052"/>
                        <a:gd name="connsiteY39" fmla="*/ 38394 h 90186"/>
                        <a:gd name="connsiteX40" fmla="*/ 51814 w 137052"/>
                        <a:gd name="connsiteY40" fmla="*/ 43293 h 90186"/>
                        <a:gd name="connsiteX41" fmla="*/ 31716 w 137052"/>
                        <a:gd name="connsiteY41" fmla="*/ 43293 h 90186"/>
                        <a:gd name="connsiteX42" fmla="*/ 26818 w 137052"/>
                        <a:gd name="connsiteY42" fmla="*/ 38394 h 90186"/>
                        <a:gd name="connsiteX43" fmla="*/ 26818 w 137052"/>
                        <a:gd name="connsiteY43" fmla="*/ 9797 h 90186"/>
                        <a:gd name="connsiteX44" fmla="*/ 9845 w 137052"/>
                        <a:gd name="connsiteY44" fmla="*/ 9797 h 90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37052" h="90186">
                          <a:moveTo>
                            <a:pt x="113721" y="90187"/>
                          </a:moveTo>
                          <a:lnTo>
                            <a:pt x="23349" y="90187"/>
                          </a:lnTo>
                          <a:cubicBezTo>
                            <a:pt x="16862" y="90187"/>
                            <a:pt x="11513" y="88015"/>
                            <a:pt x="7488" y="83699"/>
                          </a:cubicBezTo>
                          <a:cubicBezTo>
                            <a:pt x="-853" y="74803"/>
                            <a:pt x="-5" y="59921"/>
                            <a:pt x="48" y="59286"/>
                          </a:cubicBezTo>
                          <a:lnTo>
                            <a:pt x="48" y="4899"/>
                          </a:lnTo>
                          <a:cubicBezTo>
                            <a:pt x="48" y="2198"/>
                            <a:pt x="2246" y="0"/>
                            <a:pt x="4946" y="0"/>
                          </a:cubicBezTo>
                          <a:lnTo>
                            <a:pt x="31690" y="0"/>
                          </a:lnTo>
                          <a:cubicBezTo>
                            <a:pt x="34391" y="0"/>
                            <a:pt x="36588" y="2198"/>
                            <a:pt x="36588" y="4899"/>
                          </a:cubicBezTo>
                          <a:lnTo>
                            <a:pt x="36588" y="33496"/>
                          </a:lnTo>
                          <a:lnTo>
                            <a:pt x="46889" y="33496"/>
                          </a:lnTo>
                          <a:lnTo>
                            <a:pt x="46889" y="4899"/>
                          </a:lnTo>
                          <a:cubicBezTo>
                            <a:pt x="46889" y="2198"/>
                            <a:pt x="49086" y="0"/>
                            <a:pt x="51787" y="0"/>
                          </a:cubicBezTo>
                          <a:lnTo>
                            <a:pt x="85256" y="0"/>
                          </a:lnTo>
                          <a:cubicBezTo>
                            <a:pt x="87957" y="0"/>
                            <a:pt x="90155" y="2198"/>
                            <a:pt x="90155" y="4899"/>
                          </a:cubicBezTo>
                          <a:lnTo>
                            <a:pt x="90155" y="33496"/>
                          </a:lnTo>
                          <a:lnTo>
                            <a:pt x="100455" y="33496"/>
                          </a:lnTo>
                          <a:lnTo>
                            <a:pt x="100455" y="4899"/>
                          </a:lnTo>
                          <a:cubicBezTo>
                            <a:pt x="100455" y="2198"/>
                            <a:pt x="102653" y="0"/>
                            <a:pt x="105354" y="0"/>
                          </a:cubicBezTo>
                          <a:lnTo>
                            <a:pt x="132124" y="0"/>
                          </a:lnTo>
                          <a:cubicBezTo>
                            <a:pt x="134825" y="0"/>
                            <a:pt x="137023" y="2198"/>
                            <a:pt x="137023" y="4899"/>
                          </a:cubicBezTo>
                          <a:lnTo>
                            <a:pt x="137023" y="59471"/>
                          </a:lnTo>
                          <a:cubicBezTo>
                            <a:pt x="137102" y="61325"/>
                            <a:pt x="137526" y="75226"/>
                            <a:pt x="129555" y="83726"/>
                          </a:cubicBezTo>
                          <a:cubicBezTo>
                            <a:pt x="125557" y="88015"/>
                            <a:pt x="120208" y="90187"/>
                            <a:pt x="113721" y="90187"/>
                          </a:cubicBezTo>
                          <a:close/>
                          <a:moveTo>
                            <a:pt x="9845" y="9797"/>
                          </a:moveTo>
                          <a:lnTo>
                            <a:pt x="9845" y="59604"/>
                          </a:lnTo>
                          <a:cubicBezTo>
                            <a:pt x="9659" y="63046"/>
                            <a:pt x="10136" y="72234"/>
                            <a:pt x="14664" y="77027"/>
                          </a:cubicBezTo>
                          <a:cubicBezTo>
                            <a:pt x="16809" y="79304"/>
                            <a:pt x="19642" y="80390"/>
                            <a:pt x="23349" y="80390"/>
                          </a:cubicBezTo>
                          <a:lnTo>
                            <a:pt x="113721" y="80390"/>
                          </a:lnTo>
                          <a:cubicBezTo>
                            <a:pt x="117428" y="80390"/>
                            <a:pt x="120288" y="79304"/>
                            <a:pt x="122406" y="77027"/>
                          </a:cubicBezTo>
                          <a:cubicBezTo>
                            <a:pt x="126908" y="72234"/>
                            <a:pt x="127437" y="63046"/>
                            <a:pt x="127225" y="59921"/>
                          </a:cubicBezTo>
                          <a:cubicBezTo>
                            <a:pt x="127225" y="59815"/>
                            <a:pt x="127225" y="59710"/>
                            <a:pt x="127225" y="59604"/>
                          </a:cubicBezTo>
                          <a:lnTo>
                            <a:pt x="127225" y="9797"/>
                          </a:lnTo>
                          <a:lnTo>
                            <a:pt x="110279" y="9797"/>
                          </a:lnTo>
                          <a:lnTo>
                            <a:pt x="110279" y="38394"/>
                          </a:lnTo>
                          <a:cubicBezTo>
                            <a:pt x="110279" y="41095"/>
                            <a:pt x="108081" y="43293"/>
                            <a:pt x="105380" y="43293"/>
                          </a:cubicBezTo>
                          <a:lnTo>
                            <a:pt x="85283" y="43293"/>
                          </a:lnTo>
                          <a:cubicBezTo>
                            <a:pt x="82582" y="43293"/>
                            <a:pt x="80384" y="41095"/>
                            <a:pt x="80384" y="38394"/>
                          </a:cubicBezTo>
                          <a:lnTo>
                            <a:pt x="80384" y="9797"/>
                          </a:lnTo>
                          <a:lnTo>
                            <a:pt x="56712" y="9797"/>
                          </a:lnTo>
                          <a:lnTo>
                            <a:pt x="56712" y="38394"/>
                          </a:lnTo>
                          <a:cubicBezTo>
                            <a:pt x="56712" y="41095"/>
                            <a:pt x="54515" y="43293"/>
                            <a:pt x="51814" y="43293"/>
                          </a:cubicBezTo>
                          <a:lnTo>
                            <a:pt x="31716" y="43293"/>
                          </a:lnTo>
                          <a:cubicBezTo>
                            <a:pt x="29016" y="43293"/>
                            <a:pt x="26818" y="41095"/>
                            <a:pt x="26818" y="38394"/>
                          </a:cubicBezTo>
                          <a:lnTo>
                            <a:pt x="26818" y="9797"/>
                          </a:lnTo>
                          <a:lnTo>
                            <a:pt x="9845" y="9797"/>
                          </a:lnTo>
                          <a:close/>
                        </a:path>
                      </a:pathLst>
                    </a:custGeom>
                    <a:grpFill/>
                    <a:ln w="2648" cap="flat">
                      <a:noFill/>
                      <a:prstDash val="solid"/>
                      <a:miter/>
                    </a:ln>
                  </p:spPr>
                  <p:txBody>
                    <a:bodyPr rtlCol="0" anchor="ctr"/>
                    <a:lstStyle/>
                    <a:p>
                      <a:endParaRPr lang="en-GB" dirty="0"/>
                    </a:p>
                  </p:txBody>
                </p:sp>
              </p:grpSp>
              <p:sp>
                <p:nvSpPr>
                  <p:cNvPr id="283" name="Freihandform: Form 950">
                    <a:extLst>
                      <a:ext uri="{FF2B5EF4-FFF2-40B4-BE49-F238E27FC236}">
                        <a16:creationId xmlns:a16="http://schemas.microsoft.com/office/drawing/2014/main" id="{1623EBEE-3C9B-4154-8B27-A6F3ABDA84F0}"/>
                      </a:ext>
                    </a:extLst>
                  </p:cNvPr>
                  <p:cNvSpPr/>
                  <p:nvPr/>
                </p:nvSpPr>
                <p:spPr>
                  <a:xfrm>
                    <a:off x="8118422" y="3663081"/>
                    <a:ext cx="184610" cy="9797"/>
                  </a:xfrm>
                  <a:custGeom>
                    <a:avLst/>
                    <a:gdLst>
                      <a:gd name="connsiteX0" fmla="*/ 179711 w 184610"/>
                      <a:gd name="connsiteY0" fmla="*/ 9797 h 9797"/>
                      <a:gd name="connsiteX1" fmla="*/ 4899 w 184610"/>
                      <a:gd name="connsiteY1" fmla="*/ 9797 h 9797"/>
                      <a:gd name="connsiteX2" fmla="*/ 0 w 184610"/>
                      <a:gd name="connsiteY2" fmla="*/ 4899 h 9797"/>
                      <a:gd name="connsiteX3" fmla="*/ 4899 w 184610"/>
                      <a:gd name="connsiteY3" fmla="*/ 0 h 9797"/>
                      <a:gd name="connsiteX4" fmla="*/ 179711 w 184610"/>
                      <a:gd name="connsiteY4" fmla="*/ 0 h 9797"/>
                      <a:gd name="connsiteX5" fmla="*/ 184610 w 184610"/>
                      <a:gd name="connsiteY5" fmla="*/ 4899 h 9797"/>
                      <a:gd name="connsiteX6" fmla="*/ 179711 w 184610"/>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4610" h="9797">
                        <a:moveTo>
                          <a:pt x="179711" y="9797"/>
                        </a:moveTo>
                        <a:lnTo>
                          <a:pt x="4899" y="9797"/>
                        </a:lnTo>
                        <a:cubicBezTo>
                          <a:pt x="2198" y="9797"/>
                          <a:pt x="0" y="7599"/>
                          <a:pt x="0" y="4899"/>
                        </a:cubicBezTo>
                        <a:cubicBezTo>
                          <a:pt x="0" y="2198"/>
                          <a:pt x="2198" y="0"/>
                          <a:pt x="4899" y="0"/>
                        </a:cubicBezTo>
                        <a:lnTo>
                          <a:pt x="179711" y="0"/>
                        </a:lnTo>
                        <a:cubicBezTo>
                          <a:pt x="182412" y="0"/>
                          <a:pt x="184610" y="2198"/>
                          <a:pt x="184610" y="4899"/>
                        </a:cubicBezTo>
                        <a:cubicBezTo>
                          <a:pt x="184610" y="7599"/>
                          <a:pt x="182412" y="9797"/>
                          <a:pt x="179711" y="9797"/>
                        </a:cubicBezTo>
                        <a:close/>
                      </a:path>
                    </a:pathLst>
                  </a:custGeom>
                  <a:grpFill/>
                  <a:ln w="2648" cap="flat">
                    <a:noFill/>
                    <a:prstDash val="solid"/>
                    <a:miter/>
                  </a:ln>
                </p:spPr>
                <p:txBody>
                  <a:bodyPr rtlCol="0" anchor="ctr"/>
                  <a:lstStyle/>
                  <a:p>
                    <a:endParaRPr lang="en-GB" dirty="0"/>
                  </a:p>
                </p:txBody>
              </p:sp>
            </p:grpSp>
            <p:sp>
              <p:nvSpPr>
                <p:cNvPr id="281" name="Freihandform: Form 958">
                  <a:extLst>
                    <a:ext uri="{FF2B5EF4-FFF2-40B4-BE49-F238E27FC236}">
                      <a16:creationId xmlns:a16="http://schemas.microsoft.com/office/drawing/2014/main" id="{798CCFC7-987F-4709-A6C0-2C234B0A5DCF}"/>
                    </a:ext>
                  </a:extLst>
                </p:cNvPr>
                <p:cNvSpPr/>
                <p:nvPr/>
              </p:nvSpPr>
              <p:spPr>
                <a:xfrm>
                  <a:off x="8170718" y="3558834"/>
                  <a:ext cx="74670" cy="9797"/>
                </a:xfrm>
                <a:custGeom>
                  <a:avLst/>
                  <a:gdLst>
                    <a:gd name="connsiteX0" fmla="*/ 69772 w 74670"/>
                    <a:gd name="connsiteY0" fmla="*/ 9797 h 9797"/>
                    <a:gd name="connsiteX1" fmla="*/ 4899 w 74670"/>
                    <a:gd name="connsiteY1" fmla="*/ 9797 h 9797"/>
                    <a:gd name="connsiteX2" fmla="*/ 0 w 74670"/>
                    <a:gd name="connsiteY2" fmla="*/ 4899 h 9797"/>
                    <a:gd name="connsiteX3" fmla="*/ 4899 w 74670"/>
                    <a:gd name="connsiteY3" fmla="*/ 0 h 9797"/>
                    <a:gd name="connsiteX4" fmla="*/ 69772 w 74670"/>
                    <a:gd name="connsiteY4" fmla="*/ 0 h 9797"/>
                    <a:gd name="connsiteX5" fmla="*/ 74670 w 74670"/>
                    <a:gd name="connsiteY5" fmla="*/ 4899 h 9797"/>
                    <a:gd name="connsiteX6" fmla="*/ 69772 w 74670"/>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670" h="9797">
                      <a:moveTo>
                        <a:pt x="69772" y="9797"/>
                      </a:moveTo>
                      <a:lnTo>
                        <a:pt x="4899" y="9797"/>
                      </a:lnTo>
                      <a:cubicBezTo>
                        <a:pt x="2198" y="9797"/>
                        <a:pt x="0" y="7599"/>
                        <a:pt x="0" y="4899"/>
                      </a:cubicBezTo>
                      <a:cubicBezTo>
                        <a:pt x="0" y="2198"/>
                        <a:pt x="2198" y="0"/>
                        <a:pt x="4899" y="0"/>
                      </a:cubicBezTo>
                      <a:lnTo>
                        <a:pt x="69772" y="0"/>
                      </a:lnTo>
                      <a:cubicBezTo>
                        <a:pt x="72472" y="0"/>
                        <a:pt x="74670" y="2198"/>
                        <a:pt x="74670" y="4899"/>
                      </a:cubicBezTo>
                      <a:cubicBezTo>
                        <a:pt x="74670" y="7599"/>
                        <a:pt x="72472" y="9797"/>
                        <a:pt x="69772" y="9797"/>
                      </a:cubicBezTo>
                      <a:close/>
                    </a:path>
                  </a:pathLst>
                </a:custGeom>
                <a:grpFill/>
                <a:ln w="2648" cap="flat">
                  <a:noFill/>
                  <a:prstDash val="solid"/>
                  <a:miter/>
                </a:ln>
              </p:spPr>
              <p:txBody>
                <a:bodyPr rtlCol="0" anchor="ctr"/>
                <a:lstStyle/>
                <a:p>
                  <a:endParaRPr lang="en-GB" dirty="0"/>
                </a:p>
              </p:txBody>
            </p:sp>
          </p:grpSp>
        </p:grpSp>
      </p:grpSp>
      <p:grpSp>
        <p:nvGrpSpPr>
          <p:cNvPr id="123" name="Group 122">
            <a:extLst>
              <a:ext uri="{FF2B5EF4-FFF2-40B4-BE49-F238E27FC236}">
                <a16:creationId xmlns:a16="http://schemas.microsoft.com/office/drawing/2014/main" id="{2A96B5E9-9E93-3A02-FA0B-115666FA9D2D}"/>
              </a:ext>
            </a:extLst>
          </p:cNvPr>
          <p:cNvGrpSpPr/>
          <p:nvPr/>
        </p:nvGrpSpPr>
        <p:grpSpPr>
          <a:xfrm>
            <a:off x="2639759" y="4002611"/>
            <a:ext cx="490318" cy="432000"/>
            <a:chOff x="2639759" y="4002611"/>
            <a:chExt cx="490318" cy="432000"/>
          </a:xfrm>
        </p:grpSpPr>
        <p:grpSp>
          <p:nvGrpSpPr>
            <p:cNvPr id="295" name="Group 294">
              <a:extLst>
                <a:ext uri="{FF2B5EF4-FFF2-40B4-BE49-F238E27FC236}">
                  <a16:creationId xmlns:a16="http://schemas.microsoft.com/office/drawing/2014/main" id="{E7ECAC16-A143-45D5-A1D3-A8307A7FFB07}"/>
                </a:ext>
              </a:extLst>
            </p:cNvPr>
            <p:cNvGrpSpPr/>
            <p:nvPr/>
          </p:nvGrpSpPr>
          <p:grpSpPr>
            <a:xfrm>
              <a:off x="2639759" y="4238617"/>
              <a:ext cx="490318" cy="195993"/>
              <a:chOff x="6125259" y="4413569"/>
              <a:chExt cx="526954" cy="210638"/>
            </a:xfrm>
            <a:solidFill>
              <a:schemeClr val="tx2"/>
            </a:solidFill>
          </p:grpSpPr>
          <p:grpSp>
            <p:nvGrpSpPr>
              <p:cNvPr id="323" name="Grafik 102">
                <a:extLst>
                  <a:ext uri="{FF2B5EF4-FFF2-40B4-BE49-F238E27FC236}">
                    <a16:creationId xmlns:a16="http://schemas.microsoft.com/office/drawing/2014/main" id="{4CE12B5D-EBE6-4260-AEA0-96F233DE59B3}"/>
                  </a:ext>
                </a:extLst>
              </p:cNvPr>
              <p:cNvGrpSpPr/>
              <p:nvPr/>
            </p:nvGrpSpPr>
            <p:grpSpPr>
              <a:xfrm>
                <a:off x="6125259" y="4523376"/>
                <a:ext cx="141820" cy="100831"/>
                <a:chOff x="6125259" y="4523376"/>
                <a:chExt cx="141820" cy="100831"/>
              </a:xfrm>
              <a:grpFill/>
            </p:grpSpPr>
            <p:sp>
              <p:nvSpPr>
                <p:cNvPr id="331" name="Freihandform: Form 967">
                  <a:extLst>
                    <a:ext uri="{FF2B5EF4-FFF2-40B4-BE49-F238E27FC236}">
                      <a16:creationId xmlns:a16="http://schemas.microsoft.com/office/drawing/2014/main" id="{834E306A-2B55-4268-AE74-BB2934323ABE}"/>
                    </a:ext>
                  </a:extLst>
                </p:cNvPr>
                <p:cNvSpPr/>
                <p:nvPr/>
              </p:nvSpPr>
              <p:spPr>
                <a:xfrm>
                  <a:off x="6156213" y="4584887"/>
                  <a:ext cx="9797" cy="39320"/>
                </a:xfrm>
                <a:custGeom>
                  <a:avLst/>
                  <a:gdLst>
                    <a:gd name="connsiteX0" fmla="*/ 4899 w 9797"/>
                    <a:gd name="connsiteY0" fmla="*/ 39321 h 39320"/>
                    <a:gd name="connsiteX1" fmla="*/ 0 w 9797"/>
                    <a:gd name="connsiteY1" fmla="*/ 34422 h 39320"/>
                    <a:gd name="connsiteX2" fmla="*/ 0 w 9797"/>
                    <a:gd name="connsiteY2" fmla="*/ 4899 h 39320"/>
                    <a:gd name="connsiteX3" fmla="*/ 4899 w 9797"/>
                    <a:gd name="connsiteY3" fmla="*/ 0 h 39320"/>
                    <a:gd name="connsiteX4" fmla="*/ 9797 w 9797"/>
                    <a:gd name="connsiteY4" fmla="*/ 4899 h 39320"/>
                    <a:gd name="connsiteX5" fmla="*/ 9797 w 9797"/>
                    <a:gd name="connsiteY5" fmla="*/ 34422 h 39320"/>
                    <a:gd name="connsiteX6" fmla="*/ 4899 w 9797"/>
                    <a:gd name="connsiteY6" fmla="*/ 39321 h 3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39320">
                      <a:moveTo>
                        <a:pt x="4899" y="39321"/>
                      </a:moveTo>
                      <a:cubicBezTo>
                        <a:pt x="2198" y="39321"/>
                        <a:pt x="0" y="37123"/>
                        <a:pt x="0" y="34422"/>
                      </a:cubicBezTo>
                      <a:lnTo>
                        <a:pt x="0" y="4899"/>
                      </a:lnTo>
                      <a:cubicBezTo>
                        <a:pt x="0" y="2198"/>
                        <a:pt x="2198" y="0"/>
                        <a:pt x="4899" y="0"/>
                      </a:cubicBezTo>
                      <a:cubicBezTo>
                        <a:pt x="7599" y="0"/>
                        <a:pt x="9797" y="2198"/>
                        <a:pt x="9797" y="4899"/>
                      </a:cubicBezTo>
                      <a:lnTo>
                        <a:pt x="9797" y="34422"/>
                      </a:lnTo>
                      <a:cubicBezTo>
                        <a:pt x="9797" y="37123"/>
                        <a:pt x="7599" y="39321"/>
                        <a:pt x="4899" y="39321"/>
                      </a:cubicBezTo>
                      <a:close/>
                    </a:path>
                  </a:pathLst>
                </a:custGeom>
                <a:grpFill/>
                <a:ln w="2648" cap="flat">
                  <a:noFill/>
                  <a:prstDash val="solid"/>
                  <a:miter/>
                </a:ln>
              </p:spPr>
              <p:txBody>
                <a:bodyPr rtlCol="0" anchor="ctr"/>
                <a:lstStyle/>
                <a:p>
                  <a:endParaRPr lang="en-GB" dirty="0"/>
                </a:p>
              </p:txBody>
            </p:sp>
            <p:sp>
              <p:nvSpPr>
                <p:cNvPr id="332" name="Freihandform: Form 968">
                  <a:extLst>
                    <a:ext uri="{FF2B5EF4-FFF2-40B4-BE49-F238E27FC236}">
                      <a16:creationId xmlns:a16="http://schemas.microsoft.com/office/drawing/2014/main" id="{430CDE5E-1C19-4345-9C97-9E2A96868571}"/>
                    </a:ext>
                  </a:extLst>
                </p:cNvPr>
                <p:cNvSpPr/>
                <p:nvPr/>
              </p:nvSpPr>
              <p:spPr>
                <a:xfrm>
                  <a:off x="6125259" y="4523376"/>
                  <a:ext cx="71440" cy="100831"/>
                </a:xfrm>
                <a:custGeom>
                  <a:avLst/>
                  <a:gdLst>
                    <a:gd name="connsiteX0" fmla="*/ 4899 w 71440"/>
                    <a:gd name="connsiteY0" fmla="*/ 100831 h 100831"/>
                    <a:gd name="connsiteX1" fmla="*/ 0 w 71440"/>
                    <a:gd name="connsiteY1" fmla="*/ 95933 h 100831"/>
                    <a:gd name="connsiteX2" fmla="*/ 0 w 71440"/>
                    <a:gd name="connsiteY2" fmla="*/ 37256 h 100831"/>
                    <a:gd name="connsiteX3" fmla="*/ 33787 w 71440"/>
                    <a:gd name="connsiteY3" fmla="*/ 7600 h 100831"/>
                    <a:gd name="connsiteX4" fmla="*/ 57512 w 71440"/>
                    <a:gd name="connsiteY4" fmla="*/ 7600 h 100831"/>
                    <a:gd name="connsiteX5" fmla="*/ 61643 w 71440"/>
                    <a:gd name="connsiteY5" fmla="*/ 4819 h 100831"/>
                    <a:gd name="connsiteX6" fmla="*/ 66541 w 71440"/>
                    <a:gd name="connsiteY6" fmla="*/ 0 h 100831"/>
                    <a:gd name="connsiteX7" fmla="*/ 66621 w 71440"/>
                    <a:gd name="connsiteY7" fmla="*/ 0 h 100831"/>
                    <a:gd name="connsiteX8" fmla="*/ 71440 w 71440"/>
                    <a:gd name="connsiteY8" fmla="*/ 4978 h 100831"/>
                    <a:gd name="connsiteX9" fmla="*/ 58015 w 71440"/>
                    <a:gd name="connsiteY9" fmla="*/ 17370 h 100831"/>
                    <a:gd name="connsiteX10" fmla="*/ 33760 w 71440"/>
                    <a:gd name="connsiteY10" fmla="*/ 17397 h 100831"/>
                    <a:gd name="connsiteX11" fmla="*/ 9797 w 71440"/>
                    <a:gd name="connsiteY11" fmla="*/ 37256 h 100831"/>
                    <a:gd name="connsiteX12" fmla="*/ 9797 w 71440"/>
                    <a:gd name="connsiteY12" fmla="*/ 95933 h 100831"/>
                    <a:gd name="connsiteX13" fmla="*/ 4899 w 71440"/>
                    <a:gd name="connsiteY13" fmla="*/ 100831 h 100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440" h="100831">
                      <a:moveTo>
                        <a:pt x="4899" y="100831"/>
                      </a:moveTo>
                      <a:cubicBezTo>
                        <a:pt x="2198" y="100831"/>
                        <a:pt x="0" y="98633"/>
                        <a:pt x="0" y="95933"/>
                      </a:cubicBezTo>
                      <a:lnTo>
                        <a:pt x="0" y="37256"/>
                      </a:lnTo>
                      <a:cubicBezTo>
                        <a:pt x="0" y="13796"/>
                        <a:pt x="22110" y="7600"/>
                        <a:pt x="33787" y="7600"/>
                      </a:cubicBezTo>
                      <a:lnTo>
                        <a:pt x="57512" y="7600"/>
                      </a:lnTo>
                      <a:cubicBezTo>
                        <a:pt x="57353" y="7573"/>
                        <a:pt x="61616" y="6885"/>
                        <a:pt x="61643" y="4819"/>
                      </a:cubicBezTo>
                      <a:cubicBezTo>
                        <a:pt x="61696" y="2145"/>
                        <a:pt x="63867" y="0"/>
                        <a:pt x="66541" y="0"/>
                      </a:cubicBezTo>
                      <a:cubicBezTo>
                        <a:pt x="66568" y="0"/>
                        <a:pt x="66594" y="0"/>
                        <a:pt x="66621" y="0"/>
                      </a:cubicBezTo>
                      <a:cubicBezTo>
                        <a:pt x="69321" y="53"/>
                        <a:pt x="71493" y="2277"/>
                        <a:pt x="71440" y="4978"/>
                      </a:cubicBezTo>
                      <a:cubicBezTo>
                        <a:pt x="71307" y="13743"/>
                        <a:pt x="62596" y="16920"/>
                        <a:pt x="58015" y="17370"/>
                      </a:cubicBezTo>
                      <a:lnTo>
                        <a:pt x="33760" y="17397"/>
                      </a:lnTo>
                      <a:cubicBezTo>
                        <a:pt x="31324" y="17397"/>
                        <a:pt x="9797" y="18085"/>
                        <a:pt x="9797" y="37256"/>
                      </a:cubicBezTo>
                      <a:lnTo>
                        <a:pt x="9797" y="95933"/>
                      </a:lnTo>
                      <a:cubicBezTo>
                        <a:pt x="9824" y="98633"/>
                        <a:pt x="7626" y="100831"/>
                        <a:pt x="4899" y="100831"/>
                      </a:cubicBezTo>
                      <a:close/>
                    </a:path>
                  </a:pathLst>
                </a:custGeom>
                <a:grpFill/>
                <a:ln w="2648" cap="flat">
                  <a:noFill/>
                  <a:prstDash val="solid"/>
                  <a:miter/>
                </a:ln>
              </p:spPr>
              <p:txBody>
                <a:bodyPr rtlCol="0" anchor="ctr"/>
                <a:lstStyle/>
                <a:p>
                  <a:endParaRPr lang="en-GB" dirty="0"/>
                </a:p>
              </p:txBody>
            </p:sp>
            <p:sp>
              <p:nvSpPr>
                <p:cNvPr id="333" name="Freihandform: Form 969">
                  <a:extLst>
                    <a:ext uri="{FF2B5EF4-FFF2-40B4-BE49-F238E27FC236}">
                      <a16:creationId xmlns:a16="http://schemas.microsoft.com/office/drawing/2014/main" id="{804BEB06-E762-4D3B-8179-E32B87BD6AF2}"/>
                    </a:ext>
                  </a:extLst>
                </p:cNvPr>
                <p:cNvSpPr/>
                <p:nvPr/>
              </p:nvSpPr>
              <p:spPr>
                <a:xfrm>
                  <a:off x="6255191" y="4585416"/>
                  <a:ext cx="9797" cy="36805"/>
                </a:xfrm>
                <a:custGeom>
                  <a:avLst/>
                  <a:gdLst>
                    <a:gd name="connsiteX0" fmla="*/ 4899 w 9797"/>
                    <a:gd name="connsiteY0" fmla="*/ 36806 h 36805"/>
                    <a:gd name="connsiteX1" fmla="*/ 0 w 9797"/>
                    <a:gd name="connsiteY1" fmla="*/ 31907 h 36805"/>
                    <a:gd name="connsiteX2" fmla="*/ 0 w 9797"/>
                    <a:gd name="connsiteY2" fmla="*/ 4899 h 36805"/>
                    <a:gd name="connsiteX3" fmla="*/ 4899 w 9797"/>
                    <a:gd name="connsiteY3" fmla="*/ 0 h 36805"/>
                    <a:gd name="connsiteX4" fmla="*/ 9797 w 9797"/>
                    <a:gd name="connsiteY4" fmla="*/ 4899 h 36805"/>
                    <a:gd name="connsiteX5" fmla="*/ 9797 w 9797"/>
                    <a:gd name="connsiteY5" fmla="*/ 31907 h 36805"/>
                    <a:gd name="connsiteX6" fmla="*/ 4899 w 9797"/>
                    <a:gd name="connsiteY6" fmla="*/ 36806 h 3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36805">
                      <a:moveTo>
                        <a:pt x="4899" y="36806"/>
                      </a:moveTo>
                      <a:cubicBezTo>
                        <a:pt x="2198" y="36806"/>
                        <a:pt x="0" y="34608"/>
                        <a:pt x="0" y="31907"/>
                      </a:cubicBezTo>
                      <a:lnTo>
                        <a:pt x="0" y="4899"/>
                      </a:lnTo>
                      <a:cubicBezTo>
                        <a:pt x="0" y="2198"/>
                        <a:pt x="2198" y="0"/>
                        <a:pt x="4899" y="0"/>
                      </a:cubicBezTo>
                      <a:cubicBezTo>
                        <a:pt x="7599" y="0"/>
                        <a:pt x="9797" y="2198"/>
                        <a:pt x="9797" y="4899"/>
                      </a:cubicBezTo>
                      <a:lnTo>
                        <a:pt x="9797" y="31907"/>
                      </a:lnTo>
                      <a:cubicBezTo>
                        <a:pt x="9797" y="34608"/>
                        <a:pt x="7599" y="36806"/>
                        <a:pt x="4899" y="36806"/>
                      </a:cubicBezTo>
                      <a:close/>
                    </a:path>
                  </a:pathLst>
                </a:custGeom>
                <a:grpFill/>
                <a:ln w="2648" cap="flat">
                  <a:noFill/>
                  <a:prstDash val="solid"/>
                  <a:miter/>
                </a:ln>
              </p:spPr>
              <p:txBody>
                <a:bodyPr rtlCol="0" anchor="ctr"/>
                <a:lstStyle/>
                <a:p>
                  <a:endParaRPr lang="en-GB" dirty="0"/>
                </a:p>
              </p:txBody>
            </p:sp>
            <p:sp>
              <p:nvSpPr>
                <p:cNvPr id="334" name="Freihandform: Form 970">
                  <a:extLst>
                    <a:ext uri="{FF2B5EF4-FFF2-40B4-BE49-F238E27FC236}">
                      <a16:creationId xmlns:a16="http://schemas.microsoft.com/office/drawing/2014/main" id="{26246316-CD0C-4D8A-B87E-1349CEAE94F0}"/>
                    </a:ext>
                  </a:extLst>
                </p:cNvPr>
                <p:cNvSpPr/>
                <p:nvPr/>
              </p:nvSpPr>
              <p:spPr>
                <a:xfrm>
                  <a:off x="6226435" y="4523403"/>
                  <a:ext cx="40644" cy="17396"/>
                </a:xfrm>
                <a:custGeom>
                  <a:avLst/>
                  <a:gdLst>
                    <a:gd name="connsiteX0" fmla="*/ 11783 w 40644"/>
                    <a:gd name="connsiteY0" fmla="*/ 17397 h 17396"/>
                    <a:gd name="connsiteX1" fmla="*/ 3601 w 40644"/>
                    <a:gd name="connsiteY1" fmla="*/ 14140 h 17396"/>
                    <a:gd name="connsiteX2" fmla="*/ 0 w 40644"/>
                    <a:gd name="connsiteY2" fmla="*/ 4925 h 17396"/>
                    <a:gd name="connsiteX3" fmla="*/ 4872 w 40644"/>
                    <a:gd name="connsiteY3" fmla="*/ 0 h 17396"/>
                    <a:gd name="connsiteX4" fmla="*/ 4899 w 40644"/>
                    <a:gd name="connsiteY4" fmla="*/ 0 h 17396"/>
                    <a:gd name="connsiteX5" fmla="*/ 9797 w 40644"/>
                    <a:gd name="connsiteY5" fmla="*/ 4872 h 17396"/>
                    <a:gd name="connsiteX6" fmla="*/ 10380 w 40644"/>
                    <a:gd name="connsiteY6" fmla="*/ 7070 h 17396"/>
                    <a:gd name="connsiteX7" fmla="*/ 11783 w 40644"/>
                    <a:gd name="connsiteY7" fmla="*/ 7599 h 17396"/>
                    <a:gd name="connsiteX8" fmla="*/ 11783 w 40644"/>
                    <a:gd name="connsiteY8" fmla="*/ 7599 h 17396"/>
                    <a:gd name="connsiteX9" fmla="*/ 35746 w 40644"/>
                    <a:gd name="connsiteY9" fmla="*/ 7599 h 17396"/>
                    <a:gd name="connsiteX10" fmla="*/ 40645 w 40644"/>
                    <a:gd name="connsiteY10" fmla="*/ 12498 h 17396"/>
                    <a:gd name="connsiteX11" fmla="*/ 35746 w 40644"/>
                    <a:gd name="connsiteY11" fmla="*/ 17397 h 17396"/>
                    <a:gd name="connsiteX12" fmla="*/ 11968 w 40644"/>
                    <a:gd name="connsiteY12" fmla="*/ 17397 h 17396"/>
                    <a:gd name="connsiteX13" fmla="*/ 11783 w 40644"/>
                    <a:gd name="connsiteY13" fmla="*/ 17397 h 1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644" h="17396">
                      <a:moveTo>
                        <a:pt x="11783" y="17397"/>
                      </a:moveTo>
                      <a:cubicBezTo>
                        <a:pt x="10883" y="17397"/>
                        <a:pt x="6779" y="17211"/>
                        <a:pt x="3601" y="14140"/>
                      </a:cubicBezTo>
                      <a:cubicBezTo>
                        <a:pt x="1959" y="12577"/>
                        <a:pt x="27" y="9718"/>
                        <a:pt x="0" y="4925"/>
                      </a:cubicBezTo>
                      <a:cubicBezTo>
                        <a:pt x="0" y="2224"/>
                        <a:pt x="2171" y="0"/>
                        <a:pt x="4872" y="0"/>
                      </a:cubicBezTo>
                      <a:cubicBezTo>
                        <a:pt x="4872" y="0"/>
                        <a:pt x="4899" y="0"/>
                        <a:pt x="4899" y="0"/>
                      </a:cubicBezTo>
                      <a:cubicBezTo>
                        <a:pt x="7599" y="0"/>
                        <a:pt x="9797" y="2171"/>
                        <a:pt x="9797" y="4872"/>
                      </a:cubicBezTo>
                      <a:cubicBezTo>
                        <a:pt x="9797" y="5481"/>
                        <a:pt x="9877" y="6593"/>
                        <a:pt x="10380" y="7070"/>
                      </a:cubicBezTo>
                      <a:cubicBezTo>
                        <a:pt x="10830" y="7520"/>
                        <a:pt x="11757" y="7599"/>
                        <a:pt x="11783" y="7599"/>
                      </a:cubicBezTo>
                      <a:lnTo>
                        <a:pt x="11783" y="7599"/>
                      </a:lnTo>
                      <a:lnTo>
                        <a:pt x="35746" y="7599"/>
                      </a:lnTo>
                      <a:cubicBezTo>
                        <a:pt x="38447" y="7599"/>
                        <a:pt x="40645" y="9797"/>
                        <a:pt x="40645" y="12498"/>
                      </a:cubicBezTo>
                      <a:cubicBezTo>
                        <a:pt x="40645" y="15199"/>
                        <a:pt x="38447" y="17397"/>
                        <a:pt x="35746" y="17397"/>
                      </a:cubicBezTo>
                      <a:lnTo>
                        <a:pt x="11968" y="17397"/>
                      </a:lnTo>
                      <a:cubicBezTo>
                        <a:pt x="11915" y="17397"/>
                        <a:pt x="11863" y="17397"/>
                        <a:pt x="11783" y="17397"/>
                      </a:cubicBezTo>
                      <a:close/>
                    </a:path>
                  </a:pathLst>
                </a:custGeom>
                <a:grpFill/>
                <a:ln w="2648" cap="flat">
                  <a:noFill/>
                  <a:prstDash val="solid"/>
                  <a:miter/>
                </a:ln>
              </p:spPr>
              <p:txBody>
                <a:bodyPr rtlCol="0" anchor="ctr"/>
                <a:lstStyle/>
                <a:p>
                  <a:endParaRPr lang="en-GB" dirty="0"/>
                </a:p>
              </p:txBody>
            </p:sp>
          </p:grpSp>
          <p:sp>
            <p:nvSpPr>
              <p:cNvPr id="324" name="Freihandform: Form 971">
                <a:extLst>
                  <a:ext uri="{FF2B5EF4-FFF2-40B4-BE49-F238E27FC236}">
                    <a16:creationId xmlns:a16="http://schemas.microsoft.com/office/drawing/2014/main" id="{99ECCA19-9E80-477B-A2CF-A40C78D96D4F}"/>
                  </a:ext>
                </a:extLst>
              </p:cNvPr>
              <p:cNvSpPr/>
              <p:nvPr/>
            </p:nvSpPr>
            <p:spPr>
              <a:xfrm>
                <a:off x="6165189" y="4413569"/>
                <a:ext cx="90822" cy="101652"/>
              </a:xfrm>
              <a:custGeom>
                <a:avLst/>
                <a:gdLst>
                  <a:gd name="connsiteX0" fmla="*/ 45411 w 90822"/>
                  <a:gd name="connsiteY0" fmla="*/ 101652 h 101652"/>
                  <a:gd name="connsiteX1" fmla="*/ 0 w 90822"/>
                  <a:gd name="connsiteY1" fmla="*/ 50813 h 101652"/>
                  <a:gd name="connsiteX2" fmla="*/ 45411 w 90822"/>
                  <a:gd name="connsiteY2" fmla="*/ 0 h 101652"/>
                  <a:gd name="connsiteX3" fmla="*/ 90822 w 90822"/>
                  <a:gd name="connsiteY3" fmla="*/ 50813 h 101652"/>
                  <a:gd name="connsiteX4" fmla="*/ 45411 w 90822"/>
                  <a:gd name="connsiteY4" fmla="*/ 101652 h 101652"/>
                  <a:gd name="connsiteX5" fmla="*/ 45411 w 90822"/>
                  <a:gd name="connsiteY5" fmla="*/ 9824 h 101652"/>
                  <a:gd name="connsiteX6" fmla="*/ 9824 w 90822"/>
                  <a:gd name="connsiteY6" fmla="*/ 50839 h 101652"/>
                  <a:gd name="connsiteX7" fmla="*/ 45411 w 90822"/>
                  <a:gd name="connsiteY7" fmla="*/ 91855 h 101652"/>
                  <a:gd name="connsiteX8" fmla="*/ 81025 w 90822"/>
                  <a:gd name="connsiteY8" fmla="*/ 50839 h 101652"/>
                  <a:gd name="connsiteX9" fmla="*/ 45411 w 90822"/>
                  <a:gd name="connsiteY9" fmla="*/ 9824 h 10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822" h="101652">
                    <a:moveTo>
                      <a:pt x="45411" y="101652"/>
                    </a:moveTo>
                    <a:cubicBezTo>
                      <a:pt x="20362" y="101652"/>
                      <a:pt x="0" y="78854"/>
                      <a:pt x="0" y="50813"/>
                    </a:cubicBezTo>
                    <a:cubicBezTo>
                      <a:pt x="0" y="22798"/>
                      <a:pt x="20362" y="0"/>
                      <a:pt x="45411" y="0"/>
                    </a:cubicBezTo>
                    <a:cubicBezTo>
                      <a:pt x="70460" y="0"/>
                      <a:pt x="90822" y="22798"/>
                      <a:pt x="90822" y="50813"/>
                    </a:cubicBezTo>
                    <a:cubicBezTo>
                      <a:pt x="90822" y="78854"/>
                      <a:pt x="70460" y="101652"/>
                      <a:pt x="45411" y="101652"/>
                    </a:cubicBezTo>
                    <a:close/>
                    <a:moveTo>
                      <a:pt x="45411" y="9824"/>
                    </a:moveTo>
                    <a:cubicBezTo>
                      <a:pt x="25790" y="9824"/>
                      <a:pt x="9824" y="28226"/>
                      <a:pt x="9824" y="50839"/>
                    </a:cubicBezTo>
                    <a:cubicBezTo>
                      <a:pt x="9824" y="73452"/>
                      <a:pt x="25790" y="91855"/>
                      <a:pt x="45411" y="91855"/>
                    </a:cubicBezTo>
                    <a:cubicBezTo>
                      <a:pt x="65058" y="91855"/>
                      <a:pt x="81025" y="73452"/>
                      <a:pt x="81025" y="50839"/>
                    </a:cubicBezTo>
                    <a:cubicBezTo>
                      <a:pt x="81025" y="28200"/>
                      <a:pt x="65032" y="9824"/>
                      <a:pt x="45411" y="9824"/>
                    </a:cubicBezTo>
                    <a:close/>
                  </a:path>
                </a:pathLst>
              </a:custGeom>
              <a:grpFill/>
              <a:ln w="2648" cap="flat">
                <a:noFill/>
                <a:prstDash val="solid"/>
                <a:miter/>
              </a:ln>
            </p:spPr>
            <p:txBody>
              <a:bodyPr rtlCol="0" anchor="ctr"/>
              <a:lstStyle/>
              <a:p>
                <a:endParaRPr lang="en-GB" dirty="0"/>
              </a:p>
            </p:txBody>
          </p:sp>
          <p:grpSp>
            <p:nvGrpSpPr>
              <p:cNvPr id="325" name="Grafik 102">
                <a:extLst>
                  <a:ext uri="{FF2B5EF4-FFF2-40B4-BE49-F238E27FC236}">
                    <a16:creationId xmlns:a16="http://schemas.microsoft.com/office/drawing/2014/main" id="{8EF34B3D-2DB1-4481-A683-819CAAEC751A}"/>
                  </a:ext>
                </a:extLst>
              </p:cNvPr>
              <p:cNvGrpSpPr/>
              <p:nvPr/>
            </p:nvGrpSpPr>
            <p:grpSpPr>
              <a:xfrm>
                <a:off x="6510472" y="4523376"/>
                <a:ext cx="141741" cy="100831"/>
                <a:chOff x="6510472" y="4523376"/>
                <a:chExt cx="141741" cy="100831"/>
              </a:xfrm>
              <a:grpFill/>
            </p:grpSpPr>
            <p:sp>
              <p:nvSpPr>
                <p:cNvPr id="327" name="Freihandform: Form 973">
                  <a:extLst>
                    <a:ext uri="{FF2B5EF4-FFF2-40B4-BE49-F238E27FC236}">
                      <a16:creationId xmlns:a16="http://schemas.microsoft.com/office/drawing/2014/main" id="{FAB34CF2-142F-4476-B597-93F8ABB13B90}"/>
                    </a:ext>
                  </a:extLst>
                </p:cNvPr>
                <p:cNvSpPr/>
                <p:nvPr/>
              </p:nvSpPr>
              <p:spPr>
                <a:xfrm>
                  <a:off x="6512538" y="4584887"/>
                  <a:ext cx="9797" cy="39320"/>
                </a:xfrm>
                <a:custGeom>
                  <a:avLst/>
                  <a:gdLst>
                    <a:gd name="connsiteX0" fmla="*/ 4899 w 9797"/>
                    <a:gd name="connsiteY0" fmla="*/ 39321 h 39320"/>
                    <a:gd name="connsiteX1" fmla="*/ 0 w 9797"/>
                    <a:gd name="connsiteY1" fmla="*/ 34422 h 39320"/>
                    <a:gd name="connsiteX2" fmla="*/ 0 w 9797"/>
                    <a:gd name="connsiteY2" fmla="*/ 4899 h 39320"/>
                    <a:gd name="connsiteX3" fmla="*/ 4899 w 9797"/>
                    <a:gd name="connsiteY3" fmla="*/ 0 h 39320"/>
                    <a:gd name="connsiteX4" fmla="*/ 9797 w 9797"/>
                    <a:gd name="connsiteY4" fmla="*/ 4899 h 39320"/>
                    <a:gd name="connsiteX5" fmla="*/ 9797 w 9797"/>
                    <a:gd name="connsiteY5" fmla="*/ 34422 h 39320"/>
                    <a:gd name="connsiteX6" fmla="*/ 4899 w 9797"/>
                    <a:gd name="connsiteY6" fmla="*/ 39321 h 3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39320">
                      <a:moveTo>
                        <a:pt x="4899" y="39321"/>
                      </a:moveTo>
                      <a:cubicBezTo>
                        <a:pt x="2198" y="39321"/>
                        <a:pt x="0" y="37123"/>
                        <a:pt x="0" y="34422"/>
                      </a:cubicBezTo>
                      <a:lnTo>
                        <a:pt x="0" y="4899"/>
                      </a:lnTo>
                      <a:cubicBezTo>
                        <a:pt x="0" y="2198"/>
                        <a:pt x="2198" y="0"/>
                        <a:pt x="4899" y="0"/>
                      </a:cubicBezTo>
                      <a:cubicBezTo>
                        <a:pt x="7599" y="0"/>
                        <a:pt x="9797" y="2198"/>
                        <a:pt x="9797" y="4899"/>
                      </a:cubicBezTo>
                      <a:lnTo>
                        <a:pt x="9797" y="34422"/>
                      </a:lnTo>
                      <a:cubicBezTo>
                        <a:pt x="9797" y="37123"/>
                        <a:pt x="7599" y="39321"/>
                        <a:pt x="4899" y="39321"/>
                      </a:cubicBezTo>
                      <a:close/>
                    </a:path>
                  </a:pathLst>
                </a:custGeom>
                <a:grpFill/>
                <a:ln w="2648" cap="flat">
                  <a:noFill/>
                  <a:prstDash val="solid"/>
                  <a:miter/>
                </a:ln>
              </p:spPr>
              <p:txBody>
                <a:bodyPr rtlCol="0" anchor="ctr"/>
                <a:lstStyle/>
                <a:p>
                  <a:endParaRPr lang="en-GB" dirty="0"/>
                </a:p>
              </p:txBody>
            </p:sp>
            <p:sp>
              <p:nvSpPr>
                <p:cNvPr id="328" name="Freihandform: Form 974">
                  <a:extLst>
                    <a:ext uri="{FF2B5EF4-FFF2-40B4-BE49-F238E27FC236}">
                      <a16:creationId xmlns:a16="http://schemas.microsoft.com/office/drawing/2014/main" id="{FDC9C034-95A5-469A-8D86-8569253ED44F}"/>
                    </a:ext>
                  </a:extLst>
                </p:cNvPr>
                <p:cNvSpPr/>
                <p:nvPr/>
              </p:nvSpPr>
              <p:spPr>
                <a:xfrm>
                  <a:off x="6510472" y="4523403"/>
                  <a:ext cx="42552" cy="17396"/>
                </a:xfrm>
                <a:custGeom>
                  <a:avLst/>
                  <a:gdLst>
                    <a:gd name="connsiteX0" fmla="*/ 4899 w 42552"/>
                    <a:gd name="connsiteY0" fmla="*/ 17397 h 17396"/>
                    <a:gd name="connsiteX1" fmla="*/ 0 w 42552"/>
                    <a:gd name="connsiteY1" fmla="*/ 12498 h 17396"/>
                    <a:gd name="connsiteX2" fmla="*/ 4899 w 42552"/>
                    <a:gd name="connsiteY2" fmla="*/ 7599 h 17396"/>
                    <a:gd name="connsiteX3" fmla="*/ 28624 w 42552"/>
                    <a:gd name="connsiteY3" fmla="*/ 7599 h 17396"/>
                    <a:gd name="connsiteX4" fmla="*/ 32754 w 42552"/>
                    <a:gd name="connsiteY4" fmla="*/ 4819 h 17396"/>
                    <a:gd name="connsiteX5" fmla="*/ 37653 w 42552"/>
                    <a:gd name="connsiteY5" fmla="*/ 0 h 17396"/>
                    <a:gd name="connsiteX6" fmla="*/ 37732 w 42552"/>
                    <a:gd name="connsiteY6" fmla="*/ 0 h 17396"/>
                    <a:gd name="connsiteX7" fmla="*/ 42551 w 42552"/>
                    <a:gd name="connsiteY7" fmla="*/ 4978 h 17396"/>
                    <a:gd name="connsiteX8" fmla="*/ 29127 w 42552"/>
                    <a:gd name="connsiteY8" fmla="*/ 17370 h 17396"/>
                    <a:gd name="connsiteX9" fmla="*/ 4899 w 42552"/>
                    <a:gd name="connsiteY9" fmla="*/ 17397 h 1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52" h="17396">
                      <a:moveTo>
                        <a:pt x="4899" y="17397"/>
                      </a:moveTo>
                      <a:cubicBezTo>
                        <a:pt x="2198" y="17397"/>
                        <a:pt x="0" y="15199"/>
                        <a:pt x="0" y="12498"/>
                      </a:cubicBezTo>
                      <a:cubicBezTo>
                        <a:pt x="0" y="9797"/>
                        <a:pt x="2198" y="7599"/>
                        <a:pt x="4899" y="7599"/>
                      </a:cubicBezTo>
                      <a:lnTo>
                        <a:pt x="28624" y="7599"/>
                      </a:lnTo>
                      <a:cubicBezTo>
                        <a:pt x="28465" y="7573"/>
                        <a:pt x="32728" y="6885"/>
                        <a:pt x="32754" y="4819"/>
                      </a:cubicBezTo>
                      <a:cubicBezTo>
                        <a:pt x="32807" y="2145"/>
                        <a:pt x="34979" y="0"/>
                        <a:pt x="37653" y="0"/>
                      </a:cubicBezTo>
                      <a:cubicBezTo>
                        <a:pt x="37679" y="0"/>
                        <a:pt x="37706" y="0"/>
                        <a:pt x="37732" y="0"/>
                      </a:cubicBezTo>
                      <a:cubicBezTo>
                        <a:pt x="40433" y="53"/>
                        <a:pt x="42604" y="2277"/>
                        <a:pt x="42551" y="4978"/>
                      </a:cubicBezTo>
                      <a:cubicBezTo>
                        <a:pt x="42419" y="13743"/>
                        <a:pt x="33708" y="16920"/>
                        <a:pt x="29127" y="17370"/>
                      </a:cubicBezTo>
                      <a:lnTo>
                        <a:pt x="4899" y="17397"/>
                      </a:lnTo>
                      <a:close/>
                    </a:path>
                  </a:pathLst>
                </a:custGeom>
                <a:grpFill/>
                <a:ln w="2648" cap="flat">
                  <a:noFill/>
                  <a:prstDash val="solid"/>
                  <a:miter/>
                </a:ln>
              </p:spPr>
              <p:txBody>
                <a:bodyPr rtlCol="0" anchor="ctr"/>
                <a:lstStyle/>
                <a:p>
                  <a:endParaRPr lang="en-GB" dirty="0"/>
                </a:p>
              </p:txBody>
            </p:sp>
            <p:sp>
              <p:nvSpPr>
                <p:cNvPr id="329" name="Freihandform: Form 975">
                  <a:extLst>
                    <a:ext uri="{FF2B5EF4-FFF2-40B4-BE49-F238E27FC236}">
                      <a16:creationId xmlns:a16="http://schemas.microsoft.com/office/drawing/2014/main" id="{2F967B0C-7B01-4097-B8F3-0B84B1E52047}"/>
                    </a:ext>
                  </a:extLst>
                </p:cNvPr>
                <p:cNvSpPr/>
                <p:nvPr/>
              </p:nvSpPr>
              <p:spPr>
                <a:xfrm>
                  <a:off x="6611515" y="4585416"/>
                  <a:ext cx="9797" cy="36805"/>
                </a:xfrm>
                <a:custGeom>
                  <a:avLst/>
                  <a:gdLst>
                    <a:gd name="connsiteX0" fmla="*/ 4899 w 9797"/>
                    <a:gd name="connsiteY0" fmla="*/ 36806 h 36805"/>
                    <a:gd name="connsiteX1" fmla="*/ 0 w 9797"/>
                    <a:gd name="connsiteY1" fmla="*/ 31907 h 36805"/>
                    <a:gd name="connsiteX2" fmla="*/ 0 w 9797"/>
                    <a:gd name="connsiteY2" fmla="*/ 4899 h 36805"/>
                    <a:gd name="connsiteX3" fmla="*/ 4899 w 9797"/>
                    <a:gd name="connsiteY3" fmla="*/ 0 h 36805"/>
                    <a:gd name="connsiteX4" fmla="*/ 9797 w 9797"/>
                    <a:gd name="connsiteY4" fmla="*/ 4899 h 36805"/>
                    <a:gd name="connsiteX5" fmla="*/ 9797 w 9797"/>
                    <a:gd name="connsiteY5" fmla="*/ 31907 h 36805"/>
                    <a:gd name="connsiteX6" fmla="*/ 4899 w 9797"/>
                    <a:gd name="connsiteY6" fmla="*/ 36806 h 36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36805">
                      <a:moveTo>
                        <a:pt x="4899" y="36806"/>
                      </a:moveTo>
                      <a:cubicBezTo>
                        <a:pt x="2198" y="36806"/>
                        <a:pt x="0" y="34608"/>
                        <a:pt x="0" y="31907"/>
                      </a:cubicBezTo>
                      <a:lnTo>
                        <a:pt x="0" y="4899"/>
                      </a:lnTo>
                      <a:cubicBezTo>
                        <a:pt x="0" y="2198"/>
                        <a:pt x="2198" y="0"/>
                        <a:pt x="4899" y="0"/>
                      </a:cubicBezTo>
                      <a:cubicBezTo>
                        <a:pt x="7599" y="0"/>
                        <a:pt x="9797" y="2198"/>
                        <a:pt x="9797" y="4899"/>
                      </a:cubicBezTo>
                      <a:lnTo>
                        <a:pt x="9797" y="31907"/>
                      </a:lnTo>
                      <a:cubicBezTo>
                        <a:pt x="9797" y="34608"/>
                        <a:pt x="7599" y="36806"/>
                        <a:pt x="4899" y="36806"/>
                      </a:cubicBezTo>
                      <a:close/>
                    </a:path>
                  </a:pathLst>
                </a:custGeom>
                <a:grpFill/>
                <a:ln w="2648" cap="flat">
                  <a:noFill/>
                  <a:prstDash val="solid"/>
                  <a:miter/>
                </a:ln>
              </p:spPr>
              <p:txBody>
                <a:bodyPr rtlCol="0" anchor="ctr"/>
                <a:lstStyle/>
                <a:p>
                  <a:endParaRPr lang="en-GB" dirty="0"/>
                </a:p>
              </p:txBody>
            </p:sp>
            <p:sp>
              <p:nvSpPr>
                <p:cNvPr id="330" name="Freihandform: Form 976">
                  <a:extLst>
                    <a:ext uri="{FF2B5EF4-FFF2-40B4-BE49-F238E27FC236}">
                      <a16:creationId xmlns:a16="http://schemas.microsoft.com/office/drawing/2014/main" id="{DF1F1702-4DB8-4B4E-A15D-847A7C185837}"/>
                    </a:ext>
                  </a:extLst>
                </p:cNvPr>
                <p:cNvSpPr/>
                <p:nvPr/>
              </p:nvSpPr>
              <p:spPr>
                <a:xfrm>
                  <a:off x="6582733" y="4523376"/>
                  <a:ext cx="69480" cy="99825"/>
                </a:xfrm>
                <a:custGeom>
                  <a:avLst/>
                  <a:gdLst>
                    <a:gd name="connsiteX0" fmla="*/ 64608 w 69480"/>
                    <a:gd name="connsiteY0" fmla="*/ 99825 h 99825"/>
                    <a:gd name="connsiteX1" fmla="*/ 59710 w 69480"/>
                    <a:gd name="connsiteY1" fmla="*/ 94927 h 99825"/>
                    <a:gd name="connsiteX2" fmla="*/ 59710 w 69480"/>
                    <a:gd name="connsiteY2" fmla="*/ 37256 h 99825"/>
                    <a:gd name="connsiteX3" fmla="*/ 35746 w 69480"/>
                    <a:gd name="connsiteY3" fmla="*/ 17397 h 99825"/>
                    <a:gd name="connsiteX4" fmla="*/ 11968 w 69480"/>
                    <a:gd name="connsiteY4" fmla="*/ 17397 h 99825"/>
                    <a:gd name="connsiteX5" fmla="*/ 3601 w 69480"/>
                    <a:gd name="connsiteY5" fmla="*/ 14140 h 99825"/>
                    <a:gd name="connsiteX6" fmla="*/ 0 w 69480"/>
                    <a:gd name="connsiteY6" fmla="*/ 4925 h 99825"/>
                    <a:gd name="connsiteX7" fmla="*/ 4872 w 69480"/>
                    <a:gd name="connsiteY7" fmla="*/ 0 h 99825"/>
                    <a:gd name="connsiteX8" fmla="*/ 4899 w 69480"/>
                    <a:gd name="connsiteY8" fmla="*/ 0 h 99825"/>
                    <a:gd name="connsiteX9" fmla="*/ 9797 w 69480"/>
                    <a:gd name="connsiteY9" fmla="*/ 4872 h 99825"/>
                    <a:gd name="connsiteX10" fmla="*/ 10380 w 69480"/>
                    <a:gd name="connsiteY10" fmla="*/ 7070 h 99825"/>
                    <a:gd name="connsiteX11" fmla="*/ 11757 w 69480"/>
                    <a:gd name="connsiteY11" fmla="*/ 7600 h 99825"/>
                    <a:gd name="connsiteX12" fmla="*/ 11757 w 69480"/>
                    <a:gd name="connsiteY12" fmla="*/ 7600 h 99825"/>
                    <a:gd name="connsiteX13" fmla="*/ 35720 w 69480"/>
                    <a:gd name="connsiteY13" fmla="*/ 7600 h 99825"/>
                    <a:gd name="connsiteX14" fmla="*/ 69480 w 69480"/>
                    <a:gd name="connsiteY14" fmla="*/ 37256 h 99825"/>
                    <a:gd name="connsiteX15" fmla="*/ 69480 w 69480"/>
                    <a:gd name="connsiteY15" fmla="*/ 94927 h 99825"/>
                    <a:gd name="connsiteX16" fmla="*/ 64608 w 69480"/>
                    <a:gd name="connsiteY16" fmla="*/ 99825 h 9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480" h="99825">
                      <a:moveTo>
                        <a:pt x="64608" y="99825"/>
                      </a:moveTo>
                      <a:cubicBezTo>
                        <a:pt x="61907" y="99825"/>
                        <a:pt x="59710" y="97628"/>
                        <a:pt x="59710" y="94927"/>
                      </a:cubicBezTo>
                      <a:lnTo>
                        <a:pt x="59710" y="37256"/>
                      </a:lnTo>
                      <a:cubicBezTo>
                        <a:pt x="59710" y="17635"/>
                        <a:pt x="36726" y="17397"/>
                        <a:pt x="35746" y="17397"/>
                      </a:cubicBezTo>
                      <a:lnTo>
                        <a:pt x="11968" y="17397"/>
                      </a:lnTo>
                      <a:cubicBezTo>
                        <a:pt x="11598" y="17370"/>
                        <a:pt x="7096" y="17476"/>
                        <a:pt x="3601" y="14140"/>
                      </a:cubicBezTo>
                      <a:cubicBezTo>
                        <a:pt x="1986" y="12577"/>
                        <a:pt x="27" y="9718"/>
                        <a:pt x="0" y="4925"/>
                      </a:cubicBezTo>
                      <a:cubicBezTo>
                        <a:pt x="0" y="2224"/>
                        <a:pt x="2171" y="0"/>
                        <a:pt x="4872" y="0"/>
                      </a:cubicBezTo>
                      <a:cubicBezTo>
                        <a:pt x="4872" y="0"/>
                        <a:pt x="4899" y="0"/>
                        <a:pt x="4899" y="0"/>
                      </a:cubicBezTo>
                      <a:cubicBezTo>
                        <a:pt x="7599" y="0"/>
                        <a:pt x="9797" y="2171"/>
                        <a:pt x="9797" y="4872"/>
                      </a:cubicBezTo>
                      <a:cubicBezTo>
                        <a:pt x="9797" y="5481"/>
                        <a:pt x="9877" y="6594"/>
                        <a:pt x="10380" y="7070"/>
                      </a:cubicBezTo>
                      <a:cubicBezTo>
                        <a:pt x="10830" y="7520"/>
                        <a:pt x="11757" y="7600"/>
                        <a:pt x="11757" y="7600"/>
                      </a:cubicBezTo>
                      <a:lnTo>
                        <a:pt x="11757" y="7600"/>
                      </a:lnTo>
                      <a:lnTo>
                        <a:pt x="35720" y="7600"/>
                      </a:lnTo>
                      <a:cubicBezTo>
                        <a:pt x="47397" y="7600"/>
                        <a:pt x="69480" y="13796"/>
                        <a:pt x="69480" y="37256"/>
                      </a:cubicBezTo>
                      <a:lnTo>
                        <a:pt x="69480" y="94927"/>
                      </a:lnTo>
                      <a:cubicBezTo>
                        <a:pt x="69507" y="97628"/>
                        <a:pt x="67309" y="99825"/>
                        <a:pt x="64608" y="99825"/>
                      </a:cubicBezTo>
                      <a:close/>
                    </a:path>
                  </a:pathLst>
                </a:custGeom>
                <a:grpFill/>
                <a:ln w="2648" cap="flat">
                  <a:noFill/>
                  <a:prstDash val="solid"/>
                  <a:miter/>
                </a:ln>
              </p:spPr>
              <p:txBody>
                <a:bodyPr rtlCol="0" anchor="ctr"/>
                <a:lstStyle/>
                <a:p>
                  <a:endParaRPr lang="en-GB" dirty="0"/>
                </a:p>
              </p:txBody>
            </p:sp>
          </p:grpSp>
          <p:sp>
            <p:nvSpPr>
              <p:cNvPr id="326" name="Freihandform: Form 977">
                <a:extLst>
                  <a:ext uri="{FF2B5EF4-FFF2-40B4-BE49-F238E27FC236}">
                    <a16:creationId xmlns:a16="http://schemas.microsoft.com/office/drawing/2014/main" id="{95776AB5-9EA8-45F1-A4CA-2ACFA1360C79}"/>
                  </a:ext>
                </a:extLst>
              </p:cNvPr>
              <p:cNvSpPr/>
              <p:nvPr/>
            </p:nvSpPr>
            <p:spPr>
              <a:xfrm>
                <a:off x="6521514" y="4413569"/>
                <a:ext cx="90822" cy="101652"/>
              </a:xfrm>
              <a:custGeom>
                <a:avLst/>
                <a:gdLst>
                  <a:gd name="connsiteX0" fmla="*/ 45411 w 90822"/>
                  <a:gd name="connsiteY0" fmla="*/ 101652 h 101652"/>
                  <a:gd name="connsiteX1" fmla="*/ 0 w 90822"/>
                  <a:gd name="connsiteY1" fmla="*/ 50813 h 101652"/>
                  <a:gd name="connsiteX2" fmla="*/ 45411 w 90822"/>
                  <a:gd name="connsiteY2" fmla="*/ 0 h 101652"/>
                  <a:gd name="connsiteX3" fmla="*/ 90822 w 90822"/>
                  <a:gd name="connsiteY3" fmla="*/ 50813 h 101652"/>
                  <a:gd name="connsiteX4" fmla="*/ 45411 w 90822"/>
                  <a:gd name="connsiteY4" fmla="*/ 101652 h 101652"/>
                  <a:gd name="connsiteX5" fmla="*/ 45411 w 90822"/>
                  <a:gd name="connsiteY5" fmla="*/ 9824 h 101652"/>
                  <a:gd name="connsiteX6" fmla="*/ 9824 w 90822"/>
                  <a:gd name="connsiteY6" fmla="*/ 50839 h 101652"/>
                  <a:gd name="connsiteX7" fmla="*/ 45411 w 90822"/>
                  <a:gd name="connsiteY7" fmla="*/ 91855 h 101652"/>
                  <a:gd name="connsiteX8" fmla="*/ 81025 w 90822"/>
                  <a:gd name="connsiteY8" fmla="*/ 50839 h 101652"/>
                  <a:gd name="connsiteX9" fmla="*/ 45411 w 90822"/>
                  <a:gd name="connsiteY9" fmla="*/ 9824 h 10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822" h="101652">
                    <a:moveTo>
                      <a:pt x="45411" y="101652"/>
                    </a:moveTo>
                    <a:cubicBezTo>
                      <a:pt x="20362" y="101652"/>
                      <a:pt x="0" y="78854"/>
                      <a:pt x="0" y="50813"/>
                    </a:cubicBezTo>
                    <a:cubicBezTo>
                      <a:pt x="0" y="22798"/>
                      <a:pt x="20362" y="0"/>
                      <a:pt x="45411" y="0"/>
                    </a:cubicBezTo>
                    <a:cubicBezTo>
                      <a:pt x="70460" y="0"/>
                      <a:pt x="90822" y="22798"/>
                      <a:pt x="90822" y="50813"/>
                    </a:cubicBezTo>
                    <a:cubicBezTo>
                      <a:pt x="90822" y="78854"/>
                      <a:pt x="70433" y="101652"/>
                      <a:pt x="45411" y="101652"/>
                    </a:cubicBezTo>
                    <a:close/>
                    <a:moveTo>
                      <a:pt x="45411" y="9824"/>
                    </a:moveTo>
                    <a:cubicBezTo>
                      <a:pt x="25790" y="9824"/>
                      <a:pt x="9824" y="28226"/>
                      <a:pt x="9824" y="50839"/>
                    </a:cubicBezTo>
                    <a:cubicBezTo>
                      <a:pt x="9824" y="73452"/>
                      <a:pt x="25790" y="91855"/>
                      <a:pt x="45411" y="91855"/>
                    </a:cubicBezTo>
                    <a:cubicBezTo>
                      <a:pt x="65032" y="91855"/>
                      <a:pt x="81025" y="73452"/>
                      <a:pt x="81025" y="50839"/>
                    </a:cubicBezTo>
                    <a:cubicBezTo>
                      <a:pt x="80999" y="28200"/>
                      <a:pt x="65032" y="9824"/>
                      <a:pt x="45411" y="9824"/>
                    </a:cubicBezTo>
                    <a:close/>
                  </a:path>
                </a:pathLst>
              </a:custGeom>
              <a:grpFill/>
              <a:ln w="2648" cap="flat">
                <a:noFill/>
                <a:prstDash val="solid"/>
                <a:miter/>
              </a:ln>
            </p:spPr>
            <p:txBody>
              <a:bodyPr rtlCol="0" anchor="ctr"/>
              <a:lstStyle/>
              <a:p>
                <a:endParaRPr lang="en-GB" dirty="0"/>
              </a:p>
            </p:txBody>
          </p:sp>
        </p:grpSp>
        <p:grpSp>
          <p:nvGrpSpPr>
            <p:cNvPr id="296" name="Group 295">
              <a:extLst>
                <a:ext uri="{FF2B5EF4-FFF2-40B4-BE49-F238E27FC236}">
                  <a16:creationId xmlns:a16="http://schemas.microsoft.com/office/drawing/2014/main" id="{71D3DFFC-2BCE-4E3C-B3CE-514759439996}"/>
                </a:ext>
              </a:extLst>
            </p:cNvPr>
            <p:cNvGrpSpPr/>
            <p:nvPr/>
          </p:nvGrpSpPr>
          <p:grpSpPr>
            <a:xfrm>
              <a:off x="2714732" y="4002611"/>
              <a:ext cx="340396" cy="432000"/>
              <a:chOff x="6205834" y="4159929"/>
              <a:chExt cx="365830" cy="464279"/>
            </a:xfrm>
          </p:grpSpPr>
          <p:grpSp>
            <p:nvGrpSpPr>
              <p:cNvPr id="297" name="Group 296">
                <a:extLst>
                  <a:ext uri="{FF2B5EF4-FFF2-40B4-BE49-F238E27FC236}">
                    <a16:creationId xmlns:a16="http://schemas.microsoft.com/office/drawing/2014/main" id="{7DCFCCD5-0B9C-480A-8CD4-14C0064413AA}"/>
                  </a:ext>
                </a:extLst>
              </p:cNvPr>
              <p:cNvGrpSpPr/>
              <p:nvPr/>
            </p:nvGrpSpPr>
            <p:grpSpPr>
              <a:xfrm>
                <a:off x="6278174" y="4357619"/>
                <a:ext cx="220992" cy="266589"/>
                <a:chOff x="6278174" y="4357619"/>
                <a:chExt cx="220992" cy="266589"/>
              </a:xfrm>
            </p:grpSpPr>
            <p:grpSp>
              <p:nvGrpSpPr>
                <p:cNvPr id="317" name="Grafik 102">
                  <a:extLst>
                    <a:ext uri="{FF2B5EF4-FFF2-40B4-BE49-F238E27FC236}">
                      <a16:creationId xmlns:a16="http://schemas.microsoft.com/office/drawing/2014/main" id="{B3256BAC-DDE1-4CD5-8848-D0845D4129D5}"/>
                    </a:ext>
                  </a:extLst>
                </p:cNvPr>
                <p:cNvGrpSpPr/>
                <p:nvPr/>
              </p:nvGrpSpPr>
              <p:grpSpPr>
                <a:xfrm>
                  <a:off x="6278174" y="4494886"/>
                  <a:ext cx="220992" cy="129322"/>
                  <a:chOff x="6278174" y="4494886"/>
                  <a:chExt cx="220992" cy="129322"/>
                </a:xfrm>
                <a:solidFill>
                  <a:schemeClr val="accent1"/>
                </a:solidFill>
              </p:grpSpPr>
              <p:sp>
                <p:nvSpPr>
                  <p:cNvPr id="319" name="Freihandform: Form 979">
                    <a:extLst>
                      <a:ext uri="{FF2B5EF4-FFF2-40B4-BE49-F238E27FC236}">
                        <a16:creationId xmlns:a16="http://schemas.microsoft.com/office/drawing/2014/main" id="{30CC042B-163D-4135-AF36-290B3C0BF2C9}"/>
                      </a:ext>
                    </a:extLst>
                  </p:cNvPr>
                  <p:cNvSpPr/>
                  <p:nvPr/>
                </p:nvSpPr>
                <p:spPr>
                  <a:xfrm>
                    <a:off x="6318793" y="4575646"/>
                    <a:ext cx="9797" cy="48561"/>
                  </a:xfrm>
                  <a:custGeom>
                    <a:avLst/>
                    <a:gdLst>
                      <a:gd name="connsiteX0" fmla="*/ 4899 w 9797"/>
                      <a:gd name="connsiteY0" fmla="*/ 48562 h 48561"/>
                      <a:gd name="connsiteX1" fmla="*/ 0 w 9797"/>
                      <a:gd name="connsiteY1" fmla="*/ 43663 h 48561"/>
                      <a:gd name="connsiteX2" fmla="*/ 0 w 9797"/>
                      <a:gd name="connsiteY2" fmla="*/ 4899 h 48561"/>
                      <a:gd name="connsiteX3" fmla="*/ 4899 w 9797"/>
                      <a:gd name="connsiteY3" fmla="*/ 0 h 48561"/>
                      <a:gd name="connsiteX4" fmla="*/ 9797 w 9797"/>
                      <a:gd name="connsiteY4" fmla="*/ 4899 h 48561"/>
                      <a:gd name="connsiteX5" fmla="*/ 9797 w 9797"/>
                      <a:gd name="connsiteY5" fmla="*/ 43663 h 48561"/>
                      <a:gd name="connsiteX6" fmla="*/ 4899 w 9797"/>
                      <a:gd name="connsiteY6" fmla="*/ 48562 h 48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48561">
                        <a:moveTo>
                          <a:pt x="4899" y="48562"/>
                        </a:moveTo>
                        <a:cubicBezTo>
                          <a:pt x="2198" y="48562"/>
                          <a:pt x="0" y="46364"/>
                          <a:pt x="0" y="43663"/>
                        </a:cubicBezTo>
                        <a:lnTo>
                          <a:pt x="0" y="4899"/>
                        </a:lnTo>
                        <a:cubicBezTo>
                          <a:pt x="0" y="2198"/>
                          <a:pt x="2198" y="0"/>
                          <a:pt x="4899" y="0"/>
                        </a:cubicBezTo>
                        <a:cubicBezTo>
                          <a:pt x="7599" y="0"/>
                          <a:pt x="9797" y="2198"/>
                          <a:pt x="9797" y="4899"/>
                        </a:cubicBezTo>
                        <a:lnTo>
                          <a:pt x="9797" y="43663"/>
                        </a:lnTo>
                        <a:cubicBezTo>
                          <a:pt x="9824" y="46364"/>
                          <a:pt x="7626" y="48562"/>
                          <a:pt x="4899" y="48562"/>
                        </a:cubicBezTo>
                        <a:close/>
                      </a:path>
                    </a:pathLst>
                  </a:custGeom>
                  <a:solidFill>
                    <a:schemeClr val="accent1"/>
                  </a:solidFill>
                  <a:ln w="2648" cap="flat">
                    <a:noFill/>
                    <a:prstDash val="solid"/>
                    <a:miter/>
                  </a:ln>
                </p:spPr>
                <p:txBody>
                  <a:bodyPr rtlCol="0" anchor="ctr"/>
                  <a:lstStyle/>
                  <a:p>
                    <a:endParaRPr lang="en-GB" dirty="0"/>
                  </a:p>
                </p:txBody>
              </p:sp>
              <p:sp>
                <p:nvSpPr>
                  <p:cNvPr id="320" name="Freihandform: Form 980">
                    <a:extLst>
                      <a:ext uri="{FF2B5EF4-FFF2-40B4-BE49-F238E27FC236}">
                        <a16:creationId xmlns:a16="http://schemas.microsoft.com/office/drawing/2014/main" id="{D5998329-5210-4CFB-A0D0-4368AF266985}"/>
                      </a:ext>
                    </a:extLst>
                  </p:cNvPr>
                  <p:cNvSpPr/>
                  <p:nvPr/>
                </p:nvSpPr>
                <p:spPr>
                  <a:xfrm>
                    <a:off x="6278174" y="4494886"/>
                    <a:ext cx="90770" cy="129322"/>
                  </a:xfrm>
                  <a:custGeom>
                    <a:avLst/>
                    <a:gdLst>
                      <a:gd name="connsiteX0" fmla="*/ 4899 w 90770"/>
                      <a:gd name="connsiteY0" fmla="*/ 129322 h 129322"/>
                      <a:gd name="connsiteX1" fmla="*/ 0 w 90770"/>
                      <a:gd name="connsiteY1" fmla="*/ 124424 h 129322"/>
                      <a:gd name="connsiteX2" fmla="*/ 0 w 90770"/>
                      <a:gd name="connsiteY2" fmla="*/ 47370 h 129322"/>
                      <a:gd name="connsiteX3" fmla="*/ 42843 w 90770"/>
                      <a:gd name="connsiteY3" fmla="*/ 9956 h 129322"/>
                      <a:gd name="connsiteX4" fmla="*/ 74035 w 90770"/>
                      <a:gd name="connsiteY4" fmla="*/ 9956 h 129322"/>
                      <a:gd name="connsiteX5" fmla="*/ 80972 w 90770"/>
                      <a:gd name="connsiteY5" fmla="*/ 4819 h 129322"/>
                      <a:gd name="connsiteX6" fmla="*/ 85871 w 90770"/>
                      <a:gd name="connsiteY6" fmla="*/ 0 h 129322"/>
                      <a:gd name="connsiteX7" fmla="*/ 85950 w 90770"/>
                      <a:gd name="connsiteY7" fmla="*/ 0 h 129322"/>
                      <a:gd name="connsiteX8" fmla="*/ 90769 w 90770"/>
                      <a:gd name="connsiteY8" fmla="*/ 4978 h 129322"/>
                      <a:gd name="connsiteX9" fmla="*/ 74538 w 90770"/>
                      <a:gd name="connsiteY9" fmla="*/ 19753 h 129322"/>
                      <a:gd name="connsiteX10" fmla="*/ 42843 w 90770"/>
                      <a:gd name="connsiteY10" fmla="*/ 19780 h 129322"/>
                      <a:gd name="connsiteX11" fmla="*/ 9824 w 90770"/>
                      <a:gd name="connsiteY11" fmla="*/ 47370 h 129322"/>
                      <a:gd name="connsiteX12" fmla="*/ 9824 w 90770"/>
                      <a:gd name="connsiteY12" fmla="*/ 124424 h 129322"/>
                      <a:gd name="connsiteX13" fmla="*/ 4899 w 90770"/>
                      <a:gd name="connsiteY13" fmla="*/ 129322 h 12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0770" h="129322">
                        <a:moveTo>
                          <a:pt x="4899" y="129322"/>
                        </a:moveTo>
                        <a:cubicBezTo>
                          <a:pt x="2198" y="129322"/>
                          <a:pt x="0" y="127124"/>
                          <a:pt x="0" y="124424"/>
                        </a:cubicBezTo>
                        <a:lnTo>
                          <a:pt x="0" y="47370"/>
                        </a:lnTo>
                        <a:cubicBezTo>
                          <a:pt x="0" y="17794"/>
                          <a:pt x="28015" y="9956"/>
                          <a:pt x="42843" y="9956"/>
                        </a:cubicBezTo>
                        <a:lnTo>
                          <a:pt x="74035" y="9956"/>
                        </a:lnTo>
                        <a:cubicBezTo>
                          <a:pt x="73929" y="9930"/>
                          <a:pt x="80893" y="9029"/>
                          <a:pt x="80972" y="4819"/>
                        </a:cubicBezTo>
                        <a:cubicBezTo>
                          <a:pt x="81025" y="2145"/>
                          <a:pt x="83196" y="0"/>
                          <a:pt x="85871" y="0"/>
                        </a:cubicBezTo>
                        <a:cubicBezTo>
                          <a:pt x="85897" y="0"/>
                          <a:pt x="85924" y="0"/>
                          <a:pt x="85950" y="0"/>
                        </a:cubicBezTo>
                        <a:cubicBezTo>
                          <a:pt x="88651" y="53"/>
                          <a:pt x="90822" y="2277"/>
                          <a:pt x="90769" y="4978"/>
                        </a:cubicBezTo>
                        <a:cubicBezTo>
                          <a:pt x="90610" y="15384"/>
                          <a:pt x="80072" y="19197"/>
                          <a:pt x="74538" y="19753"/>
                        </a:cubicBezTo>
                        <a:lnTo>
                          <a:pt x="42843" y="19780"/>
                        </a:lnTo>
                        <a:cubicBezTo>
                          <a:pt x="41492" y="19780"/>
                          <a:pt x="9824" y="20230"/>
                          <a:pt x="9824" y="47370"/>
                        </a:cubicBezTo>
                        <a:lnTo>
                          <a:pt x="9824" y="124424"/>
                        </a:lnTo>
                        <a:cubicBezTo>
                          <a:pt x="9797" y="127124"/>
                          <a:pt x="7599" y="129322"/>
                          <a:pt x="4899" y="129322"/>
                        </a:cubicBezTo>
                        <a:close/>
                      </a:path>
                    </a:pathLst>
                  </a:custGeom>
                  <a:solidFill>
                    <a:schemeClr val="accent1"/>
                  </a:solidFill>
                  <a:ln w="2648" cap="flat">
                    <a:noFill/>
                    <a:prstDash val="solid"/>
                    <a:miter/>
                  </a:ln>
                </p:spPr>
                <p:txBody>
                  <a:bodyPr rtlCol="0" anchor="ctr"/>
                  <a:lstStyle/>
                  <a:p>
                    <a:endParaRPr lang="en-GB" dirty="0"/>
                  </a:p>
                </p:txBody>
              </p:sp>
              <p:sp>
                <p:nvSpPr>
                  <p:cNvPr id="321" name="Freihandform: Form 981">
                    <a:extLst>
                      <a:ext uri="{FF2B5EF4-FFF2-40B4-BE49-F238E27FC236}">
                        <a16:creationId xmlns:a16="http://schemas.microsoft.com/office/drawing/2014/main" id="{18B7C236-B682-47A9-BA71-FC0D6B6696DE}"/>
                      </a:ext>
                    </a:extLst>
                  </p:cNvPr>
                  <p:cNvSpPr/>
                  <p:nvPr/>
                </p:nvSpPr>
                <p:spPr>
                  <a:xfrm>
                    <a:off x="6448777" y="4576334"/>
                    <a:ext cx="9797" cy="45252"/>
                  </a:xfrm>
                  <a:custGeom>
                    <a:avLst/>
                    <a:gdLst>
                      <a:gd name="connsiteX0" fmla="*/ 4899 w 9797"/>
                      <a:gd name="connsiteY0" fmla="*/ 45252 h 45252"/>
                      <a:gd name="connsiteX1" fmla="*/ 0 w 9797"/>
                      <a:gd name="connsiteY1" fmla="*/ 40354 h 45252"/>
                      <a:gd name="connsiteX2" fmla="*/ 0 w 9797"/>
                      <a:gd name="connsiteY2" fmla="*/ 4899 h 45252"/>
                      <a:gd name="connsiteX3" fmla="*/ 4899 w 9797"/>
                      <a:gd name="connsiteY3" fmla="*/ 0 h 45252"/>
                      <a:gd name="connsiteX4" fmla="*/ 9797 w 9797"/>
                      <a:gd name="connsiteY4" fmla="*/ 4899 h 45252"/>
                      <a:gd name="connsiteX5" fmla="*/ 9797 w 9797"/>
                      <a:gd name="connsiteY5" fmla="*/ 40354 h 45252"/>
                      <a:gd name="connsiteX6" fmla="*/ 4899 w 9797"/>
                      <a:gd name="connsiteY6" fmla="*/ 45252 h 45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45252">
                        <a:moveTo>
                          <a:pt x="4899" y="45252"/>
                        </a:moveTo>
                        <a:cubicBezTo>
                          <a:pt x="2198" y="45252"/>
                          <a:pt x="0" y="43055"/>
                          <a:pt x="0" y="40354"/>
                        </a:cubicBezTo>
                        <a:lnTo>
                          <a:pt x="0" y="4899"/>
                        </a:lnTo>
                        <a:cubicBezTo>
                          <a:pt x="0" y="2198"/>
                          <a:pt x="2198" y="0"/>
                          <a:pt x="4899" y="0"/>
                        </a:cubicBezTo>
                        <a:cubicBezTo>
                          <a:pt x="7599" y="0"/>
                          <a:pt x="9797" y="2198"/>
                          <a:pt x="9797" y="4899"/>
                        </a:cubicBezTo>
                        <a:lnTo>
                          <a:pt x="9797" y="40354"/>
                        </a:lnTo>
                        <a:cubicBezTo>
                          <a:pt x="9797" y="43055"/>
                          <a:pt x="7599" y="45252"/>
                          <a:pt x="4899" y="45252"/>
                        </a:cubicBezTo>
                        <a:close/>
                      </a:path>
                    </a:pathLst>
                  </a:custGeom>
                  <a:solidFill>
                    <a:schemeClr val="accent1"/>
                  </a:solidFill>
                  <a:ln w="2648" cap="flat">
                    <a:noFill/>
                    <a:prstDash val="solid"/>
                    <a:miter/>
                  </a:ln>
                </p:spPr>
                <p:txBody>
                  <a:bodyPr rtlCol="0" anchor="ctr"/>
                  <a:lstStyle/>
                  <a:p>
                    <a:endParaRPr lang="en-GB" dirty="0"/>
                  </a:p>
                </p:txBody>
              </p:sp>
              <p:sp>
                <p:nvSpPr>
                  <p:cNvPr id="322" name="Freihandform: Form 982">
                    <a:extLst>
                      <a:ext uri="{FF2B5EF4-FFF2-40B4-BE49-F238E27FC236}">
                        <a16:creationId xmlns:a16="http://schemas.microsoft.com/office/drawing/2014/main" id="{E243E9E5-E8BD-49FC-B059-E3DEBED61DCD}"/>
                      </a:ext>
                    </a:extLst>
                  </p:cNvPr>
                  <p:cNvSpPr/>
                  <p:nvPr/>
                </p:nvSpPr>
                <p:spPr>
                  <a:xfrm>
                    <a:off x="6410991" y="4494938"/>
                    <a:ext cx="88174" cy="127972"/>
                  </a:xfrm>
                  <a:custGeom>
                    <a:avLst/>
                    <a:gdLst>
                      <a:gd name="connsiteX0" fmla="*/ 83302 w 88174"/>
                      <a:gd name="connsiteY0" fmla="*/ 127972 h 127972"/>
                      <a:gd name="connsiteX1" fmla="*/ 78404 w 88174"/>
                      <a:gd name="connsiteY1" fmla="*/ 123074 h 127972"/>
                      <a:gd name="connsiteX2" fmla="*/ 78404 w 88174"/>
                      <a:gd name="connsiteY2" fmla="*/ 47344 h 127972"/>
                      <a:gd name="connsiteX3" fmla="*/ 45385 w 88174"/>
                      <a:gd name="connsiteY3" fmla="*/ 19753 h 127972"/>
                      <a:gd name="connsiteX4" fmla="*/ 14166 w 88174"/>
                      <a:gd name="connsiteY4" fmla="*/ 19753 h 127972"/>
                      <a:gd name="connsiteX5" fmla="*/ 4263 w 88174"/>
                      <a:gd name="connsiteY5" fmla="*/ 15914 h 127972"/>
                      <a:gd name="connsiteX6" fmla="*/ 0 w 88174"/>
                      <a:gd name="connsiteY6" fmla="*/ 4925 h 127972"/>
                      <a:gd name="connsiteX7" fmla="*/ 4872 w 88174"/>
                      <a:gd name="connsiteY7" fmla="*/ 0 h 127972"/>
                      <a:gd name="connsiteX8" fmla="*/ 4899 w 88174"/>
                      <a:gd name="connsiteY8" fmla="*/ 0 h 127972"/>
                      <a:gd name="connsiteX9" fmla="*/ 9797 w 88174"/>
                      <a:gd name="connsiteY9" fmla="*/ 4872 h 127972"/>
                      <a:gd name="connsiteX10" fmla="*/ 11042 w 88174"/>
                      <a:gd name="connsiteY10" fmla="*/ 8844 h 127972"/>
                      <a:gd name="connsiteX11" fmla="*/ 13981 w 88174"/>
                      <a:gd name="connsiteY11" fmla="*/ 9956 h 127972"/>
                      <a:gd name="connsiteX12" fmla="*/ 45358 w 88174"/>
                      <a:gd name="connsiteY12" fmla="*/ 9956 h 127972"/>
                      <a:gd name="connsiteX13" fmla="*/ 88175 w 88174"/>
                      <a:gd name="connsiteY13" fmla="*/ 47371 h 127972"/>
                      <a:gd name="connsiteX14" fmla="*/ 88175 w 88174"/>
                      <a:gd name="connsiteY14" fmla="*/ 123100 h 127972"/>
                      <a:gd name="connsiteX15" fmla="*/ 83302 w 88174"/>
                      <a:gd name="connsiteY15" fmla="*/ 127972 h 12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174" h="127972">
                        <a:moveTo>
                          <a:pt x="83302" y="127972"/>
                        </a:moveTo>
                        <a:cubicBezTo>
                          <a:pt x="80602" y="127972"/>
                          <a:pt x="78404" y="125774"/>
                          <a:pt x="78404" y="123074"/>
                        </a:cubicBezTo>
                        <a:lnTo>
                          <a:pt x="78404" y="47344"/>
                        </a:lnTo>
                        <a:cubicBezTo>
                          <a:pt x="78404" y="20071"/>
                          <a:pt x="46735" y="19753"/>
                          <a:pt x="45385" y="19753"/>
                        </a:cubicBezTo>
                        <a:lnTo>
                          <a:pt x="14166" y="19753"/>
                        </a:lnTo>
                        <a:cubicBezTo>
                          <a:pt x="13716" y="19753"/>
                          <a:pt x="8368" y="19859"/>
                          <a:pt x="4263" y="15914"/>
                        </a:cubicBezTo>
                        <a:cubicBezTo>
                          <a:pt x="2330" y="14087"/>
                          <a:pt x="27" y="10671"/>
                          <a:pt x="0" y="4925"/>
                        </a:cubicBezTo>
                        <a:cubicBezTo>
                          <a:pt x="-26" y="2224"/>
                          <a:pt x="2171" y="0"/>
                          <a:pt x="4872" y="0"/>
                        </a:cubicBezTo>
                        <a:cubicBezTo>
                          <a:pt x="4872" y="0"/>
                          <a:pt x="4899" y="0"/>
                          <a:pt x="4899" y="0"/>
                        </a:cubicBezTo>
                        <a:cubicBezTo>
                          <a:pt x="7600" y="0"/>
                          <a:pt x="9797" y="2171"/>
                          <a:pt x="9797" y="4872"/>
                        </a:cubicBezTo>
                        <a:cubicBezTo>
                          <a:pt x="9797" y="6726"/>
                          <a:pt x="10221" y="8076"/>
                          <a:pt x="11042" y="8844"/>
                        </a:cubicBezTo>
                        <a:cubicBezTo>
                          <a:pt x="12260" y="10009"/>
                          <a:pt x="14007" y="9930"/>
                          <a:pt x="13981" y="9956"/>
                        </a:cubicBezTo>
                        <a:lnTo>
                          <a:pt x="45358" y="9956"/>
                        </a:lnTo>
                        <a:cubicBezTo>
                          <a:pt x="60160" y="9956"/>
                          <a:pt x="88175" y="17767"/>
                          <a:pt x="88175" y="47371"/>
                        </a:cubicBezTo>
                        <a:lnTo>
                          <a:pt x="88175" y="123100"/>
                        </a:lnTo>
                        <a:cubicBezTo>
                          <a:pt x="88201" y="125774"/>
                          <a:pt x="86003" y="127972"/>
                          <a:pt x="83302" y="127972"/>
                        </a:cubicBezTo>
                        <a:close/>
                      </a:path>
                    </a:pathLst>
                  </a:custGeom>
                  <a:solidFill>
                    <a:schemeClr val="accent1"/>
                  </a:solidFill>
                  <a:ln w="2648" cap="flat">
                    <a:noFill/>
                    <a:prstDash val="solid"/>
                    <a:miter/>
                  </a:ln>
                </p:spPr>
                <p:txBody>
                  <a:bodyPr rtlCol="0" anchor="ctr"/>
                  <a:lstStyle/>
                  <a:p>
                    <a:endParaRPr lang="en-GB" dirty="0"/>
                  </a:p>
                </p:txBody>
              </p:sp>
            </p:grpSp>
            <p:sp>
              <p:nvSpPr>
                <p:cNvPr id="318" name="Freihandform: Form 983">
                  <a:extLst>
                    <a:ext uri="{FF2B5EF4-FFF2-40B4-BE49-F238E27FC236}">
                      <a16:creationId xmlns:a16="http://schemas.microsoft.com/office/drawing/2014/main" id="{F677F1AF-AD3E-4CFC-A5DE-0DF2EFC9A19A}"/>
                    </a:ext>
                  </a:extLst>
                </p:cNvPr>
                <p:cNvSpPr/>
                <p:nvPr/>
              </p:nvSpPr>
              <p:spPr>
                <a:xfrm>
                  <a:off x="6330576" y="4357619"/>
                  <a:ext cx="116188" cy="130407"/>
                </a:xfrm>
                <a:custGeom>
                  <a:avLst/>
                  <a:gdLst>
                    <a:gd name="connsiteX0" fmla="*/ 58094 w 116188"/>
                    <a:gd name="connsiteY0" fmla="*/ 130408 h 130407"/>
                    <a:gd name="connsiteX1" fmla="*/ 0 w 116188"/>
                    <a:gd name="connsiteY1" fmla="*/ 65191 h 130407"/>
                    <a:gd name="connsiteX2" fmla="*/ 58094 w 116188"/>
                    <a:gd name="connsiteY2" fmla="*/ 0 h 130407"/>
                    <a:gd name="connsiteX3" fmla="*/ 116189 w 116188"/>
                    <a:gd name="connsiteY3" fmla="*/ 65191 h 130407"/>
                    <a:gd name="connsiteX4" fmla="*/ 58094 w 116188"/>
                    <a:gd name="connsiteY4" fmla="*/ 130408 h 130407"/>
                    <a:gd name="connsiteX5" fmla="*/ 58094 w 116188"/>
                    <a:gd name="connsiteY5" fmla="*/ 9797 h 130407"/>
                    <a:gd name="connsiteX6" fmla="*/ 9824 w 116188"/>
                    <a:gd name="connsiteY6" fmla="*/ 65191 h 130407"/>
                    <a:gd name="connsiteX7" fmla="*/ 58094 w 116188"/>
                    <a:gd name="connsiteY7" fmla="*/ 120584 h 130407"/>
                    <a:gd name="connsiteX8" fmla="*/ 106392 w 116188"/>
                    <a:gd name="connsiteY8" fmla="*/ 65191 h 130407"/>
                    <a:gd name="connsiteX9" fmla="*/ 58094 w 116188"/>
                    <a:gd name="connsiteY9" fmla="*/ 9797 h 130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188" h="130407">
                      <a:moveTo>
                        <a:pt x="58094" y="130408"/>
                      </a:moveTo>
                      <a:cubicBezTo>
                        <a:pt x="26055" y="130408"/>
                        <a:pt x="0" y="101149"/>
                        <a:pt x="0" y="65191"/>
                      </a:cubicBezTo>
                      <a:cubicBezTo>
                        <a:pt x="0" y="29233"/>
                        <a:pt x="26055" y="0"/>
                        <a:pt x="58094" y="0"/>
                      </a:cubicBezTo>
                      <a:cubicBezTo>
                        <a:pt x="90134" y="0"/>
                        <a:pt x="116189" y="29259"/>
                        <a:pt x="116189" y="65191"/>
                      </a:cubicBezTo>
                      <a:cubicBezTo>
                        <a:pt x="116215" y="101149"/>
                        <a:pt x="90134" y="130408"/>
                        <a:pt x="58094" y="130408"/>
                      </a:cubicBezTo>
                      <a:close/>
                      <a:moveTo>
                        <a:pt x="58094" y="9797"/>
                      </a:moveTo>
                      <a:cubicBezTo>
                        <a:pt x="31483" y="9797"/>
                        <a:pt x="9824" y="34634"/>
                        <a:pt x="9824" y="65191"/>
                      </a:cubicBezTo>
                      <a:cubicBezTo>
                        <a:pt x="9824" y="95747"/>
                        <a:pt x="31483" y="120584"/>
                        <a:pt x="58094" y="120584"/>
                      </a:cubicBezTo>
                      <a:cubicBezTo>
                        <a:pt x="84732" y="120584"/>
                        <a:pt x="106392" y="95747"/>
                        <a:pt x="106392" y="65191"/>
                      </a:cubicBezTo>
                      <a:cubicBezTo>
                        <a:pt x="106392" y="34661"/>
                        <a:pt x="84732" y="9797"/>
                        <a:pt x="58094" y="9797"/>
                      </a:cubicBezTo>
                      <a:close/>
                    </a:path>
                  </a:pathLst>
                </a:custGeom>
                <a:solidFill>
                  <a:schemeClr val="accent1"/>
                </a:solidFill>
                <a:ln w="2648" cap="flat">
                  <a:noFill/>
                  <a:prstDash val="solid"/>
                  <a:miter/>
                </a:ln>
              </p:spPr>
              <p:txBody>
                <a:bodyPr rtlCol="0" anchor="ctr"/>
                <a:lstStyle/>
                <a:p>
                  <a:endParaRPr lang="en-GB" dirty="0"/>
                </a:p>
              </p:txBody>
            </p:sp>
          </p:grpSp>
          <p:grpSp>
            <p:nvGrpSpPr>
              <p:cNvPr id="298" name="Grafik 102">
                <a:extLst>
                  <a:ext uri="{FF2B5EF4-FFF2-40B4-BE49-F238E27FC236}">
                    <a16:creationId xmlns:a16="http://schemas.microsoft.com/office/drawing/2014/main" id="{7441B6EF-3381-40EA-8D41-3008EE394B9F}"/>
                  </a:ext>
                </a:extLst>
              </p:cNvPr>
              <p:cNvGrpSpPr/>
              <p:nvPr/>
            </p:nvGrpSpPr>
            <p:grpSpPr>
              <a:xfrm>
                <a:off x="6205834" y="4159929"/>
                <a:ext cx="365830" cy="178705"/>
                <a:chOff x="6205834" y="4159929"/>
                <a:chExt cx="365830" cy="178705"/>
              </a:xfrm>
              <a:solidFill>
                <a:schemeClr val="accent1"/>
              </a:solidFill>
            </p:grpSpPr>
            <p:grpSp>
              <p:nvGrpSpPr>
                <p:cNvPr id="299" name="Grafik 102">
                  <a:extLst>
                    <a:ext uri="{FF2B5EF4-FFF2-40B4-BE49-F238E27FC236}">
                      <a16:creationId xmlns:a16="http://schemas.microsoft.com/office/drawing/2014/main" id="{9442333A-4F15-436D-839B-6D152F358593}"/>
                    </a:ext>
                  </a:extLst>
                </p:cNvPr>
                <p:cNvGrpSpPr/>
                <p:nvPr/>
              </p:nvGrpSpPr>
              <p:grpSpPr>
                <a:xfrm>
                  <a:off x="6355810" y="4159929"/>
                  <a:ext cx="63654" cy="178705"/>
                  <a:chOff x="6355810" y="4159929"/>
                  <a:chExt cx="63654" cy="178705"/>
                </a:xfrm>
                <a:solidFill>
                  <a:schemeClr val="accent1"/>
                </a:solidFill>
              </p:grpSpPr>
              <p:grpSp>
                <p:nvGrpSpPr>
                  <p:cNvPr id="312" name="Grafik 102">
                    <a:extLst>
                      <a:ext uri="{FF2B5EF4-FFF2-40B4-BE49-F238E27FC236}">
                        <a16:creationId xmlns:a16="http://schemas.microsoft.com/office/drawing/2014/main" id="{7A331FB3-ACC7-450B-91DC-21F31B23A729}"/>
                      </a:ext>
                    </a:extLst>
                  </p:cNvPr>
                  <p:cNvGrpSpPr/>
                  <p:nvPr/>
                </p:nvGrpSpPr>
                <p:grpSpPr>
                  <a:xfrm>
                    <a:off x="6382712" y="4215402"/>
                    <a:ext cx="9797" cy="123232"/>
                    <a:chOff x="6382712" y="4215402"/>
                    <a:chExt cx="9797" cy="123232"/>
                  </a:xfrm>
                  <a:solidFill>
                    <a:schemeClr val="accent1"/>
                  </a:solidFill>
                </p:grpSpPr>
                <p:sp>
                  <p:nvSpPr>
                    <p:cNvPr id="314" name="Freihandform: Form 987">
                      <a:extLst>
                        <a:ext uri="{FF2B5EF4-FFF2-40B4-BE49-F238E27FC236}">
                          <a16:creationId xmlns:a16="http://schemas.microsoft.com/office/drawing/2014/main" id="{7310C7C8-6282-44CC-A372-71D8F0D60BCA}"/>
                        </a:ext>
                      </a:extLst>
                    </p:cNvPr>
                    <p:cNvSpPr/>
                    <p:nvPr/>
                  </p:nvSpPr>
                  <p:spPr>
                    <a:xfrm>
                      <a:off x="6382712" y="4215402"/>
                      <a:ext cx="9797" cy="29417"/>
                    </a:xfrm>
                    <a:custGeom>
                      <a:avLst/>
                      <a:gdLst>
                        <a:gd name="connsiteX0" fmla="*/ 4899 w 9797"/>
                        <a:gd name="connsiteY0" fmla="*/ 29418 h 29417"/>
                        <a:gd name="connsiteX1" fmla="*/ 0 w 9797"/>
                        <a:gd name="connsiteY1" fmla="*/ 24519 h 29417"/>
                        <a:gd name="connsiteX2" fmla="*/ 0 w 9797"/>
                        <a:gd name="connsiteY2" fmla="*/ 4899 h 29417"/>
                        <a:gd name="connsiteX3" fmla="*/ 4899 w 9797"/>
                        <a:gd name="connsiteY3" fmla="*/ 0 h 29417"/>
                        <a:gd name="connsiteX4" fmla="*/ 9797 w 9797"/>
                        <a:gd name="connsiteY4" fmla="*/ 4899 h 29417"/>
                        <a:gd name="connsiteX5" fmla="*/ 9797 w 9797"/>
                        <a:gd name="connsiteY5" fmla="*/ 24519 h 29417"/>
                        <a:gd name="connsiteX6" fmla="*/ 4899 w 9797"/>
                        <a:gd name="connsiteY6" fmla="*/ 29418 h 2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29417">
                          <a:moveTo>
                            <a:pt x="4899" y="29418"/>
                          </a:moveTo>
                          <a:cubicBezTo>
                            <a:pt x="2198" y="29418"/>
                            <a:pt x="0" y="27220"/>
                            <a:pt x="0" y="24519"/>
                          </a:cubicBezTo>
                          <a:lnTo>
                            <a:pt x="0" y="4899"/>
                          </a:lnTo>
                          <a:cubicBezTo>
                            <a:pt x="0" y="2198"/>
                            <a:pt x="2198" y="0"/>
                            <a:pt x="4899" y="0"/>
                          </a:cubicBezTo>
                          <a:cubicBezTo>
                            <a:pt x="7599" y="0"/>
                            <a:pt x="9797" y="2198"/>
                            <a:pt x="9797" y="4899"/>
                          </a:cubicBezTo>
                          <a:lnTo>
                            <a:pt x="9797" y="24519"/>
                          </a:lnTo>
                          <a:cubicBezTo>
                            <a:pt x="9824" y="27220"/>
                            <a:pt x="7626" y="29418"/>
                            <a:pt x="4899" y="29418"/>
                          </a:cubicBezTo>
                          <a:close/>
                        </a:path>
                      </a:pathLst>
                    </a:custGeom>
                    <a:solidFill>
                      <a:schemeClr val="accent1"/>
                    </a:solidFill>
                    <a:ln w="2648" cap="flat">
                      <a:noFill/>
                      <a:prstDash val="solid"/>
                      <a:miter/>
                    </a:ln>
                  </p:spPr>
                  <p:txBody>
                    <a:bodyPr rtlCol="0" anchor="ctr"/>
                    <a:lstStyle/>
                    <a:p>
                      <a:endParaRPr lang="en-GB" dirty="0"/>
                    </a:p>
                  </p:txBody>
                </p:sp>
                <p:sp>
                  <p:nvSpPr>
                    <p:cNvPr id="315" name="Freihandform: Form 988">
                      <a:extLst>
                        <a:ext uri="{FF2B5EF4-FFF2-40B4-BE49-F238E27FC236}">
                          <a16:creationId xmlns:a16="http://schemas.microsoft.com/office/drawing/2014/main" id="{E1B4FDA3-2D2C-47C5-ADD7-04EB60D9EC95}"/>
                        </a:ext>
                      </a:extLst>
                    </p:cNvPr>
                    <p:cNvSpPr/>
                    <p:nvPr/>
                  </p:nvSpPr>
                  <p:spPr>
                    <a:xfrm>
                      <a:off x="6382712" y="4259754"/>
                      <a:ext cx="9797" cy="34528"/>
                    </a:xfrm>
                    <a:custGeom>
                      <a:avLst/>
                      <a:gdLst>
                        <a:gd name="connsiteX0" fmla="*/ 4899 w 9797"/>
                        <a:gd name="connsiteY0" fmla="*/ 34528 h 34528"/>
                        <a:gd name="connsiteX1" fmla="*/ 0 w 9797"/>
                        <a:gd name="connsiteY1" fmla="*/ 29630 h 34528"/>
                        <a:gd name="connsiteX2" fmla="*/ 0 w 9797"/>
                        <a:gd name="connsiteY2" fmla="*/ 4899 h 34528"/>
                        <a:gd name="connsiteX3" fmla="*/ 4899 w 9797"/>
                        <a:gd name="connsiteY3" fmla="*/ 0 h 34528"/>
                        <a:gd name="connsiteX4" fmla="*/ 9797 w 9797"/>
                        <a:gd name="connsiteY4" fmla="*/ 4899 h 34528"/>
                        <a:gd name="connsiteX5" fmla="*/ 9797 w 9797"/>
                        <a:gd name="connsiteY5" fmla="*/ 29630 h 34528"/>
                        <a:gd name="connsiteX6" fmla="*/ 4899 w 9797"/>
                        <a:gd name="connsiteY6" fmla="*/ 34528 h 34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34528">
                          <a:moveTo>
                            <a:pt x="4899" y="34528"/>
                          </a:moveTo>
                          <a:cubicBezTo>
                            <a:pt x="2198" y="34528"/>
                            <a:pt x="0" y="32331"/>
                            <a:pt x="0" y="29630"/>
                          </a:cubicBezTo>
                          <a:lnTo>
                            <a:pt x="0" y="4899"/>
                          </a:lnTo>
                          <a:cubicBezTo>
                            <a:pt x="0" y="2198"/>
                            <a:pt x="2198" y="0"/>
                            <a:pt x="4899" y="0"/>
                          </a:cubicBezTo>
                          <a:cubicBezTo>
                            <a:pt x="7599" y="0"/>
                            <a:pt x="9797" y="2198"/>
                            <a:pt x="9797" y="4899"/>
                          </a:cubicBezTo>
                          <a:lnTo>
                            <a:pt x="9797" y="29630"/>
                          </a:lnTo>
                          <a:cubicBezTo>
                            <a:pt x="9824" y="32331"/>
                            <a:pt x="7626" y="34528"/>
                            <a:pt x="4899" y="34528"/>
                          </a:cubicBezTo>
                          <a:close/>
                        </a:path>
                      </a:pathLst>
                    </a:custGeom>
                    <a:solidFill>
                      <a:schemeClr val="accent1"/>
                    </a:solidFill>
                    <a:ln w="2648" cap="flat">
                      <a:noFill/>
                      <a:prstDash val="solid"/>
                      <a:miter/>
                    </a:ln>
                  </p:spPr>
                  <p:txBody>
                    <a:bodyPr rtlCol="0" anchor="ctr"/>
                    <a:lstStyle/>
                    <a:p>
                      <a:endParaRPr lang="en-GB" dirty="0"/>
                    </a:p>
                  </p:txBody>
                </p:sp>
                <p:sp>
                  <p:nvSpPr>
                    <p:cNvPr id="316" name="Freihandform: Form 989">
                      <a:extLst>
                        <a:ext uri="{FF2B5EF4-FFF2-40B4-BE49-F238E27FC236}">
                          <a16:creationId xmlns:a16="http://schemas.microsoft.com/office/drawing/2014/main" id="{E371C433-9BCA-4FF2-8DB5-744992C1D3DF}"/>
                        </a:ext>
                      </a:extLst>
                    </p:cNvPr>
                    <p:cNvSpPr/>
                    <p:nvPr/>
                  </p:nvSpPr>
                  <p:spPr>
                    <a:xfrm>
                      <a:off x="6382712" y="4309216"/>
                      <a:ext cx="9797" cy="29418"/>
                    </a:xfrm>
                    <a:custGeom>
                      <a:avLst/>
                      <a:gdLst>
                        <a:gd name="connsiteX0" fmla="*/ 4899 w 9797"/>
                        <a:gd name="connsiteY0" fmla="*/ 29418 h 29418"/>
                        <a:gd name="connsiteX1" fmla="*/ 0 w 9797"/>
                        <a:gd name="connsiteY1" fmla="*/ 24519 h 29418"/>
                        <a:gd name="connsiteX2" fmla="*/ 0 w 9797"/>
                        <a:gd name="connsiteY2" fmla="*/ 4899 h 29418"/>
                        <a:gd name="connsiteX3" fmla="*/ 4899 w 9797"/>
                        <a:gd name="connsiteY3" fmla="*/ 0 h 29418"/>
                        <a:gd name="connsiteX4" fmla="*/ 9797 w 9797"/>
                        <a:gd name="connsiteY4" fmla="*/ 4899 h 29418"/>
                        <a:gd name="connsiteX5" fmla="*/ 9797 w 9797"/>
                        <a:gd name="connsiteY5" fmla="*/ 24519 h 29418"/>
                        <a:gd name="connsiteX6" fmla="*/ 4899 w 9797"/>
                        <a:gd name="connsiteY6" fmla="*/ 29418 h 2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29418">
                          <a:moveTo>
                            <a:pt x="4899" y="29418"/>
                          </a:moveTo>
                          <a:cubicBezTo>
                            <a:pt x="2198" y="29418"/>
                            <a:pt x="0" y="27220"/>
                            <a:pt x="0" y="24519"/>
                          </a:cubicBezTo>
                          <a:lnTo>
                            <a:pt x="0" y="4899"/>
                          </a:lnTo>
                          <a:cubicBezTo>
                            <a:pt x="0" y="2198"/>
                            <a:pt x="2198" y="0"/>
                            <a:pt x="4899" y="0"/>
                          </a:cubicBezTo>
                          <a:cubicBezTo>
                            <a:pt x="7599" y="0"/>
                            <a:pt x="9797" y="2198"/>
                            <a:pt x="9797" y="4899"/>
                          </a:cubicBezTo>
                          <a:lnTo>
                            <a:pt x="9797" y="24519"/>
                          </a:lnTo>
                          <a:cubicBezTo>
                            <a:pt x="9824" y="27220"/>
                            <a:pt x="7626" y="29418"/>
                            <a:pt x="4899" y="29418"/>
                          </a:cubicBezTo>
                          <a:close/>
                        </a:path>
                      </a:pathLst>
                    </a:custGeom>
                    <a:solidFill>
                      <a:schemeClr val="accent1"/>
                    </a:solidFill>
                    <a:ln w="2648" cap="flat">
                      <a:noFill/>
                      <a:prstDash val="solid"/>
                      <a:miter/>
                    </a:ln>
                  </p:spPr>
                  <p:txBody>
                    <a:bodyPr rtlCol="0" anchor="ctr"/>
                    <a:lstStyle/>
                    <a:p>
                      <a:endParaRPr lang="en-GB" dirty="0"/>
                    </a:p>
                  </p:txBody>
                </p:sp>
              </p:grpSp>
              <p:sp>
                <p:nvSpPr>
                  <p:cNvPr id="313" name="Freihandform: Form 990">
                    <a:extLst>
                      <a:ext uri="{FF2B5EF4-FFF2-40B4-BE49-F238E27FC236}">
                        <a16:creationId xmlns:a16="http://schemas.microsoft.com/office/drawing/2014/main" id="{20CB5A80-5571-4230-8317-BBAC686EB66B}"/>
                      </a:ext>
                    </a:extLst>
                  </p:cNvPr>
                  <p:cNvSpPr/>
                  <p:nvPr/>
                </p:nvSpPr>
                <p:spPr>
                  <a:xfrm>
                    <a:off x="6355810" y="4159929"/>
                    <a:ext cx="63654" cy="63654"/>
                  </a:xfrm>
                  <a:custGeom>
                    <a:avLst/>
                    <a:gdLst>
                      <a:gd name="connsiteX0" fmla="*/ 31827 w 63654"/>
                      <a:gd name="connsiteY0" fmla="*/ 63655 h 63654"/>
                      <a:gd name="connsiteX1" fmla="*/ 0 w 63654"/>
                      <a:gd name="connsiteY1" fmla="*/ 31828 h 63654"/>
                      <a:gd name="connsiteX2" fmla="*/ 31827 w 63654"/>
                      <a:gd name="connsiteY2" fmla="*/ 0 h 63654"/>
                      <a:gd name="connsiteX3" fmla="*/ 63655 w 63654"/>
                      <a:gd name="connsiteY3" fmla="*/ 31828 h 63654"/>
                      <a:gd name="connsiteX4" fmla="*/ 31827 w 63654"/>
                      <a:gd name="connsiteY4" fmla="*/ 63655 h 63654"/>
                      <a:gd name="connsiteX5" fmla="*/ 31827 w 63654"/>
                      <a:gd name="connsiteY5" fmla="*/ 9797 h 63654"/>
                      <a:gd name="connsiteX6" fmla="*/ 9797 w 63654"/>
                      <a:gd name="connsiteY6" fmla="*/ 31828 h 63654"/>
                      <a:gd name="connsiteX7" fmla="*/ 31827 w 63654"/>
                      <a:gd name="connsiteY7" fmla="*/ 53858 h 63654"/>
                      <a:gd name="connsiteX8" fmla="*/ 53858 w 63654"/>
                      <a:gd name="connsiteY8" fmla="*/ 31828 h 63654"/>
                      <a:gd name="connsiteX9" fmla="*/ 31827 w 63654"/>
                      <a:gd name="connsiteY9" fmla="*/ 9797 h 63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54" h="63654">
                        <a:moveTo>
                          <a:pt x="31827" y="63655"/>
                        </a:moveTo>
                        <a:cubicBezTo>
                          <a:pt x="14272" y="63655"/>
                          <a:pt x="0" y="49383"/>
                          <a:pt x="0" y="31828"/>
                        </a:cubicBezTo>
                        <a:cubicBezTo>
                          <a:pt x="0" y="14272"/>
                          <a:pt x="14272" y="0"/>
                          <a:pt x="31827" y="0"/>
                        </a:cubicBezTo>
                        <a:cubicBezTo>
                          <a:pt x="49383" y="0"/>
                          <a:pt x="63655" y="14272"/>
                          <a:pt x="63655" y="31828"/>
                        </a:cubicBezTo>
                        <a:cubicBezTo>
                          <a:pt x="63655" y="49383"/>
                          <a:pt x="49383" y="63655"/>
                          <a:pt x="31827" y="63655"/>
                        </a:cubicBezTo>
                        <a:close/>
                        <a:moveTo>
                          <a:pt x="31827" y="9797"/>
                        </a:moveTo>
                        <a:cubicBezTo>
                          <a:pt x="19674" y="9797"/>
                          <a:pt x="9797" y="19674"/>
                          <a:pt x="9797" y="31828"/>
                        </a:cubicBezTo>
                        <a:cubicBezTo>
                          <a:pt x="9797" y="43981"/>
                          <a:pt x="19674" y="53858"/>
                          <a:pt x="31827" y="53858"/>
                        </a:cubicBezTo>
                        <a:cubicBezTo>
                          <a:pt x="43981" y="53858"/>
                          <a:pt x="53858" y="43981"/>
                          <a:pt x="53858" y="31828"/>
                        </a:cubicBezTo>
                        <a:cubicBezTo>
                          <a:pt x="53858" y="19674"/>
                          <a:pt x="43955" y="9797"/>
                          <a:pt x="31827" y="9797"/>
                        </a:cubicBezTo>
                        <a:close/>
                      </a:path>
                    </a:pathLst>
                  </a:custGeom>
                  <a:solidFill>
                    <a:schemeClr val="accent1"/>
                  </a:solidFill>
                  <a:ln w="2648" cap="flat">
                    <a:noFill/>
                    <a:prstDash val="solid"/>
                    <a:miter/>
                  </a:ln>
                </p:spPr>
                <p:txBody>
                  <a:bodyPr rtlCol="0" anchor="ctr"/>
                  <a:lstStyle/>
                  <a:p>
                    <a:endParaRPr lang="en-GB" dirty="0"/>
                  </a:p>
                </p:txBody>
              </p:sp>
            </p:grpSp>
            <p:grpSp>
              <p:nvGrpSpPr>
                <p:cNvPr id="300" name="Grafik 102">
                  <a:extLst>
                    <a:ext uri="{FF2B5EF4-FFF2-40B4-BE49-F238E27FC236}">
                      <a16:creationId xmlns:a16="http://schemas.microsoft.com/office/drawing/2014/main" id="{1E2D297C-204E-4295-A0B6-77831486A74C}"/>
                    </a:ext>
                  </a:extLst>
                </p:cNvPr>
                <p:cNvGrpSpPr/>
                <p:nvPr/>
              </p:nvGrpSpPr>
              <p:grpSpPr>
                <a:xfrm>
                  <a:off x="6424575" y="4218156"/>
                  <a:ext cx="147089" cy="107874"/>
                  <a:chOff x="6424575" y="4218156"/>
                  <a:chExt cx="147089" cy="107874"/>
                </a:xfrm>
                <a:solidFill>
                  <a:schemeClr val="accent1"/>
                </a:solidFill>
              </p:grpSpPr>
              <p:sp>
                <p:nvSpPr>
                  <p:cNvPr id="307" name="Freihandform: Form 992">
                    <a:extLst>
                      <a:ext uri="{FF2B5EF4-FFF2-40B4-BE49-F238E27FC236}">
                        <a16:creationId xmlns:a16="http://schemas.microsoft.com/office/drawing/2014/main" id="{3B6CDBBC-98A0-470F-B366-EBEE89DC9D5C}"/>
                      </a:ext>
                    </a:extLst>
                  </p:cNvPr>
                  <p:cNvSpPr/>
                  <p:nvPr/>
                </p:nvSpPr>
                <p:spPr>
                  <a:xfrm>
                    <a:off x="6508010" y="4218156"/>
                    <a:ext cx="63654" cy="63655"/>
                  </a:xfrm>
                  <a:custGeom>
                    <a:avLst/>
                    <a:gdLst>
                      <a:gd name="connsiteX0" fmla="*/ 31828 w 63654"/>
                      <a:gd name="connsiteY0" fmla="*/ 63655 h 63655"/>
                      <a:gd name="connsiteX1" fmla="*/ 0 w 63654"/>
                      <a:gd name="connsiteY1" fmla="*/ 31828 h 63655"/>
                      <a:gd name="connsiteX2" fmla="*/ 31828 w 63654"/>
                      <a:gd name="connsiteY2" fmla="*/ 0 h 63655"/>
                      <a:gd name="connsiteX3" fmla="*/ 63655 w 63654"/>
                      <a:gd name="connsiteY3" fmla="*/ 31828 h 63655"/>
                      <a:gd name="connsiteX4" fmla="*/ 31828 w 63654"/>
                      <a:gd name="connsiteY4" fmla="*/ 63655 h 63655"/>
                      <a:gd name="connsiteX5" fmla="*/ 31828 w 63654"/>
                      <a:gd name="connsiteY5" fmla="*/ 9797 h 63655"/>
                      <a:gd name="connsiteX6" fmla="*/ 9797 w 63654"/>
                      <a:gd name="connsiteY6" fmla="*/ 31828 h 63655"/>
                      <a:gd name="connsiteX7" fmla="*/ 31828 w 63654"/>
                      <a:gd name="connsiteY7" fmla="*/ 53858 h 63655"/>
                      <a:gd name="connsiteX8" fmla="*/ 53858 w 63654"/>
                      <a:gd name="connsiteY8" fmla="*/ 31828 h 63655"/>
                      <a:gd name="connsiteX9" fmla="*/ 31828 w 63654"/>
                      <a:gd name="connsiteY9" fmla="*/ 9797 h 6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54" h="63655">
                        <a:moveTo>
                          <a:pt x="31828" y="63655"/>
                        </a:moveTo>
                        <a:cubicBezTo>
                          <a:pt x="14272" y="63655"/>
                          <a:pt x="0" y="49383"/>
                          <a:pt x="0" y="31828"/>
                        </a:cubicBezTo>
                        <a:cubicBezTo>
                          <a:pt x="0" y="14272"/>
                          <a:pt x="14272" y="0"/>
                          <a:pt x="31828" y="0"/>
                        </a:cubicBezTo>
                        <a:cubicBezTo>
                          <a:pt x="49383" y="0"/>
                          <a:pt x="63655" y="14272"/>
                          <a:pt x="63655" y="31828"/>
                        </a:cubicBezTo>
                        <a:cubicBezTo>
                          <a:pt x="63655" y="49356"/>
                          <a:pt x="49383" y="63655"/>
                          <a:pt x="31828" y="63655"/>
                        </a:cubicBezTo>
                        <a:close/>
                        <a:moveTo>
                          <a:pt x="31828" y="9797"/>
                        </a:moveTo>
                        <a:cubicBezTo>
                          <a:pt x="19674" y="9797"/>
                          <a:pt x="9797" y="19674"/>
                          <a:pt x="9797" y="31828"/>
                        </a:cubicBezTo>
                        <a:cubicBezTo>
                          <a:pt x="9797" y="43981"/>
                          <a:pt x="19674" y="53858"/>
                          <a:pt x="31828" y="53858"/>
                        </a:cubicBezTo>
                        <a:cubicBezTo>
                          <a:pt x="43981" y="53858"/>
                          <a:pt x="53858" y="43981"/>
                          <a:pt x="53858" y="31828"/>
                        </a:cubicBezTo>
                        <a:cubicBezTo>
                          <a:pt x="53858" y="19674"/>
                          <a:pt x="43981" y="9797"/>
                          <a:pt x="31828" y="9797"/>
                        </a:cubicBezTo>
                        <a:close/>
                      </a:path>
                    </a:pathLst>
                  </a:custGeom>
                  <a:solidFill>
                    <a:schemeClr val="accent1"/>
                  </a:solidFill>
                  <a:ln w="2648" cap="flat">
                    <a:noFill/>
                    <a:prstDash val="solid"/>
                    <a:miter/>
                  </a:ln>
                </p:spPr>
                <p:txBody>
                  <a:bodyPr rtlCol="0" anchor="ctr"/>
                  <a:lstStyle/>
                  <a:p>
                    <a:endParaRPr lang="en-GB" dirty="0"/>
                  </a:p>
                </p:txBody>
              </p:sp>
              <p:grpSp>
                <p:nvGrpSpPr>
                  <p:cNvPr id="308" name="Grafik 102">
                    <a:extLst>
                      <a:ext uri="{FF2B5EF4-FFF2-40B4-BE49-F238E27FC236}">
                        <a16:creationId xmlns:a16="http://schemas.microsoft.com/office/drawing/2014/main" id="{8C92DEC7-6E02-4A83-ACEF-8AD211174FC4}"/>
                      </a:ext>
                    </a:extLst>
                  </p:cNvPr>
                  <p:cNvGrpSpPr/>
                  <p:nvPr/>
                </p:nvGrpSpPr>
                <p:grpSpPr>
                  <a:xfrm>
                    <a:off x="6424575" y="4244290"/>
                    <a:ext cx="88253" cy="81739"/>
                    <a:chOff x="6424575" y="4244290"/>
                    <a:chExt cx="88253" cy="81739"/>
                  </a:xfrm>
                  <a:solidFill>
                    <a:schemeClr val="accent1"/>
                  </a:solidFill>
                </p:grpSpPr>
                <p:sp>
                  <p:nvSpPr>
                    <p:cNvPr id="309" name="Freihandform: Form 994">
                      <a:extLst>
                        <a:ext uri="{FF2B5EF4-FFF2-40B4-BE49-F238E27FC236}">
                          <a16:creationId xmlns:a16="http://schemas.microsoft.com/office/drawing/2014/main" id="{EAFF2AC6-F257-4F78-9CB6-F7D8CA24B848}"/>
                        </a:ext>
                      </a:extLst>
                    </p:cNvPr>
                    <p:cNvSpPr/>
                    <p:nvPr/>
                  </p:nvSpPr>
                  <p:spPr>
                    <a:xfrm>
                      <a:off x="6424575" y="4296612"/>
                      <a:ext cx="9797" cy="29417"/>
                    </a:xfrm>
                    <a:custGeom>
                      <a:avLst/>
                      <a:gdLst>
                        <a:gd name="connsiteX0" fmla="*/ 4899 w 9797"/>
                        <a:gd name="connsiteY0" fmla="*/ 29418 h 29417"/>
                        <a:gd name="connsiteX1" fmla="*/ 0 w 9797"/>
                        <a:gd name="connsiteY1" fmla="*/ 24519 h 29417"/>
                        <a:gd name="connsiteX2" fmla="*/ 0 w 9797"/>
                        <a:gd name="connsiteY2" fmla="*/ 4899 h 29417"/>
                        <a:gd name="connsiteX3" fmla="*/ 4899 w 9797"/>
                        <a:gd name="connsiteY3" fmla="*/ 0 h 29417"/>
                        <a:gd name="connsiteX4" fmla="*/ 9797 w 9797"/>
                        <a:gd name="connsiteY4" fmla="*/ 4899 h 29417"/>
                        <a:gd name="connsiteX5" fmla="*/ 9797 w 9797"/>
                        <a:gd name="connsiteY5" fmla="*/ 24519 h 29417"/>
                        <a:gd name="connsiteX6" fmla="*/ 4899 w 9797"/>
                        <a:gd name="connsiteY6" fmla="*/ 29418 h 2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29417">
                          <a:moveTo>
                            <a:pt x="4899" y="29418"/>
                          </a:moveTo>
                          <a:cubicBezTo>
                            <a:pt x="2198" y="29418"/>
                            <a:pt x="0" y="27220"/>
                            <a:pt x="0" y="24519"/>
                          </a:cubicBezTo>
                          <a:lnTo>
                            <a:pt x="0" y="4899"/>
                          </a:lnTo>
                          <a:cubicBezTo>
                            <a:pt x="0" y="2198"/>
                            <a:pt x="2198" y="0"/>
                            <a:pt x="4899" y="0"/>
                          </a:cubicBezTo>
                          <a:cubicBezTo>
                            <a:pt x="7599" y="0"/>
                            <a:pt x="9797" y="2198"/>
                            <a:pt x="9797" y="4899"/>
                          </a:cubicBezTo>
                          <a:lnTo>
                            <a:pt x="9797" y="24519"/>
                          </a:lnTo>
                          <a:cubicBezTo>
                            <a:pt x="9797" y="27220"/>
                            <a:pt x="7599" y="29418"/>
                            <a:pt x="4899" y="29418"/>
                          </a:cubicBezTo>
                          <a:close/>
                        </a:path>
                      </a:pathLst>
                    </a:custGeom>
                    <a:solidFill>
                      <a:schemeClr val="accent1"/>
                    </a:solidFill>
                    <a:ln w="2648" cap="flat">
                      <a:noFill/>
                      <a:prstDash val="solid"/>
                      <a:miter/>
                    </a:ln>
                  </p:spPr>
                  <p:txBody>
                    <a:bodyPr rtlCol="0" anchor="ctr"/>
                    <a:lstStyle/>
                    <a:p>
                      <a:endParaRPr lang="en-GB" dirty="0"/>
                    </a:p>
                  </p:txBody>
                </p:sp>
                <p:sp>
                  <p:nvSpPr>
                    <p:cNvPr id="310" name="Freihandform: Form 995">
                      <a:extLst>
                        <a:ext uri="{FF2B5EF4-FFF2-40B4-BE49-F238E27FC236}">
                          <a16:creationId xmlns:a16="http://schemas.microsoft.com/office/drawing/2014/main" id="{828F3FA3-3D3E-48F4-9593-9534558EBB4D}"/>
                        </a:ext>
                      </a:extLst>
                    </p:cNvPr>
                    <p:cNvSpPr/>
                    <p:nvPr/>
                  </p:nvSpPr>
                  <p:spPr>
                    <a:xfrm>
                      <a:off x="6424575" y="4244290"/>
                      <a:ext cx="29417" cy="29418"/>
                    </a:xfrm>
                    <a:custGeom>
                      <a:avLst/>
                      <a:gdLst>
                        <a:gd name="connsiteX0" fmla="*/ 4899 w 29417"/>
                        <a:gd name="connsiteY0" fmla="*/ 29418 h 29418"/>
                        <a:gd name="connsiteX1" fmla="*/ 0 w 29417"/>
                        <a:gd name="connsiteY1" fmla="*/ 24519 h 29418"/>
                        <a:gd name="connsiteX2" fmla="*/ 0 w 29417"/>
                        <a:gd name="connsiteY2" fmla="*/ 4899 h 29418"/>
                        <a:gd name="connsiteX3" fmla="*/ 4899 w 29417"/>
                        <a:gd name="connsiteY3" fmla="*/ 0 h 29418"/>
                        <a:gd name="connsiteX4" fmla="*/ 24519 w 29417"/>
                        <a:gd name="connsiteY4" fmla="*/ 0 h 29418"/>
                        <a:gd name="connsiteX5" fmla="*/ 29418 w 29417"/>
                        <a:gd name="connsiteY5" fmla="*/ 4899 h 29418"/>
                        <a:gd name="connsiteX6" fmla="*/ 24519 w 29417"/>
                        <a:gd name="connsiteY6" fmla="*/ 9797 h 29418"/>
                        <a:gd name="connsiteX7" fmla="*/ 9797 w 29417"/>
                        <a:gd name="connsiteY7" fmla="*/ 9797 h 29418"/>
                        <a:gd name="connsiteX8" fmla="*/ 9797 w 29417"/>
                        <a:gd name="connsiteY8" fmla="*/ 24519 h 29418"/>
                        <a:gd name="connsiteX9" fmla="*/ 4899 w 29417"/>
                        <a:gd name="connsiteY9" fmla="*/ 29418 h 2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17" h="29418">
                          <a:moveTo>
                            <a:pt x="4899" y="29418"/>
                          </a:moveTo>
                          <a:cubicBezTo>
                            <a:pt x="2198" y="29418"/>
                            <a:pt x="0" y="27220"/>
                            <a:pt x="0" y="24519"/>
                          </a:cubicBezTo>
                          <a:lnTo>
                            <a:pt x="0" y="4899"/>
                          </a:lnTo>
                          <a:cubicBezTo>
                            <a:pt x="0" y="2198"/>
                            <a:pt x="2198" y="0"/>
                            <a:pt x="4899" y="0"/>
                          </a:cubicBezTo>
                          <a:lnTo>
                            <a:pt x="24519" y="0"/>
                          </a:lnTo>
                          <a:cubicBezTo>
                            <a:pt x="27220" y="0"/>
                            <a:pt x="29418" y="2198"/>
                            <a:pt x="29418" y="4899"/>
                          </a:cubicBezTo>
                          <a:cubicBezTo>
                            <a:pt x="29418" y="7599"/>
                            <a:pt x="27220" y="9797"/>
                            <a:pt x="24519" y="9797"/>
                          </a:cubicBezTo>
                          <a:lnTo>
                            <a:pt x="9797" y="9797"/>
                          </a:lnTo>
                          <a:lnTo>
                            <a:pt x="9797" y="24519"/>
                          </a:lnTo>
                          <a:cubicBezTo>
                            <a:pt x="9797" y="27220"/>
                            <a:pt x="7599" y="29418"/>
                            <a:pt x="4899" y="29418"/>
                          </a:cubicBezTo>
                          <a:close/>
                        </a:path>
                      </a:pathLst>
                    </a:custGeom>
                    <a:solidFill>
                      <a:schemeClr val="accent1"/>
                    </a:solidFill>
                    <a:ln w="2648" cap="flat">
                      <a:noFill/>
                      <a:prstDash val="solid"/>
                      <a:miter/>
                    </a:ln>
                  </p:spPr>
                  <p:txBody>
                    <a:bodyPr rtlCol="0" anchor="ctr"/>
                    <a:lstStyle/>
                    <a:p>
                      <a:endParaRPr lang="en-GB" dirty="0"/>
                    </a:p>
                  </p:txBody>
                </p:sp>
                <p:sp>
                  <p:nvSpPr>
                    <p:cNvPr id="311" name="Freihandform: Form 996">
                      <a:extLst>
                        <a:ext uri="{FF2B5EF4-FFF2-40B4-BE49-F238E27FC236}">
                          <a16:creationId xmlns:a16="http://schemas.microsoft.com/office/drawing/2014/main" id="{1A0953B1-6B40-4D16-9BB0-B44A395A4DBE}"/>
                        </a:ext>
                      </a:extLst>
                    </p:cNvPr>
                    <p:cNvSpPr/>
                    <p:nvPr/>
                  </p:nvSpPr>
                  <p:spPr>
                    <a:xfrm>
                      <a:off x="6483411" y="4244290"/>
                      <a:ext cx="29417" cy="9797"/>
                    </a:xfrm>
                    <a:custGeom>
                      <a:avLst/>
                      <a:gdLst>
                        <a:gd name="connsiteX0" fmla="*/ 24519 w 29417"/>
                        <a:gd name="connsiteY0" fmla="*/ 9797 h 9797"/>
                        <a:gd name="connsiteX1" fmla="*/ 4899 w 29417"/>
                        <a:gd name="connsiteY1" fmla="*/ 9797 h 9797"/>
                        <a:gd name="connsiteX2" fmla="*/ 0 w 29417"/>
                        <a:gd name="connsiteY2" fmla="*/ 4899 h 9797"/>
                        <a:gd name="connsiteX3" fmla="*/ 4899 w 29417"/>
                        <a:gd name="connsiteY3" fmla="*/ 0 h 9797"/>
                        <a:gd name="connsiteX4" fmla="*/ 24519 w 29417"/>
                        <a:gd name="connsiteY4" fmla="*/ 0 h 9797"/>
                        <a:gd name="connsiteX5" fmla="*/ 29418 w 29417"/>
                        <a:gd name="connsiteY5" fmla="*/ 4899 h 9797"/>
                        <a:gd name="connsiteX6" fmla="*/ 24519 w 29417"/>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17" h="9797">
                          <a:moveTo>
                            <a:pt x="24519" y="9797"/>
                          </a:moveTo>
                          <a:lnTo>
                            <a:pt x="4899" y="9797"/>
                          </a:lnTo>
                          <a:cubicBezTo>
                            <a:pt x="2198" y="9797"/>
                            <a:pt x="0" y="7599"/>
                            <a:pt x="0" y="4899"/>
                          </a:cubicBezTo>
                          <a:cubicBezTo>
                            <a:pt x="0" y="2198"/>
                            <a:pt x="2198" y="0"/>
                            <a:pt x="4899" y="0"/>
                          </a:cubicBezTo>
                          <a:lnTo>
                            <a:pt x="24519" y="0"/>
                          </a:lnTo>
                          <a:cubicBezTo>
                            <a:pt x="27220" y="0"/>
                            <a:pt x="29418" y="2198"/>
                            <a:pt x="29418" y="4899"/>
                          </a:cubicBezTo>
                          <a:cubicBezTo>
                            <a:pt x="29418" y="7626"/>
                            <a:pt x="27220" y="9797"/>
                            <a:pt x="24519" y="9797"/>
                          </a:cubicBezTo>
                          <a:close/>
                        </a:path>
                      </a:pathLst>
                    </a:custGeom>
                    <a:solidFill>
                      <a:schemeClr val="accent1"/>
                    </a:solidFill>
                    <a:ln w="2648" cap="flat">
                      <a:noFill/>
                      <a:prstDash val="solid"/>
                      <a:miter/>
                    </a:ln>
                  </p:spPr>
                  <p:txBody>
                    <a:bodyPr rtlCol="0" anchor="ctr"/>
                    <a:lstStyle/>
                    <a:p>
                      <a:endParaRPr lang="en-GB" dirty="0"/>
                    </a:p>
                  </p:txBody>
                </p:sp>
              </p:grpSp>
            </p:grpSp>
            <p:grpSp>
              <p:nvGrpSpPr>
                <p:cNvPr id="301" name="Grafik 102">
                  <a:extLst>
                    <a:ext uri="{FF2B5EF4-FFF2-40B4-BE49-F238E27FC236}">
                      <a16:creationId xmlns:a16="http://schemas.microsoft.com/office/drawing/2014/main" id="{BFFCAD41-22CC-45BC-B390-19F168E5872F}"/>
                    </a:ext>
                  </a:extLst>
                </p:cNvPr>
                <p:cNvGrpSpPr/>
                <p:nvPr/>
              </p:nvGrpSpPr>
              <p:grpSpPr>
                <a:xfrm>
                  <a:off x="6205834" y="4218156"/>
                  <a:ext cx="140575" cy="107874"/>
                  <a:chOff x="6205834" y="4218156"/>
                  <a:chExt cx="140575" cy="107874"/>
                </a:xfrm>
                <a:solidFill>
                  <a:schemeClr val="accent1"/>
                </a:solidFill>
              </p:grpSpPr>
              <p:sp>
                <p:nvSpPr>
                  <p:cNvPr id="302" name="Freihandform: Form 998">
                    <a:extLst>
                      <a:ext uri="{FF2B5EF4-FFF2-40B4-BE49-F238E27FC236}">
                        <a16:creationId xmlns:a16="http://schemas.microsoft.com/office/drawing/2014/main" id="{696C0FA0-1D8E-4498-9763-271E646E2A08}"/>
                      </a:ext>
                    </a:extLst>
                  </p:cNvPr>
                  <p:cNvSpPr/>
                  <p:nvPr/>
                </p:nvSpPr>
                <p:spPr>
                  <a:xfrm>
                    <a:off x="6205834" y="4218156"/>
                    <a:ext cx="63654" cy="63655"/>
                  </a:xfrm>
                  <a:custGeom>
                    <a:avLst/>
                    <a:gdLst>
                      <a:gd name="connsiteX0" fmla="*/ 31827 w 63654"/>
                      <a:gd name="connsiteY0" fmla="*/ 63655 h 63655"/>
                      <a:gd name="connsiteX1" fmla="*/ 0 w 63654"/>
                      <a:gd name="connsiteY1" fmla="*/ 31828 h 63655"/>
                      <a:gd name="connsiteX2" fmla="*/ 31827 w 63654"/>
                      <a:gd name="connsiteY2" fmla="*/ 0 h 63655"/>
                      <a:gd name="connsiteX3" fmla="*/ 63655 w 63654"/>
                      <a:gd name="connsiteY3" fmla="*/ 31828 h 63655"/>
                      <a:gd name="connsiteX4" fmla="*/ 31827 w 63654"/>
                      <a:gd name="connsiteY4" fmla="*/ 63655 h 63655"/>
                      <a:gd name="connsiteX5" fmla="*/ 31827 w 63654"/>
                      <a:gd name="connsiteY5" fmla="*/ 9797 h 63655"/>
                      <a:gd name="connsiteX6" fmla="*/ 9797 w 63654"/>
                      <a:gd name="connsiteY6" fmla="*/ 31828 h 63655"/>
                      <a:gd name="connsiteX7" fmla="*/ 31827 w 63654"/>
                      <a:gd name="connsiteY7" fmla="*/ 53858 h 63655"/>
                      <a:gd name="connsiteX8" fmla="*/ 53858 w 63654"/>
                      <a:gd name="connsiteY8" fmla="*/ 31828 h 63655"/>
                      <a:gd name="connsiteX9" fmla="*/ 31827 w 63654"/>
                      <a:gd name="connsiteY9" fmla="*/ 9797 h 6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654" h="63655">
                        <a:moveTo>
                          <a:pt x="31827" y="63655"/>
                        </a:moveTo>
                        <a:cubicBezTo>
                          <a:pt x="14272" y="63655"/>
                          <a:pt x="0" y="49383"/>
                          <a:pt x="0" y="31828"/>
                        </a:cubicBezTo>
                        <a:cubicBezTo>
                          <a:pt x="0" y="14272"/>
                          <a:pt x="14272" y="0"/>
                          <a:pt x="31827" y="0"/>
                        </a:cubicBezTo>
                        <a:cubicBezTo>
                          <a:pt x="49383" y="0"/>
                          <a:pt x="63655" y="14272"/>
                          <a:pt x="63655" y="31828"/>
                        </a:cubicBezTo>
                        <a:cubicBezTo>
                          <a:pt x="63655" y="49356"/>
                          <a:pt x="49383" y="63655"/>
                          <a:pt x="31827" y="63655"/>
                        </a:cubicBezTo>
                        <a:close/>
                        <a:moveTo>
                          <a:pt x="31827" y="9797"/>
                        </a:moveTo>
                        <a:cubicBezTo>
                          <a:pt x="19674" y="9797"/>
                          <a:pt x="9797" y="19674"/>
                          <a:pt x="9797" y="31828"/>
                        </a:cubicBezTo>
                        <a:cubicBezTo>
                          <a:pt x="9797" y="43981"/>
                          <a:pt x="19674" y="53858"/>
                          <a:pt x="31827" y="53858"/>
                        </a:cubicBezTo>
                        <a:cubicBezTo>
                          <a:pt x="43981" y="53858"/>
                          <a:pt x="53858" y="43981"/>
                          <a:pt x="53858" y="31828"/>
                        </a:cubicBezTo>
                        <a:cubicBezTo>
                          <a:pt x="53858" y="19674"/>
                          <a:pt x="43981" y="9797"/>
                          <a:pt x="31827" y="9797"/>
                        </a:cubicBezTo>
                        <a:close/>
                      </a:path>
                    </a:pathLst>
                  </a:custGeom>
                  <a:solidFill>
                    <a:schemeClr val="accent1"/>
                  </a:solidFill>
                  <a:ln w="2648" cap="flat">
                    <a:noFill/>
                    <a:prstDash val="solid"/>
                    <a:miter/>
                  </a:ln>
                </p:spPr>
                <p:txBody>
                  <a:bodyPr rtlCol="0" anchor="ctr"/>
                  <a:lstStyle/>
                  <a:p>
                    <a:endParaRPr lang="en-GB" dirty="0"/>
                  </a:p>
                </p:txBody>
              </p:sp>
              <p:grpSp>
                <p:nvGrpSpPr>
                  <p:cNvPr id="303" name="Grafik 102">
                    <a:extLst>
                      <a:ext uri="{FF2B5EF4-FFF2-40B4-BE49-F238E27FC236}">
                        <a16:creationId xmlns:a16="http://schemas.microsoft.com/office/drawing/2014/main" id="{01BECB33-2A28-4EE9-A544-3E9629CCF5C9}"/>
                      </a:ext>
                    </a:extLst>
                  </p:cNvPr>
                  <p:cNvGrpSpPr/>
                  <p:nvPr/>
                </p:nvGrpSpPr>
                <p:grpSpPr>
                  <a:xfrm>
                    <a:off x="6264670" y="4244290"/>
                    <a:ext cx="81739" cy="81739"/>
                    <a:chOff x="6264670" y="4244290"/>
                    <a:chExt cx="81739" cy="81739"/>
                  </a:xfrm>
                  <a:solidFill>
                    <a:schemeClr val="accent1"/>
                  </a:solidFill>
                </p:grpSpPr>
                <p:sp>
                  <p:nvSpPr>
                    <p:cNvPr id="304" name="Freihandform: Form 1000">
                      <a:extLst>
                        <a:ext uri="{FF2B5EF4-FFF2-40B4-BE49-F238E27FC236}">
                          <a16:creationId xmlns:a16="http://schemas.microsoft.com/office/drawing/2014/main" id="{0146E9E0-A318-4B3C-8B61-A7046D12621C}"/>
                        </a:ext>
                      </a:extLst>
                    </p:cNvPr>
                    <p:cNvSpPr/>
                    <p:nvPr/>
                  </p:nvSpPr>
                  <p:spPr>
                    <a:xfrm>
                      <a:off x="6336613" y="4296612"/>
                      <a:ext cx="9797" cy="29417"/>
                    </a:xfrm>
                    <a:custGeom>
                      <a:avLst/>
                      <a:gdLst>
                        <a:gd name="connsiteX0" fmla="*/ 4899 w 9797"/>
                        <a:gd name="connsiteY0" fmla="*/ 29418 h 29417"/>
                        <a:gd name="connsiteX1" fmla="*/ 0 w 9797"/>
                        <a:gd name="connsiteY1" fmla="*/ 24519 h 29417"/>
                        <a:gd name="connsiteX2" fmla="*/ 0 w 9797"/>
                        <a:gd name="connsiteY2" fmla="*/ 4899 h 29417"/>
                        <a:gd name="connsiteX3" fmla="*/ 4899 w 9797"/>
                        <a:gd name="connsiteY3" fmla="*/ 0 h 29417"/>
                        <a:gd name="connsiteX4" fmla="*/ 9797 w 9797"/>
                        <a:gd name="connsiteY4" fmla="*/ 4899 h 29417"/>
                        <a:gd name="connsiteX5" fmla="*/ 9797 w 9797"/>
                        <a:gd name="connsiteY5" fmla="*/ 24519 h 29417"/>
                        <a:gd name="connsiteX6" fmla="*/ 4899 w 9797"/>
                        <a:gd name="connsiteY6" fmla="*/ 29418 h 2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7" h="29417">
                          <a:moveTo>
                            <a:pt x="4899" y="29418"/>
                          </a:moveTo>
                          <a:cubicBezTo>
                            <a:pt x="2198" y="29418"/>
                            <a:pt x="0" y="27220"/>
                            <a:pt x="0" y="24519"/>
                          </a:cubicBezTo>
                          <a:lnTo>
                            <a:pt x="0" y="4899"/>
                          </a:lnTo>
                          <a:cubicBezTo>
                            <a:pt x="0" y="2198"/>
                            <a:pt x="2198" y="0"/>
                            <a:pt x="4899" y="0"/>
                          </a:cubicBezTo>
                          <a:cubicBezTo>
                            <a:pt x="7599" y="0"/>
                            <a:pt x="9797" y="2198"/>
                            <a:pt x="9797" y="4899"/>
                          </a:cubicBezTo>
                          <a:lnTo>
                            <a:pt x="9797" y="24519"/>
                          </a:lnTo>
                          <a:cubicBezTo>
                            <a:pt x="9797" y="27220"/>
                            <a:pt x="7599" y="29418"/>
                            <a:pt x="4899" y="29418"/>
                          </a:cubicBezTo>
                          <a:close/>
                        </a:path>
                      </a:pathLst>
                    </a:custGeom>
                    <a:solidFill>
                      <a:schemeClr val="accent1"/>
                    </a:solidFill>
                    <a:ln w="2648" cap="flat">
                      <a:noFill/>
                      <a:prstDash val="solid"/>
                      <a:miter/>
                    </a:ln>
                  </p:spPr>
                  <p:txBody>
                    <a:bodyPr rtlCol="0" anchor="ctr"/>
                    <a:lstStyle/>
                    <a:p>
                      <a:endParaRPr lang="en-GB" dirty="0"/>
                    </a:p>
                  </p:txBody>
                </p:sp>
                <p:sp>
                  <p:nvSpPr>
                    <p:cNvPr id="305" name="Freihandform: Form 1001">
                      <a:extLst>
                        <a:ext uri="{FF2B5EF4-FFF2-40B4-BE49-F238E27FC236}">
                          <a16:creationId xmlns:a16="http://schemas.microsoft.com/office/drawing/2014/main" id="{5A06FDFB-C3B5-4A1F-B438-9B79580E9C34}"/>
                        </a:ext>
                      </a:extLst>
                    </p:cNvPr>
                    <p:cNvSpPr/>
                    <p:nvPr/>
                  </p:nvSpPr>
                  <p:spPr>
                    <a:xfrm>
                      <a:off x="6316992" y="4244290"/>
                      <a:ext cx="29417" cy="29418"/>
                    </a:xfrm>
                    <a:custGeom>
                      <a:avLst/>
                      <a:gdLst>
                        <a:gd name="connsiteX0" fmla="*/ 24519 w 29417"/>
                        <a:gd name="connsiteY0" fmla="*/ 29418 h 29418"/>
                        <a:gd name="connsiteX1" fmla="*/ 19621 w 29417"/>
                        <a:gd name="connsiteY1" fmla="*/ 24519 h 29418"/>
                        <a:gd name="connsiteX2" fmla="*/ 19621 w 29417"/>
                        <a:gd name="connsiteY2" fmla="*/ 9797 h 29418"/>
                        <a:gd name="connsiteX3" fmla="*/ 4899 w 29417"/>
                        <a:gd name="connsiteY3" fmla="*/ 9797 h 29418"/>
                        <a:gd name="connsiteX4" fmla="*/ 0 w 29417"/>
                        <a:gd name="connsiteY4" fmla="*/ 4899 h 29418"/>
                        <a:gd name="connsiteX5" fmla="*/ 4899 w 29417"/>
                        <a:gd name="connsiteY5" fmla="*/ 0 h 29418"/>
                        <a:gd name="connsiteX6" fmla="*/ 24519 w 29417"/>
                        <a:gd name="connsiteY6" fmla="*/ 0 h 29418"/>
                        <a:gd name="connsiteX7" fmla="*/ 29418 w 29417"/>
                        <a:gd name="connsiteY7" fmla="*/ 4899 h 29418"/>
                        <a:gd name="connsiteX8" fmla="*/ 29418 w 29417"/>
                        <a:gd name="connsiteY8" fmla="*/ 24519 h 29418"/>
                        <a:gd name="connsiteX9" fmla="*/ 24519 w 29417"/>
                        <a:gd name="connsiteY9" fmla="*/ 29418 h 2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417" h="29418">
                          <a:moveTo>
                            <a:pt x="24519" y="29418"/>
                          </a:moveTo>
                          <a:cubicBezTo>
                            <a:pt x="21818" y="29418"/>
                            <a:pt x="19621" y="27220"/>
                            <a:pt x="19621" y="24519"/>
                          </a:cubicBezTo>
                          <a:lnTo>
                            <a:pt x="19621" y="9797"/>
                          </a:lnTo>
                          <a:lnTo>
                            <a:pt x="4899" y="9797"/>
                          </a:lnTo>
                          <a:cubicBezTo>
                            <a:pt x="2198" y="9797"/>
                            <a:pt x="0" y="7599"/>
                            <a:pt x="0" y="4899"/>
                          </a:cubicBezTo>
                          <a:cubicBezTo>
                            <a:pt x="0" y="2198"/>
                            <a:pt x="2198" y="0"/>
                            <a:pt x="4899" y="0"/>
                          </a:cubicBezTo>
                          <a:lnTo>
                            <a:pt x="24519" y="0"/>
                          </a:lnTo>
                          <a:cubicBezTo>
                            <a:pt x="27220" y="0"/>
                            <a:pt x="29418" y="2198"/>
                            <a:pt x="29418" y="4899"/>
                          </a:cubicBezTo>
                          <a:lnTo>
                            <a:pt x="29418" y="24519"/>
                          </a:lnTo>
                          <a:cubicBezTo>
                            <a:pt x="29418" y="27220"/>
                            <a:pt x="27220" y="29418"/>
                            <a:pt x="24519" y="29418"/>
                          </a:cubicBezTo>
                          <a:close/>
                        </a:path>
                      </a:pathLst>
                    </a:custGeom>
                    <a:solidFill>
                      <a:schemeClr val="accent1"/>
                    </a:solidFill>
                    <a:ln w="2648" cap="flat">
                      <a:noFill/>
                      <a:prstDash val="solid"/>
                      <a:miter/>
                    </a:ln>
                  </p:spPr>
                  <p:txBody>
                    <a:bodyPr rtlCol="0" anchor="ctr"/>
                    <a:lstStyle/>
                    <a:p>
                      <a:endParaRPr lang="en-GB" dirty="0"/>
                    </a:p>
                  </p:txBody>
                </p:sp>
                <p:sp>
                  <p:nvSpPr>
                    <p:cNvPr id="306" name="Freihandform: Form 1002">
                      <a:extLst>
                        <a:ext uri="{FF2B5EF4-FFF2-40B4-BE49-F238E27FC236}">
                          <a16:creationId xmlns:a16="http://schemas.microsoft.com/office/drawing/2014/main" id="{681DBD59-96ED-46A3-A32B-E7896882BD85}"/>
                        </a:ext>
                      </a:extLst>
                    </p:cNvPr>
                    <p:cNvSpPr/>
                    <p:nvPr/>
                  </p:nvSpPr>
                  <p:spPr>
                    <a:xfrm>
                      <a:off x="6264670" y="4244290"/>
                      <a:ext cx="29417" cy="9797"/>
                    </a:xfrm>
                    <a:custGeom>
                      <a:avLst/>
                      <a:gdLst>
                        <a:gd name="connsiteX0" fmla="*/ 24519 w 29417"/>
                        <a:gd name="connsiteY0" fmla="*/ 9797 h 9797"/>
                        <a:gd name="connsiteX1" fmla="*/ 4899 w 29417"/>
                        <a:gd name="connsiteY1" fmla="*/ 9797 h 9797"/>
                        <a:gd name="connsiteX2" fmla="*/ 0 w 29417"/>
                        <a:gd name="connsiteY2" fmla="*/ 4899 h 9797"/>
                        <a:gd name="connsiteX3" fmla="*/ 4899 w 29417"/>
                        <a:gd name="connsiteY3" fmla="*/ 0 h 9797"/>
                        <a:gd name="connsiteX4" fmla="*/ 24519 w 29417"/>
                        <a:gd name="connsiteY4" fmla="*/ 0 h 9797"/>
                        <a:gd name="connsiteX5" fmla="*/ 29418 w 29417"/>
                        <a:gd name="connsiteY5" fmla="*/ 4899 h 9797"/>
                        <a:gd name="connsiteX6" fmla="*/ 24519 w 29417"/>
                        <a:gd name="connsiteY6" fmla="*/ 9797 h 9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17" h="9797">
                          <a:moveTo>
                            <a:pt x="24519" y="9797"/>
                          </a:moveTo>
                          <a:lnTo>
                            <a:pt x="4899" y="9797"/>
                          </a:lnTo>
                          <a:cubicBezTo>
                            <a:pt x="2198" y="9797"/>
                            <a:pt x="0" y="7599"/>
                            <a:pt x="0" y="4899"/>
                          </a:cubicBezTo>
                          <a:cubicBezTo>
                            <a:pt x="0" y="2198"/>
                            <a:pt x="2198" y="0"/>
                            <a:pt x="4899" y="0"/>
                          </a:cubicBezTo>
                          <a:lnTo>
                            <a:pt x="24519" y="0"/>
                          </a:lnTo>
                          <a:cubicBezTo>
                            <a:pt x="27220" y="0"/>
                            <a:pt x="29418" y="2198"/>
                            <a:pt x="29418" y="4899"/>
                          </a:cubicBezTo>
                          <a:cubicBezTo>
                            <a:pt x="29418" y="7626"/>
                            <a:pt x="27220" y="9797"/>
                            <a:pt x="24519" y="9797"/>
                          </a:cubicBezTo>
                          <a:close/>
                        </a:path>
                      </a:pathLst>
                    </a:custGeom>
                    <a:solidFill>
                      <a:schemeClr val="accent1"/>
                    </a:solidFill>
                    <a:ln w="2648" cap="flat">
                      <a:noFill/>
                      <a:prstDash val="solid"/>
                      <a:miter/>
                    </a:ln>
                  </p:spPr>
                  <p:txBody>
                    <a:bodyPr rtlCol="0" anchor="ctr"/>
                    <a:lstStyle/>
                    <a:p>
                      <a:endParaRPr lang="en-GB" dirty="0"/>
                    </a:p>
                  </p:txBody>
                </p:sp>
              </p:grpSp>
            </p:grpSp>
          </p:grpSp>
        </p:grpSp>
      </p:grpSp>
      <p:grpSp>
        <p:nvGrpSpPr>
          <p:cNvPr id="335" name="Group 334">
            <a:extLst>
              <a:ext uri="{FF2B5EF4-FFF2-40B4-BE49-F238E27FC236}">
                <a16:creationId xmlns:a16="http://schemas.microsoft.com/office/drawing/2014/main" id="{08F5E136-B1A7-443B-BD3A-06F9CCCEC607}"/>
              </a:ext>
            </a:extLst>
          </p:cNvPr>
          <p:cNvGrpSpPr>
            <a:grpSpLocks noChangeAspect="1"/>
          </p:cNvGrpSpPr>
          <p:nvPr/>
        </p:nvGrpSpPr>
        <p:grpSpPr>
          <a:xfrm>
            <a:off x="3738079" y="4002611"/>
            <a:ext cx="438544" cy="432001"/>
            <a:chOff x="1745622" y="1671053"/>
            <a:chExt cx="459946" cy="453084"/>
          </a:xfrm>
        </p:grpSpPr>
        <p:grpSp>
          <p:nvGrpSpPr>
            <p:cNvPr id="336" name="Gruppieren 758">
              <a:extLst>
                <a:ext uri="{FF2B5EF4-FFF2-40B4-BE49-F238E27FC236}">
                  <a16:creationId xmlns:a16="http://schemas.microsoft.com/office/drawing/2014/main" id="{C4AED5F0-6ED1-4ED1-8251-A4A688E4D7B2}"/>
                </a:ext>
              </a:extLst>
            </p:cNvPr>
            <p:cNvGrpSpPr/>
            <p:nvPr/>
          </p:nvGrpSpPr>
          <p:grpSpPr>
            <a:xfrm>
              <a:off x="1745622" y="1829586"/>
              <a:ext cx="459946" cy="294551"/>
              <a:chOff x="1745623" y="1829585"/>
              <a:chExt cx="459946" cy="294551"/>
            </a:xfrm>
          </p:grpSpPr>
          <p:sp>
            <p:nvSpPr>
              <p:cNvPr id="338" name="Freihandform: Form 164">
                <a:extLst>
                  <a:ext uri="{FF2B5EF4-FFF2-40B4-BE49-F238E27FC236}">
                    <a16:creationId xmlns:a16="http://schemas.microsoft.com/office/drawing/2014/main" id="{85AC86C2-14EA-4685-BC74-7ADD1E17A6E1}"/>
                  </a:ext>
                </a:extLst>
              </p:cNvPr>
              <p:cNvSpPr/>
              <p:nvPr/>
            </p:nvSpPr>
            <p:spPr>
              <a:xfrm>
                <a:off x="1745623" y="1988425"/>
                <a:ext cx="201853" cy="135685"/>
              </a:xfrm>
              <a:custGeom>
                <a:avLst/>
                <a:gdLst>
                  <a:gd name="connsiteX0" fmla="*/ 4962 w 201853"/>
                  <a:gd name="connsiteY0" fmla="*/ 135686 h 135685"/>
                  <a:gd name="connsiteX1" fmla="*/ 196888 w 201853"/>
                  <a:gd name="connsiteY1" fmla="*/ 135686 h 135685"/>
                  <a:gd name="connsiteX2" fmla="*/ 201853 w 201853"/>
                  <a:gd name="connsiteY2" fmla="*/ 130720 h 135685"/>
                  <a:gd name="connsiteX3" fmla="*/ 196888 w 201853"/>
                  <a:gd name="connsiteY3" fmla="*/ 125755 h 135685"/>
                  <a:gd name="connsiteX4" fmla="*/ 13710 w 201853"/>
                  <a:gd name="connsiteY4" fmla="*/ 125755 h 135685"/>
                  <a:gd name="connsiteX5" fmla="*/ 82787 w 201853"/>
                  <a:gd name="connsiteY5" fmla="*/ 9931 h 135685"/>
                  <a:gd name="connsiteX6" fmla="*/ 196888 w 201853"/>
                  <a:gd name="connsiteY6" fmla="*/ 9931 h 135685"/>
                  <a:gd name="connsiteX7" fmla="*/ 201853 w 201853"/>
                  <a:gd name="connsiteY7" fmla="*/ 4965 h 135685"/>
                  <a:gd name="connsiteX8" fmla="*/ 196888 w 201853"/>
                  <a:gd name="connsiteY8" fmla="*/ 0 h 135685"/>
                  <a:gd name="connsiteX9" fmla="*/ 79958 w 201853"/>
                  <a:gd name="connsiteY9" fmla="*/ 0 h 135685"/>
                  <a:gd name="connsiteX10" fmla="*/ 75687 w 201853"/>
                  <a:gd name="connsiteY10" fmla="*/ 2418 h 135685"/>
                  <a:gd name="connsiteX11" fmla="*/ 692 w 201853"/>
                  <a:gd name="connsiteY11" fmla="*/ 128148 h 135685"/>
                  <a:gd name="connsiteX12" fmla="*/ 640 w 201853"/>
                  <a:gd name="connsiteY12" fmla="*/ 133139 h 135685"/>
                  <a:gd name="connsiteX13" fmla="*/ 4962 w 201853"/>
                  <a:gd name="connsiteY13" fmla="*/ 135686 h 135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853" h="135685">
                    <a:moveTo>
                      <a:pt x="4962" y="135686"/>
                    </a:moveTo>
                    <a:lnTo>
                      <a:pt x="196888" y="135686"/>
                    </a:lnTo>
                    <a:cubicBezTo>
                      <a:pt x="199615" y="135686"/>
                      <a:pt x="201853" y="133447"/>
                      <a:pt x="201853" y="130720"/>
                    </a:cubicBezTo>
                    <a:cubicBezTo>
                      <a:pt x="201853" y="127993"/>
                      <a:pt x="199615" y="125755"/>
                      <a:pt x="196888" y="125755"/>
                    </a:cubicBezTo>
                    <a:lnTo>
                      <a:pt x="13710" y="125755"/>
                    </a:lnTo>
                    <a:lnTo>
                      <a:pt x="82787" y="9931"/>
                    </a:lnTo>
                    <a:lnTo>
                      <a:pt x="196888" y="9931"/>
                    </a:lnTo>
                    <a:cubicBezTo>
                      <a:pt x="199615" y="9931"/>
                      <a:pt x="201853" y="7692"/>
                      <a:pt x="201853" y="4965"/>
                    </a:cubicBezTo>
                    <a:cubicBezTo>
                      <a:pt x="201853" y="2238"/>
                      <a:pt x="199615" y="0"/>
                      <a:pt x="196888" y="0"/>
                    </a:cubicBezTo>
                    <a:lnTo>
                      <a:pt x="79958" y="0"/>
                    </a:lnTo>
                    <a:cubicBezTo>
                      <a:pt x="78208" y="0"/>
                      <a:pt x="76587" y="926"/>
                      <a:pt x="75687" y="2418"/>
                    </a:cubicBezTo>
                    <a:lnTo>
                      <a:pt x="692" y="128148"/>
                    </a:lnTo>
                    <a:cubicBezTo>
                      <a:pt x="-209" y="129665"/>
                      <a:pt x="-234" y="131595"/>
                      <a:pt x="640" y="133139"/>
                    </a:cubicBezTo>
                    <a:cubicBezTo>
                      <a:pt x="1541" y="134734"/>
                      <a:pt x="3187" y="135686"/>
                      <a:pt x="4962" y="135686"/>
                    </a:cubicBezTo>
                    <a:close/>
                  </a:path>
                </a:pathLst>
              </a:custGeom>
              <a:solidFill>
                <a:schemeClr val="tx2"/>
              </a:solidFill>
              <a:ln w="2571" cap="flat">
                <a:noFill/>
                <a:prstDash val="solid"/>
                <a:miter/>
              </a:ln>
            </p:spPr>
            <p:txBody>
              <a:bodyPr rtlCol="0" anchor="ctr"/>
              <a:lstStyle/>
              <a:p>
                <a:endParaRPr lang="en-GB" dirty="0"/>
              </a:p>
            </p:txBody>
          </p:sp>
          <p:sp>
            <p:nvSpPr>
              <p:cNvPr id="339" name="Freihandform: Form 165">
                <a:extLst>
                  <a:ext uri="{FF2B5EF4-FFF2-40B4-BE49-F238E27FC236}">
                    <a16:creationId xmlns:a16="http://schemas.microsoft.com/office/drawing/2014/main" id="{E0393CE0-9A90-4816-AD25-42133BCC1C11}"/>
                  </a:ext>
                </a:extLst>
              </p:cNvPr>
              <p:cNvSpPr/>
              <p:nvPr/>
            </p:nvSpPr>
            <p:spPr>
              <a:xfrm>
                <a:off x="2003716" y="1988451"/>
                <a:ext cx="201853" cy="135685"/>
              </a:xfrm>
              <a:custGeom>
                <a:avLst/>
                <a:gdLst>
                  <a:gd name="connsiteX0" fmla="*/ 121896 w 201853"/>
                  <a:gd name="connsiteY0" fmla="*/ 0 h 135685"/>
                  <a:gd name="connsiteX1" fmla="*/ 4965 w 201853"/>
                  <a:gd name="connsiteY1" fmla="*/ 0 h 135685"/>
                  <a:gd name="connsiteX2" fmla="*/ 0 w 201853"/>
                  <a:gd name="connsiteY2" fmla="*/ 4965 h 135685"/>
                  <a:gd name="connsiteX3" fmla="*/ 4965 w 201853"/>
                  <a:gd name="connsiteY3" fmla="*/ 9931 h 135685"/>
                  <a:gd name="connsiteX4" fmla="*/ 119066 w 201853"/>
                  <a:gd name="connsiteY4" fmla="*/ 9931 h 135685"/>
                  <a:gd name="connsiteX5" fmla="*/ 188144 w 201853"/>
                  <a:gd name="connsiteY5" fmla="*/ 125755 h 135685"/>
                  <a:gd name="connsiteX6" fmla="*/ 4965 w 201853"/>
                  <a:gd name="connsiteY6" fmla="*/ 125755 h 135685"/>
                  <a:gd name="connsiteX7" fmla="*/ 0 w 201853"/>
                  <a:gd name="connsiteY7" fmla="*/ 130720 h 135685"/>
                  <a:gd name="connsiteX8" fmla="*/ 4965 w 201853"/>
                  <a:gd name="connsiteY8" fmla="*/ 135686 h 135685"/>
                  <a:gd name="connsiteX9" fmla="*/ 196891 w 201853"/>
                  <a:gd name="connsiteY9" fmla="*/ 135686 h 135685"/>
                  <a:gd name="connsiteX10" fmla="*/ 201213 w 201853"/>
                  <a:gd name="connsiteY10" fmla="*/ 133164 h 135685"/>
                  <a:gd name="connsiteX11" fmla="*/ 201162 w 201853"/>
                  <a:gd name="connsiteY11" fmla="*/ 128173 h 135685"/>
                  <a:gd name="connsiteX12" fmla="*/ 126167 w 201853"/>
                  <a:gd name="connsiteY12" fmla="*/ 2444 h 135685"/>
                  <a:gd name="connsiteX13" fmla="*/ 121896 w 201853"/>
                  <a:gd name="connsiteY13" fmla="*/ 0 h 135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1853" h="135685">
                    <a:moveTo>
                      <a:pt x="121896" y="0"/>
                    </a:moveTo>
                    <a:lnTo>
                      <a:pt x="4965" y="0"/>
                    </a:lnTo>
                    <a:cubicBezTo>
                      <a:pt x="2238" y="0"/>
                      <a:pt x="0" y="2238"/>
                      <a:pt x="0" y="4965"/>
                    </a:cubicBezTo>
                    <a:cubicBezTo>
                      <a:pt x="0" y="7692"/>
                      <a:pt x="2238" y="9931"/>
                      <a:pt x="4965" y="9931"/>
                    </a:cubicBezTo>
                    <a:lnTo>
                      <a:pt x="119066" y="9931"/>
                    </a:lnTo>
                    <a:lnTo>
                      <a:pt x="188144" y="125755"/>
                    </a:lnTo>
                    <a:lnTo>
                      <a:pt x="4965" y="125755"/>
                    </a:lnTo>
                    <a:cubicBezTo>
                      <a:pt x="2238" y="125755"/>
                      <a:pt x="0" y="127993"/>
                      <a:pt x="0" y="130720"/>
                    </a:cubicBezTo>
                    <a:cubicBezTo>
                      <a:pt x="0" y="133447"/>
                      <a:pt x="2238" y="135686"/>
                      <a:pt x="4965" y="135686"/>
                    </a:cubicBezTo>
                    <a:lnTo>
                      <a:pt x="196891" y="135686"/>
                    </a:lnTo>
                    <a:cubicBezTo>
                      <a:pt x="198666" y="135686"/>
                      <a:pt x="200313" y="134734"/>
                      <a:pt x="201213" y="133164"/>
                    </a:cubicBezTo>
                    <a:cubicBezTo>
                      <a:pt x="202088" y="131621"/>
                      <a:pt x="202062" y="129691"/>
                      <a:pt x="201162" y="128173"/>
                    </a:cubicBezTo>
                    <a:lnTo>
                      <a:pt x="126167" y="2444"/>
                    </a:lnTo>
                    <a:cubicBezTo>
                      <a:pt x="125266" y="926"/>
                      <a:pt x="123620" y="0"/>
                      <a:pt x="121896" y="0"/>
                    </a:cubicBezTo>
                    <a:close/>
                  </a:path>
                </a:pathLst>
              </a:custGeom>
              <a:solidFill>
                <a:schemeClr val="tx2"/>
              </a:solidFill>
              <a:ln w="2571" cap="flat">
                <a:noFill/>
                <a:prstDash val="solid"/>
                <a:miter/>
              </a:ln>
            </p:spPr>
            <p:txBody>
              <a:bodyPr rtlCol="0" anchor="ctr"/>
              <a:lstStyle/>
              <a:p>
                <a:endParaRPr lang="en-GB" dirty="0"/>
              </a:p>
            </p:txBody>
          </p:sp>
          <p:sp>
            <p:nvSpPr>
              <p:cNvPr id="340" name="Freihandform: Form 166">
                <a:extLst>
                  <a:ext uri="{FF2B5EF4-FFF2-40B4-BE49-F238E27FC236}">
                    <a16:creationId xmlns:a16="http://schemas.microsoft.com/office/drawing/2014/main" id="{9BBFBFDD-3548-4FCC-B53A-5AFC3E5D3CE2}"/>
                  </a:ext>
                </a:extLst>
              </p:cNvPr>
              <p:cNvSpPr/>
              <p:nvPr/>
            </p:nvSpPr>
            <p:spPr>
              <a:xfrm>
                <a:off x="1820618" y="1829585"/>
                <a:ext cx="126858" cy="135685"/>
              </a:xfrm>
              <a:custGeom>
                <a:avLst/>
                <a:gdLst>
                  <a:gd name="connsiteX0" fmla="*/ 4963 w 126858"/>
                  <a:gd name="connsiteY0" fmla="*/ 135686 h 135685"/>
                  <a:gd name="connsiteX1" fmla="*/ 121893 w 126858"/>
                  <a:gd name="connsiteY1" fmla="*/ 135686 h 135685"/>
                  <a:gd name="connsiteX2" fmla="*/ 126858 w 126858"/>
                  <a:gd name="connsiteY2" fmla="*/ 130720 h 135685"/>
                  <a:gd name="connsiteX3" fmla="*/ 121893 w 126858"/>
                  <a:gd name="connsiteY3" fmla="*/ 125755 h 135685"/>
                  <a:gd name="connsiteX4" fmla="*/ 13710 w 126858"/>
                  <a:gd name="connsiteY4" fmla="*/ 125755 h 135685"/>
                  <a:gd name="connsiteX5" fmla="*/ 82788 w 126858"/>
                  <a:gd name="connsiteY5" fmla="*/ 9931 h 135685"/>
                  <a:gd name="connsiteX6" fmla="*/ 115255 w 126858"/>
                  <a:gd name="connsiteY6" fmla="*/ 9931 h 135685"/>
                  <a:gd name="connsiteX7" fmla="*/ 120221 w 126858"/>
                  <a:gd name="connsiteY7" fmla="*/ 4965 h 135685"/>
                  <a:gd name="connsiteX8" fmla="*/ 115255 w 126858"/>
                  <a:gd name="connsiteY8" fmla="*/ 0 h 135685"/>
                  <a:gd name="connsiteX9" fmla="*/ 79958 w 126858"/>
                  <a:gd name="connsiteY9" fmla="*/ 0 h 135685"/>
                  <a:gd name="connsiteX10" fmla="*/ 75687 w 126858"/>
                  <a:gd name="connsiteY10" fmla="*/ 2418 h 135685"/>
                  <a:gd name="connsiteX11" fmla="*/ 692 w 126858"/>
                  <a:gd name="connsiteY11" fmla="*/ 128148 h 135685"/>
                  <a:gd name="connsiteX12" fmla="*/ 640 w 126858"/>
                  <a:gd name="connsiteY12" fmla="*/ 133139 h 135685"/>
                  <a:gd name="connsiteX13" fmla="*/ 4963 w 126858"/>
                  <a:gd name="connsiteY13" fmla="*/ 135686 h 135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6858" h="135685">
                    <a:moveTo>
                      <a:pt x="4963" y="135686"/>
                    </a:moveTo>
                    <a:lnTo>
                      <a:pt x="121893" y="135686"/>
                    </a:lnTo>
                    <a:cubicBezTo>
                      <a:pt x="124620" y="135686"/>
                      <a:pt x="126858" y="133447"/>
                      <a:pt x="126858" y="130720"/>
                    </a:cubicBezTo>
                    <a:cubicBezTo>
                      <a:pt x="126858" y="127993"/>
                      <a:pt x="124620" y="125755"/>
                      <a:pt x="121893" y="125755"/>
                    </a:cubicBezTo>
                    <a:lnTo>
                      <a:pt x="13710" y="125755"/>
                    </a:lnTo>
                    <a:lnTo>
                      <a:pt x="82788" y="9931"/>
                    </a:lnTo>
                    <a:lnTo>
                      <a:pt x="115255" y="9931"/>
                    </a:lnTo>
                    <a:cubicBezTo>
                      <a:pt x="117982" y="9931"/>
                      <a:pt x="120221" y="7692"/>
                      <a:pt x="120221" y="4965"/>
                    </a:cubicBezTo>
                    <a:cubicBezTo>
                      <a:pt x="120221" y="2238"/>
                      <a:pt x="117982" y="0"/>
                      <a:pt x="115255" y="0"/>
                    </a:cubicBezTo>
                    <a:lnTo>
                      <a:pt x="79958" y="0"/>
                    </a:lnTo>
                    <a:cubicBezTo>
                      <a:pt x="78208" y="0"/>
                      <a:pt x="76587" y="926"/>
                      <a:pt x="75687" y="2418"/>
                    </a:cubicBezTo>
                    <a:lnTo>
                      <a:pt x="692" y="128148"/>
                    </a:lnTo>
                    <a:cubicBezTo>
                      <a:pt x="-209" y="129666"/>
                      <a:pt x="-234" y="131595"/>
                      <a:pt x="640" y="133139"/>
                    </a:cubicBezTo>
                    <a:cubicBezTo>
                      <a:pt x="1541" y="134734"/>
                      <a:pt x="3187" y="135686"/>
                      <a:pt x="4963" y="135686"/>
                    </a:cubicBezTo>
                    <a:close/>
                  </a:path>
                </a:pathLst>
              </a:custGeom>
              <a:solidFill>
                <a:schemeClr val="tx2"/>
              </a:solidFill>
              <a:ln w="2571" cap="flat">
                <a:noFill/>
                <a:prstDash val="solid"/>
                <a:miter/>
              </a:ln>
            </p:spPr>
            <p:txBody>
              <a:bodyPr rtlCol="0" anchor="ctr"/>
              <a:lstStyle/>
              <a:p>
                <a:endParaRPr lang="en-GB" dirty="0"/>
              </a:p>
            </p:txBody>
          </p:sp>
          <p:sp>
            <p:nvSpPr>
              <p:cNvPr id="341" name="Freihandform: Form 167">
                <a:extLst>
                  <a:ext uri="{FF2B5EF4-FFF2-40B4-BE49-F238E27FC236}">
                    <a16:creationId xmlns:a16="http://schemas.microsoft.com/office/drawing/2014/main" id="{37CE34CA-33B1-433B-B57B-01CBB02CBEA5}"/>
                  </a:ext>
                </a:extLst>
              </p:cNvPr>
              <p:cNvSpPr/>
              <p:nvPr/>
            </p:nvSpPr>
            <p:spPr>
              <a:xfrm>
                <a:off x="1997130" y="1829636"/>
                <a:ext cx="133444" cy="135659"/>
              </a:xfrm>
              <a:custGeom>
                <a:avLst/>
                <a:gdLst>
                  <a:gd name="connsiteX0" fmla="*/ 4940 w 133444"/>
                  <a:gd name="connsiteY0" fmla="*/ 9905 h 135659"/>
                  <a:gd name="connsiteX1" fmla="*/ 50657 w 133444"/>
                  <a:gd name="connsiteY1" fmla="*/ 9905 h 135659"/>
                  <a:gd name="connsiteX2" fmla="*/ 119735 w 133444"/>
                  <a:gd name="connsiteY2" fmla="*/ 125729 h 135659"/>
                  <a:gd name="connsiteX3" fmla="*/ 11552 w 133444"/>
                  <a:gd name="connsiteY3" fmla="*/ 125729 h 135659"/>
                  <a:gd name="connsiteX4" fmla="*/ 6586 w 133444"/>
                  <a:gd name="connsiteY4" fmla="*/ 130695 h 135659"/>
                  <a:gd name="connsiteX5" fmla="*/ 11552 w 133444"/>
                  <a:gd name="connsiteY5" fmla="*/ 135660 h 135659"/>
                  <a:gd name="connsiteX6" fmla="*/ 128482 w 133444"/>
                  <a:gd name="connsiteY6" fmla="*/ 135660 h 135659"/>
                  <a:gd name="connsiteX7" fmla="*/ 132804 w 133444"/>
                  <a:gd name="connsiteY7" fmla="*/ 133139 h 135659"/>
                  <a:gd name="connsiteX8" fmla="*/ 132753 w 133444"/>
                  <a:gd name="connsiteY8" fmla="*/ 128148 h 135659"/>
                  <a:gd name="connsiteX9" fmla="*/ 57758 w 133444"/>
                  <a:gd name="connsiteY9" fmla="*/ 2418 h 135659"/>
                  <a:gd name="connsiteX10" fmla="*/ 53487 w 133444"/>
                  <a:gd name="connsiteY10" fmla="*/ 0 h 135659"/>
                  <a:gd name="connsiteX11" fmla="*/ 4966 w 133444"/>
                  <a:gd name="connsiteY11" fmla="*/ 0 h 135659"/>
                  <a:gd name="connsiteX12" fmla="*/ 0 w 133444"/>
                  <a:gd name="connsiteY12" fmla="*/ 4965 h 135659"/>
                  <a:gd name="connsiteX13" fmla="*/ 4940 w 133444"/>
                  <a:gd name="connsiteY13" fmla="*/ 9905 h 135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3444" h="135659">
                    <a:moveTo>
                      <a:pt x="4940" y="9905"/>
                    </a:moveTo>
                    <a:lnTo>
                      <a:pt x="50657" y="9905"/>
                    </a:lnTo>
                    <a:lnTo>
                      <a:pt x="119735" y="125729"/>
                    </a:lnTo>
                    <a:lnTo>
                      <a:pt x="11552" y="125729"/>
                    </a:lnTo>
                    <a:cubicBezTo>
                      <a:pt x="8825" y="125729"/>
                      <a:pt x="6586" y="127967"/>
                      <a:pt x="6586" y="130695"/>
                    </a:cubicBezTo>
                    <a:cubicBezTo>
                      <a:pt x="6586" y="133422"/>
                      <a:pt x="8825" y="135660"/>
                      <a:pt x="11552" y="135660"/>
                    </a:cubicBezTo>
                    <a:lnTo>
                      <a:pt x="128482" y="135660"/>
                    </a:lnTo>
                    <a:cubicBezTo>
                      <a:pt x="130257" y="135660"/>
                      <a:pt x="131930" y="134708"/>
                      <a:pt x="132804" y="133139"/>
                    </a:cubicBezTo>
                    <a:cubicBezTo>
                      <a:pt x="133679" y="131595"/>
                      <a:pt x="133653" y="129665"/>
                      <a:pt x="132753" y="128148"/>
                    </a:cubicBezTo>
                    <a:lnTo>
                      <a:pt x="57758" y="2418"/>
                    </a:lnTo>
                    <a:cubicBezTo>
                      <a:pt x="56858" y="926"/>
                      <a:pt x="55237" y="0"/>
                      <a:pt x="53487" y="0"/>
                    </a:cubicBezTo>
                    <a:lnTo>
                      <a:pt x="4966" y="0"/>
                    </a:lnTo>
                    <a:cubicBezTo>
                      <a:pt x="2238" y="0"/>
                      <a:pt x="0" y="2238"/>
                      <a:pt x="0" y="4965"/>
                    </a:cubicBezTo>
                    <a:cubicBezTo>
                      <a:pt x="-26" y="7667"/>
                      <a:pt x="2213" y="9905"/>
                      <a:pt x="4940" y="9905"/>
                    </a:cubicBezTo>
                    <a:close/>
                  </a:path>
                </a:pathLst>
              </a:custGeom>
              <a:solidFill>
                <a:schemeClr val="tx2"/>
              </a:solidFill>
              <a:ln w="2571" cap="flat">
                <a:noFill/>
                <a:prstDash val="solid"/>
                <a:miter/>
              </a:ln>
            </p:spPr>
            <p:txBody>
              <a:bodyPr rtlCol="0" anchor="ctr"/>
              <a:lstStyle/>
              <a:p>
                <a:endParaRPr lang="en-GB" dirty="0"/>
              </a:p>
            </p:txBody>
          </p:sp>
        </p:grpSp>
        <p:sp>
          <p:nvSpPr>
            <p:cNvPr id="337" name="Freihandform: Form 168">
              <a:extLst>
                <a:ext uri="{FF2B5EF4-FFF2-40B4-BE49-F238E27FC236}">
                  <a16:creationId xmlns:a16="http://schemas.microsoft.com/office/drawing/2014/main" id="{B39AB572-888B-4856-860C-8C3F921A9FE2}"/>
                </a:ext>
              </a:extLst>
            </p:cNvPr>
            <p:cNvSpPr/>
            <p:nvPr/>
          </p:nvSpPr>
          <p:spPr>
            <a:xfrm>
              <a:off x="1895664" y="1671053"/>
              <a:ext cx="159914" cy="453057"/>
            </a:xfrm>
            <a:custGeom>
              <a:avLst/>
              <a:gdLst>
                <a:gd name="connsiteX0" fmla="*/ 84203 w 159914"/>
                <a:gd name="connsiteY0" fmla="*/ 2161 h 453057"/>
                <a:gd name="connsiteX1" fmla="*/ 75687 w 159914"/>
                <a:gd name="connsiteY1" fmla="*/ 2161 h 453057"/>
                <a:gd name="connsiteX2" fmla="*/ 692 w 159914"/>
                <a:gd name="connsiteY2" fmla="*/ 127890 h 453057"/>
                <a:gd name="connsiteX3" fmla="*/ 640 w 159914"/>
                <a:gd name="connsiteY3" fmla="*/ 132881 h 453057"/>
                <a:gd name="connsiteX4" fmla="*/ 4962 w 159914"/>
                <a:gd name="connsiteY4" fmla="*/ 135403 h 453057"/>
                <a:gd name="connsiteX5" fmla="*/ 74992 w 159914"/>
                <a:gd name="connsiteY5" fmla="*/ 135403 h 453057"/>
                <a:gd name="connsiteX6" fmla="*/ 74992 w 159914"/>
                <a:gd name="connsiteY6" fmla="*/ 448092 h 453057"/>
                <a:gd name="connsiteX7" fmla="*/ 79957 w 159914"/>
                <a:gd name="connsiteY7" fmla="*/ 453057 h 453057"/>
                <a:gd name="connsiteX8" fmla="*/ 84923 w 159914"/>
                <a:gd name="connsiteY8" fmla="*/ 448092 h 453057"/>
                <a:gd name="connsiteX9" fmla="*/ 84923 w 159914"/>
                <a:gd name="connsiteY9" fmla="*/ 135403 h 453057"/>
                <a:gd name="connsiteX10" fmla="*/ 154953 w 159914"/>
                <a:gd name="connsiteY10" fmla="*/ 135403 h 453057"/>
                <a:gd name="connsiteX11" fmla="*/ 159275 w 159914"/>
                <a:gd name="connsiteY11" fmla="*/ 132881 h 453057"/>
                <a:gd name="connsiteX12" fmla="*/ 159223 w 159914"/>
                <a:gd name="connsiteY12" fmla="*/ 127890 h 453057"/>
                <a:gd name="connsiteX13" fmla="*/ 84203 w 159914"/>
                <a:gd name="connsiteY13" fmla="*/ 2161 h 453057"/>
                <a:gd name="connsiteX14" fmla="*/ 13684 w 159914"/>
                <a:gd name="connsiteY14" fmla="*/ 125472 h 453057"/>
                <a:gd name="connsiteX15" fmla="*/ 79932 w 159914"/>
                <a:gd name="connsiteY15" fmla="*/ 14382 h 453057"/>
                <a:gd name="connsiteX16" fmla="*/ 146180 w 159914"/>
                <a:gd name="connsiteY16" fmla="*/ 125472 h 453057"/>
                <a:gd name="connsiteX17" fmla="*/ 13684 w 159914"/>
                <a:gd name="connsiteY17" fmla="*/ 125472 h 453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914" h="453057">
                  <a:moveTo>
                    <a:pt x="84203" y="2161"/>
                  </a:moveTo>
                  <a:cubicBezTo>
                    <a:pt x="82479" y="-720"/>
                    <a:pt x="77385" y="-720"/>
                    <a:pt x="75687" y="2161"/>
                  </a:cubicBezTo>
                  <a:lnTo>
                    <a:pt x="692" y="127890"/>
                  </a:lnTo>
                  <a:cubicBezTo>
                    <a:pt x="-209" y="129408"/>
                    <a:pt x="-234" y="131338"/>
                    <a:pt x="640" y="132881"/>
                  </a:cubicBezTo>
                  <a:cubicBezTo>
                    <a:pt x="1515" y="134425"/>
                    <a:pt x="3162" y="135403"/>
                    <a:pt x="4962" y="135403"/>
                  </a:cubicBezTo>
                  <a:lnTo>
                    <a:pt x="74992" y="135403"/>
                  </a:lnTo>
                  <a:lnTo>
                    <a:pt x="74992" y="448092"/>
                  </a:lnTo>
                  <a:cubicBezTo>
                    <a:pt x="74992" y="450819"/>
                    <a:pt x="77230" y="453057"/>
                    <a:pt x="79957" y="453057"/>
                  </a:cubicBezTo>
                  <a:cubicBezTo>
                    <a:pt x="82685" y="453057"/>
                    <a:pt x="84923" y="450819"/>
                    <a:pt x="84923" y="448092"/>
                  </a:cubicBezTo>
                  <a:lnTo>
                    <a:pt x="84923" y="135403"/>
                  </a:lnTo>
                  <a:lnTo>
                    <a:pt x="154953" y="135403"/>
                  </a:lnTo>
                  <a:cubicBezTo>
                    <a:pt x="156728" y="135403"/>
                    <a:pt x="158400" y="134451"/>
                    <a:pt x="159275" y="132881"/>
                  </a:cubicBezTo>
                  <a:cubicBezTo>
                    <a:pt x="160149" y="131338"/>
                    <a:pt x="160124" y="129408"/>
                    <a:pt x="159223" y="127890"/>
                  </a:cubicBezTo>
                  <a:lnTo>
                    <a:pt x="84203" y="2161"/>
                  </a:lnTo>
                  <a:close/>
                  <a:moveTo>
                    <a:pt x="13684" y="125472"/>
                  </a:moveTo>
                  <a:lnTo>
                    <a:pt x="79932" y="14382"/>
                  </a:lnTo>
                  <a:lnTo>
                    <a:pt x="146180" y="125472"/>
                  </a:lnTo>
                  <a:lnTo>
                    <a:pt x="13684" y="125472"/>
                  </a:lnTo>
                  <a:close/>
                </a:path>
              </a:pathLst>
            </a:custGeom>
            <a:solidFill>
              <a:schemeClr val="accent1"/>
            </a:solidFill>
            <a:ln w="2571" cap="flat">
              <a:noFill/>
              <a:prstDash val="solid"/>
              <a:miter/>
            </a:ln>
          </p:spPr>
          <p:txBody>
            <a:bodyPr rtlCol="0" anchor="ctr"/>
            <a:lstStyle/>
            <a:p>
              <a:endParaRPr lang="en-GB" dirty="0"/>
            </a:p>
          </p:txBody>
        </p:sp>
      </p:grpSp>
      <p:grpSp>
        <p:nvGrpSpPr>
          <p:cNvPr id="24" name="Group 23">
            <a:extLst>
              <a:ext uri="{FF2B5EF4-FFF2-40B4-BE49-F238E27FC236}">
                <a16:creationId xmlns:a16="http://schemas.microsoft.com/office/drawing/2014/main" id="{6F393086-4B58-4ADE-BA29-9180C6FB3F06}"/>
              </a:ext>
            </a:extLst>
          </p:cNvPr>
          <p:cNvGrpSpPr/>
          <p:nvPr/>
        </p:nvGrpSpPr>
        <p:grpSpPr>
          <a:xfrm>
            <a:off x="566373" y="2391524"/>
            <a:ext cx="455335" cy="432005"/>
            <a:chOff x="566373" y="2391524"/>
            <a:chExt cx="455335" cy="432005"/>
          </a:xfrm>
        </p:grpSpPr>
        <p:sp>
          <p:nvSpPr>
            <p:cNvPr id="146" name="Freihandform: Form 1414">
              <a:extLst>
                <a:ext uri="{FF2B5EF4-FFF2-40B4-BE49-F238E27FC236}">
                  <a16:creationId xmlns:a16="http://schemas.microsoft.com/office/drawing/2014/main" id="{A3A498EC-D1A3-4550-9D69-7951A26FAE4C}"/>
                </a:ext>
              </a:extLst>
            </p:cNvPr>
            <p:cNvSpPr/>
            <p:nvPr/>
          </p:nvSpPr>
          <p:spPr>
            <a:xfrm>
              <a:off x="589716" y="2601673"/>
              <a:ext cx="17526" cy="221853"/>
            </a:xfrm>
            <a:custGeom>
              <a:avLst/>
              <a:gdLst>
                <a:gd name="connsiteX0" fmla="*/ 12899 w 19348"/>
                <a:gd name="connsiteY0" fmla="*/ 244921 h 244920"/>
                <a:gd name="connsiteX1" fmla="*/ 6449 w 19348"/>
                <a:gd name="connsiteY1" fmla="*/ 238471 h 244920"/>
                <a:gd name="connsiteX2" fmla="*/ 6449 w 19348"/>
                <a:gd name="connsiteY2" fmla="*/ 12899 h 244920"/>
                <a:gd name="connsiteX3" fmla="*/ 0 w 19348"/>
                <a:gd name="connsiteY3" fmla="*/ 6449 h 244920"/>
                <a:gd name="connsiteX4" fmla="*/ 6449 w 19348"/>
                <a:gd name="connsiteY4" fmla="*/ 0 h 244920"/>
                <a:gd name="connsiteX5" fmla="*/ 12899 w 19348"/>
                <a:gd name="connsiteY5" fmla="*/ 0 h 244920"/>
                <a:gd name="connsiteX6" fmla="*/ 19348 w 19348"/>
                <a:gd name="connsiteY6" fmla="*/ 6449 h 244920"/>
                <a:gd name="connsiteX7" fmla="*/ 19348 w 19348"/>
                <a:gd name="connsiteY7" fmla="*/ 238471 h 244920"/>
                <a:gd name="connsiteX8" fmla="*/ 12899 w 19348"/>
                <a:gd name="connsiteY8" fmla="*/ 244921 h 24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48" h="244920">
                  <a:moveTo>
                    <a:pt x="12899" y="244921"/>
                  </a:moveTo>
                  <a:cubicBezTo>
                    <a:pt x="9341" y="244921"/>
                    <a:pt x="6449" y="242029"/>
                    <a:pt x="6449" y="238471"/>
                  </a:cubicBezTo>
                  <a:lnTo>
                    <a:pt x="6449" y="12899"/>
                  </a:lnTo>
                  <a:cubicBezTo>
                    <a:pt x="2892" y="12899"/>
                    <a:pt x="0" y="10007"/>
                    <a:pt x="0" y="6449"/>
                  </a:cubicBezTo>
                  <a:cubicBezTo>
                    <a:pt x="0" y="2892"/>
                    <a:pt x="2892" y="0"/>
                    <a:pt x="6449" y="0"/>
                  </a:cubicBezTo>
                  <a:lnTo>
                    <a:pt x="12899" y="0"/>
                  </a:lnTo>
                  <a:cubicBezTo>
                    <a:pt x="16456" y="0"/>
                    <a:pt x="19348" y="2892"/>
                    <a:pt x="19348" y="6449"/>
                  </a:cubicBezTo>
                  <a:lnTo>
                    <a:pt x="19348" y="238471"/>
                  </a:lnTo>
                  <a:cubicBezTo>
                    <a:pt x="19348" y="242054"/>
                    <a:pt x="16482" y="244921"/>
                    <a:pt x="12899" y="244921"/>
                  </a:cubicBezTo>
                  <a:close/>
                </a:path>
              </a:pathLst>
            </a:custGeom>
            <a:solidFill>
              <a:schemeClr val="tx2"/>
            </a:solidFill>
            <a:ln w="2558" cap="flat">
              <a:noFill/>
              <a:prstDash val="solid"/>
              <a:miter/>
            </a:ln>
          </p:spPr>
          <p:txBody>
            <a:bodyPr rtlCol="0" anchor="ctr"/>
            <a:lstStyle/>
            <a:p>
              <a:endParaRPr lang="en-GB" dirty="0"/>
            </a:p>
          </p:txBody>
        </p:sp>
        <p:sp>
          <p:nvSpPr>
            <p:cNvPr id="147" name="Freihandform: Form 1415">
              <a:extLst>
                <a:ext uri="{FF2B5EF4-FFF2-40B4-BE49-F238E27FC236}">
                  <a16:creationId xmlns:a16="http://schemas.microsoft.com/office/drawing/2014/main" id="{382EBF19-A634-4A14-8E2B-523CF806CC54}"/>
                </a:ext>
              </a:extLst>
            </p:cNvPr>
            <p:cNvSpPr/>
            <p:nvPr/>
          </p:nvSpPr>
          <p:spPr>
            <a:xfrm>
              <a:off x="688959" y="2560826"/>
              <a:ext cx="58395" cy="262700"/>
            </a:xfrm>
            <a:custGeom>
              <a:avLst/>
              <a:gdLst>
                <a:gd name="connsiteX0" fmla="*/ 6449 w 64467"/>
                <a:gd name="connsiteY0" fmla="*/ 290015 h 290014"/>
                <a:gd name="connsiteX1" fmla="*/ 0 w 64467"/>
                <a:gd name="connsiteY1" fmla="*/ 283566 h 290014"/>
                <a:gd name="connsiteX2" fmla="*/ 0 w 64467"/>
                <a:gd name="connsiteY2" fmla="*/ 6449 h 290014"/>
                <a:gd name="connsiteX3" fmla="*/ 6449 w 64467"/>
                <a:gd name="connsiteY3" fmla="*/ 0 h 290014"/>
                <a:gd name="connsiteX4" fmla="*/ 58018 w 64467"/>
                <a:gd name="connsiteY4" fmla="*/ 0 h 290014"/>
                <a:gd name="connsiteX5" fmla="*/ 64467 w 64467"/>
                <a:gd name="connsiteY5" fmla="*/ 6449 h 290014"/>
                <a:gd name="connsiteX6" fmla="*/ 58018 w 64467"/>
                <a:gd name="connsiteY6" fmla="*/ 12899 h 290014"/>
                <a:gd name="connsiteX7" fmla="*/ 12898 w 64467"/>
                <a:gd name="connsiteY7" fmla="*/ 12899 h 290014"/>
                <a:gd name="connsiteX8" fmla="*/ 12898 w 64467"/>
                <a:gd name="connsiteY8" fmla="*/ 283566 h 290014"/>
                <a:gd name="connsiteX9" fmla="*/ 6449 w 64467"/>
                <a:gd name="connsiteY9" fmla="*/ 290015 h 2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467" h="290014">
                  <a:moveTo>
                    <a:pt x="6449" y="290015"/>
                  </a:moveTo>
                  <a:cubicBezTo>
                    <a:pt x="2892" y="290015"/>
                    <a:pt x="0" y="287123"/>
                    <a:pt x="0" y="283566"/>
                  </a:cubicBezTo>
                  <a:lnTo>
                    <a:pt x="0" y="6449"/>
                  </a:lnTo>
                  <a:cubicBezTo>
                    <a:pt x="0" y="2892"/>
                    <a:pt x="2892" y="0"/>
                    <a:pt x="6449" y="0"/>
                  </a:cubicBezTo>
                  <a:lnTo>
                    <a:pt x="58018" y="0"/>
                  </a:lnTo>
                  <a:cubicBezTo>
                    <a:pt x="61576" y="0"/>
                    <a:pt x="64467" y="2892"/>
                    <a:pt x="64467" y="6449"/>
                  </a:cubicBezTo>
                  <a:cubicBezTo>
                    <a:pt x="64467" y="10007"/>
                    <a:pt x="61576" y="12899"/>
                    <a:pt x="58018" y="12899"/>
                  </a:cubicBezTo>
                  <a:lnTo>
                    <a:pt x="12898" y="12899"/>
                  </a:lnTo>
                  <a:lnTo>
                    <a:pt x="12898" y="283566"/>
                  </a:lnTo>
                  <a:cubicBezTo>
                    <a:pt x="12898" y="287148"/>
                    <a:pt x="10032" y="290015"/>
                    <a:pt x="6449" y="290015"/>
                  </a:cubicBezTo>
                  <a:close/>
                </a:path>
              </a:pathLst>
            </a:custGeom>
            <a:solidFill>
              <a:schemeClr val="tx2"/>
            </a:solidFill>
            <a:ln w="2558" cap="flat">
              <a:noFill/>
              <a:prstDash val="solid"/>
              <a:miter/>
            </a:ln>
          </p:spPr>
          <p:txBody>
            <a:bodyPr rtlCol="0" anchor="ctr"/>
            <a:lstStyle/>
            <a:p>
              <a:endParaRPr lang="en-GB" dirty="0"/>
            </a:p>
          </p:txBody>
        </p:sp>
        <p:sp>
          <p:nvSpPr>
            <p:cNvPr id="148" name="Freihandform: Form 1416">
              <a:extLst>
                <a:ext uri="{FF2B5EF4-FFF2-40B4-BE49-F238E27FC236}">
                  <a16:creationId xmlns:a16="http://schemas.microsoft.com/office/drawing/2014/main" id="{0689B560-6620-42AC-97F3-04D9C8A8651D}"/>
                </a:ext>
              </a:extLst>
            </p:cNvPr>
            <p:cNvSpPr/>
            <p:nvPr/>
          </p:nvSpPr>
          <p:spPr>
            <a:xfrm>
              <a:off x="642272" y="2683413"/>
              <a:ext cx="11683" cy="140113"/>
            </a:xfrm>
            <a:custGeom>
              <a:avLst/>
              <a:gdLst>
                <a:gd name="connsiteX0" fmla="*/ 6449 w 12898"/>
                <a:gd name="connsiteY0" fmla="*/ 154681 h 154681"/>
                <a:gd name="connsiteX1" fmla="*/ 0 w 12898"/>
                <a:gd name="connsiteY1" fmla="*/ 148232 h 154681"/>
                <a:gd name="connsiteX2" fmla="*/ 0 w 12898"/>
                <a:gd name="connsiteY2" fmla="*/ 6449 h 154681"/>
                <a:gd name="connsiteX3" fmla="*/ 6449 w 12898"/>
                <a:gd name="connsiteY3" fmla="*/ 0 h 154681"/>
                <a:gd name="connsiteX4" fmla="*/ 12899 w 12898"/>
                <a:gd name="connsiteY4" fmla="*/ 6449 h 154681"/>
                <a:gd name="connsiteX5" fmla="*/ 12899 w 12898"/>
                <a:gd name="connsiteY5" fmla="*/ 148232 h 154681"/>
                <a:gd name="connsiteX6" fmla="*/ 6449 w 12898"/>
                <a:gd name="connsiteY6" fmla="*/ 154681 h 15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 h="154681">
                  <a:moveTo>
                    <a:pt x="6449" y="154681"/>
                  </a:moveTo>
                  <a:cubicBezTo>
                    <a:pt x="2892" y="154681"/>
                    <a:pt x="0" y="151789"/>
                    <a:pt x="0" y="148232"/>
                  </a:cubicBezTo>
                  <a:lnTo>
                    <a:pt x="0" y="6449"/>
                  </a:lnTo>
                  <a:cubicBezTo>
                    <a:pt x="0" y="2892"/>
                    <a:pt x="2892" y="0"/>
                    <a:pt x="6449" y="0"/>
                  </a:cubicBezTo>
                  <a:cubicBezTo>
                    <a:pt x="10007" y="0"/>
                    <a:pt x="12899" y="2892"/>
                    <a:pt x="12899" y="6449"/>
                  </a:cubicBezTo>
                  <a:lnTo>
                    <a:pt x="12899" y="148232"/>
                  </a:lnTo>
                  <a:cubicBezTo>
                    <a:pt x="12899" y="151815"/>
                    <a:pt x="10007" y="154681"/>
                    <a:pt x="6449" y="154681"/>
                  </a:cubicBezTo>
                  <a:close/>
                </a:path>
              </a:pathLst>
            </a:custGeom>
            <a:solidFill>
              <a:schemeClr val="tx2"/>
            </a:solidFill>
            <a:ln w="2558" cap="flat">
              <a:noFill/>
              <a:prstDash val="solid"/>
              <a:miter/>
            </a:ln>
          </p:spPr>
          <p:txBody>
            <a:bodyPr rtlCol="0" anchor="ctr"/>
            <a:lstStyle/>
            <a:p>
              <a:endParaRPr lang="en-GB" dirty="0"/>
            </a:p>
          </p:txBody>
        </p:sp>
        <p:sp>
          <p:nvSpPr>
            <p:cNvPr id="150" name="Freihandform: Form 1420">
              <a:extLst>
                <a:ext uri="{FF2B5EF4-FFF2-40B4-BE49-F238E27FC236}">
                  <a16:creationId xmlns:a16="http://schemas.microsoft.com/office/drawing/2014/main" id="{C8E52635-1776-467C-BE9F-D60A1A1F76E1}"/>
                </a:ext>
              </a:extLst>
            </p:cNvPr>
            <p:cNvSpPr/>
            <p:nvPr/>
          </p:nvSpPr>
          <p:spPr>
            <a:xfrm>
              <a:off x="980840" y="2601673"/>
              <a:ext cx="17526" cy="221853"/>
            </a:xfrm>
            <a:custGeom>
              <a:avLst/>
              <a:gdLst>
                <a:gd name="connsiteX0" fmla="*/ 6449 w 19348"/>
                <a:gd name="connsiteY0" fmla="*/ 244921 h 244920"/>
                <a:gd name="connsiteX1" fmla="*/ 0 w 19348"/>
                <a:gd name="connsiteY1" fmla="*/ 238471 h 244920"/>
                <a:gd name="connsiteX2" fmla="*/ 0 w 19348"/>
                <a:gd name="connsiteY2" fmla="*/ 6449 h 244920"/>
                <a:gd name="connsiteX3" fmla="*/ 6449 w 19348"/>
                <a:gd name="connsiteY3" fmla="*/ 0 h 244920"/>
                <a:gd name="connsiteX4" fmla="*/ 12899 w 19348"/>
                <a:gd name="connsiteY4" fmla="*/ 0 h 244920"/>
                <a:gd name="connsiteX5" fmla="*/ 19348 w 19348"/>
                <a:gd name="connsiteY5" fmla="*/ 6449 h 244920"/>
                <a:gd name="connsiteX6" fmla="*/ 12899 w 19348"/>
                <a:gd name="connsiteY6" fmla="*/ 12899 h 244920"/>
                <a:gd name="connsiteX7" fmla="*/ 12899 w 19348"/>
                <a:gd name="connsiteY7" fmla="*/ 238471 h 244920"/>
                <a:gd name="connsiteX8" fmla="*/ 6449 w 19348"/>
                <a:gd name="connsiteY8" fmla="*/ 244921 h 244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48" h="244920">
                  <a:moveTo>
                    <a:pt x="6449" y="244921"/>
                  </a:moveTo>
                  <a:cubicBezTo>
                    <a:pt x="2892" y="244921"/>
                    <a:pt x="0" y="242029"/>
                    <a:pt x="0" y="238471"/>
                  </a:cubicBezTo>
                  <a:lnTo>
                    <a:pt x="0" y="6449"/>
                  </a:lnTo>
                  <a:cubicBezTo>
                    <a:pt x="0" y="2892"/>
                    <a:pt x="2892" y="0"/>
                    <a:pt x="6449" y="0"/>
                  </a:cubicBezTo>
                  <a:lnTo>
                    <a:pt x="12899" y="0"/>
                  </a:lnTo>
                  <a:cubicBezTo>
                    <a:pt x="16456" y="0"/>
                    <a:pt x="19348" y="2892"/>
                    <a:pt x="19348" y="6449"/>
                  </a:cubicBezTo>
                  <a:cubicBezTo>
                    <a:pt x="19348" y="10007"/>
                    <a:pt x="16456" y="12899"/>
                    <a:pt x="12899" y="12899"/>
                  </a:cubicBezTo>
                  <a:lnTo>
                    <a:pt x="12899" y="238471"/>
                  </a:lnTo>
                  <a:cubicBezTo>
                    <a:pt x="12899" y="242054"/>
                    <a:pt x="10032" y="244921"/>
                    <a:pt x="6449" y="244921"/>
                  </a:cubicBezTo>
                  <a:close/>
                </a:path>
              </a:pathLst>
            </a:custGeom>
            <a:solidFill>
              <a:schemeClr val="tx2"/>
            </a:solidFill>
            <a:ln w="2558" cap="flat">
              <a:noFill/>
              <a:prstDash val="solid"/>
              <a:miter/>
            </a:ln>
          </p:spPr>
          <p:txBody>
            <a:bodyPr rtlCol="0" anchor="ctr"/>
            <a:lstStyle/>
            <a:p>
              <a:endParaRPr lang="en-GB" dirty="0"/>
            </a:p>
          </p:txBody>
        </p:sp>
        <p:sp>
          <p:nvSpPr>
            <p:cNvPr id="151" name="Freihandform: Form 1421">
              <a:extLst>
                <a:ext uri="{FF2B5EF4-FFF2-40B4-BE49-F238E27FC236}">
                  <a16:creationId xmlns:a16="http://schemas.microsoft.com/office/drawing/2014/main" id="{714D6D3E-4C47-4046-8163-96B6D3197AC9}"/>
                </a:ext>
              </a:extLst>
            </p:cNvPr>
            <p:cNvSpPr/>
            <p:nvPr/>
          </p:nvSpPr>
          <p:spPr>
            <a:xfrm>
              <a:off x="840727" y="2560826"/>
              <a:ext cx="58394" cy="262700"/>
            </a:xfrm>
            <a:custGeom>
              <a:avLst/>
              <a:gdLst>
                <a:gd name="connsiteX0" fmla="*/ 58018 w 64467"/>
                <a:gd name="connsiteY0" fmla="*/ 290015 h 290014"/>
                <a:gd name="connsiteX1" fmla="*/ 51569 w 64467"/>
                <a:gd name="connsiteY1" fmla="*/ 283566 h 290014"/>
                <a:gd name="connsiteX2" fmla="*/ 51569 w 64467"/>
                <a:gd name="connsiteY2" fmla="*/ 12899 h 290014"/>
                <a:gd name="connsiteX3" fmla="*/ 6449 w 64467"/>
                <a:gd name="connsiteY3" fmla="*/ 12899 h 290014"/>
                <a:gd name="connsiteX4" fmla="*/ 0 w 64467"/>
                <a:gd name="connsiteY4" fmla="*/ 6449 h 290014"/>
                <a:gd name="connsiteX5" fmla="*/ 6449 w 64467"/>
                <a:gd name="connsiteY5" fmla="*/ 0 h 290014"/>
                <a:gd name="connsiteX6" fmla="*/ 58018 w 64467"/>
                <a:gd name="connsiteY6" fmla="*/ 0 h 290014"/>
                <a:gd name="connsiteX7" fmla="*/ 64467 w 64467"/>
                <a:gd name="connsiteY7" fmla="*/ 6449 h 290014"/>
                <a:gd name="connsiteX8" fmla="*/ 64467 w 64467"/>
                <a:gd name="connsiteY8" fmla="*/ 283566 h 290014"/>
                <a:gd name="connsiteX9" fmla="*/ 58018 w 64467"/>
                <a:gd name="connsiteY9" fmla="*/ 290015 h 29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467" h="290014">
                  <a:moveTo>
                    <a:pt x="58018" y="290015"/>
                  </a:moveTo>
                  <a:cubicBezTo>
                    <a:pt x="54461" y="290015"/>
                    <a:pt x="51569" y="287123"/>
                    <a:pt x="51569" y="283566"/>
                  </a:cubicBezTo>
                  <a:lnTo>
                    <a:pt x="51569" y="12899"/>
                  </a:lnTo>
                  <a:lnTo>
                    <a:pt x="6449" y="12899"/>
                  </a:lnTo>
                  <a:cubicBezTo>
                    <a:pt x="2892" y="12899"/>
                    <a:pt x="0" y="10007"/>
                    <a:pt x="0" y="6449"/>
                  </a:cubicBezTo>
                  <a:cubicBezTo>
                    <a:pt x="0" y="2892"/>
                    <a:pt x="2892" y="0"/>
                    <a:pt x="6449" y="0"/>
                  </a:cubicBezTo>
                  <a:lnTo>
                    <a:pt x="58018" y="0"/>
                  </a:lnTo>
                  <a:cubicBezTo>
                    <a:pt x="61576" y="0"/>
                    <a:pt x="64467" y="2892"/>
                    <a:pt x="64467" y="6449"/>
                  </a:cubicBezTo>
                  <a:lnTo>
                    <a:pt x="64467" y="283566"/>
                  </a:lnTo>
                  <a:cubicBezTo>
                    <a:pt x="64467" y="287148"/>
                    <a:pt x="61601" y="290015"/>
                    <a:pt x="58018" y="290015"/>
                  </a:cubicBezTo>
                  <a:close/>
                </a:path>
              </a:pathLst>
            </a:custGeom>
            <a:solidFill>
              <a:schemeClr val="tx2"/>
            </a:solidFill>
            <a:ln w="2558" cap="flat">
              <a:noFill/>
              <a:prstDash val="solid"/>
              <a:miter/>
            </a:ln>
          </p:spPr>
          <p:txBody>
            <a:bodyPr rtlCol="0" anchor="ctr"/>
            <a:lstStyle/>
            <a:p>
              <a:endParaRPr lang="en-GB" dirty="0"/>
            </a:p>
          </p:txBody>
        </p:sp>
        <p:sp>
          <p:nvSpPr>
            <p:cNvPr id="152" name="Freihandform: Form 1422">
              <a:extLst>
                <a:ext uri="{FF2B5EF4-FFF2-40B4-BE49-F238E27FC236}">
                  <a16:creationId xmlns:a16="http://schemas.microsoft.com/office/drawing/2014/main" id="{D5E5A6C6-29D6-4CBA-8B94-2EC3F591CE8C}"/>
                </a:ext>
              </a:extLst>
            </p:cNvPr>
            <p:cNvSpPr/>
            <p:nvPr/>
          </p:nvSpPr>
          <p:spPr>
            <a:xfrm>
              <a:off x="934152" y="2683413"/>
              <a:ext cx="11683" cy="140113"/>
            </a:xfrm>
            <a:custGeom>
              <a:avLst/>
              <a:gdLst>
                <a:gd name="connsiteX0" fmla="*/ 6449 w 12898"/>
                <a:gd name="connsiteY0" fmla="*/ 154681 h 154681"/>
                <a:gd name="connsiteX1" fmla="*/ 0 w 12898"/>
                <a:gd name="connsiteY1" fmla="*/ 148232 h 154681"/>
                <a:gd name="connsiteX2" fmla="*/ 0 w 12898"/>
                <a:gd name="connsiteY2" fmla="*/ 6449 h 154681"/>
                <a:gd name="connsiteX3" fmla="*/ 6449 w 12898"/>
                <a:gd name="connsiteY3" fmla="*/ 0 h 154681"/>
                <a:gd name="connsiteX4" fmla="*/ 12898 w 12898"/>
                <a:gd name="connsiteY4" fmla="*/ 6449 h 154681"/>
                <a:gd name="connsiteX5" fmla="*/ 12898 w 12898"/>
                <a:gd name="connsiteY5" fmla="*/ 148232 h 154681"/>
                <a:gd name="connsiteX6" fmla="*/ 6449 w 12898"/>
                <a:gd name="connsiteY6" fmla="*/ 154681 h 154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 h="154681">
                  <a:moveTo>
                    <a:pt x="6449" y="154681"/>
                  </a:moveTo>
                  <a:cubicBezTo>
                    <a:pt x="2892" y="154681"/>
                    <a:pt x="0" y="151789"/>
                    <a:pt x="0" y="148232"/>
                  </a:cubicBezTo>
                  <a:lnTo>
                    <a:pt x="0" y="6449"/>
                  </a:lnTo>
                  <a:cubicBezTo>
                    <a:pt x="0" y="2892"/>
                    <a:pt x="2892" y="0"/>
                    <a:pt x="6449" y="0"/>
                  </a:cubicBezTo>
                  <a:cubicBezTo>
                    <a:pt x="10006" y="0"/>
                    <a:pt x="12898" y="2892"/>
                    <a:pt x="12898" y="6449"/>
                  </a:cubicBezTo>
                  <a:lnTo>
                    <a:pt x="12898" y="148232"/>
                  </a:lnTo>
                  <a:cubicBezTo>
                    <a:pt x="12898" y="151815"/>
                    <a:pt x="10006" y="154681"/>
                    <a:pt x="6449" y="154681"/>
                  </a:cubicBezTo>
                  <a:close/>
                </a:path>
              </a:pathLst>
            </a:custGeom>
            <a:solidFill>
              <a:schemeClr val="tx2"/>
            </a:solidFill>
            <a:ln w="2558" cap="flat">
              <a:noFill/>
              <a:prstDash val="solid"/>
              <a:miter/>
            </a:ln>
          </p:spPr>
          <p:txBody>
            <a:bodyPr rtlCol="0" anchor="ctr"/>
            <a:lstStyle/>
            <a:p>
              <a:endParaRPr lang="en-GB" dirty="0"/>
            </a:p>
          </p:txBody>
        </p:sp>
        <p:sp>
          <p:nvSpPr>
            <p:cNvPr id="153" name="Freihandform: Form 1409">
              <a:extLst>
                <a:ext uri="{FF2B5EF4-FFF2-40B4-BE49-F238E27FC236}">
                  <a16:creationId xmlns:a16="http://schemas.microsoft.com/office/drawing/2014/main" id="{EB07BFE0-6B85-4098-83DD-08B18C49A0D8}"/>
                </a:ext>
              </a:extLst>
            </p:cNvPr>
            <p:cNvSpPr/>
            <p:nvPr/>
          </p:nvSpPr>
          <p:spPr>
            <a:xfrm>
              <a:off x="788196" y="2671732"/>
              <a:ext cx="11683" cy="151797"/>
            </a:xfrm>
            <a:custGeom>
              <a:avLst/>
              <a:gdLst>
                <a:gd name="connsiteX0" fmla="*/ 6449 w 12898"/>
                <a:gd name="connsiteY0" fmla="*/ 167580 h 167579"/>
                <a:gd name="connsiteX1" fmla="*/ 0 w 12898"/>
                <a:gd name="connsiteY1" fmla="*/ 161131 h 167579"/>
                <a:gd name="connsiteX2" fmla="*/ 0 w 12898"/>
                <a:gd name="connsiteY2" fmla="*/ 6449 h 167579"/>
                <a:gd name="connsiteX3" fmla="*/ 6449 w 12898"/>
                <a:gd name="connsiteY3" fmla="*/ 0 h 167579"/>
                <a:gd name="connsiteX4" fmla="*/ 12899 w 12898"/>
                <a:gd name="connsiteY4" fmla="*/ 6449 h 167579"/>
                <a:gd name="connsiteX5" fmla="*/ 12899 w 12898"/>
                <a:gd name="connsiteY5" fmla="*/ 161131 h 167579"/>
                <a:gd name="connsiteX6" fmla="*/ 6449 w 12898"/>
                <a:gd name="connsiteY6" fmla="*/ 167580 h 167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 h="167579">
                  <a:moveTo>
                    <a:pt x="6449" y="167580"/>
                  </a:moveTo>
                  <a:cubicBezTo>
                    <a:pt x="2892" y="167580"/>
                    <a:pt x="0" y="164688"/>
                    <a:pt x="0" y="161131"/>
                  </a:cubicBezTo>
                  <a:lnTo>
                    <a:pt x="0" y="6449"/>
                  </a:lnTo>
                  <a:cubicBezTo>
                    <a:pt x="0" y="2892"/>
                    <a:pt x="2892" y="0"/>
                    <a:pt x="6449" y="0"/>
                  </a:cubicBezTo>
                  <a:cubicBezTo>
                    <a:pt x="10007" y="0"/>
                    <a:pt x="12899" y="2892"/>
                    <a:pt x="12899" y="6449"/>
                  </a:cubicBezTo>
                  <a:lnTo>
                    <a:pt x="12899" y="161131"/>
                  </a:lnTo>
                  <a:cubicBezTo>
                    <a:pt x="12899" y="164714"/>
                    <a:pt x="10032" y="167580"/>
                    <a:pt x="6449" y="167580"/>
                  </a:cubicBezTo>
                  <a:close/>
                </a:path>
              </a:pathLst>
            </a:custGeom>
            <a:solidFill>
              <a:schemeClr val="accent1"/>
            </a:solidFill>
            <a:ln w="2558" cap="flat">
              <a:noFill/>
              <a:prstDash val="solid"/>
              <a:miter/>
            </a:ln>
          </p:spPr>
          <p:txBody>
            <a:bodyPr rtlCol="0" anchor="ctr"/>
            <a:lstStyle/>
            <a:p>
              <a:endParaRPr lang="en-GB" dirty="0"/>
            </a:p>
          </p:txBody>
        </p:sp>
        <p:sp>
          <p:nvSpPr>
            <p:cNvPr id="154" name="Freihandform: Form 1410">
              <a:extLst>
                <a:ext uri="{FF2B5EF4-FFF2-40B4-BE49-F238E27FC236}">
                  <a16:creationId xmlns:a16="http://schemas.microsoft.com/office/drawing/2014/main" id="{2FBC03CC-3116-4E87-B807-F5FD8182539A}"/>
                </a:ext>
              </a:extLst>
            </p:cNvPr>
            <p:cNvSpPr/>
            <p:nvPr/>
          </p:nvSpPr>
          <p:spPr>
            <a:xfrm>
              <a:off x="659767" y="2496613"/>
              <a:ext cx="268543" cy="11683"/>
            </a:xfrm>
            <a:custGeom>
              <a:avLst/>
              <a:gdLst>
                <a:gd name="connsiteX0" fmla="*/ 290015 w 296464"/>
                <a:gd name="connsiteY0" fmla="*/ 12899 h 12898"/>
                <a:gd name="connsiteX1" fmla="*/ 6449 w 296464"/>
                <a:gd name="connsiteY1" fmla="*/ 12899 h 12898"/>
                <a:gd name="connsiteX2" fmla="*/ 0 w 296464"/>
                <a:gd name="connsiteY2" fmla="*/ 6449 h 12898"/>
                <a:gd name="connsiteX3" fmla="*/ 6449 w 296464"/>
                <a:gd name="connsiteY3" fmla="*/ 0 h 12898"/>
                <a:gd name="connsiteX4" fmla="*/ 290015 w 296464"/>
                <a:gd name="connsiteY4" fmla="*/ 0 h 12898"/>
                <a:gd name="connsiteX5" fmla="*/ 296464 w 296464"/>
                <a:gd name="connsiteY5" fmla="*/ 6449 h 12898"/>
                <a:gd name="connsiteX6" fmla="*/ 290015 w 296464"/>
                <a:gd name="connsiteY6" fmla="*/ 12899 h 1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464" h="12898">
                  <a:moveTo>
                    <a:pt x="290015" y="12899"/>
                  </a:moveTo>
                  <a:lnTo>
                    <a:pt x="6449" y="12899"/>
                  </a:lnTo>
                  <a:cubicBezTo>
                    <a:pt x="2892" y="12899"/>
                    <a:pt x="0" y="10007"/>
                    <a:pt x="0" y="6449"/>
                  </a:cubicBezTo>
                  <a:cubicBezTo>
                    <a:pt x="0" y="2892"/>
                    <a:pt x="2892" y="0"/>
                    <a:pt x="6449" y="0"/>
                  </a:cubicBezTo>
                  <a:lnTo>
                    <a:pt x="290015" y="0"/>
                  </a:lnTo>
                  <a:cubicBezTo>
                    <a:pt x="293572" y="0"/>
                    <a:pt x="296464" y="2892"/>
                    <a:pt x="296464" y="6449"/>
                  </a:cubicBezTo>
                  <a:cubicBezTo>
                    <a:pt x="296464" y="10007"/>
                    <a:pt x="293598" y="12899"/>
                    <a:pt x="290015" y="12899"/>
                  </a:cubicBezTo>
                  <a:close/>
                </a:path>
              </a:pathLst>
            </a:custGeom>
            <a:solidFill>
              <a:schemeClr val="accent1"/>
            </a:solidFill>
            <a:ln w="2558" cap="flat">
              <a:noFill/>
              <a:prstDash val="solid"/>
              <a:miter/>
            </a:ln>
          </p:spPr>
          <p:txBody>
            <a:bodyPr rtlCol="0" anchor="ctr"/>
            <a:lstStyle/>
            <a:p>
              <a:endParaRPr lang="en-GB" dirty="0"/>
            </a:p>
          </p:txBody>
        </p:sp>
        <p:sp>
          <p:nvSpPr>
            <p:cNvPr id="155" name="Freihandform: Form 1411">
              <a:extLst>
                <a:ext uri="{FF2B5EF4-FFF2-40B4-BE49-F238E27FC236}">
                  <a16:creationId xmlns:a16="http://schemas.microsoft.com/office/drawing/2014/main" id="{FDFB9FAE-DCB4-4FC4-9FDA-0ABE72368209}"/>
                </a:ext>
              </a:extLst>
            </p:cNvPr>
            <p:cNvSpPr/>
            <p:nvPr/>
          </p:nvSpPr>
          <p:spPr>
            <a:xfrm>
              <a:off x="753167" y="2391524"/>
              <a:ext cx="81740" cy="93424"/>
            </a:xfrm>
            <a:custGeom>
              <a:avLst/>
              <a:gdLst>
                <a:gd name="connsiteX0" fmla="*/ 45120 w 90239"/>
                <a:gd name="connsiteY0" fmla="*/ 103138 h 103138"/>
                <a:gd name="connsiteX1" fmla="*/ 0 w 90239"/>
                <a:gd name="connsiteY1" fmla="*/ 51569 h 103138"/>
                <a:gd name="connsiteX2" fmla="*/ 45120 w 90239"/>
                <a:gd name="connsiteY2" fmla="*/ 0 h 103138"/>
                <a:gd name="connsiteX3" fmla="*/ 90239 w 90239"/>
                <a:gd name="connsiteY3" fmla="*/ 51569 h 103138"/>
                <a:gd name="connsiteX4" fmla="*/ 45120 w 90239"/>
                <a:gd name="connsiteY4" fmla="*/ 103138 h 103138"/>
                <a:gd name="connsiteX5" fmla="*/ 45120 w 90239"/>
                <a:gd name="connsiteY5" fmla="*/ 12899 h 103138"/>
                <a:gd name="connsiteX6" fmla="*/ 12899 w 90239"/>
                <a:gd name="connsiteY6" fmla="*/ 51569 h 103138"/>
                <a:gd name="connsiteX7" fmla="*/ 45120 w 90239"/>
                <a:gd name="connsiteY7" fmla="*/ 90239 h 103138"/>
                <a:gd name="connsiteX8" fmla="*/ 77341 w 90239"/>
                <a:gd name="connsiteY8" fmla="*/ 51569 h 103138"/>
                <a:gd name="connsiteX9" fmla="*/ 45120 w 90239"/>
                <a:gd name="connsiteY9" fmla="*/ 12899 h 103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39" h="103138">
                  <a:moveTo>
                    <a:pt x="45120" y="103138"/>
                  </a:moveTo>
                  <a:cubicBezTo>
                    <a:pt x="18145" y="103138"/>
                    <a:pt x="0" y="82408"/>
                    <a:pt x="0" y="51569"/>
                  </a:cubicBezTo>
                  <a:cubicBezTo>
                    <a:pt x="0" y="20730"/>
                    <a:pt x="18120" y="0"/>
                    <a:pt x="45120" y="0"/>
                  </a:cubicBezTo>
                  <a:cubicBezTo>
                    <a:pt x="72094" y="0"/>
                    <a:pt x="90239" y="20730"/>
                    <a:pt x="90239" y="51569"/>
                  </a:cubicBezTo>
                  <a:cubicBezTo>
                    <a:pt x="90239" y="82408"/>
                    <a:pt x="72120" y="103138"/>
                    <a:pt x="45120" y="103138"/>
                  </a:cubicBezTo>
                  <a:close/>
                  <a:moveTo>
                    <a:pt x="45120" y="12899"/>
                  </a:moveTo>
                  <a:cubicBezTo>
                    <a:pt x="21344" y="12899"/>
                    <a:pt x="12899" y="33731"/>
                    <a:pt x="12899" y="51569"/>
                  </a:cubicBezTo>
                  <a:cubicBezTo>
                    <a:pt x="12899" y="69407"/>
                    <a:pt x="21344" y="90239"/>
                    <a:pt x="45120" y="90239"/>
                  </a:cubicBezTo>
                  <a:cubicBezTo>
                    <a:pt x="68895" y="90239"/>
                    <a:pt x="77341" y="69407"/>
                    <a:pt x="77341" y="51569"/>
                  </a:cubicBezTo>
                  <a:cubicBezTo>
                    <a:pt x="77341" y="33731"/>
                    <a:pt x="68921" y="12899"/>
                    <a:pt x="45120" y="12899"/>
                  </a:cubicBezTo>
                  <a:close/>
                </a:path>
              </a:pathLst>
            </a:custGeom>
            <a:solidFill>
              <a:schemeClr val="accent1"/>
            </a:solidFill>
            <a:ln w="2558" cap="flat">
              <a:noFill/>
              <a:prstDash val="solid"/>
              <a:miter/>
            </a:ln>
          </p:spPr>
          <p:txBody>
            <a:bodyPr rtlCol="0" anchor="ctr"/>
            <a:lstStyle/>
            <a:p>
              <a:endParaRPr lang="en-GB" dirty="0"/>
            </a:p>
          </p:txBody>
        </p:sp>
        <p:sp>
          <p:nvSpPr>
            <p:cNvPr id="156" name="Freihandform: Form 1408">
              <a:extLst>
                <a:ext uri="{FF2B5EF4-FFF2-40B4-BE49-F238E27FC236}">
                  <a16:creationId xmlns:a16="http://schemas.microsoft.com/office/drawing/2014/main" id="{D73EC813-C988-433C-B695-67CCE3D56FA9}"/>
                </a:ext>
              </a:extLst>
            </p:cNvPr>
            <p:cNvSpPr/>
            <p:nvPr/>
          </p:nvSpPr>
          <p:spPr>
            <a:xfrm>
              <a:off x="840750" y="2525797"/>
              <a:ext cx="105084" cy="297729"/>
            </a:xfrm>
            <a:custGeom>
              <a:avLst/>
              <a:gdLst>
                <a:gd name="connsiteX0" fmla="*/ 6449 w 116010"/>
                <a:gd name="connsiteY0" fmla="*/ 328685 h 328684"/>
                <a:gd name="connsiteX1" fmla="*/ 0 w 116010"/>
                <a:gd name="connsiteY1" fmla="*/ 322236 h 328684"/>
                <a:gd name="connsiteX2" fmla="*/ 0 w 116010"/>
                <a:gd name="connsiteY2" fmla="*/ 6449 h 328684"/>
                <a:gd name="connsiteX3" fmla="*/ 6449 w 116010"/>
                <a:gd name="connsiteY3" fmla="*/ 0 h 328684"/>
                <a:gd name="connsiteX4" fmla="*/ 109562 w 116010"/>
                <a:gd name="connsiteY4" fmla="*/ 0 h 328684"/>
                <a:gd name="connsiteX5" fmla="*/ 116011 w 116010"/>
                <a:gd name="connsiteY5" fmla="*/ 6449 h 328684"/>
                <a:gd name="connsiteX6" fmla="*/ 109562 w 116010"/>
                <a:gd name="connsiteY6" fmla="*/ 12899 h 328684"/>
                <a:gd name="connsiteX7" fmla="*/ 12899 w 116010"/>
                <a:gd name="connsiteY7" fmla="*/ 12899 h 328684"/>
                <a:gd name="connsiteX8" fmla="*/ 12899 w 116010"/>
                <a:gd name="connsiteY8" fmla="*/ 322236 h 328684"/>
                <a:gd name="connsiteX9" fmla="*/ 6449 w 116010"/>
                <a:gd name="connsiteY9" fmla="*/ 328685 h 32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010" h="328684">
                  <a:moveTo>
                    <a:pt x="6449" y="328685"/>
                  </a:moveTo>
                  <a:cubicBezTo>
                    <a:pt x="2892" y="328685"/>
                    <a:pt x="0" y="325793"/>
                    <a:pt x="0" y="322236"/>
                  </a:cubicBezTo>
                  <a:lnTo>
                    <a:pt x="0" y="6449"/>
                  </a:lnTo>
                  <a:cubicBezTo>
                    <a:pt x="0" y="2892"/>
                    <a:pt x="2892" y="0"/>
                    <a:pt x="6449" y="0"/>
                  </a:cubicBezTo>
                  <a:lnTo>
                    <a:pt x="109562" y="0"/>
                  </a:lnTo>
                  <a:cubicBezTo>
                    <a:pt x="113119" y="0"/>
                    <a:pt x="116011" y="2892"/>
                    <a:pt x="116011" y="6449"/>
                  </a:cubicBezTo>
                  <a:cubicBezTo>
                    <a:pt x="116011" y="10007"/>
                    <a:pt x="113119" y="12899"/>
                    <a:pt x="109562" y="12899"/>
                  </a:cubicBezTo>
                  <a:lnTo>
                    <a:pt x="12899" y="12899"/>
                  </a:lnTo>
                  <a:lnTo>
                    <a:pt x="12899" y="322236"/>
                  </a:lnTo>
                  <a:cubicBezTo>
                    <a:pt x="12899" y="325819"/>
                    <a:pt x="10007" y="328685"/>
                    <a:pt x="6449" y="328685"/>
                  </a:cubicBezTo>
                  <a:close/>
                </a:path>
              </a:pathLst>
            </a:custGeom>
            <a:solidFill>
              <a:schemeClr val="accent1"/>
            </a:solidFill>
            <a:ln w="2558" cap="flat">
              <a:noFill/>
              <a:prstDash val="solid"/>
              <a:miter/>
            </a:ln>
          </p:spPr>
          <p:txBody>
            <a:bodyPr rtlCol="0" anchor="ctr"/>
            <a:lstStyle/>
            <a:p>
              <a:endParaRPr lang="en-GB" dirty="0"/>
            </a:p>
          </p:txBody>
        </p:sp>
        <p:sp>
          <p:nvSpPr>
            <p:cNvPr id="157" name="Freihandform: Form 1407">
              <a:extLst>
                <a:ext uri="{FF2B5EF4-FFF2-40B4-BE49-F238E27FC236}">
                  <a16:creationId xmlns:a16="http://schemas.microsoft.com/office/drawing/2014/main" id="{8C9FD236-C0DB-48AC-BE55-F7E792BBE469}"/>
                </a:ext>
              </a:extLst>
            </p:cNvPr>
            <p:cNvSpPr/>
            <p:nvPr/>
          </p:nvSpPr>
          <p:spPr>
            <a:xfrm>
              <a:off x="735665" y="2525798"/>
              <a:ext cx="11683" cy="297729"/>
            </a:xfrm>
            <a:custGeom>
              <a:avLst/>
              <a:gdLst>
                <a:gd name="connsiteX0" fmla="*/ 6449 w 12898"/>
                <a:gd name="connsiteY0" fmla="*/ 328685 h 328684"/>
                <a:gd name="connsiteX1" fmla="*/ 0 w 12898"/>
                <a:gd name="connsiteY1" fmla="*/ 322236 h 328684"/>
                <a:gd name="connsiteX2" fmla="*/ 0 w 12898"/>
                <a:gd name="connsiteY2" fmla="*/ 6449 h 328684"/>
                <a:gd name="connsiteX3" fmla="*/ 6449 w 12898"/>
                <a:gd name="connsiteY3" fmla="*/ 0 h 328684"/>
                <a:gd name="connsiteX4" fmla="*/ 12898 w 12898"/>
                <a:gd name="connsiteY4" fmla="*/ 6449 h 328684"/>
                <a:gd name="connsiteX5" fmla="*/ 12898 w 12898"/>
                <a:gd name="connsiteY5" fmla="*/ 322236 h 328684"/>
                <a:gd name="connsiteX6" fmla="*/ 6449 w 12898"/>
                <a:gd name="connsiteY6" fmla="*/ 328685 h 32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898" h="328684">
                  <a:moveTo>
                    <a:pt x="6449" y="328685"/>
                  </a:moveTo>
                  <a:cubicBezTo>
                    <a:pt x="2892" y="328685"/>
                    <a:pt x="0" y="325793"/>
                    <a:pt x="0" y="322236"/>
                  </a:cubicBezTo>
                  <a:lnTo>
                    <a:pt x="0" y="6449"/>
                  </a:lnTo>
                  <a:cubicBezTo>
                    <a:pt x="0" y="2892"/>
                    <a:pt x="2892" y="0"/>
                    <a:pt x="6449" y="0"/>
                  </a:cubicBezTo>
                  <a:cubicBezTo>
                    <a:pt x="10006" y="0"/>
                    <a:pt x="12898" y="2892"/>
                    <a:pt x="12898" y="6449"/>
                  </a:cubicBezTo>
                  <a:lnTo>
                    <a:pt x="12898" y="322236"/>
                  </a:lnTo>
                  <a:cubicBezTo>
                    <a:pt x="12898" y="325819"/>
                    <a:pt x="10006" y="328685"/>
                    <a:pt x="6449" y="328685"/>
                  </a:cubicBezTo>
                  <a:close/>
                </a:path>
              </a:pathLst>
            </a:custGeom>
            <a:solidFill>
              <a:schemeClr val="accent1"/>
            </a:solidFill>
            <a:ln w="2558" cap="flat">
              <a:noFill/>
              <a:prstDash val="solid"/>
              <a:miter/>
            </a:ln>
          </p:spPr>
          <p:txBody>
            <a:bodyPr rtlCol="0" anchor="ctr"/>
            <a:lstStyle/>
            <a:p>
              <a:endParaRPr lang="en-GB" dirty="0"/>
            </a:p>
          </p:txBody>
        </p:sp>
        <p:sp>
          <p:nvSpPr>
            <p:cNvPr id="158" name="Freihandform: Form 1417">
              <a:extLst>
                <a:ext uri="{FF2B5EF4-FFF2-40B4-BE49-F238E27FC236}">
                  <a16:creationId xmlns:a16="http://schemas.microsoft.com/office/drawing/2014/main" id="{45FF1D75-8435-4337-B680-B8036A80A9C9}"/>
                </a:ext>
              </a:extLst>
            </p:cNvPr>
            <p:cNvSpPr/>
            <p:nvPr/>
          </p:nvSpPr>
          <p:spPr>
            <a:xfrm>
              <a:off x="613084" y="2432404"/>
              <a:ext cx="70056" cy="81740"/>
            </a:xfrm>
            <a:custGeom>
              <a:avLst/>
              <a:gdLst>
                <a:gd name="connsiteX0" fmla="*/ 38670 w 77340"/>
                <a:gd name="connsiteY0" fmla="*/ 90239 h 90239"/>
                <a:gd name="connsiteX1" fmla="*/ 0 w 77340"/>
                <a:gd name="connsiteY1" fmla="*/ 45120 h 90239"/>
                <a:gd name="connsiteX2" fmla="*/ 38670 w 77340"/>
                <a:gd name="connsiteY2" fmla="*/ 0 h 90239"/>
                <a:gd name="connsiteX3" fmla="*/ 77341 w 77340"/>
                <a:gd name="connsiteY3" fmla="*/ 45120 h 90239"/>
                <a:gd name="connsiteX4" fmla="*/ 38670 w 77340"/>
                <a:gd name="connsiteY4" fmla="*/ 90239 h 90239"/>
                <a:gd name="connsiteX5" fmla="*/ 38670 w 77340"/>
                <a:gd name="connsiteY5" fmla="*/ 12899 h 90239"/>
                <a:gd name="connsiteX6" fmla="*/ 12899 w 77340"/>
                <a:gd name="connsiteY6" fmla="*/ 45120 h 90239"/>
                <a:gd name="connsiteX7" fmla="*/ 38670 w 77340"/>
                <a:gd name="connsiteY7" fmla="*/ 77341 h 90239"/>
                <a:gd name="connsiteX8" fmla="*/ 64442 w 77340"/>
                <a:gd name="connsiteY8" fmla="*/ 45120 h 90239"/>
                <a:gd name="connsiteX9" fmla="*/ 38670 w 77340"/>
                <a:gd name="connsiteY9" fmla="*/ 12899 h 9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340" h="90239">
                  <a:moveTo>
                    <a:pt x="38670" y="90239"/>
                  </a:moveTo>
                  <a:cubicBezTo>
                    <a:pt x="15535" y="90239"/>
                    <a:pt x="0" y="72120"/>
                    <a:pt x="0" y="45120"/>
                  </a:cubicBezTo>
                  <a:cubicBezTo>
                    <a:pt x="0" y="18145"/>
                    <a:pt x="15535" y="0"/>
                    <a:pt x="38670" y="0"/>
                  </a:cubicBezTo>
                  <a:cubicBezTo>
                    <a:pt x="61806" y="0"/>
                    <a:pt x="77341" y="18120"/>
                    <a:pt x="77341" y="45120"/>
                  </a:cubicBezTo>
                  <a:cubicBezTo>
                    <a:pt x="77341" y="72094"/>
                    <a:pt x="61806" y="90239"/>
                    <a:pt x="38670" y="90239"/>
                  </a:cubicBezTo>
                  <a:close/>
                  <a:moveTo>
                    <a:pt x="38670" y="12899"/>
                  </a:moveTo>
                  <a:cubicBezTo>
                    <a:pt x="19655" y="12899"/>
                    <a:pt x="12899" y="29534"/>
                    <a:pt x="12899" y="45120"/>
                  </a:cubicBezTo>
                  <a:cubicBezTo>
                    <a:pt x="12899" y="60706"/>
                    <a:pt x="19681" y="77341"/>
                    <a:pt x="38670" y="77341"/>
                  </a:cubicBezTo>
                  <a:cubicBezTo>
                    <a:pt x="57686" y="77341"/>
                    <a:pt x="64442" y="60706"/>
                    <a:pt x="64442" y="45120"/>
                  </a:cubicBezTo>
                  <a:cubicBezTo>
                    <a:pt x="64442" y="29534"/>
                    <a:pt x="57686" y="12899"/>
                    <a:pt x="38670" y="12899"/>
                  </a:cubicBezTo>
                  <a:close/>
                </a:path>
              </a:pathLst>
            </a:custGeom>
            <a:solidFill>
              <a:schemeClr val="tx2"/>
            </a:solidFill>
            <a:ln w="2558" cap="flat">
              <a:noFill/>
              <a:prstDash val="solid"/>
              <a:miter/>
            </a:ln>
          </p:spPr>
          <p:txBody>
            <a:bodyPr rtlCol="0" anchor="ctr"/>
            <a:lstStyle/>
            <a:p>
              <a:endParaRPr lang="en-GB" dirty="0"/>
            </a:p>
          </p:txBody>
        </p:sp>
        <p:sp>
          <p:nvSpPr>
            <p:cNvPr id="159" name="Freihandform: Form 1423">
              <a:extLst>
                <a:ext uri="{FF2B5EF4-FFF2-40B4-BE49-F238E27FC236}">
                  <a16:creationId xmlns:a16="http://schemas.microsoft.com/office/drawing/2014/main" id="{79107F52-B4EE-4A31-9A0F-01A35325833B}"/>
                </a:ext>
              </a:extLst>
            </p:cNvPr>
            <p:cNvSpPr/>
            <p:nvPr/>
          </p:nvSpPr>
          <p:spPr>
            <a:xfrm>
              <a:off x="904979" y="2432377"/>
              <a:ext cx="70056" cy="81740"/>
            </a:xfrm>
            <a:custGeom>
              <a:avLst/>
              <a:gdLst>
                <a:gd name="connsiteX0" fmla="*/ 38670 w 77340"/>
                <a:gd name="connsiteY0" fmla="*/ 90239 h 90239"/>
                <a:gd name="connsiteX1" fmla="*/ 0 w 77340"/>
                <a:gd name="connsiteY1" fmla="*/ 45120 h 90239"/>
                <a:gd name="connsiteX2" fmla="*/ 38670 w 77340"/>
                <a:gd name="connsiteY2" fmla="*/ 0 h 90239"/>
                <a:gd name="connsiteX3" fmla="*/ 77341 w 77340"/>
                <a:gd name="connsiteY3" fmla="*/ 45120 h 90239"/>
                <a:gd name="connsiteX4" fmla="*/ 38670 w 77340"/>
                <a:gd name="connsiteY4" fmla="*/ 90239 h 90239"/>
                <a:gd name="connsiteX5" fmla="*/ 38670 w 77340"/>
                <a:gd name="connsiteY5" fmla="*/ 12899 h 90239"/>
                <a:gd name="connsiteX6" fmla="*/ 12899 w 77340"/>
                <a:gd name="connsiteY6" fmla="*/ 45120 h 90239"/>
                <a:gd name="connsiteX7" fmla="*/ 38670 w 77340"/>
                <a:gd name="connsiteY7" fmla="*/ 77341 h 90239"/>
                <a:gd name="connsiteX8" fmla="*/ 64442 w 77340"/>
                <a:gd name="connsiteY8" fmla="*/ 45120 h 90239"/>
                <a:gd name="connsiteX9" fmla="*/ 38670 w 77340"/>
                <a:gd name="connsiteY9" fmla="*/ 12899 h 90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340" h="90239">
                  <a:moveTo>
                    <a:pt x="38670" y="90239"/>
                  </a:moveTo>
                  <a:cubicBezTo>
                    <a:pt x="15535" y="90239"/>
                    <a:pt x="0" y="72120"/>
                    <a:pt x="0" y="45120"/>
                  </a:cubicBezTo>
                  <a:cubicBezTo>
                    <a:pt x="0" y="18145"/>
                    <a:pt x="15535" y="0"/>
                    <a:pt x="38670" y="0"/>
                  </a:cubicBezTo>
                  <a:cubicBezTo>
                    <a:pt x="61806" y="0"/>
                    <a:pt x="77341" y="18120"/>
                    <a:pt x="77341" y="45120"/>
                  </a:cubicBezTo>
                  <a:cubicBezTo>
                    <a:pt x="77341" y="72094"/>
                    <a:pt x="61806" y="90239"/>
                    <a:pt x="38670" y="90239"/>
                  </a:cubicBezTo>
                  <a:close/>
                  <a:moveTo>
                    <a:pt x="38670" y="12899"/>
                  </a:moveTo>
                  <a:cubicBezTo>
                    <a:pt x="19655" y="12899"/>
                    <a:pt x="12899" y="29534"/>
                    <a:pt x="12899" y="45120"/>
                  </a:cubicBezTo>
                  <a:cubicBezTo>
                    <a:pt x="12899" y="60706"/>
                    <a:pt x="19681" y="77341"/>
                    <a:pt x="38670" y="77341"/>
                  </a:cubicBezTo>
                  <a:cubicBezTo>
                    <a:pt x="57686" y="77341"/>
                    <a:pt x="64442" y="60706"/>
                    <a:pt x="64442" y="45120"/>
                  </a:cubicBezTo>
                  <a:cubicBezTo>
                    <a:pt x="64442" y="29534"/>
                    <a:pt x="57686" y="12899"/>
                    <a:pt x="38670" y="12899"/>
                  </a:cubicBezTo>
                  <a:close/>
                </a:path>
              </a:pathLst>
            </a:custGeom>
            <a:solidFill>
              <a:schemeClr val="tx2"/>
            </a:solidFill>
            <a:ln w="2558" cap="flat">
              <a:noFill/>
              <a:prstDash val="solid"/>
              <a:miter/>
            </a:ln>
          </p:spPr>
          <p:txBody>
            <a:bodyPr rtlCol="0" anchor="ctr"/>
            <a:lstStyle/>
            <a:p>
              <a:endParaRPr lang="en-GB" dirty="0"/>
            </a:p>
          </p:txBody>
        </p:sp>
        <p:sp>
          <p:nvSpPr>
            <p:cNvPr id="149" name="Freihandform: Form 1419">
              <a:extLst>
                <a:ext uri="{FF2B5EF4-FFF2-40B4-BE49-F238E27FC236}">
                  <a16:creationId xmlns:a16="http://schemas.microsoft.com/office/drawing/2014/main" id="{099E48EF-9A88-4182-95BD-C8302E1E0487}"/>
                </a:ext>
              </a:extLst>
            </p:cNvPr>
            <p:cNvSpPr/>
            <p:nvPr/>
          </p:nvSpPr>
          <p:spPr>
            <a:xfrm>
              <a:off x="840748" y="2525797"/>
              <a:ext cx="180960" cy="180983"/>
            </a:xfrm>
            <a:custGeom>
              <a:avLst/>
              <a:gdLst>
                <a:gd name="connsiteX0" fmla="*/ 193352 w 199775"/>
                <a:gd name="connsiteY0" fmla="*/ 199801 h 199800"/>
                <a:gd name="connsiteX1" fmla="*/ 180453 w 199775"/>
                <a:gd name="connsiteY1" fmla="*/ 199801 h 199800"/>
                <a:gd name="connsiteX2" fmla="*/ 174004 w 199775"/>
                <a:gd name="connsiteY2" fmla="*/ 193352 h 199800"/>
                <a:gd name="connsiteX3" fmla="*/ 180453 w 199775"/>
                <a:gd name="connsiteY3" fmla="*/ 186902 h 199800"/>
                <a:gd name="connsiteX4" fmla="*/ 186902 w 199775"/>
                <a:gd name="connsiteY4" fmla="*/ 186902 h 199800"/>
                <a:gd name="connsiteX5" fmla="*/ 186902 w 199775"/>
                <a:gd name="connsiteY5" fmla="*/ 68946 h 199800"/>
                <a:gd name="connsiteX6" fmla="*/ 129728 w 199775"/>
                <a:gd name="connsiteY6" fmla="*/ 12899 h 199800"/>
                <a:gd name="connsiteX7" fmla="*/ 6449 w 199775"/>
                <a:gd name="connsiteY7" fmla="*/ 12899 h 199800"/>
                <a:gd name="connsiteX8" fmla="*/ 0 w 199775"/>
                <a:gd name="connsiteY8" fmla="*/ 6449 h 199800"/>
                <a:gd name="connsiteX9" fmla="*/ 6449 w 199775"/>
                <a:gd name="connsiteY9" fmla="*/ 0 h 199800"/>
                <a:gd name="connsiteX10" fmla="*/ 129728 w 199775"/>
                <a:gd name="connsiteY10" fmla="*/ 0 h 199800"/>
                <a:gd name="connsiteX11" fmla="*/ 199775 w 199775"/>
                <a:gd name="connsiteY11" fmla="*/ 68946 h 199800"/>
                <a:gd name="connsiteX12" fmla="*/ 199775 w 199775"/>
                <a:gd name="connsiteY12" fmla="*/ 193352 h 199800"/>
                <a:gd name="connsiteX13" fmla="*/ 193352 w 199775"/>
                <a:gd name="connsiteY13" fmla="*/ 199801 h 19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775" h="199800">
                  <a:moveTo>
                    <a:pt x="193352" y="199801"/>
                  </a:moveTo>
                  <a:lnTo>
                    <a:pt x="180453" y="199801"/>
                  </a:lnTo>
                  <a:cubicBezTo>
                    <a:pt x="176896" y="199801"/>
                    <a:pt x="174004" y="196909"/>
                    <a:pt x="174004" y="193352"/>
                  </a:cubicBezTo>
                  <a:cubicBezTo>
                    <a:pt x="174004" y="189794"/>
                    <a:pt x="176896" y="186902"/>
                    <a:pt x="180453" y="186902"/>
                  </a:cubicBezTo>
                  <a:lnTo>
                    <a:pt x="186902" y="186902"/>
                  </a:lnTo>
                  <a:lnTo>
                    <a:pt x="186902" y="68946"/>
                  </a:lnTo>
                  <a:cubicBezTo>
                    <a:pt x="186902" y="38056"/>
                    <a:pt x="161259" y="12899"/>
                    <a:pt x="129728" y="12899"/>
                  </a:cubicBezTo>
                  <a:lnTo>
                    <a:pt x="6449" y="12899"/>
                  </a:lnTo>
                  <a:cubicBezTo>
                    <a:pt x="2892" y="12899"/>
                    <a:pt x="0" y="10007"/>
                    <a:pt x="0" y="6449"/>
                  </a:cubicBezTo>
                  <a:cubicBezTo>
                    <a:pt x="0" y="2892"/>
                    <a:pt x="2892" y="0"/>
                    <a:pt x="6449" y="0"/>
                  </a:cubicBezTo>
                  <a:lnTo>
                    <a:pt x="129728" y="0"/>
                  </a:lnTo>
                  <a:cubicBezTo>
                    <a:pt x="168348" y="0"/>
                    <a:pt x="199775" y="30916"/>
                    <a:pt x="199775" y="68946"/>
                  </a:cubicBezTo>
                  <a:lnTo>
                    <a:pt x="199775" y="193352"/>
                  </a:lnTo>
                  <a:cubicBezTo>
                    <a:pt x="199775" y="196909"/>
                    <a:pt x="196909" y="199801"/>
                    <a:pt x="193352" y="199801"/>
                  </a:cubicBezTo>
                  <a:close/>
                </a:path>
              </a:pathLst>
            </a:custGeom>
            <a:solidFill>
              <a:schemeClr val="tx2"/>
            </a:solidFill>
            <a:ln w="2558" cap="flat">
              <a:noFill/>
              <a:prstDash val="solid"/>
              <a:miter/>
            </a:ln>
          </p:spPr>
          <p:txBody>
            <a:bodyPr rtlCol="0" anchor="ctr"/>
            <a:lstStyle/>
            <a:p>
              <a:endParaRPr lang="en-GB" dirty="0"/>
            </a:p>
          </p:txBody>
        </p:sp>
        <p:sp>
          <p:nvSpPr>
            <p:cNvPr id="145" name="Freihandform: Form 1413">
              <a:extLst>
                <a:ext uri="{FF2B5EF4-FFF2-40B4-BE49-F238E27FC236}">
                  <a16:creationId xmlns:a16="http://schemas.microsoft.com/office/drawing/2014/main" id="{E93F3458-14C4-4DB3-8AAF-84BB025E07A3}"/>
                </a:ext>
              </a:extLst>
            </p:cNvPr>
            <p:cNvSpPr/>
            <p:nvPr/>
          </p:nvSpPr>
          <p:spPr>
            <a:xfrm>
              <a:off x="566373" y="2525797"/>
              <a:ext cx="180960" cy="180983"/>
            </a:xfrm>
            <a:custGeom>
              <a:avLst/>
              <a:gdLst>
                <a:gd name="connsiteX0" fmla="*/ 19348 w 199775"/>
                <a:gd name="connsiteY0" fmla="*/ 199801 h 199800"/>
                <a:gd name="connsiteX1" fmla="*/ 6449 w 199775"/>
                <a:gd name="connsiteY1" fmla="*/ 199801 h 199800"/>
                <a:gd name="connsiteX2" fmla="*/ 0 w 199775"/>
                <a:gd name="connsiteY2" fmla="*/ 193352 h 199800"/>
                <a:gd name="connsiteX3" fmla="*/ 0 w 199775"/>
                <a:gd name="connsiteY3" fmla="*/ 68946 h 199800"/>
                <a:gd name="connsiteX4" fmla="*/ 70047 w 199775"/>
                <a:gd name="connsiteY4" fmla="*/ 0 h 199800"/>
                <a:gd name="connsiteX5" fmla="*/ 193326 w 199775"/>
                <a:gd name="connsiteY5" fmla="*/ 0 h 199800"/>
                <a:gd name="connsiteX6" fmla="*/ 199775 w 199775"/>
                <a:gd name="connsiteY6" fmla="*/ 6449 h 199800"/>
                <a:gd name="connsiteX7" fmla="*/ 193326 w 199775"/>
                <a:gd name="connsiteY7" fmla="*/ 12899 h 199800"/>
                <a:gd name="connsiteX8" fmla="*/ 70047 w 199775"/>
                <a:gd name="connsiteY8" fmla="*/ 12899 h 199800"/>
                <a:gd name="connsiteX9" fmla="*/ 12873 w 199775"/>
                <a:gd name="connsiteY9" fmla="*/ 68946 h 199800"/>
                <a:gd name="connsiteX10" fmla="*/ 12873 w 199775"/>
                <a:gd name="connsiteY10" fmla="*/ 186902 h 199800"/>
                <a:gd name="connsiteX11" fmla="*/ 19322 w 199775"/>
                <a:gd name="connsiteY11" fmla="*/ 186902 h 199800"/>
                <a:gd name="connsiteX12" fmla="*/ 25772 w 199775"/>
                <a:gd name="connsiteY12" fmla="*/ 193352 h 199800"/>
                <a:gd name="connsiteX13" fmla="*/ 19348 w 199775"/>
                <a:gd name="connsiteY13" fmla="*/ 199801 h 19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9775" h="199800">
                  <a:moveTo>
                    <a:pt x="19348" y="199801"/>
                  </a:moveTo>
                  <a:lnTo>
                    <a:pt x="6449" y="199801"/>
                  </a:lnTo>
                  <a:cubicBezTo>
                    <a:pt x="2892" y="199801"/>
                    <a:pt x="0" y="196909"/>
                    <a:pt x="0" y="193352"/>
                  </a:cubicBezTo>
                  <a:lnTo>
                    <a:pt x="0" y="68946"/>
                  </a:lnTo>
                  <a:cubicBezTo>
                    <a:pt x="0" y="30941"/>
                    <a:pt x="31428" y="0"/>
                    <a:pt x="70047" y="0"/>
                  </a:cubicBezTo>
                  <a:lnTo>
                    <a:pt x="193326" y="0"/>
                  </a:lnTo>
                  <a:cubicBezTo>
                    <a:pt x="196883" y="0"/>
                    <a:pt x="199775" y="2892"/>
                    <a:pt x="199775" y="6449"/>
                  </a:cubicBezTo>
                  <a:cubicBezTo>
                    <a:pt x="199775" y="10007"/>
                    <a:pt x="196883" y="12899"/>
                    <a:pt x="193326" y="12899"/>
                  </a:cubicBezTo>
                  <a:lnTo>
                    <a:pt x="70047" y="12899"/>
                  </a:lnTo>
                  <a:cubicBezTo>
                    <a:pt x="38517" y="12899"/>
                    <a:pt x="12873" y="38030"/>
                    <a:pt x="12873" y="68946"/>
                  </a:cubicBezTo>
                  <a:lnTo>
                    <a:pt x="12873" y="186902"/>
                  </a:lnTo>
                  <a:lnTo>
                    <a:pt x="19322" y="186902"/>
                  </a:lnTo>
                  <a:cubicBezTo>
                    <a:pt x="22880" y="186902"/>
                    <a:pt x="25772" y="189794"/>
                    <a:pt x="25772" y="193352"/>
                  </a:cubicBezTo>
                  <a:cubicBezTo>
                    <a:pt x="25772" y="196909"/>
                    <a:pt x="22905" y="199801"/>
                    <a:pt x="19348" y="199801"/>
                  </a:cubicBezTo>
                  <a:close/>
                </a:path>
              </a:pathLst>
            </a:custGeom>
            <a:solidFill>
              <a:schemeClr val="tx2"/>
            </a:solidFill>
            <a:ln w="2558" cap="flat">
              <a:noFill/>
              <a:prstDash val="solid"/>
              <a:miter/>
            </a:ln>
          </p:spPr>
          <p:txBody>
            <a:bodyPr rtlCol="0" anchor="ctr"/>
            <a:lstStyle/>
            <a:p>
              <a:endParaRPr lang="en-GB" dirty="0"/>
            </a:p>
          </p:txBody>
        </p:sp>
      </p:grpSp>
      <p:sp>
        <p:nvSpPr>
          <p:cNvPr id="22" name="TextBox 21">
            <a:extLst>
              <a:ext uri="{FF2B5EF4-FFF2-40B4-BE49-F238E27FC236}">
                <a16:creationId xmlns:a16="http://schemas.microsoft.com/office/drawing/2014/main" id="{B758E0A9-E576-48A0-8F59-2F3FFD002DBB}"/>
              </a:ext>
            </a:extLst>
          </p:cNvPr>
          <p:cNvSpPr txBox="1"/>
          <p:nvPr/>
        </p:nvSpPr>
        <p:spPr>
          <a:xfrm>
            <a:off x="487133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Organization</a:t>
            </a:r>
          </a:p>
        </p:txBody>
      </p:sp>
      <p:sp>
        <p:nvSpPr>
          <p:cNvPr id="23" name="TextBox 22">
            <a:extLst>
              <a:ext uri="{FF2B5EF4-FFF2-40B4-BE49-F238E27FC236}">
                <a16:creationId xmlns:a16="http://schemas.microsoft.com/office/drawing/2014/main" id="{434139DD-9FE6-4677-8034-D6433473D110}"/>
              </a:ext>
            </a:extLst>
          </p:cNvPr>
          <p:cNvSpPr txBox="1"/>
          <p:nvPr/>
        </p:nvSpPr>
        <p:spPr>
          <a:xfrm>
            <a:off x="8007638"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Operational</a:t>
            </a:r>
            <a:br>
              <a:rPr lang="en-GB" sz="700" dirty="0">
                <a:solidFill>
                  <a:schemeClr val="tx2"/>
                </a:solidFill>
              </a:rPr>
            </a:br>
            <a:r>
              <a:rPr lang="en-GB" sz="700" dirty="0">
                <a:solidFill>
                  <a:schemeClr val="tx2"/>
                </a:solidFill>
              </a:rPr>
              <a:t>excellence</a:t>
            </a:r>
          </a:p>
        </p:txBody>
      </p:sp>
      <p:sp>
        <p:nvSpPr>
          <p:cNvPr id="26" name="TextBox 25">
            <a:extLst>
              <a:ext uri="{FF2B5EF4-FFF2-40B4-BE49-F238E27FC236}">
                <a16:creationId xmlns:a16="http://schemas.microsoft.com/office/drawing/2014/main" id="{21F67DD3-F12D-470B-8A03-9E72D5B4FCA3}"/>
              </a:ext>
            </a:extLst>
          </p:cNvPr>
          <p:cNvSpPr txBox="1"/>
          <p:nvPr/>
        </p:nvSpPr>
        <p:spPr>
          <a:xfrm>
            <a:off x="487133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cruitment</a:t>
            </a:r>
          </a:p>
        </p:txBody>
      </p:sp>
      <p:sp>
        <p:nvSpPr>
          <p:cNvPr id="27" name="TextBox 26">
            <a:extLst>
              <a:ext uri="{FF2B5EF4-FFF2-40B4-BE49-F238E27FC236}">
                <a16:creationId xmlns:a16="http://schemas.microsoft.com/office/drawing/2014/main" id="{2A4C9529-AE01-4935-91B1-E0AFBBC7863C}"/>
              </a:ext>
            </a:extLst>
          </p:cNvPr>
          <p:cNvSpPr txBox="1"/>
          <p:nvPr/>
        </p:nvSpPr>
        <p:spPr>
          <a:xfrm>
            <a:off x="8007638"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Job</a:t>
            </a:r>
            <a:br>
              <a:rPr lang="en-GB" sz="700" dirty="0">
                <a:solidFill>
                  <a:schemeClr val="tx2"/>
                </a:solidFill>
              </a:rPr>
            </a:br>
            <a:r>
              <a:rPr lang="en-GB" sz="700" dirty="0">
                <a:solidFill>
                  <a:schemeClr val="tx2"/>
                </a:solidFill>
              </a:rPr>
              <a:t>performance</a:t>
            </a:r>
          </a:p>
        </p:txBody>
      </p:sp>
      <p:sp>
        <p:nvSpPr>
          <p:cNvPr id="28" name="TextBox 27">
            <a:extLst>
              <a:ext uri="{FF2B5EF4-FFF2-40B4-BE49-F238E27FC236}">
                <a16:creationId xmlns:a16="http://schemas.microsoft.com/office/drawing/2014/main" id="{0B94F9FE-4862-4EE8-8CDE-AFD3AB677FE6}"/>
              </a:ext>
            </a:extLst>
          </p:cNvPr>
          <p:cNvSpPr txBox="1"/>
          <p:nvPr/>
        </p:nvSpPr>
        <p:spPr>
          <a:xfrm>
            <a:off x="6962205"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Generate</a:t>
            </a:r>
            <a:br>
              <a:rPr lang="en-GB" sz="700" dirty="0">
                <a:solidFill>
                  <a:schemeClr val="tx2"/>
                </a:solidFill>
              </a:rPr>
            </a:br>
            <a:r>
              <a:rPr lang="en-GB" sz="700" dirty="0">
                <a:solidFill>
                  <a:schemeClr val="tx2"/>
                </a:solidFill>
              </a:rPr>
              <a:t>ideas</a:t>
            </a:r>
          </a:p>
        </p:txBody>
      </p:sp>
      <p:sp>
        <p:nvSpPr>
          <p:cNvPr id="29" name="TextBox 28">
            <a:extLst>
              <a:ext uri="{FF2B5EF4-FFF2-40B4-BE49-F238E27FC236}">
                <a16:creationId xmlns:a16="http://schemas.microsoft.com/office/drawing/2014/main" id="{AEA232A9-E834-4D99-9FAB-BC58F6EF7A22}"/>
              </a:ext>
            </a:extLst>
          </p:cNvPr>
          <p:cNvSpPr txBox="1"/>
          <p:nvPr/>
        </p:nvSpPr>
        <p:spPr>
          <a:xfrm>
            <a:off x="5916771"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ssessment</a:t>
            </a:r>
          </a:p>
        </p:txBody>
      </p:sp>
      <p:sp>
        <p:nvSpPr>
          <p:cNvPr id="31" name="TextBox 30">
            <a:extLst>
              <a:ext uri="{FF2B5EF4-FFF2-40B4-BE49-F238E27FC236}">
                <a16:creationId xmlns:a16="http://schemas.microsoft.com/office/drawing/2014/main" id="{E605FCD4-B2EE-4682-BFAF-761D690FAEA7}"/>
              </a:ext>
            </a:extLst>
          </p:cNvPr>
          <p:cNvSpPr txBox="1"/>
          <p:nvPr/>
        </p:nvSpPr>
        <p:spPr>
          <a:xfrm>
            <a:off x="8007638"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ontinuous</a:t>
            </a:r>
            <a:br>
              <a:rPr lang="en-GB" sz="700" dirty="0">
                <a:solidFill>
                  <a:schemeClr val="tx2"/>
                </a:solidFill>
              </a:rPr>
            </a:br>
            <a:r>
              <a:rPr lang="en-GB" sz="700" dirty="0">
                <a:solidFill>
                  <a:schemeClr val="tx2"/>
                </a:solidFill>
              </a:rPr>
              <a:t>improvement</a:t>
            </a:r>
          </a:p>
        </p:txBody>
      </p:sp>
      <p:sp>
        <p:nvSpPr>
          <p:cNvPr id="32" name="TextBox 31">
            <a:extLst>
              <a:ext uri="{FF2B5EF4-FFF2-40B4-BE49-F238E27FC236}">
                <a16:creationId xmlns:a16="http://schemas.microsoft.com/office/drawing/2014/main" id="{C3DCB9F1-B1A0-43AB-921D-B0934373FCB8}"/>
              </a:ext>
            </a:extLst>
          </p:cNvPr>
          <p:cNvSpPr txBox="1"/>
          <p:nvPr/>
        </p:nvSpPr>
        <p:spPr>
          <a:xfrm>
            <a:off x="6962205"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alization</a:t>
            </a:r>
          </a:p>
        </p:txBody>
      </p:sp>
      <p:sp>
        <p:nvSpPr>
          <p:cNvPr id="33" name="TextBox 32">
            <a:extLst>
              <a:ext uri="{FF2B5EF4-FFF2-40B4-BE49-F238E27FC236}">
                <a16:creationId xmlns:a16="http://schemas.microsoft.com/office/drawing/2014/main" id="{C819B9D2-62BB-4E55-9CB5-551D62AEDDAC}"/>
              </a:ext>
            </a:extLst>
          </p:cNvPr>
          <p:cNvSpPr txBox="1"/>
          <p:nvPr/>
        </p:nvSpPr>
        <p:spPr>
          <a:xfrm>
            <a:off x="5916771"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iscussion</a:t>
            </a:r>
          </a:p>
        </p:txBody>
      </p:sp>
      <p:sp>
        <p:nvSpPr>
          <p:cNvPr id="34" name="TextBox 33">
            <a:extLst>
              <a:ext uri="{FF2B5EF4-FFF2-40B4-BE49-F238E27FC236}">
                <a16:creationId xmlns:a16="http://schemas.microsoft.com/office/drawing/2014/main" id="{219037C8-5517-46DF-84D6-2D30FCD44622}"/>
              </a:ext>
            </a:extLst>
          </p:cNvPr>
          <p:cNvSpPr txBox="1"/>
          <p:nvPr/>
        </p:nvSpPr>
        <p:spPr>
          <a:xfrm>
            <a:off x="487133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areer</a:t>
            </a:r>
            <a:br>
              <a:rPr lang="en-GB" sz="700" dirty="0">
                <a:solidFill>
                  <a:schemeClr val="tx2"/>
                </a:solidFill>
              </a:rPr>
            </a:br>
            <a:r>
              <a:rPr lang="en-GB" sz="700" dirty="0">
                <a:solidFill>
                  <a:schemeClr val="tx2"/>
                </a:solidFill>
              </a:rPr>
              <a:t>advancement</a:t>
            </a:r>
          </a:p>
        </p:txBody>
      </p:sp>
      <p:sp>
        <p:nvSpPr>
          <p:cNvPr id="35" name="TextBox 34">
            <a:extLst>
              <a:ext uri="{FF2B5EF4-FFF2-40B4-BE49-F238E27FC236}">
                <a16:creationId xmlns:a16="http://schemas.microsoft.com/office/drawing/2014/main" id="{715D010D-18E1-4549-99B9-C50231F09F86}"/>
              </a:ext>
            </a:extLst>
          </p:cNvPr>
          <p:cNvSpPr txBox="1"/>
          <p:nvPr/>
        </p:nvSpPr>
        <p:spPr>
          <a:xfrm>
            <a:off x="8007638"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eam</a:t>
            </a:r>
          </a:p>
          <a:p>
            <a:pPr algn="ctr"/>
            <a:r>
              <a:rPr lang="en-GB" sz="700" dirty="0">
                <a:solidFill>
                  <a:schemeClr val="tx2"/>
                </a:solidFill>
              </a:rPr>
              <a:t>cohesion</a:t>
            </a:r>
          </a:p>
        </p:txBody>
      </p:sp>
      <p:sp>
        <p:nvSpPr>
          <p:cNvPr id="36" name="TextBox 35">
            <a:extLst>
              <a:ext uri="{FF2B5EF4-FFF2-40B4-BE49-F238E27FC236}">
                <a16:creationId xmlns:a16="http://schemas.microsoft.com/office/drawing/2014/main" id="{E86A425B-AD9E-4C62-A6B6-670325A9FDB1}"/>
              </a:ext>
            </a:extLst>
          </p:cNvPr>
          <p:cNvSpPr txBox="1"/>
          <p:nvPr/>
        </p:nvSpPr>
        <p:spPr>
          <a:xfrm>
            <a:off x="6962205"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ompliance</a:t>
            </a:r>
            <a:br>
              <a:rPr lang="en-GB" sz="700" dirty="0">
                <a:solidFill>
                  <a:schemeClr val="tx2"/>
                </a:solidFill>
              </a:rPr>
            </a:br>
            <a:r>
              <a:rPr lang="en-GB" sz="700" dirty="0">
                <a:solidFill>
                  <a:schemeClr val="tx2"/>
                </a:solidFill>
              </a:rPr>
              <a:t>officer</a:t>
            </a:r>
          </a:p>
        </p:txBody>
      </p:sp>
      <p:sp>
        <p:nvSpPr>
          <p:cNvPr id="37" name="TextBox 36">
            <a:extLst>
              <a:ext uri="{FF2B5EF4-FFF2-40B4-BE49-F238E27FC236}">
                <a16:creationId xmlns:a16="http://schemas.microsoft.com/office/drawing/2014/main" id="{56B0A2AB-24EC-49BB-8551-FF53EB9D8123}"/>
              </a:ext>
            </a:extLst>
          </p:cNvPr>
          <p:cNvSpPr txBox="1"/>
          <p:nvPr/>
        </p:nvSpPr>
        <p:spPr>
          <a:xfrm>
            <a:off x="5916771"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dapt to</a:t>
            </a:r>
            <a:br>
              <a:rPr lang="en-GB" sz="700" dirty="0">
                <a:solidFill>
                  <a:schemeClr val="tx2"/>
                </a:solidFill>
              </a:rPr>
            </a:br>
            <a:r>
              <a:rPr lang="en-GB" sz="700" dirty="0">
                <a:solidFill>
                  <a:schemeClr val="tx2"/>
                </a:solidFill>
              </a:rPr>
              <a:t>changes</a:t>
            </a:r>
          </a:p>
        </p:txBody>
      </p:sp>
      <p:grpSp>
        <p:nvGrpSpPr>
          <p:cNvPr id="342" name="Group 341">
            <a:extLst>
              <a:ext uri="{FF2B5EF4-FFF2-40B4-BE49-F238E27FC236}">
                <a16:creationId xmlns:a16="http://schemas.microsoft.com/office/drawing/2014/main" id="{09F00946-7F66-4E6C-A654-7D73F6B3F450}"/>
              </a:ext>
            </a:extLst>
          </p:cNvPr>
          <p:cNvGrpSpPr>
            <a:grpSpLocks noChangeAspect="1"/>
          </p:cNvGrpSpPr>
          <p:nvPr/>
        </p:nvGrpSpPr>
        <p:grpSpPr>
          <a:xfrm>
            <a:off x="4993790" y="1585984"/>
            <a:ext cx="438956" cy="432000"/>
            <a:chOff x="860701" y="2421712"/>
            <a:chExt cx="546986" cy="538318"/>
          </a:xfrm>
        </p:grpSpPr>
        <p:grpSp>
          <p:nvGrpSpPr>
            <p:cNvPr id="343" name="Group 342">
              <a:extLst>
                <a:ext uri="{FF2B5EF4-FFF2-40B4-BE49-F238E27FC236}">
                  <a16:creationId xmlns:a16="http://schemas.microsoft.com/office/drawing/2014/main" id="{D9E31A39-5C7F-45A6-9658-471416AC0435}"/>
                </a:ext>
              </a:extLst>
            </p:cNvPr>
            <p:cNvGrpSpPr/>
            <p:nvPr/>
          </p:nvGrpSpPr>
          <p:grpSpPr>
            <a:xfrm>
              <a:off x="860701" y="2421712"/>
              <a:ext cx="546986" cy="538318"/>
              <a:chOff x="860704" y="2421721"/>
              <a:chExt cx="546988" cy="538320"/>
            </a:xfrm>
          </p:grpSpPr>
          <p:sp>
            <p:nvSpPr>
              <p:cNvPr id="345" name="Freihandform: Form 222">
                <a:extLst>
                  <a:ext uri="{FF2B5EF4-FFF2-40B4-BE49-F238E27FC236}">
                    <a16:creationId xmlns:a16="http://schemas.microsoft.com/office/drawing/2014/main" id="{890CC6DA-CFF4-4049-9633-01C74E0A0326}"/>
                  </a:ext>
                </a:extLst>
              </p:cNvPr>
              <p:cNvSpPr/>
              <p:nvPr/>
            </p:nvSpPr>
            <p:spPr>
              <a:xfrm>
                <a:off x="1008405" y="2421721"/>
                <a:ext cx="251587" cy="144201"/>
              </a:xfrm>
              <a:custGeom>
                <a:avLst/>
                <a:gdLst>
                  <a:gd name="connsiteX0" fmla="*/ 246622 w 251587"/>
                  <a:gd name="connsiteY0" fmla="*/ 0 h 144201"/>
                  <a:gd name="connsiteX1" fmla="*/ 4965 w 251587"/>
                  <a:gd name="connsiteY1" fmla="*/ 0 h 144201"/>
                  <a:gd name="connsiteX2" fmla="*/ 0 w 251587"/>
                  <a:gd name="connsiteY2" fmla="*/ 4965 h 144201"/>
                  <a:gd name="connsiteX3" fmla="*/ 0 w 251587"/>
                  <a:gd name="connsiteY3" fmla="*/ 139236 h 144201"/>
                  <a:gd name="connsiteX4" fmla="*/ 4965 w 251587"/>
                  <a:gd name="connsiteY4" fmla="*/ 144201 h 144201"/>
                  <a:gd name="connsiteX5" fmla="*/ 246622 w 251587"/>
                  <a:gd name="connsiteY5" fmla="*/ 144201 h 144201"/>
                  <a:gd name="connsiteX6" fmla="*/ 251587 w 251587"/>
                  <a:gd name="connsiteY6" fmla="*/ 139236 h 144201"/>
                  <a:gd name="connsiteX7" fmla="*/ 251587 w 251587"/>
                  <a:gd name="connsiteY7" fmla="*/ 4940 h 144201"/>
                  <a:gd name="connsiteX8" fmla="*/ 246622 w 251587"/>
                  <a:gd name="connsiteY8" fmla="*/ 0 h 144201"/>
                  <a:gd name="connsiteX9" fmla="*/ 241656 w 251587"/>
                  <a:gd name="connsiteY9" fmla="*/ 9905 h 144201"/>
                  <a:gd name="connsiteX10" fmla="*/ 241656 w 251587"/>
                  <a:gd name="connsiteY10" fmla="*/ 134245 h 144201"/>
                  <a:gd name="connsiteX11" fmla="*/ 9931 w 251587"/>
                  <a:gd name="connsiteY11" fmla="*/ 134245 h 144201"/>
                  <a:gd name="connsiteX12" fmla="*/ 9931 w 251587"/>
                  <a:gd name="connsiteY12" fmla="*/ 9905 h 144201"/>
                  <a:gd name="connsiteX13" fmla="*/ 241656 w 251587"/>
                  <a:gd name="connsiteY13" fmla="*/ 9905 h 14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1587" h="144201">
                    <a:moveTo>
                      <a:pt x="246622" y="0"/>
                    </a:moveTo>
                    <a:lnTo>
                      <a:pt x="4965" y="0"/>
                    </a:lnTo>
                    <a:cubicBezTo>
                      <a:pt x="2238" y="0"/>
                      <a:pt x="0" y="2238"/>
                      <a:pt x="0" y="4965"/>
                    </a:cubicBezTo>
                    <a:lnTo>
                      <a:pt x="0" y="139236"/>
                    </a:lnTo>
                    <a:cubicBezTo>
                      <a:pt x="0" y="141963"/>
                      <a:pt x="2238" y="144201"/>
                      <a:pt x="4965" y="144201"/>
                    </a:cubicBezTo>
                    <a:lnTo>
                      <a:pt x="246622" y="144201"/>
                    </a:lnTo>
                    <a:cubicBezTo>
                      <a:pt x="249349" y="144201"/>
                      <a:pt x="251587" y="141963"/>
                      <a:pt x="251587" y="139236"/>
                    </a:cubicBezTo>
                    <a:lnTo>
                      <a:pt x="251587" y="4940"/>
                    </a:lnTo>
                    <a:cubicBezTo>
                      <a:pt x="251587" y="2213"/>
                      <a:pt x="249349" y="0"/>
                      <a:pt x="246622" y="0"/>
                    </a:cubicBezTo>
                    <a:close/>
                    <a:moveTo>
                      <a:pt x="241656" y="9905"/>
                    </a:moveTo>
                    <a:lnTo>
                      <a:pt x="241656" y="134245"/>
                    </a:lnTo>
                    <a:lnTo>
                      <a:pt x="9931" y="134245"/>
                    </a:lnTo>
                    <a:lnTo>
                      <a:pt x="9931" y="9905"/>
                    </a:lnTo>
                    <a:lnTo>
                      <a:pt x="241656" y="9905"/>
                    </a:lnTo>
                    <a:close/>
                  </a:path>
                </a:pathLst>
              </a:custGeom>
              <a:solidFill>
                <a:schemeClr val="tx2"/>
              </a:solidFill>
              <a:ln w="2571" cap="flat">
                <a:noFill/>
                <a:prstDash val="solid"/>
                <a:miter/>
              </a:ln>
            </p:spPr>
            <p:txBody>
              <a:bodyPr rtlCol="0" anchor="ctr"/>
              <a:lstStyle/>
              <a:p>
                <a:endParaRPr lang="en-GB" dirty="0"/>
              </a:p>
            </p:txBody>
          </p:sp>
          <p:sp>
            <p:nvSpPr>
              <p:cNvPr id="346" name="Freihandform: Form 223">
                <a:extLst>
                  <a:ext uri="{FF2B5EF4-FFF2-40B4-BE49-F238E27FC236}">
                    <a16:creationId xmlns:a16="http://schemas.microsoft.com/office/drawing/2014/main" id="{1D5FCC23-5B6F-4649-881F-6BD424A80C71}"/>
                  </a:ext>
                </a:extLst>
              </p:cNvPr>
              <p:cNvSpPr/>
              <p:nvPr/>
            </p:nvSpPr>
            <p:spPr>
              <a:xfrm>
                <a:off x="860704" y="2689416"/>
                <a:ext cx="241965" cy="270625"/>
              </a:xfrm>
              <a:custGeom>
                <a:avLst/>
                <a:gdLst>
                  <a:gd name="connsiteX0" fmla="*/ 238183 w 241965"/>
                  <a:gd name="connsiteY0" fmla="*/ 265660 h 270625"/>
                  <a:gd name="connsiteX1" fmla="*/ 238183 w 241965"/>
                  <a:gd name="connsiteY1" fmla="*/ 131415 h 270625"/>
                  <a:gd name="connsiteX2" fmla="*/ 233218 w 241965"/>
                  <a:gd name="connsiteY2" fmla="*/ 126450 h 270625"/>
                  <a:gd name="connsiteX3" fmla="*/ 130772 w 241965"/>
                  <a:gd name="connsiteY3" fmla="*/ 126450 h 270625"/>
                  <a:gd name="connsiteX4" fmla="*/ 130772 w 241965"/>
                  <a:gd name="connsiteY4" fmla="*/ 9931 h 270625"/>
                  <a:gd name="connsiteX5" fmla="*/ 237000 w 241965"/>
                  <a:gd name="connsiteY5" fmla="*/ 10034 h 270625"/>
                  <a:gd name="connsiteX6" fmla="*/ 241965 w 241965"/>
                  <a:gd name="connsiteY6" fmla="*/ 5068 h 270625"/>
                  <a:gd name="connsiteX7" fmla="*/ 237000 w 241965"/>
                  <a:gd name="connsiteY7" fmla="*/ 103 h 270625"/>
                  <a:gd name="connsiteX8" fmla="*/ 125806 w 241965"/>
                  <a:gd name="connsiteY8" fmla="*/ 0 h 270625"/>
                  <a:gd name="connsiteX9" fmla="*/ 122308 w 241965"/>
                  <a:gd name="connsiteY9" fmla="*/ 1466 h 270625"/>
                  <a:gd name="connsiteX10" fmla="*/ 120841 w 241965"/>
                  <a:gd name="connsiteY10" fmla="*/ 4965 h 270625"/>
                  <a:gd name="connsiteX11" fmla="*/ 120841 w 241965"/>
                  <a:gd name="connsiteY11" fmla="*/ 126450 h 270625"/>
                  <a:gd name="connsiteX12" fmla="*/ 4965 w 241965"/>
                  <a:gd name="connsiteY12" fmla="*/ 126450 h 270625"/>
                  <a:gd name="connsiteX13" fmla="*/ 0 w 241965"/>
                  <a:gd name="connsiteY13" fmla="*/ 131415 h 270625"/>
                  <a:gd name="connsiteX14" fmla="*/ 0 w 241965"/>
                  <a:gd name="connsiteY14" fmla="*/ 265660 h 270625"/>
                  <a:gd name="connsiteX15" fmla="*/ 4965 w 241965"/>
                  <a:gd name="connsiteY15" fmla="*/ 270625 h 270625"/>
                  <a:gd name="connsiteX16" fmla="*/ 233218 w 241965"/>
                  <a:gd name="connsiteY16" fmla="*/ 270625 h 270625"/>
                  <a:gd name="connsiteX17" fmla="*/ 238183 w 241965"/>
                  <a:gd name="connsiteY17" fmla="*/ 265660 h 270625"/>
                  <a:gd name="connsiteX18" fmla="*/ 228252 w 241965"/>
                  <a:gd name="connsiteY18" fmla="*/ 136380 h 270625"/>
                  <a:gd name="connsiteX19" fmla="*/ 228252 w 241965"/>
                  <a:gd name="connsiteY19" fmla="*/ 260695 h 270625"/>
                  <a:gd name="connsiteX20" fmla="*/ 9931 w 241965"/>
                  <a:gd name="connsiteY20" fmla="*/ 260695 h 270625"/>
                  <a:gd name="connsiteX21" fmla="*/ 9931 w 241965"/>
                  <a:gd name="connsiteY21" fmla="*/ 136380 h 270625"/>
                  <a:gd name="connsiteX22" fmla="*/ 228252 w 241965"/>
                  <a:gd name="connsiteY22" fmla="*/ 136380 h 27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1965" h="270625">
                    <a:moveTo>
                      <a:pt x="238183" y="265660"/>
                    </a:moveTo>
                    <a:lnTo>
                      <a:pt x="238183" y="131415"/>
                    </a:lnTo>
                    <a:cubicBezTo>
                      <a:pt x="238183" y="128688"/>
                      <a:pt x="235945" y="126450"/>
                      <a:pt x="233218" y="126450"/>
                    </a:cubicBezTo>
                    <a:lnTo>
                      <a:pt x="130772" y="126450"/>
                    </a:lnTo>
                    <a:lnTo>
                      <a:pt x="130772" y="9931"/>
                    </a:lnTo>
                    <a:lnTo>
                      <a:pt x="237000" y="10034"/>
                    </a:lnTo>
                    <a:cubicBezTo>
                      <a:pt x="239727" y="10034"/>
                      <a:pt x="241965" y="7795"/>
                      <a:pt x="241965" y="5068"/>
                    </a:cubicBezTo>
                    <a:cubicBezTo>
                      <a:pt x="241965" y="2341"/>
                      <a:pt x="239727" y="103"/>
                      <a:pt x="237000" y="103"/>
                    </a:cubicBezTo>
                    <a:lnTo>
                      <a:pt x="125806" y="0"/>
                    </a:lnTo>
                    <a:cubicBezTo>
                      <a:pt x="124494" y="0"/>
                      <a:pt x="123208" y="540"/>
                      <a:pt x="122308" y="1466"/>
                    </a:cubicBezTo>
                    <a:cubicBezTo>
                      <a:pt x="121381" y="2393"/>
                      <a:pt x="120841" y="3653"/>
                      <a:pt x="120841" y="4965"/>
                    </a:cubicBezTo>
                    <a:lnTo>
                      <a:pt x="120841" y="126450"/>
                    </a:lnTo>
                    <a:lnTo>
                      <a:pt x="4965" y="126450"/>
                    </a:lnTo>
                    <a:cubicBezTo>
                      <a:pt x="2238" y="126450"/>
                      <a:pt x="0" y="128688"/>
                      <a:pt x="0" y="131415"/>
                    </a:cubicBezTo>
                    <a:lnTo>
                      <a:pt x="0" y="265660"/>
                    </a:lnTo>
                    <a:cubicBezTo>
                      <a:pt x="0" y="268387"/>
                      <a:pt x="2238" y="270625"/>
                      <a:pt x="4965" y="270625"/>
                    </a:cubicBezTo>
                    <a:lnTo>
                      <a:pt x="233218" y="270625"/>
                    </a:lnTo>
                    <a:cubicBezTo>
                      <a:pt x="235945" y="270625"/>
                      <a:pt x="238183" y="268387"/>
                      <a:pt x="238183" y="265660"/>
                    </a:cubicBezTo>
                    <a:close/>
                    <a:moveTo>
                      <a:pt x="228252" y="136380"/>
                    </a:moveTo>
                    <a:lnTo>
                      <a:pt x="228252" y="260695"/>
                    </a:lnTo>
                    <a:lnTo>
                      <a:pt x="9931" y="260695"/>
                    </a:lnTo>
                    <a:lnTo>
                      <a:pt x="9931" y="136380"/>
                    </a:lnTo>
                    <a:lnTo>
                      <a:pt x="228252" y="136380"/>
                    </a:lnTo>
                    <a:close/>
                  </a:path>
                </a:pathLst>
              </a:custGeom>
              <a:solidFill>
                <a:schemeClr val="tx2"/>
              </a:solidFill>
              <a:ln w="2571" cap="flat">
                <a:noFill/>
                <a:prstDash val="solid"/>
                <a:miter/>
              </a:ln>
            </p:spPr>
            <p:txBody>
              <a:bodyPr rtlCol="0" anchor="ctr"/>
              <a:lstStyle/>
              <a:p>
                <a:endParaRPr lang="en-GB" dirty="0"/>
              </a:p>
            </p:txBody>
          </p:sp>
          <p:sp>
            <p:nvSpPr>
              <p:cNvPr id="347" name="Freihandform: Form 224">
                <a:extLst>
                  <a:ext uri="{FF2B5EF4-FFF2-40B4-BE49-F238E27FC236}">
                    <a16:creationId xmlns:a16="http://schemas.microsoft.com/office/drawing/2014/main" id="{625F088F-E20E-49E9-89BB-2E8C083BE4BB}"/>
                  </a:ext>
                </a:extLst>
              </p:cNvPr>
              <p:cNvSpPr/>
              <p:nvPr/>
            </p:nvSpPr>
            <p:spPr>
              <a:xfrm>
                <a:off x="1129246" y="2555966"/>
                <a:ext cx="9930" cy="103938"/>
              </a:xfrm>
              <a:custGeom>
                <a:avLst/>
                <a:gdLst>
                  <a:gd name="connsiteX0" fmla="*/ 0 w 9930"/>
                  <a:gd name="connsiteY0" fmla="*/ 4965 h 103938"/>
                  <a:gd name="connsiteX1" fmla="*/ 0 w 9930"/>
                  <a:gd name="connsiteY1" fmla="*/ 98973 h 103938"/>
                  <a:gd name="connsiteX2" fmla="*/ 4965 w 9930"/>
                  <a:gd name="connsiteY2" fmla="*/ 103938 h 103938"/>
                  <a:gd name="connsiteX3" fmla="*/ 9931 w 9930"/>
                  <a:gd name="connsiteY3" fmla="*/ 98973 h 103938"/>
                  <a:gd name="connsiteX4" fmla="*/ 9931 w 9930"/>
                  <a:gd name="connsiteY4" fmla="*/ 4965 h 103938"/>
                  <a:gd name="connsiteX5" fmla="*/ 4965 w 9930"/>
                  <a:gd name="connsiteY5" fmla="*/ 0 h 103938"/>
                  <a:gd name="connsiteX6" fmla="*/ 0 w 9930"/>
                  <a:gd name="connsiteY6" fmla="*/ 4965 h 103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30" h="103938">
                    <a:moveTo>
                      <a:pt x="0" y="4965"/>
                    </a:moveTo>
                    <a:lnTo>
                      <a:pt x="0" y="98973"/>
                    </a:lnTo>
                    <a:cubicBezTo>
                      <a:pt x="0" y="101700"/>
                      <a:pt x="2238" y="103938"/>
                      <a:pt x="4965" y="103938"/>
                    </a:cubicBezTo>
                    <a:cubicBezTo>
                      <a:pt x="7692" y="103938"/>
                      <a:pt x="9931" y="101700"/>
                      <a:pt x="9931" y="98973"/>
                    </a:cubicBezTo>
                    <a:lnTo>
                      <a:pt x="9931" y="4965"/>
                    </a:lnTo>
                    <a:cubicBezTo>
                      <a:pt x="9931" y="2238"/>
                      <a:pt x="7692" y="0"/>
                      <a:pt x="4965" y="0"/>
                    </a:cubicBezTo>
                    <a:cubicBezTo>
                      <a:pt x="2213" y="0"/>
                      <a:pt x="0" y="2238"/>
                      <a:pt x="0" y="4965"/>
                    </a:cubicBezTo>
                    <a:close/>
                  </a:path>
                </a:pathLst>
              </a:custGeom>
              <a:solidFill>
                <a:schemeClr val="tx2"/>
              </a:solidFill>
              <a:ln w="2571" cap="flat">
                <a:noFill/>
                <a:prstDash val="solid"/>
                <a:miter/>
              </a:ln>
            </p:spPr>
            <p:txBody>
              <a:bodyPr rtlCol="0" anchor="ctr"/>
              <a:lstStyle/>
              <a:p>
                <a:endParaRPr lang="en-GB" dirty="0"/>
              </a:p>
            </p:txBody>
          </p:sp>
          <p:sp>
            <p:nvSpPr>
              <p:cNvPr id="348" name="Freihandform: Form 225">
                <a:extLst>
                  <a:ext uri="{FF2B5EF4-FFF2-40B4-BE49-F238E27FC236}">
                    <a16:creationId xmlns:a16="http://schemas.microsoft.com/office/drawing/2014/main" id="{1F4CDD0C-BF96-4AFB-9C1D-583F601BF630}"/>
                  </a:ext>
                </a:extLst>
              </p:cNvPr>
              <p:cNvSpPr/>
              <p:nvPr/>
            </p:nvSpPr>
            <p:spPr>
              <a:xfrm>
                <a:off x="1162794" y="2689416"/>
                <a:ext cx="244898" cy="270625"/>
              </a:xfrm>
              <a:custGeom>
                <a:avLst/>
                <a:gdLst>
                  <a:gd name="connsiteX0" fmla="*/ 0 w 244898"/>
                  <a:gd name="connsiteY0" fmla="*/ 4965 h 270625"/>
                  <a:gd name="connsiteX1" fmla="*/ 4965 w 244898"/>
                  <a:gd name="connsiteY1" fmla="*/ 9931 h 270625"/>
                  <a:gd name="connsiteX2" fmla="*/ 107411 w 244898"/>
                  <a:gd name="connsiteY2" fmla="*/ 9931 h 270625"/>
                  <a:gd name="connsiteX3" fmla="*/ 107411 w 244898"/>
                  <a:gd name="connsiteY3" fmla="*/ 126450 h 270625"/>
                  <a:gd name="connsiteX4" fmla="*/ 11680 w 244898"/>
                  <a:gd name="connsiteY4" fmla="*/ 126450 h 270625"/>
                  <a:gd name="connsiteX5" fmla="*/ 6715 w 244898"/>
                  <a:gd name="connsiteY5" fmla="*/ 131415 h 270625"/>
                  <a:gd name="connsiteX6" fmla="*/ 6715 w 244898"/>
                  <a:gd name="connsiteY6" fmla="*/ 265660 h 270625"/>
                  <a:gd name="connsiteX7" fmla="*/ 11680 w 244898"/>
                  <a:gd name="connsiteY7" fmla="*/ 270625 h 270625"/>
                  <a:gd name="connsiteX8" fmla="*/ 239933 w 244898"/>
                  <a:gd name="connsiteY8" fmla="*/ 270625 h 270625"/>
                  <a:gd name="connsiteX9" fmla="*/ 244898 w 244898"/>
                  <a:gd name="connsiteY9" fmla="*/ 265660 h 270625"/>
                  <a:gd name="connsiteX10" fmla="*/ 244898 w 244898"/>
                  <a:gd name="connsiteY10" fmla="*/ 131415 h 270625"/>
                  <a:gd name="connsiteX11" fmla="*/ 239933 w 244898"/>
                  <a:gd name="connsiteY11" fmla="*/ 126450 h 270625"/>
                  <a:gd name="connsiteX12" fmla="*/ 117342 w 244898"/>
                  <a:gd name="connsiteY12" fmla="*/ 126450 h 270625"/>
                  <a:gd name="connsiteX13" fmla="*/ 117342 w 244898"/>
                  <a:gd name="connsiteY13" fmla="*/ 4965 h 270625"/>
                  <a:gd name="connsiteX14" fmla="*/ 112377 w 244898"/>
                  <a:gd name="connsiteY14" fmla="*/ 0 h 270625"/>
                  <a:gd name="connsiteX15" fmla="*/ 4965 w 244898"/>
                  <a:gd name="connsiteY15" fmla="*/ 0 h 270625"/>
                  <a:gd name="connsiteX16" fmla="*/ 0 w 244898"/>
                  <a:gd name="connsiteY16" fmla="*/ 4965 h 270625"/>
                  <a:gd name="connsiteX17" fmla="*/ 234967 w 244898"/>
                  <a:gd name="connsiteY17" fmla="*/ 136380 h 270625"/>
                  <a:gd name="connsiteX18" fmla="*/ 234967 w 244898"/>
                  <a:gd name="connsiteY18" fmla="*/ 260695 h 270625"/>
                  <a:gd name="connsiteX19" fmla="*/ 16646 w 244898"/>
                  <a:gd name="connsiteY19" fmla="*/ 260695 h 270625"/>
                  <a:gd name="connsiteX20" fmla="*/ 16646 w 244898"/>
                  <a:gd name="connsiteY20" fmla="*/ 136380 h 270625"/>
                  <a:gd name="connsiteX21" fmla="*/ 234967 w 244898"/>
                  <a:gd name="connsiteY21" fmla="*/ 136380 h 27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4898" h="270625">
                    <a:moveTo>
                      <a:pt x="0" y="4965"/>
                    </a:moveTo>
                    <a:cubicBezTo>
                      <a:pt x="0" y="7692"/>
                      <a:pt x="2238" y="9931"/>
                      <a:pt x="4965" y="9931"/>
                    </a:cubicBezTo>
                    <a:lnTo>
                      <a:pt x="107411" y="9931"/>
                    </a:lnTo>
                    <a:lnTo>
                      <a:pt x="107411" y="126450"/>
                    </a:lnTo>
                    <a:lnTo>
                      <a:pt x="11680" y="126450"/>
                    </a:lnTo>
                    <a:cubicBezTo>
                      <a:pt x="8953" y="126450"/>
                      <a:pt x="6715" y="128688"/>
                      <a:pt x="6715" y="131415"/>
                    </a:cubicBezTo>
                    <a:lnTo>
                      <a:pt x="6715" y="265660"/>
                    </a:lnTo>
                    <a:cubicBezTo>
                      <a:pt x="6715" y="268387"/>
                      <a:pt x="8953" y="270625"/>
                      <a:pt x="11680" y="270625"/>
                    </a:cubicBezTo>
                    <a:lnTo>
                      <a:pt x="239933" y="270625"/>
                    </a:lnTo>
                    <a:cubicBezTo>
                      <a:pt x="242660" y="270625"/>
                      <a:pt x="244898" y="268387"/>
                      <a:pt x="244898" y="265660"/>
                    </a:cubicBezTo>
                    <a:lnTo>
                      <a:pt x="244898" y="131415"/>
                    </a:lnTo>
                    <a:cubicBezTo>
                      <a:pt x="244898" y="128688"/>
                      <a:pt x="242660" y="126450"/>
                      <a:pt x="239933" y="126450"/>
                    </a:cubicBezTo>
                    <a:lnTo>
                      <a:pt x="117342" y="126450"/>
                    </a:lnTo>
                    <a:lnTo>
                      <a:pt x="117342" y="4965"/>
                    </a:lnTo>
                    <a:cubicBezTo>
                      <a:pt x="117342" y="2238"/>
                      <a:pt x="115104" y="0"/>
                      <a:pt x="112377" y="0"/>
                    </a:cubicBezTo>
                    <a:lnTo>
                      <a:pt x="4965" y="0"/>
                    </a:lnTo>
                    <a:cubicBezTo>
                      <a:pt x="2238" y="0"/>
                      <a:pt x="0" y="2213"/>
                      <a:pt x="0" y="4965"/>
                    </a:cubicBezTo>
                    <a:close/>
                    <a:moveTo>
                      <a:pt x="234967" y="136380"/>
                    </a:moveTo>
                    <a:lnTo>
                      <a:pt x="234967" y="260695"/>
                    </a:lnTo>
                    <a:lnTo>
                      <a:pt x="16646" y="260695"/>
                    </a:lnTo>
                    <a:lnTo>
                      <a:pt x="16646" y="136380"/>
                    </a:lnTo>
                    <a:lnTo>
                      <a:pt x="234967" y="136380"/>
                    </a:lnTo>
                    <a:close/>
                  </a:path>
                </a:pathLst>
              </a:custGeom>
              <a:solidFill>
                <a:schemeClr val="tx2"/>
              </a:solidFill>
              <a:ln w="2571" cap="flat">
                <a:noFill/>
                <a:prstDash val="solid"/>
                <a:miter/>
              </a:ln>
            </p:spPr>
            <p:txBody>
              <a:bodyPr rtlCol="0" anchor="ctr"/>
              <a:lstStyle/>
              <a:p>
                <a:endParaRPr lang="en-GB" dirty="0"/>
              </a:p>
            </p:txBody>
          </p:sp>
        </p:grpSp>
        <p:sp>
          <p:nvSpPr>
            <p:cNvPr id="344" name="Freihandform: Form 226">
              <a:extLst>
                <a:ext uri="{FF2B5EF4-FFF2-40B4-BE49-F238E27FC236}">
                  <a16:creationId xmlns:a16="http://schemas.microsoft.com/office/drawing/2014/main" id="{071A01CE-DECF-4408-9C8E-AA35B65F5F9B}"/>
                </a:ext>
              </a:extLst>
            </p:cNvPr>
            <p:cNvSpPr/>
            <p:nvPr/>
          </p:nvSpPr>
          <p:spPr>
            <a:xfrm>
              <a:off x="1094565" y="2654736"/>
              <a:ext cx="77053" cy="77053"/>
            </a:xfrm>
            <a:custGeom>
              <a:avLst/>
              <a:gdLst>
                <a:gd name="connsiteX0" fmla="*/ 38514 w 77053"/>
                <a:gd name="connsiteY0" fmla="*/ 77053 h 77053"/>
                <a:gd name="connsiteX1" fmla="*/ 77053 w 77053"/>
                <a:gd name="connsiteY1" fmla="*/ 38514 h 77053"/>
                <a:gd name="connsiteX2" fmla="*/ 38514 w 77053"/>
                <a:gd name="connsiteY2" fmla="*/ 0 h 77053"/>
                <a:gd name="connsiteX3" fmla="*/ 0 w 77053"/>
                <a:gd name="connsiteY3" fmla="*/ 38514 h 77053"/>
                <a:gd name="connsiteX4" fmla="*/ 38514 w 77053"/>
                <a:gd name="connsiteY4" fmla="*/ 77053 h 77053"/>
                <a:gd name="connsiteX5" fmla="*/ 38514 w 77053"/>
                <a:gd name="connsiteY5" fmla="*/ 9931 h 77053"/>
                <a:gd name="connsiteX6" fmla="*/ 67122 w 77053"/>
                <a:gd name="connsiteY6" fmla="*/ 38514 h 77053"/>
                <a:gd name="connsiteX7" fmla="*/ 38514 w 77053"/>
                <a:gd name="connsiteY7" fmla="*/ 67122 h 77053"/>
                <a:gd name="connsiteX8" fmla="*/ 9905 w 77053"/>
                <a:gd name="connsiteY8" fmla="*/ 38514 h 77053"/>
                <a:gd name="connsiteX9" fmla="*/ 38514 w 77053"/>
                <a:gd name="connsiteY9" fmla="*/ 9931 h 7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53" h="77053">
                  <a:moveTo>
                    <a:pt x="38514" y="77053"/>
                  </a:moveTo>
                  <a:cubicBezTo>
                    <a:pt x="59764" y="77053"/>
                    <a:pt x="77053" y="59765"/>
                    <a:pt x="77053" y="38514"/>
                  </a:cubicBezTo>
                  <a:cubicBezTo>
                    <a:pt x="77053" y="17263"/>
                    <a:pt x="59764" y="0"/>
                    <a:pt x="38514" y="0"/>
                  </a:cubicBezTo>
                  <a:cubicBezTo>
                    <a:pt x="17263" y="0"/>
                    <a:pt x="0" y="17289"/>
                    <a:pt x="0" y="38514"/>
                  </a:cubicBezTo>
                  <a:cubicBezTo>
                    <a:pt x="0" y="59765"/>
                    <a:pt x="17263" y="77053"/>
                    <a:pt x="38514" y="77053"/>
                  </a:cubicBezTo>
                  <a:close/>
                  <a:moveTo>
                    <a:pt x="38514" y="9931"/>
                  </a:moveTo>
                  <a:cubicBezTo>
                    <a:pt x="54285" y="9931"/>
                    <a:pt x="67122" y="22769"/>
                    <a:pt x="67122" y="38514"/>
                  </a:cubicBezTo>
                  <a:cubicBezTo>
                    <a:pt x="67122" y="54285"/>
                    <a:pt x="54285" y="67122"/>
                    <a:pt x="38514" y="67122"/>
                  </a:cubicBezTo>
                  <a:cubicBezTo>
                    <a:pt x="22743" y="67122"/>
                    <a:pt x="9905" y="54285"/>
                    <a:pt x="9905" y="38514"/>
                  </a:cubicBezTo>
                  <a:cubicBezTo>
                    <a:pt x="9931" y="22743"/>
                    <a:pt x="22743" y="9931"/>
                    <a:pt x="38514" y="9931"/>
                  </a:cubicBezTo>
                  <a:close/>
                </a:path>
              </a:pathLst>
            </a:custGeom>
            <a:solidFill>
              <a:schemeClr val="accent1"/>
            </a:solidFill>
            <a:ln w="2571" cap="flat">
              <a:noFill/>
              <a:prstDash val="solid"/>
              <a:miter/>
            </a:ln>
          </p:spPr>
          <p:txBody>
            <a:bodyPr rtlCol="0" anchor="ctr"/>
            <a:lstStyle/>
            <a:p>
              <a:endParaRPr lang="en-GB" dirty="0"/>
            </a:p>
          </p:txBody>
        </p:sp>
      </p:grpSp>
      <p:grpSp>
        <p:nvGrpSpPr>
          <p:cNvPr id="364" name="Group 363">
            <a:extLst>
              <a:ext uri="{FF2B5EF4-FFF2-40B4-BE49-F238E27FC236}">
                <a16:creationId xmlns:a16="http://schemas.microsoft.com/office/drawing/2014/main" id="{3A5EF6E7-22C3-467C-9150-6CC7D510BFD3}"/>
              </a:ext>
            </a:extLst>
          </p:cNvPr>
          <p:cNvGrpSpPr>
            <a:grpSpLocks noChangeAspect="1"/>
          </p:cNvGrpSpPr>
          <p:nvPr/>
        </p:nvGrpSpPr>
        <p:grpSpPr>
          <a:xfrm>
            <a:off x="8102848" y="1585985"/>
            <a:ext cx="479623" cy="432005"/>
            <a:chOff x="5220880" y="4073865"/>
            <a:chExt cx="555848" cy="500660"/>
          </a:xfrm>
        </p:grpSpPr>
        <p:grpSp>
          <p:nvGrpSpPr>
            <p:cNvPr id="365" name="Group 364">
              <a:extLst>
                <a:ext uri="{FF2B5EF4-FFF2-40B4-BE49-F238E27FC236}">
                  <a16:creationId xmlns:a16="http://schemas.microsoft.com/office/drawing/2014/main" id="{409FB908-2C51-4C52-929B-2EA9CF09FC77}"/>
                </a:ext>
              </a:extLst>
            </p:cNvPr>
            <p:cNvGrpSpPr/>
            <p:nvPr/>
          </p:nvGrpSpPr>
          <p:grpSpPr>
            <a:xfrm>
              <a:off x="5220880" y="4073865"/>
              <a:ext cx="417536" cy="500629"/>
              <a:chOff x="5220871" y="4073870"/>
              <a:chExt cx="417535" cy="500630"/>
            </a:xfrm>
          </p:grpSpPr>
          <p:sp>
            <p:nvSpPr>
              <p:cNvPr id="369" name="Freihandform: Form 423">
                <a:extLst>
                  <a:ext uri="{FF2B5EF4-FFF2-40B4-BE49-F238E27FC236}">
                    <a16:creationId xmlns:a16="http://schemas.microsoft.com/office/drawing/2014/main" id="{F9DA6C34-4D9E-4348-A28F-8739D9218F86}"/>
                  </a:ext>
                </a:extLst>
              </p:cNvPr>
              <p:cNvSpPr/>
              <p:nvPr/>
            </p:nvSpPr>
            <p:spPr>
              <a:xfrm>
                <a:off x="5220871" y="4332283"/>
                <a:ext cx="242169" cy="242217"/>
              </a:xfrm>
              <a:custGeom>
                <a:avLst/>
                <a:gdLst>
                  <a:gd name="connsiteX0" fmla="*/ 125620 w 242169"/>
                  <a:gd name="connsiteY0" fmla="*/ 242217 h 242217"/>
                  <a:gd name="connsiteX1" fmla="*/ 125220 w 242169"/>
                  <a:gd name="connsiteY1" fmla="*/ 242192 h 242217"/>
                  <a:gd name="connsiteX2" fmla="*/ 98169 w 242169"/>
                  <a:gd name="connsiteY2" fmla="*/ 240092 h 242217"/>
                  <a:gd name="connsiteX3" fmla="*/ 94744 w 242169"/>
                  <a:gd name="connsiteY3" fmla="*/ 238342 h 242217"/>
                  <a:gd name="connsiteX4" fmla="*/ 93544 w 242169"/>
                  <a:gd name="connsiteY4" fmla="*/ 234692 h 242217"/>
                  <a:gd name="connsiteX5" fmla="*/ 95594 w 242169"/>
                  <a:gd name="connsiteY5" fmla="*/ 208491 h 242217"/>
                  <a:gd name="connsiteX6" fmla="*/ 63993 w 242169"/>
                  <a:gd name="connsiteY6" fmla="*/ 191966 h 242217"/>
                  <a:gd name="connsiteX7" fmla="*/ 43618 w 242169"/>
                  <a:gd name="connsiteY7" fmla="*/ 208617 h 242217"/>
                  <a:gd name="connsiteX8" fmla="*/ 36568 w 242169"/>
                  <a:gd name="connsiteY8" fmla="*/ 207917 h 242217"/>
                  <a:gd name="connsiteX9" fmla="*/ 19342 w 242169"/>
                  <a:gd name="connsiteY9" fmla="*/ 186916 h 242217"/>
                  <a:gd name="connsiteX10" fmla="*/ 18217 w 242169"/>
                  <a:gd name="connsiteY10" fmla="*/ 183241 h 242217"/>
                  <a:gd name="connsiteX11" fmla="*/ 20042 w 242169"/>
                  <a:gd name="connsiteY11" fmla="*/ 179866 h 242217"/>
                  <a:gd name="connsiteX12" fmla="*/ 40418 w 242169"/>
                  <a:gd name="connsiteY12" fmla="*/ 163190 h 242217"/>
                  <a:gd name="connsiteX13" fmla="*/ 30843 w 242169"/>
                  <a:gd name="connsiteY13" fmla="*/ 132715 h 242217"/>
                  <a:gd name="connsiteX14" fmla="*/ 4617 w 242169"/>
                  <a:gd name="connsiteY14" fmla="*/ 130639 h 242217"/>
                  <a:gd name="connsiteX15" fmla="*/ 17 w 242169"/>
                  <a:gd name="connsiteY15" fmla="*/ 125239 h 242217"/>
                  <a:gd name="connsiteX16" fmla="*/ 2142 w 242169"/>
                  <a:gd name="connsiteY16" fmla="*/ 98163 h 242217"/>
                  <a:gd name="connsiteX17" fmla="*/ 3892 w 242169"/>
                  <a:gd name="connsiteY17" fmla="*/ 94738 h 242217"/>
                  <a:gd name="connsiteX18" fmla="*/ 7542 w 242169"/>
                  <a:gd name="connsiteY18" fmla="*/ 93538 h 242217"/>
                  <a:gd name="connsiteX19" fmla="*/ 33743 w 242169"/>
                  <a:gd name="connsiteY19" fmla="*/ 95588 h 242217"/>
                  <a:gd name="connsiteX20" fmla="*/ 47993 w 242169"/>
                  <a:gd name="connsiteY20" fmla="*/ 66938 h 242217"/>
                  <a:gd name="connsiteX21" fmla="*/ 30468 w 242169"/>
                  <a:gd name="connsiteY21" fmla="*/ 47262 h 242217"/>
                  <a:gd name="connsiteX22" fmla="*/ 29218 w 242169"/>
                  <a:gd name="connsiteY22" fmla="*/ 43637 h 242217"/>
                  <a:gd name="connsiteX23" fmla="*/ 30893 w 242169"/>
                  <a:gd name="connsiteY23" fmla="*/ 40187 h 242217"/>
                  <a:gd name="connsiteX24" fmla="*/ 51193 w 242169"/>
                  <a:gd name="connsiteY24" fmla="*/ 22161 h 242217"/>
                  <a:gd name="connsiteX25" fmla="*/ 58268 w 242169"/>
                  <a:gd name="connsiteY25" fmla="*/ 22561 h 242217"/>
                  <a:gd name="connsiteX26" fmla="*/ 75769 w 242169"/>
                  <a:gd name="connsiteY26" fmla="*/ 42212 h 242217"/>
                  <a:gd name="connsiteX27" fmla="*/ 109545 w 242169"/>
                  <a:gd name="connsiteY27" fmla="*/ 30837 h 242217"/>
                  <a:gd name="connsiteX28" fmla="*/ 111620 w 242169"/>
                  <a:gd name="connsiteY28" fmla="*/ 4611 h 242217"/>
                  <a:gd name="connsiteX29" fmla="*/ 116995 w 242169"/>
                  <a:gd name="connsiteY29" fmla="*/ 11 h 242217"/>
                  <a:gd name="connsiteX30" fmla="*/ 144046 w 242169"/>
                  <a:gd name="connsiteY30" fmla="*/ 2136 h 242217"/>
                  <a:gd name="connsiteX31" fmla="*/ 147471 w 242169"/>
                  <a:gd name="connsiteY31" fmla="*/ 3886 h 242217"/>
                  <a:gd name="connsiteX32" fmla="*/ 148646 w 242169"/>
                  <a:gd name="connsiteY32" fmla="*/ 7536 h 242217"/>
                  <a:gd name="connsiteX33" fmla="*/ 146571 w 242169"/>
                  <a:gd name="connsiteY33" fmla="*/ 33762 h 242217"/>
                  <a:gd name="connsiteX34" fmla="*/ 178147 w 242169"/>
                  <a:gd name="connsiteY34" fmla="*/ 50287 h 242217"/>
                  <a:gd name="connsiteX35" fmla="*/ 198522 w 242169"/>
                  <a:gd name="connsiteY35" fmla="*/ 33637 h 242217"/>
                  <a:gd name="connsiteX36" fmla="*/ 205572 w 242169"/>
                  <a:gd name="connsiteY36" fmla="*/ 34337 h 242217"/>
                  <a:gd name="connsiteX37" fmla="*/ 222798 w 242169"/>
                  <a:gd name="connsiteY37" fmla="*/ 55312 h 242217"/>
                  <a:gd name="connsiteX38" fmla="*/ 223923 w 242169"/>
                  <a:gd name="connsiteY38" fmla="*/ 58987 h 242217"/>
                  <a:gd name="connsiteX39" fmla="*/ 222098 w 242169"/>
                  <a:gd name="connsiteY39" fmla="*/ 62363 h 242217"/>
                  <a:gd name="connsiteX40" fmla="*/ 201722 w 242169"/>
                  <a:gd name="connsiteY40" fmla="*/ 79063 h 242217"/>
                  <a:gd name="connsiteX41" fmla="*/ 211323 w 242169"/>
                  <a:gd name="connsiteY41" fmla="*/ 109564 h 242217"/>
                  <a:gd name="connsiteX42" fmla="*/ 237548 w 242169"/>
                  <a:gd name="connsiteY42" fmla="*/ 111614 h 242217"/>
                  <a:gd name="connsiteX43" fmla="*/ 240973 w 242169"/>
                  <a:gd name="connsiteY43" fmla="*/ 113364 h 242217"/>
                  <a:gd name="connsiteX44" fmla="*/ 242148 w 242169"/>
                  <a:gd name="connsiteY44" fmla="*/ 117014 h 242217"/>
                  <a:gd name="connsiteX45" fmla="*/ 239998 w 242169"/>
                  <a:gd name="connsiteY45" fmla="*/ 144115 h 242217"/>
                  <a:gd name="connsiteX46" fmla="*/ 234598 w 242169"/>
                  <a:gd name="connsiteY46" fmla="*/ 148715 h 242217"/>
                  <a:gd name="connsiteX47" fmla="*/ 208373 w 242169"/>
                  <a:gd name="connsiteY47" fmla="*/ 146640 h 242217"/>
                  <a:gd name="connsiteX48" fmla="*/ 194147 w 242169"/>
                  <a:gd name="connsiteY48" fmla="*/ 175265 h 242217"/>
                  <a:gd name="connsiteX49" fmla="*/ 211673 w 242169"/>
                  <a:gd name="connsiteY49" fmla="*/ 194941 h 242217"/>
                  <a:gd name="connsiteX50" fmla="*/ 212923 w 242169"/>
                  <a:gd name="connsiteY50" fmla="*/ 198566 h 242217"/>
                  <a:gd name="connsiteX51" fmla="*/ 211248 w 242169"/>
                  <a:gd name="connsiteY51" fmla="*/ 202016 h 242217"/>
                  <a:gd name="connsiteX52" fmla="*/ 190947 w 242169"/>
                  <a:gd name="connsiteY52" fmla="*/ 220092 h 242217"/>
                  <a:gd name="connsiteX53" fmla="*/ 187322 w 242169"/>
                  <a:gd name="connsiteY53" fmla="*/ 221342 h 242217"/>
                  <a:gd name="connsiteX54" fmla="*/ 183872 w 242169"/>
                  <a:gd name="connsiteY54" fmla="*/ 219667 h 242217"/>
                  <a:gd name="connsiteX55" fmla="*/ 166371 w 242169"/>
                  <a:gd name="connsiteY55" fmla="*/ 199991 h 242217"/>
                  <a:gd name="connsiteX56" fmla="*/ 132570 w 242169"/>
                  <a:gd name="connsiteY56" fmla="*/ 211367 h 242217"/>
                  <a:gd name="connsiteX57" fmla="*/ 130520 w 242169"/>
                  <a:gd name="connsiteY57" fmla="*/ 237567 h 242217"/>
                  <a:gd name="connsiteX58" fmla="*/ 125620 w 242169"/>
                  <a:gd name="connsiteY58" fmla="*/ 242217 h 242217"/>
                  <a:gd name="connsiteX59" fmla="*/ 103970 w 242169"/>
                  <a:gd name="connsiteY59" fmla="*/ 230492 h 242217"/>
                  <a:gd name="connsiteX60" fmla="*/ 121020 w 242169"/>
                  <a:gd name="connsiteY60" fmla="*/ 231817 h 242217"/>
                  <a:gd name="connsiteX61" fmla="*/ 123020 w 242169"/>
                  <a:gd name="connsiteY61" fmla="*/ 206442 h 242217"/>
                  <a:gd name="connsiteX62" fmla="*/ 127620 w 242169"/>
                  <a:gd name="connsiteY62" fmla="*/ 201841 h 242217"/>
                  <a:gd name="connsiteX63" fmla="*/ 164746 w 242169"/>
                  <a:gd name="connsiteY63" fmla="*/ 189341 h 242217"/>
                  <a:gd name="connsiteX64" fmla="*/ 171196 w 242169"/>
                  <a:gd name="connsiteY64" fmla="*/ 190216 h 242217"/>
                  <a:gd name="connsiteX65" fmla="*/ 188147 w 242169"/>
                  <a:gd name="connsiteY65" fmla="*/ 209267 h 242217"/>
                  <a:gd name="connsiteX66" fmla="*/ 200947 w 242169"/>
                  <a:gd name="connsiteY66" fmla="*/ 197866 h 242217"/>
                  <a:gd name="connsiteX67" fmla="*/ 183997 w 242169"/>
                  <a:gd name="connsiteY67" fmla="*/ 178816 h 242217"/>
                  <a:gd name="connsiteX68" fmla="*/ 183872 w 242169"/>
                  <a:gd name="connsiteY68" fmla="*/ 172291 h 242217"/>
                  <a:gd name="connsiteX69" fmla="*/ 199847 w 242169"/>
                  <a:gd name="connsiteY69" fmla="*/ 140165 h 242217"/>
                  <a:gd name="connsiteX70" fmla="*/ 205122 w 242169"/>
                  <a:gd name="connsiteY70" fmla="*/ 136340 h 242217"/>
                  <a:gd name="connsiteX71" fmla="*/ 230498 w 242169"/>
                  <a:gd name="connsiteY71" fmla="*/ 138340 h 242217"/>
                  <a:gd name="connsiteX72" fmla="*/ 231848 w 242169"/>
                  <a:gd name="connsiteY72" fmla="*/ 121214 h 242217"/>
                  <a:gd name="connsiteX73" fmla="*/ 206447 w 242169"/>
                  <a:gd name="connsiteY73" fmla="*/ 119239 h 242217"/>
                  <a:gd name="connsiteX74" fmla="*/ 201847 w 242169"/>
                  <a:gd name="connsiteY74" fmla="*/ 114639 h 242217"/>
                  <a:gd name="connsiteX75" fmla="*/ 191072 w 242169"/>
                  <a:gd name="connsiteY75" fmla="*/ 80388 h 242217"/>
                  <a:gd name="connsiteX76" fmla="*/ 192222 w 242169"/>
                  <a:gd name="connsiteY76" fmla="*/ 73963 h 242217"/>
                  <a:gd name="connsiteX77" fmla="*/ 211973 w 242169"/>
                  <a:gd name="connsiteY77" fmla="*/ 57787 h 242217"/>
                  <a:gd name="connsiteX78" fmla="*/ 201122 w 242169"/>
                  <a:gd name="connsiteY78" fmla="*/ 44562 h 242217"/>
                  <a:gd name="connsiteX79" fmla="*/ 181372 w 242169"/>
                  <a:gd name="connsiteY79" fmla="*/ 60687 h 242217"/>
                  <a:gd name="connsiteX80" fmla="*/ 174872 w 242169"/>
                  <a:gd name="connsiteY80" fmla="*/ 60562 h 242217"/>
                  <a:gd name="connsiteX81" fmla="*/ 140196 w 242169"/>
                  <a:gd name="connsiteY81" fmla="*/ 42412 h 242217"/>
                  <a:gd name="connsiteX82" fmla="*/ 136371 w 242169"/>
                  <a:gd name="connsiteY82" fmla="*/ 37137 h 242217"/>
                  <a:gd name="connsiteX83" fmla="*/ 138371 w 242169"/>
                  <a:gd name="connsiteY83" fmla="*/ 11736 h 242217"/>
                  <a:gd name="connsiteX84" fmla="*/ 121320 w 242169"/>
                  <a:gd name="connsiteY84" fmla="*/ 10386 h 242217"/>
                  <a:gd name="connsiteX85" fmla="*/ 119320 w 242169"/>
                  <a:gd name="connsiteY85" fmla="*/ 35787 h 242217"/>
                  <a:gd name="connsiteX86" fmla="*/ 114720 w 242169"/>
                  <a:gd name="connsiteY86" fmla="*/ 40387 h 242217"/>
                  <a:gd name="connsiteX87" fmla="*/ 77594 w 242169"/>
                  <a:gd name="connsiteY87" fmla="*/ 52887 h 242217"/>
                  <a:gd name="connsiteX88" fmla="*/ 71144 w 242169"/>
                  <a:gd name="connsiteY88" fmla="*/ 52012 h 242217"/>
                  <a:gd name="connsiteX89" fmla="*/ 54193 w 242169"/>
                  <a:gd name="connsiteY89" fmla="*/ 32962 h 242217"/>
                  <a:gd name="connsiteX90" fmla="*/ 41393 w 242169"/>
                  <a:gd name="connsiteY90" fmla="*/ 44337 h 242217"/>
                  <a:gd name="connsiteX91" fmla="*/ 58343 w 242169"/>
                  <a:gd name="connsiteY91" fmla="*/ 63387 h 242217"/>
                  <a:gd name="connsiteX92" fmla="*/ 58468 w 242169"/>
                  <a:gd name="connsiteY92" fmla="*/ 69888 h 242217"/>
                  <a:gd name="connsiteX93" fmla="*/ 42468 w 242169"/>
                  <a:gd name="connsiteY93" fmla="*/ 102089 h 242217"/>
                  <a:gd name="connsiteX94" fmla="*/ 37193 w 242169"/>
                  <a:gd name="connsiteY94" fmla="*/ 105914 h 242217"/>
                  <a:gd name="connsiteX95" fmla="*/ 11817 w 242169"/>
                  <a:gd name="connsiteY95" fmla="*/ 103914 h 242217"/>
                  <a:gd name="connsiteX96" fmla="*/ 10467 w 242169"/>
                  <a:gd name="connsiteY96" fmla="*/ 120989 h 242217"/>
                  <a:gd name="connsiteX97" fmla="*/ 35868 w 242169"/>
                  <a:gd name="connsiteY97" fmla="*/ 123014 h 242217"/>
                  <a:gd name="connsiteX98" fmla="*/ 40468 w 242169"/>
                  <a:gd name="connsiteY98" fmla="*/ 127614 h 242217"/>
                  <a:gd name="connsiteX99" fmla="*/ 51218 w 242169"/>
                  <a:gd name="connsiteY99" fmla="*/ 161865 h 242217"/>
                  <a:gd name="connsiteX100" fmla="*/ 50068 w 242169"/>
                  <a:gd name="connsiteY100" fmla="*/ 168265 h 242217"/>
                  <a:gd name="connsiteX101" fmla="*/ 30343 w 242169"/>
                  <a:gd name="connsiteY101" fmla="*/ 184416 h 242217"/>
                  <a:gd name="connsiteX102" fmla="*/ 41218 w 242169"/>
                  <a:gd name="connsiteY102" fmla="*/ 197666 h 242217"/>
                  <a:gd name="connsiteX103" fmla="*/ 60943 w 242169"/>
                  <a:gd name="connsiteY103" fmla="*/ 181541 h 242217"/>
                  <a:gd name="connsiteX104" fmla="*/ 67444 w 242169"/>
                  <a:gd name="connsiteY104" fmla="*/ 181666 h 242217"/>
                  <a:gd name="connsiteX105" fmla="*/ 102170 w 242169"/>
                  <a:gd name="connsiteY105" fmla="*/ 199816 h 242217"/>
                  <a:gd name="connsiteX106" fmla="*/ 105995 w 242169"/>
                  <a:gd name="connsiteY106" fmla="*/ 205066 h 242217"/>
                  <a:gd name="connsiteX107" fmla="*/ 103970 w 242169"/>
                  <a:gd name="connsiteY107" fmla="*/ 230492 h 242217"/>
                  <a:gd name="connsiteX108" fmla="*/ 121045 w 242169"/>
                  <a:gd name="connsiteY108" fmla="*/ 171915 h 242217"/>
                  <a:gd name="connsiteX109" fmla="*/ 70694 w 242169"/>
                  <a:gd name="connsiteY109" fmla="*/ 126764 h 242217"/>
                  <a:gd name="connsiteX110" fmla="*/ 81469 w 242169"/>
                  <a:gd name="connsiteY110" fmla="*/ 89438 h 242217"/>
                  <a:gd name="connsiteX111" fmla="*/ 115470 w 242169"/>
                  <a:gd name="connsiteY111" fmla="*/ 70688 h 242217"/>
                  <a:gd name="connsiteX112" fmla="*/ 171571 w 242169"/>
                  <a:gd name="connsiteY112" fmla="*/ 115489 h 242217"/>
                  <a:gd name="connsiteX113" fmla="*/ 126770 w 242169"/>
                  <a:gd name="connsiteY113" fmla="*/ 171590 h 242217"/>
                  <a:gd name="connsiteX114" fmla="*/ 121045 w 242169"/>
                  <a:gd name="connsiteY114" fmla="*/ 171915 h 242217"/>
                  <a:gd name="connsiteX115" fmla="*/ 121170 w 242169"/>
                  <a:gd name="connsiteY115" fmla="*/ 80413 h 242217"/>
                  <a:gd name="connsiteX116" fmla="*/ 116595 w 242169"/>
                  <a:gd name="connsiteY116" fmla="*/ 80663 h 242217"/>
                  <a:gd name="connsiteX117" fmla="*/ 89294 w 242169"/>
                  <a:gd name="connsiteY117" fmla="*/ 95713 h 242217"/>
                  <a:gd name="connsiteX118" fmla="*/ 80669 w 242169"/>
                  <a:gd name="connsiteY118" fmla="*/ 125664 h 242217"/>
                  <a:gd name="connsiteX119" fmla="*/ 125645 w 242169"/>
                  <a:gd name="connsiteY119" fmla="*/ 161640 h 242217"/>
                  <a:gd name="connsiteX120" fmla="*/ 161621 w 242169"/>
                  <a:gd name="connsiteY120" fmla="*/ 116614 h 242217"/>
                  <a:gd name="connsiteX121" fmla="*/ 121170 w 242169"/>
                  <a:gd name="connsiteY121" fmla="*/ 80413 h 242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242169" h="242217">
                    <a:moveTo>
                      <a:pt x="125620" y="242217"/>
                    </a:moveTo>
                    <a:cubicBezTo>
                      <a:pt x="125495" y="242217"/>
                      <a:pt x="125370" y="242217"/>
                      <a:pt x="125220" y="242192"/>
                    </a:cubicBezTo>
                    <a:lnTo>
                      <a:pt x="98169" y="240092"/>
                    </a:lnTo>
                    <a:cubicBezTo>
                      <a:pt x="96844" y="239992"/>
                      <a:pt x="95619" y="239367"/>
                      <a:pt x="94744" y="238342"/>
                    </a:cubicBezTo>
                    <a:cubicBezTo>
                      <a:pt x="93869" y="237342"/>
                      <a:pt x="93444" y="236017"/>
                      <a:pt x="93544" y="234692"/>
                    </a:cubicBezTo>
                    <a:lnTo>
                      <a:pt x="95594" y="208491"/>
                    </a:lnTo>
                    <a:cubicBezTo>
                      <a:pt x="84094" y="205116"/>
                      <a:pt x="73319" y="199466"/>
                      <a:pt x="63993" y="191966"/>
                    </a:cubicBezTo>
                    <a:lnTo>
                      <a:pt x="43618" y="208617"/>
                    </a:lnTo>
                    <a:cubicBezTo>
                      <a:pt x="41468" y="210367"/>
                      <a:pt x="38318" y="210041"/>
                      <a:pt x="36568" y="207917"/>
                    </a:cubicBezTo>
                    <a:lnTo>
                      <a:pt x="19342" y="186916"/>
                    </a:lnTo>
                    <a:cubicBezTo>
                      <a:pt x="18492" y="185891"/>
                      <a:pt x="18092" y="184566"/>
                      <a:pt x="18217" y="183241"/>
                    </a:cubicBezTo>
                    <a:cubicBezTo>
                      <a:pt x="18342" y="181916"/>
                      <a:pt x="18992" y="180691"/>
                      <a:pt x="20042" y="179866"/>
                    </a:cubicBezTo>
                    <a:lnTo>
                      <a:pt x="40418" y="163190"/>
                    </a:lnTo>
                    <a:cubicBezTo>
                      <a:pt x="35468" y="153715"/>
                      <a:pt x="32193" y="143315"/>
                      <a:pt x="30843" y="132715"/>
                    </a:cubicBezTo>
                    <a:lnTo>
                      <a:pt x="4617" y="130639"/>
                    </a:lnTo>
                    <a:cubicBezTo>
                      <a:pt x="1867" y="130414"/>
                      <a:pt x="-208" y="128014"/>
                      <a:pt x="17" y="125239"/>
                    </a:cubicBezTo>
                    <a:lnTo>
                      <a:pt x="2142" y="98163"/>
                    </a:lnTo>
                    <a:cubicBezTo>
                      <a:pt x="2242" y="96838"/>
                      <a:pt x="2867" y="95613"/>
                      <a:pt x="3892" y="94738"/>
                    </a:cubicBezTo>
                    <a:cubicBezTo>
                      <a:pt x="4892" y="93888"/>
                      <a:pt x="6217" y="93488"/>
                      <a:pt x="7542" y="93538"/>
                    </a:cubicBezTo>
                    <a:lnTo>
                      <a:pt x="33743" y="95588"/>
                    </a:lnTo>
                    <a:cubicBezTo>
                      <a:pt x="36743" y="85238"/>
                      <a:pt x="41518" y="75638"/>
                      <a:pt x="47993" y="66938"/>
                    </a:cubicBezTo>
                    <a:lnTo>
                      <a:pt x="30468" y="47262"/>
                    </a:lnTo>
                    <a:cubicBezTo>
                      <a:pt x="29593" y="46262"/>
                      <a:pt x="29118" y="44962"/>
                      <a:pt x="29218" y="43637"/>
                    </a:cubicBezTo>
                    <a:cubicBezTo>
                      <a:pt x="29293" y="42312"/>
                      <a:pt x="29893" y="41062"/>
                      <a:pt x="30893" y="40187"/>
                    </a:cubicBezTo>
                    <a:lnTo>
                      <a:pt x="51193" y="22161"/>
                    </a:lnTo>
                    <a:cubicBezTo>
                      <a:pt x="53268" y="20311"/>
                      <a:pt x="56443" y="20511"/>
                      <a:pt x="58268" y="22561"/>
                    </a:cubicBezTo>
                    <a:lnTo>
                      <a:pt x="75769" y="42212"/>
                    </a:lnTo>
                    <a:cubicBezTo>
                      <a:pt x="86119" y="36262"/>
                      <a:pt x="97644" y="32387"/>
                      <a:pt x="109545" y="30837"/>
                    </a:cubicBezTo>
                    <a:lnTo>
                      <a:pt x="111620" y="4611"/>
                    </a:lnTo>
                    <a:cubicBezTo>
                      <a:pt x="111845" y="1836"/>
                      <a:pt x="114295" y="-164"/>
                      <a:pt x="116995" y="11"/>
                    </a:cubicBezTo>
                    <a:lnTo>
                      <a:pt x="144046" y="2136"/>
                    </a:lnTo>
                    <a:cubicBezTo>
                      <a:pt x="145371" y="2236"/>
                      <a:pt x="146596" y="2861"/>
                      <a:pt x="147471" y="3886"/>
                    </a:cubicBezTo>
                    <a:cubicBezTo>
                      <a:pt x="148346" y="4886"/>
                      <a:pt x="148771" y="6211"/>
                      <a:pt x="148646" y="7536"/>
                    </a:cubicBezTo>
                    <a:lnTo>
                      <a:pt x="146571" y="33762"/>
                    </a:lnTo>
                    <a:cubicBezTo>
                      <a:pt x="158021" y="37087"/>
                      <a:pt x="168796" y="42737"/>
                      <a:pt x="178147" y="50287"/>
                    </a:cubicBezTo>
                    <a:lnTo>
                      <a:pt x="198522" y="33637"/>
                    </a:lnTo>
                    <a:cubicBezTo>
                      <a:pt x="200672" y="31887"/>
                      <a:pt x="203822" y="32212"/>
                      <a:pt x="205572" y="34337"/>
                    </a:cubicBezTo>
                    <a:lnTo>
                      <a:pt x="222798" y="55312"/>
                    </a:lnTo>
                    <a:cubicBezTo>
                      <a:pt x="223648" y="56337"/>
                      <a:pt x="224048" y="57662"/>
                      <a:pt x="223923" y="58987"/>
                    </a:cubicBezTo>
                    <a:cubicBezTo>
                      <a:pt x="223798" y="60312"/>
                      <a:pt x="223148" y="61537"/>
                      <a:pt x="222098" y="62363"/>
                    </a:cubicBezTo>
                    <a:lnTo>
                      <a:pt x="201722" y="79063"/>
                    </a:lnTo>
                    <a:cubicBezTo>
                      <a:pt x="206672" y="88513"/>
                      <a:pt x="209948" y="98914"/>
                      <a:pt x="211323" y="109564"/>
                    </a:cubicBezTo>
                    <a:lnTo>
                      <a:pt x="237548" y="111614"/>
                    </a:lnTo>
                    <a:cubicBezTo>
                      <a:pt x="238873" y="111714"/>
                      <a:pt x="240098" y="112339"/>
                      <a:pt x="240973" y="113364"/>
                    </a:cubicBezTo>
                    <a:cubicBezTo>
                      <a:pt x="241848" y="114364"/>
                      <a:pt x="242273" y="115689"/>
                      <a:pt x="242148" y="117014"/>
                    </a:cubicBezTo>
                    <a:lnTo>
                      <a:pt x="239998" y="144115"/>
                    </a:lnTo>
                    <a:cubicBezTo>
                      <a:pt x="239773" y="146865"/>
                      <a:pt x="237348" y="148815"/>
                      <a:pt x="234598" y="148715"/>
                    </a:cubicBezTo>
                    <a:lnTo>
                      <a:pt x="208373" y="146640"/>
                    </a:lnTo>
                    <a:cubicBezTo>
                      <a:pt x="205372" y="156915"/>
                      <a:pt x="200522" y="166665"/>
                      <a:pt x="194147" y="175265"/>
                    </a:cubicBezTo>
                    <a:lnTo>
                      <a:pt x="211673" y="194941"/>
                    </a:lnTo>
                    <a:cubicBezTo>
                      <a:pt x="212548" y="195941"/>
                      <a:pt x="213023" y="197241"/>
                      <a:pt x="212923" y="198566"/>
                    </a:cubicBezTo>
                    <a:cubicBezTo>
                      <a:pt x="212848" y="199891"/>
                      <a:pt x="212248" y="201141"/>
                      <a:pt x="211248" y="202016"/>
                    </a:cubicBezTo>
                    <a:lnTo>
                      <a:pt x="190947" y="220092"/>
                    </a:lnTo>
                    <a:cubicBezTo>
                      <a:pt x="189947" y="220967"/>
                      <a:pt x="188622" y="221442"/>
                      <a:pt x="187322" y="221342"/>
                    </a:cubicBezTo>
                    <a:cubicBezTo>
                      <a:pt x="185997" y="221267"/>
                      <a:pt x="184747" y="220667"/>
                      <a:pt x="183872" y="219667"/>
                    </a:cubicBezTo>
                    <a:lnTo>
                      <a:pt x="166371" y="199991"/>
                    </a:lnTo>
                    <a:cubicBezTo>
                      <a:pt x="156021" y="205966"/>
                      <a:pt x="144471" y="209842"/>
                      <a:pt x="132570" y="211367"/>
                    </a:cubicBezTo>
                    <a:lnTo>
                      <a:pt x="130520" y="237567"/>
                    </a:lnTo>
                    <a:cubicBezTo>
                      <a:pt x="130420" y="240218"/>
                      <a:pt x="128220" y="242217"/>
                      <a:pt x="125620" y="242217"/>
                    </a:cubicBezTo>
                    <a:close/>
                    <a:moveTo>
                      <a:pt x="103970" y="230492"/>
                    </a:moveTo>
                    <a:lnTo>
                      <a:pt x="121020" y="231817"/>
                    </a:lnTo>
                    <a:lnTo>
                      <a:pt x="123020" y="206442"/>
                    </a:lnTo>
                    <a:cubicBezTo>
                      <a:pt x="123220" y="203991"/>
                      <a:pt x="125170" y="202041"/>
                      <a:pt x="127620" y="201841"/>
                    </a:cubicBezTo>
                    <a:cubicBezTo>
                      <a:pt x="140821" y="200791"/>
                      <a:pt x="153671" y="196466"/>
                      <a:pt x="164746" y="189341"/>
                    </a:cubicBezTo>
                    <a:cubicBezTo>
                      <a:pt x="166821" y="187991"/>
                      <a:pt x="169571" y="188366"/>
                      <a:pt x="171196" y="190216"/>
                    </a:cubicBezTo>
                    <a:lnTo>
                      <a:pt x="188147" y="209267"/>
                    </a:lnTo>
                    <a:lnTo>
                      <a:pt x="200947" y="197866"/>
                    </a:lnTo>
                    <a:lnTo>
                      <a:pt x="183997" y="178816"/>
                    </a:lnTo>
                    <a:cubicBezTo>
                      <a:pt x="182347" y="176966"/>
                      <a:pt x="182297" y="174216"/>
                      <a:pt x="183872" y="172291"/>
                    </a:cubicBezTo>
                    <a:cubicBezTo>
                      <a:pt x="191522" y="162990"/>
                      <a:pt x="197047" y="151890"/>
                      <a:pt x="199847" y="140165"/>
                    </a:cubicBezTo>
                    <a:cubicBezTo>
                      <a:pt x="200422" y="137764"/>
                      <a:pt x="202647" y="136214"/>
                      <a:pt x="205122" y="136340"/>
                    </a:cubicBezTo>
                    <a:lnTo>
                      <a:pt x="230498" y="138340"/>
                    </a:lnTo>
                    <a:lnTo>
                      <a:pt x="231848" y="121214"/>
                    </a:lnTo>
                    <a:lnTo>
                      <a:pt x="206447" y="119239"/>
                    </a:lnTo>
                    <a:cubicBezTo>
                      <a:pt x="203997" y="119039"/>
                      <a:pt x="202047" y="117089"/>
                      <a:pt x="201847" y="114639"/>
                    </a:cubicBezTo>
                    <a:cubicBezTo>
                      <a:pt x="200897" y="102589"/>
                      <a:pt x="197172" y="90738"/>
                      <a:pt x="191072" y="80388"/>
                    </a:cubicBezTo>
                    <a:cubicBezTo>
                      <a:pt x="189822" y="78263"/>
                      <a:pt x="190297" y="75538"/>
                      <a:pt x="192222" y="73963"/>
                    </a:cubicBezTo>
                    <a:lnTo>
                      <a:pt x="211973" y="57787"/>
                    </a:lnTo>
                    <a:lnTo>
                      <a:pt x="201122" y="44562"/>
                    </a:lnTo>
                    <a:lnTo>
                      <a:pt x="181372" y="60687"/>
                    </a:lnTo>
                    <a:cubicBezTo>
                      <a:pt x="179472" y="62237"/>
                      <a:pt x="176697" y="62187"/>
                      <a:pt x="174872" y="60562"/>
                    </a:cubicBezTo>
                    <a:cubicBezTo>
                      <a:pt x="164946" y="51737"/>
                      <a:pt x="152946" y="45462"/>
                      <a:pt x="140196" y="42412"/>
                    </a:cubicBezTo>
                    <a:cubicBezTo>
                      <a:pt x="137796" y="41837"/>
                      <a:pt x="136171" y="39612"/>
                      <a:pt x="136371" y="37137"/>
                    </a:cubicBezTo>
                    <a:lnTo>
                      <a:pt x="138371" y="11736"/>
                    </a:lnTo>
                    <a:lnTo>
                      <a:pt x="121320" y="10386"/>
                    </a:lnTo>
                    <a:lnTo>
                      <a:pt x="119320" y="35787"/>
                    </a:lnTo>
                    <a:cubicBezTo>
                      <a:pt x="119120" y="38237"/>
                      <a:pt x="117195" y="40187"/>
                      <a:pt x="114720" y="40387"/>
                    </a:cubicBezTo>
                    <a:cubicBezTo>
                      <a:pt x="101495" y="41462"/>
                      <a:pt x="88669" y="45787"/>
                      <a:pt x="77594" y="52887"/>
                    </a:cubicBezTo>
                    <a:cubicBezTo>
                      <a:pt x="75494" y="54212"/>
                      <a:pt x="72769" y="53837"/>
                      <a:pt x="71144" y="52012"/>
                    </a:cubicBezTo>
                    <a:lnTo>
                      <a:pt x="54193" y="32962"/>
                    </a:lnTo>
                    <a:lnTo>
                      <a:pt x="41393" y="44337"/>
                    </a:lnTo>
                    <a:lnTo>
                      <a:pt x="58343" y="63387"/>
                    </a:lnTo>
                    <a:cubicBezTo>
                      <a:pt x="59993" y="65237"/>
                      <a:pt x="60043" y="67988"/>
                      <a:pt x="58468" y="69888"/>
                    </a:cubicBezTo>
                    <a:cubicBezTo>
                      <a:pt x="50693" y="79388"/>
                      <a:pt x="45318" y="90213"/>
                      <a:pt x="42468" y="102089"/>
                    </a:cubicBezTo>
                    <a:cubicBezTo>
                      <a:pt x="41893" y="104489"/>
                      <a:pt x="39643" y="106014"/>
                      <a:pt x="37193" y="105914"/>
                    </a:cubicBezTo>
                    <a:lnTo>
                      <a:pt x="11817" y="103914"/>
                    </a:lnTo>
                    <a:lnTo>
                      <a:pt x="10467" y="120989"/>
                    </a:lnTo>
                    <a:lnTo>
                      <a:pt x="35868" y="123014"/>
                    </a:lnTo>
                    <a:cubicBezTo>
                      <a:pt x="38318" y="123214"/>
                      <a:pt x="40268" y="125164"/>
                      <a:pt x="40468" y="127614"/>
                    </a:cubicBezTo>
                    <a:cubicBezTo>
                      <a:pt x="41418" y="139639"/>
                      <a:pt x="45143" y="151465"/>
                      <a:pt x="51218" y="161865"/>
                    </a:cubicBezTo>
                    <a:cubicBezTo>
                      <a:pt x="52468" y="163990"/>
                      <a:pt x="51968" y="166715"/>
                      <a:pt x="50068" y="168265"/>
                    </a:cubicBezTo>
                    <a:lnTo>
                      <a:pt x="30343" y="184416"/>
                    </a:lnTo>
                    <a:lnTo>
                      <a:pt x="41218" y="197666"/>
                    </a:lnTo>
                    <a:lnTo>
                      <a:pt x="60943" y="181541"/>
                    </a:lnTo>
                    <a:cubicBezTo>
                      <a:pt x="62843" y="179966"/>
                      <a:pt x="65594" y="180016"/>
                      <a:pt x="67444" y="181666"/>
                    </a:cubicBezTo>
                    <a:cubicBezTo>
                      <a:pt x="77319" y="190416"/>
                      <a:pt x="89319" y="196691"/>
                      <a:pt x="102170" y="199816"/>
                    </a:cubicBezTo>
                    <a:cubicBezTo>
                      <a:pt x="104570" y="200391"/>
                      <a:pt x="106170" y="202616"/>
                      <a:pt x="105995" y="205066"/>
                    </a:cubicBezTo>
                    <a:lnTo>
                      <a:pt x="103970" y="230492"/>
                    </a:lnTo>
                    <a:close/>
                    <a:moveTo>
                      <a:pt x="121045" y="171915"/>
                    </a:moveTo>
                    <a:cubicBezTo>
                      <a:pt x="95219" y="171915"/>
                      <a:pt x="73569" y="152515"/>
                      <a:pt x="70694" y="126764"/>
                    </a:cubicBezTo>
                    <a:cubicBezTo>
                      <a:pt x="69194" y="113289"/>
                      <a:pt x="72994" y="100038"/>
                      <a:pt x="81469" y="89438"/>
                    </a:cubicBezTo>
                    <a:cubicBezTo>
                      <a:pt x="89919" y="78838"/>
                      <a:pt x="101995" y="72163"/>
                      <a:pt x="115470" y="70688"/>
                    </a:cubicBezTo>
                    <a:cubicBezTo>
                      <a:pt x="143596" y="67513"/>
                      <a:pt x="168471" y="87888"/>
                      <a:pt x="171571" y="115489"/>
                    </a:cubicBezTo>
                    <a:cubicBezTo>
                      <a:pt x="174672" y="143315"/>
                      <a:pt x="154571" y="168490"/>
                      <a:pt x="126770" y="171590"/>
                    </a:cubicBezTo>
                    <a:cubicBezTo>
                      <a:pt x="124845" y="171815"/>
                      <a:pt x="122945" y="171915"/>
                      <a:pt x="121045" y="171915"/>
                    </a:cubicBezTo>
                    <a:close/>
                    <a:moveTo>
                      <a:pt x="121170" y="80413"/>
                    </a:moveTo>
                    <a:cubicBezTo>
                      <a:pt x="119645" y="80413"/>
                      <a:pt x="118120" y="80488"/>
                      <a:pt x="116595" y="80663"/>
                    </a:cubicBezTo>
                    <a:cubicBezTo>
                      <a:pt x="105770" y="81863"/>
                      <a:pt x="96094" y="87213"/>
                      <a:pt x="89294" y="95713"/>
                    </a:cubicBezTo>
                    <a:cubicBezTo>
                      <a:pt x="82519" y="104214"/>
                      <a:pt x="79444" y="114864"/>
                      <a:pt x="80669" y="125664"/>
                    </a:cubicBezTo>
                    <a:cubicBezTo>
                      <a:pt x="83144" y="147840"/>
                      <a:pt x="102945" y="164115"/>
                      <a:pt x="125645" y="161640"/>
                    </a:cubicBezTo>
                    <a:cubicBezTo>
                      <a:pt x="147971" y="159140"/>
                      <a:pt x="164096" y="138940"/>
                      <a:pt x="161621" y="116614"/>
                    </a:cubicBezTo>
                    <a:cubicBezTo>
                      <a:pt x="159296" y="95963"/>
                      <a:pt x="141921" y="80413"/>
                      <a:pt x="121170" y="80413"/>
                    </a:cubicBezTo>
                    <a:close/>
                  </a:path>
                </a:pathLst>
              </a:custGeom>
              <a:solidFill>
                <a:schemeClr val="accent1"/>
              </a:solidFill>
              <a:ln w="2495" cap="flat">
                <a:noFill/>
                <a:prstDash val="solid"/>
                <a:miter/>
              </a:ln>
            </p:spPr>
            <p:txBody>
              <a:bodyPr rtlCol="0" anchor="ctr"/>
              <a:lstStyle/>
              <a:p>
                <a:endParaRPr lang="en-GB" dirty="0"/>
              </a:p>
            </p:txBody>
          </p:sp>
          <p:sp>
            <p:nvSpPr>
              <p:cNvPr id="370" name="Freihandform: Form 424">
                <a:extLst>
                  <a:ext uri="{FF2B5EF4-FFF2-40B4-BE49-F238E27FC236}">
                    <a16:creationId xmlns:a16="http://schemas.microsoft.com/office/drawing/2014/main" id="{495E9FDD-F641-4287-9604-10A71D41C325}"/>
                  </a:ext>
                </a:extLst>
              </p:cNvPr>
              <p:cNvSpPr/>
              <p:nvPr/>
            </p:nvSpPr>
            <p:spPr>
              <a:xfrm>
                <a:off x="5345656" y="4073870"/>
                <a:ext cx="292750" cy="292775"/>
              </a:xfrm>
              <a:custGeom>
                <a:avLst/>
                <a:gdLst>
                  <a:gd name="connsiteX0" fmla="*/ 146964 w 292750"/>
                  <a:gd name="connsiteY0" fmla="*/ 292700 h 292775"/>
                  <a:gd name="connsiteX1" fmla="*/ 143889 w 292750"/>
                  <a:gd name="connsiteY1" fmla="*/ 291625 h 292775"/>
                  <a:gd name="connsiteX2" fmla="*/ 141989 w 292750"/>
                  <a:gd name="connsiteY2" fmla="*/ 288275 h 292775"/>
                  <a:gd name="connsiteX3" fmla="*/ 138014 w 292750"/>
                  <a:gd name="connsiteY3" fmla="*/ 255624 h 292775"/>
                  <a:gd name="connsiteX4" fmla="*/ 95088 w 292750"/>
                  <a:gd name="connsiteY4" fmla="*/ 243174 h 292775"/>
                  <a:gd name="connsiteX5" fmla="*/ 74237 w 292750"/>
                  <a:gd name="connsiteY5" fmla="*/ 268675 h 292775"/>
                  <a:gd name="connsiteX6" fmla="*/ 67187 w 292750"/>
                  <a:gd name="connsiteY6" fmla="*/ 269375 h 292775"/>
                  <a:gd name="connsiteX7" fmla="*/ 41562 w 292750"/>
                  <a:gd name="connsiteY7" fmla="*/ 248524 h 292775"/>
                  <a:gd name="connsiteX8" fmla="*/ 39736 w 292750"/>
                  <a:gd name="connsiteY8" fmla="*/ 245149 h 292775"/>
                  <a:gd name="connsiteX9" fmla="*/ 40837 w 292750"/>
                  <a:gd name="connsiteY9" fmla="*/ 241474 h 292775"/>
                  <a:gd name="connsiteX10" fmla="*/ 61712 w 292750"/>
                  <a:gd name="connsiteY10" fmla="*/ 215973 h 292775"/>
                  <a:gd name="connsiteX11" fmla="*/ 42287 w 292750"/>
                  <a:gd name="connsiteY11" fmla="*/ 180747 h 292775"/>
                  <a:gd name="connsiteX12" fmla="*/ 9611 w 292750"/>
                  <a:gd name="connsiteY12" fmla="*/ 184697 h 292775"/>
                  <a:gd name="connsiteX13" fmla="*/ 4035 w 292750"/>
                  <a:gd name="connsiteY13" fmla="*/ 180322 h 292775"/>
                  <a:gd name="connsiteX14" fmla="*/ 35 w 292750"/>
                  <a:gd name="connsiteY14" fmla="*/ 147521 h 292775"/>
                  <a:gd name="connsiteX15" fmla="*/ 4411 w 292750"/>
                  <a:gd name="connsiteY15" fmla="*/ 141946 h 292775"/>
                  <a:gd name="connsiteX16" fmla="*/ 37061 w 292750"/>
                  <a:gd name="connsiteY16" fmla="*/ 137971 h 292775"/>
                  <a:gd name="connsiteX17" fmla="*/ 47512 w 292750"/>
                  <a:gd name="connsiteY17" fmla="*/ 99070 h 292775"/>
                  <a:gd name="connsiteX18" fmla="*/ 21161 w 292750"/>
                  <a:gd name="connsiteY18" fmla="*/ 79294 h 292775"/>
                  <a:gd name="connsiteX19" fmla="*/ 19211 w 292750"/>
                  <a:gd name="connsiteY19" fmla="*/ 75994 h 292775"/>
                  <a:gd name="connsiteX20" fmla="*/ 20161 w 292750"/>
                  <a:gd name="connsiteY20" fmla="*/ 72269 h 292775"/>
                  <a:gd name="connsiteX21" fmla="*/ 40011 w 292750"/>
                  <a:gd name="connsiteY21" fmla="*/ 45868 h 292775"/>
                  <a:gd name="connsiteX22" fmla="*/ 47037 w 292750"/>
                  <a:gd name="connsiteY22" fmla="*/ 44868 h 292775"/>
                  <a:gd name="connsiteX23" fmla="*/ 73362 w 292750"/>
                  <a:gd name="connsiteY23" fmla="*/ 64644 h 292775"/>
                  <a:gd name="connsiteX24" fmla="*/ 112039 w 292750"/>
                  <a:gd name="connsiteY24" fmla="*/ 42268 h 292775"/>
                  <a:gd name="connsiteX25" fmla="*/ 108063 w 292750"/>
                  <a:gd name="connsiteY25" fmla="*/ 9617 h 292775"/>
                  <a:gd name="connsiteX26" fmla="*/ 112439 w 292750"/>
                  <a:gd name="connsiteY26" fmla="*/ 4042 h 292775"/>
                  <a:gd name="connsiteX27" fmla="*/ 145214 w 292750"/>
                  <a:gd name="connsiteY27" fmla="*/ 42 h 292775"/>
                  <a:gd name="connsiteX28" fmla="*/ 148915 w 292750"/>
                  <a:gd name="connsiteY28" fmla="*/ 1067 h 292775"/>
                  <a:gd name="connsiteX29" fmla="*/ 150790 w 292750"/>
                  <a:gd name="connsiteY29" fmla="*/ 4417 h 292775"/>
                  <a:gd name="connsiteX30" fmla="*/ 154740 w 292750"/>
                  <a:gd name="connsiteY30" fmla="*/ 37093 h 292775"/>
                  <a:gd name="connsiteX31" fmla="*/ 197666 w 292750"/>
                  <a:gd name="connsiteY31" fmla="*/ 49544 h 292775"/>
                  <a:gd name="connsiteX32" fmla="*/ 218516 w 292750"/>
                  <a:gd name="connsiteY32" fmla="*/ 24068 h 292775"/>
                  <a:gd name="connsiteX33" fmla="*/ 225567 w 292750"/>
                  <a:gd name="connsiteY33" fmla="*/ 23368 h 292775"/>
                  <a:gd name="connsiteX34" fmla="*/ 251167 w 292750"/>
                  <a:gd name="connsiteY34" fmla="*/ 44243 h 292775"/>
                  <a:gd name="connsiteX35" fmla="*/ 252992 w 292750"/>
                  <a:gd name="connsiteY35" fmla="*/ 47618 h 292775"/>
                  <a:gd name="connsiteX36" fmla="*/ 251892 w 292750"/>
                  <a:gd name="connsiteY36" fmla="*/ 51294 h 292775"/>
                  <a:gd name="connsiteX37" fmla="*/ 231042 w 292750"/>
                  <a:gd name="connsiteY37" fmla="*/ 76819 h 292775"/>
                  <a:gd name="connsiteX38" fmla="*/ 250517 w 292750"/>
                  <a:gd name="connsiteY38" fmla="*/ 112070 h 292775"/>
                  <a:gd name="connsiteX39" fmla="*/ 283168 w 292750"/>
                  <a:gd name="connsiteY39" fmla="*/ 108070 h 292775"/>
                  <a:gd name="connsiteX40" fmla="*/ 286868 w 292750"/>
                  <a:gd name="connsiteY40" fmla="*/ 109095 h 292775"/>
                  <a:gd name="connsiteX41" fmla="*/ 288743 w 292750"/>
                  <a:gd name="connsiteY41" fmla="*/ 112445 h 292775"/>
                  <a:gd name="connsiteX42" fmla="*/ 292719 w 292750"/>
                  <a:gd name="connsiteY42" fmla="*/ 145296 h 292775"/>
                  <a:gd name="connsiteX43" fmla="*/ 291694 w 292750"/>
                  <a:gd name="connsiteY43" fmla="*/ 148996 h 292775"/>
                  <a:gd name="connsiteX44" fmla="*/ 288343 w 292750"/>
                  <a:gd name="connsiteY44" fmla="*/ 150871 h 292775"/>
                  <a:gd name="connsiteX45" fmla="*/ 255668 w 292750"/>
                  <a:gd name="connsiteY45" fmla="*/ 154822 h 292775"/>
                  <a:gd name="connsiteX46" fmla="*/ 245267 w 292750"/>
                  <a:gd name="connsiteY46" fmla="*/ 193722 h 292775"/>
                  <a:gd name="connsiteX47" fmla="*/ 271618 w 292750"/>
                  <a:gd name="connsiteY47" fmla="*/ 213498 h 292775"/>
                  <a:gd name="connsiteX48" fmla="*/ 273568 w 292750"/>
                  <a:gd name="connsiteY48" fmla="*/ 216798 h 292775"/>
                  <a:gd name="connsiteX49" fmla="*/ 272618 w 292750"/>
                  <a:gd name="connsiteY49" fmla="*/ 220523 h 292775"/>
                  <a:gd name="connsiteX50" fmla="*/ 252767 w 292750"/>
                  <a:gd name="connsiteY50" fmla="*/ 246949 h 292775"/>
                  <a:gd name="connsiteX51" fmla="*/ 245742 w 292750"/>
                  <a:gd name="connsiteY51" fmla="*/ 247949 h 292775"/>
                  <a:gd name="connsiteX52" fmla="*/ 219416 w 292750"/>
                  <a:gd name="connsiteY52" fmla="*/ 228174 h 292775"/>
                  <a:gd name="connsiteX53" fmla="*/ 180740 w 292750"/>
                  <a:gd name="connsiteY53" fmla="*/ 250549 h 292775"/>
                  <a:gd name="connsiteX54" fmla="*/ 184716 w 292750"/>
                  <a:gd name="connsiteY54" fmla="*/ 283175 h 292775"/>
                  <a:gd name="connsiteX55" fmla="*/ 180340 w 292750"/>
                  <a:gd name="connsiteY55" fmla="*/ 288750 h 292775"/>
                  <a:gd name="connsiteX56" fmla="*/ 147564 w 292750"/>
                  <a:gd name="connsiteY56" fmla="*/ 292775 h 292775"/>
                  <a:gd name="connsiteX57" fmla="*/ 146964 w 292750"/>
                  <a:gd name="connsiteY57" fmla="*/ 292700 h 292775"/>
                  <a:gd name="connsiteX58" fmla="*/ 93863 w 292750"/>
                  <a:gd name="connsiteY58" fmla="*/ 231773 h 292775"/>
                  <a:gd name="connsiteX59" fmla="*/ 96388 w 292750"/>
                  <a:gd name="connsiteY59" fmla="*/ 232449 h 292775"/>
                  <a:gd name="connsiteX60" fmla="*/ 142664 w 292750"/>
                  <a:gd name="connsiteY60" fmla="*/ 245874 h 292775"/>
                  <a:gd name="connsiteX61" fmla="*/ 147464 w 292750"/>
                  <a:gd name="connsiteY61" fmla="*/ 250274 h 292775"/>
                  <a:gd name="connsiteX62" fmla="*/ 151340 w 292750"/>
                  <a:gd name="connsiteY62" fmla="*/ 282100 h 292775"/>
                  <a:gd name="connsiteX63" fmla="*/ 174165 w 292750"/>
                  <a:gd name="connsiteY63" fmla="*/ 279300 h 292775"/>
                  <a:gd name="connsiteX64" fmla="*/ 170290 w 292750"/>
                  <a:gd name="connsiteY64" fmla="*/ 247474 h 292775"/>
                  <a:gd name="connsiteX65" fmla="*/ 173890 w 292750"/>
                  <a:gd name="connsiteY65" fmla="*/ 242049 h 292775"/>
                  <a:gd name="connsiteX66" fmla="*/ 215591 w 292750"/>
                  <a:gd name="connsiteY66" fmla="*/ 217923 h 292775"/>
                  <a:gd name="connsiteX67" fmla="*/ 222092 w 292750"/>
                  <a:gd name="connsiteY67" fmla="*/ 217523 h 292775"/>
                  <a:gd name="connsiteX68" fmla="*/ 247767 w 292750"/>
                  <a:gd name="connsiteY68" fmla="*/ 236799 h 292775"/>
                  <a:gd name="connsiteX69" fmla="*/ 261593 w 292750"/>
                  <a:gd name="connsiteY69" fmla="*/ 218373 h 292775"/>
                  <a:gd name="connsiteX70" fmla="*/ 235892 w 292750"/>
                  <a:gd name="connsiteY70" fmla="*/ 199098 h 292775"/>
                  <a:gd name="connsiteX71" fmla="*/ 234467 w 292750"/>
                  <a:gd name="connsiteY71" fmla="*/ 192747 h 292775"/>
                  <a:gd name="connsiteX72" fmla="*/ 245892 w 292750"/>
                  <a:gd name="connsiteY72" fmla="*/ 150071 h 292775"/>
                  <a:gd name="connsiteX73" fmla="*/ 250292 w 292750"/>
                  <a:gd name="connsiteY73" fmla="*/ 145271 h 292775"/>
                  <a:gd name="connsiteX74" fmla="*/ 282143 w 292750"/>
                  <a:gd name="connsiteY74" fmla="*/ 141396 h 292775"/>
                  <a:gd name="connsiteX75" fmla="*/ 279368 w 292750"/>
                  <a:gd name="connsiteY75" fmla="*/ 118521 h 292775"/>
                  <a:gd name="connsiteX76" fmla="*/ 247542 w 292750"/>
                  <a:gd name="connsiteY76" fmla="*/ 122420 h 292775"/>
                  <a:gd name="connsiteX77" fmla="*/ 242117 w 292750"/>
                  <a:gd name="connsiteY77" fmla="*/ 118821 h 292775"/>
                  <a:gd name="connsiteX78" fmla="*/ 220742 w 292750"/>
                  <a:gd name="connsiteY78" fmla="*/ 80144 h 292775"/>
                  <a:gd name="connsiteX79" fmla="*/ 220592 w 292750"/>
                  <a:gd name="connsiteY79" fmla="*/ 73619 h 292775"/>
                  <a:gd name="connsiteX80" fmla="*/ 240917 w 292750"/>
                  <a:gd name="connsiteY80" fmla="*/ 48743 h 292775"/>
                  <a:gd name="connsiteX81" fmla="*/ 223092 w 292750"/>
                  <a:gd name="connsiteY81" fmla="*/ 34218 h 292775"/>
                  <a:gd name="connsiteX82" fmla="*/ 202766 w 292750"/>
                  <a:gd name="connsiteY82" fmla="*/ 59069 h 292775"/>
                  <a:gd name="connsiteX83" fmla="*/ 196366 w 292750"/>
                  <a:gd name="connsiteY83" fmla="*/ 60219 h 292775"/>
                  <a:gd name="connsiteX84" fmla="*/ 150090 w 292750"/>
                  <a:gd name="connsiteY84" fmla="*/ 46819 h 292775"/>
                  <a:gd name="connsiteX85" fmla="*/ 145289 w 292750"/>
                  <a:gd name="connsiteY85" fmla="*/ 42418 h 292775"/>
                  <a:gd name="connsiteX86" fmla="*/ 141439 w 292750"/>
                  <a:gd name="connsiteY86" fmla="*/ 10568 h 292775"/>
                  <a:gd name="connsiteX87" fmla="*/ 118614 w 292750"/>
                  <a:gd name="connsiteY87" fmla="*/ 13343 h 292775"/>
                  <a:gd name="connsiteX88" fmla="*/ 122489 w 292750"/>
                  <a:gd name="connsiteY88" fmla="*/ 45168 h 292775"/>
                  <a:gd name="connsiteX89" fmla="*/ 118914 w 292750"/>
                  <a:gd name="connsiteY89" fmla="*/ 50594 h 292775"/>
                  <a:gd name="connsiteX90" fmla="*/ 77213 w 292750"/>
                  <a:gd name="connsiteY90" fmla="*/ 74744 h 292775"/>
                  <a:gd name="connsiteX91" fmla="*/ 70712 w 292750"/>
                  <a:gd name="connsiteY91" fmla="*/ 75144 h 292775"/>
                  <a:gd name="connsiteX92" fmla="*/ 45037 w 292750"/>
                  <a:gd name="connsiteY92" fmla="*/ 55869 h 292775"/>
                  <a:gd name="connsiteX93" fmla="*/ 31211 w 292750"/>
                  <a:gd name="connsiteY93" fmla="*/ 74269 h 292775"/>
                  <a:gd name="connsiteX94" fmla="*/ 56912 w 292750"/>
                  <a:gd name="connsiteY94" fmla="*/ 93545 h 292775"/>
                  <a:gd name="connsiteX95" fmla="*/ 58337 w 292750"/>
                  <a:gd name="connsiteY95" fmla="*/ 99895 h 292775"/>
                  <a:gd name="connsiteX96" fmla="*/ 46887 w 292750"/>
                  <a:gd name="connsiteY96" fmla="*/ 142596 h 292775"/>
                  <a:gd name="connsiteX97" fmla="*/ 42487 w 292750"/>
                  <a:gd name="connsiteY97" fmla="*/ 147396 h 292775"/>
                  <a:gd name="connsiteX98" fmla="*/ 10661 w 292750"/>
                  <a:gd name="connsiteY98" fmla="*/ 151271 h 292775"/>
                  <a:gd name="connsiteX99" fmla="*/ 13436 w 292750"/>
                  <a:gd name="connsiteY99" fmla="*/ 174122 h 292775"/>
                  <a:gd name="connsiteX100" fmla="*/ 45287 w 292750"/>
                  <a:gd name="connsiteY100" fmla="*/ 170272 h 292775"/>
                  <a:gd name="connsiteX101" fmla="*/ 50712 w 292750"/>
                  <a:gd name="connsiteY101" fmla="*/ 173872 h 292775"/>
                  <a:gd name="connsiteX102" fmla="*/ 72037 w 292750"/>
                  <a:gd name="connsiteY102" fmla="*/ 212548 h 292775"/>
                  <a:gd name="connsiteX103" fmla="*/ 72187 w 292750"/>
                  <a:gd name="connsiteY103" fmla="*/ 219073 h 292775"/>
                  <a:gd name="connsiteX104" fmla="*/ 51837 w 292750"/>
                  <a:gd name="connsiteY104" fmla="*/ 243949 h 292775"/>
                  <a:gd name="connsiteX105" fmla="*/ 69712 w 292750"/>
                  <a:gd name="connsiteY105" fmla="*/ 258499 h 292775"/>
                  <a:gd name="connsiteX106" fmla="*/ 90038 w 292750"/>
                  <a:gd name="connsiteY106" fmla="*/ 233624 h 292775"/>
                  <a:gd name="connsiteX107" fmla="*/ 93863 w 292750"/>
                  <a:gd name="connsiteY107" fmla="*/ 231773 h 292775"/>
                  <a:gd name="connsiteX108" fmla="*/ 146389 w 292750"/>
                  <a:gd name="connsiteY108" fmla="*/ 207023 h 292775"/>
                  <a:gd name="connsiteX109" fmla="*/ 88638 w 292750"/>
                  <a:gd name="connsiteY109" fmla="*/ 164872 h 292775"/>
                  <a:gd name="connsiteX110" fmla="*/ 127814 w 292750"/>
                  <a:gd name="connsiteY110" fmla="*/ 88545 h 292775"/>
                  <a:gd name="connsiteX111" fmla="*/ 146389 w 292750"/>
                  <a:gd name="connsiteY111" fmla="*/ 85620 h 292775"/>
                  <a:gd name="connsiteX112" fmla="*/ 204141 w 292750"/>
                  <a:gd name="connsiteY112" fmla="*/ 127746 h 292775"/>
                  <a:gd name="connsiteX113" fmla="*/ 200366 w 292750"/>
                  <a:gd name="connsiteY113" fmla="*/ 174047 h 292775"/>
                  <a:gd name="connsiteX114" fmla="*/ 164965 w 292750"/>
                  <a:gd name="connsiteY114" fmla="*/ 204098 h 292775"/>
                  <a:gd name="connsiteX115" fmla="*/ 146389 w 292750"/>
                  <a:gd name="connsiteY115" fmla="*/ 207023 h 292775"/>
                  <a:gd name="connsiteX116" fmla="*/ 146389 w 292750"/>
                  <a:gd name="connsiteY116" fmla="*/ 95645 h 292775"/>
                  <a:gd name="connsiteX117" fmla="*/ 130889 w 292750"/>
                  <a:gd name="connsiteY117" fmla="*/ 98095 h 292775"/>
                  <a:gd name="connsiteX118" fmla="*/ 98188 w 292750"/>
                  <a:gd name="connsiteY118" fmla="*/ 161822 h 292775"/>
                  <a:gd name="connsiteX119" fmla="*/ 146414 w 292750"/>
                  <a:gd name="connsiteY119" fmla="*/ 197023 h 292775"/>
                  <a:gd name="connsiteX120" fmla="*/ 161915 w 292750"/>
                  <a:gd name="connsiteY120" fmla="*/ 194572 h 292775"/>
                  <a:gd name="connsiteX121" fmla="*/ 191466 w 292750"/>
                  <a:gd name="connsiteY121" fmla="*/ 169472 h 292775"/>
                  <a:gd name="connsiteX122" fmla="*/ 194616 w 292750"/>
                  <a:gd name="connsiteY122" fmla="*/ 130796 h 292775"/>
                  <a:gd name="connsiteX123" fmla="*/ 146389 w 292750"/>
                  <a:gd name="connsiteY123" fmla="*/ 95645 h 292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292750" h="292775">
                    <a:moveTo>
                      <a:pt x="146964" y="292700"/>
                    </a:moveTo>
                    <a:cubicBezTo>
                      <a:pt x="145839" y="292700"/>
                      <a:pt x="144764" y="292325"/>
                      <a:pt x="143889" y="291625"/>
                    </a:cubicBezTo>
                    <a:cubicBezTo>
                      <a:pt x="142839" y="290800"/>
                      <a:pt x="142164" y="289600"/>
                      <a:pt x="141989" y="288275"/>
                    </a:cubicBezTo>
                    <a:lnTo>
                      <a:pt x="138014" y="255624"/>
                    </a:lnTo>
                    <a:cubicBezTo>
                      <a:pt x="123089" y="254474"/>
                      <a:pt x="108388" y="250224"/>
                      <a:pt x="95088" y="243174"/>
                    </a:cubicBezTo>
                    <a:lnTo>
                      <a:pt x="74237" y="268675"/>
                    </a:lnTo>
                    <a:cubicBezTo>
                      <a:pt x="72487" y="270825"/>
                      <a:pt x="69337" y="271125"/>
                      <a:pt x="67187" y="269375"/>
                    </a:cubicBezTo>
                    <a:lnTo>
                      <a:pt x="41562" y="248524"/>
                    </a:lnTo>
                    <a:cubicBezTo>
                      <a:pt x="40536" y="247674"/>
                      <a:pt x="39886" y="246474"/>
                      <a:pt x="39736" y="245149"/>
                    </a:cubicBezTo>
                    <a:cubicBezTo>
                      <a:pt x="39611" y="243824"/>
                      <a:pt x="40011" y="242499"/>
                      <a:pt x="40837" y="241474"/>
                    </a:cubicBezTo>
                    <a:lnTo>
                      <a:pt x="61712" y="215973"/>
                    </a:lnTo>
                    <a:cubicBezTo>
                      <a:pt x="53137" y="205598"/>
                      <a:pt x="46512" y="193548"/>
                      <a:pt x="42287" y="180747"/>
                    </a:cubicBezTo>
                    <a:lnTo>
                      <a:pt x="9611" y="184697"/>
                    </a:lnTo>
                    <a:cubicBezTo>
                      <a:pt x="6861" y="185047"/>
                      <a:pt x="4361" y="183072"/>
                      <a:pt x="4035" y="180322"/>
                    </a:cubicBezTo>
                    <a:lnTo>
                      <a:pt x="35" y="147521"/>
                    </a:lnTo>
                    <a:cubicBezTo>
                      <a:pt x="-290" y="144771"/>
                      <a:pt x="1660" y="142271"/>
                      <a:pt x="4411" y="141946"/>
                    </a:cubicBezTo>
                    <a:lnTo>
                      <a:pt x="37061" y="137971"/>
                    </a:lnTo>
                    <a:cubicBezTo>
                      <a:pt x="38061" y="124421"/>
                      <a:pt x="41587" y="111370"/>
                      <a:pt x="47512" y="99070"/>
                    </a:cubicBezTo>
                    <a:lnTo>
                      <a:pt x="21161" y="79294"/>
                    </a:lnTo>
                    <a:cubicBezTo>
                      <a:pt x="20086" y="78494"/>
                      <a:pt x="19386" y="77319"/>
                      <a:pt x="19211" y="75994"/>
                    </a:cubicBezTo>
                    <a:cubicBezTo>
                      <a:pt x="19036" y="74669"/>
                      <a:pt x="19361" y="73344"/>
                      <a:pt x="20161" y="72269"/>
                    </a:cubicBezTo>
                    <a:lnTo>
                      <a:pt x="40011" y="45868"/>
                    </a:lnTo>
                    <a:cubicBezTo>
                      <a:pt x="41687" y="43668"/>
                      <a:pt x="44837" y="43218"/>
                      <a:pt x="47037" y="44868"/>
                    </a:cubicBezTo>
                    <a:lnTo>
                      <a:pt x="73362" y="64644"/>
                    </a:lnTo>
                    <a:cubicBezTo>
                      <a:pt x="84513" y="54644"/>
                      <a:pt x="97738" y="46993"/>
                      <a:pt x="112039" y="42268"/>
                    </a:cubicBezTo>
                    <a:lnTo>
                      <a:pt x="108063" y="9617"/>
                    </a:lnTo>
                    <a:cubicBezTo>
                      <a:pt x="107738" y="6867"/>
                      <a:pt x="109688" y="4367"/>
                      <a:pt x="112439" y="4042"/>
                    </a:cubicBezTo>
                    <a:lnTo>
                      <a:pt x="145214" y="42"/>
                    </a:lnTo>
                    <a:cubicBezTo>
                      <a:pt x="146514" y="-133"/>
                      <a:pt x="147864" y="242"/>
                      <a:pt x="148915" y="1067"/>
                    </a:cubicBezTo>
                    <a:cubicBezTo>
                      <a:pt x="149965" y="1892"/>
                      <a:pt x="150640" y="3092"/>
                      <a:pt x="150790" y="4417"/>
                    </a:cubicBezTo>
                    <a:lnTo>
                      <a:pt x="154740" y="37093"/>
                    </a:lnTo>
                    <a:cubicBezTo>
                      <a:pt x="169665" y="38218"/>
                      <a:pt x="184341" y="42468"/>
                      <a:pt x="197666" y="49544"/>
                    </a:cubicBezTo>
                    <a:lnTo>
                      <a:pt x="218516" y="24068"/>
                    </a:lnTo>
                    <a:cubicBezTo>
                      <a:pt x="220267" y="21918"/>
                      <a:pt x="223417" y="21618"/>
                      <a:pt x="225567" y="23368"/>
                    </a:cubicBezTo>
                    <a:lnTo>
                      <a:pt x="251167" y="44243"/>
                    </a:lnTo>
                    <a:cubicBezTo>
                      <a:pt x="252192" y="45093"/>
                      <a:pt x="252842" y="46293"/>
                      <a:pt x="252992" y="47618"/>
                    </a:cubicBezTo>
                    <a:cubicBezTo>
                      <a:pt x="253117" y="48944"/>
                      <a:pt x="252717" y="50268"/>
                      <a:pt x="251892" y="51294"/>
                    </a:cubicBezTo>
                    <a:lnTo>
                      <a:pt x="231042" y="76819"/>
                    </a:lnTo>
                    <a:cubicBezTo>
                      <a:pt x="239717" y="87270"/>
                      <a:pt x="246242" y="99095"/>
                      <a:pt x="250517" y="112070"/>
                    </a:cubicBezTo>
                    <a:lnTo>
                      <a:pt x="283168" y="108070"/>
                    </a:lnTo>
                    <a:cubicBezTo>
                      <a:pt x="284493" y="107895"/>
                      <a:pt x="285818" y="108270"/>
                      <a:pt x="286868" y="109095"/>
                    </a:cubicBezTo>
                    <a:cubicBezTo>
                      <a:pt x="287918" y="109920"/>
                      <a:pt x="288593" y="111120"/>
                      <a:pt x="288743" y="112445"/>
                    </a:cubicBezTo>
                    <a:lnTo>
                      <a:pt x="292719" y="145296"/>
                    </a:lnTo>
                    <a:cubicBezTo>
                      <a:pt x="292869" y="146621"/>
                      <a:pt x="292494" y="147946"/>
                      <a:pt x="291694" y="148996"/>
                    </a:cubicBezTo>
                    <a:cubicBezTo>
                      <a:pt x="290868" y="150046"/>
                      <a:pt x="289668" y="150721"/>
                      <a:pt x="288343" y="150871"/>
                    </a:cubicBezTo>
                    <a:lnTo>
                      <a:pt x="255668" y="154822"/>
                    </a:lnTo>
                    <a:cubicBezTo>
                      <a:pt x="254642" y="168272"/>
                      <a:pt x="251092" y="181572"/>
                      <a:pt x="245267" y="193722"/>
                    </a:cubicBezTo>
                    <a:lnTo>
                      <a:pt x="271618" y="213498"/>
                    </a:lnTo>
                    <a:cubicBezTo>
                      <a:pt x="272693" y="214298"/>
                      <a:pt x="273393" y="215473"/>
                      <a:pt x="273568" y="216798"/>
                    </a:cubicBezTo>
                    <a:cubicBezTo>
                      <a:pt x="273743" y="218098"/>
                      <a:pt x="273418" y="219448"/>
                      <a:pt x="272618" y="220523"/>
                    </a:cubicBezTo>
                    <a:lnTo>
                      <a:pt x="252767" y="246949"/>
                    </a:lnTo>
                    <a:cubicBezTo>
                      <a:pt x="251117" y="249149"/>
                      <a:pt x="247967" y="249624"/>
                      <a:pt x="245742" y="247949"/>
                    </a:cubicBezTo>
                    <a:lnTo>
                      <a:pt x="219416" y="228174"/>
                    </a:lnTo>
                    <a:cubicBezTo>
                      <a:pt x="208241" y="238174"/>
                      <a:pt x="195016" y="245824"/>
                      <a:pt x="180740" y="250549"/>
                    </a:cubicBezTo>
                    <a:lnTo>
                      <a:pt x="184716" y="283175"/>
                    </a:lnTo>
                    <a:cubicBezTo>
                      <a:pt x="185041" y="285925"/>
                      <a:pt x="183090" y="288425"/>
                      <a:pt x="180340" y="288750"/>
                    </a:cubicBezTo>
                    <a:lnTo>
                      <a:pt x="147564" y="292775"/>
                    </a:lnTo>
                    <a:cubicBezTo>
                      <a:pt x="147364" y="292675"/>
                      <a:pt x="147164" y="292700"/>
                      <a:pt x="146964" y="292700"/>
                    </a:cubicBezTo>
                    <a:close/>
                    <a:moveTo>
                      <a:pt x="93863" y="231773"/>
                    </a:moveTo>
                    <a:cubicBezTo>
                      <a:pt x="94713" y="231773"/>
                      <a:pt x="95588" y="231999"/>
                      <a:pt x="96388" y="232449"/>
                    </a:cubicBezTo>
                    <a:cubicBezTo>
                      <a:pt x="110463" y="240649"/>
                      <a:pt x="126464" y="245274"/>
                      <a:pt x="142664" y="245874"/>
                    </a:cubicBezTo>
                    <a:cubicBezTo>
                      <a:pt x="145139" y="245949"/>
                      <a:pt x="147164" y="247824"/>
                      <a:pt x="147464" y="250274"/>
                    </a:cubicBezTo>
                    <a:lnTo>
                      <a:pt x="151340" y="282100"/>
                    </a:lnTo>
                    <a:lnTo>
                      <a:pt x="174165" y="279300"/>
                    </a:lnTo>
                    <a:lnTo>
                      <a:pt x="170290" y="247474"/>
                    </a:lnTo>
                    <a:cubicBezTo>
                      <a:pt x="169990" y="245024"/>
                      <a:pt x="171515" y="242724"/>
                      <a:pt x="173890" y="242049"/>
                    </a:cubicBezTo>
                    <a:cubicBezTo>
                      <a:pt x="189541" y="237574"/>
                      <a:pt x="203966" y="229224"/>
                      <a:pt x="215591" y="217923"/>
                    </a:cubicBezTo>
                    <a:cubicBezTo>
                      <a:pt x="217366" y="216198"/>
                      <a:pt x="220117" y="216023"/>
                      <a:pt x="222092" y="217523"/>
                    </a:cubicBezTo>
                    <a:lnTo>
                      <a:pt x="247767" y="236799"/>
                    </a:lnTo>
                    <a:lnTo>
                      <a:pt x="261593" y="218373"/>
                    </a:lnTo>
                    <a:lnTo>
                      <a:pt x="235892" y="199098"/>
                    </a:lnTo>
                    <a:cubicBezTo>
                      <a:pt x="233917" y="197623"/>
                      <a:pt x="233317" y="194922"/>
                      <a:pt x="234467" y="192747"/>
                    </a:cubicBezTo>
                    <a:cubicBezTo>
                      <a:pt x="241417" y="179672"/>
                      <a:pt x="245367" y="164897"/>
                      <a:pt x="245892" y="150071"/>
                    </a:cubicBezTo>
                    <a:cubicBezTo>
                      <a:pt x="245992" y="147596"/>
                      <a:pt x="247842" y="145571"/>
                      <a:pt x="250292" y="145271"/>
                    </a:cubicBezTo>
                    <a:lnTo>
                      <a:pt x="282143" y="141396"/>
                    </a:lnTo>
                    <a:lnTo>
                      <a:pt x="279368" y="118521"/>
                    </a:lnTo>
                    <a:lnTo>
                      <a:pt x="247542" y="122420"/>
                    </a:lnTo>
                    <a:cubicBezTo>
                      <a:pt x="245117" y="122771"/>
                      <a:pt x="242792" y="121195"/>
                      <a:pt x="242117" y="118821"/>
                    </a:cubicBezTo>
                    <a:cubicBezTo>
                      <a:pt x="237942" y="104320"/>
                      <a:pt x="230742" y="91295"/>
                      <a:pt x="220742" y="80144"/>
                    </a:cubicBezTo>
                    <a:cubicBezTo>
                      <a:pt x="219091" y="78294"/>
                      <a:pt x="219016" y="75544"/>
                      <a:pt x="220592" y="73619"/>
                    </a:cubicBezTo>
                    <a:lnTo>
                      <a:pt x="240917" y="48743"/>
                    </a:lnTo>
                    <a:lnTo>
                      <a:pt x="223092" y="34218"/>
                    </a:lnTo>
                    <a:lnTo>
                      <a:pt x="202766" y="59069"/>
                    </a:lnTo>
                    <a:cubicBezTo>
                      <a:pt x="201216" y="60994"/>
                      <a:pt x="198491" y="61469"/>
                      <a:pt x="196366" y="60219"/>
                    </a:cubicBezTo>
                    <a:cubicBezTo>
                      <a:pt x="182265" y="52019"/>
                      <a:pt x="166265" y="47368"/>
                      <a:pt x="150090" y="46819"/>
                    </a:cubicBezTo>
                    <a:cubicBezTo>
                      <a:pt x="147614" y="46718"/>
                      <a:pt x="145589" y="44868"/>
                      <a:pt x="145289" y="42418"/>
                    </a:cubicBezTo>
                    <a:lnTo>
                      <a:pt x="141439" y="10568"/>
                    </a:lnTo>
                    <a:lnTo>
                      <a:pt x="118614" y="13343"/>
                    </a:lnTo>
                    <a:lnTo>
                      <a:pt x="122489" y="45168"/>
                    </a:lnTo>
                    <a:cubicBezTo>
                      <a:pt x="122789" y="47618"/>
                      <a:pt x="121264" y="49919"/>
                      <a:pt x="118914" y="50594"/>
                    </a:cubicBezTo>
                    <a:cubicBezTo>
                      <a:pt x="103238" y="55119"/>
                      <a:pt x="88813" y="63469"/>
                      <a:pt x="77213" y="74744"/>
                    </a:cubicBezTo>
                    <a:cubicBezTo>
                      <a:pt x="75437" y="76469"/>
                      <a:pt x="72687" y="76644"/>
                      <a:pt x="70712" y="75144"/>
                    </a:cubicBezTo>
                    <a:lnTo>
                      <a:pt x="45037" y="55869"/>
                    </a:lnTo>
                    <a:lnTo>
                      <a:pt x="31211" y="74269"/>
                    </a:lnTo>
                    <a:lnTo>
                      <a:pt x="56912" y="93545"/>
                    </a:lnTo>
                    <a:cubicBezTo>
                      <a:pt x="58887" y="95020"/>
                      <a:pt x="59487" y="97720"/>
                      <a:pt x="58337" y="99895"/>
                    </a:cubicBezTo>
                    <a:cubicBezTo>
                      <a:pt x="51262" y="113245"/>
                      <a:pt x="47412" y="127596"/>
                      <a:pt x="46887" y="142596"/>
                    </a:cubicBezTo>
                    <a:cubicBezTo>
                      <a:pt x="46787" y="145046"/>
                      <a:pt x="44937" y="147096"/>
                      <a:pt x="42487" y="147396"/>
                    </a:cubicBezTo>
                    <a:lnTo>
                      <a:pt x="10661" y="151271"/>
                    </a:lnTo>
                    <a:lnTo>
                      <a:pt x="13436" y="174122"/>
                    </a:lnTo>
                    <a:lnTo>
                      <a:pt x="45287" y="170272"/>
                    </a:lnTo>
                    <a:cubicBezTo>
                      <a:pt x="47787" y="169947"/>
                      <a:pt x="50037" y="171497"/>
                      <a:pt x="50712" y="173872"/>
                    </a:cubicBezTo>
                    <a:cubicBezTo>
                      <a:pt x="54837" y="188347"/>
                      <a:pt x="62012" y="201348"/>
                      <a:pt x="72037" y="212548"/>
                    </a:cubicBezTo>
                    <a:cubicBezTo>
                      <a:pt x="73687" y="214398"/>
                      <a:pt x="73737" y="217148"/>
                      <a:pt x="72187" y="219073"/>
                    </a:cubicBezTo>
                    <a:lnTo>
                      <a:pt x="51837" y="243949"/>
                    </a:lnTo>
                    <a:lnTo>
                      <a:pt x="69712" y="258499"/>
                    </a:lnTo>
                    <a:lnTo>
                      <a:pt x="90038" y="233624"/>
                    </a:lnTo>
                    <a:cubicBezTo>
                      <a:pt x="90963" y="232424"/>
                      <a:pt x="92413" y="231773"/>
                      <a:pt x="93863" y="231773"/>
                    </a:cubicBezTo>
                    <a:close/>
                    <a:moveTo>
                      <a:pt x="146389" y="207023"/>
                    </a:moveTo>
                    <a:cubicBezTo>
                      <a:pt x="119939" y="207023"/>
                      <a:pt x="96738" y="190072"/>
                      <a:pt x="88638" y="164872"/>
                    </a:cubicBezTo>
                    <a:cubicBezTo>
                      <a:pt x="78388" y="133046"/>
                      <a:pt x="95963" y="98795"/>
                      <a:pt x="127814" y="88545"/>
                    </a:cubicBezTo>
                    <a:cubicBezTo>
                      <a:pt x="133864" y="86595"/>
                      <a:pt x="140114" y="85620"/>
                      <a:pt x="146389" y="85620"/>
                    </a:cubicBezTo>
                    <a:cubicBezTo>
                      <a:pt x="172840" y="85620"/>
                      <a:pt x="196066" y="102545"/>
                      <a:pt x="204141" y="127746"/>
                    </a:cubicBezTo>
                    <a:cubicBezTo>
                      <a:pt x="209116" y="143171"/>
                      <a:pt x="207766" y="159622"/>
                      <a:pt x="200366" y="174047"/>
                    </a:cubicBezTo>
                    <a:cubicBezTo>
                      <a:pt x="192966" y="188472"/>
                      <a:pt x="180390" y="199148"/>
                      <a:pt x="164965" y="204098"/>
                    </a:cubicBezTo>
                    <a:cubicBezTo>
                      <a:pt x="158915" y="206048"/>
                      <a:pt x="152665" y="207023"/>
                      <a:pt x="146389" y="207023"/>
                    </a:cubicBezTo>
                    <a:close/>
                    <a:moveTo>
                      <a:pt x="146389" y="95645"/>
                    </a:moveTo>
                    <a:cubicBezTo>
                      <a:pt x="141139" y="95645"/>
                      <a:pt x="135939" y="96470"/>
                      <a:pt x="130889" y="98095"/>
                    </a:cubicBezTo>
                    <a:cubicBezTo>
                      <a:pt x="104313" y="106670"/>
                      <a:pt x="89638" y="135246"/>
                      <a:pt x="98188" y="161822"/>
                    </a:cubicBezTo>
                    <a:cubicBezTo>
                      <a:pt x="104963" y="182872"/>
                      <a:pt x="124339" y="197023"/>
                      <a:pt x="146414" y="197023"/>
                    </a:cubicBezTo>
                    <a:cubicBezTo>
                      <a:pt x="151665" y="197023"/>
                      <a:pt x="156865" y="196198"/>
                      <a:pt x="161915" y="194572"/>
                    </a:cubicBezTo>
                    <a:cubicBezTo>
                      <a:pt x="174790" y="190423"/>
                      <a:pt x="185291" y="181522"/>
                      <a:pt x="191466" y="169472"/>
                    </a:cubicBezTo>
                    <a:cubicBezTo>
                      <a:pt x="197641" y="157421"/>
                      <a:pt x="198766" y="143696"/>
                      <a:pt x="194616" y="130796"/>
                    </a:cubicBezTo>
                    <a:cubicBezTo>
                      <a:pt x="187841" y="109770"/>
                      <a:pt x="168465" y="95645"/>
                      <a:pt x="146389" y="95645"/>
                    </a:cubicBezTo>
                    <a:close/>
                  </a:path>
                </a:pathLst>
              </a:custGeom>
              <a:solidFill>
                <a:schemeClr val="accent1"/>
              </a:solidFill>
              <a:ln w="2495" cap="flat">
                <a:noFill/>
                <a:prstDash val="solid"/>
                <a:miter/>
              </a:ln>
            </p:spPr>
            <p:txBody>
              <a:bodyPr rtlCol="0" anchor="ctr"/>
              <a:lstStyle/>
              <a:p>
                <a:endParaRPr lang="en-GB" dirty="0"/>
              </a:p>
            </p:txBody>
          </p:sp>
        </p:grpSp>
        <p:grpSp>
          <p:nvGrpSpPr>
            <p:cNvPr id="366" name="Group 365">
              <a:extLst>
                <a:ext uri="{FF2B5EF4-FFF2-40B4-BE49-F238E27FC236}">
                  <a16:creationId xmlns:a16="http://schemas.microsoft.com/office/drawing/2014/main" id="{54E286C1-A23F-4BF0-B5E4-829FEE8518DC}"/>
                </a:ext>
              </a:extLst>
            </p:cNvPr>
            <p:cNvGrpSpPr/>
            <p:nvPr/>
          </p:nvGrpSpPr>
          <p:grpSpPr>
            <a:xfrm>
              <a:off x="5502095" y="4313494"/>
              <a:ext cx="274633" cy="261031"/>
              <a:chOff x="5502095" y="4313494"/>
              <a:chExt cx="274633" cy="261031"/>
            </a:xfrm>
          </p:grpSpPr>
          <p:sp>
            <p:nvSpPr>
              <p:cNvPr id="367" name="Freihandform: Form 426">
                <a:extLst>
                  <a:ext uri="{FF2B5EF4-FFF2-40B4-BE49-F238E27FC236}">
                    <a16:creationId xmlns:a16="http://schemas.microsoft.com/office/drawing/2014/main" id="{01BDB576-1BD4-4310-A2E9-375C8403D808}"/>
                  </a:ext>
                </a:extLst>
              </p:cNvPr>
              <p:cNvSpPr/>
              <p:nvPr/>
            </p:nvSpPr>
            <p:spPr>
              <a:xfrm>
                <a:off x="5594498" y="4313494"/>
                <a:ext cx="182230" cy="261031"/>
              </a:xfrm>
              <a:custGeom>
                <a:avLst/>
                <a:gdLst>
                  <a:gd name="connsiteX0" fmla="*/ 62527 w 182230"/>
                  <a:gd name="connsiteY0" fmla="*/ 261031 h 261031"/>
                  <a:gd name="connsiteX1" fmla="*/ 43226 w 182230"/>
                  <a:gd name="connsiteY1" fmla="*/ 254731 h 261031"/>
                  <a:gd name="connsiteX2" fmla="*/ 38151 w 182230"/>
                  <a:gd name="connsiteY2" fmla="*/ 242281 h 261031"/>
                  <a:gd name="connsiteX3" fmla="*/ 38151 w 182230"/>
                  <a:gd name="connsiteY3" fmla="*/ 241606 h 261031"/>
                  <a:gd name="connsiteX4" fmla="*/ 5025 w 182230"/>
                  <a:gd name="connsiteY4" fmla="*/ 241606 h 261031"/>
                  <a:gd name="connsiteX5" fmla="*/ 25 w 182230"/>
                  <a:gd name="connsiteY5" fmla="*/ 236581 h 261031"/>
                  <a:gd name="connsiteX6" fmla="*/ 5025 w 182230"/>
                  <a:gd name="connsiteY6" fmla="*/ 231555 h 261031"/>
                  <a:gd name="connsiteX7" fmla="*/ 43176 w 182230"/>
                  <a:gd name="connsiteY7" fmla="*/ 231555 h 261031"/>
                  <a:gd name="connsiteX8" fmla="*/ 48176 w 182230"/>
                  <a:gd name="connsiteY8" fmla="*/ 236581 h 261031"/>
                  <a:gd name="connsiteX9" fmla="*/ 48151 w 182230"/>
                  <a:gd name="connsiteY9" fmla="*/ 242406 h 261031"/>
                  <a:gd name="connsiteX10" fmla="*/ 50076 w 182230"/>
                  <a:gd name="connsiteY10" fmla="*/ 247431 h 261031"/>
                  <a:gd name="connsiteX11" fmla="*/ 63902 w 182230"/>
                  <a:gd name="connsiteY11" fmla="*/ 250956 h 261031"/>
                  <a:gd name="connsiteX12" fmla="*/ 165255 w 182230"/>
                  <a:gd name="connsiteY12" fmla="*/ 250706 h 261031"/>
                  <a:gd name="connsiteX13" fmla="*/ 172230 w 182230"/>
                  <a:gd name="connsiteY13" fmla="*/ 237206 h 261031"/>
                  <a:gd name="connsiteX14" fmla="*/ 165255 w 182230"/>
                  <a:gd name="connsiteY14" fmla="*/ 223730 h 261031"/>
                  <a:gd name="connsiteX15" fmla="*/ 158404 w 182230"/>
                  <a:gd name="connsiteY15" fmla="*/ 223730 h 261031"/>
                  <a:gd name="connsiteX16" fmla="*/ 153404 w 182230"/>
                  <a:gd name="connsiteY16" fmla="*/ 218705 h 261031"/>
                  <a:gd name="connsiteX17" fmla="*/ 158404 w 182230"/>
                  <a:gd name="connsiteY17" fmla="*/ 213030 h 261031"/>
                  <a:gd name="connsiteX18" fmla="*/ 163430 w 182230"/>
                  <a:gd name="connsiteY18" fmla="*/ 213030 h 261031"/>
                  <a:gd name="connsiteX19" fmla="*/ 172230 w 182230"/>
                  <a:gd name="connsiteY19" fmla="*/ 197254 h 261031"/>
                  <a:gd name="connsiteX20" fmla="*/ 163430 w 182230"/>
                  <a:gd name="connsiteY20" fmla="*/ 181479 h 261031"/>
                  <a:gd name="connsiteX21" fmla="*/ 158404 w 182230"/>
                  <a:gd name="connsiteY21" fmla="*/ 181479 h 261031"/>
                  <a:gd name="connsiteX22" fmla="*/ 153404 w 182230"/>
                  <a:gd name="connsiteY22" fmla="*/ 176454 h 261031"/>
                  <a:gd name="connsiteX23" fmla="*/ 153404 w 182230"/>
                  <a:gd name="connsiteY23" fmla="*/ 175379 h 261031"/>
                  <a:gd name="connsiteX24" fmla="*/ 158404 w 182230"/>
                  <a:gd name="connsiteY24" fmla="*/ 170379 h 261031"/>
                  <a:gd name="connsiteX25" fmla="*/ 163430 w 182230"/>
                  <a:gd name="connsiteY25" fmla="*/ 170379 h 261031"/>
                  <a:gd name="connsiteX26" fmla="*/ 172230 w 182230"/>
                  <a:gd name="connsiteY26" fmla="*/ 155028 h 261031"/>
                  <a:gd name="connsiteX27" fmla="*/ 163430 w 182230"/>
                  <a:gd name="connsiteY27" fmla="*/ 139628 h 261031"/>
                  <a:gd name="connsiteX28" fmla="*/ 158404 w 182230"/>
                  <a:gd name="connsiteY28" fmla="*/ 139628 h 261031"/>
                  <a:gd name="connsiteX29" fmla="*/ 153404 w 182230"/>
                  <a:gd name="connsiteY29" fmla="*/ 134628 h 261031"/>
                  <a:gd name="connsiteX30" fmla="*/ 153404 w 182230"/>
                  <a:gd name="connsiteY30" fmla="*/ 133428 h 261031"/>
                  <a:gd name="connsiteX31" fmla="*/ 158404 w 182230"/>
                  <a:gd name="connsiteY31" fmla="*/ 128402 h 261031"/>
                  <a:gd name="connsiteX32" fmla="*/ 163430 w 182230"/>
                  <a:gd name="connsiteY32" fmla="*/ 128402 h 261031"/>
                  <a:gd name="connsiteX33" fmla="*/ 172230 w 182230"/>
                  <a:gd name="connsiteY33" fmla="*/ 114952 h 261031"/>
                  <a:gd name="connsiteX34" fmla="*/ 163430 w 182230"/>
                  <a:gd name="connsiteY34" fmla="*/ 101502 h 261031"/>
                  <a:gd name="connsiteX35" fmla="*/ 97953 w 182230"/>
                  <a:gd name="connsiteY35" fmla="*/ 101502 h 261031"/>
                  <a:gd name="connsiteX36" fmla="*/ 93953 w 182230"/>
                  <a:gd name="connsiteY36" fmla="*/ 99502 h 261031"/>
                  <a:gd name="connsiteX37" fmla="*/ 93128 w 182230"/>
                  <a:gd name="connsiteY37" fmla="*/ 95102 h 261031"/>
                  <a:gd name="connsiteX38" fmla="*/ 93878 w 182230"/>
                  <a:gd name="connsiteY38" fmla="*/ 92827 h 261031"/>
                  <a:gd name="connsiteX39" fmla="*/ 109503 w 182230"/>
                  <a:gd name="connsiteY39" fmla="*/ 33500 h 261031"/>
                  <a:gd name="connsiteX40" fmla="*/ 109478 w 182230"/>
                  <a:gd name="connsiteY40" fmla="*/ 32625 h 261031"/>
                  <a:gd name="connsiteX41" fmla="*/ 105153 w 182230"/>
                  <a:gd name="connsiteY41" fmla="*/ 12299 h 261031"/>
                  <a:gd name="connsiteX42" fmla="*/ 98228 w 182230"/>
                  <a:gd name="connsiteY42" fmla="*/ 10124 h 261031"/>
                  <a:gd name="connsiteX43" fmla="*/ 90052 w 182230"/>
                  <a:gd name="connsiteY43" fmla="*/ 15124 h 261031"/>
                  <a:gd name="connsiteX44" fmla="*/ 65652 w 182230"/>
                  <a:gd name="connsiteY44" fmla="*/ 71426 h 261031"/>
                  <a:gd name="connsiteX45" fmla="*/ 62677 w 182230"/>
                  <a:gd name="connsiteY45" fmla="*/ 76701 h 261031"/>
                  <a:gd name="connsiteX46" fmla="*/ 48126 w 182230"/>
                  <a:gd name="connsiteY46" fmla="*/ 101477 h 261031"/>
                  <a:gd name="connsiteX47" fmla="*/ 48101 w 182230"/>
                  <a:gd name="connsiteY47" fmla="*/ 101527 h 261031"/>
                  <a:gd name="connsiteX48" fmla="*/ 47976 w 182230"/>
                  <a:gd name="connsiteY48" fmla="*/ 108852 h 261031"/>
                  <a:gd name="connsiteX49" fmla="*/ 42976 w 182230"/>
                  <a:gd name="connsiteY49" fmla="*/ 113802 h 261031"/>
                  <a:gd name="connsiteX50" fmla="*/ 5000 w 182230"/>
                  <a:gd name="connsiteY50" fmla="*/ 113802 h 261031"/>
                  <a:gd name="connsiteX51" fmla="*/ 0 w 182230"/>
                  <a:gd name="connsiteY51" fmla="*/ 108777 h 261031"/>
                  <a:gd name="connsiteX52" fmla="*/ 5000 w 182230"/>
                  <a:gd name="connsiteY52" fmla="*/ 103752 h 261031"/>
                  <a:gd name="connsiteX53" fmla="*/ 38026 w 182230"/>
                  <a:gd name="connsiteY53" fmla="*/ 103752 h 261031"/>
                  <a:gd name="connsiteX54" fmla="*/ 38101 w 182230"/>
                  <a:gd name="connsiteY54" fmla="*/ 100402 h 261031"/>
                  <a:gd name="connsiteX55" fmla="*/ 39701 w 182230"/>
                  <a:gd name="connsiteY55" fmla="*/ 96002 h 261031"/>
                  <a:gd name="connsiteX56" fmla="*/ 53976 w 182230"/>
                  <a:gd name="connsiteY56" fmla="*/ 71701 h 261031"/>
                  <a:gd name="connsiteX57" fmla="*/ 56927 w 182230"/>
                  <a:gd name="connsiteY57" fmla="*/ 66451 h 261031"/>
                  <a:gd name="connsiteX58" fmla="*/ 80602 w 182230"/>
                  <a:gd name="connsiteY58" fmla="*/ 11774 h 261031"/>
                  <a:gd name="connsiteX59" fmla="*/ 97128 w 182230"/>
                  <a:gd name="connsiteY59" fmla="*/ 124 h 261031"/>
                  <a:gd name="connsiteX60" fmla="*/ 112103 w 182230"/>
                  <a:gd name="connsiteY60" fmla="*/ 5074 h 261031"/>
                  <a:gd name="connsiteX61" fmla="*/ 119503 w 182230"/>
                  <a:gd name="connsiteY61" fmla="*/ 33050 h 261031"/>
                  <a:gd name="connsiteX62" fmla="*/ 104728 w 182230"/>
                  <a:gd name="connsiteY62" fmla="*/ 91477 h 261031"/>
                  <a:gd name="connsiteX63" fmla="*/ 163405 w 182230"/>
                  <a:gd name="connsiteY63" fmla="*/ 91477 h 261031"/>
                  <a:gd name="connsiteX64" fmla="*/ 182230 w 182230"/>
                  <a:gd name="connsiteY64" fmla="*/ 114952 h 261031"/>
                  <a:gd name="connsiteX65" fmla="*/ 174255 w 182230"/>
                  <a:gd name="connsiteY65" fmla="*/ 134128 h 261031"/>
                  <a:gd name="connsiteX66" fmla="*/ 182230 w 182230"/>
                  <a:gd name="connsiteY66" fmla="*/ 155028 h 261031"/>
                  <a:gd name="connsiteX67" fmla="*/ 174180 w 182230"/>
                  <a:gd name="connsiteY67" fmla="*/ 175979 h 261031"/>
                  <a:gd name="connsiteX68" fmla="*/ 182230 w 182230"/>
                  <a:gd name="connsiteY68" fmla="*/ 197254 h 261031"/>
                  <a:gd name="connsiteX69" fmla="*/ 174930 w 182230"/>
                  <a:gd name="connsiteY69" fmla="*/ 217780 h 261031"/>
                  <a:gd name="connsiteX70" fmla="*/ 182230 w 182230"/>
                  <a:gd name="connsiteY70" fmla="*/ 237181 h 261031"/>
                  <a:gd name="connsiteX71" fmla="*/ 165230 w 182230"/>
                  <a:gd name="connsiteY71" fmla="*/ 260706 h 261031"/>
                  <a:gd name="connsiteX72" fmla="*/ 64227 w 182230"/>
                  <a:gd name="connsiteY72" fmla="*/ 260956 h 261031"/>
                  <a:gd name="connsiteX73" fmla="*/ 62527 w 182230"/>
                  <a:gd name="connsiteY73" fmla="*/ 261031 h 261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82230" h="261031">
                    <a:moveTo>
                      <a:pt x="62527" y="261031"/>
                    </a:moveTo>
                    <a:cubicBezTo>
                      <a:pt x="58577" y="261031"/>
                      <a:pt x="49201" y="260381"/>
                      <a:pt x="43226" y="254731"/>
                    </a:cubicBezTo>
                    <a:cubicBezTo>
                      <a:pt x="39851" y="251556"/>
                      <a:pt x="38101" y="247256"/>
                      <a:pt x="38151" y="242281"/>
                    </a:cubicBezTo>
                    <a:cubicBezTo>
                      <a:pt x="38151" y="242081"/>
                      <a:pt x="38151" y="241856"/>
                      <a:pt x="38151" y="241606"/>
                    </a:cubicBezTo>
                    <a:lnTo>
                      <a:pt x="5025" y="241606"/>
                    </a:lnTo>
                    <a:cubicBezTo>
                      <a:pt x="2250" y="241606"/>
                      <a:pt x="25" y="239356"/>
                      <a:pt x="25" y="236581"/>
                    </a:cubicBezTo>
                    <a:cubicBezTo>
                      <a:pt x="25" y="233805"/>
                      <a:pt x="2275" y="231555"/>
                      <a:pt x="5025" y="231555"/>
                    </a:cubicBezTo>
                    <a:lnTo>
                      <a:pt x="43176" y="231555"/>
                    </a:lnTo>
                    <a:cubicBezTo>
                      <a:pt x="45951" y="231555"/>
                      <a:pt x="48176" y="233805"/>
                      <a:pt x="48176" y="236581"/>
                    </a:cubicBezTo>
                    <a:cubicBezTo>
                      <a:pt x="48176" y="239206"/>
                      <a:pt x="48176" y="241206"/>
                      <a:pt x="48151" y="242406"/>
                    </a:cubicBezTo>
                    <a:cubicBezTo>
                      <a:pt x="48126" y="244556"/>
                      <a:pt x="48726" y="246156"/>
                      <a:pt x="50076" y="247431"/>
                    </a:cubicBezTo>
                    <a:cubicBezTo>
                      <a:pt x="53676" y="250831"/>
                      <a:pt x="61452" y="251106"/>
                      <a:pt x="63902" y="250956"/>
                    </a:cubicBezTo>
                    <a:lnTo>
                      <a:pt x="165255" y="250706"/>
                    </a:lnTo>
                    <a:cubicBezTo>
                      <a:pt x="168555" y="250706"/>
                      <a:pt x="172230" y="244931"/>
                      <a:pt x="172230" y="237206"/>
                    </a:cubicBezTo>
                    <a:cubicBezTo>
                      <a:pt x="172230" y="229505"/>
                      <a:pt x="168555" y="223730"/>
                      <a:pt x="165255" y="223730"/>
                    </a:cubicBezTo>
                    <a:lnTo>
                      <a:pt x="158404" y="223730"/>
                    </a:lnTo>
                    <a:cubicBezTo>
                      <a:pt x="155629" y="223730"/>
                      <a:pt x="153404" y="221480"/>
                      <a:pt x="153404" y="218705"/>
                    </a:cubicBezTo>
                    <a:cubicBezTo>
                      <a:pt x="153404" y="215930"/>
                      <a:pt x="155654" y="213030"/>
                      <a:pt x="158404" y="213030"/>
                    </a:cubicBezTo>
                    <a:lnTo>
                      <a:pt x="163430" y="213030"/>
                    </a:lnTo>
                    <a:cubicBezTo>
                      <a:pt x="167580" y="213030"/>
                      <a:pt x="172230" y="206555"/>
                      <a:pt x="172230" y="197254"/>
                    </a:cubicBezTo>
                    <a:cubicBezTo>
                      <a:pt x="172230" y="187954"/>
                      <a:pt x="167580" y="181479"/>
                      <a:pt x="163430" y="181479"/>
                    </a:cubicBezTo>
                    <a:lnTo>
                      <a:pt x="158404" y="181479"/>
                    </a:lnTo>
                    <a:cubicBezTo>
                      <a:pt x="155629" y="181479"/>
                      <a:pt x="153404" y="179229"/>
                      <a:pt x="153404" y="176454"/>
                    </a:cubicBezTo>
                    <a:lnTo>
                      <a:pt x="153404" y="175379"/>
                    </a:lnTo>
                    <a:cubicBezTo>
                      <a:pt x="153404" y="172604"/>
                      <a:pt x="155654" y="170379"/>
                      <a:pt x="158404" y="170379"/>
                    </a:cubicBezTo>
                    <a:lnTo>
                      <a:pt x="163430" y="170379"/>
                    </a:lnTo>
                    <a:cubicBezTo>
                      <a:pt x="167580" y="170379"/>
                      <a:pt x="172230" y="164079"/>
                      <a:pt x="172230" y="155028"/>
                    </a:cubicBezTo>
                    <a:cubicBezTo>
                      <a:pt x="172230" y="145953"/>
                      <a:pt x="167580" y="139628"/>
                      <a:pt x="163430" y="139628"/>
                    </a:cubicBezTo>
                    <a:lnTo>
                      <a:pt x="158404" y="139628"/>
                    </a:lnTo>
                    <a:cubicBezTo>
                      <a:pt x="155629" y="139628"/>
                      <a:pt x="153404" y="137378"/>
                      <a:pt x="153404" y="134628"/>
                    </a:cubicBezTo>
                    <a:lnTo>
                      <a:pt x="153404" y="133428"/>
                    </a:lnTo>
                    <a:cubicBezTo>
                      <a:pt x="153404" y="130653"/>
                      <a:pt x="155654" y="128402"/>
                      <a:pt x="158404" y="128402"/>
                    </a:cubicBezTo>
                    <a:lnTo>
                      <a:pt x="163430" y="128402"/>
                    </a:lnTo>
                    <a:cubicBezTo>
                      <a:pt x="168205" y="128402"/>
                      <a:pt x="172230" y="122252"/>
                      <a:pt x="172230" y="114952"/>
                    </a:cubicBezTo>
                    <a:cubicBezTo>
                      <a:pt x="172230" y="107652"/>
                      <a:pt x="168205" y="101502"/>
                      <a:pt x="163430" y="101502"/>
                    </a:cubicBezTo>
                    <a:lnTo>
                      <a:pt x="97953" y="101502"/>
                    </a:lnTo>
                    <a:cubicBezTo>
                      <a:pt x="96378" y="101502"/>
                      <a:pt x="94903" y="100752"/>
                      <a:pt x="93953" y="99502"/>
                    </a:cubicBezTo>
                    <a:cubicBezTo>
                      <a:pt x="93003" y="98252"/>
                      <a:pt x="92703" y="96602"/>
                      <a:pt x="93128" y="95102"/>
                    </a:cubicBezTo>
                    <a:cubicBezTo>
                      <a:pt x="93403" y="94127"/>
                      <a:pt x="93628" y="93427"/>
                      <a:pt x="93878" y="92827"/>
                    </a:cubicBezTo>
                    <a:cubicBezTo>
                      <a:pt x="95903" y="87052"/>
                      <a:pt x="109903" y="39575"/>
                      <a:pt x="109503" y="33500"/>
                    </a:cubicBezTo>
                    <a:cubicBezTo>
                      <a:pt x="109478" y="33275"/>
                      <a:pt x="109478" y="32850"/>
                      <a:pt x="109478" y="32625"/>
                    </a:cubicBezTo>
                    <a:cubicBezTo>
                      <a:pt x="110203" y="22875"/>
                      <a:pt x="108653" y="15649"/>
                      <a:pt x="105153" y="12299"/>
                    </a:cubicBezTo>
                    <a:cubicBezTo>
                      <a:pt x="103353" y="10549"/>
                      <a:pt x="101028" y="9849"/>
                      <a:pt x="98228" y="10124"/>
                    </a:cubicBezTo>
                    <a:cubicBezTo>
                      <a:pt x="94303" y="10549"/>
                      <a:pt x="90928" y="13050"/>
                      <a:pt x="90052" y="15124"/>
                    </a:cubicBezTo>
                    <a:cubicBezTo>
                      <a:pt x="82777" y="41150"/>
                      <a:pt x="72877" y="58651"/>
                      <a:pt x="65652" y="71426"/>
                    </a:cubicBezTo>
                    <a:cubicBezTo>
                      <a:pt x="64552" y="73351"/>
                      <a:pt x="63552" y="75126"/>
                      <a:pt x="62677" y="76701"/>
                    </a:cubicBezTo>
                    <a:cubicBezTo>
                      <a:pt x="58527" y="83801"/>
                      <a:pt x="52951" y="93327"/>
                      <a:pt x="48126" y="101477"/>
                    </a:cubicBezTo>
                    <a:cubicBezTo>
                      <a:pt x="48101" y="101502"/>
                      <a:pt x="48101" y="101527"/>
                      <a:pt x="48101" y="101527"/>
                    </a:cubicBezTo>
                    <a:cubicBezTo>
                      <a:pt x="48051" y="103477"/>
                      <a:pt x="48026" y="105952"/>
                      <a:pt x="47976" y="108852"/>
                    </a:cubicBezTo>
                    <a:cubicBezTo>
                      <a:pt x="47951" y="111602"/>
                      <a:pt x="45701" y="113802"/>
                      <a:pt x="42976" y="113802"/>
                    </a:cubicBezTo>
                    <a:lnTo>
                      <a:pt x="5000" y="113802"/>
                    </a:lnTo>
                    <a:cubicBezTo>
                      <a:pt x="2225" y="113802"/>
                      <a:pt x="0" y="111552"/>
                      <a:pt x="0" y="108777"/>
                    </a:cubicBezTo>
                    <a:cubicBezTo>
                      <a:pt x="0" y="106002"/>
                      <a:pt x="2250" y="103752"/>
                      <a:pt x="5000" y="103752"/>
                    </a:cubicBezTo>
                    <a:lnTo>
                      <a:pt x="38026" y="103752"/>
                    </a:lnTo>
                    <a:cubicBezTo>
                      <a:pt x="38051" y="102477"/>
                      <a:pt x="38076" y="101352"/>
                      <a:pt x="38101" y="100402"/>
                    </a:cubicBezTo>
                    <a:cubicBezTo>
                      <a:pt x="38126" y="98827"/>
                      <a:pt x="38676" y="97352"/>
                      <a:pt x="39701" y="96002"/>
                    </a:cubicBezTo>
                    <a:cubicBezTo>
                      <a:pt x="44476" y="87952"/>
                      <a:pt x="49951" y="78601"/>
                      <a:pt x="53976" y="71701"/>
                    </a:cubicBezTo>
                    <a:cubicBezTo>
                      <a:pt x="54827" y="70151"/>
                      <a:pt x="55852" y="68351"/>
                      <a:pt x="56927" y="66451"/>
                    </a:cubicBezTo>
                    <a:cubicBezTo>
                      <a:pt x="63902" y="54100"/>
                      <a:pt x="73452" y="37225"/>
                      <a:pt x="80602" y="11774"/>
                    </a:cubicBezTo>
                    <a:cubicBezTo>
                      <a:pt x="83227" y="5449"/>
                      <a:pt x="89928" y="899"/>
                      <a:pt x="97128" y="124"/>
                    </a:cubicBezTo>
                    <a:cubicBezTo>
                      <a:pt x="102828" y="-501"/>
                      <a:pt x="108153" y="1249"/>
                      <a:pt x="112103" y="5074"/>
                    </a:cubicBezTo>
                    <a:cubicBezTo>
                      <a:pt x="117828" y="10574"/>
                      <a:pt x="120378" y="20250"/>
                      <a:pt x="119503" y="33050"/>
                    </a:cubicBezTo>
                    <a:cubicBezTo>
                      <a:pt x="119703" y="41625"/>
                      <a:pt x="109028" y="77526"/>
                      <a:pt x="104728" y="91477"/>
                    </a:cubicBezTo>
                    <a:lnTo>
                      <a:pt x="163405" y="91477"/>
                    </a:lnTo>
                    <a:cubicBezTo>
                      <a:pt x="173780" y="91477"/>
                      <a:pt x="182230" y="102002"/>
                      <a:pt x="182230" y="114952"/>
                    </a:cubicBezTo>
                    <a:cubicBezTo>
                      <a:pt x="182230" y="122852"/>
                      <a:pt x="179080" y="129878"/>
                      <a:pt x="174255" y="134128"/>
                    </a:cubicBezTo>
                    <a:cubicBezTo>
                      <a:pt x="179105" y="138678"/>
                      <a:pt x="182230" y="146278"/>
                      <a:pt x="182230" y="155028"/>
                    </a:cubicBezTo>
                    <a:cubicBezTo>
                      <a:pt x="182230" y="163804"/>
                      <a:pt x="179080" y="171429"/>
                      <a:pt x="174180" y="175979"/>
                    </a:cubicBezTo>
                    <a:cubicBezTo>
                      <a:pt x="179080" y="180579"/>
                      <a:pt x="182230" y="188329"/>
                      <a:pt x="182230" y="197254"/>
                    </a:cubicBezTo>
                    <a:cubicBezTo>
                      <a:pt x="182230" y="205705"/>
                      <a:pt x="179405" y="213105"/>
                      <a:pt x="174930" y="217780"/>
                    </a:cubicBezTo>
                    <a:cubicBezTo>
                      <a:pt x="179355" y="221980"/>
                      <a:pt x="182230" y="229030"/>
                      <a:pt x="182230" y="237181"/>
                    </a:cubicBezTo>
                    <a:cubicBezTo>
                      <a:pt x="182230" y="250381"/>
                      <a:pt x="174755" y="260706"/>
                      <a:pt x="165230" y="260706"/>
                    </a:cubicBezTo>
                    <a:lnTo>
                      <a:pt x="64227" y="260956"/>
                    </a:lnTo>
                    <a:cubicBezTo>
                      <a:pt x="64102" y="260981"/>
                      <a:pt x="63452" y="261031"/>
                      <a:pt x="62527" y="261031"/>
                    </a:cubicBezTo>
                    <a:close/>
                  </a:path>
                </a:pathLst>
              </a:custGeom>
              <a:solidFill>
                <a:schemeClr val="tx2"/>
              </a:solidFill>
              <a:ln w="2495" cap="flat">
                <a:noFill/>
                <a:prstDash val="solid"/>
                <a:miter/>
              </a:ln>
            </p:spPr>
            <p:txBody>
              <a:bodyPr rtlCol="0" anchor="ctr"/>
              <a:lstStyle/>
              <a:p>
                <a:endParaRPr lang="en-GB" dirty="0"/>
              </a:p>
            </p:txBody>
          </p:sp>
          <p:sp>
            <p:nvSpPr>
              <p:cNvPr id="368" name="Freihandform: Form 427">
                <a:extLst>
                  <a:ext uri="{FF2B5EF4-FFF2-40B4-BE49-F238E27FC236}">
                    <a16:creationId xmlns:a16="http://schemas.microsoft.com/office/drawing/2014/main" id="{D7B08C1C-06B3-490C-AFF9-555D1860E913}"/>
                  </a:ext>
                </a:extLst>
              </p:cNvPr>
              <p:cNvSpPr/>
              <p:nvPr/>
            </p:nvSpPr>
            <p:spPr>
              <a:xfrm>
                <a:off x="5502095" y="4398221"/>
                <a:ext cx="102227" cy="172429"/>
              </a:xfrm>
              <a:custGeom>
                <a:avLst/>
                <a:gdLst>
                  <a:gd name="connsiteX0" fmla="*/ 97203 w 102227"/>
                  <a:gd name="connsiteY0" fmla="*/ 172430 h 172429"/>
                  <a:gd name="connsiteX1" fmla="*/ 5000 w 102227"/>
                  <a:gd name="connsiteY1" fmla="*/ 172430 h 172429"/>
                  <a:gd name="connsiteX2" fmla="*/ 0 w 102227"/>
                  <a:gd name="connsiteY2" fmla="*/ 167405 h 172429"/>
                  <a:gd name="connsiteX3" fmla="*/ 0 w 102227"/>
                  <a:gd name="connsiteY3" fmla="*/ 5175 h 172429"/>
                  <a:gd name="connsiteX4" fmla="*/ 5000 w 102227"/>
                  <a:gd name="connsiteY4" fmla="*/ 150 h 172429"/>
                  <a:gd name="connsiteX5" fmla="*/ 97203 w 102227"/>
                  <a:gd name="connsiteY5" fmla="*/ 0 h 172429"/>
                  <a:gd name="connsiteX6" fmla="*/ 97203 w 102227"/>
                  <a:gd name="connsiteY6" fmla="*/ 0 h 172429"/>
                  <a:gd name="connsiteX7" fmla="*/ 100753 w 102227"/>
                  <a:gd name="connsiteY7" fmla="*/ 1450 h 172429"/>
                  <a:gd name="connsiteX8" fmla="*/ 102228 w 102227"/>
                  <a:gd name="connsiteY8" fmla="*/ 5000 h 172429"/>
                  <a:gd name="connsiteX9" fmla="*/ 102228 w 102227"/>
                  <a:gd name="connsiteY9" fmla="*/ 167380 h 172429"/>
                  <a:gd name="connsiteX10" fmla="*/ 97203 w 102227"/>
                  <a:gd name="connsiteY10" fmla="*/ 172430 h 172429"/>
                  <a:gd name="connsiteX11" fmla="*/ 10000 w 102227"/>
                  <a:gd name="connsiteY11" fmla="*/ 162429 h 172429"/>
                  <a:gd name="connsiteX12" fmla="*/ 92178 w 102227"/>
                  <a:gd name="connsiteY12" fmla="*/ 162429 h 172429"/>
                  <a:gd name="connsiteX13" fmla="*/ 92178 w 102227"/>
                  <a:gd name="connsiteY13" fmla="*/ 10075 h 172429"/>
                  <a:gd name="connsiteX14" fmla="*/ 10000 w 102227"/>
                  <a:gd name="connsiteY14" fmla="*/ 10225 h 172429"/>
                  <a:gd name="connsiteX15" fmla="*/ 10000 w 102227"/>
                  <a:gd name="connsiteY15" fmla="*/ 162429 h 17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227" h="172429">
                    <a:moveTo>
                      <a:pt x="97203" y="172430"/>
                    </a:moveTo>
                    <a:lnTo>
                      <a:pt x="5000" y="172430"/>
                    </a:lnTo>
                    <a:cubicBezTo>
                      <a:pt x="2225" y="172430"/>
                      <a:pt x="0" y="170180"/>
                      <a:pt x="0" y="167405"/>
                    </a:cubicBezTo>
                    <a:lnTo>
                      <a:pt x="0" y="5175"/>
                    </a:lnTo>
                    <a:cubicBezTo>
                      <a:pt x="0" y="2400"/>
                      <a:pt x="2250" y="175"/>
                      <a:pt x="5000" y="150"/>
                    </a:cubicBezTo>
                    <a:lnTo>
                      <a:pt x="97203" y="0"/>
                    </a:lnTo>
                    <a:cubicBezTo>
                      <a:pt x="97203" y="0"/>
                      <a:pt x="97203" y="0"/>
                      <a:pt x="97203" y="0"/>
                    </a:cubicBezTo>
                    <a:cubicBezTo>
                      <a:pt x="98528" y="0"/>
                      <a:pt x="99803" y="525"/>
                      <a:pt x="100753" y="1450"/>
                    </a:cubicBezTo>
                    <a:cubicBezTo>
                      <a:pt x="101703" y="2400"/>
                      <a:pt x="102228" y="3675"/>
                      <a:pt x="102228" y="5000"/>
                    </a:cubicBezTo>
                    <a:lnTo>
                      <a:pt x="102228" y="167380"/>
                    </a:lnTo>
                    <a:cubicBezTo>
                      <a:pt x="102228" y="170205"/>
                      <a:pt x="99978" y="172430"/>
                      <a:pt x="97203" y="172430"/>
                    </a:cubicBezTo>
                    <a:close/>
                    <a:moveTo>
                      <a:pt x="10000" y="162429"/>
                    </a:moveTo>
                    <a:lnTo>
                      <a:pt x="92178" y="162429"/>
                    </a:lnTo>
                    <a:lnTo>
                      <a:pt x="92178" y="10075"/>
                    </a:lnTo>
                    <a:lnTo>
                      <a:pt x="10000" y="10225"/>
                    </a:lnTo>
                    <a:lnTo>
                      <a:pt x="10000" y="162429"/>
                    </a:lnTo>
                    <a:close/>
                  </a:path>
                </a:pathLst>
              </a:custGeom>
              <a:solidFill>
                <a:schemeClr val="tx2"/>
              </a:solidFill>
              <a:ln w="2495" cap="flat">
                <a:noFill/>
                <a:prstDash val="solid"/>
                <a:miter/>
              </a:ln>
            </p:spPr>
            <p:txBody>
              <a:bodyPr rtlCol="0" anchor="ctr"/>
              <a:lstStyle/>
              <a:p>
                <a:endParaRPr lang="en-GB" dirty="0"/>
              </a:p>
            </p:txBody>
          </p:sp>
        </p:grpSp>
      </p:grpSp>
      <p:grpSp>
        <p:nvGrpSpPr>
          <p:cNvPr id="125" name="Group 124">
            <a:extLst>
              <a:ext uri="{FF2B5EF4-FFF2-40B4-BE49-F238E27FC236}">
                <a16:creationId xmlns:a16="http://schemas.microsoft.com/office/drawing/2014/main" id="{3D0F93BA-1784-78E0-13A8-629648F56A0B}"/>
              </a:ext>
            </a:extLst>
          </p:cNvPr>
          <p:cNvGrpSpPr/>
          <p:nvPr/>
        </p:nvGrpSpPr>
        <p:grpSpPr>
          <a:xfrm>
            <a:off x="4944858" y="2391526"/>
            <a:ext cx="536820" cy="432000"/>
            <a:chOff x="4944446" y="2391526"/>
            <a:chExt cx="536820" cy="432000"/>
          </a:xfrm>
        </p:grpSpPr>
        <p:grpSp>
          <p:nvGrpSpPr>
            <p:cNvPr id="372" name="Group 371">
              <a:extLst>
                <a:ext uri="{FF2B5EF4-FFF2-40B4-BE49-F238E27FC236}">
                  <a16:creationId xmlns:a16="http://schemas.microsoft.com/office/drawing/2014/main" id="{7EC9D1D0-2A76-42E5-ABD7-13A606A7B497}"/>
                </a:ext>
              </a:extLst>
            </p:cNvPr>
            <p:cNvGrpSpPr/>
            <p:nvPr/>
          </p:nvGrpSpPr>
          <p:grpSpPr>
            <a:xfrm>
              <a:off x="4944446" y="2511495"/>
              <a:ext cx="536820" cy="271726"/>
              <a:chOff x="3273640" y="1799452"/>
              <a:chExt cx="603481" cy="305469"/>
            </a:xfrm>
            <a:solidFill>
              <a:schemeClr val="tx2"/>
            </a:solidFill>
          </p:grpSpPr>
          <p:grpSp>
            <p:nvGrpSpPr>
              <p:cNvPr id="379" name="Grafik 7">
                <a:extLst>
                  <a:ext uri="{FF2B5EF4-FFF2-40B4-BE49-F238E27FC236}">
                    <a16:creationId xmlns:a16="http://schemas.microsoft.com/office/drawing/2014/main" id="{AF2DF077-DD9B-4AE5-864D-FFE2B53914DB}"/>
                  </a:ext>
                </a:extLst>
              </p:cNvPr>
              <p:cNvGrpSpPr/>
              <p:nvPr/>
            </p:nvGrpSpPr>
            <p:grpSpPr>
              <a:xfrm>
                <a:off x="3416017" y="1934264"/>
                <a:ext cx="318196" cy="170657"/>
                <a:chOff x="3416017" y="1934264"/>
                <a:chExt cx="318196" cy="170657"/>
              </a:xfrm>
              <a:grpFill/>
            </p:grpSpPr>
            <p:sp>
              <p:nvSpPr>
                <p:cNvPr id="386" name="Freihandform: Form 253">
                  <a:extLst>
                    <a:ext uri="{FF2B5EF4-FFF2-40B4-BE49-F238E27FC236}">
                      <a16:creationId xmlns:a16="http://schemas.microsoft.com/office/drawing/2014/main" id="{85F682CF-2E5C-4BFB-B909-073F17764A9A}"/>
                    </a:ext>
                  </a:extLst>
                </p:cNvPr>
                <p:cNvSpPr/>
                <p:nvPr/>
              </p:nvSpPr>
              <p:spPr>
                <a:xfrm>
                  <a:off x="3595276" y="1936442"/>
                  <a:ext cx="138938" cy="168256"/>
                </a:xfrm>
                <a:custGeom>
                  <a:avLst/>
                  <a:gdLst>
                    <a:gd name="connsiteX0" fmla="*/ 103566 w 138938"/>
                    <a:gd name="connsiteY0" fmla="*/ 48045 h 168256"/>
                    <a:gd name="connsiteX1" fmla="*/ 98596 w 138938"/>
                    <a:gd name="connsiteY1" fmla="*/ 43076 h 168256"/>
                    <a:gd name="connsiteX2" fmla="*/ 96810 w 138938"/>
                    <a:gd name="connsiteY2" fmla="*/ 42574 h 168256"/>
                    <a:gd name="connsiteX3" fmla="*/ 27129 w 138938"/>
                    <a:gd name="connsiteY3" fmla="*/ 23060 h 168256"/>
                    <a:gd name="connsiteX4" fmla="*/ 23471 w 138938"/>
                    <a:gd name="connsiteY4" fmla="*/ 18258 h 168256"/>
                    <a:gd name="connsiteX5" fmla="*/ 23471 w 138938"/>
                    <a:gd name="connsiteY5" fmla="*/ 4941 h 168256"/>
                    <a:gd name="connsiteX6" fmla="*/ 18530 w 138938"/>
                    <a:gd name="connsiteY6" fmla="*/ 0 h 168256"/>
                    <a:gd name="connsiteX7" fmla="*/ 13589 w 138938"/>
                    <a:gd name="connsiteY7" fmla="*/ 4941 h 168256"/>
                    <a:gd name="connsiteX8" fmla="*/ 13589 w 138938"/>
                    <a:gd name="connsiteY8" fmla="*/ 18258 h 168256"/>
                    <a:gd name="connsiteX9" fmla="*/ 24477 w 138938"/>
                    <a:gd name="connsiteY9" fmla="*/ 32579 h 168256"/>
                    <a:gd name="connsiteX10" fmla="*/ 94074 w 138938"/>
                    <a:gd name="connsiteY10" fmla="*/ 52065 h 168256"/>
                    <a:gd name="connsiteX11" fmla="*/ 94492 w 138938"/>
                    <a:gd name="connsiteY11" fmla="*/ 52177 h 168256"/>
                    <a:gd name="connsiteX12" fmla="*/ 94772 w 138938"/>
                    <a:gd name="connsiteY12" fmla="*/ 52596 h 168256"/>
                    <a:gd name="connsiteX13" fmla="*/ 127574 w 138938"/>
                    <a:gd name="connsiteY13" fmla="*/ 117782 h 168256"/>
                    <a:gd name="connsiteX14" fmla="*/ 4516 w 138938"/>
                    <a:gd name="connsiteY14" fmla="*/ 158374 h 168256"/>
                    <a:gd name="connsiteX15" fmla="*/ 21 w 138938"/>
                    <a:gd name="connsiteY15" fmla="*/ 163734 h 168256"/>
                    <a:gd name="connsiteX16" fmla="*/ 4935 w 138938"/>
                    <a:gd name="connsiteY16" fmla="*/ 168256 h 168256"/>
                    <a:gd name="connsiteX17" fmla="*/ 5353 w 138938"/>
                    <a:gd name="connsiteY17" fmla="*/ 168228 h 168256"/>
                    <a:gd name="connsiteX18" fmla="*/ 136647 w 138938"/>
                    <a:gd name="connsiteY18" fmla="*/ 123756 h 168256"/>
                    <a:gd name="connsiteX19" fmla="*/ 138406 w 138938"/>
                    <a:gd name="connsiteY19" fmla="*/ 117363 h 168256"/>
                    <a:gd name="connsiteX20" fmla="*/ 103566 w 138938"/>
                    <a:gd name="connsiteY20" fmla="*/ 48045 h 168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938" h="168256">
                      <a:moveTo>
                        <a:pt x="103566" y="48045"/>
                      </a:moveTo>
                      <a:cubicBezTo>
                        <a:pt x="101835" y="44667"/>
                        <a:pt x="99127" y="43299"/>
                        <a:pt x="98596" y="43076"/>
                      </a:cubicBezTo>
                      <a:cubicBezTo>
                        <a:pt x="98206" y="42909"/>
                        <a:pt x="97228" y="42657"/>
                        <a:pt x="96810" y="42574"/>
                      </a:cubicBezTo>
                      <a:lnTo>
                        <a:pt x="27129" y="23060"/>
                      </a:lnTo>
                      <a:cubicBezTo>
                        <a:pt x="24979" y="22473"/>
                        <a:pt x="23471" y="20491"/>
                        <a:pt x="23471" y="18258"/>
                      </a:cubicBezTo>
                      <a:lnTo>
                        <a:pt x="23471" y="4941"/>
                      </a:lnTo>
                      <a:cubicBezTo>
                        <a:pt x="23471" y="2205"/>
                        <a:pt x="21266" y="0"/>
                        <a:pt x="18530" y="0"/>
                      </a:cubicBezTo>
                      <a:cubicBezTo>
                        <a:pt x="15794" y="0"/>
                        <a:pt x="13589" y="2205"/>
                        <a:pt x="13589" y="4941"/>
                      </a:cubicBezTo>
                      <a:lnTo>
                        <a:pt x="13589" y="18258"/>
                      </a:lnTo>
                      <a:cubicBezTo>
                        <a:pt x="13589" y="24930"/>
                        <a:pt x="18083" y="30820"/>
                        <a:pt x="24477" y="32579"/>
                      </a:cubicBezTo>
                      <a:lnTo>
                        <a:pt x="94074" y="52065"/>
                      </a:lnTo>
                      <a:cubicBezTo>
                        <a:pt x="94213" y="52093"/>
                        <a:pt x="94353" y="52149"/>
                        <a:pt x="94492" y="52177"/>
                      </a:cubicBezTo>
                      <a:cubicBezTo>
                        <a:pt x="94576" y="52289"/>
                        <a:pt x="94688" y="52428"/>
                        <a:pt x="94772" y="52596"/>
                      </a:cubicBezTo>
                      <a:cubicBezTo>
                        <a:pt x="96084" y="55052"/>
                        <a:pt x="107976" y="78726"/>
                        <a:pt x="127574" y="117782"/>
                      </a:cubicBezTo>
                      <a:cubicBezTo>
                        <a:pt x="90417" y="140590"/>
                        <a:pt x="47983" y="154605"/>
                        <a:pt x="4516" y="158374"/>
                      </a:cubicBezTo>
                      <a:cubicBezTo>
                        <a:pt x="1780" y="158597"/>
                        <a:pt x="-230" y="160998"/>
                        <a:pt x="21" y="163734"/>
                      </a:cubicBezTo>
                      <a:cubicBezTo>
                        <a:pt x="245" y="166302"/>
                        <a:pt x="2394" y="168256"/>
                        <a:pt x="4935" y="168256"/>
                      </a:cubicBezTo>
                      <a:cubicBezTo>
                        <a:pt x="5074" y="168256"/>
                        <a:pt x="5214" y="168256"/>
                        <a:pt x="5353" y="168228"/>
                      </a:cubicBezTo>
                      <a:cubicBezTo>
                        <a:pt x="51863" y="164208"/>
                        <a:pt x="97256" y="148826"/>
                        <a:pt x="136647" y="123756"/>
                      </a:cubicBezTo>
                      <a:cubicBezTo>
                        <a:pt x="138797" y="122388"/>
                        <a:pt x="139551" y="119625"/>
                        <a:pt x="138406" y="117363"/>
                      </a:cubicBezTo>
                      <a:cubicBezTo>
                        <a:pt x="117636" y="75879"/>
                        <a:pt x="104906" y="50586"/>
                        <a:pt x="103566" y="48045"/>
                      </a:cubicBezTo>
                      <a:close/>
                    </a:path>
                  </a:pathLst>
                </a:custGeom>
                <a:grpFill/>
                <a:ln w="2790" cap="flat">
                  <a:noFill/>
                  <a:prstDash val="solid"/>
                  <a:miter/>
                </a:ln>
              </p:spPr>
              <p:txBody>
                <a:bodyPr rtlCol="0" anchor="ctr"/>
                <a:lstStyle/>
                <a:p>
                  <a:endParaRPr lang="en-GB" dirty="0"/>
                </a:p>
              </p:txBody>
            </p:sp>
            <p:sp>
              <p:nvSpPr>
                <p:cNvPr id="387" name="Freihandform: Form 254">
                  <a:extLst>
                    <a:ext uri="{FF2B5EF4-FFF2-40B4-BE49-F238E27FC236}">
                      <a16:creationId xmlns:a16="http://schemas.microsoft.com/office/drawing/2014/main" id="{6FD7B859-E630-4A3C-B478-EB96DF1E82ED}"/>
                    </a:ext>
                  </a:extLst>
                </p:cNvPr>
                <p:cNvSpPr/>
                <p:nvPr/>
              </p:nvSpPr>
              <p:spPr>
                <a:xfrm>
                  <a:off x="3416017" y="1934264"/>
                  <a:ext cx="141617" cy="170657"/>
                </a:xfrm>
                <a:custGeom>
                  <a:avLst/>
                  <a:gdLst>
                    <a:gd name="connsiteX0" fmla="*/ 137097 w 141617"/>
                    <a:gd name="connsiteY0" fmla="*/ 160774 h 170657"/>
                    <a:gd name="connsiteX1" fmla="*/ 11414 w 141617"/>
                    <a:gd name="connsiteY1" fmla="*/ 119960 h 170657"/>
                    <a:gd name="connsiteX2" fmla="*/ 13955 w 141617"/>
                    <a:gd name="connsiteY2" fmla="*/ 114907 h 170657"/>
                    <a:gd name="connsiteX3" fmla="*/ 44245 w 141617"/>
                    <a:gd name="connsiteY3" fmla="*/ 54745 h 170657"/>
                    <a:gd name="connsiteX4" fmla="*/ 44496 w 141617"/>
                    <a:gd name="connsiteY4" fmla="*/ 54355 h 170657"/>
                    <a:gd name="connsiteX5" fmla="*/ 44859 w 141617"/>
                    <a:gd name="connsiteY5" fmla="*/ 54243 h 170657"/>
                    <a:gd name="connsiteX6" fmla="*/ 114037 w 141617"/>
                    <a:gd name="connsiteY6" fmla="*/ 34757 h 170657"/>
                    <a:gd name="connsiteX7" fmla="*/ 124953 w 141617"/>
                    <a:gd name="connsiteY7" fmla="*/ 20379 h 170657"/>
                    <a:gd name="connsiteX8" fmla="*/ 124953 w 141617"/>
                    <a:gd name="connsiteY8" fmla="*/ 4941 h 170657"/>
                    <a:gd name="connsiteX9" fmla="*/ 120012 w 141617"/>
                    <a:gd name="connsiteY9" fmla="*/ 0 h 170657"/>
                    <a:gd name="connsiteX10" fmla="*/ 115070 w 141617"/>
                    <a:gd name="connsiteY10" fmla="*/ 4941 h 170657"/>
                    <a:gd name="connsiteX11" fmla="*/ 115070 w 141617"/>
                    <a:gd name="connsiteY11" fmla="*/ 20379 h 170657"/>
                    <a:gd name="connsiteX12" fmla="*/ 111357 w 141617"/>
                    <a:gd name="connsiteY12" fmla="*/ 25237 h 170657"/>
                    <a:gd name="connsiteX13" fmla="*/ 41565 w 141617"/>
                    <a:gd name="connsiteY13" fmla="*/ 44863 h 170657"/>
                    <a:gd name="connsiteX14" fmla="*/ 39862 w 141617"/>
                    <a:gd name="connsiteY14" fmla="*/ 45505 h 170657"/>
                    <a:gd name="connsiteX15" fmla="*/ 35423 w 141617"/>
                    <a:gd name="connsiteY15" fmla="*/ 50167 h 170657"/>
                    <a:gd name="connsiteX16" fmla="*/ 5077 w 141617"/>
                    <a:gd name="connsiteY16" fmla="*/ 110468 h 170657"/>
                    <a:gd name="connsiteX17" fmla="*/ 527 w 141617"/>
                    <a:gd name="connsiteY17" fmla="*/ 119541 h 170657"/>
                    <a:gd name="connsiteX18" fmla="*/ 2285 w 141617"/>
                    <a:gd name="connsiteY18" fmla="*/ 125934 h 170657"/>
                    <a:gd name="connsiteX19" fmla="*/ 136287 w 141617"/>
                    <a:gd name="connsiteY19" fmla="*/ 170629 h 170657"/>
                    <a:gd name="connsiteX20" fmla="*/ 136678 w 141617"/>
                    <a:gd name="connsiteY20" fmla="*/ 170657 h 170657"/>
                    <a:gd name="connsiteX21" fmla="*/ 141592 w 141617"/>
                    <a:gd name="connsiteY21" fmla="*/ 166107 h 170657"/>
                    <a:gd name="connsiteX22" fmla="*/ 137097 w 141617"/>
                    <a:gd name="connsiteY22" fmla="*/ 160774 h 170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41617" h="170657">
                      <a:moveTo>
                        <a:pt x="137097" y="160774"/>
                      </a:moveTo>
                      <a:cubicBezTo>
                        <a:pt x="92681" y="157341"/>
                        <a:pt x="49326" y="143243"/>
                        <a:pt x="11414" y="119960"/>
                      </a:cubicBezTo>
                      <a:lnTo>
                        <a:pt x="13955" y="114907"/>
                      </a:lnTo>
                      <a:cubicBezTo>
                        <a:pt x="31068" y="80820"/>
                        <a:pt x="42933" y="57202"/>
                        <a:pt x="44245" y="54745"/>
                      </a:cubicBezTo>
                      <a:cubicBezTo>
                        <a:pt x="44328" y="54578"/>
                        <a:pt x="44412" y="54438"/>
                        <a:pt x="44496" y="54355"/>
                      </a:cubicBezTo>
                      <a:cubicBezTo>
                        <a:pt x="44608" y="54327"/>
                        <a:pt x="44747" y="54299"/>
                        <a:pt x="44859" y="54243"/>
                      </a:cubicBezTo>
                      <a:lnTo>
                        <a:pt x="114037" y="34757"/>
                      </a:lnTo>
                      <a:cubicBezTo>
                        <a:pt x="120458" y="32970"/>
                        <a:pt x="124953" y="27052"/>
                        <a:pt x="124953" y="20379"/>
                      </a:cubicBezTo>
                      <a:lnTo>
                        <a:pt x="124953" y="4941"/>
                      </a:lnTo>
                      <a:cubicBezTo>
                        <a:pt x="124953" y="2205"/>
                        <a:pt x="122748" y="0"/>
                        <a:pt x="120012" y="0"/>
                      </a:cubicBezTo>
                      <a:cubicBezTo>
                        <a:pt x="117276" y="0"/>
                        <a:pt x="115070" y="2205"/>
                        <a:pt x="115070" y="4941"/>
                      </a:cubicBezTo>
                      <a:lnTo>
                        <a:pt x="115070" y="20379"/>
                      </a:lnTo>
                      <a:cubicBezTo>
                        <a:pt x="115070" y="22613"/>
                        <a:pt x="113563" y="24623"/>
                        <a:pt x="111357" y="25237"/>
                      </a:cubicBezTo>
                      <a:lnTo>
                        <a:pt x="41565" y="44863"/>
                      </a:lnTo>
                      <a:cubicBezTo>
                        <a:pt x="40951" y="44974"/>
                        <a:pt x="40392" y="45198"/>
                        <a:pt x="39862" y="45505"/>
                      </a:cubicBezTo>
                      <a:cubicBezTo>
                        <a:pt x="37517" y="46789"/>
                        <a:pt x="36149" y="48743"/>
                        <a:pt x="35423" y="50167"/>
                      </a:cubicBezTo>
                      <a:cubicBezTo>
                        <a:pt x="33832" y="53210"/>
                        <a:pt x="18087" y="84561"/>
                        <a:pt x="5077" y="110468"/>
                      </a:cubicBezTo>
                      <a:lnTo>
                        <a:pt x="527" y="119541"/>
                      </a:lnTo>
                      <a:cubicBezTo>
                        <a:pt x="-618" y="121802"/>
                        <a:pt x="164" y="124566"/>
                        <a:pt x="2285" y="125934"/>
                      </a:cubicBezTo>
                      <a:cubicBezTo>
                        <a:pt x="42430" y="151478"/>
                        <a:pt x="88745" y="166944"/>
                        <a:pt x="136287" y="170629"/>
                      </a:cubicBezTo>
                      <a:cubicBezTo>
                        <a:pt x="136427" y="170629"/>
                        <a:pt x="136539" y="170657"/>
                        <a:pt x="136678" y="170657"/>
                      </a:cubicBezTo>
                      <a:cubicBezTo>
                        <a:pt x="139247" y="170657"/>
                        <a:pt x="141396" y="168675"/>
                        <a:pt x="141592" y="166107"/>
                      </a:cubicBezTo>
                      <a:cubicBezTo>
                        <a:pt x="141871" y="163371"/>
                        <a:pt x="139833" y="160970"/>
                        <a:pt x="137097" y="160774"/>
                      </a:cubicBezTo>
                      <a:close/>
                    </a:path>
                  </a:pathLst>
                </a:custGeom>
                <a:grpFill/>
                <a:ln w="2790" cap="flat">
                  <a:noFill/>
                  <a:prstDash val="solid"/>
                  <a:miter/>
                </a:ln>
              </p:spPr>
              <p:txBody>
                <a:bodyPr rtlCol="0" anchor="ctr"/>
                <a:lstStyle/>
                <a:p>
                  <a:endParaRPr lang="en-GB" dirty="0"/>
                </a:p>
              </p:txBody>
            </p:sp>
          </p:grpSp>
          <p:sp>
            <p:nvSpPr>
              <p:cNvPr id="380" name="Freihandform: Form 262">
                <a:extLst>
                  <a:ext uri="{FF2B5EF4-FFF2-40B4-BE49-F238E27FC236}">
                    <a16:creationId xmlns:a16="http://schemas.microsoft.com/office/drawing/2014/main" id="{E4272786-AFB2-4344-BA52-2474A20098E7}"/>
                  </a:ext>
                </a:extLst>
              </p:cNvPr>
              <p:cNvSpPr/>
              <p:nvPr/>
            </p:nvSpPr>
            <p:spPr>
              <a:xfrm>
                <a:off x="3709961" y="1936665"/>
                <a:ext cx="167160" cy="109825"/>
              </a:xfrm>
              <a:custGeom>
                <a:avLst/>
                <a:gdLst>
                  <a:gd name="connsiteX0" fmla="*/ 146500 w 167160"/>
                  <a:gd name="connsiteY0" fmla="*/ 36767 h 109825"/>
                  <a:gd name="connsiteX1" fmla="*/ 142648 w 167160"/>
                  <a:gd name="connsiteY1" fmla="*/ 32970 h 109825"/>
                  <a:gd name="connsiteX2" fmla="*/ 141308 w 167160"/>
                  <a:gd name="connsiteY2" fmla="*/ 32579 h 109825"/>
                  <a:gd name="connsiteX3" fmla="*/ 101079 w 167160"/>
                  <a:gd name="connsiteY3" fmla="*/ 21301 h 109825"/>
                  <a:gd name="connsiteX4" fmla="*/ 100493 w 167160"/>
                  <a:gd name="connsiteY4" fmla="*/ 20547 h 109825"/>
                  <a:gd name="connsiteX5" fmla="*/ 100493 w 167160"/>
                  <a:gd name="connsiteY5" fmla="*/ 4941 h 109825"/>
                  <a:gd name="connsiteX6" fmla="*/ 95552 w 167160"/>
                  <a:gd name="connsiteY6" fmla="*/ 0 h 109825"/>
                  <a:gd name="connsiteX7" fmla="*/ 90610 w 167160"/>
                  <a:gd name="connsiteY7" fmla="*/ 4941 h 109825"/>
                  <a:gd name="connsiteX8" fmla="*/ 90610 w 167160"/>
                  <a:gd name="connsiteY8" fmla="*/ 20547 h 109825"/>
                  <a:gd name="connsiteX9" fmla="*/ 98427 w 167160"/>
                  <a:gd name="connsiteY9" fmla="*/ 30820 h 109825"/>
                  <a:gd name="connsiteX10" fmla="*/ 138013 w 167160"/>
                  <a:gd name="connsiteY10" fmla="*/ 41904 h 109825"/>
                  <a:gd name="connsiteX11" fmla="*/ 155769 w 167160"/>
                  <a:gd name="connsiteY11" fmla="*/ 77219 h 109825"/>
                  <a:gd name="connsiteX12" fmla="*/ 73246 w 167160"/>
                  <a:gd name="connsiteY12" fmla="*/ 99971 h 109825"/>
                  <a:gd name="connsiteX13" fmla="*/ 6971 w 167160"/>
                  <a:gd name="connsiteY13" fmla="*/ 85733 h 109825"/>
                  <a:gd name="connsiteX14" fmla="*/ 438 w 167160"/>
                  <a:gd name="connsiteY14" fmla="*/ 88190 h 109825"/>
                  <a:gd name="connsiteX15" fmla="*/ 2895 w 167160"/>
                  <a:gd name="connsiteY15" fmla="*/ 94723 h 109825"/>
                  <a:gd name="connsiteX16" fmla="*/ 73246 w 167160"/>
                  <a:gd name="connsiteY16" fmla="*/ 109826 h 109825"/>
                  <a:gd name="connsiteX17" fmla="*/ 164870 w 167160"/>
                  <a:gd name="connsiteY17" fmla="*/ 83193 h 109825"/>
                  <a:gd name="connsiteX18" fmla="*/ 166628 w 167160"/>
                  <a:gd name="connsiteY18" fmla="*/ 76800 h 109825"/>
                  <a:gd name="connsiteX19" fmla="*/ 146500 w 167160"/>
                  <a:gd name="connsiteY19" fmla="*/ 36767 h 1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7160" h="109825">
                    <a:moveTo>
                      <a:pt x="146500" y="36767"/>
                    </a:moveTo>
                    <a:cubicBezTo>
                      <a:pt x="145216" y="34282"/>
                      <a:pt x="143234" y="33221"/>
                      <a:pt x="142648" y="32970"/>
                    </a:cubicBezTo>
                    <a:cubicBezTo>
                      <a:pt x="142257" y="32803"/>
                      <a:pt x="141754" y="32635"/>
                      <a:pt x="141308" y="32579"/>
                    </a:cubicBezTo>
                    <a:lnTo>
                      <a:pt x="101079" y="21301"/>
                    </a:lnTo>
                    <a:cubicBezTo>
                      <a:pt x="100744" y="21217"/>
                      <a:pt x="100493" y="20882"/>
                      <a:pt x="100493" y="20547"/>
                    </a:cubicBezTo>
                    <a:lnTo>
                      <a:pt x="100493" y="4941"/>
                    </a:lnTo>
                    <a:cubicBezTo>
                      <a:pt x="100493" y="2205"/>
                      <a:pt x="98287" y="0"/>
                      <a:pt x="95552" y="0"/>
                    </a:cubicBezTo>
                    <a:cubicBezTo>
                      <a:pt x="92816" y="0"/>
                      <a:pt x="90610" y="2205"/>
                      <a:pt x="90610" y="4941"/>
                    </a:cubicBezTo>
                    <a:lnTo>
                      <a:pt x="90610" y="20547"/>
                    </a:lnTo>
                    <a:cubicBezTo>
                      <a:pt x="90610" y="25321"/>
                      <a:pt x="93821" y="29564"/>
                      <a:pt x="98427" y="30820"/>
                    </a:cubicBezTo>
                    <a:lnTo>
                      <a:pt x="138013" y="41904"/>
                    </a:lnTo>
                    <a:cubicBezTo>
                      <a:pt x="139577" y="45002"/>
                      <a:pt x="146221" y="58179"/>
                      <a:pt x="155769" y="77219"/>
                    </a:cubicBezTo>
                    <a:cubicBezTo>
                      <a:pt x="130867" y="92098"/>
                      <a:pt x="102447" y="99971"/>
                      <a:pt x="73246" y="99971"/>
                    </a:cubicBezTo>
                    <a:cubicBezTo>
                      <a:pt x="50130" y="99971"/>
                      <a:pt x="27825" y="95169"/>
                      <a:pt x="6971" y="85733"/>
                    </a:cubicBezTo>
                    <a:cubicBezTo>
                      <a:pt x="4486" y="84617"/>
                      <a:pt x="1555" y="85705"/>
                      <a:pt x="438" y="88190"/>
                    </a:cubicBezTo>
                    <a:cubicBezTo>
                      <a:pt x="-679" y="90675"/>
                      <a:pt x="410" y="93606"/>
                      <a:pt x="2895" y="94723"/>
                    </a:cubicBezTo>
                    <a:cubicBezTo>
                      <a:pt x="25061" y="104745"/>
                      <a:pt x="48735" y="109826"/>
                      <a:pt x="73246" y="109826"/>
                    </a:cubicBezTo>
                    <a:cubicBezTo>
                      <a:pt x="105825" y="109826"/>
                      <a:pt x="137511" y="100613"/>
                      <a:pt x="164870" y="83193"/>
                    </a:cubicBezTo>
                    <a:cubicBezTo>
                      <a:pt x="167019" y="81825"/>
                      <a:pt x="167773" y="79061"/>
                      <a:pt x="166628" y="76800"/>
                    </a:cubicBezTo>
                    <a:cubicBezTo>
                      <a:pt x="155099" y="53824"/>
                      <a:pt x="147282" y="38274"/>
                      <a:pt x="146500" y="36767"/>
                    </a:cubicBezTo>
                    <a:close/>
                  </a:path>
                </a:pathLst>
              </a:custGeom>
              <a:grpFill/>
              <a:ln w="2790" cap="flat">
                <a:noFill/>
                <a:prstDash val="solid"/>
                <a:miter/>
              </a:ln>
            </p:spPr>
            <p:txBody>
              <a:bodyPr rtlCol="0" anchor="ctr"/>
              <a:lstStyle/>
              <a:p>
                <a:endParaRPr lang="en-GB" dirty="0"/>
              </a:p>
            </p:txBody>
          </p:sp>
          <p:sp>
            <p:nvSpPr>
              <p:cNvPr id="381" name="Freihandform: Form 263">
                <a:extLst>
                  <a:ext uri="{FF2B5EF4-FFF2-40B4-BE49-F238E27FC236}">
                    <a16:creationId xmlns:a16="http://schemas.microsoft.com/office/drawing/2014/main" id="{5F023876-5388-486E-B6BE-26CE351D110B}"/>
                  </a:ext>
                </a:extLst>
              </p:cNvPr>
              <p:cNvSpPr/>
              <p:nvPr/>
            </p:nvSpPr>
            <p:spPr>
              <a:xfrm>
                <a:off x="3697976" y="1935939"/>
                <a:ext cx="67586" cy="68871"/>
              </a:xfrm>
              <a:custGeom>
                <a:avLst/>
                <a:gdLst>
                  <a:gd name="connsiteX0" fmla="*/ 62618 w 67586"/>
                  <a:gd name="connsiteY0" fmla="*/ 0 h 68871"/>
                  <a:gd name="connsiteX1" fmla="*/ 57676 w 67586"/>
                  <a:gd name="connsiteY1" fmla="*/ 4941 h 68871"/>
                  <a:gd name="connsiteX2" fmla="*/ 57676 w 67586"/>
                  <a:gd name="connsiteY2" fmla="*/ 21217 h 68871"/>
                  <a:gd name="connsiteX3" fmla="*/ 57062 w 67586"/>
                  <a:gd name="connsiteY3" fmla="*/ 21999 h 68871"/>
                  <a:gd name="connsiteX4" fmla="*/ 17029 w 67586"/>
                  <a:gd name="connsiteY4" fmla="*/ 33277 h 68871"/>
                  <a:gd name="connsiteX5" fmla="*/ 15270 w 67586"/>
                  <a:gd name="connsiteY5" fmla="*/ 33919 h 68871"/>
                  <a:gd name="connsiteX6" fmla="*/ 11948 w 67586"/>
                  <a:gd name="connsiteY6" fmla="*/ 37437 h 68871"/>
                  <a:gd name="connsiteX7" fmla="*/ 10636 w 67586"/>
                  <a:gd name="connsiteY7" fmla="*/ 40312 h 68871"/>
                  <a:gd name="connsiteX8" fmla="*/ 530 w 67586"/>
                  <a:gd name="connsiteY8" fmla="*/ 61697 h 68871"/>
                  <a:gd name="connsiteX9" fmla="*/ 2735 w 67586"/>
                  <a:gd name="connsiteY9" fmla="*/ 68341 h 68871"/>
                  <a:gd name="connsiteX10" fmla="*/ 4941 w 67586"/>
                  <a:gd name="connsiteY10" fmla="*/ 68871 h 68871"/>
                  <a:gd name="connsiteX11" fmla="*/ 9352 w 67586"/>
                  <a:gd name="connsiteY11" fmla="*/ 66136 h 68871"/>
                  <a:gd name="connsiteX12" fmla="*/ 19653 w 67586"/>
                  <a:gd name="connsiteY12" fmla="*/ 44360 h 68871"/>
                  <a:gd name="connsiteX13" fmla="*/ 20463 w 67586"/>
                  <a:gd name="connsiteY13" fmla="*/ 42574 h 68871"/>
                  <a:gd name="connsiteX14" fmla="*/ 59742 w 67586"/>
                  <a:gd name="connsiteY14" fmla="*/ 31490 h 68871"/>
                  <a:gd name="connsiteX15" fmla="*/ 67587 w 67586"/>
                  <a:gd name="connsiteY15" fmla="*/ 21189 h 68871"/>
                  <a:gd name="connsiteX16" fmla="*/ 67587 w 67586"/>
                  <a:gd name="connsiteY16" fmla="*/ 4913 h 68871"/>
                  <a:gd name="connsiteX17" fmla="*/ 62618 w 67586"/>
                  <a:gd name="connsiteY17" fmla="*/ 0 h 6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586" h="68871">
                    <a:moveTo>
                      <a:pt x="62618" y="0"/>
                    </a:moveTo>
                    <a:cubicBezTo>
                      <a:pt x="59882" y="0"/>
                      <a:pt x="57676" y="2205"/>
                      <a:pt x="57676" y="4941"/>
                    </a:cubicBezTo>
                    <a:lnTo>
                      <a:pt x="57676" y="21217"/>
                    </a:lnTo>
                    <a:cubicBezTo>
                      <a:pt x="57676" y="21580"/>
                      <a:pt x="57453" y="21915"/>
                      <a:pt x="57062" y="21999"/>
                    </a:cubicBezTo>
                    <a:lnTo>
                      <a:pt x="17029" y="33277"/>
                    </a:lnTo>
                    <a:cubicBezTo>
                      <a:pt x="16387" y="33389"/>
                      <a:pt x="15801" y="33612"/>
                      <a:pt x="15270" y="33919"/>
                    </a:cubicBezTo>
                    <a:cubicBezTo>
                      <a:pt x="13484" y="34924"/>
                      <a:pt x="12478" y="36404"/>
                      <a:pt x="11948" y="37437"/>
                    </a:cubicBezTo>
                    <a:cubicBezTo>
                      <a:pt x="11752" y="37828"/>
                      <a:pt x="11306" y="38805"/>
                      <a:pt x="10636" y="40312"/>
                    </a:cubicBezTo>
                    <a:cubicBezTo>
                      <a:pt x="8989" y="43997"/>
                      <a:pt x="5583" y="51619"/>
                      <a:pt x="530" y="61697"/>
                    </a:cubicBezTo>
                    <a:cubicBezTo>
                      <a:pt x="-698" y="64126"/>
                      <a:pt x="279" y="67113"/>
                      <a:pt x="2735" y="68341"/>
                    </a:cubicBezTo>
                    <a:cubicBezTo>
                      <a:pt x="3461" y="68704"/>
                      <a:pt x="4215" y="68871"/>
                      <a:pt x="4941" y="68871"/>
                    </a:cubicBezTo>
                    <a:cubicBezTo>
                      <a:pt x="6756" y="68871"/>
                      <a:pt x="8486" y="67866"/>
                      <a:pt x="9352" y="66136"/>
                    </a:cubicBezTo>
                    <a:cubicBezTo>
                      <a:pt x="14517" y="55890"/>
                      <a:pt x="17978" y="48101"/>
                      <a:pt x="19653" y="44360"/>
                    </a:cubicBezTo>
                    <a:cubicBezTo>
                      <a:pt x="19988" y="43606"/>
                      <a:pt x="20267" y="42992"/>
                      <a:pt x="20463" y="42574"/>
                    </a:cubicBezTo>
                    <a:lnTo>
                      <a:pt x="59742" y="31490"/>
                    </a:lnTo>
                    <a:cubicBezTo>
                      <a:pt x="64348" y="30206"/>
                      <a:pt x="67587" y="25963"/>
                      <a:pt x="67587" y="21189"/>
                    </a:cubicBezTo>
                    <a:lnTo>
                      <a:pt x="67587" y="4913"/>
                    </a:lnTo>
                    <a:cubicBezTo>
                      <a:pt x="67559" y="2205"/>
                      <a:pt x="65353" y="0"/>
                      <a:pt x="62618" y="0"/>
                    </a:cubicBezTo>
                    <a:close/>
                  </a:path>
                </a:pathLst>
              </a:custGeom>
              <a:grpFill/>
              <a:ln w="2790" cap="flat">
                <a:noFill/>
                <a:prstDash val="solid"/>
                <a:miter/>
              </a:ln>
            </p:spPr>
            <p:txBody>
              <a:bodyPr rtlCol="0" anchor="ctr"/>
              <a:lstStyle/>
              <a:p>
                <a:endParaRPr lang="en-GB" dirty="0"/>
              </a:p>
            </p:txBody>
          </p:sp>
          <p:sp>
            <p:nvSpPr>
              <p:cNvPr id="382" name="Freihandform: Form 264">
                <a:extLst>
                  <a:ext uri="{FF2B5EF4-FFF2-40B4-BE49-F238E27FC236}">
                    <a16:creationId xmlns:a16="http://schemas.microsoft.com/office/drawing/2014/main" id="{19894F01-7B23-42F3-8BED-A1918E3A263B}"/>
                  </a:ext>
                </a:extLst>
              </p:cNvPr>
              <p:cNvSpPr/>
              <p:nvPr/>
            </p:nvSpPr>
            <p:spPr>
              <a:xfrm>
                <a:off x="3720840" y="1799452"/>
                <a:ext cx="126045" cy="149775"/>
              </a:xfrm>
              <a:custGeom>
                <a:avLst/>
                <a:gdLst>
                  <a:gd name="connsiteX0" fmla="*/ 63009 w 126045"/>
                  <a:gd name="connsiteY0" fmla="*/ 0 h 149775"/>
                  <a:gd name="connsiteX1" fmla="*/ 0 w 126045"/>
                  <a:gd name="connsiteY1" fmla="*/ 74902 h 149775"/>
                  <a:gd name="connsiteX2" fmla="*/ 63009 w 126045"/>
                  <a:gd name="connsiteY2" fmla="*/ 149775 h 149775"/>
                  <a:gd name="connsiteX3" fmla="*/ 126045 w 126045"/>
                  <a:gd name="connsiteY3" fmla="*/ 74902 h 149775"/>
                  <a:gd name="connsiteX4" fmla="*/ 63009 w 126045"/>
                  <a:gd name="connsiteY4" fmla="*/ 0 h 149775"/>
                  <a:gd name="connsiteX5" fmla="*/ 63009 w 126045"/>
                  <a:gd name="connsiteY5" fmla="*/ 139892 h 149775"/>
                  <a:gd name="connsiteX6" fmla="*/ 9882 w 126045"/>
                  <a:gd name="connsiteY6" fmla="*/ 74902 h 149775"/>
                  <a:gd name="connsiteX7" fmla="*/ 63009 w 126045"/>
                  <a:gd name="connsiteY7" fmla="*/ 9883 h 149775"/>
                  <a:gd name="connsiteX8" fmla="*/ 116163 w 126045"/>
                  <a:gd name="connsiteY8" fmla="*/ 74902 h 149775"/>
                  <a:gd name="connsiteX9" fmla="*/ 63009 w 126045"/>
                  <a:gd name="connsiteY9" fmla="*/ 139892 h 14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045" h="149775">
                    <a:moveTo>
                      <a:pt x="63009" y="0"/>
                    </a:moveTo>
                    <a:cubicBezTo>
                      <a:pt x="28252" y="0"/>
                      <a:pt x="0" y="33612"/>
                      <a:pt x="0" y="74902"/>
                    </a:cubicBezTo>
                    <a:cubicBezTo>
                      <a:pt x="0" y="116191"/>
                      <a:pt x="28252" y="149775"/>
                      <a:pt x="63009" y="149775"/>
                    </a:cubicBezTo>
                    <a:cubicBezTo>
                      <a:pt x="97765" y="149775"/>
                      <a:pt x="126045" y="116191"/>
                      <a:pt x="126045" y="74902"/>
                    </a:cubicBezTo>
                    <a:cubicBezTo>
                      <a:pt x="126018" y="33584"/>
                      <a:pt x="97765" y="0"/>
                      <a:pt x="63009" y="0"/>
                    </a:cubicBezTo>
                    <a:close/>
                    <a:moveTo>
                      <a:pt x="63009" y="139892"/>
                    </a:moveTo>
                    <a:cubicBezTo>
                      <a:pt x="33724" y="139892"/>
                      <a:pt x="9882" y="110747"/>
                      <a:pt x="9882" y="74902"/>
                    </a:cubicBezTo>
                    <a:cubicBezTo>
                      <a:pt x="9882" y="39056"/>
                      <a:pt x="33724" y="9883"/>
                      <a:pt x="63009" y="9883"/>
                    </a:cubicBezTo>
                    <a:cubicBezTo>
                      <a:pt x="92322" y="9883"/>
                      <a:pt x="116163" y="39056"/>
                      <a:pt x="116163" y="74902"/>
                    </a:cubicBezTo>
                    <a:cubicBezTo>
                      <a:pt x="116135" y="110719"/>
                      <a:pt x="92294" y="139892"/>
                      <a:pt x="63009" y="139892"/>
                    </a:cubicBezTo>
                    <a:close/>
                  </a:path>
                </a:pathLst>
              </a:custGeom>
              <a:grpFill/>
              <a:ln w="2790" cap="flat">
                <a:noFill/>
                <a:prstDash val="solid"/>
                <a:miter/>
              </a:ln>
            </p:spPr>
            <p:txBody>
              <a:bodyPr rtlCol="0" anchor="ctr"/>
              <a:lstStyle/>
              <a:p>
                <a:endParaRPr lang="en-GB" dirty="0"/>
              </a:p>
            </p:txBody>
          </p:sp>
          <p:sp>
            <p:nvSpPr>
              <p:cNvPr id="383" name="Freihandform: Form 266">
                <a:extLst>
                  <a:ext uri="{FF2B5EF4-FFF2-40B4-BE49-F238E27FC236}">
                    <a16:creationId xmlns:a16="http://schemas.microsoft.com/office/drawing/2014/main" id="{07AADEB5-30F0-41D7-94ED-94E1EACEC6F6}"/>
                  </a:ext>
                </a:extLst>
              </p:cNvPr>
              <p:cNvSpPr/>
              <p:nvPr/>
            </p:nvSpPr>
            <p:spPr>
              <a:xfrm>
                <a:off x="3273640" y="1936609"/>
                <a:ext cx="167167" cy="109853"/>
              </a:xfrm>
              <a:custGeom>
                <a:avLst/>
                <a:gdLst>
                  <a:gd name="connsiteX0" fmla="*/ 160184 w 167167"/>
                  <a:gd name="connsiteY0" fmla="*/ 85761 h 109853"/>
                  <a:gd name="connsiteX1" fmla="*/ 93909 w 167167"/>
                  <a:gd name="connsiteY1" fmla="*/ 99999 h 109853"/>
                  <a:gd name="connsiteX2" fmla="*/ 11386 w 167167"/>
                  <a:gd name="connsiteY2" fmla="*/ 77247 h 109853"/>
                  <a:gd name="connsiteX3" fmla="*/ 29142 w 167167"/>
                  <a:gd name="connsiteY3" fmla="*/ 41931 h 109853"/>
                  <a:gd name="connsiteX4" fmla="*/ 68700 w 167167"/>
                  <a:gd name="connsiteY4" fmla="*/ 30848 h 109853"/>
                  <a:gd name="connsiteX5" fmla="*/ 76545 w 167167"/>
                  <a:gd name="connsiteY5" fmla="*/ 20547 h 109853"/>
                  <a:gd name="connsiteX6" fmla="*/ 76545 w 167167"/>
                  <a:gd name="connsiteY6" fmla="*/ 4941 h 109853"/>
                  <a:gd name="connsiteX7" fmla="*/ 71604 w 167167"/>
                  <a:gd name="connsiteY7" fmla="*/ 0 h 109853"/>
                  <a:gd name="connsiteX8" fmla="*/ 66662 w 167167"/>
                  <a:gd name="connsiteY8" fmla="*/ 4941 h 109853"/>
                  <a:gd name="connsiteX9" fmla="*/ 66662 w 167167"/>
                  <a:gd name="connsiteY9" fmla="*/ 20547 h 109853"/>
                  <a:gd name="connsiteX10" fmla="*/ 66076 w 167167"/>
                  <a:gd name="connsiteY10" fmla="*/ 21301 h 109853"/>
                  <a:gd name="connsiteX11" fmla="*/ 25764 w 167167"/>
                  <a:gd name="connsiteY11" fmla="*/ 32579 h 109853"/>
                  <a:gd name="connsiteX12" fmla="*/ 24507 w 167167"/>
                  <a:gd name="connsiteY12" fmla="*/ 32970 h 109853"/>
                  <a:gd name="connsiteX13" fmla="*/ 20683 w 167167"/>
                  <a:gd name="connsiteY13" fmla="*/ 36739 h 109853"/>
                  <a:gd name="connsiteX14" fmla="*/ 527 w 167167"/>
                  <a:gd name="connsiteY14" fmla="*/ 76828 h 109853"/>
                  <a:gd name="connsiteX15" fmla="*/ 2285 w 167167"/>
                  <a:gd name="connsiteY15" fmla="*/ 83221 h 109853"/>
                  <a:gd name="connsiteX16" fmla="*/ 93909 w 167167"/>
                  <a:gd name="connsiteY16" fmla="*/ 109854 h 109853"/>
                  <a:gd name="connsiteX17" fmla="*/ 164260 w 167167"/>
                  <a:gd name="connsiteY17" fmla="*/ 94751 h 109853"/>
                  <a:gd name="connsiteX18" fmla="*/ 166717 w 167167"/>
                  <a:gd name="connsiteY18" fmla="*/ 88218 h 109853"/>
                  <a:gd name="connsiteX19" fmla="*/ 160184 w 167167"/>
                  <a:gd name="connsiteY19" fmla="*/ 85761 h 10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7167" h="109853">
                    <a:moveTo>
                      <a:pt x="160184" y="85761"/>
                    </a:moveTo>
                    <a:cubicBezTo>
                      <a:pt x="139330" y="95197"/>
                      <a:pt x="117025" y="99999"/>
                      <a:pt x="93909" y="99999"/>
                    </a:cubicBezTo>
                    <a:cubicBezTo>
                      <a:pt x="64708" y="99999"/>
                      <a:pt x="36260" y="92154"/>
                      <a:pt x="11386" y="77247"/>
                    </a:cubicBezTo>
                    <a:cubicBezTo>
                      <a:pt x="20906" y="58263"/>
                      <a:pt x="27523" y="45086"/>
                      <a:pt x="29142" y="41931"/>
                    </a:cubicBezTo>
                    <a:lnTo>
                      <a:pt x="68700" y="30848"/>
                    </a:lnTo>
                    <a:cubicBezTo>
                      <a:pt x="73306" y="29564"/>
                      <a:pt x="76545" y="25349"/>
                      <a:pt x="76545" y="20547"/>
                    </a:cubicBezTo>
                    <a:lnTo>
                      <a:pt x="76545" y="4941"/>
                    </a:lnTo>
                    <a:cubicBezTo>
                      <a:pt x="76545" y="2205"/>
                      <a:pt x="74339" y="0"/>
                      <a:pt x="71604" y="0"/>
                    </a:cubicBezTo>
                    <a:cubicBezTo>
                      <a:pt x="68868" y="0"/>
                      <a:pt x="66662" y="2205"/>
                      <a:pt x="66662" y="4941"/>
                    </a:cubicBezTo>
                    <a:lnTo>
                      <a:pt x="66662" y="20547"/>
                    </a:lnTo>
                    <a:cubicBezTo>
                      <a:pt x="66662" y="20910"/>
                      <a:pt x="66411" y="21217"/>
                      <a:pt x="66076" y="21301"/>
                    </a:cubicBezTo>
                    <a:lnTo>
                      <a:pt x="25764" y="32579"/>
                    </a:lnTo>
                    <a:cubicBezTo>
                      <a:pt x="25345" y="32663"/>
                      <a:pt x="24926" y="32775"/>
                      <a:pt x="24507" y="32970"/>
                    </a:cubicBezTo>
                    <a:cubicBezTo>
                      <a:pt x="23921" y="33249"/>
                      <a:pt x="21939" y="34282"/>
                      <a:pt x="20683" y="36739"/>
                    </a:cubicBezTo>
                    <a:cubicBezTo>
                      <a:pt x="19873" y="38302"/>
                      <a:pt x="12056" y="53824"/>
                      <a:pt x="527" y="76828"/>
                    </a:cubicBezTo>
                    <a:cubicBezTo>
                      <a:pt x="-618" y="79089"/>
                      <a:pt x="164" y="81853"/>
                      <a:pt x="2285" y="83221"/>
                    </a:cubicBezTo>
                    <a:cubicBezTo>
                      <a:pt x="29644" y="100641"/>
                      <a:pt x="61330" y="109854"/>
                      <a:pt x="93909" y="109854"/>
                    </a:cubicBezTo>
                    <a:cubicBezTo>
                      <a:pt x="118448" y="109854"/>
                      <a:pt x="142122" y="104773"/>
                      <a:pt x="164260" y="94751"/>
                    </a:cubicBezTo>
                    <a:cubicBezTo>
                      <a:pt x="166745" y="93634"/>
                      <a:pt x="167862" y="90703"/>
                      <a:pt x="166717" y="88218"/>
                    </a:cubicBezTo>
                    <a:cubicBezTo>
                      <a:pt x="165600" y="85761"/>
                      <a:pt x="162697" y="84645"/>
                      <a:pt x="160184" y="85761"/>
                    </a:cubicBezTo>
                    <a:close/>
                  </a:path>
                </a:pathLst>
              </a:custGeom>
              <a:grpFill/>
              <a:ln w="2790" cap="flat">
                <a:noFill/>
                <a:prstDash val="solid"/>
                <a:miter/>
              </a:ln>
            </p:spPr>
            <p:txBody>
              <a:bodyPr rtlCol="0" anchor="ctr"/>
              <a:lstStyle/>
              <a:p>
                <a:endParaRPr lang="en-GB" dirty="0"/>
              </a:p>
            </p:txBody>
          </p:sp>
          <p:sp>
            <p:nvSpPr>
              <p:cNvPr id="384" name="Freihandform: Form 270">
                <a:extLst>
                  <a:ext uri="{FF2B5EF4-FFF2-40B4-BE49-F238E27FC236}">
                    <a16:creationId xmlns:a16="http://schemas.microsoft.com/office/drawing/2014/main" id="{17192DF3-AE6D-4919-8149-ACF7EF766BAB}"/>
                  </a:ext>
                </a:extLst>
              </p:cNvPr>
              <p:cNvSpPr/>
              <p:nvPr/>
            </p:nvSpPr>
            <p:spPr>
              <a:xfrm>
                <a:off x="3385193" y="1935939"/>
                <a:ext cx="67581" cy="68899"/>
              </a:xfrm>
              <a:custGeom>
                <a:avLst/>
                <a:gdLst>
                  <a:gd name="connsiteX0" fmla="*/ 56923 w 67581"/>
                  <a:gd name="connsiteY0" fmla="*/ 40340 h 68899"/>
                  <a:gd name="connsiteX1" fmla="*/ 55611 w 67581"/>
                  <a:gd name="connsiteY1" fmla="*/ 37493 h 68899"/>
                  <a:gd name="connsiteX2" fmla="*/ 53349 w 67581"/>
                  <a:gd name="connsiteY2" fmla="*/ 34841 h 68899"/>
                  <a:gd name="connsiteX3" fmla="*/ 53657 w 67581"/>
                  <a:gd name="connsiteY3" fmla="*/ 35315 h 68899"/>
                  <a:gd name="connsiteX4" fmla="*/ 53796 w 67581"/>
                  <a:gd name="connsiteY4" fmla="*/ 35455 h 68899"/>
                  <a:gd name="connsiteX5" fmla="*/ 53880 w 67581"/>
                  <a:gd name="connsiteY5" fmla="*/ 35650 h 68899"/>
                  <a:gd name="connsiteX6" fmla="*/ 54466 w 67581"/>
                  <a:gd name="connsiteY6" fmla="*/ 37074 h 68899"/>
                  <a:gd name="connsiteX7" fmla="*/ 54578 w 67581"/>
                  <a:gd name="connsiteY7" fmla="*/ 37465 h 68899"/>
                  <a:gd name="connsiteX8" fmla="*/ 54522 w 67581"/>
                  <a:gd name="connsiteY8" fmla="*/ 39335 h 68899"/>
                  <a:gd name="connsiteX9" fmla="*/ 54578 w 67581"/>
                  <a:gd name="connsiteY9" fmla="*/ 37465 h 68899"/>
                  <a:gd name="connsiteX10" fmla="*/ 54466 w 67581"/>
                  <a:gd name="connsiteY10" fmla="*/ 37074 h 68899"/>
                  <a:gd name="connsiteX11" fmla="*/ 53880 w 67581"/>
                  <a:gd name="connsiteY11" fmla="*/ 35650 h 68899"/>
                  <a:gd name="connsiteX12" fmla="*/ 53657 w 67581"/>
                  <a:gd name="connsiteY12" fmla="*/ 35315 h 68899"/>
                  <a:gd name="connsiteX13" fmla="*/ 52540 w 67581"/>
                  <a:gd name="connsiteY13" fmla="*/ 34198 h 68899"/>
                  <a:gd name="connsiteX14" fmla="*/ 52261 w 67581"/>
                  <a:gd name="connsiteY14" fmla="*/ 33975 h 68899"/>
                  <a:gd name="connsiteX15" fmla="*/ 50446 w 67581"/>
                  <a:gd name="connsiteY15" fmla="*/ 33277 h 68899"/>
                  <a:gd name="connsiteX16" fmla="*/ 10469 w 67581"/>
                  <a:gd name="connsiteY16" fmla="*/ 21999 h 68899"/>
                  <a:gd name="connsiteX17" fmla="*/ 9883 w 67581"/>
                  <a:gd name="connsiteY17" fmla="*/ 21217 h 68899"/>
                  <a:gd name="connsiteX18" fmla="*/ 9883 w 67581"/>
                  <a:gd name="connsiteY18" fmla="*/ 4941 h 68899"/>
                  <a:gd name="connsiteX19" fmla="*/ 4941 w 67581"/>
                  <a:gd name="connsiteY19" fmla="*/ 0 h 68899"/>
                  <a:gd name="connsiteX20" fmla="*/ 0 w 67581"/>
                  <a:gd name="connsiteY20" fmla="*/ 4941 h 68899"/>
                  <a:gd name="connsiteX21" fmla="*/ 0 w 67581"/>
                  <a:gd name="connsiteY21" fmla="*/ 21217 h 68899"/>
                  <a:gd name="connsiteX22" fmla="*/ 7817 w 67581"/>
                  <a:gd name="connsiteY22" fmla="*/ 31518 h 68899"/>
                  <a:gd name="connsiteX23" fmla="*/ 47124 w 67581"/>
                  <a:gd name="connsiteY23" fmla="*/ 42601 h 68899"/>
                  <a:gd name="connsiteX24" fmla="*/ 47934 w 67581"/>
                  <a:gd name="connsiteY24" fmla="*/ 44388 h 68899"/>
                  <a:gd name="connsiteX25" fmla="*/ 58235 w 67581"/>
                  <a:gd name="connsiteY25" fmla="*/ 66163 h 68899"/>
                  <a:gd name="connsiteX26" fmla="*/ 62646 w 67581"/>
                  <a:gd name="connsiteY26" fmla="*/ 68899 h 68899"/>
                  <a:gd name="connsiteX27" fmla="*/ 64851 w 67581"/>
                  <a:gd name="connsiteY27" fmla="*/ 68369 h 68899"/>
                  <a:gd name="connsiteX28" fmla="*/ 67057 w 67581"/>
                  <a:gd name="connsiteY28" fmla="*/ 61725 h 68899"/>
                  <a:gd name="connsiteX29" fmla="*/ 56923 w 67581"/>
                  <a:gd name="connsiteY29" fmla="*/ 40340 h 6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7581" h="68899">
                    <a:moveTo>
                      <a:pt x="56923" y="40340"/>
                    </a:moveTo>
                    <a:cubicBezTo>
                      <a:pt x="56253" y="38833"/>
                      <a:pt x="55806" y="37856"/>
                      <a:pt x="55611" y="37493"/>
                    </a:cubicBezTo>
                    <a:cubicBezTo>
                      <a:pt x="55192" y="36683"/>
                      <a:pt x="54382" y="35734"/>
                      <a:pt x="53349" y="34841"/>
                    </a:cubicBezTo>
                    <a:cubicBezTo>
                      <a:pt x="53461" y="34980"/>
                      <a:pt x="53545" y="35148"/>
                      <a:pt x="53657" y="35315"/>
                    </a:cubicBezTo>
                    <a:cubicBezTo>
                      <a:pt x="53684" y="35371"/>
                      <a:pt x="53768" y="35399"/>
                      <a:pt x="53796" y="35455"/>
                    </a:cubicBezTo>
                    <a:cubicBezTo>
                      <a:pt x="53824" y="35511"/>
                      <a:pt x="53824" y="35594"/>
                      <a:pt x="53880" y="35650"/>
                    </a:cubicBezTo>
                    <a:cubicBezTo>
                      <a:pt x="54159" y="36097"/>
                      <a:pt x="54327" y="36571"/>
                      <a:pt x="54466" y="37074"/>
                    </a:cubicBezTo>
                    <a:cubicBezTo>
                      <a:pt x="54494" y="37213"/>
                      <a:pt x="54550" y="37325"/>
                      <a:pt x="54578" y="37465"/>
                    </a:cubicBezTo>
                    <a:cubicBezTo>
                      <a:pt x="54662" y="38079"/>
                      <a:pt x="54690" y="38721"/>
                      <a:pt x="54522" y="39335"/>
                    </a:cubicBezTo>
                    <a:cubicBezTo>
                      <a:pt x="54662" y="38721"/>
                      <a:pt x="54662" y="38079"/>
                      <a:pt x="54578" y="37465"/>
                    </a:cubicBezTo>
                    <a:cubicBezTo>
                      <a:pt x="54550" y="37325"/>
                      <a:pt x="54494" y="37213"/>
                      <a:pt x="54466" y="37074"/>
                    </a:cubicBezTo>
                    <a:cubicBezTo>
                      <a:pt x="54327" y="36571"/>
                      <a:pt x="54159" y="36097"/>
                      <a:pt x="53880" y="35650"/>
                    </a:cubicBezTo>
                    <a:cubicBezTo>
                      <a:pt x="53824" y="35538"/>
                      <a:pt x="53740" y="35427"/>
                      <a:pt x="53657" y="35315"/>
                    </a:cubicBezTo>
                    <a:cubicBezTo>
                      <a:pt x="53349" y="34868"/>
                      <a:pt x="52959" y="34506"/>
                      <a:pt x="52540" y="34198"/>
                    </a:cubicBezTo>
                    <a:cubicBezTo>
                      <a:pt x="52428" y="34115"/>
                      <a:pt x="52372" y="34031"/>
                      <a:pt x="52261" y="33975"/>
                    </a:cubicBezTo>
                    <a:cubicBezTo>
                      <a:pt x="51702" y="33640"/>
                      <a:pt x="51088" y="33389"/>
                      <a:pt x="50446" y="33277"/>
                    </a:cubicBezTo>
                    <a:lnTo>
                      <a:pt x="10469" y="21999"/>
                    </a:lnTo>
                    <a:cubicBezTo>
                      <a:pt x="10106" y="21887"/>
                      <a:pt x="9883" y="21580"/>
                      <a:pt x="9883" y="21217"/>
                    </a:cubicBezTo>
                    <a:lnTo>
                      <a:pt x="9883" y="4941"/>
                    </a:lnTo>
                    <a:cubicBezTo>
                      <a:pt x="9883" y="2205"/>
                      <a:pt x="7677" y="0"/>
                      <a:pt x="4941" y="0"/>
                    </a:cubicBezTo>
                    <a:cubicBezTo>
                      <a:pt x="2205" y="0"/>
                      <a:pt x="0" y="2205"/>
                      <a:pt x="0" y="4941"/>
                    </a:cubicBezTo>
                    <a:lnTo>
                      <a:pt x="0" y="21217"/>
                    </a:lnTo>
                    <a:cubicBezTo>
                      <a:pt x="0" y="26019"/>
                      <a:pt x="3211" y="30262"/>
                      <a:pt x="7817" y="31518"/>
                    </a:cubicBezTo>
                    <a:lnTo>
                      <a:pt x="47124" y="42601"/>
                    </a:lnTo>
                    <a:cubicBezTo>
                      <a:pt x="47319" y="43020"/>
                      <a:pt x="47599" y="43634"/>
                      <a:pt x="47934" y="44388"/>
                    </a:cubicBezTo>
                    <a:cubicBezTo>
                      <a:pt x="49609" y="48129"/>
                      <a:pt x="53070" y="55890"/>
                      <a:pt x="58235" y="66163"/>
                    </a:cubicBezTo>
                    <a:cubicBezTo>
                      <a:pt x="59100" y="67894"/>
                      <a:pt x="60831" y="68899"/>
                      <a:pt x="62646" y="68899"/>
                    </a:cubicBezTo>
                    <a:cubicBezTo>
                      <a:pt x="63400" y="68899"/>
                      <a:pt x="64153" y="68732"/>
                      <a:pt x="64851" y="68369"/>
                    </a:cubicBezTo>
                    <a:cubicBezTo>
                      <a:pt x="67280" y="67141"/>
                      <a:pt x="68285" y="64181"/>
                      <a:pt x="67057" y="61725"/>
                    </a:cubicBezTo>
                    <a:cubicBezTo>
                      <a:pt x="62004" y="51647"/>
                      <a:pt x="58570" y="44025"/>
                      <a:pt x="56923" y="40340"/>
                    </a:cubicBezTo>
                    <a:close/>
                  </a:path>
                </a:pathLst>
              </a:custGeom>
              <a:grpFill/>
              <a:ln w="2790" cap="flat">
                <a:noFill/>
                <a:prstDash val="solid"/>
                <a:miter/>
              </a:ln>
            </p:spPr>
            <p:txBody>
              <a:bodyPr rtlCol="0" anchor="ctr"/>
              <a:lstStyle/>
              <a:p>
                <a:endParaRPr lang="en-GB" dirty="0"/>
              </a:p>
            </p:txBody>
          </p:sp>
          <p:sp>
            <p:nvSpPr>
              <p:cNvPr id="385" name="Freihandform: Form 273">
                <a:extLst>
                  <a:ext uri="{FF2B5EF4-FFF2-40B4-BE49-F238E27FC236}">
                    <a16:creationId xmlns:a16="http://schemas.microsoft.com/office/drawing/2014/main" id="{43C2229C-F491-48FF-A9A3-0AFDDCF517A7}"/>
                  </a:ext>
                </a:extLst>
              </p:cNvPr>
              <p:cNvSpPr/>
              <p:nvPr/>
            </p:nvSpPr>
            <p:spPr>
              <a:xfrm>
                <a:off x="3303871" y="1799452"/>
                <a:ext cx="126045" cy="149775"/>
              </a:xfrm>
              <a:custGeom>
                <a:avLst/>
                <a:gdLst>
                  <a:gd name="connsiteX0" fmla="*/ 63037 w 126045"/>
                  <a:gd name="connsiteY0" fmla="*/ 0 h 149775"/>
                  <a:gd name="connsiteX1" fmla="*/ 0 w 126045"/>
                  <a:gd name="connsiteY1" fmla="*/ 74902 h 149775"/>
                  <a:gd name="connsiteX2" fmla="*/ 63037 w 126045"/>
                  <a:gd name="connsiteY2" fmla="*/ 149775 h 149775"/>
                  <a:gd name="connsiteX3" fmla="*/ 126046 w 126045"/>
                  <a:gd name="connsiteY3" fmla="*/ 74902 h 149775"/>
                  <a:gd name="connsiteX4" fmla="*/ 63037 w 126045"/>
                  <a:gd name="connsiteY4" fmla="*/ 0 h 149775"/>
                  <a:gd name="connsiteX5" fmla="*/ 63037 w 126045"/>
                  <a:gd name="connsiteY5" fmla="*/ 139892 h 149775"/>
                  <a:gd name="connsiteX6" fmla="*/ 9883 w 126045"/>
                  <a:gd name="connsiteY6" fmla="*/ 74902 h 149775"/>
                  <a:gd name="connsiteX7" fmla="*/ 63037 w 126045"/>
                  <a:gd name="connsiteY7" fmla="*/ 9883 h 149775"/>
                  <a:gd name="connsiteX8" fmla="*/ 116163 w 126045"/>
                  <a:gd name="connsiteY8" fmla="*/ 74902 h 149775"/>
                  <a:gd name="connsiteX9" fmla="*/ 63037 w 126045"/>
                  <a:gd name="connsiteY9" fmla="*/ 139892 h 149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045" h="149775">
                    <a:moveTo>
                      <a:pt x="63037" y="0"/>
                    </a:moveTo>
                    <a:cubicBezTo>
                      <a:pt x="28280" y="0"/>
                      <a:pt x="0" y="33612"/>
                      <a:pt x="0" y="74902"/>
                    </a:cubicBezTo>
                    <a:cubicBezTo>
                      <a:pt x="0" y="116191"/>
                      <a:pt x="28280" y="149775"/>
                      <a:pt x="63037" y="149775"/>
                    </a:cubicBezTo>
                    <a:cubicBezTo>
                      <a:pt x="97794" y="149775"/>
                      <a:pt x="126046" y="116191"/>
                      <a:pt x="126046" y="74902"/>
                    </a:cubicBezTo>
                    <a:cubicBezTo>
                      <a:pt x="126046" y="33584"/>
                      <a:pt x="97766" y="0"/>
                      <a:pt x="63037" y="0"/>
                    </a:cubicBezTo>
                    <a:close/>
                    <a:moveTo>
                      <a:pt x="63037" y="139892"/>
                    </a:moveTo>
                    <a:cubicBezTo>
                      <a:pt x="33724" y="139892"/>
                      <a:pt x="9883" y="110747"/>
                      <a:pt x="9883" y="74902"/>
                    </a:cubicBezTo>
                    <a:cubicBezTo>
                      <a:pt x="9883" y="39056"/>
                      <a:pt x="33724" y="9883"/>
                      <a:pt x="63037" y="9883"/>
                    </a:cubicBezTo>
                    <a:cubicBezTo>
                      <a:pt x="92322" y="9883"/>
                      <a:pt x="116163" y="39056"/>
                      <a:pt x="116163" y="74902"/>
                    </a:cubicBezTo>
                    <a:cubicBezTo>
                      <a:pt x="116163" y="110719"/>
                      <a:pt x="92322" y="139892"/>
                      <a:pt x="63037" y="139892"/>
                    </a:cubicBezTo>
                    <a:close/>
                  </a:path>
                </a:pathLst>
              </a:custGeom>
              <a:grpFill/>
              <a:ln w="2790" cap="flat">
                <a:noFill/>
                <a:prstDash val="solid"/>
                <a:miter/>
              </a:ln>
            </p:spPr>
            <p:txBody>
              <a:bodyPr rtlCol="0" anchor="ctr"/>
              <a:lstStyle/>
              <a:p>
                <a:endParaRPr lang="en-GB" dirty="0"/>
              </a:p>
            </p:txBody>
          </p:sp>
        </p:grpSp>
        <p:grpSp>
          <p:nvGrpSpPr>
            <p:cNvPr id="373" name="Grafik 7">
              <a:extLst>
                <a:ext uri="{FF2B5EF4-FFF2-40B4-BE49-F238E27FC236}">
                  <a16:creationId xmlns:a16="http://schemas.microsoft.com/office/drawing/2014/main" id="{46019EB1-732B-4F56-B743-1E6383481999}"/>
                </a:ext>
              </a:extLst>
            </p:cNvPr>
            <p:cNvGrpSpPr/>
            <p:nvPr/>
          </p:nvGrpSpPr>
          <p:grpSpPr>
            <a:xfrm>
              <a:off x="5085622" y="2391526"/>
              <a:ext cx="254051" cy="432000"/>
              <a:chOff x="3432342" y="1664585"/>
              <a:chExt cx="285598" cy="485645"/>
            </a:xfrm>
            <a:solidFill>
              <a:schemeClr val="accent1"/>
            </a:solidFill>
          </p:grpSpPr>
          <p:sp>
            <p:nvSpPr>
              <p:cNvPr id="374" name="Freihandform: Form 256">
                <a:extLst>
                  <a:ext uri="{FF2B5EF4-FFF2-40B4-BE49-F238E27FC236}">
                    <a16:creationId xmlns:a16="http://schemas.microsoft.com/office/drawing/2014/main" id="{69EF632C-11F0-44B2-B1FB-F22B9CEC508B}"/>
                  </a:ext>
                </a:extLst>
              </p:cNvPr>
              <p:cNvSpPr/>
              <p:nvPr/>
            </p:nvSpPr>
            <p:spPr>
              <a:xfrm>
                <a:off x="3432342" y="1664585"/>
                <a:ext cx="285598" cy="285619"/>
              </a:xfrm>
              <a:custGeom>
                <a:avLst/>
                <a:gdLst>
                  <a:gd name="connsiteX0" fmla="*/ 142827 w 285598"/>
                  <a:gd name="connsiteY0" fmla="*/ 0 h 285619"/>
                  <a:gd name="connsiteX1" fmla="*/ 141822 w 285598"/>
                  <a:gd name="connsiteY1" fmla="*/ 0 h 285619"/>
                  <a:gd name="connsiteX2" fmla="*/ 3 w 285598"/>
                  <a:gd name="connsiteY2" fmla="*/ 143773 h 285619"/>
                  <a:gd name="connsiteX3" fmla="*/ 142799 w 285598"/>
                  <a:gd name="connsiteY3" fmla="*/ 285620 h 285619"/>
                  <a:gd name="connsiteX4" fmla="*/ 143776 w 285598"/>
                  <a:gd name="connsiteY4" fmla="*/ 285620 h 285619"/>
                  <a:gd name="connsiteX5" fmla="*/ 285595 w 285598"/>
                  <a:gd name="connsiteY5" fmla="*/ 141847 h 285619"/>
                  <a:gd name="connsiteX6" fmla="*/ 142827 w 285598"/>
                  <a:gd name="connsiteY6" fmla="*/ 0 h 285619"/>
                  <a:gd name="connsiteX7" fmla="*/ 143748 w 285598"/>
                  <a:gd name="connsiteY7" fmla="*/ 275737 h 285619"/>
                  <a:gd name="connsiteX8" fmla="*/ 142827 w 285598"/>
                  <a:gd name="connsiteY8" fmla="*/ 275737 h 285619"/>
                  <a:gd name="connsiteX9" fmla="*/ 9914 w 285598"/>
                  <a:gd name="connsiteY9" fmla="*/ 143717 h 285619"/>
                  <a:gd name="connsiteX10" fmla="*/ 141906 w 285598"/>
                  <a:gd name="connsiteY10" fmla="*/ 9911 h 285619"/>
                  <a:gd name="connsiteX11" fmla="*/ 142827 w 285598"/>
                  <a:gd name="connsiteY11" fmla="*/ 9911 h 285619"/>
                  <a:gd name="connsiteX12" fmla="*/ 275712 w 285598"/>
                  <a:gd name="connsiteY12" fmla="*/ 141930 h 285619"/>
                  <a:gd name="connsiteX13" fmla="*/ 143748 w 285598"/>
                  <a:gd name="connsiteY13" fmla="*/ 275737 h 285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5598" h="285619">
                    <a:moveTo>
                      <a:pt x="142827" y="0"/>
                    </a:moveTo>
                    <a:lnTo>
                      <a:pt x="141822" y="0"/>
                    </a:lnTo>
                    <a:cubicBezTo>
                      <a:pt x="63096" y="530"/>
                      <a:pt x="-527" y="65019"/>
                      <a:pt x="3" y="143773"/>
                    </a:cubicBezTo>
                    <a:cubicBezTo>
                      <a:pt x="534" y="221997"/>
                      <a:pt x="64603" y="285620"/>
                      <a:pt x="142799" y="285620"/>
                    </a:cubicBezTo>
                    <a:lnTo>
                      <a:pt x="143776" y="285620"/>
                    </a:lnTo>
                    <a:cubicBezTo>
                      <a:pt x="222530" y="285061"/>
                      <a:pt x="286153" y="220573"/>
                      <a:pt x="285595" y="141847"/>
                    </a:cubicBezTo>
                    <a:cubicBezTo>
                      <a:pt x="285092" y="63623"/>
                      <a:pt x="221051" y="0"/>
                      <a:pt x="142827" y="0"/>
                    </a:cubicBezTo>
                    <a:close/>
                    <a:moveTo>
                      <a:pt x="143748" y="275737"/>
                    </a:moveTo>
                    <a:lnTo>
                      <a:pt x="142827" y="275737"/>
                    </a:lnTo>
                    <a:cubicBezTo>
                      <a:pt x="70047" y="275737"/>
                      <a:pt x="10416" y="216497"/>
                      <a:pt x="9914" y="143717"/>
                    </a:cubicBezTo>
                    <a:cubicBezTo>
                      <a:pt x="9411" y="70435"/>
                      <a:pt x="68651" y="10385"/>
                      <a:pt x="141906" y="9911"/>
                    </a:cubicBezTo>
                    <a:lnTo>
                      <a:pt x="142827" y="9911"/>
                    </a:lnTo>
                    <a:cubicBezTo>
                      <a:pt x="215607" y="9911"/>
                      <a:pt x="275238" y="69123"/>
                      <a:pt x="275712" y="141930"/>
                    </a:cubicBezTo>
                    <a:cubicBezTo>
                      <a:pt x="276243" y="215185"/>
                      <a:pt x="217031" y="275234"/>
                      <a:pt x="143748" y="275737"/>
                    </a:cubicBezTo>
                    <a:close/>
                  </a:path>
                </a:pathLst>
              </a:custGeom>
              <a:solidFill>
                <a:schemeClr val="accent1"/>
              </a:solidFill>
              <a:ln w="2790" cap="flat">
                <a:noFill/>
                <a:prstDash val="solid"/>
                <a:miter/>
              </a:ln>
            </p:spPr>
            <p:txBody>
              <a:bodyPr rtlCol="0" anchor="ctr"/>
              <a:lstStyle/>
              <a:p>
                <a:endParaRPr lang="en-GB" dirty="0"/>
              </a:p>
            </p:txBody>
          </p:sp>
          <p:sp>
            <p:nvSpPr>
              <p:cNvPr id="375" name="Freihandform: Form 257">
                <a:extLst>
                  <a:ext uri="{FF2B5EF4-FFF2-40B4-BE49-F238E27FC236}">
                    <a16:creationId xmlns:a16="http://schemas.microsoft.com/office/drawing/2014/main" id="{2ADD9FAC-22E8-4C0B-B6E9-AC8075E433CE}"/>
                  </a:ext>
                </a:extLst>
              </p:cNvPr>
              <p:cNvSpPr/>
              <p:nvPr/>
            </p:nvSpPr>
            <p:spPr>
              <a:xfrm>
                <a:off x="3571176" y="1943393"/>
                <a:ext cx="10162" cy="49273"/>
              </a:xfrm>
              <a:custGeom>
                <a:avLst/>
                <a:gdLst>
                  <a:gd name="connsiteX0" fmla="*/ 4942 w 10162"/>
                  <a:gd name="connsiteY0" fmla="*/ 0 h 49273"/>
                  <a:gd name="connsiteX1" fmla="*/ 4914 w 10162"/>
                  <a:gd name="connsiteY1" fmla="*/ 0 h 49273"/>
                  <a:gd name="connsiteX2" fmla="*/ 0 w 10162"/>
                  <a:gd name="connsiteY2" fmla="*/ 4969 h 49273"/>
                  <a:gd name="connsiteX3" fmla="*/ 279 w 10162"/>
                  <a:gd name="connsiteY3" fmla="*/ 44360 h 49273"/>
                  <a:gd name="connsiteX4" fmla="*/ 5221 w 10162"/>
                  <a:gd name="connsiteY4" fmla="*/ 49274 h 49273"/>
                  <a:gd name="connsiteX5" fmla="*/ 5249 w 10162"/>
                  <a:gd name="connsiteY5" fmla="*/ 49274 h 49273"/>
                  <a:gd name="connsiteX6" fmla="*/ 10162 w 10162"/>
                  <a:gd name="connsiteY6" fmla="*/ 44304 h 49273"/>
                  <a:gd name="connsiteX7" fmla="*/ 9883 w 10162"/>
                  <a:gd name="connsiteY7" fmla="*/ 4913 h 49273"/>
                  <a:gd name="connsiteX8" fmla="*/ 4942 w 10162"/>
                  <a:gd name="connsiteY8" fmla="*/ 0 h 49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62" h="49273">
                    <a:moveTo>
                      <a:pt x="4942" y="0"/>
                    </a:moveTo>
                    <a:cubicBezTo>
                      <a:pt x="4942" y="0"/>
                      <a:pt x="4914" y="0"/>
                      <a:pt x="4914" y="0"/>
                    </a:cubicBezTo>
                    <a:cubicBezTo>
                      <a:pt x="2178" y="28"/>
                      <a:pt x="-28" y="2261"/>
                      <a:pt x="0" y="4969"/>
                    </a:cubicBezTo>
                    <a:lnTo>
                      <a:pt x="279" y="44360"/>
                    </a:lnTo>
                    <a:cubicBezTo>
                      <a:pt x="307" y="47068"/>
                      <a:pt x="2513" y="49274"/>
                      <a:pt x="5221" y="49274"/>
                    </a:cubicBezTo>
                    <a:cubicBezTo>
                      <a:pt x="5221" y="49274"/>
                      <a:pt x="5249" y="49274"/>
                      <a:pt x="5249" y="49274"/>
                    </a:cubicBezTo>
                    <a:cubicBezTo>
                      <a:pt x="7985" y="49246"/>
                      <a:pt x="10190" y="47012"/>
                      <a:pt x="10162" y="44304"/>
                    </a:cubicBezTo>
                    <a:lnTo>
                      <a:pt x="9883" y="4913"/>
                    </a:lnTo>
                    <a:cubicBezTo>
                      <a:pt x="9855" y="2178"/>
                      <a:pt x="7650" y="0"/>
                      <a:pt x="4942" y="0"/>
                    </a:cubicBezTo>
                    <a:close/>
                  </a:path>
                </a:pathLst>
              </a:custGeom>
              <a:solidFill>
                <a:schemeClr val="accent1"/>
              </a:solidFill>
              <a:ln w="2790" cap="flat">
                <a:noFill/>
                <a:prstDash val="solid"/>
                <a:miter/>
              </a:ln>
            </p:spPr>
            <p:txBody>
              <a:bodyPr rtlCol="0" anchor="ctr"/>
              <a:lstStyle/>
              <a:p>
                <a:endParaRPr lang="en-GB" dirty="0"/>
              </a:p>
            </p:txBody>
          </p:sp>
          <p:sp>
            <p:nvSpPr>
              <p:cNvPr id="376" name="Freihandform: Form 258">
                <a:extLst>
                  <a:ext uri="{FF2B5EF4-FFF2-40B4-BE49-F238E27FC236}">
                    <a16:creationId xmlns:a16="http://schemas.microsoft.com/office/drawing/2014/main" id="{53A50423-B99E-4036-8538-4C7DA532FF3C}"/>
                  </a:ext>
                </a:extLst>
              </p:cNvPr>
              <p:cNvSpPr/>
              <p:nvPr/>
            </p:nvSpPr>
            <p:spPr>
              <a:xfrm>
                <a:off x="3548032" y="1982784"/>
                <a:ext cx="57818" cy="167446"/>
              </a:xfrm>
              <a:custGeom>
                <a:avLst/>
                <a:gdLst>
                  <a:gd name="connsiteX0" fmla="*/ 28337 w 57818"/>
                  <a:gd name="connsiteY0" fmla="*/ 0 h 167446"/>
                  <a:gd name="connsiteX1" fmla="*/ 9912 w 57818"/>
                  <a:gd name="connsiteY1" fmla="*/ 8124 h 167446"/>
                  <a:gd name="connsiteX2" fmla="*/ 1 w 57818"/>
                  <a:gd name="connsiteY2" fmla="*/ 34003 h 167446"/>
                  <a:gd name="connsiteX3" fmla="*/ 671 w 57818"/>
                  <a:gd name="connsiteY3" fmla="*/ 133807 h 167446"/>
                  <a:gd name="connsiteX4" fmla="*/ 29342 w 57818"/>
                  <a:gd name="connsiteY4" fmla="*/ 167447 h 167446"/>
                  <a:gd name="connsiteX5" fmla="*/ 29482 w 57818"/>
                  <a:gd name="connsiteY5" fmla="*/ 167447 h 167446"/>
                  <a:gd name="connsiteX6" fmla="*/ 49945 w 57818"/>
                  <a:gd name="connsiteY6" fmla="*/ 157034 h 167446"/>
                  <a:gd name="connsiteX7" fmla="*/ 57818 w 57818"/>
                  <a:gd name="connsiteY7" fmla="*/ 133444 h 167446"/>
                  <a:gd name="connsiteX8" fmla="*/ 57148 w 57818"/>
                  <a:gd name="connsiteY8" fmla="*/ 33640 h 167446"/>
                  <a:gd name="connsiteX9" fmla="*/ 28337 w 57818"/>
                  <a:gd name="connsiteY9" fmla="*/ 0 h 167446"/>
                  <a:gd name="connsiteX10" fmla="*/ 42240 w 57818"/>
                  <a:gd name="connsiteY10" fmla="*/ 150808 h 167446"/>
                  <a:gd name="connsiteX11" fmla="*/ 29398 w 57818"/>
                  <a:gd name="connsiteY11" fmla="*/ 157536 h 167446"/>
                  <a:gd name="connsiteX12" fmla="*/ 29314 w 57818"/>
                  <a:gd name="connsiteY12" fmla="*/ 162477 h 167446"/>
                  <a:gd name="connsiteX13" fmla="*/ 29314 w 57818"/>
                  <a:gd name="connsiteY13" fmla="*/ 157536 h 167446"/>
                  <a:gd name="connsiteX14" fmla="*/ 10526 w 57818"/>
                  <a:gd name="connsiteY14" fmla="*/ 133723 h 167446"/>
                  <a:gd name="connsiteX15" fmla="*/ 9856 w 57818"/>
                  <a:gd name="connsiteY15" fmla="*/ 33919 h 167446"/>
                  <a:gd name="connsiteX16" fmla="*/ 16919 w 57818"/>
                  <a:gd name="connsiteY16" fmla="*/ 15047 h 167446"/>
                  <a:gd name="connsiteX17" fmla="*/ 28505 w 57818"/>
                  <a:gd name="connsiteY17" fmla="*/ 9883 h 167446"/>
                  <a:gd name="connsiteX18" fmla="*/ 47237 w 57818"/>
                  <a:gd name="connsiteY18" fmla="*/ 33668 h 167446"/>
                  <a:gd name="connsiteX19" fmla="*/ 47907 w 57818"/>
                  <a:gd name="connsiteY19" fmla="*/ 133472 h 167446"/>
                  <a:gd name="connsiteX20" fmla="*/ 42240 w 57818"/>
                  <a:gd name="connsiteY20" fmla="*/ 150808 h 167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7818" h="167446">
                    <a:moveTo>
                      <a:pt x="28337" y="0"/>
                    </a:moveTo>
                    <a:cubicBezTo>
                      <a:pt x="21581" y="28"/>
                      <a:pt x="15021" y="2931"/>
                      <a:pt x="9912" y="8124"/>
                    </a:cubicBezTo>
                    <a:cubicBezTo>
                      <a:pt x="3519" y="14601"/>
                      <a:pt x="-82" y="24037"/>
                      <a:pt x="1" y="34003"/>
                    </a:cubicBezTo>
                    <a:lnTo>
                      <a:pt x="671" y="133807"/>
                    </a:lnTo>
                    <a:cubicBezTo>
                      <a:pt x="783" y="152343"/>
                      <a:pt x="13653" y="167447"/>
                      <a:pt x="29342" y="167447"/>
                    </a:cubicBezTo>
                    <a:cubicBezTo>
                      <a:pt x="29342" y="167447"/>
                      <a:pt x="29482" y="167447"/>
                      <a:pt x="29482" y="167447"/>
                    </a:cubicBezTo>
                    <a:cubicBezTo>
                      <a:pt x="37299" y="167391"/>
                      <a:pt x="44585" y="163678"/>
                      <a:pt x="49945" y="157034"/>
                    </a:cubicBezTo>
                    <a:cubicBezTo>
                      <a:pt x="55082" y="150668"/>
                      <a:pt x="57873" y="142265"/>
                      <a:pt x="57818" y="133444"/>
                    </a:cubicBezTo>
                    <a:lnTo>
                      <a:pt x="57148" y="33640"/>
                    </a:lnTo>
                    <a:cubicBezTo>
                      <a:pt x="57008" y="15075"/>
                      <a:pt x="44166" y="0"/>
                      <a:pt x="28337" y="0"/>
                    </a:cubicBezTo>
                    <a:close/>
                    <a:moveTo>
                      <a:pt x="42240" y="150808"/>
                    </a:moveTo>
                    <a:cubicBezTo>
                      <a:pt x="38778" y="155107"/>
                      <a:pt x="34200" y="157508"/>
                      <a:pt x="29398" y="157536"/>
                    </a:cubicBezTo>
                    <a:lnTo>
                      <a:pt x="29314" y="162477"/>
                    </a:lnTo>
                    <a:lnTo>
                      <a:pt x="29314" y="157536"/>
                    </a:lnTo>
                    <a:cubicBezTo>
                      <a:pt x="19041" y="157536"/>
                      <a:pt x="10610" y="146844"/>
                      <a:pt x="10526" y="133723"/>
                    </a:cubicBezTo>
                    <a:lnTo>
                      <a:pt x="9856" y="33919"/>
                    </a:lnTo>
                    <a:cubicBezTo>
                      <a:pt x="9800" y="26549"/>
                      <a:pt x="12369" y="19682"/>
                      <a:pt x="16919" y="15047"/>
                    </a:cubicBezTo>
                    <a:cubicBezTo>
                      <a:pt x="20213" y="11697"/>
                      <a:pt x="24178" y="9911"/>
                      <a:pt x="28505" y="9883"/>
                    </a:cubicBezTo>
                    <a:cubicBezTo>
                      <a:pt x="38750" y="9883"/>
                      <a:pt x="47153" y="20547"/>
                      <a:pt x="47237" y="33668"/>
                    </a:cubicBezTo>
                    <a:lnTo>
                      <a:pt x="47907" y="133472"/>
                    </a:lnTo>
                    <a:cubicBezTo>
                      <a:pt x="47963" y="140032"/>
                      <a:pt x="45953" y="146202"/>
                      <a:pt x="42240" y="150808"/>
                    </a:cubicBezTo>
                    <a:close/>
                  </a:path>
                </a:pathLst>
              </a:custGeom>
              <a:solidFill>
                <a:schemeClr val="accent1"/>
              </a:solidFill>
              <a:ln w="2790" cap="flat">
                <a:noFill/>
                <a:prstDash val="solid"/>
                <a:miter/>
              </a:ln>
            </p:spPr>
            <p:txBody>
              <a:bodyPr rtlCol="0" anchor="ctr"/>
              <a:lstStyle/>
              <a:p>
                <a:endParaRPr lang="en-GB" dirty="0"/>
              </a:p>
            </p:txBody>
          </p:sp>
          <p:sp>
            <p:nvSpPr>
              <p:cNvPr id="377" name="Freihandform: Form 259">
                <a:extLst>
                  <a:ext uri="{FF2B5EF4-FFF2-40B4-BE49-F238E27FC236}">
                    <a16:creationId xmlns:a16="http://schemas.microsoft.com/office/drawing/2014/main" id="{A7705537-D92A-422C-8251-7E5C0B01499F}"/>
                  </a:ext>
                </a:extLst>
              </p:cNvPr>
              <p:cNvSpPr/>
              <p:nvPr/>
            </p:nvSpPr>
            <p:spPr>
              <a:xfrm>
                <a:off x="3469157" y="1702245"/>
                <a:ext cx="211206" cy="211164"/>
              </a:xfrm>
              <a:custGeom>
                <a:avLst/>
                <a:gdLst>
                  <a:gd name="connsiteX0" fmla="*/ 173097 w 211206"/>
                  <a:gd name="connsiteY0" fmla="*/ 24372 h 211164"/>
                  <a:gd name="connsiteX1" fmla="*/ 105649 w 211206"/>
                  <a:gd name="connsiteY1" fmla="*/ 0 h 211164"/>
                  <a:gd name="connsiteX2" fmla="*/ 24410 w 211206"/>
                  <a:gd name="connsiteY2" fmla="*/ 38079 h 211164"/>
                  <a:gd name="connsiteX3" fmla="*/ 458 w 211206"/>
                  <a:gd name="connsiteY3" fmla="*/ 115270 h 211164"/>
                  <a:gd name="connsiteX4" fmla="*/ 38090 w 211206"/>
                  <a:gd name="connsiteY4" fmla="*/ 186765 h 211164"/>
                  <a:gd name="connsiteX5" fmla="*/ 105537 w 211206"/>
                  <a:gd name="connsiteY5" fmla="*/ 211165 h 211164"/>
                  <a:gd name="connsiteX6" fmla="*/ 186804 w 211206"/>
                  <a:gd name="connsiteY6" fmla="*/ 173058 h 211164"/>
                  <a:gd name="connsiteX7" fmla="*/ 210757 w 211206"/>
                  <a:gd name="connsiteY7" fmla="*/ 95867 h 211164"/>
                  <a:gd name="connsiteX8" fmla="*/ 173097 w 211206"/>
                  <a:gd name="connsiteY8" fmla="*/ 24372 h 211164"/>
                  <a:gd name="connsiteX9" fmla="*/ 179211 w 211206"/>
                  <a:gd name="connsiteY9" fmla="*/ 166749 h 211164"/>
                  <a:gd name="connsiteX10" fmla="*/ 105565 w 211206"/>
                  <a:gd name="connsiteY10" fmla="*/ 201282 h 211164"/>
                  <a:gd name="connsiteX11" fmla="*/ 44427 w 211206"/>
                  <a:gd name="connsiteY11" fmla="*/ 179144 h 211164"/>
                  <a:gd name="connsiteX12" fmla="*/ 10312 w 211206"/>
                  <a:gd name="connsiteY12" fmla="*/ 114348 h 211164"/>
                  <a:gd name="connsiteX13" fmla="*/ 32032 w 211206"/>
                  <a:gd name="connsiteY13" fmla="*/ 44388 h 211164"/>
                  <a:gd name="connsiteX14" fmla="*/ 105677 w 211206"/>
                  <a:gd name="connsiteY14" fmla="*/ 9883 h 211164"/>
                  <a:gd name="connsiteX15" fmla="*/ 166788 w 211206"/>
                  <a:gd name="connsiteY15" fmla="*/ 31993 h 211164"/>
                  <a:gd name="connsiteX16" fmla="*/ 200930 w 211206"/>
                  <a:gd name="connsiteY16" fmla="*/ 96816 h 211164"/>
                  <a:gd name="connsiteX17" fmla="*/ 179211 w 211206"/>
                  <a:gd name="connsiteY17" fmla="*/ 166749 h 21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206" h="211164">
                    <a:moveTo>
                      <a:pt x="173097" y="24372"/>
                    </a:moveTo>
                    <a:cubicBezTo>
                      <a:pt x="154197" y="8654"/>
                      <a:pt x="130244" y="0"/>
                      <a:pt x="105649" y="0"/>
                    </a:cubicBezTo>
                    <a:cubicBezTo>
                      <a:pt x="74131" y="0"/>
                      <a:pt x="44511" y="13875"/>
                      <a:pt x="24410" y="38079"/>
                    </a:cubicBezTo>
                    <a:cubicBezTo>
                      <a:pt x="6376" y="59770"/>
                      <a:pt x="-2139" y="87185"/>
                      <a:pt x="458" y="115270"/>
                    </a:cubicBezTo>
                    <a:cubicBezTo>
                      <a:pt x="3054" y="143354"/>
                      <a:pt x="16398" y="168731"/>
                      <a:pt x="38090" y="186765"/>
                    </a:cubicBezTo>
                    <a:cubicBezTo>
                      <a:pt x="57018" y="202510"/>
                      <a:pt x="80970" y="211165"/>
                      <a:pt x="105537" y="211165"/>
                    </a:cubicBezTo>
                    <a:cubicBezTo>
                      <a:pt x="137056" y="211165"/>
                      <a:pt x="166676" y="197290"/>
                      <a:pt x="186804" y="173058"/>
                    </a:cubicBezTo>
                    <a:cubicBezTo>
                      <a:pt x="204839" y="151366"/>
                      <a:pt x="213325" y="123952"/>
                      <a:pt x="210757" y="95867"/>
                    </a:cubicBezTo>
                    <a:cubicBezTo>
                      <a:pt x="208161" y="67783"/>
                      <a:pt x="194788" y="42406"/>
                      <a:pt x="173097" y="24372"/>
                    </a:cubicBezTo>
                    <a:close/>
                    <a:moveTo>
                      <a:pt x="179211" y="166749"/>
                    </a:moveTo>
                    <a:cubicBezTo>
                      <a:pt x="160953" y="188691"/>
                      <a:pt x="134125" y="201282"/>
                      <a:pt x="105565" y="201282"/>
                    </a:cubicBezTo>
                    <a:cubicBezTo>
                      <a:pt x="83287" y="201282"/>
                      <a:pt x="61596" y="193437"/>
                      <a:pt x="44427" y="179144"/>
                    </a:cubicBezTo>
                    <a:cubicBezTo>
                      <a:pt x="24773" y="162812"/>
                      <a:pt x="12657" y="139781"/>
                      <a:pt x="10312" y="114348"/>
                    </a:cubicBezTo>
                    <a:cubicBezTo>
                      <a:pt x="7967" y="88888"/>
                      <a:pt x="15672" y="64042"/>
                      <a:pt x="32032" y="44388"/>
                    </a:cubicBezTo>
                    <a:cubicBezTo>
                      <a:pt x="50262" y="22445"/>
                      <a:pt x="77118" y="9883"/>
                      <a:pt x="105677" y="9883"/>
                    </a:cubicBezTo>
                    <a:cubicBezTo>
                      <a:pt x="127955" y="9883"/>
                      <a:pt x="149646" y="17727"/>
                      <a:pt x="166788" y="31993"/>
                    </a:cubicBezTo>
                    <a:cubicBezTo>
                      <a:pt x="186441" y="48352"/>
                      <a:pt x="198585" y="71356"/>
                      <a:pt x="200930" y="96816"/>
                    </a:cubicBezTo>
                    <a:cubicBezTo>
                      <a:pt x="203247" y="122249"/>
                      <a:pt x="195570" y="147095"/>
                      <a:pt x="179211" y="166749"/>
                    </a:cubicBezTo>
                    <a:close/>
                  </a:path>
                </a:pathLst>
              </a:custGeom>
              <a:solidFill>
                <a:schemeClr val="accent1"/>
              </a:solidFill>
              <a:ln w="2790" cap="flat">
                <a:noFill/>
                <a:prstDash val="solid"/>
                <a:miter/>
              </a:ln>
            </p:spPr>
            <p:txBody>
              <a:bodyPr rtlCol="0" anchor="ctr"/>
              <a:lstStyle/>
              <a:p>
                <a:endParaRPr lang="en-GB" dirty="0"/>
              </a:p>
            </p:txBody>
          </p:sp>
          <p:sp>
            <p:nvSpPr>
              <p:cNvPr id="378" name="Freihandform: Form 260">
                <a:extLst>
                  <a:ext uri="{FF2B5EF4-FFF2-40B4-BE49-F238E27FC236}">
                    <a16:creationId xmlns:a16="http://schemas.microsoft.com/office/drawing/2014/main" id="{FB734692-307D-4967-A6EA-8D10C1CBE26E}"/>
                  </a:ext>
                </a:extLst>
              </p:cNvPr>
              <p:cNvSpPr/>
              <p:nvPr/>
            </p:nvSpPr>
            <p:spPr>
              <a:xfrm>
                <a:off x="3469109" y="1701380"/>
                <a:ext cx="212091" cy="212030"/>
              </a:xfrm>
              <a:custGeom>
                <a:avLst/>
                <a:gdLst>
                  <a:gd name="connsiteX0" fmla="*/ 106060 w 212091"/>
                  <a:gd name="connsiteY0" fmla="*/ 0 h 212030"/>
                  <a:gd name="connsiteX1" fmla="*/ 105334 w 212091"/>
                  <a:gd name="connsiteY1" fmla="*/ 0 h 212030"/>
                  <a:gd name="connsiteX2" fmla="*/ 30544 w 212091"/>
                  <a:gd name="connsiteY2" fmla="*/ 31546 h 212030"/>
                  <a:gd name="connsiteX3" fmla="*/ 3 w 212091"/>
                  <a:gd name="connsiteY3" fmla="*/ 106727 h 212030"/>
                  <a:gd name="connsiteX4" fmla="*/ 106032 w 212091"/>
                  <a:gd name="connsiteY4" fmla="*/ 212030 h 212030"/>
                  <a:gd name="connsiteX5" fmla="*/ 106785 w 212091"/>
                  <a:gd name="connsiteY5" fmla="*/ 212030 h 212030"/>
                  <a:gd name="connsiteX6" fmla="*/ 181547 w 212091"/>
                  <a:gd name="connsiteY6" fmla="*/ 180484 h 212030"/>
                  <a:gd name="connsiteX7" fmla="*/ 212089 w 212091"/>
                  <a:gd name="connsiteY7" fmla="*/ 105303 h 212030"/>
                  <a:gd name="connsiteX8" fmla="*/ 106060 w 212091"/>
                  <a:gd name="connsiteY8" fmla="*/ 0 h 212030"/>
                  <a:gd name="connsiteX9" fmla="*/ 174512 w 212091"/>
                  <a:gd name="connsiteY9" fmla="*/ 173533 h 212030"/>
                  <a:gd name="connsiteX10" fmla="*/ 106730 w 212091"/>
                  <a:gd name="connsiteY10" fmla="*/ 202148 h 212030"/>
                  <a:gd name="connsiteX11" fmla="*/ 106032 w 212091"/>
                  <a:gd name="connsiteY11" fmla="*/ 202148 h 212030"/>
                  <a:gd name="connsiteX12" fmla="*/ 9885 w 212091"/>
                  <a:gd name="connsiteY12" fmla="*/ 106643 h 212030"/>
                  <a:gd name="connsiteX13" fmla="*/ 37579 w 212091"/>
                  <a:gd name="connsiteY13" fmla="*/ 38470 h 212030"/>
                  <a:gd name="connsiteX14" fmla="*/ 106032 w 212091"/>
                  <a:gd name="connsiteY14" fmla="*/ 9855 h 212030"/>
                  <a:gd name="connsiteX15" fmla="*/ 202178 w 212091"/>
                  <a:gd name="connsiteY15" fmla="*/ 105359 h 212030"/>
                  <a:gd name="connsiteX16" fmla="*/ 174512 w 212091"/>
                  <a:gd name="connsiteY16" fmla="*/ 173533 h 21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2091" h="212030">
                    <a:moveTo>
                      <a:pt x="106060" y="0"/>
                    </a:moveTo>
                    <a:lnTo>
                      <a:pt x="105334" y="0"/>
                    </a:lnTo>
                    <a:cubicBezTo>
                      <a:pt x="76998" y="195"/>
                      <a:pt x="50449" y="11390"/>
                      <a:pt x="30544" y="31546"/>
                    </a:cubicBezTo>
                    <a:cubicBezTo>
                      <a:pt x="10639" y="51702"/>
                      <a:pt x="-193" y="78419"/>
                      <a:pt x="3" y="106727"/>
                    </a:cubicBezTo>
                    <a:cubicBezTo>
                      <a:pt x="393" y="164794"/>
                      <a:pt x="47964" y="212030"/>
                      <a:pt x="106032" y="212030"/>
                    </a:cubicBezTo>
                    <a:lnTo>
                      <a:pt x="106785" y="212030"/>
                    </a:lnTo>
                    <a:cubicBezTo>
                      <a:pt x="135093" y="211835"/>
                      <a:pt x="161643" y="200640"/>
                      <a:pt x="181547" y="180484"/>
                    </a:cubicBezTo>
                    <a:cubicBezTo>
                      <a:pt x="201452" y="160328"/>
                      <a:pt x="212284" y="133611"/>
                      <a:pt x="212089" y="105303"/>
                    </a:cubicBezTo>
                    <a:cubicBezTo>
                      <a:pt x="211726" y="47236"/>
                      <a:pt x="164155" y="0"/>
                      <a:pt x="106060" y="0"/>
                    </a:cubicBezTo>
                    <a:close/>
                    <a:moveTo>
                      <a:pt x="174512" y="173533"/>
                    </a:moveTo>
                    <a:cubicBezTo>
                      <a:pt x="156478" y="191818"/>
                      <a:pt x="132413" y="201980"/>
                      <a:pt x="106730" y="202148"/>
                    </a:cubicBezTo>
                    <a:lnTo>
                      <a:pt x="106032" y="202148"/>
                    </a:lnTo>
                    <a:cubicBezTo>
                      <a:pt x="53380" y="202148"/>
                      <a:pt x="10248" y="159323"/>
                      <a:pt x="9885" y="106643"/>
                    </a:cubicBezTo>
                    <a:cubicBezTo>
                      <a:pt x="9718" y="80960"/>
                      <a:pt x="19545" y="56755"/>
                      <a:pt x="37579" y="38470"/>
                    </a:cubicBezTo>
                    <a:cubicBezTo>
                      <a:pt x="55613" y="20184"/>
                      <a:pt x="79706" y="10022"/>
                      <a:pt x="106032" y="9855"/>
                    </a:cubicBezTo>
                    <a:cubicBezTo>
                      <a:pt x="158711" y="9855"/>
                      <a:pt x="201815" y="52707"/>
                      <a:pt x="202178" y="105359"/>
                    </a:cubicBezTo>
                    <a:cubicBezTo>
                      <a:pt x="202401" y="131043"/>
                      <a:pt x="192547" y="155275"/>
                      <a:pt x="174512" y="173533"/>
                    </a:cubicBezTo>
                    <a:close/>
                  </a:path>
                </a:pathLst>
              </a:custGeom>
              <a:solidFill>
                <a:schemeClr val="accent1"/>
              </a:solidFill>
              <a:ln w="2790" cap="flat">
                <a:noFill/>
                <a:prstDash val="solid"/>
                <a:miter/>
              </a:ln>
            </p:spPr>
            <p:txBody>
              <a:bodyPr rtlCol="0" anchor="ctr"/>
              <a:lstStyle/>
              <a:p>
                <a:endParaRPr lang="en-GB" dirty="0"/>
              </a:p>
            </p:txBody>
          </p:sp>
        </p:grpSp>
      </p:grpSp>
      <p:grpSp>
        <p:nvGrpSpPr>
          <p:cNvPr id="388" name="Group 387">
            <a:extLst>
              <a:ext uri="{FF2B5EF4-FFF2-40B4-BE49-F238E27FC236}">
                <a16:creationId xmlns:a16="http://schemas.microsoft.com/office/drawing/2014/main" id="{27183777-195F-48E1-8CA7-539321D59FD1}"/>
              </a:ext>
            </a:extLst>
          </p:cNvPr>
          <p:cNvGrpSpPr>
            <a:grpSpLocks noChangeAspect="1"/>
          </p:cNvGrpSpPr>
          <p:nvPr/>
        </p:nvGrpSpPr>
        <p:grpSpPr>
          <a:xfrm>
            <a:off x="6041422" y="2391526"/>
            <a:ext cx="429959" cy="432000"/>
            <a:chOff x="842920" y="2458192"/>
            <a:chExt cx="514323" cy="516764"/>
          </a:xfrm>
        </p:grpSpPr>
        <p:sp>
          <p:nvSpPr>
            <p:cNvPr id="389" name="Freihandform: Form 275">
              <a:extLst>
                <a:ext uri="{FF2B5EF4-FFF2-40B4-BE49-F238E27FC236}">
                  <a16:creationId xmlns:a16="http://schemas.microsoft.com/office/drawing/2014/main" id="{8B8933E8-47AD-4CFB-B542-2BC17646B936}"/>
                </a:ext>
              </a:extLst>
            </p:cNvPr>
            <p:cNvSpPr/>
            <p:nvPr/>
          </p:nvSpPr>
          <p:spPr>
            <a:xfrm>
              <a:off x="998684" y="2626698"/>
              <a:ext cx="178510" cy="170068"/>
            </a:xfrm>
            <a:custGeom>
              <a:avLst/>
              <a:gdLst>
                <a:gd name="connsiteX0" fmla="*/ 174277 w 178510"/>
                <a:gd name="connsiteY0" fmla="*/ 61104 h 170068"/>
                <a:gd name="connsiteX1" fmla="*/ 118582 w 178510"/>
                <a:gd name="connsiteY1" fmla="*/ 53008 h 170068"/>
                <a:gd name="connsiteX2" fmla="*/ 93680 w 178510"/>
                <a:gd name="connsiteY2" fmla="*/ 2533 h 170068"/>
                <a:gd name="connsiteX3" fmla="*/ 84831 w 178510"/>
                <a:gd name="connsiteY3" fmla="*/ 2533 h 170068"/>
                <a:gd name="connsiteX4" fmla="*/ 59929 w 178510"/>
                <a:gd name="connsiteY4" fmla="*/ 53008 h 170068"/>
                <a:gd name="connsiteX5" fmla="*/ 4234 w 178510"/>
                <a:gd name="connsiteY5" fmla="*/ 61104 h 170068"/>
                <a:gd name="connsiteX6" fmla="*/ 242 w 178510"/>
                <a:gd name="connsiteY6" fmla="*/ 64453 h 170068"/>
                <a:gd name="connsiteX7" fmla="*/ 1498 w 178510"/>
                <a:gd name="connsiteY7" fmla="*/ 69534 h 170068"/>
                <a:gd name="connsiteX8" fmla="*/ 41810 w 178510"/>
                <a:gd name="connsiteY8" fmla="*/ 108814 h 170068"/>
                <a:gd name="connsiteX9" fmla="*/ 32291 w 178510"/>
                <a:gd name="connsiteY9" fmla="*/ 164285 h 170068"/>
                <a:gd name="connsiteX10" fmla="*/ 34245 w 178510"/>
                <a:gd name="connsiteY10" fmla="*/ 169115 h 170068"/>
                <a:gd name="connsiteX11" fmla="*/ 37148 w 178510"/>
                <a:gd name="connsiteY11" fmla="*/ 170064 h 170068"/>
                <a:gd name="connsiteX12" fmla="*/ 39437 w 178510"/>
                <a:gd name="connsiteY12" fmla="*/ 169505 h 170068"/>
                <a:gd name="connsiteX13" fmla="*/ 89242 w 178510"/>
                <a:gd name="connsiteY13" fmla="*/ 143319 h 170068"/>
                <a:gd name="connsiteX14" fmla="*/ 139046 w 178510"/>
                <a:gd name="connsiteY14" fmla="*/ 169505 h 170068"/>
                <a:gd name="connsiteX15" fmla="*/ 144266 w 178510"/>
                <a:gd name="connsiteY15" fmla="*/ 169143 h 170068"/>
                <a:gd name="connsiteX16" fmla="*/ 146220 w 178510"/>
                <a:gd name="connsiteY16" fmla="*/ 164313 h 170068"/>
                <a:gd name="connsiteX17" fmla="*/ 136701 w 178510"/>
                <a:gd name="connsiteY17" fmla="*/ 108842 h 170068"/>
                <a:gd name="connsiteX18" fmla="*/ 177013 w 178510"/>
                <a:gd name="connsiteY18" fmla="*/ 69562 h 170068"/>
                <a:gd name="connsiteX19" fmla="*/ 178269 w 178510"/>
                <a:gd name="connsiteY19" fmla="*/ 64481 h 170068"/>
                <a:gd name="connsiteX20" fmla="*/ 174277 w 178510"/>
                <a:gd name="connsiteY20" fmla="*/ 61104 h 170068"/>
                <a:gd name="connsiteX21" fmla="*/ 127963 w 178510"/>
                <a:gd name="connsiteY21" fmla="*/ 103565 h 170068"/>
                <a:gd name="connsiteX22" fmla="*/ 126539 w 178510"/>
                <a:gd name="connsiteY22" fmla="*/ 107948 h 170068"/>
                <a:gd name="connsiteX23" fmla="*/ 134802 w 178510"/>
                <a:gd name="connsiteY23" fmla="*/ 156105 h 170068"/>
                <a:gd name="connsiteX24" fmla="*/ 91559 w 178510"/>
                <a:gd name="connsiteY24" fmla="*/ 133353 h 170068"/>
                <a:gd name="connsiteX25" fmla="*/ 89269 w 178510"/>
                <a:gd name="connsiteY25" fmla="*/ 132795 h 170068"/>
                <a:gd name="connsiteX26" fmla="*/ 86980 w 178510"/>
                <a:gd name="connsiteY26" fmla="*/ 133353 h 170068"/>
                <a:gd name="connsiteX27" fmla="*/ 43737 w 178510"/>
                <a:gd name="connsiteY27" fmla="*/ 156105 h 170068"/>
                <a:gd name="connsiteX28" fmla="*/ 52000 w 178510"/>
                <a:gd name="connsiteY28" fmla="*/ 107948 h 170068"/>
                <a:gd name="connsiteX29" fmla="*/ 50576 w 178510"/>
                <a:gd name="connsiteY29" fmla="*/ 103565 h 170068"/>
                <a:gd name="connsiteX30" fmla="*/ 15596 w 178510"/>
                <a:gd name="connsiteY30" fmla="*/ 69451 h 170068"/>
                <a:gd name="connsiteX31" fmla="*/ 63949 w 178510"/>
                <a:gd name="connsiteY31" fmla="*/ 62416 h 170068"/>
                <a:gd name="connsiteX32" fmla="*/ 67662 w 178510"/>
                <a:gd name="connsiteY32" fmla="*/ 59708 h 170068"/>
                <a:gd name="connsiteX33" fmla="*/ 89297 w 178510"/>
                <a:gd name="connsiteY33" fmla="*/ 15878 h 170068"/>
                <a:gd name="connsiteX34" fmla="*/ 110933 w 178510"/>
                <a:gd name="connsiteY34" fmla="*/ 59708 h 170068"/>
                <a:gd name="connsiteX35" fmla="*/ 114646 w 178510"/>
                <a:gd name="connsiteY35" fmla="*/ 62416 h 170068"/>
                <a:gd name="connsiteX36" fmla="*/ 162998 w 178510"/>
                <a:gd name="connsiteY36" fmla="*/ 69451 h 170068"/>
                <a:gd name="connsiteX37" fmla="*/ 127963 w 178510"/>
                <a:gd name="connsiteY37" fmla="*/ 103565 h 17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8510" h="170068">
                  <a:moveTo>
                    <a:pt x="174277" y="61104"/>
                  </a:moveTo>
                  <a:lnTo>
                    <a:pt x="118582" y="53008"/>
                  </a:lnTo>
                  <a:lnTo>
                    <a:pt x="93680" y="2533"/>
                  </a:lnTo>
                  <a:cubicBezTo>
                    <a:pt x="92033" y="-844"/>
                    <a:pt x="86478" y="-844"/>
                    <a:pt x="84831" y="2533"/>
                  </a:cubicBezTo>
                  <a:lnTo>
                    <a:pt x="59929" y="53008"/>
                  </a:lnTo>
                  <a:lnTo>
                    <a:pt x="4234" y="61104"/>
                  </a:lnTo>
                  <a:cubicBezTo>
                    <a:pt x="2364" y="61383"/>
                    <a:pt x="828" y="62667"/>
                    <a:pt x="242" y="64453"/>
                  </a:cubicBezTo>
                  <a:cubicBezTo>
                    <a:pt x="-344" y="66240"/>
                    <a:pt x="158" y="68222"/>
                    <a:pt x="1498" y="69534"/>
                  </a:cubicBezTo>
                  <a:lnTo>
                    <a:pt x="41810" y="108814"/>
                  </a:lnTo>
                  <a:lnTo>
                    <a:pt x="32291" y="164285"/>
                  </a:lnTo>
                  <a:cubicBezTo>
                    <a:pt x="31984" y="166128"/>
                    <a:pt x="32737" y="168026"/>
                    <a:pt x="34245" y="169115"/>
                  </a:cubicBezTo>
                  <a:cubicBezTo>
                    <a:pt x="35110" y="169729"/>
                    <a:pt x="36115" y="170064"/>
                    <a:pt x="37148" y="170064"/>
                  </a:cubicBezTo>
                  <a:cubicBezTo>
                    <a:pt x="37930" y="170064"/>
                    <a:pt x="38712" y="169868"/>
                    <a:pt x="39437" y="169505"/>
                  </a:cubicBezTo>
                  <a:lnTo>
                    <a:pt x="89242" y="143319"/>
                  </a:lnTo>
                  <a:lnTo>
                    <a:pt x="139046" y="169505"/>
                  </a:lnTo>
                  <a:cubicBezTo>
                    <a:pt x="140721" y="170371"/>
                    <a:pt x="142731" y="170231"/>
                    <a:pt x="144266" y="169143"/>
                  </a:cubicBezTo>
                  <a:cubicBezTo>
                    <a:pt x="145802" y="168026"/>
                    <a:pt x="146555" y="166155"/>
                    <a:pt x="146220" y="164313"/>
                  </a:cubicBezTo>
                  <a:lnTo>
                    <a:pt x="136701" y="108842"/>
                  </a:lnTo>
                  <a:lnTo>
                    <a:pt x="177013" y="69562"/>
                  </a:lnTo>
                  <a:cubicBezTo>
                    <a:pt x="178353" y="68250"/>
                    <a:pt x="178855" y="66296"/>
                    <a:pt x="178269" y="64481"/>
                  </a:cubicBezTo>
                  <a:cubicBezTo>
                    <a:pt x="177683" y="62695"/>
                    <a:pt x="176147" y="61383"/>
                    <a:pt x="174277" y="61104"/>
                  </a:cubicBezTo>
                  <a:close/>
                  <a:moveTo>
                    <a:pt x="127963" y="103565"/>
                  </a:moveTo>
                  <a:cubicBezTo>
                    <a:pt x="126790" y="104710"/>
                    <a:pt x="126260" y="106329"/>
                    <a:pt x="126539" y="107948"/>
                  </a:cubicBezTo>
                  <a:lnTo>
                    <a:pt x="134802" y="156105"/>
                  </a:lnTo>
                  <a:lnTo>
                    <a:pt x="91559" y="133353"/>
                  </a:lnTo>
                  <a:cubicBezTo>
                    <a:pt x="90833" y="132962"/>
                    <a:pt x="90051" y="132795"/>
                    <a:pt x="89269" y="132795"/>
                  </a:cubicBezTo>
                  <a:cubicBezTo>
                    <a:pt x="88488" y="132795"/>
                    <a:pt x="87678" y="132990"/>
                    <a:pt x="86980" y="133353"/>
                  </a:cubicBezTo>
                  <a:lnTo>
                    <a:pt x="43737" y="156105"/>
                  </a:lnTo>
                  <a:lnTo>
                    <a:pt x="52000" y="107948"/>
                  </a:lnTo>
                  <a:cubicBezTo>
                    <a:pt x="52279" y="106329"/>
                    <a:pt x="51749" y="104710"/>
                    <a:pt x="50576" y="103565"/>
                  </a:cubicBezTo>
                  <a:lnTo>
                    <a:pt x="15596" y="69451"/>
                  </a:lnTo>
                  <a:lnTo>
                    <a:pt x="63949" y="62416"/>
                  </a:lnTo>
                  <a:cubicBezTo>
                    <a:pt x="65568" y="62192"/>
                    <a:pt x="66964" y="61159"/>
                    <a:pt x="67662" y="59708"/>
                  </a:cubicBezTo>
                  <a:lnTo>
                    <a:pt x="89297" y="15878"/>
                  </a:lnTo>
                  <a:lnTo>
                    <a:pt x="110933" y="59708"/>
                  </a:lnTo>
                  <a:cubicBezTo>
                    <a:pt x="111659" y="61159"/>
                    <a:pt x="113055" y="62164"/>
                    <a:pt x="114646" y="62416"/>
                  </a:cubicBezTo>
                  <a:lnTo>
                    <a:pt x="162998" y="69451"/>
                  </a:lnTo>
                  <a:lnTo>
                    <a:pt x="127963" y="103565"/>
                  </a:lnTo>
                  <a:close/>
                </a:path>
              </a:pathLst>
            </a:custGeom>
            <a:solidFill>
              <a:schemeClr val="tx2"/>
            </a:solidFill>
            <a:ln w="2790" cap="flat">
              <a:noFill/>
              <a:prstDash val="solid"/>
              <a:miter/>
            </a:ln>
          </p:spPr>
          <p:txBody>
            <a:bodyPr rtlCol="0" anchor="ctr"/>
            <a:lstStyle/>
            <a:p>
              <a:endParaRPr lang="en-GB" dirty="0"/>
            </a:p>
          </p:txBody>
        </p:sp>
        <p:grpSp>
          <p:nvGrpSpPr>
            <p:cNvPr id="390" name="Group 389">
              <a:extLst>
                <a:ext uri="{FF2B5EF4-FFF2-40B4-BE49-F238E27FC236}">
                  <a16:creationId xmlns:a16="http://schemas.microsoft.com/office/drawing/2014/main" id="{78281EB9-2E43-47B7-A8CD-F8CFB0B3C150}"/>
                </a:ext>
              </a:extLst>
            </p:cNvPr>
            <p:cNvGrpSpPr/>
            <p:nvPr/>
          </p:nvGrpSpPr>
          <p:grpSpPr>
            <a:xfrm>
              <a:off x="842920" y="2458192"/>
              <a:ext cx="514323" cy="516764"/>
              <a:chOff x="842920" y="2458192"/>
              <a:chExt cx="514323" cy="516764"/>
            </a:xfrm>
          </p:grpSpPr>
          <p:sp>
            <p:nvSpPr>
              <p:cNvPr id="391" name="Freihandform: Form 277">
                <a:extLst>
                  <a:ext uri="{FF2B5EF4-FFF2-40B4-BE49-F238E27FC236}">
                    <a16:creationId xmlns:a16="http://schemas.microsoft.com/office/drawing/2014/main" id="{A9A6FFE4-B590-4281-B3C4-CEEAE01C8680}"/>
                  </a:ext>
                </a:extLst>
              </p:cNvPr>
              <p:cNvSpPr/>
              <p:nvPr/>
            </p:nvSpPr>
            <p:spPr>
              <a:xfrm>
                <a:off x="1090644" y="2458192"/>
                <a:ext cx="266599" cy="341501"/>
              </a:xfrm>
              <a:custGeom>
                <a:avLst/>
                <a:gdLst>
                  <a:gd name="connsiteX0" fmla="*/ 135973 w 266599"/>
                  <a:gd name="connsiteY0" fmla="*/ 31008 h 341501"/>
                  <a:gd name="connsiteX1" fmla="*/ 4735 w 266599"/>
                  <a:gd name="connsiteY1" fmla="*/ 187 h 341501"/>
                  <a:gd name="connsiteX2" fmla="*/ 1245 w 266599"/>
                  <a:gd name="connsiteY2" fmla="*/ 1834 h 341501"/>
                  <a:gd name="connsiteX3" fmla="*/ 17 w 266599"/>
                  <a:gd name="connsiteY3" fmla="*/ 5491 h 341501"/>
                  <a:gd name="connsiteX4" fmla="*/ 8085 w 266599"/>
                  <a:gd name="connsiteY4" fmla="*/ 114480 h 341501"/>
                  <a:gd name="connsiteX5" fmla="*/ 13026 w 266599"/>
                  <a:gd name="connsiteY5" fmla="*/ 119058 h 341501"/>
                  <a:gd name="connsiteX6" fmla="*/ 13082 w 266599"/>
                  <a:gd name="connsiteY6" fmla="*/ 119058 h 341501"/>
                  <a:gd name="connsiteX7" fmla="*/ 14450 w 266599"/>
                  <a:gd name="connsiteY7" fmla="*/ 119058 h 341501"/>
                  <a:gd name="connsiteX8" fmla="*/ 78492 w 266599"/>
                  <a:gd name="connsiteY8" fmla="*/ 135529 h 341501"/>
                  <a:gd name="connsiteX9" fmla="*/ 143846 w 266599"/>
                  <a:gd name="connsiteY9" fmla="*/ 281675 h 341501"/>
                  <a:gd name="connsiteX10" fmla="*/ 146274 w 266599"/>
                  <a:gd name="connsiteY10" fmla="*/ 287119 h 341501"/>
                  <a:gd name="connsiteX11" fmla="*/ 243984 w 266599"/>
                  <a:gd name="connsiteY11" fmla="*/ 340887 h 341501"/>
                  <a:gd name="connsiteX12" fmla="*/ 246357 w 266599"/>
                  <a:gd name="connsiteY12" fmla="*/ 341501 h 341501"/>
                  <a:gd name="connsiteX13" fmla="*/ 248088 w 266599"/>
                  <a:gd name="connsiteY13" fmla="*/ 341194 h 341501"/>
                  <a:gd name="connsiteX14" fmla="*/ 250991 w 266599"/>
                  <a:gd name="connsiteY14" fmla="*/ 338263 h 341501"/>
                  <a:gd name="connsiteX15" fmla="*/ 135973 w 266599"/>
                  <a:gd name="connsiteY15" fmla="*/ 31008 h 341501"/>
                  <a:gd name="connsiteX16" fmla="*/ 243593 w 266599"/>
                  <a:gd name="connsiteY16" fmla="*/ 329413 h 341501"/>
                  <a:gd name="connsiteX17" fmla="*/ 154203 w 266599"/>
                  <a:gd name="connsiteY17" fmla="*/ 280223 h 341501"/>
                  <a:gd name="connsiteX18" fmla="*/ 83210 w 266599"/>
                  <a:gd name="connsiteY18" fmla="*/ 126847 h 341501"/>
                  <a:gd name="connsiteX19" fmla="*/ 17577 w 266599"/>
                  <a:gd name="connsiteY19" fmla="*/ 109203 h 341501"/>
                  <a:gd name="connsiteX20" fmla="*/ 10235 w 266599"/>
                  <a:gd name="connsiteY20" fmla="*/ 9902 h 341501"/>
                  <a:gd name="connsiteX21" fmla="*/ 131199 w 266599"/>
                  <a:gd name="connsiteY21" fmla="*/ 39662 h 341501"/>
                  <a:gd name="connsiteX22" fmla="*/ 243593 w 266599"/>
                  <a:gd name="connsiteY22" fmla="*/ 329413 h 34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66599" h="341501">
                    <a:moveTo>
                      <a:pt x="135973" y="31008"/>
                    </a:moveTo>
                    <a:cubicBezTo>
                      <a:pt x="96191" y="9093"/>
                      <a:pt x="50379" y="-1572"/>
                      <a:pt x="4735" y="187"/>
                    </a:cubicBezTo>
                    <a:cubicBezTo>
                      <a:pt x="3395" y="243"/>
                      <a:pt x="2139" y="829"/>
                      <a:pt x="1245" y="1834"/>
                    </a:cubicBezTo>
                    <a:cubicBezTo>
                      <a:pt x="352" y="2839"/>
                      <a:pt x="-95" y="4151"/>
                      <a:pt x="17" y="5491"/>
                    </a:cubicBezTo>
                    <a:lnTo>
                      <a:pt x="8085" y="114480"/>
                    </a:lnTo>
                    <a:cubicBezTo>
                      <a:pt x="8280" y="117076"/>
                      <a:pt x="10430" y="119058"/>
                      <a:pt x="13026" y="119058"/>
                    </a:cubicBezTo>
                    <a:cubicBezTo>
                      <a:pt x="13054" y="119058"/>
                      <a:pt x="13054" y="119058"/>
                      <a:pt x="13082" y="119058"/>
                    </a:cubicBezTo>
                    <a:lnTo>
                      <a:pt x="14450" y="119058"/>
                    </a:lnTo>
                    <a:cubicBezTo>
                      <a:pt x="36812" y="119058"/>
                      <a:pt x="58950" y="124753"/>
                      <a:pt x="78492" y="135529"/>
                    </a:cubicBezTo>
                    <a:cubicBezTo>
                      <a:pt x="130250" y="163949"/>
                      <a:pt x="157106" y="224026"/>
                      <a:pt x="143846" y="281675"/>
                    </a:cubicBezTo>
                    <a:cubicBezTo>
                      <a:pt x="143343" y="283825"/>
                      <a:pt x="144348" y="286058"/>
                      <a:pt x="146274" y="287119"/>
                    </a:cubicBezTo>
                    <a:lnTo>
                      <a:pt x="243984" y="340887"/>
                    </a:lnTo>
                    <a:cubicBezTo>
                      <a:pt x="244738" y="341306"/>
                      <a:pt x="245548" y="341501"/>
                      <a:pt x="246357" y="341501"/>
                    </a:cubicBezTo>
                    <a:cubicBezTo>
                      <a:pt x="246943" y="341501"/>
                      <a:pt x="247530" y="341390"/>
                      <a:pt x="248088" y="341194"/>
                    </a:cubicBezTo>
                    <a:cubicBezTo>
                      <a:pt x="249428" y="340692"/>
                      <a:pt x="250489" y="339631"/>
                      <a:pt x="250991" y="338263"/>
                    </a:cubicBezTo>
                    <a:cubicBezTo>
                      <a:pt x="294012" y="220592"/>
                      <a:pt x="245659" y="91364"/>
                      <a:pt x="135973" y="31008"/>
                    </a:cubicBezTo>
                    <a:close/>
                    <a:moveTo>
                      <a:pt x="243593" y="329413"/>
                    </a:moveTo>
                    <a:lnTo>
                      <a:pt x="154203" y="280223"/>
                    </a:lnTo>
                    <a:cubicBezTo>
                      <a:pt x="166514" y="219420"/>
                      <a:pt x="137704" y="156774"/>
                      <a:pt x="83210" y="126847"/>
                    </a:cubicBezTo>
                    <a:cubicBezTo>
                      <a:pt x="63137" y="115792"/>
                      <a:pt x="40525" y="109706"/>
                      <a:pt x="17577" y="109203"/>
                    </a:cubicBezTo>
                    <a:lnTo>
                      <a:pt x="10235" y="9902"/>
                    </a:lnTo>
                    <a:cubicBezTo>
                      <a:pt x="52445" y="9093"/>
                      <a:pt x="94488" y="19422"/>
                      <a:pt x="131199" y="39662"/>
                    </a:cubicBezTo>
                    <a:cubicBezTo>
                      <a:pt x="234883" y="96724"/>
                      <a:pt x="281533" y="217856"/>
                      <a:pt x="243593" y="329413"/>
                    </a:cubicBezTo>
                    <a:close/>
                  </a:path>
                </a:pathLst>
              </a:custGeom>
              <a:solidFill>
                <a:schemeClr val="accent1"/>
              </a:solidFill>
              <a:ln w="2790" cap="flat">
                <a:noFill/>
                <a:prstDash val="solid"/>
                <a:miter/>
              </a:ln>
            </p:spPr>
            <p:txBody>
              <a:bodyPr rtlCol="0" anchor="ctr"/>
              <a:lstStyle/>
              <a:p>
                <a:endParaRPr lang="en-GB" dirty="0"/>
              </a:p>
            </p:txBody>
          </p:sp>
          <p:sp>
            <p:nvSpPr>
              <p:cNvPr id="392" name="Freihandform: Form 278">
                <a:extLst>
                  <a:ext uri="{FF2B5EF4-FFF2-40B4-BE49-F238E27FC236}">
                    <a16:creationId xmlns:a16="http://schemas.microsoft.com/office/drawing/2014/main" id="{4FAE712E-0F0F-4E0C-B28E-3B65271D4337}"/>
                  </a:ext>
                </a:extLst>
              </p:cNvPr>
              <p:cNvSpPr/>
              <p:nvPr/>
            </p:nvSpPr>
            <p:spPr>
              <a:xfrm>
                <a:off x="842920" y="2500243"/>
                <a:ext cx="443906" cy="474713"/>
              </a:xfrm>
              <a:custGeom>
                <a:avLst/>
                <a:gdLst>
                  <a:gd name="connsiteX0" fmla="*/ 441346 w 443906"/>
                  <a:gd name="connsiteY0" fmla="*/ 325357 h 474713"/>
                  <a:gd name="connsiteX1" fmla="*/ 352793 w 443906"/>
                  <a:gd name="connsiteY1" fmla="*/ 276670 h 474713"/>
                  <a:gd name="connsiteX2" fmla="*/ 348801 w 443906"/>
                  <a:gd name="connsiteY2" fmla="*/ 276335 h 474713"/>
                  <a:gd name="connsiteX3" fmla="*/ 345869 w 443906"/>
                  <a:gd name="connsiteY3" fmla="*/ 279071 h 474713"/>
                  <a:gd name="connsiteX4" fmla="*/ 340565 w 443906"/>
                  <a:gd name="connsiteY4" fmla="*/ 289959 h 474713"/>
                  <a:gd name="connsiteX5" fmla="*/ 233252 w 443906"/>
                  <a:gd name="connsiteY5" fmla="*/ 353358 h 474713"/>
                  <a:gd name="connsiteX6" fmla="*/ 233252 w 443906"/>
                  <a:gd name="connsiteY6" fmla="*/ 353358 h 474713"/>
                  <a:gd name="connsiteX7" fmla="*/ 174431 w 443906"/>
                  <a:gd name="connsiteY7" fmla="*/ 338171 h 474713"/>
                  <a:gd name="connsiteX8" fmla="*/ 115861 w 443906"/>
                  <a:gd name="connsiteY8" fmla="*/ 265084 h 474713"/>
                  <a:gd name="connsiteX9" fmla="*/ 126190 w 443906"/>
                  <a:gd name="connsiteY9" fmla="*/ 171981 h 474713"/>
                  <a:gd name="connsiteX10" fmla="*/ 211058 w 443906"/>
                  <a:gd name="connsiteY10" fmla="*/ 110675 h 474713"/>
                  <a:gd name="connsiteX11" fmla="*/ 215078 w 443906"/>
                  <a:gd name="connsiteY11" fmla="*/ 105455 h 474713"/>
                  <a:gd name="connsiteX12" fmla="*/ 207652 w 443906"/>
                  <a:gd name="connsiteY12" fmla="*/ 4590 h 474713"/>
                  <a:gd name="connsiteX13" fmla="*/ 205837 w 443906"/>
                  <a:gd name="connsiteY13" fmla="*/ 1101 h 474713"/>
                  <a:gd name="connsiteX14" fmla="*/ 202068 w 443906"/>
                  <a:gd name="connsiteY14" fmla="*/ 40 h 474713"/>
                  <a:gd name="connsiteX15" fmla="*/ 28983 w 443906"/>
                  <a:gd name="connsiteY15" fmla="*/ 118548 h 474713"/>
                  <a:gd name="connsiteX16" fmla="*/ 9357 w 443906"/>
                  <a:gd name="connsiteY16" fmla="*/ 295989 h 474713"/>
                  <a:gd name="connsiteX17" fmla="*/ 120997 w 443906"/>
                  <a:gd name="connsiteY17" fmla="*/ 435407 h 474713"/>
                  <a:gd name="connsiteX18" fmla="*/ 233140 w 443906"/>
                  <a:gd name="connsiteY18" fmla="*/ 464273 h 474713"/>
                  <a:gd name="connsiteX19" fmla="*/ 339365 w 443906"/>
                  <a:gd name="connsiteY19" fmla="*/ 438784 h 474713"/>
                  <a:gd name="connsiteX20" fmla="*/ 434031 w 443906"/>
                  <a:gd name="connsiteY20" fmla="*/ 474407 h 474713"/>
                  <a:gd name="connsiteX21" fmla="*/ 435762 w 443906"/>
                  <a:gd name="connsiteY21" fmla="*/ 474714 h 474713"/>
                  <a:gd name="connsiteX22" fmla="*/ 439168 w 443906"/>
                  <a:gd name="connsiteY22" fmla="*/ 473346 h 474713"/>
                  <a:gd name="connsiteX23" fmla="*/ 440452 w 443906"/>
                  <a:gd name="connsiteY23" fmla="*/ 468237 h 474713"/>
                  <a:gd name="connsiteX24" fmla="*/ 411921 w 443906"/>
                  <a:gd name="connsiteY24" fmla="*/ 381136 h 474713"/>
                  <a:gd name="connsiteX25" fmla="*/ 437716 w 443906"/>
                  <a:gd name="connsiteY25" fmla="*/ 343476 h 474713"/>
                  <a:gd name="connsiteX26" fmla="*/ 442546 w 443906"/>
                  <a:gd name="connsiteY26" fmla="*/ 333733 h 474713"/>
                  <a:gd name="connsiteX27" fmla="*/ 443467 w 443906"/>
                  <a:gd name="connsiteY27" fmla="*/ 331750 h 474713"/>
                  <a:gd name="connsiteX28" fmla="*/ 441346 w 443906"/>
                  <a:gd name="connsiteY28" fmla="*/ 325357 h 474713"/>
                  <a:gd name="connsiteX29" fmla="*/ 429006 w 443906"/>
                  <a:gd name="connsiteY29" fmla="*/ 338758 h 474713"/>
                  <a:gd name="connsiteX30" fmla="*/ 402569 w 443906"/>
                  <a:gd name="connsiteY30" fmla="*/ 376892 h 474713"/>
                  <a:gd name="connsiteX31" fmla="*/ 401620 w 443906"/>
                  <a:gd name="connsiteY31" fmla="*/ 381638 h 474713"/>
                  <a:gd name="connsiteX32" fmla="*/ 427806 w 443906"/>
                  <a:gd name="connsiteY32" fmla="*/ 461593 h 474713"/>
                  <a:gd name="connsiteX33" fmla="*/ 340733 w 443906"/>
                  <a:gd name="connsiteY33" fmla="*/ 428846 h 474713"/>
                  <a:gd name="connsiteX34" fmla="*/ 339002 w 443906"/>
                  <a:gd name="connsiteY34" fmla="*/ 428539 h 474713"/>
                  <a:gd name="connsiteX35" fmla="*/ 336713 w 443906"/>
                  <a:gd name="connsiteY35" fmla="*/ 429097 h 474713"/>
                  <a:gd name="connsiteX36" fmla="*/ 233084 w 443906"/>
                  <a:gd name="connsiteY36" fmla="*/ 454474 h 474713"/>
                  <a:gd name="connsiteX37" fmla="*/ 125687 w 443906"/>
                  <a:gd name="connsiteY37" fmla="*/ 426808 h 474713"/>
                  <a:gd name="connsiteX38" fmla="*/ 18793 w 443906"/>
                  <a:gd name="connsiteY38" fmla="*/ 293281 h 474713"/>
                  <a:gd name="connsiteX39" fmla="*/ 37581 w 443906"/>
                  <a:gd name="connsiteY39" fmla="*/ 123350 h 474713"/>
                  <a:gd name="connsiteX40" fmla="*/ 198132 w 443906"/>
                  <a:gd name="connsiteY40" fmla="*/ 10648 h 474713"/>
                  <a:gd name="connsiteX41" fmla="*/ 204860 w 443906"/>
                  <a:gd name="connsiteY41" fmla="*/ 101853 h 474713"/>
                  <a:gd name="connsiteX42" fmla="*/ 117508 w 443906"/>
                  <a:gd name="connsiteY42" fmla="*/ 167207 h 474713"/>
                  <a:gd name="connsiteX43" fmla="*/ 106369 w 443906"/>
                  <a:gd name="connsiteY43" fmla="*/ 267820 h 474713"/>
                  <a:gd name="connsiteX44" fmla="*/ 169657 w 443906"/>
                  <a:gd name="connsiteY44" fmla="*/ 346826 h 474713"/>
                  <a:gd name="connsiteX45" fmla="*/ 233224 w 443906"/>
                  <a:gd name="connsiteY45" fmla="*/ 363241 h 474713"/>
                  <a:gd name="connsiteX46" fmla="*/ 233224 w 443906"/>
                  <a:gd name="connsiteY46" fmla="*/ 363241 h 474713"/>
                  <a:gd name="connsiteX47" fmla="*/ 349191 w 443906"/>
                  <a:gd name="connsiteY47" fmla="*/ 294732 h 474713"/>
                  <a:gd name="connsiteX48" fmla="*/ 352709 w 443906"/>
                  <a:gd name="connsiteY48" fmla="*/ 287893 h 474713"/>
                  <a:gd name="connsiteX49" fmla="*/ 432524 w 443906"/>
                  <a:gd name="connsiteY49" fmla="*/ 331778 h 474713"/>
                  <a:gd name="connsiteX50" fmla="*/ 429006 w 443906"/>
                  <a:gd name="connsiteY50" fmla="*/ 338758 h 47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443906" h="474713">
                    <a:moveTo>
                      <a:pt x="441346" y="325357"/>
                    </a:moveTo>
                    <a:lnTo>
                      <a:pt x="352793" y="276670"/>
                    </a:lnTo>
                    <a:cubicBezTo>
                      <a:pt x="351564" y="276000"/>
                      <a:pt x="350113" y="275888"/>
                      <a:pt x="348801" y="276335"/>
                    </a:cubicBezTo>
                    <a:cubicBezTo>
                      <a:pt x="347488" y="276782"/>
                      <a:pt x="346400" y="277787"/>
                      <a:pt x="345869" y="279071"/>
                    </a:cubicBezTo>
                    <a:cubicBezTo>
                      <a:pt x="344278" y="282784"/>
                      <a:pt x="342519" y="286441"/>
                      <a:pt x="340565" y="289959"/>
                    </a:cubicBezTo>
                    <a:cubicBezTo>
                      <a:pt x="319013" y="329070"/>
                      <a:pt x="277891" y="353358"/>
                      <a:pt x="233252" y="353358"/>
                    </a:cubicBezTo>
                    <a:lnTo>
                      <a:pt x="233252" y="353358"/>
                    </a:lnTo>
                    <a:cubicBezTo>
                      <a:pt x="212817" y="353358"/>
                      <a:pt x="192465" y="348110"/>
                      <a:pt x="174431" y="338171"/>
                    </a:cubicBezTo>
                    <a:cubicBezTo>
                      <a:pt x="145788" y="322426"/>
                      <a:pt x="124989" y="296463"/>
                      <a:pt x="115861" y="265084"/>
                    </a:cubicBezTo>
                    <a:cubicBezTo>
                      <a:pt x="106732" y="233678"/>
                      <a:pt x="110417" y="200624"/>
                      <a:pt x="126190" y="171981"/>
                    </a:cubicBezTo>
                    <a:cubicBezTo>
                      <a:pt x="143973" y="139793"/>
                      <a:pt x="174905" y="117459"/>
                      <a:pt x="211058" y="110675"/>
                    </a:cubicBezTo>
                    <a:cubicBezTo>
                      <a:pt x="213542" y="110201"/>
                      <a:pt x="215273" y="107967"/>
                      <a:pt x="215078" y="105455"/>
                    </a:cubicBezTo>
                    <a:lnTo>
                      <a:pt x="207652" y="4590"/>
                    </a:lnTo>
                    <a:cubicBezTo>
                      <a:pt x="207540" y="3222"/>
                      <a:pt x="206898" y="1966"/>
                      <a:pt x="205837" y="1101"/>
                    </a:cubicBezTo>
                    <a:cubicBezTo>
                      <a:pt x="204776" y="235"/>
                      <a:pt x="203408" y="-128"/>
                      <a:pt x="202068" y="40"/>
                    </a:cubicBezTo>
                    <a:cubicBezTo>
                      <a:pt x="127921" y="10229"/>
                      <a:pt x="64828" y="53417"/>
                      <a:pt x="28983" y="118548"/>
                    </a:cubicBezTo>
                    <a:cubicBezTo>
                      <a:pt x="-1056" y="173126"/>
                      <a:pt x="-8007" y="236134"/>
                      <a:pt x="9357" y="295989"/>
                    </a:cubicBezTo>
                    <a:cubicBezTo>
                      <a:pt x="26721" y="355871"/>
                      <a:pt x="66391" y="405368"/>
                      <a:pt x="120997" y="435407"/>
                    </a:cubicBezTo>
                    <a:cubicBezTo>
                      <a:pt x="155363" y="454306"/>
                      <a:pt x="194140" y="464273"/>
                      <a:pt x="233140" y="464273"/>
                    </a:cubicBezTo>
                    <a:cubicBezTo>
                      <a:pt x="269879" y="464273"/>
                      <a:pt x="306562" y="455479"/>
                      <a:pt x="339365" y="438784"/>
                    </a:cubicBezTo>
                    <a:lnTo>
                      <a:pt x="434031" y="474407"/>
                    </a:lnTo>
                    <a:cubicBezTo>
                      <a:pt x="434590" y="474630"/>
                      <a:pt x="435176" y="474714"/>
                      <a:pt x="435762" y="474714"/>
                    </a:cubicBezTo>
                    <a:cubicBezTo>
                      <a:pt x="437019" y="474714"/>
                      <a:pt x="438247" y="474239"/>
                      <a:pt x="439168" y="473346"/>
                    </a:cubicBezTo>
                    <a:cubicBezTo>
                      <a:pt x="440536" y="472034"/>
                      <a:pt x="441039" y="470052"/>
                      <a:pt x="440452" y="468237"/>
                    </a:cubicBezTo>
                    <a:lnTo>
                      <a:pt x="411921" y="381136"/>
                    </a:lnTo>
                    <a:cubicBezTo>
                      <a:pt x="421720" y="369466"/>
                      <a:pt x="430374" y="356792"/>
                      <a:pt x="437716" y="343476"/>
                    </a:cubicBezTo>
                    <a:cubicBezTo>
                      <a:pt x="439531" y="340209"/>
                      <a:pt x="441039" y="336999"/>
                      <a:pt x="442546" y="333733"/>
                    </a:cubicBezTo>
                    <a:lnTo>
                      <a:pt x="443467" y="331750"/>
                    </a:lnTo>
                    <a:cubicBezTo>
                      <a:pt x="444528" y="329433"/>
                      <a:pt x="443607" y="326614"/>
                      <a:pt x="441346" y="325357"/>
                    </a:cubicBezTo>
                    <a:close/>
                    <a:moveTo>
                      <a:pt x="429006" y="338758"/>
                    </a:moveTo>
                    <a:cubicBezTo>
                      <a:pt x="421552" y="352297"/>
                      <a:pt x="412647" y="365139"/>
                      <a:pt x="402569" y="376892"/>
                    </a:cubicBezTo>
                    <a:cubicBezTo>
                      <a:pt x="401452" y="378204"/>
                      <a:pt x="401089" y="380019"/>
                      <a:pt x="401620" y="381638"/>
                    </a:cubicBezTo>
                    <a:lnTo>
                      <a:pt x="427806" y="461593"/>
                    </a:lnTo>
                    <a:lnTo>
                      <a:pt x="340733" y="428846"/>
                    </a:lnTo>
                    <a:cubicBezTo>
                      <a:pt x="340174" y="428623"/>
                      <a:pt x="339588" y="428539"/>
                      <a:pt x="339002" y="428539"/>
                    </a:cubicBezTo>
                    <a:cubicBezTo>
                      <a:pt x="338220" y="428539"/>
                      <a:pt x="337438" y="428734"/>
                      <a:pt x="336713" y="429097"/>
                    </a:cubicBezTo>
                    <a:cubicBezTo>
                      <a:pt x="304831" y="445708"/>
                      <a:pt x="268986" y="454474"/>
                      <a:pt x="233084" y="454474"/>
                    </a:cubicBezTo>
                    <a:cubicBezTo>
                      <a:pt x="195759" y="454474"/>
                      <a:pt x="158602" y="444898"/>
                      <a:pt x="125687" y="426808"/>
                    </a:cubicBezTo>
                    <a:cubicBezTo>
                      <a:pt x="73399" y="398053"/>
                      <a:pt x="35431" y="350622"/>
                      <a:pt x="18793" y="293281"/>
                    </a:cubicBezTo>
                    <a:cubicBezTo>
                      <a:pt x="2154" y="235967"/>
                      <a:pt x="8826" y="175610"/>
                      <a:pt x="37581" y="123350"/>
                    </a:cubicBezTo>
                    <a:cubicBezTo>
                      <a:pt x="71054" y="62518"/>
                      <a:pt x="129372" y="21676"/>
                      <a:pt x="198132" y="10648"/>
                    </a:cubicBezTo>
                    <a:lnTo>
                      <a:pt x="204860" y="101853"/>
                    </a:lnTo>
                    <a:cubicBezTo>
                      <a:pt x="167647" y="110117"/>
                      <a:pt x="135989" y="133735"/>
                      <a:pt x="117508" y="167207"/>
                    </a:cubicBezTo>
                    <a:cubicBezTo>
                      <a:pt x="100450" y="198167"/>
                      <a:pt x="96486" y="233901"/>
                      <a:pt x="106369" y="267820"/>
                    </a:cubicBezTo>
                    <a:cubicBezTo>
                      <a:pt x="116223" y="301740"/>
                      <a:pt x="138697" y="329796"/>
                      <a:pt x="169657" y="346826"/>
                    </a:cubicBezTo>
                    <a:cubicBezTo>
                      <a:pt x="189143" y="357574"/>
                      <a:pt x="211114" y="363241"/>
                      <a:pt x="233224" y="363241"/>
                    </a:cubicBezTo>
                    <a:cubicBezTo>
                      <a:pt x="233224" y="363241"/>
                      <a:pt x="233224" y="363241"/>
                      <a:pt x="233224" y="363241"/>
                    </a:cubicBezTo>
                    <a:cubicBezTo>
                      <a:pt x="281465" y="363241"/>
                      <a:pt x="325909" y="336971"/>
                      <a:pt x="349191" y="294732"/>
                    </a:cubicBezTo>
                    <a:cubicBezTo>
                      <a:pt x="350420" y="292499"/>
                      <a:pt x="351592" y="290238"/>
                      <a:pt x="352709" y="287893"/>
                    </a:cubicBezTo>
                    <a:lnTo>
                      <a:pt x="432524" y="331778"/>
                    </a:lnTo>
                    <a:cubicBezTo>
                      <a:pt x="431435" y="334123"/>
                      <a:pt x="430318" y="336413"/>
                      <a:pt x="429006" y="338758"/>
                    </a:cubicBezTo>
                    <a:close/>
                  </a:path>
                </a:pathLst>
              </a:custGeom>
              <a:solidFill>
                <a:schemeClr val="accent1"/>
              </a:solidFill>
              <a:ln w="2790" cap="flat">
                <a:noFill/>
                <a:prstDash val="solid"/>
                <a:miter/>
              </a:ln>
            </p:spPr>
            <p:txBody>
              <a:bodyPr rtlCol="0" anchor="ctr"/>
              <a:lstStyle/>
              <a:p>
                <a:endParaRPr lang="en-GB" dirty="0"/>
              </a:p>
            </p:txBody>
          </p:sp>
        </p:grpSp>
      </p:grpSp>
      <p:grpSp>
        <p:nvGrpSpPr>
          <p:cNvPr id="393" name="Group 392">
            <a:extLst>
              <a:ext uri="{FF2B5EF4-FFF2-40B4-BE49-F238E27FC236}">
                <a16:creationId xmlns:a16="http://schemas.microsoft.com/office/drawing/2014/main" id="{23311BBB-1B9F-4A1C-B689-77165409AF49}"/>
              </a:ext>
            </a:extLst>
          </p:cNvPr>
          <p:cNvGrpSpPr>
            <a:grpSpLocks noChangeAspect="1"/>
          </p:cNvGrpSpPr>
          <p:nvPr/>
        </p:nvGrpSpPr>
        <p:grpSpPr>
          <a:xfrm>
            <a:off x="7139078" y="2391522"/>
            <a:ext cx="320913" cy="432004"/>
            <a:chOff x="1678546" y="3221046"/>
            <a:chExt cx="470137" cy="632887"/>
          </a:xfrm>
        </p:grpSpPr>
        <p:grpSp>
          <p:nvGrpSpPr>
            <p:cNvPr id="394" name="Group 393">
              <a:extLst>
                <a:ext uri="{FF2B5EF4-FFF2-40B4-BE49-F238E27FC236}">
                  <a16:creationId xmlns:a16="http://schemas.microsoft.com/office/drawing/2014/main" id="{51CF47AB-ADD4-4B59-9456-29E7DDFEC356}"/>
                </a:ext>
              </a:extLst>
            </p:cNvPr>
            <p:cNvGrpSpPr/>
            <p:nvPr/>
          </p:nvGrpSpPr>
          <p:grpSpPr>
            <a:xfrm>
              <a:off x="1719521" y="3426104"/>
              <a:ext cx="413534" cy="427829"/>
              <a:chOff x="1719520" y="3426097"/>
              <a:chExt cx="413534" cy="427829"/>
            </a:xfrm>
          </p:grpSpPr>
          <p:sp>
            <p:nvSpPr>
              <p:cNvPr id="417" name="Freihandform: Form 332">
                <a:extLst>
                  <a:ext uri="{FF2B5EF4-FFF2-40B4-BE49-F238E27FC236}">
                    <a16:creationId xmlns:a16="http://schemas.microsoft.com/office/drawing/2014/main" id="{619F7FA9-26AC-4C65-BC72-0AEA62C7B027}"/>
                  </a:ext>
                </a:extLst>
              </p:cNvPr>
              <p:cNvSpPr/>
              <p:nvPr/>
            </p:nvSpPr>
            <p:spPr>
              <a:xfrm>
                <a:off x="1984283" y="3456320"/>
                <a:ext cx="148771" cy="397606"/>
              </a:xfrm>
              <a:custGeom>
                <a:avLst/>
                <a:gdLst>
                  <a:gd name="connsiteX0" fmla="*/ 115720 w 148771"/>
                  <a:gd name="connsiteY0" fmla="*/ 109948 h 397606"/>
                  <a:gd name="connsiteX1" fmla="*/ 104888 w 148771"/>
                  <a:gd name="connsiteY1" fmla="*/ 87978 h 397606"/>
                  <a:gd name="connsiteX2" fmla="*/ 106535 w 148771"/>
                  <a:gd name="connsiteY2" fmla="*/ 86414 h 397606"/>
                  <a:gd name="connsiteX3" fmla="*/ 107261 w 148771"/>
                  <a:gd name="connsiteY3" fmla="*/ 85996 h 397606"/>
                  <a:gd name="connsiteX4" fmla="*/ 114854 w 148771"/>
                  <a:gd name="connsiteY4" fmla="*/ 57325 h 397606"/>
                  <a:gd name="connsiteX5" fmla="*/ 114268 w 148771"/>
                  <a:gd name="connsiteY5" fmla="*/ 54338 h 397606"/>
                  <a:gd name="connsiteX6" fmla="*/ 105670 w 148771"/>
                  <a:gd name="connsiteY6" fmla="*/ 3556 h 397606"/>
                  <a:gd name="connsiteX7" fmla="*/ 99528 w 148771"/>
                  <a:gd name="connsiteY7" fmla="*/ 206 h 397606"/>
                  <a:gd name="connsiteX8" fmla="*/ 96178 w 148771"/>
                  <a:gd name="connsiteY8" fmla="*/ 6320 h 397606"/>
                  <a:gd name="connsiteX9" fmla="*/ 104469 w 148771"/>
                  <a:gd name="connsiteY9" fmla="*/ 55426 h 397606"/>
                  <a:gd name="connsiteX10" fmla="*/ 105167 w 148771"/>
                  <a:gd name="connsiteY10" fmla="*/ 59223 h 397606"/>
                  <a:gd name="connsiteX11" fmla="*/ 102068 w 148771"/>
                  <a:gd name="connsiteY11" fmla="*/ 77593 h 397606"/>
                  <a:gd name="connsiteX12" fmla="*/ 95285 w 148771"/>
                  <a:gd name="connsiteY12" fmla="*/ 85744 h 397606"/>
                  <a:gd name="connsiteX13" fmla="*/ 107680 w 148771"/>
                  <a:gd name="connsiteY13" fmla="*/ 115644 h 397606"/>
                  <a:gd name="connsiteX14" fmla="*/ 117702 w 148771"/>
                  <a:gd name="connsiteY14" fmla="*/ 129574 h 397606"/>
                  <a:gd name="connsiteX15" fmla="*/ 138528 w 148771"/>
                  <a:gd name="connsiteY15" fmla="*/ 167541 h 397606"/>
                  <a:gd name="connsiteX16" fmla="*/ 122197 w 148771"/>
                  <a:gd name="connsiteY16" fmla="*/ 173404 h 397606"/>
                  <a:gd name="connsiteX17" fmla="*/ 117479 w 148771"/>
                  <a:gd name="connsiteY17" fmla="*/ 174939 h 397606"/>
                  <a:gd name="connsiteX18" fmla="*/ 116725 w 148771"/>
                  <a:gd name="connsiteY18" fmla="*/ 175274 h 397606"/>
                  <a:gd name="connsiteX19" fmla="*/ 112761 w 148771"/>
                  <a:gd name="connsiteY19" fmla="*/ 209556 h 397606"/>
                  <a:gd name="connsiteX20" fmla="*/ 113151 w 148771"/>
                  <a:gd name="connsiteY20" fmla="*/ 210226 h 397606"/>
                  <a:gd name="connsiteX21" fmla="*/ 114408 w 148771"/>
                  <a:gd name="connsiteY21" fmla="*/ 212097 h 397606"/>
                  <a:gd name="connsiteX22" fmla="*/ 109662 w 148771"/>
                  <a:gd name="connsiteY22" fmla="*/ 217569 h 397606"/>
                  <a:gd name="connsiteX23" fmla="*/ 109103 w 148771"/>
                  <a:gd name="connsiteY23" fmla="*/ 230131 h 397606"/>
                  <a:gd name="connsiteX24" fmla="*/ 105642 w 148771"/>
                  <a:gd name="connsiteY24" fmla="*/ 240880 h 397606"/>
                  <a:gd name="connsiteX25" fmla="*/ 104497 w 148771"/>
                  <a:gd name="connsiteY25" fmla="*/ 245067 h 397606"/>
                  <a:gd name="connsiteX26" fmla="*/ 99667 w 148771"/>
                  <a:gd name="connsiteY26" fmla="*/ 279349 h 397606"/>
                  <a:gd name="connsiteX27" fmla="*/ 87998 w 148771"/>
                  <a:gd name="connsiteY27" fmla="*/ 285770 h 397606"/>
                  <a:gd name="connsiteX28" fmla="*/ 86937 w 148771"/>
                  <a:gd name="connsiteY28" fmla="*/ 285882 h 397606"/>
                  <a:gd name="connsiteX29" fmla="*/ 311 w 148771"/>
                  <a:gd name="connsiteY29" fmla="*/ 392944 h 397606"/>
                  <a:gd name="connsiteX30" fmla="*/ 5252 w 148771"/>
                  <a:gd name="connsiteY30" fmla="*/ 397606 h 397606"/>
                  <a:gd name="connsiteX31" fmla="*/ 5531 w 148771"/>
                  <a:gd name="connsiteY31" fmla="*/ 397606 h 397606"/>
                  <a:gd name="connsiteX32" fmla="*/ 10193 w 148771"/>
                  <a:gd name="connsiteY32" fmla="*/ 392413 h 397606"/>
                  <a:gd name="connsiteX33" fmla="*/ 87970 w 148771"/>
                  <a:gd name="connsiteY33" fmla="*/ 295736 h 397606"/>
                  <a:gd name="connsiteX34" fmla="*/ 89031 w 148771"/>
                  <a:gd name="connsiteY34" fmla="*/ 295625 h 397606"/>
                  <a:gd name="connsiteX35" fmla="*/ 107596 w 148771"/>
                  <a:gd name="connsiteY35" fmla="*/ 285240 h 397606"/>
                  <a:gd name="connsiteX36" fmla="*/ 114575 w 148771"/>
                  <a:gd name="connsiteY36" fmla="*/ 245598 h 397606"/>
                  <a:gd name="connsiteX37" fmla="*/ 117255 w 148771"/>
                  <a:gd name="connsiteY37" fmla="*/ 224548 h 397606"/>
                  <a:gd name="connsiteX38" fmla="*/ 117004 w 148771"/>
                  <a:gd name="connsiteY38" fmla="*/ 224185 h 397606"/>
                  <a:gd name="connsiteX39" fmla="*/ 121415 w 148771"/>
                  <a:gd name="connsiteY39" fmla="*/ 204811 h 397606"/>
                  <a:gd name="connsiteX40" fmla="*/ 121024 w 148771"/>
                  <a:gd name="connsiteY40" fmla="*/ 184180 h 397606"/>
                  <a:gd name="connsiteX41" fmla="*/ 125212 w 148771"/>
                  <a:gd name="connsiteY41" fmla="*/ 182840 h 397606"/>
                  <a:gd name="connsiteX42" fmla="*/ 143860 w 148771"/>
                  <a:gd name="connsiteY42" fmla="*/ 175944 h 397606"/>
                  <a:gd name="connsiteX43" fmla="*/ 144893 w 148771"/>
                  <a:gd name="connsiteY43" fmla="*/ 175219 h 397606"/>
                  <a:gd name="connsiteX44" fmla="*/ 125630 w 148771"/>
                  <a:gd name="connsiteY44" fmla="*/ 123712 h 397606"/>
                  <a:gd name="connsiteX45" fmla="*/ 115720 w 148771"/>
                  <a:gd name="connsiteY45" fmla="*/ 109948 h 397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48771" h="397606">
                    <a:moveTo>
                      <a:pt x="115720" y="109948"/>
                    </a:moveTo>
                    <a:cubicBezTo>
                      <a:pt x="104441" y="94929"/>
                      <a:pt x="104581" y="89346"/>
                      <a:pt x="104888" y="87978"/>
                    </a:cubicBezTo>
                    <a:cubicBezTo>
                      <a:pt x="105056" y="87252"/>
                      <a:pt x="105391" y="87001"/>
                      <a:pt x="106535" y="86414"/>
                    </a:cubicBezTo>
                    <a:cubicBezTo>
                      <a:pt x="106703" y="86331"/>
                      <a:pt x="107121" y="86107"/>
                      <a:pt x="107261" y="85996"/>
                    </a:cubicBezTo>
                    <a:cubicBezTo>
                      <a:pt x="118986" y="78318"/>
                      <a:pt x="116501" y="65700"/>
                      <a:pt x="114854" y="57325"/>
                    </a:cubicBezTo>
                    <a:cubicBezTo>
                      <a:pt x="114603" y="56124"/>
                      <a:pt x="114380" y="54952"/>
                      <a:pt x="114268" y="54338"/>
                    </a:cubicBezTo>
                    <a:cubicBezTo>
                      <a:pt x="113096" y="36164"/>
                      <a:pt x="110192" y="19078"/>
                      <a:pt x="105670" y="3556"/>
                    </a:cubicBezTo>
                    <a:cubicBezTo>
                      <a:pt x="104888" y="932"/>
                      <a:pt x="102152" y="-575"/>
                      <a:pt x="99528" y="206"/>
                    </a:cubicBezTo>
                    <a:cubicBezTo>
                      <a:pt x="96904" y="960"/>
                      <a:pt x="95396" y="3724"/>
                      <a:pt x="96178" y="6320"/>
                    </a:cubicBezTo>
                    <a:cubicBezTo>
                      <a:pt x="100505" y="21144"/>
                      <a:pt x="103269" y="37504"/>
                      <a:pt x="104469" y="55426"/>
                    </a:cubicBezTo>
                    <a:cubicBezTo>
                      <a:pt x="104665" y="56627"/>
                      <a:pt x="104916" y="57911"/>
                      <a:pt x="105167" y="59223"/>
                    </a:cubicBezTo>
                    <a:cubicBezTo>
                      <a:pt x="106870" y="67961"/>
                      <a:pt x="107568" y="73991"/>
                      <a:pt x="102068" y="77593"/>
                    </a:cubicBezTo>
                    <a:cubicBezTo>
                      <a:pt x="100533" y="78374"/>
                      <a:pt x="96513" y="80412"/>
                      <a:pt x="95285" y="85744"/>
                    </a:cubicBezTo>
                    <a:cubicBezTo>
                      <a:pt x="93665" y="92752"/>
                      <a:pt x="97657" y="102327"/>
                      <a:pt x="107680" y="115644"/>
                    </a:cubicBezTo>
                    <a:cubicBezTo>
                      <a:pt x="110388" y="119775"/>
                      <a:pt x="113933" y="124521"/>
                      <a:pt x="117702" y="129574"/>
                    </a:cubicBezTo>
                    <a:cubicBezTo>
                      <a:pt x="125072" y="139485"/>
                      <a:pt x="142074" y="162349"/>
                      <a:pt x="138528" y="167541"/>
                    </a:cubicBezTo>
                    <a:cubicBezTo>
                      <a:pt x="134648" y="169412"/>
                      <a:pt x="127780" y="171617"/>
                      <a:pt x="122197" y="173404"/>
                    </a:cubicBezTo>
                    <a:lnTo>
                      <a:pt x="117479" y="174939"/>
                    </a:lnTo>
                    <a:cubicBezTo>
                      <a:pt x="117227" y="175023"/>
                      <a:pt x="116976" y="175135"/>
                      <a:pt x="116725" y="175274"/>
                    </a:cubicBezTo>
                    <a:cubicBezTo>
                      <a:pt x="108992" y="179350"/>
                      <a:pt x="103325" y="190796"/>
                      <a:pt x="112761" y="209556"/>
                    </a:cubicBezTo>
                    <a:cubicBezTo>
                      <a:pt x="112872" y="209780"/>
                      <a:pt x="113012" y="210003"/>
                      <a:pt x="113151" y="210226"/>
                    </a:cubicBezTo>
                    <a:cubicBezTo>
                      <a:pt x="114101" y="211539"/>
                      <a:pt x="114352" y="212069"/>
                      <a:pt x="114408" y="212097"/>
                    </a:cubicBezTo>
                    <a:cubicBezTo>
                      <a:pt x="114045" y="212990"/>
                      <a:pt x="111811" y="215307"/>
                      <a:pt x="109662" y="217569"/>
                    </a:cubicBezTo>
                    <a:cubicBezTo>
                      <a:pt x="104330" y="223180"/>
                      <a:pt x="107652" y="228066"/>
                      <a:pt x="109103" y="230131"/>
                    </a:cubicBezTo>
                    <a:cubicBezTo>
                      <a:pt x="110555" y="232253"/>
                      <a:pt x="111700" y="233928"/>
                      <a:pt x="105642" y="240880"/>
                    </a:cubicBezTo>
                    <a:cubicBezTo>
                      <a:pt x="104637" y="242024"/>
                      <a:pt x="104218" y="243559"/>
                      <a:pt x="104497" y="245067"/>
                    </a:cubicBezTo>
                    <a:cubicBezTo>
                      <a:pt x="105586" y="250790"/>
                      <a:pt x="107038" y="269411"/>
                      <a:pt x="99667" y="279349"/>
                    </a:cubicBezTo>
                    <a:cubicBezTo>
                      <a:pt x="96848" y="283146"/>
                      <a:pt x="93023" y="285268"/>
                      <a:pt x="87998" y="285770"/>
                    </a:cubicBezTo>
                    <a:lnTo>
                      <a:pt x="86937" y="285882"/>
                    </a:lnTo>
                    <a:cubicBezTo>
                      <a:pt x="61756" y="288506"/>
                      <a:pt x="-5105" y="295457"/>
                      <a:pt x="311" y="392944"/>
                    </a:cubicBezTo>
                    <a:cubicBezTo>
                      <a:pt x="450" y="395596"/>
                      <a:pt x="2628" y="397606"/>
                      <a:pt x="5252" y="397606"/>
                    </a:cubicBezTo>
                    <a:cubicBezTo>
                      <a:pt x="5336" y="397606"/>
                      <a:pt x="5447" y="397606"/>
                      <a:pt x="5531" y="397606"/>
                    </a:cubicBezTo>
                    <a:cubicBezTo>
                      <a:pt x="8267" y="397438"/>
                      <a:pt x="10333" y="395121"/>
                      <a:pt x="10193" y="392413"/>
                    </a:cubicBezTo>
                    <a:cubicBezTo>
                      <a:pt x="5308" y="304307"/>
                      <a:pt x="61142" y="298528"/>
                      <a:pt x="87970" y="295736"/>
                    </a:cubicBezTo>
                    <a:lnTo>
                      <a:pt x="89031" y="295625"/>
                    </a:lnTo>
                    <a:cubicBezTo>
                      <a:pt x="96848" y="294787"/>
                      <a:pt x="103101" y="291298"/>
                      <a:pt x="107596" y="285240"/>
                    </a:cubicBezTo>
                    <a:cubicBezTo>
                      <a:pt x="117060" y="272482"/>
                      <a:pt x="115469" y="252465"/>
                      <a:pt x="114575" y="245598"/>
                    </a:cubicBezTo>
                    <a:cubicBezTo>
                      <a:pt x="122643" y="235519"/>
                      <a:pt x="120661" y="229489"/>
                      <a:pt x="117255" y="224548"/>
                    </a:cubicBezTo>
                    <a:cubicBezTo>
                      <a:pt x="117172" y="224436"/>
                      <a:pt x="117088" y="224297"/>
                      <a:pt x="117004" y="224185"/>
                    </a:cubicBezTo>
                    <a:cubicBezTo>
                      <a:pt x="123230" y="217653"/>
                      <a:pt x="127278" y="213270"/>
                      <a:pt x="121415" y="204811"/>
                    </a:cubicBezTo>
                    <a:cubicBezTo>
                      <a:pt x="115552" y="192974"/>
                      <a:pt x="117479" y="186357"/>
                      <a:pt x="121024" y="184180"/>
                    </a:cubicBezTo>
                    <a:lnTo>
                      <a:pt x="125212" y="182840"/>
                    </a:lnTo>
                    <a:cubicBezTo>
                      <a:pt x="131521" y="180830"/>
                      <a:pt x="139394" y="178289"/>
                      <a:pt x="143860" y="175944"/>
                    </a:cubicBezTo>
                    <a:cubicBezTo>
                      <a:pt x="144223" y="175749"/>
                      <a:pt x="144586" y="175498"/>
                      <a:pt x="144893" y="175219"/>
                    </a:cubicBezTo>
                    <a:cubicBezTo>
                      <a:pt x="156200" y="164833"/>
                      <a:pt x="140650" y="143923"/>
                      <a:pt x="125630" y="123712"/>
                    </a:cubicBezTo>
                    <a:cubicBezTo>
                      <a:pt x="121917" y="118770"/>
                      <a:pt x="118456" y="114108"/>
                      <a:pt x="115720" y="109948"/>
                    </a:cubicBezTo>
                    <a:close/>
                  </a:path>
                </a:pathLst>
              </a:custGeom>
              <a:solidFill>
                <a:schemeClr val="tx2"/>
              </a:solidFill>
              <a:ln w="2790" cap="flat">
                <a:noFill/>
                <a:prstDash val="solid"/>
                <a:miter/>
              </a:ln>
            </p:spPr>
            <p:txBody>
              <a:bodyPr rtlCol="0" anchor="ctr"/>
              <a:lstStyle/>
              <a:p>
                <a:endParaRPr lang="en-GB" dirty="0"/>
              </a:p>
            </p:txBody>
          </p:sp>
          <p:sp>
            <p:nvSpPr>
              <p:cNvPr id="418" name="Freihandform: Form 333">
                <a:extLst>
                  <a:ext uri="{FF2B5EF4-FFF2-40B4-BE49-F238E27FC236}">
                    <a16:creationId xmlns:a16="http://schemas.microsoft.com/office/drawing/2014/main" id="{32289A5B-91EB-4CA4-B7A3-864E41483A48}"/>
                  </a:ext>
                </a:extLst>
              </p:cNvPr>
              <p:cNvSpPr/>
              <p:nvPr/>
            </p:nvSpPr>
            <p:spPr>
              <a:xfrm>
                <a:off x="1719520" y="3456333"/>
                <a:ext cx="77205" cy="389440"/>
              </a:xfrm>
              <a:custGeom>
                <a:avLst/>
                <a:gdLst>
                  <a:gd name="connsiteX0" fmla="*/ 76159 w 77205"/>
                  <a:gd name="connsiteY0" fmla="*/ 245054 h 389440"/>
                  <a:gd name="connsiteX1" fmla="*/ 63513 w 77205"/>
                  <a:gd name="connsiteY1" fmla="*/ 221157 h 389440"/>
                  <a:gd name="connsiteX2" fmla="*/ 10275 w 77205"/>
                  <a:gd name="connsiteY2" fmla="*/ 68087 h 389440"/>
                  <a:gd name="connsiteX3" fmla="*/ 10163 w 77205"/>
                  <a:gd name="connsiteY3" fmla="*/ 65826 h 389440"/>
                  <a:gd name="connsiteX4" fmla="*/ 9884 w 77205"/>
                  <a:gd name="connsiteY4" fmla="*/ 54492 h 389440"/>
                  <a:gd name="connsiteX5" fmla="*/ 14714 w 77205"/>
                  <a:gd name="connsiteY5" fmla="*/ 6084 h 389440"/>
                  <a:gd name="connsiteX6" fmla="*/ 11029 w 77205"/>
                  <a:gd name="connsiteY6" fmla="*/ 137 h 389440"/>
                  <a:gd name="connsiteX7" fmla="*/ 5110 w 77205"/>
                  <a:gd name="connsiteY7" fmla="*/ 3822 h 389440"/>
                  <a:gd name="connsiteX8" fmla="*/ 29 w 77205"/>
                  <a:gd name="connsiteY8" fmla="*/ 54631 h 389440"/>
                  <a:gd name="connsiteX9" fmla="*/ 309 w 77205"/>
                  <a:gd name="connsiteY9" fmla="*/ 66273 h 389440"/>
                  <a:gd name="connsiteX10" fmla="*/ 392 w 77205"/>
                  <a:gd name="connsiteY10" fmla="*/ 68506 h 389440"/>
                  <a:gd name="connsiteX11" fmla="*/ 54942 w 77205"/>
                  <a:gd name="connsiteY11" fmla="*/ 226042 h 389440"/>
                  <a:gd name="connsiteX12" fmla="*/ 66807 w 77205"/>
                  <a:gd name="connsiteY12" fmla="*/ 248236 h 389440"/>
                  <a:gd name="connsiteX13" fmla="*/ 57567 w 77205"/>
                  <a:gd name="connsiteY13" fmla="*/ 383969 h 389440"/>
                  <a:gd name="connsiteX14" fmla="*/ 61950 w 77205"/>
                  <a:gd name="connsiteY14" fmla="*/ 389413 h 389440"/>
                  <a:gd name="connsiteX15" fmla="*/ 62480 w 77205"/>
                  <a:gd name="connsiteY15" fmla="*/ 389441 h 389440"/>
                  <a:gd name="connsiteX16" fmla="*/ 67393 w 77205"/>
                  <a:gd name="connsiteY16" fmla="*/ 385030 h 389440"/>
                  <a:gd name="connsiteX17" fmla="*/ 76411 w 77205"/>
                  <a:gd name="connsiteY17" fmla="*/ 245835 h 389440"/>
                  <a:gd name="connsiteX18" fmla="*/ 76159 w 77205"/>
                  <a:gd name="connsiteY18" fmla="*/ 245054 h 389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7205" h="389440">
                    <a:moveTo>
                      <a:pt x="76159" y="245054"/>
                    </a:moveTo>
                    <a:cubicBezTo>
                      <a:pt x="73926" y="239359"/>
                      <a:pt x="69320" y="231318"/>
                      <a:pt x="63513" y="221157"/>
                    </a:cubicBezTo>
                    <a:cubicBezTo>
                      <a:pt x="44641" y="188131"/>
                      <a:pt x="13039" y="132827"/>
                      <a:pt x="10275" y="68087"/>
                    </a:cubicBezTo>
                    <a:lnTo>
                      <a:pt x="10163" y="65826"/>
                    </a:lnTo>
                    <a:cubicBezTo>
                      <a:pt x="10052" y="63481"/>
                      <a:pt x="10024" y="62616"/>
                      <a:pt x="9884" y="54492"/>
                    </a:cubicBezTo>
                    <a:cubicBezTo>
                      <a:pt x="9633" y="37351"/>
                      <a:pt x="11252" y="21047"/>
                      <a:pt x="14714" y="6084"/>
                    </a:cubicBezTo>
                    <a:cubicBezTo>
                      <a:pt x="15328" y="3432"/>
                      <a:pt x="13681" y="779"/>
                      <a:pt x="11029" y="137"/>
                    </a:cubicBezTo>
                    <a:cubicBezTo>
                      <a:pt x="8377" y="-505"/>
                      <a:pt x="5725" y="1170"/>
                      <a:pt x="5110" y="3822"/>
                    </a:cubicBezTo>
                    <a:cubicBezTo>
                      <a:pt x="1453" y="19568"/>
                      <a:pt x="-250" y="36681"/>
                      <a:pt x="29" y="54631"/>
                    </a:cubicBezTo>
                    <a:cubicBezTo>
                      <a:pt x="169" y="62979"/>
                      <a:pt x="197" y="63872"/>
                      <a:pt x="309" y="66273"/>
                    </a:cubicBezTo>
                    <a:lnTo>
                      <a:pt x="392" y="68506"/>
                    </a:lnTo>
                    <a:cubicBezTo>
                      <a:pt x="3268" y="135647"/>
                      <a:pt x="35596" y="192235"/>
                      <a:pt x="54942" y="226042"/>
                    </a:cubicBezTo>
                    <a:cubicBezTo>
                      <a:pt x="60386" y="235590"/>
                      <a:pt x="64741" y="243183"/>
                      <a:pt x="66807" y="248236"/>
                    </a:cubicBezTo>
                    <a:cubicBezTo>
                      <a:pt x="69655" y="264372"/>
                      <a:pt x="61112" y="351474"/>
                      <a:pt x="57567" y="383969"/>
                    </a:cubicBezTo>
                    <a:cubicBezTo>
                      <a:pt x="57259" y="386677"/>
                      <a:pt x="59242" y="389134"/>
                      <a:pt x="61950" y="389413"/>
                    </a:cubicBezTo>
                    <a:cubicBezTo>
                      <a:pt x="62145" y="389441"/>
                      <a:pt x="62312" y="389441"/>
                      <a:pt x="62480" y="389441"/>
                    </a:cubicBezTo>
                    <a:cubicBezTo>
                      <a:pt x="64965" y="389441"/>
                      <a:pt x="67114" y="387570"/>
                      <a:pt x="67393" y="385030"/>
                    </a:cubicBezTo>
                    <a:cubicBezTo>
                      <a:pt x="67924" y="380145"/>
                      <a:pt x="80431" y="265461"/>
                      <a:pt x="76411" y="245835"/>
                    </a:cubicBezTo>
                    <a:cubicBezTo>
                      <a:pt x="76355" y="245584"/>
                      <a:pt x="76271" y="245305"/>
                      <a:pt x="76159" y="245054"/>
                    </a:cubicBezTo>
                    <a:close/>
                  </a:path>
                </a:pathLst>
              </a:custGeom>
              <a:solidFill>
                <a:schemeClr val="tx2"/>
              </a:solidFill>
              <a:ln w="2790" cap="flat">
                <a:noFill/>
                <a:prstDash val="solid"/>
                <a:miter/>
              </a:ln>
            </p:spPr>
            <p:txBody>
              <a:bodyPr rtlCol="0" anchor="ctr"/>
              <a:lstStyle/>
              <a:p>
                <a:endParaRPr lang="en-GB" dirty="0"/>
              </a:p>
            </p:txBody>
          </p:sp>
          <p:sp>
            <p:nvSpPr>
              <p:cNvPr id="419" name="Freihandform: Form 334">
                <a:extLst>
                  <a:ext uri="{FF2B5EF4-FFF2-40B4-BE49-F238E27FC236}">
                    <a16:creationId xmlns:a16="http://schemas.microsoft.com/office/drawing/2014/main" id="{C03A22AD-74D4-4243-895D-161AAB848920}"/>
                  </a:ext>
                </a:extLst>
              </p:cNvPr>
              <p:cNvSpPr/>
              <p:nvPr/>
            </p:nvSpPr>
            <p:spPr>
              <a:xfrm>
                <a:off x="1724937" y="3426097"/>
                <a:ext cx="365546" cy="69317"/>
              </a:xfrm>
              <a:custGeom>
                <a:avLst/>
                <a:gdLst>
                  <a:gd name="connsiteX0" fmla="*/ 238384 w 365546"/>
                  <a:gd name="connsiteY0" fmla="*/ 1005 h 69317"/>
                  <a:gd name="connsiteX1" fmla="*/ 233163 w 365546"/>
                  <a:gd name="connsiteY1" fmla="*/ 5667 h 69317"/>
                  <a:gd name="connsiteX2" fmla="*/ 237826 w 365546"/>
                  <a:gd name="connsiteY2" fmla="*/ 10888 h 69317"/>
                  <a:gd name="connsiteX3" fmla="*/ 355663 w 365546"/>
                  <a:gd name="connsiteY3" fmla="*/ 34422 h 69317"/>
                  <a:gd name="connsiteX4" fmla="*/ 182773 w 365546"/>
                  <a:gd name="connsiteY4" fmla="*/ 59435 h 69317"/>
                  <a:gd name="connsiteX5" fmla="*/ 9883 w 365546"/>
                  <a:gd name="connsiteY5" fmla="*/ 34422 h 69317"/>
                  <a:gd name="connsiteX6" fmla="*/ 151310 w 365546"/>
                  <a:gd name="connsiteY6" fmla="*/ 9883 h 69317"/>
                  <a:gd name="connsiteX7" fmla="*/ 156112 w 365546"/>
                  <a:gd name="connsiteY7" fmla="*/ 4802 h 69317"/>
                  <a:gd name="connsiteX8" fmla="*/ 151031 w 365546"/>
                  <a:gd name="connsiteY8" fmla="*/ 0 h 69317"/>
                  <a:gd name="connsiteX9" fmla="*/ 0 w 365546"/>
                  <a:gd name="connsiteY9" fmla="*/ 34422 h 69317"/>
                  <a:gd name="connsiteX10" fmla="*/ 182773 w 365546"/>
                  <a:gd name="connsiteY10" fmla="*/ 69318 h 69317"/>
                  <a:gd name="connsiteX11" fmla="*/ 365546 w 365546"/>
                  <a:gd name="connsiteY11" fmla="*/ 34422 h 69317"/>
                  <a:gd name="connsiteX12" fmla="*/ 238384 w 365546"/>
                  <a:gd name="connsiteY12" fmla="*/ 1005 h 69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5546" h="69317">
                    <a:moveTo>
                      <a:pt x="238384" y="1005"/>
                    </a:moveTo>
                    <a:cubicBezTo>
                      <a:pt x="235620" y="782"/>
                      <a:pt x="233331" y="2959"/>
                      <a:pt x="233163" y="5667"/>
                    </a:cubicBezTo>
                    <a:cubicBezTo>
                      <a:pt x="233024" y="8403"/>
                      <a:pt x="235090" y="10720"/>
                      <a:pt x="237826" y="10888"/>
                    </a:cubicBezTo>
                    <a:cubicBezTo>
                      <a:pt x="327746" y="15829"/>
                      <a:pt x="355663" y="29871"/>
                      <a:pt x="355663" y="34422"/>
                    </a:cubicBezTo>
                    <a:cubicBezTo>
                      <a:pt x="355663" y="42909"/>
                      <a:pt x="294637" y="59435"/>
                      <a:pt x="182773" y="59435"/>
                    </a:cubicBezTo>
                    <a:cubicBezTo>
                      <a:pt x="70909" y="59435"/>
                      <a:pt x="9883" y="42909"/>
                      <a:pt x="9883" y="34422"/>
                    </a:cubicBezTo>
                    <a:cubicBezTo>
                      <a:pt x="9883" y="28475"/>
                      <a:pt x="50586" y="12925"/>
                      <a:pt x="151310" y="9883"/>
                    </a:cubicBezTo>
                    <a:cubicBezTo>
                      <a:pt x="154046" y="9799"/>
                      <a:pt x="156196" y="7510"/>
                      <a:pt x="156112" y="4802"/>
                    </a:cubicBezTo>
                    <a:cubicBezTo>
                      <a:pt x="156028" y="2066"/>
                      <a:pt x="153600" y="84"/>
                      <a:pt x="151031" y="0"/>
                    </a:cubicBezTo>
                    <a:cubicBezTo>
                      <a:pt x="125822" y="754"/>
                      <a:pt x="0" y="6002"/>
                      <a:pt x="0" y="34422"/>
                    </a:cubicBezTo>
                    <a:cubicBezTo>
                      <a:pt x="0" y="62032"/>
                      <a:pt x="119569" y="69318"/>
                      <a:pt x="182773" y="69318"/>
                    </a:cubicBezTo>
                    <a:cubicBezTo>
                      <a:pt x="246005" y="69318"/>
                      <a:pt x="365546" y="62032"/>
                      <a:pt x="365546" y="34422"/>
                    </a:cubicBezTo>
                    <a:cubicBezTo>
                      <a:pt x="365574" y="10581"/>
                      <a:pt x="276630" y="3127"/>
                      <a:pt x="238384" y="1005"/>
                    </a:cubicBezTo>
                    <a:close/>
                  </a:path>
                </a:pathLst>
              </a:custGeom>
              <a:solidFill>
                <a:schemeClr val="tx2"/>
              </a:solidFill>
              <a:ln w="2790" cap="flat">
                <a:noFill/>
                <a:prstDash val="solid"/>
                <a:miter/>
              </a:ln>
            </p:spPr>
            <p:txBody>
              <a:bodyPr rtlCol="0" anchor="ctr"/>
              <a:lstStyle/>
              <a:p>
                <a:endParaRPr lang="en-GB" dirty="0"/>
              </a:p>
            </p:txBody>
          </p:sp>
        </p:grpSp>
        <p:grpSp>
          <p:nvGrpSpPr>
            <p:cNvPr id="395" name="Group 394">
              <a:extLst>
                <a:ext uri="{FF2B5EF4-FFF2-40B4-BE49-F238E27FC236}">
                  <a16:creationId xmlns:a16="http://schemas.microsoft.com/office/drawing/2014/main" id="{E20F4443-D96F-4858-9904-D85701CACC09}"/>
                </a:ext>
              </a:extLst>
            </p:cNvPr>
            <p:cNvGrpSpPr/>
            <p:nvPr/>
          </p:nvGrpSpPr>
          <p:grpSpPr>
            <a:xfrm>
              <a:off x="1678546" y="3221046"/>
              <a:ext cx="470137" cy="246201"/>
              <a:chOff x="1678546" y="3221046"/>
              <a:chExt cx="470137" cy="246200"/>
            </a:xfrm>
          </p:grpSpPr>
          <p:grpSp>
            <p:nvGrpSpPr>
              <p:cNvPr id="396" name="Grafik 7">
                <a:extLst>
                  <a:ext uri="{FF2B5EF4-FFF2-40B4-BE49-F238E27FC236}">
                    <a16:creationId xmlns:a16="http://schemas.microsoft.com/office/drawing/2014/main" id="{94E65FC3-F30F-4F8A-89CD-6D963DC7BCBD}"/>
                  </a:ext>
                </a:extLst>
              </p:cNvPr>
              <p:cNvGrpSpPr/>
              <p:nvPr/>
            </p:nvGrpSpPr>
            <p:grpSpPr>
              <a:xfrm>
                <a:off x="1864829" y="3316438"/>
                <a:ext cx="109630" cy="150808"/>
                <a:chOff x="1864829" y="3316438"/>
                <a:chExt cx="109630" cy="150808"/>
              </a:xfrm>
              <a:solidFill>
                <a:schemeClr val="accent1"/>
              </a:solidFill>
            </p:grpSpPr>
            <p:sp>
              <p:nvSpPr>
                <p:cNvPr id="415" name="Freihandform: Form 337">
                  <a:extLst>
                    <a:ext uri="{FF2B5EF4-FFF2-40B4-BE49-F238E27FC236}">
                      <a16:creationId xmlns:a16="http://schemas.microsoft.com/office/drawing/2014/main" id="{48FD47C0-1128-45DB-912E-56BDBF5A0137}"/>
                    </a:ext>
                  </a:extLst>
                </p:cNvPr>
                <p:cNvSpPr/>
                <p:nvPr/>
              </p:nvSpPr>
              <p:spPr>
                <a:xfrm>
                  <a:off x="1864829" y="3316438"/>
                  <a:ext cx="109630" cy="122974"/>
                </a:xfrm>
                <a:custGeom>
                  <a:avLst/>
                  <a:gdLst>
                    <a:gd name="connsiteX0" fmla="*/ 54801 w 109630"/>
                    <a:gd name="connsiteY0" fmla="*/ 0 h 122974"/>
                    <a:gd name="connsiteX1" fmla="*/ 0 w 109630"/>
                    <a:gd name="connsiteY1" fmla="*/ 54829 h 122974"/>
                    <a:gd name="connsiteX2" fmla="*/ 23087 w 109630"/>
                    <a:gd name="connsiteY2" fmla="*/ 99524 h 122974"/>
                    <a:gd name="connsiteX3" fmla="*/ 26186 w 109630"/>
                    <a:gd name="connsiteY3" fmla="*/ 101925 h 122974"/>
                    <a:gd name="connsiteX4" fmla="*/ 26186 w 109630"/>
                    <a:gd name="connsiteY4" fmla="*/ 118033 h 122974"/>
                    <a:gd name="connsiteX5" fmla="*/ 31128 w 109630"/>
                    <a:gd name="connsiteY5" fmla="*/ 122975 h 122974"/>
                    <a:gd name="connsiteX6" fmla="*/ 78531 w 109630"/>
                    <a:gd name="connsiteY6" fmla="*/ 122975 h 122974"/>
                    <a:gd name="connsiteX7" fmla="*/ 83472 w 109630"/>
                    <a:gd name="connsiteY7" fmla="*/ 118033 h 122974"/>
                    <a:gd name="connsiteX8" fmla="*/ 83444 w 109630"/>
                    <a:gd name="connsiteY8" fmla="*/ 104801 h 122974"/>
                    <a:gd name="connsiteX9" fmla="*/ 86040 w 109630"/>
                    <a:gd name="connsiteY9" fmla="*/ 99915 h 122974"/>
                    <a:gd name="connsiteX10" fmla="*/ 109630 w 109630"/>
                    <a:gd name="connsiteY10" fmla="*/ 54857 h 122974"/>
                    <a:gd name="connsiteX11" fmla="*/ 54801 w 109630"/>
                    <a:gd name="connsiteY11" fmla="*/ 0 h 122974"/>
                    <a:gd name="connsiteX12" fmla="*/ 80736 w 109630"/>
                    <a:gd name="connsiteY12" fmla="*/ 91540 h 122974"/>
                    <a:gd name="connsiteX13" fmla="*/ 73562 w 109630"/>
                    <a:gd name="connsiteY13" fmla="*/ 105192 h 122974"/>
                    <a:gd name="connsiteX14" fmla="*/ 73562 w 109630"/>
                    <a:gd name="connsiteY14" fmla="*/ 113092 h 122974"/>
                    <a:gd name="connsiteX15" fmla="*/ 36041 w 109630"/>
                    <a:gd name="connsiteY15" fmla="*/ 113092 h 122974"/>
                    <a:gd name="connsiteX16" fmla="*/ 36041 w 109630"/>
                    <a:gd name="connsiteY16" fmla="*/ 100250 h 122974"/>
                    <a:gd name="connsiteX17" fmla="*/ 35678 w 109630"/>
                    <a:gd name="connsiteY17" fmla="*/ 98408 h 122974"/>
                    <a:gd name="connsiteX18" fmla="*/ 28671 w 109630"/>
                    <a:gd name="connsiteY18" fmla="*/ 91373 h 122974"/>
                    <a:gd name="connsiteX19" fmla="*/ 9855 w 109630"/>
                    <a:gd name="connsiteY19" fmla="*/ 54829 h 122974"/>
                    <a:gd name="connsiteX20" fmla="*/ 54773 w 109630"/>
                    <a:gd name="connsiteY20" fmla="*/ 9883 h 122974"/>
                    <a:gd name="connsiteX21" fmla="*/ 99720 w 109630"/>
                    <a:gd name="connsiteY21" fmla="*/ 54829 h 122974"/>
                    <a:gd name="connsiteX22" fmla="*/ 80736 w 109630"/>
                    <a:gd name="connsiteY22" fmla="*/ 91540 h 12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9630" h="122974">
                      <a:moveTo>
                        <a:pt x="54801" y="0"/>
                      </a:moveTo>
                      <a:cubicBezTo>
                        <a:pt x="24567" y="0"/>
                        <a:pt x="0" y="24595"/>
                        <a:pt x="0" y="54829"/>
                      </a:cubicBezTo>
                      <a:cubicBezTo>
                        <a:pt x="0" y="72836"/>
                        <a:pt x="8626" y="89530"/>
                        <a:pt x="23087" y="99524"/>
                      </a:cubicBezTo>
                      <a:cubicBezTo>
                        <a:pt x="24735" y="100669"/>
                        <a:pt x="25684" y="101506"/>
                        <a:pt x="26186" y="101925"/>
                      </a:cubicBezTo>
                      <a:lnTo>
                        <a:pt x="26186" y="118033"/>
                      </a:lnTo>
                      <a:cubicBezTo>
                        <a:pt x="26186" y="120769"/>
                        <a:pt x="28392" y="122975"/>
                        <a:pt x="31128" y="122975"/>
                      </a:cubicBezTo>
                      <a:lnTo>
                        <a:pt x="78531" y="122975"/>
                      </a:lnTo>
                      <a:cubicBezTo>
                        <a:pt x="81267" y="122975"/>
                        <a:pt x="83472" y="120769"/>
                        <a:pt x="83472" y="118033"/>
                      </a:cubicBezTo>
                      <a:lnTo>
                        <a:pt x="83444" y="104801"/>
                      </a:lnTo>
                      <a:cubicBezTo>
                        <a:pt x="83444" y="104773"/>
                        <a:pt x="83332" y="101618"/>
                        <a:pt x="86040" y="99915"/>
                      </a:cubicBezTo>
                      <a:cubicBezTo>
                        <a:pt x="100585" y="90703"/>
                        <a:pt x="109630" y="73422"/>
                        <a:pt x="109630" y="54857"/>
                      </a:cubicBezTo>
                      <a:cubicBezTo>
                        <a:pt x="109630" y="24623"/>
                        <a:pt x="85035" y="0"/>
                        <a:pt x="54801" y="0"/>
                      </a:cubicBezTo>
                      <a:close/>
                      <a:moveTo>
                        <a:pt x="80736" y="91540"/>
                      </a:moveTo>
                      <a:cubicBezTo>
                        <a:pt x="74511" y="95476"/>
                        <a:pt x="73310" y="102204"/>
                        <a:pt x="73562" y="105192"/>
                      </a:cubicBezTo>
                      <a:lnTo>
                        <a:pt x="73562" y="113092"/>
                      </a:lnTo>
                      <a:lnTo>
                        <a:pt x="36041" y="113092"/>
                      </a:lnTo>
                      <a:lnTo>
                        <a:pt x="36041" y="100250"/>
                      </a:lnTo>
                      <a:cubicBezTo>
                        <a:pt x="36041" y="99608"/>
                        <a:pt x="35929" y="98994"/>
                        <a:pt x="35678" y="98408"/>
                      </a:cubicBezTo>
                      <a:cubicBezTo>
                        <a:pt x="35120" y="97012"/>
                        <a:pt x="33445" y="94695"/>
                        <a:pt x="28671" y="91373"/>
                      </a:cubicBezTo>
                      <a:cubicBezTo>
                        <a:pt x="16890" y="83249"/>
                        <a:pt x="9855" y="69569"/>
                        <a:pt x="9855" y="54829"/>
                      </a:cubicBezTo>
                      <a:cubicBezTo>
                        <a:pt x="9855" y="30067"/>
                        <a:pt x="30011" y="9883"/>
                        <a:pt x="54773" y="9883"/>
                      </a:cubicBezTo>
                      <a:cubicBezTo>
                        <a:pt x="79536" y="9883"/>
                        <a:pt x="99720" y="30039"/>
                        <a:pt x="99720" y="54829"/>
                      </a:cubicBezTo>
                      <a:cubicBezTo>
                        <a:pt x="99748" y="70044"/>
                        <a:pt x="92461" y="84114"/>
                        <a:pt x="80736" y="91540"/>
                      </a:cubicBezTo>
                      <a:close/>
                    </a:path>
                  </a:pathLst>
                </a:custGeom>
                <a:solidFill>
                  <a:schemeClr val="accent1"/>
                </a:solidFill>
                <a:ln w="2790" cap="flat">
                  <a:noFill/>
                  <a:prstDash val="solid"/>
                  <a:miter/>
                </a:ln>
              </p:spPr>
              <p:txBody>
                <a:bodyPr rtlCol="0" anchor="ctr"/>
                <a:lstStyle/>
                <a:p>
                  <a:endParaRPr lang="en-GB" dirty="0"/>
                </a:p>
              </p:txBody>
            </p:sp>
            <p:sp>
              <p:nvSpPr>
                <p:cNvPr id="416" name="Freihandform: Form 338">
                  <a:extLst>
                    <a:ext uri="{FF2B5EF4-FFF2-40B4-BE49-F238E27FC236}">
                      <a16:creationId xmlns:a16="http://schemas.microsoft.com/office/drawing/2014/main" id="{BDC500ED-15D9-440A-ABAC-498D5753D608}"/>
                    </a:ext>
                  </a:extLst>
                </p:cNvPr>
                <p:cNvSpPr/>
                <p:nvPr/>
              </p:nvSpPr>
              <p:spPr>
                <a:xfrm>
                  <a:off x="1899642" y="3457363"/>
                  <a:ext cx="39446" cy="9882"/>
                </a:xfrm>
                <a:custGeom>
                  <a:avLst/>
                  <a:gdLst>
                    <a:gd name="connsiteX0" fmla="*/ 34506 w 39446"/>
                    <a:gd name="connsiteY0" fmla="*/ 0 h 9882"/>
                    <a:gd name="connsiteX1" fmla="*/ 4941 w 39446"/>
                    <a:gd name="connsiteY1" fmla="*/ 0 h 9882"/>
                    <a:gd name="connsiteX2" fmla="*/ 0 w 39446"/>
                    <a:gd name="connsiteY2" fmla="*/ 4941 h 9882"/>
                    <a:gd name="connsiteX3" fmla="*/ 4941 w 39446"/>
                    <a:gd name="connsiteY3" fmla="*/ 9883 h 9882"/>
                    <a:gd name="connsiteX4" fmla="*/ 34506 w 39446"/>
                    <a:gd name="connsiteY4" fmla="*/ 9883 h 9882"/>
                    <a:gd name="connsiteX5" fmla="*/ 39447 w 39446"/>
                    <a:gd name="connsiteY5" fmla="*/ 4941 h 9882"/>
                    <a:gd name="connsiteX6" fmla="*/ 34506 w 39446"/>
                    <a:gd name="connsiteY6" fmla="*/ 0 h 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46" h="9882">
                      <a:moveTo>
                        <a:pt x="34506" y="0"/>
                      </a:moveTo>
                      <a:lnTo>
                        <a:pt x="4941" y="0"/>
                      </a:lnTo>
                      <a:cubicBezTo>
                        <a:pt x="2205" y="0"/>
                        <a:pt x="0" y="2206"/>
                        <a:pt x="0" y="4941"/>
                      </a:cubicBezTo>
                      <a:cubicBezTo>
                        <a:pt x="0" y="7677"/>
                        <a:pt x="2205" y="9883"/>
                        <a:pt x="4941" y="9883"/>
                      </a:cubicBezTo>
                      <a:lnTo>
                        <a:pt x="34506" y="9883"/>
                      </a:lnTo>
                      <a:cubicBezTo>
                        <a:pt x="37241" y="9883"/>
                        <a:pt x="39447" y="7677"/>
                        <a:pt x="39447" y="4941"/>
                      </a:cubicBezTo>
                      <a:cubicBezTo>
                        <a:pt x="39447" y="2206"/>
                        <a:pt x="37214" y="0"/>
                        <a:pt x="34506" y="0"/>
                      </a:cubicBezTo>
                      <a:close/>
                    </a:path>
                  </a:pathLst>
                </a:custGeom>
                <a:solidFill>
                  <a:schemeClr val="accent1"/>
                </a:solidFill>
                <a:ln w="2790" cap="flat">
                  <a:noFill/>
                  <a:prstDash val="solid"/>
                  <a:miter/>
                </a:ln>
              </p:spPr>
              <p:txBody>
                <a:bodyPr rtlCol="0" anchor="ctr"/>
                <a:lstStyle/>
                <a:p>
                  <a:endParaRPr lang="en-GB" dirty="0"/>
                </a:p>
              </p:txBody>
            </p:sp>
          </p:grpSp>
          <p:grpSp>
            <p:nvGrpSpPr>
              <p:cNvPr id="397" name="Grafik 7">
                <a:extLst>
                  <a:ext uri="{FF2B5EF4-FFF2-40B4-BE49-F238E27FC236}">
                    <a16:creationId xmlns:a16="http://schemas.microsoft.com/office/drawing/2014/main" id="{9FAEF5A5-7DEF-4D16-A579-4E10F02F231B}"/>
                  </a:ext>
                </a:extLst>
              </p:cNvPr>
              <p:cNvGrpSpPr/>
              <p:nvPr/>
            </p:nvGrpSpPr>
            <p:grpSpPr>
              <a:xfrm>
                <a:off x="1841051" y="3270208"/>
                <a:ext cx="157187" cy="58123"/>
                <a:chOff x="1841051" y="3270208"/>
                <a:chExt cx="157187" cy="58123"/>
              </a:xfrm>
              <a:solidFill>
                <a:schemeClr val="accent1"/>
              </a:solidFill>
            </p:grpSpPr>
            <p:sp>
              <p:nvSpPr>
                <p:cNvPr id="412" name="Freihandform: Form 340">
                  <a:extLst>
                    <a:ext uri="{FF2B5EF4-FFF2-40B4-BE49-F238E27FC236}">
                      <a16:creationId xmlns:a16="http://schemas.microsoft.com/office/drawing/2014/main" id="{12F79F83-83DE-4CF1-889C-46E40F990D9B}"/>
                    </a:ext>
                  </a:extLst>
                </p:cNvPr>
                <p:cNvSpPr/>
                <p:nvPr/>
              </p:nvSpPr>
              <p:spPr>
                <a:xfrm>
                  <a:off x="1913489" y="3270208"/>
                  <a:ext cx="9882" cy="40731"/>
                </a:xfrm>
                <a:custGeom>
                  <a:avLst/>
                  <a:gdLst>
                    <a:gd name="connsiteX0" fmla="*/ 4941 w 9882"/>
                    <a:gd name="connsiteY0" fmla="*/ 0 h 40731"/>
                    <a:gd name="connsiteX1" fmla="*/ 0 w 9882"/>
                    <a:gd name="connsiteY1" fmla="*/ 4941 h 40731"/>
                    <a:gd name="connsiteX2" fmla="*/ 0 w 9882"/>
                    <a:gd name="connsiteY2" fmla="*/ 35790 h 40731"/>
                    <a:gd name="connsiteX3" fmla="*/ 4941 w 9882"/>
                    <a:gd name="connsiteY3" fmla="*/ 40731 h 40731"/>
                    <a:gd name="connsiteX4" fmla="*/ 9883 w 9882"/>
                    <a:gd name="connsiteY4" fmla="*/ 35790 h 40731"/>
                    <a:gd name="connsiteX5" fmla="*/ 9883 w 9882"/>
                    <a:gd name="connsiteY5" fmla="*/ 4941 h 40731"/>
                    <a:gd name="connsiteX6" fmla="*/ 4941 w 9882"/>
                    <a:gd name="connsiteY6" fmla="*/ 0 h 40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2" h="40731">
                      <a:moveTo>
                        <a:pt x="4941" y="0"/>
                      </a:moveTo>
                      <a:cubicBezTo>
                        <a:pt x="2205" y="0"/>
                        <a:pt x="0" y="2205"/>
                        <a:pt x="0" y="4941"/>
                      </a:cubicBezTo>
                      <a:lnTo>
                        <a:pt x="0" y="35790"/>
                      </a:lnTo>
                      <a:cubicBezTo>
                        <a:pt x="0" y="38526"/>
                        <a:pt x="2205" y="40731"/>
                        <a:pt x="4941" y="40731"/>
                      </a:cubicBezTo>
                      <a:cubicBezTo>
                        <a:pt x="7677" y="40731"/>
                        <a:pt x="9883" y="38526"/>
                        <a:pt x="9883" y="35790"/>
                      </a:cubicBezTo>
                      <a:lnTo>
                        <a:pt x="9883" y="4941"/>
                      </a:lnTo>
                      <a:cubicBezTo>
                        <a:pt x="9883" y="2233"/>
                        <a:pt x="7677" y="0"/>
                        <a:pt x="4941" y="0"/>
                      </a:cubicBezTo>
                      <a:close/>
                    </a:path>
                  </a:pathLst>
                </a:custGeom>
                <a:solidFill>
                  <a:schemeClr val="accent1"/>
                </a:solidFill>
                <a:ln w="2790" cap="flat">
                  <a:noFill/>
                  <a:prstDash val="solid"/>
                  <a:miter/>
                </a:ln>
              </p:spPr>
              <p:txBody>
                <a:bodyPr rtlCol="0" anchor="ctr"/>
                <a:lstStyle/>
                <a:p>
                  <a:endParaRPr lang="en-GB" dirty="0"/>
                </a:p>
              </p:txBody>
            </p:sp>
            <p:sp>
              <p:nvSpPr>
                <p:cNvPr id="413" name="Freihandform: Form 341">
                  <a:extLst>
                    <a:ext uri="{FF2B5EF4-FFF2-40B4-BE49-F238E27FC236}">
                      <a16:creationId xmlns:a16="http://schemas.microsoft.com/office/drawing/2014/main" id="{B1E6589E-78FD-43C5-A710-D7B8AF79359A}"/>
                    </a:ext>
                  </a:extLst>
                </p:cNvPr>
                <p:cNvSpPr/>
                <p:nvPr/>
              </p:nvSpPr>
              <p:spPr>
                <a:xfrm>
                  <a:off x="1841051" y="3296652"/>
                  <a:ext cx="31671" cy="31678"/>
                </a:xfrm>
                <a:custGeom>
                  <a:avLst/>
                  <a:gdLst>
                    <a:gd name="connsiteX0" fmla="*/ 8424 w 31671"/>
                    <a:gd name="connsiteY0" fmla="*/ 1445 h 31678"/>
                    <a:gd name="connsiteX1" fmla="*/ 1445 w 31671"/>
                    <a:gd name="connsiteY1" fmla="*/ 1445 h 31678"/>
                    <a:gd name="connsiteX2" fmla="*/ 1445 w 31671"/>
                    <a:gd name="connsiteY2" fmla="*/ 8424 h 31678"/>
                    <a:gd name="connsiteX3" fmla="*/ 23248 w 31671"/>
                    <a:gd name="connsiteY3" fmla="*/ 30227 h 31678"/>
                    <a:gd name="connsiteX4" fmla="*/ 26738 w 31671"/>
                    <a:gd name="connsiteY4" fmla="*/ 31679 h 31678"/>
                    <a:gd name="connsiteX5" fmla="*/ 30227 w 31671"/>
                    <a:gd name="connsiteY5" fmla="*/ 30227 h 31678"/>
                    <a:gd name="connsiteX6" fmla="*/ 30227 w 31671"/>
                    <a:gd name="connsiteY6" fmla="*/ 23248 h 31678"/>
                    <a:gd name="connsiteX7" fmla="*/ 8424 w 31671"/>
                    <a:gd name="connsiteY7" fmla="*/ 1445 h 31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71" h="31678">
                      <a:moveTo>
                        <a:pt x="8424" y="1445"/>
                      </a:moveTo>
                      <a:cubicBezTo>
                        <a:pt x="6498" y="-482"/>
                        <a:pt x="3371" y="-482"/>
                        <a:pt x="1445" y="1445"/>
                      </a:cubicBezTo>
                      <a:cubicBezTo>
                        <a:pt x="-482" y="3371"/>
                        <a:pt x="-482" y="6498"/>
                        <a:pt x="1445" y="8424"/>
                      </a:cubicBezTo>
                      <a:lnTo>
                        <a:pt x="23248" y="30227"/>
                      </a:lnTo>
                      <a:cubicBezTo>
                        <a:pt x="24225" y="31204"/>
                        <a:pt x="25481" y="31679"/>
                        <a:pt x="26738" y="31679"/>
                      </a:cubicBezTo>
                      <a:cubicBezTo>
                        <a:pt x="27994" y="31679"/>
                        <a:pt x="29278" y="31204"/>
                        <a:pt x="30227" y="30227"/>
                      </a:cubicBezTo>
                      <a:cubicBezTo>
                        <a:pt x="32153" y="28301"/>
                        <a:pt x="32153" y="25174"/>
                        <a:pt x="30227" y="23248"/>
                      </a:cubicBezTo>
                      <a:lnTo>
                        <a:pt x="8424" y="1445"/>
                      </a:lnTo>
                      <a:close/>
                    </a:path>
                  </a:pathLst>
                </a:custGeom>
                <a:solidFill>
                  <a:schemeClr val="accent1"/>
                </a:solidFill>
                <a:ln w="2790" cap="flat">
                  <a:noFill/>
                  <a:prstDash val="solid"/>
                  <a:miter/>
                </a:ln>
              </p:spPr>
              <p:txBody>
                <a:bodyPr rtlCol="0" anchor="ctr"/>
                <a:lstStyle/>
                <a:p>
                  <a:endParaRPr lang="en-GB" dirty="0"/>
                </a:p>
              </p:txBody>
            </p:sp>
            <p:sp>
              <p:nvSpPr>
                <p:cNvPr id="414" name="Freihandform: Form 342">
                  <a:extLst>
                    <a:ext uri="{FF2B5EF4-FFF2-40B4-BE49-F238E27FC236}">
                      <a16:creationId xmlns:a16="http://schemas.microsoft.com/office/drawing/2014/main" id="{86837992-17A5-4BF5-8734-D87FA8AE61B5}"/>
                    </a:ext>
                  </a:extLst>
                </p:cNvPr>
                <p:cNvSpPr/>
                <p:nvPr/>
              </p:nvSpPr>
              <p:spPr>
                <a:xfrm>
                  <a:off x="1966566" y="3296631"/>
                  <a:ext cx="31671" cy="31699"/>
                </a:xfrm>
                <a:custGeom>
                  <a:avLst/>
                  <a:gdLst>
                    <a:gd name="connsiteX0" fmla="*/ 23248 w 31671"/>
                    <a:gd name="connsiteY0" fmla="*/ 1466 h 31699"/>
                    <a:gd name="connsiteX1" fmla="*/ 1445 w 31671"/>
                    <a:gd name="connsiteY1" fmla="*/ 23269 h 31699"/>
                    <a:gd name="connsiteX2" fmla="*/ 1445 w 31671"/>
                    <a:gd name="connsiteY2" fmla="*/ 30248 h 31699"/>
                    <a:gd name="connsiteX3" fmla="*/ 4934 w 31671"/>
                    <a:gd name="connsiteY3" fmla="*/ 31700 h 31699"/>
                    <a:gd name="connsiteX4" fmla="*/ 8424 w 31671"/>
                    <a:gd name="connsiteY4" fmla="*/ 30248 h 31699"/>
                    <a:gd name="connsiteX5" fmla="*/ 30227 w 31671"/>
                    <a:gd name="connsiteY5" fmla="*/ 8445 h 31699"/>
                    <a:gd name="connsiteX6" fmla="*/ 30227 w 31671"/>
                    <a:gd name="connsiteY6" fmla="*/ 1466 h 31699"/>
                    <a:gd name="connsiteX7" fmla="*/ 23248 w 31671"/>
                    <a:gd name="connsiteY7" fmla="*/ 1466 h 31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71" h="31699">
                      <a:moveTo>
                        <a:pt x="23248" y="1466"/>
                      </a:moveTo>
                      <a:lnTo>
                        <a:pt x="1445" y="23269"/>
                      </a:lnTo>
                      <a:cubicBezTo>
                        <a:pt x="-482" y="25195"/>
                        <a:pt x="-482" y="28322"/>
                        <a:pt x="1445" y="30248"/>
                      </a:cubicBezTo>
                      <a:cubicBezTo>
                        <a:pt x="2422" y="31225"/>
                        <a:pt x="3678" y="31700"/>
                        <a:pt x="4934" y="31700"/>
                      </a:cubicBezTo>
                      <a:cubicBezTo>
                        <a:pt x="6191" y="31700"/>
                        <a:pt x="7475" y="31225"/>
                        <a:pt x="8424" y="30248"/>
                      </a:cubicBezTo>
                      <a:lnTo>
                        <a:pt x="30227" y="8445"/>
                      </a:lnTo>
                      <a:cubicBezTo>
                        <a:pt x="32153" y="6519"/>
                        <a:pt x="32153" y="3392"/>
                        <a:pt x="30227" y="1466"/>
                      </a:cubicBezTo>
                      <a:cubicBezTo>
                        <a:pt x="28301" y="-489"/>
                        <a:pt x="25174" y="-489"/>
                        <a:pt x="23248" y="1466"/>
                      </a:cubicBezTo>
                      <a:close/>
                    </a:path>
                  </a:pathLst>
                </a:custGeom>
                <a:solidFill>
                  <a:schemeClr val="accent1"/>
                </a:solidFill>
                <a:ln w="2790" cap="flat">
                  <a:noFill/>
                  <a:prstDash val="solid"/>
                  <a:miter/>
                </a:ln>
              </p:spPr>
              <p:txBody>
                <a:bodyPr rtlCol="0" anchor="ctr"/>
                <a:lstStyle/>
                <a:p>
                  <a:endParaRPr lang="en-GB" dirty="0"/>
                </a:p>
              </p:txBody>
            </p:sp>
          </p:grpSp>
          <p:grpSp>
            <p:nvGrpSpPr>
              <p:cNvPr id="398" name="Grafik 7">
                <a:extLst>
                  <a:ext uri="{FF2B5EF4-FFF2-40B4-BE49-F238E27FC236}">
                    <a16:creationId xmlns:a16="http://schemas.microsoft.com/office/drawing/2014/main" id="{EB2551BD-746D-4403-A221-CF12C93D4155}"/>
                  </a:ext>
                </a:extLst>
              </p:cNvPr>
              <p:cNvGrpSpPr/>
              <p:nvPr/>
            </p:nvGrpSpPr>
            <p:grpSpPr>
              <a:xfrm>
                <a:off x="2046625" y="3290699"/>
                <a:ext cx="84309" cy="115046"/>
                <a:chOff x="2046625" y="3290699"/>
                <a:chExt cx="84309" cy="115046"/>
              </a:xfrm>
              <a:solidFill>
                <a:schemeClr val="accent1"/>
              </a:solidFill>
            </p:grpSpPr>
            <p:sp>
              <p:nvSpPr>
                <p:cNvPr id="410" name="Freihandform: Form 345">
                  <a:extLst>
                    <a:ext uri="{FF2B5EF4-FFF2-40B4-BE49-F238E27FC236}">
                      <a16:creationId xmlns:a16="http://schemas.microsoft.com/office/drawing/2014/main" id="{6D185F8F-1599-4396-8146-A566CF0B447A}"/>
                    </a:ext>
                  </a:extLst>
                </p:cNvPr>
                <p:cNvSpPr/>
                <p:nvPr/>
              </p:nvSpPr>
              <p:spPr>
                <a:xfrm>
                  <a:off x="2046625" y="3290699"/>
                  <a:ext cx="84309" cy="94275"/>
                </a:xfrm>
                <a:custGeom>
                  <a:avLst/>
                  <a:gdLst>
                    <a:gd name="connsiteX0" fmla="*/ 42155 w 84309"/>
                    <a:gd name="connsiteY0" fmla="*/ 0 h 94275"/>
                    <a:gd name="connsiteX1" fmla="*/ 0 w 84309"/>
                    <a:gd name="connsiteY1" fmla="*/ 42183 h 94275"/>
                    <a:gd name="connsiteX2" fmla="*/ 17755 w 84309"/>
                    <a:gd name="connsiteY2" fmla="*/ 76549 h 94275"/>
                    <a:gd name="connsiteX3" fmla="*/ 19514 w 84309"/>
                    <a:gd name="connsiteY3" fmla="*/ 77889 h 94275"/>
                    <a:gd name="connsiteX4" fmla="*/ 19514 w 84309"/>
                    <a:gd name="connsiteY4" fmla="*/ 89335 h 94275"/>
                    <a:gd name="connsiteX5" fmla="*/ 24455 w 84309"/>
                    <a:gd name="connsiteY5" fmla="*/ 94276 h 94275"/>
                    <a:gd name="connsiteX6" fmla="*/ 59826 w 84309"/>
                    <a:gd name="connsiteY6" fmla="*/ 94276 h 94275"/>
                    <a:gd name="connsiteX7" fmla="*/ 64768 w 84309"/>
                    <a:gd name="connsiteY7" fmla="*/ 89335 h 94275"/>
                    <a:gd name="connsiteX8" fmla="*/ 64768 w 84309"/>
                    <a:gd name="connsiteY8" fmla="*/ 79480 h 94275"/>
                    <a:gd name="connsiteX9" fmla="*/ 66108 w 84309"/>
                    <a:gd name="connsiteY9" fmla="*/ 76856 h 94275"/>
                    <a:gd name="connsiteX10" fmla="*/ 84310 w 84309"/>
                    <a:gd name="connsiteY10" fmla="*/ 42183 h 94275"/>
                    <a:gd name="connsiteX11" fmla="*/ 42155 w 84309"/>
                    <a:gd name="connsiteY11" fmla="*/ 0 h 94275"/>
                    <a:gd name="connsiteX12" fmla="*/ 60831 w 84309"/>
                    <a:gd name="connsiteY12" fmla="*/ 68508 h 94275"/>
                    <a:gd name="connsiteX13" fmla="*/ 54885 w 84309"/>
                    <a:gd name="connsiteY13" fmla="*/ 79759 h 94275"/>
                    <a:gd name="connsiteX14" fmla="*/ 54885 w 84309"/>
                    <a:gd name="connsiteY14" fmla="*/ 84393 h 94275"/>
                    <a:gd name="connsiteX15" fmla="*/ 29397 w 84309"/>
                    <a:gd name="connsiteY15" fmla="*/ 84393 h 94275"/>
                    <a:gd name="connsiteX16" fmla="*/ 29397 w 84309"/>
                    <a:gd name="connsiteY16" fmla="*/ 76074 h 94275"/>
                    <a:gd name="connsiteX17" fmla="*/ 29034 w 84309"/>
                    <a:gd name="connsiteY17" fmla="*/ 74231 h 94275"/>
                    <a:gd name="connsiteX18" fmla="*/ 23339 w 84309"/>
                    <a:gd name="connsiteY18" fmla="*/ 68425 h 94275"/>
                    <a:gd name="connsiteX19" fmla="*/ 9855 w 84309"/>
                    <a:gd name="connsiteY19" fmla="*/ 42183 h 94275"/>
                    <a:gd name="connsiteX20" fmla="*/ 42127 w 84309"/>
                    <a:gd name="connsiteY20" fmla="*/ 9883 h 94275"/>
                    <a:gd name="connsiteX21" fmla="*/ 74399 w 84309"/>
                    <a:gd name="connsiteY21" fmla="*/ 42183 h 94275"/>
                    <a:gd name="connsiteX22" fmla="*/ 60831 w 84309"/>
                    <a:gd name="connsiteY22" fmla="*/ 68508 h 9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4309" h="94275">
                      <a:moveTo>
                        <a:pt x="42155" y="0"/>
                      </a:moveTo>
                      <a:cubicBezTo>
                        <a:pt x="18900" y="0"/>
                        <a:pt x="0" y="18928"/>
                        <a:pt x="0" y="42183"/>
                      </a:cubicBezTo>
                      <a:cubicBezTo>
                        <a:pt x="0" y="56029"/>
                        <a:pt x="6644" y="68871"/>
                        <a:pt x="17755" y="76549"/>
                      </a:cubicBezTo>
                      <a:cubicBezTo>
                        <a:pt x="18565" y="77107"/>
                        <a:pt x="19151" y="77554"/>
                        <a:pt x="19514" y="77889"/>
                      </a:cubicBezTo>
                      <a:lnTo>
                        <a:pt x="19514" y="89335"/>
                      </a:lnTo>
                      <a:cubicBezTo>
                        <a:pt x="19514" y="92070"/>
                        <a:pt x="21719" y="94276"/>
                        <a:pt x="24455" y="94276"/>
                      </a:cubicBezTo>
                      <a:lnTo>
                        <a:pt x="59826" y="94276"/>
                      </a:lnTo>
                      <a:cubicBezTo>
                        <a:pt x="62562" y="94276"/>
                        <a:pt x="64768" y="92070"/>
                        <a:pt x="64768" y="89335"/>
                      </a:cubicBezTo>
                      <a:lnTo>
                        <a:pt x="64768" y="79480"/>
                      </a:lnTo>
                      <a:cubicBezTo>
                        <a:pt x="64768" y="79201"/>
                        <a:pt x="64796" y="77693"/>
                        <a:pt x="66108" y="76856"/>
                      </a:cubicBezTo>
                      <a:cubicBezTo>
                        <a:pt x="77330" y="69737"/>
                        <a:pt x="84310" y="56448"/>
                        <a:pt x="84310" y="42183"/>
                      </a:cubicBezTo>
                      <a:cubicBezTo>
                        <a:pt x="84310" y="18928"/>
                        <a:pt x="65410" y="0"/>
                        <a:pt x="42155" y="0"/>
                      </a:cubicBezTo>
                      <a:close/>
                      <a:moveTo>
                        <a:pt x="60831" y="68508"/>
                      </a:moveTo>
                      <a:cubicBezTo>
                        <a:pt x="55695" y="71775"/>
                        <a:pt x="54690" y="77358"/>
                        <a:pt x="54885" y="79759"/>
                      </a:cubicBezTo>
                      <a:lnTo>
                        <a:pt x="54885" y="84393"/>
                      </a:lnTo>
                      <a:lnTo>
                        <a:pt x="29397" y="84393"/>
                      </a:lnTo>
                      <a:lnTo>
                        <a:pt x="29397" y="76074"/>
                      </a:lnTo>
                      <a:cubicBezTo>
                        <a:pt x="29397" y="75432"/>
                        <a:pt x="29285" y="74818"/>
                        <a:pt x="29034" y="74231"/>
                      </a:cubicBezTo>
                      <a:cubicBezTo>
                        <a:pt x="28336" y="72501"/>
                        <a:pt x="26437" y="70546"/>
                        <a:pt x="23339" y="68425"/>
                      </a:cubicBezTo>
                      <a:cubicBezTo>
                        <a:pt x="14880" y="62590"/>
                        <a:pt x="9855" y="52791"/>
                        <a:pt x="9855" y="42183"/>
                      </a:cubicBezTo>
                      <a:cubicBezTo>
                        <a:pt x="9855" y="24372"/>
                        <a:pt x="24344" y="9883"/>
                        <a:pt x="42127" y="9883"/>
                      </a:cubicBezTo>
                      <a:cubicBezTo>
                        <a:pt x="59938" y="9883"/>
                        <a:pt x="74399" y="24372"/>
                        <a:pt x="74399" y="42183"/>
                      </a:cubicBezTo>
                      <a:cubicBezTo>
                        <a:pt x="74427" y="53098"/>
                        <a:pt x="69234" y="63176"/>
                        <a:pt x="60831" y="68508"/>
                      </a:cubicBezTo>
                      <a:close/>
                    </a:path>
                  </a:pathLst>
                </a:custGeom>
                <a:solidFill>
                  <a:schemeClr val="accent1"/>
                </a:solidFill>
                <a:ln w="2790" cap="flat">
                  <a:noFill/>
                  <a:prstDash val="solid"/>
                  <a:miter/>
                </a:ln>
              </p:spPr>
              <p:txBody>
                <a:bodyPr rtlCol="0" anchor="ctr"/>
                <a:lstStyle/>
                <a:p>
                  <a:endParaRPr lang="en-GB" dirty="0"/>
                </a:p>
              </p:txBody>
            </p:sp>
            <p:sp>
              <p:nvSpPr>
                <p:cNvPr id="411" name="Freihandform: Form 346">
                  <a:extLst>
                    <a:ext uri="{FF2B5EF4-FFF2-40B4-BE49-F238E27FC236}">
                      <a16:creationId xmlns:a16="http://schemas.microsoft.com/office/drawing/2014/main" id="{7B75AEC8-0B4A-454F-84D2-2B2A72299E42}"/>
                    </a:ext>
                  </a:extLst>
                </p:cNvPr>
                <p:cNvSpPr/>
                <p:nvPr/>
              </p:nvSpPr>
              <p:spPr>
                <a:xfrm>
                  <a:off x="2072560" y="3395862"/>
                  <a:ext cx="31965" cy="9882"/>
                </a:xfrm>
                <a:custGeom>
                  <a:avLst/>
                  <a:gdLst>
                    <a:gd name="connsiteX0" fmla="*/ 27024 w 31965"/>
                    <a:gd name="connsiteY0" fmla="*/ 0 h 9882"/>
                    <a:gd name="connsiteX1" fmla="*/ 4941 w 31965"/>
                    <a:gd name="connsiteY1" fmla="*/ 0 h 9882"/>
                    <a:gd name="connsiteX2" fmla="*/ 0 w 31965"/>
                    <a:gd name="connsiteY2" fmla="*/ 4941 h 9882"/>
                    <a:gd name="connsiteX3" fmla="*/ 4941 w 31965"/>
                    <a:gd name="connsiteY3" fmla="*/ 9883 h 9882"/>
                    <a:gd name="connsiteX4" fmla="*/ 27024 w 31965"/>
                    <a:gd name="connsiteY4" fmla="*/ 9883 h 9882"/>
                    <a:gd name="connsiteX5" fmla="*/ 31965 w 31965"/>
                    <a:gd name="connsiteY5" fmla="*/ 4941 h 9882"/>
                    <a:gd name="connsiteX6" fmla="*/ 27024 w 31965"/>
                    <a:gd name="connsiteY6" fmla="*/ 0 h 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65" h="9882">
                      <a:moveTo>
                        <a:pt x="27024" y="0"/>
                      </a:moveTo>
                      <a:lnTo>
                        <a:pt x="4941" y="0"/>
                      </a:lnTo>
                      <a:cubicBezTo>
                        <a:pt x="2205" y="0"/>
                        <a:pt x="0" y="2205"/>
                        <a:pt x="0" y="4941"/>
                      </a:cubicBezTo>
                      <a:cubicBezTo>
                        <a:pt x="0" y="7677"/>
                        <a:pt x="2205" y="9883"/>
                        <a:pt x="4941" y="9883"/>
                      </a:cubicBezTo>
                      <a:lnTo>
                        <a:pt x="27024" y="9883"/>
                      </a:lnTo>
                      <a:cubicBezTo>
                        <a:pt x="29760" y="9883"/>
                        <a:pt x="31965" y="7677"/>
                        <a:pt x="31965" y="4941"/>
                      </a:cubicBezTo>
                      <a:cubicBezTo>
                        <a:pt x="31965" y="2205"/>
                        <a:pt x="29760" y="0"/>
                        <a:pt x="27024" y="0"/>
                      </a:cubicBezTo>
                      <a:close/>
                    </a:path>
                  </a:pathLst>
                </a:custGeom>
                <a:solidFill>
                  <a:schemeClr val="accent1"/>
                </a:solidFill>
                <a:ln w="2790" cap="flat">
                  <a:noFill/>
                  <a:prstDash val="solid"/>
                  <a:miter/>
                </a:ln>
              </p:spPr>
              <p:txBody>
                <a:bodyPr rtlCol="0" anchor="ctr"/>
                <a:lstStyle/>
                <a:p>
                  <a:endParaRPr lang="en-GB" dirty="0"/>
                </a:p>
              </p:txBody>
            </p:sp>
          </p:grpSp>
          <p:grpSp>
            <p:nvGrpSpPr>
              <p:cNvPr id="399" name="Grafik 7">
                <a:extLst>
                  <a:ext uri="{FF2B5EF4-FFF2-40B4-BE49-F238E27FC236}">
                    <a16:creationId xmlns:a16="http://schemas.microsoft.com/office/drawing/2014/main" id="{95BD0BFD-7D0F-4A26-BD91-96BBE977692E}"/>
                  </a:ext>
                </a:extLst>
              </p:cNvPr>
              <p:cNvGrpSpPr/>
              <p:nvPr/>
            </p:nvGrpSpPr>
            <p:grpSpPr>
              <a:xfrm>
                <a:off x="2028877" y="3243016"/>
                <a:ext cx="119806" cy="45867"/>
                <a:chOff x="2028877" y="3243016"/>
                <a:chExt cx="119806" cy="45867"/>
              </a:xfrm>
              <a:solidFill>
                <a:schemeClr val="accent1"/>
              </a:solidFill>
            </p:grpSpPr>
            <p:sp>
              <p:nvSpPr>
                <p:cNvPr id="407" name="Freihandform: Form 348">
                  <a:extLst>
                    <a:ext uri="{FF2B5EF4-FFF2-40B4-BE49-F238E27FC236}">
                      <a16:creationId xmlns:a16="http://schemas.microsoft.com/office/drawing/2014/main" id="{15866046-2468-4161-BC86-0C065661DD14}"/>
                    </a:ext>
                  </a:extLst>
                </p:cNvPr>
                <p:cNvSpPr/>
                <p:nvPr/>
              </p:nvSpPr>
              <p:spPr>
                <a:xfrm>
                  <a:off x="2082946" y="3243016"/>
                  <a:ext cx="9882" cy="32886"/>
                </a:xfrm>
                <a:custGeom>
                  <a:avLst/>
                  <a:gdLst>
                    <a:gd name="connsiteX0" fmla="*/ 4941 w 9882"/>
                    <a:gd name="connsiteY0" fmla="*/ 0 h 32886"/>
                    <a:gd name="connsiteX1" fmla="*/ 0 w 9882"/>
                    <a:gd name="connsiteY1" fmla="*/ 4941 h 32886"/>
                    <a:gd name="connsiteX2" fmla="*/ 0 w 9882"/>
                    <a:gd name="connsiteY2" fmla="*/ 27945 h 32886"/>
                    <a:gd name="connsiteX3" fmla="*/ 4941 w 9882"/>
                    <a:gd name="connsiteY3" fmla="*/ 32886 h 32886"/>
                    <a:gd name="connsiteX4" fmla="*/ 9883 w 9882"/>
                    <a:gd name="connsiteY4" fmla="*/ 27945 h 32886"/>
                    <a:gd name="connsiteX5" fmla="*/ 9883 w 9882"/>
                    <a:gd name="connsiteY5" fmla="*/ 4941 h 32886"/>
                    <a:gd name="connsiteX6" fmla="*/ 4941 w 9882"/>
                    <a:gd name="connsiteY6" fmla="*/ 0 h 3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2" h="32886">
                      <a:moveTo>
                        <a:pt x="4941" y="0"/>
                      </a:moveTo>
                      <a:cubicBezTo>
                        <a:pt x="2205" y="0"/>
                        <a:pt x="0" y="2205"/>
                        <a:pt x="0" y="4941"/>
                      </a:cubicBezTo>
                      <a:lnTo>
                        <a:pt x="0" y="27945"/>
                      </a:lnTo>
                      <a:cubicBezTo>
                        <a:pt x="0" y="30681"/>
                        <a:pt x="2205" y="32886"/>
                        <a:pt x="4941" y="32886"/>
                      </a:cubicBezTo>
                      <a:cubicBezTo>
                        <a:pt x="7677" y="32886"/>
                        <a:pt x="9883" y="30681"/>
                        <a:pt x="9883" y="27945"/>
                      </a:cubicBezTo>
                      <a:lnTo>
                        <a:pt x="9883" y="4941"/>
                      </a:lnTo>
                      <a:cubicBezTo>
                        <a:pt x="9883" y="2205"/>
                        <a:pt x="7649" y="0"/>
                        <a:pt x="4941" y="0"/>
                      </a:cubicBezTo>
                      <a:close/>
                    </a:path>
                  </a:pathLst>
                </a:custGeom>
                <a:solidFill>
                  <a:schemeClr val="accent1"/>
                </a:solidFill>
                <a:ln w="2790" cap="flat">
                  <a:noFill/>
                  <a:prstDash val="solid"/>
                  <a:miter/>
                </a:ln>
              </p:spPr>
              <p:txBody>
                <a:bodyPr rtlCol="0" anchor="ctr"/>
                <a:lstStyle/>
                <a:p>
                  <a:endParaRPr lang="en-GB" dirty="0"/>
                </a:p>
              </p:txBody>
            </p:sp>
            <p:sp>
              <p:nvSpPr>
                <p:cNvPr id="408" name="Freihandform: Form 349">
                  <a:extLst>
                    <a:ext uri="{FF2B5EF4-FFF2-40B4-BE49-F238E27FC236}">
                      <a16:creationId xmlns:a16="http://schemas.microsoft.com/office/drawing/2014/main" id="{11404D57-D7B2-4FED-8208-D028F6384259}"/>
                    </a:ext>
                  </a:extLst>
                </p:cNvPr>
                <p:cNvSpPr/>
                <p:nvPr/>
              </p:nvSpPr>
              <p:spPr>
                <a:xfrm>
                  <a:off x="2028877" y="3262733"/>
                  <a:ext cx="26144" cy="26123"/>
                </a:xfrm>
                <a:custGeom>
                  <a:avLst/>
                  <a:gdLst>
                    <a:gd name="connsiteX0" fmla="*/ 8424 w 26144"/>
                    <a:gd name="connsiteY0" fmla="*/ 1445 h 26123"/>
                    <a:gd name="connsiteX1" fmla="*/ 1445 w 26144"/>
                    <a:gd name="connsiteY1" fmla="*/ 1445 h 26123"/>
                    <a:gd name="connsiteX2" fmla="*/ 1445 w 26144"/>
                    <a:gd name="connsiteY2" fmla="*/ 8424 h 26123"/>
                    <a:gd name="connsiteX3" fmla="*/ 17720 w 26144"/>
                    <a:gd name="connsiteY3" fmla="*/ 24672 h 26123"/>
                    <a:gd name="connsiteX4" fmla="*/ 21210 w 26144"/>
                    <a:gd name="connsiteY4" fmla="*/ 26123 h 26123"/>
                    <a:gd name="connsiteX5" fmla="*/ 24700 w 26144"/>
                    <a:gd name="connsiteY5" fmla="*/ 24672 h 26123"/>
                    <a:gd name="connsiteX6" fmla="*/ 24700 w 26144"/>
                    <a:gd name="connsiteY6" fmla="*/ 17692 h 26123"/>
                    <a:gd name="connsiteX7" fmla="*/ 8424 w 26144"/>
                    <a:gd name="connsiteY7" fmla="*/ 144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44" h="26123">
                      <a:moveTo>
                        <a:pt x="8424" y="1445"/>
                      </a:moveTo>
                      <a:cubicBezTo>
                        <a:pt x="6498" y="-482"/>
                        <a:pt x="3371" y="-482"/>
                        <a:pt x="1445" y="1445"/>
                      </a:cubicBezTo>
                      <a:cubicBezTo>
                        <a:pt x="-482" y="3371"/>
                        <a:pt x="-482" y="6498"/>
                        <a:pt x="1445" y="8424"/>
                      </a:cubicBezTo>
                      <a:lnTo>
                        <a:pt x="17720" y="24672"/>
                      </a:lnTo>
                      <a:cubicBezTo>
                        <a:pt x="18697" y="25649"/>
                        <a:pt x="19954" y="26123"/>
                        <a:pt x="21210" y="26123"/>
                      </a:cubicBezTo>
                      <a:cubicBezTo>
                        <a:pt x="22466" y="26123"/>
                        <a:pt x="23750" y="25649"/>
                        <a:pt x="24700" y="24672"/>
                      </a:cubicBezTo>
                      <a:cubicBezTo>
                        <a:pt x="26626" y="22745"/>
                        <a:pt x="26626" y="19619"/>
                        <a:pt x="24700" y="17692"/>
                      </a:cubicBezTo>
                      <a:lnTo>
                        <a:pt x="8424" y="1445"/>
                      </a:lnTo>
                      <a:close/>
                    </a:path>
                  </a:pathLst>
                </a:custGeom>
                <a:solidFill>
                  <a:schemeClr val="accent1"/>
                </a:solidFill>
                <a:ln w="2790" cap="flat">
                  <a:noFill/>
                  <a:prstDash val="solid"/>
                  <a:miter/>
                </a:ln>
              </p:spPr>
              <p:txBody>
                <a:bodyPr rtlCol="0" anchor="ctr"/>
                <a:lstStyle/>
                <a:p>
                  <a:endParaRPr lang="en-GB" dirty="0"/>
                </a:p>
              </p:txBody>
            </p:sp>
            <p:sp>
              <p:nvSpPr>
                <p:cNvPr id="409" name="Freihandform: Form 350">
                  <a:extLst>
                    <a:ext uri="{FF2B5EF4-FFF2-40B4-BE49-F238E27FC236}">
                      <a16:creationId xmlns:a16="http://schemas.microsoft.com/office/drawing/2014/main" id="{9ADA9B94-8BB0-4AA1-B98C-C599B1BD3645}"/>
                    </a:ext>
                  </a:extLst>
                </p:cNvPr>
                <p:cNvSpPr/>
                <p:nvPr/>
              </p:nvSpPr>
              <p:spPr>
                <a:xfrm>
                  <a:off x="2122539" y="3262736"/>
                  <a:ext cx="26144" cy="26147"/>
                </a:xfrm>
                <a:custGeom>
                  <a:avLst/>
                  <a:gdLst>
                    <a:gd name="connsiteX0" fmla="*/ 17720 w 26144"/>
                    <a:gd name="connsiteY0" fmla="*/ 1441 h 26147"/>
                    <a:gd name="connsiteX1" fmla="*/ 1445 w 26144"/>
                    <a:gd name="connsiteY1" fmla="*/ 17717 h 26147"/>
                    <a:gd name="connsiteX2" fmla="*/ 1445 w 26144"/>
                    <a:gd name="connsiteY2" fmla="*/ 24696 h 26147"/>
                    <a:gd name="connsiteX3" fmla="*/ 4934 w 26144"/>
                    <a:gd name="connsiteY3" fmla="*/ 26148 h 26147"/>
                    <a:gd name="connsiteX4" fmla="*/ 8424 w 26144"/>
                    <a:gd name="connsiteY4" fmla="*/ 24696 h 26147"/>
                    <a:gd name="connsiteX5" fmla="*/ 24700 w 26144"/>
                    <a:gd name="connsiteY5" fmla="*/ 8448 h 26147"/>
                    <a:gd name="connsiteX6" fmla="*/ 24700 w 26144"/>
                    <a:gd name="connsiteY6" fmla="*/ 1469 h 26147"/>
                    <a:gd name="connsiteX7" fmla="*/ 17720 w 26144"/>
                    <a:gd name="connsiteY7" fmla="*/ 1441 h 26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44" h="26147">
                      <a:moveTo>
                        <a:pt x="17720" y="1441"/>
                      </a:moveTo>
                      <a:lnTo>
                        <a:pt x="1445" y="17717"/>
                      </a:lnTo>
                      <a:cubicBezTo>
                        <a:pt x="-482" y="19643"/>
                        <a:pt x="-482" y="22770"/>
                        <a:pt x="1445" y="24696"/>
                      </a:cubicBezTo>
                      <a:cubicBezTo>
                        <a:pt x="2422" y="25673"/>
                        <a:pt x="3678" y="26148"/>
                        <a:pt x="4934" y="26148"/>
                      </a:cubicBezTo>
                      <a:cubicBezTo>
                        <a:pt x="6191" y="26148"/>
                        <a:pt x="7475" y="25673"/>
                        <a:pt x="8424" y="24696"/>
                      </a:cubicBezTo>
                      <a:lnTo>
                        <a:pt x="24700" y="8448"/>
                      </a:lnTo>
                      <a:cubicBezTo>
                        <a:pt x="26626" y="6522"/>
                        <a:pt x="26626" y="3395"/>
                        <a:pt x="24700" y="1469"/>
                      </a:cubicBezTo>
                      <a:cubicBezTo>
                        <a:pt x="22773" y="-485"/>
                        <a:pt x="19647" y="-485"/>
                        <a:pt x="17720" y="1441"/>
                      </a:cubicBezTo>
                      <a:close/>
                    </a:path>
                  </a:pathLst>
                </a:custGeom>
                <a:solidFill>
                  <a:schemeClr val="accent1"/>
                </a:solidFill>
                <a:ln w="2790" cap="flat">
                  <a:noFill/>
                  <a:prstDash val="solid"/>
                  <a:miter/>
                </a:ln>
              </p:spPr>
              <p:txBody>
                <a:bodyPr rtlCol="0" anchor="ctr"/>
                <a:lstStyle/>
                <a:p>
                  <a:endParaRPr lang="en-GB" dirty="0"/>
                </a:p>
              </p:txBody>
            </p:sp>
          </p:grpSp>
          <p:grpSp>
            <p:nvGrpSpPr>
              <p:cNvPr id="400" name="Grafik 7">
                <a:extLst>
                  <a:ext uri="{FF2B5EF4-FFF2-40B4-BE49-F238E27FC236}">
                    <a16:creationId xmlns:a16="http://schemas.microsoft.com/office/drawing/2014/main" id="{7E5AF6F2-CE43-4BE0-8238-356BFB612432}"/>
                  </a:ext>
                </a:extLst>
              </p:cNvPr>
              <p:cNvGrpSpPr/>
              <p:nvPr/>
            </p:nvGrpSpPr>
            <p:grpSpPr>
              <a:xfrm>
                <a:off x="1696266" y="3268728"/>
                <a:ext cx="84309" cy="115046"/>
                <a:chOff x="1696266" y="3268728"/>
                <a:chExt cx="84309" cy="115046"/>
              </a:xfrm>
              <a:solidFill>
                <a:schemeClr val="accent1"/>
              </a:solidFill>
            </p:grpSpPr>
            <p:sp>
              <p:nvSpPr>
                <p:cNvPr id="405" name="Freihandform: Form 353">
                  <a:extLst>
                    <a:ext uri="{FF2B5EF4-FFF2-40B4-BE49-F238E27FC236}">
                      <a16:creationId xmlns:a16="http://schemas.microsoft.com/office/drawing/2014/main" id="{D67A1FF1-E898-499A-9D51-0379573368FE}"/>
                    </a:ext>
                  </a:extLst>
                </p:cNvPr>
                <p:cNvSpPr/>
                <p:nvPr/>
              </p:nvSpPr>
              <p:spPr>
                <a:xfrm>
                  <a:off x="1696266" y="3268728"/>
                  <a:ext cx="84309" cy="94276"/>
                </a:xfrm>
                <a:custGeom>
                  <a:avLst/>
                  <a:gdLst>
                    <a:gd name="connsiteX0" fmla="*/ 42155 w 84309"/>
                    <a:gd name="connsiteY0" fmla="*/ 0 h 94276"/>
                    <a:gd name="connsiteX1" fmla="*/ 0 w 84309"/>
                    <a:gd name="connsiteY1" fmla="*/ 42183 h 94276"/>
                    <a:gd name="connsiteX2" fmla="*/ 17755 w 84309"/>
                    <a:gd name="connsiteY2" fmla="*/ 76549 h 94276"/>
                    <a:gd name="connsiteX3" fmla="*/ 19514 w 84309"/>
                    <a:gd name="connsiteY3" fmla="*/ 77889 h 94276"/>
                    <a:gd name="connsiteX4" fmla="*/ 19514 w 84309"/>
                    <a:gd name="connsiteY4" fmla="*/ 89335 h 94276"/>
                    <a:gd name="connsiteX5" fmla="*/ 24455 w 84309"/>
                    <a:gd name="connsiteY5" fmla="*/ 94276 h 94276"/>
                    <a:gd name="connsiteX6" fmla="*/ 59826 w 84309"/>
                    <a:gd name="connsiteY6" fmla="*/ 94276 h 94276"/>
                    <a:gd name="connsiteX7" fmla="*/ 64768 w 84309"/>
                    <a:gd name="connsiteY7" fmla="*/ 89335 h 94276"/>
                    <a:gd name="connsiteX8" fmla="*/ 64768 w 84309"/>
                    <a:gd name="connsiteY8" fmla="*/ 79480 h 94276"/>
                    <a:gd name="connsiteX9" fmla="*/ 66108 w 84309"/>
                    <a:gd name="connsiteY9" fmla="*/ 76856 h 94276"/>
                    <a:gd name="connsiteX10" fmla="*/ 84310 w 84309"/>
                    <a:gd name="connsiteY10" fmla="*/ 42183 h 94276"/>
                    <a:gd name="connsiteX11" fmla="*/ 42155 w 84309"/>
                    <a:gd name="connsiteY11" fmla="*/ 0 h 94276"/>
                    <a:gd name="connsiteX12" fmla="*/ 60831 w 84309"/>
                    <a:gd name="connsiteY12" fmla="*/ 68509 h 94276"/>
                    <a:gd name="connsiteX13" fmla="*/ 54885 w 84309"/>
                    <a:gd name="connsiteY13" fmla="*/ 79759 h 94276"/>
                    <a:gd name="connsiteX14" fmla="*/ 54885 w 84309"/>
                    <a:gd name="connsiteY14" fmla="*/ 84393 h 94276"/>
                    <a:gd name="connsiteX15" fmla="*/ 29425 w 84309"/>
                    <a:gd name="connsiteY15" fmla="*/ 84393 h 94276"/>
                    <a:gd name="connsiteX16" fmla="*/ 29425 w 84309"/>
                    <a:gd name="connsiteY16" fmla="*/ 76074 h 94276"/>
                    <a:gd name="connsiteX17" fmla="*/ 29062 w 84309"/>
                    <a:gd name="connsiteY17" fmla="*/ 74232 h 94276"/>
                    <a:gd name="connsiteX18" fmla="*/ 23367 w 84309"/>
                    <a:gd name="connsiteY18" fmla="*/ 68425 h 94276"/>
                    <a:gd name="connsiteX19" fmla="*/ 9883 w 84309"/>
                    <a:gd name="connsiteY19" fmla="*/ 42183 h 94276"/>
                    <a:gd name="connsiteX20" fmla="*/ 42155 w 84309"/>
                    <a:gd name="connsiteY20" fmla="*/ 9883 h 94276"/>
                    <a:gd name="connsiteX21" fmla="*/ 74427 w 84309"/>
                    <a:gd name="connsiteY21" fmla="*/ 42183 h 94276"/>
                    <a:gd name="connsiteX22" fmla="*/ 60831 w 84309"/>
                    <a:gd name="connsiteY22" fmla="*/ 68509 h 9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4309" h="94276">
                      <a:moveTo>
                        <a:pt x="42155" y="0"/>
                      </a:moveTo>
                      <a:cubicBezTo>
                        <a:pt x="18900" y="0"/>
                        <a:pt x="0" y="18928"/>
                        <a:pt x="0" y="42183"/>
                      </a:cubicBezTo>
                      <a:cubicBezTo>
                        <a:pt x="0" y="56030"/>
                        <a:pt x="6644" y="68872"/>
                        <a:pt x="17755" y="76549"/>
                      </a:cubicBezTo>
                      <a:cubicBezTo>
                        <a:pt x="18565" y="77107"/>
                        <a:pt x="19151" y="77554"/>
                        <a:pt x="19514" y="77889"/>
                      </a:cubicBezTo>
                      <a:lnTo>
                        <a:pt x="19514" y="89335"/>
                      </a:lnTo>
                      <a:cubicBezTo>
                        <a:pt x="19514" y="92071"/>
                        <a:pt x="21719" y="94276"/>
                        <a:pt x="24455" y="94276"/>
                      </a:cubicBezTo>
                      <a:lnTo>
                        <a:pt x="59826" y="94276"/>
                      </a:lnTo>
                      <a:cubicBezTo>
                        <a:pt x="62562" y="94276"/>
                        <a:pt x="64768" y="92071"/>
                        <a:pt x="64768" y="89335"/>
                      </a:cubicBezTo>
                      <a:lnTo>
                        <a:pt x="64768" y="79480"/>
                      </a:lnTo>
                      <a:cubicBezTo>
                        <a:pt x="64768" y="79201"/>
                        <a:pt x="64796" y="77693"/>
                        <a:pt x="66108" y="76856"/>
                      </a:cubicBezTo>
                      <a:cubicBezTo>
                        <a:pt x="77330" y="69737"/>
                        <a:pt x="84310" y="56448"/>
                        <a:pt x="84310" y="42183"/>
                      </a:cubicBezTo>
                      <a:cubicBezTo>
                        <a:pt x="84338" y="18928"/>
                        <a:pt x="65410" y="0"/>
                        <a:pt x="42155" y="0"/>
                      </a:cubicBezTo>
                      <a:close/>
                      <a:moveTo>
                        <a:pt x="60831" y="68509"/>
                      </a:moveTo>
                      <a:cubicBezTo>
                        <a:pt x="55695" y="71775"/>
                        <a:pt x="54690" y="77358"/>
                        <a:pt x="54885" y="79759"/>
                      </a:cubicBezTo>
                      <a:lnTo>
                        <a:pt x="54885" y="84393"/>
                      </a:lnTo>
                      <a:lnTo>
                        <a:pt x="29425" y="84393"/>
                      </a:lnTo>
                      <a:lnTo>
                        <a:pt x="29425" y="76074"/>
                      </a:lnTo>
                      <a:cubicBezTo>
                        <a:pt x="29425" y="75432"/>
                        <a:pt x="29313" y="74818"/>
                        <a:pt x="29062" y="74232"/>
                      </a:cubicBezTo>
                      <a:cubicBezTo>
                        <a:pt x="28364" y="72501"/>
                        <a:pt x="26465" y="70546"/>
                        <a:pt x="23367" y="68425"/>
                      </a:cubicBezTo>
                      <a:cubicBezTo>
                        <a:pt x="14908" y="62590"/>
                        <a:pt x="9883" y="52791"/>
                        <a:pt x="9883" y="42183"/>
                      </a:cubicBezTo>
                      <a:cubicBezTo>
                        <a:pt x="9883" y="24372"/>
                        <a:pt x="24372" y="9883"/>
                        <a:pt x="42155" y="9883"/>
                      </a:cubicBezTo>
                      <a:cubicBezTo>
                        <a:pt x="59966" y="9883"/>
                        <a:pt x="74427" y="24372"/>
                        <a:pt x="74427" y="42183"/>
                      </a:cubicBezTo>
                      <a:cubicBezTo>
                        <a:pt x="74427" y="53098"/>
                        <a:pt x="69234" y="63204"/>
                        <a:pt x="60831" y="68509"/>
                      </a:cubicBezTo>
                      <a:close/>
                    </a:path>
                  </a:pathLst>
                </a:custGeom>
                <a:solidFill>
                  <a:schemeClr val="accent1"/>
                </a:solidFill>
                <a:ln w="2790" cap="flat">
                  <a:noFill/>
                  <a:prstDash val="solid"/>
                  <a:miter/>
                </a:ln>
              </p:spPr>
              <p:txBody>
                <a:bodyPr rtlCol="0" anchor="ctr"/>
                <a:lstStyle/>
                <a:p>
                  <a:endParaRPr lang="en-GB" dirty="0"/>
                </a:p>
              </p:txBody>
            </p:sp>
            <p:sp>
              <p:nvSpPr>
                <p:cNvPr id="406" name="Freihandform: Form 354">
                  <a:extLst>
                    <a:ext uri="{FF2B5EF4-FFF2-40B4-BE49-F238E27FC236}">
                      <a16:creationId xmlns:a16="http://schemas.microsoft.com/office/drawing/2014/main" id="{A053518F-D776-4A4F-8A88-B2881557EECA}"/>
                    </a:ext>
                  </a:extLst>
                </p:cNvPr>
                <p:cNvSpPr/>
                <p:nvPr/>
              </p:nvSpPr>
              <p:spPr>
                <a:xfrm>
                  <a:off x="1722201" y="3373892"/>
                  <a:ext cx="31965" cy="9882"/>
                </a:xfrm>
                <a:custGeom>
                  <a:avLst/>
                  <a:gdLst>
                    <a:gd name="connsiteX0" fmla="*/ 27024 w 31965"/>
                    <a:gd name="connsiteY0" fmla="*/ 0 h 9882"/>
                    <a:gd name="connsiteX1" fmla="*/ 4941 w 31965"/>
                    <a:gd name="connsiteY1" fmla="*/ 0 h 9882"/>
                    <a:gd name="connsiteX2" fmla="*/ 0 w 31965"/>
                    <a:gd name="connsiteY2" fmla="*/ 4941 h 9882"/>
                    <a:gd name="connsiteX3" fmla="*/ 4941 w 31965"/>
                    <a:gd name="connsiteY3" fmla="*/ 9883 h 9882"/>
                    <a:gd name="connsiteX4" fmla="*/ 27024 w 31965"/>
                    <a:gd name="connsiteY4" fmla="*/ 9883 h 9882"/>
                    <a:gd name="connsiteX5" fmla="*/ 31965 w 31965"/>
                    <a:gd name="connsiteY5" fmla="*/ 4941 h 9882"/>
                    <a:gd name="connsiteX6" fmla="*/ 27024 w 31965"/>
                    <a:gd name="connsiteY6" fmla="*/ 0 h 9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965" h="9882">
                      <a:moveTo>
                        <a:pt x="27024" y="0"/>
                      </a:moveTo>
                      <a:lnTo>
                        <a:pt x="4941" y="0"/>
                      </a:lnTo>
                      <a:cubicBezTo>
                        <a:pt x="2205" y="0"/>
                        <a:pt x="0" y="2205"/>
                        <a:pt x="0" y="4941"/>
                      </a:cubicBezTo>
                      <a:cubicBezTo>
                        <a:pt x="0" y="7677"/>
                        <a:pt x="2205" y="9883"/>
                        <a:pt x="4941" y="9883"/>
                      </a:cubicBezTo>
                      <a:lnTo>
                        <a:pt x="27024" y="9883"/>
                      </a:lnTo>
                      <a:cubicBezTo>
                        <a:pt x="29760" y="9883"/>
                        <a:pt x="31965" y="7677"/>
                        <a:pt x="31965" y="4941"/>
                      </a:cubicBezTo>
                      <a:cubicBezTo>
                        <a:pt x="31965" y="2233"/>
                        <a:pt x="29760" y="0"/>
                        <a:pt x="27024" y="0"/>
                      </a:cubicBezTo>
                      <a:close/>
                    </a:path>
                  </a:pathLst>
                </a:custGeom>
                <a:solidFill>
                  <a:schemeClr val="accent1"/>
                </a:solidFill>
                <a:ln w="2790" cap="flat">
                  <a:noFill/>
                  <a:prstDash val="solid"/>
                  <a:miter/>
                </a:ln>
              </p:spPr>
              <p:txBody>
                <a:bodyPr rtlCol="0" anchor="ctr"/>
                <a:lstStyle/>
                <a:p>
                  <a:endParaRPr lang="en-GB" dirty="0"/>
                </a:p>
              </p:txBody>
            </p:sp>
          </p:grpSp>
          <p:grpSp>
            <p:nvGrpSpPr>
              <p:cNvPr id="401" name="Grafik 7">
                <a:extLst>
                  <a:ext uri="{FF2B5EF4-FFF2-40B4-BE49-F238E27FC236}">
                    <a16:creationId xmlns:a16="http://schemas.microsoft.com/office/drawing/2014/main" id="{F67944FF-F9E0-4A2A-9959-E57F59AAFB8B}"/>
                  </a:ext>
                </a:extLst>
              </p:cNvPr>
              <p:cNvGrpSpPr/>
              <p:nvPr/>
            </p:nvGrpSpPr>
            <p:grpSpPr>
              <a:xfrm>
                <a:off x="1678546" y="3221046"/>
                <a:ext cx="119778" cy="45867"/>
                <a:chOff x="1678546" y="3221046"/>
                <a:chExt cx="119778" cy="45867"/>
              </a:xfrm>
              <a:solidFill>
                <a:schemeClr val="accent1"/>
              </a:solidFill>
            </p:grpSpPr>
            <p:sp>
              <p:nvSpPr>
                <p:cNvPr id="402" name="Freihandform: Form 356">
                  <a:extLst>
                    <a:ext uri="{FF2B5EF4-FFF2-40B4-BE49-F238E27FC236}">
                      <a16:creationId xmlns:a16="http://schemas.microsoft.com/office/drawing/2014/main" id="{D11E7EBC-D2ED-4ED6-9A01-DBC62F4E3FD4}"/>
                    </a:ext>
                  </a:extLst>
                </p:cNvPr>
                <p:cNvSpPr/>
                <p:nvPr/>
              </p:nvSpPr>
              <p:spPr>
                <a:xfrm>
                  <a:off x="1732586" y="3221046"/>
                  <a:ext cx="9882" cy="32886"/>
                </a:xfrm>
                <a:custGeom>
                  <a:avLst/>
                  <a:gdLst>
                    <a:gd name="connsiteX0" fmla="*/ 4941 w 9882"/>
                    <a:gd name="connsiteY0" fmla="*/ 0 h 32886"/>
                    <a:gd name="connsiteX1" fmla="*/ 0 w 9882"/>
                    <a:gd name="connsiteY1" fmla="*/ 4941 h 32886"/>
                    <a:gd name="connsiteX2" fmla="*/ 0 w 9882"/>
                    <a:gd name="connsiteY2" fmla="*/ 27945 h 32886"/>
                    <a:gd name="connsiteX3" fmla="*/ 4941 w 9882"/>
                    <a:gd name="connsiteY3" fmla="*/ 32886 h 32886"/>
                    <a:gd name="connsiteX4" fmla="*/ 9883 w 9882"/>
                    <a:gd name="connsiteY4" fmla="*/ 27945 h 32886"/>
                    <a:gd name="connsiteX5" fmla="*/ 9883 w 9882"/>
                    <a:gd name="connsiteY5" fmla="*/ 4941 h 32886"/>
                    <a:gd name="connsiteX6" fmla="*/ 4941 w 9882"/>
                    <a:gd name="connsiteY6" fmla="*/ 0 h 32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2" h="32886">
                      <a:moveTo>
                        <a:pt x="4941" y="0"/>
                      </a:moveTo>
                      <a:cubicBezTo>
                        <a:pt x="2205" y="0"/>
                        <a:pt x="0" y="2205"/>
                        <a:pt x="0" y="4941"/>
                      </a:cubicBezTo>
                      <a:lnTo>
                        <a:pt x="0" y="27945"/>
                      </a:lnTo>
                      <a:cubicBezTo>
                        <a:pt x="0" y="30681"/>
                        <a:pt x="2205" y="32886"/>
                        <a:pt x="4941" y="32886"/>
                      </a:cubicBezTo>
                      <a:cubicBezTo>
                        <a:pt x="7677" y="32886"/>
                        <a:pt x="9883" y="30681"/>
                        <a:pt x="9883" y="27945"/>
                      </a:cubicBezTo>
                      <a:lnTo>
                        <a:pt x="9883" y="4941"/>
                      </a:lnTo>
                      <a:cubicBezTo>
                        <a:pt x="9883" y="2205"/>
                        <a:pt x="7677" y="0"/>
                        <a:pt x="4941" y="0"/>
                      </a:cubicBezTo>
                      <a:close/>
                    </a:path>
                  </a:pathLst>
                </a:custGeom>
                <a:solidFill>
                  <a:schemeClr val="accent1"/>
                </a:solidFill>
                <a:ln w="2790" cap="flat">
                  <a:noFill/>
                  <a:prstDash val="solid"/>
                  <a:miter/>
                </a:ln>
              </p:spPr>
              <p:txBody>
                <a:bodyPr rtlCol="0" anchor="ctr"/>
                <a:lstStyle/>
                <a:p>
                  <a:endParaRPr lang="en-GB" dirty="0"/>
                </a:p>
              </p:txBody>
            </p:sp>
            <p:sp>
              <p:nvSpPr>
                <p:cNvPr id="403" name="Freihandform: Form 357">
                  <a:extLst>
                    <a:ext uri="{FF2B5EF4-FFF2-40B4-BE49-F238E27FC236}">
                      <a16:creationId xmlns:a16="http://schemas.microsoft.com/office/drawing/2014/main" id="{253208AE-4B50-4C59-852B-A3B7E5989002}"/>
                    </a:ext>
                  </a:extLst>
                </p:cNvPr>
                <p:cNvSpPr/>
                <p:nvPr/>
              </p:nvSpPr>
              <p:spPr>
                <a:xfrm>
                  <a:off x="1678546" y="3240762"/>
                  <a:ext cx="26144" cy="26123"/>
                </a:xfrm>
                <a:custGeom>
                  <a:avLst/>
                  <a:gdLst>
                    <a:gd name="connsiteX0" fmla="*/ 8424 w 26144"/>
                    <a:gd name="connsiteY0" fmla="*/ 1445 h 26123"/>
                    <a:gd name="connsiteX1" fmla="*/ 1445 w 26144"/>
                    <a:gd name="connsiteY1" fmla="*/ 1445 h 26123"/>
                    <a:gd name="connsiteX2" fmla="*/ 1445 w 26144"/>
                    <a:gd name="connsiteY2" fmla="*/ 8424 h 26123"/>
                    <a:gd name="connsiteX3" fmla="*/ 17720 w 26144"/>
                    <a:gd name="connsiteY3" fmla="*/ 24672 h 26123"/>
                    <a:gd name="connsiteX4" fmla="*/ 21210 w 26144"/>
                    <a:gd name="connsiteY4" fmla="*/ 26123 h 26123"/>
                    <a:gd name="connsiteX5" fmla="*/ 24700 w 26144"/>
                    <a:gd name="connsiteY5" fmla="*/ 24672 h 26123"/>
                    <a:gd name="connsiteX6" fmla="*/ 24700 w 26144"/>
                    <a:gd name="connsiteY6" fmla="*/ 17692 h 26123"/>
                    <a:gd name="connsiteX7" fmla="*/ 8424 w 26144"/>
                    <a:gd name="connsiteY7" fmla="*/ 1445 h 26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44" h="26123">
                      <a:moveTo>
                        <a:pt x="8424" y="1445"/>
                      </a:moveTo>
                      <a:cubicBezTo>
                        <a:pt x="6498" y="-482"/>
                        <a:pt x="3371" y="-482"/>
                        <a:pt x="1445" y="1445"/>
                      </a:cubicBezTo>
                      <a:cubicBezTo>
                        <a:pt x="-482" y="3371"/>
                        <a:pt x="-482" y="6498"/>
                        <a:pt x="1445" y="8424"/>
                      </a:cubicBezTo>
                      <a:lnTo>
                        <a:pt x="17720" y="24672"/>
                      </a:lnTo>
                      <a:cubicBezTo>
                        <a:pt x="18697" y="25649"/>
                        <a:pt x="19954" y="26123"/>
                        <a:pt x="21210" y="26123"/>
                      </a:cubicBezTo>
                      <a:cubicBezTo>
                        <a:pt x="22466" y="26123"/>
                        <a:pt x="23750" y="25649"/>
                        <a:pt x="24700" y="24672"/>
                      </a:cubicBezTo>
                      <a:cubicBezTo>
                        <a:pt x="26626" y="22745"/>
                        <a:pt x="26626" y="19619"/>
                        <a:pt x="24700" y="17692"/>
                      </a:cubicBezTo>
                      <a:lnTo>
                        <a:pt x="8424" y="1445"/>
                      </a:lnTo>
                      <a:close/>
                    </a:path>
                  </a:pathLst>
                </a:custGeom>
                <a:solidFill>
                  <a:schemeClr val="accent1"/>
                </a:solidFill>
                <a:ln w="2790" cap="flat">
                  <a:noFill/>
                  <a:prstDash val="solid"/>
                  <a:miter/>
                </a:ln>
              </p:spPr>
              <p:txBody>
                <a:bodyPr rtlCol="0" anchor="ctr"/>
                <a:lstStyle/>
                <a:p>
                  <a:endParaRPr lang="en-GB" dirty="0"/>
                </a:p>
              </p:txBody>
            </p:sp>
            <p:sp>
              <p:nvSpPr>
                <p:cNvPr id="404" name="Freihandform: Form 358">
                  <a:extLst>
                    <a:ext uri="{FF2B5EF4-FFF2-40B4-BE49-F238E27FC236}">
                      <a16:creationId xmlns:a16="http://schemas.microsoft.com/office/drawing/2014/main" id="{9D34955D-573D-4188-B5F2-53E2B8B789B9}"/>
                    </a:ext>
                  </a:extLst>
                </p:cNvPr>
                <p:cNvSpPr/>
                <p:nvPr/>
              </p:nvSpPr>
              <p:spPr>
                <a:xfrm>
                  <a:off x="1772180" y="3240765"/>
                  <a:ext cx="26144" cy="26147"/>
                </a:xfrm>
                <a:custGeom>
                  <a:avLst/>
                  <a:gdLst>
                    <a:gd name="connsiteX0" fmla="*/ 17720 w 26144"/>
                    <a:gd name="connsiteY0" fmla="*/ 1441 h 26147"/>
                    <a:gd name="connsiteX1" fmla="*/ 1445 w 26144"/>
                    <a:gd name="connsiteY1" fmla="*/ 17717 h 26147"/>
                    <a:gd name="connsiteX2" fmla="*/ 1445 w 26144"/>
                    <a:gd name="connsiteY2" fmla="*/ 24696 h 26147"/>
                    <a:gd name="connsiteX3" fmla="*/ 4934 w 26144"/>
                    <a:gd name="connsiteY3" fmla="*/ 26148 h 26147"/>
                    <a:gd name="connsiteX4" fmla="*/ 8424 w 26144"/>
                    <a:gd name="connsiteY4" fmla="*/ 24696 h 26147"/>
                    <a:gd name="connsiteX5" fmla="*/ 24700 w 26144"/>
                    <a:gd name="connsiteY5" fmla="*/ 8448 h 26147"/>
                    <a:gd name="connsiteX6" fmla="*/ 24700 w 26144"/>
                    <a:gd name="connsiteY6" fmla="*/ 1469 h 26147"/>
                    <a:gd name="connsiteX7" fmla="*/ 17720 w 26144"/>
                    <a:gd name="connsiteY7" fmla="*/ 1441 h 26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144" h="26147">
                      <a:moveTo>
                        <a:pt x="17720" y="1441"/>
                      </a:moveTo>
                      <a:lnTo>
                        <a:pt x="1445" y="17717"/>
                      </a:lnTo>
                      <a:cubicBezTo>
                        <a:pt x="-482" y="19643"/>
                        <a:pt x="-482" y="22770"/>
                        <a:pt x="1445" y="24696"/>
                      </a:cubicBezTo>
                      <a:cubicBezTo>
                        <a:pt x="2422" y="25673"/>
                        <a:pt x="3678" y="26148"/>
                        <a:pt x="4934" y="26148"/>
                      </a:cubicBezTo>
                      <a:cubicBezTo>
                        <a:pt x="6191" y="26148"/>
                        <a:pt x="7475" y="25673"/>
                        <a:pt x="8424" y="24696"/>
                      </a:cubicBezTo>
                      <a:lnTo>
                        <a:pt x="24700" y="8448"/>
                      </a:lnTo>
                      <a:cubicBezTo>
                        <a:pt x="26626" y="6522"/>
                        <a:pt x="26626" y="3395"/>
                        <a:pt x="24700" y="1469"/>
                      </a:cubicBezTo>
                      <a:cubicBezTo>
                        <a:pt x="22773" y="-485"/>
                        <a:pt x="19647" y="-485"/>
                        <a:pt x="17720" y="1441"/>
                      </a:cubicBezTo>
                      <a:close/>
                    </a:path>
                  </a:pathLst>
                </a:custGeom>
                <a:solidFill>
                  <a:schemeClr val="accent1"/>
                </a:solidFill>
                <a:ln w="2790" cap="flat">
                  <a:noFill/>
                  <a:prstDash val="solid"/>
                  <a:miter/>
                </a:ln>
              </p:spPr>
              <p:txBody>
                <a:bodyPr rtlCol="0" anchor="ctr"/>
                <a:lstStyle/>
                <a:p>
                  <a:endParaRPr lang="en-GB" dirty="0"/>
                </a:p>
              </p:txBody>
            </p:sp>
          </p:grpSp>
        </p:grpSp>
      </p:grpSp>
      <p:grpSp>
        <p:nvGrpSpPr>
          <p:cNvPr id="420" name="Group 419">
            <a:extLst>
              <a:ext uri="{FF2B5EF4-FFF2-40B4-BE49-F238E27FC236}">
                <a16:creationId xmlns:a16="http://schemas.microsoft.com/office/drawing/2014/main" id="{FEBD0406-75DA-4400-BE9D-E4C83D40CF04}"/>
              </a:ext>
            </a:extLst>
          </p:cNvPr>
          <p:cNvGrpSpPr>
            <a:grpSpLocks noChangeAspect="1"/>
          </p:cNvGrpSpPr>
          <p:nvPr/>
        </p:nvGrpSpPr>
        <p:grpSpPr>
          <a:xfrm>
            <a:off x="8098111" y="2414095"/>
            <a:ext cx="489108" cy="386862"/>
            <a:chOff x="6814770" y="1711503"/>
            <a:chExt cx="670937" cy="530679"/>
          </a:xfrm>
        </p:grpSpPr>
        <p:grpSp>
          <p:nvGrpSpPr>
            <p:cNvPr id="421" name="Group 420">
              <a:extLst>
                <a:ext uri="{FF2B5EF4-FFF2-40B4-BE49-F238E27FC236}">
                  <a16:creationId xmlns:a16="http://schemas.microsoft.com/office/drawing/2014/main" id="{1E2412BD-EA23-4B53-98FB-BC321DAC1079}"/>
                </a:ext>
              </a:extLst>
            </p:cNvPr>
            <p:cNvGrpSpPr/>
            <p:nvPr/>
          </p:nvGrpSpPr>
          <p:grpSpPr>
            <a:xfrm>
              <a:off x="6814770" y="1721834"/>
              <a:ext cx="670937" cy="332295"/>
              <a:chOff x="6814763" y="1721833"/>
              <a:chExt cx="670936" cy="332295"/>
            </a:xfrm>
          </p:grpSpPr>
          <p:sp>
            <p:nvSpPr>
              <p:cNvPr id="423" name="Freihandform: Form 725">
                <a:extLst>
                  <a:ext uri="{FF2B5EF4-FFF2-40B4-BE49-F238E27FC236}">
                    <a16:creationId xmlns:a16="http://schemas.microsoft.com/office/drawing/2014/main" id="{A79B8D83-BA33-43C3-B07A-FE9C1BE689EA}"/>
                  </a:ext>
                </a:extLst>
              </p:cNvPr>
              <p:cNvSpPr/>
              <p:nvPr/>
            </p:nvSpPr>
            <p:spPr>
              <a:xfrm>
                <a:off x="7011332" y="1781450"/>
                <a:ext cx="210646" cy="210672"/>
              </a:xfrm>
              <a:custGeom>
                <a:avLst/>
                <a:gdLst>
                  <a:gd name="connsiteX0" fmla="*/ 209023 w 210646"/>
                  <a:gd name="connsiteY0" fmla="*/ 89056 h 210672"/>
                  <a:gd name="connsiteX1" fmla="*/ 205623 w 210646"/>
                  <a:gd name="connsiteY1" fmla="*/ 87691 h 210672"/>
                  <a:gd name="connsiteX2" fmla="*/ 183082 w 210646"/>
                  <a:gd name="connsiteY2" fmla="*/ 87923 h 210672"/>
                  <a:gd name="connsiteX3" fmla="*/ 172623 w 210646"/>
                  <a:gd name="connsiteY3" fmla="*/ 62728 h 210672"/>
                  <a:gd name="connsiteX4" fmla="*/ 188750 w 210646"/>
                  <a:gd name="connsiteY4" fmla="*/ 46937 h 210672"/>
                  <a:gd name="connsiteX5" fmla="*/ 190192 w 210646"/>
                  <a:gd name="connsiteY5" fmla="*/ 43562 h 210672"/>
                  <a:gd name="connsiteX6" fmla="*/ 188827 w 210646"/>
                  <a:gd name="connsiteY6" fmla="*/ 40162 h 210672"/>
                  <a:gd name="connsiteX7" fmla="*/ 172288 w 210646"/>
                  <a:gd name="connsiteY7" fmla="*/ 23289 h 210672"/>
                  <a:gd name="connsiteX8" fmla="*/ 165513 w 210646"/>
                  <a:gd name="connsiteY8" fmla="*/ 23211 h 210672"/>
                  <a:gd name="connsiteX9" fmla="*/ 149361 w 210646"/>
                  <a:gd name="connsiteY9" fmla="*/ 38977 h 210672"/>
                  <a:gd name="connsiteX10" fmla="*/ 121179 w 210646"/>
                  <a:gd name="connsiteY10" fmla="*/ 27282 h 210672"/>
                  <a:gd name="connsiteX11" fmla="*/ 120973 w 210646"/>
                  <a:gd name="connsiteY11" fmla="*/ 4741 h 210672"/>
                  <a:gd name="connsiteX12" fmla="*/ 119530 w 210646"/>
                  <a:gd name="connsiteY12" fmla="*/ 1366 h 210672"/>
                  <a:gd name="connsiteX13" fmla="*/ 116130 w 210646"/>
                  <a:gd name="connsiteY13" fmla="*/ 1 h 210672"/>
                  <a:gd name="connsiteX14" fmla="*/ 92507 w 210646"/>
                  <a:gd name="connsiteY14" fmla="*/ 259 h 210672"/>
                  <a:gd name="connsiteX15" fmla="*/ 87767 w 210646"/>
                  <a:gd name="connsiteY15" fmla="*/ 5102 h 210672"/>
                  <a:gd name="connsiteX16" fmla="*/ 87973 w 210646"/>
                  <a:gd name="connsiteY16" fmla="*/ 27642 h 210672"/>
                  <a:gd name="connsiteX17" fmla="*/ 60023 w 210646"/>
                  <a:gd name="connsiteY17" fmla="*/ 39904 h 210672"/>
                  <a:gd name="connsiteX18" fmla="*/ 43588 w 210646"/>
                  <a:gd name="connsiteY18" fmla="*/ 24448 h 210672"/>
                  <a:gd name="connsiteX19" fmla="*/ 36812 w 210646"/>
                  <a:gd name="connsiteY19" fmla="*/ 24654 h 210672"/>
                  <a:gd name="connsiteX20" fmla="*/ 20609 w 210646"/>
                  <a:gd name="connsiteY20" fmla="*/ 41836 h 210672"/>
                  <a:gd name="connsiteX21" fmla="*/ 19295 w 210646"/>
                  <a:gd name="connsiteY21" fmla="*/ 45263 h 210672"/>
                  <a:gd name="connsiteX22" fmla="*/ 20815 w 210646"/>
                  <a:gd name="connsiteY22" fmla="*/ 48612 h 210672"/>
                  <a:gd name="connsiteX23" fmla="*/ 37250 w 210646"/>
                  <a:gd name="connsiteY23" fmla="*/ 64068 h 210672"/>
                  <a:gd name="connsiteX24" fmla="*/ 27281 w 210646"/>
                  <a:gd name="connsiteY24" fmla="*/ 89494 h 210672"/>
                  <a:gd name="connsiteX25" fmla="*/ 4740 w 210646"/>
                  <a:gd name="connsiteY25" fmla="*/ 89726 h 210672"/>
                  <a:gd name="connsiteX26" fmla="*/ 0 w 210646"/>
                  <a:gd name="connsiteY26" fmla="*/ 94569 h 210672"/>
                  <a:gd name="connsiteX27" fmla="*/ 232 w 210646"/>
                  <a:gd name="connsiteY27" fmla="*/ 118191 h 210672"/>
                  <a:gd name="connsiteX28" fmla="*/ 5075 w 210646"/>
                  <a:gd name="connsiteY28" fmla="*/ 122931 h 210672"/>
                  <a:gd name="connsiteX29" fmla="*/ 27616 w 210646"/>
                  <a:gd name="connsiteY29" fmla="*/ 122725 h 210672"/>
                  <a:gd name="connsiteX30" fmla="*/ 38049 w 210646"/>
                  <a:gd name="connsiteY30" fmla="*/ 147919 h 210672"/>
                  <a:gd name="connsiteX31" fmla="*/ 21897 w 210646"/>
                  <a:gd name="connsiteY31" fmla="*/ 163711 h 210672"/>
                  <a:gd name="connsiteX32" fmla="*/ 20454 w 210646"/>
                  <a:gd name="connsiteY32" fmla="*/ 167085 h 210672"/>
                  <a:gd name="connsiteX33" fmla="*/ 21820 w 210646"/>
                  <a:gd name="connsiteY33" fmla="*/ 170486 h 210672"/>
                  <a:gd name="connsiteX34" fmla="*/ 38384 w 210646"/>
                  <a:gd name="connsiteY34" fmla="*/ 187385 h 210672"/>
                  <a:gd name="connsiteX35" fmla="*/ 45159 w 210646"/>
                  <a:gd name="connsiteY35" fmla="*/ 187462 h 210672"/>
                  <a:gd name="connsiteX36" fmla="*/ 61311 w 210646"/>
                  <a:gd name="connsiteY36" fmla="*/ 171697 h 210672"/>
                  <a:gd name="connsiteX37" fmla="*/ 89493 w 210646"/>
                  <a:gd name="connsiteY37" fmla="*/ 183392 h 210672"/>
                  <a:gd name="connsiteX38" fmla="*/ 89725 w 210646"/>
                  <a:gd name="connsiteY38" fmla="*/ 205933 h 210672"/>
                  <a:gd name="connsiteX39" fmla="*/ 91168 w 210646"/>
                  <a:gd name="connsiteY39" fmla="*/ 209307 h 210672"/>
                  <a:gd name="connsiteX40" fmla="*/ 94517 w 210646"/>
                  <a:gd name="connsiteY40" fmla="*/ 210673 h 210672"/>
                  <a:gd name="connsiteX41" fmla="*/ 94568 w 210646"/>
                  <a:gd name="connsiteY41" fmla="*/ 210673 h 210672"/>
                  <a:gd name="connsiteX42" fmla="*/ 118191 w 210646"/>
                  <a:gd name="connsiteY42" fmla="*/ 210415 h 210672"/>
                  <a:gd name="connsiteX43" fmla="*/ 122931 w 210646"/>
                  <a:gd name="connsiteY43" fmla="*/ 205572 h 210672"/>
                  <a:gd name="connsiteX44" fmla="*/ 122699 w 210646"/>
                  <a:gd name="connsiteY44" fmla="*/ 183031 h 210672"/>
                  <a:gd name="connsiteX45" fmla="*/ 150649 w 210646"/>
                  <a:gd name="connsiteY45" fmla="*/ 170795 h 210672"/>
                  <a:gd name="connsiteX46" fmla="*/ 167085 w 210646"/>
                  <a:gd name="connsiteY46" fmla="*/ 186251 h 210672"/>
                  <a:gd name="connsiteX47" fmla="*/ 173860 w 210646"/>
                  <a:gd name="connsiteY47" fmla="*/ 186045 h 210672"/>
                  <a:gd name="connsiteX48" fmla="*/ 190063 w 210646"/>
                  <a:gd name="connsiteY48" fmla="*/ 168837 h 210672"/>
                  <a:gd name="connsiteX49" fmla="*/ 191377 w 210646"/>
                  <a:gd name="connsiteY49" fmla="*/ 165411 h 210672"/>
                  <a:gd name="connsiteX50" fmla="*/ 189857 w 210646"/>
                  <a:gd name="connsiteY50" fmla="*/ 162062 h 210672"/>
                  <a:gd name="connsiteX51" fmla="*/ 173422 w 210646"/>
                  <a:gd name="connsiteY51" fmla="*/ 146606 h 210672"/>
                  <a:gd name="connsiteX52" fmla="*/ 183366 w 210646"/>
                  <a:gd name="connsiteY52" fmla="*/ 121180 h 210672"/>
                  <a:gd name="connsiteX53" fmla="*/ 205906 w 210646"/>
                  <a:gd name="connsiteY53" fmla="*/ 120974 h 210672"/>
                  <a:gd name="connsiteX54" fmla="*/ 210646 w 210646"/>
                  <a:gd name="connsiteY54" fmla="*/ 116131 h 210672"/>
                  <a:gd name="connsiteX55" fmla="*/ 210440 w 210646"/>
                  <a:gd name="connsiteY55" fmla="*/ 92456 h 210672"/>
                  <a:gd name="connsiteX56" fmla="*/ 209023 w 210646"/>
                  <a:gd name="connsiteY56" fmla="*/ 89056 h 210672"/>
                  <a:gd name="connsiteX57" fmla="*/ 179295 w 210646"/>
                  <a:gd name="connsiteY57" fmla="*/ 111597 h 210672"/>
                  <a:gd name="connsiteX58" fmla="*/ 174607 w 210646"/>
                  <a:gd name="connsiteY58" fmla="*/ 115693 h 210672"/>
                  <a:gd name="connsiteX59" fmla="*/ 163298 w 210646"/>
                  <a:gd name="connsiteY59" fmla="*/ 144622 h 210672"/>
                  <a:gd name="connsiteX60" fmla="*/ 163968 w 210646"/>
                  <a:gd name="connsiteY60" fmla="*/ 150805 h 210672"/>
                  <a:gd name="connsiteX61" fmla="*/ 179811 w 210646"/>
                  <a:gd name="connsiteY61" fmla="*/ 165720 h 210672"/>
                  <a:gd name="connsiteX62" fmla="*/ 170176 w 210646"/>
                  <a:gd name="connsiteY62" fmla="*/ 175947 h 210672"/>
                  <a:gd name="connsiteX63" fmla="*/ 154333 w 210646"/>
                  <a:gd name="connsiteY63" fmla="*/ 161032 h 210672"/>
                  <a:gd name="connsiteX64" fmla="*/ 148125 w 210646"/>
                  <a:gd name="connsiteY64" fmla="*/ 160722 h 210672"/>
                  <a:gd name="connsiteX65" fmla="*/ 117083 w 210646"/>
                  <a:gd name="connsiteY65" fmla="*/ 174298 h 210672"/>
                  <a:gd name="connsiteX66" fmla="*/ 113090 w 210646"/>
                  <a:gd name="connsiteY66" fmla="*/ 179064 h 210672"/>
                  <a:gd name="connsiteX67" fmla="*/ 113296 w 210646"/>
                  <a:gd name="connsiteY67" fmla="*/ 200781 h 210672"/>
                  <a:gd name="connsiteX68" fmla="*/ 99257 w 210646"/>
                  <a:gd name="connsiteY68" fmla="*/ 200935 h 210672"/>
                  <a:gd name="connsiteX69" fmla="*/ 99050 w 210646"/>
                  <a:gd name="connsiteY69" fmla="*/ 179219 h 210672"/>
                  <a:gd name="connsiteX70" fmla="*/ 94955 w 210646"/>
                  <a:gd name="connsiteY70" fmla="*/ 174530 h 210672"/>
                  <a:gd name="connsiteX71" fmla="*/ 63681 w 210646"/>
                  <a:gd name="connsiteY71" fmla="*/ 161547 h 210672"/>
                  <a:gd name="connsiteX72" fmla="*/ 60822 w 210646"/>
                  <a:gd name="connsiteY72" fmla="*/ 160594 h 210672"/>
                  <a:gd name="connsiteX73" fmla="*/ 57473 w 210646"/>
                  <a:gd name="connsiteY73" fmla="*/ 161959 h 210672"/>
                  <a:gd name="connsiteX74" fmla="*/ 41913 w 210646"/>
                  <a:gd name="connsiteY74" fmla="*/ 177184 h 210672"/>
                  <a:gd name="connsiteX75" fmla="*/ 32047 w 210646"/>
                  <a:gd name="connsiteY75" fmla="*/ 167137 h 210672"/>
                  <a:gd name="connsiteX76" fmla="*/ 47606 w 210646"/>
                  <a:gd name="connsiteY76" fmla="*/ 151912 h 210672"/>
                  <a:gd name="connsiteX77" fmla="*/ 48173 w 210646"/>
                  <a:gd name="connsiteY77" fmla="*/ 145704 h 210672"/>
                  <a:gd name="connsiteX78" fmla="*/ 36297 w 210646"/>
                  <a:gd name="connsiteY78" fmla="*/ 117032 h 210672"/>
                  <a:gd name="connsiteX79" fmla="*/ 31532 w 210646"/>
                  <a:gd name="connsiteY79" fmla="*/ 113039 h 210672"/>
                  <a:gd name="connsiteX80" fmla="*/ 9789 w 210646"/>
                  <a:gd name="connsiteY80" fmla="*/ 113245 h 210672"/>
                  <a:gd name="connsiteX81" fmla="*/ 9661 w 210646"/>
                  <a:gd name="connsiteY81" fmla="*/ 99206 h 210672"/>
                  <a:gd name="connsiteX82" fmla="*/ 31403 w 210646"/>
                  <a:gd name="connsiteY82" fmla="*/ 99000 h 210672"/>
                  <a:gd name="connsiteX83" fmla="*/ 36091 w 210646"/>
                  <a:gd name="connsiteY83" fmla="*/ 94904 h 210672"/>
                  <a:gd name="connsiteX84" fmla="*/ 47426 w 210646"/>
                  <a:gd name="connsiteY84" fmla="*/ 65949 h 210672"/>
                  <a:gd name="connsiteX85" fmla="*/ 46756 w 210646"/>
                  <a:gd name="connsiteY85" fmla="*/ 59766 h 210672"/>
                  <a:gd name="connsiteX86" fmla="*/ 30888 w 210646"/>
                  <a:gd name="connsiteY86" fmla="*/ 44850 h 210672"/>
                  <a:gd name="connsiteX87" fmla="*/ 40522 w 210646"/>
                  <a:gd name="connsiteY87" fmla="*/ 34623 h 210672"/>
                  <a:gd name="connsiteX88" fmla="*/ 56365 w 210646"/>
                  <a:gd name="connsiteY88" fmla="*/ 49539 h 210672"/>
                  <a:gd name="connsiteX89" fmla="*/ 62599 w 210646"/>
                  <a:gd name="connsiteY89" fmla="*/ 49848 h 210672"/>
                  <a:gd name="connsiteX90" fmla="*/ 93641 w 210646"/>
                  <a:gd name="connsiteY90" fmla="*/ 36221 h 210672"/>
                  <a:gd name="connsiteX91" fmla="*/ 97634 w 210646"/>
                  <a:gd name="connsiteY91" fmla="*/ 31455 h 210672"/>
                  <a:gd name="connsiteX92" fmla="*/ 97428 w 210646"/>
                  <a:gd name="connsiteY92" fmla="*/ 9739 h 210672"/>
                  <a:gd name="connsiteX93" fmla="*/ 111467 w 210646"/>
                  <a:gd name="connsiteY93" fmla="*/ 9584 h 210672"/>
                  <a:gd name="connsiteX94" fmla="*/ 111673 w 210646"/>
                  <a:gd name="connsiteY94" fmla="*/ 31326 h 210672"/>
                  <a:gd name="connsiteX95" fmla="*/ 115769 w 210646"/>
                  <a:gd name="connsiteY95" fmla="*/ 36015 h 210672"/>
                  <a:gd name="connsiteX96" fmla="*/ 147043 w 210646"/>
                  <a:gd name="connsiteY96" fmla="*/ 48998 h 210672"/>
                  <a:gd name="connsiteX97" fmla="*/ 153251 w 210646"/>
                  <a:gd name="connsiteY97" fmla="*/ 48586 h 210672"/>
                  <a:gd name="connsiteX98" fmla="*/ 168811 w 210646"/>
                  <a:gd name="connsiteY98" fmla="*/ 33387 h 210672"/>
                  <a:gd name="connsiteX99" fmla="*/ 178651 w 210646"/>
                  <a:gd name="connsiteY99" fmla="*/ 43408 h 210672"/>
                  <a:gd name="connsiteX100" fmla="*/ 163092 w 210646"/>
                  <a:gd name="connsiteY100" fmla="*/ 58633 h 210672"/>
                  <a:gd name="connsiteX101" fmla="*/ 162551 w 210646"/>
                  <a:gd name="connsiteY101" fmla="*/ 64841 h 210672"/>
                  <a:gd name="connsiteX102" fmla="*/ 174478 w 210646"/>
                  <a:gd name="connsiteY102" fmla="*/ 93538 h 210672"/>
                  <a:gd name="connsiteX103" fmla="*/ 179244 w 210646"/>
                  <a:gd name="connsiteY103" fmla="*/ 97531 h 210672"/>
                  <a:gd name="connsiteX104" fmla="*/ 200986 w 210646"/>
                  <a:gd name="connsiteY104" fmla="*/ 97299 h 210672"/>
                  <a:gd name="connsiteX105" fmla="*/ 201115 w 210646"/>
                  <a:gd name="connsiteY105" fmla="*/ 111365 h 210672"/>
                  <a:gd name="connsiteX106" fmla="*/ 179295 w 210646"/>
                  <a:gd name="connsiteY106" fmla="*/ 111597 h 210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Lst>
                <a:rect l="l" t="t" r="r" b="b"/>
                <a:pathLst>
                  <a:path w="210646" h="210672">
                    <a:moveTo>
                      <a:pt x="209023" y="89056"/>
                    </a:moveTo>
                    <a:cubicBezTo>
                      <a:pt x="208122" y="88154"/>
                      <a:pt x="207014" y="87794"/>
                      <a:pt x="205623" y="87691"/>
                    </a:cubicBezTo>
                    <a:lnTo>
                      <a:pt x="183082" y="87923"/>
                    </a:lnTo>
                    <a:cubicBezTo>
                      <a:pt x="181073" y="78906"/>
                      <a:pt x="177569" y="70457"/>
                      <a:pt x="172623" y="62728"/>
                    </a:cubicBezTo>
                    <a:lnTo>
                      <a:pt x="188750" y="46937"/>
                    </a:lnTo>
                    <a:cubicBezTo>
                      <a:pt x="189651" y="46035"/>
                      <a:pt x="190166" y="44825"/>
                      <a:pt x="190192" y="43562"/>
                    </a:cubicBezTo>
                    <a:cubicBezTo>
                      <a:pt x="190192" y="42300"/>
                      <a:pt x="189703" y="41064"/>
                      <a:pt x="188827" y="40162"/>
                    </a:cubicBezTo>
                    <a:lnTo>
                      <a:pt x="172288" y="23289"/>
                    </a:lnTo>
                    <a:cubicBezTo>
                      <a:pt x="170434" y="21408"/>
                      <a:pt x="167420" y="21382"/>
                      <a:pt x="165513" y="23211"/>
                    </a:cubicBezTo>
                    <a:lnTo>
                      <a:pt x="149361" y="38977"/>
                    </a:lnTo>
                    <a:cubicBezTo>
                      <a:pt x="140809" y="33284"/>
                      <a:pt x="131200" y="29291"/>
                      <a:pt x="121179" y="27282"/>
                    </a:cubicBezTo>
                    <a:lnTo>
                      <a:pt x="120973" y="4741"/>
                    </a:lnTo>
                    <a:cubicBezTo>
                      <a:pt x="120973" y="3479"/>
                      <a:pt x="120432" y="2242"/>
                      <a:pt x="119530" y="1366"/>
                    </a:cubicBezTo>
                    <a:cubicBezTo>
                      <a:pt x="118629" y="465"/>
                      <a:pt x="117469" y="-25"/>
                      <a:pt x="116130" y="1"/>
                    </a:cubicBezTo>
                    <a:lnTo>
                      <a:pt x="92507" y="259"/>
                    </a:lnTo>
                    <a:cubicBezTo>
                      <a:pt x="89854" y="284"/>
                      <a:pt x="87741" y="2448"/>
                      <a:pt x="87767" y="5102"/>
                    </a:cubicBezTo>
                    <a:lnTo>
                      <a:pt x="87973" y="27642"/>
                    </a:lnTo>
                    <a:cubicBezTo>
                      <a:pt x="77952" y="29909"/>
                      <a:pt x="68421" y="34082"/>
                      <a:pt x="60023" y="39904"/>
                    </a:cubicBezTo>
                    <a:lnTo>
                      <a:pt x="43588" y="24448"/>
                    </a:lnTo>
                    <a:cubicBezTo>
                      <a:pt x="41656" y="22619"/>
                      <a:pt x="38641" y="22722"/>
                      <a:pt x="36812" y="24654"/>
                    </a:cubicBezTo>
                    <a:lnTo>
                      <a:pt x="20609" y="41836"/>
                    </a:lnTo>
                    <a:cubicBezTo>
                      <a:pt x="19733" y="42764"/>
                      <a:pt x="19269" y="44000"/>
                      <a:pt x="19295" y="45263"/>
                    </a:cubicBezTo>
                    <a:cubicBezTo>
                      <a:pt x="19321" y="46525"/>
                      <a:pt x="19888" y="47736"/>
                      <a:pt x="20815" y="48612"/>
                    </a:cubicBezTo>
                    <a:lnTo>
                      <a:pt x="37250" y="64068"/>
                    </a:lnTo>
                    <a:cubicBezTo>
                      <a:pt x="32433" y="71951"/>
                      <a:pt x="29084" y="80478"/>
                      <a:pt x="27281" y="89494"/>
                    </a:cubicBezTo>
                    <a:lnTo>
                      <a:pt x="4740" y="89726"/>
                    </a:lnTo>
                    <a:cubicBezTo>
                      <a:pt x="2087" y="89752"/>
                      <a:pt x="-25" y="91915"/>
                      <a:pt x="0" y="94569"/>
                    </a:cubicBezTo>
                    <a:lnTo>
                      <a:pt x="232" y="118191"/>
                    </a:lnTo>
                    <a:cubicBezTo>
                      <a:pt x="258" y="120845"/>
                      <a:pt x="2267" y="123060"/>
                      <a:pt x="5075" y="122931"/>
                    </a:cubicBezTo>
                    <a:lnTo>
                      <a:pt x="27616" y="122725"/>
                    </a:lnTo>
                    <a:cubicBezTo>
                      <a:pt x="29600" y="131716"/>
                      <a:pt x="33103" y="140165"/>
                      <a:pt x="38049" y="147919"/>
                    </a:cubicBezTo>
                    <a:lnTo>
                      <a:pt x="21897" y="163711"/>
                    </a:lnTo>
                    <a:cubicBezTo>
                      <a:pt x="20995" y="164612"/>
                      <a:pt x="20480" y="165823"/>
                      <a:pt x="20454" y="167085"/>
                    </a:cubicBezTo>
                    <a:cubicBezTo>
                      <a:pt x="20454" y="168348"/>
                      <a:pt x="20944" y="169584"/>
                      <a:pt x="21820" y="170486"/>
                    </a:cubicBezTo>
                    <a:lnTo>
                      <a:pt x="38384" y="187385"/>
                    </a:lnTo>
                    <a:cubicBezTo>
                      <a:pt x="40239" y="189291"/>
                      <a:pt x="43253" y="189291"/>
                      <a:pt x="45159" y="187462"/>
                    </a:cubicBezTo>
                    <a:lnTo>
                      <a:pt x="61311" y="171697"/>
                    </a:lnTo>
                    <a:cubicBezTo>
                      <a:pt x="69864" y="177364"/>
                      <a:pt x="79472" y="181357"/>
                      <a:pt x="89493" y="183392"/>
                    </a:cubicBezTo>
                    <a:lnTo>
                      <a:pt x="89725" y="205933"/>
                    </a:lnTo>
                    <a:cubicBezTo>
                      <a:pt x="89725" y="207195"/>
                      <a:pt x="90266" y="208431"/>
                      <a:pt x="91168" y="209307"/>
                    </a:cubicBezTo>
                    <a:cubicBezTo>
                      <a:pt x="92069" y="210183"/>
                      <a:pt x="93254" y="210673"/>
                      <a:pt x="94517" y="210673"/>
                    </a:cubicBezTo>
                    <a:cubicBezTo>
                      <a:pt x="94542" y="210673"/>
                      <a:pt x="94542" y="210673"/>
                      <a:pt x="94568" y="210673"/>
                    </a:cubicBezTo>
                    <a:lnTo>
                      <a:pt x="118191" y="210415"/>
                    </a:lnTo>
                    <a:cubicBezTo>
                      <a:pt x="120844" y="210389"/>
                      <a:pt x="122957" y="208225"/>
                      <a:pt x="122931" y="205572"/>
                    </a:cubicBezTo>
                    <a:lnTo>
                      <a:pt x="122699" y="183031"/>
                    </a:lnTo>
                    <a:cubicBezTo>
                      <a:pt x="132720" y="180790"/>
                      <a:pt x="142251" y="176617"/>
                      <a:pt x="150649" y="170795"/>
                    </a:cubicBezTo>
                    <a:lnTo>
                      <a:pt x="167085" y="186251"/>
                    </a:lnTo>
                    <a:cubicBezTo>
                      <a:pt x="169017" y="188080"/>
                      <a:pt x="172031" y="187977"/>
                      <a:pt x="173860" y="186045"/>
                    </a:cubicBezTo>
                    <a:lnTo>
                      <a:pt x="190063" y="168837"/>
                    </a:lnTo>
                    <a:cubicBezTo>
                      <a:pt x="190939" y="167910"/>
                      <a:pt x="191403" y="166673"/>
                      <a:pt x="191377" y="165411"/>
                    </a:cubicBezTo>
                    <a:cubicBezTo>
                      <a:pt x="191326" y="164149"/>
                      <a:pt x="190785" y="162938"/>
                      <a:pt x="189857" y="162062"/>
                    </a:cubicBezTo>
                    <a:lnTo>
                      <a:pt x="173422" y="146606"/>
                    </a:lnTo>
                    <a:cubicBezTo>
                      <a:pt x="178162" y="138800"/>
                      <a:pt x="181537" y="130144"/>
                      <a:pt x="183366" y="121180"/>
                    </a:cubicBezTo>
                    <a:lnTo>
                      <a:pt x="205906" y="120974"/>
                    </a:lnTo>
                    <a:cubicBezTo>
                      <a:pt x="208560" y="120948"/>
                      <a:pt x="210672" y="118784"/>
                      <a:pt x="210646" y="116131"/>
                    </a:cubicBezTo>
                    <a:lnTo>
                      <a:pt x="210440" y="92456"/>
                    </a:lnTo>
                    <a:cubicBezTo>
                      <a:pt x="210440" y="91143"/>
                      <a:pt x="209925" y="89932"/>
                      <a:pt x="209023" y="89056"/>
                    </a:cubicBezTo>
                    <a:close/>
                    <a:moveTo>
                      <a:pt x="179295" y="111597"/>
                    </a:moveTo>
                    <a:cubicBezTo>
                      <a:pt x="176925" y="111622"/>
                      <a:pt x="174942" y="113348"/>
                      <a:pt x="174607" y="115693"/>
                    </a:cubicBezTo>
                    <a:cubicBezTo>
                      <a:pt x="173087" y="126023"/>
                      <a:pt x="169171" y="136018"/>
                      <a:pt x="163298" y="144622"/>
                    </a:cubicBezTo>
                    <a:cubicBezTo>
                      <a:pt x="161958" y="146580"/>
                      <a:pt x="162242" y="149207"/>
                      <a:pt x="163968" y="150805"/>
                    </a:cubicBezTo>
                    <a:lnTo>
                      <a:pt x="179811" y="165720"/>
                    </a:lnTo>
                    <a:lnTo>
                      <a:pt x="170176" y="175947"/>
                    </a:lnTo>
                    <a:lnTo>
                      <a:pt x="154333" y="161032"/>
                    </a:lnTo>
                    <a:cubicBezTo>
                      <a:pt x="152607" y="159409"/>
                      <a:pt x="149980" y="159280"/>
                      <a:pt x="148125" y="160722"/>
                    </a:cubicBezTo>
                    <a:cubicBezTo>
                      <a:pt x="139108" y="167704"/>
                      <a:pt x="128366" y="172392"/>
                      <a:pt x="117083" y="174298"/>
                    </a:cubicBezTo>
                    <a:cubicBezTo>
                      <a:pt x="114765" y="174685"/>
                      <a:pt x="113064" y="176720"/>
                      <a:pt x="113090" y="179064"/>
                    </a:cubicBezTo>
                    <a:lnTo>
                      <a:pt x="113296" y="200781"/>
                    </a:lnTo>
                    <a:lnTo>
                      <a:pt x="99257" y="200935"/>
                    </a:lnTo>
                    <a:lnTo>
                      <a:pt x="99050" y="179219"/>
                    </a:lnTo>
                    <a:cubicBezTo>
                      <a:pt x="99025" y="176875"/>
                      <a:pt x="97299" y="174865"/>
                      <a:pt x="94955" y="174530"/>
                    </a:cubicBezTo>
                    <a:cubicBezTo>
                      <a:pt x="83697" y="172856"/>
                      <a:pt x="72878" y="168348"/>
                      <a:pt x="63681" y="161547"/>
                    </a:cubicBezTo>
                    <a:cubicBezTo>
                      <a:pt x="62831" y="160929"/>
                      <a:pt x="61826" y="160594"/>
                      <a:pt x="60822" y="160594"/>
                    </a:cubicBezTo>
                    <a:cubicBezTo>
                      <a:pt x="59611" y="160594"/>
                      <a:pt x="58400" y="161057"/>
                      <a:pt x="57473" y="161959"/>
                    </a:cubicBezTo>
                    <a:lnTo>
                      <a:pt x="41913" y="177184"/>
                    </a:lnTo>
                    <a:lnTo>
                      <a:pt x="32047" y="167137"/>
                    </a:lnTo>
                    <a:lnTo>
                      <a:pt x="47606" y="151912"/>
                    </a:lnTo>
                    <a:cubicBezTo>
                      <a:pt x="49281" y="150264"/>
                      <a:pt x="49538" y="147636"/>
                      <a:pt x="48173" y="145704"/>
                    </a:cubicBezTo>
                    <a:cubicBezTo>
                      <a:pt x="42042" y="137100"/>
                      <a:pt x="38049" y="127440"/>
                      <a:pt x="36297" y="117032"/>
                    </a:cubicBezTo>
                    <a:cubicBezTo>
                      <a:pt x="35911" y="114714"/>
                      <a:pt x="34056" y="113065"/>
                      <a:pt x="31532" y="113039"/>
                    </a:cubicBezTo>
                    <a:lnTo>
                      <a:pt x="9789" y="113245"/>
                    </a:lnTo>
                    <a:lnTo>
                      <a:pt x="9661" y="99206"/>
                    </a:lnTo>
                    <a:lnTo>
                      <a:pt x="31403" y="99000"/>
                    </a:lnTo>
                    <a:cubicBezTo>
                      <a:pt x="33747" y="98974"/>
                      <a:pt x="35756" y="97248"/>
                      <a:pt x="36091" y="94904"/>
                    </a:cubicBezTo>
                    <a:cubicBezTo>
                      <a:pt x="37637" y="84496"/>
                      <a:pt x="41449" y="74759"/>
                      <a:pt x="47426" y="65949"/>
                    </a:cubicBezTo>
                    <a:cubicBezTo>
                      <a:pt x="48740" y="63991"/>
                      <a:pt x="48456" y="61363"/>
                      <a:pt x="46756" y="59766"/>
                    </a:cubicBezTo>
                    <a:lnTo>
                      <a:pt x="30888" y="44850"/>
                    </a:lnTo>
                    <a:lnTo>
                      <a:pt x="40522" y="34623"/>
                    </a:lnTo>
                    <a:lnTo>
                      <a:pt x="56365" y="49539"/>
                    </a:lnTo>
                    <a:cubicBezTo>
                      <a:pt x="58091" y="51162"/>
                      <a:pt x="60718" y="51291"/>
                      <a:pt x="62599" y="49848"/>
                    </a:cubicBezTo>
                    <a:cubicBezTo>
                      <a:pt x="71590" y="42867"/>
                      <a:pt x="82332" y="38153"/>
                      <a:pt x="93641" y="36221"/>
                    </a:cubicBezTo>
                    <a:cubicBezTo>
                      <a:pt x="95959" y="35834"/>
                      <a:pt x="97659" y="33799"/>
                      <a:pt x="97634" y="31455"/>
                    </a:cubicBezTo>
                    <a:lnTo>
                      <a:pt x="97428" y="9739"/>
                    </a:lnTo>
                    <a:lnTo>
                      <a:pt x="111467" y="9584"/>
                    </a:lnTo>
                    <a:lnTo>
                      <a:pt x="111673" y="31326"/>
                    </a:lnTo>
                    <a:cubicBezTo>
                      <a:pt x="111699" y="33696"/>
                      <a:pt x="113425" y="35680"/>
                      <a:pt x="115769" y="36015"/>
                    </a:cubicBezTo>
                    <a:cubicBezTo>
                      <a:pt x="127001" y="37663"/>
                      <a:pt x="137820" y="42171"/>
                      <a:pt x="147043" y="48998"/>
                    </a:cubicBezTo>
                    <a:cubicBezTo>
                      <a:pt x="148923" y="50389"/>
                      <a:pt x="151551" y="50209"/>
                      <a:pt x="153251" y="48586"/>
                    </a:cubicBezTo>
                    <a:lnTo>
                      <a:pt x="168811" y="33387"/>
                    </a:lnTo>
                    <a:lnTo>
                      <a:pt x="178651" y="43408"/>
                    </a:lnTo>
                    <a:lnTo>
                      <a:pt x="163092" y="58633"/>
                    </a:lnTo>
                    <a:cubicBezTo>
                      <a:pt x="161392" y="60281"/>
                      <a:pt x="161160" y="62909"/>
                      <a:pt x="162551" y="64841"/>
                    </a:cubicBezTo>
                    <a:cubicBezTo>
                      <a:pt x="168656" y="73419"/>
                      <a:pt x="172675" y="83054"/>
                      <a:pt x="174478" y="93538"/>
                    </a:cubicBezTo>
                    <a:cubicBezTo>
                      <a:pt x="174890" y="95857"/>
                      <a:pt x="176874" y="97557"/>
                      <a:pt x="179244" y="97531"/>
                    </a:cubicBezTo>
                    <a:lnTo>
                      <a:pt x="200986" y="97299"/>
                    </a:lnTo>
                    <a:lnTo>
                      <a:pt x="201115" y="111365"/>
                    </a:lnTo>
                    <a:lnTo>
                      <a:pt x="179295" y="111597"/>
                    </a:lnTo>
                    <a:close/>
                  </a:path>
                </a:pathLst>
              </a:custGeom>
              <a:solidFill>
                <a:schemeClr val="accent1"/>
              </a:solidFill>
              <a:ln w="2571" cap="flat">
                <a:noFill/>
                <a:prstDash val="solid"/>
                <a:miter/>
              </a:ln>
            </p:spPr>
            <p:txBody>
              <a:bodyPr rtlCol="0" anchor="ctr"/>
              <a:lstStyle/>
              <a:p>
                <a:endParaRPr lang="en-GB" dirty="0"/>
              </a:p>
            </p:txBody>
          </p:sp>
          <p:sp>
            <p:nvSpPr>
              <p:cNvPr id="424" name="Freihandform: Form 726">
                <a:extLst>
                  <a:ext uri="{FF2B5EF4-FFF2-40B4-BE49-F238E27FC236}">
                    <a16:creationId xmlns:a16="http://schemas.microsoft.com/office/drawing/2014/main" id="{2415670B-805E-46CA-B34C-1A7A2B0F420D}"/>
                  </a:ext>
                </a:extLst>
              </p:cNvPr>
              <p:cNvSpPr/>
              <p:nvPr/>
            </p:nvSpPr>
            <p:spPr>
              <a:xfrm>
                <a:off x="7072062" y="1842092"/>
                <a:ext cx="89253" cy="89261"/>
              </a:xfrm>
              <a:custGeom>
                <a:avLst/>
                <a:gdLst>
                  <a:gd name="connsiteX0" fmla="*/ 44658 w 89253"/>
                  <a:gd name="connsiteY0" fmla="*/ 0 h 89261"/>
                  <a:gd name="connsiteX1" fmla="*/ 35771 w 89253"/>
                  <a:gd name="connsiteY1" fmla="*/ 902 h 89261"/>
                  <a:gd name="connsiteX2" fmla="*/ 7434 w 89253"/>
                  <a:gd name="connsiteY2" fmla="*/ 19965 h 89261"/>
                  <a:gd name="connsiteX3" fmla="*/ 891 w 89253"/>
                  <a:gd name="connsiteY3" fmla="*/ 53454 h 89261"/>
                  <a:gd name="connsiteX4" fmla="*/ 44581 w 89253"/>
                  <a:gd name="connsiteY4" fmla="*/ 89261 h 89261"/>
                  <a:gd name="connsiteX5" fmla="*/ 53468 w 89253"/>
                  <a:gd name="connsiteY5" fmla="*/ 88359 h 89261"/>
                  <a:gd name="connsiteX6" fmla="*/ 81805 w 89253"/>
                  <a:gd name="connsiteY6" fmla="*/ 69297 h 89261"/>
                  <a:gd name="connsiteX7" fmla="*/ 88349 w 89253"/>
                  <a:gd name="connsiteY7" fmla="*/ 35782 h 89261"/>
                  <a:gd name="connsiteX8" fmla="*/ 44658 w 89253"/>
                  <a:gd name="connsiteY8" fmla="*/ 0 h 89261"/>
                  <a:gd name="connsiteX9" fmla="*/ 73819 w 89253"/>
                  <a:gd name="connsiteY9" fmla="*/ 64016 h 89261"/>
                  <a:gd name="connsiteX10" fmla="*/ 51588 w 89253"/>
                  <a:gd name="connsiteY10" fmla="*/ 78983 h 89261"/>
                  <a:gd name="connsiteX11" fmla="*/ 44607 w 89253"/>
                  <a:gd name="connsiteY11" fmla="*/ 79678 h 89261"/>
                  <a:gd name="connsiteX12" fmla="*/ 10319 w 89253"/>
                  <a:gd name="connsiteY12" fmla="*/ 51547 h 89261"/>
                  <a:gd name="connsiteX13" fmla="*/ 15445 w 89253"/>
                  <a:gd name="connsiteY13" fmla="*/ 25246 h 89261"/>
                  <a:gd name="connsiteX14" fmla="*/ 37677 w 89253"/>
                  <a:gd name="connsiteY14" fmla="*/ 10279 h 89261"/>
                  <a:gd name="connsiteX15" fmla="*/ 44658 w 89253"/>
                  <a:gd name="connsiteY15" fmla="*/ 9583 h 89261"/>
                  <a:gd name="connsiteX16" fmla="*/ 78946 w 89253"/>
                  <a:gd name="connsiteY16" fmla="*/ 37662 h 89261"/>
                  <a:gd name="connsiteX17" fmla="*/ 73819 w 89253"/>
                  <a:gd name="connsiteY17" fmla="*/ 64016 h 89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253" h="89261">
                    <a:moveTo>
                      <a:pt x="44658" y="0"/>
                    </a:moveTo>
                    <a:cubicBezTo>
                      <a:pt x="41696" y="0"/>
                      <a:pt x="38707" y="309"/>
                      <a:pt x="35771" y="902"/>
                    </a:cubicBezTo>
                    <a:cubicBezTo>
                      <a:pt x="24075" y="3272"/>
                      <a:pt x="14029" y="10047"/>
                      <a:pt x="7434" y="19965"/>
                    </a:cubicBezTo>
                    <a:cubicBezTo>
                      <a:pt x="865" y="29883"/>
                      <a:pt x="-1454" y="41784"/>
                      <a:pt x="891" y="53454"/>
                    </a:cubicBezTo>
                    <a:cubicBezTo>
                      <a:pt x="5090" y="74191"/>
                      <a:pt x="23457" y="89261"/>
                      <a:pt x="44581" y="89261"/>
                    </a:cubicBezTo>
                    <a:cubicBezTo>
                      <a:pt x="47543" y="89261"/>
                      <a:pt x="50532" y="88952"/>
                      <a:pt x="53468" y="88359"/>
                    </a:cubicBezTo>
                    <a:cubicBezTo>
                      <a:pt x="65138" y="85990"/>
                      <a:pt x="75210" y="79214"/>
                      <a:pt x="81805" y="69297"/>
                    </a:cubicBezTo>
                    <a:cubicBezTo>
                      <a:pt x="88400" y="59353"/>
                      <a:pt x="90718" y="47451"/>
                      <a:pt x="88349" y="35782"/>
                    </a:cubicBezTo>
                    <a:cubicBezTo>
                      <a:pt x="84150" y="15044"/>
                      <a:pt x="65782" y="0"/>
                      <a:pt x="44658" y="0"/>
                    </a:cubicBezTo>
                    <a:close/>
                    <a:moveTo>
                      <a:pt x="73819" y="64016"/>
                    </a:moveTo>
                    <a:cubicBezTo>
                      <a:pt x="68641" y="71821"/>
                      <a:pt x="60759" y="77128"/>
                      <a:pt x="51588" y="78983"/>
                    </a:cubicBezTo>
                    <a:cubicBezTo>
                      <a:pt x="49295" y="79446"/>
                      <a:pt x="46951" y="79678"/>
                      <a:pt x="44607" y="79678"/>
                    </a:cubicBezTo>
                    <a:cubicBezTo>
                      <a:pt x="28042" y="79678"/>
                      <a:pt x="13616" y="67854"/>
                      <a:pt x="10319" y="51547"/>
                    </a:cubicBezTo>
                    <a:cubicBezTo>
                      <a:pt x="8464" y="42376"/>
                      <a:pt x="10293" y="33051"/>
                      <a:pt x="15445" y="25246"/>
                    </a:cubicBezTo>
                    <a:cubicBezTo>
                      <a:pt x="20623" y="17440"/>
                      <a:pt x="28506" y="12133"/>
                      <a:pt x="37677" y="10279"/>
                    </a:cubicBezTo>
                    <a:cubicBezTo>
                      <a:pt x="39995" y="9815"/>
                      <a:pt x="42340" y="9583"/>
                      <a:pt x="44658" y="9583"/>
                    </a:cubicBezTo>
                    <a:cubicBezTo>
                      <a:pt x="61222" y="9583"/>
                      <a:pt x="75648" y="21381"/>
                      <a:pt x="78946" y="37662"/>
                    </a:cubicBezTo>
                    <a:cubicBezTo>
                      <a:pt x="80800" y="46859"/>
                      <a:pt x="78972" y="56210"/>
                      <a:pt x="73819" y="64016"/>
                    </a:cubicBezTo>
                    <a:close/>
                  </a:path>
                </a:pathLst>
              </a:custGeom>
              <a:solidFill>
                <a:schemeClr val="accent1"/>
              </a:solidFill>
              <a:ln w="2571" cap="flat">
                <a:noFill/>
                <a:prstDash val="solid"/>
                <a:miter/>
              </a:ln>
            </p:spPr>
            <p:txBody>
              <a:bodyPr rtlCol="0" anchor="ctr"/>
              <a:lstStyle/>
              <a:p>
                <a:endParaRPr lang="en-GB" dirty="0"/>
              </a:p>
            </p:txBody>
          </p:sp>
          <p:sp>
            <p:nvSpPr>
              <p:cNvPr id="425" name="Freihandform: Form 727">
                <a:extLst>
                  <a:ext uri="{FF2B5EF4-FFF2-40B4-BE49-F238E27FC236}">
                    <a16:creationId xmlns:a16="http://schemas.microsoft.com/office/drawing/2014/main" id="{8EA40F67-9637-4087-B88A-EE4896216B93}"/>
                  </a:ext>
                </a:extLst>
              </p:cNvPr>
              <p:cNvSpPr/>
              <p:nvPr/>
            </p:nvSpPr>
            <p:spPr>
              <a:xfrm>
                <a:off x="7279329" y="1722905"/>
                <a:ext cx="204916" cy="113442"/>
              </a:xfrm>
              <a:custGeom>
                <a:avLst/>
                <a:gdLst>
                  <a:gd name="connsiteX0" fmla="*/ 196393 w 204916"/>
                  <a:gd name="connsiteY0" fmla="*/ 1769 h 113442"/>
                  <a:gd name="connsiteX1" fmla="*/ 115427 w 204916"/>
                  <a:gd name="connsiteY1" fmla="*/ 101077 h 113442"/>
                  <a:gd name="connsiteX2" fmla="*/ 55224 w 204916"/>
                  <a:gd name="connsiteY2" fmla="*/ 27350 h 113442"/>
                  <a:gd name="connsiteX3" fmla="*/ 48809 w 204916"/>
                  <a:gd name="connsiteY3" fmla="*/ 26422 h 113442"/>
                  <a:gd name="connsiteX4" fmla="*/ 2079 w 204916"/>
                  <a:gd name="connsiteY4" fmla="*/ 58417 h 113442"/>
                  <a:gd name="connsiteX5" fmla="*/ 843 w 204916"/>
                  <a:gd name="connsiteY5" fmla="*/ 65089 h 113442"/>
                  <a:gd name="connsiteX6" fmla="*/ 7515 w 204916"/>
                  <a:gd name="connsiteY6" fmla="*/ 66326 h 113442"/>
                  <a:gd name="connsiteX7" fmla="*/ 50613 w 204916"/>
                  <a:gd name="connsiteY7" fmla="*/ 36804 h 113442"/>
                  <a:gd name="connsiteX8" fmla="*/ 111743 w 204916"/>
                  <a:gd name="connsiteY8" fmla="*/ 111690 h 113442"/>
                  <a:gd name="connsiteX9" fmla="*/ 115453 w 204916"/>
                  <a:gd name="connsiteY9" fmla="*/ 113442 h 113442"/>
                  <a:gd name="connsiteX10" fmla="*/ 119162 w 204916"/>
                  <a:gd name="connsiteY10" fmla="*/ 111690 h 113442"/>
                  <a:gd name="connsiteX11" fmla="*/ 203838 w 204916"/>
                  <a:gd name="connsiteY11" fmla="*/ 7849 h 113442"/>
                  <a:gd name="connsiteX12" fmla="*/ 203142 w 204916"/>
                  <a:gd name="connsiteY12" fmla="*/ 1099 h 113442"/>
                  <a:gd name="connsiteX13" fmla="*/ 196393 w 204916"/>
                  <a:gd name="connsiteY13" fmla="*/ 1769 h 113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4916" h="113442">
                    <a:moveTo>
                      <a:pt x="196393" y="1769"/>
                    </a:moveTo>
                    <a:lnTo>
                      <a:pt x="115427" y="101077"/>
                    </a:lnTo>
                    <a:lnTo>
                      <a:pt x="55224" y="27350"/>
                    </a:lnTo>
                    <a:cubicBezTo>
                      <a:pt x="53653" y="25418"/>
                      <a:pt x="50845" y="25031"/>
                      <a:pt x="48809" y="26422"/>
                    </a:cubicBezTo>
                    <a:lnTo>
                      <a:pt x="2079" y="58417"/>
                    </a:lnTo>
                    <a:cubicBezTo>
                      <a:pt x="-110" y="59911"/>
                      <a:pt x="-651" y="62899"/>
                      <a:pt x="843" y="65089"/>
                    </a:cubicBezTo>
                    <a:cubicBezTo>
                      <a:pt x="2337" y="67279"/>
                      <a:pt x="5299" y="67846"/>
                      <a:pt x="7515" y="66326"/>
                    </a:cubicBezTo>
                    <a:lnTo>
                      <a:pt x="50613" y="36804"/>
                    </a:lnTo>
                    <a:lnTo>
                      <a:pt x="111743" y="111690"/>
                    </a:lnTo>
                    <a:cubicBezTo>
                      <a:pt x="112645" y="112798"/>
                      <a:pt x="114010" y="113442"/>
                      <a:pt x="115453" y="113442"/>
                    </a:cubicBezTo>
                    <a:cubicBezTo>
                      <a:pt x="116895" y="113442"/>
                      <a:pt x="118260" y="112798"/>
                      <a:pt x="119162" y="111690"/>
                    </a:cubicBezTo>
                    <a:lnTo>
                      <a:pt x="203838" y="7849"/>
                    </a:lnTo>
                    <a:cubicBezTo>
                      <a:pt x="205512" y="5788"/>
                      <a:pt x="205203" y="2774"/>
                      <a:pt x="203142" y="1099"/>
                    </a:cubicBezTo>
                    <a:cubicBezTo>
                      <a:pt x="201081" y="-601"/>
                      <a:pt x="198067" y="-292"/>
                      <a:pt x="196393" y="1769"/>
                    </a:cubicBezTo>
                    <a:close/>
                  </a:path>
                </a:pathLst>
              </a:custGeom>
              <a:solidFill>
                <a:schemeClr val="accent1"/>
              </a:solidFill>
              <a:ln w="2571" cap="flat">
                <a:noFill/>
                <a:prstDash val="solid"/>
                <a:miter/>
              </a:ln>
            </p:spPr>
            <p:txBody>
              <a:bodyPr rtlCol="0" anchor="ctr"/>
              <a:lstStyle/>
              <a:p>
                <a:endParaRPr lang="en-GB" dirty="0"/>
              </a:p>
            </p:txBody>
          </p:sp>
          <p:sp>
            <p:nvSpPr>
              <p:cNvPr id="426" name="Freihandform: Form 728">
                <a:extLst>
                  <a:ext uri="{FF2B5EF4-FFF2-40B4-BE49-F238E27FC236}">
                    <a16:creationId xmlns:a16="http://schemas.microsoft.com/office/drawing/2014/main" id="{C29D7C3D-7FB7-4119-8CCA-450DC60A3D15}"/>
                  </a:ext>
                </a:extLst>
              </p:cNvPr>
              <p:cNvSpPr/>
              <p:nvPr/>
            </p:nvSpPr>
            <p:spPr>
              <a:xfrm>
                <a:off x="6814763" y="1975323"/>
                <a:ext cx="150965" cy="78805"/>
              </a:xfrm>
              <a:custGeom>
                <a:avLst/>
                <a:gdLst>
                  <a:gd name="connsiteX0" fmla="*/ 143502 w 150965"/>
                  <a:gd name="connsiteY0" fmla="*/ 27361 h 78805"/>
                  <a:gd name="connsiteX1" fmla="*/ 112461 w 150965"/>
                  <a:gd name="connsiteY1" fmla="*/ 48640 h 78805"/>
                  <a:gd name="connsiteX2" fmla="*/ 66272 w 150965"/>
                  <a:gd name="connsiteY2" fmla="*/ 1446 h 78805"/>
                  <a:gd name="connsiteX3" fmla="*/ 62665 w 150965"/>
                  <a:gd name="connsiteY3" fmla="*/ 4 h 78805"/>
                  <a:gd name="connsiteX4" fmla="*/ 59187 w 150965"/>
                  <a:gd name="connsiteY4" fmla="*/ 1704 h 78805"/>
                  <a:gd name="connsiteX5" fmla="*/ 1123 w 150965"/>
                  <a:gd name="connsiteY5" fmla="*/ 70949 h 78805"/>
                  <a:gd name="connsiteX6" fmla="*/ 1715 w 150965"/>
                  <a:gd name="connsiteY6" fmla="*/ 77698 h 78805"/>
                  <a:gd name="connsiteX7" fmla="*/ 4781 w 150965"/>
                  <a:gd name="connsiteY7" fmla="*/ 78806 h 78805"/>
                  <a:gd name="connsiteX8" fmla="*/ 8439 w 150965"/>
                  <a:gd name="connsiteY8" fmla="*/ 77106 h 78805"/>
                  <a:gd name="connsiteX9" fmla="*/ 63103 w 150965"/>
                  <a:gd name="connsiteY9" fmla="*/ 11931 h 78805"/>
                  <a:gd name="connsiteX10" fmla="*/ 108390 w 150965"/>
                  <a:gd name="connsiteY10" fmla="*/ 58223 h 78805"/>
                  <a:gd name="connsiteX11" fmla="*/ 114522 w 150965"/>
                  <a:gd name="connsiteY11" fmla="*/ 58815 h 78805"/>
                  <a:gd name="connsiteX12" fmla="*/ 148887 w 150965"/>
                  <a:gd name="connsiteY12" fmla="*/ 35270 h 78805"/>
                  <a:gd name="connsiteX13" fmla="*/ 150123 w 150965"/>
                  <a:gd name="connsiteY13" fmla="*/ 28598 h 78805"/>
                  <a:gd name="connsiteX14" fmla="*/ 143502 w 150965"/>
                  <a:gd name="connsiteY14" fmla="*/ 27361 h 78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0965" h="78805">
                    <a:moveTo>
                      <a:pt x="143502" y="27361"/>
                    </a:moveTo>
                    <a:lnTo>
                      <a:pt x="112461" y="48640"/>
                    </a:lnTo>
                    <a:lnTo>
                      <a:pt x="66272" y="1446"/>
                    </a:lnTo>
                    <a:cubicBezTo>
                      <a:pt x="65319" y="467"/>
                      <a:pt x="63876" y="-48"/>
                      <a:pt x="62665" y="4"/>
                    </a:cubicBezTo>
                    <a:cubicBezTo>
                      <a:pt x="61300" y="55"/>
                      <a:pt x="60037" y="673"/>
                      <a:pt x="59187" y="1704"/>
                    </a:cubicBezTo>
                    <a:lnTo>
                      <a:pt x="1123" y="70949"/>
                    </a:lnTo>
                    <a:cubicBezTo>
                      <a:pt x="-578" y="72984"/>
                      <a:pt x="-320" y="75998"/>
                      <a:pt x="1715" y="77698"/>
                    </a:cubicBezTo>
                    <a:cubicBezTo>
                      <a:pt x="2617" y="78445"/>
                      <a:pt x="3699" y="78806"/>
                      <a:pt x="4781" y="78806"/>
                    </a:cubicBezTo>
                    <a:cubicBezTo>
                      <a:pt x="6146" y="78806"/>
                      <a:pt x="7511" y="78213"/>
                      <a:pt x="8439" y="77106"/>
                    </a:cubicBezTo>
                    <a:lnTo>
                      <a:pt x="63103" y="11931"/>
                    </a:lnTo>
                    <a:lnTo>
                      <a:pt x="108390" y="58223"/>
                    </a:lnTo>
                    <a:cubicBezTo>
                      <a:pt x="110013" y="59897"/>
                      <a:pt x="112590" y="60129"/>
                      <a:pt x="114522" y="58815"/>
                    </a:cubicBezTo>
                    <a:lnTo>
                      <a:pt x="148887" y="35270"/>
                    </a:lnTo>
                    <a:cubicBezTo>
                      <a:pt x="151076" y="33776"/>
                      <a:pt x="151617" y="30788"/>
                      <a:pt x="150123" y="28598"/>
                    </a:cubicBezTo>
                    <a:cubicBezTo>
                      <a:pt x="148680" y="26434"/>
                      <a:pt x="145718" y="25867"/>
                      <a:pt x="143502" y="27361"/>
                    </a:cubicBezTo>
                    <a:close/>
                  </a:path>
                </a:pathLst>
              </a:custGeom>
              <a:solidFill>
                <a:schemeClr val="accent1"/>
              </a:solidFill>
              <a:ln w="2571" cap="flat">
                <a:noFill/>
                <a:prstDash val="solid"/>
                <a:miter/>
              </a:ln>
            </p:spPr>
            <p:txBody>
              <a:bodyPr rtlCol="0" anchor="ctr"/>
              <a:lstStyle/>
              <a:p>
                <a:endParaRPr lang="en-GB" dirty="0"/>
              </a:p>
            </p:txBody>
          </p:sp>
          <p:sp>
            <p:nvSpPr>
              <p:cNvPr id="427" name="Freihandform: Form 730">
                <a:extLst>
                  <a:ext uri="{FF2B5EF4-FFF2-40B4-BE49-F238E27FC236}">
                    <a16:creationId xmlns:a16="http://schemas.microsoft.com/office/drawing/2014/main" id="{0BFB0602-CB1B-4D79-BCC1-581918441BC8}"/>
                  </a:ext>
                </a:extLst>
              </p:cNvPr>
              <p:cNvSpPr/>
              <p:nvPr/>
            </p:nvSpPr>
            <p:spPr>
              <a:xfrm>
                <a:off x="7412189" y="1721833"/>
                <a:ext cx="73510" cy="33032"/>
              </a:xfrm>
              <a:custGeom>
                <a:avLst/>
                <a:gdLst>
                  <a:gd name="connsiteX0" fmla="*/ 67063 w 73510"/>
                  <a:gd name="connsiteY0" fmla="*/ 291 h 33032"/>
                  <a:gd name="connsiteX1" fmla="*/ 3150 w 73510"/>
                  <a:gd name="connsiteY1" fmla="*/ 23733 h 33032"/>
                  <a:gd name="connsiteX2" fmla="*/ 291 w 73510"/>
                  <a:gd name="connsiteY2" fmla="*/ 29890 h 33032"/>
                  <a:gd name="connsiteX3" fmla="*/ 4799 w 73510"/>
                  <a:gd name="connsiteY3" fmla="*/ 33033 h 33032"/>
                  <a:gd name="connsiteX4" fmla="*/ 6448 w 73510"/>
                  <a:gd name="connsiteY4" fmla="*/ 32749 h 33032"/>
                  <a:gd name="connsiteX5" fmla="*/ 70360 w 73510"/>
                  <a:gd name="connsiteY5" fmla="*/ 9307 h 33032"/>
                  <a:gd name="connsiteX6" fmla="*/ 73220 w 73510"/>
                  <a:gd name="connsiteY6" fmla="*/ 3150 h 33032"/>
                  <a:gd name="connsiteX7" fmla="*/ 67063 w 73510"/>
                  <a:gd name="connsiteY7" fmla="*/ 291 h 3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510" h="33032">
                    <a:moveTo>
                      <a:pt x="67063" y="291"/>
                    </a:moveTo>
                    <a:lnTo>
                      <a:pt x="3150" y="23733"/>
                    </a:lnTo>
                    <a:cubicBezTo>
                      <a:pt x="651" y="24635"/>
                      <a:pt x="-611" y="27391"/>
                      <a:pt x="291" y="29890"/>
                    </a:cubicBezTo>
                    <a:cubicBezTo>
                      <a:pt x="1012" y="31822"/>
                      <a:pt x="2841" y="33033"/>
                      <a:pt x="4799" y="33033"/>
                    </a:cubicBezTo>
                    <a:cubicBezTo>
                      <a:pt x="5340" y="33033"/>
                      <a:pt x="5907" y="32930"/>
                      <a:pt x="6448" y="32749"/>
                    </a:cubicBezTo>
                    <a:lnTo>
                      <a:pt x="70360" y="9307"/>
                    </a:lnTo>
                    <a:cubicBezTo>
                      <a:pt x="72859" y="8405"/>
                      <a:pt x="74121" y="5649"/>
                      <a:pt x="73220" y="3150"/>
                    </a:cubicBezTo>
                    <a:cubicBezTo>
                      <a:pt x="72292" y="651"/>
                      <a:pt x="69510" y="-611"/>
                      <a:pt x="67063" y="291"/>
                    </a:cubicBezTo>
                    <a:close/>
                  </a:path>
                </a:pathLst>
              </a:custGeom>
              <a:solidFill>
                <a:schemeClr val="accent1"/>
              </a:solidFill>
              <a:ln w="2571" cap="flat">
                <a:noFill/>
                <a:prstDash val="solid"/>
                <a:miter/>
              </a:ln>
            </p:spPr>
            <p:txBody>
              <a:bodyPr rtlCol="0" anchor="ctr"/>
              <a:lstStyle/>
              <a:p>
                <a:endParaRPr lang="en-GB" dirty="0"/>
              </a:p>
            </p:txBody>
          </p:sp>
          <p:sp>
            <p:nvSpPr>
              <p:cNvPr id="428" name="Freihandform: Form 731">
                <a:extLst>
                  <a:ext uri="{FF2B5EF4-FFF2-40B4-BE49-F238E27FC236}">
                    <a16:creationId xmlns:a16="http://schemas.microsoft.com/office/drawing/2014/main" id="{5F4E6797-3545-4D85-A996-A74CECB6A48D}"/>
                  </a:ext>
                </a:extLst>
              </p:cNvPr>
              <p:cNvSpPr/>
              <p:nvPr/>
            </p:nvSpPr>
            <p:spPr>
              <a:xfrm>
                <a:off x="7463033" y="1721973"/>
                <a:ext cx="22647" cy="76376"/>
              </a:xfrm>
              <a:custGeom>
                <a:avLst/>
                <a:gdLst>
                  <a:gd name="connsiteX0" fmla="*/ 18769 w 22647"/>
                  <a:gd name="connsiteY0" fmla="*/ 99 h 76376"/>
                  <a:gd name="connsiteX1" fmla="*/ 13153 w 22647"/>
                  <a:gd name="connsiteY1" fmla="*/ 3886 h 76376"/>
                  <a:gd name="connsiteX2" fmla="*/ 92 w 22647"/>
                  <a:gd name="connsiteY2" fmla="*/ 70684 h 76376"/>
                  <a:gd name="connsiteX3" fmla="*/ 3879 w 22647"/>
                  <a:gd name="connsiteY3" fmla="*/ 76300 h 76376"/>
                  <a:gd name="connsiteX4" fmla="*/ 4806 w 22647"/>
                  <a:gd name="connsiteY4" fmla="*/ 76377 h 76376"/>
                  <a:gd name="connsiteX5" fmla="*/ 9495 w 22647"/>
                  <a:gd name="connsiteY5" fmla="*/ 72513 h 76376"/>
                  <a:gd name="connsiteX6" fmla="*/ 22555 w 22647"/>
                  <a:gd name="connsiteY6" fmla="*/ 5715 h 76376"/>
                  <a:gd name="connsiteX7" fmla="*/ 18769 w 22647"/>
                  <a:gd name="connsiteY7" fmla="*/ 99 h 76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47" h="76376">
                    <a:moveTo>
                      <a:pt x="18769" y="99"/>
                    </a:moveTo>
                    <a:cubicBezTo>
                      <a:pt x="16218" y="-442"/>
                      <a:pt x="13668" y="1284"/>
                      <a:pt x="13153" y="3886"/>
                    </a:cubicBezTo>
                    <a:lnTo>
                      <a:pt x="92" y="70684"/>
                    </a:lnTo>
                    <a:cubicBezTo>
                      <a:pt x="-423" y="73286"/>
                      <a:pt x="1277" y="75810"/>
                      <a:pt x="3879" y="76300"/>
                    </a:cubicBezTo>
                    <a:cubicBezTo>
                      <a:pt x="4188" y="76351"/>
                      <a:pt x="4497" y="76377"/>
                      <a:pt x="4806" y="76377"/>
                    </a:cubicBezTo>
                    <a:cubicBezTo>
                      <a:pt x="7047" y="76377"/>
                      <a:pt x="9057" y="74780"/>
                      <a:pt x="9495" y="72513"/>
                    </a:cubicBezTo>
                    <a:lnTo>
                      <a:pt x="22555" y="5715"/>
                    </a:lnTo>
                    <a:cubicBezTo>
                      <a:pt x="23071" y="3113"/>
                      <a:pt x="21370" y="615"/>
                      <a:pt x="18769" y="99"/>
                    </a:cubicBezTo>
                    <a:close/>
                  </a:path>
                </a:pathLst>
              </a:custGeom>
              <a:solidFill>
                <a:schemeClr val="accent1"/>
              </a:solidFill>
              <a:ln w="2571" cap="flat">
                <a:noFill/>
                <a:prstDash val="solid"/>
                <a:miter/>
              </a:ln>
            </p:spPr>
            <p:txBody>
              <a:bodyPr rtlCol="0" anchor="ctr"/>
              <a:lstStyle/>
              <a:p>
                <a:endParaRPr lang="en-GB" dirty="0"/>
              </a:p>
            </p:txBody>
          </p:sp>
        </p:grpSp>
        <p:sp>
          <p:nvSpPr>
            <p:cNvPr id="422" name="Freihandform: Form 729">
              <a:extLst>
                <a:ext uri="{FF2B5EF4-FFF2-40B4-BE49-F238E27FC236}">
                  <a16:creationId xmlns:a16="http://schemas.microsoft.com/office/drawing/2014/main" id="{12E65714-564F-48CA-A5BB-988C97EC9A59}"/>
                </a:ext>
              </a:extLst>
            </p:cNvPr>
            <p:cNvSpPr/>
            <p:nvPr/>
          </p:nvSpPr>
          <p:spPr>
            <a:xfrm>
              <a:off x="6929796" y="1711503"/>
              <a:ext cx="425664" cy="530679"/>
            </a:xfrm>
            <a:custGeom>
              <a:avLst/>
              <a:gdLst>
                <a:gd name="connsiteX0" fmla="*/ 391723 w 425664"/>
                <a:gd name="connsiteY0" fmla="*/ 234585 h 530679"/>
                <a:gd name="connsiteX1" fmla="*/ 380492 w 425664"/>
                <a:gd name="connsiteY1" fmla="*/ 211709 h 530679"/>
                <a:gd name="connsiteX2" fmla="*/ 382346 w 425664"/>
                <a:gd name="connsiteY2" fmla="*/ 209906 h 530679"/>
                <a:gd name="connsiteX3" fmla="*/ 383068 w 425664"/>
                <a:gd name="connsiteY3" fmla="*/ 209494 h 530679"/>
                <a:gd name="connsiteX4" fmla="*/ 390770 w 425664"/>
                <a:gd name="connsiteY4" fmla="*/ 180256 h 530679"/>
                <a:gd name="connsiteX5" fmla="*/ 390152 w 425664"/>
                <a:gd name="connsiteY5" fmla="*/ 177113 h 530679"/>
                <a:gd name="connsiteX6" fmla="*/ 325776 w 425664"/>
                <a:gd name="connsiteY6" fmla="*/ 40812 h 530679"/>
                <a:gd name="connsiteX7" fmla="*/ 129041 w 425664"/>
                <a:gd name="connsiteY7" fmla="*/ 4799 h 530679"/>
                <a:gd name="connsiteX8" fmla="*/ 31 w 425664"/>
                <a:gd name="connsiteY8" fmla="*/ 177422 h 530679"/>
                <a:gd name="connsiteX9" fmla="*/ 314 w 425664"/>
                <a:gd name="connsiteY9" fmla="*/ 189375 h 530679"/>
                <a:gd name="connsiteX10" fmla="*/ 417 w 425664"/>
                <a:gd name="connsiteY10" fmla="*/ 191693 h 530679"/>
                <a:gd name="connsiteX11" fmla="*/ 56601 w 425664"/>
                <a:gd name="connsiteY11" fmla="*/ 353986 h 530679"/>
                <a:gd name="connsiteX12" fmla="*/ 68838 w 425664"/>
                <a:gd name="connsiteY12" fmla="*/ 376939 h 530679"/>
                <a:gd name="connsiteX13" fmla="*/ 59332 w 425664"/>
                <a:gd name="connsiteY13" fmla="*/ 516975 h 530679"/>
                <a:gd name="connsiteX14" fmla="*/ 63582 w 425664"/>
                <a:gd name="connsiteY14" fmla="*/ 522256 h 530679"/>
                <a:gd name="connsiteX15" fmla="*/ 68863 w 425664"/>
                <a:gd name="connsiteY15" fmla="*/ 518005 h 530679"/>
                <a:gd name="connsiteX16" fmla="*/ 78163 w 425664"/>
                <a:gd name="connsiteY16" fmla="*/ 374621 h 530679"/>
                <a:gd name="connsiteX17" fmla="*/ 77931 w 425664"/>
                <a:gd name="connsiteY17" fmla="*/ 373822 h 530679"/>
                <a:gd name="connsiteX18" fmla="*/ 64922 w 425664"/>
                <a:gd name="connsiteY18" fmla="*/ 349221 h 530679"/>
                <a:gd name="connsiteX19" fmla="*/ 10000 w 425664"/>
                <a:gd name="connsiteY19" fmla="*/ 191281 h 530679"/>
                <a:gd name="connsiteX20" fmla="*/ 9897 w 425664"/>
                <a:gd name="connsiteY20" fmla="*/ 188911 h 530679"/>
                <a:gd name="connsiteX21" fmla="*/ 9614 w 425664"/>
                <a:gd name="connsiteY21" fmla="*/ 177242 h 530679"/>
                <a:gd name="connsiteX22" fmla="*/ 130663 w 425664"/>
                <a:gd name="connsiteY22" fmla="*/ 14227 h 530679"/>
                <a:gd name="connsiteX23" fmla="*/ 319876 w 425664"/>
                <a:gd name="connsiteY23" fmla="*/ 48386 h 530679"/>
                <a:gd name="connsiteX24" fmla="*/ 380620 w 425664"/>
                <a:gd name="connsiteY24" fmla="*/ 178169 h 530679"/>
                <a:gd name="connsiteX25" fmla="*/ 381342 w 425664"/>
                <a:gd name="connsiteY25" fmla="*/ 182085 h 530679"/>
                <a:gd name="connsiteX26" fmla="*/ 377967 w 425664"/>
                <a:gd name="connsiteY26" fmla="*/ 201354 h 530679"/>
                <a:gd name="connsiteX27" fmla="*/ 371140 w 425664"/>
                <a:gd name="connsiteY27" fmla="*/ 209546 h 530679"/>
                <a:gd name="connsiteX28" fmla="*/ 383866 w 425664"/>
                <a:gd name="connsiteY28" fmla="*/ 240124 h 530679"/>
                <a:gd name="connsiteX29" fmla="*/ 394171 w 425664"/>
                <a:gd name="connsiteY29" fmla="*/ 254498 h 530679"/>
                <a:gd name="connsiteX30" fmla="*/ 415578 w 425664"/>
                <a:gd name="connsiteY30" fmla="*/ 294067 h 530679"/>
                <a:gd name="connsiteX31" fmla="*/ 398730 w 425664"/>
                <a:gd name="connsiteY31" fmla="*/ 300120 h 530679"/>
                <a:gd name="connsiteX32" fmla="*/ 393784 w 425664"/>
                <a:gd name="connsiteY32" fmla="*/ 301718 h 530679"/>
                <a:gd name="connsiteX33" fmla="*/ 393063 w 425664"/>
                <a:gd name="connsiteY33" fmla="*/ 302027 h 530679"/>
                <a:gd name="connsiteX34" fmla="*/ 389096 w 425664"/>
                <a:gd name="connsiteY34" fmla="*/ 336958 h 530679"/>
                <a:gd name="connsiteX35" fmla="*/ 389482 w 425664"/>
                <a:gd name="connsiteY35" fmla="*/ 337602 h 530679"/>
                <a:gd name="connsiteX36" fmla="*/ 390847 w 425664"/>
                <a:gd name="connsiteY36" fmla="*/ 339741 h 530679"/>
                <a:gd name="connsiteX37" fmla="*/ 390847 w 425664"/>
                <a:gd name="connsiteY37" fmla="*/ 339741 h 530679"/>
                <a:gd name="connsiteX38" fmla="*/ 385876 w 425664"/>
                <a:gd name="connsiteY38" fmla="*/ 345562 h 530679"/>
                <a:gd name="connsiteX39" fmla="*/ 385309 w 425664"/>
                <a:gd name="connsiteY39" fmla="*/ 358159 h 530679"/>
                <a:gd name="connsiteX40" fmla="*/ 381728 w 425664"/>
                <a:gd name="connsiteY40" fmla="*/ 369623 h 530679"/>
                <a:gd name="connsiteX41" fmla="*/ 380620 w 425664"/>
                <a:gd name="connsiteY41" fmla="*/ 373667 h 530679"/>
                <a:gd name="connsiteX42" fmla="*/ 375571 w 425664"/>
                <a:gd name="connsiteY42" fmla="*/ 409243 h 530679"/>
                <a:gd name="connsiteX43" fmla="*/ 363335 w 425664"/>
                <a:gd name="connsiteY43" fmla="*/ 415992 h 530679"/>
                <a:gd name="connsiteX44" fmla="*/ 362253 w 425664"/>
                <a:gd name="connsiteY44" fmla="*/ 416095 h 530679"/>
                <a:gd name="connsiteX45" fmla="*/ 273198 w 425664"/>
                <a:gd name="connsiteY45" fmla="*/ 526146 h 530679"/>
                <a:gd name="connsiteX46" fmla="*/ 277989 w 425664"/>
                <a:gd name="connsiteY46" fmla="*/ 530679 h 530679"/>
                <a:gd name="connsiteX47" fmla="*/ 278247 w 425664"/>
                <a:gd name="connsiteY47" fmla="*/ 530679 h 530679"/>
                <a:gd name="connsiteX48" fmla="*/ 282781 w 425664"/>
                <a:gd name="connsiteY48" fmla="*/ 525630 h 530679"/>
                <a:gd name="connsiteX49" fmla="*/ 363258 w 425664"/>
                <a:gd name="connsiteY49" fmla="*/ 425653 h 530679"/>
                <a:gd name="connsiteX50" fmla="*/ 364365 w 425664"/>
                <a:gd name="connsiteY50" fmla="*/ 425550 h 530679"/>
                <a:gd name="connsiteX51" fmla="*/ 383299 w 425664"/>
                <a:gd name="connsiteY51" fmla="*/ 414962 h 530679"/>
                <a:gd name="connsiteX52" fmla="*/ 390409 w 425664"/>
                <a:gd name="connsiteY52" fmla="*/ 374183 h 530679"/>
                <a:gd name="connsiteX53" fmla="*/ 393243 w 425664"/>
                <a:gd name="connsiteY53" fmla="*/ 352724 h 530679"/>
                <a:gd name="connsiteX54" fmla="*/ 392857 w 425664"/>
                <a:gd name="connsiteY54" fmla="*/ 352157 h 530679"/>
                <a:gd name="connsiteX55" fmla="*/ 397519 w 425664"/>
                <a:gd name="connsiteY55" fmla="*/ 332373 h 530679"/>
                <a:gd name="connsiteX56" fmla="*/ 397236 w 425664"/>
                <a:gd name="connsiteY56" fmla="*/ 310682 h 530679"/>
                <a:gd name="connsiteX57" fmla="*/ 401667 w 425664"/>
                <a:gd name="connsiteY57" fmla="*/ 309240 h 530679"/>
                <a:gd name="connsiteX58" fmla="*/ 420756 w 425664"/>
                <a:gd name="connsiteY58" fmla="*/ 302181 h 530679"/>
                <a:gd name="connsiteX59" fmla="*/ 421760 w 425664"/>
                <a:gd name="connsiteY59" fmla="*/ 301460 h 530679"/>
                <a:gd name="connsiteX60" fmla="*/ 401873 w 425664"/>
                <a:gd name="connsiteY60" fmla="*/ 248753 h 530679"/>
                <a:gd name="connsiteX61" fmla="*/ 391723 w 425664"/>
                <a:gd name="connsiteY61" fmla="*/ 234585 h 530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25664" h="530679">
                  <a:moveTo>
                    <a:pt x="391723" y="234585"/>
                  </a:moveTo>
                  <a:cubicBezTo>
                    <a:pt x="380002" y="219000"/>
                    <a:pt x="380183" y="213126"/>
                    <a:pt x="380492" y="211709"/>
                  </a:cubicBezTo>
                  <a:cubicBezTo>
                    <a:pt x="380698" y="210808"/>
                    <a:pt x="381187" y="210499"/>
                    <a:pt x="382346" y="209906"/>
                  </a:cubicBezTo>
                  <a:cubicBezTo>
                    <a:pt x="382501" y="209829"/>
                    <a:pt x="382939" y="209597"/>
                    <a:pt x="383068" y="209494"/>
                  </a:cubicBezTo>
                  <a:cubicBezTo>
                    <a:pt x="394969" y="201689"/>
                    <a:pt x="392445" y="188782"/>
                    <a:pt x="390770" y="180256"/>
                  </a:cubicBezTo>
                  <a:cubicBezTo>
                    <a:pt x="390538" y="178993"/>
                    <a:pt x="390281" y="177808"/>
                    <a:pt x="390152" y="177113"/>
                  </a:cubicBezTo>
                  <a:cubicBezTo>
                    <a:pt x="386236" y="116781"/>
                    <a:pt x="364597" y="70927"/>
                    <a:pt x="325776" y="40812"/>
                  </a:cubicBezTo>
                  <a:cubicBezTo>
                    <a:pt x="252151" y="-16325"/>
                    <a:pt x="141303" y="2480"/>
                    <a:pt x="129041" y="4799"/>
                  </a:cubicBezTo>
                  <a:cubicBezTo>
                    <a:pt x="127727" y="5005"/>
                    <a:pt x="-2288" y="27546"/>
                    <a:pt x="31" y="177422"/>
                  </a:cubicBezTo>
                  <a:cubicBezTo>
                    <a:pt x="159" y="185974"/>
                    <a:pt x="211" y="186928"/>
                    <a:pt x="314" y="189375"/>
                  </a:cubicBezTo>
                  <a:lnTo>
                    <a:pt x="417" y="191693"/>
                  </a:lnTo>
                  <a:cubicBezTo>
                    <a:pt x="3380" y="260835"/>
                    <a:pt x="36688" y="319132"/>
                    <a:pt x="56601" y="353986"/>
                  </a:cubicBezTo>
                  <a:cubicBezTo>
                    <a:pt x="62243" y="363853"/>
                    <a:pt x="66725" y="371710"/>
                    <a:pt x="68838" y="376939"/>
                  </a:cubicBezTo>
                  <a:cubicBezTo>
                    <a:pt x="71800" y="393529"/>
                    <a:pt x="62990" y="483460"/>
                    <a:pt x="59332" y="516975"/>
                  </a:cubicBezTo>
                  <a:cubicBezTo>
                    <a:pt x="59049" y="519602"/>
                    <a:pt x="60955" y="521972"/>
                    <a:pt x="63582" y="522256"/>
                  </a:cubicBezTo>
                  <a:cubicBezTo>
                    <a:pt x="66287" y="522539"/>
                    <a:pt x="68580" y="520658"/>
                    <a:pt x="68863" y="518005"/>
                  </a:cubicBezTo>
                  <a:cubicBezTo>
                    <a:pt x="69430" y="512982"/>
                    <a:pt x="82285" y="394791"/>
                    <a:pt x="78163" y="374621"/>
                  </a:cubicBezTo>
                  <a:cubicBezTo>
                    <a:pt x="78112" y="374337"/>
                    <a:pt x="78034" y="374080"/>
                    <a:pt x="77931" y="373822"/>
                  </a:cubicBezTo>
                  <a:cubicBezTo>
                    <a:pt x="75638" y="367949"/>
                    <a:pt x="70899" y="359679"/>
                    <a:pt x="64922" y="349221"/>
                  </a:cubicBezTo>
                  <a:cubicBezTo>
                    <a:pt x="45447" y="315139"/>
                    <a:pt x="12859" y="258105"/>
                    <a:pt x="10000" y="191281"/>
                  </a:cubicBezTo>
                  <a:lnTo>
                    <a:pt x="9897" y="188911"/>
                  </a:lnTo>
                  <a:cubicBezTo>
                    <a:pt x="9794" y="186515"/>
                    <a:pt x="9742" y="185588"/>
                    <a:pt x="9614" y="177242"/>
                  </a:cubicBezTo>
                  <a:cubicBezTo>
                    <a:pt x="7424" y="35815"/>
                    <a:pt x="125511" y="15052"/>
                    <a:pt x="130663" y="14227"/>
                  </a:cubicBezTo>
                  <a:cubicBezTo>
                    <a:pt x="142617" y="11986"/>
                    <a:pt x="249575" y="-6201"/>
                    <a:pt x="319876" y="48386"/>
                  </a:cubicBezTo>
                  <a:cubicBezTo>
                    <a:pt x="356405" y="76749"/>
                    <a:pt x="376833" y="120259"/>
                    <a:pt x="380620" y="178169"/>
                  </a:cubicBezTo>
                  <a:cubicBezTo>
                    <a:pt x="380827" y="179405"/>
                    <a:pt x="381084" y="180719"/>
                    <a:pt x="381342" y="182085"/>
                  </a:cubicBezTo>
                  <a:cubicBezTo>
                    <a:pt x="383119" y="191204"/>
                    <a:pt x="383841" y="197489"/>
                    <a:pt x="377967" y="201354"/>
                  </a:cubicBezTo>
                  <a:cubicBezTo>
                    <a:pt x="376447" y="202126"/>
                    <a:pt x="372377" y="204213"/>
                    <a:pt x="371140" y="209546"/>
                  </a:cubicBezTo>
                  <a:cubicBezTo>
                    <a:pt x="369492" y="216681"/>
                    <a:pt x="373588" y="226470"/>
                    <a:pt x="383866" y="240124"/>
                  </a:cubicBezTo>
                  <a:cubicBezTo>
                    <a:pt x="386674" y="244374"/>
                    <a:pt x="390306" y="249294"/>
                    <a:pt x="394171" y="254498"/>
                  </a:cubicBezTo>
                  <a:cubicBezTo>
                    <a:pt x="402466" y="265653"/>
                    <a:pt x="419519" y="288605"/>
                    <a:pt x="415578" y="294067"/>
                  </a:cubicBezTo>
                  <a:cubicBezTo>
                    <a:pt x="411585" y="295999"/>
                    <a:pt x="404501" y="298291"/>
                    <a:pt x="398730" y="300120"/>
                  </a:cubicBezTo>
                  <a:lnTo>
                    <a:pt x="393784" y="301718"/>
                  </a:lnTo>
                  <a:cubicBezTo>
                    <a:pt x="393527" y="301795"/>
                    <a:pt x="393295" y="301898"/>
                    <a:pt x="393063" y="302027"/>
                  </a:cubicBezTo>
                  <a:cubicBezTo>
                    <a:pt x="385206" y="306174"/>
                    <a:pt x="379461" y="317792"/>
                    <a:pt x="389096" y="336958"/>
                  </a:cubicBezTo>
                  <a:cubicBezTo>
                    <a:pt x="389199" y="337190"/>
                    <a:pt x="389328" y="337396"/>
                    <a:pt x="389482" y="337602"/>
                  </a:cubicBezTo>
                  <a:cubicBezTo>
                    <a:pt x="390590" y="339122"/>
                    <a:pt x="390796" y="339741"/>
                    <a:pt x="390847" y="339741"/>
                  </a:cubicBezTo>
                  <a:lnTo>
                    <a:pt x="390847" y="339741"/>
                  </a:lnTo>
                  <a:cubicBezTo>
                    <a:pt x="390590" y="340616"/>
                    <a:pt x="388194" y="343141"/>
                    <a:pt x="385876" y="345562"/>
                  </a:cubicBezTo>
                  <a:cubicBezTo>
                    <a:pt x="380517" y="351178"/>
                    <a:pt x="383892" y="356073"/>
                    <a:pt x="385309" y="358159"/>
                  </a:cubicBezTo>
                  <a:cubicBezTo>
                    <a:pt x="386829" y="360375"/>
                    <a:pt x="388143" y="362281"/>
                    <a:pt x="381728" y="369623"/>
                  </a:cubicBezTo>
                  <a:cubicBezTo>
                    <a:pt x="380749" y="370731"/>
                    <a:pt x="380337" y="372225"/>
                    <a:pt x="380620" y="373667"/>
                  </a:cubicBezTo>
                  <a:cubicBezTo>
                    <a:pt x="381754" y="379618"/>
                    <a:pt x="383248" y="398913"/>
                    <a:pt x="375571" y="409243"/>
                  </a:cubicBezTo>
                  <a:cubicBezTo>
                    <a:pt x="372609" y="413236"/>
                    <a:pt x="368590" y="415451"/>
                    <a:pt x="363335" y="415992"/>
                  </a:cubicBezTo>
                  <a:lnTo>
                    <a:pt x="362253" y="416095"/>
                  </a:lnTo>
                  <a:cubicBezTo>
                    <a:pt x="333942" y="419032"/>
                    <a:pt x="267659" y="425910"/>
                    <a:pt x="273198" y="526146"/>
                  </a:cubicBezTo>
                  <a:cubicBezTo>
                    <a:pt x="273352" y="528696"/>
                    <a:pt x="275465" y="530679"/>
                    <a:pt x="277989" y="530679"/>
                  </a:cubicBezTo>
                  <a:cubicBezTo>
                    <a:pt x="278093" y="530679"/>
                    <a:pt x="278170" y="530679"/>
                    <a:pt x="278247" y="530679"/>
                  </a:cubicBezTo>
                  <a:cubicBezTo>
                    <a:pt x="280900" y="530525"/>
                    <a:pt x="282910" y="528258"/>
                    <a:pt x="282781" y="525630"/>
                  </a:cubicBezTo>
                  <a:cubicBezTo>
                    <a:pt x="277732" y="434540"/>
                    <a:pt x="335487" y="428538"/>
                    <a:pt x="363258" y="425653"/>
                  </a:cubicBezTo>
                  <a:lnTo>
                    <a:pt x="364365" y="425550"/>
                  </a:lnTo>
                  <a:cubicBezTo>
                    <a:pt x="372351" y="424700"/>
                    <a:pt x="378714" y="421145"/>
                    <a:pt x="383299" y="414962"/>
                  </a:cubicBezTo>
                  <a:cubicBezTo>
                    <a:pt x="393037" y="401824"/>
                    <a:pt x="391337" y="381087"/>
                    <a:pt x="390409" y="374183"/>
                  </a:cubicBezTo>
                  <a:cubicBezTo>
                    <a:pt x="398679" y="363878"/>
                    <a:pt x="396695" y="357773"/>
                    <a:pt x="393243" y="352724"/>
                  </a:cubicBezTo>
                  <a:cubicBezTo>
                    <a:pt x="393114" y="352544"/>
                    <a:pt x="392986" y="352338"/>
                    <a:pt x="392857" y="352157"/>
                  </a:cubicBezTo>
                  <a:cubicBezTo>
                    <a:pt x="399477" y="345202"/>
                    <a:pt x="403496" y="340977"/>
                    <a:pt x="397519" y="332373"/>
                  </a:cubicBezTo>
                  <a:cubicBezTo>
                    <a:pt x="391363" y="319930"/>
                    <a:pt x="393449" y="312975"/>
                    <a:pt x="397236" y="310682"/>
                  </a:cubicBezTo>
                  <a:lnTo>
                    <a:pt x="401667" y="309240"/>
                  </a:lnTo>
                  <a:cubicBezTo>
                    <a:pt x="408494" y="307050"/>
                    <a:pt x="416196" y="304577"/>
                    <a:pt x="420756" y="302181"/>
                  </a:cubicBezTo>
                  <a:cubicBezTo>
                    <a:pt x="421116" y="301975"/>
                    <a:pt x="421451" y="301743"/>
                    <a:pt x="421760" y="301460"/>
                  </a:cubicBezTo>
                  <a:cubicBezTo>
                    <a:pt x="433224" y="290924"/>
                    <a:pt x="417278" y="269491"/>
                    <a:pt x="401873" y="248753"/>
                  </a:cubicBezTo>
                  <a:cubicBezTo>
                    <a:pt x="398112" y="243653"/>
                    <a:pt x="394557" y="238861"/>
                    <a:pt x="391723" y="234585"/>
                  </a:cubicBezTo>
                  <a:close/>
                </a:path>
              </a:pathLst>
            </a:custGeom>
            <a:solidFill>
              <a:schemeClr val="tx2"/>
            </a:solidFill>
            <a:ln w="2571" cap="flat">
              <a:noFill/>
              <a:prstDash val="solid"/>
              <a:miter/>
            </a:ln>
          </p:spPr>
          <p:txBody>
            <a:bodyPr rtlCol="0" anchor="ctr"/>
            <a:lstStyle/>
            <a:p>
              <a:endParaRPr lang="en-GB" dirty="0"/>
            </a:p>
          </p:txBody>
        </p:sp>
      </p:grpSp>
      <p:grpSp>
        <p:nvGrpSpPr>
          <p:cNvPr id="429" name="Group 428">
            <a:extLst>
              <a:ext uri="{FF2B5EF4-FFF2-40B4-BE49-F238E27FC236}">
                <a16:creationId xmlns:a16="http://schemas.microsoft.com/office/drawing/2014/main" id="{15736DDB-690B-4ED3-9FEA-EBEE7AE78B3E}"/>
              </a:ext>
            </a:extLst>
          </p:cNvPr>
          <p:cNvGrpSpPr>
            <a:grpSpLocks noChangeAspect="1"/>
          </p:cNvGrpSpPr>
          <p:nvPr/>
        </p:nvGrpSpPr>
        <p:grpSpPr>
          <a:xfrm>
            <a:off x="4997269" y="3197068"/>
            <a:ext cx="431999" cy="432000"/>
            <a:chOff x="6864342" y="2430133"/>
            <a:chExt cx="613492" cy="613493"/>
          </a:xfrm>
        </p:grpSpPr>
        <p:grpSp>
          <p:nvGrpSpPr>
            <p:cNvPr id="430" name="Group 429">
              <a:extLst>
                <a:ext uri="{FF2B5EF4-FFF2-40B4-BE49-F238E27FC236}">
                  <a16:creationId xmlns:a16="http://schemas.microsoft.com/office/drawing/2014/main" id="{53CE7E21-6030-4C47-A28E-C007E62AC67B}"/>
                </a:ext>
              </a:extLst>
            </p:cNvPr>
            <p:cNvGrpSpPr/>
            <p:nvPr/>
          </p:nvGrpSpPr>
          <p:grpSpPr>
            <a:xfrm>
              <a:off x="6927377" y="2491320"/>
              <a:ext cx="491226" cy="490401"/>
              <a:chOff x="6927377" y="2491321"/>
              <a:chExt cx="491226" cy="490401"/>
            </a:xfrm>
          </p:grpSpPr>
          <p:sp>
            <p:nvSpPr>
              <p:cNvPr id="445" name="Freihandform: Form 778">
                <a:extLst>
                  <a:ext uri="{FF2B5EF4-FFF2-40B4-BE49-F238E27FC236}">
                    <a16:creationId xmlns:a16="http://schemas.microsoft.com/office/drawing/2014/main" id="{4B9C0417-CA21-471F-B6BA-67B570460CC7}"/>
                  </a:ext>
                </a:extLst>
              </p:cNvPr>
              <p:cNvSpPr/>
              <p:nvPr/>
            </p:nvSpPr>
            <p:spPr>
              <a:xfrm>
                <a:off x="6928738" y="2491321"/>
                <a:ext cx="193497" cy="191551"/>
              </a:xfrm>
              <a:custGeom>
                <a:avLst/>
                <a:gdLst>
                  <a:gd name="connsiteX0" fmla="*/ 187596 w 193497"/>
                  <a:gd name="connsiteY0" fmla="*/ 123 h 191551"/>
                  <a:gd name="connsiteX1" fmla="*/ 135 w 193497"/>
                  <a:gd name="connsiteY1" fmla="*/ 185627 h 191551"/>
                  <a:gd name="connsiteX2" fmla="*/ 3664 w 193497"/>
                  <a:gd name="connsiteY2" fmla="*/ 191423 h 191551"/>
                  <a:gd name="connsiteX3" fmla="*/ 4797 w 193497"/>
                  <a:gd name="connsiteY3" fmla="*/ 191552 h 191551"/>
                  <a:gd name="connsiteX4" fmla="*/ 9460 w 193497"/>
                  <a:gd name="connsiteY4" fmla="*/ 187894 h 191551"/>
                  <a:gd name="connsiteX5" fmla="*/ 189785 w 193497"/>
                  <a:gd name="connsiteY5" fmla="*/ 9475 h 191551"/>
                  <a:gd name="connsiteX6" fmla="*/ 193366 w 193497"/>
                  <a:gd name="connsiteY6" fmla="*/ 3730 h 191551"/>
                  <a:gd name="connsiteX7" fmla="*/ 187596 w 193497"/>
                  <a:gd name="connsiteY7" fmla="*/ 123 h 191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497" h="191551">
                    <a:moveTo>
                      <a:pt x="187596" y="123"/>
                    </a:moveTo>
                    <a:cubicBezTo>
                      <a:pt x="95913" y="21376"/>
                      <a:pt x="22340" y="94176"/>
                      <a:pt x="135" y="185627"/>
                    </a:cubicBezTo>
                    <a:cubicBezTo>
                      <a:pt x="-484" y="188203"/>
                      <a:pt x="1088" y="190779"/>
                      <a:pt x="3664" y="191423"/>
                    </a:cubicBezTo>
                    <a:cubicBezTo>
                      <a:pt x="4050" y="191526"/>
                      <a:pt x="4437" y="191552"/>
                      <a:pt x="4797" y="191552"/>
                    </a:cubicBezTo>
                    <a:cubicBezTo>
                      <a:pt x="6961" y="191552"/>
                      <a:pt x="8919" y="190083"/>
                      <a:pt x="9460" y="187894"/>
                    </a:cubicBezTo>
                    <a:cubicBezTo>
                      <a:pt x="30816" y="99946"/>
                      <a:pt x="101606" y="29903"/>
                      <a:pt x="189785" y="9475"/>
                    </a:cubicBezTo>
                    <a:cubicBezTo>
                      <a:pt x="192361" y="8882"/>
                      <a:pt x="193984" y="6306"/>
                      <a:pt x="193366" y="3730"/>
                    </a:cubicBezTo>
                    <a:cubicBezTo>
                      <a:pt x="192748" y="1128"/>
                      <a:pt x="190146" y="-469"/>
                      <a:pt x="187596" y="123"/>
                    </a:cubicBezTo>
                    <a:close/>
                  </a:path>
                </a:pathLst>
              </a:custGeom>
              <a:solidFill>
                <a:schemeClr val="tx2"/>
              </a:solidFill>
              <a:ln w="2571" cap="flat">
                <a:noFill/>
                <a:prstDash val="solid"/>
                <a:miter/>
              </a:ln>
            </p:spPr>
            <p:txBody>
              <a:bodyPr rtlCol="0" anchor="ctr"/>
              <a:lstStyle/>
              <a:p>
                <a:endParaRPr lang="en-GB" dirty="0"/>
              </a:p>
            </p:txBody>
          </p:sp>
          <p:sp>
            <p:nvSpPr>
              <p:cNvPr id="446" name="Freihandform: Form 779">
                <a:extLst>
                  <a:ext uri="{FF2B5EF4-FFF2-40B4-BE49-F238E27FC236}">
                    <a16:creationId xmlns:a16="http://schemas.microsoft.com/office/drawing/2014/main" id="{B5409B9E-7574-4EB6-BDDA-9C974E04F449}"/>
                  </a:ext>
                </a:extLst>
              </p:cNvPr>
              <p:cNvSpPr/>
              <p:nvPr/>
            </p:nvSpPr>
            <p:spPr>
              <a:xfrm>
                <a:off x="7224534" y="2491372"/>
                <a:ext cx="193053" cy="190340"/>
              </a:xfrm>
              <a:custGeom>
                <a:avLst/>
                <a:gdLst>
                  <a:gd name="connsiteX0" fmla="*/ 5868 w 193053"/>
                  <a:gd name="connsiteY0" fmla="*/ 123 h 190340"/>
                  <a:gd name="connsiteX1" fmla="*/ 123 w 193053"/>
                  <a:gd name="connsiteY1" fmla="*/ 3704 h 190340"/>
                  <a:gd name="connsiteX2" fmla="*/ 3704 w 193053"/>
                  <a:gd name="connsiteY2" fmla="*/ 9449 h 190340"/>
                  <a:gd name="connsiteX3" fmla="*/ 183618 w 193053"/>
                  <a:gd name="connsiteY3" fmla="*/ 186709 h 190340"/>
                  <a:gd name="connsiteX4" fmla="*/ 188254 w 193053"/>
                  <a:gd name="connsiteY4" fmla="*/ 190341 h 190340"/>
                  <a:gd name="connsiteX5" fmla="*/ 189414 w 193053"/>
                  <a:gd name="connsiteY5" fmla="*/ 190212 h 190340"/>
                  <a:gd name="connsiteX6" fmla="*/ 192917 w 193053"/>
                  <a:gd name="connsiteY6" fmla="*/ 184416 h 190340"/>
                  <a:gd name="connsiteX7" fmla="*/ 5868 w 193053"/>
                  <a:gd name="connsiteY7" fmla="*/ 123 h 190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053" h="190340">
                    <a:moveTo>
                      <a:pt x="5868" y="123"/>
                    </a:moveTo>
                    <a:cubicBezTo>
                      <a:pt x="3292" y="-469"/>
                      <a:pt x="716" y="1128"/>
                      <a:pt x="123" y="3704"/>
                    </a:cubicBezTo>
                    <a:cubicBezTo>
                      <a:pt x="-469" y="6280"/>
                      <a:pt x="1128" y="8856"/>
                      <a:pt x="3704" y="9449"/>
                    </a:cubicBezTo>
                    <a:cubicBezTo>
                      <a:pt x="91342" y="29774"/>
                      <a:pt x="161978" y="99354"/>
                      <a:pt x="183618" y="186709"/>
                    </a:cubicBezTo>
                    <a:cubicBezTo>
                      <a:pt x="184158" y="188898"/>
                      <a:pt x="186116" y="190341"/>
                      <a:pt x="188254" y="190341"/>
                    </a:cubicBezTo>
                    <a:cubicBezTo>
                      <a:pt x="188641" y="190341"/>
                      <a:pt x="189027" y="190290"/>
                      <a:pt x="189414" y="190212"/>
                    </a:cubicBezTo>
                    <a:cubicBezTo>
                      <a:pt x="191990" y="189568"/>
                      <a:pt x="193535" y="186966"/>
                      <a:pt x="192917" y="184416"/>
                    </a:cubicBezTo>
                    <a:cubicBezTo>
                      <a:pt x="170402" y="93584"/>
                      <a:pt x="96984" y="21247"/>
                      <a:pt x="5868" y="123"/>
                    </a:cubicBezTo>
                    <a:close/>
                  </a:path>
                </a:pathLst>
              </a:custGeom>
              <a:solidFill>
                <a:schemeClr val="tx2"/>
              </a:solidFill>
              <a:ln w="2571" cap="flat">
                <a:noFill/>
                <a:prstDash val="solid"/>
                <a:miter/>
              </a:ln>
            </p:spPr>
            <p:txBody>
              <a:bodyPr rtlCol="0" anchor="ctr"/>
              <a:lstStyle/>
              <a:p>
                <a:endParaRPr lang="en-GB" dirty="0"/>
              </a:p>
            </p:txBody>
          </p:sp>
          <p:sp>
            <p:nvSpPr>
              <p:cNvPr id="447" name="Freihandform: Form 780">
                <a:extLst>
                  <a:ext uri="{FF2B5EF4-FFF2-40B4-BE49-F238E27FC236}">
                    <a16:creationId xmlns:a16="http://schemas.microsoft.com/office/drawing/2014/main" id="{59FF5340-5A23-4C1C-AB30-615C26C9B74E}"/>
                  </a:ext>
                </a:extLst>
              </p:cNvPr>
              <p:cNvSpPr/>
              <p:nvPr/>
            </p:nvSpPr>
            <p:spPr>
              <a:xfrm>
                <a:off x="7224123" y="2786978"/>
                <a:ext cx="194480" cy="194744"/>
              </a:xfrm>
              <a:custGeom>
                <a:avLst/>
                <a:gdLst>
                  <a:gd name="connsiteX0" fmla="*/ 190752 w 194480"/>
                  <a:gd name="connsiteY0" fmla="*/ 122 h 194744"/>
                  <a:gd name="connsiteX1" fmla="*/ 185007 w 194480"/>
                  <a:gd name="connsiteY1" fmla="*/ 3729 h 194744"/>
                  <a:gd name="connsiteX2" fmla="*/ 3729 w 194480"/>
                  <a:gd name="connsiteY2" fmla="*/ 185291 h 194744"/>
                  <a:gd name="connsiteX3" fmla="*/ 122 w 194480"/>
                  <a:gd name="connsiteY3" fmla="*/ 191035 h 194744"/>
                  <a:gd name="connsiteX4" fmla="*/ 4785 w 194480"/>
                  <a:gd name="connsiteY4" fmla="*/ 194745 h 194744"/>
                  <a:gd name="connsiteX5" fmla="*/ 5867 w 194480"/>
                  <a:gd name="connsiteY5" fmla="*/ 194616 h 194744"/>
                  <a:gd name="connsiteX6" fmla="*/ 194358 w 194480"/>
                  <a:gd name="connsiteY6" fmla="*/ 5867 h 194744"/>
                  <a:gd name="connsiteX7" fmla="*/ 190752 w 194480"/>
                  <a:gd name="connsiteY7" fmla="*/ 122 h 19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4480" h="194744">
                    <a:moveTo>
                      <a:pt x="190752" y="122"/>
                    </a:moveTo>
                    <a:cubicBezTo>
                      <a:pt x="188202" y="-470"/>
                      <a:pt x="185600" y="1152"/>
                      <a:pt x="185007" y="3729"/>
                    </a:cubicBezTo>
                    <a:cubicBezTo>
                      <a:pt x="164502" y="93376"/>
                      <a:pt x="93325" y="164656"/>
                      <a:pt x="3729" y="185291"/>
                    </a:cubicBezTo>
                    <a:cubicBezTo>
                      <a:pt x="1153" y="185883"/>
                      <a:pt x="-470" y="188459"/>
                      <a:pt x="122" y="191035"/>
                    </a:cubicBezTo>
                    <a:cubicBezTo>
                      <a:pt x="637" y="193251"/>
                      <a:pt x="2595" y="194745"/>
                      <a:pt x="4785" y="194745"/>
                    </a:cubicBezTo>
                    <a:cubicBezTo>
                      <a:pt x="5145" y="194745"/>
                      <a:pt x="5506" y="194719"/>
                      <a:pt x="5867" y="194616"/>
                    </a:cubicBezTo>
                    <a:cubicBezTo>
                      <a:pt x="99043" y="173157"/>
                      <a:pt x="173003" y="99069"/>
                      <a:pt x="194358" y="5867"/>
                    </a:cubicBezTo>
                    <a:cubicBezTo>
                      <a:pt x="194951" y="3291"/>
                      <a:pt x="193328" y="715"/>
                      <a:pt x="190752" y="122"/>
                    </a:cubicBezTo>
                    <a:close/>
                  </a:path>
                </a:pathLst>
              </a:custGeom>
              <a:solidFill>
                <a:schemeClr val="tx2"/>
              </a:solidFill>
              <a:ln w="2571" cap="flat">
                <a:noFill/>
                <a:prstDash val="solid"/>
                <a:miter/>
              </a:ln>
            </p:spPr>
            <p:txBody>
              <a:bodyPr rtlCol="0" anchor="ctr"/>
              <a:lstStyle/>
              <a:p>
                <a:endParaRPr lang="en-GB" dirty="0"/>
              </a:p>
            </p:txBody>
          </p:sp>
          <p:sp>
            <p:nvSpPr>
              <p:cNvPr id="448" name="Freihandform: Form 781">
                <a:extLst>
                  <a:ext uri="{FF2B5EF4-FFF2-40B4-BE49-F238E27FC236}">
                    <a16:creationId xmlns:a16="http://schemas.microsoft.com/office/drawing/2014/main" id="{6974A277-9878-4D3C-BD5F-AFFE9C8B342C}"/>
                  </a:ext>
                </a:extLst>
              </p:cNvPr>
              <p:cNvSpPr/>
              <p:nvPr/>
            </p:nvSpPr>
            <p:spPr>
              <a:xfrm>
                <a:off x="6927377" y="2784154"/>
                <a:ext cx="193674" cy="197234"/>
              </a:xfrm>
              <a:custGeom>
                <a:avLst/>
                <a:gdLst>
                  <a:gd name="connsiteX0" fmla="*/ 189987 w 193674"/>
                  <a:gd name="connsiteY0" fmla="*/ 187780 h 197234"/>
                  <a:gd name="connsiteX1" fmla="*/ 9481 w 193674"/>
                  <a:gd name="connsiteY1" fmla="*/ 3771 h 197234"/>
                  <a:gd name="connsiteX2" fmla="*/ 3788 w 193674"/>
                  <a:gd name="connsiteY2" fmla="*/ 113 h 197234"/>
                  <a:gd name="connsiteX3" fmla="*/ 104 w 193674"/>
                  <a:gd name="connsiteY3" fmla="*/ 5806 h 197234"/>
                  <a:gd name="connsiteX4" fmla="*/ 187771 w 193674"/>
                  <a:gd name="connsiteY4" fmla="*/ 197105 h 197234"/>
                  <a:gd name="connsiteX5" fmla="*/ 188879 w 193674"/>
                  <a:gd name="connsiteY5" fmla="*/ 197234 h 197234"/>
                  <a:gd name="connsiteX6" fmla="*/ 193542 w 193674"/>
                  <a:gd name="connsiteY6" fmla="*/ 193550 h 197234"/>
                  <a:gd name="connsiteX7" fmla="*/ 189987 w 193674"/>
                  <a:gd name="connsiteY7" fmla="*/ 187780 h 19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674" h="197234">
                    <a:moveTo>
                      <a:pt x="189987" y="187780"/>
                    </a:moveTo>
                    <a:cubicBezTo>
                      <a:pt x="99901" y="166450"/>
                      <a:pt x="29059" y="94243"/>
                      <a:pt x="9481" y="3771"/>
                    </a:cubicBezTo>
                    <a:cubicBezTo>
                      <a:pt x="8914" y="1169"/>
                      <a:pt x="6312" y="-454"/>
                      <a:pt x="3788" y="113"/>
                    </a:cubicBezTo>
                    <a:cubicBezTo>
                      <a:pt x="1186" y="680"/>
                      <a:pt x="-437" y="3230"/>
                      <a:pt x="104" y="5806"/>
                    </a:cubicBezTo>
                    <a:cubicBezTo>
                      <a:pt x="20455" y="99859"/>
                      <a:pt x="94131" y="174951"/>
                      <a:pt x="187771" y="197105"/>
                    </a:cubicBezTo>
                    <a:cubicBezTo>
                      <a:pt x="188158" y="197183"/>
                      <a:pt x="188518" y="197234"/>
                      <a:pt x="188879" y="197234"/>
                    </a:cubicBezTo>
                    <a:cubicBezTo>
                      <a:pt x="191043" y="197234"/>
                      <a:pt x="193026" y="195740"/>
                      <a:pt x="193542" y="193550"/>
                    </a:cubicBezTo>
                    <a:cubicBezTo>
                      <a:pt x="194160" y="190974"/>
                      <a:pt x="192563" y="188398"/>
                      <a:pt x="189987" y="187780"/>
                    </a:cubicBezTo>
                    <a:close/>
                  </a:path>
                </a:pathLst>
              </a:custGeom>
              <a:solidFill>
                <a:schemeClr val="tx2"/>
              </a:solidFill>
              <a:ln w="2571" cap="flat">
                <a:noFill/>
                <a:prstDash val="solid"/>
                <a:miter/>
              </a:ln>
            </p:spPr>
            <p:txBody>
              <a:bodyPr rtlCol="0" anchor="ctr"/>
              <a:lstStyle/>
              <a:p>
                <a:endParaRPr lang="en-GB" dirty="0"/>
              </a:p>
            </p:txBody>
          </p:sp>
        </p:grpSp>
        <p:grpSp>
          <p:nvGrpSpPr>
            <p:cNvPr id="431" name="Group 430">
              <a:extLst>
                <a:ext uri="{FF2B5EF4-FFF2-40B4-BE49-F238E27FC236}">
                  <a16:creationId xmlns:a16="http://schemas.microsoft.com/office/drawing/2014/main" id="{89691E36-FE5A-4311-8270-6AAFFF91069B}"/>
                </a:ext>
              </a:extLst>
            </p:cNvPr>
            <p:cNvGrpSpPr/>
            <p:nvPr/>
          </p:nvGrpSpPr>
          <p:grpSpPr>
            <a:xfrm>
              <a:off x="6864342" y="2430133"/>
              <a:ext cx="613492" cy="613493"/>
              <a:chOff x="6864342" y="2430133"/>
              <a:chExt cx="613492" cy="613493"/>
            </a:xfrm>
          </p:grpSpPr>
          <p:sp>
            <p:nvSpPr>
              <p:cNvPr id="432" name="Freihandform: Form 782">
                <a:extLst>
                  <a:ext uri="{FF2B5EF4-FFF2-40B4-BE49-F238E27FC236}">
                    <a16:creationId xmlns:a16="http://schemas.microsoft.com/office/drawing/2014/main" id="{BC770E6D-464F-43A9-9F20-9E2E62DAC2EC}"/>
                  </a:ext>
                </a:extLst>
              </p:cNvPr>
              <p:cNvSpPr/>
              <p:nvPr/>
            </p:nvSpPr>
            <p:spPr>
              <a:xfrm>
                <a:off x="7113294" y="2430133"/>
                <a:ext cx="120045" cy="120045"/>
              </a:xfrm>
              <a:custGeom>
                <a:avLst/>
                <a:gdLst>
                  <a:gd name="connsiteX0" fmla="*/ 60023 w 120045"/>
                  <a:gd name="connsiteY0" fmla="*/ 0 h 120045"/>
                  <a:gd name="connsiteX1" fmla="*/ 0 w 120045"/>
                  <a:gd name="connsiteY1" fmla="*/ 60023 h 120045"/>
                  <a:gd name="connsiteX2" fmla="*/ 60023 w 120045"/>
                  <a:gd name="connsiteY2" fmla="*/ 120045 h 120045"/>
                  <a:gd name="connsiteX3" fmla="*/ 120045 w 120045"/>
                  <a:gd name="connsiteY3" fmla="*/ 60023 h 120045"/>
                  <a:gd name="connsiteX4" fmla="*/ 60023 w 120045"/>
                  <a:gd name="connsiteY4" fmla="*/ 0 h 120045"/>
                  <a:gd name="connsiteX5" fmla="*/ 60023 w 120045"/>
                  <a:gd name="connsiteY5" fmla="*/ 110462 h 120045"/>
                  <a:gd name="connsiteX6" fmla="*/ 9583 w 120045"/>
                  <a:gd name="connsiteY6" fmla="*/ 60023 h 120045"/>
                  <a:gd name="connsiteX7" fmla="*/ 60023 w 120045"/>
                  <a:gd name="connsiteY7" fmla="*/ 9583 h 120045"/>
                  <a:gd name="connsiteX8" fmla="*/ 110462 w 120045"/>
                  <a:gd name="connsiteY8" fmla="*/ 60023 h 120045"/>
                  <a:gd name="connsiteX9" fmla="*/ 60023 w 120045"/>
                  <a:gd name="connsiteY9" fmla="*/ 110462 h 12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045" h="120045">
                    <a:moveTo>
                      <a:pt x="60023" y="0"/>
                    </a:moveTo>
                    <a:cubicBezTo>
                      <a:pt x="26920" y="0"/>
                      <a:pt x="0" y="26920"/>
                      <a:pt x="0" y="60023"/>
                    </a:cubicBezTo>
                    <a:cubicBezTo>
                      <a:pt x="0" y="93125"/>
                      <a:pt x="26920" y="120045"/>
                      <a:pt x="60023" y="120045"/>
                    </a:cubicBezTo>
                    <a:cubicBezTo>
                      <a:pt x="93125" y="120045"/>
                      <a:pt x="120045" y="93125"/>
                      <a:pt x="120045" y="60023"/>
                    </a:cubicBezTo>
                    <a:cubicBezTo>
                      <a:pt x="120045" y="26920"/>
                      <a:pt x="93125" y="0"/>
                      <a:pt x="60023" y="0"/>
                    </a:cubicBezTo>
                    <a:close/>
                    <a:moveTo>
                      <a:pt x="60023" y="110462"/>
                    </a:moveTo>
                    <a:cubicBezTo>
                      <a:pt x="32201" y="110462"/>
                      <a:pt x="9583" y="87844"/>
                      <a:pt x="9583" y="60023"/>
                    </a:cubicBezTo>
                    <a:cubicBezTo>
                      <a:pt x="9583" y="32201"/>
                      <a:pt x="32201" y="9583"/>
                      <a:pt x="60023" y="9583"/>
                    </a:cubicBezTo>
                    <a:cubicBezTo>
                      <a:pt x="87844" y="9583"/>
                      <a:pt x="110462" y="32201"/>
                      <a:pt x="110462" y="60023"/>
                    </a:cubicBezTo>
                    <a:cubicBezTo>
                      <a:pt x="110462" y="87844"/>
                      <a:pt x="87819" y="110462"/>
                      <a:pt x="60023" y="110462"/>
                    </a:cubicBezTo>
                    <a:close/>
                  </a:path>
                </a:pathLst>
              </a:custGeom>
              <a:solidFill>
                <a:schemeClr val="accent1"/>
              </a:solidFill>
              <a:ln w="2571" cap="flat">
                <a:noFill/>
                <a:prstDash val="solid"/>
                <a:miter/>
              </a:ln>
            </p:spPr>
            <p:txBody>
              <a:bodyPr rtlCol="0" anchor="ctr"/>
              <a:lstStyle/>
              <a:p>
                <a:endParaRPr lang="en-GB" dirty="0"/>
              </a:p>
            </p:txBody>
          </p:sp>
          <p:sp>
            <p:nvSpPr>
              <p:cNvPr id="433" name="Freihandform: Form 783">
                <a:extLst>
                  <a:ext uri="{FF2B5EF4-FFF2-40B4-BE49-F238E27FC236}">
                    <a16:creationId xmlns:a16="http://schemas.microsoft.com/office/drawing/2014/main" id="{4DFDA87A-D3F6-4D38-9FFF-D900C1BBD83A}"/>
                  </a:ext>
                </a:extLst>
              </p:cNvPr>
              <p:cNvSpPr/>
              <p:nvPr/>
            </p:nvSpPr>
            <p:spPr>
              <a:xfrm>
                <a:off x="6864342" y="2673160"/>
                <a:ext cx="120045" cy="120045"/>
              </a:xfrm>
              <a:custGeom>
                <a:avLst/>
                <a:gdLst>
                  <a:gd name="connsiteX0" fmla="*/ 60023 w 120045"/>
                  <a:gd name="connsiteY0" fmla="*/ 0 h 120045"/>
                  <a:gd name="connsiteX1" fmla="*/ 0 w 120045"/>
                  <a:gd name="connsiteY1" fmla="*/ 60023 h 120045"/>
                  <a:gd name="connsiteX2" fmla="*/ 60023 w 120045"/>
                  <a:gd name="connsiteY2" fmla="*/ 120045 h 120045"/>
                  <a:gd name="connsiteX3" fmla="*/ 120045 w 120045"/>
                  <a:gd name="connsiteY3" fmla="*/ 60023 h 120045"/>
                  <a:gd name="connsiteX4" fmla="*/ 60023 w 120045"/>
                  <a:gd name="connsiteY4" fmla="*/ 0 h 120045"/>
                  <a:gd name="connsiteX5" fmla="*/ 60023 w 120045"/>
                  <a:gd name="connsiteY5" fmla="*/ 110488 h 120045"/>
                  <a:gd name="connsiteX6" fmla="*/ 9583 w 120045"/>
                  <a:gd name="connsiteY6" fmla="*/ 60048 h 120045"/>
                  <a:gd name="connsiteX7" fmla="*/ 60023 w 120045"/>
                  <a:gd name="connsiteY7" fmla="*/ 9609 h 120045"/>
                  <a:gd name="connsiteX8" fmla="*/ 110462 w 120045"/>
                  <a:gd name="connsiteY8" fmla="*/ 60048 h 120045"/>
                  <a:gd name="connsiteX9" fmla="*/ 60023 w 120045"/>
                  <a:gd name="connsiteY9" fmla="*/ 110488 h 12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045" h="120045">
                    <a:moveTo>
                      <a:pt x="60023" y="0"/>
                    </a:moveTo>
                    <a:cubicBezTo>
                      <a:pt x="26920" y="0"/>
                      <a:pt x="0" y="26920"/>
                      <a:pt x="0" y="60023"/>
                    </a:cubicBezTo>
                    <a:cubicBezTo>
                      <a:pt x="0" y="93125"/>
                      <a:pt x="26920" y="120045"/>
                      <a:pt x="60023" y="120045"/>
                    </a:cubicBezTo>
                    <a:cubicBezTo>
                      <a:pt x="93125" y="120045"/>
                      <a:pt x="120045" y="93125"/>
                      <a:pt x="120045" y="60023"/>
                    </a:cubicBezTo>
                    <a:cubicBezTo>
                      <a:pt x="120045" y="26946"/>
                      <a:pt x="93125" y="0"/>
                      <a:pt x="60023" y="0"/>
                    </a:cubicBezTo>
                    <a:close/>
                    <a:moveTo>
                      <a:pt x="60023" y="110488"/>
                    </a:moveTo>
                    <a:cubicBezTo>
                      <a:pt x="32201" y="110488"/>
                      <a:pt x="9583" y="87870"/>
                      <a:pt x="9583" y="60048"/>
                    </a:cubicBezTo>
                    <a:cubicBezTo>
                      <a:pt x="9583" y="32227"/>
                      <a:pt x="32201" y="9609"/>
                      <a:pt x="60023" y="9609"/>
                    </a:cubicBezTo>
                    <a:cubicBezTo>
                      <a:pt x="87844" y="9609"/>
                      <a:pt x="110462" y="32227"/>
                      <a:pt x="110462" y="60048"/>
                    </a:cubicBezTo>
                    <a:cubicBezTo>
                      <a:pt x="110462" y="87844"/>
                      <a:pt x="87844" y="110488"/>
                      <a:pt x="60023" y="110488"/>
                    </a:cubicBezTo>
                    <a:close/>
                  </a:path>
                </a:pathLst>
              </a:custGeom>
              <a:solidFill>
                <a:schemeClr val="accent1"/>
              </a:solidFill>
              <a:ln w="2571" cap="flat">
                <a:noFill/>
                <a:prstDash val="solid"/>
                <a:miter/>
              </a:ln>
            </p:spPr>
            <p:txBody>
              <a:bodyPr rtlCol="0" anchor="ctr"/>
              <a:lstStyle/>
              <a:p>
                <a:endParaRPr lang="en-GB" dirty="0"/>
              </a:p>
            </p:txBody>
          </p:sp>
          <p:sp>
            <p:nvSpPr>
              <p:cNvPr id="434" name="Freihandform: Form 784">
                <a:extLst>
                  <a:ext uri="{FF2B5EF4-FFF2-40B4-BE49-F238E27FC236}">
                    <a16:creationId xmlns:a16="http://schemas.microsoft.com/office/drawing/2014/main" id="{4B115848-9694-44A7-A839-8FDC4F5B9994}"/>
                  </a:ext>
                </a:extLst>
              </p:cNvPr>
              <p:cNvSpPr/>
              <p:nvPr/>
            </p:nvSpPr>
            <p:spPr>
              <a:xfrm>
                <a:off x="7357789" y="2673160"/>
                <a:ext cx="120045" cy="120045"/>
              </a:xfrm>
              <a:custGeom>
                <a:avLst/>
                <a:gdLst>
                  <a:gd name="connsiteX0" fmla="*/ 60023 w 120045"/>
                  <a:gd name="connsiteY0" fmla="*/ 0 h 120045"/>
                  <a:gd name="connsiteX1" fmla="*/ 0 w 120045"/>
                  <a:gd name="connsiteY1" fmla="*/ 60023 h 120045"/>
                  <a:gd name="connsiteX2" fmla="*/ 60023 w 120045"/>
                  <a:gd name="connsiteY2" fmla="*/ 120045 h 120045"/>
                  <a:gd name="connsiteX3" fmla="*/ 120045 w 120045"/>
                  <a:gd name="connsiteY3" fmla="*/ 60023 h 120045"/>
                  <a:gd name="connsiteX4" fmla="*/ 60023 w 120045"/>
                  <a:gd name="connsiteY4" fmla="*/ 0 h 120045"/>
                  <a:gd name="connsiteX5" fmla="*/ 60023 w 120045"/>
                  <a:gd name="connsiteY5" fmla="*/ 110488 h 120045"/>
                  <a:gd name="connsiteX6" fmla="*/ 9583 w 120045"/>
                  <a:gd name="connsiteY6" fmla="*/ 60048 h 120045"/>
                  <a:gd name="connsiteX7" fmla="*/ 60023 w 120045"/>
                  <a:gd name="connsiteY7" fmla="*/ 9609 h 120045"/>
                  <a:gd name="connsiteX8" fmla="*/ 110462 w 120045"/>
                  <a:gd name="connsiteY8" fmla="*/ 60048 h 120045"/>
                  <a:gd name="connsiteX9" fmla="*/ 60023 w 120045"/>
                  <a:gd name="connsiteY9" fmla="*/ 110488 h 12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045" h="120045">
                    <a:moveTo>
                      <a:pt x="60023" y="0"/>
                    </a:moveTo>
                    <a:cubicBezTo>
                      <a:pt x="26920" y="0"/>
                      <a:pt x="0" y="26920"/>
                      <a:pt x="0" y="60023"/>
                    </a:cubicBezTo>
                    <a:cubicBezTo>
                      <a:pt x="0" y="93125"/>
                      <a:pt x="26920" y="120045"/>
                      <a:pt x="60023" y="120045"/>
                    </a:cubicBezTo>
                    <a:cubicBezTo>
                      <a:pt x="93125" y="120045"/>
                      <a:pt x="120045" y="93125"/>
                      <a:pt x="120045" y="60023"/>
                    </a:cubicBezTo>
                    <a:cubicBezTo>
                      <a:pt x="120071" y="26946"/>
                      <a:pt x="93125" y="0"/>
                      <a:pt x="60023" y="0"/>
                    </a:cubicBezTo>
                    <a:close/>
                    <a:moveTo>
                      <a:pt x="60023" y="110488"/>
                    </a:moveTo>
                    <a:cubicBezTo>
                      <a:pt x="32201" y="110488"/>
                      <a:pt x="9583" y="87870"/>
                      <a:pt x="9583" y="60048"/>
                    </a:cubicBezTo>
                    <a:cubicBezTo>
                      <a:pt x="9583" y="32227"/>
                      <a:pt x="32201" y="9609"/>
                      <a:pt x="60023" y="9609"/>
                    </a:cubicBezTo>
                    <a:cubicBezTo>
                      <a:pt x="87844" y="9609"/>
                      <a:pt x="110462" y="32227"/>
                      <a:pt x="110462" y="60048"/>
                    </a:cubicBezTo>
                    <a:cubicBezTo>
                      <a:pt x="110488" y="87844"/>
                      <a:pt x="87844" y="110488"/>
                      <a:pt x="60023" y="110488"/>
                    </a:cubicBezTo>
                    <a:close/>
                  </a:path>
                </a:pathLst>
              </a:custGeom>
              <a:solidFill>
                <a:schemeClr val="accent1"/>
              </a:solidFill>
              <a:ln w="2571" cap="flat">
                <a:noFill/>
                <a:prstDash val="solid"/>
                <a:miter/>
              </a:ln>
            </p:spPr>
            <p:txBody>
              <a:bodyPr rtlCol="0" anchor="ctr"/>
              <a:lstStyle/>
              <a:p>
                <a:endParaRPr lang="en-GB" dirty="0"/>
              </a:p>
            </p:txBody>
          </p:sp>
          <p:sp>
            <p:nvSpPr>
              <p:cNvPr id="435" name="Freihandform: Form 785">
                <a:extLst>
                  <a:ext uri="{FF2B5EF4-FFF2-40B4-BE49-F238E27FC236}">
                    <a16:creationId xmlns:a16="http://schemas.microsoft.com/office/drawing/2014/main" id="{8C31994D-DDF1-4B4E-BB33-06072204B4E7}"/>
                  </a:ext>
                </a:extLst>
              </p:cNvPr>
              <p:cNvSpPr/>
              <p:nvPr/>
            </p:nvSpPr>
            <p:spPr>
              <a:xfrm>
                <a:off x="7113294" y="2923581"/>
                <a:ext cx="120045" cy="120045"/>
              </a:xfrm>
              <a:custGeom>
                <a:avLst/>
                <a:gdLst>
                  <a:gd name="connsiteX0" fmla="*/ 60023 w 120045"/>
                  <a:gd name="connsiteY0" fmla="*/ 0 h 120045"/>
                  <a:gd name="connsiteX1" fmla="*/ 0 w 120045"/>
                  <a:gd name="connsiteY1" fmla="*/ 60023 h 120045"/>
                  <a:gd name="connsiteX2" fmla="*/ 60023 w 120045"/>
                  <a:gd name="connsiteY2" fmla="*/ 120045 h 120045"/>
                  <a:gd name="connsiteX3" fmla="*/ 120045 w 120045"/>
                  <a:gd name="connsiteY3" fmla="*/ 60023 h 120045"/>
                  <a:gd name="connsiteX4" fmla="*/ 60023 w 120045"/>
                  <a:gd name="connsiteY4" fmla="*/ 0 h 120045"/>
                  <a:gd name="connsiteX5" fmla="*/ 60023 w 120045"/>
                  <a:gd name="connsiteY5" fmla="*/ 110462 h 120045"/>
                  <a:gd name="connsiteX6" fmla="*/ 9583 w 120045"/>
                  <a:gd name="connsiteY6" fmla="*/ 60023 h 120045"/>
                  <a:gd name="connsiteX7" fmla="*/ 60023 w 120045"/>
                  <a:gd name="connsiteY7" fmla="*/ 9583 h 120045"/>
                  <a:gd name="connsiteX8" fmla="*/ 110462 w 120045"/>
                  <a:gd name="connsiteY8" fmla="*/ 60023 h 120045"/>
                  <a:gd name="connsiteX9" fmla="*/ 60023 w 120045"/>
                  <a:gd name="connsiteY9" fmla="*/ 110462 h 12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045" h="120045">
                    <a:moveTo>
                      <a:pt x="60023" y="0"/>
                    </a:moveTo>
                    <a:cubicBezTo>
                      <a:pt x="26920" y="0"/>
                      <a:pt x="0" y="26920"/>
                      <a:pt x="0" y="60023"/>
                    </a:cubicBezTo>
                    <a:cubicBezTo>
                      <a:pt x="0" y="93125"/>
                      <a:pt x="26920" y="120045"/>
                      <a:pt x="60023" y="120045"/>
                    </a:cubicBezTo>
                    <a:cubicBezTo>
                      <a:pt x="93125" y="120045"/>
                      <a:pt x="120045" y="93125"/>
                      <a:pt x="120045" y="60023"/>
                    </a:cubicBezTo>
                    <a:cubicBezTo>
                      <a:pt x="120045" y="26920"/>
                      <a:pt x="93125" y="0"/>
                      <a:pt x="60023" y="0"/>
                    </a:cubicBezTo>
                    <a:close/>
                    <a:moveTo>
                      <a:pt x="60023" y="110462"/>
                    </a:moveTo>
                    <a:cubicBezTo>
                      <a:pt x="32201" y="110462"/>
                      <a:pt x="9583" y="87844"/>
                      <a:pt x="9583" y="60023"/>
                    </a:cubicBezTo>
                    <a:cubicBezTo>
                      <a:pt x="9583" y="32201"/>
                      <a:pt x="32201" y="9583"/>
                      <a:pt x="60023" y="9583"/>
                    </a:cubicBezTo>
                    <a:cubicBezTo>
                      <a:pt x="87844" y="9583"/>
                      <a:pt x="110462" y="32201"/>
                      <a:pt x="110462" y="60023"/>
                    </a:cubicBezTo>
                    <a:cubicBezTo>
                      <a:pt x="110462" y="87844"/>
                      <a:pt x="87819" y="110462"/>
                      <a:pt x="60023" y="110462"/>
                    </a:cubicBezTo>
                    <a:close/>
                  </a:path>
                </a:pathLst>
              </a:custGeom>
              <a:solidFill>
                <a:schemeClr val="accent1"/>
              </a:solidFill>
              <a:ln w="2571" cap="flat">
                <a:noFill/>
                <a:prstDash val="solid"/>
                <a:miter/>
              </a:ln>
            </p:spPr>
            <p:txBody>
              <a:bodyPr rtlCol="0" anchor="ctr"/>
              <a:lstStyle/>
              <a:p>
                <a:endParaRPr lang="en-GB" dirty="0"/>
              </a:p>
            </p:txBody>
          </p:sp>
          <p:grpSp>
            <p:nvGrpSpPr>
              <p:cNvPr id="436" name="Grafik 34">
                <a:extLst>
                  <a:ext uri="{FF2B5EF4-FFF2-40B4-BE49-F238E27FC236}">
                    <a16:creationId xmlns:a16="http://schemas.microsoft.com/office/drawing/2014/main" id="{AB4FEAD6-EB42-4495-8AAC-7062B2C83A70}"/>
                  </a:ext>
                </a:extLst>
              </p:cNvPr>
              <p:cNvGrpSpPr/>
              <p:nvPr/>
            </p:nvGrpSpPr>
            <p:grpSpPr>
              <a:xfrm>
                <a:off x="7045215" y="2578232"/>
                <a:ext cx="251798" cy="317295"/>
                <a:chOff x="7045215" y="2578232"/>
                <a:chExt cx="251798" cy="317295"/>
              </a:xfrm>
              <a:solidFill>
                <a:schemeClr val="accent1"/>
              </a:solidFill>
            </p:grpSpPr>
            <p:grpSp>
              <p:nvGrpSpPr>
                <p:cNvPr id="437" name="Grafik 34">
                  <a:extLst>
                    <a:ext uri="{FF2B5EF4-FFF2-40B4-BE49-F238E27FC236}">
                      <a16:creationId xmlns:a16="http://schemas.microsoft.com/office/drawing/2014/main" id="{E356CC83-7587-4F85-87FE-00760B624333}"/>
                    </a:ext>
                  </a:extLst>
                </p:cNvPr>
                <p:cNvGrpSpPr/>
                <p:nvPr/>
              </p:nvGrpSpPr>
              <p:grpSpPr>
                <a:xfrm>
                  <a:off x="7084313" y="2654252"/>
                  <a:ext cx="173601" cy="241275"/>
                  <a:chOff x="7084313" y="2654252"/>
                  <a:chExt cx="173601" cy="241275"/>
                </a:xfrm>
                <a:solidFill>
                  <a:schemeClr val="accent1"/>
                </a:solidFill>
              </p:grpSpPr>
              <p:sp>
                <p:nvSpPr>
                  <p:cNvPr id="442" name="Freihandform: Form 788">
                    <a:extLst>
                      <a:ext uri="{FF2B5EF4-FFF2-40B4-BE49-F238E27FC236}">
                        <a16:creationId xmlns:a16="http://schemas.microsoft.com/office/drawing/2014/main" id="{4DA906B1-1832-425D-B4E3-CE83BB375D60}"/>
                      </a:ext>
                    </a:extLst>
                  </p:cNvPr>
                  <p:cNvSpPr/>
                  <p:nvPr/>
                </p:nvSpPr>
                <p:spPr>
                  <a:xfrm>
                    <a:off x="7084313" y="2654252"/>
                    <a:ext cx="173601" cy="195472"/>
                  </a:xfrm>
                  <a:custGeom>
                    <a:avLst/>
                    <a:gdLst>
                      <a:gd name="connsiteX0" fmla="*/ 86788 w 173601"/>
                      <a:gd name="connsiteY0" fmla="*/ 0 h 195472"/>
                      <a:gd name="connsiteX1" fmla="*/ 0 w 173601"/>
                      <a:gd name="connsiteY1" fmla="*/ 86788 h 195472"/>
                      <a:gd name="connsiteX2" fmla="*/ 36503 w 173601"/>
                      <a:gd name="connsiteY2" fmla="*/ 157501 h 195472"/>
                      <a:gd name="connsiteX3" fmla="*/ 43046 w 173601"/>
                      <a:gd name="connsiteY3" fmla="*/ 162885 h 195472"/>
                      <a:gd name="connsiteX4" fmla="*/ 43046 w 173601"/>
                      <a:gd name="connsiteY4" fmla="*/ 190681 h 195472"/>
                      <a:gd name="connsiteX5" fmla="*/ 47838 w 173601"/>
                      <a:gd name="connsiteY5" fmla="*/ 195473 h 195472"/>
                      <a:gd name="connsiteX6" fmla="*/ 125790 w 173601"/>
                      <a:gd name="connsiteY6" fmla="*/ 195473 h 195472"/>
                      <a:gd name="connsiteX7" fmla="*/ 130581 w 173601"/>
                      <a:gd name="connsiteY7" fmla="*/ 190681 h 195472"/>
                      <a:gd name="connsiteX8" fmla="*/ 130581 w 173601"/>
                      <a:gd name="connsiteY8" fmla="*/ 169171 h 195472"/>
                      <a:gd name="connsiteX9" fmla="*/ 136352 w 173601"/>
                      <a:gd name="connsiteY9" fmla="*/ 158017 h 195472"/>
                      <a:gd name="connsiteX10" fmla="*/ 173602 w 173601"/>
                      <a:gd name="connsiteY10" fmla="*/ 86737 h 195472"/>
                      <a:gd name="connsiteX11" fmla="*/ 86788 w 173601"/>
                      <a:gd name="connsiteY11" fmla="*/ 0 h 195472"/>
                      <a:gd name="connsiteX12" fmla="*/ 131200 w 173601"/>
                      <a:gd name="connsiteY12" fmla="*/ 149979 h 195472"/>
                      <a:gd name="connsiteX13" fmla="*/ 120973 w 173601"/>
                      <a:gd name="connsiteY13" fmla="*/ 169609 h 195472"/>
                      <a:gd name="connsiteX14" fmla="*/ 120973 w 173601"/>
                      <a:gd name="connsiteY14" fmla="*/ 185941 h 195472"/>
                      <a:gd name="connsiteX15" fmla="*/ 52603 w 173601"/>
                      <a:gd name="connsiteY15" fmla="*/ 185941 h 195472"/>
                      <a:gd name="connsiteX16" fmla="*/ 52603 w 173601"/>
                      <a:gd name="connsiteY16" fmla="*/ 161494 h 195472"/>
                      <a:gd name="connsiteX17" fmla="*/ 52269 w 173601"/>
                      <a:gd name="connsiteY17" fmla="*/ 159717 h 195472"/>
                      <a:gd name="connsiteX18" fmla="*/ 41939 w 173601"/>
                      <a:gd name="connsiteY18" fmla="*/ 149670 h 195472"/>
                      <a:gd name="connsiteX19" fmla="*/ 9583 w 173601"/>
                      <a:gd name="connsiteY19" fmla="*/ 86840 h 195472"/>
                      <a:gd name="connsiteX20" fmla="*/ 86788 w 173601"/>
                      <a:gd name="connsiteY20" fmla="*/ 9635 h 195472"/>
                      <a:gd name="connsiteX21" fmla="*/ 163993 w 173601"/>
                      <a:gd name="connsiteY21" fmla="*/ 86840 h 195472"/>
                      <a:gd name="connsiteX22" fmla="*/ 131200 w 173601"/>
                      <a:gd name="connsiteY22" fmla="*/ 149979 h 195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3601" h="195472">
                        <a:moveTo>
                          <a:pt x="86788" y="0"/>
                        </a:moveTo>
                        <a:cubicBezTo>
                          <a:pt x="38925" y="0"/>
                          <a:pt x="0" y="38950"/>
                          <a:pt x="0" y="86788"/>
                        </a:cubicBezTo>
                        <a:cubicBezTo>
                          <a:pt x="0" y="115305"/>
                          <a:pt x="13653" y="141736"/>
                          <a:pt x="36503" y="157501"/>
                        </a:cubicBezTo>
                        <a:cubicBezTo>
                          <a:pt x="40496" y="160258"/>
                          <a:pt x="42351" y="162138"/>
                          <a:pt x="43046" y="162885"/>
                        </a:cubicBezTo>
                        <a:lnTo>
                          <a:pt x="43046" y="190681"/>
                        </a:lnTo>
                        <a:cubicBezTo>
                          <a:pt x="43046" y="193335"/>
                          <a:pt x="45185" y="195473"/>
                          <a:pt x="47838" y="195473"/>
                        </a:cubicBezTo>
                        <a:lnTo>
                          <a:pt x="125790" y="195473"/>
                        </a:lnTo>
                        <a:cubicBezTo>
                          <a:pt x="128443" y="195473"/>
                          <a:pt x="130581" y="193335"/>
                          <a:pt x="130581" y="190681"/>
                        </a:cubicBezTo>
                        <a:lnTo>
                          <a:pt x="130581" y="169171"/>
                        </a:lnTo>
                        <a:cubicBezTo>
                          <a:pt x="130581" y="169094"/>
                          <a:pt x="130066" y="162010"/>
                          <a:pt x="136352" y="158017"/>
                        </a:cubicBezTo>
                        <a:cubicBezTo>
                          <a:pt x="159331" y="143462"/>
                          <a:pt x="173602" y="116155"/>
                          <a:pt x="173602" y="86737"/>
                        </a:cubicBezTo>
                        <a:cubicBezTo>
                          <a:pt x="173576" y="38950"/>
                          <a:pt x="134652" y="0"/>
                          <a:pt x="86788" y="0"/>
                        </a:cubicBezTo>
                        <a:close/>
                        <a:moveTo>
                          <a:pt x="131200" y="149979"/>
                        </a:moveTo>
                        <a:cubicBezTo>
                          <a:pt x="120097" y="157012"/>
                          <a:pt x="120947" y="169454"/>
                          <a:pt x="120973" y="169609"/>
                        </a:cubicBezTo>
                        <a:lnTo>
                          <a:pt x="120973" y="185941"/>
                        </a:lnTo>
                        <a:lnTo>
                          <a:pt x="52603" y="185941"/>
                        </a:lnTo>
                        <a:lnTo>
                          <a:pt x="52603" y="161494"/>
                        </a:lnTo>
                        <a:cubicBezTo>
                          <a:pt x="52603" y="160876"/>
                          <a:pt x="52475" y="160284"/>
                          <a:pt x="52269" y="159717"/>
                        </a:cubicBezTo>
                        <a:cubicBezTo>
                          <a:pt x="51779" y="158506"/>
                          <a:pt x="49796" y="155080"/>
                          <a:pt x="41939" y="149670"/>
                        </a:cubicBezTo>
                        <a:cubicBezTo>
                          <a:pt x="21691" y="135682"/>
                          <a:pt x="9583" y="112188"/>
                          <a:pt x="9583" y="86840"/>
                        </a:cubicBezTo>
                        <a:cubicBezTo>
                          <a:pt x="9583" y="44257"/>
                          <a:pt x="44206" y="9635"/>
                          <a:pt x="86788" y="9635"/>
                        </a:cubicBezTo>
                        <a:cubicBezTo>
                          <a:pt x="129371" y="9635"/>
                          <a:pt x="163993" y="44283"/>
                          <a:pt x="163993" y="86840"/>
                        </a:cubicBezTo>
                        <a:cubicBezTo>
                          <a:pt x="163993" y="112961"/>
                          <a:pt x="151422" y="137150"/>
                          <a:pt x="131200" y="149979"/>
                        </a:cubicBezTo>
                        <a:close/>
                      </a:path>
                    </a:pathLst>
                  </a:custGeom>
                  <a:solidFill>
                    <a:schemeClr val="accent1"/>
                  </a:solidFill>
                  <a:ln w="2571" cap="flat">
                    <a:noFill/>
                    <a:prstDash val="solid"/>
                    <a:miter/>
                  </a:ln>
                </p:spPr>
                <p:txBody>
                  <a:bodyPr rtlCol="0" anchor="ctr"/>
                  <a:lstStyle/>
                  <a:p>
                    <a:endParaRPr lang="en-GB" dirty="0"/>
                  </a:p>
                </p:txBody>
              </p:sp>
              <p:sp>
                <p:nvSpPr>
                  <p:cNvPr id="443" name="Freihandform: Form 789">
                    <a:extLst>
                      <a:ext uri="{FF2B5EF4-FFF2-40B4-BE49-F238E27FC236}">
                        <a16:creationId xmlns:a16="http://schemas.microsoft.com/office/drawing/2014/main" id="{D9B4D79A-CBA5-4BAC-8A64-B2CB973C2D48}"/>
                      </a:ext>
                    </a:extLst>
                  </p:cNvPr>
                  <p:cNvSpPr/>
                  <p:nvPr/>
                </p:nvSpPr>
                <p:spPr>
                  <a:xfrm>
                    <a:off x="7127205" y="2863069"/>
                    <a:ext cx="86813" cy="9583"/>
                  </a:xfrm>
                  <a:custGeom>
                    <a:avLst/>
                    <a:gdLst>
                      <a:gd name="connsiteX0" fmla="*/ 82022 w 86813"/>
                      <a:gd name="connsiteY0" fmla="*/ 0 h 9583"/>
                      <a:gd name="connsiteX1" fmla="*/ 4791 w 86813"/>
                      <a:gd name="connsiteY1" fmla="*/ 0 h 9583"/>
                      <a:gd name="connsiteX2" fmla="*/ 0 w 86813"/>
                      <a:gd name="connsiteY2" fmla="*/ 4791 h 9583"/>
                      <a:gd name="connsiteX3" fmla="*/ 4791 w 86813"/>
                      <a:gd name="connsiteY3" fmla="*/ 9583 h 9583"/>
                      <a:gd name="connsiteX4" fmla="*/ 82022 w 86813"/>
                      <a:gd name="connsiteY4" fmla="*/ 9583 h 9583"/>
                      <a:gd name="connsiteX5" fmla="*/ 86814 w 86813"/>
                      <a:gd name="connsiteY5" fmla="*/ 4791 h 9583"/>
                      <a:gd name="connsiteX6" fmla="*/ 82022 w 86813"/>
                      <a:gd name="connsiteY6" fmla="*/ 0 h 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13" h="9583">
                        <a:moveTo>
                          <a:pt x="82022" y="0"/>
                        </a:moveTo>
                        <a:lnTo>
                          <a:pt x="4791" y="0"/>
                        </a:lnTo>
                        <a:cubicBezTo>
                          <a:pt x="2138" y="0"/>
                          <a:pt x="0" y="2138"/>
                          <a:pt x="0" y="4791"/>
                        </a:cubicBezTo>
                        <a:cubicBezTo>
                          <a:pt x="0" y="7445"/>
                          <a:pt x="2138" y="9583"/>
                          <a:pt x="4791" y="9583"/>
                        </a:cubicBezTo>
                        <a:lnTo>
                          <a:pt x="82022" y="9583"/>
                        </a:lnTo>
                        <a:cubicBezTo>
                          <a:pt x="84676" y="9583"/>
                          <a:pt x="86814" y="7445"/>
                          <a:pt x="86814" y="4791"/>
                        </a:cubicBezTo>
                        <a:cubicBezTo>
                          <a:pt x="86814" y="2138"/>
                          <a:pt x="84676" y="0"/>
                          <a:pt x="82022" y="0"/>
                        </a:cubicBezTo>
                        <a:close/>
                      </a:path>
                    </a:pathLst>
                  </a:custGeom>
                  <a:solidFill>
                    <a:schemeClr val="accent1"/>
                  </a:solidFill>
                  <a:ln w="2571" cap="flat">
                    <a:noFill/>
                    <a:prstDash val="solid"/>
                    <a:miter/>
                  </a:ln>
                </p:spPr>
                <p:txBody>
                  <a:bodyPr rtlCol="0" anchor="ctr"/>
                  <a:lstStyle/>
                  <a:p>
                    <a:endParaRPr lang="en-GB" dirty="0"/>
                  </a:p>
                </p:txBody>
              </p:sp>
              <p:sp>
                <p:nvSpPr>
                  <p:cNvPr id="444" name="Freihandform: Form 790">
                    <a:extLst>
                      <a:ext uri="{FF2B5EF4-FFF2-40B4-BE49-F238E27FC236}">
                        <a16:creationId xmlns:a16="http://schemas.microsoft.com/office/drawing/2014/main" id="{06C08081-9132-4B03-93E2-F6105D388305}"/>
                      </a:ext>
                    </a:extLst>
                  </p:cNvPr>
                  <p:cNvSpPr/>
                  <p:nvPr/>
                </p:nvSpPr>
                <p:spPr>
                  <a:xfrm>
                    <a:off x="7141502" y="2885944"/>
                    <a:ext cx="58193" cy="9583"/>
                  </a:xfrm>
                  <a:custGeom>
                    <a:avLst/>
                    <a:gdLst>
                      <a:gd name="connsiteX0" fmla="*/ 53428 w 58193"/>
                      <a:gd name="connsiteY0" fmla="*/ 0 h 9583"/>
                      <a:gd name="connsiteX1" fmla="*/ 4791 w 58193"/>
                      <a:gd name="connsiteY1" fmla="*/ 0 h 9583"/>
                      <a:gd name="connsiteX2" fmla="*/ 0 w 58193"/>
                      <a:gd name="connsiteY2" fmla="*/ 4792 h 9583"/>
                      <a:gd name="connsiteX3" fmla="*/ 4791 w 58193"/>
                      <a:gd name="connsiteY3" fmla="*/ 9583 h 9583"/>
                      <a:gd name="connsiteX4" fmla="*/ 53402 w 58193"/>
                      <a:gd name="connsiteY4" fmla="*/ 9583 h 9583"/>
                      <a:gd name="connsiteX5" fmla="*/ 58194 w 58193"/>
                      <a:gd name="connsiteY5" fmla="*/ 4792 h 9583"/>
                      <a:gd name="connsiteX6" fmla="*/ 53428 w 58193"/>
                      <a:gd name="connsiteY6" fmla="*/ 0 h 9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193" h="9583">
                        <a:moveTo>
                          <a:pt x="53428" y="0"/>
                        </a:moveTo>
                        <a:lnTo>
                          <a:pt x="4791" y="0"/>
                        </a:lnTo>
                        <a:cubicBezTo>
                          <a:pt x="2138" y="0"/>
                          <a:pt x="0" y="2138"/>
                          <a:pt x="0" y="4792"/>
                        </a:cubicBezTo>
                        <a:cubicBezTo>
                          <a:pt x="0" y="7445"/>
                          <a:pt x="2138" y="9583"/>
                          <a:pt x="4791" y="9583"/>
                        </a:cubicBezTo>
                        <a:lnTo>
                          <a:pt x="53402" y="9583"/>
                        </a:lnTo>
                        <a:cubicBezTo>
                          <a:pt x="56055" y="9583"/>
                          <a:pt x="58194" y="7445"/>
                          <a:pt x="58194" y="4792"/>
                        </a:cubicBezTo>
                        <a:cubicBezTo>
                          <a:pt x="58219" y="2138"/>
                          <a:pt x="56055" y="0"/>
                          <a:pt x="53428" y="0"/>
                        </a:cubicBezTo>
                        <a:close/>
                      </a:path>
                    </a:pathLst>
                  </a:custGeom>
                  <a:solidFill>
                    <a:schemeClr val="accent1"/>
                  </a:solidFill>
                  <a:ln w="2571" cap="flat">
                    <a:noFill/>
                    <a:prstDash val="solid"/>
                    <a:miter/>
                  </a:ln>
                </p:spPr>
                <p:txBody>
                  <a:bodyPr rtlCol="0" anchor="ctr"/>
                  <a:lstStyle/>
                  <a:p>
                    <a:endParaRPr lang="en-GB" dirty="0"/>
                  </a:p>
                </p:txBody>
              </p:sp>
            </p:grpSp>
            <p:grpSp>
              <p:nvGrpSpPr>
                <p:cNvPr id="438" name="Grafik 34">
                  <a:extLst>
                    <a:ext uri="{FF2B5EF4-FFF2-40B4-BE49-F238E27FC236}">
                      <a16:creationId xmlns:a16="http://schemas.microsoft.com/office/drawing/2014/main" id="{8A655F85-A74A-4741-B5C2-6BEF8A75E134}"/>
                    </a:ext>
                  </a:extLst>
                </p:cNvPr>
                <p:cNvGrpSpPr/>
                <p:nvPr/>
              </p:nvGrpSpPr>
              <p:grpSpPr>
                <a:xfrm>
                  <a:off x="7045215" y="2578232"/>
                  <a:ext cx="251798" cy="88874"/>
                  <a:chOff x="7045215" y="2578232"/>
                  <a:chExt cx="251798" cy="88874"/>
                </a:xfrm>
                <a:solidFill>
                  <a:schemeClr val="accent1"/>
                </a:solidFill>
              </p:grpSpPr>
              <p:sp>
                <p:nvSpPr>
                  <p:cNvPr id="439" name="Freihandform: Form 792">
                    <a:extLst>
                      <a:ext uri="{FF2B5EF4-FFF2-40B4-BE49-F238E27FC236}">
                        <a16:creationId xmlns:a16="http://schemas.microsoft.com/office/drawing/2014/main" id="{3C34DA42-56A2-41BE-A6BB-E271BDB759E3}"/>
                      </a:ext>
                    </a:extLst>
                  </p:cNvPr>
                  <p:cNvSpPr/>
                  <p:nvPr/>
                </p:nvSpPr>
                <p:spPr>
                  <a:xfrm>
                    <a:off x="7164326" y="2578232"/>
                    <a:ext cx="9583" cy="60280"/>
                  </a:xfrm>
                  <a:custGeom>
                    <a:avLst/>
                    <a:gdLst>
                      <a:gd name="connsiteX0" fmla="*/ 4791 w 9583"/>
                      <a:gd name="connsiteY0" fmla="*/ 0 h 60280"/>
                      <a:gd name="connsiteX1" fmla="*/ 0 w 9583"/>
                      <a:gd name="connsiteY1" fmla="*/ 4791 h 60280"/>
                      <a:gd name="connsiteX2" fmla="*/ 0 w 9583"/>
                      <a:gd name="connsiteY2" fmla="*/ 55489 h 60280"/>
                      <a:gd name="connsiteX3" fmla="*/ 4791 w 9583"/>
                      <a:gd name="connsiteY3" fmla="*/ 60280 h 60280"/>
                      <a:gd name="connsiteX4" fmla="*/ 9583 w 9583"/>
                      <a:gd name="connsiteY4" fmla="*/ 55489 h 60280"/>
                      <a:gd name="connsiteX5" fmla="*/ 9583 w 9583"/>
                      <a:gd name="connsiteY5" fmla="*/ 4791 h 60280"/>
                      <a:gd name="connsiteX6" fmla="*/ 4791 w 9583"/>
                      <a:gd name="connsiteY6" fmla="*/ 0 h 60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83" h="60280">
                        <a:moveTo>
                          <a:pt x="4791" y="0"/>
                        </a:moveTo>
                        <a:cubicBezTo>
                          <a:pt x="2138" y="0"/>
                          <a:pt x="0" y="2138"/>
                          <a:pt x="0" y="4791"/>
                        </a:cubicBezTo>
                        <a:lnTo>
                          <a:pt x="0" y="55489"/>
                        </a:lnTo>
                        <a:cubicBezTo>
                          <a:pt x="0" y="58142"/>
                          <a:pt x="2138" y="60280"/>
                          <a:pt x="4791" y="60280"/>
                        </a:cubicBezTo>
                        <a:cubicBezTo>
                          <a:pt x="7445" y="60280"/>
                          <a:pt x="9583" y="58142"/>
                          <a:pt x="9583" y="55489"/>
                        </a:cubicBezTo>
                        <a:lnTo>
                          <a:pt x="9583" y="4791"/>
                        </a:lnTo>
                        <a:cubicBezTo>
                          <a:pt x="9583" y="2138"/>
                          <a:pt x="7419" y="0"/>
                          <a:pt x="4791" y="0"/>
                        </a:cubicBezTo>
                        <a:close/>
                      </a:path>
                    </a:pathLst>
                  </a:custGeom>
                  <a:solidFill>
                    <a:schemeClr val="accent1"/>
                  </a:solidFill>
                  <a:ln w="2571" cap="flat">
                    <a:noFill/>
                    <a:prstDash val="solid"/>
                    <a:miter/>
                  </a:ln>
                </p:spPr>
                <p:txBody>
                  <a:bodyPr rtlCol="0" anchor="ctr"/>
                  <a:lstStyle/>
                  <a:p>
                    <a:endParaRPr lang="en-GB" dirty="0"/>
                  </a:p>
                </p:txBody>
              </p:sp>
              <p:sp>
                <p:nvSpPr>
                  <p:cNvPr id="440" name="Freihandform: Form 793">
                    <a:extLst>
                      <a:ext uri="{FF2B5EF4-FFF2-40B4-BE49-F238E27FC236}">
                        <a16:creationId xmlns:a16="http://schemas.microsoft.com/office/drawing/2014/main" id="{CC15EC3D-9720-418B-BC66-DEA229F400C8}"/>
                      </a:ext>
                    </a:extLst>
                  </p:cNvPr>
                  <p:cNvSpPr/>
                  <p:nvPr/>
                </p:nvSpPr>
                <p:spPr>
                  <a:xfrm>
                    <a:off x="7045215" y="2621671"/>
                    <a:ext cx="45454" cy="45435"/>
                  </a:xfrm>
                  <a:custGeom>
                    <a:avLst/>
                    <a:gdLst>
                      <a:gd name="connsiteX0" fmla="*/ 8185 w 45454"/>
                      <a:gd name="connsiteY0" fmla="*/ 1410 h 45435"/>
                      <a:gd name="connsiteX1" fmla="*/ 1410 w 45454"/>
                      <a:gd name="connsiteY1" fmla="*/ 1410 h 45435"/>
                      <a:gd name="connsiteX2" fmla="*/ 1410 w 45454"/>
                      <a:gd name="connsiteY2" fmla="*/ 8186 h 45435"/>
                      <a:gd name="connsiteX3" fmla="*/ 37244 w 45454"/>
                      <a:gd name="connsiteY3" fmla="*/ 44019 h 45435"/>
                      <a:gd name="connsiteX4" fmla="*/ 40644 w 45454"/>
                      <a:gd name="connsiteY4" fmla="*/ 45436 h 45435"/>
                      <a:gd name="connsiteX5" fmla="*/ 44044 w 45454"/>
                      <a:gd name="connsiteY5" fmla="*/ 44019 h 45435"/>
                      <a:gd name="connsiteX6" fmla="*/ 44044 w 45454"/>
                      <a:gd name="connsiteY6" fmla="*/ 37244 h 45435"/>
                      <a:gd name="connsiteX7" fmla="*/ 8185 w 45454"/>
                      <a:gd name="connsiteY7" fmla="*/ 1410 h 4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54" h="45435">
                        <a:moveTo>
                          <a:pt x="8185" y="1410"/>
                        </a:moveTo>
                        <a:cubicBezTo>
                          <a:pt x="6305" y="-470"/>
                          <a:pt x="3291" y="-470"/>
                          <a:pt x="1410" y="1410"/>
                        </a:cubicBezTo>
                        <a:cubicBezTo>
                          <a:pt x="-470" y="3291"/>
                          <a:pt x="-470" y="6305"/>
                          <a:pt x="1410" y="8186"/>
                        </a:cubicBezTo>
                        <a:lnTo>
                          <a:pt x="37244" y="44019"/>
                        </a:lnTo>
                        <a:cubicBezTo>
                          <a:pt x="38171" y="44946"/>
                          <a:pt x="39408" y="45436"/>
                          <a:pt x="40644" y="45436"/>
                        </a:cubicBezTo>
                        <a:cubicBezTo>
                          <a:pt x="41881" y="45436"/>
                          <a:pt x="43091" y="44972"/>
                          <a:pt x="44044" y="44019"/>
                        </a:cubicBezTo>
                        <a:cubicBezTo>
                          <a:pt x="45925" y="42138"/>
                          <a:pt x="45925" y="39124"/>
                          <a:pt x="44044" y="37244"/>
                        </a:cubicBezTo>
                        <a:lnTo>
                          <a:pt x="8185" y="1410"/>
                        </a:lnTo>
                        <a:close/>
                      </a:path>
                    </a:pathLst>
                  </a:custGeom>
                  <a:solidFill>
                    <a:schemeClr val="accent1"/>
                  </a:solidFill>
                  <a:ln w="2571" cap="flat">
                    <a:noFill/>
                    <a:prstDash val="solid"/>
                    <a:miter/>
                  </a:ln>
                </p:spPr>
                <p:txBody>
                  <a:bodyPr rtlCol="0" anchor="ctr"/>
                  <a:lstStyle/>
                  <a:p>
                    <a:endParaRPr lang="en-GB" dirty="0"/>
                  </a:p>
                </p:txBody>
              </p:sp>
              <p:sp>
                <p:nvSpPr>
                  <p:cNvPr id="441" name="Freihandform: Form 794">
                    <a:extLst>
                      <a:ext uri="{FF2B5EF4-FFF2-40B4-BE49-F238E27FC236}">
                        <a16:creationId xmlns:a16="http://schemas.microsoft.com/office/drawing/2014/main" id="{3CED5481-AD69-4A7C-B455-C2B469267005}"/>
                      </a:ext>
                    </a:extLst>
                  </p:cNvPr>
                  <p:cNvSpPr/>
                  <p:nvPr/>
                </p:nvSpPr>
                <p:spPr>
                  <a:xfrm>
                    <a:off x="7251533" y="2621671"/>
                    <a:ext cx="45480" cy="45435"/>
                  </a:xfrm>
                  <a:custGeom>
                    <a:avLst/>
                    <a:gdLst>
                      <a:gd name="connsiteX0" fmla="*/ 37269 w 45480"/>
                      <a:gd name="connsiteY0" fmla="*/ 1410 h 45435"/>
                      <a:gd name="connsiteX1" fmla="*/ 1410 w 45480"/>
                      <a:gd name="connsiteY1" fmla="*/ 37244 h 45435"/>
                      <a:gd name="connsiteX2" fmla="*/ 1410 w 45480"/>
                      <a:gd name="connsiteY2" fmla="*/ 44019 h 45435"/>
                      <a:gd name="connsiteX3" fmla="*/ 4811 w 45480"/>
                      <a:gd name="connsiteY3" fmla="*/ 45436 h 45435"/>
                      <a:gd name="connsiteX4" fmla="*/ 8211 w 45480"/>
                      <a:gd name="connsiteY4" fmla="*/ 44019 h 45435"/>
                      <a:gd name="connsiteX5" fmla="*/ 44070 w 45480"/>
                      <a:gd name="connsiteY5" fmla="*/ 8186 h 45435"/>
                      <a:gd name="connsiteX6" fmla="*/ 44070 w 45480"/>
                      <a:gd name="connsiteY6" fmla="*/ 1410 h 45435"/>
                      <a:gd name="connsiteX7" fmla="*/ 37269 w 45480"/>
                      <a:gd name="connsiteY7" fmla="*/ 1410 h 4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80" h="45435">
                        <a:moveTo>
                          <a:pt x="37269" y="1410"/>
                        </a:moveTo>
                        <a:lnTo>
                          <a:pt x="1410" y="37244"/>
                        </a:lnTo>
                        <a:cubicBezTo>
                          <a:pt x="-470" y="39124"/>
                          <a:pt x="-470" y="42138"/>
                          <a:pt x="1410" y="44019"/>
                        </a:cubicBezTo>
                        <a:cubicBezTo>
                          <a:pt x="2338" y="44946"/>
                          <a:pt x="3574" y="45436"/>
                          <a:pt x="4811" y="45436"/>
                        </a:cubicBezTo>
                        <a:cubicBezTo>
                          <a:pt x="6047" y="45436"/>
                          <a:pt x="7258" y="44972"/>
                          <a:pt x="8211" y="44019"/>
                        </a:cubicBezTo>
                        <a:lnTo>
                          <a:pt x="44070" y="8186"/>
                        </a:lnTo>
                        <a:cubicBezTo>
                          <a:pt x="45951" y="6305"/>
                          <a:pt x="45951" y="3291"/>
                          <a:pt x="44070" y="1410"/>
                        </a:cubicBezTo>
                        <a:cubicBezTo>
                          <a:pt x="42164" y="-470"/>
                          <a:pt x="39150" y="-470"/>
                          <a:pt x="37269" y="1410"/>
                        </a:cubicBezTo>
                        <a:close/>
                      </a:path>
                    </a:pathLst>
                  </a:custGeom>
                  <a:solidFill>
                    <a:schemeClr val="accent1"/>
                  </a:solidFill>
                  <a:ln w="2571" cap="flat">
                    <a:noFill/>
                    <a:prstDash val="solid"/>
                    <a:miter/>
                  </a:ln>
                </p:spPr>
                <p:txBody>
                  <a:bodyPr rtlCol="0" anchor="ctr"/>
                  <a:lstStyle/>
                  <a:p>
                    <a:endParaRPr lang="en-GB" dirty="0"/>
                  </a:p>
                </p:txBody>
              </p:sp>
            </p:grpSp>
          </p:grpSp>
        </p:grpSp>
      </p:grpSp>
      <p:grpSp>
        <p:nvGrpSpPr>
          <p:cNvPr id="126" name="Group 125">
            <a:extLst>
              <a:ext uri="{FF2B5EF4-FFF2-40B4-BE49-F238E27FC236}">
                <a16:creationId xmlns:a16="http://schemas.microsoft.com/office/drawing/2014/main" id="{7A63EC4A-C645-1B06-B17E-472874BB7970}"/>
              </a:ext>
            </a:extLst>
          </p:cNvPr>
          <p:cNvGrpSpPr/>
          <p:nvPr/>
        </p:nvGrpSpPr>
        <p:grpSpPr>
          <a:xfrm>
            <a:off x="5991033" y="3197070"/>
            <a:ext cx="530737" cy="431999"/>
            <a:chOff x="5990621" y="3197070"/>
            <a:chExt cx="530737" cy="431999"/>
          </a:xfrm>
        </p:grpSpPr>
        <p:grpSp>
          <p:nvGrpSpPr>
            <p:cNvPr id="450" name="Group 449">
              <a:extLst>
                <a:ext uri="{FF2B5EF4-FFF2-40B4-BE49-F238E27FC236}">
                  <a16:creationId xmlns:a16="http://schemas.microsoft.com/office/drawing/2014/main" id="{9EF990CA-422A-4BC0-A08B-34A0CA026D6B}"/>
                </a:ext>
              </a:extLst>
            </p:cNvPr>
            <p:cNvGrpSpPr/>
            <p:nvPr/>
          </p:nvGrpSpPr>
          <p:grpSpPr>
            <a:xfrm>
              <a:off x="5990621" y="3197070"/>
              <a:ext cx="530737" cy="375799"/>
              <a:chOff x="852686" y="1799538"/>
              <a:chExt cx="515784" cy="365210"/>
            </a:xfrm>
            <a:solidFill>
              <a:schemeClr val="tx2"/>
            </a:solidFill>
          </p:grpSpPr>
          <p:grpSp>
            <p:nvGrpSpPr>
              <p:cNvPr id="458" name="Grafik 10">
                <a:extLst>
                  <a:ext uri="{FF2B5EF4-FFF2-40B4-BE49-F238E27FC236}">
                    <a16:creationId xmlns:a16="http://schemas.microsoft.com/office/drawing/2014/main" id="{F7C35F2E-2644-4B1E-8ABE-B12D49E6900E}"/>
                  </a:ext>
                </a:extLst>
              </p:cNvPr>
              <p:cNvGrpSpPr/>
              <p:nvPr/>
            </p:nvGrpSpPr>
            <p:grpSpPr>
              <a:xfrm>
                <a:off x="910671" y="1799538"/>
                <a:ext cx="399788" cy="214716"/>
                <a:chOff x="910671" y="1799538"/>
                <a:chExt cx="399788" cy="214716"/>
              </a:xfrm>
              <a:grpFill/>
            </p:grpSpPr>
            <p:grpSp>
              <p:nvGrpSpPr>
                <p:cNvPr id="461" name="Grafik 10">
                  <a:extLst>
                    <a:ext uri="{FF2B5EF4-FFF2-40B4-BE49-F238E27FC236}">
                      <a16:creationId xmlns:a16="http://schemas.microsoft.com/office/drawing/2014/main" id="{21693318-A597-4699-A65E-70EE2DF13D1F}"/>
                    </a:ext>
                  </a:extLst>
                </p:cNvPr>
                <p:cNvGrpSpPr/>
                <p:nvPr/>
              </p:nvGrpSpPr>
              <p:grpSpPr>
                <a:xfrm>
                  <a:off x="910671" y="1799538"/>
                  <a:ext cx="165003" cy="214716"/>
                  <a:chOff x="910671" y="1799538"/>
                  <a:chExt cx="165003" cy="214716"/>
                </a:xfrm>
                <a:grpFill/>
              </p:grpSpPr>
              <p:grpSp>
                <p:nvGrpSpPr>
                  <p:cNvPr id="469" name="Grafik 10">
                    <a:extLst>
                      <a:ext uri="{FF2B5EF4-FFF2-40B4-BE49-F238E27FC236}">
                        <a16:creationId xmlns:a16="http://schemas.microsoft.com/office/drawing/2014/main" id="{9C2D9D49-4B74-47DC-AF80-4C8C7B7A43F6}"/>
                      </a:ext>
                    </a:extLst>
                  </p:cNvPr>
                  <p:cNvGrpSpPr/>
                  <p:nvPr/>
                </p:nvGrpSpPr>
                <p:grpSpPr>
                  <a:xfrm>
                    <a:off x="910671" y="1904905"/>
                    <a:ext cx="165003" cy="109349"/>
                    <a:chOff x="910671" y="1904905"/>
                    <a:chExt cx="165003" cy="109349"/>
                  </a:xfrm>
                  <a:grpFill/>
                </p:grpSpPr>
                <p:sp>
                  <p:nvSpPr>
                    <p:cNvPr id="471" name="Freihandform: Form 320">
                      <a:extLst>
                        <a:ext uri="{FF2B5EF4-FFF2-40B4-BE49-F238E27FC236}">
                          <a16:creationId xmlns:a16="http://schemas.microsoft.com/office/drawing/2014/main" id="{030439CC-5A18-44B2-A635-1F97D6E8D3A4}"/>
                        </a:ext>
                      </a:extLst>
                    </p:cNvPr>
                    <p:cNvSpPr/>
                    <p:nvPr/>
                  </p:nvSpPr>
                  <p:spPr>
                    <a:xfrm>
                      <a:off x="940525" y="1964229"/>
                      <a:ext cx="9759" cy="42170"/>
                    </a:xfrm>
                    <a:custGeom>
                      <a:avLst/>
                      <a:gdLst>
                        <a:gd name="connsiteX0" fmla="*/ 4880 w 9759"/>
                        <a:gd name="connsiteY0" fmla="*/ 42171 h 42170"/>
                        <a:gd name="connsiteX1" fmla="*/ 0 w 9759"/>
                        <a:gd name="connsiteY1" fmla="*/ 37291 h 42170"/>
                        <a:gd name="connsiteX2" fmla="*/ 0 w 9759"/>
                        <a:gd name="connsiteY2" fmla="*/ 4880 h 42170"/>
                        <a:gd name="connsiteX3" fmla="*/ 4880 w 9759"/>
                        <a:gd name="connsiteY3" fmla="*/ 0 h 42170"/>
                        <a:gd name="connsiteX4" fmla="*/ 9760 w 9759"/>
                        <a:gd name="connsiteY4" fmla="*/ 4880 h 42170"/>
                        <a:gd name="connsiteX5" fmla="*/ 9760 w 9759"/>
                        <a:gd name="connsiteY5" fmla="*/ 37291 h 42170"/>
                        <a:gd name="connsiteX6" fmla="*/ 4880 w 9759"/>
                        <a:gd name="connsiteY6" fmla="*/ 42171 h 4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9" h="42170">
                          <a:moveTo>
                            <a:pt x="4880" y="42171"/>
                          </a:moveTo>
                          <a:cubicBezTo>
                            <a:pt x="2192" y="42171"/>
                            <a:pt x="0" y="39979"/>
                            <a:pt x="0" y="37291"/>
                          </a:cubicBezTo>
                          <a:lnTo>
                            <a:pt x="0" y="4880"/>
                          </a:lnTo>
                          <a:cubicBezTo>
                            <a:pt x="0" y="2192"/>
                            <a:pt x="2192" y="0"/>
                            <a:pt x="4880" y="0"/>
                          </a:cubicBezTo>
                          <a:cubicBezTo>
                            <a:pt x="7568" y="0"/>
                            <a:pt x="9760" y="2192"/>
                            <a:pt x="9760" y="4880"/>
                          </a:cubicBezTo>
                          <a:lnTo>
                            <a:pt x="9760" y="37291"/>
                          </a:lnTo>
                          <a:cubicBezTo>
                            <a:pt x="9760" y="39979"/>
                            <a:pt x="7568" y="42171"/>
                            <a:pt x="4880" y="42171"/>
                          </a:cubicBezTo>
                          <a:close/>
                        </a:path>
                      </a:pathLst>
                    </a:custGeom>
                    <a:grpFill/>
                    <a:ln w="2603" cap="flat">
                      <a:noFill/>
                      <a:prstDash val="solid"/>
                      <a:miter/>
                    </a:ln>
                  </p:spPr>
                  <p:txBody>
                    <a:bodyPr rtlCol="0" anchor="ctr"/>
                    <a:lstStyle/>
                    <a:p>
                      <a:endParaRPr lang="en-GB" dirty="0"/>
                    </a:p>
                  </p:txBody>
                </p:sp>
                <p:sp>
                  <p:nvSpPr>
                    <p:cNvPr id="472" name="Freihandform: Form 321">
                      <a:extLst>
                        <a:ext uri="{FF2B5EF4-FFF2-40B4-BE49-F238E27FC236}">
                          <a16:creationId xmlns:a16="http://schemas.microsoft.com/office/drawing/2014/main" id="{D3C62A89-1F74-49FE-A526-3AD178FF585C}"/>
                        </a:ext>
                      </a:extLst>
                    </p:cNvPr>
                    <p:cNvSpPr/>
                    <p:nvPr/>
                  </p:nvSpPr>
                  <p:spPr>
                    <a:xfrm>
                      <a:off x="910671" y="1904905"/>
                      <a:ext cx="69259" cy="109349"/>
                    </a:xfrm>
                    <a:custGeom>
                      <a:avLst/>
                      <a:gdLst>
                        <a:gd name="connsiteX0" fmla="*/ 4880 w 69259"/>
                        <a:gd name="connsiteY0" fmla="*/ 109349 h 109349"/>
                        <a:gd name="connsiteX1" fmla="*/ 0 w 69259"/>
                        <a:gd name="connsiteY1" fmla="*/ 104469 h 109349"/>
                        <a:gd name="connsiteX2" fmla="*/ 0 w 69259"/>
                        <a:gd name="connsiteY2" fmla="*/ 36098 h 109349"/>
                        <a:gd name="connsiteX3" fmla="*/ 9473 w 69259"/>
                        <a:gd name="connsiteY3" fmla="*/ 15143 h 109349"/>
                        <a:gd name="connsiteX4" fmla="*/ 32750 w 69259"/>
                        <a:gd name="connsiteY4" fmla="*/ 7341 h 109349"/>
                        <a:gd name="connsiteX5" fmla="*/ 55662 w 69259"/>
                        <a:gd name="connsiteY5" fmla="*/ 7341 h 109349"/>
                        <a:gd name="connsiteX6" fmla="*/ 59498 w 69259"/>
                        <a:gd name="connsiteY6" fmla="*/ 4809 h 109349"/>
                        <a:gd name="connsiteX7" fmla="*/ 64457 w 69259"/>
                        <a:gd name="connsiteY7" fmla="*/ 8 h 109349"/>
                        <a:gd name="connsiteX8" fmla="*/ 69258 w 69259"/>
                        <a:gd name="connsiteY8" fmla="*/ 4966 h 109349"/>
                        <a:gd name="connsiteX9" fmla="*/ 56184 w 69259"/>
                        <a:gd name="connsiteY9" fmla="*/ 17074 h 109349"/>
                        <a:gd name="connsiteX10" fmla="*/ 32750 w 69259"/>
                        <a:gd name="connsiteY10" fmla="*/ 17100 h 109349"/>
                        <a:gd name="connsiteX11" fmla="*/ 15631 w 69259"/>
                        <a:gd name="connsiteY11" fmla="*/ 22711 h 109349"/>
                        <a:gd name="connsiteX12" fmla="*/ 9760 w 69259"/>
                        <a:gd name="connsiteY12" fmla="*/ 36098 h 109349"/>
                        <a:gd name="connsiteX13" fmla="*/ 9760 w 69259"/>
                        <a:gd name="connsiteY13" fmla="*/ 104469 h 109349"/>
                        <a:gd name="connsiteX14" fmla="*/ 4880 w 69259"/>
                        <a:gd name="connsiteY14" fmla="*/ 109349 h 109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259" h="109349">
                          <a:moveTo>
                            <a:pt x="4880" y="109349"/>
                          </a:moveTo>
                          <a:cubicBezTo>
                            <a:pt x="2192" y="109349"/>
                            <a:pt x="0" y="107157"/>
                            <a:pt x="0" y="104469"/>
                          </a:cubicBezTo>
                          <a:lnTo>
                            <a:pt x="0" y="36098"/>
                          </a:lnTo>
                          <a:cubicBezTo>
                            <a:pt x="0" y="27408"/>
                            <a:pt x="3262" y="20180"/>
                            <a:pt x="9473" y="15143"/>
                          </a:cubicBezTo>
                          <a:cubicBezTo>
                            <a:pt x="18972" y="7419"/>
                            <a:pt x="32202" y="7341"/>
                            <a:pt x="32750" y="7341"/>
                          </a:cubicBezTo>
                          <a:lnTo>
                            <a:pt x="55662" y="7341"/>
                          </a:lnTo>
                          <a:cubicBezTo>
                            <a:pt x="55506" y="7314"/>
                            <a:pt x="59472" y="6662"/>
                            <a:pt x="59498" y="4809"/>
                          </a:cubicBezTo>
                          <a:cubicBezTo>
                            <a:pt x="59551" y="2121"/>
                            <a:pt x="61769" y="-149"/>
                            <a:pt x="64457" y="8"/>
                          </a:cubicBezTo>
                          <a:cubicBezTo>
                            <a:pt x="67145" y="60"/>
                            <a:pt x="69311" y="2278"/>
                            <a:pt x="69258" y="4966"/>
                          </a:cubicBezTo>
                          <a:cubicBezTo>
                            <a:pt x="69128" y="12403"/>
                            <a:pt x="62395" y="16448"/>
                            <a:pt x="56184" y="17074"/>
                          </a:cubicBezTo>
                          <a:lnTo>
                            <a:pt x="32750" y="17100"/>
                          </a:lnTo>
                          <a:cubicBezTo>
                            <a:pt x="32672" y="17100"/>
                            <a:pt x="22390" y="17231"/>
                            <a:pt x="15631" y="22711"/>
                          </a:cubicBezTo>
                          <a:cubicBezTo>
                            <a:pt x="11691" y="25921"/>
                            <a:pt x="9760" y="30305"/>
                            <a:pt x="9760" y="36098"/>
                          </a:cubicBezTo>
                          <a:lnTo>
                            <a:pt x="9760" y="104469"/>
                          </a:lnTo>
                          <a:cubicBezTo>
                            <a:pt x="9760" y="107183"/>
                            <a:pt x="7568" y="109349"/>
                            <a:pt x="4880" y="109349"/>
                          </a:cubicBezTo>
                          <a:close/>
                        </a:path>
                      </a:pathLst>
                    </a:custGeom>
                    <a:grpFill/>
                    <a:ln w="2603" cap="flat">
                      <a:noFill/>
                      <a:prstDash val="solid"/>
                      <a:miter/>
                    </a:ln>
                  </p:spPr>
                  <p:txBody>
                    <a:bodyPr rtlCol="0" anchor="ctr"/>
                    <a:lstStyle/>
                    <a:p>
                      <a:endParaRPr lang="en-GB" dirty="0"/>
                    </a:p>
                  </p:txBody>
                </p:sp>
                <p:sp>
                  <p:nvSpPr>
                    <p:cNvPr id="473" name="Freihandform: Form 322">
                      <a:extLst>
                        <a:ext uri="{FF2B5EF4-FFF2-40B4-BE49-F238E27FC236}">
                          <a16:creationId xmlns:a16="http://schemas.microsoft.com/office/drawing/2014/main" id="{E2C9702C-C54B-43E1-B38D-BAA882E6532E}"/>
                        </a:ext>
                      </a:extLst>
                    </p:cNvPr>
                    <p:cNvSpPr/>
                    <p:nvPr/>
                  </p:nvSpPr>
                  <p:spPr>
                    <a:xfrm>
                      <a:off x="1036035" y="1964751"/>
                      <a:ext cx="9759" cy="29723"/>
                    </a:xfrm>
                    <a:custGeom>
                      <a:avLst/>
                      <a:gdLst>
                        <a:gd name="connsiteX0" fmla="*/ 4880 w 9759"/>
                        <a:gd name="connsiteY0" fmla="*/ 29723 h 29723"/>
                        <a:gd name="connsiteX1" fmla="*/ 0 w 9759"/>
                        <a:gd name="connsiteY1" fmla="*/ 24843 h 29723"/>
                        <a:gd name="connsiteX2" fmla="*/ 0 w 9759"/>
                        <a:gd name="connsiteY2" fmla="*/ 4880 h 29723"/>
                        <a:gd name="connsiteX3" fmla="*/ 4880 w 9759"/>
                        <a:gd name="connsiteY3" fmla="*/ 0 h 29723"/>
                        <a:gd name="connsiteX4" fmla="*/ 9760 w 9759"/>
                        <a:gd name="connsiteY4" fmla="*/ 4880 h 29723"/>
                        <a:gd name="connsiteX5" fmla="*/ 9760 w 9759"/>
                        <a:gd name="connsiteY5" fmla="*/ 24843 h 29723"/>
                        <a:gd name="connsiteX6" fmla="*/ 4880 w 9759"/>
                        <a:gd name="connsiteY6" fmla="*/ 29723 h 29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9" h="29723">
                          <a:moveTo>
                            <a:pt x="4880" y="29723"/>
                          </a:moveTo>
                          <a:cubicBezTo>
                            <a:pt x="2192" y="29723"/>
                            <a:pt x="0" y="27531"/>
                            <a:pt x="0" y="24843"/>
                          </a:cubicBezTo>
                          <a:lnTo>
                            <a:pt x="0" y="4880"/>
                          </a:lnTo>
                          <a:cubicBezTo>
                            <a:pt x="0" y="2192"/>
                            <a:pt x="2192" y="0"/>
                            <a:pt x="4880" y="0"/>
                          </a:cubicBezTo>
                          <a:cubicBezTo>
                            <a:pt x="7568" y="0"/>
                            <a:pt x="9760" y="2192"/>
                            <a:pt x="9760" y="4880"/>
                          </a:cubicBezTo>
                          <a:lnTo>
                            <a:pt x="9760" y="24843"/>
                          </a:lnTo>
                          <a:cubicBezTo>
                            <a:pt x="9760" y="27531"/>
                            <a:pt x="7568" y="29723"/>
                            <a:pt x="4880" y="29723"/>
                          </a:cubicBezTo>
                          <a:close/>
                        </a:path>
                      </a:pathLst>
                    </a:custGeom>
                    <a:grpFill/>
                    <a:ln w="2603" cap="flat">
                      <a:noFill/>
                      <a:prstDash val="solid"/>
                      <a:miter/>
                    </a:ln>
                  </p:spPr>
                  <p:txBody>
                    <a:bodyPr rtlCol="0" anchor="ctr"/>
                    <a:lstStyle/>
                    <a:p>
                      <a:endParaRPr lang="en-GB" dirty="0"/>
                    </a:p>
                  </p:txBody>
                </p:sp>
                <p:sp>
                  <p:nvSpPr>
                    <p:cNvPr id="474" name="Freihandform: Form 323">
                      <a:extLst>
                        <a:ext uri="{FF2B5EF4-FFF2-40B4-BE49-F238E27FC236}">
                          <a16:creationId xmlns:a16="http://schemas.microsoft.com/office/drawing/2014/main" id="{77615BA7-62D8-4BDD-BE5E-1B5DF15DC743}"/>
                        </a:ext>
                      </a:extLst>
                    </p:cNvPr>
                    <p:cNvSpPr/>
                    <p:nvPr/>
                  </p:nvSpPr>
                  <p:spPr>
                    <a:xfrm>
                      <a:off x="1008295" y="1904913"/>
                      <a:ext cx="67379" cy="70015"/>
                    </a:xfrm>
                    <a:custGeom>
                      <a:avLst/>
                      <a:gdLst>
                        <a:gd name="connsiteX0" fmla="*/ 62474 w 67379"/>
                        <a:gd name="connsiteY0" fmla="*/ 70015 h 70015"/>
                        <a:gd name="connsiteX1" fmla="*/ 57594 w 67379"/>
                        <a:gd name="connsiteY1" fmla="*/ 65135 h 70015"/>
                        <a:gd name="connsiteX2" fmla="*/ 57594 w 67379"/>
                        <a:gd name="connsiteY2" fmla="*/ 36091 h 70015"/>
                        <a:gd name="connsiteX3" fmla="*/ 34629 w 67379"/>
                        <a:gd name="connsiteY3" fmla="*/ 17093 h 70015"/>
                        <a:gd name="connsiteX4" fmla="*/ 11691 w 67379"/>
                        <a:gd name="connsiteY4" fmla="*/ 17093 h 70015"/>
                        <a:gd name="connsiteX5" fmla="*/ 3523 w 67379"/>
                        <a:gd name="connsiteY5" fmla="*/ 13909 h 70015"/>
                        <a:gd name="connsiteX6" fmla="*/ 0 w 67379"/>
                        <a:gd name="connsiteY6" fmla="*/ 4906 h 70015"/>
                        <a:gd name="connsiteX7" fmla="*/ 4854 w 67379"/>
                        <a:gd name="connsiteY7" fmla="*/ 0 h 70015"/>
                        <a:gd name="connsiteX8" fmla="*/ 4880 w 67379"/>
                        <a:gd name="connsiteY8" fmla="*/ 0 h 70015"/>
                        <a:gd name="connsiteX9" fmla="*/ 9760 w 67379"/>
                        <a:gd name="connsiteY9" fmla="*/ 4854 h 70015"/>
                        <a:gd name="connsiteX10" fmla="*/ 11613 w 67379"/>
                        <a:gd name="connsiteY10" fmla="*/ 7333 h 70015"/>
                        <a:gd name="connsiteX11" fmla="*/ 34629 w 67379"/>
                        <a:gd name="connsiteY11" fmla="*/ 7333 h 70015"/>
                        <a:gd name="connsiteX12" fmla="*/ 67380 w 67379"/>
                        <a:gd name="connsiteY12" fmla="*/ 36117 h 70015"/>
                        <a:gd name="connsiteX13" fmla="*/ 67380 w 67379"/>
                        <a:gd name="connsiteY13" fmla="*/ 65161 h 70015"/>
                        <a:gd name="connsiteX14" fmla="*/ 62474 w 67379"/>
                        <a:gd name="connsiteY14" fmla="*/ 70015 h 7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379" h="70015">
                          <a:moveTo>
                            <a:pt x="62474" y="70015"/>
                          </a:moveTo>
                          <a:cubicBezTo>
                            <a:pt x="59786" y="70015"/>
                            <a:pt x="57594" y="67823"/>
                            <a:pt x="57594" y="65135"/>
                          </a:cubicBezTo>
                          <a:lnTo>
                            <a:pt x="57594" y="36091"/>
                          </a:lnTo>
                          <a:cubicBezTo>
                            <a:pt x="57594" y="17302"/>
                            <a:pt x="35569" y="17093"/>
                            <a:pt x="34629" y="17093"/>
                          </a:cubicBezTo>
                          <a:lnTo>
                            <a:pt x="11691" y="17093"/>
                          </a:lnTo>
                          <a:cubicBezTo>
                            <a:pt x="11091" y="17171"/>
                            <a:pt x="6863" y="17093"/>
                            <a:pt x="3523" y="13909"/>
                          </a:cubicBezTo>
                          <a:cubicBezTo>
                            <a:pt x="1931" y="12396"/>
                            <a:pt x="26" y="9577"/>
                            <a:pt x="0" y="4906"/>
                          </a:cubicBezTo>
                          <a:cubicBezTo>
                            <a:pt x="-26" y="2218"/>
                            <a:pt x="2166" y="0"/>
                            <a:pt x="4854" y="0"/>
                          </a:cubicBezTo>
                          <a:cubicBezTo>
                            <a:pt x="4854" y="0"/>
                            <a:pt x="4880" y="0"/>
                            <a:pt x="4880" y="0"/>
                          </a:cubicBezTo>
                          <a:cubicBezTo>
                            <a:pt x="7568" y="0"/>
                            <a:pt x="9760" y="2166"/>
                            <a:pt x="9760" y="4854"/>
                          </a:cubicBezTo>
                          <a:cubicBezTo>
                            <a:pt x="9760" y="6393"/>
                            <a:pt x="10073" y="7281"/>
                            <a:pt x="11613" y="7333"/>
                          </a:cubicBezTo>
                          <a:lnTo>
                            <a:pt x="34629" y="7333"/>
                          </a:lnTo>
                          <a:cubicBezTo>
                            <a:pt x="45955" y="7333"/>
                            <a:pt x="67380" y="13335"/>
                            <a:pt x="67380" y="36117"/>
                          </a:cubicBezTo>
                          <a:lnTo>
                            <a:pt x="67380" y="65161"/>
                          </a:lnTo>
                          <a:cubicBezTo>
                            <a:pt x="67354" y="67823"/>
                            <a:pt x="65162" y="70015"/>
                            <a:pt x="62474" y="70015"/>
                          </a:cubicBezTo>
                          <a:close/>
                        </a:path>
                      </a:pathLst>
                    </a:custGeom>
                    <a:grpFill/>
                    <a:ln w="2603" cap="flat">
                      <a:noFill/>
                      <a:prstDash val="solid"/>
                      <a:miter/>
                    </a:ln>
                  </p:spPr>
                  <p:txBody>
                    <a:bodyPr rtlCol="0" anchor="ctr"/>
                    <a:lstStyle/>
                    <a:p>
                      <a:endParaRPr lang="en-GB" dirty="0"/>
                    </a:p>
                  </p:txBody>
                </p:sp>
              </p:grpSp>
              <p:sp>
                <p:nvSpPr>
                  <p:cNvPr id="470" name="Freihandform: Form 324">
                    <a:extLst>
                      <a:ext uri="{FF2B5EF4-FFF2-40B4-BE49-F238E27FC236}">
                        <a16:creationId xmlns:a16="http://schemas.microsoft.com/office/drawing/2014/main" id="{D3C04989-55E5-4E24-97A1-249D1BD86FC3}"/>
                      </a:ext>
                    </a:extLst>
                  </p:cNvPr>
                  <p:cNvSpPr/>
                  <p:nvPr/>
                </p:nvSpPr>
                <p:spPr>
                  <a:xfrm>
                    <a:off x="950624" y="1799538"/>
                    <a:ext cx="87942" cy="98407"/>
                  </a:xfrm>
                  <a:custGeom>
                    <a:avLst/>
                    <a:gdLst>
                      <a:gd name="connsiteX0" fmla="*/ 43971 w 87942"/>
                      <a:gd name="connsiteY0" fmla="*/ 98407 h 98407"/>
                      <a:gd name="connsiteX1" fmla="*/ 0 w 87942"/>
                      <a:gd name="connsiteY1" fmla="*/ 49191 h 98407"/>
                      <a:gd name="connsiteX2" fmla="*/ 43971 w 87942"/>
                      <a:gd name="connsiteY2" fmla="*/ 0 h 98407"/>
                      <a:gd name="connsiteX3" fmla="*/ 87943 w 87942"/>
                      <a:gd name="connsiteY3" fmla="*/ 49191 h 98407"/>
                      <a:gd name="connsiteX4" fmla="*/ 43971 w 87942"/>
                      <a:gd name="connsiteY4" fmla="*/ 98407 h 98407"/>
                      <a:gd name="connsiteX5" fmla="*/ 43971 w 87942"/>
                      <a:gd name="connsiteY5" fmla="*/ 9786 h 98407"/>
                      <a:gd name="connsiteX6" fmla="*/ 9760 w 87942"/>
                      <a:gd name="connsiteY6" fmla="*/ 49217 h 98407"/>
                      <a:gd name="connsiteX7" fmla="*/ 43971 w 87942"/>
                      <a:gd name="connsiteY7" fmla="*/ 88648 h 98407"/>
                      <a:gd name="connsiteX8" fmla="*/ 78183 w 87942"/>
                      <a:gd name="connsiteY8" fmla="*/ 49217 h 98407"/>
                      <a:gd name="connsiteX9" fmla="*/ 43971 w 87942"/>
                      <a:gd name="connsiteY9" fmla="*/ 9786 h 9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942" h="98407">
                        <a:moveTo>
                          <a:pt x="43971" y="98407"/>
                        </a:moveTo>
                        <a:cubicBezTo>
                          <a:pt x="19728" y="98407"/>
                          <a:pt x="0" y="76330"/>
                          <a:pt x="0" y="49191"/>
                        </a:cubicBezTo>
                        <a:cubicBezTo>
                          <a:pt x="0" y="22077"/>
                          <a:pt x="19728" y="0"/>
                          <a:pt x="43971" y="0"/>
                        </a:cubicBezTo>
                        <a:cubicBezTo>
                          <a:pt x="68215" y="0"/>
                          <a:pt x="87943" y="22077"/>
                          <a:pt x="87943" y="49191"/>
                        </a:cubicBezTo>
                        <a:cubicBezTo>
                          <a:pt x="87943" y="76330"/>
                          <a:pt x="68215" y="98407"/>
                          <a:pt x="43971" y="98407"/>
                        </a:cubicBezTo>
                        <a:close/>
                        <a:moveTo>
                          <a:pt x="43971" y="9786"/>
                        </a:moveTo>
                        <a:cubicBezTo>
                          <a:pt x="25104" y="9786"/>
                          <a:pt x="9760" y="27479"/>
                          <a:pt x="9760" y="49217"/>
                        </a:cubicBezTo>
                        <a:cubicBezTo>
                          <a:pt x="9760" y="70955"/>
                          <a:pt x="25104" y="88648"/>
                          <a:pt x="43971" y="88648"/>
                        </a:cubicBezTo>
                        <a:cubicBezTo>
                          <a:pt x="62839" y="88648"/>
                          <a:pt x="78183" y="70955"/>
                          <a:pt x="78183" y="49217"/>
                        </a:cubicBezTo>
                        <a:cubicBezTo>
                          <a:pt x="78183" y="27453"/>
                          <a:pt x="62839" y="9786"/>
                          <a:pt x="43971" y="9786"/>
                        </a:cubicBezTo>
                        <a:close/>
                      </a:path>
                    </a:pathLst>
                  </a:custGeom>
                  <a:grpFill/>
                  <a:ln w="2603" cap="flat">
                    <a:noFill/>
                    <a:prstDash val="solid"/>
                    <a:miter/>
                  </a:ln>
                </p:spPr>
                <p:txBody>
                  <a:bodyPr rtlCol="0" anchor="ctr"/>
                  <a:lstStyle/>
                  <a:p>
                    <a:endParaRPr lang="en-GB" dirty="0"/>
                  </a:p>
                </p:txBody>
              </p:sp>
            </p:grpSp>
            <p:grpSp>
              <p:nvGrpSpPr>
                <p:cNvPr id="462" name="Grafik 10">
                  <a:extLst>
                    <a:ext uri="{FF2B5EF4-FFF2-40B4-BE49-F238E27FC236}">
                      <a16:creationId xmlns:a16="http://schemas.microsoft.com/office/drawing/2014/main" id="{7A2002FB-E8E6-429B-A242-8A982D517849}"/>
                    </a:ext>
                  </a:extLst>
                </p:cNvPr>
                <p:cNvGrpSpPr/>
                <p:nvPr/>
              </p:nvGrpSpPr>
              <p:grpSpPr>
                <a:xfrm>
                  <a:off x="1145481" y="1799538"/>
                  <a:ext cx="164978" cy="214716"/>
                  <a:chOff x="1145481" y="1799538"/>
                  <a:chExt cx="164978" cy="214716"/>
                </a:xfrm>
                <a:grpFill/>
              </p:grpSpPr>
              <p:grpSp>
                <p:nvGrpSpPr>
                  <p:cNvPr id="463" name="Grafik 10">
                    <a:extLst>
                      <a:ext uri="{FF2B5EF4-FFF2-40B4-BE49-F238E27FC236}">
                        <a16:creationId xmlns:a16="http://schemas.microsoft.com/office/drawing/2014/main" id="{BEC5430B-E4D1-42B6-BB89-FA6D5610435E}"/>
                      </a:ext>
                    </a:extLst>
                  </p:cNvPr>
                  <p:cNvGrpSpPr/>
                  <p:nvPr/>
                </p:nvGrpSpPr>
                <p:grpSpPr>
                  <a:xfrm>
                    <a:off x="1145481" y="1904887"/>
                    <a:ext cx="164978" cy="109367"/>
                    <a:chOff x="1145481" y="1904887"/>
                    <a:chExt cx="164978" cy="109367"/>
                  </a:xfrm>
                  <a:grpFill/>
                </p:grpSpPr>
                <p:sp>
                  <p:nvSpPr>
                    <p:cNvPr id="465" name="Freihandform: Form 327">
                      <a:extLst>
                        <a:ext uri="{FF2B5EF4-FFF2-40B4-BE49-F238E27FC236}">
                          <a16:creationId xmlns:a16="http://schemas.microsoft.com/office/drawing/2014/main" id="{372E2A1B-9EFE-497D-92DD-4E96BFE0DEF5}"/>
                        </a:ext>
                      </a:extLst>
                    </p:cNvPr>
                    <p:cNvSpPr/>
                    <p:nvPr/>
                  </p:nvSpPr>
                  <p:spPr>
                    <a:xfrm>
                      <a:off x="1270846" y="1964229"/>
                      <a:ext cx="9759" cy="42170"/>
                    </a:xfrm>
                    <a:custGeom>
                      <a:avLst/>
                      <a:gdLst>
                        <a:gd name="connsiteX0" fmla="*/ 4880 w 9759"/>
                        <a:gd name="connsiteY0" fmla="*/ 42171 h 42170"/>
                        <a:gd name="connsiteX1" fmla="*/ 0 w 9759"/>
                        <a:gd name="connsiteY1" fmla="*/ 37291 h 42170"/>
                        <a:gd name="connsiteX2" fmla="*/ 0 w 9759"/>
                        <a:gd name="connsiteY2" fmla="*/ 4880 h 42170"/>
                        <a:gd name="connsiteX3" fmla="*/ 4880 w 9759"/>
                        <a:gd name="connsiteY3" fmla="*/ 0 h 42170"/>
                        <a:gd name="connsiteX4" fmla="*/ 9760 w 9759"/>
                        <a:gd name="connsiteY4" fmla="*/ 4880 h 42170"/>
                        <a:gd name="connsiteX5" fmla="*/ 9760 w 9759"/>
                        <a:gd name="connsiteY5" fmla="*/ 37291 h 42170"/>
                        <a:gd name="connsiteX6" fmla="*/ 4880 w 9759"/>
                        <a:gd name="connsiteY6" fmla="*/ 42171 h 4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9" h="42170">
                          <a:moveTo>
                            <a:pt x="4880" y="42171"/>
                          </a:moveTo>
                          <a:cubicBezTo>
                            <a:pt x="2192" y="42171"/>
                            <a:pt x="0" y="39979"/>
                            <a:pt x="0" y="37291"/>
                          </a:cubicBezTo>
                          <a:lnTo>
                            <a:pt x="0" y="4880"/>
                          </a:lnTo>
                          <a:cubicBezTo>
                            <a:pt x="0" y="2192"/>
                            <a:pt x="2192" y="0"/>
                            <a:pt x="4880" y="0"/>
                          </a:cubicBezTo>
                          <a:cubicBezTo>
                            <a:pt x="7568" y="0"/>
                            <a:pt x="9760" y="2192"/>
                            <a:pt x="9760" y="4880"/>
                          </a:cubicBezTo>
                          <a:lnTo>
                            <a:pt x="9760" y="37291"/>
                          </a:lnTo>
                          <a:cubicBezTo>
                            <a:pt x="9760" y="39979"/>
                            <a:pt x="7594" y="42171"/>
                            <a:pt x="4880" y="42171"/>
                          </a:cubicBezTo>
                          <a:close/>
                        </a:path>
                      </a:pathLst>
                    </a:custGeom>
                    <a:grpFill/>
                    <a:ln w="2603" cap="flat">
                      <a:noFill/>
                      <a:prstDash val="solid"/>
                      <a:miter/>
                    </a:ln>
                  </p:spPr>
                  <p:txBody>
                    <a:bodyPr rtlCol="0" anchor="ctr"/>
                    <a:lstStyle/>
                    <a:p>
                      <a:endParaRPr lang="en-GB" dirty="0"/>
                    </a:p>
                  </p:txBody>
                </p:sp>
                <p:sp>
                  <p:nvSpPr>
                    <p:cNvPr id="466" name="Freihandform: Form 328">
                      <a:extLst>
                        <a:ext uri="{FF2B5EF4-FFF2-40B4-BE49-F238E27FC236}">
                          <a16:creationId xmlns:a16="http://schemas.microsoft.com/office/drawing/2014/main" id="{0C095977-73A3-432B-B0B4-59518CEB7A89}"/>
                        </a:ext>
                      </a:extLst>
                    </p:cNvPr>
                    <p:cNvSpPr/>
                    <p:nvPr/>
                  </p:nvSpPr>
                  <p:spPr>
                    <a:xfrm>
                      <a:off x="1241200" y="1904913"/>
                      <a:ext cx="69259" cy="109341"/>
                    </a:xfrm>
                    <a:custGeom>
                      <a:avLst/>
                      <a:gdLst>
                        <a:gd name="connsiteX0" fmla="*/ 64405 w 69259"/>
                        <a:gd name="connsiteY0" fmla="*/ 109342 h 109341"/>
                        <a:gd name="connsiteX1" fmla="*/ 59526 w 69259"/>
                        <a:gd name="connsiteY1" fmla="*/ 104462 h 109341"/>
                        <a:gd name="connsiteX2" fmla="*/ 59526 w 69259"/>
                        <a:gd name="connsiteY2" fmla="*/ 36091 h 109341"/>
                        <a:gd name="connsiteX3" fmla="*/ 53654 w 69259"/>
                        <a:gd name="connsiteY3" fmla="*/ 22703 h 109341"/>
                        <a:gd name="connsiteX4" fmla="*/ 36509 w 69259"/>
                        <a:gd name="connsiteY4" fmla="*/ 17093 h 109341"/>
                        <a:gd name="connsiteX5" fmla="*/ 13571 w 69259"/>
                        <a:gd name="connsiteY5" fmla="*/ 17093 h 109341"/>
                        <a:gd name="connsiteX6" fmla="*/ 1 w 69259"/>
                        <a:gd name="connsiteY6" fmla="*/ 4958 h 109341"/>
                        <a:gd name="connsiteX7" fmla="*/ 4803 w 69259"/>
                        <a:gd name="connsiteY7" fmla="*/ 0 h 109341"/>
                        <a:gd name="connsiteX8" fmla="*/ 9761 w 69259"/>
                        <a:gd name="connsiteY8" fmla="*/ 4802 h 109341"/>
                        <a:gd name="connsiteX9" fmla="*/ 14067 w 69259"/>
                        <a:gd name="connsiteY9" fmla="*/ 7359 h 109341"/>
                        <a:gd name="connsiteX10" fmla="*/ 36509 w 69259"/>
                        <a:gd name="connsiteY10" fmla="*/ 7333 h 109341"/>
                        <a:gd name="connsiteX11" fmla="*/ 59786 w 69259"/>
                        <a:gd name="connsiteY11" fmla="*/ 15136 h 109341"/>
                        <a:gd name="connsiteX12" fmla="*/ 69259 w 69259"/>
                        <a:gd name="connsiteY12" fmla="*/ 36091 h 109341"/>
                        <a:gd name="connsiteX13" fmla="*/ 69259 w 69259"/>
                        <a:gd name="connsiteY13" fmla="*/ 104462 h 109341"/>
                        <a:gd name="connsiteX14" fmla="*/ 64405 w 69259"/>
                        <a:gd name="connsiteY14" fmla="*/ 109342 h 10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259" h="109341">
                          <a:moveTo>
                            <a:pt x="64405" y="109342"/>
                          </a:moveTo>
                          <a:cubicBezTo>
                            <a:pt x="61718" y="109342"/>
                            <a:pt x="59526" y="107149"/>
                            <a:pt x="59526" y="104462"/>
                          </a:cubicBezTo>
                          <a:lnTo>
                            <a:pt x="59526" y="36091"/>
                          </a:lnTo>
                          <a:cubicBezTo>
                            <a:pt x="59526" y="30297"/>
                            <a:pt x="57621" y="25913"/>
                            <a:pt x="53654" y="22703"/>
                          </a:cubicBezTo>
                          <a:cubicBezTo>
                            <a:pt x="46895" y="17197"/>
                            <a:pt x="36613" y="17093"/>
                            <a:pt x="36509" y="17093"/>
                          </a:cubicBezTo>
                          <a:lnTo>
                            <a:pt x="13571" y="17093"/>
                          </a:lnTo>
                          <a:cubicBezTo>
                            <a:pt x="6864" y="16440"/>
                            <a:pt x="131" y="12369"/>
                            <a:pt x="1" y="4958"/>
                          </a:cubicBezTo>
                          <a:cubicBezTo>
                            <a:pt x="-51" y="2270"/>
                            <a:pt x="2115" y="52"/>
                            <a:pt x="4803" y="0"/>
                          </a:cubicBezTo>
                          <a:cubicBezTo>
                            <a:pt x="7517" y="183"/>
                            <a:pt x="9735" y="2114"/>
                            <a:pt x="9761" y="4802"/>
                          </a:cubicBezTo>
                          <a:cubicBezTo>
                            <a:pt x="9787" y="6707"/>
                            <a:pt x="14014" y="7359"/>
                            <a:pt x="14067" y="7359"/>
                          </a:cubicBezTo>
                          <a:lnTo>
                            <a:pt x="36509" y="7333"/>
                          </a:lnTo>
                          <a:cubicBezTo>
                            <a:pt x="37057" y="7333"/>
                            <a:pt x="50314" y="7411"/>
                            <a:pt x="59786" y="15136"/>
                          </a:cubicBezTo>
                          <a:cubicBezTo>
                            <a:pt x="65971" y="20172"/>
                            <a:pt x="69259" y="27427"/>
                            <a:pt x="69259" y="36091"/>
                          </a:cubicBezTo>
                          <a:lnTo>
                            <a:pt x="69259" y="104462"/>
                          </a:lnTo>
                          <a:cubicBezTo>
                            <a:pt x="69285" y="107176"/>
                            <a:pt x="67093" y="109342"/>
                            <a:pt x="64405" y="109342"/>
                          </a:cubicBezTo>
                          <a:close/>
                        </a:path>
                      </a:pathLst>
                    </a:custGeom>
                    <a:grpFill/>
                    <a:ln w="2603" cap="flat">
                      <a:noFill/>
                      <a:prstDash val="solid"/>
                      <a:miter/>
                    </a:ln>
                  </p:spPr>
                  <p:txBody>
                    <a:bodyPr rtlCol="0" anchor="ctr"/>
                    <a:lstStyle/>
                    <a:p>
                      <a:endParaRPr lang="en-GB" dirty="0"/>
                    </a:p>
                  </p:txBody>
                </p:sp>
                <p:sp>
                  <p:nvSpPr>
                    <p:cNvPr id="467" name="Freihandform: Form 329">
                      <a:extLst>
                        <a:ext uri="{FF2B5EF4-FFF2-40B4-BE49-F238E27FC236}">
                          <a16:creationId xmlns:a16="http://schemas.microsoft.com/office/drawing/2014/main" id="{5573ADED-2059-468D-B8B4-250D1429A985}"/>
                        </a:ext>
                      </a:extLst>
                    </p:cNvPr>
                    <p:cNvSpPr/>
                    <p:nvPr/>
                  </p:nvSpPr>
                  <p:spPr>
                    <a:xfrm>
                      <a:off x="1175335" y="1964751"/>
                      <a:ext cx="9760" cy="29723"/>
                    </a:xfrm>
                    <a:custGeom>
                      <a:avLst/>
                      <a:gdLst>
                        <a:gd name="connsiteX0" fmla="*/ 4880 w 9760"/>
                        <a:gd name="connsiteY0" fmla="*/ 29723 h 29723"/>
                        <a:gd name="connsiteX1" fmla="*/ 0 w 9760"/>
                        <a:gd name="connsiteY1" fmla="*/ 24843 h 29723"/>
                        <a:gd name="connsiteX2" fmla="*/ 0 w 9760"/>
                        <a:gd name="connsiteY2" fmla="*/ 4880 h 29723"/>
                        <a:gd name="connsiteX3" fmla="*/ 4880 w 9760"/>
                        <a:gd name="connsiteY3" fmla="*/ 0 h 29723"/>
                        <a:gd name="connsiteX4" fmla="*/ 9760 w 9760"/>
                        <a:gd name="connsiteY4" fmla="*/ 4880 h 29723"/>
                        <a:gd name="connsiteX5" fmla="*/ 9760 w 9760"/>
                        <a:gd name="connsiteY5" fmla="*/ 24843 h 29723"/>
                        <a:gd name="connsiteX6" fmla="*/ 4880 w 9760"/>
                        <a:gd name="connsiteY6" fmla="*/ 29723 h 29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0" h="29723">
                          <a:moveTo>
                            <a:pt x="4880" y="29723"/>
                          </a:moveTo>
                          <a:cubicBezTo>
                            <a:pt x="2192" y="29723"/>
                            <a:pt x="0" y="27531"/>
                            <a:pt x="0" y="24843"/>
                          </a:cubicBezTo>
                          <a:lnTo>
                            <a:pt x="0" y="4880"/>
                          </a:lnTo>
                          <a:cubicBezTo>
                            <a:pt x="0" y="2192"/>
                            <a:pt x="2192" y="0"/>
                            <a:pt x="4880" y="0"/>
                          </a:cubicBezTo>
                          <a:cubicBezTo>
                            <a:pt x="7568" y="0"/>
                            <a:pt x="9760" y="2192"/>
                            <a:pt x="9760" y="4880"/>
                          </a:cubicBezTo>
                          <a:lnTo>
                            <a:pt x="9760" y="24843"/>
                          </a:lnTo>
                          <a:cubicBezTo>
                            <a:pt x="9786" y="27531"/>
                            <a:pt x="7594" y="29723"/>
                            <a:pt x="4880" y="29723"/>
                          </a:cubicBezTo>
                          <a:close/>
                        </a:path>
                      </a:pathLst>
                    </a:custGeom>
                    <a:grpFill/>
                    <a:ln w="2603" cap="flat">
                      <a:noFill/>
                      <a:prstDash val="solid"/>
                      <a:miter/>
                    </a:ln>
                  </p:spPr>
                  <p:txBody>
                    <a:bodyPr rtlCol="0" anchor="ctr"/>
                    <a:lstStyle/>
                    <a:p>
                      <a:endParaRPr lang="en-GB" dirty="0"/>
                    </a:p>
                  </p:txBody>
                </p:sp>
                <p:sp>
                  <p:nvSpPr>
                    <p:cNvPr id="468" name="Freihandform: Form 330">
                      <a:extLst>
                        <a:ext uri="{FF2B5EF4-FFF2-40B4-BE49-F238E27FC236}">
                          <a16:creationId xmlns:a16="http://schemas.microsoft.com/office/drawing/2014/main" id="{7F886D97-477B-4DD1-90BE-415894037C79}"/>
                        </a:ext>
                      </a:extLst>
                    </p:cNvPr>
                    <p:cNvSpPr/>
                    <p:nvPr/>
                  </p:nvSpPr>
                  <p:spPr>
                    <a:xfrm>
                      <a:off x="1145481" y="1904887"/>
                      <a:ext cx="67379" cy="70041"/>
                    </a:xfrm>
                    <a:custGeom>
                      <a:avLst/>
                      <a:gdLst>
                        <a:gd name="connsiteX0" fmla="*/ 4880 w 67379"/>
                        <a:gd name="connsiteY0" fmla="*/ 70041 h 70041"/>
                        <a:gd name="connsiteX1" fmla="*/ 0 w 67379"/>
                        <a:gd name="connsiteY1" fmla="*/ 65161 h 70041"/>
                        <a:gd name="connsiteX2" fmla="*/ 0 w 67379"/>
                        <a:gd name="connsiteY2" fmla="*/ 36117 h 70041"/>
                        <a:gd name="connsiteX3" fmla="*/ 32724 w 67379"/>
                        <a:gd name="connsiteY3" fmla="*/ 7333 h 70041"/>
                        <a:gd name="connsiteX4" fmla="*/ 55688 w 67379"/>
                        <a:gd name="connsiteY4" fmla="*/ 7333 h 70041"/>
                        <a:gd name="connsiteX5" fmla="*/ 57620 w 67379"/>
                        <a:gd name="connsiteY5" fmla="*/ 4854 h 70041"/>
                        <a:gd name="connsiteX6" fmla="*/ 62500 w 67379"/>
                        <a:gd name="connsiteY6" fmla="*/ 0 h 70041"/>
                        <a:gd name="connsiteX7" fmla="*/ 62526 w 67379"/>
                        <a:gd name="connsiteY7" fmla="*/ 0 h 70041"/>
                        <a:gd name="connsiteX8" fmla="*/ 67379 w 67379"/>
                        <a:gd name="connsiteY8" fmla="*/ 4906 h 70041"/>
                        <a:gd name="connsiteX9" fmla="*/ 63857 w 67379"/>
                        <a:gd name="connsiteY9" fmla="*/ 13909 h 70041"/>
                        <a:gd name="connsiteX10" fmla="*/ 55506 w 67379"/>
                        <a:gd name="connsiteY10" fmla="*/ 17093 h 70041"/>
                        <a:gd name="connsiteX11" fmla="*/ 32724 w 67379"/>
                        <a:gd name="connsiteY11" fmla="*/ 17093 h 70041"/>
                        <a:gd name="connsiteX12" fmla="*/ 9760 w 67379"/>
                        <a:gd name="connsiteY12" fmla="*/ 36091 h 70041"/>
                        <a:gd name="connsiteX13" fmla="*/ 9760 w 67379"/>
                        <a:gd name="connsiteY13" fmla="*/ 65135 h 70041"/>
                        <a:gd name="connsiteX14" fmla="*/ 4880 w 67379"/>
                        <a:gd name="connsiteY14" fmla="*/ 70041 h 7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379" h="70041">
                          <a:moveTo>
                            <a:pt x="4880" y="70041"/>
                          </a:moveTo>
                          <a:cubicBezTo>
                            <a:pt x="2192" y="70041"/>
                            <a:pt x="0" y="67849"/>
                            <a:pt x="0" y="65161"/>
                          </a:cubicBezTo>
                          <a:lnTo>
                            <a:pt x="0" y="36117"/>
                          </a:lnTo>
                          <a:cubicBezTo>
                            <a:pt x="0" y="13361"/>
                            <a:pt x="21425" y="7333"/>
                            <a:pt x="32724" y="7333"/>
                          </a:cubicBezTo>
                          <a:lnTo>
                            <a:pt x="55688" y="7333"/>
                          </a:lnTo>
                          <a:cubicBezTo>
                            <a:pt x="57306" y="7307"/>
                            <a:pt x="57594" y="6393"/>
                            <a:pt x="57620" y="4854"/>
                          </a:cubicBezTo>
                          <a:cubicBezTo>
                            <a:pt x="57646" y="2166"/>
                            <a:pt x="59812" y="0"/>
                            <a:pt x="62500" y="0"/>
                          </a:cubicBezTo>
                          <a:cubicBezTo>
                            <a:pt x="62500" y="0"/>
                            <a:pt x="62526" y="0"/>
                            <a:pt x="62526" y="0"/>
                          </a:cubicBezTo>
                          <a:cubicBezTo>
                            <a:pt x="65213" y="26"/>
                            <a:pt x="67406" y="2218"/>
                            <a:pt x="67379" y="4906"/>
                          </a:cubicBezTo>
                          <a:cubicBezTo>
                            <a:pt x="67353" y="9577"/>
                            <a:pt x="65448" y="12369"/>
                            <a:pt x="63857" y="13909"/>
                          </a:cubicBezTo>
                          <a:cubicBezTo>
                            <a:pt x="60516" y="17119"/>
                            <a:pt x="56341" y="17119"/>
                            <a:pt x="55506" y="17093"/>
                          </a:cubicBezTo>
                          <a:lnTo>
                            <a:pt x="32724" y="17093"/>
                          </a:lnTo>
                          <a:cubicBezTo>
                            <a:pt x="30376" y="17093"/>
                            <a:pt x="9760" y="17745"/>
                            <a:pt x="9760" y="36091"/>
                          </a:cubicBezTo>
                          <a:lnTo>
                            <a:pt x="9760" y="65135"/>
                          </a:lnTo>
                          <a:cubicBezTo>
                            <a:pt x="9760" y="67849"/>
                            <a:pt x="7594" y="70041"/>
                            <a:pt x="4880" y="70041"/>
                          </a:cubicBezTo>
                          <a:close/>
                        </a:path>
                      </a:pathLst>
                    </a:custGeom>
                    <a:grpFill/>
                    <a:ln w="2603" cap="flat">
                      <a:noFill/>
                      <a:prstDash val="solid"/>
                      <a:miter/>
                    </a:ln>
                  </p:spPr>
                  <p:txBody>
                    <a:bodyPr rtlCol="0" anchor="ctr"/>
                    <a:lstStyle/>
                    <a:p>
                      <a:endParaRPr lang="en-GB" dirty="0"/>
                    </a:p>
                  </p:txBody>
                </p:sp>
              </p:grpSp>
              <p:sp>
                <p:nvSpPr>
                  <p:cNvPr id="464" name="Freihandform: Form 331">
                    <a:extLst>
                      <a:ext uri="{FF2B5EF4-FFF2-40B4-BE49-F238E27FC236}">
                        <a16:creationId xmlns:a16="http://schemas.microsoft.com/office/drawing/2014/main" id="{E73BADED-1A1F-4CDC-A637-754C93095D69}"/>
                      </a:ext>
                    </a:extLst>
                  </p:cNvPr>
                  <p:cNvSpPr/>
                  <p:nvPr/>
                </p:nvSpPr>
                <p:spPr>
                  <a:xfrm>
                    <a:off x="1182537" y="1799538"/>
                    <a:ext cx="87969" cy="98407"/>
                  </a:xfrm>
                  <a:custGeom>
                    <a:avLst/>
                    <a:gdLst>
                      <a:gd name="connsiteX0" fmla="*/ 43998 w 87969"/>
                      <a:gd name="connsiteY0" fmla="*/ 98407 h 98407"/>
                      <a:gd name="connsiteX1" fmla="*/ 0 w 87969"/>
                      <a:gd name="connsiteY1" fmla="*/ 49191 h 98407"/>
                      <a:gd name="connsiteX2" fmla="*/ 43998 w 87969"/>
                      <a:gd name="connsiteY2" fmla="*/ 0 h 98407"/>
                      <a:gd name="connsiteX3" fmla="*/ 87969 w 87969"/>
                      <a:gd name="connsiteY3" fmla="*/ 49191 h 98407"/>
                      <a:gd name="connsiteX4" fmla="*/ 43998 w 87969"/>
                      <a:gd name="connsiteY4" fmla="*/ 98407 h 98407"/>
                      <a:gd name="connsiteX5" fmla="*/ 43998 w 87969"/>
                      <a:gd name="connsiteY5" fmla="*/ 9786 h 98407"/>
                      <a:gd name="connsiteX6" fmla="*/ 9786 w 87969"/>
                      <a:gd name="connsiteY6" fmla="*/ 49217 h 98407"/>
                      <a:gd name="connsiteX7" fmla="*/ 43998 w 87969"/>
                      <a:gd name="connsiteY7" fmla="*/ 88648 h 98407"/>
                      <a:gd name="connsiteX8" fmla="*/ 78183 w 87969"/>
                      <a:gd name="connsiteY8" fmla="*/ 49217 h 98407"/>
                      <a:gd name="connsiteX9" fmla="*/ 43998 w 87969"/>
                      <a:gd name="connsiteY9" fmla="*/ 9786 h 9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969" h="98407">
                        <a:moveTo>
                          <a:pt x="43998" y="98407"/>
                        </a:moveTo>
                        <a:cubicBezTo>
                          <a:pt x="19755" y="98407"/>
                          <a:pt x="0" y="76330"/>
                          <a:pt x="0" y="49191"/>
                        </a:cubicBezTo>
                        <a:cubicBezTo>
                          <a:pt x="0" y="22077"/>
                          <a:pt x="19728" y="0"/>
                          <a:pt x="43998" y="0"/>
                        </a:cubicBezTo>
                        <a:cubicBezTo>
                          <a:pt x="68241" y="0"/>
                          <a:pt x="87969" y="22077"/>
                          <a:pt x="87969" y="49191"/>
                        </a:cubicBezTo>
                        <a:cubicBezTo>
                          <a:pt x="87969" y="76330"/>
                          <a:pt x="68267" y="98407"/>
                          <a:pt x="43998" y="98407"/>
                        </a:cubicBezTo>
                        <a:close/>
                        <a:moveTo>
                          <a:pt x="43998" y="9786"/>
                        </a:moveTo>
                        <a:cubicBezTo>
                          <a:pt x="25130" y="9786"/>
                          <a:pt x="9786" y="27479"/>
                          <a:pt x="9786" y="49217"/>
                        </a:cubicBezTo>
                        <a:cubicBezTo>
                          <a:pt x="9786" y="70955"/>
                          <a:pt x="25130" y="88648"/>
                          <a:pt x="43998" y="88648"/>
                        </a:cubicBezTo>
                        <a:cubicBezTo>
                          <a:pt x="62865" y="88648"/>
                          <a:pt x="78183" y="70955"/>
                          <a:pt x="78183" y="49217"/>
                        </a:cubicBezTo>
                        <a:cubicBezTo>
                          <a:pt x="78209" y="27453"/>
                          <a:pt x="62865" y="9786"/>
                          <a:pt x="43998" y="9786"/>
                        </a:cubicBezTo>
                        <a:close/>
                      </a:path>
                    </a:pathLst>
                  </a:custGeom>
                  <a:grpFill/>
                  <a:ln w="2603" cap="flat">
                    <a:noFill/>
                    <a:prstDash val="solid"/>
                    <a:miter/>
                  </a:ln>
                </p:spPr>
                <p:txBody>
                  <a:bodyPr rtlCol="0" anchor="ctr"/>
                  <a:lstStyle/>
                  <a:p>
                    <a:endParaRPr lang="en-GB" dirty="0"/>
                  </a:p>
                </p:txBody>
              </p:sp>
            </p:grpSp>
          </p:grpSp>
          <p:sp>
            <p:nvSpPr>
              <p:cNvPr id="459" name="Freihandform: Form 332">
                <a:extLst>
                  <a:ext uri="{FF2B5EF4-FFF2-40B4-BE49-F238E27FC236}">
                    <a16:creationId xmlns:a16="http://schemas.microsoft.com/office/drawing/2014/main" id="{A24E792F-8FC4-4DD0-A900-B4DAE327E3C0}"/>
                  </a:ext>
                </a:extLst>
              </p:cNvPr>
              <p:cNvSpPr/>
              <p:nvPr/>
            </p:nvSpPr>
            <p:spPr>
              <a:xfrm>
                <a:off x="1156691" y="1996964"/>
                <a:ext cx="211779" cy="167784"/>
              </a:xfrm>
              <a:custGeom>
                <a:avLst/>
                <a:gdLst>
                  <a:gd name="connsiteX0" fmla="*/ 39755 w 211779"/>
                  <a:gd name="connsiteY0" fmla="*/ 167785 h 167784"/>
                  <a:gd name="connsiteX1" fmla="*/ 34902 w 211779"/>
                  <a:gd name="connsiteY1" fmla="*/ 163479 h 167784"/>
                  <a:gd name="connsiteX2" fmla="*/ 39181 w 211779"/>
                  <a:gd name="connsiteY2" fmla="*/ 158051 h 167784"/>
                  <a:gd name="connsiteX3" fmla="*/ 201993 w 211779"/>
                  <a:gd name="connsiteY3" fmla="*/ 85478 h 167784"/>
                  <a:gd name="connsiteX4" fmla="*/ 4552 w 211779"/>
                  <a:gd name="connsiteY4" fmla="*/ 9748 h 167784"/>
                  <a:gd name="connsiteX5" fmla="*/ 11 w 211779"/>
                  <a:gd name="connsiteY5" fmla="*/ 4555 h 167784"/>
                  <a:gd name="connsiteX6" fmla="*/ 5204 w 211779"/>
                  <a:gd name="connsiteY6" fmla="*/ 15 h 167784"/>
                  <a:gd name="connsiteX7" fmla="*/ 211779 w 211779"/>
                  <a:gd name="connsiteY7" fmla="*/ 85505 h 167784"/>
                  <a:gd name="connsiteX8" fmla="*/ 40329 w 211779"/>
                  <a:gd name="connsiteY8" fmla="*/ 167785 h 167784"/>
                  <a:gd name="connsiteX9" fmla="*/ 39755 w 211779"/>
                  <a:gd name="connsiteY9" fmla="*/ 167785 h 167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779" h="167784">
                    <a:moveTo>
                      <a:pt x="39755" y="167785"/>
                    </a:moveTo>
                    <a:cubicBezTo>
                      <a:pt x="37302" y="167785"/>
                      <a:pt x="35215" y="165958"/>
                      <a:pt x="34902" y="163479"/>
                    </a:cubicBezTo>
                    <a:cubicBezTo>
                      <a:pt x="34588" y="160791"/>
                      <a:pt x="36493" y="158364"/>
                      <a:pt x="39181" y="158051"/>
                    </a:cubicBezTo>
                    <a:cubicBezTo>
                      <a:pt x="135057" y="146804"/>
                      <a:pt x="201993" y="116950"/>
                      <a:pt x="201993" y="85478"/>
                    </a:cubicBezTo>
                    <a:cubicBezTo>
                      <a:pt x="201993" y="49779"/>
                      <a:pt x="117103" y="17238"/>
                      <a:pt x="4552" y="9748"/>
                    </a:cubicBezTo>
                    <a:cubicBezTo>
                      <a:pt x="1864" y="9566"/>
                      <a:pt x="-171" y="7243"/>
                      <a:pt x="11" y="4555"/>
                    </a:cubicBezTo>
                    <a:cubicBezTo>
                      <a:pt x="194" y="1867"/>
                      <a:pt x="2543" y="-194"/>
                      <a:pt x="5204" y="15"/>
                    </a:cubicBezTo>
                    <a:cubicBezTo>
                      <a:pt x="104708" y="6643"/>
                      <a:pt x="211779" y="36210"/>
                      <a:pt x="211779" y="85505"/>
                    </a:cubicBezTo>
                    <a:cubicBezTo>
                      <a:pt x="211779" y="123265"/>
                      <a:pt x="144478" y="155572"/>
                      <a:pt x="40329" y="167785"/>
                    </a:cubicBezTo>
                    <a:cubicBezTo>
                      <a:pt x="40121" y="167785"/>
                      <a:pt x="39938" y="167785"/>
                      <a:pt x="39755" y="167785"/>
                    </a:cubicBezTo>
                    <a:close/>
                  </a:path>
                </a:pathLst>
              </a:custGeom>
              <a:grpFill/>
              <a:ln w="2603" cap="flat">
                <a:noFill/>
                <a:prstDash val="solid"/>
                <a:miter/>
              </a:ln>
            </p:spPr>
            <p:txBody>
              <a:bodyPr rtlCol="0" anchor="ctr"/>
              <a:lstStyle/>
              <a:p>
                <a:endParaRPr lang="en-GB" dirty="0"/>
              </a:p>
            </p:txBody>
          </p:sp>
          <p:sp>
            <p:nvSpPr>
              <p:cNvPr id="460" name="Freihandform: Form 333">
                <a:extLst>
                  <a:ext uri="{FF2B5EF4-FFF2-40B4-BE49-F238E27FC236}">
                    <a16:creationId xmlns:a16="http://schemas.microsoft.com/office/drawing/2014/main" id="{69AF0A60-AE73-4C64-AAF7-1183A66C9CCA}"/>
                  </a:ext>
                </a:extLst>
              </p:cNvPr>
              <p:cNvSpPr/>
              <p:nvPr/>
            </p:nvSpPr>
            <p:spPr>
              <a:xfrm>
                <a:off x="852686" y="1997199"/>
                <a:ext cx="208177" cy="167419"/>
              </a:xfrm>
              <a:custGeom>
                <a:avLst/>
                <a:gdLst>
                  <a:gd name="connsiteX0" fmla="*/ 170928 w 208177"/>
                  <a:gd name="connsiteY0" fmla="*/ 167419 h 167419"/>
                  <a:gd name="connsiteX1" fmla="*/ 170354 w 208177"/>
                  <a:gd name="connsiteY1" fmla="*/ 167393 h 167419"/>
                  <a:gd name="connsiteX2" fmla="*/ 0 w 208177"/>
                  <a:gd name="connsiteY2" fmla="*/ 85244 h 167419"/>
                  <a:gd name="connsiteX3" fmla="*/ 202947 w 208177"/>
                  <a:gd name="connsiteY3" fmla="*/ 15 h 167419"/>
                  <a:gd name="connsiteX4" fmla="*/ 208166 w 208177"/>
                  <a:gd name="connsiteY4" fmla="*/ 4529 h 167419"/>
                  <a:gd name="connsiteX5" fmla="*/ 203652 w 208177"/>
                  <a:gd name="connsiteY5" fmla="*/ 9748 h 167419"/>
                  <a:gd name="connsiteX6" fmla="*/ 9786 w 208177"/>
                  <a:gd name="connsiteY6" fmla="*/ 85244 h 167419"/>
                  <a:gd name="connsiteX7" fmla="*/ 171528 w 208177"/>
                  <a:gd name="connsiteY7" fmla="*/ 157686 h 167419"/>
                  <a:gd name="connsiteX8" fmla="*/ 175808 w 208177"/>
                  <a:gd name="connsiteY8" fmla="*/ 163114 h 167419"/>
                  <a:gd name="connsiteX9" fmla="*/ 170928 w 208177"/>
                  <a:gd name="connsiteY9" fmla="*/ 167419 h 167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177" h="167419">
                    <a:moveTo>
                      <a:pt x="170928" y="167419"/>
                    </a:moveTo>
                    <a:cubicBezTo>
                      <a:pt x="170745" y="167419"/>
                      <a:pt x="170536" y="167419"/>
                      <a:pt x="170354" y="167393"/>
                    </a:cubicBezTo>
                    <a:cubicBezTo>
                      <a:pt x="66884" y="155076"/>
                      <a:pt x="0" y="122822"/>
                      <a:pt x="0" y="85244"/>
                    </a:cubicBezTo>
                    <a:cubicBezTo>
                      <a:pt x="0" y="43595"/>
                      <a:pt x="83454" y="8548"/>
                      <a:pt x="202947" y="15"/>
                    </a:cubicBezTo>
                    <a:cubicBezTo>
                      <a:pt x="205687" y="-194"/>
                      <a:pt x="207984" y="1841"/>
                      <a:pt x="208166" y="4529"/>
                    </a:cubicBezTo>
                    <a:cubicBezTo>
                      <a:pt x="208349" y="7217"/>
                      <a:pt x="206340" y="9566"/>
                      <a:pt x="203652" y="9748"/>
                    </a:cubicBezTo>
                    <a:cubicBezTo>
                      <a:pt x="93136" y="17655"/>
                      <a:pt x="9786" y="50119"/>
                      <a:pt x="9786" y="85244"/>
                    </a:cubicBezTo>
                    <a:cubicBezTo>
                      <a:pt x="9786" y="116559"/>
                      <a:pt x="76304" y="146360"/>
                      <a:pt x="171528" y="157686"/>
                    </a:cubicBezTo>
                    <a:cubicBezTo>
                      <a:pt x="174216" y="157999"/>
                      <a:pt x="176121" y="160426"/>
                      <a:pt x="175808" y="163114"/>
                    </a:cubicBezTo>
                    <a:cubicBezTo>
                      <a:pt x="175468" y="165593"/>
                      <a:pt x="173355" y="167419"/>
                      <a:pt x="170928" y="167419"/>
                    </a:cubicBezTo>
                    <a:close/>
                  </a:path>
                </a:pathLst>
              </a:custGeom>
              <a:grpFill/>
              <a:ln w="2603" cap="flat">
                <a:noFill/>
                <a:prstDash val="solid"/>
                <a:miter/>
              </a:ln>
            </p:spPr>
            <p:txBody>
              <a:bodyPr rtlCol="0" anchor="ctr"/>
              <a:lstStyle/>
              <a:p>
                <a:endParaRPr lang="en-GB" dirty="0"/>
              </a:p>
            </p:txBody>
          </p:sp>
        </p:grpSp>
        <p:grpSp>
          <p:nvGrpSpPr>
            <p:cNvPr id="451" name="Grafik 10">
              <a:extLst>
                <a:ext uri="{FF2B5EF4-FFF2-40B4-BE49-F238E27FC236}">
                  <a16:creationId xmlns:a16="http://schemas.microsoft.com/office/drawing/2014/main" id="{7F23C4C3-A83C-436B-AAAF-3F2489392BA2}"/>
                </a:ext>
              </a:extLst>
            </p:cNvPr>
            <p:cNvGrpSpPr/>
            <p:nvPr/>
          </p:nvGrpSpPr>
          <p:grpSpPr>
            <a:xfrm>
              <a:off x="6157889" y="3349617"/>
              <a:ext cx="196188" cy="279452"/>
              <a:chOff x="1015244" y="1947788"/>
              <a:chExt cx="190661" cy="271579"/>
            </a:xfrm>
            <a:solidFill>
              <a:schemeClr val="accent1"/>
            </a:solidFill>
          </p:grpSpPr>
          <p:sp>
            <p:nvSpPr>
              <p:cNvPr id="452" name="Freihandform: Form 335">
                <a:extLst>
                  <a:ext uri="{FF2B5EF4-FFF2-40B4-BE49-F238E27FC236}">
                    <a16:creationId xmlns:a16="http://schemas.microsoft.com/office/drawing/2014/main" id="{EB62F42F-6B3C-4D60-B915-268714511894}"/>
                  </a:ext>
                </a:extLst>
              </p:cNvPr>
              <p:cNvSpPr/>
              <p:nvPr/>
            </p:nvSpPr>
            <p:spPr>
              <a:xfrm>
                <a:off x="1015244" y="2084363"/>
                <a:ext cx="74280" cy="134613"/>
              </a:xfrm>
              <a:custGeom>
                <a:avLst/>
                <a:gdLst>
                  <a:gd name="connsiteX0" fmla="*/ 4899 w 74280"/>
                  <a:gd name="connsiteY0" fmla="*/ 134613 h 134613"/>
                  <a:gd name="connsiteX1" fmla="*/ 4455 w 74280"/>
                  <a:gd name="connsiteY1" fmla="*/ 134587 h 134613"/>
                  <a:gd name="connsiteX2" fmla="*/ 19 w 74280"/>
                  <a:gd name="connsiteY2" fmla="*/ 129290 h 134613"/>
                  <a:gd name="connsiteX3" fmla="*/ 8265 w 74280"/>
                  <a:gd name="connsiteY3" fmla="*/ 38007 h 134613"/>
                  <a:gd name="connsiteX4" fmla="*/ 19565 w 74280"/>
                  <a:gd name="connsiteY4" fmla="*/ 23863 h 134613"/>
                  <a:gd name="connsiteX5" fmla="*/ 63641 w 74280"/>
                  <a:gd name="connsiteY5" fmla="*/ 9641 h 134613"/>
                  <a:gd name="connsiteX6" fmla="*/ 64632 w 74280"/>
                  <a:gd name="connsiteY6" fmla="*/ 3795 h 134613"/>
                  <a:gd name="connsiteX7" fmla="*/ 70478 w 74280"/>
                  <a:gd name="connsiteY7" fmla="*/ 116 h 134613"/>
                  <a:gd name="connsiteX8" fmla="*/ 74157 w 74280"/>
                  <a:gd name="connsiteY8" fmla="*/ 5961 h 134613"/>
                  <a:gd name="connsiteX9" fmla="*/ 73061 w 74280"/>
                  <a:gd name="connsiteY9" fmla="*/ 13607 h 134613"/>
                  <a:gd name="connsiteX10" fmla="*/ 69695 w 74280"/>
                  <a:gd name="connsiteY10" fmla="*/ 17913 h 134613"/>
                  <a:gd name="connsiteX11" fmla="*/ 22566 w 74280"/>
                  <a:gd name="connsiteY11" fmla="*/ 33127 h 134613"/>
                  <a:gd name="connsiteX12" fmla="*/ 17999 w 74280"/>
                  <a:gd name="connsiteY12" fmla="*/ 38842 h 134613"/>
                  <a:gd name="connsiteX13" fmla="*/ 9753 w 74280"/>
                  <a:gd name="connsiteY13" fmla="*/ 130125 h 134613"/>
                  <a:gd name="connsiteX14" fmla="*/ 4899 w 74280"/>
                  <a:gd name="connsiteY14" fmla="*/ 134613 h 134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80" h="134613">
                    <a:moveTo>
                      <a:pt x="4899" y="134613"/>
                    </a:moveTo>
                    <a:cubicBezTo>
                      <a:pt x="4742" y="134613"/>
                      <a:pt x="4612" y="134613"/>
                      <a:pt x="4455" y="134587"/>
                    </a:cubicBezTo>
                    <a:cubicBezTo>
                      <a:pt x="1767" y="134353"/>
                      <a:pt x="-216" y="131978"/>
                      <a:pt x="19" y="129290"/>
                    </a:cubicBezTo>
                    <a:lnTo>
                      <a:pt x="8265" y="38007"/>
                    </a:lnTo>
                    <a:cubicBezTo>
                      <a:pt x="8865" y="31431"/>
                      <a:pt x="13302" y="25898"/>
                      <a:pt x="19565" y="23863"/>
                    </a:cubicBezTo>
                    <a:lnTo>
                      <a:pt x="63641" y="9641"/>
                    </a:lnTo>
                    <a:cubicBezTo>
                      <a:pt x="63875" y="7579"/>
                      <a:pt x="64215" y="5622"/>
                      <a:pt x="64632" y="3795"/>
                    </a:cubicBezTo>
                    <a:cubicBezTo>
                      <a:pt x="65232" y="1159"/>
                      <a:pt x="67868" y="-459"/>
                      <a:pt x="70478" y="116"/>
                    </a:cubicBezTo>
                    <a:cubicBezTo>
                      <a:pt x="73113" y="716"/>
                      <a:pt x="74757" y="3351"/>
                      <a:pt x="74157" y="5961"/>
                    </a:cubicBezTo>
                    <a:cubicBezTo>
                      <a:pt x="73635" y="8257"/>
                      <a:pt x="73270" y="10841"/>
                      <a:pt x="73061" y="13607"/>
                    </a:cubicBezTo>
                    <a:cubicBezTo>
                      <a:pt x="72931" y="15590"/>
                      <a:pt x="71600" y="17287"/>
                      <a:pt x="69695" y="17913"/>
                    </a:cubicBezTo>
                    <a:lnTo>
                      <a:pt x="22566" y="33127"/>
                    </a:lnTo>
                    <a:cubicBezTo>
                      <a:pt x="20034" y="33936"/>
                      <a:pt x="18234" y="36180"/>
                      <a:pt x="17999" y="38842"/>
                    </a:cubicBezTo>
                    <a:lnTo>
                      <a:pt x="9753" y="130125"/>
                    </a:lnTo>
                    <a:cubicBezTo>
                      <a:pt x="9544" y="132709"/>
                      <a:pt x="7404" y="134613"/>
                      <a:pt x="4899" y="134613"/>
                    </a:cubicBezTo>
                    <a:close/>
                  </a:path>
                </a:pathLst>
              </a:custGeom>
              <a:solidFill>
                <a:schemeClr val="accent1"/>
              </a:solidFill>
              <a:ln w="2603" cap="flat">
                <a:noFill/>
                <a:prstDash val="solid"/>
                <a:miter/>
              </a:ln>
            </p:spPr>
            <p:txBody>
              <a:bodyPr rtlCol="0" anchor="ctr"/>
              <a:lstStyle/>
              <a:p>
                <a:endParaRPr lang="en-GB" dirty="0"/>
              </a:p>
            </p:txBody>
          </p:sp>
          <p:sp>
            <p:nvSpPr>
              <p:cNvPr id="453" name="Freihandform: Form 336">
                <a:extLst>
                  <a:ext uri="{FF2B5EF4-FFF2-40B4-BE49-F238E27FC236}">
                    <a16:creationId xmlns:a16="http://schemas.microsoft.com/office/drawing/2014/main" id="{47F2837A-A1BB-4667-9501-DD6F2E0BA654}"/>
                  </a:ext>
                </a:extLst>
              </p:cNvPr>
              <p:cNvSpPr/>
              <p:nvPr/>
            </p:nvSpPr>
            <p:spPr>
              <a:xfrm>
                <a:off x="1126584" y="2085727"/>
                <a:ext cx="79322" cy="133640"/>
              </a:xfrm>
              <a:custGeom>
                <a:avLst/>
                <a:gdLst>
                  <a:gd name="connsiteX0" fmla="*/ 74403 w 79322"/>
                  <a:gd name="connsiteY0" fmla="*/ 133641 h 133640"/>
                  <a:gd name="connsiteX1" fmla="*/ 69576 w 79322"/>
                  <a:gd name="connsiteY1" fmla="*/ 129361 h 133640"/>
                  <a:gd name="connsiteX2" fmla="*/ 58250 w 79322"/>
                  <a:gd name="connsiteY2" fmla="*/ 37686 h 133640"/>
                  <a:gd name="connsiteX3" fmla="*/ 53422 w 79322"/>
                  <a:gd name="connsiteY3" fmla="*/ 31867 h 133640"/>
                  <a:gd name="connsiteX4" fmla="*/ 5797 w 79322"/>
                  <a:gd name="connsiteY4" fmla="*/ 16758 h 133640"/>
                  <a:gd name="connsiteX5" fmla="*/ 2614 w 79322"/>
                  <a:gd name="connsiteY5" fmla="*/ 13469 h 133640"/>
                  <a:gd name="connsiteX6" fmla="*/ 735 w 79322"/>
                  <a:gd name="connsiteY6" fmla="*/ 7781 h 133640"/>
                  <a:gd name="connsiteX7" fmla="*/ 291 w 79322"/>
                  <a:gd name="connsiteY7" fmla="*/ 6554 h 133640"/>
                  <a:gd name="connsiteX8" fmla="*/ 3240 w 79322"/>
                  <a:gd name="connsiteY8" fmla="*/ 291 h 133640"/>
                  <a:gd name="connsiteX9" fmla="*/ 9503 w 79322"/>
                  <a:gd name="connsiteY9" fmla="*/ 3240 h 133640"/>
                  <a:gd name="connsiteX10" fmla="*/ 9920 w 79322"/>
                  <a:gd name="connsiteY10" fmla="*/ 4414 h 133640"/>
                  <a:gd name="connsiteX11" fmla="*/ 11225 w 79322"/>
                  <a:gd name="connsiteY11" fmla="*/ 8224 h 133640"/>
                  <a:gd name="connsiteX12" fmla="*/ 56371 w 79322"/>
                  <a:gd name="connsiteY12" fmla="*/ 22525 h 133640"/>
                  <a:gd name="connsiteX13" fmla="*/ 67958 w 79322"/>
                  <a:gd name="connsiteY13" fmla="*/ 36460 h 133640"/>
                  <a:gd name="connsiteX14" fmla="*/ 79283 w 79322"/>
                  <a:gd name="connsiteY14" fmla="*/ 128135 h 133640"/>
                  <a:gd name="connsiteX15" fmla="*/ 75030 w 79322"/>
                  <a:gd name="connsiteY15" fmla="*/ 133589 h 133640"/>
                  <a:gd name="connsiteX16" fmla="*/ 74403 w 79322"/>
                  <a:gd name="connsiteY16" fmla="*/ 133641 h 133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322" h="133640">
                    <a:moveTo>
                      <a:pt x="74403" y="133641"/>
                    </a:moveTo>
                    <a:cubicBezTo>
                      <a:pt x="71976" y="133641"/>
                      <a:pt x="69863" y="131840"/>
                      <a:pt x="69576" y="129361"/>
                    </a:cubicBezTo>
                    <a:lnTo>
                      <a:pt x="58250" y="37686"/>
                    </a:lnTo>
                    <a:cubicBezTo>
                      <a:pt x="57911" y="34972"/>
                      <a:pt x="56006" y="32702"/>
                      <a:pt x="53422" y="31867"/>
                    </a:cubicBezTo>
                    <a:cubicBezTo>
                      <a:pt x="40244" y="27718"/>
                      <a:pt x="13130" y="19132"/>
                      <a:pt x="5797" y="16758"/>
                    </a:cubicBezTo>
                    <a:cubicBezTo>
                      <a:pt x="4258" y="16262"/>
                      <a:pt x="3057" y="15035"/>
                      <a:pt x="2614" y="13469"/>
                    </a:cubicBezTo>
                    <a:cubicBezTo>
                      <a:pt x="1779" y="10573"/>
                      <a:pt x="1361" y="9477"/>
                      <a:pt x="735" y="7781"/>
                    </a:cubicBezTo>
                    <a:lnTo>
                      <a:pt x="291" y="6554"/>
                    </a:lnTo>
                    <a:cubicBezTo>
                      <a:pt x="-622" y="4023"/>
                      <a:pt x="683" y="1231"/>
                      <a:pt x="3240" y="291"/>
                    </a:cubicBezTo>
                    <a:cubicBezTo>
                      <a:pt x="5771" y="-622"/>
                      <a:pt x="8563" y="683"/>
                      <a:pt x="9503" y="3240"/>
                    </a:cubicBezTo>
                    <a:lnTo>
                      <a:pt x="9920" y="4414"/>
                    </a:lnTo>
                    <a:cubicBezTo>
                      <a:pt x="10390" y="5719"/>
                      <a:pt x="10756" y="6711"/>
                      <a:pt x="11225" y="8224"/>
                    </a:cubicBezTo>
                    <a:cubicBezTo>
                      <a:pt x="20881" y="11304"/>
                      <a:pt x="44393" y="18741"/>
                      <a:pt x="56371" y="22525"/>
                    </a:cubicBezTo>
                    <a:cubicBezTo>
                      <a:pt x="62608" y="24508"/>
                      <a:pt x="67149" y="29962"/>
                      <a:pt x="67958" y="36460"/>
                    </a:cubicBezTo>
                    <a:lnTo>
                      <a:pt x="79283" y="128135"/>
                    </a:lnTo>
                    <a:cubicBezTo>
                      <a:pt x="79622" y="130822"/>
                      <a:pt x="77717" y="133249"/>
                      <a:pt x="75030" y="133589"/>
                    </a:cubicBezTo>
                    <a:cubicBezTo>
                      <a:pt x="74821" y="133615"/>
                      <a:pt x="74612" y="133641"/>
                      <a:pt x="74403" y="133641"/>
                    </a:cubicBezTo>
                    <a:close/>
                  </a:path>
                </a:pathLst>
              </a:custGeom>
              <a:solidFill>
                <a:schemeClr val="accent1"/>
              </a:solidFill>
              <a:ln w="2603" cap="flat">
                <a:noFill/>
                <a:prstDash val="solid"/>
                <a:miter/>
              </a:ln>
            </p:spPr>
            <p:txBody>
              <a:bodyPr rtlCol="0" anchor="ctr"/>
              <a:lstStyle/>
              <a:p>
                <a:endParaRPr lang="en-GB" dirty="0"/>
              </a:p>
            </p:txBody>
          </p:sp>
          <p:grpSp>
            <p:nvGrpSpPr>
              <p:cNvPr id="454" name="Grafik 10">
                <a:extLst>
                  <a:ext uri="{FF2B5EF4-FFF2-40B4-BE49-F238E27FC236}">
                    <a16:creationId xmlns:a16="http://schemas.microsoft.com/office/drawing/2014/main" id="{AE37E608-2EF5-4D14-A72A-C278F1E00405}"/>
                  </a:ext>
                </a:extLst>
              </p:cNvPr>
              <p:cNvGrpSpPr/>
              <p:nvPr/>
            </p:nvGrpSpPr>
            <p:grpSpPr>
              <a:xfrm>
                <a:off x="1052763" y="2192906"/>
                <a:ext cx="114039" cy="26226"/>
                <a:chOff x="1052763" y="2192906"/>
                <a:chExt cx="114039" cy="26226"/>
              </a:xfrm>
              <a:solidFill>
                <a:schemeClr val="accent1"/>
              </a:solidFill>
            </p:grpSpPr>
            <p:sp>
              <p:nvSpPr>
                <p:cNvPr id="456" name="Freihandform: Form 338">
                  <a:extLst>
                    <a:ext uri="{FF2B5EF4-FFF2-40B4-BE49-F238E27FC236}">
                      <a16:creationId xmlns:a16="http://schemas.microsoft.com/office/drawing/2014/main" id="{8A8A659C-F6B1-4C5D-9978-39AF00754968}"/>
                    </a:ext>
                  </a:extLst>
                </p:cNvPr>
                <p:cNvSpPr/>
                <p:nvPr/>
              </p:nvSpPr>
              <p:spPr>
                <a:xfrm>
                  <a:off x="1052763" y="2192906"/>
                  <a:ext cx="9759" cy="26226"/>
                </a:xfrm>
                <a:custGeom>
                  <a:avLst/>
                  <a:gdLst>
                    <a:gd name="connsiteX0" fmla="*/ 4880 w 9759"/>
                    <a:gd name="connsiteY0" fmla="*/ 26226 h 26226"/>
                    <a:gd name="connsiteX1" fmla="*/ 0 w 9759"/>
                    <a:gd name="connsiteY1" fmla="*/ 21346 h 26226"/>
                    <a:gd name="connsiteX2" fmla="*/ 0 w 9759"/>
                    <a:gd name="connsiteY2" fmla="*/ 4880 h 26226"/>
                    <a:gd name="connsiteX3" fmla="*/ 4880 w 9759"/>
                    <a:gd name="connsiteY3" fmla="*/ 0 h 26226"/>
                    <a:gd name="connsiteX4" fmla="*/ 9760 w 9759"/>
                    <a:gd name="connsiteY4" fmla="*/ 4880 h 26226"/>
                    <a:gd name="connsiteX5" fmla="*/ 9760 w 9759"/>
                    <a:gd name="connsiteY5" fmla="*/ 21346 h 26226"/>
                    <a:gd name="connsiteX6" fmla="*/ 4880 w 9759"/>
                    <a:gd name="connsiteY6" fmla="*/ 26226 h 2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59" h="26226">
                      <a:moveTo>
                        <a:pt x="4880" y="26226"/>
                      </a:moveTo>
                      <a:cubicBezTo>
                        <a:pt x="2192" y="26226"/>
                        <a:pt x="0" y="24034"/>
                        <a:pt x="0" y="21346"/>
                      </a:cubicBezTo>
                      <a:lnTo>
                        <a:pt x="0" y="4880"/>
                      </a:lnTo>
                      <a:cubicBezTo>
                        <a:pt x="0" y="2192"/>
                        <a:pt x="2192" y="0"/>
                        <a:pt x="4880" y="0"/>
                      </a:cubicBezTo>
                      <a:cubicBezTo>
                        <a:pt x="7568" y="0"/>
                        <a:pt x="9760" y="2192"/>
                        <a:pt x="9760" y="4880"/>
                      </a:cubicBezTo>
                      <a:lnTo>
                        <a:pt x="9760" y="21346"/>
                      </a:lnTo>
                      <a:cubicBezTo>
                        <a:pt x="9760" y="24034"/>
                        <a:pt x="7568" y="26226"/>
                        <a:pt x="4880" y="26226"/>
                      </a:cubicBezTo>
                      <a:close/>
                    </a:path>
                  </a:pathLst>
                </a:custGeom>
                <a:solidFill>
                  <a:schemeClr val="accent1"/>
                </a:solidFill>
                <a:ln w="2603" cap="flat">
                  <a:noFill/>
                  <a:prstDash val="solid"/>
                  <a:miter/>
                </a:ln>
              </p:spPr>
              <p:txBody>
                <a:bodyPr rtlCol="0" anchor="ctr"/>
                <a:lstStyle/>
                <a:p>
                  <a:endParaRPr lang="en-GB" dirty="0"/>
                </a:p>
              </p:txBody>
            </p:sp>
            <p:sp>
              <p:nvSpPr>
                <p:cNvPr id="457" name="Freihandform: Form 339">
                  <a:extLst>
                    <a:ext uri="{FF2B5EF4-FFF2-40B4-BE49-F238E27FC236}">
                      <a16:creationId xmlns:a16="http://schemas.microsoft.com/office/drawing/2014/main" id="{731864B1-6E3D-4631-A916-FED93DBB20E0}"/>
                    </a:ext>
                  </a:extLst>
                </p:cNvPr>
                <p:cNvSpPr/>
                <p:nvPr/>
              </p:nvSpPr>
              <p:spPr>
                <a:xfrm>
                  <a:off x="1157042" y="2192906"/>
                  <a:ext cx="9760" cy="26226"/>
                </a:xfrm>
                <a:custGeom>
                  <a:avLst/>
                  <a:gdLst>
                    <a:gd name="connsiteX0" fmla="*/ 4880 w 9760"/>
                    <a:gd name="connsiteY0" fmla="*/ 26226 h 26226"/>
                    <a:gd name="connsiteX1" fmla="*/ 0 w 9760"/>
                    <a:gd name="connsiteY1" fmla="*/ 21346 h 26226"/>
                    <a:gd name="connsiteX2" fmla="*/ 0 w 9760"/>
                    <a:gd name="connsiteY2" fmla="*/ 4880 h 26226"/>
                    <a:gd name="connsiteX3" fmla="*/ 4880 w 9760"/>
                    <a:gd name="connsiteY3" fmla="*/ 0 h 26226"/>
                    <a:gd name="connsiteX4" fmla="*/ 9760 w 9760"/>
                    <a:gd name="connsiteY4" fmla="*/ 4880 h 26226"/>
                    <a:gd name="connsiteX5" fmla="*/ 9760 w 9760"/>
                    <a:gd name="connsiteY5" fmla="*/ 21346 h 26226"/>
                    <a:gd name="connsiteX6" fmla="*/ 4880 w 9760"/>
                    <a:gd name="connsiteY6" fmla="*/ 26226 h 2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0" h="26226">
                      <a:moveTo>
                        <a:pt x="4880" y="26226"/>
                      </a:moveTo>
                      <a:cubicBezTo>
                        <a:pt x="2192" y="26226"/>
                        <a:pt x="0" y="24034"/>
                        <a:pt x="0" y="21346"/>
                      </a:cubicBezTo>
                      <a:lnTo>
                        <a:pt x="0" y="4880"/>
                      </a:lnTo>
                      <a:cubicBezTo>
                        <a:pt x="0" y="2192"/>
                        <a:pt x="2192" y="0"/>
                        <a:pt x="4880" y="0"/>
                      </a:cubicBezTo>
                      <a:cubicBezTo>
                        <a:pt x="7568" y="0"/>
                        <a:pt x="9760" y="2192"/>
                        <a:pt x="9760" y="4880"/>
                      </a:cubicBezTo>
                      <a:lnTo>
                        <a:pt x="9760" y="21346"/>
                      </a:lnTo>
                      <a:cubicBezTo>
                        <a:pt x="9786" y="24034"/>
                        <a:pt x="7594" y="26226"/>
                        <a:pt x="4880" y="26226"/>
                      </a:cubicBezTo>
                      <a:close/>
                    </a:path>
                  </a:pathLst>
                </a:custGeom>
                <a:solidFill>
                  <a:schemeClr val="accent1"/>
                </a:solidFill>
                <a:ln w="2603" cap="flat">
                  <a:noFill/>
                  <a:prstDash val="solid"/>
                  <a:miter/>
                </a:ln>
              </p:spPr>
              <p:txBody>
                <a:bodyPr rtlCol="0" anchor="ctr"/>
                <a:lstStyle/>
                <a:p>
                  <a:endParaRPr lang="en-GB" dirty="0"/>
                </a:p>
              </p:txBody>
            </p:sp>
          </p:grpSp>
          <p:sp>
            <p:nvSpPr>
              <p:cNvPr id="455" name="Freihandform: Form 340">
                <a:extLst>
                  <a:ext uri="{FF2B5EF4-FFF2-40B4-BE49-F238E27FC236}">
                    <a16:creationId xmlns:a16="http://schemas.microsoft.com/office/drawing/2014/main" id="{36829ECD-93DB-4F08-820A-4DD9E5498651}"/>
                  </a:ext>
                </a:extLst>
              </p:cNvPr>
              <p:cNvSpPr/>
              <p:nvPr/>
            </p:nvSpPr>
            <p:spPr>
              <a:xfrm>
                <a:off x="1050910" y="1947788"/>
                <a:ext cx="115735" cy="129905"/>
              </a:xfrm>
              <a:custGeom>
                <a:avLst/>
                <a:gdLst>
                  <a:gd name="connsiteX0" fmla="*/ 57854 w 115735"/>
                  <a:gd name="connsiteY0" fmla="*/ 129905 h 129905"/>
                  <a:gd name="connsiteX1" fmla="*/ 0 w 115735"/>
                  <a:gd name="connsiteY1" fmla="*/ 64953 h 129905"/>
                  <a:gd name="connsiteX2" fmla="*/ 57854 w 115735"/>
                  <a:gd name="connsiteY2" fmla="*/ 0 h 129905"/>
                  <a:gd name="connsiteX3" fmla="*/ 115735 w 115735"/>
                  <a:gd name="connsiteY3" fmla="*/ 64953 h 129905"/>
                  <a:gd name="connsiteX4" fmla="*/ 57854 w 115735"/>
                  <a:gd name="connsiteY4" fmla="*/ 129905 h 129905"/>
                  <a:gd name="connsiteX5" fmla="*/ 57854 w 115735"/>
                  <a:gd name="connsiteY5" fmla="*/ 9760 h 129905"/>
                  <a:gd name="connsiteX6" fmla="*/ 9760 w 115735"/>
                  <a:gd name="connsiteY6" fmla="*/ 64926 h 129905"/>
                  <a:gd name="connsiteX7" fmla="*/ 57854 w 115735"/>
                  <a:gd name="connsiteY7" fmla="*/ 120119 h 129905"/>
                  <a:gd name="connsiteX8" fmla="*/ 105975 w 115735"/>
                  <a:gd name="connsiteY8" fmla="*/ 64926 h 129905"/>
                  <a:gd name="connsiteX9" fmla="*/ 57854 w 115735"/>
                  <a:gd name="connsiteY9" fmla="*/ 9760 h 12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735" h="129905">
                    <a:moveTo>
                      <a:pt x="57854" y="129905"/>
                    </a:moveTo>
                    <a:cubicBezTo>
                      <a:pt x="25939" y="129905"/>
                      <a:pt x="0" y="100756"/>
                      <a:pt x="0" y="64953"/>
                    </a:cubicBezTo>
                    <a:cubicBezTo>
                      <a:pt x="0" y="29149"/>
                      <a:pt x="25965" y="0"/>
                      <a:pt x="57854" y="0"/>
                    </a:cubicBezTo>
                    <a:cubicBezTo>
                      <a:pt x="89770" y="0"/>
                      <a:pt x="115735" y="29123"/>
                      <a:pt x="115735" y="64953"/>
                    </a:cubicBezTo>
                    <a:cubicBezTo>
                      <a:pt x="115735" y="100756"/>
                      <a:pt x="89770" y="129905"/>
                      <a:pt x="57854" y="129905"/>
                    </a:cubicBezTo>
                    <a:close/>
                    <a:moveTo>
                      <a:pt x="57854" y="9760"/>
                    </a:moveTo>
                    <a:cubicBezTo>
                      <a:pt x="31341" y="9760"/>
                      <a:pt x="9760" y="34499"/>
                      <a:pt x="9760" y="64926"/>
                    </a:cubicBezTo>
                    <a:cubicBezTo>
                      <a:pt x="9760" y="95354"/>
                      <a:pt x="31341" y="120119"/>
                      <a:pt x="57854" y="120119"/>
                    </a:cubicBezTo>
                    <a:cubicBezTo>
                      <a:pt x="84394" y="120119"/>
                      <a:pt x="105975" y="95354"/>
                      <a:pt x="105975" y="64926"/>
                    </a:cubicBezTo>
                    <a:cubicBezTo>
                      <a:pt x="105975" y="34525"/>
                      <a:pt x="84394" y="9760"/>
                      <a:pt x="57854" y="9760"/>
                    </a:cubicBezTo>
                    <a:close/>
                  </a:path>
                </a:pathLst>
              </a:custGeom>
              <a:solidFill>
                <a:schemeClr val="accent1"/>
              </a:solidFill>
              <a:ln w="2603" cap="flat">
                <a:noFill/>
                <a:prstDash val="solid"/>
                <a:miter/>
              </a:ln>
            </p:spPr>
            <p:txBody>
              <a:bodyPr rtlCol="0" anchor="ctr"/>
              <a:lstStyle/>
              <a:p>
                <a:endParaRPr lang="en-GB" dirty="0"/>
              </a:p>
            </p:txBody>
          </p:sp>
        </p:grpSp>
      </p:grpSp>
      <p:grpSp>
        <p:nvGrpSpPr>
          <p:cNvPr id="127" name="Group 126">
            <a:extLst>
              <a:ext uri="{FF2B5EF4-FFF2-40B4-BE49-F238E27FC236}">
                <a16:creationId xmlns:a16="http://schemas.microsoft.com/office/drawing/2014/main" id="{95E04777-4F19-1FB6-AE42-1AEEBE78600A}"/>
              </a:ext>
            </a:extLst>
          </p:cNvPr>
          <p:cNvGrpSpPr/>
          <p:nvPr/>
        </p:nvGrpSpPr>
        <p:grpSpPr>
          <a:xfrm>
            <a:off x="7115879" y="3197068"/>
            <a:ext cx="367312" cy="431997"/>
            <a:chOff x="7115467" y="3197068"/>
            <a:chExt cx="367312" cy="431997"/>
          </a:xfrm>
        </p:grpSpPr>
        <p:grpSp>
          <p:nvGrpSpPr>
            <p:cNvPr id="476" name="Group 475">
              <a:extLst>
                <a:ext uri="{FF2B5EF4-FFF2-40B4-BE49-F238E27FC236}">
                  <a16:creationId xmlns:a16="http://schemas.microsoft.com/office/drawing/2014/main" id="{216F0A79-FF68-4ACF-8286-6FEE5D652298}"/>
                </a:ext>
              </a:extLst>
            </p:cNvPr>
            <p:cNvGrpSpPr/>
            <p:nvPr/>
          </p:nvGrpSpPr>
          <p:grpSpPr>
            <a:xfrm>
              <a:off x="7115467" y="3197068"/>
              <a:ext cx="367312" cy="327259"/>
              <a:chOff x="3368062" y="3315152"/>
              <a:chExt cx="427372" cy="380770"/>
            </a:xfrm>
            <a:solidFill>
              <a:schemeClr val="tx2"/>
            </a:solidFill>
          </p:grpSpPr>
          <p:grpSp>
            <p:nvGrpSpPr>
              <p:cNvPr id="481" name="Grafik 10">
                <a:extLst>
                  <a:ext uri="{FF2B5EF4-FFF2-40B4-BE49-F238E27FC236}">
                    <a16:creationId xmlns:a16="http://schemas.microsoft.com/office/drawing/2014/main" id="{FCE75212-004E-498A-BCD1-50B1E5116F11}"/>
                  </a:ext>
                </a:extLst>
              </p:cNvPr>
              <p:cNvGrpSpPr/>
              <p:nvPr/>
            </p:nvGrpSpPr>
            <p:grpSpPr>
              <a:xfrm>
                <a:off x="3368062" y="3315152"/>
                <a:ext cx="427372" cy="380770"/>
                <a:chOff x="3368062" y="3315152"/>
                <a:chExt cx="427372" cy="380770"/>
              </a:xfrm>
              <a:grpFill/>
            </p:grpSpPr>
            <p:sp>
              <p:nvSpPr>
                <p:cNvPr id="483" name="Freihandform: Form 451">
                  <a:extLst>
                    <a:ext uri="{FF2B5EF4-FFF2-40B4-BE49-F238E27FC236}">
                      <a16:creationId xmlns:a16="http://schemas.microsoft.com/office/drawing/2014/main" id="{88106ED0-E995-49B1-9885-AFEE476DAC45}"/>
                    </a:ext>
                  </a:extLst>
                </p:cNvPr>
                <p:cNvSpPr/>
                <p:nvPr/>
              </p:nvSpPr>
              <p:spPr>
                <a:xfrm>
                  <a:off x="3708383" y="3668530"/>
                  <a:ext cx="28927" cy="27391"/>
                </a:xfrm>
                <a:custGeom>
                  <a:avLst/>
                  <a:gdLst>
                    <a:gd name="connsiteX0" fmla="*/ 4876 w 28927"/>
                    <a:gd name="connsiteY0" fmla="*/ 27392 h 27391"/>
                    <a:gd name="connsiteX1" fmla="*/ 1092 w 28927"/>
                    <a:gd name="connsiteY1" fmla="*/ 25591 h 27391"/>
                    <a:gd name="connsiteX2" fmla="*/ 1797 w 28927"/>
                    <a:gd name="connsiteY2" fmla="*/ 18728 h 27391"/>
                    <a:gd name="connsiteX3" fmla="*/ 20507 w 28927"/>
                    <a:gd name="connsiteY3" fmla="*/ 1505 h 27391"/>
                    <a:gd name="connsiteX4" fmla="*/ 27423 w 28927"/>
                    <a:gd name="connsiteY4" fmla="*/ 1374 h 27391"/>
                    <a:gd name="connsiteX5" fmla="*/ 27554 w 28927"/>
                    <a:gd name="connsiteY5" fmla="*/ 8290 h 27391"/>
                    <a:gd name="connsiteX6" fmla="*/ 7956 w 28927"/>
                    <a:gd name="connsiteY6" fmla="*/ 26322 h 27391"/>
                    <a:gd name="connsiteX7" fmla="*/ 4876 w 28927"/>
                    <a:gd name="connsiteY7" fmla="*/ 27392 h 27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927" h="27391">
                      <a:moveTo>
                        <a:pt x="4876" y="27392"/>
                      </a:moveTo>
                      <a:cubicBezTo>
                        <a:pt x="3467" y="27392"/>
                        <a:pt x="2058" y="26765"/>
                        <a:pt x="1092" y="25591"/>
                      </a:cubicBezTo>
                      <a:cubicBezTo>
                        <a:pt x="-604" y="23503"/>
                        <a:pt x="-291" y="20424"/>
                        <a:pt x="1797" y="18728"/>
                      </a:cubicBezTo>
                      <a:cubicBezTo>
                        <a:pt x="8347" y="13430"/>
                        <a:pt x="14636" y="7637"/>
                        <a:pt x="20507" y="1505"/>
                      </a:cubicBezTo>
                      <a:cubicBezTo>
                        <a:pt x="22360" y="-453"/>
                        <a:pt x="25466" y="-505"/>
                        <a:pt x="27423" y="1374"/>
                      </a:cubicBezTo>
                      <a:cubicBezTo>
                        <a:pt x="29380" y="3253"/>
                        <a:pt x="29432" y="6332"/>
                        <a:pt x="27554" y="8290"/>
                      </a:cubicBezTo>
                      <a:cubicBezTo>
                        <a:pt x="21395" y="14709"/>
                        <a:pt x="14793" y="20789"/>
                        <a:pt x="7956" y="26322"/>
                      </a:cubicBezTo>
                      <a:cubicBezTo>
                        <a:pt x="7068" y="27026"/>
                        <a:pt x="5972" y="27392"/>
                        <a:pt x="4876" y="27392"/>
                      </a:cubicBezTo>
                      <a:close/>
                    </a:path>
                  </a:pathLst>
                </a:custGeom>
                <a:grpFill/>
                <a:ln w="2603" cap="flat">
                  <a:noFill/>
                  <a:prstDash val="solid"/>
                  <a:miter/>
                </a:ln>
              </p:spPr>
              <p:txBody>
                <a:bodyPr rtlCol="0" anchor="ctr"/>
                <a:lstStyle/>
                <a:p>
                  <a:endParaRPr lang="en-GB" dirty="0"/>
                </a:p>
              </p:txBody>
            </p:sp>
            <p:sp>
              <p:nvSpPr>
                <p:cNvPr id="484" name="Freihandform: Form 452">
                  <a:extLst>
                    <a:ext uri="{FF2B5EF4-FFF2-40B4-BE49-F238E27FC236}">
                      <a16:creationId xmlns:a16="http://schemas.microsoft.com/office/drawing/2014/main" id="{AD95CE1D-49A2-42E7-AF39-36A54BFA1EC0}"/>
                    </a:ext>
                  </a:extLst>
                </p:cNvPr>
                <p:cNvSpPr/>
                <p:nvPr/>
              </p:nvSpPr>
              <p:spPr>
                <a:xfrm>
                  <a:off x="3368062" y="3315152"/>
                  <a:ext cx="427372" cy="322654"/>
                </a:xfrm>
                <a:custGeom>
                  <a:avLst/>
                  <a:gdLst>
                    <a:gd name="connsiteX0" fmla="*/ 394726 w 427372"/>
                    <a:gd name="connsiteY0" fmla="*/ 322655 h 322654"/>
                    <a:gd name="connsiteX1" fmla="*/ 392300 w 427372"/>
                    <a:gd name="connsiteY1" fmla="*/ 322003 h 322654"/>
                    <a:gd name="connsiteX2" fmla="*/ 390499 w 427372"/>
                    <a:gd name="connsiteY2" fmla="*/ 315348 h 322654"/>
                    <a:gd name="connsiteX3" fmla="*/ 409758 w 427372"/>
                    <a:gd name="connsiteY3" fmla="*/ 269863 h 322654"/>
                    <a:gd name="connsiteX4" fmla="*/ 415812 w 427372"/>
                    <a:gd name="connsiteY4" fmla="*/ 266497 h 322654"/>
                    <a:gd name="connsiteX5" fmla="*/ 419178 w 427372"/>
                    <a:gd name="connsiteY5" fmla="*/ 272551 h 322654"/>
                    <a:gd name="connsiteX6" fmla="*/ 398980 w 427372"/>
                    <a:gd name="connsiteY6" fmla="*/ 320228 h 322654"/>
                    <a:gd name="connsiteX7" fmla="*/ 394726 w 427372"/>
                    <a:gd name="connsiteY7" fmla="*/ 322655 h 322654"/>
                    <a:gd name="connsiteX8" fmla="*/ 26932 w 427372"/>
                    <a:gd name="connsiteY8" fmla="*/ 312112 h 322654"/>
                    <a:gd name="connsiteX9" fmla="*/ 22574 w 427372"/>
                    <a:gd name="connsiteY9" fmla="*/ 309424 h 322654"/>
                    <a:gd name="connsiteX10" fmla="*/ 5142 w 427372"/>
                    <a:gd name="connsiteY10" fmla="*/ 260651 h 322654"/>
                    <a:gd name="connsiteX11" fmla="*/ 8847 w 427372"/>
                    <a:gd name="connsiteY11" fmla="*/ 254832 h 322654"/>
                    <a:gd name="connsiteX12" fmla="*/ 14667 w 427372"/>
                    <a:gd name="connsiteY12" fmla="*/ 258537 h 322654"/>
                    <a:gd name="connsiteX13" fmla="*/ 31290 w 427372"/>
                    <a:gd name="connsiteY13" fmla="*/ 305066 h 322654"/>
                    <a:gd name="connsiteX14" fmla="*/ 29124 w 427372"/>
                    <a:gd name="connsiteY14" fmla="*/ 311616 h 322654"/>
                    <a:gd name="connsiteX15" fmla="*/ 26932 w 427372"/>
                    <a:gd name="connsiteY15" fmla="*/ 312112 h 322654"/>
                    <a:gd name="connsiteX16" fmla="*/ 422362 w 427372"/>
                    <a:gd name="connsiteY16" fmla="*/ 226100 h 322654"/>
                    <a:gd name="connsiteX17" fmla="*/ 422179 w 427372"/>
                    <a:gd name="connsiteY17" fmla="*/ 226100 h 322654"/>
                    <a:gd name="connsiteX18" fmla="*/ 417456 w 427372"/>
                    <a:gd name="connsiteY18" fmla="*/ 221038 h 322654"/>
                    <a:gd name="connsiteX19" fmla="*/ 417586 w 427372"/>
                    <a:gd name="connsiteY19" fmla="*/ 213679 h 322654"/>
                    <a:gd name="connsiteX20" fmla="*/ 413280 w 427372"/>
                    <a:gd name="connsiteY20" fmla="*/ 171821 h 322654"/>
                    <a:gd name="connsiteX21" fmla="*/ 417065 w 427372"/>
                    <a:gd name="connsiteY21" fmla="*/ 166028 h 322654"/>
                    <a:gd name="connsiteX22" fmla="*/ 422858 w 427372"/>
                    <a:gd name="connsiteY22" fmla="*/ 169812 h 322654"/>
                    <a:gd name="connsiteX23" fmla="*/ 427372 w 427372"/>
                    <a:gd name="connsiteY23" fmla="*/ 213679 h 322654"/>
                    <a:gd name="connsiteX24" fmla="*/ 427242 w 427372"/>
                    <a:gd name="connsiteY24" fmla="*/ 221403 h 322654"/>
                    <a:gd name="connsiteX25" fmla="*/ 422362 w 427372"/>
                    <a:gd name="connsiteY25" fmla="*/ 226100 h 322654"/>
                    <a:gd name="connsiteX26" fmla="*/ 4881 w 427372"/>
                    <a:gd name="connsiteY26" fmla="*/ 214122 h 322654"/>
                    <a:gd name="connsiteX27" fmla="*/ 4777 w 427372"/>
                    <a:gd name="connsiteY27" fmla="*/ 214122 h 322654"/>
                    <a:gd name="connsiteX28" fmla="*/ 1 w 427372"/>
                    <a:gd name="connsiteY28" fmla="*/ 209138 h 322654"/>
                    <a:gd name="connsiteX29" fmla="*/ 7308 w 427372"/>
                    <a:gd name="connsiteY29" fmla="*/ 157886 h 322654"/>
                    <a:gd name="connsiteX30" fmla="*/ 13310 w 427372"/>
                    <a:gd name="connsiteY30" fmla="*/ 154441 h 322654"/>
                    <a:gd name="connsiteX31" fmla="*/ 16754 w 427372"/>
                    <a:gd name="connsiteY31" fmla="*/ 160443 h 322654"/>
                    <a:gd name="connsiteX32" fmla="*/ 9787 w 427372"/>
                    <a:gd name="connsiteY32" fmla="*/ 209347 h 322654"/>
                    <a:gd name="connsiteX33" fmla="*/ 4881 w 427372"/>
                    <a:gd name="connsiteY33" fmla="*/ 214122 h 322654"/>
                    <a:gd name="connsiteX34" fmla="*/ 401799 w 427372"/>
                    <a:gd name="connsiteY34" fmla="*/ 127797 h 322654"/>
                    <a:gd name="connsiteX35" fmla="*/ 397388 w 427372"/>
                    <a:gd name="connsiteY35" fmla="*/ 125031 h 322654"/>
                    <a:gd name="connsiteX36" fmla="*/ 370640 w 427372"/>
                    <a:gd name="connsiteY36" fmla="*/ 83487 h 322654"/>
                    <a:gd name="connsiteX37" fmla="*/ 371292 w 427372"/>
                    <a:gd name="connsiteY37" fmla="*/ 76623 h 322654"/>
                    <a:gd name="connsiteX38" fmla="*/ 378156 w 427372"/>
                    <a:gd name="connsiteY38" fmla="*/ 77276 h 322654"/>
                    <a:gd name="connsiteX39" fmla="*/ 406156 w 427372"/>
                    <a:gd name="connsiteY39" fmla="*/ 120830 h 322654"/>
                    <a:gd name="connsiteX40" fmla="*/ 403886 w 427372"/>
                    <a:gd name="connsiteY40" fmla="*/ 127354 h 322654"/>
                    <a:gd name="connsiteX41" fmla="*/ 401799 w 427372"/>
                    <a:gd name="connsiteY41" fmla="*/ 127797 h 322654"/>
                    <a:gd name="connsiteX42" fmla="*/ 31055 w 427372"/>
                    <a:gd name="connsiteY42" fmla="*/ 117176 h 322654"/>
                    <a:gd name="connsiteX43" fmla="*/ 28680 w 427372"/>
                    <a:gd name="connsiteY43" fmla="*/ 116550 h 322654"/>
                    <a:gd name="connsiteX44" fmla="*/ 26775 w 427372"/>
                    <a:gd name="connsiteY44" fmla="*/ 109922 h 322654"/>
                    <a:gd name="connsiteX45" fmla="*/ 57229 w 427372"/>
                    <a:gd name="connsiteY45" fmla="*/ 68064 h 322654"/>
                    <a:gd name="connsiteX46" fmla="*/ 64118 w 427372"/>
                    <a:gd name="connsiteY46" fmla="*/ 67803 h 322654"/>
                    <a:gd name="connsiteX47" fmla="*/ 64379 w 427372"/>
                    <a:gd name="connsiteY47" fmla="*/ 74692 h 322654"/>
                    <a:gd name="connsiteX48" fmla="*/ 35309 w 427372"/>
                    <a:gd name="connsiteY48" fmla="*/ 114645 h 322654"/>
                    <a:gd name="connsiteX49" fmla="*/ 31055 w 427372"/>
                    <a:gd name="connsiteY49" fmla="*/ 117176 h 322654"/>
                    <a:gd name="connsiteX50" fmla="*/ 337655 w 427372"/>
                    <a:gd name="connsiteY50" fmla="*/ 50501 h 322654"/>
                    <a:gd name="connsiteX51" fmla="*/ 334758 w 427372"/>
                    <a:gd name="connsiteY51" fmla="*/ 49536 h 322654"/>
                    <a:gd name="connsiteX52" fmla="*/ 291778 w 427372"/>
                    <a:gd name="connsiteY52" fmla="*/ 25215 h 322654"/>
                    <a:gd name="connsiteX53" fmla="*/ 289143 w 427372"/>
                    <a:gd name="connsiteY53" fmla="*/ 18847 h 322654"/>
                    <a:gd name="connsiteX54" fmla="*/ 295510 w 427372"/>
                    <a:gd name="connsiteY54" fmla="*/ 16212 h 322654"/>
                    <a:gd name="connsiteX55" fmla="*/ 340551 w 427372"/>
                    <a:gd name="connsiteY55" fmla="*/ 41707 h 322654"/>
                    <a:gd name="connsiteX56" fmla="*/ 341569 w 427372"/>
                    <a:gd name="connsiteY56" fmla="*/ 48544 h 322654"/>
                    <a:gd name="connsiteX57" fmla="*/ 337655 w 427372"/>
                    <a:gd name="connsiteY57" fmla="*/ 50501 h 322654"/>
                    <a:gd name="connsiteX58" fmla="*/ 99504 w 427372"/>
                    <a:gd name="connsiteY58" fmla="*/ 43664 h 322654"/>
                    <a:gd name="connsiteX59" fmla="*/ 95407 w 427372"/>
                    <a:gd name="connsiteY59" fmla="*/ 41446 h 322654"/>
                    <a:gd name="connsiteX60" fmla="*/ 96817 w 427372"/>
                    <a:gd name="connsiteY60" fmla="*/ 34687 h 322654"/>
                    <a:gd name="connsiteX61" fmla="*/ 143267 w 427372"/>
                    <a:gd name="connsiteY61" fmla="*/ 11801 h 322654"/>
                    <a:gd name="connsiteX62" fmla="*/ 149478 w 427372"/>
                    <a:gd name="connsiteY62" fmla="*/ 14802 h 322654"/>
                    <a:gd name="connsiteX63" fmla="*/ 146477 w 427372"/>
                    <a:gd name="connsiteY63" fmla="*/ 21013 h 322654"/>
                    <a:gd name="connsiteX64" fmla="*/ 102140 w 427372"/>
                    <a:gd name="connsiteY64" fmla="*/ 42855 h 322654"/>
                    <a:gd name="connsiteX65" fmla="*/ 99504 w 427372"/>
                    <a:gd name="connsiteY65" fmla="*/ 43664 h 322654"/>
                    <a:gd name="connsiteX66" fmla="*/ 244910 w 427372"/>
                    <a:gd name="connsiteY66" fmla="*/ 12062 h 322654"/>
                    <a:gd name="connsiteX67" fmla="*/ 244180 w 427372"/>
                    <a:gd name="connsiteY67" fmla="*/ 12010 h 322654"/>
                    <a:gd name="connsiteX68" fmla="*/ 194780 w 427372"/>
                    <a:gd name="connsiteY68" fmla="*/ 10601 h 322654"/>
                    <a:gd name="connsiteX69" fmla="*/ 189457 w 427372"/>
                    <a:gd name="connsiteY69" fmla="*/ 6191 h 322654"/>
                    <a:gd name="connsiteX70" fmla="*/ 193867 w 427372"/>
                    <a:gd name="connsiteY70" fmla="*/ 893 h 322654"/>
                    <a:gd name="connsiteX71" fmla="*/ 245615 w 427372"/>
                    <a:gd name="connsiteY71" fmla="*/ 2355 h 322654"/>
                    <a:gd name="connsiteX72" fmla="*/ 249712 w 427372"/>
                    <a:gd name="connsiteY72" fmla="*/ 7913 h 322654"/>
                    <a:gd name="connsiteX73" fmla="*/ 244910 w 427372"/>
                    <a:gd name="connsiteY73" fmla="*/ 12062 h 322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27372" h="322654">
                      <a:moveTo>
                        <a:pt x="394726" y="322655"/>
                      </a:moveTo>
                      <a:cubicBezTo>
                        <a:pt x="393891" y="322655"/>
                        <a:pt x="393056" y="322446"/>
                        <a:pt x="392300" y="322003"/>
                      </a:cubicBezTo>
                      <a:cubicBezTo>
                        <a:pt x="389951" y="320672"/>
                        <a:pt x="389168" y="317671"/>
                        <a:pt x="390499" y="315348"/>
                      </a:cubicBezTo>
                      <a:cubicBezTo>
                        <a:pt x="398771" y="300995"/>
                        <a:pt x="405243" y="285703"/>
                        <a:pt x="409758" y="269863"/>
                      </a:cubicBezTo>
                      <a:cubicBezTo>
                        <a:pt x="410514" y="267280"/>
                        <a:pt x="413150" y="265766"/>
                        <a:pt x="415812" y="266497"/>
                      </a:cubicBezTo>
                      <a:cubicBezTo>
                        <a:pt x="418395" y="267253"/>
                        <a:pt x="419909" y="269941"/>
                        <a:pt x="419178" y="272551"/>
                      </a:cubicBezTo>
                      <a:cubicBezTo>
                        <a:pt x="414429" y="289148"/>
                        <a:pt x="407644" y="305197"/>
                        <a:pt x="398980" y="320228"/>
                      </a:cubicBezTo>
                      <a:cubicBezTo>
                        <a:pt x="398067" y="321794"/>
                        <a:pt x="396423" y="322655"/>
                        <a:pt x="394726" y="322655"/>
                      </a:cubicBezTo>
                      <a:close/>
                      <a:moveTo>
                        <a:pt x="26932" y="312112"/>
                      </a:moveTo>
                      <a:cubicBezTo>
                        <a:pt x="25131" y="312112"/>
                        <a:pt x="23409" y="311120"/>
                        <a:pt x="22574" y="309424"/>
                      </a:cubicBezTo>
                      <a:cubicBezTo>
                        <a:pt x="14797" y="293950"/>
                        <a:pt x="8926" y="277535"/>
                        <a:pt x="5142" y="260651"/>
                      </a:cubicBezTo>
                      <a:cubicBezTo>
                        <a:pt x="4542" y="258016"/>
                        <a:pt x="6212" y="255406"/>
                        <a:pt x="8847" y="254832"/>
                      </a:cubicBezTo>
                      <a:cubicBezTo>
                        <a:pt x="11483" y="254232"/>
                        <a:pt x="14093" y="255902"/>
                        <a:pt x="14667" y="258537"/>
                      </a:cubicBezTo>
                      <a:cubicBezTo>
                        <a:pt x="18268" y="274639"/>
                        <a:pt x="23879" y="290296"/>
                        <a:pt x="31290" y="305066"/>
                      </a:cubicBezTo>
                      <a:cubicBezTo>
                        <a:pt x="32516" y="307467"/>
                        <a:pt x="31525" y="310416"/>
                        <a:pt x="29124" y="311616"/>
                      </a:cubicBezTo>
                      <a:cubicBezTo>
                        <a:pt x="28393" y="311956"/>
                        <a:pt x="27662" y="312112"/>
                        <a:pt x="26932" y="312112"/>
                      </a:cubicBezTo>
                      <a:close/>
                      <a:moveTo>
                        <a:pt x="422362" y="226100"/>
                      </a:moveTo>
                      <a:cubicBezTo>
                        <a:pt x="422310" y="226100"/>
                        <a:pt x="422258" y="226100"/>
                        <a:pt x="422179" y="226100"/>
                      </a:cubicBezTo>
                      <a:cubicBezTo>
                        <a:pt x="419491" y="225996"/>
                        <a:pt x="417378" y="223752"/>
                        <a:pt x="417456" y="221038"/>
                      </a:cubicBezTo>
                      <a:cubicBezTo>
                        <a:pt x="417534" y="218585"/>
                        <a:pt x="417586" y="216132"/>
                        <a:pt x="417586" y="213679"/>
                      </a:cubicBezTo>
                      <a:cubicBezTo>
                        <a:pt x="417586" y="199587"/>
                        <a:pt x="416125" y="185495"/>
                        <a:pt x="413280" y="171821"/>
                      </a:cubicBezTo>
                      <a:cubicBezTo>
                        <a:pt x="412733" y="169185"/>
                        <a:pt x="414429" y="166602"/>
                        <a:pt x="417065" y="166028"/>
                      </a:cubicBezTo>
                      <a:cubicBezTo>
                        <a:pt x="419726" y="165506"/>
                        <a:pt x="422284" y="167176"/>
                        <a:pt x="422858" y="169812"/>
                      </a:cubicBezTo>
                      <a:cubicBezTo>
                        <a:pt x="425859" y="184164"/>
                        <a:pt x="427372" y="198908"/>
                        <a:pt x="427372" y="213679"/>
                      </a:cubicBezTo>
                      <a:cubicBezTo>
                        <a:pt x="427372" y="216262"/>
                        <a:pt x="427320" y="218820"/>
                        <a:pt x="427242" y="221403"/>
                      </a:cubicBezTo>
                      <a:cubicBezTo>
                        <a:pt x="427164" y="224039"/>
                        <a:pt x="424998" y="226100"/>
                        <a:pt x="422362" y="226100"/>
                      </a:cubicBezTo>
                      <a:close/>
                      <a:moveTo>
                        <a:pt x="4881" y="214122"/>
                      </a:moveTo>
                      <a:cubicBezTo>
                        <a:pt x="4855" y="214122"/>
                        <a:pt x="4829" y="214122"/>
                        <a:pt x="4777" y="214122"/>
                      </a:cubicBezTo>
                      <a:cubicBezTo>
                        <a:pt x="2089" y="214070"/>
                        <a:pt x="-51" y="211826"/>
                        <a:pt x="1" y="209138"/>
                      </a:cubicBezTo>
                      <a:cubicBezTo>
                        <a:pt x="366" y="191784"/>
                        <a:pt x="2819" y="174535"/>
                        <a:pt x="7308" y="157886"/>
                      </a:cubicBezTo>
                      <a:cubicBezTo>
                        <a:pt x="8012" y="155276"/>
                        <a:pt x="10674" y="153763"/>
                        <a:pt x="13310" y="154441"/>
                      </a:cubicBezTo>
                      <a:cubicBezTo>
                        <a:pt x="15919" y="155146"/>
                        <a:pt x="17459" y="157834"/>
                        <a:pt x="16754" y="160443"/>
                      </a:cubicBezTo>
                      <a:cubicBezTo>
                        <a:pt x="12475" y="176336"/>
                        <a:pt x="10126" y="192776"/>
                        <a:pt x="9787" y="209347"/>
                      </a:cubicBezTo>
                      <a:cubicBezTo>
                        <a:pt x="9709" y="211982"/>
                        <a:pt x="7543" y="214122"/>
                        <a:pt x="4881" y="214122"/>
                      </a:cubicBezTo>
                      <a:close/>
                      <a:moveTo>
                        <a:pt x="401799" y="127797"/>
                      </a:moveTo>
                      <a:cubicBezTo>
                        <a:pt x="399972" y="127797"/>
                        <a:pt x="398250" y="126780"/>
                        <a:pt x="397388" y="125031"/>
                      </a:cubicBezTo>
                      <a:cubicBezTo>
                        <a:pt x="390212" y="110209"/>
                        <a:pt x="381209" y="96221"/>
                        <a:pt x="370640" y="83487"/>
                      </a:cubicBezTo>
                      <a:cubicBezTo>
                        <a:pt x="368918" y="81425"/>
                        <a:pt x="369205" y="78346"/>
                        <a:pt x="371292" y="76623"/>
                      </a:cubicBezTo>
                      <a:cubicBezTo>
                        <a:pt x="373354" y="74901"/>
                        <a:pt x="376433" y="75188"/>
                        <a:pt x="378156" y="77276"/>
                      </a:cubicBezTo>
                      <a:cubicBezTo>
                        <a:pt x="389220" y="90611"/>
                        <a:pt x="398667" y="105277"/>
                        <a:pt x="406156" y="120830"/>
                      </a:cubicBezTo>
                      <a:cubicBezTo>
                        <a:pt x="407331" y="123257"/>
                        <a:pt x="406313" y="126179"/>
                        <a:pt x="403886" y="127354"/>
                      </a:cubicBezTo>
                      <a:cubicBezTo>
                        <a:pt x="403234" y="127641"/>
                        <a:pt x="402529" y="127797"/>
                        <a:pt x="401799" y="127797"/>
                      </a:cubicBezTo>
                      <a:close/>
                      <a:moveTo>
                        <a:pt x="31055" y="117176"/>
                      </a:moveTo>
                      <a:cubicBezTo>
                        <a:pt x="30246" y="117176"/>
                        <a:pt x="29437" y="116968"/>
                        <a:pt x="28680" y="116550"/>
                      </a:cubicBezTo>
                      <a:cubicBezTo>
                        <a:pt x="26332" y="115245"/>
                        <a:pt x="25470" y="112270"/>
                        <a:pt x="26775" y="109922"/>
                      </a:cubicBezTo>
                      <a:cubicBezTo>
                        <a:pt x="35178" y="94812"/>
                        <a:pt x="45408" y="80747"/>
                        <a:pt x="57229" y="68064"/>
                      </a:cubicBezTo>
                      <a:cubicBezTo>
                        <a:pt x="59056" y="66081"/>
                        <a:pt x="62161" y="65976"/>
                        <a:pt x="64118" y="67803"/>
                      </a:cubicBezTo>
                      <a:cubicBezTo>
                        <a:pt x="66102" y="69630"/>
                        <a:pt x="66206" y="72735"/>
                        <a:pt x="64379" y="74692"/>
                      </a:cubicBezTo>
                      <a:cubicBezTo>
                        <a:pt x="53106" y="86801"/>
                        <a:pt x="43346" y="100240"/>
                        <a:pt x="35309" y="114645"/>
                      </a:cubicBezTo>
                      <a:cubicBezTo>
                        <a:pt x="34421" y="116263"/>
                        <a:pt x="32777" y="117176"/>
                        <a:pt x="31055" y="117176"/>
                      </a:cubicBezTo>
                      <a:close/>
                      <a:moveTo>
                        <a:pt x="337655" y="50501"/>
                      </a:moveTo>
                      <a:cubicBezTo>
                        <a:pt x="336637" y="50501"/>
                        <a:pt x="335645" y="50188"/>
                        <a:pt x="334758" y="49536"/>
                      </a:cubicBezTo>
                      <a:cubicBezTo>
                        <a:pt x="321449" y="39698"/>
                        <a:pt x="306992" y="31530"/>
                        <a:pt x="291778" y="25215"/>
                      </a:cubicBezTo>
                      <a:cubicBezTo>
                        <a:pt x="289273" y="24197"/>
                        <a:pt x="288099" y="21326"/>
                        <a:pt x="289143" y="18847"/>
                      </a:cubicBezTo>
                      <a:cubicBezTo>
                        <a:pt x="290160" y="16342"/>
                        <a:pt x="293057" y="15168"/>
                        <a:pt x="295510" y="16212"/>
                      </a:cubicBezTo>
                      <a:cubicBezTo>
                        <a:pt x="311455" y="22814"/>
                        <a:pt x="326616" y="31399"/>
                        <a:pt x="340551" y="41707"/>
                      </a:cubicBezTo>
                      <a:cubicBezTo>
                        <a:pt x="342718" y="43299"/>
                        <a:pt x="343187" y="46378"/>
                        <a:pt x="341569" y="48544"/>
                      </a:cubicBezTo>
                      <a:cubicBezTo>
                        <a:pt x="340630" y="49823"/>
                        <a:pt x="339142" y="50501"/>
                        <a:pt x="337655" y="50501"/>
                      </a:cubicBezTo>
                      <a:close/>
                      <a:moveTo>
                        <a:pt x="99504" y="43664"/>
                      </a:moveTo>
                      <a:cubicBezTo>
                        <a:pt x="97912" y="43664"/>
                        <a:pt x="96347" y="42881"/>
                        <a:pt x="95407" y="41446"/>
                      </a:cubicBezTo>
                      <a:cubicBezTo>
                        <a:pt x="93920" y="39176"/>
                        <a:pt x="94572" y="36149"/>
                        <a:pt x="96817" y="34687"/>
                      </a:cubicBezTo>
                      <a:cubicBezTo>
                        <a:pt x="111326" y="25189"/>
                        <a:pt x="126957" y="17490"/>
                        <a:pt x="143267" y="11801"/>
                      </a:cubicBezTo>
                      <a:cubicBezTo>
                        <a:pt x="145824" y="10914"/>
                        <a:pt x="148591" y="12245"/>
                        <a:pt x="149478" y="14802"/>
                      </a:cubicBezTo>
                      <a:cubicBezTo>
                        <a:pt x="150365" y="17360"/>
                        <a:pt x="149008" y="20126"/>
                        <a:pt x="146477" y="21013"/>
                      </a:cubicBezTo>
                      <a:cubicBezTo>
                        <a:pt x="130924" y="26441"/>
                        <a:pt x="115997" y="33774"/>
                        <a:pt x="102140" y="42855"/>
                      </a:cubicBezTo>
                      <a:cubicBezTo>
                        <a:pt x="101357" y="43430"/>
                        <a:pt x="100418" y="43664"/>
                        <a:pt x="99504" y="43664"/>
                      </a:cubicBezTo>
                      <a:close/>
                      <a:moveTo>
                        <a:pt x="244910" y="12062"/>
                      </a:moveTo>
                      <a:cubicBezTo>
                        <a:pt x="244675" y="12062"/>
                        <a:pt x="244414" y="12036"/>
                        <a:pt x="244180" y="12010"/>
                      </a:cubicBezTo>
                      <a:cubicBezTo>
                        <a:pt x="227948" y="9557"/>
                        <a:pt x="211142" y="9113"/>
                        <a:pt x="194780" y="10601"/>
                      </a:cubicBezTo>
                      <a:cubicBezTo>
                        <a:pt x="192118" y="10810"/>
                        <a:pt x="189718" y="8879"/>
                        <a:pt x="189457" y="6191"/>
                      </a:cubicBezTo>
                      <a:cubicBezTo>
                        <a:pt x="189222" y="3503"/>
                        <a:pt x="191179" y="1128"/>
                        <a:pt x="193867" y="893"/>
                      </a:cubicBezTo>
                      <a:cubicBezTo>
                        <a:pt x="210986" y="-672"/>
                        <a:pt x="228601" y="-177"/>
                        <a:pt x="245615" y="2355"/>
                      </a:cubicBezTo>
                      <a:cubicBezTo>
                        <a:pt x="248277" y="2746"/>
                        <a:pt x="250130" y="5251"/>
                        <a:pt x="249712" y="7913"/>
                      </a:cubicBezTo>
                      <a:cubicBezTo>
                        <a:pt x="249373" y="10314"/>
                        <a:pt x="247311" y="12062"/>
                        <a:pt x="244910" y="12062"/>
                      </a:cubicBezTo>
                      <a:close/>
                    </a:path>
                  </a:pathLst>
                </a:custGeom>
                <a:grpFill/>
                <a:ln w="2603" cap="flat">
                  <a:noFill/>
                  <a:prstDash val="solid"/>
                  <a:miter/>
                </a:ln>
              </p:spPr>
              <p:txBody>
                <a:bodyPr rtlCol="0" anchor="ctr"/>
                <a:lstStyle/>
                <a:p>
                  <a:endParaRPr lang="en-GB" dirty="0"/>
                </a:p>
              </p:txBody>
            </p:sp>
            <p:sp>
              <p:nvSpPr>
                <p:cNvPr id="485" name="Freihandform: Form 453">
                  <a:extLst>
                    <a:ext uri="{FF2B5EF4-FFF2-40B4-BE49-F238E27FC236}">
                      <a16:creationId xmlns:a16="http://schemas.microsoft.com/office/drawing/2014/main" id="{61B151FE-F4FF-41BF-B6D1-6999741F436E}"/>
                    </a:ext>
                  </a:extLst>
                </p:cNvPr>
                <p:cNvSpPr/>
                <p:nvPr/>
              </p:nvSpPr>
              <p:spPr>
                <a:xfrm>
                  <a:off x="3418489" y="3660101"/>
                  <a:ext cx="27951" cy="28409"/>
                </a:xfrm>
                <a:custGeom>
                  <a:avLst/>
                  <a:gdLst>
                    <a:gd name="connsiteX0" fmla="*/ 23060 w 27951"/>
                    <a:gd name="connsiteY0" fmla="*/ 28409 h 28409"/>
                    <a:gd name="connsiteX1" fmla="*/ 19772 w 27951"/>
                    <a:gd name="connsiteY1" fmla="*/ 27157 h 28409"/>
                    <a:gd name="connsiteX2" fmla="*/ 1192 w 27951"/>
                    <a:gd name="connsiteY2" fmla="*/ 8081 h 28409"/>
                    <a:gd name="connsiteX3" fmla="*/ 1713 w 27951"/>
                    <a:gd name="connsiteY3" fmla="*/ 1192 h 28409"/>
                    <a:gd name="connsiteX4" fmla="*/ 8603 w 27951"/>
                    <a:gd name="connsiteY4" fmla="*/ 1714 h 28409"/>
                    <a:gd name="connsiteX5" fmla="*/ 26348 w 27951"/>
                    <a:gd name="connsiteY5" fmla="*/ 19928 h 28409"/>
                    <a:gd name="connsiteX6" fmla="*/ 26687 w 27951"/>
                    <a:gd name="connsiteY6" fmla="*/ 26818 h 28409"/>
                    <a:gd name="connsiteX7" fmla="*/ 23060 w 27951"/>
                    <a:gd name="connsiteY7" fmla="*/ 28409 h 2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51" h="28409">
                      <a:moveTo>
                        <a:pt x="23060" y="28409"/>
                      </a:moveTo>
                      <a:cubicBezTo>
                        <a:pt x="21885" y="28409"/>
                        <a:pt x="20711" y="27992"/>
                        <a:pt x="19772" y="27157"/>
                      </a:cubicBezTo>
                      <a:cubicBezTo>
                        <a:pt x="13222" y="21207"/>
                        <a:pt x="6959" y="14787"/>
                        <a:pt x="1192" y="8081"/>
                      </a:cubicBezTo>
                      <a:cubicBezTo>
                        <a:pt x="-583" y="6045"/>
                        <a:pt x="-348" y="2966"/>
                        <a:pt x="1713" y="1192"/>
                      </a:cubicBezTo>
                      <a:cubicBezTo>
                        <a:pt x="3749" y="-583"/>
                        <a:pt x="6828" y="-348"/>
                        <a:pt x="8603" y="1714"/>
                      </a:cubicBezTo>
                      <a:cubicBezTo>
                        <a:pt x="14135" y="8133"/>
                        <a:pt x="20085" y="14266"/>
                        <a:pt x="26348" y="19928"/>
                      </a:cubicBezTo>
                      <a:cubicBezTo>
                        <a:pt x="28357" y="21729"/>
                        <a:pt x="28488" y="24834"/>
                        <a:pt x="26687" y="26818"/>
                      </a:cubicBezTo>
                      <a:cubicBezTo>
                        <a:pt x="25722" y="27861"/>
                        <a:pt x="24391" y="28409"/>
                        <a:pt x="23060" y="28409"/>
                      </a:cubicBezTo>
                      <a:close/>
                    </a:path>
                  </a:pathLst>
                </a:custGeom>
                <a:grpFill/>
                <a:ln w="2603" cap="flat">
                  <a:noFill/>
                  <a:prstDash val="solid"/>
                  <a:miter/>
                </a:ln>
              </p:spPr>
              <p:txBody>
                <a:bodyPr rtlCol="0" anchor="ctr"/>
                <a:lstStyle/>
                <a:p>
                  <a:endParaRPr lang="en-GB" dirty="0"/>
                </a:p>
              </p:txBody>
            </p:sp>
          </p:grpSp>
          <p:sp>
            <p:nvSpPr>
              <p:cNvPr id="482" name="Freihandform: Form 455">
                <a:extLst>
                  <a:ext uri="{FF2B5EF4-FFF2-40B4-BE49-F238E27FC236}">
                    <a16:creationId xmlns:a16="http://schemas.microsoft.com/office/drawing/2014/main" id="{295C3E2E-8364-478C-90B7-AE4F5F4A977C}"/>
                  </a:ext>
                </a:extLst>
              </p:cNvPr>
              <p:cNvSpPr/>
              <p:nvPr/>
            </p:nvSpPr>
            <p:spPr>
              <a:xfrm>
                <a:off x="3485155" y="3439664"/>
                <a:ext cx="193169" cy="191200"/>
              </a:xfrm>
              <a:custGeom>
                <a:avLst/>
                <a:gdLst>
                  <a:gd name="connsiteX0" fmla="*/ 121554 w 193169"/>
                  <a:gd name="connsiteY0" fmla="*/ 191201 h 191200"/>
                  <a:gd name="connsiteX1" fmla="*/ 117014 w 193169"/>
                  <a:gd name="connsiteY1" fmla="*/ 188148 h 191200"/>
                  <a:gd name="connsiteX2" fmla="*/ 109237 w 193169"/>
                  <a:gd name="connsiteY2" fmla="*/ 169019 h 191200"/>
                  <a:gd name="connsiteX3" fmla="*/ 81367 w 193169"/>
                  <a:gd name="connsiteY3" fmla="*/ 168550 h 191200"/>
                  <a:gd name="connsiteX4" fmla="*/ 72964 w 193169"/>
                  <a:gd name="connsiteY4" fmla="*/ 187365 h 191200"/>
                  <a:gd name="connsiteX5" fmla="*/ 66518 w 193169"/>
                  <a:gd name="connsiteY5" fmla="*/ 189844 h 191200"/>
                  <a:gd name="connsiteX6" fmla="*/ 46450 w 193169"/>
                  <a:gd name="connsiteY6" fmla="*/ 180919 h 191200"/>
                  <a:gd name="connsiteX7" fmla="*/ 43867 w 193169"/>
                  <a:gd name="connsiteY7" fmla="*/ 178205 h 191200"/>
                  <a:gd name="connsiteX8" fmla="*/ 43971 w 193169"/>
                  <a:gd name="connsiteY8" fmla="*/ 174474 h 191200"/>
                  <a:gd name="connsiteX9" fmla="*/ 52374 w 193169"/>
                  <a:gd name="connsiteY9" fmla="*/ 155632 h 191200"/>
                  <a:gd name="connsiteX10" fmla="*/ 33429 w 193169"/>
                  <a:gd name="connsiteY10" fmla="*/ 135173 h 191200"/>
                  <a:gd name="connsiteX11" fmla="*/ 13961 w 193169"/>
                  <a:gd name="connsiteY11" fmla="*/ 142141 h 191200"/>
                  <a:gd name="connsiteX12" fmla="*/ 7724 w 193169"/>
                  <a:gd name="connsiteY12" fmla="*/ 139192 h 191200"/>
                  <a:gd name="connsiteX13" fmla="*/ 287 w 193169"/>
                  <a:gd name="connsiteY13" fmla="*/ 118472 h 191200"/>
                  <a:gd name="connsiteX14" fmla="*/ 470 w 193169"/>
                  <a:gd name="connsiteY14" fmla="*/ 114740 h 191200"/>
                  <a:gd name="connsiteX15" fmla="*/ 3236 w 193169"/>
                  <a:gd name="connsiteY15" fmla="*/ 112235 h 191200"/>
                  <a:gd name="connsiteX16" fmla="*/ 22677 w 193169"/>
                  <a:gd name="connsiteY16" fmla="*/ 105267 h 191200"/>
                  <a:gd name="connsiteX17" fmla="*/ 23617 w 193169"/>
                  <a:gd name="connsiteY17" fmla="*/ 80424 h 191200"/>
                  <a:gd name="connsiteX18" fmla="*/ 4775 w 193169"/>
                  <a:gd name="connsiteY18" fmla="*/ 71995 h 191200"/>
                  <a:gd name="connsiteX19" fmla="*/ 2322 w 193169"/>
                  <a:gd name="connsiteY19" fmla="*/ 65550 h 191200"/>
                  <a:gd name="connsiteX20" fmla="*/ 11273 w 193169"/>
                  <a:gd name="connsiteY20" fmla="*/ 45456 h 191200"/>
                  <a:gd name="connsiteX21" fmla="*/ 13987 w 193169"/>
                  <a:gd name="connsiteY21" fmla="*/ 42898 h 191200"/>
                  <a:gd name="connsiteX22" fmla="*/ 17719 w 193169"/>
                  <a:gd name="connsiteY22" fmla="*/ 43003 h 191200"/>
                  <a:gd name="connsiteX23" fmla="*/ 36560 w 193169"/>
                  <a:gd name="connsiteY23" fmla="*/ 51405 h 191200"/>
                  <a:gd name="connsiteX24" fmla="*/ 54462 w 193169"/>
                  <a:gd name="connsiteY24" fmla="*/ 34130 h 191200"/>
                  <a:gd name="connsiteX25" fmla="*/ 46685 w 193169"/>
                  <a:gd name="connsiteY25" fmla="*/ 14976 h 191200"/>
                  <a:gd name="connsiteX26" fmla="*/ 46711 w 193169"/>
                  <a:gd name="connsiteY26" fmla="*/ 11244 h 191200"/>
                  <a:gd name="connsiteX27" fmla="*/ 49373 w 193169"/>
                  <a:gd name="connsiteY27" fmla="*/ 8608 h 191200"/>
                  <a:gd name="connsiteX28" fmla="*/ 69780 w 193169"/>
                  <a:gd name="connsiteY28" fmla="*/ 362 h 191200"/>
                  <a:gd name="connsiteX29" fmla="*/ 76147 w 193169"/>
                  <a:gd name="connsiteY29" fmla="*/ 3050 h 191200"/>
                  <a:gd name="connsiteX30" fmla="*/ 83924 w 193169"/>
                  <a:gd name="connsiteY30" fmla="*/ 22178 h 191200"/>
                  <a:gd name="connsiteX31" fmla="*/ 111794 w 193169"/>
                  <a:gd name="connsiteY31" fmla="*/ 22648 h 191200"/>
                  <a:gd name="connsiteX32" fmla="*/ 120223 w 193169"/>
                  <a:gd name="connsiteY32" fmla="*/ 3807 h 191200"/>
                  <a:gd name="connsiteX33" fmla="*/ 126669 w 193169"/>
                  <a:gd name="connsiteY33" fmla="*/ 1328 h 191200"/>
                  <a:gd name="connsiteX34" fmla="*/ 146737 w 193169"/>
                  <a:gd name="connsiteY34" fmla="*/ 10279 h 191200"/>
                  <a:gd name="connsiteX35" fmla="*/ 149294 w 193169"/>
                  <a:gd name="connsiteY35" fmla="*/ 12993 h 191200"/>
                  <a:gd name="connsiteX36" fmla="*/ 149190 w 193169"/>
                  <a:gd name="connsiteY36" fmla="*/ 16724 h 191200"/>
                  <a:gd name="connsiteX37" fmla="*/ 140787 w 193169"/>
                  <a:gd name="connsiteY37" fmla="*/ 35565 h 191200"/>
                  <a:gd name="connsiteX38" fmla="*/ 159732 w 193169"/>
                  <a:gd name="connsiteY38" fmla="*/ 56025 h 191200"/>
                  <a:gd name="connsiteX39" fmla="*/ 179174 w 193169"/>
                  <a:gd name="connsiteY39" fmla="*/ 49083 h 191200"/>
                  <a:gd name="connsiteX40" fmla="*/ 185411 w 193169"/>
                  <a:gd name="connsiteY40" fmla="*/ 52032 h 191200"/>
                  <a:gd name="connsiteX41" fmla="*/ 192874 w 193169"/>
                  <a:gd name="connsiteY41" fmla="*/ 72700 h 191200"/>
                  <a:gd name="connsiteX42" fmla="*/ 192692 w 193169"/>
                  <a:gd name="connsiteY42" fmla="*/ 76431 h 191200"/>
                  <a:gd name="connsiteX43" fmla="*/ 189925 w 193169"/>
                  <a:gd name="connsiteY43" fmla="*/ 78963 h 191200"/>
                  <a:gd name="connsiteX44" fmla="*/ 170484 w 193169"/>
                  <a:gd name="connsiteY44" fmla="*/ 85930 h 191200"/>
                  <a:gd name="connsiteX45" fmla="*/ 169571 w 193169"/>
                  <a:gd name="connsiteY45" fmla="*/ 110774 h 191200"/>
                  <a:gd name="connsiteX46" fmla="*/ 188438 w 193169"/>
                  <a:gd name="connsiteY46" fmla="*/ 119176 h 191200"/>
                  <a:gd name="connsiteX47" fmla="*/ 190995 w 193169"/>
                  <a:gd name="connsiteY47" fmla="*/ 121890 h 191200"/>
                  <a:gd name="connsiteX48" fmla="*/ 190891 w 193169"/>
                  <a:gd name="connsiteY48" fmla="*/ 125622 h 191200"/>
                  <a:gd name="connsiteX49" fmla="*/ 181888 w 193169"/>
                  <a:gd name="connsiteY49" fmla="*/ 145716 h 191200"/>
                  <a:gd name="connsiteX50" fmla="*/ 175442 w 193169"/>
                  <a:gd name="connsiteY50" fmla="*/ 148169 h 191200"/>
                  <a:gd name="connsiteX51" fmla="*/ 156601 w 193169"/>
                  <a:gd name="connsiteY51" fmla="*/ 139766 h 191200"/>
                  <a:gd name="connsiteX52" fmla="*/ 138725 w 193169"/>
                  <a:gd name="connsiteY52" fmla="*/ 157042 h 191200"/>
                  <a:gd name="connsiteX53" fmla="*/ 146502 w 193169"/>
                  <a:gd name="connsiteY53" fmla="*/ 176196 h 191200"/>
                  <a:gd name="connsiteX54" fmla="*/ 146476 w 193169"/>
                  <a:gd name="connsiteY54" fmla="*/ 179927 h 191200"/>
                  <a:gd name="connsiteX55" fmla="*/ 143814 w 193169"/>
                  <a:gd name="connsiteY55" fmla="*/ 182563 h 191200"/>
                  <a:gd name="connsiteX56" fmla="*/ 123407 w 193169"/>
                  <a:gd name="connsiteY56" fmla="*/ 190836 h 191200"/>
                  <a:gd name="connsiteX57" fmla="*/ 121554 w 193169"/>
                  <a:gd name="connsiteY57" fmla="*/ 191201 h 191200"/>
                  <a:gd name="connsiteX58" fmla="*/ 112264 w 193169"/>
                  <a:gd name="connsiteY58" fmla="*/ 158529 h 191200"/>
                  <a:gd name="connsiteX59" fmla="*/ 116805 w 193169"/>
                  <a:gd name="connsiteY59" fmla="*/ 161582 h 191200"/>
                  <a:gd name="connsiteX60" fmla="*/ 124268 w 193169"/>
                  <a:gd name="connsiteY60" fmla="*/ 179954 h 191200"/>
                  <a:gd name="connsiteX61" fmla="*/ 135620 w 193169"/>
                  <a:gd name="connsiteY61" fmla="*/ 175361 h 191200"/>
                  <a:gd name="connsiteX62" fmla="*/ 128157 w 193169"/>
                  <a:gd name="connsiteY62" fmla="*/ 156989 h 191200"/>
                  <a:gd name="connsiteX63" fmla="*/ 130166 w 193169"/>
                  <a:gd name="connsiteY63" fmla="*/ 150961 h 191200"/>
                  <a:gd name="connsiteX64" fmla="*/ 150834 w 193169"/>
                  <a:gd name="connsiteY64" fmla="*/ 130998 h 191200"/>
                  <a:gd name="connsiteX65" fmla="*/ 156914 w 193169"/>
                  <a:gd name="connsiteY65" fmla="*/ 129223 h 191200"/>
                  <a:gd name="connsiteX66" fmla="*/ 174998 w 193169"/>
                  <a:gd name="connsiteY66" fmla="*/ 137313 h 191200"/>
                  <a:gd name="connsiteX67" fmla="*/ 180009 w 193169"/>
                  <a:gd name="connsiteY67" fmla="*/ 126144 h 191200"/>
                  <a:gd name="connsiteX68" fmla="*/ 161898 w 193169"/>
                  <a:gd name="connsiteY68" fmla="*/ 118080 h 191200"/>
                  <a:gd name="connsiteX69" fmla="*/ 159158 w 193169"/>
                  <a:gd name="connsiteY69" fmla="*/ 112365 h 191200"/>
                  <a:gd name="connsiteX70" fmla="*/ 160228 w 193169"/>
                  <a:gd name="connsiteY70" fmla="*/ 83660 h 191200"/>
                  <a:gd name="connsiteX71" fmla="*/ 163386 w 193169"/>
                  <a:gd name="connsiteY71" fmla="*/ 78128 h 191200"/>
                  <a:gd name="connsiteX72" fmla="*/ 182044 w 193169"/>
                  <a:gd name="connsiteY72" fmla="*/ 71421 h 191200"/>
                  <a:gd name="connsiteX73" fmla="*/ 177895 w 193169"/>
                  <a:gd name="connsiteY73" fmla="*/ 59939 h 191200"/>
                  <a:gd name="connsiteX74" fmla="*/ 159237 w 193169"/>
                  <a:gd name="connsiteY74" fmla="*/ 66593 h 191200"/>
                  <a:gd name="connsiteX75" fmla="*/ 153313 w 193169"/>
                  <a:gd name="connsiteY75" fmla="*/ 64349 h 191200"/>
                  <a:gd name="connsiteX76" fmla="*/ 132045 w 193169"/>
                  <a:gd name="connsiteY76" fmla="*/ 41385 h 191200"/>
                  <a:gd name="connsiteX77" fmla="*/ 130244 w 193169"/>
                  <a:gd name="connsiteY77" fmla="*/ 35304 h 191200"/>
                  <a:gd name="connsiteX78" fmla="*/ 138334 w 193169"/>
                  <a:gd name="connsiteY78" fmla="*/ 17220 h 191200"/>
                  <a:gd name="connsiteX79" fmla="*/ 127191 w 193169"/>
                  <a:gd name="connsiteY79" fmla="*/ 12236 h 191200"/>
                  <a:gd name="connsiteX80" fmla="*/ 119101 w 193169"/>
                  <a:gd name="connsiteY80" fmla="*/ 30320 h 191200"/>
                  <a:gd name="connsiteX81" fmla="*/ 113386 w 193169"/>
                  <a:gd name="connsiteY81" fmla="*/ 33060 h 191200"/>
                  <a:gd name="connsiteX82" fmla="*/ 82071 w 193169"/>
                  <a:gd name="connsiteY82" fmla="*/ 32538 h 191200"/>
                  <a:gd name="connsiteX83" fmla="*/ 76434 w 193169"/>
                  <a:gd name="connsiteY83" fmla="*/ 29616 h 191200"/>
                  <a:gd name="connsiteX84" fmla="*/ 68971 w 193169"/>
                  <a:gd name="connsiteY84" fmla="*/ 11244 h 191200"/>
                  <a:gd name="connsiteX85" fmla="*/ 57619 w 193169"/>
                  <a:gd name="connsiteY85" fmla="*/ 15811 h 191200"/>
                  <a:gd name="connsiteX86" fmla="*/ 65083 w 193169"/>
                  <a:gd name="connsiteY86" fmla="*/ 34182 h 191200"/>
                  <a:gd name="connsiteX87" fmla="*/ 63073 w 193169"/>
                  <a:gd name="connsiteY87" fmla="*/ 40210 h 191200"/>
                  <a:gd name="connsiteX88" fmla="*/ 42380 w 193169"/>
                  <a:gd name="connsiteY88" fmla="*/ 60174 h 191200"/>
                  <a:gd name="connsiteX89" fmla="*/ 36299 w 193169"/>
                  <a:gd name="connsiteY89" fmla="*/ 61974 h 191200"/>
                  <a:gd name="connsiteX90" fmla="*/ 18215 w 193169"/>
                  <a:gd name="connsiteY90" fmla="*/ 53911 h 191200"/>
                  <a:gd name="connsiteX91" fmla="*/ 13230 w 193169"/>
                  <a:gd name="connsiteY91" fmla="*/ 65080 h 191200"/>
                  <a:gd name="connsiteX92" fmla="*/ 31315 w 193169"/>
                  <a:gd name="connsiteY92" fmla="*/ 73169 h 191200"/>
                  <a:gd name="connsiteX93" fmla="*/ 34029 w 193169"/>
                  <a:gd name="connsiteY93" fmla="*/ 78911 h 191200"/>
                  <a:gd name="connsiteX94" fmla="*/ 32959 w 193169"/>
                  <a:gd name="connsiteY94" fmla="*/ 107590 h 191200"/>
                  <a:gd name="connsiteX95" fmla="*/ 29801 w 193169"/>
                  <a:gd name="connsiteY95" fmla="*/ 113122 h 191200"/>
                  <a:gd name="connsiteX96" fmla="*/ 11143 w 193169"/>
                  <a:gd name="connsiteY96" fmla="*/ 119803 h 191200"/>
                  <a:gd name="connsiteX97" fmla="*/ 15266 w 193169"/>
                  <a:gd name="connsiteY97" fmla="*/ 131337 h 191200"/>
                  <a:gd name="connsiteX98" fmla="*/ 33924 w 193169"/>
                  <a:gd name="connsiteY98" fmla="*/ 124657 h 191200"/>
                  <a:gd name="connsiteX99" fmla="*/ 39848 w 193169"/>
                  <a:gd name="connsiteY99" fmla="*/ 126901 h 191200"/>
                  <a:gd name="connsiteX100" fmla="*/ 61142 w 193169"/>
                  <a:gd name="connsiteY100" fmla="*/ 149865 h 191200"/>
                  <a:gd name="connsiteX101" fmla="*/ 62917 w 193169"/>
                  <a:gd name="connsiteY101" fmla="*/ 155945 h 191200"/>
                  <a:gd name="connsiteX102" fmla="*/ 54853 w 193169"/>
                  <a:gd name="connsiteY102" fmla="*/ 174030 h 191200"/>
                  <a:gd name="connsiteX103" fmla="*/ 65996 w 193169"/>
                  <a:gd name="connsiteY103" fmla="*/ 178988 h 191200"/>
                  <a:gd name="connsiteX104" fmla="*/ 74060 w 193169"/>
                  <a:gd name="connsiteY104" fmla="*/ 160930 h 191200"/>
                  <a:gd name="connsiteX105" fmla="*/ 79775 w 193169"/>
                  <a:gd name="connsiteY105" fmla="*/ 158190 h 191200"/>
                  <a:gd name="connsiteX106" fmla="*/ 111090 w 193169"/>
                  <a:gd name="connsiteY106" fmla="*/ 158712 h 191200"/>
                  <a:gd name="connsiteX107" fmla="*/ 112264 w 193169"/>
                  <a:gd name="connsiteY107" fmla="*/ 158529 h 191200"/>
                  <a:gd name="connsiteX108" fmla="*/ 96580 w 193169"/>
                  <a:gd name="connsiteY108" fmla="*/ 137548 h 191200"/>
                  <a:gd name="connsiteX109" fmla="*/ 87003 w 193169"/>
                  <a:gd name="connsiteY109" fmla="*/ 136452 h 191200"/>
                  <a:gd name="connsiteX110" fmla="*/ 87003 w 193169"/>
                  <a:gd name="connsiteY110" fmla="*/ 136452 h 191200"/>
                  <a:gd name="connsiteX111" fmla="*/ 60934 w 193169"/>
                  <a:gd name="connsiteY111" fmla="*/ 117715 h 191200"/>
                  <a:gd name="connsiteX112" fmla="*/ 55766 w 193169"/>
                  <a:gd name="connsiteY112" fmla="*/ 86035 h 191200"/>
                  <a:gd name="connsiteX113" fmla="*/ 106132 w 193169"/>
                  <a:gd name="connsiteY113" fmla="*/ 54746 h 191200"/>
                  <a:gd name="connsiteX114" fmla="*/ 137420 w 193169"/>
                  <a:gd name="connsiteY114" fmla="*/ 105163 h 191200"/>
                  <a:gd name="connsiteX115" fmla="*/ 96580 w 193169"/>
                  <a:gd name="connsiteY115" fmla="*/ 137548 h 191200"/>
                  <a:gd name="connsiteX116" fmla="*/ 96580 w 193169"/>
                  <a:gd name="connsiteY116" fmla="*/ 63384 h 191200"/>
                  <a:gd name="connsiteX117" fmla="*/ 65265 w 193169"/>
                  <a:gd name="connsiteY117" fmla="*/ 88227 h 191200"/>
                  <a:gd name="connsiteX118" fmla="*/ 69232 w 193169"/>
                  <a:gd name="connsiteY118" fmla="*/ 112548 h 191200"/>
                  <a:gd name="connsiteX119" fmla="*/ 89222 w 193169"/>
                  <a:gd name="connsiteY119" fmla="*/ 126927 h 191200"/>
                  <a:gd name="connsiteX120" fmla="*/ 89222 w 193169"/>
                  <a:gd name="connsiteY120" fmla="*/ 126927 h 191200"/>
                  <a:gd name="connsiteX121" fmla="*/ 127895 w 193169"/>
                  <a:gd name="connsiteY121" fmla="*/ 102919 h 191200"/>
                  <a:gd name="connsiteX122" fmla="*/ 103913 w 193169"/>
                  <a:gd name="connsiteY122" fmla="*/ 64245 h 191200"/>
                  <a:gd name="connsiteX123" fmla="*/ 96580 w 193169"/>
                  <a:gd name="connsiteY123" fmla="*/ 63384 h 19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93169" h="191200">
                    <a:moveTo>
                      <a:pt x="121554" y="191201"/>
                    </a:moveTo>
                    <a:cubicBezTo>
                      <a:pt x="119623" y="191201"/>
                      <a:pt x="117796" y="190053"/>
                      <a:pt x="117014" y="188148"/>
                    </a:cubicBezTo>
                    <a:lnTo>
                      <a:pt x="109237" y="169019"/>
                    </a:lnTo>
                    <a:cubicBezTo>
                      <a:pt x="100051" y="170611"/>
                      <a:pt x="90552" y="170455"/>
                      <a:pt x="81367" y="168550"/>
                    </a:cubicBezTo>
                    <a:lnTo>
                      <a:pt x="72964" y="187365"/>
                    </a:lnTo>
                    <a:cubicBezTo>
                      <a:pt x="71868" y="189844"/>
                      <a:pt x="68945" y="190914"/>
                      <a:pt x="66518" y="189844"/>
                    </a:cubicBezTo>
                    <a:lnTo>
                      <a:pt x="46450" y="180919"/>
                    </a:lnTo>
                    <a:cubicBezTo>
                      <a:pt x="45276" y="180397"/>
                      <a:pt x="44337" y="179406"/>
                      <a:pt x="43867" y="178205"/>
                    </a:cubicBezTo>
                    <a:cubicBezTo>
                      <a:pt x="43397" y="177005"/>
                      <a:pt x="43449" y="175648"/>
                      <a:pt x="43971" y="174474"/>
                    </a:cubicBezTo>
                    <a:lnTo>
                      <a:pt x="52374" y="155632"/>
                    </a:lnTo>
                    <a:cubicBezTo>
                      <a:pt x="44859" y="150100"/>
                      <a:pt x="38413" y="143132"/>
                      <a:pt x="33429" y="135173"/>
                    </a:cubicBezTo>
                    <a:lnTo>
                      <a:pt x="13961" y="142141"/>
                    </a:lnTo>
                    <a:cubicBezTo>
                      <a:pt x="11404" y="143054"/>
                      <a:pt x="8638" y="141723"/>
                      <a:pt x="7724" y="139192"/>
                    </a:cubicBezTo>
                    <a:lnTo>
                      <a:pt x="287" y="118472"/>
                    </a:lnTo>
                    <a:cubicBezTo>
                      <a:pt x="-157" y="117245"/>
                      <a:pt x="-78" y="115914"/>
                      <a:pt x="470" y="114740"/>
                    </a:cubicBezTo>
                    <a:cubicBezTo>
                      <a:pt x="1017" y="113566"/>
                      <a:pt x="2009" y="112679"/>
                      <a:pt x="3236" y="112235"/>
                    </a:cubicBezTo>
                    <a:lnTo>
                      <a:pt x="22677" y="105267"/>
                    </a:lnTo>
                    <a:cubicBezTo>
                      <a:pt x="21581" y="97047"/>
                      <a:pt x="21920" y="88592"/>
                      <a:pt x="23617" y="80424"/>
                    </a:cubicBezTo>
                    <a:lnTo>
                      <a:pt x="4775" y="71995"/>
                    </a:lnTo>
                    <a:cubicBezTo>
                      <a:pt x="2322" y="70899"/>
                      <a:pt x="1226" y="68003"/>
                      <a:pt x="2322" y="65550"/>
                    </a:cubicBezTo>
                    <a:lnTo>
                      <a:pt x="11273" y="45456"/>
                    </a:lnTo>
                    <a:cubicBezTo>
                      <a:pt x="11795" y="44281"/>
                      <a:pt x="12787" y="43342"/>
                      <a:pt x="13987" y="42898"/>
                    </a:cubicBezTo>
                    <a:cubicBezTo>
                      <a:pt x="15214" y="42429"/>
                      <a:pt x="16545" y="42455"/>
                      <a:pt x="17719" y="43003"/>
                    </a:cubicBezTo>
                    <a:lnTo>
                      <a:pt x="36560" y="51405"/>
                    </a:lnTo>
                    <a:cubicBezTo>
                      <a:pt x="41518" y="44673"/>
                      <a:pt x="47520" y="38880"/>
                      <a:pt x="54462" y="34130"/>
                    </a:cubicBezTo>
                    <a:lnTo>
                      <a:pt x="46685" y="14976"/>
                    </a:lnTo>
                    <a:cubicBezTo>
                      <a:pt x="46190" y="13775"/>
                      <a:pt x="46190" y="12444"/>
                      <a:pt x="46711" y="11244"/>
                    </a:cubicBezTo>
                    <a:cubicBezTo>
                      <a:pt x="47207" y="10044"/>
                      <a:pt x="48173" y="9104"/>
                      <a:pt x="49373" y="8608"/>
                    </a:cubicBezTo>
                    <a:lnTo>
                      <a:pt x="69780" y="362"/>
                    </a:lnTo>
                    <a:cubicBezTo>
                      <a:pt x="72259" y="-656"/>
                      <a:pt x="75130" y="545"/>
                      <a:pt x="76147" y="3050"/>
                    </a:cubicBezTo>
                    <a:lnTo>
                      <a:pt x="83924" y="22178"/>
                    </a:lnTo>
                    <a:cubicBezTo>
                      <a:pt x="93110" y="20586"/>
                      <a:pt x="102609" y="20743"/>
                      <a:pt x="111794" y="22648"/>
                    </a:cubicBezTo>
                    <a:lnTo>
                      <a:pt x="120223" y="3807"/>
                    </a:lnTo>
                    <a:cubicBezTo>
                      <a:pt x="121320" y="1328"/>
                      <a:pt x="124216" y="232"/>
                      <a:pt x="126669" y="1328"/>
                    </a:cubicBezTo>
                    <a:lnTo>
                      <a:pt x="146737" y="10279"/>
                    </a:lnTo>
                    <a:cubicBezTo>
                      <a:pt x="147911" y="10800"/>
                      <a:pt x="148850" y="11792"/>
                      <a:pt x="149294" y="12993"/>
                    </a:cubicBezTo>
                    <a:cubicBezTo>
                      <a:pt x="149764" y="14219"/>
                      <a:pt x="149711" y="15550"/>
                      <a:pt x="149190" y="16724"/>
                    </a:cubicBezTo>
                    <a:lnTo>
                      <a:pt x="140787" y="35565"/>
                    </a:lnTo>
                    <a:cubicBezTo>
                      <a:pt x="148303" y="41072"/>
                      <a:pt x="154748" y="48039"/>
                      <a:pt x="159732" y="56025"/>
                    </a:cubicBezTo>
                    <a:lnTo>
                      <a:pt x="179174" y="49083"/>
                    </a:lnTo>
                    <a:cubicBezTo>
                      <a:pt x="181679" y="48170"/>
                      <a:pt x="184497" y="49501"/>
                      <a:pt x="185411" y="52032"/>
                    </a:cubicBezTo>
                    <a:lnTo>
                      <a:pt x="192874" y="72700"/>
                    </a:lnTo>
                    <a:cubicBezTo>
                      <a:pt x="193318" y="73926"/>
                      <a:pt x="193266" y="75257"/>
                      <a:pt x="192692" y="76431"/>
                    </a:cubicBezTo>
                    <a:cubicBezTo>
                      <a:pt x="192143" y="77606"/>
                      <a:pt x="191152" y="78519"/>
                      <a:pt x="189925" y="78963"/>
                    </a:cubicBezTo>
                    <a:lnTo>
                      <a:pt x="170484" y="85930"/>
                    </a:lnTo>
                    <a:cubicBezTo>
                      <a:pt x="171580" y="94150"/>
                      <a:pt x="171267" y="102632"/>
                      <a:pt x="169571" y="110774"/>
                    </a:cubicBezTo>
                    <a:lnTo>
                      <a:pt x="188438" y="119176"/>
                    </a:lnTo>
                    <a:cubicBezTo>
                      <a:pt x="189612" y="119698"/>
                      <a:pt x="190552" y="120690"/>
                      <a:pt x="190995" y="121890"/>
                    </a:cubicBezTo>
                    <a:cubicBezTo>
                      <a:pt x="191465" y="123091"/>
                      <a:pt x="191413" y="124448"/>
                      <a:pt x="190891" y="125622"/>
                    </a:cubicBezTo>
                    <a:lnTo>
                      <a:pt x="181888" y="145716"/>
                    </a:lnTo>
                    <a:cubicBezTo>
                      <a:pt x="180792" y="148169"/>
                      <a:pt x="177869" y="149291"/>
                      <a:pt x="175442" y="148169"/>
                    </a:cubicBezTo>
                    <a:lnTo>
                      <a:pt x="156601" y="139766"/>
                    </a:lnTo>
                    <a:cubicBezTo>
                      <a:pt x="151669" y="146473"/>
                      <a:pt x="145588" y="152344"/>
                      <a:pt x="138725" y="157042"/>
                    </a:cubicBezTo>
                    <a:lnTo>
                      <a:pt x="146502" y="176196"/>
                    </a:lnTo>
                    <a:cubicBezTo>
                      <a:pt x="146998" y="177396"/>
                      <a:pt x="146972" y="178727"/>
                      <a:pt x="146476" y="179927"/>
                    </a:cubicBezTo>
                    <a:cubicBezTo>
                      <a:pt x="145980" y="181128"/>
                      <a:pt x="145014" y="182067"/>
                      <a:pt x="143814" y="182563"/>
                    </a:cubicBezTo>
                    <a:lnTo>
                      <a:pt x="123407" y="190836"/>
                    </a:lnTo>
                    <a:cubicBezTo>
                      <a:pt x="122781" y="191070"/>
                      <a:pt x="122154" y="191201"/>
                      <a:pt x="121554" y="191201"/>
                    </a:cubicBezTo>
                    <a:close/>
                    <a:moveTo>
                      <a:pt x="112264" y="158529"/>
                    </a:moveTo>
                    <a:cubicBezTo>
                      <a:pt x="114221" y="158529"/>
                      <a:pt x="116022" y="159703"/>
                      <a:pt x="116805" y="161582"/>
                    </a:cubicBezTo>
                    <a:lnTo>
                      <a:pt x="124268" y="179954"/>
                    </a:lnTo>
                    <a:lnTo>
                      <a:pt x="135620" y="175361"/>
                    </a:lnTo>
                    <a:lnTo>
                      <a:pt x="128157" y="156989"/>
                    </a:lnTo>
                    <a:cubicBezTo>
                      <a:pt x="127243" y="154771"/>
                      <a:pt x="128104" y="152214"/>
                      <a:pt x="130166" y="150961"/>
                    </a:cubicBezTo>
                    <a:cubicBezTo>
                      <a:pt x="138412" y="146003"/>
                      <a:pt x="145562" y="139088"/>
                      <a:pt x="150834" y="130998"/>
                    </a:cubicBezTo>
                    <a:cubicBezTo>
                      <a:pt x="152139" y="128962"/>
                      <a:pt x="154748" y="128232"/>
                      <a:pt x="156914" y="129223"/>
                    </a:cubicBezTo>
                    <a:lnTo>
                      <a:pt x="174998" y="137313"/>
                    </a:lnTo>
                    <a:lnTo>
                      <a:pt x="180009" y="126144"/>
                    </a:lnTo>
                    <a:lnTo>
                      <a:pt x="161898" y="118080"/>
                    </a:lnTo>
                    <a:cubicBezTo>
                      <a:pt x="159706" y="117115"/>
                      <a:pt x="158558" y="114662"/>
                      <a:pt x="159158" y="112365"/>
                    </a:cubicBezTo>
                    <a:cubicBezTo>
                      <a:pt x="161690" y="103023"/>
                      <a:pt x="162055" y="93107"/>
                      <a:pt x="160228" y="83660"/>
                    </a:cubicBezTo>
                    <a:cubicBezTo>
                      <a:pt x="159759" y="81311"/>
                      <a:pt x="161116" y="78963"/>
                      <a:pt x="163386" y="78128"/>
                    </a:cubicBezTo>
                    <a:lnTo>
                      <a:pt x="182044" y="71421"/>
                    </a:lnTo>
                    <a:lnTo>
                      <a:pt x="177895" y="59939"/>
                    </a:lnTo>
                    <a:lnTo>
                      <a:pt x="159237" y="66593"/>
                    </a:lnTo>
                    <a:cubicBezTo>
                      <a:pt x="156992" y="67428"/>
                      <a:pt x="154461" y="66437"/>
                      <a:pt x="153313" y="64349"/>
                    </a:cubicBezTo>
                    <a:cubicBezTo>
                      <a:pt x="148198" y="55033"/>
                      <a:pt x="140839" y="47100"/>
                      <a:pt x="132045" y="41385"/>
                    </a:cubicBezTo>
                    <a:cubicBezTo>
                      <a:pt x="130035" y="40080"/>
                      <a:pt x="129279" y="37497"/>
                      <a:pt x="130244" y="35304"/>
                    </a:cubicBezTo>
                    <a:lnTo>
                      <a:pt x="138334" y="17220"/>
                    </a:lnTo>
                    <a:lnTo>
                      <a:pt x="127191" y="12236"/>
                    </a:lnTo>
                    <a:lnTo>
                      <a:pt x="119101" y="30320"/>
                    </a:lnTo>
                    <a:cubicBezTo>
                      <a:pt x="118136" y="32512"/>
                      <a:pt x="115735" y="33686"/>
                      <a:pt x="113386" y="33060"/>
                    </a:cubicBezTo>
                    <a:cubicBezTo>
                      <a:pt x="103130" y="30346"/>
                      <a:pt x="92301" y="30137"/>
                      <a:pt x="82071" y="32538"/>
                    </a:cubicBezTo>
                    <a:cubicBezTo>
                      <a:pt x="79723" y="33060"/>
                      <a:pt x="77348" y="31860"/>
                      <a:pt x="76434" y="29616"/>
                    </a:cubicBezTo>
                    <a:lnTo>
                      <a:pt x="68971" y="11244"/>
                    </a:lnTo>
                    <a:lnTo>
                      <a:pt x="57619" y="15811"/>
                    </a:lnTo>
                    <a:lnTo>
                      <a:pt x="65083" y="34182"/>
                    </a:lnTo>
                    <a:cubicBezTo>
                      <a:pt x="65996" y="36400"/>
                      <a:pt x="65135" y="38958"/>
                      <a:pt x="63073" y="40210"/>
                    </a:cubicBezTo>
                    <a:cubicBezTo>
                      <a:pt x="54671" y="45299"/>
                      <a:pt x="47703" y="52006"/>
                      <a:pt x="42380" y="60174"/>
                    </a:cubicBezTo>
                    <a:cubicBezTo>
                      <a:pt x="41075" y="62183"/>
                      <a:pt x="38491" y="62940"/>
                      <a:pt x="36299" y="61974"/>
                    </a:cubicBezTo>
                    <a:lnTo>
                      <a:pt x="18215" y="53911"/>
                    </a:lnTo>
                    <a:lnTo>
                      <a:pt x="13230" y="65080"/>
                    </a:lnTo>
                    <a:lnTo>
                      <a:pt x="31315" y="73169"/>
                    </a:lnTo>
                    <a:cubicBezTo>
                      <a:pt x="33507" y="74161"/>
                      <a:pt x="34655" y="76588"/>
                      <a:pt x="34029" y="78911"/>
                    </a:cubicBezTo>
                    <a:cubicBezTo>
                      <a:pt x="31524" y="88227"/>
                      <a:pt x="31158" y="98143"/>
                      <a:pt x="32959" y="107590"/>
                    </a:cubicBezTo>
                    <a:cubicBezTo>
                      <a:pt x="33429" y="109965"/>
                      <a:pt x="32072" y="112287"/>
                      <a:pt x="29801" y="113122"/>
                    </a:cubicBezTo>
                    <a:lnTo>
                      <a:pt x="11143" y="119803"/>
                    </a:lnTo>
                    <a:lnTo>
                      <a:pt x="15266" y="131337"/>
                    </a:lnTo>
                    <a:lnTo>
                      <a:pt x="33924" y="124657"/>
                    </a:lnTo>
                    <a:cubicBezTo>
                      <a:pt x="36195" y="123848"/>
                      <a:pt x="38700" y="124787"/>
                      <a:pt x="39848" y="126901"/>
                    </a:cubicBezTo>
                    <a:cubicBezTo>
                      <a:pt x="44963" y="136165"/>
                      <a:pt x="52322" y="144124"/>
                      <a:pt x="61142" y="149865"/>
                    </a:cubicBezTo>
                    <a:cubicBezTo>
                      <a:pt x="63152" y="151170"/>
                      <a:pt x="63909" y="153753"/>
                      <a:pt x="62917" y="155945"/>
                    </a:cubicBezTo>
                    <a:lnTo>
                      <a:pt x="54853" y="174030"/>
                    </a:lnTo>
                    <a:lnTo>
                      <a:pt x="65996" y="178988"/>
                    </a:lnTo>
                    <a:lnTo>
                      <a:pt x="74060" y="160930"/>
                    </a:lnTo>
                    <a:cubicBezTo>
                      <a:pt x="75051" y="158738"/>
                      <a:pt x="77452" y="157563"/>
                      <a:pt x="79775" y="158190"/>
                    </a:cubicBezTo>
                    <a:cubicBezTo>
                      <a:pt x="90005" y="160904"/>
                      <a:pt x="100860" y="161112"/>
                      <a:pt x="111090" y="158712"/>
                    </a:cubicBezTo>
                    <a:cubicBezTo>
                      <a:pt x="111534" y="158581"/>
                      <a:pt x="111899" y="158529"/>
                      <a:pt x="112264" y="158529"/>
                    </a:cubicBezTo>
                    <a:close/>
                    <a:moveTo>
                      <a:pt x="96580" y="137548"/>
                    </a:moveTo>
                    <a:cubicBezTo>
                      <a:pt x="93423" y="137548"/>
                      <a:pt x="90213" y="137183"/>
                      <a:pt x="87003" y="136452"/>
                    </a:cubicBezTo>
                    <a:lnTo>
                      <a:pt x="87003" y="136452"/>
                    </a:lnTo>
                    <a:cubicBezTo>
                      <a:pt x="76095" y="133895"/>
                      <a:pt x="66831" y="127240"/>
                      <a:pt x="60934" y="117715"/>
                    </a:cubicBezTo>
                    <a:cubicBezTo>
                      <a:pt x="55036" y="108190"/>
                      <a:pt x="53209" y="96943"/>
                      <a:pt x="55766" y="86035"/>
                    </a:cubicBezTo>
                    <a:cubicBezTo>
                      <a:pt x="61038" y="63514"/>
                      <a:pt x="83663" y="49474"/>
                      <a:pt x="106132" y="54746"/>
                    </a:cubicBezTo>
                    <a:cubicBezTo>
                      <a:pt x="128652" y="60017"/>
                      <a:pt x="142692" y="82642"/>
                      <a:pt x="137420" y="105163"/>
                    </a:cubicBezTo>
                    <a:cubicBezTo>
                      <a:pt x="132880" y="124474"/>
                      <a:pt x="115604" y="137548"/>
                      <a:pt x="96580" y="137548"/>
                    </a:cubicBezTo>
                    <a:close/>
                    <a:moveTo>
                      <a:pt x="96580" y="63384"/>
                    </a:moveTo>
                    <a:cubicBezTo>
                      <a:pt x="81993" y="63384"/>
                      <a:pt x="68736" y="73404"/>
                      <a:pt x="65265" y="88227"/>
                    </a:cubicBezTo>
                    <a:cubicBezTo>
                      <a:pt x="63308" y="96603"/>
                      <a:pt x="64717" y="105241"/>
                      <a:pt x="69232" y="112548"/>
                    </a:cubicBezTo>
                    <a:cubicBezTo>
                      <a:pt x="73747" y="119855"/>
                      <a:pt x="80845" y="124944"/>
                      <a:pt x="89222" y="126927"/>
                    </a:cubicBezTo>
                    <a:lnTo>
                      <a:pt x="89222" y="126927"/>
                    </a:lnTo>
                    <a:cubicBezTo>
                      <a:pt x="106523" y="130998"/>
                      <a:pt x="123851" y="120220"/>
                      <a:pt x="127895" y="102919"/>
                    </a:cubicBezTo>
                    <a:cubicBezTo>
                      <a:pt x="131940" y="85643"/>
                      <a:pt x="121189" y="68290"/>
                      <a:pt x="103913" y="64245"/>
                    </a:cubicBezTo>
                    <a:cubicBezTo>
                      <a:pt x="101460" y="63671"/>
                      <a:pt x="99007" y="63384"/>
                      <a:pt x="96580" y="63384"/>
                    </a:cubicBezTo>
                    <a:close/>
                  </a:path>
                </a:pathLst>
              </a:custGeom>
              <a:grpFill/>
              <a:ln w="2603" cap="flat">
                <a:noFill/>
                <a:prstDash val="solid"/>
                <a:miter/>
              </a:ln>
            </p:spPr>
            <p:txBody>
              <a:bodyPr rtlCol="0" anchor="ctr"/>
              <a:lstStyle/>
              <a:p>
                <a:endParaRPr lang="en-GB" dirty="0"/>
              </a:p>
            </p:txBody>
          </p:sp>
        </p:grpSp>
        <p:grpSp>
          <p:nvGrpSpPr>
            <p:cNvPr id="477" name="Group 476">
              <a:extLst>
                <a:ext uri="{FF2B5EF4-FFF2-40B4-BE49-F238E27FC236}">
                  <a16:creationId xmlns:a16="http://schemas.microsoft.com/office/drawing/2014/main" id="{310122C4-23CF-4070-92B8-20DF43E94EE5}"/>
                </a:ext>
              </a:extLst>
            </p:cNvPr>
            <p:cNvGrpSpPr/>
            <p:nvPr/>
          </p:nvGrpSpPr>
          <p:grpSpPr>
            <a:xfrm>
              <a:off x="7163666" y="3251235"/>
              <a:ext cx="270823" cy="377830"/>
              <a:chOff x="3424143" y="3378179"/>
              <a:chExt cx="315106" cy="439610"/>
            </a:xfrm>
            <a:solidFill>
              <a:schemeClr val="accent1"/>
            </a:solidFill>
          </p:grpSpPr>
          <p:sp>
            <p:nvSpPr>
              <p:cNvPr id="478" name="Freihandform: Form 456">
                <a:extLst>
                  <a:ext uri="{FF2B5EF4-FFF2-40B4-BE49-F238E27FC236}">
                    <a16:creationId xmlns:a16="http://schemas.microsoft.com/office/drawing/2014/main" id="{66157B80-275F-428E-99F2-EBC685771E7C}"/>
                  </a:ext>
                </a:extLst>
              </p:cNvPr>
              <p:cNvSpPr/>
              <p:nvPr/>
            </p:nvSpPr>
            <p:spPr>
              <a:xfrm>
                <a:off x="3424143" y="3378179"/>
                <a:ext cx="315106" cy="355947"/>
              </a:xfrm>
              <a:custGeom>
                <a:avLst/>
                <a:gdLst>
                  <a:gd name="connsiteX0" fmla="*/ 230139 w 315106"/>
                  <a:gd name="connsiteY0" fmla="*/ 355947 h 355947"/>
                  <a:gd name="connsiteX1" fmla="*/ 85020 w 315106"/>
                  <a:gd name="connsiteY1" fmla="*/ 355947 h 355947"/>
                  <a:gd name="connsiteX2" fmla="*/ 80140 w 315106"/>
                  <a:gd name="connsiteY2" fmla="*/ 351067 h 355947"/>
                  <a:gd name="connsiteX3" fmla="*/ 80140 w 315106"/>
                  <a:gd name="connsiteY3" fmla="*/ 297936 h 355947"/>
                  <a:gd name="connsiteX4" fmla="*/ 66231 w 315106"/>
                  <a:gd name="connsiteY4" fmla="*/ 285932 h 355947"/>
                  <a:gd name="connsiteX5" fmla="*/ 0 w 315106"/>
                  <a:gd name="connsiteY5" fmla="*/ 157567 h 355947"/>
                  <a:gd name="connsiteX6" fmla="*/ 157541 w 315106"/>
                  <a:gd name="connsiteY6" fmla="*/ 0 h 355947"/>
                  <a:gd name="connsiteX7" fmla="*/ 315107 w 315106"/>
                  <a:gd name="connsiteY7" fmla="*/ 157567 h 355947"/>
                  <a:gd name="connsiteX8" fmla="*/ 247623 w 315106"/>
                  <a:gd name="connsiteY8" fmla="*/ 286871 h 355947"/>
                  <a:gd name="connsiteX9" fmla="*/ 234967 w 315106"/>
                  <a:gd name="connsiteY9" fmla="*/ 311401 h 355947"/>
                  <a:gd name="connsiteX10" fmla="*/ 234967 w 315106"/>
                  <a:gd name="connsiteY10" fmla="*/ 351067 h 355947"/>
                  <a:gd name="connsiteX11" fmla="*/ 230139 w 315106"/>
                  <a:gd name="connsiteY11" fmla="*/ 355947 h 355947"/>
                  <a:gd name="connsiteX12" fmla="*/ 89926 w 315106"/>
                  <a:gd name="connsiteY12" fmla="*/ 346187 h 355947"/>
                  <a:gd name="connsiteX13" fmla="*/ 225259 w 315106"/>
                  <a:gd name="connsiteY13" fmla="*/ 346187 h 355947"/>
                  <a:gd name="connsiteX14" fmla="*/ 225259 w 315106"/>
                  <a:gd name="connsiteY14" fmla="*/ 311767 h 355947"/>
                  <a:gd name="connsiteX15" fmla="*/ 242456 w 315106"/>
                  <a:gd name="connsiteY15" fmla="*/ 278599 h 355947"/>
                  <a:gd name="connsiteX16" fmla="*/ 305373 w 315106"/>
                  <a:gd name="connsiteY16" fmla="*/ 157567 h 355947"/>
                  <a:gd name="connsiteX17" fmla="*/ 157566 w 315106"/>
                  <a:gd name="connsiteY17" fmla="*/ 9760 h 355947"/>
                  <a:gd name="connsiteX18" fmla="*/ 9786 w 315106"/>
                  <a:gd name="connsiteY18" fmla="*/ 157567 h 355947"/>
                  <a:gd name="connsiteX19" fmla="*/ 71789 w 315106"/>
                  <a:gd name="connsiteY19" fmla="*/ 277894 h 355947"/>
                  <a:gd name="connsiteX20" fmla="*/ 89561 w 315106"/>
                  <a:gd name="connsiteY20" fmla="*/ 294831 h 355947"/>
                  <a:gd name="connsiteX21" fmla="*/ 89900 w 315106"/>
                  <a:gd name="connsiteY21" fmla="*/ 296631 h 355947"/>
                  <a:gd name="connsiteX22" fmla="*/ 89900 w 315106"/>
                  <a:gd name="connsiteY22" fmla="*/ 346187 h 355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5106" h="355947">
                    <a:moveTo>
                      <a:pt x="230139" y="355947"/>
                    </a:moveTo>
                    <a:lnTo>
                      <a:pt x="85020" y="355947"/>
                    </a:lnTo>
                    <a:cubicBezTo>
                      <a:pt x="82332" y="355947"/>
                      <a:pt x="80140" y="353755"/>
                      <a:pt x="80140" y="351067"/>
                    </a:cubicBezTo>
                    <a:lnTo>
                      <a:pt x="80140" y="297936"/>
                    </a:lnTo>
                    <a:cubicBezTo>
                      <a:pt x="79123" y="296579"/>
                      <a:pt x="75678" y="292430"/>
                      <a:pt x="66231" y="285932"/>
                    </a:cubicBezTo>
                    <a:cubicBezTo>
                      <a:pt x="24765" y="257305"/>
                      <a:pt x="0" y="209315"/>
                      <a:pt x="0" y="157567"/>
                    </a:cubicBezTo>
                    <a:cubicBezTo>
                      <a:pt x="0" y="70694"/>
                      <a:pt x="70668" y="0"/>
                      <a:pt x="157541" y="0"/>
                    </a:cubicBezTo>
                    <a:cubicBezTo>
                      <a:pt x="244413" y="0"/>
                      <a:pt x="315107" y="70694"/>
                      <a:pt x="315107" y="157567"/>
                    </a:cubicBezTo>
                    <a:cubicBezTo>
                      <a:pt x="315107" y="210932"/>
                      <a:pt x="289246" y="260462"/>
                      <a:pt x="247623" y="286871"/>
                    </a:cubicBezTo>
                    <a:cubicBezTo>
                      <a:pt x="233975" y="295457"/>
                      <a:pt x="234915" y="310749"/>
                      <a:pt x="234967" y="311401"/>
                    </a:cubicBezTo>
                    <a:lnTo>
                      <a:pt x="234967" y="351067"/>
                    </a:lnTo>
                    <a:cubicBezTo>
                      <a:pt x="235019" y="353755"/>
                      <a:pt x="232827" y="355947"/>
                      <a:pt x="230139" y="355947"/>
                    </a:cubicBezTo>
                    <a:close/>
                    <a:moveTo>
                      <a:pt x="89926" y="346187"/>
                    </a:moveTo>
                    <a:lnTo>
                      <a:pt x="225259" y="346187"/>
                    </a:lnTo>
                    <a:lnTo>
                      <a:pt x="225259" y="311767"/>
                    </a:lnTo>
                    <a:cubicBezTo>
                      <a:pt x="225207" y="311271"/>
                      <a:pt x="223720" y="290420"/>
                      <a:pt x="242456" y="278599"/>
                    </a:cubicBezTo>
                    <a:cubicBezTo>
                      <a:pt x="281261" y="253991"/>
                      <a:pt x="305373" y="207618"/>
                      <a:pt x="305373" y="157567"/>
                    </a:cubicBezTo>
                    <a:cubicBezTo>
                      <a:pt x="305373" y="76069"/>
                      <a:pt x="239064" y="9760"/>
                      <a:pt x="157566" y="9760"/>
                    </a:cubicBezTo>
                    <a:cubicBezTo>
                      <a:pt x="76069" y="9760"/>
                      <a:pt x="9786" y="76069"/>
                      <a:pt x="9786" y="157567"/>
                    </a:cubicBezTo>
                    <a:cubicBezTo>
                      <a:pt x="9786" y="206131"/>
                      <a:pt x="32959" y="251094"/>
                      <a:pt x="71789" y="277894"/>
                    </a:cubicBezTo>
                    <a:cubicBezTo>
                      <a:pt x="85907" y="287628"/>
                      <a:pt x="88961" y="293317"/>
                      <a:pt x="89561" y="294831"/>
                    </a:cubicBezTo>
                    <a:cubicBezTo>
                      <a:pt x="89796" y="295405"/>
                      <a:pt x="89900" y="296031"/>
                      <a:pt x="89900" y="296631"/>
                    </a:cubicBezTo>
                    <a:lnTo>
                      <a:pt x="89900" y="346187"/>
                    </a:lnTo>
                    <a:close/>
                  </a:path>
                </a:pathLst>
              </a:custGeom>
              <a:solidFill>
                <a:schemeClr val="accent1"/>
              </a:solidFill>
              <a:ln w="2603" cap="flat">
                <a:noFill/>
                <a:prstDash val="solid"/>
                <a:miter/>
              </a:ln>
            </p:spPr>
            <p:txBody>
              <a:bodyPr rtlCol="0" anchor="ctr"/>
              <a:lstStyle/>
              <a:p>
                <a:endParaRPr lang="en-GB" dirty="0"/>
              </a:p>
            </p:txBody>
          </p:sp>
          <p:sp>
            <p:nvSpPr>
              <p:cNvPr id="479" name="Freihandform: Form 457">
                <a:extLst>
                  <a:ext uri="{FF2B5EF4-FFF2-40B4-BE49-F238E27FC236}">
                    <a16:creationId xmlns:a16="http://schemas.microsoft.com/office/drawing/2014/main" id="{CC021FCE-A582-4153-99A8-E854CACA5370}"/>
                  </a:ext>
                </a:extLst>
              </p:cNvPr>
              <p:cNvSpPr/>
              <p:nvPr/>
            </p:nvSpPr>
            <p:spPr>
              <a:xfrm>
                <a:off x="3507989" y="3766929"/>
                <a:ext cx="147493" cy="9759"/>
              </a:xfrm>
              <a:custGeom>
                <a:avLst/>
                <a:gdLst>
                  <a:gd name="connsiteX0" fmla="*/ 142614 w 147493"/>
                  <a:gd name="connsiteY0" fmla="*/ 9760 h 9759"/>
                  <a:gd name="connsiteX1" fmla="*/ 4880 w 147493"/>
                  <a:gd name="connsiteY1" fmla="*/ 9760 h 9759"/>
                  <a:gd name="connsiteX2" fmla="*/ 0 w 147493"/>
                  <a:gd name="connsiteY2" fmla="*/ 4880 h 9759"/>
                  <a:gd name="connsiteX3" fmla="*/ 4880 w 147493"/>
                  <a:gd name="connsiteY3" fmla="*/ 0 h 9759"/>
                  <a:gd name="connsiteX4" fmla="*/ 142614 w 147493"/>
                  <a:gd name="connsiteY4" fmla="*/ 0 h 9759"/>
                  <a:gd name="connsiteX5" fmla="*/ 147494 w 147493"/>
                  <a:gd name="connsiteY5" fmla="*/ 4880 h 9759"/>
                  <a:gd name="connsiteX6" fmla="*/ 142614 w 147493"/>
                  <a:gd name="connsiteY6" fmla="*/ 9760 h 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7493" h="9759">
                    <a:moveTo>
                      <a:pt x="142614" y="9760"/>
                    </a:moveTo>
                    <a:lnTo>
                      <a:pt x="4880" y="9760"/>
                    </a:lnTo>
                    <a:cubicBezTo>
                      <a:pt x="2192" y="9760"/>
                      <a:pt x="0" y="7568"/>
                      <a:pt x="0" y="4880"/>
                    </a:cubicBezTo>
                    <a:cubicBezTo>
                      <a:pt x="0" y="2192"/>
                      <a:pt x="2192" y="0"/>
                      <a:pt x="4880" y="0"/>
                    </a:cubicBezTo>
                    <a:lnTo>
                      <a:pt x="142614" y="0"/>
                    </a:lnTo>
                    <a:cubicBezTo>
                      <a:pt x="145302" y="0"/>
                      <a:pt x="147494" y="2192"/>
                      <a:pt x="147494" y="4880"/>
                    </a:cubicBezTo>
                    <a:cubicBezTo>
                      <a:pt x="147494" y="7594"/>
                      <a:pt x="145302" y="9760"/>
                      <a:pt x="142614" y="9760"/>
                    </a:cubicBezTo>
                    <a:close/>
                  </a:path>
                </a:pathLst>
              </a:custGeom>
              <a:solidFill>
                <a:schemeClr val="accent1"/>
              </a:solidFill>
              <a:ln w="2603" cap="flat">
                <a:noFill/>
                <a:prstDash val="solid"/>
                <a:miter/>
              </a:ln>
            </p:spPr>
            <p:txBody>
              <a:bodyPr rtlCol="0" anchor="ctr"/>
              <a:lstStyle/>
              <a:p>
                <a:endParaRPr lang="en-GB" dirty="0"/>
              </a:p>
            </p:txBody>
          </p:sp>
          <p:sp>
            <p:nvSpPr>
              <p:cNvPr id="480" name="Freihandform: Form 458">
                <a:extLst>
                  <a:ext uri="{FF2B5EF4-FFF2-40B4-BE49-F238E27FC236}">
                    <a16:creationId xmlns:a16="http://schemas.microsoft.com/office/drawing/2014/main" id="{563623DB-F674-435B-8826-54E045EFDF97}"/>
                  </a:ext>
                </a:extLst>
              </p:cNvPr>
              <p:cNvSpPr/>
              <p:nvPr/>
            </p:nvSpPr>
            <p:spPr>
              <a:xfrm>
                <a:off x="3533485" y="3808030"/>
                <a:ext cx="96476" cy="9759"/>
              </a:xfrm>
              <a:custGeom>
                <a:avLst/>
                <a:gdLst>
                  <a:gd name="connsiteX0" fmla="*/ 91596 w 96476"/>
                  <a:gd name="connsiteY0" fmla="*/ 9760 h 9759"/>
                  <a:gd name="connsiteX1" fmla="*/ 4880 w 96476"/>
                  <a:gd name="connsiteY1" fmla="*/ 9760 h 9759"/>
                  <a:gd name="connsiteX2" fmla="*/ 0 w 96476"/>
                  <a:gd name="connsiteY2" fmla="*/ 4880 h 9759"/>
                  <a:gd name="connsiteX3" fmla="*/ 4880 w 96476"/>
                  <a:gd name="connsiteY3" fmla="*/ 0 h 9759"/>
                  <a:gd name="connsiteX4" fmla="*/ 91596 w 96476"/>
                  <a:gd name="connsiteY4" fmla="*/ 0 h 9759"/>
                  <a:gd name="connsiteX5" fmla="*/ 96477 w 96476"/>
                  <a:gd name="connsiteY5" fmla="*/ 4880 h 9759"/>
                  <a:gd name="connsiteX6" fmla="*/ 91596 w 96476"/>
                  <a:gd name="connsiteY6" fmla="*/ 9760 h 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76" h="9759">
                    <a:moveTo>
                      <a:pt x="91596" y="9760"/>
                    </a:moveTo>
                    <a:lnTo>
                      <a:pt x="4880" y="9760"/>
                    </a:lnTo>
                    <a:cubicBezTo>
                      <a:pt x="2192" y="9760"/>
                      <a:pt x="0" y="7568"/>
                      <a:pt x="0" y="4880"/>
                    </a:cubicBezTo>
                    <a:cubicBezTo>
                      <a:pt x="0" y="2192"/>
                      <a:pt x="2192" y="0"/>
                      <a:pt x="4880" y="0"/>
                    </a:cubicBezTo>
                    <a:lnTo>
                      <a:pt x="91596" y="0"/>
                    </a:lnTo>
                    <a:cubicBezTo>
                      <a:pt x="94284" y="0"/>
                      <a:pt x="96477" y="2192"/>
                      <a:pt x="96477" y="4880"/>
                    </a:cubicBezTo>
                    <a:cubicBezTo>
                      <a:pt x="96502" y="7568"/>
                      <a:pt x="94310" y="9760"/>
                      <a:pt x="91596" y="9760"/>
                    </a:cubicBezTo>
                    <a:close/>
                  </a:path>
                </a:pathLst>
              </a:custGeom>
              <a:solidFill>
                <a:schemeClr val="accent1"/>
              </a:solidFill>
              <a:ln w="2603" cap="flat">
                <a:noFill/>
                <a:prstDash val="solid"/>
                <a:miter/>
              </a:ln>
            </p:spPr>
            <p:txBody>
              <a:bodyPr rtlCol="0" anchor="ctr"/>
              <a:lstStyle/>
              <a:p>
                <a:endParaRPr lang="en-GB" dirty="0"/>
              </a:p>
            </p:txBody>
          </p:sp>
        </p:grpSp>
      </p:grpSp>
      <p:grpSp>
        <p:nvGrpSpPr>
          <p:cNvPr id="128" name="Group 127">
            <a:extLst>
              <a:ext uri="{FF2B5EF4-FFF2-40B4-BE49-F238E27FC236}">
                <a16:creationId xmlns:a16="http://schemas.microsoft.com/office/drawing/2014/main" id="{F7D0CA21-CAA6-98E4-3E35-B1728EBEFC6B}"/>
              </a:ext>
            </a:extLst>
          </p:cNvPr>
          <p:cNvGrpSpPr/>
          <p:nvPr/>
        </p:nvGrpSpPr>
        <p:grpSpPr>
          <a:xfrm>
            <a:off x="8155546" y="3218048"/>
            <a:ext cx="374244" cy="390040"/>
            <a:chOff x="8155134" y="3218048"/>
            <a:chExt cx="374244" cy="390040"/>
          </a:xfrm>
        </p:grpSpPr>
        <p:grpSp>
          <p:nvGrpSpPr>
            <p:cNvPr id="487" name="Grafik 10">
              <a:extLst>
                <a:ext uri="{FF2B5EF4-FFF2-40B4-BE49-F238E27FC236}">
                  <a16:creationId xmlns:a16="http://schemas.microsoft.com/office/drawing/2014/main" id="{E40483EE-8B00-40D5-BEC6-75D06B3B0665}"/>
                </a:ext>
              </a:extLst>
            </p:cNvPr>
            <p:cNvGrpSpPr/>
            <p:nvPr/>
          </p:nvGrpSpPr>
          <p:grpSpPr>
            <a:xfrm>
              <a:off x="8213881" y="3329079"/>
              <a:ext cx="256728" cy="196564"/>
              <a:chOff x="2654130" y="4234462"/>
              <a:chExt cx="273517" cy="209419"/>
            </a:xfrm>
            <a:solidFill>
              <a:schemeClr val="accent1"/>
            </a:solidFill>
          </p:grpSpPr>
          <p:sp>
            <p:nvSpPr>
              <p:cNvPr id="498" name="Freihandform: Form 474">
                <a:extLst>
                  <a:ext uri="{FF2B5EF4-FFF2-40B4-BE49-F238E27FC236}">
                    <a16:creationId xmlns:a16="http://schemas.microsoft.com/office/drawing/2014/main" id="{2F147B1F-9851-4552-BE44-ABA539ED162F}"/>
                  </a:ext>
                </a:extLst>
              </p:cNvPr>
              <p:cNvSpPr/>
              <p:nvPr/>
            </p:nvSpPr>
            <p:spPr>
              <a:xfrm>
                <a:off x="2654130" y="4234462"/>
                <a:ext cx="273517" cy="209419"/>
              </a:xfrm>
              <a:custGeom>
                <a:avLst/>
                <a:gdLst>
                  <a:gd name="connsiteX0" fmla="*/ 136772 w 273517"/>
                  <a:gd name="connsiteY0" fmla="*/ 209419 h 209419"/>
                  <a:gd name="connsiteX1" fmla="*/ 133275 w 273517"/>
                  <a:gd name="connsiteY1" fmla="*/ 207931 h 209419"/>
                  <a:gd name="connsiteX2" fmla="*/ 1387 w 273517"/>
                  <a:gd name="connsiteY2" fmla="*/ 72468 h 209419"/>
                  <a:gd name="connsiteX3" fmla="*/ 1334 w 273517"/>
                  <a:gd name="connsiteY3" fmla="*/ 65709 h 209419"/>
                  <a:gd name="connsiteX4" fmla="*/ 61929 w 273517"/>
                  <a:gd name="connsiteY4" fmla="*/ 1540 h 209419"/>
                  <a:gd name="connsiteX5" fmla="*/ 65478 w 273517"/>
                  <a:gd name="connsiteY5" fmla="*/ 0 h 209419"/>
                  <a:gd name="connsiteX6" fmla="*/ 208039 w 273517"/>
                  <a:gd name="connsiteY6" fmla="*/ 0 h 209419"/>
                  <a:gd name="connsiteX7" fmla="*/ 211588 w 273517"/>
                  <a:gd name="connsiteY7" fmla="*/ 1540 h 209419"/>
                  <a:gd name="connsiteX8" fmla="*/ 272183 w 273517"/>
                  <a:gd name="connsiteY8" fmla="*/ 65709 h 209419"/>
                  <a:gd name="connsiteX9" fmla="*/ 272131 w 273517"/>
                  <a:gd name="connsiteY9" fmla="*/ 72468 h 209419"/>
                  <a:gd name="connsiteX10" fmla="*/ 140242 w 273517"/>
                  <a:gd name="connsiteY10" fmla="*/ 207931 h 209419"/>
                  <a:gd name="connsiteX11" fmla="*/ 136772 w 273517"/>
                  <a:gd name="connsiteY11" fmla="*/ 209419 h 209419"/>
                  <a:gd name="connsiteX12" fmla="*/ 11668 w 273517"/>
                  <a:gd name="connsiteY12" fmla="*/ 69023 h 209419"/>
                  <a:gd name="connsiteX13" fmla="*/ 136772 w 273517"/>
                  <a:gd name="connsiteY13" fmla="*/ 197519 h 209419"/>
                  <a:gd name="connsiteX14" fmla="*/ 261901 w 273517"/>
                  <a:gd name="connsiteY14" fmla="*/ 69023 h 209419"/>
                  <a:gd name="connsiteX15" fmla="*/ 205952 w 273517"/>
                  <a:gd name="connsiteY15" fmla="*/ 9786 h 209419"/>
                  <a:gd name="connsiteX16" fmla="*/ 67592 w 273517"/>
                  <a:gd name="connsiteY16" fmla="*/ 9786 h 209419"/>
                  <a:gd name="connsiteX17" fmla="*/ 11668 w 273517"/>
                  <a:gd name="connsiteY17" fmla="*/ 69023 h 209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73517" h="209419">
                    <a:moveTo>
                      <a:pt x="136772" y="209419"/>
                    </a:moveTo>
                    <a:cubicBezTo>
                      <a:pt x="135467" y="209419"/>
                      <a:pt x="134188" y="208897"/>
                      <a:pt x="133275" y="207931"/>
                    </a:cubicBezTo>
                    <a:lnTo>
                      <a:pt x="1387" y="72468"/>
                    </a:lnTo>
                    <a:cubicBezTo>
                      <a:pt x="-440" y="70589"/>
                      <a:pt x="-466" y="67614"/>
                      <a:pt x="1334" y="65709"/>
                    </a:cubicBezTo>
                    <a:lnTo>
                      <a:pt x="61929" y="1540"/>
                    </a:lnTo>
                    <a:cubicBezTo>
                      <a:pt x="62842" y="548"/>
                      <a:pt x="64147" y="0"/>
                      <a:pt x="65478" y="0"/>
                    </a:cubicBezTo>
                    <a:lnTo>
                      <a:pt x="208039" y="0"/>
                    </a:lnTo>
                    <a:cubicBezTo>
                      <a:pt x="209370" y="0"/>
                      <a:pt x="210675" y="548"/>
                      <a:pt x="211588" y="1540"/>
                    </a:cubicBezTo>
                    <a:lnTo>
                      <a:pt x="272183" y="65709"/>
                    </a:lnTo>
                    <a:cubicBezTo>
                      <a:pt x="273983" y="67614"/>
                      <a:pt x="273957" y="70589"/>
                      <a:pt x="272131" y="72468"/>
                    </a:cubicBezTo>
                    <a:lnTo>
                      <a:pt x="140242" y="207931"/>
                    </a:lnTo>
                    <a:cubicBezTo>
                      <a:pt x="139355" y="208897"/>
                      <a:pt x="138102" y="209419"/>
                      <a:pt x="136772" y="209419"/>
                    </a:cubicBezTo>
                    <a:close/>
                    <a:moveTo>
                      <a:pt x="11668" y="69023"/>
                    </a:moveTo>
                    <a:lnTo>
                      <a:pt x="136772" y="197519"/>
                    </a:lnTo>
                    <a:lnTo>
                      <a:pt x="261901" y="69023"/>
                    </a:lnTo>
                    <a:lnTo>
                      <a:pt x="205952" y="9786"/>
                    </a:lnTo>
                    <a:lnTo>
                      <a:pt x="67592" y="9786"/>
                    </a:lnTo>
                    <a:lnTo>
                      <a:pt x="11668" y="69023"/>
                    </a:lnTo>
                    <a:close/>
                  </a:path>
                </a:pathLst>
              </a:custGeom>
              <a:solidFill>
                <a:schemeClr val="accent1"/>
              </a:solidFill>
              <a:ln w="2603" cap="flat">
                <a:noFill/>
                <a:prstDash val="solid"/>
                <a:miter/>
              </a:ln>
            </p:spPr>
            <p:txBody>
              <a:bodyPr rtlCol="0" anchor="ctr"/>
              <a:lstStyle/>
              <a:p>
                <a:endParaRPr lang="en-GB" dirty="0"/>
              </a:p>
            </p:txBody>
          </p:sp>
          <p:sp>
            <p:nvSpPr>
              <p:cNvPr id="499" name="Freihandform: Form 475">
                <a:extLst>
                  <a:ext uri="{FF2B5EF4-FFF2-40B4-BE49-F238E27FC236}">
                    <a16:creationId xmlns:a16="http://schemas.microsoft.com/office/drawing/2014/main" id="{39E80188-1009-4238-8FF0-4715961DAF5F}"/>
                  </a:ext>
                </a:extLst>
              </p:cNvPr>
              <p:cNvSpPr/>
              <p:nvPr/>
            </p:nvSpPr>
            <p:spPr>
              <a:xfrm>
                <a:off x="2657683" y="4298683"/>
                <a:ext cx="266412" cy="9759"/>
              </a:xfrm>
              <a:custGeom>
                <a:avLst/>
                <a:gdLst>
                  <a:gd name="connsiteX0" fmla="*/ 261559 w 266412"/>
                  <a:gd name="connsiteY0" fmla="*/ 9760 h 9759"/>
                  <a:gd name="connsiteX1" fmla="*/ 4880 w 266412"/>
                  <a:gd name="connsiteY1" fmla="*/ 9760 h 9759"/>
                  <a:gd name="connsiteX2" fmla="*/ 0 w 266412"/>
                  <a:gd name="connsiteY2" fmla="*/ 4880 h 9759"/>
                  <a:gd name="connsiteX3" fmla="*/ 4880 w 266412"/>
                  <a:gd name="connsiteY3" fmla="*/ 0 h 9759"/>
                  <a:gd name="connsiteX4" fmla="*/ 261533 w 266412"/>
                  <a:gd name="connsiteY4" fmla="*/ 0 h 9759"/>
                  <a:gd name="connsiteX5" fmla="*/ 266412 w 266412"/>
                  <a:gd name="connsiteY5" fmla="*/ 4880 h 9759"/>
                  <a:gd name="connsiteX6" fmla="*/ 261559 w 266412"/>
                  <a:gd name="connsiteY6" fmla="*/ 9760 h 9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412" h="9759">
                    <a:moveTo>
                      <a:pt x="261559" y="9760"/>
                    </a:moveTo>
                    <a:lnTo>
                      <a:pt x="4880" y="9760"/>
                    </a:lnTo>
                    <a:cubicBezTo>
                      <a:pt x="2192" y="9760"/>
                      <a:pt x="0" y="7568"/>
                      <a:pt x="0" y="4880"/>
                    </a:cubicBezTo>
                    <a:cubicBezTo>
                      <a:pt x="0" y="2192"/>
                      <a:pt x="2192" y="0"/>
                      <a:pt x="4880" y="0"/>
                    </a:cubicBezTo>
                    <a:lnTo>
                      <a:pt x="261533" y="0"/>
                    </a:lnTo>
                    <a:cubicBezTo>
                      <a:pt x="264220" y="0"/>
                      <a:pt x="266412" y="2192"/>
                      <a:pt x="266412" y="4880"/>
                    </a:cubicBezTo>
                    <a:cubicBezTo>
                      <a:pt x="266439" y="7568"/>
                      <a:pt x="264246" y="9760"/>
                      <a:pt x="261559" y="9760"/>
                    </a:cubicBezTo>
                    <a:close/>
                  </a:path>
                </a:pathLst>
              </a:custGeom>
              <a:solidFill>
                <a:schemeClr val="accent1"/>
              </a:solidFill>
              <a:ln w="2603" cap="flat">
                <a:noFill/>
                <a:prstDash val="solid"/>
                <a:miter/>
              </a:ln>
            </p:spPr>
            <p:txBody>
              <a:bodyPr rtlCol="0" anchor="ctr"/>
              <a:lstStyle/>
              <a:p>
                <a:endParaRPr lang="en-GB" dirty="0"/>
              </a:p>
            </p:txBody>
          </p:sp>
          <p:sp>
            <p:nvSpPr>
              <p:cNvPr id="500" name="Freihandform: Form 476">
                <a:extLst>
                  <a:ext uri="{FF2B5EF4-FFF2-40B4-BE49-F238E27FC236}">
                    <a16:creationId xmlns:a16="http://schemas.microsoft.com/office/drawing/2014/main" id="{78D3FADA-BB21-4780-BE76-73244FDBD6C6}"/>
                  </a:ext>
                </a:extLst>
              </p:cNvPr>
              <p:cNvSpPr/>
              <p:nvPr/>
            </p:nvSpPr>
            <p:spPr>
              <a:xfrm>
                <a:off x="2714753" y="4234512"/>
                <a:ext cx="81029" cy="209368"/>
              </a:xfrm>
              <a:custGeom>
                <a:avLst/>
                <a:gdLst>
                  <a:gd name="connsiteX0" fmla="*/ 76149 w 81029"/>
                  <a:gd name="connsiteY0" fmla="*/ 209368 h 209368"/>
                  <a:gd name="connsiteX1" fmla="*/ 71556 w 81029"/>
                  <a:gd name="connsiteY1" fmla="*/ 206132 h 209368"/>
                  <a:gd name="connsiteX2" fmla="*/ 288 w 81029"/>
                  <a:gd name="connsiteY2" fmla="*/ 6525 h 209368"/>
                  <a:gd name="connsiteX3" fmla="*/ 3237 w 81029"/>
                  <a:gd name="connsiteY3" fmla="*/ 288 h 209368"/>
                  <a:gd name="connsiteX4" fmla="*/ 9474 w 81029"/>
                  <a:gd name="connsiteY4" fmla="*/ 3237 h 209368"/>
                  <a:gd name="connsiteX5" fmla="*/ 80742 w 81029"/>
                  <a:gd name="connsiteY5" fmla="*/ 202844 h 209368"/>
                  <a:gd name="connsiteX6" fmla="*/ 77793 w 81029"/>
                  <a:gd name="connsiteY6" fmla="*/ 209081 h 209368"/>
                  <a:gd name="connsiteX7" fmla="*/ 76149 w 81029"/>
                  <a:gd name="connsiteY7" fmla="*/ 209368 h 20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29" h="209368">
                    <a:moveTo>
                      <a:pt x="76149" y="209368"/>
                    </a:moveTo>
                    <a:cubicBezTo>
                      <a:pt x="74139" y="209368"/>
                      <a:pt x="72261" y="208116"/>
                      <a:pt x="71556" y="206132"/>
                    </a:cubicBezTo>
                    <a:lnTo>
                      <a:pt x="288" y="6525"/>
                    </a:lnTo>
                    <a:cubicBezTo>
                      <a:pt x="-625" y="3994"/>
                      <a:pt x="706" y="1202"/>
                      <a:pt x="3237" y="288"/>
                    </a:cubicBezTo>
                    <a:cubicBezTo>
                      <a:pt x="5768" y="-625"/>
                      <a:pt x="8561" y="706"/>
                      <a:pt x="9474" y="3237"/>
                    </a:cubicBezTo>
                    <a:lnTo>
                      <a:pt x="80742" y="202844"/>
                    </a:lnTo>
                    <a:cubicBezTo>
                      <a:pt x="81655" y="205375"/>
                      <a:pt x="80324" y="208168"/>
                      <a:pt x="77793" y="209081"/>
                    </a:cubicBezTo>
                    <a:cubicBezTo>
                      <a:pt x="77245" y="209290"/>
                      <a:pt x="76697" y="209368"/>
                      <a:pt x="76149" y="209368"/>
                    </a:cubicBezTo>
                    <a:close/>
                  </a:path>
                </a:pathLst>
              </a:custGeom>
              <a:solidFill>
                <a:schemeClr val="accent1"/>
              </a:solidFill>
              <a:ln w="2603" cap="flat">
                <a:noFill/>
                <a:prstDash val="solid"/>
                <a:miter/>
              </a:ln>
            </p:spPr>
            <p:txBody>
              <a:bodyPr rtlCol="0" anchor="ctr"/>
              <a:lstStyle/>
              <a:p>
                <a:endParaRPr lang="en-GB" dirty="0"/>
              </a:p>
            </p:txBody>
          </p:sp>
          <p:sp>
            <p:nvSpPr>
              <p:cNvPr id="501" name="Freihandform: Form 477">
                <a:extLst>
                  <a:ext uri="{FF2B5EF4-FFF2-40B4-BE49-F238E27FC236}">
                    <a16:creationId xmlns:a16="http://schemas.microsoft.com/office/drawing/2014/main" id="{FC7EDEAC-C0CC-460B-AD28-9A984B4731C9}"/>
                  </a:ext>
                </a:extLst>
              </p:cNvPr>
              <p:cNvSpPr/>
              <p:nvPr/>
            </p:nvSpPr>
            <p:spPr>
              <a:xfrm>
                <a:off x="2786018" y="4234502"/>
                <a:ext cx="81061" cy="209378"/>
              </a:xfrm>
              <a:custGeom>
                <a:avLst/>
                <a:gdLst>
                  <a:gd name="connsiteX0" fmla="*/ 4884 w 81061"/>
                  <a:gd name="connsiteY0" fmla="*/ 209379 h 209378"/>
                  <a:gd name="connsiteX1" fmla="*/ 3240 w 81061"/>
                  <a:gd name="connsiteY1" fmla="*/ 209092 h 209378"/>
                  <a:gd name="connsiteX2" fmla="*/ 291 w 81061"/>
                  <a:gd name="connsiteY2" fmla="*/ 202855 h 209378"/>
                  <a:gd name="connsiteX3" fmla="*/ 71585 w 81061"/>
                  <a:gd name="connsiteY3" fmla="*/ 3247 h 209378"/>
                  <a:gd name="connsiteX4" fmla="*/ 77822 w 81061"/>
                  <a:gd name="connsiteY4" fmla="*/ 299 h 209378"/>
                  <a:gd name="connsiteX5" fmla="*/ 80771 w 81061"/>
                  <a:gd name="connsiteY5" fmla="*/ 6536 h 209378"/>
                  <a:gd name="connsiteX6" fmla="*/ 9477 w 81061"/>
                  <a:gd name="connsiteY6" fmla="*/ 206143 h 209378"/>
                  <a:gd name="connsiteX7" fmla="*/ 4884 w 81061"/>
                  <a:gd name="connsiteY7" fmla="*/ 209379 h 20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061" h="209378">
                    <a:moveTo>
                      <a:pt x="4884" y="209379"/>
                    </a:moveTo>
                    <a:cubicBezTo>
                      <a:pt x="4336" y="209379"/>
                      <a:pt x="3788" y="209300"/>
                      <a:pt x="3240" y="209092"/>
                    </a:cubicBezTo>
                    <a:cubicBezTo>
                      <a:pt x="683" y="208178"/>
                      <a:pt x="-622" y="205386"/>
                      <a:pt x="291" y="202855"/>
                    </a:cubicBezTo>
                    <a:lnTo>
                      <a:pt x="71585" y="3247"/>
                    </a:lnTo>
                    <a:cubicBezTo>
                      <a:pt x="72498" y="716"/>
                      <a:pt x="75291" y="-641"/>
                      <a:pt x="77822" y="299"/>
                    </a:cubicBezTo>
                    <a:cubicBezTo>
                      <a:pt x="80379" y="1212"/>
                      <a:pt x="81684" y="4004"/>
                      <a:pt x="80771" y="6536"/>
                    </a:cubicBezTo>
                    <a:lnTo>
                      <a:pt x="9477" y="206143"/>
                    </a:lnTo>
                    <a:cubicBezTo>
                      <a:pt x="8772" y="208126"/>
                      <a:pt x="6893" y="209379"/>
                      <a:pt x="4884" y="209379"/>
                    </a:cubicBezTo>
                    <a:close/>
                  </a:path>
                </a:pathLst>
              </a:custGeom>
              <a:solidFill>
                <a:schemeClr val="accent1"/>
              </a:solidFill>
              <a:ln w="2603" cap="flat">
                <a:noFill/>
                <a:prstDash val="solid"/>
                <a:miter/>
              </a:ln>
            </p:spPr>
            <p:txBody>
              <a:bodyPr rtlCol="0" anchor="ctr"/>
              <a:lstStyle/>
              <a:p>
                <a:endParaRPr lang="en-GB" dirty="0"/>
              </a:p>
            </p:txBody>
          </p:sp>
          <p:sp>
            <p:nvSpPr>
              <p:cNvPr id="502" name="Freihandform: Form 478">
                <a:extLst>
                  <a:ext uri="{FF2B5EF4-FFF2-40B4-BE49-F238E27FC236}">
                    <a16:creationId xmlns:a16="http://schemas.microsoft.com/office/drawing/2014/main" id="{D833BF22-BAFB-4B7D-8126-1E3C4D04C215}"/>
                  </a:ext>
                </a:extLst>
              </p:cNvPr>
              <p:cNvSpPr/>
              <p:nvPr/>
            </p:nvSpPr>
            <p:spPr>
              <a:xfrm>
                <a:off x="2736108" y="4234521"/>
                <a:ext cx="59692" cy="73922"/>
              </a:xfrm>
              <a:custGeom>
                <a:avLst/>
                <a:gdLst>
                  <a:gd name="connsiteX0" fmla="*/ 4899 w 59692"/>
                  <a:gd name="connsiteY0" fmla="*/ 73922 h 73922"/>
                  <a:gd name="connsiteX1" fmla="*/ 1898 w 59692"/>
                  <a:gd name="connsiteY1" fmla="*/ 72904 h 73922"/>
                  <a:gd name="connsiteX2" fmla="*/ 1037 w 59692"/>
                  <a:gd name="connsiteY2" fmla="*/ 66041 h 73922"/>
                  <a:gd name="connsiteX3" fmla="*/ 50932 w 59692"/>
                  <a:gd name="connsiteY3" fmla="*/ 1898 h 73922"/>
                  <a:gd name="connsiteX4" fmla="*/ 57795 w 59692"/>
                  <a:gd name="connsiteY4" fmla="*/ 1037 h 73922"/>
                  <a:gd name="connsiteX5" fmla="*/ 58656 w 59692"/>
                  <a:gd name="connsiteY5" fmla="*/ 7900 h 73922"/>
                  <a:gd name="connsiteX6" fmla="*/ 8761 w 59692"/>
                  <a:gd name="connsiteY6" fmla="*/ 72043 h 73922"/>
                  <a:gd name="connsiteX7" fmla="*/ 4899 w 59692"/>
                  <a:gd name="connsiteY7" fmla="*/ 73922 h 73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692" h="73922">
                    <a:moveTo>
                      <a:pt x="4899" y="73922"/>
                    </a:moveTo>
                    <a:cubicBezTo>
                      <a:pt x="3855" y="73922"/>
                      <a:pt x="2811" y="73583"/>
                      <a:pt x="1898" y="72904"/>
                    </a:cubicBezTo>
                    <a:cubicBezTo>
                      <a:pt x="-242" y="71260"/>
                      <a:pt x="-634" y="68181"/>
                      <a:pt x="1037" y="66041"/>
                    </a:cubicBezTo>
                    <a:lnTo>
                      <a:pt x="50932" y="1898"/>
                    </a:lnTo>
                    <a:cubicBezTo>
                      <a:pt x="52576" y="-242"/>
                      <a:pt x="55655" y="-634"/>
                      <a:pt x="57795" y="1037"/>
                    </a:cubicBezTo>
                    <a:cubicBezTo>
                      <a:pt x="59935" y="2681"/>
                      <a:pt x="60326" y="5760"/>
                      <a:pt x="58656" y="7900"/>
                    </a:cubicBezTo>
                    <a:lnTo>
                      <a:pt x="8761" y="72043"/>
                    </a:lnTo>
                    <a:cubicBezTo>
                      <a:pt x="7795" y="73270"/>
                      <a:pt x="6360" y="73922"/>
                      <a:pt x="4899" y="73922"/>
                    </a:cubicBezTo>
                    <a:close/>
                  </a:path>
                </a:pathLst>
              </a:custGeom>
              <a:solidFill>
                <a:schemeClr val="accent1"/>
              </a:solidFill>
              <a:ln w="2603" cap="flat">
                <a:noFill/>
                <a:prstDash val="solid"/>
                <a:miter/>
              </a:ln>
            </p:spPr>
            <p:txBody>
              <a:bodyPr rtlCol="0" anchor="ctr"/>
              <a:lstStyle/>
              <a:p>
                <a:endParaRPr lang="en-GB" dirty="0"/>
              </a:p>
            </p:txBody>
          </p:sp>
          <p:sp>
            <p:nvSpPr>
              <p:cNvPr id="503" name="Freihandform: Form 479">
                <a:extLst>
                  <a:ext uri="{FF2B5EF4-FFF2-40B4-BE49-F238E27FC236}">
                    <a16:creationId xmlns:a16="http://schemas.microsoft.com/office/drawing/2014/main" id="{A9D8DDD3-645D-4F5A-B5F4-D3BA20536D70}"/>
                  </a:ext>
                </a:extLst>
              </p:cNvPr>
              <p:cNvSpPr/>
              <p:nvPr/>
            </p:nvSpPr>
            <p:spPr>
              <a:xfrm>
                <a:off x="2786003" y="4234495"/>
                <a:ext cx="59718" cy="73948"/>
              </a:xfrm>
              <a:custGeom>
                <a:avLst/>
                <a:gdLst>
                  <a:gd name="connsiteX0" fmla="*/ 54820 w 59718"/>
                  <a:gd name="connsiteY0" fmla="*/ 73948 h 73948"/>
                  <a:gd name="connsiteX1" fmla="*/ 50958 w 59718"/>
                  <a:gd name="connsiteY1" fmla="*/ 72070 h 73948"/>
                  <a:gd name="connsiteX2" fmla="*/ 1037 w 59718"/>
                  <a:gd name="connsiteY2" fmla="*/ 7900 h 73948"/>
                  <a:gd name="connsiteX3" fmla="*/ 1898 w 59718"/>
                  <a:gd name="connsiteY3" fmla="*/ 1037 h 73948"/>
                  <a:gd name="connsiteX4" fmla="*/ 8761 w 59718"/>
                  <a:gd name="connsiteY4" fmla="*/ 1898 h 73948"/>
                  <a:gd name="connsiteX5" fmla="*/ 58682 w 59718"/>
                  <a:gd name="connsiteY5" fmla="*/ 66067 h 73948"/>
                  <a:gd name="connsiteX6" fmla="*/ 57821 w 59718"/>
                  <a:gd name="connsiteY6" fmla="*/ 72931 h 73948"/>
                  <a:gd name="connsiteX7" fmla="*/ 54820 w 59718"/>
                  <a:gd name="connsiteY7" fmla="*/ 73948 h 73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718" h="73948">
                    <a:moveTo>
                      <a:pt x="54820" y="73948"/>
                    </a:moveTo>
                    <a:cubicBezTo>
                      <a:pt x="53359" y="73948"/>
                      <a:pt x="51923" y="73296"/>
                      <a:pt x="50958" y="72070"/>
                    </a:cubicBezTo>
                    <a:lnTo>
                      <a:pt x="1037" y="7900"/>
                    </a:lnTo>
                    <a:cubicBezTo>
                      <a:pt x="-634" y="5760"/>
                      <a:pt x="-242" y="2707"/>
                      <a:pt x="1898" y="1037"/>
                    </a:cubicBezTo>
                    <a:cubicBezTo>
                      <a:pt x="4038" y="-634"/>
                      <a:pt x="7091" y="-242"/>
                      <a:pt x="8761" y="1898"/>
                    </a:cubicBezTo>
                    <a:lnTo>
                      <a:pt x="58682" y="66067"/>
                    </a:lnTo>
                    <a:cubicBezTo>
                      <a:pt x="60353" y="68207"/>
                      <a:pt x="59961" y="71260"/>
                      <a:pt x="57821" y="72931"/>
                    </a:cubicBezTo>
                    <a:cubicBezTo>
                      <a:pt x="56934" y="73609"/>
                      <a:pt x="55864" y="73948"/>
                      <a:pt x="54820" y="73948"/>
                    </a:cubicBezTo>
                    <a:close/>
                  </a:path>
                </a:pathLst>
              </a:custGeom>
              <a:solidFill>
                <a:schemeClr val="accent1"/>
              </a:solidFill>
              <a:ln w="2603" cap="flat">
                <a:noFill/>
                <a:prstDash val="solid"/>
                <a:miter/>
              </a:ln>
            </p:spPr>
            <p:txBody>
              <a:bodyPr rtlCol="0" anchor="ctr"/>
              <a:lstStyle/>
              <a:p>
                <a:endParaRPr lang="en-GB" dirty="0"/>
              </a:p>
            </p:txBody>
          </p:sp>
        </p:grpSp>
        <p:grpSp>
          <p:nvGrpSpPr>
            <p:cNvPr id="488" name="Grafik 10">
              <a:extLst>
                <a:ext uri="{FF2B5EF4-FFF2-40B4-BE49-F238E27FC236}">
                  <a16:creationId xmlns:a16="http://schemas.microsoft.com/office/drawing/2014/main" id="{8502C143-B1AB-4DCF-A4CD-8CC8ABC14FE8}"/>
                </a:ext>
              </a:extLst>
            </p:cNvPr>
            <p:cNvGrpSpPr/>
            <p:nvPr/>
          </p:nvGrpSpPr>
          <p:grpSpPr>
            <a:xfrm>
              <a:off x="8155134" y="3218048"/>
              <a:ext cx="374244" cy="390040"/>
              <a:chOff x="2591541" y="4116169"/>
              <a:chExt cx="398718" cy="415549"/>
            </a:xfrm>
            <a:solidFill>
              <a:schemeClr val="tx2"/>
            </a:solidFill>
          </p:grpSpPr>
          <p:sp>
            <p:nvSpPr>
              <p:cNvPr id="489" name="Freihandform: Form 481">
                <a:extLst>
                  <a:ext uri="{FF2B5EF4-FFF2-40B4-BE49-F238E27FC236}">
                    <a16:creationId xmlns:a16="http://schemas.microsoft.com/office/drawing/2014/main" id="{4A1169AD-3F84-40D1-84FD-B9EBC71A405A}"/>
                  </a:ext>
                </a:extLst>
              </p:cNvPr>
              <p:cNvSpPr/>
              <p:nvPr/>
            </p:nvSpPr>
            <p:spPr>
              <a:xfrm>
                <a:off x="2597031" y="4200491"/>
                <a:ext cx="32070" cy="49367"/>
              </a:xfrm>
              <a:custGeom>
                <a:avLst/>
                <a:gdLst>
                  <a:gd name="connsiteX0" fmla="*/ 4885 w 32070"/>
                  <a:gd name="connsiteY0" fmla="*/ 49367 h 49367"/>
                  <a:gd name="connsiteX1" fmla="*/ 2980 w 32070"/>
                  <a:gd name="connsiteY1" fmla="*/ 48976 h 49367"/>
                  <a:gd name="connsiteX2" fmla="*/ 396 w 32070"/>
                  <a:gd name="connsiteY2" fmla="*/ 42582 h 49367"/>
                  <a:gd name="connsiteX3" fmla="*/ 23230 w 32070"/>
                  <a:gd name="connsiteY3" fmla="*/ 2029 h 49367"/>
                  <a:gd name="connsiteX4" fmla="*/ 30041 w 32070"/>
                  <a:gd name="connsiteY4" fmla="*/ 933 h 49367"/>
                  <a:gd name="connsiteX5" fmla="*/ 31137 w 32070"/>
                  <a:gd name="connsiteY5" fmla="*/ 7744 h 49367"/>
                  <a:gd name="connsiteX6" fmla="*/ 9373 w 32070"/>
                  <a:gd name="connsiteY6" fmla="*/ 46392 h 49367"/>
                  <a:gd name="connsiteX7" fmla="*/ 4885 w 32070"/>
                  <a:gd name="connsiteY7" fmla="*/ 49367 h 49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070" h="49367">
                    <a:moveTo>
                      <a:pt x="4885" y="49367"/>
                    </a:moveTo>
                    <a:cubicBezTo>
                      <a:pt x="4259" y="49367"/>
                      <a:pt x="3606" y="49237"/>
                      <a:pt x="2980" y="48976"/>
                    </a:cubicBezTo>
                    <a:cubicBezTo>
                      <a:pt x="501" y="47932"/>
                      <a:pt x="-674" y="45061"/>
                      <a:pt x="396" y="42582"/>
                    </a:cubicBezTo>
                    <a:cubicBezTo>
                      <a:pt x="6451" y="28308"/>
                      <a:pt x="14123" y="14660"/>
                      <a:pt x="23230" y="2029"/>
                    </a:cubicBezTo>
                    <a:cubicBezTo>
                      <a:pt x="24796" y="-163"/>
                      <a:pt x="27849" y="-659"/>
                      <a:pt x="30041" y="933"/>
                    </a:cubicBezTo>
                    <a:cubicBezTo>
                      <a:pt x="32233" y="2499"/>
                      <a:pt x="32729" y="5552"/>
                      <a:pt x="31137" y="7744"/>
                    </a:cubicBezTo>
                    <a:cubicBezTo>
                      <a:pt x="22447" y="19775"/>
                      <a:pt x="15140" y="32796"/>
                      <a:pt x="9373" y="46392"/>
                    </a:cubicBezTo>
                    <a:cubicBezTo>
                      <a:pt x="8591" y="48245"/>
                      <a:pt x="6790" y="49367"/>
                      <a:pt x="4885" y="49367"/>
                    </a:cubicBezTo>
                    <a:close/>
                  </a:path>
                </a:pathLst>
              </a:custGeom>
              <a:grpFill/>
              <a:ln w="2603" cap="flat">
                <a:noFill/>
                <a:prstDash val="solid"/>
                <a:miter/>
              </a:ln>
            </p:spPr>
            <p:txBody>
              <a:bodyPr rtlCol="0" anchor="ctr"/>
              <a:lstStyle/>
              <a:p>
                <a:endParaRPr lang="en-GB" dirty="0"/>
              </a:p>
            </p:txBody>
          </p:sp>
          <p:sp>
            <p:nvSpPr>
              <p:cNvPr id="490" name="Freihandform: Form 482">
                <a:extLst>
                  <a:ext uri="{FF2B5EF4-FFF2-40B4-BE49-F238E27FC236}">
                    <a16:creationId xmlns:a16="http://schemas.microsoft.com/office/drawing/2014/main" id="{4DF09A49-70F0-4563-8F2B-FF95E0D7040F}"/>
                  </a:ext>
                </a:extLst>
              </p:cNvPr>
              <p:cNvSpPr/>
              <p:nvPr/>
            </p:nvSpPr>
            <p:spPr>
              <a:xfrm>
                <a:off x="2652442" y="4116169"/>
                <a:ext cx="329683" cy="137185"/>
              </a:xfrm>
              <a:custGeom>
                <a:avLst/>
                <a:gdLst>
                  <a:gd name="connsiteX0" fmla="*/ 324784 w 329683"/>
                  <a:gd name="connsiteY0" fmla="*/ 137186 h 137185"/>
                  <a:gd name="connsiteX1" fmla="*/ 320244 w 329683"/>
                  <a:gd name="connsiteY1" fmla="*/ 134132 h 137185"/>
                  <a:gd name="connsiteX2" fmla="*/ 136398 w 329683"/>
                  <a:gd name="connsiteY2" fmla="*/ 9786 h 137185"/>
                  <a:gd name="connsiteX3" fmla="*/ 8059 w 329683"/>
                  <a:gd name="connsiteY3" fmla="*/ 56993 h 137185"/>
                  <a:gd name="connsiteX4" fmla="*/ 1170 w 329683"/>
                  <a:gd name="connsiteY4" fmla="*/ 56445 h 137185"/>
                  <a:gd name="connsiteX5" fmla="*/ 1718 w 329683"/>
                  <a:gd name="connsiteY5" fmla="*/ 49556 h 137185"/>
                  <a:gd name="connsiteX6" fmla="*/ 136398 w 329683"/>
                  <a:gd name="connsiteY6" fmla="*/ 0 h 137185"/>
                  <a:gd name="connsiteX7" fmla="*/ 329325 w 329683"/>
                  <a:gd name="connsiteY7" fmla="*/ 130479 h 137185"/>
                  <a:gd name="connsiteX8" fmla="*/ 326611 w 329683"/>
                  <a:gd name="connsiteY8" fmla="*/ 136820 h 137185"/>
                  <a:gd name="connsiteX9" fmla="*/ 324784 w 329683"/>
                  <a:gd name="connsiteY9" fmla="*/ 137186 h 137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9683" h="137185">
                    <a:moveTo>
                      <a:pt x="324784" y="137186"/>
                    </a:moveTo>
                    <a:cubicBezTo>
                      <a:pt x="322853" y="137186"/>
                      <a:pt x="321000" y="136038"/>
                      <a:pt x="320244" y="134132"/>
                    </a:cubicBezTo>
                    <a:cubicBezTo>
                      <a:pt x="289946" y="58585"/>
                      <a:pt x="217791" y="9786"/>
                      <a:pt x="136398" y="9786"/>
                    </a:cubicBezTo>
                    <a:cubicBezTo>
                      <a:pt x="89374" y="9786"/>
                      <a:pt x="43810" y="26539"/>
                      <a:pt x="8059" y="56993"/>
                    </a:cubicBezTo>
                    <a:cubicBezTo>
                      <a:pt x="6024" y="58742"/>
                      <a:pt x="2918" y="58507"/>
                      <a:pt x="1170" y="56445"/>
                    </a:cubicBezTo>
                    <a:cubicBezTo>
                      <a:pt x="-579" y="54384"/>
                      <a:pt x="-344" y="51304"/>
                      <a:pt x="1718" y="49556"/>
                    </a:cubicBezTo>
                    <a:cubicBezTo>
                      <a:pt x="39218" y="17615"/>
                      <a:pt x="87051" y="0"/>
                      <a:pt x="136398" y="0"/>
                    </a:cubicBezTo>
                    <a:cubicBezTo>
                      <a:pt x="221810" y="0"/>
                      <a:pt x="297540" y="51226"/>
                      <a:pt x="329325" y="130479"/>
                    </a:cubicBezTo>
                    <a:cubicBezTo>
                      <a:pt x="330343" y="132984"/>
                      <a:pt x="329116" y="135829"/>
                      <a:pt x="326611" y="136820"/>
                    </a:cubicBezTo>
                    <a:cubicBezTo>
                      <a:pt x="326011" y="137081"/>
                      <a:pt x="325384" y="137186"/>
                      <a:pt x="324784" y="137186"/>
                    </a:cubicBezTo>
                    <a:close/>
                  </a:path>
                </a:pathLst>
              </a:custGeom>
              <a:grpFill/>
              <a:ln w="2603" cap="flat">
                <a:noFill/>
                <a:prstDash val="solid"/>
                <a:miter/>
              </a:ln>
            </p:spPr>
            <p:txBody>
              <a:bodyPr rtlCol="0" anchor="ctr"/>
              <a:lstStyle/>
              <a:p>
                <a:endParaRPr lang="en-GB" dirty="0"/>
              </a:p>
            </p:txBody>
          </p:sp>
          <p:sp>
            <p:nvSpPr>
              <p:cNvPr id="491" name="Freihandform: Form 483">
                <a:extLst>
                  <a:ext uri="{FF2B5EF4-FFF2-40B4-BE49-F238E27FC236}">
                    <a16:creationId xmlns:a16="http://schemas.microsoft.com/office/drawing/2014/main" id="{3F34F8F3-2D9A-48E1-BF15-F7023E1B308A}"/>
                  </a:ext>
                </a:extLst>
              </p:cNvPr>
              <p:cNvSpPr/>
              <p:nvPr/>
            </p:nvSpPr>
            <p:spPr>
              <a:xfrm>
                <a:off x="2950831" y="4398051"/>
                <a:ext cx="29845" cy="46220"/>
              </a:xfrm>
              <a:custGeom>
                <a:avLst/>
                <a:gdLst>
                  <a:gd name="connsiteX0" fmla="*/ 4866 w 29845"/>
                  <a:gd name="connsiteY0" fmla="*/ 46221 h 46220"/>
                  <a:gd name="connsiteX1" fmla="*/ 2100 w 29845"/>
                  <a:gd name="connsiteY1" fmla="*/ 45359 h 46220"/>
                  <a:gd name="connsiteX2" fmla="*/ 874 w 29845"/>
                  <a:gd name="connsiteY2" fmla="*/ 38575 h 46220"/>
                  <a:gd name="connsiteX3" fmla="*/ 20472 w 29845"/>
                  <a:gd name="connsiteY3" fmla="*/ 2980 h 46220"/>
                  <a:gd name="connsiteX4" fmla="*/ 26865 w 29845"/>
                  <a:gd name="connsiteY4" fmla="*/ 396 h 46220"/>
                  <a:gd name="connsiteX5" fmla="*/ 29449 w 29845"/>
                  <a:gd name="connsiteY5" fmla="*/ 6790 h 46220"/>
                  <a:gd name="connsiteX6" fmla="*/ 8885 w 29845"/>
                  <a:gd name="connsiteY6" fmla="*/ 44133 h 46220"/>
                  <a:gd name="connsiteX7" fmla="*/ 4866 w 29845"/>
                  <a:gd name="connsiteY7" fmla="*/ 46221 h 46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45" h="46220">
                    <a:moveTo>
                      <a:pt x="4866" y="46221"/>
                    </a:moveTo>
                    <a:cubicBezTo>
                      <a:pt x="3901" y="46221"/>
                      <a:pt x="2935" y="45933"/>
                      <a:pt x="2100" y="45359"/>
                    </a:cubicBezTo>
                    <a:cubicBezTo>
                      <a:pt x="-118" y="43820"/>
                      <a:pt x="-666" y="40793"/>
                      <a:pt x="874" y="38575"/>
                    </a:cubicBezTo>
                    <a:cubicBezTo>
                      <a:pt x="8598" y="27405"/>
                      <a:pt x="15200" y="15428"/>
                      <a:pt x="20472" y="2980"/>
                    </a:cubicBezTo>
                    <a:cubicBezTo>
                      <a:pt x="21516" y="501"/>
                      <a:pt x="24412" y="-674"/>
                      <a:pt x="26865" y="396"/>
                    </a:cubicBezTo>
                    <a:cubicBezTo>
                      <a:pt x="29344" y="1440"/>
                      <a:pt x="30519" y="4311"/>
                      <a:pt x="29449" y="6790"/>
                    </a:cubicBezTo>
                    <a:cubicBezTo>
                      <a:pt x="23916" y="19864"/>
                      <a:pt x="17001" y="32442"/>
                      <a:pt x="8885" y="44133"/>
                    </a:cubicBezTo>
                    <a:cubicBezTo>
                      <a:pt x="7946" y="45490"/>
                      <a:pt x="6406" y="46221"/>
                      <a:pt x="4866" y="46221"/>
                    </a:cubicBezTo>
                    <a:close/>
                  </a:path>
                </a:pathLst>
              </a:custGeom>
              <a:grpFill/>
              <a:ln w="2603" cap="flat">
                <a:noFill/>
                <a:prstDash val="solid"/>
                <a:miter/>
              </a:ln>
            </p:spPr>
            <p:txBody>
              <a:bodyPr rtlCol="0" anchor="ctr"/>
              <a:lstStyle/>
              <a:p>
                <a:endParaRPr lang="en-GB" dirty="0"/>
              </a:p>
            </p:txBody>
          </p:sp>
          <p:sp>
            <p:nvSpPr>
              <p:cNvPr id="492" name="Freihandform: Form 484">
                <a:extLst>
                  <a:ext uri="{FF2B5EF4-FFF2-40B4-BE49-F238E27FC236}">
                    <a16:creationId xmlns:a16="http://schemas.microsoft.com/office/drawing/2014/main" id="{5F930F40-EDC3-4E12-82E4-78C551D4DCE0}"/>
                  </a:ext>
                </a:extLst>
              </p:cNvPr>
              <p:cNvSpPr/>
              <p:nvPr/>
            </p:nvSpPr>
            <p:spPr>
              <a:xfrm>
                <a:off x="2595257" y="4393746"/>
                <a:ext cx="328837" cy="137973"/>
              </a:xfrm>
              <a:custGeom>
                <a:avLst/>
                <a:gdLst>
                  <a:gd name="connsiteX0" fmla="*/ 193583 w 328837"/>
                  <a:gd name="connsiteY0" fmla="*/ 137973 h 137973"/>
                  <a:gd name="connsiteX1" fmla="*/ 344 w 328837"/>
                  <a:gd name="connsiteY1" fmla="*/ 6685 h 137973"/>
                  <a:gd name="connsiteX2" fmla="*/ 3084 w 328837"/>
                  <a:gd name="connsiteY2" fmla="*/ 344 h 137973"/>
                  <a:gd name="connsiteX3" fmla="*/ 9425 w 328837"/>
                  <a:gd name="connsiteY3" fmla="*/ 3084 h 137973"/>
                  <a:gd name="connsiteX4" fmla="*/ 193583 w 328837"/>
                  <a:gd name="connsiteY4" fmla="*/ 128187 h 137973"/>
                  <a:gd name="connsiteX5" fmla="*/ 320801 w 328837"/>
                  <a:gd name="connsiteY5" fmla="*/ 81919 h 137973"/>
                  <a:gd name="connsiteX6" fmla="*/ 327690 w 328837"/>
                  <a:gd name="connsiteY6" fmla="*/ 82520 h 137973"/>
                  <a:gd name="connsiteX7" fmla="*/ 327090 w 328837"/>
                  <a:gd name="connsiteY7" fmla="*/ 89409 h 137973"/>
                  <a:gd name="connsiteX8" fmla="*/ 193583 w 328837"/>
                  <a:gd name="connsiteY8" fmla="*/ 137973 h 137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8837" h="137973">
                    <a:moveTo>
                      <a:pt x="193583" y="137973"/>
                    </a:moveTo>
                    <a:cubicBezTo>
                      <a:pt x="107780" y="137973"/>
                      <a:pt x="31946" y="86434"/>
                      <a:pt x="344" y="6685"/>
                    </a:cubicBezTo>
                    <a:cubicBezTo>
                      <a:pt x="-648" y="4180"/>
                      <a:pt x="579" y="1335"/>
                      <a:pt x="3084" y="344"/>
                    </a:cubicBezTo>
                    <a:cubicBezTo>
                      <a:pt x="5589" y="-648"/>
                      <a:pt x="8433" y="579"/>
                      <a:pt x="9425" y="3084"/>
                    </a:cubicBezTo>
                    <a:cubicBezTo>
                      <a:pt x="39540" y="79075"/>
                      <a:pt x="111799" y="128187"/>
                      <a:pt x="193583" y="128187"/>
                    </a:cubicBezTo>
                    <a:cubicBezTo>
                      <a:pt x="240086" y="128187"/>
                      <a:pt x="285258" y="111747"/>
                      <a:pt x="320801" y="81919"/>
                    </a:cubicBezTo>
                    <a:cubicBezTo>
                      <a:pt x="322862" y="80197"/>
                      <a:pt x="325942" y="80432"/>
                      <a:pt x="327690" y="82520"/>
                    </a:cubicBezTo>
                    <a:cubicBezTo>
                      <a:pt x="329438" y="84581"/>
                      <a:pt x="329151" y="87661"/>
                      <a:pt x="327090" y="89409"/>
                    </a:cubicBezTo>
                    <a:cubicBezTo>
                      <a:pt x="289799" y="120724"/>
                      <a:pt x="242383" y="137973"/>
                      <a:pt x="193583" y="137973"/>
                    </a:cubicBezTo>
                    <a:close/>
                  </a:path>
                </a:pathLst>
              </a:custGeom>
              <a:grpFill/>
              <a:ln w="2603" cap="flat">
                <a:noFill/>
                <a:prstDash val="solid"/>
                <a:miter/>
              </a:ln>
            </p:spPr>
            <p:txBody>
              <a:bodyPr rtlCol="0" anchor="ctr"/>
              <a:lstStyle/>
              <a:p>
                <a:endParaRPr lang="en-GB" dirty="0"/>
              </a:p>
            </p:txBody>
          </p:sp>
          <p:sp>
            <p:nvSpPr>
              <p:cNvPr id="493" name="Freihandform: Form 485">
                <a:extLst>
                  <a:ext uri="{FF2B5EF4-FFF2-40B4-BE49-F238E27FC236}">
                    <a16:creationId xmlns:a16="http://schemas.microsoft.com/office/drawing/2014/main" id="{1AC85792-D1A0-4F51-9FE1-0A2329B582B3}"/>
                  </a:ext>
                </a:extLst>
              </p:cNvPr>
              <p:cNvSpPr/>
              <p:nvPr/>
            </p:nvSpPr>
            <p:spPr>
              <a:xfrm>
                <a:off x="2591541" y="4394469"/>
                <a:ext cx="13599" cy="58022"/>
              </a:xfrm>
              <a:custGeom>
                <a:avLst/>
                <a:gdLst>
                  <a:gd name="connsiteX0" fmla="*/ 4895 w 13599"/>
                  <a:gd name="connsiteY0" fmla="*/ 58023 h 58022"/>
                  <a:gd name="connsiteX1" fmla="*/ 4503 w 13599"/>
                  <a:gd name="connsiteY1" fmla="*/ 58023 h 58022"/>
                  <a:gd name="connsiteX2" fmla="*/ 15 w 13599"/>
                  <a:gd name="connsiteY2" fmla="*/ 52752 h 58022"/>
                  <a:gd name="connsiteX3" fmla="*/ 3825 w 13599"/>
                  <a:gd name="connsiteY3" fmla="*/ 4500 h 58022"/>
                  <a:gd name="connsiteX4" fmla="*/ 9096 w 13599"/>
                  <a:gd name="connsiteY4" fmla="*/ 12 h 58022"/>
                  <a:gd name="connsiteX5" fmla="*/ 13585 w 13599"/>
                  <a:gd name="connsiteY5" fmla="*/ 5283 h 58022"/>
                  <a:gd name="connsiteX6" fmla="*/ 9775 w 13599"/>
                  <a:gd name="connsiteY6" fmla="*/ 53534 h 58022"/>
                  <a:gd name="connsiteX7" fmla="*/ 4895 w 13599"/>
                  <a:gd name="connsiteY7" fmla="*/ 58023 h 58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99" h="58022">
                    <a:moveTo>
                      <a:pt x="4895" y="58023"/>
                    </a:moveTo>
                    <a:cubicBezTo>
                      <a:pt x="4764" y="58023"/>
                      <a:pt x="4634" y="58023"/>
                      <a:pt x="4503" y="58023"/>
                    </a:cubicBezTo>
                    <a:cubicBezTo>
                      <a:pt x="1816" y="57814"/>
                      <a:pt x="-194" y="55465"/>
                      <a:pt x="15" y="52752"/>
                    </a:cubicBezTo>
                    <a:lnTo>
                      <a:pt x="3825" y="4500"/>
                    </a:lnTo>
                    <a:cubicBezTo>
                      <a:pt x="4034" y="1812"/>
                      <a:pt x="6278" y="-171"/>
                      <a:pt x="9096" y="12"/>
                    </a:cubicBezTo>
                    <a:cubicBezTo>
                      <a:pt x="11784" y="221"/>
                      <a:pt x="13793" y="2569"/>
                      <a:pt x="13585" y="5283"/>
                    </a:cubicBezTo>
                    <a:lnTo>
                      <a:pt x="9775" y="53534"/>
                    </a:lnTo>
                    <a:cubicBezTo>
                      <a:pt x="9566" y="56092"/>
                      <a:pt x="7426" y="58023"/>
                      <a:pt x="4895" y="58023"/>
                    </a:cubicBezTo>
                    <a:close/>
                  </a:path>
                </a:pathLst>
              </a:custGeom>
              <a:grpFill/>
              <a:ln w="2603" cap="flat">
                <a:noFill/>
                <a:prstDash val="solid"/>
                <a:miter/>
              </a:ln>
            </p:spPr>
            <p:txBody>
              <a:bodyPr rtlCol="0" anchor="ctr"/>
              <a:lstStyle/>
              <a:p>
                <a:endParaRPr lang="en-GB" dirty="0"/>
              </a:p>
            </p:txBody>
          </p:sp>
          <p:sp>
            <p:nvSpPr>
              <p:cNvPr id="494" name="Freihandform: Form 486">
                <a:extLst>
                  <a:ext uri="{FF2B5EF4-FFF2-40B4-BE49-F238E27FC236}">
                    <a16:creationId xmlns:a16="http://schemas.microsoft.com/office/drawing/2014/main" id="{E79260AF-9142-4017-82EF-0FC094A6B0F2}"/>
                  </a:ext>
                </a:extLst>
              </p:cNvPr>
              <p:cNvSpPr/>
              <p:nvPr/>
            </p:nvSpPr>
            <p:spPr>
              <a:xfrm>
                <a:off x="2595949" y="4394479"/>
                <a:ext cx="49354" cy="31343"/>
              </a:xfrm>
              <a:custGeom>
                <a:avLst/>
                <a:gdLst>
                  <a:gd name="connsiteX0" fmla="*/ 44458 w 49354"/>
                  <a:gd name="connsiteY0" fmla="*/ 31343 h 31343"/>
                  <a:gd name="connsiteX1" fmla="*/ 42135 w 49354"/>
                  <a:gd name="connsiteY1" fmla="*/ 30743 h 31343"/>
                  <a:gd name="connsiteX2" fmla="*/ 2548 w 49354"/>
                  <a:gd name="connsiteY2" fmla="*/ 9188 h 31343"/>
                  <a:gd name="connsiteX3" fmla="*/ 591 w 49354"/>
                  <a:gd name="connsiteY3" fmla="*/ 2560 h 31343"/>
                  <a:gd name="connsiteX4" fmla="*/ 7219 w 49354"/>
                  <a:gd name="connsiteY4" fmla="*/ 603 h 31343"/>
                  <a:gd name="connsiteX5" fmla="*/ 46807 w 49354"/>
                  <a:gd name="connsiteY5" fmla="*/ 22158 h 31343"/>
                  <a:gd name="connsiteX6" fmla="*/ 48764 w 49354"/>
                  <a:gd name="connsiteY6" fmla="*/ 28786 h 31343"/>
                  <a:gd name="connsiteX7" fmla="*/ 44458 w 49354"/>
                  <a:gd name="connsiteY7" fmla="*/ 31343 h 31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354" h="31343">
                    <a:moveTo>
                      <a:pt x="44458" y="31343"/>
                    </a:moveTo>
                    <a:cubicBezTo>
                      <a:pt x="43675" y="31343"/>
                      <a:pt x="42866" y="31161"/>
                      <a:pt x="42135" y="30743"/>
                    </a:cubicBezTo>
                    <a:lnTo>
                      <a:pt x="2548" y="9188"/>
                    </a:lnTo>
                    <a:cubicBezTo>
                      <a:pt x="173" y="7909"/>
                      <a:pt x="-688" y="4934"/>
                      <a:pt x="591" y="2560"/>
                    </a:cubicBezTo>
                    <a:cubicBezTo>
                      <a:pt x="1870" y="185"/>
                      <a:pt x="4871" y="-702"/>
                      <a:pt x="7219" y="603"/>
                    </a:cubicBezTo>
                    <a:lnTo>
                      <a:pt x="46807" y="22158"/>
                    </a:lnTo>
                    <a:cubicBezTo>
                      <a:pt x="49181" y="23436"/>
                      <a:pt x="50043" y="26411"/>
                      <a:pt x="48764" y="28786"/>
                    </a:cubicBezTo>
                    <a:cubicBezTo>
                      <a:pt x="47877" y="30430"/>
                      <a:pt x="46180" y="31343"/>
                      <a:pt x="44458" y="31343"/>
                    </a:cubicBezTo>
                    <a:close/>
                  </a:path>
                </a:pathLst>
              </a:custGeom>
              <a:grpFill/>
              <a:ln w="2603" cap="flat">
                <a:noFill/>
                <a:prstDash val="solid"/>
                <a:miter/>
              </a:ln>
            </p:spPr>
            <p:txBody>
              <a:bodyPr rtlCol="0" anchor="ctr"/>
              <a:lstStyle/>
              <a:p>
                <a:endParaRPr lang="en-GB" dirty="0"/>
              </a:p>
            </p:txBody>
          </p:sp>
          <p:grpSp>
            <p:nvGrpSpPr>
              <p:cNvPr id="495" name="Grafik 10">
                <a:extLst>
                  <a:ext uri="{FF2B5EF4-FFF2-40B4-BE49-F238E27FC236}">
                    <a16:creationId xmlns:a16="http://schemas.microsoft.com/office/drawing/2014/main" id="{5CF8A39F-2E28-4C01-8215-0C723EAD4540}"/>
                  </a:ext>
                </a:extLst>
              </p:cNvPr>
              <p:cNvGrpSpPr/>
              <p:nvPr/>
            </p:nvGrpSpPr>
            <p:grpSpPr>
              <a:xfrm>
                <a:off x="2936926" y="4201755"/>
                <a:ext cx="53332" cy="58097"/>
                <a:chOff x="2936926" y="4201755"/>
                <a:chExt cx="53332" cy="58097"/>
              </a:xfrm>
              <a:grpFill/>
            </p:grpSpPr>
            <p:sp>
              <p:nvSpPr>
                <p:cNvPr id="496" name="Freihandform: Form 488">
                  <a:extLst>
                    <a:ext uri="{FF2B5EF4-FFF2-40B4-BE49-F238E27FC236}">
                      <a16:creationId xmlns:a16="http://schemas.microsoft.com/office/drawing/2014/main" id="{7941FD57-ADA8-49A7-B2DB-454BEAA5EFFF}"/>
                    </a:ext>
                  </a:extLst>
                </p:cNvPr>
                <p:cNvSpPr/>
                <p:nvPr/>
              </p:nvSpPr>
              <p:spPr>
                <a:xfrm>
                  <a:off x="2977450" y="4201755"/>
                  <a:ext cx="12809" cy="58097"/>
                </a:xfrm>
                <a:custGeom>
                  <a:avLst/>
                  <a:gdLst>
                    <a:gd name="connsiteX0" fmla="*/ 4891 w 12809"/>
                    <a:gd name="connsiteY0" fmla="*/ 58098 h 58097"/>
                    <a:gd name="connsiteX1" fmla="*/ 4578 w 12809"/>
                    <a:gd name="connsiteY1" fmla="*/ 58072 h 58097"/>
                    <a:gd name="connsiteX2" fmla="*/ 11 w 12809"/>
                    <a:gd name="connsiteY2" fmla="*/ 52905 h 58097"/>
                    <a:gd name="connsiteX3" fmla="*/ 3064 w 12809"/>
                    <a:gd name="connsiteY3" fmla="*/ 4602 h 58097"/>
                    <a:gd name="connsiteX4" fmla="*/ 8231 w 12809"/>
                    <a:gd name="connsiteY4" fmla="*/ 35 h 58097"/>
                    <a:gd name="connsiteX5" fmla="*/ 12798 w 12809"/>
                    <a:gd name="connsiteY5" fmla="*/ 5202 h 58097"/>
                    <a:gd name="connsiteX6" fmla="*/ 9745 w 12809"/>
                    <a:gd name="connsiteY6" fmla="*/ 53505 h 58097"/>
                    <a:gd name="connsiteX7" fmla="*/ 4891 w 12809"/>
                    <a:gd name="connsiteY7" fmla="*/ 58098 h 5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09" h="58097">
                      <a:moveTo>
                        <a:pt x="4891" y="58098"/>
                      </a:moveTo>
                      <a:cubicBezTo>
                        <a:pt x="4787" y="58098"/>
                        <a:pt x="4682" y="58098"/>
                        <a:pt x="4578" y="58072"/>
                      </a:cubicBezTo>
                      <a:cubicBezTo>
                        <a:pt x="1890" y="57915"/>
                        <a:pt x="-171" y="55593"/>
                        <a:pt x="11" y="52905"/>
                      </a:cubicBezTo>
                      <a:lnTo>
                        <a:pt x="3064" y="4602"/>
                      </a:lnTo>
                      <a:cubicBezTo>
                        <a:pt x="3221" y="1887"/>
                        <a:pt x="5674" y="-305"/>
                        <a:pt x="8231" y="35"/>
                      </a:cubicBezTo>
                      <a:cubicBezTo>
                        <a:pt x="10919" y="191"/>
                        <a:pt x="12981" y="2514"/>
                        <a:pt x="12798" y="5202"/>
                      </a:cubicBezTo>
                      <a:lnTo>
                        <a:pt x="9745" y="53505"/>
                      </a:lnTo>
                      <a:cubicBezTo>
                        <a:pt x="9588" y="56115"/>
                        <a:pt x="7449" y="58098"/>
                        <a:pt x="4891" y="58098"/>
                      </a:cubicBezTo>
                      <a:close/>
                    </a:path>
                  </a:pathLst>
                </a:custGeom>
                <a:grpFill/>
                <a:ln w="2603" cap="flat">
                  <a:noFill/>
                  <a:prstDash val="solid"/>
                  <a:miter/>
                </a:ln>
              </p:spPr>
              <p:txBody>
                <a:bodyPr rtlCol="0" anchor="ctr"/>
                <a:lstStyle/>
                <a:p>
                  <a:endParaRPr lang="en-GB" dirty="0"/>
                </a:p>
              </p:txBody>
            </p:sp>
            <p:sp>
              <p:nvSpPr>
                <p:cNvPr id="497" name="Freihandform: Form 489">
                  <a:extLst>
                    <a:ext uri="{FF2B5EF4-FFF2-40B4-BE49-F238E27FC236}">
                      <a16:creationId xmlns:a16="http://schemas.microsoft.com/office/drawing/2014/main" id="{66A39A85-BA77-4A8F-B4F4-15B85E8846AD}"/>
                    </a:ext>
                  </a:extLst>
                </p:cNvPr>
                <p:cNvSpPr/>
                <p:nvPr/>
              </p:nvSpPr>
              <p:spPr>
                <a:xfrm>
                  <a:off x="2936926" y="4229130"/>
                  <a:ext cx="49702" cy="30696"/>
                </a:xfrm>
                <a:custGeom>
                  <a:avLst/>
                  <a:gdLst>
                    <a:gd name="connsiteX0" fmla="*/ 44814 w 49702"/>
                    <a:gd name="connsiteY0" fmla="*/ 30697 h 30696"/>
                    <a:gd name="connsiteX1" fmla="*/ 42544 w 49702"/>
                    <a:gd name="connsiteY1" fmla="*/ 30149 h 30696"/>
                    <a:gd name="connsiteX2" fmla="*/ 2617 w 49702"/>
                    <a:gd name="connsiteY2" fmla="*/ 9220 h 30696"/>
                    <a:gd name="connsiteX3" fmla="*/ 556 w 49702"/>
                    <a:gd name="connsiteY3" fmla="*/ 2617 h 30696"/>
                    <a:gd name="connsiteX4" fmla="*/ 7158 w 49702"/>
                    <a:gd name="connsiteY4" fmla="*/ 556 h 30696"/>
                    <a:gd name="connsiteX5" fmla="*/ 47085 w 49702"/>
                    <a:gd name="connsiteY5" fmla="*/ 21485 h 30696"/>
                    <a:gd name="connsiteX6" fmla="*/ 49146 w 49702"/>
                    <a:gd name="connsiteY6" fmla="*/ 28087 h 30696"/>
                    <a:gd name="connsiteX7" fmla="*/ 44814 w 49702"/>
                    <a:gd name="connsiteY7" fmla="*/ 30697 h 30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702" h="30696">
                      <a:moveTo>
                        <a:pt x="44814" y="30697"/>
                      </a:moveTo>
                      <a:cubicBezTo>
                        <a:pt x="44058" y="30697"/>
                        <a:pt x="43275" y="30514"/>
                        <a:pt x="42544" y="30149"/>
                      </a:cubicBezTo>
                      <a:lnTo>
                        <a:pt x="2617" y="9220"/>
                      </a:lnTo>
                      <a:cubicBezTo>
                        <a:pt x="243" y="7967"/>
                        <a:pt x="-697" y="5018"/>
                        <a:pt x="556" y="2617"/>
                      </a:cubicBezTo>
                      <a:cubicBezTo>
                        <a:pt x="1809" y="243"/>
                        <a:pt x="4757" y="-697"/>
                        <a:pt x="7158" y="556"/>
                      </a:cubicBezTo>
                      <a:lnTo>
                        <a:pt x="47085" y="21485"/>
                      </a:lnTo>
                      <a:cubicBezTo>
                        <a:pt x="49460" y="22737"/>
                        <a:pt x="50399" y="25686"/>
                        <a:pt x="49146" y="28087"/>
                      </a:cubicBezTo>
                      <a:cubicBezTo>
                        <a:pt x="48285" y="29731"/>
                        <a:pt x="46589" y="30697"/>
                        <a:pt x="44814" y="30697"/>
                      </a:cubicBezTo>
                      <a:close/>
                    </a:path>
                  </a:pathLst>
                </a:custGeom>
                <a:grpFill/>
                <a:ln w="2603" cap="flat">
                  <a:noFill/>
                  <a:prstDash val="solid"/>
                  <a:miter/>
                </a:ln>
              </p:spPr>
              <p:txBody>
                <a:bodyPr rtlCol="0" anchor="ctr"/>
                <a:lstStyle/>
                <a:p>
                  <a:endParaRPr lang="en-GB" dirty="0"/>
                </a:p>
              </p:txBody>
            </p:sp>
          </p:grpSp>
        </p:grpSp>
      </p:grpSp>
      <p:grpSp>
        <p:nvGrpSpPr>
          <p:cNvPr id="504" name="Group 503">
            <a:extLst>
              <a:ext uri="{FF2B5EF4-FFF2-40B4-BE49-F238E27FC236}">
                <a16:creationId xmlns:a16="http://schemas.microsoft.com/office/drawing/2014/main" id="{270A32A2-700F-42C9-8930-FBE21D55F570}"/>
              </a:ext>
            </a:extLst>
          </p:cNvPr>
          <p:cNvGrpSpPr>
            <a:grpSpLocks noChangeAspect="1"/>
          </p:cNvGrpSpPr>
          <p:nvPr/>
        </p:nvGrpSpPr>
        <p:grpSpPr>
          <a:xfrm>
            <a:off x="5067793" y="4002611"/>
            <a:ext cx="290942" cy="432000"/>
            <a:chOff x="6994235" y="1626758"/>
            <a:chExt cx="377426" cy="560414"/>
          </a:xfrm>
        </p:grpSpPr>
        <p:sp>
          <p:nvSpPr>
            <p:cNvPr id="505" name="Freihandform: Form 1017">
              <a:extLst>
                <a:ext uri="{FF2B5EF4-FFF2-40B4-BE49-F238E27FC236}">
                  <a16:creationId xmlns:a16="http://schemas.microsoft.com/office/drawing/2014/main" id="{2934D6F7-D528-443B-A797-51A94FB2998E}"/>
                </a:ext>
              </a:extLst>
            </p:cNvPr>
            <p:cNvSpPr/>
            <p:nvPr/>
          </p:nvSpPr>
          <p:spPr>
            <a:xfrm>
              <a:off x="6994235" y="1704731"/>
              <a:ext cx="377426" cy="359192"/>
            </a:xfrm>
            <a:custGeom>
              <a:avLst/>
              <a:gdLst>
                <a:gd name="connsiteX0" fmla="*/ 75098 w 377426"/>
                <a:gd name="connsiteY0" fmla="*/ 359192 h 359191"/>
                <a:gd name="connsiteX1" fmla="*/ 72242 w 377426"/>
                <a:gd name="connsiteY1" fmla="*/ 358257 h 359191"/>
                <a:gd name="connsiteX2" fmla="*/ 70296 w 377426"/>
                <a:gd name="connsiteY2" fmla="*/ 353505 h 359191"/>
                <a:gd name="connsiteX3" fmla="*/ 91554 w 377426"/>
                <a:gd name="connsiteY3" fmla="*/ 229496 h 359191"/>
                <a:gd name="connsiteX4" fmla="*/ 1466 w 377426"/>
                <a:gd name="connsiteY4" fmla="*/ 141684 h 359191"/>
                <a:gd name="connsiteX5" fmla="*/ 228 w 377426"/>
                <a:gd name="connsiteY5" fmla="*/ 136704 h 359191"/>
                <a:gd name="connsiteX6" fmla="*/ 4146 w 377426"/>
                <a:gd name="connsiteY6" fmla="*/ 133393 h 359191"/>
                <a:gd name="connsiteX7" fmla="*/ 128660 w 377426"/>
                <a:gd name="connsiteY7" fmla="*/ 115295 h 359191"/>
                <a:gd name="connsiteX8" fmla="*/ 184345 w 377426"/>
                <a:gd name="connsiteY8" fmla="*/ 2483 h 359191"/>
                <a:gd name="connsiteX9" fmla="*/ 193066 w 377426"/>
                <a:gd name="connsiteY9" fmla="*/ 2483 h 359191"/>
                <a:gd name="connsiteX10" fmla="*/ 248751 w 377426"/>
                <a:gd name="connsiteY10" fmla="*/ 115295 h 359191"/>
                <a:gd name="connsiteX11" fmla="*/ 373265 w 377426"/>
                <a:gd name="connsiteY11" fmla="*/ 133393 h 359191"/>
                <a:gd name="connsiteX12" fmla="*/ 377183 w 377426"/>
                <a:gd name="connsiteY12" fmla="*/ 136704 h 359191"/>
                <a:gd name="connsiteX13" fmla="*/ 375945 w 377426"/>
                <a:gd name="connsiteY13" fmla="*/ 141684 h 359191"/>
                <a:gd name="connsiteX14" fmla="*/ 285857 w 377426"/>
                <a:gd name="connsiteY14" fmla="*/ 229496 h 359191"/>
                <a:gd name="connsiteX15" fmla="*/ 307115 w 377426"/>
                <a:gd name="connsiteY15" fmla="*/ 353505 h 359191"/>
                <a:gd name="connsiteX16" fmla="*/ 305169 w 377426"/>
                <a:gd name="connsiteY16" fmla="*/ 358257 h 359191"/>
                <a:gd name="connsiteX17" fmla="*/ 300063 w 377426"/>
                <a:gd name="connsiteY17" fmla="*/ 358636 h 359191"/>
                <a:gd name="connsiteX18" fmla="*/ 254438 w 377426"/>
                <a:gd name="connsiteY18" fmla="*/ 334648 h 359191"/>
                <a:gd name="connsiteX19" fmla="*/ 252391 w 377426"/>
                <a:gd name="connsiteY19" fmla="*/ 328076 h 359191"/>
                <a:gd name="connsiteX20" fmla="*/ 258963 w 377426"/>
                <a:gd name="connsiteY20" fmla="*/ 326029 h 359191"/>
                <a:gd name="connsiteX21" fmla="*/ 295892 w 377426"/>
                <a:gd name="connsiteY21" fmla="*/ 345441 h 359191"/>
                <a:gd name="connsiteX22" fmla="*/ 275873 w 377426"/>
                <a:gd name="connsiteY22" fmla="*/ 228611 h 359191"/>
                <a:gd name="connsiteX23" fmla="*/ 277263 w 377426"/>
                <a:gd name="connsiteY23" fmla="*/ 224314 h 359191"/>
                <a:gd name="connsiteX24" fmla="*/ 362143 w 377426"/>
                <a:gd name="connsiteY24" fmla="*/ 141583 h 359191"/>
                <a:gd name="connsiteX25" fmla="*/ 244858 w 377426"/>
                <a:gd name="connsiteY25" fmla="*/ 124546 h 359191"/>
                <a:gd name="connsiteX26" fmla="*/ 241193 w 377426"/>
                <a:gd name="connsiteY26" fmla="*/ 121892 h 359191"/>
                <a:gd name="connsiteX27" fmla="*/ 188743 w 377426"/>
                <a:gd name="connsiteY27" fmla="*/ 15602 h 359191"/>
                <a:gd name="connsiteX28" fmla="*/ 136294 w 377426"/>
                <a:gd name="connsiteY28" fmla="*/ 121892 h 359191"/>
                <a:gd name="connsiteX29" fmla="*/ 132629 w 377426"/>
                <a:gd name="connsiteY29" fmla="*/ 124546 h 359191"/>
                <a:gd name="connsiteX30" fmla="*/ 15343 w 377426"/>
                <a:gd name="connsiteY30" fmla="*/ 141583 h 359191"/>
                <a:gd name="connsiteX31" fmla="*/ 100224 w 377426"/>
                <a:gd name="connsiteY31" fmla="*/ 224314 h 359191"/>
                <a:gd name="connsiteX32" fmla="*/ 101614 w 377426"/>
                <a:gd name="connsiteY32" fmla="*/ 228611 h 359191"/>
                <a:gd name="connsiteX33" fmla="*/ 81594 w 377426"/>
                <a:gd name="connsiteY33" fmla="*/ 345441 h 359191"/>
                <a:gd name="connsiteX34" fmla="*/ 116856 w 377426"/>
                <a:gd name="connsiteY34" fmla="*/ 326913 h 359191"/>
                <a:gd name="connsiteX35" fmla="*/ 123428 w 377426"/>
                <a:gd name="connsiteY35" fmla="*/ 328961 h 359191"/>
                <a:gd name="connsiteX36" fmla="*/ 121380 w 377426"/>
                <a:gd name="connsiteY36" fmla="*/ 335533 h 359191"/>
                <a:gd name="connsiteX37" fmla="*/ 77398 w 377426"/>
                <a:gd name="connsiteY37" fmla="*/ 358661 h 359191"/>
                <a:gd name="connsiteX38" fmla="*/ 75098 w 377426"/>
                <a:gd name="connsiteY38" fmla="*/ 359192 h 35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77426" h="359191">
                  <a:moveTo>
                    <a:pt x="75098" y="359192"/>
                  </a:moveTo>
                  <a:cubicBezTo>
                    <a:pt x="74087" y="359192"/>
                    <a:pt x="73076" y="358889"/>
                    <a:pt x="72242" y="358257"/>
                  </a:cubicBezTo>
                  <a:cubicBezTo>
                    <a:pt x="70751" y="357170"/>
                    <a:pt x="69992" y="355324"/>
                    <a:pt x="70296" y="353505"/>
                  </a:cubicBezTo>
                  <a:lnTo>
                    <a:pt x="91554" y="229496"/>
                  </a:lnTo>
                  <a:lnTo>
                    <a:pt x="1466" y="141684"/>
                  </a:lnTo>
                  <a:cubicBezTo>
                    <a:pt x="152" y="140395"/>
                    <a:pt x="-328" y="138448"/>
                    <a:pt x="228" y="136704"/>
                  </a:cubicBezTo>
                  <a:cubicBezTo>
                    <a:pt x="809" y="134935"/>
                    <a:pt x="2326" y="133671"/>
                    <a:pt x="4146" y="133393"/>
                  </a:cubicBezTo>
                  <a:lnTo>
                    <a:pt x="128660" y="115295"/>
                  </a:lnTo>
                  <a:lnTo>
                    <a:pt x="184345" y="2483"/>
                  </a:lnTo>
                  <a:cubicBezTo>
                    <a:pt x="185988" y="-828"/>
                    <a:pt x="191423" y="-828"/>
                    <a:pt x="193066" y="2483"/>
                  </a:cubicBezTo>
                  <a:lnTo>
                    <a:pt x="248751" y="115295"/>
                  </a:lnTo>
                  <a:lnTo>
                    <a:pt x="373265" y="133393"/>
                  </a:lnTo>
                  <a:cubicBezTo>
                    <a:pt x="375110" y="133671"/>
                    <a:pt x="376627" y="134935"/>
                    <a:pt x="377183" y="136704"/>
                  </a:cubicBezTo>
                  <a:cubicBezTo>
                    <a:pt x="377764" y="138473"/>
                    <a:pt x="377284" y="140395"/>
                    <a:pt x="375945" y="141684"/>
                  </a:cubicBezTo>
                  <a:lnTo>
                    <a:pt x="285857" y="229496"/>
                  </a:lnTo>
                  <a:lnTo>
                    <a:pt x="307115" y="353505"/>
                  </a:lnTo>
                  <a:cubicBezTo>
                    <a:pt x="307419" y="355324"/>
                    <a:pt x="306686" y="357170"/>
                    <a:pt x="305169" y="358257"/>
                  </a:cubicBezTo>
                  <a:cubicBezTo>
                    <a:pt x="303678" y="359344"/>
                    <a:pt x="301681" y="359495"/>
                    <a:pt x="300063" y="358636"/>
                  </a:cubicBezTo>
                  <a:lnTo>
                    <a:pt x="254438" y="334648"/>
                  </a:lnTo>
                  <a:cubicBezTo>
                    <a:pt x="252062" y="333409"/>
                    <a:pt x="251152" y="330452"/>
                    <a:pt x="252391" y="328076"/>
                  </a:cubicBezTo>
                  <a:cubicBezTo>
                    <a:pt x="253655" y="325700"/>
                    <a:pt x="256561" y="324790"/>
                    <a:pt x="258963" y="326029"/>
                  </a:cubicBezTo>
                  <a:lnTo>
                    <a:pt x="295892" y="345441"/>
                  </a:lnTo>
                  <a:lnTo>
                    <a:pt x="275873" y="228611"/>
                  </a:lnTo>
                  <a:cubicBezTo>
                    <a:pt x="275595" y="227044"/>
                    <a:pt x="276126" y="225426"/>
                    <a:pt x="277263" y="224314"/>
                  </a:cubicBezTo>
                  <a:lnTo>
                    <a:pt x="362143" y="141583"/>
                  </a:lnTo>
                  <a:lnTo>
                    <a:pt x="244858" y="124546"/>
                  </a:lnTo>
                  <a:cubicBezTo>
                    <a:pt x="243266" y="124318"/>
                    <a:pt x="241901" y="123333"/>
                    <a:pt x="241193" y="121892"/>
                  </a:cubicBezTo>
                  <a:lnTo>
                    <a:pt x="188743" y="15602"/>
                  </a:lnTo>
                  <a:lnTo>
                    <a:pt x="136294" y="121892"/>
                  </a:lnTo>
                  <a:cubicBezTo>
                    <a:pt x="135586" y="123333"/>
                    <a:pt x="134221" y="124318"/>
                    <a:pt x="132629" y="124546"/>
                  </a:cubicBezTo>
                  <a:lnTo>
                    <a:pt x="15343" y="141583"/>
                  </a:lnTo>
                  <a:lnTo>
                    <a:pt x="100224" y="224314"/>
                  </a:lnTo>
                  <a:cubicBezTo>
                    <a:pt x="101361" y="225426"/>
                    <a:pt x="101892" y="227044"/>
                    <a:pt x="101614" y="228611"/>
                  </a:cubicBezTo>
                  <a:lnTo>
                    <a:pt x="81594" y="345441"/>
                  </a:lnTo>
                  <a:lnTo>
                    <a:pt x="116856" y="326913"/>
                  </a:lnTo>
                  <a:cubicBezTo>
                    <a:pt x="119232" y="325675"/>
                    <a:pt x="122164" y="326585"/>
                    <a:pt x="123428" y="328961"/>
                  </a:cubicBezTo>
                  <a:cubicBezTo>
                    <a:pt x="124666" y="331337"/>
                    <a:pt x="123756" y="334269"/>
                    <a:pt x="121380" y="335533"/>
                  </a:cubicBezTo>
                  <a:lnTo>
                    <a:pt x="77398" y="358661"/>
                  </a:lnTo>
                  <a:cubicBezTo>
                    <a:pt x="76640" y="359015"/>
                    <a:pt x="75857" y="359192"/>
                    <a:pt x="75098" y="359192"/>
                  </a:cubicBezTo>
                  <a:close/>
                </a:path>
              </a:pathLst>
            </a:custGeom>
            <a:solidFill>
              <a:schemeClr val="tx2"/>
            </a:solidFill>
            <a:ln w="2523" cap="flat">
              <a:noFill/>
              <a:prstDash val="solid"/>
              <a:miter/>
            </a:ln>
          </p:spPr>
          <p:txBody>
            <a:bodyPr rtlCol="0" anchor="ctr"/>
            <a:lstStyle/>
            <a:p>
              <a:endParaRPr lang="en-GB" dirty="0"/>
            </a:p>
          </p:txBody>
        </p:sp>
        <p:grpSp>
          <p:nvGrpSpPr>
            <p:cNvPr id="506" name="Group 505">
              <a:extLst>
                <a:ext uri="{FF2B5EF4-FFF2-40B4-BE49-F238E27FC236}">
                  <a16:creationId xmlns:a16="http://schemas.microsoft.com/office/drawing/2014/main" id="{C822C221-AB1F-4FAC-BF49-2D6A938E4F8C}"/>
                </a:ext>
              </a:extLst>
            </p:cNvPr>
            <p:cNvGrpSpPr/>
            <p:nvPr/>
          </p:nvGrpSpPr>
          <p:grpSpPr>
            <a:xfrm>
              <a:off x="7034756" y="1626758"/>
              <a:ext cx="296359" cy="560414"/>
              <a:chOff x="7034755" y="1626758"/>
              <a:chExt cx="296359" cy="560414"/>
            </a:xfrm>
          </p:grpSpPr>
          <p:grpSp>
            <p:nvGrpSpPr>
              <p:cNvPr id="507" name="Grafik 3">
                <a:extLst>
                  <a:ext uri="{FF2B5EF4-FFF2-40B4-BE49-F238E27FC236}">
                    <a16:creationId xmlns:a16="http://schemas.microsoft.com/office/drawing/2014/main" id="{B01F35A4-CBFF-42E8-A18B-06D6F0263928}"/>
                  </a:ext>
                </a:extLst>
              </p:cNvPr>
              <p:cNvGrpSpPr/>
              <p:nvPr/>
            </p:nvGrpSpPr>
            <p:grpSpPr>
              <a:xfrm>
                <a:off x="7131951" y="1950707"/>
                <a:ext cx="100400" cy="236465"/>
                <a:chOff x="7131951" y="1950707"/>
                <a:chExt cx="100400" cy="236465"/>
              </a:xfrm>
              <a:solidFill>
                <a:schemeClr val="accent1"/>
              </a:solidFill>
            </p:grpSpPr>
            <p:sp>
              <p:nvSpPr>
                <p:cNvPr id="511" name="Freihandform: Form 1019">
                  <a:extLst>
                    <a:ext uri="{FF2B5EF4-FFF2-40B4-BE49-F238E27FC236}">
                      <a16:creationId xmlns:a16="http://schemas.microsoft.com/office/drawing/2014/main" id="{D06DC6AC-8909-4FA2-9311-2489FADCCFCE}"/>
                    </a:ext>
                  </a:extLst>
                </p:cNvPr>
                <p:cNvSpPr/>
                <p:nvPr/>
              </p:nvSpPr>
              <p:spPr>
                <a:xfrm>
                  <a:off x="7131951" y="2030607"/>
                  <a:ext cx="100400" cy="9706"/>
                </a:xfrm>
                <a:custGeom>
                  <a:avLst/>
                  <a:gdLst>
                    <a:gd name="connsiteX0" fmla="*/ 95547 w 100400"/>
                    <a:gd name="connsiteY0" fmla="*/ 9706 h 9706"/>
                    <a:gd name="connsiteX1" fmla="*/ 4853 w 100400"/>
                    <a:gd name="connsiteY1" fmla="*/ 9706 h 9706"/>
                    <a:gd name="connsiteX2" fmla="*/ 0 w 100400"/>
                    <a:gd name="connsiteY2" fmla="*/ 4853 h 9706"/>
                    <a:gd name="connsiteX3" fmla="*/ 4853 w 100400"/>
                    <a:gd name="connsiteY3" fmla="*/ 0 h 9706"/>
                    <a:gd name="connsiteX4" fmla="*/ 95547 w 100400"/>
                    <a:gd name="connsiteY4" fmla="*/ 0 h 9706"/>
                    <a:gd name="connsiteX5" fmla="*/ 100400 w 100400"/>
                    <a:gd name="connsiteY5" fmla="*/ 4853 h 9706"/>
                    <a:gd name="connsiteX6" fmla="*/ 95547 w 100400"/>
                    <a:gd name="connsiteY6" fmla="*/ 9706 h 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00" h="9706">
                      <a:moveTo>
                        <a:pt x="95547" y="9706"/>
                      </a:moveTo>
                      <a:lnTo>
                        <a:pt x="4853" y="9706"/>
                      </a:lnTo>
                      <a:cubicBezTo>
                        <a:pt x="2174" y="9706"/>
                        <a:pt x="0" y="7533"/>
                        <a:pt x="0" y="4853"/>
                      </a:cubicBezTo>
                      <a:cubicBezTo>
                        <a:pt x="0" y="2174"/>
                        <a:pt x="2174" y="0"/>
                        <a:pt x="4853" y="0"/>
                      </a:cubicBezTo>
                      <a:lnTo>
                        <a:pt x="95547" y="0"/>
                      </a:lnTo>
                      <a:cubicBezTo>
                        <a:pt x="98226" y="0"/>
                        <a:pt x="100400" y="2174"/>
                        <a:pt x="100400" y="4853"/>
                      </a:cubicBezTo>
                      <a:cubicBezTo>
                        <a:pt x="100425" y="7533"/>
                        <a:pt x="98226" y="9706"/>
                        <a:pt x="95547" y="9706"/>
                      </a:cubicBezTo>
                      <a:close/>
                    </a:path>
                  </a:pathLst>
                </a:custGeom>
                <a:solidFill>
                  <a:schemeClr val="accent1"/>
                </a:solidFill>
                <a:ln w="2523" cap="flat">
                  <a:noFill/>
                  <a:prstDash val="solid"/>
                  <a:miter/>
                </a:ln>
              </p:spPr>
              <p:txBody>
                <a:bodyPr rtlCol="0" anchor="ctr"/>
                <a:lstStyle/>
                <a:p>
                  <a:endParaRPr lang="en-GB" dirty="0"/>
                </a:p>
              </p:txBody>
            </p:sp>
            <p:grpSp>
              <p:nvGrpSpPr>
                <p:cNvPr id="512" name="Grafik 3">
                  <a:extLst>
                    <a:ext uri="{FF2B5EF4-FFF2-40B4-BE49-F238E27FC236}">
                      <a16:creationId xmlns:a16="http://schemas.microsoft.com/office/drawing/2014/main" id="{87655F67-62D1-458A-86B6-D5A0344DDBEB}"/>
                    </a:ext>
                  </a:extLst>
                </p:cNvPr>
                <p:cNvGrpSpPr/>
                <p:nvPr/>
              </p:nvGrpSpPr>
              <p:grpSpPr>
                <a:xfrm>
                  <a:off x="7131951" y="1950707"/>
                  <a:ext cx="100400" cy="236465"/>
                  <a:chOff x="7131951" y="1950707"/>
                  <a:chExt cx="100400" cy="236465"/>
                </a:xfrm>
                <a:solidFill>
                  <a:schemeClr val="accent1"/>
                </a:solidFill>
              </p:grpSpPr>
              <p:sp>
                <p:nvSpPr>
                  <p:cNvPr id="513" name="Freihandform: Form 1021">
                    <a:extLst>
                      <a:ext uri="{FF2B5EF4-FFF2-40B4-BE49-F238E27FC236}">
                        <a16:creationId xmlns:a16="http://schemas.microsoft.com/office/drawing/2014/main" id="{26FD53F0-04FA-4288-9B70-662D0C6BE46D}"/>
                      </a:ext>
                    </a:extLst>
                  </p:cNvPr>
                  <p:cNvSpPr/>
                  <p:nvPr/>
                </p:nvSpPr>
                <p:spPr>
                  <a:xfrm>
                    <a:off x="7222644" y="1950707"/>
                    <a:ext cx="9706" cy="236465"/>
                  </a:xfrm>
                  <a:custGeom>
                    <a:avLst/>
                    <a:gdLst>
                      <a:gd name="connsiteX0" fmla="*/ 4853 w 9706"/>
                      <a:gd name="connsiteY0" fmla="*/ 236466 h 236465"/>
                      <a:gd name="connsiteX1" fmla="*/ 0 w 9706"/>
                      <a:gd name="connsiteY1" fmla="*/ 231613 h 236465"/>
                      <a:gd name="connsiteX2" fmla="*/ 0 w 9706"/>
                      <a:gd name="connsiteY2" fmla="*/ 4853 h 236465"/>
                      <a:gd name="connsiteX3" fmla="*/ 4853 w 9706"/>
                      <a:gd name="connsiteY3" fmla="*/ 0 h 236465"/>
                      <a:gd name="connsiteX4" fmla="*/ 9706 w 9706"/>
                      <a:gd name="connsiteY4" fmla="*/ 4853 h 236465"/>
                      <a:gd name="connsiteX5" fmla="*/ 9706 w 9706"/>
                      <a:gd name="connsiteY5" fmla="*/ 231613 h 236465"/>
                      <a:gd name="connsiteX6" fmla="*/ 4853 w 9706"/>
                      <a:gd name="connsiteY6" fmla="*/ 236466 h 23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06" h="236465">
                        <a:moveTo>
                          <a:pt x="4853" y="236466"/>
                        </a:moveTo>
                        <a:cubicBezTo>
                          <a:pt x="2174" y="236466"/>
                          <a:pt x="0" y="234292"/>
                          <a:pt x="0" y="231613"/>
                        </a:cubicBezTo>
                        <a:lnTo>
                          <a:pt x="0" y="4853"/>
                        </a:lnTo>
                        <a:cubicBezTo>
                          <a:pt x="0" y="2174"/>
                          <a:pt x="2174" y="0"/>
                          <a:pt x="4853" y="0"/>
                        </a:cubicBezTo>
                        <a:cubicBezTo>
                          <a:pt x="7533" y="0"/>
                          <a:pt x="9706" y="2174"/>
                          <a:pt x="9706" y="4853"/>
                        </a:cubicBezTo>
                        <a:lnTo>
                          <a:pt x="9706" y="231613"/>
                        </a:lnTo>
                        <a:cubicBezTo>
                          <a:pt x="9732" y="234292"/>
                          <a:pt x="7533" y="236466"/>
                          <a:pt x="4853" y="236466"/>
                        </a:cubicBezTo>
                        <a:close/>
                      </a:path>
                    </a:pathLst>
                  </a:custGeom>
                  <a:solidFill>
                    <a:schemeClr val="accent1"/>
                  </a:solidFill>
                  <a:ln w="2523" cap="flat">
                    <a:noFill/>
                    <a:prstDash val="solid"/>
                    <a:miter/>
                  </a:ln>
                </p:spPr>
                <p:txBody>
                  <a:bodyPr rtlCol="0" anchor="ctr"/>
                  <a:lstStyle/>
                  <a:p>
                    <a:endParaRPr lang="en-GB" dirty="0"/>
                  </a:p>
                </p:txBody>
              </p:sp>
              <p:sp>
                <p:nvSpPr>
                  <p:cNvPr id="514" name="Freihandform: Form 1022">
                    <a:extLst>
                      <a:ext uri="{FF2B5EF4-FFF2-40B4-BE49-F238E27FC236}">
                        <a16:creationId xmlns:a16="http://schemas.microsoft.com/office/drawing/2014/main" id="{980EFE41-8D9C-4E72-8D0B-0FEFA5F0D708}"/>
                      </a:ext>
                    </a:extLst>
                  </p:cNvPr>
                  <p:cNvSpPr/>
                  <p:nvPr/>
                </p:nvSpPr>
                <p:spPr>
                  <a:xfrm>
                    <a:off x="7131951" y="1950707"/>
                    <a:ext cx="9706" cy="236465"/>
                  </a:xfrm>
                  <a:custGeom>
                    <a:avLst/>
                    <a:gdLst>
                      <a:gd name="connsiteX0" fmla="*/ 4853 w 9706"/>
                      <a:gd name="connsiteY0" fmla="*/ 236466 h 236465"/>
                      <a:gd name="connsiteX1" fmla="*/ 0 w 9706"/>
                      <a:gd name="connsiteY1" fmla="*/ 231613 h 236465"/>
                      <a:gd name="connsiteX2" fmla="*/ 0 w 9706"/>
                      <a:gd name="connsiteY2" fmla="*/ 4853 h 236465"/>
                      <a:gd name="connsiteX3" fmla="*/ 4853 w 9706"/>
                      <a:gd name="connsiteY3" fmla="*/ 0 h 236465"/>
                      <a:gd name="connsiteX4" fmla="*/ 9706 w 9706"/>
                      <a:gd name="connsiteY4" fmla="*/ 4853 h 236465"/>
                      <a:gd name="connsiteX5" fmla="*/ 9706 w 9706"/>
                      <a:gd name="connsiteY5" fmla="*/ 231613 h 236465"/>
                      <a:gd name="connsiteX6" fmla="*/ 4853 w 9706"/>
                      <a:gd name="connsiteY6" fmla="*/ 236466 h 23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06" h="236465">
                        <a:moveTo>
                          <a:pt x="4853" y="236466"/>
                        </a:moveTo>
                        <a:cubicBezTo>
                          <a:pt x="2174" y="236466"/>
                          <a:pt x="0" y="234292"/>
                          <a:pt x="0" y="231613"/>
                        </a:cubicBezTo>
                        <a:lnTo>
                          <a:pt x="0" y="4853"/>
                        </a:lnTo>
                        <a:cubicBezTo>
                          <a:pt x="0" y="2174"/>
                          <a:pt x="2174" y="0"/>
                          <a:pt x="4853" y="0"/>
                        </a:cubicBezTo>
                        <a:cubicBezTo>
                          <a:pt x="7532" y="0"/>
                          <a:pt x="9706" y="2174"/>
                          <a:pt x="9706" y="4853"/>
                        </a:cubicBezTo>
                        <a:lnTo>
                          <a:pt x="9706" y="231613"/>
                        </a:lnTo>
                        <a:cubicBezTo>
                          <a:pt x="9706" y="234292"/>
                          <a:pt x="7532" y="236466"/>
                          <a:pt x="4853" y="236466"/>
                        </a:cubicBezTo>
                        <a:close/>
                      </a:path>
                    </a:pathLst>
                  </a:custGeom>
                  <a:solidFill>
                    <a:schemeClr val="accent1"/>
                  </a:solidFill>
                  <a:ln w="2523" cap="flat">
                    <a:noFill/>
                    <a:prstDash val="solid"/>
                    <a:miter/>
                  </a:ln>
                </p:spPr>
                <p:txBody>
                  <a:bodyPr rtlCol="0" anchor="ctr"/>
                  <a:lstStyle/>
                  <a:p>
                    <a:endParaRPr lang="en-GB" dirty="0"/>
                  </a:p>
                </p:txBody>
              </p:sp>
              <p:sp>
                <p:nvSpPr>
                  <p:cNvPr id="515" name="Freihandform: Form 1023">
                    <a:extLst>
                      <a:ext uri="{FF2B5EF4-FFF2-40B4-BE49-F238E27FC236}">
                        <a16:creationId xmlns:a16="http://schemas.microsoft.com/office/drawing/2014/main" id="{A17094F8-CCCC-4546-9988-6D5211AAEECF}"/>
                      </a:ext>
                    </a:extLst>
                  </p:cNvPr>
                  <p:cNvSpPr/>
                  <p:nvPr/>
                </p:nvSpPr>
                <p:spPr>
                  <a:xfrm>
                    <a:off x="7131951" y="2151558"/>
                    <a:ext cx="100400" cy="9706"/>
                  </a:xfrm>
                  <a:custGeom>
                    <a:avLst/>
                    <a:gdLst>
                      <a:gd name="connsiteX0" fmla="*/ 95547 w 100400"/>
                      <a:gd name="connsiteY0" fmla="*/ 9706 h 9706"/>
                      <a:gd name="connsiteX1" fmla="*/ 4853 w 100400"/>
                      <a:gd name="connsiteY1" fmla="*/ 9706 h 9706"/>
                      <a:gd name="connsiteX2" fmla="*/ 0 w 100400"/>
                      <a:gd name="connsiteY2" fmla="*/ 4853 h 9706"/>
                      <a:gd name="connsiteX3" fmla="*/ 4853 w 100400"/>
                      <a:gd name="connsiteY3" fmla="*/ 0 h 9706"/>
                      <a:gd name="connsiteX4" fmla="*/ 95547 w 100400"/>
                      <a:gd name="connsiteY4" fmla="*/ 0 h 9706"/>
                      <a:gd name="connsiteX5" fmla="*/ 100400 w 100400"/>
                      <a:gd name="connsiteY5" fmla="*/ 4853 h 9706"/>
                      <a:gd name="connsiteX6" fmla="*/ 95547 w 100400"/>
                      <a:gd name="connsiteY6" fmla="*/ 9706 h 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00" h="9706">
                        <a:moveTo>
                          <a:pt x="95547" y="9706"/>
                        </a:moveTo>
                        <a:lnTo>
                          <a:pt x="4853" y="9706"/>
                        </a:lnTo>
                        <a:cubicBezTo>
                          <a:pt x="2174" y="9706"/>
                          <a:pt x="0" y="7533"/>
                          <a:pt x="0" y="4853"/>
                        </a:cubicBezTo>
                        <a:cubicBezTo>
                          <a:pt x="0" y="2174"/>
                          <a:pt x="2174" y="0"/>
                          <a:pt x="4853" y="0"/>
                        </a:cubicBezTo>
                        <a:lnTo>
                          <a:pt x="95547" y="0"/>
                        </a:lnTo>
                        <a:cubicBezTo>
                          <a:pt x="98226" y="0"/>
                          <a:pt x="100400" y="2174"/>
                          <a:pt x="100400" y="4853"/>
                        </a:cubicBezTo>
                        <a:cubicBezTo>
                          <a:pt x="100425" y="7533"/>
                          <a:pt x="98226" y="9706"/>
                          <a:pt x="95547" y="9706"/>
                        </a:cubicBezTo>
                        <a:close/>
                      </a:path>
                    </a:pathLst>
                  </a:custGeom>
                  <a:solidFill>
                    <a:schemeClr val="accent1"/>
                  </a:solidFill>
                  <a:ln w="2523" cap="flat">
                    <a:noFill/>
                    <a:prstDash val="solid"/>
                    <a:miter/>
                  </a:ln>
                </p:spPr>
                <p:txBody>
                  <a:bodyPr rtlCol="0" anchor="ctr"/>
                  <a:lstStyle/>
                  <a:p>
                    <a:endParaRPr lang="en-GB" dirty="0"/>
                  </a:p>
                </p:txBody>
              </p:sp>
              <p:sp>
                <p:nvSpPr>
                  <p:cNvPr id="516" name="Freihandform: Form 1024">
                    <a:extLst>
                      <a:ext uri="{FF2B5EF4-FFF2-40B4-BE49-F238E27FC236}">
                        <a16:creationId xmlns:a16="http://schemas.microsoft.com/office/drawing/2014/main" id="{284CA28A-89E5-46C6-B1FA-508DA5D425A3}"/>
                      </a:ext>
                    </a:extLst>
                  </p:cNvPr>
                  <p:cNvSpPr/>
                  <p:nvPr/>
                </p:nvSpPr>
                <p:spPr>
                  <a:xfrm>
                    <a:off x="7131951" y="2091095"/>
                    <a:ext cx="100400" cy="9706"/>
                  </a:xfrm>
                  <a:custGeom>
                    <a:avLst/>
                    <a:gdLst>
                      <a:gd name="connsiteX0" fmla="*/ 95547 w 100400"/>
                      <a:gd name="connsiteY0" fmla="*/ 9706 h 9706"/>
                      <a:gd name="connsiteX1" fmla="*/ 4853 w 100400"/>
                      <a:gd name="connsiteY1" fmla="*/ 9706 h 9706"/>
                      <a:gd name="connsiteX2" fmla="*/ 0 w 100400"/>
                      <a:gd name="connsiteY2" fmla="*/ 4853 h 9706"/>
                      <a:gd name="connsiteX3" fmla="*/ 4853 w 100400"/>
                      <a:gd name="connsiteY3" fmla="*/ 0 h 9706"/>
                      <a:gd name="connsiteX4" fmla="*/ 95547 w 100400"/>
                      <a:gd name="connsiteY4" fmla="*/ 0 h 9706"/>
                      <a:gd name="connsiteX5" fmla="*/ 100400 w 100400"/>
                      <a:gd name="connsiteY5" fmla="*/ 4853 h 9706"/>
                      <a:gd name="connsiteX6" fmla="*/ 95547 w 100400"/>
                      <a:gd name="connsiteY6" fmla="*/ 9706 h 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00" h="9706">
                        <a:moveTo>
                          <a:pt x="95547" y="9706"/>
                        </a:moveTo>
                        <a:lnTo>
                          <a:pt x="4853" y="9706"/>
                        </a:lnTo>
                        <a:cubicBezTo>
                          <a:pt x="2174" y="9706"/>
                          <a:pt x="0" y="7533"/>
                          <a:pt x="0" y="4853"/>
                        </a:cubicBezTo>
                        <a:cubicBezTo>
                          <a:pt x="0" y="2174"/>
                          <a:pt x="2174" y="0"/>
                          <a:pt x="4853" y="0"/>
                        </a:cubicBezTo>
                        <a:lnTo>
                          <a:pt x="95547" y="0"/>
                        </a:lnTo>
                        <a:cubicBezTo>
                          <a:pt x="98226" y="0"/>
                          <a:pt x="100400" y="2174"/>
                          <a:pt x="100400" y="4853"/>
                        </a:cubicBezTo>
                        <a:cubicBezTo>
                          <a:pt x="100425" y="7533"/>
                          <a:pt x="98226" y="9706"/>
                          <a:pt x="95547" y="9706"/>
                        </a:cubicBezTo>
                        <a:close/>
                      </a:path>
                    </a:pathLst>
                  </a:custGeom>
                  <a:solidFill>
                    <a:schemeClr val="accent1"/>
                  </a:solidFill>
                  <a:ln w="2523" cap="flat">
                    <a:noFill/>
                    <a:prstDash val="solid"/>
                    <a:miter/>
                  </a:ln>
                </p:spPr>
                <p:txBody>
                  <a:bodyPr rtlCol="0" anchor="ctr"/>
                  <a:lstStyle/>
                  <a:p>
                    <a:endParaRPr lang="en-GB" dirty="0"/>
                  </a:p>
                </p:txBody>
              </p:sp>
              <p:sp>
                <p:nvSpPr>
                  <p:cNvPr id="517" name="Freihandform: Form 1025">
                    <a:extLst>
                      <a:ext uri="{FF2B5EF4-FFF2-40B4-BE49-F238E27FC236}">
                        <a16:creationId xmlns:a16="http://schemas.microsoft.com/office/drawing/2014/main" id="{F19B2E9D-1DFA-444F-9521-6B9B0C6BABAA}"/>
                      </a:ext>
                    </a:extLst>
                  </p:cNvPr>
                  <p:cNvSpPr/>
                  <p:nvPr/>
                </p:nvSpPr>
                <p:spPr>
                  <a:xfrm>
                    <a:off x="7131951" y="1970145"/>
                    <a:ext cx="100400" cy="9706"/>
                  </a:xfrm>
                  <a:custGeom>
                    <a:avLst/>
                    <a:gdLst>
                      <a:gd name="connsiteX0" fmla="*/ 95547 w 100400"/>
                      <a:gd name="connsiteY0" fmla="*/ 9706 h 9706"/>
                      <a:gd name="connsiteX1" fmla="*/ 4853 w 100400"/>
                      <a:gd name="connsiteY1" fmla="*/ 9706 h 9706"/>
                      <a:gd name="connsiteX2" fmla="*/ 0 w 100400"/>
                      <a:gd name="connsiteY2" fmla="*/ 4853 h 9706"/>
                      <a:gd name="connsiteX3" fmla="*/ 4853 w 100400"/>
                      <a:gd name="connsiteY3" fmla="*/ 0 h 9706"/>
                      <a:gd name="connsiteX4" fmla="*/ 95547 w 100400"/>
                      <a:gd name="connsiteY4" fmla="*/ 0 h 9706"/>
                      <a:gd name="connsiteX5" fmla="*/ 100400 w 100400"/>
                      <a:gd name="connsiteY5" fmla="*/ 4853 h 9706"/>
                      <a:gd name="connsiteX6" fmla="*/ 95547 w 100400"/>
                      <a:gd name="connsiteY6" fmla="*/ 9706 h 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00" h="9706">
                        <a:moveTo>
                          <a:pt x="95547" y="9706"/>
                        </a:moveTo>
                        <a:lnTo>
                          <a:pt x="4853" y="9706"/>
                        </a:lnTo>
                        <a:cubicBezTo>
                          <a:pt x="2174" y="9706"/>
                          <a:pt x="0" y="7533"/>
                          <a:pt x="0" y="4853"/>
                        </a:cubicBezTo>
                        <a:cubicBezTo>
                          <a:pt x="0" y="2174"/>
                          <a:pt x="2174" y="0"/>
                          <a:pt x="4853" y="0"/>
                        </a:cubicBezTo>
                        <a:lnTo>
                          <a:pt x="95547" y="0"/>
                        </a:lnTo>
                        <a:cubicBezTo>
                          <a:pt x="98226" y="0"/>
                          <a:pt x="100400" y="2174"/>
                          <a:pt x="100400" y="4853"/>
                        </a:cubicBezTo>
                        <a:cubicBezTo>
                          <a:pt x="100425" y="7533"/>
                          <a:pt x="98226" y="9706"/>
                          <a:pt x="95547" y="9706"/>
                        </a:cubicBezTo>
                        <a:close/>
                      </a:path>
                    </a:pathLst>
                  </a:custGeom>
                  <a:solidFill>
                    <a:schemeClr val="accent1"/>
                  </a:solidFill>
                  <a:ln w="2523" cap="flat">
                    <a:noFill/>
                    <a:prstDash val="solid"/>
                    <a:miter/>
                  </a:ln>
                </p:spPr>
                <p:txBody>
                  <a:bodyPr rtlCol="0" anchor="ctr"/>
                  <a:lstStyle/>
                  <a:p>
                    <a:endParaRPr lang="en-GB" dirty="0"/>
                  </a:p>
                </p:txBody>
              </p:sp>
            </p:grpSp>
          </p:grpSp>
          <p:sp>
            <p:nvSpPr>
              <p:cNvPr id="508" name="Freihandform: Form 1026">
                <a:extLst>
                  <a:ext uri="{FF2B5EF4-FFF2-40B4-BE49-F238E27FC236}">
                    <a16:creationId xmlns:a16="http://schemas.microsoft.com/office/drawing/2014/main" id="{2769B4BF-231B-469E-AC0B-FDD37F5877EF}"/>
                  </a:ext>
                </a:extLst>
              </p:cNvPr>
              <p:cNvSpPr/>
              <p:nvPr/>
            </p:nvSpPr>
            <p:spPr>
              <a:xfrm>
                <a:off x="7177298" y="1626758"/>
                <a:ext cx="9706" cy="48582"/>
              </a:xfrm>
              <a:custGeom>
                <a:avLst/>
                <a:gdLst>
                  <a:gd name="connsiteX0" fmla="*/ 4853 w 9706"/>
                  <a:gd name="connsiteY0" fmla="*/ 48582 h 48582"/>
                  <a:gd name="connsiteX1" fmla="*/ 0 w 9706"/>
                  <a:gd name="connsiteY1" fmla="*/ 43729 h 48582"/>
                  <a:gd name="connsiteX2" fmla="*/ 0 w 9706"/>
                  <a:gd name="connsiteY2" fmla="*/ 4853 h 48582"/>
                  <a:gd name="connsiteX3" fmla="*/ 4853 w 9706"/>
                  <a:gd name="connsiteY3" fmla="*/ 0 h 48582"/>
                  <a:gd name="connsiteX4" fmla="*/ 9706 w 9706"/>
                  <a:gd name="connsiteY4" fmla="*/ 4853 h 48582"/>
                  <a:gd name="connsiteX5" fmla="*/ 9706 w 9706"/>
                  <a:gd name="connsiteY5" fmla="*/ 43729 h 48582"/>
                  <a:gd name="connsiteX6" fmla="*/ 4853 w 9706"/>
                  <a:gd name="connsiteY6" fmla="*/ 48582 h 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06" h="48582">
                    <a:moveTo>
                      <a:pt x="4853" y="48582"/>
                    </a:moveTo>
                    <a:cubicBezTo>
                      <a:pt x="2174" y="48582"/>
                      <a:pt x="0" y="46408"/>
                      <a:pt x="0" y="43729"/>
                    </a:cubicBezTo>
                    <a:lnTo>
                      <a:pt x="0" y="4853"/>
                    </a:lnTo>
                    <a:cubicBezTo>
                      <a:pt x="0" y="2174"/>
                      <a:pt x="2174" y="0"/>
                      <a:pt x="4853" y="0"/>
                    </a:cubicBezTo>
                    <a:cubicBezTo>
                      <a:pt x="7532" y="0"/>
                      <a:pt x="9706" y="2174"/>
                      <a:pt x="9706" y="4853"/>
                    </a:cubicBezTo>
                    <a:lnTo>
                      <a:pt x="9706" y="43729"/>
                    </a:lnTo>
                    <a:cubicBezTo>
                      <a:pt x="9706" y="46408"/>
                      <a:pt x="7532" y="48582"/>
                      <a:pt x="4853" y="48582"/>
                    </a:cubicBezTo>
                    <a:close/>
                  </a:path>
                </a:pathLst>
              </a:custGeom>
              <a:solidFill>
                <a:schemeClr val="accent1"/>
              </a:solidFill>
              <a:ln w="2523" cap="flat">
                <a:noFill/>
                <a:prstDash val="solid"/>
                <a:miter/>
              </a:ln>
            </p:spPr>
            <p:txBody>
              <a:bodyPr rtlCol="0" anchor="ctr"/>
              <a:lstStyle/>
              <a:p>
                <a:endParaRPr lang="en-GB" dirty="0"/>
              </a:p>
            </p:txBody>
          </p:sp>
          <p:sp>
            <p:nvSpPr>
              <p:cNvPr id="509" name="Freihandform: Form 1027">
                <a:extLst>
                  <a:ext uri="{FF2B5EF4-FFF2-40B4-BE49-F238E27FC236}">
                    <a16:creationId xmlns:a16="http://schemas.microsoft.com/office/drawing/2014/main" id="{8465350D-3199-494E-8411-E17D4C89FD4E}"/>
                  </a:ext>
                </a:extLst>
              </p:cNvPr>
              <p:cNvSpPr/>
              <p:nvPr/>
            </p:nvSpPr>
            <p:spPr>
              <a:xfrm>
                <a:off x="7034755" y="1735341"/>
                <a:ext cx="37194" cy="37188"/>
              </a:xfrm>
              <a:custGeom>
                <a:avLst/>
                <a:gdLst>
                  <a:gd name="connsiteX0" fmla="*/ 32335 w 37194"/>
                  <a:gd name="connsiteY0" fmla="*/ 37189 h 37188"/>
                  <a:gd name="connsiteX1" fmla="*/ 28898 w 37194"/>
                  <a:gd name="connsiteY1" fmla="*/ 35773 h 37188"/>
                  <a:gd name="connsiteX2" fmla="*/ 1422 w 37194"/>
                  <a:gd name="connsiteY2" fmla="*/ 8297 h 37188"/>
                  <a:gd name="connsiteX3" fmla="*/ 1422 w 37194"/>
                  <a:gd name="connsiteY3" fmla="*/ 1422 h 37188"/>
                  <a:gd name="connsiteX4" fmla="*/ 8297 w 37194"/>
                  <a:gd name="connsiteY4" fmla="*/ 1422 h 37188"/>
                  <a:gd name="connsiteX5" fmla="*/ 35773 w 37194"/>
                  <a:gd name="connsiteY5" fmla="*/ 28898 h 37188"/>
                  <a:gd name="connsiteX6" fmla="*/ 35773 w 37194"/>
                  <a:gd name="connsiteY6" fmla="*/ 35773 h 37188"/>
                  <a:gd name="connsiteX7" fmla="*/ 32335 w 37194"/>
                  <a:gd name="connsiteY7" fmla="*/ 37189 h 3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4" h="37188">
                    <a:moveTo>
                      <a:pt x="32335" y="37189"/>
                    </a:moveTo>
                    <a:cubicBezTo>
                      <a:pt x="31097" y="37189"/>
                      <a:pt x="29858" y="36708"/>
                      <a:pt x="28898" y="35773"/>
                    </a:cubicBezTo>
                    <a:lnTo>
                      <a:pt x="1422" y="8297"/>
                    </a:lnTo>
                    <a:cubicBezTo>
                      <a:pt x="-474" y="6401"/>
                      <a:pt x="-474" y="3318"/>
                      <a:pt x="1422" y="1422"/>
                    </a:cubicBezTo>
                    <a:cubicBezTo>
                      <a:pt x="3318" y="-474"/>
                      <a:pt x="6401" y="-474"/>
                      <a:pt x="8297" y="1422"/>
                    </a:cubicBezTo>
                    <a:lnTo>
                      <a:pt x="35773" y="28898"/>
                    </a:lnTo>
                    <a:cubicBezTo>
                      <a:pt x="37669" y="30794"/>
                      <a:pt x="37669" y="33877"/>
                      <a:pt x="35773" y="35773"/>
                    </a:cubicBezTo>
                    <a:cubicBezTo>
                      <a:pt x="34838" y="36708"/>
                      <a:pt x="33599" y="37189"/>
                      <a:pt x="32335" y="37189"/>
                    </a:cubicBezTo>
                    <a:close/>
                  </a:path>
                </a:pathLst>
              </a:custGeom>
              <a:solidFill>
                <a:schemeClr val="accent1"/>
              </a:solidFill>
              <a:ln w="2523" cap="flat">
                <a:noFill/>
                <a:prstDash val="solid"/>
                <a:miter/>
              </a:ln>
            </p:spPr>
            <p:txBody>
              <a:bodyPr rtlCol="0" anchor="ctr"/>
              <a:lstStyle/>
              <a:p>
                <a:endParaRPr lang="en-GB" dirty="0"/>
              </a:p>
            </p:txBody>
          </p:sp>
          <p:sp>
            <p:nvSpPr>
              <p:cNvPr id="510" name="Freihandform: Form 1028">
                <a:extLst>
                  <a:ext uri="{FF2B5EF4-FFF2-40B4-BE49-F238E27FC236}">
                    <a16:creationId xmlns:a16="http://schemas.microsoft.com/office/drawing/2014/main" id="{B1FDD2F8-913D-4C0A-8899-2C28E880723B}"/>
                  </a:ext>
                </a:extLst>
              </p:cNvPr>
              <p:cNvSpPr/>
              <p:nvPr/>
            </p:nvSpPr>
            <p:spPr>
              <a:xfrm>
                <a:off x="7293919" y="1735341"/>
                <a:ext cx="37195" cy="37188"/>
              </a:xfrm>
              <a:custGeom>
                <a:avLst/>
                <a:gdLst>
                  <a:gd name="connsiteX0" fmla="*/ 4860 w 37195"/>
                  <a:gd name="connsiteY0" fmla="*/ 37189 h 37188"/>
                  <a:gd name="connsiteX1" fmla="*/ 1422 w 37195"/>
                  <a:gd name="connsiteY1" fmla="*/ 35773 h 37188"/>
                  <a:gd name="connsiteX2" fmla="*/ 1422 w 37195"/>
                  <a:gd name="connsiteY2" fmla="*/ 28898 h 37188"/>
                  <a:gd name="connsiteX3" fmla="*/ 28898 w 37195"/>
                  <a:gd name="connsiteY3" fmla="*/ 1422 h 37188"/>
                  <a:gd name="connsiteX4" fmla="*/ 35773 w 37195"/>
                  <a:gd name="connsiteY4" fmla="*/ 1422 h 37188"/>
                  <a:gd name="connsiteX5" fmla="*/ 35773 w 37195"/>
                  <a:gd name="connsiteY5" fmla="*/ 8297 h 37188"/>
                  <a:gd name="connsiteX6" fmla="*/ 8297 w 37195"/>
                  <a:gd name="connsiteY6" fmla="*/ 35773 h 37188"/>
                  <a:gd name="connsiteX7" fmla="*/ 4860 w 37195"/>
                  <a:gd name="connsiteY7" fmla="*/ 37189 h 3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188">
                    <a:moveTo>
                      <a:pt x="4860" y="37189"/>
                    </a:moveTo>
                    <a:cubicBezTo>
                      <a:pt x="3621" y="37189"/>
                      <a:pt x="2382" y="36708"/>
                      <a:pt x="1422" y="35773"/>
                    </a:cubicBezTo>
                    <a:cubicBezTo>
                      <a:pt x="-474" y="33877"/>
                      <a:pt x="-474" y="30794"/>
                      <a:pt x="1422" y="28898"/>
                    </a:cubicBezTo>
                    <a:lnTo>
                      <a:pt x="28898" y="1422"/>
                    </a:lnTo>
                    <a:cubicBezTo>
                      <a:pt x="30794" y="-474"/>
                      <a:pt x="33878" y="-474"/>
                      <a:pt x="35773" y="1422"/>
                    </a:cubicBezTo>
                    <a:cubicBezTo>
                      <a:pt x="37669" y="3318"/>
                      <a:pt x="37669" y="6401"/>
                      <a:pt x="35773" y="8297"/>
                    </a:cubicBezTo>
                    <a:lnTo>
                      <a:pt x="8297" y="35773"/>
                    </a:lnTo>
                    <a:cubicBezTo>
                      <a:pt x="7337" y="36708"/>
                      <a:pt x="6098" y="37189"/>
                      <a:pt x="4860" y="37189"/>
                    </a:cubicBezTo>
                    <a:close/>
                  </a:path>
                </a:pathLst>
              </a:custGeom>
              <a:solidFill>
                <a:schemeClr val="accent1"/>
              </a:solidFill>
              <a:ln w="2523" cap="flat">
                <a:noFill/>
                <a:prstDash val="solid"/>
                <a:miter/>
              </a:ln>
            </p:spPr>
            <p:txBody>
              <a:bodyPr rtlCol="0" anchor="ctr"/>
              <a:lstStyle/>
              <a:p>
                <a:endParaRPr lang="en-GB" dirty="0"/>
              </a:p>
            </p:txBody>
          </p:sp>
        </p:grpSp>
      </p:grpSp>
      <p:grpSp>
        <p:nvGrpSpPr>
          <p:cNvPr id="518" name="Group 517">
            <a:extLst>
              <a:ext uri="{FF2B5EF4-FFF2-40B4-BE49-F238E27FC236}">
                <a16:creationId xmlns:a16="http://schemas.microsoft.com/office/drawing/2014/main" id="{3989502C-AFB6-4929-8658-2D87B4A58C84}"/>
              </a:ext>
            </a:extLst>
          </p:cNvPr>
          <p:cNvGrpSpPr>
            <a:grpSpLocks noChangeAspect="1"/>
          </p:cNvGrpSpPr>
          <p:nvPr/>
        </p:nvGrpSpPr>
        <p:grpSpPr>
          <a:xfrm>
            <a:off x="6038655" y="4002611"/>
            <a:ext cx="435493" cy="432000"/>
            <a:chOff x="6932136" y="4132614"/>
            <a:chExt cx="467174" cy="463427"/>
          </a:xfrm>
        </p:grpSpPr>
        <p:sp>
          <p:nvSpPr>
            <p:cNvPr id="519" name="Freihandform: Form 954">
              <a:extLst>
                <a:ext uri="{FF2B5EF4-FFF2-40B4-BE49-F238E27FC236}">
                  <a16:creationId xmlns:a16="http://schemas.microsoft.com/office/drawing/2014/main" id="{53E275FB-1B4C-41B3-9595-8B04454EE04F}"/>
                </a:ext>
              </a:extLst>
            </p:cNvPr>
            <p:cNvSpPr/>
            <p:nvPr/>
          </p:nvSpPr>
          <p:spPr>
            <a:xfrm>
              <a:off x="7013187" y="4213600"/>
              <a:ext cx="272149" cy="272183"/>
            </a:xfrm>
            <a:custGeom>
              <a:avLst/>
              <a:gdLst>
                <a:gd name="connsiteX0" fmla="*/ 126498 w 272149"/>
                <a:gd name="connsiteY0" fmla="*/ 272183 h 272183"/>
                <a:gd name="connsiteX1" fmla="*/ 125588 w 272149"/>
                <a:gd name="connsiteY1" fmla="*/ 272108 h 272183"/>
                <a:gd name="connsiteX2" fmla="*/ 95408 w 272149"/>
                <a:gd name="connsiteY2" fmla="*/ 266370 h 272183"/>
                <a:gd name="connsiteX3" fmla="*/ 92298 w 272149"/>
                <a:gd name="connsiteY3" fmla="*/ 264322 h 272183"/>
                <a:gd name="connsiteX4" fmla="*/ 91540 w 272149"/>
                <a:gd name="connsiteY4" fmla="*/ 260683 h 272183"/>
                <a:gd name="connsiteX5" fmla="*/ 97278 w 272149"/>
                <a:gd name="connsiteY5" fmla="*/ 230754 h 272183"/>
                <a:gd name="connsiteX6" fmla="*/ 63003 w 272149"/>
                <a:gd name="connsiteY6" fmla="*/ 207626 h 272183"/>
                <a:gd name="connsiteX7" fmla="*/ 37397 w 272149"/>
                <a:gd name="connsiteY7" fmla="*/ 224183 h 272183"/>
                <a:gd name="connsiteX8" fmla="*/ 30673 w 272149"/>
                <a:gd name="connsiteY8" fmla="*/ 222742 h 272183"/>
                <a:gd name="connsiteX9" fmla="*/ 13915 w 272149"/>
                <a:gd name="connsiteY9" fmla="*/ 196909 h 272183"/>
                <a:gd name="connsiteX10" fmla="*/ 13232 w 272149"/>
                <a:gd name="connsiteY10" fmla="*/ 193244 h 272183"/>
                <a:gd name="connsiteX11" fmla="*/ 15355 w 272149"/>
                <a:gd name="connsiteY11" fmla="*/ 190185 h 272183"/>
                <a:gd name="connsiteX12" fmla="*/ 40961 w 272149"/>
                <a:gd name="connsiteY12" fmla="*/ 173603 h 272183"/>
                <a:gd name="connsiteX13" fmla="*/ 33833 w 272149"/>
                <a:gd name="connsiteY13" fmla="*/ 137078 h 272183"/>
                <a:gd name="connsiteX14" fmla="*/ 3930 w 272149"/>
                <a:gd name="connsiteY14" fmla="*/ 131315 h 272183"/>
                <a:gd name="connsiteX15" fmla="*/ 88 w 272149"/>
                <a:gd name="connsiteY15" fmla="*/ 125628 h 272183"/>
                <a:gd name="connsiteX16" fmla="*/ 5902 w 272149"/>
                <a:gd name="connsiteY16" fmla="*/ 95422 h 272183"/>
                <a:gd name="connsiteX17" fmla="*/ 11589 w 272149"/>
                <a:gd name="connsiteY17" fmla="*/ 91580 h 272183"/>
                <a:gd name="connsiteX18" fmla="*/ 41467 w 272149"/>
                <a:gd name="connsiteY18" fmla="*/ 97318 h 272183"/>
                <a:gd name="connsiteX19" fmla="*/ 61688 w 272149"/>
                <a:gd name="connsiteY19" fmla="*/ 66025 h 272183"/>
                <a:gd name="connsiteX20" fmla="*/ 44045 w 272149"/>
                <a:gd name="connsiteY20" fmla="*/ 41127 h 272183"/>
                <a:gd name="connsiteX21" fmla="*/ 43211 w 272149"/>
                <a:gd name="connsiteY21" fmla="*/ 37487 h 272183"/>
                <a:gd name="connsiteX22" fmla="*/ 45208 w 272149"/>
                <a:gd name="connsiteY22" fmla="*/ 34353 h 272183"/>
                <a:gd name="connsiteX23" fmla="*/ 70333 w 272149"/>
                <a:gd name="connsiteY23" fmla="*/ 16608 h 272183"/>
                <a:gd name="connsiteX24" fmla="*/ 77107 w 272149"/>
                <a:gd name="connsiteY24" fmla="*/ 17771 h 272183"/>
                <a:gd name="connsiteX25" fmla="*/ 94700 w 272149"/>
                <a:gd name="connsiteY25" fmla="*/ 42644 h 272183"/>
                <a:gd name="connsiteX26" fmla="*/ 135118 w 272149"/>
                <a:gd name="connsiteY26" fmla="*/ 33873 h 272183"/>
                <a:gd name="connsiteX27" fmla="*/ 140881 w 272149"/>
                <a:gd name="connsiteY27" fmla="*/ 3944 h 272183"/>
                <a:gd name="connsiteX28" fmla="*/ 146568 w 272149"/>
                <a:gd name="connsiteY28" fmla="*/ 102 h 272183"/>
                <a:gd name="connsiteX29" fmla="*/ 176724 w 272149"/>
                <a:gd name="connsiteY29" fmla="*/ 5891 h 272183"/>
                <a:gd name="connsiteX30" fmla="*/ 180566 w 272149"/>
                <a:gd name="connsiteY30" fmla="*/ 11578 h 272183"/>
                <a:gd name="connsiteX31" fmla="*/ 174828 w 272149"/>
                <a:gd name="connsiteY31" fmla="*/ 41506 h 272183"/>
                <a:gd name="connsiteX32" fmla="*/ 209103 w 272149"/>
                <a:gd name="connsiteY32" fmla="*/ 64609 h 272183"/>
                <a:gd name="connsiteX33" fmla="*/ 234709 w 272149"/>
                <a:gd name="connsiteY33" fmla="*/ 48078 h 272183"/>
                <a:gd name="connsiteX34" fmla="*/ 241433 w 272149"/>
                <a:gd name="connsiteY34" fmla="*/ 49519 h 272183"/>
                <a:gd name="connsiteX35" fmla="*/ 258166 w 272149"/>
                <a:gd name="connsiteY35" fmla="*/ 75276 h 272183"/>
                <a:gd name="connsiteX36" fmla="*/ 258848 w 272149"/>
                <a:gd name="connsiteY36" fmla="*/ 78941 h 272183"/>
                <a:gd name="connsiteX37" fmla="*/ 256725 w 272149"/>
                <a:gd name="connsiteY37" fmla="*/ 82000 h 272183"/>
                <a:gd name="connsiteX38" fmla="*/ 231119 w 272149"/>
                <a:gd name="connsiteY38" fmla="*/ 98581 h 272183"/>
                <a:gd name="connsiteX39" fmla="*/ 238273 w 272149"/>
                <a:gd name="connsiteY39" fmla="*/ 135132 h 272183"/>
                <a:gd name="connsiteX40" fmla="*/ 268201 w 272149"/>
                <a:gd name="connsiteY40" fmla="*/ 140870 h 272183"/>
                <a:gd name="connsiteX41" fmla="*/ 271310 w 272149"/>
                <a:gd name="connsiteY41" fmla="*/ 142917 h 272183"/>
                <a:gd name="connsiteX42" fmla="*/ 272068 w 272149"/>
                <a:gd name="connsiteY42" fmla="*/ 146557 h 272183"/>
                <a:gd name="connsiteX43" fmla="*/ 266229 w 272149"/>
                <a:gd name="connsiteY43" fmla="*/ 176788 h 272183"/>
                <a:gd name="connsiteX44" fmla="*/ 260542 w 272149"/>
                <a:gd name="connsiteY44" fmla="*/ 180630 h 272183"/>
                <a:gd name="connsiteX45" fmla="*/ 230639 w 272149"/>
                <a:gd name="connsiteY45" fmla="*/ 174867 h 272183"/>
                <a:gd name="connsiteX46" fmla="*/ 210468 w 272149"/>
                <a:gd name="connsiteY46" fmla="*/ 206160 h 272183"/>
                <a:gd name="connsiteX47" fmla="*/ 228086 w 272149"/>
                <a:gd name="connsiteY47" fmla="*/ 231058 h 272183"/>
                <a:gd name="connsiteX48" fmla="*/ 228920 w 272149"/>
                <a:gd name="connsiteY48" fmla="*/ 234698 h 272183"/>
                <a:gd name="connsiteX49" fmla="*/ 226924 w 272149"/>
                <a:gd name="connsiteY49" fmla="*/ 237832 h 272183"/>
                <a:gd name="connsiteX50" fmla="*/ 201798 w 272149"/>
                <a:gd name="connsiteY50" fmla="*/ 255602 h 272183"/>
                <a:gd name="connsiteX51" fmla="*/ 195024 w 272149"/>
                <a:gd name="connsiteY51" fmla="*/ 254439 h 272183"/>
                <a:gd name="connsiteX52" fmla="*/ 177431 w 272149"/>
                <a:gd name="connsiteY52" fmla="*/ 229567 h 272183"/>
                <a:gd name="connsiteX53" fmla="*/ 137013 w 272149"/>
                <a:gd name="connsiteY53" fmla="*/ 238313 h 272183"/>
                <a:gd name="connsiteX54" fmla="*/ 131276 w 272149"/>
                <a:gd name="connsiteY54" fmla="*/ 268190 h 272183"/>
                <a:gd name="connsiteX55" fmla="*/ 126498 w 272149"/>
                <a:gd name="connsiteY55" fmla="*/ 272183 h 272183"/>
                <a:gd name="connsiteX56" fmla="*/ 102005 w 272149"/>
                <a:gd name="connsiteY56" fmla="*/ 257725 h 272183"/>
                <a:gd name="connsiteX57" fmla="*/ 122631 w 272149"/>
                <a:gd name="connsiteY57" fmla="*/ 261643 h 272183"/>
                <a:gd name="connsiteX58" fmla="*/ 128217 w 272149"/>
                <a:gd name="connsiteY58" fmla="*/ 232549 h 272183"/>
                <a:gd name="connsiteX59" fmla="*/ 133121 w 272149"/>
                <a:gd name="connsiteY59" fmla="*/ 228606 h 272183"/>
                <a:gd name="connsiteX60" fmla="*/ 176875 w 272149"/>
                <a:gd name="connsiteY60" fmla="*/ 219127 h 272183"/>
                <a:gd name="connsiteX61" fmla="*/ 182992 w 272149"/>
                <a:gd name="connsiteY61" fmla="*/ 220669 h 272183"/>
                <a:gd name="connsiteX62" fmla="*/ 200130 w 272149"/>
                <a:gd name="connsiteY62" fmla="*/ 244910 h 272183"/>
                <a:gd name="connsiteX63" fmla="*/ 217318 w 272149"/>
                <a:gd name="connsiteY63" fmla="*/ 232751 h 272183"/>
                <a:gd name="connsiteX64" fmla="*/ 200155 w 272149"/>
                <a:gd name="connsiteY64" fmla="*/ 208511 h 272183"/>
                <a:gd name="connsiteX65" fmla="*/ 200737 w 272149"/>
                <a:gd name="connsiteY65" fmla="*/ 202217 h 272183"/>
                <a:gd name="connsiteX66" fmla="*/ 222980 w 272149"/>
                <a:gd name="connsiteY66" fmla="*/ 167739 h 272183"/>
                <a:gd name="connsiteX67" fmla="*/ 228465 w 272149"/>
                <a:gd name="connsiteY67" fmla="*/ 164630 h 272183"/>
                <a:gd name="connsiteX68" fmla="*/ 257585 w 272149"/>
                <a:gd name="connsiteY68" fmla="*/ 170242 h 272183"/>
                <a:gd name="connsiteX69" fmla="*/ 261578 w 272149"/>
                <a:gd name="connsiteY69" fmla="*/ 149540 h 272183"/>
                <a:gd name="connsiteX70" fmla="*/ 232434 w 272149"/>
                <a:gd name="connsiteY70" fmla="*/ 143954 h 272183"/>
                <a:gd name="connsiteX71" fmla="*/ 228491 w 272149"/>
                <a:gd name="connsiteY71" fmla="*/ 139025 h 272183"/>
                <a:gd name="connsiteX72" fmla="*/ 220604 w 272149"/>
                <a:gd name="connsiteY72" fmla="*/ 98758 h 272183"/>
                <a:gd name="connsiteX73" fmla="*/ 222399 w 272149"/>
                <a:gd name="connsiteY73" fmla="*/ 92692 h 272183"/>
                <a:gd name="connsiteX74" fmla="*/ 247322 w 272149"/>
                <a:gd name="connsiteY74" fmla="*/ 76540 h 272183"/>
                <a:gd name="connsiteX75" fmla="*/ 235872 w 272149"/>
                <a:gd name="connsiteY75" fmla="*/ 58922 h 272183"/>
                <a:gd name="connsiteX76" fmla="*/ 210949 w 272149"/>
                <a:gd name="connsiteY76" fmla="*/ 75023 h 272183"/>
                <a:gd name="connsiteX77" fmla="*/ 204705 w 272149"/>
                <a:gd name="connsiteY77" fmla="*/ 74189 h 272183"/>
                <a:gd name="connsiteX78" fmla="*/ 167624 w 272149"/>
                <a:gd name="connsiteY78" fmla="*/ 49190 h 272183"/>
                <a:gd name="connsiteX79" fmla="*/ 164489 w 272149"/>
                <a:gd name="connsiteY79" fmla="*/ 43705 h 272183"/>
                <a:gd name="connsiteX80" fmla="*/ 170076 w 272149"/>
                <a:gd name="connsiteY80" fmla="*/ 14561 h 272183"/>
                <a:gd name="connsiteX81" fmla="*/ 149450 w 272149"/>
                <a:gd name="connsiteY81" fmla="*/ 10592 h 272183"/>
                <a:gd name="connsiteX82" fmla="*/ 143838 w 272149"/>
                <a:gd name="connsiteY82" fmla="*/ 39711 h 272183"/>
                <a:gd name="connsiteX83" fmla="*/ 138935 w 272149"/>
                <a:gd name="connsiteY83" fmla="*/ 43655 h 272183"/>
                <a:gd name="connsiteX84" fmla="*/ 95205 w 272149"/>
                <a:gd name="connsiteY84" fmla="*/ 53134 h 272183"/>
                <a:gd name="connsiteX85" fmla="*/ 89088 w 272149"/>
                <a:gd name="connsiteY85" fmla="*/ 51592 h 272183"/>
                <a:gd name="connsiteX86" fmla="*/ 71925 w 272149"/>
                <a:gd name="connsiteY86" fmla="*/ 27376 h 272183"/>
                <a:gd name="connsiteX87" fmla="*/ 54737 w 272149"/>
                <a:gd name="connsiteY87" fmla="*/ 39509 h 272183"/>
                <a:gd name="connsiteX88" fmla="*/ 71925 w 272149"/>
                <a:gd name="connsiteY88" fmla="*/ 63750 h 272183"/>
                <a:gd name="connsiteX89" fmla="*/ 71344 w 272149"/>
                <a:gd name="connsiteY89" fmla="*/ 70044 h 272183"/>
                <a:gd name="connsiteX90" fmla="*/ 49075 w 272149"/>
                <a:gd name="connsiteY90" fmla="*/ 104547 h 272183"/>
                <a:gd name="connsiteX91" fmla="*/ 43590 w 272149"/>
                <a:gd name="connsiteY91" fmla="*/ 107656 h 272183"/>
                <a:gd name="connsiteX92" fmla="*/ 14471 w 272149"/>
                <a:gd name="connsiteY92" fmla="*/ 102070 h 272183"/>
                <a:gd name="connsiteX93" fmla="*/ 10502 w 272149"/>
                <a:gd name="connsiteY93" fmla="*/ 122746 h 272183"/>
                <a:gd name="connsiteX94" fmla="*/ 39621 w 272149"/>
                <a:gd name="connsiteY94" fmla="*/ 128358 h 272183"/>
                <a:gd name="connsiteX95" fmla="*/ 43565 w 272149"/>
                <a:gd name="connsiteY95" fmla="*/ 133287 h 272183"/>
                <a:gd name="connsiteX96" fmla="*/ 51426 w 272149"/>
                <a:gd name="connsiteY96" fmla="*/ 173528 h 272183"/>
                <a:gd name="connsiteX97" fmla="*/ 49631 w 272149"/>
                <a:gd name="connsiteY97" fmla="*/ 179594 h 272183"/>
                <a:gd name="connsiteX98" fmla="*/ 24708 w 272149"/>
                <a:gd name="connsiteY98" fmla="*/ 195746 h 272183"/>
                <a:gd name="connsiteX99" fmla="*/ 36158 w 272149"/>
                <a:gd name="connsiteY99" fmla="*/ 213415 h 272183"/>
                <a:gd name="connsiteX100" fmla="*/ 61082 w 272149"/>
                <a:gd name="connsiteY100" fmla="*/ 197288 h 272183"/>
                <a:gd name="connsiteX101" fmla="*/ 67325 w 272149"/>
                <a:gd name="connsiteY101" fmla="*/ 198122 h 272183"/>
                <a:gd name="connsiteX102" fmla="*/ 104431 w 272149"/>
                <a:gd name="connsiteY102" fmla="*/ 223146 h 272183"/>
                <a:gd name="connsiteX103" fmla="*/ 107541 w 272149"/>
                <a:gd name="connsiteY103" fmla="*/ 228631 h 272183"/>
                <a:gd name="connsiteX104" fmla="*/ 102005 w 272149"/>
                <a:gd name="connsiteY104" fmla="*/ 257725 h 272183"/>
                <a:gd name="connsiteX105" fmla="*/ 136053 w 272149"/>
                <a:gd name="connsiteY105" fmla="*/ 192839 h 272183"/>
                <a:gd name="connsiteX106" fmla="*/ 79433 w 272149"/>
                <a:gd name="connsiteY106" fmla="*/ 136143 h 272183"/>
                <a:gd name="connsiteX107" fmla="*/ 136053 w 272149"/>
                <a:gd name="connsiteY107" fmla="*/ 79447 h 272183"/>
                <a:gd name="connsiteX108" fmla="*/ 192749 w 272149"/>
                <a:gd name="connsiteY108" fmla="*/ 136143 h 272183"/>
                <a:gd name="connsiteX109" fmla="*/ 136053 w 272149"/>
                <a:gd name="connsiteY109" fmla="*/ 192839 h 272183"/>
                <a:gd name="connsiteX110" fmla="*/ 136053 w 272149"/>
                <a:gd name="connsiteY110" fmla="*/ 89153 h 272183"/>
                <a:gd name="connsiteX111" fmla="*/ 89139 w 272149"/>
                <a:gd name="connsiteY111" fmla="*/ 136118 h 272183"/>
                <a:gd name="connsiteX112" fmla="*/ 136053 w 272149"/>
                <a:gd name="connsiteY112" fmla="*/ 183107 h 272183"/>
                <a:gd name="connsiteX113" fmla="*/ 183018 w 272149"/>
                <a:gd name="connsiteY113" fmla="*/ 136118 h 272183"/>
                <a:gd name="connsiteX114" fmla="*/ 136053 w 272149"/>
                <a:gd name="connsiteY114" fmla="*/ 89153 h 27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272149" h="272183">
                  <a:moveTo>
                    <a:pt x="126498" y="272183"/>
                  </a:moveTo>
                  <a:cubicBezTo>
                    <a:pt x="126195" y="272183"/>
                    <a:pt x="125892" y="272158"/>
                    <a:pt x="125588" y="272108"/>
                  </a:cubicBezTo>
                  <a:lnTo>
                    <a:pt x="95408" y="266370"/>
                  </a:lnTo>
                  <a:cubicBezTo>
                    <a:pt x="94144" y="266117"/>
                    <a:pt x="93031" y="265384"/>
                    <a:pt x="92298" y="264322"/>
                  </a:cubicBezTo>
                  <a:cubicBezTo>
                    <a:pt x="91566" y="263261"/>
                    <a:pt x="91287" y="261946"/>
                    <a:pt x="91540" y="260683"/>
                  </a:cubicBezTo>
                  <a:lnTo>
                    <a:pt x="97278" y="230754"/>
                  </a:lnTo>
                  <a:cubicBezTo>
                    <a:pt x="84463" y="225497"/>
                    <a:pt x="72759" y="217585"/>
                    <a:pt x="63003" y="207626"/>
                  </a:cubicBezTo>
                  <a:lnTo>
                    <a:pt x="37397" y="224183"/>
                  </a:lnTo>
                  <a:cubicBezTo>
                    <a:pt x="35147" y="225623"/>
                    <a:pt x="32139" y="224992"/>
                    <a:pt x="30673" y="222742"/>
                  </a:cubicBezTo>
                  <a:lnTo>
                    <a:pt x="13915" y="196909"/>
                  </a:lnTo>
                  <a:cubicBezTo>
                    <a:pt x="13207" y="195822"/>
                    <a:pt x="12954" y="194507"/>
                    <a:pt x="13232" y="193244"/>
                  </a:cubicBezTo>
                  <a:cubicBezTo>
                    <a:pt x="13510" y="191980"/>
                    <a:pt x="14269" y="190868"/>
                    <a:pt x="15355" y="190185"/>
                  </a:cubicBezTo>
                  <a:lnTo>
                    <a:pt x="40961" y="173603"/>
                  </a:lnTo>
                  <a:cubicBezTo>
                    <a:pt x="36386" y="162027"/>
                    <a:pt x="33934" y="149565"/>
                    <a:pt x="33833" y="137078"/>
                  </a:cubicBezTo>
                  <a:lnTo>
                    <a:pt x="3930" y="131315"/>
                  </a:lnTo>
                  <a:cubicBezTo>
                    <a:pt x="1301" y="130810"/>
                    <a:pt x="-417" y="128257"/>
                    <a:pt x="88" y="125628"/>
                  </a:cubicBezTo>
                  <a:lnTo>
                    <a:pt x="5902" y="95422"/>
                  </a:lnTo>
                  <a:cubicBezTo>
                    <a:pt x="6407" y="92793"/>
                    <a:pt x="8960" y="91024"/>
                    <a:pt x="11589" y="91580"/>
                  </a:cubicBezTo>
                  <a:lnTo>
                    <a:pt x="41467" y="97318"/>
                  </a:lnTo>
                  <a:cubicBezTo>
                    <a:pt x="46219" y="85690"/>
                    <a:pt x="52993" y="75200"/>
                    <a:pt x="61688" y="66025"/>
                  </a:cubicBezTo>
                  <a:lnTo>
                    <a:pt x="44045" y="41127"/>
                  </a:lnTo>
                  <a:cubicBezTo>
                    <a:pt x="43286" y="40065"/>
                    <a:pt x="43008" y="38776"/>
                    <a:pt x="43211" y="37487"/>
                  </a:cubicBezTo>
                  <a:cubicBezTo>
                    <a:pt x="43438" y="36223"/>
                    <a:pt x="44146" y="35086"/>
                    <a:pt x="45208" y="34353"/>
                  </a:cubicBezTo>
                  <a:lnTo>
                    <a:pt x="70333" y="16608"/>
                  </a:lnTo>
                  <a:cubicBezTo>
                    <a:pt x="72532" y="15041"/>
                    <a:pt x="75565" y="15572"/>
                    <a:pt x="77107" y="17771"/>
                  </a:cubicBezTo>
                  <a:lnTo>
                    <a:pt x="94700" y="42644"/>
                  </a:lnTo>
                  <a:cubicBezTo>
                    <a:pt x="107338" y="37032"/>
                    <a:pt x="121190" y="34024"/>
                    <a:pt x="135118" y="33873"/>
                  </a:cubicBezTo>
                  <a:lnTo>
                    <a:pt x="140881" y="3944"/>
                  </a:lnTo>
                  <a:cubicBezTo>
                    <a:pt x="141386" y="1316"/>
                    <a:pt x="143914" y="-454"/>
                    <a:pt x="146568" y="102"/>
                  </a:cubicBezTo>
                  <a:lnTo>
                    <a:pt x="176724" y="5891"/>
                  </a:lnTo>
                  <a:cubicBezTo>
                    <a:pt x="179352" y="6397"/>
                    <a:pt x="181071" y="8949"/>
                    <a:pt x="180566" y="11578"/>
                  </a:cubicBezTo>
                  <a:lnTo>
                    <a:pt x="174828" y="41506"/>
                  </a:lnTo>
                  <a:cubicBezTo>
                    <a:pt x="187643" y="46738"/>
                    <a:pt x="199346" y="54650"/>
                    <a:pt x="209103" y="64609"/>
                  </a:cubicBezTo>
                  <a:lnTo>
                    <a:pt x="234709" y="48078"/>
                  </a:lnTo>
                  <a:cubicBezTo>
                    <a:pt x="236958" y="46612"/>
                    <a:pt x="239966" y="47269"/>
                    <a:pt x="241433" y="49519"/>
                  </a:cubicBezTo>
                  <a:lnTo>
                    <a:pt x="258166" y="75276"/>
                  </a:lnTo>
                  <a:cubicBezTo>
                    <a:pt x="258874" y="76363"/>
                    <a:pt x="259126" y="77677"/>
                    <a:pt x="258848" y="78941"/>
                  </a:cubicBezTo>
                  <a:cubicBezTo>
                    <a:pt x="258570" y="80205"/>
                    <a:pt x="257812" y="81317"/>
                    <a:pt x="256725" y="82000"/>
                  </a:cubicBezTo>
                  <a:lnTo>
                    <a:pt x="231119" y="98581"/>
                  </a:lnTo>
                  <a:cubicBezTo>
                    <a:pt x="235695" y="110133"/>
                    <a:pt x="238147" y="122620"/>
                    <a:pt x="238273" y="135132"/>
                  </a:cubicBezTo>
                  <a:lnTo>
                    <a:pt x="268201" y="140870"/>
                  </a:lnTo>
                  <a:cubicBezTo>
                    <a:pt x="269465" y="141123"/>
                    <a:pt x="270577" y="141856"/>
                    <a:pt x="271310" y="142917"/>
                  </a:cubicBezTo>
                  <a:cubicBezTo>
                    <a:pt x="272043" y="143979"/>
                    <a:pt x="272296" y="145293"/>
                    <a:pt x="272068" y="146557"/>
                  </a:cubicBezTo>
                  <a:lnTo>
                    <a:pt x="266229" y="176788"/>
                  </a:lnTo>
                  <a:cubicBezTo>
                    <a:pt x="265724" y="179417"/>
                    <a:pt x="263171" y="181161"/>
                    <a:pt x="260542" y="180630"/>
                  </a:cubicBezTo>
                  <a:lnTo>
                    <a:pt x="230639" y="174867"/>
                  </a:lnTo>
                  <a:cubicBezTo>
                    <a:pt x="225912" y="186419"/>
                    <a:pt x="219012" y="197086"/>
                    <a:pt x="210468" y="206160"/>
                  </a:cubicBezTo>
                  <a:lnTo>
                    <a:pt x="228086" y="231058"/>
                  </a:lnTo>
                  <a:cubicBezTo>
                    <a:pt x="228845" y="232120"/>
                    <a:pt x="229123" y="233409"/>
                    <a:pt x="228920" y="234698"/>
                  </a:cubicBezTo>
                  <a:cubicBezTo>
                    <a:pt x="228693" y="235962"/>
                    <a:pt x="227985" y="237099"/>
                    <a:pt x="226924" y="237832"/>
                  </a:cubicBezTo>
                  <a:lnTo>
                    <a:pt x="201798" y="255602"/>
                  </a:lnTo>
                  <a:cubicBezTo>
                    <a:pt x="199625" y="257144"/>
                    <a:pt x="196566" y="256638"/>
                    <a:pt x="195024" y="254439"/>
                  </a:cubicBezTo>
                  <a:lnTo>
                    <a:pt x="177431" y="229567"/>
                  </a:lnTo>
                  <a:cubicBezTo>
                    <a:pt x="164793" y="235178"/>
                    <a:pt x="150916" y="238186"/>
                    <a:pt x="137013" y="238313"/>
                  </a:cubicBezTo>
                  <a:lnTo>
                    <a:pt x="131276" y="268190"/>
                  </a:lnTo>
                  <a:cubicBezTo>
                    <a:pt x="130821" y="270566"/>
                    <a:pt x="128773" y="272183"/>
                    <a:pt x="126498" y="272183"/>
                  </a:cubicBezTo>
                  <a:close/>
                  <a:moveTo>
                    <a:pt x="102005" y="257725"/>
                  </a:moveTo>
                  <a:lnTo>
                    <a:pt x="122631" y="261643"/>
                  </a:lnTo>
                  <a:lnTo>
                    <a:pt x="128217" y="232549"/>
                  </a:lnTo>
                  <a:cubicBezTo>
                    <a:pt x="128672" y="230198"/>
                    <a:pt x="130745" y="228657"/>
                    <a:pt x="133121" y="228606"/>
                  </a:cubicBezTo>
                  <a:cubicBezTo>
                    <a:pt x="148236" y="229086"/>
                    <a:pt x="163428" y="225775"/>
                    <a:pt x="176875" y="219127"/>
                  </a:cubicBezTo>
                  <a:cubicBezTo>
                    <a:pt x="178998" y="218066"/>
                    <a:pt x="181627" y="218723"/>
                    <a:pt x="182992" y="220669"/>
                  </a:cubicBezTo>
                  <a:lnTo>
                    <a:pt x="200130" y="244910"/>
                  </a:lnTo>
                  <a:lnTo>
                    <a:pt x="217318" y="232751"/>
                  </a:lnTo>
                  <a:lnTo>
                    <a:pt x="200155" y="208511"/>
                  </a:lnTo>
                  <a:cubicBezTo>
                    <a:pt x="198765" y="206565"/>
                    <a:pt x="199018" y="203885"/>
                    <a:pt x="200737" y="202217"/>
                  </a:cubicBezTo>
                  <a:cubicBezTo>
                    <a:pt x="210595" y="192612"/>
                    <a:pt x="218279" y="180681"/>
                    <a:pt x="222980" y="167739"/>
                  </a:cubicBezTo>
                  <a:cubicBezTo>
                    <a:pt x="223789" y="165490"/>
                    <a:pt x="226115" y="164150"/>
                    <a:pt x="228465" y="164630"/>
                  </a:cubicBezTo>
                  <a:lnTo>
                    <a:pt x="257585" y="170242"/>
                  </a:lnTo>
                  <a:lnTo>
                    <a:pt x="261578" y="149540"/>
                  </a:lnTo>
                  <a:lnTo>
                    <a:pt x="232434" y="143954"/>
                  </a:lnTo>
                  <a:cubicBezTo>
                    <a:pt x="230083" y="143499"/>
                    <a:pt x="228415" y="141426"/>
                    <a:pt x="228491" y="139025"/>
                  </a:cubicBezTo>
                  <a:cubicBezTo>
                    <a:pt x="228946" y="125198"/>
                    <a:pt x="226216" y="111271"/>
                    <a:pt x="220604" y="98758"/>
                  </a:cubicBezTo>
                  <a:cubicBezTo>
                    <a:pt x="219619" y="96559"/>
                    <a:pt x="220377" y="94006"/>
                    <a:pt x="222399" y="92692"/>
                  </a:cubicBezTo>
                  <a:lnTo>
                    <a:pt x="247322" y="76540"/>
                  </a:lnTo>
                  <a:lnTo>
                    <a:pt x="235872" y="58922"/>
                  </a:lnTo>
                  <a:lnTo>
                    <a:pt x="210949" y="75023"/>
                  </a:lnTo>
                  <a:cubicBezTo>
                    <a:pt x="208952" y="76312"/>
                    <a:pt x="206297" y="75984"/>
                    <a:pt x="204705" y="74189"/>
                  </a:cubicBezTo>
                  <a:cubicBezTo>
                    <a:pt x="194569" y="62916"/>
                    <a:pt x="181754" y="54271"/>
                    <a:pt x="167624" y="49190"/>
                  </a:cubicBezTo>
                  <a:cubicBezTo>
                    <a:pt x="165374" y="48381"/>
                    <a:pt x="164035" y="46056"/>
                    <a:pt x="164489" y="43705"/>
                  </a:cubicBezTo>
                  <a:lnTo>
                    <a:pt x="170076" y="14561"/>
                  </a:lnTo>
                  <a:lnTo>
                    <a:pt x="149450" y="10592"/>
                  </a:lnTo>
                  <a:lnTo>
                    <a:pt x="143838" y="39711"/>
                  </a:lnTo>
                  <a:cubicBezTo>
                    <a:pt x="143383" y="42062"/>
                    <a:pt x="141386" y="43579"/>
                    <a:pt x="138935" y="43655"/>
                  </a:cubicBezTo>
                  <a:cubicBezTo>
                    <a:pt x="123718" y="43149"/>
                    <a:pt x="108627" y="46486"/>
                    <a:pt x="95205" y="53134"/>
                  </a:cubicBezTo>
                  <a:cubicBezTo>
                    <a:pt x="93082" y="54195"/>
                    <a:pt x="90479" y="53538"/>
                    <a:pt x="89088" y="51592"/>
                  </a:cubicBezTo>
                  <a:lnTo>
                    <a:pt x="71925" y="27376"/>
                  </a:lnTo>
                  <a:lnTo>
                    <a:pt x="54737" y="39509"/>
                  </a:lnTo>
                  <a:lnTo>
                    <a:pt x="71925" y="63750"/>
                  </a:lnTo>
                  <a:cubicBezTo>
                    <a:pt x="73315" y="65696"/>
                    <a:pt x="73063" y="68375"/>
                    <a:pt x="71344" y="70044"/>
                  </a:cubicBezTo>
                  <a:cubicBezTo>
                    <a:pt x="61309" y="79851"/>
                    <a:pt x="53802" y="91479"/>
                    <a:pt x="49075" y="104547"/>
                  </a:cubicBezTo>
                  <a:cubicBezTo>
                    <a:pt x="48266" y="106797"/>
                    <a:pt x="45966" y="108161"/>
                    <a:pt x="43590" y="107656"/>
                  </a:cubicBezTo>
                  <a:lnTo>
                    <a:pt x="14471" y="102070"/>
                  </a:lnTo>
                  <a:lnTo>
                    <a:pt x="10502" y="122746"/>
                  </a:lnTo>
                  <a:lnTo>
                    <a:pt x="39621" y="128358"/>
                  </a:lnTo>
                  <a:cubicBezTo>
                    <a:pt x="41972" y="128813"/>
                    <a:pt x="43640" y="130911"/>
                    <a:pt x="43565" y="133287"/>
                  </a:cubicBezTo>
                  <a:cubicBezTo>
                    <a:pt x="43109" y="147063"/>
                    <a:pt x="45839" y="160990"/>
                    <a:pt x="51426" y="173528"/>
                  </a:cubicBezTo>
                  <a:cubicBezTo>
                    <a:pt x="52412" y="175702"/>
                    <a:pt x="51653" y="178280"/>
                    <a:pt x="49631" y="179594"/>
                  </a:cubicBezTo>
                  <a:lnTo>
                    <a:pt x="24708" y="195746"/>
                  </a:lnTo>
                  <a:lnTo>
                    <a:pt x="36158" y="213415"/>
                  </a:lnTo>
                  <a:lnTo>
                    <a:pt x="61082" y="197288"/>
                  </a:lnTo>
                  <a:cubicBezTo>
                    <a:pt x="63078" y="195999"/>
                    <a:pt x="65732" y="196327"/>
                    <a:pt x="67325" y="198122"/>
                  </a:cubicBezTo>
                  <a:cubicBezTo>
                    <a:pt x="77486" y="209370"/>
                    <a:pt x="90302" y="218015"/>
                    <a:pt x="104431" y="223146"/>
                  </a:cubicBezTo>
                  <a:cubicBezTo>
                    <a:pt x="106681" y="223955"/>
                    <a:pt x="107996" y="226281"/>
                    <a:pt x="107541" y="228631"/>
                  </a:cubicBezTo>
                  <a:lnTo>
                    <a:pt x="102005" y="257725"/>
                  </a:lnTo>
                  <a:close/>
                  <a:moveTo>
                    <a:pt x="136053" y="192839"/>
                  </a:moveTo>
                  <a:cubicBezTo>
                    <a:pt x="104836" y="192839"/>
                    <a:pt x="79433" y="167411"/>
                    <a:pt x="79433" y="136143"/>
                  </a:cubicBezTo>
                  <a:cubicBezTo>
                    <a:pt x="79433" y="104875"/>
                    <a:pt x="104836" y="79447"/>
                    <a:pt x="136053" y="79447"/>
                  </a:cubicBezTo>
                  <a:cubicBezTo>
                    <a:pt x="167320" y="79447"/>
                    <a:pt x="192749" y="104875"/>
                    <a:pt x="192749" y="136143"/>
                  </a:cubicBezTo>
                  <a:cubicBezTo>
                    <a:pt x="192724" y="167385"/>
                    <a:pt x="167295" y="192839"/>
                    <a:pt x="136053" y="192839"/>
                  </a:cubicBezTo>
                  <a:close/>
                  <a:moveTo>
                    <a:pt x="136053" y="89153"/>
                  </a:moveTo>
                  <a:cubicBezTo>
                    <a:pt x="110195" y="89153"/>
                    <a:pt x="89139" y="110234"/>
                    <a:pt x="89139" y="136118"/>
                  </a:cubicBezTo>
                  <a:cubicBezTo>
                    <a:pt x="89139" y="162027"/>
                    <a:pt x="110195" y="183107"/>
                    <a:pt x="136053" y="183107"/>
                  </a:cubicBezTo>
                  <a:cubicBezTo>
                    <a:pt x="161936" y="183107"/>
                    <a:pt x="183018" y="162027"/>
                    <a:pt x="183018" y="136118"/>
                  </a:cubicBezTo>
                  <a:cubicBezTo>
                    <a:pt x="183018" y="110234"/>
                    <a:pt x="161936" y="89153"/>
                    <a:pt x="136053" y="89153"/>
                  </a:cubicBezTo>
                  <a:close/>
                </a:path>
              </a:pathLst>
            </a:custGeom>
            <a:solidFill>
              <a:schemeClr val="tx2"/>
            </a:solidFill>
            <a:ln w="2523" cap="flat">
              <a:noFill/>
              <a:prstDash val="solid"/>
              <a:miter/>
            </a:ln>
          </p:spPr>
          <p:txBody>
            <a:bodyPr rtlCol="0" anchor="ctr"/>
            <a:lstStyle/>
            <a:p>
              <a:endParaRPr lang="en-GB" dirty="0"/>
            </a:p>
          </p:txBody>
        </p:sp>
        <p:grpSp>
          <p:nvGrpSpPr>
            <p:cNvPr id="520" name="Grafik 3">
              <a:extLst>
                <a:ext uri="{FF2B5EF4-FFF2-40B4-BE49-F238E27FC236}">
                  <a16:creationId xmlns:a16="http://schemas.microsoft.com/office/drawing/2014/main" id="{7AE571AC-77BC-45EA-9F25-4F678704FD2B}"/>
                </a:ext>
              </a:extLst>
            </p:cNvPr>
            <p:cNvGrpSpPr/>
            <p:nvPr/>
          </p:nvGrpSpPr>
          <p:grpSpPr>
            <a:xfrm>
              <a:off x="6932136" y="4132614"/>
              <a:ext cx="467174" cy="463427"/>
              <a:chOff x="6932136" y="4132614"/>
              <a:chExt cx="467174" cy="463427"/>
            </a:xfrm>
            <a:solidFill>
              <a:schemeClr val="accent1"/>
            </a:solidFill>
          </p:grpSpPr>
          <p:sp>
            <p:nvSpPr>
              <p:cNvPr id="521" name="Freihandform: Form 956">
                <a:extLst>
                  <a:ext uri="{FF2B5EF4-FFF2-40B4-BE49-F238E27FC236}">
                    <a16:creationId xmlns:a16="http://schemas.microsoft.com/office/drawing/2014/main" id="{20BAA5C1-AC6B-44BC-A7A4-9BA9308C2DA7}"/>
                  </a:ext>
                </a:extLst>
              </p:cNvPr>
              <p:cNvSpPr/>
              <p:nvPr/>
            </p:nvSpPr>
            <p:spPr>
              <a:xfrm>
                <a:off x="7144412" y="4132614"/>
                <a:ext cx="39885" cy="11829"/>
              </a:xfrm>
              <a:custGeom>
                <a:avLst/>
                <a:gdLst>
                  <a:gd name="connsiteX0" fmla="*/ 35034 w 39885"/>
                  <a:gd name="connsiteY0" fmla="*/ 11830 h 11829"/>
                  <a:gd name="connsiteX1" fmla="*/ 34351 w 39885"/>
                  <a:gd name="connsiteY1" fmla="*/ 11779 h 11829"/>
                  <a:gd name="connsiteX2" fmla="*/ 4853 w 39885"/>
                  <a:gd name="connsiteY2" fmla="*/ 9706 h 11829"/>
                  <a:gd name="connsiteX3" fmla="*/ 0 w 39885"/>
                  <a:gd name="connsiteY3" fmla="*/ 4853 h 11829"/>
                  <a:gd name="connsiteX4" fmla="*/ 4853 w 39885"/>
                  <a:gd name="connsiteY4" fmla="*/ 0 h 11829"/>
                  <a:gd name="connsiteX5" fmla="*/ 35716 w 39885"/>
                  <a:gd name="connsiteY5" fmla="*/ 2174 h 11829"/>
                  <a:gd name="connsiteX6" fmla="*/ 39837 w 39885"/>
                  <a:gd name="connsiteY6" fmla="*/ 7659 h 11829"/>
                  <a:gd name="connsiteX7" fmla="*/ 35034 w 39885"/>
                  <a:gd name="connsiteY7" fmla="*/ 11830 h 11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85" h="11829">
                    <a:moveTo>
                      <a:pt x="35034" y="11830"/>
                    </a:moveTo>
                    <a:cubicBezTo>
                      <a:pt x="34806" y="11830"/>
                      <a:pt x="34579" y="11830"/>
                      <a:pt x="34351" y="11779"/>
                    </a:cubicBezTo>
                    <a:cubicBezTo>
                      <a:pt x="24645" y="10389"/>
                      <a:pt x="14736" y="9706"/>
                      <a:pt x="4853" y="9706"/>
                    </a:cubicBezTo>
                    <a:cubicBezTo>
                      <a:pt x="2174" y="9706"/>
                      <a:pt x="0" y="7533"/>
                      <a:pt x="0" y="4853"/>
                    </a:cubicBezTo>
                    <a:cubicBezTo>
                      <a:pt x="0" y="2174"/>
                      <a:pt x="2174" y="0"/>
                      <a:pt x="4853" y="0"/>
                    </a:cubicBezTo>
                    <a:cubicBezTo>
                      <a:pt x="15166" y="0"/>
                      <a:pt x="25555" y="733"/>
                      <a:pt x="35716" y="2174"/>
                    </a:cubicBezTo>
                    <a:cubicBezTo>
                      <a:pt x="38370" y="2553"/>
                      <a:pt x="40216" y="5005"/>
                      <a:pt x="39837" y="7659"/>
                    </a:cubicBezTo>
                    <a:cubicBezTo>
                      <a:pt x="39483" y="10060"/>
                      <a:pt x="37410" y="11830"/>
                      <a:pt x="35034" y="11830"/>
                    </a:cubicBezTo>
                    <a:close/>
                  </a:path>
                </a:pathLst>
              </a:custGeom>
              <a:solidFill>
                <a:schemeClr val="accent1"/>
              </a:solidFill>
              <a:ln w="2523" cap="flat">
                <a:noFill/>
                <a:prstDash val="solid"/>
                <a:miter/>
              </a:ln>
            </p:spPr>
            <p:txBody>
              <a:bodyPr rtlCol="0" anchor="ctr"/>
              <a:lstStyle/>
              <a:p>
                <a:endParaRPr lang="en-GB" dirty="0"/>
              </a:p>
            </p:txBody>
          </p:sp>
          <p:sp>
            <p:nvSpPr>
              <p:cNvPr id="522" name="Freihandform: Form 957">
                <a:extLst>
                  <a:ext uri="{FF2B5EF4-FFF2-40B4-BE49-F238E27FC236}">
                    <a16:creationId xmlns:a16="http://schemas.microsoft.com/office/drawing/2014/main" id="{54F87698-7B00-4346-9F9F-F7B0E98309AF}"/>
                  </a:ext>
                </a:extLst>
              </p:cNvPr>
              <p:cNvSpPr/>
              <p:nvPr/>
            </p:nvSpPr>
            <p:spPr>
              <a:xfrm>
                <a:off x="7199430" y="4139732"/>
                <a:ext cx="166989" cy="248962"/>
              </a:xfrm>
              <a:custGeom>
                <a:avLst/>
                <a:gdLst>
                  <a:gd name="connsiteX0" fmla="*/ 159381 w 166989"/>
                  <a:gd name="connsiteY0" fmla="*/ 248963 h 248962"/>
                  <a:gd name="connsiteX1" fmla="*/ 158598 w 166989"/>
                  <a:gd name="connsiteY1" fmla="*/ 248887 h 248962"/>
                  <a:gd name="connsiteX2" fmla="*/ 154579 w 166989"/>
                  <a:gd name="connsiteY2" fmla="*/ 243301 h 248962"/>
                  <a:gd name="connsiteX3" fmla="*/ 157258 w 166989"/>
                  <a:gd name="connsiteY3" fmla="*/ 209935 h 248962"/>
                  <a:gd name="connsiteX4" fmla="*/ 3599 w 166989"/>
                  <a:gd name="connsiteY4" fmla="*/ 9565 h 248962"/>
                  <a:gd name="connsiteX5" fmla="*/ 162 w 166989"/>
                  <a:gd name="connsiteY5" fmla="*/ 3599 h 248962"/>
                  <a:gd name="connsiteX6" fmla="*/ 6127 w 166989"/>
                  <a:gd name="connsiteY6" fmla="*/ 162 h 248962"/>
                  <a:gd name="connsiteX7" fmla="*/ 166989 w 166989"/>
                  <a:gd name="connsiteY7" fmla="*/ 209935 h 248962"/>
                  <a:gd name="connsiteX8" fmla="*/ 164184 w 166989"/>
                  <a:gd name="connsiteY8" fmla="*/ 244843 h 248962"/>
                  <a:gd name="connsiteX9" fmla="*/ 159381 w 166989"/>
                  <a:gd name="connsiteY9" fmla="*/ 248963 h 248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989" h="248962">
                    <a:moveTo>
                      <a:pt x="159381" y="248963"/>
                    </a:moveTo>
                    <a:cubicBezTo>
                      <a:pt x="159128" y="248963"/>
                      <a:pt x="158850" y="248938"/>
                      <a:pt x="158598" y="248887"/>
                    </a:cubicBezTo>
                    <a:cubicBezTo>
                      <a:pt x="155943" y="248457"/>
                      <a:pt x="154149" y="245955"/>
                      <a:pt x="154579" y="243301"/>
                    </a:cubicBezTo>
                    <a:cubicBezTo>
                      <a:pt x="156348" y="232330"/>
                      <a:pt x="157258" y="221108"/>
                      <a:pt x="157258" y="209935"/>
                    </a:cubicBezTo>
                    <a:cubicBezTo>
                      <a:pt x="157258" y="116158"/>
                      <a:pt x="94066" y="33755"/>
                      <a:pt x="3599" y="9565"/>
                    </a:cubicBezTo>
                    <a:cubicBezTo>
                      <a:pt x="1021" y="8857"/>
                      <a:pt x="-521" y="6203"/>
                      <a:pt x="162" y="3599"/>
                    </a:cubicBezTo>
                    <a:cubicBezTo>
                      <a:pt x="869" y="1021"/>
                      <a:pt x="3498" y="-521"/>
                      <a:pt x="6127" y="162"/>
                    </a:cubicBezTo>
                    <a:cubicBezTo>
                      <a:pt x="100840" y="25514"/>
                      <a:pt x="166989" y="111759"/>
                      <a:pt x="166989" y="209935"/>
                    </a:cubicBezTo>
                    <a:cubicBezTo>
                      <a:pt x="166989" y="221638"/>
                      <a:pt x="166054" y="233392"/>
                      <a:pt x="164184" y="244843"/>
                    </a:cubicBezTo>
                    <a:cubicBezTo>
                      <a:pt x="163779" y="247269"/>
                      <a:pt x="161707" y="248963"/>
                      <a:pt x="159381" y="248963"/>
                    </a:cubicBezTo>
                    <a:close/>
                  </a:path>
                </a:pathLst>
              </a:custGeom>
              <a:solidFill>
                <a:schemeClr val="accent1"/>
              </a:solidFill>
              <a:ln w="2523" cap="flat">
                <a:noFill/>
                <a:prstDash val="solid"/>
                <a:miter/>
              </a:ln>
            </p:spPr>
            <p:txBody>
              <a:bodyPr rtlCol="0" anchor="ctr"/>
              <a:lstStyle/>
              <a:p>
                <a:endParaRPr lang="en-GB" dirty="0"/>
              </a:p>
            </p:txBody>
          </p:sp>
          <p:sp>
            <p:nvSpPr>
              <p:cNvPr id="523" name="Freihandform: Form 958">
                <a:extLst>
                  <a:ext uri="{FF2B5EF4-FFF2-40B4-BE49-F238E27FC236}">
                    <a16:creationId xmlns:a16="http://schemas.microsoft.com/office/drawing/2014/main" id="{73A370C0-2C98-4228-ADEF-CC00EE1EBCC5}"/>
                  </a:ext>
                </a:extLst>
              </p:cNvPr>
              <p:cNvSpPr/>
              <p:nvPr/>
            </p:nvSpPr>
            <p:spPr>
              <a:xfrm>
                <a:off x="7297191" y="4473559"/>
                <a:ext cx="25742" cy="28376"/>
              </a:xfrm>
              <a:custGeom>
                <a:avLst/>
                <a:gdLst>
                  <a:gd name="connsiteX0" fmla="*/ 4848 w 25742"/>
                  <a:gd name="connsiteY0" fmla="*/ 28377 h 28376"/>
                  <a:gd name="connsiteX1" fmla="*/ 1486 w 25742"/>
                  <a:gd name="connsiteY1" fmla="*/ 27012 h 28376"/>
                  <a:gd name="connsiteX2" fmla="*/ 1360 w 25742"/>
                  <a:gd name="connsiteY2" fmla="*/ 20136 h 28376"/>
                  <a:gd name="connsiteX3" fmla="*/ 17006 w 25742"/>
                  <a:gd name="connsiteY3" fmla="*/ 1912 h 28376"/>
                  <a:gd name="connsiteX4" fmla="*/ 23831 w 25742"/>
                  <a:gd name="connsiteY4" fmla="*/ 1002 h 28376"/>
                  <a:gd name="connsiteX5" fmla="*/ 24741 w 25742"/>
                  <a:gd name="connsiteY5" fmla="*/ 7826 h 28376"/>
                  <a:gd name="connsiteX6" fmla="*/ 8361 w 25742"/>
                  <a:gd name="connsiteY6" fmla="*/ 26885 h 28376"/>
                  <a:gd name="connsiteX7" fmla="*/ 4848 w 25742"/>
                  <a:gd name="connsiteY7" fmla="*/ 28377 h 28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742" h="28376">
                    <a:moveTo>
                      <a:pt x="4848" y="28377"/>
                    </a:moveTo>
                    <a:cubicBezTo>
                      <a:pt x="3635" y="28377"/>
                      <a:pt x="2421" y="27922"/>
                      <a:pt x="1486" y="27012"/>
                    </a:cubicBezTo>
                    <a:cubicBezTo>
                      <a:pt x="-435" y="25141"/>
                      <a:pt x="-511" y="22083"/>
                      <a:pt x="1360" y="20136"/>
                    </a:cubicBezTo>
                    <a:cubicBezTo>
                      <a:pt x="6921" y="14348"/>
                      <a:pt x="12203" y="8231"/>
                      <a:pt x="17006" y="1912"/>
                    </a:cubicBezTo>
                    <a:cubicBezTo>
                      <a:pt x="18624" y="-211"/>
                      <a:pt x="21682" y="-641"/>
                      <a:pt x="23831" y="1002"/>
                    </a:cubicBezTo>
                    <a:cubicBezTo>
                      <a:pt x="25954" y="2620"/>
                      <a:pt x="26384" y="5678"/>
                      <a:pt x="24741" y="7826"/>
                    </a:cubicBezTo>
                    <a:cubicBezTo>
                      <a:pt x="19711" y="14424"/>
                      <a:pt x="14200" y="20844"/>
                      <a:pt x="8361" y="26885"/>
                    </a:cubicBezTo>
                    <a:cubicBezTo>
                      <a:pt x="7401" y="27871"/>
                      <a:pt x="6112" y="28377"/>
                      <a:pt x="4848" y="28377"/>
                    </a:cubicBezTo>
                    <a:close/>
                  </a:path>
                </a:pathLst>
              </a:custGeom>
              <a:solidFill>
                <a:schemeClr val="accent1"/>
              </a:solidFill>
              <a:ln w="2523" cap="flat">
                <a:noFill/>
                <a:prstDash val="solid"/>
                <a:miter/>
              </a:ln>
            </p:spPr>
            <p:txBody>
              <a:bodyPr rtlCol="0" anchor="ctr"/>
              <a:lstStyle/>
              <a:p>
                <a:endParaRPr lang="en-GB" dirty="0"/>
              </a:p>
            </p:txBody>
          </p:sp>
          <p:sp>
            <p:nvSpPr>
              <p:cNvPr id="524" name="Freihandform: Form 959">
                <a:extLst>
                  <a:ext uri="{FF2B5EF4-FFF2-40B4-BE49-F238E27FC236}">
                    <a16:creationId xmlns:a16="http://schemas.microsoft.com/office/drawing/2014/main" id="{6F5F9FD8-9C37-4C3A-A655-30271CEF6CD7}"/>
                  </a:ext>
                </a:extLst>
              </p:cNvPr>
              <p:cNvSpPr/>
              <p:nvPr/>
            </p:nvSpPr>
            <p:spPr>
              <a:xfrm>
                <a:off x="7058049" y="4507775"/>
                <a:ext cx="232125" cy="59046"/>
              </a:xfrm>
              <a:custGeom>
                <a:avLst/>
                <a:gdLst>
                  <a:gd name="connsiteX0" fmla="*/ 91216 w 232125"/>
                  <a:gd name="connsiteY0" fmla="*/ 59046 h 59046"/>
                  <a:gd name="connsiteX1" fmla="*/ 2873 w 232125"/>
                  <a:gd name="connsiteY1" fmla="*/ 40316 h 59046"/>
                  <a:gd name="connsiteX2" fmla="*/ 421 w 232125"/>
                  <a:gd name="connsiteY2" fmla="*/ 33895 h 59046"/>
                  <a:gd name="connsiteX3" fmla="*/ 6841 w 232125"/>
                  <a:gd name="connsiteY3" fmla="*/ 31444 h 59046"/>
                  <a:gd name="connsiteX4" fmla="*/ 91216 w 232125"/>
                  <a:gd name="connsiteY4" fmla="*/ 49315 h 59046"/>
                  <a:gd name="connsiteX5" fmla="*/ 224148 w 232125"/>
                  <a:gd name="connsiteY5" fmla="*/ 1137 h 59046"/>
                  <a:gd name="connsiteX6" fmla="*/ 230998 w 232125"/>
                  <a:gd name="connsiteY6" fmla="*/ 1743 h 59046"/>
                  <a:gd name="connsiteX7" fmla="*/ 230391 w 232125"/>
                  <a:gd name="connsiteY7" fmla="*/ 8594 h 59046"/>
                  <a:gd name="connsiteX8" fmla="*/ 91216 w 232125"/>
                  <a:gd name="connsiteY8" fmla="*/ 59046 h 5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125" h="59046">
                    <a:moveTo>
                      <a:pt x="91216" y="59046"/>
                    </a:moveTo>
                    <a:cubicBezTo>
                      <a:pt x="60454" y="59046"/>
                      <a:pt x="30754" y="52752"/>
                      <a:pt x="2873" y="40316"/>
                    </a:cubicBezTo>
                    <a:cubicBezTo>
                      <a:pt x="421" y="39229"/>
                      <a:pt x="-666" y="36348"/>
                      <a:pt x="421" y="33895"/>
                    </a:cubicBezTo>
                    <a:cubicBezTo>
                      <a:pt x="1508" y="31444"/>
                      <a:pt x="4390" y="30332"/>
                      <a:pt x="6841" y="31444"/>
                    </a:cubicBezTo>
                    <a:cubicBezTo>
                      <a:pt x="33458" y="43299"/>
                      <a:pt x="61844" y="49315"/>
                      <a:pt x="91216" y="49315"/>
                    </a:cubicBezTo>
                    <a:cubicBezTo>
                      <a:pt x="139748" y="49315"/>
                      <a:pt x="186965" y="32202"/>
                      <a:pt x="224148" y="1137"/>
                    </a:cubicBezTo>
                    <a:cubicBezTo>
                      <a:pt x="226195" y="-582"/>
                      <a:pt x="229253" y="-329"/>
                      <a:pt x="230998" y="1743"/>
                    </a:cubicBezTo>
                    <a:cubicBezTo>
                      <a:pt x="232716" y="3791"/>
                      <a:pt x="232438" y="6849"/>
                      <a:pt x="230391" y="8594"/>
                    </a:cubicBezTo>
                    <a:cubicBezTo>
                      <a:pt x="191439" y="41150"/>
                      <a:pt x="142023" y="59046"/>
                      <a:pt x="91216" y="59046"/>
                    </a:cubicBezTo>
                    <a:close/>
                  </a:path>
                </a:pathLst>
              </a:custGeom>
              <a:solidFill>
                <a:schemeClr val="accent1"/>
              </a:solidFill>
              <a:ln w="2523" cap="flat">
                <a:noFill/>
                <a:prstDash val="solid"/>
                <a:miter/>
              </a:ln>
            </p:spPr>
            <p:txBody>
              <a:bodyPr rtlCol="0" anchor="ctr"/>
              <a:lstStyle/>
              <a:p>
                <a:endParaRPr lang="en-GB" dirty="0"/>
              </a:p>
            </p:txBody>
          </p:sp>
          <p:sp>
            <p:nvSpPr>
              <p:cNvPr id="525" name="Freihandform: Form 960">
                <a:extLst>
                  <a:ext uri="{FF2B5EF4-FFF2-40B4-BE49-F238E27FC236}">
                    <a16:creationId xmlns:a16="http://schemas.microsoft.com/office/drawing/2014/main" id="{73E49317-F2F6-4D61-A18B-F725B8306276}"/>
                  </a:ext>
                </a:extLst>
              </p:cNvPr>
              <p:cNvSpPr/>
              <p:nvPr/>
            </p:nvSpPr>
            <p:spPr>
              <a:xfrm>
                <a:off x="6973080" y="4470233"/>
                <a:ext cx="21644" cy="24523"/>
              </a:xfrm>
              <a:custGeom>
                <a:avLst/>
                <a:gdLst>
                  <a:gd name="connsiteX0" fmla="*/ 16764 w 21644"/>
                  <a:gd name="connsiteY0" fmla="*/ 24524 h 24523"/>
                  <a:gd name="connsiteX1" fmla="*/ 13124 w 21644"/>
                  <a:gd name="connsiteY1" fmla="*/ 22881 h 24523"/>
                  <a:gd name="connsiteX2" fmla="*/ 940 w 21644"/>
                  <a:gd name="connsiteY2" fmla="*/ 7740 h 24523"/>
                  <a:gd name="connsiteX3" fmla="*/ 2002 w 21644"/>
                  <a:gd name="connsiteY3" fmla="*/ 940 h 24523"/>
                  <a:gd name="connsiteX4" fmla="*/ 8801 w 21644"/>
                  <a:gd name="connsiteY4" fmla="*/ 2002 h 24523"/>
                  <a:gd name="connsiteX5" fmla="*/ 20429 w 21644"/>
                  <a:gd name="connsiteY5" fmla="*/ 16460 h 24523"/>
                  <a:gd name="connsiteX6" fmla="*/ 19999 w 21644"/>
                  <a:gd name="connsiteY6" fmla="*/ 23310 h 24523"/>
                  <a:gd name="connsiteX7" fmla="*/ 16764 w 21644"/>
                  <a:gd name="connsiteY7" fmla="*/ 24524 h 24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44" h="24523">
                    <a:moveTo>
                      <a:pt x="16764" y="24524"/>
                    </a:moveTo>
                    <a:cubicBezTo>
                      <a:pt x="15424" y="24524"/>
                      <a:pt x="14084" y="23968"/>
                      <a:pt x="13124" y="22881"/>
                    </a:cubicBezTo>
                    <a:cubicBezTo>
                      <a:pt x="8877" y="18053"/>
                      <a:pt x="4782" y="12972"/>
                      <a:pt x="940" y="7740"/>
                    </a:cubicBezTo>
                    <a:cubicBezTo>
                      <a:pt x="-652" y="5566"/>
                      <a:pt x="-172" y="2533"/>
                      <a:pt x="2002" y="940"/>
                    </a:cubicBezTo>
                    <a:cubicBezTo>
                      <a:pt x="4176" y="-652"/>
                      <a:pt x="7209" y="-172"/>
                      <a:pt x="8801" y="2002"/>
                    </a:cubicBezTo>
                    <a:cubicBezTo>
                      <a:pt x="12441" y="6981"/>
                      <a:pt x="16359" y="11835"/>
                      <a:pt x="20429" y="16460"/>
                    </a:cubicBezTo>
                    <a:cubicBezTo>
                      <a:pt x="22198" y="18482"/>
                      <a:pt x="22021" y="21541"/>
                      <a:pt x="19999" y="23310"/>
                    </a:cubicBezTo>
                    <a:cubicBezTo>
                      <a:pt x="19064" y="24119"/>
                      <a:pt x="17927" y="24524"/>
                      <a:pt x="16764" y="24524"/>
                    </a:cubicBezTo>
                    <a:close/>
                  </a:path>
                </a:pathLst>
              </a:custGeom>
              <a:solidFill>
                <a:schemeClr val="accent1"/>
              </a:solidFill>
              <a:ln w="2523" cap="flat">
                <a:noFill/>
                <a:prstDash val="solid"/>
                <a:miter/>
              </a:ln>
            </p:spPr>
            <p:txBody>
              <a:bodyPr rtlCol="0" anchor="ctr"/>
              <a:lstStyle/>
              <a:p>
                <a:endParaRPr lang="en-GB" dirty="0"/>
              </a:p>
            </p:txBody>
          </p:sp>
          <p:sp>
            <p:nvSpPr>
              <p:cNvPr id="526" name="Freihandform: Form 961">
                <a:extLst>
                  <a:ext uri="{FF2B5EF4-FFF2-40B4-BE49-F238E27FC236}">
                    <a16:creationId xmlns:a16="http://schemas.microsoft.com/office/drawing/2014/main" id="{4567E358-711A-4FB1-A910-A4F28A7C91E2}"/>
                  </a:ext>
                </a:extLst>
              </p:cNvPr>
              <p:cNvSpPr/>
              <p:nvPr/>
            </p:nvSpPr>
            <p:spPr>
              <a:xfrm>
                <a:off x="6932136" y="4162936"/>
                <a:ext cx="112528" cy="292717"/>
              </a:xfrm>
              <a:custGeom>
                <a:avLst/>
                <a:gdLst>
                  <a:gd name="connsiteX0" fmla="*/ 30434 w 112528"/>
                  <a:gd name="connsiteY0" fmla="*/ 292717 h 292717"/>
                  <a:gd name="connsiteX1" fmla="*/ 26162 w 112528"/>
                  <a:gd name="connsiteY1" fmla="*/ 290164 h 292717"/>
                  <a:gd name="connsiteX2" fmla="*/ 0 w 112528"/>
                  <a:gd name="connsiteY2" fmla="*/ 186756 h 292717"/>
                  <a:gd name="connsiteX3" fmla="*/ 105152 w 112528"/>
                  <a:gd name="connsiteY3" fmla="*/ 692 h 292717"/>
                  <a:gd name="connsiteX4" fmla="*/ 111825 w 112528"/>
                  <a:gd name="connsiteY4" fmla="*/ 2335 h 292717"/>
                  <a:gd name="connsiteX5" fmla="*/ 110182 w 112528"/>
                  <a:gd name="connsiteY5" fmla="*/ 9008 h 292717"/>
                  <a:gd name="connsiteX6" fmla="*/ 9732 w 112528"/>
                  <a:gd name="connsiteY6" fmla="*/ 186756 h 292717"/>
                  <a:gd name="connsiteX7" fmla="*/ 34705 w 112528"/>
                  <a:gd name="connsiteY7" fmla="*/ 285538 h 292717"/>
                  <a:gd name="connsiteX8" fmla="*/ 32759 w 112528"/>
                  <a:gd name="connsiteY8" fmla="*/ 292136 h 292717"/>
                  <a:gd name="connsiteX9" fmla="*/ 30434 w 112528"/>
                  <a:gd name="connsiteY9" fmla="*/ 292717 h 29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528" h="292717">
                    <a:moveTo>
                      <a:pt x="30434" y="292717"/>
                    </a:moveTo>
                    <a:cubicBezTo>
                      <a:pt x="28715" y="292717"/>
                      <a:pt x="27046" y="291807"/>
                      <a:pt x="26162" y="290164"/>
                    </a:cubicBezTo>
                    <a:cubicBezTo>
                      <a:pt x="9049" y="258618"/>
                      <a:pt x="0" y="222852"/>
                      <a:pt x="0" y="186756"/>
                    </a:cubicBezTo>
                    <a:cubicBezTo>
                      <a:pt x="0" y="109939"/>
                      <a:pt x="39306" y="40402"/>
                      <a:pt x="105152" y="692"/>
                    </a:cubicBezTo>
                    <a:cubicBezTo>
                      <a:pt x="107452" y="-673"/>
                      <a:pt x="110435" y="35"/>
                      <a:pt x="111825" y="2335"/>
                    </a:cubicBezTo>
                    <a:cubicBezTo>
                      <a:pt x="113216" y="4636"/>
                      <a:pt x="112482" y="7618"/>
                      <a:pt x="110182" y="9008"/>
                    </a:cubicBezTo>
                    <a:cubicBezTo>
                      <a:pt x="47268" y="46924"/>
                      <a:pt x="9732" y="113377"/>
                      <a:pt x="9732" y="186756"/>
                    </a:cubicBezTo>
                    <a:cubicBezTo>
                      <a:pt x="9732" y="221234"/>
                      <a:pt x="18376" y="255383"/>
                      <a:pt x="34705" y="285538"/>
                    </a:cubicBezTo>
                    <a:cubicBezTo>
                      <a:pt x="35995" y="287889"/>
                      <a:pt x="35110" y="290847"/>
                      <a:pt x="32759" y="292136"/>
                    </a:cubicBezTo>
                    <a:cubicBezTo>
                      <a:pt x="32001" y="292515"/>
                      <a:pt x="31192" y="292717"/>
                      <a:pt x="30434" y="292717"/>
                    </a:cubicBezTo>
                    <a:close/>
                  </a:path>
                </a:pathLst>
              </a:custGeom>
              <a:solidFill>
                <a:schemeClr val="accent1"/>
              </a:solidFill>
              <a:ln w="2523" cap="flat">
                <a:noFill/>
                <a:prstDash val="solid"/>
                <a:miter/>
              </a:ln>
            </p:spPr>
            <p:txBody>
              <a:bodyPr rtlCol="0" anchor="ctr"/>
              <a:lstStyle/>
              <a:p>
                <a:endParaRPr lang="en-GB" dirty="0"/>
              </a:p>
            </p:txBody>
          </p:sp>
          <p:sp>
            <p:nvSpPr>
              <p:cNvPr id="527" name="Freihandform: Form 962">
                <a:extLst>
                  <a:ext uri="{FF2B5EF4-FFF2-40B4-BE49-F238E27FC236}">
                    <a16:creationId xmlns:a16="http://schemas.microsoft.com/office/drawing/2014/main" id="{A2FD568B-B0BD-4D5D-8254-0932D8DCC45F}"/>
                  </a:ext>
                </a:extLst>
              </p:cNvPr>
              <p:cNvSpPr/>
              <p:nvPr/>
            </p:nvSpPr>
            <p:spPr>
              <a:xfrm>
                <a:off x="6978455" y="4158938"/>
                <a:ext cx="66202" cy="13714"/>
              </a:xfrm>
              <a:custGeom>
                <a:avLst/>
                <a:gdLst>
                  <a:gd name="connsiteX0" fmla="*/ 61361 w 66202"/>
                  <a:gd name="connsiteY0" fmla="*/ 13714 h 13714"/>
                  <a:gd name="connsiteX1" fmla="*/ 61007 w 66202"/>
                  <a:gd name="connsiteY1" fmla="*/ 13689 h 13714"/>
                  <a:gd name="connsiteX2" fmla="*/ 4513 w 66202"/>
                  <a:gd name="connsiteY2" fmla="*/ 9695 h 13714"/>
                  <a:gd name="connsiteX3" fmla="*/ 14 w 66202"/>
                  <a:gd name="connsiteY3" fmla="*/ 4513 h 13714"/>
                  <a:gd name="connsiteX4" fmla="*/ 5196 w 66202"/>
                  <a:gd name="connsiteY4" fmla="*/ 14 h 13714"/>
                  <a:gd name="connsiteX5" fmla="*/ 61690 w 66202"/>
                  <a:gd name="connsiteY5" fmla="*/ 4008 h 13714"/>
                  <a:gd name="connsiteX6" fmla="*/ 66189 w 66202"/>
                  <a:gd name="connsiteY6" fmla="*/ 9189 h 13714"/>
                  <a:gd name="connsiteX7" fmla="*/ 61361 w 66202"/>
                  <a:gd name="connsiteY7" fmla="*/ 13714 h 13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202" h="13714">
                    <a:moveTo>
                      <a:pt x="61361" y="13714"/>
                    </a:moveTo>
                    <a:cubicBezTo>
                      <a:pt x="61235" y="13714"/>
                      <a:pt x="61134" y="13714"/>
                      <a:pt x="61007" y="13689"/>
                    </a:cubicBezTo>
                    <a:lnTo>
                      <a:pt x="4513" y="9695"/>
                    </a:lnTo>
                    <a:cubicBezTo>
                      <a:pt x="1834" y="9493"/>
                      <a:pt x="-188" y="7193"/>
                      <a:pt x="14" y="4513"/>
                    </a:cubicBezTo>
                    <a:cubicBezTo>
                      <a:pt x="191" y="1834"/>
                      <a:pt x="2542" y="-188"/>
                      <a:pt x="5196" y="14"/>
                    </a:cubicBezTo>
                    <a:lnTo>
                      <a:pt x="61690" y="4008"/>
                    </a:lnTo>
                    <a:cubicBezTo>
                      <a:pt x="64369" y="4210"/>
                      <a:pt x="66391" y="6510"/>
                      <a:pt x="66189" y="9189"/>
                    </a:cubicBezTo>
                    <a:cubicBezTo>
                      <a:pt x="66012" y="11768"/>
                      <a:pt x="63889" y="13714"/>
                      <a:pt x="61361" y="13714"/>
                    </a:cubicBezTo>
                    <a:close/>
                  </a:path>
                </a:pathLst>
              </a:custGeom>
              <a:solidFill>
                <a:schemeClr val="accent1"/>
              </a:solidFill>
              <a:ln w="2523" cap="flat">
                <a:noFill/>
                <a:prstDash val="solid"/>
                <a:miter/>
              </a:ln>
            </p:spPr>
            <p:txBody>
              <a:bodyPr rtlCol="0" anchor="ctr"/>
              <a:lstStyle/>
              <a:p>
                <a:endParaRPr lang="en-GB" dirty="0"/>
              </a:p>
            </p:txBody>
          </p:sp>
          <p:sp>
            <p:nvSpPr>
              <p:cNvPr id="528" name="Freihandform: Form 963">
                <a:extLst>
                  <a:ext uri="{FF2B5EF4-FFF2-40B4-BE49-F238E27FC236}">
                    <a16:creationId xmlns:a16="http://schemas.microsoft.com/office/drawing/2014/main" id="{D3FC48D1-B85D-4DF3-A175-1C959D57F36C}"/>
                  </a:ext>
                </a:extLst>
              </p:cNvPr>
              <p:cNvSpPr/>
              <p:nvPr/>
            </p:nvSpPr>
            <p:spPr>
              <a:xfrm>
                <a:off x="7016832" y="4163093"/>
                <a:ext cx="28020" cy="63323"/>
              </a:xfrm>
              <a:custGeom>
                <a:avLst/>
                <a:gdLst>
                  <a:gd name="connsiteX0" fmla="*/ 4860 w 28020"/>
                  <a:gd name="connsiteY0" fmla="*/ 63323 h 63323"/>
                  <a:gd name="connsiteX1" fmla="*/ 3293 w 28020"/>
                  <a:gd name="connsiteY1" fmla="*/ 63070 h 63323"/>
                  <a:gd name="connsiteX2" fmla="*/ 260 w 28020"/>
                  <a:gd name="connsiteY2" fmla="*/ 56903 h 63323"/>
                  <a:gd name="connsiteX3" fmla="*/ 18560 w 28020"/>
                  <a:gd name="connsiteY3" fmla="*/ 3290 h 63323"/>
                  <a:gd name="connsiteX4" fmla="*/ 24728 w 28020"/>
                  <a:gd name="connsiteY4" fmla="*/ 257 h 63323"/>
                  <a:gd name="connsiteX5" fmla="*/ 27761 w 28020"/>
                  <a:gd name="connsiteY5" fmla="*/ 6425 h 63323"/>
                  <a:gd name="connsiteX6" fmla="*/ 9461 w 28020"/>
                  <a:gd name="connsiteY6" fmla="*/ 60037 h 63323"/>
                  <a:gd name="connsiteX7" fmla="*/ 4860 w 28020"/>
                  <a:gd name="connsiteY7" fmla="*/ 63323 h 63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20" h="63323">
                    <a:moveTo>
                      <a:pt x="4860" y="63323"/>
                    </a:moveTo>
                    <a:cubicBezTo>
                      <a:pt x="4329" y="63323"/>
                      <a:pt x="3798" y="63247"/>
                      <a:pt x="3293" y="63070"/>
                    </a:cubicBezTo>
                    <a:cubicBezTo>
                      <a:pt x="740" y="62211"/>
                      <a:pt x="-600" y="59431"/>
                      <a:pt x="260" y="56903"/>
                    </a:cubicBezTo>
                    <a:lnTo>
                      <a:pt x="18560" y="3290"/>
                    </a:lnTo>
                    <a:cubicBezTo>
                      <a:pt x="19420" y="763"/>
                      <a:pt x="22175" y="-602"/>
                      <a:pt x="24728" y="257"/>
                    </a:cubicBezTo>
                    <a:cubicBezTo>
                      <a:pt x="27281" y="1117"/>
                      <a:pt x="28620" y="3897"/>
                      <a:pt x="27761" y="6425"/>
                    </a:cubicBezTo>
                    <a:lnTo>
                      <a:pt x="9461" y="60037"/>
                    </a:lnTo>
                    <a:cubicBezTo>
                      <a:pt x="8778" y="62059"/>
                      <a:pt x="6882" y="63323"/>
                      <a:pt x="4860" y="63323"/>
                    </a:cubicBezTo>
                    <a:close/>
                  </a:path>
                </a:pathLst>
              </a:custGeom>
              <a:solidFill>
                <a:schemeClr val="accent1"/>
              </a:solidFill>
              <a:ln w="2523" cap="flat">
                <a:noFill/>
                <a:prstDash val="solid"/>
                <a:miter/>
              </a:ln>
            </p:spPr>
            <p:txBody>
              <a:bodyPr rtlCol="0" anchor="ctr"/>
              <a:lstStyle/>
              <a:p>
                <a:endParaRPr lang="en-GB" dirty="0"/>
              </a:p>
            </p:txBody>
          </p:sp>
          <p:grpSp>
            <p:nvGrpSpPr>
              <p:cNvPr id="529" name="Grafik 3">
                <a:extLst>
                  <a:ext uri="{FF2B5EF4-FFF2-40B4-BE49-F238E27FC236}">
                    <a16:creationId xmlns:a16="http://schemas.microsoft.com/office/drawing/2014/main" id="{85D28E0C-D2A0-4ADC-9B70-FF36F26E0F1E}"/>
                  </a:ext>
                </a:extLst>
              </p:cNvPr>
              <p:cNvGrpSpPr/>
              <p:nvPr/>
            </p:nvGrpSpPr>
            <p:grpSpPr>
              <a:xfrm>
                <a:off x="7320270" y="4336594"/>
                <a:ext cx="79041" cy="55513"/>
                <a:chOff x="7320270" y="4336594"/>
                <a:chExt cx="79041" cy="55513"/>
              </a:xfrm>
              <a:solidFill>
                <a:schemeClr val="accent1"/>
              </a:solidFill>
            </p:grpSpPr>
            <p:sp>
              <p:nvSpPr>
                <p:cNvPr id="533" name="Freihandform: Form 965">
                  <a:extLst>
                    <a:ext uri="{FF2B5EF4-FFF2-40B4-BE49-F238E27FC236}">
                      <a16:creationId xmlns:a16="http://schemas.microsoft.com/office/drawing/2014/main" id="{3FB9E5AE-7632-4148-8397-884C678AF13F}"/>
                    </a:ext>
                  </a:extLst>
                </p:cNvPr>
                <p:cNvSpPr/>
                <p:nvPr/>
              </p:nvSpPr>
              <p:spPr>
                <a:xfrm>
                  <a:off x="7353876" y="4338362"/>
                  <a:ext cx="45435" cy="53669"/>
                </a:xfrm>
                <a:custGeom>
                  <a:avLst/>
                  <a:gdLst>
                    <a:gd name="connsiteX0" fmla="*/ 4859 w 45435"/>
                    <a:gd name="connsiteY0" fmla="*/ 53669 h 53669"/>
                    <a:gd name="connsiteX1" fmla="*/ 1801 w 45435"/>
                    <a:gd name="connsiteY1" fmla="*/ 52582 h 53669"/>
                    <a:gd name="connsiteX2" fmla="*/ 1093 w 45435"/>
                    <a:gd name="connsiteY2" fmla="*/ 45758 h 53669"/>
                    <a:gd name="connsiteX3" fmla="*/ 36809 w 45435"/>
                    <a:gd name="connsiteY3" fmla="*/ 1801 h 53669"/>
                    <a:gd name="connsiteX4" fmla="*/ 43634 w 45435"/>
                    <a:gd name="connsiteY4" fmla="*/ 1093 h 53669"/>
                    <a:gd name="connsiteX5" fmla="*/ 44342 w 45435"/>
                    <a:gd name="connsiteY5" fmla="*/ 7918 h 53669"/>
                    <a:gd name="connsiteX6" fmla="*/ 8626 w 45435"/>
                    <a:gd name="connsiteY6" fmla="*/ 51875 h 53669"/>
                    <a:gd name="connsiteX7" fmla="*/ 4859 w 45435"/>
                    <a:gd name="connsiteY7" fmla="*/ 53669 h 53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35" h="53669">
                      <a:moveTo>
                        <a:pt x="4859" y="53669"/>
                      </a:moveTo>
                      <a:cubicBezTo>
                        <a:pt x="3772" y="53669"/>
                        <a:pt x="2686" y="53315"/>
                        <a:pt x="1801" y="52582"/>
                      </a:cubicBezTo>
                      <a:cubicBezTo>
                        <a:pt x="-297" y="50889"/>
                        <a:pt x="-600" y="47830"/>
                        <a:pt x="1093" y="45758"/>
                      </a:cubicBezTo>
                      <a:lnTo>
                        <a:pt x="36809" y="1801"/>
                      </a:lnTo>
                      <a:cubicBezTo>
                        <a:pt x="38503" y="-297"/>
                        <a:pt x="41562" y="-600"/>
                        <a:pt x="43634" y="1093"/>
                      </a:cubicBezTo>
                      <a:cubicBezTo>
                        <a:pt x="45732" y="2787"/>
                        <a:pt x="46035" y="5845"/>
                        <a:pt x="44342" y="7918"/>
                      </a:cubicBezTo>
                      <a:lnTo>
                        <a:pt x="8626" y="51875"/>
                      </a:lnTo>
                      <a:cubicBezTo>
                        <a:pt x="7665" y="53063"/>
                        <a:pt x="6250" y="53669"/>
                        <a:pt x="4859" y="53669"/>
                      </a:cubicBezTo>
                      <a:close/>
                    </a:path>
                  </a:pathLst>
                </a:custGeom>
                <a:solidFill>
                  <a:schemeClr val="accent1"/>
                </a:solidFill>
                <a:ln w="2523" cap="flat">
                  <a:noFill/>
                  <a:prstDash val="solid"/>
                  <a:miter/>
                </a:ln>
              </p:spPr>
              <p:txBody>
                <a:bodyPr rtlCol="0" anchor="ctr"/>
                <a:lstStyle/>
                <a:p>
                  <a:endParaRPr lang="en-GB" dirty="0"/>
                </a:p>
              </p:txBody>
            </p:sp>
            <p:sp>
              <p:nvSpPr>
                <p:cNvPr id="534" name="Freihandform: Form 966">
                  <a:extLst>
                    <a:ext uri="{FF2B5EF4-FFF2-40B4-BE49-F238E27FC236}">
                      <a16:creationId xmlns:a16="http://schemas.microsoft.com/office/drawing/2014/main" id="{9765F8F3-4691-4A51-938A-8C5AB81FD917}"/>
                    </a:ext>
                  </a:extLst>
                </p:cNvPr>
                <p:cNvSpPr/>
                <p:nvPr/>
              </p:nvSpPr>
              <p:spPr>
                <a:xfrm>
                  <a:off x="7320270" y="4336594"/>
                  <a:ext cx="43085" cy="55513"/>
                </a:xfrm>
                <a:custGeom>
                  <a:avLst/>
                  <a:gdLst>
                    <a:gd name="connsiteX0" fmla="*/ 38238 w 43085"/>
                    <a:gd name="connsiteY0" fmla="*/ 55513 h 55513"/>
                    <a:gd name="connsiteX1" fmla="*/ 34295 w 43085"/>
                    <a:gd name="connsiteY1" fmla="*/ 53516 h 55513"/>
                    <a:gd name="connsiteX2" fmla="*/ 929 w 43085"/>
                    <a:gd name="connsiteY2" fmla="*/ 7740 h 55513"/>
                    <a:gd name="connsiteX3" fmla="*/ 1991 w 43085"/>
                    <a:gd name="connsiteY3" fmla="*/ 940 h 55513"/>
                    <a:gd name="connsiteX4" fmla="*/ 8790 w 43085"/>
                    <a:gd name="connsiteY4" fmla="*/ 2002 h 55513"/>
                    <a:gd name="connsiteX5" fmla="*/ 42156 w 43085"/>
                    <a:gd name="connsiteY5" fmla="*/ 47778 h 55513"/>
                    <a:gd name="connsiteX6" fmla="*/ 41094 w 43085"/>
                    <a:gd name="connsiteY6" fmla="*/ 54578 h 55513"/>
                    <a:gd name="connsiteX7" fmla="*/ 38238 w 43085"/>
                    <a:gd name="connsiteY7" fmla="*/ 55513 h 55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85" h="55513">
                      <a:moveTo>
                        <a:pt x="38238" y="55513"/>
                      </a:moveTo>
                      <a:cubicBezTo>
                        <a:pt x="36747" y="55513"/>
                        <a:pt x="35255" y="54831"/>
                        <a:pt x="34295" y="53516"/>
                      </a:cubicBezTo>
                      <a:lnTo>
                        <a:pt x="929" y="7740"/>
                      </a:lnTo>
                      <a:cubicBezTo>
                        <a:pt x="-638" y="5566"/>
                        <a:pt x="-183" y="2533"/>
                        <a:pt x="1991" y="940"/>
                      </a:cubicBezTo>
                      <a:cubicBezTo>
                        <a:pt x="4139" y="-652"/>
                        <a:pt x="7198" y="-172"/>
                        <a:pt x="8790" y="2002"/>
                      </a:cubicBezTo>
                      <a:lnTo>
                        <a:pt x="42156" y="47778"/>
                      </a:lnTo>
                      <a:cubicBezTo>
                        <a:pt x="43723" y="49952"/>
                        <a:pt x="43268" y="52986"/>
                        <a:pt x="41094" y="54578"/>
                      </a:cubicBezTo>
                      <a:cubicBezTo>
                        <a:pt x="40210" y="55210"/>
                        <a:pt x="39224" y="55513"/>
                        <a:pt x="38238" y="55513"/>
                      </a:cubicBezTo>
                      <a:close/>
                    </a:path>
                  </a:pathLst>
                </a:custGeom>
                <a:solidFill>
                  <a:schemeClr val="accent1"/>
                </a:solidFill>
                <a:ln w="2523" cap="flat">
                  <a:noFill/>
                  <a:prstDash val="solid"/>
                  <a:miter/>
                </a:ln>
              </p:spPr>
              <p:txBody>
                <a:bodyPr rtlCol="0" anchor="ctr"/>
                <a:lstStyle/>
                <a:p>
                  <a:endParaRPr lang="en-GB" dirty="0"/>
                </a:p>
              </p:txBody>
            </p:sp>
          </p:grpSp>
          <p:grpSp>
            <p:nvGrpSpPr>
              <p:cNvPr id="530" name="Grafik 3">
                <a:extLst>
                  <a:ext uri="{FF2B5EF4-FFF2-40B4-BE49-F238E27FC236}">
                    <a16:creationId xmlns:a16="http://schemas.microsoft.com/office/drawing/2014/main" id="{A55CE076-7452-43AD-BC1C-9AE40147BAD0}"/>
                  </a:ext>
                </a:extLst>
              </p:cNvPr>
              <p:cNvGrpSpPr/>
              <p:nvPr/>
            </p:nvGrpSpPr>
            <p:grpSpPr>
              <a:xfrm>
                <a:off x="7052887" y="4524083"/>
                <a:ext cx="65308" cy="71958"/>
                <a:chOff x="7052887" y="4524083"/>
                <a:chExt cx="65308" cy="71958"/>
              </a:xfrm>
              <a:solidFill>
                <a:schemeClr val="accent1"/>
              </a:solidFill>
            </p:grpSpPr>
            <p:sp>
              <p:nvSpPr>
                <p:cNvPr id="531" name="Freihandform: Form 968">
                  <a:extLst>
                    <a:ext uri="{FF2B5EF4-FFF2-40B4-BE49-F238E27FC236}">
                      <a16:creationId xmlns:a16="http://schemas.microsoft.com/office/drawing/2014/main" id="{7C0044B7-DC93-4057-A7F9-D35BF15FD8EE}"/>
                    </a:ext>
                  </a:extLst>
                </p:cNvPr>
                <p:cNvSpPr/>
                <p:nvPr/>
              </p:nvSpPr>
              <p:spPr>
                <a:xfrm>
                  <a:off x="7052887" y="4535494"/>
                  <a:ext cx="34725" cy="60546"/>
                </a:xfrm>
                <a:custGeom>
                  <a:avLst/>
                  <a:gdLst>
                    <a:gd name="connsiteX0" fmla="*/ 29875 w 34725"/>
                    <a:gd name="connsiteY0" fmla="*/ 60547 h 60546"/>
                    <a:gd name="connsiteX1" fmla="*/ 25502 w 34725"/>
                    <a:gd name="connsiteY1" fmla="*/ 57842 h 60546"/>
                    <a:gd name="connsiteX2" fmla="*/ 503 w 34725"/>
                    <a:gd name="connsiteY2" fmla="*/ 7010 h 60546"/>
                    <a:gd name="connsiteX3" fmla="*/ 2727 w 34725"/>
                    <a:gd name="connsiteY3" fmla="*/ 514 h 60546"/>
                    <a:gd name="connsiteX4" fmla="*/ 9224 w 34725"/>
                    <a:gd name="connsiteY4" fmla="*/ 2738 h 60546"/>
                    <a:gd name="connsiteX5" fmla="*/ 34222 w 34725"/>
                    <a:gd name="connsiteY5" fmla="*/ 53570 h 60546"/>
                    <a:gd name="connsiteX6" fmla="*/ 31998 w 34725"/>
                    <a:gd name="connsiteY6" fmla="*/ 60067 h 60546"/>
                    <a:gd name="connsiteX7" fmla="*/ 29875 w 34725"/>
                    <a:gd name="connsiteY7" fmla="*/ 60547 h 6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25" h="60546">
                      <a:moveTo>
                        <a:pt x="29875" y="60547"/>
                      </a:moveTo>
                      <a:cubicBezTo>
                        <a:pt x="28080" y="60547"/>
                        <a:pt x="26361" y="59561"/>
                        <a:pt x="25502" y="57842"/>
                      </a:cubicBezTo>
                      <a:lnTo>
                        <a:pt x="503" y="7010"/>
                      </a:lnTo>
                      <a:cubicBezTo>
                        <a:pt x="-685" y="4609"/>
                        <a:pt x="301" y="1677"/>
                        <a:pt x="2727" y="514"/>
                      </a:cubicBezTo>
                      <a:cubicBezTo>
                        <a:pt x="5154" y="-699"/>
                        <a:pt x="8061" y="312"/>
                        <a:pt x="9224" y="2738"/>
                      </a:cubicBezTo>
                      <a:lnTo>
                        <a:pt x="34222" y="53570"/>
                      </a:lnTo>
                      <a:cubicBezTo>
                        <a:pt x="35411" y="55972"/>
                        <a:pt x="34425" y="58904"/>
                        <a:pt x="31998" y="60067"/>
                      </a:cubicBezTo>
                      <a:cubicBezTo>
                        <a:pt x="31316" y="60395"/>
                        <a:pt x="30583" y="60547"/>
                        <a:pt x="29875" y="60547"/>
                      </a:cubicBezTo>
                      <a:close/>
                    </a:path>
                  </a:pathLst>
                </a:custGeom>
                <a:solidFill>
                  <a:schemeClr val="accent1"/>
                </a:solidFill>
                <a:ln w="2523" cap="flat">
                  <a:noFill/>
                  <a:prstDash val="solid"/>
                  <a:miter/>
                </a:ln>
              </p:spPr>
              <p:txBody>
                <a:bodyPr rtlCol="0" anchor="ctr"/>
                <a:lstStyle/>
                <a:p>
                  <a:endParaRPr lang="en-GB" dirty="0"/>
                </a:p>
              </p:txBody>
            </p:sp>
            <p:sp>
              <p:nvSpPr>
                <p:cNvPr id="532" name="Freihandform: Form 969">
                  <a:extLst>
                    <a:ext uri="{FF2B5EF4-FFF2-40B4-BE49-F238E27FC236}">
                      <a16:creationId xmlns:a16="http://schemas.microsoft.com/office/drawing/2014/main" id="{E3479EBD-169F-4DF6-B3A6-130056A31012}"/>
                    </a:ext>
                  </a:extLst>
                </p:cNvPr>
                <p:cNvSpPr/>
                <p:nvPr/>
              </p:nvSpPr>
              <p:spPr>
                <a:xfrm>
                  <a:off x="7052940" y="4524083"/>
                  <a:ext cx="65255" cy="20899"/>
                </a:xfrm>
                <a:custGeom>
                  <a:avLst/>
                  <a:gdLst>
                    <a:gd name="connsiteX0" fmla="*/ 4848 w 65255"/>
                    <a:gd name="connsiteY0" fmla="*/ 20899 h 20899"/>
                    <a:gd name="connsiteX1" fmla="*/ 96 w 65255"/>
                    <a:gd name="connsiteY1" fmla="*/ 17006 h 20899"/>
                    <a:gd name="connsiteX2" fmla="*/ 3888 w 65255"/>
                    <a:gd name="connsiteY2" fmla="*/ 11268 h 20899"/>
                    <a:gd name="connsiteX3" fmla="*/ 59421 w 65255"/>
                    <a:gd name="connsiteY3" fmla="*/ 96 h 20899"/>
                    <a:gd name="connsiteX4" fmla="*/ 65159 w 65255"/>
                    <a:gd name="connsiteY4" fmla="*/ 3888 h 20899"/>
                    <a:gd name="connsiteX5" fmla="*/ 61368 w 65255"/>
                    <a:gd name="connsiteY5" fmla="*/ 9626 h 20899"/>
                    <a:gd name="connsiteX6" fmla="*/ 5834 w 65255"/>
                    <a:gd name="connsiteY6" fmla="*/ 20798 h 20899"/>
                    <a:gd name="connsiteX7" fmla="*/ 4848 w 65255"/>
                    <a:gd name="connsiteY7" fmla="*/ 20899 h 2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255" h="20899">
                      <a:moveTo>
                        <a:pt x="4848" y="20899"/>
                      </a:moveTo>
                      <a:cubicBezTo>
                        <a:pt x="2573" y="20899"/>
                        <a:pt x="551" y="19307"/>
                        <a:pt x="96" y="17006"/>
                      </a:cubicBezTo>
                      <a:cubicBezTo>
                        <a:pt x="-435" y="14378"/>
                        <a:pt x="1284" y="11800"/>
                        <a:pt x="3888" y="11268"/>
                      </a:cubicBezTo>
                      <a:lnTo>
                        <a:pt x="59421" y="96"/>
                      </a:lnTo>
                      <a:cubicBezTo>
                        <a:pt x="62101" y="-434"/>
                        <a:pt x="64603" y="1284"/>
                        <a:pt x="65159" y="3888"/>
                      </a:cubicBezTo>
                      <a:cubicBezTo>
                        <a:pt x="65690" y="6517"/>
                        <a:pt x="63971" y="9095"/>
                        <a:pt x="61368" y="9626"/>
                      </a:cubicBezTo>
                      <a:lnTo>
                        <a:pt x="5834" y="20798"/>
                      </a:lnTo>
                      <a:cubicBezTo>
                        <a:pt x="5480" y="20874"/>
                        <a:pt x="5152" y="20899"/>
                        <a:pt x="4848" y="20899"/>
                      </a:cubicBezTo>
                      <a:close/>
                    </a:path>
                  </a:pathLst>
                </a:custGeom>
                <a:solidFill>
                  <a:schemeClr val="accent1"/>
                </a:solidFill>
                <a:ln w="2523" cap="flat">
                  <a:noFill/>
                  <a:prstDash val="solid"/>
                  <a:miter/>
                </a:ln>
              </p:spPr>
              <p:txBody>
                <a:bodyPr rtlCol="0" anchor="ctr"/>
                <a:lstStyle/>
                <a:p>
                  <a:endParaRPr lang="en-GB" dirty="0"/>
                </a:p>
              </p:txBody>
            </p:sp>
          </p:grpSp>
        </p:grpSp>
      </p:grpSp>
      <p:grpSp>
        <p:nvGrpSpPr>
          <p:cNvPr id="535" name="Group 534">
            <a:extLst>
              <a:ext uri="{FF2B5EF4-FFF2-40B4-BE49-F238E27FC236}">
                <a16:creationId xmlns:a16="http://schemas.microsoft.com/office/drawing/2014/main" id="{77AED2D4-C279-4F1E-AF57-2EB2F7A0C4CA}"/>
              </a:ext>
            </a:extLst>
          </p:cNvPr>
          <p:cNvGrpSpPr>
            <a:grpSpLocks noChangeAspect="1"/>
          </p:cNvGrpSpPr>
          <p:nvPr/>
        </p:nvGrpSpPr>
        <p:grpSpPr>
          <a:xfrm>
            <a:off x="7132265" y="4002613"/>
            <a:ext cx="334541" cy="432004"/>
            <a:chOff x="1791216" y="1629567"/>
            <a:chExt cx="355007" cy="458431"/>
          </a:xfrm>
        </p:grpSpPr>
        <p:grpSp>
          <p:nvGrpSpPr>
            <p:cNvPr id="536" name="Group 535">
              <a:extLst>
                <a:ext uri="{FF2B5EF4-FFF2-40B4-BE49-F238E27FC236}">
                  <a16:creationId xmlns:a16="http://schemas.microsoft.com/office/drawing/2014/main" id="{1157F4A6-92F5-4660-A48E-0ED48E61FA44}"/>
                </a:ext>
              </a:extLst>
            </p:cNvPr>
            <p:cNvGrpSpPr/>
            <p:nvPr/>
          </p:nvGrpSpPr>
          <p:grpSpPr>
            <a:xfrm>
              <a:off x="1791216" y="1629567"/>
              <a:ext cx="287698" cy="343960"/>
              <a:chOff x="1791214" y="1629570"/>
              <a:chExt cx="287698" cy="343961"/>
            </a:xfrm>
          </p:grpSpPr>
          <p:sp>
            <p:nvSpPr>
              <p:cNvPr id="540" name="Freihandform: Form 510">
                <a:extLst>
                  <a:ext uri="{FF2B5EF4-FFF2-40B4-BE49-F238E27FC236}">
                    <a16:creationId xmlns:a16="http://schemas.microsoft.com/office/drawing/2014/main" id="{065EA305-4EC6-494D-8488-EF3486273FD9}"/>
                  </a:ext>
                </a:extLst>
              </p:cNvPr>
              <p:cNvSpPr/>
              <p:nvPr/>
            </p:nvSpPr>
            <p:spPr>
              <a:xfrm>
                <a:off x="1844654" y="1912562"/>
                <a:ext cx="9999" cy="60969"/>
              </a:xfrm>
              <a:custGeom>
                <a:avLst/>
                <a:gdLst>
                  <a:gd name="connsiteX0" fmla="*/ 5000 w 9999"/>
                  <a:gd name="connsiteY0" fmla="*/ 60969 h 60969"/>
                  <a:gd name="connsiteX1" fmla="*/ 0 w 9999"/>
                  <a:gd name="connsiteY1" fmla="*/ 55969 h 60969"/>
                  <a:gd name="connsiteX2" fmla="*/ 0 w 9999"/>
                  <a:gd name="connsiteY2" fmla="*/ 5000 h 60969"/>
                  <a:gd name="connsiteX3" fmla="*/ 5000 w 9999"/>
                  <a:gd name="connsiteY3" fmla="*/ 0 h 60969"/>
                  <a:gd name="connsiteX4" fmla="*/ 10000 w 9999"/>
                  <a:gd name="connsiteY4" fmla="*/ 5000 h 60969"/>
                  <a:gd name="connsiteX5" fmla="*/ 10000 w 9999"/>
                  <a:gd name="connsiteY5" fmla="*/ 55969 h 60969"/>
                  <a:gd name="connsiteX6" fmla="*/ 5000 w 9999"/>
                  <a:gd name="connsiteY6" fmla="*/ 60969 h 6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9" h="60969">
                    <a:moveTo>
                      <a:pt x="5000" y="60969"/>
                    </a:moveTo>
                    <a:cubicBezTo>
                      <a:pt x="2235" y="60969"/>
                      <a:pt x="0" y="58734"/>
                      <a:pt x="0" y="55969"/>
                    </a:cubicBezTo>
                    <a:lnTo>
                      <a:pt x="0" y="5000"/>
                    </a:lnTo>
                    <a:cubicBezTo>
                      <a:pt x="0" y="2235"/>
                      <a:pt x="2235" y="0"/>
                      <a:pt x="5000" y="0"/>
                    </a:cubicBezTo>
                    <a:cubicBezTo>
                      <a:pt x="7765" y="0"/>
                      <a:pt x="10000" y="2235"/>
                      <a:pt x="10000" y="5000"/>
                    </a:cubicBezTo>
                    <a:lnTo>
                      <a:pt x="10000" y="55969"/>
                    </a:lnTo>
                    <a:cubicBezTo>
                      <a:pt x="9970" y="58734"/>
                      <a:pt x="7735" y="60969"/>
                      <a:pt x="5000" y="60969"/>
                    </a:cubicBezTo>
                    <a:close/>
                  </a:path>
                </a:pathLst>
              </a:custGeom>
              <a:solidFill>
                <a:schemeClr val="tx2"/>
              </a:solidFill>
              <a:ln w="2933" cap="flat">
                <a:noFill/>
                <a:prstDash val="solid"/>
                <a:miter/>
              </a:ln>
            </p:spPr>
            <p:txBody>
              <a:bodyPr rtlCol="0" anchor="ctr"/>
              <a:lstStyle/>
              <a:p>
                <a:endParaRPr lang="en-GB" dirty="0"/>
              </a:p>
            </p:txBody>
          </p:sp>
          <p:sp>
            <p:nvSpPr>
              <p:cNvPr id="541" name="Freihandform: Form 511">
                <a:extLst>
                  <a:ext uri="{FF2B5EF4-FFF2-40B4-BE49-F238E27FC236}">
                    <a16:creationId xmlns:a16="http://schemas.microsoft.com/office/drawing/2014/main" id="{0D6A0147-A1E5-4268-A076-879007AC2D2B}"/>
                  </a:ext>
                </a:extLst>
              </p:cNvPr>
              <p:cNvSpPr/>
              <p:nvPr/>
            </p:nvSpPr>
            <p:spPr>
              <a:xfrm>
                <a:off x="1791214" y="1806418"/>
                <a:ext cx="116438" cy="167113"/>
              </a:xfrm>
              <a:custGeom>
                <a:avLst/>
                <a:gdLst>
                  <a:gd name="connsiteX0" fmla="*/ 5000 w 116438"/>
                  <a:gd name="connsiteY0" fmla="*/ 167113 h 167113"/>
                  <a:gd name="connsiteX1" fmla="*/ 0 w 116438"/>
                  <a:gd name="connsiteY1" fmla="*/ 162114 h 167113"/>
                  <a:gd name="connsiteX2" fmla="*/ 0 w 116438"/>
                  <a:gd name="connsiteY2" fmla="*/ 60851 h 167113"/>
                  <a:gd name="connsiteX3" fmla="*/ 54852 w 116438"/>
                  <a:gd name="connsiteY3" fmla="*/ 13117 h 167113"/>
                  <a:gd name="connsiteX4" fmla="*/ 95880 w 116438"/>
                  <a:gd name="connsiteY4" fmla="*/ 13117 h 167113"/>
                  <a:gd name="connsiteX5" fmla="*/ 106439 w 116438"/>
                  <a:gd name="connsiteY5" fmla="*/ 4912 h 167113"/>
                  <a:gd name="connsiteX6" fmla="*/ 111527 w 116438"/>
                  <a:gd name="connsiteY6" fmla="*/ 0 h 167113"/>
                  <a:gd name="connsiteX7" fmla="*/ 116438 w 116438"/>
                  <a:gd name="connsiteY7" fmla="*/ 5088 h 167113"/>
                  <a:gd name="connsiteX8" fmla="*/ 96409 w 116438"/>
                  <a:gd name="connsiteY8" fmla="*/ 23088 h 167113"/>
                  <a:gd name="connsiteX9" fmla="*/ 54852 w 116438"/>
                  <a:gd name="connsiteY9" fmla="*/ 23117 h 167113"/>
                  <a:gd name="connsiteX10" fmla="*/ 10000 w 116438"/>
                  <a:gd name="connsiteY10" fmla="*/ 60851 h 167113"/>
                  <a:gd name="connsiteX11" fmla="*/ 10000 w 116438"/>
                  <a:gd name="connsiteY11" fmla="*/ 162114 h 167113"/>
                  <a:gd name="connsiteX12" fmla="*/ 5000 w 116438"/>
                  <a:gd name="connsiteY12" fmla="*/ 167113 h 167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438" h="167113">
                    <a:moveTo>
                      <a:pt x="5000" y="167113"/>
                    </a:moveTo>
                    <a:cubicBezTo>
                      <a:pt x="2235" y="167113"/>
                      <a:pt x="0" y="164878"/>
                      <a:pt x="0" y="162114"/>
                    </a:cubicBezTo>
                    <a:lnTo>
                      <a:pt x="0" y="60851"/>
                    </a:lnTo>
                    <a:cubicBezTo>
                      <a:pt x="0" y="23088"/>
                      <a:pt x="35881" y="13117"/>
                      <a:pt x="54852" y="13117"/>
                    </a:cubicBezTo>
                    <a:lnTo>
                      <a:pt x="95880" y="13117"/>
                    </a:lnTo>
                    <a:cubicBezTo>
                      <a:pt x="95733" y="13088"/>
                      <a:pt x="106321" y="11794"/>
                      <a:pt x="106439" y="4912"/>
                    </a:cubicBezTo>
                    <a:cubicBezTo>
                      <a:pt x="106497" y="2147"/>
                      <a:pt x="108439" y="29"/>
                      <a:pt x="111527" y="0"/>
                    </a:cubicBezTo>
                    <a:cubicBezTo>
                      <a:pt x="114291" y="59"/>
                      <a:pt x="116468" y="2323"/>
                      <a:pt x="116438" y="5088"/>
                    </a:cubicBezTo>
                    <a:cubicBezTo>
                      <a:pt x="116232" y="17764"/>
                      <a:pt x="103262" y="22411"/>
                      <a:pt x="96409" y="23088"/>
                    </a:cubicBezTo>
                    <a:lnTo>
                      <a:pt x="54852" y="23117"/>
                    </a:lnTo>
                    <a:cubicBezTo>
                      <a:pt x="53028" y="23117"/>
                      <a:pt x="10000" y="23676"/>
                      <a:pt x="10000" y="60851"/>
                    </a:cubicBezTo>
                    <a:lnTo>
                      <a:pt x="10000" y="162114"/>
                    </a:lnTo>
                    <a:cubicBezTo>
                      <a:pt x="10000" y="164878"/>
                      <a:pt x="7765" y="167113"/>
                      <a:pt x="5000" y="167113"/>
                    </a:cubicBezTo>
                    <a:close/>
                  </a:path>
                </a:pathLst>
              </a:custGeom>
              <a:solidFill>
                <a:schemeClr val="tx2"/>
              </a:solidFill>
              <a:ln w="2933" cap="flat">
                <a:noFill/>
                <a:prstDash val="solid"/>
                <a:miter/>
              </a:ln>
            </p:spPr>
            <p:txBody>
              <a:bodyPr rtlCol="0" anchor="ctr"/>
              <a:lstStyle/>
              <a:p>
                <a:endParaRPr lang="en-GB" dirty="0"/>
              </a:p>
            </p:txBody>
          </p:sp>
          <p:sp>
            <p:nvSpPr>
              <p:cNvPr id="542" name="Freihandform: Form 514">
                <a:extLst>
                  <a:ext uri="{FF2B5EF4-FFF2-40B4-BE49-F238E27FC236}">
                    <a16:creationId xmlns:a16="http://schemas.microsoft.com/office/drawing/2014/main" id="{6BBEB769-DE28-403E-BB79-BCD9E3D91BE9}"/>
                  </a:ext>
                </a:extLst>
              </p:cNvPr>
              <p:cNvSpPr/>
              <p:nvPr/>
            </p:nvSpPr>
            <p:spPr>
              <a:xfrm>
                <a:off x="1965827" y="1806447"/>
                <a:ext cx="113085" cy="82145"/>
              </a:xfrm>
              <a:custGeom>
                <a:avLst/>
                <a:gdLst>
                  <a:gd name="connsiteX0" fmla="*/ 108056 w 113085"/>
                  <a:gd name="connsiteY0" fmla="*/ 82145 h 82145"/>
                  <a:gd name="connsiteX1" fmla="*/ 103056 w 113085"/>
                  <a:gd name="connsiteY1" fmla="*/ 77145 h 82145"/>
                  <a:gd name="connsiteX2" fmla="*/ 103056 w 113085"/>
                  <a:gd name="connsiteY2" fmla="*/ 60822 h 82145"/>
                  <a:gd name="connsiteX3" fmla="*/ 58205 w 113085"/>
                  <a:gd name="connsiteY3" fmla="*/ 23088 h 82145"/>
                  <a:gd name="connsiteX4" fmla="*/ 17176 w 113085"/>
                  <a:gd name="connsiteY4" fmla="*/ 23088 h 82145"/>
                  <a:gd name="connsiteX5" fmla="*/ 5147 w 113085"/>
                  <a:gd name="connsiteY5" fmla="*/ 18441 h 82145"/>
                  <a:gd name="connsiteX6" fmla="*/ 0 w 113085"/>
                  <a:gd name="connsiteY6" fmla="*/ 5029 h 82145"/>
                  <a:gd name="connsiteX7" fmla="*/ 4971 w 113085"/>
                  <a:gd name="connsiteY7" fmla="*/ 0 h 82145"/>
                  <a:gd name="connsiteX8" fmla="*/ 5000 w 113085"/>
                  <a:gd name="connsiteY8" fmla="*/ 0 h 82145"/>
                  <a:gd name="connsiteX9" fmla="*/ 10000 w 113085"/>
                  <a:gd name="connsiteY9" fmla="*/ 4970 h 82145"/>
                  <a:gd name="connsiteX10" fmla="*/ 12088 w 113085"/>
                  <a:gd name="connsiteY10" fmla="*/ 11235 h 82145"/>
                  <a:gd name="connsiteX11" fmla="*/ 17029 w 113085"/>
                  <a:gd name="connsiteY11" fmla="*/ 13117 h 82145"/>
                  <a:gd name="connsiteX12" fmla="*/ 58234 w 113085"/>
                  <a:gd name="connsiteY12" fmla="*/ 13117 h 82145"/>
                  <a:gd name="connsiteX13" fmla="*/ 113086 w 113085"/>
                  <a:gd name="connsiteY13" fmla="*/ 60851 h 82145"/>
                  <a:gd name="connsiteX14" fmla="*/ 113086 w 113085"/>
                  <a:gd name="connsiteY14" fmla="*/ 77175 h 82145"/>
                  <a:gd name="connsiteX15" fmla="*/ 108056 w 113085"/>
                  <a:gd name="connsiteY15" fmla="*/ 82145 h 82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3085" h="82145">
                    <a:moveTo>
                      <a:pt x="108056" y="82145"/>
                    </a:moveTo>
                    <a:cubicBezTo>
                      <a:pt x="105292" y="82145"/>
                      <a:pt x="103056" y="79910"/>
                      <a:pt x="103056" y="77145"/>
                    </a:cubicBezTo>
                    <a:lnTo>
                      <a:pt x="103056" y="60822"/>
                    </a:lnTo>
                    <a:cubicBezTo>
                      <a:pt x="103056" y="23499"/>
                      <a:pt x="60028" y="23088"/>
                      <a:pt x="58205" y="23088"/>
                    </a:cubicBezTo>
                    <a:lnTo>
                      <a:pt x="17176" y="23088"/>
                    </a:lnTo>
                    <a:cubicBezTo>
                      <a:pt x="16618" y="23088"/>
                      <a:pt x="10118" y="23205"/>
                      <a:pt x="5147" y="18441"/>
                    </a:cubicBezTo>
                    <a:cubicBezTo>
                      <a:pt x="1765" y="15205"/>
                      <a:pt x="30" y="10676"/>
                      <a:pt x="0" y="5029"/>
                    </a:cubicBezTo>
                    <a:cubicBezTo>
                      <a:pt x="-29" y="2265"/>
                      <a:pt x="2206" y="29"/>
                      <a:pt x="4971" y="0"/>
                    </a:cubicBezTo>
                    <a:cubicBezTo>
                      <a:pt x="4971" y="0"/>
                      <a:pt x="5000" y="0"/>
                      <a:pt x="5000" y="0"/>
                    </a:cubicBezTo>
                    <a:cubicBezTo>
                      <a:pt x="7735" y="0"/>
                      <a:pt x="9971" y="2206"/>
                      <a:pt x="10000" y="4970"/>
                    </a:cubicBezTo>
                    <a:cubicBezTo>
                      <a:pt x="10029" y="7823"/>
                      <a:pt x="10706" y="9941"/>
                      <a:pt x="12088" y="11235"/>
                    </a:cubicBezTo>
                    <a:cubicBezTo>
                      <a:pt x="14059" y="13117"/>
                      <a:pt x="17029" y="13088"/>
                      <a:pt x="17029" y="13117"/>
                    </a:cubicBezTo>
                    <a:lnTo>
                      <a:pt x="58234" y="13117"/>
                    </a:lnTo>
                    <a:cubicBezTo>
                      <a:pt x="77204" y="13117"/>
                      <a:pt x="113086" y="23088"/>
                      <a:pt x="113086" y="60851"/>
                    </a:cubicBezTo>
                    <a:lnTo>
                      <a:pt x="113086" y="77175"/>
                    </a:lnTo>
                    <a:cubicBezTo>
                      <a:pt x="113056" y="79910"/>
                      <a:pt x="110821" y="82145"/>
                      <a:pt x="108056" y="82145"/>
                    </a:cubicBezTo>
                    <a:close/>
                  </a:path>
                </a:pathLst>
              </a:custGeom>
              <a:solidFill>
                <a:schemeClr val="tx2"/>
              </a:solidFill>
              <a:ln w="2933" cap="flat">
                <a:noFill/>
                <a:prstDash val="solid"/>
                <a:miter/>
              </a:ln>
            </p:spPr>
            <p:txBody>
              <a:bodyPr rtlCol="0" anchor="ctr"/>
              <a:lstStyle/>
              <a:p>
                <a:endParaRPr lang="en-GB" dirty="0"/>
              </a:p>
            </p:txBody>
          </p:sp>
          <p:sp>
            <p:nvSpPr>
              <p:cNvPr id="543" name="Freihandform: Form 515">
                <a:extLst>
                  <a:ext uri="{FF2B5EF4-FFF2-40B4-BE49-F238E27FC236}">
                    <a16:creationId xmlns:a16="http://schemas.microsoft.com/office/drawing/2014/main" id="{56793C77-B3CB-4249-A232-37CC6116684C}"/>
                  </a:ext>
                </a:extLst>
              </p:cNvPr>
              <p:cNvSpPr/>
              <p:nvPr/>
            </p:nvSpPr>
            <p:spPr>
              <a:xfrm>
                <a:off x="1860124" y="1629570"/>
                <a:ext cx="149849" cy="168525"/>
              </a:xfrm>
              <a:custGeom>
                <a:avLst/>
                <a:gdLst>
                  <a:gd name="connsiteX0" fmla="*/ 74910 w 149849"/>
                  <a:gd name="connsiteY0" fmla="*/ 168525 h 168525"/>
                  <a:gd name="connsiteX1" fmla="*/ 0 w 149849"/>
                  <a:gd name="connsiteY1" fmla="*/ 84263 h 168525"/>
                  <a:gd name="connsiteX2" fmla="*/ 74910 w 149849"/>
                  <a:gd name="connsiteY2" fmla="*/ 0 h 168525"/>
                  <a:gd name="connsiteX3" fmla="*/ 149849 w 149849"/>
                  <a:gd name="connsiteY3" fmla="*/ 84263 h 168525"/>
                  <a:gd name="connsiteX4" fmla="*/ 74910 w 149849"/>
                  <a:gd name="connsiteY4" fmla="*/ 168525 h 168525"/>
                  <a:gd name="connsiteX5" fmla="*/ 74910 w 149849"/>
                  <a:gd name="connsiteY5" fmla="*/ 10000 h 168525"/>
                  <a:gd name="connsiteX6" fmla="*/ 10000 w 149849"/>
                  <a:gd name="connsiteY6" fmla="*/ 84263 h 168525"/>
                  <a:gd name="connsiteX7" fmla="*/ 74910 w 149849"/>
                  <a:gd name="connsiteY7" fmla="*/ 158525 h 168525"/>
                  <a:gd name="connsiteX8" fmla="*/ 139849 w 149849"/>
                  <a:gd name="connsiteY8" fmla="*/ 84263 h 168525"/>
                  <a:gd name="connsiteX9" fmla="*/ 74910 w 149849"/>
                  <a:gd name="connsiteY9" fmla="*/ 10000 h 168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9849" h="168525">
                    <a:moveTo>
                      <a:pt x="74910" y="168525"/>
                    </a:moveTo>
                    <a:cubicBezTo>
                      <a:pt x="33617" y="168525"/>
                      <a:pt x="0" y="130732"/>
                      <a:pt x="0" y="84263"/>
                    </a:cubicBezTo>
                    <a:cubicBezTo>
                      <a:pt x="0" y="37793"/>
                      <a:pt x="33617" y="0"/>
                      <a:pt x="74910" y="0"/>
                    </a:cubicBezTo>
                    <a:cubicBezTo>
                      <a:pt x="116232" y="0"/>
                      <a:pt x="149849" y="37793"/>
                      <a:pt x="149849" y="84263"/>
                    </a:cubicBezTo>
                    <a:cubicBezTo>
                      <a:pt x="149849" y="130703"/>
                      <a:pt x="116232" y="168525"/>
                      <a:pt x="74910" y="168525"/>
                    </a:cubicBezTo>
                    <a:close/>
                    <a:moveTo>
                      <a:pt x="74910" y="10000"/>
                    </a:moveTo>
                    <a:cubicBezTo>
                      <a:pt x="39117" y="10000"/>
                      <a:pt x="10000" y="43322"/>
                      <a:pt x="10000" y="84263"/>
                    </a:cubicBezTo>
                    <a:cubicBezTo>
                      <a:pt x="10000" y="125203"/>
                      <a:pt x="39117" y="158525"/>
                      <a:pt x="74910" y="158525"/>
                    </a:cubicBezTo>
                    <a:cubicBezTo>
                      <a:pt x="110733" y="158525"/>
                      <a:pt x="139849" y="125203"/>
                      <a:pt x="139849" y="84263"/>
                    </a:cubicBezTo>
                    <a:cubicBezTo>
                      <a:pt x="139879" y="43293"/>
                      <a:pt x="110733" y="10000"/>
                      <a:pt x="74910" y="10000"/>
                    </a:cubicBezTo>
                    <a:close/>
                  </a:path>
                </a:pathLst>
              </a:custGeom>
              <a:solidFill>
                <a:schemeClr val="tx2"/>
              </a:solidFill>
              <a:ln w="2933" cap="flat">
                <a:noFill/>
                <a:prstDash val="solid"/>
                <a:miter/>
              </a:ln>
            </p:spPr>
            <p:txBody>
              <a:bodyPr rtlCol="0" anchor="ctr"/>
              <a:lstStyle/>
              <a:p>
                <a:endParaRPr lang="en-GB" dirty="0"/>
              </a:p>
            </p:txBody>
          </p:sp>
        </p:grpSp>
        <p:grpSp>
          <p:nvGrpSpPr>
            <p:cNvPr id="537" name="Group 536">
              <a:extLst>
                <a:ext uri="{FF2B5EF4-FFF2-40B4-BE49-F238E27FC236}">
                  <a16:creationId xmlns:a16="http://schemas.microsoft.com/office/drawing/2014/main" id="{26F2BCDD-157A-4DD9-92D4-33505EC4DE86}"/>
                </a:ext>
              </a:extLst>
            </p:cNvPr>
            <p:cNvGrpSpPr/>
            <p:nvPr/>
          </p:nvGrpSpPr>
          <p:grpSpPr>
            <a:xfrm>
              <a:off x="1947976" y="1888995"/>
              <a:ext cx="198247" cy="199003"/>
              <a:chOff x="1947976" y="1888995"/>
              <a:chExt cx="198247" cy="199003"/>
            </a:xfrm>
          </p:grpSpPr>
          <p:sp>
            <p:nvSpPr>
              <p:cNvPr id="538" name="Freihandform: Form 517">
                <a:extLst>
                  <a:ext uri="{FF2B5EF4-FFF2-40B4-BE49-F238E27FC236}">
                    <a16:creationId xmlns:a16="http://schemas.microsoft.com/office/drawing/2014/main" id="{D5C3E461-15A0-4E6B-844E-D9488FA82AD7}"/>
                  </a:ext>
                </a:extLst>
              </p:cNvPr>
              <p:cNvSpPr/>
              <p:nvPr/>
            </p:nvSpPr>
            <p:spPr>
              <a:xfrm>
                <a:off x="1947976" y="1888995"/>
                <a:ext cx="198247" cy="199003"/>
              </a:xfrm>
              <a:custGeom>
                <a:avLst/>
                <a:gdLst>
                  <a:gd name="connsiteX0" fmla="*/ 99172 w 198247"/>
                  <a:gd name="connsiteY0" fmla="*/ 199004 h 199003"/>
                  <a:gd name="connsiteX1" fmla="*/ 92937 w 198247"/>
                  <a:gd name="connsiteY1" fmla="*/ 197033 h 199003"/>
                  <a:gd name="connsiteX2" fmla="*/ 233 w 198247"/>
                  <a:gd name="connsiteY2" fmla="*/ 46949 h 199003"/>
                  <a:gd name="connsiteX3" fmla="*/ 1263 w 198247"/>
                  <a:gd name="connsiteY3" fmla="*/ 40243 h 199003"/>
                  <a:gd name="connsiteX4" fmla="*/ 6586 w 198247"/>
                  <a:gd name="connsiteY4" fmla="*/ 37243 h 199003"/>
                  <a:gd name="connsiteX5" fmla="*/ 31321 w 198247"/>
                  <a:gd name="connsiteY5" fmla="*/ 32743 h 199003"/>
                  <a:gd name="connsiteX6" fmla="*/ 33233 w 198247"/>
                  <a:gd name="connsiteY6" fmla="*/ 28155 h 199003"/>
                  <a:gd name="connsiteX7" fmla="*/ 39056 w 198247"/>
                  <a:gd name="connsiteY7" fmla="*/ 22891 h 199003"/>
                  <a:gd name="connsiteX8" fmla="*/ 65438 w 198247"/>
                  <a:gd name="connsiteY8" fmla="*/ 12626 h 199003"/>
                  <a:gd name="connsiteX9" fmla="*/ 94319 w 198247"/>
                  <a:gd name="connsiteY9" fmla="*/ 1068 h 199003"/>
                  <a:gd name="connsiteX10" fmla="*/ 99113 w 198247"/>
                  <a:gd name="connsiteY10" fmla="*/ 9 h 199003"/>
                  <a:gd name="connsiteX11" fmla="*/ 103966 w 198247"/>
                  <a:gd name="connsiteY11" fmla="*/ 1126 h 199003"/>
                  <a:gd name="connsiteX12" fmla="*/ 132760 w 198247"/>
                  <a:gd name="connsiteY12" fmla="*/ 12656 h 199003"/>
                  <a:gd name="connsiteX13" fmla="*/ 159141 w 198247"/>
                  <a:gd name="connsiteY13" fmla="*/ 22920 h 199003"/>
                  <a:gd name="connsiteX14" fmla="*/ 164847 w 198247"/>
                  <a:gd name="connsiteY14" fmla="*/ 28067 h 199003"/>
                  <a:gd name="connsiteX15" fmla="*/ 165171 w 198247"/>
                  <a:gd name="connsiteY15" fmla="*/ 28861 h 199003"/>
                  <a:gd name="connsiteX16" fmla="*/ 166818 w 198247"/>
                  <a:gd name="connsiteY16" fmla="*/ 32773 h 199003"/>
                  <a:gd name="connsiteX17" fmla="*/ 169229 w 198247"/>
                  <a:gd name="connsiteY17" fmla="*/ 33214 h 199003"/>
                  <a:gd name="connsiteX18" fmla="*/ 191611 w 198247"/>
                  <a:gd name="connsiteY18" fmla="*/ 37273 h 199003"/>
                  <a:gd name="connsiteX19" fmla="*/ 196905 w 198247"/>
                  <a:gd name="connsiteY19" fmla="*/ 40214 h 199003"/>
                  <a:gd name="connsiteX20" fmla="*/ 198082 w 198247"/>
                  <a:gd name="connsiteY20" fmla="*/ 46419 h 199003"/>
                  <a:gd name="connsiteX21" fmla="*/ 197964 w 198247"/>
                  <a:gd name="connsiteY21" fmla="*/ 47066 h 199003"/>
                  <a:gd name="connsiteX22" fmla="*/ 105290 w 198247"/>
                  <a:gd name="connsiteY22" fmla="*/ 197004 h 199003"/>
                  <a:gd name="connsiteX23" fmla="*/ 99260 w 198247"/>
                  <a:gd name="connsiteY23" fmla="*/ 198974 h 199003"/>
                  <a:gd name="connsiteX24" fmla="*/ 99172 w 198247"/>
                  <a:gd name="connsiteY24" fmla="*/ 199004 h 199003"/>
                  <a:gd name="connsiteX25" fmla="*/ 10351 w 198247"/>
                  <a:gd name="connsiteY25" fmla="*/ 46743 h 199003"/>
                  <a:gd name="connsiteX26" fmla="*/ 98555 w 198247"/>
                  <a:gd name="connsiteY26" fmla="*/ 188769 h 199003"/>
                  <a:gd name="connsiteX27" fmla="*/ 99584 w 198247"/>
                  <a:gd name="connsiteY27" fmla="*/ 189004 h 199003"/>
                  <a:gd name="connsiteX28" fmla="*/ 187935 w 198247"/>
                  <a:gd name="connsiteY28" fmla="*/ 46743 h 199003"/>
                  <a:gd name="connsiteX29" fmla="*/ 167494 w 198247"/>
                  <a:gd name="connsiteY29" fmla="*/ 43008 h 199003"/>
                  <a:gd name="connsiteX30" fmla="*/ 164582 w 198247"/>
                  <a:gd name="connsiteY30" fmla="*/ 42478 h 199003"/>
                  <a:gd name="connsiteX31" fmla="*/ 157935 w 198247"/>
                  <a:gd name="connsiteY31" fmla="*/ 37184 h 199003"/>
                  <a:gd name="connsiteX32" fmla="*/ 155965 w 198247"/>
                  <a:gd name="connsiteY32" fmla="*/ 32508 h 199003"/>
                  <a:gd name="connsiteX33" fmla="*/ 155877 w 198247"/>
                  <a:gd name="connsiteY33" fmla="*/ 32302 h 199003"/>
                  <a:gd name="connsiteX34" fmla="*/ 155818 w 198247"/>
                  <a:gd name="connsiteY34" fmla="*/ 32273 h 199003"/>
                  <a:gd name="connsiteX35" fmla="*/ 129142 w 198247"/>
                  <a:gd name="connsiteY35" fmla="*/ 21891 h 199003"/>
                  <a:gd name="connsiteX36" fmla="*/ 100202 w 198247"/>
                  <a:gd name="connsiteY36" fmla="*/ 10303 h 199003"/>
                  <a:gd name="connsiteX37" fmla="*/ 99231 w 198247"/>
                  <a:gd name="connsiteY37" fmla="*/ 9950 h 199003"/>
                  <a:gd name="connsiteX38" fmla="*/ 98231 w 198247"/>
                  <a:gd name="connsiteY38" fmla="*/ 10244 h 199003"/>
                  <a:gd name="connsiteX39" fmla="*/ 69173 w 198247"/>
                  <a:gd name="connsiteY39" fmla="*/ 21861 h 199003"/>
                  <a:gd name="connsiteX40" fmla="*/ 42497 w 198247"/>
                  <a:gd name="connsiteY40" fmla="*/ 32243 h 199003"/>
                  <a:gd name="connsiteX41" fmla="*/ 42409 w 198247"/>
                  <a:gd name="connsiteY41" fmla="*/ 32273 h 199003"/>
                  <a:gd name="connsiteX42" fmla="*/ 40321 w 198247"/>
                  <a:gd name="connsiteY42" fmla="*/ 37184 h 199003"/>
                  <a:gd name="connsiteX43" fmla="*/ 33674 w 198247"/>
                  <a:gd name="connsiteY43" fmla="*/ 42449 h 199003"/>
                  <a:gd name="connsiteX44" fmla="*/ 10351 w 198247"/>
                  <a:gd name="connsiteY44" fmla="*/ 46743 h 199003"/>
                  <a:gd name="connsiteX45" fmla="*/ 190111 w 198247"/>
                  <a:gd name="connsiteY45" fmla="*/ 47125 h 199003"/>
                  <a:gd name="connsiteX46" fmla="*/ 190258 w 198247"/>
                  <a:gd name="connsiteY46" fmla="*/ 47155 h 199003"/>
                  <a:gd name="connsiteX47" fmla="*/ 190905 w 198247"/>
                  <a:gd name="connsiteY47" fmla="*/ 42214 h 199003"/>
                  <a:gd name="connsiteX48" fmla="*/ 190111 w 198247"/>
                  <a:gd name="connsiteY48" fmla="*/ 47125 h 199003"/>
                  <a:gd name="connsiteX49" fmla="*/ 132789 w 198247"/>
                  <a:gd name="connsiteY49" fmla="*/ 12656 h 199003"/>
                  <a:gd name="connsiteX50" fmla="*/ 132848 w 198247"/>
                  <a:gd name="connsiteY50" fmla="*/ 12656 h 199003"/>
                  <a:gd name="connsiteX51" fmla="*/ 132789 w 198247"/>
                  <a:gd name="connsiteY51" fmla="*/ 12656 h 199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98247" h="199003">
                    <a:moveTo>
                      <a:pt x="99172" y="199004"/>
                    </a:moveTo>
                    <a:cubicBezTo>
                      <a:pt x="96819" y="198974"/>
                      <a:pt x="94937" y="198386"/>
                      <a:pt x="92937" y="197033"/>
                    </a:cubicBezTo>
                    <a:cubicBezTo>
                      <a:pt x="24351" y="150299"/>
                      <a:pt x="5263" y="76507"/>
                      <a:pt x="233" y="46949"/>
                    </a:cubicBezTo>
                    <a:cubicBezTo>
                      <a:pt x="-296" y="44008"/>
                      <a:pt x="86" y="41890"/>
                      <a:pt x="1263" y="40243"/>
                    </a:cubicBezTo>
                    <a:cubicBezTo>
                      <a:pt x="2439" y="38625"/>
                      <a:pt x="4233" y="37596"/>
                      <a:pt x="6586" y="37243"/>
                    </a:cubicBezTo>
                    <a:cubicBezTo>
                      <a:pt x="7822" y="37037"/>
                      <a:pt x="24703" y="33949"/>
                      <a:pt x="31321" y="32743"/>
                    </a:cubicBezTo>
                    <a:cubicBezTo>
                      <a:pt x="32233" y="30773"/>
                      <a:pt x="32939" y="28979"/>
                      <a:pt x="33233" y="28155"/>
                    </a:cubicBezTo>
                    <a:cubicBezTo>
                      <a:pt x="34174" y="25802"/>
                      <a:pt x="35438" y="24155"/>
                      <a:pt x="39056" y="22891"/>
                    </a:cubicBezTo>
                    <a:cubicBezTo>
                      <a:pt x="41262" y="22097"/>
                      <a:pt x="65438" y="12626"/>
                      <a:pt x="65438" y="12626"/>
                    </a:cubicBezTo>
                    <a:lnTo>
                      <a:pt x="94319" y="1068"/>
                    </a:lnTo>
                    <a:cubicBezTo>
                      <a:pt x="95525" y="538"/>
                      <a:pt x="97113" y="-50"/>
                      <a:pt x="99113" y="9"/>
                    </a:cubicBezTo>
                    <a:cubicBezTo>
                      <a:pt x="100966" y="-79"/>
                      <a:pt x="102554" y="509"/>
                      <a:pt x="103966" y="1126"/>
                    </a:cubicBezTo>
                    <a:cubicBezTo>
                      <a:pt x="105643" y="1773"/>
                      <a:pt x="132760" y="12656"/>
                      <a:pt x="132760" y="12656"/>
                    </a:cubicBezTo>
                    <a:cubicBezTo>
                      <a:pt x="132789" y="12656"/>
                      <a:pt x="156877" y="22097"/>
                      <a:pt x="159141" y="22920"/>
                    </a:cubicBezTo>
                    <a:cubicBezTo>
                      <a:pt x="162700" y="24185"/>
                      <a:pt x="163994" y="25832"/>
                      <a:pt x="164847" y="28067"/>
                    </a:cubicBezTo>
                    <a:lnTo>
                      <a:pt x="165171" y="28861"/>
                    </a:lnTo>
                    <a:cubicBezTo>
                      <a:pt x="165582" y="29861"/>
                      <a:pt x="166171" y="31390"/>
                      <a:pt x="166818" y="32773"/>
                    </a:cubicBezTo>
                    <a:lnTo>
                      <a:pt x="169229" y="33214"/>
                    </a:lnTo>
                    <a:cubicBezTo>
                      <a:pt x="176788" y="34596"/>
                      <a:pt x="190346" y="37067"/>
                      <a:pt x="191611" y="37273"/>
                    </a:cubicBezTo>
                    <a:cubicBezTo>
                      <a:pt x="193935" y="37626"/>
                      <a:pt x="195729" y="38625"/>
                      <a:pt x="196905" y="40214"/>
                    </a:cubicBezTo>
                    <a:cubicBezTo>
                      <a:pt x="198699" y="42684"/>
                      <a:pt x="198229" y="45478"/>
                      <a:pt x="198082" y="46419"/>
                    </a:cubicBezTo>
                    <a:cubicBezTo>
                      <a:pt x="198082" y="46419"/>
                      <a:pt x="197964" y="47066"/>
                      <a:pt x="197964" y="47066"/>
                    </a:cubicBezTo>
                    <a:cubicBezTo>
                      <a:pt x="192876" y="76625"/>
                      <a:pt x="173670" y="150417"/>
                      <a:pt x="105290" y="197004"/>
                    </a:cubicBezTo>
                    <a:cubicBezTo>
                      <a:pt x="103378" y="198298"/>
                      <a:pt x="101349" y="198974"/>
                      <a:pt x="99260" y="198974"/>
                    </a:cubicBezTo>
                    <a:cubicBezTo>
                      <a:pt x="99260" y="199004"/>
                      <a:pt x="99202" y="199004"/>
                      <a:pt x="99172" y="199004"/>
                    </a:cubicBezTo>
                    <a:close/>
                    <a:moveTo>
                      <a:pt x="10351" y="46743"/>
                    </a:moveTo>
                    <a:cubicBezTo>
                      <a:pt x="15527" y="75948"/>
                      <a:pt x="34262" y="144946"/>
                      <a:pt x="98555" y="188769"/>
                    </a:cubicBezTo>
                    <a:cubicBezTo>
                      <a:pt x="98760" y="188769"/>
                      <a:pt x="99260" y="188916"/>
                      <a:pt x="99584" y="189004"/>
                    </a:cubicBezTo>
                    <a:cubicBezTo>
                      <a:pt x="163906" y="145005"/>
                      <a:pt x="182700" y="75889"/>
                      <a:pt x="187935" y="46743"/>
                    </a:cubicBezTo>
                    <a:cubicBezTo>
                      <a:pt x="183494" y="45949"/>
                      <a:pt x="173582" y="44125"/>
                      <a:pt x="167494" y="43008"/>
                    </a:cubicBezTo>
                    <a:lnTo>
                      <a:pt x="164582" y="42478"/>
                    </a:lnTo>
                    <a:cubicBezTo>
                      <a:pt x="162200" y="42037"/>
                      <a:pt x="159759" y="41096"/>
                      <a:pt x="157935" y="37184"/>
                    </a:cubicBezTo>
                    <a:cubicBezTo>
                      <a:pt x="157171" y="35567"/>
                      <a:pt x="156436" y="33714"/>
                      <a:pt x="155965" y="32508"/>
                    </a:cubicBezTo>
                    <a:lnTo>
                      <a:pt x="155877" y="32302"/>
                    </a:lnTo>
                    <a:cubicBezTo>
                      <a:pt x="155847" y="32302"/>
                      <a:pt x="155847" y="32302"/>
                      <a:pt x="155818" y="32273"/>
                    </a:cubicBezTo>
                    <a:cubicBezTo>
                      <a:pt x="153494" y="31420"/>
                      <a:pt x="129142" y="21891"/>
                      <a:pt x="129142" y="21891"/>
                    </a:cubicBezTo>
                    <a:cubicBezTo>
                      <a:pt x="129113" y="21891"/>
                      <a:pt x="101996" y="11009"/>
                      <a:pt x="100202" y="10303"/>
                    </a:cubicBezTo>
                    <a:cubicBezTo>
                      <a:pt x="99466" y="9979"/>
                      <a:pt x="99260" y="9950"/>
                      <a:pt x="99231" y="9950"/>
                    </a:cubicBezTo>
                    <a:cubicBezTo>
                      <a:pt x="98996" y="9950"/>
                      <a:pt x="98790" y="10009"/>
                      <a:pt x="98231" y="10244"/>
                    </a:cubicBezTo>
                    <a:lnTo>
                      <a:pt x="69173" y="21861"/>
                    </a:lnTo>
                    <a:cubicBezTo>
                      <a:pt x="69144" y="21891"/>
                      <a:pt x="44762" y="31390"/>
                      <a:pt x="42497" y="32243"/>
                    </a:cubicBezTo>
                    <a:cubicBezTo>
                      <a:pt x="42468" y="32243"/>
                      <a:pt x="42438" y="32273"/>
                      <a:pt x="42409" y="32273"/>
                    </a:cubicBezTo>
                    <a:cubicBezTo>
                      <a:pt x="41880" y="33596"/>
                      <a:pt x="41144" y="35479"/>
                      <a:pt x="40321" y="37184"/>
                    </a:cubicBezTo>
                    <a:cubicBezTo>
                      <a:pt x="38497" y="41067"/>
                      <a:pt x="36056" y="42008"/>
                      <a:pt x="33674" y="42449"/>
                    </a:cubicBezTo>
                    <a:cubicBezTo>
                      <a:pt x="28556" y="43449"/>
                      <a:pt x="15615" y="45802"/>
                      <a:pt x="10351" y="46743"/>
                    </a:cubicBezTo>
                    <a:close/>
                    <a:moveTo>
                      <a:pt x="190111" y="47125"/>
                    </a:moveTo>
                    <a:cubicBezTo>
                      <a:pt x="190170" y="47155"/>
                      <a:pt x="190199" y="47155"/>
                      <a:pt x="190258" y="47155"/>
                    </a:cubicBezTo>
                    <a:lnTo>
                      <a:pt x="190905" y="42214"/>
                    </a:lnTo>
                    <a:lnTo>
                      <a:pt x="190111" y="47125"/>
                    </a:lnTo>
                    <a:close/>
                    <a:moveTo>
                      <a:pt x="132789" y="12656"/>
                    </a:moveTo>
                    <a:lnTo>
                      <a:pt x="132848" y="12656"/>
                    </a:lnTo>
                    <a:lnTo>
                      <a:pt x="132789" y="12656"/>
                    </a:lnTo>
                    <a:close/>
                  </a:path>
                </a:pathLst>
              </a:custGeom>
              <a:solidFill>
                <a:schemeClr val="accent1"/>
              </a:solidFill>
              <a:ln w="2933" cap="flat">
                <a:noFill/>
                <a:prstDash val="solid"/>
                <a:miter/>
              </a:ln>
            </p:spPr>
            <p:txBody>
              <a:bodyPr rtlCol="0" anchor="ctr"/>
              <a:lstStyle/>
              <a:p>
                <a:endParaRPr lang="en-GB" dirty="0"/>
              </a:p>
            </p:txBody>
          </p:sp>
          <p:sp>
            <p:nvSpPr>
              <p:cNvPr id="539" name="Freihandform: Form 518">
                <a:extLst>
                  <a:ext uri="{FF2B5EF4-FFF2-40B4-BE49-F238E27FC236}">
                    <a16:creationId xmlns:a16="http://schemas.microsoft.com/office/drawing/2014/main" id="{BC47CA9F-685C-4928-81F9-15BE1E21EE28}"/>
                  </a:ext>
                </a:extLst>
              </p:cNvPr>
              <p:cNvSpPr/>
              <p:nvPr/>
            </p:nvSpPr>
            <p:spPr>
              <a:xfrm>
                <a:off x="1980300" y="1918783"/>
                <a:ext cx="133578" cy="134129"/>
              </a:xfrm>
              <a:custGeom>
                <a:avLst/>
                <a:gdLst>
                  <a:gd name="connsiteX0" fmla="*/ 66789 w 133578"/>
                  <a:gd name="connsiteY0" fmla="*/ 134129 h 134129"/>
                  <a:gd name="connsiteX1" fmla="*/ 64083 w 133578"/>
                  <a:gd name="connsiteY1" fmla="*/ 133335 h 134129"/>
                  <a:gd name="connsiteX2" fmla="*/ 26 w 133578"/>
                  <a:gd name="connsiteY2" fmla="*/ 29926 h 134129"/>
                  <a:gd name="connsiteX3" fmla="*/ 4114 w 133578"/>
                  <a:gd name="connsiteY3" fmla="*/ 24485 h 134129"/>
                  <a:gd name="connsiteX4" fmla="*/ 21320 w 133578"/>
                  <a:gd name="connsiteY4" fmla="*/ 21397 h 134129"/>
                  <a:gd name="connsiteX5" fmla="*/ 22673 w 133578"/>
                  <a:gd name="connsiteY5" fmla="*/ 18161 h 134129"/>
                  <a:gd name="connsiteX6" fmla="*/ 25467 w 133578"/>
                  <a:gd name="connsiteY6" fmla="*/ 15455 h 134129"/>
                  <a:gd name="connsiteX7" fmla="*/ 63083 w 133578"/>
                  <a:gd name="connsiteY7" fmla="*/ 603 h 134129"/>
                  <a:gd name="connsiteX8" fmla="*/ 64201 w 133578"/>
                  <a:gd name="connsiteY8" fmla="*/ 309 h 134129"/>
                  <a:gd name="connsiteX9" fmla="*/ 66025 w 133578"/>
                  <a:gd name="connsiteY9" fmla="*/ 44 h 134129"/>
                  <a:gd name="connsiteX10" fmla="*/ 67524 w 133578"/>
                  <a:gd name="connsiteY10" fmla="*/ 44 h 134129"/>
                  <a:gd name="connsiteX11" fmla="*/ 69348 w 133578"/>
                  <a:gd name="connsiteY11" fmla="*/ 309 h 134129"/>
                  <a:gd name="connsiteX12" fmla="*/ 70466 w 133578"/>
                  <a:gd name="connsiteY12" fmla="*/ 603 h 134129"/>
                  <a:gd name="connsiteX13" fmla="*/ 108112 w 133578"/>
                  <a:gd name="connsiteY13" fmla="*/ 15455 h 134129"/>
                  <a:gd name="connsiteX14" fmla="*/ 110906 w 133578"/>
                  <a:gd name="connsiteY14" fmla="*/ 18191 h 134129"/>
                  <a:gd name="connsiteX15" fmla="*/ 112229 w 133578"/>
                  <a:gd name="connsiteY15" fmla="*/ 21397 h 134129"/>
                  <a:gd name="connsiteX16" fmla="*/ 129464 w 133578"/>
                  <a:gd name="connsiteY16" fmla="*/ 24485 h 134129"/>
                  <a:gd name="connsiteX17" fmla="*/ 133552 w 133578"/>
                  <a:gd name="connsiteY17" fmla="*/ 29926 h 134129"/>
                  <a:gd name="connsiteX18" fmla="*/ 69495 w 133578"/>
                  <a:gd name="connsiteY18" fmla="*/ 133335 h 134129"/>
                  <a:gd name="connsiteX19" fmla="*/ 66789 w 133578"/>
                  <a:gd name="connsiteY19" fmla="*/ 134129 h 134129"/>
                  <a:gd name="connsiteX20" fmla="*/ 10702 w 133578"/>
                  <a:gd name="connsiteY20" fmla="*/ 33455 h 134129"/>
                  <a:gd name="connsiteX21" fmla="*/ 66819 w 133578"/>
                  <a:gd name="connsiteY21" fmla="*/ 123129 h 134129"/>
                  <a:gd name="connsiteX22" fmla="*/ 122935 w 133578"/>
                  <a:gd name="connsiteY22" fmla="*/ 33455 h 134129"/>
                  <a:gd name="connsiteX23" fmla="*/ 107818 w 133578"/>
                  <a:gd name="connsiteY23" fmla="*/ 30749 h 134129"/>
                  <a:gd name="connsiteX24" fmla="*/ 104082 w 133578"/>
                  <a:gd name="connsiteY24" fmla="*/ 27749 h 134129"/>
                  <a:gd name="connsiteX25" fmla="*/ 102524 w 133578"/>
                  <a:gd name="connsiteY25" fmla="*/ 24014 h 134129"/>
                  <a:gd name="connsiteX26" fmla="*/ 66789 w 133578"/>
                  <a:gd name="connsiteY26" fmla="*/ 10014 h 134129"/>
                  <a:gd name="connsiteX27" fmla="*/ 66289 w 133578"/>
                  <a:gd name="connsiteY27" fmla="*/ 10103 h 134129"/>
                  <a:gd name="connsiteX28" fmla="*/ 31055 w 133578"/>
                  <a:gd name="connsiteY28" fmla="*/ 24014 h 134129"/>
                  <a:gd name="connsiteX29" fmla="*/ 29467 w 133578"/>
                  <a:gd name="connsiteY29" fmla="*/ 27779 h 134129"/>
                  <a:gd name="connsiteX30" fmla="*/ 25761 w 133578"/>
                  <a:gd name="connsiteY30" fmla="*/ 30749 h 134129"/>
                  <a:gd name="connsiteX31" fmla="*/ 10702 w 133578"/>
                  <a:gd name="connsiteY31" fmla="*/ 33455 h 134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3578" h="134129">
                    <a:moveTo>
                      <a:pt x="66789" y="134129"/>
                    </a:moveTo>
                    <a:cubicBezTo>
                      <a:pt x="65848" y="134129"/>
                      <a:pt x="64907" y="133864"/>
                      <a:pt x="64083" y="133335"/>
                    </a:cubicBezTo>
                    <a:cubicBezTo>
                      <a:pt x="7614" y="96895"/>
                      <a:pt x="320" y="32632"/>
                      <a:pt x="26" y="29926"/>
                    </a:cubicBezTo>
                    <a:cubicBezTo>
                      <a:pt x="-238" y="27338"/>
                      <a:pt x="1526" y="24955"/>
                      <a:pt x="4114" y="24485"/>
                    </a:cubicBezTo>
                    <a:lnTo>
                      <a:pt x="21320" y="21397"/>
                    </a:lnTo>
                    <a:lnTo>
                      <a:pt x="22673" y="18161"/>
                    </a:lnTo>
                    <a:cubicBezTo>
                      <a:pt x="23202" y="16926"/>
                      <a:pt x="24202" y="15955"/>
                      <a:pt x="25467" y="15455"/>
                    </a:cubicBezTo>
                    <a:lnTo>
                      <a:pt x="63083" y="603"/>
                    </a:lnTo>
                    <a:cubicBezTo>
                      <a:pt x="63436" y="456"/>
                      <a:pt x="63819" y="368"/>
                      <a:pt x="64201" y="309"/>
                    </a:cubicBezTo>
                    <a:lnTo>
                      <a:pt x="66025" y="44"/>
                    </a:lnTo>
                    <a:cubicBezTo>
                      <a:pt x="66525" y="-15"/>
                      <a:pt x="67025" y="-15"/>
                      <a:pt x="67524" y="44"/>
                    </a:cubicBezTo>
                    <a:lnTo>
                      <a:pt x="69348" y="309"/>
                    </a:lnTo>
                    <a:cubicBezTo>
                      <a:pt x="69730" y="368"/>
                      <a:pt x="70113" y="456"/>
                      <a:pt x="70466" y="603"/>
                    </a:cubicBezTo>
                    <a:lnTo>
                      <a:pt x="108112" y="15455"/>
                    </a:lnTo>
                    <a:cubicBezTo>
                      <a:pt x="109376" y="15955"/>
                      <a:pt x="110376" y="16926"/>
                      <a:pt x="110906" y="18191"/>
                    </a:cubicBezTo>
                    <a:lnTo>
                      <a:pt x="112229" y="21397"/>
                    </a:lnTo>
                    <a:lnTo>
                      <a:pt x="129464" y="24485"/>
                    </a:lnTo>
                    <a:cubicBezTo>
                      <a:pt x="132052" y="24955"/>
                      <a:pt x="133817" y="27308"/>
                      <a:pt x="133552" y="29926"/>
                    </a:cubicBezTo>
                    <a:cubicBezTo>
                      <a:pt x="133258" y="32632"/>
                      <a:pt x="125964" y="96895"/>
                      <a:pt x="69495" y="133335"/>
                    </a:cubicBezTo>
                    <a:cubicBezTo>
                      <a:pt x="68672" y="133864"/>
                      <a:pt x="67730" y="134129"/>
                      <a:pt x="66789" y="134129"/>
                    </a:cubicBezTo>
                    <a:close/>
                    <a:moveTo>
                      <a:pt x="10702" y="33455"/>
                    </a:moveTo>
                    <a:cubicBezTo>
                      <a:pt x="13408" y="48102"/>
                      <a:pt x="24996" y="94542"/>
                      <a:pt x="66819" y="123129"/>
                    </a:cubicBezTo>
                    <a:cubicBezTo>
                      <a:pt x="108729" y="94483"/>
                      <a:pt x="120259" y="48102"/>
                      <a:pt x="122935" y="33455"/>
                    </a:cubicBezTo>
                    <a:lnTo>
                      <a:pt x="107818" y="30749"/>
                    </a:lnTo>
                    <a:cubicBezTo>
                      <a:pt x="106141" y="30455"/>
                      <a:pt x="104730" y="29308"/>
                      <a:pt x="104082" y="27749"/>
                    </a:cubicBezTo>
                    <a:lnTo>
                      <a:pt x="102524" y="24014"/>
                    </a:lnTo>
                    <a:lnTo>
                      <a:pt x="66789" y="10014"/>
                    </a:lnTo>
                    <a:lnTo>
                      <a:pt x="66289" y="10103"/>
                    </a:lnTo>
                    <a:lnTo>
                      <a:pt x="31055" y="24014"/>
                    </a:lnTo>
                    <a:lnTo>
                      <a:pt x="29467" y="27779"/>
                    </a:lnTo>
                    <a:cubicBezTo>
                      <a:pt x="28820" y="29337"/>
                      <a:pt x="27408" y="30455"/>
                      <a:pt x="25761" y="30749"/>
                    </a:cubicBezTo>
                    <a:lnTo>
                      <a:pt x="10702" y="33455"/>
                    </a:lnTo>
                    <a:close/>
                  </a:path>
                </a:pathLst>
              </a:custGeom>
              <a:solidFill>
                <a:schemeClr val="accent1"/>
              </a:solidFill>
              <a:ln w="2933" cap="flat">
                <a:noFill/>
                <a:prstDash val="solid"/>
                <a:miter/>
              </a:ln>
            </p:spPr>
            <p:txBody>
              <a:bodyPr rtlCol="0" anchor="ctr"/>
              <a:lstStyle/>
              <a:p>
                <a:endParaRPr lang="en-GB" dirty="0"/>
              </a:p>
            </p:txBody>
          </p:sp>
        </p:grpSp>
      </p:grpSp>
      <p:grpSp>
        <p:nvGrpSpPr>
          <p:cNvPr id="144" name="Group 143">
            <a:extLst>
              <a:ext uri="{FF2B5EF4-FFF2-40B4-BE49-F238E27FC236}">
                <a16:creationId xmlns:a16="http://schemas.microsoft.com/office/drawing/2014/main" id="{184504FE-863A-DC12-0951-CC671BE92DF9}"/>
              </a:ext>
            </a:extLst>
          </p:cNvPr>
          <p:cNvGrpSpPr/>
          <p:nvPr/>
        </p:nvGrpSpPr>
        <p:grpSpPr>
          <a:xfrm>
            <a:off x="8129047" y="4002611"/>
            <a:ext cx="427244" cy="432000"/>
            <a:chOff x="8128635" y="4002611"/>
            <a:chExt cx="427244" cy="432000"/>
          </a:xfrm>
        </p:grpSpPr>
        <p:grpSp>
          <p:nvGrpSpPr>
            <p:cNvPr id="545" name="Group 544">
              <a:extLst>
                <a:ext uri="{FF2B5EF4-FFF2-40B4-BE49-F238E27FC236}">
                  <a16:creationId xmlns:a16="http://schemas.microsoft.com/office/drawing/2014/main" id="{5E72C73D-84A1-4027-8797-64277861A012}"/>
                </a:ext>
              </a:extLst>
            </p:cNvPr>
            <p:cNvGrpSpPr/>
            <p:nvPr/>
          </p:nvGrpSpPr>
          <p:grpSpPr>
            <a:xfrm>
              <a:off x="8128635" y="4192962"/>
              <a:ext cx="427244" cy="241649"/>
              <a:chOff x="2549842" y="2695725"/>
              <a:chExt cx="487487" cy="275723"/>
            </a:xfrm>
            <a:solidFill>
              <a:schemeClr val="tx2"/>
            </a:solidFill>
          </p:grpSpPr>
          <p:grpSp>
            <p:nvGrpSpPr>
              <p:cNvPr id="555" name="Grafik 48">
                <a:extLst>
                  <a:ext uri="{FF2B5EF4-FFF2-40B4-BE49-F238E27FC236}">
                    <a16:creationId xmlns:a16="http://schemas.microsoft.com/office/drawing/2014/main" id="{2B5BA325-DEED-4BEA-860A-A31350202C9A}"/>
                  </a:ext>
                </a:extLst>
              </p:cNvPr>
              <p:cNvGrpSpPr/>
              <p:nvPr/>
            </p:nvGrpSpPr>
            <p:grpSpPr>
              <a:xfrm>
                <a:off x="2549842" y="2696548"/>
                <a:ext cx="249047" cy="274899"/>
                <a:chOff x="2549842" y="2696548"/>
                <a:chExt cx="249047" cy="274899"/>
              </a:xfrm>
              <a:grpFill/>
            </p:grpSpPr>
            <p:sp>
              <p:nvSpPr>
                <p:cNvPr id="565" name="Freihandform: Form 404">
                  <a:extLst>
                    <a:ext uri="{FF2B5EF4-FFF2-40B4-BE49-F238E27FC236}">
                      <a16:creationId xmlns:a16="http://schemas.microsoft.com/office/drawing/2014/main" id="{CE081005-3321-4136-9DB7-146213F392ED}"/>
                    </a:ext>
                  </a:extLst>
                </p:cNvPr>
                <p:cNvSpPr/>
                <p:nvPr/>
              </p:nvSpPr>
              <p:spPr>
                <a:xfrm>
                  <a:off x="2549842" y="2696548"/>
                  <a:ext cx="249047" cy="274899"/>
                </a:xfrm>
                <a:custGeom>
                  <a:avLst/>
                  <a:gdLst>
                    <a:gd name="connsiteX0" fmla="*/ 124526 w 249047"/>
                    <a:gd name="connsiteY0" fmla="*/ 274900 h 274899"/>
                    <a:gd name="connsiteX1" fmla="*/ 122026 w 249047"/>
                    <a:gd name="connsiteY1" fmla="*/ 274223 h 274899"/>
                    <a:gd name="connsiteX2" fmla="*/ 2500 w 249047"/>
                    <a:gd name="connsiteY2" fmla="*/ 205225 h 274899"/>
                    <a:gd name="connsiteX3" fmla="*/ 0 w 249047"/>
                    <a:gd name="connsiteY3" fmla="*/ 200901 h 274899"/>
                    <a:gd name="connsiteX4" fmla="*/ 0 w 249047"/>
                    <a:gd name="connsiteY4" fmla="*/ 62905 h 274899"/>
                    <a:gd name="connsiteX5" fmla="*/ 2500 w 249047"/>
                    <a:gd name="connsiteY5" fmla="*/ 58581 h 274899"/>
                    <a:gd name="connsiteX6" fmla="*/ 102821 w 249047"/>
                    <a:gd name="connsiteY6" fmla="*/ 671 h 274899"/>
                    <a:gd name="connsiteX7" fmla="*/ 109644 w 249047"/>
                    <a:gd name="connsiteY7" fmla="*/ 2495 h 274899"/>
                    <a:gd name="connsiteX8" fmla="*/ 107821 w 249047"/>
                    <a:gd name="connsiteY8" fmla="*/ 9318 h 274899"/>
                    <a:gd name="connsiteX9" fmla="*/ 10000 w 249047"/>
                    <a:gd name="connsiteY9" fmla="*/ 65787 h 274899"/>
                    <a:gd name="connsiteX10" fmla="*/ 10000 w 249047"/>
                    <a:gd name="connsiteY10" fmla="*/ 198019 h 274899"/>
                    <a:gd name="connsiteX11" fmla="*/ 124526 w 249047"/>
                    <a:gd name="connsiteY11" fmla="*/ 264135 h 274899"/>
                    <a:gd name="connsiteX12" fmla="*/ 241553 w 249047"/>
                    <a:gd name="connsiteY12" fmla="*/ 196578 h 274899"/>
                    <a:gd name="connsiteX13" fmla="*/ 248376 w 249047"/>
                    <a:gd name="connsiteY13" fmla="*/ 198401 h 274899"/>
                    <a:gd name="connsiteX14" fmla="*/ 246553 w 249047"/>
                    <a:gd name="connsiteY14" fmla="*/ 205225 h 274899"/>
                    <a:gd name="connsiteX15" fmla="*/ 127026 w 249047"/>
                    <a:gd name="connsiteY15" fmla="*/ 274223 h 274899"/>
                    <a:gd name="connsiteX16" fmla="*/ 124526 w 249047"/>
                    <a:gd name="connsiteY16" fmla="*/ 274900 h 274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9047" h="274899">
                      <a:moveTo>
                        <a:pt x="124526" y="274900"/>
                      </a:moveTo>
                      <a:cubicBezTo>
                        <a:pt x="123673" y="274900"/>
                        <a:pt x="122791" y="274664"/>
                        <a:pt x="122026" y="274223"/>
                      </a:cubicBezTo>
                      <a:lnTo>
                        <a:pt x="2500" y="205225"/>
                      </a:lnTo>
                      <a:cubicBezTo>
                        <a:pt x="941" y="204343"/>
                        <a:pt x="0" y="202696"/>
                        <a:pt x="0" y="200901"/>
                      </a:cubicBezTo>
                      <a:lnTo>
                        <a:pt x="0" y="62905"/>
                      </a:lnTo>
                      <a:cubicBezTo>
                        <a:pt x="0" y="61111"/>
                        <a:pt x="941" y="59464"/>
                        <a:pt x="2500" y="58581"/>
                      </a:cubicBezTo>
                      <a:lnTo>
                        <a:pt x="102821" y="671"/>
                      </a:lnTo>
                      <a:cubicBezTo>
                        <a:pt x="105203" y="-711"/>
                        <a:pt x="108262" y="112"/>
                        <a:pt x="109644" y="2495"/>
                      </a:cubicBezTo>
                      <a:cubicBezTo>
                        <a:pt x="111027" y="4877"/>
                        <a:pt x="110203" y="7936"/>
                        <a:pt x="107821" y="9318"/>
                      </a:cubicBezTo>
                      <a:lnTo>
                        <a:pt x="10000" y="65787"/>
                      </a:lnTo>
                      <a:lnTo>
                        <a:pt x="10000" y="198019"/>
                      </a:lnTo>
                      <a:lnTo>
                        <a:pt x="124526" y="264135"/>
                      </a:lnTo>
                      <a:lnTo>
                        <a:pt x="241553" y="196578"/>
                      </a:lnTo>
                      <a:cubicBezTo>
                        <a:pt x="243965" y="195196"/>
                        <a:pt x="246994" y="196019"/>
                        <a:pt x="248376" y="198401"/>
                      </a:cubicBezTo>
                      <a:cubicBezTo>
                        <a:pt x="249758" y="200784"/>
                        <a:pt x="248935" y="203842"/>
                        <a:pt x="246553" y="205225"/>
                      </a:cubicBezTo>
                      <a:lnTo>
                        <a:pt x="127026" y="274223"/>
                      </a:lnTo>
                      <a:cubicBezTo>
                        <a:pt x="126262" y="274694"/>
                        <a:pt x="125379" y="274900"/>
                        <a:pt x="124526" y="274900"/>
                      </a:cubicBezTo>
                      <a:close/>
                    </a:path>
                  </a:pathLst>
                </a:custGeom>
                <a:grpFill/>
                <a:ln w="2933" cap="flat">
                  <a:noFill/>
                  <a:prstDash val="solid"/>
                  <a:miter/>
                </a:ln>
              </p:spPr>
              <p:txBody>
                <a:bodyPr rtlCol="0" anchor="ctr"/>
                <a:lstStyle/>
                <a:p>
                  <a:endParaRPr lang="en-GB" dirty="0"/>
                </a:p>
              </p:txBody>
            </p:sp>
            <p:grpSp>
              <p:nvGrpSpPr>
                <p:cNvPr id="566" name="Grafik 48">
                  <a:extLst>
                    <a:ext uri="{FF2B5EF4-FFF2-40B4-BE49-F238E27FC236}">
                      <a16:creationId xmlns:a16="http://schemas.microsoft.com/office/drawing/2014/main" id="{335BFF07-B881-4671-94DB-6F0DEF9E26FB}"/>
                    </a:ext>
                  </a:extLst>
                </p:cNvPr>
                <p:cNvGrpSpPr/>
                <p:nvPr/>
              </p:nvGrpSpPr>
              <p:grpSpPr>
                <a:xfrm>
                  <a:off x="2596135" y="2736689"/>
                  <a:ext cx="156496" cy="190230"/>
                  <a:chOff x="2596135" y="2736689"/>
                  <a:chExt cx="156496" cy="190230"/>
                </a:xfrm>
                <a:grpFill/>
              </p:grpSpPr>
              <p:grpSp>
                <p:nvGrpSpPr>
                  <p:cNvPr id="567" name="Grafik 48">
                    <a:extLst>
                      <a:ext uri="{FF2B5EF4-FFF2-40B4-BE49-F238E27FC236}">
                        <a16:creationId xmlns:a16="http://schemas.microsoft.com/office/drawing/2014/main" id="{C1436CA4-C822-4E7D-AB57-17ED65E8D36B}"/>
                      </a:ext>
                    </a:extLst>
                  </p:cNvPr>
                  <p:cNvGrpSpPr/>
                  <p:nvPr/>
                </p:nvGrpSpPr>
                <p:grpSpPr>
                  <a:xfrm>
                    <a:off x="2596135" y="2834069"/>
                    <a:ext cx="156496" cy="92850"/>
                    <a:chOff x="2596135" y="2834069"/>
                    <a:chExt cx="156496" cy="92850"/>
                  </a:xfrm>
                  <a:grpFill/>
                </p:grpSpPr>
                <p:sp>
                  <p:nvSpPr>
                    <p:cNvPr id="569" name="Freihandform: Form 407">
                      <a:extLst>
                        <a:ext uri="{FF2B5EF4-FFF2-40B4-BE49-F238E27FC236}">
                          <a16:creationId xmlns:a16="http://schemas.microsoft.com/office/drawing/2014/main" id="{AE53341B-705C-4523-9D7A-E1AF5C74D7ED}"/>
                        </a:ext>
                      </a:extLst>
                    </p:cNvPr>
                    <p:cNvSpPr/>
                    <p:nvPr/>
                  </p:nvSpPr>
                  <p:spPr>
                    <a:xfrm>
                      <a:off x="2624311" y="2890038"/>
                      <a:ext cx="9999" cy="36881"/>
                    </a:xfrm>
                    <a:custGeom>
                      <a:avLst/>
                      <a:gdLst>
                        <a:gd name="connsiteX0" fmla="*/ 5000 w 9999"/>
                        <a:gd name="connsiteY0" fmla="*/ 36881 h 36881"/>
                        <a:gd name="connsiteX1" fmla="*/ 0 w 9999"/>
                        <a:gd name="connsiteY1" fmla="*/ 31882 h 36881"/>
                        <a:gd name="connsiteX2" fmla="*/ 0 w 9999"/>
                        <a:gd name="connsiteY2" fmla="*/ 5000 h 36881"/>
                        <a:gd name="connsiteX3" fmla="*/ 5000 w 9999"/>
                        <a:gd name="connsiteY3" fmla="*/ 0 h 36881"/>
                        <a:gd name="connsiteX4" fmla="*/ 10000 w 9999"/>
                        <a:gd name="connsiteY4" fmla="*/ 5000 h 36881"/>
                        <a:gd name="connsiteX5" fmla="*/ 10000 w 9999"/>
                        <a:gd name="connsiteY5" fmla="*/ 31882 h 36881"/>
                        <a:gd name="connsiteX6" fmla="*/ 5000 w 9999"/>
                        <a:gd name="connsiteY6" fmla="*/ 36881 h 36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9" h="36881">
                          <a:moveTo>
                            <a:pt x="5000" y="36881"/>
                          </a:moveTo>
                          <a:cubicBezTo>
                            <a:pt x="2235" y="36881"/>
                            <a:pt x="0" y="34646"/>
                            <a:pt x="0" y="31882"/>
                          </a:cubicBezTo>
                          <a:lnTo>
                            <a:pt x="0" y="5000"/>
                          </a:lnTo>
                          <a:cubicBezTo>
                            <a:pt x="0" y="2235"/>
                            <a:pt x="2235" y="0"/>
                            <a:pt x="5000" y="0"/>
                          </a:cubicBezTo>
                          <a:cubicBezTo>
                            <a:pt x="7765" y="0"/>
                            <a:pt x="10000" y="2235"/>
                            <a:pt x="10000" y="5000"/>
                          </a:cubicBezTo>
                          <a:lnTo>
                            <a:pt x="10000" y="31882"/>
                          </a:lnTo>
                          <a:cubicBezTo>
                            <a:pt x="10000" y="34646"/>
                            <a:pt x="7765" y="36881"/>
                            <a:pt x="5000" y="36881"/>
                          </a:cubicBezTo>
                          <a:close/>
                        </a:path>
                      </a:pathLst>
                    </a:custGeom>
                    <a:grpFill/>
                    <a:ln w="2933" cap="flat">
                      <a:noFill/>
                      <a:prstDash val="solid"/>
                      <a:miter/>
                    </a:ln>
                  </p:spPr>
                  <p:txBody>
                    <a:bodyPr rtlCol="0" anchor="ctr"/>
                    <a:lstStyle/>
                    <a:p>
                      <a:endParaRPr lang="en-GB" dirty="0"/>
                    </a:p>
                  </p:txBody>
                </p:sp>
                <p:sp>
                  <p:nvSpPr>
                    <p:cNvPr id="570" name="Freihandform: Form 408">
                      <a:extLst>
                        <a:ext uri="{FF2B5EF4-FFF2-40B4-BE49-F238E27FC236}">
                          <a16:creationId xmlns:a16="http://schemas.microsoft.com/office/drawing/2014/main" id="{C193D50D-5165-4F05-9787-27BE84270166}"/>
                        </a:ext>
                      </a:extLst>
                    </p:cNvPr>
                    <p:cNvSpPr/>
                    <p:nvPr/>
                  </p:nvSpPr>
                  <p:spPr>
                    <a:xfrm>
                      <a:off x="2596135" y="2834069"/>
                      <a:ext cx="66117" cy="92850"/>
                    </a:xfrm>
                    <a:custGeom>
                      <a:avLst/>
                      <a:gdLst>
                        <a:gd name="connsiteX0" fmla="*/ 5000 w 66117"/>
                        <a:gd name="connsiteY0" fmla="*/ 92851 h 92850"/>
                        <a:gd name="connsiteX1" fmla="*/ 0 w 66117"/>
                        <a:gd name="connsiteY1" fmla="*/ 87851 h 92850"/>
                        <a:gd name="connsiteX2" fmla="*/ 0 w 66117"/>
                        <a:gd name="connsiteY2" fmla="*/ 34440 h 92850"/>
                        <a:gd name="connsiteX3" fmla="*/ 31293 w 66117"/>
                        <a:gd name="connsiteY3" fmla="*/ 6912 h 92850"/>
                        <a:gd name="connsiteX4" fmla="*/ 52940 w 66117"/>
                        <a:gd name="connsiteY4" fmla="*/ 6912 h 92850"/>
                        <a:gd name="connsiteX5" fmla="*/ 56146 w 66117"/>
                        <a:gd name="connsiteY5" fmla="*/ 4912 h 92850"/>
                        <a:gd name="connsiteX6" fmla="*/ 61146 w 66117"/>
                        <a:gd name="connsiteY6" fmla="*/ 0 h 92850"/>
                        <a:gd name="connsiteX7" fmla="*/ 61204 w 66117"/>
                        <a:gd name="connsiteY7" fmla="*/ 0 h 92850"/>
                        <a:gd name="connsiteX8" fmla="*/ 66116 w 66117"/>
                        <a:gd name="connsiteY8" fmla="*/ 5059 h 92850"/>
                        <a:gd name="connsiteX9" fmla="*/ 53440 w 66117"/>
                        <a:gd name="connsiteY9" fmla="*/ 16852 h 92850"/>
                        <a:gd name="connsiteX10" fmla="*/ 31293 w 66117"/>
                        <a:gd name="connsiteY10" fmla="*/ 16882 h 92850"/>
                        <a:gd name="connsiteX11" fmla="*/ 10000 w 66117"/>
                        <a:gd name="connsiteY11" fmla="*/ 34411 h 92850"/>
                        <a:gd name="connsiteX12" fmla="*/ 10000 w 66117"/>
                        <a:gd name="connsiteY12" fmla="*/ 87821 h 92850"/>
                        <a:gd name="connsiteX13" fmla="*/ 5000 w 66117"/>
                        <a:gd name="connsiteY13" fmla="*/ 92851 h 9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117" h="92850">
                          <a:moveTo>
                            <a:pt x="5000" y="92851"/>
                          </a:moveTo>
                          <a:cubicBezTo>
                            <a:pt x="2235" y="92851"/>
                            <a:pt x="0" y="90615"/>
                            <a:pt x="0" y="87851"/>
                          </a:cubicBezTo>
                          <a:lnTo>
                            <a:pt x="0" y="34440"/>
                          </a:lnTo>
                          <a:cubicBezTo>
                            <a:pt x="0" y="12676"/>
                            <a:pt x="20470" y="6912"/>
                            <a:pt x="31293" y="6912"/>
                          </a:cubicBezTo>
                          <a:lnTo>
                            <a:pt x="52940" y="6912"/>
                          </a:lnTo>
                          <a:cubicBezTo>
                            <a:pt x="52969" y="6882"/>
                            <a:pt x="56116" y="6206"/>
                            <a:pt x="56146" y="4912"/>
                          </a:cubicBezTo>
                          <a:cubicBezTo>
                            <a:pt x="56175" y="2176"/>
                            <a:pt x="58410" y="0"/>
                            <a:pt x="61146" y="0"/>
                          </a:cubicBezTo>
                          <a:cubicBezTo>
                            <a:pt x="61175" y="0"/>
                            <a:pt x="61204" y="0"/>
                            <a:pt x="61204" y="0"/>
                          </a:cubicBezTo>
                          <a:cubicBezTo>
                            <a:pt x="63969" y="29"/>
                            <a:pt x="66175" y="2323"/>
                            <a:pt x="66116" y="5059"/>
                          </a:cubicBezTo>
                          <a:cubicBezTo>
                            <a:pt x="65998" y="12294"/>
                            <a:pt x="59469" y="16264"/>
                            <a:pt x="53440" y="16852"/>
                          </a:cubicBezTo>
                          <a:lnTo>
                            <a:pt x="31293" y="16882"/>
                          </a:lnTo>
                          <a:cubicBezTo>
                            <a:pt x="29117" y="16882"/>
                            <a:pt x="10000" y="17500"/>
                            <a:pt x="10000" y="34411"/>
                          </a:cubicBezTo>
                          <a:lnTo>
                            <a:pt x="10000" y="87821"/>
                          </a:lnTo>
                          <a:cubicBezTo>
                            <a:pt x="10000" y="90615"/>
                            <a:pt x="7765" y="92851"/>
                            <a:pt x="5000" y="92851"/>
                          </a:cubicBezTo>
                          <a:close/>
                        </a:path>
                      </a:pathLst>
                    </a:custGeom>
                    <a:grpFill/>
                    <a:ln w="2933" cap="flat">
                      <a:noFill/>
                      <a:prstDash val="solid"/>
                      <a:miter/>
                    </a:ln>
                  </p:spPr>
                  <p:txBody>
                    <a:bodyPr rtlCol="0" anchor="ctr"/>
                    <a:lstStyle/>
                    <a:p>
                      <a:endParaRPr lang="en-GB" dirty="0"/>
                    </a:p>
                  </p:txBody>
                </p:sp>
                <p:sp>
                  <p:nvSpPr>
                    <p:cNvPr id="571" name="Freihandform: Form 409">
                      <a:extLst>
                        <a:ext uri="{FF2B5EF4-FFF2-40B4-BE49-F238E27FC236}">
                          <a16:creationId xmlns:a16="http://schemas.microsoft.com/office/drawing/2014/main" id="{FE277106-CB80-4FAD-9519-88324F94A800}"/>
                        </a:ext>
                      </a:extLst>
                    </p:cNvPr>
                    <p:cNvSpPr/>
                    <p:nvPr/>
                  </p:nvSpPr>
                  <p:spPr>
                    <a:xfrm>
                      <a:off x="2714426" y="2890509"/>
                      <a:ext cx="9999" cy="34587"/>
                    </a:xfrm>
                    <a:custGeom>
                      <a:avLst/>
                      <a:gdLst>
                        <a:gd name="connsiteX0" fmla="*/ 5000 w 9999"/>
                        <a:gd name="connsiteY0" fmla="*/ 34587 h 34587"/>
                        <a:gd name="connsiteX1" fmla="*/ 0 w 9999"/>
                        <a:gd name="connsiteY1" fmla="*/ 29587 h 34587"/>
                        <a:gd name="connsiteX2" fmla="*/ 0 w 9999"/>
                        <a:gd name="connsiteY2" fmla="*/ 5000 h 34587"/>
                        <a:gd name="connsiteX3" fmla="*/ 5000 w 9999"/>
                        <a:gd name="connsiteY3" fmla="*/ 0 h 34587"/>
                        <a:gd name="connsiteX4" fmla="*/ 10000 w 9999"/>
                        <a:gd name="connsiteY4" fmla="*/ 5000 h 34587"/>
                        <a:gd name="connsiteX5" fmla="*/ 10000 w 9999"/>
                        <a:gd name="connsiteY5" fmla="*/ 29587 h 34587"/>
                        <a:gd name="connsiteX6" fmla="*/ 5000 w 9999"/>
                        <a:gd name="connsiteY6" fmla="*/ 34587 h 3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9" h="34587">
                          <a:moveTo>
                            <a:pt x="5000" y="34587"/>
                          </a:moveTo>
                          <a:cubicBezTo>
                            <a:pt x="2235" y="34587"/>
                            <a:pt x="0" y="32352"/>
                            <a:pt x="0" y="29587"/>
                          </a:cubicBezTo>
                          <a:lnTo>
                            <a:pt x="0" y="5000"/>
                          </a:lnTo>
                          <a:cubicBezTo>
                            <a:pt x="0" y="2235"/>
                            <a:pt x="2235" y="0"/>
                            <a:pt x="5000" y="0"/>
                          </a:cubicBezTo>
                          <a:cubicBezTo>
                            <a:pt x="7765" y="0"/>
                            <a:pt x="10000" y="2235"/>
                            <a:pt x="10000" y="5000"/>
                          </a:cubicBezTo>
                          <a:lnTo>
                            <a:pt x="10000" y="29587"/>
                          </a:lnTo>
                          <a:cubicBezTo>
                            <a:pt x="10000" y="32352"/>
                            <a:pt x="7765" y="34587"/>
                            <a:pt x="5000" y="34587"/>
                          </a:cubicBezTo>
                          <a:close/>
                        </a:path>
                      </a:pathLst>
                    </a:custGeom>
                    <a:grpFill/>
                    <a:ln w="2933" cap="flat">
                      <a:noFill/>
                      <a:prstDash val="solid"/>
                      <a:miter/>
                    </a:ln>
                  </p:spPr>
                  <p:txBody>
                    <a:bodyPr rtlCol="0" anchor="ctr"/>
                    <a:lstStyle/>
                    <a:p>
                      <a:endParaRPr lang="en-GB" dirty="0"/>
                    </a:p>
                  </p:txBody>
                </p:sp>
                <p:sp>
                  <p:nvSpPr>
                    <p:cNvPr id="572" name="Freihandform: Form 410">
                      <a:extLst>
                        <a:ext uri="{FF2B5EF4-FFF2-40B4-BE49-F238E27FC236}">
                          <a16:creationId xmlns:a16="http://schemas.microsoft.com/office/drawing/2014/main" id="{A17F61BA-57A7-4B64-A258-C229DDBF213A}"/>
                        </a:ext>
                      </a:extLst>
                    </p:cNvPr>
                    <p:cNvSpPr/>
                    <p:nvPr/>
                  </p:nvSpPr>
                  <p:spPr>
                    <a:xfrm>
                      <a:off x="2688279" y="2834069"/>
                      <a:ext cx="64351" cy="91938"/>
                    </a:xfrm>
                    <a:custGeom>
                      <a:avLst/>
                      <a:gdLst>
                        <a:gd name="connsiteX0" fmla="*/ 59322 w 64351"/>
                        <a:gd name="connsiteY0" fmla="*/ 91939 h 91938"/>
                        <a:gd name="connsiteX1" fmla="*/ 54323 w 64351"/>
                        <a:gd name="connsiteY1" fmla="*/ 86939 h 91938"/>
                        <a:gd name="connsiteX2" fmla="*/ 54323 w 64351"/>
                        <a:gd name="connsiteY2" fmla="*/ 34440 h 91938"/>
                        <a:gd name="connsiteX3" fmla="*/ 33029 w 64351"/>
                        <a:gd name="connsiteY3" fmla="*/ 16911 h 91938"/>
                        <a:gd name="connsiteX4" fmla="*/ 11412 w 64351"/>
                        <a:gd name="connsiteY4" fmla="*/ 16911 h 91938"/>
                        <a:gd name="connsiteX5" fmla="*/ 3441 w 64351"/>
                        <a:gd name="connsiteY5" fmla="*/ 13794 h 91938"/>
                        <a:gd name="connsiteX6" fmla="*/ 0 w 64351"/>
                        <a:gd name="connsiteY6" fmla="*/ 5029 h 91938"/>
                        <a:gd name="connsiteX7" fmla="*/ 4971 w 64351"/>
                        <a:gd name="connsiteY7" fmla="*/ 0 h 91938"/>
                        <a:gd name="connsiteX8" fmla="*/ 10000 w 64351"/>
                        <a:gd name="connsiteY8" fmla="*/ 4970 h 91938"/>
                        <a:gd name="connsiteX9" fmla="*/ 10382 w 64351"/>
                        <a:gd name="connsiteY9" fmla="*/ 6588 h 91938"/>
                        <a:gd name="connsiteX10" fmla="*/ 11265 w 64351"/>
                        <a:gd name="connsiteY10" fmla="*/ 6912 h 91938"/>
                        <a:gd name="connsiteX11" fmla="*/ 11265 w 64351"/>
                        <a:gd name="connsiteY11" fmla="*/ 6912 h 91938"/>
                        <a:gd name="connsiteX12" fmla="*/ 33088 w 64351"/>
                        <a:gd name="connsiteY12" fmla="*/ 6912 h 91938"/>
                        <a:gd name="connsiteX13" fmla="*/ 64352 w 64351"/>
                        <a:gd name="connsiteY13" fmla="*/ 34440 h 91938"/>
                        <a:gd name="connsiteX14" fmla="*/ 64352 w 64351"/>
                        <a:gd name="connsiteY14" fmla="*/ 86939 h 91938"/>
                        <a:gd name="connsiteX15" fmla="*/ 59322 w 64351"/>
                        <a:gd name="connsiteY15" fmla="*/ 91939 h 9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51" h="91938">
                          <a:moveTo>
                            <a:pt x="59322" y="91939"/>
                          </a:moveTo>
                          <a:cubicBezTo>
                            <a:pt x="56558" y="91939"/>
                            <a:pt x="54323" y="89704"/>
                            <a:pt x="54323" y="86939"/>
                          </a:cubicBezTo>
                          <a:lnTo>
                            <a:pt x="54323" y="34440"/>
                          </a:lnTo>
                          <a:cubicBezTo>
                            <a:pt x="54323" y="17529"/>
                            <a:pt x="35205" y="16911"/>
                            <a:pt x="33029" y="16911"/>
                          </a:cubicBezTo>
                          <a:lnTo>
                            <a:pt x="11412" y="16911"/>
                          </a:lnTo>
                          <a:cubicBezTo>
                            <a:pt x="10765" y="16941"/>
                            <a:pt x="6677" y="16911"/>
                            <a:pt x="3441" y="13794"/>
                          </a:cubicBezTo>
                          <a:cubicBezTo>
                            <a:pt x="1883" y="12294"/>
                            <a:pt x="30" y="9588"/>
                            <a:pt x="0" y="5029"/>
                          </a:cubicBezTo>
                          <a:cubicBezTo>
                            <a:pt x="-29" y="2265"/>
                            <a:pt x="2206" y="29"/>
                            <a:pt x="4971" y="0"/>
                          </a:cubicBezTo>
                          <a:cubicBezTo>
                            <a:pt x="7441" y="118"/>
                            <a:pt x="9971" y="2206"/>
                            <a:pt x="10000" y="4970"/>
                          </a:cubicBezTo>
                          <a:cubicBezTo>
                            <a:pt x="10000" y="5912"/>
                            <a:pt x="10206" y="6412"/>
                            <a:pt x="10382" y="6588"/>
                          </a:cubicBezTo>
                          <a:cubicBezTo>
                            <a:pt x="10618" y="6823"/>
                            <a:pt x="11265" y="6912"/>
                            <a:pt x="11265" y="6912"/>
                          </a:cubicBezTo>
                          <a:lnTo>
                            <a:pt x="11265" y="6912"/>
                          </a:lnTo>
                          <a:lnTo>
                            <a:pt x="33088" y="6912"/>
                          </a:lnTo>
                          <a:cubicBezTo>
                            <a:pt x="43911" y="6912"/>
                            <a:pt x="64352" y="12676"/>
                            <a:pt x="64352" y="34440"/>
                          </a:cubicBezTo>
                          <a:lnTo>
                            <a:pt x="64352" y="86939"/>
                          </a:lnTo>
                          <a:cubicBezTo>
                            <a:pt x="64293" y="89674"/>
                            <a:pt x="62057" y="91939"/>
                            <a:pt x="59322" y="91939"/>
                          </a:cubicBezTo>
                          <a:close/>
                        </a:path>
                      </a:pathLst>
                    </a:custGeom>
                    <a:grpFill/>
                    <a:ln w="2933" cap="flat">
                      <a:noFill/>
                      <a:prstDash val="solid"/>
                      <a:miter/>
                    </a:ln>
                  </p:spPr>
                  <p:txBody>
                    <a:bodyPr rtlCol="0" anchor="ctr"/>
                    <a:lstStyle/>
                    <a:p>
                      <a:endParaRPr lang="en-GB" dirty="0"/>
                    </a:p>
                  </p:txBody>
                </p:sp>
              </p:grpSp>
              <p:sp>
                <p:nvSpPr>
                  <p:cNvPr id="568" name="Freihandform: Form 411">
                    <a:extLst>
                      <a:ext uri="{FF2B5EF4-FFF2-40B4-BE49-F238E27FC236}">
                        <a16:creationId xmlns:a16="http://schemas.microsoft.com/office/drawing/2014/main" id="{1771E246-2A83-41F2-B9AF-9734A7A98C29}"/>
                      </a:ext>
                    </a:extLst>
                  </p:cNvPr>
                  <p:cNvSpPr/>
                  <p:nvPr/>
                </p:nvSpPr>
                <p:spPr>
                  <a:xfrm>
                    <a:off x="2632516" y="2736689"/>
                    <a:ext cx="83733" cy="93585"/>
                  </a:xfrm>
                  <a:custGeom>
                    <a:avLst/>
                    <a:gdLst>
                      <a:gd name="connsiteX0" fmla="*/ 41852 w 83733"/>
                      <a:gd name="connsiteY0" fmla="*/ 93586 h 93585"/>
                      <a:gd name="connsiteX1" fmla="*/ 0 w 83733"/>
                      <a:gd name="connsiteY1" fmla="*/ 46793 h 93585"/>
                      <a:gd name="connsiteX2" fmla="*/ 41852 w 83733"/>
                      <a:gd name="connsiteY2" fmla="*/ 0 h 93585"/>
                      <a:gd name="connsiteX3" fmla="*/ 83733 w 83733"/>
                      <a:gd name="connsiteY3" fmla="*/ 46793 h 93585"/>
                      <a:gd name="connsiteX4" fmla="*/ 41852 w 83733"/>
                      <a:gd name="connsiteY4" fmla="*/ 93586 h 93585"/>
                      <a:gd name="connsiteX5" fmla="*/ 41852 w 83733"/>
                      <a:gd name="connsiteY5" fmla="*/ 9970 h 93585"/>
                      <a:gd name="connsiteX6" fmla="*/ 9970 w 83733"/>
                      <a:gd name="connsiteY6" fmla="*/ 46764 h 93585"/>
                      <a:gd name="connsiteX7" fmla="*/ 41852 w 83733"/>
                      <a:gd name="connsiteY7" fmla="*/ 83586 h 93585"/>
                      <a:gd name="connsiteX8" fmla="*/ 73733 w 83733"/>
                      <a:gd name="connsiteY8" fmla="*/ 46764 h 93585"/>
                      <a:gd name="connsiteX9" fmla="*/ 41852 w 83733"/>
                      <a:gd name="connsiteY9" fmla="*/ 9970 h 9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3" h="93585">
                        <a:moveTo>
                          <a:pt x="41852" y="93586"/>
                        </a:moveTo>
                        <a:cubicBezTo>
                          <a:pt x="18764" y="93586"/>
                          <a:pt x="0" y="72586"/>
                          <a:pt x="0" y="46793"/>
                        </a:cubicBezTo>
                        <a:cubicBezTo>
                          <a:pt x="0" y="21000"/>
                          <a:pt x="18794" y="0"/>
                          <a:pt x="41852" y="0"/>
                        </a:cubicBezTo>
                        <a:cubicBezTo>
                          <a:pt x="64940" y="0"/>
                          <a:pt x="83733" y="21000"/>
                          <a:pt x="83733" y="46793"/>
                        </a:cubicBezTo>
                        <a:cubicBezTo>
                          <a:pt x="83733" y="72586"/>
                          <a:pt x="64940" y="93586"/>
                          <a:pt x="41852" y="93586"/>
                        </a:cubicBezTo>
                        <a:close/>
                        <a:moveTo>
                          <a:pt x="41852" y="9970"/>
                        </a:moveTo>
                        <a:cubicBezTo>
                          <a:pt x="24264" y="9970"/>
                          <a:pt x="9970" y="26470"/>
                          <a:pt x="9970" y="46764"/>
                        </a:cubicBezTo>
                        <a:cubicBezTo>
                          <a:pt x="9970" y="67057"/>
                          <a:pt x="24264" y="83586"/>
                          <a:pt x="41852" y="83586"/>
                        </a:cubicBezTo>
                        <a:cubicBezTo>
                          <a:pt x="59440" y="83586"/>
                          <a:pt x="73733" y="67057"/>
                          <a:pt x="73733" y="46764"/>
                        </a:cubicBezTo>
                        <a:cubicBezTo>
                          <a:pt x="73733" y="26499"/>
                          <a:pt x="59440" y="9970"/>
                          <a:pt x="41852" y="9970"/>
                        </a:cubicBezTo>
                        <a:close/>
                      </a:path>
                    </a:pathLst>
                  </a:custGeom>
                  <a:grpFill/>
                  <a:ln w="2933" cap="flat">
                    <a:noFill/>
                    <a:prstDash val="solid"/>
                    <a:miter/>
                  </a:ln>
                </p:spPr>
                <p:txBody>
                  <a:bodyPr rtlCol="0" anchor="ctr"/>
                  <a:lstStyle/>
                  <a:p>
                    <a:endParaRPr lang="en-GB" dirty="0"/>
                  </a:p>
                </p:txBody>
              </p:sp>
            </p:grpSp>
          </p:grpSp>
          <p:grpSp>
            <p:nvGrpSpPr>
              <p:cNvPr id="556" name="Grafik 48">
                <a:extLst>
                  <a:ext uri="{FF2B5EF4-FFF2-40B4-BE49-F238E27FC236}">
                    <a16:creationId xmlns:a16="http://schemas.microsoft.com/office/drawing/2014/main" id="{7207431F-0433-49EA-8191-63A71E7AEF89}"/>
                  </a:ext>
                </a:extLst>
              </p:cNvPr>
              <p:cNvGrpSpPr/>
              <p:nvPr/>
            </p:nvGrpSpPr>
            <p:grpSpPr>
              <a:xfrm>
                <a:off x="2788277" y="2695725"/>
                <a:ext cx="249052" cy="275723"/>
                <a:chOff x="2788277" y="2695725"/>
                <a:chExt cx="249052" cy="275723"/>
              </a:xfrm>
              <a:grpFill/>
            </p:grpSpPr>
            <p:sp>
              <p:nvSpPr>
                <p:cNvPr id="557" name="Freihandform: Form 413">
                  <a:extLst>
                    <a:ext uri="{FF2B5EF4-FFF2-40B4-BE49-F238E27FC236}">
                      <a16:creationId xmlns:a16="http://schemas.microsoft.com/office/drawing/2014/main" id="{65F49EAB-1F26-4478-8094-0F2C61A5DE7A}"/>
                    </a:ext>
                  </a:extLst>
                </p:cNvPr>
                <p:cNvSpPr/>
                <p:nvPr/>
              </p:nvSpPr>
              <p:spPr>
                <a:xfrm>
                  <a:off x="2788277" y="2695725"/>
                  <a:ext cx="249052" cy="275723"/>
                </a:xfrm>
                <a:custGeom>
                  <a:avLst/>
                  <a:gdLst>
                    <a:gd name="connsiteX0" fmla="*/ 124526 w 249052"/>
                    <a:gd name="connsiteY0" fmla="*/ 275723 h 275723"/>
                    <a:gd name="connsiteX1" fmla="*/ 122026 w 249052"/>
                    <a:gd name="connsiteY1" fmla="*/ 275047 h 275723"/>
                    <a:gd name="connsiteX2" fmla="*/ 2500 w 249052"/>
                    <a:gd name="connsiteY2" fmla="*/ 206048 h 275723"/>
                    <a:gd name="connsiteX3" fmla="*/ 0 w 249052"/>
                    <a:gd name="connsiteY3" fmla="*/ 201725 h 275723"/>
                    <a:gd name="connsiteX4" fmla="*/ 0 w 249052"/>
                    <a:gd name="connsiteY4" fmla="*/ 83698 h 275723"/>
                    <a:gd name="connsiteX5" fmla="*/ 5000 w 249052"/>
                    <a:gd name="connsiteY5" fmla="*/ 78699 h 275723"/>
                    <a:gd name="connsiteX6" fmla="*/ 10000 w 249052"/>
                    <a:gd name="connsiteY6" fmla="*/ 83698 h 275723"/>
                    <a:gd name="connsiteX7" fmla="*/ 10000 w 249052"/>
                    <a:gd name="connsiteY7" fmla="*/ 198843 h 275723"/>
                    <a:gd name="connsiteX8" fmla="*/ 124526 w 249052"/>
                    <a:gd name="connsiteY8" fmla="*/ 264959 h 275723"/>
                    <a:gd name="connsiteX9" fmla="*/ 239053 w 249052"/>
                    <a:gd name="connsiteY9" fmla="*/ 198843 h 275723"/>
                    <a:gd name="connsiteX10" fmla="*/ 239053 w 249052"/>
                    <a:gd name="connsiteY10" fmla="*/ 66611 h 275723"/>
                    <a:gd name="connsiteX11" fmla="*/ 139791 w 249052"/>
                    <a:gd name="connsiteY11" fmla="*/ 9318 h 275723"/>
                    <a:gd name="connsiteX12" fmla="*/ 137967 w 249052"/>
                    <a:gd name="connsiteY12" fmla="*/ 2495 h 275723"/>
                    <a:gd name="connsiteX13" fmla="*/ 144790 w 249052"/>
                    <a:gd name="connsiteY13" fmla="*/ 671 h 275723"/>
                    <a:gd name="connsiteX14" fmla="*/ 246553 w 249052"/>
                    <a:gd name="connsiteY14" fmla="*/ 59405 h 275723"/>
                    <a:gd name="connsiteX15" fmla="*/ 249053 w 249052"/>
                    <a:gd name="connsiteY15" fmla="*/ 63728 h 275723"/>
                    <a:gd name="connsiteX16" fmla="*/ 249053 w 249052"/>
                    <a:gd name="connsiteY16" fmla="*/ 201725 h 275723"/>
                    <a:gd name="connsiteX17" fmla="*/ 246553 w 249052"/>
                    <a:gd name="connsiteY17" fmla="*/ 206048 h 275723"/>
                    <a:gd name="connsiteX18" fmla="*/ 127026 w 249052"/>
                    <a:gd name="connsiteY18" fmla="*/ 275047 h 275723"/>
                    <a:gd name="connsiteX19" fmla="*/ 124526 w 249052"/>
                    <a:gd name="connsiteY19" fmla="*/ 275723 h 275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9052" h="275723">
                      <a:moveTo>
                        <a:pt x="124526" y="275723"/>
                      </a:moveTo>
                      <a:cubicBezTo>
                        <a:pt x="123673" y="275723"/>
                        <a:pt x="122791" y="275488"/>
                        <a:pt x="122026" y="275047"/>
                      </a:cubicBezTo>
                      <a:lnTo>
                        <a:pt x="2500" y="206048"/>
                      </a:lnTo>
                      <a:cubicBezTo>
                        <a:pt x="941" y="205166"/>
                        <a:pt x="0" y="203519"/>
                        <a:pt x="0" y="201725"/>
                      </a:cubicBezTo>
                      <a:lnTo>
                        <a:pt x="0" y="83698"/>
                      </a:lnTo>
                      <a:cubicBezTo>
                        <a:pt x="0" y="80934"/>
                        <a:pt x="2235" y="78699"/>
                        <a:pt x="5000" y="78699"/>
                      </a:cubicBezTo>
                      <a:cubicBezTo>
                        <a:pt x="7765" y="78699"/>
                        <a:pt x="10000" y="80934"/>
                        <a:pt x="10000" y="83698"/>
                      </a:cubicBezTo>
                      <a:lnTo>
                        <a:pt x="10000" y="198843"/>
                      </a:lnTo>
                      <a:lnTo>
                        <a:pt x="124526" y="264959"/>
                      </a:lnTo>
                      <a:lnTo>
                        <a:pt x="239053" y="198843"/>
                      </a:lnTo>
                      <a:lnTo>
                        <a:pt x="239053" y="66611"/>
                      </a:lnTo>
                      <a:lnTo>
                        <a:pt x="139791" y="9318"/>
                      </a:lnTo>
                      <a:cubicBezTo>
                        <a:pt x="137408" y="7936"/>
                        <a:pt x="136585" y="4877"/>
                        <a:pt x="137967" y="2495"/>
                      </a:cubicBezTo>
                      <a:cubicBezTo>
                        <a:pt x="139349" y="112"/>
                        <a:pt x="142408" y="-711"/>
                        <a:pt x="144790" y="671"/>
                      </a:cubicBezTo>
                      <a:lnTo>
                        <a:pt x="246553" y="59405"/>
                      </a:lnTo>
                      <a:cubicBezTo>
                        <a:pt x="248111" y="60287"/>
                        <a:pt x="249053" y="61934"/>
                        <a:pt x="249053" y="63728"/>
                      </a:cubicBezTo>
                      <a:lnTo>
                        <a:pt x="249053" y="201725"/>
                      </a:lnTo>
                      <a:cubicBezTo>
                        <a:pt x="249053" y="203519"/>
                        <a:pt x="248111" y="205166"/>
                        <a:pt x="246553" y="206048"/>
                      </a:cubicBezTo>
                      <a:lnTo>
                        <a:pt x="127026" y="275047"/>
                      </a:lnTo>
                      <a:cubicBezTo>
                        <a:pt x="126262" y="275517"/>
                        <a:pt x="125409" y="275723"/>
                        <a:pt x="124526" y="275723"/>
                      </a:cubicBezTo>
                      <a:close/>
                    </a:path>
                  </a:pathLst>
                </a:custGeom>
                <a:grpFill/>
                <a:ln w="2933" cap="flat">
                  <a:noFill/>
                  <a:prstDash val="solid"/>
                  <a:miter/>
                </a:ln>
              </p:spPr>
              <p:txBody>
                <a:bodyPr rtlCol="0" anchor="ctr"/>
                <a:lstStyle/>
                <a:p>
                  <a:endParaRPr lang="en-GB" dirty="0"/>
                </a:p>
              </p:txBody>
            </p:sp>
            <p:grpSp>
              <p:nvGrpSpPr>
                <p:cNvPr id="558" name="Grafik 48">
                  <a:extLst>
                    <a:ext uri="{FF2B5EF4-FFF2-40B4-BE49-F238E27FC236}">
                      <a16:creationId xmlns:a16="http://schemas.microsoft.com/office/drawing/2014/main" id="{3B9675B8-24E2-4899-B808-9FE058DB35F8}"/>
                    </a:ext>
                  </a:extLst>
                </p:cNvPr>
                <p:cNvGrpSpPr/>
                <p:nvPr/>
              </p:nvGrpSpPr>
              <p:grpSpPr>
                <a:xfrm>
                  <a:off x="2834599" y="2736689"/>
                  <a:ext cx="156466" cy="190230"/>
                  <a:chOff x="2834599" y="2736689"/>
                  <a:chExt cx="156466" cy="190230"/>
                </a:xfrm>
                <a:grpFill/>
              </p:grpSpPr>
              <p:grpSp>
                <p:nvGrpSpPr>
                  <p:cNvPr id="559" name="Grafik 48">
                    <a:extLst>
                      <a:ext uri="{FF2B5EF4-FFF2-40B4-BE49-F238E27FC236}">
                        <a16:creationId xmlns:a16="http://schemas.microsoft.com/office/drawing/2014/main" id="{4E778727-E51A-42E7-92F3-D06C51CB3746}"/>
                      </a:ext>
                    </a:extLst>
                  </p:cNvPr>
                  <p:cNvGrpSpPr/>
                  <p:nvPr/>
                </p:nvGrpSpPr>
                <p:grpSpPr>
                  <a:xfrm>
                    <a:off x="2834599" y="2834069"/>
                    <a:ext cx="156466" cy="92850"/>
                    <a:chOff x="2834599" y="2834069"/>
                    <a:chExt cx="156466" cy="92850"/>
                  </a:xfrm>
                  <a:grpFill/>
                </p:grpSpPr>
                <p:sp>
                  <p:nvSpPr>
                    <p:cNvPr id="561" name="Freihandform: Form 416">
                      <a:extLst>
                        <a:ext uri="{FF2B5EF4-FFF2-40B4-BE49-F238E27FC236}">
                          <a16:creationId xmlns:a16="http://schemas.microsoft.com/office/drawing/2014/main" id="{2AF8E931-538A-4DBA-8B25-EC17DB70BAF9}"/>
                        </a:ext>
                      </a:extLst>
                    </p:cNvPr>
                    <p:cNvSpPr/>
                    <p:nvPr/>
                  </p:nvSpPr>
                  <p:spPr>
                    <a:xfrm>
                      <a:off x="2862775" y="2890038"/>
                      <a:ext cx="9999" cy="36881"/>
                    </a:xfrm>
                    <a:custGeom>
                      <a:avLst/>
                      <a:gdLst>
                        <a:gd name="connsiteX0" fmla="*/ 5000 w 9999"/>
                        <a:gd name="connsiteY0" fmla="*/ 36881 h 36881"/>
                        <a:gd name="connsiteX1" fmla="*/ 0 w 9999"/>
                        <a:gd name="connsiteY1" fmla="*/ 31882 h 36881"/>
                        <a:gd name="connsiteX2" fmla="*/ 0 w 9999"/>
                        <a:gd name="connsiteY2" fmla="*/ 5000 h 36881"/>
                        <a:gd name="connsiteX3" fmla="*/ 5000 w 9999"/>
                        <a:gd name="connsiteY3" fmla="*/ 0 h 36881"/>
                        <a:gd name="connsiteX4" fmla="*/ 10000 w 9999"/>
                        <a:gd name="connsiteY4" fmla="*/ 5000 h 36881"/>
                        <a:gd name="connsiteX5" fmla="*/ 10000 w 9999"/>
                        <a:gd name="connsiteY5" fmla="*/ 31882 h 36881"/>
                        <a:gd name="connsiteX6" fmla="*/ 5000 w 9999"/>
                        <a:gd name="connsiteY6" fmla="*/ 36881 h 36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9" h="36881">
                          <a:moveTo>
                            <a:pt x="5000" y="36881"/>
                          </a:moveTo>
                          <a:cubicBezTo>
                            <a:pt x="2235" y="36881"/>
                            <a:pt x="0" y="34646"/>
                            <a:pt x="0" y="31882"/>
                          </a:cubicBezTo>
                          <a:lnTo>
                            <a:pt x="0" y="5000"/>
                          </a:lnTo>
                          <a:cubicBezTo>
                            <a:pt x="0" y="2235"/>
                            <a:pt x="2235" y="0"/>
                            <a:pt x="5000" y="0"/>
                          </a:cubicBezTo>
                          <a:cubicBezTo>
                            <a:pt x="7765" y="0"/>
                            <a:pt x="10000" y="2235"/>
                            <a:pt x="10000" y="5000"/>
                          </a:cubicBezTo>
                          <a:lnTo>
                            <a:pt x="10000" y="31882"/>
                          </a:lnTo>
                          <a:cubicBezTo>
                            <a:pt x="9970" y="34646"/>
                            <a:pt x="7735" y="36881"/>
                            <a:pt x="5000" y="36881"/>
                          </a:cubicBezTo>
                          <a:close/>
                        </a:path>
                      </a:pathLst>
                    </a:custGeom>
                    <a:grpFill/>
                    <a:ln w="2933" cap="flat">
                      <a:noFill/>
                      <a:prstDash val="solid"/>
                      <a:miter/>
                    </a:ln>
                  </p:spPr>
                  <p:txBody>
                    <a:bodyPr rtlCol="0" anchor="ctr"/>
                    <a:lstStyle/>
                    <a:p>
                      <a:endParaRPr lang="en-GB" dirty="0"/>
                    </a:p>
                  </p:txBody>
                </p:sp>
                <p:sp>
                  <p:nvSpPr>
                    <p:cNvPr id="562" name="Freihandform: Form 417">
                      <a:extLst>
                        <a:ext uri="{FF2B5EF4-FFF2-40B4-BE49-F238E27FC236}">
                          <a16:creationId xmlns:a16="http://schemas.microsoft.com/office/drawing/2014/main" id="{3D59C39A-436D-4A31-A627-72B091EA03D8}"/>
                        </a:ext>
                      </a:extLst>
                    </p:cNvPr>
                    <p:cNvSpPr/>
                    <p:nvPr/>
                  </p:nvSpPr>
                  <p:spPr>
                    <a:xfrm>
                      <a:off x="2834599" y="2834069"/>
                      <a:ext cx="66117" cy="92850"/>
                    </a:xfrm>
                    <a:custGeom>
                      <a:avLst/>
                      <a:gdLst>
                        <a:gd name="connsiteX0" fmla="*/ 5000 w 66117"/>
                        <a:gd name="connsiteY0" fmla="*/ 92851 h 92850"/>
                        <a:gd name="connsiteX1" fmla="*/ 0 w 66117"/>
                        <a:gd name="connsiteY1" fmla="*/ 87851 h 92850"/>
                        <a:gd name="connsiteX2" fmla="*/ 0 w 66117"/>
                        <a:gd name="connsiteY2" fmla="*/ 34440 h 92850"/>
                        <a:gd name="connsiteX3" fmla="*/ 31293 w 66117"/>
                        <a:gd name="connsiteY3" fmla="*/ 6912 h 92850"/>
                        <a:gd name="connsiteX4" fmla="*/ 52940 w 66117"/>
                        <a:gd name="connsiteY4" fmla="*/ 6912 h 92850"/>
                        <a:gd name="connsiteX5" fmla="*/ 56146 w 66117"/>
                        <a:gd name="connsiteY5" fmla="*/ 4912 h 92850"/>
                        <a:gd name="connsiteX6" fmla="*/ 61145 w 66117"/>
                        <a:gd name="connsiteY6" fmla="*/ 0 h 92850"/>
                        <a:gd name="connsiteX7" fmla="*/ 61204 w 66117"/>
                        <a:gd name="connsiteY7" fmla="*/ 0 h 92850"/>
                        <a:gd name="connsiteX8" fmla="*/ 66116 w 66117"/>
                        <a:gd name="connsiteY8" fmla="*/ 5059 h 92850"/>
                        <a:gd name="connsiteX9" fmla="*/ 53440 w 66117"/>
                        <a:gd name="connsiteY9" fmla="*/ 16852 h 92850"/>
                        <a:gd name="connsiteX10" fmla="*/ 31293 w 66117"/>
                        <a:gd name="connsiteY10" fmla="*/ 16882 h 92850"/>
                        <a:gd name="connsiteX11" fmla="*/ 10000 w 66117"/>
                        <a:gd name="connsiteY11" fmla="*/ 34411 h 92850"/>
                        <a:gd name="connsiteX12" fmla="*/ 10000 w 66117"/>
                        <a:gd name="connsiteY12" fmla="*/ 87821 h 92850"/>
                        <a:gd name="connsiteX13" fmla="*/ 5000 w 66117"/>
                        <a:gd name="connsiteY13" fmla="*/ 92851 h 9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117" h="92850">
                          <a:moveTo>
                            <a:pt x="5000" y="92851"/>
                          </a:moveTo>
                          <a:cubicBezTo>
                            <a:pt x="2235" y="92851"/>
                            <a:pt x="0" y="90615"/>
                            <a:pt x="0" y="87851"/>
                          </a:cubicBezTo>
                          <a:lnTo>
                            <a:pt x="0" y="34440"/>
                          </a:lnTo>
                          <a:cubicBezTo>
                            <a:pt x="0" y="12676"/>
                            <a:pt x="20470" y="6912"/>
                            <a:pt x="31293" y="6912"/>
                          </a:cubicBezTo>
                          <a:lnTo>
                            <a:pt x="52940" y="6912"/>
                          </a:lnTo>
                          <a:cubicBezTo>
                            <a:pt x="52969" y="6882"/>
                            <a:pt x="56116" y="6206"/>
                            <a:pt x="56146" y="4912"/>
                          </a:cubicBezTo>
                          <a:cubicBezTo>
                            <a:pt x="56175" y="2176"/>
                            <a:pt x="58410" y="0"/>
                            <a:pt x="61145" y="0"/>
                          </a:cubicBezTo>
                          <a:cubicBezTo>
                            <a:pt x="61175" y="0"/>
                            <a:pt x="61204" y="0"/>
                            <a:pt x="61204" y="0"/>
                          </a:cubicBezTo>
                          <a:cubicBezTo>
                            <a:pt x="63969" y="29"/>
                            <a:pt x="66175" y="2323"/>
                            <a:pt x="66116" y="5059"/>
                          </a:cubicBezTo>
                          <a:cubicBezTo>
                            <a:pt x="65998" y="12294"/>
                            <a:pt x="59469" y="16264"/>
                            <a:pt x="53440" y="16852"/>
                          </a:cubicBezTo>
                          <a:lnTo>
                            <a:pt x="31293" y="16882"/>
                          </a:lnTo>
                          <a:cubicBezTo>
                            <a:pt x="29117" y="16882"/>
                            <a:pt x="10000" y="17500"/>
                            <a:pt x="10000" y="34411"/>
                          </a:cubicBezTo>
                          <a:lnTo>
                            <a:pt x="10000" y="87821"/>
                          </a:lnTo>
                          <a:cubicBezTo>
                            <a:pt x="9970" y="90615"/>
                            <a:pt x="7735" y="92851"/>
                            <a:pt x="5000" y="92851"/>
                          </a:cubicBezTo>
                          <a:close/>
                        </a:path>
                      </a:pathLst>
                    </a:custGeom>
                    <a:grpFill/>
                    <a:ln w="2933" cap="flat">
                      <a:noFill/>
                      <a:prstDash val="solid"/>
                      <a:miter/>
                    </a:ln>
                  </p:spPr>
                  <p:txBody>
                    <a:bodyPr rtlCol="0" anchor="ctr"/>
                    <a:lstStyle/>
                    <a:p>
                      <a:endParaRPr lang="en-GB" dirty="0"/>
                    </a:p>
                  </p:txBody>
                </p:sp>
                <p:sp>
                  <p:nvSpPr>
                    <p:cNvPr id="563" name="Freihandform: Form 418">
                      <a:extLst>
                        <a:ext uri="{FF2B5EF4-FFF2-40B4-BE49-F238E27FC236}">
                          <a16:creationId xmlns:a16="http://schemas.microsoft.com/office/drawing/2014/main" id="{E55CF6B1-221C-49A5-BB53-7B24C7EA8E62}"/>
                        </a:ext>
                      </a:extLst>
                    </p:cNvPr>
                    <p:cNvSpPr/>
                    <p:nvPr/>
                  </p:nvSpPr>
                  <p:spPr>
                    <a:xfrm>
                      <a:off x="2952861" y="2890509"/>
                      <a:ext cx="9999" cy="34587"/>
                    </a:xfrm>
                    <a:custGeom>
                      <a:avLst/>
                      <a:gdLst>
                        <a:gd name="connsiteX0" fmla="*/ 5000 w 9999"/>
                        <a:gd name="connsiteY0" fmla="*/ 34587 h 34587"/>
                        <a:gd name="connsiteX1" fmla="*/ 0 w 9999"/>
                        <a:gd name="connsiteY1" fmla="*/ 29587 h 34587"/>
                        <a:gd name="connsiteX2" fmla="*/ 0 w 9999"/>
                        <a:gd name="connsiteY2" fmla="*/ 5000 h 34587"/>
                        <a:gd name="connsiteX3" fmla="*/ 5000 w 9999"/>
                        <a:gd name="connsiteY3" fmla="*/ 0 h 34587"/>
                        <a:gd name="connsiteX4" fmla="*/ 10000 w 9999"/>
                        <a:gd name="connsiteY4" fmla="*/ 5000 h 34587"/>
                        <a:gd name="connsiteX5" fmla="*/ 10000 w 9999"/>
                        <a:gd name="connsiteY5" fmla="*/ 29587 h 34587"/>
                        <a:gd name="connsiteX6" fmla="*/ 5000 w 9999"/>
                        <a:gd name="connsiteY6" fmla="*/ 34587 h 3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9" h="34587">
                          <a:moveTo>
                            <a:pt x="5000" y="34587"/>
                          </a:moveTo>
                          <a:cubicBezTo>
                            <a:pt x="2235" y="34587"/>
                            <a:pt x="0" y="32352"/>
                            <a:pt x="0" y="29587"/>
                          </a:cubicBezTo>
                          <a:lnTo>
                            <a:pt x="0" y="5000"/>
                          </a:lnTo>
                          <a:cubicBezTo>
                            <a:pt x="0" y="2235"/>
                            <a:pt x="2235" y="0"/>
                            <a:pt x="5000" y="0"/>
                          </a:cubicBezTo>
                          <a:cubicBezTo>
                            <a:pt x="7764" y="0"/>
                            <a:pt x="10000" y="2235"/>
                            <a:pt x="10000" y="5000"/>
                          </a:cubicBezTo>
                          <a:lnTo>
                            <a:pt x="10000" y="29587"/>
                          </a:lnTo>
                          <a:cubicBezTo>
                            <a:pt x="10000" y="32352"/>
                            <a:pt x="7764" y="34587"/>
                            <a:pt x="5000" y="34587"/>
                          </a:cubicBezTo>
                          <a:close/>
                        </a:path>
                      </a:pathLst>
                    </a:custGeom>
                    <a:grpFill/>
                    <a:ln w="2933" cap="flat">
                      <a:noFill/>
                      <a:prstDash val="solid"/>
                      <a:miter/>
                    </a:ln>
                  </p:spPr>
                  <p:txBody>
                    <a:bodyPr rtlCol="0" anchor="ctr"/>
                    <a:lstStyle/>
                    <a:p>
                      <a:endParaRPr lang="en-GB" dirty="0"/>
                    </a:p>
                  </p:txBody>
                </p:sp>
                <p:sp>
                  <p:nvSpPr>
                    <p:cNvPr id="564" name="Freihandform: Form 419">
                      <a:extLst>
                        <a:ext uri="{FF2B5EF4-FFF2-40B4-BE49-F238E27FC236}">
                          <a16:creationId xmlns:a16="http://schemas.microsoft.com/office/drawing/2014/main" id="{D2EE73AE-7F9E-48E1-8E59-7B7ACAFCDDCB}"/>
                        </a:ext>
                      </a:extLst>
                    </p:cNvPr>
                    <p:cNvSpPr/>
                    <p:nvPr/>
                  </p:nvSpPr>
                  <p:spPr>
                    <a:xfrm>
                      <a:off x="2926715" y="2834069"/>
                      <a:ext cx="64351" cy="91938"/>
                    </a:xfrm>
                    <a:custGeom>
                      <a:avLst/>
                      <a:gdLst>
                        <a:gd name="connsiteX0" fmla="*/ 59322 w 64351"/>
                        <a:gd name="connsiteY0" fmla="*/ 91939 h 91938"/>
                        <a:gd name="connsiteX1" fmla="*/ 54322 w 64351"/>
                        <a:gd name="connsiteY1" fmla="*/ 86939 h 91938"/>
                        <a:gd name="connsiteX2" fmla="*/ 54322 w 64351"/>
                        <a:gd name="connsiteY2" fmla="*/ 34440 h 91938"/>
                        <a:gd name="connsiteX3" fmla="*/ 33029 w 64351"/>
                        <a:gd name="connsiteY3" fmla="*/ 16911 h 91938"/>
                        <a:gd name="connsiteX4" fmla="*/ 11412 w 64351"/>
                        <a:gd name="connsiteY4" fmla="*/ 16911 h 91938"/>
                        <a:gd name="connsiteX5" fmla="*/ 3441 w 64351"/>
                        <a:gd name="connsiteY5" fmla="*/ 13794 h 91938"/>
                        <a:gd name="connsiteX6" fmla="*/ 0 w 64351"/>
                        <a:gd name="connsiteY6" fmla="*/ 5029 h 91938"/>
                        <a:gd name="connsiteX7" fmla="*/ 4971 w 64351"/>
                        <a:gd name="connsiteY7" fmla="*/ 0 h 91938"/>
                        <a:gd name="connsiteX8" fmla="*/ 10000 w 64351"/>
                        <a:gd name="connsiteY8" fmla="*/ 4970 h 91938"/>
                        <a:gd name="connsiteX9" fmla="*/ 10382 w 64351"/>
                        <a:gd name="connsiteY9" fmla="*/ 6588 h 91938"/>
                        <a:gd name="connsiteX10" fmla="*/ 11265 w 64351"/>
                        <a:gd name="connsiteY10" fmla="*/ 6912 h 91938"/>
                        <a:gd name="connsiteX11" fmla="*/ 11265 w 64351"/>
                        <a:gd name="connsiteY11" fmla="*/ 6912 h 91938"/>
                        <a:gd name="connsiteX12" fmla="*/ 33088 w 64351"/>
                        <a:gd name="connsiteY12" fmla="*/ 6912 h 91938"/>
                        <a:gd name="connsiteX13" fmla="*/ 64352 w 64351"/>
                        <a:gd name="connsiteY13" fmla="*/ 34440 h 91938"/>
                        <a:gd name="connsiteX14" fmla="*/ 64352 w 64351"/>
                        <a:gd name="connsiteY14" fmla="*/ 86939 h 91938"/>
                        <a:gd name="connsiteX15" fmla="*/ 59322 w 64351"/>
                        <a:gd name="connsiteY15" fmla="*/ 91939 h 91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351" h="91938">
                          <a:moveTo>
                            <a:pt x="59322" y="91939"/>
                          </a:moveTo>
                          <a:cubicBezTo>
                            <a:pt x="56558" y="91939"/>
                            <a:pt x="54322" y="89704"/>
                            <a:pt x="54322" y="86939"/>
                          </a:cubicBezTo>
                          <a:lnTo>
                            <a:pt x="54322" y="34440"/>
                          </a:lnTo>
                          <a:cubicBezTo>
                            <a:pt x="54322" y="17529"/>
                            <a:pt x="35205" y="16911"/>
                            <a:pt x="33029" y="16911"/>
                          </a:cubicBezTo>
                          <a:lnTo>
                            <a:pt x="11412" y="16911"/>
                          </a:lnTo>
                          <a:cubicBezTo>
                            <a:pt x="10735" y="16941"/>
                            <a:pt x="6677" y="16911"/>
                            <a:pt x="3441" y="13794"/>
                          </a:cubicBezTo>
                          <a:cubicBezTo>
                            <a:pt x="1883" y="12294"/>
                            <a:pt x="30" y="9588"/>
                            <a:pt x="0" y="5029"/>
                          </a:cubicBezTo>
                          <a:cubicBezTo>
                            <a:pt x="-29" y="2265"/>
                            <a:pt x="2206" y="29"/>
                            <a:pt x="4971" y="0"/>
                          </a:cubicBezTo>
                          <a:cubicBezTo>
                            <a:pt x="7441" y="118"/>
                            <a:pt x="9971" y="2206"/>
                            <a:pt x="10000" y="4970"/>
                          </a:cubicBezTo>
                          <a:cubicBezTo>
                            <a:pt x="10000" y="5912"/>
                            <a:pt x="10206" y="6412"/>
                            <a:pt x="10382" y="6588"/>
                          </a:cubicBezTo>
                          <a:cubicBezTo>
                            <a:pt x="10618" y="6823"/>
                            <a:pt x="11265" y="6912"/>
                            <a:pt x="11265" y="6912"/>
                          </a:cubicBezTo>
                          <a:lnTo>
                            <a:pt x="11265" y="6912"/>
                          </a:lnTo>
                          <a:lnTo>
                            <a:pt x="33088" y="6912"/>
                          </a:lnTo>
                          <a:cubicBezTo>
                            <a:pt x="43911" y="6912"/>
                            <a:pt x="64352" y="12676"/>
                            <a:pt x="64352" y="34440"/>
                          </a:cubicBezTo>
                          <a:lnTo>
                            <a:pt x="64352" y="86939"/>
                          </a:lnTo>
                          <a:cubicBezTo>
                            <a:pt x="64322" y="89674"/>
                            <a:pt x="62057" y="91939"/>
                            <a:pt x="59322" y="91939"/>
                          </a:cubicBezTo>
                          <a:close/>
                        </a:path>
                      </a:pathLst>
                    </a:custGeom>
                    <a:grpFill/>
                    <a:ln w="2933" cap="flat">
                      <a:noFill/>
                      <a:prstDash val="solid"/>
                      <a:miter/>
                    </a:ln>
                  </p:spPr>
                  <p:txBody>
                    <a:bodyPr rtlCol="0" anchor="ctr"/>
                    <a:lstStyle/>
                    <a:p>
                      <a:endParaRPr lang="en-GB" dirty="0"/>
                    </a:p>
                  </p:txBody>
                </p:sp>
              </p:grpSp>
              <p:sp>
                <p:nvSpPr>
                  <p:cNvPr id="560" name="Freihandform: Form 420">
                    <a:extLst>
                      <a:ext uri="{FF2B5EF4-FFF2-40B4-BE49-F238E27FC236}">
                        <a16:creationId xmlns:a16="http://schemas.microsoft.com/office/drawing/2014/main" id="{A96F1818-7FD6-4C16-8410-9685CCB82B44}"/>
                      </a:ext>
                    </a:extLst>
                  </p:cNvPr>
                  <p:cNvSpPr/>
                  <p:nvPr/>
                </p:nvSpPr>
                <p:spPr>
                  <a:xfrm>
                    <a:off x="2870951" y="2736689"/>
                    <a:ext cx="83733" cy="93585"/>
                  </a:xfrm>
                  <a:custGeom>
                    <a:avLst/>
                    <a:gdLst>
                      <a:gd name="connsiteX0" fmla="*/ 41852 w 83733"/>
                      <a:gd name="connsiteY0" fmla="*/ 93586 h 93585"/>
                      <a:gd name="connsiteX1" fmla="*/ 0 w 83733"/>
                      <a:gd name="connsiteY1" fmla="*/ 46793 h 93585"/>
                      <a:gd name="connsiteX2" fmla="*/ 41852 w 83733"/>
                      <a:gd name="connsiteY2" fmla="*/ 0 h 93585"/>
                      <a:gd name="connsiteX3" fmla="*/ 83733 w 83733"/>
                      <a:gd name="connsiteY3" fmla="*/ 46793 h 93585"/>
                      <a:gd name="connsiteX4" fmla="*/ 41852 w 83733"/>
                      <a:gd name="connsiteY4" fmla="*/ 93586 h 93585"/>
                      <a:gd name="connsiteX5" fmla="*/ 41852 w 83733"/>
                      <a:gd name="connsiteY5" fmla="*/ 9970 h 93585"/>
                      <a:gd name="connsiteX6" fmla="*/ 9970 w 83733"/>
                      <a:gd name="connsiteY6" fmla="*/ 46764 h 93585"/>
                      <a:gd name="connsiteX7" fmla="*/ 41852 w 83733"/>
                      <a:gd name="connsiteY7" fmla="*/ 83586 h 93585"/>
                      <a:gd name="connsiteX8" fmla="*/ 73733 w 83733"/>
                      <a:gd name="connsiteY8" fmla="*/ 46764 h 93585"/>
                      <a:gd name="connsiteX9" fmla="*/ 41852 w 83733"/>
                      <a:gd name="connsiteY9" fmla="*/ 9970 h 9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3" h="93585">
                        <a:moveTo>
                          <a:pt x="41852" y="93586"/>
                        </a:moveTo>
                        <a:cubicBezTo>
                          <a:pt x="18764" y="93586"/>
                          <a:pt x="0" y="72586"/>
                          <a:pt x="0" y="46793"/>
                        </a:cubicBezTo>
                        <a:cubicBezTo>
                          <a:pt x="0" y="21000"/>
                          <a:pt x="18794" y="0"/>
                          <a:pt x="41852" y="0"/>
                        </a:cubicBezTo>
                        <a:cubicBezTo>
                          <a:pt x="64940" y="0"/>
                          <a:pt x="83733" y="21000"/>
                          <a:pt x="83733" y="46793"/>
                        </a:cubicBezTo>
                        <a:cubicBezTo>
                          <a:pt x="83733" y="72586"/>
                          <a:pt x="64940" y="93586"/>
                          <a:pt x="41852" y="93586"/>
                        </a:cubicBezTo>
                        <a:close/>
                        <a:moveTo>
                          <a:pt x="41852" y="9970"/>
                        </a:moveTo>
                        <a:cubicBezTo>
                          <a:pt x="24264" y="9970"/>
                          <a:pt x="9970" y="26470"/>
                          <a:pt x="9970" y="46764"/>
                        </a:cubicBezTo>
                        <a:cubicBezTo>
                          <a:pt x="9970" y="67057"/>
                          <a:pt x="24264" y="83586"/>
                          <a:pt x="41852" y="83586"/>
                        </a:cubicBezTo>
                        <a:cubicBezTo>
                          <a:pt x="59440" y="83586"/>
                          <a:pt x="73733" y="67057"/>
                          <a:pt x="73733" y="46764"/>
                        </a:cubicBezTo>
                        <a:cubicBezTo>
                          <a:pt x="73763" y="26499"/>
                          <a:pt x="59440" y="9970"/>
                          <a:pt x="41852" y="9970"/>
                        </a:cubicBezTo>
                        <a:close/>
                      </a:path>
                    </a:pathLst>
                  </a:custGeom>
                  <a:grpFill/>
                  <a:ln w="2933" cap="flat">
                    <a:noFill/>
                    <a:prstDash val="solid"/>
                    <a:miter/>
                  </a:ln>
                </p:spPr>
                <p:txBody>
                  <a:bodyPr rtlCol="0" anchor="ctr"/>
                  <a:lstStyle/>
                  <a:p>
                    <a:endParaRPr lang="en-GB" dirty="0"/>
                  </a:p>
                </p:txBody>
              </p:sp>
            </p:grpSp>
          </p:grpSp>
        </p:grpSp>
        <p:grpSp>
          <p:nvGrpSpPr>
            <p:cNvPr id="546" name="Group 545">
              <a:extLst>
                <a:ext uri="{FF2B5EF4-FFF2-40B4-BE49-F238E27FC236}">
                  <a16:creationId xmlns:a16="http://schemas.microsoft.com/office/drawing/2014/main" id="{14DDE95A-37BA-44B3-A0D9-7850FA221EB0}"/>
                </a:ext>
              </a:extLst>
            </p:cNvPr>
            <p:cNvGrpSpPr/>
            <p:nvPr/>
          </p:nvGrpSpPr>
          <p:grpSpPr>
            <a:xfrm>
              <a:off x="8233549" y="4002611"/>
              <a:ext cx="218274" cy="250637"/>
              <a:chOff x="2669545" y="2478534"/>
              <a:chExt cx="249052" cy="285978"/>
            </a:xfrm>
          </p:grpSpPr>
          <p:sp>
            <p:nvSpPr>
              <p:cNvPr id="547" name="Freihandform: Form 422">
                <a:extLst>
                  <a:ext uri="{FF2B5EF4-FFF2-40B4-BE49-F238E27FC236}">
                    <a16:creationId xmlns:a16="http://schemas.microsoft.com/office/drawing/2014/main" id="{4703DB09-9216-44E5-BC00-FD3BEDD40521}"/>
                  </a:ext>
                </a:extLst>
              </p:cNvPr>
              <p:cNvSpPr/>
              <p:nvPr/>
            </p:nvSpPr>
            <p:spPr>
              <a:xfrm>
                <a:off x="2669545" y="2478534"/>
                <a:ext cx="249052" cy="285978"/>
              </a:xfrm>
              <a:custGeom>
                <a:avLst/>
                <a:gdLst>
                  <a:gd name="connsiteX0" fmla="*/ 124526 w 249052"/>
                  <a:gd name="connsiteY0" fmla="*/ 285978 h 285978"/>
                  <a:gd name="connsiteX1" fmla="*/ 122026 w 249052"/>
                  <a:gd name="connsiteY1" fmla="*/ 285302 h 285978"/>
                  <a:gd name="connsiteX2" fmla="*/ 2500 w 249052"/>
                  <a:gd name="connsiteY2" fmla="*/ 216304 h 285978"/>
                  <a:gd name="connsiteX3" fmla="*/ 0 w 249052"/>
                  <a:gd name="connsiteY3" fmla="*/ 211980 h 285978"/>
                  <a:gd name="connsiteX4" fmla="*/ 0 w 249052"/>
                  <a:gd name="connsiteY4" fmla="*/ 73983 h 285978"/>
                  <a:gd name="connsiteX5" fmla="*/ 2500 w 249052"/>
                  <a:gd name="connsiteY5" fmla="*/ 69660 h 285978"/>
                  <a:gd name="connsiteX6" fmla="*/ 122026 w 249052"/>
                  <a:gd name="connsiteY6" fmla="*/ 662 h 285978"/>
                  <a:gd name="connsiteX7" fmla="*/ 127026 w 249052"/>
                  <a:gd name="connsiteY7" fmla="*/ 662 h 285978"/>
                  <a:gd name="connsiteX8" fmla="*/ 246553 w 249052"/>
                  <a:gd name="connsiteY8" fmla="*/ 69660 h 285978"/>
                  <a:gd name="connsiteX9" fmla="*/ 249053 w 249052"/>
                  <a:gd name="connsiteY9" fmla="*/ 73983 h 285978"/>
                  <a:gd name="connsiteX10" fmla="*/ 249053 w 249052"/>
                  <a:gd name="connsiteY10" fmla="*/ 211980 h 285978"/>
                  <a:gd name="connsiteX11" fmla="*/ 246553 w 249052"/>
                  <a:gd name="connsiteY11" fmla="*/ 216304 h 285978"/>
                  <a:gd name="connsiteX12" fmla="*/ 127026 w 249052"/>
                  <a:gd name="connsiteY12" fmla="*/ 285302 h 285978"/>
                  <a:gd name="connsiteX13" fmla="*/ 124526 w 249052"/>
                  <a:gd name="connsiteY13" fmla="*/ 285978 h 285978"/>
                  <a:gd name="connsiteX14" fmla="*/ 10000 w 249052"/>
                  <a:gd name="connsiteY14" fmla="*/ 209098 h 285978"/>
                  <a:gd name="connsiteX15" fmla="*/ 124526 w 249052"/>
                  <a:gd name="connsiteY15" fmla="*/ 275214 h 285978"/>
                  <a:gd name="connsiteX16" fmla="*/ 239053 w 249052"/>
                  <a:gd name="connsiteY16" fmla="*/ 209098 h 285978"/>
                  <a:gd name="connsiteX17" fmla="*/ 239053 w 249052"/>
                  <a:gd name="connsiteY17" fmla="*/ 76866 h 285978"/>
                  <a:gd name="connsiteX18" fmla="*/ 124526 w 249052"/>
                  <a:gd name="connsiteY18" fmla="*/ 10750 h 285978"/>
                  <a:gd name="connsiteX19" fmla="*/ 10000 w 249052"/>
                  <a:gd name="connsiteY19" fmla="*/ 76866 h 285978"/>
                  <a:gd name="connsiteX20" fmla="*/ 10000 w 249052"/>
                  <a:gd name="connsiteY20" fmla="*/ 209098 h 285978"/>
                  <a:gd name="connsiteX21" fmla="*/ 244053 w 249052"/>
                  <a:gd name="connsiteY21" fmla="*/ 211980 h 285978"/>
                  <a:gd name="connsiteX22" fmla="*/ 244112 w 249052"/>
                  <a:gd name="connsiteY22" fmla="*/ 211980 h 285978"/>
                  <a:gd name="connsiteX23" fmla="*/ 244053 w 249052"/>
                  <a:gd name="connsiteY23" fmla="*/ 211980 h 285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49052" h="285978">
                    <a:moveTo>
                      <a:pt x="124526" y="285978"/>
                    </a:moveTo>
                    <a:cubicBezTo>
                      <a:pt x="123673" y="285978"/>
                      <a:pt x="122791" y="285743"/>
                      <a:pt x="122026" y="285302"/>
                    </a:cubicBezTo>
                    <a:lnTo>
                      <a:pt x="2500" y="216304"/>
                    </a:lnTo>
                    <a:cubicBezTo>
                      <a:pt x="941" y="215421"/>
                      <a:pt x="0" y="213774"/>
                      <a:pt x="0" y="211980"/>
                    </a:cubicBezTo>
                    <a:lnTo>
                      <a:pt x="0" y="73983"/>
                    </a:lnTo>
                    <a:cubicBezTo>
                      <a:pt x="0" y="72189"/>
                      <a:pt x="941" y="70542"/>
                      <a:pt x="2500" y="69660"/>
                    </a:cubicBezTo>
                    <a:lnTo>
                      <a:pt x="122026" y="662"/>
                    </a:lnTo>
                    <a:cubicBezTo>
                      <a:pt x="123585" y="-221"/>
                      <a:pt x="125467" y="-221"/>
                      <a:pt x="127026" y="662"/>
                    </a:cubicBezTo>
                    <a:lnTo>
                      <a:pt x="246553" y="69660"/>
                    </a:lnTo>
                    <a:cubicBezTo>
                      <a:pt x="248111" y="70542"/>
                      <a:pt x="249053" y="72189"/>
                      <a:pt x="249053" y="73983"/>
                    </a:cubicBezTo>
                    <a:lnTo>
                      <a:pt x="249053" y="211980"/>
                    </a:lnTo>
                    <a:cubicBezTo>
                      <a:pt x="249053" y="213774"/>
                      <a:pt x="248111" y="215421"/>
                      <a:pt x="246553" y="216304"/>
                    </a:cubicBezTo>
                    <a:lnTo>
                      <a:pt x="127026" y="285302"/>
                    </a:lnTo>
                    <a:cubicBezTo>
                      <a:pt x="126262" y="285743"/>
                      <a:pt x="125409" y="285978"/>
                      <a:pt x="124526" y="285978"/>
                    </a:cubicBezTo>
                    <a:close/>
                    <a:moveTo>
                      <a:pt x="10000" y="209098"/>
                    </a:moveTo>
                    <a:lnTo>
                      <a:pt x="124526" y="275214"/>
                    </a:lnTo>
                    <a:lnTo>
                      <a:pt x="239053" y="209098"/>
                    </a:lnTo>
                    <a:lnTo>
                      <a:pt x="239053" y="76866"/>
                    </a:lnTo>
                    <a:lnTo>
                      <a:pt x="124526" y="10750"/>
                    </a:lnTo>
                    <a:lnTo>
                      <a:pt x="10000" y="76866"/>
                    </a:lnTo>
                    <a:lnTo>
                      <a:pt x="10000" y="209098"/>
                    </a:lnTo>
                    <a:close/>
                    <a:moveTo>
                      <a:pt x="244053" y="211980"/>
                    </a:moveTo>
                    <a:lnTo>
                      <a:pt x="244112" y="211980"/>
                    </a:lnTo>
                    <a:lnTo>
                      <a:pt x="244053" y="211980"/>
                    </a:lnTo>
                    <a:close/>
                  </a:path>
                </a:pathLst>
              </a:custGeom>
              <a:solidFill>
                <a:schemeClr val="accent1"/>
              </a:solidFill>
              <a:ln w="2933" cap="flat">
                <a:noFill/>
                <a:prstDash val="solid"/>
                <a:miter/>
              </a:ln>
            </p:spPr>
            <p:txBody>
              <a:bodyPr rtlCol="0" anchor="ctr"/>
              <a:lstStyle/>
              <a:p>
                <a:endParaRPr lang="en-GB" dirty="0"/>
              </a:p>
            </p:txBody>
          </p:sp>
          <p:grpSp>
            <p:nvGrpSpPr>
              <p:cNvPr id="548" name="Grafik 48">
                <a:extLst>
                  <a:ext uri="{FF2B5EF4-FFF2-40B4-BE49-F238E27FC236}">
                    <a16:creationId xmlns:a16="http://schemas.microsoft.com/office/drawing/2014/main" id="{E98C7C8E-BA48-4C51-A9AD-6A0AF0D667AB}"/>
                  </a:ext>
                </a:extLst>
              </p:cNvPr>
              <p:cNvGrpSpPr/>
              <p:nvPr/>
            </p:nvGrpSpPr>
            <p:grpSpPr>
              <a:xfrm>
                <a:off x="2715838" y="2529724"/>
                <a:ext cx="156496" cy="190230"/>
                <a:chOff x="2715838" y="2529724"/>
                <a:chExt cx="156496" cy="190230"/>
              </a:xfrm>
              <a:solidFill>
                <a:schemeClr val="accent1"/>
              </a:solidFill>
            </p:grpSpPr>
            <p:grpSp>
              <p:nvGrpSpPr>
                <p:cNvPr id="549" name="Grafik 48">
                  <a:extLst>
                    <a:ext uri="{FF2B5EF4-FFF2-40B4-BE49-F238E27FC236}">
                      <a16:creationId xmlns:a16="http://schemas.microsoft.com/office/drawing/2014/main" id="{96B74960-63B3-4869-820F-5451FB0BAA64}"/>
                    </a:ext>
                  </a:extLst>
                </p:cNvPr>
                <p:cNvGrpSpPr/>
                <p:nvPr/>
              </p:nvGrpSpPr>
              <p:grpSpPr>
                <a:xfrm>
                  <a:off x="2715838" y="2627103"/>
                  <a:ext cx="156496" cy="92850"/>
                  <a:chOff x="2715838" y="2627103"/>
                  <a:chExt cx="156496" cy="92850"/>
                </a:xfrm>
                <a:solidFill>
                  <a:schemeClr val="accent1"/>
                </a:solidFill>
              </p:grpSpPr>
              <p:sp>
                <p:nvSpPr>
                  <p:cNvPr id="551" name="Freihandform: Form 425">
                    <a:extLst>
                      <a:ext uri="{FF2B5EF4-FFF2-40B4-BE49-F238E27FC236}">
                        <a16:creationId xmlns:a16="http://schemas.microsoft.com/office/drawing/2014/main" id="{6ED96A5F-EB06-414A-9341-ECC6F418C131}"/>
                      </a:ext>
                    </a:extLst>
                  </p:cNvPr>
                  <p:cNvSpPr/>
                  <p:nvPr/>
                </p:nvSpPr>
                <p:spPr>
                  <a:xfrm>
                    <a:off x="2744014" y="2683073"/>
                    <a:ext cx="9999" cy="36881"/>
                  </a:xfrm>
                  <a:custGeom>
                    <a:avLst/>
                    <a:gdLst>
                      <a:gd name="connsiteX0" fmla="*/ 5000 w 9999"/>
                      <a:gd name="connsiteY0" fmla="*/ 36881 h 36881"/>
                      <a:gd name="connsiteX1" fmla="*/ 0 w 9999"/>
                      <a:gd name="connsiteY1" fmla="*/ 31882 h 36881"/>
                      <a:gd name="connsiteX2" fmla="*/ 0 w 9999"/>
                      <a:gd name="connsiteY2" fmla="*/ 5000 h 36881"/>
                      <a:gd name="connsiteX3" fmla="*/ 5000 w 9999"/>
                      <a:gd name="connsiteY3" fmla="*/ 0 h 36881"/>
                      <a:gd name="connsiteX4" fmla="*/ 10000 w 9999"/>
                      <a:gd name="connsiteY4" fmla="*/ 5000 h 36881"/>
                      <a:gd name="connsiteX5" fmla="*/ 10000 w 9999"/>
                      <a:gd name="connsiteY5" fmla="*/ 31882 h 36881"/>
                      <a:gd name="connsiteX6" fmla="*/ 5000 w 9999"/>
                      <a:gd name="connsiteY6" fmla="*/ 36881 h 36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9" h="36881">
                        <a:moveTo>
                          <a:pt x="5000" y="36881"/>
                        </a:moveTo>
                        <a:cubicBezTo>
                          <a:pt x="2235" y="36881"/>
                          <a:pt x="0" y="34646"/>
                          <a:pt x="0" y="31882"/>
                        </a:cubicBezTo>
                        <a:lnTo>
                          <a:pt x="0" y="5000"/>
                        </a:lnTo>
                        <a:cubicBezTo>
                          <a:pt x="0" y="2235"/>
                          <a:pt x="2235" y="0"/>
                          <a:pt x="5000" y="0"/>
                        </a:cubicBezTo>
                        <a:cubicBezTo>
                          <a:pt x="7765" y="0"/>
                          <a:pt x="10000" y="2235"/>
                          <a:pt x="10000" y="5000"/>
                        </a:cubicBezTo>
                        <a:lnTo>
                          <a:pt x="10000" y="31882"/>
                        </a:lnTo>
                        <a:cubicBezTo>
                          <a:pt x="10000" y="34646"/>
                          <a:pt x="7765" y="36881"/>
                          <a:pt x="5000" y="36881"/>
                        </a:cubicBezTo>
                        <a:close/>
                      </a:path>
                    </a:pathLst>
                  </a:custGeom>
                  <a:solidFill>
                    <a:schemeClr val="accent1"/>
                  </a:solidFill>
                  <a:ln w="2933" cap="flat">
                    <a:noFill/>
                    <a:prstDash val="solid"/>
                    <a:miter/>
                  </a:ln>
                </p:spPr>
                <p:txBody>
                  <a:bodyPr rtlCol="0" anchor="ctr"/>
                  <a:lstStyle/>
                  <a:p>
                    <a:endParaRPr lang="en-GB" dirty="0"/>
                  </a:p>
                </p:txBody>
              </p:sp>
              <p:sp>
                <p:nvSpPr>
                  <p:cNvPr id="552" name="Freihandform: Form 426">
                    <a:extLst>
                      <a:ext uri="{FF2B5EF4-FFF2-40B4-BE49-F238E27FC236}">
                        <a16:creationId xmlns:a16="http://schemas.microsoft.com/office/drawing/2014/main" id="{4BAFD2EF-E902-4C37-BD46-2C7068AA7C24}"/>
                      </a:ext>
                    </a:extLst>
                  </p:cNvPr>
                  <p:cNvSpPr/>
                  <p:nvPr/>
                </p:nvSpPr>
                <p:spPr>
                  <a:xfrm>
                    <a:off x="2715838" y="2627103"/>
                    <a:ext cx="66117" cy="92850"/>
                  </a:xfrm>
                  <a:custGeom>
                    <a:avLst/>
                    <a:gdLst>
                      <a:gd name="connsiteX0" fmla="*/ 5000 w 66117"/>
                      <a:gd name="connsiteY0" fmla="*/ 92851 h 92850"/>
                      <a:gd name="connsiteX1" fmla="*/ 0 w 66117"/>
                      <a:gd name="connsiteY1" fmla="*/ 87851 h 92850"/>
                      <a:gd name="connsiteX2" fmla="*/ 0 w 66117"/>
                      <a:gd name="connsiteY2" fmla="*/ 34441 h 92850"/>
                      <a:gd name="connsiteX3" fmla="*/ 31293 w 66117"/>
                      <a:gd name="connsiteY3" fmla="*/ 6912 h 92850"/>
                      <a:gd name="connsiteX4" fmla="*/ 52940 w 66117"/>
                      <a:gd name="connsiteY4" fmla="*/ 6912 h 92850"/>
                      <a:gd name="connsiteX5" fmla="*/ 56146 w 66117"/>
                      <a:gd name="connsiteY5" fmla="*/ 4912 h 92850"/>
                      <a:gd name="connsiteX6" fmla="*/ 61204 w 66117"/>
                      <a:gd name="connsiteY6" fmla="*/ 0 h 92850"/>
                      <a:gd name="connsiteX7" fmla="*/ 66116 w 66117"/>
                      <a:gd name="connsiteY7" fmla="*/ 5088 h 92850"/>
                      <a:gd name="connsiteX8" fmla="*/ 53440 w 66117"/>
                      <a:gd name="connsiteY8" fmla="*/ 16882 h 92850"/>
                      <a:gd name="connsiteX9" fmla="*/ 31293 w 66117"/>
                      <a:gd name="connsiteY9" fmla="*/ 16912 h 92850"/>
                      <a:gd name="connsiteX10" fmla="*/ 10000 w 66117"/>
                      <a:gd name="connsiteY10" fmla="*/ 34441 h 92850"/>
                      <a:gd name="connsiteX11" fmla="*/ 10000 w 66117"/>
                      <a:gd name="connsiteY11" fmla="*/ 87851 h 92850"/>
                      <a:gd name="connsiteX12" fmla="*/ 5000 w 66117"/>
                      <a:gd name="connsiteY12" fmla="*/ 92851 h 9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117" h="92850">
                        <a:moveTo>
                          <a:pt x="5000" y="92851"/>
                        </a:moveTo>
                        <a:cubicBezTo>
                          <a:pt x="2235" y="92851"/>
                          <a:pt x="0" y="90616"/>
                          <a:pt x="0" y="87851"/>
                        </a:cubicBezTo>
                        <a:lnTo>
                          <a:pt x="0" y="34441"/>
                        </a:lnTo>
                        <a:cubicBezTo>
                          <a:pt x="0" y="12676"/>
                          <a:pt x="20470" y="6912"/>
                          <a:pt x="31293" y="6912"/>
                        </a:cubicBezTo>
                        <a:lnTo>
                          <a:pt x="52940" y="6912"/>
                        </a:lnTo>
                        <a:cubicBezTo>
                          <a:pt x="52969" y="6882"/>
                          <a:pt x="56116" y="6206"/>
                          <a:pt x="56146" y="4912"/>
                        </a:cubicBezTo>
                        <a:cubicBezTo>
                          <a:pt x="56204" y="2147"/>
                          <a:pt x="58469" y="-29"/>
                          <a:pt x="61204" y="0"/>
                        </a:cubicBezTo>
                        <a:cubicBezTo>
                          <a:pt x="63969" y="59"/>
                          <a:pt x="66175" y="2324"/>
                          <a:pt x="66116" y="5088"/>
                        </a:cubicBezTo>
                        <a:cubicBezTo>
                          <a:pt x="65998" y="12323"/>
                          <a:pt x="59469" y="16265"/>
                          <a:pt x="53440" y="16882"/>
                        </a:cubicBezTo>
                        <a:lnTo>
                          <a:pt x="31293" y="16912"/>
                        </a:lnTo>
                        <a:cubicBezTo>
                          <a:pt x="29117" y="16912"/>
                          <a:pt x="10000" y="17529"/>
                          <a:pt x="10000" y="34441"/>
                        </a:cubicBezTo>
                        <a:lnTo>
                          <a:pt x="10000" y="87851"/>
                        </a:lnTo>
                        <a:cubicBezTo>
                          <a:pt x="10000" y="90616"/>
                          <a:pt x="7765" y="92851"/>
                          <a:pt x="5000" y="92851"/>
                        </a:cubicBezTo>
                        <a:close/>
                      </a:path>
                    </a:pathLst>
                  </a:custGeom>
                  <a:solidFill>
                    <a:schemeClr val="accent1"/>
                  </a:solidFill>
                  <a:ln w="2933" cap="flat">
                    <a:noFill/>
                    <a:prstDash val="solid"/>
                    <a:miter/>
                  </a:ln>
                </p:spPr>
                <p:txBody>
                  <a:bodyPr rtlCol="0" anchor="ctr"/>
                  <a:lstStyle/>
                  <a:p>
                    <a:endParaRPr lang="en-GB" dirty="0"/>
                  </a:p>
                </p:txBody>
              </p:sp>
              <p:sp>
                <p:nvSpPr>
                  <p:cNvPr id="553" name="Freihandform: Form 427">
                    <a:extLst>
                      <a:ext uri="{FF2B5EF4-FFF2-40B4-BE49-F238E27FC236}">
                        <a16:creationId xmlns:a16="http://schemas.microsoft.com/office/drawing/2014/main" id="{08A14BE0-E337-4DA1-AE15-C400B16C7B6A}"/>
                      </a:ext>
                    </a:extLst>
                  </p:cNvPr>
                  <p:cNvSpPr/>
                  <p:nvPr/>
                </p:nvSpPr>
                <p:spPr>
                  <a:xfrm>
                    <a:off x="2834129" y="2683543"/>
                    <a:ext cx="9999" cy="34587"/>
                  </a:xfrm>
                  <a:custGeom>
                    <a:avLst/>
                    <a:gdLst>
                      <a:gd name="connsiteX0" fmla="*/ 5000 w 9999"/>
                      <a:gd name="connsiteY0" fmla="*/ 34587 h 34587"/>
                      <a:gd name="connsiteX1" fmla="*/ 0 w 9999"/>
                      <a:gd name="connsiteY1" fmla="*/ 29588 h 34587"/>
                      <a:gd name="connsiteX2" fmla="*/ 0 w 9999"/>
                      <a:gd name="connsiteY2" fmla="*/ 5000 h 34587"/>
                      <a:gd name="connsiteX3" fmla="*/ 5000 w 9999"/>
                      <a:gd name="connsiteY3" fmla="*/ 0 h 34587"/>
                      <a:gd name="connsiteX4" fmla="*/ 10000 w 9999"/>
                      <a:gd name="connsiteY4" fmla="*/ 5000 h 34587"/>
                      <a:gd name="connsiteX5" fmla="*/ 10000 w 9999"/>
                      <a:gd name="connsiteY5" fmla="*/ 29588 h 34587"/>
                      <a:gd name="connsiteX6" fmla="*/ 5000 w 9999"/>
                      <a:gd name="connsiteY6" fmla="*/ 34587 h 3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99" h="34587">
                        <a:moveTo>
                          <a:pt x="5000" y="34587"/>
                        </a:moveTo>
                        <a:cubicBezTo>
                          <a:pt x="2235" y="34587"/>
                          <a:pt x="0" y="32352"/>
                          <a:pt x="0" y="29588"/>
                        </a:cubicBezTo>
                        <a:lnTo>
                          <a:pt x="0" y="5000"/>
                        </a:lnTo>
                        <a:cubicBezTo>
                          <a:pt x="0" y="2235"/>
                          <a:pt x="2235" y="0"/>
                          <a:pt x="5000" y="0"/>
                        </a:cubicBezTo>
                        <a:cubicBezTo>
                          <a:pt x="7764" y="0"/>
                          <a:pt x="10000" y="2235"/>
                          <a:pt x="10000" y="5000"/>
                        </a:cubicBezTo>
                        <a:lnTo>
                          <a:pt x="10000" y="29588"/>
                        </a:lnTo>
                        <a:cubicBezTo>
                          <a:pt x="10000" y="32352"/>
                          <a:pt x="7764" y="34587"/>
                          <a:pt x="5000" y="34587"/>
                        </a:cubicBezTo>
                        <a:close/>
                      </a:path>
                    </a:pathLst>
                  </a:custGeom>
                  <a:solidFill>
                    <a:schemeClr val="accent1"/>
                  </a:solidFill>
                  <a:ln w="2933" cap="flat">
                    <a:noFill/>
                    <a:prstDash val="solid"/>
                    <a:miter/>
                  </a:ln>
                </p:spPr>
                <p:txBody>
                  <a:bodyPr rtlCol="0" anchor="ctr"/>
                  <a:lstStyle/>
                  <a:p>
                    <a:endParaRPr lang="en-GB" dirty="0"/>
                  </a:p>
                </p:txBody>
              </p:sp>
              <p:sp>
                <p:nvSpPr>
                  <p:cNvPr id="554" name="Freihandform: Form 428">
                    <a:extLst>
                      <a:ext uri="{FF2B5EF4-FFF2-40B4-BE49-F238E27FC236}">
                        <a16:creationId xmlns:a16="http://schemas.microsoft.com/office/drawing/2014/main" id="{CA0E9957-3773-43AA-AE8B-3BF5464921C5}"/>
                      </a:ext>
                    </a:extLst>
                  </p:cNvPr>
                  <p:cNvSpPr/>
                  <p:nvPr/>
                </p:nvSpPr>
                <p:spPr>
                  <a:xfrm>
                    <a:off x="2807953" y="2627133"/>
                    <a:ext cx="64381" cy="91909"/>
                  </a:xfrm>
                  <a:custGeom>
                    <a:avLst/>
                    <a:gdLst>
                      <a:gd name="connsiteX0" fmla="*/ 59352 w 64381"/>
                      <a:gd name="connsiteY0" fmla="*/ 91909 h 91909"/>
                      <a:gd name="connsiteX1" fmla="*/ 54352 w 64381"/>
                      <a:gd name="connsiteY1" fmla="*/ 86910 h 91909"/>
                      <a:gd name="connsiteX2" fmla="*/ 54352 w 64381"/>
                      <a:gd name="connsiteY2" fmla="*/ 34411 h 91909"/>
                      <a:gd name="connsiteX3" fmla="*/ 33058 w 64381"/>
                      <a:gd name="connsiteY3" fmla="*/ 16882 h 91909"/>
                      <a:gd name="connsiteX4" fmla="*/ 11412 w 64381"/>
                      <a:gd name="connsiteY4" fmla="*/ 16882 h 91909"/>
                      <a:gd name="connsiteX5" fmla="*/ 3441 w 64381"/>
                      <a:gd name="connsiteY5" fmla="*/ 13794 h 91909"/>
                      <a:gd name="connsiteX6" fmla="*/ 0 w 64381"/>
                      <a:gd name="connsiteY6" fmla="*/ 5029 h 91909"/>
                      <a:gd name="connsiteX7" fmla="*/ 4971 w 64381"/>
                      <a:gd name="connsiteY7" fmla="*/ 0 h 91909"/>
                      <a:gd name="connsiteX8" fmla="*/ 5000 w 64381"/>
                      <a:gd name="connsiteY8" fmla="*/ 0 h 91909"/>
                      <a:gd name="connsiteX9" fmla="*/ 10000 w 64381"/>
                      <a:gd name="connsiteY9" fmla="*/ 4970 h 91909"/>
                      <a:gd name="connsiteX10" fmla="*/ 10382 w 64381"/>
                      <a:gd name="connsiteY10" fmla="*/ 6588 h 91909"/>
                      <a:gd name="connsiteX11" fmla="*/ 11265 w 64381"/>
                      <a:gd name="connsiteY11" fmla="*/ 6912 h 91909"/>
                      <a:gd name="connsiteX12" fmla="*/ 11265 w 64381"/>
                      <a:gd name="connsiteY12" fmla="*/ 6912 h 91909"/>
                      <a:gd name="connsiteX13" fmla="*/ 33088 w 64381"/>
                      <a:gd name="connsiteY13" fmla="*/ 6912 h 91909"/>
                      <a:gd name="connsiteX14" fmla="*/ 64381 w 64381"/>
                      <a:gd name="connsiteY14" fmla="*/ 34440 h 91909"/>
                      <a:gd name="connsiteX15" fmla="*/ 64381 w 64381"/>
                      <a:gd name="connsiteY15" fmla="*/ 86939 h 91909"/>
                      <a:gd name="connsiteX16" fmla="*/ 59352 w 64381"/>
                      <a:gd name="connsiteY16" fmla="*/ 91909 h 91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381" h="91909">
                        <a:moveTo>
                          <a:pt x="59352" y="91909"/>
                        </a:moveTo>
                        <a:cubicBezTo>
                          <a:pt x="56587" y="91909"/>
                          <a:pt x="54352" y="89674"/>
                          <a:pt x="54352" y="86910"/>
                        </a:cubicBezTo>
                        <a:lnTo>
                          <a:pt x="54352" y="34411"/>
                        </a:lnTo>
                        <a:cubicBezTo>
                          <a:pt x="54352" y="17058"/>
                          <a:pt x="33941" y="16882"/>
                          <a:pt x="33058" y="16882"/>
                        </a:cubicBezTo>
                        <a:lnTo>
                          <a:pt x="11412" y="16882"/>
                        </a:lnTo>
                        <a:cubicBezTo>
                          <a:pt x="10735" y="16941"/>
                          <a:pt x="6706" y="16882"/>
                          <a:pt x="3441" y="13794"/>
                        </a:cubicBezTo>
                        <a:cubicBezTo>
                          <a:pt x="1883" y="12294"/>
                          <a:pt x="30" y="9559"/>
                          <a:pt x="0" y="5029"/>
                        </a:cubicBezTo>
                        <a:cubicBezTo>
                          <a:pt x="-29" y="2265"/>
                          <a:pt x="2206" y="29"/>
                          <a:pt x="4971" y="0"/>
                        </a:cubicBezTo>
                        <a:cubicBezTo>
                          <a:pt x="4971" y="0"/>
                          <a:pt x="5000" y="0"/>
                          <a:pt x="5000" y="0"/>
                        </a:cubicBezTo>
                        <a:cubicBezTo>
                          <a:pt x="7735" y="0"/>
                          <a:pt x="9971" y="2206"/>
                          <a:pt x="10000" y="4970"/>
                        </a:cubicBezTo>
                        <a:cubicBezTo>
                          <a:pt x="10000" y="5912"/>
                          <a:pt x="10206" y="6412"/>
                          <a:pt x="10382" y="6588"/>
                        </a:cubicBezTo>
                        <a:cubicBezTo>
                          <a:pt x="10618" y="6823"/>
                          <a:pt x="11235" y="6912"/>
                          <a:pt x="11265" y="6912"/>
                        </a:cubicBezTo>
                        <a:lnTo>
                          <a:pt x="11265" y="6912"/>
                        </a:lnTo>
                        <a:lnTo>
                          <a:pt x="33088" y="6912"/>
                        </a:lnTo>
                        <a:cubicBezTo>
                          <a:pt x="43911" y="6912"/>
                          <a:pt x="64381" y="12676"/>
                          <a:pt x="64381" y="34440"/>
                        </a:cubicBezTo>
                        <a:lnTo>
                          <a:pt x="64381" y="86939"/>
                        </a:lnTo>
                        <a:cubicBezTo>
                          <a:pt x="64322" y="89674"/>
                          <a:pt x="62087" y="91909"/>
                          <a:pt x="59352" y="91909"/>
                        </a:cubicBezTo>
                        <a:close/>
                      </a:path>
                    </a:pathLst>
                  </a:custGeom>
                  <a:solidFill>
                    <a:schemeClr val="accent1"/>
                  </a:solidFill>
                  <a:ln w="2933" cap="flat">
                    <a:noFill/>
                    <a:prstDash val="solid"/>
                    <a:miter/>
                  </a:ln>
                </p:spPr>
                <p:txBody>
                  <a:bodyPr rtlCol="0" anchor="ctr"/>
                  <a:lstStyle/>
                  <a:p>
                    <a:endParaRPr lang="en-GB" dirty="0"/>
                  </a:p>
                </p:txBody>
              </p:sp>
            </p:grpSp>
            <p:sp>
              <p:nvSpPr>
                <p:cNvPr id="550" name="Freihandform: Form 429">
                  <a:extLst>
                    <a:ext uri="{FF2B5EF4-FFF2-40B4-BE49-F238E27FC236}">
                      <a16:creationId xmlns:a16="http://schemas.microsoft.com/office/drawing/2014/main" id="{AC144C1E-CF4F-4D7D-A677-0A8FC60BAF09}"/>
                    </a:ext>
                  </a:extLst>
                </p:cNvPr>
                <p:cNvSpPr/>
                <p:nvPr/>
              </p:nvSpPr>
              <p:spPr>
                <a:xfrm>
                  <a:off x="2752219" y="2529724"/>
                  <a:ext cx="83733" cy="93585"/>
                </a:xfrm>
                <a:custGeom>
                  <a:avLst/>
                  <a:gdLst>
                    <a:gd name="connsiteX0" fmla="*/ 41852 w 83733"/>
                    <a:gd name="connsiteY0" fmla="*/ 93586 h 93585"/>
                    <a:gd name="connsiteX1" fmla="*/ 0 w 83733"/>
                    <a:gd name="connsiteY1" fmla="*/ 46793 h 93585"/>
                    <a:gd name="connsiteX2" fmla="*/ 41852 w 83733"/>
                    <a:gd name="connsiteY2" fmla="*/ 0 h 93585"/>
                    <a:gd name="connsiteX3" fmla="*/ 83733 w 83733"/>
                    <a:gd name="connsiteY3" fmla="*/ 46793 h 93585"/>
                    <a:gd name="connsiteX4" fmla="*/ 41852 w 83733"/>
                    <a:gd name="connsiteY4" fmla="*/ 93586 h 93585"/>
                    <a:gd name="connsiteX5" fmla="*/ 41852 w 83733"/>
                    <a:gd name="connsiteY5" fmla="*/ 9970 h 93585"/>
                    <a:gd name="connsiteX6" fmla="*/ 9970 w 83733"/>
                    <a:gd name="connsiteY6" fmla="*/ 46793 h 93585"/>
                    <a:gd name="connsiteX7" fmla="*/ 41852 w 83733"/>
                    <a:gd name="connsiteY7" fmla="*/ 83616 h 93585"/>
                    <a:gd name="connsiteX8" fmla="*/ 73733 w 83733"/>
                    <a:gd name="connsiteY8" fmla="*/ 46793 h 93585"/>
                    <a:gd name="connsiteX9" fmla="*/ 41852 w 83733"/>
                    <a:gd name="connsiteY9" fmla="*/ 9970 h 9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733" h="93585">
                      <a:moveTo>
                        <a:pt x="41852" y="93586"/>
                      </a:moveTo>
                      <a:cubicBezTo>
                        <a:pt x="18764" y="93586"/>
                        <a:pt x="0" y="72586"/>
                        <a:pt x="0" y="46793"/>
                      </a:cubicBezTo>
                      <a:cubicBezTo>
                        <a:pt x="0" y="21000"/>
                        <a:pt x="18794" y="0"/>
                        <a:pt x="41852" y="0"/>
                      </a:cubicBezTo>
                      <a:cubicBezTo>
                        <a:pt x="64940" y="0"/>
                        <a:pt x="83733" y="21000"/>
                        <a:pt x="83733" y="46793"/>
                      </a:cubicBezTo>
                      <a:cubicBezTo>
                        <a:pt x="83733" y="72616"/>
                        <a:pt x="64940" y="93586"/>
                        <a:pt x="41852" y="93586"/>
                      </a:cubicBezTo>
                      <a:close/>
                      <a:moveTo>
                        <a:pt x="41852" y="9970"/>
                      </a:moveTo>
                      <a:cubicBezTo>
                        <a:pt x="24264" y="9970"/>
                        <a:pt x="9970" y="26470"/>
                        <a:pt x="9970" y="46793"/>
                      </a:cubicBezTo>
                      <a:cubicBezTo>
                        <a:pt x="9970" y="67087"/>
                        <a:pt x="24264" y="83616"/>
                        <a:pt x="41852" y="83616"/>
                      </a:cubicBezTo>
                      <a:cubicBezTo>
                        <a:pt x="59440" y="83616"/>
                        <a:pt x="73733" y="67087"/>
                        <a:pt x="73733" y="46793"/>
                      </a:cubicBezTo>
                      <a:cubicBezTo>
                        <a:pt x="73733" y="26499"/>
                        <a:pt x="59440" y="9970"/>
                        <a:pt x="41852" y="9970"/>
                      </a:cubicBezTo>
                      <a:close/>
                    </a:path>
                  </a:pathLst>
                </a:custGeom>
                <a:solidFill>
                  <a:schemeClr val="accent1"/>
                </a:solidFill>
                <a:ln w="2933" cap="flat">
                  <a:noFill/>
                  <a:prstDash val="solid"/>
                  <a:miter/>
                </a:ln>
              </p:spPr>
              <p:txBody>
                <a:bodyPr rtlCol="0" anchor="ctr"/>
                <a:lstStyle/>
                <a:p>
                  <a:endParaRPr lang="en-GB" dirty="0"/>
                </a:p>
              </p:txBody>
            </p:sp>
          </p:grpSp>
        </p:grpSp>
      </p:grpSp>
      <p:grpSp>
        <p:nvGrpSpPr>
          <p:cNvPr id="573" name="Group 1172">
            <a:extLst>
              <a:ext uri="{FF2B5EF4-FFF2-40B4-BE49-F238E27FC236}">
                <a16:creationId xmlns:a16="http://schemas.microsoft.com/office/drawing/2014/main" id="{173BA331-1264-43A2-B607-2A592C74330F}"/>
              </a:ext>
            </a:extLst>
          </p:cNvPr>
          <p:cNvGrpSpPr>
            <a:grpSpLocks noChangeAspect="1"/>
          </p:cNvGrpSpPr>
          <p:nvPr/>
        </p:nvGrpSpPr>
        <p:grpSpPr>
          <a:xfrm>
            <a:off x="7158661" y="1626716"/>
            <a:ext cx="290942" cy="432000"/>
            <a:chOff x="6994235" y="1626758"/>
            <a:chExt cx="377426" cy="560414"/>
          </a:xfrm>
        </p:grpSpPr>
        <p:sp>
          <p:nvSpPr>
            <p:cNvPr id="574" name="Freihandform: Form 573">
              <a:extLst>
                <a:ext uri="{FF2B5EF4-FFF2-40B4-BE49-F238E27FC236}">
                  <a16:creationId xmlns:a16="http://schemas.microsoft.com/office/drawing/2014/main" id="{215253A9-27C5-4D13-B2E9-3DE84922B004}"/>
                </a:ext>
              </a:extLst>
            </p:cNvPr>
            <p:cNvSpPr/>
            <p:nvPr/>
          </p:nvSpPr>
          <p:spPr>
            <a:xfrm>
              <a:off x="6994235" y="1704731"/>
              <a:ext cx="377426" cy="359192"/>
            </a:xfrm>
            <a:custGeom>
              <a:avLst/>
              <a:gdLst>
                <a:gd name="connsiteX0" fmla="*/ 75098 w 377426"/>
                <a:gd name="connsiteY0" fmla="*/ 359192 h 359191"/>
                <a:gd name="connsiteX1" fmla="*/ 72242 w 377426"/>
                <a:gd name="connsiteY1" fmla="*/ 358257 h 359191"/>
                <a:gd name="connsiteX2" fmla="*/ 70296 w 377426"/>
                <a:gd name="connsiteY2" fmla="*/ 353505 h 359191"/>
                <a:gd name="connsiteX3" fmla="*/ 91554 w 377426"/>
                <a:gd name="connsiteY3" fmla="*/ 229496 h 359191"/>
                <a:gd name="connsiteX4" fmla="*/ 1466 w 377426"/>
                <a:gd name="connsiteY4" fmla="*/ 141684 h 359191"/>
                <a:gd name="connsiteX5" fmla="*/ 228 w 377426"/>
                <a:gd name="connsiteY5" fmla="*/ 136704 h 359191"/>
                <a:gd name="connsiteX6" fmla="*/ 4146 w 377426"/>
                <a:gd name="connsiteY6" fmla="*/ 133393 h 359191"/>
                <a:gd name="connsiteX7" fmla="*/ 128660 w 377426"/>
                <a:gd name="connsiteY7" fmla="*/ 115295 h 359191"/>
                <a:gd name="connsiteX8" fmla="*/ 184345 w 377426"/>
                <a:gd name="connsiteY8" fmla="*/ 2483 h 359191"/>
                <a:gd name="connsiteX9" fmla="*/ 193066 w 377426"/>
                <a:gd name="connsiteY9" fmla="*/ 2483 h 359191"/>
                <a:gd name="connsiteX10" fmla="*/ 248751 w 377426"/>
                <a:gd name="connsiteY10" fmla="*/ 115295 h 359191"/>
                <a:gd name="connsiteX11" fmla="*/ 373265 w 377426"/>
                <a:gd name="connsiteY11" fmla="*/ 133393 h 359191"/>
                <a:gd name="connsiteX12" fmla="*/ 377183 w 377426"/>
                <a:gd name="connsiteY12" fmla="*/ 136704 h 359191"/>
                <a:gd name="connsiteX13" fmla="*/ 375945 w 377426"/>
                <a:gd name="connsiteY13" fmla="*/ 141684 h 359191"/>
                <a:gd name="connsiteX14" fmla="*/ 285857 w 377426"/>
                <a:gd name="connsiteY14" fmla="*/ 229496 h 359191"/>
                <a:gd name="connsiteX15" fmla="*/ 307115 w 377426"/>
                <a:gd name="connsiteY15" fmla="*/ 353505 h 359191"/>
                <a:gd name="connsiteX16" fmla="*/ 305169 w 377426"/>
                <a:gd name="connsiteY16" fmla="*/ 358257 h 359191"/>
                <a:gd name="connsiteX17" fmla="*/ 300063 w 377426"/>
                <a:gd name="connsiteY17" fmla="*/ 358636 h 359191"/>
                <a:gd name="connsiteX18" fmla="*/ 254438 w 377426"/>
                <a:gd name="connsiteY18" fmla="*/ 334648 h 359191"/>
                <a:gd name="connsiteX19" fmla="*/ 252391 w 377426"/>
                <a:gd name="connsiteY19" fmla="*/ 328076 h 359191"/>
                <a:gd name="connsiteX20" fmla="*/ 258963 w 377426"/>
                <a:gd name="connsiteY20" fmla="*/ 326029 h 359191"/>
                <a:gd name="connsiteX21" fmla="*/ 295892 w 377426"/>
                <a:gd name="connsiteY21" fmla="*/ 345441 h 359191"/>
                <a:gd name="connsiteX22" fmla="*/ 275873 w 377426"/>
                <a:gd name="connsiteY22" fmla="*/ 228611 h 359191"/>
                <a:gd name="connsiteX23" fmla="*/ 277263 w 377426"/>
                <a:gd name="connsiteY23" fmla="*/ 224314 h 359191"/>
                <a:gd name="connsiteX24" fmla="*/ 362143 w 377426"/>
                <a:gd name="connsiteY24" fmla="*/ 141583 h 359191"/>
                <a:gd name="connsiteX25" fmla="*/ 244858 w 377426"/>
                <a:gd name="connsiteY25" fmla="*/ 124546 h 359191"/>
                <a:gd name="connsiteX26" fmla="*/ 241193 w 377426"/>
                <a:gd name="connsiteY26" fmla="*/ 121892 h 359191"/>
                <a:gd name="connsiteX27" fmla="*/ 188743 w 377426"/>
                <a:gd name="connsiteY27" fmla="*/ 15602 h 359191"/>
                <a:gd name="connsiteX28" fmla="*/ 136294 w 377426"/>
                <a:gd name="connsiteY28" fmla="*/ 121892 h 359191"/>
                <a:gd name="connsiteX29" fmla="*/ 132629 w 377426"/>
                <a:gd name="connsiteY29" fmla="*/ 124546 h 359191"/>
                <a:gd name="connsiteX30" fmla="*/ 15343 w 377426"/>
                <a:gd name="connsiteY30" fmla="*/ 141583 h 359191"/>
                <a:gd name="connsiteX31" fmla="*/ 100224 w 377426"/>
                <a:gd name="connsiteY31" fmla="*/ 224314 h 359191"/>
                <a:gd name="connsiteX32" fmla="*/ 101614 w 377426"/>
                <a:gd name="connsiteY32" fmla="*/ 228611 h 359191"/>
                <a:gd name="connsiteX33" fmla="*/ 81594 w 377426"/>
                <a:gd name="connsiteY33" fmla="*/ 345441 h 359191"/>
                <a:gd name="connsiteX34" fmla="*/ 116856 w 377426"/>
                <a:gd name="connsiteY34" fmla="*/ 326913 h 359191"/>
                <a:gd name="connsiteX35" fmla="*/ 123428 w 377426"/>
                <a:gd name="connsiteY35" fmla="*/ 328961 h 359191"/>
                <a:gd name="connsiteX36" fmla="*/ 121380 w 377426"/>
                <a:gd name="connsiteY36" fmla="*/ 335533 h 359191"/>
                <a:gd name="connsiteX37" fmla="*/ 77398 w 377426"/>
                <a:gd name="connsiteY37" fmla="*/ 358661 h 359191"/>
                <a:gd name="connsiteX38" fmla="*/ 75098 w 377426"/>
                <a:gd name="connsiteY38" fmla="*/ 359192 h 359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77426" h="359191">
                  <a:moveTo>
                    <a:pt x="75098" y="359192"/>
                  </a:moveTo>
                  <a:cubicBezTo>
                    <a:pt x="74087" y="359192"/>
                    <a:pt x="73076" y="358889"/>
                    <a:pt x="72242" y="358257"/>
                  </a:cubicBezTo>
                  <a:cubicBezTo>
                    <a:pt x="70751" y="357170"/>
                    <a:pt x="69992" y="355324"/>
                    <a:pt x="70296" y="353505"/>
                  </a:cubicBezTo>
                  <a:lnTo>
                    <a:pt x="91554" y="229496"/>
                  </a:lnTo>
                  <a:lnTo>
                    <a:pt x="1466" y="141684"/>
                  </a:lnTo>
                  <a:cubicBezTo>
                    <a:pt x="152" y="140395"/>
                    <a:pt x="-328" y="138448"/>
                    <a:pt x="228" y="136704"/>
                  </a:cubicBezTo>
                  <a:cubicBezTo>
                    <a:pt x="809" y="134935"/>
                    <a:pt x="2326" y="133671"/>
                    <a:pt x="4146" y="133393"/>
                  </a:cubicBezTo>
                  <a:lnTo>
                    <a:pt x="128660" y="115295"/>
                  </a:lnTo>
                  <a:lnTo>
                    <a:pt x="184345" y="2483"/>
                  </a:lnTo>
                  <a:cubicBezTo>
                    <a:pt x="185988" y="-828"/>
                    <a:pt x="191423" y="-828"/>
                    <a:pt x="193066" y="2483"/>
                  </a:cubicBezTo>
                  <a:lnTo>
                    <a:pt x="248751" y="115295"/>
                  </a:lnTo>
                  <a:lnTo>
                    <a:pt x="373265" y="133393"/>
                  </a:lnTo>
                  <a:cubicBezTo>
                    <a:pt x="375110" y="133671"/>
                    <a:pt x="376627" y="134935"/>
                    <a:pt x="377183" y="136704"/>
                  </a:cubicBezTo>
                  <a:cubicBezTo>
                    <a:pt x="377764" y="138473"/>
                    <a:pt x="377284" y="140395"/>
                    <a:pt x="375945" y="141684"/>
                  </a:cubicBezTo>
                  <a:lnTo>
                    <a:pt x="285857" y="229496"/>
                  </a:lnTo>
                  <a:lnTo>
                    <a:pt x="307115" y="353505"/>
                  </a:lnTo>
                  <a:cubicBezTo>
                    <a:pt x="307419" y="355324"/>
                    <a:pt x="306686" y="357170"/>
                    <a:pt x="305169" y="358257"/>
                  </a:cubicBezTo>
                  <a:cubicBezTo>
                    <a:pt x="303678" y="359344"/>
                    <a:pt x="301681" y="359495"/>
                    <a:pt x="300063" y="358636"/>
                  </a:cubicBezTo>
                  <a:lnTo>
                    <a:pt x="254438" y="334648"/>
                  </a:lnTo>
                  <a:cubicBezTo>
                    <a:pt x="252062" y="333409"/>
                    <a:pt x="251152" y="330452"/>
                    <a:pt x="252391" y="328076"/>
                  </a:cubicBezTo>
                  <a:cubicBezTo>
                    <a:pt x="253655" y="325700"/>
                    <a:pt x="256561" y="324790"/>
                    <a:pt x="258963" y="326029"/>
                  </a:cubicBezTo>
                  <a:lnTo>
                    <a:pt x="295892" y="345441"/>
                  </a:lnTo>
                  <a:lnTo>
                    <a:pt x="275873" y="228611"/>
                  </a:lnTo>
                  <a:cubicBezTo>
                    <a:pt x="275595" y="227044"/>
                    <a:pt x="276126" y="225426"/>
                    <a:pt x="277263" y="224314"/>
                  </a:cubicBezTo>
                  <a:lnTo>
                    <a:pt x="362143" y="141583"/>
                  </a:lnTo>
                  <a:lnTo>
                    <a:pt x="244858" y="124546"/>
                  </a:lnTo>
                  <a:cubicBezTo>
                    <a:pt x="243266" y="124318"/>
                    <a:pt x="241901" y="123333"/>
                    <a:pt x="241193" y="121892"/>
                  </a:cubicBezTo>
                  <a:lnTo>
                    <a:pt x="188743" y="15602"/>
                  </a:lnTo>
                  <a:lnTo>
                    <a:pt x="136294" y="121892"/>
                  </a:lnTo>
                  <a:cubicBezTo>
                    <a:pt x="135586" y="123333"/>
                    <a:pt x="134221" y="124318"/>
                    <a:pt x="132629" y="124546"/>
                  </a:cubicBezTo>
                  <a:lnTo>
                    <a:pt x="15343" y="141583"/>
                  </a:lnTo>
                  <a:lnTo>
                    <a:pt x="100224" y="224314"/>
                  </a:lnTo>
                  <a:cubicBezTo>
                    <a:pt x="101361" y="225426"/>
                    <a:pt x="101892" y="227044"/>
                    <a:pt x="101614" y="228611"/>
                  </a:cubicBezTo>
                  <a:lnTo>
                    <a:pt x="81594" y="345441"/>
                  </a:lnTo>
                  <a:lnTo>
                    <a:pt x="116856" y="326913"/>
                  </a:lnTo>
                  <a:cubicBezTo>
                    <a:pt x="119232" y="325675"/>
                    <a:pt x="122164" y="326585"/>
                    <a:pt x="123428" y="328961"/>
                  </a:cubicBezTo>
                  <a:cubicBezTo>
                    <a:pt x="124666" y="331337"/>
                    <a:pt x="123756" y="334269"/>
                    <a:pt x="121380" y="335533"/>
                  </a:cubicBezTo>
                  <a:lnTo>
                    <a:pt x="77398" y="358661"/>
                  </a:lnTo>
                  <a:cubicBezTo>
                    <a:pt x="76640" y="359015"/>
                    <a:pt x="75857" y="359192"/>
                    <a:pt x="75098" y="359192"/>
                  </a:cubicBezTo>
                  <a:close/>
                </a:path>
              </a:pathLst>
            </a:custGeom>
            <a:solidFill>
              <a:schemeClr val="tx2"/>
            </a:solidFill>
            <a:ln w="2523" cap="flat">
              <a:noFill/>
              <a:prstDash val="solid"/>
              <a:miter/>
            </a:ln>
          </p:spPr>
          <p:txBody>
            <a:bodyPr rtlCol="0" anchor="ctr"/>
            <a:lstStyle/>
            <a:p>
              <a:endParaRPr lang="en-GB" dirty="0"/>
            </a:p>
          </p:txBody>
        </p:sp>
        <p:grpSp>
          <p:nvGrpSpPr>
            <p:cNvPr id="575" name="Group 1123">
              <a:extLst>
                <a:ext uri="{FF2B5EF4-FFF2-40B4-BE49-F238E27FC236}">
                  <a16:creationId xmlns:a16="http://schemas.microsoft.com/office/drawing/2014/main" id="{B955F9B8-020C-47C0-99EC-F1A004CA6BC7}"/>
                </a:ext>
              </a:extLst>
            </p:cNvPr>
            <p:cNvGrpSpPr/>
            <p:nvPr/>
          </p:nvGrpSpPr>
          <p:grpSpPr>
            <a:xfrm>
              <a:off x="7034756" y="1626758"/>
              <a:ext cx="296359" cy="560414"/>
              <a:chOff x="7034755" y="1626758"/>
              <a:chExt cx="296359" cy="560414"/>
            </a:xfrm>
          </p:grpSpPr>
          <p:grpSp>
            <p:nvGrpSpPr>
              <p:cNvPr id="576" name="Grafik 3">
                <a:extLst>
                  <a:ext uri="{FF2B5EF4-FFF2-40B4-BE49-F238E27FC236}">
                    <a16:creationId xmlns:a16="http://schemas.microsoft.com/office/drawing/2014/main" id="{152187EA-03D3-436E-8007-4E55303C71DB}"/>
                  </a:ext>
                </a:extLst>
              </p:cNvPr>
              <p:cNvGrpSpPr/>
              <p:nvPr/>
            </p:nvGrpSpPr>
            <p:grpSpPr>
              <a:xfrm>
                <a:off x="7131951" y="1950707"/>
                <a:ext cx="100400" cy="236465"/>
                <a:chOff x="7131951" y="1950707"/>
                <a:chExt cx="100400" cy="236465"/>
              </a:xfrm>
              <a:solidFill>
                <a:schemeClr val="accent1"/>
              </a:solidFill>
            </p:grpSpPr>
            <p:sp>
              <p:nvSpPr>
                <p:cNvPr id="580" name="Freihandform: Form 579">
                  <a:extLst>
                    <a:ext uri="{FF2B5EF4-FFF2-40B4-BE49-F238E27FC236}">
                      <a16:creationId xmlns:a16="http://schemas.microsoft.com/office/drawing/2014/main" id="{022EDCA7-FBD3-41C3-9D28-0E5B938B326F}"/>
                    </a:ext>
                  </a:extLst>
                </p:cNvPr>
                <p:cNvSpPr/>
                <p:nvPr/>
              </p:nvSpPr>
              <p:spPr>
                <a:xfrm>
                  <a:off x="7131951" y="2030607"/>
                  <a:ext cx="100400" cy="9706"/>
                </a:xfrm>
                <a:custGeom>
                  <a:avLst/>
                  <a:gdLst>
                    <a:gd name="connsiteX0" fmla="*/ 95547 w 100400"/>
                    <a:gd name="connsiteY0" fmla="*/ 9706 h 9706"/>
                    <a:gd name="connsiteX1" fmla="*/ 4853 w 100400"/>
                    <a:gd name="connsiteY1" fmla="*/ 9706 h 9706"/>
                    <a:gd name="connsiteX2" fmla="*/ 0 w 100400"/>
                    <a:gd name="connsiteY2" fmla="*/ 4853 h 9706"/>
                    <a:gd name="connsiteX3" fmla="*/ 4853 w 100400"/>
                    <a:gd name="connsiteY3" fmla="*/ 0 h 9706"/>
                    <a:gd name="connsiteX4" fmla="*/ 95547 w 100400"/>
                    <a:gd name="connsiteY4" fmla="*/ 0 h 9706"/>
                    <a:gd name="connsiteX5" fmla="*/ 100400 w 100400"/>
                    <a:gd name="connsiteY5" fmla="*/ 4853 h 9706"/>
                    <a:gd name="connsiteX6" fmla="*/ 95547 w 100400"/>
                    <a:gd name="connsiteY6" fmla="*/ 9706 h 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00" h="9706">
                      <a:moveTo>
                        <a:pt x="95547" y="9706"/>
                      </a:moveTo>
                      <a:lnTo>
                        <a:pt x="4853" y="9706"/>
                      </a:lnTo>
                      <a:cubicBezTo>
                        <a:pt x="2174" y="9706"/>
                        <a:pt x="0" y="7533"/>
                        <a:pt x="0" y="4853"/>
                      </a:cubicBezTo>
                      <a:cubicBezTo>
                        <a:pt x="0" y="2174"/>
                        <a:pt x="2174" y="0"/>
                        <a:pt x="4853" y="0"/>
                      </a:cubicBezTo>
                      <a:lnTo>
                        <a:pt x="95547" y="0"/>
                      </a:lnTo>
                      <a:cubicBezTo>
                        <a:pt x="98226" y="0"/>
                        <a:pt x="100400" y="2174"/>
                        <a:pt x="100400" y="4853"/>
                      </a:cubicBezTo>
                      <a:cubicBezTo>
                        <a:pt x="100425" y="7533"/>
                        <a:pt x="98226" y="9706"/>
                        <a:pt x="95547" y="9706"/>
                      </a:cubicBezTo>
                      <a:close/>
                    </a:path>
                  </a:pathLst>
                </a:custGeom>
                <a:solidFill>
                  <a:schemeClr val="accent1"/>
                </a:solidFill>
                <a:ln w="2523" cap="flat">
                  <a:noFill/>
                  <a:prstDash val="solid"/>
                  <a:miter/>
                </a:ln>
              </p:spPr>
              <p:txBody>
                <a:bodyPr rtlCol="0" anchor="ctr"/>
                <a:lstStyle/>
                <a:p>
                  <a:endParaRPr lang="en-GB" dirty="0"/>
                </a:p>
              </p:txBody>
            </p:sp>
            <p:grpSp>
              <p:nvGrpSpPr>
                <p:cNvPr id="581" name="Grafik 3">
                  <a:extLst>
                    <a:ext uri="{FF2B5EF4-FFF2-40B4-BE49-F238E27FC236}">
                      <a16:creationId xmlns:a16="http://schemas.microsoft.com/office/drawing/2014/main" id="{C98260E7-06ED-4B41-9945-E38D439773D7}"/>
                    </a:ext>
                  </a:extLst>
                </p:cNvPr>
                <p:cNvGrpSpPr/>
                <p:nvPr/>
              </p:nvGrpSpPr>
              <p:grpSpPr>
                <a:xfrm>
                  <a:off x="7131951" y="1950707"/>
                  <a:ext cx="100400" cy="236465"/>
                  <a:chOff x="7131951" y="1950707"/>
                  <a:chExt cx="100400" cy="236465"/>
                </a:xfrm>
                <a:solidFill>
                  <a:schemeClr val="accent1"/>
                </a:solidFill>
              </p:grpSpPr>
              <p:sp>
                <p:nvSpPr>
                  <p:cNvPr id="582" name="Freihandform: Form 581">
                    <a:extLst>
                      <a:ext uri="{FF2B5EF4-FFF2-40B4-BE49-F238E27FC236}">
                        <a16:creationId xmlns:a16="http://schemas.microsoft.com/office/drawing/2014/main" id="{54EDE738-F5FD-43DD-A19F-7A67FE7C64CE}"/>
                      </a:ext>
                    </a:extLst>
                  </p:cNvPr>
                  <p:cNvSpPr/>
                  <p:nvPr/>
                </p:nvSpPr>
                <p:spPr>
                  <a:xfrm>
                    <a:off x="7222644" y="1950707"/>
                    <a:ext cx="9706" cy="236465"/>
                  </a:xfrm>
                  <a:custGeom>
                    <a:avLst/>
                    <a:gdLst>
                      <a:gd name="connsiteX0" fmla="*/ 4853 w 9706"/>
                      <a:gd name="connsiteY0" fmla="*/ 236466 h 236465"/>
                      <a:gd name="connsiteX1" fmla="*/ 0 w 9706"/>
                      <a:gd name="connsiteY1" fmla="*/ 231613 h 236465"/>
                      <a:gd name="connsiteX2" fmla="*/ 0 w 9706"/>
                      <a:gd name="connsiteY2" fmla="*/ 4853 h 236465"/>
                      <a:gd name="connsiteX3" fmla="*/ 4853 w 9706"/>
                      <a:gd name="connsiteY3" fmla="*/ 0 h 236465"/>
                      <a:gd name="connsiteX4" fmla="*/ 9706 w 9706"/>
                      <a:gd name="connsiteY4" fmla="*/ 4853 h 236465"/>
                      <a:gd name="connsiteX5" fmla="*/ 9706 w 9706"/>
                      <a:gd name="connsiteY5" fmla="*/ 231613 h 236465"/>
                      <a:gd name="connsiteX6" fmla="*/ 4853 w 9706"/>
                      <a:gd name="connsiteY6" fmla="*/ 236466 h 23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06" h="236465">
                        <a:moveTo>
                          <a:pt x="4853" y="236466"/>
                        </a:moveTo>
                        <a:cubicBezTo>
                          <a:pt x="2174" y="236466"/>
                          <a:pt x="0" y="234292"/>
                          <a:pt x="0" y="231613"/>
                        </a:cubicBezTo>
                        <a:lnTo>
                          <a:pt x="0" y="4853"/>
                        </a:lnTo>
                        <a:cubicBezTo>
                          <a:pt x="0" y="2174"/>
                          <a:pt x="2174" y="0"/>
                          <a:pt x="4853" y="0"/>
                        </a:cubicBezTo>
                        <a:cubicBezTo>
                          <a:pt x="7533" y="0"/>
                          <a:pt x="9706" y="2174"/>
                          <a:pt x="9706" y="4853"/>
                        </a:cubicBezTo>
                        <a:lnTo>
                          <a:pt x="9706" y="231613"/>
                        </a:lnTo>
                        <a:cubicBezTo>
                          <a:pt x="9732" y="234292"/>
                          <a:pt x="7533" y="236466"/>
                          <a:pt x="4853" y="236466"/>
                        </a:cubicBezTo>
                        <a:close/>
                      </a:path>
                    </a:pathLst>
                  </a:custGeom>
                  <a:solidFill>
                    <a:schemeClr val="accent1"/>
                  </a:solidFill>
                  <a:ln w="2523" cap="flat">
                    <a:noFill/>
                    <a:prstDash val="solid"/>
                    <a:miter/>
                  </a:ln>
                </p:spPr>
                <p:txBody>
                  <a:bodyPr rtlCol="0" anchor="ctr"/>
                  <a:lstStyle/>
                  <a:p>
                    <a:endParaRPr lang="en-GB" dirty="0"/>
                  </a:p>
                </p:txBody>
              </p:sp>
              <p:sp>
                <p:nvSpPr>
                  <p:cNvPr id="583" name="Freihandform: Form 582">
                    <a:extLst>
                      <a:ext uri="{FF2B5EF4-FFF2-40B4-BE49-F238E27FC236}">
                        <a16:creationId xmlns:a16="http://schemas.microsoft.com/office/drawing/2014/main" id="{A5AFB158-3906-490C-93A6-55755848217B}"/>
                      </a:ext>
                    </a:extLst>
                  </p:cNvPr>
                  <p:cNvSpPr/>
                  <p:nvPr/>
                </p:nvSpPr>
                <p:spPr>
                  <a:xfrm>
                    <a:off x="7131951" y="1950707"/>
                    <a:ext cx="9706" cy="236465"/>
                  </a:xfrm>
                  <a:custGeom>
                    <a:avLst/>
                    <a:gdLst>
                      <a:gd name="connsiteX0" fmla="*/ 4853 w 9706"/>
                      <a:gd name="connsiteY0" fmla="*/ 236466 h 236465"/>
                      <a:gd name="connsiteX1" fmla="*/ 0 w 9706"/>
                      <a:gd name="connsiteY1" fmla="*/ 231613 h 236465"/>
                      <a:gd name="connsiteX2" fmla="*/ 0 w 9706"/>
                      <a:gd name="connsiteY2" fmla="*/ 4853 h 236465"/>
                      <a:gd name="connsiteX3" fmla="*/ 4853 w 9706"/>
                      <a:gd name="connsiteY3" fmla="*/ 0 h 236465"/>
                      <a:gd name="connsiteX4" fmla="*/ 9706 w 9706"/>
                      <a:gd name="connsiteY4" fmla="*/ 4853 h 236465"/>
                      <a:gd name="connsiteX5" fmla="*/ 9706 w 9706"/>
                      <a:gd name="connsiteY5" fmla="*/ 231613 h 236465"/>
                      <a:gd name="connsiteX6" fmla="*/ 4853 w 9706"/>
                      <a:gd name="connsiteY6" fmla="*/ 236466 h 23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06" h="236465">
                        <a:moveTo>
                          <a:pt x="4853" y="236466"/>
                        </a:moveTo>
                        <a:cubicBezTo>
                          <a:pt x="2174" y="236466"/>
                          <a:pt x="0" y="234292"/>
                          <a:pt x="0" y="231613"/>
                        </a:cubicBezTo>
                        <a:lnTo>
                          <a:pt x="0" y="4853"/>
                        </a:lnTo>
                        <a:cubicBezTo>
                          <a:pt x="0" y="2174"/>
                          <a:pt x="2174" y="0"/>
                          <a:pt x="4853" y="0"/>
                        </a:cubicBezTo>
                        <a:cubicBezTo>
                          <a:pt x="7532" y="0"/>
                          <a:pt x="9706" y="2174"/>
                          <a:pt x="9706" y="4853"/>
                        </a:cubicBezTo>
                        <a:lnTo>
                          <a:pt x="9706" y="231613"/>
                        </a:lnTo>
                        <a:cubicBezTo>
                          <a:pt x="9706" y="234292"/>
                          <a:pt x="7532" y="236466"/>
                          <a:pt x="4853" y="236466"/>
                        </a:cubicBezTo>
                        <a:close/>
                      </a:path>
                    </a:pathLst>
                  </a:custGeom>
                  <a:solidFill>
                    <a:schemeClr val="accent1"/>
                  </a:solidFill>
                  <a:ln w="2523" cap="flat">
                    <a:noFill/>
                    <a:prstDash val="solid"/>
                    <a:miter/>
                  </a:ln>
                </p:spPr>
                <p:txBody>
                  <a:bodyPr rtlCol="0" anchor="ctr"/>
                  <a:lstStyle/>
                  <a:p>
                    <a:endParaRPr lang="en-GB" dirty="0"/>
                  </a:p>
                </p:txBody>
              </p:sp>
              <p:sp>
                <p:nvSpPr>
                  <p:cNvPr id="584" name="Freihandform: Form 583">
                    <a:extLst>
                      <a:ext uri="{FF2B5EF4-FFF2-40B4-BE49-F238E27FC236}">
                        <a16:creationId xmlns:a16="http://schemas.microsoft.com/office/drawing/2014/main" id="{2CB69576-3A01-41D5-8FF6-BD2EB8FC0E6E}"/>
                      </a:ext>
                    </a:extLst>
                  </p:cNvPr>
                  <p:cNvSpPr/>
                  <p:nvPr/>
                </p:nvSpPr>
                <p:spPr>
                  <a:xfrm>
                    <a:off x="7131951" y="2151558"/>
                    <a:ext cx="100400" cy="9706"/>
                  </a:xfrm>
                  <a:custGeom>
                    <a:avLst/>
                    <a:gdLst>
                      <a:gd name="connsiteX0" fmla="*/ 95547 w 100400"/>
                      <a:gd name="connsiteY0" fmla="*/ 9706 h 9706"/>
                      <a:gd name="connsiteX1" fmla="*/ 4853 w 100400"/>
                      <a:gd name="connsiteY1" fmla="*/ 9706 h 9706"/>
                      <a:gd name="connsiteX2" fmla="*/ 0 w 100400"/>
                      <a:gd name="connsiteY2" fmla="*/ 4853 h 9706"/>
                      <a:gd name="connsiteX3" fmla="*/ 4853 w 100400"/>
                      <a:gd name="connsiteY3" fmla="*/ 0 h 9706"/>
                      <a:gd name="connsiteX4" fmla="*/ 95547 w 100400"/>
                      <a:gd name="connsiteY4" fmla="*/ 0 h 9706"/>
                      <a:gd name="connsiteX5" fmla="*/ 100400 w 100400"/>
                      <a:gd name="connsiteY5" fmla="*/ 4853 h 9706"/>
                      <a:gd name="connsiteX6" fmla="*/ 95547 w 100400"/>
                      <a:gd name="connsiteY6" fmla="*/ 9706 h 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00" h="9706">
                        <a:moveTo>
                          <a:pt x="95547" y="9706"/>
                        </a:moveTo>
                        <a:lnTo>
                          <a:pt x="4853" y="9706"/>
                        </a:lnTo>
                        <a:cubicBezTo>
                          <a:pt x="2174" y="9706"/>
                          <a:pt x="0" y="7533"/>
                          <a:pt x="0" y="4853"/>
                        </a:cubicBezTo>
                        <a:cubicBezTo>
                          <a:pt x="0" y="2174"/>
                          <a:pt x="2174" y="0"/>
                          <a:pt x="4853" y="0"/>
                        </a:cubicBezTo>
                        <a:lnTo>
                          <a:pt x="95547" y="0"/>
                        </a:lnTo>
                        <a:cubicBezTo>
                          <a:pt x="98226" y="0"/>
                          <a:pt x="100400" y="2174"/>
                          <a:pt x="100400" y="4853"/>
                        </a:cubicBezTo>
                        <a:cubicBezTo>
                          <a:pt x="100425" y="7533"/>
                          <a:pt x="98226" y="9706"/>
                          <a:pt x="95547" y="9706"/>
                        </a:cubicBezTo>
                        <a:close/>
                      </a:path>
                    </a:pathLst>
                  </a:custGeom>
                  <a:solidFill>
                    <a:schemeClr val="accent1"/>
                  </a:solidFill>
                  <a:ln w="2523" cap="flat">
                    <a:noFill/>
                    <a:prstDash val="solid"/>
                    <a:miter/>
                  </a:ln>
                </p:spPr>
                <p:txBody>
                  <a:bodyPr rtlCol="0" anchor="ctr"/>
                  <a:lstStyle/>
                  <a:p>
                    <a:endParaRPr lang="en-GB" dirty="0"/>
                  </a:p>
                </p:txBody>
              </p:sp>
              <p:sp>
                <p:nvSpPr>
                  <p:cNvPr id="585" name="Freihandform: Form 584">
                    <a:extLst>
                      <a:ext uri="{FF2B5EF4-FFF2-40B4-BE49-F238E27FC236}">
                        <a16:creationId xmlns:a16="http://schemas.microsoft.com/office/drawing/2014/main" id="{A8CEC943-3CD7-4458-9A95-D9375B13CAAE}"/>
                      </a:ext>
                    </a:extLst>
                  </p:cNvPr>
                  <p:cNvSpPr/>
                  <p:nvPr/>
                </p:nvSpPr>
                <p:spPr>
                  <a:xfrm>
                    <a:off x="7131951" y="2091095"/>
                    <a:ext cx="100400" cy="9706"/>
                  </a:xfrm>
                  <a:custGeom>
                    <a:avLst/>
                    <a:gdLst>
                      <a:gd name="connsiteX0" fmla="*/ 95547 w 100400"/>
                      <a:gd name="connsiteY0" fmla="*/ 9706 h 9706"/>
                      <a:gd name="connsiteX1" fmla="*/ 4853 w 100400"/>
                      <a:gd name="connsiteY1" fmla="*/ 9706 h 9706"/>
                      <a:gd name="connsiteX2" fmla="*/ 0 w 100400"/>
                      <a:gd name="connsiteY2" fmla="*/ 4853 h 9706"/>
                      <a:gd name="connsiteX3" fmla="*/ 4853 w 100400"/>
                      <a:gd name="connsiteY3" fmla="*/ 0 h 9706"/>
                      <a:gd name="connsiteX4" fmla="*/ 95547 w 100400"/>
                      <a:gd name="connsiteY4" fmla="*/ 0 h 9706"/>
                      <a:gd name="connsiteX5" fmla="*/ 100400 w 100400"/>
                      <a:gd name="connsiteY5" fmla="*/ 4853 h 9706"/>
                      <a:gd name="connsiteX6" fmla="*/ 95547 w 100400"/>
                      <a:gd name="connsiteY6" fmla="*/ 9706 h 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00" h="9706">
                        <a:moveTo>
                          <a:pt x="95547" y="9706"/>
                        </a:moveTo>
                        <a:lnTo>
                          <a:pt x="4853" y="9706"/>
                        </a:lnTo>
                        <a:cubicBezTo>
                          <a:pt x="2174" y="9706"/>
                          <a:pt x="0" y="7533"/>
                          <a:pt x="0" y="4853"/>
                        </a:cubicBezTo>
                        <a:cubicBezTo>
                          <a:pt x="0" y="2174"/>
                          <a:pt x="2174" y="0"/>
                          <a:pt x="4853" y="0"/>
                        </a:cubicBezTo>
                        <a:lnTo>
                          <a:pt x="95547" y="0"/>
                        </a:lnTo>
                        <a:cubicBezTo>
                          <a:pt x="98226" y="0"/>
                          <a:pt x="100400" y="2174"/>
                          <a:pt x="100400" y="4853"/>
                        </a:cubicBezTo>
                        <a:cubicBezTo>
                          <a:pt x="100425" y="7533"/>
                          <a:pt x="98226" y="9706"/>
                          <a:pt x="95547" y="9706"/>
                        </a:cubicBezTo>
                        <a:close/>
                      </a:path>
                    </a:pathLst>
                  </a:custGeom>
                  <a:solidFill>
                    <a:schemeClr val="accent1"/>
                  </a:solidFill>
                  <a:ln w="2523" cap="flat">
                    <a:noFill/>
                    <a:prstDash val="solid"/>
                    <a:miter/>
                  </a:ln>
                </p:spPr>
                <p:txBody>
                  <a:bodyPr rtlCol="0" anchor="ctr"/>
                  <a:lstStyle/>
                  <a:p>
                    <a:endParaRPr lang="en-GB" dirty="0"/>
                  </a:p>
                </p:txBody>
              </p:sp>
              <p:sp>
                <p:nvSpPr>
                  <p:cNvPr id="586" name="Freihandform: Form 585">
                    <a:extLst>
                      <a:ext uri="{FF2B5EF4-FFF2-40B4-BE49-F238E27FC236}">
                        <a16:creationId xmlns:a16="http://schemas.microsoft.com/office/drawing/2014/main" id="{653B736D-0573-4E7C-81E5-69247246AB78}"/>
                      </a:ext>
                    </a:extLst>
                  </p:cNvPr>
                  <p:cNvSpPr/>
                  <p:nvPr/>
                </p:nvSpPr>
                <p:spPr>
                  <a:xfrm>
                    <a:off x="7131951" y="1970145"/>
                    <a:ext cx="100400" cy="9706"/>
                  </a:xfrm>
                  <a:custGeom>
                    <a:avLst/>
                    <a:gdLst>
                      <a:gd name="connsiteX0" fmla="*/ 95547 w 100400"/>
                      <a:gd name="connsiteY0" fmla="*/ 9706 h 9706"/>
                      <a:gd name="connsiteX1" fmla="*/ 4853 w 100400"/>
                      <a:gd name="connsiteY1" fmla="*/ 9706 h 9706"/>
                      <a:gd name="connsiteX2" fmla="*/ 0 w 100400"/>
                      <a:gd name="connsiteY2" fmla="*/ 4853 h 9706"/>
                      <a:gd name="connsiteX3" fmla="*/ 4853 w 100400"/>
                      <a:gd name="connsiteY3" fmla="*/ 0 h 9706"/>
                      <a:gd name="connsiteX4" fmla="*/ 95547 w 100400"/>
                      <a:gd name="connsiteY4" fmla="*/ 0 h 9706"/>
                      <a:gd name="connsiteX5" fmla="*/ 100400 w 100400"/>
                      <a:gd name="connsiteY5" fmla="*/ 4853 h 9706"/>
                      <a:gd name="connsiteX6" fmla="*/ 95547 w 100400"/>
                      <a:gd name="connsiteY6" fmla="*/ 9706 h 9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00" h="9706">
                        <a:moveTo>
                          <a:pt x="95547" y="9706"/>
                        </a:moveTo>
                        <a:lnTo>
                          <a:pt x="4853" y="9706"/>
                        </a:lnTo>
                        <a:cubicBezTo>
                          <a:pt x="2174" y="9706"/>
                          <a:pt x="0" y="7533"/>
                          <a:pt x="0" y="4853"/>
                        </a:cubicBezTo>
                        <a:cubicBezTo>
                          <a:pt x="0" y="2174"/>
                          <a:pt x="2174" y="0"/>
                          <a:pt x="4853" y="0"/>
                        </a:cubicBezTo>
                        <a:lnTo>
                          <a:pt x="95547" y="0"/>
                        </a:lnTo>
                        <a:cubicBezTo>
                          <a:pt x="98226" y="0"/>
                          <a:pt x="100400" y="2174"/>
                          <a:pt x="100400" y="4853"/>
                        </a:cubicBezTo>
                        <a:cubicBezTo>
                          <a:pt x="100425" y="7533"/>
                          <a:pt x="98226" y="9706"/>
                          <a:pt x="95547" y="9706"/>
                        </a:cubicBezTo>
                        <a:close/>
                      </a:path>
                    </a:pathLst>
                  </a:custGeom>
                  <a:solidFill>
                    <a:schemeClr val="accent1"/>
                  </a:solidFill>
                  <a:ln w="2523" cap="flat">
                    <a:noFill/>
                    <a:prstDash val="solid"/>
                    <a:miter/>
                  </a:ln>
                </p:spPr>
                <p:txBody>
                  <a:bodyPr rtlCol="0" anchor="ctr"/>
                  <a:lstStyle/>
                  <a:p>
                    <a:endParaRPr lang="en-GB" dirty="0"/>
                  </a:p>
                </p:txBody>
              </p:sp>
            </p:grpSp>
          </p:grpSp>
          <p:sp>
            <p:nvSpPr>
              <p:cNvPr id="577" name="Freihandform: Form 576">
                <a:extLst>
                  <a:ext uri="{FF2B5EF4-FFF2-40B4-BE49-F238E27FC236}">
                    <a16:creationId xmlns:a16="http://schemas.microsoft.com/office/drawing/2014/main" id="{2567D3EC-2081-496D-A71C-8491FE84ACBB}"/>
                  </a:ext>
                </a:extLst>
              </p:cNvPr>
              <p:cNvSpPr/>
              <p:nvPr/>
            </p:nvSpPr>
            <p:spPr>
              <a:xfrm>
                <a:off x="7177298" y="1626758"/>
                <a:ext cx="9706" cy="48582"/>
              </a:xfrm>
              <a:custGeom>
                <a:avLst/>
                <a:gdLst>
                  <a:gd name="connsiteX0" fmla="*/ 4853 w 9706"/>
                  <a:gd name="connsiteY0" fmla="*/ 48582 h 48582"/>
                  <a:gd name="connsiteX1" fmla="*/ 0 w 9706"/>
                  <a:gd name="connsiteY1" fmla="*/ 43729 h 48582"/>
                  <a:gd name="connsiteX2" fmla="*/ 0 w 9706"/>
                  <a:gd name="connsiteY2" fmla="*/ 4853 h 48582"/>
                  <a:gd name="connsiteX3" fmla="*/ 4853 w 9706"/>
                  <a:gd name="connsiteY3" fmla="*/ 0 h 48582"/>
                  <a:gd name="connsiteX4" fmla="*/ 9706 w 9706"/>
                  <a:gd name="connsiteY4" fmla="*/ 4853 h 48582"/>
                  <a:gd name="connsiteX5" fmla="*/ 9706 w 9706"/>
                  <a:gd name="connsiteY5" fmla="*/ 43729 h 48582"/>
                  <a:gd name="connsiteX6" fmla="*/ 4853 w 9706"/>
                  <a:gd name="connsiteY6" fmla="*/ 48582 h 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06" h="48582">
                    <a:moveTo>
                      <a:pt x="4853" y="48582"/>
                    </a:moveTo>
                    <a:cubicBezTo>
                      <a:pt x="2174" y="48582"/>
                      <a:pt x="0" y="46408"/>
                      <a:pt x="0" y="43729"/>
                    </a:cubicBezTo>
                    <a:lnTo>
                      <a:pt x="0" y="4853"/>
                    </a:lnTo>
                    <a:cubicBezTo>
                      <a:pt x="0" y="2174"/>
                      <a:pt x="2174" y="0"/>
                      <a:pt x="4853" y="0"/>
                    </a:cubicBezTo>
                    <a:cubicBezTo>
                      <a:pt x="7532" y="0"/>
                      <a:pt x="9706" y="2174"/>
                      <a:pt x="9706" y="4853"/>
                    </a:cubicBezTo>
                    <a:lnTo>
                      <a:pt x="9706" y="43729"/>
                    </a:lnTo>
                    <a:cubicBezTo>
                      <a:pt x="9706" y="46408"/>
                      <a:pt x="7532" y="48582"/>
                      <a:pt x="4853" y="48582"/>
                    </a:cubicBezTo>
                    <a:close/>
                  </a:path>
                </a:pathLst>
              </a:custGeom>
              <a:solidFill>
                <a:schemeClr val="accent1"/>
              </a:solidFill>
              <a:ln w="2523" cap="flat">
                <a:noFill/>
                <a:prstDash val="solid"/>
                <a:miter/>
              </a:ln>
            </p:spPr>
            <p:txBody>
              <a:bodyPr rtlCol="0" anchor="ctr"/>
              <a:lstStyle/>
              <a:p>
                <a:endParaRPr lang="en-GB" dirty="0"/>
              </a:p>
            </p:txBody>
          </p:sp>
          <p:sp>
            <p:nvSpPr>
              <p:cNvPr id="578" name="Freihandform: Form 577">
                <a:extLst>
                  <a:ext uri="{FF2B5EF4-FFF2-40B4-BE49-F238E27FC236}">
                    <a16:creationId xmlns:a16="http://schemas.microsoft.com/office/drawing/2014/main" id="{F0ADF34F-BF70-4778-BE4C-8A6807EEEA89}"/>
                  </a:ext>
                </a:extLst>
              </p:cNvPr>
              <p:cNvSpPr/>
              <p:nvPr/>
            </p:nvSpPr>
            <p:spPr>
              <a:xfrm>
                <a:off x="7034755" y="1735341"/>
                <a:ext cx="37194" cy="37188"/>
              </a:xfrm>
              <a:custGeom>
                <a:avLst/>
                <a:gdLst>
                  <a:gd name="connsiteX0" fmla="*/ 32335 w 37194"/>
                  <a:gd name="connsiteY0" fmla="*/ 37189 h 37188"/>
                  <a:gd name="connsiteX1" fmla="*/ 28898 w 37194"/>
                  <a:gd name="connsiteY1" fmla="*/ 35773 h 37188"/>
                  <a:gd name="connsiteX2" fmla="*/ 1422 w 37194"/>
                  <a:gd name="connsiteY2" fmla="*/ 8297 h 37188"/>
                  <a:gd name="connsiteX3" fmla="*/ 1422 w 37194"/>
                  <a:gd name="connsiteY3" fmla="*/ 1422 h 37188"/>
                  <a:gd name="connsiteX4" fmla="*/ 8297 w 37194"/>
                  <a:gd name="connsiteY4" fmla="*/ 1422 h 37188"/>
                  <a:gd name="connsiteX5" fmla="*/ 35773 w 37194"/>
                  <a:gd name="connsiteY5" fmla="*/ 28898 h 37188"/>
                  <a:gd name="connsiteX6" fmla="*/ 35773 w 37194"/>
                  <a:gd name="connsiteY6" fmla="*/ 35773 h 37188"/>
                  <a:gd name="connsiteX7" fmla="*/ 32335 w 37194"/>
                  <a:gd name="connsiteY7" fmla="*/ 37189 h 3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4" h="37188">
                    <a:moveTo>
                      <a:pt x="32335" y="37189"/>
                    </a:moveTo>
                    <a:cubicBezTo>
                      <a:pt x="31097" y="37189"/>
                      <a:pt x="29858" y="36708"/>
                      <a:pt x="28898" y="35773"/>
                    </a:cubicBezTo>
                    <a:lnTo>
                      <a:pt x="1422" y="8297"/>
                    </a:lnTo>
                    <a:cubicBezTo>
                      <a:pt x="-474" y="6401"/>
                      <a:pt x="-474" y="3318"/>
                      <a:pt x="1422" y="1422"/>
                    </a:cubicBezTo>
                    <a:cubicBezTo>
                      <a:pt x="3318" y="-474"/>
                      <a:pt x="6401" y="-474"/>
                      <a:pt x="8297" y="1422"/>
                    </a:cubicBezTo>
                    <a:lnTo>
                      <a:pt x="35773" y="28898"/>
                    </a:lnTo>
                    <a:cubicBezTo>
                      <a:pt x="37669" y="30794"/>
                      <a:pt x="37669" y="33877"/>
                      <a:pt x="35773" y="35773"/>
                    </a:cubicBezTo>
                    <a:cubicBezTo>
                      <a:pt x="34838" y="36708"/>
                      <a:pt x="33599" y="37189"/>
                      <a:pt x="32335" y="37189"/>
                    </a:cubicBezTo>
                    <a:close/>
                  </a:path>
                </a:pathLst>
              </a:custGeom>
              <a:solidFill>
                <a:schemeClr val="accent1"/>
              </a:solidFill>
              <a:ln w="2523" cap="flat">
                <a:noFill/>
                <a:prstDash val="solid"/>
                <a:miter/>
              </a:ln>
            </p:spPr>
            <p:txBody>
              <a:bodyPr rtlCol="0" anchor="ctr"/>
              <a:lstStyle/>
              <a:p>
                <a:endParaRPr lang="en-GB" dirty="0"/>
              </a:p>
            </p:txBody>
          </p:sp>
          <p:sp>
            <p:nvSpPr>
              <p:cNvPr id="579" name="Freihandform: Form 578">
                <a:extLst>
                  <a:ext uri="{FF2B5EF4-FFF2-40B4-BE49-F238E27FC236}">
                    <a16:creationId xmlns:a16="http://schemas.microsoft.com/office/drawing/2014/main" id="{D672CF94-76FC-4348-9C53-D28446D6D433}"/>
                  </a:ext>
                </a:extLst>
              </p:cNvPr>
              <p:cNvSpPr/>
              <p:nvPr/>
            </p:nvSpPr>
            <p:spPr>
              <a:xfrm>
                <a:off x="7293919" y="1735341"/>
                <a:ext cx="37195" cy="37188"/>
              </a:xfrm>
              <a:custGeom>
                <a:avLst/>
                <a:gdLst>
                  <a:gd name="connsiteX0" fmla="*/ 4860 w 37195"/>
                  <a:gd name="connsiteY0" fmla="*/ 37189 h 37188"/>
                  <a:gd name="connsiteX1" fmla="*/ 1422 w 37195"/>
                  <a:gd name="connsiteY1" fmla="*/ 35773 h 37188"/>
                  <a:gd name="connsiteX2" fmla="*/ 1422 w 37195"/>
                  <a:gd name="connsiteY2" fmla="*/ 28898 h 37188"/>
                  <a:gd name="connsiteX3" fmla="*/ 28898 w 37195"/>
                  <a:gd name="connsiteY3" fmla="*/ 1422 h 37188"/>
                  <a:gd name="connsiteX4" fmla="*/ 35773 w 37195"/>
                  <a:gd name="connsiteY4" fmla="*/ 1422 h 37188"/>
                  <a:gd name="connsiteX5" fmla="*/ 35773 w 37195"/>
                  <a:gd name="connsiteY5" fmla="*/ 8297 h 37188"/>
                  <a:gd name="connsiteX6" fmla="*/ 8297 w 37195"/>
                  <a:gd name="connsiteY6" fmla="*/ 35773 h 37188"/>
                  <a:gd name="connsiteX7" fmla="*/ 4860 w 37195"/>
                  <a:gd name="connsiteY7" fmla="*/ 37189 h 3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95" h="37188">
                    <a:moveTo>
                      <a:pt x="4860" y="37189"/>
                    </a:moveTo>
                    <a:cubicBezTo>
                      <a:pt x="3621" y="37189"/>
                      <a:pt x="2382" y="36708"/>
                      <a:pt x="1422" y="35773"/>
                    </a:cubicBezTo>
                    <a:cubicBezTo>
                      <a:pt x="-474" y="33877"/>
                      <a:pt x="-474" y="30794"/>
                      <a:pt x="1422" y="28898"/>
                    </a:cubicBezTo>
                    <a:lnTo>
                      <a:pt x="28898" y="1422"/>
                    </a:lnTo>
                    <a:cubicBezTo>
                      <a:pt x="30794" y="-474"/>
                      <a:pt x="33878" y="-474"/>
                      <a:pt x="35773" y="1422"/>
                    </a:cubicBezTo>
                    <a:cubicBezTo>
                      <a:pt x="37669" y="3318"/>
                      <a:pt x="37669" y="6401"/>
                      <a:pt x="35773" y="8297"/>
                    </a:cubicBezTo>
                    <a:lnTo>
                      <a:pt x="8297" y="35773"/>
                    </a:lnTo>
                    <a:cubicBezTo>
                      <a:pt x="7337" y="36708"/>
                      <a:pt x="6098" y="37189"/>
                      <a:pt x="4860" y="37189"/>
                    </a:cubicBezTo>
                    <a:close/>
                  </a:path>
                </a:pathLst>
              </a:custGeom>
              <a:solidFill>
                <a:schemeClr val="accent1"/>
              </a:solidFill>
              <a:ln w="2523" cap="flat">
                <a:noFill/>
                <a:prstDash val="solid"/>
                <a:miter/>
              </a:ln>
            </p:spPr>
            <p:txBody>
              <a:bodyPr rtlCol="0" anchor="ctr"/>
              <a:lstStyle/>
              <a:p>
                <a:endParaRPr lang="en-GB" dirty="0"/>
              </a:p>
            </p:txBody>
          </p:sp>
        </p:grpSp>
      </p:grpSp>
      <p:sp>
        <p:nvSpPr>
          <p:cNvPr id="587" name="TextBox 1230">
            <a:extLst>
              <a:ext uri="{FF2B5EF4-FFF2-40B4-BE49-F238E27FC236}">
                <a16:creationId xmlns:a16="http://schemas.microsoft.com/office/drawing/2014/main" id="{C6DFA34F-FC3B-441E-8A09-99280FBF7B17}"/>
              </a:ext>
            </a:extLst>
          </p:cNvPr>
          <p:cNvSpPr txBox="1"/>
          <p:nvPr/>
        </p:nvSpPr>
        <p:spPr>
          <a:xfrm>
            <a:off x="7034832" y="2077494"/>
            <a:ext cx="538609" cy="215444"/>
          </a:xfrm>
          <a:prstGeom prst="rect">
            <a:avLst/>
          </a:prstGeom>
          <a:noFill/>
          <a:effectLst/>
        </p:spPr>
        <p:txBody>
          <a:bodyPr wrap="none" lIns="0" tIns="0" rIns="0" bIns="0" rtlCol="0" anchor="t">
            <a:spAutoFit/>
          </a:bodyPr>
          <a:lstStyle/>
          <a:p>
            <a:pPr algn="ctr"/>
            <a:r>
              <a:rPr lang="en-GB" sz="700" dirty="0">
                <a:solidFill>
                  <a:schemeClr val="tx2"/>
                </a:solidFill>
              </a:rPr>
              <a:t>Career</a:t>
            </a:r>
            <a:br>
              <a:rPr lang="en-GB" sz="700" dirty="0">
                <a:solidFill>
                  <a:schemeClr val="tx2"/>
                </a:solidFill>
              </a:rPr>
            </a:br>
            <a:r>
              <a:rPr lang="en-GB" sz="700" dirty="0">
                <a:solidFill>
                  <a:schemeClr val="tx2"/>
                </a:solidFill>
              </a:rPr>
              <a:t>advancement</a:t>
            </a:r>
          </a:p>
        </p:txBody>
      </p:sp>
      <p:grpSp>
        <p:nvGrpSpPr>
          <p:cNvPr id="588" name="Group 1176">
            <a:extLst>
              <a:ext uri="{FF2B5EF4-FFF2-40B4-BE49-F238E27FC236}">
                <a16:creationId xmlns:a16="http://schemas.microsoft.com/office/drawing/2014/main" id="{A7B0D908-20BA-4E43-BB5E-239A85042960}"/>
              </a:ext>
            </a:extLst>
          </p:cNvPr>
          <p:cNvGrpSpPr>
            <a:grpSpLocks noChangeAspect="1"/>
          </p:cNvGrpSpPr>
          <p:nvPr/>
        </p:nvGrpSpPr>
        <p:grpSpPr>
          <a:xfrm>
            <a:off x="6116106" y="1634943"/>
            <a:ext cx="285193" cy="432002"/>
            <a:chOff x="6196296" y="2461097"/>
            <a:chExt cx="382117" cy="578819"/>
          </a:xfrm>
        </p:grpSpPr>
        <p:grpSp>
          <p:nvGrpSpPr>
            <p:cNvPr id="589" name="Grafik 3">
              <a:extLst>
                <a:ext uri="{FF2B5EF4-FFF2-40B4-BE49-F238E27FC236}">
                  <a16:creationId xmlns:a16="http://schemas.microsoft.com/office/drawing/2014/main" id="{D7AF6C17-8E31-4EFF-ACA4-5C1C04FFD0E4}"/>
                </a:ext>
              </a:extLst>
            </p:cNvPr>
            <p:cNvGrpSpPr/>
            <p:nvPr/>
          </p:nvGrpSpPr>
          <p:grpSpPr>
            <a:xfrm>
              <a:off x="6385660" y="2461097"/>
              <a:ext cx="128749" cy="444418"/>
              <a:chOff x="6385660" y="2461099"/>
              <a:chExt cx="128749" cy="444419"/>
            </a:xfrm>
            <a:solidFill>
              <a:schemeClr val="accent1"/>
            </a:solidFill>
          </p:grpSpPr>
          <p:sp>
            <p:nvSpPr>
              <p:cNvPr id="598" name="Freihandform: Form 597">
                <a:extLst>
                  <a:ext uri="{FF2B5EF4-FFF2-40B4-BE49-F238E27FC236}">
                    <a16:creationId xmlns:a16="http://schemas.microsoft.com/office/drawing/2014/main" id="{31AE8BAD-CB9D-4866-A347-2A5D4E50769B}"/>
                  </a:ext>
                </a:extLst>
              </p:cNvPr>
              <p:cNvSpPr/>
              <p:nvPr/>
            </p:nvSpPr>
            <p:spPr>
              <a:xfrm>
                <a:off x="6504703" y="2746855"/>
                <a:ext cx="9706" cy="158663"/>
              </a:xfrm>
              <a:custGeom>
                <a:avLst/>
                <a:gdLst>
                  <a:gd name="connsiteX0" fmla="*/ 4853 w 9706"/>
                  <a:gd name="connsiteY0" fmla="*/ 158663 h 158663"/>
                  <a:gd name="connsiteX1" fmla="*/ 0 w 9706"/>
                  <a:gd name="connsiteY1" fmla="*/ 153810 h 158663"/>
                  <a:gd name="connsiteX2" fmla="*/ 0 w 9706"/>
                  <a:gd name="connsiteY2" fmla="*/ 4853 h 158663"/>
                  <a:gd name="connsiteX3" fmla="*/ 4853 w 9706"/>
                  <a:gd name="connsiteY3" fmla="*/ 0 h 158663"/>
                  <a:gd name="connsiteX4" fmla="*/ 9706 w 9706"/>
                  <a:gd name="connsiteY4" fmla="*/ 4853 h 158663"/>
                  <a:gd name="connsiteX5" fmla="*/ 9706 w 9706"/>
                  <a:gd name="connsiteY5" fmla="*/ 153810 h 158663"/>
                  <a:gd name="connsiteX6" fmla="*/ 4853 w 9706"/>
                  <a:gd name="connsiteY6" fmla="*/ 158663 h 158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06" h="158663">
                    <a:moveTo>
                      <a:pt x="4853" y="158663"/>
                    </a:moveTo>
                    <a:cubicBezTo>
                      <a:pt x="2174" y="158663"/>
                      <a:pt x="0" y="156490"/>
                      <a:pt x="0" y="153810"/>
                    </a:cubicBezTo>
                    <a:lnTo>
                      <a:pt x="0" y="4853"/>
                    </a:lnTo>
                    <a:cubicBezTo>
                      <a:pt x="0" y="2174"/>
                      <a:pt x="2174" y="0"/>
                      <a:pt x="4853" y="0"/>
                    </a:cubicBezTo>
                    <a:cubicBezTo>
                      <a:pt x="7533" y="0"/>
                      <a:pt x="9706" y="2174"/>
                      <a:pt x="9706" y="4853"/>
                    </a:cubicBezTo>
                    <a:lnTo>
                      <a:pt x="9706" y="153810"/>
                    </a:lnTo>
                    <a:cubicBezTo>
                      <a:pt x="9706" y="156490"/>
                      <a:pt x="7533" y="158663"/>
                      <a:pt x="4853" y="158663"/>
                    </a:cubicBezTo>
                    <a:close/>
                  </a:path>
                </a:pathLst>
              </a:custGeom>
              <a:solidFill>
                <a:schemeClr val="accent1"/>
              </a:solidFill>
              <a:ln w="2523" cap="flat">
                <a:noFill/>
                <a:prstDash val="solid"/>
                <a:miter/>
              </a:ln>
            </p:spPr>
            <p:txBody>
              <a:bodyPr rtlCol="0" anchor="ctr"/>
              <a:lstStyle/>
              <a:p>
                <a:endParaRPr lang="en-GB" dirty="0"/>
              </a:p>
            </p:txBody>
          </p:sp>
          <p:sp>
            <p:nvSpPr>
              <p:cNvPr id="599" name="Freihandform: Form 598">
                <a:extLst>
                  <a:ext uri="{FF2B5EF4-FFF2-40B4-BE49-F238E27FC236}">
                    <a16:creationId xmlns:a16="http://schemas.microsoft.com/office/drawing/2014/main" id="{BA48B092-3148-4241-88F8-A54CEFE73CCB}"/>
                  </a:ext>
                </a:extLst>
              </p:cNvPr>
              <p:cNvSpPr/>
              <p:nvPr/>
            </p:nvSpPr>
            <p:spPr>
              <a:xfrm>
                <a:off x="6504703" y="2461099"/>
                <a:ext cx="9706" cy="230146"/>
              </a:xfrm>
              <a:custGeom>
                <a:avLst/>
                <a:gdLst>
                  <a:gd name="connsiteX0" fmla="*/ 4853 w 9706"/>
                  <a:gd name="connsiteY0" fmla="*/ 230147 h 230146"/>
                  <a:gd name="connsiteX1" fmla="*/ 0 w 9706"/>
                  <a:gd name="connsiteY1" fmla="*/ 225294 h 230146"/>
                  <a:gd name="connsiteX2" fmla="*/ 0 w 9706"/>
                  <a:gd name="connsiteY2" fmla="*/ 4853 h 230146"/>
                  <a:gd name="connsiteX3" fmla="*/ 4853 w 9706"/>
                  <a:gd name="connsiteY3" fmla="*/ 0 h 230146"/>
                  <a:gd name="connsiteX4" fmla="*/ 9706 w 9706"/>
                  <a:gd name="connsiteY4" fmla="*/ 4853 h 230146"/>
                  <a:gd name="connsiteX5" fmla="*/ 9706 w 9706"/>
                  <a:gd name="connsiteY5" fmla="*/ 225294 h 230146"/>
                  <a:gd name="connsiteX6" fmla="*/ 4853 w 9706"/>
                  <a:gd name="connsiteY6" fmla="*/ 230147 h 230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06" h="230146">
                    <a:moveTo>
                      <a:pt x="4853" y="230147"/>
                    </a:moveTo>
                    <a:cubicBezTo>
                      <a:pt x="2174" y="230147"/>
                      <a:pt x="0" y="227973"/>
                      <a:pt x="0" y="225294"/>
                    </a:cubicBezTo>
                    <a:lnTo>
                      <a:pt x="0" y="4853"/>
                    </a:lnTo>
                    <a:cubicBezTo>
                      <a:pt x="0" y="2174"/>
                      <a:pt x="2174" y="0"/>
                      <a:pt x="4853" y="0"/>
                    </a:cubicBezTo>
                    <a:cubicBezTo>
                      <a:pt x="7533" y="0"/>
                      <a:pt x="9706" y="2174"/>
                      <a:pt x="9706" y="4853"/>
                    </a:cubicBezTo>
                    <a:lnTo>
                      <a:pt x="9706" y="225294"/>
                    </a:lnTo>
                    <a:cubicBezTo>
                      <a:pt x="9706" y="227973"/>
                      <a:pt x="7533" y="230147"/>
                      <a:pt x="4853" y="230147"/>
                    </a:cubicBezTo>
                    <a:close/>
                  </a:path>
                </a:pathLst>
              </a:custGeom>
              <a:solidFill>
                <a:schemeClr val="accent1"/>
              </a:solidFill>
              <a:ln w="2523" cap="flat">
                <a:noFill/>
                <a:prstDash val="solid"/>
                <a:miter/>
              </a:ln>
            </p:spPr>
            <p:txBody>
              <a:bodyPr rtlCol="0" anchor="ctr"/>
              <a:lstStyle/>
              <a:p>
                <a:endParaRPr lang="en-GB" dirty="0"/>
              </a:p>
            </p:txBody>
          </p:sp>
          <p:sp>
            <p:nvSpPr>
              <p:cNvPr id="600" name="Freihandform: Form 599">
                <a:extLst>
                  <a:ext uri="{FF2B5EF4-FFF2-40B4-BE49-F238E27FC236}">
                    <a16:creationId xmlns:a16="http://schemas.microsoft.com/office/drawing/2014/main" id="{53458A33-9F5B-465D-9B37-783E35C92F99}"/>
                  </a:ext>
                </a:extLst>
              </p:cNvPr>
              <p:cNvSpPr/>
              <p:nvPr/>
            </p:nvSpPr>
            <p:spPr>
              <a:xfrm>
                <a:off x="6385660" y="2490850"/>
                <a:ext cx="79156" cy="69233"/>
              </a:xfrm>
              <a:custGeom>
                <a:avLst/>
                <a:gdLst>
                  <a:gd name="connsiteX0" fmla="*/ 74303 w 79156"/>
                  <a:gd name="connsiteY0" fmla="*/ 69234 h 69233"/>
                  <a:gd name="connsiteX1" fmla="*/ 4867 w 79156"/>
                  <a:gd name="connsiteY1" fmla="*/ 69234 h 69233"/>
                  <a:gd name="connsiteX2" fmla="*/ 722 w 79156"/>
                  <a:gd name="connsiteY2" fmla="*/ 66933 h 69233"/>
                  <a:gd name="connsiteX3" fmla="*/ 519 w 79156"/>
                  <a:gd name="connsiteY3" fmla="*/ 62207 h 69233"/>
                  <a:gd name="connsiteX4" fmla="*/ 14321 w 79156"/>
                  <a:gd name="connsiteY4" fmla="*/ 34604 h 69233"/>
                  <a:gd name="connsiteX5" fmla="*/ 519 w 79156"/>
                  <a:gd name="connsiteY5" fmla="*/ 7027 h 69233"/>
                  <a:gd name="connsiteX6" fmla="*/ 722 w 79156"/>
                  <a:gd name="connsiteY6" fmla="*/ 2300 h 69233"/>
                  <a:gd name="connsiteX7" fmla="*/ 4867 w 79156"/>
                  <a:gd name="connsiteY7" fmla="*/ 0 h 69233"/>
                  <a:gd name="connsiteX8" fmla="*/ 54460 w 79156"/>
                  <a:gd name="connsiteY8" fmla="*/ 0 h 69233"/>
                  <a:gd name="connsiteX9" fmla="*/ 59314 w 79156"/>
                  <a:gd name="connsiteY9" fmla="*/ 4853 h 69233"/>
                  <a:gd name="connsiteX10" fmla="*/ 54460 w 79156"/>
                  <a:gd name="connsiteY10" fmla="*/ 9706 h 69233"/>
                  <a:gd name="connsiteX11" fmla="*/ 12728 w 79156"/>
                  <a:gd name="connsiteY11" fmla="*/ 9706 h 69233"/>
                  <a:gd name="connsiteX12" fmla="*/ 24103 w 79156"/>
                  <a:gd name="connsiteY12" fmla="*/ 32430 h 69233"/>
                  <a:gd name="connsiteX13" fmla="*/ 24103 w 79156"/>
                  <a:gd name="connsiteY13" fmla="*/ 36778 h 69233"/>
                  <a:gd name="connsiteX14" fmla="*/ 12728 w 79156"/>
                  <a:gd name="connsiteY14" fmla="*/ 59502 h 69233"/>
                  <a:gd name="connsiteX15" fmla="*/ 69450 w 79156"/>
                  <a:gd name="connsiteY15" fmla="*/ 59502 h 69233"/>
                  <a:gd name="connsiteX16" fmla="*/ 69450 w 79156"/>
                  <a:gd name="connsiteY16" fmla="*/ 44513 h 69233"/>
                  <a:gd name="connsiteX17" fmla="*/ 74303 w 79156"/>
                  <a:gd name="connsiteY17" fmla="*/ 39660 h 69233"/>
                  <a:gd name="connsiteX18" fmla="*/ 79156 w 79156"/>
                  <a:gd name="connsiteY18" fmla="*/ 44513 h 69233"/>
                  <a:gd name="connsiteX19" fmla="*/ 79156 w 79156"/>
                  <a:gd name="connsiteY19" fmla="*/ 64355 h 69233"/>
                  <a:gd name="connsiteX20" fmla="*/ 74303 w 79156"/>
                  <a:gd name="connsiteY20" fmla="*/ 69234 h 6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9156" h="69233">
                    <a:moveTo>
                      <a:pt x="74303" y="69234"/>
                    </a:moveTo>
                    <a:lnTo>
                      <a:pt x="4867" y="69234"/>
                    </a:lnTo>
                    <a:cubicBezTo>
                      <a:pt x="3174" y="69234"/>
                      <a:pt x="1606" y="68349"/>
                      <a:pt x="722" y="66933"/>
                    </a:cubicBezTo>
                    <a:cubicBezTo>
                      <a:pt x="-163" y="65493"/>
                      <a:pt x="-239" y="63698"/>
                      <a:pt x="519" y="62207"/>
                    </a:cubicBezTo>
                    <a:lnTo>
                      <a:pt x="14321" y="34604"/>
                    </a:lnTo>
                    <a:lnTo>
                      <a:pt x="519" y="7027"/>
                    </a:lnTo>
                    <a:cubicBezTo>
                      <a:pt x="-239" y="5510"/>
                      <a:pt x="-163" y="3741"/>
                      <a:pt x="722" y="2300"/>
                    </a:cubicBezTo>
                    <a:cubicBezTo>
                      <a:pt x="1606" y="859"/>
                      <a:pt x="3174" y="0"/>
                      <a:pt x="4867" y="0"/>
                    </a:cubicBezTo>
                    <a:lnTo>
                      <a:pt x="54460" y="0"/>
                    </a:lnTo>
                    <a:cubicBezTo>
                      <a:pt x="57140" y="0"/>
                      <a:pt x="59314" y="2174"/>
                      <a:pt x="59314" y="4853"/>
                    </a:cubicBezTo>
                    <a:cubicBezTo>
                      <a:pt x="59314" y="7532"/>
                      <a:pt x="57140" y="9706"/>
                      <a:pt x="54460" y="9706"/>
                    </a:cubicBezTo>
                    <a:lnTo>
                      <a:pt x="12728" y="9706"/>
                    </a:lnTo>
                    <a:lnTo>
                      <a:pt x="24103" y="32430"/>
                    </a:lnTo>
                    <a:cubicBezTo>
                      <a:pt x="24785" y="33795"/>
                      <a:pt x="24785" y="35413"/>
                      <a:pt x="24103" y="36778"/>
                    </a:cubicBezTo>
                    <a:lnTo>
                      <a:pt x="12728" y="59502"/>
                    </a:lnTo>
                    <a:lnTo>
                      <a:pt x="69450" y="59502"/>
                    </a:lnTo>
                    <a:lnTo>
                      <a:pt x="69450" y="44513"/>
                    </a:lnTo>
                    <a:cubicBezTo>
                      <a:pt x="69450" y="41833"/>
                      <a:pt x="71623" y="39660"/>
                      <a:pt x="74303" y="39660"/>
                    </a:cubicBezTo>
                    <a:cubicBezTo>
                      <a:pt x="76982" y="39660"/>
                      <a:pt x="79156" y="41833"/>
                      <a:pt x="79156" y="44513"/>
                    </a:cubicBezTo>
                    <a:lnTo>
                      <a:pt x="79156" y="64355"/>
                    </a:lnTo>
                    <a:cubicBezTo>
                      <a:pt x="79156" y="67060"/>
                      <a:pt x="76982" y="69234"/>
                      <a:pt x="74303" y="69234"/>
                    </a:cubicBezTo>
                    <a:close/>
                  </a:path>
                </a:pathLst>
              </a:custGeom>
              <a:solidFill>
                <a:schemeClr val="accent1"/>
              </a:solidFill>
              <a:ln w="2523" cap="flat">
                <a:noFill/>
                <a:prstDash val="solid"/>
                <a:miter/>
              </a:ln>
            </p:spPr>
            <p:txBody>
              <a:bodyPr rtlCol="0" anchor="ctr"/>
              <a:lstStyle/>
              <a:p>
                <a:endParaRPr lang="en-GB" dirty="0"/>
              </a:p>
            </p:txBody>
          </p:sp>
          <p:sp>
            <p:nvSpPr>
              <p:cNvPr id="601" name="Freihandform: Form 600">
                <a:extLst>
                  <a:ext uri="{FF2B5EF4-FFF2-40B4-BE49-F238E27FC236}">
                    <a16:creationId xmlns:a16="http://schemas.microsoft.com/office/drawing/2014/main" id="{674D237F-CE64-467B-A3F1-1F6C51634F5A}"/>
                  </a:ext>
                </a:extLst>
              </p:cNvPr>
              <p:cNvSpPr/>
              <p:nvPr/>
            </p:nvSpPr>
            <p:spPr>
              <a:xfrm>
                <a:off x="6435267" y="2471008"/>
                <a:ext cx="79142" cy="69233"/>
              </a:xfrm>
              <a:custGeom>
                <a:avLst/>
                <a:gdLst>
                  <a:gd name="connsiteX0" fmla="*/ 74289 w 79142"/>
                  <a:gd name="connsiteY0" fmla="*/ 69234 h 69233"/>
                  <a:gd name="connsiteX1" fmla="*/ 4853 w 79142"/>
                  <a:gd name="connsiteY1" fmla="*/ 69234 h 69233"/>
                  <a:gd name="connsiteX2" fmla="*/ 0 w 79142"/>
                  <a:gd name="connsiteY2" fmla="*/ 64380 h 69233"/>
                  <a:gd name="connsiteX3" fmla="*/ 0 w 79142"/>
                  <a:gd name="connsiteY3" fmla="*/ 4853 h 69233"/>
                  <a:gd name="connsiteX4" fmla="*/ 4853 w 79142"/>
                  <a:gd name="connsiteY4" fmla="*/ 0 h 69233"/>
                  <a:gd name="connsiteX5" fmla="*/ 74289 w 79142"/>
                  <a:gd name="connsiteY5" fmla="*/ 0 h 69233"/>
                  <a:gd name="connsiteX6" fmla="*/ 79142 w 79142"/>
                  <a:gd name="connsiteY6" fmla="*/ 4853 h 69233"/>
                  <a:gd name="connsiteX7" fmla="*/ 79142 w 79142"/>
                  <a:gd name="connsiteY7" fmla="*/ 64380 h 69233"/>
                  <a:gd name="connsiteX8" fmla="*/ 74289 w 79142"/>
                  <a:gd name="connsiteY8" fmla="*/ 69234 h 69233"/>
                  <a:gd name="connsiteX9" fmla="*/ 9706 w 79142"/>
                  <a:gd name="connsiteY9" fmla="*/ 59502 h 69233"/>
                  <a:gd name="connsiteX10" fmla="*/ 69436 w 79142"/>
                  <a:gd name="connsiteY10" fmla="*/ 59502 h 69233"/>
                  <a:gd name="connsiteX11" fmla="*/ 69436 w 79142"/>
                  <a:gd name="connsiteY11" fmla="*/ 9706 h 69233"/>
                  <a:gd name="connsiteX12" fmla="*/ 9706 w 79142"/>
                  <a:gd name="connsiteY12" fmla="*/ 9706 h 69233"/>
                  <a:gd name="connsiteX13" fmla="*/ 9706 w 79142"/>
                  <a:gd name="connsiteY13" fmla="*/ 59502 h 6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142" h="69233">
                    <a:moveTo>
                      <a:pt x="74289" y="69234"/>
                    </a:moveTo>
                    <a:lnTo>
                      <a:pt x="4853" y="69234"/>
                    </a:lnTo>
                    <a:cubicBezTo>
                      <a:pt x="2174" y="69234"/>
                      <a:pt x="0" y="67060"/>
                      <a:pt x="0" y="64380"/>
                    </a:cubicBezTo>
                    <a:lnTo>
                      <a:pt x="0" y="4853"/>
                    </a:lnTo>
                    <a:cubicBezTo>
                      <a:pt x="0" y="2174"/>
                      <a:pt x="2174" y="0"/>
                      <a:pt x="4853" y="0"/>
                    </a:cubicBezTo>
                    <a:lnTo>
                      <a:pt x="74289" y="0"/>
                    </a:lnTo>
                    <a:cubicBezTo>
                      <a:pt x="76968" y="0"/>
                      <a:pt x="79142" y="2174"/>
                      <a:pt x="79142" y="4853"/>
                    </a:cubicBezTo>
                    <a:lnTo>
                      <a:pt x="79142" y="64380"/>
                    </a:lnTo>
                    <a:cubicBezTo>
                      <a:pt x="79142" y="67060"/>
                      <a:pt x="76968" y="69234"/>
                      <a:pt x="74289" y="69234"/>
                    </a:cubicBezTo>
                    <a:close/>
                    <a:moveTo>
                      <a:pt x="9706" y="59502"/>
                    </a:moveTo>
                    <a:lnTo>
                      <a:pt x="69436" y="59502"/>
                    </a:lnTo>
                    <a:lnTo>
                      <a:pt x="69436" y="9706"/>
                    </a:lnTo>
                    <a:lnTo>
                      <a:pt x="9706" y="9706"/>
                    </a:lnTo>
                    <a:lnTo>
                      <a:pt x="9706" y="59502"/>
                    </a:lnTo>
                    <a:close/>
                  </a:path>
                </a:pathLst>
              </a:custGeom>
              <a:solidFill>
                <a:schemeClr val="accent1"/>
              </a:solidFill>
              <a:ln w="2523" cap="flat">
                <a:noFill/>
                <a:prstDash val="solid"/>
                <a:miter/>
              </a:ln>
            </p:spPr>
            <p:txBody>
              <a:bodyPr rtlCol="0" anchor="ctr"/>
              <a:lstStyle/>
              <a:p>
                <a:endParaRPr lang="en-GB" dirty="0"/>
              </a:p>
            </p:txBody>
          </p:sp>
        </p:grpSp>
        <p:grpSp>
          <p:nvGrpSpPr>
            <p:cNvPr id="590" name="Group 1175">
              <a:extLst>
                <a:ext uri="{FF2B5EF4-FFF2-40B4-BE49-F238E27FC236}">
                  <a16:creationId xmlns:a16="http://schemas.microsoft.com/office/drawing/2014/main" id="{84102456-1D2D-40B2-8B6F-F6D687F874BD}"/>
                </a:ext>
              </a:extLst>
            </p:cNvPr>
            <p:cNvGrpSpPr/>
            <p:nvPr/>
          </p:nvGrpSpPr>
          <p:grpSpPr>
            <a:xfrm>
              <a:off x="6196296" y="2563471"/>
              <a:ext cx="382117" cy="476445"/>
              <a:chOff x="6196296" y="2563471"/>
              <a:chExt cx="382117" cy="476445"/>
            </a:xfrm>
          </p:grpSpPr>
          <p:sp>
            <p:nvSpPr>
              <p:cNvPr id="591" name="Freihandform: Form 590">
                <a:extLst>
                  <a:ext uri="{FF2B5EF4-FFF2-40B4-BE49-F238E27FC236}">
                    <a16:creationId xmlns:a16="http://schemas.microsoft.com/office/drawing/2014/main" id="{D8AF563E-3CB1-430A-90E3-DE1C0C7CCE67}"/>
                  </a:ext>
                </a:extLst>
              </p:cNvPr>
              <p:cNvSpPr/>
              <p:nvPr/>
            </p:nvSpPr>
            <p:spPr>
              <a:xfrm>
                <a:off x="6305976" y="2563471"/>
                <a:ext cx="87710" cy="99742"/>
              </a:xfrm>
              <a:custGeom>
                <a:avLst/>
                <a:gdLst>
                  <a:gd name="connsiteX0" fmla="*/ 43856 w 87710"/>
                  <a:gd name="connsiteY0" fmla="*/ 99743 h 99742"/>
                  <a:gd name="connsiteX1" fmla="*/ 0 w 87710"/>
                  <a:gd name="connsiteY1" fmla="*/ 49871 h 99742"/>
                  <a:gd name="connsiteX2" fmla="*/ 43856 w 87710"/>
                  <a:gd name="connsiteY2" fmla="*/ 0 h 99742"/>
                  <a:gd name="connsiteX3" fmla="*/ 87711 w 87710"/>
                  <a:gd name="connsiteY3" fmla="*/ 49871 h 99742"/>
                  <a:gd name="connsiteX4" fmla="*/ 43856 w 87710"/>
                  <a:gd name="connsiteY4" fmla="*/ 99743 h 99742"/>
                  <a:gd name="connsiteX5" fmla="*/ 43856 w 87710"/>
                  <a:gd name="connsiteY5" fmla="*/ 9706 h 99742"/>
                  <a:gd name="connsiteX6" fmla="*/ 9732 w 87710"/>
                  <a:gd name="connsiteY6" fmla="*/ 49871 h 99742"/>
                  <a:gd name="connsiteX7" fmla="*/ 43856 w 87710"/>
                  <a:gd name="connsiteY7" fmla="*/ 90037 h 99742"/>
                  <a:gd name="connsiteX8" fmla="*/ 77979 w 87710"/>
                  <a:gd name="connsiteY8" fmla="*/ 49871 h 99742"/>
                  <a:gd name="connsiteX9" fmla="*/ 43856 w 87710"/>
                  <a:gd name="connsiteY9" fmla="*/ 9706 h 99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7710" h="99742">
                    <a:moveTo>
                      <a:pt x="43856" y="99743"/>
                    </a:moveTo>
                    <a:cubicBezTo>
                      <a:pt x="19665" y="99743"/>
                      <a:pt x="0" y="77373"/>
                      <a:pt x="0" y="49871"/>
                    </a:cubicBezTo>
                    <a:cubicBezTo>
                      <a:pt x="0" y="22370"/>
                      <a:pt x="19665" y="0"/>
                      <a:pt x="43856" y="0"/>
                    </a:cubicBezTo>
                    <a:cubicBezTo>
                      <a:pt x="68046" y="0"/>
                      <a:pt x="87711" y="22370"/>
                      <a:pt x="87711" y="49871"/>
                    </a:cubicBezTo>
                    <a:cubicBezTo>
                      <a:pt x="87711" y="77373"/>
                      <a:pt x="68046" y="99743"/>
                      <a:pt x="43856" y="99743"/>
                    </a:cubicBezTo>
                    <a:close/>
                    <a:moveTo>
                      <a:pt x="43856" y="9706"/>
                    </a:moveTo>
                    <a:cubicBezTo>
                      <a:pt x="25024" y="9706"/>
                      <a:pt x="9732" y="27729"/>
                      <a:pt x="9732" y="49871"/>
                    </a:cubicBezTo>
                    <a:cubicBezTo>
                      <a:pt x="9732" y="72014"/>
                      <a:pt x="25049" y="90037"/>
                      <a:pt x="43856" y="90037"/>
                    </a:cubicBezTo>
                    <a:cubicBezTo>
                      <a:pt x="62687" y="90037"/>
                      <a:pt x="77979" y="72014"/>
                      <a:pt x="77979" y="49871"/>
                    </a:cubicBezTo>
                    <a:cubicBezTo>
                      <a:pt x="78005" y="27729"/>
                      <a:pt x="62687" y="9706"/>
                      <a:pt x="43856" y="9706"/>
                    </a:cubicBezTo>
                    <a:close/>
                  </a:path>
                </a:pathLst>
              </a:custGeom>
              <a:solidFill>
                <a:schemeClr val="tx2"/>
              </a:solidFill>
              <a:ln w="2523" cap="flat">
                <a:noFill/>
                <a:prstDash val="solid"/>
                <a:miter/>
              </a:ln>
            </p:spPr>
            <p:txBody>
              <a:bodyPr rtlCol="0" anchor="ctr"/>
              <a:lstStyle/>
              <a:p>
                <a:endParaRPr lang="en-GB" dirty="0"/>
              </a:p>
            </p:txBody>
          </p:sp>
          <p:sp>
            <p:nvSpPr>
              <p:cNvPr id="592" name="Freihandform: Form 591">
                <a:extLst>
                  <a:ext uri="{FF2B5EF4-FFF2-40B4-BE49-F238E27FC236}">
                    <a16:creationId xmlns:a16="http://schemas.microsoft.com/office/drawing/2014/main" id="{0297C085-5F23-485E-BA62-71E1F3FA93E0}"/>
                  </a:ext>
                </a:extLst>
              </p:cNvPr>
              <p:cNvSpPr/>
              <p:nvPr/>
            </p:nvSpPr>
            <p:spPr>
              <a:xfrm>
                <a:off x="6307410" y="2822301"/>
                <a:ext cx="39469" cy="131698"/>
              </a:xfrm>
              <a:custGeom>
                <a:avLst/>
                <a:gdLst>
                  <a:gd name="connsiteX0" fmla="*/ 4860 w 39469"/>
                  <a:gd name="connsiteY0" fmla="*/ 131699 h 131698"/>
                  <a:gd name="connsiteX1" fmla="*/ 3015 w 39469"/>
                  <a:gd name="connsiteY1" fmla="*/ 131345 h 131698"/>
                  <a:gd name="connsiteX2" fmla="*/ 361 w 39469"/>
                  <a:gd name="connsiteY2" fmla="*/ 125000 h 131698"/>
                  <a:gd name="connsiteX3" fmla="*/ 17625 w 39469"/>
                  <a:gd name="connsiteY3" fmla="*/ 82965 h 131698"/>
                  <a:gd name="connsiteX4" fmla="*/ 29808 w 39469"/>
                  <a:gd name="connsiteY4" fmla="*/ 4126 h 131698"/>
                  <a:gd name="connsiteX5" fmla="*/ 35344 w 39469"/>
                  <a:gd name="connsiteY5" fmla="*/ 56 h 131698"/>
                  <a:gd name="connsiteX6" fmla="*/ 39413 w 39469"/>
                  <a:gd name="connsiteY6" fmla="*/ 5592 h 131698"/>
                  <a:gd name="connsiteX7" fmla="*/ 27129 w 39469"/>
                  <a:gd name="connsiteY7" fmla="*/ 84987 h 131698"/>
                  <a:gd name="connsiteX8" fmla="*/ 26826 w 39469"/>
                  <a:gd name="connsiteY8" fmla="*/ 86099 h 131698"/>
                  <a:gd name="connsiteX9" fmla="*/ 9334 w 39469"/>
                  <a:gd name="connsiteY9" fmla="*/ 128665 h 131698"/>
                  <a:gd name="connsiteX10" fmla="*/ 4860 w 39469"/>
                  <a:gd name="connsiteY10" fmla="*/ 131699 h 131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469" h="131698">
                    <a:moveTo>
                      <a:pt x="4860" y="131699"/>
                    </a:moveTo>
                    <a:cubicBezTo>
                      <a:pt x="4253" y="131699"/>
                      <a:pt x="3621" y="131572"/>
                      <a:pt x="3015" y="131345"/>
                    </a:cubicBezTo>
                    <a:cubicBezTo>
                      <a:pt x="538" y="130334"/>
                      <a:pt x="-650" y="127477"/>
                      <a:pt x="361" y="125000"/>
                    </a:cubicBezTo>
                    <a:lnTo>
                      <a:pt x="17625" y="82965"/>
                    </a:lnTo>
                    <a:lnTo>
                      <a:pt x="29808" y="4126"/>
                    </a:lnTo>
                    <a:cubicBezTo>
                      <a:pt x="30213" y="1472"/>
                      <a:pt x="32690" y="-348"/>
                      <a:pt x="35344" y="56"/>
                    </a:cubicBezTo>
                    <a:cubicBezTo>
                      <a:pt x="37998" y="461"/>
                      <a:pt x="39818" y="2938"/>
                      <a:pt x="39413" y="5592"/>
                    </a:cubicBezTo>
                    <a:lnTo>
                      <a:pt x="27129" y="84987"/>
                    </a:lnTo>
                    <a:cubicBezTo>
                      <a:pt x="27078" y="85366"/>
                      <a:pt x="26977" y="85745"/>
                      <a:pt x="26826" y="86099"/>
                    </a:cubicBezTo>
                    <a:lnTo>
                      <a:pt x="9334" y="128665"/>
                    </a:lnTo>
                    <a:cubicBezTo>
                      <a:pt x="8601" y="130561"/>
                      <a:pt x="6781" y="131699"/>
                      <a:pt x="4860" y="131699"/>
                    </a:cubicBezTo>
                    <a:close/>
                  </a:path>
                </a:pathLst>
              </a:custGeom>
              <a:solidFill>
                <a:schemeClr val="tx2"/>
              </a:solidFill>
              <a:ln w="2523" cap="flat">
                <a:noFill/>
                <a:prstDash val="solid"/>
                <a:miter/>
              </a:ln>
            </p:spPr>
            <p:txBody>
              <a:bodyPr rtlCol="0" anchor="ctr"/>
              <a:lstStyle/>
              <a:p>
                <a:endParaRPr lang="en-GB" dirty="0"/>
              </a:p>
            </p:txBody>
          </p:sp>
          <p:sp>
            <p:nvSpPr>
              <p:cNvPr id="593" name="Freihandform: Form 592">
                <a:extLst>
                  <a:ext uri="{FF2B5EF4-FFF2-40B4-BE49-F238E27FC236}">
                    <a16:creationId xmlns:a16="http://schemas.microsoft.com/office/drawing/2014/main" id="{C025CB59-DE02-4FCF-9113-CB7684874D80}"/>
                  </a:ext>
                </a:extLst>
              </p:cNvPr>
              <p:cNvSpPr/>
              <p:nvPr/>
            </p:nvSpPr>
            <p:spPr>
              <a:xfrm>
                <a:off x="6219650" y="2668656"/>
                <a:ext cx="111355" cy="289312"/>
              </a:xfrm>
              <a:custGeom>
                <a:avLst/>
                <a:gdLst>
                  <a:gd name="connsiteX0" fmla="*/ 47096 w 111355"/>
                  <a:gd name="connsiteY0" fmla="*/ 289313 h 289312"/>
                  <a:gd name="connsiteX1" fmla="*/ 45074 w 111355"/>
                  <a:gd name="connsiteY1" fmla="*/ 288883 h 289312"/>
                  <a:gd name="connsiteX2" fmla="*/ 42672 w 111355"/>
                  <a:gd name="connsiteY2" fmla="*/ 282437 h 289312"/>
                  <a:gd name="connsiteX3" fmla="*/ 67090 w 111355"/>
                  <a:gd name="connsiteY3" fmla="*/ 229027 h 289312"/>
                  <a:gd name="connsiteX4" fmla="*/ 66281 w 111355"/>
                  <a:gd name="connsiteY4" fmla="*/ 149885 h 289312"/>
                  <a:gd name="connsiteX5" fmla="*/ 66281 w 111355"/>
                  <a:gd name="connsiteY5" fmla="*/ 76202 h 289312"/>
                  <a:gd name="connsiteX6" fmla="*/ 42950 w 111355"/>
                  <a:gd name="connsiteY6" fmla="*/ 101100 h 289312"/>
                  <a:gd name="connsiteX7" fmla="*/ 47323 w 111355"/>
                  <a:gd name="connsiteY7" fmla="*/ 154359 h 289312"/>
                  <a:gd name="connsiteX8" fmla="*/ 44037 w 111355"/>
                  <a:gd name="connsiteY8" fmla="*/ 159364 h 289312"/>
                  <a:gd name="connsiteX9" fmla="*/ 17345 w 111355"/>
                  <a:gd name="connsiteY9" fmla="*/ 168463 h 289312"/>
                  <a:gd name="connsiteX10" fmla="*/ 13275 w 111355"/>
                  <a:gd name="connsiteY10" fmla="*/ 168034 h 289312"/>
                  <a:gd name="connsiteX11" fmla="*/ 11000 w 111355"/>
                  <a:gd name="connsiteY11" fmla="*/ 164621 h 289312"/>
                  <a:gd name="connsiteX12" fmla="*/ 55 w 111355"/>
                  <a:gd name="connsiteY12" fmla="*/ 94958 h 289312"/>
                  <a:gd name="connsiteX13" fmla="*/ 1067 w 111355"/>
                  <a:gd name="connsiteY13" fmla="*/ 91166 h 289312"/>
                  <a:gd name="connsiteX14" fmla="*/ 55463 w 111355"/>
                  <a:gd name="connsiteY14" fmla="*/ 22919 h 289312"/>
                  <a:gd name="connsiteX15" fmla="*/ 58142 w 111355"/>
                  <a:gd name="connsiteY15" fmla="*/ 21225 h 289312"/>
                  <a:gd name="connsiteX16" fmla="*/ 95982 w 111355"/>
                  <a:gd name="connsiteY16" fmla="*/ 12277 h 289312"/>
                  <a:gd name="connsiteX17" fmla="*/ 101694 w 111355"/>
                  <a:gd name="connsiteY17" fmla="*/ 4138 h 289312"/>
                  <a:gd name="connsiteX18" fmla="*/ 107230 w 111355"/>
                  <a:gd name="connsiteY18" fmla="*/ 68 h 289312"/>
                  <a:gd name="connsiteX19" fmla="*/ 111299 w 111355"/>
                  <a:gd name="connsiteY19" fmla="*/ 5604 h 289312"/>
                  <a:gd name="connsiteX20" fmla="*/ 98282 w 111355"/>
                  <a:gd name="connsiteY20" fmla="*/ 21705 h 289312"/>
                  <a:gd name="connsiteX21" fmla="*/ 61984 w 111355"/>
                  <a:gd name="connsiteY21" fmla="*/ 30274 h 289312"/>
                  <a:gd name="connsiteX22" fmla="*/ 9964 w 111355"/>
                  <a:gd name="connsiteY22" fmla="*/ 95514 h 289312"/>
                  <a:gd name="connsiteX23" fmla="*/ 19670 w 111355"/>
                  <a:gd name="connsiteY23" fmla="*/ 157367 h 289312"/>
                  <a:gd name="connsiteX24" fmla="*/ 37314 w 111355"/>
                  <a:gd name="connsiteY24" fmla="*/ 151351 h 289312"/>
                  <a:gd name="connsiteX25" fmla="*/ 33092 w 111355"/>
                  <a:gd name="connsiteY25" fmla="*/ 99735 h 289312"/>
                  <a:gd name="connsiteX26" fmla="*/ 34382 w 111355"/>
                  <a:gd name="connsiteY26" fmla="*/ 96020 h 289312"/>
                  <a:gd name="connsiteX27" fmla="*/ 67570 w 111355"/>
                  <a:gd name="connsiteY27" fmla="*/ 60581 h 289312"/>
                  <a:gd name="connsiteX28" fmla="*/ 72904 w 111355"/>
                  <a:gd name="connsiteY28" fmla="*/ 59393 h 289312"/>
                  <a:gd name="connsiteX29" fmla="*/ 75987 w 111355"/>
                  <a:gd name="connsiteY29" fmla="*/ 63918 h 289312"/>
                  <a:gd name="connsiteX30" fmla="*/ 75987 w 111355"/>
                  <a:gd name="connsiteY30" fmla="*/ 149860 h 289312"/>
                  <a:gd name="connsiteX31" fmla="*/ 76796 w 111355"/>
                  <a:gd name="connsiteY31" fmla="*/ 230038 h 289312"/>
                  <a:gd name="connsiteX32" fmla="*/ 76367 w 111355"/>
                  <a:gd name="connsiteY32" fmla="*/ 232111 h 289312"/>
                  <a:gd name="connsiteX33" fmla="*/ 51494 w 111355"/>
                  <a:gd name="connsiteY33" fmla="*/ 286507 h 289312"/>
                  <a:gd name="connsiteX34" fmla="*/ 47096 w 111355"/>
                  <a:gd name="connsiteY34" fmla="*/ 289313 h 289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11355" h="289312">
                    <a:moveTo>
                      <a:pt x="47096" y="289313"/>
                    </a:moveTo>
                    <a:cubicBezTo>
                      <a:pt x="46413" y="289313"/>
                      <a:pt x="45731" y="289161"/>
                      <a:pt x="45074" y="288883"/>
                    </a:cubicBezTo>
                    <a:cubicBezTo>
                      <a:pt x="42647" y="287771"/>
                      <a:pt x="41560" y="284889"/>
                      <a:pt x="42672" y="282437"/>
                    </a:cubicBezTo>
                    <a:lnTo>
                      <a:pt x="67090" y="229027"/>
                    </a:lnTo>
                    <a:lnTo>
                      <a:pt x="66281" y="149885"/>
                    </a:lnTo>
                    <a:lnTo>
                      <a:pt x="66281" y="76202"/>
                    </a:lnTo>
                    <a:lnTo>
                      <a:pt x="42950" y="101100"/>
                    </a:lnTo>
                    <a:lnTo>
                      <a:pt x="47323" y="154359"/>
                    </a:lnTo>
                    <a:cubicBezTo>
                      <a:pt x="47500" y="156583"/>
                      <a:pt x="46161" y="158631"/>
                      <a:pt x="44037" y="159364"/>
                    </a:cubicBezTo>
                    <a:lnTo>
                      <a:pt x="17345" y="168463"/>
                    </a:lnTo>
                    <a:cubicBezTo>
                      <a:pt x="15980" y="168918"/>
                      <a:pt x="14489" y="168767"/>
                      <a:pt x="13275" y="168034"/>
                    </a:cubicBezTo>
                    <a:cubicBezTo>
                      <a:pt x="12037" y="167301"/>
                      <a:pt x="11203" y="166037"/>
                      <a:pt x="11000" y="164621"/>
                    </a:cubicBezTo>
                    <a:lnTo>
                      <a:pt x="55" y="94958"/>
                    </a:lnTo>
                    <a:cubicBezTo>
                      <a:pt x="-147" y="93618"/>
                      <a:pt x="207" y="92253"/>
                      <a:pt x="1067" y="91166"/>
                    </a:cubicBezTo>
                    <a:lnTo>
                      <a:pt x="55463" y="22919"/>
                    </a:lnTo>
                    <a:cubicBezTo>
                      <a:pt x="56145" y="22059"/>
                      <a:pt x="57080" y="21478"/>
                      <a:pt x="58142" y="21225"/>
                    </a:cubicBezTo>
                    <a:lnTo>
                      <a:pt x="95982" y="12277"/>
                    </a:lnTo>
                    <a:cubicBezTo>
                      <a:pt x="96310" y="12176"/>
                      <a:pt x="100708" y="10685"/>
                      <a:pt x="101694" y="4138"/>
                    </a:cubicBezTo>
                    <a:cubicBezTo>
                      <a:pt x="102099" y="1484"/>
                      <a:pt x="104550" y="-387"/>
                      <a:pt x="107230" y="68"/>
                    </a:cubicBezTo>
                    <a:cubicBezTo>
                      <a:pt x="109884" y="473"/>
                      <a:pt x="111704" y="2950"/>
                      <a:pt x="111299" y="5604"/>
                    </a:cubicBezTo>
                    <a:cubicBezTo>
                      <a:pt x="109707" y="16119"/>
                      <a:pt x="102377" y="20669"/>
                      <a:pt x="98282" y="21705"/>
                    </a:cubicBezTo>
                    <a:lnTo>
                      <a:pt x="61984" y="30274"/>
                    </a:lnTo>
                    <a:lnTo>
                      <a:pt x="9964" y="95514"/>
                    </a:lnTo>
                    <a:lnTo>
                      <a:pt x="19670" y="157367"/>
                    </a:lnTo>
                    <a:lnTo>
                      <a:pt x="37314" y="151351"/>
                    </a:lnTo>
                    <a:lnTo>
                      <a:pt x="33092" y="99735"/>
                    </a:lnTo>
                    <a:cubicBezTo>
                      <a:pt x="32991" y="98370"/>
                      <a:pt x="33446" y="97005"/>
                      <a:pt x="34382" y="96020"/>
                    </a:cubicBezTo>
                    <a:lnTo>
                      <a:pt x="67570" y="60581"/>
                    </a:lnTo>
                    <a:cubicBezTo>
                      <a:pt x="68935" y="59115"/>
                      <a:pt x="71058" y="58660"/>
                      <a:pt x="72904" y="59393"/>
                    </a:cubicBezTo>
                    <a:cubicBezTo>
                      <a:pt x="74749" y="60126"/>
                      <a:pt x="75987" y="61921"/>
                      <a:pt x="75987" y="63918"/>
                    </a:cubicBezTo>
                    <a:lnTo>
                      <a:pt x="75987" y="149860"/>
                    </a:lnTo>
                    <a:lnTo>
                      <a:pt x="76796" y="230038"/>
                    </a:lnTo>
                    <a:cubicBezTo>
                      <a:pt x="76796" y="230746"/>
                      <a:pt x="76645" y="231454"/>
                      <a:pt x="76367" y="232111"/>
                    </a:cubicBezTo>
                    <a:lnTo>
                      <a:pt x="51494" y="286507"/>
                    </a:lnTo>
                    <a:cubicBezTo>
                      <a:pt x="50711" y="288251"/>
                      <a:pt x="48941" y="289313"/>
                      <a:pt x="47096" y="289313"/>
                    </a:cubicBezTo>
                    <a:close/>
                  </a:path>
                </a:pathLst>
              </a:custGeom>
              <a:solidFill>
                <a:schemeClr val="tx2"/>
              </a:solidFill>
              <a:ln w="2523" cap="flat">
                <a:noFill/>
                <a:prstDash val="solid"/>
                <a:miter/>
              </a:ln>
            </p:spPr>
            <p:txBody>
              <a:bodyPr rtlCol="0" anchor="ctr"/>
              <a:lstStyle/>
              <a:p>
                <a:endParaRPr lang="en-GB" dirty="0"/>
              </a:p>
            </p:txBody>
          </p:sp>
          <p:sp>
            <p:nvSpPr>
              <p:cNvPr id="594" name="Freihandform: Form 593">
                <a:extLst>
                  <a:ext uri="{FF2B5EF4-FFF2-40B4-BE49-F238E27FC236}">
                    <a16:creationId xmlns:a16="http://schemas.microsoft.com/office/drawing/2014/main" id="{F282AB5A-1B2A-470F-A897-ABFA04FD07BF}"/>
                  </a:ext>
                </a:extLst>
              </p:cNvPr>
              <p:cNvSpPr/>
              <p:nvPr/>
            </p:nvSpPr>
            <p:spPr>
              <a:xfrm>
                <a:off x="6338307" y="2831620"/>
                <a:ext cx="67897" cy="71901"/>
              </a:xfrm>
              <a:custGeom>
                <a:avLst/>
                <a:gdLst>
                  <a:gd name="connsiteX0" fmla="*/ 63038 w 67897"/>
                  <a:gd name="connsiteY0" fmla="*/ 71901 h 71901"/>
                  <a:gd name="connsiteX1" fmla="*/ 58211 w 67897"/>
                  <a:gd name="connsiteY1" fmla="*/ 67579 h 71901"/>
                  <a:gd name="connsiteX2" fmla="*/ 53408 w 67897"/>
                  <a:gd name="connsiteY2" fmla="*/ 25215 h 71901"/>
                  <a:gd name="connsiteX3" fmla="*/ 3410 w 67897"/>
                  <a:gd name="connsiteY3" fmla="*/ 9493 h 71901"/>
                  <a:gd name="connsiteX4" fmla="*/ 225 w 67897"/>
                  <a:gd name="connsiteY4" fmla="*/ 3401 h 71901"/>
                  <a:gd name="connsiteX5" fmla="*/ 6317 w 67897"/>
                  <a:gd name="connsiteY5" fmla="*/ 216 h 71901"/>
                  <a:gd name="connsiteX6" fmla="*/ 59323 w 67897"/>
                  <a:gd name="connsiteY6" fmla="*/ 16899 h 71901"/>
                  <a:gd name="connsiteX7" fmla="*/ 62685 w 67897"/>
                  <a:gd name="connsiteY7" fmla="*/ 20993 h 71901"/>
                  <a:gd name="connsiteX8" fmla="*/ 67866 w 67897"/>
                  <a:gd name="connsiteY8" fmla="*/ 66517 h 71901"/>
                  <a:gd name="connsiteX9" fmla="*/ 63594 w 67897"/>
                  <a:gd name="connsiteY9" fmla="*/ 71901 h 71901"/>
                  <a:gd name="connsiteX10" fmla="*/ 63038 w 67897"/>
                  <a:gd name="connsiteY10" fmla="*/ 71901 h 7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97" h="71901">
                    <a:moveTo>
                      <a:pt x="63038" y="71901"/>
                    </a:moveTo>
                    <a:cubicBezTo>
                      <a:pt x="60587" y="71901"/>
                      <a:pt x="58489" y="70081"/>
                      <a:pt x="58211" y="67579"/>
                    </a:cubicBezTo>
                    <a:lnTo>
                      <a:pt x="53408" y="25215"/>
                    </a:lnTo>
                    <a:lnTo>
                      <a:pt x="3410" y="9493"/>
                    </a:lnTo>
                    <a:cubicBezTo>
                      <a:pt x="857" y="8684"/>
                      <a:pt x="-584" y="5954"/>
                      <a:pt x="225" y="3401"/>
                    </a:cubicBezTo>
                    <a:cubicBezTo>
                      <a:pt x="1034" y="848"/>
                      <a:pt x="3739" y="-568"/>
                      <a:pt x="6317" y="216"/>
                    </a:cubicBezTo>
                    <a:lnTo>
                      <a:pt x="59323" y="16899"/>
                    </a:lnTo>
                    <a:cubicBezTo>
                      <a:pt x="61143" y="17480"/>
                      <a:pt x="62482" y="19072"/>
                      <a:pt x="62685" y="20993"/>
                    </a:cubicBezTo>
                    <a:lnTo>
                      <a:pt x="67866" y="66517"/>
                    </a:lnTo>
                    <a:cubicBezTo>
                      <a:pt x="68170" y="69197"/>
                      <a:pt x="66249" y="71598"/>
                      <a:pt x="63594" y="71901"/>
                    </a:cubicBezTo>
                    <a:cubicBezTo>
                      <a:pt x="63392" y="71901"/>
                      <a:pt x="63215" y="71901"/>
                      <a:pt x="63038" y="71901"/>
                    </a:cubicBezTo>
                    <a:close/>
                  </a:path>
                </a:pathLst>
              </a:custGeom>
              <a:solidFill>
                <a:schemeClr val="tx2"/>
              </a:solidFill>
              <a:ln w="2523" cap="flat">
                <a:noFill/>
                <a:prstDash val="solid"/>
                <a:miter/>
              </a:ln>
            </p:spPr>
            <p:txBody>
              <a:bodyPr rtlCol="0" anchor="ctr"/>
              <a:lstStyle/>
              <a:p>
                <a:endParaRPr lang="en-GB" dirty="0"/>
              </a:p>
            </p:txBody>
          </p:sp>
          <p:sp>
            <p:nvSpPr>
              <p:cNvPr id="595" name="Freihandform: Form 594">
                <a:extLst>
                  <a:ext uri="{FF2B5EF4-FFF2-40B4-BE49-F238E27FC236}">
                    <a16:creationId xmlns:a16="http://schemas.microsoft.com/office/drawing/2014/main" id="{D15D02E1-F97B-4C3B-9878-7D954794A043}"/>
                  </a:ext>
                </a:extLst>
              </p:cNvPr>
              <p:cNvSpPr/>
              <p:nvPr/>
            </p:nvSpPr>
            <p:spPr>
              <a:xfrm>
                <a:off x="6371891" y="2729309"/>
                <a:ext cx="73921" cy="169258"/>
              </a:xfrm>
              <a:custGeom>
                <a:avLst/>
                <a:gdLst>
                  <a:gd name="connsiteX0" fmla="*/ 69038 w 73921"/>
                  <a:gd name="connsiteY0" fmla="*/ 169258 h 169258"/>
                  <a:gd name="connsiteX1" fmla="*/ 64236 w 73921"/>
                  <a:gd name="connsiteY1" fmla="*/ 165113 h 169258"/>
                  <a:gd name="connsiteX2" fmla="*/ 54504 w 73921"/>
                  <a:gd name="connsiteY2" fmla="*/ 99544 h 169258"/>
                  <a:gd name="connsiteX3" fmla="*/ 2585 w 73921"/>
                  <a:gd name="connsiteY3" fmla="*/ 72169 h 169258"/>
                  <a:gd name="connsiteX4" fmla="*/ 7 w 73921"/>
                  <a:gd name="connsiteY4" fmla="*/ 67619 h 169258"/>
                  <a:gd name="connsiteX5" fmla="*/ 3268 w 73921"/>
                  <a:gd name="connsiteY5" fmla="*/ 4604 h 169258"/>
                  <a:gd name="connsiteX6" fmla="*/ 8374 w 73921"/>
                  <a:gd name="connsiteY6" fmla="*/ 4 h 169258"/>
                  <a:gd name="connsiteX7" fmla="*/ 12974 w 73921"/>
                  <a:gd name="connsiteY7" fmla="*/ 5110 h 169258"/>
                  <a:gd name="connsiteX8" fmla="*/ 9865 w 73921"/>
                  <a:gd name="connsiteY8" fmla="*/ 65016 h 169258"/>
                  <a:gd name="connsiteX9" fmla="*/ 61228 w 73921"/>
                  <a:gd name="connsiteY9" fmla="*/ 92088 h 169258"/>
                  <a:gd name="connsiteX10" fmla="*/ 63781 w 73921"/>
                  <a:gd name="connsiteY10" fmla="*/ 95677 h 169258"/>
                  <a:gd name="connsiteX11" fmla="*/ 73866 w 73921"/>
                  <a:gd name="connsiteY11" fmla="*/ 163672 h 169258"/>
                  <a:gd name="connsiteX12" fmla="*/ 69771 w 73921"/>
                  <a:gd name="connsiteY12" fmla="*/ 169182 h 169258"/>
                  <a:gd name="connsiteX13" fmla="*/ 69038 w 73921"/>
                  <a:gd name="connsiteY13" fmla="*/ 169258 h 169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3921" h="169258">
                    <a:moveTo>
                      <a:pt x="69038" y="169258"/>
                    </a:moveTo>
                    <a:cubicBezTo>
                      <a:pt x="66662" y="169258"/>
                      <a:pt x="64590" y="167514"/>
                      <a:pt x="64236" y="165113"/>
                    </a:cubicBezTo>
                    <a:lnTo>
                      <a:pt x="54504" y="99544"/>
                    </a:lnTo>
                    <a:lnTo>
                      <a:pt x="2585" y="72169"/>
                    </a:lnTo>
                    <a:cubicBezTo>
                      <a:pt x="917" y="71285"/>
                      <a:pt x="-94" y="69515"/>
                      <a:pt x="7" y="67619"/>
                    </a:cubicBezTo>
                    <a:lnTo>
                      <a:pt x="3268" y="4604"/>
                    </a:lnTo>
                    <a:cubicBezTo>
                      <a:pt x="3394" y="1925"/>
                      <a:pt x="5593" y="-97"/>
                      <a:pt x="8374" y="4"/>
                    </a:cubicBezTo>
                    <a:cubicBezTo>
                      <a:pt x="11053" y="130"/>
                      <a:pt x="13100" y="2430"/>
                      <a:pt x="12974" y="5110"/>
                    </a:cubicBezTo>
                    <a:lnTo>
                      <a:pt x="9865" y="65016"/>
                    </a:lnTo>
                    <a:lnTo>
                      <a:pt x="61228" y="92088"/>
                    </a:lnTo>
                    <a:cubicBezTo>
                      <a:pt x="62593" y="92821"/>
                      <a:pt x="63553" y="94135"/>
                      <a:pt x="63781" y="95677"/>
                    </a:cubicBezTo>
                    <a:lnTo>
                      <a:pt x="73866" y="163672"/>
                    </a:lnTo>
                    <a:cubicBezTo>
                      <a:pt x="74271" y="166326"/>
                      <a:pt x="72425" y="168803"/>
                      <a:pt x="69771" y="169182"/>
                    </a:cubicBezTo>
                    <a:cubicBezTo>
                      <a:pt x="69519" y="169258"/>
                      <a:pt x="69266" y="169258"/>
                      <a:pt x="69038" y="169258"/>
                    </a:cubicBezTo>
                    <a:close/>
                  </a:path>
                </a:pathLst>
              </a:custGeom>
              <a:solidFill>
                <a:schemeClr val="tx2"/>
              </a:solidFill>
              <a:ln w="2523" cap="flat">
                <a:noFill/>
                <a:prstDash val="solid"/>
                <a:miter/>
              </a:ln>
            </p:spPr>
            <p:txBody>
              <a:bodyPr rtlCol="0" anchor="ctr"/>
              <a:lstStyle/>
              <a:p>
                <a:endParaRPr lang="en-GB" dirty="0"/>
              </a:p>
            </p:txBody>
          </p:sp>
          <p:sp>
            <p:nvSpPr>
              <p:cNvPr id="596" name="Freihandform: Form 595">
                <a:extLst>
                  <a:ext uri="{FF2B5EF4-FFF2-40B4-BE49-F238E27FC236}">
                    <a16:creationId xmlns:a16="http://schemas.microsoft.com/office/drawing/2014/main" id="{F0701D35-27CE-403E-A54A-76F7B1513BA2}"/>
                  </a:ext>
                </a:extLst>
              </p:cNvPr>
              <p:cNvSpPr/>
              <p:nvPr/>
            </p:nvSpPr>
            <p:spPr>
              <a:xfrm>
                <a:off x="6196296" y="2892805"/>
                <a:ext cx="382117" cy="147111"/>
              </a:xfrm>
              <a:custGeom>
                <a:avLst/>
                <a:gdLst>
                  <a:gd name="connsiteX0" fmla="*/ 4856 w 382117"/>
                  <a:gd name="connsiteY0" fmla="*/ 147111 h 147111"/>
                  <a:gd name="connsiteX1" fmla="*/ 2328 w 382117"/>
                  <a:gd name="connsiteY1" fmla="*/ 146403 h 147111"/>
                  <a:gd name="connsiteX2" fmla="*/ 710 w 382117"/>
                  <a:gd name="connsiteY2" fmla="*/ 139730 h 147111"/>
                  <a:gd name="connsiteX3" fmla="*/ 35618 w 382117"/>
                  <a:gd name="connsiteY3" fmla="*/ 82503 h 147111"/>
                  <a:gd name="connsiteX4" fmla="*/ 39410 w 382117"/>
                  <a:gd name="connsiteY4" fmla="*/ 80178 h 147111"/>
                  <a:gd name="connsiteX5" fmla="*/ 132732 w 382117"/>
                  <a:gd name="connsiteY5" fmla="*/ 73429 h 147111"/>
                  <a:gd name="connsiteX6" fmla="*/ 153965 w 382117"/>
                  <a:gd name="connsiteY6" fmla="*/ 33390 h 147111"/>
                  <a:gd name="connsiteX7" fmla="*/ 157428 w 382117"/>
                  <a:gd name="connsiteY7" fmla="*/ 30888 h 147111"/>
                  <a:gd name="connsiteX8" fmla="*/ 336843 w 382117"/>
                  <a:gd name="connsiteY8" fmla="*/ 75 h 147111"/>
                  <a:gd name="connsiteX9" fmla="*/ 342177 w 382117"/>
                  <a:gd name="connsiteY9" fmla="*/ 3058 h 147111"/>
                  <a:gd name="connsiteX10" fmla="*/ 381761 w 382117"/>
                  <a:gd name="connsiteY10" fmla="*/ 101031 h 147111"/>
                  <a:gd name="connsiteX11" fmla="*/ 379081 w 382117"/>
                  <a:gd name="connsiteY11" fmla="*/ 107351 h 147111"/>
                  <a:gd name="connsiteX12" fmla="*/ 372762 w 382117"/>
                  <a:gd name="connsiteY12" fmla="*/ 104671 h 147111"/>
                  <a:gd name="connsiteX13" fmla="*/ 334644 w 382117"/>
                  <a:gd name="connsiteY13" fmla="*/ 10312 h 147111"/>
                  <a:gd name="connsiteX14" fmla="*/ 161447 w 382117"/>
                  <a:gd name="connsiteY14" fmla="*/ 40038 h 147111"/>
                  <a:gd name="connsiteX15" fmla="*/ 140088 w 382117"/>
                  <a:gd name="connsiteY15" fmla="*/ 80355 h 147111"/>
                  <a:gd name="connsiteX16" fmla="*/ 136144 w 382117"/>
                  <a:gd name="connsiteY16" fmla="*/ 82933 h 147111"/>
                  <a:gd name="connsiteX17" fmla="*/ 42645 w 382117"/>
                  <a:gd name="connsiteY17" fmla="*/ 89682 h 147111"/>
                  <a:gd name="connsiteX18" fmla="*/ 9052 w 382117"/>
                  <a:gd name="connsiteY18" fmla="*/ 144760 h 147111"/>
                  <a:gd name="connsiteX19" fmla="*/ 4856 w 382117"/>
                  <a:gd name="connsiteY19" fmla="*/ 147111 h 14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2117" h="147111">
                    <a:moveTo>
                      <a:pt x="4856" y="147111"/>
                    </a:moveTo>
                    <a:cubicBezTo>
                      <a:pt x="3997" y="147111"/>
                      <a:pt x="3112" y="146884"/>
                      <a:pt x="2328" y="146403"/>
                    </a:cubicBezTo>
                    <a:cubicBezTo>
                      <a:pt x="28" y="145013"/>
                      <a:pt x="-680" y="142005"/>
                      <a:pt x="710" y="139730"/>
                    </a:cubicBezTo>
                    <a:lnTo>
                      <a:pt x="35618" y="82503"/>
                    </a:lnTo>
                    <a:cubicBezTo>
                      <a:pt x="36427" y="81163"/>
                      <a:pt x="37842" y="80304"/>
                      <a:pt x="39410" y="80178"/>
                    </a:cubicBezTo>
                    <a:lnTo>
                      <a:pt x="132732" y="73429"/>
                    </a:lnTo>
                    <a:lnTo>
                      <a:pt x="153965" y="33390"/>
                    </a:lnTo>
                    <a:cubicBezTo>
                      <a:pt x="154672" y="32050"/>
                      <a:pt x="155962" y="31140"/>
                      <a:pt x="157428" y="30888"/>
                    </a:cubicBezTo>
                    <a:lnTo>
                      <a:pt x="336843" y="75"/>
                    </a:lnTo>
                    <a:cubicBezTo>
                      <a:pt x="339093" y="-329"/>
                      <a:pt x="341317" y="934"/>
                      <a:pt x="342177" y="3058"/>
                    </a:cubicBezTo>
                    <a:lnTo>
                      <a:pt x="381761" y="101031"/>
                    </a:lnTo>
                    <a:cubicBezTo>
                      <a:pt x="382772" y="103508"/>
                      <a:pt x="381558" y="106339"/>
                      <a:pt x="379081" y="107351"/>
                    </a:cubicBezTo>
                    <a:cubicBezTo>
                      <a:pt x="376604" y="108362"/>
                      <a:pt x="373773" y="107148"/>
                      <a:pt x="372762" y="104671"/>
                    </a:cubicBezTo>
                    <a:lnTo>
                      <a:pt x="334644" y="10312"/>
                    </a:lnTo>
                    <a:lnTo>
                      <a:pt x="161447" y="40038"/>
                    </a:lnTo>
                    <a:lnTo>
                      <a:pt x="140088" y="80355"/>
                    </a:lnTo>
                    <a:cubicBezTo>
                      <a:pt x="139304" y="81846"/>
                      <a:pt x="137813" y="82807"/>
                      <a:pt x="136144" y="82933"/>
                    </a:cubicBezTo>
                    <a:lnTo>
                      <a:pt x="42645" y="89682"/>
                    </a:lnTo>
                    <a:lnTo>
                      <a:pt x="9052" y="144760"/>
                    </a:lnTo>
                    <a:cubicBezTo>
                      <a:pt x="8117" y="146277"/>
                      <a:pt x="6499" y="147111"/>
                      <a:pt x="4856" y="147111"/>
                    </a:cubicBezTo>
                    <a:close/>
                  </a:path>
                </a:pathLst>
              </a:custGeom>
              <a:solidFill>
                <a:schemeClr val="tx2"/>
              </a:solidFill>
              <a:ln w="2523" cap="flat">
                <a:noFill/>
                <a:prstDash val="solid"/>
                <a:miter/>
              </a:ln>
            </p:spPr>
            <p:txBody>
              <a:bodyPr rtlCol="0" anchor="ctr"/>
              <a:lstStyle/>
              <a:p>
                <a:endParaRPr lang="en-GB" dirty="0"/>
              </a:p>
            </p:txBody>
          </p:sp>
          <p:sp>
            <p:nvSpPr>
              <p:cNvPr id="597" name="Freihandform: Form 596">
                <a:extLst>
                  <a:ext uri="{FF2B5EF4-FFF2-40B4-BE49-F238E27FC236}">
                    <a16:creationId xmlns:a16="http://schemas.microsoft.com/office/drawing/2014/main" id="{837AED8A-2C21-4051-B7F8-01FAF84BDF6D}"/>
                  </a:ext>
                </a:extLst>
              </p:cNvPr>
              <p:cNvSpPr/>
              <p:nvPr/>
            </p:nvSpPr>
            <p:spPr>
              <a:xfrm>
                <a:off x="6364744" y="2667404"/>
                <a:ext cx="160079" cy="105536"/>
              </a:xfrm>
              <a:custGeom>
                <a:avLst/>
                <a:gdLst>
                  <a:gd name="connsiteX0" fmla="*/ 73303 w 160079"/>
                  <a:gd name="connsiteY0" fmla="*/ 105537 h 105536"/>
                  <a:gd name="connsiteX1" fmla="*/ 70852 w 160079"/>
                  <a:gd name="connsiteY1" fmla="*/ 104880 h 105536"/>
                  <a:gd name="connsiteX2" fmla="*/ 12993 w 160079"/>
                  <a:gd name="connsiteY2" fmla="*/ 70958 h 105536"/>
                  <a:gd name="connsiteX3" fmla="*/ 11248 w 160079"/>
                  <a:gd name="connsiteY3" fmla="*/ 64310 h 105536"/>
                  <a:gd name="connsiteX4" fmla="*/ 17896 w 160079"/>
                  <a:gd name="connsiteY4" fmla="*/ 62566 h 105536"/>
                  <a:gd name="connsiteX5" fmla="*/ 73253 w 160079"/>
                  <a:gd name="connsiteY5" fmla="*/ 95022 h 105536"/>
                  <a:gd name="connsiteX6" fmla="*/ 122391 w 160079"/>
                  <a:gd name="connsiteY6" fmla="*/ 65068 h 105536"/>
                  <a:gd name="connsiteX7" fmla="*/ 124691 w 160079"/>
                  <a:gd name="connsiteY7" fmla="*/ 64361 h 105536"/>
                  <a:gd name="connsiteX8" fmla="*/ 127067 w 160079"/>
                  <a:gd name="connsiteY8" fmla="*/ 64259 h 105536"/>
                  <a:gd name="connsiteX9" fmla="*/ 150348 w 160079"/>
                  <a:gd name="connsiteY9" fmla="*/ 64209 h 105536"/>
                  <a:gd name="connsiteX10" fmla="*/ 150373 w 160079"/>
                  <a:gd name="connsiteY10" fmla="*/ 40347 h 105536"/>
                  <a:gd name="connsiteX11" fmla="*/ 126360 w 160079"/>
                  <a:gd name="connsiteY11" fmla="*/ 41333 h 105536"/>
                  <a:gd name="connsiteX12" fmla="*/ 74694 w 160079"/>
                  <a:gd name="connsiteY12" fmla="*/ 64436 h 105536"/>
                  <a:gd name="connsiteX13" fmla="*/ 70017 w 160079"/>
                  <a:gd name="connsiteY13" fmla="*/ 64057 h 105536"/>
                  <a:gd name="connsiteX14" fmla="*/ 7154 w 160079"/>
                  <a:gd name="connsiteY14" fmla="*/ 22426 h 105536"/>
                  <a:gd name="connsiteX15" fmla="*/ 25 w 160079"/>
                  <a:gd name="connsiteY15" fmla="*/ 4631 h 105536"/>
                  <a:gd name="connsiteX16" fmla="*/ 5106 w 160079"/>
                  <a:gd name="connsiteY16" fmla="*/ 5 h 105536"/>
                  <a:gd name="connsiteX17" fmla="*/ 9732 w 160079"/>
                  <a:gd name="connsiteY17" fmla="*/ 5086 h 105536"/>
                  <a:gd name="connsiteX18" fmla="*/ 11653 w 160079"/>
                  <a:gd name="connsiteY18" fmla="*/ 13832 h 105536"/>
                  <a:gd name="connsiteX19" fmla="*/ 12260 w 160079"/>
                  <a:gd name="connsiteY19" fmla="*/ 14186 h 105536"/>
                  <a:gd name="connsiteX20" fmla="*/ 73152 w 160079"/>
                  <a:gd name="connsiteY20" fmla="*/ 54503 h 105536"/>
                  <a:gd name="connsiteX21" fmla="*/ 122897 w 160079"/>
                  <a:gd name="connsiteY21" fmla="*/ 32259 h 105536"/>
                  <a:gd name="connsiteX22" fmla="*/ 123984 w 160079"/>
                  <a:gd name="connsiteY22" fmla="*/ 31930 h 105536"/>
                  <a:gd name="connsiteX23" fmla="*/ 125551 w 160079"/>
                  <a:gd name="connsiteY23" fmla="*/ 31627 h 105536"/>
                  <a:gd name="connsiteX24" fmla="*/ 126284 w 160079"/>
                  <a:gd name="connsiteY24" fmla="*/ 31551 h 105536"/>
                  <a:gd name="connsiteX25" fmla="*/ 152446 w 160079"/>
                  <a:gd name="connsiteY25" fmla="*/ 30616 h 105536"/>
                  <a:gd name="connsiteX26" fmla="*/ 160079 w 160079"/>
                  <a:gd name="connsiteY26" fmla="*/ 39362 h 105536"/>
                  <a:gd name="connsiteX27" fmla="*/ 160079 w 160079"/>
                  <a:gd name="connsiteY27" fmla="*/ 65169 h 105536"/>
                  <a:gd name="connsiteX28" fmla="*/ 152799 w 160079"/>
                  <a:gd name="connsiteY28" fmla="*/ 73941 h 105536"/>
                  <a:gd name="connsiteX29" fmla="*/ 126360 w 160079"/>
                  <a:gd name="connsiteY29" fmla="*/ 74042 h 105536"/>
                  <a:gd name="connsiteX30" fmla="*/ 75806 w 160079"/>
                  <a:gd name="connsiteY30" fmla="*/ 104854 h 105536"/>
                  <a:gd name="connsiteX31" fmla="*/ 73303 w 160079"/>
                  <a:gd name="connsiteY31" fmla="*/ 105537 h 105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60079" h="105536">
                    <a:moveTo>
                      <a:pt x="73303" y="105537"/>
                    </a:moveTo>
                    <a:cubicBezTo>
                      <a:pt x="72444" y="105537"/>
                      <a:pt x="71610" y="105309"/>
                      <a:pt x="70852" y="104880"/>
                    </a:cubicBezTo>
                    <a:lnTo>
                      <a:pt x="12993" y="70958"/>
                    </a:lnTo>
                    <a:cubicBezTo>
                      <a:pt x="10667" y="69593"/>
                      <a:pt x="9909" y="66636"/>
                      <a:pt x="11248" y="64310"/>
                    </a:cubicBezTo>
                    <a:cubicBezTo>
                      <a:pt x="12613" y="61985"/>
                      <a:pt x="15571" y="61226"/>
                      <a:pt x="17896" y="62566"/>
                    </a:cubicBezTo>
                    <a:lnTo>
                      <a:pt x="73253" y="95022"/>
                    </a:lnTo>
                    <a:lnTo>
                      <a:pt x="122391" y="65068"/>
                    </a:lnTo>
                    <a:cubicBezTo>
                      <a:pt x="123099" y="64639"/>
                      <a:pt x="123883" y="64411"/>
                      <a:pt x="124691" y="64361"/>
                    </a:cubicBezTo>
                    <a:lnTo>
                      <a:pt x="127067" y="64259"/>
                    </a:lnTo>
                    <a:lnTo>
                      <a:pt x="150348" y="64209"/>
                    </a:lnTo>
                    <a:lnTo>
                      <a:pt x="150373" y="40347"/>
                    </a:lnTo>
                    <a:lnTo>
                      <a:pt x="126360" y="41333"/>
                    </a:lnTo>
                    <a:lnTo>
                      <a:pt x="74694" y="64436"/>
                    </a:lnTo>
                    <a:cubicBezTo>
                      <a:pt x="73177" y="65119"/>
                      <a:pt x="71408" y="64967"/>
                      <a:pt x="70017" y="64057"/>
                    </a:cubicBezTo>
                    <a:lnTo>
                      <a:pt x="7154" y="22426"/>
                    </a:lnTo>
                    <a:cubicBezTo>
                      <a:pt x="-227" y="18584"/>
                      <a:pt x="-76" y="6957"/>
                      <a:pt x="25" y="4631"/>
                    </a:cubicBezTo>
                    <a:cubicBezTo>
                      <a:pt x="152" y="1952"/>
                      <a:pt x="2528" y="-121"/>
                      <a:pt x="5106" y="5"/>
                    </a:cubicBezTo>
                    <a:cubicBezTo>
                      <a:pt x="7786" y="132"/>
                      <a:pt x="9858" y="2407"/>
                      <a:pt x="9732" y="5086"/>
                    </a:cubicBezTo>
                    <a:cubicBezTo>
                      <a:pt x="9555" y="9055"/>
                      <a:pt x="10667" y="13377"/>
                      <a:pt x="11653" y="13832"/>
                    </a:cubicBezTo>
                    <a:cubicBezTo>
                      <a:pt x="11855" y="13933"/>
                      <a:pt x="12083" y="14059"/>
                      <a:pt x="12260" y="14186"/>
                    </a:cubicBezTo>
                    <a:lnTo>
                      <a:pt x="73152" y="54503"/>
                    </a:lnTo>
                    <a:lnTo>
                      <a:pt x="122897" y="32259"/>
                    </a:lnTo>
                    <a:cubicBezTo>
                      <a:pt x="123251" y="32107"/>
                      <a:pt x="123605" y="31981"/>
                      <a:pt x="123984" y="31930"/>
                    </a:cubicBezTo>
                    <a:lnTo>
                      <a:pt x="125551" y="31627"/>
                    </a:lnTo>
                    <a:cubicBezTo>
                      <a:pt x="125804" y="31576"/>
                      <a:pt x="126031" y="31551"/>
                      <a:pt x="126284" y="31551"/>
                    </a:cubicBezTo>
                    <a:lnTo>
                      <a:pt x="152446" y="30616"/>
                    </a:lnTo>
                    <a:cubicBezTo>
                      <a:pt x="156743" y="30616"/>
                      <a:pt x="160079" y="34458"/>
                      <a:pt x="160079" y="39362"/>
                    </a:cubicBezTo>
                    <a:lnTo>
                      <a:pt x="160079" y="65169"/>
                    </a:lnTo>
                    <a:cubicBezTo>
                      <a:pt x="160079" y="70073"/>
                      <a:pt x="156869" y="73941"/>
                      <a:pt x="152799" y="73941"/>
                    </a:cubicBezTo>
                    <a:lnTo>
                      <a:pt x="126360" y="74042"/>
                    </a:lnTo>
                    <a:lnTo>
                      <a:pt x="75806" y="104854"/>
                    </a:lnTo>
                    <a:cubicBezTo>
                      <a:pt x="75073" y="105309"/>
                      <a:pt x="74188" y="105537"/>
                      <a:pt x="73303" y="105537"/>
                    </a:cubicBezTo>
                    <a:close/>
                  </a:path>
                </a:pathLst>
              </a:custGeom>
              <a:solidFill>
                <a:schemeClr val="tx2"/>
              </a:solidFill>
              <a:ln w="2523" cap="flat">
                <a:noFill/>
                <a:prstDash val="solid"/>
                <a:miter/>
              </a:ln>
            </p:spPr>
            <p:txBody>
              <a:bodyPr rtlCol="0" anchor="ctr"/>
              <a:lstStyle/>
              <a:p>
                <a:endParaRPr lang="en-GB" dirty="0"/>
              </a:p>
            </p:txBody>
          </p:sp>
        </p:grpSp>
      </p:grpSp>
      <p:sp>
        <p:nvSpPr>
          <p:cNvPr id="602" name="TextBox 1226">
            <a:extLst>
              <a:ext uri="{FF2B5EF4-FFF2-40B4-BE49-F238E27FC236}">
                <a16:creationId xmlns:a16="http://schemas.microsoft.com/office/drawing/2014/main" id="{B2B9FB67-7F83-4930-949A-FDA49B80C47E}"/>
              </a:ext>
            </a:extLst>
          </p:cNvPr>
          <p:cNvSpPr txBox="1"/>
          <p:nvPr/>
        </p:nvSpPr>
        <p:spPr>
          <a:xfrm>
            <a:off x="6037488" y="2085220"/>
            <a:ext cx="442429" cy="107722"/>
          </a:xfrm>
          <a:prstGeom prst="rect">
            <a:avLst/>
          </a:prstGeom>
          <a:noFill/>
          <a:effectLst/>
        </p:spPr>
        <p:txBody>
          <a:bodyPr wrap="none" lIns="0" tIns="0" rIns="0" bIns="0" rtlCol="0" anchor="t">
            <a:spAutoFit/>
          </a:bodyPr>
          <a:lstStyle/>
          <a:p>
            <a:pPr algn="ctr"/>
            <a:r>
              <a:rPr lang="en-GB" sz="700" dirty="0">
                <a:solidFill>
                  <a:schemeClr val="tx2"/>
                </a:solidFill>
              </a:rPr>
              <a:t>Leadership</a:t>
            </a:r>
          </a:p>
        </p:txBody>
      </p:sp>
    </p:spTree>
    <p:extLst>
      <p:ext uri="{BB962C8B-B14F-4D97-AF65-F5344CB8AC3E}">
        <p14:creationId xmlns:p14="http://schemas.microsoft.com/office/powerpoint/2010/main" val="2206889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kt 22" hidden="1">
            <a:extLst>
              <a:ext uri="{FF2B5EF4-FFF2-40B4-BE49-F238E27FC236}">
                <a16:creationId xmlns:a16="http://schemas.microsoft.com/office/drawing/2014/main" id="{190DCDCB-F1EA-47B2-964A-4360BB2F1FE0}"/>
              </a:ext>
            </a:extLst>
          </p:cNvPr>
          <p:cNvGraphicFramePr>
            <a:graphicFrameLocks noChangeAspect="1"/>
          </p:cNvGraphicFramePr>
          <p:nvPr>
            <p:custDataLst>
              <p:tags r:id="rId1"/>
            </p:custDataLst>
            <p:extLst>
              <p:ext uri="{D42A27DB-BD31-4B8C-83A1-F6EECF244321}">
                <p14:modId xmlns:p14="http://schemas.microsoft.com/office/powerpoint/2010/main" val="26846527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23" name="Objekt 22" hidden="1">
                        <a:extLst>
                          <a:ext uri="{FF2B5EF4-FFF2-40B4-BE49-F238E27FC236}">
                            <a16:creationId xmlns:a16="http://schemas.microsoft.com/office/drawing/2014/main" id="{190DCDCB-F1EA-47B2-964A-4360BB2F1FE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D94D0C12-B081-4A37-9C3D-1EE55CB03859}"/>
              </a:ext>
            </a:extLst>
          </p:cNvPr>
          <p:cNvSpPr>
            <a:spLocks noGrp="1"/>
          </p:cNvSpPr>
          <p:nvPr>
            <p:ph type="sldNum" sz="quarter" idx="11"/>
          </p:nvPr>
        </p:nvSpPr>
        <p:spPr/>
        <p:txBody>
          <a:bodyPr/>
          <a:lstStyle/>
          <a:p>
            <a:fld id="{D56DB8AA-803C-49D2-90AA-1140CE72DCD7}" type="slidenum">
              <a:rPr lang="en-GB" smtClean="0"/>
              <a:pPr/>
              <a:t>32</a:t>
            </a:fld>
            <a:endParaRPr lang="en-GB" dirty="0"/>
          </a:p>
        </p:txBody>
      </p:sp>
      <p:sp>
        <p:nvSpPr>
          <p:cNvPr id="3" name="Title 2">
            <a:extLst>
              <a:ext uri="{FF2B5EF4-FFF2-40B4-BE49-F238E27FC236}">
                <a16:creationId xmlns:a16="http://schemas.microsoft.com/office/drawing/2014/main" id="{D5F20E0C-7DEA-6742-D0EE-E003AEAA3BC1}"/>
              </a:ext>
            </a:extLst>
          </p:cNvPr>
          <p:cNvSpPr>
            <a:spLocks noGrp="1"/>
          </p:cNvSpPr>
          <p:nvPr>
            <p:ph type="title"/>
          </p:nvPr>
        </p:nvSpPr>
        <p:spPr>
          <a:xfrm>
            <a:off x="252000" y="252000"/>
            <a:ext cx="6748875" cy="576000"/>
          </a:xfrm>
        </p:spPr>
        <p:txBody>
          <a:bodyPr vert="horz"/>
          <a:lstStyle/>
          <a:p>
            <a:r>
              <a:rPr lang="en-US" dirty="0"/>
              <a:t>Human Relations/Work 2/2</a:t>
            </a:r>
            <a:br>
              <a:rPr lang="en-US" dirty="0"/>
            </a:br>
            <a:endParaRPr lang="en-US" dirty="0"/>
          </a:p>
        </p:txBody>
      </p:sp>
      <p:sp>
        <p:nvSpPr>
          <p:cNvPr id="7" name="TextBox 6">
            <a:extLst>
              <a:ext uri="{FF2B5EF4-FFF2-40B4-BE49-F238E27FC236}">
                <a16:creationId xmlns:a16="http://schemas.microsoft.com/office/drawing/2014/main" id="{0F00DB68-C932-4533-B7FF-847D92253B90}"/>
              </a:ext>
            </a:extLst>
          </p:cNvPr>
          <p:cNvSpPr txBox="1"/>
          <p:nvPr/>
        </p:nvSpPr>
        <p:spPr>
          <a:xfrm>
            <a:off x="3588420"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lationship</a:t>
            </a:r>
          </a:p>
        </p:txBody>
      </p:sp>
      <p:sp>
        <p:nvSpPr>
          <p:cNvPr id="8" name="TextBox 7">
            <a:extLst>
              <a:ext uri="{FF2B5EF4-FFF2-40B4-BE49-F238E27FC236}">
                <a16:creationId xmlns:a16="http://schemas.microsoft.com/office/drawing/2014/main" id="{4B1253D1-D286-4216-875A-FC94371F5D66}"/>
              </a:ext>
            </a:extLst>
          </p:cNvPr>
          <p:cNvSpPr txBox="1"/>
          <p:nvPr/>
        </p:nvSpPr>
        <p:spPr>
          <a:xfrm>
            <a:off x="254298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itiative</a:t>
            </a:r>
          </a:p>
        </p:txBody>
      </p:sp>
      <p:sp>
        <p:nvSpPr>
          <p:cNvPr id="9" name="TextBox 8">
            <a:extLst>
              <a:ext uri="{FF2B5EF4-FFF2-40B4-BE49-F238E27FC236}">
                <a16:creationId xmlns:a16="http://schemas.microsoft.com/office/drawing/2014/main" id="{4DB04C39-0ED9-481B-9DC7-CBA16452B1EE}"/>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sponsiveness</a:t>
            </a:r>
          </a:p>
        </p:txBody>
      </p:sp>
      <p:sp>
        <p:nvSpPr>
          <p:cNvPr id="10" name="TextBox 9">
            <a:extLst>
              <a:ext uri="{FF2B5EF4-FFF2-40B4-BE49-F238E27FC236}">
                <a16:creationId xmlns:a16="http://schemas.microsoft.com/office/drawing/2014/main" id="{F17F2921-3ABD-4EA1-853A-69357D220D0D}"/>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nrichment</a:t>
            </a:r>
          </a:p>
        </p:txBody>
      </p:sp>
      <p:sp>
        <p:nvSpPr>
          <p:cNvPr id="11" name="TextBox 10">
            <a:extLst>
              <a:ext uri="{FF2B5EF4-FFF2-40B4-BE49-F238E27FC236}">
                <a16:creationId xmlns:a16="http://schemas.microsoft.com/office/drawing/2014/main" id="{6FBAB0FB-23E7-479E-8D55-3B7F7A152E35}"/>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vestment</a:t>
            </a:r>
          </a:p>
        </p:txBody>
      </p:sp>
      <p:sp>
        <p:nvSpPr>
          <p:cNvPr id="12" name="TextBox 11">
            <a:extLst>
              <a:ext uri="{FF2B5EF4-FFF2-40B4-BE49-F238E27FC236}">
                <a16:creationId xmlns:a16="http://schemas.microsoft.com/office/drawing/2014/main" id="{31E8507E-8817-45A3-B80D-4FCCAE17C8F5}"/>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onation</a:t>
            </a:r>
          </a:p>
        </p:txBody>
      </p:sp>
      <p:sp>
        <p:nvSpPr>
          <p:cNvPr id="13" name="TextBox 12">
            <a:extLst>
              <a:ext uri="{FF2B5EF4-FFF2-40B4-BE49-F238E27FC236}">
                <a16:creationId xmlns:a16="http://schemas.microsoft.com/office/drawing/2014/main" id="{C69EB6D1-7CB1-47BC-9556-C40BDF1F99ED}"/>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enefit</a:t>
            </a:r>
          </a:p>
        </p:txBody>
      </p:sp>
      <p:sp>
        <p:nvSpPr>
          <p:cNvPr id="14" name="TextBox 13">
            <a:extLst>
              <a:ext uri="{FF2B5EF4-FFF2-40B4-BE49-F238E27FC236}">
                <a16:creationId xmlns:a16="http://schemas.microsoft.com/office/drawing/2014/main" id="{403500A8-7D27-4674-8501-B6081567A488}"/>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otential</a:t>
            </a:r>
          </a:p>
        </p:txBody>
      </p:sp>
      <p:sp>
        <p:nvSpPr>
          <p:cNvPr id="15" name="TextBox 14">
            <a:extLst>
              <a:ext uri="{FF2B5EF4-FFF2-40B4-BE49-F238E27FC236}">
                <a16:creationId xmlns:a16="http://schemas.microsoft.com/office/drawing/2014/main" id="{41EAE5B9-3310-4AA6-8BD8-96C721A3B7C1}"/>
              </a:ext>
            </a:extLst>
          </p:cNvPr>
          <p:cNvSpPr txBox="1"/>
          <p:nvPr/>
        </p:nvSpPr>
        <p:spPr>
          <a:xfrm>
            <a:off x="3588420"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Organization</a:t>
            </a:r>
            <a:br>
              <a:rPr lang="en-GB" sz="700" dirty="0">
                <a:solidFill>
                  <a:schemeClr val="tx2"/>
                </a:solidFill>
              </a:rPr>
            </a:br>
            <a:r>
              <a:rPr lang="en-GB" sz="700" dirty="0">
                <a:solidFill>
                  <a:schemeClr val="tx2"/>
                </a:solidFill>
              </a:rPr>
              <a:t>structure</a:t>
            </a:r>
          </a:p>
        </p:txBody>
      </p:sp>
      <p:sp>
        <p:nvSpPr>
          <p:cNvPr id="16" name="TextBox 15">
            <a:extLst>
              <a:ext uri="{FF2B5EF4-FFF2-40B4-BE49-F238E27FC236}">
                <a16:creationId xmlns:a16="http://schemas.microsoft.com/office/drawing/2014/main" id="{72078B4C-2BDA-48B0-BBC4-39B8739A0C93}"/>
              </a:ext>
            </a:extLst>
          </p:cNvPr>
          <p:cNvSpPr txBox="1"/>
          <p:nvPr/>
        </p:nvSpPr>
        <p:spPr>
          <a:xfrm>
            <a:off x="2542987"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onnected</a:t>
            </a:r>
            <a:br>
              <a:rPr lang="en-GB" sz="700" dirty="0">
                <a:solidFill>
                  <a:schemeClr val="tx2"/>
                </a:solidFill>
              </a:rPr>
            </a:br>
            <a:r>
              <a:rPr lang="en-GB" sz="700" dirty="0">
                <a:solidFill>
                  <a:schemeClr val="tx2"/>
                </a:solidFill>
              </a:rPr>
              <a:t>minds</a:t>
            </a:r>
          </a:p>
        </p:txBody>
      </p:sp>
      <p:sp>
        <p:nvSpPr>
          <p:cNvPr id="18" name="TextBox 17">
            <a:extLst>
              <a:ext uri="{FF2B5EF4-FFF2-40B4-BE49-F238E27FC236}">
                <a16:creationId xmlns:a16="http://schemas.microsoft.com/office/drawing/2014/main" id="{BBAF2898-AA68-41C9-B44C-9BC0DC1AD5F8}"/>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eamwork</a:t>
            </a:r>
          </a:p>
        </p:txBody>
      </p:sp>
      <p:sp>
        <p:nvSpPr>
          <p:cNvPr id="19" name="TextBox 18">
            <a:extLst>
              <a:ext uri="{FF2B5EF4-FFF2-40B4-BE49-F238E27FC236}">
                <a16:creationId xmlns:a16="http://schemas.microsoft.com/office/drawing/2014/main" id="{156146BF-3754-4515-A668-0C8622A25EC7}"/>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ntract</a:t>
            </a:r>
          </a:p>
        </p:txBody>
      </p:sp>
      <p:sp>
        <p:nvSpPr>
          <p:cNvPr id="20" name="TextBox 19">
            <a:extLst>
              <a:ext uri="{FF2B5EF4-FFF2-40B4-BE49-F238E27FC236}">
                <a16:creationId xmlns:a16="http://schemas.microsoft.com/office/drawing/2014/main" id="{3111154C-F1D3-465D-806C-CC97130175CB}"/>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orkplace</a:t>
            </a:r>
          </a:p>
        </p:txBody>
      </p:sp>
      <p:sp>
        <p:nvSpPr>
          <p:cNvPr id="21" name="TextBox 20">
            <a:extLst>
              <a:ext uri="{FF2B5EF4-FFF2-40B4-BE49-F238E27FC236}">
                <a16:creationId xmlns:a16="http://schemas.microsoft.com/office/drawing/2014/main" id="{8432844D-7B96-4D6D-A423-621F393C0A36}"/>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evelopment</a:t>
            </a:r>
          </a:p>
        </p:txBody>
      </p:sp>
      <p:sp>
        <p:nvSpPr>
          <p:cNvPr id="26" name="TextBox 25">
            <a:extLst>
              <a:ext uri="{FF2B5EF4-FFF2-40B4-BE49-F238E27FC236}">
                <a16:creationId xmlns:a16="http://schemas.microsoft.com/office/drawing/2014/main" id="{E00FEF5B-C40B-4D9E-9884-EEC81AB4E1B4}"/>
              </a:ext>
            </a:extLst>
          </p:cNvPr>
          <p:cNvSpPr txBox="1"/>
          <p:nvPr/>
        </p:nvSpPr>
        <p:spPr>
          <a:xfrm>
            <a:off x="1506823" y="372686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reativity</a:t>
            </a:r>
          </a:p>
        </p:txBody>
      </p:sp>
      <p:grpSp>
        <p:nvGrpSpPr>
          <p:cNvPr id="193" name="Group 192">
            <a:extLst>
              <a:ext uri="{FF2B5EF4-FFF2-40B4-BE49-F238E27FC236}">
                <a16:creationId xmlns:a16="http://schemas.microsoft.com/office/drawing/2014/main" id="{CBA9AB53-08FF-46A9-BA8E-3CF53ED60F9C}"/>
              </a:ext>
            </a:extLst>
          </p:cNvPr>
          <p:cNvGrpSpPr>
            <a:grpSpLocks noChangeAspect="1"/>
          </p:cNvGrpSpPr>
          <p:nvPr/>
        </p:nvGrpSpPr>
        <p:grpSpPr>
          <a:xfrm>
            <a:off x="561351" y="3197071"/>
            <a:ext cx="465398" cy="431998"/>
            <a:chOff x="6106557" y="2478974"/>
            <a:chExt cx="560922" cy="520666"/>
          </a:xfrm>
        </p:grpSpPr>
        <p:sp>
          <p:nvSpPr>
            <p:cNvPr id="194" name="Freihandform: Form 844">
              <a:extLst>
                <a:ext uri="{FF2B5EF4-FFF2-40B4-BE49-F238E27FC236}">
                  <a16:creationId xmlns:a16="http://schemas.microsoft.com/office/drawing/2014/main" id="{69796560-B400-4C2A-98FD-16E0A36F31E0}"/>
                </a:ext>
              </a:extLst>
            </p:cNvPr>
            <p:cNvSpPr/>
            <p:nvPr/>
          </p:nvSpPr>
          <p:spPr>
            <a:xfrm>
              <a:off x="6246425" y="2624578"/>
              <a:ext cx="320123" cy="375062"/>
            </a:xfrm>
            <a:custGeom>
              <a:avLst/>
              <a:gdLst>
                <a:gd name="connsiteX0" fmla="*/ 71783 w 320124"/>
                <a:gd name="connsiteY0" fmla="*/ 375064 h 375063"/>
                <a:gd name="connsiteX1" fmla="*/ 71522 w 320124"/>
                <a:gd name="connsiteY1" fmla="*/ 375064 h 375063"/>
                <a:gd name="connsiteX2" fmla="*/ 66876 w 320124"/>
                <a:gd name="connsiteY2" fmla="*/ 369895 h 375063"/>
                <a:gd name="connsiteX3" fmla="*/ 67059 w 320124"/>
                <a:gd name="connsiteY3" fmla="*/ 298318 h 375063"/>
                <a:gd name="connsiteX4" fmla="*/ 54842 w 320124"/>
                <a:gd name="connsiteY4" fmla="*/ 277252 h 375063"/>
                <a:gd name="connsiteX5" fmla="*/ 337 w 320124"/>
                <a:gd name="connsiteY5" fmla="*/ 140467 h 375063"/>
                <a:gd name="connsiteX6" fmla="*/ 259 w 320124"/>
                <a:gd name="connsiteY6" fmla="*/ 138875 h 375063"/>
                <a:gd name="connsiteX7" fmla="*/ 24 w 320124"/>
                <a:gd name="connsiteY7" fmla="*/ 129425 h 375063"/>
                <a:gd name="connsiteX8" fmla="*/ 100916 w 320124"/>
                <a:gd name="connsiteY8" fmla="*/ 2351 h 375063"/>
                <a:gd name="connsiteX9" fmla="*/ 241903 w 320124"/>
                <a:gd name="connsiteY9" fmla="*/ 29995 h 375063"/>
                <a:gd name="connsiteX10" fmla="*/ 281581 w 320124"/>
                <a:gd name="connsiteY10" fmla="*/ 111152 h 375063"/>
                <a:gd name="connsiteX11" fmla="*/ 283435 w 320124"/>
                <a:gd name="connsiteY11" fmla="*/ 120184 h 375063"/>
                <a:gd name="connsiteX12" fmla="*/ 284139 w 320124"/>
                <a:gd name="connsiteY12" fmla="*/ 153728 h 375063"/>
                <a:gd name="connsiteX13" fmla="*/ 297217 w 320124"/>
                <a:gd name="connsiteY13" fmla="*/ 171949 h 375063"/>
                <a:gd name="connsiteX14" fmla="*/ 318753 w 320124"/>
                <a:gd name="connsiteY14" fmla="*/ 203091 h 375063"/>
                <a:gd name="connsiteX15" fmla="*/ 317213 w 320124"/>
                <a:gd name="connsiteY15" fmla="*/ 220241 h 375063"/>
                <a:gd name="connsiteX16" fmla="*/ 303978 w 320124"/>
                <a:gd name="connsiteY16" fmla="*/ 228203 h 375063"/>
                <a:gd name="connsiteX17" fmla="*/ 296095 w 320124"/>
                <a:gd name="connsiteY17" fmla="*/ 228124 h 375063"/>
                <a:gd name="connsiteX18" fmla="*/ 288577 w 320124"/>
                <a:gd name="connsiteY18" fmla="*/ 228046 h 375063"/>
                <a:gd name="connsiteX19" fmla="*/ 288760 w 320124"/>
                <a:gd name="connsiteY19" fmla="*/ 257439 h 375063"/>
                <a:gd name="connsiteX20" fmla="*/ 289073 w 320124"/>
                <a:gd name="connsiteY20" fmla="*/ 289599 h 375063"/>
                <a:gd name="connsiteX21" fmla="*/ 254877 w 320124"/>
                <a:gd name="connsiteY21" fmla="*/ 323821 h 375063"/>
                <a:gd name="connsiteX22" fmla="*/ 223160 w 320124"/>
                <a:gd name="connsiteY22" fmla="*/ 323821 h 375063"/>
                <a:gd name="connsiteX23" fmla="*/ 223160 w 320124"/>
                <a:gd name="connsiteY23" fmla="*/ 370156 h 375063"/>
                <a:gd name="connsiteX24" fmla="*/ 218253 w 320124"/>
                <a:gd name="connsiteY24" fmla="*/ 375064 h 375063"/>
                <a:gd name="connsiteX25" fmla="*/ 213345 w 320124"/>
                <a:gd name="connsiteY25" fmla="*/ 370156 h 375063"/>
                <a:gd name="connsiteX26" fmla="*/ 213345 w 320124"/>
                <a:gd name="connsiteY26" fmla="*/ 318888 h 375063"/>
                <a:gd name="connsiteX27" fmla="*/ 218253 w 320124"/>
                <a:gd name="connsiteY27" fmla="*/ 313980 h 375063"/>
                <a:gd name="connsiteX28" fmla="*/ 254877 w 320124"/>
                <a:gd name="connsiteY28" fmla="*/ 313980 h 375063"/>
                <a:gd name="connsiteX29" fmla="*/ 279258 w 320124"/>
                <a:gd name="connsiteY29" fmla="*/ 289599 h 375063"/>
                <a:gd name="connsiteX30" fmla="*/ 278945 w 320124"/>
                <a:gd name="connsiteY30" fmla="*/ 257570 h 375063"/>
                <a:gd name="connsiteX31" fmla="*/ 281868 w 320124"/>
                <a:gd name="connsiteY31" fmla="*/ 219353 h 375063"/>
                <a:gd name="connsiteX32" fmla="*/ 282599 w 320124"/>
                <a:gd name="connsiteY32" fmla="*/ 219040 h 375063"/>
                <a:gd name="connsiteX33" fmla="*/ 296382 w 320124"/>
                <a:gd name="connsiteY33" fmla="*/ 218283 h 375063"/>
                <a:gd name="connsiteX34" fmla="*/ 303665 w 320124"/>
                <a:gd name="connsiteY34" fmla="*/ 218361 h 375063"/>
                <a:gd name="connsiteX35" fmla="*/ 309330 w 320124"/>
                <a:gd name="connsiteY35" fmla="*/ 214315 h 375063"/>
                <a:gd name="connsiteX36" fmla="*/ 309486 w 320124"/>
                <a:gd name="connsiteY36" fmla="*/ 206301 h 375063"/>
                <a:gd name="connsiteX37" fmla="*/ 289830 w 320124"/>
                <a:gd name="connsiteY37" fmla="*/ 178396 h 375063"/>
                <a:gd name="connsiteX38" fmla="*/ 275838 w 320124"/>
                <a:gd name="connsiteY38" fmla="*/ 148455 h 375063"/>
                <a:gd name="connsiteX39" fmla="*/ 273880 w 320124"/>
                <a:gd name="connsiteY39" fmla="*/ 122482 h 375063"/>
                <a:gd name="connsiteX40" fmla="*/ 271766 w 320124"/>
                <a:gd name="connsiteY40" fmla="*/ 111727 h 375063"/>
                <a:gd name="connsiteX41" fmla="*/ 235847 w 320124"/>
                <a:gd name="connsiteY41" fmla="*/ 37748 h 375063"/>
                <a:gd name="connsiteX42" fmla="*/ 102221 w 320124"/>
                <a:gd name="connsiteY42" fmla="*/ 12088 h 375063"/>
                <a:gd name="connsiteX43" fmla="*/ 9839 w 320124"/>
                <a:gd name="connsiteY43" fmla="*/ 129269 h 375063"/>
                <a:gd name="connsiteX44" fmla="*/ 10048 w 320124"/>
                <a:gd name="connsiteY44" fmla="*/ 138431 h 375063"/>
                <a:gd name="connsiteX45" fmla="*/ 10126 w 320124"/>
                <a:gd name="connsiteY45" fmla="*/ 140050 h 375063"/>
                <a:gd name="connsiteX46" fmla="*/ 63143 w 320124"/>
                <a:gd name="connsiteY46" fmla="*/ 272057 h 375063"/>
                <a:gd name="connsiteX47" fmla="*/ 76326 w 320124"/>
                <a:gd name="connsiteY47" fmla="*/ 295107 h 375063"/>
                <a:gd name="connsiteX48" fmla="*/ 76561 w 320124"/>
                <a:gd name="connsiteY48" fmla="*/ 295916 h 375063"/>
                <a:gd name="connsiteX49" fmla="*/ 76665 w 320124"/>
                <a:gd name="connsiteY49" fmla="*/ 370391 h 375063"/>
                <a:gd name="connsiteX50" fmla="*/ 71783 w 320124"/>
                <a:gd name="connsiteY50" fmla="*/ 375064 h 375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20124" h="375063">
                  <a:moveTo>
                    <a:pt x="71783" y="375064"/>
                  </a:moveTo>
                  <a:cubicBezTo>
                    <a:pt x="71705" y="375064"/>
                    <a:pt x="71601" y="375064"/>
                    <a:pt x="71522" y="375064"/>
                  </a:cubicBezTo>
                  <a:cubicBezTo>
                    <a:pt x="68808" y="374907"/>
                    <a:pt x="66745" y="372610"/>
                    <a:pt x="66876" y="369895"/>
                  </a:cubicBezTo>
                  <a:cubicBezTo>
                    <a:pt x="67711" y="354102"/>
                    <a:pt x="69382" y="310822"/>
                    <a:pt x="67059" y="298318"/>
                  </a:cubicBezTo>
                  <a:cubicBezTo>
                    <a:pt x="65310" y="294115"/>
                    <a:pt x="60663" y="286649"/>
                    <a:pt x="54842" y="277252"/>
                  </a:cubicBezTo>
                  <a:cubicBezTo>
                    <a:pt x="35316" y="245823"/>
                    <a:pt x="2608" y="193197"/>
                    <a:pt x="337" y="140467"/>
                  </a:cubicBezTo>
                  <a:lnTo>
                    <a:pt x="259" y="138875"/>
                  </a:lnTo>
                  <a:cubicBezTo>
                    <a:pt x="154" y="136813"/>
                    <a:pt x="128" y="136264"/>
                    <a:pt x="24" y="129425"/>
                  </a:cubicBezTo>
                  <a:cubicBezTo>
                    <a:pt x="-1778" y="12479"/>
                    <a:pt x="99871" y="2455"/>
                    <a:pt x="100916" y="2351"/>
                  </a:cubicBezTo>
                  <a:cubicBezTo>
                    <a:pt x="101281" y="2247"/>
                    <a:pt x="188390" y="-11797"/>
                    <a:pt x="241903" y="29995"/>
                  </a:cubicBezTo>
                  <a:cubicBezTo>
                    <a:pt x="266154" y="48921"/>
                    <a:pt x="279493" y="76225"/>
                    <a:pt x="281581" y="111152"/>
                  </a:cubicBezTo>
                  <a:cubicBezTo>
                    <a:pt x="281686" y="112980"/>
                    <a:pt x="282547" y="116478"/>
                    <a:pt x="283435" y="120184"/>
                  </a:cubicBezTo>
                  <a:cubicBezTo>
                    <a:pt x="286149" y="131357"/>
                    <a:pt x="289491" y="145270"/>
                    <a:pt x="284139" y="153728"/>
                  </a:cubicBezTo>
                  <a:cubicBezTo>
                    <a:pt x="283617" y="156443"/>
                    <a:pt x="292127" y="166127"/>
                    <a:pt x="297217" y="171949"/>
                  </a:cubicBezTo>
                  <a:cubicBezTo>
                    <a:pt x="305518" y="181424"/>
                    <a:pt x="314942" y="192179"/>
                    <a:pt x="318753" y="203091"/>
                  </a:cubicBezTo>
                  <a:cubicBezTo>
                    <a:pt x="321599" y="211261"/>
                    <a:pt x="319484" y="216926"/>
                    <a:pt x="317213" y="220241"/>
                  </a:cubicBezTo>
                  <a:cubicBezTo>
                    <a:pt x="313585" y="225514"/>
                    <a:pt x="307163" y="228098"/>
                    <a:pt x="303978" y="228203"/>
                  </a:cubicBezTo>
                  <a:cubicBezTo>
                    <a:pt x="301577" y="228281"/>
                    <a:pt x="298836" y="228203"/>
                    <a:pt x="296095" y="228124"/>
                  </a:cubicBezTo>
                  <a:cubicBezTo>
                    <a:pt x="293719" y="228046"/>
                    <a:pt x="290796" y="227968"/>
                    <a:pt x="288577" y="228046"/>
                  </a:cubicBezTo>
                  <a:cubicBezTo>
                    <a:pt x="288394" y="233763"/>
                    <a:pt x="288577" y="246214"/>
                    <a:pt x="288760" y="257439"/>
                  </a:cubicBezTo>
                  <a:cubicBezTo>
                    <a:pt x="288916" y="267855"/>
                    <a:pt x="289073" y="279288"/>
                    <a:pt x="289073" y="289599"/>
                  </a:cubicBezTo>
                  <a:cubicBezTo>
                    <a:pt x="289073" y="316669"/>
                    <a:pt x="266702" y="323821"/>
                    <a:pt x="254877" y="323821"/>
                  </a:cubicBezTo>
                  <a:lnTo>
                    <a:pt x="223160" y="323821"/>
                  </a:lnTo>
                  <a:lnTo>
                    <a:pt x="223160" y="370156"/>
                  </a:lnTo>
                  <a:cubicBezTo>
                    <a:pt x="223160" y="372871"/>
                    <a:pt x="220968" y="375064"/>
                    <a:pt x="218253" y="375064"/>
                  </a:cubicBezTo>
                  <a:cubicBezTo>
                    <a:pt x="215538" y="375064"/>
                    <a:pt x="213345" y="372871"/>
                    <a:pt x="213345" y="370156"/>
                  </a:cubicBezTo>
                  <a:lnTo>
                    <a:pt x="213345" y="318888"/>
                  </a:lnTo>
                  <a:cubicBezTo>
                    <a:pt x="213345" y="316173"/>
                    <a:pt x="215538" y="313980"/>
                    <a:pt x="218253" y="313980"/>
                  </a:cubicBezTo>
                  <a:lnTo>
                    <a:pt x="254877" y="313980"/>
                  </a:lnTo>
                  <a:cubicBezTo>
                    <a:pt x="257357" y="313954"/>
                    <a:pt x="279258" y="313119"/>
                    <a:pt x="279258" y="289599"/>
                  </a:cubicBezTo>
                  <a:cubicBezTo>
                    <a:pt x="279258" y="279340"/>
                    <a:pt x="279101" y="267959"/>
                    <a:pt x="278945" y="257570"/>
                  </a:cubicBezTo>
                  <a:cubicBezTo>
                    <a:pt x="278423" y="221181"/>
                    <a:pt x="278423" y="221181"/>
                    <a:pt x="281868" y="219353"/>
                  </a:cubicBezTo>
                  <a:cubicBezTo>
                    <a:pt x="282103" y="219223"/>
                    <a:pt x="282364" y="219118"/>
                    <a:pt x="282599" y="219040"/>
                  </a:cubicBezTo>
                  <a:cubicBezTo>
                    <a:pt x="285810" y="217970"/>
                    <a:pt x="290717" y="218100"/>
                    <a:pt x="296382" y="218283"/>
                  </a:cubicBezTo>
                  <a:cubicBezTo>
                    <a:pt x="298914" y="218361"/>
                    <a:pt x="301472" y="218440"/>
                    <a:pt x="303665" y="218361"/>
                  </a:cubicBezTo>
                  <a:cubicBezTo>
                    <a:pt x="304057" y="218283"/>
                    <a:pt x="307581" y="217187"/>
                    <a:pt x="309330" y="214315"/>
                  </a:cubicBezTo>
                  <a:cubicBezTo>
                    <a:pt x="310583" y="212227"/>
                    <a:pt x="310635" y="209617"/>
                    <a:pt x="309486" y="206301"/>
                  </a:cubicBezTo>
                  <a:cubicBezTo>
                    <a:pt x="306302" y="197165"/>
                    <a:pt x="297557" y="187193"/>
                    <a:pt x="289830" y="178396"/>
                  </a:cubicBezTo>
                  <a:cubicBezTo>
                    <a:pt x="279127" y="166206"/>
                    <a:pt x="270696" y="156573"/>
                    <a:pt x="275838" y="148455"/>
                  </a:cubicBezTo>
                  <a:cubicBezTo>
                    <a:pt x="278971" y="143521"/>
                    <a:pt x="275786" y="130365"/>
                    <a:pt x="273880" y="122482"/>
                  </a:cubicBezTo>
                  <a:cubicBezTo>
                    <a:pt x="272836" y="118174"/>
                    <a:pt x="271923" y="114442"/>
                    <a:pt x="271766" y="111727"/>
                  </a:cubicBezTo>
                  <a:cubicBezTo>
                    <a:pt x="269860" y="79749"/>
                    <a:pt x="257774" y="54846"/>
                    <a:pt x="235847" y="37748"/>
                  </a:cubicBezTo>
                  <a:cubicBezTo>
                    <a:pt x="186510" y="-755"/>
                    <a:pt x="103030" y="11931"/>
                    <a:pt x="102221" y="12088"/>
                  </a:cubicBezTo>
                  <a:cubicBezTo>
                    <a:pt x="97914" y="12479"/>
                    <a:pt x="8168" y="21642"/>
                    <a:pt x="9839" y="129269"/>
                  </a:cubicBezTo>
                  <a:cubicBezTo>
                    <a:pt x="9943" y="135925"/>
                    <a:pt x="9969" y="136447"/>
                    <a:pt x="10048" y="138431"/>
                  </a:cubicBezTo>
                  <a:lnTo>
                    <a:pt x="10126" y="140050"/>
                  </a:lnTo>
                  <a:cubicBezTo>
                    <a:pt x="12266" y="190195"/>
                    <a:pt x="44113" y="241437"/>
                    <a:pt x="63143" y="272057"/>
                  </a:cubicBezTo>
                  <a:cubicBezTo>
                    <a:pt x="69669" y="282551"/>
                    <a:pt x="74368" y="290147"/>
                    <a:pt x="76326" y="295107"/>
                  </a:cubicBezTo>
                  <a:cubicBezTo>
                    <a:pt x="76430" y="295368"/>
                    <a:pt x="76508" y="295629"/>
                    <a:pt x="76561" y="295916"/>
                  </a:cubicBezTo>
                  <a:cubicBezTo>
                    <a:pt x="79771" y="311527"/>
                    <a:pt x="76769" y="368015"/>
                    <a:pt x="76665" y="370391"/>
                  </a:cubicBezTo>
                  <a:cubicBezTo>
                    <a:pt x="76561" y="373054"/>
                    <a:pt x="74394" y="375064"/>
                    <a:pt x="71783" y="375064"/>
                  </a:cubicBezTo>
                  <a:close/>
                </a:path>
              </a:pathLst>
            </a:custGeom>
            <a:solidFill>
              <a:schemeClr val="tx2"/>
            </a:solidFill>
            <a:ln w="2609" cap="flat">
              <a:noFill/>
              <a:prstDash val="solid"/>
              <a:miter/>
            </a:ln>
          </p:spPr>
          <p:txBody>
            <a:bodyPr rtlCol="0" anchor="ctr"/>
            <a:lstStyle/>
            <a:p>
              <a:endParaRPr lang="en-GB" dirty="0"/>
            </a:p>
          </p:txBody>
        </p:sp>
        <p:grpSp>
          <p:nvGrpSpPr>
            <p:cNvPr id="195" name="Group 194">
              <a:extLst>
                <a:ext uri="{FF2B5EF4-FFF2-40B4-BE49-F238E27FC236}">
                  <a16:creationId xmlns:a16="http://schemas.microsoft.com/office/drawing/2014/main" id="{374CD369-C517-45B6-A616-F88945D52B6F}"/>
                </a:ext>
              </a:extLst>
            </p:cNvPr>
            <p:cNvGrpSpPr/>
            <p:nvPr/>
          </p:nvGrpSpPr>
          <p:grpSpPr>
            <a:xfrm>
              <a:off x="6106557" y="2478974"/>
              <a:ext cx="560922" cy="354779"/>
              <a:chOff x="6106557" y="2478974"/>
              <a:chExt cx="560922" cy="354779"/>
            </a:xfrm>
          </p:grpSpPr>
          <p:grpSp>
            <p:nvGrpSpPr>
              <p:cNvPr id="196" name="Grafik 9">
                <a:extLst>
                  <a:ext uri="{FF2B5EF4-FFF2-40B4-BE49-F238E27FC236}">
                    <a16:creationId xmlns:a16="http://schemas.microsoft.com/office/drawing/2014/main" id="{076A941C-3D4D-40D4-8149-6D7CF813DD53}"/>
                  </a:ext>
                </a:extLst>
              </p:cNvPr>
              <p:cNvGrpSpPr/>
              <p:nvPr/>
            </p:nvGrpSpPr>
            <p:grpSpPr>
              <a:xfrm>
                <a:off x="6317757" y="2692374"/>
                <a:ext cx="149748" cy="141379"/>
                <a:chOff x="6317757" y="2692374"/>
                <a:chExt cx="149748" cy="141379"/>
              </a:xfrm>
              <a:solidFill>
                <a:schemeClr val="accent1"/>
              </a:solidFill>
            </p:grpSpPr>
            <p:sp>
              <p:nvSpPr>
                <p:cNvPr id="209" name="Freihandform: Form 847">
                  <a:extLst>
                    <a:ext uri="{FF2B5EF4-FFF2-40B4-BE49-F238E27FC236}">
                      <a16:creationId xmlns:a16="http://schemas.microsoft.com/office/drawing/2014/main" id="{098B8FAD-4E74-456C-A06B-71069F8BA5D9}"/>
                    </a:ext>
                  </a:extLst>
                </p:cNvPr>
                <p:cNvSpPr/>
                <p:nvPr/>
              </p:nvSpPr>
              <p:spPr>
                <a:xfrm>
                  <a:off x="6317757" y="2692374"/>
                  <a:ext cx="149748" cy="141379"/>
                </a:xfrm>
                <a:custGeom>
                  <a:avLst/>
                  <a:gdLst>
                    <a:gd name="connsiteX0" fmla="*/ 23763 w 149748"/>
                    <a:gd name="connsiteY0" fmla="*/ 141379 h 141379"/>
                    <a:gd name="connsiteX1" fmla="*/ 23763 w 149748"/>
                    <a:gd name="connsiteY1" fmla="*/ 141379 h 141379"/>
                    <a:gd name="connsiteX2" fmla="*/ 5490 w 149748"/>
                    <a:gd name="connsiteY2" fmla="*/ 134462 h 141379"/>
                    <a:gd name="connsiteX3" fmla="*/ 47726 w 149748"/>
                    <a:gd name="connsiteY3" fmla="*/ 41166 h 141379"/>
                    <a:gd name="connsiteX4" fmla="*/ 125986 w 149748"/>
                    <a:gd name="connsiteY4" fmla="*/ 0 h 141379"/>
                    <a:gd name="connsiteX5" fmla="*/ 144258 w 149748"/>
                    <a:gd name="connsiteY5" fmla="*/ 6918 h 141379"/>
                    <a:gd name="connsiteX6" fmla="*/ 102022 w 149748"/>
                    <a:gd name="connsiteY6" fmla="*/ 100213 h 141379"/>
                    <a:gd name="connsiteX7" fmla="*/ 23763 w 149748"/>
                    <a:gd name="connsiteY7" fmla="*/ 141379 h 141379"/>
                    <a:gd name="connsiteX8" fmla="*/ 125960 w 149748"/>
                    <a:gd name="connsiteY8" fmla="*/ 9815 h 141379"/>
                    <a:gd name="connsiteX9" fmla="*/ 54356 w 149748"/>
                    <a:gd name="connsiteY9" fmla="*/ 48397 h 141379"/>
                    <a:gd name="connsiteX10" fmla="*/ 12721 w 149748"/>
                    <a:gd name="connsiteY10" fmla="*/ 127805 h 141379"/>
                    <a:gd name="connsiteX11" fmla="*/ 23763 w 149748"/>
                    <a:gd name="connsiteY11" fmla="*/ 131538 h 141379"/>
                    <a:gd name="connsiteX12" fmla="*/ 23763 w 149748"/>
                    <a:gd name="connsiteY12" fmla="*/ 131538 h 141379"/>
                    <a:gd name="connsiteX13" fmla="*/ 95366 w 149748"/>
                    <a:gd name="connsiteY13" fmla="*/ 92956 h 141379"/>
                    <a:gd name="connsiteX14" fmla="*/ 137002 w 149748"/>
                    <a:gd name="connsiteY14" fmla="*/ 13548 h 141379"/>
                    <a:gd name="connsiteX15" fmla="*/ 125960 w 149748"/>
                    <a:gd name="connsiteY15" fmla="*/ 9815 h 141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9748" h="141379">
                      <a:moveTo>
                        <a:pt x="23763" y="141379"/>
                      </a:moveTo>
                      <a:cubicBezTo>
                        <a:pt x="23763" y="141379"/>
                        <a:pt x="23736" y="141379"/>
                        <a:pt x="23763" y="141379"/>
                      </a:cubicBezTo>
                      <a:cubicBezTo>
                        <a:pt x="15957" y="141379"/>
                        <a:pt x="9640" y="138978"/>
                        <a:pt x="5490" y="134462"/>
                      </a:cubicBezTo>
                      <a:cubicBezTo>
                        <a:pt x="-9964" y="117651"/>
                        <a:pt x="8178" y="77529"/>
                        <a:pt x="47726" y="41166"/>
                      </a:cubicBezTo>
                      <a:cubicBezTo>
                        <a:pt x="74952" y="16158"/>
                        <a:pt x="105651" y="0"/>
                        <a:pt x="125986" y="0"/>
                      </a:cubicBezTo>
                      <a:cubicBezTo>
                        <a:pt x="133791" y="0"/>
                        <a:pt x="140108" y="2402"/>
                        <a:pt x="144258" y="6918"/>
                      </a:cubicBezTo>
                      <a:cubicBezTo>
                        <a:pt x="159712" y="23729"/>
                        <a:pt x="141570" y="63850"/>
                        <a:pt x="102022" y="100213"/>
                      </a:cubicBezTo>
                      <a:cubicBezTo>
                        <a:pt x="74770" y="125221"/>
                        <a:pt x="44071" y="141379"/>
                        <a:pt x="23763" y="141379"/>
                      </a:cubicBezTo>
                      <a:close/>
                      <a:moveTo>
                        <a:pt x="125960" y="9815"/>
                      </a:moveTo>
                      <a:cubicBezTo>
                        <a:pt x="108261" y="9815"/>
                        <a:pt x="79468" y="25321"/>
                        <a:pt x="54356" y="48397"/>
                      </a:cubicBezTo>
                      <a:cubicBezTo>
                        <a:pt x="17759" y="82071"/>
                        <a:pt x="3036" y="117285"/>
                        <a:pt x="12721" y="127805"/>
                      </a:cubicBezTo>
                      <a:cubicBezTo>
                        <a:pt x="14992" y="130285"/>
                        <a:pt x="18724" y="131538"/>
                        <a:pt x="23763" y="131538"/>
                      </a:cubicBezTo>
                      <a:lnTo>
                        <a:pt x="23763" y="131538"/>
                      </a:lnTo>
                      <a:cubicBezTo>
                        <a:pt x="41461" y="131538"/>
                        <a:pt x="70228" y="116032"/>
                        <a:pt x="95366" y="92956"/>
                      </a:cubicBezTo>
                      <a:cubicBezTo>
                        <a:pt x="131990" y="59282"/>
                        <a:pt x="146712" y="24068"/>
                        <a:pt x="137002" y="13548"/>
                      </a:cubicBezTo>
                      <a:cubicBezTo>
                        <a:pt x="134704" y="11094"/>
                        <a:pt x="130998" y="9815"/>
                        <a:pt x="125960" y="9815"/>
                      </a:cubicBezTo>
                      <a:close/>
                    </a:path>
                  </a:pathLst>
                </a:custGeom>
                <a:solidFill>
                  <a:schemeClr val="accent1"/>
                </a:solidFill>
                <a:ln w="2609" cap="flat">
                  <a:noFill/>
                  <a:prstDash val="solid"/>
                  <a:miter/>
                </a:ln>
              </p:spPr>
              <p:txBody>
                <a:bodyPr rtlCol="0" anchor="ctr"/>
                <a:lstStyle/>
                <a:p>
                  <a:endParaRPr lang="en-GB" dirty="0"/>
                </a:p>
              </p:txBody>
            </p:sp>
            <p:sp>
              <p:nvSpPr>
                <p:cNvPr id="210" name="Freihandform: Form 848">
                  <a:extLst>
                    <a:ext uri="{FF2B5EF4-FFF2-40B4-BE49-F238E27FC236}">
                      <a16:creationId xmlns:a16="http://schemas.microsoft.com/office/drawing/2014/main" id="{5E7F7020-2929-4E65-BB2F-AC6A71E85DD4}"/>
                    </a:ext>
                  </a:extLst>
                </p:cNvPr>
                <p:cNvSpPr/>
                <p:nvPr/>
              </p:nvSpPr>
              <p:spPr>
                <a:xfrm>
                  <a:off x="6317764" y="2692374"/>
                  <a:ext cx="149715" cy="141379"/>
                </a:xfrm>
                <a:custGeom>
                  <a:avLst/>
                  <a:gdLst>
                    <a:gd name="connsiteX0" fmla="*/ 125953 w 149715"/>
                    <a:gd name="connsiteY0" fmla="*/ 141379 h 141379"/>
                    <a:gd name="connsiteX1" fmla="*/ 47719 w 149715"/>
                    <a:gd name="connsiteY1" fmla="*/ 100213 h 141379"/>
                    <a:gd name="connsiteX2" fmla="*/ 7101 w 149715"/>
                    <a:gd name="connsiteY2" fmla="*/ 48397 h 141379"/>
                    <a:gd name="connsiteX3" fmla="*/ 5483 w 149715"/>
                    <a:gd name="connsiteY3" fmla="*/ 6918 h 141379"/>
                    <a:gd name="connsiteX4" fmla="*/ 23756 w 149715"/>
                    <a:gd name="connsiteY4" fmla="*/ 0 h 141379"/>
                    <a:gd name="connsiteX5" fmla="*/ 101989 w 149715"/>
                    <a:gd name="connsiteY5" fmla="*/ 41166 h 141379"/>
                    <a:gd name="connsiteX6" fmla="*/ 144225 w 149715"/>
                    <a:gd name="connsiteY6" fmla="*/ 134462 h 141379"/>
                    <a:gd name="connsiteX7" fmla="*/ 125953 w 149715"/>
                    <a:gd name="connsiteY7" fmla="*/ 141379 h 141379"/>
                    <a:gd name="connsiteX8" fmla="*/ 23729 w 149715"/>
                    <a:gd name="connsiteY8" fmla="*/ 9815 h 141379"/>
                    <a:gd name="connsiteX9" fmla="*/ 12687 w 149715"/>
                    <a:gd name="connsiteY9" fmla="*/ 13574 h 141379"/>
                    <a:gd name="connsiteX10" fmla="*/ 15924 w 149715"/>
                    <a:gd name="connsiteY10" fmla="*/ 44116 h 141379"/>
                    <a:gd name="connsiteX11" fmla="*/ 54349 w 149715"/>
                    <a:gd name="connsiteY11" fmla="*/ 92982 h 141379"/>
                    <a:gd name="connsiteX12" fmla="*/ 125953 w 149715"/>
                    <a:gd name="connsiteY12" fmla="*/ 131564 h 141379"/>
                    <a:gd name="connsiteX13" fmla="*/ 136994 w 149715"/>
                    <a:gd name="connsiteY13" fmla="*/ 127831 h 141379"/>
                    <a:gd name="connsiteX14" fmla="*/ 95333 w 149715"/>
                    <a:gd name="connsiteY14" fmla="*/ 48423 h 141379"/>
                    <a:gd name="connsiteX15" fmla="*/ 23729 w 149715"/>
                    <a:gd name="connsiteY15" fmla="*/ 9815 h 141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9715" h="141379">
                      <a:moveTo>
                        <a:pt x="125953" y="141379"/>
                      </a:moveTo>
                      <a:cubicBezTo>
                        <a:pt x="105644" y="141379"/>
                        <a:pt x="74919" y="125221"/>
                        <a:pt x="47719" y="100213"/>
                      </a:cubicBezTo>
                      <a:cubicBezTo>
                        <a:pt x="29707" y="83637"/>
                        <a:pt x="15298" y="65260"/>
                        <a:pt x="7101" y="48397"/>
                      </a:cubicBezTo>
                      <a:cubicBezTo>
                        <a:pt x="-1774" y="30150"/>
                        <a:pt x="-2348" y="15401"/>
                        <a:pt x="5483" y="6918"/>
                      </a:cubicBezTo>
                      <a:cubicBezTo>
                        <a:pt x="9633" y="2402"/>
                        <a:pt x="15977" y="0"/>
                        <a:pt x="23756" y="0"/>
                      </a:cubicBezTo>
                      <a:cubicBezTo>
                        <a:pt x="44064" y="0"/>
                        <a:pt x="74789" y="16158"/>
                        <a:pt x="101989" y="41166"/>
                      </a:cubicBezTo>
                      <a:cubicBezTo>
                        <a:pt x="141537" y="77529"/>
                        <a:pt x="159679" y="117624"/>
                        <a:pt x="144225" y="134462"/>
                      </a:cubicBezTo>
                      <a:cubicBezTo>
                        <a:pt x="140049" y="139004"/>
                        <a:pt x="133731" y="141379"/>
                        <a:pt x="125953" y="141379"/>
                      </a:cubicBezTo>
                      <a:close/>
                      <a:moveTo>
                        <a:pt x="23729" y="9815"/>
                      </a:moveTo>
                      <a:cubicBezTo>
                        <a:pt x="18691" y="9815"/>
                        <a:pt x="14958" y="11068"/>
                        <a:pt x="12687" y="13574"/>
                      </a:cubicBezTo>
                      <a:cubicBezTo>
                        <a:pt x="7936" y="18743"/>
                        <a:pt x="9137" y="30150"/>
                        <a:pt x="15924" y="44116"/>
                      </a:cubicBezTo>
                      <a:cubicBezTo>
                        <a:pt x="23573" y="59883"/>
                        <a:pt x="37225" y="77242"/>
                        <a:pt x="54349" y="92982"/>
                      </a:cubicBezTo>
                      <a:cubicBezTo>
                        <a:pt x="79461" y="116058"/>
                        <a:pt x="108228" y="131564"/>
                        <a:pt x="125953" y="131564"/>
                      </a:cubicBezTo>
                      <a:cubicBezTo>
                        <a:pt x="130991" y="131564"/>
                        <a:pt x="134697" y="130311"/>
                        <a:pt x="136994" y="127831"/>
                      </a:cubicBezTo>
                      <a:cubicBezTo>
                        <a:pt x="146679" y="117285"/>
                        <a:pt x="131956" y="82097"/>
                        <a:pt x="95333" y="48423"/>
                      </a:cubicBezTo>
                      <a:cubicBezTo>
                        <a:pt x="70221" y="25321"/>
                        <a:pt x="41454" y="9815"/>
                        <a:pt x="23729" y="9815"/>
                      </a:cubicBezTo>
                      <a:close/>
                    </a:path>
                  </a:pathLst>
                </a:custGeom>
                <a:solidFill>
                  <a:schemeClr val="accent1"/>
                </a:solidFill>
                <a:ln w="2609" cap="flat">
                  <a:noFill/>
                  <a:prstDash val="solid"/>
                  <a:miter/>
                </a:ln>
              </p:spPr>
              <p:txBody>
                <a:bodyPr rtlCol="0" anchor="ctr"/>
                <a:lstStyle/>
                <a:p>
                  <a:endParaRPr lang="en-GB" dirty="0"/>
                </a:p>
              </p:txBody>
            </p:sp>
          </p:grpSp>
          <p:sp>
            <p:nvSpPr>
              <p:cNvPr id="197" name="Freihandform: Form 849">
                <a:extLst>
                  <a:ext uri="{FF2B5EF4-FFF2-40B4-BE49-F238E27FC236}">
                    <a16:creationId xmlns:a16="http://schemas.microsoft.com/office/drawing/2014/main" id="{6E2BDC49-9C18-4006-8BD5-E77DEE8EC4AE}"/>
                  </a:ext>
                </a:extLst>
              </p:cNvPr>
              <p:cNvSpPr/>
              <p:nvPr/>
            </p:nvSpPr>
            <p:spPr>
              <a:xfrm>
                <a:off x="6373053" y="2742467"/>
                <a:ext cx="39103" cy="39103"/>
              </a:xfrm>
              <a:custGeom>
                <a:avLst/>
                <a:gdLst>
                  <a:gd name="connsiteX0" fmla="*/ 19552 w 39103"/>
                  <a:gd name="connsiteY0" fmla="*/ 39104 h 39103"/>
                  <a:gd name="connsiteX1" fmla="*/ 0 w 39103"/>
                  <a:gd name="connsiteY1" fmla="*/ 19552 h 39103"/>
                  <a:gd name="connsiteX2" fmla="*/ 19552 w 39103"/>
                  <a:gd name="connsiteY2" fmla="*/ 0 h 39103"/>
                  <a:gd name="connsiteX3" fmla="*/ 39104 w 39103"/>
                  <a:gd name="connsiteY3" fmla="*/ 19552 h 39103"/>
                  <a:gd name="connsiteX4" fmla="*/ 19552 w 39103"/>
                  <a:gd name="connsiteY4" fmla="*/ 39104 h 39103"/>
                  <a:gd name="connsiteX5" fmla="*/ 19552 w 39103"/>
                  <a:gd name="connsiteY5" fmla="*/ 9815 h 39103"/>
                  <a:gd name="connsiteX6" fmla="*/ 9815 w 39103"/>
                  <a:gd name="connsiteY6" fmla="*/ 19552 h 39103"/>
                  <a:gd name="connsiteX7" fmla="*/ 19552 w 39103"/>
                  <a:gd name="connsiteY7" fmla="*/ 29289 h 39103"/>
                  <a:gd name="connsiteX8" fmla="*/ 29289 w 39103"/>
                  <a:gd name="connsiteY8" fmla="*/ 19552 h 39103"/>
                  <a:gd name="connsiteX9" fmla="*/ 19552 w 39103"/>
                  <a:gd name="connsiteY9" fmla="*/ 9815 h 3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103" h="39103">
                    <a:moveTo>
                      <a:pt x="19552" y="39104"/>
                    </a:moveTo>
                    <a:cubicBezTo>
                      <a:pt x="8771" y="39104"/>
                      <a:pt x="0" y="30333"/>
                      <a:pt x="0" y="19552"/>
                    </a:cubicBezTo>
                    <a:cubicBezTo>
                      <a:pt x="0" y="8771"/>
                      <a:pt x="8771" y="0"/>
                      <a:pt x="19552" y="0"/>
                    </a:cubicBezTo>
                    <a:cubicBezTo>
                      <a:pt x="30333" y="0"/>
                      <a:pt x="39104" y="8771"/>
                      <a:pt x="39104" y="19552"/>
                    </a:cubicBezTo>
                    <a:cubicBezTo>
                      <a:pt x="39104" y="30333"/>
                      <a:pt x="30333" y="39104"/>
                      <a:pt x="19552" y="39104"/>
                    </a:cubicBezTo>
                    <a:close/>
                    <a:moveTo>
                      <a:pt x="19552" y="9815"/>
                    </a:moveTo>
                    <a:cubicBezTo>
                      <a:pt x="14174" y="9815"/>
                      <a:pt x="9815" y="14174"/>
                      <a:pt x="9815" y="19552"/>
                    </a:cubicBezTo>
                    <a:cubicBezTo>
                      <a:pt x="9815" y="24929"/>
                      <a:pt x="14174" y="29289"/>
                      <a:pt x="19552" y="29289"/>
                    </a:cubicBezTo>
                    <a:cubicBezTo>
                      <a:pt x="24903" y="29289"/>
                      <a:pt x="29289" y="24929"/>
                      <a:pt x="29289" y="19552"/>
                    </a:cubicBezTo>
                    <a:cubicBezTo>
                      <a:pt x="29289" y="14201"/>
                      <a:pt x="24929" y="9815"/>
                      <a:pt x="19552" y="9815"/>
                    </a:cubicBezTo>
                    <a:close/>
                  </a:path>
                </a:pathLst>
              </a:custGeom>
              <a:solidFill>
                <a:schemeClr val="accent1"/>
              </a:solidFill>
              <a:ln w="2609" cap="flat">
                <a:noFill/>
                <a:prstDash val="solid"/>
                <a:miter/>
              </a:ln>
            </p:spPr>
            <p:txBody>
              <a:bodyPr rtlCol="0" anchor="ctr"/>
              <a:lstStyle/>
              <a:p>
                <a:endParaRPr lang="en-GB" dirty="0"/>
              </a:p>
            </p:txBody>
          </p:sp>
          <p:grpSp>
            <p:nvGrpSpPr>
              <p:cNvPr id="198" name="Grafik 9">
                <a:extLst>
                  <a:ext uri="{FF2B5EF4-FFF2-40B4-BE49-F238E27FC236}">
                    <a16:creationId xmlns:a16="http://schemas.microsoft.com/office/drawing/2014/main" id="{D0CD54B6-D79B-4AF2-9450-2E1005615CD0}"/>
                  </a:ext>
                </a:extLst>
              </p:cNvPr>
              <p:cNvGrpSpPr/>
              <p:nvPr/>
            </p:nvGrpSpPr>
            <p:grpSpPr>
              <a:xfrm>
                <a:off x="6106557" y="2478974"/>
                <a:ext cx="560922" cy="261848"/>
                <a:chOff x="6106557" y="2478974"/>
                <a:chExt cx="560922" cy="261848"/>
              </a:xfrm>
              <a:solidFill>
                <a:schemeClr val="accent1"/>
              </a:solidFill>
            </p:grpSpPr>
            <p:sp>
              <p:nvSpPr>
                <p:cNvPr id="199" name="Freihandform: Form 851">
                  <a:extLst>
                    <a:ext uri="{FF2B5EF4-FFF2-40B4-BE49-F238E27FC236}">
                      <a16:creationId xmlns:a16="http://schemas.microsoft.com/office/drawing/2014/main" id="{536D88AA-127E-481B-B687-90924A2BB44F}"/>
                    </a:ext>
                  </a:extLst>
                </p:cNvPr>
                <p:cNvSpPr/>
                <p:nvPr/>
              </p:nvSpPr>
              <p:spPr>
                <a:xfrm>
                  <a:off x="6368511" y="2478974"/>
                  <a:ext cx="9815" cy="103711"/>
                </a:xfrm>
                <a:custGeom>
                  <a:avLst/>
                  <a:gdLst>
                    <a:gd name="connsiteX0" fmla="*/ 4907 w 9815"/>
                    <a:gd name="connsiteY0" fmla="*/ 103711 h 103711"/>
                    <a:gd name="connsiteX1" fmla="*/ 0 w 9815"/>
                    <a:gd name="connsiteY1" fmla="*/ 98804 h 103711"/>
                    <a:gd name="connsiteX2" fmla="*/ 0 w 9815"/>
                    <a:gd name="connsiteY2" fmla="*/ 4908 h 103711"/>
                    <a:gd name="connsiteX3" fmla="*/ 4907 w 9815"/>
                    <a:gd name="connsiteY3" fmla="*/ 0 h 103711"/>
                    <a:gd name="connsiteX4" fmla="*/ 9815 w 9815"/>
                    <a:gd name="connsiteY4" fmla="*/ 4908 h 103711"/>
                    <a:gd name="connsiteX5" fmla="*/ 9815 w 9815"/>
                    <a:gd name="connsiteY5" fmla="*/ 98804 h 103711"/>
                    <a:gd name="connsiteX6" fmla="*/ 4907 w 9815"/>
                    <a:gd name="connsiteY6" fmla="*/ 103711 h 10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15" h="103711">
                      <a:moveTo>
                        <a:pt x="4907" y="103711"/>
                      </a:moveTo>
                      <a:cubicBezTo>
                        <a:pt x="2193" y="103711"/>
                        <a:pt x="0" y="101518"/>
                        <a:pt x="0" y="98804"/>
                      </a:cubicBezTo>
                      <a:lnTo>
                        <a:pt x="0" y="4908"/>
                      </a:lnTo>
                      <a:cubicBezTo>
                        <a:pt x="0" y="2193"/>
                        <a:pt x="2193" y="0"/>
                        <a:pt x="4907" y="0"/>
                      </a:cubicBezTo>
                      <a:cubicBezTo>
                        <a:pt x="7622" y="0"/>
                        <a:pt x="9815" y="2193"/>
                        <a:pt x="9815" y="4908"/>
                      </a:cubicBezTo>
                      <a:lnTo>
                        <a:pt x="9815" y="98804"/>
                      </a:lnTo>
                      <a:cubicBezTo>
                        <a:pt x="9815" y="101492"/>
                        <a:pt x="7622" y="103711"/>
                        <a:pt x="4907" y="103711"/>
                      </a:cubicBezTo>
                      <a:close/>
                    </a:path>
                  </a:pathLst>
                </a:custGeom>
                <a:solidFill>
                  <a:schemeClr val="accent1"/>
                </a:solidFill>
                <a:ln w="2609" cap="flat">
                  <a:noFill/>
                  <a:prstDash val="solid"/>
                  <a:miter/>
                </a:ln>
              </p:spPr>
              <p:txBody>
                <a:bodyPr rtlCol="0" anchor="ctr"/>
                <a:lstStyle/>
                <a:p>
                  <a:endParaRPr lang="en-GB" dirty="0"/>
                </a:p>
              </p:txBody>
            </p:sp>
            <p:grpSp>
              <p:nvGrpSpPr>
                <p:cNvPr id="200" name="Grafik 9">
                  <a:extLst>
                    <a:ext uri="{FF2B5EF4-FFF2-40B4-BE49-F238E27FC236}">
                      <a16:creationId xmlns:a16="http://schemas.microsoft.com/office/drawing/2014/main" id="{A4C93060-DEAE-4B9A-9ABC-AA6A3F002E2F}"/>
                    </a:ext>
                  </a:extLst>
                </p:cNvPr>
                <p:cNvGrpSpPr/>
                <p:nvPr/>
              </p:nvGrpSpPr>
              <p:grpSpPr>
                <a:xfrm>
                  <a:off x="6106557" y="2493302"/>
                  <a:ext cx="209095" cy="247520"/>
                  <a:chOff x="6106557" y="2493302"/>
                  <a:chExt cx="209095" cy="247520"/>
                </a:xfrm>
                <a:solidFill>
                  <a:schemeClr val="accent1"/>
                </a:solidFill>
              </p:grpSpPr>
              <p:sp>
                <p:nvSpPr>
                  <p:cNvPr id="205" name="Freihandform: Form 853">
                    <a:extLst>
                      <a:ext uri="{FF2B5EF4-FFF2-40B4-BE49-F238E27FC236}">
                        <a16:creationId xmlns:a16="http://schemas.microsoft.com/office/drawing/2014/main" id="{60462EE5-D756-4DCF-93E6-A4B70727A9E8}"/>
                      </a:ext>
                    </a:extLst>
                  </p:cNvPr>
                  <p:cNvSpPr/>
                  <p:nvPr/>
                </p:nvSpPr>
                <p:spPr>
                  <a:xfrm>
                    <a:off x="6106557" y="2731008"/>
                    <a:ext cx="103737" cy="9815"/>
                  </a:xfrm>
                  <a:custGeom>
                    <a:avLst/>
                    <a:gdLst>
                      <a:gd name="connsiteX0" fmla="*/ 98830 w 103737"/>
                      <a:gd name="connsiteY0" fmla="*/ 9815 h 9815"/>
                      <a:gd name="connsiteX1" fmla="*/ 4908 w 103737"/>
                      <a:gd name="connsiteY1" fmla="*/ 9815 h 9815"/>
                      <a:gd name="connsiteX2" fmla="*/ 0 w 103737"/>
                      <a:gd name="connsiteY2" fmla="*/ 4908 h 9815"/>
                      <a:gd name="connsiteX3" fmla="*/ 4908 w 103737"/>
                      <a:gd name="connsiteY3" fmla="*/ 0 h 9815"/>
                      <a:gd name="connsiteX4" fmla="*/ 98830 w 103737"/>
                      <a:gd name="connsiteY4" fmla="*/ 0 h 9815"/>
                      <a:gd name="connsiteX5" fmla="*/ 103737 w 103737"/>
                      <a:gd name="connsiteY5" fmla="*/ 4908 h 9815"/>
                      <a:gd name="connsiteX6" fmla="*/ 98830 w 103737"/>
                      <a:gd name="connsiteY6" fmla="*/ 9815 h 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737" h="9815">
                        <a:moveTo>
                          <a:pt x="98830" y="9815"/>
                        </a:moveTo>
                        <a:lnTo>
                          <a:pt x="4908" y="9815"/>
                        </a:lnTo>
                        <a:cubicBezTo>
                          <a:pt x="2193" y="9815"/>
                          <a:pt x="0" y="7622"/>
                          <a:pt x="0" y="4908"/>
                        </a:cubicBezTo>
                        <a:cubicBezTo>
                          <a:pt x="0" y="2193"/>
                          <a:pt x="2193" y="0"/>
                          <a:pt x="4908" y="0"/>
                        </a:cubicBezTo>
                        <a:lnTo>
                          <a:pt x="98830" y="0"/>
                        </a:lnTo>
                        <a:cubicBezTo>
                          <a:pt x="101544" y="0"/>
                          <a:pt x="103737" y="2193"/>
                          <a:pt x="103737" y="4908"/>
                        </a:cubicBezTo>
                        <a:cubicBezTo>
                          <a:pt x="103737" y="7622"/>
                          <a:pt x="101544" y="9815"/>
                          <a:pt x="98830" y="9815"/>
                        </a:cubicBezTo>
                        <a:close/>
                      </a:path>
                    </a:pathLst>
                  </a:custGeom>
                  <a:solidFill>
                    <a:schemeClr val="accent1"/>
                  </a:solidFill>
                  <a:ln w="2609" cap="flat">
                    <a:noFill/>
                    <a:prstDash val="solid"/>
                    <a:miter/>
                  </a:ln>
                </p:spPr>
                <p:txBody>
                  <a:bodyPr rtlCol="0" anchor="ctr"/>
                  <a:lstStyle/>
                  <a:p>
                    <a:endParaRPr lang="en-GB" dirty="0"/>
                  </a:p>
                </p:txBody>
              </p:sp>
              <p:sp>
                <p:nvSpPr>
                  <p:cNvPr id="206" name="Freihandform: Form 854">
                    <a:extLst>
                      <a:ext uri="{FF2B5EF4-FFF2-40B4-BE49-F238E27FC236}">
                        <a16:creationId xmlns:a16="http://schemas.microsoft.com/office/drawing/2014/main" id="{3061A7A7-C89B-49ED-A39A-01B98F2644A4}"/>
                      </a:ext>
                    </a:extLst>
                  </p:cNvPr>
                  <p:cNvSpPr/>
                  <p:nvPr/>
                </p:nvSpPr>
                <p:spPr>
                  <a:xfrm>
                    <a:off x="6277065" y="2493302"/>
                    <a:ext cx="38587" cy="99250"/>
                  </a:xfrm>
                  <a:custGeom>
                    <a:avLst/>
                    <a:gdLst>
                      <a:gd name="connsiteX0" fmla="*/ 33651 w 38587"/>
                      <a:gd name="connsiteY0" fmla="*/ 99250 h 99250"/>
                      <a:gd name="connsiteX1" fmla="*/ 28978 w 38587"/>
                      <a:gd name="connsiteY1" fmla="*/ 95831 h 99250"/>
                      <a:gd name="connsiteX2" fmla="*/ 238 w 38587"/>
                      <a:gd name="connsiteY2" fmla="*/ 6425 h 99250"/>
                      <a:gd name="connsiteX3" fmla="*/ 3423 w 38587"/>
                      <a:gd name="connsiteY3" fmla="*/ 238 h 99250"/>
                      <a:gd name="connsiteX4" fmla="*/ 9609 w 38587"/>
                      <a:gd name="connsiteY4" fmla="*/ 3423 h 99250"/>
                      <a:gd name="connsiteX5" fmla="*/ 38350 w 38587"/>
                      <a:gd name="connsiteY5" fmla="*/ 92829 h 99250"/>
                      <a:gd name="connsiteX6" fmla="*/ 35165 w 38587"/>
                      <a:gd name="connsiteY6" fmla="*/ 99015 h 99250"/>
                      <a:gd name="connsiteX7" fmla="*/ 33651 w 38587"/>
                      <a:gd name="connsiteY7" fmla="*/ 99250 h 9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87" h="99250">
                        <a:moveTo>
                          <a:pt x="33651" y="99250"/>
                        </a:moveTo>
                        <a:cubicBezTo>
                          <a:pt x="31563" y="99250"/>
                          <a:pt x="29631" y="97919"/>
                          <a:pt x="28978" y="95831"/>
                        </a:cubicBezTo>
                        <a:lnTo>
                          <a:pt x="238" y="6425"/>
                        </a:lnTo>
                        <a:cubicBezTo>
                          <a:pt x="-597" y="3840"/>
                          <a:pt x="838" y="1073"/>
                          <a:pt x="3423" y="238"/>
                        </a:cubicBezTo>
                        <a:cubicBezTo>
                          <a:pt x="6033" y="-597"/>
                          <a:pt x="8774" y="838"/>
                          <a:pt x="9609" y="3423"/>
                        </a:cubicBezTo>
                        <a:lnTo>
                          <a:pt x="38350" y="92829"/>
                        </a:lnTo>
                        <a:cubicBezTo>
                          <a:pt x="39185" y="95413"/>
                          <a:pt x="37749" y="98180"/>
                          <a:pt x="35165" y="99015"/>
                        </a:cubicBezTo>
                        <a:cubicBezTo>
                          <a:pt x="34669" y="99198"/>
                          <a:pt x="34147" y="99250"/>
                          <a:pt x="33651" y="99250"/>
                        </a:cubicBezTo>
                        <a:close/>
                      </a:path>
                    </a:pathLst>
                  </a:custGeom>
                  <a:solidFill>
                    <a:schemeClr val="accent1"/>
                  </a:solidFill>
                  <a:ln w="2609" cap="flat">
                    <a:noFill/>
                    <a:prstDash val="solid"/>
                    <a:miter/>
                  </a:ln>
                </p:spPr>
                <p:txBody>
                  <a:bodyPr rtlCol="0" anchor="ctr"/>
                  <a:lstStyle/>
                  <a:p>
                    <a:endParaRPr lang="en-GB" dirty="0"/>
                  </a:p>
                </p:txBody>
              </p:sp>
              <p:sp>
                <p:nvSpPr>
                  <p:cNvPr id="207" name="Freihandform: Form 855">
                    <a:extLst>
                      <a:ext uri="{FF2B5EF4-FFF2-40B4-BE49-F238E27FC236}">
                        <a16:creationId xmlns:a16="http://schemas.microsoft.com/office/drawing/2014/main" id="{7537212D-5AE0-4836-8D50-43CBF9451482}"/>
                      </a:ext>
                    </a:extLst>
                  </p:cNvPr>
                  <p:cNvSpPr/>
                  <p:nvPr/>
                </p:nvSpPr>
                <p:spPr>
                  <a:xfrm>
                    <a:off x="6183619" y="2548179"/>
                    <a:ext cx="78566" cy="73766"/>
                  </a:xfrm>
                  <a:custGeom>
                    <a:avLst/>
                    <a:gdLst>
                      <a:gd name="connsiteX0" fmla="*/ 73662 w 78566"/>
                      <a:gd name="connsiteY0" fmla="*/ 73767 h 73766"/>
                      <a:gd name="connsiteX1" fmla="*/ 70321 w 78566"/>
                      <a:gd name="connsiteY1" fmla="*/ 72461 h 73766"/>
                      <a:gd name="connsiteX2" fmla="*/ 1563 w 78566"/>
                      <a:gd name="connsiteY2" fmla="*/ 8507 h 73766"/>
                      <a:gd name="connsiteX3" fmla="*/ 1302 w 78566"/>
                      <a:gd name="connsiteY3" fmla="*/ 1563 h 73766"/>
                      <a:gd name="connsiteX4" fmla="*/ 8246 w 78566"/>
                      <a:gd name="connsiteY4" fmla="*/ 1302 h 73766"/>
                      <a:gd name="connsiteX5" fmla="*/ 77003 w 78566"/>
                      <a:gd name="connsiteY5" fmla="*/ 65257 h 73766"/>
                      <a:gd name="connsiteX6" fmla="*/ 77265 w 78566"/>
                      <a:gd name="connsiteY6" fmla="*/ 72200 h 73766"/>
                      <a:gd name="connsiteX7" fmla="*/ 73662 w 78566"/>
                      <a:gd name="connsiteY7" fmla="*/ 73767 h 73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66" h="73766">
                        <a:moveTo>
                          <a:pt x="73662" y="73767"/>
                        </a:moveTo>
                        <a:cubicBezTo>
                          <a:pt x="72461" y="73767"/>
                          <a:pt x="71261" y="73323"/>
                          <a:pt x="70321" y="72461"/>
                        </a:cubicBezTo>
                        <a:lnTo>
                          <a:pt x="1563" y="8507"/>
                        </a:lnTo>
                        <a:cubicBezTo>
                          <a:pt x="-421" y="6653"/>
                          <a:pt x="-525" y="3547"/>
                          <a:pt x="1302" y="1563"/>
                        </a:cubicBezTo>
                        <a:cubicBezTo>
                          <a:pt x="3155" y="-421"/>
                          <a:pt x="6262" y="-525"/>
                          <a:pt x="8246" y="1302"/>
                        </a:cubicBezTo>
                        <a:lnTo>
                          <a:pt x="77003" y="65257"/>
                        </a:lnTo>
                        <a:cubicBezTo>
                          <a:pt x="78987" y="67110"/>
                          <a:pt x="79092" y="70216"/>
                          <a:pt x="77265" y="72200"/>
                        </a:cubicBezTo>
                        <a:cubicBezTo>
                          <a:pt x="76299" y="73245"/>
                          <a:pt x="74967" y="73767"/>
                          <a:pt x="73662" y="73767"/>
                        </a:cubicBezTo>
                        <a:close/>
                      </a:path>
                    </a:pathLst>
                  </a:custGeom>
                  <a:solidFill>
                    <a:schemeClr val="accent1"/>
                  </a:solidFill>
                  <a:ln w="2609" cap="flat">
                    <a:noFill/>
                    <a:prstDash val="solid"/>
                    <a:miter/>
                  </a:ln>
                </p:spPr>
                <p:txBody>
                  <a:bodyPr rtlCol="0" anchor="ctr"/>
                  <a:lstStyle/>
                  <a:p>
                    <a:endParaRPr lang="en-GB" dirty="0"/>
                  </a:p>
                </p:txBody>
              </p:sp>
              <p:sp>
                <p:nvSpPr>
                  <p:cNvPr id="208" name="Freihandform: Form 856">
                    <a:extLst>
                      <a:ext uri="{FF2B5EF4-FFF2-40B4-BE49-F238E27FC236}">
                        <a16:creationId xmlns:a16="http://schemas.microsoft.com/office/drawing/2014/main" id="{F6002734-EC4F-4B31-96AB-2F85BB239D1A}"/>
                      </a:ext>
                    </a:extLst>
                  </p:cNvPr>
                  <p:cNvSpPr/>
                  <p:nvPr/>
                </p:nvSpPr>
                <p:spPr>
                  <a:xfrm>
                    <a:off x="6124633" y="2636236"/>
                    <a:ext cx="98179" cy="41702"/>
                  </a:xfrm>
                  <a:custGeom>
                    <a:avLst/>
                    <a:gdLst>
                      <a:gd name="connsiteX0" fmla="*/ 93258 w 98179"/>
                      <a:gd name="connsiteY0" fmla="*/ 41703 h 41702"/>
                      <a:gd name="connsiteX1" fmla="*/ 91587 w 98179"/>
                      <a:gd name="connsiteY1" fmla="*/ 41415 h 41702"/>
                      <a:gd name="connsiteX2" fmla="*/ 3251 w 98179"/>
                      <a:gd name="connsiteY2" fmla="*/ 9542 h 41702"/>
                      <a:gd name="connsiteX3" fmla="*/ 302 w 98179"/>
                      <a:gd name="connsiteY3" fmla="*/ 3251 h 41702"/>
                      <a:gd name="connsiteX4" fmla="*/ 6593 w 98179"/>
                      <a:gd name="connsiteY4" fmla="*/ 302 h 41702"/>
                      <a:gd name="connsiteX5" fmla="*/ 94929 w 98179"/>
                      <a:gd name="connsiteY5" fmla="*/ 32175 h 41702"/>
                      <a:gd name="connsiteX6" fmla="*/ 97878 w 98179"/>
                      <a:gd name="connsiteY6" fmla="*/ 38466 h 41702"/>
                      <a:gd name="connsiteX7" fmla="*/ 93258 w 98179"/>
                      <a:gd name="connsiteY7" fmla="*/ 41703 h 4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179" h="41702">
                        <a:moveTo>
                          <a:pt x="93258" y="41703"/>
                        </a:moveTo>
                        <a:cubicBezTo>
                          <a:pt x="92710" y="41703"/>
                          <a:pt x="92135" y="41598"/>
                          <a:pt x="91587" y="41415"/>
                        </a:cubicBezTo>
                        <a:lnTo>
                          <a:pt x="3251" y="9542"/>
                        </a:lnTo>
                        <a:cubicBezTo>
                          <a:pt x="693" y="8629"/>
                          <a:pt x="-638" y="5810"/>
                          <a:pt x="302" y="3251"/>
                        </a:cubicBezTo>
                        <a:cubicBezTo>
                          <a:pt x="1215" y="693"/>
                          <a:pt x="4034" y="-638"/>
                          <a:pt x="6593" y="302"/>
                        </a:cubicBezTo>
                        <a:lnTo>
                          <a:pt x="94929" y="32175"/>
                        </a:lnTo>
                        <a:cubicBezTo>
                          <a:pt x="97487" y="33088"/>
                          <a:pt x="98818" y="35907"/>
                          <a:pt x="97878" y="38466"/>
                        </a:cubicBezTo>
                        <a:cubicBezTo>
                          <a:pt x="97147" y="40450"/>
                          <a:pt x="95268" y="41703"/>
                          <a:pt x="93258" y="41703"/>
                        </a:cubicBezTo>
                        <a:close/>
                      </a:path>
                    </a:pathLst>
                  </a:custGeom>
                  <a:solidFill>
                    <a:schemeClr val="accent1"/>
                  </a:solidFill>
                  <a:ln w="2609" cap="flat">
                    <a:noFill/>
                    <a:prstDash val="solid"/>
                    <a:miter/>
                  </a:ln>
                </p:spPr>
                <p:txBody>
                  <a:bodyPr rtlCol="0" anchor="ctr"/>
                  <a:lstStyle/>
                  <a:p>
                    <a:endParaRPr lang="en-GB" dirty="0"/>
                  </a:p>
                </p:txBody>
              </p:sp>
            </p:grpSp>
            <p:sp>
              <p:nvSpPr>
                <p:cNvPr id="201" name="Freihandform: Form 857">
                  <a:extLst>
                    <a:ext uri="{FF2B5EF4-FFF2-40B4-BE49-F238E27FC236}">
                      <a16:creationId xmlns:a16="http://schemas.microsoft.com/office/drawing/2014/main" id="{2D37E0F9-B9E5-4067-B86E-4AC9A7B94BE5}"/>
                    </a:ext>
                  </a:extLst>
                </p:cNvPr>
                <p:cNvSpPr/>
                <p:nvPr/>
              </p:nvSpPr>
              <p:spPr>
                <a:xfrm>
                  <a:off x="6563768" y="2731008"/>
                  <a:ext cx="103711" cy="9815"/>
                </a:xfrm>
                <a:custGeom>
                  <a:avLst/>
                  <a:gdLst>
                    <a:gd name="connsiteX0" fmla="*/ 98804 w 103711"/>
                    <a:gd name="connsiteY0" fmla="*/ 9815 h 9815"/>
                    <a:gd name="connsiteX1" fmla="*/ 4908 w 103711"/>
                    <a:gd name="connsiteY1" fmla="*/ 9815 h 9815"/>
                    <a:gd name="connsiteX2" fmla="*/ 0 w 103711"/>
                    <a:gd name="connsiteY2" fmla="*/ 4908 h 9815"/>
                    <a:gd name="connsiteX3" fmla="*/ 4908 w 103711"/>
                    <a:gd name="connsiteY3" fmla="*/ 0 h 9815"/>
                    <a:gd name="connsiteX4" fmla="*/ 98804 w 103711"/>
                    <a:gd name="connsiteY4" fmla="*/ 0 h 9815"/>
                    <a:gd name="connsiteX5" fmla="*/ 103711 w 103711"/>
                    <a:gd name="connsiteY5" fmla="*/ 4908 h 9815"/>
                    <a:gd name="connsiteX6" fmla="*/ 98804 w 103711"/>
                    <a:gd name="connsiteY6" fmla="*/ 9815 h 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711" h="9815">
                      <a:moveTo>
                        <a:pt x="98804" y="9815"/>
                      </a:moveTo>
                      <a:lnTo>
                        <a:pt x="4908" y="9815"/>
                      </a:lnTo>
                      <a:cubicBezTo>
                        <a:pt x="2193" y="9815"/>
                        <a:pt x="0" y="7622"/>
                        <a:pt x="0" y="4908"/>
                      </a:cubicBezTo>
                      <a:cubicBezTo>
                        <a:pt x="0" y="2193"/>
                        <a:pt x="2193" y="0"/>
                        <a:pt x="4908" y="0"/>
                      </a:cubicBezTo>
                      <a:lnTo>
                        <a:pt x="98804" y="0"/>
                      </a:lnTo>
                      <a:cubicBezTo>
                        <a:pt x="101518" y="0"/>
                        <a:pt x="103711" y="2193"/>
                        <a:pt x="103711" y="4908"/>
                      </a:cubicBezTo>
                      <a:cubicBezTo>
                        <a:pt x="103711" y="7622"/>
                        <a:pt x="101492" y="9815"/>
                        <a:pt x="98804" y="9815"/>
                      </a:cubicBezTo>
                      <a:close/>
                    </a:path>
                  </a:pathLst>
                </a:custGeom>
                <a:solidFill>
                  <a:schemeClr val="accent1"/>
                </a:solidFill>
                <a:ln w="2609" cap="flat">
                  <a:noFill/>
                  <a:prstDash val="solid"/>
                  <a:miter/>
                </a:ln>
              </p:spPr>
              <p:txBody>
                <a:bodyPr rtlCol="0" anchor="ctr"/>
                <a:lstStyle/>
                <a:p>
                  <a:endParaRPr lang="en-GB" dirty="0"/>
                </a:p>
              </p:txBody>
            </p:sp>
            <p:sp>
              <p:nvSpPr>
                <p:cNvPr id="202" name="Freihandform: Form 858">
                  <a:extLst>
                    <a:ext uri="{FF2B5EF4-FFF2-40B4-BE49-F238E27FC236}">
                      <a16:creationId xmlns:a16="http://schemas.microsoft.com/office/drawing/2014/main" id="{99E40232-2385-45A6-9AAB-56C54D70EFD9}"/>
                    </a:ext>
                  </a:extLst>
                </p:cNvPr>
                <p:cNvSpPr/>
                <p:nvPr/>
              </p:nvSpPr>
              <p:spPr>
                <a:xfrm>
                  <a:off x="6428739" y="2489334"/>
                  <a:ext cx="38568" cy="99250"/>
                </a:xfrm>
                <a:custGeom>
                  <a:avLst/>
                  <a:gdLst>
                    <a:gd name="connsiteX0" fmla="*/ 4927 w 38568"/>
                    <a:gd name="connsiteY0" fmla="*/ 99250 h 99250"/>
                    <a:gd name="connsiteX1" fmla="*/ 3413 w 38568"/>
                    <a:gd name="connsiteY1" fmla="*/ 99015 h 99250"/>
                    <a:gd name="connsiteX2" fmla="*/ 228 w 38568"/>
                    <a:gd name="connsiteY2" fmla="*/ 92829 h 99250"/>
                    <a:gd name="connsiteX3" fmla="*/ 28969 w 38568"/>
                    <a:gd name="connsiteY3" fmla="*/ 3423 h 99250"/>
                    <a:gd name="connsiteX4" fmla="*/ 35155 w 38568"/>
                    <a:gd name="connsiteY4" fmla="*/ 238 h 99250"/>
                    <a:gd name="connsiteX5" fmla="*/ 38340 w 38568"/>
                    <a:gd name="connsiteY5" fmla="*/ 6425 h 99250"/>
                    <a:gd name="connsiteX6" fmla="*/ 9599 w 38568"/>
                    <a:gd name="connsiteY6" fmla="*/ 95831 h 99250"/>
                    <a:gd name="connsiteX7" fmla="*/ 4927 w 38568"/>
                    <a:gd name="connsiteY7" fmla="*/ 99250 h 9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68" h="99250">
                      <a:moveTo>
                        <a:pt x="4927" y="99250"/>
                      </a:moveTo>
                      <a:cubicBezTo>
                        <a:pt x="4431" y="99250"/>
                        <a:pt x="3935" y="99172"/>
                        <a:pt x="3413" y="99015"/>
                      </a:cubicBezTo>
                      <a:cubicBezTo>
                        <a:pt x="828" y="98180"/>
                        <a:pt x="-581" y="95413"/>
                        <a:pt x="228" y="92829"/>
                      </a:cubicBezTo>
                      <a:lnTo>
                        <a:pt x="28969" y="3423"/>
                      </a:lnTo>
                      <a:cubicBezTo>
                        <a:pt x="29804" y="838"/>
                        <a:pt x="32571" y="-597"/>
                        <a:pt x="35155" y="238"/>
                      </a:cubicBezTo>
                      <a:cubicBezTo>
                        <a:pt x="37740" y="1073"/>
                        <a:pt x="39149" y="3840"/>
                        <a:pt x="38340" y="6425"/>
                      </a:cubicBezTo>
                      <a:lnTo>
                        <a:pt x="9599" y="95831"/>
                      </a:lnTo>
                      <a:cubicBezTo>
                        <a:pt x="8921" y="97919"/>
                        <a:pt x="7015" y="99250"/>
                        <a:pt x="4927" y="99250"/>
                      </a:cubicBezTo>
                      <a:close/>
                    </a:path>
                  </a:pathLst>
                </a:custGeom>
                <a:solidFill>
                  <a:schemeClr val="accent1"/>
                </a:solidFill>
                <a:ln w="2609" cap="flat">
                  <a:noFill/>
                  <a:prstDash val="solid"/>
                  <a:miter/>
                </a:ln>
              </p:spPr>
              <p:txBody>
                <a:bodyPr rtlCol="0" anchor="ctr"/>
                <a:lstStyle/>
                <a:p>
                  <a:endParaRPr lang="en-GB" dirty="0"/>
                </a:p>
              </p:txBody>
            </p:sp>
            <p:sp>
              <p:nvSpPr>
                <p:cNvPr id="203" name="Freihandform: Form 859">
                  <a:extLst>
                    <a:ext uri="{FF2B5EF4-FFF2-40B4-BE49-F238E27FC236}">
                      <a16:creationId xmlns:a16="http://schemas.microsoft.com/office/drawing/2014/main" id="{689EBA6F-3EDC-42A8-9A28-EEE8488FAEB8}"/>
                    </a:ext>
                  </a:extLst>
                </p:cNvPr>
                <p:cNvSpPr/>
                <p:nvPr/>
              </p:nvSpPr>
              <p:spPr>
                <a:xfrm>
                  <a:off x="6494550" y="2538553"/>
                  <a:ext cx="78579" cy="73786"/>
                </a:xfrm>
                <a:custGeom>
                  <a:avLst/>
                  <a:gdLst>
                    <a:gd name="connsiteX0" fmla="*/ 4924 w 78579"/>
                    <a:gd name="connsiteY0" fmla="*/ 73786 h 73786"/>
                    <a:gd name="connsiteX1" fmla="*/ 1321 w 78579"/>
                    <a:gd name="connsiteY1" fmla="*/ 72220 h 73786"/>
                    <a:gd name="connsiteX2" fmla="*/ 1583 w 78579"/>
                    <a:gd name="connsiteY2" fmla="*/ 65276 h 73786"/>
                    <a:gd name="connsiteX3" fmla="*/ 70314 w 78579"/>
                    <a:gd name="connsiteY3" fmla="*/ 1321 h 73786"/>
                    <a:gd name="connsiteX4" fmla="*/ 77258 w 78579"/>
                    <a:gd name="connsiteY4" fmla="*/ 1583 h 73786"/>
                    <a:gd name="connsiteX5" fmla="*/ 76997 w 78579"/>
                    <a:gd name="connsiteY5" fmla="*/ 8526 h 73786"/>
                    <a:gd name="connsiteX6" fmla="*/ 8265 w 78579"/>
                    <a:gd name="connsiteY6" fmla="*/ 72481 h 73786"/>
                    <a:gd name="connsiteX7" fmla="*/ 4924 w 78579"/>
                    <a:gd name="connsiteY7" fmla="*/ 73786 h 73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79" h="73786">
                      <a:moveTo>
                        <a:pt x="4924" y="73786"/>
                      </a:moveTo>
                      <a:cubicBezTo>
                        <a:pt x="3619" y="73786"/>
                        <a:pt x="2287" y="73264"/>
                        <a:pt x="1321" y="72220"/>
                      </a:cubicBezTo>
                      <a:cubicBezTo>
                        <a:pt x="-532" y="70236"/>
                        <a:pt x="-427" y="67130"/>
                        <a:pt x="1583" y="65276"/>
                      </a:cubicBezTo>
                      <a:lnTo>
                        <a:pt x="70314" y="1321"/>
                      </a:lnTo>
                      <a:cubicBezTo>
                        <a:pt x="72298" y="-532"/>
                        <a:pt x="75405" y="-427"/>
                        <a:pt x="77258" y="1583"/>
                      </a:cubicBezTo>
                      <a:cubicBezTo>
                        <a:pt x="79111" y="3566"/>
                        <a:pt x="79007" y="6673"/>
                        <a:pt x="76997" y="8526"/>
                      </a:cubicBezTo>
                      <a:lnTo>
                        <a:pt x="8265" y="72481"/>
                      </a:lnTo>
                      <a:cubicBezTo>
                        <a:pt x="7299" y="73342"/>
                        <a:pt x="6099" y="73786"/>
                        <a:pt x="4924" y="73786"/>
                      </a:cubicBezTo>
                      <a:close/>
                    </a:path>
                  </a:pathLst>
                </a:custGeom>
                <a:solidFill>
                  <a:schemeClr val="accent1"/>
                </a:solidFill>
                <a:ln w="2609" cap="flat">
                  <a:noFill/>
                  <a:prstDash val="solid"/>
                  <a:miter/>
                </a:ln>
              </p:spPr>
              <p:txBody>
                <a:bodyPr rtlCol="0" anchor="ctr"/>
                <a:lstStyle/>
                <a:p>
                  <a:endParaRPr lang="en-GB" dirty="0"/>
                </a:p>
              </p:txBody>
            </p:sp>
            <p:sp>
              <p:nvSpPr>
                <p:cNvPr id="204" name="Freihandform: Form 860">
                  <a:extLst>
                    <a:ext uri="{FF2B5EF4-FFF2-40B4-BE49-F238E27FC236}">
                      <a16:creationId xmlns:a16="http://schemas.microsoft.com/office/drawing/2014/main" id="{93D7ABC1-27AF-4613-922C-CDA36077F784}"/>
                    </a:ext>
                  </a:extLst>
                </p:cNvPr>
                <p:cNvSpPr/>
                <p:nvPr/>
              </p:nvSpPr>
              <p:spPr>
                <a:xfrm>
                  <a:off x="6544604" y="2624724"/>
                  <a:ext cx="98159" cy="41702"/>
                </a:xfrm>
                <a:custGeom>
                  <a:avLst/>
                  <a:gdLst>
                    <a:gd name="connsiteX0" fmla="*/ 4912 w 98159"/>
                    <a:gd name="connsiteY0" fmla="*/ 41703 h 41702"/>
                    <a:gd name="connsiteX1" fmla="*/ 291 w 98159"/>
                    <a:gd name="connsiteY1" fmla="*/ 38466 h 41702"/>
                    <a:gd name="connsiteX2" fmla="*/ 3241 w 98159"/>
                    <a:gd name="connsiteY2" fmla="*/ 32175 h 41702"/>
                    <a:gd name="connsiteX3" fmla="*/ 91577 w 98159"/>
                    <a:gd name="connsiteY3" fmla="*/ 302 h 41702"/>
                    <a:gd name="connsiteX4" fmla="*/ 97868 w 98159"/>
                    <a:gd name="connsiteY4" fmla="*/ 3251 h 41702"/>
                    <a:gd name="connsiteX5" fmla="*/ 94918 w 98159"/>
                    <a:gd name="connsiteY5" fmla="*/ 9542 h 41702"/>
                    <a:gd name="connsiteX6" fmla="*/ 6582 w 98159"/>
                    <a:gd name="connsiteY6" fmla="*/ 41415 h 41702"/>
                    <a:gd name="connsiteX7" fmla="*/ 4912 w 98159"/>
                    <a:gd name="connsiteY7" fmla="*/ 41703 h 41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159" h="41702">
                      <a:moveTo>
                        <a:pt x="4912" y="41703"/>
                      </a:moveTo>
                      <a:cubicBezTo>
                        <a:pt x="2902" y="41703"/>
                        <a:pt x="1022" y="40449"/>
                        <a:pt x="291" y="38466"/>
                      </a:cubicBezTo>
                      <a:cubicBezTo>
                        <a:pt x="-622" y="35907"/>
                        <a:pt x="683" y="33088"/>
                        <a:pt x="3241" y="32175"/>
                      </a:cubicBezTo>
                      <a:lnTo>
                        <a:pt x="91577" y="302"/>
                      </a:lnTo>
                      <a:cubicBezTo>
                        <a:pt x="94109" y="-638"/>
                        <a:pt x="96928" y="693"/>
                        <a:pt x="97868" y="3251"/>
                      </a:cubicBezTo>
                      <a:cubicBezTo>
                        <a:pt x="98782" y="5810"/>
                        <a:pt x="97476" y="8629"/>
                        <a:pt x="94918" y="9542"/>
                      </a:cubicBezTo>
                      <a:lnTo>
                        <a:pt x="6582" y="41415"/>
                      </a:lnTo>
                      <a:cubicBezTo>
                        <a:pt x="6034" y="41624"/>
                        <a:pt x="5460" y="41703"/>
                        <a:pt x="4912" y="41703"/>
                      </a:cubicBezTo>
                      <a:close/>
                    </a:path>
                  </a:pathLst>
                </a:custGeom>
                <a:solidFill>
                  <a:schemeClr val="accent1"/>
                </a:solidFill>
                <a:ln w="2609" cap="flat">
                  <a:noFill/>
                  <a:prstDash val="solid"/>
                  <a:miter/>
                </a:ln>
              </p:spPr>
              <p:txBody>
                <a:bodyPr rtlCol="0" anchor="ctr"/>
                <a:lstStyle/>
                <a:p>
                  <a:endParaRPr lang="en-GB" dirty="0"/>
                </a:p>
              </p:txBody>
            </p:sp>
          </p:grpSp>
        </p:grpSp>
      </p:grpSp>
      <p:grpSp>
        <p:nvGrpSpPr>
          <p:cNvPr id="5" name="Group 4">
            <a:extLst>
              <a:ext uri="{FF2B5EF4-FFF2-40B4-BE49-F238E27FC236}">
                <a16:creationId xmlns:a16="http://schemas.microsoft.com/office/drawing/2014/main" id="{0DD1E56A-48AC-E18F-0430-F3102A7FD042}"/>
              </a:ext>
            </a:extLst>
          </p:cNvPr>
          <p:cNvGrpSpPr/>
          <p:nvPr/>
        </p:nvGrpSpPr>
        <p:grpSpPr>
          <a:xfrm>
            <a:off x="2706191" y="3197068"/>
            <a:ext cx="357454" cy="432000"/>
            <a:chOff x="2706191" y="3197068"/>
            <a:chExt cx="357454" cy="432000"/>
          </a:xfrm>
        </p:grpSpPr>
        <p:grpSp>
          <p:nvGrpSpPr>
            <p:cNvPr id="233" name="Graphic 9">
              <a:extLst>
                <a:ext uri="{FF2B5EF4-FFF2-40B4-BE49-F238E27FC236}">
                  <a16:creationId xmlns:a16="http://schemas.microsoft.com/office/drawing/2014/main" id="{90FC783E-9156-4F81-9B8A-9CDE57839D75}"/>
                </a:ext>
              </a:extLst>
            </p:cNvPr>
            <p:cNvGrpSpPr/>
            <p:nvPr/>
          </p:nvGrpSpPr>
          <p:grpSpPr>
            <a:xfrm>
              <a:off x="2706191" y="3197366"/>
              <a:ext cx="324516" cy="431702"/>
              <a:chOff x="2595407" y="3414405"/>
              <a:chExt cx="338275" cy="450004"/>
            </a:xfrm>
            <a:solidFill>
              <a:schemeClr val="tx2"/>
            </a:solidFill>
          </p:grpSpPr>
          <p:sp>
            <p:nvSpPr>
              <p:cNvPr id="235" name="Freihandform: Form 266">
                <a:extLst>
                  <a:ext uri="{FF2B5EF4-FFF2-40B4-BE49-F238E27FC236}">
                    <a16:creationId xmlns:a16="http://schemas.microsoft.com/office/drawing/2014/main" id="{A91A1E93-9BB6-4BE2-ADBC-762C9544688A}"/>
                  </a:ext>
                </a:extLst>
              </p:cNvPr>
              <p:cNvSpPr/>
              <p:nvPr/>
            </p:nvSpPr>
            <p:spPr>
              <a:xfrm>
                <a:off x="2812264" y="3445738"/>
                <a:ext cx="121418" cy="341615"/>
              </a:xfrm>
              <a:custGeom>
                <a:avLst/>
                <a:gdLst>
                  <a:gd name="connsiteX0" fmla="*/ 40313 w 121418"/>
                  <a:gd name="connsiteY0" fmla="*/ 341616 h 341615"/>
                  <a:gd name="connsiteX1" fmla="*/ 6817 w 121418"/>
                  <a:gd name="connsiteY1" fmla="*/ 341616 h 341615"/>
                  <a:gd name="connsiteX2" fmla="*/ 0 w 121418"/>
                  <a:gd name="connsiteY2" fmla="*/ 334796 h 341615"/>
                  <a:gd name="connsiteX3" fmla="*/ 6817 w 121418"/>
                  <a:gd name="connsiteY3" fmla="*/ 327976 h 341615"/>
                  <a:gd name="connsiteX4" fmla="*/ 40313 w 121418"/>
                  <a:gd name="connsiteY4" fmla="*/ 327976 h 341615"/>
                  <a:gd name="connsiteX5" fmla="*/ 65594 w 121418"/>
                  <a:gd name="connsiteY5" fmla="*/ 302687 h 341615"/>
                  <a:gd name="connsiteX6" fmla="*/ 65594 w 121418"/>
                  <a:gd name="connsiteY6" fmla="*/ 238472 h 341615"/>
                  <a:gd name="connsiteX7" fmla="*/ 72410 w 121418"/>
                  <a:gd name="connsiteY7" fmla="*/ 231652 h 341615"/>
                  <a:gd name="connsiteX8" fmla="*/ 107484 w 121418"/>
                  <a:gd name="connsiteY8" fmla="*/ 231652 h 341615"/>
                  <a:gd name="connsiteX9" fmla="*/ 65415 w 121418"/>
                  <a:gd name="connsiteY9" fmla="*/ 109974 h 341615"/>
                  <a:gd name="connsiteX10" fmla="*/ 65061 w 121418"/>
                  <a:gd name="connsiteY10" fmla="*/ 108297 h 341615"/>
                  <a:gd name="connsiteX11" fmla="*/ 15068 w 121418"/>
                  <a:gd name="connsiteY11" fmla="*/ 12082 h 341615"/>
                  <a:gd name="connsiteX12" fmla="*/ 14143 w 121418"/>
                  <a:gd name="connsiteY12" fmla="*/ 2484 h 341615"/>
                  <a:gd name="connsiteX13" fmla="*/ 23738 w 121418"/>
                  <a:gd name="connsiteY13" fmla="*/ 1559 h 341615"/>
                  <a:gd name="connsiteX14" fmla="*/ 78586 w 121418"/>
                  <a:gd name="connsiteY14" fmla="*/ 106321 h 341615"/>
                  <a:gd name="connsiteX15" fmla="*/ 120630 w 121418"/>
                  <a:gd name="connsiteY15" fmla="*/ 227932 h 341615"/>
                  <a:gd name="connsiteX16" fmla="*/ 119110 w 121418"/>
                  <a:gd name="connsiteY16" fmla="*/ 239692 h 341615"/>
                  <a:gd name="connsiteX17" fmla="*/ 108459 w 121418"/>
                  <a:gd name="connsiteY17" fmla="*/ 245294 h 341615"/>
                  <a:gd name="connsiteX18" fmla="*/ 79230 w 121418"/>
                  <a:gd name="connsiteY18" fmla="*/ 245294 h 341615"/>
                  <a:gd name="connsiteX19" fmla="*/ 79230 w 121418"/>
                  <a:gd name="connsiteY19" fmla="*/ 302690 h 341615"/>
                  <a:gd name="connsiteX20" fmla="*/ 40313 w 121418"/>
                  <a:gd name="connsiteY20" fmla="*/ 341616 h 341615"/>
                  <a:gd name="connsiteX21" fmla="*/ 108442 w 121418"/>
                  <a:gd name="connsiteY21" fmla="*/ 231652 h 341615"/>
                  <a:gd name="connsiteX22" fmla="*/ 108456 w 121418"/>
                  <a:gd name="connsiteY22" fmla="*/ 231652 h 341615"/>
                  <a:gd name="connsiteX23" fmla="*/ 108450 w 121418"/>
                  <a:gd name="connsiteY23" fmla="*/ 231646 h 341615"/>
                  <a:gd name="connsiteX24" fmla="*/ 108442 w 121418"/>
                  <a:gd name="connsiteY24" fmla="*/ 231652 h 34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1418" h="341615">
                    <a:moveTo>
                      <a:pt x="40313" y="341616"/>
                    </a:moveTo>
                    <a:lnTo>
                      <a:pt x="6817" y="341616"/>
                    </a:lnTo>
                    <a:cubicBezTo>
                      <a:pt x="3050" y="341616"/>
                      <a:pt x="0" y="338566"/>
                      <a:pt x="0" y="334796"/>
                    </a:cubicBezTo>
                    <a:cubicBezTo>
                      <a:pt x="0" y="331026"/>
                      <a:pt x="3050" y="327976"/>
                      <a:pt x="6817" y="327976"/>
                    </a:cubicBezTo>
                    <a:lnTo>
                      <a:pt x="40313" y="327976"/>
                    </a:lnTo>
                    <a:cubicBezTo>
                      <a:pt x="54254" y="327976"/>
                      <a:pt x="65594" y="316634"/>
                      <a:pt x="65594" y="302687"/>
                    </a:cubicBezTo>
                    <a:lnTo>
                      <a:pt x="65594" y="238472"/>
                    </a:lnTo>
                    <a:cubicBezTo>
                      <a:pt x="65594" y="234702"/>
                      <a:pt x="68644" y="231652"/>
                      <a:pt x="72410" y="231652"/>
                    </a:cubicBezTo>
                    <a:lnTo>
                      <a:pt x="107484" y="231652"/>
                    </a:lnTo>
                    <a:lnTo>
                      <a:pt x="65415" y="109974"/>
                    </a:lnTo>
                    <a:cubicBezTo>
                      <a:pt x="65228" y="109427"/>
                      <a:pt x="65108" y="108868"/>
                      <a:pt x="65061" y="108297"/>
                    </a:cubicBezTo>
                    <a:cubicBezTo>
                      <a:pt x="62005" y="70835"/>
                      <a:pt x="43782" y="35764"/>
                      <a:pt x="15068" y="12082"/>
                    </a:cubicBezTo>
                    <a:cubicBezTo>
                      <a:pt x="12159" y="9684"/>
                      <a:pt x="11746" y="5388"/>
                      <a:pt x="14143" y="2484"/>
                    </a:cubicBezTo>
                    <a:cubicBezTo>
                      <a:pt x="16526" y="-425"/>
                      <a:pt x="20834" y="-838"/>
                      <a:pt x="23738" y="1559"/>
                    </a:cubicBezTo>
                    <a:cubicBezTo>
                      <a:pt x="55062" y="27393"/>
                      <a:pt x="75016" y="65534"/>
                      <a:pt x="78586" y="106321"/>
                    </a:cubicBezTo>
                    <a:lnTo>
                      <a:pt x="120630" y="227932"/>
                    </a:lnTo>
                    <a:cubicBezTo>
                      <a:pt x="122067" y="231713"/>
                      <a:pt x="121528" y="236189"/>
                      <a:pt x="119110" y="239692"/>
                    </a:cubicBezTo>
                    <a:cubicBezTo>
                      <a:pt x="116693" y="243202"/>
                      <a:pt x="112712" y="245294"/>
                      <a:pt x="108459" y="245294"/>
                    </a:cubicBezTo>
                    <a:lnTo>
                      <a:pt x="79230" y="245294"/>
                    </a:lnTo>
                    <a:lnTo>
                      <a:pt x="79230" y="302690"/>
                    </a:lnTo>
                    <a:cubicBezTo>
                      <a:pt x="79227" y="324153"/>
                      <a:pt x="61771" y="341616"/>
                      <a:pt x="40313" y="341616"/>
                    </a:cubicBezTo>
                    <a:close/>
                    <a:moveTo>
                      <a:pt x="108442" y="231652"/>
                    </a:moveTo>
                    <a:lnTo>
                      <a:pt x="108456" y="231652"/>
                    </a:lnTo>
                    <a:cubicBezTo>
                      <a:pt x="108456" y="231652"/>
                      <a:pt x="108456" y="231646"/>
                      <a:pt x="108450" y="231646"/>
                    </a:cubicBezTo>
                    <a:lnTo>
                      <a:pt x="108442" y="231652"/>
                    </a:lnTo>
                    <a:close/>
                  </a:path>
                </a:pathLst>
              </a:custGeom>
              <a:grpFill/>
              <a:ln w="292" cap="flat">
                <a:noFill/>
                <a:prstDash val="solid"/>
                <a:miter/>
              </a:ln>
            </p:spPr>
            <p:txBody>
              <a:bodyPr rtlCol="0" anchor="ctr"/>
              <a:lstStyle/>
              <a:p>
                <a:endParaRPr lang="en-GB" dirty="0"/>
              </a:p>
            </p:txBody>
          </p:sp>
          <p:sp>
            <p:nvSpPr>
              <p:cNvPr id="236" name="Freihandform: Form 267">
                <a:extLst>
                  <a:ext uri="{FF2B5EF4-FFF2-40B4-BE49-F238E27FC236}">
                    <a16:creationId xmlns:a16="http://schemas.microsoft.com/office/drawing/2014/main" id="{3911591A-6259-4969-AD72-CCB75590B270}"/>
                  </a:ext>
                </a:extLst>
              </p:cNvPr>
              <p:cNvSpPr/>
              <p:nvPr/>
            </p:nvSpPr>
            <p:spPr>
              <a:xfrm>
                <a:off x="2595407" y="3414405"/>
                <a:ext cx="145801" cy="450004"/>
              </a:xfrm>
              <a:custGeom>
                <a:avLst/>
                <a:gdLst>
                  <a:gd name="connsiteX0" fmla="*/ 6817 w 145801"/>
                  <a:gd name="connsiteY0" fmla="*/ 450004 h 450004"/>
                  <a:gd name="connsiteX1" fmla="*/ 0 w 145801"/>
                  <a:gd name="connsiteY1" fmla="*/ 443185 h 450004"/>
                  <a:gd name="connsiteX2" fmla="*/ 0 w 145801"/>
                  <a:gd name="connsiteY2" fmla="*/ 147794 h 450004"/>
                  <a:gd name="connsiteX3" fmla="*/ 138549 w 145801"/>
                  <a:gd name="connsiteY3" fmla="*/ 8 h 450004"/>
                  <a:gd name="connsiteX4" fmla="*/ 145787 w 145801"/>
                  <a:gd name="connsiteY4" fmla="*/ 6380 h 450004"/>
                  <a:gd name="connsiteX5" fmla="*/ 139415 w 145801"/>
                  <a:gd name="connsiteY5" fmla="*/ 13618 h 450004"/>
                  <a:gd name="connsiteX6" fmla="*/ 13634 w 145801"/>
                  <a:gd name="connsiteY6" fmla="*/ 147791 h 450004"/>
                  <a:gd name="connsiteX7" fmla="*/ 13634 w 145801"/>
                  <a:gd name="connsiteY7" fmla="*/ 443182 h 450004"/>
                  <a:gd name="connsiteX8" fmla="*/ 6817 w 145801"/>
                  <a:gd name="connsiteY8" fmla="*/ 450004 h 45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5801" h="450004">
                    <a:moveTo>
                      <a:pt x="6817" y="450004"/>
                    </a:moveTo>
                    <a:cubicBezTo>
                      <a:pt x="3050" y="450004"/>
                      <a:pt x="0" y="446954"/>
                      <a:pt x="0" y="443185"/>
                    </a:cubicBezTo>
                    <a:lnTo>
                      <a:pt x="0" y="147794"/>
                    </a:lnTo>
                    <a:cubicBezTo>
                      <a:pt x="0" y="69898"/>
                      <a:pt x="60861" y="4983"/>
                      <a:pt x="138549" y="8"/>
                    </a:cubicBezTo>
                    <a:cubicBezTo>
                      <a:pt x="142277" y="-165"/>
                      <a:pt x="145538" y="2613"/>
                      <a:pt x="145787" y="6380"/>
                    </a:cubicBezTo>
                    <a:cubicBezTo>
                      <a:pt x="146027" y="10135"/>
                      <a:pt x="143176" y="13378"/>
                      <a:pt x="139415" y="13618"/>
                    </a:cubicBezTo>
                    <a:cubicBezTo>
                      <a:pt x="68889" y="18134"/>
                      <a:pt x="13634" y="77075"/>
                      <a:pt x="13634" y="147791"/>
                    </a:cubicBezTo>
                    <a:lnTo>
                      <a:pt x="13634" y="443182"/>
                    </a:lnTo>
                    <a:cubicBezTo>
                      <a:pt x="13634" y="446954"/>
                      <a:pt x="10584" y="450004"/>
                      <a:pt x="6817" y="450004"/>
                    </a:cubicBezTo>
                    <a:close/>
                  </a:path>
                </a:pathLst>
              </a:custGeom>
              <a:grpFill/>
              <a:ln w="292" cap="flat">
                <a:noFill/>
                <a:prstDash val="solid"/>
                <a:miter/>
              </a:ln>
            </p:spPr>
            <p:txBody>
              <a:bodyPr rtlCol="0" anchor="ctr"/>
              <a:lstStyle/>
              <a:p>
                <a:endParaRPr lang="en-GB" dirty="0"/>
              </a:p>
            </p:txBody>
          </p:sp>
        </p:grpSp>
        <p:sp>
          <p:nvSpPr>
            <p:cNvPr id="234" name="Freihandform: Form 268">
              <a:extLst>
                <a:ext uri="{FF2B5EF4-FFF2-40B4-BE49-F238E27FC236}">
                  <a16:creationId xmlns:a16="http://schemas.microsoft.com/office/drawing/2014/main" id="{32278B89-ADE0-46DC-927C-A196B5F64BD6}"/>
                </a:ext>
              </a:extLst>
            </p:cNvPr>
            <p:cNvSpPr/>
            <p:nvPr/>
          </p:nvSpPr>
          <p:spPr>
            <a:xfrm>
              <a:off x="2739137" y="3197068"/>
              <a:ext cx="324508" cy="432000"/>
            </a:xfrm>
            <a:custGeom>
              <a:avLst/>
              <a:gdLst>
                <a:gd name="connsiteX0" fmla="*/ 331449 w 338265"/>
                <a:gd name="connsiteY0" fmla="*/ 450315 h 450315"/>
                <a:gd name="connsiteX1" fmla="*/ 324632 w 338265"/>
                <a:gd name="connsiteY1" fmla="*/ 443495 h 450315"/>
                <a:gd name="connsiteX2" fmla="*/ 324632 w 338265"/>
                <a:gd name="connsiteY2" fmla="*/ 148104 h 450315"/>
                <a:gd name="connsiteX3" fmla="*/ 280376 w 338265"/>
                <a:gd name="connsiteY3" fmla="*/ 48617 h 450315"/>
                <a:gd name="connsiteX4" fmla="*/ 176986 w 338265"/>
                <a:gd name="connsiteY4" fmla="*/ 14292 h 450315"/>
                <a:gd name="connsiteX5" fmla="*/ 56345 w 338265"/>
                <a:gd name="connsiteY5" fmla="*/ 139938 h 450315"/>
                <a:gd name="connsiteX6" fmla="*/ 55991 w 338265"/>
                <a:gd name="connsiteY6" fmla="*/ 141615 h 450315"/>
                <a:gd name="connsiteX7" fmla="*/ 13921 w 338265"/>
                <a:gd name="connsiteY7" fmla="*/ 263293 h 450315"/>
                <a:gd name="connsiteX8" fmla="*/ 48995 w 338265"/>
                <a:gd name="connsiteY8" fmla="*/ 263293 h 450315"/>
                <a:gd name="connsiteX9" fmla="*/ 55812 w 338265"/>
                <a:gd name="connsiteY9" fmla="*/ 270113 h 450315"/>
                <a:gd name="connsiteX10" fmla="*/ 55812 w 338265"/>
                <a:gd name="connsiteY10" fmla="*/ 334328 h 450315"/>
                <a:gd name="connsiteX11" fmla="*/ 81087 w 338265"/>
                <a:gd name="connsiteY11" fmla="*/ 359617 h 450315"/>
                <a:gd name="connsiteX12" fmla="*/ 151706 w 338265"/>
                <a:gd name="connsiteY12" fmla="*/ 359617 h 450315"/>
                <a:gd name="connsiteX13" fmla="*/ 158523 w 338265"/>
                <a:gd name="connsiteY13" fmla="*/ 366437 h 450315"/>
                <a:gd name="connsiteX14" fmla="*/ 158523 w 338265"/>
                <a:gd name="connsiteY14" fmla="*/ 443492 h 450315"/>
                <a:gd name="connsiteX15" fmla="*/ 151706 w 338265"/>
                <a:gd name="connsiteY15" fmla="*/ 450312 h 450315"/>
                <a:gd name="connsiteX16" fmla="*/ 144889 w 338265"/>
                <a:gd name="connsiteY16" fmla="*/ 443492 h 450315"/>
                <a:gd name="connsiteX17" fmla="*/ 144889 w 338265"/>
                <a:gd name="connsiteY17" fmla="*/ 373256 h 450315"/>
                <a:gd name="connsiteX18" fmla="*/ 81087 w 338265"/>
                <a:gd name="connsiteY18" fmla="*/ 373256 h 450315"/>
                <a:gd name="connsiteX19" fmla="*/ 42178 w 338265"/>
                <a:gd name="connsiteY19" fmla="*/ 334328 h 450315"/>
                <a:gd name="connsiteX20" fmla="*/ 42178 w 338265"/>
                <a:gd name="connsiteY20" fmla="*/ 276933 h 450315"/>
                <a:gd name="connsiteX21" fmla="*/ 12949 w 338265"/>
                <a:gd name="connsiteY21" fmla="*/ 276933 h 450315"/>
                <a:gd name="connsiteX22" fmla="*/ 2284 w 338265"/>
                <a:gd name="connsiteY22" fmla="*/ 271324 h 450315"/>
                <a:gd name="connsiteX23" fmla="*/ 852 w 338265"/>
                <a:gd name="connsiteY23" fmla="*/ 259371 h 450315"/>
                <a:gd name="connsiteX24" fmla="*/ 42822 w 338265"/>
                <a:gd name="connsiteY24" fmla="*/ 137960 h 450315"/>
                <a:gd name="connsiteX25" fmla="*/ 175666 w 338265"/>
                <a:gd name="connsiteY25" fmla="*/ 717 h 450315"/>
                <a:gd name="connsiteX26" fmla="*/ 289543 w 338265"/>
                <a:gd name="connsiteY26" fmla="*/ 38513 h 450315"/>
                <a:gd name="connsiteX27" fmla="*/ 338266 w 338265"/>
                <a:gd name="connsiteY27" fmla="*/ 148102 h 450315"/>
                <a:gd name="connsiteX28" fmla="*/ 338266 w 338265"/>
                <a:gd name="connsiteY28" fmla="*/ 443492 h 450315"/>
                <a:gd name="connsiteX29" fmla="*/ 331449 w 338265"/>
                <a:gd name="connsiteY29" fmla="*/ 450315 h 450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38265" h="450315">
                  <a:moveTo>
                    <a:pt x="331449" y="450315"/>
                  </a:moveTo>
                  <a:cubicBezTo>
                    <a:pt x="327682" y="450315"/>
                    <a:pt x="324632" y="447265"/>
                    <a:pt x="324632" y="443495"/>
                  </a:cubicBezTo>
                  <a:lnTo>
                    <a:pt x="324632" y="148104"/>
                  </a:lnTo>
                  <a:cubicBezTo>
                    <a:pt x="324632" y="110417"/>
                    <a:pt x="308501" y="74151"/>
                    <a:pt x="280376" y="48617"/>
                  </a:cubicBezTo>
                  <a:cubicBezTo>
                    <a:pt x="251926" y="22777"/>
                    <a:pt x="215215" y="10601"/>
                    <a:pt x="176986" y="14292"/>
                  </a:cubicBezTo>
                  <a:cubicBezTo>
                    <a:pt x="112511" y="20547"/>
                    <a:pt x="61771" y="73385"/>
                    <a:pt x="56345" y="139938"/>
                  </a:cubicBezTo>
                  <a:cubicBezTo>
                    <a:pt x="56298" y="140512"/>
                    <a:pt x="56178" y="141071"/>
                    <a:pt x="55991" y="141615"/>
                  </a:cubicBezTo>
                  <a:lnTo>
                    <a:pt x="13921" y="263293"/>
                  </a:lnTo>
                  <a:lnTo>
                    <a:pt x="48995" y="263293"/>
                  </a:lnTo>
                  <a:cubicBezTo>
                    <a:pt x="52762" y="263293"/>
                    <a:pt x="55812" y="266343"/>
                    <a:pt x="55812" y="270113"/>
                  </a:cubicBezTo>
                  <a:lnTo>
                    <a:pt x="55812" y="334328"/>
                  </a:lnTo>
                  <a:cubicBezTo>
                    <a:pt x="55812" y="348275"/>
                    <a:pt x="67151" y="359617"/>
                    <a:pt x="81087" y="359617"/>
                  </a:cubicBezTo>
                  <a:lnTo>
                    <a:pt x="151706" y="359617"/>
                  </a:lnTo>
                  <a:cubicBezTo>
                    <a:pt x="155473" y="359617"/>
                    <a:pt x="158523" y="362667"/>
                    <a:pt x="158523" y="366437"/>
                  </a:cubicBezTo>
                  <a:lnTo>
                    <a:pt x="158523" y="443492"/>
                  </a:lnTo>
                  <a:cubicBezTo>
                    <a:pt x="158523" y="447262"/>
                    <a:pt x="155473" y="450312"/>
                    <a:pt x="151706" y="450312"/>
                  </a:cubicBezTo>
                  <a:cubicBezTo>
                    <a:pt x="147939" y="450312"/>
                    <a:pt x="144889" y="447262"/>
                    <a:pt x="144889" y="443492"/>
                  </a:cubicBezTo>
                  <a:lnTo>
                    <a:pt x="144889" y="373256"/>
                  </a:lnTo>
                  <a:lnTo>
                    <a:pt x="81087" y="373256"/>
                  </a:lnTo>
                  <a:cubicBezTo>
                    <a:pt x="59635" y="373256"/>
                    <a:pt x="42178" y="355794"/>
                    <a:pt x="42178" y="334328"/>
                  </a:cubicBezTo>
                  <a:lnTo>
                    <a:pt x="42178" y="276933"/>
                  </a:lnTo>
                  <a:lnTo>
                    <a:pt x="12949" y="276933"/>
                  </a:lnTo>
                  <a:cubicBezTo>
                    <a:pt x="8688" y="276933"/>
                    <a:pt x="4701" y="274834"/>
                    <a:pt x="2284" y="271324"/>
                  </a:cubicBezTo>
                  <a:cubicBezTo>
                    <a:pt x="-134" y="267815"/>
                    <a:pt x="-667" y="263346"/>
                    <a:pt x="852" y="259371"/>
                  </a:cubicBezTo>
                  <a:lnTo>
                    <a:pt x="42822" y="137960"/>
                  </a:lnTo>
                  <a:cubicBezTo>
                    <a:pt x="49159" y="65233"/>
                    <a:pt x="104900" y="7577"/>
                    <a:pt x="175666" y="717"/>
                  </a:cubicBezTo>
                  <a:cubicBezTo>
                    <a:pt x="217782" y="-3361"/>
                    <a:pt x="258204" y="10059"/>
                    <a:pt x="289543" y="38513"/>
                  </a:cubicBezTo>
                  <a:cubicBezTo>
                    <a:pt x="320508" y="66632"/>
                    <a:pt x="338266" y="106577"/>
                    <a:pt x="338266" y="148102"/>
                  </a:cubicBezTo>
                  <a:lnTo>
                    <a:pt x="338266" y="443492"/>
                  </a:lnTo>
                  <a:cubicBezTo>
                    <a:pt x="338266" y="447265"/>
                    <a:pt x="335216" y="450315"/>
                    <a:pt x="331449" y="450315"/>
                  </a:cubicBezTo>
                  <a:close/>
                </a:path>
              </a:pathLst>
            </a:custGeom>
            <a:solidFill>
              <a:schemeClr val="accent1"/>
            </a:solidFill>
            <a:ln w="292" cap="flat">
              <a:noFill/>
              <a:prstDash val="solid"/>
              <a:miter/>
            </a:ln>
          </p:spPr>
          <p:txBody>
            <a:bodyPr rtlCol="0" anchor="ctr"/>
            <a:lstStyle/>
            <a:p>
              <a:endParaRPr lang="en-GB" dirty="0"/>
            </a:p>
          </p:txBody>
        </p:sp>
      </p:grpSp>
      <p:grpSp>
        <p:nvGrpSpPr>
          <p:cNvPr id="259" name="Gruppieren 674">
            <a:extLst>
              <a:ext uri="{FF2B5EF4-FFF2-40B4-BE49-F238E27FC236}">
                <a16:creationId xmlns:a16="http://schemas.microsoft.com/office/drawing/2014/main" id="{367ECF3A-5A7D-4AE2-858D-2421EC25E85A}"/>
              </a:ext>
            </a:extLst>
          </p:cNvPr>
          <p:cNvGrpSpPr>
            <a:grpSpLocks noChangeAspect="1"/>
          </p:cNvGrpSpPr>
          <p:nvPr/>
        </p:nvGrpSpPr>
        <p:grpSpPr>
          <a:xfrm>
            <a:off x="631431" y="4002609"/>
            <a:ext cx="325259" cy="431996"/>
            <a:chOff x="7813657" y="4252207"/>
            <a:chExt cx="383734" cy="509662"/>
          </a:xfrm>
        </p:grpSpPr>
        <p:grpSp>
          <p:nvGrpSpPr>
            <p:cNvPr id="260" name="Gruppieren 673">
              <a:extLst>
                <a:ext uri="{FF2B5EF4-FFF2-40B4-BE49-F238E27FC236}">
                  <a16:creationId xmlns:a16="http://schemas.microsoft.com/office/drawing/2014/main" id="{8912E46D-E516-4A26-A4BC-D72525668A0C}"/>
                </a:ext>
              </a:extLst>
            </p:cNvPr>
            <p:cNvGrpSpPr/>
            <p:nvPr/>
          </p:nvGrpSpPr>
          <p:grpSpPr>
            <a:xfrm>
              <a:off x="7963283" y="4252207"/>
              <a:ext cx="234108" cy="311411"/>
              <a:chOff x="7963286" y="4252203"/>
              <a:chExt cx="234108" cy="311411"/>
            </a:xfrm>
          </p:grpSpPr>
          <p:sp>
            <p:nvSpPr>
              <p:cNvPr id="272" name="Freihandform: Form 527">
                <a:extLst>
                  <a:ext uri="{FF2B5EF4-FFF2-40B4-BE49-F238E27FC236}">
                    <a16:creationId xmlns:a16="http://schemas.microsoft.com/office/drawing/2014/main" id="{16CCFC53-4F53-4434-86BB-AD1D77996B42}"/>
                  </a:ext>
                </a:extLst>
              </p:cNvPr>
              <p:cNvSpPr/>
              <p:nvPr/>
            </p:nvSpPr>
            <p:spPr>
              <a:xfrm>
                <a:off x="7963286" y="4277542"/>
                <a:ext cx="102883" cy="98856"/>
              </a:xfrm>
              <a:custGeom>
                <a:avLst/>
                <a:gdLst>
                  <a:gd name="connsiteX0" fmla="*/ 79856 w 102883"/>
                  <a:gd name="connsiteY0" fmla="*/ 98857 h 98856"/>
                  <a:gd name="connsiteX1" fmla="*/ 75818 w 102883"/>
                  <a:gd name="connsiteY1" fmla="*/ 97247 h 98856"/>
                  <a:gd name="connsiteX2" fmla="*/ 56524 w 102883"/>
                  <a:gd name="connsiteY2" fmla="*/ 79511 h 98856"/>
                  <a:gd name="connsiteX3" fmla="*/ 15534 w 102883"/>
                  <a:gd name="connsiteY3" fmla="*/ 58965 h 98856"/>
                  <a:gd name="connsiteX4" fmla="*/ 14665 w 102883"/>
                  <a:gd name="connsiteY4" fmla="*/ 58429 h 98856"/>
                  <a:gd name="connsiteX5" fmla="*/ 227 w 102883"/>
                  <a:gd name="connsiteY5" fmla="*/ 32720 h 98856"/>
                  <a:gd name="connsiteX6" fmla="*/ 8736 w 102883"/>
                  <a:gd name="connsiteY6" fmla="*/ 4022 h 98856"/>
                  <a:gd name="connsiteX7" fmla="*/ 10244 w 102883"/>
                  <a:gd name="connsiteY7" fmla="*/ 2208 h 98856"/>
                  <a:gd name="connsiteX8" fmla="*/ 17962 w 102883"/>
                  <a:gd name="connsiteY8" fmla="*/ 904 h 98856"/>
                  <a:gd name="connsiteX9" fmla="*/ 83587 w 102883"/>
                  <a:gd name="connsiteY9" fmla="*/ 41562 h 98856"/>
                  <a:gd name="connsiteX10" fmla="*/ 85069 w 102883"/>
                  <a:gd name="connsiteY10" fmla="*/ 42840 h 98856"/>
                  <a:gd name="connsiteX11" fmla="*/ 101169 w 102883"/>
                  <a:gd name="connsiteY11" fmla="*/ 61495 h 98856"/>
                  <a:gd name="connsiteX12" fmla="*/ 100913 w 102883"/>
                  <a:gd name="connsiteY12" fmla="*/ 71232 h 98856"/>
                  <a:gd name="connsiteX13" fmla="*/ 92020 w 102883"/>
                  <a:gd name="connsiteY13" fmla="*/ 70951 h 98856"/>
                  <a:gd name="connsiteX14" fmla="*/ 76585 w 102883"/>
                  <a:gd name="connsiteY14" fmla="*/ 53037 h 98856"/>
                  <a:gd name="connsiteX15" fmla="*/ 16275 w 102883"/>
                  <a:gd name="connsiteY15" fmla="*/ 15675 h 98856"/>
                  <a:gd name="connsiteX16" fmla="*/ 12723 w 102883"/>
                  <a:gd name="connsiteY16" fmla="*/ 31085 h 98856"/>
                  <a:gd name="connsiteX17" fmla="*/ 21258 w 102883"/>
                  <a:gd name="connsiteY17" fmla="*/ 46673 h 98856"/>
                  <a:gd name="connsiteX18" fmla="*/ 62530 w 102883"/>
                  <a:gd name="connsiteY18" fmla="*/ 67373 h 98856"/>
                  <a:gd name="connsiteX19" fmla="*/ 63961 w 102883"/>
                  <a:gd name="connsiteY19" fmla="*/ 68344 h 98856"/>
                  <a:gd name="connsiteX20" fmla="*/ 83894 w 102883"/>
                  <a:gd name="connsiteY20" fmla="*/ 86667 h 98856"/>
                  <a:gd name="connsiteX21" fmla="*/ 84686 w 102883"/>
                  <a:gd name="connsiteY21" fmla="*/ 96378 h 98856"/>
                  <a:gd name="connsiteX22" fmla="*/ 79856 w 102883"/>
                  <a:gd name="connsiteY22" fmla="*/ 98857 h 9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2883" h="98856">
                    <a:moveTo>
                      <a:pt x="79856" y="98857"/>
                    </a:moveTo>
                    <a:cubicBezTo>
                      <a:pt x="78425" y="98857"/>
                      <a:pt x="76994" y="98320"/>
                      <a:pt x="75818" y="97247"/>
                    </a:cubicBezTo>
                    <a:lnTo>
                      <a:pt x="56524" y="79511"/>
                    </a:lnTo>
                    <a:lnTo>
                      <a:pt x="15534" y="58965"/>
                    </a:lnTo>
                    <a:cubicBezTo>
                      <a:pt x="15228" y="58812"/>
                      <a:pt x="14921" y="58633"/>
                      <a:pt x="14665" y="58429"/>
                    </a:cubicBezTo>
                    <a:cubicBezTo>
                      <a:pt x="6641" y="52576"/>
                      <a:pt x="1377" y="43198"/>
                      <a:pt x="227" y="32720"/>
                    </a:cubicBezTo>
                    <a:cubicBezTo>
                      <a:pt x="-898" y="22243"/>
                      <a:pt x="2194" y="11765"/>
                      <a:pt x="8736" y="4022"/>
                    </a:cubicBezTo>
                    <a:lnTo>
                      <a:pt x="10244" y="2208"/>
                    </a:lnTo>
                    <a:cubicBezTo>
                      <a:pt x="12212" y="-144"/>
                      <a:pt x="15432" y="-680"/>
                      <a:pt x="17962" y="904"/>
                    </a:cubicBezTo>
                    <a:lnTo>
                      <a:pt x="83587" y="41562"/>
                    </a:lnTo>
                    <a:cubicBezTo>
                      <a:pt x="84149" y="41894"/>
                      <a:pt x="84661" y="42329"/>
                      <a:pt x="85069" y="42840"/>
                    </a:cubicBezTo>
                    <a:lnTo>
                      <a:pt x="101169" y="61495"/>
                    </a:lnTo>
                    <a:cubicBezTo>
                      <a:pt x="103546" y="64281"/>
                      <a:pt x="103443" y="68625"/>
                      <a:pt x="100913" y="71232"/>
                    </a:cubicBezTo>
                    <a:cubicBezTo>
                      <a:pt x="98384" y="73838"/>
                      <a:pt x="94397" y="73710"/>
                      <a:pt x="92020" y="70951"/>
                    </a:cubicBezTo>
                    <a:lnTo>
                      <a:pt x="76585" y="53037"/>
                    </a:lnTo>
                    <a:lnTo>
                      <a:pt x="16275" y="15675"/>
                    </a:lnTo>
                    <a:cubicBezTo>
                      <a:pt x="13413" y="20122"/>
                      <a:pt x="12135" y="25616"/>
                      <a:pt x="12723" y="31085"/>
                    </a:cubicBezTo>
                    <a:cubicBezTo>
                      <a:pt x="13413" y="37397"/>
                      <a:pt x="16505" y="43044"/>
                      <a:pt x="21258" y="46673"/>
                    </a:cubicBezTo>
                    <a:lnTo>
                      <a:pt x="62530" y="67373"/>
                    </a:lnTo>
                    <a:cubicBezTo>
                      <a:pt x="63041" y="67628"/>
                      <a:pt x="63526" y="67961"/>
                      <a:pt x="63961" y="68344"/>
                    </a:cubicBezTo>
                    <a:lnTo>
                      <a:pt x="83894" y="86667"/>
                    </a:lnTo>
                    <a:cubicBezTo>
                      <a:pt x="86577" y="89120"/>
                      <a:pt x="86909" y="93464"/>
                      <a:pt x="84686" y="96378"/>
                    </a:cubicBezTo>
                    <a:cubicBezTo>
                      <a:pt x="83434" y="98013"/>
                      <a:pt x="81645" y="98857"/>
                      <a:pt x="79856" y="98857"/>
                    </a:cubicBezTo>
                    <a:close/>
                  </a:path>
                </a:pathLst>
              </a:custGeom>
              <a:solidFill>
                <a:schemeClr val="tx2"/>
              </a:solidFill>
              <a:ln w="255" cap="flat">
                <a:noFill/>
                <a:prstDash val="solid"/>
                <a:miter/>
              </a:ln>
            </p:spPr>
            <p:txBody>
              <a:bodyPr rtlCol="0" anchor="ctr"/>
              <a:lstStyle/>
              <a:p>
                <a:endParaRPr lang="en-GB" dirty="0"/>
              </a:p>
            </p:txBody>
          </p:sp>
          <p:sp>
            <p:nvSpPr>
              <p:cNvPr id="273" name="Freihandform: Form 528">
                <a:extLst>
                  <a:ext uri="{FF2B5EF4-FFF2-40B4-BE49-F238E27FC236}">
                    <a16:creationId xmlns:a16="http://schemas.microsoft.com/office/drawing/2014/main" id="{3C7BE6A0-03F3-4B1B-8214-C059071BAD1F}"/>
                  </a:ext>
                </a:extLst>
              </p:cNvPr>
              <p:cNvSpPr/>
              <p:nvPr/>
            </p:nvSpPr>
            <p:spPr>
              <a:xfrm>
                <a:off x="8087887" y="4430543"/>
                <a:ext cx="109507" cy="133071"/>
              </a:xfrm>
              <a:custGeom>
                <a:avLst/>
                <a:gdLst>
                  <a:gd name="connsiteX0" fmla="*/ 28623 w 109507"/>
                  <a:gd name="connsiteY0" fmla="*/ 133072 h 133071"/>
                  <a:gd name="connsiteX1" fmla="*/ 26860 w 109507"/>
                  <a:gd name="connsiteY1" fmla="*/ 132791 h 133071"/>
                  <a:gd name="connsiteX2" fmla="*/ 25326 w 109507"/>
                  <a:gd name="connsiteY2" fmla="*/ 132305 h 133071"/>
                  <a:gd name="connsiteX3" fmla="*/ 896 w 109507"/>
                  <a:gd name="connsiteY3" fmla="*/ 86562 h 133071"/>
                  <a:gd name="connsiteX4" fmla="*/ 9891 w 109507"/>
                  <a:gd name="connsiteY4" fmla="*/ 33561 h 133071"/>
                  <a:gd name="connsiteX5" fmla="*/ 17226 w 109507"/>
                  <a:gd name="connsiteY5" fmla="*/ 28041 h 133071"/>
                  <a:gd name="connsiteX6" fmla="*/ 22260 w 109507"/>
                  <a:gd name="connsiteY6" fmla="*/ 36065 h 133071"/>
                  <a:gd name="connsiteX7" fmla="*/ 13213 w 109507"/>
                  <a:gd name="connsiteY7" fmla="*/ 89347 h 133071"/>
                  <a:gd name="connsiteX8" fmla="*/ 25224 w 109507"/>
                  <a:gd name="connsiteY8" fmla="*/ 117534 h 133071"/>
                  <a:gd name="connsiteX9" fmla="*/ 40481 w 109507"/>
                  <a:gd name="connsiteY9" fmla="*/ 79253 h 133071"/>
                  <a:gd name="connsiteX10" fmla="*/ 78532 w 109507"/>
                  <a:gd name="connsiteY10" fmla="*/ 21550 h 133071"/>
                  <a:gd name="connsiteX11" fmla="*/ 99053 w 109507"/>
                  <a:gd name="connsiteY11" fmla="*/ 1719 h 133071"/>
                  <a:gd name="connsiteX12" fmla="*/ 107946 w 109507"/>
                  <a:gd name="connsiteY12" fmla="*/ 2332 h 133071"/>
                  <a:gd name="connsiteX13" fmla="*/ 107384 w 109507"/>
                  <a:gd name="connsiteY13" fmla="*/ 12069 h 133071"/>
                  <a:gd name="connsiteX14" fmla="*/ 86837 w 109507"/>
                  <a:gd name="connsiteY14" fmla="*/ 31874 h 133071"/>
                  <a:gd name="connsiteX15" fmla="*/ 52031 w 109507"/>
                  <a:gd name="connsiteY15" fmla="*/ 84696 h 133071"/>
                  <a:gd name="connsiteX16" fmla="*/ 34398 w 109507"/>
                  <a:gd name="connsiteY16" fmla="*/ 128957 h 133071"/>
                  <a:gd name="connsiteX17" fmla="*/ 28623 w 109507"/>
                  <a:gd name="connsiteY17" fmla="*/ 133072 h 133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9507" h="133071">
                    <a:moveTo>
                      <a:pt x="28623" y="133072"/>
                    </a:moveTo>
                    <a:cubicBezTo>
                      <a:pt x="28035" y="133072"/>
                      <a:pt x="27448" y="132995"/>
                      <a:pt x="26860" y="132791"/>
                    </a:cubicBezTo>
                    <a:lnTo>
                      <a:pt x="25326" y="132305"/>
                    </a:lnTo>
                    <a:cubicBezTo>
                      <a:pt x="7464" y="126555"/>
                      <a:pt x="-3269" y="106443"/>
                      <a:pt x="896" y="86562"/>
                    </a:cubicBezTo>
                    <a:lnTo>
                      <a:pt x="9891" y="33561"/>
                    </a:lnTo>
                    <a:cubicBezTo>
                      <a:pt x="10505" y="29804"/>
                      <a:pt x="13801" y="27325"/>
                      <a:pt x="17226" y="28041"/>
                    </a:cubicBezTo>
                    <a:cubicBezTo>
                      <a:pt x="20624" y="28731"/>
                      <a:pt x="22873" y="32334"/>
                      <a:pt x="22260" y="36065"/>
                    </a:cubicBezTo>
                    <a:lnTo>
                      <a:pt x="13213" y="89347"/>
                    </a:lnTo>
                    <a:cubicBezTo>
                      <a:pt x="10786" y="101000"/>
                      <a:pt x="15973" y="112500"/>
                      <a:pt x="25224" y="117534"/>
                    </a:cubicBezTo>
                    <a:lnTo>
                      <a:pt x="40481" y="79253"/>
                    </a:lnTo>
                    <a:cubicBezTo>
                      <a:pt x="49016" y="57327"/>
                      <a:pt x="62177" y="37343"/>
                      <a:pt x="78532" y="21550"/>
                    </a:cubicBezTo>
                    <a:lnTo>
                      <a:pt x="99053" y="1719"/>
                    </a:lnTo>
                    <a:cubicBezTo>
                      <a:pt x="101659" y="-785"/>
                      <a:pt x="105646" y="-530"/>
                      <a:pt x="107946" y="2332"/>
                    </a:cubicBezTo>
                    <a:cubicBezTo>
                      <a:pt x="110220" y="5195"/>
                      <a:pt x="109990" y="9539"/>
                      <a:pt x="107384" y="12069"/>
                    </a:cubicBezTo>
                    <a:lnTo>
                      <a:pt x="86837" y="31874"/>
                    </a:lnTo>
                    <a:cubicBezTo>
                      <a:pt x="71888" y="46338"/>
                      <a:pt x="59851" y="64584"/>
                      <a:pt x="52031" y="84696"/>
                    </a:cubicBezTo>
                    <a:lnTo>
                      <a:pt x="34398" y="128957"/>
                    </a:lnTo>
                    <a:cubicBezTo>
                      <a:pt x="33376" y="131513"/>
                      <a:pt x="31076" y="133072"/>
                      <a:pt x="28623" y="133072"/>
                    </a:cubicBezTo>
                    <a:close/>
                  </a:path>
                </a:pathLst>
              </a:custGeom>
              <a:solidFill>
                <a:schemeClr val="tx2"/>
              </a:solidFill>
              <a:ln w="255" cap="flat">
                <a:noFill/>
                <a:prstDash val="solid"/>
                <a:miter/>
              </a:ln>
            </p:spPr>
            <p:txBody>
              <a:bodyPr rtlCol="0" anchor="ctr"/>
              <a:lstStyle/>
              <a:p>
                <a:endParaRPr lang="en-GB" dirty="0"/>
              </a:p>
            </p:txBody>
          </p:sp>
          <p:sp>
            <p:nvSpPr>
              <p:cNvPr id="274" name="Freihandform: Form 529">
                <a:extLst>
                  <a:ext uri="{FF2B5EF4-FFF2-40B4-BE49-F238E27FC236}">
                    <a16:creationId xmlns:a16="http://schemas.microsoft.com/office/drawing/2014/main" id="{E23E141C-464E-426F-A9A6-77360DD350A9}"/>
                  </a:ext>
                </a:extLst>
              </p:cNvPr>
              <p:cNvSpPr/>
              <p:nvPr/>
            </p:nvSpPr>
            <p:spPr>
              <a:xfrm>
                <a:off x="7965050" y="4325038"/>
                <a:ext cx="73770" cy="77068"/>
              </a:xfrm>
              <a:custGeom>
                <a:avLst/>
                <a:gdLst>
                  <a:gd name="connsiteX0" fmla="*/ 67461 w 73770"/>
                  <a:gd name="connsiteY0" fmla="*/ 77069 h 77068"/>
                  <a:gd name="connsiteX1" fmla="*/ 63576 w 73770"/>
                  <a:gd name="connsiteY1" fmla="*/ 75586 h 77068"/>
                  <a:gd name="connsiteX2" fmla="*/ 54734 w 73770"/>
                  <a:gd name="connsiteY2" fmla="*/ 67894 h 77068"/>
                  <a:gd name="connsiteX3" fmla="*/ 20925 w 73770"/>
                  <a:gd name="connsiteY3" fmla="*/ 53711 h 77068"/>
                  <a:gd name="connsiteX4" fmla="*/ 1375 w 73770"/>
                  <a:gd name="connsiteY4" fmla="*/ 31606 h 77068"/>
                  <a:gd name="connsiteX5" fmla="*/ 4646 w 73770"/>
                  <a:gd name="connsiteY5" fmla="*/ 4978 h 77068"/>
                  <a:gd name="connsiteX6" fmla="*/ 5796 w 73770"/>
                  <a:gd name="connsiteY6" fmla="*/ 3087 h 77068"/>
                  <a:gd name="connsiteX7" fmla="*/ 13080 w 73770"/>
                  <a:gd name="connsiteY7" fmla="*/ 378 h 77068"/>
                  <a:gd name="connsiteX8" fmla="*/ 49700 w 73770"/>
                  <a:gd name="connsiteY8" fmla="*/ 14229 h 77068"/>
                  <a:gd name="connsiteX9" fmla="*/ 53584 w 73770"/>
                  <a:gd name="connsiteY9" fmla="*/ 22994 h 77068"/>
                  <a:gd name="connsiteX10" fmla="*/ 45586 w 73770"/>
                  <a:gd name="connsiteY10" fmla="*/ 27236 h 77068"/>
                  <a:gd name="connsiteX11" fmla="*/ 13846 w 73770"/>
                  <a:gd name="connsiteY11" fmla="*/ 15225 h 77068"/>
                  <a:gd name="connsiteX12" fmla="*/ 13361 w 73770"/>
                  <a:gd name="connsiteY12" fmla="*/ 27415 h 77068"/>
                  <a:gd name="connsiteX13" fmla="*/ 25448 w 73770"/>
                  <a:gd name="connsiteY13" fmla="*/ 40883 h 77068"/>
                  <a:gd name="connsiteX14" fmla="*/ 60126 w 73770"/>
                  <a:gd name="connsiteY14" fmla="*/ 55423 h 77068"/>
                  <a:gd name="connsiteX15" fmla="*/ 61787 w 73770"/>
                  <a:gd name="connsiteY15" fmla="*/ 56446 h 77068"/>
                  <a:gd name="connsiteX16" fmla="*/ 71396 w 73770"/>
                  <a:gd name="connsiteY16" fmla="*/ 64802 h 77068"/>
                  <a:gd name="connsiteX17" fmla="*/ 72418 w 73770"/>
                  <a:gd name="connsiteY17" fmla="*/ 74462 h 77068"/>
                  <a:gd name="connsiteX18" fmla="*/ 67461 w 73770"/>
                  <a:gd name="connsiteY18" fmla="*/ 77069 h 77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770" h="77068">
                    <a:moveTo>
                      <a:pt x="67461" y="77069"/>
                    </a:moveTo>
                    <a:cubicBezTo>
                      <a:pt x="66106" y="77069"/>
                      <a:pt x="64726" y="76583"/>
                      <a:pt x="63576" y="75586"/>
                    </a:cubicBezTo>
                    <a:lnTo>
                      <a:pt x="54734" y="67894"/>
                    </a:lnTo>
                    <a:lnTo>
                      <a:pt x="20925" y="53711"/>
                    </a:lnTo>
                    <a:cubicBezTo>
                      <a:pt x="11418" y="49648"/>
                      <a:pt x="4314" y="41598"/>
                      <a:pt x="1375" y="31606"/>
                    </a:cubicBezTo>
                    <a:cubicBezTo>
                      <a:pt x="-1257" y="22585"/>
                      <a:pt x="-81" y="12874"/>
                      <a:pt x="4646" y="4978"/>
                    </a:cubicBezTo>
                    <a:lnTo>
                      <a:pt x="5796" y="3087"/>
                    </a:lnTo>
                    <a:cubicBezTo>
                      <a:pt x="7381" y="455"/>
                      <a:pt x="10396" y="-644"/>
                      <a:pt x="13080" y="378"/>
                    </a:cubicBezTo>
                    <a:lnTo>
                      <a:pt x="49700" y="14229"/>
                    </a:lnTo>
                    <a:cubicBezTo>
                      <a:pt x="52971" y="15481"/>
                      <a:pt x="54709" y="19391"/>
                      <a:pt x="53584" y="22994"/>
                    </a:cubicBezTo>
                    <a:cubicBezTo>
                      <a:pt x="52434" y="26572"/>
                      <a:pt x="48857" y="28489"/>
                      <a:pt x="45586" y="27236"/>
                    </a:cubicBezTo>
                    <a:lnTo>
                      <a:pt x="13846" y="15225"/>
                    </a:lnTo>
                    <a:cubicBezTo>
                      <a:pt x="12338" y="19059"/>
                      <a:pt x="12160" y="23275"/>
                      <a:pt x="13361" y="27415"/>
                    </a:cubicBezTo>
                    <a:cubicBezTo>
                      <a:pt x="15124" y="33446"/>
                      <a:pt x="19545" y="38353"/>
                      <a:pt x="25448" y="40883"/>
                    </a:cubicBezTo>
                    <a:lnTo>
                      <a:pt x="60126" y="55423"/>
                    </a:lnTo>
                    <a:cubicBezTo>
                      <a:pt x="60740" y="55654"/>
                      <a:pt x="61302" y="56011"/>
                      <a:pt x="61787" y="56446"/>
                    </a:cubicBezTo>
                    <a:lnTo>
                      <a:pt x="71396" y="64802"/>
                    </a:lnTo>
                    <a:cubicBezTo>
                      <a:pt x="74105" y="67153"/>
                      <a:pt x="74565" y="71498"/>
                      <a:pt x="72418" y="74462"/>
                    </a:cubicBezTo>
                    <a:cubicBezTo>
                      <a:pt x="71166" y="76174"/>
                      <a:pt x="69326" y="77069"/>
                      <a:pt x="67461" y="77069"/>
                    </a:cubicBezTo>
                    <a:close/>
                  </a:path>
                </a:pathLst>
              </a:custGeom>
              <a:solidFill>
                <a:schemeClr val="tx2"/>
              </a:solidFill>
              <a:ln w="255" cap="flat">
                <a:noFill/>
                <a:prstDash val="solid"/>
                <a:miter/>
              </a:ln>
            </p:spPr>
            <p:txBody>
              <a:bodyPr rtlCol="0" anchor="ctr"/>
              <a:lstStyle/>
              <a:p>
                <a:endParaRPr lang="en-GB" dirty="0"/>
              </a:p>
            </p:txBody>
          </p:sp>
          <p:sp>
            <p:nvSpPr>
              <p:cNvPr id="275" name="Freihandform: Form 530">
                <a:extLst>
                  <a:ext uri="{FF2B5EF4-FFF2-40B4-BE49-F238E27FC236}">
                    <a16:creationId xmlns:a16="http://schemas.microsoft.com/office/drawing/2014/main" id="{C21376C6-8774-4C6F-A6F8-AA70265CAAF8}"/>
                  </a:ext>
                </a:extLst>
              </p:cNvPr>
              <p:cNvSpPr/>
              <p:nvPr/>
            </p:nvSpPr>
            <p:spPr>
              <a:xfrm>
                <a:off x="7969548" y="4363783"/>
                <a:ext cx="61889" cy="69883"/>
              </a:xfrm>
              <a:custGeom>
                <a:avLst/>
                <a:gdLst>
                  <a:gd name="connsiteX0" fmla="*/ 55603 w 61889"/>
                  <a:gd name="connsiteY0" fmla="*/ 69884 h 69883"/>
                  <a:gd name="connsiteX1" fmla="*/ 53048 w 61889"/>
                  <a:gd name="connsiteY1" fmla="*/ 69296 h 69883"/>
                  <a:gd name="connsiteX2" fmla="*/ 20644 w 61889"/>
                  <a:gd name="connsiteY2" fmla="*/ 53605 h 69883"/>
                  <a:gd name="connsiteX3" fmla="*/ 1375 w 61889"/>
                  <a:gd name="connsiteY3" fmla="*/ 31628 h 69883"/>
                  <a:gd name="connsiteX4" fmla="*/ 4646 w 61889"/>
                  <a:gd name="connsiteY4" fmla="*/ 5000 h 69883"/>
                  <a:gd name="connsiteX5" fmla="*/ 5771 w 61889"/>
                  <a:gd name="connsiteY5" fmla="*/ 3109 h 69883"/>
                  <a:gd name="connsiteX6" fmla="*/ 13105 w 61889"/>
                  <a:gd name="connsiteY6" fmla="*/ 374 h 69883"/>
                  <a:gd name="connsiteX7" fmla="*/ 49700 w 61889"/>
                  <a:gd name="connsiteY7" fmla="*/ 14250 h 69883"/>
                  <a:gd name="connsiteX8" fmla="*/ 53584 w 61889"/>
                  <a:gd name="connsiteY8" fmla="*/ 23016 h 69883"/>
                  <a:gd name="connsiteX9" fmla="*/ 45586 w 61889"/>
                  <a:gd name="connsiteY9" fmla="*/ 27258 h 69883"/>
                  <a:gd name="connsiteX10" fmla="*/ 13846 w 61889"/>
                  <a:gd name="connsiteY10" fmla="*/ 15247 h 69883"/>
                  <a:gd name="connsiteX11" fmla="*/ 13361 w 61889"/>
                  <a:gd name="connsiteY11" fmla="*/ 27411 h 69883"/>
                  <a:gd name="connsiteX12" fmla="*/ 25448 w 61889"/>
                  <a:gd name="connsiteY12" fmla="*/ 40879 h 69883"/>
                  <a:gd name="connsiteX13" fmla="*/ 58133 w 61889"/>
                  <a:gd name="connsiteY13" fmla="*/ 56697 h 69883"/>
                  <a:gd name="connsiteX14" fmla="*/ 61353 w 61889"/>
                  <a:gd name="connsiteY14" fmla="*/ 65770 h 69883"/>
                  <a:gd name="connsiteX15" fmla="*/ 55603 w 61889"/>
                  <a:gd name="connsiteY15" fmla="*/ 69884 h 69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889" h="69883">
                    <a:moveTo>
                      <a:pt x="55603" y="69884"/>
                    </a:moveTo>
                    <a:cubicBezTo>
                      <a:pt x="54734" y="69884"/>
                      <a:pt x="53891" y="69679"/>
                      <a:pt x="53048" y="69296"/>
                    </a:cubicBezTo>
                    <a:lnTo>
                      <a:pt x="20644" y="53605"/>
                    </a:lnTo>
                    <a:cubicBezTo>
                      <a:pt x="11418" y="49670"/>
                      <a:pt x="4289" y="41620"/>
                      <a:pt x="1375" y="31628"/>
                    </a:cubicBezTo>
                    <a:cubicBezTo>
                      <a:pt x="-1257" y="22582"/>
                      <a:pt x="-81" y="12896"/>
                      <a:pt x="4646" y="5000"/>
                    </a:cubicBezTo>
                    <a:lnTo>
                      <a:pt x="5771" y="3109"/>
                    </a:lnTo>
                    <a:cubicBezTo>
                      <a:pt x="7355" y="476"/>
                      <a:pt x="10371" y="-648"/>
                      <a:pt x="13105" y="374"/>
                    </a:cubicBezTo>
                    <a:lnTo>
                      <a:pt x="49700" y="14250"/>
                    </a:lnTo>
                    <a:cubicBezTo>
                      <a:pt x="52971" y="15477"/>
                      <a:pt x="54709" y="19413"/>
                      <a:pt x="53584" y="23016"/>
                    </a:cubicBezTo>
                    <a:cubicBezTo>
                      <a:pt x="52434" y="26594"/>
                      <a:pt x="48882" y="28485"/>
                      <a:pt x="45586" y="27258"/>
                    </a:cubicBezTo>
                    <a:lnTo>
                      <a:pt x="13846" y="15247"/>
                    </a:lnTo>
                    <a:cubicBezTo>
                      <a:pt x="12339" y="19055"/>
                      <a:pt x="12160" y="23297"/>
                      <a:pt x="13361" y="27411"/>
                    </a:cubicBezTo>
                    <a:cubicBezTo>
                      <a:pt x="15124" y="33442"/>
                      <a:pt x="19519" y="38349"/>
                      <a:pt x="25448" y="40879"/>
                    </a:cubicBezTo>
                    <a:lnTo>
                      <a:pt x="58133" y="56697"/>
                    </a:lnTo>
                    <a:cubicBezTo>
                      <a:pt x="61302" y="58231"/>
                      <a:pt x="62759" y="62294"/>
                      <a:pt x="61353" y="65770"/>
                    </a:cubicBezTo>
                    <a:cubicBezTo>
                      <a:pt x="60305" y="68350"/>
                      <a:pt x="58005" y="69884"/>
                      <a:pt x="55603" y="69884"/>
                    </a:cubicBezTo>
                    <a:close/>
                  </a:path>
                </a:pathLst>
              </a:custGeom>
              <a:solidFill>
                <a:schemeClr val="tx2"/>
              </a:solidFill>
              <a:ln w="255" cap="flat">
                <a:noFill/>
                <a:prstDash val="solid"/>
                <a:miter/>
              </a:ln>
            </p:spPr>
            <p:txBody>
              <a:bodyPr rtlCol="0" anchor="ctr"/>
              <a:lstStyle/>
              <a:p>
                <a:endParaRPr lang="en-GB" dirty="0"/>
              </a:p>
            </p:txBody>
          </p:sp>
          <p:sp>
            <p:nvSpPr>
              <p:cNvPr id="276" name="Freihandform: Form 531">
                <a:extLst>
                  <a:ext uri="{FF2B5EF4-FFF2-40B4-BE49-F238E27FC236}">
                    <a16:creationId xmlns:a16="http://schemas.microsoft.com/office/drawing/2014/main" id="{CB3AEE1B-EA7F-4379-BA71-64365EFDF919}"/>
                  </a:ext>
                </a:extLst>
              </p:cNvPr>
              <p:cNvSpPr/>
              <p:nvPr/>
            </p:nvSpPr>
            <p:spPr>
              <a:xfrm>
                <a:off x="8092762" y="4456061"/>
                <a:ext cx="17485" cy="16168"/>
              </a:xfrm>
              <a:custGeom>
                <a:avLst/>
                <a:gdLst>
                  <a:gd name="connsiteX0" fmla="*/ 11175 w 17485"/>
                  <a:gd name="connsiteY0" fmla="*/ 16168 h 16168"/>
                  <a:gd name="connsiteX1" fmla="*/ 8620 w 17485"/>
                  <a:gd name="connsiteY1" fmla="*/ 15581 h 16168"/>
                  <a:gd name="connsiteX2" fmla="*/ 3713 w 17485"/>
                  <a:gd name="connsiteY2" fmla="*/ 13153 h 16168"/>
                  <a:gd name="connsiteX3" fmla="*/ 545 w 17485"/>
                  <a:gd name="connsiteY3" fmla="*/ 4055 h 16168"/>
                  <a:gd name="connsiteX4" fmla="*/ 8876 w 17485"/>
                  <a:gd name="connsiteY4" fmla="*/ 605 h 16168"/>
                  <a:gd name="connsiteX5" fmla="*/ 13782 w 17485"/>
                  <a:gd name="connsiteY5" fmla="*/ 3008 h 16168"/>
                  <a:gd name="connsiteX6" fmla="*/ 16925 w 17485"/>
                  <a:gd name="connsiteY6" fmla="*/ 12105 h 16168"/>
                  <a:gd name="connsiteX7" fmla="*/ 11175 w 17485"/>
                  <a:gd name="connsiteY7" fmla="*/ 16168 h 16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85" h="16168">
                    <a:moveTo>
                      <a:pt x="11175" y="16168"/>
                    </a:moveTo>
                    <a:cubicBezTo>
                      <a:pt x="10332" y="16168"/>
                      <a:pt x="9463" y="15989"/>
                      <a:pt x="8620" y="15581"/>
                    </a:cubicBezTo>
                    <a:lnTo>
                      <a:pt x="3713" y="13153"/>
                    </a:lnTo>
                    <a:cubicBezTo>
                      <a:pt x="545" y="11594"/>
                      <a:pt x="-861" y="7531"/>
                      <a:pt x="545" y="4055"/>
                    </a:cubicBezTo>
                    <a:cubicBezTo>
                      <a:pt x="1976" y="605"/>
                      <a:pt x="5681" y="-953"/>
                      <a:pt x="8876" y="605"/>
                    </a:cubicBezTo>
                    <a:lnTo>
                      <a:pt x="13782" y="3008"/>
                    </a:lnTo>
                    <a:cubicBezTo>
                      <a:pt x="16951" y="4566"/>
                      <a:pt x="18357" y="8655"/>
                      <a:pt x="16925" y="12105"/>
                    </a:cubicBezTo>
                    <a:cubicBezTo>
                      <a:pt x="15878" y="14661"/>
                      <a:pt x="13603" y="16168"/>
                      <a:pt x="11175" y="16168"/>
                    </a:cubicBezTo>
                    <a:close/>
                  </a:path>
                </a:pathLst>
              </a:custGeom>
              <a:solidFill>
                <a:schemeClr val="tx2"/>
              </a:solidFill>
              <a:ln w="255" cap="flat">
                <a:noFill/>
                <a:prstDash val="solid"/>
                <a:miter/>
              </a:ln>
            </p:spPr>
            <p:txBody>
              <a:bodyPr rtlCol="0" anchor="ctr"/>
              <a:lstStyle/>
              <a:p>
                <a:endParaRPr lang="en-GB" dirty="0"/>
              </a:p>
            </p:txBody>
          </p:sp>
          <p:sp>
            <p:nvSpPr>
              <p:cNvPr id="277" name="Freihandform: Form 532">
                <a:extLst>
                  <a:ext uri="{FF2B5EF4-FFF2-40B4-BE49-F238E27FC236}">
                    <a16:creationId xmlns:a16="http://schemas.microsoft.com/office/drawing/2014/main" id="{5C1611B4-B8F2-4EA6-8530-3905F63C2CAB}"/>
                  </a:ext>
                </a:extLst>
              </p:cNvPr>
              <p:cNvSpPr/>
              <p:nvPr/>
            </p:nvSpPr>
            <p:spPr>
              <a:xfrm>
                <a:off x="7990623" y="4252203"/>
                <a:ext cx="205065" cy="97286"/>
              </a:xfrm>
              <a:custGeom>
                <a:avLst/>
                <a:gdLst>
                  <a:gd name="connsiteX0" fmla="*/ 145181 w 205065"/>
                  <a:gd name="connsiteY0" fmla="*/ 97286 h 97286"/>
                  <a:gd name="connsiteX1" fmla="*/ 99642 w 205065"/>
                  <a:gd name="connsiteY1" fmla="*/ 78912 h 97286"/>
                  <a:gd name="connsiteX2" fmla="*/ 15822 w 205065"/>
                  <a:gd name="connsiteY2" fmla="*/ 16072 h 97286"/>
                  <a:gd name="connsiteX3" fmla="*/ 12704 w 205065"/>
                  <a:gd name="connsiteY3" fmla="*/ 29974 h 97286"/>
                  <a:gd name="connsiteX4" fmla="*/ 21904 w 205065"/>
                  <a:gd name="connsiteY4" fmla="*/ 45793 h 97286"/>
                  <a:gd name="connsiteX5" fmla="*/ 23642 w 205065"/>
                  <a:gd name="connsiteY5" fmla="*/ 55325 h 97286"/>
                  <a:gd name="connsiteX6" fmla="*/ 14928 w 205065"/>
                  <a:gd name="connsiteY6" fmla="*/ 57242 h 97286"/>
                  <a:gd name="connsiteX7" fmla="*/ 233 w 205065"/>
                  <a:gd name="connsiteY7" fmla="*/ 31610 h 97286"/>
                  <a:gd name="connsiteX8" fmla="*/ 8539 w 205065"/>
                  <a:gd name="connsiteY8" fmla="*/ 4011 h 97286"/>
                  <a:gd name="connsiteX9" fmla="*/ 10072 w 205065"/>
                  <a:gd name="connsiteY9" fmla="*/ 2222 h 97286"/>
                  <a:gd name="connsiteX10" fmla="*/ 18250 w 205065"/>
                  <a:gd name="connsiteY10" fmla="*/ 1199 h 97286"/>
                  <a:gd name="connsiteX11" fmla="*/ 106823 w 205065"/>
                  <a:gd name="connsiteY11" fmla="*/ 67591 h 97286"/>
                  <a:gd name="connsiteX12" fmla="*/ 148401 w 205065"/>
                  <a:gd name="connsiteY12" fmla="*/ 83410 h 97286"/>
                  <a:gd name="connsiteX13" fmla="*/ 198438 w 205065"/>
                  <a:gd name="connsiteY13" fmla="*/ 80522 h 97286"/>
                  <a:gd name="connsiteX14" fmla="*/ 205057 w 205065"/>
                  <a:gd name="connsiteY14" fmla="*/ 87039 h 97286"/>
                  <a:gd name="connsiteX15" fmla="*/ 199102 w 205065"/>
                  <a:gd name="connsiteY15" fmla="*/ 94296 h 97286"/>
                  <a:gd name="connsiteX16" fmla="*/ 149066 w 205065"/>
                  <a:gd name="connsiteY16" fmla="*/ 97158 h 97286"/>
                  <a:gd name="connsiteX17" fmla="*/ 145181 w 205065"/>
                  <a:gd name="connsiteY17" fmla="*/ 97286 h 9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5065" h="97286">
                    <a:moveTo>
                      <a:pt x="145181" y="97286"/>
                    </a:moveTo>
                    <a:cubicBezTo>
                      <a:pt x="129848" y="97286"/>
                      <a:pt x="116355" y="91792"/>
                      <a:pt x="99642" y="78912"/>
                    </a:cubicBezTo>
                    <a:lnTo>
                      <a:pt x="15822" y="16072"/>
                    </a:lnTo>
                    <a:cubicBezTo>
                      <a:pt x="13266" y="20238"/>
                      <a:pt x="12168" y="25042"/>
                      <a:pt x="12704" y="29974"/>
                    </a:cubicBezTo>
                    <a:cubicBezTo>
                      <a:pt x="13394" y="36261"/>
                      <a:pt x="16742" y="42036"/>
                      <a:pt x="21904" y="45793"/>
                    </a:cubicBezTo>
                    <a:cubicBezTo>
                      <a:pt x="24792" y="47888"/>
                      <a:pt x="25584" y="52156"/>
                      <a:pt x="23642" y="55325"/>
                    </a:cubicBezTo>
                    <a:cubicBezTo>
                      <a:pt x="21725" y="58494"/>
                      <a:pt x="17815" y="59337"/>
                      <a:pt x="14928" y="57242"/>
                    </a:cubicBezTo>
                    <a:cubicBezTo>
                      <a:pt x="6699" y="51236"/>
                      <a:pt x="1358" y="41909"/>
                      <a:pt x="233" y="31610"/>
                    </a:cubicBezTo>
                    <a:cubicBezTo>
                      <a:pt x="-891" y="21490"/>
                      <a:pt x="2073" y="11702"/>
                      <a:pt x="8539" y="4011"/>
                    </a:cubicBezTo>
                    <a:lnTo>
                      <a:pt x="10072" y="2222"/>
                    </a:lnTo>
                    <a:cubicBezTo>
                      <a:pt x="12193" y="-308"/>
                      <a:pt x="15669" y="-717"/>
                      <a:pt x="18250" y="1199"/>
                    </a:cubicBezTo>
                    <a:lnTo>
                      <a:pt x="106823" y="67591"/>
                    </a:lnTo>
                    <a:cubicBezTo>
                      <a:pt x="122668" y="79807"/>
                      <a:pt x="134269" y="84304"/>
                      <a:pt x="148401" y="83410"/>
                    </a:cubicBezTo>
                    <a:lnTo>
                      <a:pt x="198438" y="80522"/>
                    </a:lnTo>
                    <a:cubicBezTo>
                      <a:pt x="201862" y="80215"/>
                      <a:pt x="204878" y="83256"/>
                      <a:pt x="205057" y="87039"/>
                    </a:cubicBezTo>
                    <a:cubicBezTo>
                      <a:pt x="205236" y="90846"/>
                      <a:pt x="202578" y="94092"/>
                      <a:pt x="199102" y="94296"/>
                    </a:cubicBezTo>
                    <a:lnTo>
                      <a:pt x="149066" y="97158"/>
                    </a:lnTo>
                    <a:cubicBezTo>
                      <a:pt x="147762" y="97235"/>
                      <a:pt x="146459" y="97286"/>
                      <a:pt x="145181" y="97286"/>
                    </a:cubicBezTo>
                    <a:close/>
                  </a:path>
                </a:pathLst>
              </a:custGeom>
              <a:solidFill>
                <a:schemeClr val="tx2"/>
              </a:solidFill>
              <a:ln w="255" cap="flat">
                <a:noFill/>
                <a:prstDash val="solid"/>
                <a:miter/>
              </a:ln>
            </p:spPr>
            <p:txBody>
              <a:bodyPr rtlCol="0" anchor="ctr"/>
              <a:lstStyle/>
              <a:p>
                <a:endParaRPr lang="en-GB" dirty="0"/>
              </a:p>
            </p:txBody>
          </p:sp>
        </p:grpSp>
        <p:grpSp>
          <p:nvGrpSpPr>
            <p:cNvPr id="261" name="Graphic 10">
              <a:extLst>
                <a:ext uri="{FF2B5EF4-FFF2-40B4-BE49-F238E27FC236}">
                  <a16:creationId xmlns:a16="http://schemas.microsoft.com/office/drawing/2014/main" id="{F1F8A8EB-75F8-4A3A-94DB-F544B814CD26}"/>
                </a:ext>
              </a:extLst>
            </p:cNvPr>
            <p:cNvGrpSpPr/>
            <p:nvPr/>
          </p:nvGrpSpPr>
          <p:grpSpPr>
            <a:xfrm>
              <a:off x="7813657" y="4365588"/>
              <a:ext cx="300810" cy="396281"/>
              <a:chOff x="7813657" y="4365588"/>
              <a:chExt cx="300810" cy="396281"/>
            </a:xfrm>
            <a:solidFill>
              <a:schemeClr val="accent1"/>
            </a:solidFill>
          </p:grpSpPr>
          <p:grpSp>
            <p:nvGrpSpPr>
              <p:cNvPr id="262" name="Graphic 10">
                <a:extLst>
                  <a:ext uri="{FF2B5EF4-FFF2-40B4-BE49-F238E27FC236}">
                    <a16:creationId xmlns:a16="http://schemas.microsoft.com/office/drawing/2014/main" id="{DCB832B9-F6D8-43A9-9414-5A05BBE55A8D}"/>
                  </a:ext>
                </a:extLst>
              </p:cNvPr>
              <p:cNvGrpSpPr/>
              <p:nvPr/>
            </p:nvGrpSpPr>
            <p:grpSpPr>
              <a:xfrm>
                <a:off x="7813657" y="4490173"/>
                <a:ext cx="261795" cy="234999"/>
                <a:chOff x="7813657" y="4490173"/>
                <a:chExt cx="261795" cy="234999"/>
              </a:xfrm>
              <a:solidFill>
                <a:schemeClr val="accent1"/>
              </a:solidFill>
            </p:grpSpPr>
            <p:sp>
              <p:nvSpPr>
                <p:cNvPr id="268" name="Freihandform: Form 535">
                  <a:extLst>
                    <a:ext uri="{FF2B5EF4-FFF2-40B4-BE49-F238E27FC236}">
                      <a16:creationId xmlns:a16="http://schemas.microsoft.com/office/drawing/2014/main" id="{45EBA21F-4D09-474D-BE56-828D4E0FAC72}"/>
                    </a:ext>
                  </a:extLst>
                </p:cNvPr>
                <p:cNvSpPr/>
                <p:nvPr/>
              </p:nvSpPr>
              <p:spPr>
                <a:xfrm>
                  <a:off x="7975388" y="4521845"/>
                  <a:ext cx="100063" cy="124798"/>
                </a:xfrm>
                <a:custGeom>
                  <a:avLst/>
                  <a:gdLst>
                    <a:gd name="connsiteX0" fmla="*/ 61774 w 100063"/>
                    <a:gd name="connsiteY0" fmla="*/ 124798 h 124798"/>
                    <a:gd name="connsiteX1" fmla="*/ 56816 w 100063"/>
                    <a:gd name="connsiteY1" fmla="*/ 124133 h 124798"/>
                    <a:gd name="connsiteX2" fmla="*/ 29089 w 100063"/>
                    <a:gd name="connsiteY2" fmla="*/ 116467 h 124798"/>
                    <a:gd name="connsiteX3" fmla="*/ 24540 w 100063"/>
                    <a:gd name="connsiteY3" fmla="*/ 108111 h 124798"/>
                    <a:gd name="connsiteX4" fmla="*/ 32181 w 100063"/>
                    <a:gd name="connsiteY4" fmla="*/ 103102 h 124798"/>
                    <a:gd name="connsiteX5" fmla="*/ 59882 w 100063"/>
                    <a:gd name="connsiteY5" fmla="*/ 110768 h 124798"/>
                    <a:gd name="connsiteX6" fmla="*/ 65965 w 100063"/>
                    <a:gd name="connsiteY6" fmla="*/ 109695 h 124798"/>
                    <a:gd name="connsiteX7" fmla="*/ 69415 w 100063"/>
                    <a:gd name="connsiteY7" fmla="*/ 104124 h 124798"/>
                    <a:gd name="connsiteX8" fmla="*/ 71178 w 100063"/>
                    <a:gd name="connsiteY8" fmla="*/ 94081 h 124798"/>
                    <a:gd name="connsiteX9" fmla="*/ 65454 w 100063"/>
                    <a:gd name="connsiteY9" fmla="*/ 84217 h 124798"/>
                    <a:gd name="connsiteX10" fmla="*/ 25869 w 100063"/>
                    <a:gd name="connsiteY10" fmla="*/ 71439 h 124798"/>
                    <a:gd name="connsiteX11" fmla="*/ 21627 w 100063"/>
                    <a:gd name="connsiteY11" fmla="*/ 62878 h 124798"/>
                    <a:gd name="connsiteX12" fmla="*/ 29421 w 100063"/>
                    <a:gd name="connsiteY12" fmla="*/ 58227 h 124798"/>
                    <a:gd name="connsiteX13" fmla="*/ 74193 w 100063"/>
                    <a:gd name="connsiteY13" fmla="*/ 72589 h 124798"/>
                    <a:gd name="connsiteX14" fmla="*/ 83342 w 100063"/>
                    <a:gd name="connsiteY14" fmla="*/ 66737 h 124798"/>
                    <a:gd name="connsiteX15" fmla="*/ 87124 w 100063"/>
                    <a:gd name="connsiteY15" fmla="*/ 53142 h 124798"/>
                    <a:gd name="connsiteX16" fmla="*/ 82218 w 100063"/>
                    <a:gd name="connsiteY16" fmla="*/ 42588 h 124798"/>
                    <a:gd name="connsiteX17" fmla="*/ 4249 w 100063"/>
                    <a:gd name="connsiteY17" fmla="*/ 13404 h 124798"/>
                    <a:gd name="connsiteX18" fmla="*/ 339 w 100063"/>
                    <a:gd name="connsiteY18" fmla="*/ 4664 h 124798"/>
                    <a:gd name="connsiteX19" fmla="*/ 8338 w 100063"/>
                    <a:gd name="connsiteY19" fmla="*/ 371 h 124798"/>
                    <a:gd name="connsiteX20" fmla="*/ 86281 w 100063"/>
                    <a:gd name="connsiteY20" fmla="*/ 29554 h 124798"/>
                    <a:gd name="connsiteX21" fmla="*/ 99161 w 100063"/>
                    <a:gd name="connsiteY21" fmla="*/ 57154 h 124798"/>
                    <a:gd name="connsiteX22" fmla="*/ 95378 w 100063"/>
                    <a:gd name="connsiteY22" fmla="*/ 70775 h 124798"/>
                    <a:gd name="connsiteX23" fmla="*/ 82805 w 100063"/>
                    <a:gd name="connsiteY23" fmla="*/ 85264 h 124798"/>
                    <a:gd name="connsiteX24" fmla="*/ 83547 w 100063"/>
                    <a:gd name="connsiteY24" fmla="*/ 96662 h 124798"/>
                    <a:gd name="connsiteX25" fmla="*/ 81783 w 100063"/>
                    <a:gd name="connsiteY25" fmla="*/ 106731 h 124798"/>
                    <a:gd name="connsiteX26" fmla="*/ 72711 w 100063"/>
                    <a:gd name="connsiteY26" fmla="*/ 121322 h 124798"/>
                    <a:gd name="connsiteX27" fmla="*/ 61774 w 100063"/>
                    <a:gd name="connsiteY27" fmla="*/ 124798 h 124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0063" h="124798">
                      <a:moveTo>
                        <a:pt x="61774" y="124798"/>
                      </a:moveTo>
                      <a:cubicBezTo>
                        <a:pt x="60113" y="124798"/>
                        <a:pt x="58451" y="124594"/>
                        <a:pt x="56816" y="124133"/>
                      </a:cubicBezTo>
                      <a:lnTo>
                        <a:pt x="29089" y="116467"/>
                      </a:lnTo>
                      <a:cubicBezTo>
                        <a:pt x="25716" y="115547"/>
                        <a:pt x="23697" y="111790"/>
                        <a:pt x="24540" y="108111"/>
                      </a:cubicBezTo>
                      <a:cubicBezTo>
                        <a:pt x="25383" y="104431"/>
                        <a:pt x="28756" y="102182"/>
                        <a:pt x="32181" y="103102"/>
                      </a:cubicBezTo>
                      <a:lnTo>
                        <a:pt x="59882" y="110768"/>
                      </a:lnTo>
                      <a:cubicBezTo>
                        <a:pt x="62004" y="111330"/>
                        <a:pt x="64150" y="110973"/>
                        <a:pt x="65965" y="109695"/>
                      </a:cubicBezTo>
                      <a:cubicBezTo>
                        <a:pt x="67779" y="108443"/>
                        <a:pt x="69031" y="106450"/>
                        <a:pt x="69415" y="104124"/>
                      </a:cubicBezTo>
                      <a:lnTo>
                        <a:pt x="71178" y="94081"/>
                      </a:lnTo>
                      <a:cubicBezTo>
                        <a:pt x="71970" y="89660"/>
                        <a:pt x="69440" y="85316"/>
                        <a:pt x="65454" y="84217"/>
                      </a:cubicBezTo>
                      <a:lnTo>
                        <a:pt x="25869" y="71439"/>
                      </a:lnTo>
                      <a:cubicBezTo>
                        <a:pt x="22547" y="70366"/>
                        <a:pt x="20656" y="66533"/>
                        <a:pt x="21627" y="62878"/>
                      </a:cubicBezTo>
                      <a:cubicBezTo>
                        <a:pt x="22598" y="59249"/>
                        <a:pt x="26099" y="57154"/>
                        <a:pt x="29421" y="58227"/>
                      </a:cubicBezTo>
                      <a:lnTo>
                        <a:pt x="74193" y="72589"/>
                      </a:lnTo>
                      <a:cubicBezTo>
                        <a:pt x="78026" y="73662"/>
                        <a:pt x="82115" y="71107"/>
                        <a:pt x="83342" y="66737"/>
                      </a:cubicBezTo>
                      <a:lnTo>
                        <a:pt x="87124" y="53142"/>
                      </a:lnTo>
                      <a:cubicBezTo>
                        <a:pt x="88351" y="48721"/>
                        <a:pt x="86204" y="44095"/>
                        <a:pt x="82218" y="42588"/>
                      </a:cubicBezTo>
                      <a:lnTo>
                        <a:pt x="4249" y="13404"/>
                      </a:lnTo>
                      <a:cubicBezTo>
                        <a:pt x="978" y="12177"/>
                        <a:pt x="-785" y="8242"/>
                        <a:pt x="339" y="4664"/>
                      </a:cubicBezTo>
                      <a:cubicBezTo>
                        <a:pt x="1464" y="1061"/>
                        <a:pt x="5067" y="-856"/>
                        <a:pt x="8338" y="371"/>
                      </a:cubicBezTo>
                      <a:lnTo>
                        <a:pt x="86281" y="29554"/>
                      </a:lnTo>
                      <a:cubicBezTo>
                        <a:pt x="96733" y="33464"/>
                        <a:pt x="102381" y="45578"/>
                        <a:pt x="99161" y="57154"/>
                      </a:cubicBezTo>
                      <a:lnTo>
                        <a:pt x="95378" y="70775"/>
                      </a:lnTo>
                      <a:cubicBezTo>
                        <a:pt x="93436" y="77751"/>
                        <a:pt x="88658" y="82939"/>
                        <a:pt x="82805" y="85264"/>
                      </a:cubicBezTo>
                      <a:cubicBezTo>
                        <a:pt x="83930" y="88817"/>
                        <a:pt x="84237" y="92726"/>
                        <a:pt x="83547" y="96662"/>
                      </a:cubicBezTo>
                      <a:lnTo>
                        <a:pt x="81783" y="106731"/>
                      </a:lnTo>
                      <a:cubicBezTo>
                        <a:pt x="80735" y="112711"/>
                        <a:pt x="77439" y="118051"/>
                        <a:pt x="72711" y="121322"/>
                      </a:cubicBezTo>
                      <a:cubicBezTo>
                        <a:pt x="69440" y="123622"/>
                        <a:pt x="65607" y="124798"/>
                        <a:pt x="61774" y="124798"/>
                      </a:cubicBezTo>
                      <a:close/>
                    </a:path>
                  </a:pathLst>
                </a:custGeom>
                <a:solidFill>
                  <a:schemeClr val="accent1"/>
                </a:solidFill>
                <a:ln w="255" cap="flat">
                  <a:noFill/>
                  <a:prstDash val="solid"/>
                  <a:miter/>
                </a:ln>
              </p:spPr>
              <p:txBody>
                <a:bodyPr rtlCol="0" anchor="ctr"/>
                <a:lstStyle/>
                <a:p>
                  <a:endParaRPr lang="en-GB" dirty="0"/>
                </a:p>
              </p:txBody>
            </p:sp>
            <p:sp>
              <p:nvSpPr>
                <p:cNvPr id="269" name="Freihandform: Form 536">
                  <a:extLst>
                    <a:ext uri="{FF2B5EF4-FFF2-40B4-BE49-F238E27FC236}">
                      <a16:creationId xmlns:a16="http://schemas.microsoft.com/office/drawing/2014/main" id="{ADF70437-BEC8-4A69-94D4-9E9814350DC4}"/>
                    </a:ext>
                  </a:extLst>
                </p:cNvPr>
                <p:cNvSpPr/>
                <p:nvPr/>
              </p:nvSpPr>
              <p:spPr>
                <a:xfrm>
                  <a:off x="7844464" y="4490173"/>
                  <a:ext cx="171522" cy="39197"/>
                </a:xfrm>
                <a:custGeom>
                  <a:avLst/>
                  <a:gdLst>
                    <a:gd name="connsiteX0" fmla="*/ 36557 w 171522"/>
                    <a:gd name="connsiteY0" fmla="*/ 39197 h 39197"/>
                    <a:gd name="connsiteX1" fmla="*/ 34896 w 171522"/>
                    <a:gd name="connsiteY1" fmla="*/ 38968 h 39197"/>
                    <a:gd name="connsiteX2" fmla="*/ 4634 w 171522"/>
                    <a:gd name="connsiteY2" fmla="*/ 29921 h 39197"/>
                    <a:gd name="connsiteX3" fmla="*/ 223 w 171522"/>
                    <a:gd name="connsiteY3" fmla="*/ 21462 h 39197"/>
                    <a:gd name="connsiteX4" fmla="*/ 7951 w 171522"/>
                    <a:gd name="connsiteY4" fmla="*/ 16632 h 39197"/>
                    <a:gd name="connsiteX5" fmla="*/ 36481 w 171522"/>
                    <a:gd name="connsiteY5" fmla="*/ 25142 h 39197"/>
                    <a:gd name="connsiteX6" fmla="*/ 102157 w 171522"/>
                    <a:gd name="connsiteY6" fmla="*/ 3114 h 39197"/>
                    <a:gd name="connsiteX7" fmla="*/ 120557 w 171522"/>
                    <a:gd name="connsiteY7" fmla="*/ 1044 h 39197"/>
                    <a:gd name="connsiteX8" fmla="*/ 166965 w 171522"/>
                    <a:gd name="connsiteY8" fmla="*/ 15431 h 39197"/>
                    <a:gd name="connsiteX9" fmla="*/ 171283 w 171522"/>
                    <a:gd name="connsiteY9" fmla="*/ 23941 h 39197"/>
                    <a:gd name="connsiteX10" fmla="*/ 163515 w 171522"/>
                    <a:gd name="connsiteY10" fmla="*/ 28694 h 39197"/>
                    <a:gd name="connsiteX11" fmla="*/ 117132 w 171522"/>
                    <a:gd name="connsiteY11" fmla="*/ 14307 h 39197"/>
                    <a:gd name="connsiteX12" fmla="*/ 107652 w 171522"/>
                    <a:gd name="connsiteY12" fmla="*/ 15508 h 39197"/>
                    <a:gd name="connsiteX13" fmla="*/ 106450 w 171522"/>
                    <a:gd name="connsiteY13" fmla="*/ 16096 h 39197"/>
                    <a:gd name="connsiteX14" fmla="*/ 38423 w 171522"/>
                    <a:gd name="connsiteY14" fmla="*/ 38891 h 39197"/>
                    <a:gd name="connsiteX15" fmla="*/ 36557 w 171522"/>
                    <a:gd name="connsiteY15" fmla="*/ 39197 h 39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71522" h="39197">
                      <a:moveTo>
                        <a:pt x="36557" y="39197"/>
                      </a:moveTo>
                      <a:cubicBezTo>
                        <a:pt x="35995" y="39197"/>
                        <a:pt x="35459" y="39121"/>
                        <a:pt x="34896" y="38968"/>
                      </a:cubicBezTo>
                      <a:lnTo>
                        <a:pt x="4634" y="29921"/>
                      </a:lnTo>
                      <a:cubicBezTo>
                        <a:pt x="1287" y="28899"/>
                        <a:pt x="-691" y="25117"/>
                        <a:pt x="223" y="21462"/>
                      </a:cubicBezTo>
                      <a:cubicBezTo>
                        <a:pt x="1138" y="17782"/>
                        <a:pt x="4591" y="15610"/>
                        <a:pt x="7951" y="16632"/>
                      </a:cubicBezTo>
                      <a:lnTo>
                        <a:pt x="36481" y="25142"/>
                      </a:lnTo>
                      <a:lnTo>
                        <a:pt x="102157" y="3114"/>
                      </a:lnTo>
                      <a:cubicBezTo>
                        <a:pt x="107856" y="-132"/>
                        <a:pt x="114372" y="-873"/>
                        <a:pt x="120557" y="1044"/>
                      </a:cubicBezTo>
                      <a:lnTo>
                        <a:pt x="166965" y="15431"/>
                      </a:lnTo>
                      <a:cubicBezTo>
                        <a:pt x="170287" y="16479"/>
                        <a:pt x="172229" y="20287"/>
                        <a:pt x="171283" y="23941"/>
                      </a:cubicBezTo>
                      <a:cubicBezTo>
                        <a:pt x="170338" y="27596"/>
                        <a:pt x="166837" y="29742"/>
                        <a:pt x="163515" y="28694"/>
                      </a:cubicBezTo>
                      <a:lnTo>
                        <a:pt x="117132" y="14307"/>
                      </a:lnTo>
                      <a:cubicBezTo>
                        <a:pt x="113938" y="13310"/>
                        <a:pt x="110565" y="13745"/>
                        <a:pt x="107652" y="15508"/>
                      </a:cubicBezTo>
                      <a:cubicBezTo>
                        <a:pt x="107268" y="15763"/>
                        <a:pt x="106859" y="15942"/>
                        <a:pt x="106450" y="16096"/>
                      </a:cubicBezTo>
                      <a:lnTo>
                        <a:pt x="38423" y="38891"/>
                      </a:lnTo>
                      <a:cubicBezTo>
                        <a:pt x="37810" y="39095"/>
                        <a:pt x="37196" y="39197"/>
                        <a:pt x="36557" y="39197"/>
                      </a:cubicBezTo>
                      <a:close/>
                    </a:path>
                  </a:pathLst>
                </a:custGeom>
                <a:solidFill>
                  <a:schemeClr val="accent1"/>
                </a:solidFill>
                <a:ln w="255" cap="flat">
                  <a:noFill/>
                  <a:prstDash val="solid"/>
                  <a:miter/>
                </a:ln>
              </p:spPr>
              <p:txBody>
                <a:bodyPr rtlCol="0" anchor="ctr"/>
                <a:lstStyle/>
                <a:p>
                  <a:endParaRPr lang="en-GB" dirty="0"/>
                </a:p>
              </p:txBody>
            </p:sp>
            <p:sp>
              <p:nvSpPr>
                <p:cNvPr id="270" name="Freihandform: Form 537">
                  <a:extLst>
                    <a:ext uri="{FF2B5EF4-FFF2-40B4-BE49-F238E27FC236}">
                      <a16:creationId xmlns:a16="http://schemas.microsoft.com/office/drawing/2014/main" id="{E152798C-997B-45D8-94F4-7B6A66347052}"/>
                    </a:ext>
                  </a:extLst>
                </p:cNvPr>
                <p:cNvSpPr/>
                <p:nvPr/>
              </p:nvSpPr>
              <p:spPr>
                <a:xfrm>
                  <a:off x="7813657" y="4649361"/>
                  <a:ext cx="206450" cy="75811"/>
                </a:xfrm>
                <a:custGeom>
                  <a:avLst/>
                  <a:gdLst>
                    <a:gd name="connsiteX0" fmla="*/ 184278 w 206450"/>
                    <a:gd name="connsiteY0" fmla="*/ 75812 h 75811"/>
                    <a:gd name="connsiteX1" fmla="*/ 180496 w 206450"/>
                    <a:gd name="connsiteY1" fmla="*/ 75429 h 75811"/>
                    <a:gd name="connsiteX2" fmla="*/ 75031 w 206450"/>
                    <a:gd name="connsiteY2" fmla="*/ 47318 h 75811"/>
                    <a:gd name="connsiteX3" fmla="*/ 72654 w 206450"/>
                    <a:gd name="connsiteY3" fmla="*/ 46091 h 75811"/>
                    <a:gd name="connsiteX4" fmla="*/ 53335 w 206450"/>
                    <a:gd name="connsiteY4" fmla="*/ 29736 h 75811"/>
                    <a:gd name="connsiteX5" fmla="*/ 4461 w 206450"/>
                    <a:gd name="connsiteY5" fmla="*/ 13483 h 75811"/>
                    <a:gd name="connsiteX6" fmla="*/ 272 w 206450"/>
                    <a:gd name="connsiteY6" fmla="*/ 4897 h 75811"/>
                    <a:gd name="connsiteX7" fmla="*/ 8123 w 206450"/>
                    <a:gd name="connsiteY7" fmla="*/ 297 h 75811"/>
                    <a:gd name="connsiteX8" fmla="*/ 58096 w 206450"/>
                    <a:gd name="connsiteY8" fmla="*/ 16933 h 75811"/>
                    <a:gd name="connsiteX9" fmla="*/ 60109 w 206450"/>
                    <a:gd name="connsiteY9" fmla="*/ 18058 h 75811"/>
                    <a:gd name="connsiteX10" fmla="*/ 79299 w 206450"/>
                    <a:gd name="connsiteY10" fmla="*/ 34285 h 75811"/>
                    <a:gd name="connsiteX11" fmla="*/ 183205 w 206450"/>
                    <a:gd name="connsiteY11" fmla="*/ 61961 h 75811"/>
                    <a:gd name="connsiteX12" fmla="*/ 191306 w 206450"/>
                    <a:gd name="connsiteY12" fmla="*/ 55828 h 75811"/>
                    <a:gd name="connsiteX13" fmla="*/ 193708 w 206450"/>
                    <a:gd name="connsiteY13" fmla="*/ 43332 h 75811"/>
                    <a:gd name="connsiteX14" fmla="*/ 188597 w 206450"/>
                    <a:gd name="connsiteY14" fmla="*/ 34157 h 75811"/>
                    <a:gd name="connsiteX15" fmla="*/ 171041 w 206450"/>
                    <a:gd name="connsiteY15" fmla="*/ 28918 h 75811"/>
                    <a:gd name="connsiteX16" fmla="*/ 166646 w 206450"/>
                    <a:gd name="connsiteY16" fmla="*/ 20460 h 75811"/>
                    <a:gd name="connsiteX17" fmla="*/ 174363 w 206450"/>
                    <a:gd name="connsiteY17" fmla="*/ 15630 h 75811"/>
                    <a:gd name="connsiteX18" fmla="*/ 191920 w 206450"/>
                    <a:gd name="connsiteY18" fmla="*/ 20869 h 75811"/>
                    <a:gd name="connsiteX19" fmla="*/ 206026 w 206450"/>
                    <a:gd name="connsiteY19" fmla="*/ 46194 h 75811"/>
                    <a:gd name="connsiteX20" fmla="*/ 203598 w 206450"/>
                    <a:gd name="connsiteY20" fmla="*/ 58690 h 75811"/>
                    <a:gd name="connsiteX21" fmla="*/ 184278 w 206450"/>
                    <a:gd name="connsiteY21" fmla="*/ 75812 h 75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450" h="75811">
                      <a:moveTo>
                        <a:pt x="184278" y="75812"/>
                      </a:moveTo>
                      <a:cubicBezTo>
                        <a:pt x="183026" y="75812"/>
                        <a:pt x="181774" y="75684"/>
                        <a:pt x="180496" y="75429"/>
                      </a:cubicBezTo>
                      <a:lnTo>
                        <a:pt x="75031" y="47318"/>
                      </a:lnTo>
                      <a:cubicBezTo>
                        <a:pt x="74162" y="47088"/>
                        <a:pt x="73370" y="46679"/>
                        <a:pt x="72654" y="46091"/>
                      </a:cubicBezTo>
                      <a:lnTo>
                        <a:pt x="53335" y="29736"/>
                      </a:lnTo>
                      <a:lnTo>
                        <a:pt x="4461" y="13483"/>
                      </a:lnTo>
                      <a:cubicBezTo>
                        <a:pt x="1138" y="12384"/>
                        <a:pt x="-735" y="8526"/>
                        <a:pt x="272" y="4897"/>
                      </a:cubicBezTo>
                      <a:cubicBezTo>
                        <a:pt x="1279" y="1242"/>
                        <a:pt x="4762" y="-802"/>
                        <a:pt x="8123" y="297"/>
                      </a:cubicBezTo>
                      <a:lnTo>
                        <a:pt x="58096" y="16933"/>
                      </a:lnTo>
                      <a:cubicBezTo>
                        <a:pt x="58821" y="17163"/>
                        <a:pt x="59501" y="17546"/>
                        <a:pt x="60109" y="18058"/>
                      </a:cubicBezTo>
                      <a:lnTo>
                        <a:pt x="79299" y="34285"/>
                      </a:lnTo>
                      <a:lnTo>
                        <a:pt x="183205" y="61961"/>
                      </a:lnTo>
                      <a:cubicBezTo>
                        <a:pt x="186757" y="62728"/>
                        <a:pt x="190488" y="59993"/>
                        <a:pt x="191306" y="55828"/>
                      </a:cubicBezTo>
                      <a:lnTo>
                        <a:pt x="193708" y="43332"/>
                      </a:lnTo>
                      <a:cubicBezTo>
                        <a:pt x="194500" y="39294"/>
                        <a:pt x="192252" y="35256"/>
                        <a:pt x="188597" y="34157"/>
                      </a:cubicBezTo>
                      <a:lnTo>
                        <a:pt x="171041" y="28918"/>
                      </a:lnTo>
                      <a:cubicBezTo>
                        <a:pt x="167693" y="27922"/>
                        <a:pt x="165726" y="24140"/>
                        <a:pt x="166646" y="20460"/>
                      </a:cubicBezTo>
                      <a:cubicBezTo>
                        <a:pt x="167540" y="16780"/>
                        <a:pt x="170990" y="14659"/>
                        <a:pt x="174363" y="15630"/>
                      </a:cubicBezTo>
                      <a:lnTo>
                        <a:pt x="191920" y="20869"/>
                      </a:lnTo>
                      <a:cubicBezTo>
                        <a:pt x="201988" y="23884"/>
                        <a:pt x="208172" y="35000"/>
                        <a:pt x="206026" y="46194"/>
                      </a:cubicBezTo>
                      <a:lnTo>
                        <a:pt x="203598" y="58690"/>
                      </a:lnTo>
                      <a:cubicBezTo>
                        <a:pt x="201656" y="68784"/>
                        <a:pt x="193402" y="75812"/>
                        <a:pt x="184278" y="75812"/>
                      </a:cubicBezTo>
                      <a:close/>
                    </a:path>
                  </a:pathLst>
                </a:custGeom>
                <a:solidFill>
                  <a:schemeClr val="accent1"/>
                </a:solidFill>
                <a:ln w="255" cap="flat">
                  <a:noFill/>
                  <a:prstDash val="solid"/>
                  <a:miter/>
                </a:ln>
              </p:spPr>
              <p:txBody>
                <a:bodyPr rtlCol="0" anchor="ctr"/>
                <a:lstStyle/>
                <a:p>
                  <a:endParaRPr lang="en-GB" dirty="0"/>
                </a:p>
              </p:txBody>
            </p:sp>
            <p:sp>
              <p:nvSpPr>
                <p:cNvPr id="271" name="Freihandform: Form 538">
                  <a:extLst>
                    <a:ext uri="{FF2B5EF4-FFF2-40B4-BE49-F238E27FC236}">
                      <a16:creationId xmlns:a16="http://schemas.microsoft.com/office/drawing/2014/main" id="{64F25958-72C7-42B5-B173-7FAABB1F4B46}"/>
                    </a:ext>
                  </a:extLst>
                </p:cNvPr>
                <p:cNvSpPr/>
                <p:nvPr/>
              </p:nvSpPr>
              <p:spPr>
                <a:xfrm>
                  <a:off x="7987704" y="4622300"/>
                  <a:ext cx="52657" cy="64974"/>
                </a:xfrm>
                <a:custGeom>
                  <a:avLst/>
                  <a:gdLst>
                    <a:gd name="connsiteX0" fmla="*/ 29934 w 52657"/>
                    <a:gd name="connsiteY0" fmla="*/ 64975 h 64974"/>
                    <a:gd name="connsiteX1" fmla="*/ 24772 w 52657"/>
                    <a:gd name="connsiteY1" fmla="*/ 64233 h 64974"/>
                    <a:gd name="connsiteX2" fmla="*/ 4686 w 52657"/>
                    <a:gd name="connsiteY2" fmla="*/ 58407 h 64974"/>
                    <a:gd name="connsiteX3" fmla="*/ 214 w 52657"/>
                    <a:gd name="connsiteY3" fmla="*/ 49999 h 64974"/>
                    <a:gd name="connsiteX4" fmla="*/ 7880 w 52657"/>
                    <a:gd name="connsiteY4" fmla="*/ 45093 h 64974"/>
                    <a:gd name="connsiteX5" fmla="*/ 27992 w 52657"/>
                    <a:gd name="connsiteY5" fmla="*/ 50919 h 64974"/>
                    <a:gd name="connsiteX6" fmla="*/ 34100 w 52657"/>
                    <a:gd name="connsiteY6" fmla="*/ 49897 h 64974"/>
                    <a:gd name="connsiteX7" fmla="*/ 37601 w 52657"/>
                    <a:gd name="connsiteY7" fmla="*/ 44301 h 64974"/>
                    <a:gd name="connsiteX8" fmla="*/ 39952 w 52657"/>
                    <a:gd name="connsiteY8" fmla="*/ 31089 h 64974"/>
                    <a:gd name="connsiteX9" fmla="*/ 34355 w 52657"/>
                    <a:gd name="connsiteY9" fmla="*/ 21250 h 64974"/>
                    <a:gd name="connsiteX10" fmla="*/ 8698 w 52657"/>
                    <a:gd name="connsiteY10" fmla="*/ 13532 h 64974"/>
                    <a:gd name="connsiteX11" fmla="*/ 4277 w 52657"/>
                    <a:gd name="connsiteY11" fmla="*/ 5074 h 64974"/>
                    <a:gd name="connsiteX12" fmla="*/ 12020 w 52657"/>
                    <a:gd name="connsiteY12" fmla="*/ 244 h 64974"/>
                    <a:gd name="connsiteX13" fmla="*/ 37703 w 52657"/>
                    <a:gd name="connsiteY13" fmla="*/ 7987 h 64974"/>
                    <a:gd name="connsiteX14" fmla="*/ 52295 w 52657"/>
                    <a:gd name="connsiteY14" fmla="*/ 33695 h 64974"/>
                    <a:gd name="connsiteX15" fmla="*/ 49944 w 52657"/>
                    <a:gd name="connsiteY15" fmla="*/ 46933 h 64974"/>
                    <a:gd name="connsiteX16" fmla="*/ 40795 w 52657"/>
                    <a:gd name="connsiteY16" fmla="*/ 61550 h 64974"/>
                    <a:gd name="connsiteX17" fmla="*/ 29934 w 52657"/>
                    <a:gd name="connsiteY17" fmla="*/ 64975 h 6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2657" h="64974">
                      <a:moveTo>
                        <a:pt x="29934" y="64975"/>
                      </a:moveTo>
                      <a:cubicBezTo>
                        <a:pt x="28196" y="64975"/>
                        <a:pt x="26459" y="64719"/>
                        <a:pt x="24772" y="64233"/>
                      </a:cubicBezTo>
                      <a:lnTo>
                        <a:pt x="4686" y="58407"/>
                      </a:lnTo>
                      <a:cubicBezTo>
                        <a:pt x="1313" y="57436"/>
                        <a:pt x="-681" y="53679"/>
                        <a:pt x="214" y="49999"/>
                      </a:cubicBezTo>
                      <a:cubicBezTo>
                        <a:pt x="1108" y="46319"/>
                        <a:pt x="4533" y="44122"/>
                        <a:pt x="7880" y="45093"/>
                      </a:cubicBezTo>
                      <a:lnTo>
                        <a:pt x="27992" y="50919"/>
                      </a:lnTo>
                      <a:cubicBezTo>
                        <a:pt x="30062" y="51533"/>
                        <a:pt x="32260" y="51175"/>
                        <a:pt x="34100" y="49897"/>
                      </a:cubicBezTo>
                      <a:cubicBezTo>
                        <a:pt x="35940" y="48619"/>
                        <a:pt x="37192" y="46652"/>
                        <a:pt x="37601" y="44301"/>
                      </a:cubicBezTo>
                      <a:lnTo>
                        <a:pt x="39952" y="31089"/>
                      </a:lnTo>
                      <a:cubicBezTo>
                        <a:pt x="40693" y="26744"/>
                        <a:pt x="38265" y="22426"/>
                        <a:pt x="34355" y="21250"/>
                      </a:cubicBezTo>
                      <a:lnTo>
                        <a:pt x="8698" y="13532"/>
                      </a:lnTo>
                      <a:cubicBezTo>
                        <a:pt x="5325" y="12536"/>
                        <a:pt x="3357" y="8728"/>
                        <a:pt x="4277" y="5074"/>
                      </a:cubicBezTo>
                      <a:cubicBezTo>
                        <a:pt x="5197" y="1394"/>
                        <a:pt x="8647" y="-753"/>
                        <a:pt x="12020" y="244"/>
                      </a:cubicBezTo>
                      <a:lnTo>
                        <a:pt x="37703" y="7987"/>
                      </a:lnTo>
                      <a:cubicBezTo>
                        <a:pt x="47874" y="11028"/>
                        <a:pt x="54288" y="22323"/>
                        <a:pt x="52295" y="33695"/>
                      </a:cubicBezTo>
                      <a:lnTo>
                        <a:pt x="49944" y="46933"/>
                      </a:lnTo>
                      <a:cubicBezTo>
                        <a:pt x="48896" y="52964"/>
                        <a:pt x="45548" y="58279"/>
                        <a:pt x="40795" y="61550"/>
                      </a:cubicBezTo>
                      <a:cubicBezTo>
                        <a:pt x="37524" y="63799"/>
                        <a:pt x="33742" y="64975"/>
                        <a:pt x="29934" y="64975"/>
                      </a:cubicBezTo>
                      <a:close/>
                    </a:path>
                  </a:pathLst>
                </a:custGeom>
                <a:solidFill>
                  <a:schemeClr val="accent1"/>
                </a:solidFill>
                <a:ln w="255" cap="flat">
                  <a:noFill/>
                  <a:prstDash val="solid"/>
                  <a:miter/>
                </a:ln>
              </p:spPr>
              <p:txBody>
                <a:bodyPr rtlCol="0" anchor="ctr"/>
                <a:lstStyle/>
                <a:p>
                  <a:endParaRPr lang="en-GB" dirty="0"/>
                </a:p>
              </p:txBody>
            </p:sp>
          </p:grpSp>
          <p:grpSp>
            <p:nvGrpSpPr>
              <p:cNvPr id="263" name="Graphic 10">
                <a:extLst>
                  <a:ext uri="{FF2B5EF4-FFF2-40B4-BE49-F238E27FC236}">
                    <a16:creationId xmlns:a16="http://schemas.microsoft.com/office/drawing/2014/main" id="{7CE6B7EE-6601-4C1D-924A-178186C8783D}"/>
                  </a:ext>
                </a:extLst>
              </p:cNvPr>
              <p:cNvGrpSpPr/>
              <p:nvPr/>
            </p:nvGrpSpPr>
            <p:grpSpPr>
              <a:xfrm>
                <a:off x="7916573" y="4365588"/>
                <a:ext cx="197893" cy="396281"/>
                <a:chOff x="7916573" y="4365588"/>
                <a:chExt cx="197893" cy="396281"/>
              </a:xfrm>
              <a:solidFill>
                <a:schemeClr val="accent1"/>
              </a:solidFill>
            </p:grpSpPr>
            <p:sp>
              <p:nvSpPr>
                <p:cNvPr id="264" name="Freihandform: Form 540">
                  <a:extLst>
                    <a:ext uri="{FF2B5EF4-FFF2-40B4-BE49-F238E27FC236}">
                      <a16:creationId xmlns:a16="http://schemas.microsoft.com/office/drawing/2014/main" id="{E2936D74-5781-484E-8B87-A72216CB1757}"/>
                    </a:ext>
                  </a:extLst>
                </p:cNvPr>
                <p:cNvSpPr/>
                <p:nvPr/>
              </p:nvSpPr>
              <p:spPr>
                <a:xfrm>
                  <a:off x="7955736" y="4707855"/>
                  <a:ext cx="27400" cy="49849"/>
                </a:xfrm>
                <a:custGeom>
                  <a:avLst/>
                  <a:gdLst>
                    <a:gd name="connsiteX0" fmla="*/ 6295 w 27400"/>
                    <a:gd name="connsiteY0" fmla="*/ 49850 h 49849"/>
                    <a:gd name="connsiteX1" fmla="*/ 3714 w 27400"/>
                    <a:gd name="connsiteY1" fmla="*/ 49237 h 49849"/>
                    <a:gd name="connsiteX2" fmla="*/ 545 w 27400"/>
                    <a:gd name="connsiteY2" fmla="*/ 40139 h 49849"/>
                    <a:gd name="connsiteX3" fmla="*/ 15367 w 27400"/>
                    <a:gd name="connsiteY3" fmla="*/ 4055 h 49849"/>
                    <a:gd name="connsiteX4" fmla="*/ 23697 w 27400"/>
                    <a:gd name="connsiteY4" fmla="*/ 605 h 49849"/>
                    <a:gd name="connsiteX5" fmla="*/ 26841 w 27400"/>
                    <a:gd name="connsiteY5" fmla="*/ 9703 h 49849"/>
                    <a:gd name="connsiteX6" fmla="*/ 12019 w 27400"/>
                    <a:gd name="connsiteY6" fmla="*/ 45787 h 49849"/>
                    <a:gd name="connsiteX7" fmla="*/ 6295 w 27400"/>
                    <a:gd name="connsiteY7" fmla="*/ 49850 h 4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00" h="49849">
                      <a:moveTo>
                        <a:pt x="6295" y="49850"/>
                      </a:moveTo>
                      <a:cubicBezTo>
                        <a:pt x="5426" y="49850"/>
                        <a:pt x="4557" y="49645"/>
                        <a:pt x="3714" y="49237"/>
                      </a:cubicBezTo>
                      <a:cubicBezTo>
                        <a:pt x="545" y="47678"/>
                        <a:pt x="-861" y="43615"/>
                        <a:pt x="545" y="40139"/>
                      </a:cubicBezTo>
                      <a:lnTo>
                        <a:pt x="15367" y="4055"/>
                      </a:lnTo>
                      <a:cubicBezTo>
                        <a:pt x="16798" y="605"/>
                        <a:pt x="20529" y="-953"/>
                        <a:pt x="23697" y="605"/>
                      </a:cubicBezTo>
                      <a:cubicBezTo>
                        <a:pt x="26866" y="2164"/>
                        <a:pt x="28272" y="6227"/>
                        <a:pt x="26841" y="9703"/>
                      </a:cubicBezTo>
                      <a:lnTo>
                        <a:pt x="12019" y="45787"/>
                      </a:lnTo>
                      <a:cubicBezTo>
                        <a:pt x="10971" y="48342"/>
                        <a:pt x="8697" y="49850"/>
                        <a:pt x="6295" y="49850"/>
                      </a:cubicBezTo>
                      <a:close/>
                    </a:path>
                  </a:pathLst>
                </a:custGeom>
                <a:solidFill>
                  <a:schemeClr val="accent1"/>
                </a:solidFill>
                <a:ln w="255" cap="flat">
                  <a:noFill/>
                  <a:prstDash val="solid"/>
                  <a:miter/>
                </a:ln>
              </p:spPr>
              <p:txBody>
                <a:bodyPr rtlCol="0" anchor="ctr"/>
                <a:lstStyle/>
                <a:p>
                  <a:endParaRPr lang="en-GB" dirty="0"/>
                </a:p>
              </p:txBody>
            </p:sp>
            <p:sp>
              <p:nvSpPr>
                <p:cNvPr id="265" name="Freihandform: Form 541">
                  <a:extLst>
                    <a:ext uri="{FF2B5EF4-FFF2-40B4-BE49-F238E27FC236}">
                      <a16:creationId xmlns:a16="http://schemas.microsoft.com/office/drawing/2014/main" id="{0ABE88B3-C0E5-42E1-8C70-297A9A361B58}"/>
                    </a:ext>
                  </a:extLst>
                </p:cNvPr>
                <p:cNvSpPr/>
                <p:nvPr/>
              </p:nvSpPr>
              <p:spPr>
                <a:xfrm>
                  <a:off x="7916788" y="4697229"/>
                  <a:ext cx="23622" cy="41283"/>
                </a:xfrm>
                <a:custGeom>
                  <a:avLst/>
                  <a:gdLst>
                    <a:gd name="connsiteX0" fmla="*/ 6296 w 23622"/>
                    <a:gd name="connsiteY0" fmla="*/ 41284 h 41283"/>
                    <a:gd name="connsiteX1" fmla="*/ 3767 w 23622"/>
                    <a:gd name="connsiteY1" fmla="*/ 40721 h 41283"/>
                    <a:gd name="connsiteX2" fmla="*/ 521 w 23622"/>
                    <a:gd name="connsiteY2" fmla="*/ 31624 h 41283"/>
                    <a:gd name="connsiteX3" fmla="*/ 11561 w 23622"/>
                    <a:gd name="connsiteY3" fmla="*/ 4101 h 41283"/>
                    <a:gd name="connsiteX4" fmla="*/ 19866 w 23622"/>
                    <a:gd name="connsiteY4" fmla="*/ 574 h 41283"/>
                    <a:gd name="connsiteX5" fmla="*/ 23086 w 23622"/>
                    <a:gd name="connsiteY5" fmla="*/ 9646 h 41283"/>
                    <a:gd name="connsiteX6" fmla="*/ 12046 w 23622"/>
                    <a:gd name="connsiteY6" fmla="*/ 37169 h 41283"/>
                    <a:gd name="connsiteX7" fmla="*/ 6296 w 23622"/>
                    <a:gd name="connsiteY7" fmla="*/ 41284 h 41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22" h="41283">
                      <a:moveTo>
                        <a:pt x="6296" y="41284"/>
                      </a:moveTo>
                      <a:cubicBezTo>
                        <a:pt x="5453" y="41284"/>
                        <a:pt x="4584" y="41105"/>
                        <a:pt x="3767" y="40721"/>
                      </a:cubicBezTo>
                      <a:cubicBezTo>
                        <a:pt x="598" y="39188"/>
                        <a:pt x="-859" y="35125"/>
                        <a:pt x="521" y="31624"/>
                      </a:cubicBezTo>
                      <a:lnTo>
                        <a:pt x="11561" y="4101"/>
                      </a:lnTo>
                      <a:cubicBezTo>
                        <a:pt x="12966" y="625"/>
                        <a:pt x="16672" y="-933"/>
                        <a:pt x="19866" y="574"/>
                      </a:cubicBezTo>
                      <a:cubicBezTo>
                        <a:pt x="23035" y="2108"/>
                        <a:pt x="24492" y="6171"/>
                        <a:pt x="23086" y="9646"/>
                      </a:cubicBezTo>
                      <a:lnTo>
                        <a:pt x="12046" y="37169"/>
                      </a:lnTo>
                      <a:cubicBezTo>
                        <a:pt x="11024" y="39750"/>
                        <a:pt x="8699" y="41284"/>
                        <a:pt x="6296" y="41284"/>
                      </a:cubicBezTo>
                      <a:close/>
                    </a:path>
                  </a:pathLst>
                </a:custGeom>
                <a:solidFill>
                  <a:schemeClr val="accent1"/>
                </a:solidFill>
                <a:ln w="255" cap="flat">
                  <a:noFill/>
                  <a:prstDash val="solid"/>
                  <a:miter/>
                </a:ln>
              </p:spPr>
              <p:txBody>
                <a:bodyPr rtlCol="0" anchor="ctr"/>
                <a:lstStyle/>
                <a:p>
                  <a:endParaRPr lang="en-GB" dirty="0"/>
                </a:p>
              </p:txBody>
            </p:sp>
            <p:sp>
              <p:nvSpPr>
                <p:cNvPr id="266" name="Freihandform: Form 542">
                  <a:extLst>
                    <a:ext uri="{FF2B5EF4-FFF2-40B4-BE49-F238E27FC236}">
                      <a16:creationId xmlns:a16="http://schemas.microsoft.com/office/drawing/2014/main" id="{34A15A64-3565-407B-8280-64921FC8B22E}"/>
                    </a:ext>
                  </a:extLst>
                </p:cNvPr>
                <p:cNvSpPr/>
                <p:nvPr/>
              </p:nvSpPr>
              <p:spPr>
                <a:xfrm>
                  <a:off x="7997328" y="4365588"/>
                  <a:ext cx="117138" cy="192276"/>
                </a:xfrm>
                <a:custGeom>
                  <a:avLst/>
                  <a:gdLst>
                    <a:gd name="connsiteX0" fmla="*/ 46785 w 117138"/>
                    <a:gd name="connsiteY0" fmla="*/ 192276 h 192276"/>
                    <a:gd name="connsiteX1" fmla="*/ 44204 w 117138"/>
                    <a:gd name="connsiteY1" fmla="*/ 191663 h 192276"/>
                    <a:gd name="connsiteX2" fmla="*/ 41035 w 117138"/>
                    <a:gd name="connsiteY2" fmla="*/ 182565 h 192276"/>
                    <a:gd name="connsiteX3" fmla="*/ 104360 w 117138"/>
                    <a:gd name="connsiteY3" fmla="*/ 28367 h 192276"/>
                    <a:gd name="connsiteX4" fmla="*/ 92630 w 117138"/>
                    <a:gd name="connsiteY4" fmla="*/ 16739 h 192276"/>
                    <a:gd name="connsiteX5" fmla="*/ 76888 w 117138"/>
                    <a:gd name="connsiteY5" fmla="*/ 14848 h 192276"/>
                    <a:gd name="connsiteX6" fmla="*/ 12030 w 117138"/>
                    <a:gd name="connsiteY6" fmla="*/ 172752 h 192276"/>
                    <a:gd name="connsiteX7" fmla="*/ 3725 w 117138"/>
                    <a:gd name="connsiteY7" fmla="*/ 176202 h 192276"/>
                    <a:gd name="connsiteX8" fmla="*/ 556 w 117138"/>
                    <a:gd name="connsiteY8" fmla="*/ 167104 h 192276"/>
                    <a:gd name="connsiteX9" fmla="*/ 66155 w 117138"/>
                    <a:gd name="connsiteY9" fmla="*/ 7386 h 192276"/>
                    <a:gd name="connsiteX10" fmla="*/ 67637 w 117138"/>
                    <a:gd name="connsiteY10" fmla="*/ 5162 h 192276"/>
                    <a:gd name="connsiteX11" fmla="*/ 97792 w 117138"/>
                    <a:gd name="connsiteY11" fmla="*/ 4166 h 192276"/>
                    <a:gd name="connsiteX12" fmla="*/ 117138 w 117138"/>
                    <a:gd name="connsiteY12" fmla="*/ 29542 h 192276"/>
                    <a:gd name="connsiteX13" fmla="*/ 116575 w 117138"/>
                    <a:gd name="connsiteY13" fmla="*/ 32225 h 192276"/>
                    <a:gd name="connsiteX14" fmla="*/ 52509 w 117138"/>
                    <a:gd name="connsiteY14" fmla="*/ 188213 h 192276"/>
                    <a:gd name="connsiteX15" fmla="*/ 46785 w 117138"/>
                    <a:gd name="connsiteY15" fmla="*/ 192276 h 192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7138" h="192276">
                      <a:moveTo>
                        <a:pt x="46785" y="192276"/>
                      </a:moveTo>
                      <a:cubicBezTo>
                        <a:pt x="45916" y="192276"/>
                        <a:pt x="45021" y="192072"/>
                        <a:pt x="44204" y="191663"/>
                      </a:cubicBezTo>
                      <a:cubicBezTo>
                        <a:pt x="41035" y="190104"/>
                        <a:pt x="39629" y="186015"/>
                        <a:pt x="41035" y="182565"/>
                      </a:cubicBezTo>
                      <a:lnTo>
                        <a:pt x="104360" y="28367"/>
                      </a:lnTo>
                      <a:cubicBezTo>
                        <a:pt x="103798" y="26322"/>
                        <a:pt x="101549" y="21109"/>
                        <a:pt x="92630" y="16739"/>
                      </a:cubicBezTo>
                      <a:cubicBezTo>
                        <a:pt x="83737" y="12344"/>
                        <a:pt x="78677" y="13928"/>
                        <a:pt x="76888" y="14848"/>
                      </a:cubicBezTo>
                      <a:lnTo>
                        <a:pt x="12030" y="172752"/>
                      </a:lnTo>
                      <a:cubicBezTo>
                        <a:pt x="10599" y="176228"/>
                        <a:pt x="6893" y="177761"/>
                        <a:pt x="3725" y="176202"/>
                      </a:cubicBezTo>
                      <a:cubicBezTo>
                        <a:pt x="556" y="174643"/>
                        <a:pt x="-875" y="170580"/>
                        <a:pt x="556" y="167104"/>
                      </a:cubicBezTo>
                      <a:lnTo>
                        <a:pt x="66155" y="7386"/>
                      </a:lnTo>
                      <a:cubicBezTo>
                        <a:pt x="66513" y="6542"/>
                        <a:pt x="66999" y="5776"/>
                        <a:pt x="67637" y="5162"/>
                      </a:cubicBezTo>
                      <a:cubicBezTo>
                        <a:pt x="68711" y="4064"/>
                        <a:pt x="78728" y="-5238"/>
                        <a:pt x="97792" y="4166"/>
                      </a:cubicBezTo>
                      <a:cubicBezTo>
                        <a:pt x="116857" y="13545"/>
                        <a:pt x="117163" y="27932"/>
                        <a:pt x="117138" y="29542"/>
                      </a:cubicBezTo>
                      <a:cubicBezTo>
                        <a:pt x="117112" y="30462"/>
                        <a:pt x="116933" y="31382"/>
                        <a:pt x="116575" y="32225"/>
                      </a:cubicBezTo>
                      <a:lnTo>
                        <a:pt x="52509" y="188213"/>
                      </a:lnTo>
                      <a:cubicBezTo>
                        <a:pt x="51461" y="190743"/>
                        <a:pt x="49161" y="192276"/>
                        <a:pt x="46785" y="192276"/>
                      </a:cubicBezTo>
                      <a:close/>
                    </a:path>
                  </a:pathLst>
                </a:custGeom>
                <a:solidFill>
                  <a:schemeClr val="accent1"/>
                </a:solidFill>
                <a:ln w="255" cap="flat">
                  <a:noFill/>
                  <a:prstDash val="solid"/>
                  <a:miter/>
                </a:ln>
              </p:spPr>
              <p:txBody>
                <a:bodyPr rtlCol="0" anchor="ctr"/>
                <a:lstStyle/>
                <a:p>
                  <a:endParaRPr lang="en-GB" dirty="0"/>
                </a:p>
              </p:txBody>
            </p:sp>
            <p:sp>
              <p:nvSpPr>
                <p:cNvPr id="267" name="Freihandform: Form 543">
                  <a:extLst>
                    <a:ext uri="{FF2B5EF4-FFF2-40B4-BE49-F238E27FC236}">
                      <a16:creationId xmlns:a16="http://schemas.microsoft.com/office/drawing/2014/main" id="{79D2C6DF-ADC6-4C5C-B45E-E729D4C3F019}"/>
                    </a:ext>
                  </a:extLst>
                </p:cNvPr>
                <p:cNvSpPr/>
                <p:nvPr/>
              </p:nvSpPr>
              <p:spPr>
                <a:xfrm>
                  <a:off x="7916573" y="4724732"/>
                  <a:ext cx="51776" cy="37138"/>
                </a:xfrm>
                <a:custGeom>
                  <a:avLst/>
                  <a:gdLst>
                    <a:gd name="connsiteX0" fmla="*/ 36590 w 51776"/>
                    <a:gd name="connsiteY0" fmla="*/ 37138 h 37138"/>
                    <a:gd name="connsiteX1" fmla="*/ 19391 w 51776"/>
                    <a:gd name="connsiteY1" fmla="*/ 32053 h 37138"/>
                    <a:gd name="connsiteX2" fmla="*/ 583 w 51776"/>
                    <a:gd name="connsiteY2" fmla="*/ 4555 h 37138"/>
                    <a:gd name="connsiteX3" fmla="*/ 8658 w 51776"/>
                    <a:gd name="connsiteY3" fmla="*/ 416 h 37138"/>
                    <a:gd name="connsiteX4" fmla="*/ 12619 w 51776"/>
                    <a:gd name="connsiteY4" fmla="*/ 8491 h 37138"/>
                    <a:gd name="connsiteX5" fmla="*/ 24886 w 51776"/>
                    <a:gd name="connsiteY5" fmla="*/ 19659 h 37138"/>
                    <a:gd name="connsiteX6" fmla="*/ 40167 w 51776"/>
                    <a:gd name="connsiteY6" fmla="*/ 22367 h 37138"/>
                    <a:gd name="connsiteX7" fmla="*/ 48549 w 51776"/>
                    <a:gd name="connsiteY7" fmla="*/ 19761 h 37138"/>
                    <a:gd name="connsiteX8" fmla="*/ 51003 w 51776"/>
                    <a:gd name="connsiteY8" fmla="*/ 29318 h 37138"/>
                    <a:gd name="connsiteX9" fmla="*/ 36590 w 51776"/>
                    <a:gd name="connsiteY9" fmla="*/ 37138 h 37138"/>
                    <a:gd name="connsiteX10" fmla="*/ 12440 w 51776"/>
                    <a:gd name="connsiteY10" fmla="*/ 9232 h 37138"/>
                    <a:gd name="connsiteX11" fmla="*/ 12415 w 51776"/>
                    <a:gd name="connsiteY11" fmla="*/ 9232 h 37138"/>
                    <a:gd name="connsiteX12" fmla="*/ 12440 w 51776"/>
                    <a:gd name="connsiteY12" fmla="*/ 9232 h 37138"/>
                    <a:gd name="connsiteX13" fmla="*/ 12440 w 51776"/>
                    <a:gd name="connsiteY13" fmla="*/ 9207 h 37138"/>
                    <a:gd name="connsiteX14" fmla="*/ 12440 w 51776"/>
                    <a:gd name="connsiteY14" fmla="*/ 9232 h 37138"/>
                    <a:gd name="connsiteX15" fmla="*/ 12440 w 51776"/>
                    <a:gd name="connsiteY15" fmla="*/ 9207 h 37138"/>
                    <a:gd name="connsiteX16" fmla="*/ 12440 w 51776"/>
                    <a:gd name="connsiteY16" fmla="*/ 9207 h 37138"/>
                    <a:gd name="connsiteX17" fmla="*/ 12440 w 51776"/>
                    <a:gd name="connsiteY17" fmla="*/ 9207 h 37138"/>
                    <a:gd name="connsiteX18" fmla="*/ 12440 w 51776"/>
                    <a:gd name="connsiteY18" fmla="*/ 9207 h 37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776" h="37138">
                      <a:moveTo>
                        <a:pt x="36590" y="37138"/>
                      </a:moveTo>
                      <a:cubicBezTo>
                        <a:pt x="32143" y="37138"/>
                        <a:pt x="26496" y="35809"/>
                        <a:pt x="19391" y="32053"/>
                      </a:cubicBezTo>
                      <a:cubicBezTo>
                        <a:pt x="-3174" y="20093"/>
                        <a:pt x="-235" y="7034"/>
                        <a:pt x="583" y="4555"/>
                      </a:cubicBezTo>
                      <a:cubicBezTo>
                        <a:pt x="1784" y="978"/>
                        <a:pt x="5387" y="-888"/>
                        <a:pt x="8658" y="416"/>
                      </a:cubicBezTo>
                      <a:cubicBezTo>
                        <a:pt x="11674" y="1617"/>
                        <a:pt x="13360" y="5118"/>
                        <a:pt x="12619" y="8491"/>
                      </a:cubicBezTo>
                      <a:cubicBezTo>
                        <a:pt x="12722" y="9181"/>
                        <a:pt x="13795" y="13781"/>
                        <a:pt x="24886" y="19659"/>
                      </a:cubicBezTo>
                      <a:cubicBezTo>
                        <a:pt x="34980" y="25025"/>
                        <a:pt x="39350" y="23441"/>
                        <a:pt x="40167" y="22367"/>
                      </a:cubicBezTo>
                      <a:cubicBezTo>
                        <a:pt x="41803" y="18994"/>
                        <a:pt x="45483" y="17972"/>
                        <a:pt x="48549" y="19761"/>
                      </a:cubicBezTo>
                      <a:cubicBezTo>
                        <a:pt x="51616" y="21550"/>
                        <a:pt x="52638" y="25971"/>
                        <a:pt x="51003" y="29318"/>
                      </a:cubicBezTo>
                      <a:cubicBezTo>
                        <a:pt x="50798" y="29753"/>
                        <a:pt x="47042" y="37138"/>
                        <a:pt x="36590" y="37138"/>
                      </a:cubicBezTo>
                      <a:close/>
                      <a:moveTo>
                        <a:pt x="12440" y="9232"/>
                      </a:moveTo>
                      <a:cubicBezTo>
                        <a:pt x="12415" y="9232"/>
                        <a:pt x="12415" y="9232"/>
                        <a:pt x="12415" y="9232"/>
                      </a:cubicBezTo>
                      <a:cubicBezTo>
                        <a:pt x="12415" y="9232"/>
                        <a:pt x="12415" y="9232"/>
                        <a:pt x="12440" y="9232"/>
                      </a:cubicBezTo>
                      <a:close/>
                      <a:moveTo>
                        <a:pt x="12440" y="9207"/>
                      </a:moveTo>
                      <a:cubicBezTo>
                        <a:pt x="12440" y="9207"/>
                        <a:pt x="12440" y="9232"/>
                        <a:pt x="12440" y="9232"/>
                      </a:cubicBezTo>
                      <a:cubicBezTo>
                        <a:pt x="12440" y="9232"/>
                        <a:pt x="12440" y="9207"/>
                        <a:pt x="12440" y="9207"/>
                      </a:cubicBezTo>
                      <a:close/>
                      <a:moveTo>
                        <a:pt x="12440" y="9207"/>
                      </a:moveTo>
                      <a:cubicBezTo>
                        <a:pt x="12440" y="9207"/>
                        <a:pt x="12440" y="9207"/>
                        <a:pt x="12440" y="9207"/>
                      </a:cubicBezTo>
                      <a:cubicBezTo>
                        <a:pt x="12440" y="9207"/>
                        <a:pt x="12440" y="9207"/>
                        <a:pt x="12440" y="9207"/>
                      </a:cubicBezTo>
                      <a:close/>
                    </a:path>
                  </a:pathLst>
                </a:custGeom>
                <a:solidFill>
                  <a:schemeClr val="accent1"/>
                </a:solidFill>
                <a:ln w="255" cap="flat">
                  <a:noFill/>
                  <a:prstDash val="solid"/>
                  <a:miter/>
                </a:ln>
              </p:spPr>
              <p:txBody>
                <a:bodyPr rtlCol="0" anchor="ctr"/>
                <a:lstStyle/>
                <a:p>
                  <a:endParaRPr lang="en-GB" dirty="0"/>
                </a:p>
              </p:txBody>
            </p:sp>
          </p:grpSp>
        </p:grpSp>
      </p:grpSp>
      <p:grpSp>
        <p:nvGrpSpPr>
          <p:cNvPr id="17" name="Group 16">
            <a:extLst>
              <a:ext uri="{FF2B5EF4-FFF2-40B4-BE49-F238E27FC236}">
                <a16:creationId xmlns:a16="http://schemas.microsoft.com/office/drawing/2014/main" id="{08CFCF15-A3B0-E948-BA0F-99DDFE16CE23}"/>
              </a:ext>
            </a:extLst>
          </p:cNvPr>
          <p:cNvGrpSpPr/>
          <p:nvPr/>
        </p:nvGrpSpPr>
        <p:grpSpPr>
          <a:xfrm>
            <a:off x="1619453" y="4002611"/>
            <a:ext cx="440063" cy="432000"/>
            <a:chOff x="1619453" y="4002611"/>
            <a:chExt cx="440063" cy="432000"/>
          </a:xfrm>
        </p:grpSpPr>
        <p:grpSp>
          <p:nvGrpSpPr>
            <p:cNvPr id="279" name="Group 278">
              <a:extLst>
                <a:ext uri="{FF2B5EF4-FFF2-40B4-BE49-F238E27FC236}">
                  <a16:creationId xmlns:a16="http://schemas.microsoft.com/office/drawing/2014/main" id="{4DE3D37C-15B4-46A9-9E80-E96B14ECE729}"/>
                </a:ext>
              </a:extLst>
            </p:cNvPr>
            <p:cNvGrpSpPr/>
            <p:nvPr/>
          </p:nvGrpSpPr>
          <p:grpSpPr>
            <a:xfrm>
              <a:off x="1722331" y="4148390"/>
              <a:ext cx="234333" cy="286221"/>
              <a:chOff x="5409793" y="1816637"/>
              <a:chExt cx="245607" cy="299991"/>
            </a:xfrm>
            <a:solidFill>
              <a:schemeClr val="tx2"/>
            </a:solidFill>
          </p:grpSpPr>
          <p:grpSp>
            <p:nvGrpSpPr>
              <p:cNvPr id="283" name="Grafik 39">
                <a:extLst>
                  <a:ext uri="{FF2B5EF4-FFF2-40B4-BE49-F238E27FC236}">
                    <a16:creationId xmlns:a16="http://schemas.microsoft.com/office/drawing/2014/main" id="{B686AA4B-FC18-454C-9F3B-FC3D76138241}"/>
                  </a:ext>
                </a:extLst>
              </p:cNvPr>
              <p:cNvGrpSpPr/>
              <p:nvPr/>
            </p:nvGrpSpPr>
            <p:grpSpPr>
              <a:xfrm>
                <a:off x="5409793" y="1973287"/>
                <a:ext cx="245607" cy="143341"/>
                <a:chOff x="5409793" y="1973287"/>
                <a:chExt cx="245607" cy="143341"/>
              </a:xfrm>
              <a:grpFill/>
            </p:grpSpPr>
            <p:sp>
              <p:nvSpPr>
                <p:cNvPr id="285" name="Freihandform: Form 859">
                  <a:extLst>
                    <a:ext uri="{FF2B5EF4-FFF2-40B4-BE49-F238E27FC236}">
                      <a16:creationId xmlns:a16="http://schemas.microsoft.com/office/drawing/2014/main" id="{F69FECC7-42C7-4800-B0D3-6F65B38D842D}"/>
                    </a:ext>
                  </a:extLst>
                </p:cNvPr>
                <p:cNvSpPr/>
                <p:nvPr/>
              </p:nvSpPr>
              <p:spPr>
                <a:xfrm>
                  <a:off x="5455098" y="2063338"/>
                  <a:ext cx="10030" cy="53290"/>
                </a:xfrm>
                <a:custGeom>
                  <a:avLst/>
                  <a:gdLst>
                    <a:gd name="connsiteX0" fmla="*/ 5015 w 10030"/>
                    <a:gd name="connsiteY0" fmla="*/ 53291 h 53290"/>
                    <a:gd name="connsiteX1" fmla="*/ 0 w 10030"/>
                    <a:gd name="connsiteY1" fmla="*/ 48275 h 53290"/>
                    <a:gd name="connsiteX2" fmla="*/ 0 w 10030"/>
                    <a:gd name="connsiteY2" fmla="*/ 5015 h 53290"/>
                    <a:gd name="connsiteX3" fmla="*/ 5015 w 10030"/>
                    <a:gd name="connsiteY3" fmla="*/ 0 h 53290"/>
                    <a:gd name="connsiteX4" fmla="*/ 10031 w 10030"/>
                    <a:gd name="connsiteY4" fmla="*/ 5015 h 53290"/>
                    <a:gd name="connsiteX5" fmla="*/ 10031 w 10030"/>
                    <a:gd name="connsiteY5" fmla="*/ 48275 h 53290"/>
                    <a:gd name="connsiteX6" fmla="*/ 5015 w 10030"/>
                    <a:gd name="connsiteY6" fmla="*/ 53291 h 53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0" h="53290">
                      <a:moveTo>
                        <a:pt x="5015" y="53291"/>
                      </a:moveTo>
                      <a:cubicBezTo>
                        <a:pt x="2241" y="53291"/>
                        <a:pt x="0" y="51049"/>
                        <a:pt x="0" y="48275"/>
                      </a:cubicBezTo>
                      <a:lnTo>
                        <a:pt x="0" y="5015"/>
                      </a:lnTo>
                      <a:cubicBezTo>
                        <a:pt x="0" y="2241"/>
                        <a:pt x="2241" y="0"/>
                        <a:pt x="5015" y="0"/>
                      </a:cubicBezTo>
                      <a:cubicBezTo>
                        <a:pt x="7789" y="0"/>
                        <a:pt x="10031" y="2241"/>
                        <a:pt x="10031" y="5015"/>
                      </a:cubicBezTo>
                      <a:lnTo>
                        <a:pt x="10031" y="48275"/>
                      </a:lnTo>
                      <a:cubicBezTo>
                        <a:pt x="10031" y="51049"/>
                        <a:pt x="7789" y="53291"/>
                        <a:pt x="5015" y="53291"/>
                      </a:cubicBezTo>
                      <a:close/>
                    </a:path>
                  </a:pathLst>
                </a:custGeom>
                <a:grpFill/>
                <a:ln w="2793" cap="flat">
                  <a:noFill/>
                  <a:prstDash val="solid"/>
                  <a:miter/>
                </a:ln>
              </p:spPr>
              <p:txBody>
                <a:bodyPr rtlCol="0" anchor="ctr"/>
                <a:lstStyle/>
                <a:p>
                  <a:endParaRPr lang="en-GB" dirty="0"/>
                </a:p>
              </p:txBody>
            </p:sp>
            <p:sp>
              <p:nvSpPr>
                <p:cNvPr id="286" name="Freihandform: Form 860">
                  <a:extLst>
                    <a:ext uri="{FF2B5EF4-FFF2-40B4-BE49-F238E27FC236}">
                      <a16:creationId xmlns:a16="http://schemas.microsoft.com/office/drawing/2014/main" id="{72748D8A-2223-48C9-8AEA-15B5FB3CEF5C}"/>
                    </a:ext>
                  </a:extLst>
                </p:cNvPr>
                <p:cNvSpPr/>
                <p:nvPr/>
              </p:nvSpPr>
              <p:spPr>
                <a:xfrm>
                  <a:off x="5409793" y="1973287"/>
                  <a:ext cx="100306" cy="143341"/>
                </a:xfrm>
                <a:custGeom>
                  <a:avLst/>
                  <a:gdLst>
                    <a:gd name="connsiteX0" fmla="*/ 5015 w 100306"/>
                    <a:gd name="connsiteY0" fmla="*/ 143341 h 143341"/>
                    <a:gd name="connsiteX1" fmla="*/ 0 w 100306"/>
                    <a:gd name="connsiteY1" fmla="*/ 138326 h 143341"/>
                    <a:gd name="connsiteX2" fmla="*/ 0 w 100306"/>
                    <a:gd name="connsiteY2" fmla="*/ 52394 h 143341"/>
                    <a:gd name="connsiteX3" fmla="*/ 47295 w 100306"/>
                    <a:gd name="connsiteY3" fmla="*/ 11123 h 143341"/>
                    <a:gd name="connsiteX4" fmla="*/ 82093 w 100306"/>
                    <a:gd name="connsiteY4" fmla="*/ 11123 h 143341"/>
                    <a:gd name="connsiteX5" fmla="*/ 90275 w 100306"/>
                    <a:gd name="connsiteY5" fmla="*/ 4931 h 143341"/>
                    <a:gd name="connsiteX6" fmla="*/ 95374 w 100306"/>
                    <a:gd name="connsiteY6" fmla="*/ 0 h 143341"/>
                    <a:gd name="connsiteX7" fmla="*/ 100305 w 100306"/>
                    <a:gd name="connsiteY7" fmla="*/ 5099 h 143341"/>
                    <a:gd name="connsiteX8" fmla="*/ 82598 w 100306"/>
                    <a:gd name="connsiteY8" fmla="*/ 21126 h 143341"/>
                    <a:gd name="connsiteX9" fmla="*/ 47295 w 100306"/>
                    <a:gd name="connsiteY9" fmla="*/ 21154 h 143341"/>
                    <a:gd name="connsiteX10" fmla="*/ 10031 w 100306"/>
                    <a:gd name="connsiteY10" fmla="*/ 52394 h 143341"/>
                    <a:gd name="connsiteX11" fmla="*/ 10031 w 100306"/>
                    <a:gd name="connsiteY11" fmla="*/ 138326 h 143341"/>
                    <a:gd name="connsiteX12" fmla="*/ 5015 w 100306"/>
                    <a:gd name="connsiteY12" fmla="*/ 143341 h 143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306" h="143341">
                      <a:moveTo>
                        <a:pt x="5015" y="143341"/>
                      </a:moveTo>
                      <a:cubicBezTo>
                        <a:pt x="2241" y="143341"/>
                        <a:pt x="0" y="141100"/>
                        <a:pt x="0" y="138326"/>
                      </a:cubicBezTo>
                      <a:lnTo>
                        <a:pt x="0" y="52394"/>
                      </a:lnTo>
                      <a:cubicBezTo>
                        <a:pt x="0" y="19753"/>
                        <a:pt x="30960" y="11123"/>
                        <a:pt x="47295" y="11123"/>
                      </a:cubicBezTo>
                      <a:lnTo>
                        <a:pt x="82093" y="11123"/>
                      </a:lnTo>
                      <a:cubicBezTo>
                        <a:pt x="81953" y="11095"/>
                        <a:pt x="90191" y="10059"/>
                        <a:pt x="90275" y="4931"/>
                      </a:cubicBezTo>
                      <a:cubicBezTo>
                        <a:pt x="90331" y="2157"/>
                        <a:pt x="92600" y="84"/>
                        <a:pt x="95374" y="0"/>
                      </a:cubicBezTo>
                      <a:cubicBezTo>
                        <a:pt x="98148" y="56"/>
                        <a:pt x="100361" y="2326"/>
                        <a:pt x="100305" y="5099"/>
                      </a:cubicBezTo>
                      <a:cubicBezTo>
                        <a:pt x="100137" y="16391"/>
                        <a:pt x="88650" y="20509"/>
                        <a:pt x="82598" y="21126"/>
                      </a:cubicBezTo>
                      <a:lnTo>
                        <a:pt x="47295" y="21154"/>
                      </a:lnTo>
                      <a:cubicBezTo>
                        <a:pt x="45782" y="21154"/>
                        <a:pt x="10031" y="21658"/>
                        <a:pt x="10031" y="52394"/>
                      </a:cubicBezTo>
                      <a:lnTo>
                        <a:pt x="10031" y="138326"/>
                      </a:lnTo>
                      <a:cubicBezTo>
                        <a:pt x="10031" y="141100"/>
                        <a:pt x="7789" y="143341"/>
                        <a:pt x="5015" y="143341"/>
                      </a:cubicBezTo>
                      <a:close/>
                    </a:path>
                  </a:pathLst>
                </a:custGeom>
                <a:grpFill/>
                <a:ln w="2793" cap="flat">
                  <a:noFill/>
                  <a:prstDash val="solid"/>
                  <a:miter/>
                </a:ln>
              </p:spPr>
              <p:txBody>
                <a:bodyPr rtlCol="0" anchor="ctr"/>
                <a:lstStyle/>
                <a:p>
                  <a:endParaRPr lang="en-GB" dirty="0"/>
                </a:p>
              </p:txBody>
            </p:sp>
            <p:sp>
              <p:nvSpPr>
                <p:cNvPr id="287" name="Freihandform: Form 861">
                  <a:extLst>
                    <a:ext uri="{FF2B5EF4-FFF2-40B4-BE49-F238E27FC236}">
                      <a16:creationId xmlns:a16="http://schemas.microsoft.com/office/drawing/2014/main" id="{CF00DE00-F1EC-4F97-AA87-26253F74DA36}"/>
                    </a:ext>
                  </a:extLst>
                </p:cNvPr>
                <p:cNvSpPr/>
                <p:nvPr/>
              </p:nvSpPr>
              <p:spPr>
                <a:xfrm>
                  <a:off x="5600065" y="2064094"/>
                  <a:ext cx="10030" cy="49592"/>
                </a:xfrm>
                <a:custGeom>
                  <a:avLst/>
                  <a:gdLst>
                    <a:gd name="connsiteX0" fmla="*/ 5015 w 10030"/>
                    <a:gd name="connsiteY0" fmla="*/ 49592 h 49592"/>
                    <a:gd name="connsiteX1" fmla="*/ 0 w 10030"/>
                    <a:gd name="connsiteY1" fmla="*/ 44577 h 49592"/>
                    <a:gd name="connsiteX2" fmla="*/ 0 w 10030"/>
                    <a:gd name="connsiteY2" fmla="*/ 5015 h 49592"/>
                    <a:gd name="connsiteX3" fmla="*/ 5015 w 10030"/>
                    <a:gd name="connsiteY3" fmla="*/ 0 h 49592"/>
                    <a:gd name="connsiteX4" fmla="*/ 10031 w 10030"/>
                    <a:gd name="connsiteY4" fmla="*/ 5015 h 49592"/>
                    <a:gd name="connsiteX5" fmla="*/ 10031 w 10030"/>
                    <a:gd name="connsiteY5" fmla="*/ 44577 h 49592"/>
                    <a:gd name="connsiteX6" fmla="*/ 5015 w 10030"/>
                    <a:gd name="connsiteY6" fmla="*/ 49592 h 49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0" h="49592">
                      <a:moveTo>
                        <a:pt x="5015" y="49592"/>
                      </a:moveTo>
                      <a:cubicBezTo>
                        <a:pt x="2241" y="49592"/>
                        <a:pt x="0" y="47351"/>
                        <a:pt x="0" y="44577"/>
                      </a:cubicBezTo>
                      <a:lnTo>
                        <a:pt x="0" y="5015"/>
                      </a:lnTo>
                      <a:cubicBezTo>
                        <a:pt x="0" y="2241"/>
                        <a:pt x="2241" y="0"/>
                        <a:pt x="5015" y="0"/>
                      </a:cubicBezTo>
                      <a:cubicBezTo>
                        <a:pt x="7789" y="0"/>
                        <a:pt x="10031" y="2241"/>
                        <a:pt x="10031" y="5015"/>
                      </a:cubicBezTo>
                      <a:lnTo>
                        <a:pt x="10031" y="44577"/>
                      </a:lnTo>
                      <a:cubicBezTo>
                        <a:pt x="10031" y="47351"/>
                        <a:pt x="7761" y="49592"/>
                        <a:pt x="5015" y="49592"/>
                      </a:cubicBezTo>
                      <a:close/>
                    </a:path>
                  </a:pathLst>
                </a:custGeom>
                <a:grpFill/>
                <a:ln w="2793" cap="flat">
                  <a:noFill/>
                  <a:prstDash val="solid"/>
                  <a:miter/>
                </a:ln>
              </p:spPr>
              <p:txBody>
                <a:bodyPr rtlCol="0" anchor="ctr"/>
                <a:lstStyle/>
                <a:p>
                  <a:endParaRPr lang="en-GB" dirty="0"/>
                </a:p>
              </p:txBody>
            </p:sp>
            <p:sp>
              <p:nvSpPr>
                <p:cNvPr id="288" name="Freihandform: Form 862">
                  <a:extLst>
                    <a:ext uri="{FF2B5EF4-FFF2-40B4-BE49-F238E27FC236}">
                      <a16:creationId xmlns:a16="http://schemas.microsoft.com/office/drawing/2014/main" id="{D30369C9-CF77-4C48-A86B-A31A59A2F078}"/>
                    </a:ext>
                  </a:extLst>
                </p:cNvPr>
                <p:cNvSpPr/>
                <p:nvPr/>
              </p:nvSpPr>
              <p:spPr>
                <a:xfrm>
                  <a:off x="5557953" y="1973301"/>
                  <a:ext cx="97447" cy="141870"/>
                </a:xfrm>
                <a:custGeom>
                  <a:avLst/>
                  <a:gdLst>
                    <a:gd name="connsiteX0" fmla="*/ 92432 w 97447"/>
                    <a:gd name="connsiteY0" fmla="*/ 141871 h 141870"/>
                    <a:gd name="connsiteX1" fmla="*/ 87417 w 97447"/>
                    <a:gd name="connsiteY1" fmla="*/ 136855 h 141870"/>
                    <a:gd name="connsiteX2" fmla="*/ 87417 w 97447"/>
                    <a:gd name="connsiteY2" fmla="*/ 52408 h 141870"/>
                    <a:gd name="connsiteX3" fmla="*/ 50153 w 97447"/>
                    <a:gd name="connsiteY3" fmla="*/ 21168 h 141870"/>
                    <a:gd name="connsiteX4" fmla="*/ 15326 w 97447"/>
                    <a:gd name="connsiteY4" fmla="*/ 21168 h 141870"/>
                    <a:gd name="connsiteX5" fmla="*/ 4595 w 97447"/>
                    <a:gd name="connsiteY5" fmla="*/ 16993 h 141870"/>
                    <a:gd name="connsiteX6" fmla="*/ 0 w 97447"/>
                    <a:gd name="connsiteY6" fmla="*/ 5058 h 141870"/>
                    <a:gd name="connsiteX7" fmla="*/ 4988 w 97447"/>
                    <a:gd name="connsiteY7" fmla="*/ 14 h 141870"/>
                    <a:gd name="connsiteX8" fmla="*/ 10031 w 97447"/>
                    <a:gd name="connsiteY8" fmla="*/ 5002 h 141870"/>
                    <a:gd name="connsiteX9" fmla="*/ 11544 w 97447"/>
                    <a:gd name="connsiteY9" fmla="*/ 9765 h 141870"/>
                    <a:gd name="connsiteX10" fmla="*/ 15158 w 97447"/>
                    <a:gd name="connsiteY10" fmla="*/ 11138 h 141870"/>
                    <a:gd name="connsiteX11" fmla="*/ 15158 w 97447"/>
                    <a:gd name="connsiteY11" fmla="*/ 11138 h 141870"/>
                    <a:gd name="connsiteX12" fmla="*/ 50153 w 97447"/>
                    <a:gd name="connsiteY12" fmla="*/ 11138 h 141870"/>
                    <a:gd name="connsiteX13" fmla="*/ 97448 w 97447"/>
                    <a:gd name="connsiteY13" fmla="*/ 52408 h 141870"/>
                    <a:gd name="connsiteX14" fmla="*/ 97448 w 97447"/>
                    <a:gd name="connsiteY14" fmla="*/ 136855 h 141870"/>
                    <a:gd name="connsiteX15" fmla="*/ 92432 w 97447"/>
                    <a:gd name="connsiteY15" fmla="*/ 141871 h 141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7447" h="141870">
                      <a:moveTo>
                        <a:pt x="92432" y="141871"/>
                      </a:moveTo>
                      <a:cubicBezTo>
                        <a:pt x="89659" y="141871"/>
                        <a:pt x="87417" y="139629"/>
                        <a:pt x="87417" y="136855"/>
                      </a:cubicBezTo>
                      <a:lnTo>
                        <a:pt x="87417" y="52408"/>
                      </a:lnTo>
                      <a:cubicBezTo>
                        <a:pt x="87417" y="21532"/>
                        <a:pt x="51666" y="21168"/>
                        <a:pt x="50153" y="21168"/>
                      </a:cubicBezTo>
                      <a:lnTo>
                        <a:pt x="15326" y="21168"/>
                      </a:lnTo>
                      <a:cubicBezTo>
                        <a:pt x="14906" y="21224"/>
                        <a:pt x="9022" y="21280"/>
                        <a:pt x="4595" y="16993"/>
                      </a:cubicBezTo>
                      <a:cubicBezTo>
                        <a:pt x="2522" y="15004"/>
                        <a:pt x="28" y="11306"/>
                        <a:pt x="0" y="5058"/>
                      </a:cubicBezTo>
                      <a:cubicBezTo>
                        <a:pt x="-28" y="2284"/>
                        <a:pt x="2214" y="42"/>
                        <a:pt x="4988" y="14"/>
                      </a:cubicBezTo>
                      <a:cubicBezTo>
                        <a:pt x="7649" y="-210"/>
                        <a:pt x="10003" y="2228"/>
                        <a:pt x="10031" y="5002"/>
                      </a:cubicBezTo>
                      <a:cubicBezTo>
                        <a:pt x="10031" y="7215"/>
                        <a:pt x="10563" y="8812"/>
                        <a:pt x="11544" y="9765"/>
                      </a:cubicBezTo>
                      <a:cubicBezTo>
                        <a:pt x="12917" y="11082"/>
                        <a:pt x="15102" y="11138"/>
                        <a:pt x="15158" y="11138"/>
                      </a:cubicBezTo>
                      <a:lnTo>
                        <a:pt x="15158" y="11138"/>
                      </a:lnTo>
                      <a:lnTo>
                        <a:pt x="50153" y="11138"/>
                      </a:lnTo>
                      <a:cubicBezTo>
                        <a:pt x="66516" y="11138"/>
                        <a:pt x="97448" y="19767"/>
                        <a:pt x="97448" y="52408"/>
                      </a:cubicBezTo>
                      <a:lnTo>
                        <a:pt x="97448" y="136855"/>
                      </a:lnTo>
                      <a:cubicBezTo>
                        <a:pt x="97448" y="139601"/>
                        <a:pt x="95178" y="141871"/>
                        <a:pt x="92432" y="141871"/>
                      </a:cubicBezTo>
                      <a:close/>
                    </a:path>
                  </a:pathLst>
                </a:custGeom>
                <a:grpFill/>
                <a:ln w="2793" cap="flat">
                  <a:noFill/>
                  <a:prstDash val="solid"/>
                  <a:miter/>
                </a:ln>
              </p:spPr>
              <p:txBody>
                <a:bodyPr rtlCol="0" anchor="ctr"/>
                <a:lstStyle/>
                <a:p>
                  <a:endParaRPr lang="en-GB" dirty="0"/>
                </a:p>
              </p:txBody>
            </p:sp>
          </p:grpSp>
          <p:sp>
            <p:nvSpPr>
              <p:cNvPr id="284" name="Freihandform: Form 863">
                <a:extLst>
                  <a:ext uri="{FF2B5EF4-FFF2-40B4-BE49-F238E27FC236}">
                    <a16:creationId xmlns:a16="http://schemas.microsoft.com/office/drawing/2014/main" id="{2C1568F2-FBD1-417A-84CE-4F6A92CB53D5}"/>
                  </a:ext>
                </a:extLst>
              </p:cNvPr>
              <p:cNvSpPr/>
              <p:nvPr/>
            </p:nvSpPr>
            <p:spPr>
              <a:xfrm>
                <a:off x="5468239" y="1816637"/>
                <a:ext cx="128687" cy="144546"/>
              </a:xfrm>
              <a:custGeom>
                <a:avLst/>
                <a:gdLst>
                  <a:gd name="connsiteX0" fmla="*/ 64330 w 128687"/>
                  <a:gd name="connsiteY0" fmla="*/ 144546 h 144546"/>
                  <a:gd name="connsiteX1" fmla="*/ 0 w 128687"/>
                  <a:gd name="connsiteY1" fmla="*/ 72259 h 144546"/>
                  <a:gd name="connsiteX2" fmla="*/ 64330 w 128687"/>
                  <a:gd name="connsiteY2" fmla="*/ 0 h 144546"/>
                  <a:gd name="connsiteX3" fmla="*/ 128688 w 128687"/>
                  <a:gd name="connsiteY3" fmla="*/ 72259 h 144546"/>
                  <a:gd name="connsiteX4" fmla="*/ 64330 w 128687"/>
                  <a:gd name="connsiteY4" fmla="*/ 144546 h 144546"/>
                  <a:gd name="connsiteX5" fmla="*/ 64330 w 128687"/>
                  <a:gd name="connsiteY5" fmla="*/ 10031 h 144546"/>
                  <a:gd name="connsiteX6" fmla="*/ 10031 w 128687"/>
                  <a:gd name="connsiteY6" fmla="*/ 72259 h 144546"/>
                  <a:gd name="connsiteX7" fmla="*/ 64330 w 128687"/>
                  <a:gd name="connsiteY7" fmla="*/ 134516 h 144546"/>
                  <a:gd name="connsiteX8" fmla="*/ 118657 w 128687"/>
                  <a:gd name="connsiteY8" fmla="*/ 72259 h 144546"/>
                  <a:gd name="connsiteX9" fmla="*/ 64330 w 128687"/>
                  <a:gd name="connsiteY9" fmla="*/ 10031 h 144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8687" h="144546">
                    <a:moveTo>
                      <a:pt x="64330" y="144546"/>
                    </a:moveTo>
                    <a:cubicBezTo>
                      <a:pt x="28859" y="144546"/>
                      <a:pt x="0" y="112129"/>
                      <a:pt x="0" y="72259"/>
                    </a:cubicBezTo>
                    <a:cubicBezTo>
                      <a:pt x="0" y="32417"/>
                      <a:pt x="28859" y="0"/>
                      <a:pt x="64330" y="0"/>
                    </a:cubicBezTo>
                    <a:cubicBezTo>
                      <a:pt x="99801" y="0"/>
                      <a:pt x="128688" y="32417"/>
                      <a:pt x="128688" y="72259"/>
                    </a:cubicBezTo>
                    <a:cubicBezTo>
                      <a:pt x="128688" y="112101"/>
                      <a:pt x="99829" y="144546"/>
                      <a:pt x="64330" y="144546"/>
                    </a:cubicBezTo>
                    <a:close/>
                    <a:moveTo>
                      <a:pt x="64330" y="10031"/>
                    </a:moveTo>
                    <a:cubicBezTo>
                      <a:pt x="34378" y="10031"/>
                      <a:pt x="10031" y="37937"/>
                      <a:pt x="10031" y="72259"/>
                    </a:cubicBezTo>
                    <a:cubicBezTo>
                      <a:pt x="10031" y="106581"/>
                      <a:pt x="34378" y="134516"/>
                      <a:pt x="64330" y="134516"/>
                    </a:cubicBezTo>
                    <a:cubicBezTo>
                      <a:pt x="94281" y="134516"/>
                      <a:pt x="118657" y="106581"/>
                      <a:pt x="118657" y="72259"/>
                    </a:cubicBezTo>
                    <a:cubicBezTo>
                      <a:pt x="118657" y="37937"/>
                      <a:pt x="94281" y="10031"/>
                      <a:pt x="64330" y="10031"/>
                    </a:cubicBezTo>
                    <a:close/>
                  </a:path>
                </a:pathLst>
              </a:custGeom>
              <a:grpFill/>
              <a:ln w="2793" cap="flat">
                <a:noFill/>
                <a:prstDash val="solid"/>
                <a:miter/>
              </a:ln>
            </p:spPr>
            <p:txBody>
              <a:bodyPr rtlCol="0" anchor="ctr"/>
              <a:lstStyle/>
              <a:p>
                <a:endParaRPr lang="en-GB" dirty="0"/>
              </a:p>
            </p:txBody>
          </p:sp>
        </p:grpSp>
        <p:grpSp>
          <p:nvGrpSpPr>
            <p:cNvPr id="280" name="Group 279">
              <a:extLst>
                <a:ext uri="{FF2B5EF4-FFF2-40B4-BE49-F238E27FC236}">
                  <a16:creationId xmlns:a16="http://schemas.microsoft.com/office/drawing/2014/main" id="{DFD9425F-89C1-4508-9C47-3B71308D79DF}"/>
                </a:ext>
              </a:extLst>
            </p:cNvPr>
            <p:cNvGrpSpPr/>
            <p:nvPr/>
          </p:nvGrpSpPr>
          <p:grpSpPr>
            <a:xfrm>
              <a:off x="1619453" y="4002611"/>
              <a:ext cx="440063" cy="414330"/>
              <a:chOff x="5301965" y="1663844"/>
              <a:chExt cx="461235" cy="434264"/>
            </a:xfrm>
          </p:grpSpPr>
          <p:sp>
            <p:nvSpPr>
              <p:cNvPr id="281" name="Freihandform: Form 864">
                <a:extLst>
                  <a:ext uri="{FF2B5EF4-FFF2-40B4-BE49-F238E27FC236}">
                    <a16:creationId xmlns:a16="http://schemas.microsoft.com/office/drawing/2014/main" id="{A41D6F19-0310-42E6-A768-86F735923943}"/>
                  </a:ext>
                </a:extLst>
              </p:cNvPr>
              <p:cNvSpPr/>
              <p:nvPr/>
            </p:nvSpPr>
            <p:spPr>
              <a:xfrm>
                <a:off x="5301965" y="1663957"/>
                <a:ext cx="461147" cy="434151"/>
              </a:xfrm>
              <a:custGeom>
                <a:avLst/>
                <a:gdLst>
                  <a:gd name="connsiteX0" fmla="*/ 65997 w 461147"/>
                  <a:gd name="connsiteY0" fmla="*/ 434152 h 434151"/>
                  <a:gd name="connsiteX1" fmla="*/ 14947 w 461147"/>
                  <a:gd name="connsiteY1" fmla="*/ 415352 h 434151"/>
                  <a:gd name="connsiteX2" fmla="*/ 150444 w 461147"/>
                  <a:gd name="connsiteY2" fmla="*/ 129902 h 434151"/>
                  <a:gd name="connsiteX3" fmla="*/ 324437 w 461147"/>
                  <a:gd name="connsiteY3" fmla="*/ 15559 h 434151"/>
                  <a:gd name="connsiteX4" fmla="*/ 446288 w 461147"/>
                  <a:gd name="connsiteY4" fmla="*/ 18837 h 434151"/>
                  <a:gd name="connsiteX5" fmla="*/ 439284 w 461147"/>
                  <a:gd name="connsiteY5" fmla="*/ 140521 h 434151"/>
                  <a:gd name="connsiteX6" fmla="*/ 310792 w 461147"/>
                  <a:gd name="connsiteY6" fmla="*/ 304287 h 434151"/>
                  <a:gd name="connsiteX7" fmla="*/ 303703 w 461147"/>
                  <a:gd name="connsiteY7" fmla="*/ 303979 h 434151"/>
                  <a:gd name="connsiteX8" fmla="*/ 304012 w 461147"/>
                  <a:gd name="connsiteY8" fmla="*/ 296890 h 434151"/>
                  <a:gd name="connsiteX9" fmla="*/ 430290 w 461147"/>
                  <a:gd name="connsiteY9" fmla="*/ 136122 h 434151"/>
                  <a:gd name="connsiteX10" fmla="*/ 438919 w 461147"/>
                  <a:gd name="connsiteY10" fmla="*/ 25618 h 434151"/>
                  <a:gd name="connsiteX11" fmla="*/ 328051 w 461147"/>
                  <a:gd name="connsiteY11" fmla="*/ 24917 h 434151"/>
                  <a:gd name="connsiteX12" fmla="*/ 157224 w 461147"/>
                  <a:gd name="connsiteY12" fmla="*/ 137271 h 434151"/>
                  <a:gd name="connsiteX13" fmla="*/ 22344 w 461147"/>
                  <a:gd name="connsiteY13" fmla="*/ 408571 h 434151"/>
                  <a:gd name="connsiteX14" fmla="*/ 89672 w 461147"/>
                  <a:gd name="connsiteY14" fmla="*/ 421880 h 434151"/>
                  <a:gd name="connsiteX15" fmla="*/ 95500 w 461147"/>
                  <a:gd name="connsiteY15" fmla="*/ 425942 h 434151"/>
                  <a:gd name="connsiteX16" fmla="*/ 91437 w 461147"/>
                  <a:gd name="connsiteY16" fmla="*/ 431770 h 434151"/>
                  <a:gd name="connsiteX17" fmla="*/ 65997 w 461147"/>
                  <a:gd name="connsiteY17" fmla="*/ 434152 h 43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61147" h="434151">
                    <a:moveTo>
                      <a:pt x="65997" y="434152"/>
                    </a:moveTo>
                    <a:cubicBezTo>
                      <a:pt x="43806" y="434152"/>
                      <a:pt x="26407" y="427820"/>
                      <a:pt x="14947" y="415352"/>
                    </a:cubicBezTo>
                    <a:cubicBezTo>
                      <a:pt x="-29966" y="366460"/>
                      <a:pt x="29545" y="241078"/>
                      <a:pt x="150444" y="129902"/>
                    </a:cubicBezTo>
                    <a:cubicBezTo>
                      <a:pt x="207545" y="77424"/>
                      <a:pt x="269325" y="36825"/>
                      <a:pt x="324437" y="15559"/>
                    </a:cubicBezTo>
                    <a:cubicBezTo>
                      <a:pt x="381034" y="-6267"/>
                      <a:pt x="424294" y="-5090"/>
                      <a:pt x="446288" y="18837"/>
                    </a:cubicBezTo>
                    <a:cubicBezTo>
                      <a:pt x="468283" y="42737"/>
                      <a:pt x="465789" y="85941"/>
                      <a:pt x="439284" y="140521"/>
                    </a:cubicBezTo>
                    <a:cubicBezTo>
                      <a:pt x="413479" y="193643"/>
                      <a:pt x="367837" y="251809"/>
                      <a:pt x="310792" y="304287"/>
                    </a:cubicBezTo>
                    <a:cubicBezTo>
                      <a:pt x="308775" y="306164"/>
                      <a:pt x="305581" y="306024"/>
                      <a:pt x="303703" y="303979"/>
                    </a:cubicBezTo>
                    <a:cubicBezTo>
                      <a:pt x="301826" y="301934"/>
                      <a:pt x="301966" y="298768"/>
                      <a:pt x="304012" y="296890"/>
                    </a:cubicBezTo>
                    <a:cubicBezTo>
                      <a:pt x="360160" y="245253"/>
                      <a:pt x="405017" y="188152"/>
                      <a:pt x="430290" y="136122"/>
                    </a:cubicBezTo>
                    <a:cubicBezTo>
                      <a:pt x="454498" y="86249"/>
                      <a:pt x="457664" y="45987"/>
                      <a:pt x="438919" y="25618"/>
                    </a:cubicBezTo>
                    <a:cubicBezTo>
                      <a:pt x="420203" y="5221"/>
                      <a:pt x="379773" y="4968"/>
                      <a:pt x="328051" y="24917"/>
                    </a:cubicBezTo>
                    <a:cubicBezTo>
                      <a:pt x="274088" y="45735"/>
                      <a:pt x="213429" y="85633"/>
                      <a:pt x="157224" y="137271"/>
                    </a:cubicBezTo>
                    <a:cubicBezTo>
                      <a:pt x="42433" y="242899"/>
                      <a:pt x="-18086" y="364582"/>
                      <a:pt x="22344" y="408571"/>
                    </a:cubicBezTo>
                    <a:cubicBezTo>
                      <a:pt x="35401" y="422776"/>
                      <a:pt x="58712" y="427371"/>
                      <a:pt x="89672" y="421880"/>
                    </a:cubicBezTo>
                    <a:cubicBezTo>
                      <a:pt x="92418" y="421403"/>
                      <a:pt x="94995" y="423197"/>
                      <a:pt x="95500" y="425942"/>
                    </a:cubicBezTo>
                    <a:cubicBezTo>
                      <a:pt x="95976" y="428660"/>
                      <a:pt x="94183" y="431266"/>
                      <a:pt x="91437" y="431770"/>
                    </a:cubicBezTo>
                    <a:cubicBezTo>
                      <a:pt x="82387" y="433367"/>
                      <a:pt x="73870" y="434152"/>
                      <a:pt x="65997" y="434152"/>
                    </a:cubicBezTo>
                    <a:close/>
                  </a:path>
                </a:pathLst>
              </a:custGeom>
              <a:solidFill>
                <a:schemeClr val="accent1"/>
              </a:solidFill>
              <a:ln w="2793" cap="flat">
                <a:noFill/>
                <a:prstDash val="solid"/>
                <a:miter/>
              </a:ln>
            </p:spPr>
            <p:txBody>
              <a:bodyPr rtlCol="0" anchor="ctr"/>
              <a:lstStyle/>
              <a:p>
                <a:endParaRPr lang="en-GB" dirty="0"/>
              </a:p>
            </p:txBody>
          </p:sp>
          <p:sp>
            <p:nvSpPr>
              <p:cNvPr id="282" name="Freihandform: Form 865">
                <a:extLst>
                  <a:ext uri="{FF2B5EF4-FFF2-40B4-BE49-F238E27FC236}">
                    <a16:creationId xmlns:a16="http://schemas.microsoft.com/office/drawing/2014/main" id="{62BE9AB8-EC5B-49F9-A403-26FB61C784D3}"/>
                  </a:ext>
                </a:extLst>
              </p:cNvPr>
              <p:cNvSpPr/>
              <p:nvPr/>
            </p:nvSpPr>
            <p:spPr>
              <a:xfrm>
                <a:off x="5302053" y="1663844"/>
                <a:ext cx="461147" cy="434264"/>
              </a:xfrm>
              <a:custGeom>
                <a:avLst/>
                <a:gdLst>
                  <a:gd name="connsiteX0" fmla="*/ 395207 w 461147"/>
                  <a:gd name="connsiteY0" fmla="*/ 434264 h 434264"/>
                  <a:gd name="connsiteX1" fmla="*/ 367497 w 461147"/>
                  <a:gd name="connsiteY1" fmla="*/ 431434 h 434264"/>
                  <a:gd name="connsiteX2" fmla="*/ 363518 w 461147"/>
                  <a:gd name="connsiteY2" fmla="*/ 425579 h 434264"/>
                  <a:gd name="connsiteX3" fmla="*/ 369374 w 461147"/>
                  <a:gd name="connsiteY3" fmla="*/ 421600 h 434264"/>
                  <a:gd name="connsiteX4" fmla="*/ 438831 w 461147"/>
                  <a:gd name="connsiteY4" fmla="*/ 408712 h 434264"/>
                  <a:gd name="connsiteX5" fmla="*/ 303924 w 461147"/>
                  <a:gd name="connsiteY5" fmla="*/ 137439 h 434264"/>
                  <a:gd name="connsiteX6" fmla="*/ 22256 w 461147"/>
                  <a:gd name="connsiteY6" fmla="*/ 25758 h 434264"/>
                  <a:gd name="connsiteX7" fmla="*/ 30886 w 461147"/>
                  <a:gd name="connsiteY7" fmla="*/ 136262 h 434264"/>
                  <a:gd name="connsiteX8" fmla="*/ 157164 w 461147"/>
                  <a:gd name="connsiteY8" fmla="*/ 297031 h 434264"/>
                  <a:gd name="connsiteX9" fmla="*/ 157444 w 461147"/>
                  <a:gd name="connsiteY9" fmla="*/ 304120 h 434264"/>
                  <a:gd name="connsiteX10" fmla="*/ 150356 w 461147"/>
                  <a:gd name="connsiteY10" fmla="*/ 304428 h 434264"/>
                  <a:gd name="connsiteX11" fmla="*/ 21864 w 461147"/>
                  <a:gd name="connsiteY11" fmla="*/ 140661 h 434264"/>
                  <a:gd name="connsiteX12" fmla="*/ 14859 w 461147"/>
                  <a:gd name="connsiteY12" fmla="*/ 18950 h 434264"/>
                  <a:gd name="connsiteX13" fmla="*/ 310704 w 461147"/>
                  <a:gd name="connsiteY13" fmla="*/ 130014 h 434264"/>
                  <a:gd name="connsiteX14" fmla="*/ 446200 w 461147"/>
                  <a:gd name="connsiteY14" fmla="*/ 415464 h 434264"/>
                  <a:gd name="connsiteX15" fmla="*/ 395207 w 461147"/>
                  <a:gd name="connsiteY15" fmla="*/ 434264 h 434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1147" h="434264">
                    <a:moveTo>
                      <a:pt x="395207" y="434264"/>
                    </a:moveTo>
                    <a:cubicBezTo>
                      <a:pt x="386661" y="434264"/>
                      <a:pt x="377415" y="433340"/>
                      <a:pt x="367497" y="431434"/>
                    </a:cubicBezTo>
                    <a:cubicBezTo>
                      <a:pt x="364779" y="430902"/>
                      <a:pt x="362986" y="428296"/>
                      <a:pt x="363518" y="425579"/>
                    </a:cubicBezTo>
                    <a:cubicBezTo>
                      <a:pt x="364051" y="422861"/>
                      <a:pt x="366684" y="421096"/>
                      <a:pt x="369374" y="421600"/>
                    </a:cubicBezTo>
                    <a:cubicBezTo>
                      <a:pt x="401427" y="427736"/>
                      <a:pt x="425439" y="423253"/>
                      <a:pt x="438831" y="408712"/>
                    </a:cubicBezTo>
                    <a:cubicBezTo>
                      <a:pt x="479262" y="364695"/>
                      <a:pt x="418742" y="243012"/>
                      <a:pt x="303924" y="137439"/>
                    </a:cubicBezTo>
                    <a:cubicBezTo>
                      <a:pt x="189049" y="31838"/>
                      <a:pt x="62715" y="-18258"/>
                      <a:pt x="22256" y="25758"/>
                    </a:cubicBezTo>
                    <a:cubicBezTo>
                      <a:pt x="3512" y="46128"/>
                      <a:pt x="6678" y="86390"/>
                      <a:pt x="30886" y="136262"/>
                    </a:cubicBezTo>
                    <a:cubicBezTo>
                      <a:pt x="56158" y="188292"/>
                      <a:pt x="100987" y="245393"/>
                      <a:pt x="157164" y="297031"/>
                    </a:cubicBezTo>
                    <a:cubicBezTo>
                      <a:pt x="159209" y="298908"/>
                      <a:pt x="159349" y="302074"/>
                      <a:pt x="157444" y="304120"/>
                    </a:cubicBezTo>
                    <a:cubicBezTo>
                      <a:pt x="155567" y="306165"/>
                      <a:pt x="152401" y="306305"/>
                      <a:pt x="150356" y="304428"/>
                    </a:cubicBezTo>
                    <a:cubicBezTo>
                      <a:pt x="93282" y="251950"/>
                      <a:pt x="47669" y="193784"/>
                      <a:pt x="21864" y="140661"/>
                    </a:cubicBezTo>
                    <a:cubicBezTo>
                      <a:pt x="-4641" y="86082"/>
                      <a:pt x="-7135" y="42849"/>
                      <a:pt x="14859" y="18950"/>
                    </a:cubicBezTo>
                    <a:cubicBezTo>
                      <a:pt x="59801" y="-29942"/>
                      <a:pt x="189749" y="18838"/>
                      <a:pt x="310704" y="130014"/>
                    </a:cubicBezTo>
                    <a:cubicBezTo>
                      <a:pt x="431603" y="241191"/>
                      <a:pt x="491113" y="366572"/>
                      <a:pt x="446200" y="415464"/>
                    </a:cubicBezTo>
                    <a:cubicBezTo>
                      <a:pt x="434769" y="427932"/>
                      <a:pt x="417397" y="434264"/>
                      <a:pt x="395207" y="434264"/>
                    </a:cubicBezTo>
                    <a:close/>
                  </a:path>
                </a:pathLst>
              </a:custGeom>
              <a:solidFill>
                <a:schemeClr val="accent1"/>
              </a:solidFill>
              <a:ln w="2793" cap="flat">
                <a:noFill/>
                <a:prstDash val="solid"/>
                <a:miter/>
              </a:ln>
            </p:spPr>
            <p:txBody>
              <a:bodyPr rtlCol="0" anchor="ctr"/>
              <a:lstStyle/>
              <a:p>
                <a:endParaRPr lang="en-GB" dirty="0"/>
              </a:p>
            </p:txBody>
          </p:sp>
        </p:grpSp>
      </p:grpSp>
      <p:grpSp>
        <p:nvGrpSpPr>
          <p:cNvPr id="22" name="Group 21">
            <a:extLst>
              <a:ext uri="{FF2B5EF4-FFF2-40B4-BE49-F238E27FC236}">
                <a16:creationId xmlns:a16="http://schemas.microsoft.com/office/drawing/2014/main" id="{A7860D7F-61EB-E541-A86D-3A6FF1AFFBC0}"/>
              </a:ext>
            </a:extLst>
          </p:cNvPr>
          <p:cNvGrpSpPr/>
          <p:nvPr/>
        </p:nvGrpSpPr>
        <p:grpSpPr>
          <a:xfrm>
            <a:off x="2568236" y="4031925"/>
            <a:ext cx="633364" cy="373372"/>
            <a:chOff x="2568236" y="4031925"/>
            <a:chExt cx="633364" cy="373372"/>
          </a:xfrm>
        </p:grpSpPr>
        <p:grpSp>
          <p:nvGrpSpPr>
            <p:cNvPr id="290" name="Group 289">
              <a:extLst>
                <a:ext uri="{FF2B5EF4-FFF2-40B4-BE49-F238E27FC236}">
                  <a16:creationId xmlns:a16="http://schemas.microsoft.com/office/drawing/2014/main" id="{8C3FFFFA-0B14-4174-BF88-9F6DDE3C5173}"/>
                </a:ext>
              </a:extLst>
            </p:cNvPr>
            <p:cNvGrpSpPr/>
            <p:nvPr/>
          </p:nvGrpSpPr>
          <p:grpSpPr>
            <a:xfrm>
              <a:off x="2883289" y="4169790"/>
              <a:ext cx="163990" cy="106076"/>
              <a:chOff x="6349721" y="1839528"/>
              <a:chExt cx="170574" cy="110335"/>
            </a:xfrm>
          </p:grpSpPr>
          <p:sp>
            <p:nvSpPr>
              <p:cNvPr id="306" name="Freihandform: Form 883">
                <a:extLst>
                  <a:ext uri="{FF2B5EF4-FFF2-40B4-BE49-F238E27FC236}">
                    <a16:creationId xmlns:a16="http://schemas.microsoft.com/office/drawing/2014/main" id="{C6E558CB-0C79-424F-9692-60EA1A5EA941}"/>
                  </a:ext>
                </a:extLst>
              </p:cNvPr>
              <p:cNvSpPr/>
              <p:nvPr/>
            </p:nvSpPr>
            <p:spPr>
              <a:xfrm>
                <a:off x="6349721" y="1839528"/>
                <a:ext cx="43484" cy="10030"/>
              </a:xfrm>
              <a:custGeom>
                <a:avLst/>
                <a:gdLst>
                  <a:gd name="connsiteX0" fmla="*/ 38469 w 43484"/>
                  <a:gd name="connsiteY0" fmla="*/ 10031 h 10030"/>
                  <a:gd name="connsiteX1" fmla="*/ 5015 w 43484"/>
                  <a:gd name="connsiteY1" fmla="*/ 10031 h 10030"/>
                  <a:gd name="connsiteX2" fmla="*/ 0 w 43484"/>
                  <a:gd name="connsiteY2" fmla="*/ 5015 h 10030"/>
                  <a:gd name="connsiteX3" fmla="*/ 5015 w 43484"/>
                  <a:gd name="connsiteY3" fmla="*/ 0 h 10030"/>
                  <a:gd name="connsiteX4" fmla="*/ 38469 w 43484"/>
                  <a:gd name="connsiteY4" fmla="*/ 0 h 10030"/>
                  <a:gd name="connsiteX5" fmla="*/ 43484 w 43484"/>
                  <a:gd name="connsiteY5" fmla="*/ 5015 h 10030"/>
                  <a:gd name="connsiteX6" fmla="*/ 38469 w 43484"/>
                  <a:gd name="connsiteY6" fmla="*/ 10031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84" h="10030">
                    <a:moveTo>
                      <a:pt x="38469" y="10031"/>
                    </a:moveTo>
                    <a:lnTo>
                      <a:pt x="5015" y="10031"/>
                    </a:lnTo>
                    <a:cubicBezTo>
                      <a:pt x="2241" y="10031"/>
                      <a:pt x="0" y="7789"/>
                      <a:pt x="0" y="5015"/>
                    </a:cubicBezTo>
                    <a:cubicBezTo>
                      <a:pt x="0" y="2241"/>
                      <a:pt x="2241" y="0"/>
                      <a:pt x="5015" y="0"/>
                    </a:cubicBezTo>
                    <a:lnTo>
                      <a:pt x="38469" y="0"/>
                    </a:lnTo>
                    <a:cubicBezTo>
                      <a:pt x="41243" y="0"/>
                      <a:pt x="43484" y="2241"/>
                      <a:pt x="43484" y="5015"/>
                    </a:cubicBezTo>
                    <a:cubicBezTo>
                      <a:pt x="43512" y="7789"/>
                      <a:pt x="41243" y="10031"/>
                      <a:pt x="38469" y="10031"/>
                    </a:cubicBezTo>
                    <a:close/>
                  </a:path>
                </a:pathLst>
              </a:custGeom>
              <a:solidFill>
                <a:schemeClr val="accent1"/>
              </a:solidFill>
              <a:ln w="2793" cap="flat">
                <a:noFill/>
                <a:prstDash val="solid"/>
                <a:miter/>
              </a:ln>
            </p:spPr>
            <p:txBody>
              <a:bodyPr rtlCol="0" anchor="ctr"/>
              <a:lstStyle/>
              <a:p>
                <a:endParaRPr lang="en-GB" dirty="0"/>
              </a:p>
            </p:txBody>
          </p:sp>
          <p:sp>
            <p:nvSpPr>
              <p:cNvPr id="307" name="Freihandform: Form 884">
                <a:extLst>
                  <a:ext uri="{FF2B5EF4-FFF2-40B4-BE49-F238E27FC236}">
                    <a16:creationId xmlns:a16="http://schemas.microsoft.com/office/drawing/2014/main" id="{74595CC3-4F12-4B46-800D-DC2944A67501}"/>
                  </a:ext>
                </a:extLst>
              </p:cNvPr>
              <p:cNvSpPr/>
              <p:nvPr/>
            </p:nvSpPr>
            <p:spPr>
              <a:xfrm>
                <a:off x="6476811" y="1839528"/>
                <a:ext cx="43484" cy="10030"/>
              </a:xfrm>
              <a:custGeom>
                <a:avLst/>
                <a:gdLst>
                  <a:gd name="connsiteX0" fmla="*/ 38469 w 43484"/>
                  <a:gd name="connsiteY0" fmla="*/ 10031 h 10030"/>
                  <a:gd name="connsiteX1" fmla="*/ 5015 w 43484"/>
                  <a:gd name="connsiteY1" fmla="*/ 10031 h 10030"/>
                  <a:gd name="connsiteX2" fmla="*/ 0 w 43484"/>
                  <a:gd name="connsiteY2" fmla="*/ 5015 h 10030"/>
                  <a:gd name="connsiteX3" fmla="*/ 5015 w 43484"/>
                  <a:gd name="connsiteY3" fmla="*/ 0 h 10030"/>
                  <a:gd name="connsiteX4" fmla="*/ 38469 w 43484"/>
                  <a:gd name="connsiteY4" fmla="*/ 0 h 10030"/>
                  <a:gd name="connsiteX5" fmla="*/ 43484 w 43484"/>
                  <a:gd name="connsiteY5" fmla="*/ 5015 h 10030"/>
                  <a:gd name="connsiteX6" fmla="*/ 38469 w 43484"/>
                  <a:gd name="connsiteY6" fmla="*/ 10031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484" h="10030">
                    <a:moveTo>
                      <a:pt x="38469" y="10031"/>
                    </a:moveTo>
                    <a:lnTo>
                      <a:pt x="5015" y="10031"/>
                    </a:lnTo>
                    <a:cubicBezTo>
                      <a:pt x="2242" y="10031"/>
                      <a:pt x="0" y="7789"/>
                      <a:pt x="0" y="5015"/>
                    </a:cubicBezTo>
                    <a:cubicBezTo>
                      <a:pt x="0" y="2241"/>
                      <a:pt x="2242" y="0"/>
                      <a:pt x="5015" y="0"/>
                    </a:cubicBezTo>
                    <a:lnTo>
                      <a:pt x="38469" y="0"/>
                    </a:lnTo>
                    <a:cubicBezTo>
                      <a:pt x="41243" y="0"/>
                      <a:pt x="43484" y="2241"/>
                      <a:pt x="43484" y="5015"/>
                    </a:cubicBezTo>
                    <a:cubicBezTo>
                      <a:pt x="43484" y="7789"/>
                      <a:pt x="41243" y="10031"/>
                      <a:pt x="38469" y="10031"/>
                    </a:cubicBezTo>
                    <a:close/>
                  </a:path>
                </a:pathLst>
              </a:custGeom>
              <a:solidFill>
                <a:schemeClr val="accent1"/>
              </a:solidFill>
              <a:ln w="2793" cap="flat">
                <a:noFill/>
                <a:prstDash val="solid"/>
                <a:miter/>
              </a:ln>
            </p:spPr>
            <p:txBody>
              <a:bodyPr rtlCol="0" anchor="ctr"/>
              <a:lstStyle/>
              <a:p>
                <a:endParaRPr lang="en-GB" dirty="0"/>
              </a:p>
            </p:txBody>
          </p:sp>
          <p:sp>
            <p:nvSpPr>
              <p:cNvPr id="308" name="Freihandform: Form 885">
                <a:extLst>
                  <a:ext uri="{FF2B5EF4-FFF2-40B4-BE49-F238E27FC236}">
                    <a16:creationId xmlns:a16="http://schemas.microsoft.com/office/drawing/2014/main" id="{1AA9B6C5-27DB-4950-BE16-EB387A64CFFB}"/>
                  </a:ext>
                </a:extLst>
              </p:cNvPr>
              <p:cNvSpPr/>
              <p:nvPr/>
            </p:nvSpPr>
            <p:spPr>
              <a:xfrm>
                <a:off x="6409960" y="1839528"/>
                <a:ext cx="50152" cy="10030"/>
              </a:xfrm>
              <a:custGeom>
                <a:avLst/>
                <a:gdLst>
                  <a:gd name="connsiteX0" fmla="*/ 45137 w 50152"/>
                  <a:gd name="connsiteY0" fmla="*/ 10031 h 10030"/>
                  <a:gd name="connsiteX1" fmla="*/ 5015 w 50152"/>
                  <a:gd name="connsiteY1" fmla="*/ 10031 h 10030"/>
                  <a:gd name="connsiteX2" fmla="*/ 0 w 50152"/>
                  <a:gd name="connsiteY2" fmla="*/ 5015 h 10030"/>
                  <a:gd name="connsiteX3" fmla="*/ 5015 w 50152"/>
                  <a:gd name="connsiteY3" fmla="*/ 0 h 10030"/>
                  <a:gd name="connsiteX4" fmla="*/ 45137 w 50152"/>
                  <a:gd name="connsiteY4" fmla="*/ 0 h 10030"/>
                  <a:gd name="connsiteX5" fmla="*/ 50153 w 50152"/>
                  <a:gd name="connsiteY5" fmla="*/ 5015 h 10030"/>
                  <a:gd name="connsiteX6" fmla="*/ 45137 w 50152"/>
                  <a:gd name="connsiteY6" fmla="*/ 10031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52" h="10030">
                    <a:moveTo>
                      <a:pt x="45137" y="10031"/>
                    </a:moveTo>
                    <a:lnTo>
                      <a:pt x="5015" y="10031"/>
                    </a:lnTo>
                    <a:cubicBezTo>
                      <a:pt x="2241" y="10031"/>
                      <a:pt x="0" y="7789"/>
                      <a:pt x="0" y="5015"/>
                    </a:cubicBezTo>
                    <a:cubicBezTo>
                      <a:pt x="0" y="2241"/>
                      <a:pt x="2241" y="0"/>
                      <a:pt x="5015" y="0"/>
                    </a:cubicBezTo>
                    <a:lnTo>
                      <a:pt x="45137" y="0"/>
                    </a:lnTo>
                    <a:cubicBezTo>
                      <a:pt x="47911" y="0"/>
                      <a:pt x="50153" y="2241"/>
                      <a:pt x="50153" y="5015"/>
                    </a:cubicBezTo>
                    <a:cubicBezTo>
                      <a:pt x="50153" y="7789"/>
                      <a:pt x="47883" y="10031"/>
                      <a:pt x="45137" y="10031"/>
                    </a:cubicBezTo>
                    <a:close/>
                  </a:path>
                </a:pathLst>
              </a:custGeom>
              <a:solidFill>
                <a:schemeClr val="accent1"/>
              </a:solidFill>
              <a:ln w="2793" cap="flat">
                <a:noFill/>
                <a:prstDash val="solid"/>
                <a:miter/>
              </a:ln>
            </p:spPr>
            <p:txBody>
              <a:bodyPr rtlCol="0" anchor="ctr"/>
              <a:lstStyle/>
              <a:p>
                <a:endParaRPr lang="en-GB" dirty="0"/>
              </a:p>
            </p:txBody>
          </p:sp>
          <p:sp>
            <p:nvSpPr>
              <p:cNvPr id="309" name="Freihandform: Form 886">
                <a:extLst>
                  <a:ext uri="{FF2B5EF4-FFF2-40B4-BE49-F238E27FC236}">
                    <a16:creationId xmlns:a16="http://schemas.microsoft.com/office/drawing/2014/main" id="{DF738A1F-5E37-4362-AFB6-6EFA26B33F43}"/>
                  </a:ext>
                </a:extLst>
              </p:cNvPr>
              <p:cNvSpPr/>
              <p:nvPr/>
            </p:nvSpPr>
            <p:spPr>
              <a:xfrm>
                <a:off x="6349749" y="1906408"/>
                <a:ext cx="163850" cy="10030"/>
              </a:xfrm>
              <a:custGeom>
                <a:avLst/>
                <a:gdLst>
                  <a:gd name="connsiteX0" fmla="*/ 158835 w 163850"/>
                  <a:gd name="connsiteY0" fmla="*/ 10031 h 10030"/>
                  <a:gd name="connsiteX1" fmla="*/ 5015 w 163850"/>
                  <a:gd name="connsiteY1" fmla="*/ 10031 h 10030"/>
                  <a:gd name="connsiteX2" fmla="*/ 0 w 163850"/>
                  <a:gd name="connsiteY2" fmla="*/ 5015 h 10030"/>
                  <a:gd name="connsiteX3" fmla="*/ 5015 w 163850"/>
                  <a:gd name="connsiteY3" fmla="*/ 0 h 10030"/>
                  <a:gd name="connsiteX4" fmla="*/ 158835 w 163850"/>
                  <a:gd name="connsiteY4" fmla="*/ 0 h 10030"/>
                  <a:gd name="connsiteX5" fmla="*/ 163851 w 163850"/>
                  <a:gd name="connsiteY5" fmla="*/ 5015 h 10030"/>
                  <a:gd name="connsiteX6" fmla="*/ 158835 w 163850"/>
                  <a:gd name="connsiteY6" fmla="*/ 10031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50" h="10030">
                    <a:moveTo>
                      <a:pt x="158835" y="10031"/>
                    </a:moveTo>
                    <a:lnTo>
                      <a:pt x="5015" y="10031"/>
                    </a:lnTo>
                    <a:cubicBezTo>
                      <a:pt x="2242" y="10031"/>
                      <a:pt x="0" y="7789"/>
                      <a:pt x="0" y="5015"/>
                    </a:cubicBezTo>
                    <a:cubicBezTo>
                      <a:pt x="0" y="2241"/>
                      <a:pt x="2242" y="0"/>
                      <a:pt x="5015" y="0"/>
                    </a:cubicBezTo>
                    <a:lnTo>
                      <a:pt x="158835" y="0"/>
                    </a:lnTo>
                    <a:cubicBezTo>
                      <a:pt x="161609" y="0"/>
                      <a:pt x="163851" y="2241"/>
                      <a:pt x="163851" y="5015"/>
                    </a:cubicBezTo>
                    <a:cubicBezTo>
                      <a:pt x="163851" y="7789"/>
                      <a:pt x="161609" y="10031"/>
                      <a:pt x="158835" y="10031"/>
                    </a:cubicBezTo>
                    <a:close/>
                  </a:path>
                </a:pathLst>
              </a:custGeom>
              <a:solidFill>
                <a:schemeClr val="accent1"/>
              </a:solidFill>
              <a:ln w="2793" cap="flat">
                <a:noFill/>
                <a:prstDash val="solid"/>
                <a:miter/>
              </a:ln>
            </p:spPr>
            <p:txBody>
              <a:bodyPr rtlCol="0" anchor="ctr"/>
              <a:lstStyle/>
              <a:p>
                <a:endParaRPr lang="en-GB" dirty="0"/>
              </a:p>
            </p:txBody>
          </p:sp>
          <p:sp>
            <p:nvSpPr>
              <p:cNvPr id="310" name="Freihandform: Form 887">
                <a:extLst>
                  <a:ext uri="{FF2B5EF4-FFF2-40B4-BE49-F238E27FC236}">
                    <a16:creationId xmlns:a16="http://schemas.microsoft.com/office/drawing/2014/main" id="{6B8A9935-7873-44D0-B98E-65B0D0EA4B3C}"/>
                  </a:ext>
                </a:extLst>
              </p:cNvPr>
              <p:cNvSpPr/>
              <p:nvPr/>
            </p:nvSpPr>
            <p:spPr>
              <a:xfrm>
                <a:off x="6349749" y="1939833"/>
                <a:ext cx="163850" cy="10030"/>
              </a:xfrm>
              <a:custGeom>
                <a:avLst/>
                <a:gdLst>
                  <a:gd name="connsiteX0" fmla="*/ 158835 w 163850"/>
                  <a:gd name="connsiteY0" fmla="*/ 10031 h 10030"/>
                  <a:gd name="connsiteX1" fmla="*/ 5015 w 163850"/>
                  <a:gd name="connsiteY1" fmla="*/ 10031 h 10030"/>
                  <a:gd name="connsiteX2" fmla="*/ 0 w 163850"/>
                  <a:gd name="connsiteY2" fmla="*/ 5015 h 10030"/>
                  <a:gd name="connsiteX3" fmla="*/ 5015 w 163850"/>
                  <a:gd name="connsiteY3" fmla="*/ 0 h 10030"/>
                  <a:gd name="connsiteX4" fmla="*/ 158835 w 163850"/>
                  <a:gd name="connsiteY4" fmla="*/ 0 h 10030"/>
                  <a:gd name="connsiteX5" fmla="*/ 163851 w 163850"/>
                  <a:gd name="connsiteY5" fmla="*/ 5015 h 10030"/>
                  <a:gd name="connsiteX6" fmla="*/ 158835 w 163850"/>
                  <a:gd name="connsiteY6" fmla="*/ 10031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3850" h="10030">
                    <a:moveTo>
                      <a:pt x="158835" y="10031"/>
                    </a:moveTo>
                    <a:lnTo>
                      <a:pt x="5015" y="10031"/>
                    </a:lnTo>
                    <a:cubicBezTo>
                      <a:pt x="2242" y="10031"/>
                      <a:pt x="0" y="7789"/>
                      <a:pt x="0" y="5015"/>
                    </a:cubicBezTo>
                    <a:cubicBezTo>
                      <a:pt x="0" y="2241"/>
                      <a:pt x="2242" y="0"/>
                      <a:pt x="5015" y="0"/>
                    </a:cubicBezTo>
                    <a:lnTo>
                      <a:pt x="158835" y="0"/>
                    </a:lnTo>
                    <a:cubicBezTo>
                      <a:pt x="161609" y="0"/>
                      <a:pt x="163851" y="2241"/>
                      <a:pt x="163851" y="5015"/>
                    </a:cubicBezTo>
                    <a:cubicBezTo>
                      <a:pt x="163851" y="7789"/>
                      <a:pt x="161609" y="10031"/>
                      <a:pt x="158835" y="10031"/>
                    </a:cubicBezTo>
                    <a:close/>
                  </a:path>
                </a:pathLst>
              </a:custGeom>
              <a:solidFill>
                <a:schemeClr val="accent1"/>
              </a:solidFill>
              <a:ln w="2793" cap="flat">
                <a:noFill/>
                <a:prstDash val="solid"/>
                <a:miter/>
              </a:ln>
            </p:spPr>
            <p:txBody>
              <a:bodyPr rtlCol="0" anchor="ctr"/>
              <a:lstStyle/>
              <a:p>
                <a:endParaRPr lang="en-GB" dirty="0"/>
              </a:p>
            </p:txBody>
          </p:sp>
        </p:grpSp>
        <p:grpSp>
          <p:nvGrpSpPr>
            <p:cNvPr id="291" name="Group 290">
              <a:extLst>
                <a:ext uri="{FF2B5EF4-FFF2-40B4-BE49-F238E27FC236}">
                  <a16:creationId xmlns:a16="http://schemas.microsoft.com/office/drawing/2014/main" id="{EDE7D2F7-AC33-4A49-9104-7E9B2284528B}"/>
                </a:ext>
              </a:extLst>
            </p:cNvPr>
            <p:cNvGrpSpPr/>
            <p:nvPr/>
          </p:nvGrpSpPr>
          <p:grpSpPr>
            <a:xfrm>
              <a:off x="2568236" y="4031925"/>
              <a:ext cx="633364" cy="373372"/>
              <a:chOff x="6022019" y="1696128"/>
              <a:chExt cx="658792" cy="388363"/>
            </a:xfrm>
            <a:solidFill>
              <a:schemeClr val="tx2"/>
            </a:solidFill>
          </p:grpSpPr>
          <p:sp>
            <p:nvSpPr>
              <p:cNvPr id="292" name="Freihandform: Form 868">
                <a:extLst>
                  <a:ext uri="{FF2B5EF4-FFF2-40B4-BE49-F238E27FC236}">
                    <a16:creationId xmlns:a16="http://schemas.microsoft.com/office/drawing/2014/main" id="{DBF233D1-60D7-42AA-9240-54A45247AE8D}"/>
                  </a:ext>
                </a:extLst>
              </p:cNvPr>
              <p:cNvSpPr/>
              <p:nvPr/>
            </p:nvSpPr>
            <p:spPr>
              <a:xfrm>
                <a:off x="6022019" y="2006741"/>
                <a:ext cx="658792" cy="10030"/>
              </a:xfrm>
              <a:custGeom>
                <a:avLst/>
                <a:gdLst>
                  <a:gd name="connsiteX0" fmla="*/ 653778 w 658792"/>
                  <a:gd name="connsiteY0" fmla="*/ 10031 h 10030"/>
                  <a:gd name="connsiteX1" fmla="*/ 5015 w 658792"/>
                  <a:gd name="connsiteY1" fmla="*/ 10031 h 10030"/>
                  <a:gd name="connsiteX2" fmla="*/ 0 w 658792"/>
                  <a:gd name="connsiteY2" fmla="*/ 5015 h 10030"/>
                  <a:gd name="connsiteX3" fmla="*/ 5015 w 658792"/>
                  <a:gd name="connsiteY3" fmla="*/ 0 h 10030"/>
                  <a:gd name="connsiteX4" fmla="*/ 653778 w 658792"/>
                  <a:gd name="connsiteY4" fmla="*/ 0 h 10030"/>
                  <a:gd name="connsiteX5" fmla="*/ 658793 w 658792"/>
                  <a:gd name="connsiteY5" fmla="*/ 5015 h 10030"/>
                  <a:gd name="connsiteX6" fmla="*/ 653778 w 658792"/>
                  <a:gd name="connsiteY6" fmla="*/ 10031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8792" h="10030">
                    <a:moveTo>
                      <a:pt x="653778" y="10031"/>
                    </a:moveTo>
                    <a:lnTo>
                      <a:pt x="5015" y="10031"/>
                    </a:lnTo>
                    <a:cubicBezTo>
                      <a:pt x="2242" y="10031"/>
                      <a:pt x="0" y="7789"/>
                      <a:pt x="0" y="5015"/>
                    </a:cubicBezTo>
                    <a:cubicBezTo>
                      <a:pt x="0" y="2241"/>
                      <a:pt x="2242" y="0"/>
                      <a:pt x="5015" y="0"/>
                    </a:cubicBezTo>
                    <a:lnTo>
                      <a:pt x="653778" y="0"/>
                    </a:lnTo>
                    <a:cubicBezTo>
                      <a:pt x="656552" y="0"/>
                      <a:pt x="658793" y="2241"/>
                      <a:pt x="658793" y="5015"/>
                    </a:cubicBezTo>
                    <a:cubicBezTo>
                      <a:pt x="658793" y="7761"/>
                      <a:pt x="656552" y="10031"/>
                      <a:pt x="653778" y="10031"/>
                    </a:cubicBezTo>
                    <a:close/>
                  </a:path>
                </a:pathLst>
              </a:custGeom>
              <a:grpFill/>
              <a:ln w="2793" cap="flat">
                <a:noFill/>
                <a:prstDash val="solid"/>
                <a:miter/>
              </a:ln>
            </p:spPr>
            <p:txBody>
              <a:bodyPr rtlCol="0" anchor="ctr"/>
              <a:lstStyle/>
              <a:p>
                <a:endParaRPr lang="en-GB" dirty="0"/>
              </a:p>
            </p:txBody>
          </p:sp>
          <p:sp>
            <p:nvSpPr>
              <p:cNvPr id="293" name="Freihandform: Form 869">
                <a:extLst>
                  <a:ext uri="{FF2B5EF4-FFF2-40B4-BE49-F238E27FC236}">
                    <a16:creationId xmlns:a16="http://schemas.microsoft.com/office/drawing/2014/main" id="{6B02697D-B391-47C9-99DF-C8049EA621A7}"/>
                  </a:ext>
                </a:extLst>
              </p:cNvPr>
              <p:cNvSpPr/>
              <p:nvPr/>
            </p:nvSpPr>
            <p:spPr>
              <a:xfrm>
                <a:off x="6075534" y="2006741"/>
                <a:ext cx="50152" cy="76910"/>
              </a:xfrm>
              <a:custGeom>
                <a:avLst/>
                <a:gdLst>
                  <a:gd name="connsiteX0" fmla="*/ 45137 w 50152"/>
                  <a:gd name="connsiteY0" fmla="*/ 76910 h 76910"/>
                  <a:gd name="connsiteX1" fmla="*/ 40122 w 50152"/>
                  <a:gd name="connsiteY1" fmla="*/ 71895 h 76910"/>
                  <a:gd name="connsiteX2" fmla="*/ 40122 w 50152"/>
                  <a:gd name="connsiteY2" fmla="*/ 10031 h 76910"/>
                  <a:gd name="connsiteX3" fmla="*/ 10031 w 50152"/>
                  <a:gd name="connsiteY3" fmla="*/ 10031 h 76910"/>
                  <a:gd name="connsiteX4" fmla="*/ 10031 w 50152"/>
                  <a:gd name="connsiteY4" fmla="*/ 71895 h 76910"/>
                  <a:gd name="connsiteX5" fmla="*/ 5015 w 50152"/>
                  <a:gd name="connsiteY5" fmla="*/ 76910 h 76910"/>
                  <a:gd name="connsiteX6" fmla="*/ 0 w 50152"/>
                  <a:gd name="connsiteY6" fmla="*/ 71895 h 76910"/>
                  <a:gd name="connsiteX7" fmla="*/ 0 w 50152"/>
                  <a:gd name="connsiteY7" fmla="*/ 5015 h 76910"/>
                  <a:gd name="connsiteX8" fmla="*/ 5015 w 50152"/>
                  <a:gd name="connsiteY8" fmla="*/ 0 h 76910"/>
                  <a:gd name="connsiteX9" fmla="*/ 45137 w 50152"/>
                  <a:gd name="connsiteY9" fmla="*/ 0 h 76910"/>
                  <a:gd name="connsiteX10" fmla="*/ 50153 w 50152"/>
                  <a:gd name="connsiteY10" fmla="*/ 5015 h 76910"/>
                  <a:gd name="connsiteX11" fmla="*/ 50153 w 50152"/>
                  <a:gd name="connsiteY11" fmla="*/ 71895 h 76910"/>
                  <a:gd name="connsiteX12" fmla="*/ 45137 w 50152"/>
                  <a:gd name="connsiteY12" fmla="*/ 76910 h 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52" h="76910">
                    <a:moveTo>
                      <a:pt x="45137" y="76910"/>
                    </a:moveTo>
                    <a:cubicBezTo>
                      <a:pt x="42364" y="76910"/>
                      <a:pt x="40122" y="74669"/>
                      <a:pt x="40122" y="71895"/>
                    </a:cubicBezTo>
                    <a:lnTo>
                      <a:pt x="40122" y="10031"/>
                    </a:lnTo>
                    <a:lnTo>
                      <a:pt x="10031" y="10031"/>
                    </a:lnTo>
                    <a:lnTo>
                      <a:pt x="10031" y="71895"/>
                    </a:lnTo>
                    <a:cubicBezTo>
                      <a:pt x="10031" y="74669"/>
                      <a:pt x="7789" y="76910"/>
                      <a:pt x="5015" y="76910"/>
                    </a:cubicBezTo>
                    <a:cubicBezTo>
                      <a:pt x="2242" y="76910"/>
                      <a:pt x="0" y="74669"/>
                      <a:pt x="0" y="71895"/>
                    </a:cubicBezTo>
                    <a:lnTo>
                      <a:pt x="0" y="5015"/>
                    </a:lnTo>
                    <a:cubicBezTo>
                      <a:pt x="0" y="2241"/>
                      <a:pt x="2242" y="0"/>
                      <a:pt x="5015" y="0"/>
                    </a:cubicBezTo>
                    <a:lnTo>
                      <a:pt x="45137" y="0"/>
                    </a:lnTo>
                    <a:cubicBezTo>
                      <a:pt x="47911" y="0"/>
                      <a:pt x="50153" y="2241"/>
                      <a:pt x="50153" y="5015"/>
                    </a:cubicBezTo>
                    <a:lnTo>
                      <a:pt x="50153" y="71895"/>
                    </a:lnTo>
                    <a:cubicBezTo>
                      <a:pt x="50153" y="74669"/>
                      <a:pt x="47911" y="76910"/>
                      <a:pt x="45137" y="76910"/>
                    </a:cubicBezTo>
                    <a:close/>
                  </a:path>
                </a:pathLst>
              </a:custGeom>
              <a:grpFill/>
              <a:ln w="2793" cap="flat">
                <a:noFill/>
                <a:prstDash val="solid"/>
                <a:miter/>
              </a:ln>
            </p:spPr>
            <p:txBody>
              <a:bodyPr rtlCol="0" anchor="ctr"/>
              <a:lstStyle/>
              <a:p>
                <a:endParaRPr lang="en-GB" dirty="0"/>
              </a:p>
            </p:txBody>
          </p:sp>
          <p:sp>
            <p:nvSpPr>
              <p:cNvPr id="294" name="Freihandform: Form 870">
                <a:extLst>
                  <a:ext uri="{FF2B5EF4-FFF2-40B4-BE49-F238E27FC236}">
                    <a16:creationId xmlns:a16="http://schemas.microsoft.com/office/drawing/2014/main" id="{0E2CAEB2-6027-417D-A5EC-401E9D26E8B0}"/>
                  </a:ext>
                </a:extLst>
              </p:cNvPr>
              <p:cNvSpPr/>
              <p:nvPr/>
            </p:nvSpPr>
            <p:spPr>
              <a:xfrm>
                <a:off x="6577985" y="2007553"/>
                <a:ext cx="50152" cy="76938"/>
              </a:xfrm>
              <a:custGeom>
                <a:avLst/>
                <a:gdLst>
                  <a:gd name="connsiteX0" fmla="*/ 45137 w 50152"/>
                  <a:gd name="connsiteY0" fmla="*/ 76938 h 76938"/>
                  <a:gd name="connsiteX1" fmla="*/ 40122 w 50152"/>
                  <a:gd name="connsiteY1" fmla="*/ 71923 h 76938"/>
                  <a:gd name="connsiteX2" fmla="*/ 40122 w 50152"/>
                  <a:gd name="connsiteY2" fmla="*/ 10059 h 76938"/>
                  <a:gd name="connsiteX3" fmla="*/ 10030 w 50152"/>
                  <a:gd name="connsiteY3" fmla="*/ 10059 h 76938"/>
                  <a:gd name="connsiteX4" fmla="*/ 10030 w 50152"/>
                  <a:gd name="connsiteY4" fmla="*/ 71923 h 76938"/>
                  <a:gd name="connsiteX5" fmla="*/ 5015 w 50152"/>
                  <a:gd name="connsiteY5" fmla="*/ 76938 h 76938"/>
                  <a:gd name="connsiteX6" fmla="*/ 0 w 50152"/>
                  <a:gd name="connsiteY6" fmla="*/ 71923 h 76938"/>
                  <a:gd name="connsiteX7" fmla="*/ 0 w 50152"/>
                  <a:gd name="connsiteY7" fmla="*/ 5015 h 76938"/>
                  <a:gd name="connsiteX8" fmla="*/ 5015 w 50152"/>
                  <a:gd name="connsiteY8" fmla="*/ 0 h 76938"/>
                  <a:gd name="connsiteX9" fmla="*/ 45137 w 50152"/>
                  <a:gd name="connsiteY9" fmla="*/ 0 h 76938"/>
                  <a:gd name="connsiteX10" fmla="*/ 50153 w 50152"/>
                  <a:gd name="connsiteY10" fmla="*/ 5015 h 76938"/>
                  <a:gd name="connsiteX11" fmla="*/ 50153 w 50152"/>
                  <a:gd name="connsiteY11" fmla="*/ 71895 h 76938"/>
                  <a:gd name="connsiteX12" fmla="*/ 45137 w 50152"/>
                  <a:gd name="connsiteY12" fmla="*/ 76938 h 76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152" h="76938">
                    <a:moveTo>
                      <a:pt x="45137" y="76938"/>
                    </a:moveTo>
                    <a:cubicBezTo>
                      <a:pt x="42364" y="76938"/>
                      <a:pt x="40122" y="74697"/>
                      <a:pt x="40122" y="71923"/>
                    </a:cubicBezTo>
                    <a:lnTo>
                      <a:pt x="40122" y="10059"/>
                    </a:lnTo>
                    <a:lnTo>
                      <a:pt x="10030" y="10059"/>
                    </a:lnTo>
                    <a:lnTo>
                      <a:pt x="10030" y="71923"/>
                    </a:lnTo>
                    <a:cubicBezTo>
                      <a:pt x="10030" y="74697"/>
                      <a:pt x="7789" y="76938"/>
                      <a:pt x="5015" y="76938"/>
                    </a:cubicBezTo>
                    <a:cubicBezTo>
                      <a:pt x="2241" y="76938"/>
                      <a:pt x="0" y="74697"/>
                      <a:pt x="0" y="71923"/>
                    </a:cubicBezTo>
                    <a:lnTo>
                      <a:pt x="0" y="5015"/>
                    </a:lnTo>
                    <a:cubicBezTo>
                      <a:pt x="0" y="2241"/>
                      <a:pt x="2241" y="0"/>
                      <a:pt x="5015" y="0"/>
                    </a:cubicBezTo>
                    <a:lnTo>
                      <a:pt x="45137" y="0"/>
                    </a:lnTo>
                    <a:cubicBezTo>
                      <a:pt x="47911" y="0"/>
                      <a:pt x="50153" y="2241"/>
                      <a:pt x="50153" y="5015"/>
                    </a:cubicBezTo>
                    <a:lnTo>
                      <a:pt x="50153" y="71895"/>
                    </a:lnTo>
                    <a:cubicBezTo>
                      <a:pt x="50153" y="74669"/>
                      <a:pt x="47911" y="76938"/>
                      <a:pt x="45137" y="76938"/>
                    </a:cubicBezTo>
                    <a:close/>
                  </a:path>
                </a:pathLst>
              </a:custGeom>
              <a:grpFill/>
              <a:ln w="2793" cap="flat">
                <a:noFill/>
                <a:prstDash val="solid"/>
                <a:miter/>
              </a:ln>
            </p:spPr>
            <p:txBody>
              <a:bodyPr rtlCol="0" anchor="ctr"/>
              <a:lstStyle/>
              <a:p>
                <a:endParaRPr lang="en-GB" dirty="0"/>
              </a:p>
            </p:txBody>
          </p:sp>
          <p:sp>
            <p:nvSpPr>
              <p:cNvPr id="295" name="Freihandform: Form 871">
                <a:extLst>
                  <a:ext uri="{FF2B5EF4-FFF2-40B4-BE49-F238E27FC236}">
                    <a16:creationId xmlns:a16="http://schemas.microsoft.com/office/drawing/2014/main" id="{4F47C33F-0427-4435-BA8C-1BD000BC5270}"/>
                  </a:ext>
                </a:extLst>
              </p:cNvPr>
              <p:cNvSpPr/>
              <p:nvPr/>
            </p:nvSpPr>
            <p:spPr>
              <a:xfrm>
                <a:off x="6048777" y="1973315"/>
                <a:ext cx="130452" cy="43456"/>
              </a:xfrm>
              <a:custGeom>
                <a:avLst/>
                <a:gdLst>
                  <a:gd name="connsiteX0" fmla="*/ 125410 w 130452"/>
                  <a:gd name="connsiteY0" fmla="*/ 43456 h 43456"/>
                  <a:gd name="connsiteX1" fmla="*/ 5015 w 130452"/>
                  <a:gd name="connsiteY1" fmla="*/ 43456 h 43456"/>
                  <a:gd name="connsiteX2" fmla="*/ 0 w 130452"/>
                  <a:gd name="connsiteY2" fmla="*/ 38441 h 43456"/>
                  <a:gd name="connsiteX3" fmla="*/ 0 w 130452"/>
                  <a:gd name="connsiteY3" fmla="*/ 22302 h 43456"/>
                  <a:gd name="connsiteX4" fmla="*/ 22331 w 130452"/>
                  <a:gd name="connsiteY4" fmla="*/ 0 h 43456"/>
                  <a:gd name="connsiteX5" fmla="*/ 108122 w 130452"/>
                  <a:gd name="connsiteY5" fmla="*/ 0 h 43456"/>
                  <a:gd name="connsiteX6" fmla="*/ 130453 w 130452"/>
                  <a:gd name="connsiteY6" fmla="*/ 22302 h 43456"/>
                  <a:gd name="connsiteX7" fmla="*/ 130453 w 130452"/>
                  <a:gd name="connsiteY7" fmla="*/ 38441 h 43456"/>
                  <a:gd name="connsiteX8" fmla="*/ 125410 w 130452"/>
                  <a:gd name="connsiteY8" fmla="*/ 43456 h 43456"/>
                  <a:gd name="connsiteX9" fmla="*/ 10030 w 130452"/>
                  <a:gd name="connsiteY9" fmla="*/ 33426 h 43456"/>
                  <a:gd name="connsiteX10" fmla="*/ 120394 w 130452"/>
                  <a:gd name="connsiteY10" fmla="*/ 33426 h 43456"/>
                  <a:gd name="connsiteX11" fmla="*/ 120394 w 130452"/>
                  <a:gd name="connsiteY11" fmla="*/ 22302 h 43456"/>
                  <a:gd name="connsiteX12" fmla="*/ 108122 w 130452"/>
                  <a:gd name="connsiteY12" fmla="*/ 10031 h 43456"/>
                  <a:gd name="connsiteX13" fmla="*/ 22331 w 130452"/>
                  <a:gd name="connsiteY13" fmla="*/ 10031 h 43456"/>
                  <a:gd name="connsiteX14" fmla="*/ 10059 w 130452"/>
                  <a:gd name="connsiteY14" fmla="*/ 22302 h 43456"/>
                  <a:gd name="connsiteX15" fmla="*/ 10059 w 130452"/>
                  <a:gd name="connsiteY15" fmla="*/ 33426 h 43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452" h="43456">
                    <a:moveTo>
                      <a:pt x="125410" y="43456"/>
                    </a:moveTo>
                    <a:lnTo>
                      <a:pt x="5015" y="43456"/>
                    </a:lnTo>
                    <a:cubicBezTo>
                      <a:pt x="2241" y="43456"/>
                      <a:pt x="0" y="41215"/>
                      <a:pt x="0" y="38441"/>
                    </a:cubicBezTo>
                    <a:lnTo>
                      <a:pt x="0" y="22302"/>
                    </a:lnTo>
                    <a:cubicBezTo>
                      <a:pt x="0" y="10003"/>
                      <a:pt x="10003" y="0"/>
                      <a:pt x="22331" y="0"/>
                    </a:cubicBezTo>
                    <a:lnTo>
                      <a:pt x="108122" y="0"/>
                    </a:lnTo>
                    <a:cubicBezTo>
                      <a:pt x="120422" y="0"/>
                      <a:pt x="130453" y="10003"/>
                      <a:pt x="130453" y="22302"/>
                    </a:cubicBezTo>
                    <a:lnTo>
                      <a:pt x="130453" y="38441"/>
                    </a:lnTo>
                    <a:cubicBezTo>
                      <a:pt x="130425" y="41187"/>
                      <a:pt x="128183" y="43456"/>
                      <a:pt x="125410" y="43456"/>
                    </a:cubicBezTo>
                    <a:close/>
                    <a:moveTo>
                      <a:pt x="10030" y="33426"/>
                    </a:moveTo>
                    <a:lnTo>
                      <a:pt x="120394" y="33426"/>
                    </a:lnTo>
                    <a:lnTo>
                      <a:pt x="120394" y="22302"/>
                    </a:lnTo>
                    <a:cubicBezTo>
                      <a:pt x="120394" y="15522"/>
                      <a:pt x="114875" y="10031"/>
                      <a:pt x="108122" y="10031"/>
                    </a:cubicBezTo>
                    <a:lnTo>
                      <a:pt x="22331" y="10031"/>
                    </a:lnTo>
                    <a:cubicBezTo>
                      <a:pt x="15550" y="10031"/>
                      <a:pt x="10059" y="15550"/>
                      <a:pt x="10059" y="22302"/>
                    </a:cubicBezTo>
                    <a:lnTo>
                      <a:pt x="10059" y="33426"/>
                    </a:lnTo>
                    <a:close/>
                  </a:path>
                </a:pathLst>
              </a:custGeom>
              <a:grpFill/>
              <a:ln w="2793" cap="flat">
                <a:noFill/>
                <a:prstDash val="solid"/>
                <a:miter/>
              </a:ln>
            </p:spPr>
            <p:txBody>
              <a:bodyPr rtlCol="0" anchor="ctr"/>
              <a:lstStyle/>
              <a:p>
                <a:endParaRPr lang="en-GB" dirty="0"/>
              </a:p>
            </p:txBody>
          </p:sp>
          <p:sp>
            <p:nvSpPr>
              <p:cNvPr id="296" name="Freihandform: Form 873">
                <a:extLst>
                  <a:ext uri="{FF2B5EF4-FFF2-40B4-BE49-F238E27FC236}">
                    <a16:creationId xmlns:a16="http://schemas.microsoft.com/office/drawing/2014/main" id="{2A336475-FF90-44E5-B8BC-CE0310415395}"/>
                  </a:ext>
                </a:extLst>
              </p:cNvPr>
              <p:cNvSpPr/>
              <p:nvPr/>
            </p:nvSpPr>
            <p:spPr>
              <a:xfrm>
                <a:off x="6075106" y="1732518"/>
                <a:ext cx="78831" cy="112445"/>
              </a:xfrm>
              <a:custGeom>
                <a:avLst/>
                <a:gdLst>
                  <a:gd name="connsiteX0" fmla="*/ 5023 w 78831"/>
                  <a:gd name="connsiteY0" fmla="*/ 112445 h 112445"/>
                  <a:gd name="connsiteX1" fmla="*/ 2222 w 78831"/>
                  <a:gd name="connsiteY1" fmla="*/ 111605 h 112445"/>
                  <a:gd name="connsiteX2" fmla="*/ 849 w 78831"/>
                  <a:gd name="connsiteY2" fmla="*/ 104628 h 112445"/>
                  <a:gd name="connsiteX3" fmla="*/ 69661 w 78831"/>
                  <a:gd name="connsiteY3" fmla="*/ 2222 h 112445"/>
                  <a:gd name="connsiteX4" fmla="*/ 76610 w 78831"/>
                  <a:gd name="connsiteY4" fmla="*/ 849 h 112445"/>
                  <a:gd name="connsiteX5" fmla="*/ 77983 w 78831"/>
                  <a:gd name="connsiteY5" fmla="*/ 7825 h 112445"/>
                  <a:gd name="connsiteX6" fmla="*/ 9170 w 78831"/>
                  <a:gd name="connsiteY6" fmla="*/ 110232 h 112445"/>
                  <a:gd name="connsiteX7" fmla="*/ 5023 w 78831"/>
                  <a:gd name="connsiteY7" fmla="*/ 112445 h 112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31" h="112445">
                    <a:moveTo>
                      <a:pt x="5023" y="112445"/>
                    </a:moveTo>
                    <a:cubicBezTo>
                      <a:pt x="4071" y="112445"/>
                      <a:pt x="3090" y="112165"/>
                      <a:pt x="2222" y="111605"/>
                    </a:cubicBezTo>
                    <a:cubicBezTo>
                      <a:pt x="-76" y="110064"/>
                      <a:pt x="-692" y="106954"/>
                      <a:pt x="849" y="104628"/>
                    </a:cubicBezTo>
                    <a:lnTo>
                      <a:pt x="69661" y="2222"/>
                    </a:lnTo>
                    <a:cubicBezTo>
                      <a:pt x="71202" y="-76"/>
                      <a:pt x="74312" y="-692"/>
                      <a:pt x="76610" y="849"/>
                    </a:cubicBezTo>
                    <a:cubicBezTo>
                      <a:pt x="78907" y="2390"/>
                      <a:pt x="79524" y="5500"/>
                      <a:pt x="77983" y="7825"/>
                    </a:cubicBezTo>
                    <a:lnTo>
                      <a:pt x="9170" y="110232"/>
                    </a:lnTo>
                    <a:cubicBezTo>
                      <a:pt x="8217" y="111661"/>
                      <a:pt x="6620" y="112445"/>
                      <a:pt x="5023" y="112445"/>
                    </a:cubicBezTo>
                    <a:close/>
                  </a:path>
                </a:pathLst>
              </a:custGeom>
              <a:grpFill/>
              <a:ln w="2793" cap="flat">
                <a:noFill/>
                <a:prstDash val="solid"/>
                <a:miter/>
              </a:ln>
            </p:spPr>
            <p:txBody>
              <a:bodyPr rtlCol="0" anchor="ctr"/>
              <a:lstStyle/>
              <a:p>
                <a:endParaRPr lang="en-GB" dirty="0"/>
              </a:p>
            </p:txBody>
          </p:sp>
          <p:sp>
            <p:nvSpPr>
              <p:cNvPr id="297" name="Freihandform: Form 874">
                <a:extLst>
                  <a:ext uri="{FF2B5EF4-FFF2-40B4-BE49-F238E27FC236}">
                    <a16:creationId xmlns:a16="http://schemas.microsoft.com/office/drawing/2014/main" id="{B15B0D96-DC64-487F-8C73-E5B9783CA755}"/>
                  </a:ext>
                </a:extLst>
              </p:cNvPr>
              <p:cNvSpPr/>
              <p:nvPr/>
            </p:nvSpPr>
            <p:spPr>
              <a:xfrm>
                <a:off x="6070492" y="1869841"/>
                <a:ext cx="50459" cy="110674"/>
              </a:xfrm>
              <a:custGeom>
                <a:avLst/>
                <a:gdLst>
                  <a:gd name="connsiteX0" fmla="*/ 45445 w 50459"/>
                  <a:gd name="connsiteY0" fmla="*/ 110675 h 110674"/>
                  <a:gd name="connsiteX1" fmla="*/ 40794 w 50459"/>
                  <a:gd name="connsiteY1" fmla="*/ 107537 h 110674"/>
                  <a:gd name="connsiteX2" fmla="*/ 363 w 50459"/>
                  <a:gd name="connsiteY2" fmla="*/ 6895 h 110674"/>
                  <a:gd name="connsiteX3" fmla="*/ 3137 w 50459"/>
                  <a:gd name="connsiteY3" fmla="*/ 367 h 110674"/>
                  <a:gd name="connsiteX4" fmla="*/ 9665 w 50459"/>
                  <a:gd name="connsiteY4" fmla="*/ 3141 h 110674"/>
                  <a:gd name="connsiteX5" fmla="*/ 50096 w 50459"/>
                  <a:gd name="connsiteY5" fmla="*/ 103782 h 110674"/>
                  <a:gd name="connsiteX6" fmla="*/ 47322 w 50459"/>
                  <a:gd name="connsiteY6" fmla="*/ 110311 h 110674"/>
                  <a:gd name="connsiteX7" fmla="*/ 45445 w 50459"/>
                  <a:gd name="connsiteY7" fmla="*/ 110675 h 110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459" h="110674">
                    <a:moveTo>
                      <a:pt x="45445" y="110675"/>
                    </a:moveTo>
                    <a:cubicBezTo>
                      <a:pt x="43455" y="110675"/>
                      <a:pt x="41578" y="109498"/>
                      <a:pt x="40794" y="107537"/>
                    </a:cubicBezTo>
                    <a:lnTo>
                      <a:pt x="363" y="6895"/>
                    </a:lnTo>
                    <a:cubicBezTo>
                      <a:pt x="-673" y="4318"/>
                      <a:pt x="587" y="1404"/>
                      <a:pt x="3137" y="367"/>
                    </a:cubicBezTo>
                    <a:cubicBezTo>
                      <a:pt x="5715" y="-670"/>
                      <a:pt x="8629" y="563"/>
                      <a:pt x="9665" y="3141"/>
                    </a:cubicBezTo>
                    <a:lnTo>
                      <a:pt x="50096" y="103782"/>
                    </a:lnTo>
                    <a:cubicBezTo>
                      <a:pt x="51132" y="106360"/>
                      <a:pt x="49872" y="109274"/>
                      <a:pt x="47322" y="110311"/>
                    </a:cubicBezTo>
                    <a:cubicBezTo>
                      <a:pt x="46705" y="110563"/>
                      <a:pt x="46061" y="110675"/>
                      <a:pt x="45445" y="110675"/>
                    </a:cubicBezTo>
                    <a:close/>
                  </a:path>
                </a:pathLst>
              </a:custGeom>
              <a:grpFill/>
              <a:ln w="2793" cap="flat">
                <a:noFill/>
                <a:prstDash val="solid"/>
                <a:miter/>
              </a:ln>
            </p:spPr>
            <p:txBody>
              <a:bodyPr rtlCol="0" anchor="ctr"/>
              <a:lstStyle/>
              <a:p>
                <a:endParaRPr lang="en-GB" dirty="0"/>
              </a:p>
            </p:txBody>
          </p:sp>
          <p:grpSp>
            <p:nvGrpSpPr>
              <p:cNvPr id="298" name="Grafik 39">
                <a:extLst>
                  <a:ext uri="{FF2B5EF4-FFF2-40B4-BE49-F238E27FC236}">
                    <a16:creationId xmlns:a16="http://schemas.microsoft.com/office/drawing/2014/main" id="{C064D43D-E761-4DC6-858C-1A23BD6C0110}"/>
                  </a:ext>
                </a:extLst>
              </p:cNvPr>
              <p:cNvGrpSpPr/>
              <p:nvPr/>
            </p:nvGrpSpPr>
            <p:grpSpPr>
              <a:xfrm>
                <a:off x="6142086" y="1696128"/>
                <a:ext cx="117345" cy="117342"/>
                <a:chOff x="6142086" y="1696128"/>
                <a:chExt cx="117345" cy="117342"/>
              </a:xfrm>
              <a:grpFill/>
            </p:grpSpPr>
            <p:sp>
              <p:nvSpPr>
                <p:cNvPr id="304" name="Freihandform: Form 876">
                  <a:extLst>
                    <a:ext uri="{FF2B5EF4-FFF2-40B4-BE49-F238E27FC236}">
                      <a16:creationId xmlns:a16="http://schemas.microsoft.com/office/drawing/2014/main" id="{601CAF20-07D7-4D51-BBAB-F1569FF6ED81}"/>
                    </a:ext>
                  </a:extLst>
                </p:cNvPr>
                <p:cNvSpPr/>
                <p:nvPr/>
              </p:nvSpPr>
              <p:spPr>
                <a:xfrm>
                  <a:off x="6148096" y="1702139"/>
                  <a:ext cx="111336" cy="111332"/>
                </a:xfrm>
                <a:custGeom>
                  <a:avLst/>
                  <a:gdLst>
                    <a:gd name="connsiteX0" fmla="*/ 21216 w 111336"/>
                    <a:gd name="connsiteY0" fmla="*/ 111332 h 111332"/>
                    <a:gd name="connsiteX1" fmla="*/ 17657 w 111336"/>
                    <a:gd name="connsiteY1" fmla="*/ 109876 h 111332"/>
                    <a:gd name="connsiteX2" fmla="*/ 19675 w 111336"/>
                    <a:gd name="connsiteY2" fmla="*/ 19685 h 111332"/>
                    <a:gd name="connsiteX3" fmla="*/ 109865 w 111336"/>
                    <a:gd name="connsiteY3" fmla="*/ 17667 h 111332"/>
                    <a:gd name="connsiteX4" fmla="*/ 109865 w 111336"/>
                    <a:gd name="connsiteY4" fmla="*/ 24756 h 111332"/>
                    <a:gd name="connsiteX5" fmla="*/ 24746 w 111336"/>
                    <a:gd name="connsiteY5" fmla="*/ 109876 h 111332"/>
                    <a:gd name="connsiteX6" fmla="*/ 21216 w 111336"/>
                    <a:gd name="connsiteY6" fmla="*/ 111332 h 111332"/>
                    <a:gd name="connsiteX7" fmla="*/ 66661 w 111336"/>
                    <a:gd name="connsiteY7" fmla="*/ 10019 h 111332"/>
                    <a:gd name="connsiteX8" fmla="*/ 26791 w 111336"/>
                    <a:gd name="connsiteY8" fmla="*/ 26773 h 111332"/>
                    <a:gd name="connsiteX9" fmla="*/ 21384 w 111336"/>
                    <a:gd name="connsiteY9" fmla="*/ 99060 h 111332"/>
                    <a:gd name="connsiteX10" fmla="*/ 99050 w 111336"/>
                    <a:gd name="connsiteY10" fmla="*/ 21394 h 111332"/>
                    <a:gd name="connsiteX11" fmla="*/ 66661 w 111336"/>
                    <a:gd name="connsiteY11" fmla="*/ 10019 h 111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1336" h="111332">
                      <a:moveTo>
                        <a:pt x="21216" y="111332"/>
                      </a:moveTo>
                      <a:cubicBezTo>
                        <a:pt x="19927" y="111332"/>
                        <a:pt x="18638" y="110856"/>
                        <a:pt x="17657" y="109876"/>
                      </a:cubicBezTo>
                      <a:cubicBezTo>
                        <a:pt x="-6663" y="85556"/>
                        <a:pt x="-5738" y="45097"/>
                        <a:pt x="19675" y="19685"/>
                      </a:cubicBezTo>
                      <a:cubicBezTo>
                        <a:pt x="45115" y="-5756"/>
                        <a:pt x="85573" y="-6652"/>
                        <a:pt x="109865" y="17667"/>
                      </a:cubicBezTo>
                      <a:cubicBezTo>
                        <a:pt x="111827" y="19629"/>
                        <a:pt x="111827" y="22795"/>
                        <a:pt x="109865" y="24756"/>
                      </a:cubicBezTo>
                      <a:lnTo>
                        <a:pt x="24746" y="109876"/>
                      </a:lnTo>
                      <a:cubicBezTo>
                        <a:pt x="23765" y="110856"/>
                        <a:pt x="22504" y="111332"/>
                        <a:pt x="21216" y="111332"/>
                      </a:cubicBezTo>
                      <a:close/>
                      <a:moveTo>
                        <a:pt x="66661" y="10019"/>
                      </a:moveTo>
                      <a:cubicBezTo>
                        <a:pt x="52428" y="10019"/>
                        <a:pt x="37942" y="15622"/>
                        <a:pt x="26791" y="26773"/>
                      </a:cubicBezTo>
                      <a:cubicBezTo>
                        <a:pt x="6534" y="47031"/>
                        <a:pt x="4545" y="78439"/>
                        <a:pt x="21384" y="99060"/>
                      </a:cubicBezTo>
                      <a:lnTo>
                        <a:pt x="99050" y="21394"/>
                      </a:lnTo>
                      <a:cubicBezTo>
                        <a:pt x="89776" y="13801"/>
                        <a:pt x="78317" y="10019"/>
                        <a:pt x="66661" y="10019"/>
                      </a:cubicBezTo>
                      <a:close/>
                    </a:path>
                  </a:pathLst>
                </a:custGeom>
                <a:grpFill/>
                <a:ln w="2793" cap="flat">
                  <a:noFill/>
                  <a:prstDash val="solid"/>
                  <a:miter/>
                </a:ln>
              </p:spPr>
              <p:txBody>
                <a:bodyPr rtlCol="0" anchor="ctr"/>
                <a:lstStyle/>
                <a:p>
                  <a:endParaRPr lang="en-GB" dirty="0"/>
                </a:p>
              </p:txBody>
            </p:sp>
            <p:sp>
              <p:nvSpPr>
                <p:cNvPr id="305" name="Freihandform: Form 877">
                  <a:extLst>
                    <a:ext uri="{FF2B5EF4-FFF2-40B4-BE49-F238E27FC236}">
                      <a16:creationId xmlns:a16="http://schemas.microsoft.com/office/drawing/2014/main" id="{1FF01B27-CBA8-4D92-B0A4-D0C5990A2FF0}"/>
                    </a:ext>
                  </a:extLst>
                </p:cNvPr>
                <p:cNvSpPr/>
                <p:nvPr/>
              </p:nvSpPr>
              <p:spPr>
                <a:xfrm>
                  <a:off x="6142086" y="1696128"/>
                  <a:ext cx="47860" cy="48193"/>
                </a:xfrm>
                <a:custGeom>
                  <a:avLst/>
                  <a:gdLst>
                    <a:gd name="connsiteX0" fmla="*/ 17671 w 47860"/>
                    <a:gd name="connsiteY0" fmla="*/ 48194 h 48193"/>
                    <a:gd name="connsiteX1" fmla="*/ 14113 w 47860"/>
                    <a:gd name="connsiteY1" fmla="*/ 46737 h 48193"/>
                    <a:gd name="connsiteX2" fmla="*/ 4810 w 47860"/>
                    <a:gd name="connsiteY2" fmla="*/ 37435 h 48193"/>
                    <a:gd name="connsiteX3" fmla="*/ 776 w 47860"/>
                    <a:gd name="connsiteY3" fmla="*/ 22053 h 48193"/>
                    <a:gd name="connsiteX4" fmla="*/ 9490 w 47860"/>
                    <a:gd name="connsiteY4" fmla="*/ 9472 h 48193"/>
                    <a:gd name="connsiteX5" fmla="*/ 22070 w 47860"/>
                    <a:gd name="connsiteY5" fmla="*/ 759 h 48193"/>
                    <a:gd name="connsiteX6" fmla="*/ 37452 w 47860"/>
                    <a:gd name="connsiteY6" fmla="*/ 4793 h 48193"/>
                    <a:gd name="connsiteX7" fmla="*/ 46390 w 47860"/>
                    <a:gd name="connsiteY7" fmla="*/ 13731 h 48193"/>
                    <a:gd name="connsiteX8" fmla="*/ 46390 w 47860"/>
                    <a:gd name="connsiteY8" fmla="*/ 20820 h 48193"/>
                    <a:gd name="connsiteX9" fmla="*/ 39301 w 47860"/>
                    <a:gd name="connsiteY9" fmla="*/ 20820 h 48193"/>
                    <a:gd name="connsiteX10" fmla="*/ 30363 w 47860"/>
                    <a:gd name="connsiteY10" fmla="*/ 11882 h 48193"/>
                    <a:gd name="connsiteX11" fmla="*/ 25124 w 47860"/>
                    <a:gd name="connsiteY11" fmla="*/ 10313 h 48193"/>
                    <a:gd name="connsiteX12" fmla="*/ 16578 w 47860"/>
                    <a:gd name="connsiteY12" fmla="*/ 16561 h 48193"/>
                    <a:gd name="connsiteX13" fmla="*/ 10330 w 47860"/>
                    <a:gd name="connsiteY13" fmla="*/ 25107 h 48193"/>
                    <a:gd name="connsiteX14" fmla="*/ 11899 w 47860"/>
                    <a:gd name="connsiteY14" fmla="*/ 30346 h 48193"/>
                    <a:gd name="connsiteX15" fmla="*/ 21201 w 47860"/>
                    <a:gd name="connsiteY15" fmla="*/ 39648 h 48193"/>
                    <a:gd name="connsiteX16" fmla="*/ 21201 w 47860"/>
                    <a:gd name="connsiteY16" fmla="*/ 46737 h 48193"/>
                    <a:gd name="connsiteX17" fmla="*/ 17671 w 47860"/>
                    <a:gd name="connsiteY17" fmla="*/ 48194 h 4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860" h="48193">
                      <a:moveTo>
                        <a:pt x="17671" y="48194"/>
                      </a:moveTo>
                      <a:cubicBezTo>
                        <a:pt x="16382" y="48194"/>
                        <a:pt x="15093" y="47717"/>
                        <a:pt x="14113" y="46737"/>
                      </a:cubicBezTo>
                      <a:lnTo>
                        <a:pt x="4810" y="37435"/>
                      </a:lnTo>
                      <a:cubicBezTo>
                        <a:pt x="356" y="32980"/>
                        <a:pt x="-1045" y="27656"/>
                        <a:pt x="776" y="22053"/>
                      </a:cubicBezTo>
                      <a:cubicBezTo>
                        <a:pt x="2037" y="18158"/>
                        <a:pt x="4783" y="14151"/>
                        <a:pt x="9490" y="9472"/>
                      </a:cubicBezTo>
                      <a:cubicBezTo>
                        <a:pt x="14169" y="4793"/>
                        <a:pt x="18175" y="2020"/>
                        <a:pt x="22070" y="759"/>
                      </a:cubicBezTo>
                      <a:cubicBezTo>
                        <a:pt x="27701" y="-1034"/>
                        <a:pt x="33025" y="367"/>
                        <a:pt x="37452" y="4793"/>
                      </a:cubicBezTo>
                      <a:lnTo>
                        <a:pt x="46390" y="13731"/>
                      </a:lnTo>
                      <a:cubicBezTo>
                        <a:pt x="48351" y="15693"/>
                        <a:pt x="48351" y="18859"/>
                        <a:pt x="46390" y="20820"/>
                      </a:cubicBezTo>
                      <a:cubicBezTo>
                        <a:pt x="44428" y="22781"/>
                        <a:pt x="41262" y="22781"/>
                        <a:pt x="39301" y="20820"/>
                      </a:cubicBezTo>
                      <a:lnTo>
                        <a:pt x="30363" y="11882"/>
                      </a:lnTo>
                      <a:cubicBezTo>
                        <a:pt x="28318" y="9837"/>
                        <a:pt x="26777" y="9781"/>
                        <a:pt x="25124" y="10313"/>
                      </a:cubicBezTo>
                      <a:cubicBezTo>
                        <a:pt x="22854" y="11041"/>
                        <a:pt x="20052" y="13087"/>
                        <a:pt x="16578" y="16561"/>
                      </a:cubicBezTo>
                      <a:cubicBezTo>
                        <a:pt x="13104" y="20035"/>
                        <a:pt x="11059" y="22837"/>
                        <a:pt x="10330" y="25107"/>
                      </a:cubicBezTo>
                      <a:cubicBezTo>
                        <a:pt x="9798" y="26760"/>
                        <a:pt x="9854" y="28301"/>
                        <a:pt x="11899" y="30346"/>
                      </a:cubicBezTo>
                      <a:lnTo>
                        <a:pt x="21201" y="39648"/>
                      </a:lnTo>
                      <a:cubicBezTo>
                        <a:pt x="23162" y="41609"/>
                        <a:pt x="23162" y="44775"/>
                        <a:pt x="21201" y="46737"/>
                      </a:cubicBezTo>
                      <a:cubicBezTo>
                        <a:pt x="20221" y="47717"/>
                        <a:pt x="18960" y="48194"/>
                        <a:pt x="17671" y="48194"/>
                      </a:cubicBezTo>
                      <a:close/>
                    </a:path>
                  </a:pathLst>
                </a:custGeom>
                <a:grpFill/>
                <a:ln w="2793" cap="flat">
                  <a:noFill/>
                  <a:prstDash val="solid"/>
                  <a:miter/>
                </a:ln>
              </p:spPr>
              <p:txBody>
                <a:bodyPr rtlCol="0" anchor="ctr"/>
                <a:lstStyle/>
                <a:p>
                  <a:endParaRPr lang="en-GB" dirty="0"/>
                </a:p>
              </p:txBody>
            </p:sp>
          </p:grpSp>
          <p:grpSp>
            <p:nvGrpSpPr>
              <p:cNvPr id="299" name="Grafik 39">
                <a:extLst>
                  <a:ext uri="{FF2B5EF4-FFF2-40B4-BE49-F238E27FC236}">
                    <a16:creationId xmlns:a16="http://schemas.microsoft.com/office/drawing/2014/main" id="{58829E95-E690-4538-9E74-A0F5E35B876E}"/>
                  </a:ext>
                </a:extLst>
              </p:cNvPr>
              <p:cNvGrpSpPr/>
              <p:nvPr/>
            </p:nvGrpSpPr>
            <p:grpSpPr>
              <a:xfrm>
                <a:off x="6240450" y="1772564"/>
                <a:ext cx="384886" cy="242413"/>
                <a:chOff x="6240450" y="1772564"/>
                <a:chExt cx="384886" cy="242413"/>
              </a:xfrm>
              <a:grpFill/>
            </p:grpSpPr>
            <p:sp>
              <p:nvSpPr>
                <p:cNvPr id="302" name="Freihandform: Form 880">
                  <a:extLst>
                    <a:ext uri="{FF2B5EF4-FFF2-40B4-BE49-F238E27FC236}">
                      <a16:creationId xmlns:a16="http://schemas.microsoft.com/office/drawing/2014/main" id="{48DAC497-00A2-4BF0-A049-703EA331849E}"/>
                    </a:ext>
                  </a:extLst>
                </p:cNvPr>
                <p:cNvSpPr/>
                <p:nvPr/>
              </p:nvSpPr>
              <p:spPr>
                <a:xfrm>
                  <a:off x="6240450" y="1974520"/>
                  <a:ext cx="384886" cy="40458"/>
                </a:xfrm>
                <a:custGeom>
                  <a:avLst/>
                  <a:gdLst>
                    <a:gd name="connsiteX0" fmla="*/ 350200 w 384886"/>
                    <a:gd name="connsiteY0" fmla="*/ 40458 h 40458"/>
                    <a:gd name="connsiteX1" fmla="*/ 27066 w 384886"/>
                    <a:gd name="connsiteY1" fmla="*/ 40262 h 40458"/>
                    <a:gd name="connsiteX2" fmla="*/ 28 w 384886"/>
                    <a:gd name="connsiteY2" fmla="*/ 11572 h 40458"/>
                    <a:gd name="connsiteX3" fmla="*/ 0 w 384886"/>
                    <a:gd name="connsiteY3" fmla="*/ 5015 h 40458"/>
                    <a:gd name="connsiteX4" fmla="*/ 1457 w 384886"/>
                    <a:gd name="connsiteY4" fmla="*/ 1457 h 40458"/>
                    <a:gd name="connsiteX5" fmla="*/ 5015 w 384886"/>
                    <a:gd name="connsiteY5" fmla="*/ 0 h 40458"/>
                    <a:gd name="connsiteX6" fmla="*/ 5015 w 384886"/>
                    <a:gd name="connsiteY6" fmla="*/ 0 h 40458"/>
                    <a:gd name="connsiteX7" fmla="*/ 379871 w 384886"/>
                    <a:gd name="connsiteY7" fmla="*/ 196 h 40458"/>
                    <a:gd name="connsiteX8" fmla="*/ 383430 w 384886"/>
                    <a:gd name="connsiteY8" fmla="*/ 1681 h 40458"/>
                    <a:gd name="connsiteX9" fmla="*/ 384887 w 384886"/>
                    <a:gd name="connsiteY9" fmla="*/ 5239 h 40458"/>
                    <a:gd name="connsiteX10" fmla="*/ 384859 w 384886"/>
                    <a:gd name="connsiteY10" fmla="*/ 11796 h 40458"/>
                    <a:gd name="connsiteX11" fmla="*/ 357821 w 384886"/>
                    <a:gd name="connsiteY11" fmla="*/ 40458 h 40458"/>
                    <a:gd name="connsiteX12" fmla="*/ 350200 w 384886"/>
                    <a:gd name="connsiteY12" fmla="*/ 40458 h 40458"/>
                    <a:gd name="connsiteX13" fmla="*/ 10059 w 384886"/>
                    <a:gd name="connsiteY13" fmla="*/ 10059 h 40458"/>
                    <a:gd name="connsiteX14" fmla="*/ 10059 w 384886"/>
                    <a:gd name="connsiteY14" fmla="*/ 11515 h 40458"/>
                    <a:gd name="connsiteX15" fmla="*/ 27150 w 384886"/>
                    <a:gd name="connsiteY15" fmla="*/ 30232 h 40458"/>
                    <a:gd name="connsiteX16" fmla="*/ 357737 w 384886"/>
                    <a:gd name="connsiteY16" fmla="*/ 30400 h 40458"/>
                    <a:gd name="connsiteX17" fmla="*/ 374828 w 384886"/>
                    <a:gd name="connsiteY17" fmla="*/ 11684 h 40458"/>
                    <a:gd name="connsiteX18" fmla="*/ 374828 w 384886"/>
                    <a:gd name="connsiteY18" fmla="*/ 10227 h 40458"/>
                    <a:gd name="connsiteX19" fmla="*/ 10059 w 384886"/>
                    <a:gd name="connsiteY19" fmla="*/ 10059 h 4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4886" h="40458">
                      <a:moveTo>
                        <a:pt x="350200" y="40458"/>
                      </a:moveTo>
                      <a:cubicBezTo>
                        <a:pt x="300888" y="40458"/>
                        <a:pt x="30596" y="40318"/>
                        <a:pt x="27066" y="40262"/>
                      </a:cubicBezTo>
                      <a:cubicBezTo>
                        <a:pt x="2325" y="40066"/>
                        <a:pt x="196" y="27150"/>
                        <a:pt x="28" y="11572"/>
                      </a:cubicBezTo>
                      <a:lnTo>
                        <a:pt x="0" y="5015"/>
                      </a:lnTo>
                      <a:cubicBezTo>
                        <a:pt x="0" y="3670"/>
                        <a:pt x="532" y="2410"/>
                        <a:pt x="1457" y="1457"/>
                      </a:cubicBezTo>
                      <a:cubicBezTo>
                        <a:pt x="2410" y="504"/>
                        <a:pt x="3670" y="0"/>
                        <a:pt x="5015" y="0"/>
                      </a:cubicBezTo>
                      <a:lnTo>
                        <a:pt x="5015" y="0"/>
                      </a:lnTo>
                      <a:lnTo>
                        <a:pt x="379871" y="196"/>
                      </a:lnTo>
                      <a:cubicBezTo>
                        <a:pt x="381216" y="196"/>
                        <a:pt x="382477" y="728"/>
                        <a:pt x="383430" y="1681"/>
                      </a:cubicBezTo>
                      <a:cubicBezTo>
                        <a:pt x="384382" y="2634"/>
                        <a:pt x="384887" y="3895"/>
                        <a:pt x="384887" y="5239"/>
                      </a:cubicBezTo>
                      <a:lnTo>
                        <a:pt x="384859" y="11796"/>
                      </a:lnTo>
                      <a:cubicBezTo>
                        <a:pt x="384718" y="27346"/>
                        <a:pt x="382617" y="40262"/>
                        <a:pt x="357821" y="40458"/>
                      </a:cubicBezTo>
                      <a:cubicBezTo>
                        <a:pt x="357373" y="40458"/>
                        <a:pt x="354711" y="40458"/>
                        <a:pt x="350200" y="40458"/>
                      </a:cubicBezTo>
                      <a:close/>
                      <a:moveTo>
                        <a:pt x="10059" y="10059"/>
                      </a:moveTo>
                      <a:lnTo>
                        <a:pt x="10059" y="11515"/>
                      </a:lnTo>
                      <a:cubicBezTo>
                        <a:pt x="10199" y="25328"/>
                        <a:pt x="11067" y="30120"/>
                        <a:pt x="27150" y="30232"/>
                      </a:cubicBezTo>
                      <a:cubicBezTo>
                        <a:pt x="31016" y="30260"/>
                        <a:pt x="352301" y="30456"/>
                        <a:pt x="357737" y="30400"/>
                      </a:cubicBezTo>
                      <a:cubicBezTo>
                        <a:pt x="373847" y="30260"/>
                        <a:pt x="374716" y="25497"/>
                        <a:pt x="374828" y="11684"/>
                      </a:cubicBezTo>
                      <a:lnTo>
                        <a:pt x="374828" y="10227"/>
                      </a:lnTo>
                      <a:lnTo>
                        <a:pt x="10059" y="10059"/>
                      </a:lnTo>
                      <a:close/>
                    </a:path>
                  </a:pathLst>
                </a:custGeom>
                <a:grpFill/>
                <a:ln w="2793" cap="flat">
                  <a:noFill/>
                  <a:prstDash val="solid"/>
                  <a:miter/>
                </a:ln>
              </p:spPr>
              <p:txBody>
                <a:bodyPr rtlCol="0" anchor="ctr"/>
                <a:lstStyle/>
                <a:p>
                  <a:endParaRPr lang="en-GB" dirty="0"/>
                </a:p>
              </p:txBody>
            </p:sp>
            <p:sp>
              <p:nvSpPr>
                <p:cNvPr id="303" name="Freihandform: Form 881">
                  <a:extLst>
                    <a:ext uri="{FF2B5EF4-FFF2-40B4-BE49-F238E27FC236}">
                      <a16:creationId xmlns:a16="http://schemas.microsoft.com/office/drawing/2014/main" id="{42D47072-3573-46DE-9A05-DE4C42E0B627}"/>
                    </a:ext>
                  </a:extLst>
                </p:cNvPr>
                <p:cNvSpPr/>
                <p:nvPr/>
              </p:nvSpPr>
              <p:spPr>
                <a:xfrm>
                  <a:off x="6286063" y="1772564"/>
                  <a:ext cx="293715" cy="194474"/>
                </a:xfrm>
                <a:custGeom>
                  <a:avLst/>
                  <a:gdLst>
                    <a:gd name="connsiteX0" fmla="*/ 5015 w 293715"/>
                    <a:gd name="connsiteY0" fmla="*/ 194475 h 194474"/>
                    <a:gd name="connsiteX1" fmla="*/ 0 w 293715"/>
                    <a:gd name="connsiteY1" fmla="*/ 189459 h 194474"/>
                    <a:gd name="connsiteX2" fmla="*/ 0 w 293715"/>
                    <a:gd name="connsiteY2" fmla="*/ 15158 h 194474"/>
                    <a:gd name="connsiteX3" fmla="*/ 15158 w 293715"/>
                    <a:gd name="connsiteY3" fmla="*/ 0 h 194474"/>
                    <a:gd name="connsiteX4" fmla="*/ 278557 w 293715"/>
                    <a:gd name="connsiteY4" fmla="*/ 0 h 194474"/>
                    <a:gd name="connsiteX5" fmla="*/ 293715 w 293715"/>
                    <a:gd name="connsiteY5" fmla="*/ 15158 h 194474"/>
                    <a:gd name="connsiteX6" fmla="*/ 293715 w 293715"/>
                    <a:gd name="connsiteY6" fmla="*/ 188367 h 194474"/>
                    <a:gd name="connsiteX7" fmla="*/ 288700 w 293715"/>
                    <a:gd name="connsiteY7" fmla="*/ 193382 h 194474"/>
                    <a:gd name="connsiteX8" fmla="*/ 283685 w 293715"/>
                    <a:gd name="connsiteY8" fmla="*/ 188367 h 194474"/>
                    <a:gd name="connsiteX9" fmla="*/ 283685 w 293715"/>
                    <a:gd name="connsiteY9" fmla="*/ 15158 h 194474"/>
                    <a:gd name="connsiteX10" fmla="*/ 278557 w 293715"/>
                    <a:gd name="connsiteY10" fmla="*/ 10031 h 194474"/>
                    <a:gd name="connsiteX11" fmla="*/ 15158 w 293715"/>
                    <a:gd name="connsiteY11" fmla="*/ 10031 h 194474"/>
                    <a:gd name="connsiteX12" fmla="*/ 10030 w 293715"/>
                    <a:gd name="connsiteY12" fmla="*/ 15158 h 194474"/>
                    <a:gd name="connsiteX13" fmla="*/ 10030 w 293715"/>
                    <a:gd name="connsiteY13" fmla="*/ 189459 h 194474"/>
                    <a:gd name="connsiteX14" fmla="*/ 5015 w 293715"/>
                    <a:gd name="connsiteY14" fmla="*/ 194475 h 19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3715" h="194474">
                      <a:moveTo>
                        <a:pt x="5015" y="194475"/>
                      </a:moveTo>
                      <a:cubicBezTo>
                        <a:pt x="2241" y="194475"/>
                        <a:pt x="0" y="192233"/>
                        <a:pt x="0" y="189459"/>
                      </a:cubicBezTo>
                      <a:lnTo>
                        <a:pt x="0" y="15158"/>
                      </a:lnTo>
                      <a:cubicBezTo>
                        <a:pt x="0" y="4035"/>
                        <a:pt x="9050" y="0"/>
                        <a:pt x="15158" y="0"/>
                      </a:cubicBezTo>
                      <a:lnTo>
                        <a:pt x="278557" y="0"/>
                      </a:lnTo>
                      <a:cubicBezTo>
                        <a:pt x="284637" y="0"/>
                        <a:pt x="293715" y="4035"/>
                        <a:pt x="293715" y="15158"/>
                      </a:cubicBezTo>
                      <a:lnTo>
                        <a:pt x="293715" y="188367"/>
                      </a:lnTo>
                      <a:cubicBezTo>
                        <a:pt x="293715" y="191140"/>
                        <a:pt x="291474" y="193382"/>
                        <a:pt x="288700" y="193382"/>
                      </a:cubicBezTo>
                      <a:cubicBezTo>
                        <a:pt x="285926" y="193382"/>
                        <a:pt x="283685" y="191140"/>
                        <a:pt x="283685" y="188367"/>
                      </a:cubicBezTo>
                      <a:lnTo>
                        <a:pt x="283685" y="15158"/>
                      </a:lnTo>
                      <a:cubicBezTo>
                        <a:pt x="283685" y="10535"/>
                        <a:pt x="280098" y="10031"/>
                        <a:pt x="278557" y="10031"/>
                      </a:cubicBezTo>
                      <a:lnTo>
                        <a:pt x="15158" y="10031"/>
                      </a:lnTo>
                      <a:cubicBezTo>
                        <a:pt x="12860" y="10087"/>
                        <a:pt x="10030" y="11039"/>
                        <a:pt x="10030" y="15158"/>
                      </a:cubicBezTo>
                      <a:lnTo>
                        <a:pt x="10030" y="189459"/>
                      </a:lnTo>
                      <a:cubicBezTo>
                        <a:pt x="10030" y="192233"/>
                        <a:pt x="7761" y="194475"/>
                        <a:pt x="5015" y="194475"/>
                      </a:cubicBezTo>
                      <a:close/>
                    </a:path>
                  </a:pathLst>
                </a:custGeom>
                <a:grpFill/>
                <a:ln w="2793" cap="flat">
                  <a:noFill/>
                  <a:prstDash val="solid"/>
                  <a:miter/>
                </a:ln>
              </p:spPr>
              <p:txBody>
                <a:bodyPr rtlCol="0" anchor="ctr"/>
                <a:lstStyle/>
                <a:p>
                  <a:endParaRPr lang="en-GB" dirty="0"/>
                </a:p>
              </p:txBody>
            </p:sp>
          </p:grpSp>
          <p:sp>
            <p:nvSpPr>
              <p:cNvPr id="300" name="Freihandform: Form 882">
                <a:extLst>
                  <a:ext uri="{FF2B5EF4-FFF2-40B4-BE49-F238E27FC236}">
                    <a16:creationId xmlns:a16="http://schemas.microsoft.com/office/drawing/2014/main" id="{5677DEC7-3C2F-4E75-ACB3-923DAFBBA597}"/>
                  </a:ext>
                </a:extLst>
              </p:cNvPr>
              <p:cNvSpPr/>
              <p:nvPr/>
            </p:nvSpPr>
            <p:spPr>
              <a:xfrm>
                <a:off x="6308842" y="1795091"/>
                <a:ext cx="250062" cy="189655"/>
              </a:xfrm>
              <a:custGeom>
                <a:avLst/>
                <a:gdLst>
                  <a:gd name="connsiteX0" fmla="*/ 5015 w 250062"/>
                  <a:gd name="connsiteY0" fmla="*/ 189655 h 189655"/>
                  <a:gd name="connsiteX1" fmla="*/ 0 w 250062"/>
                  <a:gd name="connsiteY1" fmla="*/ 184640 h 189655"/>
                  <a:gd name="connsiteX2" fmla="*/ 0 w 250062"/>
                  <a:gd name="connsiteY2" fmla="*/ 5015 h 189655"/>
                  <a:gd name="connsiteX3" fmla="*/ 5015 w 250062"/>
                  <a:gd name="connsiteY3" fmla="*/ 0 h 189655"/>
                  <a:gd name="connsiteX4" fmla="*/ 245048 w 250062"/>
                  <a:gd name="connsiteY4" fmla="*/ 0 h 189655"/>
                  <a:gd name="connsiteX5" fmla="*/ 250063 w 250062"/>
                  <a:gd name="connsiteY5" fmla="*/ 5015 h 189655"/>
                  <a:gd name="connsiteX6" fmla="*/ 250063 w 250062"/>
                  <a:gd name="connsiteY6" fmla="*/ 180998 h 189655"/>
                  <a:gd name="connsiteX7" fmla="*/ 245048 w 250062"/>
                  <a:gd name="connsiteY7" fmla="*/ 186013 h 189655"/>
                  <a:gd name="connsiteX8" fmla="*/ 240032 w 250062"/>
                  <a:gd name="connsiteY8" fmla="*/ 180998 h 189655"/>
                  <a:gd name="connsiteX9" fmla="*/ 240032 w 250062"/>
                  <a:gd name="connsiteY9" fmla="*/ 10031 h 189655"/>
                  <a:gd name="connsiteX10" fmla="*/ 10030 w 250062"/>
                  <a:gd name="connsiteY10" fmla="*/ 10031 h 189655"/>
                  <a:gd name="connsiteX11" fmla="*/ 10030 w 250062"/>
                  <a:gd name="connsiteY11" fmla="*/ 184640 h 189655"/>
                  <a:gd name="connsiteX12" fmla="*/ 5015 w 250062"/>
                  <a:gd name="connsiteY12" fmla="*/ 189655 h 189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0062" h="189655">
                    <a:moveTo>
                      <a:pt x="5015" y="189655"/>
                    </a:moveTo>
                    <a:cubicBezTo>
                      <a:pt x="2241" y="189655"/>
                      <a:pt x="0" y="187414"/>
                      <a:pt x="0" y="184640"/>
                    </a:cubicBezTo>
                    <a:lnTo>
                      <a:pt x="0" y="5015"/>
                    </a:lnTo>
                    <a:cubicBezTo>
                      <a:pt x="0" y="2241"/>
                      <a:pt x="2241" y="0"/>
                      <a:pt x="5015" y="0"/>
                    </a:cubicBezTo>
                    <a:lnTo>
                      <a:pt x="245048" y="0"/>
                    </a:lnTo>
                    <a:cubicBezTo>
                      <a:pt x="247821" y="0"/>
                      <a:pt x="250063" y="2241"/>
                      <a:pt x="250063" y="5015"/>
                    </a:cubicBezTo>
                    <a:lnTo>
                      <a:pt x="250063" y="180998"/>
                    </a:lnTo>
                    <a:cubicBezTo>
                      <a:pt x="250063" y="183772"/>
                      <a:pt x="247821" y="186013"/>
                      <a:pt x="245048" y="186013"/>
                    </a:cubicBezTo>
                    <a:cubicBezTo>
                      <a:pt x="242274" y="186013"/>
                      <a:pt x="240032" y="183772"/>
                      <a:pt x="240032" y="180998"/>
                    </a:cubicBezTo>
                    <a:lnTo>
                      <a:pt x="240032" y="10031"/>
                    </a:lnTo>
                    <a:lnTo>
                      <a:pt x="10030" y="10031"/>
                    </a:lnTo>
                    <a:lnTo>
                      <a:pt x="10030" y="184640"/>
                    </a:lnTo>
                    <a:cubicBezTo>
                      <a:pt x="10030" y="187414"/>
                      <a:pt x="7789" y="189655"/>
                      <a:pt x="5015" y="189655"/>
                    </a:cubicBezTo>
                    <a:close/>
                  </a:path>
                </a:pathLst>
              </a:custGeom>
              <a:grpFill/>
              <a:ln w="2793" cap="flat">
                <a:noFill/>
                <a:prstDash val="solid"/>
                <a:miter/>
              </a:ln>
            </p:spPr>
            <p:txBody>
              <a:bodyPr rtlCol="0" anchor="ctr"/>
              <a:lstStyle/>
              <a:p>
                <a:endParaRPr lang="en-GB" dirty="0"/>
              </a:p>
            </p:txBody>
          </p:sp>
          <p:sp>
            <p:nvSpPr>
              <p:cNvPr id="301" name="Freihandform: Form 888">
                <a:extLst>
                  <a:ext uri="{FF2B5EF4-FFF2-40B4-BE49-F238E27FC236}">
                    <a16:creationId xmlns:a16="http://schemas.microsoft.com/office/drawing/2014/main" id="{B937C185-09EA-46F4-9B1E-45F06C190599}"/>
                  </a:ext>
                </a:extLst>
              </p:cNvPr>
              <p:cNvSpPr/>
              <p:nvPr/>
            </p:nvSpPr>
            <p:spPr>
              <a:xfrm>
                <a:off x="6048777" y="1835325"/>
                <a:ext cx="44324" cy="44324"/>
              </a:xfrm>
              <a:custGeom>
                <a:avLst/>
                <a:gdLst>
                  <a:gd name="connsiteX0" fmla="*/ 22162 w 44324"/>
                  <a:gd name="connsiteY0" fmla="*/ 44325 h 44324"/>
                  <a:gd name="connsiteX1" fmla="*/ 0 w 44324"/>
                  <a:gd name="connsiteY1" fmla="*/ 22162 h 44324"/>
                  <a:gd name="connsiteX2" fmla="*/ 22162 w 44324"/>
                  <a:gd name="connsiteY2" fmla="*/ 0 h 44324"/>
                  <a:gd name="connsiteX3" fmla="*/ 44325 w 44324"/>
                  <a:gd name="connsiteY3" fmla="*/ 22162 h 44324"/>
                  <a:gd name="connsiteX4" fmla="*/ 22162 w 44324"/>
                  <a:gd name="connsiteY4" fmla="*/ 44325 h 44324"/>
                  <a:gd name="connsiteX5" fmla="*/ 22162 w 44324"/>
                  <a:gd name="connsiteY5" fmla="*/ 10059 h 44324"/>
                  <a:gd name="connsiteX6" fmla="*/ 10030 w 44324"/>
                  <a:gd name="connsiteY6" fmla="*/ 22190 h 44324"/>
                  <a:gd name="connsiteX7" fmla="*/ 22162 w 44324"/>
                  <a:gd name="connsiteY7" fmla="*/ 34322 h 44324"/>
                  <a:gd name="connsiteX8" fmla="*/ 34294 w 44324"/>
                  <a:gd name="connsiteY8" fmla="*/ 22190 h 44324"/>
                  <a:gd name="connsiteX9" fmla="*/ 22162 w 44324"/>
                  <a:gd name="connsiteY9" fmla="*/ 10059 h 44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324" h="44324">
                    <a:moveTo>
                      <a:pt x="22162" y="44325"/>
                    </a:moveTo>
                    <a:cubicBezTo>
                      <a:pt x="9946" y="44325"/>
                      <a:pt x="0" y="34378"/>
                      <a:pt x="0" y="22162"/>
                    </a:cubicBezTo>
                    <a:cubicBezTo>
                      <a:pt x="0" y="9946"/>
                      <a:pt x="9946" y="0"/>
                      <a:pt x="22162" y="0"/>
                    </a:cubicBezTo>
                    <a:cubicBezTo>
                      <a:pt x="34378" y="0"/>
                      <a:pt x="44325" y="9946"/>
                      <a:pt x="44325" y="22162"/>
                    </a:cubicBezTo>
                    <a:cubicBezTo>
                      <a:pt x="44297" y="34378"/>
                      <a:pt x="34378" y="44325"/>
                      <a:pt x="22162" y="44325"/>
                    </a:cubicBezTo>
                    <a:close/>
                    <a:moveTo>
                      <a:pt x="22162" y="10059"/>
                    </a:moveTo>
                    <a:cubicBezTo>
                      <a:pt x="15466" y="10059"/>
                      <a:pt x="10030" y="15494"/>
                      <a:pt x="10030" y="22190"/>
                    </a:cubicBezTo>
                    <a:cubicBezTo>
                      <a:pt x="10030" y="28887"/>
                      <a:pt x="15466" y="34322"/>
                      <a:pt x="22162" y="34322"/>
                    </a:cubicBezTo>
                    <a:cubicBezTo>
                      <a:pt x="28859" y="34322"/>
                      <a:pt x="34294" y="28887"/>
                      <a:pt x="34294" y="22190"/>
                    </a:cubicBezTo>
                    <a:cubicBezTo>
                      <a:pt x="34266" y="15494"/>
                      <a:pt x="28831" y="10059"/>
                      <a:pt x="22162" y="10059"/>
                    </a:cubicBezTo>
                    <a:close/>
                  </a:path>
                </a:pathLst>
              </a:custGeom>
              <a:grpFill/>
              <a:ln w="2793" cap="flat">
                <a:noFill/>
                <a:prstDash val="solid"/>
                <a:miter/>
              </a:ln>
            </p:spPr>
            <p:txBody>
              <a:bodyPr rtlCol="0" anchor="ctr"/>
              <a:lstStyle/>
              <a:p>
                <a:endParaRPr lang="en-GB" dirty="0"/>
              </a:p>
            </p:txBody>
          </p:sp>
        </p:grpSp>
      </p:grpSp>
      <p:grpSp>
        <p:nvGrpSpPr>
          <p:cNvPr id="67" name="Group 66">
            <a:extLst>
              <a:ext uri="{FF2B5EF4-FFF2-40B4-BE49-F238E27FC236}">
                <a16:creationId xmlns:a16="http://schemas.microsoft.com/office/drawing/2014/main" id="{380DB64B-4CBE-475B-9AE6-3CDC26DA9DDA}"/>
              </a:ext>
            </a:extLst>
          </p:cNvPr>
          <p:cNvGrpSpPr>
            <a:grpSpLocks noChangeAspect="1"/>
          </p:cNvGrpSpPr>
          <p:nvPr/>
        </p:nvGrpSpPr>
        <p:grpSpPr>
          <a:xfrm>
            <a:off x="1594262" y="1585984"/>
            <a:ext cx="490444" cy="431999"/>
            <a:chOff x="6910094" y="2501822"/>
            <a:chExt cx="597705" cy="526478"/>
          </a:xfrm>
        </p:grpSpPr>
        <p:grpSp>
          <p:nvGrpSpPr>
            <p:cNvPr id="68" name="Group 67">
              <a:extLst>
                <a:ext uri="{FF2B5EF4-FFF2-40B4-BE49-F238E27FC236}">
                  <a16:creationId xmlns:a16="http://schemas.microsoft.com/office/drawing/2014/main" id="{46682FCD-D430-4406-9C9D-6A2E4DB73DF1}"/>
                </a:ext>
              </a:extLst>
            </p:cNvPr>
            <p:cNvGrpSpPr/>
            <p:nvPr/>
          </p:nvGrpSpPr>
          <p:grpSpPr>
            <a:xfrm>
              <a:off x="6910417" y="2501822"/>
              <a:ext cx="342541" cy="129234"/>
              <a:chOff x="6910417" y="2501821"/>
              <a:chExt cx="342541" cy="129234"/>
            </a:xfrm>
          </p:grpSpPr>
          <p:sp>
            <p:nvSpPr>
              <p:cNvPr id="85" name="Freihandform: Form 740">
                <a:extLst>
                  <a:ext uri="{FF2B5EF4-FFF2-40B4-BE49-F238E27FC236}">
                    <a16:creationId xmlns:a16="http://schemas.microsoft.com/office/drawing/2014/main" id="{B793A4E5-BCEB-4AC4-AE07-91544C6D5CA9}"/>
                  </a:ext>
                </a:extLst>
              </p:cNvPr>
              <p:cNvSpPr/>
              <p:nvPr/>
            </p:nvSpPr>
            <p:spPr>
              <a:xfrm>
                <a:off x="7018320" y="2501821"/>
                <a:ext cx="122191" cy="50559"/>
              </a:xfrm>
              <a:custGeom>
                <a:avLst/>
                <a:gdLst>
                  <a:gd name="connsiteX0" fmla="*/ 4888 w 122191"/>
                  <a:gd name="connsiteY0" fmla="*/ 50559 h 50559"/>
                  <a:gd name="connsiteX1" fmla="*/ 943 w 122191"/>
                  <a:gd name="connsiteY1" fmla="*/ 48563 h 50559"/>
                  <a:gd name="connsiteX2" fmla="*/ 1989 w 122191"/>
                  <a:gd name="connsiteY2" fmla="*/ 41741 h 50559"/>
                  <a:gd name="connsiteX3" fmla="*/ 57583 w 122191"/>
                  <a:gd name="connsiteY3" fmla="*/ 954 h 50559"/>
                  <a:gd name="connsiteX4" fmla="*/ 63264 w 122191"/>
                  <a:gd name="connsiteY4" fmla="*/ 883 h 50559"/>
                  <a:gd name="connsiteX5" fmla="*/ 120095 w 122191"/>
                  <a:gd name="connsiteY5" fmla="*/ 40386 h 50559"/>
                  <a:gd name="connsiteX6" fmla="*/ 121331 w 122191"/>
                  <a:gd name="connsiteY6" fmla="*/ 47184 h 50559"/>
                  <a:gd name="connsiteX7" fmla="*/ 114533 w 122191"/>
                  <a:gd name="connsiteY7" fmla="*/ 48396 h 50559"/>
                  <a:gd name="connsiteX8" fmla="*/ 60555 w 122191"/>
                  <a:gd name="connsiteY8" fmla="*/ 10890 h 50559"/>
                  <a:gd name="connsiteX9" fmla="*/ 7788 w 122191"/>
                  <a:gd name="connsiteY9" fmla="*/ 49609 h 50559"/>
                  <a:gd name="connsiteX10" fmla="*/ 4888 w 122191"/>
                  <a:gd name="connsiteY10" fmla="*/ 50559 h 5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191" h="50559">
                    <a:moveTo>
                      <a:pt x="4888" y="50559"/>
                    </a:moveTo>
                    <a:cubicBezTo>
                      <a:pt x="3391" y="50559"/>
                      <a:pt x="1894" y="49870"/>
                      <a:pt x="943" y="48563"/>
                    </a:cubicBezTo>
                    <a:cubicBezTo>
                      <a:pt x="-650" y="46376"/>
                      <a:pt x="-174" y="43334"/>
                      <a:pt x="1989" y="41741"/>
                    </a:cubicBezTo>
                    <a:lnTo>
                      <a:pt x="57583" y="954"/>
                    </a:lnTo>
                    <a:cubicBezTo>
                      <a:pt x="59247" y="-282"/>
                      <a:pt x="61529" y="-329"/>
                      <a:pt x="63264" y="883"/>
                    </a:cubicBezTo>
                    <a:lnTo>
                      <a:pt x="120095" y="40386"/>
                    </a:lnTo>
                    <a:cubicBezTo>
                      <a:pt x="122306" y="41931"/>
                      <a:pt x="122852" y="44974"/>
                      <a:pt x="121331" y="47184"/>
                    </a:cubicBezTo>
                    <a:cubicBezTo>
                      <a:pt x="119786" y="49395"/>
                      <a:pt x="116744" y="49965"/>
                      <a:pt x="114533" y="48396"/>
                    </a:cubicBezTo>
                    <a:lnTo>
                      <a:pt x="60555" y="10890"/>
                    </a:lnTo>
                    <a:lnTo>
                      <a:pt x="7788" y="49609"/>
                    </a:lnTo>
                    <a:cubicBezTo>
                      <a:pt x="6909" y="50250"/>
                      <a:pt x="5887" y="50559"/>
                      <a:pt x="4888" y="50559"/>
                    </a:cubicBezTo>
                    <a:close/>
                  </a:path>
                </a:pathLst>
              </a:custGeom>
              <a:solidFill>
                <a:schemeClr val="tx2"/>
              </a:solidFill>
              <a:ln w="2376" cap="flat">
                <a:noFill/>
                <a:prstDash val="solid"/>
                <a:miter/>
              </a:ln>
            </p:spPr>
            <p:txBody>
              <a:bodyPr rtlCol="0" anchor="ctr"/>
              <a:lstStyle/>
              <a:p>
                <a:endParaRPr lang="en-GB" dirty="0"/>
              </a:p>
            </p:txBody>
          </p:sp>
          <p:sp>
            <p:nvSpPr>
              <p:cNvPr id="86" name="Freihandform: Form 741">
                <a:extLst>
                  <a:ext uri="{FF2B5EF4-FFF2-40B4-BE49-F238E27FC236}">
                    <a16:creationId xmlns:a16="http://schemas.microsoft.com/office/drawing/2014/main" id="{84B75064-2489-4DA2-8667-4AAA22A63BF2}"/>
                  </a:ext>
                </a:extLst>
              </p:cNvPr>
              <p:cNvSpPr/>
              <p:nvPr/>
            </p:nvSpPr>
            <p:spPr>
              <a:xfrm>
                <a:off x="7198976" y="2589981"/>
                <a:ext cx="53982" cy="41074"/>
              </a:xfrm>
              <a:custGeom>
                <a:avLst/>
                <a:gdLst>
                  <a:gd name="connsiteX0" fmla="*/ 49084 w 53982"/>
                  <a:gd name="connsiteY0" fmla="*/ 41074 h 41074"/>
                  <a:gd name="connsiteX1" fmla="*/ 46279 w 53982"/>
                  <a:gd name="connsiteY1" fmla="*/ 40171 h 41074"/>
                  <a:gd name="connsiteX2" fmla="*/ 2070 w 53982"/>
                  <a:gd name="connsiteY2" fmla="*/ 8891 h 41074"/>
                  <a:gd name="connsiteX3" fmla="*/ 905 w 53982"/>
                  <a:gd name="connsiteY3" fmla="*/ 2070 h 41074"/>
                  <a:gd name="connsiteX4" fmla="*/ 7703 w 53982"/>
                  <a:gd name="connsiteY4" fmla="*/ 905 h 41074"/>
                  <a:gd name="connsiteX5" fmla="*/ 51913 w 53982"/>
                  <a:gd name="connsiteY5" fmla="*/ 32185 h 41074"/>
                  <a:gd name="connsiteX6" fmla="*/ 53077 w 53982"/>
                  <a:gd name="connsiteY6" fmla="*/ 39006 h 41074"/>
                  <a:gd name="connsiteX7" fmla="*/ 49084 w 53982"/>
                  <a:gd name="connsiteY7" fmla="*/ 41074 h 4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982" h="41074">
                    <a:moveTo>
                      <a:pt x="49084" y="41074"/>
                    </a:moveTo>
                    <a:cubicBezTo>
                      <a:pt x="48110" y="41074"/>
                      <a:pt x="47135" y="40789"/>
                      <a:pt x="46279" y="40171"/>
                    </a:cubicBezTo>
                    <a:lnTo>
                      <a:pt x="2070" y="8891"/>
                    </a:lnTo>
                    <a:cubicBezTo>
                      <a:pt x="-141" y="7322"/>
                      <a:pt x="-664" y="4280"/>
                      <a:pt x="905" y="2070"/>
                    </a:cubicBezTo>
                    <a:cubicBezTo>
                      <a:pt x="2474" y="-141"/>
                      <a:pt x="5516" y="-664"/>
                      <a:pt x="7703" y="905"/>
                    </a:cubicBezTo>
                    <a:lnTo>
                      <a:pt x="51913" y="32185"/>
                    </a:lnTo>
                    <a:cubicBezTo>
                      <a:pt x="54123" y="33753"/>
                      <a:pt x="54646" y="36796"/>
                      <a:pt x="53077" y="39006"/>
                    </a:cubicBezTo>
                    <a:cubicBezTo>
                      <a:pt x="52127" y="40361"/>
                      <a:pt x="50629" y="41074"/>
                      <a:pt x="49084" y="41074"/>
                    </a:cubicBezTo>
                    <a:close/>
                  </a:path>
                </a:pathLst>
              </a:custGeom>
              <a:solidFill>
                <a:schemeClr val="tx2"/>
              </a:solidFill>
              <a:ln w="2376" cap="flat">
                <a:noFill/>
                <a:prstDash val="solid"/>
                <a:miter/>
              </a:ln>
            </p:spPr>
            <p:txBody>
              <a:bodyPr rtlCol="0" anchor="ctr"/>
              <a:lstStyle/>
              <a:p>
                <a:endParaRPr lang="en-GB" dirty="0"/>
              </a:p>
            </p:txBody>
          </p:sp>
          <p:sp>
            <p:nvSpPr>
              <p:cNvPr id="87" name="Freihandform: Form 742">
                <a:extLst>
                  <a:ext uri="{FF2B5EF4-FFF2-40B4-BE49-F238E27FC236}">
                    <a16:creationId xmlns:a16="http://schemas.microsoft.com/office/drawing/2014/main" id="{5AF5DB27-F937-4167-AAB5-D15FAF2FBB0F}"/>
                  </a:ext>
                </a:extLst>
              </p:cNvPr>
              <p:cNvSpPr/>
              <p:nvPr/>
            </p:nvSpPr>
            <p:spPr>
              <a:xfrm>
                <a:off x="6910417" y="2590312"/>
                <a:ext cx="52667" cy="40409"/>
              </a:xfrm>
              <a:custGeom>
                <a:avLst/>
                <a:gdLst>
                  <a:gd name="connsiteX0" fmla="*/ 4906 w 52667"/>
                  <a:gd name="connsiteY0" fmla="*/ 40410 h 40409"/>
                  <a:gd name="connsiteX1" fmla="*/ 913 w 52667"/>
                  <a:gd name="connsiteY1" fmla="*/ 38366 h 40409"/>
                  <a:gd name="connsiteX2" fmla="*/ 2054 w 52667"/>
                  <a:gd name="connsiteY2" fmla="*/ 31544 h 40409"/>
                  <a:gd name="connsiteX3" fmla="*/ 44933 w 52667"/>
                  <a:gd name="connsiteY3" fmla="*/ 906 h 40409"/>
                  <a:gd name="connsiteX4" fmla="*/ 51754 w 52667"/>
                  <a:gd name="connsiteY4" fmla="*/ 2047 h 40409"/>
                  <a:gd name="connsiteX5" fmla="*/ 50613 w 52667"/>
                  <a:gd name="connsiteY5" fmla="*/ 8869 h 40409"/>
                  <a:gd name="connsiteX6" fmla="*/ 7735 w 52667"/>
                  <a:gd name="connsiteY6" fmla="*/ 39507 h 40409"/>
                  <a:gd name="connsiteX7" fmla="*/ 4906 w 52667"/>
                  <a:gd name="connsiteY7" fmla="*/ 40410 h 40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67" h="40409">
                    <a:moveTo>
                      <a:pt x="4906" y="40410"/>
                    </a:moveTo>
                    <a:cubicBezTo>
                      <a:pt x="3385" y="40410"/>
                      <a:pt x="1888" y="39697"/>
                      <a:pt x="913" y="38366"/>
                    </a:cubicBezTo>
                    <a:cubicBezTo>
                      <a:pt x="-656" y="36179"/>
                      <a:pt x="-157" y="33113"/>
                      <a:pt x="2054" y="31544"/>
                    </a:cubicBezTo>
                    <a:lnTo>
                      <a:pt x="44933" y="906"/>
                    </a:lnTo>
                    <a:cubicBezTo>
                      <a:pt x="47143" y="-662"/>
                      <a:pt x="50185" y="-139"/>
                      <a:pt x="51754" y="2047"/>
                    </a:cubicBezTo>
                    <a:cubicBezTo>
                      <a:pt x="53323" y="4234"/>
                      <a:pt x="52824" y="7300"/>
                      <a:pt x="50613" y="8869"/>
                    </a:cubicBezTo>
                    <a:lnTo>
                      <a:pt x="7735" y="39507"/>
                    </a:lnTo>
                    <a:cubicBezTo>
                      <a:pt x="6879" y="40125"/>
                      <a:pt x="5881" y="40410"/>
                      <a:pt x="4906" y="40410"/>
                    </a:cubicBezTo>
                    <a:close/>
                  </a:path>
                </a:pathLst>
              </a:custGeom>
              <a:solidFill>
                <a:schemeClr val="tx2"/>
              </a:solidFill>
              <a:ln w="2376" cap="flat">
                <a:noFill/>
                <a:prstDash val="solid"/>
                <a:miter/>
              </a:ln>
            </p:spPr>
            <p:txBody>
              <a:bodyPr rtlCol="0" anchor="ctr"/>
              <a:lstStyle/>
              <a:p>
                <a:endParaRPr lang="en-GB" dirty="0"/>
              </a:p>
            </p:txBody>
          </p:sp>
        </p:grpSp>
        <p:grpSp>
          <p:nvGrpSpPr>
            <p:cNvPr id="69" name="Group 68">
              <a:extLst>
                <a:ext uri="{FF2B5EF4-FFF2-40B4-BE49-F238E27FC236}">
                  <a16:creationId xmlns:a16="http://schemas.microsoft.com/office/drawing/2014/main" id="{61321129-03F2-4CD6-A634-A00FB161D0F6}"/>
                </a:ext>
              </a:extLst>
            </p:cNvPr>
            <p:cNvGrpSpPr/>
            <p:nvPr/>
          </p:nvGrpSpPr>
          <p:grpSpPr>
            <a:xfrm>
              <a:off x="6954612" y="2542562"/>
              <a:ext cx="253849" cy="143253"/>
              <a:chOff x="6954612" y="2542564"/>
              <a:chExt cx="253849" cy="143253"/>
            </a:xfrm>
          </p:grpSpPr>
          <p:sp>
            <p:nvSpPr>
              <p:cNvPr id="81" name="Freihandform: Form 738">
                <a:extLst>
                  <a:ext uri="{FF2B5EF4-FFF2-40B4-BE49-F238E27FC236}">
                    <a16:creationId xmlns:a16="http://schemas.microsoft.com/office/drawing/2014/main" id="{DF42D412-39D9-4488-95D1-E2FD60412FB4}"/>
                  </a:ext>
                </a:extLst>
              </p:cNvPr>
              <p:cNvSpPr/>
              <p:nvPr/>
            </p:nvSpPr>
            <p:spPr>
              <a:xfrm>
                <a:off x="6993023" y="2676025"/>
                <a:ext cx="175365" cy="9792"/>
              </a:xfrm>
              <a:custGeom>
                <a:avLst/>
                <a:gdLst>
                  <a:gd name="connsiteX0" fmla="*/ 170469 w 175365"/>
                  <a:gd name="connsiteY0" fmla="*/ 9793 h 9792"/>
                  <a:gd name="connsiteX1" fmla="*/ 4896 w 175365"/>
                  <a:gd name="connsiteY1" fmla="*/ 9793 h 9792"/>
                  <a:gd name="connsiteX2" fmla="*/ 0 w 175365"/>
                  <a:gd name="connsiteY2" fmla="*/ 4896 h 9792"/>
                  <a:gd name="connsiteX3" fmla="*/ 4896 w 175365"/>
                  <a:gd name="connsiteY3" fmla="*/ 0 h 9792"/>
                  <a:gd name="connsiteX4" fmla="*/ 170469 w 175365"/>
                  <a:gd name="connsiteY4" fmla="*/ 0 h 9792"/>
                  <a:gd name="connsiteX5" fmla="*/ 175365 w 175365"/>
                  <a:gd name="connsiteY5" fmla="*/ 4896 h 9792"/>
                  <a:gd name="connsiteX6" fmla="*/ 170469 w 175365"/>
                  <a:gd name="connsiteY6" fmla="*/ 9793 h 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365" h="9792">
                    <a:moveTo>
                      <a:pt x="170469" y="9793"/>
                    </a:moveTo>
                    <a:lnTo>
                      <a:pt x="4896" y="9793"/>
                    </a:lnTo>
                    <a:cubicBezTo>
                      <a:pt x="2187" y="9793"/>
                      <a:pt x="0" y="7606"/>
                      <a:pt x="0" y="4896"/>
                    </a:cubicBezTo>
                    <a:cubicBezTo>
                      <a:pt x="0" y="2187"/>
                      <a:pt x="2187" y="0"/>
                      <a:pt x="4896" y="0"/>
                    </a:cubicBezTo>
                    <a:lnTo>
                      <a:pt x="170469" y="0"/>
                    </a:lnTo>
                    <a:cubicBezTo>
                      <a:pt x="173178" y="0"/>
                      <a:pt x="175365" y="2187"/>
                      <a:pt x="175365" y="4896"/>
                    </a:cubicBezTo>
                    <a:cubicBezTo>
                      <a:pt x="175365" y="7606"/>
                      <a:pt x="173155" y="9793"/>
                      <a:pt x="170469" y="9793"/>
                    </a:cubicBezTo>
                    <a:close/>
                  </a:path>
                </a:pathLst>
              </a:custGeom>
              <a:solidFill>
                <a:schemeClr val="accent1"/>
              </a:solidFill>
              <a:ln w="2376" cap="flat">
                <a:noFill/>
                <a:prstDash val="solid"/>
                <a:miter/>
              </a:ln>
            </p:spPr>
            <p:txBody>
              <a:bodyPr rtlCol="0" anchor="ctr"/>
              <a:lstStyle/>
              <a:p>
                <a:endParaRPr lang="en-GB" dirty="0"/>
              </a:p>
            </p:txBody>
          </p:sp>
          <p:sp>
            <p:nvSpPr>
              <p:cNvPr id="82" name="Freihandform: Form 743">
                <a:extLst>
                  <a:ext uri="{FF2B5EF4-FFF2-40B4-BE49-F238E27FC236}">
                    <a16:creationId xmlns:a16="http://schemas.microsoft.com/office/drawing/2014/main" id="{E17895A5-9201-4D79-85CB-2D24CCB6B198}"/>
                  </a:ext>
                </a:extLst>
              </p:cNvPr>
              <p:cNvSpPr/>
              <p:nvPr/>
            </p:nvSpPr>
            <p:spPr>
              <a:xfrm>
                <a:off x="7048451" y="2604268"/>
                <a:ext cx="66171" cy="9792"/>
              </a:xfrm>
              <a:custGeom>
                <a:avLst/>
                <a:gdLst>
                  <a:gd name="connsiteX0" fmla="*/ 61276 w 66171"/>
                  <a:gd name="connsiteY0" fmla="*/ 9793 h 9792"/>
                  <a:gd name="connsiteX1" fmla="*/ 4896 w 66171"/>
                  <a:gd name="connsiteY1" fmla="*/ 9793 h 9792"/>
                  <a:gd name="connsiteX2" fmla="*/ 0 w 66171"/>
                  <a:gd name="connsiteY2" fmla="*/ 4896 h 9792"/>
                  <a:gd name="connsiteX3" fmla="*/ 4896 w 66171"/>
                  <a:gd name="connsiteY3" fmla="*/ 0 h 9792"/>
                  <a:gd name="connsiteX4" fmla="*/ 61276 w 66171"/>
                  <a:gd name="connsiteY4" fmla="*/ 0 h 9792"/>
                  <a:gd name="connsiteX5" fmla="*/ 66172 w 66171"/>
                  <a:gd name="connsiteY5" fmla="*/ 4896 h 9792"/>
                  <a:gd name="connsiteX6" fmla="*/ 61276 w 66171"/>
                  <a:gd name="connsiteY6" fmla="*/ 9793 h 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171" h="9792">
                    <a:moveTo>
                      <a:pt x="61276" y="9793"/>
                    </a:moveTo>
                    <a:lnTo>
                      <a:pt x="4896" y="9793"/>
                    </a:lnTo>
                    <a:cubicBezTo>
                      <a:pt x="2210" y="9793"/>
                      <a:pt x="0" y="7606"/>
                      <a:pt x="0" y="4896"/>
                    </a:cubicBezTo>
                    <a:cubicBezTo>
                      <a:pt x="0" y="2210"/>
                      <a:pt x="2187" y="0"/>
                      <a:pt x="4896" y="0"/>
                    </a:cubicBezTo>
                    <a:lnTo>
                      <a:pt x="61276" y="0"/>
                    </a:lnTo>
                    <a:cubicBezTo>
                      <a:pt x="63985" y="0"/>
                      <a:pt x="66172" y="2187"/>
                      <a:pt x="66172" y="4896"/>
                    </a:cubicBezTo>
                    <a:cubicBezTo>
                      <a:pt x="66148" y="7606"/>
                      <a:pt x="63961" y="9793"/>
                      <a:pt x="61276" y="9793"/>
                    </a:cubicBezTo>
                    <a:close/>
                  </a:path>
                </a:pathLst>
              </a:custGeom>
              <a:solidFill>
                <a:schemeClr val="accent1"/>
              </a:solidFill>
              <a:ln w="2376" cap="flat">
                <a:noFill/>
                <a:prstDash val="solid"/>
                <a:miter/>
              </a:ln>
            </p:spPr>
            <p:txBody>
              <a:bodyPr rtlCol="0" anchor="ctr"/>
              <a:lstStyle/>
              <a:p>
                <a:endParaRPr lang="en-GB" dirty="0"/>
              </a:p>
            </p:txBody>
          </p:sp>
          <p:sp>
            <p:nvSpPr>
              <p:cNvPr id="83" name="Freihandform: Form 744">
                <a:extLst>
                  <a:ext uri="{FF2B5EF4-FFF2-40B4-BE49-F238E27FC236}">
                    <a16:creationId xmlns:a16="http://schemas.microsoft.com/office/drawing/2014/main" id="{F1C0B1D9-AE9B-44AD-B013-5E77960DC104}"/>
                  </a:ext>
                </a:extLst>
              </p:cNvPr>
              <p:cNvSpPr/>
              <p:nvPr/>
            </p:nvSpPr>
            <p:spPr>
              <a:xfrm>
                <a:off x="6993023" y="2640158"/>
                <a:ext cx="175365" cy="9792"/>
              </a:xfrm>
              <a:custGeom>
                <a:avLst/>
                <a:gdLst>
                  <a:gd name="connsiteX0" fmla="*/ 170469 w 175365"/>
                  <a:gd name="connsiteY0" fmla="*/ 9793 h 9792"/>
                  <a:gd name="connsiteX1" fmla="*/ 4896 w 175365"/>
                  <a:gd name="connsiteY1" fmla="*/ 9793 h 9792"/>
                  <a:gd name="connsiteX2" fmla="*/ 0 w 175365"/>
                  <a:gd name="connsiteY2" fmla="*/ 4896 h 9792"/>
                  <a:gd name="connsiteX3" fmla="*/ 4896 w 175365"/>
                  <a:gd name="connsiteY3" fmla="*/ 0 h 9792"/>
                  <a:gd name="connsiteX4" fmla="*/ 170469 w 175365"/>
                  <a:gd name="connsiteY4" fmla="*/ 0 h 9792"/>
                  <a:gd name="connsiteX5" fmla="*/ 175365 w 175365"/>
                  <a:gd name="connsiteY5" fmla="*/ 4896 h 9792"/>
                  <a:gd name="connsiteX6" fmla="*/ 170469 w 175365"/>
                  <a:gd name="connsiteY6" fmla="*/ 9793 h 9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365" h="9792">
                    <a:moveTo>
                      <a:pt x="170469" y="9793"/>
                    </a:moveTo>
                    <a:lnTo>
                      <a:pt x="4896" y="9793"/>
                    </a:lnTo>
                    <a:cubicBezTo>
                      <a:pt x="2187" y="9793"/>
                      <a:pt x="0" y="7606"/>
                      <a:pt x="0" y="4896"/>
                    </a:cubicBezTo>
                    <a:cubicBezTo>
                      <a:pt x="0" y="2187"/>
                      <a:pt x="2187" y="0"/>
                      <a:pt x="4896" y="0"/>
                    </a:cubicBezTo>
                    <a:lnTo>
                      <a:pt x="170469" y="0"/>
                    </a:lnTo>
                    <a:cubicBezTo>
                      <a:pt x="173178" y="0"/>
                      <a:pt x="175365" y="2187"/>
                      <a:pt x="175365" y="4896"/>
                    </a:cubicBezTo>
                    <a:cubicBezTo>
                      <a:pt x="175365" y="7606"/>
                      <a:pt x="173155" y="9793"/>
                      <a:pt x="170469" y="9793"/>
                    </a:cubicBezTo>
                    <a:close/>
                  </a:path>
                </a:pathLst>
              </a:custGeom>
              <a:solidFill>
                <a:schemeClr val="accent1"/>
              </a:solidFill>
              <a:ln w="2376" cap="flat">
                <a:noFill/>
                <a:prstDash val="solid"/>
                <a:miter/>
              </a:ln>
            </p:spPr>
            <p:txBody>
              <a:bodyPr rtlCol="0" anchor="ctr"/>
              <a:lstStyle/>
              <a:p>
                <a:endParaRPr lang="en-GB" dirty="0"/>
              </a:p>
            </p:txBody>
          </p:sp>
          <p:sp>
            <p:nvSpPr>
              <p:cNvPr id="84" name="Freihandform: Form 745">
                <a:extLst>
                  <a:ext uri="{FF2B5EF4-FFF2-40B4-BE49-F238E27FC236}">
                    <a16:creationId xmlns:a16="http://schemas.microsoft.com/office/drawing/2014/main" id="{7D9BDB11-13E0-415F-92DF-9EA8BE3DD980}"/>
                  </a:ext>
                </a:extLst>
              </p:cNvPr>
              <p:cNvSpPr/>
              <p:nvPr/>
            </p:nvSpPr>
            <p:spPr>
              <a:xfrm>
                <a:off x="6954612" y="2542564"/>
                <a:ext cx="253849" cy="116133"/>
              </a:xfrm>
              <a:custGeom>
                <a:avLst/>
                <a:gdLst>
                  <a:gd name="connsiteX0" fmla="*/ 4896 w 253849"/>
                  <a:gd name="connsiteY0" fmla="*/ 116134 h 116133"/>
                  <a:gd name="connsiteX1" fmla="*/ 0 w 253849"/>
                  <a:gd name="connsiteY1" fmla="*/ 111237 h 116133"/>
                  <a:gd name="connsiteX2" fmla="*/ 0 w 253849"/>
                  <a:gd name="connsiteY2" fmla="*/ 4896 h 116133"/>
                  <a:gd name="connsiteX3" fmla="*/ 4896 w 253849"/>
                  <a:gd name="connsiteY3" fmla="*/ 0 h 116133"/>
                  <a:gd name="connsiteX4" fmla="*/ 248953 w 253849"/>
                  <a:gd name="connsiteY4" fmla="*/ 0 h 116133"/>
                  <a:gd name="connsiteX5" fmla="*/ 253849 w 253849"/>
                  <a:gd name="connsiteY5" fmla="*/ 4896 h 116133"/>
                  <a:gd name="connsiteX6" fmla="*/ 253849 w 253849"/>
                  <a:gd name="connsiteY6" fmla="*/ 110596 h 116133"/>
                  <a:gd name="connsiteX7" fmla="*/ 248953 w 253849"/>
                  <a:gd name="connsiteY7" fmla="*/ 115492 h 116133"/>
                  <a:gd name="connsiteX8" fmla="*/ 244057 w 253849"/>
                  <a:gd name="connsiteY8" fmla="*/ 110596 h 116133"/>
                  <a:gd name="connsiteX9" fmla="*/ 244057 w 253849"/>
                  <a:gd name="connsiteY9" fmla="*/ 9769 h 116133"/>
                  <a:gd name="connsiteX10" fmla="*/ 9769 w 253849"/>
                  <a:gd name="connsiteY10" fmla="*/ 9769 h 116133"/>
                  <a:gd name="connsiteX11" fmla="*/ 9769 w 253849"/>
                  <a:gd name="connsiteY11" fmla="*/ 111214 h 116133"/>
                  <a:gd name="connsiteX12" fmla="*/ 4896 w 253849"/>
                  <a:gd name="connsiteY12" fmla="*/ 116134 h 116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3849" h="116133">
                    <a:moveTo>
                      <a:pt x="4896" y="116134"/>
                    </a:moveTo>
                    <a:cubicBezTo>
                      <a:pt x="2187" y="116134"/>
                      <a:pt x="0" y="113947"/>
                      <a:pt x="0" y="111237"/>
                    </a:cubicBezTo>
                    <a:lnTo>
                      <a:pt x="0" y="4896"/>
                    </a:lnTo>
                    <a:cubicBezTo>
                      <a:pt x="0" y="2187"/>
                      <a:pt x="2187" y="0"/>
                      <a:pt x="4896" y="0"/>
                    </a:cubicBezTo>
                    <a:lnTo>
                      <a:pt x="248953" y="0"/>
                    </a:lnTo>
                    <a:cubicBezTo>
                      <a:pt x="251663" y="0"/>
                      <a:pt x="253849" y="2187"/>
                      <a:pt x="253849" y="4896"/>
                    </a:cubicBezTo>
                    <a:lnTo>
                      <a:pt x="253849" y="110596"/>
                    </a:lnTo>
                    <a:cubicBezTo>
                      <a:pt x="253849" y="113281"/>
                      <a:pt x="251663" y="115492"/>
                      <a:pt x="248953" y="115492"/>
                    </a:cubicBezTo>
                    <a:cubicBezTo>
                      <a:pt x="246243" y="115492"/>
                      <a:pt x="244057" y="113305"/>
                      <a:pt x="244057" y="110596"/>
                    </a:cubicBezTo>
                    <a:lnTo>
                      <a:pt x="244057" y="9769"/>
                    </a:lnTo>
                    <a:lnTo>
                      <a:pt x="9769" y="9769"/>
                    </a:lnTo>
                    <a:lnTo>
                      <a:pt x="9769" y="111214"/>
                    </a:lnTo>
                    <a:cubicBezTo>
                      <a:pt x="9769" y="113947"/>
                      <a:pt x="7582" y="116134"/>
                      <a:pt x="4896" y="116134"/>
                    </a:cubicBezTo>
                    <a:close/>
                  </a:path>
                </a:pathLst>
              </a:custGeom>
              <a:solidFill>
                <a:schemeClr val="accent1"/>
              </a:solidFill>
              <a:ln w="2376" cap="flat">
                <a:noFill/>
                <a:prstDash val="solid"/>
                <a:miter/>
              </a:ln>
            </p:spPr>
            <p:txBody>
              <a:bodyPr rtlCol="0" anchor="ctr"/>
              <a:lstStyle/>
              <a:p>
                <a:endParaRPr lang="en-GB" dirty="0"/>
              </a:p>
            </p:txBody>
          </p:sp>
        </p:grpSp>
        <p:grpSp>
          <p:nvGrpSpPr>
            <p:cNvPr id="70" name="Group 69">
              <a:extLst>
                <a:ext uri="{FF2B5EF4-FFF2-40B4-BE49-F238E27FC236}">
                  <a16:creationId xmlns:a16="http://schemas.microsoft.com/office/drawing/2014/main" id="{676950E5-7953-4FE6-93D6-B0F4ADD444A5}"/>
                </a:ext>
              </a:extLst>
            </p:cNvPr>
            <p:cNvGrpSpPr/>
            <p:nvPr/>
          </p:nvGrpSpPr>
          <p:grpSpPr>
            <a:xfrm>
              <a:off x="6910094" y="2622592"/>
              <a:ext cx="597705" cy="405708"/>
              <a:chOff x="6910094" y="2622592"/>
              <a:chExt cx="597705" cy="405708"/>
            </a:xfrm>
          </p:grpSpPr>
          <p:grpSp>
            <p:nvGrpSpPr>
              <p:cNvPr id="71" name="Group 70">
                <a:extLst>
                  <a:ext uri="{FF2B5EF4-FFF2-40B4-BE49-F238E27FC236}">
                    <a16:creationId xmlns:a16="http://schemas.microsoft.com/office/drawing/2014/main" id="{F0903022-15A2-4504-A1DC-DDE9CB9491C2}"/>
                  </a:ext>
                </a:extLst>
              </p:cNvPr>
              <p:cNvGrpSpPr/>
              <p:nvPr/>
            </p:nvGrpSpPr>
            <p:grpSpPr>
              <a:xfrm>
                <a:off x="6910094" y="2622592"/>
                <a:ext cx="342862" cy="298083"/>
                <a:chOff x="6910094" y="2622592"/>
                <a:chExt cx="342862" cy="298083"/>
              </a:xfrm>
            </p:grpSpPr>
            <p:sp>
              <p:nvSpPr>
                <p:cNvPr id="76" name="Freihandform: Form 746">
                  <a:extLst>
                    <a:ext uri="{FF2B5EF4-FFF2-40B4-BE49-F238E27FC236}">
                      <a16:creationId xmlns:a16="http://schemas.microsoft.com/office/drawing/2014/main" id="{2EA53B7B-7C24-464A-8879-0214A664EEE7}"/>
                    </a:ext>
                  </a:extLst>
                </p:cNvPr>
                <p:cNvSpPr/>
                <p:nvPr/>
              </p:nvSpPr>
              <p:spPr>
                <a:xfrm>
                  <a:off x="6912484" y="2726357"/>
                  <a:ext cx="154832" cy="106351"/>
                </a:xfrm>
                <a:custGeom>
                  <a:avLst/>
                  <a:gdLst>
                    <a:gd name="connsiteX0" fmla="*/ 4883 w 154832"/>
                    <a:gd name="connsiteY0" fmla="*/ 106351 h 106351"/>
                    <a:gd name="connsiteX1" fmla="*/ 819 w 154832"/>
                    <a:gd name="connsiteY1" fmla="*/ 104165 h 106351"/>
                    <a:gd name="connsiteX2" fmla="*/ 2173 w 154832"/>
                    <a:gd name="connsiteY2" fmla="*/ 97391 h 106351"/>
                    <a:gd name="connsiteX3" fmla="*/ 147234 w 154832"/>
                    <a:gd name="connsiteY3" fmla="*/ 819 h 106351"/>
                    <a:gd name="connsiteX4" fmla="*/ 154008 w 154832"/>
                    <a:gd name="connsiteY4" fmla="*/ 2173 h 106351"/>
                    <a:gd name="connsiteX5" fmla="*/ 152653 w 154832"/>
                    <a:gd name="connsiteY5" fmla="*/ 8948 h 106351"/>
                    <a:gd name="connsiteX6" fmla="*/ 7617 w 154832"/>
                    <a:gd name="connsiteY6" fmla="*/ 105520 h 106351"/>
                    <a:gd name="connsiteX7" fmla="*/ 4883 w 154832"/>
                    <a:gd name="connsiteY7" fmla="*/ 106351 h 106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832" h="106351">
                      <a:moveTo>
                        <a:pt x="4883" y="106351"/>
                      </a:moveTo>
                      <a:cubicBezTo>
                        <a:pt x="3291" y="106351"/>
                        <a:pt x="1746" y="105591"/>
                        <a:pt x="819" y="104165"/>
                      </a:cubicBezTo>
                      <a:cubicBezTo>
                        <a:pt x="-679" y="101907"/>
                        <a:pt x="-61" y="98888"/>
                        <a:pt x="2173" y="97391"/>
                      </a:cubicBezTo>
                      <a:lnTo>
                        <a:pt x="147234" y="819"/>
                      </a:lnTo>
                      <a:cubicBezTo>
                        <a:pt x="149492" y="-679"/>
                        <a:pt x="152510" y="-61"/>
                        <a:pt x="154008" y="2173"/>
                      </a:cubicBezTo>
                      <a:cubicBezTo>
                        <a:pt x="155505" y="4431"/>
                        <a:pt x="154911" y="7450"/>
                        <a:pt x="152653" y="8948"/>
                      </a:cubicBezTo>
                      <a:lnTo>
                        <a:pt x="7617" y="105520"/>
                      </a:lnTo>
                      <a:cubicBezTo>
                        <a:pt x="6761" y="106090"/>
                        <a:pt x="5810" y="106351"/>
                        <a:pt x="4883" y="106351"/>
                      </a:cubicBezTo>
                      <a:close/>
                    </a:path>
                  </a:pathLst>
                </a:custGeom>
                <a:solidFill>
                  <a:schemeClr val="tx2"/>
                </a:solidFill>
                <a:ln w="2376" cap="flat">
                  <a:noFill/>
                  <a:prstDash val="solid"/>
                  <a:miter/>
                </a:ln>
              </p:spPr>
              <p:txBody>
                <a:bodyPr rtlCol="0" anchor="ctr"/>
                <a:lstStyle/>
                <a:p>
                  <a:endParaRPr lang="en-GB" dirty="0"/>
                </a:p>
              </p:txBody>
            </p:sp>
            <p:sp>
              <p:nvSpPr>
                <p:cNvPr id="77" name="Freihandform: Form 747">
                  <a:extLst>
                    <a:ext uri="{FF2B5EF4-FFF2-40B4-BE49-F238E27FC236}">
                      <a16:creationId xmlns:a16="http://schemas.microsoft.com/office/drawing/2014/main" id="{F8B40B97-3095-423D-AF16-12ADD79BC812}"/>
                    </a:ext>
                  </a:extLst>
                </p:cNvPr>
                <p:cNvSpPr/>
                <p:nvPr/>
              </p:nvSpPr>
              <p:spPr>
                <a:xfrm>
                  <a:off x="7095740" y="2726374"/>
                  <a:ext cx="80127" cy="56609"/>
                </a:xfrm>
                <a:custGeom>
                  <a:avLst/>
                  <a:gdLst>
                    <a:gd name="connsiteX0" fmla="*/ 75238 w 80127"/>
                    <a:gd name="connsiteY0" fmla="*/ 56610 h 56609"/>
                    <a:gd name="connsiteX1" fmla="*/ 72529 w 80127"/>
                    <a:gd name="connsiteY1" fmla="*/ 55802 h 56609"/>
                    <a:gd name="connsiteX2" fmla="*/ 2173 w 80127"/>
                    <a:gd name="connsiteY2" fmla="*/ 8954 h 56609"/>
                    <a:gd name="connsiteX3" fmla="*/ 819 w 80127"/>
                    <a:gd name="connsiteY3" fmla="*/ 2180 h 56609"/>
                    <a:gd name="connsiteX4" fmla="*/ 7593 w 80127"/>
                    <a:gd name="connsiteY4" fmla="*/ 825 h 56609"/>
                    <a:gd name="connsiteX5" fmla="*/ 77948 w 80127"/>
                    <a:gd name="connsiteY5" fmla="*/ 47673 h 56609"/>
                    <a:gd name="connsiteX6" fmla="*/ 79303 w 80127"/>
                    <a:gd name="connsiteY6" fmla="*/ 54447 h 56609"/>
                    <a:gd name="connsiteX7" fmla="*/ 75238 w 80127"/>
                    <a:gd name="connsiteY7" fmla="*/ 56610 h 5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127" h="56609">
                      <a:moveTo>
                        <a:pt x="75238" y="56610"/>
                      </a:moveTo>
                      <a:cubicBezTo>
                        <a:pt x="74311" y="56610"/>
                        <a:pt x="73361" y="56348"/>
                        <a:pt x="72529" y="55802"/>
                      </a:cubicBezTo>
                      <a:lnTo>
                        <a:pt x="2173" y="8954"/>
                      </a:lnTo>
                      <a:cubicBezTo>
                        <a:pt x="-61" y="7456"/>
                        <a:pt x="-679" y="4414"/>
                        <a:pt x="819" y="2180"/>
                      </a:cubicBezTo>
                      <a:cubicBezTo>
                        <a:pt x="2316" y="-78"/>
                        <a:pt x="5335" y="-673"/>
                        <a:pt x="7593" y="825"/>
                      </a:cubicBezTo>
                      <a:lnTo>
                        <a:pt x="77948" y="47673"/>
                      </a:lnTo>
                      <a:cubicBezTo>
                        <a:pt x="80206" y="49170"/>
                        <a:pt x="80800" y="52213"/>
                        <a:pt x="79303" y="54447"/>
                      </a:cubicBezTo>
                      <a:cubicBezTo>
                        <a:pt x="78376" y="55825"/>
                        <a:pt x="76831" y="56610"/>
                        <a:pt x="75238" y="56610"/>
                      </a:cubicBezTo>
                      <a:close/>
                    </a:path>
                  </a:pathLst>
                </a:custGeom>
                <a:solidFill>
                  <a:schemeClr val="tx2"/>
                </a:solidFill>
                <a:ln w="2376" cap="flat">
                  <a:noFill/>
                  <a:prstDash val="solid"/>
                  <a:miter/>
                </a:ln>
              </p:spPr>
              <p:txBody>
                <a:bodyPr rtlCol="0" anchor="ctr"/>
                <a:lstStyle/>
                <a:p>
                  <a:endParaRPr lang="en-GB" dirty="0"/>
                </a:p>
              </p:txBody>
            </p:sp>
            <p:sp>
              <p:nvSpPr>
                <p:cNvPr id="78" name="Freihandform: Form 748">
                  <a:extLst>
                    <a:ext uri="{FF2B5EF4-FFF2-40B4-BE49-F238E27FC236}">
                      <a16:creationId xmlns:a16="http://schemas.microsoft.com/office/drawing/2014/main" id="{3845C508-72B2-4EE8-B05C-06EC27EA6094}"/>
                    </a:ext>
                  </a:extLst>
                </p:cNvPr>
                <p:cNvSpPr/>
                <p:nvPr/>
              </p:nvSpPr>
              <p:spPr>
                <a:xfrm>
                  <a:off x="6915581" y="2622592"/>
                  <a:ext cx="331927" cy="123860"/>
                </a:xfrm>
                <a:custGeom>
                  <a:avLst/>
                  <a:gdLst>
                    <a:gd name="connsiteX0" fmla="*/ 165528 w 331927"/>
                    <a:gd name="connsiteY0" fmla="*/ 123860 h 123860"/>
                    <a:gd name="connsiteX1" fmla="*/ 162700 w 331927"/>
                    <a:gd name="connsiteY1" fmla="*/ 122957 h 123860"/>
                    <a:gd name="connsiteX2" fmla="*/ 2047 w 331927"/>
                    <a:gd name="connsiteY2" fmla="*/ 8891 h 123860"/>
                    <a:gd name="connsiteX3" fmla="*/ 906 w 331927"/>
                    <a:gd name="connsiteY3" fmla="*/ 2070 h 123860"/>
                    <a:gd name="connsiteX4" fmla="*/ 7728 w 331927"/>
                    <a:gd name="connsiteY4" fmla="*/ 905 h 123860"/>
                    <a:gd name="connsiteX5" fmla="*/ 165552 w 331927"/>
                    <a:gd name="connsiteY5" fmla="*/ 112974 h 123860"/>
                    <a:gd name="connsiteX6" fmla="*/ 324232 w 331927"/>
                    <a:gd name="connsiteY6" fmla="*/ 905 h 123860"/>
                    <a:gd name="connsiteX7" fmla="*/ 331029 w 331927"/>
                    <a:gd name="connsiteY7" fmla="*/ 2070 h 123860"/>
                    <a:gd name="connsiteX8" fmla="*/ 329865 w 331927"/>
                    <a:gd name="connsiteY8" fmla="*/ 8891 h 123860"/>
                    <a:gd name="connsiteX9" fmla="*/ 168357 w 331927"/>
                    <a:gd name="connsiteY9" fmla="*/ 122957 h 123860"/>
                    <a:gd name="connsiteX10" fmla="*/ 165528 w 331927"/>
                    <a:gd name="connsiteY10" fmla="*/ 123860 h 123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1927" h="123860">
                      <a:moveTo>
                        <a:pt x="165528" y="123860"/>
                      </a:moveTo>
                      <a:cubicBezTo>
                        <a:pt x="164530" y="123860"/>
                        <a:pt x="163555" y="123551"/>
                        <a:pt x="162700" y="122957"/>
                      </a:cubicBezTo>
                      <a:lnTo>
                        <a:pt x="2047" y="8891"/>
                      </a:lnTo>
                      <a:cubicBezTo>
                        <a:pt x="-139" y="7322"/>
                        <a:pt x="-662" y="4280"/>
                        <a:pt x="906" y="2070"/>
                      </a:cubicBezTo>
                      <a:cubicBezTo>
                        <a:pt x="2475" y="-117"/>
                        <a:pt x="5494" y="-664"/>
                        <a:pt x="7728" y="905"/>
                      </a:cubicBezTo>
                      <a:lnTo>
                        <a:pt x="165552" y="112974"/>
                      </a:lnTo>
                      <a:lnTo>
                        <a:pt x="324232" y="905"/>
                      </a:lnTo>
                      <a:cubicBezTo>
                        <a:pt x="326442" y="-664"/>
                        <a:pt x="329484" y="-141"/>
                        <a:pt x="331029" y="2070"/>
                      </a:cubicBezTo>
                      <a:cubicBezTo>
                        <a:pt x="332598" y="4280"/>
                        <a:pt x="332051" y="7322"/>
                        <a:pt x="329865" y="8891"/>
                      </a:cubicBezTo>
                      <a:lnTo>
                        <a:pt x="168357" y="122957"/>
                      </a:lnTo>
                      <a:cubicBezTo>
                        <a:pt x="167477" y="123575"/>
                        <a:pt x="166503" y="123860"/>
                        <a:pt x="165528" y="123860"/>
                      </a:cubicBezTo>
                      <a:close/>
                    </a:path>
                  </a:pathLst>
                </a:custGeom>
                <a:solidFill>
                  <a:schemeClr val="tx2"/>
                </a:solidFill>
                <a:ln w="2376" cap="flat">
                  <a:noFill/>
                  <a:prstDash val="solid"/>
                  <a:miter/>
                </a:ln>
              </p:spPr>
              <p:txBody>
                <a:bodyPr rtlCol="0" anchor="ctr"/>
                <a:lstStyle/>
                <a:p>
                  <a:endParaRPr lang="en-GB" dirty="0"/>
                </a:p>
              </p:txBody>
            </p:sp>
            <p:sp>
              <p:nvSpPr>
                <p:cNvPr id="79" name="Freihandform: Form 749">
                  <a:extLst>
                    <a:ext uri="{FF2B5EF4-FFF2-40B4-BE49-F238E27FC236}">
                      <a16:creationId xmlns:a16="http://schemas.microsoft.com/office/drawing/2014/main" id="{096CBDBF-B16C-4583-A5CE-20DCB78012A3}"/>
                    </a:ext>
                  </a:extLst>
                </p:cNvPr>
                <p:cNvSpPr/>
                <p:nvPr/>
              </p:nvSpPr>
              <p:spPr>
                <a:xfrm>
                  <a:off x="7243164" y="2622593"/>
                  <a:ext cx="9792" cy="106768"/>
                </a:xfrm>
                <a:custGeom>
                  <a:avLst/>
                  <a:gdLst>
                    <a:gd name="connsiteX0" fmla="*/ 4896 w 9792"/>
                    <a:gd name="connsiteY0" fmla="*/ 106769 h 106768"/>
                    <a:gd name="connsiteX1" fmla="*/ 0 w 9792"/>
                    <a:gd name="connsiteY1" fmla="*/ 101872 h 106768"/>
                    <a:gd name="connsiteX2" fmla="*/ 0 w 9792"/>
                    <a:gd name="connsiteY2" fmla="*/ 4896 h 106768"/>
                    <a:gd name="connsiteX3" fmla="*/ 4896 w 9792"/>
                    <a:gd name="connsiteY3" fmla="*/ 0 h 106768"/>
                    <a:gd name="connsiteX4" fmla="*/ 9793 w 9792"/>
                    <a:gd name="connsiteY4" fmla="*/ 4896 h 106768"/>
                    <a:gd name="connsiteX5" fmla="*/ 9793 w 9792"/>
                    <a:gd name="connsiteY5" fmla="*/ 101872 h 106768"/>
                    <a:gd name="connsiteX6" fmla="*/ 4896 w 9792"/>
                    <a:gd name="connsiteY6" fmla="*/ 106769 h 10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92" h="106768">
                      <a:moveTo>
                        <a:pt x="4896" y="106769"/>
                      </a:moveTo>
                      <a:cubicBezTo>
                        <a:pt x="2210" y="106769"/>
                        <a:pt x="0" y="104582"/>
                        <a:pt x="0" y="101872"/>
                      </a:cubicBezTo>
                      <a:lnTo>
                        <a:pt x="0" y="4896"/>
                      </a:lnTo>
                      <a:cubicBezTo>
                        <a:pt x="0" y="2187"/>
                        <a:pt x="2187" y="0"/>
                        <a:pt x="4896" y="0"/>
                      </a:cubicBezTo>
                      <a:cubicBezTo>
                        <a:pt x="7606" y="0"/>
                        <a:pt x="9793" y="2187"/>
                        <a:pt x="9793" y="4896"/>
                      </a:cubicBezTo>
                      <a:lnTo>
                        <a:pt x="9793" y="101872"/>
                      </a:lnTo>
                      <a:cubicBezTo>
                        <a:pt x="9793" y="104582"/>
                        <a:pt x="7606" y="106769"/>
                        <a:pt x="4896" y="106769"/>
                      </a:cubicBezTo>
                      <a:close/>
                    </a:path>
                  </a:pathLst>
                </a:custGeom>
                <a:solidFill>
                  <a:schemeClr val="tx2"/>
                </a:solidFill>
                <a:ln w="2376" cap="flat">
                  <a:noFill/>
                  <a:prstDash val="solid"/>
                  <a:miter/>
                </a:ln>
              </p:spPr>
              <p:txBody>
                <a:bodyPr rtlCol="0" anchor="ctr"/>
                <a:lstStyle/>
                <a:p>
                  <a:endParaRPr lang="en-GB" dirty="0"/>
                </a:p>
              </p:txBody>
            </p:sp>
            <p:sp>
              <p:nvSpPr>
                <p:cNvPr id="80" name="Freihandform: Form 750">
                  <a:extLst>
                    <a:ext uri="{FF2B5EF4-FFF2-40B4-BE49-F238E27FC236}">
                      <a16:creationId xmlns:a16="http://schemas.microsoft.com/office/drawing/2014/main" id="{C838B50E-252B-4C08-9673-C5DAC1C318B7}"/>
                    </a:ext>
                  </a:extLst>
                </p:cNvPr>
                <p:cNvSpPr/>
                <p:nvPr/>
              </p:nvSpPr>
              <p:spPr>
                <a:xfrm>
                  <a:off x="6910094" y="2622593"/>
                  <a:ext cx="266090" cy="298082"/>
                </a:xfrm>
                <a:custGeom>
                  <a:avLst/>
                  <a:gdLst>
                    <a:gd name="connsiteX0" fmla="*/ 51958 w 266090"/>
                    <a:gd name="connsiteY0" fmla="*/ 298083 h 298082"/>
                    <a:gd name="connsiteX1" fmla="*/ 50081 w 266090"/>
                    <a:gd name="connsiteY1" fmla="*/ 297702 h 298082"/>
                    <a:gd name="connsiteX2" fmla="*/ 47062 w 266090"/>
                    <a:gd name="connsiteY2" fmla="*/ 293187 h 298082"/>
                    <a:gd name="connsiteX3" fmla="*/ 47062 w 266090"/>
                    <a:gd name="connsiteY3" fmla="*/ 211826 h 298082"/>
                    <a:gd name="connsiteX4" fmla="*/ 4896 w 266090"/>
                    <a:gd name="connsiteY4" fmla="*/ 211826 h 298082"/>
                    <a:gd name="connsiteX5" fmla="*/ 0 w 266090"/>
                    <a:gd name="connsiteY5" fmla="*/ 206930 h 298082"/>
                    <a:gd name="connsiteX6" fmla="*/ 0 w 266090"/>
                    <a:gd name="connsiteY6" fmla="*/ 4896 h 298082"/>
                    <a:gd name="connsiteX7" fmla="*/ 4896 w 266090"/>
                    <a:gd name="connsiteY7" fmla="*/ 0 h 298082"/>
                    <a:gd name="connsiteX8" fmla="*/ 9793 w 266090"/>
                    <a:gd name="connsiteY8" fmla="*/ 4896 h 298082"/>
                    <a:gd name="connsiteX9" fmla="*/ 9793 w 266090"/>
                    <a:gd name="connsiteY9" fmla="*/ 202034 h 298082"/>
                    <a:gd name="connsiteX10" fmla="*/ 51958 w 266090"/>
                    <a:gd name="connsiteY10" fmla="*/ 202034 h 298082"/>
                    <a:gd name="connsiteX11" fmla="*/ 56855 w 266090"/>
                    <a:gd name="connsiteY11" fmla="*/ 206930 h 298082"/>
                    <a:gd name="connsiteX12" fmla="*/ 56855 w 266090"/>
                    <a:gd name="connsiteY12" fmla="*/ 281397 h 298082"/>
                    <a:gd name="connsiteX13" fmla="*/ 134768 w 266090"/>
                    <a:gd name="connsiteY13" fmla="*/ 203484 h 298082"/>
                    <a:gd name="connsiteX14" fmla="*/ 138215 w 266090"/>
                    <a:gd name="connsiteY14" fmla="*/ 202057 h 298082"/>
                    <a:gd name="connsiteX15" fmla="*/ 261194 w 266090"/>
                    <a:gd name="connsiteY15" fmla="*/ 202057 h 298082"/>
                    <a:gd name="connsiteX16" fmla="*/ 266090 w 266090"/>
                    <a:gd name="connsiteY16" fmla="*/ 206954 h 298082"/>
                    <a:gd name="connsiteX17" fmla="*/ 261194 w 266090"/>
                    <a:gd name="connsiteY17" fmla="*/ 211850 h 298082"/>
                    <a:gd name="connsiteX18" fmla="*/ 140235 w 266090"/>
                    <a:gd name="connsiteY18" fmla="*/ 211850 h 298082"/>
                    <a:gd name="connsiteX19" fmla="*/ 55429 w 266090"/>
                    <a:gd name="connsiteY19" fmla="*/ 296680 h 298082"/>
                    <a:gd name="connsiteX20" fmla="*/ 51958 w 266090"/>
                    <a:gd name="connsiteY20" fmla="*/ 298083 h 29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090" h="298082">
                      <a:moveTo>
                        <a:pt x="51958" y="298083"/>
                      </a:moveTo>
                      <a:cubicBezTo>
                        <a:pt x="51317" y="298083"/>
                        <a:pt x="50699" y="297964"/>
                        <a:pt x="50081" y="297702"/>
                      </a:cubicBezTo>
                      <a:cubicBezTo>
                        <a:pt x="48250" y="296942"/>
                        <a:pt x="47062" y="295159"/>
                        <a:pt x="47062" y="293187"/>
                      </a:cubicBezTo>
                      <a:lnTo>
                        <a:pt x="47062" y="211826"/>
                      </a:lnTo>
                      <a:lnTo>
                        <a:pt x="4896" y="211826"/>
                      </a:lnTo>
                      <a:cubicBezTo>
                        <a:pt x="2187" y="211826"/>
                        <a:pt x="0" y="209640"/>
                        <a:pt x="0" y="206930"/>
                      </a:cubicBezTo>
                      <a:lnTo>
                        <a:pt x="0" y="4896"/>
                      </a:lnTo>
                      <a:cubicBezTo>
                        <a:pt x="0" y="2187"/>
                        <a:pt x="2187" y="0"/>
                        <a:pt x="4896" y="0"/>
                      </a:cubicBezTo>
                      <a:cubicBezTo>
                        <a:pt x="7606" y="0"/>
                        <a:pt x="9793" y="2187"/>
                        <a:pt x="9793" y="4896"/>
                      </a:cubicBezTo>
                      <a:lnTo>
                        <a:pt x="9793" y="202034"/>
                      </a:lnTo>
                      <a:lnTo>
                        <a:pt x="51958" y="202034"/>
                      </a:lnTo>
                      <a:cubicBezTo>
                        <a:pt x="54668" y="202034"/>
                        <a:pt x="56855" y="204220"/>
                        <a:pt x="56855" y="206930"/>
                      </a:cubicBezTo>
                      <a:lnTo>
                        <a:pt x="56855" y="281397"/>
                      </a:lnTo>
                      <a:lnTo>
                        <a:pt x="134768" y="203484"/>
                      </a:lnTo>
                      <a:cubicBezTo>
                        <a:pt x="135695" y="202557"/>
                        <a:pt x="136931" y="202057"/>
                        <a:pt x="138215" y="202057"/>
                      </a:cubicBezTo>
                      <a:lnTo>
                        <a:pt x="261194" y="202057"/>
                      </a:lnTo>
                      <a:cubicBezTo>
                        <a:pt x="263904" y="202057"/>
                        <a:pt x="266090" y="204244"/>
                        <a:pt x="266090" y="206954"/>
                      </a:cubicBezTo>
                      <a:cubicBezTo>
                        <a:pt x="266090" y="209640"/>
                        <a:pt x="263904" y="211850"/>
                        <a:pt x="261194" y="211850"/>
                      </a:cubicBezTo>
                      <a:lnTo>
                        <a:pt x="140235" y="211850"/>
                      </a:lnTo>
                      <a:lnTo>
                        <a:pt x="55429" y="296680"/>
                      </a:lnTo>
                      <a:cubicBezTo>
                        <a:pt x="54478" y="297584"/>
                        <a:pt x="53218" y="298083"/>
                        <a:pt x="51958" y="298083"/>
                      </a:cubicBezTo>
                      <a:close/>
                    </a:path>
                  </a:pathLst>
                </a:custGeom>
                <a:solidFill>
                  <a:schemeClr val="tx2"/>
                </a:solidFill>
                <a:ln w="2376" cap="flat">
                  <a:noFill/>
                  <a:prstDash val="solid"/>
                  <a:miter/>
                </a:ln>
              </p:spPr>
              <p:txBody>
                <a:bodyPr rtlCol="0" anchor="ctr"/>
                <a:lstStyle/>
                <a:p>
                  <a:endParaRPr lang="en-GB" dirty="0"/>
                </a:p>
              </p:txBody>
            </p:sp>
          </p:grpSp>
          <p:grpSp>
            <p:nvGrpSpPr>
              <p:cNvPr id="72" name="Group 71">
                <a:extLst>
                  <a:ext uri="{FF2B5EF4-FFF2-40B4-BE49-F238E27FC236}">
                    <a16:creationId xmlns:a16="http://schemas.microsoft.com/office/drawing/2014/main" id="{45E5EAEE-3B58-4E39-8F3D-E13B293105F4}"/>
                  </a:ext>
                </a:extLst>
              </p:cNvPr>
              <p:cNvGrpSpPr/>
              <p:nvPr/>
            </p:nvGrpSpPr>
            <p:grpSpPr>
              <a:xfrm>
                <a:off x="7166320" y="2720021"/>
                <a:ext cx="341479" cy="308279"/>
                <a:chOff x="7166320" y="2720021"/>
                <a:chExt cx="341479" cy="308279"/>
              </a:xfrm>
            </p:grpSpPr>
            <p:sp>
              <p:nvSpPr>
                <p:cNvPr id="73" name="Freihandform: Form 752">
                  <a:extLst>
                    <a:ext uri="{FF2B5EF4-FFF2-40B4-BE49-F238E27FC236}">
                      <a16:creationId xmlns:a16="http://schemas.microsoft.com/office/drawing/2014/main" id="{82F09082-D76C-43DA-ABB6-1C90A7404789}"/>
                    </a:ext>
                  </a:extLst>
                </p:cNvPr>
                <p:cNvSpPr/>
                <p:nvPr/>
              </p:nvSpPr>
              <p:spPr>
                <a:xfrm>
                  <a:off x="7166320" y="2720021"/>
                  <a:ext cx="341460" cy="225017"/>
                </a:xfrm>
                <a:custGeom>
                  <a:avLst/>
                  <a:gdLst>
                    <a:gd name="connsiteX0" fmla="*/ 336564 w 341460"/>
                    <a:gd name="connsiteY0" fmla="*/ 225018 h 225017"/>
                    <a:gd name="connsiteX1" fmla="*/ 283180 w 341460"/>
                    <a:gd name="connsiteY1" fmla="*/ 225018 h 225017"/>
                    <a:gd name="connsiteX2" fmla="*/ 278284 w 341460"/>
                    <a:gd name="connsiteY2" fmla="*/ 220122 h 225017"/>
                    <a:gd name="connsiteX3" fmla="*/ 283180 w 341460"/>
                    <a:gd name="connsiteY3" fmla="*/ 215225 h 225017"/>
                    <a:gd name="connsiteX4" fmla="*/ 331668 w 341460"/>
                    <a:gd name="connsiteY4" fmla="*/ 215225 h 225017"/>
                    <a:gd name="connsiteX5" fmla="*/ 331668 w 341460"/>
                    <a:gd name="connsiteY5" fmla="*/ 9769 h 225017"/>
                    <a:gd name="connsiteX6" fmla="*/ 9793 w 341460"/>
                    <a:gd name="connsiteY6" fmla="*/ 9769 h 225017"/>
                    <a:gd name="connsiteX7" fmla="*/ 9793 w 341460"/>
                    <a:gd name="connsiteY7" fmla="*/ 215225 h 225017"/>
                    <a:gd name="connsiteX8" fmla="*/ 196923 w 341460"/>
                    <a:gd name="connsiteY8" fmla="*/ 215225 h 225017"/>
                    <a:gd name="connsiteX9" fmla="*/ 201820 w 341460"/>
                    <a:gd name="connsiteY9" fmla="*/ 220122 h 225017"/>
                    <a:gd name="connsiteX10" fmla="*/ 196923 w 341460"/>
                    <a:gd name="connsiteY10" fmla="*/ 225018 h 225017"/>
                    <a:gd name="connsiteX11" fmla="*/ 4896 w 341460"/>
                    <a:gd name="connsiteY11" fmla="*/ 225018 h 225017"/>
                    <a:gd name="connsiteX12" fmla="*/ 0 w 341460"/>
                    <a:gd name="connsiteY12" fmla="*/ 220122 h 225017"/>
                    <a:gd name="connsiteX13" fmla="*/ 0 w 341460"/>
                    <a:gd name="connsiteY13" fmla="*/ 4896 h 225017"/>
                    <a:gd name="connsiteX14" fmla="*/ 4896 w 341460"/>
                    <a:gd name="connsiteY14" fmla="*/ 0 h 225017"/>
                    <a:gd name="connsiteX15" fmla="*/ 336564 w 341460"/>
                    <a:gd name="connsiteY15" fmla="*/ 0 h 225017"/>
                    <a:gd name="connsiteX16" fmla="*/ 341461 w 341460"/>
                    <a:gd name="connsiteY16" fmla="*/ 4896 h 225017"/>
                    <a:gd name="connsiteX17" fmla="*/ 341461 w 341460"/>
                    <a:gd name="connsiteY17" fmla="*/ 220122 h 225017"/>
                    <a:gd name="connsiteX18" fmla="*/ 336564 w 341460"/>
                    <a:gd name="connsiteY18" fmla="*/ 225018 h 225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41460" h="225017">
                      <a:moveTo>
                        <a:pt x="336564" y="225018"/>
                      </a:moveTo>
                      <a:lnTo>
                        <a:pt x="283180" y="225018"/>
                      </a:lnTo>
                      <a:cubicBezTo>
                        <a:pt x="280494" y="225018"/>
                        <a:pt x="278284" y="222831"/>
                        <a:pt x="278284" y="220122"/>
                      </a:cubicBezTo>
                      <a:cubicBezTo>
                        <a:pt x="278284" y="217436"/>
                        <a:pt x="280470" y="215225"/>
                        <a:pt x="283180" y="215225"/>
                      </a:cubicBezTo>
                      <a:lnTo>
                        <a:pt x="331668" y="215225"/>
                      </a:lnTo>
                      <a:lnTo>
                        <a:pt x="331668" y="9769"/>
                      </a:lnTo>
                      <a:lnTo>
                        <a:pt x="9793" y="9769"/>
                      </a:lnTo>
                      <a:lnTo>
                        <a:pt x="9793" y="215225"/>
                      </a:lnTo>
                      <a:lnTo>
                        <a:pt x="196923" y="215225"/>
                      </a:lnTo>
                      <a:cubicBezTo>
                        <a:pt x="199633" y="215225"/>
                        <a:pt x="201820" y="217412"/>
                        <a:pt x="201820" y="220122"/>
                      </a:cubicBezTo>
                      <a:cubicBezTo>
                        <a:pt x="201820" y="222831"/>
                        <a:pt x="199633" y="225018"/>
                        <a:pt x="196923" y="225018"/>
                      </a:cubicBezTo>
                      <a:lnTo>
                        <a:pt x="4896" y="225018"/>
                      </a:lnTo>
                      <a:cubicBezTo>
                        <a:pt x="2187" y="225018"/>
                        <a:pt x="0" y="222831"/>
                        <a:pt x="0" y="220122"/>
                      </a:cubicBezTo>
                      <a:lnTo>
                        <a:pt x="0" y="4896"/>
                      </a:lnTo>
                      <a:cubicBezTo>
                        <a:pt x="0" y="2187"/>
                        <a:pt x="2187" y="0"/>
                        <a:pt x="4896" y="0"/>
                      </a:cubicBezTo>
                      <a:lnTo>
                        <a:pt x="336564" y="0"/>
                      </a:lnTo>
                      <a:cubicBezTo>
                        <a:pt x="339274" y="0"/>
                        <a:pt x="341461" y="2187"/>
                        <a:pt x="341461" y="4896"/>
                      </a:cubicBezTo>
                      <a:lnTo>
                        <a:pt x="341461" y="220122"/>
                      </a:lnTo>
                      <a:cubicBezTo>
                        <a:pt x="341437" y="222831"/>
                        <a:pt x="339250" y="225018"/>
                        <a:pt x="336564" y="225018"/>
                      </a:cubicBezTo>
                      <a:close/>
                    </a:path>
                  </a:pathLst>
                </a:custGeom>
                <a:solidFill>
                  <a:schemeClr val="tx2"/>
                </a:solidFill>
                <a:ln w="2376" cap="flat">
                  <a:noFill/>
                  <a:prstDash val="solid"/>
                  <a:miter/>
                </a:ln>
              </p:spPr>
              <p:txBody>
                <a:bodyPr rtlCol="0" anchor="ctr"/>
                <a:lstStyle/>
                <a:p>
                  <a:endParaRPr lang="en-GB" dirty="0"/>
                </a:p>
              </p:txBody>
            </p:sp>
            <p:sp>
              <p:nvSpPr>
                <p:cNvPr id="74" name="Freihandform: Form 753">
                  <a:extLst>
                    <a:ext uri="{FF2B5EF4-FFF2-40B4-BE49-F238E27FC236}">
                      <a16:creationId xmlns:a16="http://schemas.microsoft.com/office/drawing/2014/main" id="{E99686D9-4E38-49F5-B408-1DB808DCB46B}"/>
                    </a:ext>
                  </a:extLst>
                </p:cNvPr>
                <p:cNvSpPr/>
                <p:nvPr/>
              </p:nvSpPr>
              <p:spPr>
                <a:xfrm>
                  <a:off x="7166324" y="2720045"/>
                  <a:ext cx="341418" cy="132082"/>
                </a:xfrm>
                <a:custGeom>
                  <a:avLst/>
                  <a:gdLst>
                    <a:gd name="connsiteX0" fmla="*/ 171368 w 341418"/>
                    <a:gd name="connsiteY0" fmla="*/ 132082 h 132082"/>
                    <a:gd name="connsiteX1" fmla="*/ 168468 w 341418"/>
                    <a:gd name="connsiteY1" fmla="*/ 131132 h 132082"/>
                    <a:gd name="connsiteX2" fmla="*/ 1992 w 341418"/>
                    <a:gd name="connsiteY2" fmla="*/ 8818 h 132082"/>
                    <a:gd name="connsiteX3" fmla="*/ 233 w 341418"/>
                    <a:gd name="connsiteY3" fmla="*/ 3351 h 132082"/>
                    <a:gd name="connsiteX4" fmla="*/ 4868 w 341418"/>
                    <a:gd name="connsiteY4" fmla="*/ 0 h 132082"/>
                    <a:gd name="connsiteX5" fmla="*/ 336536 w 341418"/>
                    <a:gd name="connsiteY5" fmla="*/ 0 h 132082"/>
                    <a:gd name="connsiteX6" fmla="*/ 341171 w 341418"/>
                    <a:gd name="connsiteY6" fmla="*/ 3351 h 132082"/>
                    <a:gd name="connsiteX7" fmla="*/ 339436 w 341418"/>
                    <a:gd name="connsiteY7" fmla="*/ 8818 h 132082"/>
                    <a:gd name="connsiteX8" fmla="*/ 174244 w 341418"/>
                    <a:gd name="connsiteY8" fmla="*/ 131132 h 132082"/>
                    <a:gd name="connsiteX9" fmla="*/ 171368 w 341418"/>
                    <a:gd name="connsiteY9" fmla="*/ 132082 h 132082"/>
                    <a:gd name="connsiteX10" fmla="*/ 19795 w 341418"/>
                    <a:gd name="connsiteY10" fmla="*/ 9745 h 132082"/>
                    <a:gd name="connsiteX11" fmla="*/ 171344 w 341418"/>
                    <a:gd name="connsiteY11" fmla="*/ 121101 h 132082"/>
                    <a:gd name="connsiteX12" fmla="*/ 321728 w 341418"/>
                    <a:gd name="connsiteY12" fmla="*/ 9745 h 132082"/>
                    <a:gd name="connsiteX13" fmla="*/ 19795 w 341418"/>
                    <a:gd name="connsiteY13" fmla="*/ 9745 h 132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418" h="132082">
                      <a:moveTo>
                        <a:pt x="171368" y="132082"/>
                      </a:moveTo>
                      <a:cubicBezTo>
                        <a:pt x="170346" y="132082"/>
                        <a:pt x="169347" y="131773"/>
                        <a:pt x="168468" y="131132"/>
                      </a:cubicBezTo>
                      <a:lnTo>
                        <a:pt x="1992" y="8818"/>
                      </a:lnTo>
                      <a:cubicBezTo>
                        <a:pt x="305" y="7558"/>
                        <a:pt x="-408" y="5372"/>
                        <a:pt x="233" y="3351"/>
                      </a:cubicBezTo>
                      <a:cubicBezTo>
                        <a:pt x="899" y="1355"/>
                        <a:pt x="2777" y="0"/>
                        <a:pt x="4868" y="0"/>
                      </a:cubicBezTo>
                      <a:lnTo>
                        <a:pt x="336536" y="0"/>
                      </a:lnTo>
                      <a:cubicBezTo>
                        <a:pt x="338652" y="0"/>
                        <a:pt x="340506" y="1355"/>
                        <a:pt x="341171" y="3351"/>
                      </a:cubicBezTo>
                      <a:cubicBezTo>
                        <a:pt x="341837" y="5348"/>
                        <a:pt x="341124" y="7558"/>
                        <a:pt x="339436" y="8818"/>
                      </a:cubicBezTo>
                      <a:lnTo>
                        <a:pt x="174244" y="131132"/>
                      </a:lnTo>
                      <a:cubicBezTo>
                        <a:pt x="173412" y="131750"/>
                        <a:pt x="172390" y="132082"/>
                        <a:pt x="171368" y="132082"/>
                      </a:cubicBezTo>
                      <a:close/>
                      <a:moveTo>
                        <a:pt x="19795" y="9745"/>
                      </a:moveTo>
                      <a:lnTo>
                        <a:pt x="171344" y="121101"/>
                      </a:lnTo>
                      <a:lnTo>
                        <a:pt x="321728" y="9745"/>
                      </a:lnTo>
                      <a:lnTo>
                        <a:pt x="19795" y="9745"/>
                      </a:lnTo>
                      <a:close/>
                    </a:path>
                  </a:pathLst>
                </a:custGeom>
                <a:solidFill>
                  <a:schemeClr val="tx2"/>
                </a:solidFill>
                <a:ln w="2376" cap="flat">
                  <a:noFill/>
                  <a:prstDash val="solid"/>
                  <a:miter/>
                </a:ln>
              </p:spPr>
              <p:txBody>
                <a:bodyPr rtlCol="0" anchor="ctr"/>
                <a:lstStyle/>
                <a:p>
                  <a:endParaRPr lang="en-GB" dirty="0"/>
                </a:p>
              </p:txBody>
            </p:sp>
            <p:sp>
              <p:nvSpPr>
                <p:cNvPr id="75" name="Freihandform: Form 754">
                  <a:extLst>
                    <a:ext uri="{FF2B5EF4-FFF2-40B4-BE49-F238E27FC236}">
                      <a16:creationId xmlns:a16="http://schemas.microsoft.com/office/drawing/2014/main" id="{7BFD0DF4-A9CF-4DE0-9158-40C2C0954CE0}"/>
                    </a:ext>
                  </a:extLst>
                </p:cNvPr>
                <p:cNvSpPr/>
                <p:nvPr/>
              </p:nvSpPr>
              <p:spPr>
                <a:xfrm>
                  <a:off x="7166352" y="2829924"/>
                  <a:ext cx="341447" cy="198376"/>
                </a:xfrm>
                <a:custGeom>
                  <a:avLst/>
                  <a:gdLst>
                    <a:gd name="connsiteX0" fmla="*/ 282506 w 341447"/>
                    <a:gd name="connsiteY0" fmla="*/ 198376 h 198376"/>
                    <a:gd name="connsiteX1" fmla="*/ 279059 w 341447"/>
                    <a:gd name="connsiteY1" fmla="*/ 196950 h 198376"/>
                    <a:gd name="connsiteX2" fmla="*/ 197224 w 341447"/>
                    <a:gd name="connsiteY2" fmla="*/ 115115 h 198376"/>
                    <a:gd name="connsiteX3" fmla="*/ 4888 w 341447"/>
                    <a:gd name="connsiteY3" fmla="*/ 115115 h 198376"/>
                    <a:gd name="connsiteX4" fmla="*/ 229 w 341447"/>
                    <a:gd name="connsiteY4" fmla="*/ 111716 h 198376"/>
                    <a:gd name="connsiteX5" fmla="*/ 2059 w 341447"/>
                    <a:gd name="connsiteY5" fmla="*/ 106249 h 198376"/>
                    <a:gd name="connsiteX6" fmla="*/ 150732 w 341447"/>
                    <a:gd name="connsiteY6" fmla="*/ 1406 h 198376"/>
                    <a:gd name="connsiteX7" fmla="*/ 157554 w 341447"/>
                    <a:gd name="connsiteY7" fmla="*/ 2594 h 198376"/>
                    <a:gd name="connsiteX8" fmla="*/ 156365 w 341447"/>
                    <a:gd name="connsiteY8" fmla="*/ 9392 h 198376"/>
                    <a:gd name="connsiteX9" fmla="*/ 20290 w 341447"/>
                    <a:gd name="connsiteY9" fmla="*/ 105370 h 198376"/>
                    <a:gd name="connsiteX10" fmla="*/ 199244 w 341447"/>
                    <a:gd name="connsiteY10" fmla="*/ 105370 h 198376"/>
                    <a:gd name="connsiteX11" fmla="*/ 202691 w 341447"/>
                    <a:gd name="connsiteY11" fmla="*/ 106796 h 198376"/>
                    <a:gd name="connsiteX12" fmla="*/ 277609 w 341447"/>
                    <a:gd name="connsiteY12" fmla="*/ 181715 h 198376"/>
                    <a:gd name="connsiteX13" fmla="*/ 277609 w 341447"/>
                    <a:gd name="connsiteY13" fmla="*/ 110242 h 198376"/>
                    <a:gd name="connsiteX14" fmla="*/ 282506 w 341447"/>
                    <a:gd name="connsiteY14" fmla="*/ 105346 h 198376"/>
                    <a:gd name="connsiteX15" fmla="*/ 321320 w 341447"/>
                    <a:gd name="connsiteY15" fmla="*/ 105346 h 198376"/>
                    <a:gd name="connsiteX16" fmla="*/ 186575 w 341447"/>
                    <a:gd name="connsiteY16" fmla="*/ 8869 h 198376"/>
                    <a:gd name="connsiteX17" fmla="*/ 185458 w 341447"/>
                    <a:gd name="connsiteY17" fmla="*/ 2047 h 198376"/>
                    <a:gd name="connsiteX18" fmla="*/ 192280 w 341447"/>
                    <a:gd name="connsiteY18" fmla="*/ 906 h 198376"/>
                    <a:gd name="connsiteX19" fmla="*/ 339408 w 341447"/>
                    <a:gd name="connsiteY19" fmla="*/ 106249 h 198376"/>
                    <a:gd name="connsiteX20" fmla="*/ 341214 w 341447"/>
                    <a:gd name="connsiteY20" fmla="*/ 111716 h 198376"/>
                    <a:gd name="connsiteX21" fmla="*/ 336556 w 341447"/>
                    <a:gd name="connsiteY21" fmla="*/ 115115 h 198376"/>
                    <a:gd name="connsiteX22" fmla="*/ 287426 w 341447"/>
                    <a:gd name="connsiteY22" fmla="*/ 115115 h 198376"/>
                    <a:gd name="connsiteX23" fmla="*/ 287426 w 341447"/>
                    <a:gd name="connsiteY23" fmla="*/ 193480 h 198376"/>
                    <a:gd name="connsiteX24" fmla="*/ 284407 w 341447"/>
                    <a:gd name="connsiteY24" fmla="*/ 197996 h 198376"/>
                    <a:gd name="connsiteX25" fmla="*/ 282506 w 341447"/>
                    <a:gd name="connsiteY25" fmla="*/ 198376 h 198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1447" h="198376">
                      <a:moveTo>
                        <a:pt x="282506" y="198376"/>
                      </a:moveTo>
                      <a:cubicBezTo>
                        <a:pt x="281222" y="198376"/>
                        <a:pt x="279986" y="197877"/>
                        <a:pt x="279059" y="196950"/>
                      </a:cubicBezTo>
                      <a:lnTo>
                        <a:pt x="197224" y="115115"/>
                      </a:lnTo>
                      <a:lnTo>
                        <a:pt x="4888" y="115115"/>
                      </a:lnTo>
                      <a:cubicBezTo>
                        <a:pt x="2749" y="115115"/>
                        <a:pt x="871" y="113736"/>
                        <a:pt x="229" y="111716"/>
                      </a:cubicBezTo>
                      <a:cubicBezTo>
                        <a:pt x="-413" y="109695"/>
                        <a:pt x="324" y="107485"/>
                        <a:pt x="2059" y="106249"/>
                      </a:cubicBezTo>
                      <a:lnTo>
                        <a:pt x="150732" y="1406"/>
                      </a:lnTo>
                      <a:cubicBezTo>
                        <a:pt x="152967" y="-139"/>
                        <a:pt x="155985" y="383"/>
                        <a:pt x="157554" y="2594"/>
                      </a:cubicBezTo>
                      <a:cubicBezTo>
                        <a:pt x="159099" y="4804"/>
                        <a:pt x="158576" y="7847"/>
                        <a:pt x="156365" y="9392"/>
                      </a:cubicBezTo>
                      <a:lnTo>
                        <a:pt x="20290" y="105370"/>
                      </a:lnTo>
                      <a:lnTo>
                        <a:pt x="199244" y="105370"/>
                      </a:lnTo>
                      <a:cubicBezTo>
                        <a:pt x="200551" y="105370"/>
                        <a:pt x="201787" y="105893"/>
                        <a:pt x="202691" y="106796"/>
                      </a:cubicBezTo>
                      <a:lnTo>
                        <a:pt x="277609" y="181715"/>
                      </a:lnTo>
                      <a:lnTo>
                        <a:pt x="277609" y="110242"/>
                      </a:lnTo>
                      <a:cubicBezTo>
                        <a:pt x="277609" y="107556"/>
                        <a:pt x="279796" y="105346"/>
                        <a:pt x="282506" y="105346"/>
                      </a:cubicBezTo>
                      <a:lnTo>
                        <a:pt x="321320" y="105346"/>
                      </a:lnTo>
                      <a:lnTo>
                        <a:pt x="186575" y="8869"/>
                      </a:lnTo>
                      <a:cubicBezTo>
                        <a:pt x="184389" y="7300"/>
                        <a:pt x="183866" y="4234"/>
                        <a:pt x="185458" y="2047"/>
                      </a:cubicBezTo>
                      <a:cubicBezTo>
                        <a:pt x="187027" y="-139"/>
                        <a:pt x="190070" y="-662"/>
                        <a:pt x="192280" y="906"/>
                      </a:cubicBezTo>
                      <a:lnTo>
                        <a:pt x="339408" y="106249"/>
                      </a:lnTo>
                      <a:cubicBezTo>
                        <a:pt x="341143" y="107485"/>
                        <a:pt x="341856" y="109695"/>
                        <a:pt x="341214" y="111716"/>
                      </a:cubicBezTo>
                      <a:cubicBezTo>
                        <a:pt x="340573" y="113736"/>
                        <a:pt x="338695" y="115115"/>
                        <a:pt x="336556" y="115115"/>
                      </a:cubicBezTo>
                      <a:lnTo>
                        <a:pt x="287426" y="115115"/>
                      </a:lnTo>
                      <a:lnTo>
                        <a:pt x="287426" y="193480"/>
                      </a:lnTo>
                      <a:cubicBezTo>
                        <a:pt x="287426" y="195453"/>
                        <a:pt x="286237" y="197236"/>
                        <a:pt x="284407" y="197996"/>
                      </a:cubicBezTo>
                      <a:cubicBezTo>
                        <a:pt x="283766" y="198258"/>
                        <a:pt x="283124" y="198376"/>
                        <a:pt x="282506" y="198376"/>
                      </a:cubicBezTo>
                      <a:close/>
                    </a:path>
                  </a:pathLst>
                </a:custGeom>
                <a:solidFill>
                  <a:schemeClr val="tx2"/>
                </a:solidFill>
                <a:ln w="2376" cap="flat">
                  <a:noFill/>
                  <a:prstDash val="solid"/>
                  <a:miter/>
                </a:ln>
              </p:spPr>
              <p:txBody>
                <a:bodyPr rtlCol="0" anchor="ctr"/>
                <a:lstStyle/>
                <a:p>
                  <a:endParaRPr lang="en-GB" dirty="0"/>
                </a:p>
              </p:txBody>
            </p:sp>
          </p:grpSp>
        </p:grpSp>
      </p:grpSp>
      <p:grpSp>
        <p:nvGrpSpPr>
          <p:cNvPr id="88" name="Group 87">
            <a:extLst>
              <a:ext uri="{FF2B5EF4-FFF2-40B4-BE49-F238E27FC236}">
                <a16:creationId xmlns:a16="http://schemas.microsoft.com/office/drawing/2014/main" id="{336C47A1-ABBB-4DD4-AAA8-1F2A1A793F5E}"/>
              </a:ext>
            </a:extLst>
          </p:cNvPr>
          <p:cNvGrpSpPr>
            <a:grpSpLocks noChangeAspect="1"/>
          </p:cNvGrpSpPr>
          <p:nvPr/>
        </p:nvGrpSpPr>
        <p:grpSpPr>
          <a:xfrm>
            <a:off x="2668883" y="1585984"/>
            <a:ext cx="432071" cy="432000"/>
            <a:chOff x="7784385" y="3327258"/>
            <a:chExt cx="496352" cy="496270"/>
          </a:xfrm>
        </p:grpSpPr>
        <p:grpSp>
          <p:nvGrpSpPr>
            <p:cNvPr id="89" name="Group 88">
              <a:extLst>
                <a:ext uri="{FF2B5EF4-FFF2-40B4-BE49-F238E27FC236}">
                  <a16:creationId xmlns:a16="http://schemas.microsoft.com/office/drawing/2014/main" id="{445F2CA2-4F4D-4D51-9178-56B044242786}"/>
                </a:ext>
              </a:extLst>
            </p:cNvPr>
            <p:cNvGrpSpPr/>
            <p:nvPr/>
          </p:nvGrpSpPr>
          <p:grpSpPr>
            <a:xfrm>
              <a:off x="7862483" y="3407146"/>
              <a:ext cx="340053" cy="336425"/>
              <a:chOff x="7862483" y="3407146"/>
              <a:chExt cx="340053" cy="336425"/>
            </a:xfrm>
          </p:grpSpPr>
          <p:sp>
            <p:nvSpPr>
              <p:cNvPr id="103" name="Freihandform: Form 833">
                <a:extLst>
                  <a:ext uri="{FF2B5EF4-FFF2-40B4-BE49-F238E27FC236}">
                    <a16:creationId xmlns:a16="http://schemas.microsoft.com/office/drawing/2014/main" id="{F0CEBF54-B777-412B-8D21-2C0C84C17B5F}"/>
                  </a:ext>
                </a:extLst>
              </p:cNvPr>
              <p:cNvSpPr/>
              <p:nvPr/>
            </p:nvSpPr>
            <p:spPr>
              <a:xfrm>
                <a:off x="7862483" y="3407146"/>
                <a:ext cx="340053" cy="336425"/>
              </a:xfrm>
              <a:custGeom>
                <a:avLst/>
                <a:gdLst>
                  <a:gd name="connsiteX0" fmla="*/ 217100 w 340053"/>
                  <a:gd name="connsiteY0" fmla="*/ 336425 h 336425"/>
                  <a:gd name="connsiteX1" fmla="*/ 212584 w 340053"/>
                  <a:gd name="connsiteY1" fmla="*/ 333430 h 336425"/>
                  <a:gd name="connsiteX2" fmla="*/ 196897 w 340053"/>
                  <a:gd name="connsiteY2" fmla="*/ 296066 h 336425"/>
                  <a:gd name="connsiteX3" fmla="*/ 141778 w 340053"/>
                  <a:gd name="connsiteY3" fmla="*/ 295804 h 336425"/>
                  <a:gd name="connsiteX4" fmla="*/ 125734 w 340053"/>
                  <a:gd name="connsiteY4" fmla="*/ 332979 h 336425"/>
                  <a:gd name="connsiteX5" fmla="*/ 123048 w 340053"/>
                  <a:gd name="connsiteY5" fmla="*/ 335593 h 336425"/>
                  <a:gd name="connsiteX6" fmla="*/ 119316 w 340053"/>
                  <a:gd name="connsiteY6" fmla="*/ 335546 h 336425"/>
                  <a:gd name="connsiteX7" fmla="*/ 82855 w 340053"/>
                  <a:gd name="connsiteY7" fmla="*/ 319811 h 336425"/>
                  <a:gd name="connsiteX8" fmla="*/ 80241 w 340053"/>
                  <a:gd name="connsiteY8" fmla="*/ 317125 h 336425"/>
                  <a:gd name="connsiteX9" fmla="*/ 80288 w 340053"/>
                  <a:gd name="connsiteY9" fmla="*/ 313393 h 336425"/>
                  <a:gd name="connsiteX10" fmla="*/ 96332 w 340053"/>
                  <a:gd name="connsiteY10" fmla="*/ 276243 h 336425"/>
                  <a:gd name="connsiteX11" fmla="*/ 89225 w 340053"/>
                  <a:gd name="connsiteY11" fmla="*/ 271014 h 336425"/>
                  <a:gd name="connsiteX12" fmla="*/ 88393 w 340053"/>
                  <a:gd name="connsiteY12" fmla="*/ 264144 h 336425"/>
                  <a:gd name="connsiteX13" fmla="*/ 95262 w 340053"/>
                  <a:gd name="connsiteY13" fmla="*/ 263313 h 336425"/>
                  <a:gd name="connsiteX14" fmla="*/ 105079 w 340053"/>
                  <a:gd name="connsiteY14" fmla="*/ 270277 h 336425"/>
                  <a:gd name="connsiteX15" fmla="*/ 106957 w 340053"/>
                  <a:gd name="connsiteY15" fmla="*/ 276338 h 336425"/>
                  <a:gd name="connsiteX16" fmla="*/ 91222 w 340053"/>
                  <a:gd name="connsiteY16" fmla="*/ 312751 h 336425"/>
                  <a:gd name="connsiteX17" fmla="*/ 118698 w 340053"/>
                  <a:gd name="connsiteY17" fmla="*/ 324612 h 336425"/>
                  <a:gd name="connsiteX18" fmla="*/ 134433 w 340053"/>
                  <a:gd name="connsiteY18" fmla="*/ 288175 h 336425"/>
                  <a:gd name="connsiteX19" fmla="*/ 140138 w 340053"/>
                  <a:gd name="connsiteY19" fmla="*/ 285370 h 336425"/>
                  <a:gd name="connsiteX20" fmla="*/ 198656 w 340053"/>
                  <a:gd name="connsiteY20" fmla="*/ 285631 h 336425"/>
                  <a:gd name="connsiteX21" fmla="*/ 204337 w 340053"/>
                  <a:gd name="connsiteY21" fmla="*/ 288484 h 336425"/>
                  <a:gd name="connsiteX22" fmla="*/ 219715 w 340053"/>
                  <a:gd name="connsiteY22" fmla="*/ 325135 h 336425"/>
                  <a:gd name="connsiteX23" fmla="*/ 247334 w 340053"/>
                  <a:gd name="connsiteY23" fmla="*/ 313559 h 336425"/>
                  <a:gd name="connsiteX24" fmla="*/ 231932 w 340053"/>
                  <a:gd name="connsiteY24" fmla="*/ 276884 h 336425"/>
                  <a:gd name="connsiteX25" fmla="*/ 233881 w 340053"/>
                  <a:gd name="connsiteY25" fmla="*/ 270823 h 336425"/>
                  <a:gd name="connsiteX26" fmla="*/ 243650 w 340053"/>
                  <a:gd name="connsiteY26" fmla="*/ 264097 h 336425"/>
                  <a:gd name="connsiteX27" fmla="*/ 250496 w 340053"/>
                  <a:gd name="connsiteY27" fmla="*/ 265024 h 336425"/>
                  <a:gd name="connsiteX28" fmla="*/ 249569 w 340053"/>
                  <a:gd name="connsiteY28" fmla="*/ 271869 h 336425"/>
                  <a:gd name="connsiteX29" fmla="*/ 242533 w 340053"/>
                  <a:gd name="connsiteY29" fmla="*/ 276884 h 336425"/>
                  <a:gd name="connsiteX30" fmla="*/ 258244 w 340053"/>
                  <a:gd name="connsiteY30" fmla="*/ 314273 h 336425"/>
                  <a:gd name="connsiteX31" fmla="*/ 258268 w 340053"/>
                  <a:gd name="connsiteY31" fmla="*/ 318004 h 336425"/>
                  <a:gd name="connsiteX32" fmla="*/ 255630 w 340053"/>
                  <a:gd name="connsiteY32" fmla="*/ 320666 h 336425"/>
                  <a:gd name="connsiteX33" fmla="*/ 218978 w 340053"/>
                  <a:gd name="connsiteY33" fmla="*/ 336021 h 336425"/>
                  <a:gd name="connsiteX34" fmla="*/ 217100 w 340053"/>
                  <a:gd name="connsiteY34" fmla="*/ 336425 h 336425"/>
                  <a:gd name="connsiteX35" fmla="*/ 317072 w 340053"/>
                  <a:gd name="connsiteY35" fmla="*/ 258393 h 336425"/>
                  <a:gd name="connsiteX36" fmla="*/ 315122 w 340053"/>
                  <a:gd name="connsiteY36" fmla="*/ 257988 h 336425"/>
                  <a:gd name="connsiteX37" fmla="*/ 277948 w 340053"/>
                  <a:gd name="connsiteY37" fmla="*/ 241897 h 336425"/>
                  <a:gd name="connsiteX38" fmla="*/ 273527 w 340053"/>
                  <a:gd name="connsiteY38" fmla="*/ 247982 h 336425"/>
                  <a:gd name="connsiteX39" fmla="*/ 266682 w 340053"/>
                  <a:gd name="connsiteY39" fmla="*/ 248885 h 336425"/>
                  <a:gd name="connsiteX40" fmla="*/ 265779 w 340053"/>
                  <a:gd name="connsiteY40" fmla="*/ 242040 h 336425"/>
                  <a:gd name="connsiteX41" fmla="*/ 272006 w 340053"/>
                  <a:gd name="connsiteY41" fmla="*/ 233174 h 336425"/>
                  <a:gd name="connsiteX42" fmla="*/ 278067 w 340053"/>
                  <a:gd name="connsiteY42" fmla="*/ 231320 h 336425"/>
                  <a:gd name="connsiteX43" fmla="*/ 314528 w 340053"/>
                  <a:gd name="connsiteY43" fmla="*/ 247102 h 336425"/>
                  <a:gd name="connsiteX44" fmla="*/ 326460 w 340053"/>
                  <a:gd name="connsiteY44" fmla="*/ 219531 h 336425"/>
                  <a:gd name="connsiteX45" fmla="*/ 289999 w 340053"/>
                  <a:gd name="connsiteY45" fmla="*/ 203820 h 336425"/>
                  <a:gd name="connsiteX46" fmla="*/ 287194 w 340053"/>
                  <a:gd name="connsiteY46" fmla="*/ 198139 h 336425"/>
                  <a:gd name="connsiteX47" fmla="*/ 288525 w 340053"/>
                  <a:gd name="connsiteY47" fmla="*/ 144493 h 336425"/>
                  <a:gd name="connsiteX48" fmla="*/ 291615 w 340053"/>
                  <a:gd name="connsiteY48" fmla="*/ 138931 h 336425"/>
                  <a:gd name="connsiteX49" fmla="*/ 328885 w 340053"/>
                  <a:gd name="connsiteY49" fmla="*/ 125074 h 336425"/>
                  <a:gd name="connsiteX50" fmla="*/ 318403 w 340053"/>
                  <a:gd name="connsiteY50" fmla="*/ 97003 h 336425"/>
                  <a:gd name="connsiteX51" fmla="*/ 281181 w 340053"/>
                  <a:gd name="connsiteY51" fmla="*/ 110837 h 336425"/>
                  <a:gd name="connsiteX52" fmla="*/ 275239 w 340053"/>
                  <a:gd name="connsiteY52" fmla="*/ 108650 h 336425"/>
                  <a:gd name="connsiteX53" fmla="*/ 269629 w 340053"/>
                  <a:gd name="connsiteY53" fmla="*/ 99689 h 336425"/>
                  <a:gd name="connsiteX54" fmla="*/ 270913 w 340053"/>
                  <a:gd name="connsiteY54" fmla="*/ 92891 h 336425"/>
                  <a:gd name="connsiteX55" fmla="*/ 277711 w 340053"/>
                  <a:gd name="connsiteY55" fmla="*/ 94175 h 336425"/>
                  <a:gd name="connsiteX56" fmla="*/ 281632 w 340053"/>
                  <a:gd name="connsiteY56" fmla="*/ 100236 h 336425"/>
                  <a:gd name="connsiteX57" fmla="*/ 319591 w 340053"/>
                  <a:gd name="connsiteY57" fmla="*/ 86141 h 336425"/>
                  <a:gd name="connsiteX58" fmla="*/ 325866 w 340053"/>
                  <a:gd name="connsiteY58" fmla="*/ 89017 h 336425"/>
                  <a:gd name="connsiteX59" fmla="*/ 339747 w 340053"/>
                  <a:gd name="connsiteY59" fmla="*/ 126262 h 336425"/>
                  <a:gd name="connsiteX60" fmla="*/ 339604 w 340053"/>
                  <a:gd name="connsiteY60" fmla="*/ 129994 h 336425"/>
                  <a:gd name="connsiteX61" fmla="*/ 336871 w 340053"/>
                  <a:gd name="connsiteY61" fmla="*/ 132537 h 336425"/>
                  <a:gd name="connsiteX62" fmla="*/ 298889 w 340053"/>
                  <a:gd name="connsiteY62" fmla="*/ 146656 h 336425"/>
                  <a:gd name="connsiteX63" fmla="*/ 297653 w 340053"/>
                  <a:gd name="connsiteY63" fmla="*/ 196475 h 336425"/>
                  <a:gd name="connsiteX64" fmla="*/ 334851 w 340053"/>
                  <a:gd name="connsiteY64" fmla="*/ 212495 h 336425"/>
                  <a:gd name="connsiteX65" fmla="*/ 337465 w 340053"/>
                  <a:gd name="connsiteY65" fmla="*/ 215181 h 336425"/>
                  <a:gd name="connsiteX66" fmla="*/ 337417 w 340053"/>
                  <a:gd name="connsiteY66" fmla="*/ 218913 h 336425"/>
                  <a:gd name="connsiteX67" fmla="*/ 321588 w 340053"/>
                  <a:gd name="connsiteY67" fmla="*/ 255445 h 336425"/>
                  <a:gd name="connsiteX68" fmla="*/ 318902 w 340053"/>
                  <a:gd name="connsiteY68" fmla="*/ 258060 h 336425"/>
                  <a:gd name="connsiteX69" fmla="*/ 317072 w 340053"/>
                  <a:gd name="connsiteY69" fmla="*/ 258393 h 336425"/>
                  <a:gd name="connsiteX70" fmla="*/ 18799 w 340053"/>
                  <a:gd name="connsiteY70" fmla="*/ 250691 h 336425"/>
                  <a:gd name="connsiteX71" fmla="*/ 14235 w 340053"/>
                  <a:gd name="connsiteY71" fmla="*/ 247506 h 336425"/>
                  <a:gd name="connsiteX72" fmla="*/ 307 w 340053"/>
                  <a:gd name="connsiteY72" fmla="*/ 210213 h 336425"/>
                  <a:gd name="connsiteX73" fmla="*/ 449 w 340053"/>
                  <a:gd name="connsiteY73" fmla="*/ 206482 h 336425"/>
                  <a:gd name="connsiteX74" fmla="*/ 3182 w 340053"/>
                  <a:gd name="connsiteY74" fmla="*/ 203938 h 336425"/>
                  <a:gd name="connsiteX75" fmla="*/ 41189 w 340053"/>
                  <a:gd name="connsiteY75" fmla="*/ 189820 h 336425"/>
                  <a:gd name="connsiteX76" fmla="*/ 42448 w 340053"/>
                  <a:gd name="connsiteY76" fmla="*/ 140048 h 336425"/>
                  <a:gd name="connsiteX77" fmla="*/ 5274 w 340053"/>
                  <a:gd name="connsiteY77" fmla="*/ 123933 h 336425"/>
                  <a:gd name="connsiteX78" fmla="*/ 2731 w 340053"/>
                  <a:gd name="connsiteY78" fmla="*/ 117516 h 336425"/>
                  <a:gd name="connsiteX79" fmla="*/ 18490 w 340053"/>
                  <a:gd name="connsiteY79" fmla="*/ 81031 h 336425"/>
                  <a:gd name="connsiteX80" fmla="*/ 21176 w 340053"/>
                  <a:gd name="connsiteY80" fmla="*/ 78440 h 336425"/>
                  <a:gd name="connsiteX81" fmla="*/ 24907 w 340053"/>
                  <a:gd name="connsiteY81" fmla="*/ 78487 h 336425"/>
                  <a:gd name="connsiteX82" fmla="*/ 62058 w 340053"/>
                  <a:gd name="connsiteY82" fmla="*/ 94579 h 336425"/>
                  <a:gd name="connsiteX83" fmla="*/ 65979 w 340053"/>
                  <a:gd name="connsiteY83" fmla="*/ 89136 h 336425"/>
                  <a:gd name="connsiteX84" fmla="*/ 72825 w 340053"/>
                  <a:gd name="connsiteY84" fmla="*/ 88185 h 336425"/>
                  <a:gd name="connsiteX85" fmla="*/ 73776 w 340053"/>
                  <a:gd name="connsiteY85" fmla="*/ 95031 h 336425"/>
                  <a:gd name="connsiteX86" fmla="*/ 68000 w 340053"/>
                  <a:gd name="connsiteY86" fmla="*/ 103326 h 336425"/>
                  <a:gd name="connsiteX87" fmla="*/ 61939 w 340053"/>
                  <a:gd name="connsiteY87" fmla="*/ 105180 h 336425"/>
                  <a:gd name="connsiteX88" fmla="*/ 25501 w 340053"/>
                  <a:gd name="connsiteY88" fmla="*/ 89397 h 336425"/>
                  <a:gd name="connsiteX89" fmla="*/ 13617 w 340053"/>
                  <a:gd name="connsiteY89" fmla="*/ 116898 h 336425"/>
                  <a:gd name="connsiteX90" fmla="*/ 50055 w 340053"/>
                  <a:gd name="connsiteY90" fmla="*/ 132704 h 336425"/>
                  <a:gd name="connsiteX91" fmla="*/ 52835 w 340053"/>
                  <a:gd name="connsiteY91" fmla="*/ 138408 h 336425"/>
                  <a:gd name="connsiteX92" fmla="*/ 51504 w 340053"/>
                  <a:gd name="connsiteY92" fmla="*/ 192007 h 336425"/>
                  <a:gd name="connsiteX93" fmla="*/ 48414 w 340053"/>
                  <a:gd name="connsiteY93" fmla="*/ 197568 h 336425"/>
                  <a:gd name="connsiteX94" fmla="*/ 11145 w 340053"/>
                  <a:gd name="connsiteY94" fmla="*/ 211402 h 336425"/>
                  <a:gd name="connsiteX95" fmla="*/ 21651 w 340053"/>
                  <a:gd name="connsiteY95" fmla="*/ 239520 h 336425"/>
                  <a:gd name="connsiteX96" fmla="*/ 58873 w 340053"/>
                  <a:gd name="connsiteY96" fmla="*/ 225615 h 336425"/>
                  <a:gd name="connsiteX97" fmla="*/ 64839 w 340053"/>
                  <a:gd name="connsiteY97" fmla="*/ 227802 h 336425"/>
                  <a:gd name="connsiteX98" fmla="*/ 74465 w 340053"/>
                  <a:gd name="connsiteY98" fmla="*/ 242325 h 336425"/>
                  <a:gd name="connsiteX99" fmla="*/ 73585 w 340053"/>
                  <a:gd name="connsiteY99" fmla="*/ 249194 h 336425"/>
                  <a:gd name="connsiteX100" fmla="*/ 66716 w 340053"/>
                  <a:gd name="connsiteY100" fmla="*/ 248315 h 336425"/>
                  <a:gd name="connsiteX101" fmla="*/ 58421 w 340053"/>
                  <a:gd name="connsiteY101" fmla="*/ 236240 h 336425"/>
                  <a:gd name="connsiteX102" fmla="*/ 20439 w 340053"/>
                  <a:gd name="connsiteY102" fmla="*/ 250406 h 336425"/>
                  <a:gd name="connsiteX103" fmla="*/ 18799 w 340053"/>
                  <a:gd name="connsiteY103" fmla="*/ 250691 h 336425"/>
                  <a:gd name="connsiteX104" fmla="*/ 93551 w 340053"/>
                  <a:gd name="connsiteY104" fmla="*/ 73282 h 336425"/>
                  <a:gd name="connsiteX105" fmla="*/ 89653 w 340053"/>
                  <a:gd name="connsiteY105" fmla="*/ 71357 h 336425"/>
                  <a:gd name="connsiteX106" fmla="*/ 90580 w 340053"/>
                  <a:gd name="connsiteY106" fmla="*/ 64511 h 336425"/>
                  <a:gd name="connsiteX107" fmla="*/ 97592 w 340053"/>
                  <a:gd name="connsiteY107" fmla="*/ 59520 h 336425"/>
                  <a:gd name="connsiteX108" fmla="*/ 81857 w 340053"/>
                  <a:gd name="connsiteY108" fmla="*/ 22132 h 336425"/>
                  <a:gd name="connsiteX109" fmla="*/ 81833 w 340053"/>
                  <a:gd name="connsiteY109" fmla="*/ 18377 h 336425"/>
                  <a:gd name="connsiteX110" fmla="*/ 84471 w 340053"/>
                  <a:gd name="connsiteY110" fmla="*/ 15714 h 336425"/>
                  <a:gd name="connsiteX111" fmla="*/ 121075 w 340053"/>
                  <a:gd name="connsiteY111" fmla="*/ 384 h 336425"/>
                  <a:gd name="connsiteX112" fmla="*/ 127469 w 340053"/>
                  <a:gd name="connsiteY112" fmla="*/ 2998 h 336425"/>
                  <a:gd name="connsiteX113" fmla="*/ 143156 w 340053"/>
                  <a:gd name="connsiteY113" fmla="*/ 40386 h 336425"/>
                  <a:gd name="connsiteX114" fmla="*/ 198252 w 340053"/>
                  <a:gd name="connsiteY114" fmla="*/ 40624 h 336425"/>
                  <a:gd name="connsiteX115" fmla="*/ 214320 w 340053"/>
                  <a:gd name="connsiteY115" fmla="*/ 3450 h 336425"/>
                  <a:gd name="connsiteX116" fmla="*/ 220737 w 340053"/>
                  <a:gd name="connsiteY116" fmla="*/ 906 h 336425"/>
                  <a:gd name="connsiteX117" fmla="*/ 257222 w 340053"/>
                  <a:gd name="connsiteY117" fmla="*/ 16641 h 336425"/>
                  <a:gd name="connsiteX118" fmla="*/ 259836 w 340053"/>
                  <a:gd name="connsiteY118" fmla="*/ 19327 h 336425"/>
                  <a:gd name="connsiteX119" fmla="*/ 259789 w 340053"/>
                  <a:gd name="connsiteY119" fmla="*/ 23059 h 336425"/>
                  <a:gd name="connsiteX120" fmla="*/ 243698 w 340053"/>
                  <a:gd name="connsiteY120" fmla="*/ 60233 h 336425"/>
                  <a:gd name="connsiteX121" fmla="*/ 248142 w 340053"/>
                  <a:gd name="connsiteY121" fmla="*/ 63394 h 336425"/>
                  <a:gd name="connsiteX122" fmla="*/ 249164 w 340053"/>
                  <a:gd name="connsiteY122" fmla="*/ 70240 h 336425"/>
                  <a:gd name="connsiteX123" fmla="*/ 242319 w 340053"/>
                  <a:gd name="connsiteY123" fmla="*/ 71262 h 336425"/>
                  <a:gd name="connsiteX124" fmla="*/ 234998 w 340053"/>
                  <a:gd name="connsiteY124" fmla="*/ 66223 h 336425"/>
                  <a:gd name="connsiteX125" fmla="*/ 233121 w 340053"/>
                  <a:gd name="connsiteY125" fmla="*/ 60138 h 336425"/>
                  <a:gd name="connsiteX126" fmla="*/ 248903 w 340053"/>
                  <a:gd name="connsiteY126" fmla="*/ 23677 h 336425"/>
                  <a:gd name="connsiteX127" fmla="*/ 221403 w 340053"/>
                  <a:gd name="connsiteY127" fmla="*/ 11816 h 336425"/>
                  <a:gd name="connsiteX128" fmla="*/ 205644 w 340053"/>
                  <a:gd name="connsiteY128" fmla="*/ 48277 h 336425"/>
                  <a:gd name="connsiteX129" fmla="*/ 199963 w 340053"/>
                  <a:gd name="connsiteY129" fmla="*/ 51082 h 336425"/>
                  <a:gd name="connsiteX130" fmla="*/ 141469 w 340053"/>
                  <a:gd name="connsiteY130" fmla="*/ 50844 h 336425"/>
                  <a:gd name="connsiteX131" fmla="*/ 135788 w 340053"/>
                  <a:gd name="connsiteY131" fmla="*/ 47992 h 336425"/>
                  <a:gd name="connsiteX132" fmla="*/ 120386 w 340053"/>
                  <a:gd name="connsiteY132" fmla="*/ 11317 h 336425"/>
                  <a:gd name="connsiteX133" fmla="*/ 92791 w 340053"/>
                  <a:gd name="connsiteY133" fmla="*/ 22869 h 336425"/>
                  <a:gd name="connsiteX134" fmla="*/ 108216 w 340053"/>
                  <a:gd name="connsiteY134" fmla="*/ 59520 h 336425"/>
                  <a:gd name="connsiteX135" fmla="*/ 106291 w 340053"/>
                  <a:gd name="connsiteY135" fmla="*/ 65557 h 336425"/>
                  <a:gd name="connsiteX136" fmla="*/ 96546 w 340053"/>
                  <a:gd name="connsiteY136" fmla="*/ 72284 h 336425"/>
                  <a:gd name="connsiteX137" fmla="*/ 93551 w 340053"/>
                  <a:gd name="connsiteY137" fmla="*/ 73282 h 336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340053" h="336425">
                    <a:moveTo>
                      <a:pt x="217100" y="336425"/>
                    </a:moveTo>
                    <a:cubicBezTo>
                      <a:pt x="215199" y="336425"/>
                      <a:pt x="213369" y="335308"/>
                      <a:pt x="212584" y="333430"/>
                    </a:cubicBezTo>
                    <a:lnTo>
                      <a:pt x="196897" y="296066"/>
                    </a:lnTo>
                    <a:cubicBezTo>
                      <a:pt x="178833" y="299916"/>
                      <a:pt x="159937" y="299821"/>
                      <a:pt x="141778" y="295804"/>
                    </a:cubicBezTo>
                    <a:lnTo>
                      <a:pt x="125734" y="332979"/>
                    </a:lnTo>
                    <a:cubicBezTo>
                      <a:pt x="125211" y="334167"/>
                      <a:pt x="124260" y="335118"/>
                      <a:pt x="123048" y="335593"/>
                    </a:cubicBezTo>
                    <a:cubicBezTo>
                      <a:pt x="121836" y="336068"/>
                      <a:pt x="120505" y="336045"/>
                      <a:pt x="119316" y="335546"/>
                    </a:cubicBezTo>
                    <a:lnTo>
                      <a:pt x="82855" y="319811"/>
                    </a:lnTo>
                    <a:cubicBezTo>
                      <a:pt x="81667" y="319288"/>
                      <a:pt x="80716" y="318337"/>
                      <a:pt x="80241" y="317125"/>
                    </a:cubicBezTo>
                    <a:cubicBezTo>
                      <a:pt x="79765" y="315913"/>
                      <a:pt x="79789" y="314582"/>
                      <a:pt x="80288" y="313393"/>
                    </a:cubicBezTo>
                    <a:lnTo>
                      <a:pt x="96332" y="276243"/>
                    </a:lnTo>
                    <a:cubicBezTo>
                      <a:pt x="93931" y="274603"/>
                      <a:pt x="91555" y="272868"/>
                      <a:pt x="89225" y="271014"/>
                    </a:cubicBezTo>
                    <a:cubicBezTo>
                      <a:pt x="87110" y="269350"/>
                      <a:pt x="86729" y="266284"/>
                      <a:pt x="88393" y="264144"/>
                    </a:cubicBezTo>
                    <a:cubicBezTo>
                      <a:pt x="90057" y="262029"/>
                      <a:pt x="93123" y="261649"/>
                      <a:pt x="95262" y="263313"/>
                    </a:cubicBezTo>
                    <a:cubicBezTo>
                      <a:pt x="98495" y="265856"/>
                      <a:pt x="101799" y="268185"/>
                      <a:pt x="105079" y="270277"/>
                    </a:cubicBezTo>
                    <a:cubicBezTo>
                      <a:pt x="107099" y="271560"/>
                      <a:pt x="107907" y="274151"/>
                      <a:pt x="106957" y="276338"/>
                    </a:cubicBezTo>
                    <a:lnTo>
                      <a:pt x="91222" y="312751"/>
                    </a:lnTo>
                    <a:lnTo>
                      <a:pt x="118698" y="324612"/>
                    </a:lnTo>
                    <a:lnTo>
                      <a:pt x="134433" y="288175"/>
                    </a:lnTo>
                    <a:cubicBezTo>
                      <a:pt x="135384" y="285964"/>
                      <a:pt x="137784" y="284799"/>
                      <a:pt x="140138" y="285370"/>
                    </a:cubicBezTo>
                    <a:cubicBezTo>
                      <a:pt x="159343" y="290266"/>
                      <a:pt x="179570" y="290361"/>
                      <a:pt x="198656" y="285631"/>
                    </a:cubicBezTo>
                    <a:cubicBezTo>
                      <a:pt x="201009" y="285013"/>
                      <a:pt x="203410" y="286249"/>
                      <a:pt x="204337" y="288484"/>
                    </a:cubicBezTo>
                    <a:lnTo>
                      <a:pt x="219715" y="325135"/>
                    </a:lnTo>
                    <a:lnTo>
                      <a:pt x="247334" y="313559"/>
                    </a:lnTo>
                    <a:lnTo>
                      <a:pt x="231932" y="276884"/>
                    </a:lnTo>
                    <a:cubicBezTo>
                      <a:pt x="231005" y="274674"/>
                      <a:pt x="231813" y="272107"/>
                      <a:pt x="233881" y="270823"/>
                    </a:cubicBezTo>
                    <a:cubicBezTo>
                      <a:pt x="237185" y="268803"/>
                      <a:pt x="240465" y="266521"/>
                      <a:pt x="243650" y="264097"/>
                    </a:cubicBezTo>
                    <a:cubicBezTo>
                      <a:pt x="245789" y="262433"/>
                      <a:pt x="248855" y="262885"/>
                      <a:pt x="250496" y="265024"/>
                    </a:cubicBezTo>
                    <a:cubicBezTo>
                      <a:pt x="252135" y="267163"/>
                      <a:pt x="251732" y="270229"/>
                      <a:pt x="249569" y="271869"/>
                    </a:cubicBezTo>
                    <a:cubicBezTo>
                      <a:pt x="247263" y="273628"/>
                      <a:pt x="244910" y="275316"/>
                      <a:pt x="242533" y="276884"/>
                    </a:cubicBezTo>
                    <a:lnTo>
                      <a:pt x="258244" y="314273"/>
                    </a:lnTo>
                    <a:cubicBezTo>
                      <a:pt x="258743" y="315461"/>
                      <a:pt x="258743" y="316816"/>
                      <a:pt x="258268" y="318004"/>
                    </a:cubicBezTo>
                    <a:cubicBezTo>
                      <a:pt x="257769" y="319193"/>
                      <a:pt x="256818" y="320167"/>
                      <a:pt x="255630" y="320666"/>
                    </a:cubicBezTo>
                    <a:lnTo>
                      <a:pt x="218978" y="336021"/>
                    </a:lnTo>
                    <a:cubicBezTo>
                      <a:pt x="218384" y="336306"/>
                      <a:pt x="217742" y="336425"/>
                      <a:pt x="217100" y="336425"/>
                    </a:cubicBezTo>
                    <a:close/>
                    <a:moveTo>
                      <a:pt x="317072" y="258393"/>
                    </a:moveTo>
                    <a:cubicBezTo>
                      <a:pt x="316406" y="258393"/>
                      <a:pt x="315740" y="258250"/>
                      <a:pt x="315122" y="257988"/>
                    </a:cubicBezTo>
                    <a:lnTo>
                      <a:pt x="277948" y="241897"/>
                    </a:lnTo>
                    <a:cubicBezTo>
                      <a:pt x="276522" y="243989"/>
                      <a:pt x="275048" y="246009"/>
                      <a:pt x="273527" y="247982"/>
                    </a:cubicBezTo>
                    <a:cubicBezTo>
                      <a:pt x="271887" y="250121"/>
                      <a:pt x="268821" y="250525"/>
                      <a:pt x="266682" y="248885"/>
                    </a:cubicBezTo>
                    <a:cubicBezTo>
                      <a:pt x="264543" y="247245"/>
                      <a:pt x="264139" y="244179"/>
                      <a:pt x="265779" y="242040"/>
                    </a:cubicBezTo>
                    <a:cubicBezTo>
                      <a:pt x="267965" y="239211"/>
                      <a:pt x="270057" y="236216"/>
                      <a:pt x="272006" y="233174"/>
                    </a:cubicBezTo>
                    <a:cubicBezTo>
                      <a:pt x="273290" y="231154"/>
                      <a:pt x="275857" y="230346"/>
                      <a:pt x="278067" y="231320"/>
                    </a:cubicBezTo>
                    <a:lnTo>
                      <a:pt x="314528" y="247102"/>
                    </a:lnTo>
                    <a:lnTo>
                      <a:pt x="326460" y="219531"/>
                    </a:lnTo>
                    <a:lnTo>
                      <a:pt x="289999" y="203820"/>
                    </a:lnTo>
                    <a:cubicBezTo>
                      <a:pt x="287788" y="202869"/>
                      <a:pt x="286600" y="200468"/>
                      <a:pt x="287194" y="198139"/>
                    </a:cubicBezTo>
                    <a:cubicBezTo>
                      <a:pt x="291710" y="180384"/>
                      <a:pt x="292162" y="162320"/>
                      <a:pt x="288525" y="144493"/>
                    </a:cubicBezTo>
                    <a:cubicBezTo>
                      <a:pt x="288050" y="142140"/>
                      <a:pt x="289357" y="139787"/>
                      <a:pt x="291615" y="138931"/>
                    </a:cubicBezTo>
                    <a:lnTo>
                      <a:pt x="328885" y="125074"/>
                    </a:lnTo>
                    <a:lnTo>
                      <a:pt x="318403" y="97003"/>
                    </a:lnTo>
                    <a:lnTo>
                      <a:pt x="281181" y="110837"/>
                    </a:lnTo>
                    <a:cubicBezTo>
                      <a:pt x="278947" y="111692"/>
                      <a:pt x="276403" y="110742"/>
                      <a:pt x="275239" y="108650"/>
                    </a:cubicBezTo>
                    <a:cubicBezTo>
                      <a:pt x="273527" y="105631"/>
                      <a:pt x="271626" y="102613"/>
                      <a:pt x="269629" y="99689"/>
                    </a:cubicBezTo>
                    <a:cubicBezTo>
                      <a:pt x="268108" y="97455"/>
                      <a:pt x="268679" y="94412"/>
                      <a:pt x="270913" y="92891"/>
                    </a:cubicBezTo>
                    <a:cubicBezTo>
                      <a:pt x="273147" y="91370"/>
                      <a:pt x="276189" y="91940"/>
                      <a:pt x="277711" y="94175"/>
                    </a:cubicBezTo>
                    <a:cubicBezTo>
                      <a:pt x="279066" y="96171"/>
                      <a:pt x="280373" y="98192"/>
                      <a:pt x="281632" y="100236"/>
                    </a:cubicBezTo>
                    <a:lnTo>
                      <a:pt x="319591" y="86141"/>
                    </a:lnTo>
                    <a:cubicBezTo>
                      <a:pt x="322111" y="85214"/>
                      <a:pt x="324915" y="86497"/>
                      <a:pt x="325866" y="89017"/>
                    </a:cubicBezTo>
                    <a:lnTo>
                      <a:pt x="339747" y="126262"/>
                    </a:lnTo>
                    <a:cubicBezTo>
                      <a:pt x="340198" y="127475"/>
                      <a:pt x="340151" y="128829"/>
                      <a:pt x="339604" y="129994"/>
                    </a:cubicBezTo>
                    <a:cubicBezTo>
                      <a:pt x="339058" y="131183"/>
                      <a:pt x="338083" y="132086"/>
                      <a:pt x="336871" y="132537"/>
                    </a:cubicBezTo>
                    <a:lnTo>
                      <a:pt x="298889" y="146656"/>
                    </a:lnTo>
                    <a:cubicBezTo>
                      <a:pt x="301717" y="163223"/>
                      <a:pt x="301289" y="179956"/>
                      <a:pt x="297653" y="196475"/>
                    </a:cubicBezTo>
                    <a:lnTo>
                      <a:pt x="334851" y="212495"/>
                    </a:lnTo>
                    <a:cubicBezTo>
                      <a:pt x="336039" y="212994"/>
                      <a:pt x="336990" y="213969"/>
                      <a:pt x="337465" y="215181"/>
                    </a:cubicBezTo>
                    <a:cubicBezTo>
                      <a:pt x="337941" y="216393"/>
                      <a:pt x="337917" y="217724"/>
                      <a:pt x="337417" y="218913"/>
                    </a:cubicBezTo>
                    <a:lnTo>
                      <a:pt x="321588" y="255445"/>
                    </a:lnTo>
                    <a:cubicBezTo>
                      <a:pt x="321065" y="256634"/>
                      <a:pt x="320114" y="257561"/>
                      <a:pt x="318902" y="258060"/>
                    </a:cubicBezTo>
                    <a:cubicBezTo>
                      <a:pt x="318284" y="258274"/>
                      <a:pt x="317666" y="258393"/>
                      <a:pt x="317072" y="258393"/>
                    </a:cubicBezTo>
                    <a:close/>
                    <a:moveTo>
                      <a:pt x="18799" y="250691"/>
                    </a:moveTo>
                    <a:cubicBezTo>
                      <a:pt x="16826" y="250691"/>
                      <a:pt x="14948" y="249479"/>
                      <a:pt x="14235" y="247506"/>
                    </a:cubicBezTo>
                    <a:lnTo>
                      <a:pt x="307" y="210213"/>
                    </a:lnTo>
                    <a:cubicBezTo>
                      <a:pt x="-145" y="209001"/>
                      <a:pt x="-98" y="207646"/>
                      <a:pt x="449" y="206482"/>
                    </a:cubicBezTo>
                    <a:cubicBezTo>
                      <a:pt x="972" y="205293"/>
                      <a:pt x="1970" y="204390"/>
                      <a:pt x="3182" y="203938"/>
                    </a:cubicBezTo>
                    <a:lnTo>
                      <a:pt x="41189" y="189820"/>
                    </a:lnTo>
                    <a:cubicBezTo>
                      <a:pt x="38408" y="173372"/>
                      <a:pt x="38835" y="156330"/>
                      <a:pt x="42448" y="140048"/>
                    </a:cubicBezTo>
                    <a:lnTo>
                      <a:pt x="5274" y="123933"/>
                    </a:lnTo>
                    <a:cubicBezTo>
                      <a:pt x="2802" y="122864"/>
                      <a:pt x="1661" y="119988"/>
                      <a:pt x="2731" y="117516"/>
                    </a:cubicBezTo>
                    <a:lnTo>
                      <a:pt x="18490" y="81031"/>
                    </a:lnTo>
                    <a:cubicBezTo>
                      <a:pt x="19012" y="79842"/>
                      <a:pt x="19963" y="78915"/>
                      <a:pt x="21176" y="78440"/>
                    </a:cubicBezTo>
                    <a:cubicBezTo>
                      <a:pt x="22388" y="77964"/>
                      <a:pt x="23742" y="77988"/>
                      <a:pt x="24907" y="78487"/>
                    </a:cubicBezTo>
                    <a:lnTo>
                      <a:pt x="62058" y="94579"/>
                    </a:lnTo>
                    <a:cubicBezTo>
                      <a:pt x="63317" y="92725"/>
                      <a:pt x="64624" y="90918"/>
                      <a:pt x="65979" y="89136"/>
                    </a:cubicBezTo>
                    <a:cubicBezTo>
                      <a:pt x="67619" y="86997"/>
                      <a:pt x="70686" y="86569"/>
                      <a:pt x="72825" y="88185"/>
                    </a:cubicBezTo>
                    <a:cubicBezTo>
                      <a:pt x="74964" y="89825"/>
                      <a:pt x="75392" y="92891"/>
                      <a:pt x="73776" y="95031"/>
                    </a:cubicBezTo>
                    <a:cubicBezTo>
                      <a:pt x="71732" y="97740"/>
                      <a:pt x="69782" y="100521"/>
                      <a:pt x="68000" y="103326"/>
                    </a:cubicBezTo>
                    <a:cubicBezTo>
                      <a:pt x="66716" y="105370"/>
                      <a:pt x="64125" y="106130"/>
                      <a:pt x="61939" y="105180"/>
                    </a:cubicBezTo>
                    <a:lnTo>
                      <a:pt x="25501" y="89397"/>
                    </a:lnTo>
                    <a:lnTo>
                      <a:pt x="13617" y="116898"/>
                    </a:lnTo>
                    <a:lnTo>
                      <a:pt x="50055" y="132704"/>
                    </a:lnTo>
                    <a:cubicBezTo>
                      <a:pt x="52265" y="133655"/>
                      <a:pt x="53429" y="136079"/>
                      <a:pt x="52835" y="138408"/>
                    </a:cubicBezTo>
                    <a:cubicBezTo>
                      <a:pt x="48367" y="155831"/>
                      <a:pt x="47915" y="174370"/>
                      <a:pt x="51504" y="192007"/>
                    </a:cubicBezTo>
                    <a:cubicBezTo>
                      <a:pt x="51980" y="194360"/>
                      <a:pt x="50672" y="196713"/>
                      <a:pt x="48414" y="197568"/>
                    </a:cubicBezTo>
                    <a:lnTo>
                      <a:pt x="11145" y="211402"/>
                    </a:lnTo>
                    <a:lnTo>
                      <a:pt x="21651" y="239520"/>
                    </a:lnTo>
                    <a:lnTo>
                      <a:pt x="58873" y="225615"/>
                    </a:lnTo>
                    <a:cubicBezTo>
                      <a:pt x="61130" y="224807"/>
                      <a:pt x="63650" y="225687"/>
                      <a:pt x="64839" y="227802"/>
                    </a:cubicBezTo>
                    <a:cubicBezTo>
                      <a:pt x="67691" y="232865"/>
                      <a:pt x="70923" y="237738"/>
                      <a:pt x="74465" y="242325"/>
                    </a:cubicBezTo>
                    <a:cubicBezTo>
                      <a:pt x="76105" y="244464"/>
                      <a:pt x="75724" y="247530"/>
                      <a:pt x="73585" y="249194"/>
                    </a:cubicBezTo>
                    <a:cubicBezTo>
                      <a:pt x="71446" y="250858"/>
                      <a:pt x="68380" y="250454"/>
                      <a:pt x="66716" y="248315"/>
                    </a:cubicBezTo>
                    <a:cubicBezTo>
                      <a:pt x="63745" y="244464"/>
                      <a:pt x="60964" y="240423"/>
                      <a:pt x="58421" y="236240"/>
                    </a:cubicBezTo>
                    <a:lnTo>
                      <a:pt x="20439" y="250406"/>
                    </a:lnTo>
                    <a:cubicBezTo>
                      <a:pt x="19939" y="250596"/>
                      <a:pt x="19369" y="250691"/>
                      <a:pt x="18799" y="250691"/>
                    </a:cubicBezTo>
                    <a:close/>
                    <a:moveTo>
                      <a:pt x="93551" y="73282"/>
                    </a:moveTo>
                    <a:cubicBezTo>
                      <a:pt x="92077" y="73282"/>
                      <a:pt x="90627" y="72617"/>
                      <a:pt x="89653" y="71357"/>
                    </a:cubicBezTo>
                    <a:cubicBezTo>
                      <a:pt x="88013" y="69218"/>
                      <a:pt x="88441" y="66152"/>
                      <a:pt x="90580" y="64511"/>
                    </a:cubicBezTo>
                    <a:cubicBezTo>
                      <a:pt x="92838" y="62800"/>
                      <a:pt x="95191" y="61113"/>
                      <a:pt x="97592" y="59520"/>
                    </a:cubicBezTo>
                    <a:lnTo>
                      <a:pt x="81857" y="22132"/>
                    </a:lnTo>
                    <a:cubicBezTo>
                      <a:pt x="81358" y="20943"/>
                      <a:pt x="81358" y="19589"/>
                      <a:pt x="81833" y="18377"/>
                    </a:cubicBezTo>
                    <a:cubicBezTo>
                      <a:pt x="82332" y="17188"/>
                      <a:pt x="83283" y="16214"/>
                      <a:pt x="84471" y="15714"/>
                    </a:cubicBezTo>
                    <a:lnTo>
                      <a:pt x="121075" y="384"/>
                    </a:lnTo>
                    <a:cubicBezTo>
                      <a:pt x="123571" y="-662"/>
                      <a:pt x="126423" y="502"/>
                      <a:pt x="127469" y="2998"/>
                    </a:cubicBezTo>
                    <a:lnTo>
                      <a:pt x="143156" y="40386"/>
                    </a:lnTo>
                    <a:cubicBezTo>
                      <a:pt x="161197" y="36536"/>
                      <a:pt x="180093" y="36631"/>
                      <a:pt x="198252" y="40624"/>
                    </a:cubicBezTo>
                    <a:lnTo>
                      <a:pt x="214320" y="3450"/>
                    </a:lnTo>
                    <a:cubicBezTo>
                      <a:pt x="215389" y="978"/>
                      <a:pt x="218265" y="-163"/>
                      <a:pt x="220737" y="906"/>
                    </a:cubicBezTo>
                    <a:lnTo>
                      <a:pt x="257222" y="16641"/>
                    </a:lnTo>
                    <a:cubicBezTo>
                      <a:pt x="258410" y="17164"/>
                      <a:pt x="259361" y="18115"/>
                      <a:pt x="259836" y="19327"/>
                    </a:cubicBezTo>
                    <a:cubicBezTo>
                      <a:pt x="260312" y="20539"/>
                      <a:pt x="260288" y="21870"/>
                      <a:pt x="259789" y="23059"/>
                    </a:cubicBezTo>
                    <a:lnTo>
                      <a:pt x="243698" y="60233"/>
                    </a:lnTo>
                    <a:cubicBezTo>
                      <a:pt x="245195" y="61255"/>
                      <a:pt x="246669" y="62301"/>
                      <a:pt x="248142" y="63394"/>
                    </a:cubicBezTo>
                    <a:cubicBezTo>
                      <a:pt x="250306" y="65011"/>
                      <a:pt x="250757" y="68077"/>
                      <a:pt x="249164" y="70240"/>
                    </a:cubicBezTo>
                    <a:cubicBezTo>
                      <a:pt x="247548" y="72403"/>
                      <a:pt x="244506" y="72854"/>
                      <a:pt x="242319" y="71262"/>
                    </a:cubicBezTo>
                    <a:cubicBezTo>
                      <a:pt x="239942" y="69503"/>
                      <a:pt x="237518" y="67815"/>
                      <a:pt x="234998" y="66223"/>
                    </a:cubicBezTo>
                    <a:cubicBezTo>
                      <a:pt x="232954" y="64939"/>
                      <a:pt x="232170" y="62349"/>
                      <a:pt x="233121" y="60138"/>
                    </a:cubicBezTo>
                    <a:lnTo>
                      <a:pt x="248903" y="23677"/>
                    </a:lnTo>
                    <a:lnTo>
                      <a:pt x="221403" y="11816"/>
                    </a:lnTo>
                    <a:lnTo>
                      <a:pt x="205644" y="48277"/>
                    </a:lnTo>
                    <a:cubicBezTo>
                      <a:pt x="204693" y="50464"/>
                      <a:pt x="202293" y="51653"/>
                      <a:pt x="199963" y="51082"/>
                    </a:cubicBezTo>
                    <a:cubicBezTo>
                      <a:pt x="180735" y="46210"/>
                      <a:pt x="160507" y="46115"/>
                      <a:pt x="141469" y="50844"/>
                    </a:cubicBezTo>
                    <a:cubicBezTo>
                      <a:pt x="139139" y="51415"/>
                      <a:pt x="136739" y="50203"/>
                      <a:pt x="135788" y="47992"/>
                    </a:cubicBezTo>
                    <a:lnTo>
                      <a:pt x="120386" y="11317"/>
                    </a:lnTo>
                    <a:lnTo>
                      <a:pt x="92791" y="22869"/>
                    </a:lnTo>
                    <a:lnTo>
                      <a:pt x="108216" y="59520"/>
                    </a:lnTo>
                    <a:cubicBezTo>
                      <a:pt x="109143" y="61731"/>
                      <a:pt x="108335" y="64297"/>
                      <a:pt x="106291" y="65557"/>
                    </a:cubicBezTo>
                    <a:cubicBezTo>
                      <a:pt x="102916" y="67649"/>
                      <a:pt x="99636" y="69907"/>
                      <a:pt x="96546" y="72284"/>
                    </a:cubicBezTo>
                    <a:cubicBezTo>
                      <a:pt x="95619" y="72973"/>
                      <a:pt x="94573" y="73282"/>
                      <a:pt x="93551" y="73282"/>
                    </a:cubicBezTo>
                    <a:close/>
                  </a:path>
                </a:pathLst>
              </a:custGeom>
              <a:solidFill>
                <a:schemeClr val="tx2"/>
              </a:solidFill>
              <a:ln w="2376" cap="flat">
                <a:noFill/>
                <a:prstDash val="solid"/>
                <a:miter/>
              </a:ln>
            </p:spPr>
            <p:txBody>
              <a:bodyPr rtlCol="0" anchor="ctr"/>
              <a:lstStyle/>
              <a:p>
                <a:endParaRPr lang="en-GB" dirty="0"/>
              </a:p>
            </p:txBody>
          </p:sp>
          <p:sp>
            <p:nvSpPr>
              <p:cNvPr id="104" name="Freihandform: Form 834">
                <a:extLst>
                  <a:ext uri="{FF2B5EF4-FFF2-40B4-BE49-F238E27FC236}">
                    <a16:creationId xmlns:a16="http://schemas.microsoft.com/office/drawing/2014/main" id="{4799D0CD-7860-43BC-BAF9-A3A933C2BB14}"/>
                  </a:ext>
                </a:extLst>
              </p:cNvPr>
              <p:cNvSpPr/>
              <p:nvPr/>
            </p:nvSpPr>
            <p:spPr>
              <a:xfrm>
                <a:off x="7991808" y="3534639"/>
                <a:ext cx="81449" cy="81460"/>
              </a:xfrm>
              <a:custGeom>
                <a:avLst/>
                <a:gdLst>
                  <a:gd name="connsiteX0" fmla="*/ 40761 w 81449"/>
                  <a:gd name="connsiteY0" fmla="*/ 81460 h 81460"/>
                  <a:gd name="connsiteX1" fmla="*/ 40761 w 81449"/>
                  <a:gd name="connsiteY1" fmla="*/ 81460 h 81460"/>
                  <a:gd name="connsiteX2" fmla="*/ 38835 w 81449"/>
                  <a:gd name="connsiteY2" fmla="*/ 81413 h 81460"/>
                  <a:gd name="connsiteX3" fmla="*/ 45 w 81449"/>
                  <a:gd name="connsiteY3" fmla="*/ 38843 h 81460"/>
                  <a:gd name="connsiteX4" fmla="*/ 42614 w 81449"/>
                  <a:gd name="connsiteY4" fmla="*/ 53 h 81460"/>
                  <a:gd name="connsiteX5" fmla="*/ 81405 w 81449"/>
                  <a:gd name="connsiteY5" fmla="*/ 42622 h 81460"/>
                  <a:gd name="connsiteX6" fmla="*/ 40761 w 81449"/>
                  <a:gd name="connsiteY6" fmla="*/ 81460 h 81460"/>
                  <a:gd name="connsiteX7" fmla="*/ 40713 w 81449"/>
                  <a:gd name="connsiteY7" fmla="*/ 9774 h 81460"/>
                  <a:gd name="connsiteX8" fmla="*/ 9814 w 81449"/>
                  <a:gd name="connsiteY8" fmla="*/ 39295 h 81460"/>
                  <a:gd name="connsiteX9" fmla="*/ 39310 w 81449"/>
                  <a:gd name="connsiteY9" fmla="*/ 71644 h 81460"/>
                  <a:gd name="connsiteX10" fmla="*/ 71660 w 81449"/>
                  <a:gd name="connsiteY10" fmla="*/ 42147 h 81460"/>
                  <a:gd name="connsiteX11" fmla="*/ 42163 w 81449"/>
                  <a:gd name="connsiteY11" fmla="*/ 9798 h 81460"/>
                  <a:gd name="connsiteX12" fmla="*/ 40713 w 81449"/>
                  <a:gd name="connsiteY12" fmla="*/ 9774 h 81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1449" h="81460">
                    <a:moveTo>
                      <a:pt x="40761" y="81460"/>
                    </a:moveTo>
                    <a:lnTo>
                      <a:pt x="40761" y="81460"/>
                    </a:lnTo>
                    <a:cubicBezTo>
                      <a:pt x="40119" y="81460"/>
                      <a:pt x="39477" y="81437"/>
                      <a:pt x="38835" y="81413"/>
                    </a:cubicBezTo>
                    <a:cubicBezTo>
                      <a:pt x="16398" y="80367"/>
                      <a:pt x="-1001" y="61281"/>
                      <a:pt x="45" y="38843"/>
                    </a:cubicBezTo>
                    <a:cubicBezTo>
                      <a:pt x="1090" y="16429"/>
                      <a:pt x="19963" y="-1088"/>
                      <a:pt x="42614" y="53"/>
                    </a:cubicBezTo>
                    <a:cubicBezTo>
                      <a:pt x="65052" y="1099"/>
                      <a:pt x="82451" y="20185"/>
                      <a:pt x="81405" y="42622"/>
                    </a:cubicBezTo>
                    <a:cubicBezTo>
                      <a:pt x="80407" y="64395"/>
                      <a:pt x="62532" y="81460"/>
                      <a:pt x="40761" y="81460"/>
                    </a:cubicBezTo>
                    <a:close/>
                    <a:moveTo>
                      <a:pt x="40713" y="9774"/>
                    </a:moveTo>
                    <a:cubicBezTo>
                      <a:pt x="24146" y="9774"/>
                      <a:pt x="10598" y="22728"/>
                      <a:pt x="9814" y="39295"/>
                    </a:cubicBezTo>
                    <a:cubicBezTo>
                      <a:pt x="9029" y="56337"/>
                      <a:pt x="22245" y="70860"/>
                      <a:pt x="39310" y="71644"/>
                    </a:cubicBezTo>
                    <a:cubicBezTo>
                      <a:pt x="56329" y="72333"/>
                      <a:pt x="70875" y="59189"/>
                      <a:pt x="71660" y="42147"/>
                    </a:cubicBezTo>
                    <a:cubicBezTo>
                      <a:pt x="72444" y="25105"/>
                      <a:pt x="59229" y="10582"/>
                      <a:pt x="42163" y="9798"/>
                    </a:cubicBezTo>
                    <a:cubicBezTo>
                      <a:pt x="41687" y="9798"/>
                      <a:pt x="41188" y="9774"/>
                      <a:pt x="40713" y="9774"/>
                    </a:cubicBezTo>
                    <a:close/>
                  </a:path>
                </a:pathLst>
              </a:custGeom>
              <a:solidFill>
                <a:schemeClr val="tx2"/>
              </a:solidFill>
              <a:ln w="2376" cap="flat">
                <a:noFill/>
                <a:prstDash val="solid"/>
                <a:miter/>
              </a:ln>
            </p:spPr>
            <p:txBody>
              <a:bodyPr rtlCol="0" anchor="ctr"/>
              <a:lstStyle/>
              <a:p>
                <a:endParaRPr lang="en-GB" dirty="0"/>
              </a:p>
            </p:txBody>
          </p:sp>
        </p:grpSp>
        <p:grpSp>
          <p:nvGrpSpPr>
            <p:cNvPr id="90" name="Group 89">
              <a:extLst>
                <a:ext uri="{FF2B5EF4-FFF2-40B4-BE49-F238E27FC236}">
                  <a16:creationId xmlns:a16="http://schemas.microsoft.com/office/drawing/2014/main" id="{844D0489-5731-4EA8-B86F-987ADC39D903}"/>
                </a:ext>
              </a:extLst>
            </p:cNvPr>
            <p:cNvGrpSpPr/>
            <p:nvPr/>
          </p:nvGrpSpPr>
          <p:grpSpPr>
            <a:xfrm>
              <a:off x="7784385" y="3327258"/>
              <a:ext cx="496352" cy="496270"/>
              <a:chOff x="7784385" y="3327258"/>
              <a:chExt cx="496352" cy="496270"/>
            </a:xfrm>
          </p:grpSpPr>
          <p:grpSp>
            <p:nvGrpSpPr>
              <p:cNvPr id="91" name="Grafik 25">
                <a:extLst>
                  <a:ext uri="{FF2B5EF4-FFF2-40B4-BE49-F238E27FC236}">
                    <a16:creationId xmlns:a16="http://schemas.microsoft.com/office/drawing/2014/main" id="{2885A623-B79B-4BA4-BEC8-6BCB035D8ABA}"/>
                  </a:ext>
                </a:extLst>
              </p:cNvPr>
              <p:cNvGrpSpPr/>
              <p:nvPr/>
            </p:nvGrpSpPr>
            <p:grpSpPr>
              <a:xfrm>
                <a:off x="7784385" y="3327258"/>
                <a:ext cx="253009" cy="252998"/>
                <a:chOff x="7784385" y="3327258"/>
                <a:chExt cx="253009" cy="252998"/>
              </a:xfrm>
              <a:solidFill>
                <a:schemeClr val="accent1"/>
              </a:solidFill>
            </p:grpSpPr>
            <p:sp>
              <p:nvSpPr>
                <p:cNvPr id="101" name="Freihandform: Form 837">
                  <a:extLst>
                    <a:ext uri="{FF2B5EF4-FFF2-40B4-BE49-F238E27FC236}">
                      <a16:creationId xmlns:a16="http://schemas.microsoft.com/office/drawing/2014/main" id="{6455DB98-5B78-4015-B603-00A06E2C787B}"/>
                    </a:ext>
                  </a:extLst>
                </p:cNvPr>
                <p:cNvSpPr/>
                <p:nvPr/>
              </p:nvSpPr>
              <p:spPr>
                <a:xfrm>
                  <a:off x="7846769" y="3389632"/>
                  <a:ext cx="190624" cy="190624"/>
                </a:xfrm>
                <a:custGeom>
                  <a:avLst/>
                  <a:gdLst>
                    <a:gd name="connsiteX0" fmla="*/ 185729 w 190624"/>
                    <a:gd name="connsiteY0" fmla="*/ 190625 h 190624"/>
                    <a:gd name="connsiteX1" fmla="*/ 182282 w 190624"/>
                    <a:gd name="connsiteY1" fmla="*/ 189199 h 190624"/>
                    <a:gd name="connsiteX2" fmla="*/ 1426 w 190624"/>
                    <a:gd name="connsiteY2" fmla="*/ 8343 h 190624"/>
                    <a:gd name="connsiteX3" fmla="*/ 1426 w 190624"/>
                    <a:gd name="connsiteY3" fmla="*/ 1426 h 190624"/>
                    <a:gd name="connsiteX4" fmla="*/ 8343 w 190624"/>
                    <a:gd name="connsiteY4" fmla="*/ 1426 h 190624"/>
                    <a:gd name="connsiteX5" fmla="*/ 189199 w 190624"/>
                    <a:gd name="connsiteY5" fmla="*/ 182282 h 190624"/>
                    <a:gd name="connsiteX6" fmla="*/ 189199 w 190624"/>
                    <a:gd name="connsiteY6" fmla="*/ 189199 h 190624"/>
                    <a:gd name="connsiteX7" fmla="*/ 185729 w 190624"/>
                    <a:gd name="connsiteY7" fmla="*/ 190625 h 19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624" h="190624">
                      <a:moveTo>
                        <a:pt x="185729" y="190625"/>
                      </a:moveTo>
                      <a:cubicBezTo>
                        <a:pt x="184469" y="190625"/>
                        <a:pt x="183233" y="190149"/>
                        <a:pt x="182282" y="189199"/>
                      </a:cubicBezTo>
                      <a:lnTo>
                        <a:pt x="1426" y="8343"/>
                      </a:lnTo>
                      <a:cubicBezTo>
                        <a:pt x="-475" y="6441"/>
                        <a:pt x="-475" y="3351"/>
                        <a:pt x="1426" y="1426"/>
                      </a:cubicBezTo>
                      <a:cubicBezTo>
                        <a:pt x="3328" y="-475"/>
                        <a:pt x="6418" y="-475"/>
                        <a:pt x="8343" y="1426"/>
                      </a:cubicBezTo>
                      <a:lnTo>
                        <a:pt x="189199" y="182282"/>
                      </a:lnTo>
                      <a:cubicBezTo>
                        <a:pt x="191100" y="184183"/>
                        <a:pt x="191100" y="187273"/>
                        <a:pt x="189199" y="189199"/>
                      </a:cubicBezTo>
                      <a:cubicBezTo>
                        <a:pt x="188224" y="190149"/>
                        <a:pt x="186988" y="190625"/>
                        <a:pt x="185729" y="190625"/>
                      </a:cubicBezTo>
                      <a:close/>
                    </a:path>
                  </a:pathLst>
                </a:custGeom>
                <a:solidFill>
                  <a:schemeClr val="accent1"/>
                </a:solidFill>
                <a:ln w="2376" cap="flat">
                  <a:noFill/>
                  <a:prstDash val="solid"/>
                  <a:miter/>
                </a:ln>
              </p:spPr>
              <p:txBody>
                <a:bodyPr rtlCol="0" anchor="ctr"/>
                <a:lstStyle/>
                <a:p>
                  <a:endParaRPr lang="en-GB" dirty="0"/>
                </a:p>
              </p:txBody>
            </p:sp>
            <p:sp>
              <p:nvSpPr>
                <p:cNvPr id="102" name="Freihandform: Form 838">
                  <a:extLst>
                    <a:ext uri="{FF2B5EF4-FFF2-40B4-BE49-F238E27FC236}">
                      <a16:creationId xmlns:a16="http://schemas.microsoft.com/office/drawing/2014/main" id="{67773AA4-755D-4B0F-A623-98AB6DD1CA1A}"/>
                    </a:ext>
                  </a:extLst>
                </p:cNvPr>
                <p:cNvSpPr/>
                <p:nvPr/>
              </p:nvSpPr>
              <p:spPr>
                <a:xfrm>
                  <a:off x="7784385" y="3327258"/>
                  <a:ext cx="122032" cy="122033"/>
                </a:xfrm>
                <a:custGeom>
                  <a:avLst/>
                  <a:gdLst>
                    <a:gd name="connsiteX0" fmla="*/ 42300 w 122032"/>
                    <a:gd name="connsiteY0" fmla="*/ 122033 h 122033"/>
                    <a:gd name="connsiteX1" fmla="*/ 41967 w 122032"/>
                    <a:gd name="connsiteY1" fmla="*/ 122009 h 122033"/>
                    <a:gd name="connsiteX2" fmla="*/ 37665 w 122032"/>
                    <a:gd name="connsiteY2" fmla="*/ 118682 h 122033"/>
                    <a:gd name="connsiteX3" fmla="*/ 253 w 122032"/>
                    <a:gd name="connsiteY3" fmla="*/ 6422 h 122033"/>
                    <a:gd name="connsiteX4" fmla="*/ 1441 w 122032"/>
                    <a:gd name="connsiteY4" fmla="*/ 1431 h 122033"/>
                    <a:gd name="connsiteX5" fmla="*/ 6433 w 122032"/>
                    <a:gd name="connsiteY5" fmla="*/ 243 h 122033"/>
                    <a:gd name="connsiteX6" fmla="*/ 118692 w 122032"/>
                    <a:gd name="connsiteY6" fmla="*/ 37655 h 122033"/>
                    <a:gd name="connsiteX7" fmla="*/ 122020 w 122032"/>
                    <a:gd name="connsiteY7" fmla="*/ 41957 h 122033"/>
                    <a:gd name="connsiteX8" fmla="*/ 119334 w 122032"/>
                    <a:gd name="connsiteY8" fmla="*/ 46663 h 122033"/>
                    <a:gd name="connsiteX9" fmla="*/ 70893 w 122032"/>
                    <a:gd name="connsiteY9" fmla="*/ 70883 h 122033"/>
                    <a:gd name="connsiteX10" fmla="*/ 46673 w 122032"/>
                    <a:gd name="connsiteY10" fmla="*/ 119324 h 122033"/>
                    <a:gd name="connsiteX11" fmla="*/ 42300 w 122032"/>
                    <a:gd name="connsiteY11" fmla="*/ 122033 h 122033"/>
                    <a:gd name="connsiteX12" fmla="*/ 12613 w 122032"/>
                    <a:gd name="connsiteY12" fmla="*/ 12626 h 122033"/>
                    <a:gd name="connsiteX13" fmla="*/ 43203 w 122032"/>
                    <a:gd name="connsiteY13" fmla="*/ 104421 h 122033"/>
                    <a:gd name="connsiteX14" fmla="*/ 62883 w 122032"/>
                    <a:gd name="connsiteY14" fmla="*/ 65084 h 122033"/>
                    <a:gd name="connsiteX15" fmla="*/ 65070 w 122032"/>
                    <a:gd name="connsiteY15" fmla="*/ 62897 h 122033"/>
                    <a:gd name="connsiteX16" fmla="*/ 104407 w 122032"/>
                    <a:gd name="connsiteY16" fmla="*/ 43216 h 122033"/>
                    <a:gd name="connsiteX17" fmla="*/ 12613 w 122032"/>
                    <a:gd name="connsiteY17" fmla="*/ 12626 h 12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032" h="122033">
                      <a:moveTo>
                        <a:pt x="42300" y="122033"/>
                      </a:moveTo>
                      <a:cubicBezTo>
                        <a:pt x="42181" y="122033"/>
                        <a:pt x="42062" y="122033"/>
                        <a:pt x="41967" y="122009"/>
                      </a:cubicBezTo>
                      <a:cubicBezTo>
                        <a:pt x="39994" y="121867"/>
                        <a:pt x="38307" y="120560"/>
                        <a:pt x="37665" y="118682"/>
                      </a:cubicBezTo>
                      <a:lnTo>
                        <a:pt x="253" y="6422"/>
                      </a:lnTo>
                      <a:cubicBezTo>
                        <a:pt x="-341" y="4664"/>
                        <a:pt x="134" y="2738"/>
                        <a:pt x="1441" y="1431"/>
                      </a:cubicBezTo>
                      <a:cubicBezTo>
                        <a:pt x="2749" y="124"/>
                        <a:pt x="4674" y="-328"/>
                        <a:pt x="6433" y="243"/>
                      </a:cubicBezTo>
                      <a:lnTo>
                        <a:pt x="118692" y="37655"/>
                      </a:lnTo>
                      <a:cubicBezTo>
                        <a:pt x="120570" y="38296"/>
                        <a:pt x="121877" y="39984"/>
                        <a:pt x="122020" y="41957"/>
                      </a:cubicBezTo>
                      <a:cubicBezTo>
                        <a:pt x="122163" y="43929"/>
                        <a:pt x="121093" y="45783"/>
                        <a:pt x="119334" y="46663"/>
                      </a:cubicBezTo>
                      <a:lnTo>
                        <a:pt x="70893" y="70883"/>
                      </a:lnTo>
                      <a:lnTo>
                        <a:pt x="46673" y="119324"/>
                      </a:lnTo>
                      <a:cubicBezTo>
                        <a:pt x="45841" y="120987"/>
                        <a:pt x="44130" y="122033"/>
                        <a:pt x="42300" y="122033"/>
                      </a:cubicBezTo>
                      <a:close/>
                      <a:moveTo>
                        <a:pt x="12613" y="12626"/>
                      </a:moveTo>
                      <a:lnTo>
                        <a:pt x="43203" y="104421"/>
                      </a:lnTo>
                      <a:lnTo>
                        <a:pt x="62883" y="65084"/>
                      </a:lnTo>
                      <a:cubicBezTo>
                        <a:pt x="63359" y="64133"/>
                        <a:pt x="64119" y="63372"/>
                        <a:pt x="65070" y="62897"/>
                      </a:cubicBezTo>
                      <a:lnTo>
                        <a:pt x="104407" y="43216"/>
                      </a:lnTo>
                      <a:lnTo>
                        <a:pt x="12613" y="12626"/>
                      </a:lnTo>
                      <a:close/>
                    </a:path>
                  </a:pathLst>
                </a:custGeom>
                <a:solidFill>
                  <a:schemeClr val="accent1"/>
                </a:solidFill>
                <a:ln w="2376" cap="flat">
                  <a:noFill/>
                  <a:prstDash val="solid"/>
                  <a:miter/>
                </a:ln>
              </p:spPr>
              <p:txBody>
                <a:bodyPr rtlCol="0" anchor="ctr"/>
                <a:lstStyle/>
                <a:p>
                  <a:endParaRPr lang="en-GB" dirty="0"/>
                </a:p>
              </p:txBody>
            </p:sp>
          </p:grpSp>
          <p:grpSp>
            <p:nvGrpSpPr>
              <p:cNvPr id="92" name="Grafik 25">
                <a:extLst>
                  <a:ext uri="{FF2B5EF4-FFF2-40B4-BE49-F238E27FC236}">
                    <a16:creationId xmlns:a16="http://schemas.microsoft.com/office/drawing/2014/main" id="{2DCC7C88-1BE1-4FB3-A905-6EED0CCC66A6}"/>
                  </a:ext>
                </a:extLst>
              </p:cNvPr>
              <p:cNvGrpSpPr/>
              <p:nvPr/>
            </p:nvGrpSpPr>
            <p:grpSpPr>
              <a:xfrm>
                <a:off x="7784395" y="3570511"/>
                <a:ext cx="252998" cy="252993"/>
                <a:chOff x="7784395" y="3570511"/>
                <a:chExt cx="252998" cy="252993"/>
              </a:xfrm>
              <a:solidFill>
                <a:schemeClr val="accent1"/>
              </a:solidFill>
            </p:grpSpPr>
            <p:sp>
              <p:nvSpPr>
                <p:cNvPr id="99" name="Freihandform: Form 840">
                  <a:extLst>
                    <a:ext uri="{FF2B5EF4-FFF2-40B4-BE49-F238E27FC236}">
                      <a16:creationId xmlns:a16="http://schemas.microsoft.com/office/drawing/2014/main" id="{EB513DB1-591D-4214-BE6A-16D7FCF6C509}"/>
                    </a:ext>
                  </a:extLst>
                </p:cNvPr>
                <p:cNvSpPr/>
                <p:nvPr/>
              </p:nvSpPr>
              <p:spPr>
                <a:xfrm>
                  <a:off x="7846769" y="3570511"/>
                  <a:ext cx="190624" cy="190624"/>
                </a:xfrm>
                <a:custGeom>
                  <a:avLst/>
                  <a:gdLst>
                    <a:gd name="connsiteX0" fmla="*/ 4873 w 190624"/>
                    <a:gd name="connsiteY0" fmla="*/ 190625 h 190624"/>
                    <a:gd name="connsiteX1" fmla="*/ 1426 w 190624"/>
                    <a:gd name="connsiteY1" fmla="*/ 189199 h 190624"/>
                    <a:gd name="connsiteX2" fmla="*/ 1426 w 190624"/>
                    <a:gd name="connsiteY2" fmla="*/ 182282 h 190624"/>
                    <a:gd name="connsiteX3" fmla="*/ 182282 w 190624"/>
                    <a:gd name="connsiteY3" fmla="*/ 1426 h 190624"/>
                    <a:gd name="connsiteX4" fmla="*/ 189199 w 190624"/>
                    <a:gd name="connsiteY4" fmla="*/ 1426 h 190624"/>
                    <a:gd name="connsiteX5" fmla="*/ 189199 w 190624"/>
                    <a:gd name="connsiteY5" fmla="*/ 8343 h 190624"/>
                    <a:gd name="connsiteX6" fmla="*/ 8343 w 190624"/>
                    <a:gd name="connsiteY6" fmla="*/ 189199 h 190624"/>
                    <a:gd name="connsiteX7" fmla="*/ 4873 w 190624"/>
                    <a:gd name="connsiteY7" fmla="*/ 190625 h 19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624" h="190624">
                      <a:moveTo>
                        <a:pt x="4873" y="190625"/>
                      </a:moveTo>
                      <a:cubicBezTo>
                        <a:pt x="3613" y="190625"/>
                        <a:pt x="2377" y="190149"/>
                        <a:pt x="1426" y="189199"/>
                      </a:cubicBezTo>
                      <a:cubicBezTo>
                        <a:pt x="-475" y="187297"/>
                        <a:pt x="-475" y="184207"/>
                        <a:pt x="1426" y="182282"/>
                      </a:cubicBezTo>
                      <a:lnTo>
                        <a:pt x="182282" y="1426"/>
                      </a:lnTo>
                      <a:cubicBezTo>
                        <a:pt x="184184" y="-475"/>
                        <a:pt x="187274" y="-475"/>
                        <a:pt x="189199" y="1426"/>
                      </a:cubicBezTo>
                      <a:cubicBezTo>
                        <a:pt x="191100" y="3328"/>
                        <a:pt x="191100" y="6417"/>
                        <a:pt x="189199" y="8343"/>
                      </a:cubicBezTo>
                      <a:lnTo>
                        <a:pt x="8343" y="189199"/>
                      </a:lnTo>
                      <a:cubicBezTo>
                        <a:pt x="7368" y="190126"/>
                        <a:pt x="6109" y="190625"/>
                        <a:pt x="4873" y="190625"/>
                      </a:cubicBezTo>
                      <a:close/>
                    </a:path>
                  </a:pathLst>
                </a:custGeom>
                <a:solidFill>
                  <a:schemeClr val="accent1"/>
                </a:solidFill>
                <a:ln w="2376" cap="flat">
                  <a:noFill/>
                  <a:prstDash val="solid"/>
                  <a:miter/>
                </a:ln>
              </p:spPr>
              <p:txBody>
                <a:bodyPr rtlCol="0" anchor="ctr"/>
                <a:lstStyle/>
                <a:p>
                  <a:endParaRPr lang="en-GB" dirty="0"/>
                </a:p>
              </p:txBody>
            </p:sp>
            <p:sp>
              <p:nvSpPr>
                <p:cNvPr id="100" name="Freihandform: Form 841">
                  <a:extLst>
                    <a:ext uri="{FF2B5EF4-FFF2-40B4-BE49-F238E27FC236}">
                      <a16:creationId xmlns:a16="http://schemas.microsoft.com/office/drawing/2014/main" id="{8E71452B-8BED-458C-AA5C-B0EB8F20A2C9}"/>
                    </a:ext>
                  </a:extLst>
                </p:cNvPr>
                <p:cNvSpPr/>
                <p:nvPr/>
              </p:nvSpPr>
              <p:spPr>
                <a:xfrm>
                  <a:off x="7784395" y="3701488"/>
                  <a:ext cx="122022" cy="122017"/>
                </a:xfrm>
                <a:custGeom>
                  <a:avLst/>
                  <a:gdLst>
                    <a:gd name="connsiteX0" fmla="*/ 4877 w 122022"/>
                    <a:gd name="connsiteY0" fmla="*/ 122017 h 122017"/>
                    <a:gd name="connsiteX1" fmla="*/ 1431 w 122022"/>
                    <a:gd name="connsiteY1" fmla="*/ 120591 h 122017"/>
                    <a:gd name="connsiteX2" fmla="*/ 243 w 122022"/>
                    <a:gd name="connsiteY2" fmla="*/ 115600 h 122017"/>
                    <a:gd name="connsiteX3" fmla="*/ 37654 w 122022"/>
                    <a:gd name="connsiteY3" fmla="*/ 3340 h 122017"/>
                    <a:gd name="connsiteX4" fmla="*/ 41957 w 122022"/>
                    <a:gd name="connsiteY4" fmla="*/ 13 h 122017"/>
                    <a:gd name="connsiteX5" fmla="*/ 46663 w 122022"/>
                    <a:gd name="connsiteY5" fmla="*/ 2699 h 122017"/>
                    <a:gd name="connsiteX6" fmla="*/ 70883 w 122022"/>
                    <a:gd name="connsiteY6" fmla="*/ 51139 h 122017"/>
                    <a:gd name="connsiteX7" fmla="*/ 119324 w 122022"/>
                    <a:gd name="connsiteY7" fmla="*/ 75359 h 122017"/>
                    <a:gd name="connsiteX8" fmla="*/ 122009 w 122022"/>
                    <a:gd name="connsiteY8" fmla="*/ 80089 h 122017"/>
                    <a:gd name="connsiteX9" fmla="*/ 118682 w 122022"/>
                    <a:gd name="connsiteY9" fmla="*/ 84368 h 122017"/>
                    <a:gd name="connsiteX10" fmla="*/ 6422 w 122022"/>
                    <a:gd name="connsiteY10" fmla="*/ 121780 h 122017"/>
                    <a:gd name="connsiteX11" fmla="*/ 4877 w 122022"/>
                    <a:gd name="connsiteY11" fmla="*/ 122017 h 122017"/>
                    <a:gd name="connsiteX12" fmla="*/ 43192 w 122022"/>
                    <a:gd name="connsiteY12" fmla="*/ 17601 h 122017"/>
                    <a:gd name="connsiteX13" fmla="*/ 12602 w 122022"/>
                    <a:gd name="connsiteY13" fmla="*/ 109396 h 122017"/>
                    <a:gd name="connsiteX14" fmla="*/ 104397 w 122022"/>
                    <a:gd name="connsiteY14" fmla="*/ 78806 h 122017"/>
                    <a:gd name="connsiteX15" fmla="*/ 65060 w 122022"/>
                    <a:gd name="connsiteY15" fmla="*/ 59125 h 122017"/>
                    <a:gd name="connsiteX16" fmla="*/ 62873 w 122022"/>
                    <a:gd name="connsiteY16" fmla="*/ 56939 h 122017"/>
                    <a:gd name="connsiteX17" fmla="*/ 43192 w 122022"/>
                    <a:gd name="connsiteY17" fmla="*/ 17601 h 12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022" h="122017">
                      <a:moveTo>
                        <a:pt x="4877" y="122017"/>
                      </a:moveTo>
                      <a:cubicBezTo>
                        <a:pt x="3594" y="122017"/>
                        <a:pt x="2358" y="121518"/>
                        <a:pt x="1431" y="120591"/>
                      </a:cubicBezTo>
                      <a:cubicBezTo>
                        <a:pt x="124" y="119284"/>
                        <a:pt x="-328" y="117335"/>
                        <a:pt x="243" y="115600"/>
                      </a:cubicBezTo>
                      <a:lnTo>
                        <a:pt x="37654" y="3340"/>
                      </a:lnTo>
                      <a:cubicBezTo>
                        <a:pt x="38296" y="1463"/>
                        <a:pt x="39984" y="155"/>
                        <a:pt x="41957" y="13"/>
                      </a:cubicBezTo>
                      <a:cubicBezTo>
                        <a:pt x="43858" y="-130"/>
                        <a:pt x="45783" y="940"/>
                        <a:pt x="46663" y="2699"/>
                      </a:cubicBezTo>
                      <a:lnTo>
                        <a:pt x="70883" y="51139"/>
                      </a:lnTo>
                      <a:lnTo>
                        <a:pt x="119324" y="75359"/>
                      </a:lnTo>
                      <a:cubicBezTo>
                        <a:pt x="121082" y="76239"/>
                        <a:pt x="122152" y="78116"/>
                        <a:pt x="122009" y="80089"/>
                      </a:cubicBezTo>
                      <a:cubicBezTo>
                        <a:pt x="121867" y="82062"/>
                        <a:pt x="120560" y="83750"/>
                        <a:pt x="118682" y="84368"/>
                      </a:cubicBezTo>
                      <a:lnTo>
                        <a:pt x="6422" y="121780"/>
                      </a:lnTo>
                      <a:cubicBezTo>
                        <a:pt x="5900" y="121922"/>
                        <a:pt x="5377" y="122017"/>
                        <a:pt x="4877" y="122017"/>
                      </a:cubicBezTo>
                      <a:close/>
                      <a:moveTo>
                        <a:pt x="43192" y="17601"/>
                      </a:moveTo>
                      <a:lnTo>
                        <a:pt x="12602" y="109396"/>
                      </a:lnTo>
                      <a:lnTo>
                        <a:pt x="104397" y="78806"/>
                      </a:lnTo>
                      <a:lnTo>
                        <a:pt x="65060" y="59125"/>
                      </a:lnTo>
                      <a:cubicBezTo>
                        <a:pt x="64109" y="58650"/>
                        <a:pt x="63348" y="57889"/>
                        <a:pt x="62873" y="56939"/>
                      </a:cubicBezTo>
                      <a:lnTo>
                        <a:pt x="43192" y="17601"/>
                      </a:lnTo>
                      <a:close/>
                    </a:path>
                  </a:pathLst>
                </a:custGeom>
                <a:solidFill>
                  <a:schemeClr val="accent1"/>
                </a:solidFill>
                <a:ln w="2376" cap="flat">
                  <a:noFill/>
                  <a:prstDash val="solid"/>
                  <a:miter/>
                </a:ln>
              </p:spPr>
              <p:txBody>
                <a:bodyPr rtlCol="0" anchor="ctr"/>
                <a:lstStyle/>
                <a:p>
                  <a:endParaRPr lang="en-GB" dirty="0"/>
                </a:p>
              </p:txBody>
            </p:sp>
          </p:grpSp>
          <p:grpSp>
            <p:nvGrpSpPr>
              <p:cNvPr id="93" name="Grafik 25">
                <a:extLst>
                  <a:ext uri="{FF2B5EF4-FFF2-40B4-BE49-F238E27FC236}">
                    <a16:creationId xmlns:a16="http://schemas.microsoft.com/office/drawing/2014/main" id="{F4E2D8B4-0FB7-45A7-B59A-753111E291CE}"/>
                  </a:ext>
                </a:extLst>
              </p:cNvPr>
              <p:cNvGrpSpPr/>
              <p:nvPr/>
            </p:nvGrpSpPr>
            <p:grpSpPr>
              <a:xfrm>
                <a:off x="8027625" y="3327258"/>
                <a:ext cx="252998" cy="252998"/>
                <a:chOff x="8027625" y="3327258"/>
                <a:chExt cx="252998" cy="252998"/>
              </a:xfrm>
              <a:solidFill>
                <a:schemeClr val="accent1"/>
              </a:solidFill>
            </p:grpSpPr>
            <p:sp>
              <p:nvSpPr>
                <p:cNvPr id="97" name="Freihandform: Form 843">
                  <a:extLst>
                    <a:ext uri="{FF2B5EF4-FFF2-40B4-BE49-F238E27FC236}">
                      <a16:creationId xmlns:a16="http://schemas.microsoft.com/office/drawing/2014/main" id="{B0212A78-8C93-4F64-A1A6-C8E94EA06C52}"/>
                    </a:ext>
                  </a:extLst>
                </p:cNvPr>
                <p:cNvSpPr/>
                <p:nvPr/>
              </p:nvSpPr>
              <p:spPr>
                <a:xfrm>
                  <a:off x="8027625" y="3389632"/>
                  <a:ext cx="190624" cy="190624"/>
                </a:xfrm>
                <a:custGeom>
                  <a:avLst/>
                  <a:gdLst>
                    <a:gd name="connsiteX0" fmla="*/ 4873 w 190624"/>
                    <a:gd name="connsiteY0" fmla="*/ 190625 h 190624"/>
                    <a:gd name="connsiteX1" fmla="*/ 1426 w 190624"/>
                    <a:gd name="connsiteY1" fmla="*/ 189199 h 190624"/>
                    <a:gd name="connsiteX2" fmla="*/ 1426 w 190624"/>
                    <a:gd name="connsiteY2" fmla="*/ 182282 h 190624"/>
                    <a:gd name="connsiteX3" fmla="*/ 182282 w 190624"/>
                    <a:gd name="connsiteY3" fmla="*/ 1426 h 190624"/>
                    <a:gd name="connsiteX4" fmla="*/ 189198 w 190624"/>
                    <a:gd name="connsiteY4" fmla="*/ 1426 h 190624"/>
                    <a:gd name="connsiteX5" fmla="*/ 189198 w 190624"/>
                    <a:gd name="connsiteY5" fmla="*/ 8343 h 190624"/>
                    <a:gd name="connsiteX6" fmla="*/ 8343 w 190624"/>
                    <a:gd name="connsiteY6" fmla="*/ 189199 h 190624"/>
                    <a:gd name="connsiteX7" fmla="*/ 4873 w 190624"/>
                    <a:gd name="connsiteY7" fmla="*/ 190625 h 19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624" h="190624">
                      <a:moveTo>
                        <a:pt x="4873" y="190625"/>
                      </a:moveTo>
                      <a:cubicBezTo>
                        <a:pt x="3613" y="190625"/>
                        <a:pt x="2377" y="190149"/>
                        <a:pt x="1426" y="189199"/>
                      </a:cubicBezTo>
                      <a:cubicBezTo>
                        <a:pt x="-475" y="187297"/>
                        <a:pt x="-475" y="184207"/>
                        <a:pt x="1426" y="182282"/>
                      </a:cubicBezTo>
                      <a:lnTo>
                        <a:pt x="182282" y="1426"/>
                      </a:lnTo>
                      <a:cubicBezTo>
                        <a:pt x="184183" y="-475"/>
                        <a:pt x="187273" y="-475"/>
                        <a:pt x="189198" y="1426"/>
                      </a:cubicBezTo>
                      <a:cubicBezTo>
                        <a:pt x="191100" y="3328"/>
                        <a:pt x="191100" y="6418"/>
                        <a:pt x="189198" y="8343"/>
                      </a:cubicBezTo>
                      <a:lnTo>
                        <a:pt x="8343" y="189199"/>
                      </a:lnTo>
                      <a:cubicBezTo>
                        <a:pt x="7368" y="190149"/>
                        <a:pt x="6132" y="190625"/>
                        <a:pt x="4873" y="190625"/>
                      </a:cubicBezTo>
                      <a:close/>
                    </a:path>
                  </a:pathLst>
                </a:custGeom>
                <a:solidFill>
                  <a:schemeClr val="accent1"/>
                </a:solidFill>
                <a:ln w="2376" cap="flat">
                  <a:noFill/>
                  <a:prstDash val="solid"/>
                  <a:miter/>
                </a:ln>
              </p:spPr>
              <p:txBody>
                <a:bodyPr rtlCol="0" anchor="ctr"/>
                <a:lstStyle/>
                <a:p>
                  <a:endParaRPr lang="en-GB" dirty="0"/>
                </a:p>
              </p:txBody>
            </p:sp>
            <p:sp>
              <p:nvSpPr>
                <p:cNvPr id="98" name="Freihandform: Form 844">
                  <a:extLst>
                    <a:ext uri="{FF2B5EF4-FFF2-40B4-BE49-F238E27FC236}">
                      <a16:creationId xmlns:a16="http://schemas.microsoft.com/office/drawing/2014/main" id="{6F2AB50C-A675-4BF0-8815-3514457D6D27}"/>
                    </a:ext>
                  </a:extLst>
                </p:cNvPr>
                <p:cNvSpPr/>
                <p:nvPr/>
              </p:nvSpPr>
              <p:spPr>
                <a:xfrm>
                  <a:off x="8158601" y="3327258"/>
                  <a:ext cx="122022" cy="122033"/>
                </a:xfrm>
                <a:custGeom>
                  <a:avLst/>
                  <a:gdLst>
                    <a:gd name="connsiteX0" fmla="*/ 79709 w 122022"/>
                    <a:gd name="connsiteY0" fmla="*/ 122033 h 122033"/>
                    <a:gd name="connsiteX1" fmla="*/ 75336 w 122022"/>
                    <a:gd name="connsiteY1" fmla="*/ 119324 h 122033"/>
                    <a:gd name="connsiteX2" fmla="*/ 51115 w 122022"/>
                    <a:gd name="connsiteY2" fmla="*/ 70883 h 122033"/>
                    <a:gd name="connsiteX3" fmla="*/ 2699 w 122022"/>
                    <a:gd name="connsiteY3" fmla="*/ 46663 h 122033"/>
                    <a:gd name="connsiteX4" fmla="*/ 13 w 122022"/>
                    <a:gd name="connsiteY4" fmla="*/ 41957 h 122033"/>
                    <a:gd name="connsiteX5" fmla="*/ 3340 w 122022"/>
                    <a:gd name="connsiteY5" fmla="*/ 37655 h 122033"/>
                    <a:gd name="connsiteX6" fmla="*/ 115600 w 122022"/>
                    <a:gd name="connsiteY6" fmla="*/ 243 h 122033"/>
                    <a:gd name="connsiteX7" fmla="*/ 120591 w 122022"/>
                    <a:gd name="connsiteY7" fmla="*/ 1431 h 122033"/>
                    <a:gd name="connsiteX8" fmla="*/ 121779 w 122022"/>
                    <a:gd name="connsiteY8" fmla="*/ 6422 h 122033"/>
                    <a:gd name="connsiteX9" fmla="*/ 84368 w 122022"/>
                    <a:gd name="connsiteY9" fmla="*/ 118682 h 122033"/>
                    <a:gd name="connsiteX10" fmla="*/ 80066 w 122022"/>
                    <a:gd name="connsiteY10" fmla="*/ 122009 h 122033"/>
                    <a:gd name="connsiteX11" fmla="*/ 79709 w 122022"/>
                    <a:gd name="connsiteY11" fmla="*/ 122033 h 122033"/>
                    <a:gd name="connsiteX12" fmla="*/ 17602 w 122022"/>
                    <a:gd name="connsiteY12" fmla="*/ 43216 h 122033"/>
                    <a:gd name="connsiteX13" fmla="*/ 56939 w 122022"/>
                    <a:gd name="connsiteY13" fmla="*/ 62897 h 122033"/>
                    <a:gd name="connsiteX14" fmla="*/ 59125 w 122022"/>
                    <a:gd name="connsiteY14" fmla="*/ 65084 h 122033"/>
                    <a:gd name="connsiteX15" fmla="*/ 78806 w 122022"/>
                    <a:gd name="connsiteY15" fmla="*/ 104421 h 122033"/>
                    <a:gd name="connsiteX16" fmla="*/ 109396 w 122022"/>
                    <a:gd name="connsiteY16" fmla="*/ 12626 h 122033"/>
                    <a:gd name="connsiteX17" fmla="*/ 17602 w 122022"/>
                    <a:gd name="connsiteY17" fmla="*/ 43216 h 122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2022" h="122033">
                      <a:moveTo>
                        <a:pt x="79709" y="122033"/>
                      </a:moveTo>
                      <a:cubicBezTo>
                        <a:pt x="77879" y="122033"/>
                        <a:pt x="76168" y="120987"/>
                        <a:pt x="75336" y="119324"/>
                      </a:cubicBezTo>
                      <a:lnTo>
                        <a:pt x="51115" y="70883"/>
                      </a:lnTo>
                      <a:lnTo>
                        <a:pt x="2699" y="46663"/>
                      </a:lnTo>
                      <a:cubicBezTo>
                        <a:pt x="940" y="45783"/>
                        <a:pt x="-130" y="43906"/>
                        <a:pt x="13" y="41957"/>
                      </a:cubicBezTo>
                      <a:cubicBezTo>
                        <a:pt x="155" y="39984"/>
                        <a:pt x="1463" y="38296"/>
                        <a:pt x="3340" y="37655"/>
                      </a:cubicBezTo>
                      <a:lnTo>
                        <a:pt x="115600" y="243"/>
                      </a:lnTo>
                      <a:cubicBezTo>
                        <a:pt x="117359" y="-328"/>
                        <a:pt x="119284" y="124"/>
                        <a:pt x="120591" y="1431"/>
                      </a:cubicBezTo>
                      <a:cubicBezTo>
                        <a:pt x="121898" y="2738"/>
                        <a:pt x="122350" y="4687"/>
                        <a:pt x="121779" y="6422"/>
                      </a:cubicBezTo>
                      <a:lnTo>
                        <a:pt x="84368" y="118682"/>
                      </a:lnTo>
                      <a:cubicBezTo>
                        <a:pt x="83750" y="120560"/>
                        <a:pt x="82038" y="121867"/>
                        <a:pt x="80066" y="122009"/>
                      </a:cubicBezTo>
                      <a:cubicBezTo>
                        <a:pt x="79923" y="122033"/>
                        <a:pt x="79828" y="122033"/>
                        <a:pt x="79709" y="122033"/>
                      </a:cubicBezTo>
                      <a:close/>
                      <a:moveTo>
                        <a:pt x="17602" y="43216"/>
                      </a:moveTo>
                      <a:lnTo>
                        <a:pt x="56939" y="62897"/>
                      </a:lnTo>
                      <a:cubicBezTo>
                        <a:pt x="57889" y="63372"/>
                        <a:pt x="58650" y="64133"/>
                        <a:pt x="59125" y="65084"/>
                      </a:cubicBezTo>
                      <a:lnTo>
                        <a:pt x="78806" y="104421"/>
                      </a:lnTo>
                      <a:lnTo>
                        <a:pt x="109396" y="12626"/>
                      </a:lnTo>
                      <a:lnTo>
                        <a:pt x="17602" y="43216"/>
                      </a:lnTo>
                      <a:close/>
                    </a:path>
                  </a:pathLst>
                </a:custGeom>
                <a:solidFill>
                  <a:schemeClr val="accent1"/>
                </a:solidFill>
                <a:ln w="2376" cap="flat">
                  <a:noFill/>
                  <a:prstDash val="solid"/>
                  <a:miter/>
                </a:ln>
              </p:spPr>
              <p:txBody>
                <a:bodyPr rtlCol="0" anchor="ctr"/>
                <a:lstStyle/>
                <a:p>
                  <a:endParaRPr lang="en-GB" dirty="0"/>
                </a:p>
              </p:txBody>
            </p:sp>
          </p:grpSp>
          <p:grpSp>
            <p:nvGrpSpPr>
              <p:cNvPr id="94" name="Grafik 25">
                <a:extLst>
                  <a:ext uri="{FF2B5EF4-FFF2-40B4-BE49-F238E27FC236}">
                    <a16:creationId xmlns:a16="http://schemas.microsoft.com/office/drawing/2014/main" id="{DDC9F11F-9A0B-4E29-B0AF-614CC24F214A}"/>
                  </a:ext>
                </a:extLst>
              </p:cNvPr>
              <p:cNvGrpSpPr/>
              <p:nvPr/>
            </p:nvGrpSpPr>
            <p:grpSpPr>
              <a:xfrm>
                <a:off x="8027625" y="3570511"/>
                <a:ext cx="253112" cy="253017"/>
                <a:chOff x="8027625" y="3570511"/>
                <a:chExt cx="253112" cy="253017"/>
              </a:xfrm>
              <a:solidFill>
                <a:schemeClr val="accent1"/>
              </a:solidFill>
            </p:grpSpPr>
            <p:sp>
              <p:nvSpPr>
                <p:cNvPr id="95" name="Freihandform: Form 846">
                  <a:extLst>
                    <a:ext uri="{FF2B5EF4-FFF2-40B4-BE49-F238E27FC236}">
                      <a16:creationId xmlns:a16="http://schemas.microsoft.com/office/drawing/2014/main" id="{E08C0DB0-E2F3-417F-A672-80E972AA9973}"/>
                    </a:ext>
                  </a:extLst>
                </p:cNvPr>
                <p:cNvSpPr/>
                <p:nvPr/>
              </p:nvSpPr>
              <p:spPr>
                <a:xfrm>
                  <a:off x="8027625" y="3570511"/>
                  <a:ext cx="190624" cy="190624"/>
                </a:xfrm>
                <a:custGeom>
                  <a:avLst/>
                  <a:gdLst>
                    <a:gd name="connsiteX0" fmla="*/ 185728 w 190624"/>
                    <a:gd name="connsiteY0" fmla="*/ 190625 h 190624"/>
                    <a:gd name="connsiteX1" fmla="*/ 182282 w 190624"/>
                    <a:gd name="connsiteY1" fmla="*/ 189199 h 190624"/>
                    <a:gd name="connsiteX2" fmla="*/ 1426 w 190624"/>
                    <a:gd name="connsiteY2" fmla="*/ 8343 h 190624"/>
                    <a:gd name="connsiteX3" fmla="*/ 1426 w 190624"/>
                    <a:gd name="connsiteY3" fmla="*/ 1426 h 190624"/>
                    <a:gd name="connsiteX4" fmla="*/ 8343 w 190624"/>
                    <a:gd name="connsiteY4" fmla="*/ 1426 h 190624"/>
                    <a:gd name="connsiteX5" fmla="*/ 189198 w 190624"/>
                    <a:gd name="connsiteY5" fmla="*/ 182282 h 190624"/>
                    <a:gd name="connsiteX6" fmla="*/ 189198 w 190624"/>
                    <a:gd name="connsiteY6" fmla="*/ 189199 h 190624"/>
                    <a:gd name="connsiteX7" fmla="*/ 185728 w 190624"/>
                    <a:gd name="connsiteY7" fmla="*/ 190625 h 19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624" h="190624">
                      <a:moveTo>
                        <a:pt x="185728" y="190625"/>
                      </a:moveTo>
                      <a:cubicBezTo>
                        <a:pt x="184469" y="190625"/>
                        <a:pt x="183232" y="190149"/>
                        <a:pt x="182282" y="189199"/>
                      </a:cubicBezTo>
                      <a:lnTo>
                        <a:pt x="1426" y="8343"/>
                      </a:lnTo>
                      <a:cubicBezTo>
                        <a:pt x="-475" y="6441"/>
                        <a:pt x="-475" y="3351"/>
                        <a:pt x="1426" y="1426"/>
                      </a:cubicBezTo>
                      <a:cubicBezTo>
                        <a:pt x="3328" y="-475"/>
                        <a:pt x="6418" y="-475"/>
                        <a:pt x="8343" y="1426"/>
                      </a:cubicBezTo>
                      <a:lnTo>
                        <a:pt x="189198" y="182282"/>
                      </a:lnTo>
                      <a:cubicBezTo>
                        <a:pt x="191100" y="184183"/>
                        <a:pt x="191100" y="187273"/>
                        <a:pt x="189198" y="189199"/>
                      </a:cubicBezTo>
                      <a:cubicBezTo>
                        <a:pt x="188224" y="190126"/>
                        <a:pt x="186988" y="190625"/>
                        <a:pt x="185728" y="190625"/>
                      </a:cubicBezTo>
                      <a:close/>
                    </a:path>
                  </a:pathLst>
                </a:custGeom>
                <a:solidFill>
                  <a:schemeClr val="accent1"/>
                </a:solidFill>
                <a:ln w="2376" cap="flat">
                  <a:noFill/>
                  <a:prstDash val="solid"/>
                  <a:miter/>
                </a:ln>
              </p:spPr>
              <p:txBody>
                <a:bodyPr rtlCol="0" anchor="ctr"/>
                <a:lstStyle/>
                <a:p>
                  <a:endParaRPr lang="en-GB" dirty="0"/>
                </a:p>
              </p:txBody>
            </p:sp>
            <p:sp>
              <p:nvSpPr>
                <p:cNvPr id="96" name="Freihandform: Form 847">
                  <a:extLst>
                    <a:ext uri="{FF2B5EF4-FFF2-40B4-BE49-F238E27FC236}">
                      <a16:creationId xmlns:a16="http://schemas.microsoft.com/office/drawing/2014/main" id="{FB0ABD38-6EB2-414B-99BC-2809B21FFB60}"/>
                    </a:ext>
                  </a:extLst>
                </p:cNvPr>
                <p:cNvSpPr/>
                <p:nvPr/>
              </p:nvSpPr>
              <p:spPr>
                <a:xfrm>
                  <a:off x="8158578" y="3701488"/>
                  <a:ext cx="122159" cy="122040"/>
                </a:xfrm>
                <a:custGeom>
                  <a:avLst/>
                  <a:gdLst>
                    <a:gd name="connsiteX0" fmla="*/ 117145 w 122159"/>
                    <a:gd name="connsiteY0" fmla="*/ 122017 h 122040"/>
                    <a:gd name="connsiteX1" fmla="*/ 115600 w 122159"/>
                    <a:gd name="connsiteY1" fmla="*/ 121780 h 122040"/>
                    <a:gd name="connsiteX2" fmla="*/ 3340 w 122159"/>
                    <a:gd name="connsiteY2" fmla="*/ 84368 h 122040"/>
                    <a:gd name="connsiteX3" fmla="*/ 13 w 122159"/>
                    <a:gd name="connsiteY3" fmla="*/ 80089 h 122040"/>
                    <a:gd name="connsiteX4" fmla="*/ 2699 w 122159"/>
                    <a:gd name="connsiteY4" fmla="*/ 75359 h 122040"/>
                    <a:gd name="connsiteX5" fmla="*/ 51139 w 122159"/>
                    <a:gd name="connsiteY5" fmla="*/ 51139 h 122040"/>
                    <a:gd name="connsiteX6" fmla="*/ 75360 w 122159"/>
                    <a:gd name="connsiteY6" fmla="*/ 2699 h 122040"/>
                    <a:gd name="connsiteX7" fmla="*/ 80066 w 122159"/>
                    <a:gd name="connsiteY7" fmla="*/ 13 h 122040"/>
                    <a:gd name="connsiteX8" fmla="*/ 84368 w 122159"/>
                    <a:gd name="connsiteY8" fmla="*/ 3340 h 122040"/>
                    <a:gd name="connsiteX9" fmla="*/ 121447 w 122159"/>
                    <a:gd name="connsiteY9" fmla="*/ 114601 h 122040"/>
                    <a:gd name="connsiteX10" fmla="*/ 122160 w 122159"/>
                    <a:gd name="connsiteY10" fmla="*/ 117145 h 122040"/>
                    <a:gd name="connsiteX11" fmla="*/ 117216 w 122159"/>
                    <a:gd name="connsiteY11" fmla="*/ 122041 h 122040"/>
                    <a:gd name="connsiteX12" fmla="*/ 117145 w 122159"/>
                    <a:gd name="connsiteY12" fmla="*/ 122017 h 122040"/>
                    <a:gd name="connsiteX13" fmla="*/ 17625 w 122159"/>
                    <a:gd name="connsiteY13" fmla="*/ 78806 h 122040"/>
                    <a:gd name="connsiteX14" fmla="*/ 109420 w 122159"/>
                    <a:gd name="connsiteY14" fmla="*/ 109396 h 122040"/>
                    <a:gd name="connsiteX15" fmla="*/ 78830 w 122159"/>
                    <a:gd name="connsiteY15" fmla="*/ 17601 h 122040"/>
                    <a:gd name="connsiteX16" fmla="*/ 59149 w 122159"/>
                    <a:gd name="connsiteY16" fmla="*/ 56939 h 122040"/>
                    <a:gd name="connsiteX17" fmla="*/ 56963 w 122159"/>
                    <a:gd name="connsiteY17" fmla="*/ 59125 h 122040"/>
                    <a:gd name="connsiteX18" fmla="*/ 17625 w 122159"/>
                    <a:gd name="connsiteY18" fmla="*/ 78806 h 122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159" h="122040">
                      <a:moveTo>
                        <a:pt x="117145" y="122017"/>
                      </a:moveTo>
                      <a:cubicBezTo>
                        <a:pt x="116622" y="122017"/>
                        <a:pt x="116099" y="121946"/>
                        <a:pt x="115600" y="121780"/>
                      </a:cubicBezTo>
                      <a:lnTo>
                        <a:pt x="3340" y="84368"/>
                      </a:lnTo>
                      <a:cubicBezTo>
                        <a:pt x="1463" y="83726"/>
                        <a:pt x="155" y="82038"/>
                        <a:pt x="13" y="80089"/>
                      </a:cubicBezTo>
                      <a:cubicBezTo>
                        <a:pt x="-130" y="78116"/>
                        <a:pt x="940" y="76262"/>
                        <a:pt x="2699" y="75359"/>
                      </a:cubicBezTo>
                      <a:lnTo>
                        <a:pt x="51139" y="51139"/>
                      </a:lnTo>
                      <a:lnTo>
                        <a:pt x="75360" y="2699"/>
                      </a:lnTo>
                      <a:cubicBezTo>
                        <a:pt x="76239" y="940"/>
                        <a:pt x="78069" y="-130"/>
                        <a:pt x="80066" y="13"/>
                      </a:cubicBezTo>
                      <a:cubicBezTo>
                        <a:pt x="82038" y="155"/>
                        <a:pt x="83726" y="1463"/>
                        <a:pt x="84368" y="3340"/>
                      </a:cubicBezTo>
                      <a:lnTo>
                        <a:pt x="121447" y="114601"/>
                      </a:lnTo>
                      <a:cubicBezTo>
                        <a:pt x="121898" y="115338"/>
                        <a:pt x="122160" y="116218"/>
                        <a:pt x="122160" y="117145"/>
                      </a:cubicBezTo>
                      <a:cubicBezTo>
                        <a:pt x="122160" y="119854"/>
                        <a:pt x="120211" y="121922"/>
                        <a:pt x="117216" y="122041"/>
                      </a:cubicBezTo>
                      <a:cubicBezTo>
                        <a:pt x="117192" y="122017"/>
                        <a:pt x="117169" y="122017"/>
                        <a:pt x="117145" y="122017"/>
                      </a:cubicBezTo>
                      <a:close/>
                      <a:moveTo>
                        <a:pt x="17625" y="78806"/>
                      </a:moveTo>
                      <a:lnTo>
                        <a:pt x="109420" y="109396"/>
                      </a:lnTo>
                      <a:lnTo>
                        <a:pt x="78830" y="17601"/>
                      </a:lnTo>
                      <a:lnTo>
                        <a:pt x="59149" y="56939"/>
                      </a:lnTo>
                      <a:cubicBezTo>
                        <a:pt x="58674" y="57889"/>
                        <a:pt x="57913" y="58650"/>
                        <a:pt x="56963" y="59125"/>
                      </a:cubicBezTo>
                      <a:lnTo>
                        <a:pt x="17625" y="78806"/>
                      </a:lnTo>
                      <a:close/>
                    </a:path>
                  </a:pathLst>
                </a:custGeom>
                <a:solidFill>
                  <a:schemeClr val="accent1"/>
                </a:solidFill>
                <a:ln w="2376" cap="flat">
                  <a:noFill/>
                  <a:prstDash val="solid"/>
                  <a:miter/>
                </a:ln>
              </p:spPr>
              <p:txBody>
                <a:bodyPr rtlCol="0" anchor="ctr"/>
                <a:lstStyle/>
                <a:p>
                  <a:endParaRPr lang="en-GB" dirty="0"/>
                </a:p>
              </p:txBody>
            </p:sp>
          </p:grpSp>
        </p:grpSp>
      </p:grpSp>
      <p:grpSp>
        <p:nvGrpSpPr>
          <p:cNvPr id="132" name="Group 131">
            <a:extLst>
              <a:ext uri="{FF2B5EF4-FFF2-40B4-BE49-F238E27FC236}">
                <a16:creationId xmlns:a16="http://schemas.microsoft.com/office/drawing/2014/main" id="{04F21EC5-D381-405D-810F-4A7B6FCA4950}"/>
              </a:ext>
            </a:extLst>
          </p:cNvPr>
          <p:cNvGrpSpPr>
            <a:grpSpLocks noChangeAspect="1"/>
          </p:cNvGrpSpPr>
          <p:nvPr/>
        </p:nvGrpSpPr>
        <p:grpSpPr>
          <a:xfrm>
            <a:off x="590460" y="2391526"/>
            <a:ext cx="407180" cy="432000"/>
            <a:chOff x="2516956" y="3315413"/>
            <a:chExt cx="480621" cy="509918"/>
          </a:xfrm>
        </p:grpSpPr>
        <p:grpSp>
          <p:nvGrpSpPr>
            <p:cNvPr id="133" name="Group 132">
              <a:extLst>
                <a:ext uri="{FF2B5EF4-FFF2-40B4-BE49-F238E27FC236}">
                  <a16:creationId xmlns:a16="http://schemas.microsoft.com/office/drawing/2014/main" id="{3A174A74-C64B-41BA-83EF-BB0BD9BB6223}"/>
                </a:ext>
              </a:extLst>
            </p:cNvPr>
            <p:cNvGrpSpPr/>
            <p:nvPr/>
          </p:nvGrpSpPr>
          <p:grpSpPr>
            <a:xfrm>
              <a:off x="2667327" y="3603176"/>
              <a:ext cx="179825" cy="222155"/>
              <a:chOff x="2667328" y="3603175"/>
              <a:chExt cx="179825" cy="222156"/>
            </a:xfrm>
          </p:grpSpPr>
          <p:sp>
            <p:nvSpPr>
              <p:cNvPr id="135" name="Freihandform: Form 378">
                <a:extLst>
                  <a:ext uri="{FF2B5EF4-FFF2-40B4-BE49-F238E27FC236}">
                    <a16:creationId xmlns:a16="http://schemas.microsoft.com/office/drawing/2014/main" id="{AD485C2B-6C30-465C-8813-78F543A565EE}"/>
                  </a:ext>
                </a:extLst>
              </p:cNvPr>
              <p:cNvSpPr/>
              <p:nvPr/>
            </p:nvSpPr>
            <p:spPr>
              <a:xfrm>
                <a:off x="2667328" y="3635763"/>
                <a:ext cx="9895" cy="155946"/>
              </a:xfrm>
              <a:custGeom>
                <a:avLst/>
                <a:gdLst>
                  <a:gd name="connsiteX0" fmla="*/ 4948 w 9895"/>
                  <a:gd name="connsiteY0" fmla="*/ 155947 h 155946"/>
                  <a:gd name="connsiteX1" fmla="*/ 0 w 9895"/>
                  <a:gd name="connsiteY1" fmla="*/ 150999 h 155946"/>
                  <a:gd name="connsiteX2" fmla="*/ 0 w 9895"/>
                  <a:gd name="connsiteY2" fmla="*/ 4947 h 155946"/>
                  <a:gd name="connsiteX3" fmla="*/ 4948 w 9895"/>
                  <a:gd name="connsiteY3" fmla="*/ 0 h 155946"/>
                  <a:gd name="connsiteX4" fmla="*/ 9895 w 9895"/>
                  <a:gd name="connsiteY4" fmla="*/ 4947 h 155946"/>
                  <a:gd name="connsiteX5" fmla="*/ 9895 w 9895"/>
                  <a:gd name="connsiteY5" fmla="*/ 150999 h 155946"/>
                  <a:gd name="connsiteX6" fmla="*/ 4948 w 9895"/>
                  <a:gd name="connsiteY6" fmla="*/ 155947 h 15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95" h="155946">
                    <a:moveTo>
                      <a:pt x="4948" y="155947"/>
                    </a:moveTo>
                    <a:cubicBezTo>
                      <a:pt x="2221" y="155947"/>
                      <a:pt x="0" y="153725"/>
                      <a:pt x="0" y="150999"/>
                    </a:cubicBezTo>
                    <a:lnTo>
                      <a:pt x="0" y="4947"/>
                    </a:lnTo>
                    <a:cubicBezTo>
                      <a:pt x="0" y="2221"/>
                      <a:pt x="2221" y="0"/>
                      <a:pt x="4948" y="0"/>
                    </a:cubicBezTo>
                    <a:cubicBezTo>
                      <a:pt x="7674" y="0"/>
                      <a:pt x="9895" y="2221"/>
                      <a:pt x="9895" y="4947"/>
                    </a:cubicBezTo>
                    <a:lnTo>
                      <a:pt x="9895" y="150999"/>
                    </a:lnTo>
                    <a:cubicBezTo>
                      <a:pt x="9920" y="153725"/>
                      <a:pt x="7699" y="155947"/>
                      <a:pt x="4948" y="155947"/>
                    </a:cubicBezTo>
                    <a:close/>
                  </a:path>
                </a:pathLst>
              </a:custGeom>
              <a:solidFill>
                <a:schemeClr val="accent1"/>
              </a:solidFill>
              <a:ln w="2521" cap="flat">
                <a:noFill/>
                <a:prstDash val="solid"/>
                <a:miter/>
              </a:ln>
            </p:spPr>
            <p:txBody>
              <a:bodyPr rtlCol="0" anchor="ctr"/>
              <a:lstStyle/>
              <a:p>
                <a:endParaRPr lang="en-GB" dirty="0"/>
              </a:p>
            </p:txBody>
          </p:sp>
          <p:sp>
            <p:nvSpPr>
              <p:cNvPr id="136" name="Freihandform: Form 379">
                <a:extLst>
                  <a:ext uri="{FF2B5EF4-FFF2-40B4-BE49-F238E27FC236}">
                    <a16:creationId xmlns:a16="http://schemas.microsoft.com/office/drawing/2014/main" id="{92546CC4-966A-465E-A306-4BD404EBE714}"/>
                  </a:ext>
                </a:extLst>
              </p:cNvPr>
              <p:cNvSpPr/>
              <p:nvPr/>
            </p:nvSpPr>
            <p:spPr>
              <a:xfrm>
                <a:off x="2837259" y="3635763"/>
                <a:ext cx="9894" cy="155946"/>
              </a:xfrm>
              <a:custGeom>
                <a:avLst/>
                <a:gdLst>
                  <a:gd name="connsiteX0" fmla="*/ 4947 w 9894"/>
                  <a:gd name="connsiteY0" fmla="*/ 155947 h 155946"/>
                  <a:gd name="connsiteX1" fmla="*/ 0 w 9894"/>
                  <a:gd name="connsiteY1" fmla="*/ 150999 h 155946"/>
                  <a:gd name="connsiteX2" fmla="*/ 0 w 9894"/>
                  <a:gd name="connsiteY2" fmla="*/ 4947 h 155946"/>
                  <a:gd name="connsiteX3" fmla="*/ 4947 w 9894"/>
                  <a:gd name="connsiteY3" fmla="*/ 0 h 155946"/>
                  <a:gd name="connsiteX4" fmla="*/ 9895 w 9894"/>
                  <a:gd name="connsiteY4" fmla="*/ 4947 h 155946"/>
                  <a:gd name="connsiteX5" fmla="*/ 9895 w 9894"/>
                  <a:gd name="connsiteY5" fmla="*/ 150999 h 155946"/>
                  <a:gd name="connsiteX6" fmla="*/ 4947 w 9894"/>
                  <a:gd name="connsiteY6" fmla="*/ 155947 h 15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94" h="155946">
                    <a:moveTo>
                      <a:pt x="4947" y="155947"/>
                    </a:moveTo>
                    <a:cubicBezTo>
                      <a:pt x="2221" y="155947"/>
                      <a:pt x="0" y="153725"/>
                      <a:pt x="0" y="150999"/>
                    </a:cubicBezTo>
                    <a:lnTo>
                      <a:pt x="0" y="4947"/>
                    </a:lnTo>
                    <a:cubicBezTo>
                      <a:pt x="0" y="2221"/>
                      <a:pt x="2221" y="0"/>
                      <a:pt x="4947" y="0"/>
                    </a:cubicBezTo>
                    <a:cubicBezTo>
                      <a:pt x="7674" y="0"/>
                      <a:pt x="9895" y="2221"/>
                      <a:pt x="9895" y="4947"/>
                    </a:cubicBezTo>
                    <a:lnTo>
                      <a:pt x="9895" y="150999"/>
                    </a:lnTo>
                    <a:cubicBezTo>
                      <a:pt x="9895" y="153725"/>
                      <a:pt x="7674" y="155947"/>
                      <a:pt x="4947" y="155947"/>
                    </a:cubicBezTo>
                    <a:close/>
                  </a:path>
                </a:pathLst>
              </a:custGeom>
              <a:solidFill>
                <a:schemeClr val="accent1"/>
              </a:solidFill>
              <a:ln w="2521" cap="flat">
                <a:noFill/>
                <a:prstDash val="solid"/>
                <a:miter/>
              </a:ln>
            </p:spPr>
            <p:txBody>
              <a:bodyPr rtlCol="0" anchor="ctr"/>
              <a:lstStyle/>
              <a:p>
                <a:endParaRPr lang="en-GB" dirty="0"/>
              </a:p>
            </p:txBody>
          </p:sp>
          <p:sp>
            <p:nvSpPr>
              <p:cNvPr id="137" name="Freihandform: Form 380">
                <a:extLst>
                  <a:ext uri="{FF2B5EF4-FFF2-40B4-BE49-F238E27FC236}">
                    <a16:creationId xmlns:a16="http://schemas.microsoft.com/office/drawing/2014/main" id="{DABB04B3-96FE-4104-AC8B-C1BE7E73BF8D}"/>
                  </a:ext>
                </a:extLst>
              </p:cNvPr>
              <p:cNvSpPr/>
              <p:nvPr/>
            </p:nvSpPr>
            <p:spPr>
              <a:xfrm>
                <a:off x="2667328" y="3603175"/>
                <a:ext cx="179320" cy="74212"/>
              </a:xfrm>
              <a:custGeom>
                <a:avLst/>
                <a:gdLst>
                  <a:gd name="connsiteX0" fmla="*/ 89661 w 179320"/>
                  <a:gd name="connsiteY0" fmla="*/ 74212 h 74212"/>
                  <a:gd name="connsiteX1" fmla="*/ 0 w 179320"/>
                  <a:gd name="connsiteY1" fmla="*/ 37106 h 74212"/>
                  <a:gd name="connsiteX2" fmla="*/ 89661 w 179320"/>
                  <a:gd name="connsiteY2" fmla="*/ 0 h 74212"/>
                  <a:gd name="connsiteX3" fmla="*/ 179321 w 179320"/>
                  <a:gd name="connsiteY3" fmla="*/ 37106 h 74212"/>
                  <a:gd name="connsiteX4" fmla="*/ 89661 w 179320"/>
                  <a:gd name="connsiteY4" fmla="*/ 74212 h 74212"/>
                  <a:gd name="connsiteX5" fmla="*/ 89661 w 179320"/>
                  <a:gd name="connsiteY5" fmla="*/ 9895 h 74212"/>
                  <a:gd name="connsiteX6" fmla="*/ 9895 w 179320"/>
                  <a:gd name="connsiteY6" fmla="*/ 37106 h 74212"/>
                  <a:gd name="connsiteX7" fmla="*/ 89661 w 179320"/>
                  <a:gd name="connsiteY7" fmla="*/ 64317 h 74212"/>
                  <a:gd name="connsiteX8" fmla="*/ 169426 w 179320"/>
                  <a:gd name="connsiteY8" fmla="*/ 37106 h 74212"/>
                  <a:gd name="connsiteX9" fmla="*/ 89661 w 179320"/>
                  <a:gd name="connsiteY9" fmla="*/ 9895 h 74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320" h="74212">
                    <a:moveTo>
                      <a:pt x="89661" y="74212"/>
                    </a:moveTo>
                    <a:cubicBezTo>
                      <a:pt x="46193" y="74212"/>
                      <a:pt x="0" y="61212"/>
                      <a:pt x="0" y="37106"/>
                    </a:cubicBezTo>
                    <a:cubicBezTo>
                      <a:pt x="0" y="13000"/>
                      <a:pt x="46193" y="0"/>
                      <a:pt x="89661" y="0"/>
                    </a:cubicBezTo>
                    <a:cubicBezTo>
                      <a:pt x="133128" y="0"/>
                      <a:pt x="179321" y="13000"/>
                      <a:pt x="179321" y="37106"/>
                    </a:cubicBezTo>
                    <a:cubicBezTo>
                      <a:pt x="179321" y="61212"/>
                      <a:pt x="133128" y="74212"/>
                      <a:pt x="89661" y="74212"/>
                    </a:cubicBezTo>
                    <a:close/>
                    <a:moveTo>
                      <a:pt x="89661" y="9895"/>
                    </a:moveTo>
                    <a:cubicBezTo>
                      <a:pt x="42659" y="9895"/>
                      <a:pt x="9895" y="24233"/>
                      <a:pt x="9895" y="37106"/>
                    </a:cubicBezTo>
                    <a:cubicBezTo>
                      <a:pt x="9895" y="49980"/>
                      <a:pt x="42659" y="64317"/>
                      <a:pt x="89661" y="64317"/>
                    </a:cubicBezTo>
                    <a:cubicBezTo>
                      <a:pt x="136662" y="64317"/>
                      <a:pt x="169426" y="49980"/>
                      <a:pt x="169426" y="37106"/>
                    </a:cubicBezTo>
                    <a:cubicBezTo>
                      <a:pt x="169426" y="24233"/>
                      <a:pt x="136687" y="9895"/>
                      <a:pt x="89661" y="9895"/>
                    </a:cubicBezTo>
                    <a:close/>
                  </a:path>
                </a:pathLst>
              </a:custGeom>
              <a:solidFill>
                <a:schemeClr val="accent1"/>
              </a:solidFill>
              <a:ln w="2521" cap="flat">
                <a:noFill/>
                <a:prstDash val="solid"/>
                <a:miter/>
              </a:ln>
            </p:spPr>
            <p:txBody>
              <a:bodyPr rtlCol="0" anchor="ctr"/>
              <a:lstStyle/>
              <a:p>
                <a:endParaRPr lang="en-GB" dirty="0"/>
              </a:p>
            </p:txBody>
          </p:sp>
          <p:sp>
            <p:nvSpPr>
              <p:cNvPr id="138" name="Freihandform: Form 381">
                <a:extLst>
                  <a:ext uri="{FF2B5EF4-FFF2-40B4-BE49-F238E27FC236}">
                    <a16:creationId xmlns:a16="http://schemas.microsoft.com/office/drawing/2014/main" id="{772447B9-AE33-4A6F-AA34-2A0AA68EF892}"/>
                  </a:ext>
                </a:extLst>
              </p:cNvPr>
              <p:cNvSpPr/>
              <p:nvPr/>
            </p:nvSpPr>
            <p:spPr>
              <a:xfrm>
                <a:off x="2667328" y="3783278"/>
                <a:ext cx="179320" cy="42053"/>
              </a:xfrm>
              <a:custGeom>
                <a:avLst/>
                <a:gdLst>
                  <a:gd name="connsiteX0" fmla="*/ 89661 w 179320"/>
                  <a:gd name="connsiteY0" fmla="*/ 42054 h 42053"/>
                  <a:gd name="connsiteX1" fmla="*/ 0 w 179320"/>
                  <a:gd name="connsiteY1" fmla="*/ 4947 h 42053"/>
                  <a:gd name="connsiteX2" fmla="*/ 4948 w 179320"/>
                  <a:gd name="connsiteY2" fmla="*/ 0 h 42053"/>
                  <a:gd name="connsiteX3" fmla="*/ 9895 w 179320"/>
                  <a:gd name="connsiteY3" fmla="*/ 4947 h 42053"/>
                  <a:gd name="connsiteX4" fmla="*/ 89661 w 179320"/>
                  <a:gd name="connsiteY4" fmla="*/ 32159 h 42053"/>
                  <a:gd name="connsiteX5" fmla="*/ 169426 w 179320"/>
                  <a:gd name="connsiteY5" fmla="*/ 4947 h 42053"/>
                  <a:gd name="connsiteX6" fmla="*/ 174373 w 179320"/>
                  <a:gd name="connsiteY6" fmla="*/ 0 h 42053"/>
                  <a:gd name="connsiteX7" fmla="*/ 179321 w 179320"/>
                  <a:gd name="connsiteY7" fmla="*/ 4947 h 42053"/>
                  <a:gd name="connsiteX8" fmla="*/ 89661 w 179320"/>
                  <a:gd name="connsiteY8" fmla="*/ 42054 h 4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20" h="42053">
                    <a:moveTo>
                      <a:pt x="89661" y="42054"/>
                    </a:moveTo>
                    <a:cubicBezTo>
                      <a:pt x="46193" y="42054"/>
                      <a:pt x="0" y="29054"/>
                      <a:pt x="0" y="4947"/>
                    </a:cubicBezTo>
                    <a:cubicBezTo>
                      <a:pt x="0" y="2221"/>
                      <a:pt x="2221" y="0"/>
                      <a:pt x="4948" y="0"/>
                    </a:cubicBezTo>
                    <a:cubicBezTo>
                      <a:pt x="7674" y="0"/>
                      <a:pt x="9895" y="2221"/>
                      <a:pt x="9895" y="4947"/>
                    </a:cubicBezTo>
                    <a:cubicBezTo>
                      <a:pt x="9895" y="17821"/>
                      <a:pt x="42659" y="32159"/>
                      <a:pt x="89661" y="32159"/>
                    </a:cubicBezTo>
                    <a:cubicBezTo>
                      <a:pt x="136662" y="32159"/>
                      <a:pt x="169426" y="17821"/>
                      <a:pt x="169426" y="4947"/>
                    </a:cubicBezTo>
                    <a:cubicBezTo>
                      <a:pt x="169426" y="2221"/>
                      <a:pt x="171647" y="0"/>
                      <a:pt x="174373" y="0"/>
                    </a:cubicBezTo>
                    <a:cubicBezTo>
                      <a:pt x="177100" y="0"/>
                      <a:pt x="179321" y="2221"/>
                      <a:pt x="179321" y="4947"/>
                    </a:cubicBezTo>
                    <a:cubicBezTo>
                      <a:pt x="179321" y="29054"/>
                      <a:pt x="133128" y="42054"/>
                      <a:pt x="89661" y="42054"/>
                    </a:cubicBezTo>
                    <a:close/>
                  </a:path>
                </a:pathLst>
              </a:custGeom>
              <a:solidFill>
                <a:schemeClr val="accent1"/>
              </a:solidFill>
              <a:ln w="2521" cap="flat">
                <a:noFill/>
                <a:prstDash val="solid"/>
                <a:miter/>
              </a:ln>
            </p:spPr>
            <p:txBody>
              <a:bodyPr rtlCol="0" anchor="ctr"/>
              <a:lstStyle/>
              <a:p>
                <a:endParaRPr lang="en-GB" dirty="0"/>
              </a:p>
            </p:txBody>
          </p:sp>
          <p:sp>
            <p:nvSpPr>
              <p:cNvPr id="139" name="Freihandform: Form 382">
                <a:extLst>
                  <a:ext uri="{FF2B5EF4-FFF2-40B4-BE49-F238E27FC236}">
                    <a16:creationId xmlns:a16="http://schemas.microsoft.com/office/drawing/2014/main" id="{C241D6E9-4CFB-43DE-A413-F7F3CE1156EC}"/>
                  </a:ext>
                </a:extLst>
              </p:cNvPr>
              <p:cNvSpPr/>
              <p:nvPr/>
            </p:nvSpPr>
            <p:spPr>
              <a:xfrm>
                <a:off x="2667328" y="3733980"/>
                <a:ext cx="179320" cy="42053"/>
              </a:xfrm>
              <a:custGeom>
                <a:avLst/>
                <a:gdLst>
                  <a:gd name="connsiteX0" fmla="*/ 89661 w 179320"/>
                  <a:gd name="connsiteY0" fmla="*/ 42054 h 42053"/>
                  <a:gd name="connsiteX1" fmla="*/ 0 w 179320"/>
                  <a:gd name="connsiteY1" fmla="*/ 4948 h 42053"/>
                  <a:gd name="connsiteX2" fmla="*/ 4948 w 179320"/>
                  <a:gd name="connsiteY2" fmla="*/ 0 h 42053"/>
                  <a:gd name="connsiteX3" fmla="*/ 9895 w 179320"/>
                  <a:gd name="connsiteY3" fmla="*/ 4948 h 42053"/>
                  <a:gd name="connsiteX4" fmla="*/ 89661 w 179320"/>
                  <a:gd name="connsiteY4" fmla="*/ 32159 h 42053"/>
                  <a:gd name="connsiteX5" fmla="*/ 169426 w 179320"/>
                  <a:gd name="connsiteY5" fmla="*/ 4948 h 42053"/>
                  <a:gd name="connsiteX6" fmla="*/ 174373 w 179320"/>
                  <a:gd name="connsiteY6" fmla="*/ 0 h 42053"/>
                  <a:gd name="connsiteX7" fmla="*/ 179321 w 179320"/>
                  <a:gd name="connsiteY7" fmla="*/ 4948 h 42053"/>
                  <a:gd name="connsiteX8" fmla="*/ 89661 w 179320"/>
                  <a:gd name="connsiteY8" fmla="*/ 42054 h 4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20" h="42053">
                    <a:moveTo>
                      <a:pt x="89661" y="42054"/>
                    </a:moveTo>
                    <a:cubicBezTo>
                      <a:pt x="46193" y="42054"/>
                      <a:pt x="0" y="29054"/>
                      <a:pt x="0" y="4948"/>
                    </a:cubicBezTo>
                    <a:cubicBezTo>
                      <a:pt x="0" y="2221"/>
                      <a:pt x="2221" y="0"/>
                      <a:pt x="4948" y="0"/>
                    </a:cubicBezTo>
                    <a:cubicBezTo>
                      <a:pt x="7674" y="0"/>
                      <a:pt x="9895" y="2221"/>
                      <a:pt x="9895" y="4948"/>
                    </a:cubicBezTo>
                    <a:cubicBezTo>
                      <a:pt x="9895" y="17821"/>
                      <a:pt x="42659" y="32159"/>
                      <a:pt x="89661" y="32159"/>
                    </a:cubicBezTo>
                    <a:cubicBezTo>
                      <a:pt x="136662" y="32159"/>
                      <a:pt x="169426" y="17821"/>
                      <a:pt x="169426" y="4948"/>
                    </a:cubicBezTo>
                    <a:cubicBezTo>
                      <a:pt x="169426" y="2221"/>
                      <a:pt x="171647" y="0"/>
                      <a:pt x="174373" y="0"/>
                    </a:cubicBezTo>
                    <a:cubicBezTo>
                      <a:pt x="177100" y="0"/>
                      <a:pt x="179321" y="2221"/>
                      <a:pt x="179321" y="4948"/>
                    </a:cubicBezTo>
                    <a:cubicBezTo>
                      <a:pt x="179321" y="29029"/>
                      <a:pt x="133128" y="42054"/>
                      <a:pt x="89661" y="42054"/>
                    </a:cubicBezTo>
                    <a:close/>
                  </a:path>
                </a:pathLst>
              </a:custGeom>
              <a:solidFill>
                <a:schemeClr val="accent1"/>
              </a:solidFill>
              <a:ln w="2521" cap="flat">
                <a:noFill/>
                <a:prstDash val="solid"/>
                <a:miter/>
              </a:ln>
            </p:spPr>
            <p:txBody>
              <a:bodyPr rtlCol="0" anchor="ctr"/>
              <a:lstStyle/>
              <a:p>
                <a:endParaRPr lang="en-GB" dirty="0"/>
              </a:p>
            </p:txBody>
          </p:sp>
          <p:sp>
            <p:nvSpPr>
              <p:cNvPr id="140" name="Freihandform: Form 383">
                <a:extLst>
                  <a:ext uri="{FF2B5EF4-FFF2-40B4-BE49-F238E27FC236}">
                    <a16:creationId xmlns:a16="http://schemas.microsoft.com/office/drawing/2014/main" id="{7EC96193-6282-43EC-AB71-53276B28E2E1}"/>
                  </a:ext>
                </a:extLst>
              </p:cNvPr>
              <p:cNvSpPr/>
              <p:nvPr/>
            </p:nvSpPr>
            <p:spPr>
              <a:xfrm>
                <a:off x="2667328" y="3684657"/>
                <a:ext cx="179320" cy="42053"/>
              </a:xfrm>
              <a:custGeom>
                <a:avLst/>
                <a:gdLst>
                  <a:gd name="connsiteX0" fmla="*/ 89661 w 179320"/>
                  <a:gd name="connsiteY0" fmla="*/ 42054 h 42053"/>
                  <a:gd name="connsiteX1" fmla="*/ 0 w 179320"/>
                  <a:gd name="connsiteY1" fmla="*/ 4947 h 42053"/>
                  <a:gd name="connsiteX2" fmla="*/ 4948 w 179320"/>
                  <a:gd name="connsiteY2" fmla="*/ 0 h 42053"/>
                  <a:gd name="connsiteX3" fmla="*/ 9895 w 179320"/>
                  <a:gd name="connsiteY3" fmla="*/ 4947 h 42053"/>
                  <a:gd name="connsiteX4" fmla="*/ 89661 w 179320"/>
                  <a:gd name="connsiteY4" fmla="*/ 32159 h 42053"/>
                  <a:gd name="connsiteX5" fmla="*/ 169426 w 179320"/>
                  <a:gd name="connsiteY5" fmla="*/ 4947 h 42053"/>
                  <a:gd name="connsiteX6" fmla="*/ 174373 w 179320"/>
                  <a:gd name="connsiteY6" fmla="*/ 0 h 42053"/>
                  <a:gd name="connsiteX7" fmla="*/ 179321 w 179320"/>
                  <a:gd name="connsiteY7" fmla="*/ 4947 h 42053"/>
                  <a:gd name="connsiteX8" fmla="*/ 89661 w 179320"/>
                  <a:gd name="connsiteY8" fmla="*/ 42054 h 42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320" h="42053">
                    <a:moveTo>
                      <a:pt x="89661" y="42054"/>
                    </a:moveTo>
                    <a:cubicBezTo>
                      <a:pt x="46193" y="42054"/>
                      <a:pt x="0" y="29054"/>
                      <a:pt x="0" y="4947"/>
                    </a:cubicBezTo>
                    <a:cubicBezTo>
                      <a:pt x="0" y="2221"/>
                      <a:pt x="2221" y="0"/>
                      <a:pt x="4948" y="0"/>
                    </a:cubicBezTo>
                    <a:cubicBezTo>
                      <a:pt x="7674" y="0"/>
                      <a:pt x="9895" y="2221"/>
                      <a:pt x="9895" y="4947"/>
                    </a:cubicBezTo>
                    <a:cubicBezTo>
                      <a:pt x="9895" y="17821"/>
                      <a:pt x="42659" y="32159"/>
                      <a:pt x="89661" y="32159"/>
                    </a:cubicBezTo>
                    <a:cubicBezTo>
                      <a:pt x="136662" y="32159"/>
                      <a:pt x="169426" y="17821"/>
                      <a:pt x="169426" y="4947"/>
                    </a:cubicBezTo>
                    <a:cubicBezTo>
                      <a:pt x="169426" y="2221"/>
                      <a:pt x="171647" y="0"/>
                      <a:pt x="174373" y="0"/>
                    </a:cubicBezTo>
                    <a:cubicBezTo>
                      <a:pt x="177100" y="0"/>
                      <a:pt x="179321" y="2221"/>
                      <a:pt x="179321" y="4947"/>
                    </a:cubicBezTo>
                    <a:cubicBezTo>
                      <a:pt x="179321" y="29054"/>
                      <a:pt x="133128" y="42054"/>
                      <a:pt x="89661" y="42054"/>
                    </a:cubicBezTo>
                    <a:close/>
                  </a:path>
                </a:pathLst>
              </a:custGeom>
              <a:solidFill>
                <a:schemeClr val="accent1"/>
              </a:solidFill>
              <a:ln w="2521" cap="flat">
                <a:noFill/>
                <a:prstDash val="solid"/>
                <a:miter/>
              </a:ln>
            </p:spPr>
            <p:txBody>
              <a:bodyPr rtlCol="0" anchor="ctr"/>
              <a:lstStyle/>
              <a:p>
                <a:endParaRPr lang="en-GB" dirty="0"/>
              </a:p>
            </p:txBody>
          </p:sp>
        </p:grpSp>
        <p:sp>
          <p:nvSpPr>
            <p:cNvPr id="134" name="Freihandform: Form 384">
              <a:extLst>
                <a:ext uri="{FF2B5EF4-FFF2-40B4-BE49-F238E27FC236}">
                  <a16:creationId xmlns:a16="http://schemas.microsoft.com/office/drawing/2014/main" id="{07F0B612-7E72-425A-88FB-5D015A8A2FD1}"/>
                </a:ext>
              </a:extLst>
            </p:cNvPr>
            <p:cNvSpPr/>
            <p:nvPr/>
          </p:nvSpPr>
          <p:spPr>
            <a:xfrm>
              <a:off x="2516956" y="3315413"/>
              <a:ext cx="480621" cy="458323"/>
            </a:xfrm>
            <a:custGeom>
              <a:avLst/>
              <a:gdLst>
                <a:gd name="connsiteX0" fmla="*/ 99661 w 480621"/>
                <a:gd name="connsiteY0" fmla="*/ 458324 h 458323"/>
                <a:gd name="connsiteX1" fmla="*/ 92164 w 480621"/>
                <a:gd name="connsiteY1" fmla="*/ 455875 h 458323"/>
                <a:gd name="connsiteX2" fmla="*/ 87090 w 480621"/>
                <a:gd name="connsiteY2" fmla="*/ 443380 h 458323"/>
                <a:gd name="connsiteX3" fmla="*/ 112812 w 480621"/>
                <a:gd name="connsiteY3" fmla="*/ 293416 h 458323"/>
                <a:gd name="connsiteX4" fmla="*/ 3867 w 480621"/>
                <a:gd name="connsiteY4" fmla="*/ 187222 h 458323"/>
                <a:gd name="connsiteX5" fmla="*/ 636 w 480621"/>
                <a:gd name="connsiteY5" fmla="*/ 174121 h 458323"/>
                <a:gd name="connsiteX6" fmla="*/ 10934 w 480621"/>
                <a:gd name="connsiteY6" fmla="*/ 165438 h 458323"/>
                <a:gd name="connsiteX7" fmla="*/ 161504 w 480621"/>
                <a:gd name="connsiteY7" fmla="*/ 143553 h 458323"/>
                <a:gd name="connsiteX8" fmla="*/ 228851 w 480621"/>
                <a:gd name="connsiteY8" fmla="*/ 7118 h 458323"/>
                <a:gd name="connsiteX9" fmla="*/ 240311 w 480621"/>
                <a:gd name="connsiteY9" fmla="*/ 0 h 458323"/>
                <a:gd name="connsiteX10" fmla="*/ 251771 w 480621"/>
                <a:gd name="connsiteY10" fmla="*/ 7118 h 458323"/>
                <a:gd name="connsiteX11" fmla="*/ 319117 w 480621"/>
                <a:gd name="connsiteY11" fmla="*/ 143553 h 458323"/>
                <a:gd name="connsiteX12" fmla="*/ 469687 w 480621"/>
                <a:gd name="connsiteY12" fmla="*/ 165438 h 458323"/>
                <a:gd name="connsiteX13" fmla="*/ 479986 w 480621"/>
                <a:gd name="connsiteY13" fmla="*/ 174121 h 458323"/>
                <a:gd name="connsiteX14" fmla="*/ 476755 w 480621"/>
                <a:gd name="connsiteY14" fmla="*/ 187222 h 458323"/>
                <a:gd name="connsiteX15" fmla="*/ 367784 w 480621"/>
                <a:gd name="connsiteY15" fmla="*/ 293416 h 458323"/>
                <a:gd name="connsiteX16" fmla="*/ 393506 w 480621"/>
                <a:gd name="connsiteY16" fmla="*/ 443380 h 458323"/>
                <a:gd name="connsiteX17" fmla="*/ 388432 w 480621"/>
                <a:gd name="connsiteY17" fmla="*/ 455875 h 458323"/>
                <a:gd name="connsiteX18" fmla="*/ 374978 w 480621"/>
                <a:gd name="connsiteY18" fmla="*/ 456834 h 458323"/>
                <a:gd name="connsiteX19" fmla="*/ 344662 w 480621"/>
                <a:gd name="connsiteY19" fmla="*/ 440906 h 458323"/>
                <a:gd name="connsiteX20" fmla="*/ 342592 w 480621"/>
                <a:gd name="connsiteY20" fmla="*/ 434217 h 458323"/>
                <a:gd name="connsiteX21" fmla="*/ 349281 w 480621"/>
                <a:gd name="connsiteY21" fmla="*/ 432147 h 458323"/>
                <a:gd name="connsiteX22" fmla="*/ 379597 w 480621"/>
                <a:gd name="connsiteY22" fmla="*/ 448075 h 458323"/>
                <a:gd name="connsiteX23" fmla="*/ 382627 w 480621"/>
                <a:gd name="connsiteY23" fmla="*/ 447873 h 458323"/>
                <a:gd name="connsiteX24" fmla="*/ 383762 w 480621"/>
                <a:gd name="connsiteY24" fmla="*/ 445071 h 458323"/>
                <a:gd name="connsiteX25" fmla="*/ 357611 w 480621"/>
                <a:gd name="connsiteY25" fmla="*/ 292532 h 458323"/>
                <a:gd name="connsiteX26" fmla="*/ 359025 w 480621"/>
                <a:gd name="connsiteY26" fmla="*/ 288140 h 458323"/>
                <a:gd name="connsiteX27" fmla="*/ 469838 w 480621"/>
                <a:gd name="connsiteY27" fmla="*/ 180129 h 458323"/>
                <a:gd name="connsiteX28" fmla="*/ 470570 w 480621"/>
                <a:gd name="connsiteY28" fmla="*/ 177201 h 458323"/>
                <a:gd name="connsiteX29" fmla="*/ 468248 w 480621"/>
                <a:gd name="connsiteY29" fmla="*/ 175257 h 458323"/>
                <a:gd name="connsiteX30" fmla="*/ 315104 w 480621"/>
                <a:gd name="connsiteY30" fmla="*/ 153018 h 458323"/>
                <a:gd name="connsiteX31" fmla="*/ 311368 w 480621"/>
                <a:gd name="connsiteY31" fmla="*/ 150318 h 458323"/>
                <a:gd name="connsiteX32" fmla="*/ 242886 w 480621"/>
                <a:gd name="connsiteY32" fmla="*/ 11536 h 458323"/>
                <a:gd name="connsiteX33" fmla="*/ 240311 w 480621"/>
                <a:gd name="connsiteY33" fmla="*/ 9945 h 458323"/>
                <a:gd name="connsiteX34" fmla="*/ 237736 w 480621"/>
                <a:gd name="connsiteY34" fmla="*/ 11536 h 458323"/>
                <a:gd name="connsiteX35" fmla="*/ 169254 w 480621"/>
                <a:gd name="connsiteY35" fmla="*/ 150318 h 458323"/>
                <a:gd name="connsiteX36" fmla="*/ 165518 w 480621"/>
                <a:gd name="connsiteY36" fmla="*/ 153018 h 458323"/>
                <a:gd name="connsiteX37" fmla="*/ 12373 w 480621"/>
                <a:gd name="connsiteY37" fmla="*/ 175257 h 458323"/>
                <a:gd name="connsiteX38" fmla="*/ 10076 w 480621"/>
                <a:gd name="connsiteY38" fmla="*/ 177201 h 458323"/>
                <a:gd name="connsiteX39" fmla="*/ 10808 w 480621"/>
                <a:gd name="connsiteY39" fmla="*/ 180129 h 458323"/>
                <a:gd name="connsiteX40" fmla="*/ 121622 w 480621"/>
                <a:gd name="connsiteY40" fmla="*/ 288140 h 458323"/>
                <a:gd name="connsiteX41" fmla="*/ 123035 w 480621"/>
                <a:gd name="connsiteY41" fmla="*/ 292532 h 458323"/>
                <a:gd name="connsiteX42" fmla="*/ 96884 w 480621"/>
                <a:gd name="connsiteY42" fmla="*/ 445071 h 458323"/>
                <a:gd name="connsiteX43" fmla="*/ 98020 w 480621"/>
                <a:gd name="connsiteY43" fmla="*/ 447873 h 458323"/>
                <a:gd name="connsiteX44" fmla="*/ 101049 w 480621"/>
                <a:gd name="connsiteY44" fmla="*/ 448075 h 458323"/>
                <a:gd name="connsiteX45" fmla="*/ 132728 w 480621"/>
                <a:gd name="connsiteY45" fmla="*/ 431415 h 458323"/>
                <a:gd name="connsiteX46" fmla="*/ 139417 w 480621"/>
                <a:gd name="connsiteY46" fmla="*/ 433485 h 458323"/>
                <a:gd name="connsiteX47" fmla="*/ 137348 w 480621"/>
                <a:gd name="connsiteY47" fmla="*/ 440174 h 458323"/>
                <a:gd name="connsiteX48" fmla="*/ 105669 w 480621"/>
                <a:gd name="connsiteY48" fmla="*/ 456834 h 458323"/>
                <a:gd name="connsiteX49" fmla="*/ 99661 w 480621"/>
                <a:gd name="connsiteY49" fmla="*/ 458324 h 4583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80621" h="458323">
                  <a:moveTo>
                    <a:pt x="99661" y="458324"/>
                  </a:moveTo>
                  <a:cubicBezTo>
                    <a:pt x="97036" y="458324"/>
                    <a:pt x="94411" y="457490"/>
                    <a:pt x="92164" y="455875"/>
                  </a:cubicBezTo>
                  <a:cubicBezTo>
                    <a:pt x="88201" y="452997"/>
                    <a:pt x="86257" y="448201"/>
                    <a:pt x="87090" y="443380"/>
                  </a:cubicBezTo>
                  <a:lnTo>
                    <a:pt x="112812" y="293416"/>
                  </a:lnTo>
                  <a:lnTo>
                    <a:pt x="3867" y="187222"/>
                  </a:lnTo>
                  <a:cubicBezTo>
                    <a:pt x="358" y="183789"/>
                    <a:pt x="-879" y="178791"/>
                    <a:pt x="636" y="174121"/>
                  </a:cubicBezTo>
                  <a:cubicBezTo>
                    <a:pt x="2150" y="169476"/>
                    <a:pt x="6088" y="166144"/>
                    <a:pt x="10934" y="165438"/>
                  </a:cubicBezTo>
                  <a:lnTo>
                    <a:pt x="161504" y="143553"/>
                  </a:lnTo>
                  <a:lnTo>
                    <a:pt x="228851" y="7118"/>
                  </a:lnTo>
                  <a:cubicBezTo>
                    <a:pt x="231022" y="2726"/>
                    <a:pt x="235414" y="0"/>
                    <a:pt x="240311" y="0"/>
                  </a:cubicBezTo>
                  <a:cubicBezTo>
                    <a:pt x="245208" y="0"/>
                    <a:pt x="249600" y="2726"/>
                    <a:pt x="251771" y="7118"/>
                  </a:cubicBezTo>
                  <a:lnTo>
                    <a:pt x="319117" y="143553"/>
                  </a:lnTo>
                  <a:lnTo>
                    <a:pt x="469687" y="165438"/>
                  </a:lnTo>
                  <a:cubicBezTo>
                    <a:pt x="474533" y="166144"/>
                    <a:pt x="478471" y="169476"/>
                    <a:pt x="479986" y="174121"/>
                  </a:cubicBezTo>
                  <a:cubicBezTo>
                    <a:pt x="481500" y="178766"/>
                    <a:pt x="480264" y="183789"/>
                    <a:pt x="476755" y="187222"/>
                  </a:cubicBezTo>
                  <a:lnTo>
                    <a:pt x="367784" y="293416"/>
                  </a:lnTo>
                  <a:lnTo>
                    <a:pt x="393506" y="443380"/>
                  </a:lnTo>
                  <a:cubicBezTo>
                    <a:pt x="394339" y="448201"/>
                    <a:pt x="392395" y="452997"/>
                    <a:pt x="388432" y="455875"/>
                  </a:cubicBezTo>
                  <a:cubicBezTo>
                    <a:pt x="384469" y="458753"/>
                    <a:pt x="379320" y="459106"/>
                    <a:pt x="374978" y="456834"/>
                  </a:cubicBezTo>
                  <a:lnTo>
                    <a:pt x="344662" y="440906"/>
                  </a:lnTo>
                  <a:cubicBezTo>
                    <a:pt x="342239" y="439619"/>
                    <a:pt x="341305" y="436640"/>
                    <a:pt x="342592" y="434217"/>
                  </a:cubicBezTo>
                  <a:cubicBezTo>
                    <a:pt x="343880" y="431794"/>
                    <a:pt x="346858" y="430860"/>
                    <a:pt x="349281" y="432147"/>
                  </a:cubicBezTo>
                  <a:lnTo>
                    <a:pt x="379597" y="448075"/>
                  </a:lnTo>
                  <a:cubicBezTo>
                    <a:pt x="381036" y="448832"/>
                    <a:pt x="382172" y="448176"/>
                    <a:pt x="382627" y="447873"/>
                  </a:cubicBezTo>
                  <a:cubicBezTo>
                    <a:pt x="383056" y="447545"/>
                    <a:pt x="384040" y="446662"/>
                    <a:pt x="383762" y="445071"/>
                  </a:cubicBezTo>
                  <a:lnTo>
                    <a:pt x="357611" y="292532"/>
                  </a:lnTo>
                  <a:cubicBezTo>
                    <a:pt x="357334" y="290917"/>
                    <a:pt x="357864" y="289276"/>
                    <a:pt x="359025" y="288140"/>
                  </a:cubicBezTo>
                  <a:lnTo>
                    <a:pt x="469838" y="180129"/>
                  </a:lnTo>
                  <a:cubicBezTo>
                    <a:pt x="470974" y="179018"/>
                    <a:pt x="470722" y="177705"/>
                    <a:pt x="470570" y="177201"/>
                  </a:cubicBezTo>
                  <a:cubicBezTo>
                    <a:pt x="470394" y="176696"/>
                    <a:pt x="469838" y="175484"/>
                    <a:pt x="468248" y="175257"/>
                  </a:cubicBezTo>
                  <a:lnTo>
                    <a:pt x="315104" y="153018"/>
                  </a:lnTo>
                  <a:cubicBezTo>
                    <a:pt x="313488" y="152791"/>
                    <a:pt x="312100" y="151782"/>
                    <a:pt x="311368" y="150318"/>
                  </a:cubicBezTo>
                  <a:lnTo>
                    <a:pt x="242886" y="11536"/>
                  </a:lnTo>
                  <a:cubicBezTo>
                    <a:pt x="242179" y="10097"/>
                    <a:pt x="240866" y="9945"/>
                    <a:pt x="240311" y="9945"/>
                  </a:cubicBezTo>
                  <a:cubicBezTo>
                    <a:pt x="239781" y="9945"/>
                    <a:pt x="238443" y="10097"/>
                    <a:pt x="237736" y="11536"/>
                  </a:cubicBezTo>
                  <a:lnTo>
                    <a:pt x="169254" y="150318"/>
                  </a:lnTo>
                  <a:cubicBezTo>
                    <a:pt x="168522" y="151782"/>
                    <a:pt x="167134" y="152791"/>
                    <a:pt x="165518" y="153018"/>
                  </a:cubicBezTo>
                  <a:lnTo>
                    <a:pt x="12373" y="175257"/>
                  </a:lnTo>
                  <a:cubicBezTo>
                    <a:pt x="10783" y="175484"/>
                    <a:pt x="10228" y="176696"/>
                    <a:pt x="10076" y="177201"/>
                  </a:cubicBezTo>
                  <a:cubicBezTo>
                    <a:pt x="9899" y="177705"/>
                    <a:pt x="9647" y="179018"/>
                    <a:pt x="10808" y="180129"/>
                  </a:cubicBezTo>
                  <a:lnTo>
                    <a:pt x="121622" y="288140"/>
                  </a:lnTo>
                  <a:cubicBezTo>
                    <a:pt x="122783" y="289276"/>
                    <a:pt x="123313" y="290917"/>
                    <a:pt x="123035" y="292532"/>
                  </a:cubicBezTo>
                  <a:lnTo>
                    <a:pt x="96884" y="445071"/>
                  </a:lnTo>
                  <a:cubicBezTo>
                    <a:pt x="96607" y="446662"/>
                    <a:pt x="97591" y="447570"/>
                    <a:pt x="98020" y="447873"/>
                  </a:cubicBezTo>
                  <a:cubicBezTo>
                    <a:pt x="98449" y="448176"/>
                    <a:pt x="99611" y="448858"/>
                    <a:pt x="101049" y="448075"/>
                  </a:cubicBezTo>
                  <a:lnTo>
                    <a:pt x="132728" y="431415"/>
                  </a:lnTo>
                  <a:cubicBezTo>
                    <a:pt x="135177" y="430153"/>
                    <a:pt x="138155" y="431062"/>
                    <a:pt x="139417" y="433485"/>
                  </a:cubicBezTo>
                  <a:cubicBezTo>
                    <a:pt x="140680" y="435908"/>
                    <a:pt x="139771" y="438887"/>
                    <a:pt x="137348" y="440174"/>
                  </a:cubicBezTo>
                  <a:lnTo>
                    <a:pt x="105669" y="456834"/>
                  </a:lnTo>
                  <a:cubicBezTo>
                    <a:pt x="103725" y="457844"/>
                    <a:pt x="101680" y="458324"/>
                    <a:pt x="99661" y="458324"/>
                  </a:cubicBezTo>
                  <a:close/>
                </a:path>
              </a:pathLst>
            </a:custGeom>
            <a:solidFill>
              <a:schemeClr val="tx2"/>
            </a:solidFill>
            <a:ln w="2521" cap="flat">
              <a:noFill/>
              <a:prstDash val="solid"/>
              <a:miter/>
            </a:ln>
          </p:spPr>
          <p:txBody>
            <a:bodyPr rtlCol="0" anchor="ctr"/>
            <a:lstStyle/>
            <a:p>
              <a:endParaRPr lang="en-GB" dirty="0"/>
            </a:p>
          </p:txBody>
        </p:sp>
      </p:grpSp>
      <p:grpSp>
        <p:nvGrpSpPr>
          <p:cNvPr id="4" name="Group 3">
            <a:extLst>
              <a:ext uri="{FF2B5EF4-FFF2-40B4-BE49-F238E27FC236}">
                <a16:creationId xmlns:a16="http://schemas.microsoft.com/office/drawing/2014/main" id="{5324FFF7-54F8-8D82-2809-A0C153B64191}"/>
              </a:ext>
            </a:extLst>
          </p:cNvPr>
          <p:cNvGrpSpPr/>
          <p:nvPr/>
        </p:nvGrpSpPr>
        <p:grpSpPr>
          <a:xfrm>
            <a:off x="1522494" y="2391526"/>
            <a:ext cx="633984" cy="432000"/>
            <a:chOff x="1522494" y="2391526"/>
            <a:chExt cx="633984" cy="432000"/>
          </a:xfrm>
        </p:grpSpPr>
        <p:grpSp>
          <p:nvGrpSpPr>
            <p:cNvPr id="142" name="Group 141">
              <a:extLst>
                <a:ext uri="{FF2B5EF4-FFF2-40B4-BE49-F238E27FC236}">
                  <a16:creationId xmlns:a16="http://schemas.microsoft.com/office/drawing/2014/main" id="{E0E1C049-1BEE-4901-A1B1-F345B1AC8664}"/>
                </a:ext>
              </a:extLst>
            </p:cNvPr>
            <p:cNvGrpSpPr/>
            <p:nvPr/>
          </p:nvGrpSpPr>
          <p:grpSpPr>
            <a:xfrm>
              <a:off x="1522494" y="2537515"/>
              <a:ext cx="633984" cy="272044"/>
              <a:chOff x="5307015" y="2695583"/>
              <a:chExt cx="572693" cy="245744"/>
            </a:xfrm>
          </p:grpSpPr>
          <p:sp>
            <p:nvSpPr>
              <p:cNvPr id="152" name="Freihandform: Form 820">
                <a:extLst>
                  <a:ext uri="{FF2B5EF4-FFF2-40B4-BE49-F238E27FC236}">
                    <a16:creationId xmlns:a16="http://schemas.microsoft.com/office/drawing/2014/main" id="{20FCF86B-BF70-4E50-B970-BF9A072236EE}"/>
                  </a:ext>
                </a:extLst>
              </p:cNvPr>
              <p:cNvSpPr/>
              <p:nvPr/>
            </p:nvSpPr>
            <p:spPr>
              <a:xfrm>
                <a:off x="5682491" y="2695583"/>
                <a:ext cx="59126" cy="59125"/>
              </a:xfrm>
              <a:custGeom>
                <a:avLst/>
                <a:gdLst>
                  <a:gd name="connsiteX0" fmla="*/ 29563 w 59126"/>
                  <a:gd name="connsiteY0" fmla="*/ 59126 h 59125"/>
                  <a:gd name="connsiteX1" fmla="*/ 0 w 59126"/>
                  <a:gd name="connsiteY1" fmla="*/ 29563 h 59125"/>
                  <a:gd name="connsiteX2" fmla="*/ 29563 w 59126"/>
                  <a:gd name="connsiteY2" fmla="*/ 0 h 59125"/>
                  <a:gd name="connsiteX3" fmla="*/ 59126 w 59126"/>
                  <a:gd name="connsiteY3" fmla="*/ 29563 h 59125"/>
                  <a:gd name="connsiteX4" fmla="*/ 29563 w 59126"/>
                  <a:gd name="connsiteY4" fmla="*/ 59126 h 59125"/>
                  <a:gd name="connsiteX5" fmla="*/ 29563 w 59126"/>
                  <a:gd name="connsiteY5" fmla="*/ 9871 h 59125"/>
                  <a:gd name="connsiteX6" fmla="*/ 9871 w 59126"/>
                  <a:gd name="connsiteY6" fmla="*/ 29563 h 59125"/>
                  <a:gd name="connsiteX7" fmla="*/ 29563 w 59126"/>
                  <a:gd name="connsiteY7" fmla="*/ 49255 h 59125"/>
                  <a:gd name="connsiteX8" fmla="*/ 49255 w 59126"/>
                  <a:gd name="connsiteY8" fmla="*/ 29563 h 59125"/>
                  <a:gd name="connsiteX9" fmla="*/ 29563 w 59126"/>
                  <a:gd name="connsiteY9" fmla="*/ 9871 h 5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126" h="59125">
                    <a:moveTo>
                      <a:pt x="29563" y="59126"/>
                    </a:moveTo>
                    <a:cubicBezTo>
                      <a:pt x="13271" y="59126"/>
                      <a:pt x="0" y="45881"/>
                      <a:pt x="0" y="29563"/>
                    </a:cubicBezTo>
                    <a:cubicBezTo>
                      <a:pt x="0" y="13271"/>
                      <a:pt x="13245" y="0"/>
                      <a:pt x="29563" y="0"/>
                    </a:cubicBezTo>
                    <a:cubicBezTo>
                      <a:pt x="45855" y="0"/>
                      <a:pt x="59126" y="13245"/>
                      <a:pt x="59126" y="29563"/>
                    </a:cubicBezTo>
                    <a:cubicBezTo>
                      <a:pt x="59126" y="45855"/>
                      <a:pt x="45855" y="59126"/>
                      <a:pt x="29563" y="59126"/>
                    </a:cubicBezTo>
                    <a:close/>
                    <a:moveTo>
                      <a:pt x="29563" y="9871"/>
                    </a:moveTo>
                    <a:cubicBezTo>
                      <a:pt x="18710" y="9871"/>
                      <a:pt x="9871" y="18710"/>
                      <a:pt x="9871" y="29563"/>
                    </a:cubicBezTo>
                    <a:cubicBezTo>
                      <a:pt x="9871" y="40416"/>
                      <a:pt x="18710" y="49255"/>
                      <a:pt x="29563" y="49255"/>
                    </a:cubicBezTo>
                    <a:cubicBezTo>
                      <a:pt x="40416" y="49255"/>
                      <a:pt x="49255" y="40416"/>
                      <a:pt x="49255" y="29563"/>
                    </a:cubicBezTo>
                    <a:cubicBezTo>
                      <a:pt x="49255" y="18710"/>
                      <a:pt x="40441" y="9871"/>
                      <a:pt x="29563" y="9871"/>
                    </a:cubicBezTo>
                    <a:close/>
                  </a:path>
                </a:pathLst>
              </a:custGeom>
              <a:solidFill>
                <a:schemeClr val="accent1"/>
              </a:solidFill>
              <a:ln w="2517" cap="flat">
                <a:noFill/>
                <a:prstDash val="solid"/>
                <a:miter/>
              </a:ln>
            </p:spPr>
            <p:txBody>
              <a:bodyPr rtlCol="0" anchor="ctr"/>
              <a:lstStyle/>
              <a:p>
                <a:endParaRPr lang="en-GB" dirty="0"/>
              </a:p>
            </p:txBody>
          </p:sp>
          <p:sp>
            <p:nvSpPr>
              <p:cNvPr id="153" name="Freihandform: Form 821">
                <a:extLst>
                  <a:ext uri="{FF2B5EF4-FFF2-40B4-BE49-F238E27FC236}">
                    <a16:creationId xmlns:a16="http://schemas.microsoft.com/office/drawing/2014/main" id="{8F1280EC-20C3-48AA-B10D-0002C835D140}"/>
                  </a:ext>
                </a:extLst>
              </p:cNvPr>
              <p:cNvSpPr/>
              <p:nvPr/>
            </p:nvSpPr>
            <p:spPr>
              <a:xfrm>
                <a:off x="5760755" y="2792431"/>
                <a:ext cx="59126" cy="59126"/>
              </a:xfrm>
              <a:custGeom>
                <a:avLst/>
                <a:gdLst>
                  <a:gd name="connsiteX0" fmla="*/ 29563 w 59126"/>
                  <a:gd name="connsiteY0" fmla="*/ 59126 h 59126"/>
                  <a:gd name="connsiteX1" fmla="*/ 0 w 59126"/>
                  <a:gd name="connsiteY1" fmla="*/ 29563 h 59126"/>
                  <a:gd name="connsiteX2" fmla="*/ 29563 w 59126"/>
                  <a:gd name="connsiteY2" fmla="*/ 0 h 59126"/>
                  <a:gd name="connsiteX3" fmla="*/ 59126 w 59126"/>
                  <a:gd name="connsiteY3" fmla="*/ 29563 h 59126"/>
                  <a:gd name="connsiteX4" fmla="*/ 29563 w 59126"/>
                  <a:gd name="connsiteY4" fmla="*/ 59126 h 59126"/>
                  <a:gd name="connsiteX5" fmla="*/ 29563 w 59126"/>
                  <a:gd name="connsiteY5" fmla="*/ 9871 h 59126"/>
                  <a:gd name="connsiteX6" fmla="*/ 9871 w 59126"/>
                  <a:gd name="connsiteY6" fmla="*/ 29563 h 59126"/>
                  <a:gd name="connsiteX7" fmla="*/ 29563 w 59126"/>
                  <a:gd name="connsiteY7" fmla="*/ 49255 h 59126"/>
                  <a:gd name="connsiteX8" fmla="*/ 49255 w 59126"/>
                  <a:gd name="connsiteY8" fmla="*/ 29563 h 59126"/>
                  <a:gd name="connsiteX9" fmla="*/ 29563 w 59126"/>
                  <a:gd name="connsiteY9" fmla="*/ 9871 h 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126" h="59126">
                    <a:moveTo>
                      <a:pt x="29563" y="59126"/>
                    </a:moveTo>
                    <a:cubicBezTo>
                      <a:pt x="13271" y="59126"/>
                      <a:pt x="0" y="45881"/>
                      <a:pt x="0" y="29563"/>
                    </a:cubicBezTo>
                    <a:cubicBezTo>
                      <a:pt x="0" y="13271"/>
                      <a:pt x="13245" y="0"/>
                      <a:pt x="29563" y="0"/>
                    </a:cubicBezTo>
                    <a:cubicBezTo>
                      <a:pt x="45855" y="0"/>
                      <a:pt x="59126" y="13245"/>
                      <a:pt x="59126" y="29563"/>
                    </a:cubicBezTo>
                    <a:cubicBezTo>
                      <a:pt x="59126" y="45881"/>
                      <a:pt x="45855" y="59126"/>
                      <a:pt x="29563" y="59126"/>
                    </a:cubicBezTo>
                    <a:close/>
                    <a:moveTo>
                      <a:pt x="29563" y="9871"/>
                    </a:moveTo>
                    <a:cubicBezTo>
                      <a:pt x="18710" y="9871"/>
                      <a:pt x="9871" y="18710"/>
                      <a:pt x="9871" y="29563"/>
                    </a:cubicBezTo>
                    <a:cubicBezTo>
                      <a:pt x="9871" y="40416"/>
                      <a:pt x="18710" y="49255"/>
                      <a:pt x="29563" y="49255"/>
                    </a:cubicBezTo>
                    <a:cubicBezTo>
                      <a:pt x="40416" y="49255"/>
                      <a:pt x="49255" y="40416"/>
                      <a:pt x="49255" y="29563"/>
                    </a:cubicBezTo>
                    <a:cubicBezTo>
                      <a:pt x="49255" y="18710"/>
                      <a:pt x="40416" y="9871"/>
                      <a:pt x="29563" y="9871"/>
                    </a:cubicBezTo>
                    <a:close/>
                  </a:path>
                </a:pathLst>
              </a:custGeom>
              <a:solidFill>
                <a:schemeClr val="accent1"/>
              </a:solidFill>
              <a:ln w="2517" cap="flat">
                <a:noFill/>
                <a:prstDash val="solid"/>
                <a:miter/>
              </a:ln>
            </p:spPr>
            <p:txBody>
              <a:bodyPr rtlCol="0" anchor="ctr"/>
              <a:lstStyle/>
              <a:p>
                <a:endParaRPr lang="en-GB" dirty="0"/>
              </a:p>
            </p:txBody>
          </p:sp>
          <p:sp>
            <p:nvSpPr>
              <p:cNvPr id="154" name="Freihandform: Form 822">
                <a:extLst>
                  <a:ext uri="{FF2B5EF4-FFF2-40B4-BE49-F238E27FC236}">
                    <a16:creationId xmlns:a16="http://schemas.microsoft.com/office/drawing/2014/main" id="{CF778A7D-CACF-489C-9281-0DE189DBC776}"/>
                  </a:ext>
                </a:extLst>
              </p:cNvPr>
              <p:cNvSpPr/>
              <p:nvPr/>
            </p:nvSpPr>
            <p:spPr>
              <a:xfrm>
                <a:off x="5377091" y="2882202"/>
                <a:ext cx="59125" cy="59125"/>
              </a:xfrm>
              <a:custGeom>
                <a:avLst/>
                <a:gdLst>
                  <a:gd name="connsiteX0" fmla="*/ 29563 w 59125"/>
                  <a:gd name="connsiteY0" fmla="*/ 59126 h 59125"/>
                  <a:gd name="connsiteX1" fmla="*/ 0 w 59125"/>
                  <a:gd name="connsiteY1" fmla="*/ 29563 h 59125"/>
                  <a:gd name="connsiteX2" fmla="*/ 29563 w 59125"/>
                  <a:gd name="connsiteY2" fmla="*/ 0 h 59125"/>
                  <a:gd name="connsiteX3" fmla="*/ 59126 w 59125"/>
                  <a:gd name="connsiteY3" fmla="*/ 29563 h 59125"/>
                  <a:gd name="connsiteX4" fmla="*/ 29563 w 59125"/>
                  <a:gd name="connsiteY4" fmla="*/ 59126 h 59125"/>
                  <a:gd name="connsiteX5" fmla="*/ 29563 w 59125"/>
                  <a:gd name="connsiteY5" fmla="*/ 9871 h 59125"/>
                  <a:gd name="connsiteX6" fmla="*/ 9871 w 59125"/>
                  <a:gd name="connsiteY6" fmla="*/ 29563 h 59125"/>
                  <a:gd name="connsiteX7" fmla="*/ 29563 w 59125"/>
                  <a:gd name="connsiteY7" fmla="*/ 49255 h 59125"/>
                  <a:gd name="connsiteX8" fmla="*/ 49255 w 59125"/>
                  <a:gd name="connsiteY8" fmla="*/ 29563 h 59125"/>
                  <a:gd name="connsiteX9" fmla="*/ 29563 w 59125"/>
                  <a:gd name="connsiteY9" fmla="*/ 9871 h 5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125" h="59125">
                    <a:moveTo>
                      <a:pt x="29563" y="59126"/>
                    </a:moveTo>
                    <a:cubicBezTo>
                      <a:pt x="13271" y="59126"/>
                      <a:pt x="0" y="45881"/>
                      <a:pt x="0" y="29563"/>
                    </a:cubicBezTo>
                    <a:cubicBezTo>
                      <a:pt x="0" y="13271"/>
                      <a:pt x="13245" y="0"/>
                      <a:pt x="29563" y="0"/>
                    </a:cubicBezTo>
                    <a:cubicBezTo>
                      <a:pt x="45855" y="0"/>
                      <a:pt x="59126" y="13245"/>
                      <a:pt x="59126" y="29563"/>
                    </a:cubicBezTo>
                    <a:cubicBezTo>
                      <a:pt x="59126" y="45881"/>
                      <a:pt x="45855" y="59126"/>
                      <a:pt x="29563" y="59126"/>
                    </a:cubicBezTo>
                    <a:close/>
                    <a:moveTo>
                      <a:pt x="29563" y="9871"/>
                    </a:moveTo>
                    <a:cubicBezTo>
                      <a:pt x="18710" y="9871"/>
                      <a:pt x="9871" y="18710"/>
                      <a:pt x="9871" y="29563"/>
                    </a:cubicBezTo>
                    <a:cubicBezTo>
                      <a:pt x="9871" y="40416"/>
                      <a:pt x="18710" y="49255"/>
                      <a:pt x="29563" y="49255"/>
                    </a:cubicBezTo>
                    <a:cubicBezTo>
                      <a:pt x="40416" y="49255"/>
                      <a:pt x="49255" y="40416"/>
                      <a:pt x="49255" y="29563"/>
                    </a:cubicBezTo>
                    <a:cubicBezTo>
                      <a:pt x="49255" y="18710"/>
                      <a:pt x="40416" y="9871"/>
                      <a:pt x="29563" y="9871"/>
                    </a:cubicBezTo>
                    <a:close/>
                  </a:path>
                </a:pathLst>
              </a:custGeom>
              <a:solidFill>
                <a:schemeClr val="accent1"/>
              </a:solidFill>
              <a:ln w="2517" cap="flat">
                <a:noFill/>
                <a:prstDash val="solid"/>
                <a:miter/>
              </a:ln>
            </p:spPr>
            <p:txBody>
              <a:bodyPr rtlCol="0" anchor="ctr"/>
              <a:lstStyle/>
              <a:p>
                <a:endParaRPr lang="en-GB" dirty="0"/>
              </a:p>
            </p:txBody>
          </p:sp>
          <p:sp>
            <p:nvSpPr>
              <p:cNvPr id="155" name="Freihandform: Form 823">
                <a:extLst>
                  <a:ext uri="{FF2B5EF4-FFF2-40B4-BE49-F238E27FC236}">
                    <a16:creationId xmlns:a16="http://schemas.microsoft.com/office/drawing/2014/main" id="{845E4477-FA71-42F2-A708-3C9F19F4640E}"/>
                  </a:ext>
                </a:extLst>
              </p:cNvPr>
              <p:cNvSpPr/>
              <p:nvPr/>
            </p:nvSpPr>
            <p:spPr>
              <a:xfrm>
                <a:off x="5803440" y="2707798"/>
                <a:ext cx="68639" cy="95359"/>
              </a:xfrm>
              <a:custGeom>
                <a:avLst/>
                <a:gdLst>
                  <a:gd name="connsiteX0" fmla="*/ 4933 w 68639"/>
                  <a:gd name="connsiteY0" fmla="*/ 95360 h 95359"/>
                  <a:gd name="connsiteX1" fmla="*/ 2138 w 68639"/>
                  <a:gd name="connsiteY1" fmla="*/ 94503 h 95359"/>
                  <a:gd name="connsiteX2" fmla="*/ 879 w 68639"/>
                  <a:gd name="connsiteY2" fmla="*/ 87654 h 95359"/>
                  <a:gd name="connsiteX3" fmla="*/ 59652 w 68639"/>
                  <a:gd name="connsiteY3" fmla="*/ 2138 h 95359"/>
                  <a:gd name="connsiteX4" fmla="*/ 66502 w 68639"/>
                  <a:gd name="connsiteY4" fmla="*/ 879 h 95359"/>
                  <a:gd name="connsiteX5" fmla="*/ 67761 w 68639"/>
                  <a:gd name="connsiteY5" fmla="*/ 7728 h 95359"/>
                  <a:gd name="connsiteX6" fmla="*/ 8987 w 68639"/>
                  <a:gd name="connsiteY6" fmla="*/ 93244 h 95359"/>
                  <a:gd name="connsiteX7" fmla="*/ 4933 w 68639"/>
                  <a:gd name="connsiteY7" fmla="*/ 95360 h 95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39" h="95359">
                    <a:moveTo>
                      <a:pt x="4933" y="95360"/>
                    </a:moveTo>
                    <a:cubicBezTo>
                      <a:pt x="3976" y="95360"/>
                      <a:pt x="2994" y="95083"/>
                      <a:pt x="2138" y="94503"/>
                    </a:cubicBezTo>
                    <a:cubicBezTo>
                      <a:pt x="-103" y="92967"/>
                      <a:pt x="-682" y="89895"/>
                      <a:pt x="879" y="87654"/>
                    </a:cubicBezTo>
                    <a:lnTo>
                      <a:pt x="59652" y="2138"/>
                    </a:lnTo>
                    <a:cubicBezTo>
                      <a:pt x="61214" y="-103"/>
                      <a:pt x="64260" y="-682"/>
                      <a:pt x="66502" y="879"/>
                    </a:cubicBezTo>
                    <a:cubicBezTo>
                      <a:pt x="68743" y="2415"/>
                      <a:pt x="69322" y="5487"/>
                      <a:pt x="67761" y="7728"/>
                    </a:cubicBezTo>
                    <a:lnTo>
                      <a:pt x="8987" y="93244"/>
                    </a:lnTo>
                    <a:cubicBezTo>
                      <a:pt x="8030" y="94604"/>
                      <a:pt x="6494" y="95360"/>
                      <a:pt x="4933" y="95360"/>
                    </a:cubicBezTo>
                    <a:close/>
                  </a:path>
                </a:pathLst>
              </a:custGeom>
              <a:solidFill>
                <a:schemeClr val="accent1"/>
              </a:solidFill>
              <a:ln w="2517" cap="flat">
                <a:noFill/>
                <a:prstDash val="solid"/>
                <a:miter/>
              </a:ln>
            </p:spPr>
            <p:txBody>
              <a:bodyPr rtlCol="0" anchor="ctr"/>
              <a:lstStyle/>
              <a:p>
                <a:endParaRPr lang="en-GB" dirty="0"/>
              </a:p>
            </p:txBody>
          </p:sp>
          <p:sp>
            <p:nvSpPr>
              <p:cNvPr id="156" name="Freihandform: Form 824">
                <a:extLst>
                  <a:ext uri="{FF2B5EF4-FFF2-40B4-BE49-F238E27FC236}">
                    <a16:creationId xmlns:a16="http://schemas.microsoft.com/office/drawing/2014/main" id="{CAEBEFE5-7019-401B-B2DB-706295A8C5F6}"/>
                  </a:ext>
                </a:extLst>
              </p:cNvPr>
              <p:cNvSpPr/>
              <p:nvPr/>
            </p:nvSpPr>
            <p:spPr>
              <a:xfrm>
                <a:off x="5721540" y="2741708"/>
                <a:ext cx="55288" cy="67317"/>
              </a:xfrm>
              <a:custGeom>
                <a:avLst/>
                <a:gdLst>
                  <a:gd name="connsiteX0" fmla="*/ 50370 w 55288"/>
                  <a:gd name="connsiteY0" fmla="*/ 67318 h 67317"/>
                  <a:gd name="connsiteX1" fmla="*/ 46492 w 55288"/>
                  <a:gd name="connsiteY1" fmla="*/ 65454 h 67317"/>
                  <a:gd name="connsiteX2" fmla="*/ 1065 w 55288"/>
                  <a:gd name="connsiteY2" fmla="*/ 7990 h 67317"/>
                  <a:gd name="connsiteX3" fmla="*/ 1871 w 55288"/>
                  <a:gd name="connsiteY3" fmla="*/ 1065 h 67317"/>
                  <a:gd name="connsiteX4" fmla="*/ 8796 w 55288"/>
                  <a:gd name="connsiteY4" fmla="*/ 1871 h 67317"/>
                  <a:gd name="connsiteX5" fmla="*/ 54223 w 55288"/>
                  <a:gd name="connsiteY5" fmla="*/ 59335 h 67317"/>
                  <a:gd name="connsiteX6" fmla="*/ 53417 w 55288"/>
                  <a:gd name="connsiteY6" fmla="*/ 66260 h 67317"/>
                  <a:gd name="connsiteX7" fmla="*/ 50370 w 55288"/>
                  <a:gd name="connsiteY7" fmla="*/ 67318 h 67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288" h="67317">
                    <a:moveTo>
                      <a:pt x="50370" y="67318"/>
                    </a:moveTo>
                    <a:cubicBezTo>
                      <a:pt x="48910" y="67318"/>
                      <a:pt x="47475" y="66688"/>
                      <a:pt x="46492" y="65454"/>
                    </a:cubicBezTo>
                    <a:lnTo>
                      <a:pt x="1065" y="7990"/>
                    </a:lnTo>
                    <a:cubicBezTo>
                      <a:pt x="-622" y="5850"/>
                      <a:pt x="-269" y="2752"/>
                      <a:pt x="1871" y="1065"/>
                    </a:cubicBezTo>
                    <a:cubicBezTo>
                      <a:pt x="4011" y="-622"/>
                      <a:pt x="7109" y="-269"/>
                      <a:pt x="8796" y="1871"/>
                    </a:cubicBezTo>
                    <a:lnTo>
                      <a:pt x="54223" y="59335"/>
                    </a:lnTo>
                    <a:cubicBezTo>
                      <a:pt x="55910" y="61475"/>
                      <a:pt x="55558" y="64573"/>
                      <a:pt x="53417" y="66260"/>
                    </a:cubicBezTo>
                    <a:cubicBezTo>
                      <a:pt x="52511" y="66965"/>
                      <a:pt x="51428" y="67318"/>
                      <a:pt x="50370" y="67318"/>
                    </a:cubicBezTo>
                    <a:close/>
                  </a:path>
                </a:pathLst>
              </a:custGeom>
              <a:solidFill>
                <a:schemeClr val="accent1"/>
              </a:solidFill>
              <a:ln w="2517" cap="flat">
                <a:noFill/>
                <a:prstDash val="solid"/>
                <a:miter/>
              </a:ln>
            </p:spPr>
            <p:txBody>
              <a:bodyPr rtlCol="0" anchor="ctr"/>
              <a:lstStyle/>
              <a:p>
                <a:endParaRPr lang="en-GB" dirty="0"/>
              </a:p>
            </p:txBody>
          </p:sp>
          <p:sp>
            <p:nvSpPr>
              <p:cNvPr id="157" name="Freihandform: Form 825">
                <a:extLst>
                  <a:ext uri="{FF2B5EF4-FFF2-40B4-BE49-F238E27FC236}">
                    <a16:creationId xmlns:a16="http://schemas.microsoft.com/office/drawing/2014/main" id="{9F067B84-0BD4-426D-AFDB-A41464099778}"/>
                  </a:ext>
                </a:extLst>
              </p:cNvPr>
              <p:cNvSpPr/>
              <p:nvPr/>
            </p:nvSpPr>
            <p:spPr>
              <a:xfrm>
                <a:off x="5648740" y="2735946"/>
                <a:ext cx="48440" cy="31101"/>
              </a:xfrm>
              <a:custGeom>
                <a:avLst/>
                <a:gdLst>
                  <a:gd name="connsiteX0" fmla="*/ 4944 w 48440"/>
                  <a:gd name="connsiteY0" fmla="*/ 31102 h 31101"/>
                  <a:gd name="connsiteX1" fmla="*/ 612 w 48440"/>
                  <a:gd name="connsiteY1" fmla="*/ 28559 h 31101"/>
                  <a:gd name="connsiteX2" fmla="*/ 2551 w 48440"/>
                  <a:gd name="connsiteY2" fmla="*/ 21860 h 31101"/>
                  <a:gd name="connsiteX3" fmla="*/ 41129 w 48440"/>
                  <a:gd name="connsiteY3" fmla="*/ 607 h 31101"/>
                  <a:gd name="connsiteX4" fmla="*/ 47828 w 48440"/>
                  <a:gd name="connsiteY4" fmla="*/ 2546 h 31101"/>
                  <a:gd name="connsiteX5" fmla="*/ 45889 w 48440"/>
                  <a:gd name="connsiteY5" fmla="*/ 9245 h 31101"/>
                  <a:gd name="connsiteX6" fmla="*/ 7311 w 48440"/>
                  <a:gd name="connsiteY6" fmla="*/ 30498 h 31101"/>
                  <a:gd name="connsiteX7" fmla="*/ 4944 w 48440"/>
                  <a:gd name="connsiteY7" fmla="*/ 31102 h 3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40" h="31101">
                    <a:moveTo>
                      <a:pt x="4944" y="31102"/>
                    </a:moveTo>
                    <a:cubicBezTo>
                      <a:pt x="3206" y="31102"/>
                      <a:pt x="1519" y="30170"/>
                      <a:pt x="612" y="28559"/>
                    </a:cubicBezTo>
                    <a:cubicBezTo>
                      <a:pt x="-697" y="26166"/>
                      <a:pt x="159" y="23170"/>
                      <a:pt x="2551" y="21860"/>
                    </a:cubicBezTo>
                    <a:lnTo>
                      <a:pt x="41129" y="607"/>
                    </a:lnTo>
                    <a:cubicBezTo>
                      <a:pt x="43522" y="-702"/>
                      <a:pt x="46518" y="179"/>
                      <a:pt x="47828" y="2546"/>
                    </a:cubicBezTo>
                    <a:cubicBezTo>
                      <a:pt x="49137" y="4939"/>
                      <a:pt x="48281" y="7935"/>
                      <a:pt x="45889" y="9245"/>
                    </a:cubicBezTo>
                    <a:lnTo>
                      <a:pt x="7311" y="30498"/>
                    </a:lnTo>
                    <a:cubicBezTo>
                      <a:pt x="6555" y="30901"/>
                      <a:pt x="5749" y="31102"/>
                      <a:pt x="4944" y="31102"/>
                    </a:cubicBezTo>
                    <a:close/>
                  </a:path>
                </a:pathLst>
              </a:custGeom>
              <a:solidFill>
                <a:schemeClr val="accent1"/>
              </a:solidFill>
              <a:ln w="2517" cap="flat">
                <a:noFill/>
                <a:prstDash val="solid"/>
                <a:miter/>
              </a:ln>
            </p:spPr>
            <p:txBody>
              <a:bodyPr rtlCol="0" anchor="ctr"/>
              <a:lstStyle/>
              <a:p>
                <a:endParaRPr lang="en-GB" dirty="0"/>
              </a:p>
            </p:txBody>
          </p:sp>
          <p:sp>
            <p:nvSpPr>
              <p:cNvPr id="158" name="Freihandform: Form 826">
                <a:extLst>
                  <a:ext uri="{FF2B5EF4-FFF2-40B4-BE49-F238E27FC236}">
                    <a16:creationId xmlns:a16="http://schemas.microsoft.com/office/drawing/2014/main" id="{1D7C1C19-E490-428F-8F5E-DEB03B3572C0}"/>
                  </a:ext>
                </a:extLst>
              </p:cNvPr>
              <p:cNvSpPr/>
              <p:nvPr/>
            </p:nvSpPr>
            <p:spPr>
              <a:xfrm>
                <a:off x="5422979" y="2847132"/>
                <a:ext cx="81522" cy="57456"/>
              </a:xfrm>
              <a:custGeom>
                <a:avLst/>
                <a:gdLst>
                  <a:gd name="connsiteX0" fmla="*/ 4928 w 81522"/>
                  <a:gd name="connsiteY0" fmla="*/ 57457 h 57456"/>
                  <a:gd name="connsiteX1" fmla="*/ 824 w 81522"/>
                  <a:gd name="connsiteY1" fmla="*/ 55266 h 57456"/>
                  <a:gd name="connsiteX2" fmla="*/ 2209 w 81522"/>
                  <a:gd name="connsiteY2" fmla="*/ 48442 h 57456"/>
                  <a:gd name="connsiteX3" fmla="*/ 73875 w 81522"/>
                  <a:gd name="connsiteY3" fmla="*/ 824 h 57456"/>
                  <a:gd name="connsiteX4" fmla="*/ 80699 w 81522"/>
                  <a:gd name="connsiteY4" fmla="*/ 2209 h 57456"/>
                  <a:gd name="connsiteX5" fmla="*/ 79314 w 81522"/>
                  <a:gd name="connsiteY5" fmla="*/ 9033 h 57456"/>
                  <a:gd name="connsiteX6" fmla="*/ 7648 w 81522"/>
                  <a:gd name="connsiteY6" fmla="*/ 56651 h 57456"/>
                  <a:gd name="connsiteX7" fmla="*/ 4928 w 81522"/>
                  <a:gd name="connsiteY7" fmla="*/ 57457 h 5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522" h="57456">
                    <a:moveTo>
                      <a:pt x="4928" y="57457"/>
                    </a:moveTo>
                    <a:cubicBezTo>
                      <a:pt x="3342" y="57457"/>
                      <a:pt x="1780" y="56676"/>
                      <a:pt x="824" y="55266"/>
                    </a:cubicBezTo>
                    <a:cubicBezTo>
                      <a:pt x="-687" y="52999"/>
                      <a:pt x="-58" y="49953"/>
                      <a:pt x="2209" y="48442"/>
                    </a:cubicBezTo>
                    <a:lnTo>
                      <a:pt x="73875" y="824"/>
                    </a:lnTo>
                    <a:cubicBezTo>
                      <a:pt x="76141" y="-687"/>
                      <a:pt x="79188" y="-58"/>
                      <a:pt x="80699" y="2209"/>
                    </a:cubicBezTo>
                    <a:cubicBezTo>
                      <a:pt x="82210" y="4475"/>
                      <a:pt x="81580" y="7522"/>
                      <a:pt x="79314" y="9033"/>
                    </a:cubicBezTo>
                    <a:lnTo>
                      <a:pt x="7648" y="56651"/>
                    </a:lnTo>
                    <a:cubicBezTo>
                      <a:pt x="6817" y="57180"/>
                      <a:pt x="5885" y="57457"/>
                      <a:pt x="4928" y="57457"/>
                    </a:cubicBezTo>
                    <a:close/>
                  </a:path>
                </a:pathLst>
              </a:custGeom>
              <a:solidFill>
                <a:schemeClr val="accent1"/>
              </a:solidFill>
              <a:ln w="2517" cap="flat">
                <a:noFill/>
                <a:prstDash val="solid"/>
                <a:miter/>
              </a:ln>
            </p:spPr>
            <p:txBody>
              <a:bodyPr rtlCol="0" anchor="ctr"/>
              <a:lstStyle/>
              <a:p>
                <a:endParaRPr lang="en-GB" dirty="0"/>
              </a:p>
            </p:txBody>
          </p:sp>
          <p:sp>
            <p:nvSpPr>
              <p:cNvPr id="159" name="Freihandform: Form 827">
                <a:extLst>
                  <a:ext uri="{FF2B5EF4-FFF2-40B4-BE49-F238E27FC236}">
                    <a16:creationId xmlns:a16="http://schemas.microsoft.com/office/drawing/2014/main" id="{98ACF9E4-677D-44CE-B61A-489EC63AACB9}"/>
                  </a:ext>
                </a:extLst>
              </p:cNvPr>
              <p:cNvSpPr/>
              <p:nvPr/>
            </p:nvSpPr>
            <p:spPr>
              <a:xfrm>
                <a:off x="5307015" y="2899758"/>
                <a:ext cx="80019" cy="16137"/>
              </a:xfrm>
              <a:custGeom>
                <a:avLst/>
                <a:gdLst>
                  <a:gd name="connsiteX0" fmla="*/ 75112 w 80019"/>
                  <a:gd name="connsiteY0" fmla="*/ 16137 h 16137"/>
                  <a:gd name="connsiteX1" fmla="*/ 74659 w 80019"/>
                  <a:gd name="connsiteY1" fmla="*/ 16112 h 16137"/>
                  <a:gd name="connsiteX2" fmla="*/ 4479 w 80019"/>
                  <a:gd name="connsiteY2" fmla="*/ 9817 h 16137"/>
                  <a:gd name="connsiteX3" fmla="*/ 21 w 80019"/>
                  <a:gd name="connsiteY3" fmla="*/ 4478 h 16137"/>
                  <a:gd name="connsiteX4" fmla="*/ 5360 w 80019"/>
                  <a:gd name="connsiteY4" fmla="*/ 21 h 16137"/>
                  <a:gd name="connsiteX5" fmla="*/ 75541 w 80019"/>
                  <a:gd name="connsiteY5" fmla="*/ 6317 h 16137"/>
                  <a:gd name="connsiteX6" fmla="*/ 79998 w 80019"/>
                  <a:gd name="connsiteY6" fmla="*/ 11655 h 16137"/>
                  <a:gd name="connsiteX7" fmla="*/ 75112 w 80019"/>
                  <a:gd name="connsiteY7" fmla="*/ 16137 h 16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019" h="16137">
                    <a:moveTo>
                      <a:pt x="75112" y="16137"/>
                    </a:moveTo>
                    <a:cubicBezTo>
                      <a:pt x="74961" y="16137"/>
                      <a:pt x="74810" y="16137"/>
                      <a:pt x="74659" y="16112"/>
                    </a:cubicBezTo>
                    <a:lnTo>
                      <a:pt x="4479" y="9817"/>
                    </a:lnTo>
                    <a:cubicBezTo>
                      <a:pt x="1759" y="9565"/>
                      <a:pt x="-230" y="7173"/>
                      <a:pt x="21" y="4478"/>
                    </a:cubicBezTo>
                    <a:cubicBezTo>
                      <a:pt x="273" y="1784"/>
                      <a:pt x="2640" y="-231"/>
                      <a:pt x="5360" y="21"/>
                    </a:cubicBezTo>
                    <a:lnTo>
                      <a:pt x="75541" y="6317"/>
                    </a:lnTo>
                    <a:cubicBezTo>
                      <a:pt x="78260" y="6568"/>
                      <a:pt x="80250" y="8961"/>
                      <a:pt x="79998" y="11655"/>
                    </a:cubicBezTo>
                    <a:cubicBezTo>
                      <a:pt x="79771" y="14198"/>
                      <a:pt x="77631" y="16137"/>
                      <a:pt x="75112" y="16137"/>
                    </a:cubicBezTo>
                    <a:close/>
                  </a:path>
                </a:pathLst>
              </a:custGeom>
              <a:solidFill>
                <a:schemeClr val="accent1"/>
              </a:solidFill>
              <a:ln w="2517" cap="flat">
                <a:noFill/>
                <a:prstDash val="solid"/>
                <a:miter/>
              </a:ln>
            </p:spPr>
            <p:txBody>
              <a:bodyPr rtlCol="0" anchor="ctr"/>
              <a:lstStyle/>
              <a:p>
                <a:endParaRPr lang="en-GB" dirty="0"/>
              </a:p>
            </p:txBody>
          </p:sp>
          <p:sp>
            <p:nvSpPr>
              <p:cNvPr id="160" name="Freihandform: Form 829">
                <a:extLst>
                  <a:ext uri="{FF2B5EF4-FFF2-40B4-BE49-F238E27FC236}">
                    <a16:creationId xmlns:a16="http://schemas.microsoft.com/office/drawing/2014/main" id="{E639DE8C-A90C-4243-A3C8-BFAE0858CA6F}"/>
                  </a:ext>
                </a:extLst>
              </p:cNvPr>
              <p:cNvSpPr/>
              <p:nvPr/>
            </p:nvSpPr>
            <p:spPr>
              <a:xfrm>
                <a:off x="5817411" y="2704377"/>
                <a:ext cx="56636" cy="18049"/>
              </a:xfrm>
              <a:custGeom>
                <a:avLst/>
                <a:gdLst>
                  <a:gd name="connsiteX0" fmla="*/ 4912 w 56636"/>
                  <a:gd name="connsiteY0" fmla="*/ 18050 h 18049"/>
                  <a:gd name="connsiteX1" fmla="*/ 77 w 56636"/>
                  <a:gd name="connsiteY1" fmla="*/ 13970 h 18049"/>
                  <a:gd name="connsiteX2" fmla="*/ 4081 w 56636"/>
                  <a:gd name="connsiteY2" fmla="*/ 8279 h 18049"/>
                  <a:gd name="connsiteX3" fmla="*/ 50868 w 56636"/>
                  <a:gd name="connsiteY3" fmla="*/ 70 h 18049"/>
                  <a:gd name="connsiteX4" fmla="*/ 56559 w 56636"/>
                  <a:gd name="connsiteY4" fmla="*/ 4074 h 18049"/>
                  <a:gd name="connsiteX5" fmla="*/ 52556 w 56636"/>
                  <a:gd name="connsiteY5" fmla="*/ 9765 h 18049"/>
                  <a:gd name="connsiteX6" fmla="*/ 5768 w 56636"/>
                  <a:gd name="connsiteY6" fmla="*/ 17974 h 18049"/>
                  <a:gd name="connsiteX7" fmla="*/ 4912 w 56636"/>
                  <a:gd name="connsiteY7" fmla="*/ 18050 h 18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636" h="18049">
                    <a:moveTo>
                      <a:pt x="4912" y="18050"/>
                    </a:moveTo>
                    <a:cubicBezTo>
                      <a:pt x="2570" y="18050"/>
                      <a:pt x="480" y="16363"/>
                      <a:pt x="77" y="13970"/>
                    </a:cubicBezTo>
                    <a:cubicBezTo>
                      <a:pt x="-401" y="11301"/>
                      <a:pt x="1387" y="8733"/>
                      <a:pt x="4081" y="8279"/>
                    </a:cubicBezTo>
                    <a:lnTo>
                      <a:pt x="50868" y="70"/>
                    </a:lnTo>
                    <a:cubicBezTo>
                      <a:pt x="53538" y="-383"/>
                      <a:pt x="56106" y="1405"/>
                      <a:pt x="56559" y="4074"/>
                    </a:cubicBezTo>
                    <a:cubicBezTo>
                      <a:pt x="57038" y="6743"/>
                      <a:pt x="55250" y="9312"/>
                      <a:pt x="52556" y="9765"/>
                    </a:cubicBezTo>
                    <a:lnTo>
                      <a:pt x="5768" y="17974"/>
                    </a:lnTo>
                    <a:cubicBezTo>
                      <a:pt x="5491" y="18025"/>
                      <a:pt x="5214" y="18050"/>
                      <a:pt x="4912" y="18050"/>
                    </a:cubicBezTo>
                    <a:close/>
                  </a:path>
                </a:pathLst>
              </a:custGeom>
              <a:solidFill>
                <a:schemeClr val="accent1"/>
              </a:solidFill>
              <a:ln w="2517" cap="flat">
                <a:noFill/>
                <a:prstDash val="solid"/>
                <a:miter/>
              </a:ln>
            </p:spPr>
            <p:txBody>
              <a:bodyPr rtlCol="0" anchor="ctr"/>
              <a:lstStyle/>
              <a:p>
                <a:endParaRPr lang="en-GB" dirty="0"/>
              </a:p>
            </p:txBody>
          </p:sp>
          <p:sp>
            <p:nvSpPr>
              <p:cNvPr id="161" name="Freihandform: Form 830">
                <a:extLst>
                  <a:ext uri="{FF2B5EF4-FFF2-40B4-BE49-F238E27FC236}">
                    <a16:creationId xmlns:a16="http://schemas.microsoft.com/office/drawing/2014/main" id="{BDD57FE2-AE77-4FD6-A966-81338CC91232}"/>
                  </a:ext>
                </a:extLst>
              </p:cNvPr>
              <p:cNvSpPr/>
              <p:nvPr/>
            </p:nvSpPr>
            <p:spPr>
              <a:xfrm>
                <a:off x="5865110" y="2704270"/>
                <a:ext cx="14598" cy="59327"/>
              </a:xfrm>
              <a:custGeom>
                <a:avLst/>
                <a:gdLst>
                  <a:gd name="connsiteX0" fmla="*/ 9666 w 14598"/>
                  <a:gd name="connsiteY0" fmla="*/ 59328 h 59327"/>
                  <a:gd name="connsiteX1" fmla="*/ 4781 w 14598"/>
                  <a:gd name="connsiteY1" fmla="*/ 54871 h 59327"/>
                  <a:gd name="connsiteX2" fmla="*/ 22 w 14598"/>
                  <a:gd name="connsiteY2" fmla="*/ 5389 h 59327"/>
                  <a:gd name="connsiteX3" fmla="*/ 4454 w 14598"/>
                  <a:gd name="connsiteY3" fmla="*/ 26 h 59327"/>
                  <a:gd name="connsiteX4" fmla="*/ 9817 w 14598"/>
                  <a:gd name="connsiteY4" fmla="*/ 4458 h 59327"/>
                  <a:gd name="connsiteX5" fmla="*/ 14577 w 14598"/>
                  <a:gd name="connsiteY5" fmla="*/ 53939 h 59327"/>
                  <a:gd name="connsiteX6" fmla="*/ 10145 w 14598"/>
                  <a:gd name="connsiteY6" fmla="*/ 59303 h 59327"/>
                  <a:gd name="connsiteX7" fmla="*/ 9666 w 14598"/>
                  <a:gd name="connsiteY7" fmla="*/ 59328 h 59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98" h="59327">
                    <a:moveTo>
                      <a:pt x="9666" y="59328"/>
                    </a:moveTo>
                    <a:cubicBezTo>
                      <a:pt x="7148" y="59328"/>
                      <a:pt x="5008" y="57414"/>
                      <a:pt x="4781" y="54871"/>
                    </a:cubicBezTo>
                    <a:lnTo>
                      <a:pt x="22" y="5389"/>
                    </a:lnTo>
                    <a:cubicBezTo>
                      <a:pt x="-230" y="2670"/>
                      <a:pt x="1734" y="278"/>
                      <a:pt x="4454" y="26"/>
                    </a:cubicBezTo>
                    <a:cubicBezTo>
                      <a:pt x="7173" y="-251"/>
                      <a:pt x="9566" y="1738"/>
                      <a:pt x="9817" y="4458"/>
                    </a:cubicBezTo>
                    <a:lnTo>
                      <a:pt x="14577" y="53939"/>
                    </a:lnTo>
                    <a:cubicBezTo>
                      <a:pt x="14828" y="56634"/>
                      <a:pt x="12864" y="59051"/>
                      <a:pt x="10145" y="59303"/>
                    </a:cubicBezTo>
                    <a:cubicBezTo>
                      <a:pt x="9994" y="59328"/>
                      <a:pt x="9843" y="59328"/>
                      <a:pt x="9666" y="59328"/>
                    </a:cubicBezTo>
                    <a:close/>
                  </a:path>
                </a:pathLst>
              </a:custGeom>
              <a:solidFill>
                <a:schemeClr val="accent1"/>
              </a:solidFill>
              <a:ln w="2517" cap="flat">
                <a:noFill/>
                <a:prstDash val="solid"/>
                <a:miter/>
              </a:ln>
            </p:spPr>
            <p:txBody>
              <a:bodyPr rtlCol="0" anchor="ctr"/>
              <a:lstStyle/>
              <a:p>
                <a:endParaRPr lang="en-GB" dirty="0"/>
              </a:p>
            </p:txBody>
          </p:sp>
        </p:grpSp>
        <p:grpSp>
          <p:nvGrpSpPr>
            <p:cNvPr id="143" name="Group 142">
              <a:extLst>
                <a:ext uri="{FF2B5EF4-FFF2-40B4-BE49-F238E27FC236}">
                  <a16:creationId xmlns:a16="http://schemas.microsoft.com/office/drawing/2014/main" id="{FE44134A-DEAA-4E62-AE1F-1FAADD247D4B}"/>
                </a:ext>
              </a:extLst>
            </p:cNvPr>
            <p:cNvGrpSpPr/>
            <p:nvPr/>
          </p:nvGrpSpPr>
          <p:grpSpPr>
            <a:xfrm>
              <a:off x="1622239" y="2391526"/>
              <a:ext cx="342294" cy="432000"/>
              <a:chOff x="5397110" y="2563708"/>
              <a:chExt cx="309202" cy="390236"/>
            </a:xfrm>
            <a:solidFill>
              <a:schemeClr val="tx2"/>
            </a:solidFill>
          </p:grpSpPr>
          <p:grpSp>
            <p:nvGrpSpPr>
              <p:cNvPr id="144" name="Grafik 26">
                <a:extLst>
                  <a:ext uri="{FF2B5EF4-FFF2-40B4-BE49-F238E27FC236}">
                    <a16:creationId xmlns:a16="http://schemas.microsoft.com/office/drawing/2014/main" id="{9A6CB9EB-F720-478A-9A25-52549B38795D}"/>
                  </a:ext>
                </a:extLst>
              </p:cNvPr>
              <p:cNvGrpSpPr/>
              <p:nvPr/>
            </p:nvGrpSpPr>
            <p:grpSpPr>
              <a:xfrm>
                <a:off x="5445408" y="2657710"/>
                <a:ext cx="212581" cy="296234"/>
                <a:chOff x="5445408" y="2657710"/>
                <a:chExt cx="212581" cy="296234"/>
              </a:xfrm>
              <a:grpFill/>
            </p:grpSpPr>
            <p:sp>
              <p:nvSpPr>
                <p:cNvPr id="149" name="Freihandform: Form 833">
                  <a:extLst>
                    <a:ext uri="{FF2B5EF4-FFF2-40B4-BE49-F238E27FC236}">
                      <a16:creationId xmlns:a16="http://schemas.microsoft.com/office/drawing/2014/main" id="{4C4F58B3-AD29-4120-97F5-C7B84624318C}"/>
                    </a:ext>
                  </a:extLst>
                </p:cNvPr>
                <p:cNvSpPr/>
                <p:nvPr/>
              </p:nvSpPr>
              <p:spPr>
                <a:xfrm>
                  <a:off x="5445408" y="2657710"/>
                  <a:ext cx="212581" cy="239651"/>
                </a:xfrm>
                <a:custGeom>
                  <a:avLst/>
                  <a:gdLst>
                    <a:gd name="connsiteX0" fmla="*/ 154463 w 212581"/>
                    <a:gd name="connsiteY0" fmla="*/ 239652 h 239651"/>
                    <a:gd name="connsiteX1" fmla="*/ 58119 w 212581"/>
                    <a:gd name="connsiteY1" fmla="*/ 239652 h 239651"/>
                    <a:gd name="connsiteX2" fmla="*/ 53183 w 212581"/>
                    <a:gd name="connsiteY2" fmla="*/ 234716 h 239651"/>
                    <a:gd name="connsiteX3" fmla="*/ 53183 w 212581"/>
                    <a:gd name="connsiteY3" fmla="*/ 200016 h 239651"/>
                    <a:gd name="connsiteX4" fmla="*/ 44672 w 212581"/>
                    <a:gd name="connsiteY4" fmla="*/ 192890 h 239651"/>
                    <a:gd name="connsiteX5" fmla="*/ 0 w 212581"/>
                    <a:gd name="connsiteY5" fmla="*/ 106291 h 239651"/>
                    <a:gd name="connsiteX6" fmla="*/ 106291 w 212581"/>
                    <a:gd name="connsiteY6" fmla="*/ 0 h 239651"/>
                    <a:gd name="connsiteX7" fmla="*/ 212582 w 212581"/>
                    <a:gd name="connsiteY7" fmla="*/ 106291 h 239651"/>
                    <a:gd name="connsiteX8" fmla="*/ 167003 w 212581"/>
                    <a:gd name="connsiteY8" fmla="*/ 193544 h 239651"/>
                    <a:gd name="connsiteX9" fmla="*/ 159373 w 212581"/>
                    <a:gd name="connsiteY9" fmla="*/ 208276 h 239651"/>
                    <a:gd name="connsiteX10" fmla="*/ 159398 w 212581"/>
                    <a:gd name="connsiteY10" fmla="*/ 234741 h 239651"/>
                    <a:gd name="connsiteX11" fmla="*/ 154463 w 212581"/>
                    <a:gd name="connsiteY11" fmla="*/ 239652 h 239651"/>
                    <a:gd name="connsiteX12" fmla="*/ 63029 w 212581"/>
                    <a:gd name="connsiteY12" fmla="*/ 229806 h 239651"/>
                    <a:gd name="connsiteX13" fmla="*/ 149527 w 212581"/>
                    <a:gd name="connsiteY13" fmla="*/ 229806 h 239651"/>
                    <a:gd name="connsiteX14" fmla="*/ 149527 w 212581"/>
                    <a:gd name="connsiteY14" fmla="*/ 208628 h 239651"/>
                    <a:gd name="connsiteX15" fmla="*/ 161715 w 212581"/>
                    <a:gd name="connsiteY15" fmla="*/ 185209 h 239651"/>
                    <a:gd name="connsiteX16" fmla="*/ 202710 w 212581"/>
                    <a:gd name="connsiteY16" fmla="*/ 106291 h 239651"/>
                    <a:gd name="connsiteX17" fmla="*/ 106266 w 212581"/>
                    <a:gd name="connsiteY17" fmla="*/ 9846 h 239651"/>
                    <a:gd name="connsiteX18" fmla="*/ 9821 w 212581"/>
                    <a:gd name="connsiteY18" fmla="*/ 106291 h 239651"/>
                    <a:gd name="connsiteX19" fmla="*/ 50237 w 212581"/>
                    <a:gd name="connsiteY19" fmla="*/ 184806 h 239651"/>
                    <a:gd name="connsiteX20" fmla="*/ 62651 w 212581"/>
                    <a:gd name="connsiteY20" fmla="*/ 196818 h 239651"/>
                    <a:gd name="connsiteX21" fmla="*/ 63004 w 212581"/>
                    <a:gd name="connsiteY21" fmla="*/ 198656 h 239651"/>
                    <a:gd name="connsiteX22" fmla="*/ 63004 w 212581"/>
                    <a:gd name="connsiteY22" fmla="*/ 229806 h 23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2581" h="239651">
                      <a:moveTo>
                        <a:pt x="154463" y="239652"/>
                      </a:moveTo>
                      <a:lnTo>
                        <a:pt x="58119" y="239652"/>
                      </a:lnTo>
                      <a:cubicBezTo>
                        <a:pt x="55399" y="239652"/>
                        <a:pt x="53183" y="237436"/>
                        <a:pt x="53183" y="234716"/>
                      </a:cubicBezTo>
                      <a:lnTo>
                        <a:pt x="53183" y="200016"/>
                      </a:lnTo>
                      <a:cubicBezTo>
                        <a:pt x="52377" y="199084"/>
                        <a:pt x="50061" y="196591"/>
                        <a:pt x="44672" y="192890"/>
                      </a:cubicBezTo>
                      <a:cubicBezTo>
                        <a:pt x="16695" y="173576"/>
                        <a:pt x="0" y="141192"/>
                        <a:pt x="0" y="106291"/>
                      </a:cubicBezTo>
                      <a:cubicBezTo>
                        <a:pt x="0" y="47694"/>
                        <a:pt x="47668" y="0"/>
                        <a:pt x="106291" y="0"/>
                      </a:cubicBezTo>
                      <a:cubicBezTo>
                        <a:pt x="164913" y="0"/>
                        <a:pt x="212582" y="47668"/>
                        <a:pt x="212582" y="106291"/>
                      </a:cubicBezTo>
                      <a:cubicBezTo>
                        <a:pt x="212582" y="142300"/>
                        <a:pt x="195106" y="175741"/>
                        <a:pt x="167003" y="193544"/>
                      </a:cubicBezTo>
                      <a:cubicBezTo>
                        <a:pt x="158844" y="198707"/>
                        <a:pt x="159348" y="207898"/>
                        <a:pt x="159373" y="208276"/>
                      </a:cubicBezTo>
                      <a:lnTo>
                        <a:pt x="159398" y="234741"/>
                      </a:lnTo>
                      <a:cubicBezTo>
                        <a:pt x="159373" y="237461"/>
                        <a:pt x="157182" y="239652"/>
                        <a:pt x="154463" y="239652"/>
                      </a:cubicBezTo>
                      <a:close/>
                      <a:moveTo>
                        <a:pt x="63029" y="229806"/>
                      </a:moveTo>
                      <a:lnTo>
                        <a:pt x="149527" y="229806"/>
                      </a:lnTo>
                      <a:lnTo>
                        <a:pt x="149527" y="208628"/>
                      </a:lnTo>
                      <a:cubicBezTo>
                        <a:pt x="149502" y="208401"/>
                        <a:pt x="148444" y="193595"/>
                        <a:pt x="161715" y="185209"/>
                      </a:cubicBezTo>
                      <a:cubicBezTo>
                        <a:pt x="186997" y="169194"/>
                        <a:pt x="202710" y="138951"/>
                        <a:pt x="202710" y="106291"/>
                      </a:cubicBezTo>
                      <a:cubicBezTo>
                        <a:pt x="202710" y="53108"/>
                        <a:pt x="159449" y="9846"/>
                        <a:pt x="106266" y="9846"/>
                      </a:cubicBezTo>
                      <a:cubicBezTo>
                        <a:pt x="53082" y="9846"/>
                        <a:pt x="9821" y="53108"/>
                        <a:pt x="9821" y="106291"/>
                      </a:cubicBezTo>
                      <a:cubicBezTo>
                        <a:pt x="9821" y="137969"/>
                        <a:pt x="24930" y="167305"/>
                        <a:pt x="50237" y="184806"/>
                      </a:cubicBezTo>
                      <a:cubicBezTo>
                        <a:pt x="59730" y="191354"/>
                        <a:pt x="62072" y="195383"/>
                        <a:pt x="62651" y="196818"/>
                      </a:cubicBezTo>
                      <a:cubicBezTo>
                        <a:pt x="62878" y="197397"/>
                        <a:pt x="63004" y="198027"/>
                        <a:pt x="63004" y="198656"/>
                      </a:cubicBezTo>
                      <a:lnTo>
                        <a:pt x="63004" y="229806"/>
                      </a:lnTo>
                      <a:close/>
                    </a:path>
                  </a:pathLst>
                </a:custGeom>
                <a:grpFill/>
                <a:ln w="2517" cap="flat">
                  <a:noFill/>
                  <a:prstDash val="solid"/>
                  <a:miter/>
                </a:ln>
              </p:spPr>
              <p:txBody>
                <a:bodyPr rtlCol="0" anchor="ctr"/>
                <a:lstStyle/>
                <a:p>
                  <a:endParaRPr lang="en-GB" dirty="0"/>
                </a:p>
              </p:txBody>
            </p:sp>
            <p:sp>
              <p:nvSpPr>
                <p:cNvPr id="150" name="Freihandform: Form 834">
                  <a:extLst>
                    <a:ext uri="{FF2B5EF4-FFF2-40B4-BE49-F238E27FC236}">
                      <a16:creationId xmlns:a16="http://schemas.microsoft.com/office/drawing/2014/main" id="{1D7E8B0A-DE7A-4CB8-9D93-EF2BB84560D0}"/>
                    </a:ext>
                  </a:extLst>
                </p:cNvPr>
                <p:cNvSpPr/>
                <p:nvPr/>
              </p:nvSpPr>
              <p:spPr>
                <a:xfrm>
                  <a:off x="5498440" y="2915794"/>
                  <a:ext cx="105308" cy="9871"/>
                </a:xfrm>
                <a:custGeom>
                  <a:avLst/>
                  <a:gdLst>
                    <a:gd name="connsiteX0" fmla="*/ 100373 w 105308"/>
                    <a:gd name="connsiteY0" fmla="*/ 9871 h 9871"/>
                    <a:gd name="connsiteX1" fmla="*/ 4936 w 105308"/>
                    <a:gd name="connsiteY1" fmla="*/ 9871 h 9871"/>
                    <a:gd name="connsiteX2" fmla="*/ 0 w 105308"/>
                    <a:gd name="connsiteY2" fmla="*/ 4936 h 9871"/>
                    <a:gd name="connsiteX3" fmla="*/ 4936 w 105308"/>
                    <a:gd name="connsiteY3" fmla="*/ 0 h 9871"/>
                    <a:gd name="connsiteX4" fmla="*/ 100373 w 105308"/>
                    <a:gd name="connsiteY4" fmla="*/ 0 h 9871"/>
                    <a:gd name="connsiteX5" fmla="*/ 105309 w 105308"/>
                    <a:gd name="connsiteY5" fmla="*/ 4936 h 9871"/>
                    <a:gd name="connsiteX6" fmla="*/ 100373 w 105308"/>
                    <a:gd name="connsiteY6" fmla="*/ 9871 h 9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308" h="9871">
                      <a:moveTo>
                        <a:pt x="100373" y="9871"/>
                      </a:moveTo>
                      <a:lnTo>
                        <a:pt x="4936" y="9871"/>
                      </a:lnTo>
                      <a:cubicBezTo>
                        <a:pt x="2216" y="9871"/>
                        <a:pt x="0" y="7655"/>
                        <a:pt x="0" y="4936"/>
                      </a:cubicBezTo>
                      <a:cubicBezTo>
                        <a:pt x="0" y="2216"/>
                        <a:pt x="2216" y="0"/>
                        <a:pt x="4936" y="0"/>
                      </a:cubicBezTo>
                      <a:lnTo>
                        <a:pt x="100373" y="0"/>
                      </a:lnTo>
                      <a:cubicBezTo>
                        <a:pt x="103093" y="0"/>
                        <a:pt x="105309" y="2216"/>
                        <a:pt x="105309" y="4936"/>
                      </a:cubicBezTo>
                      <a:cubicBezTo>
                        <a:pt x="105309" y="7655"/>
                        <a:pt x="103093" y="9871"/>
                        <a:pt x="100373" y="9871"/>
                      </a:cubicBezTo>
                      <a:close/>
                    </a:path>
                  </a:pathLst>
                </a:custGeom>
                <a:grpFill/>
                <a:ln w="2517" cap="flat">
                  <a:noFill/>
                  <a:prstDash val="solid"/>
                  <a:miter/>
                </a:ln>
              </p:spPr>
              <p:txBody>
                <a:bodyPr rtlCol="0" anchor="ctr"/>
                <a:lstStyle/>
                <a:p>
                  <a:endParaRPr lang="en-GB" dirty="0"/>
                </a:p>
              </p:txBody>
            </p:sp>
            <p:sp>
              <p:nvSpPr>
                <p:cNvPr id="151" name="Freihandform: Form 835">
                  <a:extLst>
                    <a:ext uri="{FF2B5EF4-FFF2-40B4-BE49-F238E27FC236}">
                      <a16:creationId xmlns:a16="http://schemas.microsoft.com/office/drawing/2014/main" id="{B9C2EDED-3889-406E-A5D0-9CAACBD18BF7}"/>
                    </a:ext>
                  </a:extLst>
                </p:cNvPr>
                <p:cNvSpPr/>
                <p:nvPr/>
              </p:nvSpPr>
              <p:spPr>
                <a:xfrm>
                  <a:off x="5516092" y="2944073"/>
                  <a:ext cx="70004" cy="9871"/>
                </a:xfrm>
                <a:custGeom>
                  <a:avLst/>
                  <a:gdLst>
                    <a:gd name="connsiteX0" fmla="*/ 65069 w 70004"/>
                    <a:gd name="connsiteY0" fmla="*/ 9871 h 9871"/>
                    <a:gd name="connsiteX1" fmla="*/ 4936 w 70004"/>
                    <a:gd name="connsiteY1" fmla="*/ 9871 h 9871"/>
                    <a:gd name="connsiteX2" fmla="*/ 0 w 70004"/>
                    <a:gd name="connsiteY2" fmla="*/ 4936 h 9871"/>
                    <a:gd name="connsiteX3" fmla="*/ 4936 w 70004"/>
                    <a:gd name="connsiteY3" fmla="*/ 0 h 9871"/>
                    <a:gd name="connsiteX4" fmla="*/ 65069 w 70004"/>
                    <a:gd name="connsiteY4" fmla="*/ 0 h 9871"/>
                    <a:gd name="connsiteX5" fmla="*/ 70004 w 70004"/>
                    <a:gd name="connsiteY5" fmla="*/ 4936 h 9871"/>
                    <a:gd name="connsiteX6" fmla="*/ 65069 w 70004"/>
                    <a:gd name="connsiteY6" fmla="*/ 9871 h 9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004" h="9871">
                      <a:moveTo>
                        <a:pt x="65069" y="9871"/>
                      </a:moveTo>
                      <a:lnTo>
                        <a:pt x="4936" y="9871"/>
                      </a:lnTo>
                      <a:cubicBezTo>
                        <a:pt x="2216" y="9871"/>
                        <a:pt x="0" y="7655"/>
                        <a:pt x="0" y="4936"/>
                      </a:cubicBezTo>
                      <a:cubicBezTo>
                        <a:pt x="0" y="2216"/>
                        <a:pt x="2216" y="0"/>
                        <a:pt x="4936" y="0"/>
                      </a:cubicBezTo>
                      <a:lnTo>
                        <a:pt x="65069" y="0"/>
                      </a:lnTo>
                      <a:cubicBezTo>
                        <a:pt x="67788" y="0"/>
                        <a:pt x="70004" y="2216"/>
                        <a:pt x="70004" y="4936"/>
                      </a:cubicBezTo>
                      <a:cubicBezTo>
                        <a:pt x="69979" y="7655"/>
                        <a:pt x="67788" y="9871"/>
                        <a:pt x="65069" y="9871"/>
                      </a:cubicBezTo>
                      <a:close/>
                    </a:path>
                  </a:pathLst>
                </a:custGeom>
                <a:grpFill/>
                <a:ln w="2517" cap="flat">
                  <a:noFill/>
                  <a:prstDash val="solid"/>
                  <a:miter/>
                </a:ln>
              </p:spPr>
              <p:txBody>
                <a:bodyPr rtlCol="0" anchor="ctr"/>
                <a:lstStyle/>
                <a:p>
                  <a:endParaRPr lang="en-GB" dirty="0"/>
                </a:p>
              </p:txBody>
            </p:sp>
          </p:grpSp>
          <p:grpSp>
            <p:nvGrpSpPr>
              <p:cNvPr id="145" name="Grafik 26">
                <a:extLst>
                  <a:ext uri="{FF2B5EF4-FFF2-40B4-BE49-F238E27FC236}">
                    <a16:creationId xmlns:a16="http://schemas.microsoft.com/office/drawing/2014/main" id="{8B067F27-CAB1-4CF2-B597-8D7E7FC3A71B}"/>
                  </a:ext>
                </a:extLst>
              </p:cNvPr>
              <p:cNvGrpSpPr/>
              <p:nvPr/>
            </p:nvGrpSpPr>
            <p:grpSpPr>
              <a:xfrm>
                <a:off x="5397110" y="2563708"/>
                <a:ext cx="309202" cy="107852"/>
                <a:chOff x="5397110" y="2563708"/>
                <a:chExt cx="309202" cy="107852"/>
              </a:xfrm>
              <a:grpFill/>
            </p:grpSpPr>
            <p:sp>
              <p:nvSpPr>
                <p:cNvPr id="146" name="Freihandform: Form 837">
                  <a:extLst>
                    <a:ext uri="{FF2B5EF4-FFF2-40B4-BE49-F238E27FC236}">
                      <a16:creationId xmlns:a16="http://schemas.microsoft.com/office/drawing/2014/main" id="{CC345022-984F-46FF-B75B-801ED49CF196}"/>
                    </a:ext>
                  </a:extLst>
                </p:cNvPr>
                <p:cNvSpPr/>
                <p:nvPr/>
              </p:nvSpPr>
              <p:spPr>
                <a:xfrm>
                  <a:off x="5544296" y="2563708"/>
                  <a:ext cx="9871" cy="72522"/>
                </a:xfrm>
                <a:custGeom>
                  <a:avLst/>
                  <a:gdLst>
                    <a:gd name="connsiteX0" fmla="*/ 4936 w 9871"/>
                    <a:gd name="connsiteY0" fmla="*/ 72523 h 72522"/>
                    <a:gd name="connsiteX1" fmla="*/ 0 w 9871"/>
                    <a:gd name="connsiteY1" fmla="*/ 67587 h 72522"/>
                    <a:gd name="connsiteX2" fmla="*/ 0 w 9871"/>
                    <a:gd name="connsiteY2" fmla="*/ 4936 h 72522"/>
                    <a:gd name="connsiteX3" fmla="*/ 4936 w 9871"/>
                    <a:gd name="connsiteY3" fmla="*/ 0 h 72522"/>
                    <a:gd name="connsiteX4" fmla="*/ 9871 w 9871"/>
                    <a:gd name="connsiteY4" fmla="*/ 4936 h 72522"/>
                    <a:gd name="connsiteX5" fmla="*/ 9871 w 9871"/>
                    <a:gd name="connsiteY5" fmla="*/ 67587 h 72522"/>
                    <a:gd name="connsiteX6" fmla="*/ 4936 w 9871"/>
                    <a:gd name="connsiteY6" fmla="*/ 72523 h 72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1" h="72522">
                      <a:moveTo>
                        <a:pt x="4936" y="72523"/>
                      </a:moveTo>
                      <a:cubicBezTo>
                        <a:pt x="2216" y="72523"/>
                        <a:pt x="0" y="70307"/>
                        <a:pt x="0" y="67587"/>
                      </a:cubicBezTo>
                      <a:lnTo>
                        <a:pt x="0" y="4936"/>
                      </a:lnTo>
                      <a:cubicBezTo>
                        <a:pt x="0" y="2216"/>
                        <a:pt x="2216" y="0"/>
                        <a:pt x="4936" y="0"/>
                      </a:cubicBezTo>
                      <a:cubicBezTo>
                        <a:pt x="7655" y="0"/>
                        <a:pt x="9871" y="2216"/>
                        <a:pt x="9871" y="4936"/>
                      </a:cubicBezTo>
                      <a:lnTo>
                        <a:pt x="9871" y="67587"/>
                      </a:lnTo>
                      <a:cubicBezTo>
                        <a:pt x="9871" y="70307"/>
                        <a:pt x="7655" y="72523"/>
                        <a:pt x="4936" y="72523"/>
                      </a:cubicBezTo>
                      <a:close/>
                    </a:path>
                  </a:pathLst>
                </a:custGeom>
                <a:grpFill/>
                <a:ln w="2517" cap="flat">
                  <a:noFill/>
                  <a:prstDash val="solid"/>
                  <a:miter/>
                </a:ln>
              </p:spPr>
              <p:txBody>
                <a:bodyPr rtlCol="0" anchor="ctr"/>
                <a:lstStyle/>
                <a:p>
                  <a:endParaRPr lang="en-GB" dirty="0"/>
                </a:p>
              </p:txBody>
            </p:sp>
            <p:sp>
              <p:nvSpPr>
                <p:cNvPr id="147" name="Freihandform: Form 838">
                  <a:extLst>
                    <a:ext uri="{FF2B5EF4-FFF2-40B4-BE49-F238E27FC236}">
                      <a16:creationId xmlns:a16="http://schemas.microsoft.com/office/drawing/2014/main" id="{EFDA7B7D-BADF-4828-A97E-333FA60A26D1}"/>
                    </a:ext>
                  </a:extLst>
                </p:cNvPr>
                <p:cNvSpPr/>
                <p:nvPr/>
              </p:nvSpPr>
              <p:spPr>
                <a:xfrm>
                  <a:off x="5397110" y="2617420"/>
                  <a:ext cx="54140" cy="54140"/>
                </a:xfrm>
                <a:custGeom>
                  <a:avLst/>
                  <a:gdLst>
                    <a:gd name="connsiteX0" fmla="*/ 49204 w 54140"/>
                    <a:gd name="connsiteY0" fmla="*/ 54140 h 54140"/>
                    <a:gd name="connsiteX1" fmla="*/ 45729 w 54140"/>
                    <a:gd name="connsiteY1" fmla="*/ 52705 h 54140"/>
                    <a:gd name="connsiteX2" fmla="*/ 1435 w 54140"/>
                    <a:gd name="connsiteY2" fmla="*/ 8411 h 54140"/>
                    <a:gd name="connsiteX3" fmla="*/ 1435 w 54140"/>
                    <a:gd name="connsiteY3" fmla="*/ 1435 h 54140"/>
                    <a:gd name="connsiteX4" fmla="*/ 8411 w 54140"/>
                    <a:gd name="connsiteY4" fmla="*/ 1435 h 54140"/>
                    <a:gd name="connsiteX5" fmla="*/ 52705 w 54140"/>
                    <a:gd name="connsiteY5" fmla="*/ 45729 h 54140"/>
                    <a:gd name="connsiteX6" fmla="*/ 52705 w 54140"/>
                    <a:gd name="connsiteY6" fmla="*/ 52705 h 54140"/>
                    <a:gd name="connsiteX7" fmla="*/ 49204 w 54140"/>
                    <a:gd name="connsiteY7" fmla="*/ 54140 h 5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40" h="54140">
                      <a:moveTo>
                        <a:pt x="49204" y="54140"/>
                      </a:moveTo>
                      <a:cubicBezTo>
                        <a:pt x="47945" y="54140"/>
                        <a:pt x="46686" y="53662"/>
                        <a:pt x="45729" y="52705"/>
                      </a:cubicBezTo>
                      <a:lnTo>
                        <a:pt x="1435" y="8411"/>
                      </a:lnTo>
                      <a:cubicBezTo>
                        <a:pt x="-478" y="6497"/>
                        <a:pt x="-478" y="3374"/>
                        <a:pt x="1435" y="1435"/>
                      </a:cubicBezTo>
                      <a:cubicBezTo>
                        <a:pt x="3349" y="-478"/>
                        <a:pt x="6472" y="-478"/>
                        <a:pt x="8411" y="1435"/>
                      </a:cubicBezTo>
                      <a:lnTo>
                        <a:pt x="52705" y="45729"/>
                      </a:lnTo>
                      <a:cubicBezTo>
                        <a:pt x="54619" y="47643"/>
                        <a:pt x="54619" y="50766"/>
                        <a:pt x="52705" y="52705"/>
                      </a:cubicBezTo>
                      <a:cubicBezTo>
                        <a:pt x="51723" y="53662"/>
                        <a:pt x="50464" y="54140"/>
                        <a:pt x="49204" y="54140"/>
                      </a:cubicBezTo>
                      <a:close/>
                    </a:path>
                  </a:pathLst>
                </a:custGeom>
                <a:grpFill/>
                <a:ln w="2517" cap="flat">
                  <a:noFill/>
                  <a:prstDash val="solid"/>
                  <a:miter/>
                </a:ln>
              </p:spPr>
              <p:txBody>
                <a:bodyPr rtlCol="0" anchor="ctr"/>
                <a:lstStyle/>
                <a:p>
                  <a:endParaRPr lang="en-GB" dirty="0"/>
                </a:p>
              </p:txBody>
            </p:sp>
            <p:sp>
              <p:nvSpPr>
                <p:cNvPr id="148" name="Freihandform: Form 839">
                  <a:extLst>
                    <a:ext uri="{FF2B5EF4-FFF2-40B4-BE49-F238E27FC236}">
                      <a16:creationId xmlns:a16="http://schemas.microsoft.com/office/drawing/2014/main" id="{CC0CD004-74F1-4DBE-81EB-61BA71D60710}"/>
                    </a:ext>
                  </a:extLst>
                </p:cNvPr>
                <p:cNvSpPr/>
                <p:nvPr/>
              </p:nvSpPr>
              <p:spPr>
                <a:xfrm>
                  <a:off x="5652173" y="2617420"/>
                  <a:ext cx="54140" cy="54140"/>
                </a:xfrm>
                <a:custGeom>
                  <a:avLst/>
                  <a:gdLst>
                    <a:gd name="connsiteX0" fmla="*/ 4910 w 54140"/>
                    <a:gd name="connsiteY0" fmla="*/ 54140 h 54140"/>
                    <a:gd name="connsiteX1" fmla="*/ 1435 w 54140"/>
                    <a:gd name="connsiteY1" fmla="*/ 52705 h 54140"/>
                    <a:gd name="connsiteX2" fmla="*/ 1435 w 54140"/>
                    <a:gd name="connsiteY2" fmla="*/ 45729 h 54140"/>
                    <a:gd name="connsiteX3" fmla="*/ 45729 w 54140"/>
                    <a:gd name="connsiteY3" fmla="*/ 1435 h 54140"/>
                    <a:gd name="connsiteX4" fmla="*/ 52705 w 54140"/>
                    <a:gd name="connsiteY4" fmla="*/ 1435 h 54140"/>
                    <a:gd name="connsiteX5" fmla="*/ 52705 w 54140"/>
                    <a:gd name="connsiteY5" fmla="*/ 8411 h 54140"/>
                    <a:gd name="connsiteX6" fmla="*/ 8411 w 54140"/>
                    <a:gd name="connsiteY6" fmla="*/ 52705 h 54140"/>
                    <a:gd name="connsiteX7" fmla="*/ 4910 w 54140"/>
                    <a:gd name="connsiteY7" fmla="*/ 54140 h 54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40" h="54140">
                      <a:moveTo>
                        <a:pt x="4910" y="54140"/>
                      </a:moveTo>
                      <a:cubicBezTo>
                        <a:pt x="3651" y="54140"/>
                        <a:pt x="2392" y="53662"/>
                        <a:pt x="1435" y="52705"/>
                      </a:cubicBezTo>
                      <a:cubicBezTo>
                        <a:pt x="-478" y="50791"/>
                        <a:pt x="-478" y="47668"/>
                        <a:pt x="1435" y="45729"/>
                      </a:cubicBezTo>
                      <a:lnTo>
                        <a:pt x="45729" y="1435"/>
                      </a:lnTo>
                      <a:cubicBezTo>
                        <a:pt x="47643" y="-478"/>
                        <a:pt x="50766" y="-478"/>
                        <a:pt x="52705" y="1435"/>
                      </a:cubicBezTo>
                      <a:cubicBezTo>
                        <a:pt x="54619" y="3349"/>
                        <a:pt x="54619" y="6472"/>
                        <a:pt x="52705" y="8411"/>
                      </a:cubicBezTo>
                      <a:lnTo>
                        <a:pt x="8411" y="52705"/>
                      </a:lnTo>
                      <a:cubicBezTo>
                        <a:pt x="7429" y="53662"/>
                        <a:pt x="6169" y="54140"/>
                        <a:pt x="4910" y="54140"/>
                      </a:cubicBezTo>
                      <a:close/>
                    </a:path>
                  </a:pathLst>
                </a:custGeom>
                <a:grpFill/>
                <a:ln w="2517" cap="flat">
                  <a:noFill/>
                  <a:prstDash val="solid"/>
                  <a:miter/>
                </a:ln>
              </p:spPr>
              <p:txBody>
                <a:bodyPr rtlCol="0" anchor="ctr"/>
                <a:lstStyle/>
                <a:p>
                  <a:endParaRPr lang="en-GB" dirty="0"/>
                </a:p>
              </p:txBody>
            </p:sp>
          </p:grpSp>
        </p:grpSp>
      </p:grpSp>
      <p:grpSp>
        <p:nvGrpSpPr>
          <p:cNvPr id="162" name="Group 161">
            <a:extLst>
              <a:ext uri="{FF2B5EF4-FFF2-40B4-BE49-F238E27FC236}">
                <a16:creationId xmlns:a16="http://schemas.microsoft.com/office/drawing/2014/main" id="{CC6187EB-8FF6-46DF-95CF-1FB4954FACCD}"/>
              </a:ext>
            </a:extLst>
          </p:cNvPr>
          <p:cNvGrpSpPr>
            <a:grpSpLocks noChangeAspect="1"/>
          </p:cNvGrpSpPr>
          <p:nvPr/>
        </p:nvGrpSpPr>
        <p:grpSpPr>
          <a:xfrm>
            <a:off x="2654211" y="2391528"/>
            <a:ext cx="461414" cy="431995"/>
            <a:chOff x="7746159" y="1685133"/>
            <a:chExt cx="535338" cy="501206"/>
          </a:xfrm>
        </p:grpSpPr>
        <p:grpSp>
          <p:nvGrpSpPr>
            <p:cNvPr id="163" name="Group 162">
              <a:extLst>
                <a:ext uri="{FF2B5EF4-FFF2-40B4-BE49-F238E27FC236}">
                  <a16:creationId xmlns:a16="http://schemas.microsoft.com/office/drawing/2014/main" id="{B4F628DE-CE33-40E0-AE05-B4B552061315}"/>
                </a:ext>
              </a:extLst>
            </p:cNvPr>
            <p:cNvGrpSpPr/>
            <p:nvPr/>
          </p:nvGrpSpPr>
          <p:grpSpPr>
            <a:xfrm>
              <a:off x="7922177" y="1685133"/>
              <a:ext cx="346193" cy="336045"/>
              <a:chOff x="7922177" y="1685128"/>
              <a:chExt cx="346193" cy="336045"/>
            </a:xfrm>
          </p:grpSpPr>
          <p:grpSp>
            <p:nvGrpSpPr>
              <p:cNvPr id="170" name="Grafik 26">
                <a:extLst>
                  <a:ext uri="{FF2B5EF4-FFF2-40B4-BE49-F238E27FC236}">
                    <a16:creationId xmlns:a16="http://schemas.microsoft.com/office/drawing/2014/main" id="{93A4E5B7-3695-4B17-BAB0-8EA032B7470A}"/>
                  </a:ext>
                </a:extLst>
              </p:cNvPr>
              <p:cNvGrpSpPr/>
              <p:nvPr/>
            </p:nvGrpSpPr>
            <p:grpSpPr>
              <a:xfrm>
                <a:off x="7968803" y="1823058"/>
                <a:ext cx="258632" cy="198115"/>
                <a:chOff x="7968803" y="1823058"/>
                <a:chExt cx="258632" cy="198115"/>
              </a:xfrm>
              <a:solidFill>
                <a:schemeClr val="accent1"/>
              </a:solidFill>
            </p:grpSpPr>
            <p:sp>
              <p:nvSpPr>
                <p:cNvPr id="174" name="Freihandform: Form 628">
                  <a:extLst>
                    <a:ext uri="{FF2B5EF4-FFF2-40B4-BE49-F238E27FC236}">
                      <a16:creationId xmlns:a16="http://schemas.microsoft.com/office/drawing/2014/main" id="{4C6A249F-75B3-4559-97AF-EBDDEBF00C19}"/>
                    </a:ext>
                  </a:extLst>
                </p:cNvPr>
                <p:cNvSpPr/>
                <p:nvPr/>
              </p:nvSpPr>
              <p:spPr>
                <a:xfrm>
                  <a:off x="7968803" y="1823072"/>
                  <a:ext cx="258632" cy="198102"/>
                </a:xfrm>
                <a:custGeom>
                  <a:avLst/>
                  <a:gdLst>
                    <a:gd name="connsiteX0" fmla="*/ 129291 w 258632"/>
                    <a:gd name="connsiteY0" fmla="*/ 198102 h 198102"/>
                    <a:gd name="connsiteX1" fmla="*/ 125766 w 258632"/>
                    <a:gd name="connsiteY1" fmla="*/ 196617 h 198102"/>
                    <a:gd name="connsiteX2" fmla="*/ 1395 w 258632"/>
                    <a:gd name="connsiteY2" fmla="*/ 68871 h 198102"/>
                    <a:gd name="connsiteX3" fmla="*/ 1344 w 258632"/>
                    <a:gd name="connsiteY3" fmla="*/ 62047 h 198102"/>
                    <a:gd name="connsiteX4" fmla="*/ 58506 w 258632"/>
                    <a:gd name="connsiteY4" fmla="*/ 1536 h 198102"/>
                    <a:gd name="connsiteX5" fmla="*/ 62082 w 258632"/>
                    <a:gd name="connsiteY5" fmla="*/ 0 h 198102"/>
                    <a:gd name="connsiteX6" fmla="*/ 196551 w 258632"/>
                    <a:gd name="connsiteY6" fmla="*/ 0 h 198102"/>
                    <a:gd name="connsiteX7" fmla="*/ 200126 w 258632"/>
                    <a:gd name="connsiteY7" fmla="*/ 1536 h 198102"/>
                    <a:gd name="connsiteX8" fmla="*/ 257288 w 258632"/>
                    <a:gd name="connsiteY8" fmla="*/ 62047 h 198102"/>
                    <a:gd name="connsiteX9" fmla="*/ 257238 w 258632"/>
                    <a:gd name="connsiteY9" fmla="*/ 68871 h 198102"/>
                    <a:gd name="connsiteX10" fmla="*/ 132867 w 258632"/>
                    <a:gd name="connsiteY10" fmla="*/ 196617 h 198102"/>
                    <a:gd name="connsiteX11" fmla="*/ 129291 w 258632"/>
                    <a:gd name="connsiteY11" fmla="*/ 198102 h 198102"/>
                    <a:gd name="connsiteX12" fmla="*/ 11719 w 258632"/>
                    <a:gd name="connsiteY12" fmla="*/ 65396 h 198102"/>
                    <a:gd name="connsiteX13" fmla="*/ 129266 w 258632"/>
                    <a:gd name="connsiteY13" fmla="*/ 186116 h 198102"/>
                    <a:gd name="connsiteX14" fmla="*/ 246813 w 258632"/>
                    <a:gd name="connsiteY14" fmla="*/ 65396 h 198102"/>
                    <a:gd name="connsiteX15" fmla="*/ 194360 w 258632"/>
                    <a:gd name="connsiteY15" fmla="*/ 9871 h 198102"/>
                    <a:gd name="connsiteX16" fmla="*/ 64147 w 258632"/>
                    <a:gd name="connsiteY16" fmla="*/ 9871 h 198102"/>
                    <a:gd name="connsiteX17" fmla="*/ 11719 w 258632"/>
                    <a:gd name="connsiteY17" fmla="*/ 65396 h 198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58632" h="198102">
                      <a:moveTo>
                        <a:pt x="129291" y="198102"/>
                      </a:moveTo>
                      <a:cubicBezTo>
                        <a:pt x="127956" y="198102"/>
                        <a:pt x="126697" y="197573"/>
                        <a:pt x="125766" y="196617"/>
                      </a:cubicBezTo>
                      <a:lnTo>
                        <a:pt x="1395" y="68871"/>
                      </a:lnTo>
                      <a:cubicBezTo>
                        <a:pt x="-444" y="66983"/>
                        <a:pt x="-469" y="63961"/>
                        <a:pt x="1344" y="62047"/>
                      </a:cubicBezTo>
                      <a:lnTo>
                        <a:pt x="58506" y="1536"/>
                      </a:lnTo>
                      <a:cubicBezTo>
                        <a:pt x="59438" y="554"/>
                        <a:pt x="60722" y="0"/>
                        <a:pt x="62082" y="0"/>
                      </a:cubicBezTo>
                      <a:lnTo>
                        <a:pt x="196551" y="0"/>
                      </a:lnTo>
                      <a:cubicBezTo>
                        <a:pt x="197910" y="0"/>
                        <a:pt x="199195" y="554"/>
                        <a:pt x="200126" y="1536"/>
                      </a:cubicBezTo>
                      <a:lnTo>
                        <a:pt x="257288" y="62047"/>
                      </a:lnTo>
                      <a:cubicBezTo>
                        <a:pt x="259101" y="63961"/>
                        <a:pt x="259076" y="66983"/>
                        <a:pt x="257238" y="68871"/>
                      </a:cubicBezTo>
                      <a:lnTo>
                        <a:pt x="132867" y="196617"/>
                      </a:lnTo>
                      <a:cubicBezTo>
                        <a:pt x="131885" y="197573"/>
                        <a:pt x="130601" y="198102"/>
                        <a:pt x="129291" y="198102"/>
                      </a:cubicBezTo>
                      <a:close/>
                      <a:moveTo>
                        <a:pt x="11719" y="65396"/>
                      </a:moveTo>
                      <a:lnTo>
                        <a:pt x="129266" y="186116"/>
                      </a:lnTo>
                      <a:lnTo>
                        <a:pt x="246813" y="65396"/>
                      </a:lnTo>
                      <a:lnTo>
                        <a:pt x="194360" y="9871"/>
                      </a:lnTo>
                      <a:lnTo>
                        <a:pt x="64147" y="9871"/>
                      </a:lnTo>
                      <a:lnTo>
                        <a:pt x="11719" y="65396"/>
                      </a:lnTo>
                      <a:close/>
                    </a:path>
                  </a:pathLst>
                </a:custGeom>
                <a:solidFill>
                  <a:schemeClr val="accent1"/>
                </a:solidFill>
                <a:ln w="2517" cap="flat">
                  <a:noFill/>
                  <a:prstDash val="solid"/>
                  <a:miter/>
                </a:ln>
              </p:spPr>
              <p:txBody>
                <a:bodyPr rtlCol="0" anchor="ctr"/>
                <a:lstStyle/>
                <a:p>
                  <a:endParaRPr lang="en-GB" dirty="0"/>
                </a:p>
              </p:txBody>
            </p:sp>
            <p:sp>
              <p:nvSpPr>
                <p:cNvPr id="175" name="Freihandform: Form 629">
                  <a:extLst>
                    <a:ext uri="{FF2B5EF4-FFF2-40B4-BE49-F238E27FC236}">
                      <a16:creationId xmlns:a16="http://schemas.microsoft.com/office/drawing/2014/main" id="{32338149-9199-4C09-A604-598090DDE0BD}"/>
                    </a:ext>
                  </a:extLst>
                </p:cNvPr>
                <p:cNvSpPr/>
                <p:nvPr/>
              </p:nvSpPr>
              <p:spPr>
                <a:xfrm>
                  <a:off x="7972137" y="1883558"/>
                  <a:ext cx="251915" cy="9871"/>
                </a:xfrm>
                <a:custGeom>
                  <a:avLst/>
                  <a:gdLst>
                    <a:gd name="connsiteX0" fmla="*/ 246979 w 251915"/>
                    <a:gd name="connsiteY0" fmla="*/ 9871 h 9871"/>
                    <a:gd name="connsiteX1" fmla="*/ 4935 w 251915"/>
                    <a:gd name="connsiteY1" fmla="*/ 9871 h 9871"/>
                    <a:gd name="connsiteX2" fmla="*/ 0 w 251915"/>
                    <a:gd name="connsiteY2" fmla="*/ 4936 h 9871"/>
                    <a:gd name="connsiteX3" fmla="*/ 4935 w 251915"/>
                    <a:gd name="connsiteY3" fmla="*/ 0 h 9871"/>
                    <a:gd name="connsiteX4" fmla="*/ 246979 w 251915"/>
                    <a:gd name="connsiteY4" fmla="*/ 0 h 9871"/>
                    <a:gd name="connsiteX5" fmla="*/ 251915 w 251915"/>
                    <a:gd name="connsiteY5" fmla="*/ 4936 h 9871"/>
                    <a:gd name="connsiteX6" fmla="*/ 246979 w 251915"/>
                    <a:gd name="connsiteY6" fmla="*/ 9871 h 9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915" h="9871">
                      <a:moveTo>
                        <a:pt x="246979" y="9871"/>
                      </a:moveTo>
                      <a:lnTo>
                        <a:pt x="4935" y="9871"/>
                      </a:lnTo>
                      <a:cubicBezTo>
                        <a:pt x="2216" y="9871"/>
                        <a:pt x="0" y="7655"/>
                        <a:pt x="0" y="4936"/>
                      </a:cubicBezTo>
                      <a:cubicBezTo>
                        <a:pt x="0" y="2216"/>
                        <a:pt x="2216" y="0"/>
                        <a:pt x="4935" y="0"/>
                      </a:cubicBezTo>
                      <a:lnTo>
                        <a:pt x="246979" y="0"/>
                      </a:lnTo>
                      <a:cubicBezTo>
                        <a:pt x="249699" y="0"/>
                        <a:pt x="251915" y="2216"/>
                        <a:pt x="251915" y="4936"/>
                      </a:cubicBezTo>
                      <a:cubicBezTo>
                        <a:pt x="251890" y="7680"/>
                        <a:pt x="249699" y="9871"/>
                        <a:pt x="246979" y="9871"/>
                      </a:cubicBezTo>
                      <a:close/>
                    </a:path>
                  </a:pathLst>
                </a:custGeom>
                <a:solidFill>
                  <a:schemeClr val="accent1"/>
                </a:solidFill>
                <a:ln w="2517" cap="flat">
                  <a:noFill/>
                  <a:prstDash val="solid"/>
                  <a:miter/>
                </a:ln>
              </p:spPr>
              <p:txBody>
                <a:bodyPr rtlCol="0" anchor="ctr"/>
                <a:lstStyle/>
                <a:p>
                  <a:endParaRPr lang="en-GB" dirty="0"/>
                </a:p>
              </p:txBody>
            </p:sp>
            <p:sp>
              <p:nvSpPr>
                <p:cNvPr id="176" name="Freihandform: Form 630">
                  <a:extLst>
                    <a:ext uri="{FF2B5EF4-FFF2-40B4-BE49-F238E27FC236}">
                      <a16:creationId xmlns:a16="http://schemas.microsoft.com/office/drawing/2014/main" id="{8A9EB00D-F33F-4CA4-9FA5-5A98CAC09120}"/>
                    </a:ext>
                  </a:extLst>
                </p:cNvPr>
                <p:cNvSpPr/>
                <p:nvPr/>
              </p:nvSpPr>
              <p:spPr>
                <a:xfrm>
                  <a:off x="8025942" y="1823065"/>
                  <a:ext cx="77069" cy="198109"/>
                </a:xfrm>
                <a:custGeom>
                  <a:avLst/>
                  <a:gdLst>
                    <a:gd name="connsiteX0" fmla="*/ 72152 w 77069"/>
                    <a:gd name="connsiteY0" fmla="*/ 198109 h 198109"/>
                    <a:gd name="connsiteX1" fmla="*/ 67518 w 77069"/>
                    <a:gd name="connsiteY1" fmla="*/ 194836 h 198109"/>
                    <a:gd name="connsiteX2" fmla="*/ 284 w 77069"/>
                    <a:gd name="connsiteY2" fmla="*/ 6580 h 198109"/>
                    <a:gd name="connsiteX3" fmla="*/ 3256 w 77069"/>
                    <a:gd name="connsiteY3" fmla="*/ 284 h 198109"/>
                    <a:gd name="connsiteX4" fmla="*/ 9551 w 77069"/>
                    <a:gd name="connsiteY4" fmla="*/ 3256 h 198109"/>
                    <a:gd name="connsiteX5" fmla="*/ 76785 w 77069"/>
                    <a:gd name="connsiteY5" fmla="*/ 191512 h 198109"/>
                    <a:gd name="connsiteX6" fmla="*/ 73814 w 77069"/>
                    <a:gd name="connsiteY6" fmla="*/ 197807 h 198109"/>
                    <a:gd name="connsiteX7" fmla="*/ 72152 w 77069"/>
                    <a:gd name="connsiteY7" fmla="*/ 198109 h 198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69" h="198109">
                      <a:moveTo>
                        <a:pt x="72152" y="198109"/>
                      </a:moveTo>
                      <a:cubicBezTo>
                        <a:pt x="70137" y="198109"/>
                        <a:pt x="68224" y="196850"/>
                        <a:pt x="67518" y="194836"/>
                      </a:cubicBezTo>
                      <a:lnTo>
                        <a:pt x="284" y="6580"/>
                      </a:lnTo>
                      <a:cubicBezTo>
                        <a:pt x="-622" y="4011"/>
                        <a:pt x="712" y="1191"/>
                        <a:pt x="3256" y="284"/>
                      </a:cubicBezTo>
                      <a:cubicBezTo>
                        <a:pt x="5799" y="-622"/>
                        <a:pt x="8644" y="712"/>
                        <a:pt x="9551" y="3256"/>
                      </a:cubicBezTo>
                      <a:lnTo>
                        <a:pt x="76785" y="191512"/>
                      </a:lnTo>
                      <a:cubicBezTo>
                        <a:pt x="77692" y="194080"/>
                        <a:pt x="76357" y="196901"/>
                        <a:pt x="73814" y="197807"/>
                      </a:cubicBezTo>
                      <a:cubicBezTo>
                        <a:pt x="73260" y="198009"/>
                        <a:pt x="72681" y="198109"/>
                        <a:pt x="72152" y="198109"/>
                      </a:cubicBezTo>
                      <a:close/>
                    </a:path>
                  </a:pathLst>
                </a:custGeom>
                <a:solidFill>
                  <a:schemeClr val="accent1"/>
                </a:solidFill>
                <a:ln w="2517" cap="flat">
                  <a:noFill/>
                  <a:prstDash val="solid"/>
                  <a:miter/>
                </a:ln>
              </p:spPr>
              <p:txBody>
                <a:bodyPr rtlCol="0" anchor="ctr"/>
                <a:lstStyle/>
                <a:p>
                  <a:endParaRPr lang="en-GB" dirty="0"/>
                </a:p>
              </p:txBody>
            </p:sp>
            <p:sp>
              <p:nvSpPr>
                <p:cNvPr id="177" name="Freihandform: Form 631">
                  <a:extLst>
                    <a:ext uri="{FF2B5EF4-FFF2-40B4-BE49-F238E27FC236}">
                      <a16:creationId xmlns:a16="http://schemas.microsoft.com/office/drawing/2014/main" id="{9AC87D2E-5A90-4375-ACC9-710547CD572D}"/>
                    </a:ext>
                  </a:extLst>
                </p:cNvPr>
                <p:cNvSpPr/>
                <p:nvPr/>
              </p:nvSpPr>
              <p:spPr>
                <a:xfrm>
                  <a:off x="8093164" y="1823077"/>
                  <a:ext cx="77095" cy="198097"/>
                </a:xfrm>
                <a:custGeom>
                  <a:avLst/>
                  <a:gdLst>
                    <a:gd name="connsiteX0" fmla="*/ 4931 w 77095"/>
                    <a:gd name="connsiteY0" fmla="*/ 198097 h 198097"/>
                    <a:gd name="connsiteX1" fmla="*/ 3268 w 77095"/>
                    <a:gd name="connsiteY1" fmla="*/ 197820 h 198097"/>
                    <a:gd name="connsiteX2" fmla="*/ 297 w 77095"/>
                    <a:gd name="connsiteY2" fmla="*/ 191525 h 198097"/>
                    <a:gd name="connsiteX3" fmla="*/ 67532 w 77095"/>
                    <a:gd name="connsiteY3" fmla="*/ 3268 h 198097"/>
                    <a:gd name="connsiteX4" fmla="*/ 73827 w 77095"/>
                    <a:gd name="connsiteY4" fmla="*/ 297 h 198097"/>
                    <a:gd name="connsiteX5" fmla="*/ 76798 w 77095"/>
                    <a:gd name="connsiteY5" fmla="*/ 6592 h 198097"/>
                    <a:gd name="connsiteX6" fmla="*/ 9564 w 77095"/>
                    <a:gd name="connsiteY6" fmla="*/ 194849 h 198097"/>
                    <a:gd name="connsiteX7" fmla="*/ 4931 w 77095"/>
                    <a:gd name="connsiteY7" fmla="*/ 198097 h 198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95" h="198097">
                      <a:moveTo>
                        <a:pt x="4931" y="198097"/>
                      </a:moveTo>
                      <a:cubicBezTo>
                        <a:pt x="4376" y="198097"/>
                        <a:pt x="3822" y="197996"/>
                        <a:pt x="3268" y="197820"/>
                      </a:cubicBezTo>
                      <a:cubicBezTo>
                        <a:pt x="700" y="196913"/>
                        <a:pt x="-635" y="194093"/>
                        <a:pt x="297" y="191525"/>
                      </a:cubicBezTo>
                      <a:lnTo>
                        <a:pt x="67532" y="3268"/>
                      </a:lnTo>
                      <a:cubicBezTo>
                        <a:pt x="68438" y="700"/>
                        <a:pt x="71284" y="-635"/>
                        <a:pt x="73827" y="297"/>
                      </a:cubicBezTo>
                      <a:cubicBezTo>
                        <a:pt x="76395" y="1203"/>
                        <a:pt x="77730" y="4024"/>
                        <a:pt x="76798" y="6592"/>
                      </a:cubicBezTo>
                      <a:lnTo>
                        <a:pt x="9564" y="194849"/>
                      </a:lnTo>
                      <a:cubicBezTo>
                        <a:pt x="8833" y="196838"/>
                        <a:pt x="6945" y="198097"/>
                        <a:pt x="4931" y="198097"/>
                      </a:cubicBezTo>
                      <a:close/>
                    </a:path>
                  </a:pathLst>
                </a:custGeom>
                <a:solidFill>
                  <a:schemeClr val="accent1"/>
                </a:solidFill>
                <a:ln w="2517" cap="flat">
                  <a:noFill/>
                  <a:prstDash val="solid"/>
                  <a:miter/>
                </a:ln>
              </p:spPr>
              <p:txBody>
                <a:bodyPr rtlCol="0" anchor="ctr"/>
                <a:lstStyle/>
                <a:p>
                  <a:endParaRPr lang="en-GB" dirty="0"/>
                </a:p>
              </p:txBody>
            </p:sp>
            <p:sp>
              <p:nvSpPr>
                <p:cNvPr id="178" name="Freihandform: Form 632">
                  <a:extLst>
                    <a:ext uri="{FF2B5EF4-FFF2-40B4-BE49-F238E27FC236}">
                      <a16:creationId xmlns:a16="http://schemas.microsoft.com/office/drawing/2014/main" id="{D8BDFEC0-F7D7-4AD7-99CC-A3A5B45ACF6F}"/>
                    </a:ext>
                  </a:extLst>
                </p:cNvPr>
                <p:cNvSpPr/>
                <p:nvPr/>
              </p:nvSpPr>
              <p:spPr>
                <a:xfrm>
                  <a:off x="8046081" y="1823084"/>
                  <a:ext cx="56936" cy="70345"/>
                </a:xfrm>
                <a:custGeom>
                  <a:avLst/>
                  <a:gdLst>
                    <a:gd name="connsiteX0" fmla="*/ 4924 w 56936"/>
                    <a:gd name="connsiteY0" fmla="*/ 70345 h 70345"/>
                    <a:gd name="connsiteX1" fmla="*/ 1902 w 56936"/>
                    <a:gd name="connsiteY1" fmla="*/ 69313 h 70345"/>
                    <a:gd name="connsiteX2" fmla="*/ 1046 w 56936"/>
                    <a:gd name="connsiteY2" fmla="*/ 62413 h 70345"/>
                    <a:gd name="connsiteX3" fmla="*/ 48110 w 56936"/>
                    <a:gd name="connsiteY3" fmla="*/ 1902 h 70345"/>
                    <a:gd name="connsiteX4" fmla="*/ 55035 w 56936"/>
                    <a:gd name="connsiteY4" fmla="*/ 1046 h 70345"/>
                    <a:gd name="connsiteX5" fmla="*/ 55891 w 56936"/>
                    <a:gd name="connsiteY5" fmla="*/ 7946 h 70345"/>
                    <a:gd name="connsiteX6" fmla="*/ 8827 w 56936"/>
                    <a:gd name="connsiteY6" fmla="*/ 68457 h 70345"/>
                    <a:gd name="connsiteX7" fmla="*/ 4924 w 56936"/>
                    <a:gd name="connsiteY7" fmla="*/ 70345 h 70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936" h="70345">
                      <a:moveTo>
                        <a:pt x="4924" y="70345"/>
                      </a:moveTo>
                      <a:cubicBezTo>
                        <a:pt x="3866" y="70345"/>
                        <a:pt x="2809" y="70018"/>
                        <a:pt x="1902" y="69313"/>
                      </a:cubicBezTo>
                      <a:cubicBezTo>
                        <a:pt x="-238" y="67651"/>
                        <a:pt x="-641" y="64553"/>
                        <a:pt x="1046" y="62413"/>
                      </a:cubicBezTo>
                      <a:lnTo>
                        <a:pt x="48110" y="1902"/>
                      </a:lnTo>
                      <a:cubicBezTo>
                        <a:pt x="49772" y="-238"/>
                        <a:pt x="52844" y="-641"/>
                        <a:pt x="55035" y="1046"/>
                      </a:cubicBezTo>
                      <a:cubicBezTo>
                        <a:pt x="57175" y="2708"/>
                        <a:pt x="57578" y="5805"/>
                        <a:pt x="55891" y="7946"/>
                      </a:cubicBezTo>
                      <a:lnTo>
                        <a:pt x="8827" y="68457"/>
                      </a:lnTo>
                      <a:cubicBezTo>
                        <a:pt x="7870" y="69690"/>
                        <a:pt x="6410" y="70345"/>
                        <a:pt x="4924" y="70345"/>
                      </a:cubicBezTo>
                      <a:close/>
                    </a:path>
                  </a:pathLst>
                </a:custGeom>
                <a:solidFill>
                  <a:schemeClr val="accent1"/>
                </a:solidFill>
                <a:ln w="2517" cap="flat">
                  <a:noFill/>
                  <a:prstDash val="solid"/>
                  <a:miter/>
                </a:ln>
              </p:spPr>
              <p:txBody>
                <a:bodyPr rtlCol="0" anchor="ctr"/>
                <a:lstStyle/>
                <a:p>
                  <a:endParaRPr lang="en-GB" dirty="0"/>
                </a:p>
              </p:txBody>
            </p:sp>
            <p:sp>
              <p:nvSpPr>
                <p:cNvPr id="179" name="Freihandform: Form 633">
                  <a:extLst>
                    <a:ext uri="{FF2B5EF4-FFF2-40B4-BE49-F238E27FC236}">
                      <a16:creationId xmlns:a16="http://schemas.microsoft.com/office/drawing/2014/main" id="{7323D539-D108-4A07-8D20-7CB3E908A2DB}"/>
                    </a:ext>
                  </a:extLst>
                </p:cNvPr>
                <p:cNvSpPr/>
                <p:nvPr/>
              </p:nvSpPr>
              <p:spPr>
                <a:xfrm>
                  <a:off x="8093156" y="1823058"/>
                  <a:ext cx="56915" cy="70370"/>
                </a:xfrm>
                <a:custGeom>
                  <a:avLst/>
                  <a:gdLst>
                    <a:gd name="connsiteX0" fmla="*/ 52002 w 56915"/>
                    <a:gd name="connsiteY0" fmla="*/ 70370 h 70370"/>
                    <a:gd name="connsiteX1" fmla="*/ 48099 w 56915"/>
                    <a:gd name="connsiteY1" fmla="*/ 68457 h 70370"/>
                    <a:gd name="connsiteX2" fmla="*/ 1035 w 56915"/>
                    <a:gd name="connsiteY2" fmla="*/ 7946 h 70370"/>
                    <a:gd name="connsiteX3" fmla="*/ 1891 w 56915"/>
                    <a:gd name="connsiteY3" fmla="*/ 1046 h 70370"/>
                    <a:gd name="connsiteX4" fmla="*/ 8816 w 56915"/>
                    <a:gd name="connsiteY4" fmla="*/ 1902 h 70370"/>
                    <a:gd name="connsiteX5" fmla="*/ 55880 w 56915"/>
                    <a:gd name="connsiteY5" fmla="*/ 62413 h 70370"/>
                    <a:gd name="connsiteX6" fmla="*/ 55024 w 56915"/>
                    <a:gd name="connsiteY6" fmla="*/ 69313 h 70370"/>
                    <a:gd name="connsiteX7" fmla="*/ 52002 w 56915"/>
                    <a:gd name="connsiteY7" fmla="*/ 70370 h 70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915" h="70370">
                      <a:moveTo>
                        <a:pt x="52002" y="70370"/>
                      </a:moveTo>
                      <a:cubicBezTo>
                        <a:pt x="50542" y="70370"/>
                        <a:pt x="49081" y="69716"/>
                        <a:pt x="48099" y="68457"/>
                      </a:cubicBezTo>
                      <a:lnTo>
                        <a:pt x="1035" y="7946"/>
                      </a:lnTo>
                      <a:cubicBezTo>
                        <a:pt x="-627" y="5805"/>
                        <a:pt x="-249" y="2708"/>
                        <a:pt x="1891" y="1046"/>
                      </a:cubicBezTo>
                      <a:cubicBezTo>
                        <a:pt x="4057" y="-641"/>
                        <a:pt x="7154" y="-238"/>
                        <a:pt x="8816" y="1902"/>
                      </a:cubicBezTo>
                      <a:lnTo>
                        <a:pt x="55880" y="62413"/>
                      </a:lnTo>
                      <a:cubicBezTo>
                        <a:pt x="57543" y="64553"/>
                        <a:pt x="57165" y="67651"/>
                        <a:pt x="55024" y="69313"/>
                      </a:cubicBezTo>
                      <a:cubicBezTo>
                        <a:pt x="54118" y="70043"/>
                        <a:pt x="53060" y="70370"/>
                        <a:pt x="52002" y="70370"/>
                      </a:cubicBezTo>
                      <a:close/>
                    </a:path>
                  </a:pathLst>
                </a:custGeom>
                <a:solidFill>
                  <a:schemeClr val="accent1"/>
                </a:solidFill>
                <a:ln w="2517" cap="flat">
                  <a:noFill/>
                  <a:prstDash val="solid"/>
                  <a:miter/>
                </a:ln>
              </p:spPr>
              <p:txBody>
                <a:bodyPr rtlCol="0" anchor="ctr"/>
                <a:lstStyle/>
                <a:p>
                  <a:endParaRPr lang="en-GB" dirty="0"/>
                </a:p>
              </p:txBody>
            </p:sp>
          </p:grpSp>
          <p:sp>
            <p:nvSpPr>
              <p:cNvPr id="171" name="Freihandform: Form 634">
                <a:extLst>
                  <a:ext uri="{FF2B5EF4-FFF2-40B4-BE49-F238E27FC236}">
                    <a16:creationId xmlns:a16="http://schemas.microsoft.com/office/drawing/2014/main" id="{441F327F-F5AB-41AB-9C0C-C355F26D47BD}"/>
                  </a:ext>
                </a:extLst>
              </p:cNvPr>
              <p:cNvSpPr/>
              <p:nvPr/>
            </p:nvSpPr>
            <p:spPr>
              <a:xfrm>
                <a:off x="8092429" y="1685128"/>
                <a:ext cx="9870" cy="68090"/>
              </a:xfrm>
              <a:custGeom>
                <a:avLst/>
                <a:gdLst>
                  <a:gd name="connsiteX0" fmla="*/ 4935 w 9870"/>
                  <a:gd name="connsiteY0" fmla="*/ 68091 h 68090"/>
                  <a:gd name="connsiteX1" fmla="*/ 0 w 9870"/>
                  <a:gd name="connsiteY1" fmla="*/ 63155 h 68090"/>
                  <a:gd name="connsiteX2" fmla="*/ 0 w 9870"/>
                  <a:gd name="connsiteY2" fmla="*/ 4936 h 68090"/>
                  <a:gd name="connsiteX3" fmla="*/ 4935 w 9870"/>
                  <a:gd name="connsiteY3" fmla="*/ 0 h 68090"/>
                  <a:gd name="connsiteX4" fmla="*/ 9871 w 9870"/>
                  <a:gd name="connsiteY4" fmla="*/ 4936 h 68090"/>
                  <a:gd name="connsiteX5" fmla="*/ 9871 w 9870"/>
                  <a:gd name="connsiteY5" fmla="*/ 63180 h 68090"/>
                  <a:gd name="connsiteX6" fmla="*/ 4935 w 9870"/>
                  <a:gd name="connsiteY6" fmla="*/ 68091 h 6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0" h="68090">
                    <a:moveTo>
                      <a:pt x="4935" y="68091"/>
                    </a:moveTo>
                    <a:cubicBezTo>
                      <a:pt x="2216" y="68091"/>
                      <a:pt x="0" y="65875"/>
                      <a:pt x="0" y="63155"/>
                    </a:cubicBezTo>
                    <a:lnTo>
                      <a:pt x="0" y="4936"/>
                    </a:lnTo>
                    <a:cubicBezTo>
                      <a:pt x="0" y="2216"/>
                      <a:pt x="2216" y="0"/>
                      <a:pt x="4935" y="0"/>
                    </a:cubicBezTo>
                    <a:cubicBezTo>
                      <a:pt x="7655" y="0"/>
                      <a:pt x="9871" y="2216"/>
                      <a:pt x="9871" y="4936"/>
                    </a:cubicBezTo>
                    <a:lnTo>
                      <a:pt x="9871" y="63180"/>
                    </a:lnTo>
                    <a:cubicBezTo>
                      <a:pt x="9871" y="65875"/>
                      <a:pt x="7655" y="68091"/>
                      <a:pt x="4935" y="68091"/>
                    </a:cubicBezTo>
                    <a:close/>
                  </a:path>
                </a:pathLst>
              </a:custGeom>
              <a:solidFill>
                <a:schemeClr val="accent1"/>
              </a:solidFill>
              <a:ln w="2517" cap="flat">
                <a:noFill/>
                <a:prstDash val="solid"/>
                <a:miter/>
              </a:ln>
            </p:spPr>
            <p:txBody>
              <a:bodyPr rtlCol="0" anchor="ctr"/>
              <a:lstStyle/>
              <a:p>
                <a:endParaRPr lang="en-GB" dirty="0"/>
              </a:p>
            </p:txBody>
          </p:sp>
          <p:sp>
            <p:nvSpPr>
              <p:cNvPr id="172" name="Freihandform: Form 635">
                <a:extLst>
                  <a:ext uri="{FF2B5EF4-FFF2-40B4-BE49-F238E27FC236}">
                    <a16:creationId xmlns:a16="http://schemas.microsoft.com/office/drawing/2014/main" id="{49C11212-E8EA-431B-864E-00B206DE80B0}"/>
                  </a:ext>
                </a:extLst>
              </p:cNvPr>
              <p:cNvSpPr/>
              <p:nvPr/>
            </p:nvSpPr>
            <p:spPr>
              <a:xfrm>
                <a:off x="8219670" y="1697568"/>
                <a:ext cx="48700" cy="48700"/>
              </a:xfrm>
              <a:custGeom>
                <a:avLst/>
                <a:gdLst>
                  <a:gd name="connsiteX0" fmla="*/ 4910 w 48700"/>
                  <a:gd name="connsiteY0" fmla="*/ 48701 h 48700"/>
                  <a:gd name="connsiteX1" fmla="*/ 1435 w 48700"/>
                  <a:gd name="connsiteY1" fmla="*/ 47266 h 48700"/>
                  <a:gd name="connsiteX2" fmla="*/ 1435 w 48700"/>
                  <a:gd name="connsiteY2" fmla="*/ 40290 h 48700"/>
                  <a:gd name="connsiteX3" fmla="*/ 40290 w 48700"/>
                  <a:gd name="connsiteY3" fmla="*/ 1435 h 48700"/>
                  <a:gd name="connsiteX4" fmla="*/ 47265 w 48700"/>
                  <a:gd name="connsiteY4" fmla="*/ 1435 h 48700"/>
                  <a:gd name="connsiteX5" fmla="*/ 47265 w 48700"/>
                  <a:gd name="connsiteY5" fmla="*/ 8411 h 48700"/>
                  <a:gd name="connsiteX6" fmla="*/ 8411 w 48700"/>
                  <a:gd name="connsiteY6" fmla="*/ 47266 h 48700"/>
                  <a:gd name="connsiteX7" fmla="*/ 4910 w 48700"/>
                  <a:gd name="connsiteY7" fmla="*/ 48701 h 4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700" h="48700">
                    <a:moveTo>
                      <a:pt x="4910" y="48701"/>
                    </a:moveTo>
                    <a:cubicBezTo>
                      <a:pt x="3651" y="48701"/>
                      <a:pt x="2392" y="48222"/>
                      <a:pt x="1435" y="47266"/>
                    </a:cubicBezTo>
                    <a:cubicBezTo>
                      <a:pt x="-478" y="45352"/>
                      <a:pt x="-478" y="42229"/>
                      <a:pt x="1435" y="40290"/>
                    </a:cubicBezTo>
                    <a:lnTo>
                      <a:pt x="40290" y="1435"/>
                    </a:lnTo>
                    <a:cubicBezTo>
                      <a:pt x="42204" y="-478"/>
                      <a:pt x="45326" y="-478"/>
                      <a:pt x="47265" y="1435"/>
                    </a:cubicBezTo>
                    <a:cubicBezTo>
                      <a:pt x="49179" y="3349"/>
                      <a:pt x="49179" y="6472"/>
                      <a:pt x="47265" y="8411"/>
                    </a:cubicBezTo>
                    <a:lnTo>
                      <a:pt x="8411" y="47266"/>
                    </a:lnTo>
                    <a:cubicBezTo>
                      <a:pt x="7429" y="48222"/>
                      <a:pt x="6169" y="48701"/>
                      <a:pt x="4910" y="48701"/>
                    </a:cubicBezTo>
                    <a:close/>
                  </a:path>
                </a:pathLst>
              </a:custGeom>
              <a:solidFill>
                <a:schemeClr val="accent1"/>
              </a:solidFill>
              <a:ln w="2517" cap="flat">
                <a:noFill/>
                <a:prstDash val="solid"/>
                <a:miter/>
              </a:ln>
            </p:spPr>
            <p:txBody>
              <a:bodyPr rtlCol="0" anchor="ctr"/>
              <a:lstStyle/>
              <a:p>
                <a:endParaRPr lang="en-GB" dirty="0"/>
              </a:p>
            </p:txBody>
          </p:sp>
          <p:sp>
            <p:nvSpPr>
              <p:cNvPr id="173" name="Freihandform: Form 636">
                <a:extLst>
                  <a:ext uri="{FF2B5EF4-FFF2-40B4-BE49-F238E27FC236}">
                    <a16:creationId xmlns:a16="http://schemas.microsoft.com/office/drawing/2014/main" id="{FDF45DEE-6D65-426E-89FF-4B70BC343072}"/>
                  </a:ext>
                </a:extLst>
              </p:cNvPr>
              <p:cNvSpPr/>
              <p:nvPr/>
            </p:nvSpPr>
            <p:spPr>
              <a:xfrm>
                <a:off x="7922177" y="1696938"/>
                <a:ext cx="46636" cy="46635"/>
              </a:xfrm>
              <a:custGeom>
                <a:avLst/>
                <a:gdLst>
                  <a:gd name="connsiteX0" fmla="*/ 41700 w 46636"/>
                  <a:gd name="connsiteY0" fmla="*/ 46636 h 46635"/>
                  <a:gd name="connsiteX1" fmla="*/ 38225 w 46636"/>
                  <a:gd name="connsiteY1" fmla="*/ 45201 h 46635"/>
                  <a:gd name="connsiteX2" fmla="*/ 1435 w 46636"/>
                  <a:gd name="connsiteY2" fmla="*/ 8411 h 46635"/>
                  <a:gd name="connsiteX3" fmla="*/ 1435 w 46636"/>
                  <a:gd name="connsiteY3" fmla="*/ 1435 h 46635"/>
                  <a:gd name="connsiteX4" fmla="*/ 8411 w 46636"/>
                  <a:gd name="connsiteY4" fmla="*/ 1435 h 46635"/>
                  <a:gd name="connsiteX5" fmla="*/ 45201 w 46636"/>
                  <a:gd name="connsiteY5" fmla="*/ 38225 h 46635"/>
                  <a:gd name="connsiteX6" fmla="*/ 45201 w 46636"/>
                  <a:gd name="connsiteY6" fmla="*/ 45201 h 46635"/>
                  <a:gd name="connsiteX7" fmla="*/ 41700 w 46636"/>
                  <a:gd name="connsiteY7" fmla="*/ 46636 h 46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36" h="46635">
                    <a:moveTo>
                      <a:pt x="41700" y="46636"/>
                    </a:moveTo>
                    <a:cubicBezTo>
                      <a:pt x="40441" y="46636"/>
                      <a:pt x="39182" y="46158"/>
                      <a:pt x="38225" y="45201"/>
                    </a:cubicBezTo>
                    <a:lnTo>
                      <a:pt x="1435" y="8411"/>
                    </a:lnTo>
                    <a:cubicBezTo>
                      <a:pt x="-478" y="6497"/>
                      <a:pt x="-478" y="3374"/>
                      <a:pt x="1435" y="1435"/>
                    </a:cubicBezTo>
                    <a:cubicBezTo>
                      <a:pt x="3349" y="-478"/>
                      <a:pt x="6472" y="-478"/>
                      <a:pt x="8411" y="1435"/>
                    </a:cubicBezTo>
                    <a:lnTo>
                      <a:pt x="45201" y="38225"/>
                    </a:lnTo>
                    <a:cubicBezTo>
                      <a:pt x="47114" y="40139"/>
                      <a:pt x="47114" y="43262"/>
                      <a:pt x="45201" y="45201"/>
                    </a:cubicBezTo>
                    <a:cubicBezTo>
                      <a:pt x="44219" y="46158"/>
                      <a:pt x="42959" y="46636"/>
                      <a:pt x="41700" y="46636"/>
                    </a:cubicBezTo>
                    <a:close/>
                  </a:path>
                </a:pathLst>
              </a:custGeom>
              <a:solidFill>
                <a:schemeClr val="accent1"/>
              </a:solidFill>
              <a:ln w="2517" cap="flat">
                <a:noFill/>
                <a:prstDash val="solid"/>
                <a:miter/>
              </a:ln>
            </p:spPr>
            <p:txBody>
              <a:bodyPr rtlCol="0" anchor="ctr"/>
              <a:lstStyle/>
              <a:p>
                <a:endParaRPr lang="en-GB" dirty="0"/>
              </a:p>
            </p:txBody>
          </p:sp>
        </p:grpSp>
        <p:grpSp>
          <p:nvGrpSpPr>
            <p:cNvPr id="164" name="Group 163">
              <a:extLst>
                <a:ext uri="{FF2B5EF4-FFF2-40B4-BE49-F238E27FC236}">
                  <a16:creationId xmlns:a16="http://schemas.microsoft.com/office/drawing/2014/main" id="{56C3F16E-6DE6-4299-BEBE-3F507210CF64}"/>
                </a:ext>
              </a:extLst>
            </p:cNvPr>
            <p:cNvGrpSpPr/>
            <p:nvPr/>
          </p:nvGrpSpPr>
          <p:grpSpPr>
            <a:xfrm>
              <a:off x="7746159" y="2012184"/>
              <a:ext cx="535338" cy="174155"/>
              <a:chOff x="7746159" y="2012184"/>
              <a:chExt cx="535338" cy="174155"/>
            </a:xfrm>
          </p:grpSpPr>
          <p:sp>
            <p:nvSpPr>
              <p:cNvPr id="165" name="Freihandform: Form 638">
                <a:extLst>
                  <a:ext uri="{FF2B5EF4-FFF2-40B4-BE49-F238E27FC236}">
                    <a16:creationId xmlns:a16="http://schemas.microsoft.com/office/drawing/2014/main" id="{C21D557C-7284-4A66-A0DB-F3CB1D08AD2A}"/>
                  </a:ext>
                </a:extLst>
              </p:cNvPr>
              <p:cNvSpPr/>
              <p:nvPr/>
            </p:nvSpPr>
            <p:spPr>
              <a:xfrm>
                <a:off x="7854100" y="2081403"/>
                <a:ext cx="427397" cy="100579"/>
              </a:xfrm>
              <a:custGeom>
                <a:avLst/>
                <a:gdLst>
                  <a:gd name="connsiteX0" fmla="*/ 220148 w 427397"/>
                  <a:gd name="connsiteY0" fmla="*/ 100579 h 100579"/>
                  <a:gd name="connsiteX1" fmla="*/ 108544 w 427397"/>
                  <a:gd name="connsiteY1" fmla="*/ 86251 h 100579"/>
                  <a:gd name="connsiteX2" fmla="*/ 6886 w 427397"/>
                  <a:gd name="connsiteY2" fmla="*/ 78369 h 100579"/>
                  <a:gd name="connsiteX3" fmla="*/ 415 w 427397"/>
                  <a:gd name="connsiteY3" fmla="*/ 75826 h 100579"/>
                  <a:gd name="connsiteX4" fmla="*/ 2908 w 427397"/>
                  <a:gd name="connsiteY4" fmla="*/ 69354 h 100579"/>
                  <a:gd name="connsiteX5" fmla="*/ 111238 w 427397"/>
                  <a:gd name="connsiteY5" fmla="*/ 76783 h 100579"/>
                  <a:gd name="connsiteX6" fmla="*/ 416387 w 427397"/>
                  <a:gd name="connsiteY6" fmla="*/ 17178 h 100579"/>
                  <a:gd name="connsiteX7" fmla="*/ 416865 w 427397"/>
                  <a:gd name="connsiteY7" fmla="*/ 16700 h 100579"/>
                  <a:gd name="connsiteX8" fmla="*/ 417293 w 427397"/>
                  <a:gd name="connsiteY8" fmla="*/ 15214 h 100579"/>
                  <a:gd name="connsiteX9" fmla="*/ 376827 w 427397"/>
                  <a:gd name="connsiteY9" fmla="*/ 14962 h 100579"/>
                  <a:gd name="connsiteX10" fmla="*/ 355851 w 427397"/>
                  <a:gd name="connsiteY10" fmla="*/ 24456 h 100579"/>
                  <a:gd name="connsiteX11" fmla="*/ 281691 w 427397"/>
                  <a:gd name="connsiteY11" fmla="*/ 41957 h 100579"/>
                  <a:gd name="connsiteX12" fmla="*/ 277108 w 427397"/>
                  <a:gd name="connsiteY12" fmla="*/ 36719 h 100579"/>
                  <a:gd name="connsiteX13" fmla="*/ 282371 w 427397"/>
                  <a:gd name="connsiteY13" fmla="*/ 32136 h 100579"/>
                  <a:gd name="connsiteX14" fmla="*/ 351343 w 427397"/>
                  <a:gd name="connsiteY14" fmla="*/ 15718 h 100579"/>
                  <a:gd name="connsiteX15" fmla="*/ 373427 w 427397"/>
                  <a:gd name="connsiteY15" fmla="*/ 5746 h 100579"/>
                  <a:gd name="connsiteX16" fmla="*/ 425704 w 427397"/>
                  <a:gd name="connsiteY16" fmla="*/ 10077 h 100579"/>
                  <a:gd name="connsiteX17" fmla="*/ 423614 w 427397"/>
                  <a:gd name="connsiteY17" fmla="*/ 23927 h 100579"/>
                  <a:gd name="connsiteX18" fmla="*/ 220148 w 427397"/>
                  <a:gd name="connsiteY18" fmla="*/ 100579 h 10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7397" h="100579">
                    <a:moveTo>
                      <a:pt x="220148" y="100579"/>
                    </a:moveTo>
                    <a:cubicBezTo>
                      <a:pt x="173260" y="100579"/>
                      <a:pt x="131862" y="93025"/>
                      <a:pt x="108544" y="86251"/>
                    </a:cubicBezTo>
                    <a:cubicBezTo>
                      <a:pt x="37104" y="66030"/>
                      <a:pt x="7189" y="78243"/>
                      <a:pt x="6886" y="78369"/>
                    </a:cubicBezTo>
                    <a:cubicBezTo>
                      <a:pt x="4394" y="79452"/>
                      <a:pt x="1498" y="78294"/>
                      <a:pt x="415" y="75826"/>
                    </a:cubicBezTo>
                    <a:cubicBezTo>
                      <a:pt x="-668" y="73333"/>
                      <a:pt x="440" y="70462"/>
                      <a:pt x="2908" y="69354"/>
                    </a:cubicBezTo>
                    <a:cubicBezTo>
                      <a:pt x="4217" y="68775"/>
                      <a:pt x="35744" y="55404"/>
                      <a:pt x="111238" y="76783"/>
                    </a:cubicBezTo>
                    <a:cubicBezTo>
                      <a:pt x="167468" y="93126"/>
                      <a:pt x="331802" y="114278"/>
                      <a:pt x="416387" y="17178"/>
                    </a:cubicBezTo>
                    <a:cubicBezTo>
                      <a:pt x="416538" y="17002"/>
                      <a:pt x="416689" y="16851"/>
                      <a:pt x="416865" y="16700"/>
                    </a:cubicBezTo>
                    <a:cubicBezTo>
                      <a:pt x="417747" y="15945"/>
                      <a:pt x="417621" y="15743"/>
                      <a:pt x="417293" y="15214"/>
                    </a:cubicBezTo>
                    <a:cubicBezTo>
                      <a:pt x="414498" y="10682"/>
                      <a:pt x="399314" y="5771"/>
                      <a:pt x="376827" y="14962"/>
                    </a:cubicBezTo>
                    <a:cubicBezTo>
                      <a:pt x="369549" y="17405"/>
                      <a:pt x="362901" y="20830"/>
                      <a:pt x="355851" y="24456"/>
                    </a:cubicBezTo>
                    <a:cubicBezTo>
                      <a:pt x="337720" y="33798"/>
                      <a:pt x="317197" y="44399"/>
                      <a:pt x="281691" y="41957"/>
                    </a:cubicBezTo>
                    <a:cubicBezTo>
                      <a:pt x="278972" y="41781"/>
                      <a:pt x="276932" y="39414"/>
                      <a:pt x="277108" y="36719"/>
                    </a:cubicBezTo>
                    <a:cubicBezTo>
                      <a:pt x="277285" y="34000"/>
                      <a:pt x="279652" y="31910"/>
                      <a:pt x="282371" y="32136"/>
                    </a:cubicBezTo>
                    <a:cubicBezTo>
                      <a:pt x="315132" y="34352"/>
                      <a:pt x="333515" y="24884"/>
                      <a:pt x="351343" y="15718"/>
                    </a:cubicBezTo>
                    <a:cubicBezTo>
                      <a:pt x="358721" y="11915"/>
                      <a:pt x="365722" y="8315"/>
                      <a:pt x="373427" y="5746"/>
                    </a:cubicBezTo>
                    <a:cubicBezTo>
                      <a:pt x="398130" y="-4352"/>
                      <a:pt x="419509" y="-21"/>
                      <a:pt x="425704" y="10077"/>
                    </a:cubicBezTo>
                    <a:cubicBezTo>
                      <a:pt x="428574" y="14736"/>
                      <a:pt x="427744" y="20150"/>
                      <a:pt x="423614" y="23927"/>
                    </a:cubicBezTo>
                    <a:cubicBezTo>
                      <a:pt x="371085" y="84010"/>
                      <a:pt x="289598" y="100579"/>
                      <a:pt x="220148" y="100579"/>
                    </a:cubicBezTo>
                    <a:close/>
                  </a:path>
                </a:pathLst>
              </a:custGeom>
              <a:solidFill>
                <a:schemeClr val="tx2"/>
              </a:solidFill>
              <a:ln w="2517" cap="flat">
                <a:noFill/>
                <a:prstDash val="solid"/>
                <a:miter/>
              </a:ln>
            </p:spPr>
            <p:txBody>
              <a:bodyPr rtlCol="0" anchor="ctr"/>
              <a:lstStyle/>
              <a:p>
                <a:endParaRPr lang="en-GB" dirty="0"/>
              </a:p>
            </p:txBody>
          </p:sp>
          <p:sp>
            <p:nvSpPr>
              <p:cNvPr id="166" name="Freihandform: Form 639">
                <a:extLst>
                  <a:ext uri="{FF2B5EF4-FFF2-40B4-BE49-F238E27FC236}">
                    <a16:creationId xmlns:a16="http://schemas.microsoft.com/office/drawing/2014/main" id="{12431BFA-EDA2-4921-9F8C-F7C3B45D55EF}"/>
                  </a:ext>
                </a:extLst>
              </p:cNvPr>
              <p:cNvSpPr/>
              <p:nvPr/>
            </p:nvSpPr>
            <p:spPr>
              <a:xfrm>
                <a:off x="7853116" y="2012184"/>
                <a:ext cx="291977" cy="122507"/>
              </a:xfrm>
              <a:custGeom>
                <a:avLst/>
                <a:gdLst>
                  <a:gd name="connsiteX0" fmla="*/ 220452 w 291977"/>
                  <a:gd name="connsiteY0" fmla="*/ 122508 h 122507"/>
                  <a:gd name="connsiteX1" fmla="*/ 144983 w 291977"/>
                  <a:gd name="connsiteY1" fmla="*/ 103345 h 122507"/>
                  <a:gd name="connsiteX2" fmla="*/ 143925 w 291977"/>
                  <a:gd name="connsiteY2" fmla="*/ 96470 h 122507"/>
                  <a:gd name="connsiteX3" fmla="*/ 150825 w 291977"/>
                  <a:gd name="connsiteY3" fmla="*/ 95412 h 122507"/>
                  <a:gd name="connsiteX4" fmla="*/ 261573 w 291977"/>
                  <a:gd name="connsiteY4" fmla="*/ 109741 h 122507"/>
                  <a:gd name="connsiteX5" fmla="*/ 281164 w 291977"/>
                  <a:gd name="connsiteY5" fmla="*/ 98434 h 122507"/>
                  <a:gd name="connsiteX6" fmla="*/ 278570 w 291977"/>
                  <a:gd name="connsiteY6" fmla="*/ 83502 h 122507"/>
                  <a:gd name="connsiteX7" fmla="*/ 272703 w 291977"/>
                  <a:gd name="connsiteY7" fmla="*/ 80354 h 122507"/>
                  <a:gd name="connsiteX8" fmla="*/ 267440 w 291977"/>
                  <a:gd name="connsiteY8" fmla="*/ 80732 h 122507"/>
                  <a:gd name="connsiteX9" fmla="*/ 199551 w 291977"/>
                  <a:gd name="connsiteY9" fmla="*/ 66076 h 122507"/>
                  <a:gd name="connsiteX10" fmla="*/ 88476 w 291977"/>
                  <a:gd name="connsiteY10" fmla="*/ 9821 h 122507"/>
                  <a:gd name="connsiteX11" fmla="*/ 60676 w 291977"/>
                  <a:gd name="connsiteY11" fmla="*/ 16670 h 122507"/>
                  <a:gd name="connsiteX12" fmla="*/ 5276 w 291977"/>
                  <a:gd name="connsiteY12" fmla="*/ 30193 h 122507"/>
                  <a:gd name="connsiteX13" fmla="*/ 14 w 291977"/>
                  <a:gd name="connsiteY13" fmla="*/ 25635 h 122507"/>
                  <a:gd name="connsiteX14" fmla="*/ 4571 w 291977"/>
                  <a:gd name="connsiteY14" fmla="*/ 20372 h 122507"/>
                  <a:gd name="connsiteX15" fmla="*/ 56344 w 291977"/>
                  <a:gd name="connsiteY15" fmla="*/ 7831 h 122507"/>
                  <a:gd name="connsiteX16" fmla="*/ 88476 w 291977"/>
                  <a:gd name="connsiteY16" fmla="*/ 0 h 122507"/>
                  <a:gd name="connsiteX17" fmla="*/ 206602 w 291977"/>
                  <a:gd name="connsiteY17" fmla="*/ 59202 h 122507"/>
                  <a:gd name="connsiteX18" fmla="*/ 207307 w 291977"/>
                  <a:gd name="connsiteY18" fmla="*/ 60007 h 122507"/>
                  <a:gd name="connsiteX19" fmla="*/ 266660 w 291977"/>
                  <a:gd name="connsiteY19" fmla="*/ 70911 h 122507"/>
                  <a:gd name="connsiteX20" fmla="*/ 271419 w 291977"/>
                  <a:gd name="connsiteY20" fmla="*/ 70584 h 122507"/>
                  <a:gd name="connsiteX21" fmla="*/ 286226 w 291977"/>
                  <a:gd name="connsiteY21" fmla="*/ 77257 h 122507"/>
                  <a:gd name="connsiteX22" fmla="*/ 290355 w 291977"/>
                  <a:gd name="connsiteY22" fmla="*/ 102060 h 122507"/>
                  <a:gd name="connsiteX23" fmla="*/ 262882 w 291977"/>
                  <a:gd name="connsiteY23" fmla="*/ 119511 h 122507"/>
                  <a:gd name="connsiteX24" fmla="*/ 220452 w 291977"/>
                  <a:gd name="connsiteY24" fmla="*/ 122508 h 12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1977" h="122507">
                    <a:moveTo>
                      <a:pt x="220452" y="122508"/>
                    </a:moveTo>
                    <a:cubicBezTo>
                      <a:pt x="187691" y="122508"/>
                      <a:pt x="162409" y="116112"/>
                      <a:pt x="144983" y="103345"/>
                    </a:cubicBezTo>
                    <a:cubicBezTo>
                      <a:pt x="142792" y="101733"/>
                      <a:pt x="142314" y="98661"/>
                      <a:pt x="143925" y="96470"/>
                    </a:cubicBezTo>
                    <a:cubicBezTo>
                      <a:pt x="145537" y="94279"/>
                      <a:pt x="148609" y="93801"/>
                      <a:pt x="150825" y="95412"/>
                    </a:cubicBezTo>
                    <a:cubicBezTo>
                      <a:pt x="172708" y="111428"/>
                      <a:pt x="211009" y="116389"/>
                      <a:pt x="261573" y="109741"/>
                    </a:cubicBezTo>
                    <a:cubicBezTo>
                      <a:pt x="271998" y="108356"/>
                      <a:pt x="278797" y="104453"/>
                      <a:pt x="281164" y="98434"/>
                    </a:cubicBezTo>
                    <a:cubicBezTo>
                      <a:pt x="283330" y="92970"/>
                      <a:pt x="281416" y="86977"/>
                      <a:pt x="278570" y="83502"/>
                    </a:cubicBezTo>
                    <a:cubicBezTo>
                      <a:pt x="276707" y="81210"/>
                      <a:pt x="274516" y="80027"/>
                      <a:pt x="272703" y="80354"/>
                    </a:cubicBezTo>
                    <a:cubicBezTo>
                      <a:pt x="271620" y="80555"/>
                      <a:pt x="270210" y="80505"/>
                      <a:pt x="267440" y="80732"/>
                    </a:cubicBezTo>
                    <a:cubicBezTo>
                      <a:pt x="251173" y="82016"/>
                      <a:pt x="213300" y="85013"/>
                      <a:pt x="199551" y="66076"/>
                    </a:cubicBezTo>
                    <a:cubicBezTo>
                      <a:pt x="138587" y="9821"/>
                      <a:pt x="103484" y="9821"/>
                      <a:pt x="88476" y="9821"/>
                    </a:cubicBezTo>
                    <a:cubicBezTo>
                      <a:pt x="74677" y="9821"/>
                      <a:pt x="68784" y="12691"/>
                      <a:pt x="60676" y="16670"/>
                    </a:cubicBezTo>
                    <a:cubicBezTo>
                      <a:pt x="50427" y="21681"/>
                      <a:pt x="37685" y="27901"/>
                      <a:pt x="5276" y="30193"/>
                    </a:cubicBezTo>
                    <a:cubicBezTo>
                      <a:pt x="2557" y="30369"/>
                      <a:pt x="215" y="28329"/>
                      <a:pt x="14" y="25635"/>
                    </a:cubicBezTo>
                    <a:cubicBezTo>
                      <a:pt x="-188" y="22915"/>
                      <a:pt x="1877" y="20573"/>
                      <a:pt x="4571" y="20372"/>
                    </a:cubicBezTo>
                    <a:cubicBezTo>
                      <a:pt x="35091" y="18231"/>
                      <a:pt x="46373" y="12691"/>
                      <a:pt x="56344" y="7831"/>
                    </a:cubicBezTo>
                    <a:cubicBezTo>
                      <a:pt x="64957" y="3626"/>
                      <a:pt x="72385" y="0"/>
                      <a:pt x="88476" y="0"/>
                    </a:cubicBezTo>
                    <a:cubicBezTo>
                      <a:pt x="104667" y="0"/>
                      <a:pt x="142566" y="0"/>
                      <a:pt x="206602" y="59202"/>
                    </a:cubicBezTo>
                    <a:cubicBezTo>
                      <a:pt x="206879" y="59453"/>
                      <a:pt x="207106" y="59730"/>
                      <a:pt x="207307" y="60007"/>
                    </a:cubicBezTo>
                    <a:cubicBezTo>
                      <a:pt x="217556" y="74814"/>
                      <a:pt x="254522" y="71868"/>
                      <a:pt x="266660" y="70911"/>
                    </a:cubicBezTo>
                    <a:cubicBezTo>
                      <a:pt x="268750" y="70735"/>
                      <a:pt x="270386" y="70634"/>
                      <a:pt x="271419" y="70584"/>
                    </a:cubicBezTo>
                    <a:cubicBezTo>
                      <a:pt x="276657" y="69828"/>
                      <a:pt x="282096" y="72220"/>
                      <a:pt x="286226" y="77257"/>
                    </a:cubicBezTo>
                    <a:cubicBezTo>
                      <a:pt x="291942" y="84232"/>
                      <a:pt x="293553" y="93977"/>
                      <a:pt x="290355" y="102060"/>
                    </a:cubicBezTo>
                    <a:cubicBezTo>
                      <a:pt x="287711" y="108708"/>
                      <a:pt x="280812" y="117144"/>
                      <a:pt x="262882" y="119511"/>
                    </a:cubicBezTo>
                    <a:cubicBezTo>
                      <a:pt x="247547" y="121526"/>
                      <a:pt x="233420" y="122508"/>
                      <a:pt x="220452" y="122508"/>
                    </a:cubicBezTo>
                    <a:close/>
                  </a:path>
                </a:pathLst>
              </a:custGeom>
              <a:solidFill>
                <a:schemeClr val="tx2"/>
              </a:solidFill>
              <a:ln w="2517" cap="flat">
                <a:noFill/>
                <a:prstDash val="solid"/>
                <a:miter/>
              </a:ln>
            </p:spPr>
            <p:txBody>
              <a:bodyPr rtlCol="0" anchor="ctr"/>
              <a:lstStyle/>
              <a:p>
                <a:endParaRPr lang="en-GB" dirty="0"/>
              </a:p>
            </p:txBody>
          </p:sp>
          <p:sp>
            <p:nvSpPr>
              <p:cNvPr id="167" name="Freihandform: Form 640">
                <a:extLst>
                  <a:ext uri="{FF2B5EF4-FFF2-40B4-BE49-F238E27FC236}">
                    <a16:creationId xmlns:a16="http://schemas.microsoft.com/office/drawing/2014/main" id="{55A6A0D8-D68A-4DBF-B623-68FE88A5A4B2}"/>
                  </a:ext>
                </a:extLst>
              </p:cNvPr>
              <p:cNvSpPr/>
              <p:nvPr/>
            </p:nvSpPr>
            <p:spPr>
              <a:xfrm>
                <a:off x="7746159" y="2017523"/>
                <a:ext cx="116539" cy="168816"/>
              </a:xfrm>
              <a:custGeom>
                <a:avLst/>
                <a:gdLst>
                  <a:gd name="connsiteX0" fmla="*/ 111604 w 116539"/>
                  <a:gd name="connsiteY0" fmla="*/ 168816 h 168816"/>
                  <a:gd name="connsiteX1" fmla="*/ 4935 w 116539"/>
                  <a:gd name="connsiteY1" fmla="*/ 168816 h 168816"/>
                  <a:gd name="connsiteX2" fmla="*/ 0 w 116539"/>
                  <a:gd name="connsiteY2" fmla="*/ 163881 h 168816"/>
                  <a:gd name="connsiteX3" fmla="*/ 4935 w 116539"/>
                  <a:gd name="connsiteY3" fmla="*/ 158945 h 168816"/>
                  <a:gd name="connsiteX4" fmla="*/ 106694 w 116539"/>
                  <a:gd name="connsiteY4" fmla="*/ 158945 h 168816"/>
                  <a:gd name="connsiteX5" fmla="*/ 106694 w 116539"/>
                  <a:gd name="connsiteY5" fmla="*/ 9871 h 168816"/>
                  <a:gd name="connsiteX6" fmla="*/ 4935 w 116539"/>
                  <a:gd name="connsiteY6" fmla="*/ 9871 h 168816"/>
                  <a:gd name="connsiteX7" fmla="*/ 0 w 116539"/>
                  <a:gd name="connsiteY7" fmla="*/ 4936 h 168816"/>
                  <a:gd name="connsiteX8" fmla="*/ 4935 w 116539"/>
                  <a:gd name="connsiteY8" fmla="*/ 0 h 168816"/>
                  <a:gd name="connsiteX9" fmla="*/ 111604 w 116539"/>
                  <a:gd name="connsiteY9" fmla="*/ 0 h 168816"/>
                  <a:gd name="connsiteX10" fmla="*/ 116540 w 116539"/>
                  <a:gd name="connsiteY10" fmla="*/ 4936 h 168816"/>
                  <a:gd name="connsiteX11" fmla="*/ 116540 w 116539"/>
                  <a:gd name="connsiteY11" fmla="*/ 163856 h 168816"/>
                  <a:gd name="connsiteX12" fmla="*/ 111604 w 116539"/>
                  <a:gd name="connsiteY12" fmla="*/ 168816 h 16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539" h="168816">
                    <a:moveTo>
                      <a:pt x="111604" y="168816"/>
                    </a:moveTo>
                    <a:lnTo>
                      <a:pt x="4935" y="168816"/>
                    </a:lnTo>
                    <a:cubicBezTo>
                      <a:pt x="2216" y="168816"/>
                      <a:pt x="0" y="166600"/>
                      <a:pt x="0" y="163881"/>
                    </a:cubicBezTo>
                    <a:cubicBezTo>
                      <a:pt x="0" y="161161"/>
                      <a:pt x="2216" y="158945"/>
                      <a:pt x="4935" y="158945"/>
                    </a:cubicBezTo>
                    <a:lnTo>
                      <a:pt x="106694" y="158945"/>
                    </a:lnTo>
                    <a:lnTo>
                      <a:pt x="106694" y="9871"/>
                    </a:lnTo>
                    <a:lnTo>
                      <a:pt x="4935" y="9871"/>
                    </a:lnTo>
                    <a:cubicBezTo>
                      <a:pt x="2216" y="9871"/>
                      <a:pt x="0" y="7655"/>
                      <a:pt x="0" y="4936"/>
                    </a:cubicBezTo>
                    <a:cubicBezTo>
                      <a:pt x="0" y="2216"/>
                      <a:pt x="2216" y="0"/>
                      <a:pt x="4935" y="0"/>
                    </a:cubicBezTo>
                    <a:lnTo>
                      <a:pt x="111604" y="0"/>
                    </a:lnTo>
                    <a:cubicBezTo>
                      <a:pt x="114324" y="0"/>
                      <a:pt x="116540" y="2216"/>
                      <a:pt x="116540" y="4936"/>
                    </a:cubicBezTo>
                    <a:lnTo>
                      <a:pt x="116540" y="163856"/>
                    </a:lnTo>
                    <a:cubicBezTo>
                      <a:pt x="116540" y="166626"/>
                      <a:pt x="114324" y="168816"/>
                      <a:pt x="111604" y="168816"/>
                    </a:cubicBezTo>
                    <a:close/>
                  </a:path>
                </a:pathLst>
              </a:custGeom>
              <a:solidFill>
                <a:schemeClr val="tx2"/>
              </a:solidFill>
              <a:ln w="2517" cap="flat">
                <a:noFill/>
                <a:prstDash val="solid"/>
                <a:miter/>
              </a:ln>
            </p:spPr>
            <p:txBody>
              <a:bodyPr rtlCol="0" anchor="ctr"/>
              <a:lstStyle/>
              <a:p>
                <a:endParaRPr lang="en-GB" dirty="0"/>
              </a:p>
            </p:txBody>
          </p:sp>
          <p:sp>
            <p:nvSpPr>
              <p:cNvPr id="168" name="Freihandform: Form 641">
                <a:extLst>
                  <a:ext uri="{FF2B5EF4-FFF2-40B4-BE49-F238E27FC236}">
                    <a16:creationId xmlns:a16="http://schemas.microsoft.com/office/drawing/2014/main" id="{93F0B0BD-F0C1-49BB-969A-971517B7AE73}"/>
                  </a:ext>
                </a:extLst>
              </p:cNvPr>
              <p:cNvSpPr/>
              <p:nvPr/>
            </p:nvSpPr>
            <p:spPr>
              <a:xfrm>
                <a:off x="8135234" y="2062335"/>
                <a:ext cx="112666" cy="43398"/>
              </a:xfrm>
              <a:custGeom>
                <a:avLst/>
                <a:gdLst>
                  <a:gd name="connsiteX0" fmla="*/ 4939 w 112666"/>
                  <a:gd name="connsiteY0" fmla="*/ 43398 h 43398"/>
                  <a:gd name="connsiteX1" fmla="*/ 406 w 112666"/>
                  <a:gd name="connsiteY1" fmla="*/ 40427 h 43398"/>
                  <a:gd name="connsiteX2" fmla="*/ 2975 w 112666"/>
                  <a:gd name="connsiteY2" fmla="*/ 33955 h 43398"/>
                  <a:gd name="connsiteX3" fmla="*/ 72677 w 112666"/>
                  <a:gd name="connsiteY3" fmla="*/ 3737 h 43398"/>
                  <a:gd name="connsiteX4" fmla="*/ 111305 w 112666"/>
                  <a:gd name="connsiteY4" fmla="*/ 11594 h 43398"/>
                  <a:gd name="connsiteX5" fmla="*/ 110550 w 112666"/>
                  <a:gd name="connsiteY5" fmla="*/ 27080 h 43398"/>
                  <a:gd name="connsiteX6" fmla="*/ 104002 w 112666"/>
                  <a:gd name="connsiteY6" fmla="*/ 29448 h 43398"/>
                  <a:gd name="connsiteX7" fmla="*/ 101636 w 112666"/>
                  <a:gd name="connsiteY7" fmla="*/ 22900 h 43398"/>
                  <a:gd name="connsiteX8" fmla="*/ 102265 w 112666"/>
                  <a:gd name="connsiteY8" fmla="*/ 15497 h 43398"/>
                  <a:gd name="connsiteX9" fmla="*/ 76580 w 112666"/>
                  <a:gd name="connsiteY9" fmla="*/ 12777 h 43398"/>
                  <a:gd name="connsiteX10" fmla="*/ 6878 w 112666"/>
                  <a:gd name="connsiteY10" fmla="*/ 42995 h 43398"/>
                  <a:gd name="connsiteX11" fmla="*/ 4939 w 112666"/>
                  <a:gd name="connsiteY11" fmla="*/ 43398 h 43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2666" h="43398">
                    <a:moveTo>
                      <a:pt x="4939" y="43398"/>
                    </a:moveTo>
                    <a:cubicBezTo>
                      <a:pt x="3050" y="43398"/>
                      <a:pt x="1237" y="42290"/>
                      <a:pt x="406" y="40427"/>
                    </a:cubicBezTo>
                    <a:cubicBezTo>
                      <a:pt x="-677" y="37934"/>
                      <a:pt x="482" y="35038"/>
                      <a:pt x="2975" y="33955"/>
                    </a:cubicBezTo>
                    <a:lnTo>
                      <a:pt x="72677" y="3737"/>
                    </a:lnTo>
                    <a:cubicBezTo>
                      <a:pt x="89372" y="-3439"/>
                      <a:pt x="106319" y="10"/>
                      <a:pt x="111305" y="11594"/>
                    </a:cubicBezTo>
                    <a:cubicBezTo>
                      <a:pt x="113345" y="16328"/>
                      <a:pt x="113093" y="21692"/>
                      <a:pt x="110550" y="27080"/>
                    </a:cubicBezTo>
                    <a:cubicBezTo>
                      <a:pt x="109391" y="29548"/>
                      <a:pt x="106470" y="30606"/>
                      <a:pt x="104002" y="29448"/>
                    </a:cubicBezTo>
                    <a:cubicBezTo>
                      <a:pt x="101535" y="28289"/>
                      <a:pt x="100477" y="25368"/>
                      <a:pt x="101636" y="22900"/>
                    </a:cubicBezTo>
                    <a:cubicBezTo>
                      <a:pt x="102542" y="20961"/>
                      <a:pt x="103398" y="18116"/>
                      <a:pt x="102265" y="15497"/>
                    </a:cubicBezTo>
                    <a:cubicBezTo>
                      <a:pt x="99898" y="10007"/>
                      <a:pt x="88768" y="7540"/>
                      <a:pt x="76580" y="12777"/>
                    </a:cubicBezTo>
                    <a:lnTo>
                      <a:pt x="6878" y="42995"/>
                    </a:lnTo>
                    <a:cubicBezTo>
                      <a:pt x="6248" y="43272"/>
                      <a:pt x="5594" y="43398"/>
                      <a:pt x="4939" y="43398"/>
                    </a:cubicBezTo>
                    <a:close/>
                  </a:path>
                </a:pathLst>
              </a:custGeom>
              <a:solidFill>
                <a:schemeClr val="tx2"/>
              </a:solidFill>
              <a:ln w="2517" cap="flat">
                <a:noFill/>
                <a:prstDash val="solid"/>
                <a:miter/>
              </a:ln>
            </p:spPr>
            <p:txBody>
              <a:bodyPr rtlCol="0" anchor="ctr"/>
              <a:lstStyle/>
              <a:p>
                <a:endParaRPr lang="en-GB" dirty="0"/>
              </a:p>
            </p:txBody>
          </p:sp>
          <p:sp>
            <p:nvSpPr>
              <p:cNvPr id="169" name="Freihandform: Form 642">
                <a:extLst>
                  <a:ext uri="{FF2B5EF4-FFF2-40B4-BE49-F238E27FC236}">
                    <a16:creationId xmlns:a16="http://schemas.microsoft.com/office/drawing/2014/main" id="{72583A61-0463-4426-AFFC-892491DD758C}"/>
                  </a:ext>
                </a:extLst>
              </p:cNvPr>
              <p:cNvSpPr/>
              <p:nvPr/>
            </p:nvSpPr>
            <p:spPr>
              <a:xfrm>
                <a:off x="8086433" y="2057911"/>
                <a:ext cx="91883" cy="34980"/>
              </a:xfrm>
              <a:custGeom>
                <a:avLst/>
                <a:gdLst>
                  <a:gd name="connsiteX0" fmla="*/ 82094 w 91883"/>
                  <a:gd name="connsiteY0" fmla="*/ 34980 h 34980"/>
                  <a:gd name="connsiteX1" fmla="*/ 78972 w 91883"/>
                  <a:gd name="connsiteY1" fmla="*/ 33872 h 34980"/>
                  <a:gd name="connsiteX2" fmla="*/ 78267 w 91883"/>
                  <a:gd name="connsiteY2" fmla="*/ 26947 h 34980"/>
                  <a:gd name="connsiteX3" fmla="*/ 81465 w 91883"/>
                  <a:gd name="connsiteY3" fmla="*/ 15515 h 34980"/>
                  <a:gd name="connsiteX4" fmla="*/ 55780 w 91883"/>
                  <a:gd name="connsiteY4" fmla="*/ 12821 h 34980"/>
                  <a:gd name="connsiteX5" fmla="*/ 6877 w 91883"/>
                  <a:gd name="connsiteY5" fmla="*/ 33797 h 34980"/>
                  <a:gd name="connsiteX6" fmla="*/ 406 w 91883"/>
                  <a:gd name="connsiteY6" fmla="*/ 31203 h 34980"/>
                  <a:gd name="connsiteX7" fmla="*/ 2999 w 91883"/>
                  <a:gd name="connsiteY7" fmla="*/ 24731 h 34980"/>
                  <a:gd name="connsiteX8" fmla="*/ 51902 w 91883"/>
                  <a:gd name="connsiteY8" fmla="*/ 3730 h 34980"/>
                  <a:gd name="connsiteX9" fmla="*/ 90530 w 91883"/>
                  <a:gd name="connsiteY9" fmla="*/ 11612 h 34980"/>
                  <a:gd name="connsiteX10" fmla="*/ 85897 w 91883"/>
                  <a:gd name="connsiteY10" fmla="*/ 33167 h 34980"/>
                  <a:gd name="connsiteX11" fmla="*/ 82094 w 91883"/>
                  <a:gd name="connsiteY11" fmla="*/ 34980 h 3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883" h="34980">
                    <a:moveTo>
                      <a:pt x="82094" y="34980"/>
                    </a:moveTo>
                    <a:cubicBezTo>
                      <a:pt x="80986" y="34980"/>
                      <a:pt x="79904" y="34628"/>
                      <a:pt x="78972" y="33872"/>
                    </a:cubicBezTo>
                    <a:cubicBezTo>
                      <a:pt x="76857" y="32160"/>
                      <a:pt x="76555" y="29037"/>
                      <a:pt x="78267" y="26947"/>
                    </a:cubicBezTo>
                    <a:cubicBezTo>
                      <a:pt x="81641" y="22818"/>
                      <a:pt x="82800" y="18638"/>
                      <a:pt x="81465" y="15515"/>
                    </a:cubicBezTo>
                    <a:cubicBezTo>
                      <a:pt x="79098" y="10025"/>
                      <a:pt x="67993" y="7583"/>
                      <a:pt x="55780" y="12821"/>
                    </a:cubicBezTo>
                    <a:lnTo>
                      <a:pt x="6877" y="33797"/>
                    </a:lnTo>
                    <a:cubicBezTo>
                      <a:pt x="4385" y="34880"/>
                      <a:pt x="1489" y="33721"/>
                      <a:pt x="406" y="31203"/>
                    </a:cubicBezTo>
                    <a:cubicBezTo>
                      <a:pt x="-677" y="28710"/>
                      <a:pt x="481" y="25814"/>
                      <a:pt x="2999" y="24731"/>
                    </a:cubicBezTo>
                    <a:lnTo>
                      <a:pt x="51902" y="3730"/>
                    </a:lnTo>
                    <a:cubicBezTo>
                      <a:pt x="68597" y="-3447"/>
                      <a:pt x="85544" y="28"/>
                      <a:pt x="90530" y="11612"/>
                    </a:cubicBezTo>
                    <a:cubicBezTo>
                      <a:pt x="93376" y="18235"/>
                      <a:pt x="91688" y="26091"/>
                      <a:pt x="85897" y="33167"/>
                    </a:cubicBezTo>
                    <a:cubicBezTo>
                      <a:pt x="84940" y="34351"/>
                      <a:pt x="83504" y="34980"/>
                      <a:pt x="82094" y="34980"/>
                    </a:cubicBezTo>
                    <a:close/>
                  </a:path>
                </a:pathLst>
              </a:custGeom>
              <a:solidFill>
                <a:schemeClr val="tx2"/>
              </a:solidFill>
              <a:ln w="2517" cap="flat">
                <a:noFill/>
                <a:prstDash val="solid"/>
                <a:miter/>
              </a:ln>
            </p:spPr>
            <p:txBody>
              <a:bodyPr rtlCol="0" anchor="ctr"/>
              <a:lstStyle/>
              <a:p>
                <a:endParaRPr lang="en-GB" dirty="0"/>
              </a:p>
            </p:txBody>
          </p:sp>
        </p:grpSp>
      </p:grpSp>
      <p:grpSp>
        <p:nvGrpSpPr>
          <p:cNvPr id="6" name="Group 5">
            <a:extLst>
              <a:ext uri="{FF2B5EF4-FFF2-40B4-BE49-F238E27FC236}">
                <a16:creationId xmlns:a16="http://schemas.microsoft.com/office/drawing/2014/main" id="{E8F60818-1496-E36F-65F9-490246710182}"/>
              </a:ext>
            </a:extLst>
          </p:cNvPr>
          <p:cNvGrpSpPr/>
          <p:nvPr/>
        </p:nvGrpSpPr>
        <p:grpSpPr>
          <a:xfrm>
            <a:off x="3775989" y="3197067"/>
            <a:ext cx="362736" cy="432000"/>
            <a:chOff x="3775989" y="3197067"/>
            <a:chExt cx="362736" cy="432000"/>
          </a:xfrm>
        </p:grpSpPr>
        <p:grpSp>
          <p:nvGrpSpPr>
            <p:cNvPr id="238" name="Gruppieren 646">
              <a:extLst>
                <a:ext uri="{FF2B5EF4-FFF2-40B4-BE49-F238E27FC236}">
                  <a16:creationId xmlns:a16="http://schemas.microsoft.com/office/drawing/2014/main" id="{4EC3A7AC-0D1B-4534-B464-2E80378C240F}"/>
                </a:ext>
              </a:extLst>
            </p:cNvPr>
            <p:cNvGrpSpPr/>
            <p:nvPr/>
          </p:nvGrpSpPr>
          <p:grpSpPr>
            <a:xfrm>
              <a:off x="3775989" y="3197067"/>
              <a:ext cx="362736" cy="432000"/>
              <a:chOff x="6185283" y="2468818"/>
              <a:chExt cx="463335" cy="551809"/>
            </a:xfrm>
            <a:solidFill>
              <a:schemeClr val="tx2"/>
            </a:solidFill>
          </p:grpSpPr>
          <p:grpSp>
            <p:nvGrpSpPr>
              <p:cNvPr id="242" name="Graphic 10">
                <a:extLst>
                  <a:ext uri="{FF2B5EF4-FFF2-40B4-BE49-F238E27FC236}">
                    <a16:creationId xmlns:a16="http://schemas.microsoft.com/office/drawing/2014/main" id="{6648F06C-627A-4AF7-A32B-0903969FB339}"/>
                  </a:ext>
                </a:extLst>
              </p:cNvPr>
              <p:cNvGrpSpPr/>
              <p:nvPr/>
            </p:nvGrpSpPr>
            <p:grpSpPr>
              <a:xfrm>
                <a:off x="6300585" y="2468818"/>
                <a:ext cx="223748" cy="275521"/>
                <a:chOff x="6300585" y="2468818"/>
                <a:chExt cx="223748" cy="275521"/>
              </a:xfrm>
              <a:grpFill/>
            </p:grpSpPr>
            <p:grpSp>
              <p:nvGrpSpPr>
                <p:cNvPr id="252" name="Graphic 10">
                  <a:extLst>
                    <a:ext uri="{FF2B5EF4-FFF2-40B4-BE49-F238E27FC236}">
                      <a16:creationId xmlns:a16="http://schemas.microsoft.com/office/drawing/2014/main" id="{2F273195-FFAC-4279-9C16-A1B96D439FD3}"/>
                    </a:ext>
                  </a:extLst>
                </p:cNvPr>
                <p:cNvGrpSpPr/>
                <p:nvPr/>
              </p:nvGrpSpPr>
              <p:grpSpPr>
                <a:xfrm>
                  <a:off x="6344881" y="2662545"/>
                  <a:ext cx="136671" cy="81696"/>
                  <a:chOff x="6344881" y="2662545"/>
                  <a:chExt cx="136671" cy="81696"/>
                </a:xfrm>
                <a:grpFill/>
              </p:grpSpPr>
              <p:sp>
                <p:nvSpPr>
                  <p:cNvPr id="257" name="Freihandform: Form 411">
                    <a:extLst>
                      <a:ext uri="{FF2B5EF4-FFF2-40B4-BE49-F238E27FC236}">
                        <a16:creationId xmlns:a16="http://schemas.microsoft.com/office/drawing/2014/main" id="{F23E8BC2-656C-41B6-92B6-BE5C22A7E52F}"/>
                      </a:ext>
                    </a:extLst>
                  </p:cNvPr>
                  <p:cNvSpPr/>
                  <p:nvPr/>
                </p:nvSpPr>
                <p:spPr>
                  <a:xfrm>
                    <a:off x="6406078" y="2662545"/>
                    <a:ext cx="75474" cy="81696"/>
                  </a:xfrm>
                  <a:custGeom>
                    <a:avLst/>
                    <a:gdLst>
                      <a:gd name="connsiteX0" fmla="*/ 6289 w 75474"/>
                      <a:gd name="connsiteY0" fmla="*/ 81696 h 81696"/>
                      <a:gd name="connsiteX1" fmla="*/ 0 w 75474"/>
                      <a:gd name="connsiteY1" fmla="*/ 74809 h 81696"/>
                      <a:gd name="connsiteX2" fmla="*/ 0 w 75474"/>
                      <a:gd name="connsiteY2" fmla="*/ 51148 h 81696"/>
                      <a:gd name="connsiteX3" fmla="*/ 17091 w 75474"/>
                      <a:gd name="connsiteY3" fmla="*/ 32429 h 81696"/>
                      <a:gd name="connsiteX4" fmla="*/ 60545 w 75474"/>
                      <a:gd name="connsiteY4" fmla="*/ 32429 h 81696"/>
                      <a:gd name="connsiteX5" fmla="*/ 53635 w 75474"/>
                      <a:gd name="connsiteY5" fmla="*/ 9008 h 81696"/>
                      <a:gd name="connsiteX6" fmla="*/ 57685 w 75474"/>
                      <a:gd name="connsiteY6" fmla="*/ 335 h 81696"/>
                      <a:gd name="connsiteX7" fmla="*/ 65605 w 75474"/>
                      <a:gd name="connsiteY7" fmla="*/ 4771 h 81696"/>
                      <a:gd name="connsiteX8" fmla="*/ 75170 w 75474"/>
                      <a:gd name="connsiteY8" fmla="*/ 37200 h 81696"/>
                      <a:gd name="connsiteX9" fmla="*/ 74271 w 75474"/>
                      <a:gd name="connsiteY9" fmla="*/ 43372 h 81696"/>
                      <a:gd name="connsiteX10" fmla="*/ 69185 w 75474"/>
                      <a:gd name="connsiteY10" fmla="*/ 46206 h 81696"/>
                      <a:gd name="connsiteX11" fmla="*/ 17091 w 75474"/>
                      <a:gd name="connsiteY11" fmla="*/ 46206 h 81696"/>
                      <a:gd name="connsiteX12" fmla="*/ 12581 w 75474"/>
                      <a:gd name="connsiteY12" fmla="*/ 51151 h 81696"/>
                      <a:gd name="connsiteX13" fmla="*/ 12581 w 75474"/>
                      <a:gd name="connsiteY13" fmla="*/ 74812 h 81696"/>
                      <a:gd name="connsiteX14" fmla="*/ 6289 w 75474"/>
                      <a:gd name="connsiteY14" fmla="*/ 81696 h 81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474" h="81696">
                        <a:moveTo>
                          <a:pt x="6289" y="81696"/>
                        </a:moveTo>
                        <a:cubicBezTo>
                          <a:pt x="2816" y="81696"/>
                          <a:pt x="0" y="78612"/>
                          <a:pt x="0" y="74809"/>
                        </a:cubicBezTo>
                        <a:lnTo>
                          <a:pt x="0" y="51148"/>
                        </a:lnTo>
                        <a:cubicBezTo>
                          <a:pt x="0" y="40826"/>
                          <a:pt x="7667" y="32429"/>
                          <a:pt x="17091" y="32429"/>
                        </a:cubicBezTo>
                        <a:lnTo>
                          <a:pt x="60545" y="32429"/>
                        </a:lnTo>
                        <a:lnTo>
                          <a:pt x="53635" y="9008"/>
                        </a:lnTo>
                        <a:cubicBezTo>
                          <a:pt x="52567" y="5387"/>
                          <a:pt x="54381" y="1505"/>
                          <a:pt x="57685" y="335"/>
                        </a:cubicBezTo>
                        <a:cubicBezTo>
                          <a:pt x="61013" y="-833"/>
                          <a:pt x="64539" y="1155"/>
                          <a:pt x="65605" y="4771"/>
                        </a:cubicBezTo>
                        <a:lnTo>
                          <a:pt x="75170" y="37200"/>
                        </a:lnTo>
                        <a:cubicBezTo>
                          <a:pt x="75789" y="39298"/>
                          <a:pt x="75454" y="41593"/>
                          <a:pt x="74271" y="43372"/>
                        </a:cubicBezTo>
                        <a:cubicBezTo>
                          <a:pt x="73085" y="45155"/>
                          <a:pt x="71196" y="46206"/>
                          <a:pt x="69185" y="46206"/>
                        </a:cubicBezTo>
                        <a:lnTo>
                          <a:pt x="17091" y="46206"/>
                        </a:lnTo>
                        <a:cubicBezTo>
                          <a:pt x="14605" y="46206"/>
                          <a:pt x="12581" y="48421"/>
                          <a:pt x="12581" y="51151"/>
                        </a:cubicBezTo>
                        <a:lnTo>
                          <a:pt x="12581" y="74812"/>
                        </a:lnTo>
                        <a:cubicBezTo>
                          <a:pt x="12578" y="78612"/>
                          <a:pt x="9762" y="81696"/>
                          <a:pt x="6289" y="81696"/>
                        </a:cubicBezTo>
                        <a:close/>
                      </a:path>
                    </a:pathLst>
                  </a:custGeom>
                  <a:grpFill/>
                  <a:ln w="255" cap="flat">
                    <a:noFill/>
                    <a:prstDash val="solid"/>
                    <a:miter/>
                  </a:ln>
                </p:spPr>
                <p:txBody>
                  <a:bodyPr rtlCol="0" anchor="ctr"/>
                  <a:lstStyle/>
                  <a:p>
                    <a:endParaRPr lang="en-GB" dirty="0"/>
                  </a:p>
                </p:txBody>
              </p:sp>
              <p:sp>
                <p:nvSpPr>
                  <p:cNvPr id="258" name="Freihandform: Form 412">
                    <a:extLst>
                      <a:ext uri="{FF2B5EF4-FFF2-40B4-BE49-F238E27FC236}">
                        <a16:creationId xmlns:a16="http://schemas.microsoft.com/office/drawing/2014/main" id="{EDF3CB2D-B459-46C4-8350-C45E478C0D5D}"/>
                      </a:ext>
                    </a:extLst>
                  </p:cNvPr>
                  <p:cNvSpPr/>
                  <p:nvPr/>
                </p:nvSpPr>
                <p:spPr>
                  <a:xfrm>
                    <a:off x="6344881" y="2662829"/>
                    <a:ext cx="73777" cy="81413"/>
                  </a:xfrm>
                  <a:custGeom>
                    <a:avLst/>
                    <a:gdLst>
                      <a:gd name="connsiteX0" fmla="*/ 67486 w 73777"/>
                      <a:gd name="connsiteY0" fmla="*/ 81413 h 81413"/>
                      <a:gd name="connsiteX1" fmla="*/ 61197 w 73777"/>
                      <a:gd name="connsiteY1" fmla="*/ 74526 h 81413"/>
                      <a:gd name="connsiteX2" fmla="*/ 61197 w 73777"/>
                      <a:gd name="connsiteY2" fmla="*/ 50865 h 81413"/>
                      <a:gd name="connsiteX3" fmla="*/ 56681 w 73777"/>
                      <a:gd name="connsiteY3" fmla="*/ 45920 h 81413"/>
                      <a:gd name="connsiteX4" fmla="*/ 6290 w 73777"/>
                      <a:gd name="connsiteY4" fmla="*/ 45920 h 81413"/>
                      <a:gd name="connsiteX5" fmla="*/ 1268 w 73777"/>
                      <a:gd name="connsiteY5" fmla="*/ 43178 h 81413"/>
                      <a:gd name="connsiteX6" fmla="*/ 243 w 73777"/>
                      <a:gd name="connsiteY6" fmla="*/ 37136 h 81413"/>
                      <a:gd name="connsiteX7" fmla="*/ 8630 w 73777"/>
                      <a:gd name="connsiteY7" fmla="*/ 4993 h 81413"/>
                      <a:gd name="connsiteX8" fmla="*/ 16407 w 73777"/>
                      <a:gd name="connsiteY8" fmla="*/ 266 h 81413"/>
                      <a:gd name="connsiteX9" fmla="*/ 20726 w 73777"/>
                      <a:gd name="connsiteY9" fmla="*/ 8781 h 81413"/>
                      <a:gd name="connsiteX10" fmla="*/ 14631 w 73777"/>
                      <a:gd name="connsiteY10" fmla="*/ 32143 h 81413"/>
                      <a:gd name="connsiteX11" fmla="*/ 56684 w 73777"/>
                      <a:gd name="connsiteY11" fmla="*/ 32143 h 81413"/>
                      <a:gd name="connsiteX12" fmla="*/ 73778 w 73777"/>
                      <a:gd name="connsiteY12" fmla="*/ 50862 h 81413"/>
                      <a:gd name="connsiteX13" fmla="*/ 73778 w 73777"/>
                      <a:gd name="connsiteY13" fmla="*/ 74523 h 81413"/>
                      <a:gd name="connsiteX14" fmla="*/ 67486 w 73777"/>
                      <a:gd name="connsiteY14" fmla="*/ 81413 h 8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777" h="81413">
                        <a:moveTo>
                          <a:pt x="67486" y="81413"/>
                        </a:moveTo>
                        <a:cubicBezTo>
                          <a:pt x="64013" y="81413"/>
                          <a:pt x="61197" y="78329"/>
                          <a:pt x="61197" y="74526"/>
                        </a:cubicBezTo>
                        <a:lnTo>
                          <a:pt x="61197" y="50865"/>
                        </a:lnTo>
                        <a:cubicBezTo>
                          <a:pt x="61197" y="48138"/>
                          <a:pt x="59173" y="45920"/>
                          <a:pt x="56681" y="45920"/>
                        </a:cubicBezTo>
                        <a:lnTo>
                          <a:pt x="6290" y="45920"/>
                        </a:lnTo>
                        <a:cubicBezTo>
                          <a:pt x="4314" y="45920"/>
                          <a:pt x="2456" y="44905"/>
                          <a:pt x="1268" y="43178"/>
                        </a:cubicBezTo>
                        <a:cubicBezTo>
                          <a:pt x="80" y="41453"/>
                          <a:pt x="-301" y="39217"/>
                          <a:pt x="243" y="37136"/>
                        </a:cubicBezTo>
                        <a:lnTo>
                          <a:pt x="8630" y="4993"/>
                        </a:lnTo>
                        <a:cubicBezTo>
                          <a:pt x="9586" y="1342"/>
                          <a:pt x="13062" y="-777"/>
                          <a:pt x="16407" y="266"/>
                        </a:cubicBezTo>
                        <a:cubicBezTo>
                          <a:pt x="19744" y="1311"/>
                          <a:pt x="21679" y="5121"/>
                          <a:pt x="20726" y="8781"/>
                        </a:cubicBezTo>
                        <a:lnTo>
                          <a:pt x="14631" y="32143"/>
                        </a:lnTo>
                        <a:lnTo>
                          <a:pt x="56684" y="32143"/>
                        </a:lnTo>
                        <a:cubicBezTo>
                          <a:pt x="66109" y="32143"/>
                          <a:pt x="73778" y="40540"/>
                          <a:pt x="73778" y="50862"/>
                        </a:cubicBezTo>
                        <a:lnTo>
                          <a:pt x="73778" y="74523"/>
                        </a:lnTo>
                        <a:cubicBezTo>
                          <a:pt x="73775" y="78329"/>
                          <a:pt x="70959" y="81413"/>
                          <a:pt x="67486" y="81413"/>
                        </a:cubicBezTo>
                        <a:close/>
                      </a:path>
                    </a:pathLst>
                  </a:custGeom>
                  <a:grpFill/>
                  <a:ln w="255" cap="flat">
                    <a:noFill/>
                    <a:prstDash val="solid"/>
                    <a:miter/>
                  </a:ln>
                </p:spPr>
                <p:txBody>
                  <a:bodyPr rtlCol="0" anchor="ctr"/>
                  <a:lstStyle/>
                  <a:p>
                    <a:endParaRPr lang="en-GB" dirty="0"/>
                  </a:p>
                </p:txBody>
              </p:sp>
            </p:grpSp>
            <p:sp>
              <p:nvSpPr>
                <p:cNvPr id="253" name="Freihandform: Form 413">
                  <a:extLst>
                    <a:ext uri="{FF2B5EF4-FFF2-40B4-BE49-F238E27FC236}">
                      <a16:creationId xmlns:a16="http://schemas.microsoft.com/office/drawing/2014/main" id="{903E3B66-7CC1-4C64-993F-B33CE3C37241}"/>
                    </a:ext>
                  </a:extLst>
                </p:cNvPr>
                <p:cNvSpPr/>
                <p:nvPr/>
              </p:nvSpPr>
              <p:spPr>
                <a:xfrm>
                  <a:off x="6399884" y="2592805"/>
                  <a:ext cx="25156" cy="13774"/>
                </a:xfrm>
                <a:custGeom>
                  <a:avLst/>
                  <a:gdLst>
                    <a:gd name="connsiteX0" fmla="*/ 18867 w 25156"/>
                    <a:gd name="connsiteY0" fmla="*/ 13774 h 13774"/>
                    <a:gd name="connsiteX1" fmla="*/ 6289 w 25156"/>
                    <a:gd name="connsiteY1" fmla="*/ 13774 h 13774"/>
                    <a:gd name="connsiteX2" fmla="*/ 0 w 25156"/>
                    <a:gd name="connsiteY2" fmla="*/ 6887 h 13774"/>
                    <a:gd name="connsiteX3" fmla="*/ 6289 w 25156"/>
                    <a:gd name="connsiteY3" fmla="*/ 0 h 13774"/>
                    <a:gd name="connsiteX4" fmla="*/ 18867 w 25156"/>
                    <a:gd name="connsiteY4" fmla="*/ 0 h 13774"/>
                    <a:gd name="connsiteX5" fmla="*/ 25156 w 25156"/>
                    <a:gd name="connsiteY5" fmla="*/ 6887 h 13774"/>
                    <a:gd name="connsiteX6" fmla="*/ 18867 w 25156"/>
                    <a:gd name="connsiteY6" fmla="*/ 13774 h 1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156" h="13774">
                      <a:moveTo>
                        <a:pt x="18867" y="13774"/>
                      </a:moveTo>
                      <a:lnTo>
                        <a:pt x="6289" y="13774"/>
                      </a:lnTo>
                      <a:cubicBezTo>
                        <a:pt x="2816" y="13774"/>
                        <a:pt x="0" y="10690"/>
                        <a:pt x="0" y="6887"/>
                      </a:cubicBezTo>
                      <a:cubicBezTo>
                        <a:pt x="0" y="3082"/>
                        <a:pt x="2816" y="0"/>
                        <a:pt x="6289" y="0"/>
                      </a:cubicBezTo>
                      <a:lnTo>
                        <a:pt x="18867" y="0"/>
                      </a:lnTo>
                      <a:cubicBezTo>
                        <a:pt x="22340" y="0"/>
                        <a:pt x="25156" y="3085"/>
                        <a:pt x="25156" y="6887"/>
                      </a:cubicBezTo>
                      <a:cubicBezTo>
                        <a:pt x="25156" y="10690"/>
                        <a:pt x="22340" y="13774"/>
                        <a:pt x="18867" y="13774"/>
                      </a:cubicBezTo>
                      <a:close/>
                    </a:path>
                  </a:pathLst>
                </a:custGeom>
                <a:grpFill/>
                <a:ln w="255" cap="flat">
                  <a:noFill/>
                  <a:prstDash val="solid"/>
                  <a:miter/>
                </a:ln>
              </p:spPr>
              <p:txBody>
                <a:bodyPr rtlCol="0" anchor="ctr"/>
                <a:lstStyle/>
                <a:p>
                  <a:endParaRPr lang="en-GB" dirty="0"/>
                </a:p>
              </p:txBody>
            </p:sp>
            <p:sp>
              <p:nvSpPr>
                <p:cNvPr id="254" name="Freihandform: Form 414">
                  <a:extLst>
                    <a:ext uri="{FF2B5EF4-FFF2-40B4-BE49-F238E27FC236}">
                      <a16:creationId xmlns:a16="http://schemas.microsoft.com/office/drawing/2014/main" id="{BAB60D9F-33DC-4015-88D6-81AA7002E44D}"/>
                    </a:ext>
                  </a:extLst>
                </p:cNvPr>
                <p:cNvSpPr/>
                <p:nvPr/>
              </p:nvSpPr>
              <p:spPr>
                <a:xfrm>
                  <a:off x="6368436" y="2468818"/>
                  <a:ext cx="88052" cy="110208"/>
                </a:xfrm>
                <a:custGeom>
                  <a:avLst/>
                  <a:gdLst>
                    <a:gd name="connsiteX0" fmla="*/ 44026 w 88052"/>
                    <a:gd name="connsiteY0" fmla="*/ 110208 h 110208"/>
                    <a:gd name="connsiteX1" fmla="*/ 0 w 88052"/>
                    <a:gd name="connsiteY1" fmla="*/ 55104 h 110208"/>
                    <a:gd name="connsiteX2" fmla="*/ 44026 w 88052"/>
                    <a:gd name="connsiteY2" fmla="*/ 0 h 110208"/>
                    <a:gd name="connsiteX3" fmla="*/ 88052 w 88052"/>
                    <a:gd name="connsiteY3" fmla="*/ 55104 h 110208"/>
                    <a:gd name="connsiteX4" fmla="*/ 44026 w 88052"/>
                    <a:gd name="connsiteY4" fmla="*/ 110208 h 110208"/>
                    <a:gd name="connsiteX5" fmla="*/ 44026 w 88052"/>
                    <a:gd name="connsiteY5" fmla="*/ 13777 h 110208"/>
                    <a:gd name="connsiteX6" fmla="*/ 12578 w 88052"/>
                    <a:gd name="connsiteY6" fmla="*/ 55104 h 110208"/>
                    <a:gd name="connsiteX7" fmla="*/ 44026 w 88052"/>
                    <a:gd name="connsiteY7" fmla="*/ 96432 h 110208"/>
                    <a:gd name="connsiteX8" fmla="*/ 75474 w 88052"/>
                    <a:gd name="connsiteY8" fmla="*/ 55104 h 110208"/>
                    <a:gd name="connsiteX9" fmla="*/ 44026 w 88052"/>
                    <a:gd name="connsiteY9" fmla="*/ 13777 h 11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052" h="110208">
                      <a:moveTo>
                        <a:pt x="44026" y="110208"/>
                      </a:moveTo>
                      <a:cubicBezTo>
                        <a:pt x="17692" y="110208"/>
                        <a:pt x="0" y="88065"/>
                        <a:pt x="0" y="55104"/>
                      </a:cubicBezTo>
                      <a:cubicBezTo>
                        <a:pt x="0" y="22143"/>
                        <a:pt x="17692" y="0"/>
                        <a:pt x="44026" y="0"/>
                      </a:cubicBezTo>
                      <a:cubicBezTo>
                        <a:pt x="70361" y="0"/>
                        <a:pt x="88052" y="22143"/>
                        <a:pt x="88052" y="55104"/>
                      </a:cubicBezTo>
                      <a:cubicBezTo>
                        <a:pt x="88052" y="88065"/>
                        <a:pt x="70361" y="110208"/>
                        <a:pt x="44026" y="110208"/>
                      </a:cubicBezTo>
                      <a:close/>
                      <a:moveTo>
                        <a:pt x="44026" y="13777"/>
                      </a:moveTo>
                      <a:cubicBezTo>
                        <a:pt x="20814" y="13777"/>
                        <a:pt x="12578" y="36038"/>
                        <a:pt x="12578" y="55104"/>
                      </a:cubicBezTo>
                      <a:cubicBezTo>
                        <a:pt x="12578" y="74171"/>
                        <a:pt x="20814" y="96432"/>
                        <a:pt x="44026" y="96432"/>
                      </a:cubicBezTo>
                      <a:cubicBezTo>
                        <a:pt x="67238" y="96432"/>
                        <a:pt x="75474" y="74171"/>
                        <a:pt x="75474" y="55104"/>
                      </a:cubicBezTo>
                      <a:cubicBezTo>
                        <a:pt x="75474" y="36038"/>
                        <a:pt x="67238" y="13777"/>
                        <a:pt x="44026" y="13777"/>
                      </a:cubicBezTo>
                      <a:close/>
                    </a:path>
                  </a:pathLst>
                </a:custGeom>
                <a:grpFill/>
                <a:ln w="255" cap="flat">
                  <a:noFill/>
                  <a:prstDash val="solid"/>
                  <a:miter/>
                </a:ln>
              </p:spPr>
              <p:txBody>
                <a:bodyPr rtlCol="0" anchor="ctr"/>
                <a:lstStyle/>
                <a:p>
                  <a:endParaRPr lang="en-GB" dirty="0"/>
                </a:p>
              </p:txBody>
            </p:sp>
            <p:sp>
              <p:nvSpPr>
                <p:cNvPr id="255" name="Freihandform: Form 415">
                  <a:extLst>
                    <a:ext uri="{FF2B5EF4-FFF2-40B4-BE49-F238E27FC236}">
                      <a16:creationId xmlns:a16="http://schemas.microsoft.com/office/drawing/2014/main" id="{6BC1C13D-98FE-47E2-9028-8B86305834DF}"/>
                    </a:ext>
                  </a:extLst>
                </p:cNvPr>
                <p:cNvSpPr/>
                <p:nvPr/>
              </p:nvSpPr>
              <p:spPr>
                <a:xfrm>
                  <a:off x="6406173" y="2592805"/>
                  <a:ext cx="12578" cy="68878"/>
                </a:xfrm>
                <a:custGeom>
                  <a:avLst/>
                  <a:gdLst>
                    <a:gd name="connsiteX0" fmla="*/ 6289 w 12578"/>
                    <a:gd name="connsiteY0" fmla="*/ 68878 h 68878"/>
                    <a:gd name="connsiteX1" fmla="*/ 0 w 12578"/>
                    <a:gd name="connsiteY1" fmla="*/ 61991 h 68878"/>
                    <a:gd name="connsiteX2" fmla="*/ 0 w 12578"/>
                    <a:gd name="connsiteY2" fmla="*/ 6887 h 68878"/>
                    <a:gd name="connsiteX3" fmla="*/ 6289 w 12578"/>
                    <a:gd name="connsiteY3" fmla="*/ 0 h 68878"/>
                    <a:gd name="connsiteX4" fmla="*/ 12578 w 12578"/>
                    <a:gd name="connsiteY4" fmla="*/ 6887 h 68878"/>
                    <a:gd name="connsiteX5" fmla="*/ 12578 w 12578"/>
                    <a:gd name="connsiteY5" fmla="*/ 61991 h 68878"/>
                    <a:gd name="connsiteX6" fmla="*/ 6289 w 12578"/>
                    <a:gd name="connsiteY6" fmla="*/ 68878 h 68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78" h="68878">
                      <a:moveTo>
                        <a:pt x="6289" y="68878"/>
                      </a:moveTo>
                      <a:cubicBezTo>
                        <a:pt x="2816" y="68878"/>
                        <a:pt x="0" y="65794"/>
                        <a:pt x="0" y="61991"/>
                      </a:cubicBezTo>
                      <a:lnTo>
                        <a:pt x="0" y="6887"/>
                      </a:lnTo>
                      <a:cubicBezTo>
                        <a:pt x="0" y="3082"/>
                        <a:pt x="2816" y="0"/>
                        <a:pt x="6289" y="0"/>
                      </a:cubicBezTo>
                      <a:cubicBezTo>
                        <a:pt x="9762" y="0"/>
                        <a:pt x="12578" y="3085"/>
                        <a:pt x="12578" y="6887"/>
                      </a:cubicBezTo>
                      <a:lnTo>
                        <a:pt x="12578" y="61991"/>
                      </a:lnTo>
                      <a:cubicBezTo>
                        <a:pt x="12578" y="65794"/>
                        <a:pt x="9762" y="68878"/>
                        <a:pt x="6289" y="68878"/>
                      </a:cubicBezTo>
                      <a:close/>
                    </a:path>
                  </a:pathLst>
                </a:custGeom>
                <a:grpFill/>
                <a:ln w="255" cap="flat">
                  <a:noFill/>
                  <a:prstDash val="solid"/>
                  <a:miter/>
                </a:ln>
              </p:spPr>
              <p:txBody>
                <a:bodyPr rtlCol="0" anchor="ctr"/>
                <a:lstStyle/>
                <a:p>
                  <a:endParaRPr lang="en-GB" dirty="0"/>
                </a:p>
              </p:txBody>
            </p:sp>
            <p:sp>
              <p:nvSpPr>
                <p:cNvPr id="256" name="Freihandform: Form 416">
                  <a:extLst>
                    <a:ext uri="{FF2B5EF4-FFF2-40B4-BE49-F238E27FC236}">
                      <a16:creationId xmlns:a16="http://schemas.microsoft.com/office/drawing/2014/main" id="{A8057E10-E6BE-4622-A577-E82DD13C7582}"/>
                    </a:ext>
                  </a:extLst>
                </p:cNvPr>
                <p:cNvSpPr/>
                <p:nvPr/>
              </p:nvSpPr>
              <p:spPr>
                <a:xfrm>
                  <a:off x="6300585" y="2592800"/>
                  <a:ext cx="223748" cy="151538"/>
                </a:xfrm>
                <a:custGeom>
                  <a:avLst/>
                  <a:gdLst>
                    <a:gd name="connsiteX0" fmla="*/ 199932 w 223748"/>
                    <a:gd name="connsiteY0" fmla="*/ 151539 h 151538"/>
                    <a:gd name="connsiteX1" fmla="*/ 23822 w 223748"/>
                    <a:gd name="connsiteY1" fmla="*/ 151539 h 151538"/>
                    <a:gd name="connsiteX2" fmla="*/ 4735 w 223748"/>
                    <a:gd name="connsiteY2" fmla="*/ 141838 h 151538"/>
                    <a:gd name="connsiteX3" fmla="*/ 2100 w 223748"/>
                    <a:gd name="connsiteY3" fmla="*/ 110288 h 151538"/>
                    <a:gd name="connsiteX4" fmla="*/ 21568 w 223748"/>
                    <a:gd name="connsiteY4" fmla="*/ 44269 h 151538"/>
                    <a:gd name="connsiteX5" fmla="*/ 69647 w 223748"/>
                    <a:gd name="connsiteY5" fmla="*/ 0 h 151538"/>
                    <a:gd name="connsiteX6" fmla="*/ 74140 w 223748"/>
                    <a:gd name="connsiteY6" fmla="*/ 0 h 151538"/>
                    <a:gd name="connsiteX7" fmla="*/ 79504 w 223748"/>
                    <a:gd name="connsiteY7" fmla="*/ 3291 h 151538"/>
                    <a:gd name="connsiteX8" fmla="*/ 111703 w 223748"/>
                    <a:gd name="connsiteY8" fmla="*/ 60908 h 151538"/>
                    <a:gd name="connsiteX9" fmla="*/ 144247 w 223748"/>
                    <a:gd name="connsiteY9" fmla="*/ 3291 h 151538"/>
                    <a:gd name="connsiteX10" fmla="*/ 149611 w 223748"/>
                    <a:gd name="connsiteY10" fmla="*/ 0 h 151538"/>
                    <a:gd name="connsiteX11" fmla="*/ 154104 w 223748"/>
                    <a:gd name="connsiteY11" fmla="*/ 0 h 151538"/>
                    <a:gd name="connsiteX12" fmla="*/ 202124 w 223748"/>
                    <a:gd name="connsiteY12" fmla="*/ 44080 h 151538"/>
                    <a:gd name="connsiteX13" fmla="*/ 221638 w 223748"/>
                    <a:gd name="connsiteY13" fmla="*/ 110247 h 151538"/>
                    <a:gd name="connsiteX14" fmla="*/ 219016 w 223748"/>
                    <a:gd name="connsiteY14" fmla="*/ 141838 h 151538"/>
                    <a:gd name="connsiteX15" fmla="*/ 199932 w 223748"/>
                    <a:gd name="connsiteY15" fmla="*/ 151539 h 151538"/>
                    <a:gd name="connsiteX16" fmla="*/ 69647 w 223748"/>
                    <a:gd name="connsiteY16" fmla="*/ 13779 h 151538"/>
                    <a:gd name="connsiteX17" fmla="*/ 33482 w 223748"/>
                    <a:gd name="connsiteY17" fmla="*/ 48690 h 151538"/>
                    <a:gd name="connsiteX18" fmla="*/ 14085 w 223748"/>
                    <a:gd name="connsiteY18" fmla="*/ 114479 h 151538"/>
                    <a:gd name="connsiteX19" fmla="*/ 14883 w 223748"/>
                    <a:gd name="connsiteY19" fmla="*/ 133696 h 151538"/>
                    <a:gd name="connsiteX20" fmla="*/ 23822 w 223748"/>
                    <a:gd name="connsiteY20" fmla="*/ 137762 h 151538"/>
                    <a:gd name="connsiteX21" fmla="*/ 199932 w 223748"/>
                    <a:gd name="connsiteY21" fmla="*/ 137762 h 151538"/>
                    <a:gd name="connsiteX22" fmla="*/ 208871 w 223748"/>
                    <a:gd name="connsiteY22" fmla="*/ 133696 h 151538"/>
                    <a:gd name="connsiteX23" fmla="*/ 209658 w 223748"/>
                    <a:gd name="connsiteY23" fmla="*/ 114438 h 151538"/>
                    <a:gd name="connsiteX24" fmla="*/ 190216 w 223748"/>
                    <a:gd name="connsiteY24" fmla="*/ 48501 h 151538"/>
                    <a:gd name="connsiteX25" fmla="*/ 154109 w 223748"/>
                    <a:gd name="connsiteY25" fmla="*/ 13779 h 151538"/>
                    <a:gd name="connsiteX26" fmla="*/ 153140 w 223748"/>
                    <a:gd name="connsiteY26" fmla="*/ 13779 h 151538"/>
                    <a:gd name="connsiteX27" fmla="*/ 122779 w 223748"/>
                    <a:gd name="connsiteY27" fmla="*/ 68102 h 151538"/>
                    <a:gd name="connsiteX28" fmla="*/ 111877 w 223748"/>
                    <a:gd name="connsiteY28" fmla="*/ 75017 h 151538"/>
                    <a:gd name="connsiteX29" fmla="*/ 100801 w 223748"/>
                    <a:gd name="connsiteY29" fmla="*/ 67772 h 151538"/>
                    <a:gd name="connsiteX30" fmla="*/ 70616 w 223748"/>
                    <a:gd name="connsiteY30" fmla="*/ 13777 h 151538"/>
                    <a:gd name="connsiteX31" fmla="*/ 69647 w 223748"/>
                    <a:gd name="connsiteY31" fmla="*/ 13777 h 15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23748" h="151538">
                      <a:moveTo>
                        <a:pt x="199932" y="151539"/>
                      </a:moveTo>
                      <a:lnTo>
                        <a:pt x="23822" y="151539"/>
                      </a:lnTo>
                      <a:cubicBezTo>
                        <a:pt x="13413" y="151539"/>
                        <a:pt x="7699" y="146264"/>
                        <a:pt x="4735" y="141838"/>
                      </a:cubicBezTo>
                      <a:cubicBezTo>
                        <a:pt x="-476" y="134051"/>
                        <a:pt x="-1434" y="122549"/>
                        <a:pt x="2100" y="110288"/>
                      </a:cubicBezTo>
                      <a:lnTo>
                        <a:pt x="21568" y="44269"/>
                      </a:lnTo>
                      <a:cubicBezTo>
                        <a:pt x="31113" y="14830"/>
                        <a:pt x="47266" y="0"/>
                        <a:pt x="69647" y="0"/>
                      </a:cubicBezTo>
                      <a:lnTo>
                        <a:pt x="74140" y="0"/>
                      </a:lnTo>
                      <a:cubicBezTo>
                        <a:pt x="76330" y="0"/>
                        <a:pt x="78361" y="1247"/>
                        <a:pt x="79504" y="3291"/>
                      </a:cubicBezTo>
                      <a:lnTo>
                        <a:pt x="111703" y="60908"/>
                      </a:lnTo>
                      <a:lnTo>
                        <a:pt x="144247" y="3291"/>
                      </a:lnTo>
                      <a:cubicBezTo>
                        <a:pt x="145390" y="1247"/>
                        <a:pt x="147424" y="0"/>
                        <a:pt x="149611" y="0"/>
                      </a:cubicBezTo>
                      <a:lnTo>
                        <a:pt x="154104" y="0"/>
                      </a:lnTo>
                      <a:cubicBezTo>
                        <a:pt x="176482" y="0"/>
                        <a:pt x="192636" y="14830"/>
                        <a:pt x="202124" y="44080"/>
                      </a:cubicBezTo>
                      <a:lnTo>
                        <a:pt x="221638" y="110247"/>
                      </a:lnTo>
                      <a:cubicBezTo>
                        <a:pt x="225185" y="122549"/>
                        <a:pt x="224227" y="134051"/>
                        <a:pt x="219016" y="141838"/>
                      </a:cubicBezTo>
                      <a:cubicBezTo>
                        <a:pt x="216054" y="146264"/>
                        <a:pt x="210338" y="151539"/>
                        <a:pt x="199932" y="151539"/>
                      </a:cubicBezTo>
                      <a:close/>
                      <a:moveTo>
                        <a:pt x="69647" y="13779"/>
                      </a:moveTo>
                      <a:cubicBezTo>
                        <a:pt x="52699" y="13779"/>
                        <a:pt x="41207" y="24873"/>
                        <a:pt x="33482" y="48690"/>
                      </a:cubicBezTo>
                      <a:lnTo>
                        <a:pt x="14085" y="114479"/>
                      </a:lnTo>
                      <a:cubicBezTo>
                        <a:pt x="11849" y="122232"/>
                        <a:pt x="12151" y="129610"/>
                        <a:pt x="14883" y="133696"/>
                      </a:cubicBezTo>
                      <a:cubicBezTo>
                        <a:pt x="16712" y="136430"/>
                        <a:pt x="19639" y="137762"/>
                        <a:pt x="23822" y="137762"/>
                      </a:cubicBezTo>
                      <a:lnTo>
                        <a:pt x="199932" y="137762"/>
                      </a:lnTo>
                      <a:cubicBezTo>
                        <a:pt x="204115" y="137762"/>
                        <a:pt x="207041" y="136430"/>
                        <a:pt x="208871" y="133696"/>
                      </a:cubicBezTo>
                      <a:cubicBezTo>
                        <a:pt x="211605" y="129610"/>
                        <a:pt x="211904" y="122230"/>
                        <a:pt x="209658" y="114438"/>
                      </a:cubicBezTo>
                      <a:lnTo>
                        <a:pt x="190216" y="48501"/>
                      </a:lnTo>
                      <a:cubicBezTo>
                        <a:pt x="182549" y="24870"/>
                        <a:pt x="171057" y="13779"/>
                        <a:pt x="154109" y="13779"/>
                      </a:cubicBezTo>
                      <a:lnTo>
                        <a:pt x="153140" y="13779"/>
                      </a:lnTo>
                      <a:lnTo>
                        <a:pt x="122779" y="68102"/>
                      </a:lnTo>
                      <a:cubicBezTo>
                        <a:pt x="120755" y="72241"/>
                        <a:pt x="116510" y="75017"/>
                        <a:pt x="111877" y="75017"/>
                      </a:cubicBezTo>
                      <a:cubicBezTo>
                        <a:pt x="107244" y="75017"/>
                        <a:pt x="102999" y="72241"/>
                        <a:pt x="100801" y="67772"/>
                      </a:cubicBezTo>
                      <a:lnTo>
                        <a:pt x="70616" y="13777"/>
                      </a:lnTo>
                      <a:lnTo>
                        <a:pt x="69647" y="13777"/>
                      </a:lnTo>
                      <a:close/>
                    </a:path>
                  </a:pathLst>
                </a:custGeom>
                <a:grpFill/>
                <a:ln w="255" cap="flat">
                  <a:noFill/>
                  <a:prstDash val="solid"/>
                  <a:miter/>
                </a:ln>
              </p:spPr>
              <p:txBody>
                <a:bodyPr rtlCol="0" anchor="ctr"/>
                <a:lstStyle/>
                <a:p>
                  <a:endParaRPr lang="en-GB" dirty="0"/>
                </a:p>
              </p:txBody>
            </p:sp>
          </p:grpSp>
          <p:grpSp>
            <p:nvGrpSpPr>
              <p:cNvPr id="243" name="Graphic 10">
                <a:extLst>
                  <a:ext uri="{FF2B5EF4-FFF2-40B4-BE49-F238E27FC236}">
                    <a16:creationId xmlns:a16="http://schemas.microsoft.com/office/drawing/2014/main" id="{54D27751-26C8-43AB-8063-BADE8816444F}"/>
                  </a:ext>
                </a:extLst>
              </p:cNvPr>
              <p:cNvGrpSpPr/>
              <p:nvPr/>
            </p:nvGrpSpPr>
            <p:grpSpPr>
              <a:xfrm>
                <a:off x="6508150" y="2840771"/>
                <a:ext cx="140468" cy="179856"/>
                <a:chOff x="6508150" y="2840771"/>
                <a:chExt cx="140468" cy="179856"/>
              </a:xfrm>
              <a:grpFill/>
            </p:grpSpPr>
            <p:sp>
              <p:nvSpPr>
                <p:cNvPr id="250" name="Freihandform: Form 418">
                  <a:extLst>
                    <a:ext uri="{FF2B5EF4-FFF2-40B4-BE49-F238E27FC236}">
                      <a16:creationId xmlns:a16="http://schemas.microsoft.com/office/drawing/2014/main" id="{8E419D9A-CA36-4F10-9ABA-7395DE546B0B}"/>
                    </a:ext>
                  </a:extLst>
                </p:cNvPr>
                <p:cNvSpPr/>
                <p:nvPr/>
              </p:nvSpPr>
              <p:spPr>
                <a:xfrm>
                  <a:off x="6508150" y="2954329"/>
                  <a:ext cx="140468" cy="66297"/>
                </a:xfrm>
                <a:custGeom>
                  <a:avLst/>
                  <a:gdLst>
                    <a:gd name="connsiteX0" fmla="*/ 134179 w 140468"/>
                    <a:gd name="connsiteY0" fmla="*/ 66297 h 66297"/>
                    <a:gd name="connsiteX1" fmla="*/ 6289 w 140468"/>
                    <a:gd name="connsiteY1" fmla="*/ 66297 h 66297"/>
                    <a:gd name="connsiteX2" fmla="*/ 0 w 140468"/>
                    <a:gd name="connsiteY2" fmla="*/ 59410 h 66297"/>
                    <a:gd name="connsiteX3" fmla="*/ 54248 w 140468"/>
                    <a:gd name="connsiteY3" fmla="*/ 0 h 66297"/>
                    <a:gd name="connsiteX4" fmla="*/ 86220 w 140468"/>
                    <a:gd name="connsiteY4" fmla="*/ 0 h 66297"/>
                    <a:gd name="connsiteX5" fmla="*/ 140468 w 140468"/>
                    <a:gd name="connsiteY5" fmla="*/ 59410 h 66297"/>
                    <a:gd name="connsiteX6" fmla="*/ 134179 w 140468"/>
                    <a:gd name="connsiteY6" fmla="*/ 66297 h 66297"/>
                    <a:gd name="connsiteX7" fmla="*/ 13054 w 140468"/>
                    <a:gd name="connsiteY7" fmla="*/ 52521 h 66297"/>
                    <a:gd name="connsiteX8" fmla="*/ 127417 w 140468"/>
                    <a:gd name="connsiteY8" fmla="*/ 52521 h 66297"/>
                    <a:gd name="connsiteX9" fmla="*/ 86223 w 140468"/>
                    <a:gd name="connsiteY9" fmla="*/ 13777 h 66297"/>
                    <a:gd name="connsiteX10" fmla="*/ 54251 w 140468"/>
                    <a:gd name="connsiteY10" fmla="*/ 13777 h 66297"/>
                    <a:gd name="connsiteX11" fmla="*/ 13054 w 140468"/>
                    <a:gd name="connsiteY11" fmla="*/ 52521 h 66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468" h="66297">
                      <a:moveTo>
                        <a:pt x="134179" y="66297"/>
                      </a:moveTo>
                      <a:lnTo>
                        <a:pt x="6289" y="66297"/>
                      </a:lnTo>
                      <a:cubicBezTo>
                        <a:pt x="2816" y="66297"/>
                        <a:pt x="0" y="63213"/>
                        <a:pt x="0" y="59410"/>
                      </a:cubicBezTo>
                      <a:cubicBezTo>
                        <a:pt x="0" y="26651"/>
                        <a:pt x="24336" y="0"/>
                        <a:pt x="54248" y="0"/>
                      </a:cubicBezTo>
                      <a:lnTo>
                        <a:pt x="86220" y="0"/>
                      </a:lnTo>
                      <a:cubicBezTo>
                        <a:pt x="116132" y="0"/>
                        <a:pt x="140468" y="26651"/>
                        <a:pt x="140468" y="59410"/>
                      </a:cubicBezTo>
                      <a:cubicBezTo>
                        <a:pt x="140468" y="63213"/>
                        <a:pt x="137652" y="66297"/>
                        <a:pt x="134179" y="66297"/>
                      </a:cubicBezTo>
                      <a:close/>
                      <a:moveTo>
                        <a:pt x="13054" y="52521"/>
                      </a:moveTo>
                      <a:lnTo>
                        <a:pt x="127417" y="52521"/>
                      </a:lnTo>
                      <a:cubicBezTo>
                        <a:pt x="124376" y="30615"/>
                        <a:pt x="107063" y="13777"/>
                        <a:pt x="86223" y="13777"/>
                      </a:cubicBezTo>
                      <a:lnTo>
                        <a:pt x="54251" y="13777"/>
                      </a:lnTo>
                      <a:cubicBezTo>
                        <a:pt x="33408" y="13777"/>
                        <a:pt x="16092" y="30615"/>
                        <a:pt x="13054" y="52521"/>
                      </a:cubicBezTo>
                      <a:close/>
                    </a:path>
                  </a:pathLst>
                </a:custGeom>
                <a:grpFill/>
                <a:ln w="255" cap="flat">
                  <a:noFill/>
                  <a:prstDash val="solid"/>
                  <a:miter/>
                </a:ln>
              </p:spPr>
              <p:txBody>
                <a:bodyPr rtlCol="0" anchor="ctr"/>
                <a:lstStyle/>
                <a:p>
                  <a:endParaRPr lang="en-GB" dirty="0"/>
                </a:p>
              </p:txBody>
            </p:sp>
            <p:sp>
              <p:nvSpPr>
                <p:cNvPr id="251" name="Freihandform: Form 419">
                  <a:extLst>
                    <a:ext uri="{FF2B5EF4-FFF2-40B4-BE49-F238E27FC236}">
                      <a16:creationId xmlns:a16="http://schemas.microsoft.com/office/drawing/2014/main" id="{9655672B-ADFB-4BB7-AE14-DFC53CDFE5C5}"/>
                    </a:ext>
                  </a:extLst>
                </p:cNvPr>
                <p:cNvSpPr/>
                <p:nvPr/>
              </p:nvSpPr>
              <p:spPr>
                <a:xfrm>
                  <a:off x="6540125" y="2840771"/>
                  <a:ext cx="76521" cy="95473"/>
                </a:xfrm>
                <a:custGeom>
                  <a:avLst/>
                  <a:gdLst>
                    <a:gd name="connsiteX0" fmla="*/ 38258 w 76521"/>
                    <a:gd name="connsiteY0" fmla="*/ 95473 h 95473"/>
                    <a:gd name="connsiteX1" fmla="*/ 0 w 76521"/>
                    <a:gd name="connsiteY1" fmla="*/ 47734 h 95473"/>
                    <a:gd name="connsiteX2" fmla="*/ 38258 w 76521"/>
                    <a:gd name="connsiteY2" fmla="*/ 0 h 95473"/>
                    <a:gd name="connsiteX3" fmla="*/ 76522 w 76521"/>
                    <a:gd name="connsiteY3" fmla="*/ 47734 h 95473"/>
                    <a:gd name="connsiteX4" fmla="*/ 38258 w 76521"/>
                    <a:gd name="connsiteY4" fmla="*/ 95473 h 95473"/>
                    <a:gd name="connsiteX5" fmla="*/ 38258 w 76521"/>
                    <a:gd name="connsiteY5" fmla="*/ 13777 h 95473"/>
                    <a:gd name="connsiteX6" fmla="*/ 12578 w 76521"/>
                    <a:gd name="connsiteY6" fmla="*/ 47737 h 95473"/>
                    <a:gd name="connsiteX7" fmla="*/ 38258 w 76521"/>
                    <a:gd name="connsiteY7" fmla="*/ 81699 h 95473"/>
                    <a:gd name="connsiteX8" fmla="*/ 63941 w 76521"/>
                    <a:gd name="connsiteY8" fmla="*/ 47737 h 95473"/>
                    <a:gd name="connsiteX9" fmla="*/ 38258 w 76521"/>
                    <a:gd name="connsiteY9" fmla="*/ 13777 h 95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521" h="95473">
                      <a:moveTo>
                        <a:pt x="38258" y="95473"/>
                      </a:moveTo>
                      <a:cubicBezTo>
                        <a:pt x="15732" y="95473"/>
                        <a:pt x="0" y="75842"/>
                        <a:pt x="0" y="47734"/>
                      </a:cubicBezTo>
                      <a:cubicBezTo>
                        <a:pt x="0" y="19626"/>
                        <a:pt x="15734" y="0"/>
                        <a:pt x="38258" y="0"/>
                      </a:cubicBezTo>
                      <a:cubicBezTo>
                        <a:pt x="60788" y="0"/>
                        <a:pt x="76522" y="19629"/>
                        <a:pt x="76522" y="47734"/>
                      </a:cubicBezTo>
                      <a:cubicBezTo>
                        <a:pt x="76522" y="75840"/>
                        <a:pt x="60788" y="95473"/>
                        <a:pt x="38258" y="95473"/>
                      </a:cubicBezTo>
                      <a:close/>
                      <a:moveTo>
                        <a:pt x="38258" y="13777"/>
                      </a:moveTo>
                      <a:cubicBezTo>
                        <a:pt x="19304" y="13777"/>
                        <a:pt x="12578" y="32069"/>
                        <a:pt x="12578" y="47737"/>
                      </a:cubicBezTo>
                      <a:cubicBezTo>
                        <a:pt x="12578" y="63402"/>
                        <a:pt x="19304" y="81699"/>
                        <a:pt x="38258" y="81699"/>
                      </a:cubicBezTo>
                      <a:cubicBezTo>
                        <a:pt x="57215" y="81699"/>
                        <a:pt x="63941" y="63402"/>
                        <a:pt x="63941" y="47737"/>
                      </a:cubicBezTo>
                      <a:cubicBezTo>
                        <a:pt x="63941" y="32069"/>
                        <a:pt x="57218" y="13777"/>
                        <a:pt x="38258" y="13777"/>
                      </a:cubicBezTo>
                      <a:close/>
                    </a:path>
                  </a:pathLst>
                </a:custGeom>
                <a:grpFill/>
                <a:ln w="255" cap="flat">
                  <a:noFill/>
                  <a:prstDash val="solid"/>
                  <a:miter/>
                </a:ln>
              </p:spPr>
              <p:txBody>
                <a:bodyPr rtlCol="0" anchor="ctr"/>
                <a:lstStyle/>
                <a:p>
                  <a:endParaRPr lang="en-GB" dirty="0"/>
                </a:p>
              </p:txBody>
            </p:sp>
          </p:grpSp>
          <p:grpSp>
            <p:nvGrpSpPr>
              <p:cNvPr id="244" name="Graphic 10">
                <a:extLst>
                  <a:ext uri="{FF2B5EF4-FFF2-40B4-BE49-F238E27FC236}">
                    <a16:creationId xmlns:a16="http://schemas.microsoft.com/office/drawing/2014/main" id="{01AD9AC6-8A37-404F-8CF3-1FF2347C1478}"/>
                  </a:ext>
                </a:extLst>
              </p:cNvPr>
              <p:cNvGrpSpPr/>
              <p:nvPr/>
            </p:nvGrpSpPr>
            <p:grpSpPr>
              <a:xfrm>
                <a:off x="6185283" y="2840771"/>
                <a:ext cx="140468" cy="179856"/>
                <a:chOff x="6185283" y="2840771"/>
                <a:chExt cx="140468" cy="179856"/>
              </a:xfrm>
              <a:grpFill/>
            </p:grpSpPr>
            <p:sp>
              <p:nvSpPr>
                <p:cNvPr id="248" name="Freihandform: Form 421">
                  <a:extLst>
                    <a:ext uri="{FF2B5EF4-FFF2-40B4-BE49-F238E27FC236}">
                      <a16:creationId xmlns:a16="http://schemas.microsoft.com/office/drawing/2014/main" id="{5C2D52B9-88F5-49DD-B957-7009BCA7E675}"/>
                    </a:ext>
                  </a:extLst>
                </p:cNvPr>
                <p:cNvSpPr/>
                <p:nvPr/>
              </p:nvSpPr>
              <p:spPr>
                <a:xfrm>
                  <a:off x="6185283" y="2954329"/>
                  <a:ext cx="140468" cy="66297"/>
                </a:xfrm>
                <a:custGeom>
                  <a:avLst/>
                  <a:gdLst>
                    <a:gd name="connsiteX0" fmla="*/ 134179 w 140468"/>
                    <a:gd name="connsiteY0" fmla="*/ 66297 h 66297"/>
                    <a:gd name="connsiteX1" fmla="*/ 6289 w 140468"/>
                    <a:gd name="connsiteY1" fmla="*/ 66297 h 66297"/>
                    <a:gd name="connsiteX2" fmla="*/ 0 w 140468"/>
                    <a:gd name="connsiteY2" fmla="*/ 59410 h 66297"/>
                    <a:gd name="connsiteX3" fmla="*/ 54248 w 140468"/>
                    <a:gd name="connsiteY3" fmla="*/ 0 h 66297"/>
                    <a:gd name="connsiteX4" fmla="*/ 86220 w 140468"/>
                    <a:gd name="connsiteY4" fmla="*/ 0 h 66297"/>
                    <a:gd name="connsiteX5" fmla="*/ 140468 w 140468"/>
                    <a:gd name="connsiteY5" fmla="*/ 59410 h 66297"/>
                    <a:gd name="connsiteX6" fmla="*/ 134179 w 140468"/>
                    <a:gd name="connsiteY6" fmla="*/ 66297 h 66297"/>
                    <a:gd name="connsiteX7" fmla="*/ 13053 w 140468"/>
                    <a:gd name="connsiteY7" fmla="*/ 52521 h 66297"/>
                    <a:gd name="connsiteX8" fmla="*/ 127417 w 140468"/>
                    <a:gd name="connsiteY8" fmla="*/ 52521 h 66297"/>
                    <a:gd name="connsiteX9" fmla="*/ 86223 w 140468"/>
                    <a:gd name="connsiteY9" fmla="*/ 13777 h 66297"/>
                    <a:gd name="connsiteX10" fmla="*/ 54251 w 140468"/>
                    <a:gd name="connsiteY10" fmla="*/ 13777 h 66297"/>
                    <a:gd name="connsiteX11" fmla="*/ 13053 w 140468"/>
                    <a:gd name="connsiteY11" fmla="*/ 52521 h 66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468" h="66297">
                      <a:moveTo>
                        <a:pt x="134179" y="66297"/>
                      </a:moveTo>
                      <a:lnTo>
                        <a:pt x="6289" y="66297"/>
                      </a:lnTo>
                      <a:cubicBezTo>
                        <a:pt x="2816" y="66297"/>
                        <a:pt x="0" y="63213"/>
                        <a:pt x="0" y="59410"/>
                      </a:cubicBezTo>
                      <a:cubicBezTo>
                        <a:pt x="0" y="26651"/>
                        <a:pt x="24336" y="0"/>
                        <a:pt x="54248" y="0"/>
                      </a:cubicBezTo>
                      <a:lnTo>
                        <a:pt x="86220" y="0"/>
                      </a:lnTo>
                      <a:cubicBezTo>
                        <a:pt x="116132" y="0"/>
                        <a:pt x="140468" y="26651"/>
                        <a:pt x="140468" y="59410"/>
                      </a:cubicBezTo>
                      <a:cubicBezTo>
                        <a:pt x="140468" y="63213"/>
                        <a:pt x="137652" y="66297"/>
                        <a:pt x="134179" y="66297"/>
                      </a:cubicBezTo>
                      <a:close/>
                      <a:moveTo>
                        <a:pt x="13053" y="52521"/>
                      </a:moveTo>
                      <a:lnTo>
                        <a:pt x="127417" y="52521"/>
                      </a:lnTo>
                      <a:cubicBezTo>
                        <a:pt x="124376" y="30615"/>
                        <a:pt x="107063" y="13777"/>
                        <a:pt x="86223" y="13777"/>
                      </a:cubicBezTo>
                      <a:lnTo>
                        <a:pt x="54251" y="13777"/>
                      </a:lnTo>
                      <a:cubicBezTo>
                        <a:pt x="33408" y="13777"/>
                        <a:pt x="16095" y="30615"/>
                        <a:pt x="13053" y="52521"/>
                      </a:cubicBezTo>
                      <a:close/>
                    </a:path>
                  </a:pathLst>
                </a:custGeom>
                <a:grpFill/>
                <a:ln w="255" cap="flat">
                  <a:noFill/>
                  <a:prstDash val="solid"/>
                  <a:miter/>
                </a:ln>
              </p:spPr>
              <p:txBody>
                <a:bodyPr rtlCol="0" anchor="ctr"/>
                <a:lstStyle/>
                <a:p>
                  <a:endParaRPr lang="en-GB" dirty="0"/>
                </a:p>
              </p:txBody>
            </p:sp>
            <p:sp>
              <p:nvSpPr>
                <p:cNvPr id="249" name="Freihandform: Form 422">
                  <a:extLst>
                    <a:ext uri="{FF2B5EF4-FFF2-40B4-BE49-F238E27FC236}">
                      <a16:creationId xmlns:a16="http://schemas.microsoft.com/office/drawing/2014/main" id="{3B8B655A-C970-4A9D-8453-5C7EEBC57244}"/>
                    </a:ext>
                  </a:extLst>
                </p:cNvPr>
                <p:cNvSpPr/>
                <p:nvPr/>
              </p:nvSpPr>
              <p:spPr>
                <a:xfrm>
                  <a:off x="6217258" y="2840771"/>
                  <a:ext cx="76521" cy="95473"/>
                </a:xfrm>
                <a:custGeom>
                  <a:avLst/>
                  <a:gdLst>
                    <a:gd name="connsiteX0" fmla="*/ 38263 w 76521"/>
                    <a:gd name="connsiteY0" fmla="*/ 95473 h 95473"/>
                    <a:gd name="connsiteX1" fmla="*/ 0 w 76521"/>
                    <a:gd name="connsiteY1" fmla="*/ 47734 h 95473"/>
                    <a:gd name="connsiteX2" fmla="*/ 38263 w 76521"/>
                    <a:gd name="connsiteY2" fmla="*/ 0 h 95473"/>
                    <a:gd name="connsiteX3" fmla="*/ 76522 w 76521"/>
                    <a:gd name="connsiteY3" fmla="*/ 47734 h 95473"/>
                    <a:gd name="connsiteX4" fmla="*/ 38263 w 76521"/>
                    <a:gd name="connsiteY4" fmla="*/ 95473 h 95473"/>
                    <a:gd name="connsiteX5" fmla="*/ 38263 w 76521"/>
                    <a:gd name="connsiteY5" fmla="*/ 13777 h 95473"/>
                    <a:gd name="connsiteX6" fmla="*/ 12581 w 76521"/>
                    <a:gd name="connsiteY6" fmla="*/ 47737 h 95473"/>
                    <a:gd name="connsiteX7" fmla="*/ 38263 w 76521"/>
                    <a:gd name="connsiteY7" fmla="*/ 81699 h 95473"/>
                    <a:gd name="connsiteX8" fmla="*/ 63944 w 76521"/>
                    <a:gd name="connsiteY8" fmla="*/ 47737 h 95473"/>
                    <a:gd name="connsiteX9" fmla="*/ 38263 w 76521"/>
                    <a:gd name="connsiteY9" fmla="*/ 13777 h 95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521" h="95473">
                      <a:moveTo>
                        <a:pt x="38263" y="95473"/>
                      </a:moveTo>
                      <a:cubicBezTo>
                        <a:pt x="15734" y="95473"/>
                        <a:pt x="0" y="75842"/>
                        <a:pt x="0" y="47734"/>
                      </a:cubicBezTo>
                      <a:cubicBezTo>
                        <a:pt x="0" y="19626"/>
                        <a:pt x="15734" y="0"/>
                        <a:pt x="38263" y="0"/>
                      </a:cubicBezTo>
                      <a:cubicBezTo>
                        <a:pt x="60790" y="0"/>
                        <a:pt x="76522" y="19629"/>
                        <a:pt x="76522" y="47734"/>
                      </a:cubicBezTo>
                      <a:cubicBezTo>
                        <a:pt x="76522" y="75840"/>
                        <a:pt x="60788" y="95473"/>
                        <a:pt x="38263" y="95473"/>
                      </a:cubicBezTo>
                      <a:close/>
                      <a:moveTo>
                        <a:pt x="38263" y="13777"/>
                      </a:moveTo>
                      <a:cubicBezTo>
                        <a:pt x="19307" y="13777"/>
                        <a:pt x="12581" y="32069"/>
                        <a:pt x="12581" y="47737"/>
                      </a:cubicBezTo>
                      <a:cubicBezTo>
                        <a:pt x="12581" y="63402"/>
                        <a:pt x="19307" y="81699"/>
                        <a:pt x="38263" y="81699"/>
                      </a:cubicBezTo>
                      <a:cubicBezTo>
                        <a:pt x="57218" y="81699"/>
                        <a:pt x="63944" y="63402"/>
                        <a:pt x="63944" y="47737"/>
                      </a:cubicBezTo>
                      <a:cubicBezTo>
                        <a:pt x="63944" y="32069"/>
                        <a:pt x="57218" y="13777"/>
                        <a:pt x="38263" y="13777"/>
                      </a:cubicBezTo>
                      <a:close/>
                    </a:path>
                  </a:pathLst>
                </a:custGeom>
                <a:grpFill/>
                <a:ln w="255" cap="flat">
                  <a:noFill/>
                  <a:prstDash val="solid"/>
                  <a:miter/>
                </a:ln>
              </p:spPr>
              <p:txBody>
                <a:bodyPr rtlCol="0" anchor="ctr"/>
                <a:lstStyle/>
                <a:p>
                  <a:endParaRPr lang="en-GB" dirty="0"/>
                </a:p>
              </p:txBody>
            </p:sp>
          </p:grpSp>
          <p:grpSp>
            <p:nvGrpSpPr>
              <p:cNvPr id="245" name="Graphic 10">
                <a:extLst>
                  <a:ext uri="{FF2B5EF4-FFF2-40B4-BE49-F238E27FC236}">
                    <a16:creationId xmlns:a16="http://schemas.microsoft.com/office/drawing/2014/main" id="{B3F3BABA-059B-4EE9-ADA7-A466A8C05DA9}"/>
                  </a:ext>
                </a:extLst>
              </p:cNvPr>
              <p:cNvGrpSpPr/>
              <p:nvPr/>
            </p:nvGrpSpPr>
            <p:grpSpPr>
              <a:xfrm>
                <a:off x="6342523" y="2840771"/>
                <a:ext cx="140470" cy="179856"/>
                <a:chOff x="6342523" y="2840771"/>
                <a:chExt cx="140470" cy="179856"/>
              </a:xfrm>
              <a:grpFill/>
            </p:grpSpPr>
            <p:sp>
              <p:nvSpPr>
                <p:cNvPr id="246" name="Freihandform: Form 424">
                  <a:extLst>
                    <a:ext uri="{FF2B5EF4-FFF2-40B4-BE49-F238E27FC236}">
                      <a16:creationId xmlns:a16="http://schemas.microsoft.com/office/drawing/2014/main" id="{11788417-E62B-427F-BB9E-3D5D30BDB049}"/>
                    </a:ext>
                  </a:extLst>
                </p:cNvPr>
                <p:cNvSpPr/>
                <p:nvPr/>
              </p:nvSpPr>
              <p:spPr>
                <a:xfrm>
                  <a:off x="6342523" y="2954329"/>
                  <a:ext cx="140470" cy="66297"/>
                </a:xfrm>
                <a:custGeom>
                  <a:avLst/>
                  <a:gdLst>
                    <a:gd name="connsiteX0" fmla="*/ 134179 w 140470"/>
                    <a:gd name="connsiteY0" fmla="*/ 66297 h 66297"/>
                    <a:gd name="connsiteX1" fmla="*/ 6289 w 140470"/>
                    <a:gd name="connsiteY1" fmla="*/ 66297 h 66297"/>
                    <a:gd name="connsiteX2" fmla="*/ 0 w 140470"/>
                    <a:gd name="connsiteY2" fmla="*/ 59410 h 66297"/>
                    <a:gd name="connsiteX3" fmla="*/ 54248 w 140470"/>
                    <a:gd name="connsiteY3" fmla="*/ 0 h 66297"/>
                    <a:gd name="connsiteX4" fmla="*/ 86223 w 140470"/>
                    <a:gd name="connsiteY4" fmla="*/ 0 h 66297"/>
                    <a:gd name="connsiteX5" fmla="*/ 140471 w 140470"/>
                    <a:gd name="connsiteY5" fmla="*/ 59410 h 66297"/>
                    <a:gd name="connsiteX6" fmla="*/ 134179 w 140470"/>
                    <a:gd name="connsiteY6" fmla="*/ 66297 h 66297"/>
                    <a:gd name="connsiteX7" fmla="*/ 13054 w 140470"/>
                    <a:gd name="connsiteY7" fmla="*/ 52521 h 66297"/>
                    <a:gd name="connsiteX8" fmla="*/ 127417 w 140470"/>
                    <a:gd name="connsiteY8" fmla="*/ 52521 h 66297"/>
                    <a:gd name="connsiteX9" fmla="*/ 86223 w 140470"/>
                    <a:gd name="connsiteY9" fmla="*/ 13777 h 66297"/>
                    <a:gd name="connsiteX10" fmla="*/ 54248 w 140470"/>
                    <a:gd name="connsiteY10" fmla="*/ 13777 h 66297"/>
                    <a:gd name="connsiteX11" fmla="*/ 13054 w 140470"/>
                    <a:gd name="connsiteY11" fmla="*/ 52521 h 66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0470" h="66297">
                      <a:moveTo>
                        <a:pt x="134179" y="66297"/>
                      </a:moveTo>
                      <a:lnTo>
                        <a:pt x="6289" y="66297"/>
                      </a:lnTo>
                      <a:cubicBezTo>
                        <a:pt x="2816" y="66297"/>
                        <a:pt x="0" y="63213"/>
                        <a:pt x="0" y="59410"/>
                      </a:cubicBezTo>
                      <a:cubicBezTo>
                        <a:pt x="0" y="26651"/>
                        <a:pt x="24336" y="0"/>
                        <a:pt x="54248" y="0"/>
                      </a:cubicBezTo>
                      <a:lnTo>
                        <a:pt x="86223" y="0"/>
                      </a:lnTo>
                      <a:cubicBezTo>
                        <a:pt x="116135" y="0"/>
                        <a:pt x="140471" y="26651"/>
                        <a:pt x="140471" y="59410"/>
                      </a:cubicBezTo>
                      <a:cubicBezTo>
                        <a:pt x="140468" y="63213"/>
                        <a:pt x="137652" y="66297"/>
                        <a:pt x="134179" y="66297"/>
                      </a:cubicBezTo>
                      <a:close/>
                      <a:moveTo>
                        <a:pt x="13054" y="52521"/>
                      </a:moveTo>
                      <a:lnTo>
                        <a:pt x="127417" y="52521"/>
                      </a:lnTo>
                      <a:cubicBezTo>
                        <a:pt x="124376" y="30615"/>
                        <a:pt x="107063" y="13777"/>
                        <a:pt x="86223" y="13777"/>
                      </a:cubicBezTo>
                      <a:lnTo>
                        <a:pt x="54248" y="13777"/>
                      </a:lnTo>
                      <a:cubicBezTo>
                        <a:pt x="33408" y="13777"/>
                        <a:pt x="16095" y="30615"/>
                        <a:pt x="13054" y="52521"/>
                      </a:cubicBezTo>
                      <a:close/>
                    </a:path>
                  </a:pathLst>
                </a:custGeom>
                <a:grpFill/>
                <a:ln w="255" cap="flat">
                  <a:noFill/>
                  <a:prstDash val="solid"/>
                  <a:miter/>
                </a:ln>
              </p:spPr>
              <p:txBody>
                <a:bodyPr rtlCol="0" anchor="ctr"/>
                <a:lstStyle/>
                <a:p>
                  <a:endParaRPr lang="en-GB" dirty="0"/>
                </a:p>
              </p:txBody>
            </p:sp>
            <p:sp>
              <p:nvSpPr>
                <p:cNvPr id="247" name="Freihandform: Form 425">
                  <a:extLst>
                    <a:ext uri="{FF2B5EF4-FFF2-40B4-BE49-F238E27FC236}">
                      <a16:creationId xmlns:a16="http://schemas.microsoft.com/office/drawing/2014/main" id="{2667E023-9059-4813-A352-05B6E1E349AE}"/>
                    </a:ext>
                  </a:extLst>
                </p:cNvPr>
                <p:cNvSpPr/>
                <p:nvPr/>
              </p:nvSpPr>
              <p:spPr>
                <a:xfrm>
                  <a:off x="6374495" y="2840771"/>
                  <a:ext cx="76521" cy="95473"/>
                </a:xfrm>
                <a:custGeom>
                  <a:avLst/>
                  <a:gdLst>
                    <a:gd name="connsiteX0" fmla="*/ 38263 w 76521"/>
                    <a:gd name="connsiteY0" fmla="*/ 95473 h 95473"/>
                    <a:gd name="connsiteX1" fmla="*/ 0 w 76521"/>
                    <a:gd name="connsiteY1" fmla="*/ 47734 h 95473"/>
                    <a:gd name="connsiteX2" fmla="*/ 38263 w 76521"/>
                    <a:gd name="connsiteY2" fmla="*/ 0 h 95473"/>
                    <a:gd name="connsiteX3" fmla="*/ 76522 w 76521"/>
                    <a:gd name="connsiteY3" fmla="*/ 47734 h 95473"/>
                    <a:gd name="connsiteX4" fmla="*/ 38263 w 76521"/>
                    <a:gd name="connsiteY4" fmla="*/ 95473 h 95473"/>
                    <a:gd name="connsiteX5" fmla="*/ 38263 w 76521"/>
                    <a:gd name="connsiteY5" fmla="*/ 13777 h 95473"/>
                    <a:gd name="connsiteX6" fmla="*/ 12581 w 76521"/>
                    <a:gd name="connsiteY6" fmla="*/ 47737 h 95473"/>
                    <a:gd name="connsiteX7" fmla="*/ 38263 w 76521"/>
                    <a:gd name="connsiteY7" fmla="*/ 81699 h 95473"/>
                    <a:gd name="connsiteX8" fmla="*/ 63944 w 76521"/>
                    <a:gd name="connsiteY8" fmla="*/ 47737 h 95473"/>
                    <a:gd name="connsiteX9" fmla="*/ 38263 w 76521"/>
                    <a:gd name="connsiteY9" fmla="*/ 13777 h 95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521" h="95473">
                      <a:moveTo>
                        <a:pt x="38263" y="95473"/>
                      </a:moveTo>
                      <a:cubicBezTo>
                        <a:pt x="15734" y="95473"/>
                        <a:pt x="0" y="75842"/>
                        <a:pt x="0" y="47734"/>
                      </a:cubicBezTo>
                      <a:cubicBezTo>
                        <a:pt x="0" y="19626"/>
                        <a:pt x="15734" y="0"/>
                        <a:pt x="38263" y="0"/>
                      </a:cubicBezTo>
                      <a:cubicBezTo>
                        <a:pt x="60790" y="0"/>
                        <a:pt x="76522" y="19629"/>
                        <a:pt x="76522" y="47734"/>
                      </a:cubicBezTo>
                      <a:cubicBezTo>
                        <a:pt x="76522" y="75840"/>
                        <a:pt x="60790" y="95473"/>
                        <a:pt x="38263" y="95473"/>
                      </a:cubicBezTo>
                      <a:close/>
                      <a:moveTo>
                        <a:pt x="38263" y="13777"/>
                      </a:moveTo>
                      <a:cubicBezTo>
                        <a:pt x="19307" y="13777"/>
                        <a:pt x="12581" y="32069"/>
                        <a:pt x="12581" y="47737"/>
                      </a:cubicBezTo>
                      <a:cubicBezTo>
                        <a:pt x="12581" y="63402"/>
                        <a:pt x="19307" y="81699"/>
                        <a:pt x="38263" y="81699"/>
                      </a:cubicBezTo>
                      <a:cubicBezTo>
                        <a:pt x="57218" y="81699"/>
                        <a:pt x="63944" y="63402"/>
                        <a:pt x="63944" y="47737"/>
                      </a:cubicBezTo>
                      <a:cubicBezTo>
                        <a:pt x="63946" y="32069"/>
                        <a:pt x="57220" y="13777"/>
                        <a:pt x="38263" y="13777"/>
                      </a:cubicBezTo>
                      <a:close/>
                    </a:path>
                  </a:pathLst>
                </a:custGeom>
                <a:grpFill/>
                <a:ln w="255" cap="flat">
                  <a:noFill/>
                  <a:prstDash val="solid"/>
                  <a:miter/>
                </a:ln>
              </p:spPr>
              <p:txBody>
                <a:bodyPr rtlCol="0" anchor="ctr"/>
                <a:lstStyle/>
                <a:p>
                  <a:endParaRPr lang="en-GB" dirty="0"/>
                </a:p>
              </p:txBody>
            </p:sp>
          </p:grpSp>
        </p:grpSp>
        <p:grpSp>
          <p:nvGrpSpPr>
            <p:cNvPr id="239" name="Gruppieren 647">
              <a:extLst>
                <a:ext uri="{FF2B5EF4-FFF2-40B4-BE49-F238E27FC236}">
                  <a16:creationId xmlns:a16="http://schemas.microsoft.com/office/drawing/2014/main" id="{74140300-EDA6-45FC-A5B1-A18809C1AD38}"/>
                </a:ext>
              </a:extLst>
            </p:cNvPr>
            <p:cNvGrpSpPr/>
            <p:nvPr/>
          </p:nvGrpSpPr>
          <p:grpSpPr>
            <a:xfrm>
              <a:off x="3826880" y="3422887"/>
              <a:ext cx="260972" cy="48531"/>
              <a:chOff x="6250280" y="2757249"/>
              <a:chExt cx="333349" cy="61991"/>
            </a:xfrm>
          </p:grpSpPr>
          <p:sp>
            <p:nvSpPr>
              <p:cNvPr id="240" name="Freihandform: Form 426">
                <a:extLst>
                  <a:ext uri="{FF2B5EF4-FFF2-40B4-BE49-F238E27FC236}">
                    <a16:creationId xmlns:a16="http://schemas.microsoft.com/office/drawing/2014/main" id="{58D0DEE2-622D-43D9-897D-FBF1B3AF4CD2}"/>
                  </a:ext>
                </a:extLst>
              </p:cNvPr>
              <p:cNvSpPr/>
              <p:nvPr/>
            </p:nvSpPr>
            <p:spPr>
              <a:xfrm>
                <a:off x="6405723" y="2757249"/>
                <a:ext cx="12578" cy="61991"/>
              </a:xfrm>
              <a:custGeom>
                <a:avLst/>
                <a:gdLst>
                  <a:gd name="connsiteX0" fmla="*/ 6289 w 12578"/>
                  <a:gd name="connsiteY0" fmla="*/ 61991 h 61991"/>
                  <a:gd name="connsiteX1" fmla="*/ 0 w 12578"/>
                  <a:gd name="connsiteY1" fmla="*/ 55104 h 61991"/>
                  <a:gd name="connsiteX2" fmla="*/ 0 w 12578"/>
                  <a:gd name="connsiteY2" fmla="*/ 6887 h 61991"/>
                  <a:gd name="connsiteX3" fmla="*/ 6289 w 12578"/>
                  <a:gd name="connsiteY3" fmla="*/ 0 h 61991"/>
                  <a:gd name="connsiteX4" fmla="*/ 12578 w 12578"/>
                  <a:gd name="connsiteY4" fmla="*/ 6887 h 61991"/>
                  <a:gd name="connsiteX5" fmla="*/ 12578 w 12578"/>
                  <a:gd name="connsiteY5" fmla="*/ 55104 h 61991"/>
                  <a:gd name="connsiteX6" fmla="*/ 6289 w 12578"/>
                  <a:gd name="connsiteY6" fmla="*/ 61991 h 61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78" h="61991">
                    <a:moveTo>
                      <a:pt x="6289" y="61991"/>
                    </a:moveTo>
                    <a:cubicBezTo>
                      <a:pt x="2816" y="61991"/>
                      <a:pt x="0" y="58907"/>
                      <a:pt x="0" y="55104"/>
                    </a:cubicBezTo>
                    <a:lnTo>
                      <a:pt x="0" y="6887"/>
                    </a:lnTo>
                    <a:cubicBezTo>
                      <a:pt x="0" y="3082"/>
                      <a:pt x="2816" y="0"/>
                      <a:pt x="6289" y="0"/>
                    </a:cubicBezTo>
                    <a:cubicBezTo>
                      <a:pt x="9762" y="0"/>
                      <a:pt x="12578" y="3085"/>
                      <a:pt x="12578" y="6887"/>
                    </a:cubicBezTo>
                    <a:lnTo>
                      <a:pt x="12578" y="55104"/>
                    </a:lnTo>
                    <a:cubicBezTo>
                      <a:pt x="12581" y="58907"/>
                      <a:pt x="9765" y="61991"/>
                      <a:pt x="6289" y="61991"/>
                    </a:cubicBezTo>
                    <a:close/>
                  </a:path>
                </a:pathLst>
              </a:custGeom>
              <a:solidFill>
                <a:schemeClr val="accent1"/>
              </a:solidFill>
              <a:ln w="255" cap="flat">
                <a:noFill/>
                <a:prstDash val="solid"/>
                <a:miter/>
              </a:ln>
            </p:spPr>
            <p:txBody>
              <a:bodyPr rtlCol="0" anchor="ctr"/>
              <a:lstStyle/>
              <a:p>
                <a:endParaRPr lang="en-GB" dirty="0"/>
              </a:p>
            </p:txBody>
          </p:sp>
          <p:sp>
            <p:nvSpPr>
              <p:cNvPr id="241" name="Freihandform: Form 427">
                <a:extLst>
                  <a:ext uri="{FF2B5EF4-FFF2-40B4-BE49-F238E27FC236}">
                    <a16:creationId xmlns:a16="http://schemas.microsoft.com/office/drawing/2014/main" id="{517A23D5-55A9-46E8-A213-D6D4EE9AE76A}"/>
                  </a:ext>
                </a:extLst>
              </p:cNvPr>
              <p:cNvSpPr/>
              <p:nvPr/>
            </p:nvSpPr>
            <p:spPr>
              <a:xfrm>
                <a:off x="6250280" y="2778782"/>
                <a:ext cx="333349" cy="40458"/>
              </a:xfrm>
              <a:custGeom>
                <a:avLst/>
                <a:gdLst>
                  <a:gd name="connsiteX0" fmla="*/ 327055 w 333349"/>
                  <a:gd name="connsiteY0" fmla="*/ 40459 h 40458"/>
                  <a:gd name="connsiteX1" fmla="*/ 320766 w 333349"/>
                  <a:gd name="connsiteY1" fmla="*/ 33572 h 40458"/>
                  <a:gd name="connsiteX2" fmla="*/ 320766 w 333349"/>
                  <a:gd name="connsiteY2" fmla="*/ 20664 h 40458"/>
                  <a:gd name="connsiteX3" fmla="*/ 314477 w 333349"/>
                  <a:gd name="connsiteY3" fmla="*/ 13777 h 40458"/>
                  <a:gd name="connsiteX4" fmla="*/ 18867 w 333349"/>
                  <a:gd name="connsiteY4" fmla="*/ 13777 h 40458"/>
                  <a:gd name="connsiteX5" fmla="*/ 12578 w 333349"/>
                  <a:gd name="connsiteY5" fmla="*/ 20664 h 40458"/>
                  <a:gd name="connsiteX6" fmla="*/ 12578 w 333349"/>
                  <a:gd name="connsiteY6" fmla="*/ 33572 h 40458"/>
                  <a:gd name="connsiteX7" fmla="*/ 6289 w 333349"/>
                  <a:gd name="connsiteY7" fmla="*/ 40459 h 40458"/>
                  <a:gd name="connsiteX8" fmla="*/ 0 w 333349"/>
                  <a:gd name="connsiteY8" fmla="*/ 33572 h 40458"/>
                  <a:gd name="connsiteX9" fmla="*/ 0 w 333349"/>
                  <a:gd name="connsiteY9" fmla="*/ 20664 h 40458"/>
                  <a:gd name="connsiteX10" fmla="*/ 18870 w 333349"/>
                  <a:gd name="connsiteY10" fmla="*/ 0 h 40458"/>
                  <a:gd name="connsiteX11" fmla="*/ 314480 w 333349"/>
                  <a:gd name="connsiteY11" fmla="*/ 0 h 40458"/>
                  <a:gd name="connsiteX12" fmla="*/ 333350 w 333349"/>
                  <a:gd name="connsiteY12" fmla="*/ 20664 h 40458"/>
                  <a:gd name="connsiteX13" fmla="*/ 333350 w 333349"/>
                  <a:gd name="connsiteY13" fmla="*/ 33572 h 40458"/>
                  <a:gd name="connsiteX14" fmla="*/ 327055 w 333349"/>
                  <a:gd name="connsiteY14" fmla="*/ 40459 h 40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3349" h="40458">
                    <a:moveTo>
                      <a:pt x="327055" y="40459"/>
                    </a:moveTo>
                    <a:cubicBezTo>
                      <a:pt x="323583" y="40459"/>
                      <a:pt x="320766" y="37374"/>
                      <a:pt x="320766" y="33572"/>
                    </a:cubicBezTo>
                    <a:lnTo>
                      <a:pt x="320766" y="20664"/>
                    </a:lnTo>
                    <a:cubicBezTo>
                      <a:pt x="320766" y="16866"/>
                      <a:pt x="317945" y="13777"/>
                      <a:pt x="314477" y="13777"/>
                    </a:cubicBezTo>
                    <a:lnTo>
                      <a:pt x="18867" y="13777"/>
                    </a:lnTo>
                    <a:cubicBezTo>
                      <a:pt x="15399" y="13777"/>
                      <a:pt x="12578" y="16866"/>
                      <a:pt x="12578" y="20664"/>
                    </a:cubicBezTo>
                    <a:lnTo>
                      <a:pt x="12578" y="33572"/>
                    </a:lnTo>
                    <a:cubicBezTo>
                      <a:pt x="12578" y="37374"/>
                      <a:pt x="9762" y="40459"/>
                      <a:pt x="6289" y="40459"/>
                    </a:cubicBezTo>
                    <a:cubicBezTo>
                      <a:pt x="2816" y="40459"/>
                      <a:pt x="0" y="37374"/>
                      <a:pt x="0" y="33572"/>
                    </a:cubicBezTo>
                    <a:lnTo>
                      <a:pt x="0" y="20664"/>
                    </a:lnTo>
                    <a:cubicBezTo>
                      <a:pt x="0" y="9269"/>
                      <a:pt x="8464" y="0"/>
                      <a:pt x="18870" y="0"/>
                    </a:cubicBezTo>
                    <a:lnTo>
                      <a:pt x="314480" y="0"/>
                    </a:lnTo>
                    <a:cubicBezTo>
                      <a:pt x="324886" y="0"/>
                      <a:pt x="333350" y="9269"/>
                      <a:pt x="333350" y="20664"/>
                    </a:cubicBezTo>
                    <a:lnTo>
                      <a:pt x="333350" y="33572"/>
                    </a:lnTo>
                    <a:cubicBezTo>
                      <a:pt x="333347" y="37374"/>
                      <a:pt x="330531" y="40459"/>
                      <a:pt x="327055" y="40459"/>
                    </a:cubicBezTo>
                    <a:close/>
                  </a:path>
                </a:pathLst>
              </a:custGeom>
              <a:solidFill>
                <a:schemeClr val="accent1"/>
              </a:solidFill>
              <a:ln w="255" cap="flat">
                <a:noFill/>
                <a:prstDash val="solid"/>
                <a:miter/>
              </a:ln>
            </p:spPr>
            <p:txBody>
              <a:bodyPr rtlCol="0" anchor="ctr"/>
              <a:lstStyle/>
              <a:p>
                <a:endParaRPr lang="en-GB" dirty="0"/>
              </a:p>
            </p:txBody>
          </p:sp>
        </p:grpSp>
      </p:grpSp>
      <p:grpSp>
        <p:nvGrpSpPr>
          <p:cNvPr id="311" name="Group 310">
            <a:extLst>
              <a:ext uri="{FF2B5EF4-FFF2-40B4-BE49-F238E27FC236}">
                <a16:creationId xmlns:a16="http://schemas.microsoft.com/office/drawing/2014/main" id="{C9A88694-4CFD-41FF-8E5E-D8D4247D2D4D}"/>
              </a:ext>
            </a:extLst>
          </p:cNvPr>
          <p:cNvGrpSpPr>
            <a:grpSpLocks noChangeAspect="1"/>
          </p:cNvGrpSpPr>
          <p:nvPr/>
        </p:nvGrpSpPr>
        <p:grpSpPr>
          <a:xfrm>
            <a:off x="3756412" y="4026098"/>
            <a:ext cx="401880" cy="385026"/>
            <a:chOff x="6129049" y="2503728"/>
            <a:chExt cx="478208" cy="458154"/>
          </a:xfrm>
        </p:grpSpPr>
        <p:grpSp>
          <p:nvGrpSpPr>
            <p:cNvPr id="312" name="Grafik 39">
              <a:extLst>
                <a:ext uri="{FF2B5EF4-FFF2-40B4-BE49-F238E27FC236}">
                  <a16:creationId xmlns:a16="http://schemas.microsoft.com/office/drawing/2014/main" id="{1982F371-D074-4212-9FE7-6B55555D93FB}"/>
                </a:ext>
              </a:extLst>
            </p:cNvPr>
            <p:cNvGrpSpPr/>
            <p:nvPr/>
          </p:nvGrpSpPr>
          <p:grpSpPr>
            <a:xfrm>
              <a:off x="6336356" y="2818065"/>
              <a:ext cx="103666" cy="103667"/>
              <a:chOff x="6336356" y="2818065"/>
              <a:chExt cx="103667" cy="103667"/>
            </a:xfrm>
            <a:solidFill>
              <a:schemeClr val="accent1"/>
            </a:solidFill>
          </p:grpSpPr>
          <p:sp>
            <p:nvSpPr>
              <p:cNvPr id="322" name="Freihandform: Form 962">
                <a:extLst>
                  <a:ext uri="{FF2B5EF4-FFF2-40B4-BE49-F238E27FC236}">
                    <a16:creationId xmlns:a16="http://schemas.microsoft.com/office/drawing/2014/main" id="{56CCEE70-D43D-4BAD-A408-ED292C7008F7}"/>
                  </a:ext>
                </a:extLst>
              </p:cNvPr>
              <p:cNvSpPr/>
              <p:nvPr/>
            </p:nvSpPr>
            <p:spPr>
              <a:xfrm>
                <a:off x="6336356" y="2818065"/>
                <a:ext cx="103667" cy="103667"/>
              </a:xfrm>
              <a:custGeom>
                <a:avLst/>
                <a:gdLst>
                  <a:gd name="connsiteX0" fmla="*/ 51834 w 103667"/>
                  <a:gd name="connsiteY0" fmla="*/ 103667 h 103667"/>
                  <a:gd name="connsiteX1" fmla="*/ 0 w 103667"/>
                  <a:gd name="connsiteY1" fmla="*/ 51834 h 103667"/>
                  <a:gd name="connsiteX2" fmla="*/ 51834 w 103667"/>
                  <a:gd name="connsiteY2" fmla="*/ 0 h 103667"/>
                  <a:gd name="connsiteX3" fmla="*/ 103667 w 103667"/>
                  <a:gd name="connsiteY3" fmla="*/ 51834 h 103667"/>
                  <a:gd name="connsiteX4" fmla="*/ 51834 w 103667"/>
                  <a:gd name="connsiteY4" fmla="*/ 103667 h 103667"/>
                  <a:gd name="connsiteX5" fmla="*/ 51834 w 103667"/>
                  <a:gd name="connsiteY5" fmla="*/ 10030 h 103667"/>
                  <a:gd name="connsiteX6" fmla="*/ 10031 w 103667"/>
                  <a:gd name="connsiteY6" fmla="*/ 51834 h 103667"/>
                  <a:gd name="connsiteX7" fmla="*/ 51834 w 103667"/>
                  <a:gd name="connsiteY7" fmla="*/ 93637 h 103667"/>
                  <a:gd name="connsiteX8" fmla="*/ 93637 w 103667"/>
                  <a:gd name="connsiteY8" fmla="*/ 51834 h 103667"/>
                  <a:gd name="connsiteX9" fmla="*/ 51834 w 103667"/>
                  <a:gd name="connsiteY9" fmla="*/ 10030 h 10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667" h="103667">
                    <a:moveTo>
                      <a:pt x="51834" y="103667"/>
                    </a:moveTo>
                    <a:cubicBezTo>
                      <a:pt x="23255" y="103667"/>
                      <a:pt x="0" y="80412"/>
                      <a:pt x="0" y="51834"/>
                    </a:cubicBezTo>
                    <a:cubicBezTo>
                      <a:pt x="0" y="23255"/>
                      <a:pt x="23255" y="0"/>
                      <a:pt x="51834" y="0"/>
                    </a:cubicBezTo>
                    <a:cubicBezTo>
                      <a:pt x="80412" y="0"/>
                      <a:pt x="103667" y="23255"/>
                      <a:pt x="103667" y="51834"/>
                    </a:cubicBezTo>
                    <a:cubicBezTo>
                      <a:pt x="103667" y="80412"/>
                      <a:pt x="80440" y="103667"/>
                      <a:pt x="51834" y="103667"/>
                    </a:cubicBezTo>
                    <a:close/>
                    <a:moveTo>
                      <a:pt x="51834" y="10030"/>
                    </a:moveTo>
                    <a:cubicBezTo>
                      <a:pt x="28775" y="10030"/>
                      <a:pt x="10031" y="28775"/>
                      <a:pt x="10031" y="51834"/>
                    </a:cubicBezTo>
                    <a:cubicBezTo>
                      <a:pt x="10031" y="74893"/>
                      <a:pt x="28775" y="93637"/>
                      <a:pt x="51834" y="93637"/>
                    </a:cubicBezTo>
                    <a:cubicBezTo>
                      <a:pt x="74893" y="93637"/>
                      <a:pt x="93637" y="74893"/>
                      <a:pt x="93637" y="51834"/>
                    </a:cubicBezTo>
                    <a:cubicBezTo>
                      <a:pt x="93637" y="28803"/>
                      <a:pt x="74893" y="10030"/>
                      <a:pt x="51834" y="10030"/>
                    </a:cubicBezTo>
                    <a:close/>
                  </a:path>
                </a:pathLst>
              </a:custGeom>
              <a:solidFill>
                <a:schemeClr val="accent1"/>
              </a:solidFill>
              <a:ln w="2793" cap="flat">
                <a:noFill/>
                <a:prstDash val="solid"/>
                <a:miter/>
              </a:ln>
            </p:spPr>
            <p:txBody>
              <a:bodyPr rtlCol="0" anchor="ctr"/>
              <a:lstStyle/>
              <a:p>
                <a:endParaRPr lang="en-GB" dirty="0"/>
              </a:p>
            </p:txBody>
          </p:sp>
          <p:sp>
            <p:nvSpPr>
              <p:cNvPr id="323" name="Freihandform: Form 963">
                <a:extLst>
                  <a:ext uri="{FF2B5EF4-FFF2-40B4-BE49-F238E27FC236}">
                    <a16:creationId xmlns:a16="http://schemas.microsoft.com/office/drawing/2014/main" id="{DA125717-E22C-4353-A8B5-7D272A2CFE57}"/>
                  </a:ext>
                </a:extLst>
              </p:cNvPr>
              <p:cNvSpPr/>
              <p:nvPr/>
            </p:nvSpPr>
            <p:spPr>
              <a:xfrm>
                <a:off x="6359751" y="2841460"/>
                <a:ext cx="56877" cy="56876"/>
              </a:xfrm>
              <a:custGeom>
                <a:avLst/>
                <a:gdLst>
                  <a:gd name="connsiteX0" fmla="*/ 28438 w 56877"/>
                  <a:gd name="connsiteY0" fmla="*/ 56877 h 56876"/>
                  <a:gd name="connsiteX1" fmla="*/ 0 w 56877"/>
                  <a:gd name="connsiteY1" fmla="*/ 28438 h 56876"/>
                  <a:gd name="connsiteX2" fmla="*/ 28438 w 56877"/>
                  <a:gd name="connsiteY2" fmla="*/ 0 h 56876"/>
                  <a:gd name="connsiteX3" fmla="*/ 56877 w 56877"/>
                  <a:gd name="connsiteY3" fmla="*/ 28438 h 56876"/>
                  <a:gd name="connsiteX4" fmla="*/ 28438 w 56877"/>
                  <a:gd name="connsiteY4" fmla="*/ 56877 h 56876"/>
                  <a:gd name="connsiteX5" fmla="*/ 28438 w 56877"/>
                  <a:gd name="connsiteY5" fmla="*/ 10059 h 56876"/>
                  <a:gd name="connsiteX6" fmla="*/ 10059 w 56877"/>
                  <a:gd name="connsiteY6" fmla="*/ 28438 h 56876"/>
                  <a:gd name="connsiteX7" fmla="*/ 28438 w 56877"/>
                  <a:gd name="connsiteY7" fmla="*/ 46818 h 56876"/>
                  <a:gd name="connsiteX8" fmla="*/ 46818 w 56877"/>
                  <a:gd name="connsiteY8" fmla="*/ 28438 h 56876"/>
                  <a:gd name="connsiteX9" fmla="*/ 28438 w 56877"/>
                  <a:gd name="connsiteY9" fmla="*/ 10059 h 5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877" h="56876">
                    <a:moveTo>
                      <a:pt x="28438" y="56877"/>
                    </a:moveTo>
                    <a:cubicBezTo>
                      <a:pt x="12776" y="56877"/>
                      <a:pt x="0" y="44129"/>
                      <a:pt x="0" y="28438"/>
                    </a:cubicBezTo>
                    <a:cubicBezTo>
                      <a:pt x="0" y="12776"/>
                      <a:pt x="12748" y="0"/>
                      <a:pt x="28438" y="0"/>
                    </a:cubicBezTo>
                    <a:cubicBezTo>
                      <a:pt x="44129" y="0"/>
                      <a:pt x="56877" y="12748"/>
                      <a:pt x="56877" y="28438"/>
                    </a:cubicBezTo>
                    <a:cubicBezTo>
                      <a:pt x="56877" y="44129"/>
                      <a:pt x="44129" y="56877"/>
                      <a:pt x="28438" y="56877"/>
                    </a:cubicBezTo>
                    <a:close/>
                    <a:moveTo>
                      <a:pt x="28438" y="10059"/>
                    </a:moveTo>
                    <a:cubicBezTo>
                      <a:pt x="18296" y="10059"/>
                      <a:pt x="10059" y="18296"/>
                      <a:pt x="10059" y="28438"/>
                    </a:cubicBezTo>
                    <a:cubicBezTo>
                      <a:pt x="10059" y="38581"/>
                      <a:pt x="18296" y="46818"/>
                      <a:pt x="28438" y="46818"/>
                    </a:cubicBezTo>
                    <a:cubicBezTo>
                      <a:pt x="38581" y="46818"/>
                      <a:pt x="46818" y="38581"/>
                      <a:pt x="46818" y="28438"/>
                    </a:cubicBezTo>
                    <a:cubicBezTo>
                      <a:pt x="46818" y="18296"/>
                      <a:pt x="38609" y="10059"/>
                      <a:pt x="28438" y="10059"/>
                    </a:cubicBezTo>
                    <a:close/>
                  </a:path>
                </a:pathLst>
              </a:custGeom>
              <a:solidFill>
                <a:schemeClr val="accent1"/>
              </a:solidFill>
              <a:ln w="2793" cap="flat">
                <a:noFill/>
                <a:prstDash val="solid"/>
                <a:miter/>
              </a:ln>
            </p:spPr>
            <p:txBody>
              <a:bodyPr rtlCol="0" anchor="ctr"/>
              <a:lstStyle/>
              <a:p>
                <a:endParaRPr lang="en-GB" dirty="0"/>
              </a:p>
            </p:txBody>
          </p:sp>
        </p:grpSp>
        <p:grpSp>
          <p:nvGrpSpPr>
            <p:cNvPr id="313" name="Group 312">
              <a:extLst>
                <a:ext uri="{FF2B5EF4-FFF2-40B4-BE49-F238E27FC236}">
                  <a16:creationId xmlns:a16="http://schemas.microsoft.com/office/drawing/2014/main" id="{9C9D4F96-88B3-4BBD-B258-1D1F7CDA1B43}"/>
                </a:ext>
              </a:extLst>
            </p:cNvPr>
            <p:cNvGrpSpPr/>
            <p:nvPr/>
          </p:nvGrpSpPr>
          <p:grpSpPr>
            <a:xfrm>
              <a:off x="6129049" y="2503728"/>
              <a:ext cx="478208" cy="458154"/>
              <a:chOff x="6129049" y="2503728"/>
              <a:chExt cx="478208" cy="458154"/>
            </a:xfrm>
          </p:grpSpPr>
          <p:sp>
            <p:nvSpPr>
              <p:cNvPr id="314" name="Freihandform: Form 957">
                <a:extLst>
                  <a:ext uri="{FF2B5EF4-FFF2-40B4-BE49-F238E27FC236}">
                    <a16:creationId xmlns:a16="http://schemas.microsoft.com/office/drawing/2014/main" id="{CBEE13F1-70E3-4681-AE06-A7FCB4B16FBB}"/>
                  </a:ext>
                </a:extLst>
              </p:cNvPr>
              <p:cNvSpPr/>
              <p:nvPr/>
            </p:nvSpPr>
            <p:spPr>
              <a:xfrm>
                <a:off x="6129049" y="2503728"/>
                <a:ext cx="371185" cy="458154"/>
              </a:xfrm>
              <a:custGeom>
                <a:avLst/>
                <a:gdLst>
                  <a:gd name="connsiteX0" fmla="*/ 366170 w 371185"/>
                  <a:gd name="connsiteY0" fmla="*/ 458154 h 458154"/>
                  <a:gd name="connsiteX1" fmla="*/ 5015 w 371185"/>
                  <a:gd name="connsiteY1" fmla="*/ 458154 h 458154"/>
                  <a:gd name="connsiteX2" fmla="*/ 0 w 371185"/>
                  <a:gd name="connsiteY2" fmla="*/ 453139 h 458154"/>
                  <a:gd name="connsiteX3" fmla="*/ 0 w 371185"/>
                  <a:gd name="connsiteY3" fmla="*/ 5015 h 458154"/>
                  <a:gd name="connsiteX4" fmla="*/ 5015 w 371185"/>
                  <a:gd name="connsiteY4" fmla="*/ 0 h 458154"/>
                  <a:gd name="connsiteX5" fmla="*/ 366170 w 371185"/>
                  <a:gd name="connsiteY5" fmla="*/ 0 h 458154"/>
                  <a:gd name="connsiteX6" fmla="*/ 371186 w 371185"/>
                  <a:gd name="connsiteY6" fmla="*/ 5015 h 458154"/>
                  <a:gd name="connsiteX7" fmla="*/ 371186 w 371185"/>
                  <a:gd name="connsiteY7" fmla="*/ 453139 h 458154"/>
                  <a:gd name="connsiteX8" fmla="*/ 366170 w 371185"/>
                  <a:gd name="connsiteY8" fmla="*/ 458154 h 458154"/>
                  <a:gd name="connsiteX9" fmla="*/ 10003 w 371185"/>
                  <a:gd name="connsiteY9" fmla="*/ 448124 h 458154"/>
                  <a:gd name="connsiteX10" fmla="*/ 361127 w 371185"/>
                  <a:gd name="connsiteY10" fmla="*/ 448124 h 458154"/>
                  <a:gd name="connsiteX11" fmla="*/ 361127 w 371185"/>
                  <a:gd name="connsiteY11" fmla="*/ 10030 h 458154"/>
                  <a:gd name="connsiteX12" fmla="*/ 10003 w 371185"/>
                  <a:gd name="connsiteY12" fmla="*/ 10030 h 458154"/>
                  <a:gd name="connsiteX13" fmla="*/ 10003 w 371185"/>
                  <a:gd name="connsiteY13" fmla="*/ 448124 h 45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185" h="458154">
                    <a:moveTo>
                      <a:pt x="366170" y="458154"/>
                    </a:moveTo>
                    <a:lnTo>
                      <a:pt x="5015" y="458154"/>
                    </a:lnTo>
                    <a:cubicBezTo>
                      <a:pt x="2241" y="458154"/>
                      <a:pt x="0" y="455913"/>
                      <a:pt x="0" y="453139"/>
                    </a:cubicBezTo>
                    <a:lnTo>
                      <a:pt x="0" y="5015"/>
                    </a:lnTo>
                    <a:cubicBezTo>
                      <a:pt x="0" y="2241"/>
                      <a:pt x="2241" y="0"/>
                      <a:pt x="5015" y="0"/>
                    </a:cubicBezTo>
                    <a:lnTo>
                      <a:pt x="366170" y="0"/>
                    </a:lnTo>
                    <a:cubicBezTo>
                      <a:pt x="368944" y="0"/>
                      <a:pt x="371186" y="2241"/>
                      <a:pt x="371186" y="5015"/>
                    </a:cubicBezTo>
                    <a:lnTo>
                      <a:pt x="371186" y="453139"/>
                    </a:lnTo>
                    <a:cubicBezTo>
                      <a:pt x="371186" y="455885"/>
                      <a:pt x="368944" y="458154"/>
                      <a:pt x="366170" y="458154"/>
                    </a:cubicBezTo>
                    <a:close/>
                    <a:moveTo>
                      <a:pt x="10003" y="448124"/>
                    </a:moveTo>
                    <a:lnTo>
                      <a:pt x="361127" y="448124"/>
                    </a:lnTo>
                    <a:lnTo>
                      <a:pt x="361127" y="10030"/>
                    </a:lnTo>
                    <a:lnTo>
                      <a:pt x="10003" y="10030"/>
                    </a:lnTo>
                    <a:lnTo>
                      <a:pt x="10003" y="448124"/>
                    </a:lnTo>
                    <a:close/>
                  </a:path>
                </a:pathLst>
              </a:custGeom>
              <a:solidFill>
                <a:schemeClr val="tx2"/>
              </a:solidFill>
              <a:ln w="2793" cap="flat">
                <a:noFill/>
                <a:prstDash val="solid"/>
                <a:miter/>
              </a:ln>
            </p:spPr>
            <p:txBody>
              <a:bodyPr rtlCol="0" anchor="ctr"/>
              <a:lstStyle/>
              <a:p>
                <a:endParaRPr lang="en-GB" dirty="0"/>
              </a:p>
            </p:txBody>
          </p:sp>
          <p:sp>
            <p:nvSpPr>
              <p:cNvPr id="315" name="Freihandform: Form 958">
                <a:extLst>
                  <a:ext uri="{FF2B5EF4-FFF2-40B4-BE49-F238E27FC236}">
                    <a16:creationId xmlns:a16="http://schemas.microsoft.com/office/drawing/2014/main" id="{440F3CF1-4BA5-4043-8E7F-8F2EEC3275DF}"/>
                  </a:ext>
                </a:extLst>
              </p:cNvPr>
              <p:cNvSpPr/>
              <p:nvPr/>
            </p:nvSpPr>
            <p:spPr>
              <a:xfrm>
                <a:off x="6236023" y="2604062"/>
                <a:ext cx="157182" cy="10030"/>
              </a:xfrm>
              <a:custGeom>
                <a:avLst/>
                <a:gdLst>
                  <a:gd name="connsiteX0" fmla="*/ 152167 w 157182"/>
                  <a:gd name="connsiteY0" fmla="*/ 10031 h 10030"/>
                  <a:gd name="connsiteX1" fmla="*/ 5015 w 157182"/>
                  <a:gd name="connsiteY1" fmla="*/ 10031 h 10030"/>
                  <a:gd name="connsiteX2" fmla="*/ 0 w 157182"/>
                  <a:gd name="connsiteY2" fmla="*/ 5015 h 10030"/>
                  <a:gd name="connsiteX3" fmla="*/ 5015 w 157182"/>
                  <a:gd name="connsiteY3" fmla="*/ 0 h 10030"/>
                  <a:gd name="connsiteX4" fmla="*/ 152167 w 157182"/>
                  <a:gd name="connsiteY4" fmla="*/ 0 h 10030"/>
                  <a:gd name="connsiteX5" fmla="*/ 157182 w 157182"/>
                  <a:gd name="connsiteY5" fmla="*/ 5015 h 10030"/>
                  <a:gd name="connsiteX6" fmla="*/ 152167 w 157182"/>
                  <a:gd name="connsiteY6" fmla="*/ 10031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182" h="10030">
                    <a:moveTo>
                      <a:pt x="152167" y="10031"/>
                    </a:moveTo>
                    <a:lnTo>
                      <a:pt x="5015" y="10031"/>
                    </a:lnTo>
                    <a:cubicBezTo>
                      <a:pt x="2242" y="10031"/>
                      <a:pt x="0" y="7789"/>
                      <a:pt x="0" y="5015"/>
                    </a:cubicBezTo>
                    <a:cubicBezTo>
                      <a:pt x="0" y="2241"/>
                      <a:pt x="2242" y="0"/>
                      <a:pt x="5015" y="0"/>
                    </a:cubicBezTo>
                    <a:lnTo>
                      <a:pt x="152167" y="0"/>
                    </a:lnTo>
                    <a:cubicBezTo>
                      <a:pt x="154941" y="0"/>
                      <a:pt x="157182" y="2241"/>
                      <a:pt x="157182" y="5015"/>
                    </a:cubicBezTo>
                    <a:cubicBezTo>
                      <a:pt x="157210" y="7761"/>
                      <a:pt x="154941" y="10031"/>
                      <a:pt x="152167" y="10031"/>
                    </a:cubicBezTo>
                    <a:close/>
                  </a:path>
                </a:pathLst>
              </a:custGeom>
              <a:solidFill>
                <a:schemeClr val="tx2"/>
              </a:solidFill>
              <a:ln w="2793" cap="flat">
                <a:noFill/>
                <a:prstDash val="solid"/>
                <a:miter/>
              </a:ln>
            </p:spPr>
            <p:txBody>
              <a:bodyPr rtlCol="0" anchor="ctr"/>
              <a:lstStyle/>
              <a:p>
                <a:endParaRPr lang="en-GB" dirty="0"/>
              </a:p>
            </p:txBody>
          </p:sp>
          <p:sp>
            <p:nvSpPr>
              <p:cNvPr id="316" name="Freihandform: Form 959">
                <a:extLst>
                  <a:ext uri="{FF2B5EF4-FFF2-40B4-BE49-F238E27FC236}">
                    <a16:creationId xmlns:a16="http://schemas.microsoft.com/office/drawing/2014/main" id="{8637C7C7-1E3E-4A46-AA10-1E47E25DA892}"/>
                  </a:ext>
                </a:extLst>
              </p:cNvPr>
              <p:cNvSpPr/>
              <p:nvPr/>
            </p:nvSpPr>
            <p:spPr>
              <a:xfrm>
                <a:off x="6189204" y="2691002"/>
                <a:ext cx="250819" cy="10030"/>
              </a:xfrm>
              <a:custGeom>
                <a:avLst/>
                <a:gdLst>
                  <a:gd name="connsiteX0" fmla="*/ 245804 w 250819"/>
                  <a:gd name="connsiteY0" fmla="*/ 10031 h 10030"/>
                  <a:gd name="connsiteX1" fmla="*/ 5015 w 250819"/>
                  <a:gd name="connsiteY1" fmla="*/ 10031 h 10030"/>
                  <a:gd name="connsiteX2" fmla="*/ 0 w 250819"/>
                  <a:gd name="connsiteY2" fmla="*/ 5015 h 10030"/>
                  <a:gd name="connsiteX3" fmla="*/ 5015 w 250819"/>
                  <a:gd name="connsiteY3" fmla="*/ 0 h 10030"/>
                  <a:gd name="connsiteX4" fmla="*/ 245804 w 250819"/>
                  <a:gd name="connsiteY4" fmla="*/ 0 h 10030"/>
                  <a:gd name="connsiteX5" fmla="*/ 250819 w 250819"/>
                  <a:gd name="connsiteY5" fmla="*/ 5015 h 10030"/>
                  <a:gd name="connsiteX6" fmla="*/ 245804 w 250819"/>
                  <a:gd name="connsiteY6" fmla="*/ 10031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819" h="10030">
                    <a:moveTo>
                      <a:pt x="245804" y="10031"/>
                    </a:moveTo>
                    <a:lnTo>
                      <a:pt x="5015" y="10031"/>
                    </a:lnTo>
                    <a:cubicBezTo>
                      <a:pt x="2241" y="10031"/>
                      <a:pt x="0" y="7789"/>
                      <a:pt x="0" y="5015"/>
                    </a:cubicBezTo>
                    <a:cubicBezTo>
                      <a:pt x="0" y="2242"/>
                      <a:pt x="2241" y="0"/>
                      <a:pt x="5015" y="0"/>
                    </a:cubicBezTo>
                    <a:lnTo>
                      <a:pt x="245804" y="0"/>
                    </a:lnTo>
                    <a:cubicBezTo>
                      <a:pt x="248578" y="0"/>
                      <a:pt x="250819" y="2242"/>
                      <a:pt x="250819" y="5015"/>
                    </a:cubicBezTo>
                    <a:cubicBezTo>
                      <a:pt x="250819" y="7789"/>
                      <a:pt x="248578" y="10031"/>
                      <a:pt x="245804" y="10031"/>
                    </a:cubicBezTo>
                    <a:close/>
                  </a:path>
                </a:pathLst>
              </a:custGeom>
              <a:solidFill>
                <a:schemeClr val="tx2"/>
              </a:solidFill>
              <a:ln w="2793" cap="flat">
                <a:noFill/>
                <a:prstDash val="solid"/>
                <a:miter/>
              </a:ln>
            </p:spPr>
            <p:txBody>
              <a:bodyPr rtlCol="0" anchor="ctr"/>
              <a:lstStyle/>
              <a:p>
                <a:endParaRPr lang="en-GB" dirty="0"/>
              </a:p>
            </p:txBody>
          </p:sp>
          <p:sp>
            <p:nvSpPr>
              <p:cNvPr id="317" name="Freihandform: Form 960">
                <a:extLst>
                  <a:ext uri="{FF2B5EF4-FFF2-40B4-BE49-F238E27FC236}">
                    <a16:creationId xmlns:a16="http://schemas.microsoft.com/office/drawing/2014/main" id="{35F2CD03-C3CA-4D74-98D2-F1ABC64BD7E3}"/>
                  </a:ext>
                </a:extLst>
              </p:cNvPr>
              <p:cNvSpPr/>
              <p:nvPr/>
            </p:nvSpPr>
            <p:spPr>
              <a:xfrm>
                <a:off x="6189204" y="2751186"/>
                <a:ext cx="250819" cy="10030"/>
              </a:xfrm>
              <a:custGeom>
                <a:avLst/>
                <a:gdLst>
                  <a:gd name="connsiteX0" fmla="*/ 245804 w 250819"/>
                  <a:gd name="connsiteY0" fmla="*/ 10030 h 10030"/>
                  <a:gd name="connsiteX1" fmla="*/ 5015 w 250819"/>
                  <a:gd name="connsiteY1" fmla="*/ 10030 h 10030"/>
                  <a:gd name="connsiteX2" fmla="*/ 0 w 250819"/>
                  <a:gd name="connsiteY2" fmla="*/ 5015 h 10030"/>
                  <a:gd name="connsiteX3" fmla="*/ 5015 w 250819"/>
                  <a:gd name="connsiteY3" fmla="*/ 0 h 10030"/>
                  <a:gd name="connsiteX4" fmla="*/ 245804 w 250819"/>
                  <a:gd name="connsiteY4" fmla="*/ 0 h 10030"/>
                  <a:gd name="connsiteX5" fmla="*/ 250819 w 250819"/>
                  <a:gd name="connsiteY5" fmla="*/ 5015 h 10030"/>
                  <a:gd name="connsiteX6" fmla="*/ 245804 w 250819"/>
                  <a:gd name="connsiteY6" fmla="*/ 10030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819" h="10030">
                    <a:moveTo>
                      <a:pt x="245804" y="10030"/>
                    </a:moveTo>
                    <a:lnTo>
                      <a:pt x="5015" y="10030"/>
                    </a:lnTo>
                    <a:cubicBezTo>
                      <a:pt x="2241" y="10030"/>
                      <a:pt x="0" y="7789"/>
                      <a:pt x="0" y="5015"/>
                    </a:cubicBezTo>
                    <a:cubicBezTo>
                      <a:pt x="0" y="2241"/>
                      <a:pt x="2241" y="0"/>
                      <a:pt x="5015" y="0"/>
                    </a:cubicBezTo>
                    <a:lnTo>
                      <a:pt x="245804" y="0"/>
                    </a:lnTo>
                    <a:cubicBezTo>
                      <a:pt x="248578" y="0"/>
                      <a:pt x="250819" y="2241"/>
                      <a:pt x="250819" y="5015"/>
                    </a:cubicBezTo>
                    <a:cubicBezTo>
                      <a:pt x="250819" y="7789"/>
                      <a:pt x="248578" y="10030"/>
                      <a:pt x="245804" y="10030"/>
                    </a:cubicBezTo>
                    <a:close/>
                  </a:path>
                </a:pathLst>
              </a:custGeom>
              <a:solidFill>
                <a:schemeClr val="tx2"/>
              </a:solidFill>
              <a:ln w="2793" cap="flat">
                <a:noFill/>
                <a:prstDash val="solid"/>
                <a:miter/>
              </a:ln>
            </p:spPr>
            <p:txBody>
              <a:bodyPr rtlCol="0" anchor="ctr"/>
              <a:lstStyle/>
              <a:p>
                <a:endParaRPr lang="en-GB" dirty="0"/>
              </a:p>
            </p:txBody>
          </p:sp>
          <p:sp>
            <p:nvSpPr>
              <p:cNvPr id="318" name="Freihandform: Form 964">
                <a:extLst>
                  <a:ext uri="{FF2B5EF4-FFF2-40B4-BE49-F238E27FC236}">
                    <a16:creationId xmlns:a16="http://schemas.microsoft.com/office/drawing/2014/main" id="{BCB9B089-DA76-4A9A-A77B-692F194385C9}"/>
                  </a:ext>
                </a:extLst>
              </p:cNvPr>
              <p:cNvSpPr/>
              <p:nvPr/>
            </p:nvSpPr>
            <p:spPr>
              <a:xfrm>
                <a:off x="6189232" y="2864884"/>
                <a:ext cx="96971" cy="10030"/>
              </a:xfrm>
              <a:custGeom>
                <a:avLst/>
                <a:gdLst>
                  <a:gd name="connsiteX0" fmla="*/ 91956 w 96971"/>
                  <a:gd name="connsiteY0" fmla="*/ 10031 h 10030"/>
                  <a:gd name="connsiteX1" fmla="*/ 5015 w 96971"/>
                  <a:gd name="connsiteY1" fmla="*/ 10031 h 10030"/>
                  <a:gd name="connsiteX2" fmla="*/ 0 w 96971"/>
                  <a:gd name="connsiteY2" fmla="*/ 5015 h 10030"/>
                  <a:gd name="connsiteX3" fmla="*/ 5015 w 96971"/>
                  <a:gd name="connsiteY3" fmla="*/ 0 h 10030"/>
                  <a:gd name="connsiteX4" fmla="*/ 91956 w 96971"/>
                  <a:gd name="connsiteY4" fmla="*/ 0 h 10030"/>
                  <a:gd name="connsiteX5" fmla="*/ 96971 w 96971"/>
                  <a:gd name="connsiteY5" fmla="*/ 5015 h 10030"/>
                  <a:gd name="connsiteX6" fmla="*/ 91956 w 96971"/>
                  <a:gd name="connsiteY6" fmla="*/ 10031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971" h="10030">
                    <a:moveTo>
                      <a:pt x="91956" y="10031"/>
                    </a:moveTo>
                    <a:lnTo>
                      <a:pt x="5015" y="10031"/>
                    </a:lnTo>
                    <a:cubicBezTo>
                      <a:pt x="2241" y="10031"/>
                      <a:pt x="0" y="7789"/>
                      <a:pt x="0" y="5015"/>
                    </a:cubicBezTo>
                    <a:cubicBezTo>
                      <a:pt x="0" y="2242"/>
                      <a:pt x="2241" y="0"/>
                      <a:pt x="5015" y="0"/>
                    </a:cubicBezTo>
                    <a:lnTo>
                      <a:pt x="91956" y="0"/>
                    </a:lnTo>
                    <a:cubicBezTo>
                      <a:pt x="94730" y="0"/>
                      <a:pt x="96971" y="2242"/>
                      <a:pt x="96971" y="5015"/>
                    </a:cubicBezTo>
                    <a:cubicBezTo>
                      <a:pt x="96971" y="7789"/>
                      <a:pt x="94730" y="10031"/>
                      <a:pt x="91956" y="10031"/>
                    </a:cubicBezTo>
                    <a:close/>
                  </a:path>
                </a:pathLst>
              </a:custGeom>
              <a:solidFill>
                <a:schemeClr val="tx2"/>
              </a:solidFill>
              <a:ln w="2793" cap="flat">
                <a:noFill/>
                <a:prstDash val="solid"/>
                <a:miter/>
              </a:ln>
            </p:spPr>
            <p:txBody>
              <a:bodyPr rtlCol="0" anchor="ctr"/>
              <a:lstStyle/>
              <a:p>
                <a:endParaRPr lang="en-GB" dirty="0"/>
              </a:p>
            </p:txBody>
          </p:sp>
          <p:sp>
            <p:nvSpPr>
              <p:cNvPr id="319" name="Freihandform: Form 966">
                <a:extLst>
                  <a:ext uri="{FF2B5EF4-FFF2-40B4-BE49-F238E27FC236}">
                    <a16:creationId xmlns:a16="http://schemas.microsoft.com/office/drawing/2014/main" id="{68925651-D207-4CFB-9725-C9FC09C4982B}"/>
                  </a:ext>
                </a:extLst>
              </p:cNvPr>
              <p:cNvSpPr/>
              <p:nvPr/>
            </p:nvSpPr>
            <p:spPr>
              <a:xfrm>
                <a:off x="6557084" y="2583973"/>
                <a:ext cx="50152" cy="311030"/>
              </a:xfrm>
              <a:custGeom>
                <a:avLst/>
                <a:gdLst>
                  <a:gd name="connsiteX0" fmla="*/ 45137 w 50152"/>
                  <a:gd name="connsiteY0" fmla="*/ 311030 h 311030"/>
                  <a:gd name="connsiteX1" fmla="*/ 5015 w 50152"/>
                  <a:gd name="connsiteY1" fmla="*/ 311030 h 311030"/>
                  <a:gd name="connsiteX2" fmla="*/ 0 w 50152"/>
                  <a:gd name="connsiteY2" fmla="*/ 306015 h 311030"/>
                  <a:gd name="connsiteX3" fmla="*/ 0 w 50152"/>
                  <a:gd name="connsiteY3" fmla="*/ 5015 h 311030"/>
                  <a:gd name="connsiteX4" fmla="*/ 5015 w 50152"/>
                  <a:gd name="connsiteY4" fmla="*/ 0 h 311030"/>
                  <a:gd name="connsiteX5" fmla="*/ 45137 w 50152"/>
                  <a:gd name="connsiteY5" fmla="*/ 0 h 311030"/>
                  <a:gd name="connsiteX6" fmla="*/ 50153 w 50152"/>
                  <a:gd name="connsiteY6" fmla="*/ 5015 h 311030"/>
                  <a:gd name="connsiteX7" fmla="*/ 50153 w 50152"/>
                  <a:gd name="connsiteY7" fmla="*/ 305987 h 311030"/>
                  <a:gd name="connsiteX8" fmla="*/ 45137 w 50152"/>
                  <a:gd name="connsiteY8" fmla="*/ 311030 h 311030"/>
                  <a:gd name="connsiteX9" fmla="*/ 10031 w 50152"/>
                  <a:gd name="connsiteY9" fmla="*/ 300972 h 311030"/>
                  <a:gd name="connsiteX10" fmla="*/ 40122 w 50152"/>
                  <a:gd name="connsiteY10" fmla="*/ 300972 h 311030"/>
                  <a:gd name="connsiteX11" fmla="*/ 40122 w 50152"/>
                  <a:gd name="connsiteY11" fmla="*/ 10030 h 311030"/>
                  <a:gd name="connsiteX12" fmla="*/ 10031 w 50152"/>
                  <a:gd name="connsiteY12" fmla="*/ 10030 h 311030"/>
                  <a:gd name="connsiteX13" fmla="*/ 10031 w 50152"/>
                  <a:gd name="connsiteY13" fmla="*/ 300972 h 31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152" h="311030">
                    <a:moveTo>
                      <a:pt x="45137" y="311030"/>
                    </a:moveTo>
                    <a:lnTo>
                      <a:pt x="5015" y="311030"/>
                    </a:lnTo>
                    <a:cubicBezTo>
                      <a:pt x="2242" y="311030"/>
                      <a:pt x="0" y="308789"/>
                      <a:pt x="0" y="306015"/>
                    </a:cubicBezTo>
                    <a:lnTo>
                      <a:pt x="0" y="5015"/>
                    </a:lnTo>
                    <a:cubicBezTo>
                      <a:pt x="0" y="2241"/>
                      <a:pt x="2242" y="0"/>
                      <a:pt x="5015" y="0"/>
                    </a:cubicBezTo>
                    <a:lnTo>
                      <a:pt x="45137" y="0"/>
                    </a:lnTo>
                    <a:cubicBezTo>
                      <a:pt x="47911" y="0"/>
                      <a:pt x="50153" y="2241"/>
                      <a:pt x="50153" y="5015"/>
                    </a:cubicBezTo>
                    <a:lnTo>
                      <a:pt x="50153" y="305987"/>
                    </a:lnTo>
                    <a:cubicBezTo>
                      <a:pt x="50153" y="308761"/>
                      <a:pt x="47911" y="311030"/>
                      <a:pt x="45137" y="311030"/>
                    </a:cubicBezTo>
                    <a:close/>
                    <a:moveTo>
                      <a:pt x="10031" y="300972"/>
                    </a:moveTo>
                    <a:lnTo>
                      <a:pt x="40122" y="300972"/>
                    </a:lnTo>
                    <a:lnTo>
                      <a:pt x="40122" y="10030"/>
                    </a:lnTo>
                    <a:lnTo>
                      <a:pt x="10031" y="10030"/>
                    </a:lnTo>
                    <a:lnTo>
                      <a:pt x="10031" y="300972"/>
                    </a:lnTo>
                    <a:close/>
                  </a:path>
                </a:pathLst>
              </a:custGeom>
              <a:solidFill>
                <a:schemeClr val="tx2"/>
              </a:solidFill>
              <a:ln w="2793" cap="flat">
                <a:noFill/>
                <a:prstDash val="solid"/>
                <a:miter/>
              </a:ln>
            </p:spPr>
            <p:txBody>
              <a:bodyPr rtlCol="0" anchor="ctr"/>
              <a:lstStyle/>
              <a:p>
                <a:endParaRPr lang="en-GB" dirty="0"/>
              </a:p>
            </p:txBody>
          </p:sp>
          <p:sp>
            <p:nvSpPr>
              <p:cNvPr id="320" name="Freihandform: Form 967">
                <a:extLst>
                  <a:ext uri="{FF2B5EF4-FFF2-40B4-BE49-F238E27FC236}">
                    <a16:creationId xmlns:a16="http://schemas.microsoft.com/office/drawing/2014/main" id="{8A53AC00-9F88-43DB-9DBF-0A2FF3067EE6}"/>
                  </a:ext>
                </a:extLst>
              </p:cNvPr>
              <p:cNvSpPr/>
              <p:nvPr/>
            </p:nvSpPr>
            <p:spPr>
              <a:xfrm>
                <a:off x="6563780" y="2563912"/>
                <a:ext cx="36787" cy="30091"/>
              </a:xfrm>
              <a:custGeom>
                <a:avLst/>
                <a:gdLst>
                  <a:gd name="connsiteX0" fmla="*/ 31773 w 36787"/>
                  <a:gd name="connsiteY0" fmla="*/ 30092 h 30091"/>
                  <a:gd name="connsiteX1" fmla="*/ 5015 w 36787"/>
                  <a:gd name="connsiteY1" fmla="*/ 30092 h 30091"/>
                  <a:gd name="connsiteX2" fmla="*/ 0 w 36787"/>
                  <a:gd name="connsiteY2" fmla="*/ 25076 h 30091"/>
                  <a:gd name="connsiteX3" fmla="*/ 0 w 36787"/>
                  <a:gd name="connsiteY3" fmla="*/ 5015 h 30091"/>
                  <a:gd name="connsiteX4" fmla="*/ 5015 w 36787"/>
                  <a:gd name="connsiteY4" fmla="*/ 0 h 30091"/>
                  <a:gd name="connsiteX5" fmla="*/ 31773 w 36787"/>
                  <a:gd name="connsiteY5" fmla="*/ 0 h 30091"/>
                  <a:gd name="connsiteX6" fmla="*/ 36788 w 36787"/>
                  <a:gd name="connsiteY6" fmla="*/ 5015 h 30091"/>
                  <a:gd name="connsiteX7" fmla="*/ 36788 w 36787"/>
                  <a:gd name="connsiteY7" fmla="*/ 25076 h 30091"/>
                  <a:gd name="connsiteX8" fmla="*/ 31773 w 36787"/>
                  <a:gd name="connsiteY8" fmla="*/ 30092 h 30091"/>
                  <a:gd name="connsiteX9" fmla="*/ 10030 w 36787"/>
                  <a:gd name="connsiteY9" fmla="*/ 20061 h 30091"/>
                  <a:gd name="connsiteX10" fmla="*/ 26757 w 36787"/>
                  <a:gd name="connsiteY10" fmla="*/ 20061 h 30091"/>
                  <a:gd name="connsiteX11" fmla="*/ 26757 w 36787"/>
                  <a:gd name="connsiteY11" fmla="*/ 10030 h 30091"/>
                  <a:gd name="connsiteX12" fmla="*/ 10030 w 36787"/>
                  <a:gd name="connsiteY12" fmla="*/ 10030 h 30091"/>
                  <a:gd name="connsiteX13" fmla="*/ 10030 w 36787"/>
                  <a:gd name="connsiteY13" fmla="*/ 20061 h 3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787" h="30091">
                    <a:moveTo>
                      <a:pt x="31773" y="30092"/>
                    </a:moveTo>
                    <a:lnTo>
                      <a:pt x="5015" y="30092"/>
                    </a:lnTo>
                    <a:cubicBezTo>
                      <a:pt x="2241" y="30092"/>
                      <a:pt x="0" y="27850"/>
                      <a:pt x="0" y="25076"/>
                    </a:cubicBezTo>
                    <a:lnTo>
                      <a:pt x="0" y="5015"/>
                    </a:lnTo>
                    <a:cubicBezTo>
                      <a:pt x="0" y="2241"/>
                      <a:pt x="2241" y="0"/>
                      <a:pt x="5015" y="0"/>
                    </a:cubicBezTo>
                    <a:lnTo>
                      <a:pt x="31773" y="0"/>
                    </a:lnTo>
                    <a:cubicBezTo>
                      <a:pt x="34546" y="0"/>
                      <a:pt x="36788" y="2241"/>
                      <a:pt x="36788" y="5015"/>
                    </a:cubicBezTo>
                    <a:lnTo>
                      <a:pt x="36788" y="25076"/>
                    </a:lnTo>
                    <a:cubicBezTo>
                      <a:pt x="36788" y="27850"/>
                      <a:pt x="34518" y="30092"/>
                      <a:pt x="31773" y="30092"/>
                    </a:cubicBezTo>
                    <a:close/>
                    <a:moveTo>
                      <a:pt x="10030" y="20061"/>
                    </a:moveTo>
                    <a:lnTo>
                      <a:pt x="26757" y="20061"/>
                    </a:lnTo>
                    <a:lnTo>
                      <a:pt x="26757" y="10030"/>
                    </a:lnTo>
                    <a:lnTo>
                      <a:pt x="10030" y="10030"/>
                    </a:lnTo>
                    <a:lnTo>
                      <a:pt x="10030" y="20061"/>
                    </a:lnTo>
                    <a:close/>
                  </a:path>
                </a:pathLst>
              </a:custGeom>
              <a:solidFill>
                <a:schemeClr val="tx2"/>
              </a:solidFill>
              <a:ln w="2793" cap="flat">
                <a:noFill/>
                <a:prstDash val="solid"/>
                <a:miter/>
              </a:ln>
            </p:spPr>
            <p:txBody>
              <a:bodyPr rtlCol="0" anchor="ctr"/>
              <a:lstStyle/>
              <a:p>
                <a:endParaRPr lang="en-GB" dirty="0"/>
              </a:p>
            </p:txBody>
          </p:sp>
          <p:sp>
            <p:nvSpPr>
              <p:cNvPr id="321" name="Freihandform: Form 968">
                <a:extLst>
                  <a:ext uri="{FF2B5EF4-FFF2-40B4-BE49-F238E27FC236}">
                    <a16:creationId xmlns:a16="http://schemas.microsoft.com/office/drawing/2014/main" id="{29AD650C-0933-47FA-80D0-AD477D1D004B}"/>
                  </a:ext>
                </a:extLst>
              </p:cNvPr>
              <p:cNvSpPr/>
              <p:nvPr/>
            </p:nvSpPr>
            <p:spPr>
              <a:xfrm>
                <a:off x="6557069" y="2884923"/>
                <a:ext cx="50188" cy="43505"/>
              </a:xfrm>
              <a:custGeom>
                <a:avLst/>
                <a:gdLst>
                  <a:gd name="connsiteX0" fmla="*/ 25091 w 50188"/>
                  <a:gd name="connsiteY0" fmla="*/ 43505 h 43505"/>
                  <a:gd name="connsiteX1" fmla="*/ 20776 w 50188"/>
                  <a:gd name="connsiteY1" fmla="*/ 41068 h 43505"/>
                  <a:gd name="connsiteX2" fmla="*/ 715 w 50188"/>
                  <a:gd name="connsiteY2" fmla="*/ 7614 h 43505"/>
                  <a:gd name="connsiteX3" fmla="*/ 2424 w 50188"/>
                  <a:gd name="connsiteY3" fmla="*/ 722 h 43505"/>
                  <a:gd name="connsiteX4" fmla="*/ 9317 w 50188"/>
                  <a:gd name="connsiteY4" fmla="*/ 2431 h 43505"/>
                  <a:gd name="connsiteX5" fmla="*/ 25091 w 50188"/>
                  <a:gd name="connsiteY5" fmla="*/ 28712 h 43505"/>
                  <a:gd name="connsiteX6" fmla="*/ 40865 w 50188"/>
                  <a:gd name="connsiteY6" fmla="*/ 2431 h 43505"/>
                  <a:gd name="connsiteX7" fmla="*/ 47758 w 50188"/>
                  <a:gd name="connsiteY7" fmla="*/ 722 h 43505"/>
                  <a:gd name="connsiteX8" fmla="*/ 49467 w 50188"/>
                  <a:gd name="connsiteY8" fmla="*/ 7614 h 43505"/>
                  <a:gd name="connsiteX9" fmla="*/ 29406 w 50188"/>
                  <a:gd name="connsiteY9" fmla="*/ 41068 h 43505"/>
                  <a:gd name="connsiteX10" fmla="*/ 25091 w 50188"/>
                  <a:gd name="connsiteY10" fmla="*/ 43505 h 43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0188" h="43505">
                    <a:moveTo>
                      <a:pt x="25091" y="43505"/>
                    </a:moveTo>
                    <a:cubicBezTo>
                      <a:pt x="23326" y="43505"/>
                      <a:pt x="21701" y="42581"/>
                      <a:pt x="20776" y="41068"/>
                    </a:cubicBezTo>
                    <a:lnTo>
                      <a:pt x="715" y="7614"/>
                    </a:lnTo>
                    <a:cubicBezTo>
                      <a:pt x="-714" y="5233"/>
                      <a:pt x="71" y="2151"/>
                      <a:pt x="2424" y="722"/>
                    </a:cubicBezTo>
                    <a:cubicBezTo>
                      <a:pt x="4806" y="-707"/>
                      <a:pt x="7888" y="77"/>
                      <a:pt x="9317" y="2431"/>
                    </a:cubicBezTo>
                    <a:lnTo>
                      <a:pt x="25091" y="28712"/>
                    </a:lnTo>
                    <a:lnTo>
                      <a:pt x="40865" y="2431"/>
                    </a:lnTo>
                    <a:cubicBezTo>
                      <a:pt x="42294" y="49"/>
                      <a:pt x="45376" y="-707"/>
                      <a:pt x="47758" y="722"/>
                    </a:cubicBezTo>
                    <a:cubicBezTo>
                      <a:pt x="50139" y="2151"/>
                      <a:pt x="50896" y="5233"/>
                      <a:pt x="49467" y="7614"/>
                    </a:cubicBezTo>
                    <a:lnTo>
                      <a:pt x="29406" y="41068"/>
                    </a:lnTo>
                    <a:cubicBezTo>
                      <a:pt x="28481" y="42581"/>
                      <a:pt x="26856" y="43505"/>
                      <a:pt x="25091" y="43505"/>
                    </a:cubicBezTo>
                    <a:close/>
                  </a:path>
                </a:pathLst>
              </a:custGeom>
              <a:solidFill>
                <a:schemeClr val="tx2"/>
              </a:solidFill>
              <a:ln w="2793" cap="flat">
                <a:noFill/>
                <a:prstDash val="solid"/>
                <a:miter/>
              </a:ln>
            </p:spPr>
            <p:txBody>
              <a:bodyPr rtlCol="0" anchor="ctr"/>
              <a:lstStyle/>
              <a:p>
                <a:endParaRPr lang="en-GB" dirty="0"/>
              </a:p>
            </p:txBody>
          </p:sp>
        </p:grpSp>
      </p:grpSp>
      <p:grpSp>
        <p:nvGrpSpPr>
          <p:cNvPr id="105" name="Group 104">
            <a:extLst>
              <a:ext uri="{FF2B5EF4-FFF2-40B4-BE49-F238E27FC236}">
                <a16:creationId xmlns:a16="http://schemas.microsoft.com/office/drawing/2014/main" id="{72E96C84-D22B-4482-910C-1502CCC42A06}"/>
              </a:ext>
            </a:extLst>
          </p:cNvPr>
          <p:cNvGrpSpPr>
            <a:grpSpLocks noChangeAspect="1"/>
          </p:cNvGrpSpPr>
          <p:nvPr/>
        </p:nvGrpSpPr>
        <p:grpSpPr>
          <a:xfrm>
            <a:off x="3646349" y="1585987"/>
            <a:ext cx="622006" cy="431997"/>
            <a:chOff x="1665590" y="3417670"/>
            <a:chExt cx="565628" cy="392841"/>
          </a:xfrm>
        </p:grpSpPr>
        <p:grpSp>
          <p:nvGrpSpPr>
            <p:cNvPr id="106" name="Group 105">
              <a:extLst>
                <a:ext uri="{FF2B5EF4-FFF2-40B4-BE49-F238E27FC236}">
                  <a16:creationId xmlns:a16="http://schemas.microsoft.com/office/drawing/2014/main" id="{01CB89CC-ECD5-4EEB-BD2B-31845480FFDB}"/>
                </a:ext>
              </a:extLst>
            </p:cNvPr>
            <p:cNvGrpSpPr/>
            <p:nvPr/>
          </p:nvGrpSpPr>
          <p:grpSpPr>
            <a:xfrm>
              <a:off x="1665590" y="3659134"/>
              <a:ext cx="565628" cy="151377"/>
              <a:chOff x="1665590" y="3659137"/>
              <a:chExt cx="565628" cy="151377"/>
            </a:xfrm>
          </p:grpSpPr>
          <p:sp>
            <p:nvSpPr>
              <p:cNvPr id="127" name="Freihandform: Form 337">
                <a:extLst>
                  <a:ext uri="{FF2B5EF4-FFF2-40B4-BE49-F238E27FC236}">
                    <a16:creationId xmlns:a16="http://schemas.microsoft.com/office/drawing/2014/main" id="{54AFDDED-05E4-40D8-A6DE-54FFBCE434CF}"/>
                  </a:ext>
                </a:extLst>
              </p:cNvPr>
              <p:cNvSpPr/>
              <p:nvPr/>
            </p:nvSpPr>
            <p:spPr>
              <a:xfrm>
                <a:off x="1846450" y="3659137"/>
                <a:ext cx="200877" cy="50964"/>
              </a:xfrm>
              <a:custGeom>
                <a:avLst/>
                <a:gdLst>
                  <a:gd name="connsiteX0" fmla="*/ 100439 w 200877"/>
                  <a:gd name="connsiteY0" fmla="*/ 50964 h 50964"/>
                  <a:gd name="connsiteX1" fmla="*/ 0 w 200877"/>
                  <a:gd name="connsiteY1" fmla="*/ 4947 h 50964"/>
                  <a:gd name="connsiteX2" fmla="*/ 4948 w 200877"/>
                  <a:gd name="connsiteY2" fmla="*/ 0 h 50964"/>
                  <a:gd name="connsiteX3" fmla="*/ 9895 w 200877"/>
                  <a:gd name="connsiteY3" fmla="*/ 4947 h 50964"/>
                  <a:gd name="connsiteX4" fmla="*/ 100439 w 200877"/>
                  <a:gd name="connsiteY4" fmla="*/ 41069 h 50964"/>
                  <a:gd name="connsiteX5" fmla="*/ 190983 w 200877"/>
                  <a:gd name="connsiteY5" fmla="*/ 4947 h 50964"/>
                  <a:gd name="connsiteX6" fmla="*/ 195930 w 200877"/>
                  <a:gd name="connsiteY6" fmla="*/ 0 h 50964"/>
                  <a:gd name="connsiteX7" fmla="*/ 200878 w 200877"/>
                  <a:gd name="connsiteY7" fmla="*/ 4947 h 50964"/>
                  <a:gd name="connsiteX8" fmla="*/ 100439 w 200877"/>
                  <a:gd name="connsiteY8" fmla="*/ 50964 h 50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0877" h="50964">
                    <a:moveTo>
                      <a:pt x="100439" y="50964"/>
                    </a:moveTo>
                    <a:cubicBezTo>
                      <a:pt x="44123" y="50964"/>
                      <a:pt x="0" y="30745"/>
                      <a:pt x="0" y="4947"/>
                    </a:cubicBezTo>
                    <a:cubicBezTo>
                      <a:pt x="0" y="2221"/>
                      <a:pt x="2221" y="0"/>
                      <a:pt x="4948" y="0"/>
                    </a:cubicBezTo>
                    <a:cubicBezTo>
                      <a:pt x="7674" y="0"/>
                      <a:pt x="9895" y="2221"/>
                      <a:pt x="9895" y="4947"/>
                    </a:cubicBezTo>
                    <a:cubicBezTo>
                      <a:pt x="9895" y="22390"/>
                      <a:pt x="46269" y="41069"/>
                      <a:pt x="100439" y="41069"/>
                    </a:cubicBezTo>
                    <a:cubicBezTo>
                      <a:pt x="154584" y="41069"/>
                      <a:pt x="190983" y="22390"/>
                      <a:pt x="190983" y="4947"/>
                    </a:cubicBezTo>
                    <a:cubicBezTo>
                      <a:pt x="190983" y="2221"/>
                      <a:pt x="193204" y="0"/>
                      <a:pt x="195930" y="0"/>
                    </a:cubicBezTo>
                    <a:cubicBezTo>
                      <a:pt x="198657" y="0"/>
                      <a:pt x="200878" y="2221"/>
                      <a:pt x="200878" y="4947"/>
                    </a:cubicBezTo>
                    <a:cubicBezTo>
                      <a:pt x="200878" y="30745"/>
                      <a:pt x="156754" y="50964"/>
                      <a:pt x="100439" y="50964"/>
                    </a:cubicBezTo>
                    <a:close/>
                  </a:path>
                </a:pathLst>
              </a:custGeom>
              <a:solidFill>
                <a:schemeClr val="accent1"/>
              </a:solidFill>
              <a:ln w="2521" cap="flat">
                <a:noFill/>
                <a:prstDash val="solid"/>
                <a:miter/>
              </a:ln>
            </p:spPr>
            <p:txBody>
              <a:bodyPr rtlCol="0" anchor="ctr"/>
              <a:lstStyle/>
              <a:p>
                <a:endParaRPr lang="en-GB" dirty="0"/>
              </a:p>
            </p:txBody>
          </p:sp>
          <p:sp>
            <p:nvSpPr>
              <p:cNvPr id="128" name="Freihandform: Form 338">
                <a:extLst>
                  <a:ext uri="{FF2B5EF4-FFF2-40B4-BE49-F238E27FC236}">
                    <a16:creationId xmlns:a16="http://schemas.microsoft.com/office/drawing/2014/main" id="{669B95FC-9EFD-4C99-AA9A-F1AF05699C12}"/>
                  </a:ext>
                </a:extLst>
              </p:cNvPr>
              <p:cNvSpPr/>
              <p:nvPr/>
            </p:nvSpPr>
            <p:spPr>
              <a:xfrm>
                <a:off x="1665590" y="3733508"/>
                <a:ext cx="170183" cy="77006"/>
              </a:xfrm>
              <a:custGeom>
                <a:avLst/>
                <a:gdLst>
                  <a:gd name="connsiteX0" fmla="*/ 85117 w 170183"/>
                  <a:gd name="connsiteY0" fmla="*/ 77007 h 77006"/>
                  <a:gd name="connsiteX1" fmla="*/ 0 w 170183"/>
                  <a:gd name="connsiteY1" fmla="*/ 37579 h 77006"/>
                  <a:gd name="connsiteX2" fmla="*/ 58512 w 170183"/>
                  <a:gd name="connsiteY2" fmla="*/ 43 h 77006"/>
                  <a:gd name="connsiteX3" fmla="*/ 64141 w 170183"/>
                  <a:gd name="connsiteY3" fmla="*/ 4234 h 77006"/>
                  <a:gd name="connsiteX4" fmla="*/ 59950 w 170183"/>
                  <a:gd name="connsiteY4" fmla="*/ 9837 h 77006"/>
                  <a:gd name="connsiteX5" fmla="*/ 9895 w 170183"/>
                  <a:gd name="connsiteY5" fmla="*/ 37579 h 77006"/>
                  <a:gd name="connsiteX6" fmla="*/ 85092 w 170183"/>
                  <a:gd name="connsiteY6" fmla="*/ 67112 h 77006"/>
                  <a:gd name="connsiteX7" fmla="*/ 160288 w 170183"/>
                  <a:gd name="connsiteY7" fmla="*/ 37579 h 77006"/>
                  <a:gd name="connsiteX8" fmla="*/ 111747 w 170183"/>
                  <a:gd name="connsiteY8" fmla="*/ 10064 h 77006"/>
                  <a:gd name="connsiteX9" fmla="*/ 107633 w 170183"/>
                  <a:gd name="connsiteY9" fmla="*/ 4410 h 77006"/>
                  <a:gd name="connsiteX10" fmla="*/ 113287 w 170183"/>
                  <a:gd name="connsiteY10" fmla="*/ 296 h 77006"/>
                  <a:gd name="connsiteX11" fmla="*/ 170183 w 170183"/>
                  <a:gd name="connsiteY11" fmla="*/ 37604 h 77006"/>
                  <a:gd name="connsiteX12" fmla="*/ 85117 w 170183"/>
                  <a:gd name="connsiteY12" fmla="*/ 77007 h 7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183" h="77006">
                    <a:moveTo>
                      <a:pt x="85117" y="77007"/>
                    </a:moveTo>
                    <a:cubicBezTo>
                      <a:pt x="37384" y="77007"/>
                      <a:pt x="0" y="59691"/>
                      <a:pt x="0" y="37579"/>
                    </a:cubicBezTo>
                    <a:cubicBezTo>
                      <a:pt x="0" y="19985"/>
                      <a:pt x="22970" y="5243"/>
                      <a:pt x="58512" y="43"/>
                    </a:cubicBezTo>
                    <a:cubicBezTo>
                      <a:pt x="61238" y="-310"/>
                      <a:pt x="63737" y="1533"/>
                      <a:pt x="64141" y="4234"/>
                    </a:cubicBezTo>
                    <a:cubicBezTo>
                      <a:pt x="64544" y="6934"/>
                      <a:pt x="62676" y="9459"/>
                      <a:pt x="59950" y="9837"/>
                    </a:cubicBezTo>
                    <a:cubicBezTo>
                      <a:pt x="30947" y="14078"/>
                      <a:pt x="9895" y="25740"/>
                      <a:pt x="9895" y="37579"/>
                    </a:cubicBezTo>
                    <a:cubicBezTo>
                      <a:pt x="9895" y="51538"/>
                      <a:pt x="40791" y="67112"/>
                      <a:pt x="85092" y="67112"/>
                    </a:cubicBezTo>
                    <a:cubicBezTo>
                      <a:pt x="129417" y="67112"/>
                      <a:pt x="160288" y="51538"/>
                      <a:pt x="160288" y="37579"/>
                    </a:cubicBezTo>
                    <a:cubicBezTo>
                      <a:pt x="160288" y="26043"/>
                      <a:pt x="139867" y="14482"/>
                      <a:pt x="111747" y="10064"/>
                    </a:cubicBezTo>
                    <a:cubicBezTo>
                      <a:pt x="109047" y="9635"/>
                      <a:pt x="107204" y="7111"/>
                      <a:pt x="107633" y="4410"/>
                    </a:cubicBezTo>
                    <a:cubicBezTo>
                      <a:pt x="108062" y="1709"/>
                      <a:pt x="110561" y="-133"/>
                      <a:pt x="113287" y="296"/>
                    </a:cubicBezTo>
                    <a:cubicBezTo>
                      <a:pt x="147869" y="5723"/>
                      <a:pt x="170183" y="20363"/>
                      <a:pt x="170183" y="37604"/>
                    </a:cubicBezTo>
                    <a:cubicBezTo>
                      <a:pt x="170208" y="59691"/>
                      <a:pt x="132825" y="77007"/>
                      <a:pt x="85117" y="77007"/>
                    </a:cubicBezTo>
                    <a:close/>
                  </a:path>
                </a:pathLst>
              </a:custGeom>
              <a:solidFill>
                <a:schemeClr val="accent1"/>
              </a:solidFill>
              <a:ln w="2521" cap="flat">
                <a:noFill/>
                <a:prstDash val="solid"/>
                <a:miter/>
              </a:ln>
            </p:spPr>
            <p:txBody>
              <a:bodyPr rtlCol="0" anchor="ctr"/>
              <a:lstStyle/>
              <a:p>
                <a:endParaRPr lang="en-GB" dirty="0"/>
              </a:p>
            </p:txBody>
          </p:sp>
          <p:sp>
            <p:nvSpPr>
              <p:cNvPr id="129" name="Freihandform: Form 346">
                <a:extLst>
                  <a:ext uri="{FF2B5EF4-FFF2-40B4-BE49-F238E27FC236}">
                    <a16:creationId xmlns:a16="http://schemas.microsoft.com/office/drawing/2014/main" id="{75AC70D7-4495-4A5A-A5E3-52CB94651DDC}"/>
                  </a:ext>
                </a:extLst>
              </p:cNvPr>
              <p:cNvSpPr/>
              <p:nvPr/>
            </p:nvSpPr>
            <p:spPr>
              <a:xfrm>
                <a:off x="1815587" y="3690712"/>
                <a:ext cx="73894" cy="66970"/>
              </a:xfrm>
              <a:custGeom>
                <a:avLst/>
                <a:gdLst>
                  <a:gd name="connsiteX0" fmla="*/ 4965 w 73894"/>
                  <a:gd name="connsiteY0" fmla="*/ 66970 h 66970"/>
                  <a:gd name="connsiteX1" fmla="*/ 1255 w 73894"/>
                  <a:gd name="connsiteY1" fmla="*/ 65304 h 66970"/>
                  <a:gd name="connsiteX2" fmla="*/ 1658 w 73894"/>
                  <a:gd name="connsiteY2" fmla="*/ 58312 h 66970"/>
                  <a:gd name="connsiteX3" fmla="*/ 65647 w 73894"/>
                  <a:gd name="connsiteY3" fmla="*/ 1265 h 66970"/>
                  <a:gd name="connsiteX4" fmla="*/ 72640 w 73894"/>
                  <a:gd name="connsiteY4" fmla="*/ 1669 h 66970"/>
                  <a:gd name="connsiteX5" fmla="*/ 72236 w 73894"/>
                  <a:gd name="connsiteY5" fmla="*/ 8661 h 66970"/>
                  <a:gd name="connsiteX6" fmla="*/ 8247 w 73894"/>
                  <a:gd name="connsiteY6" fmla="*/ 65708 h 66970"/>
                  <a:gd name="connsiteX7" fmla="*/ 4965 w 73894"/>
                  <a:gd name="connsiteY7" fmla="*/ 66970 h 66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94" h="66970">
                    <a:moveTo>
                      <a:pt x="4965" y="66970"/>
                    </a:moveTo>
                    <a:cubicBezTo>
                      <a:pt x="3602" y="66970"/>
                      <a:pt x="2239" y="66415"/>
                      <a:pt x="1255" y="65304"/>
                    </a:cubicBezTo>
                    <a:cubicBezTo>
                      <a:pt x="-563" y="63260"/>
                      <a:pt x="-386" y="60130"/>
                      <a:pt x="1658" y="58312"/>
                    </a:cubicBezTo>
                    <a:lnTo>
                      <a:pt x="65647" y="1265"/>
                    </a:lnTo>
                    <a:cubicBezTo>
                      <a:pt x="67692" y="-578"/>
                      <a:pt x="70822" y="-376"/>
                      <a:pt x="72640" y="1669"/>
                    </a:cubicBezTo>
                    <a:cubicBezTo>
                      <a:pt x="74457" y="3713"/>
                      <a:pt x="74280" y="6843"/>
                      <a:pt x="72236" y="8661"/>
                    </a:cubicBezTo>
                    <a:lnTo>
                      <a:pt x="8247" y="65708"/>
                    </a:lnTo>
                    <a:cubicBezTo>
                      <a:pt x="7313" y="66541"/>
                      <a:pt x="6126" y="66970"/>
                      <a:pt x="4965" y="66970"/>
                    </a:cubicBezTo>
                    <a:close/>
                  </a:path>
                </a:pathLst>
              </a:custGeom>
              <a:solidFill>
                <a:schemeClr val="accent1"/>
              </a:solidFill>
              <a:ln w="2521" cap="flat">
                <a:noFill/>
                <a:prstDash val="solid"/>
                <a:miter/>
              </a:ln>
            </p:spPr>
            <p:txBody>
              <a:bodyPr rtlCol="0" anchor="ctr"/>
              <a:lstStyle/>
              <a:p>
                <a:endParaRPr lang="en-GB" dirty="0"/>
              </a:p>
            </p:txBody>
          </p:sp>
          <p:sp>
            <p:nvSpPr>
              <p:cNvPr id="130" name="Freihandform: Form 347">
                <a:extLst>
                  <a:ext uri="{FF2B5EF4-FFF2-40B4-BE49-F238E27FC236}">
                    <a16:creationId xmlns:a16="http://schemas.microsoft.com/office/drawing/2014/main" id="{A7C80EAA-66CF-47E9-970B-55A40E6DD82F}"/>
                  </a:ext>
                </a:extLst>
              </p:cNvPr>
              <p:cNvSpPr/>
              <p:nvPr/>
            </p:nvSpPr>
            <p:spPr>
              <a:xfrm>
                <a:off x="2061035" y="3733482"/>
                <a:ext cx="170183" cy="77032"/>
              </a:xfrm>
              <a:custGeom>
                <a:avLst/>
                <a:gdLst>
                  <a:gd name="connsiteX0" fmla="*/ 85117 w 170183"/>
                  <a:gd name="connsiteY0" fmla="*/ 77032 h 77032"/>
                  <a:gd name="connsiteX1" fmla="*/ 0 w 170183"/>
                  <a:gd name="connsiteY1" fmla="*/ 37604 h 77032"/>
                  <a:gd name="connsiteX2" fmla="*/ 56896 w 170183"/>
                  <a:gd name="connsiteY2" fmla="*/ 296 h 77032"/>
                  <a:gd name="connsiteX3" fmla="*/ 62550 w 170183"/>
                  <a:gd name="connsiteY3" fmla="*/ 4410 h 77032"/>
                  <a:gd name="connsiteX4" fmla="*/ 58436 w 170183"/>
                  <a:gd name="connsiteY4" fmla="*/ 10065 h 77032"/>
                  <a:gd name="connsiteX5" fmla="*/ 9895 w 170183"/>
                  <a:gd name="connsiteY5" fmla="*/ 37579 h 77032"/>
                  <a:gd name="connsiteX6" fmla="*/ 85092 w 170183"/>
                  <a:gd name="connsiteY6" fmla="*/ 67112 h 77032"/>
                  <a:gd name="connsiteX7" fmla="*/ 160288 w 170183"/>
                  <a:gd name="connsiteY7" fmla="*/ 37579 h 77032"/>
                  <a:gd name="connsiteX8" fmla="*/ 110233 w 170183"/>
                  <a:gd name="connsiteY8" fmla="*/ 9837 h 77032"/>
                  <a:gd name="connsiteX9" fmla="*/ 106043 w 170183"/>
                  <a:gd name="connsiteY9" fmla="*/ 4234 h 77032"/>
                  <a:gd name="connsiteX10" fmla="*/ 111672 w 170183"/>
                  <a:gd name="connsiteY10" fmla="*/ 43 h 77032"/>
                  <a:gd name="connsiteX11" fmla="*/ 170183 w 170183"/>
                  <a:gd name="connsiteY11" fmla="*/ 37579 h 77032"/>
                  <a:gd name="connsiteX12" fmla="*/ 85117 w 170183"/>
                  <a:gd name="connsiteY12" fmla="*/ 77032 h 7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183" h="77032">
                    <a:moveTo>
                      <a:pt x="85117" y="77032"/>
                    </a:moveTo>
                    <a:cubicBezTo>
                      <a:pt x="37384" y="77032"/>
                      <a:pt x="0" y="59716"/>
                      <a:pt x="0" y="37604"/>
                    </a:cubicBezTo>
                    <a:cubicBezTo>
                      <a:pt x="0" y="20363"/>
                      <a:pt x="22339" y="5723"/>
                      <a:pt x="56896" y="296"/>
                    </a:cubicBezTo>
                    <a:cubicBezTo>
                      <a:pt x="59622" y="-108"/>
                      <a:pt x="62146" y="1709"/>
                      <a:pt x="62550" y="4410"/>
                    </a:cubicBezTo>
                    <a:cubicBezTo>
                      <a:pt x="62979" y="7111"/>
                      <a:pt x="61137" y="9635"/>
                      <a:pt x="58436" y="10065"/>
                    </a:cubicBezTo>
                    <a:cubicBezTo>
                      <a:pt x="30316" y="14482"/>
                      <a:pt x="9895" y="26043"/>
                      <a:pt x="9895" y="37579"/>
                    </a:cubicBezTo>
                    <a:cubicBezTo>
                      <a:pt x="9895" y="51538"/>
                      <a:pt x="40766" y="67112"/>
                      <a:pt x="85092" y="67112"/>
                    </a:cubicBezTo>
                    <a:cubicBezTo>
                      <a:pt x="129417" y="67112"/>
                      <a:pt x="160288" y="51538"/>
                      <a:pt x="160288" y="37579"/>
                    </a:cubicBezTo>
                    <a:cubicBezTo>
                      <a:pt x="160288" y="25740"/>
                      <a:pt x="139236" y="14078"/>
                      <a:pt x="110233" y="9837"/>
                    </a:cubicBezTo>
                    <a:cubicBezTo>
                      <a:pt x="107532" y="9434"/>
                      <a:pt x="105664" y="6934"/>
                      <a:pt x="106043" y="4234"/>
                    </a:cubicBezTo>
                    <a:cubicBezTo>
                      <a:pt x="106447" y="1533"/>
                      <a:pt x="108945" y="-310"/>
                      <a:pt x="111672" y="43"/>
                    </a:cubicBezTo>
                    <a:cubicBezTo>
                      <a:pt x="147213" y="5243"/>
                      <a:pt x="170183" y="19985"/>
                      <a:pt x="170183" y="37579"/>
                    </a:cubicBezTo>
                    <a:cubicBezTo>
                      <a:pt x="170208" y="59716"/>
                      <a:pt x="132825" y="77032"/>
                      <a:pt x="85117" y="77032"/>
                    </a:cubicBezTo>
                    <a:close/>
                  </a:path>
                </a:pathLst>
              </a:custGeom>
              <a:solidFill>
                <a:schemeClr val="accent1"/>
              </a:solidFill>
              <a:ln w="2521" cap="flat">
                <a:noFill/>
                <a:prstDash val="solid"/>
                <a:miter/>
              </a:ln>
            </p:spPr>
            <p:txBody>
              <a:bodyPr rtlCol="0" anchor="ctr"/>
              <a:lstStyle/>
              <a:p>
                <a:endParaRPr lang="en-GB" dirty="0"/>
              </a:p>
            </p:txBody>
          </p:sp>
          <p:sp>
            <p:nvSpPr>
              <p:cNvPr id="131" name="Freihandform: Form 355">
                <a:extLst>
                  <a:ext uri="{FF2B5EF4-FFF2-40B4-BE49-F238E27FC236}">
                    <a16:creationId xmlns:a16="http://schemas.microsoft.com/office/drawing/2014/main" id="{C2C67F03-8AE7-43DB-96E0-E5D1C9B619F7}"/>
                  </a:ext>
                </a:extLst>
              </p:cNvPr>
              <p:cNvSpPr/>
              <p:nvPr/>
            </p:nvSpPr>
            <p:spPr>
              <a:xfrm>
                <a:off x="2009196" y="3690172"/>
                <a:ext cx="72049" cy="67510"/>
              </a:xfrm>
              <a:custGeom>
                <a:avLst/>
                <a:gdLst>
                  <a:gd name="connsiteX0" fmla="*/ 67110 w 72049"/>
                  <a:gd name="connsiteY0" fmla="*/ 67511 h 67510"/>
                  <a:gd name="connsiteX1" fmla="*/ 63753 w 72049"/>
                  <a:gd name="connsiteY1" fmla="*/ 66198 h 67510"/>
                  <a:gd name="connsiteX2" fmla="*/ 1582 w 72049"/>
                  <a:gd name="connsiteY2" fmla="*/ 8570 h 67510"/>
                  <a:gd name="connsiteX3" fmla="*/ 1304 w 72049"/>
                  <a:gd name="connsiteY3" fmla="*/ 1578 h 67510"/>
                  <a:gd name="connsiteX4" fmla="*/ 8296 w 72049"/>
                  <a:gd name="connsiteY4" fmla="*/ 1325 h 67510"/>
                  <a:gd name="connsiteX5" fmla="*/ 70468 w 72049"/>
                  <a:gd name="connsiteY5" fmla="*/ 58954 h 67510"/>
                  <a:gd name="connsiteX6" fmla="*/ 70745 w 72049"/>
                  <a:gd name="connsiteY6" fmla="*/ 65946 h 67510"/>
                  <a:gd name="connsiteX7" fmla="*/ 67110 w 72049"/>
                  <a:gd name="connsiteY7" fmla="*/ 67511 h 67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049" h="67510">
                    <a:moveTo>
                      <a:pt x="67110" y="67511"/>
                    </a:moveTo>
                    <a:cubicBezTo>
                      <a:pt x="65899" y="67511"/>
                      <a:pt x="64687" y="67082"/>
                      <a:pt x="63753" y="66198"/>
                    </a:cubicBezTo>
                    <a:lnTo>
                      <a:pt x="1582" y="8570"/>
                    </a:lnTo>
                    <a:cubicBezTo>
                      <a:pt x="-413" y="6702"/>
                      <a:pt x="-539" y="3572"/>
                      <a:pt x="1304" y="1578"/>
                    </a:cubicBezTo>
                    <a:cubicBezTo>
                      <a:pt x="3172" y="-416"/>
                      <a:pt x="6302" y="-542"/>
                      <a:pt x="8296" y="1325"/>
                    </a:cubicBezTo>
                    <a:lnTo>
                      <a:pt x="70468" y="58954"/>
                    </a:lnTo>
                    <a:cubicBezTo>
                      <a:pt x="72462" y="60821"/>
                      <a:pt x="72588" y="63952"/>
                      <a:pt x="70745" y="65946"/>
                    </a:cubicBezTo>
                    <a:cubicBezTo>
                      <a:pt x="69761" y="66955"/>
                      <a:pt x="68423" y="67511"/>
                      <a:pt x="67110" y="67511"/>
                    </a:cubicBezTo>
                    <a:close/>
                  </a:path>
                </a:pathLst>
              </a:custGeom>
              <a:solidFill>
                <a:schemeClr val="accent1"/>
              </a:solidFill>
              <a:ln w="2521" cap="flat">
                <a:noFill/>
                <a:prstDash val="solid"/>
                <a:miter/>
              </a:ln>
            </p:spPr>
            <p:txBody>
              <a:bodyPr rtlCol="0" anchor="ctr"/>
              <a:lstStyle/>
              <a:p>
                <a:endParaRPr lang="en-GB" dirty="0"/>
              </a:p>
            </p:txBody>
          </p:sp>
        </p:grpSp>
        <p:grpSp>
          <p:nvGrpSpPr>
            <p:cNvPr id="107" name="Group 106">
              <a:extLst>
                <a:ext uri="{FF2B5EF4-FFF2-40B4-BE49-F238E27FC236}">
                  <a16:creationId xmlns:a16="http://schemas.microsoft.com/office/drawing/2014/main" id="{DEB713F2-84E6-4E65-AFE9-7D37AE91F1D3}"/>
                </a:ext>
              </a:extLst>
            </p:cNvPr>
            <p:cNvGrpSpPr/>
            <p:nvPr/>
          </p:nvGrpSpPr>
          <p:grpSpPr>
            <a:xfrm>
              <a:off x="1703907" y="3417670"/>
              <a:ext cx="489018" cy="359853"/>
              <a:chOff x="1703907" y="3417670"/>
              <a:chExt cx="489018" cy="359853"/>
            </a:xfrm>
          </p:grpSpPr>
          <p:sp>
            <p:nvSpPr>
              <p:cNvPr id="108" name="Freihandform: Form 340">
                <a:extLst>
                  <a:ext uri="{FF2B5EF4-FFF2-40B4-BE49-F238E27FC236}">
                    <a16:creationId xmlns:a16="http://schemas.microsoft.com/office/drawing/2014/main" id="{DAFB643D-E35A-485E-A375-F50BC5B40327}"/>
                  </a:ext>
                </a:extLst>
              </p:cNvPr>
              <p:cNvSpPr/>
              <p:nvPr/>
            </p:nvSpPr>
            <p:spPr>
              <a:xfrm>
                <a:off x="1756411" y="3587020"/>
                <a:ext cx="42533" cy="114852"/>
              </a:xfrm>
              <a:custGeom>
                <a:avLst/>
                <a:gdLst>
                  <a:gd name="connsiteX0" fmla="*/ 29383 w 42533"/>
                  <a:gd name="connsiteY0" fmla="*/ 114852 h 114852"/>
                  <a:gd name="connsiteX1" fmla="*/ 16257 w 42533"/>
                  <a:gd name="connsiteY1" fmla="*/ 101701 h 114852"/>
                  <a:gd name="connsiteX2" fmla="*/ 16257 w 42533"/>
                  <a:gd name="connsiteY2" fmla="*/ 37485 h 114852"/>
                  <a:gd name="connsiteX3" fmla="*/ 21204 w 42533"/>
                  <a:gd name="connsiteY3" fmla="*/ 32537 h 114852"/>
                  <a:gd name="connsiteX4" fmla="*/ 26152 w 42533"/>
                  <a:gd name="connsiteY4" fmla="*/ 37485 h 114852"/>
                  <a:gd name="connsiteX5" fmla="*/ 26152 w 42533"/>
                  <a:gd name="connsiteY5" fmla="*/ 101701 h 114852"/>
                  <a:gd name="connsiteX6" fmla="*/ 29383 w 42533"/>
                  <a:gd name="connsiteY6" fmla="*/ 104932 h 114852"/>
                  <a:gd name="connsiteX7" fmla="*/ 32614 w 42533"/>
                  <a:gd name="connsiteY7" fmla="*/ 101701 h 114852"/>
                  <a:gd name="connsiteX8" fmla="*/ 32614 w 42533"/>
                  <a:gd name="connsiteY8" fmla="*/ 22062 h 114852"/>
                  <a:gd name="connsiteX9" fmla="*/ 22290 w 42533"/>
                  <a:gd name="connsiteY9" fmla="*/ 13909 h 114852"/>
                  <a:gd name="connsiteX10" fmla="*/ 9719 w 42533"/>
                  <a:gd name="connsiteY10" fmla="*/ 13909 h 114852"/>
                  <a:gd name="connsiteX11" fmla="*/ 1 w 42533"/>
                  <a:gd name="connsiteY11" fmla="*/ 5023 h 114852"/>
                  <a:gd name="connsiteX12" fmla="*/ 4873 w 42533"/>
                  <a:gd name="connsiteY12" fmla="*/ 0 h 114852"/>
                  <a:gd name="connsiteX13" fmla="*/ 9795 w 42533"/>
                  <a:gd name="connsiteY13" fmla="*/ 3938 h 114852"/>
                  <a:gd name="connsiteX14" fmla="*/ 10274 w 42533"/>
                  <a:gd name="connsiteY14" fmla="*/ 4064 h 114852"/>
                  <a:gd name="connsiteX15" fmla="*/ 22290 w 42533"/>
                  <a:gd name="connsiteY15" fmla="*/ 4039 h 114852"/>
                  <a:gd name="connsiteX16" fmla="*/ 42534 w 42533"/>
                  <a:gd name="connsiteY16" fmla="*/ 22087 h 114852"/>
                  <a:gd name="connsiteX17" fmla="*/ 42534 w 42533"/>
                  <a:gd name="connsiteY17" fmla="*/ 101726 h 114852"/>
                  <a:gd name="connsiteX18" fmla="*/ 29383 w 42533"/>
                  <a:gd name="connsiteY18" fmla="*/ 114852 h 11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2533" h="114852">
                    <a:moveTo>
                      <a:pt x="29383" y="114852"/>
                    </a:moveTo>
                    <a:cubicBezTo>
                      <a:pt x="22138" y="114852"/>
                      <a:pt x="16257" y="108971"/>
                      <a:pt x="16257" y="101701"/>
                    </a:cubicBezTo>
                    <a:lnTo>
                      <a:pt x="16257" y="37485"/>
                    </a:lnTo>
                    <a:cubicBezTo>
                      <a:pt x="16257" y="34758"/>
                      <a:pt x="18478" y="32537"/>
                      <a:pt x="21204" y="32537"/>
                    </a:cubicBezTo>
                    <a:cubicBezTo>
                      <a:pt x="23930" y="32537"/>
                      <a:pt x="26152" y="34758"/>
                      <a:pt x="26152" y="37485"/>
                    </a:cubicBezTo>
                    <a:lnTo>
                      <a:pt x="26152" y="101701"/>
                    </a:lnTo>
                    <a:cubicBezTo>
                      <a:pt x="26152" y="103493"/>
                      <a:pt x="27591" y="104932"/>
                      <a:pt x="29383" y="104932"/>
                    </a:cubicBezTo>
                    <a:cubicBezTo>
                      <a:pt x="31175" y="104932"/>
                      <a:pt x="32614" y="103493"/>
                      <a:pt x="32614" y="101701"/>
                    </a:cubicBezTo>
                    <a:lnTo>
                      <a:pt x="32614" y="22062"/>
                    </a:lnTo>
                    <a:cubicBezTo>
                      <a:pt x="32614" y="14136"/>
                      <a:pt x="23350" y="13909"/>
                      <a:pt x="22290" y="13909"/>
                    </a:cubicBezTo>
                    <a:lnTo>
                      <a:pt x="9719" y="13909"/>
                    </a:lnTo>
                    <a:cubicBezTo>
                      <a:pt x="4847" y="13429"/>
                      <a:pt x="102" y="10475"/>
                      <a:pt x="1" y="5023"/>
                    </a:cubicBezTo>
                    <a:cubicBezTo>
                      <a:pt x="-50" y="2272"/>
                      <a:pt x="2146" y="25"/>
                      <a:pt x="4873" y="0"/>
                    </a:cubicBezTo>
                    <a:cubicBezTo>
                      <a:pt x="7245" y="227"/>
                      <a:pt x="9340" y="1666"/>
                      <a:pt x="9795" y="3938"/>
                    </a:cubicBezTo>
                    <a:cubicBezTo>
                      <a:pt x="9971" y="3988"/>
                      <a:pt x="10148" y="4039"/>
                      <a:pt x="10274" y="4064"/>
                    </a:cubicBezTo>
                    <a:lnTo>
                      <a:pt x="22290" y="4039"/>
                    </a:lnTo>
                    <a:cubicBezTo>
                      <a:pt x="30418" y="4039"/>
                      <a:pt x="42534" y="8835"/>
                      <a:pt x="42534" y="22087"/>
                    </a:cubicBezTo>
                    <a:lnTo>
                      <a:pt x="42534" y="101726"/>
                    </a:lnTo>
                    <a:cubicBezTo>
                      <a:pt x="42509" y="108945"/>
                      <a:pt x="36627" y="114852"/>
                      <a:pt x="29383" y="114852"/>
                    </a:cubicBezTo>
                    <a:close/>
                  </a:path>
                </a:pathLst>
              </a:custGeom>
              <a:solidFill>
                <a:schemeClr val="tx2"/>
              </a:solidFill>
              <a:ln w="2521" cap="flat">
                <a:noFill/>
                <a:prstDash val="solid"/>
                <a:miter/>
              </a:ln>
            </p:spPr>
            <p:txBody>
              <a:bodyPr rtlCol="0" anchor="ctr"/>
              <a:lstStyle/>
              <a:p>
                <a:endParaRPr lang="en-GB" dirty="0"/>
              </a:p>
            </p:txBody>
          </p:sp>
          <p:sp>
            <p:nvSpPr>
              <p:cNvPr id="109" name="Freihandform: Form 341">
                <a:extLst>
                  <a:ext uri="{FF2B5EF4-FFF2-40B4-BE49-F238E27FC236}">
                    <a16:creationId xmlns:a16="http://schemas.microsoft.com/office/drawing/2014/main" id="{70361DF8-E7D6-4F05-88C6-0A8D709DFDE0}"/>
                  </a:ext>
                </a:extLst>
              </p:cNvPr>
              <p:cNvSpPr/>
              <p:nvPr/>
            </p:nvSpPr>
            <p:spPr>
              <a:xfrm>
                <a:off x="1703907" y="3587096"/>
                <a:ext cx="41473" cy="114776"/>
              </a:xfrm>
              <a:custGeom>
                <a:avLst/>
                <a:gdLst>
                  <a:gd name="connsiteX0" fmla="*/ 13126 w 41473"/>
                  <a:gd name="connsiteY0" fmla="*/ 114777 h 114776"/>
                  <a:gd name="connsiteX1" fmla="*/ 0 w 41473"/>
                  <a:gd name="connsiteY1" fmla="*/ 101625 h 114776"/>
                  <a:gd name="connsiteX2" fmla="*/ 0 w 41473"/>
                  <a:gd name="connsiteY2" fmla="*/ 21986 h 114776"/>
                  <a:gd name="connsiteX3" fmla="*/ 20219 w 41473"/>
                  <a:gd name="connsiteY3" fmla="*/ 3938 h 114776"/>
                  <a:gd name="connsiteX4" fmla="*/ 31679 w 41473"/>
                  <a:gd name="connsiteY4" fmla="*/ 3938 h 114776"/>
                  <a:gd name="connsiteX5" fmla="*/ 36526 w 41473"/>
                  <a:gd name="connsiteY5" fmla="*/ 0 h 114776"/>
                  <a:gd name="connsiteX6" fmla="*/ 36551 w 41473"/>
                  <a:gd name="connsiteY6" fmla="*/ 0 h 114776"/>
                  <a:gd name="connsiteX7" fmla="*/ 41473 w 41473"/>
                  <a:gd name="connsiteY7" fmla="*/ 4897 h 114776"/>
                  <a:gd name="connsiteX8" fmla="*/ 38848 w 41473"/>
                  <a:gd name="connsiteY8" fmla="*/ 11460 h 114776"/>
                  <a:gd name="connsiteX9" fmla="*/ 32613 w 41473"/>
                  <a:gd name="connsiteY9" fmla="*/ 13833 h 114776"/>
                  <a:gd name="connsiteX10" fmla="*/ 20219 w 41473"/>
                  <a:gd name="connsiteY10" fmla="*/ 13833 h 114776"/>
                  <a:gd name="connsiteX11" fmla="*/ 9895 w 41473"/>
                  <a:gd name="connsiteY11" fmla="*/ 21986 h 114776"/>
                  <a:gd name="connsiteX12" fmla="*/ 9895 w 41473"/>
                  <a:gd name="connsiteY12" fmla="*/ 101625 h 114776"/>
                  <a:gd name="connsiteX13" fmla="*/ 13126 w 41473"/>
                  <a:gd name="connsiteY13" fmla="*/ 104856 h 114776"/>
                  <a:gd name="connsiteX14" fmla="*/ 16357 w 41473"/>
                  <a:gd name="connsiteY14" fmla="*/ 101625 h 114776"/>
                  <a:gd name="connsiteX15" fmla="*/ 16357 w 41473"/>
                  <a:gd name="connsiteY15" fmla="*/ 37687 h 114776"/>
                  <a:gd name="connsiteX16" fmla="*/ 21304 w 41473"/>
                  <a:gd name="connsiteY16" fmla="*/ 32739 h 114776"/>
                  <a:gd name="connsiteX17" fmla="*/ 26252 w 41473"/>
                  <a:gd name="connsiteY17" fmla="*/ 37687 h 114776"/>
                  <a:gd name="connsiteX18" fmla="*/ 26252 w 41473"/>
                  <a:gd name="connsiteY18" fmla="*/ 101625 h 114776"/>
                  <a:gd name="connsiteX19" fmla="*/ 13126 w 41473"/>
                  <a:gd name="connsiteY19" fmla="*/ 114777 h 114776"/>
                  <a:gd name="connsiteX20" fmla="*/ 32714 w 41473"/>
                  <a:gd name="connsiteY20" fmla="*/ 3938 h 114776"/>
                  <a:gd name="connsiteX21" fmla="*/ 32790 w 41473"/>
                  <a:gd name="connsiteY21" fmla="*/ 3938 h 114776"/>
                  <a:gd name="connsiteX22" fmla="*/ 32714 w 41473"/>
                  <a:gd name="connsiteY22" fmla="*/ 3938 h 11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1473" h="114776">
                    <a:moveTo>
                      <a:pt x="13126" y="114777"/>
                    </a:moveTo>
                    <a:cubicBezTo>
                      <a:pt x="5881" y="114777"/>
                      <a:pt x="0" y="108895"/>
                      <a:pt x="0" y="101625"/>
                    </a:cubicBezTo>
                    <a:lnTo>
                      <a:pt x="0" y="21986"/>
                    </a:lnTo>
                    <a:cubicBezTo>
                      <a:pt x="0" y="8734"/>
                      <a:pt x="12091" y="3938"/>
                      <a:pt x="20219" y="3938"/>
                    </a:cubicBezTo>
                    <a:lnTo>
                      <a:pt x="31679" y="3938"/>
                    </a:lnTo>
                    <a:cubicBezTo>
                      <a:pt x="32184" y="1716"/>
                      <a:pt x="34153" y="0"/>
                      <a:pt x="36526" y="0"/>
                    </a:cubicBezTo>
                    <a:cubicBezTo>
                      <a:pt x="36526" y="0"/>
                      <a:pt x="36526" y="0"/>
                      <a:pt x="36551" y="0"/>
                    </a:cubicBezTo>
                    <a:cubicBezTo>
                      <a:pt x="39277" y="25"/>
                      <a:pt x="41498" y="2171"/>
                      <a:pt x="41473" y="4897"/>
                    </a:cubicBezTo>
                    <a:cubicBezTo>
                      <a:pt x="41448" y="8254"/>
                      <a:pt x="40034" y="10324"/>
                      <a:pt x="38848" y="11460"/>
                    </a:cubicBezTo>
                    <a:cubicBezTo>
                      <a:pt x="36374" y="13858"/>
                      <a:pt x="33269" y="13934"/>
                      <a:pt x="32613" y="13833"/>
                    </a:cubicBezTo>
                    <a:lnTo>
                      <a:pt x="20219" y="13833"/>
                    </a:lnTo>
                    <a:cubicBezTo>
                      <a:pt x="18528" y="13858"/>
                      <a:pt x="9895" y="14338"/>
                      <a:pt x="9895" y="21986"/>
                    </a:cubicBezTo>
                    <a:lnTo>
                      <a:pt x="9895" y="101625"/>
                    </a:lnTo>
                    <a:cubicBezTo>
                      <a:pt x="9895" y="103418"/>
                      <a:pt x="11334" y="104856"/>
                      <a:pt x="13126" y="104856"/>
                    </a:cubicBezTo>
                    <a:cubicBezTo>
                      <a:pt x="14918" y="104856"/>
                      <a:pt x="16357" y="103418"/>
                      <a:pt x="16357" y="101625"/>
                    </a:cubicBezTo>
                    <a:lnTo>
                      <a:pt x="16357" y="37687"/>
                    </a:lnTo>
                    <a:cubicBezTo>
                      <a:pt x="16357" y="34961"/>
                      <a:pt x="18578" y="32739"/>
                      <a:pt x="21304" y="32739"/>
                    </a:cubicBezTo>
                    <a:cubicBezTo>
                      <a:pt x="24031" y="32739"/>
                      <a:pt x="26252" y="34961"/>
                      <a:pt x="26252" y="37687"/>
                    </a:cubicBezTo>
                    <a:lnTo>
                      <a:pt x="26252" y="101625"/>
                    </a:lnTo>
                    <a:cubicBezTo>
                      <a:pt x="26277" y="108870"/>
                      <a:pt x="20371" y="114777"/>
                      <a:pt x="13126" y="114777"/>
                    </a:cubicBezTo>
                    <a:close/>
                    <a:moveTo>
                      <a:pt x="32714" y="3938"/>
                    </a:moveTo>
                    <a:lnTo>
                      <a:pt x="32790" y="3938"/>
                    </a:lnTo>
                    <a:cubicBezTo>
                      <a:pt x="32790" y="3938"/>
                      <a:pt x="32764" y="3938"/>
                      <a:pt x="32714" y="3938"/>
                    </a:cubicBezTo>
                    <a:close/>
                  </a:path>
                </a:pathLst>
              </a:custGeom>
              <a:solidFill>
                <a:schemeClr val="tx2"/>
              </a:solidFill>
              <a:ln w="2521" cap="flat">
                <a:noFill/>
                <a:prstDash val="solid"/>
                <a:miter/>
              </a:ln>
            </p:spPr>
            <p:txBody>
              <a:bodyPr rtlCol="0" anchor="ctr"/>
              <a:lstStyle/>
              <a:p>
                <a:endParaRPr lang="en-GB" dirty="0"/>
              </a:p>
            </p:txBody>
          </p:sp>
          <p:sp>
            <p:nvSpPr>
              <p:cNvPr id="110" name="Freihandform: Form 342">
                <a:extLst>
                  <a:ext uri="{FF2B5EF4-FFF2-40B4-BE49-F238E27FC236}">
                    <a16:creationId xmlns:a16="http://schemas.microsoft.com/office/drawing/2014/main" id="{843662ED-DE02-4B4F-AC73-9354D44496EF}"/>
                  </a:ext>
                </a:extLst>
              </p:cNvPr>
              <p:cNvSpPr/>
              <p:nvPr/>
            </p:nvSpPr>
            <p:spPr>
              <a:xfrm>
                <a:off x="1745784" y="3682789"/>
                <a:ext cx="9895" cy="94734"/>
              </a:xfrm>
              <a:custGeom>
                <a:avLst/>
                <a:gdLst>
                  <a:gd name="connsiteX0" fmla="*/ 4948 w 9895"/>
                  <a:gd name="connsiteY0" fmla="*/ 94734 h 94734"/>
                  <a:gd name="connsiteX1" fmla="*/ 0 w 9895"/>
                  <a:gd name="connsiteY1" fmla="*/ 89787 h 94734"/>
                  <a:gd name="connsiteX2" fmla="*/ 0 w 9895"/>
                  <a:gd name="connsiteY2" fmla="*/ 4947 h 94734"/>
                  <a:gd name="connsiteX3" fmla="*/ 4948 w 9895"/>
                  <a:gd name="connsiteY3" fmla="*/ 0 h 94734"/>
                  <a:gd name="connsiteX4" fmla="*/ 9895 w 9895"/>
                  <a:gd name="connsiteY4" fmla="*/ 4947 h 94734"/>
                  <a:gd name="connsiteX5" fmla="*/ 9895 w 9895"/>
                  <a:gd name="connsiteY5" fmla="*/ 89787 h 94734"/>
                  <a:gd name="connsiteX6" fmla="*/ 4948 w 9895"/>
                  <a:gd name="connsiteY6" fmla="*/ 94734 h 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95" h="94734">
                    <a:moveTo>
                      <a:pt x="4948" y="94734"/>
                    </a:moveTo>
                    <a:cubicBezTo>
                      <a:pt x="2221" y="94734"/>
                      <a:pt x="0" y="92513"/>
                      <a:pt x="0" y="89787"/>
                    </a:cubicBezTo>
                    <a:lnTo>
                      <a:pt x="0" y="4947"/>
                    </a:lnTo>
                    <a:cubicBezTo>
                      <a:pt x="0" y="2221"/>
                      <a:pt x="2221" y="0"/>
                      <a:pt x="4948" y="0"/>
                    </a:cubicBezTo>
                    <a:cubicBezTo>
                      <a:pt x="7674" y="0"/>
                      <a:pt x="9895" y="2221"/>
                      <a:pt x="9895" y="4947"/>
                    </a:cubicBezTo>
                    <a:lnTo>
                      <a:pt x="9895" y="89787"/>
                    </a:lnTo>
                    <a:cubicBezTo>
                      <a:pt x="9920" y="92513"/>
                      <a:pt x="7699" y="94734"/>
                      <a:pt x="4948" y="94734"/>
                    </a:cubicBezTo>
                    <a:close/>
                  </a:path>
                </a:pathLst>
              </a:custGeom>
              <a:solidFill>
                <a:schemeClr val="tx2"/>
              </a:solidFill>
              <a:ln w="2521" cap="flat">
                <a:noFill/>
                <a:prstDash val="solid"/>
                <a:miter/>
              </a:ln>
            </p:spPr>
            <p:txBody>
              <a:bodyPr rtlCol="0" anchor="ctr"/>
              <a:lstStyle/>
              <a:p>
                <a:endParaRPr lang="en-GB" dirty="0"/>
              </a:p>
            </p:txBody>
          </p:sp>
          <p:sp>
            <p:nvSpPr>
              <p:cNvPr id="111" name="Freihandform: Form 343">
                <a:extLst>
                  <a:ext uri="{FF2B5EF4-FFF2-40B4-BE49-F238E27FC236}">
                    <a16:creationId xmlns:a16="http://schemas.microsoft.com/office/drawing/2014/main" id="{C4324990-8BA6-48E4-9BF3-9575E7FF5453}"/>
                  </a:ext>
                </a:extLst>
              </p:cNvPr>
              <p:cNvSpPr/>
              <p:nvPr/>
            </p:nvSpPr>
            <p:spPr>
              <a:xfrm>
                <a:off x="1772650" y="3636268"/>
                <a:ext cx="9912" cy="141205"/>
              </a:xfrm>
              <a:custGeom>
                <a:avLst/>
                <a:gdLst>
                  <a:gd name="connsiteX0" fmla="*/ 4940 w 9912"/>
                  <a:gd name="connsiteY0" fmla="*/ 141205 h 141205"/>
                  <a:gd name="connsiteX1" fmla="*/ 3047 w 9912"/>
                  <a:gd name="connsiteY1" fmla="*/ 140826 h 141205"/>
                  <a:gd name="connsiteX2" fmla="*/ 18 w 9912"/>
                  <a:gd name="connsiteY2" fmla="*/ 135854 h 141205"/>
                  <a:gd name="connsiteX3" fmla="*/ 18 w 9912"/>
                  <a:gd name="connsiteY3" fmla="*/ 4947 h 141205"/>
                  <a:gd name="connsiteX4" fmla="*/ 4965 w 9912"/>
                  <a:gd name="connsiteY4" fmla="*/ 0 h 141205"/>
                  <a:gd name="connsiteX5" fmla="*/ 9913 w 9912"/>
                  <a:gd name="connsiteY5" fmla="*/ 4947 h 141205"/>
                  <a:gd name="connsiteX6" fmla="*/ 9913 w 9912"/>
                  <a:gd name="connsiteY6" fmla="*/ 136182 h 141205"/>
                  <a:gd name="connsiteX7" fmla="*/ 9509 w 9912"/>
                  <a:gd name="connsiteY7" fmla="*/ 138176 h 141205"/>
                  <a:gd name="connsiteX8" fmla="*/ 4940 w 9912"/>
                  <a:gd name="connsiteY8" fmla="*/ 141205 h 141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12" h="141205">
                    <a:moveTo>
                      <a:pt x="4940" y="141205"/>
                    </a:moveTo>
                    <a:cubicBezTo>
                      <a:pt x="4309" y="141205"/>
                      <a:pt x="3653" y="141079"/>
                      <a:pt x="3047" y="140826"/>
                    </a:cubicBezTo>
                    <a:cubicBezTo>
                      <a:pt x="1002" y="139968"/>
                      <a:pt x="-159" y="137924"/>
                      <a:pt x="18" y="135854"/>
                    </a:cubicBezTo>
                    <a:lnTo>
                      <a:pt x="18" y="4947"/>
                    </a:lnTo>
                    <a:cubicBezTo>
                      <a:pt x="18" y="2221"/>
                      <a:pt x="2239" y="0"/>
                      <a:pt x="4965" y="0"/>
                    </a:cubicBezTo>
                    <a:cubicBezTo>
                      <a:pt x="7691" y="0"/>
                      <a:pt x="9913" y="2221"/>
                      <a:pt x="9913" y="4947"/>
                    </a:cubicBezTo>
                    <a:lnTo>
                      <a:pt x="9913" y="136182"/>
                    </a:lnTo>
                    <a:cubicBezTo>
                      <a:pt x="9913" y="136838"/>
                      <a:pt x="9761" y="137570"/>
                      <a:pt x="9509" y="138176"/>
                    </a:cubicBezTo>
                    <a:cubicBezTo>
                      <a:pt x="8701" y="140069"/>
                      <a:pt x="6858" y="141205"/>
                      <a:pt x="4940" y="141205"/>
                    </a:cubicBezTo>
                    <a:close/>
                  </a:path>
                </a:pathLst>
              </a:custGeom>
              <a:solidFill>
                <a:schemeClr val="tx2"/>
              </a:solidFill>
              <a:ln w="2521" cap="flat">
                <a:noFill/>
                <a:prstDash val="solid"/>
                <a:miter/>
              </a:ln>
            </p:spPr>
            <p:txBody>
              <a:bodyPr rtlCol="0" anchor="ctr"/>
              <a:lstStyle/>
              <a:p>
                <a:endParaRPr lang="en-GB" dirty="0"/>
              </a:p>
            </p:txBody>
          </p:sp>
          <p:sp>
            <p:nvSpPr>
              <p:cNvPr id="112" name="Freihandform: Form 344">
                <a:extLst>
                  <a:ext uri="{FF2B5EF4-FFF2-40B4-BE49-F238E27FC236}">
                    <a16:creationId xmlns:a16="http://schemas.microsoft.com/office/drawing/2014/main" id="{E910B0FF-EE58-4655-B277-92CF600A4EB4}"/>
                  </a:ext>
                </a:extLst>
              </p:cNvPr>
              <p:cNvSpPr/>
              <p:nvPr/>
            </p:nvSpPr>
            <p:spPr>
              <a:xfrm>
                <a:off x="1720239" y="3636268"/>
                <a:ext cx="9915" cy="141255"/>
              </a:xfrm>
              <a:custGeom>
                <a:avLst/>
                <a:gdLst>
                  <a:gd name="connsiteX0" fmla="*/ 4973 w 9915"/>
                  <a:gd name="connsiteY0" fmla="*/ 141256 h 141255"/>
                  <a:gd name="connsiteX1" fmla="*/ 126 w 9915"/>
                  <a:gd name="connsiteY1" fmla="*/ 137343 h 141255"/>
                  <a:gd name="connsiteX2" fmla="*/ 0 w 9915"/>
                  <a:gd name="connsiteY2" fmla="*/ 136182 h 141255"/>
                  <a:gd name="connsiteX3" fmla="*/ 0 w 9915"/>
                  <a:gd name="connsiteY3" fmla="*/ 4947 h 141255"/>
                  <a:gd name="connsiteX4" fmla="*/ 4948 w 9915"/>
                  <a:gd name="connsiteY4" fmla="*/ 0 h 141255"/>
                  <a:gd name="connsiteX5" fmla="*/ 9895 w 9915"/>
                  <a:gd name="connsiteY5" fmla="*/ 4947 h 141255"/>
                  <a:gd name="connsiteX6" fmla="*/ 9895 w 9915"/>
                  <a:gd name="connsiteY6" fmla="*/ 135879 h 141255"/>
                  <a:gd name="connsiteX7" fmla="*/ 6008 w 9915"/>
                  <a:gd name="connsiteY7" fmla="*/ 141155 h 141255"/>
                  <a:gd name="connsiteX8" fmla="*/ 4973 w 9915"/>
                  <a:gd name="connsiteY8" fmla="*/ 141256 h 14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15" h="141255">
                    <a:moveTo>
                      <a:pt x="4973" y="141256"/>
                    </a:moveTo>
                    <a:cubicBezTo>
                      <a:pt x="2701" y="141256"/>
                      <a:pt x="631" y="139665"/>
                      <a:pt x="126" y="137343"/>
                    </a:cubicBezTo>
                    <a:cubicBezTo>
                      <a:pt x="51" y="136990"/>
                      <a:pt x="0" y="136510"/>
                      <a:pt x="0" y="136182"/>
                    </a:cubicBezTo>
                    <a:lnTo>
                      <a:pt x="0" y="4947"/>
                    </a:lnTo>
                    <a:cubicBezTo>
                      <a:pt x="0" y="2221"/>
                      <a:pt x="2221" y="0"/>
                      <a:pt x="4948" y="0"/>
                    </a:cubicBezTo>
                    <a:cubicBezTo>
                      <a:pt x="7674" y="0"/>
                      <a:pt x="9895" y="2221"/>
                      <a:pt x="9895" y="4947"/>
                    </a:cubicBezTo>
                    <a:lnTo>
                      <a:pt x="9895" y="135879"/>
                    </a:lnTo>
                    <a:cubicBezTo>
                      <a:pt x="10122" y="138353"/>
                      <a:pt x="8481" y="140650"/>
                      <a:pt x="6008" y="141155"/>
                    </a:cubicBezTo>
                    <a:cubicBezTo>
                      <a:pt x="5680" y="141230"/>
                      <a:pt x="5326" y="141256"/>
                      <a:pt x="4973" y="141256"/>
                    </a:cubicBezTo>
                    <a:close/>
                  </a:path>
                </a:pathLst>
              </a:custGeom>
              <a:solidFill>
                <a:schemeClr val="tx2"/>
              </a:solidFill>
              <a:ln w="2521" cap="flat">
                <a:noFill/>
                <a:prstDash val="solid"/>
                <a:miter/>
              </a:ln>
            </p:spPr>
            <p:txBody>
              <a:bodyPr rtlCol="0" anchor="ctr"/>
              <a:lstStyle/>
              <a:p>
                <a:endParaRPr lang="en-GB" dirty="0"/>
              </a:p>
            </p:txBody>
          </p:sp>
          <p:sp>
            <p:nvSpPr>
              <p:cNvPr id="113" name="Freihandform: Form 345">
                <a:extLst>
                  <a:ext uri="{FF2B5EF4-FFF2-40B4-BE49-F238E27FC236}">
                    <a16:creationId xmlns:a16="http://schemas.microsoft.com/office/drawing/2014/main" id="{C720AA46-2AFF-4180-B41D-E6FB517084A8}"/>
                  </a:ext>
                </a:extLst>
              </p:cNvPr>
              <p:cNvSpPr/>
              <p:nvPr/>
            </p:nvSpPr>
            <p:spPr>
              <a:xfrm>
                <a:off x="1725035" y="3525555"/>
                <a:ext cx="52756" cy="58511"/>
              </a:xfrm>
              <a:custGeom>
                <a:avLst/>
                <a:gdLst>
                  <a:gd name="connsiteX0" fmla="*/ 26378 w 52756"/>
                  <a:gd name="connsiteY0" fmla="*/ 58512 h 58511"/>
                  <a:gd name="connsiteX1" fmla="*/ 0 w 52756"/>
                  <a:gd name="connsiteY1" fmla="*/ 29256 h 58511"/>
                  <a:gd name="connsiteX2" fmla="*/ 26378 w 52756"/>
                  <a:gd name="connsiteY2" fmla="*/ 0 h 58511"/>
                  <a:gd name="connsiteX3" fmla="*/ 52756 w 52756"/>
                  <a:gd name="connsiteY3" fmla="*/ 29256 h 58511"/>
                  <a:gd name="connsiteX4" fmla="*/ 26378 w 52756"/>
                  <a:gd name="connsiteY4" fmla="*/ 58512 h 58511"/>
                  <a:gd name="connsiteX5" fmla="*/ 26378 w 52756"/>
                  <a:gd name="connsiteY5" fmla="*/ 9895 h 58511"/>
                  <a:gd name="connsiteX6" fmla="*/ 9895 w 52756"/>
                  <a:gd name="connsiteY6" fmla="*/ 29256 h 58511"/>
                  <a:gd name="connsiteX7" fmla="*/ 26378 w 52756"/>
                  <a:gd name="connsiteY7" fmla="*/ 48617 h 58511"/>
                  <a:gd name="connsiteX8" fmla="*/ 42861 w 52756"/>
                  <a:gd name="connsiteY8" fmla="*/ 29256 h 58511"/>
                  <a:gd name="connsiteX9" fmla="*/ 26378 w 52756"/>
                  <a:gd name="connsiteY9" fmla="*/ 9895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56" h="58511">
                    <a:moveTo>
                      <a:pt x="26378" y="58512"/>
                    </a:moveTo>
                    <a:cubicBezTo>
                      <a:pt x="11813" y="58512"/>
                      <a:pt x="0" y="45386"/>
                      <a:pt x="0" y="29256"/>
                    </a:cubicBezTo>
                    <a:cubicBezTo>
                      <a:pt x="0" y="13126"/>
                      <a:pt x="11839" y="0"/>
                      <a:pt x="26378" y="0"/>
                    </a:cubicBezTo>
                    <a:cubicBezTo>
                      <a:pt x="40918" y="0"/>
                      <a:pt x="52756" y="13126"/>
                      <a:pt x="52756" y="29256"/>
                    </a:cubicBezTo>
                    <a:cubicBezTo>
                      <a:pt x="52756" y="45386"/>
                      <a:pt x="40943" y="58512"/>
                      <a:pt x="26378" y="58512"/>
                    </a:cubicBezTo>
                    <a:close/>
                    <a:moveTo>
                      <a:pt x="26378" y="9895"/>
                    </a:moveTo>
                    <a:cubicBezTo>
                      <a:pt x="17291" y="9895"/>
                      <a:pt x="9895" y="18578"/>
                      <a:pt x="9895" y="29256"/>
                    </a:cubicBezTo>
                    <a:cubicBezTo>
                      <a:pt x="9895" y="39933"/>
                      <a:pt x="17291" y="48617"/>
                      <a:pt x="26378" y="48617"/>
                    </a:cubicBezTo>
                    <a:cubicBezTo>
                      <a:pt x="35465" y="48617"/>
                      <a:pt x="42861" y="39933"/>
                      <a:pt x="42861" y="29256"/>
                    </a:cubicBezTo>
                    <a:cubicBezTo>
                      <a:pt x="42861" y="18578"/>
                      <a:pt x="35465" y="9895"/>
                      <a:pt x="26378" y="9895"/>
                    </a:cubicBezTo>
                    <a:close/>
                  </a:path>
                </a:pathLst>
              </a:custGeom>
              <a:solidFill>
                <a:schemeClr val="tx2"/>
              </a:solidFill>
              <a:ln w="2521" cap="flat">
                <a:noFill/>
                <a:prstDash val="solid"/>
                <a:miter/>
              </a:ln>
            </p:spPr>
            <p:txBody>
              <a:bodyPr rtlCol="0" anchor="ctr"/>
              <a:lstStyle/>
              <a:p>
                <a:endParaRPr lang="en-GB" dirty="0"/>
              </a:p>
            </p:txBody>
          </p:sp>
          <p:sp>
            <p:nvSpPr>
              <p:cNvPr id="114" name="Freihandform: Form 349">
                <a:extLst>
                  <a:ext uri="{FF2B5EF4-FFF2-40B4-BE49-F238E27FC236}">
                    <a16:creationId xmlns:a16="http://schemas.microsoft.com/office/drawing/2014/main" id="{FB20C5A8-9315-499D-AAD0-5516942E98D2}"/>
                  </a:ext>
                </a:extLst>
              </p:cNvPr>
              <p:cNvSpPr/>
              <p:nvPr/>
            </p:nvSpPr>
            <p:spPr>
              <a:xfrm>
                <a:off x="2097914" y="3587020"/>
                <a:ext cx="42534" cy="114852"/>
              </a:xfrm>
              <a:custGeom>
                <a:avLst/>
                <a:gdLst>
                  <a:gd name="connsiteX0" fmla="*/ 13151 w 42534"/>
                  <a:gd name="connsiteY0" fmla="*/ 114852 h 114852"/>
                  <a:gd name="connsiteX1" fmla="*/ 0 w 42534"/>
                  <a:gd name="connsiteY1" fmla="*/ 101701 h 114852"/>
                  <a:gd name="connsiteX2" fmla="*/ 0 w 42534"/>
                  <a:gd name="connsiteY2" fmla="*/ 22062 h 114852"/>
                  <a:gd name="connsiteX3" fmla="*/ 20244 w 42534"/>
                  <a:gd name="connsiteY3" fmla="*/ 4013 h 114852"/>
                  <a:gd name="connsiteX4" fmla="*/ 32714 w 42534"/>
                  <a:gd name="connsiteY4" fmla="*/ 4013 h 114852"/>
                  <a:gd name="connsiteX5" fmla="*/ 37661 w 42534"/>
                  <a:gd name="connsiteY5" fmla="*/ 0 h 114852"/>
                  <a:gd name="connsiteX6" fmla="*/ 42533 w 42534"/>
                  <a:gd name="connsiteY6" fmla="*/ 5023 h 114852"/>
                  <a:gd name="connsiteX7" fmla="*/ 33320 w 42534"/>
                  <a:gd name="connsiteY7" fmla="*/ 13883 h 114852"/>
                  <a:gd name="connsiteX8" fmla="*/ 20244 w 42534"/>
                  <a:gd name="connsiteY8" fmla="*/ 13909 h 114852"/>
                  <a:gd name="connsiteX9" fmla="*/ 9920 w 42534"/>
                  <a:gd name="connsiteY9" fmla="*/ 22062 h 114852"/>
                  <a:gd name="connsiteX10" fmla="*/ 9920 w 42534"/>
                  <a:gd name="connsiteY10" fmla="*/ 101701 h 114852"/>
                  <a:gd name="connsiteX11" fmla="*/ 13151 w 42534"/>
                  <a:gd name="connsiteY11" fmla="*/ 104932 h 114852"/>
                  <a:gd name="connsiteX12" fmla="*/ 16382 w 42534"/>
                  <a:gd name="connsiteY12" fmla="*/ 101701 h 114852"/>
                  <a:gd name="connsiteX13" fmla="*/ 16382 w 42534"/>
                  <a:gd name="connsiteY13" fmla="*/ 37485 h 114852"/>
                  <a:gd name="connsiteX14" fmla="*/ 21330 w 42534"/>
                  <a:gd name="connsiteY14" fmla="*/ 32537 h 114852"/>
                  <a:gd name="connsiteX15" fmla="*/ 26277 w 42534"/>
                  <a:gd name="connsiteY15" fmla="*/ 37485 h 114852"/>
                  <a:gd name="connsiteX16" fmla="*/ 26277 w 42534"/>
                  <a:gd name="connsiteY16" fmla="*/ 101701 h 114852"/>
                  <a:gd name="connsiteX17" fmla="*/ 13151 w 42534"/>
                  <a:gd name="connsiteY17" fmla="*/ 114852 h 11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2534" h="114852">
                    <a:moveTo>
                      <a:pt x="13151" y="114852"/>
                    </a:moveTo>
                    <a:cubicBezTo>
                      <a:pt x="5907" y="114852"/>
                      <a:pt x="0" y="108971"/>
                      <a:pt x="0" y="101701"/>
                    </a:cubicBezTo>
                    <a:lnTo>
                      <a:pt x="0" y="22062"/>
                    </a:lnTo>
                    <a:cubicBezTo>
                      <a:pt x="0" y="8810"/>
                      <a:pt x="12091" y="4013"/>
                      <a:pt x="20244" y="4013"/>
                    </a:cubicBezTo>
                    <a:lnTo>
                      <a:pt x="32714" y="4013"/>
                    </a:lnTo>
                    <a:cubicBezTo>
                      <a:pt x="33143" y="1691"/>
                      <a:pt x="35213" y="151"/>
                      <a:pt x="37661" y="0"/>
                    </a:cubicBezTo>
                    <a:cubicBezTo>
                      <a:pt x="40388" y="50"/>
                      <a:pt x="42584" y="2297"/>
                      <a:pt x="42533" y="5023"/>
                    </a:cubicBezTo>
                    <a:cubicBezTo>
                      <a:pt x="42457" y="10475"/>
                      <a:pt x="37687" y="13454"/>
                      <a:pt x="33320" y="13883"/>
                    </a:cubicBezTo>
                    <a:lnTo>
                      <a:pt x="20244" y="13909"/>
                    </a:lnTo>
                    <a:cubicBezTo>
                      <a:pt x="18553" y="13934"/>
                      <a:pt x="9920" y="14413"/>
                      <a:pt x="9920" y="22062"/>
                    </a:cubicBezTo>
                    <a:lnTo>
                      <a:pt x="9920" y="101701"/>
                    </a:lnTo>
                    <a:cubicBezTo>
                      <a:pt x="9920" y="103493"/>
                      <a:pt x="11384" y="104932"/>
                      <a:pt x="13151" y="104932"/>
                    </a:cubicBezTo>
                    <a:cubicBezTo>
                      <a:pt x="14943" y="104932"/>
                      <a:pt x="16382" y="103493"/>
                      <a:pt x="16382" y="101701"/>
                    </a:cubicBezTo>
                    <a:lnTo>
                      <a:pt x="16382" y="37485"/>
                    </a:lnTo>
                    <a:cubicBezTo>
                      <a:pt x="16382" y="34758"/>
                      <a:pt x="18604" y="32537"/>
                      <a:pt x="21330" y="32537"/>
                    </a:cubicBezTo>
                    <a:cubicBezTo>
                      <a:pt x="24056" y="32537"/>
                      <a:pt x="26277" y="34758"/>
                      <a:pt x="26277" y="37485"/>
                    </a:cubicBezTo>
                    <a:lnTo>
                      <a:pt x="26277" y="101701"/>
                    </a:lnTo>
                    <a:cubicBezTo>
                      <a:pt x="26277" y="108945"/>
                      <a:pt x="20396" y="114852"/>
                      <a:pt x="13151" y="114852"/>
                    </a:cubicBezTo>
                    <a:close/>
                  </a:path>
                </a:pathLst>
              </a:custGeom>
              <a:solidFill>
                <a:schemeClr val="tx2"/>
              </a:solidFill>
              <a:ln w="2521" cap="flat">
                <a:noFill/>
                <a:prstDash val="solid"/>
                <a:miter/>
              </a:ln>
            </p:spPr>
            <p:txBody>
              <a:bodyPr rtlCol="0" anchor="ctr"/>
              <a:lstStyle/>
              <a:p>
                <a:endParaRPr lang="en-GB" dirty="0"/>
              </a:p>
            </p:txBody>
          </p:sp>
          <p:sp>
            <p:nvSpPr>
              <p:cNvPr id="115" name="Freihandform: Form 350">
                <a:extLst>
                  <a:ext uri="{FF2B5EF4-FFF2-40B4-BE49-F238E27FC236}">
                    <a16:creationId xmlns:a16="http://schemas.microsoft.com/office/drawing/2014/main" id="{C845A216-ACFC-4E24-ACF8-E7BEFC01424F}"/>
                  </a:ext>
                </a:extLst>
              </p:cNvPr>
              <p:cNvSpPr/>
              <p:nvPr/>
            </p:nvSpPr>
            <p:spPr>
              <a:xfrm>
                <a:off x="2151427" y="3587020"/>
                <a:ext cx="41498" cy="114852"/>
              </a:xfrm>
              <a:custGeom>
                <a:avLst/>
                <a:gdLst>
                  <a:gd name="connsiteX0" fmla="*/ 28372 w 41498"/>
                  <a:gd name="connsiteY0" fmla="*/ 114852 h 114852"/>
                  <a:gd name="connsiteX1" fmla="*/ 15221 w 41498"/>
                  <a:gd name="connsiteY1" fmla="*/ 101701 h 114852"/>
                  <a:gd name="connsiteX2" fmla="*/ 15221 w 41498"/>
                  <a:gd name="connsiteY2" fmla="*/ 37762 h 114852"/>
                  <a:gd name="connsiteX3" fmla="*/ 20169 w 41498"/>
                  <a:gd name="connsiteY3" fmla="*/ 32815 h 114852"/>
                  <a:gd name="connsiteX4" fmla="*/ 25116 w 41498"/>
                  <a:gd name="connsiteY4" fmla="*/ 37762 h 114852"/>
                  <a:gd name="connsiteX5" fmla="*/ 25116 w 41498"/>
                  <a:gd name="connsiteY5" fmla="*/ 101701 h 114852"/>
                  <a:gd name="connsiteX6" fmla="*/ 28347 w 41498"/>
                  <a:gd name="connsiteY6" fmla="*/ 104932 h 114852"/>
                  <a:gd name="connsiteX7" fmla="*/ 31578 w 41498"/>
                  <a:gd name="connsiteY7" fmla="*/ 101701 h 114852"/>
                  <a:gd name="connsiteX8" fmla="*/ 31578 w 41498"/>
                  <a:gd name="connsiteY8" fmla="*/ 22062 h 114852"/>
                  <a:gd name="connsiteX9" fmla="*/ 21254 w 41498"/>
                  <a:gd name="connsiteY9" fmla="*/ 13909 h 114852"/>
                  <a:gd name="connsiteX10" fmla="*/ 8684 w 41498"/>
                  <a:gd name="connsiteY10" fmla="*/ 13909 h 114852"/>
                  <a:gd name="connsiteX11" fmla="*/ 2625 w 41498"/>
                  <a:gd name="connsiteY11" fmla="*/ 11536 h 114852"/>
                  <a:gd name="connsiteX12" fmla="*/ 0 w 41498"/>
                  <a:gd name="connsiteY12" fmla="*/ 4973 h 114852"/>
                  <a:gd name="connsiteX13" fmla="*/ 4922 w 41498"/>
                  <a:gd name="connsiteY13" fmla="*/ 0 h 114852"/>
                  <a:gd name="connsiteX14" fmla="*/ 4948 w 41498"/>
                  <a:gd name="connsiteY14" fmla="*/ 0 h 114852"/>
                  <a:gd name="connsiteX15" fmla="*/ 9819 w 41498"/>
                  <a:gd name="connsiteY15" fmla="*/ 4013 h 114852"/>
                  <a:gd name="connsiteX16" fmla="*/ 21279 w 41498"/>
                  <a:gd name="connsiteY16" fmla="*/ 4013 h 114852"/>
                  <a:gd name="connsiteX17" fmla="*/ 41498 w 41498"/>
                  <a:gd name="connsiteY17" fmla="*/ 22062 h 114852"/>
                  <a:gd name="connsiteX18" fmla="*/ 41498 w 41498"/>
                  <a:gd name="connsiteY18" fmla="*/ 101701 h 114852"/>
                  <a:gd name="connsiteX19" fmla="*/ 28372 w 41498"/>
                  <a:gd name="connsiteY19" fmla="*/ 114852 h 114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1498" h="114852">
                    <a:moveTo>
                      <a:pt x="28372" y="114852"/>
                    </a:moveTo>
                    <a:cubicBezTo>
                      <a:pt x="21128" y="114852"/>
                      <a:pt x="15221" y="108971"/>
                      <a:pt x="15221" y="101701"/>
                    </a:cubicBezTo>
                    <a:lnTo>
                      <a:pt x="15221" y="37762"/>
                    </a:lnTo>
                    <a:cubicBezTo>
                      <a:pt x="15221" y="35036"/>
                      <a:pt x="17443" y="32815"/>
                      <a:pt x="20169" y="32815"/>
                    </a:cubicBezTo>
                    <a:cubicBezTo>
                      <a:pt x="22895" y="32815"/>
                      <a:pt x="25116" y="35036"/>
                      <a:pt x="25116" y="37762"/>
                    </a:cubicBezTo>
                    <a:lnTo>
                      <a:pt x="25116" y="101701"/>
                    </a:lnTo>
                    <a:cubicBezTo>
                      <a:pt x="25116" y="103493"/>
                      <a:pt x="26555" y="104932"/>
                      <a:pt x="28347" y="104932"/>
                    </a:cubicBezTo>
                    <a:cubicBezTo>
                      <a:pt x="30139" y="104932"/>
                      <a:pt x="31578" y="103493"/>
                      <a:pt x="31578" y="101701"/>
                    </a:cubicBezTo>
                    <a:lnTo>
                      <a:pt x="31578" y="22062"/>
                    </a:lnTo>
                    <a:cubicBezTo>
                      <a:pt x="31578" y="14136"/>
                      <a:pt x="22314" y="13909"/>
                      <a:pt x="21254" y="13909"/>
                    </a:cubicBezTo>
                    <a:lnTo>
                      <a:pt x="8684" y="13909"/>
                    </a:lnTo>
                    <a:cubicBezTo>
                      <a:pt x="8280" y="13909"/>
                      <a:pt x="5124" y="13909"/>
                      <a:pt x="2625" y="11536"/>
                    </a:cubicBezTo>
                    <a:cubicBezTo>
                      <a:pt x="1439" y="10400"/>
                      <a:pt x="25" y="8330"/>
                      <a:pt x="0" y="4973"/>
                    </a:cubicBezTo>
                    <a:cubicBezTo>
                      <a:pt x="-25" y="2246"/>
                      <a:pt x="2196" y="0"/>
                      <a:pt x="4922" y="0"/>
                    </a:cubicBezTo>
                    <a:cubicBezTo>
                      <a:pt x="4922" y="0"/>
                      <a:pt x="4948" y="0"/>
                      <a:pt x="4948" y="0"/>
                    </a:cubicBezTo>
                    <a:cubicBezTo>
                      <a:pt x="7371" y="0"/>
                      <a:pt x="9365" y="1716"/>
                      <a:pt x="9819" y="4013"/>
                    </a:cubicBezTo>
                    <a:lnTo>
                      <a:pt x="21279" y="4013"/>
                    </a:lnTo>
                    <a:cubicBezTo>
                      <a:pt x="29407" y="4013"/>
                      <a:pt x="41498" y="8810"/>
                      <a:pt x="41498" y="22062"/>
                    </a:cubicBezTo>
                    <a:lnTo>
                      <a:pt x="41498" y="101701"/>
                    </a:lnTo>
                    <a:cubicBezTo>
                      <a:pt x="41498" y="108945"/>
                      <a:pt x="35617" y="114852"/>
                      <a:pt x="28372" y="114852"/>
                    </a:cubicBezTo>
                    <a:close/>
                  </a:path>
                </a:pathLst>
              </a:custGeom>
              <a:solidFill>
                <a:schemeClr val="tx2"/>
              </a:solidFill>
              <a:ln w="2521" cap="flat">
                <a:noFill/>
                <a:prstDash val="solid"/>
                <a:miter/>
              </a:ln>
            </p:spPr>
            <p:txBody>
              <a:bodyPr rtlCol="0" anchor="ctr"/>
              <a:lstStyle/>
              <a:p>
                <a:endParaRPr lang="en-GB" dirty="0"/>
              </a:p>
            </p:txBody>
          </p:sp>
          <p:sp>
            <p:nvSpPr>
              <p:cNvPr id="116" name="Freihandform: Form 351">
                <a:extLst>
                  <a:ext uri="{FF2B5EF4-FFF2-40B4-BE49-F238E27FC236}">
                    <a16:creationId xmlns:a16="http://schemas.microsoft.com/office/drawing/2014/main" id="{3B43EA97-2F5C-4A7F-AF40-C6E44604CC59}"/>
                  </a:ext>
                </a:extLst>
              </p:cNvPr>
              <p:cNvSpPr/>
              <p:nvPr/>
            </p:nvSpPr>
            <p:spPr>
              <a:xfrm>
                <a:off x="2141154" y="3682789"/>
                <a:ext cx="9894" cy="94734"/>
              </a:xfrm>
              <a:custGeom>
                <a:avLst/>
                <a:gdLst>
                  <a:gd name="connsiteX0" fmla="*/ 4948 w 9894"/>
                  <a:gd name="connsiteY0" fmla="*/ 94734 h 94734"/>
                  <a:gd name="connsiteX1" fmla="*/ 0 w 9894"/>
                  <a:gd name="connsiteY1" fmla="*/ 89787 h 94734"/>
                  <a:gd name="connsiteX2" fmla="*/ 0 w 9894"/>
                  <a:gd name="connsiteY2" fmla="*/ 4947 h 94734"/>
                  <a:gd name="connsiteX3" fmla="*/ 4948 w 9894"/>
                  <a:gd name="connsiteY3" fmla="*/ 0 h 94734"/>
                  <a:gd name="connsiteX4" fmla="*/ 9895 w 9894"/>
                  <a:gd name="connsiteY4" fmla="*/ 4947 h 94734"/>
                  <a:gd name="connsiteX5" fmla="*/ 9895 w 9894"/>
                  <a:gd name="connsiteY5" fmla="*/ 89787 h 94734"/>
                  <a:gd name="connsiteX6" fmla="*/ 4948 w 9894"/>
                  <a:gd name="connsiteY6" fmla="*/ 94734 h 94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94" h="94734">
                    <a:moveTo>
                      <a:pt x="4948" y="94734"/>
                    </a:moveTo>
                    <a:cubicBezTo>
                      <a:pt x="2221" y="94734"/>
                      <a:pt x="0" y="92513"/>
                      <a:pt x="0" y="89787"/>
                    </a:cubicBezTo>
                    <a:lnTo>
                      <a:pt x="0" y="4947"/>
                    </a:lnTo>
                    <a:cubicBezTo>
                      <a:pt x="0" y="2221"/>
                      <a:pt x="2221" y="0"/>
                      <a:pt x="4948" y="0"/>
                    </a:cubicBezTo>
                    <a:cubicBezTo>
                      <a:pt x="7674" y="0"/>
                      <a:pt x="9895" y="2221"/>
                      <a:pt x="9895" y="4947"/>
                    </a:cubicBezTo>
                    <a:lnTo>
                      <a:pt x="9895" y="89787"/>
                    </a:lnTo>
                    <a:cubicBezTo>
                      <a:pt x="9895" y="92513"/>
                      <a:pt x="7674" y="94734"/>
                      <a:pt x="4948" y="94734"/>
                    </a:cubicBezTo>
                    <a:close/>
                  </a:path>
                </a:pathLst>
              </a:custGeom>
              <a:solidFill>
                <a:schemeClr val="tx2"/>
              </a:solidFill>
              <a:ln w="2521" cap="flat">
                <a:noFill/>
                <a:prstDash val="solid"/>
                <a:miter/>
              </a:ln>
            </p:spPr>
            <p:txBody>
              <a:bodyPr rtlCol="0" anchor="ctr"/>
              <a:lstStyle/>
              <a:p>
                <a:endParaRPr lang="en-GB" dirty="0"/>
              </a:p>
            </p:txBody>
          </p:sp>
          <p:sp>
            <p:nvSpPr>
              <p:cNvPr id="117" name="Freihandform: Form 352">
                <a:extLst>
                  <a:ext uri="{FF2B5EF4-FFF2-40B4-BE49-F238E27FC236}">
                    <a16:creationId xmlns:a16="http://schemas.microsoft.com/office/drawing/2014/main" id="{1300FCB3-2CCC-4BD4-BAE5-0247F7551B6B}"/>
                  </a:ext>
                </a:extLst>
              </p:cNvPr>
              <p:cNvSpPr/>
              <p:nvPr/>
            </p:nvSpPr>
            <p:spPr>
              <a:xfrm>
                <a:off x="2114296" y="3636242"/>
                <a:ext cx="9912" cy="141230"/>
              </a:xfrm>
              <a:custGeom>
                <a:avLst/>
                <a:gdLst>
                  <a:gd name="connsiteX0" fmla="*/ 4973 w 9912"/>
                  <a:gd name="connsiteY0" fmla="*/ 141230 h 141230"/>
                  <a:gd name="connsiteX1" fmla="*/ 404 w 9912"/>
                  <a:gd name="connsiteY1" fmla="*/ 138176 h 141230"/>
                  <a:gd name="connsiteX2" fmla="*/ 0 w 9912"/>
                  <a:gd name="connsiteY2" fmla="*/ 136182 h 141230"/>
                  <a:gd name="connsiteX3" fmla="*/ 0 w 9912"/>
                  <a:gd name="connsiteY3" fmla="*/ 4947 h 141230"/>
                  <a:gd name="connsiteX4" fmla="*/ 4948 w 9912"/>
                  <a:gd name="connsiteY4" fmla="*/ 0 h 141230"/>
                  <a:gd name="connsiteX5" fmla="*/ 9895 w 9912"/>
                  <a:gd name="connsiteY5" fmla="*/ 4947 h 141230"/>
                  <a:gd name="connsiteX6" fmla="*/ 9895 w 9912"/>
                  <a:gd name="connsiteY6" fmla="*/ 135854 h 141230"/>
                  <a:gd name="connsiteX7" fmla="*/ 6866 w 9912"/>
                  <a:gd name="connsiteY7" fmla="*/ 140826 h 141230"/>
                  <a:gd name="connsiteX8" fmla="*/ 4973 w 9912"/>
                  <a:gd name="connsiteY8" fmla="*/ 141230 h 14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12" h="141230">
                    <a:moveTo>
                      <a:pt x="4973" y="141230"/>
                    </a:moveTo>
                    <a:cubicBezTo>
                      <a:pt x="3029" y="141230"/>
                      <a:pt x="1186" y="140094"/>
                      <a:pt x="404" y="138176"/>
                    </a:cubicBezTo>
                    <a:cubicBezTo>
                      <a:pt x="151" y="137570"/>
                      <a:pt x="0" y="136838"/>
                      <a:pt x="0" y="136182"/>
                    </a:cubicBezTo>
                    <a:lnTo>
                      <a:pt x="0" y="4947"/>
                    </a:lnTo>
                    <a:cubicBezTo>
                      <a:pt x="0" y="2221"/>
                      <a:pt x="2221" y="0"/>
                      <a:pt x="4948" y="0"/>
                    </a:cubicBezTo>
                    <a:cubicBezTo>
                      <a:pt x="7674" y="0"/>
                      <a:pt x="9895" y="2221"/>
                      <a:pt x="9895" y="4947"/>
                    </a:cubicBezTo>
                    <a:lnTo>
                      <a:pt x="9895" y="135854"/>
                    </a:lnTo>
                    <a:cubicBezTo>
                      <a:pt x="10072" y="137924"/>
                      <a:pt x="8911" y="139993"/>
                      <a:pt x="6866" y="140826"/>
                    </a:cubicBezTo>
                    <a:cubicBezTo>
                      <a:pt x="6235" y="141104"/>
                      <a:pt x="5604" y="141230"/>
                      <a:pt x="4973" y="141230"/>
                    </a:cubicBezTo>
                    <a:close/>
                  </a:path>
                </a:pathLst>
              </a:custGeom>
              <a:solidFill>
                <a:schemeClr val="tx2"/>
              </a:solidFill>
              <a:ln w="2521" cap="flat">
                <a:noFill/>
                <a:prstDash val="solid"/>
                <a:miter/>
              </a:ln>
            </p:spPr>
            <p:txBody>
              <a:bodyPr rtlCol="0" anchor="ctr"/>
              <a:lstStyle/>
              <a:p>
                <a:endParaRPr lang="en-GB" dirty="0"/>
              </a:p>
            </p:txBody>
          </p:sp>
          <p:sp>
            <p:nvSpPr>
              <p:cNvPr id="118" name="Freihandform: Form 353">
                <a:extLst>
                  <a:ext uri="{FF2B5EF4-FFF2-40B4-BE49-F238E27FC236}">
                    <a16:creationId xmlns:a16="http://schemas.microsoft.com/office/drawing/2014/main" id="{F67AF884-B054-43B8-8451-AB9391EDCEED}"/>
                  </a:ext>
                </a:extLst>
              </p:cNvPr>
              <p:cNvSpPr/>
              <p:nvPr/>
            </p:nvSpPr>
            <p:spPr>
              <a:xfrm>
                <a:off x="2166678" y="3636268"/>
                <a:ext cx="9915" cy="141255"/>
              </a:xfrm>
              <a:custGeom>
                <a:avLst/>
                <a:gdLst>
                  <a:gd name="connsiteX0" fmla="*/ 4943 w 9915"/>
                  <a:gd name="connsiteY0" fmla="*/ 141256 h 141255"/>
                  <a:gd name="connsiteX1" fmla="*/ 3908 w 9915"/>
                  <a:gd name="connsiteY1" fmla="*/ 141155 h 141255"/>
                  <a:gd name="connsiteX2" fmla="*/ 21 w 9915"/>
                  <a:gd name="connsiteY2" fmla="*/ 135879 h 141255"/>
                  <a:gd name="connsiteX3" fmla="*/ 21 w 9915"/>
                  <a:gd name="connsiteY3" fmla="*/ 4947 h 141255"/>
                  <a:gd name="connsiteX4" fmla="*/ 4968 w 9915"/>
                  <a:gd name="connsiteY4" fmla="*/ 0 h 141255"/>
                  <a:gd name="connsiteX5" fmla="*/ 9916 w 9915"/>
                  <a:gd name="connsiteY5" fmla="*/ 4947 h 141255"/>
                  <a:gd name="connsiteX6" fmla="*/ 9916 w 9915"/>
                  <a:gd name="connsiteY6" fmla="*/ 136182 h 141255"/>
                  <a:gd name="connsiteX7" fmla="*/ 9790 w 9915"/>
                  <a:gd name="connsiteY7" fmla="*/ 137343 h 141255"/>
                  <a:gd name="connsiteX8" fmla="*/ 4943 w 9915"/>
                  <a:gd name="connsiteY8" fmla="*/ 141256 h 14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15" h="141255">
                    <a:moveTo>
                      <a:pt x="4943" y="141256"/>
                    </a:moveTo>
                    <a:cubicBezTo>
                      <a:pt x="4590" y="141256"/>
                      <a:pt x="4262" y="141230"/>
                      <a:pt x="3908" y="141155"/>
                    </a:cubicBezTo>
                    <a:cubicBezTo>
                      <a:pt x="1435" y="140624"/>
                      <a:pt x="-206" y="138327"/>
                      <a:pt x="21" y="135879"/>
                    </a:cubicBezTo>
                    <a:lnTo>
                      <a:pt x="21" y="4947"/>
                    </a:lnTo>
                    <a:cubicBezTo>
                      <a:pt x="21" y="2221"/>
                      <a:pt x="2242" y="0"/>
                      <a:pt x="4968" y="0"/>
                    </a:cubicBezTo>
                    <a:cubicBezTo>
                      <a:pt x="7695" y="0"/>
                      <a:pt x="9916" y="2221"/>
                      <a:pt x="9916" y="4947"/>
                    </a:cubicBezTo>
                    <a:lnTo>
                      <a:pt x="9916" y="136182"/>
                    </a:lnTo>
                    <a:cubicBezTo>
                      <a:pt x="9916" y="136535"/>
                      <a:pt x="9865" y="137015"/>
                      <a:pt x="9790" y="137343"/>
                    </a:cubicBezTo>
                    <a:cubicBezTo>
                      <a:pt x="9285" y="139665"/>
                      <a:pt x="7240" y="141256"/>
                      <a:pt x="4943" y="141256"/>
                    </a:cubicBezTo>
                    <a:close/>
                  </a:path>
                </a:pathLst>
              </a:custGeom>
              <a:solidFill>
                <a:schemeClr val="tx2"/>
              </a:solidFill>
              <a:ln w="2521" cap="flat">
                <a:noFill/>
                <a:prstDash val="solid"/>
                <a:miter/>
              </a:ln>
            </p:spPr>
            <p:txBody>
              <a:bodyPr rtlCol="0" anchor="ctr"/>
              <a:lstStyle/>
              <a:p>
                <a:endParaRPr lang="en-GB" dirty="0"/>
              </a:p>
            </p:txBody>
          </p:sp>
          <p:sp>
            <p:nvSpPr>
              <p:cNvPr id="119" name="Freihandform: Form 354">
                <a:extLst>
                  <a:ext uri="{FF2B5EF4-FFF2-40B4-BE49-F238E27FC236}">
                    <a16:creationId xmlns:a16="http://schemas.microsoft.com/office/drawing/2014/main" id="{3F28D72D-DA0C-498F-8433-B18364FF1721}"/>
                  </a:ext>
                </a:extLst>
              </p:cNvPr>
              <p:cNvSpPr/>
              <p:nvPr/>
            </p:nvSpPr>
            <p:spPr>
              <a:xfrm>
                <a:off x="2119041" y="3525555"/>
                <a:ext cx="52756" cy="58511"/>
              </a:xfrm>
              <a:custGeom>
                <a:avLst/>
                <a:gdLst>
                  <a:gd name="connsiteX0" fmla="*/ 26378 w 52756"/>
                  <a:gd name="connsiteY0" fmla="*/ 58512 h 58511"/>
                  <a:gd name="connsiteX1" fmla="*/ 0 w 52756"/>
                  <a:gd name="connsiteY1" fmla="*/ 29256 h 58511"/>
                  <a:gd name="connsiteX2" fmla="*/ 26378 w 52756"/>
                  <a:gd name="connsiteY2" fmla="*/ 0 h 58511"/>
                  <a:gd name="connsiteX3" fmla="*/ 52756 w 52756"/>
                  <a:gd name="connsiteY3" fmla="*/ 29256 h 58511"/>
                  <a:gd name="connsiteX4" fmla="*/ 26378 w 52756"/>
                  <a:gd name="connsiteY4" fmla="*/ 58512 h 58511"/>
                  <a:gd name="connsiteX5" fmla="*/ 26378 w 52756"/>
                  <a:gd name="connsiteY5" fmla="*/ 9895 h 58511"/>
                  <a:gd name="connsiteX6" fmla="*/ 9895 w 52756"/>
                  <a:gd name="connsiteY6" fmla="*/ 29256 h 58511"/>
                  <a:gd name="connsiteX7" fmla="*/ 26378 w 52756"/>
                  <a:gd name="connsiteY7" fmla="*/ 48617 h 58511"/>
                  <a:gd name="connsiteX8" fmla="*/ 42861 w 52756"/>
                  <a:gd name="connsiteY8" fmla="*/ 29256 h 58511"/>
                  <a:gd name="connsiteX9" fmla="*/ 26378 w 52756"/>
                  <a:gd name="connsiteY9" fmla="*/ 9895 h 58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756" h="58511">
                    <a:moveTo>
                      <a:pt x="26378" y="58512"/>
                    </a:moveTo>
                    <a:cubicBezTo>
                      <a:pt x="11839" y="58512"/>
                      <a:pt x="0" y="45386"/>
                      <a:pt x="0" y="29256"/>
                    </a:cubicBezTo>
                    <a:cubicBezTo>
                      <a:pt x="0" y="13126"/>
                      <a:pt x="11839" y="0"/>
                      <a:pt x="26378" y="0"/>
                    </a:cubicBezTo>
                    <a:cubicBezTo>
                      <a:pt x="40943" y="0"/>
                      <a:pt x="52756" y="13126"/>
                      <a:pt x="52756" y="29256"/>
                    </a:cubicBezTo>
                    <a:cubicBezTo>
                      <a:pt x="52782" y="45386"/>
                      <a:pt x="40943" y="58512"/>
                      <a:pt x="26378" y="58512"/>
                    </a:cubicBezTo>
                    <a:close/>
                    <a:moveTo>
                      <a:pt x="26378" y="9895"/>
                    </a:moveTo>
                    <a:cubicBezTo>
                      <a:pt x="17291" y="9895"/>
                      <a:pt x="9895" y="18578"/>
                      <a:pt x="9895" y="29256"/>
                    </a:cubicBezTo>
                    <a:cubicBezTo>
                      <a:pt x="9895" y="39933"/>
                      <a:pt x="17291" y="48617"/>
                      <a:pt x="26378" y="48617"/>
                    </a:cubicBezTo>
                    <a:cubicBezTo>
                      <a:pt x="35465" y="48617"/>
                      <a:pt x="42861" y="39933"/>
                      <a:pt x="42861" y="29256"/>
                    </a:cubicBezTo>
                    <a:cubicBezTo>
                      <a:pt x="42861" y="18578"/>
                      <a:pt x="35465" y="9895"/>
                      <a:pt x="26378" y="9895"/>
                    </a:cubicBezTo>
                    <a:close/>
                  </a:path>
                </a:pathLst>
              </a:custGeom>
              <a:solidFill>
                <a:schemeClr val="tx2"/>
              </a:solidFill>
              <a:ln w="2521" cap="flat">
                <a:noFill/>
                <a:prstDash val="solid"/>
                <a:miter/>
              </a:ln>
            </p:spPr>
            <p:txBody>
              <a:bodyPr rtlCol="0" anchor="ctr"/>
              <a:lstStyle/>
              <a:p>
                <a:endParaRPr lang="en-GB" dirty="0"/>
              </a:p>
            </p:txBody>
          </p:sp>
          <p:sp>
            <p:nvSpPr>
              <p:cNvPr id="120" name="Freihandform: Form 357">
                <a:extLst>
                  <a:ext uri="{FF2B5EF4-FFF2-40B4-BE49-F238E27FC236}">
                    <a16:creationId xmlns:a16="http://schemas.microsoft.com/office/drawing/2014/main" id="{729B567B-4DB2-45CB-A7F6-62471B509165}"/>
                  </a:ext>
                </a:extLst>
              </p:cNvPr>
              <p:cNvSpPr/>
              <p:nvPr/>
            </p:nvSpPr>
            <p:spPr>
              <a:xfrm>
                <a:off x="1814267" y="3417670"/>
                <a:ext cx="265270" cy="265245"/>
              </a:xfrm>
              <a:custGeom>
                <a:avLst/>
                <a:gdLst>
                  <a:gd name="connsiteX0" fmla="*/ 132623 w 265270"/>
                  <a:gd name="connsiteY0" fmla="*/ 265246 h 265245"/>
                  <a:gd name="connsiteX1" fmla="*/ 0 w 265270"/>
                  <a:gd name="connsiteY1" fmla="*/ 132623 h 265245"/>
                  <a:gd name="connsiteX2" fmla="*/ 132623 w 265270"/>
                  <a:gd name="connsiteY2" fmla="*/ 0 h 265245"/>
                  <a:gd name="connsiteX3" fmla="*/ 265271 w 265270"/>
                  <a:gd name="connsiteY3" fmla="*/ 132623 h 265245"/>
                  <a:gd name="connsiteX4" fmla="*/ 132623 w 265270"/>
                  <a:gd name="connsiteY4" fmla="*/ 265246 h 265245"/>
                  <a:gd name="connsiteX5" fmla="*/ 132623 w 265270"/>
                  <a:gd name="connsiteY5" fmla="*/ 9870 h 265245"/>
                  <a:gd name="connsiteX6" fmla="*/ 9895 w 265270"/>
                  <a:gd name="connsiteY6" fmla="*/ 132598 h 265245"/>
                  <a:gd name="connsiteX7" fmla="*/ 132623 w 265270"/>
                  <a:gd name="connsiteY7" fmla="*/ 255325 h 265245"/>
                  <a:gd name="connsiteX8" fmla="*/ 255376 w 265270"/>
                  <a:gd name="connsiteY8" fmla="*/ 132598 h 265245"/>
                  <a:gd name="connsiteX9" fmla="*/ 132623 w 265270"/>
                  <a:gd name="connsiteY9" fmla="*/ 9870 h 26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270" h="265245">
                    <a:moveTo>
                      <a:pt x="132623" y="265246"/>
                    </a:moveTo>
                    <a:cubicBezTo>
                      <a:pt x="59496" y="265246"/>
                      <a:pt x="0" y="205750"/>
                      <a:pt x="0" y="132623"/>
                    </a:cubicBezTo>
                    <a:cubicBezTo>
                      <a:pt x="0" y="59496"/>
                      <a:pt x="59496" y="0"/>
                      <a:pt x="132623" y="0"/>
                    </a:cubicBezTo>
                    <a:cubicBezTo>
                      <a:pt x="205750" y="0"/>
                      <a:pt x="265271" y="59496"/>
                      <a:pt x="265271" y="132623"/>
                    </a:cubicBezTo>
                    <a:cubicBezTo>
                      <a:pt x="265246" y="205750"/>
                      <a:pt x="205750" y="265246"/>
                      <a:pt x="132623" y="265246"/>
                    </a:cubicBezTo>
                    <a:close/>
                    <a:moveTo>
                      <a:pt x="132623" y="9870"/>
                    </a:moveTo>
                    <a:cubicBezTo>
                      <a:pt x="64948" y="9870"/>
                      <a:pt x="9895" y="64923"/>
                      <a:pt x="9895" y="132598"/>
                    </a:cubicBezTo>
                    <a:cubicBezTo>
                      <a:pt x="9895" y="200272"/>
                      <a:pt x="64948" y="255325"/>
                      <a:pt x="132623" y="255325"/>
                    </a:cubicBezTo>
                    <a:cubicBezTo>
                      <a:pt x="200297" y="255325"/>
                      <a:pt x="255376" y="200272"/>
                      <a:pt x="255376" y="132598"/>
                    </a:cubicBezTo>
                    <a:cubicBezTo>
                      <a:pt x="255351" y="64948"/>
                      <a:pt x="200297" y="9870"/>
                      <a:pt x="132623" y="9870"/>
                    </a:cubicBezTo>
                    <a:close/>
                  </a:path>
                </a:pathLst>
              </a:custGeom>
              <a:solidFill>
                <a:schemeClr val="tx2"/>
              </a:solidFill>
              <a:ln w="2521" cap="flat">
                <a:noFill/>
                <a:prstDash val="solid"/>
                <a:miter/>
              </a:ln>
            </p:spPr>
            <p:txBody>
              <a:bodyPr rtlCol="0" anchor="ctr"/>
              <a:lstStyle/>
              <a:p>
                <a:endParaRPr lang="en-GB" dirty="0"/>
              </a:p>
            </p:txBody>
          </p:sp>
          <p:sp>
            <p:nvSpPr>
              <p:cNvPr id="121" name="Freihandform: Form 358">
                <a:extLst>
                  <a:ext uri="{FF2B5EF4-FFF2-40B4-BE49-F238E27FC236}">
                    <a16:creationId xmlns:a16="http://schemas.microsoft.com/office/drawing/2014/main" id="{7735DFB3-442E-4197-A218-D8C85B7663B4}"/>
                  </a:ext>
                </a:extLst>
              </p:cNvPr>
              <p:cNvSpPr/>
              <p:nvPr/>
            </p:nvSpPr>
            <p:spPr>
              <a:xfrm>
                <a:off x="1816892" y="3545345"/>
                <a:ext cx="262620" cy="9894"/>
              </a:xfrm>
              <a:custGeom>
                <a:avLst/>
                <a:gdLst>
                  <a:gd name="connsiteX0" fmla="*/ 257673 w 262620"/>
                  <a:gd name="connsiteY0" fmla="*/ 9895 h 9894"/>
                  <a:gd name="connsiteX1" fmla="*/ 4947 w 262620"/>
                  <a:gd name="connsiteY1" fmla="*/ 9895 h 9894"/>
                  <a:gd name="connsiteX2" fmla="*/ 0 w 262620"/>
                  <a:gd name="connsiteY2" fmla="*/ 4948 h 9894"/>
                  <a:gd name="connsiteX3" fmla="*/ 4947 w 262620"/>
                  <a:gd name="connsiteY3" fmla="*/ 0 h 9894"/>
                  <a:gd name="connsiteX4" fmla="*/ 257673 w 262620"/>
                  <a:gd name="connsiteY4" fmla="*/ 0 h 9894"/>
                  <a:gd name="connsiteX5" fmla="*/ 262620 w 262620"/>
                  <a:gd name="connsiteY5" fmla="*/ 4948 h 9894"/>
                  <a:gd name="connsiteX6" fmla="*/ 257673 w 262620"/>
                  <a:gd name="connsiteY6" fmla="*/ 9895 h 9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620" h="9894">
                    <a:moveTo>
                      <a:pt x="257673" y="9895"/>
                    </a:moveTo>
                    <a:lnTo>
                      <a:pt x="4947" y="9895"/>
                    </a:lnTo>
                    <a:cubicBezTo>
                      <a:pt x="2221" y="9895"/>
                      <a:pt x="0" y="7674"/>
                      <a:pt x="0" y="4948"/>
                    </a:cubicBezTo>
                    <a:cubicBezTo>
                      <a:pt x="0" y="2221"/>
                      <a:pt x="2221" y="0"/>
                      <a:pt x="4947" y="0"/>
                    </a:cubicBezTo>
                    <a:lnTo>
                      <a:pt x="257673" y="0"/>
                    </a:lnTo>
                    <a:cubicBezTo>
                      <a:pt x="260399" y="0"/>
                      <a:pt x="262620" y="2221"/>
                      <a:pt x="262620" y="4948"/>
                    </a:cubicBezTo>
                    <a:cubicBezTo>
                      <a:pt x="262620" y="7674"/>
                      <a:pt x="260399" y="9895"/>
                      <a:pt x="257673" y="9895"/>
                    </a:cubicBezTo>
                    <a:close/>
                  </a:path>
                </a:pathLst>
              </a:custGeom>
              <a:solidFill>
                <a:schemeClr val="tx2"/>
              </a:solidFill>
              <a:ln w="2521" cap="flat">
                <a:noFill/>
                <a:prstDash val="solid"/>
                <a:miter/>
              </a:ln>
            </p:spPr>
            <p:txBody>
              <a:bodyPr rtlCol="0" anchor="ctr"/>
              <a:lstStyle/>
              <a:p>
                <a:endParaRPr lang="en-GB" dirty="0"/>
              </a:p>
            </p:txBody>
          </p:sp>
          <p:sp>
            <p:nvSpPr>
              <p:cNvPr id="122" name="Freihandform: Form 359">
                <a:extLst>
                  <a:ext uri="{FF2B5EF4-FFF2-40B4-BE49-F238E27FC236}">
                    <a16:creationId xmlns:a16="http://schemas.microsoft.com/office/drawing/2014/main" id="{F1CB0DF7-1846-4F88-A20F-5A0C90689436}"/>
                  </a:ext>
                </a:extLst>
              </p:cNvPr>
              <p:cNvSpPr/>
              <p:nvPr/>
            </p:nvSpPr>
            <p:spPr>
              <a:xfrm>
                <a:off x="1943280" y="3418982"/>
                <a:ext cx="9894" cy="262620"/>
              </a:xfrm>
              <a:custGeom>
                <a:avLst/>
                <a:gdLst>
                  <a:gd name="connsiteX0" fmla="*/ 4947 w 9894"/>
                  <a:gd name="connsiteY0" fmla="*/ 262620 h 262620"/>
                  <a:gd name="connsiteX1" fmla="*/ 0 w 9894"/>
                  <a:gd name="connsiteY1" fmla="*/ 257673 h 262620"/>
                  <a:gd name="connsiteX2" fmla="*/ 0 w 9894"/>
                  <a:gd name="connsiteY2" fmla="*/ 4947 h 262620"/>
                  <a:gd name="connsiteX3" fmla="*/ 4947 w 9894"/>
                  <a:gd name="connsiteY3" fmla="*/ 0 h 262620"/>
                  <a:gd name="connsiteX4" fmla="*/ 9895 w 9894"/>
                  <a:gd name="connsiteY4" fmla="*/ 4947 h 262620"/>
                  <a:gd name="connsiteX5" fmla="*/ 9895 w 9894"/>
                  <a:gd name="connsiteY5" fmla="*/ 257673 h 262620"/>
                  <a:gd name="connsiteX6" fmla="*/ 4947 w 9894"/>
                  <a:gd name="connsiteY6" fmla="*/ 262620 h 262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94" h="262620">
                    <a:moveTo>
                      <a:pt x="4947" y="262620"/>
                    </a:moveTo>
                    <a:cubicBezTo>
                      <a:pt x="2221" y="262620"/>
                      <a:pt x="0" y="260399"/>
                      <a:pt x="0" y="257673"/>
                    </a:cubicBezTo>
                    <a:lnTo>
                      <a:pt x="0" y="4947"/>
                    </a:lnTo>
                    <a:cubicBezTo>
                      <a:pt x="0" y="2221"/>
                      <a:pt x="2221" y="0"/>
                      <a:pt x="4947" y="0"/>
                    </a:cubicBezTo>
                    <a:cubicBezTo>
                      <a:pt x="7674" y="0"/>
                      <a:pt x="9895" y="2221"/>
                      <a:pt x="9895" y="4947"/>
                    </a:cubicBezTo>
                    <a:lnTo>
                      <a:pt x="9895" y="257673"/>
                    </a:lnTo>
                    <a:cubicBezTo>
                      <a:pt x="9895" y="260399"/>
                      <a:pt x="7674" y="262620"/>
                      <a:pt x="4947" y="262620"/>
                    </a:cubicBezTo>
                    <a:close/>
                  </a:path>
                </a:pathLst>
              </a:custGeom>
              <a:solidFill>
                <a:schemeClr val="tx2"/>
              </a:solidFill>
              <a:ln w="2521" cap="flat">
                <a:noFill/>
                <a:prstDash val="solid"/>
                <a:miter/>
              </a:ln>
            </p:spPr>
            <p:txBody>
              <a:bodyPr rtlCol="0" anchor="ctr"/>
              <a:lstStyle/>
              <a:p>
                <a:endParaRPr lang="en-GB" dirty="0"/>
              </a:p>
            </p:txBody>
          </p:sp>
          <p:sp>
            <p:nvSpPr>
              <p:cNvPr id="123" name="Freihandform: Form 360">
                <a:extLst>
                  <a:ext uri="{FF2B5EF4-FFF2-40B4-BE49-F238E27FC236}">
                    <a16:creationId xmlns:a16="http://schemas.microsoft.com/office/drawing/2014/main" id="{E1B19F36-532D-45E8-8A64-C784E3B930B7}"/>
                  </a:ext>
                </a:extLst>
              </p:cNvPr>
              <p:cNvSpPr/>
              <p:nvPr/>
            </p:nvSpPr>
            <p:spPr>
              <a:xfrm>
                <a:off x="1843195" y="3466350"/>
                <a:ext cx="204896" cy="35452"/>
              </a:xfrm>
              <a:custGeom>
                <a:avLst/>
                <a:gdLst>
                  <a:gd name="connsiteX0" fmla="*/ 105335 w 204896"/>
                  <a:gd name="connsiteY0" fmla="*/ 35452 h 35452"/>
                  <a:gd name="connsiteX1" fmla="*/ 2372 w 204896"/>
                  <a:gd name="connsiteY1" fmla="*/ 9175 h 35452"/>
                  <a:gd name="connsiteX2" fmla="*/ 731 w 204896"/>
                  <a:gd name="connsiteY2" fmla="*/ 2385 h 35452"/>
                  <a:gd name="connsiteX3" fmla="*/ 7521 w 204896"/>
                  <a:gd name="connsiteY3" fmla="*/ 719 h 35452"/>
                  <a:gd name="connsiteX4" fmla="*/ 197469 w 204896"/>
                  <a:gd name="connsiteY4" fmla="*/ 668 h 35452"/>
                  <a:gd name="connsiteX5" fmla="*/ 204234 w 204896"/>
                  <a:gd name="connsiteY5" fmla="*/ 2486 h 35452"/>
                  <a:gd name="connsiteX6" fmla="*/ 202442 w 204896"/>
                  <a:gd name="connsiteY6" fmla="*/ 9251 h 35452"/>
                  <a:gd name="connsiteX7" fmla="*/ 105335 w 204896"/>
                  <a:gd name="connsiteY7" fmla="*/ 35452 h 35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896" h="35452">
                    <a:moveTo>
                      <a:pt x="105335" y="35452"/>
                    </a:moveTo>
                    <a:cubicBezTo>
                      <a:pt x="46470" y="35452"/>
                      <a:pt x="3028" y="9579"/>
                      <a:pt x="2372" y="9175"/>
                    </a:cubicBezTo>
                    <a:cubicBezTo>
                      <a:pt x="49" y="7761"/>
                      <a:pt x="-708" y="4707"/>
                      <a:pt x="731" y="2385"/>
                    </a:cubicBezTo>
                    <a:cubicBezTo>
                      <a:pt x="2144" y="37"/>
                      <a:pt x="5199" y="-695"/>
                      <a:pt x="7521" y="719"/>
                    </a:cubicBezTo>
                    <a:cubicBezTo>
                      <a:pt x="8455" y="1274"/>
                      <a:pt x="101246" y="56403"/>
                      <a:pt x="197469" y="668"/>
                    </a:cubicBezTo>
                    <a:cubicBezTo>
                      <a:pt x="199842" y="-695"/>
                      <a:pt x="202871" y="113"/>
                      <a:pt x="204234" y="2486"/>
                    </a:cubicBezTo>
                    <a:cubicBezTo>
                      <a:pt x="205597" y="4858"/>
                      <a:pt x="204789" y="7888"/>
                      <a:pt x="202442" y="9251"/>
                    </a:cubicBezTo>
                    <a:cubicBezTo>
                      <a:pt x="168516" y="28889"/>
                      <a:pt x="134969" y="35452"/>
                      <a:pt x="105335" y="35452"/>
                    </a:cubicBezTo>
                    <a:close/>
                  </a:path>
                </a:pathLst>
              </a:custGeom>
              <a:solidFill>
                <a:schemeClr val="tx2"/>
              </a:solidFill>
              <a:ln w="2521" cap="flat">
                <a:noFill/>
                <a:prstDash val="solid"/>
                <a:miter/>
              </a:ln>
            </p:spPr>
            <p:txBody>
              <a:bodyPr rtlCol="0" anchor="ctr"/>
              <a:lstStyle/>
              <a:p>
                <a:endParaRPr lang="en-GB" dirty="0"/>
              </a:p>
            </p:txBody>
          </p:sp>
          <p:sp>
            <p:nvSpPr>
              <p:cNvPr id="124" name="Freihandform: Form 361">
                <a:extLst>
                  <a:ext uri="{FF2B5EF4-FFF2-40B4-BE49-F238E27FC236}">
                    <a16:creationId xmlns:a16="http://schemas.microsoft.com/office/drawing/2014/main" id="{0464FBFC-D1A3-4049-B1E9-685934EA5B60}"/>
                  </a:ext>
                </a:extLst>
              </p:cNvPr>
              <p:cNvSpPr/>
              <p:nvPr/>
            </p:nvSpPr>
            <p:spPr>
              <a:xfrm>
                <a:off x="1880334" y="3423846"/>
                <a:ext cx="40706" cy="252884"/>
              </a:xfrm>
              <a:custGeom>
                <a:avLst/>
                <a:gdLst>
                  <a:gd name="connsiteX0" fmla="*/ 35710 w 40706"/>
                  <a:gd name="connsiteY0" fmla="*/ 252885 h 252884"/>
                  <a:gd name="connsiteX1" fmla="*/ 31469 w 40706"/>
                  <a:gd name="connsiteY1" fmla="*/ 250462 h 252884"/>
                  <a:gd name="connsiteX2" fmla="*/ 31393 w 40706"/>
                  <a:gd name="connsiteY2" fmla="*/ 2558 h 252884"/>
                  <a:gd name="connsiteX3" fmla="*/ 38133 w 40706"/>
                  <a:gd name="connsiteY3" fmla="*/ 614 h 252884"/>
                  <a:gd name="connsiteX4" fmla="*/ 40077 w 40706"/>
                  <a:gd name="connsiteY4" fmla="*/ 7328 h 252884"/>
                  <a:gd name="connsiteX5" fmla="*/ 40001 w 40706"/>
                  <a:gd name="connsiteY5" fmla="*/ 245363 h 252884"/>
                  <a:gd name="connsiteX6" fmla="*/ 38284 w 40706"/>
                  <a:gd name="connsiteY6" fmla="*/ 252153 h 252884"/>
                  <a:gd name="connsiteX7" fmla="*/ 35710 w 40706"/>
                  <a:gd name="connsiteY7" fmla="*/ 252885 h 252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06" h="252884">
                    <a:moveTo>
                      <a:pt x="35710" y="252885"/>
                    </a:moveTo>
                    <a:cubicBezTo>
                      <a:pt x="34019" y="252885"/>
                      <a:pt x="32378" y="252027"/>
                      <a:pt x="31469" y="250462"/>
                    </a:cubicBezTo>
                    <a:cubicBezTo>
                      <a:pt x="30762" y="249275"/>
                      <a:pt x="-38932" y="129930"/>
                      <a:pt x="31393" y="2558"/>
                    </a:cubicBezTo>
                    <a:cubicBezTo>
                      <a:pt x="32706" y="160"/>
                      <a:pt x="35735" y="-699"/>
                      <a:pt x="38133" y="614"/>
                    </a:cubicBezTo>
                    <a:cubicBezTo>
                      <a:pt x="40531" y="1927"/>
                      <a:pt x="41389" y="4956"/>
                      <a:pt x="40077" y="7328"/>
                    </a:cubicBezTo>
                    <a:cubicBezTo>
                      <a:pt x="-27522" y="129778"/>
                      <a:pt x="39294" y="244227"/>
                      <a:pt x="40001" y="245363"/>
                    </a:cubicBezTo>
                    <a:cubicBezTo>
                      <a:pt x="41415" y="247710"/>
                      <a:pt x="40632" y="250739"/>
                      <a:pt x="38284" y="252153"/>
                    </a:cubicBezTo>
                    <a:cubicBezTo>
                      <a:pt x="37452" y="252658"/>
                      <a:pt x="36568" y="252885"/>
                      <a:pt x="35710" y="252885"/>
                    </a:cubicBezTo>
                    <a:close/>
                  </a:path>
                </a:pathLst>
              </a:custGeom>
              <a:solidFill>
                <a:schemeClr val="tx2"/>
              </a:solidFill>
              <a:ln w="2521" cap="flat">
                <a:noFill/>
                <a:prstDash val="solid"/>
                <a:miter/>
              </a:ln>
            </p:spPr>
            <p:txBody>
              <a:bodyPr rtlCol="0" anchor="ctr"/>
              <a:lstStyle/>
              <a:p>
                <a:endParaRPr lang="en-GB" dirty="0"/>
              </a:p>
            </p:txBody>
          </p:sp>
          <p:sp>
            <p:nvSpPr>
              <p:cNvPr id="125" name="Freihandform: Form 362">
                <a:extLst>
                  <a:ext uri="{FF2B5EF4-FFF2-40B4-BE49-F238E27FC236}">
                    <a16:creationId xmlns:a16="http://schemas.microsoft.com/office/drawing/2014/main" id="{1FF2AEE0-DBFD-475A-AC53-6833C20394AD}"/>
                  </a:ext>
                </a:extLst>
              </p:cNvPr>
              <p:cNvSpPr/>
              <p:nvPr/>
            </p:nvSpPr>
            <p:spPr>
              <a:xfrm>
                <a:off x="1975451" y="3423871"/>
                <a:ext cx="40694" cy="252859"/>
              </a:xfrm>
              <a:custGeom>
                <a:avLst/>
                <a:gdLst>
                  <a:gd name="connsiteX0" fmla="*/ 4935 w 40694"/>
                  <a:gd name="connsiteY0" fmla="*/ 252860 h 252859"/>
                  <a:gd name="connsiteX1" fmla="*/ 2410 w 40694"/>
                  <a:gd name="connsiteY1" fmla="*/ 252153 h 252859"/>
                  <a:gd name="connsiteX2" fmla="*/ 694 w 40694"/>
                  <a:gd name="connsiteY2" fmla="*/ 245363 h 252859"/>
                  <a:gd name="connsiteX3" fmla="*/ 618 w 40694"/>
                  <a:gd name="connsiteY3" fmla="*/ 7328 h 252859"/>
                  <a:gd name="connsiteX4" fmla="*/ 2562 w 40694"/>
                  <a:gd name="connsiteY4" fmla="*/ 614 h 252859"/>
                  <a:gd name="connsiteX5" fmla="*/ 9301 w 40694"/>
                  <a:gd name="connsiteY5" fmla="*/ 2558 h 252859"/>
                  <a:gd name="connsiteX6" fmla="*/ 9226 w 40694"/>
                  <a:gd name="connsiteY6" fmla="*/ 250462 h 252859"/>
                  <a:gd name="connsiteX7" fmla="*/ 4935 w 40694"/>
                  <a:gd name="connsiteY7" fmla="*/ 252860 h 25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94" h="252859">
                    <a:moveTo>
                      <a:pt x="4935" y="252860"/>
                    </a:moveTo>
                    <a:cubicBezTo>
                      <a:pt x="4076" y="252860"/>
                      <a:pt x="3193" y="252633"/>
                      <a:pt x="2410" y="252153"/>
                    </a:cubicBezTo>
                    <a:cubicBezTo>
                      <a:pt x="63" y="250765"/>
                      <a:pt x="-694" y="247710"/>
                      <a:pt x="694" y="245363"/>
                    </a:cubicBezTo>
                    <a:cubicBezTo>
                      <a:pt x="1375" y="244227"/>
                      <a:pt x="68116" y="129602"/>
                      <a:pt x="618" y="7328"/>
                    </a:cubicBezTo>
                    <a:cubicBezTo>
                      <a:pt x="-694" y="4930"/>
                      <a:pt x="164" y="1927"/>
                      <a:pt x="2562" y="614"/>
                    </a:cubicBezTo>
                    <a:cubicBezTo>
                      <a:pt x="4960" y="-699"/>
                      <a:pt x="7964" y="160"/>
                      <a:pt x="9301" y="2558"/>
                    </a:cubicBezTo>
                    <a:cubicBezTo>
                      <a:pt x="79626" y="129930"/>
                      <a:pt x="9933" y="249275"/>
                      <a:pt x="9226" y="250462"/>
                    </a:cubicBezTo>
                    <a:cubicBezTo>
                      <a:pt x="8267" y="252002"/>
                      <a:pt x="6626" y="252860"/>
                      <a:pt x="4935" y="252860"/>
                    </a:cubicBezTo>
                    <a:close/>
                  </a:path>
                </a:pathLst>
              </a:custGeom>
              <a:solidFill>
                <a:schemeClr val="tx2"/>
              </a:solidFill>
              <a:ln w="2521" cap="flat">
                <a:noFill/>
                <a:prstDash val="solid"/>
                <a:miter/>
              </a:ln>
            </p:spPr>
            <p:txBody>
              <a:bodyPr rtlCol="0" anchor="ctr"/>
              <a:lstStyle/>
              <a:p>
                <a:endParaRPr lang="en-GB" dirty="0"/>
              </a:p>
            </p:txBody>
          </p:sp>
          <p:sp>
            <p:nvSpPr>
              <p:cNvPr id="126" name="Freihandform: Form 363">
                <a:extLst>
                  <a:ext uri="{FF2B5EF4-FFF2-40B4-BE49-F238E27FC236}">
                    <a16:creationId xmlns:a16="http://schemas.microsoft.com/office/drawing/2014/main" id="{54A54721-8410-44C8-BA08-8426C78C0D4E}"/>
                  </a:ext>
                </a:extLst>
              </p:cNvPr>
              <p:cNvSpPr/>
              <p:nvPr/>
            </p:nvSpPr>
            <p:spPr>
              <a:xfrm>
                <a:off x="1843213" y="3598773"/>
                <a:ext cx="204896" cy="35449"/>
              </a:xfrm>
              <a:custGeom>
                <a:avLst/>
                <a:gdLst>
                  <a:gd name="connsiteX0" fmla="*/ 4954 w 204896"/>
                  <a:gd name="connsiteY0" fmla="*/ 35450 h 35449"/>
                  <a:gd name="connsiteX1" fmla="*/ 663 w 204896"/>
                  <a:gd name="connsiteY1" fmla="*/ 32976 h 35449"/>
                  <a:gd name="connsiteX2" fmla="*/ 2455 w 204896"/>
                  <a:gd name="connsiteY2" fmla="*/ 26211 h 35449"/>
                  <a:gd name="connsiteX3" fmla="*/ 202525 w 204896"/>
                  <a:gd name="connsiteY3" fmla="*/ 26262 h 35449"/>
                  <a:gd name="connsiteX4" fmla="*/ 204166 w 204896"/>
                  <a:gd name="connsiteY4" fmla="*/ 33052 h 35449"/>
                  <a:gd name="connsiteX5" fmla="*/ 197376 w 204896"/>
                  <a:gd name="connsiteY5" fmla="*/ 34718 h 35449"/>
                  <a:gd name="connsiteX6" fmla="*/ 7428 w 204896"/>
                  <a:gd name="connsiteY6" fmla="*/ 34768 h 35449"/>
                  <a:gd name="connsiteX7" fmla="*/ 4954 w 204896"/>
                  <a:gd name="connsiteY7" fmla="*/ 35450 h 3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4896" h="35449">
                    <a:moveTo>
                      <a:pt x="4954" y="35450"/>
                    </a:moveTo>
                    <a:cubicBezTo>
                      <a:pt x="3238" y="35450"/>
                      <a:pt x="1572" y="34566"/>
                      <a:pt x="663" y="32976"/>
                    </a:cubicBezTo>
                    <a:cubicBezTo>
                      <a:pt x="-700" y="30603"/>
                      <a:pt x="108" y="27574"/>
                      <a:pt x="2455" y="26211"/>
                    </a:cubicBezTo>
                    <a:cubicBezTo>
                      <a:pt x="103878" y="-32502"/>
                      <a:pt x="201541" y="25681"/>
                      <a:pt x="202525" y="26262"/>
                    </a:cubicBezTo>
                    <a:cubicBezTo>
                      <a:pt x="204847" y="27675"/>
                      <a:pt x="205605" y="30730"/>
                      <a:pt x="204166" y="33052"/>
                    </a:cubicBezTo>
                    <a:cubicBezTo>
                      <a:pt x="202752" y="35399"/>
                      <a:pt x="199698" y="36131"/>
                      <a:pt x="197376" y="34718"/>
                    </a:cubicBezTo>
                    <a:cubicBezTo>
                      <a:pt x="196442" y="34163"/>
                      <a:pt x="103626" y="-20941"/>
                      <a:pt x="7428" y="34768"/>
                    </a:cubicBezTo>
                    <a:cubicBezTo>
                      <a:pt x="6645" y="35223"/>
                      <a:pt x="5812" y="35450"/>
                      <a:pt x="4954" y="35450"/>
                    </a:cubicBezTo>
                    <a:close/>
                  </a:path>
                </a:pathLst>
              </a:custGeom>
              <a:solidFill>
                <a:schemeClr val="tx2"/>
              </a:solidFill>
              <a:ln w="2521" cap="flat">
                <a:noFill/>
                <a:prstDash val="solid"/>
                <a:miter/>
              </a:ln>
            </p:spPr>
            <p:txBody>
              <a:bodyPr rtlCol="0" anchor="ctr"/>
              <a:lstStyle/>
              <a:p>
                <a:endParaRPr lang="en-GB" dirty="0"/>
              </a:p>
            </p:txBody>
          </p:sp>
        </p:grpSp>
      </p:grpSp>
      <p:grpSp>
        <p:nvGrpSpPr>
          <p:cNvPr id="180" name="Group 179">
            <a:extLst>
              <a:ext uri="{FF2B5EF4-FFF2-40B4-BE49-F238E27FC236}">
                <a16:creationId xmlns:a16="http://schemas.microsoft.com/office/drawing/2014/main" id="{447E56E6-55D2-4B88-8A8A-EABCAFA5401A}"/>
              </a:ext>
            </a:extLst>
          </p:cNvPr>
          <p:cNvGrpSpPr>
            <a:grpSpLocks noChangeAspect="1"/>
          </p:cNvGrpSpPr>
          <p:nvPr/>
        </p:nvGrpSpPr>
        <p:grpSpPr>
          <a:xfrm>
            <a:off x="3810593" y="2391526"/>
            <a:ext cx="293518" cy="431996"/>
            <a:chOff x="7854867" y="4078446"/>
            <a:chExt cx="372246" cy="547867"/>
          </a:xfrm>
        </p:grpSpPr>
        <p:grpSp>
          <p:nvGrpSpPr>
            <p:cNvPr id="181" name="Group 180">
              <a:extLst>
                <a:ext uri="{FF2B5EF4-FFF2-40B4-BE49-F238E27FC236}">
                  <a16:creationId xmlns:a16="http://schemas.microsoft.com/office/drawing/2014/main" id="{11DD551A-F70B-4A75-881E-8ACCFA8DC3E1}"/>
                </a:ext>
              </a:extLst>
            </p:cNvPr>
            <p:cNvGrpSpPr/>
            <p:nvPr/>
          </p:nvGrpSpPr>
          <p:grpSpPr>
            <a:xfrm>
              <a:off x="7948643" y="4438032"/>
              <a:ext cx="188256" cy="188281"/>
              <a:chOff x="7948643" y="4438037"/>
              <a:chExt cx="188256" cy="188281"/>
            </a:xfrm>
          </p:grpSpPr>
          <p:grpSp>
            <p:nvGrpSpPr>
              <p:cNvPr id="188" name="Grafik 26">
                <a:extLst>
                  <a:ext uri="{FF2B5EF4-FFF2-40B4-BE49-F238E27FC236}">
                    <a16:creationId xmlns:a16="http://schemas.microsoft.com/office/drawing/2014/main" id="{69BDC1E1-DE6C-49C5-B6C1-38657C3DA565}"/>
                  </a:ext>
                </a:extLst>
              </p:cNvPr>
              <p:cNvGrpSpPr/>
              <p:nvPr/>
            </p:nvGrpSpPr>
            <p:grpSpPr>
              <a:xfrm>
                <a:off x="7948643" y="4438037"/>
                <a:ext cx="188256" cy="188281"/>
                <a:chOff x="7948643" y="4438037"/>
                <a:chExt cx="188256" cy="188281"/>
              </a:xfrm>
              <a:solidFill>
                <a:schemeClr val="accent1"/>
              </a:solidFill>
            </p:grpSpPr>
            <p:sp>
              <p:nvSpPr>
                <p:cNvPr id="191" name="Freihandform: Form 815">
                  <a:extLst>
                    <a:ext uri="{FF2B5EF4-FFF2-40B4-BE49-F238E27FC236}">
                      <a16:creationId xmlns:a16="http://schemas.microsoft.com/office/drawing/2014/main" id="{1C6BD8F4-1364-4168-84F8-18D57BDB2FB3}"/>
                    </a:ext>
                  </a:extLst>
                </p:cNvPr>
                <p:cNvSpPr/>
                <p:nvPr/>
              </p:nvSpPr>
              <p:spPr>
                <a:xfrm>
                  <a:off x="7948643" y="4438037"/>
                  <a:ext cx="188256" cy="188281"/>
                </a:xfrm>
                <a:custGeom>
                  <a:avLst/>
                  <a:gdLst>
                    <a:gd name="connsiteX0" fmla="*/ 94128 w 188256"/>
                    <a:gd name="connsiteY0" fmla="*/ 188282 h 188281"/>
                    <a:gd name="connsiteX1" fmla="*/ 0 w 188256"/>
                    <a:gd name="connsiteY1" fmla="*/ 94128 h 188281"/>
                    <a:gd name="connsiteX2" fmla="*/ 94128 w 188256"/>
                    <a:gd name="connsiteY2" fmla="*/ 0 h 188281"/>
                    <a:gd name="connsiteX3" fmla="*/ 188256 w 188256"/>
                    <a:gd name="connsiteY3" fmla="*/ 94128 h 188281"/>
                    <a:gd name="connsiteX4" fmla="*/ 94128 w 188256"/>
                    <a:gd name="connsiteY4" fmla="*/ 188282 h 188281"/>
                    <a:gd name="connsiteX5" fmla="*/ 94128 w 188256"/>
                    <a:gd name="connsiteY5" fmla="*/ 9871 h 188281"/>
                    <a:gd name="connsiteX6" fmla="*/ 9846 w 188256"/>
                    <a:gd name="connsiteY6" fmla="*/ 94153 h 188281"/>
                    <a:gd name="connsiteX7" fmla="*/ 94128 w 188256"/>
                    <a:gd name="connsiteY7" fmla="*/ 178461 h 188281"/>
                    <a:gd name="connsiteX8" fmla="*/ 178411 w 188256"/>
                    <a:gd name="connsiteY8" fmla="*/ 94153 h 188281"/>
                    <a:gd name="connsiteX9" fmla="*/ 94128 w 188256"/>
                    <a:gd name="connsiteY9" fmla="*/ 9871 h 188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256" h="188281">
                      <a:moveTo>
                        <a:pt x="94128" y="188282"/>
                      </a:moveTo>
                      <a:cubicBezTo>
                        <a:pt x="42229" y="188282"/>
                        <a:pt x="0" y="146052"/>
                        <a:pt x="0" y="94128"/>
                      </a:cubicBezTo>
                      <a:cubicBezTo>
                        <a:pt x="0" y="42229"/>
                        <a:pt x="42229" y="0"/>
                        <a:pt x="94128" y="0"/>
                      </a:cubicBezTo>
                      <a:cubicBezTo>
                        <a:pt x="146027" y="0"/>
                        <a:pt x="188256" y="42229"/>
                        <a:pt x="188256" y="94128"/>
                      </a:cubicBezTo>
                      <a:cubicBezTo>
                        <a:pt x="188256" y="146052"/>
                        <a:pt x="146027" y="188282"/>
                        <a:pt x="94128" y="188282"/>
                      </a:cubicBezTo>
                      <a:close/>
                      <a:moveTo>
                        <a:pt x="94128" y="9871"/>
                      </a:moveTo>
                      <a:cubicBezTo>
                        <a:pt x="47643" y="9871"/>
                        <a:pt x="9846" y="47668"/>
                        <a:pt x="9846" y="94153"/>
                      </a:cubicBezTo>
                      <a:cubicBezTo>
                        <a:pt x="9846" y="140638"/>
                        <a:pt x="47643" y="178461"/>
                        <a:pt x="94128" y="178461"/>
                      </a:cubicBezTo>
                      <a:cubicBezTo>
                        <a:pt x="140588" y="178461"/>
                        <a:pt x="178411" y="140638"/>
                        <a:pt x="178411" y="94153"/>
                      </a:cubicBezTo>
                      <a:cubicBezTo>
                        <a:pt x="178385" y="47668"/>
                        <a:pt x="140588" y="9871"/>
                        <a:pt x="94128" y="9871"/>
                      </a:cubicBezTo>
                      <a:close/>
                    </a:path>
                  </a:pathLst>
                </a:custGeom>
                <a:solidFill>
                  <a:schemeClr val="accent1"/>
                </a:solidFill>
                <a:ln w="2517" cap="flat">
                  <a:noFill/>
                  <a:prstDash val="solid"/>
                  <a:miter/>
                </a:ln>
              </p:spPr>
              <p:txBody>
                <a:bodyPr rtlCol="0" anchor="ctr"/>
                <a:lstStyle/>
                <a:p>
                  <a:endParaRPr lang="en-GB" dirty="0"/>
                </a:p>
              </p:txBody>
            </p:sp>
            <p:sp>
              <p:nvSpPr>
                <p:cNvPr id="192" name="Freihandform: Form 816">
                  <a:extLst>
                    <a:ext uri="{FF2B5EF4-FFF2-40B4-BE49-F238E27FC236}">
                      <a16:creationId xmlns:a16="http://schemas.microsoft.com/office/drawing/2014/main" id="{3CE9414F-80F9-4B42-B34B-6843652F3703}"/>
                    </a:ext>
                  </a:extLst>
                </p:cNvPr>
                <p:cNvSpPr/>
                <p:nvPr/>
              </p:nvSpPr>
              <p:spPr>
                <a:xfrm>
                  <a:off x="7971356" y="4460800"/>
                  <a:ext cx="142804" cy="142778"/>
                </a:xfrm>
                <a:custGeom>
                  <a:avLst/>
                  <a:gdLst>
                    <a:gd name="connsiteX0" fmla="*/ 71414 w 142804"/>
                    <a:gd name="connsiteY0" fmla="*/ 142779 h 142778"/>
                    <a:gd name="connsiteX1" fmla="*/ 0 w 142804"/>
                    <a:gd name="connsiteY1" fmla="*/ 71390 h 142778"/>
                    <a:gd name="connsiteX2" fmla="*/ 71414 w 142804"/>
                    <a:gd name="connsiteY2" fmla="*/ 0 h 142778"/>
                    <a:gd name="connsiteX3" fmla="*/ 142804 w 142804"/>
                    <a:gd name="connsiteY3" fmla="*/ 71390 h 142778"/>
                    <a:gd name="connsiteX4" fmla="*/ 71414 w 142804"/>
                    <a:gd name="connsiteY4" fmla="*/ 142779 h 142778"/>
                    <a:gd name="connsiteX5" fmla="*/ 71414 w 142804"/>
                    <a:gd name="connsiteY5" fmla="*/ 9821 h 142778"/>
                    <a:gd name="connsiteX6" fmla="*/ 9846 w 142804"/>
                    <a:gd name="connsiteY6" fmla="*/ 71364 h 142778"/>
                    <a:gd name="connsiteX7" fmla="*/ 71414 w 142804"/>
                    <a:gd name="connsiteY7" fmla="*/ 132908 h 142778"/>
                    <a:gd name="connsiteX8" fmla="*/ 132958 w 142804"/>
                    <a:gd name="connsiteY8" fmla="*/ 71364 h 142778"/>
                    <a:gd name="connsiteX9" fmla="*/ 71414 w 142804"/>
                    <a:gd name="connsiteY9" fmla="*/ 9821 h 14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804" h="142778">
                      <a:moveTo>
                        <a:pt x="71414" y="142779"/>
                      </a:moveTo>
                      <a:cubicBezTo>
                        <a:pt x="32031" y="142779"/>
                        <a:pt x="0" y="110748"/>
                        <a:pt x="0" y="71390"/>
                      </a:cubicBezTo>
                      <a:cubicBezTo>
                        <a:pt x="0" y="32031"/>
                        <a:pt x="32031" y="0"/>
                        <a:pt x="71414" y="0"/>
                      </a:cubicBezTo>
                      <a:cubicBezTo>
                        <a:pt x="110773" y="0"/>
                        <a:pt x="142804" y="32031"/>
                        <a:pt x="142804" y="71390"/>
                      </a:cubicBezTo>
                      <a:cubicBezTo>
                        <a:pt x="142804" y="110748"/>
                        <a:pt x="110773" y="142779"/>
                        <a:pt x="71414" y="142779"/>
                      </a:cubicBezTo>
                      <a:close/>
                      <a:moveTo>
                        <a:pt x="71414" y="9821"/>
                      </a:moveTo>
                      <a:cubicBezTo>
                        <a:pt x="37470" y="9821"/>
                        <a:pt x="9846" y="37420"/>
                        <a:pt x="9846" y="71364"/>
                      </a:cubicBezTo>
                      <a:cubicBezTo>
                        <a:pt x="9846" y="105309"/>
                        <a:pt x="37470" y="132908"/>
                        <a:pt x="71414" y="132908"/>
                      </a:cubicBezTo>
                      <a:cubicBezTo>
                        <a:pt x="105359" y="132908"/>
                        <a:pt x="132958" y="105309"/>
                        <a:pt x="132958" y="71364"/>
                      </a:cubicBezTo>
                      <a:cubicBezTo>
                        <a:pt x="132958" y="37445"/>
                        <a:pt x="105334" y="9821"/>
                        <a:pt x="71414" y="9821"/>
                      </a:cubicBezTo>
                      <a:close/>
                    </a:path>
                  </a:pathLst>
                </a:custGeom>
                <a:solidFill>
                  <a:schemeClr val="accent1"/>
                </a:solidFill>
                <a:ln w="2517" cap="flat">
                  <a:noFill/>
                  <a:prstDash val="solid"/>
                  <a:miter/>
                </a:ln>
              </p:spPr>
              <p:txBody>
                <a:bodyPr rtlCol="0" anchor="ctr"/>
                <a:lstStyle/>
                <a:p>
                  <a:endParaRPr lang="en-GB" dirty="0"/>
                </a:p>
              </p:txBody>
            </p:sp>
          </p:grpSp>
          <p:sp>
            <p:nvSpPr>
              <p:cNvPr id="189" name="Freihandform: Form 817">
                <a:extLst>
                  <a:ext uri="{FF2B5EF4-FFF2-40B4-BE49-F238E27FC236}">
                    <a16:creationId xmlns:a16="http://schemas.microsoft.com/office/drawing/2014/main" id="{364FB48D-097F-4DA3-BCC9-24D0D0639F18}"/>
                  </a:ext>
                </a:extLst>
              </p:cNvPr>
              <p:cNvSpPr/>
              <p:nvPr/>
            </p:nvSpPr>
            <p:spPr>
              <a:xfrm>
                <a:off x="8009457" y="4487845"/>
                <a:ext cx="66654" cy="88638"/>
              </a:xfrm>
              <a:custGeom>
                <a:avLst/>
                <a:gdLst>
                  <a:gd name="connsiteX0" fmla="*/ 56481 w 66654"/>
                  <a:gd name="connsiteY0" fmla="*/ 45805 h 88638"/>
                  <a:gd name="connsiteX1" fmla="*/ 34346 w 66654"/>
                  <a:gd name="connsiteY1" fmla="*/ 37873 h 88638"/>
                  <a:gd name="connsiteX2" fmla="*/ 17475 w 66654"/>
                  <a:gd name="connsiteY2" fmla="*/ 31981 h 88638"/>
                  <a:gd name="connsiteX3" fmla="*/ 12313 w 66654"/>
                  <a:gd name="connsiteY3" fmla="*/ 23822 h 88638"/>
                  <a:gd name="connsiteX4" fmla="*/ 17853 w 66654"/>
                  <a:gd name="connsiteY4" fmla="*/ 14328 h 88638"/>
                  <a:gd name="connsiteX5" fmla="*/ 33440 w 66654"/>
                  <a:gd name="connsiteY5" fmla="*/ 9796 h 88638"/>
                  <a:gd name="connsiteX6" fmla="*/ 54819 w 66654"/>
                  <a:gd name="connsiteY6" fmla="*/ 18131 h 88638"/>
                  <a:gd name="connsiteX7" fmla="*/ 57513 w 66654"/>
                  <a:gd name="connsiteY7" fmla="*/ 18936 h 88638"/>
                  <a:gd name="connsiteX8" fmla="*/ 61643 w 66654"/>
                  <a:gd name="connsiteY8" fmla="*/ 16771 h 88638"/>
                  <a:gd name="connsiteX9" fmla="*/ 60233 w 66654"/>
                  <a:gd name="connsiteY9" fmla="*/ 9947 h 88638"/>
                  <a:gd name="connsiteX10" fmla="*/ 33465 w 66654"/>
                  <a:gd name="connsiteY10" fmla="*/ 0 h 88638"/>
                  <a:gd name="connsiteX11" fmla="*/ 12137 w 66654"/>
                  <a:gd name="connsiteY11" fmla="*/ 6472 h 88638"/>
                  <a:gd name="connsiteX12" fmla="*/ 2567 w 66654"/>
                  <a:gd name="connsiteY12" fmla="*/ 23822 h 88638"/>
                  <a:gd name="connsiteX13" fmla="*/ 12086 w 66654"/>
                  <a:gd name="connsiteY13" fmla="*/ 40139 h 88638"/>
                  <a:gd name="connsiteX14" fmla="*/ 32684 w 66654"/>
                  <a:gd name="connsiteY14" fmla="*/ 47467 h 88638"/>
                  <a:gd name="connsiteX15" fmla="*/ 50966 w 66654"/>
                  <a:gd name="connsiteY15" fmla="*/ 53838 h 88638"/>
                  <a:gd name="connsiteX16" fmla="*/ 56708 w 66654"/>
                  <a:gd name="connsiteY16" fmla="*/ 63306 h 88638"/>
                  <a:gd name="connsiteX17" fmla="*/ 50538 w 66654"/>
                  <a:gd name="connsiteY17" fmla="*/ 73756 h 88638"/>
                  <a:gd name="connsiteX18" fmla="*/ 33390 w 66654"/>
                  <a:gd name="connsiteY18" fmla="*/ 78742 h 88638"/>
                  <a:gd name="connsiteX19" fmla="*/ 8032 w 66654"/>
                  <a:gd name="connsiteY19" fmla="*/ 68670 h 88638"/>
                  <a:gd name="connsiteX20" fmla="*/ 4884 w 66654"/>
                  <a:gd name="connsiteY20" fmla="*/ 67512 h 88638"/>
                  <a:gd name="connsiteX21" fmla="*/ 1031 w 66654"/>
                  <a:gd name="connsiteY21" fmla="*/ 69325 h 88638"/>
                  <a:gd name="connsiteX22" fmla="*/ 1762 w 66654"/>
                  <a:gd name="connsiteY22" fmla="*/ 76199 h 88638"/>
                  <a:gd name="connsiteX23" fmla="*/ 33692 w 66654"/>
                  <a:gd name="connsiteY23" fmla="*/ 88639 h 88638"/>
                  <a:gd name="connsiteX24" fmla="*/ 33717 w 66654"/>
                  <a:gd name="connsiteY24" fmla="*/ 88639 h 88638"/>
                  <a:gd name="connsiteX25" fmla="*/ 56355 w 66654"/>
                  <a:gd name="connsiteY25" fmla="*/ 81689 h 88638"/>
                  <a:gd name="connsiteX26" fmla="*/ 66654 w 66654"/>
                  <a:gd name="connsiteY26" fmla="*/ 63281 h 88638"/>
                  <a:gd name="connsiteX27" fmla="*/ 56481 w 66654"/>
                  <a:gd name="connsiteY27" fmla="*/ 45805 h 88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6654" h="88638">
                    <a:moveTo>
                      <a:pt x="56481" y="45805"/>
                    </a:moveTo>
                    <a:cubicBezTo>
                      <a:pt x="51143" y="42204"/>
                      <a:pt x="43890" y="39611"/>
                      <a:pt x="34346" y="37873"/>
                    </a:cubicBezTo>
                    <a:cubicBezTo>
                      <a:pt x="26742" y="36438"/>
                      <a:pt x="21076" y="34448"/>
                      <a:pt x="17475" y="31981"/>
                    </a:cubicBezTo>
                    <a:cubicBezTo>
                      <a:pt x="13950" y="29563"/>
                      <a:pt x="12413" y="27120"/>
                      <a:pt x="12313" y="23822"/>
                    </a:cubicBezTo>
                    <a:cubicBezTo>
                      <a:pt x="12313" y="20372"/>
                      <a:pt x="14277" y="16997"/>
                      <a:pt x="17853" y="14328"/>
                    </a:cubicBezTo>
                    <a:cubicBezTo>
                      <a:pt x="21907" y="11458"/>
                      <a:pt x="27573" y="9796"/>
                      <a:pt x="33440" y="9796"/>
                    </a:cubicBezTo>
                    <a:cubicBezTo>
                      <a:pt x="42102" y="9796"/>
                      <a:pt x="49178" y="14429"/>
                      <a:pt x="54819" y="18131"/>
                    </a:cubicBezTo>
                    <a:cubicBezTo>
                      <a:pt x="55574" y="18660"/>
                      <a:pt x="56506" y="18936"/>
                      <a:pt x="57513" y="18936"/>
                    </a:cubicBezTo>
                    <a:cubicBezTo>
                      <a:pt x="59226" y="18936"/>
                      <a:pt x="60837" y="18080"/>
                      <a:pt x="61643" y="16771"/>
                    </a:cubicBezTo>
                    <a:cubicBezTo>
                      <a:pt x="63129" y="14454"/>
                      <a:pt x="62525" y="11533"/>
                      <a:pt x="60233" y="9947"/>
                    </a:cubicBezTo>
                    <a:cubicBezTo>
                      <a:pt x="53459" y="5515"/>
                      <a:pt x="45049" y="0"/>
                      <a:pt x="33465" y="0"/>
                    </a:cubicBezTo>
                    <a:cubicBezTo>
                      <a:pt x="25457" y="0"/>
                      <a:pt x="17878" y="2292"/>
                      <a:pt x="12137" y="6472"/>
                    </a:cubicBezTo>
                    <a:cubicBezTo>
                      <a:pt x="5967" y="10979"/>
                      <a:pt x="2567" y="17123"/>
                      <a:pt x="2567" y="23822"/>
                    </a:cubicBezTo>
                    <a:cubicBezTo>
                      <a:pt x="2567" y="30344"/>
                      <a:pt x="5942" y="36161"/>
                      <a:pt x="12086" y="40139"/>
                    </a:cubicBezTo>
                    <a:cubicBezTo>
                      <a:pt x="17022" y="43463"/>
                      <a:pt x="23770" y="45856"/>
                      <a:pt x="32684" y="47467"/>
                    </a:cubicBezTo>
                    <a:cubicBezTo>
                      <a:pt x="40717" y="49003"/>
                      <a:pt x="46887" y="51144"/>
                      <a:pt x="50966" y="53838"/>
                    </a:cubicBezTo>
                    <a:cubicBezTo>
                      <a:pt x="54945" y="56558"/>
                      <a:pt x="56708" y="59479"/>
                      <a:pt x="56708" y="63306"/>
                    </a:cubicBezTo>
                    <a:cubicBezTo>
                      <a:pt x="56708" y="67184"/>
                      <a:pt x="54517" y="70911"/>
                      <a:pt x="50538" y="73756"/>
                    </a:cubicBezTo>
                    <a:cubicBezTo>
                      <a:pt x="46157" y="76980"/>
                      <a:pt x="40063" y="78742"/>
                      <a:pt x="33390" y="78742"/>
                    </a:cubicBezTo>
                    <a:cubicBezTo>
                      <a:pt x="21403" y="78742"/>
                      <a:pt x="10928" y="71012"/>
                      <a:pt x="8032" y="68670"/>
                    </a:cubicBezTo>
                    <a:cubicBezTo>
                      <a:pt x="7176" y="67915"/>
                      <a:pt x="6068" y="67512"/>
                      <a:pt x="4884" y="67512"/>
                    </a:cubicBezTo>
                    <a:cubicBezTo>
                      <a:pt x="3348" y="67512"/>
                      <a:pt x="1963" y="68166"/>
                      <a:pt x="1031" y="69325"/>
                    </a:cubicBezTo>
                    <a:cubicBezTo>
                      <a:pt x="-580" y="71390"/>
                      <a:pt x="-278" y="74411"/>
                      <a:pt x="1762" y="76199"/>
                    </a:cubicBezTo>
                    <a:cubicBezTo>
                      <a:pt x="7553" y="80782"/>
                      <a:pt x="19389" y="88513"/>
                      <a:pt x="33692" y="88639"/>
                    </a:cubicBezTo>
                    <a:lnTo>
                      <a:pt x="33717" y="88639"/>
                    </a:lnTo>
                    <a:cubicBezTo>
                      <a:pt x="42127" y="88639"/>
                      <a:pt x="50160" y="86171"/>
                      <a:pt x="56355" y="81689"/>
                    </a:cubicBezTo>
                    <a:cubicBezTo>
                      <a:pt x="62902" y="76955"/>
                      <a:pt x="66654" y="70256"/>
                      <a:pt x="66654" y="63281"/>
                    </a:cubicBezTo>
                    <a:cubicBezTo>
                      <a:pt x="66604" y="56281"/>
                      <a:pt x="63003" y="50061"/>
                      <a:pt x="56481" y="45805"/>
                    </a:cubicBezTo>
                    <a:close/>
                  </a:path>
                </a:pathLst>
              </a:custGeom>
              <a:solidFill>
                <a:schemeClr val="accent1"/>
              </a:solidFill>
              <a:ln w="2517" cap="flat">
                <a:noFill/>
                <a:prstDash val="solid"/>
                <a:miter/>
              </a:ln>
            </p:spPr>
            <p:txBody>
              <a:bodyPr rtlCol="0" anchor="ctr"/>
              <a:lstStyle/>
              <a:p>
                <a:endParaRPr lang="en-GB" dirty="0"/>
              </a:p>
            </p:txBody>
          </p:sp>
          <p:sp>
            <p:nvSpPr>
              <p:cNvPr id="190" name="Freihandform: Form 818">
                <a:extLst>
                  <a:ext uri="{FF2B5EF4-FFF2-40B4-BE49-F238E27FC236}">
                    <a16:creationId xmlns:a16="http://schemas.microsoft.com/office/drawing/2014/main" id="{631F863C-C403-40BD-B480-BC9489BFA327}"/>
                  </a:ext>
                </a:extLst>
              </p:cNvPr>
              <p:cNvSpPr/>
              <p:nvPr/>
            </p:nvSpPr>
            <p:spPr>
              <a:xfrm>
                <a:off x="8039371" y="4478830"/>
                <a:ext cx="9871" cy="108380"/>
              </a:xfrm>
              <a:custGeom>
                <a:avLst/>
                <a:gdLst>
                  <a:gd name="connsiteX0" fmla="*/ 4936 w 9871"/>
                  <a:gd name="connsiteY0" fmla="*/ 108381 h 108380"/>
                  <a:gd name="connsiteX1" fmla="*/ 0 w 9871"/>
                  <a:gd name="connsiteY1" fmla="*/ 103445 h 108380"/>
                  <a:gd name="connsiteX2" fmla="*/ 0 w 9871"/>
                  <a:gd name="connsiteY2" fmla="*/ 4935 h 108380"/>
                  <a:gd name="connsiteX3" fmla="*/ 4936 w 9871"/>
                  <a:gd name="connsiteY3" fmla="*/ 0 h 108380"/>
                  <a:gd name="connsiteX4" fmla="*/ 9871 w 9871"/>
                  <a:gd name="connsiteY4" fmla="*/ 4935 h 108380"/>
                  <a:gd name="connsiteX5" fmla="*/ 9871 w 9871"/>
                  <a:gd name="connsiteY5" fmla="*/ 103445 h 108380"/>
                  <a:gd name="connsiteX6" fmla="*/ 4936 w 9871"/>
                  <a:gd name="connsiteY6" fmla="*/ 108381 h 108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71" h="108380">
                    <a:moveTo>
                      <a:pt x="4936" y="108381"/>
                    </a:moveTo>
                    <a:cubicBezTo>
                      <a:pt x="2216" y="108381"/>
                      <a:pt x="0" y="106165"/>
                      <a:pt x="0" y="103445"/>
                    </a:cubicBezTo>
                    <a:lnTo>
                      <a:pt x="0" y="4935"/>
                    </a:lnTo>
                    <a:cubicBezTo>
                      <a:pt x="0" y="2216"/>
                      <a:pt x="2216" y="0"/>
                      <a:pt x="4936" y="0"/>
                    </a:cubicBezTo>
                    <a:cubicBezTo>
                      <a:pt x="7655" y="0"/>
                      <a:pt x="9871" y="2216"/>
                      <a:pt x="9871" y="4935"/>
                    </a:cubicBezTo>
                    <a:lnTo>
                      <a:pt x="9871" y="103445"/>
                    </a:lnTo>
                    <a:cubicBezTo>
                      <a:pt x="9846" y="106165"/>
                      <a:pt x="7655" y="108381"/>
                      <a:pt x="4936" y="108381"/>
                    </a:cubicBezTo>
                    <a:close/>
                  </a:path>
                </a:pathLst>
              </a:custGeom>
              <a:solidFill>
                <a:schemeClr val="accent1"/>
              </a:solidFill>
              <a:ln w="2517" cap="flat">
                <a:noFill/>
                <a:prstDash val="solid"/>
                <a:miter/>
              </a:ln>
            </p:spPr>
            <p:txBody>
              <a:bodyPr rtlCol="0" anchor="ctr"/>
              <a:lstStyle/>
              <a:p>
                <a:endParaRPr lang="en-GB" dirty="0"/>
              </a:p>
            </p:txBody>
          </p:sp>
        </p:grpSp>
        <p:grpSp>
          <p:nvGrpSpPr>
            <p:cNvPr id="182" name="Group 181">
              <a:extLst>
                <a:ext uri="{FF2B5EF4-FFF2-40B4-BE49-F238E27FC236}">
                  <a16:creationId xmlns:a16="http://schemas.microsoft.com/office/drawing/2014/main" id="{AE4BC4EC-8AF6-407A-A72E-8D262A25B759}"/>
                </a:ext>
              </a:extLst>
            </p:cNvPr>
            <p:cNvGrpSpPr/>
            <p:nvPr/>
          </p:nvGrpSpPr>
          <p:grpSpPr>
            <a:xfrm>
              <a:off x="7854867" y="4078446"/>
              <a:ext cx="372246" cy="449034"/>
              <a:chOff x="7854867" y="4078446"/>
              <a:chExt cx="372246" cy="449034"/>
            </a:xfrm>
          </p:grpSpPr>
          <p:sp>
            <p:nvSpPr>
              <p:cNvPr id="183" name="Freihandform: Form 808">
                <a:extLst>
                  <a:ext uri="{FF2B5EF4-FFF2-40B4-BE49-F238E27FC236}">
                    <a16:creationId xmlns:a16="http://schemas.microsoft.com/office/drawing/2014/main" id="{886617FC-7264-41CF-8006-95E68C208A7B}"/>
                  </a:ext>
                </a:extLst>
              </p:cNvPr>
              <p:cNvSpPr/>
              <p:nvPr/>
            </p:nvSpPr>
            <p:spPr>
              <a:xfrm>
                <a:off x="7854867" y="4078446"/>
                <a:ext cx="203264" cy="112938"/>
              </a:xfrm>
              <a:custGeom>
                <a:avLst/>
                <a:gdLst>
                  <a:gd name="connsiteX0" fmla="*/ 198304 w 203264"/>
                  <a:gd name="connsiteY0" fmla="*/ 112939 h 112938"/>
                  <a:gd name="connsiteX1" fmla="*/ 4936 w 203264"/>
                  <a:gd name="connsiteY1" fmla="*/ 112939 h 112938"/>
                  <a:gd name="connsiteX2" fmla="*/ 0 w 203264"/>
                  <a:gd name="connsiteY2" fmla="*/ 108003 h 112938"/>
                  <a:gd name="connsiteX3" fmla="*/ 0 w 203264"/>
                  <a:gd name="connsiteY3" fmla="*/ 4936 h 112938"/>
                  <a:gd name="connsiteX4" fmla="*/ 4936 w 203264"/>
                  <a:gd name="connsiteY4" fmla="*/ 0 h 112938"/>
                  <a:gd name="connsiteX5" fmla="*/ 9871 w 203264"/>
                  <a:gd name="connsiteY5" fmla="*/ 4936 h 112938"/>
                  <a:gd name="connsiteX6" fmla="*/ 9871 w 203264"/>
                  <a:gd name="connsiteY6" fmla="*/ 103068 h 112938"/>
                  <a:gd name="connsiteX7" fmla="*/ 193393 w 203264"/>
                  <a:gd name="connsiteY7" fmla="*/ 103068 h 112938"/>
                  <a:gd name="connsiteX8" fmla="*/ 193393 w 203264"/>
                  <a:gd name="connsiteY8" fmla="*/ 4936 h 112938"/>
                  <a:gd name="connsiteX9" fmla="*/ 198329 w 203264"/>
                  <a:gd name="connsiteY9" fmla="*/ 0 h 112938"/>
                  <a:gd name="connsiteX10" fmla="*/ 203265 w 203264"/>
                  <a:gd name="connsiteY10" fmla="*/ 4936 h 112938"/>
                  <a:gd name="connsiteX11" fmla="*/ 203265 w 203264"/>
                  <a:gd name="connsiteY11" fmla="*/ 108003 h 112938"/>
                  <a:gd name="connsiteX12" fmla="*/ 198304 w 203264"/>
                  <a:gd name="connsiteY12" fmla="*/ 112939 h 11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3264" h="112938">
                    <a:moveTo>
                      <a:pt x="198304" y="112939"/>
                    </a:moveTo>
                    <a:lnTo>
                      <a:pt x="4936" y="112939"/>
                    </a:lnTo>
                    <a:cubicBezTo>
                      <a:pt x="2216" y="112939"/>
                      <a:pt x="0" y="110723"/>
                      <a:pt x="0" y="108003"/>
                    </a:cubicBezTo>
                    <a:lnTo>
                      <a:pt x="0" y="4936"/>
                    </a:lnTo>
                    <a:cubicBezTo>
                      <a:pt x="0" y="2216"/>
                      <a:pt x="2216" y="0"/>
                      <a:pt x="4936" y="0"/>
                    </a:cubicBezTo>
                    <a:cubicBezTo>
                      <a:pt x="7655" y="0"/>
                      <a:pt x="9871" y="2216"/>
                      <a:pt x="9871" y="4936"/>
                    </a:cubicBezTo>
                    <a:lnTo>
                      <a:pt x="9871" y="103068"/>
                    </a:lnTo>
                    <a:lnTo>
                      <a:pt x="193393" y="103068"/>
                    </a:lnTo>
                    <a:lnTo>
                      <a:pt x="193393" y="4936"/>
                    </a:lnTo>
                    <a:cubicBezTo>
                      <a:pt x="193393" y="2216"/>
                      <a:pt x="195609" y="0"/>
                      <a:pt x="198329" y="0"/>
                    </a:cubicBezTo>
                    <a:cubicBezTo>
                      <a:pt x="201049" y="0"/>
                      <a:pt x="203265" y="2216"/>
                      <a:pt x="203265" y="4936"/>
                    </a:cubicBezTo>
                    <a:lnTo>
                      <a:pt x="203265" y="108003"/>
                    </a:lnTo>
                    <a:cubicBezTo>
                      <a:pt x="203239" y="110748"/>
                      <a:pt x="201023" y="112939"/>
                      <a:pt x="198304" y="112939"/>
                    </a:cubicBezTo>
                    <a:close/>
                  </a:path>
                </a:pathLst>
              </a:custGeom>
              <a:solidFill>
                <a:schemeClr val="tx2"/>
              </a:solidFill>
              <a:ln w="2517" cap="flat">
                <a:noFill/>
                <a:prstDash val="solid"/>
                <a:miter/>
              </a:ln>
            </p:spPr>
            <p:txBody>
              <a:bodyPr rtlCol="0" anchor="ctr"/>
              <a:lstStyle/>
              <a:p>
                <a:endParaRPr lang="en-GB" dirty="0"/>
              </a:p>
            </p:txBody>
          </p:sp>
          <p:sp>
            <p:nvSpPr>
              <p:cNvPr id="184" name="Freihandform: Form 809">
                <a:extLst>
                  <a:ext uri="{FF2B5EF4-FFF2-40B4-BE49-F238E27FC236}">
                    <a16:creationId xmlns:a16="http://schemas.microsoft.com/office/drawing/2014/main" id="{2CADC34B-960E-4148-9077-02C2AF1D052D}"/>
                  </a:ext>
                </a:extLst>
              </p:cNvPr>
              <p:cNvSpPr/>
              <p:nvPr/>
            </p:nvSpPr>
            <p:spPr>
              <a:xfrm>
                <a:off x="8160724" y="4310622"/>
                <a:ext cx="47235" cy="124543"/>
              </a:xfrm>
              <a:custGeom>
                <a:avLst/>
                <a:gdLst>
                  <a:gd name="connsiteX0" fmla="*/ 17372 w 47235"/>
                  <a:gd name="connsiteY0" fmla="*/ 124544 h 124543"/>
                  <a:gd name="connsiteX1" fmla="*/ 14425 w 47235"/>
                  <a:gd name="connsiteY1" fmla="*/ 123562 h 124543"/>
                  <a:gd name="connsiteX2" fmla="*/ 13443 w 47235"/>
                  <a:gd name="connsiteY2" fmla="*/ 116662 h 124543"/>
                  <a:gd name="connsiteX3" fmla="*/ 36610 w 47235"/>
                  <a:gd name="connsiteY3" fmla="*/ 85764 h 124543"/>
                  <a:gd name="connsiteX4" fmla="*/ 450 w 47235"/>
                  <a:gd name="connsiteY4" fmla="*/ 6971 h 124543"/>
                  <a:gd name="connsiteX5" fmla="*/ 2867 w 47235"/>
                  <a:gd name="connsiteY5" fmla="*/ 450 h 124543"/>
                  <a:gd name="connsiteX6" fmla="*/ 9389 w 47235"/>
                  <a:gd name="connsiteY6" fmla="*/ 2867 h 124543"/>
                  <a:gd name="connsiteX7" fmla="*/ 46783 w 47235"/>
                  <a:gd name="connsiteY7" fmla="*/ 84329 h 124543"/>
                  <a:gd name="connsiteX8" fmla="*/ 46255 w 47235"/>
                  <a:gd name="connsiteY8" fmla="*/ 89340 h 124543"/>
                  <a:gd name="connsiteX9" fmla="*/ 21325 w 47235"/>
                  <a:gd name="connsiteY9" fmla="*/ 122579 h 124543"/>
                  <a:gd name="connsiteX10" fmla="*/ 17372 w 47235"/>
                  <a:gd name="connsiteY10" fmla="*/ 124544 h 124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235" h="124543">
                    <a:moveTo>
                      <a:pt x="17372" y="124544"/>
                    </a:moveTo>
                    <a:cubicBezTo>
                      <a:pt x="16339" y="124544"/>
                      <a:pt x="15307" y="124216"/>
                      <a:pt x="14425" y="123562"/>
                    </a:cubicBezTo>
                    <a:cubicBezTo>
                      <a:pt x="12260" y="121925"/>
                      <a:pt x="11806" y="118853"/>
                      <a:pt x="13443" y="116662"/>
                    </a:cubicBezTo>
                    <a:lnTo>
                      <a:pt x="36610" y="85764"/>
                    </a:lnTo>
                    <a:lnTo>
                      <a:pt x="450" y="6971"/>
                    </a:lnTo>
                    <a:cubicBezTo>
                      <a:pt x="-683" y="4504"/>
                      <a:pt x="399" y="1583"/>
                      <a:pt x="2867" y="450"/>
                    </a:cubicBezTo>
                    <a:cubicBezTo>
                      <a:pt x="5284" y="-683"/>
                      <a:pt x="8256" y="399"/>
                      <a:pt x="9389" y="2867"/>
                    </a:cubicBezTo>
                    <a:lnTo>
                      <a:pt x="46783" y="84329"/>
                    </a:lnTo>
                    <a:cubicBezTo>
                      <a:pt x="47539" y="85966"/>
                      <a:pt x="47337" y="87879"/>
                      <a:pt x="46255" y="89340"/>
                    </a:cubicBezTo>
                    <a:lnTo>
                      <a:pt x="21325" y="122579"/>
                    </a:lnTo>
                    <a:cubicBezTo>
                      <a:pt x="20368" y="123864"/>
                      <a:pt x="18883" y="124544"/>
                      <a:pt x="17372" y="124544"/>
                    </a:cubicBezTo>
                    <a:close/>
                  </a:path>
                </a:pathLst>
              </a:custGeom>
              <a:solidFill>
                <a:schemeClr val="tx2"/>
              </a:solidFill>
              <a:ln w="2517" cap="flat">
                <a:noFill/>
                <a:prstDash val="solid"/>
                <a:miter/>
              </a:ln>
            </p:spPr>
            <p:txBody>
              <a:bodyPr rtlCol="0" anchor="ctr"/>
              <a:lstStyle/>
              <a:p>
                <a:endParaRPr lang="en-GB" dirty="0"/>
              </a:p>
            </p:txBody>
          </p:sp>
          <p:sp>
            <p:nvSpPr>
              <p:cNvPr id="185" name="Freihandform: Form 810">
                <a:extLst>
                  <a:ext uri="{FF2B5EF4-FFF2-40B4-BE49-F238E27FC236}">
                    <a16:creationId xmlns:a16="http://schemas.microsoft.com/office/drawing/2014/main" id="{3A3CE529-75E5-4A8E-A6DE-DFBB66F42945}"/>
                  </a:ext>
                </a:extLst>
              </p:cNvPr>
              <p:cNvSpPr/>
              <p:nvPr/>
            </p:nvSpPr>
            <p:spPr>
              <a:xfrm>
                <a:off x="8172347" y="4282797"/>
                <a:ext cx="48910" cy="105002"/>
              </a:xfrm>
              <a:custGeom>
                <a:avLst/>
                <a:gdLst>
                  <a:gd name="connsiteX0" fmla="*/ 26523 w 48910"/>
                  <a:gd name="connsiteY0" fmla="*/ 105002 h 105002"/>
                  <a:gd name="connsiteX1" fmla="*/ 24232 w 48910"/>
                  <a:gd name="connsiteY1" fmla="*/ 104448 h 105002"/>
                  <a:gd name="connsiteX2" fmla="*/ 22167 w 48910"/>
                  <a:gd name="connsiteY2" fmla="*/ 97801 h 105002"/>
                  <a:gd name="connsiteX3" fmla="*/ 38308 w 48910"/>
                  <a:gd name="connsiteY3" fmla="*/ 67054 h 105002"/>
                  <a:gd name="connsiteX4" fmla="*/ 763 w 48910"/>
                  <a:gd name="connsiteY4" fmla="*/ 7550 h 105002"/>
                  <a:gd name="connsiteX5" fmla="*/ 2299 w 48910"/>
                  <a:gd name="connsiteY5" fmla="*/ 752 h 105002"/>
                  <a:gd name="connsiteX6" fmla="*/ 9098 w 48910"/>
                  <a:gd name="connsiteY6" fmla="*/ 2288 h 105002"/>
                  <a:gd name="connsiteX7" fmla="*/ 48154 w 48910"/>
                  <a:gd name="connsiteY7" fmla="*/ 64209 h 105002"/>
                  <a:gd name="connsiteX8" fmla="*/ 48355 w 48910"/>
                  <a:gd name="connsiteY8" fmla="*/ 69119 h 105002"/>
                  <a:gd name="connsiteX9" fmla="*/ 30905 w 48910"/>
                  <a:gd name="connsiteY9" fmla="*/ 102359 h 105002"/>
                  <a:gd name="connsiteX10" fmla="*/ 26523 w 48910"/>
                  <a:gd name="connsiteY10" fmla="*/ 105002 h 105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910" h="105002">
                    <a:moveTo>
                      <a:pt x="26523" y="105002"/>
                    </a:moveTo>
                    <a:cubicBezTo>
                      <a:pt x="25743" y="105002"/>
                      <a:pt x="24962" y="104826"/>
                      <a:pt x="24232" y="104448"/>
                    </a:cubicBezTo>
                    <a:cubicBezTo>
                      <a:pt x="21814" y="103189"/>
                      <a:pt x="20908" y="100218"/>
                      <a:pt x="22167" y="97801"/>
                    </a:cubicBezTo>
                    <a:lnTo>
                      <a:pt x="38308" y="67054"/>
                    </a:lnTo>
                    <a:lnTo>
                      <a:pt x="763" y="7550"/>
                    </a:lnTo>
                    <a:cubicBezTo>
                      <a:pt x="-698" y="5259"/>
                      <a:pt x="7" y="2212"/>
                      <a:pt x="2299" y="752"/>
                    </a:cubicBezTo>
                    <a:cubicBezTo>
                      <a:pt x="4590" y="-684"/>
                      <a:pt x="7637" y="-4"/>
                      <a:pt x="9098" y="2288"/>
                    </a:cubicBezTo>
                    <a:lnTo>
                      <a:pt x="48154" y="64209"/>
                    </a:lnTo>
                    <a:cubicBezTo>
                      <a:pt x="49086" y="65694"/>
                      <a:pt x="49161" y="67558"/>
                      <a:pt x="48355" y="69119"/>
                    </a:cubicBezTo>
                    <a:lnTo>
                      <a:pt x="30905" y="102359"/>
                    </a:lnTo>
                    <a:cubicBezTo>
                      <a:pt x="30023" y="104045"/>
                      <a:pt x="28311" y="105002"/>
                      <a:pt x="26523" y="105002"/>
                    </a:cubicBezTo>
                    <a:close/>
                  </a:path>
                </a:pathLst>
              </a:custGeom>
              <a:solidFill>
                <a:schemeClr val="tx2"/>
              </a:solidFill>
              <a:ln w="2517" cap="flat">
                <a:noFill/>
                <a:prstDash val="solid"/>
                <a:miter/>
              </a:ln>
            </p:spPr>
            <p:txBody>
              <a:bodyPr rtlCol="0" anchor="ctr"/>
              <a:lstStyle/>
              <a:p>
                <a:endParaRPr lang="en-GB" dirty="0"/>
              </a:p>
            </p:txBody>
          </p:sp>
          <p:sp>
            <p:nvSpPr>
              <p:cNvPr id="186" name="Freihandform: Form 811">
                <a:extLst>
                  <a:ext uri="{FF2B5EF4-FFF2-40B4-BE49-F238E27FC236}">
                    <a16:creationId xmlns:a16="http://schemas.microsoft.com/office/drawing/2014/main" id="{B69060B3-065D-4792-B6CC-B0966A08F0C4}"/>
                  </a:ext>
                </a:extLst>
              </p:cNvPr>
              <p:cNvSpPr/>
              <p:nvPr/>
            </p:nvSpPr>
            <p:spPr>
              <a:xfrm>
                <a:off x="7858645" y="4182662"/>
                <a:ext cx="328518" cy="344818"/>
              </a:xfrm>
              <a:custGeom>
                <a:avLst/>
                <a:gdLst>
                  <a:gd name="connsiteX0" fmla="*/ 279488 w 328518"/>
                  <a:gd name="connsiteY0" fmla="*/ 344819 h 344818"/>
                  <a:gd name="connsiteX1" fmla="*/ 270775 w 328518"/>
                  <a:gd name="connsiteY1" fmla="*/ 340890 h 344818"/>
                  <a:gd name="connsiteX2" fmla="*/ 270977 w 328518"/>
                  <a:gd name="connsiteY2" fmla="*/ 253838 h 344818"/>
                  <a:gd name="connsiteX3" fmla="*/ 235371 w 328518"/>
                  <a:gd name="connsiteY3" fmla="*/ 211181 h 344818"/>
                  <a:gd name="connsiteX4" fmla="*/ 114097 w 328518"/>
                  <a:gd name="connsiteY4" fmla="*/ 209947 h 344818"/>
                  <a:gd name="connsiteX5" fmla="*/ 102841 w 328518"/>
                  <a:gd name="connsiteY5" fmla="*/ 225786 h 344818"/>
                  <a:gd name="connsiteX6" fmla="*/ 109211 w 328518"/>
                  <a:gd name="connsiteY6" fmla="*/ 309766 h 344818"/>
                  <a:gd name="connsiteX7" fmla="*/ 84962 w 328518"/>
                  <a:gd name="connsiteY7" fmla="*/ 332052 h 344818"/>
                  <a:gd name="connsiteX8" fmla="*/ 81084 w 328518"/>
                  <a:gd name="connsiteY8" fmla="*/ 331800 h 344818"/>
                  <a:gd name="connsiteX9" fmla="*/ 78591 w 328518"/>
                  <a:gd name="connsiteY9" fmla="*/ 328803 h 344818"/>
                  <a:gd name="connsiteX10" fmla="*/ 31426 w 328518"/>
                  <a:gd name="connsiteY10" fmla="*/ 238427 h 344818"/>
                  <a:gd name="connsiteX11" fmla="*/ 16342 w 328518"/>
                  <a:gd name="connsiteY11" fmla="*/ 3560 h 344818"/>
                  <a:gd name="connsiteX12" fmla="*/ 22436 w 328518"/>
                  <a:gd name="connsiteY12" fmla="*/ 186 h 344818"/>
                  <a:gd name="connsiteX13" fmla="*/ 25811 w 328518"/>
                  <a:gd name="connsiteY13" fmla="*/ 6279 h 344818"/>
                  <a:gd name="connsiteX14" fmla="*/ 39031 w 328518"/>
                  <a:gd name="connsiteY14" fmla="*/ 232182 h 344818"/>
                  <a:gd name="connsiteX15" fmla="*/ 86347 w 328518"/>
                  <a:gd name="connsiteY15" fmla="*/ 320670 h 344818"/>
                  <a:gd name="connsiteX16" fmla="*/ 100272 w 328518"/>
                  <a:gd name="connsiteY16" fmla="*/ 305561 h 344818"/>
                  <a:gd name="connsiteX17" fmla="*/ 93624 w 328518"/>
                  <a:gd name="connsiteY17" fmla="*/ 229336 h 344818"/>
                  <a:gd name="connsiteX18" fmla="*/ 108280 w 328518"/>
                  <a:gd name="connsiteY18" fmla="*/ 201964 h 344818"/>
                  <a:gd name="connsiteX19" fmla="*/ 241993 w 328518"/>
                  <a:gd name="connsiteY19" fmla="*/ 203928 h 344818"/>
                  <a:gd name="connsiteX20" fmla="*/ 280093 w 328518"/>
                  <a:gd name="connsiteY20" fmla="*/ 249532 h 344818"/>
                  <a:gd name="connsiteX21" fmla="*/ 281050 w 328518"/>
                  <a:gd name="connsiteY21" fmla="*/ 253536 h 344818"/>
                  <a:gd name="connsiteX22" fmla="*/ 278028 w 328518"/>
                  <a:gd name="connsiteY22" fmla="*/ 334217 h 344818"/>
                  <a:gd name="connsiteX23" fmla="*/ 278506 w 328518"/>
                  <a:gd name="connsiteY23" fmla="*/ 334645 h 344818"/>
                  <a:gd name="connsiteX24" fmla="*/ 318469 w 328518"/>
                  <a:gd name="connsiteY24" fmla="*/ 261040 h 344818"/>
                  <a:gd name="connsiteX25" fmla="*/ 286539 w 328518"/>
                  <a:gd name="connsiteY25" fmla="*/ 170261 h 344818"/>
                  <a:gd name="connsiteX26" fmla="*/ 289536 w 328518"/>
                  <a:gd name="connsiteY26" fmla="*/ 163966 h 344818"/>
                  <a:gd name="connsiteX27" fmla="*/ 295831 w 328518"/>
                  <a:gd name="connsiteY27" fmla="*/ 166962 h 344818"/>
                  <a:gd name="connsiteX28" fmla="*/ 328265 w 328518"/>
                  <a:gd name="connsiteY28" fmla="*/ 259302 h 344818"/>
                  <a:gd name="connsiteX29" fmla="*/ 328416 w 328518"/>
                  <a:gd name="connsiteY29" fmla="*/ 261821 h 344818"/>
                  <a:gd name="connsiteX30" fmla="*/ 283845 w 328518"/>
                  <a:gd name="connsiteY30" fmla="*/ 343308 h 344818"/>
                  <a:gd name="connsiteX31" fmla="*/ 280898 w 328518"/>
                  <a:gd name="connsiteY31" fmla="*/ 344718 h 344818"/>
                  <a:gd name="connsiteX32" fmla="*/ 279488 w 328518"/>
                  <a:gd name="connsiteY32" fmla="*/ 344819 h 34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28518" h="344818">
                    <a:moveTo>
                      <a:pt x="279488" y="344819"/>
                    </a:moveTo>
                    <a:cubicBezTo>
                      <a:pt x="276139" y="344819"/>
                      <a:pt x="273143" y="343484"/>
                      <a:pt x="270775" y="340890"/>
                    </a:cubicBezTo>
                    <a:cubicBezTo>
                      <a:pt x="257807" y="326688"/>
                      <a:pt x="267804" y="270055"/>
                      <a:pt x="270977" y="253838"/>
                    </a:cubicBezTo>
                    <a:cubicBezTo>
                      <a:pt x="265387" y="246737"/>
                      <a:pt x="244436" y="220246"/>
                      <a:pt x="235371" y="211181"/>
                    </a:cubicBezTo>
                    <a:cubicBezTo>
                      <a:pt x="196818" y="178495"/>
                      <a:pt x="140159" y="191061"/>
                      <a:pt x="114097" y="209947"/>
                    </a:cubicBezTo>
                    <a:cubicBezTo>
                      <a:pt x="104654" y="216771"/>
                      <a:pt x="101657" y="222815"/>
                      <a:pt x="102841" y="225786"/>
                    </a:cubicBezTo>
                    <a:cubicBezTo>
                      <a:pt x="116212" y="262198"/>
                      <a:pt x="118327" y="290401"/>
                      <a:pt x="109211" y="309766"/>
                    </a:cubicBezTo>
                    <a:cubicBezTo>
                      <a:pt x="102488" y="324069"/>
                      <a:pt x="91131" y="329861"/>
                      <a:pt x="84962" y="332052"/>
                    </a:cubicBezTo>
                    <a:cubicBezTo>
                      <a:pt x="83678" y="332505"/>
                      <a:pt x="82267" y="332404"/>
                      <a:pt x="81084" y="331800"/>
                    </a:cubicBezTo>
                    <a:cubicBezTo>
                      <a:pt x="79875" y="331170"/>
                      <a:pt x="78969" y="330087"/>
                      <a:pt x="78591" y="328803"/>
                    </a:cubicBezTo>
                    <a:cubicBezTo>
                      <a:pt x="68821" y="295362"/>
                      <a:pt x="37394" y="245150"/>
                      <a:pt x="31426" y="238427"/>
                    </a:cubicBezTo>
                    <a:cubicBezTo>
                      <a:pt x="-27800" y="159760"/>
                      <a:pt x="14529" y="9906"/>
                      <a:pt x="16342" y="3560"/>
                    </a:cubicBezTo>
                    <a:cubicBezTo>
                      <a:pt x="17098" y="941"/>
                      <a:pt x="19817" y="-545"/>
                      <a:pt x="22436" y="186"/>
                    </a:cubicBezTo>
                    <a:cubicBezTo>
                      <a:pt x="25055" y="941"/>
                      <a:pt x="26566" y="3661"/>
                      <a:pt x="25811" y="6279"/>
                    </a:cubicBezTo>
                    <a:cubicBezTo>
                      <a:pt x="25383" y="7790"/>
                      <a:pt x="-16973" y="157771"/>
                      <a:pt x="39031" y="232182"/>
                    </a:cubicBezTo>
                    <a:cubicBezTo>
                      <a:pt x="44949" y="238805"/>
                      <a:pt x="74537" y="285667"/>
                      <a:pt x="86347" y="320670"/>
                    </a:cubicBezTo>
                    <a:cubicBezTo>
                      <a:pt x="91232" y="318026"/>
                      <a:pt x="96571" y="313442"/>
                      <a:pt x="100272" y="305561"/>
                    </a:cubicBezTo>
                    <a:cubicBezTo>
                      <a:pt x="108104" y="288916"/>
                      <a:pt x="105812" y="262551"/>
                      <a:pt x="93624" y="229336"/>
                    </a:cubicBezTo>
                    <a:cubicBezTo>
                      <a:pt x="90300" y="221178"/>
                      <a:pt x="95614" y="211130"/>
                      <a:pt x="108280" y="201964"/>
                    </a:cubicBezTo>
                    <a:cubicBezTo>
                      <a:pt x="136861" y="181265"/>
                      <a:pt x="199134" y="167567"/>
                      <a:pt x="241993" y="203928"/>
                    </a:cubicBezTo>
                    <a:cubicBezTo>
                      <a:pt x="253174" y="215109"/>
                      <a:pt x="279010" y="248147"/>
                      <a:pt x="280093" y="249532"/>
                    </a:cubicBezTo>
                    <a:cubicBezTo>
                      <a:pt x="280974" y="250665"/>
                      <a:pt x="281327" y="252126"/>
                      <a:pt x="281050" y="253536"/>
                    </a:cubicBezTo>
                    <a:cubicBezTo>
                      <a:pt x="275233" y="282066"/>
                      <a:pt x="270448" y="325958"/>
                      <a:pt x="278028" y="334217"/>
                    </a:cubicBezTo>
                    <a:cubicBezTo>
                      <a:pt x="278179" y="334394"/>
                      <a:pt x="278355" y="334544"/>
                      <a:pt x="278506" y="334645"/>
                    </a:cubicBezTo>
                    <a:cubicBezTo>
                      <a:pt x="295957" y="315684"/>
                      <a:pt x="315573" y="270785"/>
                      <a:pt x="318469" y="261040"/>
                    </a:cubicBezTo>
                    <a:cubicBezTo>
                      <a:pt x="311922" y="241625"/>
                      <a:pt x="286816" y="170991"/>
                      <a:pt x="286539" y="170261"/>
                    </a:cubicBezTo>
                    <a:cubicBezTo>
                      <a:pt x="285633" y="167692"/>
                      <a:pt x="286967" y="164897"/>
                      <a:pt x="289536" y="163966"/>
                    </a:cubicBezTo>
                    <a:cubicBezTo>
                      <a:pt x="292129" y="163059"/>
                      <a:pt x="294924" y="164394"/>
                      <a:pt x="295831" y="166962"/>
                    </a:cubicBezTo>
                    <a:cubicBezTo>
                      <a:pt x="296083" y="167718"/>
                      <a:pt x="322523" y="242003"/>
                      <a:pt x="328265" y="259302"/>
                    </a:cubicBezTo>
                    <a:cubicBezTo>
                      <a:pt x="328542" y="260108"/>
                      <a:pt x="328592" y="260990"/>
                      <a:pt x="328416" y="261821"/>
                    </a:cubicBezTo>
                    <a:cubicBezTo>
                      <a:pt x="326552" y="271163"/>
                      <a:pt x="303763" y="323389"/>
                      <a:pt x="283845" y="343308"/>
                    </a:cubicBezTo>
                    <a:cubicBezTo>
                      <a:pt x="283064" y="344088"/>
                      <a:pt x="282006" y="344592"/>
                      <a:pt x="280898" y="344718"/>
                    </a:cubicBezTo>
                    <a:cubicBezTo>
                      <a:pt x="280445" y="344793"/>
                      <a:pt x="279967" y="344819"/>
                      <a:pt x="279488" y="344819"/>
                    </a:cubicBezTo>
                    <a:close/>
                  </a:path>
                </a:pathLst>
              </a:custGeom>
              <a:solidFill>
                <a:schemeClr val="tx2"/>
              </a:solidFill>
              <a:ln w="2517" cap="flat">
                <a:noFill/>
                <a:prstDash val="solid"/>
                <a:miter/>
              </a:ln>
            </p:spPr>
            <p:txBody>
              <a:bodyPr rtlCol="0" anchor="ctr"/>
              <a:lstStyle/>
              <a:p>
                <a:endParaRPr lang="en-GB" dirty="0"/>
              </a:p>
            </p:txBody>
          </p:sp>
          <p:sp>
            <p:nvSpPr>
              <p:cNvPr id="187" name="Freihandform: Form 812">
                <a:extLst>
                  <a:ext uri="{FF2B5EF4-FFF2-40B4-BE49-F238E27FC236}">
                    <a16:creationId xmlns:a16="http://schemas.microsoft.com/office/drawing/2014/main" id="{7E8EDDBB-2937-4689-8D40-426B57F3047B}"/>
                  </a:ext>
                </a:extLst>
              </p:cNvPr>
              <p:cNvSpPr/>
              <p:nvPr/>
            </p:nvSpPr>
            <p:spPr>
              <a:xfrm>
                <a:off x="8032175" y="4184280"/>
                <a:ext cx="194938" cy="161139"/>
              </a:xfrm>
              <a:custGeom>
                <a:avLst/>
                <a:gdLst>
                  <a:gd name="connsiteX0" fmla="*/ 180017 w 194938"/>
                  <a:gd name="connsiteY0" fmla="*/ 161140 h 161139"/>
                  <a:gd name="connsiteX1" fmla="*/ 179085 w 194938"/>
                  <a:gd name="connsiteY1" fmla="*/ 161039 h 161139"/>
                  <a:gd name="connsiteX2" fmla="*/ 175182 w 194938"/>
                  <a:gd name="connsiteY2" fmla="*/ 155272 h 161139"/>
                  <a:gd name="connsiteX3" fmla="*/ 184499 w 194938"/>
                  <a:gd name="connsiteY3" fmla="*/ 106345 h 161139"/>
                  <a:gd name="connsiteX4" fmla="*/ 125222 w 194938"/>
                  <a:gd name="connsiteY4" fmla="*/ 72350 h 161139"/>
                  <a:gd name="connsiteX5" fmla="*/ 113110 w 194938"/>
                  <a:gd name="connsiteY5" fmla="*/ 66734 h 161139"/>
                  <a:gd name="connsiteX6" fmla="*/ 1254 w 194938"/>
                  <a:gd name="connsiteY6" fmla="*/ 8213 h 161139"/>
                  <a:gd name="connsiteX7" fmla="*/ 1632 w 194938"/>
                  <a:gd name="connsiteY7" fmla="*/ 1263 h 161139"/>
                  <a:gd name="connsiteX8" fmla="*/ 8582 w 194938"/>
                  <a:gd name="connsiteY8" fmla="*/ 1640 h 161139"/>
                  <a:gd name="connsiteX9" fmla="*/ 116660 w 194938"/>
                  <a:gd name="connsiteY9" fmla="*/ 57568 h 161139"/>
                  <a:gd name="connsiteX10" fmla="*/ 129755 w 194938"/>
                  <a:gd name="connsiteY10" fmla="*/ 63612 h 161139"/>
                  <a:gd name="connsiteX11" fmla="*/ 192457 w 194938"/>
                  <a:gd name="connsiteY11" fmla="*/ 99546 h 161139"/>
                  <a:gd name="connsiteX12" fmla="*/ 194849 w 194938"/>
                  <a:gd name="connsiteY12" fmla="*/ 104733 h 161139"/>
                  <a:gd name="connsiteX13" fmla="*/ 184877 w 194938"/>
                  <a:gd name="connsiteY13" fmla="*/ 157111 h 161139"/>
                  <a:gd name="connsiteX14" fmla="*/ 180017 w 194938"/>
                  <a:gd name="connsiteY14" fmla="*/ 161140 h 161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4938" h="161139">
                    <a:moveTo>
                      <a:pt x="180017" y="161140"/>
                    </a:moveTo>
                    <a:cubicBezTo>
                      <a:pt x="179715" y="161140"/>
                      <a:pt x="179413" y="161114"/>
                      <a:pt x="179085" y="161039"/>
                    </a:cubicBezTo>
                    <a:cubicBezTo>
                      <a:pt x="176416" y="160535"/>
                      <a:pt x="174653" y="157967"/>
                      <a:pt x="175182" y="155272"/>
                    </a:cubicBezTo>
                    <a:lnTo>
                      <a:pt x="184499" y="106345"/>
                    </a:lnTo>
                    <a:lnTo>
                      <a:pt x="125222" y="72350"/>
                    </a:lnTo>
                    <a:lnTo>
                      <a:pt x="113110" y="66734"/>
                    </a:lnTo>
                    <a:cubicBezTo>
                      <a:pt x="110315" y="65904"/>
                      <a:pt x="30288" y="40546"/>
                      <a:pt x="1254" y="8213"/>
                    </a:cubicBezTo>
                    <a:cubicBezTo>
                      <a:pt x="-559" y="6198"/>
                      <a:pt x="-383" y="3076"/>
                      <a:pt x="1632" y="1263"/>
                    </a:cubicBezTo>
                    <a:cubicBezTo>
                      <a:pt x="3646" y="-550"/>
                      <a:pt x="6769" y="-399"/>
                      <a:pt x="8582" y="1640"/>
                    </a:cubicBezTo>
                    <a:cubicBezTo>
                      <a:pt x="35803" y="31984"/>
                      <a:pt x="115855" y="57342"/>
                      <a:pt x="116660" y="57568"/>
                    </a:cubicBezTo>
                    <a:lnTo>
                      <a:pt x="129755" y="63612"/>
                    </a:lnTo>
                    <a:lnTo>
                      <a:pt x="192457" y="99546"/>
                    </a:lnTo>
                    <a:cubicBezTo>
                      <a:pt x="194270" y="100603"/>
                      <a:pt x="195252" y="102668"/>
                      <a:pt x="194849" y="104733"/>
                    </a:cubicBezTo>
                    <a:lnTo>
                      <a:pt x="184877" y="157111"/>
                    </a:lnTo>
                    <a:cubicBezTo>
                      <a:pt x="184398" y="159503"/>
                      <a:pt x="182334" y="161140"/>
                      <a:pt x="180017" y="161140"/>
                    </a:cubicBezTo>
                    <a:close/>
                  </a:path>
                </a:pathLst>
              </a:custGeom>
              <a:solidFill>
                <a:schemeClr val="tx2"/>
              </a:solidFill>
              <a:ln w="2517" cap="flat">
                <a:noFill/>
                <a:prstDash val="solid"/>
                <a:miter/>
              </a:ln>
            </p:spPr>
            <p:txBody>
              <a:bodyPr rtlCol="0" anchor="ctr"/>
              <a:lstStyle/>
              <a:p>
                <a:endParaRPr lang="en-GB" dirty="0"/>
              </a:p>
            </p:txBody>
          </p:sp>
        </p:grpSp>
      </p:grpSp>
      <p:grpSp>
        <p:nvGrpSpPr>
          <p:cNvPr id="337" name="Group 336">
            <a:extLst>
              <a:ext uri="{FF2B5EF4-FFF2-40B4-BE49-F238E27FC236}">
                <a16:creationId xmlns:a16="http://schemas.microsoft.com/office/drawing/2014/main" id="{8462C755-3628-44E7-A0F2-169511D6C2B2}"/>
              </a:ext>
            </a:extLst>
          </p:cNvPr>
          <p:cNvGrpSpPr>
            <a:grpSpLocks noChangeAspect="1"/>
          </p:cNvGrpSpPr>
          <p:nvPr/>
        </p:nvGrpSpPr>
        <p:grpSpPr>
          <a:xfrm>
            <a:off x="1612162" y="3218769"/>
            <a:ext cx="473189" cy="432001"/>
            <a:chOff x="7717702" y="3236349"/>
            <a:chExt cx="625117" cy="570706"/>
          </a:xfrm>
        </p:grpSpPr>
        <p:grpSp>
          <p:nvGrpSpPr>
            <p:cNvPr id="338" name="Group 337">
              <a:extLst>
                <a:ext uri="{FF2B5EF4-FFF2-40B4-BE49-F238E27FC236}">
                  <a16:creationId xmlns:a16="http://schemas.microsoft.com/office/drawing/2014/main" id="{333D6360-B790-4FAA-9472-38F0518237DE}"/>
                </a:ext>
              </a:extLst>
            </p:cNvPr>
            <p:cNvGrpSpPr/>
            <p:nvPr/>
          </p:nvGrpSpPr>
          <p:grpSpPr>
            <a:xfrm>
              <a:off x="7717702" y="3359706"/>
              <a:ext cx="625117" cy="447349"/>
              <a:chOff x="7717711" y="3359704"/>
              <a:chExt cx="625118" cy="447349"/>
            </a:xfrm>
          </p:grpSpPr>
          <p:sp>
            <p:nvSpPr>
              <p:cNvPr id="348" name="Freihandform: Form 1056">
                <a:extLst>
                  <a:ext uri="{FF2B5EF4-FFF2-40B4-BE49-F238E27FC236}">
                    <a16:creationId xmlns:a16="http://schemas.microsoft.com/office/drawing/2014/main" id="{276C6D80-C0EA-4ABE-8123-183AAB981425}"/>
                  </a:ext>
                </a:extLst>
              </p:cNvPr>
              <p:cNvSpPr/>
              <p:nvPr/>
            </p:nvSpPr>
            <p:spPr>
              <a:xfrm>
                <a:off x="7717711" y="3385059"/>
                <a:ext cx="91834" cy="421994"/>
              </a:xfrm>
              <a:custGeom>
                <a:avLst/>
                <a:gdLst>
                  <a:gd name="connsiteX0" fmla="*/ 85176 w 91834"/>
                  <a:gd name="connsiteY0" fmla="*/ 421994 h 421994"/>
                  <a:gd name="connsiteX1" fmla="*/ 84896 w 91834"/>
                  <a:gd name="connsiteY1" fmla="*/ 421994 h 421994"/>
                  <a:gd name="connsiteX2" fmla="*/ 80161 w 91834"/>
                  <a:gd name="connsiteY2" fmla="*/ 416727 h 421994"/>
                  <a:gd name="connsiteX3" fmla="*/ 80329 w 91834"/>
                  <a:gd name="connsiteY3" fmla="*/ 330627 h 421994"/>
                  <a:gd name="connsiteX4" fmla="*/ 65591 w 91834"/>
                  <a:gd name="connsiteY4" fmla="*/ 305186 h 421994"/>
                  <a:gd name="connsiteX5" fmla="*/ 393 w 91834"/>
                  <a:gd name="connsiteY5" fmla="*/ 141644 h 421994"/>
                  <a:gd name="connsiteX6" fmla="*/ 309 w 91834"/>
                  <a:gd name="connsiteY6" fmla="*/ 139711 h 421994"/>
                  <a:gd name="connsiteX7" fmla="*/ 29 w 91834"/>
                  <a:gd name="connsiteY7" fmla="*/ 128419 h 421994"/>
                  <a:gd name="connsiteX8" fmla="*/ 57746 w 91834"/>
                  <a:gd name="connsiteY8" fmla="*/ 880 h 421994"/>
                  <a:gd name="connsiteX9" fmla="*/ 64723 w 91834"/>
                  <a:gd name="connsiteY9" fmla="*/ 2169 h 421994"/>
                  <a:gd name="connsiteX10" fmla="*/ 63434 w 91834"/>
                  <a:gd name="connsiteY10" fmla="*/ 9146 h 421994"/>
                  <a:gd name="connsiteX11" fmla="*/ 10059 w 91834"/>
                  <a:gd name="connsiteY11" fmla="*/ 128279 h 421994"/>
                  <a:gd name="connsiteX12" fmla="*/ 10311 w 91834"/>
                  <a:gd name="connsiteY12" fmla="*/ 139290 h 421994"/>
                  <a:gd name="connsiteX13" fmla="*/ 10396 w 91834"/>
                  <a:gd name="connsiteY13" fmla="*/ 141252 h 421994"/>
                  <a:gd name="connsiteX14" fmla="*/ 74109 w 91834"/>
                  <a:gd name="connsiteY14" fmla="*/ 299919 h 421994"/>
                  <a:gd name="connsiteX15" fmla="*/ 89827 w 91834"/>
                  <a:gd name="connsiteY15" fmla="*/ 327405 h 421994"/>
                  <a:gd name="connsiteX16" fmla="*/ 90079 w 91834"/>
                  <a:gd name="connsiteY16" fmla="*/ 328217 h 421994"/>
                  <a:gd name="connsiteX17" fmla="*/ 90191 w 91834"/>
                  <a:gd name="connsiteY17" fmla="*/ 417287 h 421994"/>
                  <a:gd name="connsiteX18" fmla="*/ 85176 w 91834"/>
                  <a:gd name="connsiteY18" fmla="*/ 421994 h 421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1834" h="421994">
                    <a:moveTo>
                      <a:pt x="85176" y="421994"/>
                    </a:moveTo>
                    <a:cubicBezTo>
                      <a:pt x="85092" y="421994"/>
                      <a:pt x="84980" y="421994"/>
                      <a:pt x="84896" y="421994"/>
                    </a:cubicBezTo>
                    <a:cubicBezTo>
                      <a:pt x="82122" y="421854"/>
                      <a:pt x="79993" y="419473"/>
                      <a:pt x="80161" y="416727"/>
                    </a:cubicBezTo>
                    <a:cubicBezTo>
                      <a:pt x="80189" y="416055"/>
                      <a:pt x="83747" y="348643"/>
                      <a:pt x="80329" y="330627"/>
                    </a:cubicBezTo>
                    <a:cubicBezTo>
                      <a:pt x="78228" y="325528"/>
                      <a:pt x="72624" y="316506"/>
                      <a:pt x="65591" y="305186"/>
                    </a:cubicBezTo>
                    <a:cubicBezTo>
                      <a:pt x="42196" y="267558"/>
                      <a:pt x="3083" y="204601"/>
                      <a:pt x="393" y="141644"/>
                    </a:cubicBezTo>
                    <a:lnTo>
                      <a:pt x="309" y="139711"/>
                    </a:lnTo>
                    <a:cubicBezTo>
                      <a:pt x="197" y="137273"/>
                      <a:pt x="169" y="136601"/>
                      <a:pt x="29" y="128419"/>
                    </a:cubicBezTo>
                    <a:cubicBezTo>
                      <a:pt x="-1092" y="56692"/>
                      <a:pt x="30793" y="19484"/>
                      <a:pt x="57746" y="880"/>
                    </a:cubicBezTo>
                    <a:cubicBezTo>
                      <a:pt x="60016" y="-689"/>
                      <a:pt x="63154" y="-100"/>
                      <a:pt x="64723" y="2169"/>
                    </a:cubicBezTo>
                    <a:cubicBezTo>
                      <a:pt x="66292" y="4439"/>
                      <a:pt x="65732" y="7577"/>
                      <a:pt x="63434" y="9146"/>
                    </a:cubicBezTo>
                    <a:cubicBezTo>
                      <a:pt x="27178" y="34166"/>
                      <a:pt x="9219" y="74260"/>
                      <a:pt x="10059" y="128279"/>
                    </a:cubicBezTo>
                    <a:cubicBezTo>
                      <a:pt x="10171" y="136236"/>
                      <a:pt x="10199" y="136881"/>
                      <a:pt x="10311" y="139290"/>
                    </a:cubicBezTo>
                    <a:lnTo>
                      <a:pt x="10396" y="141252"/>
                    </a:lnTo>
                    <a:cubicBezTo>
                      <a:pt x="12973" y="201603"/>
                      <a:pt x="51246" y="263159"/>
                      <a:pt x="74109" y="299919"/>
                    </a:cubicBezTo>
                    <a:cubicBezTo>
                      <a:pt x="81898" y="312471"/>
                      <a:pt x="87530" y="321521"/>
                      <a:pt x="89827" y="327405"/>
                    </a:cubicBezTo>
                    <a:cubicBezTo>
                      <a:pt x="89939" y="327685"/>
                      <a:pt x="90023" y="327937"/>
                      <a:pt x="90079" y="328217"/>
                    </a:cubicBezTo>
                    <a:cubicBezTo>
                      <a:pt x="93890" y="346822"/>
                      <a:pt x="90331" y="414402"/>
                      <a:pt x="90191" y="417287"/>
                    </a:cubicBezTo>
                    <a:cubicBezTo>
                      <a:pt x="90023" y="419921"/>
                      <a:pt x="87810" y="421994"/>
                      <a:pt x="85176" y="421994"/>
                    </a:cubicBezTo>
                    <a:close/>
                  </a:path>
                </a:pathLst>
              </a:custGeom>
              <a:solidFill>
                <a:schemeClr val="tx2"/>
              </a:solidFill>
              <a:ln w="2793" cap="flat">
                <a:noFill/>
                <a:prstDash val="solid"/>
                <a:miter/>
              </a:ln>
            </p:spPr>
            <p:txBody>
              <a:bodyPr rtlCol="0" anchor="ctr"/>
              <a:lstStyle/>
              <a:p>
                <a:endParaRPr lang="en-GB" dirty="0"/>
              </a:p>
            </p:txBody>
          </p:sp>
          <p:sp>
            <p:nvSpPr>
              <p:cNvPr id="349" name="Freihandform: Form 1057">
                <a:extLst>
                  <a:ext uri="{FF2B5EF4-FFF2-40B4-BE49-F238E27FC236}">
                    <a16:creationId xmlns:a16="http://schemas.microsoft.com/office/drawing/2014/main" id="{13ABF4E2-26C0-4241-94DF-AA2331411199}"/>
                  </a:ext>
                </a:extLst>
              </p:cNvPr>
              <p:cNvSpPr/>
              <p:nvPr/>
            </p:nvSpPr>
            <p:spPr>
              <a:xfrm>
                <a:off x="7967366" y="3375977"/>
                <a:ext cx="132292" cy="431076"/>
              </a:xfrm>
              <a:custGeom>
                <a:avLst/>
                <a:gdLst>
                  <a:gd name="connsiteX0" fmla="*/ 11083 w 132292"/>
                  <a:gd name="connsiteY0" fmla="*/ 431076 h 431076"/>
                  <a:gd name="connsiteX1" fmla="*/ 6068 w 132292"/>
                  <a:gd name="connsiteY1" fmla="*/ 426061 h 431076"/>
                  <a:gd name="connsiteX2" fmla="*/ 6068 w 132292"/>
                  <a:gd name="connsiteY2" fmla="*/ 364617 h 431076"/>
                  <a:gd name="connsiteX3" fmla="*/ 11083 w 132292"/>
                  <a:gd name="connsiteY3" fmla="*/ 359602 h 431076"/>
                  <a:gd name="connsiteX4" fmla="*/ 54960 w 132292"/>
                  <a:gd name="connsiteY4" fmla="*/ 359602 h 431076"/>
                  <a:gd name="connsiteX5" fmla="*/ 85051 w 132292"/>
                  <a:gd name="connsiteY5" fmla="*/ 329510 h 431076"/>
                  <a:gd name="connsiteX6" fmla="*/ 84659 w 132292"/>
                  <a:gd name="connsiteY6" fmla="*/ 291097 h 431076"/>
                  <a:gd name="connsiteX7" fmla="*/ 87713 w 132292"/>
                  <a:gd name="connsiteY7" fmla="*/ 246072 h 431076"/>
                  <a:gd name="connsiteX8" fmla="*/ 88469 w 132292"/>
                  <a:gd name="connsiteY8" fmla="*/ 245736 h 431076"/>
                  <a:gd name="connsiteX9" fmla="*/ 104720 w 132292"/>
                  <a:gd name="connsiteY9" fmla="*/ 244867 h 431076"/>
                  <a:gd name="connsiteX10" fmla="*/ 113490 w 132292"/>
                  <a:gd name="connsiteY10" fmla="*/ 244979 h 431076"/>
                  <a:gd name="connsiteX11" fmla="*/ 120942 w 132292"/>
                  <a:gd name="connsiteY11" fmla="*/ 239796 h 431076"/>
                  <a:gd name="connsiteX12" fmla="*/ 121251 w 132292"/>
                  <a:gd name="connsiteY12" fmla="*/ 229373 h 431076"/>
                  <a:gd name="connsiteX13" fmla="*/ 97519 w 132292"/>
                  <a:gd name="connsiteY13" fmla="*/ 195611 h 431076"/>
                  <a:gd name="connsiteX14" fmla="*/ 80821 w 132292"/>
                  <a:gd name="connsiteY14" fmla="*/ 160756 h 431076"/>
                  <a:gd name="connsiteX15" fmla="*/ 78579 w 132292"/>
                  <a:gd name="connsiteY15" fmla="*/ 128928 h 431076"/>
                  <a:gd name="connsiteX16" fmla="*/ 76057 w 132292"/>
                  <a:gd name="connsiteY16" fmla="*/ 116207 h 431076"/>
                  <a:gd name="connsiteX17" fmla="*/ 3042 w 132292"/>
                  <a:gd name="connsiteY17" fmla="*/ 9626 h 431076"/>
                  <a:gd name="connsiteX18" fmla="*/ 408 w 132292"/>
                  <a:gd name="connsiteY18" fmla="*/ 3042 h 431076"/>
                  <a:gd name="connsiteX19" fmla="*/ 6992 w 132292"/>
                  <a:gd name="connsiteY19" fmla="*/ 408 h 431076"/>
                  <a:gd name="connsiteX20" fmla="*/ 86060 w 132292"/>
                  <a:gd name="connsiteY20" fmla="*/ 115619 h 431076"/>
                  <a:gd name="connsiteX21" fmla="*/ 88301 w 132292"/>
                  <a:gd name="connsiteY21" fmla="*/ 126574 h 431076"/>
                  <a:gd name="connsiteX22" fmla="*/ 89282 w 132292"/>
                  <a:gd name="connsiteY22" fmla="*/ 166136 h 431076"/>
                  <a:gd name="connsiteX23" fmla="*/ 105028 w 132292"/>
                  <a:gd name="connsiteY23" fmla="*/ 188999 h 431076"/>
                  <a:gd name="connsiteX24" fmla="*/ 130693 w 132292"/>
                  <a:gd name="connsiteY24" fmla="*/ 226067 h 431076"/>
                  <a:gd name="connsiteX25" fmla="*/ 128956 w 132292"/>
                  <a:gd name="connsiteY25" fmla="*/ 245848 h 431076"/>
                  <a:gd name="connsiteX26" fmla="*/ 113770 w 132292"/>
                  <a:gd name="connsiteY26" fmla="*/ 255038 h 431076"/>
                  <a:gd name="connsiteX27" fmla="*/ 104384 w 132292"/>
                  <a:gd name="connsiteY27" fmla="*/ 254926 h 431076"/>
                  <a:gd name="connsiteX28" fmla="*/ 94493 w 132292"/>
                  <a:gd name="connsiteY28" fmla="*/ 254870 h 431076"/>
                  <a:gd name="connsiteX29" fmla="*/ 94662 w 132292"/>
                  <a:gd name="connsiteY29" fmla="*/ 290957 h 431076"/>
                  <a:gd name="connsiteX30" fmla="*/ 95054 w 132292"/>
                  <a:gd name="connsiteY30" fmla="*/ 329510 h 431076"/>
                  <a:gd name="connsiteX31" fmla="*/ 54904 w 132292"/>
                  <a:gd name="connsiteY31" fmla="*/ 369632 h 431076"/>
                  <a:gd name="connsiteX32" fmla="*/ 16042 w 132292"/>
                  <a:gd name="connsiteY32" fmla="*/ 369632 h 431076"/>
                  <a:gd name="connsiteX33" fmla="*/ 16042 w 132292"/>
                  <a:gd name="connsiteY33" fmla="*/ 426061 h 431076"/>
                  <a:gd name="connsiteX34" fmla="*/ 11083 w 132292"/>
                  <a:gd name="connsiteY34" fmla="*/ 431076 h 431076"/>
                  <a:gd name="connsiteX35" fmla="*/ 90095 w 132292"/>
                  <a:gd name="connsiteY35" fmla="*/ 250499 h 431076"/>
                  <a:gd name="connsiteX36" fmla="*/ 90150 w 132292"/>
                  <a:gd name="connsiteY36" fmla="*/ 250499 h 431076"/>
                  <a:gd name="connsiteX37" fmla="*/ 90095 w 132292"/>
                  <a:gd name="connsiteY37" fmla="*/ 250499 h 431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32292" h="431076">
                    <a:moveTo>
                      <a:pt x="11083" y="431076"/>
                    </a:moveTo>
                    <a:cubicBezTo>
                      <a:pt x="8309" y="431076"/>
                      <a:pt x="6068" y="428835"/>
                      <a:pt x="6068" y="426061"/>
                    </a:cubicBezTo>
                    <a:lnTo>
                      <a:pt x="6068" y="364617"/>
                    </a:lnTo>
                    <a:cubicBezTo>
                      <a:pt x="6068" y="361843"/>
                      <a:pt x="8309" y="359602"/>
                      <a:pt x="11083" y="359602"/>
                    </a:cubicBezTo>
                    <a:lnTo>
                      <a:pt x="54960" y="359602"/>
                    </a:lnTo>
                    <a:cubicBezTo>
                      <a:pt x="58042" y="359574"/>
                      <a:pt x="85051" y="358565"/>
                      <a:pt x="85051" y="329510"/>
                    </a:cubicBezTo>
                    <a:cubicBezTo>
                      <a:pt x="85051" y="317210"/>
                      <a:pt x="84855" y="303537"/>
                      <a:pt x="84659" y="291097"/>
                    </a:cubicBezTo>
                    <a:cubicBezTo>
                      <a:pt x="84043" y="248005"/>
                      <a:pt x="84043" y="248005"/>
                      <a:pt x="87713" y="246072"/>
                    </a:cubicBezTo>
                    <a:cubicBezTo>
                      <a:pt x="87965" y="245932"/>
                      <a:pt x="88217" y="245848"/>
                      <a:pt x="88469" y="245736"/>
                    </a:cubicBezTo>
                    <a:cubicBezTo>
                      <a:pt x="92168" y="244503"/>
                      <a:pt x="97968" y="244671"/>
                      <a:pt x="104720" y="244867"/>
                    </a:cubicBezTo>
                    <a:cubicBezTo>
                      <a:pt x="107774" y="244979"/>
                      <a:pt x="110856" y="245063"/>
                      <a:pt x="113490" y="244979"/>
                    </a:cubicBezTo>
                    <a:cubicBezTo>
                      <a:pt x="114386" y="244867"/>
                      <a:pt x="118757" y="243298"/>
                      <a:pt x="120942" y="239796"/>
                    </a:cubicBezTo>
                    <a:cubicBezTo>
                      <a:pt x="122624" y="237078"/>
                      <a:pt x="122736" y="233576"/>
                      <a:pt x="121251" y="229373"/>
                    </a:cubicBezTo>
                    <a:cubicBezTo>
                      <a:pt x="117384" y="218278"/>
                      <a:pt x="106821" y="206230"/>
                      <a:pt x="97519" y="195611"/>
                    </a:cubicBezTo>
                    <a:cubicBezTo>
                      <a:pt x="84939" y="181266"/>
                      <a:pt x="74993" y="169946"/>
                      <a:pt x="80821" y="160756"/>
                    </a:cubicBezTo>
                    <a:cubicBezTo>
                      <a:pt x="84771" y="154508"/>
                      <a:pt x="81017" y="139126"/>
                      <a:pt x="78579" y="128928"/>
                    </a:cubicBezTo>
                    <a:cubicBezTo>
                      <a:pt x="77346" y="123800"/>
                      <a:pt x="76254" y="119373"/>
                      <a:pt x="76057" y="116207"/>
                    </a:cubicBezTo>
                    <a:cubicBezTo>
                      <a:pt x="73003" y="64934"/>
                      <a:pt x="48431" y="29071"/>
                      <a:pt x="3042" y="9626"/>
                    </a:cubicBezTo>
                    <a:cubicBezTo>
                      <a:pt x="492" y="8533"/>
                      <a:pt x="-685" y="5591"/>
                      <a:pt x="408" y="3042"/>
                    </a:cubicBezTo>
                    <a:cubicBezTo>
                      <a:pt x="1501" y="492"/>
                      <a:pt x="4443" y="-685"/>
                      <a:pt x="6992" y="408"/>
                    </a:cubicBezTo>
                    <a:cubicBezTo>
                      <a:pt x="56164" y="21506"/>
                      <a:pt x="82754" y="60255"/>
                      <a:pt x="86060" y="115619"/>
                    </a:cubicBezTo>
                    <a:cubicBezTo>
                      <a:pt x="86200" y="117889"/>
                      <a:pt x="87209" y="122119"/>
                      <a:pt x="88301" y="126574"/>
                    </a:cubicBezTo>
                    <a:cubicBezTo>
                      <a:pt x="91495" y="139827"/>
                      <a:pt x="95502" y="156274"/>
                      <a:pt x="89282" y="166136"/>
                    </a:cubicBezTo>
                    <a:cubicBezTo>
                      <a:pt x="87489" y="168966"/>
                      <a:pt x="98892" y="181994"/>
                      <a:pt x="105028" y="188999"/>
                    </a:cubicBezTo>
                    <a:cubicBezTo>
                      <a:pt x="114947" y="200290"/>
                      <a:pt x="126182" y="213123"/>
                      <a:pt x="130693" y="226067"/>
                    </a:cubicBezTo>
                    <a:cubicBezTo>
                      <a:pt x="133999" y="235509"/>
                      <a:pt x="131562" y="242037"/>
                      <a:pt x="128956" y="245848"/>
                    </a:cubicBezTo>
                    <a:cubicBezTo>
                      <a:pt x="124389" y="252488"/>
                      <a:pt x="116628" y="254926"/>
                      <a:pt x="113770" y="255038"/>
                    </a:cubicBezTo>
                    <a:cubicBezTo>
                      <a:pt x="110968" y="255122"/>
                      <a:pt x="107662" y="255038"/>
                      <a:pt x="104384" y="254926"/>
                    </a:cubicBezTo>
                    <a:cubicBezTo>
                      <a:pt x="101246" y="254814"/>
                      <a:pt x="97267" y="254702"/>
                      <a:pt x="94493" y="254870"/>
                    </a:cubicBezTo>
                    <a:cubicBezTo>
                      <a:pt x="94241" y="261370"/>
                      <a:pt x="94465" y="276948"/>
                      <a:pt x="94662" y="290957"/>
                    </a:cubicBezTo>
                    <a:cubicBezTo>
                      <a:pt x="94858" y="303453"/>
                      <a:pt x="95054" y="317154"/>
                      <a:pt x="95054" y="329510"/>
                    </a:cubicBezTo>
                    <a:cubicBezTo>
                      <a:pt x="95054" y="361255"/>
                      <a:pt x="68801" y="369632"/>
                      <a:pt x="54904" y="369632"/>
                    </a:cubicBezTo>
                    <a:lnTo>
                      <a:pt x="16042" y="369632"/>
                    </a:lnTo>
                    <a:lnTo>
                      <a:pt x="16042" y="426061"/>
                    </a:lnTo>
                    <a:cubicBezTo>
                      <a:pt x="16098" y="428835"/>
                      <a:pt x="13857" y="431076"/>
                      <a:pt x="11083" y="431076"/>
                    </a:cubicBezTo>
                    <a:close/>
                    <a:moveTo>
                      <a:pt x="90095" y="250499"/>
                    </a:moveTo>
                    <a:lnTo>
                      <a:pt x="90150" y="250499"/>
                    </a:lnTo>
                    <a:lnTo>
                      <a:pt x="90095" y="250499"/>
                    </a:lnTo>
                    <a:close/>
                  </a:path>
                </a:pathLst>
              </a:custGeom>
              <a:solidFill>
                <a:schemeClr val="tx2"/>
              </a:solidFill>
              <a:ln w="2793" cap="flat">
                <a:noFill/>
                <a:prstDash val="solid"/>
                <a:miter/>
              </a:ln>
            </p:spPr>
            <p:txBody>
              <a:bodyPr rtlCol="0" anchor="ctr"/>
              <a:lstStyle/>
              <a:p>
                <a:endParaRPr lang="en-GB" dirty="0"/>
              </a:p>
            </p:txBody>
          </p:sp>
          <p:sp>
            <p:nvSpPr>
              <p:cNvPr id="350" name="Freihandform: Form 1058">
                <a:extLst>
                  <a:ext uri="{FF2B5EF4-FFF2-40B4-BE49-F238E27FC236}">
                    <a16:creationId xmlns:a16="http://schemas.microsoft.com/office/drawing/2014/main" id="{578E6534-5D80-4A27-B02F-9AEB1422A746}"/>
                  </a:ext>
                </a:extLst>
              </p:cNvPr>
              <p:cNvSpPr/>
              <p:nvPr/>
            </p:nvSpPr>
            <p:spPr>
              <a:xfrm>
                <a:off x="8010019" y="3359704"/>
                <a:ext cx="207988" cy="447348"/>
              </a:xfrm>
              <a:custGeom>
                <a:avLst/>
                <a:gdLst>
                  <a:gd name="connsiteX0" fmla="*/ 86751 w 207988"/>
                  <a:gd name="connsiteY0" fmla="*/ 447348 h 447348"/>
                  <a:gd name="connsiteX1" fmla="*/ 81736 w 207988"/>
                  <a:gd name="connsiteY1" fmla="*/ 442333 h 447348"/>
                  <a:gd name="connsiteX2" fmla="*/ 81736 w 207988"/>
                  <a:gd name="connsiteY2" fmla="*/ 380889 h 447348"/>
                  <a:gd name="connsiteX3" fmla="*/ 86751 w 207988"/>
                  <a:gd name="connsiteY3" fmla="*/ 375874 h 447348"/>
                  <a:gd name="connsiteX4" fmla="*/ 130628 w 207988"/>
                  <a:gd name="connsiteY4" fmla="*/ 375874 h 447348"/>
                  <a:gd name="connsiteX5" fmla="*/ 160719 w 207988"/>
                  <a:gd name="connsiteY5" fmla="*/ 345782 h 447348"/>
                  <a:gd name="connsiteX6" fmla="*/ 160327 w 207988"/>
                  <a:gd name="connsiteY6" fmla="*/ 307369 h 447348"/>
                  <a:gd name="connsiteX7" fmla="*/ 163381 w 207988"/>
                  <a:gd name="connsiteY7" fmla="*/ 262344 h 447348"/>
                  <a:gd name="connsiteX8" fmla="*/ 164109 w 207988"/>
                  <a:gd name="connsiteY8" fmla="*/ 262036 h 447348"/>
                  <a:gd name="connsiteX9" fmla="*/ 180360 w 207988"/>
                  <a:gd name="connsiteY9" fmla="*/ 261167 h 447348"/>
                  <a:gd name="connsiteX10" fmla="*/ 189158 w 207988"/>
                  <a:gd name="connsiteY10" fmla="*/ 261279 h 447348"/>
                  <a:gd name="connsiteX11" fmla="*/ 196610 w 207988"/>
                  <a:gd name="connsiteY11" fmla="*/ 256096 h 447348"/>
                  <a:gd name="connsiteX12" fmla="*/ 196919 w 207988"/>
                  <a:gd name="connsiteY12" fmla="*/ 245645 h 447348"/>
                  <a:gd name="connsiteX13" fmla="*/ 173187 w 207988"/>
                  <a:gd name="connsiteY13" fmla="*/ 211883 h 447348"/>
                  <a:gd name="connsiteX14" fmla="*/ 156516 w 207988"/>
                  <a:gd name="connsiteY14" fmla="*/ 177029 h 447348"/>
                  <a:gd name="connsiteX15" fmla="*/ 154275 w 207988"/>
                  <a:gd name="connsiteY15" fmla="*/ 145228 h 447348"/>
                  <a:gd name="connsiteX16" fmla="*/ 151754 w 207988"/>
                  <a:gd name="connsiteY16" fmla="*/ 132508 h 447348"/>
                  <a:gd name="connsiteX17" fmla="*/ 4742 w 207988"/>
                  <a:gd name="connsiteY17" fmla="*/ 10040 h 447348"/>
                  <a:gd name="connsiteX18" fmla="*/ 7 w 207988"/>
                  <a:gd name="connsiteY18" fmla="*/ 4744 h 447348"/>
                  <a:gd name="connsiteX19" fmla="*/ 5302 w 207988"/>
                  <a:gd name="connsiteY19" fmla="*/ 9 h 447348"/>
                  <a:gd name="connsiteX20" fmla="*/ 161756 w 207988"/>
                  <a:gd name="connsiteY20" fmla="*/ 131891 h 447348"/>
                  <a:gd name="connsiteX21" fmla="*/ 163997 w 207988"/>
                  <a:gd name="connsiteY21" fmla="*/ 142846 h 447348"/>
                  <a:gd name="connsiteX22" fmla="*/ 164978 w 207988"/>
                  <a:gd name="connsiteY22" fmla="*/ 182408 h 447348"/>
                  <a:gd name="connsiteX23" fmla="*/ 180724 w 207988"/>
                  <a:gd name="connsiteY23" fmla="*/ 205271 h 447348"/>
                  <a:gd name="connsiteX24" fmla="*/ 206389 w 207988"/>
                  <a:gd name="connsiteY24" fmla="*/ 242311 h 447348"/>
                  <a:gd name="connsiteX25" fmla="*/ 204652 w 207988"/>
                  <a:gd name="connsiteY25" fmla="*/ 262092 h 447348"/>
                  <a:gd name="connsiteX26" fmla="*/ 189466 w 207988"/>
                  <a:gd name="connsiteY26" fmla="*/ 271282 h 447348"/>
                  <a:gd name="connsiteX27" fmla="*/ 180080 w 207988"/>
                  <a:gd name="connsiteY27" fmla="*/ 271170 h 447348"/>
                  <a:gd name="connsiteX28" fmla="*/ 170189 w 207988"/>
                  <a:gd name="connsiteY28" fmla="*/ 271114 h 447348"/>
                  <a:gd name="connsiteX29" fmla="*/ 170357 w 207988"/>
                  <a:gd name="connsiteY29" fmla="*/ 307201 h 447348"/>
                  <a:gd name="connsiteX30" fmla="*/ 170750 w 207988"/>
                  <a:gd name="connsiteY30" fmla="*/ 345754 h 447348"/>
                  <a:gd name="connsiteX31" fmla="*/ 130628 w 207988"/>
                  <a:gd name="connsiteY31" fmla="*/ 385876 h 447348"/>
                  <a:gd name="connsiteX32" fmla="*/ 91766 w 207988"/>
                  <a:gd name="connsiteY32" fmla="*/ 385876 h 447348"/>
                  <a:gd name="connsiteX33" fmla="*/ 91766 w 207988"/>
                  <a:gd name="connsiteY33" fmla="*/ 442305 h 447348"/>
                  <a:gd name="connsiteX34" fmla="*/ 86751 w 207988"/>
                  <a:gd name="connsiteY34" fmla="*/ 447348 h 447348"/>
                  <a:gd name="connsiteX35" fmla="*/ 165763 w 207988"/>
                  <a:gd name="connsiteY35" fmla="*/ 266771 h 447348"/>
                  <a:gd name="connsiteX36" fmla="*/ 165818 w 207988"/>
                  <a:gd name="connsiteY36" fmla="*/ 266771 h 447348"/>
                  <a:gd name="connsiteX37" fmla="*/ 165763 w 207988"/>
                  <a:gd name="connsiteY37" fmla="*/ 266771 h 44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7988" h="447348">
                    <a:moveTo>
                      <a:pt x="86751" y="447348"/>
                    </a:moveTo>
                    <a:cubicBezTo>
                      <a:pt x="83977" y="447348"/>
                      <a:pt x="81736" y="445107"/>
                      <a:pt x="81736" y="442333"/>
                    </a:cubicBezTo>
                    <a:lnTo>
                      <a:pt x="81736" y="380889"/>
                    </a:lnTo>
                    <a:cubicBezTo>
                      <a:pt x="81736" y="378116"/>
                      <a:pt x="83977" y="375874"/>
                      <a:pt x="86751" y="375874"/>
                    </a:cubicBezTo>
                    <a:lnTo>
                      <a:pt x="130628" y="375874"/>
                    </a:lnTo>
                    <a:cubicBezTo>
                      <a:pt x="133710" y="375846"/>
                      <a:pt x="160719" y="374837"/>
                      <a:pt x="160719" y="345782"/>
                    </a:cubicBezTo>
                    <a:cubicBezTo>
                      <a:pt x="160719" y="333482"/>
                      <a:pt x="160523" y="319810"/>
                      <a:pt x="160327" y="307369"/>
                    </a:cubicBezTo>
                    <a:cubicBezTo>
                      <a:pt x="159683" y="264277"/>
                      <a:pt x="159683" y="264277"/>
                      <a:pt x="163381" y="262344"/>
                    </a:cubicBezTo>
                    <a:cubicBezTo>
                      <a:pt x="163605" y="262232"/>
                      <a:pt x="163857" y="262120"/>
                      <a:pt x="164109" y="262036"/>
                    </a:cubicBezTo>
                    <a:cubicBezTo>
                      <a:pt x="167808" y="260775"/>
                      <a:pt x="173636" y="260971"/>
                      <a:pt x="180360" y="261167"/>
                    </a:cubicBezTo>
                    <a:cubicBezTo>
                      <a:pt x="183414" y="261279"/>
                      <a:pt x="186496" y="261363"/>
                      <a:pt x="189158" y="261279"/>
                    </a:cubicBezTo>
                    <a:cubicBezTo>
                      <a:pt x="190082" y="261167"/>
                      <a:pt x="194425" y="259598"/>
                      <a:pt x="196610" y="256096"/>
                    </a:cubicBezTo>
                    <a:cubicBezTo>
                      <a:pt x="198292" y="253378"/>
                      <a:pt x="198404" y="249876"/>
                      <a:pt x="196919" y="245645"/>
                    </a:cubicBezTo>
                    <a:cubicBezTo>
                      <a:pt x="193052" y="234550"/>
                      <a:pt x="182489" y="222502"/>
                      <a:pt x="173187" y="211883"/>
                    </a:cubicBezTo>
                    <a:cubicBezTo>
                      <a:pt x="160607" y="197538"/>
                      <a:pt x="150661" y="186218"/>
                      <a:pt x="156516" y="177029"/>
                    </a:cubicBezTo>
                    <a:cubicBezTo>
                      <a:pt x="160467" y="170808"/>
                      <a:pt x="156712" y="155398"/>
                      <a:pt x="154275" y="145228"/>
                    </a:cubicBezTo>
                    <a:cubicBezTo>
                      <a:pt x="153042" y="140101"/>
                      <a:pt x="151950" y="135674"/>
                      <a:pt x="151754" y="132508"/>
                    </a:cubicBezTo>
                    <a:cubicBezTo>
                      <a:pt x="146122" y="37750"/>
                      <a:pt x="68707" y="13598"/>
                      <a:pt x="4742" y="10040"/>
                    </a:cubicBezTo>
                    <a:cubicBezTo>
                      <a:pt x="1968" y="9872"/>
                      <a:pt x="-134" y="7518"/>
                      <a:pt x="7" y="4744"/>
                    </a:cubicBezTo>
                    <a:cubicBezTo>
                      <a:pt x="175" y="1971"/>
                      <a:pt x="2556" y="-159"/>
                      <a:pt x="5302" y="9"/>
                    </a:cubicBezTo>
                    <a:cubicBezTo>
                      <a:pt x="60974" y="3119"/>
                      <a:pt x="155340" y="24385"/>
                      <a:pt x="161756" y="131891"/>
                    </a:cubicBezTo>
                    <a:cubicBezTo>
                      <a:pt x="161896" y="134161"/>
                      <a:pt x="162905" y="138391"/>
                      <a:pt x="163997" y="142846"/>
                    </a:cubicBezTo>
                    <a:cubicBezTo>
                      <a:pt x="167191" y="156099"/>
                      <a:pt x="171198" y="172546"/>
                      <a:pt x="164978" y="182408"/>
                    </a:cubicBezTo>
                    <a:cubicBezTo>
                      <a:pt x="163157" y="185238"/>
                      <a:pt x="174588" y="198266"/>
                      <a:pt x="180724" y="205271"/>
                    </a:cubicBezTo>
                    <a:cubicBezTo>
                      <a:pt x="190643" y="216562"/>
                      <a:pt x="201878" y="229367"/>
                      <a:pt x="206389" y="242311"/>
                    </a:cubicBezTo>
                    <a:cubicBezTo>
                      <a:pt x="209695" y="251753"/>
                      <a:pt x="207257" y="258281"/>
                      <a:pt x="204652" y="262092"/>
                    </a:cubicBezTo>
                    <a:cubicBezTo>
                      <a:pt x="200085" y="268732"/>
                      <a:pt x="192324" y="271170"/>
                      <a:pt x="189466" y="271282"/>
                    </a:cubicBezTo>
                    <a:cubicBezTo>
                      <a:pt x="186664" y="271366"/>
                      <a:pt x="183330" y="271282"/>
                      <a:pt x="180080" y="271170"/>
                    </a:cubicBezTo>
                    <a:cubicBezTo>
                      <a:pt x="176942" y="271086"/>
                      <a:pt x="172991" y="270946"/>
                      <a:pt x="170189" y="271114"/>
                    </a:cubicBezTo>
                    <a:cubicBezTo>
                      <a:pt x="169937" y="277614"/>
                      <a:pt x="170161" y="293192"/>
                      <a:pt x="170357" y="307201"/>
                    </a:cubicBezTo>
                    <a:cubicBezTo>
                      <a:pt x="170554" y="319697"/>
                      <a:pt x="170750" y="333398"/>
                      <a:pt x="170750" y="345754"/>
                    </a:cubicBezTo>
                    <a:cubicBezTo>
                      <a:pt x="170750" y="377499"/>
                      <a:pt x="144497" y="385876"/>
                      <a:pt x="130628" y="385876"/>
                    </a:cubicBezTo>
                    <a:lnTo>
                      <a:pt x="91766" y="385876"/>
                    </a:lnTo>
                    <a:lnTo>
                      <a:pt x="91766" y="442305"/>
                    </a:lnTo>
                    <a:cubicBezTo>
                      <a:pt x="91766" y="445107"/>
                      <a:pt x="89525" y="447348"/>
                      <a:pt x="86751" y="447348"/>
                    </a:cubicBezTo>
                    <a:close/>
                    <a:moveTo>
                      <a:pt x="165763" y="266771"/>
                    </a:moveTo>
                    <a:lnTo>
                      <a:pt x="165818" y="266771"/>
                    </a:lnTo>
                    <a:lnTo>
                      <a:pt x="165763" y="266771"/>
                    </a:lnTo>
                    <a:close/>
                  </a:path>
                </a:pathLst>
              </a:custGeom>
              <a:solidFill>
                <a:schemeClr val="tx2"/>
              </a:solidFill>
              <a:ln w="2793" cap="flat">
                <a:noFill/>
                <a:prstDash val="solid"/>
                <a:miter/>
              </a:ln>
            </p:spPr>
            <p:txBody>
              <a:bodyPr rtlCol="0" anchor="ctr"/>
              <a:lstStyle/>
              <a:p>
                <a:endParaRPr lang="en-GB" dirty="0"/>
              </a:p>
            </p:txBody>
          </p:sp>
          <p:sp>
            <p:nvSpPr>
              <p:cNvPr id="351" name="Freihandform: Form 1059">
                <a:extLst>
                  <a:ext uri="{FF2B5EF4-FFF2-40B4-BE49-F238E27FC236}">
                    <a16:creationId xmlns:a16="http://schemas.microsoft.com/office/drawing/2014/main" id="{FA96DE64-0B87-4AF2-BB47-14F8978715BC}"/>
                  </a:ext>
                </a:extLst>
              </p:cNvPr>
              <p:cNvSpPr/>
              <p:nvPr/>
            </p:nvSpPr>
            <p:spPr>
              <a:xfrm>
                <a:off x="8134812" y="3359704"/>
                <a:ext cx="208017" cy="447348"/>
              </a:xfrm>
              <a:custGeom>
                <a:avLst/>
                <a:gdLst>
                  <a:gd name="connsiteX0" fmla="*/ 86751 w 208017"/>
                  <a:gd name="connsiteY0" fmla="*/ 447348 h 447348"/>
                  <a:gd name="connsiteX1" fmla="*/ 81736 w 208017"/>
                  <a:gd name="connsiteY1" fmla="*/ 442333 h 447348"/>
                  <a:gd name="connsiteX2" fmla="*/ 81736 w 208017"/>
                  <a:gd name="connsiteY2" fmla="*/ 380889 h 447348"/>
                  <a:gd name="connsiteX3" fmla="*/ 86751 w 208017"/>
                  <a:gd name="connsiteY3" fmla="*/ 375874 h 447348"/>
                  <a:gd name="connsiteX4" fmla="*/ 130628 w 208017"/>
                  <a:gd name="connsiteY4" fmla="*/ 375874 h 447348"/>
                  <a:gd name="connsiteX5" fmla="*/ 160720 w 208017"/>
                  <a:gd name="connsiteY5" fmla="*/ 345782 h 447348"/>
                  <a:gd name="connsiteX6" fmla="*/ 160327 w 208017"/>
                  <a:gd name="connsiteY6" fmla="*/ 307369 h 447348"/>
                  <a:gd name="connsiteX7" fmla="*/ 163381 w 208017"/>
                  <a:gd name="connsiteY7" fmla="*/ 262344 h 447348"/>
                  <a:gd name="connsiteX8" fmla="*/ 164138 w 208017"/>
                  <a:gd name="connsiteY8" fmla="*/ 262008 h 447348"/>
                  <a:gd name="connsiteX9" fmla="*/ 180388 w 208017"/>
                  <a:gd name="connsiteY9" fmla="*/ 261139 h 447348"/>
                  <a:gd name="connsiteX10" fmla="*/ 189158 w 208017"/>
                  <a:gd name="connsiteY10" fmla="*/ 261251 h 447348"/>
                  <a:gd name="connsiteX11" fmla="*/ 196611 w 208017"/>
                  <a:gd name="connsiteY11" fmla="*/ 256068 h 447348"/>
                  <a:gd name="connsiteX12" fmla="*/ 196919 w 208017"/>
                  <a:gd name="connsiteY12" fmla="*/ 245645 h 447348"/>
                  <a:gd name="connsiteX13" fmla="*/ 173188 w 208017"/>
                  <a:gd name="connsiteY13" fmla="*/ 211911 h 447348"/>
                  <a:gd name="connsiteX14" fmla="*/ 156489 w 208017"/>
                  <a:gd name="connsiteY14" fmla="*/ 177057 h 447348"/>
                  <a:gd name="connsiteX15" fmla="*/ 154247 w 208017"/>
                  <a:gd name="connsiteY15" fmla="*/ 145228 h 447348"/>
                  <a:gd name="connsiteX16" fmla="*/ 151725 w 208017"/>
                  <a:gd name="connsiteY16" fmla="*/ 132508 h 447348"/>
                  <a:gd name="connsiteX17" fmla="*/ 4742 w 208017"/>
                  <a:gd name="connsiteY17" fmla="*/ 10040 h 447348"/>
                  <a:gd name="connsiteX18" fmla="*/ 7 w 208017"/>
                  <a:gd name="connsiteY18" fmla="*/ 4744 h 447348"/>
                  <a:gd name="connsiteX19" fmla="*/ 5302 w 208017"/>
                  <a:gd name="connsiteY19" fmla="*/ 9 h 447348"/>
                  <a:gd name="connsiteX20" fmla="*/ 161756 w 208017"/>
                  <a:gd name="connsiteY20" fmla="*/ 131891 h 447348"/>
                  <a:gd name="connsiteX21" fmla="*/ 163997 w 208017"/>
                  <a:gd name="connsiteY21" fmla="*/ 142846 h 447348"/>
                  <a:gd name="connsiteX22" fmla="*/ 164978 w 208017"/>
                  <a:gd name="connsiteY22" fmla="*/ 182408 h 447348"/>
                  <a:gd name="connsiteX23" fmla="*/ 180752 w 208017"/>
                  <a:gd name="connsiteY23" fmla="*/ 205271 h 447348"/>
                  <a:gd name="connsiteX24" fmla="*/ 206417 w 208017"/>
                  <a:gd name="connsiteY24" fmla="*/ 242311 h 447348"/>
                  <a:gd name="connsiteX25" fmla="*/ 204680 w 208017"/>
                  <a:gd name="connsiteY25" fmla="*/ 262092 h 447348"/>
                  <a:gd name="connsiteX26" fmla="*/ 189494 w 208017"/>
                  <a:gd name="connsiteY26" fmla="*/ 271282 h 447348"/>
                  <a:gd name="connsiteX27" fmla="*/ 180108 w 208017"/>
                  <a:gd name="connsiteY27" fmla="*/ 271170 h 447348"/>
                  <a:gd name="connsiteX28" fmla="*/ 170217 w 208017"/>
                  <a:gd name="connsiteY28" fmla="*/ 271114 h 447348"/>
                  <a:gd name="connsiteX29" fmla="*/ 170386 w 208017"/>
                  <a:gd name="connsiteY29" fmla="*/ 307201 h 447348"/>
                  <a:gd name="connsiteX30" fmla="*/ 170778 w 208017"/>
                  <a:gd name="connsiteY30" fmla="*/ 345754 h 447348"/>
                  <a:gd name="connsiteX31" fmla="*/ 130628 w 208017"/>
                  <a:gd name="connsiteY31" fmla="*/ 385876 h 447348"/>
                  <a:gd name="connsiteX32" fmla="*/ 91766 w 208017"/>
                  <a:gd name="connsiteY32" fmla="*/ 385876 h 447348"/>
                  <a:gd name="connsiteX33" fmla="*/ 91766 w 208017"/>
                  <a:gd name="connsiteY33" fmla="*/ 442305 h 447348"/>
                  <a:gd name="connsiteX34" fmla="*/ 86751 w 208017"/>
                  <a:gd name="connsiteY34" fmla="*/ 447348 h 447348"/>
                  <a:gd name="connsiteX35" fmla="*/ 165735 w 208017"/>
                  <a:gd name="connsiteY35" fmla="*/ 266771 h 447348"/>
                  <a:gd name="connsiteX36" fmla="*/ 165791 w 208017"/>
                  <a:gd name="connsiteY36" fmla="*/ 266771 h 447348"/>
                  <a:gd name="connsiteX37" fmla="*/ 165735 w 208017"/>
                  <a:gd name="connsiteY37" fmla="*/ 266771 h 447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08017" h="447348">
                    <a:moveTo>
                      <a:pt x="86751" y="447348"/>
                    </a:moveTo>
                    <a:cubicBezTo>
                      <a:pt x="83978" y="447348"/>
                      <a:pt x="81736" y="445107"/>
                      <a:pt x="81736" y="442333"/>
                    </a:cubicBezTo>
                    <a:lnTo>
                      <a:pt x="81736" y="380889"/>
                    </a:lnTo>
                    <a:cubicBezTo>
                      <a:pt x="81736" y="378116"/>
                      <a:pt x="83978" y="375874"/>
                      <a:pt x="86751" y="375874"/>
                    </a:cubicBezTo>
                    <a:lnTo>
                      <a:pt x="130628" y="375874"/>
                    </a:lnTo>
                    <a:cubicBezTo>
                      <a:pt x="133710" y="375846"/>
                      <a:pt x="160720" y="374837"/>
                      <a:pt x="160720" y="345782"/>
                    </a:cubicBezTo>
                    <a:cubicBezTo>
                      <a:pt x="160720" y="333482"/>
                      <a:pt x="160523" y="319810"/>
                      <a:pt x="160327" y="307369"/>
                    </a:cubicBezTo>
                    <a:cubicBezTo>
                      <a:pt x="159711" y="264277"/>
                      <a:pt x="159711" y="264277"/>
                      <a:pt x="163381" y="262344"/>
                    </a:cubicBezTo>
                    <a:cubicBezTo>
                      <a:pt x="163633" y="262204"/>
                      <a:pt x="163886" y="262120"/>
                      <a:pt x="164138" y="262008"/>
                    </a:cubicBezTo>
                    <a:cubicBezTo>
                      <a:pt x="167836" y="260775"/>
                      <a:pt x="173636" y="260943"/>
                      <a:pt x="180388" y="261139"/>
                    </a:cubicBezTo>
                    <a:cubicBezTo>
                      <a:pt x="183442" y="261251"/>
                      <a:pt x="186524" y="261336"/>
                      <a:pt x="189158" y="261251"/>
                    </a:cubicBezTo>
                    <a:cubicBezTo>
                      <a:pt x="190083" y="261139"/>
                      <a:pt x="194425" y="259570"/>
                      <a:pt x="196611" y="256068"/>
                    </a:cubicBezTo>
                    <a:cubicBezTo>
                      <a:pt x="198292" y="253350"/>
                      <a:pt x="198404" y="249848"/>
                      <a:pt x="196919" y="245645"/>
                    </a:cubicBezTo>
                    <a:cubicBezTo>
                      <a:pt x="193052" y="234550"/>
                      <a:pt x="182489" y="222502"/>
                      <a:pt x="173188" y="211911"/>
                    </a:cubicBezTo>
                    <a:cubicBezTo>
                      <a:pt x="160607" y="197566"/>
                      <a:pt x="150661" y="186218"/>
                      <a:pt x="156489" y="177057"/>
                    </a:cubicBezTo>
                    <a:cubicBezTo>
                      <a:pt x="160439" y="170808"/>
                      <a:pt x="156713" y="155426"/>
                      <a:pt x="154247" y="145228"/>
                    </a:cubicBezTo>
                    <a:cubicBezTo>
                      <a:pt x="153015" y="140101"/>
                      <a:pt x="151922" y="135674"/>
                      <a:pt x="151725" y="132508"/>
                    </a:cubicBezTo>
                    <a:cubicBezTo>
                      <a:pt x="146094" y="37750"/>
                      <a:pt x="68679" y="13598"/>
                      <a:pt x="4742" y="10040"/>
                    </a:cubicBezTo>
                    <a:cubicBezTo>
                      <a:pt x="1968" y="9872"/>
                      <a:pt x="-133" y="7518"/>
                      <a:pt x="7" y="4744"/>
                    </a:cubicBezTo>
                    <a:cubicBezTo>
                      <a:pt x="175" y="1971"/>
                      <a:pt x="2472" y="-159"/>
                      <a:pt x="5302" y="9"/>
                    </a:cubicBezTo>
                    <a:cubicBezTo>
                      <a:pt x="60974" y="3119"/>
                      <a:pt x="155340" y="24385"/>
                      <a:pt x="161756" y="131891"/>
                    </a:cubicBezTo>
                    <a:cubicBezTo>
                      <a:pt x="161896" y="134161"/>
                      <a:pt x="162905" y="138391"/>
                      <a:pt x="163997" y="142846"/>
                    </a:cubicBezTo>
                    <a:cubicBezTo>
                      <a:pt x="167192" y="156099"/>
                      <a:pt x="171198" y="172546"/>
                      <a:pt x="164978" y="182408"/>
                    </a:cubicBezTo>
                    <a:cubicBezTo>
                      <a:pt x="163185" y="185238"/>
                      <a:pt x="174588" y="198266"/>
                      <a:pt x="180752" y="205271"/>
                    </a:cubicBezTo>
                    <a:cubicBezTo>
                      <a:pt x="190671" y="216562"/>
                      <a:pt x="201878" y="229367"/>
                      <a:pt x="206417" y="242311"/>
                    </a:cubicBezTo>
                    <a:cubicBezTo>
                      <a:pt x="209723" y="251753"/>
                      <a:pt x="207286" y="258281"/>
                      <a:pt x="204680" y="262092"/>
                    </a:cubicBezTo>
                    <a:cubicBezTo>
                      <a:pt x="200113" y="268732"/>
                      <a:pt x="192352" y="271170"/>
                      <a:pt x="189494" y="271282"/>
                    </a:cubicBezTo>
                    <a:cubicBezTo>
                      <a:pt x="186664" y="271366"/>
                      <a:pt x="183386" y="271282"/>
                      <a:pt x="180108" y="271170"/>
                    </a:cubicBezTo>
                    <a:cubicBezTo>
                      <a:pt x="176970" y="271058"/>
                      <a:pt x="172992" y="270946"/>
                      <a:pt x="170217" y="271114"/>
                    </a:cubicBezTo>
                    <a:cubicBezTo>
                      <a:pt x="169965" y="277614"/>
                      <a:pt x="170190" y="293192"/>
                      <a:pt x="170386" y="307201"/>
                    </a:cubicBezTo>
                    <a:cubicBezTo>
                      <a:pt x="170582" y="319697"/>
                      <a:pt x="170778" y="333398"/>
                      <a:pt x="170778" y="345754"/>
                    </a:cubicBezTo>
                    <a:cubicBezTo>
                      <a:pt x="170778" y="377499"/>
                      <a:pt x="144525" y="385876"/>
                      <a:pt x="130628" y="385876"/>
                    </a:cubicBezTo>
                    <a:lnTo>
                      <a:pt x="91766" y="385876"/>
                    </a:lnTo>
                    <a:lnTo>
                      <a:pt x="91766" y="442305"/>
                    </a:lnTo>
                    <a:cubicBezTo>
                      <a:pt x="91766" y="445107"/>
                      <a:pt x="89525" y="447348"/>
                      <a:pt x="86751" y="447348"/>
                    </a:cubicBezTo>
                    <a:close/>
                    <a:moveTo>
                      <a:pt x="165735" y="266771"/>
                    </a:moveTo>
                    <a:lnTo>
                      <a:pt x="165791" y="266771"/>
                    </a:lnTo>
                    <a:lnTo>
                      <a:pt x="165735" y="266771"/>
                    </a:lnTo>
                    <a:close/>
                  </a:path>
                </a:pathLst>
              </a:custGeom>
              <a:solidFill>
                <a:schemeClr val="tx2"/>
              </a:solidFill>
              <a:ln w="2793" cap="flat">
                <a:noFill/>
                <a:prstDash val="solid"/>
                <a:miter/>
              </a:ln>
            </p:spPr>
            <p:txBody>
              <a:bodyPr rtlCol="0" anchor="ctr"/>
              <a:lstStyle/>
              <a:p>
                <a:endParaRPr lang="en-GB" dirty="0"/>
              </a:p>
            </p:txBody>
          </p:sp>
        </p:grpSp>
        <p:grpSp>
          <p:nvGrpSpPr>
            <p:cNvPr id="339" name="Group 338">
              <a:extLst>
                <a:ext uri="{FF2B5EF4-FFF2-40B4-BE49-F238E27FC236}">
                  <a16:creationId xmlns:a16="http://schemas.microsoft.com/office/drawing/2014/main" id="{BBF2529C-2ACB-4AC6-9116-3F367E8DD6BC}"/>
                </a:ext>
              </a:extLst>
            </p:cNvPr>
            <p:cNvGrpSpPr/>
            <p:nvPr/>
          </p:nvGrpSpPr>
          <p:grpSpPr>
            <a:xfrm>
              <a:off x="7760285" y="3236349"/>
              <a:ext cx="230337" cy="289960"/>
              <a:chOff x="7760285" y="3236349"/>
              <a:chExt cx="230337" cy="289960"/>
            </a:xfrm>
          </p:grpSpPr>
          <p:grpSp>
            <p:nvGrpSpPr>
              <p:cNvPr id="340" name="Grafik 39">
                <a:extLst>
                  <a:ext uri="{FF2B5EF4-FFF2-40B4-BE49-F238E27FC236}">
                    <a16:creationId xmlns:a16="http://schemas.microsoft.com/office/drawing/2014/main" id="{09FA77EA-A437-4A36-A8E2-69893A9B3F14}"/>
                  </a:ext>
                </a:extLst>
              </p:cNvPr>
              <p:cNvGrpSpPr/>
              <p:nvPr/>
            </p:nvGrpSpPr>
            <p:grpSpPr>
              <a:xfrm>
                <a:off x="7795826" y="3305498"/>
                <a:ext cx="159199" cy="220811"/>
                <a:chOff x="7795826" y="3305498"/>
                <a:chExt cx="159199" cy="220811"/>
              </a:xfrm>
              <a:solidFill>
                <a:schemeClr val="accent1"/>
              </a:solidFill>
            </p:grpSpPr>
            <p:sp>
              <p:nvSpPr>
                <p:cNvPr id="345" name="Freihandform: Form 1062">
                  <a:extLst>
                    <a:ext uri="{FF2B5EF4-FFF2-40B4-BE49-F238E27FC236}">
                      <a16:creationId xmlns:a16="http://schemas.microsoft.com/office/drawing/2014/main" id="{37DC015B-C648-411E-AC62-B32C722CFC19}"/>
                    </a:ext>
                  </a:extLst>
                </p:cNvPr>
                <p:cNvSpPr/>
                <p:nvPr/>
              </p:nvSpPr>
              <p:spPr>
                <a:xfrm>
                  <a:off x="7795826" y="3305498"/>
                  <a:ext cx="159199" cy="179176"/>
                </a:xfrm>
                <a:custGeom>
                  <a:avLst/>
                  <a:gdLst>
                    <a:gd name="connsiteX0" fmla="*/ 115071 w 159199"/>
                    <a:gd name="connsiteY0" fmla="*/ 179177 h 179176"/>
                    <a:gd name="connsiteX1" fmla="*/ 44157 w 159199"/>
                    <a:gd name="connsiteY1" fmla="*/ 179177 h 179176"/>
                    <a:gd name="connsiteX2" fmla="*/ 39141 w 159199"/>
                    <a:gd name="connsiteY2" fmla="*/ 174161 h 179176"/>
                    <a:gd name="connsiteX3" fmla="*/ 39141 w 159199"/>
                    <a:gd name="connsiteY3" fmla="*/ 149113 h 179176"/>
                    <a:gd name="connsiteX4" fmla="*/ 33482 w 159199"/>
                    <a:gd name="connsiteY4" fmla="*/ 144490 h 179176"/>
                    <a:gd name="connsiteX5" fmla="*/ 0 w 159199"/>
                    <a:gd name="connsiteY5" fmla="*/ 79600 h 179176"/>
                    <a:gd name="connsiteX6" fmla="*/ 79600 w 159199"/>
                    <a:gd name="connsiteY6" fmla="*/ 0 h 179176"/>
                    <a:gd name="connsiteX7" fmla="*/ 159200 w 159199"/>
                    <a:gd name="connsiteY7" fmla="*/ 79600 h 179176"/>
                    <a:gd name="connsiteX8" fmla="*/ 125017 w 159199"/>
                    <a:gd name="connsiteY8" fmla="*/ 144994 h 179176"/>
                    <a:gd name="connsiteX9" fmla="*/ 120030 w 159199"/>
                    <a:gd name="connsiteY9" fmla="*/ 154521 h 179176"/>
                    <a:gd name="connsiteX10" fmla="*/ 120058 w 159199"/>
                    <a:gd name="connsiteY10" fmla="*/ 174133 h 179176"/>
                    <a:gd name="connsiteX11" fmla="*/ 115071 w 159199"/>
                    <a:gd name="connsiteY11" fmla="*/ 179177 h 179176"/>
                    <a:gd name="connsiteX12" fmla="*/ 49172 w 159199"/>
                    <a:gd name="connsiteY12" fmla="*/ 169146 h 179176"/>
                    <a:gd name="connsiteX13" fmla="*/ 110056 w 159199"/>
                    <a:gd name="connsiteY13" fmla="*/ 169146 h 179176"/>
                    <a:gd name="connsiteX14" fmla="*/ 110056 w 159199"/>
                    <a:gd name="connsiteY14" fmla="*/ 154941 h 179176"/>
                    <a:gd name="connsiteX15" fmla="*/ 119694 w 159199"/>
                    <a:gd name="connsiteY15" fmla="*/ 136533 h 179176"/>
                    <a:gd name="connsiteX16" fmla="*/ 149225 w 159199"/>
                    <a:gd name="connsiteY16" fmla="*/ 79628 h 179176"/>
                    <a:gd name="connsiteX17" fmla="*/ 79656 w 159199"/>
                    <a:gd name="connsiteY17" fmla="*/ 10059 h 179176"/>
                    <a:gd name="connsiteX18" fmla="*/ 10086 w 159199"/>
                    <a:gd name="connsiteY18" fmla="*/ 79628 h 179176"/>
                    <a:gd name="connsiteX19" fmla="*/ 39226 w 159199"/>
                    <a:gd name="connsiteY19" fmla="*/ 136253 h 179176"/>
                    <a:gd name="connsiteX20" fmla="*/ 48864 w 159199"/>
                    <a:gd name="connsiteY20" fmla="*/ 145723 h 179176"/>
                    <a:gd name="connsiteX21" fmla="*/ 49228 w 159199"/>
                    <a:gd name="connsiteY21" fmla="*/ 147572 h 179176"/>
                    <a:gd name="connsiteX22" fmla="*/ 49228 w 159199"/>
                    <a:gd name="connsiteY22" fmla="*/ 169146 h 17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9199" h="179176">
                      <a:moveTo>
                        <a:pt x="115071" y="179177"/>
                      </a:moveTo>
                      <a:lnTo>
                        <a:pt x="44157" y="179177"/>
                      </a:lnTo>
                      <a:cubicBezTo>
                        <a:pt x="41383" y="179177"/>
                        <a:pt x="39141" y="176935"/>
                        <a:pt x="39141" y="174161"/>
                      </a:cubicBezTo>
                      <a:lnTo>
                        <a:pt x="39141" y="149113"/>
                      </a:lnTo>
                      <a:cubicBezTo>
                        <a:pt x="38469" y="148413"/>
                        <a:pt x="36816" y="146816"/>
                        <a:pt x="33482" y="144490"/>
                      </a:cubicBezTo>
                      <a:cubicBezTo>
                        <a:pt x="12524" y="130005"/>
                        <a:pt x="0" y="105769"/>
                        <a:pt x="0" y="79600"/>
                      </a:cubicBezTo>
                      <a:cubicBezTo>
                        <a:pt x="0" y="35695"/>
                        <a:pt x="35723" y="0"/>
                        <a:pt x="79600" y="0"/>
                      </a:cubicBezTo>
                      <a:cubicBezTo>
                        <a:pt x="123504" y="0"/>
                        <a:pt x="159200" y="35723"/>
                        <a:pt x="159200" y="79600"/>
                      </a:cubicBezTo>
                      <a:cubicBezTo>
                        <a:pt x="159200" y="106582"/>
                        <a:pt x="146087" y="131630"/>
                        <a:pt x="125017" y="144994"/>
                      </a:cubicBezTo>
                      <a:cubicBezTo>
                        <a:pt x="119694" y="148357"/>
                        <a:pt x="120030" y="154465"/>
                        <a:pt x="120030" y="154521"/>
                      </a:cubicBezTo>
                      <a:lnTo>
                        <a:pt x="120058" y="174133"/>
                      </a:lnTo>
                      <a:cubicBezTo>
                        <a:pt x="120086" y="176935"/>
                        <a:pt x="117845" y="179177"/>
                        <a:pt x="115071" y="179177"/>
                      </a:cubicBezTo>
                      <a:close/>
                      <a:moveTo>
                        <a:pt x="49172" y="169146"/>
                      </a:moveTo>
                      <a:lnTo>
                        <a:pt x="110056" y="169146"/>
                      </a:lnTo>
                      <a:lnTo>
                        <a:pt x="110056" y="154941"/>
                      </a:lnTo>
                      <a:cubicBezTo>
                        <a:pt x="110028" y="154857"/>
                        <a:pt x="109215" y="143145"/>
                        <a:pt x="119694" y="136533"/>
                      </a:cubicBezTo>
                      <a:cubicBezTo>
                        <a:pt x="137906" y="125018"/>
                        <a:pt x="149225" y="103191"/>
                        <a:pt x="149225" y="79628"/>
                      </a:cubicBezTo>
                      <a:cubicBezTo>
                        <a:pt x="149225" y="41271"/>
                        <a:pt x="118013" y="10059"/>
                        <a:pt x="79656" y="10059"/>
                      </a:cubicBezTo>
                      <a:cubicBezTo>
                        <a:pt x="41299" y="10059"/>
                        <a:pt x="10086" y="41271"/>
                        <a:pt x="10086" y="79628"/>
                      </a:cubicBezTo>
                      <a:cubicBezTo>
                        <a:pt x="10086" y="102491"/>
                        <a:pt x="20986" y="123645"/>
                        <a:pt x="39226" y="136253"/>
                      </a:cubicBezTo>
                      <a:cubicBezTo>
                        <a:pt x="46258" y="141128"/>
                        <a:pt x="48275" y="144266"/>
                        <a:pt x="48864" y="145723"/>
                      </a:cubicBezTo>
                      <a:cubicBezTo>
                        <a:pt x="49088" y="146311"/>
                        <a:pt x="49228" y="146956"/>
                        <a:pt x="49228" y="147572"/>
                      </a:cubicBezTo>
                      <a:lnTo>
                        <a:pt x="49228" y="169146"/>
                      </a:lnTo>
                      <a:close/>
                    </a:path>
                  </a:pathLst>
                </a:custGeom>
                <a:solidFill>
                  <a:schemeClr val="accent1"/>
                </a:solidFill>
                <a:ln w="2793" cap="flat">
                  <a:noFill/>
                  <a:prstDash val="solid"/>
                  <a:miter/>
                </a:ln>
              </p:spPr>
              <p:txBody>
                <a:bodyPr rtlCol="0" anchor="ctr"/>
                <a:lstStyle/>
                <a:p>
                  <a:endParaRPr lang="en-GB" dirty="0"/>
                </a:p>
              </p:txBody>
            </p:sp>
            <p:sp>
              <p:nvSpPr>
                <p:cNvPr id="346" name="Freihandform: Form 1063">
                  <a:extLst>
                    <a:ext uri="{FF2B5EF4-FFF2-40B4-BE49-F238E27FC236}">
                      <a16:creationId xmlns:a16="http://schemas.microsoft.com/office/drawing/2014/main" id="{0B30D524-F79F-46E9-9E6F-DA3BA716DB7D}"/>
                    </a:ext>
                  </a:extLst>
                </p:cNvPr>
                <p:cNvSpPr/>
                <p:nvPr/>
              </p:nvSpPr>
              <p:spPr>
                <a:xfrm>
                  <a:off x="7834884" y="3495462"/>
                  <a:ext cx="80272" cy="10030"/>
                </a:xfrm>
                <a:custGeom>
                  <a:avLst/>
                  <a:gdLst>
                    <a:gd name="connsiteX0" fmla="*/ 75257 w 80272"/>
                    <a:gd name="connsiteY0" fmla="*/ 10030 h 10030"/>
                    <a:gd name="connsiteX1" fmla="*/ 5015 w 80272"/>
                    <a:gd name="connsiteY1" fmla="*/ 10030 h 10030"/>
                    <a:gd name="connsiteX2" fmla="*/ 0 w 80272"/>
                    <a:gd name="connsiteY2" fmla="*/ 5015 h 10030"/>
                    <a:gd name="connsiteX3" fmla="*/ 5015 w 80272"/>
                    <a:gd name="connsiteY3" fmla="*/ 0 h 10030"/>
                    <a:gd name="connsiteX4" fmla="*/ 75257 w 80272"/>
                    <a:gd name="connsiteY4" fmla="*/ 0 h 10030"/>
                    <a:gd name="connsiteX5" fmla="*/ 80272 w 80272"/>
                    <a:gd name="connsiteY5" fmla="*/ 5015 h 10030"/>
                    <a:gd name="connsiteX6" fmla="*/ 75257 w 80272"/>
                    <a:gd name="connsiteY6" fmla="*/ 10030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272" h="10030">
                      <a:moveTo>
                        <a:pt x="75257" y="10030"/>
                      </a:moveTo>
                      <a:lnTo>
                        <a:pt x="5015" y="10030"/>
                      </a:lnTo>
                      <a:cubicBezTo>
                        <a:pt x="2241" y="10030"/>
                        <a:pt x="0" y="7789"/>
                        <a:pt x="0" y="5015"/>
                      </a:cubicBezTo>
                      <a:cubicBezTo>
                        <a:pt x="0" y="2241"/>
                        <a:pt x="2241" y="0"/>
                        <a:pt x="5015" y="0"/>
                      </a:cubicBezTo>
                      <a:lnTo>
                        <a:pt x="75257" y="0"/>
                      </a:lnTo>
                      <a:cubicBezTo>
                        <a:pt x="78031" y="0"/>
                        <a:pt x="80272" y="2241"/>
                        <a:pt x="80272" y="5015"/>
                      </a:cubicBezTo>
                      <a:cubicBezTo>
                        <a:pt x="80272" y="7789"/>
                        <a:pt x="78031" y="10030"/>
                        <a:pt x="75257" y="10030"/>
                      </a:cubicBezTo>
                      <a:close/>
                    </a:path>
                  </a:pathLst>
                </a:custGeom>
                <a:solidFill>
                  <a:schemeClr val="accent1"/>
                </a:solidFill>
                <a:ln w="2793" cap="flat">
                  <a:noFill/>
                  <a:prstDash val="solid"/>
                  <a:miter/>
                </a:ln>
              </p:spPr>
              <p:txBody>
                <a:bodyPr rtlCol="0" anchor="ctr"/>
                <a:lstStyle/>
                <a:p>
                  <a:endParaRPr lang="en-GB" dirty="0"/>
                </a:p>
              </p:txBody>
            </p:sp>
            <p:sp>
              <p:nvSpPr>
                <p:cNvPr id="347" name="Freihandform: Form 1064">
                  <a:extLst>
                    <a:ext uri="{FF2B5EF4-FFF2-40B4-BE49-F238E27FC236}">
                      <a16:creationId xmlns:a16="http://schemas.microsoft.com/office/drawing/2014/main" id="{D176E840-909E-41B7-BAFB-8F67704C686C}"/>
                    </a:ext>
                  </a:extLst>
                </p:cNvPr>
                <p:cNvSpPr/>
                <p:nvPr/>
              </p:nvSpPr>
              <p:spPr>
                <a:xfrm>
                  <a:off x="7847884" y="3516280"/>
                  <a:ext cx="54271" cy="10030"/>
                </a:xfrm>
                <a:custGeom>
                  <a:avLst/>
                  <a:gdLst>
                    <a:gd name="connsiteX0" fmla="*/ 49256 w 54271"/>
                    <a:gd name="connsiteY0" fmla="*/ 10030 h 10030"/>
                    <a:gd name="connsiteX1" fmla="*/ 5015 w 54271"/>
                    <a:gd name="connsiteY1" fmla="*/ 10030 h 10030"/>
                    <a:gd name="connsiteX2" fmla="*/ 0 w 54271"/>
                    <a:gd name="connsiteY2" fmla="*/ 5015 h 10030"/>
                    <a:gd name="connsiteX3" fmla="*/ 5015 w 54271"/>
                    <a:gd name="connsiteY3" fmla="*/ 0 h 10030"/>
                    <a:gd name="connsiteX4" fmla="*/ 49256 w 54271"/>
                    <a:gd name="connsiteY4" fmla="*/ 0 h 10030"/>
                    <a:gd name="connsiteX5" fmla="*/ 54271 w 54271"/>
                    <a:gd name="connsiteY5" fmla="*/ 5015 h 10030"/>
                    <a:gd name="connsiteX6" fmla="*/ 49256 w 54271"/>
                    <a:gd name="connsiteY6" fmla="*/ 10030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271" h="10030">
                      <a:moveTo>
                        <a:pt x="49256" y="10030"/>
                      </a:moveTo>
                      <a:lnTo>
                        <a:pt x="5015" y="10030"/>
                      </a:lnTo>
                      <a:cubicBezTo>
                        <a:pt x="2241" y="10030"/>
                        <a:pt x="0" y="7789"/>
                        <a:pt x="0" y="5015"/>
                      </a:cubicBezTo>
                      <a:cubicBezTo>
                        <a:pt x="0" y="2241"/>
                        <a:pt x="2241" y="0"/>
                        <a:pt x="5015" y="0"/>
                      </a:cubicBezTo>
                      <a:lnTo>
                        <a:pt x="49256" y="0"/>
                      </a:lnTo>
                      <a:cubicBezTo>
                        <a:pt x="52030" y="0"/>
                        <a:pt x="54271" y="2241"/>
                        <a:pt x="54271" y="5015"/>
                      </a:cubicBezTo>
                      <a:cubicBezTo>
                        <a:pt x="54271" y="7789"/>
                        <a:pt x="52030" y="10030"/>
                        <a:pt x="49256" y="10030"/>
                      </a:cubicBezTo>
                      <a:close/>
                    </a:path>
                  </a:pathLst>
                </a:custGeom>
                <a:solidFill>
                  <a:schemeClr val="accent1"/>
                </a:solidFill>
                <a:ln w="2793" cap="flat">
                  <a:noFill/>
                  <a:prstDash val="solid"/>
                  <a:miter/>
                </a:ln>
              </p:spPr>
              <p:txBody>
                <a:bodyPr rtlCol="0" anchor="ctr"/>
                <a:lstStyle/>
                <a:p>
                  <a:endParaRPr lang="en-GB" dirty="0"/>
                </a:p>
              </p:txBody>
            </p:sp>
          </p:grpSp>
          <p:grpSp>
            <p:nvGrpSpPr>
              <p:cNvPr id="341" name="Grafik 39">
                <a:extLst>
                  <a:ext uri="{FF2B5EF4-FFF2-40B4-BE49-F238E27FC236}">
                    <a16:creationId xmlns:a16="http://schemas.microsoft.com/office/drawing/2014/main" id="{9B537F90-E74D-47A8-957C-1405644B5436}"/>
                  </a:ext>
                </a:extLst>
              </p:cNvPr>
              <p:cNvGrpSpPr/>
              <p:nvPr/>
            </p:nvGrpSpPr>
            <p:grpSpPr>
              <a:xfrm>
                <a:off x="7760285" y="3236349"/>
                <a:ext cx="230337" cy="82149"/>
                <a:chOff x="7760285" y="3236349"/>
                <a:chExt cx="230337" cy="82149"/>
              </a:xfrm>
              <a:solidFill>
                <a:schemeClr val="accent1"/>
              </a:solidFill>
            </p:grpSpPr>
            <p:sp>
              <p:nvSpPr>
                <p:cNvPr id="342" name="Freihandform: Form 1066">
                  <a:extLst>
                    <a:ext uri="{FF2B5EF4-FFF2-40B4-BE49-F238E27FC236}">
                      <a16:creationId xmlns:a16="http://schemas.microsoft.com/office/drawing/2014/main" id="{634E3BFB-37D7-4806-8787-5AE4B958CC79}"/>
                    </a:ext>
                  </a:extLst>
                </p:cNvPr>
                <p:cNvSpPr/>
                <p:nvPr/>
              </p:nvSpPr>
              <p:spPr>
                <a:xfrm>
                  <a:off x="7868618" y="3236349"/>
                  <a:ext cx="10030" cy="56148"/>
                </a:xfrm>
                <a:custGeom>
                  <a:avLst/>
                  <a:gdLst>
                    <a:gd name="connsiteX0" fmla="*/ 5015 w 10030"/>
                    <a:gd name="connsiteY0" fmla="*/ 56149 h 56148"/>
                    <a:gd name="connsiteX1" fmla="*/ 0 w 10030"/>
                    <a:gd name="connsiteY1" fmla="*/ 51133 h 56148"/>
                    <a:gd name="connsiteX2" fmla="*/ 0 w 10030"/>
                    <a:gd name="connsiteY2" fmla="*/ 5015 h 56148"/>
                    <a:gd name="connsiteX3" fmla="*/ 5015 w 10030"/>
                    <a:gd name="connsiteY3" fmla="*/ 0 h 56148"/>
                    <a:gd name="connsiteX4" fmla="*/ 10031 w 10030"/>
                    <a:gd name="connsiteY4" fmla="*/ 5015 h 56148"/>
                    <a:gd name="connsiteX5" fmla="*/ 10031 w 10030"/>
                    <a:gd name="connsiteY5" fmla="*/ 51133 h 56148"/>
                    <a:gd name="connsiteX6" fmla="*/ 5015 w 10030"/>
                    <a:gd name="connsiteY6" fmla="*/ 56149 h 56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0" h="56148">
                      <a:moveTo>
                        <a:pt x="5015" y="56149"/>
                      </a:moveTo>
                      <a:cubicBezTo>
                        <a:pt x="2241" y="56149"/>
                        <a:pt x="0" y="53907"/>
                        <a:pt x="0" y="51133"/>
                      </a:cubicBezTo>
                      <a:lnTo>
                        <a:pt x="0" y="5015"/>
                      </a:lnTo>
                      <a:cubicBezTo>
                        <a:pt x="0" y="2242"/>
                        <a:pt x="2241" y="0"/>
                        <a:pt x="5015" y="0"/>
                      </a:cubicBezTo>
                      <a:cubicBezTo>
                        <a:pt x="7789" y="0"/>
                        <a:pt x="10031" y="2242"/>
                        <a:pt x="10031" y="5015"/>
                      </a:cubicBezTo>
                      <a:lnTo>
                        <a:pt x="10031" y="51133"/>
                      </a:lnTo>
                      <a:cubicBezTo>
                        <a:pt x="10031" y="53907"/>
                        <a:pt x="7789" y="56149"/>
                        <a:pt x="5015" y="56149"/>
                      </a:cubicBezTo>
                      <a:close/>
                    </a:path>
                  </a:pathLst>
                </a:custGeom>
                <a:solidFill>
                  <a:schemeClr val="accent1"/>
                </a:solidFill>
                <a:ln w="2793" cap="flat">
                  <a:noFill/>
                  <a:prstDash val="solid"/>
                  <a:miter/>
                </a:ln>
              </p:spPr>
              <p:txBody>
                <a:bodyPr rtlCol="0" anchor="ctr"/>
                <a:lstStyle/>
                <a:p>
                  <a:endParaRPr lang="en-GB" dirty="0"/>
                </a:p>
              </p:txBody>
            </p:sp>
            <p:sp>
              <p:nvSpPr>
                <p:cNvPr id="343" name="Freihandform: Form 1067">
                  <a:extLst>
                    <a:ext uri="{FF2B5EF4-FFF2-40B4-BE49-F238E27FC236}">
                      <a16:creationId xmlns:a16="http://schemas.microsoft.com/office/drawing/2014/main" id="{2B44AF97-A858-4856-B836-DD5367B27A8A}"/>
                    </a:ext>
                  </a:extLst>
                </p:cNvPr>
                <p:cNvSpPr/>
                <p:nvPr/>
              </p:nvSpPr>
              <p:spPr>
                <a:xfrm>
                  <a:off x="7760285" y="3275869"/>
                  <a:ext cx="42615" cy="42629"/>
                </a:xfrm>
                <a:custGeom>
                  <a:avLst/>
                  <a:gdLst>
                    <a:gd name="connsiteX0" fmla="*/ 37614 w 42615"/>
                    <a:gd name="connsiteY0" fmla="*/ 42630 h 42629"/>
                    <a:gd name="connsiteX1" fmla="*/ 34056 w 42615"/>
                    <a:gd name="connsiteY1" fmla="*/ 41173 h 42629"/>
                    <a:gd name="connsiteX2" fmla="*/ 1471 w 42615"/>
                    <a:gd name="connsiteY2" fmla="*/ 8560 h 42629"/>
                    <a:gd name="connsiteX3" fmla="*/ 1471 w 42615"/>
                    <a:gd name="connsiteY3" fmla="*/ 1471 h 42629"/>
                    <a:gd name="connsiteX4" fmla="*/ 8560 w 42615"/>
                    <a:gd name="connsiteY4" fmla="*/ 1471 h 42629"/>
                    <a:gd name="connsiteX5" fmla="*/ 41145 w 42615"/>
                    <a:gd name="connsiteY5" fmla="*/ 34056 h 42629"/>
                    <a:gd name="connsiteX6" fmla="*/ 41145 w 42615"/>
                    <a:gd name="connsiteY6" fmla="*/ 41145 h 42629"/>
                    <a:gd name="connsiteX7" fmla="*/ 37614 w 42615"/>
                    <a:gd name="connsiteY7" fmla="*/ 42630 h 42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15" h="42629">
                      <a:moveTo>
                        <a:pt x="37614" y="42630"/>
                      </a:moveTo>
                      <a:cubicBezTo>
                        <a:pt x="36326" y="42630"/>
                        <a:pt x="35037" y="42154"/>
                        <a:pt x="34056" y="41173"/>
                      </a:cubicBezTo>
                      <a:lnTo>
                        <a:pt x="1471" y="8560"/>
                      </a:lnTo>
                      <a:cubicBezTo>
                        <a:pt x="-490" y="6598"/>
                        <a:pt x="-490" y="3432"/>
                        <a:pt x="1471" y="1471"/>
                      </a:cubicBezTo>
                      <a:cubicBezTo>
                        <a:pt x="3432" y="-490"/>
                        <a:pt x="6598" y="-490"/>
                        <a:pt x="8560" y="1471"/>
                      </a:cubicBezTo>
                      <a:lnTo>
                        <a:pt x="41145" y="34056"/>
                      </a:lnTo>
                      <a:cubicBezTo>
                        <a:pt x="43106" y="36018"/>
                        <a:pt x="43106" y="39184"/>
                        <a:pt x="41145" y="41145"/>
                      </a:cubicBezTo>
                      <a:cubicBezTo>
                        <a:pt x="40164" y="42154"/>
                        <a:pt x="38903" y="42630"/>
                        <a:pt x="37614" y="42630"/>
                      </a:cubicBezTo>
                      <a:close/>
                    </a:path>
                  </a:pathLst>
                </a:custGeom>
                <a:solidFill>
                  <a:schemeClr val="accent1"/>
                </a:solidFill>
                <a:ln w="2793" cap="flat">
                  <a:noFill/>
                  <a:prstDash val="solid"/>
                  <a:miter/>
                </a:ln>
              </p:spPr>
              <p:txBody>
                <a:bodyPr rtlCol="0" anchor="ctr"/>
                <a:lstStyle/>
                <a:p>
                  <a:endParaRPr lang="en-GB" dirty="0"/>
                </a:p>
              </p:txBody>
            </p:sp>
            <p:sp>
              <p:nvSpPr>
                <p:cNvPr id="344" name="Freihandform: Form 1068">
                  <a:extLst>
                    <a:ext uri="{FF2B5EF4-FFF2-40B4-BE49-F238E27FC236}">
                      <a16:creationId xmlns:a16="http://schemas.microsoft.com/office/drawing/2014/main" id="{E50CBEAD-DA89-4D3C-AE5A-3F79E6B5D4BA}"/>
                    </a:ext>
                  </a:extLst>
                </p:cNvPr>
                <p:cNvSpPr/>
                <p:nvPr/>
              </p:nvSpPr>
              <p:spPr>
                <a:xfrm>
                  <a:off x="7947979" y="3275897"/>
                  <a:ext cx="42643" cy="42601"/>
                </a:xfrm>
                <a:custGeom>
                  <a:avLst/>
                  <a:gdLst>
                    <a:gd name="connsiteX0" fmla="*/ 5029 w 42643"/>
                    <a:gd name="connsiteY0" fmla="*/ 42602 h 42601"/>
                    <a:gd name="connsiteX1" fmla="*/ 1471 w 42643"/>
                    <a:gd name="connsiteY1" fmla="*/ 41145 h 42601"/>
                    <a:gd name="connsiteX2" fmla="*/ 1471 w 42643"/>
                    <a:gd name="connsiteY2" fmla="*/ 34056 h 42601"/>
                    <a:gd name="connsiteX3" fmla="*/ 34084 w 42643"/>
                    <a:gd name="connsiteY3" fmla="*/ 1471 h 42601"/>
                    <a:gd name="connsiteX4" fmla="*/ 41173 w 42643"/>
                    <a:gd name="connsiteY4" fmla="*/ 1471 h 42601"/>
                    <a:gd name="connsiteX5" fmla="*/ 41173 w 42643"/>
                    <a:gd name="connsiteY5" fmla="*/ 8560 h 42601"/>
                    <a:gd name="connsiteX6" fmla="*/ 8560 w 42643"/>
                    <a:gd name="connsiteY6" fmla="*/ 41173 h 42601"/>
                    <a:gd name="connsiteX7" fmla="*/ 5029 w 42643"/>
                    <a:gd name="connsiteY7" fmla="*/ 42602 h 4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643" h="42601">
                      <a:moveTo>
                        <a:pt x="5029" y="42602"/>
                      </a:moveTo>
                      <a:cubicBezTo>
                        <a:pt x="3740" y="42602"/>
                        <a:pt x="2452" y="42125"/>
                        <a:pt x="1471" y="41145"/>
                      </a:cubicBezTo>
                      <a:cubicBezTo>
                        <a:pt x="-490" y="39184"/>
                        <a:pt x="-490" y="36018"/>
                        <a:pt x="1471" y="34056"/>
                      </a:cubicBezTo>
                      <a:lnTo>
                        <a:pt x="34084" y="1471"/>
                      </a:lnTo>
                      <a:cubicBezTo>
                        <a:pt x="36045" y="-490"/>
                        <a:pt x="39211" y="-490"/>
                        <a:pt x="41173" y="1471"/>
                      </a:cubicBezTo>
                      <a:cubicBezTo>
                        <a:pt x="43134" y="3432"/>
                        <a:pt x="43134" y="6598"/>
                        <a:pt x="41173" y="8560"/>
                      </a:cubicBezTo>
                      <a:lnTo>
                        <a:pt x="8560" y="41173"/>
                      </a:lnTo>
                      <a:cubicBezTo>
                        <a:pt x="7579" y="42125"/>
                        <a:pt x="6318" y="42602"/>
                        <a:pt x="5029" y="42602"/>
                      </a:cubicBezTo>
                      <a:close/>
                    </a:path>
                  </a:pathLst>
                </a:custGeom>
                <a:solidFill>
                  <a:schemeClr val="accent1"/>
                </a:solidFill>
                <a:ln w="2793" cap="flat">
                  <a:noFill/>
                  <a:prstDash val="solid"/>
                  <a:miter/>
                </a:ln>
              </p:spPr>
              <p:txBody>
                <a:bodyPr rtlCol="0" anchor="ctr"/>
                <a:lstStyle/>
                <a:p>
                  <a:endParaRPr lang="en-GB" dirty="0"/>
                </a:p>
              </p:txBody>
            </p:sp>
          </p:grpSp>
        </p:grpSp>
      </p:grpSp>
      <p:sp>
        <p:nvSpPr>
          <p:cNvPr id="352" name="TextBox 21">
            <a:extLst>
              <a:ext uri="{FF2B5EF4-FFF2-40B4-BE49-F238E27FC236}">
                <a16:creationId xmlns:a16="http://schemas.microsoft.com/office/drawing/2014/main" id="{BC6C4D34-3833-42F3-9E2C-2DEAE26106D3}"/>
              </a:ext>
            </a:extLst>
          </p:cNvPr>
          <p:cNvSpPr txBox="1"/>
          <p:nvPr/>
        </p:nvSpPr>
        <p:spPr>
          <a:xfrm>
            <a:off x="435433" y="2084758"/>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cruitment</a:t>
            </a:r>
          </a:p>
        </p:txBody>
      </p:sp>
      <p:grpSp>
        <p:nvGrpSpPr>
          <p:cNvPr id="353" name="Group 323">
            <a:extLst>
              <a:ext uri="{FF2B5EF4-FFF2-40B4-BE49-F238E27FC236}">
                <a16:creationId xmlns:a16="http://schemas.microsoft.com/office/drawing/2014/main" id="{6EACF3B0-EC0F-4459-AC2C-2CD0183F6DC4}"/>
              </a:ext>
            </a:extLst>
          </p:cNvPr>
          <p:cNvGrpSpPr>
            <a:grpSpLocks noChangeAspect="1"/>
          </p:cNvGrpSpPr>
          <p:nvPr/>
        </p:nvGrpSpPr>
        <p:grpSpPr>
          <a:xfrm>
            <a:off x="602359" y="1593250"/>
            <a:ext cx="349996" cy="432000"/>
            <a:chOff x="7005201" y="2503725"/>
            <a:chExt cx="371185" cy="458153"/>
          </a:xfrm>
        </p:grpSpPr>
        <p:grpSp>
          <p:nvGrpSpPr>
            <p:cNvPr id="354" name="Group 324">
              <a:extLst>
                <a:ext uri="{FF2B5EF4-FFF2-40B4-BE49-F238E27FC236}">
                  <a16:creationId xmlns:a16="http://schemas.microsoft.com/office/drawing/2014/main" id="{CDAB5916-F9AE-46E3-92BC-E7D3A932D279}"/>
                </a:ext>
              </a:extLst>
            </p:cNvPr>
            <p:cNvGrpSpPr/>
            <p:nvPr/>
          </p:nvGrpSpPr>
          <p:grpSpPr>
            <a:xfrm>
              <a:off x="7005201" y="2503725"/>
              <a:ext cx="371185" cy="458153"/>
              <a:chOff x="7005208" y="2503728"/>
              <a:chExt cx="371185" cy="458154"/>
            </a:xfrm>
          </p:grpSpPr>
          <p:sp>
            <p:nvSpPr>
              <p:cNvPr id="362" name="Freihandform: Form 970">
                <a:extLst>
                  <a:ext uri="{FF2B5EF4-FFF2-40B4-BE49-F238E27FC236}">
                    <a16:creationId xmlns:a16="http://schemas.microsoft.com/office/drawing/2014/main" id="{10FB4AE3-00A8-49E4-A410-B1965A662C02}"/>
                  </a:ext>
                </a:extLst>
              </p:cNvPr>
              <p:cNvSpPr/>
              <p:nvPr/>
            </p:nvSpPr>
            <p:spPr>
              <a:xfrm>
                <a:off x="7005208" y="2503728"/>
                <a:ext cx="371185" cy="458154"/>
              </a:xfrm>
              <a:custGeom>
                <a:avLst/>
                <a:gdLst>
                  <a:gd name="connsiteX0" fmla="*/ 366170 w 371185"/>
                  <a:gd name="connsiteY0" fmla="*/ 458154 h 458154"/>
                  <a:gd name="connsiteX1" fmla="*/ 5015 w 371185"/>
                  <a:gd name="connsiteY1" fmla="*/ 458154 h 458154"/>
                  <a:gd name="connsiteX2" fmla="*/ 0 w 371185"/>
                  <a:gd name="connsiteY2" fmla="*/ 453139 h 458154"/>
                  <a:gd name="connsiteX3" fmla="*/ 0 w 371185"/>
                  <a:gd name="connsiteY3" fmla="*/ 5015 h 458154"/>
                  <a:gd name="connsiteX4" fmla="*/ 5015 w 371185"/>
                  <a:gd name="connsiteY4" fmla="*/ 0 h 458154"/>
                  <a:gd name="connsiteX5" fmla="*/ 366170 w 371185"/>
                  <a:gd name="connsiteY5" fmla="*/ 0 h 458154"/>
                  <a:gd name="connsiteX6" fmla="*/ 371186 w 371185"/>
                  <a:gd name="connsiteY6" fmla="*/ 5015 h 458154"/>
                  <a:gd name="connsiteX7" fmla="*/ 371186 w 371185"/>
                  <a:gd name="connsiteY7" fmla="*/ 453139 h 458154"/>
                  <a:gd name="connsiteX8" fmla="*/ 366170 w 371185"/>
                  <a:gd name="connsiteY8" fmla="*/ 458154 h 458154"/>
                  <a:gd name="connsiteX9" fmla="*/ 10030 w 371185"/>
                  <a:gd name="connsiteY9" fmla="*/ 448124 h 458154"/>
                  <a:gd name="connsiteX10" fmla="*/ 361155 w 371185"/>
                  <a:gd name="connsiteY10" fmla="*/ 448124 h 458154"/>
                  <a:gd name="connsiteX11" fmla="*/ 361155 w 371185"/>
                  <a:gd name="connsiteY11" fmla="*/ 10030 h 458154"/>
                  <a:gd name="connsiteX12" fmla="*/ 10030 w 371185"/>
                  <a:gd name="connsiteY12" fmla="*/ 10030 h 458154"/>
                  <a:gd name="connsiteX13" fmla="*/ 10030 w 371185"/>
                  <a:gd name="connsiteY13" fmla="*/ 448124 h 458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1185" h="458154">
                    <a:moveTo>
                      <a:pt x="366170" y="458154"/>
                    </a:moveTo>
                    <a:lnTo>
                      <a:pt x="5015" y="458154"/>
                    </a:lnTo>
                    <a:cubicBezTo>
                      <a:pt x="2241" y="458154"/>
                      <a:pt x="0" y="455913"/>
                      <a:pt x="0" y="453139"/>
                    </a:cubicBezTo>
                    <a:lnTo>
                      <a:pt x="0" y="5015"/>
                    </a:lnTo>
                    <a:cubicBezTo>
                      <a:pt x="0" y="2241"/>
                      <a:pt x="2241" y="0"/>
                      <a:pt x="5015" y="0"/>
                    </a:cubicBezTo>
                    <a:lnTo>
                      <a:pt x="366170" y="0"/>
                    </a:lnTo>
                    <a:cubicBezTo>
                      <a:pt x="368944" y="0"/>
                      <a:pt x="371186" y="2241"/>
                      <a:pt x="371186" y="5015"/>
                    </a:cubicBezTo>
                    <a:lnTo>
                      <a:pt x="371186" y="453139"/>
                    </a:lnTo>
                    <a:cubicBezTo>
                      <a:pt x="371186" y="455885"/>
                      <a:pt x="368944" y="458154"/>
                      <a:pt x="366170" y="458154"/>
                    </a:cubicBezTo>
                    <a:close/>
                    <a:moveTo>
                      <a:pt x="10030" y="448124"/>
                    </a:moveTo>
                    <a:lnTo>
                      <a:pt x="361155" y="448124"/>
                    </a:lnTo>
                    <a:lnTo>
                      <a:pt x="361155" y="10030"/>
                    </a:lnTo>
                    <a:lnTo>
                      <a:pt x="10030" y="10030"/>
                    </a:lnTo>
                    <a:lnTo>
                      <a:pt x="10030" y="448124"/>
                    </a:lnTo>
                    <a:close/>
                  </a:path>
                </a:pathLst>
              </a:custGeom>
              <a:solidFill>
                <a:schemeClr val="tx2"/>
              </a:solidFill>
              <a:ln w="2793" cap="flat">
                <a:noFill/>
                <a:prstDash val="solid"/>
                <a:miter/>
              </a:ln>
            </p:spPr>
            <p:txBody>
              <a:bodyPr rtlCol="0" anchor="ctr"/>
              <a:lstStyle/>
              <a:p>
                <a:endParaRPr lang="en-GB" dirty="0"/>
              </a:p>
            </p:txBody>
          </p:sp>
          <p:sp>
            <p:nvSpPr>
              <p:cNvPr id="363" name="Freihandform: Form 971">
                <a:extLst>
                  <a:ext uri="{FF2B5EF4-FFF2-40B4-BE49-F238E27FC236}">
                    <a16:creationId xmlns:a16="http://schemas.microsoft.com/office/drawing/2014/main" id="{433AF597-A326-4199-9A81-8F04AB303B78}"/>
                  </a:ext>
                </a:extLst>
              </p:cNvPr>
              <p:cNvSpPr/>
              <p:nvPr/>
            </p:nvSpPr>
            <p:spPr>
              <a:xfrm>
                <a:off x="7065391" y="2784639"/>
                <a:ext cx="250819" cy="10030"/>
              </a:xfrm>
              <a:custGeom>
                <a:avLst/>
                <a:gdLst>
                  <a:gd name="connsiteX0" fmla="*/ 245804 w 250819"/>
                  <a:gd name="connsiteY0" fmla="*/ 10030 h 10030"/>
                  <a:gd name="connsiteX1" fmla="*/ 5015 w 250819"/>
                  <a:gd name="connsiteY1" fmla="*/ 10030 h 10030"/>
                  <a:gd name="connsiteX2" fmla="*/ 0 w 250819"/>
                  <a:gd name="connsiteY2" fmla="*/ 5015 h 10030"/>
                  <a:gd name="connsiteX3" fmla="*/ 5015 w 250819"/>
                  <a:gd name="connsiteY3" fmla="*/ 0 h 10030"/>
                  <a:gd name="connsiteX4" fmla="*/ 245804 w 250819"/>
                  <a:gd name="connsiteY4" fmla="*/ 0 h 10030"/>
                  <a:gd name="connsiteX5" fmla="*/ 250819 w 250819"/>
                  <a:gd name="connsiteY5" fmla="*/ 5015 h 10030"/>
                  <a:gd name="connsiteX6" fmla="*/ 245804 w 250819"/>
                  <a:gd name="connsiteY6" fmla="*/ 10030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819" h="10030">
                    <a:moveTo>
                      <a:pt x="245804" y="10030"/>
                    </a:moveTo>
                    <a:lnTo>
                      <a:pt x="5015" y="10030"/>
                    </a:lnTo>
                    <a:cubicBezTo>
                      <a:pt x="2241" y="10030"/>
                      <a:pt x="0" y="7789"/>
                      <a:pt x="0" y="5015"/>
                    </a:cubicBezTo>
                    <a:cubicBezTo>
                      <a:pt x="0" y="2241"/>
                      <a:pt x="2241" y="0"/>
                      <a:pt x="5015" y="0"/>
                    </a:cubicBezTo>
                    <a:lnTo>
                      <a:pt x="245804" y="0"/>
                    </a:lnTo>
                    <a:cubicBezTo>
                      <a:pt x="248578" y="0"/>
                      <a:pt x="250819" y="2241"/>
                      <a:pt x="250819" y="5015"/>
                    </a:cubicBezTo>
                    <a:cubicBezTo>
                      <a:pt x="250819" y="7789"/>
                      <a:pt x="248578" y="10030"/>
                      <a:pt x="245804" y="10030"/>
                    </a:cubicBezTo>
                    <a:close/>
                  </a:path>
                </a:pathLst>
              </a:custGeom>
              <a:solidFill>
                <a:schemeClr val="tx2"/>
              </a:solidFill>
              <a:ln w="2793" cap="flat">
                <a:noFill/>
                <a:prstDash val="solid"/>
                <a:miter/>
              </a:ln>
            </p:spPr>
            <p:txBody>
              <a:bodyPr rtlCol="0" anchor="ctr"/>
              <a:lstStyle/>
              <a:p>
                <a:endParaRPr lang="en-GB" dirty="0"/>
              </a:p>
            </p:txBody>
          </p:sp>
          <p:sp>
            <p:nvSpPr>
              <p:cNvPr id="364" name="Freihandform: Form 972">
                <a:extLst>
                  <a:ext uri="{FF2B5EF4-FFF2-40B4-BE49-F238E27FC236}">
                    <a16:creationId xmlns:a16="http://schemas.microsoft.com/office/drawing/2014/main" id="{EFD52B3D-B6E0-4DFD-B02F-D1BD1614F20D}"/>
                  </a:ext>
                </a:extLst>
              </p:cNvPr>
              <p:cNvSpPr/>
              <p:nvPr/>
            </p:nvSpPr>
            <p:spPr>
              <a:xfrm>
                <a:off x="7065391" y="2838154"/>
                <a:ext cx="250819" cy="10030"/>
              </a:xfrm>
              <a:custGeom>
                <a:avLst/>
                <a:gdLst>
                  <a:gd name="connsiteX0" fmla="*/ 245804 w 250819"/>
                  <a:gd name="connsiteY0" fmla="*/ 10031 h 10030"/>
                  <a:gd name="connsiteX1" fmla="*/ 5015 w 250819"/>
                  <a:gd name="connsiteY1" fmla="*/ 10031 h 10030"/>
                  <a:gd name="connsiteX2" fmla="*/ 0 w 250819"/>
                  <a:gd name="connsiteY2" fmla="*/ 5015 h 10030"/>
                  <a:gd name="connsiteX3" fmla="*/ 5015 w 250819"/>
                  <a:gd name="connsiteY3" fmla="*/ 0 h 10030"/>
                  <a:gd name="connsiteX4" fmla="*/ 245804 w 250819"/>
                  <a:gd name="connsiteY4" fmla="*/ 0 h 10030"/>
                  <a:gd name="connsiteX5" fmla="*/ 250819 w 250819"/>
                  <a:gd name="connsiteY5" fmla="*/ 5015 h 10030"/>
                  <a:gd name="connsiteX6" fmla="*/ 245804 w 250819"/>
                  <a:gd name="connsiteY6" fmla="*/ 10031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819" h="10030">
                    <a:moveTo>
                      <a:pt x="245804" y="10031"/>
                    </a:moveTo>
                    <a:lnTo>
                      <a:pt x="5015" y="10031"/>
                    </a:lnTo>
                    <a:cubicBezTo>
                      <a:pt x="2241" y="10031"/>
                      <a:pt x="0" y="7789"/>
                      <a:pt x="0" y="5015"/>
                    </a:cubicBezTo>
                    <a:cubicBezTo>
                      <a:pt x="0" y="2242"/>
                      <a:pt x="2241" y="0"/>
                      <a:pt x="5015" y="0"/>
                    </a:cubicBezTo>
                    <a:lnTo>
                      <a:pt x="245804" y="0"/>
                    </a:lnTo>
                    <a:cubicBezTo>
                      <a:pt x="248578" y="0"/>
                      <a:pt x="250819" y="2242"/>
                      <a:pt x="250819" y="5015"/>
                    </a:cubicBezTo>
                    <a:cubicBezTo>
                      <a:pt x="250819" y="7761"/>
                      <a:pt x="248578" y="10031"/>
                      <a:pt x="245804" y="10031"/>
                    </a:cubicBezTo>
                    <a:close/>
                  </a:path>
                </a:pathLst>
              </a:custGeom>
              <a:solidFill>
                <a:schemeClr val="tx2"/>
              </a:solidFill>
              <a:ln w="2793" cap="flat">
                <a:noFill/>
                <a:prstDash val="solid"/>
                <a:miter/>
              </a:ln>
            </p:spPr>
            <p:txBody>
              <a:bodyPr rtlCol="0" anchor="ctr"/>
              <a:lstStyle/>
              <a:p>
                <a:endParaRPr lang="en-GB" dirty="0"/>
              </a:p>
            </p:txBody>
          </p:sp>
          <p:sp>
            <p:nvSpPr>
              <p:cNvPr id="365" name="Freihandform: Form 973">
                <a:extLst>
                  <a:ext uri="{FF2B5EF4-FFF2-40B4-BE49-F238E27FC236}">
                    <a16:creationId xmlns:a16="http://schemas.microsoft.com/office/drawing/2014/main" id="{0A815F49-ABE4-42BA-8C88-BA48E6DA7D8E}"/>
                  </a:ext>
                </a:extLst>
              </p:cNvPr>
              <p:cNvSpPr/>
              <p:nvPr/>
            </p:nvSpPr>
            <p:spPr>
              <a:xfrm>
                <a:off x="7065391" y="2891641"/>
                <a:ext cx="250819" cy="10030"/>
              </a:xfrm>
              <a:custGeom>
                <a:avLst/>
                <a:gdLst>
                  <a:gd name="connsiteX0" fmla="*/ 245804 w 250819"/>
                  <a:gd name="connsiteY0" fmla="*/ 10030 h 10030"/>
                  <a:gd name="connsiteX1" fmla="*/ 5015 w 250819"/>
                  <a:gd name="connsiteY1" fmla="*/ 10030 h 10030"/>
                  <a:gd name="connsiteX2" fmla="*/ 0 w 250819"/>
                  <a:gd name="connsiteY2" fmla="*/ 5015 h 10030"/>
                  <a:gd name="connsiteX3" fmla="*/ 5015 w 250819"/>
                  <a:gd name="connsiteY3" fmla="*/ 0 h 10030"/>
                  <a:gd name="connsiteX4" fmla="*/ 245804 w 250819"/>
                  <a:gd name="connsiteY4" fmla="*/ 0 h 10030"/>
                  <a:gd name="connsiteX5" fmla="*/ 250819 w 250819"/>
                  <a:gd name="connsiteY5" fmla="*/ 5015 h 10030"/>
                  <a:gd name="connsiteX6" fmla="*/ 245804 w 250819"/>
                  <a:gd name="connsiteY6" fmla="*/ 10030 h 10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0819" h="10030">
                    <a:moveTo>
                      <a:pt x="245804" y="10030"/>
                    </a:moveTo>
                    <a:lnTo>
                      <a:pt x="5015" y="10030"/>
                    </a:lnTo>
                    <a:cubicBezTo>
                      <a:pt x="2241" y="10030"/>
                      <a:pt x="0" y="7789"/>
                      <a:pt x="0" y="5015"/>
                    </a:cubicBezTo>
                    <a:cubicBezTo>
                      <a:pt x="0" y="2241"/>
                      <a:pt x="2241" y="0"/>
                      <a:pt x="5015" y="0"/>
                    </a:cubicBezTo>
                    <a:lnTo>
                      <a:pt x="245804" y="0"/>
                    </a:lnTo>
                    <a:cubicBezTo>
                      <a:pt x="248578" y="0"/>
                      <a:pt x="250819" y="2241"/>
                      <a:pt x="250819" y="5015"/>
                    </a:cubicBezTo>
                    <a:cubicBezTo>
                      <a:pt x="250819" y="7789"/>
                      <a:pt x="248578" y="10030"/>
                      <a:pt x="245804" y="10030"/>
                    </a:cubicBezTo>
                    <a:close/>
                  </a:path>
                </a:pathLst>
              </a:custGeom>
              <a:solidFill>
                <a:schemeClr val="tx2"/>
              </a:solidFill>
              <a:ln w="2793" cap="flat">
                <a:noFill/>
                <a:prstDash val="solid"/>
                <a:miter/>
              </a:ln>
            </p:spPr>
            <p:txBody>
              <a:bodyPr rtlCol="0" anchor="ctr"/>
              <a:lstStyle/>
              <a:p>
                <a:endParaRPr lang="en-GB" dirty="0"/>
              </a:p>
            </p:txBody>
          </p:sp>
        </p:grpSp>
        <p:grpSp>
          <p:nvGrpSpPr>
            <p:cNvPr id="355" name="Group 325">
              <a:extLst>
                <a:ext uri="{FF2B5EF4-FFF2-40B4-BE49-F238E27FC236}">
                  <a16:creationId xmlns:a16="http://schemas.microsoft.com/office/drawing/2014/main" id="{D0F80CD6-59DE-4BBE-822F-65B928EA8D83}"/>
                </a:ext>
              </a:extLst>
            </p:cNvPr>
            <p:cNvGrpSpPr/>
            <p:nvPr/>
          </p:nvGrpSpPr>
          <p:grpSpPr>
            <a:xfrm>
              <a:off x="7116272" y="2557215"/>
              <a:ext cx="153091" cy="186181"/>
              <a:chOff x="7116272" y="2557215"/>
              <a:chExt cx="153091" cy="186181"/>
            </a:xfrm>
          </p:grpSpPr>
          <p:grpSp>
            <p:nvGrpSpPr>
              <p:cNvPr id="356" name="Grafik 39">
                <a:extLst>
                  <a:ext uri="{FF2B5EF4-FFF2-40B4-BE49-F238E27FC236}">
                    <a16:creationId xmlns:a16="http://schemas.microsoft.com/office/drawing/2014/main" id="{45AFC650-FDDB-4B3F-9E8D-A53D151B3F5F}"/>
                  </a:ext>
                </a:extLst>
              </p:cNvPr>
              <p:cNvGrpSpPr/>
              <p:nvPr/>
            </p:nvGrpSpPr>
            <p:grpSpPr>
              <a:xfrm>
                <a:off x="7116272" y="2652389"/>
                <a:ext cx="153091" cy="91007"/>
                <a:chOff x="7116272" y="2652389"/>
                <a:chExt cx="153091" cy="91007"/>
              </a:xfrm>
              <a:solidFill>
                <a:schemeClr val="accent1"/>
              </a:solidFill>
            </p:grpSpPr>
            <p:sp>
              <p:nvSpPr>
                <p:cNvPr id="358" name="Freihandform: Form 976">
                  <a:extLst>
                    <a:ext uri="{FF2B5EF4-FFF2-40B4-BE49-F238E27FC236}">
                      <a16:creationId xmlns:a16="http://schemas.microsoft.com/office/drawing/2014/main" id="{CD3DACC7-1C86-4DCC-9C00-ACFDA82EBF2D}"/>
                    </a:ext>
                  </a:extLst>
                </p:cNvPr>
                <p:cNvSpPr/>
                <p:nvPr/>
              </p:nvSpPr>
              <p:spPr>
                <a:xfrm>
                  <a:off x="7143786" y="2707085"/>
                  <a:ext cx="10030" cy="36311"/>
                </a:xfrm>
                <a:custGeom>
                  <a:avLst/>
                  <a:gdLst>
                    <a:gd name="connsiteX0" fmla="*/ 5015 w 10030"/>
                    <a:gd name="connsiteY0" fmla="*/ 36312 h 36311"/>
                    <a:gd name="connsiteX1" fmla="*/ 0 w 10030"/>
                    <a:gd name="connsiteY1" fmla="*/ 31296 h 36311"/>
                    <a:gd name="connsiteX2" fmla="*/ 0 w 10030"/>
                    <a:gd name="connsiteY2" fmla="*/ 5015 h 36311"/>
                    <a:gd name="connsiteX3" fmla="*/ 5015 w 10030"/>
                    <a:gd name="connsiteY3" fmla="*/ 0 h 36311"/>
                    <a:gd name="connsiteX4" fmla="*/ 10031 w 10030"/>
                    <a:gd name="connsiteY4" fmla="*/ 5015 h 36311"/>
                    <a:gd name="connsiteX5" fmla="*/ 10031 w 10030"/>
                    <a:gd name="connsiteY5" fmla="*/ 31296 h 36311"/>
                    <a:gd name="connsiteX6" fmla="*/ 5015 w 10030"/>
                    <a:gd name="connsiteY6" fmla="*/ 36312 h 3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0" h="36311">
                      <a:moveTo>
                        <a:pt x="5015" y="36312"/>
                      </a:moveTo>
                      <a:cubicBezTo>
                        <a:pt x="2242" y="36312"/>
                        <a:pt x="0" y="34070"/>
                        <a:pt x="0" y="31296"/>
                      </a:cubicBezTo>
                      <a:lnTo>
                        <a:pt x="0" y="5015"/>
                      </a:lnTo>
                      <a:cubicBezTo>
                        <a:pt x="0" y="2242"/>
                        <a:pt x="2242" y="0"/>
                        <a:pt x="5015" y="0"/>
                      </a:cubicBezTo>
                      <a:cubicBezTo>
                        <a:pt x="7789" y="0"/>
                        <a:pt x="10031" y="2242"/>
                        <a:pt x="10031" y="5015"/>
                      </a:cubicBezTo>
                      <a:lnTo>
                        <a:pt x="10031" y="31296"/>
                      </a:lnTo>
                      <a:cubicBezTo>
                        <a:pt x="10031" y="34042"/>
                        <a:pt x="7789" y="36312"/>
                        <a:pt x="5015" y="36312"/>
                      </a:cubicBezTo>
                      <a:close/>
                    </a:path>
                  </a:pathLst>
                </a:custGeom>
                <a:solidFill>
                  <a:schemeClr val="accent1"/>
                </a:solidFill>
                <a:ln w="2793" cap="flat">
                  <a:noFill/>
                  <a:prstDash val="solid"/>
                  <a:miter/>
                </a:ln>
              </p:spPr>
              <p:txBody>
                <a:bodyPr rtlCol="0" anchor="ctr"/>
                <a:lstStyle/>
                <a:p>
                  <a:endParaRPr lang="en-GB" dirty="0"/>
                </a:p>
              </p:txBody>
            </p:sp>
            <p:sp>
              <p:nvSpPr>
                <p:cNvPr id="359" name="Freihandform: Form 977">
                  <a:extLst>
                    <a:ext uri="{FF2B5EF4-FFF2-40B4-BE49-F238E27FC236}">
                      <a16:creationId xmlns:a16="http://schemas.microsoft.com/office/drawing/2014/main" id="{8E7F9898-96B8-4C3F-92BC-FFCC35B022D2}"/>
                    </a:ext>
                  </a:extLst>
                </p:cNvPr>
                <p:cNvSpPr/>
                <p:nvPr/>
              </p:nvSpPr>
              <p:spPr>
                <a:xfrm>
                  <a:off x="7116272" y="2652393"/>
                  <a:ext cx="64891" cy="91003"/>
                </a:xfrm>
                <a:custGeom>
                  <a:avLst/>
                  <a:gdLst>
                    <a:gd name="connsiteX0" fmla="*/ 5015 w 64891"/>
                    <a:gd name="connsiteY0" fmla="*/ 91003 h 91003"/>
                    <a:gd name="connsiteX1" fmla="*/ 0 w 64891"/>
                    <a:gd name="connsiteY1" fmla="*/ 85988 h 91003"/>
                    <a:gd name="connsiteX2" fmla="*/ 0 w 64891"/>
                    <a:gd name="connsiteY2" fmla="*/ 33790 h 91003"/>
                    <a:gd name="connsiteX3" fmla="*/ 30708 w 64891"/>
                    <a:gd name="connsiteY3" fmla="*/ 6752 h 91003"/>
                    <a:gd name="connsiteX4" fmla="*/ 51862 w 64891"/>
                    <a:gd name="connsiteY4" fmla="*/ 6752 h 91003"/>
                    <a:gd name="connsiteX5" fmla="*/ 54860 w 64891"/>
                    <a:gd name="connsiteY5" fmla="*/ 4931 h 91003"/>
                    <a:gd name="connsiteX6" fmla="*/ 59959 w 64891"/>
                    <a:gd name="connsiteY6" fmla="*/ 0 h 91003"/>
                    <a:gd name="connsiteX7" fmla="*/ 64890 w 64891"/>
                    <a:gd name="connsiteY7" fmla="*/ 5099 h 91003"/>
                    <a:gd name="connsiteX8" fmla="*/ 52366 w 64891"/>
                    <a:gd name="connsiteY8" fmla="*/ 16755 h 91003"/>
                    <a:gd name="connsiteX9" fmla="*/ 30708 w 64891"/>
                    <a:gd name="connsiteY9" fmla="*/ 16783 h 91003"/>
                    <a:gd name="connsiteX10" fmla="*/ 10031 w 64891"/>
                    <a:gd name="connsiteY10" fmla="*/ 33790 h 91003"/>
                    <a:gd name="connsiteX11" fmla="*/ 10031 w 64891"/>
                    <a:gd name="connsiteY11" fmla="*/ 85988 h 91003"/>
                    <a:gd name="connsiteX12" fmla="*/ 5015 w 64891"/>
                    <a:gd name="connsiteY12" fmla="*/ 91003 h 91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4891" h="91003">
                      <a:moveTo>
                        <a:pt x="5015" y="91003"/>
                      </a:moveTo>
                      <a:cubicBezTo>
                        <a:pt x="2242" y="91003"/>
                        <a:pt x="0" y="88762"/>
                        <a:pt x="0" y="85988"/>
                      </a:cubicBezTo>
                      <a:lnTo>
                        <a:pt x="0" y="33790"/>
                      </a:lnTo>
                      <a:cubicBezTo>
                        <a:pt x="0" y="12412"/>
                        <a:pt x="20089" y="6752"/>
                        <a:pt x="30708" y="6752"/>
                      </a:cubicBezTo>
                      <a:lnTo>
                        <a:pt x="51862" y="6752"/>
                      </a:lnTo>
                      <a:cubicBezTo>
                        <a:pt x="52058" y="6696"/>
                        <a:pt x="54832" y="5996"/>
                        <a:pt x="54860" y="4931"/>
                      </a:cubicBezTo>
                      <a:cubicBezTo>
                        <a:pt x="54916" y="2157"/>
                        <a:pt x="57185" y="112"/>
                        <a:pt x="59959" y="0"/>
                      </a:cubicBezTo>
                      <a:cubicBezTo>
                        <a:pt x="62733" y="56"/>
                        <a:pt x="64946" y="2326"/>
                        <a:pt x="64890" y="5099"/>
                      </a:cubicBezTo>
                      <a:cubicBezTo>
                        <a:pt x="64778" y="12272"/>
                        <a:pt x="58306" y="16166"/>
                        <a:pt x="52366" y="16755"/>
                      </a:cubicBezTo>
                      <a:lnTo>
                        <a:pt x="30708" y="16783"/>
                      </a:lnTo>
                      <a:cubicBezTo>
                        <a:pt x="28607" y="16783"/>
                        <a:pt x="10031" y="17399"/>
                        <a:pt x="10031" y="33790"/>
                      </a:cubicBezTo>
                      <a:lnTo>
                        <a:pt x="10031" y="85988"/>
                      </a:lnTo>
                      <a:cubicBezTo>
                        <a:pt x="10031" y="88734"/>
                        <a:pt x="7789" y="91003"/>
                        <a:pt x="5015" y="91003"/>
                      </a:cubicBezTo>
                      <a:close/>
                    </a:path>
                  </a:pathLst>
                </a:custGeom>
                <a:solidFill>
                  <a:schemeClr val="accent1"/>
                </a:solidFill>
                <a:ln w="2793" cap="flat">
                  <a:noFill/>
                  <a:prstDash val="solid"/>
                  <a:miter/>
                </a:ln>
              </p:spPr>
              <p:txBody>
                <a:bodyPr rtlCol="0" anchor="ctr"/>
                <a:lstStyle/>
                <a:p>
                  <a:endParaRPr lang="en-GB" dirty="0"/>
                </a:p>
              </p:txBody>
            </p:sp>
            <p:sp>
              <p:nvSpPr>
                <p:cNvPr id="360" name="Freihandform: Form 978">
                  <a:extLst>
                    <a:ext uri="{FF2B5EF4-FFF2-40B4-BE49-F238E27FC236}">
                      <a16:creationId xmlns:a16="http://schemas.microsoft.com/office/drawing/2014/main" id="{7B528885-44CE-4BB6-B587-57299D55EEDF}"/>
                    </a:ext>
                  </a:extLst>
                </p:cNvPr>
                <p:cNvSpPr/>
                <p:nvPr/>
              </p:nvSpPr>
              <p:spPr>
                <a:xfrm>
                  <a:off x="7231847" y="2707533"/>
                  <a:ext cx="10030" cy="34070"/>
                </a:xfrm>
                <a:custGeom>
                  <a:avLst/>
                  <a:gdLst>
                    <a:gd name="connsiteX0" fmla="*/ 5015 w 10030"/>
                    <a:gd name="connsiteY0" fmla="*/ 34070 h 34070"/>
                    <a:gd name="connsiteX1" fmla="*/ 0 w 10030"/>
                    <a:gd name="connsiteY1" fmla="*/ 29055 h 34070"/>
                    <a:gd name="connsiteX2" fmla="*/ 0 w 10030"/>
                    <a:gd name="connsiteY2" fmla="*/ 5015 h 34070"/>
                    <a:gd name="connsiteX3" fmla="*/ 5015 w 10030"/>
                    <a:gd name="connsiteY3" fmla="*/ 0 h 34070"/>
                    <a:gd name="connsiteX4" fmla="*/ 10031 w 10030"/>
                    <a:gd name="connsiteY4" fmla="*/ 5015 h 34070"/>
                    <a:gd name="connsiteX5" fmla="*/ 10031 w 10030"/>
                    <a:gd name="connsiteY5" fmla="*/ 29055 h 34070"/>
                    <a:gd name="connsiteX6" fmla="*/ 5015 w 10030"/>
                    <a:gd name="connsiteY6" fmla="*/ 34070 h 3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30" h="34070">
                      <a:moveTo>
                        <a:pt x="5015" y="34070"/>
                      </a:moveTo>
                      <a:cubicBezTo>
                        <a:pt x="2242" y="34070"/>
                        <a:pt x="0" y="31829"/>
                        <a:pt x="0" y="29055"/>
                      </a:cubicBezTo>
                      <a:lnTo>
                        <a:pt x="0" y="5015"/>
                      </a:lnTo>
                      <a:cubicBezTo>
                        <a:pt x="0" y="2242"/>
                        <a:pt x="2242" y="0"/>
                        <a:pt x="5015" y="0"/>
                      </a:cubicBezTo>
                      <a:cubicBezTo>
                        <a:pt x="7789" y="0"/>
                        <a:pt x="10031" y="2242"/>
                        <a:pt x="10031" y="5015"/>
                      </a:cubicBezTo>
                      <a:lnTo>
                        <a:pt x="10031" y="29055"/>
                      </a:lnTo>
                      <a:cubicBezTo>
                        <a:pt x="10031" y="31829"/>
                        <a:pt x="7789" y="34070"/>
                        <a:pt x="5015" y="34070"/>
                      </a:cubicBezTo>
                      <a:close/>
                    </a:path>
                  </a:pathLst>
                </a:custGeom>
                <a:solidFill>
                  <a:schemeClr val="accent1"/>
                </a:solidFill>
                <a:ln w="2793" cap="flat">
                  <a:noFill/>
                  <a:prstDash val="solid"/>
                  <a:miter/>
                </a:ln>
              </p:spPr>
              <p:txBody>
                <a:bodyPr rtlCol="0" anchor="ctr"/>
                <a:lstStyle/>
                <a:p>
                  <a:endParaRPr lang="en-GB" dirty="0"/>
                </a:p>
              </p:txBody>
            </p:sp>
            <p:sp>
              <p:nvSpPr>
                <p:cNvPr id="361" name="Freihandform: Form 979">
                  <a:extLst>
                    <a:ext uri="{FF2B5EF4-FFF2-40B4-BE49-F238E27FC236}">
                      <a16:creationId xmlns:a16="http://schemas.microsoft.com/office/drawing/2014/main" id="{34272B0A-C181-4686-B289-113D4F562CCD}"/>
                    </a:ext>
                  </a:extLst>
                </p:cNvPr>
                <p:cNvSpPr/>
                <p:nvPr/>
              </p:nvSpPr>
              <p:spPr>
                <a:xfrm>
                  <a:off x="7206238" y="2652389"/>
                  <a:ext cx="63125" cy="90110"/>
                </a:xfrm>
                <a:custGeom>
                  <a:avLst/>
                  <a:gdLst>
                    <a:gd name="connsiteX0" fmla="*/ 58138 w 63125"/>
                    <a:gd name="connsiteY0" fmla="*/ 90111 h 90110"/>
                    <a:gd name="connsiteX1" fmla="*/ 53123 w 63125"/>
                    <a:gd name="connsiteY1" fmla="*/ 85095 h 90110"/>
                    <a:gd name="connsiteX2" fmla="*/ 53123 w 63125"/>
                    <a:gd name="connsiteY2" fmla="*/ 33794 h 90110"/>
                    <a:gd name="connsiteX3" fmla="*/ 32445 w 63125"/>
                    <a:gd name="connsiteY3" fmla="*/ 16787 h 90110"/>
                    <a:gd name="connsiteX4" fmla="*/ 11292 w 63125"/>
                    <a:gd name="connsiteY4" fmla="*/ 16787 h 90110"/>
                    <a:gd name="connsiteX5" fmla="*/ 3418 w 63125"/>
                    <a:gd name="connsiteY5" fmla="*/ 13705 h 90110"/>
                    <a:gd name="connsiteX6" fmla="*/ 0 w 63125"/>
                    <a:gd name="connsiteY6" fmla="*/ 5047 h 90110"/>
                    <a:gd name="connsiteX7" fmla="*/ 4987 w 63125"/>
                    <a:gd name="connsiteY7" fmla="*/ 4 h 90110"/>
                    <a:gd name="connsiteX8" fmla="*/ 10031 w 63125"/>
                    <a:gd name="connsiteY8" fmla="*/ 4991 h 90110"/>
                    <a:gd name="connsiteX9" fmla="*/ 10339 w 63125"/>
                    <a:gd name="connsiteY9" fmla="*/ 6476 h 90110"/>
                    <a:gd name="connsiteX10" fmla="*/ 11095 w 63125"/>
                    <a:gd name="connsiteY10" fmla="*/ 6756 h 90110"/>
                    <a:gd name="connsiteX11" fmla="*/ 32417 w 63125"/>
                    <a:gd name="connsiteY11" fmla="*/ 6756 h 90110"/>
                    <a:gd name="connsiteX12" fmla="*/ 63125 w 63125"/>
                    <a:gd name="connsiteY12" fmla="*/ 33794 h 90110"/>
                    <a:gd name="connsiteX13" fmla="*/ 63125 w 63125"/>
                    <a:gd name="connsiteY13" fmla="*/ 85095 h 90110"/>
                    <a:gd name="connsiteX14" fmla="*/ 58138 w 63125"/>
                    <a:gd name="connsiteY14" fmla="*/ 90111 h 90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3125" h="90110">
                      <a:moveTo>
                        <a:pt x="58138" y="90111"/>
                      </a:moveTo>
                      <a:cubicBezTo>
                        <a:pt x="55364" y="90111"/>
                        <a:pt x="53123" y="87869"/>
                        <a:pt x="53123" y="85095"/>
                      </a:cubicBezTo>
                      <a:lnTo>
                        <a:pt x="53123" y="33794"/>
                      </a:lnTo>
                      <a:cubicBezTo>
                        <a:pt x="53123" y="16983"/>
                        <a:pt x="33286" y="16787"/>
                        <a:pt x="32445" y="16787"/>
                      </a:cubicBezTo>
                      <a:lnTo>
                        <a:pt x="11292" y="16787"/>
                      </a:lnTo>
                      <a:cubicBezTo>
                        <a:pt x="10731" y="16843"/>
                        <a:pt x="6641" y="16787"/>
                        <a:pt x="3418" y="13705"/>
                      </a:cubicBezTo>
                      <a:cubicBezTo>
                        <a:pt x="1877" y="12220"/>
                        <a:pt x="28" y="9530"/>
                        <a:pt x="0" y="5047"/>
                      </a:cubicBezTo>
                      <a:cubicBezTo>
                        <a:pt x="-28" y="2273"/>
                        <a:pt x="2214" y="32"/>
                        <a:pt x="4987" y="4"/>
                      </a:cubicBezTo>
                      <a:cubicBezTo>
                        <a:pt x="7565" y="-108"/>
                        <a:pt x="10003" y="2217"/>
                        <a:pt x="10031" y="4991"/>
                      </a:cubicBezTo>
                      <a:cubicBezTo>
                        <a:pt x="10031" y="5916"/>
                        <a:pt x="10227" y="6364"/>
                        <a:pt x="10339" y="6476"/>
                      </a:cubicBezTo>
                      <a:cubicBezTo>
                        <a:pt x="10535" y="6672"/>
                        <a:pt x="11095" y="6756"/>
                        <a:pt x="11095" y="6756"/>
                      </a:cubicBezTo>
                      <a:lnTo>
                        <a:pt x="32417" y="6756"/>
                      </a:lnTo>
                      <a:cubicBezTo>
                        <a:pt x="43036" y="6756"/>
                        <a:pt x="63125" y="12416"/>
                        <a:pt x="63125" y="33794"/>
                      </a:cubicBezTo>
                      <a:lnTo>
                        <a:pt x="63125" y="85095"/>
                      </a:lnTo>
                      <a:cubicBezTo>
                        <a:pt x="63153" y="87841"/>
                        <a:pt x="60912" y="90111"/>
                        <a:pt x="58138" y="90111"/>
                      </a:cubicBezTo>
                      <a:close/>
                    </a:path>
                  </a:pathLst>
                </a:custGeom>
                <a:solidFill>
                  <a:schemeClr val="accent1"/>
                </a:solidFill>
                <a:ln w="2793" cap="flat">
                  <a:noFill/>
                  <a:prstDash val="solid"/>
                  <a:miter/>
                </a:ln>
              </p:spPr>
              <p:txBody>
                <a:bodyPr rtlCol="0" anchor="ctr"/>
                <a:lstStyle/>
                <a:p>
                  <a:endParaRPr lang="en-GB" dirty="0"/>
                </a:p>
              </p:txBody>
            </p:sp>
          </p:grpSp>
          <p:sp>
            <p:nvSpPr>
              <p:cNvPr id="357" name="Freihandform: Form 980">
                <a:extLst>
                  <a:ext uri="{FF2B5EF4-FFF2-40B4-BE49-F238E27FC236}">
                    <a16:creationId xmlns:a16="http://schemas.microsoft.com/office/drawing/2014/main" id="{74C9A6B2-E847-46F9-B224-64D7B09CB7EF}"/>
                  </a:ext>
                </a:extLst>
              </p:cNvPr>
              <p:cNvSpPr/>
              <p:nvPr/>
            </p:nvSpPr>
            <p:spPr>
              <a:xfrm>
                <a:off x="7151771" y="2557215"/>
                <a:ext cx="82093" cy="91731"/>
              </a:xfrm>
              <a:custGeom>
                <a:avLst/>
                <a:gdLst>
                  <a:gd name="connsiteX0" fmla="*/ 41047 w 82093"/>
                  <a:gd name="connsiteY0" fmla="*/ 91732 h 91731"/>
                  <a:gd name="connsiteX1" fmla="*/ 0 w 82093"/>
                  <a:gd name="connsiteY1" fmla="*/ 45866 h 91731"/>
                  <a:gd name="connsiteX2" fmla="*/ 41047 w 82093"/>
                  <a:gd name="connsiteY2" fmla="*/ 0 h 91731"/>
                  <a:gd name="connsiteX3" fmla="*/ 82093 w 82093"/>
                  <a:gd name="connsiteY3" fmla="*/ 45866 h 91731"/>
                  <a:gd name="connsiteX4" fmla="*/ 41047 w 82093"/>
                  <a:gd name="connsiteY4" fmla="*/ 91732 h 91731"/>
                  <a:gd name="connsiteX5" fmla="*/ 41047 w 82093"/>
                  <a:gd name="connsiteY5" fmla="*/ 10059 h 91731"/>
                  <a:gd name="connsiteX6" fmla="*/ 10030 w 82093"/>
                  <a:gd name="connsiteY6" fmla="*/ 45894 h 91731"/>
                  <a:gd name="connsiteX7" fmla="*/ 41047 w 82093"/>
                  <a:gd name="connsiteY7" fmla="*/ 81729 h 91731"/>
                  <a:gd name="connsiteX8" fmla="*/ 72063 w 82093"/>
                  <a:gd name="connsiteY8" fmla="*/ 45894 h 91731"/>
                  <a:gd name="connsiteX9" fmla="*/ 41047 w 82093"/>
                  <a:gd name="connsiteY9" fmla="*/ 10059 h 91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093" h="91731">
                    <a:moveTo>
                      <a:pt x="41047" y="91732"/>
                    </a:moveTo>
                    <a:cubicBezTo>
                      <a:pt x="18408" y="91732"/>
                      <a:pt x="0" y="71166"/>
                      <a:pt x="0" y="45866"/>
                    </a:cubicBezTo>
                    <a:cubicBezTo>
                      <a:pt x="0" y="20565"/>
                      <a:pt x="18408" y="0"/>
                      <a:pt x="41047" y="0"/>
                    </a:cubicBezTo>
                    <a:cubicBezTo>
                      <a:pt x="63685" y="0"/>
                      <a:pt x="82093" y="20565"/>
                      <a:pt x="82093" y="45866"/>
                    </a:cubicBezTo>
                    <a:cubicBezTo>
                      <a:pt x="82121" y="71166"/>
                      <a:pt x="63685" y="91732"/>
                      <a:pt x="41047" y="91732"/>
                    </a:cubicBezTo>
                    <a:close/>
                    <a:moveTo>
                      <a:pt x="41047" y="10059"/>
                    </a:moveTo>
                    <a:cubicBezTo>
                      <a:pt x="23956" y="10059"/>
                      <a:pt x="10030" y="26141"/>
                      <a:pt x="10030" y="45894"/>
                    </a:cubicBezTo>
                    <a:cubicBezTo>
                      <a:pt x="10030" y="65647"/>
                      <a:pt x="23956" y="81729"/>
                      <a:pt x="41047" y="81729"/>
                    </a:cubicBezTo>
                    <a:cubicBezTo>
                      <a:pt x="58166" y="81729"/>
                      <a:pt x="72063" y="65647"/>
                      <a:pt x="72063" y="45894"/>
                    </a:cubicBezTo>
                    <a:cubicBezTo>
                      <a:pt x="72091" y="26113"/>
                      <a:pt x="58166" y="10059"/>
                      <a:pt x="41047" y="10059"/>
                    </a:cubicBezTo>
                    <a:close/>
                  </a:path>
                </a:pathLst>
              </a:custGeom>
              <a:solidFill>
                <a:schemeClr val="accent1"/>
              </a:solidFill>
              <a:ln w="2793" cap="flat">
                <a:noFill/>
                <a:prstDash val="solid"/>
                <a:miter/>
              </a:ln>
            </p:spPr>
            <p:txBody>
              <a:bodyPr rtlCol="0" anchor="ctr"/>
              <a:lstStyle/>
              <a:p>
                <a:endParaRPr lang="en-GB" dirty="0"/>
              </a:p>
            </p:txBody>
          </p:sp>
        </p:grpSp>
      </p:grpSp>
      <p:grpSp>
        <p:nvGrpSpPr>
          <p:cNvPr id="24" name="Group 23">
            <a:extLst>
              <a:ext uri="{FF2B5EF4-FFF2-40B4-BE49-F238E27FC236}">
                <a16:creationId xmlns:a16="http://schemas.microsoft.com/office/drawing/2014/main" id="{A54B9A89-D82E-BD93-E8BA-02A06E51AE94}"/>
              </a:ext>
            </a:extLst>
          </p:cNvPr>
          <p:cNvGrpSpPr/>
          <p:nvPr/>
        </p:nvGrpSpPr>
        <p:grpSpPr>
          <a:xfrm>
            <a:off x="4932469" y="1626715"/>
            <a:ext cx="567747" cy="432003"/>
            <a:chOff x="4979856" y="1626715"/>
            <a:chExt cx="567747" cy="432003"/>
          </a:xfrm>
        </p:grpSpPr>
        <p:grpSp>
          <p:nvGrpSpPr>
            <p:cNvPr id="367" name="Grafik 19">
              <a:extLst>
                <a:ext uri="{FF2B5EF4-FFF2-40B4-BE49-F238E27FC236}">
                  <a16:creationId xmlns:a16="http://schemas.microsoft.com/office/drawing/2014/main" id="{361B1949-5E8E-49E5-AEA2-11C24A40D506}"/>
                </a:ext>
              </a:extLst>
            </p:cNvPr>
            <p:cNvGrpSpPr/>
            <p:nvPr/>
          </p:nvGrpSpPr>
          <p:grpSpPr>
            <a:xfrm>
              <a:off x="5119890" y="1769477"/>
              <a:ext cx="281012" cy="289241"/>
              <a:chOff x="991367" y="1902108"/>
              <a:chExt cx="341546" cy="351547"/>
            </a:xfrm>
            <a:solidFill>
              <a:schemeClr val="tx2"/>
            </a:solidFill>
          </p:grpSpPr>
          <p:grpSp>
            <p:nvGrpSpPr>
              <p:cNvPr id="393" name="Grafik 19">
                <a:extLst>
                  <a:ext uri="{FF2B5EF4-FFF2-40B4-BE49-F238E27FC236}">
                    <a16:creationId xmlns:a16="http://schemas.microsoft.com/office/drawing/2014/main" id="{46705005-5DC3-4603-B155-D3AD7C2F5F90}"/>
                  </a:ext>
                </a:extLst>
              </p:cNvPr>
              <p:cNvGrpSpPr/>
              <p:nvPr/>
            </p:nvGrpSpPr>
            <p:grpSpPr>
              <a:xfrm>
                <a:off x="991367" y="1902108"/>
                <a:ext cx="341546" cy="351547"/>
                <a:chOff x="991367" y="1902108"/>
                <a:chExt cx="341546" cy="351547"/>
              </a:xfrm>
              <a:grpFill/>
            </p:grpSpPr>
            <p:sp>
              <p:nvSpPr>
                <p:cNvPr id="395" name="Freihandform: Form 394">
                  <a:extLst>
                    <a:ext uri="{FF2B5EF4-FFF2-40B4-BE49-F238E27FC236}">
                      <a16:creationId xmlns:a16="http://schemas.microsoft.com/office/drawing/2014/main" id="{3EB82A8F-F230-4F19-8350-E1A5991D0803}"/>
                    </a:ext>
                  </a:extLst>
                </p:cNvPr>
                <p:cNvSpPr/>
                <p:nvPr/>
              </p:nvSpPr>
              <p:spPr>
                <a:xfrm>
                  <a:off x="991367" y="2028137"/>
                  <a:ext cx="54787" cy="121185"/>
                </a:xfrm>
                <a:custGeom>
                  <a:avLst/>
                  <a:gdLst>
                    <a:gd name="connsiteX0" fmla="*/ 49196 w 54787"/>
                    <a:gd name="connsiteY0" fmla="*/ 121186 h 121185"/>
                    <a:gd name="connsiteX1" fmla="*/ 2034 w 54787"/>
                    <a:gd name="connsiteY1" fmla="*/ 68794 h 121185"/>
                    <a:gd name="connsiteX2" fmla="*/ 13126 w 54787"/>
                    <a:gd name="connsiteY2" fmla="*/ 1704 h 121185"/>
                    <a:gd name="connsiteX3" fmla="*/ 20580 w 54787"/>
                    <a:gd name="connsiteY3" fmla="*/ 1373 h 121185"/>
                    <a:gd name="connsiteX4" fmla="*/ 20911 w 54787"/>
                    <a:gd name="connsiteY4" fmla="*/ 8827 h 121185"/>
                    <a:gd name="connsiteX5" fmla="*/ 12314 w 54787"/>
                    <a:gd name="connsiteY5" fmla="*/ 66359 h 121185"/>
                    <a:gd name="connsiteX6" fmla="*/ 49196 w 54787"/>
                    <a:gd name="connsiteY6" fmla="*/ 110605 h 121185"/>
                    <a:gd name="connsiteX7" fmla="*/ 49526 w 54787"/>
                    <a:gd name="connsiteY7" fmla="*/ 110605 h 121185"/>
                    <a:gd name="connsiteX8" fmla="*/ 54787 w 54787"/>
                    <a:gd name="connsiteY8" fmla="*/ 115775 h 121185"/>
                    <a:gd name="connsiteX9" fmla="*/ 49617 w 54787"/>
                    <a:gd name="connsiteY9" fmla="*/ 121156 h 121185"/>
                    <a:gd name="connsiteX10" fmla="*/ 49196 w 54787"/>
                    <a:gd name="connsiteY10" fmla="*/ 121186 h 121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787" h="121185">
                      <a:moveTo>
                        <a:pt x="49196" y="121186"/>
                      </a:moveTo>
                      <a:cubicBezTo>
                        <a:pt x="29538" y="121186"/>
                        <a:pt x="7775" y="93171"/>
                        <a:pt x="2034" y="68794"/>
                      </a:cubicBezTo>
                      <a:cubicBezTo>
                        <a:pt x="-3226" y="46280"/>
                        <a:pt x="2154" y="13697"/>
                        <a:pt x="13126" y="1704"/>
                      </a:cubicBezTo>
                      <a:cubicBezTo>
                        <a:pt x="15079" y="-431"/>
                        <a:pt x="18446" y="-581"/>
                        <a:pt x="20580" y="1373"/>
                      </a:cubicBezTo>
                      <a:cubicBezTo>
                        <a:pt x="22714" y="3327"/>
                        <a:pt x="22865" y="6663"/>
                        <a:pt x="20911" y="8827"/>
                      </a:cubicBezTo>
                      <a:cubicBezTo>
                        <a:pt x="13156" y="17274"/>
                        <a:pt x="7565" y="46070"/>
                        <a:pt x="12314" y="66359"/>
                      </a:cubicBezTo>
                      <a:cubicBezTo>
                        <a:pt x="17875" y="89925"/>
                        <a:pt x="37473" y="110605"/>
                        <a:pt x="49196" y="110605"/>
                      </a:cubicBezTo>
                      <a:cubicBezTo>
                        <a:pt x="49316" y="110605"/>
                        <a:pt x="49406" y="110605"/>
                        <a:pt x="49526" y="110605"/>
                      </a:cubicBezTo>
                      <a:cubicBezTo>
                        <a:pt x="52382" y="110605"/>
                        <a:pt x="54726" y="112889"/>
                        <a:pt x="54787" y="115775"/>
                      </a:cubicBezTo>
                      <a:cubicBezTo>
                        <a:pt x="54847" y="118691"/>
                        <a:pt x="52532" y="121095"/>
                        <a:pt x="49617" y="121156"/>
                      </a:cubicBezTo>
                      <a:cubicBezTo>
                        <a:pt x="49496" y="121186"/>
                        <a:pt x="49346" y="121186"/>
                        <a:pt x="49196" y="121186"/>
                      </a:cubicBezTo>
                      <a:close/>
                    </a:path>
                  </a:pathLst>
                </a:custGeom>
                <a:grpFill/>
                <a:ln w="3004" cap="flat">
                  <a:noFill/>
                  <a:prstDash val="solid"/>
                  <a:miter/>
                </a:ln>
              </p:spPr>
              <p:txBody>
                <a:bodyPr rtlCol="0" anchor="ctr"/>
                <a:lstStyle/>
                <a:p>
                  <a:endParaRPr lang="en-GB" dirty="0"/>
                </a:p>
              </p:txBody>
            </p:sp>
            <p:sp>
              <p:nvSpPr>
                <p:cNvPr id="396" name="Freihandform: Form 395">
                  <a:extLst>
                    <a:ext uri="{FF2B5EF4-FFF2-40B4-BE49-F238E27FC236}">
                      <a16:creationId xmlns:a16="http://schemas.microsoft.com/office/drawing/2014/main" id="{5BEA0D4E-0309-45AB-A07F-8C0068B1089E}"/>
                    </a:ext>
                  </a:extLst>
                </p:cNvPr>
                <p:cNvSpPr/>
                <p:nvPr/>
              </p:nvSpPr>
              <p:spPr>
                <a:xfrm>
                  <a:off x="1197814" y="2093907"/>
                  <a:ext cx="77131" cy="51026"/>
                </a:xfrm>
                <a:custGeom>
                  <a:avLst/>
                  <a:gdLst>
                    <a:gd name="connsiteX0" fmla="*/ 17147 w 77131"/>
                    <a:gd name="connsiteY0" fmla="*/ 51026 h 51026"/>
                    <a:gd name="connsiteX1" fmla="*/ 4884 w 77131"/>
                    <a:gd name="connsiteY1" fmla="*/ 50545 h 51026"/>
                    <a:gd name="connsiteX2" fmla="*/ 14 w 77131"/>
                    <a:gd name="connsiteY2" fmla="*/ 44894 h 51026"/>
                    <a:gd name="connsiteX3" fmla="*/ 5665 w 77131"/>
                    <a:gd name="connsiteY3" fmla="*/ 40025 h 51026"/>
                    <a:gd name="connsiteX4" fmla="*/ 55622 w 77131"/>
                    <a:gd name="connsiteY4" fmla="*/ 26799 h 51026"/>
                    <a:gd name="connsiteX5" fmla="*/ 66804 w 77131"/>
                    <a:gd name="connsiteY5" fmla="*/ 3744 h 51026"/>
                    <a:gd name="connsiteX6" fmla="*/ 73387 w 77131"/>
                    <a:gd name="connsiteY6" fmla="*/ 228 h 51026"/>
                    <a:gd name="connsiteX7" fmla="*/ 76903 w 77131"/>
                    <a:gd name="connsiteY7" fmla="*/ 6810 h 51026"/>
                    <a:gd name="connsiteX8" fmla="*/ 63437 w 77131"/>
                    <a:gd name="connsiteY8" fmla="*/ 33893 h 51026"/>
                    <a:gd name="connsiteX9" fmla="*/ 17147 w 77131"/>
                    <a:gd name="connsiteY9" fmla="*/ 51026 h 5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131" h="51026">
                      <a:moveTo>
                        <a:pt x="17147" y="51026"/>
                      </a:moveTo>
                      <a:cubicBezTo>
                        <a:pt x="13300" y="51026"/>
                        <a:pt x="9242" y="50876"/>
                        <a:pt x="4884" y="50545"/>
                      </a:cubicBezTo>
                      <a:cubicBezTo>
                        <a:pt x="1968" y="50335"/>
                        <a:pt x="-196" y="47810"/>
                        <a:pt x="14" y="44894"/>
                      </a:cubicBezTo>
                      <a:cubicBezTo>
                        <a:pt x="225" y="41979"/>
                        <a:pt x="2779" y="39784"/>
                        <a:pt x="5665" y="40025"/>
                      </a:cubicBezTo>
                      <a:cubicBezTo>
                        <a:pt x="31215" y="41919"/>
                        <a:pt x="45222" y="38221"/>
                        <a:pt x="55622" y="26799"/>
                      </a:cubicBezTo>
                      <a:cubicBezTo>
                        <a:pt x="60011" y="21960"/>
                        <a:pt x="65060" y="9395"/>
                        <a:pt x="66804" y="3744"/>
                      </a:cubicBezTo>
                      <a:cubicBezTo>
                        <a:pt x="67645" y="949"/>
                        <a:pt x="70621" y="-614"/>
                        <a:pt x="73387" y="228"/>
                      </a:cubicBezTo>
                      <a:cubicBezTo>
                        <a:pt x="76182" y="1069"/>
                        <a:pt x="77745" y="4015"/>
                        <a:pt x="76903" y="6810"/>
                      </a:cubicBezTo>
                      <a:cubicBezTo>
                        <a:pt x="75431" y="11590"/>
                        <a:pt x="69840" y="26829"/>
                        <a:pt x="63437" y="33893"/>
                      </a:cubicBezTo>
                      <a:cubicBezTo>
                        <a:pt x="52616" y="45766"/>
                        <a:pt x="38759" y="51026"/>
                        <a:pt x="17147" y="51026"/>
                      </a:cubicBezTo>
                      <a:close/>
                    </a:path>
                  </a:pathLst>
                </a:custGeom>
                <a:grpFill/>
                <a:ln w="3004" cap="flat">
                  <a:noFill/>
                  <a:prstDash val="solid"/>
                  <a:miter/>
                </a:ln>
              </p:spPr>
              <p:txBody>
                <a:bodyPr rtlCol="0" anchor="ctr"/>
                <a:lstStyle/>
                <a:p>
                  <a:endParaRPr lang="en-GB" dirty="0"/>
                </a:p>
              </p:txBody>
            </p:sp>
            <p:sp>
              <p:nvSpPr>
                <p:cNvPr id="397" name="Freihandform: Form 396">
                  <a:extLst>
                    <a:ext uri="{FF2B5EF4-FFF2-40B4-BE49-F238E27FC236}">
                      <a16:creationId xmlns:a16="http://schemas.microsoft.com/office/drawing/2014/main" id="{5D78535C-6108-40FF-BEDB-926F99E1F359}"/>
                    </a:ext>
                  </a:extLst>
                </p:cNvPr>
                <p:cNvSpPr/>
                <p:nvPr/>
              </p:nvSpPr>
              <p:spPr>
                <a:xfrm>
                  <a:off x="1034513" y="2139358"/>
                  <a:ext cx="81321" cy="103836"/>
                </a:xfrm>
                <a:custGeom>
                  <a:avLst/>
                  <a:gdLst>
                    <a:gd name="connsiteX0" fmla="*/ 62740 w 81321"/>
                    <a:gd name="connsiteY0" fmla="*/ 103836 h 103836"/>
                    <a:gd name="connsiteX1" fmla="*/ 60486 w 81321"/>
                    <a:gd name="connsiteY1" fmla="*/ 103325 h 103836"/>
                    <a:gd name="connsiteX2" fmla="*/ 57991 w 81321"/>
                    <a:gd name="connsiteY2" fmla="*/ 96291 h 103836"/>
                    <a:gd name="connsiteX3" fmla="*/ 68962 w 81321"/>
                    <a:gd name="connsiteY3" fmla="*/ 62776 h 103836"/>
                    <a:gd name="connsiteX4" fmla="*/ 7764 w 81321"/>
                    <a:gd name="connsiteY4" fmla="*/ 35063 h 103836"/>
                    <a:gd name="connsiteX5" fmla="*/ 129 w 81321"/>
                    <a:gd name="connsiteY5" fmla="*/ 4824 h 103836"/>
                    <a:gd name="connsiteX6" fmla="*/ 5810 w 81321"/>
                    <a:gd name="connsiteY6" fmla="*/ 14 h 103836"/>
                    <a:gd name="connsiteX7" fmla="*/ 10619 w 81321"/>
                    <a:gd name="connsiteY7" fmla="*/ 5696 h 103836"/>
                    <a:gd name="connsiteX8" fmla="*/ 16240 w 81321"/>
                    <a:gd name="connsiteY8" fmla="*/ 28810 h 103836"/>
                    <a:gd name="connsiteX9" fmla="*/ 74734 w 81321"/>
                    <a:gd name="connsiteY9" fmla="*/ 51444 h 103836"/>
                    <a:gd name="connsiteX10" fmla="*/ 78190 w 81321"/>
                    <a:gd name="connsiteY10" fmla="*/ 52046 h 103836"/>
                    <a:gd name="connsiteX11" fmla="*/ 81166 w 81321"/>
                    <a:gd name="connsiteY11" fmla="*/ 58328 h 103836"/>
                    <a:gd name="connsiteX12" fmla="*/ 67520 w 81321"/>
                    <a:gd name="connsiteY12" fmla="*/ 100830 h 103836"/>
                    <a:gd name="connsiteX13" fmla="*/ 62740 w 81321"/>
                    <a:gd name="connsiteY13" fmla="*/ 103836 h 103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321" h="103836">
                      <a:moveTo>
                        <a:pt x="62740" y="103836"/>
                      </a:moveTo>
                      <a:cubicBezTo>
                        <a:pt x="61989" y="103836"/>
                        <a:pt x="61207" y="103686"/>
                        <a:pt x="60486" y="103325"/>
                      </a:cubicBezTo>
                      <a:cubicBezTo>
                        <a:pt x="57841" y="102063"/>
                        <a:pt x="56729" y="98937"/>
                        <a:pt x="57991" y="96291"/>
                      </a:cubicBezTo>
                      <a:cubicBezTo>
                        <a:pt x="59614" y="92895"/>
                        <a:pt x="62801" y="84298"/>
                        <a:pt x="68962" y="62776"/>
                      </a:cubicBezTo>
                      <a:cubicBezTo>
                        <a:pt x="34245" y="65512"/>
                        <a:pt x="14797" y="44621"/>
                        <a:pt x="7764" y="35063"/>
                      </a:cubicBezTo>
                      <a:cubicBezTo>
                        <a:pt x="2654" y="28149"/>
                        <a:pt x="-713" y="14863"/>
                        <a:pt x="129" y="4824"/>
                      </a:cubicBezTo>
                      <a:cubicBezTo>
                        <a:pt x="369" y="1908"/>
                        <a:pt x="2954" y="-196"/>
                        <a:pt x="5810" y="14"/>
                      </a:cubicBezTo>
                      <a:cubicBezTo>
                        <a:pt x="8726" y="255"/>
                        <a:pt x="10860" y="2810"/>
                        <a:pt x="10619" y="5696"/>
                      </a:cubicBezTo>
                      <a:cubicBezTo>
                        <a:pt x="9988" y="13120"/>
                        <a:pt x="12633" y="23941"/>
                        <a:pt x="16240" y="28810"/>
                      </a:cubicBezTo>
                      <a:cubicBezTo>
                        <a:pt x="22612" y="37497"/>
                        <a:pt x="41098" y="57125"/>
                        <a:pt x="74734" y="51444"/>
                      </a:cubicBezTo>
                      <a:cubicBezTo>
                        <a:pt x="75906" y="51234"/>
                        <a:pt x="77138" y="51444"/>
                        <a:pt x="78190" y="52046"/>
                      </a:cubicBezTo>
                      <a:cubicBezTo>
                        <a:pt x="80295" y="53248"/>
                        <a:pt x="81827" y="55983"/>
                        <a:pt x="81166" y="58328"/>
                      </a:cubicBezTo>
                      <a:cubicBezTo>
                        <a:pt x="74884" y="80841"/>
                        <a:pt x="70405" y="94758"/>
                        <a:pt x="67520" y="100830"/>
                      </a:cubicBezTo>
                      <a:cubicBezTo>
                        <a:pt x="66618" y="102754"/>
                        <a:pt x="64724" y="103836"/>
                        <a:pt x="62740" y="103836"/>
                      </a:cubicBezTo>
                      <a:close/>
                    </a:path>
                  </a:pathLst>
                </a:custGeom>
                <a:grpFill/>
                <a:ln w="3004" cap="flat">
                  <a:noFill/>
                  <a:prstDash val="solid"/>
                  <a:miter/>
                </a:ln>
              </p:spPr>
              <p:txBody>
                <a:bodyPr rtlCol="0" anchor="ctr"/>
                <a:lstStyle/>
                <a:p>
                  <a:endParaRPr lang="en-GB" dirty="0"/>
                </a:p>
              </p:txBody>
            </p:sp>
            <p:sp>
              <p:nvSpPr>
                <p:cNvPr id="398" name="Freihandform: Form 397">
                  <a:extLst>
                    <a:ext uri="{FF2B5EF4-FFF2-40B4-BE49-F238E27FC236}">
                      <a16:creationId xmlns:a16="http://schemas.microsoft.com/office/drawing/2014/main" id="{F54F8140-25E4-42C5-9E8F-BE4730FD4627}"/>
                    </a:ext>
                  </a:extLst>
                </p:cNvPr>
                <p:cNvSpPr/>
                <p:nvPr/>
              </p:nvSpPr>
              <p:spPr>
                <a:xfrm>
                  <a:off x="1133425" y="2133644"/>
                  <a:ext cx="74362" cy="120010"/>
                </a:xfrm>
                <a:custGeom>
                  <a:avLst/>
                  <a:gdLst>
                    <a:gd name="connsiteX0" fmla="*/ 5278 w 74362"/>
                    <a:gd name="connsiteY0" fmla="*/ 120011 h 120010"/>
                    <a:gd name="connsiteX1" fmla="*/ 4076 w 74362"/>
                    <a:gd name="connsiteY1" fmla="*/ 119860 h 120010"/>
                    <a:gd name="connsiteX2" fmla="*/ 138 w 74362"/>
                    <a:gd name="connsiteY2" fmla="*/ 113518 h 120010"/>
                    <a:gd name="connsiteX3" fmla="*/ 38042 w 74362"/>
                    <a:gd name="connsiteY3" fmla="*/ 39304 h 120010"/>
                    <a:gd name="connsiteX4" fmla="*/ 38403 w 74362"/>
                    <a:gd name="connsiteY4" fmla="*/ 39003 h 120010"/>
                    <a:gd name="connsiteX5" fmla="*/ 38403 w 74362"/>
                    <a:gd name="connsiteY5" fmla="*/ 39003 h 120010"/>
                    <a:gd name="connsiteX6" fmla="*/ 39785 w 74362"/>
                    <a:gd name="connsiteY6" fmla="*/ 37921 h 120010"/>
                    <a:gd name="connsiteX7" fmla="*/ 52650 w 74362"/>
                    <a:gd name="connsiteY7" fmla="*/ 27130 h 120010"/>
                    <a:gd name="connsiteX8" fmla="*/ 63832 w 74362"/>
                    <a:gd name="connsiteY8" fmla="*/ 4947 h 120010"/>
                    <a:gd name="connsiteX9" fmla="*/ 69423 w 74362"/>
                    <a:gd name="connsiteY9" fmla="*/ 18 h 120010"/>
                    <a:gd name="connsiteX10" fmla="*/ 74353 w 74362"/>
                    <a:gd name="connsiteY10" fmla="*/ 5608 h 120010"/>
                    <a:gd name="connsiteX11" fmla="*/ 60105 w 74362"/>
                    <a:gd name="connsiteY11" fmla="*/ 34585 h 120010"/>
                    <a:gd name="connsiteX12" fmla="*/ 46308 w 74362"/>
                    <a:gd name="connsiteY12" fmla="*/ 46187 h 120010"/>
                    <a:gd name="connsiteX13" fmla="*/ 45346 w 74362"/>
                    <a:gd name="connsiteY13" fmla="*/ 46939 h 120010"/>
                    <a:gd name="connsiteX14" fmla="*/ 45046 w 74362"/>
                    <a:gd name="connsiteY14" fmla="*/ 47149 h 120010"/>
                    <a:gd name="connsiteX15" fmla="*/ 10388 w 74362"/>
                    <a:gd name="connsiteY15" fmla="*/ 115893 h 120010"/>
                    <a:gd name="connsiteX16" fmla="*/ 5278 w 74362"/>
                    <a:gd name="connsiteY16" fmla="*/ 120011 h 120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362" h="120010">
                      <a:moveTo>
                        <a:pt x="5278" y="120011"/>
                      </a:moveTo>
                      <a:cubicBezTo>
                        <a:pt x="4888" y="120011"/>
                        <a:pt x="4467" y="119981"/>
                        <a:pt x="4076" y="119860"/>
                      </a:cubicBezTo>
                      <a:cubicBezTo>
                        <a:pt x="1251" y="119199"/>
                        <a:pt x="-523" y="116374"/>
                        <a:pt x="138" y="113518"/>
                      </a:cubicBezTo>
                      <a:cubicBezTo>
                        <a:pt x="10659" y="68400"/>
                        <a:pt x="30137" y="46578"/>
                        <a:pt x="38042" y="39304"/>
                      </a:cubicBezTo>
                      <a:cubicBezTo>
                        <a:pt x="38162" y="39214"/>
                        <a:pt x="38282" y="39093"/>
                        <a:pt x="38403" y="39003"/>
                      </a:cubicBezTo>
                      <a:lnTo>
                        <a:pt x="38403" y="39003"/>
                      </a:lnTo>
                      <a:lnTo>
                        <a:pt x="39785" y="37921"/>
                      </a:lnTo>
                      <a:cubicBezTo>
                        <a:pt x="43092" y="35366"/>
                        <a:pt x="49103" y="30737"/>
                        <a:pt x="52650" y="27130"/>
                      </a:cubicBezTo>
                      <a:cubicBezTo>
                        <a:pt x="56257" y="23493"/>
                        <a:pt x="63562" y="9636"/>
                        <a:pt x="63832" y="4947"/>
                      </a:cubicBezTo>
                      <a:cubicBezTo>
                        <a:pt x="64012" y="2031"/>
                        <a:pt x="66417" y="-223"/>
                        <a:pt x="69423" y="18"/>
                      </a:cubicBezTo>
                      <a:cubicBezTo>
                        <a:pt x="72339" y="198"/>
                        <a:pt x="74533" y="2693"/>
                        <a:pt x="74353" y="5608"/>
                      </a:cubicBezTo>
                      <a:cubicBezTo>
                        <a:pt x="73872" y="13514"/>
                        <a:pt x="64974" y="29685"/>
                        <a:pt x="60105" y="34585"/>
                      </a:cubicBezTo>
                      <a:cubicBezTo>
                        <a:pt x="56047" y="38643"/>
                        <a:pt x="49705" y="43542"/>
                        <a:pt x="46308" y="46187"/>
                      </a:cubicBezTo>
                      <a:lnTo>
                        <a:pt x="45346" y="46939"/>
                      </a:lnTo>
                      <a:cubicBezTo>
                        <a:pt x="45256" y="46999"/>
                        <a:pt x="45166" y="47089"/>
                        <a:pt x="45046" y="47149"/>
                      </a:cubicBezTo>
                      <a:cubicBezTo>
                        <a:pt x="37381" y="54363"/>
                        <a:pt x="20067" y="74382"/>
                        <a:pt x="10388" y="115893"/>
                      </a:cubicBezTo>
                      <a:cubicBezTo>
                        <a:pt x="9847" y="118387"/>
                        <a:pt x="7683" y="120011"/>
                        <a:pt x="5278" y="120011"/>
                      </a:cubicBezTo>
                      <a:close/>
                    </a:path>
                  </a:pathLst>
                </a:custGeom>
                <a:grpFill/>
                <a:ln w="3004" cap="flat">
                  <a:noFill/>
                  <a:prstDash val="solid"/>
                  <a:miter/>
                </a:ln>
              </p:spPr>
              <p:txBody>
                <a:bodyPr rtlCol="0" anchor="ctr"/>
                <a:lstStyle/>
                <a:p>
                  <a:endParaRPr lang="en-GB" dirty="0"/>
                </a:p>
              </p:txBody>
            </p:sp>
            <p:sp>
              <p:nvSpPr>
                <p:cNvPr id="399" name="Freihandform: Form 398">
                  <a:extLst>
                    <a:ext uri="{FF2B5EF4-FFF2-40B4-BE49-F238E27FC236}">
                      <a16:creationId xmlns:a16="http://schemas.microsoft.com/office/drawing/2014/main" id="{6C725901-C7B8-4664-A235-BA816F116E06}"/>
                    </a:ext>
                  </a:extLst>
                </p:cNvPr>
                <p:cNvSpPr/>
                <p:nvPr/>
              </p:nvSpPr>
              <p:spPr>
                <a:xfrm>
                  <a:off x="1078923" y="1902108"/>
                  <a:ext cx="253991" cy="202457"/>
                </a:xfrm>
                <a:custGeom>
                  <a:avLst/>
                  <a:gdLst>
                    <a:gd name="connsiteX0" fmla="*/ 190234 w 253991"/>
                    <a:gd name="connsiteY0" fmla="*/ 202458 h 202457"/>
                    <a:gd name="connsiteX1" fmla="*/ 184974 w 253991"/>
                    <a:gd name="connsiteY1" fmla="*/ 197348 h 202457"/>
                    <a:gd name="connsiteX2" fmla="*/ 190084 w 253991"/>
                    <a:gd name="connsiteY2" fmla="*/ 191907 h 202457"/>
                    <a:gd name="connsiteX3" fmla="*/ 237216 w 253991"/>
                    <a:gd name="connsiteY3" fmla="*/ 173572 h 202457"/>
                    <a:gd name="connsiteX4" fmla="*/ 237727 w 253991"/>
                    <a:gd name="connsiteY4" fmla="*/ 121721 h 202457"/>
                    <a:gd name="connsiteX5" fmla="*/ 236735 w 253991"/>
                    <a:gd name="connsiteY5" fmla="*/ 118595 h 202457"/>
                    <a:gd name="connsiteX6" fmla="*/ 236975 w 253991"/>
                    <a:gd name="connsiteY6" fmla="*/ 115318 h 202457"/>
                    <a:gd name="connsiteX7" fmla="*/ 236194 w 253991"/>
                    <a:gd name="connsiteY7" fmla="*/ 83006 h 202457"/>
                    <a:gd name="connsiteX8" fmla="*/ 188070 w 253991"/>
                    <a:gd name="connsiteY8" fmla="*/ 48950 h 202457"/>
                    <a:gd name="connsiteX9" fmla="*/ 184012 w 253991"/>
                    <a:gd name="connsiteY9" fmla="*/ 45733 h 202457"/>
                    <a:gd name="connsiteX10" fmla="*/ 154856 w 253991"/>
                    <a:gd name="connsiteY10" fmla="*/ 22649 h 202457"/>
                    <a:gd name="connsiteX11" fmla="*/ 115960 w 253991"/>
                    <a:gd name="connsiteY11" fmla="*/ 17448 h 202457"/>
                    <a:gd name="connsiteX12" fmla="*/ 111632 w 253991"/>
                    <a:gd name="connsiteY12" fmla="*/ 17719 h 202457"/>
                    <a:gd name="connsiteX13" fmla="*/ 9223 w 253991"/>
                    <a:gd name="connsiteY13" fmla="*/ 37317 h 202457"/>
                    <a:gd name="connsiteX14" fmla="*/ 1768 w 253991"/>
                    <a:gd name="connsiteY14" fmla="*/ 37738 h 202457"/>
                    <a:gd name="connsiteX15" fmla="*/ 1318 w 253991"/>
                    <a:gd name="connsiteY15" fmla="*/ 30313 h 202457"/>
                    <a:gd name="connsiteX16" fmla="*/ 113495 w 253991"/>
                    <a:gd name="connsiteY16" fmla="*/ 7168 h 202457"/>
                    <a:gd name="connsiteX17" fmla="*/ 158463 w 253991"/>
                    <a:gd name="connsiteY17" fmla="*/ 12759 h 202457"/>
                    <a:gd name="connsiteX18" fmla="*/ 192669 w 253991"/>
                    <a:gd name="connsiteY18" fmla="*/ 39331 h 202457"/>
                    <a:gd name="connsiteX19" fmla="*/ 244520 w 253991"/>
                    <a:gd name="connsiteY19" fmla="*/ 76303 h 202457"/>
                    <a:gd name="connsiteX20" fmla="*/ 247435 w 253991"/>
                    <a:gd name="connsiteY20" fmla="*/ 117543 h 202457"/>
                    <a:gd name="connsiteX21" fmla="*/ 247736 w 253991"/>
                    <a:gd name="connsiteY21" fmla="*/ 118384 h 202457"/>
                    <a:gd name="connsiteX22" fmla="*/ 245872 w 253991"/>
                    <a:gd name="connsiteY22" fmla="*/ 179613 h 202457"/>
                    <a:gd name="connsiteX23" fmla="*/ 190415 w 253991"/>
                    <a:gd name="connsiteY23" fmla="*/ 202458 h 202457"/>
                    <a:gd name="connsiteX24" fmla="*/ 190234 w 253991"/>
                    <a:gd name="connsiteY24" fmla="*/ 202458 h 202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3991" h="202457">
                      <a:moveTo>
                        <a:pt x="190234" y="202458"/>
                      </a:moveTo>
                      <a:cubicBezTo>
                        <a:pt x="187409" y="202458"/>
                        <a:pt x="185064" y="200203"/>
                        <a:pt x="184974" y="197348"/>
                      </a:cubicBezTo>
                      <a:cubicBezTo>
                        <a:pt x="184884" y="194432"/>
                        <a:pt x="187168" y="191997"/>
                        <a:pt x="190084" y="191907"/>
                      </a:cubicBezTo>
                      <a:cubicBezTo>
                        <a:pt x="213409" y="191156"/>
                        <a:pt x="229250" y="184994"/>
                        <a:pt x="237216" y="173572"/>
                      </a:cubicBezTo>
                      <a:cubicBezTo>
                        <a:pt x="249269" y="156258"/>
                        <a:pt x="240582" y="130257"/>
                        <a:pt x="237727" y="121721"/>
                      </a:cubicBezTo>
                      <a:cubicBezTo>
                        <a:pt x="237246" y="120308"/>
                        <a:pt x="236915" y="119226"/>
                        <a:pt x="236735" y="118595"/>
                      </a:cubicBezTo>
                      <a:cubicBezTo>
                        <a:pt x="236464" y="117513"/>
                        <a:pt x="236554" y="116340"/>
                        <a:pt x="236975" y="115318"/>
                      </a:cubicBezTo>
                      <a:cubicBezTo>
                        <a:pt x="241784" y="103596"/>
                        <a:pt x="241544" y="93015"/>
                        <a:pt x="236194" y="83006"/>
                      </a:cubicBezTo>
                      <a:cubicBezTo>
                        <a:pt x="224531" y="61183"/>
                        <a:pt x="192248" y="49791"/>
                        <a:pt x="188070" y="48950"/>
                      </a:cubicBezTo>
                      <a:cubicBezTo>
                        <a:pt x="186327" y="48589"/>
                        <a:pt x="184674" y="47356"/>
                        <a:pt x="184012" y="45733"/>
                      </a:cubicBezTo>
                      <a:cubicBezTo>
                        <a:pt x="179113" y="33680"/>
                        <a:pt x="165466" y="26526"/>
                        <a:pt x="154856" y="22649"/>
                      </a:cubicBezTo>
                      <a:cubicBezTo>
                        <a:pt x="136159" y="15825"/>
                        <a:pt x="118876" y="15885"/>
                        <a:pt x="115960" y="17448"/>
                      </a:cubicBezTo>
                      <a:cubicBezTo>
                        <a:pt x="114608" y="18170"/>
                        <a:pt x="113044" y="18230"/>
                        <a:pt x="111632" y="17719"/>
                      </a:cubicBezTo>
                      <a:cubicBezTo>
                        <a:pt x="48930" y="-5997"/>
                        <a:pt x="10786" y="35513"/>
                        <a:pt x="9223" y="37317"/>
                      </a:cubicBezTo>
                      <a:cubicBezTo>
                        <a:pt x="7269" y="39481"/>
                        <a:pt x="3963" y="39662"/>
                        <a:pt x="1768" y="37738"/>
                      </a:cubicBezTo>
                      <a:cubicBezTo>
                        <a:pt x="-396" y="35814"/>
                        <a:pt x="-606" y="32478"/>
                        <a:pt x="1318" y="30313"/>
                      </a:cubicBezTo>
                      <a:cubicBezTo>
                        <a:pt x="1768" y="29832"/>
                        <a:pt x="44902" y="-17630"/>
                        <a:pt x="113495" y="7168"/>
                      </a:cubicBezTo>
                      <a:cubicBezTo>
                        <a:pt x="122693" y="4493"/>
                        <a:pt x="142141" y="6778"/>
                        <a:pt x="158463" y="12759"/>
                      </a:cubicBezTo>
                      <a:cubicBezTo>
                        <a:pt x="170396" y="17118"/>
                        <a:pt x="185696" y="25203"/>
                        <a:pt x="192669" y="39331"/>
                      </a:cubicBezTo>
                      <a:cubicBezTo>
                        <a:pt x="202588" y="42397"/>
                        <a:pt x="231505" y="54120"/>
                        <a:pt x="244520" y="76303"/>
                      </a:cubicBezTo>
                      <a:cubicBezTo>
                        <a:pt x="251974" y="89047"/>
                        <a:pt x="252936" y="102904"/>
                        <a:pt x="247435" y="117543"/>
                      </a:cubicBezTo>
                      <a:cubicBezTo>
                        <a:pt x="247526" y="117813"/>
                        <a:pt x="247616" y="118084"/>
                        <a:pt x="247736" y="118384"/>
                      </a:cubicBezTo>
                      <a:cubicBezTo>
                        <a:pt x="251012" y="128183"/>
                        <a:pt x="260962" y="157941"/>
                        <a:pt x="245872" y="179613"/>
                      </a:cubicBezTo>
                      <a:cubicBezTo>
                        <a:pt x="235923" y="193921"/>
                        <a:pt x="217257" y="201616"/>
                        <a:pt x="190415" y="202458"/>
                      </a:cubicBezTo>
                      <a:cubicBezTo>
                        <a:pt x="190355" y="202458"/>
                        <a:pt x="190295" y="202458"/>
                        <a:pt x="190234" y="202458"/>
                      </a:cubicBezTo>
                      <a:close/>
                    </a:path>
                  </a:pathLst>
                </a:custGeom>
                <a:grpFill/>
                <a:ln w="3004" cap="flat">
                  <a:noFill/>
                  <a:prstDash val="solid"/>
                  <a:miter/>
                </a:ln>
              </p:spPr>
              <p:txBody>
                <a:bodyPr rtlCol="0" anchor="ctr"/>
                <a:lstStyle/>
                <a:p>
                  <a:endParaRPr lang="en-GB" dirty="0"/>
                </a:p>
              </p:txBody>
            </p:sp>
          </p:grpSp>
          <p:sp>
            <p:nvSpPr>
              <p:cNvPr id="394" name="Freihandform: Form 393">
                <a:extLst>
                  <a:ext uri="{FF2B5EF4-FFF2-40B4-BE49-F238E27FC236}">
                    <a16:creationId xmlns:a16="http://schemas.microsoft.com/office/drawing/2014/main" id="{BD8F68C4-794F-4754-AC16-09AE0E188A69}"/>
                  </a:ext>
                </a:extLst>
              </p:cNvPr>
              <p:cNvSpPr/>
              <p:nvPr/>
            </p:nvSpPr>
            <p:spPr>
              <a:xfrm>
                <a:off x="1002512" y="1930721"/>
                <a:ext cx="86252" cy="105792"/>
              </a:xfrm>
              <a:custGeom>
                <a:avLst/>
                <a:gdLst>
                  <a:gd name="connsiteX0" fmla="*/ 5558 w 86252"/>
                  <a:gd name="connsiteY0" fmla="*/ 105792 h 105792"/>
                  <a:gd name="connsiteX1" fmla="*/ 328 w 86252"/>
                  <a:gd name="connsiteY1" fmla="*/ 101133 h 105792"/>
                  <a:gd name="connsiteX2" fmla="*/ 27260 w 86252"/>
                  <a:gd name="connsiteY2" fmla="*/ 40626 h 105792"/>
                  <a:gd name="connsiteX3" fmla="*/ 39253 w 86252"/>
                  <a:gd name="connsiteY3" fmla="*/ 17661 h 105792"/>
                  <a:gd name="connsiteX4" fmla="*/ 81395 w 86252"/>
                  <a:gd name="connsiteY4" fmla="*/ 107 h 105792"/>
                  <a:gd name="connsiteX5" fmla="*/ 86235 w 86252"/>
                  <a:gd name="connsiteY5" fmla="*/ 5788 h 105792"/>
                  <a:gd name="connsiteX6" fmla="*/ 80554 w 86252"/>
                  <a:gd name="connsiteY6" fmla="*/ 10627 h 105792"/>
                  <a:gd name="connsiteX7" fmla="*/ 46678 w 86252"/>
                  <a:gd name="connsiteY7" fmla="*/ 25206 h 105792"/>
                  <a:gd name="connsiteX8" fmla="*/ 37781 w 86252"/>
                  <a:gd name="connsiteY8" fmla="*/ 43662 h 105792"/>
                  <a:gd name="connsiteX9" fmla="*/ 34624 w 86252"/>
                  <a:gd name="connsiteY9" fmla="*/ 48832 h 105792"/>
                  <a:gd name="connsiteX10" fmla="*/ 10818 w 86252"/>
                  <a:gd name="connsiteY10" fmla="*/ 99931 h 105792"/>
                  <a:gd name="connsiteX11" fmla="*/ 6189 w 86252"/>
                  <a:gd name="connsiteY11" fmla="*/ 105762 h 105792"/>
                  <a:gd name="connsiteX12" fmla="*/ 5558 w 86252"/>
                  <a:gd name="connsiteY12" fmla="*/ 105792 h 10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252" h="105792">
                    <a:moveTo>
                      <a:pt x="5558" y="105792"/>
                    </a:moveTo>
                    <a:cubicBezTo>
                      <a:pt x="2913" y="105792"/>
                      <a:pt x="628" y="103808"/>
                      <a:pt x="328" y="101133"/>
                    </a:cubicBezTo>
                    <a:cubicBezTo>
                      <a:pt x="117" y="99300"/>
                      <a:pt x="-4331" y="57158"/>
                      <a:pt x="27260" y="40626"/>
                    </a:cubicBezTo>
                    <a:cubicBezTo>
                      <a:pt x="27891" y="32780"/>
                      <a:pt x="32039" y="24755"/>
                      <a:pt x="39253" y="17661"/>
                    </a:cubicBezTo>
                    <a:cubicBezTo>
                      <a:pt x="50856" y="6239"/>
                      <a:pt x="68170" y="-975"/>
                      <a:pt x="81395" y="107"/>
                    </a:cubicBezTo>
                    <a:cubicBezTo>
                      <a:pt x="84311" y="347"/>
                      <a:pt x="86475" y="2872"/>
                      <a:pt x="86235" y="5788"/>
                    </a:cubicBezTo>
                    <a:cubicBezTo>
                      <a:pt x="85994" y="8704"/>
                      <a:pt x="83439" y="10868"/>
                      <a:pt x="80554" y="10627"/>
                    </a:cubicBezTo>
                    <a:cubicBezTo>
                      <a:pt x="70514" y="9786"/>
                      <a:pt x="55936" y="16068"/>
                      <a:pt x="46678" y="25206"/>
                    </a:cubicBezTo>
                    <a:cubicBezTo>
                      <a:pt x="40546" y="31247"/>
                      <a:pt x="37390" y="37770"/>
                      <a:pt x="37781" y="43662"/>
                    </a:cubicBezTo>
                    <a:cubicBezTo>
                      <a:pt x="37931" y="45886"/>
                      <a:pt x="36668" y="47960"/>
                      <a:pt x="34624" y="48832"/>
                    </a:cubicBezTo>
                    <a:cubicBezTo>
                      <a:pt x="6670" y="61035"/>
                      <a:pt x="10788" y="99540"/>
                      <a:pt x="10818" y="99931"/>
                    </a:cubicBezTo>
                    <a:cubicBezTo>
                      <a:pt x="11149" y="102816"/>
                      <a:pt x="9075" y="105431"/>
                      <a:pt x="6189" y="105762"/>
                    </a:cubicBezTo>
                    <a:cubicBezTo>
                      <a:pt x="5949" y="105762"/>
                      <a:pt x="5768" y="105792"/>
                      <a:pt x="5558" y="105792"/>
                    </a:cubicBezTo>
                    <a:close/>
                  </a:path>
                </a:pathLst>
              </a:custGeom>
              <a:grpFill/>
              <a:ln w="3004" cap="flat">
                <a:noFill/>
                <a:prstDash val="solid"/>
                <a:miter/>
              </a:ln>
            </p:spPr>
            <p:txBody>
              <a:bodyPr rtlCol="0" anchor="ctr"/>
              <a:lstStyle/>
              <a:p>
                <a:endParaRPr lang="en-GB" dirty="0"/>
              </a:p>
            </p:txBody>
          </p:sp>
        </p:grpSp>
        <p:grpSp>
          <p:nvGrpSpPr>
            <p:cNvPr id="368" name="Group 1002">
              <a:extLst>
                <a:ext uri="{FF2B5EF4-FFF2-40B4-BE49-F238E27FC236}">
                  <a16:creationId xmlns:a16="http://schemas.microsoft.com/office/drawing/2014/main" id="{1491BAA8-0A8C-463D-BFCB-8BAE1BDD1B5E}"/>
                </a:ext>
              </a:extLst>
            </p:cNvPr>
            <p:cNvGrpSpPr/>
            <p:nvPr/>
          </p:nvGrpSpPr>
          <p:grpSpPr>
            <a:xfrm>
              <a:off x="4979856" y="1626715"/>
              <a:ext cx="567747" cy="314305"/>
              <a:chOff x="821167" y="1728595"/>
              <a:chExt cx="690049" cy="382011"/>
            </a:xfrm>
          </p:grpSpPr>
          <p:grpSp>
            <p:nvGrpSpPr>
              <p:cNvPr id="369" name="Grafik 19">
                <a:extLst>
                  <a:ext uri="{FF2B5EF4-FFF2-40B4-BE49-F238E27FC236}">
                    <a16:creationId xmlns:a16="http://schemas.microsoft.com/office/drawing/2014/main" id="{B67AD284-AAF7-4944-B308-6ECDACB6FEBE}"/>
                  </a:ext>
                </a:extLst>
              </p:cNvPr>
              <p:cNvGrpSpPr/>
              <p:nvPr/>
            </p:nvGrpSpPr>
            <p:grpSpPr>
              <a:xfrm>
                <a:off x="821167" y="1728595"/>
                <a:ext cx="690049" cy="382011"/>
                <a:chOff x="821167" y="1728595"/>
                <a:chExt cx="690049" cy="382011"/>
              </a:xfrm>
              <a:solidFill>
                <a:schemeClr val="accent1"/>
              </a:solidFill>
            </p:grpSpPr>
            <p:sp>
              <p:nvSpPr>
                <p:cNvPr id="377" name="Freihandform: Form 376">
                  <a:extLst>
                    <a:ext uri="{FF2B5EF4-FFF2-40B4-BE49-F238E27FC236}">
                      <a16:creationId xmlns:a16="http://schemas.microsoft.com/office/drawing/2014/main" id="{757CE4BC-F4AE-4616-9946-615FC9D33100}"/>
                    </a:ext>
                  </a:extLst>
                </p:cNvPr>
                <p:cNvSpPr/>
                <p:nvPr/>
              </p:nvSpPr>
              <p:spPr>
                <a:xfrm>
                  <a:off x="946661" y="1853848"/>
                  <a:ext cx="439032" cy="224776"/>
                </a:xfrm>
                <a:custGeom>
                  <a:avLst/>
                  <a:gdLst>
                    <a:gd name="connsiteX0" fmla="*/ 433712 w 439032"/>
                    <a:gd name="connsiteY0" fmla="*/ 224776 h 224776"/>
                    <a:gd name="connsiteX1" fmla="*/ 428452 w 439032"/>
                    <a:gd name="connsiteY1" fmla="*/ 219516 h 224776"/>
                    <a:gd name="connsiteX2" fmla="*/ 219486 w 439032"/>
                    <a:gd name="connsiteY2" fmla="*/ 10550 h 224776"/>
                    <a:gd name="connsiteX3" fmla="*/ 10520 w 439032"/>
                    <a:gd name="connsiteY3" fmla="*/ 219516 h 224776"/>
                    <a:gd name="connsiteX4" fmla="*/ 5260 w 439032"/>
                    <a:gd name="connsiteY4" fmla="*/ 224776 h 224776"/>
                    <a:gd name="connsiteX5" fmla="*/ 0 w 439032"/>
                    <a:gd name="connsiteY5" fmla="*/ 219516 h 224776"/>
                    <a:gd name="connsiteX6" fmla="*/ 219516 w 439032"/>
                    <a:gd name="connsiteY6" fmla="*/ 0 h 224776"/>
                    <a:gd name="connsiteX7" fmla="*/ 439033 w 439032"/>
                    <a:gd name="connsiteY7" fmla="*/ 219516 h 224776"/>
                    <a:gd name="connsiteX8" fmla="*/ 433712 w 439032"/>
                    <a:gd name="connsiteY8" fmla="*/ 224776 h 224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9032" h="224776">
                      <a:moveTo>
                        <a:pt x="433712" y="224776"/>
                      </a:moveTo>
                      <a:cubicBezTo>
                        <a:pt x="430797" y="224776"/>
                        <a:pt x="428452" y="222402"/>
                        <a:pt x="428452" y="219516"/>
                      </a:cubicBezTo>
                      <a:cubicBezTo>
                        <a:pt x="428452" y="104303"/>
                        <a:pt x="334700" y="10550"/>
                        <a:pt x="219486" y="10550"/>
                      </a:cubicBezTo>
                      <a:cubicBezTo>
                        <a:pt x="104272" y="10550"/>
                        <a:pt x="10520" y="104303"/>
                        <a:pt x="10520" y="219516"/>
                      </a:cubicBezTo>
                      <a:cubicBezTo>
                        <a:pt x="10520" y="222432"/>
                        <a:pt x="8146" y="224776"/>
                        <a:pt x="5260" y="224776"/>
                      </a:cubicBezTo>
                      <a:cubicBezTo>
                        <a:pt x="2345" y="224776"/>
                        <a:pt x="0" y="222402"/>
                        <a:pt x="0" y="219516"/>
                      </a:cubicBezTo>
                      <a:cubicBezTo>
                        <a:pt x="0" y="98471"/>
                        <a:pt x="98471" y="0"/>
                        <a:pt x="219516" y="0"/>
                      </a:cubicBezTo>
                      <a:cubicBezTo>
                        <a:pt x="340561" y="0"/>
                        <a:pt x="439033" y="98471"/>
                        <a:pt x="439033" y="219516"/>
                      </a:cubicBezTo>
                      <a:cubicBezTo>
                        <a:pt x="438972" y="222402"/>
                        <a:pt x="436598" y="224776"/>
                        <a:pt x="433712" y="224776"/>
                      </a:cubicBezTo>
                      <a:close/>
                    </a:path>
                  </a:pathLst>
                </a:custGeom>
                <a:solidFill>
                  <a:schemeClr val="accent1"/>
                </a:solidFill>
                <a:ln w="3004" cap="flat">
                  <a:noFill/>
                  <a:prstDash val="solid"/>
                  <a:miter/>
                </a:ln>
              </p:spPr>
              <p:txBody>
                <a:bodyPr rtlCol="0" anchor="ctr"/>
                <a:lstStyle/>
                <a:p>
                  <a:endParaRPr lang="en-GB" dirty="0"/>
                </a:p>
              </p:txBody>
            </p:sp>
            <p:grpSp>
              <p:nvGrpSpPr>
                <p:cNvPr id="378" name="Grafik 19">
                  <a:extLst>
                    <a:ext uri="{FF2B5EF4-FFF2-40B4-BE49-F238E27FC236}">
                      <a16:creationId xmlns:a16="http://schemas.microsoft.com/office/drawing/2014/main" id="{439FBBFF-29A7-47D5-805A-88C675B49CAB}"/>
                    </a:ext>
                  </a:extLst>
                </p:cNvPr>
                <p:cNvGrpSpPr/>
                <p:nvPr/>
              </p:nvGrpSpPr>
              <p:grpSpPr>
                <a:xfrm>
                  <a:off x="1129987" y="1728595"/>
                  <a:ext cx="73162" cy="135773"/>
                  <a:chOff x="1129987" y="1728595"/>
                  <a:chExt cx="73162" cy="135773"/>
                </a:xfrm>
                <a:solidFill>
                  <a:schemeClr val="accent1"/>
                </a:solidFill>
              </p:grpSpPr>
              <p:sp>
                <p:nvSpPr>
                  <p:cNvPr id="391" name="Freihandform: Form 390">
                    <a:extLst>
                      <a:ext uri="{FF2B5EF4-FFF2-40B4-BE49-F238E27FC236}">
                        <a16:creationId xmlns:a16="http://schemas.microsoft.com/office/drawing/2014/main" id="{C46C9CC8-1EF0-4660-9BA7-8AF7BD6F6EC3}"/>
                      </a:ext>
                    </a:extLst>
                  </p:cNvPr>
                  <p:cNvSpPr/>
                  <p:nvPr/>
                </p:nvSpPr>
                <p:spPr>
                  <a:xfrm>
                    <a:off x="1129987" y="1728595"/>
                    <a:ext cx="73162" cy="73162"/>
                  </a:xfrm>
                  <a:custGeom>
                    <a:avLst/>
                    <a:gdLst>
                      <a:gd name="connsiteX0" fmla="*/ 36581 w 73162"/>
                      <a:gd name="connsiteY0" fmla="*/ 73162 h 73162"/>
                      <a:gd name="connsiteX1" fmla="*/ 0 w 73162"/>
                      <a:gd name="connsiteY1" fmla="*/ 36581 h 73162"/>
                      <a:gd name="connsiteX2" fmla="*/ 36581 w 73162"/>
                      <a:gd name="connsiteY2" fmla="*/ 0 h 73162"/>
                      <a:gd name="connsiteX3" fmla="*/ 73162 w 73162"/>
                      <a:gd name="connsiteY3" fmla="*/ 36581 h 73162"/>
                      <a:gd name="connsiteX4" fmla="*/ 36581 w 73162"/>
                      <a:gd name="connsiteY4" fmla="*/ 73162 h 73162"/>
                      <a:gd name="connsiteX5" fmla="*/ 36581 w 73162"/>
                      <a:gd name="connsiteY5" fmla="*/ 10581 h 73162"/>
                      <a:gd name="connsiteX6" fmla="*/ 10550 w 73162"/>
                      <a:gd name="connsiteY6" fmla="*/ 36611 h 73162"/>
                      <a:gd name="connsiteX7" fmla="*/ 36581 w 73162"/>
                      <a:gd name="connsiteY7" fmla="*/ 62642 h 73162"/>
                      <a:gd name="connsiteX8" fmla="*/ 62612 w 73162"/>
                      <a:gd name="connsiteY8" fmla="*/ 36611 h 73162"/>
                      <a:gd name="connsiteX9" fmla="*/ 36581 w 73162"/>
                      <a:gd name="connsiteY9" fmla="*/ 10581 h 7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62" h="73162">
                        <a:moveTo>
                          <a:pt x="36581" y="73162"/>
                        </a:moveTo>
                        <a:cubicBezTo>
                          <a:pt x="16412" y="73162"/>
                          <a:pt x="0" y="56750"/>
                          <a:pt x="0" y="36581"/>
                        </a:cubicBezTo>
                        <a:cubicBezTo>
                          <a:pt x="0" y="16412"/>
                          <a:pt x="16412" y="0"/>
                          <a:pt x="36581" y="0"/>
                        </a:cubicBezTo>
                        <a:cubicBezTo>
                          <a:pt x="56750" y="0"/>
                          <a:pt x="73162" y="16412"/>
                          <a:pt x="73162" y="36581"/>
                        </a:cubicBezTo>
                        <a:cubicBezTo>
                          <a:pt x="73162" y="56750"/>
                          <a:pt x="56750" y="73162"/>
                          <a:pt x="36581" y="73162"/>
                        </a:cubicBezTo>
                        <a:close/>
                        <a:moveTo>
                          <a:pt x="36581" y="10581"/>
                        </a:moveTo>
                        <a:cubicBezTo>
                          <a:pt x="22243" y="10581"/>
                          <a:pt x="10550" y="22243"/>
                          <a:pt x="10550" y="36611"/>
                        </a:cubicBezTo>
                        <a:cubicBezTo>
                          <a:pt x="10550" y="50979"/>
                          <a:pt x="22213" y="62642"/>
                          <a:pt x="36581" y="62642"/>
                        </a:cubicBezTo>
                        <a:cubicBezTo>
                          <a:pt x="50919" y="62642"/>
                          <a:pt x="62612" y="50979"/>
                          <a:pt x="62612" y="36611"/>
                        </a:cubicBezTo>
                        <a:cubicBezTo>
                          <a:pt x="62612" y="22243"/>
                          <a:pt x="50949" y="10581"/>
                          <a:pt x="36581" y="10581"/>
                        </a:cubicBezTo>
                        <a:close/>
                      </a:path>
                    </a:pathLst>
                  </a:custGeom>
                  <a:solidFill>
                    <a:schemeClr val="accent1"/>
                  </a:solidFill>
                  <a:ln w="3004" cap="flat">
                    <a:noFill/>
                    <a:prstDash val="solid"/>
                    <a:miter/>
                  </a:ln>
                </p:spPr>
                <p:txBody>
                  <a:bodyPr rtlCol="0" anchor="ctr"/>
                  <a:lstStyle/>
                  <a:p>
                    <a:endParaRPr lang="en-GB" dirty="0"/>
                  </a:p>
                </p:txBody>
              </p:sp>
              <p:sp>
                <p:nvSpPr>
                  <p:cNvPr id="392" name="Freihandform: Form 391">
                    <a:extLst>
                      <a:ext uri="{FF2B5EF4-FFF2-40B4-BE49-F238E27FC236}">
                        <a16:creationId xmlns:a16="http://schemas.microsoft.com/office/drawing/2014/main" id="{49B0662F-FB6E-495B-A47F-90880478B063}"/>
                      </a:ext>
                    </a:extLst>
                  </p:cNvPr>
                  <p:cNvSpPr/>
                  <p:nvPr/>
                </p:nvSpPr>
                <p:spPr>
                  <a:xfrm>
                    <a:off x="1161308" y="1791237"/>
                    <a:ext cx="10520" cy="73131"/>
                  </a:xfrm>
                  <a:custGeom>
                    <a:avLst/>
                    <a:gdLst>
                      <a:gd name="connsiteX0" fmla="*/ 5260 w 10520"/>
                      <a:gd name="connsiteY0" fmla="*/ 73132 h 73131"/>
                      <a:gd name="connsiteX1" fmla="*/ 0 w 10520"/>
                      <a:gd name="connsiteY1" fmla="*/ 67872 h 73131"/>
                      <a:gd name="connsiteX2" fmla="*/ 0 w 10520"/>
                      <a:gd name="connsiteY2" fmla="*/ 5260 h 73131"/>
                      <a:gd name="connsiteX3" fmla="*/ 5260 w 10520"/>
                      <a:gd name="connsiteY3" fmla="*/ 0 h 73131"/>
                      <a:gd name="connsiteX4" fmla="*/ 10520 w 10520"/>
                      <a:gd name="connsiteY4" fmla="*/ 5260 h 73131"/>
                      <a:gd name="connsiteX5" fmla="*/ 10520 w 10520"/>
                      <a:gd name="connsiteY5" fmla="*/ 67872 h 73131"/>
                      <a:gd name="connsiteX6" fmla="*/ 5260 w 10520"/>
                      <a:gd name="connsiteY6" fmla="*/ 73132 h 7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73131">
                        <a:moveTo>
                          <a:pt x="5260" y="73132"/>
                        </a:moveTo>
                        <a:cubicBezTo>
                          <a:pt x="2345" y="73132"/>
                          <a:pt x="0" y="70757"/>
                          <a:pt x="0" y="67872"/>
                        </a:cubicBezTo>
                        <a:lnTo>
                          <a:pt x="0" y="5260"/>
                        </a:lnTo>
                        <a:cubicBezTo>
                          <a:pt x="0" y="2345"/>
                          <a:pt x="2375" y="0"/>
                          <a:pt x="5260" y="0"/>
                        </a:cubicBezTo>
                        <a:cubicBezTo>
                          <a:pt x="8176" y="0"/>
                          <a:pt x="10520" y="2375"/>
                          <a:pt x="10520" y="5260"/>
                        </a:cubicBezTo>
                        <a:lnTo>
                          <a:pt x="10520" y="67872"/>
                        </a:lnTo>
                        <a:cubicBezTo>
                          <a:pt x="10550" y="70757"/>
                          <a:pt x="8176" y="73132"/>
                          <a:pt x="5260" y="73132"/>
                        </a:cubicBezTo>
                        <a:close/>
                      </a:path>
                    </a:pathLst>
                  </a:custGeom>
                  <a:solidFill>
                    <a:schemeClr val="accent1"/>
                  </a:solidFill>
                  <a:ln w="3004" cap="flat">
                    <a:noFill/>
                    <a:prstDash val="solid"/>
                    <a:miter/>
                  </a:ln>
                </p:spPr>
                <p:txBody>
                  <a:bodyPr rtlCol="0" anchor="ctr"/>
                  <a:lstStyle/>
                  <a:p>
                    <a:endParaRPr lang="en-GB" dirty="0"/>
                  </a:p>
                </p:txBody>
              </p:sp>
            </p:grpSp>
            <p:grpSp>
              <p:nvGrpSpPr>
                <p:cNvPr id="379" name="Grafik 19">
                  <a:extLst>
                    <a:ext uri="{FF2B5EF4-FFF2-40B4-BE49-F238E27FC236}">
                      <a16:creationId xmlns:a16="http://schemas.microsoft.com/office/drawing/2014/main" id="{90962C37-6DAE-4302-B7D4-FA0F0609B674}"/>
                    </a:ext>
                  </a:extLst>
                </p:cNvPr>
                <p:cNvGrpSpPr/>
                <p:nvPr/>
              </p:nvGrpSpPr>
              <p:grpSpPr>
                <a:xfrm>
                  <a:off x="821167" y="2036994"/>
                  <a:ext cx="135743" cy="73162"/>
                  <a:chOff x="821167" y="2036994"/>
                  <a:chExt cx="135743" cy="73162"/>
                </a:xfrm>
                <a:solidFill>
                  <a:schemeClr val="accent1"/>
                </a:solidFill>
              </p:grpSpPr>
              <p:sp>
                <p:nvSpPr>
                  <p:cNvPr id="389" name="Freihandform: Form 388">
                    <a:extLst>
                      <a:ext uri="{FF2B5EF4-FFF2-40B4-BE49-F238E27FC236}">
                        <a16:creationId xmlns:a16="http://schemas.microsoft.com/office/drawing/2014/main" id="{19230115-57A6-412B-B0C3-0D4EBCF1215E}"/>
                      </a:ext>
                    </a:extLst>
                  </p:cNvPr>
                  <p:cNvSpPr/>
                  <p:nvPr/>
                </p:nvSpPr>
                <p:spPr>
                  <a:xfrm>
                    <a:off x="821167" y="2036994"/>
                    <a:ext cx="73162" cy="73162"/>
                  </a:xfrm>
                  <a:custGeom>
                    <a:avLst/>
                    <a:gdLst>
                      <a:gd name="connsiteX0" fmla="*/ 36581 w 73162"/>
                      <a:gd name="connsiteY0" fmla="*/ 73162 h 73162"/>
                      <a:gd name="connsiteX1" fmla="*/ 0 w 73162"/>
                      <a:gd name="connsiteY1" fmla="*/ 36581 h 73162"/>
                      <a:gd name="connsiteX2" fmla="*/ 36581 w 73162"/>
                      <a:gd name="connsiteY2" fmla="*/ 0 h 73162"/>
                      <a:gd name="connsiteX3" fmla="*/ 73162 w 73162"/>
                      <a:gd name="connsiteY3" fmla="*/ 36581 h 73162"/>
                      <a:gd name="connsiteX4" fmla="*/ 36581 w 73162"/>
                      <a:gd name="connsiteY4" fmla="*/ 73162 h 73162"/>
                      <a:gd name="connsiteX5" fmla="*/ 36581 w 73162"/>
                      <a:gd name="connsiteY5" fmla="*/ 10551 h 73162"/>
                      <a:gd name="connsiteX6" fmla="*/ 10550 w 73162"/>
                      <a:gd name="connsiteY6" fmla="*/ 36581 h 73162"/>
                      <a:gd name="connsiteX7" fmla="*/ 36581 w 73162"/>
                      <a:gd name="connsiteY7" fmla="*/ 62612 h 73162"/>
                      <a:gd name="connsiteX8" fmla="*/ 62612 w 73162"/>
                      <a:gd name="connsiteY8" fmla="*/ 36581 h 73162"/>
                      <a:gd name="connsiteX9" fmla="*/ 36581 w 73162"/>
                      <a:gd name="connsiteY9" fmla="*/ 10551 h 7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62" h="73162">
                        <a:moveTo>
                          <a:pt x="36581" y="73162"/>
                        </a:moveTo>
                        <a:cubicBezTo>
                          <a:pt x="16412" y="73162"/>
                          <a:pt x="0" y="56750"/>
                          <a:pt x="0" y="36581"/>
                        </a:cubicBezTo>
                        <a:cubicBezTo>
                          <a:pt x="0" y="16412"/>
                          <a:pt x="16412" y="0"/>
                          <a:pt x="36581" y="0"/>
                        </a:cubicBezTo>
                        <a:cubicBezTo>
                          <a:pt x="56750" y="0"/>
                          <a:pt x="73162" y="16412"/>
                          <a:pt x="73162" y="36581"/>
                        </a:cubicBezTo>
                        <a:cubicBezTo>
                          <a:pt x="73162" y="56750"/>
                          <a:pt x="56750" y="73162"/>
                          <a:pt x="36581" y="73162"/>
                        </a:cubicBezTo>
                        <a:close/>
                        <a:moveTo>
                          <a:pt x="36581" y="10551"/>
                        </a:moveTo>
                        <a:cubicBezTo>
                          <a:pt x="22213" y="10551"/>
                          <a:pt x="10550" y="22213"/>
                          <a:pt x="10550" y="36581"/>
                        </a:cubicBezTo>
                        <a:cubicBezTo>
                          <a:pt x="10550" y="50919"/>
                          <a:pt x="22213" y="62612"/>
                          <a:pt x="36581" y="62612"/>
                        </a:cubicBezTo>
                        <a:cubicBezTo>
                          <a:pt x="50919" y="62612"/>
                          <a:pt x="62612" y="50949"/>
                          <a:pt x="62612" y="36581"/>
                        </a:cubicBezTo>
                        <a:cubicBezTo>
                          <a:pt x="62612" y="22213"/>
                          <a:pt x="50919" y="10551"/>
                          <a:pt x="36581" y="10551"/>
                        </a:cubicBezTo>
                        <a:close/>
                      </a:path>
                    </a:pathLst>
                  </a:custGeom>
                  <a:solidFill>
                    <a:schemeClr val="accent1"/>
                  </a:solidFill>
                  <a:ln w="3004" cap="flat">
                    <a:noFill/>
                    <a:prstDash val="solid"/>
                    <a:miter/>
                  </a:ln>
                </p:spPr>
                <p:txBody>
                  <a:bodyPr rtlCol="0" anchor="ctr"/>
                  <a:lstStyle/>
                  <a:p>
                    <a:endParaRPr lang="en-GB" dirty="0"/>
                  </a:p>
                </p:txBody>
              </p:sp>
              <p:sp>
                <p:nvSpPr>
                  <p:cNvPr id="390" name="Freihandform: Form 389">
                    <a:extLst>
                      <a:ext uri="{FF2B5EF4-FFF2-40B4-BE49-F238E27FC236}">
                        <a16:creationId xmlns:a16="http://schemas.microsoft.com/office/drawing/2014/main" id="{40559001-B519-456A-A52E-A2D5FAF37A32}"/>
                      </a:ext>
                    </a:extLst>
                  </p:cNvPr>
                  <p:cNvSpPr/>
                  <p:nvPr/>
                </p:nvSpPr>
                <p:spPr>
                  <a:xfrm>
                    <a:off x="883779" y="2068315"/>
                    <a:ext cx="73132" cy="10520"/>
                  </a:xfrm>
                  <a:custGeom>
                    <a:avLst/>
                    <a:gdLst>
                      <a:gd name="connsiteX0" fmla="*/ 67872 w 73132"/>
                      <a:gd name="connsiteY0" fmla="*/ 10520 h 10520"/>
                      <a:gd name="connsiteX1" fmla="*/ 5260 w 73132"/>
                      <a:gd name="connsiteY1" fmla="*/ 10520 h 10520"/>
                      <a:gd name="connsiteX2" fmla="*/ 0 w 73132"/>
                      <a:gd name="connsiteY2" fmla="*/ 5260 h 10520"/>
                      <a:gd name="connsiteX3" fmla="*/ 5260 w 73132"/>
                      <a:gd name="connsiteY3" fmla="*/ 0 h 10520"/>
                      <a:gd name="connsiteX4" fmla="*/ 67872 w 73132"/>
                      <a:gd name="connsiteY4" fmla="*/ 0 h 10520"/>
                      <a:gd name="connsiteX5" fmla="*/ 73132 w 73132"/>
                      <a:gd name="connsiteY5" fmla="*/ 5260 h 10520"/>
                      <a:gd name="connsiteX6" fmla="*/ 67872 w 73132"/>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32" h="10520">
                        <a:moveTo>
                          <a:pt x="67872" y="10520"/>
                        </a:moveTo>
                        <a:lnTo>
                          <a:pt x="5260" y="10520"/>
                        </a:lnTo>
                        <a:cubicBezTo>
                          <a:pt x="2345" y="10520"/>
                          <a:pt x="0" y="8146"/>
                          <a:pt x="0" y="5260"/>
                        </a:cubicBezTo>
                        <a:cubicBezTo>
                          <a:pt x="0" y="2345"/>
                          <a:pt x="2375" y="0"/>
                          <a:pt x="5260" y="0"/>
                        </a:cubicBezTo>
                        <a:lnTo>
                          <a:pt x="67872" y="0"/>
                        </a:lnTo>
                        <a:cubicBezTo>
                          <a:pt x="70787" y="0"/>
                          <a:pt x="73132" y="2375"/>
                          <a:pt x="73132" y="5260"/>
                        </a:cubicBezTo>
                        <a:cubicBezTo>
                          <a:pt x="73132" y="8176"/>
                          <a:pt x="70787" y="10520"/>
                          <a:pt x="67872" y="10520"/>
                        </a:cubicBezTo>
                        <a:close/>
                      </a:path>
                    </a:pathLst>
                  </a:custGeom>
                  <a:solidFill>
                    <a:schemeClr val="accent1"/>
                  </a:solidFill>
                  <a:ln w="3004" cap="flat">
                    <a:noFill/>
                    <a:prstDash val="solid"/>
                    <a:miter/>
                  </a:ln>
                </p:spPr>
                <p:txBody>
                  <a:bodyPr rtlCol="0" anchor="ctr"/>
                  <a:lstStyle/>
                  <a:p>
                    <a:endParaRPr lang="en-GB" dirty="0"/>
                  </a:p>
                </p:txBody>
              </p:sp>
            </p:grpSp>
            <p:grpSp>
              <p:nvGrpSpPr>
                <p:cNvPr id="380" name="Grafik 19">
                  <a:extLst>
                    <a:ext uri="{FF2B5EF4-FFF2-40B4-BE49-F238E27FC236}">
                      <a16:creationId xmlns:a16="http://schemas.microsoft.com/office/drawing/2014/main" id="{0666F4F8-A2CB-474C-B4A5-4AC26D00BABB}"/>
                    </a:ext>
                  </a:extLst>
                </p:cNvPr>
                <p:cNvGrpSpPr/>
                <p:nvPr/>
              </p:nvGrpSpPr>
              <p:grpSpPr>
                <a:xfrm>
                  <a:off x="1375474" y="2037445"/>
                  <a:ext cx="135743" cy="73162"/>
                  <a:chOff x="1375474" y="2037445"/>
                  <a:chExt cx="135743" cy="73162"/>
                </a:xfrm>
                <a:solidFill>
                  <a:schemeClr val="accent1"/>
                </a:solidFill>
              </p:grpSpPr>
              <p:sp>
                <p:nvSpPr>
                  <p:cNvPr id="387" name="Freihandform: Form 386">
                    <a:extLst>
                      <a:ext uri="{FF2B5EF4-FFF2-40B4-BE49-F238E27FC236}">
                        <a16:creationId xmlns:a16="http://schemas.microsoft.com/office/drawing/2014/main" id="{83F35B9C-F30B-4E62-BA4C-C73319A61B5E}"/>
                      </a:ext>
                    </a:extLst>
                  </p:cNvPr>
                  <p:cNvSpPr/>
                  <p:nvPr/>
                </p:nvSpPr>
                <p:spPr>
                  <a:xfrm>
                    <a:off x="1438055" y="2037445"/>
                    <a:ext cx="73162" cy="73162"/>
                  </a:xfrm>
                  <a:custGeom>
                    <a:avLst/>
                    <a:gdLst>
                      <a:gd name="connsiteX0" fmla="*/ 36581 w 73162"/>
                      <a:gd name="connsiteY0" fmla="*/ 73162 h 73162"/>
                      <a:gd name="connsiteX1" fmla="*/ 0 w 73162"/>
                      <a:gd name="connsiteY1" fmla="*/ 36581 h 73162"/>
                      <a:gd name="connsiteX2" fmla="*/ 36581 w 73162"/>
                      <a:gd name="connsiteY2" fmla="*/ 0 h 73162"/>
                      <a:gd name="connsiteX3" fmla="*/ 73162 w 73162"/>
                      <a:gd name="connsiteY3" fmla="*/ 36581 h 73162"/>
                      <a:gd name="connsiteX4" fmla="*/ 36581 w 73162"/>
                      <a:gd name="connsiteY4" fmla="*/ 73162 h 73162"/>
                      <a:gd name="connsiteX5" fmla="*/ 36581 w 73162"/>
                      <a:gd name="connsiteY5" fmla="*/ 10550 h 73162"/>
                      <a:gd name="connsiteX6" fmla="*/ 10550 w 73162"/>
                      <a:gd name="connsiteY6" fmla="*/ 36581 h 73162"/>
                      <a:gd name="connsiteX7" fmla="*/ 36581 w 73162"/>
                      <a:gd name="connsiteY7" fmla="*/ 62612 h 73162"/>
                      <a:gd name="connsiteX8" fmla="*/ 62612 w 73162"/>
                      <a:gd name="connsiteY8" fmla="*/ 36581 h 73162"/>
                      <a:gd name="connsiteX9" fmla="*/ 36581 w 73162"/>
                      <a:gd name="connsiteY9" fmla="*/ 10550 h 7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62" h="73162">
                        <a:moveTo>
                          <a:pt x="36581" y="73162"/>
                        </a:moveTo>
                        <a:cubicBezTo>
                          <a:pt x="16412" y="73162"/>
                          <a:pt x="0" y="56750"/>
                          <a:pt x="0" y="36581"/>
                        </a:cubicBezTo>
                        <a:cubicBezTo>
                          <a:pt x="0" y="16412"/>
                          <a:pt x="16412" y="0"/>
                          <a:pt x="36581" y="0"/>
                        </a:cubicBezTo>
                        <a:cubicBezTo>
                          <a:pt x="56750" y="0"/>
                          <a:pt x="73162" y="16412"/>
                          <a:pt x="73162" y="36581"/>
                        </a:cubicBezTo>
                        <a:cubicBezTo>
                          <a:pt x="73162" y="56750"/>
                          <a:pt x="56750" y="73162"/>
                          <a:pt x="36581" y="73162"/>
                        </a:cubicBezTo>
                        <a:close/>
                        <a:moveTo>
                          <a:pt x="36581" y="10550"/>
                        </a:moveTo>
                        <a:cubicBezTo>
                          <a:pt x="22243" y="10550"/>
                          <a:pt x="10550" y="22213"/>
                          <a:pt x="10550" y="36581"/>
                        </a:cubicBezTo>
                        <a:cubicBezTo>
                          <a:pt x="10550" y="50949"/>
                          <a:pt x="22213" y="62612"/>
                          <a:pt x="36581" y="62612"/>
                        </a:cubicBezTo>
                        <a:cubicBezTo>
                          <a:pt x="50949" y="62612"/>
                          <a:pt x="62612" y="50949"/>
                          <a:pt x="62612" y="36581"/>
                        </a:cubicBezTo>
                        <a:cubicBezTo>
                          <a:pt x="62612" y="22213"/>
                          <a:pt x="50919" y="10550"/>
                          <a:pt x="36581" y="10550"/>
                        </a:cubicBezTo>
                        <a:close/>
                      </a:path>
                    </a:pathLst>
                  </a:custGeom>
                  <a:solidFill>
                    <a:schemeClr val="accent1"/>
                  </a:solidFill>
                  <a:ln w="3004" cap="flat">
                    <a:noFill/>
                    <a:prstDash val="solid"/>
                    <a:miter/>
                  </a:ln>
                </p:spPr>
                <p:txBody>
                  <a:bodyPr rtlCol="0" anchor="ctr"/>
                  <a:lstStyle/>
                  <a:p>
                    <a:endParaRPr lang="en-GB" dirty="0"/>
                  </a:p>
                </p:txBody>
              </p:sp>
              <p:sp>
                <p:nvSpPr>
                  <p:cNvPr id="388" name="Freihandform: Form 387">
                    <a:extLst>
                      <a:ext uri="{FF2B5EF4-FFF2-40B4-BE49-F238E27FC236}">
                        <a16:creationId xmlns:a16="http://schemas.microsoft.com/office/drawing/2014/main" id="{A4AD3B07-323E-4DDA-9E73-4D606D16A685}"/>
                      </a:ext>
                    </a:extLst>
                  </p:cNvPr>
                  <p:cNvSpPr/>
                  <p:nvPr/>
                </p:nvSpPr>
                <p:spPr>
                  <a:xfrm>
                    <a:off x="1375474" y="2068766"/>
                    <a:ext cx="73132" cy="10520"/>
                  </a:xfrm>
                  <a:custGeom>
                    <a:avLst/>
                    <a:gdLst>
                      <a:gd name="connsiteX0" fmla="*/ 67872 w 73132"/>
                      <a:gd name="connsiteY0" fmla="*/ 10520 h 10520"/>
                      <a:gd name="connsiteX1" fmla="*/ 5260 w 73132"/>
                      <a:gd name="connsiteY1" fmla="*/ 10520 h 10520"/>
                      <a:gd name="connsiteX2" fmla="*/ 0 w 73132"/>
                      <a:gd name="connsiteY2" fmla="*/ 5260 h 10520"/>
                      <a:gd name="connsiteX3" fmla="*/ 5260 w 73132"/>
                      <a:gd name="connsiteY3" fmla="*/ 0 h 10520"/>
                      <a:gd name="connsiteX4" fmla="*/ 67872 w 73132"/>
                      <a:gd name="connsiteY4" fmla="*/ 0 h 10520"/>
                      <a:gd name="connsiteX5" fmla="*/ 73132 w 73132"/>
                      <a:gd name="connsiteY5" fmla="*/ 5260 h 10520"/>
                      <a:gd name="connsiteX6" fmla="*/ 67872 w 73132"/>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32" h="10520">
                        <a:moveTo>
                          <a:pt x="67872" y="10520"/>
                        </a:moveTo>
                        <a:lnTo>
                          <a:pt x="5260" y="10520"/>
                        </a:lnTo>
                        <a:cubicBezTo>
                          <a:pt x="2345" y="10520"/>
                          <a:pt x="0" y="8146"/>
                          <a:pt x="0" y="5260"/>
                        </a:cubicBezTo>
                        <a:cubicBezTo>
                          <a:pt x="0" y="2345"/>
                          <a:pt x="2375" y="0"/>
                          <a:pt x="5260" y="0"/>
                        </a:cubicBezTo>
                        <a:lnTo>
                          <a:pt x="67872" y="0"/>
                        </a:lnTo>
                        <a:cubicBezTo>
                          <a:pt x="70787" y="0"/>
                          <a:pt x="73132" y="2375"/>
                          <a:pt x="73132" y="5260"/>
                        </a:cubicBezTo>
                        <a:cubicBezTo>
                          <a:pt x="73132" y="8176"/>
                          <a:pt x="70757" y="10520"/>
                          <a:pt x="67872" y="10520"/>
                        </a:cubicBezTo>
                        <a:close/>
                      </a:path>
                    </a:pathLst>
                  </a:custGeom>
                  <a:solidFill>
                    <a:schemeClr val="accent1"/>
                  </a:solidFill>
                  <a:ln w="3004" cap="flat">
                    <a:noFill/>
                    <a:prstDash val="solid"/>
                    <a:miter/>
                  </a:ln>
                </p:spPr>
                <p:txBody>
                  <a:bodyPr rtlCol="0" anchor="ctr"/>
                  <a:lstStyle/>
                  <a:p>
                    <a:endParaRPr lang="en-GB" dirty="0"/>
                  </a:p>
                </p:txBody>
              </p:sp>
            </p:grpSp>
            <p:grpSp>
              <p:nvGrpSpPr>
                <p:cNvPr id="381" name="Grafik 19">
                  <a:extLst>
                    <a:ext uri="{FF2B5EF4-FFF2-40B4-BE49-F238E27FC236}">
                      <a16:creationId xmlns:a16="http://schemas.microsoft.com/office/drawing/2014/main" id="{AB29367E-A2ED-455C-A2BC-63C6A5A1F38C}"/>
                    </a:ext>
                  </a:extLst>
                </p:cNvPr>
                <p:cNvGrpSpPr/>
                <p:nvPr/>
              </p:nvGrpSpPr>
              <p:grpSpPr>
                <a:xfrm>
                  <a:off x="911748" y="1818139"/>
                  <a:ext cx="108247" cy="108210"/>
                  <a:chOff x="911748" y="1818139"/>
                  <a:chExt cx="108247" cy="108210"/>
                </a:xfrm>
                <a:solidFill>
                  <a:schemeClr val="accent1"/>
                </a:solidFill>
              </p:grpSpPr>
              <p:sp>
                <p:nvSpPr>
                  <p:cNvPr id="385" name="Freihandform: Form 384">
                    <a:extLst>
                      <a:ext uri="{FF2B5EF4-FFF2-40B4-BE49-F238E27FC236}">
                        <a16:creationId xmlns:a16="http://schemas.microsoft.com/office/drawing/2014/main" id="{0B530B71-8404-45E2-AEAB-C46D8C25C3C2}"/>
                      </a:ext>
                    </a:extLst>
                  </p:cNvPr>
                  <p:cNvSpPr/>
                  <p:nvPr/>
                </p:nvSpPr>
                <p:spPr>
                  <a:xfrm>
                    <a:off x="911748" y="1818139"/>
                    <a:ext cx="73071" cy="73131"/>
                  </a:xfrm>
                  <a:custGeom>
                    <a:avLst/>
                    <a:gdLst>
                      <a:gd name="connsiteX0" fmla="*/ 36536 w 73071"/>
                      <a:gd name="connsiteY0" fmla="*/ 73132 h 73131"/>
                      <a:gd name="connsiteX1" fmla="*/ 10686 w 73071"/>
                      <a:gd name="connsiteY1" fmla="*/ 62431 h 73131"/>
                      <a:gd name="connsiteX2" fmla="*/ 10686 w 73071"/>
                      <a:gd name="connsiteY2" fmla="*/ 10701 h 73131"/>
                      <a:gd name="connsiteX3" fmla="*/ 36536 w 73071"/>
                      <a:gd name="connsiteY3" fmla="*/ 0 h 73131"/>
                      <a:gd name="connsiteX4" fmla="*/ 62386 w 73071"/>
                      <a:gd name="connsiteY4" fmla="*/ 10701 h 73131"/>
                      <a:gd name="connsiteX5" fmla="*/ 62386 w 73071"/>
                      <a:gd name="connsiteY5" fmla="*/ 62431 h 73131"/>
                      <a:gd name="connsiteX6" fmla="*/ 36536 w 73071"/>
                      <a:gd name="connsiteY6" fmla="*/ 73132 h 73131"/>
                      <a:gd name="connsiteX7" fmla="*/ 36536 w 73071"/>
                      <a:gd name="connsiteY7" fmla="*/ 10520 h 73131"/>
                      <a:gd name="connsiteX8" fmla="*/ 18140 w 73071"/>
                      <a:gd name="connsiteY8" fmla="*/ 18155 h 73131"/>
                      <a:gd name="connsiteX9" fmla="*/ 18140 w 73071"/>
                      <a:gd name="connsiteY9" fmla="*/ 54977 h 73131"/>
                      <a:gd name="connsiteX10" fmla="*/ 54932 w 73071"/>
                      <a:gd name="connsiteY10" fmla="*/ 54977 h 73131"/>
                      <a:gd name="connsiteX11" fmla="*/ 54932 w 73071"/>
                      <a:gd name="connsiteY11" fmla="*/ 18155 h 73131"/>
                      <a:gd name="connsiteX12" fmla="*/ 36536 w 73071"/>
                      <a:gd name="connsiteY12" fmla="*/ 10520 h 7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071" h="73131">
                        <a:moveTo>
                          <a:pt x="36536" y="73132"/>
                        </a:moveTo>
                        <a:cubicBezTo>
                          <a:pt x="26767" y="73132"/>
                          <a:pt x="17569" y="69315"/>
                          <a:pt x="10686" y="62431"/>
                        </a:cubicBezTo>
                        <a:cubicBezTo>
                          <a:pt x="-3562" y="48154"/>
                          <a:pt x="-3562" y="24948"/>
                          <a:pt x="10686" y="10701"/>
                        </a:cubicBezTo>
                        <a:cubicBezTo>
                          <a:pt x="17599" y="3787"/>
                          <a:pt x="26767" y="0"/>
                          <a:pt x="36536" y="0"/>
                        </a:cubicBezTo>
                        <a:cubicBezTo>
                          <a:pt x="46305" y="0"/>
                          <a:pt x="55503" y="3817"/>
                          <a:pt x="62386" y="10701"/>
                        </a:cubicBezTo>
                        <a:cubicBezTo>
                          <a:pt x="76634" y="24948"/>
                          <a:pt x="76634" y="48154"/>
                          <a:pt x="62386" y="62431"/>
                        </a:cubicBezTo>
                        <a:cubicBezTo>
                          <a:pt x="55503" y="69315"/>
                          <a:pt x="46305" y="73132"/>
                          <a:pt x="36536" y="73132"/>
                        </a:cubicBezTo>
                        <a:close/>
                        <a:moveTo>
                          <a:pt x="36536" y="10520"/>
                        </a:moveTo>
                        <a:cubicBezTo>
                          <a:pt x="29592" y="10520"/>
                          <a:pt x="23040" y="13226"/>
                          <a:pt x="18140" y="18155"/>
                        </a:cubicBezTo>
                        <a:cubicBezTo>
                          <a:pt x="7980" y="28315"/>
                          <a:pt x="7980" y="44817"/>
                          <a:pt x="18140" y="54977"/>
                        </a:cubicBezTo>
                        <a:cubicBezTo>
                          <a:pt x="27969" y="64806"/>
                          <a:pt x="45103" y="64806"/>
                          <a:pt x="54932" y="54977"/>
                        </a:cubicBezTo>
                        <a:cubicBezTo>
                          <a:pt x="65091" y="44817"/>
                          <a:pt x="65091" y="28315"/>
                          <a:pt x="54932" y="18155"/>
                        </a:cubicBezTo>
                        <a:cubicBezTo>
                          <a:pt x="50032" y="13226"/>
                          <a:pt x="43509" y="10520"/>
                          <a:pt x="36536" y="10520"/>
                        </a:cubicBezTo>
                        <a:close/>
                      </a:path>
                    </a:pathLst>
                  </a:custGeom>
                  <a:solidFill>
                    <a:schemeClr val="accent1"/>
                  </a:solidFill>
                  <a:ln w="3004" cap="flat">
                    <a:noFill/>
                    <a:prstDash val="solid"/>
                    <a:miter/>
                  </a:ln>
                </p:spPr>
                <p:txBody>
                  <a:bodyPr rtlCol="0" anchor="ctr"/>
                  <a:lstStyle/>
                  <a:p>
                    <a:endParaRPr lang="en-GB" dirty="0"/>
                  </a:p>
                </p:txBody>
              </p:sp>
              <p:sp>
                <p:nvSpPr>
                  <p:cNvPr id="386" name="Freihandform: Form 385">
                    <a:extLst>
                      <a:ext uri="{FF2B5EF4-FFF2-40B4-BE49-F238E27FC236}">
                        <a16:creationId xmlns:a16="http://schemas.microsoft.com/office/drawing/2014/main" id="{46DA59BC-C21F-49FE-A399-D2B33E451F41}"/>
                      </a:ext>
                    </a:extLst>
                  </p:cNvPr>
                  <p:cNvSpPr/>
                  <p:nvPr/>
                </p:nvSpPr>
                <p:spPr>
                  <a:xfrm>
                    <a:off x="965154" y="1871560"/>
                    <a:ext cx="54841" cy="54788"/>
                  </a:xfrm>
                  <a:custGeom>
                    <a:avLst/>
                    <a:gdLst>
                      <a:gd name="connsiteX0" fmla="*/ 49529 w 54841"/>
                      <a:gd name="connsiteY0" fmla="*/ 54789 h 54788"/>
                      <a:gd name="connsiteX1" fmla="*/ 45801 w 54841"/>
                      <a:gd name="connsiteY1" fmla="*/ 53256 h 54788"/>
                      <a:gd name="connsiteX2" fmla="*/ 1556 w 54841"/>
                      <a:gd name="connsiteY2" fmla="*/ 9010 h 54788"/>
                      <a:gd name="connsiteX3" fmla="*/ 1556 w 54841"/>
                      <a:gd name="connsiteY3" fmla="*/ 1556 h 54788"/>
                      <a:gd name="connsiteX4" fmla="*/ 9010 w 54841"/>
                      <a:gd name="connsiteY4" fmla="*/ 1556 h 54788"/>
                      <a:gd name="connsiteX5" fmla="*/ 53286 w 54841"/>
                      <a:gd name="connsiteY5" fmla="*/ 45801 h 54788"/>
                      <a:gd name="connsiteX6" fmla="*/ 53286 w 54841"/>
                      <a:gd name="connsiteY6" fmla="*/ 53256 h 54788"/>
                      <a:gd name="connsiteX7" fmla="*/ 49529 w 54841"/>
                      <a:gd name="connsiteY7" fmla="*/ 54789 h 5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41" h="54788">
                        <a:moveTo>
                          <a:pt x="49529" y="54789"/>
                        </a:moveTo>
                        <a:cubicBezTo>
                          <a:pt x="48176" y="54789"/>
                          <a:pt x="46823" y="54278"/>
                          <a:pt x="45801" y="53256"/>
                        </a:cubicBezTo>
                        <a:lnTo>
                          <a:pt x="1556" y="9010"/>
                        </a:lnTo>
                        <a:cubicBezTo>
                          <a:pt x="-519" y="6936"/>
                          <a:pt x="-519" y="3599"/>
                          <a:pt x="1556" y="1556"/>
                        </a:cubicBezTo>
                        <a:cubicBezTo>
                          <a:pt x="3630" y="-519"/>
                          <a:pt x="6966" y="-519"/>
                          <a:pt x="9010" y="1556"/>
                        </a:cubicBezTo>
                        <a:lnTo>
                          <a:pt x="53286" y="45801"/>
                        </a:lnTo>
                        <a:cubicBezTo>
                          <a:pt x="55360" y="47875"/>
                          <a:pt x="55360" y="51212"/>
                          <a:pt x="53286" y="53256"/>
                        </a:cubicBezTo>
                        <a:cubicBezTo>
                          <a:pt x="52234" y="54278"/>
                          <a:pt x="50881" y="54789"/>
                          <a:pt x="49529" y="54789"/>
                        </a:cubicBezTo>
                        <a:close/>
                      </a:path>
                    </a:pathLst>
                  </a:custGeom>
                  <a:solidFill>
                    <a:schemeClr val="accent1"/>
                  </a:solidFill>
                  <a:ln w="3004" cap="flat">
                    <a:noFill/>
                    <a:prstDash val="solid"/>
                    <a:miter/>
                  </a:ln>
                </p:spPr>
                <p:txBody>
                  <a:bodyPr rtlCol="0" anchor="ctr"/>
                  <a:lstStyle/>
                  <a:p>
                    <a:endParaRPr lang="en-GB" dirty="0"/>
                  </a:p>
                </p:txBody>
              </p:sp>
            </p:grpSp>
            <p:grpSp>
              <p:nvGrpSpPr>
                <p:cNvPr id="382" name="Grafik 19">
                  <a:extLst>
                    <a:ext uri="{FF2B5EF4-FFF2-40B4-BE49-F238E27FC236}">
                      <a16:creationId xmlns:a16="http://schemas.microsoft.com/office/drawing/2014/main" id="{EECA698F-E922-43BB-8D56-0301F890ADC2}"/>
                    </a:ext>
                  </a:extLst>
                </p:cNvPr>
                <p:cNvGrpSpPr/>
                <p:nvPr/>
              </p:nvGrpSpPr>
              <p:grpSpPr>
                <a:xfrm>
                  <a:off x="1313260" y="1818139"/>
                  <a:ext cx="108217" cy="108210"/>
                  <a:chOff x="1313260" y="1818139"/>
                  <a:chExt cx="108217" cy="108210"/>
                </a:xfrm>
                <a:solidFill>
                  <a:schemeClr val="accent1"/>
                </a:solidFill>
              </p:grpSpPr>
              <p:sp>
                <p:nvSpPr>
                  <p:cNvPr id="383" name="Freihandform: Form 382">
                    <a:extLst>
                      <a:ext uri="{FF2B5EF4-FFF2-40B4-BE49-F238E27FC236}">
                        <a16:creationId xmlns:a16="http://schemas.microsoft.com/office/drawing/2014/main" id="{1E7B63B7-4057-4FDA-A1DA-7176D94EA887}"/>
                      </a:ext>
                    </a:extLst>
                  </p:cNvPr>
                  <p:cNvSpPr/>
                  <p:nvPr/>
                </p:nvSpPr>
                <p:spPr>
                  <a:xfrm>
                    <a:off x="1348406" y="1818139"/>
                    <a:ext cx="73071" cy="73131"/>
                  </a:xfrm>
                  <a:custGeom>
                    <a:avLst/>
                    <a:gdLst>
                      <a:gd name="connsiteX0" fmla="*/ 36536 w 73071"/>
                      <a:gd name="connsiteY0" fmla="*/ 73132 h 73131"/>
                      <a:gd name="connsiteX1" fmla="*/ 10686 w 73071"/>
                      <a:gd name="connsiteY1" fmla="*/ 62431 h 73131"/>
                      <a:gd name="connsiteX2" fmla="*/ 10686 w 73071"/>
                      <a:gd name="connsiteY2" fmla="*/ 10701 h 73131"/>
                      <a:gd name="connsiteX3" fmla="*/ 36536 w 73071"/>
                      <a:gd name="connsiteY3" fmla="*/ 0 h 73131"/>
                      <a:gd name="connsiteX4" fmla="*/ 62386 w 73071"/>
                      <a:gd name="connsiteY4" fmla="*/ 10701 h 73131"/>
                      <a:gd name="connsiteX5" fmla="*/ 62386 w 73071"/>
                      <a:gd name="connsiteY5" fmla="*/ 62431 h 73131"/>
                      <a:gd name="connsiteX6" fmla="*/ 36536 w 73071"/>
                      <a:gd name="connsiteY6" fmla="*/ 73132 h 73131"/>
                      <a:gd name="connsiteX7" fmla="*/ 36536 w 73071"/>
                      <a:gd name="connsiteY7" fmla="*/ 10520 h 73131"/>
                      <a:gd name="connsiteX8" fmla="*/ 18140 w 73071"/>
                      <a:gd name="connsiteY8" fmla="*/ 18155 h 73131"/>
                      <a:gd name="connsiteX9" fmla="*/ 18140 w 73071"/>
                      <a:gd name="connsiteY9" fmla="*/ 54977 h 73131"/>
                      <a:gd name="connsiteX10" fmla="*/ 54932 w 73071"/>
                      <a:gd name="connsiteY10" fmla="*/ 54977 h 73131"/>
                      <a:gd name="connsiteX11" fmla="*/ 54932 w 73071"/>
                      <a:gd name="connsiteY11" fmla="*/ 18155 h 73131"/>
                      <a:gd name="connsiteX12" fmla="*/ 36536 w 73071"/>
                      <a:gd name="connsiteY12" fmla="*/ 10520 h 7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071" h="73131">
                        <a:moveTo>
                          <a:pt x="36536" y="73132"/>
                        </a:moveTo>
                        <a:cubicBezTo>
                          <a:pt x="26767" y="73132"/>
                          <a:pt x="17569" y="69315"/>
                          <a:pt x="10686" y="62431"/>
                        </a:cubicBezTo>
                        <a:cubicBezTo>
                          <a:pt x="-3562" y="48154"/>
                          <a:pt x="-3562" y="24948"/>
                          <a:pt x="10686" y="10701"/>
                        </a:cubicBezTo>
                        <a:cubicBezTo>
                          <a:pt x="17599" y="3787"/>
                          <a:pt x="26767" y="0"/>
                          <a:pt x="36536" y="0"/>
                        </a:cubicBezTo>
                        <a:cubicBezTo>
                          <a:pt x="46305" y="0"/>
                          <a:pt x="55503" y="3817"/>
                          <a:pt x="62386" y="10701"/>
                        </a:cubicBezTo>
                        <a:cubicBezTo>
                          <a:pt x="76634" y="24948"/>
                          <a:pt x="76634" y="48154"/>
                          <a:pt x="62386" y="62431"/>
                        </a:cubicBezTo>
                        <a:cubicBezTo>
                          <a:pt x="55503" y="69315"/>
                          <a:pt x="46305" y="73132"/>
                          <a:pt x="36536" y="73132"/>
                        </a:cubicBezTo>
                        <a:close/>
                        <a:moveTo>
                          <a:pt x="36536" y="10520"/>
                        </a:moveTo>
                        <a:cubicBezTo>
                          <a:pt x="29592" y="10520"/>
                          <a:pt x="23040" y="13226"/>
                          <a:pt x="18140" y="18155"/>
                        </a:cubicBezTo>
                        <a:cubicBezTo>
                          <a:pt x="7981" y="28315"/>
                          <a:pt x="7981" y="44817"/>
                          <a:pt x="18140" y="54977"/>
                        </a:cubicBezTo>
                        <a:cubicBezTo>
                          <a:pt x="27969" y="64806"/>
                          <a:pt x="45103" y="64806"/>
                          <a:pt x="54932" y="54977"/>
                        </a:cubicBezTo>
                        <a:cubicBezTo>
                          <a:pt x="65091" y="44817"/>
                          <a:pt x="65091" y="28315"/>
                          <a:pt x="54932" y="18155"/>
                        </a:cubicBezTo>
                        <a:cubicBezTo>
                          <a:pt x="50032" y="13226"/>
                          <a:pt x="43479" y="10520"/>
                          <a:pt x="36536" y="10520"/>
                        </a:cubicBezTo>
                        <a:close/>
                      </a:path>
                    </a:pathLst>
                  </a:custGeom>
                  <a:solidFill>
                    <a:schemeClr val="accent1"/>
                  </a:solidFill>
                  <a:ln w="3004" cap="flat">
                    <a:noFill/>
                    <a:prstDash val="solid"/>
                    <a:miter/>
                  </a:ln>
                </p:spPr>
                <p:txBody>
                  <a:bodyPr rtlCol="0" anchor="ctr"/>
                  <a:lstStyle/>
                  <a:p>
                    <a:endParaRPr lang="en-GB" dirty="0"/>
                  </a:p>
                </p:txBody>
              </p:sp>
              <p:sp>
                <p:nvSpPr>
                  <p:cNvPr id="384" name="Freihandform: Form 383">
                    <a:extLst>
                      <a:ext uri="{FF2B5EF4-FFF2-40B4-BE49-F238E27FC236}">
                        <a16:creationId xmlns:a16="http://schemas.microsoft.com/office/drawing/2014/main" id="{35F7A9FE-48C2-44EE-BADD-A3D899B0F427}"/>
                      </a:ext>
                    </a:extLst>
                  </p:cNvPr>
                  <p:cNvSpPr/>
                  <p:nvPr/>
                </p:nvSpPr>
                <p:spPr>
                  <a:xfrm>
                    <a:off x="1313260" y="1871560"/>
                    <a:ext cx="54841" cy="54788"/>
                  </a:xfrm>
                  <a:custGeom>
                    <a:avLst/>
                    <a:gdLst>
                      <a:gd name="connsiteX0" fmla="*/ 5283 w 54841"/>
                      <a:gd name="connsiteY0" fmla="*/ 54789 h 54788"/>
                      <a:gd name="connsiteX1" fmla="*/ 1556 w 54841"/>
                      <a:gd name="connsiteY1" fmla="*/ 53256 h 54788"/>
                      <a:gd name="connsiteX2" fmla="*/ 1556 w 54841"/>
                      <a:gd name="connsiteY2" fmla="*/ 45801 h 54788"/>
                      <a:gd name="connsiteX3" fmla="*/ 45831 w 54841"/>
                      <a:gd name="connsiteY3" fmla="*/ 1556 h 54788"/>
                      <a:gd name="connsiteX4" fmla="*/ 53286 w 54841"/>
                      <a:gd name="connsiteY4" fmla="*/ 1556 h 54788"/>
                      <a:gd name="connsiteX5" fmla="*/ 53286 w 54841"/>
                      <a:gd name="connsiteY5" fmla="*/ 9010 h 54788"/>
                      <a:gd name="connsiteX6" fmla="*/ 9010 w 54841"/>
                      <a:gd name="connsiteY6" fmla="*/ 53286 h 54788"/>
                      <a:gd name="connsiteX7" fmla="*/ 5283 w 54841"/>
                      <a:gd name="connsiteY7" fmla="*/ 54789 h 5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41" h="54788">
                        <a:moveTo>
                          <a:pt x="5283" y="54789"/>
                        </a:moveTo>
                        <a:cubicBezTo>
                          <a:pt x="3930" y="54789"/>
                          <a:pt x="2577" y="54278"/>
                          <a:pt x="1556" y="53256"/>
                        </a:cubicBezTo>
                        <a:cubicBezTo>
                          <a:pt x="-519" y="51182"/>
                          <a:pt x="-519" y="47845"/>
                          <a:pt x="1556" y="45801"/>
                        </a:cubicBezTo>
                        <a:lnTo>
                          <a:pt x="45831" y="1556"/>
                        </a:lnTo>
                        <a:cubicBezTo>
                          <a:pt x="47906" y="-519"/>
                          <a:pt x="51242" y="-519"/>
                          <a:pt x="53286" y="1556"/>
                        </a:cubicBezTo>
                        <a:cubicBezTo>
                          <a:pt x="55360" y="3630"/>
                          <a:pt x="55360" y="6966"/>
                          <a:pt x="53286" y="9010"/>
                        </a:cubicBezTo>
                        <a:lnTo>
                          <a:pt x="9010" y="53286"/>
                        </a:lnTo>
                        <a:cubicBezTo>
                          <a:pt x="7988" y="54278"/>
                          <a:pt x="6635" y="54789"/>
                          <a:pt x="5283" y="54789"/>
                        </a:cubicBezTo>
                        <a:close/>
                      </a:path>
                    </a:pathLst>
                  </a:custGeom>
                  <a:solidFill>
                    <a:schemeClr val="accent1"/>
                  </a:solidFill>
                  <a:ln w="3004" cap="flat">
                    <a:noFill/>
                    <a:prstDash val="solid"/>
                    <a:miter/>
                  </a:ln>
                </p:spPr>
                <p:txBody>
                  <a:bodyPr rtlCol="0" anchor="ctr"/>
                  <a:lstStyle/>
                  <a:p>
                    <a:endParaRPr lang="en-GB" dirty="0"/>
                  </a:p>
                </p:txBody>
              </p:sp>
            </p:grpSp>
          </p:grpSp>
          <p:grpSp>
            <p:nvGrpSpPr>
              <p:cNvPr id="370" name="Grafik 19">
                <a:extLst>
                  <a:ext uri="{FF2B5EF4-FFF2-40B4-BE49-F238E27FC236}">
                    <a16:creationId xmlns:a16="http://schemas.microsoft.com/office/drawing/2014/main" id="{CBBEBDB3-9B49-41B2-8BC8-B54BA7D431CB}"/>
                  </a:ext>
                </a:extLst>
              </p:cNvPr>
              <p:cNvGrpSpPr/>
              <p:nvPr/>
            </p:nvGrpSpPr>
            <p:grpSpPr>
              <a:xfrm>
                <a:off x="1041555" y="1981025"/>
                <a:ext cx="234605" cy="87800"/>
                <a:chOff x="1041555" y="1981025"/>
                <a:chExt cx="234605" cy="87800"/>
              </a:xfrm>
              <a:solidFill>
                <a:schemeClr val="accent1"/>
              </a:solidFill>
            </p:grpSpPr>
            <p:grpSp>
              <p:nvGrpSpPr>
                <p:cNvPr id="371" name="Grafik 19">
                  <a:extLst>
                    <a:ext uri="{FF2B5EF4-FFF2-40B4-BE49-F238E27FC236}">
                      <a16:creationId xmlns:a16="http://schemas.microsoft.com/office/drawing/2014/main" id="{80C59B0D-7EDD-47EC-94E7-5830C7CFAB66}"/>
                    </a:ext>
                  </a:extLst>
                </p:cNvPr>
                <p:cNvGrpSpPr/>
                <p:nvPr/>
              </p:nvGrpSpPr>
              <p:grpSpPr>
                <a:xfrm>
                  <a:off x="1041555" y="1981055"/>
                  <a:ext cx="122515" cy="87770"/>
                  <a:chOff x="1041555" y="1981055"/>
                  <a:chExt cx="122515" cy="87770"/>
                </a:xfrm>
                <a:solidFill>
                  <a:schemeClr val="accent1"/>
                </a:solidFill>
              </p:grpSpPr>
              <p:sp>
                <p:nvSpPr>
                  <p:cNvPr id="375" name="Freihandform: Form 374">
                    <a:extLst>
                      <a:ext uri="{FF2B5EF4-FFF2-40B4-BE49-F238E27FC236}">
                        <a16:creationId xmlns:a16="http://schemas.microsoft.com/office/drawing/2014/main" id="{3DB6E8FE-F966-4F07-87F0-1A84DE898426}"/>
                      </a:ext>
                    </a:extLst>
                  </p:cNvPr>
                  <p:cNvSpPr/>
                  <p:nvPr/>
                </p:nvSpPr>
                <p:spPr>
                  <a:xfrm>
                    <a:off x="1041555" y="1981085"/>
                    <a:ext cx="122491" cy="87740"/>
                  </a:xfrm>
                  <a:custGeom>
                    <a:avLst/>
                    <a:gdLst>
                      <a:gd name="connsiteX0" fmla="*/ 43705 w 122491"/>
                      <a:gd name="connsiteY0" fmla="*/ 87740 h 87740"/>
                      <a:gd name="connsiteX1" fmla="*/ 12925 w 122491"/>
                      <a:gd name="connsiteY1" fmla="*/ 74996 h 87740"/>
                      <a:gd name="connsiteX2" fmla="*/ 0 w 122491"/>
                      <a:gd name="connsiteY2" fmla="*/ 43855 h 87740"/>
                      <a:gd name="connsiteX3" fmla="*/ 43855 w 122491"/>
                      <a:gd name="connsiteY3" fmla="*/ 0 h 87740"/>
                      <a:gd name="connsiteX4" fmla="*/ 49115 w 122491"/>
                      <a:gd name="connsiteY4" fmla="*/ 5260 h 87740"/>
                      <a:gd name="connsiteX5" fmla="*/ 43855 w 122491"/>
                      <a:gd name="connsiteY5" fmla="*/ 10520 h 87740"/>
                      <a:gd name="connsiteX6" fmla="*/ 10550 w 122491"/>
                      <a:gd name="connsiteY6" fmla="*/ 43825 h 87740"/>
                      <a:gd name="connsiteX7" fmla="*/ 20380 w 122491"/>
                      <a:gd name="connsiteY7" fmla="*/ 67481 h 87740"/>
                      <a:gd name="connsiteX8" fmla="*/ 43705 w 122491"/>
                      <a:gd name="connsiteY8" fmla="*/ 77130 h 87740"/>
                      <a:gd name="connsiteX9" fmla="*/ 43825 w 122491"/>
                      <a:gd name="connsiteY9" fmla="*/ 77130 h 87740"/>
                      <a:gd name="connsiteX10" fmla="*/ 113831 w 122491"/>
                      <a:gd name="connsiteY10" fmla="*/ 39857 h 87740"/>
                      <a:gd name="connsiteX11" fmla="*/ 121255 w 122491"/>
                      <a:gd name="connsiteY11" fmla="*/ 40489 h 87740"/>
                      <a:gd name="connsiteX12" fmla="*/ 120624 w 122491"/>
                      <a:gd name="connsiteY12" fmla="*/ 47913 h 87740"/>
                      <a:gd name="connsiteX13" fmla="*/ 43885 w 122491"/>
                      <a:gd name="connsiteY13" fmla="*/ 87680 h 87740"/>
                      <a:gd name="connsiteX14" fmla="*/ 43705 w 122491"/>
                      <a:gd name="connsiteY14" fmla="*/ 87740 h 8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2491" h="87740">
                        <a:moveTo>
                          <a:pt x="43705" y="87740"/>
                        </a:moveTo>
                        <a:cubicBezTo>
                          <a:pt x="32102" y="87740"/>
                          <a:pt x="21161" y="83232"/>
                          <a:pt x="12925" y="74996"/>
                        </a:cubicBezTo>
                        <a:cubicBezTo>
                          <a:pt x="4599" y="66700"/>
                          <a:pt x="0" y="55638"/>
                          <a:pt x="0" y="43855"/>
                        </a:cubicBezTo>
                        <a:cubicBezTo>
                          <a:pt x="0" y="19658"/>
                          <a:pt x="19688" y="0"/>
                          <a:pt x="43855" y="0"/>
                        </a:cubicBezTo>
                        <a:cubicBezTo>
                          <a:pt x="46771" y="0"/>
                          <a:pt x="49115" y="2375"/>
                          <a:pt x="49115" y="5260"/>
                        </a:cubicBezTo>
                        <a:cubicBezTo>
                          <a:pt x="49115" y="8176"/>
                          <a:pt x="46741" y="10520"/>
                          <a:pt x="43855" y="10520"/>
                        </a:cubicBezTo>
                        <a:cubicBezTo>
                          <a:pt x="25490" y="10520"/>
                          <a:pt x="10550" y="25459"/>
                          <a:pt x="10550" y="43825"/>
                        </a:cubicBezTo>
                        <a:cubicBezTo>
                          <a:pt x="10550" y="52782"/>
                          <a:pt x="14037" y="61169"/>
                          <a:pt x="20380" y="67481"/>
                        </a:cubicBezTo>
                        <a:cubicBezTo>
                          <a:pt x="26632" y="73703"/>
                          <a:pt x="34928" y="77130"/>
                          <a:pt x="43705" y="77130"/>
                        </a:cubicBezTo>
                        <a:cubicBezTo>
                          <a:pt x="43735" y="77130"/>
                          <a:pt x="43795" y="77130"/>
                          <a:pt x="43825" y="77130"/>
                        </a:cubicBezTo>
                        <a:cubicBezTo>
                          <a:pt x="69315" y="77040"/>
                          <a:pt x="113380" y="40218"/>
                          <a:pt x="113831" y="39857"/>
                        </a:cubicBezTo>
                        <a:cubicBezTo>
                          <a:pt x="116055" y="37994"/>
                          <a:pt x="119392" y="38264"/>
                          <a:pt x="121255" y="40489"/>
                        </a:cubicBezTo>
                        <a:cubicBezTo>
                          <a:pt x="123119" y="42713"/>
                          <a:pt x="122849" y="46049"/>
                          <a:pt x="120624" y="47913"/>
                        </a:cubicBezTo>
                        <a:cubicBezTo>
                          <a:pt x="118700" y="49536"/>
                          <a:pt x="73192" y="87560"/>
                          <a:pt x="43885" y="87680"/>
                        </a:cubicBezTo>
                        <a:cubicBezTo>
                          <a:pt x="43825" y="87740"/>
                          <a:pt x="43765" y="87740"/>
                          <a:pt x="43705" y="87740"/>
                        </a:cubicBezTo>
                        <a:close/>
                      </a:path>
                    </a:pathLst>
                  </a:custGeom>
                  <a:solidFill>
                    <a:schemeClr val="accent1"/>
                  </a:solidFill>
                  <a:ln w="3004" cap="flat">
                    <a:noFill/>
                    <a:prstDash val="solid"/>
                    <a:miter/>
                  </a:ln>
                </p:spPr>
                <p:txBody>
                  <a:bodyPr rtlCol="0" anchor="ctr"/>
                  <a:lstStyle/>
                  <a:p>
                    <a:endParaRPr lang="en-GB" dirty="0"/>
                  </a:p>
                </p:txBody>
              </p:sp>
              <p:sp>
                <p:nvSpPr>
                  <p:cNvPr id="376" name="Freihandform: Form 375">
                    <a:extLst>
                      <a:ext uri="{FF2B5EF4-FFF2-40B4-BE49-F238E27FC236}">
                        <a16:creationId xmlns:a16="http://schemas.microsoft.com/office/drawing/2014/main" id="{00ABCDAC-E75E-460F-8229-98DB0481CBA1}"/>
                      </a:ext>
                    </a:extLst>
                  </p:cNvPr>
                  <p:cNvSpPr/>
                  <p:nvPr/>
                </p:nvSpPr>
                <p:spPr>
                  <a:xfrm>
                    <a:off x="1080932" y="1981055"/>
                    <a:ext cx="83138" cy="48995"/>
                  </a:xfrm>
                  <a:custGeom>
                    <a:avLst/>
                    <a:gdLst>
                      <a:gd name="connsiteX0" fmla="*/ 77851 w 83138"/>
                      <a:gd name="connsiteY0" fmla="*/ 48995 h 48995"/>
                      <a:gd name="connsiteX1" fmla="*/ 74545 w 83138"/>
                      <a:gd name="connsiteY1" fmla="*/ 47823 h 48995"/>
                      <a:gd name="connsiteX2" fmla="*/ 5260 w 83138"/>
                      <a:gd name="connsiteY2" fmla="*/ 10550 h 48995"/>
                      <a:gd name="connsiteX3" fmla="*/ 0 w 83138"/>
                      <a:gd name="connsiteY3" fmla="*/ 5260 h 48995"/>
                      <a:gd name="connsiteX4" fmla="*/ 5260 w 83138"/>
                      <a:gd name="connsiteY4" fmla="*/ 0 h 48995"/>
                      <a:gd name="connsiteX5" fmla="*/ 5260 w 83138"/>
                      <a:gd name="connsiteY5" fmla="*/ 0 h 48995"/>
                      <a:gd name="connsiteX6" fmla="*/ 81158 w 83138"/>
                      <a:gd name="connsiteY6" fmla="*/ 39617 h 48995"/>
                      <a:gd name="connsiteX7" fmla="*/ 81969 w 83138"/>
                      <a:gd name="connsiteY7" fmla="*/ 47041 h 48995"/>
                      <a:gd name="connsiteX8" fmla="*/ 77851 w 83138"/>
                      <a:gd name="connsiteY8" fmla="*/ 48995 h 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138" h="48995">
                        <a:moveTo>
                          <a:pt x="77851" y="48995"/>
                        </a:moveTo>
                        <a:cubicBezTo>
                          <a:pt x="76709" y="48995"/>
                          <a:pt x="75537" y="48604"/>
                          <a:pt x="74545" y="47823"/>
                        </a:cubicBezTo>
                        <a:cubicBezTo>
                          <a:pt x="52933" y="30479"/>
                          <a:pt x="25550" y="10550"/>
                          <a:pt x="5260" y="10550"/>
                        </a:cubicBezTo>
                        <a:cubicBezTo>
                          <a:pt x="2345" y="10550"/>
                          <a:pt x="0" y="8176"/>
                          <a:pt x="0" y="5260"/>
                        </a:cubicBezTo>
                        <a:cubicBezTo>
                          <a:pt x="0" y="2345"/>
                          <a:pt x="2375" y="0"/>
                          <a:pt x="5260" y="0"/>
                        </a:cubicBezTo>
                        <a:cubicBezTo>
                          <a:pt x="5260" y="0"/>
                          <a:pt x="5260" y="0"/>
                          <a:pt x="5260" y="0"/>
                        </a:cubicBezTo>
                        <a:cubicBezTo>
                          <a:pt x="28706" y="30"/>
                          <a:pt x="56780" y="20049"/>
                          <a:pt x="81158" y="39617"/>
                        </a:cubicBezTo>
                        <a:cubicBezTo>
                          <a:pt x="83442" y="41450"/>
                          <a:pt x="83803" y="44757"/>
                          <a:pt x="81969" y="47041"/>
                        </a:cubicBezTo>
                        <a:cubicBezTo>
                          <a:pt x="80917" y="48334"/>
                          <a:pt x="79384" y="48995"/>
                          <a:pt x="77851" y="48995"/>
                        </a:cubicBezTo>
                        <a:close/>
                      </a:path>
                    </a:pathLst>
                  </a:custGeom>
                  <a:solidFill>
                    <a:schemeClr val="accent1"/>
                  </a:solidFill>
                  <a:ln w="3004" cap="flat">
                    <a:noFill/>
                    <a:prstDash val="solid"/>
                    <a:miter/>
                  </a:ln>
                </p:spPr>
                <p:txBody>
                  <a:bodyPr rtlCol="0" anchor="ctr"/>
                  <a:lstStyle/>
                  <a:p>
                    <a:endParaRPr lang="en-GB" dirty="0"/>
                  </a:p>
                </p:txBody>
              </p:sp>
            </p:grpSp>
            <p:grpSp>
              <p:nvGrpSpPr>
                <p:cNvPr id="372" name="Grafik 19">
                  <a:extLst>
                    <a:ext uri="{FF2B5EF4-FFF2-40B4-BE49-F238E27FC236}">
                      <a16:creationId xmlns:a16="http://schemas.microsoft.com/office/drawing/2014/main" id="{A3B8717E-C7A8-4140-8EB7-E7F386D4F43B}"/>
                    </a:ext>
                  </a:extLst>
                </p:cNvPr>
                <p:cNvGrpSpPr/>
                <p:nvPr/>
              </p:nvGrpSpPr>
              <p:grpSpPr>
                <a:xfrm>
                  <a:off x="1153657" y="1981025"/>
                  <a:ext cx="122503" cy="87800"/>
                  <a:chOff x="1153657" y="1981025"/>
                  <a:chExt cx="122503" cy="87800"/>
                </a:xfrm>
                <a:solidFill>
                  <a:schemeClr val="accent1"/>
                </a:solidFill>
              </p:grpSpPr>
              <p:sp>
                <p:nvSpPr>
                  <p:cNvPr id="373" name="Freihandform: Form 372">
                    <a:extLst>
                      <a:ext uri="{FF2B5EF4-FFF2-40B4-BE49-F238E27FC236}">
                        <a16:creationId xmlns:a16="http://schemas.microsoft.com/office/drawing/2014/main" id="{742FC5EF-EEA6-40ED-B81A-8CB7316B8BE6}"/>
                      </a:ext>
                    </a:extLst>
                  </p:cNvPr>
                  <p:cNvSpPr/>
                  <p:nvPr/>
                </p:nvSpPr>
                <p:spPr>
                  <a:xfrm>
                    <a:off x="1153657" y="1981146"/>
                    <a:ext cx="122503" cy="87680"/>
                  </a:xfrm>
                  <a:custGeom>
                    <a:avLst/>
                    <a:gdLst>
                      <a:gd name="connsiteX0" fmla="*/ 78829 w 122503"/>
                      <a:gd name="connsiteY0" fmla="*/ 87680 h 87680"/>
                      <a:gd name="connsiteX1" fmla="*/ 78649 w 122503"/>
                      <a:gd name="connsiteY1" fmla="*/ 87680 h 87680"/>
                      <a:gd name="connsiteX2" fmla="*/ 1880 w 122503"/>
                      <a:gd name="connsiteY2" fmla="*/ 47913 h 87680"/>
                      <a:gd name="connsiteX3" fmla="*/ 1248 w 122503"/>
                      <a:gd name="connsiteY3" fmla="*/ 40489 h 87680"/>
                      <a:gd name="connsiteX4" fmla="*/ 8673 w 122503"/>
                      <a:gd name="connsiteY4" fmla="*/ 39857 h 87680"/>
                      <a:gd name="connsiteX5" fmla="*/ 78679 w 122503"/>
                      <a:gd name="connsiteY5" fmla="*/ 77130 h 87680"/>
                      <a:gd name="connsiteX6" fmla="*/ 78799 w 122503"/>
                      <a:gd name="connsiteY6" fmla="*/ 77130 h 87680"/>
                      <a:gd name="connsiteX7" fmla="*/ 102124 w 122503"/>
                      <a:gd name="connsiteY7" fmla="*/ 67481 h 87680"/>
                      <a:gd name="connsiteX8" fmla="*/ 111953 w 122503"/>
                      <a:gd name="connsiteY8" fmla="*/ 43825 h 87680"/>
                      <a:gd name="connsiteX9" fmla="*/ 78649 w 122503"/>
                      <a:gd name="connsiteY9" fmla="*/ 10520 h 87680"/>
                      <a:gd name="connsiteX10" fmla="*/ 73388 w 122503"/>
                      <a:gd name="connsiteY10" fmla="*/ 5260 h 87680"/>
                      <a:gd name="connsiteX11" fmla="*/ 78649 w 122503"/>
                      <a:gd name="connsiteY11" fmla="*/ 0 h 87680"/>
                      <a:gd name="connsiteX12" fmla="*/ 122504 w 122503"/>
                      <a:gd name="connsiteY12" fmla="*/ 43855 h 87680"/>
                      <a:gd name="connsiteX13" fmla="*/ 109579 w 122503"/>
                      <a:gd name="connsiteY13" fmla="*/ 74966 h 87680"/>
                      <a:gd name="connsiteX14" fmla="*/ 78829 w 122503"/>
                      <a:gd name="connsiteY14" fmla="*/ 87680 h 8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2503" h="87680">
                        <a:moveTo>
                          <a:pt x="78829" y="87680"/>
                        </a:moveTo>
                        <a:cubicBezTo>
                          <a:pt x="78769" y="87680"/>
                          <a:pt x="78709" y="87680"/>
                          <a:pt x="78649" y="87680"/>
                        </a:cubicBezTo>
                        <a:cubicBezTo>
                          <a:pt x="49342" y="87560"/>
                          <a:pt x="3803" y="49536"/>
                          <a:pt x="1880" y="47913"/>
                        </a:cubicBezTo>
                        <a:cubicBezTo>
                          <a:pt x="-345" y="46049"/>
                          <a:pt x="-645" y="42713"/>
                          <a:pt x="1248" y="40489"/>
                        </a:cubicBezTo>
                        <a:cubicBezTo>
                          <a:pt x="3112" y="38264"/>
                          <a:pt x="6448" y="37964"/>
                          <a:pt x="8673" y="39857"/>
                        </a:cubicBezTo>
                        <a:cubicBezTo>
                          <a:pt x="9124" y="40218"/>
                          <a:pt x="53159" y="77040"/>
                          <a:pt x="78679" y="77130"/>
                        </a:cubicBezTo>
                        <a:cubicBezTo>
                          <a:pt x="78709" y="77130"/>
                          <a:pt x="78769" y="77130"/>
                          <a:pt x="78799" y="77130"/>
                        </a:cubicBezTo>
                        <a:cubicBezTo>
                          <a:pt x="87606" y="77130"/>
                          <a:pt x="95872" y="73703"/>
                          <a:pt x="102124" y="67481"/>
                        </a:cubicBezTo>
                        <a:cubicBezTo>
                          <a:pt x="108467" y="61169"/>
                          <a:pt x="111953" y="52782"/>
                          <a:pt x="111953" y="43825"/>
                        </a:cubicBezTo>
                        <a:cubicBezTo>
                          <a:pt x="111953" y="25459"/>
                          <a:pt x="97014" y="10520"/>
                          <a:pt x="78649" y="10520"/>
                        </a:cubicBezTo>
                        <a:cubicBezTo>
                          <a:pt x="75733" y="10520"/>
                          <a:pt x="73388" y="8146"/>
                          <a:pt x="73388" y="5260"/>
                        </a:cubicBezTo>
                        <a:cubicBezTo>
                          <a:pt x="73388" y="2345"/>
                          <a:pt x="75763" y="0"/>
                          <a:pt x="78649" y="0"/>
                        </a:cubicBezTo>
                        <a:cubicBezTo>
                          <a:pt x="102846" y="0"/>
                          <a:pt x="122504" y="19688"/>
                          <a:pt x="122504" y="43855"/>
                        </a:cubicBezTo>
                        <a:cubicBezTo>
                          <a:pt x="122504" y="55608"/>
                          <a:pt x="117905" y="66669"/>
                          <a:pt x="109579" y="74966"/>
                        </a:cubicBezTo>
                        <a:cubicBezTo>
                          <a:pt x="101373" y="83141"/>
                          <a:pt x="90432" y="87680"/>
                          <a:pt x="78829" y="87680"/>
                        </a:cubicBezTo>
                        <a:close/>
                      </a:path>
                    </a:pathLst>
                  </a:custGeom>
                  <a:solidFill>
                    <a:schemeClr val="accent1"/>
                  </a:solidFill>
                  <a:ln w="3004" cap="flat">
                    <a:noFill/>
                    <a:prstDash val="solid"/>
                    <a:miter/>
                  </a:ln>
                </p:spPr>
                <p:txBody>
                  <a:bodyPr rtlCol="0" anchor="ctr"/>
                  <a:lstStyle/>
                  <a:p>
                    <a:endParaRPr lang="en-GB" dirty="0"/>
                  </a:p>
                </p:txBody>
              </p:sp>
              <p:sp>
                <p:nvSpPr>
                  <p:cNvPr id="374" name="Freihandform: Form 373">
                    <a:extLst>
                      <a:ext uri="{FF2B5EF4-FFF2-40B4-BE49-F238E27FC236}">
                        <a16:creationId xmlns:a16="http://schemas.microsoft.com/office/drawing/2014/main" id="{A4B1B16F-2557-45AA-A7D8-B30E4C4C75D1}"/>
                      </a:ext>
                    </a:extLst>
                  </p:cNvPr>
                  <p:cNvSpPr/>
                  <p:nvPr/>
                </p:nvSpPr>
                <p:spPr>
                  <a:xfrm>
                    <a:off x="1153675" y="1981025"/>
                    <a:ext cx="83138" cy="49025"/>
                  </a:xfrm>
                  <a:custGeom>
                    <a:avLst/>
                    <a:gdLst>
                      <a:gd name="connsiteX0" fmla="*/ 5288 w 83138"/>
                      <a:gd name="connsiteY0" fmla="*/ 49025 h 49025"/>
                      <a:gd name="connsiteX1" fmla="*/ 1170 w 83138"/>
                      <a:gd name="connsiteY1" fmla="*/ 47041 h 49025"/>
                      <a:gd name="connsiteX2" fmla="*/ 1981 w 83138"/>
                      <a:gd name="connsiteY2" fmla="*/ 39617 h 49025"/>
                      <a:gd name="connsiteX3" fmla="*/ 77879 w 83138"/>
                      <a:gd name="connsiteY3" fmla="*/ 0 h 49025"/>
                      <a:gd name="connsiteX4" fmla="*/ 77879 w 83138"/>
                      <a:gd name="connsiteY4" fmla="*/ 0 h 49025"/>
                      <a:gd name="connsiteX5" fmla="*/ 83139 w 83138"/>
                      <a:gd name="connsiteY5" fmla="*/ 5260 h 49025"/>
                      <a:gd name="connsiteX6" fmla="*/ 77879 w 83138"/>
                      <a:gd name="connsiteY6" fmla="*/ 10550 h 49025"/>
                      <a:gd name="connsiteX7" fmla="*/ 8594 w 83138"/>
                      <a:gd name="connsiteY7" fmla="*/ 47823 h 49025"/>
                      <a:gd name="connsiteX8" fmla="*/ 5288 w 83138"/>
                      <a:gd name="connsiteY8" fmla="*/ 49025 h 49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138" h="49025">
                        <a:moveTo>
                          <a:pt x="5288" y="49025"/>
                        </a:moveTo>
                        <a:cubicBezTo>
                          <a:pt x="3755" y="49025"/>
                          <a:pt x="2222" y="48364"/>
                          <a:pt x="1170" y="47041"/>
                        </a:cubicBezTo>
                        <a:cubicBezTo>
                          <a:pt x="-664" y="44757"/>
                          <a:pt x="-303" y="41450"/>
                          <a:pt x="1981" y="39617"/>
                        </a:cubicBezTo>
                        <a:cubicBezTo>
                          <a:pt x="26359" y="20049"/>
                          <a:pt x="54433" y="30"/>
                          <a:pt x="77879" y="0"/>
                        </a:cubicBezTo>
                        <a:cubicBezTo>
                          <a:pt x="77879" y="0"/>
                          <a:pt x="77879" y="0"/>
                          <a:pt x="77879" y="0"/>
                        </a:cubicBezTo>
                        <a:cubicBezTo>
                          <a:pt x="80794" y="0"/>
                          <a:pt x="83139" y="2345"/>
                          <a:pt x="83139" y="5260"/>
                        </a:cubicBezTo>
                        <a:cubicBezTo>
                          <a:pt x="83139" y="8176"/>
                          <a:pt x="80794" y="10550"/>
                          <a:pt x="77879" y="10550"/>
                        </a:cubicBezTo>
                        <a:cubicBezTo>
                          <a:pt x="57589" y="10581"/>
                          <a:pt x="30176" y="30479"/>
                          <a:pt x="8594" y="47823"/>
                        </a:cubicBezTo>
                        <a:cubicBezTo>
                          <a:pt x="7602" y="48664"/>
                          <a:pt x="6430" y="49025"/>
                          <a:pt x="5288" y="49025"/>
                        </a:cubicBezTo>
                        <a:close/>
                      </a:path>
                    </a:pathLst>
                  </a:custGeom>
                  <a:solidFill>
                    <a:schemeClr val="accent1"/>
                  </a:solidFill>
                  <a:ln w="3004" cap="flat">
                    <a:noFill/>
                    <a:prstDash val="solid"/>
                    <a:miter/>
                  </a:ln>
                </p:spPr>
                <p:txBody>
                  <a:bodyPr rtlCol="0" anchor="ctr"/>
                  <a:lstStyle/>
                  <a:p>
                    <a:endParaRPr lang="en-GB" dirty="0"/>
                  </a:p>
                </p:txBody>
              </p:sp>
            </p:grpSp>
          </p:grpSp>
        </p:grpSp>
      </p:grpSp>
      <p:grpSp>
        <p:nvGrpSpPr>
          <p:cNvPr id="27" name="Group 26">
            <a:extLst>
              <a:ext uri="{FF2B5EF4-FFF2-40B4-BE49-F238E27FC236}">
                <a16:creationId xmlns:a16="http://schemas.microsoft.com/office/drawing/2014/main" id="{0CDC2906-A43E-1B36-428B-D7C858A44DF8}"/>
              </a:ext>
            </a:extLst>
          </p:cNvPr>
          <p:cNvGrpSpPr/>
          <p:nvPr/>
        </p:nvGrpSpPr>
        <p:grpSpPr>
          <a:xfrm>
            <a:off x="6996383" y="1626717"/>
            <a:ext cx="621661" cy="431999"/>
            <a:chOff x="7043770" y="1626717"/>
            <a:chExt cx="621661" cy="431999"/>
          </a:xfrm>
        </p:grpSpPr>
        <p:grpSp>
          <p:nvGrpSpPr>
            <p:cNvPr id="401" name="Group 1006">
              <a:extLst>
                <a:ext uri="{FF2B5EF4-FFF2-40B4-BE49-F238E27FC236}">
                  <a16:creationId xmlns:a16="http://schemas.microsoft.com/office/drawing/2014/main" id="{824BD78A-B5F3-4E27-BC24-F02340E50445}"/>
                </a:ext>
              </a:extLst>
            </p:cNvPr>
            <p:cNvGrpSpPr/>
            <p:nvPr/>
          </p:nvGrpSpPr>
          <p:grpSpPr>
            <a:xfrm>
              <a:off x="7043770" y="1626717"/>
              <a:ext cx="593852" cy="394705"/>
              <a:chOff x="2466983" y="1769114"/>
              <a:chExt cx="587280" cy="390337"/>
            </a:xfrm>
            <a:solidFill>
              <a:schemeClr val="tx2"/>
            </a:solidFill>
          </p:grpSpPr>
          <p:sp>
            <p:nvSpPr>
              <p:cNvPr id="409" name="Freihandform: Form 408">
                <a:extLst>
                  <a:ext uri="{FF2B5EF4-FFF2-40B4-BE49-F238E27FC236}">
                    <a16:creationId xmlns:a16="http://schemas.microsoft.com/office/drawing/2014/main" id="{9BA6F5D3-1E75-4F7C-A7EF-AA27A61B7BA1}"/>
                  </a:ext>
                </a:extLst>
              </p:cNvPr>
              <p:cNvSpPr/>
              <p:nvPr/>
            </p:nvSpPr>
            <p:spPr>
              <a:xfrm>
                <a:off x="3002142" y="1825383"/>
                <a:ext cx="52121" cy="316063"/>
              </a:xfrm>
              <a:custGeom>
                <a:avLst/>
                <a:gdLst>
                  <a:gd name="connsiteX0" fmla="*/ 46861 w 52121"/>
                  <a:gd name="connsiteY0" fmla="*/ 316064 h 316063"/>
                  <a:gd name="connsiteX1" fmla="*/ 41601 w 52121"/>
                  <a:gd name="connsiteY1" fmla="*/ 310803 h 316063"/>
                  <a:gd name="connsiteX2" fmla="*/ 41601 w 52121"/>
                  <a:gd name="connsiteY2" fmla="*/ 10520 h 316063"/>
                  <a:gd name="connsiteX3" fmla="*/ 5260 w 52121"/>
                  <a:gd name="connsiteY3" fmla="*/ 10520 h 316063"/>
                  <a:gd name="connsiteX4" fmla="*/ 0 w 52121"/>
                  <a:gd name="connsiteY4" fmla="*/ 5260 h 316063"/>
                  <a:gd name="connsiteX5" fmla="*/ 5260 w 52121"/>
                  <a:gd name="connsiteY5" fmla="*/ 0 h 316063"/>
                  <a:gd name="connsiteX6" fmla="*/ 46861 w 52121"/>
                  <a:gd name="connsiteY6" fmla="*/ 0 h 316063"/>
                  <a:gd name="connsiteX7" fmla="*/ 52121 w 52121"/>
                  <a:gd name="connsiteY7" fmla="*/ 5260 h 316063"/>
                  <a:gd name="connsiteX8" fmla="*/ 52121 w 52121"/>
                  <a:gd name="connsiteY8" fmla="*/ 310773 h 316063"/>
                  <a:gd name="connsiteX9" fmla="*/ 46861 w 52121"/>
                  <a:gd name="connsiteY9" fmla="*/ 316064 h 31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121" h="316063">
                    <a:moveTo>
                      <a:pt x="46861" y="316064"/>
                    </a:moveTo>
                    <a:cubicBezTo>
                      <a:pt x="43945" y="316064"/>
                      <a:pt x="41601" y="313689"/>
                      <a:pt x="41601" y="310803"/>
                    </a:cubicBezTo>
                    <a:lnTo>
                      <a:pt x="41601" y="10520"/>
                    </a:lnTo>
                    <a:lnTo>
                      <a:pt x="5260" y="10520"/>
                    </a:lnTo>
                    <a:cubicBezTo>
                      <a:pt x="2344" y="10520"/>
                      <a:pt x="0" y="8146"/>
                      <a:pt x="0" y="5260"/>
                    </a:cubicBezTo>
                    <a:cubicBezTo>
                      <a:pt x="0" y="2345"/>
                      <a:pt x="2375" y="0"/>
                      <a:pt x="5260" y="0"/>
                    </a:cubicBezTo>
                    <a:lnTo>
                      <a:pt x="46861" y="0"/>
                    </a:lnTo>
                    <a:cubicBezTo>
                      <a:pt x="49777" y="0"/>
                      <a:pt x="52121" y="2375"/>
                      <a:pt x="52121" y="5260"/>
                    </a:cubicBezTo>
                    <a:lnTo>
                      <a:pt x="52121" y="310773"/>
                    </a:lnTo>
                    <a:cubicBezTo>
                      <a:pt x="52121" y="313689"/>
                      <a:pt x="49777" y="316064"/>
                      <a:pt x="46861" y="316064"/>
                    </a:cubicBezTo>
                    <a:close/>
                  </a:path>
                </a:pathLst>
              </a:custGeom>
              <a:grpFill/>
              <a:ln w="3004" cap="flat">
                <a:noFill/>
                <a:prstDash val="solid"/>
                <a:miter/>
              </a:ln>
            </p:spPr>
            <p:txBody>
              <a:bodyPr rtlCol="0" anchor="ctr"/>
              <a:lstStyle/>
              <a:p>
                <a:endParaRPr lang="en-GB" dirty="0"/>
              </a:p>
            </p:txBody>
          </p:sp>
          <p:sp>
            <p:nvSpPr>
              <p:cNvPr id="410" name="Freihandform: Form 409">
                <a:extLst>
                  <a:ext uri="{FF2B5EF4-FFF2-40B4-BE49-F238E27FC236}">
                    <a16:creationId xmlns:a16="http://schemas.microsoft.com/office/drawing/2014/main" id="{6458E11F-E645-4522-B7D5-3D51A532F450}"/>
                  </a:ext>
                </a:extLst>
              </p:cNvPr>
              <p:cNvSpPr/>
              <p:nvPr/>
            </p:nvSpPr>
            <p:spPr>
              <a:xfrm>
                <a:off x="2466983" y="1825383"/>
                <a:ext cx="550789" cy="334068"/>
              </a:xfrm>
              <a:custGeom>
                <a:avLst/>
                <a:gdLst>
                  <a:gd name="connsiteX0" fmla="*/ 545529 w 550789"/>
                  <a:gd name="connsiteY0" fmla="*/ 334069 h 334068"/>
                  <a:gd name="connsiteX1" fmla="*/ 5260 w 550789"/>
                  <a:gd name="connsiteY1" fmla="*/ 334069 h 334068"/>
                  <a:gd name="connsiteX2" fmla="*/ 0 w 550789"/>
                  <a:gd name="connsiteY2" fmla="*/ 328808 h 334068"/>
                  <a:gd name="connsiteX3" fmla="*/ 0 w 550789"/>
                  <a:gd name="connsiteY3" fmla="*/ 5260 h 334068"/>
                  <a:gd name="connsiteX4" fmla="*/ 5260 w 550789"/>
                  <a:gd name="connsiteY4" fmla="*/ 0 h 334068"/>
                  <a:gd name="connsiteX5" fmla="*/ 41030 w 550789"/>
                  <a:gd name="connsiteY5" fmla="*/ 0 h 334068"/>
                  <a:gd name="connsiteX6" fmla="*/ 46290 w 550789"/>
                  <a:gd name="connsiteY6" fmla="*/ 5260 h 334068"/>
                  <a:gd name="connsiteX7" fmla="*/ 41030 w 550789"/>
                  <a:gd name="connsiteY7" fmla="*/ 10520 h 334068"/>
                  <a:gd name="connsiteX8" fmla="*/ 10551 w 550789"/>
                  <a:gd name="connsiteY8" fmla="*/ 10520 h 334068"/>
                  <a:gd name="connsiteX9" fmla="*/ 10551 w 550789"/>
                  <a:gd name="connsiteY9" fmla="*/ 323518 h 334068"/>
                  <a:gd name="connsiteX10" fmla="*/ 545529 w 550789"/>
                  <a:gd name="connsiteY10" fmla="*/ 323518 h 334068"/>
                  <a:gd name="connsiteX11" fmla="*/ 550789 w 550789"/>
                  <a:gd name="connsiteY11" fmla="*/ 328778 h 334068"/>
                  <a:gd name="connsiteX12" fmla="*/ 545529 w 550789"/>
                  <a:gd name="connsiteY12" fmla="*/ 334069 h 334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0789" h="334068">
                    <a:moveTo>
                      <a:pt x="545529" y="334069"/>
                    </a:moveTo>
                    <a:lnTo>
                      <a:pt x="5260" y="334069"/>
                    </a:lnTo>
                    <a:cubicBezTo>
                      <a:pt x="2345" y="334069"/>
                      <a:pt x="0" y="331694"/>
                      <a:pt x="0" y="328808"/>
                    </a:cubicBezTo>
                    <a:lnTo>
                      <a:pt x="0" y="5260"/>
                    </a:lnTo>
                    <a:cubicBezTo>
                      <a:pt x="0" y="2345"/>
                      <a:pt x="2375" y="0"/>
                      <a:pt x="5260" y="0"/>
                    </a:cubicBezTo>
                    <a:lnTo>
                      <a:pt x="41030" y="0"/>
                    </a:lnTo>
                    <a:cubicBezTo>
                      <a:pt x="43945" y="0"/>
                      <a:pt x="46290" y="2375"/>
                      <a:pt x="46290" y="5260"/>
                    </a:cubicBezTo>
                    <a:cubicBezTo>
                      <a:pt x="46290" y="8176"/>
                      <a:pt x="43915" y="10520"/>
                      <a:pt x="41030" y="10520"/>
                    </a:cubicBezTo>
                    <a:lnTo>
                      <a:pt x="10551" y="10520"/>
                    </a:lnTo>
                    <a:lnTo>
                      <a:pt x="10551" y="323518"/>
                    </a:lnTo>
                    <a:lnTo>
                      <a:pt x="545529" y="323518"/>
                    </a:lnTo>
                    <a:cubicBezTo>
                      <a:pt x="548445" y="323518"/>
                      <a:pt x="550789" y="325893"/>
                      <a:pt x="550789" y="328778"/>
                    </a:cubicBezTo>
                    <a:cubicBezTo>
                      <a:pt x="550789" y="331694"/>
                      <a:pt x="548445" y="334069"/>
                      <a:pt x="545529" y="334069"/>
                    </a:cubicBezTo>
                    <a:close/>
                  </a:path>
                </a:pathLst>
              </a:custGeom>
              <a:grpFill/>
              <a:ln w="3004" cap="flat">
                <a:noFill/>
                <a:prstDash val="solid"/>
                <a:miter/>
              </a:ln>
            </p:spPr>
            <p:txBody>
              <a:bodyPr rtlCol="0" anchor="ctr"/>
              <a:lstStyle/>
              <a:p>
                <a:endParaRPr lang="en-GB" dirty="0"/>
              </a:p>
            </p:txBody>
          </p:sp>
          <p:grpSp>
            <p:nvGrpSpPr>
              <p:cNvPr id="411" name="Grafik 19">
                <a:extLst>
                  <a:ext uri="{FF2B5EF4-FFF2-40B4-BE49-F238E27FC236}">
                    <a16:creationId xmlns:a16="http://schemas.microsoft.com/office/drawing/2014/main" id="{C0F17AB6-4A14-410E-92F2-14B80FEE0E2B}"/>
                  </a:ext>
                </a:extLst>
              </p:cNvPr>
              <p:cNvGrpSpPr/>
              <p:nvPr/>
            </p:nvGrpSpPr>
            <p:grpSpPr>
              <a:xfrm>
                <a:off x="2551387" y="1825383"/>
                <a:ext cx="172294" cy="235597"/>
                <a:chOff x="2551387" y="1825383"/>
                <a:chExt cx="172294" cy="235597"/>
              </a:xfrm>
              <a:grpFill/>
            </p:grpSpPr>
            <p:sp>
              <p:nvSpPr>
                <p:cNvPr id="419" name="Freihandform: Form 418">
                  <a:extLst>
                    <a:ext uri="{FF2B5EF4-FFF2-40B4-BE49-F238E27FC236}">
                      <a16:creationId xmlns:a16="http://schemas.microsoft.com/office/drawing/2014/main" id="{83BB0B47-9A34-4C30-A9F2-B490E43E0A30}"/>
                    </a:ext>
                  </a:extLst>
                </p:cNvPr>
                <p:cNvSpPr/>
                <p:nvPr/>
              </p:nvSpPr>
              <p:spPr>
                <a:xfrm>
                  <a:off x="2579521" y="1825383"/>
                  <a:ext cx="116025" cy="10520"/>
                </a:xfrm>
                <a:custGeom>
                  <a:avLst/>
                  <a:gdLst>
                    <a:gd name="connsiteX0" fmla="*/ 110765 w 116025"/>
                    <a:gd name="connsiteY0" fmla="*/ 10520 h 10520"/>
                    <a:gd name="connsiteX1" fmla="*/ 5260 w 116025"/>
                    <a:gd name="connsiteY1" fmla="*/ 10520 h 10520"/>
                    <a:gd name="connsiteX2" fmla="*/ 0 w 116025"/>
                    <a:gd name="connsiteY2" fmla="*/ 5260 h 10520"/>
                    <a:gd name="connsiteX3" fmla="*/ 5260 w 116025"/>
                    <a:gd name="connsiteY3" fmla="*/ 0 h 10520"/>
                    <a:gd name="connsiteX4" fmla="*/ 110765 w 116025"/>
                    <a:gd name="connsiteY4" fmla="*/ 0 h 10520"/>
                    <a:gd name="connsiteX5" fmla="*/ 116025 w 116025"/>
                    <a:gd name="connsiteY5" fmla="*/ 5260 h 10520"/>
                    <a:gd name="connsiteX6" fmla="*/ 110765 w 116025"/>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25" h="10520">
                      <a:moveTo>
                        <a:pt x="110765" y="10520"/>
                      </a:moveTo>
                      <a:lnTo>
                        <a:pt x="5260" y="10520"/>
                      </a:lnTo>
                      <a:cubicBezTo>
                        <a:pt x="2345" y="10520"/>
                        <a:pt x="0" y="8146"/>
                        <a:pt x="0" y="5260"/>
                      </a:cubicBezTo>
                      <a:cubicBezTo>
                        <a:pt x="0" y="2345"/>
                        <a:pt x="2375" y="0"/>
                        <a:pt x="5260" y="0"/>
                      </a:cubicBezTo>
                      <a:lnTo>
                        <a:pt x="110765" y="0"/>
                      </a:lnTo>
                      <a:cubicBezTo>
                        <a:pt x="113681" y="0"/>
                        <a:pt x="116025" y="2375"/>
                        <a:pt x="116025" y="5260"/>
                      </a:cubicBezTo>
                      <a:cubicBezTo>
                        <a:pt x="116055" y="8176"/>
                        <a:pt x="113681" y="10520"/>
                        <a:pt x="110765" y="10520"/>
                      </a:cubicBezTo>
                      <a:close/>
                    </a:path>
                  </a:pathLst>
                </a:custGeom>
                <a:grpFill/>
                <a:ln w="3004" cap="flat">
                  <a:noFill/>
                  <a:prstDash val="solid"/>
                  <a:miter/>
                </a:ln>
              </p:spPr>
              <p:txBody>
                <a:bodyPr rtlCol="0" anchor="ctr"/>
                <a:lstStyle/>
                <a:p>
                  <a:endParaRPr lang="en-GB" dirty="0"/>
                </a:p>
              </p:txBody>
            </p:sp>
            <p:sp>
              <p:nvSpPr>
                <p:cNvPr id="420" name="Freihandform: Form 419">
                  <a:extLst>
                    <a:ext uri="{FF2B5EF4-FFF2-40B4-BE49-F238E27FC236}">
                      <a16:creationId xmlns:a16="http://schemas.microsoft.com/office/drawing/2014/main" id="{226B41AB-0DF8-4CD4-B9F7-3D6A3EBB3442}"/>
                    </a:ext>
                  </a:extLst>
                </p:cNvPr>
                <p:cNvSpPr/>
                <p:nvPr/>
              </p:nvSpPr>
              <p:spPr>
                <a:xfrm>
                  <a:off x="2551387" y="1881652"/>
                  <a:ext cx="172294" cy="10520"/>
                </a:xfrm>
                <a:custGeom>
                  <a:avLst/>
                  <a:gdLst>
                    <a:gd name="connsiteX0" fmla="*/ 167034 w 172294"/>
                    <a:gd name="connsiteY0" fmla="*/ 10520 h 10520"/>
                    <a:gd name="connsiteX1" fmla="*/ 5260 w 172294"/>
                    <a:gd name="connsiteY1" fmla="*/ 10520 h 10520"/>
                    <a:gd name="connsiteX2" fmla="*/ 0 w 172294"/>
                    <a:gd name="connsiteY2" fmla="*/ 5260 h 10520"/>
                    <a:gd name="connsiteX3" fmla="*/ 5260 w 172294"/>
                    <a:gd name="connsiteY3" fmla="*/ 0 h 10520"/>
                    <a:gd name="connsiteX4" fmla="*/ 167034 w 172294"/>
                    <a:gd name="connsiteY4" fmla="*/ 0 h 10520"/>
                    <a:gd name="connsiteX5" fmla="*/ 172295 w 172294"/>
                    <a:gd name="connsiteY5" fmla="*/ 5260 h 10520"/>
                    <a:gd name="connsiteX6" fmla="*/ 167034 w 172294"/>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294" h="10520">
                      <a:moveTo>
                        <a:pt x="167034" y="10520"/>
                      </a:moveTo>
                      <a:lnTo>
                        <a:pt x="5260" y="10520"/>
                      </a:lnTo>
                      <a:cubicBezTo>
                        <a:pt x="2344" y="10520"/>
                        <a:pt x="0" y="8146"/>
                        <a:pt x="0" y="5260"/>
                      </a:cubicBezTo>
                      <a:cubicBezTo>
                        <a:pt x="0" y="2345"/>
                        <a:pt x="2375" y="0"/>
                        <a:pt x="5260" y="0"/>
                      </a:cubicBezTo>
                      <a:lnTo>
                        <a:pt x="167034" y="0"/>
                      </a:lnTo>
                      <a:cubicBezTo>
                        <a:pt x="169950" y="0"/>
                        <a:pt x="172295" y="2375"/>
                        <a:pt x="172295" y="5260"/>
                      </a:cubicBezTo>
                      <a:cubicBezTo>
                        <a:pt x="172325" y="8176"/>
                        <a:pt x="169950" y="10520"/>
                        <a:pt x="167034" y="10520"/>
                      </a:cubicBezTo>
                      <a:close/>
                    </a:path>
                  </a:pathLst>
                </a:custGeom>
                <a:grpFill/>
                <a:ln w="3004" cap="flat">
                  <a:noFill/>
                  <a:prstDash val="solid"/>
                  <a:miter/>
                </a:ln>
              </p:spPr>
              <p:txBody>
                <a:bodyPr rtlCol="0" anchor="ctr"/>
                <a:lstStyle/>
                <a:p>
                  <a:endParaRPr lang="en-GB" dirty="0"/>
                </a:p>
              </p:txBody>
            </p:sp>
            <p:sp>
              <p:nvSpPr>
                <p:cNvPr id="421" name="Freihandform: Form 420">
                  <a:extLst>
                    <a:ext uri="{FF2B5EF4-FFF2-40B4-BE49-F238E27FC236}">
                      <a16:creationId xmlns:a16="http://schemas.microsoft.com/office/drawing/2014/main" id="{E334D923-469C-4F05-9C72-843F48597F6C}"/>
                    </a:ext>
                  </a:extLst>
                </p:cNvPr>
                <p:cNvSpPr/>
                <p:nvPr/>
              </p:nvSpPr>
              <p:spPr>
                <a:xfrm>
                  <a:off x="2551387" y="1937922"/>
                  <a:ext cx="172294" cy="10520"/>
                </a:xfrm>
                <a:custGeom>
                  <a:avLst/>
                  <a:gdLst>
                    <a:gd name="connsiteX0" fmla="*/ 167034 w 172294"/>
                    <a:gd name="connsiteY0" fmla="*/ 10520 h 10520"/>
                    <a:gd name="connsiteX1" fmla="*/ 5260 w 172294"/>
                    <a:gd name="connsiteY1" fmla="*/ 10520 h 10520"/>
                    <a:gd name="connsiteX2" fmla="*/ 0 w 172294"/>
                    <a:gd name="connsiteY2" fmla="*/ 5260 h 10520"/>
                    <a:gd name="connsiteX3" fmla="*/ 5260 w 172294"/>
                    <a:gd name="connsiteY3" fmla="*/ 0 h 10520"/>
                    <a:gd name="connsiteX4" fmla="*/ 167034 w 172294"/>
                    <a:gd name="connsiteY4" fmla="*/ 0 h 10520"/>
                    <a:gd name="connsiteX5" fmla="*/ 172295 w 172294"/>
                    <a:gd name="connsiteY5" fmla="*/ 5260 h 10520"/>
                    <a:gd name="connsiteX6" fmla="*/ 167034 w 172294"/>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294" h="10520">
                      <a:moveTo>
                        <a:pt x="167034" y="10520"/>
                      </a:moveTo>
                      <a:lnTo>
                        <a:pt x="5260" y="10520"/>
                      </a:lnTo>
                      <a:cubicBezTo>
                        <a:pt x="2344" y="10520"/>
                        <a:pt x="0" y="8146"/>
                        <a:pt x="0" y="5260"/>
                      </a:cubicBezTo>
                      <a:cubicBezTo>
                        <a:pt x="0" y="2345"/>
                        <a:pt x="2375" y="0"/>
                        <a:pt x="5260" y="0"/>
                      </a:cubicBezTo>
                      <a:lnTo>
                        <a:pt x="167034" y="0"/>
                      </a:lnTo>
                      <a:cubicBezTo>
                        <a:pt x="169950" y="0"/>
                        <a:pt x="172295" y="2375"/>
                        <a:pt x="172295" y="5260"/>
                      </a:cubicBezTo>
                      <a:cubicBezTo>
                        <a:pt x="172325" y="8176"/>
                        <a:pt x="169950" y="10520"/>
                        <a:pt x="167034" y="10520"/>
                      </a:cubicBezTo>
                      <a:close/>
                    </a:path>
                  </a:pathLst>
                </a:custGeom>
                <a:grpFill/>
                <a:ln w="3004" cap="flat">
                  <a:noFill/>
                  <a:prstDash val="solid"/>
                  <a:miter/>
                </a:ln>
              </p:spPr>
              <p:txBody>
                <a:bodyPr rtlCol="0" anchor="ctr"/>
                <a:lstStyle/>
                <a:p>
                  <a:endParaRPr lang="en-GB" dirty="0"/>
                </a:p>
              </p:txBody>
            </p:sp>
            <p:sp>
              <p:nvSpPr>
                <p:cNvPr id="422" name="Freihandform: Form 421">
                  <a:extLst>
                    <a:ext uri="{FF2B5EF4-FFF2-40B4-BE49-F238E27FC236}">
                      <a16:creationId xmlns:a16="http://schemas.microsoft.com/office/drawing/2014/main" id="{C8CB4B3E-7664-49BE-B3B1-33D0D44A0626}"/>
                    </a:ext>
                  </a:extLst>
                </p:cNvPr>
                <p:cNvSpPr/>
                <p:nvPr/>
              </p:nvSpPr>
              <p:spPr>
                <a:xfrm>
                  <a:off x="2551387" y="1994191"/>
                  <a:ext cx="172294" cy="10520"/>
                </a:xfrm>
                <a:custGeom>
                  <a:avLst/>
                  <a:gdLst>
                    <a:gd name="connsiteX0" fmla="*/ 167034 w 172294"/>
                    <a:gd name="connsiteY0" fmla="*/ 10520 h 10520"/>
                    <a:gd name="connsiteX1" fmla="*/ 5260 w 172294"/>
                    <a:gd name="connsiteY1" fmla="*/ 10520 h 10520"/>
                    <a:gd name="connsiteX2" fmla="*/ 0 w 172294"/>
                    <a:gd name="connsiteY2" fmla="*/ 5260 h 10520"/>
                    <a:gd name="connsiteX3" fmla="*/ 5260 w 172294"/>
                    <a:gd name="connsiteY3" fmla="*/ 0 h 10520"/>
                    <a:gd name="connsiteX4" fmla="*/ 167034 w 172294"/>
                    <a:gd name="connsiteY4" fmla="*/ 0 h 10520"/>
                    <a:gd name="connsiteX5" fmla="*/ 172295 w 172294"/>
                    <a:gd name="connsiteY5" fmla="*/ 5260 h 10520"/>
                    <a:gd name="connsiteX6" fmla="*/ 167034 w 172294"/>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294" h="10520">
                      <a:moveTo>
                        <a:pt x="167034" y="10520"/>
                      </a:moveTo>
                      <a:lnTo>
                        <a:pt x="5260" y="10520"/>
                      </a:lnTo>
                      <a:cubicBezTo>
                        <a:pt x="2344" y="10520"/>
                        <a:pt x="0" y="8146"/>
                        <a:pt x="0" y="5260"/>
                      </a:cubicBezTo>
                      <a:cubicBezTo>
                        <a:pt x="0" y="2345"/>
                        <a:pt x="2375" y="0"/>
                        <a:pt x="5260" y="0"/>
                      </a:cubicBezTo>
                      <a:lnTo>
                        <a:pt x="167034" y="0"/>
                      </a:lnTo>
                      <a:cubicBezTo>
                        <a:pt x="169950" y="0"/>
                        <a:pt x="172295" y="2375"/>
                        <a:pt x="172295" y="5260"/>
                      </a:cubicBezTo>
                      <a:cubicBezTo>
                        <a:pt x="172325" y="8176"/>
                        <a:pt x="169950" y="10520"/>
                        <a:pt x="167034" y="10520"/>
                      </a:cubicBezTo>
                      <a:close/>
                    </a:path>
                  </a:pathLst>
                </a:custGeom>
                <a:grpFill/>
                <a:ln w="3004" cap="flat">
                  <a:noFill/>
                  <a:prstDash val="solid"/>
                  <a:miter/>
                </a:ln>
              </p:spPr>
              <p:txBody>
                <a:bodyPr rtlCol="0" anchor="ctr"/>
                <a:lstStyle/>
                <a:p>
                  <a:endParaRPr lang="en-GB" dirty="0"/>
                </a:p>
              </p:txBody>
            </p:sp>
            <p:sp>
              <p:nvSpPr>
                <p:cNvPr id="423" name="Freihandform: Form 422">
                  <a:extLst>
                    <a:ext uri="{FF2B5EF4-FFF2-40B4-BE49-F238E27FC236}">
                      <a16:creationId xmlns:a16="http://schemas.microsoft.com/office/drawing/2014/main" id="{B8E3521B-3F09-4715-8DAD-453EF1F0EEBC}"/>
                    </a:ext>
                  </a:extLst>
                </p:cNvPr>
                <p:cNvSpPr/>
                <p:nvPr/>
              </p:nvSpPr>
              <p:spPr>
                <a:xfrm>
                  <a:off x="2551387" y="2050460"/>
                  <a:ext cx="172294" cy="10520"/>
                </a:xfrm>
                <a:custGeom>
                  <a:avLst/>
                  <a:gdLst>
                    <a:gd name="connsiteX0" fmla="*/ 167034 w 172294"/>
                    <a:gd name="connsiteY0" fmla="*/ 10520 h 10520"/>
                    <a:gd name="connsiteX1" fmla="*/ 5260 w 172294"/>
                    <a:gd name="connsiteY1" fmla="*/ 10520 h 10520"/>
                    <a:gd name="connsiteX2" fmla="*/ 0 w 172294"/>
                    <a:gd name="connsiteY2" fmla="*/ 5260 h 10520"/>
                    <a:gd name="connsiteX3" fmla="*/ 5260 w 172294"/>
                    <a:gd name="connsiteY3" fmla="*/ 0 h 10520"/>
                    <a:gd name="connsiteX4" fmla="*/ 167034 w 172294"/>
                    <a:gd name="connsiteY4" fmla="*/ 0 h 10520"/>
                    <a:gd name="connsiteX5" fmla="*/ 172295 w 172294"/>
                    <a:gd name="connsiteY5" fmla="*/ 5260 h 10520"/>
                    <a:gd name="connsiteX6" fmla="*/ 167034 w 172294"/>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294" h="10520">
                      <a:moveTo>
                        <a:pt x="167034" y="10520"/>
                      </a:moveTo>
                      <a:lnTo>
                        <a:pt x="5260" y="10520"/>
                      </a:lnTo>
                      <a:cubicBezTo>
                        <a:pt x="2344" y="10520"/>
                        <a:pt x="0" y="8146"/>
                        <a:pt x="0" y="5260"/>
                      </a:cubicBezTo>
                      <a:cubicBezTo>
                        <a:pt x="0" y="2345"/>
                        <a:pt x="2375" y="0"/>
                        <a:pt x="5260" y="0"/>
                      </a:cubicBezTo>
                      <a:lnTo>
                        <a:pt x="167034" y="0"/>
                      </a:lnTo>
                      <a:cubicBezTo>
                        <a:pt x="169950" y="0"/>
                        <a:pt x="172295" y="2375"/>
                        <a:pt x="172295" y="5260"/>
                      </a:cubicBezTo>
                      <a:cubicBezTo>
                        <a:pt x="172325" y="8176"/>
                        <a:pt x="169950" y="10520"/>
                        <a:pt x="167034" y="10520"/>
                      </a:cubicBezTo>
                      <a:close/>
                    </a:path>
                  </a:pathLst>
                </a:custGeom>
                <a:grpFill/>
                <a:ln w="3004" cap="flat">
                  <a:noFill/>
                  <a:prstDash val="solid"/>
                  <a:miter/>
                </a:ln>
              </p:spPr>
              <p:txBody>
                <a:bodyPr rtlCol="0" anchor="ctr"/>
                <a:lstStyle/>
                <a:p>
                  <a:endParaRPr lang="en-GB" dirty="0"/>
                </a:p>
              </p:txBody>
            </p:sp>
          </p:grpSp>
          <p:sp>
            <p:nvSpPr>
              <p:cNvPr id="412" name="Freihandform: Form 411">
                <a:extLst>
                  <a:ext uri="{FF2B5EF4-FFF2-40B4-BE49-F238E27FC236}">
                    <a16:creationId xmlns:a16="http://schemas.microsoft.com/office/drawing/2014/main" id="{51294A75-73FE-4F2D-97AC-68D741FAED8E}"/>
                  </a:ext>
                </a:extLst>
              </p:cNvPr>
              <p:cNvSpPr/>
              <p:nvPr/>
            </p:nvSpPr>
            <p:spPr>
              <a:xfrm>
                <a:off x="2825700" y="1825383"/>
                <a:ext cx="116025" cy="10520"/>
              </a:xfrm>
              <a:custGeom>
                <a:avLst/>
                <a:gdLst>
                  <a:gd name="connsiteX0" fmla="*/ 110765 w 116025"/>
                  <a:gd name="connsiteY0" fmla="*/ 10520 h 10520"/>
                  <a:gd name="connsiteX1" fmla="*/ 5260 w 116025"/>
                  <a:gd name="connsiteY1" fmla="*/ 10520 h 10520"/>
                  <a:gd name="connsiteX2" fmla="*/ 0 w 116025"/>
                  <a:gd name="connsiteY2" fmla="*/ 5260 h 10520"/>
                  <a:gd name="connsiteX3" fmla="*/ 5260 w 116025"/>
                  <a:gd name="connsiteY3" fmla="*/ 0 h 10520"/>
                  <a:gd name="connsiteX4" fmla="*/ 110765 w 116025"/>
                  <a:gd name="connsiteY4" fmla="*/ 0 h 10520"/>
                  <a:gd name="connsiteX5" fmla="*/ 116025 w 116025"/>
                  <a:gd name="connsiteY5" fmla="*/ 5260 h 10520"/>
                  <a:gd name="connsiteX6" fmla="*/ 110765 w 116025"/>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025" h="10520">
                    <a:moveTo>
                      <a:pt x="110765" y="10520"/>
                    </a:moveTo>
                    <a:lnTo>
                      <a:pt x="5260" y="10520"/>
                    </a:lnTo>
                    <a:cubicBezTo>
                      <a:pt x="2344" y="10520"/>
                      <a:pt x="0" y="8146"/>
                      <a:pt x="0" y="5260"/>
                    </a:cubicBezTo>
                    <a:cubicBezTo>
                      <a:pt x="0" y="2345"/>
                      <a:pt x="2375" y="0"/>
                      <a:pt x="5260" y="0"/>
                    </a:cubicBezTo>
                    <a:lnTo>
                      <a:pt x="110765" y="0"/>
                    </a:lnTo>
                    <a:cubicBezTo>
                      <a:pt x="113681" y="0"/>
                      <a:pt x="116025" y="2375"/>
                      <a:pt x="116025" y="5260"/>
                    </a:cubicBezTo>
                    <a:cubicBezTo>
                      <a:pt x="116025" y="8176"/>
                      <a:pt x="113681" y="10520"/>
                      <a:pt x="110765" y="10520"/>
                    </a:cubicBezTo>
                    <a:close/>
                  </a:path>
                </a:pathLst>
              </a:custGeom>
              <a:grpFill/>
              <a:ln w="3004" cap="flat">
                <a:noFill/>
                <a:prstDash val="solid"/>
                <a:miter/>
              </a:ln>
            </p:spPr>
            <p:txBody>
              <a:bodyPr rtlCol="0" anchor="ctr"/>
              <a:lstStyle/>
              <a:p>
                <a:endParaRPr lang="en-GB" dirty="0"/>
              </a:p>
            </p:txBody>
          </p:sp>
          <p:sp>
            <p:nvSpPr>
              <p:cNvPr id="413" name="Freihandform: Form 412">
                <a:extLst>
                  <a:ext uri="{FF2B5EF4-FFF2-40B4-BE49-F238E27FC236}">
                    <a16:creationId xmlns:a16="http://schemas.microsoft.com/office/drawing/2014/main" id="{8DC9D000-D571-4698-8664-E2867144F16F}"/>
                  </a:ext>
                </a:extLst>
              </p:cNvPr>
              <p:cNvSpPr/>
              <p:nvPr/>
            </p:nvSpPr>
            <p:spPr>
              <a:xfrm>
                <a:off x="2797565" y="1881652"/>
                <a:ext cx="172294" cy="10520"/>
              </a:xfrm>
              <a:custGeom>
                <a:avLst/>
                <a:gdLst>
                  <a:gd name="connsiteX0" fmla="*/ 167034 w 172294"/>
                  <a:gd name="connsiteY0" fmla="*/ 10520 h 10520"/>
                  <a:gd name="connsiteX1" fmla="*/ 5260 w 172294"/>
                  <a:gd name="connsiteY1" fmla="*/ 10520 h 10520"/>
                  <a:gd name="connsiteX2" fmla="*/ 0 w 172294"/>
                  <a:gd name="connsiteY2" fmla="*/ 5260 h 10520"/>
                  <a:gd name="connsiteX3" fmla="*/ 5260 w 172294"/>
                  <a:gd name="connsiteY3" fmla="*/ 0 h 10520"/>
                  <a:gd name="connsiteX4" fmla="*/ 167034 w 172294"/>
                  <a:gd name="connsiteY4" fmla="*/ 0 h 10520"/>
                  <a:gd name="connsiteX5" fmla="*/ 172294 w 172294"/>
                  <a:gd name="connsiteY5" fmla="*/ 5260 h 10520"/>
                  <a:gd name="connsiteX6" fmla="*/ 167034 w 172294"/>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294" h="10520">
                    <a:moveTo>
                      <a:pt x="167034" y="10520"/>
                    </a:moveTo>
                    <a:lnTo>
                      <a:pt x="5260" y="10520"/>
                    </a:lnTo>
                    <a:cubicBezTo>
                      <a:pt x="2344" y="10520"/>
                      <a:pt x="0" y="8146"/>
                      <a:pt x="0" y="5260"/>
                    </a:cubicBezTo>
                    <a:cubicBezTo>
                      <a:pt x="0" y="2345"/>
                      <a:pt x="2375" y="0"/>
                      <a:pt x="5260" y="0"/>
                    </a:cubicBezTo>
                    <a:lnTo>
                      <a:pt x="167034" y="0"/>
                    </a:lnTo>
                    <a:cubicBezTo>
                      <a:pt x="169950" y="0"/>
                      <a:pt x="172294" y="2375"/>
                      <a:pt x="172294" y="5260"/>
                    </a:cubicBezTo>
                    <a:cubicBezTo>
                      <a:pt x="172294" y="8176"/>
                      <a:pt x="169950" y="10520"/>
                      <a:pt x="167034" y="10520"/>
                    </a:cubicBezTo>
                    <a:close/>
                  </a:path>
                </a:pathLst>
              </a:custGeom>
              <a:grpFill/>
              <a:ln w="3004" cap="flat">
                <a:noFill/>
                <a:prstDash val="solid"/>
                <a:miter/>
              </a:ln>
            </p:spPr>
            <p:txBody>
              <a:bodyPr rtlCol="0" anchor="ctr"/>
              <a:lstStyle/>
              <a:p>
                <a:endParaRPr lang="en-GB" dirty="0"/>
              </a:p>
            </p:txBody>
          </p:sp>
          <p:sp>
            <p:nvSpPr>
              <p:cNvPr id="414" name="Freihandform: Form 413">
                <a:extLst>
                  <a:ext uri="{FF2B5EF4-FFF2-40B4-BE49-F238E27FC236}">
                    <a16:creationId xmlns:a16="http://schemas.microsoft.com/office/drawing/2014/main" id="{90AAF0E1-B6DA-4415-98C9-EBA2F578EE2A}"/>
                  </a:ext>
                </a:extLst>
              </p:cNvPr>
              <p:cNvSpPr/>
              <p:nvPr/>
            </p:nvSpPr>
            <p:spPr>
              <a:xfrm>
                <a:off x="2836220" y="1959023"/>
                <a:ext cx="95375" cy="10520"/>
              </a:xfrm>
              <a:custGeom>
                <a:avLst/>
                <a:gdLst>
                  <a:gd name="connsiteX0" fmla="*/ 90115 w 95375"/>
                  <a:gd name="connsiteY0" fmla="*/ 10520 h 10520"/>
                  <a:gd name="connsiteX1" fmla="*/ 5260 w 95375"/>
                  <a:gd name="connsiteY1" fmla="*/ 10520 h 10520"/>
                  <a:gd name="connsiteX2" fmla="*/ 0 w 95375"/>
                  <a:gd name="connsiteY2" fmla="*/ 5260 h 10520"/>
                  <a:gd name="connsiteX3" fmla="*/ 5260 w 95375"/>
                  <a:gd name="connsiteY3" fmla="*/ 0 h 10520"/>
                  <a:gd name="connsiteX4" fmla="*/ 90115 w 95375"/>
                  <a:gd name="connsiteY4" fmla="*/ 0 h 10520"/>
                  <a:gd name="connsiteX5" fmla="*/ 95375 w 95375"/>
                  <a:gd name="connsiteY5" fmla="*/ 5260 h 10520"/>
                  <a:gd name="connsiteX6" fmla="*/ 90115 w 95375"/>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375" h="10520">
                    <a:moveTo>
                      <a:pt x="90115" y="10520"/>
                    </a:moveTo>
                    <a:lnTo>
                      <a:pt x="5260" y="10520"/>
                    </a:lnTo>
                    <a:cubicBezTo>
                      <a:pt x="2344" y="10520"/>
                      <a:pt x="0" y="8146"/>
                      <a:pt x="0" y="5260"/>
                    </a:cubicBezTo>
                    <a:cubicBezTo>
                      <a:pt x="0" y="2345"/>
                      <a:pt x="2375" y="0"/>
                      <a:pt x="5260" y="0"/>
                    </a:cubicBezTo>
                    <a:lnTo>
                      <a:pt x="90115" y="0"/>
                    </a:lnTo>
                    <a:cubicBezTo>
                      <a:pt x="93031" y="0"/>
                      <a:pt x="95375" y="2375"/>
                      <a:pt x="95375" y="5260"/>
                    </a:cubicBezTo>
                    <a:cubicBezTo>
                      <a:pt x="95405" y="8176"/>
                      <a:pt x="93031" y="10520"/>
                      <a:pt x="90115" y="10520"/>
                    </a:cubicBezTo>
                    <a:close/>
                  </a:path>
                </a:pathLst>
              </a:custGeom>
              <a:grpFill/>
              <a:ln w="3004" cap="flat">
                <a:noFill/>
                <a:prstDash val="solid"/>
                <a:miter/>
              </a:ln>
            </p:spPr>
            <p:txBody>
              <a:bodyPr rtlCol="0" anchor="ctr"/>
              <a:lstStyle/>
              <a:p>
                <a:endParaRPr lang="en-GB" dirty="0"/>
              </a:p>
            </p:txBody>
          </p:sp>
          <p:sp>
            <p:nvSpPr>
              <p:cNvPr id="415" name="Freihandform: Form 414">
                <a:extLst>
                  <a:ext uri="{FF2B5EF4-FFF2-40B4-BE49-F238E27FC236}">
                    <a16:creationId xmlns:a16="http://schemas.microsoft.com/office/drawing/2014/main" id="{E7BA5B31-2935-4924-8CF1-263DB8E0801E}"/>
                  </a:ext>
                </a:extLst>
              </p:cNvPr>
              <p:cNvSpPr/>
              <p:nvPr/>
            </p:nvSpPr>
            <p:spPr>
              <a:xfrm>
                <a:off x="2829216" y="2015292"/>
                <a:ext cx="109292" cy="10520"/>
              </a:xfrm>
              <a:custGeom>
                <a:avLst/>
                <a:gdLst>
                  <a:gd name="connsiteX0" fmla="*/ 104032 w 109292"/>
                  <a:gd name="connsiteY0" fmla="*/ 10520 h 10520"/>
                  <a:gd name="connsiteX1" fmla="*/ 5260 w 109292"/>
                  <a:gd name="connsiteY1" fmla="*/ 10520 h 10520"/>
                  <a:gd name="connsiteX2" fmla="*/ 0 w 109292"/>
                  <a:gd name="connsiteY2" fmla="*/ 5260 h 10520"/>
                  <a:gd name="connsiteX3" fmla="*/ 5260 w 109292"/>
                  <a:gd name="connsiteY3" fmla="*/ 0 h 10520"/>
                  <a:gd name="connsiteX4" fmla="*/ 104032 w 109292"/>
                  <a:gd name="connsiteY4" fmla="*/ 0 h 10520"/>
                  <a:gd name="connsiteX5" fmla="*/ 109292 w 109292"/>
                  <a:gd name="connsiteY5" fmla="*/ 5260 h 10520"/>
                  <a:gd name="connsiteX6" fmla="*/ 104032 w 109292"/>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292" h="10520">
                    <a:moveTo>
                      <a:pt x="104032" y="10520"/>
                    </a:moveTo>
                    <a:lnTo>
                      <a:pt x="5260" y="10520"/>
                    </a:lnTo>
                    <a:cubicBezTo>
                      <a:pt x="2345" y="10520"/>
                      <a:pt x="0" y="8146"/>
                      <a:pt x="0" y="5260"/>
                    </a:cubicBezTo>
                    <a:cubicBezTo>
                      <a:pt x="0" y="2345"/>
                      <a:pt x="2375" y="0"/>
                      <a:pt x="5260" y="0"/>
                    </a:cubicBezTo>
                    <a:lnTo>
                      <a:pt x="104032" y="0"/>
                    </a:lnTo>
                    <a:cubicBezTo>
                      <a:pt x="106948" y="0"/>
                      <a:pt x="109292" y="2375"/>
                      <a:pt x="109292" y="5260"/>
                    </a:cubicBezTo>
                    <a:cubicBezTo>
                      <a:pt x="109292" y="8176"/>
                      <a:pt x="106948" y="10520"/>
                      <a:pt x="104032" y="10520"/>
                    </a:cubicBezTo>
                    <a:close/>
                  </a:path>
                </a:pathLst>
              </a:custGeom>
              <a:grpFill/>
              <a:ln w="3004" cap="flat">
                <a:noFill/>
                <a:prstDash val="solid"/>
                <a:miter/>
              </a:ln>
            </p:spPr>
            <p:txBody>
              <a:bodyPr rtlCol="0" anchor="ctr"/>
              <a:lstStyle/>
              <a:p>
                <a:endParaRPr lang="en-GB" dirty="0"/>
              </a:p>
            </p:txBody>
          </p:sp>
          <p:grpSp>
            <p:nvGrpSpPr>
              <p:cNvPr id="416" name="Grafik 19">
                <a:extLst>
                  <a:ext uri="{FF2B5EF4-FFF2-40B4-BE49-F238E27FC236}">
                    <a16:creationId xmlns:a16="http://schemas.microsoft.com/office/drawing/2014/main" id="{E3C22E38-5E8B-43F2-8687-5EACA419F78F}"/>
                  </a:ext>
                </a:extLst>
              </p:cNvPr>
              <p:cNvGrpSpPr/>
              <p:nvPr/>
            </p:nvGrpSpPr>
            <p:grpSpPr>
              <a:xfrm>
                <a:off x="2509185" y="1769114"/>
                <a:ext cx="502846" cy="348135"/>
                <a:chOff x="2509185" y="1769114"/>
                <a:chExt cx="502846" cy="348135"/>
              </a:xfrm>
              <a:grpFill/>
            </p:grpSpPr>
            <p:sp>
              <p:nvSpPr>
                <p:cNvPr id="417" name="Freihandform: Form 416">
                  <a:extLst>
                    <a:ext uri="{FF2B5EF4-FFF2-40B4-BE49-F238E27FC236}">
                      <a16:creationId xmlns:a16="http://schemas.microsoft.com/office/drawing/2014/main" id="{FA4B6376-AD8D-49F7-967C-86D8372D927E}"/>
                    </a:ext>
                  </a:extLst>
                </p:cNvPr>
                <p:cNvSpPr/>
                <p:nvPr/>
              </p:nvSpPr>
              <p:spPr>
                <a:xfrm>
                  <a:off x="2509185" y="1769114"/>
                  <a:ext cx="502846" cy="348135"/>
                </a:xfrm>
                <a:custGeom>
                  <a:avLst/>
                  <a:gdLst>
                    <a:gd name="connsiteX0" fmla="*/ 454963 w 502846"/>
                    <a:gd name="connsiteY0" fmla="*/ 348136 h 348135"/>
                    <a:gd name="connsiteX1" fmla="*/ 5260 w 502846"/>
                    <a:gd name="connsiteY1" fmla="*/ 348136 h 348135"/>
                    <a:gd name="connsiteX2" fmla="*/ 0 w 502846"/>
                    <a:gd name="connsiteY2" fmla="*/ 342876 h 348135"/>
                    <a:gd name="connsiteX3" fmla="*/ 0 w 502846"/>
                    <a:gd name="connsiteY3" fmla="*/ 5260 h 348135"/>
                    <a:gd name="connsiteX4" fmla="*/ 5260 w 502846"/>
                    <a:gd name="connsiteY4" fmla="*/ 0 h 348135"/>
                    <a:gd name="connsiteX5" fmla="*/ 497586 w 502846"/>
                    <a:gd name="connsiteY5" fmla="*/ 0 h 348135"/>
                    <a:gd name="connsiteX6" fmla="*/ 502846 w 502846"/>
                    <a:gd name="connsiteY6" fmla="*/ 5260 h 348135"/>
                    <a:gd name="connsiteX7" fmla="*/ 502846 w 502846"/>
                    <a:gd name="connsiteY7" fmla="*/ 323067 h 348135"/>
                    <a:gd name="connsiteX8" fmla="*/ 497586 w 502846"/>
                    <a:gd name="connsiteY8" fmla="*/ 328327 h 348135"/>
                    <a:gd name="connsiteX9" fmla="*/ 492326 w 502846"/>
                    <a:gd name="connsiteY9" fmla="*/ 323067 h 348135"/>
                    <a:gd name="connsiteX10" fmla="*/ 492326 w 502846"/>
                    <a:gd name="connsiteY10" fmla="*/ 10550 h 348135"/>
                    <a:gd name="connsiteX11" fmla="*/ 10550 w 502846"/>
                    <a:gd name="connsiteY11" fmla="*/ 10550 h 348135"/>
                    <a:gd name="connsiteX12" fmla="*/ 10550 w 502846"/>
                    <a:gd name="connsiteY12" fmla="*/ 337615 h 348135"/>
                    <a:gd name="connsiteX13" fmla="*/ 454963 w 502846"/>
                    <a:gd name="connsiteY13" fmla="*/ 337615 h 348135"/>
                    <a:gd name="connsiteX14" fmla="*/ 460224 w 502846"/>
                    <a:gd name="connsiteY14" fmla="*/ 342876 h 348135"/>
                    <a:gd name="connsiteX15" fmla="*/ 454963 w 502846"/>
                    <a:gd name="connsiteY15" fmla="*/ 348136 h 34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2846" h="348135">
                      <a:moveTo>
                        <a:pt x="454963" y="348136"/>
                      </a:moveTo>
                      <a:lnTo>
                        <a:pt x="5260" y="348136"/>
                      </a:lnTo>
                      <a:cubicBezTo>
                        <a:pt x="2344" y="348136"/>
                        <a:pt x="0" y="345761"/>
                        <a:pt x="0" y="342876"/>
                      </a:cubicBezTo>
                      <a:lnTo>
                        <a:pt x="0" y="5260"/>
                      </a:lnTo>
                      <a:cubicBezTo>
                        <a:pt x="0" y="2345"/>
                        <a:pt x="2375" y="0"/>
                        <a:pt x="5260" y="0"/>
                      </a:cubicBezTo>
                      <a:lnTo>
                        <a:pt x="497586" y="0"/>
                      </a:lnTo>
                      <a:cubicBezTo>
                        <a:pt x="500502" y="0"/>
                        <a:pt x="502846" y="2375"/>
                        <a:pt x="502846" y="5260"/>
                      </a:cubicBezTo>
                      <a:lnTo>
                        <a:pt x="502846" y="323067"/>
                      </a:lnTo>
                      <a:cubicBezTo>
                        <a:pt x="502846" y="325983"/>
                        <a:pt x="500472" y="328327"/>
                        <a:pt x="497586" y="328327"/>
                      </a:cubicBezTo>
                      <a:cubicBezTo>
                        <a:pt x="494700" y="328327"/>
                        <a:pt x="492326" y="325953"/>
                        <a:pt x="492326" y="323067"/>
                      </a:cubicBezTo>
                      <a:lnTo>
                        <a:pt x="492326" y="10550"/>
                      </a:lnTo>
                      <a:lnTo>
                        <a:pt x="10550" y="10550"/>
                      </a:lnTo>
                      <a:lnTo>
                        <a:pt x="10550" y="337615"/>
                      </a:lnTo>
                      <a:lnTo>
                        <a:pt x="454963" y="337615"/>
                      </a:lnTo>
                      <a:cubicBezTo>
                        <a:pt x="457879" y="337615"/>
                        <a:pt x="460224" y="339990"/>
                        <a:pt x="460224" y="342876"/>
                      </a:cubicBezTo>
                      <a:cubicBezTo>
                        <a:pt x="460254" y="345791"/>
                        <a:pt x="457879" y="348136"/>
                        <a:pt x="454963" y="348136"/>
                      </a:cubicBezTo>
                      <a:close/>
                    </a:path>
                  </a:pathLst>
                </a:custGeom>
                <a:grpFill/>
                <a:ln w="3004" cap="flat">
                  <a:noFill/>
                  <a:prstDash val="solid"/>
                  <a:miter/>
                </a:ln>
              </p:spPr>
              <p:txBody>
                <a:bodyPr rtlCol="0" anchor="ctr"/>
                <a:lstStyle/>
                <a:p>
                  <a:endParaRPr lang="en-GB" dirty="0"/>
                </a:p>
              </p:txBody>
            </p:sp>
            <p:sp>
              <p:nvSpPr>
                <p:cNvPr id="418" name="Freihandform: Form 417">
                  <a:extLst>
                    <a:ext uri="{FF2B5EF4-FFF2-40B4-BE49-F238E27FC236}">
                      <a16:creationId xmlns:a16="http://schemas.microsoft.com/office/drawing/2014/main" id="{D757D404-7587-4BF7-9112-8CAC92FF363C}"/>
                    </a:ext>
                  </a:extLst>
                </p:cNvPr>
                <p:cNvSpPr/>
                <p:nvPr/>
              </p:nvSpPr>
              <p:spPr>
                <a:xfrm>
                  <a:off x="2755363" y="1769114"/>
                  <a:ext cx="10520" cy="348135"/>
                </a:xfrm>
                <a:custGeom>
                  <a:avLst/>
                  <a:gdLst>
                    <a:gd name="connsiteX0" fmla="*/ 5260 w 10520"/>
                    <a:gd name="connsiteY0" fmla="*/ 348136 h 348135"/>
                    <a:gd name="connsiteX1" fmla="*/ 0 w 10520"/>
                    <a:gd name="connsiteY1" fmla="*/ 342876 h 348135"/>
                    <a:gd name="connsiteX2" fmla="*/ 0 w 10520"/>
                    <a:gd name="connsiteY2" fmla="*/ 5260 h 348135"/>
                    <a:gd name="connsiteX3" fmla="*/ 5260 w 10520"/>
                    <a:gd name="connsiteY3" fmla="*/ 0 h 348135"/>
                    <a:gd name="connsiteX4" fmla="*/ 10520 w 10520"/>
                    <a:gd name="connsiteY4" fmla="*/ 5260 h 348135"/>
                    <a:gd name="connsiteX5" fmla="*/ 10520 w 10520"/>
                    <a:gd name="connsiteY5" fmla="*/ 342876 h 348135"/>
                    <a:gd name="connsiteX6" fmla="*/ 5260 w 10520"/>
                    <a:gd name="connsiteY6" fmla="*/ 348136 h 34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348135">
                      <a:moveTo>
                        <a:pt x="5260" y="348136"/>
                      </a:moveTo>
                      <a:cubicBezTo>
                        <a:pt x="2345" y="348136"/>
                        <a:pt x="0" y="345761"/>
                        <a:pt x="0" y="342876"/>
                      </a:cubicBezTo>
                      <a:lnTo>
                        <a:pt x="0" y="5260"/>
                      </a:lnTo>
                      <a:cubicBezTo>
                        <a:pt x="0" y="2345"/>
                        <a:pt x="2375" y="0"/>
                        <a:pt x="5260" y="0"/>
                      </a:cubicBezTo>
                      <a:cubicBezTo>
                        <a:pt x="8176" y="0"/>
                        <a:pt x="10520" y="2375"/>
                        <a:pt x="10520" y="5260"/>
                      </a:cubicBezTo>
                      <a:lnTo>
                        <a:pt x="10520" y="342876"/>
                      </a:lnTo>
                      <a:cubicBezTo>
                        <a:pt x="10551" y="345791"/>
                        <a:pt x="8176" y="348136"/>
                        <a:pt x="5260" y="348136"/>
                      </a:cubicBezTo>
                      <a:close/>
                    </a:path>
                  </a:pathLst>
                </a:custGeom>
                <a:grpFill/>
                <a:ln w="3004" cap="flat">
                  <a:noFill/>
                  <a:prstDash val="solid"/>
                  <a:miter/>
                </a:ln>
              </p:spPr>
              <p:txBody>
                <a:bodyPr rtlCol="0" anchor="ctr"/>
                <a:lstStyle/>
                <a:p>
                  <a:endParaRPr lang="en-GB" dirty="0"/>
                </a:p>
              </p:txBody>
            </p:sp>
          </p:grpSp>
        </p:grpSp>
        <p:grpSp>
          <p:nvGrpSpPr>
            <p:cNvPr id="402" name="Grafik 19">
              <a:extLst>
                <a:ext uri="{FF2B5EF4-FFF2-40B4-BE49-F238E27FC236}">
                  <a16:creationId xmlns:a16="http://schemas.microsoft.com/office/drawing/2014/main" id="{AAA2AC85-F0E6-4968-B818-C45B700B3E85}"/>
                </a:ext>
              </a:extLst>
            </p:cNvPr>
            <p:cNvGrpSpPr/>
            <p:nvPr/>
          </p:nvGrpSpPr>
          <p:grpSpPr>
            <a:xfrm>
              <a:off x="7375319" y="1768204"/>
              <a:ext cx="290112" cy="290512"/>
              <a:chOff x="2794860" y="1909036"/>
              <a:chExt cx="286901" cy="287297"/>
            </a:xfrm>
            <a:solidFill>
              <a:schemeClr val="accent1"/>
            </a:solidFill>
          </p:grpSpPr>
          <p:grpSp>
            <p:nvGrpSpPr>
              <p:cNvPr id="403" name="Grafik 19">
                <a:extLst>
                  <a:ext uri="{FF2B5EF4-FFF2-40B4-BE49-F238E27FC236}">
                    <a16:creationId xmlns:a16="http://schemas.microsoft.com/office/drawing/2014/main" id="{0C13FCCD-3C80-4DEF-AAC2-58A45A9DE3DF}"/>
                  </a:ext>
                </a:extLst>
              </p:cNvPr>
              <p:cNvGrpSpPr/>
              <p:nvPr/>
            </p:nvGrpSpPr>
            <p:grpSpPr>
              <a:xfrm>
                <a:off x="2794860" y="1909036"/>
                <a:ext cx="181575" cy="181522"/>
                <a:chOff x="2794860" y="1909036"/>
                <a:chExt cx="181575" cy="181522"/>
              </a:xfrm>
              <a:solidFill>
                <a:schemeClr val="accent1"/>
              </a:solidFill>
            </p:grpSpPr>
            <p:grpSp>
              <p:nvGrpSpPr>
                <p:cNvPr id="405" name="Grafik 19">
                  <a:extLst>
                    <a:ext uri="{FF2B5EF4-FFF2-40B4-BE49-F238E27FC236}">
                      <a16:creationId xmlns:a16="http://schemas.microsoft.com/office/drawing/2014/main" id="{CE429016-E66D-44BA-9626-D8FB5C4F83AC}"/>
                    </a:ext>
                  </a:extLst>
                </p:cNvPr>
                <p:cNvGrpSpPr/>
                <p:nvPr/>
              </p:nvGrpSpPr>
              <p:grpSpPr>
                <a:xfrm>
                  <a:off x="2794860" y="1909036"/>
                  <a:ext cx="180162" cy="180169"/>
                  <a:chOff x="2794860" y="1909036"/>
                  <a:chExt cx="180162" cy="180169"/>
                </a:xfrm>
                <a:solidFill>
                  <a:schemeClr val="accent1"/>
                </a:solidFill>
              </p:grpSpPr>
              <p:sp>
                <p:nvSpPr>
                  <p:cNvPr id="407" name="Freihandform: Form 406">
                    <a:extLst>
                      <a:ext uri="{FF2B5EF4-FFF2-40B4-BE49-F238E27FC236}">
                        <a16:creationId xmlns:a16="http://schemas.microsoft.com/office/drawing/2014/main" id="{E94F92C1-3F6C-448F-87E5-B8FFE130ABFF}"/>
                      </a:ext>
                    </a:extLst>
                  </p:cNvPr>
                  <p:cNvSpPr/>
                  <p:nvPr/>
                </p:nvSpPr>
                <p:spPr>
                  <a:xfrm>
                    <a:off x="2794860" y="1909036"/>
                    <a:ext cx="180162" cy="180169"/>
                  </a:xfrm>
                  <a:custGeom>
                    <a:avLst/>
                    <a:gdLst>
                      <a:gd name="connsiteX0" fmla="*/ 90115 w 180162"/>
                      <a:gd name="connsiteY0" fmla="*/ 180170 h 180169"/>
                      <a:gd name="connsiteX1" fmla="*/ 90115 w 180162"/>
                      <a:gd name="connsiteY1" fmla="*/ 180170 h 180169"/>
                      <a:gd name="connsiteX2" fmla="*/ 26391 w 180162"/>
                      <a:gd name="connsiteY2" fmla="*/ 153779 h 180169"/>
                      <a:gd name="connsiteX3" fmla="*/ 0 w 180162"/>
                      <a:gd name="connsiteY3" fmla="*/ 90085 h 180169"/>
                      <a:gd name="connsiteX4" fmla="*/ 26391 w 180162"/>
                      <a:gd name="connsiteY4" fmla="*/ 26391 h 180169"/>
                      <a:gd name="connsiteX5" fmla="*/ 90115 w 180162"/>
                      <a:gd name="connsiteY5" fmla="*/ 0 h 180169"/>
                      <a:gd name="connsiteX6" fmla="*/ 153809 w 180162"/>
                      <a:gd name="connsiteY6" fmla="*/ 26391 h 180169"/>
                      <a:gd name="connsiteX7" fmla="*/ 153809 w 180162"/>
                      <a:gd name="connsiteY7" fmla="*/ 153809 h 180169"/>
                      <a:gd name="connsiteX8" fmla="*/ 90115 w 180162"/>
                      <a:gd name="connsiteY8" fmla="*/ 180170 h 180169"/>
                      <a:gd name="connsiteX9" fmla="*/ 90115 w 180162"/>
                      <a:gd name="connsiteY9" fmla="*/ 10520 h 180169"/>
                      <a:gd name="connsiteX10" fmla="*/ 33876 w 180162"/>
                      <a:gd name="connsiteY10" fmla="*/ 33816 h 180169"/>
                      <a:gd name="connsiteX11" fmla="*/ 10581 w 180162"/>
                      <a:gd name="connsiteY11" fmla="*/ 90055 h 180169"/>
                      <a:gd name="connsiteX12" fmla="*/ 33876 w 180162"/>
                      <a:gd name="connsiteY12" fmla="*/ 146294 h 180169"/>
                      <a:gd name="connsiteX13" fmla="*/ 90115 w 180162"/>
                      <a:gd name="connsiteY13" fmla="*/ 169589 h 180169"/>
                      <a:gd name="connsiteX14" fmla="*/ 146354 w 180162"/>
                      <a:gd name="connsiteY14" fmla="*/ 146294 h 180169"/>
                      <a:gd name="connsiteX15" fmla="*/ 146354 w 180162"/>
                      <a:gd name="connsiteY15" fmla="*/ 33786 h 180169"/>
                      <a:gd name="connsiteX16" fmla="*/ 90115 w 180162"/>
                      <a:gd name="connsiteY16" fmla="*/ 10520 h 18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0162" h="180169">
                        <a:moveTo>
                          <a:pt x="90115" y="180170"/>
                        </a:moveTo>
                        <a:lnTo>
                          <a:pt x="90115" y="180170"/>
                        </a:lnTo>
                        <a:cubicBezTo>
                          <a:pt x="66038" y="180170"/>
                          <a:pt x="43404" y="170792"/>
                          <a:pt x="26391" y="153779"/>
                        </a:cubicBezTo>
                        <a:cubicBezTo>
                          <a:pt x="9378" y="136766"/>
                          <a:pt x="0" y="114132"/>
                          <a:pt x="0" y="90085"/>
                        </a:cubicBezTo>
                        <a:cubicBezTo>
                          <a:pt x="0" y="66038"/>
                          <a:pt x="9378" y="43404"/>
                          <a:pt x="26391" y="26391"/>
                        </a:cubicBezTo>
                        <a:cubicBezTo>
                          <a:pt x="43404" y="9378"/>
                          <a:pt x="66038" y="0"/>
                          <a:pt x="90115" y="0"/>
                        </a:cubicBezTo>
                        <a:cubicBezTo>
                          <a:pt x="114192" y="0"/>
                          <a:pt x="136796" y="9378"/>
                          <a:pt x="153809" y="26391"/>
                        </a:cubicBezTo>
                        <a:cubicBezTo>
                          <a:pt x="188947" y="61529"/>
                          <a:pt x="188947" y="118670"/>
                          <a:pt x="153809" y="153809"/>
                        </a:cubicBezTo>
                        <a:cubicBezTo>
                          <a:pt x="136826" y="170792"/>
                          <a:pt x="114192" y="180170"/>
                          <a:pt x="90115" y="180170"/>
                        </a:cubicBezTo>
                        <a:close/>
                        <a:moveTo>
                          <a:pt x="90115" y="10520"/>
                        </a:moveTo>
                        <a:cubicBezTo>
                          <a:pt x="68864" y="10520"/>
                          <a:pt x="48875" y="18786"/>
                          <a:pt x="33876" y="33816"/>
                        </a:cubicBezTo>
                        <a:cubicBezTo>
                          <a:pt x="18847" y="48845"/>
                          <a:pt x="10581" y="68804"/>
                          <a:pt x="10581" y="90055"/>
                        </a:cubicBezTo>
                        <a:cubicBezTo>
                          <a:pt x="10581" y="111306"/>
                          <a:pt x="18847" y="131265"/>
                          <a:pt x="33876" y="146294"/>
                        </a:cubicBezTo>
                        <a:cubicBezTo>
                          <a:pt x="48905" y="161323"/>
                          <a:pt x="68864" y="169589"/>
                          <a:pt x="90115" y="169589"/>
                        </a:cubicBezTo>
                        <a:cubicBezTo>
                          <a:pt x="111366" y="169589"/>
                          <a:pt x="131325" y="161323"/>
                          <a:pt x="146354" y="146294"/>
                        </a:cubicBezTo>
                        <a:cubicBezTo>
                          <a:pt x="177374" y="115274"/>
                          <a:pt x="177374" y="64806"/>
                          <a:pt x="146354" y="33786"/>
                        </a:cubicBezTo>
                        <a:cubicBezTo>
                          <a:pt x="131355" y="18786"/>
                          <a:pt x="111366" y="10520"/>
                          <a:pt x="90115" y="10520"/>
                        </a:cubicBezTo>
                        <a:close/>
                      </a:path>
                    </a:pathLst>
                  </a:custGeom>
                  <a:solidFill>
                    <a:schemeClr val="accent1"/>
                  </a:solidFill>
                  <a:ln w="3004" cap="flat">
                    <a:noFill/>
                    <a:prstDash val="solid"/>
                    <a:miter/>
                  </a:ln>
                </p:spPr>
                <p:txBody>
                  <a:bodyPr rtlCol="0" anchor="ctr"/>
                  <a:lstStyle/>
                  <a:p>
                    <a:endParaRPr lang="en-GB" dirty="0"/>
                  </a:p>
                </p:txBody>
              </p:sp>
              <p:sp>
                <p:nvSpPr>
                  <p:cNvPr id="408" name="Freihandform: Form 407">
                    <a:extLst>
                      <a:ext uri="{FF2B5EF4-FFF2-40B4-BE49-F238E27FC236}">
                        <a16:creationId xmlns:a16="http://schemas.microsoft.com/office/drawing/2014/main" id="{E2BDFBDD-12D7-4EAD-B60A-1486FBBBE51B}"/>
                      </a:ext>
                    </a:extLst>
                  </p:cNvPr>
                  <p:cNvSpPr/>
                  <p:nvPr/>
                </p:nvSpPr>
                <p:spPr>
                  <a:xfrm>
                    <a:off x="2823144" y="1937290"/>
                    <a:ext cx="123630" cy="123630"/>
                  </a:xfrm>
                  <a:custGeom>
                    <a:avLst/>
                    <a:gdLst>
                      <a:gd name="connsiteX0" fmla="*/ 61830 w 123630"/>
                      <a:gd name="connsiteY0" fmla="*/ 123630 h 123630"/>
                      <a:gd name="connsiteX1" fmla="*/ 61830 w 123630"/>
                      <a:gd name="connsiteY1" fmla="*/ 123630 h 123630"/>
                      <a:gd name="connsiteX2" fmla="*/ 18095 w 123630"/>
                      <a:gd name="connsiteY2" fmla="*/ 105505 h 123630"/>
                      <a:gd name="connsiteX3" fmla="*/ 0 w 123630"/>
                      <a:gd name="connsiteY3" fmla="*/ 61800 h 123630"/>
                      <a:gd name="connsiteX4" fmla="*/ 18095 w 123630"/>
                      <a:gd name="connsiteY4" fmla="*/ 18095 h 123630"/>
                      <a:gd name="connsiteX5" fmla="*/ 61830 w 123630"/>
                      <a:gd name="connsiteY5" fmla="*/ 0 h 123630"/>
                      <a:gd name="connsiteX6" fmla="*/ 105535 w 123630"/>
                      <a:gd name="connsiteY6" fmla="*/ 18095 h 123630"/>
                      <a:gd name="connsiteX7" fmla="*/ 123630 w 123630"/>
                      <a:gd name="connsiteY7" fmla="*/ 61800 h 123630"/>
                      <a:gd name="connsiteX8" fmla="*/ 105535 w 123630"/>
                      <a:gd name="connsiteY8" fmla="*/ 105535 h 123630"/>
                      <a:gd name="connsiteX9" fmla="*/ 61830 w 123630"/>
                      <a:gd name="connsiteY9" fmla="*/ 123630 h 123630"/>
                      <a:gd name="connsiteX10" fmla="*/ 61830 w 123630"/>
                      <a:gd name="connsiteY10" fmla="*/ 10520 h 123630"/>
                      <a:gd name="connsiteX11" fmla="*/ 25550 w 123630"/>
                      <a:gd name="connsiteY11" fmla="*/ 25550 h 123630"/>
                      <a:gd name="connsiteX12" fmla="*/ 10551 w 123630"/>
                      <a:gd name="connsiteY12" fmla="*/ 61800 h 123630"/>
                      <a:gd name="connsiteX13" fmla="*/ 25580 w 123630"/>
                      <a:gd name="connsiteY13" fmla="*/ 98050 h 123630"/>
                      <a:gd name="connsiteX14" fmla="*/ 61860 w 123630"/>
                      <a:gd name="connsiteY14" fmla="*/ 113080 h 123630"/>
                      <a:gd name="connsiteX15" fmla="*/ 98111 w 123630"/>
                      <a:gd name="connsiteY15" fmla="*/ 98080 h 123630"/>
                      <a:gd name="connsiteX16" fmla="*/ 113110 w 123630"/>
                      <a:gd name="connsiteY16" fmla="*/ 61800 h 123630"/>
                      <a:gd name="connsiteX17" fmla="*/ 98111 w 123630"/>
                      <a:gd name="connsiteY17" fmla="*/ 25550 h 123630"/>
                      <a:gd name="connsiteX18" fmla="*/ 61830 w 123630"/>
                      <a:gd name="connsiteY18" fmla="*/ 10520 h 12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3630" h="123630">
                        <a:moveTo>
                          <a:pt x="61830" y="123630"/>
                        </a:moveTo>
                        <a:cubicBezTo>
                          <a:pt x="61830" y="123630"/>
                          <a:pt x="61830" y="123630"/>
                          <a:pt x="61830" y="123630"/>
                        </a:cubicBezTo>
                        <a:cubicBezTo>
                          <a:pt x="45298" y="123630"/>
                          <a:pt x="29788" y="117198"/>
                          <a:pt x="18095" y="105505"/>
                        </a:cubicBezTo>
                        <a:cubicBezTo>
                          <a:pt x="6433" y="93842"/>
                          <a:pt x="0" y="78302"/>
                          <a:pt x="0" y="61800"/>
                        </a:cubicBezTo>
                        <a:cubicBezTo>
                          <a:pt x="0" y="45298"/>
                          <a:pt x="6433" y="29758"/>
                          <a:pt x="18095" y="18095"/>
                        </a:cubicBezTo>
                        <a:cubicBezTo>
                          <a:pt x="29788" y="6402"/>
                          <a:pt x="45298" y="0"/>
                          <a:pt x="61830" y="0"/>
                        </a:cubicBezTo>
                        <a:cubicBezTo>
                          <a:pt x="78332" y="0"/>
                          <a:pt x="93872" y="6432"/>
                          <a:pt x="105535" y="18095"/>
                        </a:cubicBezTo>
                        <a:cubicBezTo>
                          <a:pt x="117198" y="29758"/>
                          <a:pt x="123630" y="45298"/>
                          <a:pt x="123630" y="61800"/>
                        </a:cubicBezTo>
                        <a:cubicBezTo>
                          <a:pt x="123630" y="78332"/>
                          <a:pt x="117198" y="93842"/>
                          <a:pt x="105535" y="105535"/>
                        </a:cubicBezTo>
                        <a:cubicBezTo>
                          <a:pt x="93872" y="117198"/>
                          <a:pt x="78332" y="123630"/>
                          <a:pt x="61830" y="123630"/>
                        </a:cubicBezTo>
                        <a:close/>
                        <a:moveTo>
                          <a:pt x="61830" y="10520"/>
                        </a:moveTo>
                        <a:cubicBezTo>
                          <a:pt x="48123" y="10520"/>
                          <a:pt x="35259" y="15841"/>
                          <a:pt x="25550" y="25550"/>
                        </a:cubicBezTo>
                        <a:cubicBezTo>
                          <a:pt x="15871" y="35228"/>
                          <a:pt x="10551" y="48093"/>
                          <a:pt x="10551" y="61800"/>
                        </a:cubicBezTo>
                        <a:cubicBezTo>
                          <a:pt x="10551" y="75507"/>
                          <a:pt x="15871" y="88372"/>
                          <a:pt x="25580" y="98050"/>
                        </a:cubicBezTo>
                        <a:cubicBezTo>
                          <a:pt x="35259" y="107729"/>
                          <a:pt x="48154" y="113080"/>
                          <a:pt x="61860" y="113080"/>
                        </a:cubicBezTo>
                        <a:cubicBezTo>
                          <a:pt x="75537" y="113080"/>
                          <a:pt x="88432" y="107759"/>
                          <a:pt x="98111" y="98080"/>
                        </a:cubicBezTo>
                        <a:cubicBezTo>
                          <a:pt x="107789" y="88402"/>
                          <a:pt x="113110" y="75507"/>
                          <a:pt x="113110" y="61800"/>
                        </a:cubicBezTo>
                        <a:cubicBezTo>
                          <a:pt x="113110" y="48093"/>
                          <a:pt x="107789" y="35228"/>
                          <a:pt x="98111" y="25550"/>
                        </a:cubicBezTo>
                        <a:cubicBezTo>
                          <a:pt x="88402" y="15871"/>
                          <a:pt x="75537" y="10520"/>
                          <a:pt x="61830" y="10520"/>
                        </a:cubicBezTo>
                        <a:close/>
                      </a:path>
                    </a:pathLst>
                  </a:custGeom>
                  <a:solidFill>
                    <a:schemeClr val="accent1"/>
                  </a:solidFill>
                  <a:ln w="3004" cap="flat">
                    <a:noFill/>
                    <a:prstDash val="solid"/>
                    <a:miter/>
                  </a:ln>
                </p:spPr>
                <p:txBody>
                  <a:bodyPr rtlCol="0" anchor="ctr"/>
                  <a:lstStyle/>
                  <a:p>
                    <a:endParaRPr lang="en-GB" dirty="0"/>
                  </a:p>
                </p:txBody>
              </p:sp>
            </p:grpSp>
            <p:sp>
              <p:nvSpPr>
                <p:cNvPr id="406" name="Freihandform: Form 405">
                  <a:extLst>
                    <a:ext uri="{FF2B5EF4-FFF2-40B4-BE49-F238E27FC236}">
                      <a16:creationId xmlns:a16="http://schemas.microsoft.com/office/drawing/2014/main" id="{13837426-150F-4A82-8EAB-112B579FC662}"/>
                    </a:ext>
                  </a:extLst>
                </p:cNvPr>
                <p:cNvSpPr/>
                <p:nvPr/>
              </p:nvSpPr>
              <p:spPr>
                <a:xfrm>
                  <a:off x="2939658" y="2053815"/>
                  <a:ext cx="36776" cy="36742"/>
                </a:xfrm>
                <a:custGeom>
                  <a:avLst/>
                  <a:gdLst>
                    <a:gd name="connsiteX0" fmla="*/ 31494 w 36776"/>
                    <a:gd name="connsiteY0" fmla="*/ 36743 h 36742"/>
                    <a:gd name="connsiteX1" fmla="*/ 27766 w 36776"/>
                    <a:gd name="connsiteY1" fmla="*/ 35210 h 36742"/>
                    <a:gd name="connsiteX2" fmla="*/ 1556 w 36776"/>
                    <a:gd name="connsiteY2" fmla="*/ 8999 h 36742"/>
                    <a:gd name="connsiteX3" fmla="*/ 1556 w 36776"/>
                    <a:gd name="connsiteY3" fmla="*/ 1544 h 36742"/>
                    <a:gd name="connsiteX4" fmla="*/ 9010 w 36776"/>
                    <a:gd name="connsiteY4" fmla="*/ 1544 h 36742"/>
                    <a:gd name="connsiteX5" fmla="*/ 35221 w 36776"/>
                    <a:gd name="connsiteY5" fmla="*/ 27755 h 36742"/>
                    <a:gd name="connsiteX6" fmla="*/ 35221 w 36776"/>
                    <a:gd name="connsiteY6" fmla="*/ 35210 h 36742"/>
                    <a:gd name="connsiteX7" fmla="*/ 31494 w 36776"/>
                    <a:gd name="connsiteY7" fmla="*/ 36743 h 3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6" h="36742">
                      <a:moveTo>
                        <a:pt x="31494" y="36743"/>
                      </a:moveTo>
                      <a:cubicBezTo>
                        <a:pt x="30141" y="36743"/>
                        <a:pt x="28788" y="36232"/>
                        <a:pt x="27766" y="35210"/>
                      </a:cubicBezTo>
                      <a:lnTo>
                        <a:pt x="1556" y="8999"/>
                      </a:lnTo>
                      <a:cubicBezTo>
                        <a:pt x="-519" y="6925"/>
                        <a:pt x="-519" y="3588"/>
                        <a:pt x="1556" y="1544"/>
                      </a:cubicBezTo>
                      <a:cubicBezTo>
                        <a:pt x="3630" y="-530"/>
                        <a:pt x="6966" y="-500"/>
                        <a:pt x="9010" y="1544"/>
                      </a:cubicBezTo>
                      <a:lnTo>
                        <a:pt x="35221" y="27755"/>
                      </a:lnTo>
                      <a:cubicBezTo>
                        <a:pt x="37295" y="29829"/>
                        <a:pt x="37295" y="33166"/>
                        <a:pt x="35221" y="35210"/>
                      </a:cubicBezTo>
                      <a:cubicBezTo>
                        <a:pt x="34199" y="36232"/>
                        <a:pt x="32846" y="36743"/>
                        <a:pt x="31494" y="36743"/>
                      </a:cubicBezTo>
                      <a:close/>
                    </a:path>
                  </a:pathLst>
                </a:custGeom>
                <a:solidFill>
                  <a:schemeClr val="accent1"/>
                </a:solidFill>
                <a:ln w="3004" cap="flat">
                  <a:noFill/>
                  <a:prstDash val="solid"/>
                  <a:miter/>
                </a:ln>
              </p:spPr>
              <p:txBody>
                <a:bodyPr rtlCol="0" anchor="ctr"/>
                <a:lstStyle/>
                <a:p>
                  <a:endParaRPr lang="en-GB" dirty="0"/>
                </a:p>
              </p:txBody>
            </p:sp>
          </p:grpSp>
          <p:sp>
            <p:nvSpPr>
              <p:cNvPr id="404" name="Freihandform: Form 403">
                <a:extLst>
                  <a:ext uri="{FF2B5EF4-FFF2-40B4-BE49-F238E27FC236}">
                    <a16:creationId xmlns:a16="http://schemas.microsoft.com/office/drawing/2014/main" id="{9910BB3F-1AB7-4CA0-81EE-2DA330B8A3F9}"/>
                  </a:ext>
                </a:extLst>
              </p:cNvPr>
              <p:cNvSpPr/>
              <p:nvPr/>
            </p:nvSpPr>
            <p:spPr>
              <a:xfrm>
                <a:off x="2960629" y="2075168"/>
                <a:ext cx="121131" cy="121165"/>
              </a:xfrm>
              <a:custGeom>
                <a:avLst/>
                <a:gdLst>
                  <a:gd name="connsiteX0" fmla="*/ 98022 w 121131"/>
                  <a:gd name="connsiteY0" fmla="*/ 121165 h 121165"/>
                  <a:gd name="connsiteX1" fmla="*/ 98022 w 121131"/>
                  <a:gd name="connsiteY1" fmla="*/ 121165 h 121165"/>
                  <a:gd name="connsiteX2" fmla="*/ 77372 w 121131"/>
                  <a:gd name="connsiteY2" fmla="*/ 112268 h 121165"/>
                  <a:gd name="connsiteX3" fmla="*/ 8869 w 121131"/>
                  <a:gd name="connsiteY3" fmla="*/ 43765 h 121165"/>
                  <a:gd name="connsiteX4" fmla="*/ 6585 w 121131"/>
                  <a:gd name="connsiteY4" fmla="*/ 6613 h 121165"/>
                  <a:gd name="connsiteX5" fmla="*/ 23057 w 121131"/>
                  <a:gd name="connsiteY5" fmla="*/ 0 h 121165"/>
                  <a:gd name="connsiteX6" fmla="*/ 43737 w 121131"/>
                  <a:gd name="connsiteY6" fmla="*/ 8897 h 121165"/>
                  <a:gd name="connsiteX7" fmla="*/ 112240 w 121131"/>
                  <a:gd name="connsiteY7" fmla="*/ 77400 h 121165"/>
                  <a:gd name="connsiteX8" fmla="*/ 121047 w 121131"/>
                  <a:gd name="connsiteY8" fmla="*/ 96037 h 121165"/>
                  <a:gd name="connsiteX9" fmla="*/ 114524 w 121131"/>
                  <a:gd name="connsiteY9" fmla="*/ 114522 h 121165"/>
                  <a:gd name="connsiteX10" fmla="*/ 98022 w 121131"/>
                  <a:gd name="connsiteY10" fmla="*/ 121165 h 121165"/>
                  <a:gd name="connsiteX11" fmla="*/ 23057 w 121131"/>
                  <a:gd name="connsiteY11" fmla="*/ 10551 h 121165"/>
                  <a:gd name="connsiteX12" fmla="*/ 14039 w 121131"/>
                  <a:gd name="connsiteY12" fmla="*/ 14067 h 121165"/>
                  <a:gd name="connsiteX13" fmla="*/ 16324 w 121131"/>
                  <a:gd name="connsiteY13" fmla="*/ 36311 h 121165"/>
                  <a:gd name="connsiteX14" fmla="*/ 84827 w 121131"/>
                  <a:gd name="connsiteY14" fmla="*/ 104814 h 121165"/>
                  <a:gd name="connsiteX15" fmla="*/ 98022 w 121131"/>
                  <a:gd name="connsiteY15" fmla="*/ 110615 h 121165"/>
                  <a:gd name="connsiteX16" fmla="*/ 107040 w 121131"/>
                  <a:gd name="connsiteY16" fmla="*/ 107098 h 121165"/>
                  <a:gd name="connsiteX17" fmla="*/ 110527 w 121131"/>
                  <a:gd name="connsiteY17" fmla="*/ 96878 h 121165"/>
                  <a:gd name="connsiteX18" fmla="*/ 104755 w 121131"/>
                  <a:gd name="connsiteY18" fmla="*/ 84885 h 121165"/>
                  <a:gd name="connsiteX19" fmla="*/ 36253 w 121131"/>
                  <a:gd name="connsiteY19" fmla="*/ 16382 h 121165"/>
                  <a:gd name="connsiteX20" fmla="*/ 23057 w 121131"/>
                  <a:gd name="connsiteY20" fmla="*/ 10551 h 121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1131" h="121165">
                    <a:moveTo>
                      <a:pt x="98022" y="121165"/>
                    </a:moveTo>
                    <a:lnTo>
                      <a:pt x="98022" y="121165"/>
                    </a:lnTo>
                    <a:cubicBezTo>
                      <a:pt x="90538" y="121165"/>
                      <a:pt x="83023" y="117919"/>
                      <a:pt x="77372" y="112268"/>
                    </a:cubicBezTo>
                    <a:lnTo>
                      <a:pt x="8869" y="43765"/>
                    </a:lnTo>
                    <a:cubicBezTo>
                      <a:pt x="-1982" y="32884"/>
                      <a:pt x="-3034" y="16232"/>
                      <a:pt x="6585" y="6613"/>
                    </a:cubicBezTo>
                    <a:cubicBezTo>
                      <a:pt x="10853" y="2345"/>
                      <a:pt x="16715" y="0"/>
                      <a:pt x="23057" y="0"/>
                    </a:cubicBezTo>
                    <a:cubicBezTo>
                      <a:pt x="30541" y="0"/>
                      <a:pt x="38086" y="3246"/>
                      <a:pt x="43737" y="8897"/>
                    </a:cubicBezTo>
                    <a:lnTo>
                      <a:pt x="112240" y="77400"/>
                    </a:lnTo>
                    <a:cubicBezTo>
                      <a:pt x="117410" y="82570"/>
                      <a:pt x="120536" y="89183"/>
                      <a:pt x="121047" y="96037"/>
                    </a:cubicBezTo>
                    <a:cubicBezTo>
                      <a:pt x="121618" y="103190"/>
                      <a:pt x="119274" y="109773"/>
                      <a:pt x="114524" y="114522"/>
                    </a:cubicBezTo>
                    <a:cubicBezTo>
                      <a:pt x="110256" y="118821"/>
                      <a:pt x="104395" y="121165"/>
                      <a:pt x="98022" y="121165"/>
                    </a:cubicBezTo>
                    <a:close/>
                    <a:moveTo>
                      <a:pt x="23057" y="10551"/>
                    </a:moveTo>
                    <a:cubicBezTo>
                      <a:pt x="20562" y="10551"/>
                      <a:pt x="16955" y="11152"/>
                      <a:pt x="14039" y="14067"/>
                    </a:cubicBezTo>
                    <a:cubicBezTo>
                      <a:pt x="8539" y="19568"/>
                      <a:pt x="9561" y="29547"/>
                      <a:pt x="16324" y="36311"/>
                    </a:cubicBezTo>
                    <a:lnTo>
                      <a:pt x="84827" y="104814"/>
                    </a:lnTo>
                    <a:cubicBezTo>
                      <a:pt x="88524" y="108511"/>
                      <a:pt x="93333" y="110615"/>
                      <a:pt x="98022" y="110615"/>
                    </a:cubicBezTo>
                    <a:cubicBezTo>
                      <a:pt x="100517" y="110615"/>
                      <a:pt x="104124" y="110014"/>
                      <a:pt x="107040" y="107098"/>
                    </a:cubicBezTo>
                    <a:cubicBezTo>
                      <a:pt x="109595" y="104543"/>
                      <a:pt x="110827" y="100906"/>
                      <a:pt x="110527" y="96878"/>
                    </a:cubicBezTo>
                    <a:cubicBezTo>
                      <a:pt x="110196" y="92520"/>
                      <a:pt x="108152" y="88281"/>
                      <a:pt x="104755" y="84885"/>
                    </a:cubicBezTo>
                    <a:lnTo>
                      <a:pt x="36253" y="16382"/>
                    </a:lnTo>
                    <a:cubicBezTo>
                      <a:pt x="32555" y="12655"/>
                      <a:pt x="27776" y="10551"/>
                      <a:pt x="23057" y="10551"/>
                    </a:cubicBezTo>
                    <a:close/>
                  </a:path>
                </a:pathLst>
              </a:custGeom>
              <a:solidFill>
                <a:schemeClr val="accent1"/>
              </a:solidFill>
              <a:ln w="3004" cap="flat">
                <a:noFill/>
                <a:prstDash val="solid"/>
                <a:miter/>
              </a:ln>
            </p:spPr>
            <p:txBody>
              <a:bodyPr rtlCol="0" anchor="ctr"/>
              <a:lstStyle/>
              <a:p>
                <a:endParaRPr lang="en-GB" dirty="0"/>
              </a:p>
            </p:txBody>
          </p:sp>
        </p:grpSp>
      </p:grpSp>
      <p:grpSp>
        <p:nvGrpSpPr>
          <p:cNvPr id="424" name="Group 1010">
            <a:extLst>
              <a:ext uri="{FF2B5EF4-FFF2-40B4-BE49-F238E27FC236}">
                <a16:creationId xmlns:a16="http://schemas.microsoft.com/office/drawing/2014/main" id="{3DC86A34-8D7B-45E6-873C-91995133E688}"/>
              </a:ext>
            </a:extLst>
          </p:cNvPr>
          <p:cNvGrpSpPr>
            <a:grpSpLocks noChangeAspect="1"/>
          </p:cNvGrpSpPr>
          <p:nvPr/>
        </p:nvGrpSpPr>
        <p:grpSpPr>
          <a:xfrm>
            <a:off x="8011762" y="1626716"/>
            <a:ext cx="681760" cy="432000"/>
            <a:chOff x="3191423" y="1626758"/>
            <a:chExt cx="732372" cy="464070"/>
          </a:xfrm>
        </p:grpSpPr>
        <p:grpSp>
          <p:nvGrpSpPr>
            <p:cNvPr id="425" name="Group 1009">
              <a:extLst>
                <a:ext uri="{FF2B5EF4-FFF2-40B4-BE49-F238E27FC236}">
                  <a16:creationId xmlns:a16="http://schemas.microsoft.com/office/drawing/2014/main" id="{9091876B-73C6-437D-A187-0F5066272C68}"/>
                </a:ext>
              </a:extLst>
            </p:cNvPr>
            <p:cNvGrpSpPr/>
            <p:nvPr/>
          </p:nvGrpSpPr>
          <p:grpSpPr>
            <a:xfrm>
              <a:off x="3191423" y="1626758"/>
              <a:ext cx="732372" cy="404435"/>
              <a:chOff x="3191420" y="1626758"/>
              <a:chExt cx="732371" cy="404435"/>
            </a:xfrm>
          </p:grpSpPr>
          <p:grpSp>
            <p:nvGrpSpPr>
              <p:cNvPr id="432" name="Grafik 19">
                <a:extLst>
                  <a:ext uri="{FF2B5EF4-FFF2-40B4-BE49-F238E27FC236}">
                    <a16:creationId xmlns:a16="http://schemas.microsoft.com/office/drawing/2014/main" id="{9A4E3AC2-30EF-4943-A578-4E371CDBA332}"/>
                  </a:ext>
                </a:extLst>
              </p:cNvPr>
              <p:cNvGrpSpPr/>
              <p:nvPr/>
            </p:nvGrpSpPr>
            <p:grpSpPr>
              <a:xfrm>
                <a:off x="3522693" y="1626758"/>
                <a:ext cx="73161" cy="135743"/>
                <a:chOff x="3522693" y="1626758"/>
                <a:chExt cx="73161" cy="135743"/>
              </a:xfrm>
              <a:solidFill>
                <a:schemeClr val="accent1"/>
              </a:solidFill>
            </p:grpSpPr>
            <p:sp>
              <p:nvSpPr>
                <p:cNvPr id="440" name="Freihandform: Form 439">
                  <a:extLst>
                    <a:ext uri="{FF2B5EF4-FFF2-40B4-BE49-F238E27FC236}">
                      <a16:creationId xmlns:a16="http://schemas.microsoft.com/office/drawing/2014/main" id="{D5113AFF-CE14-4060-8C0D-19D1AD2D1CEE}"/>
                    </a:ext>
                  </a:extLst>
                </p:cNvPr>
                <p:cNvSpPr/>
                <p:nvPr/>
              </p:nvSpPr>
              <p:spPr>
                <a:xfrm>
                  <a:off x="3522693" y="1626758"/>
                  <a:ext cx="73161" cy="73162"/>
                </a:xfrm>
                <a:custGeom>
                  <a:avLst/>
                  <a:gdLst>
                    <a:gd name="connsiteX0" fmla="*/ 36581 w 73161"/>
                    <a:gd name="connsiteY0" fmla="*/ 73162 h 73162"/>
                    <a:gd name="connsiteX1" fmla="*/ 0 w 73161"/>
                    <a:gd name="connsiteY1" fmla="*/ 36581 h 73162"/>
                    <a:gd name="connsiteX2" fmla="*/ 36581 w 73161"/>
                    <a:gd name="connsiteY2" fmla="*/ 0 h 73162"/>
                    <a:gd name="connsiteX3" fmla="*/ 73162 w 73161"/>
                    <a:gd name="connsiteY3" fmla="*/ 36581 h 73162"/>
                    <a:gd name="connsiteX4" fmla="*/ 36581 w 73161"/>
                    <a:gd name="connsiteY4" fmla="*/ 73162 h 73162"/>
                    <a:gd name="connsiteX5" fmla="*/ 36581 w 73161"/>
                    <a:gd name="connsiteY5" fmla="*/ 10550 h 73162"/>
                    <a:gd name="connsiteX6" fmla="*/ 10551 w 73161"/>
                    <a:gd name="connsiteY6" fmla="*/ 36581 h 73162"/>
                    <a:gd name="connsiteX7" fmla="*/ 36581 w 73161"/>
                    <a:gd name="connsiteY7" fmla="*/ 62612 h 73162"/>
                    <a:gd name="connsiteX8" fmla="*/ 62611 w 73161"/>
                    <a:gd name="connsiteY8" fmla="*/ 36581 h 73162"/>
                    <a:gd name="connsiteX9" fmla="*/ 36581 w 73161"/>
                    <a:gd name="connsiteY9" fmla="*/ 10550 h 7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61" h="73162">
                      <a:moveTo>
                        <a:pt x="36581" y="73162"/>
                      </a:moveTo>
                      <a:cubicBezTo>
                        <a:pt x="16412" y="73162"/>
                        <a:pt x="0" y="56750"/>
                        <a:pt x="0" y="36581"/>
                      </a:cubicBezTo>
                      <a:cubicBezTo>
                        <a:pt x="0" y="16412"/>
                        <a:pt x="16412" y="0"/>
                        <a:pt x="36581" y="0"/>
                      </a:cubicBezTo>
                      <a:cubicBezTo>
                        <a:pt x="56750" y="0"/>
                        <a:pt x="73162" y="16412"/>
                        <a:pt x="73162" y="36581"/>
                      </a:cubicBezTo>
                      <a:cubicBezTo>
                        <a:pt x="73132" y="56750"/>
                        <a:pt x="56750" y="73162"/>
                        <a:pt x="36581" y="73162"/>
                      </a:cubicBezTo>
                      <a:close/>
                      <a:moveTo>
                        <a:pt x="36581" y="10550"/>
                      </a:moveTo>
                      <a:cubicBezTo>
                        <a:pt x="22243" y="10550"/>
                        <a:pt x="10551" y="22213"/>
                        <a:pt x="10551" y="36581"/>
                      </a:cubicBezTo>
                      <a:cubicBezTo>
                        <a:pt x="10551" y="50919"/>
                        <a:pt x="22213" y="62612"/>
                        <a:pt x="36581" y="62612"/>
                      </a:cubicBezTo>
                      <a:cubicBezTo>
                        <a:pt x="50919" y="62612"/>
                        <a:pt x="62611" y="50949"/>
                        <a:pt x="62611" y="36581"/>
                      </a:cubicBezTo>
                      <a:cubicBezTo>
                        <a:pt x="62582" y="22213"/>
                        <a:pt x="50919" y="10550"/>
                        <a:pt x="36581" y="10550"/>
                      </a:cubicBezTo>
                      <a:close/>
                    </a:path>
                  </a:pathLst>
                </a:custGeom>
                <a:solidFill>
                  <a:schemeClr val="accent1"/>
                </a:solidFill>
                <a:ln w="3004" cap="flat">
                  <a:noFill/>
                  <a:prstDash val="solid"/>
                  <a:miter/>
                </a:ln>
              </p:spPr>
              <p:txBody>
                <a:bodyPr rtlCol="0" anchor="ctr"/>
                <a:lstStyle/>
                <a:p>
                  <a:endParaRPr lang="en-GB" dirty="0"/>
                </a:p>
              </p:txBody>
            </p:sp>
            <p:sp>
              <p:nvSpPr>
                <p:cNvPr id="441" name="Freihandform: Form 440">
                  <a:extLst>
                    <a:ext uri="{FF2B5EF4-FFF2-40B4-BE49-F238E27FC236}">
                      <a16:creationId xmlns:a16="http://schemas.microsoft.com/office/drawing/2014/main" id="{534E5799-A67F-4B88-A3D5-46B788443A1D}"/>
                    </a:ext>
                  </a:extLst>
                </p:cNvPr>
                <p:cNvSpPr/>
                <p:nvPr/>
              </p:nvSpPr>
              <p:spPr>
                <a:xfrm>
                  <a:off x="3554014" y="1689369"/>
                  <a:ext cx="10520" cy="73131"/>
                </a:xfrm>
                <a:custGeom>
                  <a:avLst/>
                  <a:gdLst>
                    <a:gd name="connsiteX0" fmla="*/ 5260 w 10520"/>
                    <a:gd name="connsiteY0" fmla="*/ 73132 h 73131"/>
                    <a:gd name="connsiteX1" fmla="*/ 0 w 10520"/>
                    <a:gd name="connsiteY1" fmla="*/ 67872 h 73131"/>
                    <a:gd name="connsiteX2" fmla="*/ 0 w 10520"/>
                    <a:gd name="connsiteY2" fmla="*/ 5260 h 73131"/>
                    <a:gd name="connsiteX3" fmla="*/ 5260 w 10520"/>
                    <a:gd name="connsiteY3" fmla="*/ 0 h 73131"/>
                    <a:gd name="connsiteX4" fmla="*/ 10520 w 10520"/>
                    <a:gd name="connsiteY4" fmla="*/ 5260 h 73131"/>
                    <a:gd name="connsiteX5" fmla="*/ 10520 w 10520"/>
                    <a:gd name="connsiteY5" fmla="*/ 67872 h 73131"/>
                    <a:gd name="connsiteX6" fmla="*/ 5260 w 10520"/>
                    <a:gd name="connsiteY6" fmla="*/ 73132 h 73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73131">
                      <a:moveTo>
                        <a:pt x="5260" y="73132"/>
                      </a:moveTo>
                      <a:cubicBezTo>
                        <a:pt x="2345" y="73132"/>
                        <a:pt x="0" y="70757"/>
                        <a:pt x="0" y="67872"/>
                      </a:cubicBezTo>
                      <a:lnTo>
                        <a:pt x="0" y="5260"/>
                      </a:lnTo>
                      <a:cubicBezTo>
                        <a:pt x="0" y="2345"/>
                        <a:pt x="2375" y="0"/>
                        <a:pt x="5260" y="0"/>
                      </a:cubicBezTo>
                      <a:cubicBezTo>
                        <a:pt x="8176" y="0"/>
                        <a:pt x="10520" y="2375"/>
                        <a:pt x="10520" y="5260"/>
                      </a:cubicBezTo>
                      <a:lnTo>
                        <a:pt x="10520" y="67872"/>
                      </a:lnTo>
                      <a:cubicBezTo>
                        <a:pt x="10520" y="70787"/>
                        <a:pt x="8176" y="73132"/>
                        <a:pt x="5260" y="73132"/>
                      </a:cubicBezTo>
                      <a:close/>
                    </a:path>
                  </a:pathLst>
                </a:custGeom>
                <a:solidFill>
                  <a:schemeClr val="accent1"/>
                </a:solidFill>
                <a:ln w="3004" cap="flat">
                  <a:noFill/>
                  <a:prstDash val="solid"/>
                  <a:miter/>
                </a:ln>
              </p:spPr>
              <p:txBody>
                <a:bodyPr rtlCol="0" anchor="ctr"/>
                <a:lstStyle/>
                <a:p>
                  <a:endParaRPr lang="en-GB" dirty="0"/>
                </a:p>
              </p:txBody>
            </p:sp>
          </p:grpSp>
          <p:grpSp>
            <p:nvGrpSpPr>
              <p:cNvPr id="433" name="Grafik 19">
                <a:extLst>
                  <a:ext uri="{FF2B5EF4-FFF2-40B4-BE49-F238E27FC236}">
                    <a16:creationId xmlns:a16="http://schemas.microsoft.com/office/drawing/2014/main" id="{B39FBB07-CCD5-4F87-B18F-682D1689996D}"/>
                  </a:ext>
                </a:extLst>
              </p:cNvPr>
              <p:cNvGrpSpPr/>
              <p:nvPr/>
            </p:nvGrpSpPr>
            <p:grpSpPr>
              <a:xfrm>
                <a:off x="3191420" y="1958031"/>
                <a:ext cx="135743" cy="73162"/>
                <a:chOff x="3191420" y="1958031"/>
                <a:chExt cx="135743" cy="73162"/>
              </a:xfrm>
              <a:solidFill>
                <a:schemeClr val="accent1"/>
              </a:solidFill>
            </p:grpSpPr>
            <p:sp>
              <p:nvSpPr>
                <p:cNvPr id="438" name="Freihandform: Form 437">
                  <a:extLst>
                    <a:ext uri="{FF2B5EF4-FFF2-40B4-BE49-F238E27FC236}">
                      <a16:creationId xmlns:a16="http://schemas.microsoft.com/office/drawing/2014/main" id="{6B00269D-8592-4ED1-BA60-5647AD16CB81}"/>
                    </a:ext>
                  </a:extLst>
                </p:cNvPr>
                <p:cNvSpPr/>
                <p:nvPr/>
              </p:nvSpPr>
              <p:spPr>
                <a:xfrm>
                  <a:off x="3191420" y="1958031"/>
                  <a:ext cx="73162" cy="73162"/>
                </a:xfrm>
                <a:custGeom>
                  <a:avLst/>
                  <a:gdLst>
                    <a:gd name="connsiteX0" fmla="*/ 36581 w 73162"/>
                    <a:gd name="connsiteY0" fmla="*/ 73162 h 73162"/>
                    <a:gd name="connsiteX1" fmla="*/ 0 w 73162"/>
                    <a:gd name="connsiteY1" fmla="*/ 36581 h 73162"/>
                    <a:gd name="connsiteX2" fmla="*/ 36581 w 73162"/>
                    <a:gd name="connsiteY2" fmla="*/ 0 h 73162"/>
                    <a:gd name="connsiteX3" fmla="*/ 73162 w 73162"/>
                    <a:gd name="connsiteY3" fmla="*/ 36581 h 73162"/>
                    <a:gd name="connsiteX4" fmla="*/ 36581 w 73162"/>
                    <a:gd name="connsiteY4" fmla="*/ 73162 h 73162"/>
                    <a:gd name="connsiteX5" fmla="*/ 36581 w 73162"/>
                    <a:gd name="connsiteY5" fmla="*/ 10550 h 73162"/>
                    <a:gd name="connsiteX6" fmla="*/ 10551 w 73162"/>
                    <a:gd name="connsiteY6" fmla="*/ 36581 h 73162"/>
                    <a:gd name="connsiteX7" fmla="*/ 36581 w 73162"/>
                    <a:gd name="connsiteY7" fmla="*/ 62612 h 73162"/>
                    <a:gd name="connsiteX8" fmla="*/ 62612 w 73162"/>
                    <a:gd name="connsiteY8" fmla="*/ 36581 h 73162"/>
                    <a:gd name="connsiteX9" fmla="*/ 36581 w 73162"/>
                    <a:gd name="connsiteY9" fmla="*/ 10550 h 7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62" h="73162">
                      <a:moveTo>
                        <a:pt x="36581" y="73162"/>
                      </a:moveTo>
                      <a:cubicBezTo>
                        <a:pt x="16412" y="73162"/>
                        <a:pt x="0" y="56750"/>
                        <a:pt x="0" y="36581"/>
                      </a:cubicBezTo>
                      <a:cubicBezTo>
                        <a:pt x="0" y="16412"/>
                        <a:pt x="16412" y="0"/>
                        <a:pt x="36581" y="0"/>
                      </a:cubicBezTo>
                      <a:cubicBezTo>
                        <a:pt x="56750" y="0"/>
                        <a:pt x="73162" y="16412"/>
                        <a:pt x="73162" y="36581"/>
                      </a:cubicBezTo>
                      <a:cubicBezTo>
                        <a:pt x="73162" y="56750"/>
                        <a:pt x="56750" y="73162"/>
                        <a:pt x="36581" y="73162"/>
                      </a:cubicBezTo>
                      <a:close/>
                      <a:moveTo>
                        <a:pt x="36581" y="10550"/>
                      </a:moveTo>
                      <a:cubicBezTo>
                        <a:pt x="22243" y="10550"/>
                        <a:pt x="10551" y="22213"/>
                        <a:pt x="10551" y="36581"/>
                      </a:cubicBezTo>
                      <a:cubicBezTo>
                        <a:pt x="10551" y="50919"/>
                        <a:pt x="22213" y="62612"/>
                        <a:pt x="36581" y="62612"/>
                      </a:cubicBezTo>
                      <a:cubicBezTo>
                        <a:pt x="50949" y="62612"/>
                        <a:pt x="62612" y="50949"/>
                        <a:pt x="62612" y="36581"/>
                      </a:cubicBezTo>
                      <a:cubicBezTo>
                        <a:pt x="62612" y="22213"/>
                        <a:pt x="50919" y="10550"/>
                        <a:pt x="36581" y="10550"/>
                      </a:cubicBezTo>
                      <a:close/>
                    </a:path>
                  </a:pathLst>
                </a:custGeom>
                <a:solidFill>
                  <a:schemeClr val="accent1"/>
                </a:solidFill>
                <a:ln w="3004" cap="flat">
                  <a:noFill/>
                  <a:prstDash val="solid"/>
                  <a:miter/>
                </a:ln>
              </p:spPr>
              <p:txBody>
                <a:bodyPr rtlCol="0" anchor="ctr"/>
                <a:lstStyle/>
                <a:p>
                  <a:endParaRPr lang="en-GB" dirty="0"/>
                </a:p>
              </p:txBody>
            </p:sp>
            <p:sp>
              <p:nvSpPr>
                <p:cNvPr id="439" name="Freihandform: Form 438">
                  <a:extLst>
                    <a:ext uri="{FF2B5EF4-FFF2-40B4-BE49-F238E27FC236}">
                      <a16:creationId xmlns:a16="http://schemas.microsoft.com/office/drawing/2014/main" id="{91E5FBD1-C31B-4874-BBC7-BF7C6A75AE29}"/>
                    </a:ext>
                  </a:extLst>
                </p:cNvPr>
                <p:cNvSpPr/>
                <p:nvPr/>
              </p:nvSpPr>
              <p:spPr>
                <a:xfrm>
                  <a:off x="3254031" y="1989351"/>
                  <a:ext cx="73132" cy="10520"/>
                </a:xfrm>
                <a:custGeom>
                  <a:avLst/>
                  <a:gdLst>
                    <a:gd name="connsiteX0" fmla="*/ 67872 w 73132"/>
                    <a:gd name="connsiteY0" fmla="*/ 10520 h 10520"/>
                    <a:gd name="connsiteX1" fmla="*/ 5260 w 73132"/>
                    <a:gd name="connsiteY1" fmla="*/ 10520 h 10520"/>
                    <a:gd name="connsiteX2" fmla="*/ 0 w 73132"/>
                    <a:gd name="connsiteY2" fmla="*/ 5260 h 10520"/>
                    <a:gd name="connsiteX3" fmla="*/ 5260 w 73132"/>
                    <a:gd name="connsiteY3" fmla="*/ 0 h 10520"/>
                    <a:gd name="connsiteX4" fmla="*/ 67872 w 73132"/>
                    <a:gd name="connsiteY4" fmla="*/ 0 h 10520"/>
                    <a:gd name="connsiteX5" fmla="*/ 73132 w 73132"/>
                    <a:gd name="connsiteY5" fmla="*/ 5260 h 10520"/>
                    <a:gd name="connsiteX6" fmla="*/ 67872 w 73132"/>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32" h="10520">
                      <a:moveTo>
                        <a:pt x="67872" y="10520"/>
                      </a:moveTo>
                      <a:lnTo>
                        <a:pt x="5260" y="10520"/>
                      </a:lnTo>
                      <a:cubicBezTo>
                        <a:pt x="2344" y="10520"/>
                        <a:pt x="0" y="8146"/>
                        <a:pt x="0" y="5260"/>
                      </a:cubicBezTo>
                      <a:cubicBezTo>
                        <a:pt x="0" y="2345"/>
                        <a:pt x="2375" y="0"/>
                        <a:pt x="5260" y="0"/>
                      </a:cubicBezTo>
                      <a:lnTo>
                        <a:pt x="67872" y="0"/>
                      </a:lnTo>
                      <a:cubicBezTo>
                        <a:pt x="70787" y="0"/>
                        <a:pt x="73132" y="2375"/>
                        <a:pt x="73132" y="5260"/>
                      </a:cubicBezTo>
                      <a:cubicBezTo>
                        <a:pt x="73132" y="8176"/>
                        <a:pt x="70787" y="10520"/>
                        <a:pt x="67872" y="10520"/>
                      </a:cubicBezTo>
                      <a:close/>
                    </a:path>
                  </a:pathLst>
                </a:custGeom>
                <a:solidFill>
                  <a:schemeClr val="accent1"/>
                </a:solidFill>
                <a:ln w="3004" cap="flat">
                  <a:noFill/>
                  <a:prstDash val="solid"/>
                  <a:miter/>
                </a:ln>
              </p:spPr>
              <p:txBody>
                <a:bodyPr rtlCol="0" anchor="ctr"/>
                <a:lstStyle/>
                <a:p>
                  <a:endParaRPr lang="en-GB" dirty="0"/>
                </a:p>
              </p:txBody>
            </p:sp>
          </p:grpSp>
          <p:grpSp>
            <p:nvGrpSpPr>
              <p:cNvPr id="434" name="Grafik 19">
                <a:extLst>
                  <a:ext uri="{FF2B5EF4-FFF2-40B4-BE49-F238E27FC236}">
                    <a16:creationId xmlns:a16="http://schemas.microsoft.com/office/drawing/2014/main" id="{F3F02C9F-D5B4-4EC1-88A6-75364DAE65E8}"/>
                  </a:ext>
                </a:extLst>
              </p:cNvPr>
              <p:cNvGrpSpPr/>
              <p:nvPr/>
            </p:nvGrpSpPr>
            <p:grpSpPr>
              <a:xfrm>
                <a:off x="3788018" y="1958031"/>
                <a:ext cx="135773" cy="73162"/>
                <a:chOff x="3788018" y="1958031"/>
                <a:chExt cx="135773" cy="73162"/>
              </a:xfrm>
              <a:solidFill>
                <a:schemeClr val="accent1"/>
              </a:solidFill>
            </p:grpSpPr>
            <p:sp>
              <p:nvSpPr>
                <p:cNvPr id="436" name="Freihandform: Form 435">
                  <a:extLst>
                    <a:ext uri="{FF2B5EF4-FFF2-40B4-BE49-F238E27FC236}">
                      <a16:creationId xmlns:a16="http://schemas.microsoft.com/office/drawing/2014/main" id="{3A0EC1AD-07E1-4621-9DA2-56E7492733D5}"/>
                    </a:ext>
                  </a:extLst>
                </p:cNvPr>
                <p:cNvSpPr/>
                <p:nvPr/>
              </p:nvSpPr>
              <p:spPr>
                <a:xfrm>
                  <a:off x="3850630" y="1958031"/>
                  <a:ext cx="73162" cy="73162"/>
                </a:xfrm>
                <a:custGeom>
                  <a:avLst/>
                  <a:gdLst>
                    <a:gd name="connsiteX0" fmla="*/ 36581 w 73162"/>
                    <a:gd name="connsiteY0" fmla="*/ 73162 h 73162"/>
                    <a:gd name="connsiteX1" fmla="*/ 0 w 73162"/>
                    <a:gd name="connsiteY1" fmla="*/ 36581 h 73162"/>
                    <a:gd name="connsiteX2" fmla="*/ 36581 w 73162"/>
                    <a:gd name="connsiteY2" fmla="*/ 0 h 73162"/>
                    <a:gd name="connsiteX3" fmla="*/ 73162 w 73162"/>
                    <a:gd name="connsiteY3" fmla="*/ 36581 h 73162"/>
                    <a:gd name="connsiteX4" fmla="*/ 36581 w 73162"/>
                    <a:gd name="connsiteY4" fmla="*/ 73162 h 73162"/>
                    <a:gd name="connsiteX5" fmla="*/ 36581 w 73162"/>
                    <a:gd name="connsiteY5" fmla="*/ 10550 h 73162"/>
                    <a:gd name="connsiteX6" fmla="*/ 10551 w 73162"/>
                    <a:gd name="connsiteY6" fmla="*/ 36581 h 73162"/>
                    <a:gd name="connsiteX7" fmla="*/ 36581 w 73162"/>
                    <a:gd name="connsiteY7" fmla="*/ 62612 h 73162"/>
                    <a:gd name="connsiteX8" fmla="*/ 62612 w 73162"/>
                    <a:gd name="connsiteY8" fmla="*/ 36581 h 73162"/>
                    <a:gd name="connsiteX9" fmla="*/ 36581 w 73162"/>
                    <a:gd name="connsiteY9" fmla="*/ 10550 h 7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62" h="73162">
                      <a:moveTo>
                        <a:pt x="36581" y="73162"/>
                      </a:moveTo>
                      <a:cubicBezTo>
                        <a:pt x="16412" y="73162"/>
                        <a:pt x="0" y="56750"/>
                        <a:pt x="0" y="36581"/>
                      </a:cubicBezTo>
                      <a:cubicBezTo>
                        <a:pt x="0" y="16412"/>
                        <a:pt x="16412" y="0"/>
                        <a:pt x="36581" y="0"/>
                      </a:cubicBezTo>
                      <a:cubicBezTo>
                        <a:pt x="56750" y="0"/>
                        <a:pt x="73162" y="16412"/>
                        <a:pt x="73162" y="36581"/>
                      </a:cubicBezTo>
                      <a:cubicBezTo>
                        <a:pt x="73132" y="56750"/>
                        <a:pt x="56750" y="73162"/>
                        <a:pt x="36581" y="73162"/>
                      </a:cubicBezTo>
                      <a:close/>
                      <a:moveTo>
                        <a:pt x="36581" y="10550"/>
                      </a:moveTo>
                      <a:cubicBezTo>
                        <a:pt x="22213" y="10550"/>
                        <a:pt x="10551" y="22213"/>
                        <a:pt x="10551" y="36581"/>
                      </a:cubicBezTo>
                      <a:cubicBezTo>
                        <a:pt x="10551" y="50949"/>
                        <a:pt x="22213" y="62612"/>
                        <a:pt x="36581" y="62612"/>
                      </a:cubicBezTo>
                      <a:cubicBezTo>
                        <a:pt x="50919" y="62612"/>
                        <a:pt x="62612" y="50949"/>
                        <a:pt x="62612" y="36581"/>
                      </a:cubicBezTo>
                      <a:cubicBezTo>
                        <a:pt x="62582" y="22213"/>
                        <a:pt x="50919" y="10550"/>
                        <a:pt x="36581" y="10550"/>
                      </a:cubicBezTo>
                      <a:close/>
                    </a:path>
                  </a:pathLst>
                </a:custGeom>
                <a:solidFill>
                  <a:schemeClr val="accent1"/>
                </a:solidFill>
                <a:ln w="3004" cap="flat">
                  <a:noFill/>
                  <a:prstDash val="solid"/>
                  <a:miter/>
                </a:ln>
              </p:spPr>
              <p:txBody>
                <a:bodyPr rtlCol="0" anchor="ctr"/>
                <a:lstStyle/>
                <a:p>
                  <a:endParaRPr lang="en-GB" dirty="0"/>
                </a:p>
              </p:txBody>
            </p:sp>
            <p:sp>
              <p:nvSpPr>
                <p:cNvPr id="437" name="Freihandform: Form 436">
                  <a:extLst>
                    <a:ext uri="{FF2B5EF4-FFF2-40B4-BE49-F238E27FC236}">
                      <a16:creationId xmlns:a16="http://schemas.microsoft.com/office/drawing/2014/main" id="{E34019FA-362F-4418-A569-4D5FE8613421}"/>
                    </a:ext>
                  </a:extLst>
                </p:cNvPr>
                <p:cNvSpPr/>
                <p:nvPr/>
              </p:nvSpPr>
              <p:spPr>
                <a:xfrm>
                  <a:off x="3788018" y="1989351"/>
                  <a:ext cx="73132" cy="10520"/>
                </a:xfrm>
                <a:custGeom>
                  <a:avLst/>
                  <a:gdLst>
                    <a:gd name="connsiteX0" fmla="*/ 67872 w 73132"/>
                    <a:gd name="connsiteY0" fmla="*/ 10520 h 10520"/>
                    <a:gd name="connsiteX1" fmla="*/ 5260 w 73132"/>
                    <a:gd name="connsiteY1" fmla="*/ 10520 h 10520"/>
                    <a:gd name="connsiteX2" fmla="*/ 0 w 73132"/>
                    <a:gd name="connsiteY2" fmla="*/ 5260 h 10520"/>
                    <a:gd name="connsiteX3" fmla="*/ 5260 w 73132"/>
                    <a:gd name="connsiteY3" fmla="*/ 0 h 10520"/>
                    <a:gd name="connsiteX4" fmla="*/ 67872 w 73132"/>
                    <a:gd name="connsiteY4" fmla="*/ 0 h 10520"/>
                    <a:gd name="connsiteX5" fmla="*/ 73132 w 73132"/>
                    <a:gd name="connsiteY5" fmla="*/ 5260 h 10520"/>
                    <a:gd name="connsiteX6" fmla="*/ 67872 w 73132"/>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132" h="10520">
                      <a:moveTo>
                        <a:pt x="67872" y="10520"/>
                      </a:moveTo>
                      <a:lnTo>
                        <a:pt x="5260" y="10520"/>
                      </a:lnTo>
                      <a:cubicBezTo>
                        <a:pt x="2345" y="10520"/>
                        <a:pt x="0" y="8146"/>
                        <a:pt x="0" y="5260"/>
                      </a:cubicBezTo>
                      <a:cubicBezTo>
                        <a:pt x="0" y="2345"/>
                        <a:pt x="2375" y="0"/>
                        <a:pt x="5260" y="0"/>
                      </a:cubicBezTo>
                      <a:lnTo>
                        <a:pt x="67872" y="0"/>
                      </a:lnTo>
                      <a:cubicBezTo>
                        <a:pt x="70788" y="0"/>
                        <a:pt x="73132" y="2375"/>
                        <a:pt x="73132" y="5260"/>
                      </a:cubicBezTo>
                      <a:cubicBezTo>
                        <a:pt x="73162" y="8146"/>
                        <a:pt x="70788" y="10520"/>
                        <a:pt x="67872" y="10520"/>
                      </a:cubicBezTo>
                      <a:close/>
                    </a:path>
                  </a:pathLst>
                </a:custGeom>
                <a:solidFill>
                  <a:schemeClr val="accent1"/>
                </a:solidFill>
                <a:ln w="3004" cap="flat">
                  <a:noFill/>
                  <a:prstDash val="solid"/>
                  <a:miter/>
                </a:ln>
              </p:spPr>
              <p:txBody>
                <a:bodyPr rtlCol="0" anchor="ctr"/>
                <a:lstStyle/>
                <a:p>
                  <a:endParaRPr lang="en-GB" dirty="0"/>
                </a:p>
              </p:txBody>
            </p:sp>
          </p:grpSp>
          <p:sp>
            <p:nvSpPr>
              <p:cNvPr id="435" name="Freihandform: Form 434">
                <a:extLst>
                  <a:ext uri="{FF2B5EF4-FFF2-40B4-BE49-F238E27FC236}">
                    <a16:creationId xmlns:a16="http://schemas.microsoft.com/office/drawing/2014/main" id="{BB54BB59-A7EA-4535-9BB4-05ECA6E40806}"/>
                  </a:ext>
                </a:extLst>
              </p:cNvPr>
              <p:cNvSpPr/>
              <p:nvPr/>
            </p:nvSpPr>
            <p:spPr>
              <a:xfrm>
                <a:off x="3316072" y="1753393"/>
                <a:ext cx="481114" cy="245817"/>
              </a:xfrm>
              <a:custGeom>
                <a:avLst/>
                <a:gdLst>
                  <a:gd name="connsiteX0" fmla="*/ 475794 w 481114"/>
                  <a:gd name="connsiteY0" fmla="*/ 245817 h 245817"/>
                  <a:gd name="connsiteX1" fmla="*/ 470534 w 481114"/>
                  <a:gd name="connsiteY1" fmla="*/ 240557 h 245817"/>
                  <a:gd name="connsiteX2" fmla="*/ 240527 w 481114"/>
                  <a:gd name="connsiteY2" fmla="*/ 10550 h 245817"/>
                  <a:gd name="connsiteX3" fmla="*/ 10520 w 481114"/>
                  <a:gd name="connsiteY3" fmla="*/ 240557 h 245817"/>
                  <a:gd name="connsiteX4" fmla="*/ 5260 w 481114"/>
                  <a:gd name="connsiteY4" fmla="*/ 245817 h 245817"/>
                  <a:gd name="connsiteX5" fmla="*/ 0 w 481114"/>
                  <a:gd name="connsiteY5" fmla="*/ 240557 h 245817"/>
                  <a:gd name="connsiteX6" fmla="*/ 240557 w 481114"/>
                  <a:gd name="connsiteY6" fmla="*/ 0 h 245817"/>
                  <a:gd name="connsiteX7" fmla="*/ 481114 w 481114"/>
                  <a:gd name="connsiteY7" fmla="*/ 240557 h 245817"/>
                  <a:gd name="connsiteX8" fmla="*/ 475794 w 481114"/>
                  <a:gd name="connsiteY8" fmla="*/ 245817 h 24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1114" h="245817">
                    <a:moveTo>
                      <a:pt x="475794" y="245817"/>
                    </a:moveTo>
                    <a:cubicBezTo>
                      <a:pt x="472878" y="245817"/>
                      <a:pt x="470534" y="243443"/>
                      <a:pt x="470534" y="240557"/>
                    </a:cubicBezTo>
                    <a:cubicBezTo>
                      <a:pt x="470534" y="113741"/>
                      <a:pt x="367343" y="10550"/>
                      <a:pt x="240527" y="10550"/>
                    </a:cubicBezTo>
                    <a:cubicBezTo>
                      <a:pt x="113711" y="10550"/>
                      <a:pt x="10520" y="113741"/>
                      <a:pt x="10520" y="240557"/>
                    </a:cubicBezTo>
                    <a:cubicBezTo>
                      <a:pt x="10520" y="243473"/>
                      <a:pt x="8146" y="245817"/>
                      <a:pt x="5260" y="245817"/>
                    </a:cubicBezTo>
                    <a:cubicBezTo>
                      <a:pt x="2344" y="245817"/>
                      <a:pt x="0" y="243443"/>
                      <a:pt x="0" y="240557"/>
                    </a:cubicBezTo>
                    <a:cubicBezTo>
                      <a:pt x="0" y="107910"/>
                      <a:pt x="107909" y="0"/>
                      <a:pt x="240557" y="0"/>
                    </a:cubicBezTo>
                    <a:cubicBezTo>
                      <a:pt x="373205" y="0"/>
                      <a:pt x="481114" y="107910"/>
                      <a:pt x="481114" y="240557"/>
                    </a:cubicBezTo>
                    <a:cubicBezTo>
                      <a:pt x="481054" y="243443"/>
                      <a:pt x="478709" y="245817"/>
                      <a:pt x="475794" y="245817"/>
                    </a:cubicBezTo>
                    <a:close/>
                  </a:path>
                </a:pathLst>
              </a:custGeom>
              <a:solidFill>
                <a:schemeClr val="accent1"/>
              </a:solidFill>
              <a:ln w="3004" cap="flat">
                <a:noFill/>
                <a:prstDash val="solid"/>
                <a:miter/>
              </a:ln>
            </p:spPr>
            <p:txBody>
              <a:bodyPr rtlCol="0" anchor="ctr"/>
              <a:lstStyle/>
              <a:p>
                <a:endParaRPr lang="en-GB" dirty="0"/>
              </a:p>
            </p:txBody>
          </p:sp>
        </p:grpSp>
        <p:grpSp>
          <p:nvGrpSpPr>
            <p:cNvPr id="426" name="Group 1008">
              <a:extLst>
                <a:ext uri="{FF2B5EF4-FFF2-40B4-BE49-F238E27FC236}">
                  <a16:creationId xmlns:a16="http://schemas.microsoft.com/office/drawing/2014/main" id="{A0D186B0-ADA4-4BB2-8524-6A9A55C61989}"/>
                </a:ext>
              </a:extLst>
            </p:cNvPr>
            <p:cNvGrpSpPr/>
            <p:nvPr/>
          </p:nvGrpSpPr>
          <p:grpSpPr>
            <a:xfrm>
              <a:off x="3373027" y="1833701"/>
              <a:ext cx="367027" cy="257127"/>
              <a:chOff x="3373027" y="1833701"/>
              <a:chExt cx="367027" cy="257127"/>
            </a:xfrm>
          </p:grpSpPr>
          <p:sp>
            <p:nvSpPr>
              <p:cNvPr id="427" name="Freihandform: Form 426">
                <a:extLst>
                  <a:ext uri="{FF2B5EF4-FFF2-40B4-BE49-F238E27FC236}">
                    <a16:creationId xmlns:a16="http://schemas.microsoft.com/office/drawing/2014/main" id="{C639095B-B288-4E78-B5F7-9EE01962E47E}"/>
                  </a:ext>
                </a:extLst>
              </p:cNvPr>
              <p:cNvSpPr/>
              <p:nvPr/>
            </p:nvSpPr>
            <p:spPr>
              <a:xfrm>
                <a:off x="3435338" y="1865110"/>
                <a:ext cx="129918" cy="126285"/>
              </a:xfrm>
              <a:custGeom>
                <a:avLst/>
                <a:gdLst>
                  <a:gd name="connsiteX0" fmla="*/ 124627 w 129918"/>
                  <a:gd name="connsiteY0" fmla="*/ 126285 h 126285"/>
                  <a:gd name="connsiteX1" fmla="*/ 122132 w 129918"/>
                  <a:gd name="connsiteY1" fmla="*/ 125654 h 126285"/>
                  <a:gd name="connsiteX2" fmla="*/ 2771 w 129918"/>
                  <a:gd name="connsiteY2" fmla="*/ 60938 h 126285"/>
                  <a:gd name="connsiteX3" fmla="*/ 5 w 129918"/>
                  <a:gd name="connsiteY3" fmla="*/ 56069 h 126285"/>
                  <a:gd name="connsiteX4" fmla="*/ 3161 w 129918"/>
                  <a:gd name="connsiteY4" fmla="*/ 51470 h 126285"/>
                  <a:gd name="connsiteX5" fmla="*/ 120659 w 129918"/>
                  <a:gd name="connsiteY5" fmla="*/ 431 h 126285"/>
                  <a:gd name="connsiteX6" fmla="*/ 127603 w 129918"/>
                  <a:gd name="connsiteY6" fmla="*/ 3166 h 126285"/>
                  <a:gd name="connsiteX7" fmla="*/ 124868 w 129918"/>
                  <a:gd name="connsiteY7" fmla="*/ 10110 h 126285"/>
                  <a:gd name="connsiteX8" fmla="*/ 17319 w 129918"/>
                  <a:gd name="connsiteY8" fmla="*/ 56820 h 126285"/>
                  <a:gd name="connsiteX9" fmla="*/ 127152 w 129918"/>
                  <a:gd name="connsiteY9" fmla="*/ 116366 h 126285"/>
                  <a:gd name="connsiteX10" fmla="*/ 129286 w 129918"/>
                  <a:gd name="connsiteY10" fmla="*/ 123520 h 126285"/>
                  <a:gd name="connsiteX11" fmla="*/ 124627 w 129918"/>
                  <a:gd name="connsiteY11" fmla="*/ 126285 h 126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9918" h="126285">
                    <a:moveTo>
                      <a:pt x="124627" y="126285"/>
                    </a:moveTo>
                    <a:cubicBezTo>
                      <a:pt x="123786" y="126285"/>
                      <a:pt x="122914" y="126075"/>
                      <a:pt x="122132" y="125654"/>
                    </a:cubicBezTo>
                    <a:lnTo>
                      <a:pt x="2771" y="60938"/>
                    </a:lnTo>
                    <a:cubicBezTo>
                      <a:pt x="997" y="59977"/>
                      <a:pt x="-85" y="58083"/>
                      <a:pt x="5" y="56069"/>
                    </a:cubicBezTo>
                    <a:cubicBezTo>
                      <a:pt x="95" y="54055"/>
                      <a:pt x="1328" y="52252"/>
                      <a:pt x="3161" y="51470"/>
                    </a:cubicBezTo>
                    <a:lnTo>
                      <a:pt x="120659" y="431"/>
                    </a:lnTo>
                    <a:cubicBezTo>
                      <a:pt x="123335" y="-711"/>
                      <a:pt x="126461" y="491"/>
                      <a:pt x="127603" y="3166"/>
                    </a:cubicBezTo>
                    <a:cubicBezTo>
                      <a:pt x="128775" y="5841"/>
                      <a:pt x="127543" y="8937"/>
                      <a:pt x="124868" y="10110"/>
                    </a:cubicBezTo>
                    <a:lnTo>
                      <a:pt x="17319" y="56820"/>
                    </a:lnTo>
                    <a:lnTo>
                      <a:pt x="127152" y="116366"/>
                    </a:lnTo>
                    <a:cubicBezTo>
                      <a:pt x="129707" y="117749"/>
                      <a:pt x="130669" y="120965"/>
                      <a:pt x="129286" y="123520"/>
                    </a:cubicBezTo>
                    <a:cubicBezTo>
                      <a:pt x="128324" y="125263"/>
                      <a:pt x="126491" y="126285"/>
                      <a:pt x="124627" y="126285"/>
                    </a:cubicBezTo>
                    <a:close/>
                  </a:path>
                </a:pathLst>
              </a:custGeom>
              <a:solidFill>
                <a:schemeClr val="tx2"/>
              </a:solidFill>
              <a:ln w="3004" cap="flat">
                <a:noFill/>
                <a:prstDash val="solid"/>
                <a:miter/>
              </a:ln>
            </p:spPr>
            <p:txBody>
              <a:bodyPr rtlCol="0" anchor="ctr"/>
              <a:lstStyle/>
              <a:p>
                <a:endParaRPr lang="en-GB" dirty="0"/>
              </a:p>
            </p:txBody>
          </p:sp>
          <p:sp>
            <p:nvSpPr>
              <p:cNvPr id="428" name="Freihandform: Form 427">
                <a:extLst>
                  <a:ext uri="{FF2B5EF4-FFF2-40B4-BE49-F238E27FC236}">
                    <a16:creationId xmlns:a16="http://schemas.microsoft.com/office/drawing/2014/main" id="{2532AC7A-73D2-4234-A9C5-13B79F54E205}"/>
                  </a:ext>
                </a:extLst>
              </p:cNvPr>
              <p:cNvSpPr/>
              <p:nvPr/>
            </p:nvSpPr>
            <p:spPr>
              <a:xfrm>
                <a:off x="3455062" y="1959504"/>
                <a:ext cx="209476" cy="131324"/>
              </a:xfrm>
              <a:custGeom>
                <a:avLst/>
                <a:gdLst>
                  <a:gd name="connsiteX0" fmla="*/ 104753 w 209476"/>
                  <a:gd name="connsiteY0" fmla="*/ 131325 h 131324"/>
                  <a:gd name="connsiteX1" fmla="*/ 0 w 209476"/>
                  <a:gd name="connsiteY1" fmla="*/ 65738 h 131324"/>
                  <a:gd name="connsiteX2" fmla="*/ 0 w 209476"/>
                  <a:gd name="connsiteY2" fmla="*/ 5260 h 131324"/>
                  <a:gd name="connsiteX3" fmla="*/ 5260 w 209476"/>
                  <a:gd name="connsiteY3" fmla="*/ 0 h 131324"/>
                  <a:gd name="connsiteX4" fmla="*/ 10520 w 209476"/>
                  <a:gd name="connsiteY4" fmla="*/ 5260 h 131324"/>
                  <a:gd name="connsiteX5" fmla="*/ 10520 w 209476"/>
                  <a:gd name="connsiteY5" fmla="*/ 65738 h 131324"/>
                  <a:gd name="connsiteX6" fmla="*/ 104723 w 209476"/>
                  <a:gd name="connsiteY6" fmla="*/ 120775 h 131324"/>
                  <a:gd name="connsiteX7" fmla="*/ 198956 w 209476"/>
                  <a:gd name="connsiteY7" fmla="*/ 65738 h 131324"/>
                  <a:gd name="connsiteX8" fmla="*/ 198956 w 209476"/>
                  <a:gd name="connsiteY8" fmla="*/ 8206 h 131324"/>
                  <a:gd name="connsiteX9" fmla="*/ 204217 w 209476"/>
                  <a:gd name="connsiteY9" fmla="*/ 2946 h 131324"/>
                  <a:gd name="connsiteX10" fmla="*/ 209477 w 209476"/>
                  <a:gd name="connsiteY10" fmla="*/ 8206 h 131324"/>
                  <a:gd name="connsiteX11" fmla="*/ 209477 w 209476"/>
                  <a:gd name="connsiteY11" fmla="*/ 65738 h 131324"/>
                  <a:gd name="connsiteX12" fmla="*/ 104753 w 209476"/>
                  <a:gd name="connsiteY12" fmla="*/ 131325 h 131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9476" h="131324">
                    <a:moveTo>
                      <a:pt x="104753" y="131325"/>
                    </a:moveTo>
                    <a:cubicBezTo>
                      <a:pt x="40128" y="131325"/>
                      <a:pt x="0" y="106196"/>
                      <a:pt x="0" y="65738"/>
                    </a:cubicBezTo>
                    <a:lnTo>
                      <a:pt x="0" y="5260"/>
                    </a:lnTo>
                    <a:cubicBezTo>
                      <a:pt x="0" y="2345"/>
                      <a:pt x="2375" y="0"/>
                      <a:pt x="5260" y="0"/>
                    </a:cubicBezTo>
                    <a:cubicBezTo>
                      <a:pt x="8176" y="0"/>
                      <a:pt x="10520" y="2375"/>
                      <a:pt x="10520" y="5260"/>
                    </a:cubicBezTo>
                    <a:lnTo>
                      <a:pt x="10520" y="65738"/>
                    </a:lnTo>
                    <a:cubicBezTo>
                      <a:pt x="10520" y="106316"/>
                      <a:pt x="59185" y="120775"/>
                      <a:pt x="104723" y="120775"/>
                    </a:cubicBezTo>
                    <a:cubicBezTo>
                      <a:pt x="150262" y="120775"/>
                      <a:pt x="198956" y="106316"/>
                      <a:pt x="198956" y="65738"/>
                    </a:cubicBezTo>
                    <a:lnTo>
                      <a:pt x="198956" y="8206"/>
                    </a:lnTo>
                    <a:cubicBezTo>
                      <a:pt x="198956" y="5290"/>
                      <a:pt x="201331" y="2946"/>
                      <a:pt x="204217" y="2946"/>
                    </a:cubicBezTo>
                    <a:cubicBezTo>
                      <a:pt x="207132" y="2946"/>
                      <a:pt x="209477" y="5320"/>
                      <a:pt x="209477" y="8206"/>
                    </a:cubicBezTo>
                    <a:lnTo>
                      <a:pt x="209477" y="65738"/>
                    </a:lnTo>
                    <a:cubicBezTo>
                      <a:pt x="209537" y="106196"/>
                      <a:pt x="169379" y="131325"/>
                      <a:pt x="104753" y="131325"/>
                    </a:cubicBezTo>
                    <a:close/>
                  </a:path>
                </a:pathLst>
              </a:custGeom>
              <a:solidFill>
                <a:schemeClr val="tx2"/>
              </a:solidFill>
              <a:ln w="3004" cap="flat">
                <a:noFill/>
                <a:prstDash val="solid"/>
                <a:miter/>
              </a:ln>
            </p:spPr>
            <p:txBody>
              <a:bodyPr rtlCol="0" anchor="ctr"/>
              <a:lstStyle/>
              <a:p>
                <a:endParaRPr lang="en-GB" dirty="0"/>
              </a:p>
            </p:txBody>
          </p:sp>
          <p:sp>
            <p:nvSpPr>
              <p:cNvPr id="429" name="Freihandform: Form 428">
                <a:extLst>
                  <a:ext uri="{FF2B5EF4-FFF2-40B4-BE49-F238E27FC236}">
                    <a16:creationId xmlns:a16="http://schemas.microsoft.com/office/drawing/2014/main" id="{30AA6DFD-92FB-4A91-8635-D8E7BACB4313}"/>
                  </a:ext>
                </a:extLst>
              </p:cNvPr>
              <p:cNvSpPr/>
              <p:nvPr/>
            </p:nvSpPr>
            <p:spPr>
              <a:xfrm>
                <a:off x="3373027" y="1833701"/>
                <a:ext cx="367027" cy="194155"/>
              </a:xfrm>
              <a:custGeom>
                <a:avLst/>
                <a:gdLst>
                  <a:gd name="connsiteX0" fmla="*/ 194663 w 367027"/>
                  <a:gd name="connsiteY0" fmla="*/ 194156 h 194155"/>
                  <a:gd name="connsiteX1" fmla="*/ 192138 w 367027"/>
                  <a:gd name="connsiteY1" fmla="*/ 193524 h 194155"/>
                  <a:gd name="connsiteX2" fmla="*/ 2771 w 367027"/>
                  <a:gd name="connsiteY2" fmla="*/ 90815 h 194155"/>
                  <a:gd name="connsiteX3" fmla="*/ 5 w 367027"/>
                  <a:gd name="connsiteY3" fmla="*/ 85945 h 194155"/>
                  <a:gd name="connsiteX4" fmla="*/ 3161 w 367027"/>
                  <a:gd name="connsiteY4" fmla="*/ 81347 h 194155"/>
                  <a:gd name="connsiteX5" fmla="*/ 189493 w 367027"/>
                  <a:gd name="connsiteY5" fmla="*/ 429 h 194155"/>
                  <a:gd name="connsiteX6" fmla="*/ 193882 w 367027"/>
                  <a:gd name="connsiteY6" fmla="*/ 520 h 194155"/>
                  <a:gd name="connsiteX7" fmla="*/ 364012 w 367027"/>
                  <a:gd name="connsiteY7" fmla="*/ 81888 h 194155"/>
                  <a:gd name="connsiteX8" fmla="*/ 367018 w 367027"/>
                  <a:gd name="connsiteY8" fmla="*/ 86366 h 194155"/>
                  <a:gd name="connsiteX9" fmla="*/ 364493 w 367027"/>
                  <a:gd name="connsiteY9" fmla="*/ 91146 h 194155"/>
                  <a:gd name="connsiteX10" fmla="*/ 197369 w 367027"/>
                  <a:gd name="connsiteY10" fmla="*/ 193374 h 194155"/>
                  <a:gd name="connsiteX11" fmla="*/ 194663 w 367027"/>
                  <a:gd name="connsiteY11" fmla="*/ 194156 h 194155"/>
                  <a:gd name="connsiteX12" fmla="*/ 17349 w 367027"/>
                  <a:gd name="connsiteY12" fmla="*/ 86697 h 194155"/>
                  <a:gd name="connsiteX13" fmla="*/ 194513 w 367027"/>
                  <a:gd name="connsiteY13" fmla="*/ 182793 h 194155"/>
                  <a:gd name="connsiteX14" fmla="*/ 350756 w 367027"/>
                  <a:gd name="connsiteY14" fmla="*/ 87208 h 194155"/>
                  <a:gd name="connsiteX15" fmla="*/ 191537 w 367027"/>
                  <a:gd name="connsiteY15" fmla="*/ 11070 h 194155"/>
                  <a:gd name="connsiteX16" fmla="*/ 17349 w 367027"/>
                  <a:gd name="connsiteY16" fmla="*/ 86697 h 194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7027" h="194155">
                    <a:moveTo>
                      <a:pt x="194663" y="194156"/>
                    </a:moveTo>
                    <a:cubicBezTo>
                      <a:pt x="193792" y="194156"/>
                      <a:pt x="192920" y="193945"/>
                      <a:pt x="192138" y="193524"/>
                    </a:cubicBezTo>
                    <a:lnTo>
                      <a:pt x="2771" y="90815"/>
                    </a:lnTo>
                    <a:cubicBezTo>
                      <a:pt x="997" y="89853"/>
                      <a:pt x="-85" y="87959"/>
                      <a:pt x="5" y="85945"/>
                    </a:cubicBezTo>
                    <a:cubicBezTo>
                      <a:pt x="95" y="83932"/>
                      <a:pt x="1328" y="82128"/>
                      <a:pt x="3161" y="81347"/>
                    </a:cubicBezTo>
                    <a:lnTo>
                      <a:pt x="189493" y="429"/>
                    </a:lnTo>
                    <a:cubicBezTo>
                      <a:pt x="190906" y="-172"/>
                      <a:pt x="192499" y="-142"/>
                      <a:pt x="193882" y="520"/>
                    </a:cubicBezTo>
                    <a:lnTo>
                      <a:pt x="364012" y="81888"/>
                    </a:lnTo>
                    <a:cubicBezTo>
                      <a:pt x="365755" y="82729"/>
                      <a:pt x="366898" y="84443"/>
                      <a:pt x="367018" y="86366"/>
                    </a:cubicBezTo>
                    <a:cubicBezTo>
                      <a:pt x="367138" y="88290"/>
                      <a:pt x="366146" y="90124"/>
                      <a:pt x="364493" y="91146"/>
                    </a:cubicBezTo>
                    <a:lnTo>
                      <a:pt x="197369" y="193374"/>
                    </a:lnTo>
                    <a:cubicBezTo>
                      <a:pt x="196587" y="193885"/>
                      <a:pt x="195625" y="194156"/>
                      <a:pt x="194663" y="194156"/>
                    </a:cubicBezTo>
                    <a:close/>
                    <a:moveTo>
                      <a:pt x="17349" y="86697"/>
                    </a:moveTo>
                    <a:lnTo>
                      <a:pt x="194513" y="182793"/>
                    </a:lnTo>
                    <a:lnTo>
                      <a:pt x="350756" y="87208"/>
                    </a:lnTo>
                    <a:lnTo>
                      <a:pt x="191537" y="11070"/>
                    </a:lnTo>
                    <a:lnTo>
                      <a:pt x="17349" y="86697"/>
                    </a:lnTo>
                    <a:close/>
                  </a:path>
                </a:pathLst>
              </a:custGeom>
              <a:solidFill>
                <a:schemeClr val="tx2"/>
              </a:solidFill>
              <a:ln w="3004" cap="flat">
                <a:noFill/>
                <a:prstDash val="solid"/>
                <a:miter/>
              </a:ln>
            </p:spPr>
            <p:txBody>
              <a:bodyPr rtlCol="0" anchor="ctr"/>
              <a:lstStyle/>
              <a:p>
                <a:endParaRPr lang="en-GB" dirty="0"/>
              </a:p>
            </p:txBody>
          </p:sp>
          <p:sp>
            <p:nvSpPr>
              <p:cNvPr id="430" name="Freihandform: Form 429">
                <a:extLst>
                  <a:ext uri="{FF2B5EF4-FFF2-40B4-BE49-F238E27FC236}">
                    <a16:creationId xmlns:a16="http://schemas.microsoft.com/office/drawing/2014/main" id="{6962F78C-E22C-4D4E-8B05-EDEAD493D813}"/>
                  </a:ext>
                </a:extLst>
              </p:cNvPr>
              <p:cNvSpPr/>
              <p:nvPr/>
            </p:nvSpPr>
            <p:spPr>
              <a:xfrm>
                <a:off x="3633070" y="1920190"/>
                <a:ext cx="75183" cy="97085"/>
              </a:xfrm>
              <a:custGeom>
                <a:avLst/>
                <a:gdLst>
                  <a:gd name="connsiteX0" fmla="*/ 69612 w 75183"/>
                  <a:gd name="connsiteY0" fmla="*/ 97085 h 97085"/>
                  <a:gd name="connsiteX1" fmla="*/ 64352 w 75183"/>
                  <a:gd name="connsiteY1" fmla="*/ 91885 h 97085"/>
                  <a:gd name="connsiteX2" fmla="*/ 64502 w 75183"/>
                  <a:gd name="connsiteY2" fmla="*/ 69011 h 97085"/>
                  <a:gd name="connsiteX3" fmla="*/ 54823 w 75183"/>
                  <a:gd name="connsiteY3" fmla="*/ 35015 h 97085"/>
                  <a:gd name="connsiteX4" fmla="*/ 2853 w 75183"/>
                  <a:gd name="connsiteY4" fmla="*/ 9976 h 97085"/>
                  <a:gd name="connsiteX5" fmla="*/ 598 w 75183"/>
                  <a:gd name="connsiteY5" fmla="*/ 2853 h 97085"/>
                  <a:gd name="connsiteX6" fmla="*/ 7692 w 75183"/>
                  <a:gd name="connsiteY6" fmla="*/ 598 h 97085"/>
                  <a:gd name="connsiteX7" fmla="*/ 59152 w 75183"/>
                  <a:gd name="connsiteY7" fmla="*/ 25366 h 97085"/>
                  <a:gd name="connsiteX8" fmla="*/ 75053 w 75183"/>
                  <a:gd name="connsiteY8" fmla="*/ 69161 h 97085"/>
                  <a:gd name="connsiteX9" fmla="*/ 74902 w 75183"/>
                  <a:gd name="connsiteY9" fmla="*/ 91705 h 97085"/>
                  <a:gd name="connsiteX10" fmla="*/ 69702 w 75183"/>
                  <a:gd name="connsiteY10" fmla="*/ 97055 h 97085"/>
                  <a:gd name="connsiteX11" fmla="*/ 69612 w 75183"/>
                  <a:gd name="connsiteY11" fmla="*/ 97085 h 97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183" h="97085">
                    <a:moveTo>
                      <a:pt x="69612" y="97085"/>
                    </a:moveTo>
                    <a:cubicBezTo>
                      <a:pt x="66727" y="97085"/>
                      <a:pt x="64382" y="94771"/>
                      <a:pt x="64352" y="91885"/>
                    </a:cubicBezTo>
                    <a:cubicBezTo>
                      <a:pt x="64232" y="83048"/>
                      <a:pt x="64382" y="75474"/>
                      <a:pt x="64502" y="69011"/>
                    </a:cubicBezTo>
                    <a:cubicBezTo>
                      <a:pt x="64953" y="45235"/>
                      <a:pt x="64683" y="39464"/>
                      <a:pt x="54823" y="35015"/>
                    </a:cubicBezTo>
                    <a:cubicBezTo>
                      <a:pt x="26959" y="22451"/>
                      <a:pt x="3093" y="10097"/>
                      <a:pt x="2853" y="9976"/>
                    </a:cubicBezTo>
                    <a:cubicBezTo>
                      <a:pt x="268" y="8624"/>
                      <a:pt x="-755" y="5468"/>
                      <a:pt x="598" y="2853"/>
                    </a:cubicBezTo>
                    <a:cubicBezTo>
                      <a:pt x="1951" y="267"/>
                      <a:pt x="5107" y="-754"/>
                      <a:pt x="7692" y="598"/>
                    </a:cubicBezTo>
                    <a:cubicBezTo>
                      <a:pt x="7932" y="718"/>
                      <a:pt x="31588" y="12952"/>
                      <a:pt x="59152" y="25366"/>
                    </a:cubicBezTo>
                    <a:cubicBezTo>
                      <a:pt x="75714" y="32851"/>
                      <a:pt x="75504" y="44994"/>
                      <a:pt x="75053" y="69161"/>
                    </a:cubicBezTo>
                    <a:cubicBezTo>
                      <a:pt x="74932" y="75564"/>
                      <a:pt x="74812" y="82988"/>
                      <a:pt x="74902" y="91705"/>
                    </a:cubicBezTo>
                    <a:cubicBezTo>
                      <a:pt x="74932" y="94621"/>
                      <a:pt x="72618" y="97025"/>
                      <a:pt x="69702" y="97055"/>
                    </a:cubicBezTo>
                    <a:cubicBezTo>
                      <a:pt x="69672" y="97085"/>
                      <a:pt x="69642" y="97085"/>
                      <a:pt x="69612" y="97085"/>
                    </a:cubicBezTo>
                    <a:close/>
                  </a:path>
                </a:pathLst>
              </a:custGeom>
              <a:solidFill>
                <a:schemeClr val="tx2"/>
              </a:solidFill>
              <a:ln w="3004" cap="flat">
                <a:noFill/>
                <a:prstDash val="solid"/>
                <a:miter/>
              </a:ln>
            </p:spPr>
            <p:txBody>
              <a:bodyPr rtlCol="0" anchor="ctr"/>
              <a:lstStyle/>
              <a:p>
                <a:endParaRPr lang="en-GB" dirty="0"/>
              </a:p>
            </p:txBody>
          </p:sp>
          <p:sp>
            <p:nvSpPr>
              <p:cNvPr id="431" name="Freihandform: Form 430">
                <a:extLst>
                  <a:ext uri="{FF2B5EF4-FFF2-40B4-BE49-F238E27FC236}">
                    <a16:creationId xmlns:a16="http://schemas.microsoft.com/office/drawing/2014/main" id="{D9EACBBA-2FAC-4417-9E2C-8C75A8233805}"/>
                  </a:ext>
                </a:extLst>
              </p:cNvPr>
              <p:cNvSpPr/>
              <p:nvPr/>
            </p:nvSpPr>
            <p:spPr>
              <a:xfrm>
                <a:off x="3681040" y="2008108"/>
                <a:ext cx="41059" cy="77791"/>
              </a:xfrm>
              <a:custGeom>
                <a:avLst/>
                <a:gdLst>
                  <a:gd name="connsiteX0" fmla="*/ 20530 w 41059"/>
                  <a:gd name="connsiteY0" fmla="*/ 77791 h 77791"/>
                  <a:gd name="connsiteX1" fmla="*/ 0 w 41059"/>
                  <a:gd name="connsiteY1" fmla="*/ 58554 h 77791"/>
                  <a:gd name="connsiteX2" fmla="*/ 0 w 41059"/>
                  <a:gd name="connsiteY2" fmla="*/ 19237 h 77791"/>
                  <a:gd name="connsiteX3" fmla="*/ 20530 w 41059"/>
                  <a:gd name="connsiteY3" fmla="*/ 0 h 77791"/>
                  <a:gd name="connsiteX4" fmla="*/ 41060 w 41059"/>
                  <a:gd name="connsiteY4" fmla="*/ 19237 h 77791"/>
                  <a:gd name="connsiteX5" fmla="*/ 41060 w 41059"/>
                  <a:gd name="connsiteY5" fmla="*/ 58554 h 77791"/>
                  <a:gd name="connsiteX6" fmla="*/ 20530 w 41059"/>
                  <a:gd name="connsiteY6" fmla="*/ 77791 h 77791"/>
                  <a:gd name="connsiteX7" fmla="*/ 20530 w 41059"/>
                  <a:gd name="connsiteY7" fmla="*/ 10550 h 77791"/>
                  <a:gd name="connsiteX8" fmla="*/ 10551 w 41059"/>
                  <a:gd name="connsiteY8" fmla="*/ 19237 h 77791"/>
                  <a:gd name="connsiteX9" fmla="*/ 10551 w 41059"/>
                  <a:gd name="connsiteY9" fmla="*/ 58554 h 77791"/>
                  <a:gd name="connsiteX10" fmla="*/ 20530 w 41059"/>
                  <a:gd name="connsiteY10" fmla="*/ 67241 h 77791"/>
                  <a:gd name="connsiteX11" fmla="*/ 30509 w 41059"/>
                  <a:gd name="connsiteY11" fmla="*/ 58554 h 77791"/>
                  <a:gd name="connsiteX12" fmla="*/ 30509 w 41059"/>
                  <a:gd name="connsiteY12" fmla="*/ 19237 h 77791"/>
                  <a:gd name="connsiteX13" fmla="*/ 20530 w 41059"/>
                  <a:gd name="connsiteY13" fmla="*/ 10550 h 7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1059" h="77791">
                    <a:moveTo>
                      <a:pt x="20530" y="77791"/>
                    </a:moveTo>
                    <a:cubicBezTo>
                      <a:pt x="9228" y="77791"/>
                      <a:pt x="0" y="69164"/>
                      <a:pt x="0" y="58554"/>
                    </a:cubicBezTo>
                    <a:lnTo>
                      <a:pt x="0" y="19237"/>
                    </a:lnTo>
                    <a:cubicBezTo>
                      <a:pt x="0" y="8627"/>
                      <a:pt x="9198" y="0"/>
                      <a:pt x="20530" y="0"/>
                    </a:cubicBezTo>
                    <a:cubicBezTo>
                      <a:pt x="31862" y="0"/>
                      <a:pt x="41060" y="8627"/>
                      <a:pt x="41060" y="19237"/>
                    </a:cubicBezTo>
                    <a:lnTo>
                      <a:pt x="41060" y="58554"/>
                    </a:lnTo>
                    <a:cubicBezTo>
                      <a:pt x="41060" y="69164"/>
                      <a:pt x="31862" y="77791"/>
                      <a:pt x="20530" y="77791"/>
                    </a:cubicBezTo>
                    <a:close/>
                    <a:moveTo>
                      <a:pt x="20530" y="10550"/>
                    </a:moveTo>
                    <a:cubicBezTo>
                      <a:pt x="15029" y="10550"/>
                      <a:pt x="10551" y="14458"/>
                      <a:pt x="10551" y="19237"/>
                    </a:cubicBezTo>
                    <a:lnTo>
                      <a:pt x="10551" y="58554"/>
                    </a:lnTo>
                    <a:cubicBezTo>
                      <a:pt x="10551" y="63333"/>
                      <a:pt x="15029" y="67241"/>
                      <a:pt x="20530" y="67241"/>
                    </a:cubicBezTo>
                    <a:cubicBezTo>
                      <a:pt x="26030" y="67241"/>
                      <a:pt x="30509" y="63363"/>
                      <a:pt x="30509" y="58554"/>
                    </a:cubicBezTo>
                    <a:lnTo>
                      <a:pt x="30509" y="19237"/>
                    </a:lnTo>
                    <a:cubicBezTo>
                      <a:pt x="30509" y="14458"/>
                      <a:pt x="26030" y="10550"/>
                      <a:pt x="20530" y="10550"/>
                    </a:cubicBezTo>
                    <a:close/>
                  </a:path>
                </a:pathLst>
              </a:custGeom>
              <a:solidFill>
                <a:schemeClr val="tx2"/>
              </a:solidFill>
              <a:ln w="3004" cap="flat">
                <a:noFill/>
                <a:prstDash val="solid"/>
                <a:miter/>
              </a:ln>
            </p:spPr>
            <p:txBody>
              <a:bodyPr rtlCol="0" anchor="ctr"/>
              <a:lstStyle/>
              <a:p>
                <a:endParaRPr lang="en-GB" dirty="0"/>
              </a:p>
            </p:txBody>
          </p:sp>
        </p:grpSp>
      </p:grpSp>
      <p:grpSp>
        <p:nvGrpSpPr>
          <p:cNvPr id="30" name="Group 29">
            <a:extLst>
              <a:ext uri="{FF2B5EF4-FFF2-40B4-BE49-F238E27FC236}">
                <a16:creationId xmlns:a16="http://schemas.microsoft.com/office/drawing/2014/main" id="{419121E5-84C6-DE86-367B-87D5F49DEDD1}"/>
              </a:ext>
            </a:extLst>
          </p:cNvPr>
          <p:cNvGrpSpPr/>
          <p:nvPr/>
        </p:nvGrpSpPr>
        <p:grpSpPr>
          <a:xfrm>
            <a:off x="6048006" y="2449341"/>
            <a:ext cx="427539" cy="432000"/>
            <a:chOff x="6095393" y="2449341"/>
            <a:chExt cx="427539" cy="432000"/>
          </a:xfrm>
        </p:grpSpPr>
        <p:grpSp>
          <p:nvGrpSpPr>
            <p:cNvPr id="443" name="Group 996">
              <a:extLst>
                <a:ext uri="{FF2B5EF4-FFF2-40B4-BE49-F238E27FC236}">
                  <a16:creationId xmlns:a16="http://schemas.microsoft.com/office/drawing/2014/main" id="{4AEA2D59-5ACB-45D8-AC51-F1970ED615FD}"/>
                </a:ext>
              </a:extLst>
            </p:cNvPr>
            <p:cNvGrpSpPr/>
            <p:nvPr/>
          </p:nvGrpSpPr>
          <p:grpSpPr>
            <a:xfrm>
              <a:off x="6095393" y="2541062"/>
              <a:ext cx="337909" cy="340279"/>
              <a:chOff x="1707449" y="2585048"/>
              <a:chExt cx="408512" cy="411378"/>
            </a:xfrm>
            <a:solidFill>
              <a:schemeClr val="tx2"/>
            </a:solidFill>
          </p:grpSpPr>
          <p:grpSp>
            <p:nvGrpSpPr>
              <p:cNvPr id="450" name="Grafik 19">
                <a:extLst>
                  <a:ext uri="{FF2B5EF4-FFF2-40B4-BE49-F238E27FC236}">
                    <a16:creationId xmlns:a16="http://schemas.microsoft.com/office/drawing/2014/main" id="{F723A664-D405-4303-99E3-A63FB71C27AA}"/>
                  </a:ext>
                </a:extLst>
              </p:cNvPr>
              <p:cNvGrpSpPr/>
              <p:nvPr/>
            </p:nvGrpSpPr>
            <p:grpSpPr>
              <a:xfrm>
                <a:off x="1707449" y="2790955"/>
                <a:ext cx="204798" cy="205471"/>
                <a:chOff x="1707449" y="2790955"/>
                <a:chExt cx="204798" cy="205471"/>
              </a:xfrm>
              <a:grpFill/>
            </p:grpSpPr>
            <p:sp>
              <p:nvSpPr>
                <p:cNvPr id="452" name="Freihandform: Form 451">
                  <a:extLst>
                    <a:ext uri="{FF2B5EF4-FFF2-40B4-BE49-F238E27FC236}">
                      <a16:creationId xmlns:a16="http://schemas.microsoft.com/office/drawing/2014/main" id="{B33CE61D-ECCB-4138-AB32-715E2333DC20}"/>
                    </a:ext>
                  </a:extLst>
                </p:cNvPr>
                <p:cNvSpPr/>
                <p:nvPr/>
              </p:nvSpPr>
              <p:spPr>
                <a:xfrm>
                  <a:off x="1862998" y="2790955"/>
                  <a:ext cx="49250" cy="49258"/>
                </a:xfrm>
                <a:custGeom>
                  <a:avLst/>
                  <a:gdLst>
                    <a:gd name="connsiteX0" fmla="*/ 5283 w 49250"/>
                    <a:gd name="connsiteY0" fmla="*/ 49258 h 49258"/>
                    <a:gd name="connsiteX1" fmla="*/ 1556 w 49250"/>
                    <a:gd name="connsiteY1" fmla="*/ 47725 h 49258"/>
                    <a:gd name="connsiteX2" fmla="*/ 1556 w 49250"/>
                    <a:gd name="connsiteY2" fmla="*/ 40271 h 49258"/>
                    <a:gd name="connsiteX3" fmla="*/ 40241 w 49250"/>
                    <a:gd name="connsiteY3" fmla="*/ 1555 h 49258"/>
                    <a:gd name="connsiteX4" fmla="*/ 47695 w 49250"/>
                    <a:gd name="connsiteY4" fmla="*/ 1555 h 49258"/>
                    <a:gd name="connsiteX5" fmla="*/ 47695 w 49250"/>
                    <a:gd name="connsiteY5" fmla="*/ 9010 h 49258"/>
                    <a:gd name="connsiteX6" fmla="*/ 9010 w 49250"/>
                    <a:gd name="connsiteY6" fmla="*/ 47725 h 49258"/>
                    <a:gd name="connsiteX7" fmla="*/ 5283 w 49250"/>
                    <a:gd name="connsiteY7" fmla="*/ 49258 h 49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250" h="49258">
                      <a:moveTo>
                        <a:pt x="5283" y="49258"/>
                      </a:moveTo>
                      <a:cubicBezTo>
                        <a:pt x="3930" y="49258"/>
                        <a:pt x="2577" y="48747"/>
                        <a:pt x="1556" y="47725"/>
                      </a:cubicBezTo>
                      <a:cubicBezTo>
                        <a:pt x="-519" y="45681"/>
                        <a:pt x="-519" y="42315"/>
                        <a:pt x="1556" y="40271"/>
                      </a:cubicBezTo>
                      <a:lnTo>
                        <a:pt x="40241" y="1555"/>
                      </a:lnTo>
                      <a:cubicBezTo>
                        <a:pt x="42315" y="-518"/>
                        <a:pt x="45651" y="-518"/>
                        <a:pt x="47695" y="1555"/>
                      </a:cubicBezTo>
                      <a:cubicBezTo>
                        <a:pt x="49769" y="3599"/>
                        <a:pt x="49769" y="6966"/>
                        <a:pt x="47695" y="9010"/>
                      </a:cubicBezTo>
                      <a:lnTo>
                        <a:pt x="9010" y="47725"/>
                      </a:lnTo>
                      <a:cubicBezTo>
                        <a:pt x="7988" y="48747"/>
                        <a:pt x="6635" y="49258"/>
                        <a:pt x="5283" y="49258"/>
                      </a:cubicBezTo>
                      <a:close/>
                    </a:path>
                  </a:pathLst>
                </a:custGeom>
                <a:grpFill/>
                <a:ln w="3004" cap="flat">
                  <a:noFill/>
                  <a:prstDash val="solid"/>
                  <a:miter/>
                </a:ln>
              </p:spPr>
              <p:txBody>
                <a:bodyPr rtlCol="0" anchor="ctr"/>
                <a:lstStyle/>
                <a:p>
                  <a:endParaRPr lang="en-GB" dirty="0"/>
                </a:p>
              </p:txBody>
            </p:sp>
            <p:sp>
              <p:nvSpPr>
                <p:cNvPr id="453" name="Freihandform: Form 452">
                  <a:extLst>
                    <a:ext uri="{FF2B5EF4-FFF2-40B4-BE49-F238E27FC236}">
                      <a16:creationId xmlns:a16="http://schemas.microsoft.com/office/drawing/2014/main" id="{1537AF91-DA0F-4CCD-B759-57A1862E06C6}"/>
                    </a:ext>
                  </a:extLst>
                </p:cNvPr>
                <p:cNvSpPr/>
                <p:nvPr/>
              </p:nvSpPr>
              <p:spPr>
                <a:xfrm>
                  <a:off x="1707449" y="2822479"/>
                  <a:ext cx="173925" cy="173947"/>
                </a:xfrm>
                <a:custGeom>
                  <a:avLst/>
                  <a:gdLst>
                    <a:gd name="connsiteX0" fmla="*/ 31610 w 173925"/>
                    <a:gd name="connsiteY0" fmla="*/ 173948 h 173947"/>
                    <a:gd name="connsiteX1" fmla="*/ 9036 w 173925"/>
                    <a:gd name="connsiteY1" fmla="*/ 164900 h 173947"/>
                    <a:gd name="connsiteX2" fmla="*/ 109 w 173925"/>
                    <a:gd name="connsiteY2" fmla="*/ 139531 h 173947"/>
                    <a:gd name="connsiteX3" fmla="*/ 12403 w 173925"/>
                    <a:gd name="connsiteY3" fmla="*/ 113591 h 173947"/>
                    <a:gd name="connsiteX4" fmla="*/ 113579 w 173925"/>
                    <a:gd name="connsiteY4" fmla="*/ 12414 h 173947"/>
                    <a:gd name="connsiteX5" fmla="*/ 142315 w 173925"/>
                    <a:gd name="connsiteY5" fmla="*/ 0 h 173947"/>
                    <a:gd name="connsiteX6" fmla="*/ 164889 w 173925"/>
                    <a:gd name="connsiteY6" fmla="*/ 9048 h 173947"/>
                    <a:gd name="connsiteX7" fmla="*/ 173816 w 173925"/>
                    <a:gd name="connsiteY7" fmla="*/ 34387 h 173947"/>
                    <a:gd name="connsiteX8" fmla="*/ 161522 w 173925"/>
                    <a:gd name="connsiteY8" fmla="*/ 60357 h 173947"/>
                    <a:gd name="connsiteX9" fmla="*/ 60346 w 173925"/>
                    <a:gd name="connsiteY9" fmla="*/ 161534 h 173947"/>
                    <a:gd name="connsiteX10" fmla="*/ 31610 w 173925"/>
                    <a:gd name="connsiteY10" fmla="*/ 173948 h 173947"/>
                    <a:gd name="connsiteX11" fmla="*/ 142315 w 173925"/>
                    <a:gd name="connsiteY11" fmla="*/ 10581 h 173947"/>
                    <a:gd name="connsiteX12" fmla="*/ 121034 w 173925"/>
                    <a:gd name="connsiteY12" fmla="*/ 19899 h 173947"/>
                    <a:gd name="connsiteX13" fmla="*/ 19857 w 173925"/>
                    <a:gd name="connsiteY13" fmla="*/ 121075 h 173947"/>
                    <a:gd name="connsiteX14" fmla="*/ 10629 w 173925"/>
                    <a:gd name="connsiteY14" fmla="*/ 140373 h 173947"/>
                    <a:gd name="connsiteX15" fmla="*/ 16491 w 173925"/>
                    <a:gd name="connsiteY15" fmla="*/ 157446 h 173947"/>
                    <a:gd name="connsiteX16" fmla="*/ 31610 w 173925"/>
                    <a:gd name="connsiteY16" fmla="*/ 163397 h 173947"/>
                    <a:gd name="connsiteX17" fmla="*/ 52891 w 173925"/>
                    <a:gd name="connsiteY17" fmla="*/ 154079 h 173947"/>
                    <a:gd name="connsiteX18" fmla="*/ 154068 w 173925"/>
                    <a:gd name="connsiteY18" fmla="*/ 52903 h 173947"/>
                    <a:gd name="connsiteX19" fmla="*/ 163296 w 173925"/>
                    <a:gd name="connsiteY19" fmla="*/ 33605 h 173947"/>
                    <a:gd name="connsiteX20" fmla="*/ 157434 w 173925"/>
                    <a:gd name="connsiteY20" fmla="*/ 16532 h 173947"/>
                    <a:gd name="connsiteX21" fmla="*/ 142315 w 173925"/>
                    <a:gd name="connsiteY21" fmla="*/ 10581 h 173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3925" h="173947">
                      <a:moveTo>
                        <a:pt x="31610" y="173948"/>
                      </a:moveTo>
                      <a:cubicBezTo>
                        <a:pt x="22863" y="173948"/>
                        <a:pt x="14868" y="170732"/>
                        <a:pt x="9036" y="164900"/>
                      </a:cubicBezTo>
                      <a:cubicBezTo>
                        <a:pt x="2514" y="158378"/>
                        <a:pt x="-643" y="149390"/>
                        <a:pt x="109" y="139531"/>
                      </a:cubicBezTo>
                      <a:cubicBezTo>
                        <a:pt x="830" y="130002"/>
                        <a:pt x="5219" y="120775"/>
                        <a:pt x="12403" y="113591"/>
                      </a:cubicBezTo>
                      <a:lnTo>
                        <a:pt x="113579" y="12414"/>
                      </a:lnTo>
                      <a:cubicBezTo>
                        <a:pt x="121454" y="4539"/>
                        <a:pt x="131945" y="0"/>
                        <a:pt x="142315" y="0"/>
                      </a:cubicBezTo>
                      <a:cubicBezTo>
                        <a:pt x="151032" y="0"/>
                        <a:pt x="159058" y="3216"/>
                        <a:pt x="164889" y="9048"/>
                      </a:cubicBezTo>
                      <a:cubicBezTo>
                        <a:pt x="171412" y="15540"/>
                        <a:pt x="174568" y="24558"/>
                        <a:pt x="173816" y="34387"/>
                      </a:cubicBezTo>
                      <a:cubicBezTo>
                        <a:pt x="173095" y="43915"/>
                        <a:pt x="168706" y="53143"/>
                        <a:pt x="161522" y="60357"/>
                      </a:cubicBezTo>
                      <a:lnTo>
                        <a:pt x="60346" y="161534"/>
                      </a:lnTo>
                      <a:cubicBezTo>
                        <a:pt x="52471" y="169439"/>
                        <a:pt x="41980" y="173948"/>
                        <a:pt x="31610" y="173948"/>
                      </a:cubicBezTo>
                      <a:close/>
                      <a:moveTo>
                        <a:pt x="142315" y="10581"/>
                      </a:moveTo>
                      <a:cubicBezTo>
                        <a:pt x="134710" y="10581"/>
                        <a:pt x="126955" y="13977"/>
                        <a:pt x="121034" y="19899"/>
                      </a:cubicBezTo>
                      <a:lnTo>
                        <a:pt x="19857" y="121075"/>
                      </a:lnTo>
                      <a:cubicBezTo>
                        <a:pt x="14447" y="126486"/>
                        <a:pt x="11170" y="133339"/>
                        <a:pt x="10629" y="140373"/>
                      </a:cubicBezTo>
                      <a:cubicBezTo>
                        <a:pt x="10118" y="147106"/>
                        <a:pt x="12192" y="153147"/>
                        <a:pt x="16491" y="157446"/>
                      </a:cubicBezTo>
                      <a:cubicBezTo>
                        <a:pt x="20338" y="161293"/>
                        <a:pt x="25689" y="163397"/>
                        <a:pt x="31610" y="163397"/>
                      </a:cubicBezTo>
                      <a:cubicBezTo>
                        <a:pt x="39215" y="163397"/>
                        <a:pt x="46970" y="160001"/>
                        <a:pt x="52891" y="154079"/>
                      </a:cubicBezTo>
                      <a:lnTo>
                        <a:pt x="154068" y="52903"/>
                      </a:lnTo>
                      <a:cubicBezTo>
                        <a:pt x="159478" y="47492"/>
                        <a:pt x="162755" y="40639"/>
                        <a:pt x="163296" y="33605"/>
                      </a:cubicBezTo>
                      <a:cubicBezTo>
                        <a:pt x="163807" y="26872"/>
                        <a:pt x="161733" y="20800"/>
                        <a:pt x="157434" y="16532"/>
                      </a:cubicBezTo>
                      <a:cubicBezTo>
                        <a:pt x="153617" y="12685"/>
                        <a:pt x="148236" y="10581"/>
                        <a:pt x="142315" y="10581"/>
                      </a:cubicBezTo>
                      <a:close/>
                    </a:path>
                  </a:pathLst>
                </a:custGeom>
                <a:grpFill/>
                <a:ln w="3004" cap="flat">
                  <a:noFill/>
                  <a:prstDash val="solid"/>
                  <a:miter/>
                </a:ln>
              </p:spPr>
              <p:txBody>
                <a:bodyPr rtlCol="0" anchor="ctr"/>
                <a:lstStyle/>
                <a:p>
                  <a:endParaRPr lang="en-GB" dirty="0"/>
                </a:p>
              </p:txBody>
            </p:sp>
          </p:grpSp>
          <p:sp>
            <p:nvSpPr>
              <p:cNvPr id="451" name="Freihandform: Form 450">
                <a:extLst>
                  <a:ext uri="{FF2B5EF4-FFF2-40B4-BE49-F238E27FC236}">
                    <a16:creationId xmlns:a16="http://schemas.microsoft.com/office/drawing/2014/main" id="{C33212D8-C562-41AB-BEB9-BC0FB0EE5743}"/>
                  </a:ext>
                </a:extLst>
              </p:cNvPr>
              <p:cNvSpPr/>
              <p:nvPr/>
            </p:nvSpPr>
            <p:spPr>
              <a:xfrm>
                <a:off x="1866898" y="2585048"/>
                <a:ext cx="249063" cy="249063"/>
              </a:xfrm>
              <a:custGeom>
                <a:avLst/>
                <a:gdLst>
                  <a:gd name="connsiteX0" fmla="*/ 124532 w 249063"/>
                  <a:gd name="connsiteY0" fmla="*/ 249064 h 249063"/>
                  <a:gd name="connsiteX1" fmla="*/ 0 w 249063"/>
                  <a:gd name="connsiteY1" fmla="*/ 124532 h 249063"/>
                  <a:gd name="connsiteX2" fmla="*/ 124532 w 249063"/>
                  <a:gd name="connsiteY2" fmla="*/ 0 h 249063"/>
                  <a:gd name="connsiteX3" fmla="*/ 249064 w 249063"/>
                  <a:gd name="connsiteY3" fmla="*/ 124532 h 249063"/>
                  <a:gd name="connsiteX4" fmla="*/ 124532 w 249063"/>
                  <a:gd name="connsiteY4" fmla="*/ 249064 h 249063"/>
                  <a:gd name="connsiteX5" fmla="*/ 124532 w 249063"/>
                  <a:gd name="connsiteY5" fmla="*/ 10551 h 249063"/>
                  <a:gd name="connsiteX6" fmla="*/ 10551 w 249063"/>
                  <a:gd name="connsiteY6" fmla="*/ 124532 h 249063"/>
                  <a:gd name="connsiteX7" fmla="*/ 124532 w 249063"/>
                  <a:gd name="connsiteY7" fmla="*/ 238513 h 249063"/>
                  <a:gd name="connsiteX8" fmla="*/ 238513 w 249063"/>
                  <a:gd name="connsiteY8" fmla="*/ 124532 h 249063"/>
                  <a:gd name="connsiteX9" fmla="*/ 124532 w 249063"/>
                  <a:gd name="connsiteY9" fmla="*/ 10551 h 24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9063" h="249063">
                    <a:moveTo>
                      <a:pt x="124532" y="249064"/>
                    </a:moveTo>
                    <a:cubicBezTo>
                      <a:pt x="55878" y="249064"/>
                      <a:pt x="0" y="193215"/>
                      <a:pt x="0" y="124532"/>
                    </a:cubicBezTo>
                    <a:cubicBezTo>
                      <a:pt x="0" y="55878"/>
                      <a:pt x="55848" y="0"/>
                      <a:pt x="124532" y="0"/>
                    </a:cubicBezTo>
                    <a:cubicBezTo>
                      <a:pt x="193215" y="0"/>
                      <a:pt x="249064" y="55848"/>
                      <a:pt x="249064" y="124532"/>
                    </a:cubicBezTo>
                    <a:cubicBezTo>
                      <a:pt x="249034" y="193185"/>
                      <a:pt x="193185" y="249064"/>
                      <a:pt x="124532" y="249064"/>
                    </a:cubicBezTo>
                    <a:close/>
                    <a:moveTo>
                      <a:pt x="124532" y="10551"/>
                    </a:moveTo>
                    <a:cubicBezTo>
                      <a:pt x="61680" y="10551"/>
                      <a:pt x="10551" y="61680"/>
                      <a:pt x="10551" y="124532"/>
                    </a:cubicBezTo>
                    <a:cubicBezTo>
                      <a:pt x="10551" y="187384"/>
                      <a:pt x="61680" y="238513"/>
                      <a:pt x="124532" y="238513"/>
                    </a:cubicBezTo>
                    <a:cubicBezTo>
                      <a:pt x="187384" y="238513"/>
                      <a:pt x="238513" y="187384"/>
                      <a:pt x="238513" y="124532"/>
                    </a:cubicBezTo>
                    <a:cubicBezTo>
                      <a:pt x="238483" y="61680"/>
                      <a:pt x="187354" y="10551"/>
                      <a:pt x="124532" y="10551"/>
                    </a:cubicBezTo>
                    <a:close/>
                  </a:path>
                </a:pathLst>
              </a:custGeom>
              <a:grpFill/>
              <a:ln w="3004" cap="flat">
                <a:noFill/>
                <a:prstDash val="solid"/>
                <a:miter/>
              </a:ln>
            </p:spPr>
            <p:txBody>
              <a:bodyPr rtlCol="0" anchor="ctr"/>
              <a:lstStyle/>
              <a:p>
                <a:endParaRPr lang="en-GB" dirty="0"/>
              </a:p>
            </p:txBody>
          </p:sp>
        </p:grpSp>
        <p:grpSp>
          <p:nvGrpSpPr>
            <p:cNvPr id="444" name="Group 995">
              <a:extLst>
                <a:ext uri="{FF2B5EF4-FFF2-40B4-BE49-F238E27FC236}">
                  <a16:creationId xmlns:a16="http://schemas.microsoft.com/office/drawing/2014/main" id="{D19B733F-EAA7-41B6-BDBE-161A975E822F}"/>
                </a:ext>
              </a:extLst>
            </p:cNvPr>
            <p:cNvGrpSpPr/>
            <p:nvPr/>
          </p:nvGrpSpPr>
          <p:grpSpPr>
            <a:xfrm>
              <a:off x="6135462" y="2449341"/>
              <a:ext cx="387470" cy="387495"/>
              <a:chOff x="1755892" y="2474163"/>
              <a:chExt cx="468429" cy="468459"/>
            </a:xfrm>
          </p:grpSpPr>
          <p:sp>
            <p:nvSpPr>
              <p:cNvPr id="445" name="Freihandform: Form 444">
                <a:extLst>
                  <a:ext uri="{FF2B5EF4-FFF2-40B4-BE49-F238E27FC236}">
                    <a16:creationId xmlns:a16="http://schemas.microsoft.com/office/drawing/2014/main" id="{BF7E9EBF-9AC9-4A55-839F-FCE6216EEDAC}"/>
                  </a:ext>
                </a:extLst>
              </p:cNvPr>
              <p:cNvSpPr/>
              <p:nvPr/>
            </p:nvSpPr>
            <p:spPr>
              <a:xfrm>
                <a:off x="1755892" y="2704019"/>
                <a:ext cx="153598" cy="10520"/>
              </a:xfrm>
              <a:custGeom>
                <a:avLst/>
                <a:gdLst>
                  <a:gd name="connsiteX0" fmla="*/ 148338 w 153598"/>
                  <a:gd name="connsiteY0" fmla="*/ 10520 h 10520"/>
                  <a:gd name="connsiteX1" fmla="*/ 5260 w 153598"/>
                  <a:gd name="connsiteY1" fmla="*/ 10520 h 10520"/>
                  <a:gd name="connsiteX2" fmla="*/ 0 w 153598"/>
                  <a:gd name="connsiteY2" fmla="*/ 5260 h 10520"/>
                  <a:gd name="connsiteX3" fmla="*/ 5260 w 153598"/>
                  <a:gd name="connsiteY3" fmla="*/ 0 h 10520"/>
                  <a:gd name="connsiteX4" fmla="*/ 148338 w 153598"/>
                  <a:gd name="connsiteY4" fmla="*/ 0 h 10520"/>
                  <a:gd name="connsiteX5" fmla="*/ 153598 w 153598"/>
                  <a:gd name="connsiteY5" fmla="*/ 5260 h 10520"/>
                  <a:gd name="connsiteX6" fmla="*/ 148338 w 153598"/>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598" h="10520">
                    <a:moveTo>
                      <a:pt x="148338" y="10520"/>
                    </a:moveTo>
                    <a:lnTo>
                      <a:pt x="5260" y="10520"/>
                    </a:lnTo>
                    <a:cubicBezTo>
                      <a:pt x="2345" y="10520"/>
                      <a:pt x="0" y="8146"/>
                      <a:pt x="0" y="5260"/>
                    </a:cubicBezTo>
                    <a:cubicBezTo>
                      <a:pt x="0" y="2345"/>
                      <a:pt x="2375" y="0"/>
                      <a:pt x="5260" y="0"/>
                    </a:cubicBezTo>
                    <a:lnTo>
                      <a:pt x="148338" y="0"/>
                    </a:lnTo>
                    <a:cubicBezTo>
                      <a:pt x="151254" y="0"/>
                      <a:pt x="153598" y="2375"/>
                      <a:pt x="153598" y="5260"/>
                    </a:cubicBezTo>
                    <a:cubicBezTo>
                      <a:pt x="153598" y="8146"/>
                      <a:pt x="151254" y="10520"/>
                      <a:pt x="148338" y="10520"/>
                    </a:cubicBezTo>
                    <a:close/>
                  </a:path>
                </a:pathLst>
              </a:custGeom>
              <a:solidFill>
                <a:schemeClr val="accent1"/>
              </a:solidFill>
              <a:ln w="3004" cap="flat">
                <a:noFill/>
                <a:prstDash val="solid"/>
                <a:miter/>
              </a:ln>
            </p:spPr>
            <p:txBody>
              <a:bodyPr rtlCol="0" anchor="ctr"/>
              <a:lstStyle/>
              <a:p>
                <a:endParaRPr lang="en-GB" dirty="0"/>
              </a:p>
            </p:txBody>
          </p:sp>
          <p:sp>
            <p:nvSpPr>
              <p:cNvPr id="446" name="Freihandform: Form 445">
                <a:extLst>
                  <a:ext uri="{FF2B5EF4-FFF2-40B4-BE49-F238E27FC236}">
                    <a16:creationId xmlns:a16="http://schemas.microsoft.com/office/drawing/2014/main" id="{B86250AC-7370-4E2C-B8A9-9B14EA574537}"/>
                  </a:ext>
                </a:extLst>
              </p:cNvPr>
              <p:cNvSpPr/>
              <p:nvPr/>
            </p:nvSpPr>
            <p:spPr>
              <a:xfrm>
                <a:off x="2070693" y="2704019"/>
                <a:ext cx="153628" cy="10520"/>
              </a:xfrm>
              <a:custGeom>
                <a:avLst/>
                <a:gdLst>
                  <a:gd name="connsiteX0" fmla="*/ 148368 w 153628"/>
                  <a:gd name="connsiteY0" fmla="*/ 10520 h 10520"/>
                  <a:gd name="connsiteX1" fmla="*/ 5260 w 153628"/>
                  <a:gd name="connsiteY1" fmla="*/ 10520 h 10520"/>
                  <a:gd name="connsiteX2" fmla="*/ 0 w 153628"/>
                  <a:gd name="connsiteY2" fmla="*/ 5260 h 10520"/>
                  <a:gd name="connsiteX3" fmla="*/ 5260 w 153628"/>
                  <a:gd name="connsiteY3" fmla="*/ 0 h 10520"/>
                  <a:gd name="connsiteX4" fmla="*/ 148368 w 153628"/>
                  <a:gd name="connsiteY4" fmla="*/ 0 h 10520"/>
                  <a:gd name="connsiteX5" fmla="*/ 153628 w 153628"/>
                  <a:gd name="connsiteY5" fmla="*/ 5260 h 10520"/>
                  <a:gd name="connsiteX6" fmla="*/ 148368 w 153628"/>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3628" h="10520">
                    <a:moveTo>
                      <a:pt x="148368" y="10520"/>
                    </a:moveTo>
                    <a:lnTo>
                      <a:pt x="5260" y="10520"/>
                    </a:lnTo>
                    <a:cubicBezTo>
                      <a:pt x="2345" y="10520"/>
                      <a:pt x="0" y="8146"/>
                      <a:pt x="0" y="5260"/>
                    </a:cubicBezTo>
                    <a:cubicBezTo>
                      <a:pt x="0" y="2345"/>
                      <a:pt x="2375" y="0"/>
                      <a:pt x="5260" y="0"/>
                    </a:cubicBezTo>
                    <a:lnTo>
                      <a:pt x="148368" y="0"/>
                    </a:lnTo>
                    <a:cubicBezTo>
                      <a:pt x="151284" y="0"/>
                      <a:pt x="153628" y="2375"/>
                      <a:pt x="153628" y="5260"/>
                    </a:cubicBezTo>
                    <a:cubicBezTo>
                      <a:pt x="153628" y="8146"/>
                      <a:pt x="151284" y="10520"/>
                      <a:pt x="148368" y="10520"/>
                    </a:cubicBezTo>
                    <a:close/>
                  </a:path>
                </a:pathLst>
              </a:custGeom>
              <a:solidFill>
                <a:schemeClr val="accent1"/>
              </a:solidFill>
              <a:ln w="3004" cap="flat">
                <a:noFill/>
                <a:prstDash val="solid"/>
                <a:miter/>
              </a:ln>
            </p:spPr>
            <p:txBody>
              <a:bodyPr rtlCol="0" anchor="ctr"/>
              <a:lstStyle/>
              <a:p>
                <a:endParaRPr lang="en-GB" dirty="0"/>
              </a:p>
            </p:txBody>
          </p:sp>
          <p:sp>
            <p:nvSpPr>
              <p:cNvPr id="447" name="Freihandform: Form 446">
                <a:extLst>
                  <a:ext uri="{FF2B5EF4-FFF2-40B4-BE49-F238E27FC236}">
                    <a16:creationId xmlns:a16="http://schemas.microsoft.com/office/drawing/2014/main" id="{F36A4FDE-7270-48E7-BC9B-5AB99FB55BB8}"/>
                  </a:ext>
                </a:extLst>
              </p:cNvPr>
              <p:cNvSpPr/>
              <p:nvPr/>
            </p:nvSpPr>
            <p:spPr>
              <a:xfrm>
                <a:off x="1986169" y="2474163"/>
                <a:ext cx="10520" cy="153628"/>
              </a:xfrm>
              <a:custGeom>
                <a:avLst/>
                <a:gdLst>
                  <a:gd name="connsiteX0" fmla="*/ 5260 w 10520"/>
                  <a:gd name="connsiteY0" fmla="*/ 153628 h 153628"/>
                  <a:gd name="connsiteX1" fmla="*/ 0 w 10520"/>
                  <a:gd name="connsiteY1" fmla="*/ 148368 h 153628"/>
                  <a:gd name="connsiteX2" fmla="*/ 0 w 10520"/>
                  <a:gd name="connsiteY2" fmla="*/ 5260 h 153628"/>
                  <a:gd name="connsiteX3" fmla="*/ 5260 w 10520"/>
                  <a:gd name="connsiteY3" fmla="*/ 0 h 153628"/>
                  <a:gd name="connsiteX4" fmla="*/ 10520 w 10520"/>
                  <a:gd name="connsiteY4" fmla="*/ 5260 h 153628"/>
                  <a:gd name="connsiteX5" fmla="*/ 10520 w 10520"/>
                  <a:gd name="connsiteY5" fmla="*/ 148368 h 153628"/>
                  <a:gd name="connsiteX6" fmla="*/ 5260 w 10520"/>
                  <a:gd name="connsiteY6" fmla="*/ 153628 h 153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153628">
                    <a:moveTo>
                      <a:pt x="5260" y="153628"/>
                    </a:moveTo>
                    <a:cubicBezTo>
                      <a:pt x="2345" y="153628"/>
                      <a:pt x="0" y="151254"/>
                      <a:pt x="0" y="148368"/>
                    </a:cubicBezTo>
                    <a:lnTo>
                      <a:pt x="0" y="5260"/>
                    </a:lnTo>
                    <a:cubicBezTo>
                      <a:pt x="0" y="2345"/>
                      <a:pt x="2375" y="0"/>
                      <a:pt x="5260" y="0"/>
                    </a:cubicBezTo>
                    <a:cubicBezTo>
                      <a:pt x="8176" y="0"/>
                      <a:pt x="10520" y="2375"/>
                      <a:pt x="10520" y="5260"/>
                    </a:cubicBezTo>
                    <a:lnTo>
                      <a:pt x="10520" y="148368"/>
                    </a:lnTo>
                    <a:cubicBezTo>
                      <a:pt x="10520" y="151284"/>
                      <a:pt x="8146" y="153628"/>
                      <a:pt x="5260" y="153628"/>
                    </a:cubicBezTo>
                    <a:close/>
                  </a:path>
                </a:pathLst>
              </a:custGeom>
              <a:solidFill>
                <a:schemeClr val="accent1"/>
              </a:solidFill>
              <a:ln w="3004" cap="flat">
                <a:noFill/>
                <a:prstDash val="solid"/>
                <a:miter/>
              </a:ln>
            </p:spPr>
            <p:txBody>
              <a:bodyPr rtlCol="0" anchor="ctr"/>
              <a:lstStyle/>
              <a:p>
                <a:endParaRPr lang="en-GB" dirty="0"/>
              </a:p>
            </p:txBody>
          </p:sp>
          <p:sp>
            <p:nvSpPr>
              <p:cNvPr id="448" name="Freihandform: Form 447">
                <a:extLst>
                  <a:ext uri="{FF2B5EF4-FFF2-40B4-BE49-F238E27FC236}">
                    <a16:creationId xmlns:a16="http://schemas.microsoft.com/office/drawing/2014/main" id="{1AD70203-4543-459A-B1C7-4B58E6C38DF5}"/>
                  </a:ext>
                </a:extLst>
              </p:cNvPr>
              <p:cNvSpPr/>
              <p:nvPr/>
            </p:nvSpPr>
            <p:spPr>
              <a:xfrm>
                <a:off x="1986169" y="2789024"/>
                <a:ext cx="10520" cy="153598"/>
              </a:xfrm>
              <a:custGeom>
                <a:avLst/>
                <a:gdLst>
                  <a:gd name="connsiteX0" fmla="*/ 5260 w 10520"/>
                  <a:gd name="connsiteY0" fmla="*/ 153598 h 153598"/>
                  <a:gd name="connsiteX1" fmla="*/ 0 w 10520"/>
                  <a:gd name="connsiteY1" fmla="*/ 148338 h 153598"/>
                  <a:gd name="connsiteX2" fmla="*/ 0 w 10520"/>
                  <a:gd name="connsiteY2" fmla="*/ 5260 h 153598"/>
                  <a:gd name="connsiteX3" fmla="*/ 5260 w 10520"/>
                  <a:gd name="connsiteY3" fmla="*/ 0 h 153598"/>
                  <a:gd name="connsiteX4" fmla="*/ 10520 w 10520"/>
                  <a:gd name="connsiteY4" fmla="*/ 5260 h 153598"/>
                  <a:gd name="connsiteX5" fmla="*/ 10520 w 10520"/>
                  <a:gd name="connsiteY5" fmla="*/ 148338 h 153598"/>
                  <a:gd name="connsiteX6" fmla="*/ 5260 w 10520"/>
                  <a:gd name="connsiteY6" fmla="*/ 153598 h 153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153598">
                    <a:moveTo>
                      <a:pt x="5260" y="153598"/>
                    </a:moveTo>
                    <a:cubicBezTo>
                      <a:pt x="2345" y="153598"/>
                      <a:pt x="0" y="151224"/>
                      <a:pt x="0" y="148338"/>
                    </a:cubicBezTo>
                    <a:lnTo>
                      <a:pt x="0" y="5260"/>
                    </a:lnTo>
                    <a:cubicBezTo>
                      <a:pt x="0" y="2345"/>
                      <a:pt x="2375" y="0"/>
                      <a:pt x="5260" y="0"/>
                    </a:cubicBezTo>
                    <a:cubicBezTo>
                      <a:pt x="8176" y="0"/>
                      <a:pt x="10520" y="2375"/>
                      <a:pt x="10520" y="5260"/>
                    </a:cubicBezTo>
                    <a:lnTo>
                      <a:pt x="10520" y="148338"/>
                    </a:lnTo>
                    <a:cubicBezTo>
                      <a:pt x="10520" y="151224"/>
                      <a:pt x="8146" y="153598"/>
                      <a:pt x="5260" y="153598"/>
                    </a:cubicBezTo>
                    <a:close/>
                  </a:path>
                </a:pathLst>
              </a:custGeom>
              <a:solidFill>
                <a:schemeClr val="accent1"/>
              </a:solidFill>
              <a:ln w="3004" cap="flat">
                <a:noFill/>
                <a:prstDash val="solid"/>
                <a:miter/>
              </a:ln>
            </p:spPr>
            <p:txBody>
              <a:bodyPr rtlCol="0" anchor="ctr"/>
              <a:lstStyle/>
              <a:p>
                <a:endParaRPr lang="en-GB" dirty="0"/>
              </a:p>
            </p:txBody>
          </p:sp>
          <p:sp>
            <p:nvSpPr>
              <p:cNvPr id="449" name="Freihandform: Form 448">
                <a:extLst>
                  <a:ext uri="{FF2B5EF4-FFF2-40B4-BE49-F238E27FC236}">
                    <a16:creationId xmlns:a16="http://schemas.microsoft.com/office/drawing/2014/main" id="{73899BAA-DA3B-4FA2-A706-CDD36099F8E6}"/>
                  </a:ext>
                </a:extLst>
              </p:cNvPr>
              <p:cNvSpPr/>
              <p:nvPr/>
            </p:nvSpPr>
            <p:spPr>
              <a:xfrm>
                <a:off x="1947995" y="2666146"/>
                <a:ext cx="86868" cy="86868"/>
              </a:xfrm>
              <a:custGeom>
                <a:avLst/>
                <a:gdLst>
                  <a:gd name="connsiteX0" fmla="*/ 43434 w 86868"/>
                  <a:gd name="connsiteY0" fmla="*/ 86869 h 86868"/>
                  <a:gd name="connsiteX1" fmla="*/ 0 w 86868"/>
                  <a:gd name="connsiteY1" fmla="*/ 43434 h 86868"/>
                  <a:gd name="connsiteX2" fmla="*/ 43434 w 86868"/>
                  <a:gd name="connsiteY2" fmla="*/ 0 h 86868"/>
                  <a:gd name="connsiteX3" fmla="*/ 86869 w 86868"/>
                  <a:gd name="connsiteY3" fmla="*/ 43434 h 86868"/>
                  <a:gd name="connsiteX4" fmla="*/ 43434 w 86868"/>
                  <a:gd name="connsiteY4" fmla="*/ 86869 h 86868"/>
                  <a:gd name="connsiteX5" fmla="*/ 43434 w 86868"/>
                  <a:gd name="connsiteY5" fmla="*/ 10550 h 86868"/>
                  <a:gd name="connsiteX6" fmla="*/ 10550 w 86868"/>
                  <a:gd name="connsiteY6" fmla="*/ 43434 h 86868"/>
                  <a:gd name="connsiteX7" fmla="*/ 43434 w 86868"/>
                  <a:gd name="connsiteY7" fmla="*/ 76318 h 86868"/>
                  <a:gd name="connsiteX8" fmla="*/ 76318 w 86868"/>
                  <a:gd name="connsiteY8" fmla="*/ 43434 h 86868"/>
                  <a:gd name="connsiteX9" fmla="*/ 43434 w 86868"/>
                  <a:gd name="connsiteY9" fmla="*/ 10550 h 86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868" h="86868">
                    <a:moveTo>
                      <a:pt x="43434" y="86869"/>
                    </a:moveTo>
                    <a:cubicBezTo>
                      <a:pt x="19478" y="86869"/>
                      <a:pt x="0" y="67391"/>
                      <a:pt x="0" y="43434"/>
                    </a:cubicBezTo>
                    <a:cubicBezTo>
                      <a:pt x="0" y="19478"/>
                      <a:pt x="19478" y="0"/>
                      <a:pt x="43434" y="0"/>
                    </a:cubicBezTo>
                    <a:cubicBezTo>
                      <a:pt x="67391" y="0"/>
                      <a:pt x="86869" y="19478"/>
                      <a:pt x="86869" y="43434"/>
                    </a:cubicBezTo>
                    <a:cubicBezTo>
                      <a:pt x="86869" y="67391"/>
                      <a:pt x="67361" y="86869"/>
                      <a:pt x="43434" y="86869"/>
                    </a:cubicBezTo>
                    <a:close/>
                    <a:moveTo>
                      <a:pt x="43434" y="10550"/>
                    </a:moveTo>
                    <a:cubicBezTo>
                      <a:pt x="25309" y="10550"/>
                      <a:pt x="10550" y="25309"/>
                      <a:pt x="10550" y="43434"/>
                    </a:cubicBezTo>
                    <a:cubicBezTo>
                      <a:pt x="10550" y="61559"/>
                      <a:pt x="25309" y="76318"/>
                      <a:pt x="43434" y="76318"/>
                    </a:cubicBezTo>
                    <a:cubicBezTo>
                      <a:pt x="61559" y="76318"/>
                      <a:pt x="76318" y="61559"/>
                      <a:pt x="76318" y="43434"/>
                    </a:cubicBezTo>
                    <a:cubicBezTo>
                      <a:pt x="76318" y="25309"/>
                      <a:pt x="61559" y="10550"/>
                      <a:pt x="43434" y="10550"/>
                    </a:cubicBezTo>
                    <a:close/>
                  </a:path>
                </a:pathLst>
              </a:custGeom>
              <a:solidFill>
                <a:schemeClr val="accent1"/>
              </a:solidFill>
              <a:ln w="3004" cap="flat">
                <a:noFill/>
                <a:prstDash val="solid"/>
                <a:miter/>
              </a:ln>
            </p:spPr>
            <p:txBody>
              <a:bodyPr rtlCol="0" anchor="ctr"/>
              <a:lstStyle/>
              <a:p>
                <a:endParaRPr lang="en-GB" dirty="0"/>
              </a:p>
            </p:txBody>
          </p:sp>
        </p:grpSp>
      </p:grpSp>
      <p:grpSp>
        <p:nvGrpSpPr>
          <p:cNvPr id="34" name="Group 33">
            <a:extLst>
              <a:ext uri="{FF2B5EF4-FFF2-40B4-BE49-F238E27FC236}">
                <a16:creationId xmlns:a16="http://schemas.microsoft.com/office/drawing/2014/main" id="{3D6323FE-2213-081C-3C98-99E4D51457C2}"/>
              </a:ext>
            </a:extLst>
          </p:cNvPr>
          <p:cNvGrpSpPr/>
          <p:nvPr/>
        </p:nvGrpSpPr>
        <p:grpSpPr>
          <a:xfrm>
            <a:off x="8038954" y="3273400"/>
            <a:ext cx="627376" cy="432000"/>
            <a:chOff x="8086341" y="3273400"/>
            <a:chExt cx="627376" cy="432000"/>
          </a:xfrm>
        </p:grpSpPr>
        <p:grpSp>
          <p:nvGrpSpPr>
            <p:cNvPr id="455" name="Grafik 19">
              <a:extLst>
                <a:ext uri="{FF2B5EF4-FFF2-40B4-BE49-F238E27FC236}">
                  <a16:creationId xmlns:a16="http://schemas.microsoft.com/office/drawing/2014/main" id="{120DC455-026C-4D05-B56D-A1908114BDA0}"/>
                </a:ext>
              </a:extLst>
            </p:cNvPr>
            <p:cNvGrpSpPr/>
            <p:nvPr/>
          </p:nvGrpSpPr>
          <p:grpSpPr>
            <a:xfrm>
              <a:off x="8086341" y="3273400"/>
              <a:ext cx="333524" cy="432000"/>
              <a:chOff x="3290612" y="3353340"/>
              <a:chExt cx="311825" cy="403894"/>
            </a:xfrm>
            <a:solidFill>
              <a:schemeClr val="tx2"/>
            </a:solidFill>
          </p:grpSpPr>
          <p:grpSp>
            <p:nvGrpSpPr>
              <p:cNvPr id="464" name="Grafik 19">
                <a:extLst>
                  <a:ext uri="{FF2B5EF4-FFF2-40B4-BE49-F238E27FC236}">
                    <a16:creationId xmlns:a16="http://schemas.microsoft.com/office/drawing/2014/main" id="{3B0EDFB1-8F2A-408F-B304-20BA94337A3E}"/>
                  </a:ext>
                </a:extLst>
              </p:cNvPr>
              <p:cNvGrpSpPr/>
              <p:nvPr/>
            </p:nvGrpSpPr>
            <p:grpSpPr>
              <a:xfrm>
                <a:off x="3290612" y="3353340"/>
                <a:ext cx="311825" cy="403894"/>
                <a:chOff x="3290612" y="3353340"/>
                <a:chExt cx="311825" cy="403894"/>
              </a:xfrm>
              <a:grpFill/>
            </p:grpSpPr>
            <p:sp>
              <p:nvSpPr>
                <p:cNvPr id="468" name="Freihandform: Form 467">
                  <a:extLst>
                    <a:ext uri="{FF2B5EF4-FFF2-40B4-BE49-F238E27FC236}">
                      <a16:creationId xmlns:a16="http://schemas.microsoft.com/office/drawing/2014/main" id="{B8018FE1-EE7F-4BD9-B175-3D9E1C46D5F1}"/>
                    </a:ext>
                  </a:extLst>
                </p:cNvPr>
                <p:cNvSpPr/>
                <p:nvPr/>
              </p:nvSpPr>
              <p:spPr>
                <a:xfrm>
                  <a:off x="3340840" y="3353340"/>
                  <a:ext cx="261597" cy="345310"/>
                </a:xfrm>
                <a:custGeom>
                  <a:avLst/>
                  <a:gdLst>
                    <a:gd name="connsiteX0" fmla="*/ 256338 w 261597"/>
                    <a:gd name="connsiteY0" fmla="*/ 345310 h 345310"/>
                    <a:gd name="connsiteX1" fmla="*/ 5260 w 261597"/>
                    <a:gd name="connsiteY1" fmla="*/ 345310 h 345310"/>
                    <a:gd name="connsiteX2" fmla="*/ 0 w 261597"/>
                    <a:gd name="connsiteY2" fmla="*/ 340050 h 345310"/>
                    <a:gd name="connsiteX3" fmla="*/ 0 w 261597"/>
                    <a:gd name="connsiteY3" fmla="*/ 5260 h 345310"/>
                    <a:gd name="connsiteX4" fmla="*/ 5260 w 261597"/>
                    <a:gd name="connsiteY4" fmla="*/ 0 h 345310"/>
                    <a:gd name="connsiteX5" fmla="*/ 256338 w 261597"/>
                    <a:gd name="connsiteY5" fmla="*/ 0 h 345310"/>
                    <a:gd name="connsiteX6" fmla="*/ 261598 w 261597"/>
                    <a:gd name="connsiteY6" fmla="*/ 5260 h 345310"/>
                    <a:gd name="connsiteX7" fmla="*/ 261598 w 261597"/>
                    <a:gd name="connsiteY7" fmla="*/ 340020 h 345310"/>
                    <a:gd name="connsiteX8" fmla="*/ 256338 w 261597"/>
                    <a:gd name="connsiteY8" fmla="*/ 345310 h 345310"/>
                    <a:gd name="connsiteX9" fmla="*/ 10520 w 261597"/>
                    <a:gd name="connsiteY9" fmla="*/ 334760 h 345310"/>
                    <a:gd name="connsiteX10" fmla="*/ 251047 w 261597"/>
                    <a:gd name="connsiteY10" fmla="*/ 334760 h 345310"/>
                    <a:gd name="connsiteX11" fmla="*/ 251047 w 261597"/>
                    <a:gd name="connsiteY11" fmla="*/ 10551 h 345310"/>
                    <a:gd name="connsiteX12" fmla="*/ 10520 w 261597"/>
                    <a:gd name="connsiteY12" fmla="*/ 10551 h 345310"/>
                    <a:gd name="connsiteX13" fmla="*/ 10520 w 261597"/>
                    <a:gd name="connsiteY13" fmla="*/ 334760 h 34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61597" h="345310">
                      <a:moveTo>
                        <a:pt x="256338" y="345310"/>
                      </a:moveTo>
                      <a:lnTo>
                        <a:pt x="5260" y="345310"/>
                      </a:lnTo>
                      <a:cubicBezTo>
                        <a:pt x="2344" y="345310"/>
                        <a:pt x="0" y="342936"/>
                        <a:pt x="0" y="340050"/>
                      </a:cubicBezTo>
                      <a:lnTo>
                        <a:pt x="0" y="5260"/>
                      </a:lnTo>
                      <a:cubicBezTo>
                        <a:pt x="0" y="2345"/>
                        <a:pt x="2375" y="0"/>
                        <a:pt x="5260" y="0"/>
                      </a:cubicBezTo>
                      <a:lnTo>
                        <a:pt x="256338" y="0"/>
                      </a:lnTo>
                      <a:cubicBezTo>
                        <a:pt x="259253" y="0"/>
                        <a:pt x="261598" y="2375"/>
                        <a:pt x="261598" y="5260"/>
                      </a:cubicBezTo>
                      <a:lnTo>
                        <a:pt x="261598" y="340020"/>
                      </a:lnTo>
                      <a:cubicBezTo>
                        <a:pt x="261598" y="342936"/>
                        <a:pt x="259253" y="345310"/>
                        <a:pt x="256338" y="345310"/>
                      </a:cubicBezTo>
                      <a:close/>
                      <a:moveTo>
                        <a:pt x="10520" y="334760"/>
                      </a:moveTo>
                      <a:lnTo>
                        <a:pt x="251047" y="334760"/>
                      </a:lnTo>
                      <a:lnTo>
                        <a:pt x="251047" y="10551"/>
                      </a:lnTo>
                      <a:lnTo>
                        <a:pt x="10520" y="10551"/>
                      </a:lnTo>
                      <a:lnTo>
                        <a:pt x="10520" y="334760"/>
                      </a:lnTo>
                      <a:close/>
                    </a:path>
                  </a:pathLst>
                </a:custGeom>
                <a:grpFill/>
                <a:ln w="3004" cap="flat">
                  <a:noFill/>
                  <a:prstDash val="solid"/>
                  <a:miter/>
                </a:ln>
              </p:spPr>
              <p:txBody>
                <a:bodyPr rtlCol="0" anchor="ctr"/>
                <a:lstStyle/>
                <a:p>
                  <a:endParaRPr lang="en-GB" dirty="0"/>
                </a:p>
              </p:txBody>
            </p:sp>
            <p:sp>
              <p:nvSpPr>
                <p:cNvPr id="469" name="Freihandform: Form 468">
                  <a:extLst>
                    <a:ext uri="{FF2B5EF4-FFF2-40B4-BE49-F238E27FC236}">
                      <a16:creationId xmlns:a16="http://schemas.microsoft.com/office/drawing/2014/main" id="{6E7F557F-0BFC-463C-9604-07BE4945F0A1}"/>
                    </a:ext>
                  </a:extLst>
                </p:cNvPr>
                <p:cNvSpPr/>
                <p:nvPr/>
              </p:nvSpPr>
              <p:spPr>
                <a:xfrm>
                  <a:off x="3290612" y="3383488"/>
                  <a:ext cx="10520" cy="348646"/>
                </a:xfrm>
                <a:custGeom>
                  <a:avLst/>
                  <a:gdLst>
                    <a:gd name="connsiteX0" fmla="*/ 5260 w 10520"/>
                    <a:gd name="connsiteY0" fmla="*/ 348647 h 348646"/>
                    <a:gd name="connsiteX1" fmla="*/ 0 w 10520"/>
                    <a:gd name="connsiteY1" fmla="*/ 343387 h 348646"/>
                    <a:gd name="connsiteX2" fmla="*/ 0 w 10520"/>
                    <a:gd name="connsiteY2" fmla="*/ 5260 h 348646"/>
                    <a:gd name="connsiteX3" fmla="*/ 5260 w 10520"/>
                    <a:gd name="connsiteY3" fmla="*/ 0 h 348646"/>
                    <a:gd name="connsiteX4" fmla="*/ 10520 w 10520"/>
                    <a:gd name="connsiteY4" fmla="*/ 5260 h 348646"/>
                    <a:gd name="connsiteX5" fmla="*/ 10520 w 10520"/>
                    <a:gd name="connsiteY5" fmla="*/ 343357 h 348646"/>
                    <a:gd name="connsiteX6" fmla="*/ 5260 w 10520"/>
                    <a:gd name="connsiteY6" fmla="*/ 348647 h 348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348646">
                      <a:moveTo>
                        <a:pt x="5260" y="348647"/>
                      </a:moveTo>
                      <a:cubicBezTo>
                        <a:pt x="2345" y="348647"/>
                        <a:pt x="0" y="346272"/>
                        <a:pt x="0" y="343387"/>
                      </a:cubicBezTo>
                      <a:lnTo>
                        <a:pt x="0" y="5260"/>
                      </a:lnTo>
                      <a:cubicBezTo>
                        <a:pt x="0" y="2344"/>
                        <a:pt x="2375" y="0"/>
                        <a:pt x="5260" y="0"/>
                      </a:cubicBezTo>
                      <a:cubicBezTo>
                        <a:pt x="8176" y="0"/>
                        <a:pt x="10520" y="2375"/>
                        <a:pt x="10520" y="5260"/>
                      </a:cubicBezTo>
                      <a:lnTo>
                        <a:pt x="10520" y="343357"/>
                      </a:lnTo>
                      <a:cubicBezTo>
                        <a:pt x="10551" y="346272"/>
                        <a:pt x="8176" y="348647"/>
                        <a:pt x="5260" y="348647"/>
                      </a:cubicBezTo>
                      <a:close/>
                    </a:path>
                  </a:pathLst>
                </a:custGeom>
                <a:grpFill/>
                <a:ln w="3004" cap="flat">
                  <a:noFill/>
                  <a:prstDash val="solid"/>
                  <a:miter/>
                </a:ln>
              </p:spPr>
              <p:txBody>
                <a:bodyPr rtlCol="0" anchor="ctr"/>
                <a:lstStyle/>
                <a:p>
                  <a:endParaRPr lang="en-GB" dirty="0"/>
                </a:p>
              </p:txBody>
            </p:sp>
            <p:sp>
              <p:nvSpPr>
                <p:cNvPr id="470" name="Freihandform: Form 469">
                  <a:extLst>
                    <a:ext uri="{FF2B5EF4-FFF2-40B4-BE49-F238E27FC236}">
                      <a16:creationId xmlns:a16="http://schemas.microsoft.com/office/drawing/2014/main" id="{FB7B4A90-7076-4EA5-9F54-7CC74FE25CE1}"/>
                    </a:ext>
                  </a:extLst>
                </p:cNvPr>
                <p:cNvSpPr/>
                <p:nvPr/>
              </p:nvSpPr>
              <p:spPr>
                <a:xfrm>
                  <a:off x="3340840" y="3353340"/>
                  <a:ext cx="10520" cy="345310"/>
                </a:xfrm>
                <a:custGeom>
                  <a:avLst/>
                  <a:gdLst>
                    <a:gd name="connsiteX0" fmla="*/ 5260 w 10520"/>
                    <a:gd name="connsiteY0" fmla="*/ 345310 h 345310"/>
                    <a:gd name="connsiteX1" fmla="*/ 0 w 10520"/>
                    <a:gd name="connsiteY1" fmla="*/ 340050 h 345310"/>
                    <a:gd name="connsiteX2" fmla="*/ 0 w 10520"/>
                    <a:gd name="connsiteY2" fmla="*/ 5260 h 345310"/>
                    <a:gd name="connsiteX3" fmla="*/ 5260 w 10520"/>
                    <a:gd name="connsiteY3" fmla="*/ 0 h 345310"/>
                    <a:gd name="connsiteX4" fmla="*/ 10520 w 10520"/>
                    <a:gd name="connsiteY4" fmla="*/ 5260 h 345310"/>
                    <a:gd name="connsiteX5" fmla="*/ 10520 w 10520"/>
                    <a:gd name="connsiteY5" fmla="*/ 340020 h 345310"/>
                    <a:gd name="connsiteX6" fmla="*/ 5260 w 10520"/>
                    <a:gd name="connsiteY6" fmla="*/ 345310 h 345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345310">
                      <a:moveTo>
                        <a:pt x="5260" y="345310"/>
                      </a:moveTo>
                      <a:cubicBezTo>
                        <a:pt x="2344" y="345310"/>
                        <a:pt x="0" y="342936"/>
                        <a:pt x="0" y="340050"/>
                      </a:cubicBezTo>
                      <a:lnTo>
                        <a:pt x="0" y="5260"/>
                      </a:lnTo>
                      <a:cubicBezTo>
                        <a:pt x="0" y="2345"/>
                        <a:pt x="2375" y="0"/>
                        <a:pt x="5260" y="0"/>
                      </a:cubicBezTo>
                      <a:cubicBezTo>
                        <a:pt x="8176" y="0"/>
                        <a:pt x="10520" y="2375"/>
                        <a:pt x="10520" y="5260"/>
                      </a:cubicBezTo>
                      <a:lnTo>
                        <a:pt x="10520" y="340020"/>
                      </a:lnTo>
                      <a:cubicBezTo>
                        <a:pt x="10520" y="342936"/>
                        <a:pt x="8176" y="345310"/>
                        <a:pt x="5260" y="345310"/>
                      </a:cubicBezTo>
                      <a:close/>
                    </a:path>
                  </a:pathLst>
                </a:custGeom>
                <a:grpFill/>
                <a:ln w="3004" cap="flat">
                  <a:noFill/>
                  <a:prstDash val="solid"/>
                  <a:miter/>
                </a:ln>
              </p:spPr>
              <p:txBody>
                <a:bodyPr rtlCol="0" anchor="ctr"/>
                <a:lstStyle/>
                <a:p>
                  <a:endParaRPr lang="en-GB" dirty="0"/>
                </a:p>
              </p:txBody>
            </p:sp>
            <p:sp>
              <p:nvSpPr>
                <p:cNvPr id="471" name="Freihandform: Form 470">
                  <a:extLst>
                    <a:ext uri="{FF2B5EF4-FFF2-40B4-BE49-F238E27FC236}">
                      <a16:creationId xmlns:a16="http://schemas.microsoft.com/office/drawing/2014/main" id="{4DEA26AE-48E9-420C-A5E8-1A9FC38BB117}"/>
                    </a:ext>
                  </a:extLst>
                </p:cNvPr>
                <p:cNvSpPr/>
                <p:nvPr/>
              </p:nvSpPr>
              <p:spPr>
                <a:xfrm>
                  <a:off x="3290612" y="3688100"/>
                  <a:ext cx="311705" cy="69134"/>
                </a:xfrm>
                <a:custGeom>
                  <a:avLst/>
                  <a:gdLst>
                    <a:gd name="connsiteX0" fmla="*/ 306445 w 311705"/>
                    <a:gd name="connsiteY0" fmla="*/ 69134 h 69134"/>
                    <a:gd name="connsiteX1" fmla="*/ 37693 w 311705"/>
                    <a:gd name="connsiteY1" fmla="*/ 69134 h 69134"/>
                    <a:gd name="connsiteX2" fmla="*/ 0 w 311705"/>
                    <a:gd name="connsiteY2" fmla="*/ 34567 h 69134"/>
                    <a:gd name="connsiteX3" fmla="*/ 37693 w 311705"/>
                    <a:gd name="connsiteY3" fmla="*/ 0 h 69134"/>
                    <a:gd name="connsiteX4" fmla="*/ 306445 w 311705"/>
                    <a:gd name="connsiteY4" fmla="*/ 0 h 69134"/>
                    <a:gd name="connsiteX5" fmla="*/ 311705 w 311705"/>
                    <a:gd name="connsiteY5" fmla="*/ 5260 h 69134"/>
                    <a:gd name="connsiteX6" fmla="*/ 306445 w 311705"/>
                    <a:gd name="connsiteY6" fmla="*/ 10520 h 69134"/>
                    <a:gd name="connsiteX7" fmla="*/ 37693 w 311705"/>
                    <a:gd name="connsiteY7" fmla="*/ 10520 h 69134"/>
                    <a:gd name="connsiteX8" fmla="*/ 10520 w 311705"/>
                    <a:gd name="connsiteY8" fmla="*/ 34537 h 69134"/>
                    <a:gd name="connsiteX9" fmla="*/ 37693 w 311705"/>
                    <a:gd name="connsiteY9" fmla="*/ 58554 h 69134"/>
                    <a:gd name="connsiteX10" fmla="*/ 306445 w 311705"/>
                    <a:gd name="connsiteY10" fmla="*/ 58554 h 69134"/>
                    <a:gd name="connsiteX11" fmla="*/ 311705 w 311705"/>
                    <a:gd name="connsiteY11" fmla="*/ 63814 h 69134"/>
                    <a:gd name="connsiteX12" fmla="*/ 306445 w 311705"/>
                    <a:gd name="connsiteY12" fmla="*/ 69134 h 6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1705" h="69134">
                      <a:moveTo>
                        <a:pt x="306445" y="69134"/>
                      </a:moveTo>
                      <a:lnTo>
                        <a:pt x="37693" y="69134"/>
                      </a:lnTo>
                      <a:cubicBezTo>
                        <a:pt x="16893" y="69134"/>
                        <a:pt x="0" y="53624"/>
                        <a:pt x="0" y="34567"/>
                      </a:cubicBezTo>
                      <a:cubicBezTo>
                        <a:pt x="0" y="15510"/>
                        <a:pt x="16923" y="0"/>
                        <a:pt x="37693" y="0"/>
                      </a:cubicBezTo>
                      <a:lnTo>
                        <a:pt x="306445" y="0"/>
                      </a:lnTo>
                      <a:cubicBezTo>
                        <a:pt x="309361" y="0"/>
                        <a:pt x="311705" y="2375"/>
                        <a:pt x="311705" y="5260"/>
                      </a:cubicBezTo>
                      <a:cubicBezTo>
                        <a:pt x="311705" y="8176"/>
                        <a:pt x="309331" y="10520"/>
                        <a:pt x="306445" y="10520"/>
                      </a:cubicBezTo>
                      <a:lnTo>
                        <a:pt x="37693" y="10520"/>
                      </a:lnTo>
                      <a:cubicBezTo>
                        <a:pt x="22724" y="10520"/>
                        <a:pt x="10520" y="21311"/>
                        <a:pt x="10520" y="34537"/>
                      </a:cubicBezTo>
                      <a:cubicBezTo>
                        <a:pt x="10520" y="47763"/>
                        <a:pt x="22694" y="58554"/>
                        <a:pt x="37693" y="58554"/>
                      </a:cubicBezTo>
                      <a:lnTo>
                        <a:pt x="306445" y="58554"/>
                      </a:lnTo>
                      <a:cubicBezTo>
                        <a:pt x="309361" y="58554"/>
                        <a:pt x="311705" y="60928"/>
                        <a:pt x="311705" y="63814"/>
                      </a:cubicBezTo>
                      <a:cubicBezTo>
                        <a:pt x="311705" y="66760"/>
                        <a:pt x="309361" y="69134"/>
                        <a:pt x="306445" y="69134"/>
                      </a:cubicBezTo>
                      <a:close/>
                    </a:path>
                  </a:pathLst>
                </a:custGeom>
                <a:grpFill/>
                <a:ln w="3004" cap="flat">
                  <a:noFill/>
                  <a:prstDash val="solid"/>
                  <a:miter/>
                </a:ln>
              </p:spPr>
              <p:txBody>
                <a:bodyPr rtlCol="0" anchor="ctr"/>
                <a:lstStyle/>
                <a:p>
                  <a:endParaRPr lang="en-GB" dirty="0"/>
                </a:p>
              </p:txBody>
            </p:sp>
            <p:sp>
              <p:nvSpPr>
                <p:cNvPr id="472" name="Freihandform: Form 471">
                  <a:extLst>
                    <a:ext uri="{FF2B5EF4-FFF2-40B4-BE49-F238E27FC236}">
                      <a16:creationId xmlns:a16="http://schemas.microsoft.com/office/drawing/2014/main" id="{28EC3E33-C3E3-45B1-BACD-02631077D5B7}"/>
                    </a:ext>
                  </a:extLst>
                </p:cNvPr>
                <p:cNvSpPr/>
                <p:nvPr/>
              </p:nvSpPr>
              <p:spPr>
                <a:xfrm>
                  <a:off x="3290612" y="3353340"/>
                  <a:ext cx="61439" cy="39827"/>
                </a:xfrm>
                <a:custGeom>
                  <a:avLst/>
                  <a:gdLst>
                    <a:gd name="connsiteX0" fmla="*/ 5260 w 61439"/>
                    <a:gd name="connsiteY0" fmla="*/ 39827 h 39827"/>
                    <a:gd name="connsiteX1" fmla="*/ 0 w 61439"/>
                    <a:gd name="connsiteY1" fmla="*/ 34567 h 39827"/>
                    <a:gd name="connsiteX2" fmla="*/ 37813 w 61439"/>
                    <a:gd name="connsiteY2" fmla="*/ 0 h 39827"/>
                    <a:gd name="connsiteX3" fmla="*/ 56179 w 61439"/>
                    <a:gd name="connsiteY3" fmla="*/ 0 h 39827"/>
                    <a:gd name="connsiteX4" fmla="*/ 61439 w 61439"/>
                    <a:gd name="connsiteY4" fmla="*/ 5260 h 39827"/>
                    <a:gd name="connsiteX5" fmla="*/ 56179 w 61439"/>
                    <a:gd name="connsiteY5" fmla="*/ 10520 h 39827"/>
                    <a:gd name="connsiteX6" fmla="*/ 37813 w 61439"/>
                    <a:gd name="connsiteY6" fmla="*/ 10520 h 39827"/>
                    <a:gd name="connsiteX7" fmla="*/ 10551 w 61439"/>
                    <a:gd name="connsiteY7" fmla="*/ 34537 h 39827"/>
                    <a:gd name="connsiteX8" fmla="*/ 5260 w 61439"/>
                    <a:gd name="connsiteY8" fmla="*/ 39827 h 3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439" h="39827">
                      <a:moveTo>
                        <a:pt x="5260" y="39827"/>
                      </a:moveTo>
                      <a:cubicBezTo>
                        <a:pt x="2345" y="39827"/>
                        <a:pt x="0" y="37453"/>
                        <a:pt x="0" y="34567"/>
                      </a:cubicBezTo>
                      <a:cubicBezTo>
                        <a:pt x="0" y="15510"/>
                        <a:pt x="16953" y="0"/>
                        <a:pt x="37813" y="0"/>
                      </a:cubicBezTo>
                      <a:lnTo>
                        <a:pt x="56179" y="0"/>
                      </a:lnTo>
                      <a:cubicBezTo>
                        <a:pt x="59095" y="0"/>
                        <a:pt x="61439" y="2375"/>
                        <a:pt x="61439" y="5260"/>
                      </a:cubicBezTo>
                      <a:cubicBezTo>
                        <a:pt x="61439" y="8146"/>
                        <a:pt x="59065" y="10520"/>
                        <a:pt x="56179" y="10520"/>
                      </a:cubicBezTo>
                      <a:lnTo>
                        <a:pt x="37813" y="10520"/>
                      </a:lnTo>
                      <a:cubicBezTo>
                        <a:pt x="22784" y="10520"/>
                        <a:pt x="10551" y="21311"/>
                        <a:pt x="10551" y="34537"/>
                      </a:cubicBezTo>
                      <a:cubicBezTo>
                        <a:pt x="10551" y="37453"/>
                        <a:pt x="8176" y="39827"/>
                        <a:pt x="5260" y="39827"/>
                      </a:cubicBezTo>
                      <a:close/>
                    </a:path>
                  </a:pathLst>
                </a:custGeom>
                <a:grpFill/>
                <a:ln w="3004" cap="flat">
                  <a:noFill/>
                  <a:prstDash val="solid"/>
                  <a:miter/>
                </a:ln>
              </p:spPr>
              <p:txBody>
                <a:bodyPr rtlCol="0" anchor="ctr"/>
                <a:lstStyle/>
                <a:p>
                  <a:endParaRPr lang="en-GB" dirty="0"/>
                </a:p>
              </p:txBody>
            </p:sp>
          </p:grpSp>
          <p:sp>
            <p:nvSpPr>
              <p:cNvPr id="465" name="Freihandform: Form 464">
                <a:extLst>
                  <a:ext uri="{FF2B5EF4-FFF2-40B4-BE49-F238E27FC236}">
                    <a16:creationId xmlns:a16="http://schemas.microsoft.com/office/drawing/2014/main" id="{C1F10236-741E-4BB9-BD19-E429901D6AEF}"/>
                  </a:ext>
                </a:extLst>
              </p:cNvPr>
              <p:cNvSpPr/>
              <p:nvPr/>
            </p:nvSpPr>
            <p:spPr>
              <a:xfrm>
                <a:off x="3357582" y="3719511"/>
                <a:ext cx="244855" cy="10520"/>
              </a:xfrm>
              <a:custGeom>
                <a:avLst/>
                <a:gdLst>
                  <a:gd name="connsiteX0" fmla="*/ 239595 w 244855"/>
                  <a:gd name="connsiteY0" fmla="*/ 10520 h 10520"/>
                  <a:gd name="connsiteX1" fmla="*/ 5260 w 244855"/>
                  <a:gd name="connsiteY1" fmla="*/ 10520 h 10520"/>
                  <a:gd name="connsiteX2" fmla="*/ 0 w 244855"/>
                  <a:gd name="connsiteY2" fmla="*/ 5260 h 10520"/>
                  <a:gd name="connsiteX3" fmla="*/ 5260 w 244855"/>
                  <a:gd name="connsiteY3" fmla="*/ 0 h 10520"/>
                  <a:gd name="connsiteX4" fmla="*/ 239595 w 244855"/>
                  <a:gd name="connsiteY4" fmla="*/ 0 h 10520"/>
                  <a:gd name="connsiteX5" fmla="*/ 244855 w 244855"/>
                  <a:gd name="connsiteY5" fmla="*/ 5260 h 10520"/>
                  <a:gd name="connsiteX6" fmla="*/ 239595 w 244855"/>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855" h="10520">
                    <a:moveTo>
                      <a:pt x="239595" y="10520"/>
                    </a:moveTo>
                    <a:lnTo>
                      <a:pt x="5260" y="10520"/>
                    </a:lnTo>
                    <a:cubicBezTo>
                      <a:pt x="2344" y="10520"/>
                      <a:pt x="0" y="8146"/>
                      <a:pt x="0" y="5260"/>
                    </a:cubicBezTo>
                    <a:cubicBezTo>
                      <a:pt x="0" y="2345"/>
                      <a:pt x="2375" y="0"/>
                      <a:pt x="5260" y="0"/>
                    </a:cubicBezTo>
                    <a:lnTo>
                      <a:pt x="239595" y="0"/>
                    </a:lnTo>
                    <a:cubicBezTo>
                      <a:pt x="242511" y="0"/>
                      <a:pt x="244855" y="2375"/>
                      <a:pt x="244855" y="5260"/>
                    </a:cubicBezTo>
                    <a:cubicBezTo>
                      <a:pt x="244855" y="8146"/>
                      <a:pt x="242511" y="10520"/>
                      <a:pt x="239595" y="10520"/>
                    </a:cubicBezTo>
                    <a:close/>
                  </a:path>
                </a:pathLst>
              </a:custGeom>
              <a:grpFill/>
              <a:ln w="3004" cap="flat">
                <a:noFill/>
                <a:prstDash val="solid"/>
                <a:miter/>
              </a:ln>
            </p:spPr>
            <p:txBody>
              <a:bodyPr rtlCol="0" anchor="ctr"/>
              <a:lstStyle/>
              <a:p>
                <a:endParaRPr lang="en-GB" dirty="0"/>
              </a:p>
            </p:txBody>
          </p:sp>
          <p:sp>
            <p:nvSpPr>
              <p:cNvPr id="466" name="Freihandform: Form 465">
                <a:extLst>
                  <a:ext uri="{FF2B5EF4-FFF2-40B4-BE49-F238E27FC236}">
                    <a16:creationId xmlns:a16="http://schemas.microsoft.com/office/drawing/2014/main" id="{8883CE96-A33C-4556-9CFB-B026B6A83F76}"/>
                  </a:ext>
                </a:extLst>
              </p:cNvPr>
              <p:cNvSpPr/>
              <p:nvPr/>
            </p:nvSpPr>
            <p:spPr>
              <a:xfrm>
                <a:off x="3424522" y="3453795"/>
                <a:ext cx="94203" cy="10520"/>
              </a:xfrm>
              <a:custGeom>
                <a:avLst/>
                <a:gdLst>
                  <a:gd name="connsiteX0" fmla="*/ 88943 w 94203"/>
                  <a:gd name="connsiteY0" fmla="*/ 10520 h 10520"/>
                  <a:gd name="connsiteX1" fmla="*/ 5260 w 94203"/>
                  <a:gd name="connsiteY1" fmla="*/ 10520 h 10520"/>
                  <a:gd name="connsiteX2" fmla="*/ 0 w 94203"/>
                  <a:gd name="connsiteY2" fmla="*/ 5260 h 10520"/>
                  <a:gd name="connsiteX3" fmla="*/ 5260 w 94203"/>
                  <a:gd name="connsiteY3" fmla="*/ 0 h 10520"/>
                  <a:gd name="connsiteX4" fmla="*/ 88943 w 94203"/>
                  <a:gd name="connsiteY4" fmla="*/ 0 h 10520"/>
                  <a:gd name="connsiteX5" fmla="*/ 94203 w 94203"/>
                  <a:gd name="connsiteY5" fmla="*/ 5260 h 10520"/>
                  <a:gd name="connsiteX6" fmla="*/ 88943 w 94203"/>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203" h="10520">
                    <a:moveTo>
                      <a:pt x="88943" y="10520"/>
                    </a:moveTo>
                    <a:lnTo>
                      <a:pt x="5260" y="10520"/>
                    </a:lnTo>
                    <a:cubicBezTo>
                      <a:pt x="2345" y="10520"/>
                      <a:pt x="0" y="8146"/>
                      <a:pt x="0" y="5260"/>
                    </a:cubicBezTo>
                    <a:cubicBezTo>
                      <a:pt x="0" y="2344"/>
                      <a:pt x="2375" y="0"/>
                      <a:pt x="5260" y="0"/>
                    </a:cubicBezTo>
                    <a:lnTo>
                      <a:pt x="88943" y="0"/>
                    </a:lnTo>
                    <a:cubicBezTo>
                      <a:pt x="91858" y="0"/>
                      <a:pt x="94203" y="2375"/>
                      <a:pt x="94203" y="5260"/>
                    </a:cubicBezTo>
                    <a:cubicBezTo>
                      <a:pt x="94233" y="8146"/>
                      <a:pt x="91858" y="10520"/>
                      <a:pt x="88943" y="10520"/>
                    </a:cubicBezTo>
                    <a:close/>
                  </a:path>
                </a:pathLst>
              </a:custGeom>
              <a:grpFill/>
              <a:ln w="3004" cap="flat">
                <a:noFill/>
                <a:prstDash val="solid"/>
                <a:miter/>
              </a:ln>
            </p:spPr>
            <p:txBody>
              <a:bodyPr rtlCol="0" anchor="ctr"/>
              <a:lstStyle/>
              <a:p>
                <a:endParaRPr lang="en-GB" dirty="0"/>
              </a:p>
            </p:txBody>
          </p:sp>
          <p:sp>
            <p:nvSpPr>
              <p:cNvPr id="467" name="Freihandform: Form 466">
                <a:extLst>
                  <a:ext uri="{FF2B5EF4-FFF2-40B4-BE49-F238E27FC236}">
                    <a16:creationId xmlns:a16="http://schemas.microsoft.com/office/drawing/2014/main" id="{180F527C-2C7A-4A0B-8785-45377C76457F}"/>
                  </a:ext>
                </a:extLst>
              </p:cNvPr>
              <p:cNvSpPr/>
              <p:nvPr/>
            </p:nvSpPr>
            <p:spPr>
              <a:xfrm>
                <a:off x="3407780" y="3503992"/>
                <a:ext cx="127688" cy="10520"/>
              </a:xfrm>
              <a:custGeom>
                <a:avLst/>
                <a:gdLst>
                  <a:gd name="connsiteX0" fmla="*/ 122428 w 127688"/>
                  <a:gd name="connsiteY0" fmla="*/ 10520 h 10520"/>
                  <a:gd name="connsiteX1" fmla="*/ 5260 w 127688"/>
                  <a:gd name="connsiteY1" fmla="*/ 10520 h 10520"/>
                  <a:gd name="connsiteX2" fmla="*/ 0 w 127688"/>
                  <a:gd name="connsiteY2" fmla="*/ 5260 h 10520"/>
                  <a:gd name="connsiteX3" fmla="*/ 5260 w 127688"/>
                  <a:gd name="connsiteY3" fmla="*/ 0 h 10520"/>
                  <a:gd name="connsiteX4" fmla="*/ 122428 w 127688"/>
                  <a:gd name="connsiteY4" fmla="*/ 0 h 10520"/>
                  <a:gd name="connsiteX5" fmla="*/ 127688 w 127688"/>
                  <a:gd name="connsiteY5" fmla="*/ 5260 h 10520"/>
                  <a:gd name="connsiteX6" fmla="*/ 122428 w 127688"/>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688" h="10520">
                    <a:moveTo>
                      <a:pt x="122428" y="10520"/>
                    </a:moveTo>
                    <a:lnTo>
                      <a:pt x="5260" y="10520"/>
                    </a:lnTo>
                    <a:cubicBezTo>
                      <a:pt x="2345" y="10520"/>
                      <a:pt x="0" y="8146"/>
                      <a:pt x="0" y="5260"/>
                    </a:cubicBezTo>
                    <a:cubicBezTo>
                      <a:pt x="0" y="2344"/>
                      <a:pt x="2375" y="0"/>
                      <a:pt x="5260" y="0"/>
                    </a:cubicBezTo>
                    <a:lnTo>
                      <a:pt x="122428" y="0"/>
                    </a:lnTo>
                    <a:cubicBezTo>
                      <a:pt x="125343" y="0"/>
                      <a:pt x="127688" y="2375"/>
                      <a:pt x="127688" y="5260"/>
                    </a:cubicBezTo>
                    <a:cubicBezTo>
                      <a:pt x="127718" y="8176"/>
                      <a:pt x="125343" y="10520"/>
                      <a:pt x="122428" y="10520"/>
                    </a:cubicBezTo>
                    <a:close/>
                  </a:path>
                </a:pathLst>
              </a:custGeom>
              <a:grpFill/>
              <a:ln w="3004" cap="flat">
                <a:noFill/>
                <a:prstDash val="solid"/>
                <a:miter/>
              </a:ln>
            </p:spPr>
            <p:txBody>
              <a:bodyPr rtlCol="0" anchor="ctr"/>
              <a:lstStyle/>
              <a:p>
                <a:endParaRPr lang="en-GB" dirty="0"/>
              </a:p>
            </p:txBody>
          </p:sp>
        </p:grpSp>
        <p:grpSp>
          <p:nvGrpSpPr>
            <p:cNvPr id="456" name="Grafik 19">
              <a:extLst>
                <a:ext uri="{FF2B5EF4-FFF2-40B4-BE49-F238E27FC236}">
                  <a16:creationId xmlns:a16="http://schemas.microsoft.com/office/drawing/2014/main" id="{60DF4D0E-0C0C-4CA7-A73F-F4DAABFD99B3}"/>
                </a:ext>
              </a:extLst>
            </p:cNvPr>
            <p:cNvGrpSpPr/>
            <p:nvPr/>
          </p:nvGrpSpPr>
          <p:grpSpPr>
            <a:xfrm>
              <a:off x="8475261" y="3309148"/>
              <a:ext cx="238456" cy="343747"/>
              <a:chOff x="3654228" y="3386765"/>
              <a:chExt cx="222942" cy="321383"/>
            </a:xfrm>
            <a:solidFill>
              <a:schemeClr val="accent1"/>
            </a:solidFill>
          </p:grpSpPr>
          <p:sp>
            <p:nvSpPr>
              <p:cNvPr id="457" name="Freihandform: Form 456">
                <a:extLst>
                  <a:ext uri="{FF2B5EF4-FFF2-40B4-BE49-F238E27FC236}">
                    <a16:creationId xmlns:a16="http://schemas.microsoft.com/office/drawing/2014/main" id="{8D9349E8-C9E0-40F1-BAB9-BFFD02C6ABCB}"/>
                  </a:ext>
                </a:extLst>
              </p:cNvPr>
              <p:cNvSpPr/>
              <p:nvPr/>
            </p:nvSpPr>
            <p:spPr>
              <a:xfrm>
                <a:off x="3866651" y="3561404"/>
                <a:ext cx="10520" cy="53082"/>
              </a:xfrm>
              <a:custGeom>
                <a:avLst/>
                <a:gdLst>
                  <a:gd name="connsiteX0" fmla="*/ 5260 w 10520"/>
                  <a:gd name="connsiteY0" fmla="*/ 53083 h 53082"/>
                  <a:gd name="connsiteX1" fmla="*/ 0 w 10520"/>
                  <a:gd name="connsiteY1" fmla="*/ 47823 h 53082"/>
                  <a:gd name="connsiteX2" fmla="*/ 0 w 10520"/>
                  <a:gd name="connsiteY2" fmla="*/ 5260 h 53082"/>
                  <a:gd name="connsiteX3" fmla="*/ 5260 w 10520"/>
                  <a:gd name="connsiteY3" fmla="*/ 0 h 53082"/>
                  <a:gd name="connsiteX4" fmla="*/ 10520 w 10520"/>
                  <a:gd name="connsiteY4" fmla="*/ 5260 h 53082"/>
                  <a:gd name="connsiteX5" fmla="*/ 10520 w 10520"/>
                  <a:gd name="connsiteY5" fmla="*/ 47823 h 53082"/>
                  <a:gd name="connsiteX6" fmla="*/ 5260 w 10520"/>
                  <a:gd name="connsiteY6" fmla="*/ 53083 h 53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53082">
                    <a:moveTo>
                      <a:pt x="5260" y="53083"/>
                    </a:moveTo>
                    <a:cubicBezTo>
                      <a:pt x="2344" y="53083"/>
                      <a:pt x="0" y="50708"/>
                      <a:pt x="0" y="47823"/>
                    </a:cubicBezTo>
                    <a:lnTo>
                      <a:pt x="0" y="5260"/>
                    </a:lnTo>
                    <a:cubicBezTo>
                      <a:pt x="0" y="2344"/>
                      <a:pt x="2375" y="0"/>
                      <a:pt x="5260" y="0"/>
                    </a:cubicBezTo>
                    <a:cubicBezTo>
                      <a:pt x="8176" y="0"/>
                      <a:pt x="10520" y="2375"/>
                      <a:pt x="10520" y="5260"/>
                    </a:cubicBezTo>
                    <a:lnTo>
                      <a:pt x="10520" y="47823"/>
                    </a:lnTo>
                    <a:cubicBezTo>
                      <a:pt x="10520" y="50708"/>
                      <a:pt x="8176" y="53083"/>
                      <a:pt x="5260" y="53083"/>
                    </a:cubicBezTo>
                    <a:close/>
                  </a:path>
                </a:pathLst>
              </a:custGeom>
              <a:solidFill>
                <a:schemeClr val="accent1"/>
              </a:solidFill>
              <a:ln w="3004" cap="flat">
                <a:noFill/>
                <a:prstDash val="solid"/>
                <a:miter/>
              </a:ln>
            </p:spPr>
            <p:txBody>
              <a:bodyPr rtlCol="0" anchor="ctr"/>
              <a:lstStyle/>
              <a:p>
                <a:endParaRPr lang="en-GB" dirty="0"/>
              </a:p>
            </p:txBody>
          </p:sp>
          <p:sp>
            <p:nvSpPr>
              <p:cNvPr id="458" name="Freihandform: Form 457">
                <a:extLst>
                  <a:ext uri="{FF2B5EF4-FFF2-40B4-BE49-F238E27FC236}">
                    <a16:creationId xmlns:a16="http://schemas.microsoft.com/office/drawing/2014/main" id="{05395A83-68FB-44AD-BC70-99FC5EB447CB}"/>
                  </a:ext>
                </a:extLst>
              </p:cNvPr>
              <p:cNvSpPr/>
              <p:nvPr/>
            </p:nvSpPr>
            <p:spPr>
              <a:xfrm>
                <a:off x="3866651" y="3480998"/>
                <a:ext cx="10520" cy="44215"/>
              </a:xfrm>
              <a:custGeom>
                <a:avLst/>
                <a:gdLst>
                  <a:gd name="connsiteX0" fmla="*/ 5260 w 10520"/>
                  <a:gd name="connsiteY0" fmla="*/ 44216 h 44215"/>
                  <a:gd name="connsiteX1" fmla="*/ 0 w 10520"/>
                  <a:gd name="connsiteY1" fmla="*/ 38956 h 44215"/>
                  <a:gd name="connsiteX2" fmla="*/ 0 w 10520"/>
                  <a:gd name="connsiteY2" fmla="*/ 5260 h 44215"/>
                  <a:gd name="connsiteX3" fmla="*/ 5260 w 10520"/>
                  <a:gd name="connsiteY3" fmla="*/ 0 h 44215"/>
                  <a:gd name="connsiteX4" fmla="*/ 10520 w 10520"/>
                  <a:gd name="connsiteY4" fmla="*/ 5260 h 44215"/>
                  <a:gd name="connsiteX5" fmla="*/ 10520 w 10520"/>
                  <a:gd name="connsiteY5" fmla="*/ 38956 h 44215"/>
                  <a:gd name="connsiteX6" fmla="*/ 5260 w 10520"/>
                  <a:gd name="connsiteY6" fmla="*/ 44216 h 44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44215">
                    <a:moveTo>
                      <a:pt x="5260" y="44216"/>
                    </a:moveTo>
                    <a:cubicBezTo>
                      <a:pt x="2344" y="44216"/>
                      <a:pt x="0" y="41841"/>
                      <a:pt x="0" y="38956"/>
                    </a:cubicBezTo>
                    <a:lnTo>
                      <a:pt x="0" y="5260"/>
                    </a:lnTo>
                    <a:cubicBezTo>
                      <a:pt x="0" y="2344"/>
                      <a:pt x="2375" y="0"/>
                      <a:pt x="5260" y="0"/>
                    </a:cubicBezTo>
                    <a:cubicBezTo>
                      <a:pt x="8176" y="0"/>
                      <a:pt x="10520" y="2375"/>
                      <a:pt x="10520" y="5260"/>
                    </a:cubicBezTo>
                    <a:lnTo>
                      <a:pt x="10520" y="38956"/>
                    </a:lnTo>
                    <a:cubicBezTo>
                      <a:pt x="10520" y="41841"/>
                      <a:pt x="8176" y="44216"/>
                      <a:pt x="5260" y="44216"/>
                    </a:cubicBezTo>
                    <a:close/>
                  </a:path>
                </a:pathLst>
              </a:custGeom>
              <a:solidFill>
                <a:schemeClr val="accent1"/>
              </a:solidFill>
              <a:ln w="3004" cap="flat">
                <a:noFill/>
                <a:prstDash val="solid"/>
                <a:miter/>
              </a:ln>
            </p:spPr>
            <p:txBody>
              <a:bodyPr rtlCol="0" anchor="ctr"/>
              <a:lstStyle/>
              <a:p>
                <a:endParaRPr lang="en-GB" dirty="0"/>
              </a:p>
            </p:txBody>
          </p:sp>
          <p:sp>
            <p:nvSpPr>
              <p:cNvPr id="459" name="Freihandform: Form 458">
                <a:extLst>
                  <a:ext uri="{FF2B5EF4-FFF2-40B4-BE49-F238E27FC236}">
                    <a16:creationId xmlns:a16="http://schemas.microsoft.com/office/drawing/2014/main" id="{871E2B6F-162D-4422-A6EE-4399395B4225}"/>
                  </a:ext>
                </a:extLst>
              </p:cNvPr>
              <p:cNvSpPr/>
              <p:nvPr/>
            </p:nvSpPr>
            <p:spPr>
              <a:xfrm>
                <a:off x="3702859" y="3419461"/>
                <a:ext cx="173603" cy="71456"/>
              </a:xfrm>
              <a:custGeom>
                <a:avLst/>
                <a:gdLst>
                  <a:gd name="connsiteX0" fmla="*/ 168300 w 173603"/>
                  <a:gd name="connsiteY0" fmla="*/ 71456 h 71456"/>
                  <a:gd name="connsiteX1" fmla="*/ 165655 w 173603"/>
                  <a:gd name="connsiteY1" fmla="*/ 70735 h 71456"/>
                  <a:gd name="connsiteX2" fmla="*/ 63156 w 173603"/>
                  <a:gd name="connsiteY2" fmla="*/ 11370 h 71456"/>
                  <a:gd name="connsiteX3" fmla="*/ 7879 w 173603"/>
                  <a:gd name="connsiteY3" fmla="*/ 42841 h 71456"/>
                  <a:gd name="connsiteX4" fmla="*/ 695 w 173603"/>
                  <a:gd name="connsiteY4" fmla="*/ 40857 h 71456"/>
                  <a:gd name="connsiteX5" fmla="*/ 2679 w 173603"/>
                  <a:gd name="connsiteY5" fmla="*/ 33673 h 71456"/>
                  <a:gd name="connsiteX6" fmla="*/ 60571 w 173603"/>
                  <a:gd name="connsiteY6" fmla="*/ 699 h 71456"/>
                  <a:gd name="connsiteX7" fmla="*/ 65831 w 173603"/>
                  <a:gd name="connsiteY7" fmla="*/ 699 h 71456"/>
                  <a:gd name="connsiteX8" fmla="*/ 170976 w 173603"/>
                  <a:gd name="connsiteY8" fmla="*/ 61597 h 71456"/>
                  <a:gd name="connsiteX9" fmla="*/ 172899 w 173603"/>
                  <a:gd name="connsiteY9" fmla="*/ 68811 h 71456"/>
                  <a:gd name="connsiteX10" fmla="*/ 168300 w 173603"/>
                  <a:gd name="connsiteY10" fmla="*/ 71456 h 7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603" h="71456">
                    <a:moveTo>
                      <a:pt x="168300" y="71456"/>
                    </a:moveTo>
                    <a:cubicBezTo>
                      <a:pt x="167399" y="71456"/>
                      <a:pt x="166497" y="71216"/>
                      <a:pt x="165655" y="70735"/>
                    </a:cubicBezTo>
                    <a:lnTo>
                      <a:pt x="63156" y="11370"/>
                    </a:lnTo>
                    <a:lnTo>
                      <a:pt x="7879" y="42841"/>
                    </a:lnTo>
                    <a:cubicBezTo>
                      <a:pt x="5354" y="44283"/>
                      <a:pt x="2138" y="43412"/>
                      <a:pt x="695" y="40857"/>
                    </a:cubicBezTo>
                    <a:cubicBezTo>
                      <a:pt x="-748" y="38332"/>
                      <a:pt x="124" y="35116"/>
                      <a:pt x="2679" y="33673"/>
                    </a:cubicBezTo>
                    <a:lnTo>
                      <a:pt x="60571" y="699"/>
                    </a:lnTo>
                    <a:cubicBezTo>
                      <a:pt x="62194" y="-233"/>
                      <a:pt x="64208" y="-233"/>
                      <a:pt x="65831" y="699"/>
                    </a:cubicBezTo>
                    <a:lnTo>
                      <a:pt x="170976" y="61597"/>
                    </a:lnTo>
                    <a:cubicBezTo>
                      <a:pt x="173501" y="63070"/>
                      <a:pt x="174342" y="66286"/>
                      <a:pt x="172899" y="68811"/>
                    </a:cubicBezTo>
                    <a:cubicBezTo>
                      <a:pt x="171877" y="70524"/>
                      <a:pt x="170104" y="71456"/>
                      <a:pt x="168300" y="71456"/>
                    </a:cubicBezTo>
                    <a:close/>
                  </a:path>
                </a:pathLst>
              </a:custGeom>
              <a:solidFill>
                <a:schemeClr val="accent1"/>
              </a:solidFill>
              <a:ln w="3004" cap="flat">
                <a:noFill/>
                <a:prstDash val="solid"/>
                <a:miter/>
              </a:ln>
            </p:spPr>
            <p:txBody>
              <a:bodyPr rtlCol="0" anchor="ctr"/>
              <a:lstStyle/>
              <a:p>
                <a:endParaRPr lang="en-GB" dirty="0"/>
              </a:p>
            </p:txBody>
          </p:sp>
          <p:sp>
            <p:nvSpPr>
              <p:cNvPr id="460" name="Freihandform: Form 459">
                <a:extLst>
                  <a:ext uri="{FF2B5EF4-FFF2-40B4-BE49-F238E27FC236}">
                    <a16:creationId xmlns:a16="http://schemas.microsoft.com/office/drawing/2014/main" id="{A3F66368-4BDE-4597-8C1E-B841732DE663}"/>
                  </a:ext>
                </a:extLst>
              </p:cNvPr>
              <p:cNvSpPr/>
              <p:nvPr/>
            </p:nvSpPr>
            <p:spPr>
              <a:xfrm>
                <a:off x="3654228" y="3466033"/>
                <a:ext cx="221894" cy="209923"/>
              </a:xfrm>
              <a:custGeom>
                <a:avLst/>
                <a:gdLst>
                  <a:gd name="connsiteX0" fmla="*/ 111787 w 221894"/>
                  <a:gd name="connsiteY0" fmla="*/ 209923 h 209923"/>
                  <a:gd name="connsiteX1" fmla="*/ 109142 w 221894"/>
                  <a:gd name="connsiteY1" fmla="*/ 209202 h 209923"/>
                  <a:gd name="connsiteX2" fmla="*/ 2645 w 221894"/>
                  <a:gd name="connsiteY2" fmla="*/ 147732 h 209923"/>
                  <a:gd name="connsiteX3" fmla="*/ 0 w 221894"/>
                  <a:gd name="connsiteY3" fmla="*/ 143164 h 209923"/>
                  <a:gd name="connsiteX4" fmla="*/ 0 w 221894"/>
                  <a:gd name="connsiteY4" fmla="*/ 20195 h 209923"/>
                  <a:gd name="connsiteX5" fmla="*/ 2645 w 221894"/>
                  <a:gd name="connsiteY5" fmla="*/ 15626 h 209923"/>
                  <a:gd name="connsiteX6" fmla="*/ 28465 w 221894"/>
                  <a:gd name="connsiteY6" fmla="*/ 717 h 209923"/>
                  <a:gd name="connsiteX7" fmla="*/ 35679 w 221894"/>
                  <a:gd name="connsiteY7" fmla="*/ 2641 h 209923"/>
                  <a:gd name="connsiteX8" fmla="*/ 33755 w 221894"/>
                  <a:gd name="connsiteY8" fmla="*/ 9855 h 209923"/>
                  <a:gd name="connsiteX9" fmla="*/ 10580 w 221894"/>
                  <a:gd name="connsiteY9" fmla="*/ 23261 h 209923"/>
                  <a:gd name="connsiteX10" fmla="*/ 10580 w 221894"/>
                  <a:gd name="connsiteY10" fmla="*/ 140158 h 209923"/>
                  <a:gd name="connsiteX11" fmla="*/ 111787 w 221894"/>
                  <a:gd name="connsiteY11" fmla="*/ 198591 h 209923"/>
                  <a:gd name="connsiteX12" fmla="*/ 213955 w 221894"/>
                  <a:gd name="connsiteY12" fmla="*/ 138955 h 209923"/>
                  <a:gd name="connsiteX13" fmla="*/ 221169 w 221894"/>
                  <a:gd name="connsiteY13" fmla="*/ 140849 h 209923"/>
                  <a:gd name="connsiteX14" fmla="*/ 219276 w 221894"/>
                  <a:gd name="connsiteY14" fmla="*/ 148063 h 209923"/>
                  <a:gd name="connsiteX15" fmla="*/ 114462 w 221894"/>
                  <a:gd name="connsiteY15" fmla="*/ 209232 h 209923"/>
                  <a:gd name="connsiteX16" fmla="*/ 111787 w 221894"/>
                  <a:gd name="connsiteY16" fmla="*/ 209923 h 209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1894" h="209923">
                    <a:moveTo>
                      <a:pt x="111787" y="209923"/>
                    </a:moveTo>
                    <a:cubicBezTo>
                      <a:pt x="110885" y="209923"/>
                      <a:pt x="109953" y="209683"/>
                      <a:pt x="109142" y="209202"/>
                    </a:cubicBezTo>
                    <a:lnTo>
                      <a:pt x="2645" y="147732"/>
                    </a:lnTo>
                    <a:cubicBezTo>
                      <a:pt x="1022" y="146801"/>
                      <a:pt x="0" y="145057"/>
                      <a:pt x="0" y="143164"/>
                    </a:cubicBezTo>
                    <a:lnTo>
                      <a:pt x="0" y="20195"/>
                    </a:lnTo>
                    <a:cubicBezTo>
                      <a:pt x="0" y="18301"/>
                      <a:pt x="992" y="16558"/>
                      <a:pt x="2645" y="15626"/>
                    </a:cubicBezTo>
                    <a:lnTo>
                      <a:pt x="28465" y="717"/>
                    </a:lnTo>
                    <a:cubicBezTo>
                      <a:pt x="30990" y="-756"/>
                      <a:pt x="34206" y="116"/>
                      <a:pt x="35679" y="2641"/>
                    </a:cubicBezTo>
                    <a:cubicBezTo>
                      <a:pt x="37122" y="5166"/>
                      <a:pt x="36280" y="8382"/>
                      <a:pt x="33755" y="9855"/>
                    </a:cubicBezTo>
                    <a:lnTo>
                      <a:pt x="10580" y="23261"/>
                    </a:lnTo>
                    <a:lnTo>
                      <a:pt x="10580" y="140158"/>
                    </a:lnTo>
                    <a:lnTo>
                      <a:pt x="111787" y="198591"/>
                    </a:lnTo>
                    <a:lnTo>
                      <a:pt x="213955" y="138955"/>
                    </a:lnTo>
                    <a:cubicBezTo>
                      <a:pt x="216480" y="137483"/>
                      <a:pt x="219696" y="138324"/>
                      <a:pt x="221169" y="140849"/>
                    </a:cubicBezTo>
                    <a:cubicBezTo>
                      <a:pt x="222642" y="143374"/>
                      <a:pt x="221801" y="146590"/>
                      <a:pt x="219276" y="148063"/>
                    </a:cubicBezTo>
                    <a:lnTo>
                      <a:pt x="114462" y="209232"/>
                    </a:lnTo>
                    <a:cubicBezTo>
                      <a:pt x="113621" y="209683"/>
                      <a:pt x="112719" y="209923"/>
                      <a:pt x="111787" y="209923"/>
                    </a:cubicBezTo>
                    <a:close/>
                  </a:path>
                </a:pathLst>
              </a:custGeom>
              <a:solidFill>
                <a:schemeClr val="accent1"/>
              </a:solidFill>
              <a:ln w="3004" cap="flat">
                <a:noFill/>
                <a:prstDash val="solid"/>
                <a:miter/>
              </a:ln>
            </p:spPr>
            <p:txBody>
              <a:bodyPr rtlCol="0" anchor="ctr"/>
              <a:lstStyle/>
              <a:p>
                <a:endParaRPr lang="en-GB" dirty="0"/>
              </a:p>
            </p:txBody>
          </p:sp>
          <p:grpSp>
            <p:nvGrpSpPr>
              <p:cNvPr id="461" name="Grafik 19">
                <a:extLst>
                  <a:ext uri="{FF2B5EF4-FFF2-40B4-BE49-F238E27FC236}">
                    <a16:creationId xmlns:a16="http://schemas.microsoft.com/office/drawing/2014/main" id="{DA2EFC5A-2A3F-4378-A669-9BE6DE228019}"/>
                  </a:ext>
                </a:extLst>
              </p:cNvPr>
              <p:cNvGrpSpPr/>
              <p:nvPr/>
            </p:nvGrpSpPr>
            <p:grpSpPr>
              <a:xfrm>
                <a:off x="3760455" y="3386765"/>
                <a:ext cx="10520" cy="321383"/>
                <a:chOff x="3760455" y="3386765"/>
                <a:chExt cx="10520" cy="321383"/>
              </a:xfrm>
              <a:solidFill>
                <a:schemeClr val="accent1"/>
              </a:solidFill>
            </p:grpSpPr>
            <p:sp>
              <p:nvSpPr>
                <p:cNvPr id="462" name="Freihandform: Form 461">
                  <a:extLst>
                    <a:ext uri="{FF2B5EF4-FFF2-40B4-BE49-F238E27FC236}">
                      <a16:creationId xmlns:a16="http://schemas.microsoft.com/office/drawing/2014/main" id="{3EB498A4-D295-482B-9379-BE90BC59EDCE}"/>
                    </a:ext>
                  </a:extLst>
                </p:cNvPr>
                <p:cNvSpPr/>
                <p:nvPr/>
              </p:nvSpPr>
              <p:spPr>
                <a:xfrm>
                  <a:off x="3760455" y="3668712"/>
                  <a:ext cx="10520" cy="39436"/>
                </a:xfrm>
                <a:custGeom>
                  <a:avLst/>
                  <a:gdLst>
                    <a:gd name="connsiteX0" fmla="*/ 5260 w 10520"/>
                    <a:gd name="connsiteY0" fmla="*/ 39437 h 39436"/>
                    <a:gd name="connsiteX1" fmla="*/ 0 w 10520"/>
                    <a:gd name="connsiteY1" fmla="*/ 34176 h 39436"/>
                    <a:gd name="connsiteX2" fmla="*/ 0 w 10520"/>
                    <a:gd name="connsiteY2" fmla="*/ 5260 h 39436"/>
                    <a:gd name="connsiteX3" fmla="*/ 5260 w 10520"/>
                    <a:gd name="connsiteY3" fmla="*/ 0 h 39436"/>
                    <a:gd name="connsiteX4" fmla="*/ 10520 w 10520"/>
                    <a:gd name="connsiteY4" fmla="*/ 5260 h 39436"/>
                    <a:gd name="connsiteX5" fmla="*/ 10520 w 10520"/>
                    <a:gd name="connsiteY5" fmla="*/ 34176 h 39436"/>
                    <a:gd name="connsiteX6" fmla="*/ 5260 w 10520"/>
                    <a:gd name="connsiteY6" fmla="*/ 39437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39436">
                      <a:moveTo>
                        <a:pt x="5260" y="39437"/>
                      </a:moveTo>
                      <a:cubicBezTo>
                        <a:pt x="2345" y="39437"/>
                        <a:pt x="0" y="37062"/>
                        <a:pt x="0" y="34176"/>
                      </a:cubicBezTo>
                      <a:lnTo>
                        <a:pt x="0" y="5260"/>
                      </a:lnTo>
                      <a:cubicBezTo>
                        <a:pt x="0" y="2344"/>
                        <a:pt x="2375" y="0"/>
                        <a:pt x="5260" y="0"/>
                      </a:cubicBezTo>
                      <a:cubicBezTo>
                        <a:pt x="8176" y="0"/>
                        <a:pt x="10520" y="2375"/>
                        <a:pt x="10520" y="5260"/>
                      </a:cubicBezTo>
                      <a:lnTo>
                        <a:pt x="10520" y="34176"/>
                      </a:lnTo>
                      <a:cubicBezTo>
                        <a:pt x="10551" y="37092"/>
                        <a:pt x="8176" y="39437"/>
                        <a:pt x="5260" y="39437"/>
                      </a:cubicBezTo>
                      <a:close/>
                    </a:path>
                  </a:pathLst>
                </a:custGeom>
                <a:solidFill>
                  <a:schemeClr val="accent1"/>
                </a:solidFill>
                <a:ln w="3004" cap="flat">
                  <a:noFill/>
                  <a:prstDash val="solid"/>
                  <a:miter/>
                </a:ln>
              </p:spPr>
              <p:txBody>
                <a:bodyPr rtlCol="0" anchor="ctr"/>
                <a:lstStyle/>
                <a:p>
                  <a:endParaRPr lang="en-GB" dirty="0"/>
                </a:p>
              </p:txBody>
            </p:sp>
            <p:sp>
              <p:nvSpPr>
                <p:cNvPr id="463" name="Freihandform: Form 462">
                  <a:extLst>
                    <a:ext uri="{FF2B5EF4-FFF2-40B4-BE49-F238E27FC236}">
                      <a16:creationId xmlns:a16="http://schemas.microsoft.com/office/drawing/2014/main" id="{9FA30868-33A7-4D74-BFA3-CF8BC30F5AAB}"/>
                    </a:ext>
                  </a:extLst>
                </p:cNvPr>
                <p:cNvSpPr/>
                <p:nvPr/>
              </p:nvSpPr>
              <p:spPr>
                <a:xfrm>
                  <a:off x="3760455" y="3386765"/>
                  <a:ext cx="10520" cy="39436"/>
                </a:xfrm>
                <a:custGeom>
                  <a:avLst/>
                  <a:gdLst>
                    <a:gd name="connsiteX0" fmla="*/ 5260 w 10520"/>
                    <a:gd name="connsiteY0" fmla="*/ 39437 h 39436"/>
                    <a:gd name="connsiteX1" fmla="*/ 0 w 10520"/>
                    <a:gd name="connsiteY1" fmla="*/ 34176 h 39436"/>
                    <a:gd name="connsiteX2" fmla="*/ 0 w 10520"/>
                    <a:gd name="connsiteY2" fmla="*/ 5260 h 39436"/>
                    <a:gd name="connsiteX3" fmla="*/ 5260 w 10520"/>
                    <a:gd name="connsiteY3" fmla="*/ 0 h 39436"/>
                    <a:gd name="connsiteX4" fmla="*/ 10520 w 10520"/>
                    <a:gd name="connsiteY4" fmla="*/ 5260 h 39436"/>
                    <a:gd name="connsiteX5" fmla="*/ 10520 w 10520"/>
                    <a:gd name="connsiteY5" fmla="*/ 34176 h 39436"/>
                    <a:gd name="connsiteX6" fmla="*/ 5260 w 10520"/>
                    <a:gd name="connsiteY6" fmla="*/ 39437 h 39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39436">
                      <a:moveTo>
                        <a:pt x="5260" y="39437"/>
                      </a:moveTo>
                      <a:cubicBezTo>
                        <a:pt x="2345" y="39437"/>
                        <a:pt x="0" y="37062"/>
                        <a:pt x="0" y="34176"/>
                      </a:cubicBezTo>
                      <a:lnTo>
                        <a:pt x="0" y="5260"/>
                      </a:lnTo>
                      <a:cubicBezTo>
                        <a:pt x="0" y="2344"/>
                        <a:pt x="2375" y="0"/>
                        <a:pt x="5260" y="0"/>
                      </a:cubicBezTo>
                      <a:cubicBezTo>
                        <a:pt x="8176" y="0"/>
                        <a:pt x="10520" y="2375"/>
                        <a:pt x="10520" y="5260"/>
                      </a:cubicBezTo>
                      <a:lnTo>
                        <a:pt x="10520" y="34176"/>
                      </a:lnTo>
                      <a:cubicBezTo>
                        <a:pt x="10551" y="37062"/>
                        <a:pt x="8176" y="39437"/>
                        <a:pt x="5260" y="39437"/>
                      </a:cubicBezTo>
                      <a:close/>
                    </a:path>
                  </a:pathLst>
                </a:custGeom>
                <a:solidFill>
                  <a:schemeClr val="accent1"/>
                </a:solidFill>
                <a:ln w="3004" cap="flat">
                  <a:noFill/>
                  <a:prstDash val="solid"/>
                  <a:miter/>
                </a:ln>
              </p:spPr>
              <p:txBody>
                <a:bodyPr rtlCol="0" anchor="ctr"/>
                <a:lstStyle/>
                <a:p>
                  <a:endParaRPr lang="en-GB" dirty="0"/>
                </a:p>
              </p:txBody>
            </p:sp>
          </p:grpSp>
        </p:grpSp>
      </p:grpSp>
      <p:grpSp>
        <p:nvGrpSpPr>
          <p:cNvPr id="33" name="Group 32">
            <a:extLst>
              <a:ext uri="{FF2B5EF4-FFF2-40B4-BE49-F238E27FC236}">
                <a16:creationId xmlns:a16="http://schemas.microsoft.com/office/drawing/2014/main" id="{355764C0-0D3B-F5F3-AFC3-0BEB78473B66}"/>
              </a:ext>
            </a:extLst>
          </p:cNvPr>
          <p:cNvGrpSpPr/>
          <p:nvPr/>
        </p:nvGrpSpPr>
        <p:grpSpPr>
          <a:xfrm>
            <a:off x="6995073" y="3273393"/>
            <a:ext cx="624272" cy="432000"/>
            <a:chOff x="7042460" y="3273393"/>
            <a:chExt cx="624272" cy="432000"/>
          </a:xfrm>
        </p:grpSpPr>
        <p:grpSp>
          <p:nvGrpSpPr>
            <p:cNvPr id="474" name="Grafik 19">
              <a:extLst>
                <a:ext uri="{FF2B5EF4-FFF2-40B4-BE49-F238E27FC236}">
                  <a16:creationId xmlns:a16="http://schemas.microsoft.com/office/drawing/2014/main" id="{C0C01602-0E73-4427-A603-B85CAACD0D30}"/>
                </a:ext>
              </a:extLst>
            </p:cNvPr>
            <p:cNvGrpSpPr/>
            <p:nvPr/>
          </p:nvGrpSpPr>
          <p:grpSpPr>
            <a:xfrm>
              <a:off x="7042460" y="3273393"/>
              <a:ext cx="568152" cy="432000"/>
              <a:chOff x="2438887" y="3390983"/>
              <a:chExt cx="574858" cy="437098"/>
            </a:xfrm>
            <a:solidFill>
              <a:schemeClr val="tx2"/>
            </a:solidFill>
          </p:grpSpPr>
          <p:grpSp>
            <p:nvGrpSpPr>
              <p:cNvPr id="485" name="Grafik 19">
                <a:extLst>
                  <a:ext uri="{FF2B5EF4-FFF2-40B4-BE49-F238E27FC236}">
                    <a16:creationId xmlns:a16="http://schemas.microsoft.com/office/drawing/2014/main" id="{6C87FE8A-7573-4D27-B6EF-7F2321DBDDAA}"/>
                  </a:ext>
                </a:extLst>
              </p:cNvPr>
              <p:cNvGrpSpPr/>
              <p:nvPr/>
            </p:nvGrpSpPr>
            <p:grpSpPr>
              <a:xfrm>
                <a:off x="2438887" y="3390983"/>
                <a:ext cx="574858" cy="437098"/>
                <a:chOff x="2438887" y="3390983"/>
                <a:chExt cx="574858" cy="437098"/>
              </a:xfrm>
              <a:grpFill/>
            </p:grpSpPr>
            <p:sp>
              <p:nvSpPr>
                <p:cNvPr id="487" name="Freihandform: Form 486">
                  <a:extLst>
                    <a:ext uri="{FF2B5EF4-FFF2-40B4-BE49-F238E27FC236}">
                      <a16:creationId xmlns:a16="http://schemas.microsoft.com/office/drawing/2014/main" id="{622EB1D0-65C8-47AE-969C-28138B12396E}"/>
                    </a:ext>
                  </a:extLst>
                </p:cNvPr>
                <p:cNvSpPr/>
                <p:nvPr/>
              </p:nvSpPr>
              <p:spPr>
                <a:xfrm>
                  <a:off x="2774359" y="3538498"/>
                  <a:ext cx="62306" cy="140012"/>
                </a:xfrm>
                <a:custGeom>
                  <a:avLst/>
                  <a:gdLst>
                    <a:gd name="connsiteX0" fmla="*/ 5652 w 62306"/>
                    <a:gd name="connsiteY0" fmla="*/ 140013 h 140012"/>
                    <a:gd name="connsiteX1" fmla="*/ 5171 w 62306"/>
                    <a:gd name="connsiteY1" fmla="*/ 140013 h 140012"/>
                    <a:gd name="connsiteX2" fmla="*/ 1 w 62306"/>
                    <a:gd name="connsiteY2" fmla="*/ 134632 h 140012"/>
                    <a:gd name="connsiteX3" fmla="*/ 5382 w 62306"/>
                    <a:gd name="connsiteY3" fmla="*/ 129462 h 140012"/>
                    <a:gd name="connsiteX4" fmla="*/ 5682 w 62306"/>
                    <a:gd name="connsiteY4" fmla="*/ 129462 h 140012"/>
                    <a:gd name="connsiteX5" fmla="*/ 49658 w 62306"/>
                    <a:gd name="connsiteY5" fmla="*/ 76980 h 140012"/>
                    <a:gd name="connsiteX6" fmla="*/ 39378 w 62306"/>
                    <a:gd name="connsiteY6" fmla="*/ 8838 h 140012"/>
                    <a:gd name="connsiteX7" fmla="*/ 39708 w 62306"/>
                    <a:gd name="connsiteY7" fmla="*/ 1383 h 140012"/>
                    <a:gd name="connsiteX8" fmla="*/ 47163 w 62306"/>
                    <a:gd name="connsiteY8" fmla="*/ 1714 h 140012"/>
                    <a:gd name="connsiteX9" fmla="*/ 59938 w 62306"/>
                    <a:gd name="connsiteY9" fmla="*/ 79385 h 140012"/>
                    <a:gd name="connsiteX10" fmla="*/ 5652 w 62306"/>
                    <a:gd name="connsiteY10" fmla="*/ 140013 h 14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306" h="140012">
                      <a:moveTo>
                        <a:pt x="5652" y="140013"/>
                      </a:moveTo>
                      <a:cubicBezTo>
                        <a:pt x="5502" y="140013"/>
                        <a:pt x="5322" y="140013"/>
                        <a:pt x="5171" y="140013"/>
                      </a:cubicBezTo>
                      <a:cubicBezTo>
                        <a:pt x="2256" y="139953"/>
                        <a:pt x="-59" y="137548"/>
                        <a:pt x="1" y="134632"/>
                      </a:cubicBezTo>
                      <a:cubicBezTo>
                        <a:pt x="61" y="131717"/>
                        <a:pt x="2556" y="129432"/>
                        <a:pt x="5382" y="129462"/>
                      </a:cubicBezTo>
                      <a:cubicBezTo>
                        <a:pt x="5472" y="129462"/>
                        <a:pt x="5592" y="129462"/>
                        <a:pt x="5682" y="129462"/>
                      </a:cubicBezTo>
                      <a:cubicBezTo>
                        <a:pt x="21403" y="129462"/>
                        <a:pt x="43526" y="103131"/>
                        <a:pt x="49658" y="76980"/>
                      </a:cubicBezTo>
                      <a:cubicBezTo>
                        <a:pt x="55279" y="52994"/>
                        <a:pt x="48605" y="18908"/>
                        <a:pt x="39378" y="8838"/>
                      </a:cubicBezTo>
                      <a:cubicBezTo>
                        <a:pt x="37394" y="6674"/>
                        <a:pt x="37544" y="3367"/>
                        <a:pt x="39708" y="1383"/>
                      </a:cubicBezTo>
                      <a:cubicBezTo>
                        <a:pt x="41842" y="-570"/>
                        <a:pt x="45209" y="-450"/>
                        <a:pt x="47163" y="1714"/>
                      </a:cubicBezTo>
                      <a:cubicBezTo>
                        <a:pt x="59847" y="15541"/>
                        <a:pt x="66039" y="53294"/>
                        <a:pt x="59938" y="79385"/>
                      </a:cubicBezTo>
                      <a:cubicBezTo>
                        <a:pt x="53295" y="107610"/>
                        <a:pt x="28226" y="140013"/>
                        <a:pt x="5652" y="140013"/>
                      </a:cubicBezTo>
                      <a:close/>
                    </a:path>
                  </a:pathLst>
                </a:custGeom>
                <a:grpFill/>
                <a:ln w="3004" cap="flat">
                  <a:noFill/>
                  <a:prstDash val="solid"/>
                  <a:miter/>
                </a:ln>
              </p:spPr>
              <p:txBody>
                <a:bodyPr rtlCol="0" anchor="ctr"/>
                <a:lstStyle/>
                <a:p>
                  <a:endParaRPr lang="en-GB" dirty="0"/>
                </a:p>
              </p:txBody>
            </p:sp>
            <p:sp>
              <p:nvSpPr>
                <p:cNvPr id="488" name="Freihandform: Form 487">
                  <a:extLst>
                    <a:ext uri="{FF2B5EF4-FFF2-40B4-BE49-F238E27FC236}">
                      <a16:creationId xmlns:a16="http://schemas.microsoft.com/office/drawing/2014/main" id="{D9065146-74E0-4A17-873E-8191EBFD2037}"/>
                    </a:ext>
                  </a:extLst>
                </p:cNvPr>
                <p:cNvSpPr/>
                <p:nvPr/>
              </p:nvSpPr>
              <p:spPr>
                <a:xfrm>
                  <a:off x="2506673" y="3615533"/>
                  <a:ext cx="88432" cy="57868"/>
                </a:xfrm>
                <a:custGeom>
                  <a:avLst/>
                  <a:gdLst>
                    <a:gd name="connsiteX0" fmla="*/ 69302 w 88432"/>
                    <a:gd name="connsiteY0" fmla="*/ 57869 h 57868"/>
                    <a:gd name="connsiteX1" fmla="*/ 15798 w 88432"/>
                    <a:gd name="connsiteY1" fmla="*/ 38120 h 57868"/>
                    <a:gd name="connsiteX2" fmla="*/ 228 w 88432"/>
                    <a:gd name="connsiteY2" fmla="*/ 6799 h 57868"/>
                    <a:gd name="connsiteX3" fmla="*/ 3744 w 88432"/>
                    <a:gd name="connsiteY3" fmla="*/ 217 h 57868"/>
                    <a:gd name="connsiteX4" fmla="*/ 10327 w 88432"/>
                    <a:gd name="connsiteY4" fmla="*/ 3733 h 57868"/>
                    <a:gd name="connsiteX5" fmla="*/ 23583 w 88432"/>
                    <a:gd name="connsiteY5" fmla="*/ 31056 h 57868"/>
                    <a:gd name="connsiteX6" fmla="*/ 82768 w 88432"/>
                    <a:gd name="connsiteY6" fmla="*/ 46807 h 57868"/>
                    <a:gd name="connsiteX7" fmla="*/ 88419 w 88432"/>
                    <a:gd name="connsiteY7" fmla="*/ 51677 h 57868"/>
                    <a:gd name="connsiteX8" fmla="*/ 83549 w 88432"/>
                    <a:gd name="connsiteY8" fmla="*/ 57328 h 57868"/>
                    <a:gd name="connsiteX9" fmla="*/ 69302 w 88432"/>
                    <a:gd name="connsiteY9" fmla="*/ 57869 h 5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432" h="57868">
                      <a:moveTo>
                        <a:pt x="69302" y="57869"/>
                      </a:moveTo>
                      <a:cubicBezTo>
                        <a:pt x="44293" y="57869"/>
                        <a:pt x="28272" y="51797"/>
                        <a:pt x="15798" y="38120"/>
                      </a:cubicBezTo>
                      <a:cubicBezTo>
                        <a:pt x="8434" y="30004"/>
                        <a:pt x="1941" y="12330"/>
                        <a:pt x="228" y="6799"/>
                      </a:cubicBezTo>
                      <a:cubicBezTo>
                        <a:pt x="-614" y="4004"/>
                        <a:pt x="949" y="1058"/>
                        <a:pt x="3744" y="217"/>
                      </a:cubicBezTo>
                      <a:cubicBezTo>
                        <a:pt x="6510" y="-595"/>
                        <a:pt x="9486" y="938"/>
                        <a:pt x="10327" y="3733"/>
                      </a:cubicBezTo>
                      <a:cubicBezTo>
                        <a:pt x="12371" y="10406"/>
                        <a:pt x="18353" y="25255"/>
                        <a:pt x="23583" y="31056"/>
                      </a:cubicBezTo>
                      <a:cubicBezTo>
                        <a:pt x="35967" y="44643"/>
                        <a:pt x="52559" y="49062"/>
                        <a:pt x="82768" y="46807"/>
                      </a:cubicBezTo>
                      <a:cubicBezTo>
                        <a:pt x="85654" y="46657"/>
                        <a:pt x="88208" y="48761"/>
                        <a:pt x="88419" y="51677"/>
                      </a:cubicBezTo>
                      <a:cubicBezTo>
                        <a:pt x="88629" y="54592"/>
                        <a:pt x="86465" y="57117"/>
                        <a:pt x="83549" y="57328"/>
                      </a:cubicBezTo>
                      <a:cubicBezTo>
                        <a:pt x="78500" y="57688"/>
                        <a:pt x="73750" y="57869"/>
                        <a:pt x="69302" y="57869"/>
                      </a:cubicBezTo>
                      <a:close/>
                    </a:path>
                  </a:pathLst>
                </a:custGeom>
                <a:grpFill/>
                <a:ln w="3004" cap="flat">
                  <a:noFill/>
                  <a:prstDash val="solid"/>
                  <a:miter/>
                </a:ln>
              </p:spPr>
              <p:txBody>
                <a:bodyPr rtlCol="0" anchor="ctr"/>
                <a:lstStyle/>
                <a:p>
                  <a:endParaRPr lang="en-GB" dirty="0"/>
                </a:p>
              </p:txBody>
            </p:sp>
            <p:sp>
              <p:nvSpPr>
                <p:cNvPr id="489" name="Freihandform: Form 488">
                  <a:extLst>
                    <a:ext uri="{FF2B5EF4-FFF2-40B4-BE49-F238E27FC236}">
                      <a16:creationId xmlns:a16="http://schemas.microsoft.com/office/drawing/2014/main" id="{D34FC4E4-DD0A-4BF0-97A0-5DFAA602C9B0}"/>
                    </a:ext>
                  </a:extLst>
                </p:cNvPr>
                <p:cNvSpPr/>
                <p:nvPr/>
              </p:nvSpPr>
              <p:spPr>
                <a:xfrm>
                  <a:off x="2692762" y="3465878"/>
                  <a:ext cx="320982" cy="362203"/>
                </a:xfrm>
                <a:custGeom>
                  <a:avLst/>
                  <a:gdLst>
                    <a:gd name="connsiteX0" fmla="*/ 154008 w 320982"/>
                    <a:gd name="connsiteY0" fmla="*/ 362203 h 362203"/>
                    <a:gd name="connsiteX1" fmla="*/ 83672 w 320982"/>
                    <a:gd name="connsiteY1" fmla="*/ 362203 h 362203"/>
                    <a:gd name="connsiteX2" fmla="*/ 23314 w 320982"/>
                    <a:gd name="connsiteY2" fmla="*/ 327456 h 362203"/>
                    <a:gd name="connsiteX3" fmla="*/ 199 w 320982"/>
                    <a:gd name="connsiteY3" fmla="*/ 269924 h 362203"/>
                    <a:gd name="connsiteX4" fmla="*/ 2694 w 320982"/>
                    <a:gd name="connsiteY4" fmla="*/ 263913 h 362203"/>
                    <a:gd name="connsiteX5" fmla="*/ 6722 w 320982"/>
                    <a:gd name="connsiteY5" fmla="*/ 262981 h 362203"/>
                    <a:gd name="connsiteX6" fmla="*/ 76007 w 320982"/>
                    <a:gd name="connsiteY6" fmla="*/ 236138 h 362203"/>
                    <a:gd name="connsiteX7" fmla="*/ 82740 w 320982"/>
                    <a:gd name="connsiteY7" fmla="*/ 208455 h 362203"/>
                    <a:gd name="connsiteX8" fmla="*/ 87549 w 320982"/>
                    <a:gd name="connsiteY8" fmla="*/ 202774 h 362203"/>
                    <a:gd name="connsiteX9" fmla="*/ 93230 w 320982"/>
                    <a:gd name="connsiteY9" fmla="*/ 207583 h 362203"/>
                    <a:gd name="connsiteX10" fmla="*/ 84483 w 320982"/>
                    <a:gd name="connsiteY10" fmla="*/ 242391 h 362203"/>
                    <a:gd name="connsiteX11" fmla="*/ 12944 w 320982"/>
                    <a:gd name="connsiteY11" fmla="*/ 274403 h 362203"/>
                    <a:gd name="connsiteX12" fmla="*/ 32993 w 320982"/>
                    <a:gd name="connsiteY12" fmla="*/ 323308 h 362203"/>
                    <a:gd name="connsiteX13" fmla="*/ 83641 w 320982"/>
                    <a:gd name="connsiteY13" fmla="*/ 351653 h 362203"/>
                    <a:gd name="connsiteX14" fmla="*/ 153978 w 320982"/>
                    <a:gd name="connsiteY14" fmla="*/ 351653 h 362203"/>
                    <a:gd name="connsiteX15" fmla="*/ 197923 w 320982"/>
                    <a:gd name="connsiteY15" fmla="*/ 307707 h 362203"/>
                    <a:gd name="connsiteX16" fmla="*/ 197923 w 320982"/>
                    <a:gd name="connsiteY16" fmla="*/ 54496 h 362203"/>
                    <a:gd name="connsiteX17" fmla="*/ 252419 w 320982"/>
                    <a:gd name="connsiteY17" fmla="*/ 0 h 362203"/>
                    <a:gd name="connsiteX18" fmla="*/ 266487 w 320982"/>
                    <a:gd name="connsiteY18" fmla="*/ 0 h 362203"/>
                    <a:gd name="connsiteX19" fmla="*/ 320982 w 320982"/>
                    <a:gd name="connsiteY19" fmla="*/ 54496 h 362203"/>
                    <a:gd name="connsiteX20" fmla="*/ 320501 w 320982"/>
                    <a:gd name="connsiteY20" fmla="*/ 91858 h 362203"/>
                    <a:gd name="connsiteX21" fmla="*/ 320712 w 320982"/>
                    <a:gd name="connsiteY21" fmla="*/ 93211 h 362203"/>
                    <a:gd name="connsiteX22" fmla="*/ 320381 w 320982"/>
                    <a:gd name="connsiteY22" fmla="*/ 93271 h 362203"/>
                    <a:gd name="connsiteX23" fmla="*/ 315572 w 320982"/>
                    <a:gd name="connsiteY23" fmla="*/ 99553 h 362203"/>
                    <a:gd name="connsiteX24" fmla="*/ 310161 w 320982"/>
                    <a:gd name="connsiteY24" fmla="*/ 93512 h 362203"/>
                    <a:gd name="connsiteX25" fmla="*/ 310312 w 320982"/>
                    <a:gd name="connsiteY25" fmla="*/ 92159 h 362203"/>
                    <a:gd name="connsiteX26" fmla="*/ 310432 w 320982"/>
                    <a:gd name="connsiteY26" fmla="*/ 54556 h 362203"/>
                    <a:gd name="connsiteX27" fmla="*/ 266456 w 320982"/>
                    <a:gd name="connsiteY27" fmla="*/ 10611 h 362203"/>
                    <a:gd name="connsiteX28" fmla="*/ 252389 w 320982"/>
                    <a:gd name="connsiteY28" fmla="*/ 10611 h 362203"/>
                    <a:gd name="connsiteX29" fmla="*/ 208444 w 320982"/>
                    <a:gd name="connsiteY29" fmla="*/ 54556 h 362203"/>
                    <a:gd name="connsiteX30" fmla="*/ 208444 w 320982"/>
                    <a:gd name="connsiteY30" fmla="*/ 307768 h 362203"/>
                    <a:gd name="connsiteX31" fmla="*/ 154008 w 320982"/>
                    <a:gd name="connsiteY31" fmla="*/ 362203 h 362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0982" h="362203">
                      <a:moveTo>
                        <a:pt x="154008" y="362203"/>
                      </a:moveTo>
                      <a:lnTo>
                        <a:pt x="83672" y="362203"/>
                      </a:lnTo>
                      <a:cubicBezTo>
                        <a:pt x="81808" y="362203"/>
                        <a:pt x="38043" y="361812"/>
                        <a:pt x="23314" y="327456"/>
                      </a:cubicBezTo>
                      <a:cubicBezTo>
                        <a:pt x="13756" y="305122"/>
                        <a:pt x="1913" y="276026"/>
                        <a:pt x="199" y="269924"/>
                      </a:cubicBezTo>
                      <a:cubicBezTo>
                        <a:pt x="-462" y="267580"/>
                        <a:pt x="560" y="265115"/>
                        <a:pt x="2694" y="263913"/>
                      </a:cubicBezTo>
                      <a:cubicBezTo>
                        <a:pt x="3746" y="263311"/>
                        <a:pt x="5580" y="262740"/>
                        <a:pt x="6722" y="262981"/>
                      </a:cubicBezTo>
                      <a:cubicBezTo>
                        <a:pt x="46550" y="269654"/>
                        <a:pt x="68462" y="246449"/>
                        <a:pt x="76007" y="236138"/>
                      </a:cubicBezTo>
                      <a:cubicBezTo>
                        <a:pt x="80335" y="230277"/>
                        <a:pt x="83491" y="217352"/>
                        <a:pt x="82740" y="208455"/>
                      </a:cubicBezTo>
                      <a:cubicBezTo>
                        <a:pt x="82499" y="205539"/>
                        <a:pt x="84663" y="203014"/>
                        <a:pt x="87549" y="202774"/>
                      </a:cubicBezTo>
                      <a:cubicBezTo>
                        <a:pt x="90435" y="202533"/>
                        <a:pt x="92990" y="204698"/>
                        <a:pt x="93230" y="207583"/>
                      </a:cubicBezTo>
                      <a:cubicBezTo>
                        <a:pt x="94192" y="219156"/>
                        <a:pt x="90345" y="234425"/>
                        <a:pt x="84483" y="242391"/>
                      </a:cubicBezTo>
                      <a:cubicBezTo>
                        <a:pt x="76307" y="253542"/>
                        <a:pt x="53643" y="277950"/>
                        <a:pt x="12944" y="274403"/>
                      </a:cubicBezTo>
                      <a:cubicBezTo>
                        <a:pt x="17092" y="285254"/>
                        <a:pt x="25238" y="305243"/>
                        <a:pt x="32993" y="323308"/>
                      </a:cubicBezTo>
                      <a:cubicBezTo>
                        <a:pt x="44986" y="351352"/>
                        <a:pt x="83251" y="351653"/>
                        <a:pt x="83641" y="351653"/>
                      </a:cubicBezTo>
                      <a:lnTo>
                        <a:pt x="153978" y="351653"/>
                      </a:lnTo>
                      <a:cubicBezTo>
                        <a:pt x="155751" y="351653"/>
                        <a:pt x="197923" y="350961"/>
                        <a:pt x="197923" y="307707"/>
                      </a:cubicBezTo>
                      <a:lnTo>
                        <a:pt x="197923" y="54496"/>
                      </a:lnTo>
                      <a:cubicBezTo>
                        <a:pt x="197923" y="601"/>
                        <a:pt x="251878" y="0"/>
                        <a:pt x="252419" y="0"/>
                      </a:cubicBezTo>
                      <a:lnTo>
                        <a:pt x="266487" y="0"/>
                      </a:lnTo>
                      <a:cubicBezTo>
                        <a:pt x="267028" y="0"/>
                        <a:pt x="320982" y="631"/>
                        <a:pt x="320982" y="54496"/>
                      </a:cubicBezTo>
                      <a:cubicBezTo>
                        <a:pt x="320982" y="74605"/>
                        <a:pt x="320982" y="85696"/>
                        <a:pt x="320501" y="91858"/>
                      </a:cubicBezTo>
                      <a:cubicBezTo>
                        <a:pt x="320622" y="92279"/>
                        <a:pt x="320712" y="92730"/>
                        <a:pt x="320712" y="93211"/>
                      </a:cubicBezTo>
                      <a:lnTo>
                        <a:pt x="320381" y="93271"/>
                      </a:lnTo>
                      <a:cubicBezTo>
                        <a:pt x="319720" y="99493"/>
                        <a:pt x="318367" y="99493"/>
                        <a:pt x="315572" y="99553"/>
                      </a:cubicBezTo>
                      <a:cubicBezTo>
                        <a:pt x="314820" y="99433"/>
                        <a:pt x="310342" y="99463"/>
                        <a:pt x="310161" y="93512"/>
                      </a:cubicBezTo>
                      <a:cubicBezTo>
                        <a:pt x="310161" y="93031"/>
                        <a:pt x="310191" y="92580"/>
                        <a:pt x="310312" y="92159"/>
                      </a:cubicBezTo>
                      <a:cubicBezTo>
                        <a:pt x="310372" y="88943"/>
                        <a:pt x="310432" y="79865"/>
                        <a:pt x="310432" y="54556"/>
                      </a:cubicBezTo>
                      <a:cubicBezTo>
                        <a:pt x="310432" y="11302"/>
                        <a:pt x="268260" y="10611"/>
                        <a:pt x="266456" y="10611"/>
                      </a:cubicBezTo>
                      <a:lnTo>
                        <a:pt x="252389" y="10611"/>
                      </a:lnTo>
                      <a:cubicBezTo>
                        <a:pt x="250616" y="10611"/>
                        <a:pt x="208444" y="11302"/>
                        <a:pt x="208444" y="54556"/>
                      </a:cubicBezTo>
                      <a:lnTo>
                        <a:pt x="208444" y="307768"/>
                      </a:lnTo>
                      <a:cubicBezTo>
                        <a:pt x="208504" y="361572"/>
                        <a:pt x="154549" y="362203"/>
                        <a:pt x="154008" y="362203"/>
                      </a:cubicBezTo>
                      <a:close/>
                    </a:path>
                  </a:pathLst>
                </a:custGeom>
                <a:grpFill/>
                <a:ln w="3004" cap="flat">
                  <a:noFill/>
                  <a:prstDash val="solid"/>
                  <a:miter/>
                </a:ln>
              </p:spPr>
              <p:txBody>
                <a:bodyPr rtlCol="0" anchor="ctr"/>
                <a:lstStyle/>
                <a:p>
                  <a:endParaRPr lang="en-GB" dirty="0"/>
                </a:p>
              </p:txBody>
            </p:sp>
            <p:sp>
              <p:nvSpPr>
                <p:cNvPr id="490" name="Freihandform: Form 489">
                  <a:extLst>
                    <a:ext uri="{FF2B5EF4-FFF2-40B4-BE49-F238E27FC236}">
                      <a16:creationId xmlns:a16="http://schemas.microsoft.com/office/drawing/2014/main" id="{7664A376-9908-4AF1-9D61-779F319732BF}"/>
                    </a:ext>
                  </a:extLst>
                </p:cNvPr>
                <p:cNvSpPr/>
                <p:nvPr/>
              </p:nvSpPr>
              <p:spPr>
                <a:xfrm>
                  <a:off x="2585192" y="3661995"/>
                  <a:ext cx="85243" cy="138612"/>
                </a:xfrm>
                <a:custGeom>
                  <a:avLst/>
                  <a:gdLst>
                    <a:gd name="connsiteX0" fmla="*/ 79965 w 85243"/>
                    <a:gd name="connsiteY0" fmla="*/ 138613 h 138612"/>
                    <a:gd name="connsiteX1" fmla="*/ 74826 w 85243"/>
                    <a:gd name="connsiteY1" fmla="*/ 134525 h 138612"/>
                    <a:gd name="connsiteX2" fmla="*/ 33976 w 85243"/>
                    <a:gd name="connsiteY2" fmla="*/ 53608 h 138612"/>
                    <a:gd name="connsiteX3" fmla="*/ 32413 w 85243"/>
                    <a:gd name="connsiteY3" fmla="*/ 52375 h 138612"/>
                    <a:gd name="connsiteX4" fmla="*/ 16422 w 85243"/>
                    <a:gd name="connsiteY4" fmla="*/ 38939 h 138612"/>
                    <a:gd name="connsiteX5" fmla="*/ 10 w 85243"/>
                    <a:gd name="connsiteY5" fmla="*/ 5605 h 138612"/>
                    <a:gd name="connsiteX6" fmla="*/ 4970 w 85243"/>
                    <a:gd name="connsiteY6" fmla="*/ 14 h 138612"/>
                    <a:gd name="connsiteX7" fmla="*/ 10561 w 85243"/>
                    <a:gd name="connsiteY7" fmla="*/ 4973 h 138612"/>
                    <a:gd name="connsiteX8" fmla="*/ 23907 w 85243"/>
                    <a:gd name="connsiteY8" fmla="*/ 31515 h 138612"/>
                    <a:gd name="connsiteX9" fmla="*/ 38695 w 85243"/>
                    <a:gd name="connsiteY9" fmla="*/ 43929 h 138612"/>
                    <a:gd name="connsiteX10" fmla="*/ 40168 w 85243"/>
                    <a:gd name="connsiteY10" fmla="*/ 45071 h 138612"/>
                    <a:gd name="connsiteX11" fmla="*/ 40138 w 85243"/>
                    <a:gd name="connsiteY11" fmla="*/ 45101 h 138612"/>
                    <a:gd name="connsiteX12" fmla="*/ 41371 w 85243"/>
                    <a:gd name="connsiteY12" fmla="*/ 46123 h 138612"/>
                    <a:gd name="connsiteX13" fmla="*/ 85105 w 85243"/>
                    <a:gd name="connsiteY13" fmla="*/ 132150 h 138612"/>
                    <a:gd name="connsiteX14" fmla="*/ 81168 w 85243"/>
                    <a:gd name="connsiteY14" fmla="*/ 138492 h 138612"/>
                    <a:gd name="connsiteX15" fmla="*/ 79965 w 85243"/>
                    <a:gd name="connsiteY15" fmla="*/ 138613 h 13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5243" h="138612">
                      <a:moveTo>
                        <a:pt x="79965" y="138613"/>
                      </a:moveTo>
                      <a:cubicBezTo>
                        <a:pt x="77561" y="138613"/>
                        <a:pt x="75397" y="136959"/>
                        <a:pt x="74826" y="134525"/>
                      </a:cubicBezTo>
                      <a:cubicBezTo>
                        <a:pt x="63313" y="85079"/>
                        <a:pt x="42513" y="61543"/>
                        <a:pt x="33976" y="53608"/>
                      </a:cubicBezTo>
                      <a:lnTo>
                        <a:pt x="32413" y="52375"/>
                      </a:lnTo>
                      <a:cubicBezTo>
                        <a:pt x="28325" y="49189"/>
                        <a:pt x="21021" y="43538"/>
                        <a:pt x="16422" y="38939"/>
                      </a:cubicBezTo>
                      <a:cubicBezTo>
                        <a:pt x="10801" y="33288"/>
                        <a:pt x="551" y="14682"/>
                        <a:pt x="10" y="5605"/>
                      </a:cubicBezTo>
                      <a:cubicBezTo>
                        <a:pt x="-170" y="2689"/>
                        <a:pt x="2054" y="194"/>
                        <a:pt x="4970" y="14"/>
                      </a:cubicBezTo>
                      <a:cubicBezTo>
                        <a:pt x="7855" y="-197"/>
                        <a:pt x="10380" y="2058"/>
                        <a:pt x="10561" y="4973"/>
                      </a:cubicBezTo>
                      <a:cubicBezTo>
                        <a:pt x="10921" y="11135"/>
                        <a:pt x="19909" y="27457"/>
                        <a:pt x="23907" y="31515"/>
                      </a:cubicBezTo>
                      <a:cubicBezTo>
                        <a:pt x="28025" y="35633"/>
                        <a:pt x="34968" y="41013"/>
                        <a:pt x="38695" y="43929"/>
                      </a:cubicBezTo>
                      <a:lnTo>
                        <a:pt x="40168" y="45071"/>
                      </a:lnTo>
                      <a:lnTo>
                        <a:pt x="40138" y="45101"/>
                      </a:lnTo>
                      <a:cubicBezTo>
                        <a:pt x="40589" y="45372"/>
                        <a:pt x="41010" y="45732"/>
                        <a:pt x="41371" y="46123"/>
                      </a:cubicBezTo>
                      <a:cubicBezTo>
                        <a:pt x="50208" y="54239"/>
                        <a:pt x="72872" y="79638"/>
                        <a:pt x="85105" y="132150"/>
                      </a:cubicBezTo>
                      <a:cubicBezTo>
                        <a:pt x="85767" y="134976"/>
                        <a:pt x="83993" y="137831"/>
                        <a:pt x="81168" y="138492"/>
                      </a:cubicBezTo>
                      <a:cubicBezTo>
                        <a:pt x="80777" y="138553"/>
                        <a:pt x="80386" y="138613"/>
                        <a:pt x="79965" y="138613"/>
                      </a:cubicBezTo>
                      <a:close/>
                    </a:path>
                  </a:pathLst>
                </a:custGeom>
                <a:grpFill/>
                <a:ln w="3004" cap="flat">
                  <a:noFill/>
                  <a:prstDash val="solid"/>
                  <a:miter/>
                </a:ln>
              </p:spPr>
              <p:txBody>
                <a:bodyPr rtlCol="0" anchor="ctr"/>
                <a:lstStyle/>
                <a:p>
                  <a:endParaRPr lang="en-GB" dirty="0"/>
                </a:p>
              </p:txBody>
            </p:sp>
            <p:sp>
              <p:nvSpPr>
                <p:cNvPr id="491" name="Freihandform: Form 490">
                  <a:extLst>
                    <a:ext uri="{FF2B5EF4-FFF2-40B4-BE49-F238E27FC236}">
                      <a16:creationId xmlns:a16="http://schemas.microsoft.com/office/drawing/2014/main" id="{66881757-8B7C-448D-B5D5-BD28D44BF2A3}"/>
                    </a:ext>
                  </a:extLst>
                </p:cNvPr>
                <p:cNvSpPr/>
                <p:nvPr/>
              </p:nvSpPr>
              <p:spPr>
                <a:xfrm>
                  <a:off x="2438887" y="3390983"/>
                  <a:ext cx="295380" cy="235166"/>
                </a:xfrm>
                <a:custGeom>
                  <a:avLst/>
                  <a:gdLst>
                    <a:gd name="connsiteX0" fmla="*/ 73665 w 295380"/>
                    <a:gd name="connsiteY0" fmla="*/ 235167 h 235166"/>
                    <a:gd name="connsiteX1" fmla="*/ 73485 w 295380"/>
                    <a:gd name="connsiteY1" fmla="*/ 235167 h 235166"/>
                    <a:gd name="connsiteX2" fmla="*/ 9340 w 295380"/>
                    <a:gd name="connsiteY2" fmla="*/ 208806 h 235166"/>
                    <a:gd name="connsiteX3" fmla="*/ 7266 w 295380"/>
                    <a:gd name="connsiteY3" fmla="*/ 137958 h 235166"/>
                    <a:gd name="connsiteX4" fmla="*/ 7717 w 295380"/>
                    <a:gd name="connsiteY4" fmla="*/ 136636 h 235166"/>
                    <a:gd name="connsiteX5" fmla="*/ 10963 w 295380"/>
                    <a:gd name="connsiteY5" fmla="*/ 88843 h 235166"/>
                    <a:gd name="connsiteX6" fmla="*/ 71471 w 295380"/>
                    <a:gd name="connsiteY6" fmla="*/ 45859 h 235166"/>
                    <a:gd name="connsiteX7" fmla="*/ 111178 w 295380"/>
                    <a:gd name="connsiteY7" fmla="*/ 14869 h 235166"/>
                    <a:gd name="connsiteX8" fmla="*/ 163509 w 295380"/>
                    <a:gd name="connsiteY8" fmla="*/ 8437 h 235166"/>
                    <a:gd name="connsiteX9" fmla="*/ 294053 w 295380"/>
                    <a:gd name="connsiteY9" fmla="*/ 35158 h 235166"/>
                    <a:gd name="connsiteX10" fmla="*/ 293602 w 295380"/>
                    <a:gd name="connsiteY10" fmla="*/ 42583 h 235166"/>
                    <a:gd name="connsiteX11" fmla="*/ 286148 w 295380"/>
                    <a:gd name="connsiteY11" fmla="*/ 42162 h 235166"/>
                    <a:gd name="connsiteX12" fmla="*/ 165343 w 295380"/>
                    <a:gd name="connsiteY12" fmla="*/ 18987 h 235166"/>
                    <a:gd name="connsiteX13" fmla="*/ 161015 w 295380"/>
                    <a:gd name="connsiteY13" fmla="*/ 18716 h 235166"/>
                    <a:gd name="connsiteX14" fmla="*/ 114785 w 295380"/>
                    <a:gd name="connsiteY14" fmla="*/ 24758 h 235166"/>
                    <a:gd name="connsiteX15" fmla="*/ 80157 w 295380"/>
                    <a:gd name="connsiteY15" fmla="*/ 52262 h 235166"/>
                    <a:gd name="connsiteX16" fmla="*/ 75919 w 295380"/>
                    <a:gd name="connsiteY16" fmla="*/ 55508 h 235166"/>
                    <a:gd name="connsiteX17" fmla="*/ 19229 w 295380"/>
                    <a:gd name="connsiteY17" fmla="*/ 95636 h 235166"/>
                    <a:gd name="connsiteX18" fmla="*/ 18177 w 295380"/>
                    <a:gd name="connsiteY18" fmla="*/ 134381 h 235166"/>
                    <a:gd name="connsiteX19" fmla="*/ 18418 w 295380"/>
                    <a:gd name="connsiteY19" fmla="*/ 137657 h 235166"/>
                    <a:gd name="connsiteX20" fmla="*/ 17275 w 295380"/>
                    <a:gd name="connsiteY20" fmla="*/ 141264 h 235166"/>
                    <a:gd name="connsiteX21" fmla="*/ 17997 w 295380"/>
                    <a:gd name="connsiteY21" fmla="*/ 202734 h 235166"/>
                    <a:gd name="connsiteX22" fmla="*/ 73845 w 295380"/>
                    <a:gd name="connsiteY22" fmla="*/ 224586 h 235166"/>
                    <a:gd name="connsiteX23" fmla="*/ 78955 w 295380"/>
                    <a:gd name="connsiteY23" fmla="*/ 230027 h 235166"/>
                    <a:gd name="connsiteX24" fmla="*/ 73665 w 295380"/>
                    <a:gd name="connsiteY24" fmla="*/ 235167 h 235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5380" h="235166">
                      <a:moveTo>
                        <a:pt x="73665" y="235167"/>
                      </a:moveTo>
                      <a:cubicBezTo>
                        <a:pt x="73605" y="235167"/>
                        <a:pt x="73545" y="235167"/>
                        <a:pt x="73485" y="235167"/>
                      </a:cubicBezTo>
                      <a:cubicBezTo>
                        <a:pt x="42404" y="234175"/>
                        <a:pt x="20822" y="225308"/>
                        <a:pt x="9340" y="208806"/>
                      </a:cubicBezTo>
                      <a:cubicBezTo>
                        <a:pt x="-8064" y="183827"/>
                        <a:pt x="3479" y="149320"/>
                        <a:pt x="7266" y="137958"/>
                      </a:cubicBezTo>
                      <a:cubicBezTo>
                        <a:pt x="7416" y="137477"/>
                        <a:pt x="7567" y="137026"/>
                        <a:pt x="7717" y="136636"/>
                      </a:cubicBezTo>
                      <a:cubicBezTo>
                        <a:pt x="1254" y="119652"/>
                        <a:pt x="2336" y="103601"/>
                        <a:pt x="10963" y="88843"/>
                      </a:cubicBezTo>
                      <a:cubicBezTo>
                        <a:pt x="26233" y="62752"/>
                        <a:pt x="60499" y="49166"/>
                        <a:pt x="71471" y="45859"/>
                      </a:cubicBezTo>
                      <a:cubicBezTo>
                        <a:pt x="79436" y="29387"/>
                        <a:pt x="97261" y="19949"/>
                        <a:pt x="111178" y="14869"/>
                      </a:cubicBezTo>
                      <a:cubicBezTo>
                        <a:pt x="130024" y="7986"/>
                        <a:pt x="153139" y="5280"/>
                        <a:pt x="163509" y="8437"/>
                      </a:cubicBezTo>
                      <a:cubicBezTo>
                        <a:pt x="243344" y="-20600"/>
                        <a:pt x="293542" y="34587"/>
                        <a:pt x="294053" y="35158"/>
                      </a:cubicBezTo>
                      <a:cubicBezTo>
                        <a:pt x="295977" y="37323"/>
                        <a:pt x="295796" y="40659"/>
                        <a:pt x="293602" y="42583"/>
                      </a:cubicBezTo>
                      <a:cubicBezTo>
                        <a:pt x="291438" y="44507"/>
                        <a:pt x="288101" y="44326"/>
                        <a:pt x="286148" y="42162"/>
                      </a:cubicBezTo>
                      <a:cubicBezTo>
                        <a:pt x="284254" y="40058"/>
                        <a:pt x="239286" y="-8967"/>
                        <a:pt x="165343" y="18987"/>
                      </a:cubicBezTo>
                      <a:cubicBezTo>
                        <a:pt x="163930" y="19528"/>
                        <a:pt x="162367" y="19408"/>
                        <a:pt x="161015" y="18716"/>
                      </a:cubicBezTo>
                      <a:cubicBezTo>
                        <a:pt x="156867" y="16522"/>
                        <a:pt x="135585" y="17154"/>
                        <a:pt x="114785" y="24758"/>
                      </a:cubicBezTo>
                      <a:cubicBezTo>
                        <a:pt x="102220" y="29357"/>
                        <a:pt x="85989" y="37864"/>
                        <a:pt x="80157" y="52262"/>
                      </a:cubicBezTo>
                      <a:cubicBezTo>
                        <a:pt x="79436" y="54035"/>
                        <a:pt x="77813" y="55268"/>
                        <a:pt x="75919" y="55508"/>
                      </a:cubicBezTo>
                      <a:cubicBezTo>
                        <a:pt x="71411" y="56380"/>
                        <a:pt x="33026" y="70026"/>
                        <a:pt x="19229" y="95636"/>
                      </a:cubicBezTo>
                      <a:cubicBezTo>
                        <a:pt x="12827" y="107479"/>
                        <a:pt x="12496" y="120524"/>
                        <a:pt x="18177" y="134381"/>
                      </a:cubicBezTo>
                      <a:cubicBezTo>
                        <a:pt x="18598" y="135433"/>
                        <a:pt x="18688" y="136575"/>
                        <a:pt x="18418" y="137657"/>
                      </a:cubicBezTo>
                      <a:cubicBezTo>
                        <a:pt x="18237" y="138379"/>
                        <a:pt x="17847" y="139611"/>
                        <a:pt x="17275" y="141264"/>
                      </a:cubicBezTo>
                      <a:cubicBezTo>
                        <a:pt x="13909" y="151364"/>
                        <a:pt x="3629" y="182084"/>
                        <a:pt x="17997" y="202734"/>
                      </a:cubicBezTo>
                      <a:cubicBezTo>
                        <a:pt x="27465" y="216350"/>
                        <a:pt x="46252" y="223684"/>
                        <a:pt x="73845" y="224586"/>
                      </a:cubicBezTo>
                      <a:cubicBezTo>
                        <a:pt x="76761" y="224676"/>
                        <a:pt x="79045" y="227111"/>
                        <a:pt x="78955" y="230027"/>
                      </a:cubicBezTo>
                      <a:cubicBezTo>
                        <a:pt x="78835" y="232912"/>
                        <a:pt x="76490" y="235167"/>
                        <a:pt x="73665" y="235167"/>
                      </a:cubicBezTo>
                      <a:close/>
                    </a:path>
                  </a:pathLst>
                </a:custGeom>
                <a:grpFill/>
                <a:ln w="3004" cap="flat">
                  <a:noFill/>
                  <a:prstDash val="solid"/>
                  <a:miter/>
                </a:ln>
              </p:spPr>
              <p:txBody>
                <a:bodyPr rtlCol="0" anchor="ctr"/>
                <a:lstStyle/>
                <a:p>
                  <a:endParaRPr lang="en-GB" dirty="0"/>
                </a:p>
              </p:txBody>
            </p:sp>
          </p:grpSp>
          <p:sp>
            <p:nvSpPr>
              <p:cNvPr id="486" name="Freihandform: Form 485">
                <a:extLst>
                  <a:ext uri="{FF2B5EF4-FFF2-40B4-BE49-F238E27FC236}">
                    <a16:creationId xmlns:a16="http://schemas.microsoft.com/office/drawing/2014/main" id="{C5B36C8C-4C35-4699-BC70-14B81B9B6008}"/>
                  </a:ext>
                </a:extLst>
              </p:cNvPr>
              <p:cNvSpPr/>
              <p:nvPr/>
            </p:nvSpPr>
            <p:spPr>
              <a:xfrm>
                <a:off x="2724505" y="3424543"/>
                <a:ext cx="99122" cy="121982"/>
              </a:xfrm>
              <a:custGeom>
                <a:avLst/>
                <a:gdLst>
                  <a:gd name="connsiteX0" fmla="*/ 93500 w 99122"/>
                  <a:gd name="connsiteY0" fmla="*/ 121982 h 121982"/>
                  <a:gd name="connsiteX1" fmla="*/ 92899 w 99122"/>
                  <a:gd name="connsiteY1" fmla="*/ 121952 h 121982"/>
                  <a:gd name="connsiteX2" fmla="*/ 88270 w 99122"/>
                  <a:gd name="connsiteY2" fmla="*/ 116121 h 121982"/>
                  <a:gd name="connsiteX3" fmla="*/ 59895 w 99122"/>
                  <a:gd name="connsiteY3" fmla="*/ 55403 h 121982"/>
                  <a:gd name="connsiteX4" fmla="*/ 56738 w 99122"/>
                  <a:gd name="connsiteY4" fmla="*/ 50233 h 121982"/>
                  <a:gd name="connsiteX5" fmla="*/ 46038 w 99122"/>
                  <a:gd name="connsiteY5" fmla="*/ 27930 h 121982"/>
                  <a:gd name="connsiteX6" fmla="*/ 5699 w 99122"/>
                  <a:gd name="connsiteY6" fmla="*/ 10646 h 121982"/>
                  <a:gd name="connsiteX7" fmla="*/ 18 w 99122"/>
                  <a:gd name="connsiteY7" fmla="*/ 5807 h 121982"/>
                  <a:gd name="connsiteX8" fmla="*/ 4858 w 99122"/>
                  <a:gd name="connsiteY8" fmla="*/ 126 h 121982"/>
                  <a:gd name="connsiteX9" fmla="*/ 53432 w 99122"/>
                  <a:gd name="connsiteY9" fmla="*/ 20415 h 121982"/>
                  <a:gd name="connsiteX10" fmla="*/ 67259 w 99122"/>
                  <a:gd name="connsiteY10" fmla="*/ 47227 h 121982"/>
                  <a:gd name="connsiteX11" fmla="*/ 98730 w 99122"/>
                  <a:gd name="connsiteY11" fmla="*/ 117323 h 121982"/>
                  <a:gd name="connsiteX12" fmla="*/ 93500 w 99122"/>
                  <a:gd name="connsiteY12" fmla="*/ 121982 h 121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122" h="121982">
                    <a:moveTo>
                      <a:pt x="93500" y="121982"/>
                    </a:moveTo>
                    <a:cubicBezTo>
                      <a:pt x="93289" y="121982"/>
                      <a:pt x="93109" y="121982"/>
                      <a:pt x="92899" y="121952"/>
                    </a:cubicBezTo>
                    <a:cubicBezTo>
                      <a:pt x="90013" y="121622"/>
                      <a:pt x="87939" y="119006"/>
                      <a:pt x="88270" y="116121"/>
                    </a:cubicBezTo>
                    <a:cubicBezTo>
                      <a:pt x="88330" y="115670"/>
                      <a:pt x="93079" y="69861"/>
                      <a:pt x="59895" y="55403"/>
                    </a:cubicBezTo>
                    <a:cubicBezTo>
                      <a:pt x="57851" y="54531"/>
                      <a:pt x="56588" y="52457"/>
                      <a:pt x="56738" y="50233"/>
                    </a:cubicBezTo>
                    <a:cubicBezTo>
                      <a:pt x="57189" y="43109"/>
                      <a:pt x="53402" y="35174"/>
                      <a:pt x="46038" y="27930"/>
                    </a:cubicBezTo>
                    <a:cubicBezTo>
                      <a:pt x="34856" y="16928"/>
                      <a:pt x="17963" y="9714"/>
                      <a:pt x="5699" y="10646"/>
                    </a:cubicBezTo>
                    <a:cubicBezTo>
                      <a:pt x="2874" y="10917"/>
                      <a:pt x="259" y="8722"/>
                      <a:pt x="18" y="5807"/>
                    </a:cubicBezTo>
                    <a:cubicBezTo>
                      <a:pt x="-222" y="2891"/>
                      <a:pt x="1942" y="366"/>
                      <a:pt x="4858" y="126"/>
                    </a:cubicBezTo>
                    <a:cubicBezTo>
                      <a:pt x="20097" y="-1137"/>
                      <a:pt x="40056" y="7219"/>
                      <a:pt x="53432" y="20415"/>
                    </a:cubicBezTo>
                    <a:cubicBezTo>
                      <a:pt x="61848" y="28711"/>
                      <a:pt x="66658" y="38089"/>
                      <a:pt x="67259" y="47227"/>
                    </a:cubicBezTo>
                    <a:cubicBezTo>
                      <a:pt x="104171" y="66104"/>
                      <a:pt x="99000" y="115189"/>
                      <a:pt x="98730" y="117323"/>
                    </a:cubicBezTo>
                    <a:cubicBezTo>
                      <a:pt x="98429" y="119998"/>
                      <a:pt x="96145" y="121982"/>
                      <a:pt x="93500" y="121982"/>
                    </a:cubicBezTo>
                    <a:close/>
                  </a:path>
                </a:pathLst>
              </a:custGeom>
              <a:grpFill/>
              <a:ln w="3004" cap="flat">
                <a:noFill/>
                <a:prstDash val="solid"/>
                <a:miter/>
              </a:ln>
            </p:spPr>
            <p:txBody>
              <a:bodyPr rtlCol="0" anchor="ctr"/>
              <a:lstStyle/>
              <a:p>
                <a:endParaRPr lang="en-GB" dirty="0"/>
              </a:p>
            </p:txBody>
          </p:sp>
        </p:grpSp>
        <p:grpSp>
          <p:nvGrpSpPr>
            <p:cNvPr id="475" name="Group 985">
              <a:extLst>
                <a:ext uri="{FF2B5EF4-FFF2-40B4-BE49-F238E27FC236}">
                  <a16:creationId xmlns:a16="http://schemas.microsoft.com/office/drawing/2014/main" id="{BB5B0796-6261-4C80-B5CA-794C7A86CB53}"/>
                </a:ext>
              </a:extLst>
            </p:cNvPr>
            <p:cNvGrpSpPr/>
            <p:nvPr/>
          </p:nvGrpSpPr>
          <p:grpSpPr>
            <a:xfrm>
              <a:off x="7186239" y="3343933"/>
              <a:ext cx="480493" cy="209113"/>
              <a:chOff x="2584361" y="3462361"/>
              <a:chExt cx="486163" cy="211581"/>
            </a:xfrm>
          </p:grpSpPr>
          <p:grpSp>
            <p:nvGrpSpPr>
              <p:cNvPr id="476" name="Grafik 19">
                <a:extLst>
                  <a:ext uri="{FF2B5EF4-FFF2-40B4-BE49-F238E27FC236}">
                    <a16:creationId xmlns:a16="http://schemas.microsoft.com/office/drawing/2014/main" id="{7085C569-B581-4E86-9E6D-3639A3878E4D}"/>
                  </a:ext>
                </a:extLst>
              </p:cNvPr>
              <p:cNvGrpSpPr/>
              <p:nvPr/>
            </p:nvGrpSpPr>
            <p:grpSpPr>
              <a:xfrm>
                <a:off x="2947015" y="3557316"/>
                <a:ext cx="123509" cy="116626"/>
                <a:chOff x="2947015" y="3557316"/>
                <a:chExt cx="123509" cy="116626"/>
              </a:xfrm>
              <a:solidFill>
                <a:schemeClr val="accent1"/>
              </a:solidFill>
            </p:grpSpPr>
            <p:sp>
              <p:nvSpPr>
                <p:cNvPr id="481" name="Freihandform: Form 480">
                  <a:extLst>
                    <a:ext uri="{FF2B5EF4-FFF2-40B4-BE49-F238E27FC236}">
                      <a16:creationId xmlns:a16="http://schemas.microsoft.com/office/drawing/2014/main" id="{10F15638-1B0D-46A5-8B62-6EED920774E0}"/>
                    </a:ext>
                  </a:extLst>
                </p:cNvPr>
                <p:cNvSpPr/>
                <p:nvPr/>
              </p:nvSpPr>
              <p:spPr>
                <a:xfrm>
                  <a:off x="2965832" y="3557316"/>
                  <a:ext cx="87109" cy="79594"/>
                </a:xfrm>
                <a:custGeom>
                  <a:avLst/>
                  <a:gdLst>
                    <a:gd name="connsiteX0" fmla="*/ 81849 w 87109"/>
                    <a:gd name="connsiteY0" fmla="*/ 79594 h 79594"/>
                    <a:gd name="connsiteX1" fmla="*/ 5260 w 87109"/>
                    <a:gd name="connsiteY1" fmla="*/ 79594 h 79594"/>
                    <a:gd name="connsiteX2" fmla="*/ 0 w 87109"/>
                    <a:gd name="connsiteY2" fmla="*/ 74334 h 79594"/>
                    <a:gd name="connsiteX3" fmla="*/ 0 w 87109"/>
                    <a:gd name="connsiteY3" fmla="*/ 43555 h 79594"/>
                    <a:gd name="connsiteX4" fmla="*/ 43555 w 87109"/>
                    <a:gd name="connsiteY4" fmla="*/ 0 h 79594"/>
                    <a:gd name="connsiteX5" fmla="*/ 87109 w 87109"/>
                    <a:gd name="connsiteY5" fmla="*/ 43555 h 79594"/>
                    <a:gd name="connsiteX6" fmla="*/ 87109 w 87109"/>
                    <a:gd name="connsiteY6" fmla="*/ 74334 h 79594"/>
                    <a:gd name="connsiteX7" fmla="*/ 81849 w 87109"/>
                    <a:gd name="connsiteY7" fmla="*/ 79594 h 79594"/>
                    <a:gd name="connsiteX8" fmla="*/ 10551 w 87109"/>
                    <a:gd name="connsiteY8" fmla="*/ 69044 h 79594"/>
                    <a:gd name="connsiteX9" fmla="*/ 76589 w 87109"/>
                    <a:gd name="connsiteY9" fmla="*/ 69044 h 79594"/>
                    <a:gd name="connsiteX10" fmla="*/ 76589 w 87109"/>
                    <a:gd name="connsiteY10" fmla="*/ 43555 h 79594"/>
                    <a:gd name="connsiteX11" fmla="*/ 43585 w 87109"/>
                    <a:gd name="connsiteY11" fmla="*/ 10551 h 79594"/>
                    <a:gd name="connsiteX12" fmla="*/ 10581 w 87109"/>
                    <a:gd name="connsiteY12" fmla="*/ 43555 h 79594"/>
                    <a:gd name="connsiteX13" fmla="*/ 10581 w 87109"/>
                    <a:gd name="connsiteY13" fmla="*/ 69044 h 7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109" h="79594">
                      <a:moveTo>
                        <a:pt x="81849" y="79594"/>
                      </a:moveTo>
                      <a:lnTo>
                        <a:pt x="5260" y="79594"/>
                      </a:lnTo>
                      <a:cubicBezTo>
                        <a:pt x="2344" y="79594"/>
                        <a:pt x="0" y="77220"/>
                        <a:pt x="0" y="74334"/>
                      </a:cubicBezTo>
                      <a:lnTo>
                        <a:pt x="0" y="43555"/>
                      </a:lnTo>
                      <a:cubicBezTo>
                        <a:pt x="0" y="19538"/>
                        <a:pt x="19538" y="0"/>
                        <a:pt x="43555" y="0"/>
                      </a:cubicBezTo>
                      <a:cubicBezTo>
                        <a:pt x="67571" y="0"/>
                        <a:pt x="87109" y="19538"/>
                        <a:pt x="87109" y="43555"/>
                      </a:cubicBezTo>
                      <a:lnTo>
                        <a:pt x="87109" y="74334"/>
                      </a:lnTo>
                      <a:cubicBezTo>
                        <a:pt x="87139" y="77220"/>
                        <a:pt x="84765" y="79594"/>
                        <a:pt x="81849" y="79594"/>
                      </a:cubicBezTo>
                      <a:close/>
                      <a:moveTo>
                        <a:pt x="10551" y="69044"/>
                      </a:moveTo>
                      <a:lnTo>
                        <a:pt x="76589" y="69044"/>
                      </a:lnTo>
                      <a:lnTo>
                        <a:pt x="76589" y="43555"/>
                      </a:lnTo>
                      <a:cubicBezTo>
                        <a:pt x="76589" y="25339"/>
                        <a:pt x="61770" y="10551"/>
                        <a:pt x="43585" y="10551"/>
                      </a:cubicBezTo>
                      <a:cubicBezTo>
                        <a:pt x="25369" y="10551"/>
                        <a:pt x="10581" y="25369"/>
                        <a:pt x="10581" y="43555"/>
                      </a:cubicBezTo>
                      <a:lnTo>
                        <a:pt x="10581" y="69044"/>
                      </a:lnTo>
                      <a:close/>
                    </a:path>
                  </a:pathLst>
                </a:custGeom>
                <a:solidFill>
                  <a:schemeClr val="accent1"/>
                </a:solidFill>
                <a:ln w="3004" cap="flat">
                  <a:noFill/>
                  <a:prstDash val="solid"/>
                  <a:miter/>
                </a:ln>
              </p:spPr>
              <p:txBody>
                <a:bodyPr rtlCol="0" anchor="ctr"/>
                <a:lstStyle/>
                <a:p>
                  <a:endParaRPr lang="en-GB" dirty="0"/>
                </a:p>
              </p:txBody>
            </p:sp>
            <p:sp>
              <p:nvSpPr>
                <p:cNvPr id="482" name="Freihandform: Form 481">
                  <a:extLst>
                    <a:ext uri="{FF2B5EF4-FFF2-40B4-BE49-F238E27FC236}">
                      <a16:creationId xmlns:a16="http://schemas.microsoft.com/office/drawing/2014/main" id="{7DD99FC5-3CEF-44EB-8CDD-0C2C75FB1AA2}"/>
                    </a:ext>
                  </a:extLst>
                </p:cNvPr>
                <p:cNvSpPr/>
                <p:nvPr/>
              </p:nvSpPr>
              <p:spPr>
                <a:xfrm>
                  <a:off x="2947015" y="3626390"/>
                  <a:ext cx="123509" cy="10520"/>
                </a:xfrm>
                <a:custGeom>
                  <a:avLst/>
                  <a:gdLst>
                    <a:gd name="connsiteX0" fmla="*/ 118250 w 123509"/>
                    <a:gd name="connsiteY0" fmla="*/ 10520 h 10520"/>
                    <a:gd name="connsiteX1" fmla="*/ 5260 w 123509"/>
                    <a:gd name="connsiteY1" fmla="*/ 10520 h 10520"/>
                    <a:gd name="connsiteX2" fmla="*/ 0 w 123509"/>
                    <a:gd name="connsiteY2" fmla="*/ 5260 h 10520"/>
                    <a:gd name="connsiteX3" fmla="*/ 5260 w 123509"/>
                    <a:gd name="connsiteY3" fmla="*/ 0 h 10520"/>
                    <a:gd name="connsiteX4" fmla="*/ 118250 w 123509"/>
                    <a:gd name="connsiteY4" fmla="*/ 0 h 10520"/>
                    <a:gd name="connsiteX5" fmla="*/ 123510 w 123509"/>
                    <a:gd name="connsiteY5" fmla="*/ 5260 h 10520"/>
                    <a:gd name="connsiteX6" fmla="*/ 118250 w 123509"/>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509" h="10520">
                      <a:moveTo>
                        <a:pt x="118250" y="10520"/>
                      </a:moveTo>
                      <a:lnTo>
                        <a:pt x="5260" y="10520"/>
                      </a:lnTo>
                      <a:cubicBezTo>
                        <a:pt x="2345" y="10520"/>
                        <a:pt x="0" y="8146"/>
                        <a:pt x="0" y="5260"/>
                      </a:cubicBezTo>
                      <a:cubicBezTo>
                        <a:pt x="0" y="2345"/>
                        <a:pt x="2375" y="0"/>
                        <a:pt x="5260" y="0"/>
                      </a:cubicBezTo>
                      <a:lnTo>
                        <a:pt x="118250" y="0"/>
                      </a:lnTo>
                      <a:cubicBezTo>
                        <a:pt x="121165" y="0"/>
                        <a:pt x="123510" y="2375"/>
                        <a:pt x="123510" y="5260"/>
                      </a:cubicBezTo>
                      <a:cubicBezTo>
                        <a:pt x="123510" y="8146"/>
                        <a:pt x="121165" y="10520"/>
                        <a:pt x="118250" y="10520"/>
                      </a:cubicBezTo>
                      <a:close/>
                    </a:path>
                  </a:pathLst>
                </a:custGeom>
                <a:solidFill>
                  <a:schemeClr val="accent1"/>
                </a:solidFill>
                <a:ln w="3004" cap="flat">
                  <a:noFill/>
                  <a:prstDash val="solid"/>
                  <a:miter/>
                </a:ln>
              </p:spPr>
              <p:txBody>
                <a:bodyPr rtlCol="0" anchor="ctr"/>
                <a:lstStyle/>
                <a:p>
                  <a:endParaRPr lang="en-GB" dirty="0"/>
                </a:p>
              </p:txBody>
            </p:sp>
            <p:sp>
              <p:nvSpPr>
                <p:cNvPr id="483" name="Freihandform: Form 482">
                  <a:extLst>
                    <a:ext uri="{FF2B5EF4-FFF2-40B4-BE49-F238E27FC236}">
                      <a16:creationId xmlns:a16="http://schemas.microsoft.com/office/drawing/2014/main" id="{0EFE78B3-9857-4F64-A93A-99E549F1B2FA}"/>
                    </a:ext>
                  </a:extLst>
                </p:cNvPr>
                <p:cNvSpPr/>
                <p:nvPr/>
              </p:nvSpPr>
              <p:spPr>
                <a:xfrm>
                  <a:off x="2977134" y="3625759"/>
                  <a:ext cx="10520" cy="48183"/>
                </a:xfrm>
                <a:custGeom>
                  <a:avLst/>
                  <a:gdLst>
                    <a:gd name="connsiteX0" fmla="*/ 5260 w 10520"/>
                    <a:gd name="connsiteY0" fmla="*/ 48184 h 48183"/>
                    <a:gd name="connsiteX1" fmla="*/ 0 w 10520"/>
                    <a:gd name="connsiteY1" fmla="*/ 42923 h 48183"/>
                    <a:gd name="connsiteX2" fmla="*/ 0 w 10520"/>
                    <a:gd name="connsiteY2" fmla="*/ 5260 h 48183"/>
                    <a:gd name="connsiteX3" fmla="*/ 5260 w 10520"/>
                    <a:gd name="connsiteY3" fmla="*/ 0 h 48183"/>
                    <a:gd name="connsiteX4" fmla="*/ 10520 w 10520"/>
                    <a:gd name="connsiteY4" fmla="*/ 5260 h 48183"/>
                    <a:gd name="connsiteX5" fmla="*/ 10520 w 10520"/>
                    <a:gd name="connsiteY5" fmla="*/ 42923 h 48183"/>
                    <a:gd name="connsiteX6" fmla="*/ 5260 w 10520"/>
                    <a:gd name="connsiteY6" fmla="*/ 48184 h 4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48183">
                      <a:moveTo>
                        <a:pt x="5260" y="48184"/>
                      </a:moveTo>
                      <a:cubicBezTo>
                        <a:pt x="2344" y="48184"/>
                        <a:pt x="0" y="45809"/>
                        <a:pt x="0" y="42923"/>
                      </a:cubicBezTo>
                      <a:lnTo>
                        <a:pt x="0" y="5260"/>
                      </a:lnTo>
                      <a:cubicBezTo>
                        <a:pt x="0" y="2345"/>
                        <a:pt x="2375" y="0"/>
                        <a:pt x="5260" y="0"/>
                      </a:cubicBezTo>
                      <a:cubicBezTo>
                        <a:pt x="8176" y="0"/>
                        <a:pt x="10520" y="2375"/>
                        <a:pt x="10520" y="5260"/>
                      </a:cubicBezTo>
                      <a:lnTo>
                        <a:pt x="10520" y="42923"/>
                      </a:lnTo>
                      <a:cubicBezTo>
                        <a:pt x="10551" y="45809"/>
                        <a:pt x="8176" y="48184"/>
                        <a:pt x="5260" y="48184"/>
                      </a:cubicBezTo>
                      <a:close/>
                    </a:path>
                  </a:pathLst>
                </a:custGeom>
                <a:solidFill>
                  <a:schemeClr val="accent1"/>
                </a:solidFill>
                <a:ln w="3004" cap="flat">
                  <a:noFill/>
                  <a:prstDash val="solid"/>
                  <a:miter/>
                </a:ln>
              </p:spPr>
              <p:txBody>
                <a:bodyPr rtlCol="0" anchor="ctr"/>
                <a:lstStyle/>
                <a:p>
                  <a:endParaRPr lang="en-GB" dirty="0"/>
                </a:p>
              </p:txBody>
            </p:sp>
            <p:sp>
              <p:nvSpPr>
                <p:cNvPr id="484" name="Freihandform: Form 483">
                  <a:extLst>
                    <a:ext uri="{FF2B5EF4-FFF2-40B4-BE49-F238E27FC236}">
                      <a16:creationId xmlns:a16="http://schemas.microsoft.com/office/drawing/2014/main" id="{113FBA22-2ADD-4407-AA2C-A2F0B738BE5B}"/>
                    </a:ext>
                  </a:extLst>
                </p:cNvPr>
                <p:cNvSpPr/>
                <p:nvPr/>
              </p:nvSpPr>
              <p:spPr>
                <a:xfrm>
                  <a:off x="3029856" y="3625759"/>
                  <a:ext cx="10520" cy="48183"/>
                </a:xfrm>
                <a:custGeom>
                  <a:avLst/>
                  <a:gdLst>
                    <a:gd name="connsiteX0" fmla="*/ 5260 w 10520"/>
                    <a:gd name="connsiteY0" fmla="*/ 48184 h 48183"/>
                    <a:gd name="connsiteX1" fmla="*/ 0 w 10520"/>
                    <a:gd name="connsiteY1" fmla="*/ 42923 h 48183"/>
                    <a:gd name="connsiteX2" fmla="*/ 0 w 10520"/>
                    <a:gd name="connsiteY2" fmla="*/ 5260 h 48183"/>
                    <a:gd name="connsiteX3" fmla="*/ 5260 w 10520"/>
                    <a:gd name="connsiteY3" fmla="*/ 0 h 48183"/>
                    <a:gd name="connsiteX4" fmla="*/ 10520 w 10520"/>
                    <a:gd name="connsiteY4" fmla="*/ 5260 h 48183"/>
                    <a:gd name="connsiteX5" fmla="*/ 10520 w 10520"/>
                    <a:gd name="connsiteY5" fmla="*/ 42923 h 48183"/>
                    <a:gd name="connsiteX6" fmla="*/ 5260 w 10520"/>
                    <a:gd name="connsiteY6" fmla="*/ 48184 h 48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48183">
                      <a:moveTo>
                        <a:pt x="5260" y="48184"/>
                      </a:moveTo>
                      <a:cubicBezTo>
                        <a:pt x="2345" y="48184"/>
                        <a:pt x="0" y="45809"/>
                        <a:pt x="0" y="42923"/>
                      </a:cubicBezTo>
                      <a:lnTo>
                        <a:pt x="0" y="5260"/>
                      </a:lnTo>
                      <a:cubicBezTo>
                        <a:pt x="0" y="2345"/>
                        <a:pt x="2375" y="0"/>
                        <a:pt x="5260" y="0"/>
                      </a:cubicBezTo>
                      <a:cubicBezTo>
                        <a:pt x="8176" y="0"/>
                        <a:pt x="10520" y="2375"/>
                        <a:pt x="10520" y="5260"/>
                      </a:cubicBezTo>
                      <a:lnTo>
                        <a:pt x="10520" y="42923"/>
                      </a:lnTo>
                      <a:cubicBezTo>
                        <a:pt x="10551" y="45809"/>
                        <a:pt x="8176" y="48184"/>
                        <a:pt x="5260" y="48184"/>
                      </a:cubicBezTo>
                      <a:close/>
                    </a:path>
                  </a:pathLst>
                </a:custGeom>
                <a:solidFill>
                  <a:schemeClr val="accent1"/>
                </a:solidFill>
                <a:ln w="3004" cap="flat">
                  <a:noFill/>
                  <a:prstDash val="solid"/>
                  <a:miter/>
                </a:ln>
              </p:spPr>
              <p:txBody>
                <a:bodyPr rtlCol="0" anchor="ctr"/>
                <a:lstStyle/>
                <a:p>
                  <a:endParaRPr lang="en-GB" dirty="0"/>
                </a:p>
              </p:txBody>
            </p:sp>
          </p:grpSp>
          <p:grpSp>
            <p:nvGrpSpPr>
              <p:cNvPr id="477" name="Grafik 19">
                <a:extLst>
                  <a:ext uri="{FF2B5EF4-FFF2-40B4-BE49-F238E27FC236}">
                    <a16:creationId xmlns:a16="http://schemas.microsoft.com/office/drawing/2014/main" id="{1B85F29A-CC46-480E-9687-398EDB1AE515}"/>
                  </a:ext>
                </a:extLst>
              </p:cNvPr>
              <p:cNvGrpSpPr/>
              <p:nvPr/>
            </p:nvGrpSpPr>
            <p:grpSpPr>
              <a:xfrm>
                <a:off x="2584361" y="3462361"/>
                <a:ext cx="121135" cy="180831"/>
                <a:chOff x="2584361" y="3462361"/>
                <a:chExt cx="121135" cy="180831"/>
              </a:xfrm>
              <a:solidFill>
                <a:schemeClr val="accent1"/>
              </a:solidFill>
            </p:grpSpPr>
            <p:sp>
              <p:nvSpPr>
                <p:cNvPr id="478" name="Freihandform: Form 477">
                  <a:extLst>
                    <a:ext uri="{FF2B5EF4-FFF2-40B4-BE49-F238E27FC236}">
                      <a16:creationId xmlns:a16="http://schemas.microsoft.com/office/drawing/2014/main" id="{B9356C61-3A61-4937-B822-E0218A6EB0F5}"/>
                    </a:ext>
                  </a:extLst>
                </p:cNvPr>
                <p:cNvSpPr/>
                <p:nvPr/>
              </p:nvSpPr>
              <p:spPr>
                <a:xfrm>
                  <a:off x="2584361" y="3462361"/>
                  <a:ext cx="121135" cy="135893"/>
                </a:xfrm>
                <a:custGeom>
                  <a:avLst/>
                  <a:gdLst>
                    <a:gd name="connsiteX0" fmla="*/ 86809 w 121135"/>
                    <a:gd name="connsiteY0" fmla="*/ 135894 h 135893"/>
                    <a:gd name="connsiteX1" fmla="*/ 34267 w 121135"/>
                    <a:gd name="connsiteY1" fmla="*/ 135894 h 135893"/>
                    <a:gd name="connsiteX2" fmla="*/ 29006 w 121135"/>
                    <a:gd name="connsiteY2" fmla="*/ 130634 h 135893"/>
                    <a:gd name="connsiteX3" fmla="*/ 29006 w 121135"/>
                    <a:gd name="connsiteY3" fmla="*/ 112689 h 135893"/>
                    <a:gd name="connsiteX4" fmla="*/ 25490 w 121135"/>
                    <a:gd name="connsiteY4" fmla="*/ 109923 h 135893"/>
                    <a:gd name="connsiteX5" fmla="*/ 0 w 121135"/>
                    <a:gd name="connsiteY5" fmla="*/ 60568 h 135893"/>
                    <a:gd name="connsiteX6" fmla="*/ 60568 w 121135"/>
                    <a:gd name="connsiteY6" fmla="*/ 0 h 135893"/>
                    <a:gd name="connsiteX7" fmla="*/ 121135 w 121135"/>
                    <a:gd name="connsiteY7" fmla="*/ 60568 h 135893"/>
                    <a:gd name="connsiteX8" fmla="*/ 95075 w 121135"/>
                    <a:gd name="connsiteY8" fmla="*/ 110344 h 135893"/>
                    <a:gd name="connsiteX9" fmla="*/ 92099 w 121135"/>
                    <a:gd name="connsiteY9" fmla="*/ 115965 h 135893"/>
                    <a:gd name="connsiteX10" fmla="*/ 92129 w 121135"/>
                    <a:gd name="connsiteY10" fmla="*/ 130634 h 135893"/>
                    <a:gd name="connsiteX11" fmla="*/ 86809 w 121135"/>
                    <a:gd name="connsiteY11" fmla="*/ 135894 h 135893"/>
                    <a:gd name="connsiteX12" fmla="*/ 39527 w 121135"/>
                    <a:gd name="connsiteY12" fmla="*/ 125343 h 135893"/>
                    <a:gd name="connsiteX13" fmla="*/ 81518 w 121135"/>
                    <a:gd name="connsiteY13" fmla="*/ 125343 h 135893"/>
                    <a:gd name="connsiteX14" fmla="*/ 81518 w 121135"/>
                    <a:gd name="connsiteY14" fmla="*/ 116386 h 135893"/>
                    <a:gd name="connsiteX15" fmla="*/ 89364 w 121135"/>
                    <a:gd name="connsiteY15" fmla="*/ 101417 h 135893"/>
                    <a:gd name="connsiteX16" fmla="*/ 110525 w 121135"/>
                    <a:gd name="connsiteY16" fmla="*/ 60538 h 135893"/>
                    <a:gd name="connsiteX17" fmla="*/ 60508 w 121135"/>
                    <a:gd name="connsiteY17" fmla="*/ 10520 h 135893"/>
                    <a:gd name="connsiteX18" fmla="*/ 10491 w 121135"/>
                    <a:gd name="connsiteY18" fmla="*/ 60538 h 135893"/>
                    <a:gd name="connsiteX19" fmla="*/ 31411 w 121135"/>
                    <a:gd name="connsiteY19" fmla="*/ 101237 h 135893"/>
                    <a:gd name="connsiteX20" fmla="*/ 39106 w 121135"/>
                    <a:gd name="connsiteY20" fmla="*/ 108931 h 135893"/>
                    <a:gd name="connsiteX21" fmla="*/ 39497 w 121135"/>
                    <a:gd name="connsiteY21" fmla="*/ 110915 h 135893"/>
                    <a:gd name="connsiteX22" fmla="*/ 39497 w 121135"/>
                    <a:gd name="connsiteY22" fmla="*/ 125343 h 135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21135" h="135893">
                      <a:moveTo>
                        <a:pt x="86809" y="135894"/>
                      </a:moveTo>
                      <a:lnTo>
                        <a:pt x="34267" y="135894"/>
                      </a:lnTo>
                      <a:cubicBezTo>
                        <a:pt x="31351" y="135894"/>
                        <a:pt x="29006" y="133519"/>
                        <a:pt x="29006" y="130634"/>
                      </a:cubicBezTo>
                      <a:lnTo>
                        <a:pt x="29006" y="112689"/>
                      </a:lnTo>
                      <a:cubicBezTo>
                        <a:pt x="28465" y="112208"/>
                        <a:pt x="27353" y="111246"/>
                        <a:pt x="25490" y="109923"/>
                      </a:cubicBezTo>
                      <a:cubicBezTo>
                        <a:pt x="9529" y="98892"/>
                        <a:pt x="0" y="80436"/>
                        <a:pt x="0" y="60568"/>
                      </a:cubicBezTo>
                      <a:cubicBezTo>
                        <a:pt x="0" y="27173"/>
                        <a:pt x="27173" y="0"/>
                        <a:pt x="60568" y="0"/>
                      </a:cubicBezTo>
                      <a:cubicBezTo>
                        <a:pt x="93962" y="0"/>
                        <a:pt x="121135" y="27173"/>
                        <a:pt x="121135" y="60568"/>
                      </a:cubicBezTo>
                      <a:cubicBezTo>
                        <a:pt x="121135" y="81067"/>
                        <a:pt x="111156" y="100154"/>
                        <a:pt x="95075" y="110344"/>
                      </a:cubicBezTo>
                      <a:cubicBezTo>
                        <a:pt x="91949" y="112298"/>
                        <a:pt x="92099" y="115935"/>
                        <a:pt x="92099" y="115965"/>
                      </a:cubicBezTo>
                      <a:lnTo>
                        <a:pt x="92129" y="130634"/>
                      </a:lnTo>
                      <a:cubicBezTo>
                        <a:pt x="92069" y="133549"/>
                        <a:pt x="89724" y="135894"/>
                        <a:pt x="86809" y="135894"/>
                      </a:cubicBezTo>
                      <a:close/>
                      <a:moveTo>
                        <a:pt x="39527" y="125343"/>
                      </a:moveTo>
                      <a:lnTo>
                        <a:pt x="81518" y="125343"/>
                      </a:lnTo>
                      <a:lnTo>
                        <a:pt x="81518" y="116386"/>
                      </a:lnTo>
                      <a:cubicBezTo>
                        <a:pt x="81248" y="113110"/>
                        <a:pt x="82540" y="105715"/>
                        <a:pt x="89364" y="101417"/>
                      </a:cubicBezTo>
                      <a:cubicBezTo>
                        <a:pt x="102409" y="93151"/>
                        <a:pt x="110525" y="77491"/>
                        <a:pt x="110525" y="60538"/>
                      </a:cubicBezTo>
                      <a:cubicBezTo>
                        <a:pt x="110525" y="32944"/>
                        <a:pt x="88071" y="10520"/>
                        <a:pt x="60508" y="10520"/>
                      </a:cubicBezTo>
                      <a:cubicBezTo>
                        <a:pt x="32944" y="10520"/>
                        <a:pt x="10491" y="32974"/>
                        <a:pt x="10491" y="60538"/>
                      </a:cubicBezTo>
                      <a:cubicBezTo>
                        <a:pt x="10491" y="76950"/>
                        <a:pt x="18306" y="92189"/>
                        <a:pt x="31411" y="101237"/>
                      </a:cubicBezTo>
                      <a:cubicBezTo>
                        <a:pt x="36671" y="104874"/>
                        <a:pt x="38505" y="107429"/>
                        <a:pt x="39106" y="108931"/>
                      </a:cubicBezTo>
                      <a:cubicBezTo>
                        <a:pt x="39346" y="109563"/>
                        <a:pt x="39497" y="110224"/>
                        <a:pt x="39497" y="110915"/>
                      </a:cubicBezTo>
                      <a:lnTo>
                        <a:pt x="39497" y="125343"/>
                      </a:lnTo>
                      <a:close/>
                    </a:path>
                  </a:pathLst>
                </a:custGeom>
                <a:solidFill>
                  <a:schemeClr val="accent1"/>
                </a:solidFill>
                <a:ln w="3004" cap="flat">
                  <a:noFill/>
                  <a:prstDash val="solid"/>
                  <a:miter/>
                </a:ln>
              </p:spPr>
              <p:txBody>
                <a:bodyPr rtlCol="0" anchor="ctr"/>
                <a:lstStyle/>
                <a:p>
                  <a:endParaRPr lang="en-GB" dirty="0"/>
                </a:p>
              </p:txBody>
            </p:sp>
            <p:sp>
              <p:nvSpPr>
                <p:cNvPr id="479" name="Freihandform: Form 478">
                  <a:extLst>
                    <a:ext uri="{FF2B5EF4-FFF2-40B4-BE49-F238E27FC236}">
                      <a16:creationId xmlns:a16="http://schemas.microsoft.com/office/drawing/2014/main" id="{D37B58D7-A74A-4846-AD07-7EACFB98C5AB}"/>
                    </a:ext>
                  </a:extLst>
                </p:cNvPr>
                <p:cNvSpPr/>
                <p:nvPr/>
              </p:nvSpPr>
              <p:spPr>
                <a:xfrm>
                  <a:off x="2613247" y="3610188"/>
                  <a:ext cx="62611" cy="10520"/>
                </a:xfrm>
                <a:custGeom>
                  <a:avLst/>
                  <a:gdLst>
                    <a:gd name="connsiteX0" fmla="*/ 57351 w 62611"/>
                    <a:gd name="connsiteY0" fmla="*/ 10520 h 10520"/>
                    <a:gd name="connsiteX1" fmla="*/ 5260 w 62611"/>
                    <a:gd name="connsiteY1" fmla="*/ 10520 h 10520"/>
                    <a:gd name="connsiteX2" fmla="*/ 0 w 62611"/>
                    <a:gd name="connsiteY2" fmla="*/ 5260 h 10520"/>
                    <a:gd name="connsiteX3" fmla="*/ 5260 w 62611"/>
                    <a:gd name="connsiteY3" fmla="*/ 0 h 10520"/>
                    <a:gd name="connsiteX4" fmla="*/ 57351 w 62611"/>
                    <a:gd name="connsiteY4" fmla="*/ 0 h 10520"/>
                    <a:gd name="connsiteX5" fmla="*/ 62611 w 62611"/>
                    <a:gd name="connsiteY5" fmla="*/ 5260 h 10520"/>
                    <a:gd name="connsiteX6" fmla="*/ 57351 w 62611"/>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611" h="10520">
                      <a:moveTo>
                        <a:pt x="57351" y="10520"/>
                      </a:moveTo>
                      <a:lnTo>
                        <a:pt x="5260" y="10520"/>
                      </a:lnTo>
                      <a:cubicBezTo>
                        <a:pt x="2344" y="10520"/>
                        <a:pt x="0" y="8146"/>
                        <a:pt x="0" y="5260"/>
                      </a:cubicBezTo>
                      <a:cubicBezTo>
                        <a:pt x="0" y="2345"/>
                        <a:pt x="2375" y="0"/>
                        <a:pt x="5260" y="0"/>
                      </a:cubicBezTo>
                      <a:lnTo>
                        <a:pt x="57351" y="0"/>
                      </a:lnTo>
                      <a:cubicBezTo>
                        <a:pt x="60267" y="0"/>
                        <a:pt x="62611" y="2375"/>
                        <a:pt x="62611" y="5260"/>
                      </a:cubicBezTo>
                      <a:cubicBezTo>
                        <a:pt x="62642" y="8176"/>
                        <a:pt x="60267" y="10520"/>
                        <a:pt x="57351" y="10520"/>
                      </a:cubicBezTo>
                      <a:close/>
                    </a:path>
                  </a:pathLst>
                </a:custGeom>
                <a:solidFill>
                  <a:schemeClr val="accent1"/>
                </a:solidFill>
                <a:ln w="3004" cap="flat">
                  <a:noFill/>
                  <a:prstDash val="solid"/>
                  <a:miter/>
                </a:ln>
              </p:spPr>
              <p:txBody>
                <a:bodyPr rtlCol="0" anchor="ctr"/>
                <a:lstStyle/>
                <a:p>
                  <a:endParaRPr lang="en-GB" dirty="0"/>
                </a:p>
              </p:txBody>
            </p:sp>
            <p:sp>
              <p:nvSpPr>
                <p:cNvPr id="480" name="Freihandform: Form 479">
                  <a:extLst>
                    <a:ext uri="{FF2B5EF4-FFF2-40B4-BE49-F238E27FC236}">
                      <a16:creationId xmlns:a16="http://schemas.microsoft.com/office/drawing/2014/main" id="{FB2153B1-6475-427A-A40F-09C09C397491}"/>
                    </a:ext>
                  </a:extLst>
                </p:cNvPr>
                <p:cNvSpPr/>
                <p:nvPr/>
              </p:nvSpPr>
              <p:spPr>
                <a:xfrm>
                  <a:off x="2622896" y="3632672"/>
                  <a:ext cx="43314" cy="10520"/>
                </a:xfrm>
                <a:custGeom>
                  <a:avLst/>
                  <a:gdLst>
                    <a:gd name="connsiteX0" fmla="*/ 38054 w 43314"/>
                    <a:gd name="connsiteY0" fmla="*/ 10520 h 10520"/>
                    <a:gd name="connsiteX1" fmla="*/ 5260 w 43314"/>
                    <a:gd name="connsiteY1" fmla="*/ 10520 h 10520"/>
                    <a:gd name="connsiteX2" fmla="*/ 0 w 43314"/>
                    <a:gd name="connsiteY2" fmla="*/ 5260 h 10520"/>
                    <a:gd name="connsiteX3" fmla="*/ 5260 w 43314"/>
                    <a:gd name="connsiteY3" fmla="*/ 0 h 10520"/>
                    <a:gd name="connsiteX4" fmla="*/ 38054 w 43314"/>
                    <a:gd name="connsiteY4" fmla="*/ 0 h 10520"/>
                    <a:gd name="connsiteX5" fmla="*/ 43314 w 43314"/>
                    <a:gd name="connsiteY5" fmla="*/ 5260 h 10520"/>
                    <a:gd name="connsiteX6" fmla="*/ 38054 w 43314"/>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14" h="10520">
                      <a:moveTo>
                        <a:pt x="38054" y="10520"/>
                      </a:moveTo>
                      <a:lnTo>
                        <a:pt x="5260" y="10520"/>
                      </a:lnTo>
                      <a:cubicBezTo>
                        <a:pt x="2345" y="10520"/>
                        <a:pt x="0" y="8146"/>
                        <a:pt x="0" y="5260"/>
                      </a:cubicBezTo>
                      <a:cubicBezTo>
                        <a:pt x="0" y="2344"/>
                        <a:pt x="2375" y="0"/>
                        <a:pt x="5260" y="0"/>
                      </a:cubicBezTo>
                      <a:lnTo>
                        <a:pt x="38054" y="0"/>
                      </a:lnTo>
                      <a:cubicBezTo>
                        <a:pt x="40970" y="0"/>
                        <a:pt x="43314" y="2375"/>
                        <a:pt x="43314" y="5260"/>
                      </a:cubicBezTo>
                      <a:cubicBezTo>
                        <a:pt x="43344" y="8146"/>
                        <a:pt x="40970" y="10520"/>
                        <a:pt x="38054" y="10520"/>
                      </a:cubicBezTo>
                      <a:close/>
                    </a:path>
                  </a:pathLst>
                </a:custGeom>
                <a:solidFill>
                  <a:schemeClr val="accent1"/>
                </a:solidFill>
                <a:ln w="3004" cap="flat">
                  <a:noFill/>
                  <a:prstDash val="solid"/>
                  <a:miter/>
                </a:ln>
              </p:spPr>
              <p:txBody>
                <a:bodyPr rtlCol="0" anchor="ctr"/>
                <a:lstStyle/>
                <a:p>
                  <a:endParaRPr lang="en-GB" dirty="0"/>
                </a:p>
              </p:txBody>
            </p:sp>
          </p:grpSp>
        </p:grpSp>
      </p:grpSp>
      <p:grpSp>
        <p:nvGrpSpPr>
          <p:cNvPr id="28" name="Group 27">
            <a:extLst>
              <a:ext uri="{FF2B5EF4-FFF2-40B4-BE49-F238E27FC236}">
                <a16:creationId xmlns:a16="http://schemas.microsoft.com/office/drawing/2014/main" id="{B27C1F1D-1CAD-7EC7-5C86-E8F763E1D6D9}"/>
              </a:ext>
            </a:extLst>
          </p:cNvPr>
          <p:cNvGrpSpPr/>
          <p:nvPr/>
        </p:nvGrpSpPr>
        <p:grpSpPr>
          <a:xfrm>
            <a:off x="8054243" y="2449341"/>
            <a:ext cx="596800" cy="431998"/>
            <a:chOff x="8101630" y="2449341"/>
            <a:chExt cx="596800" cy="431998"/>
          </a:xfrm>
        </p:grpSpPr>
        <p:grpSp>
          <p:nvGrpSpPr>
            <p:cNvPr id="493" name="Group 1000">
              <a:extLst>
                <a:ext uri="{FF2B5EF4-FFF2-40B4-BE49-F238E27FC236}">
                  <a16:creationId xmlns:a16="http://schemas.microsoft.com/office/drawing/2014/main" id="{4501B236-9FAE-437D-B49A-2557C24FEF2B}"/>
                </a:ext>
              </a:extLst>
            </p:cNvPr>
            <p:cNvGrpSpPr/>
            <p:nvPr/>
          </p:nvGrpSpPr>
          <p:grpSpPr>
            <a:xfrm>
              <a:off x="8101630" y="2493940"/>
              <a:ext cx="596800" cy="387399"/>
              <a:chOff x="3293174" y="2572634"/>
              <a:chExt cx="612162" cy="397371"/>
            </a:xfrm>
            <a:solidFill>
              <a:schemeClr val="tx2"/>
            </a:solidFill>
          </p:grpSpPr>
          <p:grpSp>
            <p:nvGrpSpPr>
              <p:cNvPr id="506" name="Group 972">
                <a:extLst>
                  <a:ext uri="{FF2B5EF4-FFF2-40B4-BE49-F238E27FC236}">
                    <a16:creationId xmlns:a16="http://schemas.microsoft.com/office/drawing/2014/main" id="{0E0FC0A7-E0D3-4338-84A9-76D3EA05D708}"/>
                  </a:ext>
                </a:extLst>
              </p:cNvPr>
              <p:cNvGrpSpPr/>
              <p:nvPr/>
            </p:nvGrpSpPr>
            <p:grpSpPr>
              <a:xfrm>
                <a:off x="3768180" y="2572634"/>
                <a:ext cx="137156" cy="59756"/>
                <a:chOff x="3768180" y="2572634"/>
                <a:chExt cx="137156" cy="59756"/>
              </a:xfrm>
              <a:grpFill/>
            </p:grpSpPr>
            <p:sp>
              <p:nvSpPr>
                <p:cNvPr id="511" name="Freihandform: Form 510">
                  <a:extLst>
                    <a:ext uri="{FF2B5EF4-FFF2-40B4-BE49-F238E27FC236}">
                      <a16:creationId xmlns:a16="http://schemas.microsoft.com/office/drawing/2014/main" id="{964BF75B-17AB-4BC9-9104-319B86D6E3B0}"/>
                    </a:ext>
                  </a:extLst>
                </p:cNvPr>
                <p:cNvSpPr/>
                <p:nvPr/>
              </p:nvSpPr>
              <p:spPr>
                <a:xfrm>
                  <a:off x="3768180" y="2572634"/>
                  <a:ext cx="137156" cy="10520"/>
                </a:xfrm>
                <a:custGeom>
                  <a:avLst/>
                  <a:gdLst>
                    <a:gd name="connsiteX0" fmla="*/ 131866 w 137156"/>
                    <a:gd name="connsiteY0" fmla="*/ 10520 h 10520"/>
                    <a:gd name="connsiteX1" fmla="*/ 5260 w 137156"/>
                    <a:gd name="connsiteY1" fmla="*/ 10520 h 10520"/>
                    <a:gd name="connsiteX2" fmla="*/ 0 w 137156"/>
                    <a:gd name="connsiteY2" fmla="*/ 5260 h 10520"/>
                    <a:gd name="connsiteX3" fmla="*/ 5260 w 137156"/>
                    <a:gd name="connsiteY3" fmla="*/ 0 h 10520"/>
                    <a:gd name="connsiteX4" fmla="*/ 131866 w 137156"/>
                    <a:gd name="connsiteY4" fmla="*/ 0 h 10520"/>
                    <a:gd name="connsiteX5" fmla="*/ 137156 w 137156"/>
                    <a:gd name="connsiteY5" fmla="*/ 5260 h 10520"/>
                    <a:gd name="connsiteX6" fmla="*/ 131866 w 137156"/>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56" h="10520">
                      <a:moveTo>
                        <a:pt x="131866" y="10520"/>
                      </a:moveTo>
                      <a:lnTo>
                        <a:pt x="5260" y="10520"/>
                      </a:lnTo>
                      <a:cubicBezTo>
                        <a:pt x="2345" y="10520"/>
                        <a:pt x="0" y="8146"/>
                        <a:pt x="0" y="5260"/>
                      </a:cubicBezTo>
                      <a:cubicBezTo>
                        <a:pt x="0" y="2345"/>
                        <a:pt x="2375" y="0"/>
                        <a:pt x="5260" y="0"/>
                      </a:cubicBezTo>
                      <a:lnTo>
                        <a:pt x="131866" y="0"/>
                      </a:lnTo>
                      <a:cubicBezTo>
                        <a:pt x="134782" y="0"/>
                        <a:pt x="137156" y="2375"/>
                        <a:pt x="137156" y="5260"/>
                      </a:cubicBezTo>
                      <a:cubicBezTo>
                        <a:pt x="137126" y="8176"/>
                        <a:pt x="134782" y="10520"/>
                        <a:pt x="131866" y="10520"/>
                      </a:cubicBezTo>
                      <a:close/>
                    </a:path>
                  </a:pathLst>
                </a:custGeom>
                <a:grpFill/>
                <a:ln w="3004" cap="flat">
                  <a:noFill/>
                  <a:prstDash val="solid"/>
                  <a:miter/>
                </a:ln>
              </p:spPr>
              <p:txBody>
                <a:bodyPr rtlCol="0" anchor="ctr"/>
                <a:lstStyle/>
                <a:p>
                  <a:endParaRPr lang="en-GB" dirty="0"/>
                </a:p>
              </p:txBody>
            </p:sp>
            <p:sp>
              <p:nvSpPr>
                <p:cNvPr id="512" name="Freihandform: Form 511">
                  <a:extLst>
                    <a:ext uri="{FF2B5EF4-FFF2-40B4-BE49-F238E27FC236}">
                      <a16:creationId xmlns:a16="http://schemas.microsoft.com/office/drawing/2014/main" id="{D47C9A3E-CCFB-4471-A57A-F193A7457AA6}"/>
                    </a:ext>
                  </a:extLst>
                </p:cNvPr>
                <p:cNvSpPr/>
                <p:nvPr/>
              </p:nvSpPr>
              <p:spPr>
                <a:xfrm>
                  <a:off x="3768180" y="2621870"/>
                  <a:ext cx="80857" cy="10520"/>
                </a:xfrm>
                <a:custGeom>
                  <a:avLst/>
                  <a:gdLst>
                    <a:gd name="connsiteX0" fmla="*/ 75597 w 80857"/>
                    <a:gd name="connsiteY0" fmla="*/ 10520 h 10520"/>
                    <a:gd name="connsiteX1" fmla="*/ 5260 w 80857"/>
                    <a:gd name="connsiteY1" fmla="*/ 10520 h 10520"/>
                    <a:gd name="connsiteX2" fmla="*/ 0 w 80857"/>
                    <a:gd name="connsiteY2" fmla="*/ 5260 h 10520"/>
                    <a:gd name="connsiteX3" fmla="*/ 5260 w 80857"/>
                    <a:gd name="connsiteY3" fmla="*/ 0 h 10520"/>
                    <a:gd name="connsiteX4" fmla="*/ 75597 w 80857"/>
                    <a:gd name="connsiteY4" fmla="*/ 0 h 10520"/>
                    <a:gd name="connsiteX5" fmla="*/ 80857 w 80857"/>
                    <a:gd name="connsiteY5" fmla="*/ 5260 h 10520"/>
                    <a:gd name="connsiteX6" fmla="*/ 75597 w 80857"/>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857" h="10520">
                      <a:moveTo>
                        <a:pt x="75597" y="10520"/>
                      </a:moveTo>
                      <a:lnTo>
                        <a:pt x="5260" y="10520"/>
                      </a:lnTo>
                      <a:cubicBezTo>
                        <a:pt x="2345" y="10520"/>
                        <a:pt x="0" y="8146"/>
                        <a:pt x="0" y="5260"/>
                      </a:cubicBezTo>
                      <a:cubicBezTo>
                        <a:pt x="0" y="2345"/>
                        <a:pt x="2375" y="0"/>
                        <a:pt x="5260" y="0"/>
                      </a:cubicBezTo>
                      <a:lnTo>
                        <a:pt x="75597" y="0"/>
                      </a:lnTo>
                      <a:cubicBezTo>
                        <a:pt x="78512" y="0"/>
                        <a:pt x="80857" y="2375"/>
                        <a:pt x="80857" y="5260"/>
                      </a:cubicBezTo>
                      <a:cubicBezTo>
                        <a:pt x="80857" y="8176"/>
                        <a:pt x="78512" y="10520"/>
                        <a:pt x="75597" y="10520"/>
                      </a:cubicBezTo>
                      <a:close/>
                    </a:path>
                  </a:pathLst>
                </a:custGeom>
                <a:grpFill/>
                <a:ln w="3004" cap="flat">
                  <a:noFill/>
                  <a:prstDash val="solid"/>
                  <a:miter/>
                </a:ln>
              </p:spPr>
              <p:txBody>
                <a:bodyPr rtlCol="0" anchor="ctr"/>
                <a:lstStyle/>
                <a:p>
                  <a:endParaRPr lang="en-GB" dirty="0"/>
                </a:p>
              </p:txBody>
            </p:sp>
          </p:grpSp>
          <p:grpSp>
            <p:nvGrpSpPr>
              <p:cNvPr id="507" name="Group 973">
                <a:extLst>
                  <a:ext uri="{FF2B5EF4-FFF2-40B4-BE49-F238E27FC236}">
                    <a16:creationId xmlns:a16="http://schemas.microsoft.com/office/drawing/2014/main" id="{5610BBB7-2F7F-4BCF-8B53-B9FD87018134}"/>
                  </a:ext>
                </a:extLst>
              </p:cNvPr>
              <p:cNvGrpSpPr/>
              <p:nvPr/>
            </p:nvGrpSpPr>
            <p:grpSpPr>
              <a:xfrm>
                <a:off x="3768180" y="2699240"/>
                <a:ext cx="137156" cy="59755"/>
                <a:chOff x="3768180" y="2699240"/>
                <a:chExt cx="137156" cy="59755"/>
              </a:xfrm>
              <a:grpFill/>
            </p:grpSpPr>
            <p:sp>
              <p:nvSpPr>
                <p:cNvPr id="509" name="Freihandform: Form 508">
                  <a:extLst>
                    <a:ext uri="{FF2B5EF4-FFF2-40B4-BE49-F238E27FC236}">
                      <a16:creationId xmlns:a16="http://schemas.microsoft.com/office/drawing/2014/main" id="{F96E69FA-DB3C-4F2C-9A04-E2CE6BE6D7FC}"/>
                    </a:ext>
                  </a:extLst>
                </p:cNvPr>
                <p:cNvSpPr/>
                <p:nvPr/>
              </p:nvSpPr>
              <p:spPr>
                <a:xfrm>
                  <a:off x="3768180" y="2699240"/>
                  <a:ext cx="137156" cy="10520"/>
                </a:xfrm>
                <a:custGeom>
                  <a:avLst/>
                  <a:gdLst>
                    <a:gd name="connsiteX0" fmla="*/ 131866 w 137156"/>
                    <a:gd name="connsiteY0" fmla="*/ 10520 h 10520"/>
                    <a:gd name="connsiteX1" fmla="*/ 5260 w 137156"/>
                    <a:gd name="connsiteY1" fmla="*/ 10520 h 10520"/>
                    <a:gd name="connsiteX2" fmla="*/ 0 w 137156"/>
                    <a:gd name="connsiteY2" fmla="*/ 5260 h 10520"/>
                    <a:gd name="connsiteX3" fmla="*/ 5260 w 137156"/>
                    <a:gd name="connsiteY3" fmla="*/ 0 h 10520"/>
                    <a:gd name="connsiteX4" fmla="*/ 131866 w 137156"/>
                    <a:gd name="connsiteY4" fmla="*/ 0 h 10520"/>
                    <a:gd name="connsiteX5" fmla="*/ 137156 w 137156"/>
                    <a:gd name="connsiteY5" fmla="*/ 5260 h 10520"/>
                    <a:gd name="connsiteX6" fmla="*/ 131866 w 137156"/>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156" h="10520">
                      <a:moveTo>
                        <a:pt x="131866" y="10520"/>
                      </a:moveTo>
                      <a:lnTo>
                        <a:pt x="5260" y="10520"/>
                      </a:lnTo>
                      <a:cubicBezTo>
                        <a:pt x="2345" y="10520"/>
                        <a:pt x="0" y="8146"/>
                        <a:pt x="0" y="5260"/>
                      </a:cubicBezTo>
                      <a:cubicBezTo>
                        <a:pt x="0" y="2345"/>
                        <a:pt x="2375" y="0"/>
                        <a:pt x="5260" y="0"/>
                      </a:cubicBezTo>
                      <a:lnTo>
                        <a:pt x="131866" y="0"/>
                      </a:lnTo>
                      <a:cubicBezTo>
                        <a:pt x="134782" y="0"/>
                        <a:pt x="137156" y="2375"/>
                        <a:pt x="137156" y="5260"/>
                      </a:cubicBezTo>
                      <a:cubicBezTo>
                        <a:pt x="137126" y="8176"/>
                        <a:pt x="134782" y="10520"/>
                        <a:pt x="131866" y="10520"/>
                      </a:cubicBezTo>
                      <a:close/>
                    </a:path>
                  </a:pathLst>
                </a:custGeom>
                <a:grpFill/>
                <a:ln w="3004" cap="flat">
                  <a:noFill/>
                  <a:prstDash val="solid"/>
                  <a:miter/>
                </a:ln>
              </p:spPr>
              <p:txBody>
                <a:bodyPr rtlCol="0" anchor="ctr"/>
                <a:lstStyle/>
                <a:p>
                  <a:endParaRPr lang="en-GB" dirty="0"/>
                </a:p>
              </p:txBody>
            </p:sp>
            <p:sp>
              <p:nvSpPr>
                <p:cNvPr id="510" name="Freihandform: Form 509">
                  <a:extLst>
                    <a:ext uri="{FF2B5EF4-FFF2-40B4-BE49-F238E27FC236}">
                      <a16:creationId xmlns:a16="http://schemas.microsoft.com/office/drawing/2014/main" id="{3E17E2D1-4DC8-41DF-A1A3-83541A2592EB}"/>
                    </a:ext>
                  </a:extLst>
                </p:cNvPr>
                <p:cNvSpPr/>
                <p:nvPr/>
              </p:nvSpPr>
              <p:spPr>
                <a:xfrm>
                  <a:off x="3768180" y="2748475"/>
                  <a:ext cx="80857" cy="10520"/>
                </a:xfrm>
                <a:custGeom>
                  <a:avLst/>
                  <a:gdLst>
                    <a:gd name="connsiteX0" fmla="*/ 75597 w 80857"/>
                    <a:gd name="connsiteY0" fmla="*/ 10520 h 10520"/>
                    <a:gd name="connsiteX1" fmla="*/ 5260 w 80857"/>
                    <a:gd name="connsiteY1" fmla="*/ 10520 h 10520"/>
                    <a:gd name="connsiteX2" fmla="*/ 0 w 80857"/>
                    <a:gd name="connsiteY2" fmla="*/ 5260 h 10520"/>
                    <a:gd name="connsiteX3" fmla="*/ 5260 w 80857"/>
                    <a:gd name="connsiteY3" fmla="*/ 0 h 10520"/>
                    <a:gd name="connsiteX4" fmla="*/ 75597 w 80857"/>
                    <a:gd name="connsiteY4" fmla="*/ 0 h 10520"/>
                    <a:gd name="connsiteX5" fmla="*/ 80857 w 80857"/>
                    <a:gd name="connsiteY5" fmla="*/ 5260 h 10520"/>
                    <a:gd name="connsiteX6" fmla="*/ 75597 w 80857"/>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857" h="10520">
                      <a:moveTo>
                        <a:pt x="75597" y="10520"/>
                      </a:moveTo>
                      <a:lnTo>
                        <a:pt x="5260" y="10520"/>
                      </a:lnTo>
                      <a:cubicBezTo>
                        <a:pt x="2345" y="10520"/>
                        <a:pt x="0" y="8146"/>
                        <a:pt x="0" y="5260"/>
                      </a:cubicBezTo>
                      <a:cubicBezTo>
                        <a:pt x="0" y="2345"/>
                        <a:pt x="2375" y="0"/>
                        <a:pt x="5260" y="0"/>
                      </a:cubicBezTo>
                      <a:lnTo>
                        <a:pt x="75597" y="0"/>
                      </a:lnTo>
                      <a:cubicBezTo>
                        <a:pt x="78512" y="0"/>
                        <a:pt x="80857" y="2375"/>
                        <a:pt x="80857" y="5260"/>
                      </a:cubicBezTo>
                      <a:cubicBezTo>
                        <a:pt x="80857" y="8176"/>
                        <a:pt x="78512" y="10520"/>
                        <a:pt x="75597" y="10520"/>
                      </a:cubicBezTo>
                      <a:close/>
                    </a:path>
                  </a:pathLst>
                </a:custGeom>
                <a:grpFill/>
                <a:ln w="3004" cap="flat">
                  <a:noFill/>
                  <a:prstDash val="solid"/>
                  <a:miter/>
                </a:ln>
              </p:spPr>
              <p:txBody>
                <a:bodyPr rtlCol="0" anchor="ctr"/>
                <a:lstStyle/>
                <a:p>
                  <a:endParaRPr lang="en-GB" dirty="0"/>
                </a:p>
              </p:txBody>
            </p:sp>
          </p:grpSp>
          <p:sp>
            <p:nvSpPr>
              <p:cNvPr id="508" name="Freihandform: Form 507">
                <a:extLst>
                  <a:ext uri="{FF2B5EF4-FFF2-40B4-BE49-F238E27FC236}">
                    <a16:creationId xmlns:a16="http://schemas.microsoft.com/office/drawing/2014/main" id="{6E9CDEB6-2510-4FDE-A9A5-F6E8C435956D}"/>
                  </a:ext>
                </a:extLst>
              </p:cNvPr>
              <p:cNvSpPr/>
              <p:nvPr/>
            </p:nvSpPr>
            <p:spPr>
              <a:xfrm>
                <a:off x="3293174" y="2608663"/>
                <a:ext cx="308668" cy="361342"/>
              </a:xfrm>
              <a:custGeom>
                <a:avLst/>
                <a:gdLst>
                  <a:gd name="connsiteX0" fmla="*/ 69548 w 308668"/>
                  <a:gd name="connsiteY0" fmla="*/ 361342 h 361342"/>
                  <a:gd name="connsiteX1" fmla="*/ 69247 w 308668"/>
                  <a:gd name="connsiteY1" fmla="*/ 361342 h 361342"/>
                  <a:gd name="connsiteX2" fmla="*/ 64258 w 308668"/>
                  <a:gd name="connsiteY2" fmla="*/ 355782 h 361342"/>
                  <a:gd name="connsiteX3" fmla="*/ 64438 w 308668"/>
                  <a:gd name="connsiteY3" fmla="*/ 287249 h 361342"/>
                  <a:gd name="connsiteX4" fmla="*/ 52776 w 308668"/>
                  <a:gd name="connsiteY4" fmla="*/ 267169 h 361342"/>
                  <a:gd name="connsiteX5" fmla="*/ 324 w 308668"/>
                  <a:gd name="connsiteY5" fmla="*/ 135484 h 361342"/>
                  <a:gd name="connsiteX6" fmla="*/ 233 w 308668"/>
                  <a:gd name="connsiteY6" fmla="*/ 133801 h 361342"/>
                  <a:gd name="connsiteX7" fmla="*/ 23 w 308668"/>
                  <a:gd name="connsiteY7" fmla="*/ 124873 h 361342"/>
                  <a:gd name="connsiteX8" fmla="*/ 97442 w 308668"/>
                  <a:gd name="connsiteY8" fmla="*/ 2265 h 361342"/>
                  <a:gd name="connsiteX9" fmla="*/ 233246 w 308668"/>
                  <a:gd name="connsiteY9" fmla="*/ 28897 h 361342"/>
                  <a:gd name="connsiteX10" fmla="*/ 271570 w 308668"/>
                  <a:gd name="connsiteY10" fmla="*/ 107259 h 361342"/>
                  <a:gd name="connsiteX11" fmla="*/ 273344 w 308668"/>
                  <a:gd name="connsiteY11" fmla="*/ 115796 h 361342"/>
                  <a:gd name="connsiteX12" fmla="*/ 273975 w 308668"/>
                  <a:gd name="connsiteY12" fmla="*/ 148439 h 361342"/>
                  <a:gd name="connsiteX13" fmla="*/ 286509 w 308668"/>
                  <a:gd name="connsiteY13" fmla="*/ 165272 h 361342"/>
                  <a:gd name="connsiteX14" fmla="*/ 307310 w 308668"/>
                  <a:gd name="connsiteY14" fmla="*/ 195360 h 361342"/>
                  <a:gd name="connsiteX15" fmla="*/ 305747 w 308668"/>
                  <a:gd name="connsiteY15" fmla="*/ 212343 h 361342"/>
                  <a:gd name="connsiteX16" fmla="*/ 292611 w 308668"/>
                  <a:gd name="connsiteY16" fmla="*/ 220218 h 361342"/>
                  <a:gd name="connsiteX17" fmla="*/ 285006 w 308668"/>
                  <a:gd name="connsiteY17" fmla="*/ 220128 h 361342"/>
                  <a:gd name="connsiteX18" fmla="*/ 278333 w 308668"/>
                  <a:gd name="connsiteY18" fmla="*/ 220038 h 361342"/>
                  <a:gd name="connsiteX19" fmla="*/ 278514 w 308668"/>
                  <a:gd name="connsiteY19" fmla="*/ 247722 h 361342"/>
                  <a:gd name="connsiteX20" fmla="*/ 278814 w 308668"/>
                  <a:gd name="connsiteY20" fmla="*/ 278622 h 361342"/>
                  <a:gd name="connsiteX21" fmla="*/ 245419 w 308668"/>
                  <a:gd name="connsiteY21" fmla="*/ 312017 h 361342"/>
                  <a:gd name="connsiteX22" fmla="*/ 215541 w 308668"/>
                  <a:gd name="connsiteY22" fmla="*/ 312017 h 361342"/>
                  <a:gd name="connsiteX23" fmla="*/ 215541 w 308668"/>
                  <a:gd name="connsiteY23" fmla="*/ 355962 h 361342"/>
                  <a:gd name="connsiteX24" fmla="*/ 210281 w 308668"/>
                  <a:gd name="connsiteY24" fmla="*/ 361222 h 361342"/>
                  <a:gd name="connsiteX25" fmla="*/ 205021 w 308668"/>
                  <a:gd name="connsiteY25" fmla="*/ 355962 h 361342"/>
                  <a:gd name="connsiteX26" fmla="*/ 205021 w 308668"/>
                  <a:gd name="connsiteY26" fmla="*/ 306726 h 361342"/>
                  <a:gd name="connsiteX27" fmla="*/ 210281 w 308668"/>
                  <a:gd name="connsiteY27" fmla="*/ 301466 h 361342"/>
                  <a:gd name="connsiteX28" fmla="*/ 245450 w 308668"/>
                  <a:gd name="connsiteY28" fmla="*/ 301466 h 361342"/>
                  <a:gd name="connsiteX29" fmla="*/ 268294 w 308668"/>
                  <a:gd name="connsiteY29" fmla="*/ 278622 h 361342"/>
                  <a:gd name="connsiteX30" fmla="*/ 267993 w 308668"/>
                  <a:gd name="connsiteY30" fmla="*/ 247872 h 361342"/>
                  <a:gd name="connsiteX31" fmla="*/ 271089 w 308668"/>
                  <a:gd name="connsiteY31" fmla="*/ 210660 h 361342"/>
                  <a:gd name="connsiteX32" fmla="*/ 271901 w 308668"/>
                  <a:gd name="connsiteY32" fmla="*/ 210299 h 361342"/>
                  <a:gd name="connsiteX33" fmla="*/ 285337 w 308668"/>
                  <a:gd name="connsiteY33" fmla="*/ 209548 h 361342"/>
                  <a:gd name="connsiteX34" fmla="*/ 292310 w 308668"/>
                  <a:gd name="connsiteY34" fmla="*/ 209638 h 361342"/>
                  <a:gd name="connsiteX35" fmla="*/ 297300 w 308668"/>
                  <a:gd name="connsiteY35" fmla="*/ 206001 h 361342"/>
                  <a:gd name="connsiteX36" fmla="*/ 297390 w 308668"/>
                  <a:gd name="connsiteY36" fmla="*/ 198817 h 361342"/>
                  <a:gd name="connsiteX37" fmla="*/ 278634 w 308668"/>
                  <a:gd name="connsiteY37" fmla="*/ 172185 h 361342"/>
                  <a:gd name="connsiteX38" fmla="*/ 265138 w 308668"/>
                  <a:gd name="connsiteY38" fmla="*/ 142728 h 361342"/>
                  <a:gd name="connsiteX39" fmla="*/ 263184 w 308668"/>
                  <a:gd name="connsiteY39" fmla="*/ 118200 h 361342"/>
                  <a:gd name="connsiteX40" fmla="*/ 261140 w 308668"/>
                  <a:gd name="connsiteY40" fmla="*/ 107800 h 361342"/>
                  <a:gd name="connsiteX41" fmla="*/ 226874 w 308668"/>
                  <a:gd name="connsiteY41" fmla="*/ 37133 h 361342"/>
                  <a:gd name="connsiteX42" fmla="*/ 99005 w 308668"/>
                  <a:gd name="connsiteY42" fmla="*/ 12605 h 361342"/>
                  <a:gd name="connsiteX43" fmla="*/ 10724 w 308668"/>
                  <a:gd name="connsiteY43" fmla="*/ 124603 h 361342"/>
                  <a:gd name="connsiteX44" fmla="*/ 10934 w 308668"/>
                  <a:gd name="connsiteY44" fmla="*/ 133229 h 361342"/>
                  <a:gd name="connsiteX45" fmla="*/ 10994 w 308668"/>
                  <a:gd name="connsiteY45" fmla="*/ 134943 h 361342"/>
                  <a:gd name="connsiteX46" fmla="*/ 61853 w 308668"/>
                  <a:gd name="connsiteY46" fmla="*/ 261489 h 361342"/>
                  <a:gd name="connsiteX47" fmla="*/ 74568 w 308668"/>
                  <a:gd name="connsiteY47" fmla="*/ 283702 h 361342"/>
                  <a:gd name="connsiteX48" fmla="*/ 74808 w 308668"/>
                  <a:gd name="connsiteY48" fmla="*/ 284573 h 361342"/>
                  <a:gd name="connsiteX49" fmla="*/ 74898 w 308668"/>
                  <a:gd name="connsiteY49" fmla="*/ 356232 h 361342"/>
                  <a:gd name="connsiteX50" fmla="*/ 69548 w 308668"/>
                  <a:gd name="connsiteY50" fmla="*/ 361342 h 361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08668" h="361342">
                    <a:moveTo>
                      <a:pt x="69548" y="361342"/>
                    </a:moveTo>
                    <a:cubicBezTo>
                      <a:pt x="69458" y="361342"/>
                      <a:pt x="69368" y="361342"/>
                      <a:pt x="69247" y="361342"/>
                    </a:cubicBezTo>
                    <a:cubicBezTo>
                      <a:pt x="66332" y="361192"/>
                      <a:pt x="64107" y="358697"/>
                      <a:pt x="64258" y="355782"/>
                    </a:cubicBezTo>
                    <a:cubicBezTo>
                      <a:pt x="65069" y="340662"/>
                      <a:pt x="66662" y="299242"/>
                      <a:pt x="64438" y="287249"/>
                    </a:cubicBezTo>
                    <a:cubicBezTo>
                      <a:pt x="62755" y="283251"/>
                      <a:pt x="58336" y="276127"/>
                      <a:pt x="52776" y="267169"/>
                    </a:cubicBezTo>
                    <a:cubicBezTo>
                      <a:pt x="33989" y="236931"/>
                      <a:pt x="2518" y="186283"/>
                      <a:pt x="324" y="135484"/>
                    </a:cubicBezTo>
                    <a:lnTo>
                      <a:pt x="233" y="133801"/>
                    </a:lnTo>
                    <a:cubicBezTo>
                      <a:pt x="143" y="131967"/>
                      <a:pt x="113" y="131276"/>
                      <a:pt x="23" y="124873"/>
                    </a:cubicBezTo>
                    <a:cubicBezTo>
                      <a:pt x="-1720" y="12034"/>
                      <a:pt x="96450" y="2355"/>
                      <a:pt x="97442" y="2265"/>
                    </a:cubicBezTo>
                    <a:cubicBezTo>
                      <a:pt x="97743" y="2175"/>
                      <a:pt x="181636" y="-11381"/>
                      <a:pt x="233246" y="28897"/>
                    </a:cubicBezTo>
                    <a:cubicBezTo>
                      <a:pt x="256661" y="47172"/>
                      <a:pt x="269556" y="73534"/>
                      <a:pt x="271570" y="107259"/>
                    </a:cubicBezTo>
                    <a:cubicBezTo>
                      <a:pt x="271660" y="108972"/>
                      <a:pt x="272472" y="112279"/>
                      <a:pt x="273344" y="115796"/>
                    </a:cubicBezTo>
                    <a:cubicBezTo>
                      <a:pt x="275959" y="126647"/>
                      <a:pt x="279235" y="140113"/>
                      <a:pt x="273975" y="148439"/>
                    </a:cubicBezTo>
                    <a:cubicBezTo>
                      <a:pt x="273885" y="150904"/>
                      <a:pt x="281490" y="159561"/>
                      <a:pt x="286509" y="165272"/>
                    </a:cubicBezTo>
                    <a:cubicBezTo>
                      <a:pt x="294535" y="174409"/>
                      <a:pt x="303612" y="184780"/>
                      <a:pt x="307310" y="195360"/>
                    </a:cubicBezTo>
                    <a:cubicBezTo>
                      <a:pt x="310135" y="203416"/>
                      <a:pt x="308031" y="209037"/>
                      <a:pt x="305747" y="212343"/>
                    </a:cubicBezTo>
                    <a:cubicBezTo>
                      <a:pt x="301779" y="218114"/>
                      <a:pt x="295166" y="220158"/>
                      <a:pt x="292611" y="220218"/>
                    </a:cubicBezTo>
                    <a:cubicBezTo>
                      <a:pt x="290327" y="220279"/>
                      <a:pt x="287651" y="220218"/>
                      <a:pt x="285006" y="220128"/>
                    </a:cubicBezTo>
                    <a:cubicBezTo>
                      <a:pt x="283023" y="220068"/>
                      <a:pt x="280407" y="219978"/>
                      <a:pt x="278333" y="220038"/>
                    </a:cubicBezTo>
                    <a:cubicBezTo>
                      <a:pt x="278183" y="225719"/>
                      <a:pt x="278364" y="237261"/>
                      <a:pt x="278514" y="247722"/>
                    </a:cubicBezTo>
                    <a:cubicBezTo>
                      <a:pt x="278664" y="257731"/>
                      <a:pt x="278814" y="268733"/>
                      <a:pt x="278814" y="278622"/>
                    </a:cubicBezTo>
                    <a:cubicBezTo>
                      <a:pt x="278814" y="305043"/>
                      <a:pt x="256962" y="312017"/>
                      <a:pt x="245419" y="312017"/>
                    </a:cubicBezTo>
                    <a:lnTo>
                      <a:pt x="215541" y="312017"/>
                    </a:lnTo>
                    <a:lnTo>
                      <a:pt x="215541" y="355962"/>
                    </a:lnTo>
                    <a:cubicBezTo>
                      <a:pt x="215541" y="358878"/>
                      <a:pt x="213167" y="361222"/>
                      <a:pt x="210281" y="361222"/>
                    </a:cubicBezTo>
                    <a:cubicBezTo>
                      <a:pt x="207366" y="361222"/>
                      <a:pt x="205021" y="358847"/>
                      <a:pt x="205021" y="355962"/>
                    </a:cubicBezTo>
                    <a:lnTo>
                      <a:pt x="205021" y="306726"/>
                    </a:lnTo>
                    <a:cubicBezTo>
                      <a:pt x="205021" y="303811"/>
                      <a:pt x="207396" y="301466"/>
                      <a:pt x="210281" y="301466"/>
                    </a:cubicBezTo>
                    <a:lnTo>
                      <a:pt x="245450" y="301466"/>
                    </a:lnTo>
                    <a:cubicBezTo>
                      <a:pt x="247764" y="301436"/>
                      <a:pt x="268294" y="300624"/>
                      <a:pt x="268294" y="278622"/>
                    </a:cubicBezTo>
                    <a:cubicBezTo>
                      <a:pt x="268294" y="268763"/>
                      <a:pt x="268144" y="257821"/>
                      <a:pt x="267993" y="247872"/>
                    </a:cubicBezTo>
                    <a:cubicBezTo>
                      <a:pt x="267482" y="212584"/>
                      <a:pt x="267482" y="212584"/>
                      <a:pt x="271089" y="210660"/>
                    </a:cubicBezTo>
                    <a:cubicBezTo>
                      <a:pt x="271360" y="210510"/>
                      <a:pt x="271630" y="210389"/>
                      <a:pt x="271901" y="210299"/>
                    </a:cubicBezTo>
                    <a:cubicBezTo>
                      <a:pt x="275087" y="209247"/>
                      <a:pt x="279836" y="209367"/>
                      <a:pt x="285337" y="209548"/>
                    </a:cubicBezTo>
                    <a:cubicBezTo>
                      <a:pt x="287772" y="209608"/>
                      <a:pt x="290207" y="209698"/>
                      <a:pt x="292310" y="209638"/>
                    </a:cubicBezTo>
                    <a:cubicBezTo>
                      <a:pt x="292942" y="209518"/>
                      <a:pt x="295918" y="208345"/>
                      <a:pt x="297300" y="206001"/>
                    </a:cubicBezTo>
                    <a:cubicBezTo>
                      <a:pt x="298412" y="204167"/>
                      <a:pt x="298412" y="201823"/>
                      <a:pt x="297390" y="198817"/>
                    </a:cubicBezTo>
                    <a:cubicBezTo>
                      <a:pt x="294355" y="190160"/>
                      <a:pt x="285998" y="180601"/>
                      <a:pt x="278634" y="172185"/>
                    </a:cubicBezTo>
                    <a:cubicBezTo>
                      <a:pt x="268204" y="160282"/>
                      <a:pt x="259968" y="150904"/>
                      <a:pt x="265138" y="142728"/>
                    </a:cubicBezTo>
                    <a:cubicBezTo>
                      <a:pt x="268023" y="138189"/>
                      <a:pt x="264988" y="125685"/>
                      <a:pt x="263184" y="118200"/>
                    </a:cubicBezTo>
                    <a:cubicBezTo>
                      <a:pt x="262132" y="113872"/>
                      <a:pt x="261290" y="110445"/>
                      <a:pt x="261140" y="107800"/>
                    </a:cubicBezTo>
                    <a:cubicBezTo>
                      <a:pt x="259337" y="77231"/>
                      <a:pt x="247794" y="53455"/>
                      <a:pt x="226874" y="37133"/>
                    </a:cubicBezTo>
                    <a:cubicBezTo>
                      <a:pt x="179652" y="281"/>
                      <a:pt x="99757" y="12455"/>
                      <a:pt x="99005" y="12605"/>
                    </a:cubicBezTo>
                    <a:cubicBezTo>
                      <a:pt x="94827" y="12996"/>
                      <a:pt x="9131" y="21773"/>
                      <a:pt x="10724" y="124603"/>
                    </a:cubicBezTo>
                    <a:cubicBezTo>
                      <a:pt x="10814" y="130795"/>
                      <a:pt x="10844" y="131456"/>
                      <a:pt x="10934" y="133229"/>
                    </a:cubicBezTo>
                    <a:lnTo>
                      <a:pt x="10994" y="134943"/>
                    </a:lnTo>
                    <a:cubicBezTo>
                      <a:pt x="13068" y="182946"/>
                      <a:pt x="43608" y="232122"/>
                      <a:pt x="61853" y="261489"/>
                    </a:cubicBezTo>
                    <a:cubicBezTo>
                      <a:pt x="68135" y="271588"/>
                      <a:pt x="72674" y="278892"/>
                      <a:pt x="74568" y="283702"/>
                    </a:cubicBezTo>
                    <a:cubicBezTo>
                      <a:pt x="74688" y="283972"/>
                      <a:pt x="74778" y="284273"/>
                      <a:pt x="74808" y="284573"/>
                    </a:cubicBezTo>
                    <a:cubicBezTo>
                      <a:pt x="77904" y="299633"/>
                      <a:pt x="75049" y="353948"/>
                      <a:pt x="74898" y="356232"/>
                    </a:cubicBezTo>
                    <a:cubicBezTo>
                      <a:pt x="74658" y="359148"/>
                      <a:pt x="72343" y="361342"/>
                      <a:pt x="69548" y="361342"/>
                    </a:cubicBezTo>
                    <a:close/>
                  </a:path>
                </a:pathLst>
              </a:custGeom>
              <a:grpFill/>
              <a:ln w="3004" cap="flat">
                <a:noFill/>
                <a:prstDash val="solid"/>
                <a:miter/>
              </a:ln>
            </p:spPr>
            <p:txBody>
              <a:bodyPr rtlCol="0" anchor="ctr"/>
              <a:lstStyle/>
              <a:p>
                <a:endParaRPr lang="en-GB" dirty="0"/>
              </a:p>
            </p:txBody>
          </p:sp>
        </p:grpSp>
        <p:grpSp>
          <p:nvGrpSpPr>
            <p:cNvPr id="494" name="Group 5">
              <a:extLst>
                <a:ext uri="{FF2B5EF4-FFF2-40B4-BE49-F238E27FC236}">
                  <a16:creationId xmlns:a16="http://schemas.microsoft.com/office/drawing/2014/main" id="{E4B3D1D5-9F56-48F3-A342-079F61F02E2B}"/>
                </a:ext>
              </a:extLst>
            </p:cNvPr>
            <p:cNvGrpSpPr/>
            <p:nvPr/>
          </p:nvGrpSpPr>
          <p:grpSpPr>
            <a:xfrm>
              <a:off x="8215265" y="2449341"/>
              <a:ext cx="318564" cy="345143"/>
              <a:chOff x="3409734" y="2526885"/>
              <a:chExt cx="326764" cy="354027"/>
            </a:xfrm>
            <a:solidFill>
              <a:schemeClr val="accent1"/>
            </a:solidFill>
          </p:grpSpPr>
          <p:sp>
            <p:nvSpPr>
              <p:cNvPr id="495" name="Freihandform: Form 494">
                <a:extLst>
                  <a:ext uri="{FF2B5EF4-FFF2-40B4-BE49-F238E27FC236}">
                    <a16:creationId xmlns:a16="http://schemas.microsoft.com/office/drawing/2014/main" id="{1EFD1770-0D1C-4AC5-81F2-052EB95D2755}"/>
                  </a:ext>
                </a:extLst>
              </p:cNvPr>
              <p:cNvSpPr/>
              <p:nvPr/>
            </p:nvSpPr>
            <p:spPr>
              <a:xfrm>
                <a:off x="3676742" y="2572634"/>
                <a:ext cx="59756" cy="59756"/>
              </a:xfrm>
              <a:custGeom>
                <a:avLst/>
                <a:gdLst>
                  <a:gd name="connsiteX0" fmla="*/ 48334 w 59756"/>
                  <a:gd name="connsiteY0" fmla="*/ 59756 h 59756"/>
                  <a:gd name="connsiteX1" fmla="*/ 11422 w 59756"/>
                  <a:gd name="connsiteY1" fmla="*/ 59756 h 59756"/>
                  <a:gd name="connsiteX2" fmla="*/ 0 w 59756"/>
                  <a:gd name="connsiteY2" fmla="*/ 48334 h 59756"/>
                  <a:gd name="connsiteX3" fmla="*/ 0 w 59756"/>
                  <a:gd name="connsiteY3" fmla="*/ 11422 h 59756"/>
                  <a:gd name="connsiteX4" fmla="*/ 11422 w 59756"/>
                  <a:gd name="connsiteY4" fmla="*/ 0 h 59756"/>
                  <a:gd name="connsiteX5" fmla="*/ 48334 w 59756"/>
                  <a:gd name="connsiteY5" fmla="*/ 0 h 59756"/>
                  <a:gd name="connsiteX6" fmla="*/ 59756 w 59756"/>
                  <a:gd name="connsiteY6" fmla="*/ 11422 h 59756"/>
                  <a:gd name="connsiteX7" fmla="*/ 59756 w 59756"/>
                  <a:gd name="connsiteY7" fmla="*/ 48334 h 59756"/>
                  <a:gd name="connsiteX8" fmla="*/ 48334 w 59756"/>
                  <a:gd name="connsiteY8" fmla="*/ 59756 h 59756"/>
                  <a:gd name="connsiteX9" fmla="*/ 48214 w 59756"/>
                  <a:gd name="connsiteY9" fmla="*/ 10520 h 59756"/>
                  <a:gd name="connsiteX10" fmla="*/ 11422 w 59756"/>
                  <a:gd name="connsiteY10" fmla="*/ 10520 h 59756"/>
                  <a:gd name="connsiteX11" fmla="*/ 10580 w 59756"/>
                  <a:gd name="connsiteY11" fmla="*/ 10791 h 59756"/>
                  <a:gd name="connsiteX12" fmla="*/ 10520 w 59756"/>
                  <a:gd name="connsiteY12" fmla="*/ 48304 h 59756"/>
                  <a:gd name="connsiteX13" fmla="*/ 11512 w 59756"/>
                  <a:gd name="connsiteY13" fmla="*/ 49176 h 59756"/>
                  <a:gd name="connsiteX14" fmla="*/ 48214 w 59756"/>
                  <a:gd name="connsiteY14" fmla="*/ 49176 h 59756"/>
                  <a:gd name="connsiteX15" fmla="*/ 49145 w 59756"/>
                  <a:gd name="connsiteY15" fmla="*/ 48905 h 59756"/>
                  <a:gd name="connsiteX16" fmla="*/ 49206 w 59756"/>
                  <a:gd name="connsiteY16" fmla="*/ 11392 h 59756"/>
                  <a:gd name="connsiteX17" fmla="*/ 48214 w 59756"/>
                  <a:gd name="connsiteY17" fmla="*/ 10520 h 5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756" h="59756">
                    <a:moveTo>
                      <a:pt x="48334" y="59756"/>
                    </a:moveTo>
                    <a:lnTo>
                      <a:pt x="11422" y="59756"/>
                    </a:lnTo>
                    <a:cubicBezTo>
                      <a:pt x="5891" y="59756"/>
                      <a:pt x="0" y="55758"/>
                      <a:pt x="0" y="48334"/>
                    </a:cubicBezTo>
                    <a:lnTo>
                      <a:pt x="0" y="11422"/>
                    </a:lnTo>
                    <a:cubicBezTo>
                      <a:pt x="0" y="3998"/>
                      <a:pt x="5891" y="0"/>
                      <a:pt x="11422" y="0"/>
                    </a:cubicBezTo>
                    <a:lnTo>
                      <a:pt x="48334" y="0"/>
                    </a:lnTo>
                    <a:cubicBezTo>
                      <a:pt x="53865" y="0"/>
                      <a:pt x="59756" y="3998"/>
                      <a:pt x="59756" y="11422"/>
                    </a:cubicBezTo>
                    <a:lnTo>
                      <a:pt x="59756" y="48334"/>
                    </a:lnTo>
                    <a:cubicBezTo>
                      <a:pt x="59756" y="55758"/>
                      <a:pt x="53865" y="59756"/>
                      <a:pt x="48334" y="59756"/>
                    </a:cubicBezTo>
                    <a:close/>
                    <a:moveTo>
                      <a:pt x="48214" y="10520"/>
                    </a:moveTo>
                    <a:lnTo>
                      <a:pt x="11422" y="10520"/>
                    </a:lnTo>
                    <a:cubicBezTo>
                      <a:pt x="11212" y="10551"/>
                      <a:pt x="10731" y="10671"/>
                      <a:pt x="10580" y="10791"/>
                    </a:cubicBezTo>
                    <a:lnTo>
                      <a:pt x="10520" y="48304"/>
                    </a:lnTo>
                    <a:cubicBezTo>
                      <a:pt x="10701" y="49025"/>
                      <a:pt x="11182" y="49176"/>
                      <a:pt x="11512" y="49176"/>
                    </a:cubicBezTo>
                    <a:lnTo>
                      <a:pt x="48214" y="49176"/>
                    </a:lnTo>
                    <a:cubicBezTo>
                      <a:pt x="48544" y="49145"/>
                      <a:pt x="48995" y="49025"/>
                      <a:pt x="49145" y="48905"/>
                    </a:cubicBezTo>
                    <a:lnTo>
                      <a:pt x="49206" y="11392"/>
                    </a:lnTo>
                    <a:cubicBezTo>
                      <a:pt x="49025" y="10701"/>
                      <a:pt x="48544" y="10551"/>
                      <a:pt x="48214" y="10520"/>
                    </a:cubicBezTo>
                    <a:close/>
                  </a:path>
                </a:pathLst>
              </a:custGeom>
              <a:solidFill>
                <a:schemeClr val="accent1"/>
              </a:solidFill>
              <a:ln w="3004" cap="flat">
                <a:noFill/>
                <a:prstDash val="solid"/>
                <a:miter/>
              </a:ln>
            </p:spPr>
            <p:txBody>
              <a:bodyPr rtlCol="0" anchor="ctr"/>
              <a:lstStyle/>
              <a:p>
                <a:endParaRPr lang="en-GB" dirty="0"/>
              </a:p>
            </p:txBody>
          </p:sp>
          <p:sp>
            <p:nvSpPr>
              <p:cNvPr id="496" name="Freihandform: Form 495">
                <a:extLst>
                  <a:ext uri="{FF2B5EF4-FFF2-40B4-BE49-F238E27FC236}">
                    <a16:creationId xmlns:a16="http://schemas.microsoft.com/office/drawing/2014/main" id="{517CD637-5929-47B9-826D-18A2F7B4C40F}"/>
                  </a:ext>
                </a:extLst>
              </p:cNvPr>
              <p:cNvSpPr/>
              <p:nvPr/>
            </p:nvSpPr>
            <p:spPr>
              <a:xfrm>
                <a:off x="3676742" y="2699240"/>
                <a:ext cx="59756" cy="59756"/>
              </a:xfrm>
              <a:custGeom>
                <a:avLst/>
                <a:gdLst>
                  <a:gd name="connsiteX0" fmla="*/ 48334 w 59756"/>
                  <a:gd name="connsiteY0" fmla="*/ 59756 h 59756"/>
                  <a:gd name="connsiteX1" fmla="*/ 11422 w 59756"/>
                  <a:gd name="connsiteY1" fmla="*/ 59756 h 59756"/>
                  <a:gd name="connsiteX2" fmla="*/ 0 w 59756"/>
                  <a:gd name="connsiteY2" fmla="*/ 48334 h 59756"/>
                  <a:gd name="connsiteX3" fmla="*/ 0 w 59756"/>
                  <a:gd name="connsiteY3" fmla="*/ 11422 h 59756"/>
                  <a:gd name="connsiteX4" fmla="*/ 11422 w 59756"/>
                  <a:gd name="connsiteY4" fmla="*/ 0 h 59756"/>
                  <a:gd name="connsiteX5" fmla="*/ 48334 w 59756"/>
                  <a:gd name="connsiteY5" fmla="*/ 0 h 59756"/>
                  <a:gd name="connsiteX6" fmla="*/ 59756 w 59756"/>
                  <a:gd name="connsiteY6" fmla="*/ 11422 h 59756"/>
                  <a:gd name="connsiteX7" fmla="*/ 59756 w 59756"/>
                  <a:gd name="connsiteY7" fmla="*/ 48334 h 59756"/>
                  <a:gd name="connsiteX8" fmla="*/ 48334 w 59756"/>
                  <a:gd name="connsiteY8" fmla="*/ 59756 h 59756"/>
                  <a:gd name="connsiteX9" fmla="*/ 48214 w 59756"/>
                  <a:gd name="connsiteY9" fmla="*/ 10520 h 59756"/>
                  <a:gd name="connsiteX10" fmla="*/ 11422 w 59756"/>
                  <a:gd name="connsiteY10" fmla="*/ 10520 h 59756"/>
                  <a:gd name="connsiteX11" fmla="*/ 10580 w 59756"/>
                  <a:gd name="connsiteY11" fmla="*/ 10791 h 59756"/>
                  <a:gd name="connsiteX12" fmla="*/ 10520 w 59756"/>
                  <a:gd name="connsiteY12" fmla="*/ 48304 h 59756"/>
                  <a:gd name="connsiteX13" fmla="*/ 11512 w 59756"/>
                  <a:gd name="connsiteY13" fmla="*/ 49176 h 59756"/>
                  <a:gd name="connsiteX14" fmla="*/ 48214 w 59756"/>
                  <a:gd name="connsiteY14" fmla="*/ 49176 h 59756"/>
                  <a:gd name="connsiteX15" fmla="*/ 49145 w 59756"/>
                  <a:gd name="connsiteY15" fmla="*/ 48905 h 59756"/>
                  <a:gd name="connsiteX16" fmla="*/ 49206 w 59756"/>
                  <a:gd name="connsiteY16" fmla="*/ 11392 h 59756"/>
                  <a:gd name="connsiteX17" fmla="*/ 48214 w 59756"/>
                  <a:gd name="connsiteY17" fmla="*/ 10520 h 5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9756" h="59756">
                    <a:moveTo>
                      <a:pt x="48334" y="59756"/>
                    </a:moveTo>
                    <a:lnTo>
                      <a:pt x="11422" y="59756"/>
                    </a:lnTo>
                    <a:cubicBezTo>
                      <a:pt x="5891" y="59756"/>
                      <a:pt x="0" y="55758"/>
                      <a:pt x="0" y="48334"/>
                    </a:cubicBezTo>
                    <a:lnTo>
                      <a:pt x="0" y="11422"/>
                    </a:lnTo>
                    <a:cubicBezTo>
                      <a:pt x="0" y="3998"/>
                      <a:pt x="5891" y="0"/>
                      <a:pt x="11422" y="0"/>
                    </a:cubicBezTo>
                    <a:lnTo>
                      <a:pt x="48334" y="0"/>
                    </a:lnTo>
                    <a:cubicBezTo>
                      <a:pt x="53865" y="0"/>
                      <a:pt x="59756" y="3998"/>
                      <a:pt x="59756" y="11422"/>
                    </a:cubicBezTo>
                    <a:lnTo>
                      <a:pt x="59756" y="48334"/>
                    </a:lnTo>
                    <a:cubicBezTo>
                      <a:pt x="59756" y="55758"/>
                      <a:pt x="53865" y="59756"/>
                      <a:pt x="48334" y="59756"/>
                    </a:cubicBezTo>
                    <a:close/>
                    <a:moveTo>
                      <a:pt x="48214" y="10520"/>
                    </a:moveTo>
                    <a:lnTo>
                      <a:pt x="11422" y="10520"/>
                    </a:lnTo>
                    <a:cubicBezTo>
                      <a:pt x="11212" y="10551"/>
                      <a:pt x="10731" y="10671"/>
                      <a:pt x="10580" y="10791"/>
                    </a:cubicBezTo>
                    <a:lnTo>
                      <a:pt x="10520" y="48304"/>
                    </a:lnTo>
                    <a:cubicBezTo>
                      <a:pt x="10701" y="49025"/>
                      <a:pt x="11182" y="49176"/>
                      <a:pt x="11512" y="49176"/>
                    </a:cubicBezTo>
                    <a:lnTo>
                      <a:pt x="48214" y="49176"/>
                    </a:lnTo>
                    <a:cubicBezTo>
                      <a:pt x="48544" y="49145"/>
                      <a:pt x="48995" y="49025"/>
                      <a:pt x="49145" y="48905"/>
                    </a:cubicBezTo>
                    <a:lnTo>
                      <a:pt x="49206" y="11392"/>
                    </a:lnTo>
                    <a:cubicBezTo>
                      <a:pt x="49025" y="10701"/>
                      <a:pt x="48544" y="10551"/>
                      <a:pt x="48214" y="10520"/>
                    </a:cubicBezTo>
                    <a:close/>
                  </a:path>
                </a:pathLst>
              </a:custGeom>
              <a:solidFill>
                <a:schemeClr val="accent1"/>
              </a:solidFill>
              <a:ln w="3004" cap="flat">
                <a:noFill/>
                <a:prstDash val="solid"/>
                <a:miter/>
              </a:ln>
            </p:spPr>
            <p:txBody>
              <a:bodyPr rtlCol="0" anchor="ctr"/>
              <a:lstStyle/>
              <a:p>
                <a:endParaRPr lang="en-GB" dirty="0"/>
              </a:p>
            </p:txBody>
          </p:sp>
          <p:grpSp>
            <p:nvGrpSpPr>
              <p:cNvPr id="497" name="Grafik 19">
                <a:extLst>
                  <a:ext uri="{FF2B5EF4-FFF2-40B4-BE49-F238E27FC236}">
                    <a16:creationId xmlns:a16="http://schemas.microsoft.com/office/drawing/2014/main" id="{83DA2ABC-9844-4468-ACF0-6102F2BAAA53}"/>
                  </a:ext>
                </a:extLst>
              </p:cNvPr>
              <p:cNvGrpSpPr/>
              <p:nvPr/>
            </p:nvGrpSpPr>
            <p:grpSpPr>
              <a:xfrm>
                <a:off x="3409734" y="2526885"/>
                <a:ext cx="238272" cy="354027"/>
                <a:chOff x="3409734" y="2526885"/>
                <a:chExt cx="238272" cy="354027"/>
              </a:xfrm>
              <a:solidFill>
                <a:schemeClr val="accent1"/>
              </a:solidFill>
            </p:grpSpPr>
            <p:sp>
              <p:nvSpPr>
                <p:cNvPr id="498" name="Freihandform: Form 497">
                  <a:extLst>
                    <a:ext uri="{FF2B5EF4-FFF2-40B4-BE49-F238E27FC236}">
                      <a16:creationId xmlns:a16="http://schemas.microsoft.com/office/drawing/2014/main" id="{C23B2434-EA04-4D77-8600-847EC73B5935}"/>
                    </a:ext>
                  </a:extLst>
                </p:cNvPr>
                <p:cNvSpPr/>
                <p:nvPr/>
              </p:nvSpPr>
              <p:spPr>
                <a:xfrm>
                  <a:off x="3416767" y="2526885"/>
                  <a:ext cx="59094" cy="59094"/>
                </a:xfrm>
                <a:custGeom>
                  <a:avLst/>
                  <a:gdLst>
                    <a:gd name="connsiteX0" fmla="*/ 29547 w 59094"/>
                    <a:gd name="connsiteY0" fmla="*/ 59095 h 59094"/>
                    <a:gd name="connsiteX1" fmla="*/ 0 w 59094"/>
                    <a:gd name="connsiteY1" fmla="*/ 29547 h 59094"/>
                    <a:gd name="connsiteX2" fmla="*/ 29547 w 59094"/>
                    <a:gd name="connsiteY2" fmla="*/ 0 h 59094"/>
                    <a:gd name="connsiteX3" fmla="*/ 59095 w 59094"/>
                    <a:gd name="connsiteY3" fmla="*/ 29547 h 59094"/>
                    <a:gd name="connsiteX4" fmla="*/ 29547 w 59094"/>
                    <a:gd name="connsiteY4" fmla="*/ 59095 h 59094"/>
                    <a:gd name="connsiteX5" fmla="*/ 29547 w 59094"/>
                    <a:gd name="connsiteY5" fmla="*/ 10551 h 59094"/>
                    <a:gd name="connsiteX6" fmla="*/ 10550 w 59094"/>
                    <a:gd name="connsiteY6" fmla="*/ 29547 h 59094"/>
                    <a:gd name="connsiteX7" fmla="*/ 29547 w 59094"/>
                    <a:gd name="connsiteY7" fmla="*/ 48544 h 59094"/>
                    <a:gd name="connsiteX8" fmla="*/ 48544 w 59094"/>
                    <a:gd name="connsiteY8" fmla="*/ 29547 h 59094"/>
                    <a:gd name="connsiteX9" fmla="*/ 29547 w 59094"/>
                    <a:gd name="connsiteY9" fmla="*/ 10551 h 5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4" h="59094">
                      <a:moveTo>
                        <a:pt x="29547" y="59095"/>
                      </a:moveTo>
                      <a:cubicBezTo>
                        <a:pt x="13256" y="59095"/>
                        <a:pt x="0" y="45839"/>
                        <a:pt x="0" y="29547"/>
                      </a:cubicBezTo>
                      <a:cubicBezTo>
                        <a:pt x="0" y="13256"/>
                        <a:pt x="13256" y="0"/>
                        <a:pt x="29547" y="0"/>
                      </a:cubicBezTo>
                      <a:cubicBezTo>
                        <a:pt x="45839" y="0"/>
                        <a:pt x="59095" y="13256"/>
                        <a:pt x="59095" y="29547"/>
                      </a:cubicBezTo>
                      <a:cubicBezTo>
                        <a:pt x="59095" y="45839"/>
                        <a:pt x="45839" y="59095"/>
                        <a:pt x="29547" y="59095"/>
                      </a:cubicBezTo>
                      <a:close/>
                      <a:moveTo>
                        <a:pt x="29547" y="10551"/>
                      </a:moveTo>
                      <a:cubicBezTo>
                        <a:pt x="19087" y="10551"/>
                        <a:pt x="10550" y="19057"/>
                        <a:pt x="10550" y="29547"/>
                      </a:cubicBezTo>
                      <a:cubicBezTo>
                        <a:pt x="10550" y="40008"/>
                        <a:pt x="19087" y="48544"/>
                        <a:pt x="29547" y="48544"/>
                      </a:cubicBezTo>
                      <a:cubicBezTo>
                        <a:pt x="40008" y="48544"/>
                        <a:pt x="48544" y="40038"/>
                        <a:pt x="48544" y="29547"/>
                      </a:cubicBezTo>
                      <a:cubicBezTo>
                        <a:pt x="48544" y="19087"/>
                        <a:pt x="40038" y="10551"/>
                        <a:pt x="29547" y="10551"/>
                      </a:cubicBezTo>
                      <a:close/>
                    </a:path>
                  </a:pathLst>
                </a:custGeom>
                <a:solidFill>
                  <a:schemeClr val="accent1"/>
                </a:solidFill>
                <a:ln w="3004" cap="flat">
                  <a:noFill/>
                  <a:prstDash val="solid"/>
                  <a:miter/>
                </a:ln>
              </p:spPr>
              <p:txBody>
                <a:bodyPr rtlCol="0" anchor="ctr"/>
                <a:lstStyle/>
                <a:p>
                  <a:endParaRPr lang="en-GB" dirty="0"/>
                </a:p>
              </p:txBody>
            </p:sp>
            <p:sp>
              <p:nvSpPr>
                <p:cNvPr id="499" name="Freihandform: Form 498">
                  <a:extLst>
                    <a:ext uri="{FF2B5EF4-FFF2-40B4-BE49-F238E27FC236}">
                      <a16:creationId xmlns:a16="http://schemas.microsoft.com/office/drawing/2014/main" id="{4842FD92-BBC3-4FB5-9BAC-9A4DAD57DF64}"/>
                    </a:ext>
                  </a:extLst>
                </p:cNvPr>
                <p:cNvSpPr/>
                <p:nvPr/>
              </p:nvSpPr>
              <p:spPr>
                <a:xfrm>
                  <a:off x="3416406" y="2766060"/>
                  <a:ext cx="59786" cy="59756"/>
                </a:xfrm>
                <a:custGeom>
                  <a:avLst/>
                  <a:gdLst>
                    <a:gd name="connsiteX0" fmla="*/ 29908 w 59786"/>
                    <a:gd name="connsiteY0" fmla="*/ 59756 h 59756"/>
                    <a:gd name="connsiteX1" fmla="*/ 0 w 59786"/>
                    <a:gd name="connsiteY1" fmla="*/ 29878 h 59756"/>
                    <a:gd name="connsiteX2" fmla="*/ 29908 w 59786"/>
                    <a:gd name="connsiteY2" fmla="*/ 0 h 59756"/>
                    <a:gd name="connsiteX3" fmla="*/ 59786 w 59786"/>
                    <a:gd name="connsiteY3" fmla="*/ 29878 h 59756"/>
                    <a:gd name="connsiteX4" fmla="*/ 29908 w 59786"/>
                    <a:gd name="connsiteY4" fmla="*/ 59756 h 59756"/>
                    <a:gd name="connsiteX5" fmla="*/ 29908 w 59786"/>
                    <a:gd name="connsiteY5" fmla="*/ 10520 h 59756"/>
                    <a:gd name="connsiteX6" fmla="*/ 10551 w 59786"/>
                    <a:gd name="connsiteY6" fmla="*/ 29848 h 59756"/>
                    <a:gd name="connsiteX7" fmla="*/ 29908 w 59786"/>
                    <a:gd name="connsiteY7" fmla="*/ 49176 h 59756"/>
                    <a:gd name="connsiteX8" fmla="*/ 49236 w 59786"/>
                    <a:gd name="connsiteY8" fmla="*/ 29848 h 59756"/>
                    <a:gd name="connsiteX9" fmla="*/ 29908 w 59786"/>
                    <a:gd name="connsiteY9" fmla="*/ 10520 h 59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786" h="59756">
                      <a:moveTo>
                        <a:pt x="29908" y="59756"/>
                      </a:moveTo>
                      <a:cubicBezTo>
                        <a:pt x="13436" y="59756"/>
                        <a:pt x="0" y="46350"/>
                        <a:pt x="0" y="29878"/>
                      </a:cubicBezTo>
                      <a:cubicBezTo>
                        <a:pt x="0" y="13406"/>
                        <a:pt x="13406" y="0"/>
                        <a:pt x="29908" y="0"/>
                      </a:cubicBezTo>
                      <a:cubicBezTo>
                        <a:pt x="46380" y="0"/>
                        <a:pt x="59786" y="13406"/>
                        <a:pt x="59786" y="29878"/>
                      </a:cubicBezTo>
                      <a:cubicBezTo>
                        <a:pt x="59816" y="46350"/>
                        <a:pt x="46410" y="59756"/>
                        <a:pt x="29908" y="59756"/>
                      </a:cubicBezTo>
                      <a:close/>
                      <a:moveTo>
                        <a:pt x="29908" y="10520"/>
                      </a:moveTo>
                      <a:cubicBezTo>
                        <a:pt x="19237" y="10520"/>
                        <a:pt x="10551" y="19207"/>
                        <a:pt x="10551" y="29848"/>
                      </a:cubicBezTo>
                      <a:cubicBezTo>
                        <a:pt x="10551" y="40519"/>
                        <a:pt x="19237" y="49176"/>
                        <a:pt x="29908" y="49176"/>
                      </a:cubicBezTo>
                      <a:cubicBezTo>
                        <a:pt x="40579" y="49176"/>
                        <a:pt x="49236" y="40489"/>
                        <a:pt x="49236" y="29848"/>
                      </a:cubicBezTo>
                      <a:cubicBezTo>
                        <a:pt x="49266" y="19207"/>
                        <a:pt x="40579" y="10520"/>
                        <a:pt x="29908" y="10520"/>
                      </a:cubicBezTo>
                      <a:close/>
                    </a:path>
                  </a:pathLst>
                </a:custGeom>
                <a:solidFill>
                  <a:schemeClr val="accent1"/>
                </a:solidFill>
                <a:ln w="3004" cap="flat">
                  <a:noFill/>
                  <a:prstDash val="solid"/>
                  <a:miter/>
                </a:ln>
              </p:spPr>
              <p:txBody>
                <a:bodyPr rtlCol="0" anchor="ctr"/>
                <a:lstStyle/>
                <a:p>
                  <a:endParaRPr lang="en-GB" dirty="0"/>
                </a:p>
              </p:txBody>
            </p:sp>
            <p:sp>
              <p:nvSpPr>
                <p:cNvPr id="500" name="Freihandform: Form 499">
                  <a:extLst>
                    <a:ext uri="{FF2B5EF4-FFF2-40B4-BE49-F238E27FC236}">
                      <a16:creationId xmlns:a16="http://schemas.microsoft.com/office/drawing/2014/main" id="{AAC9DD2F-70BD-4E80-A72A-5D1EE64BF05C}"/>
                    </a:ext>
                  </a:extLst>
                </p:cNvPr>
                <p:cNvSpPr/>
                <p:nvPr/>
              </p:nvSpPr>
              <p:spPr>
                <a:xfrm>
                  <a:off x="3588220" y="2642399"/>
                  <a:ext cx="59786" cy="59755"/>
                </a:xfrm>
                <a:custGeom>
                  <a:avLst/>
                  <a:gdLst>
                    <a:gd name="connsiteX0" fmla="*/ 29908 w 59786"/>
                    <a:gd name="connsiteY0" fmla="*/ 59756 h 59755"/>
                    <a:gd name="connsiteX1" fmla="*/ 0 w 59786"/>
                    <a:gd name="connsiteY1" fmla="*/ 29878 h 59755"/>
                    <a:gd name="connsiteX2" fmla="*/ 29908 w 59786"/>
                    <a:gd name="connsiteY2" fmla="*/ 0 h 59755"/>
                    <a:gd name="connsiteX3" fmla="*/ 59786 w 59786"/>
                    <a:gd name="connsiteY3" fmla="*/ 29878 h 59755"/>
                    <a:gd name="connsiteX4" fmla="*/ 29908 w 59786"/>
                    <a:gd name="connsiteY4" fmla="*/ 59756 h 59755"/>
                    <a:gd name="connsiteX5" fmla="*/ 29908 w 59786"/>
                    <a:gd name="connsiteY5" fmla="*/ 10520 h 59755"/>
                    <a:gd name="connsiteX6" fmla="*/ 10551 w 59786"/>
                    <a:gd name="connsiteY6" fmla="*/ 29848 h 59755"/>
                    <a:gd name="connsiteX7" fmla="*/ 29908 w 59786"/>
                    <a:gd name="connsiteY7" fmla="*/ 49175 h 59755"/>
                    <a:gd name="connsiteX8" fmla="*/ 49236 w 59786"/>
                    <a:gd name="connsiteY8" fmla="*/ 29848 h 59755"/>
                    <a:gd name="connsiteX9" fmla="*/ 29908 w 59786"/>
                    <a:gd name="connsiteY9" fmla="*/ 10520 h 5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786" h="59755">
                      <a:moveTo>
                        <a:pt x="29908" y="59756"/>
                      </a:moveTo>
                      <a:cubicBezTo>
                        <a:pt x="13436" y="59756"/>
                        <a:pt x="0" y="46350"/>
                        <a:pt x="0" y="29878"/>
                      </a:cubicBezTo>
                      <a:cubicBezTo>
                        <a:pt x="0" y="13406"/>
                        <a:pt x="13406" y="0"/>
                        <a:pt x="29908" y="0"/>
                      </a:cubicBezTo>
                      <a:cubicBezTo>
                        <a:pt x="46380" y="0"/>
                        <a:pt x="59786" y="13406"/>
                        <a:pt x="59786" y="29878"/>
                      </a:cubicBezTo>
                      <a:cubicBezTo>
                        <a:pt x="59786" y="46350"/>
                        <a:pt x="46380" y="59756"/>
                        <a:pt x="29908" y="59756"/>
                      </a:cubicBezTo>
                      <a:close/>
                      <a:moveTo>
                        <a:pt x="29908" y="10520"/>
                      </a:moveTo>
                      <a:cubicBezTo>
                        <a:pt x="19237" y="10520"/>
                        <a:pt x="10551" y="19207"/>
                        <a:pt x="10551" y="29848"/>
                      </a:cubicBezTo>
                      <a:cubicBezTo>
                        <a:pt x="10551" y="40519"/>
                        <a:pt x="19237" y="49175"/>
                        <a:pt x="29908" y="49175"/>
                      </a:cubicBezTo>
                      <a:cubicBezTo>
                        <a:pt x="40579" y="49175"/>
                        <a:pt x="49236" y="40489"/>
                        <a:pt x="49236" y="29848"/>
                      </a:cubicBezTo>
                      <a:cubicBezTo>
                        <a:pt x="49236" y="19177"/>
                        <a:pt x="40549" y="10520"/>
                        <a:pt x="29908" y="10520"/>
                      </a:cubicBezTo>
                      <a:close/>
                    </a:path>
                  </a:pathLst>
                </a:custGeom>
                <a:solidFill>
                  <a:schemeClr val="accent1"/>
                </a:solidFill>
                <a:ln w="3004" cap="flat">
                  <a:noFill/>
                  <a:prstDash val="solid"/>
                  <a:miter/>
                </a:ln>
              </p:spPr>
              <p:txBody>
                <a:bodyPr rtlCol="0" anchor="ctr"/>
                <a:lstStyle/>
                <a:p>
                  <a:endParaRPr lang="en-GB" dirty="0"/>
                </a:p>
              </p:txBody>
            </p:sp>
            <p:sp>
              <p:nvSpPr>
                <p:cNvPr id="501" name="Freihandform: Form 500">
                  <a:extLst>
                    <a:ext uri="{FF2B5EF4-FFF2-40B4-BE49-F238E27FC236}">
                      <a16:creationId xmlns:a16="http://schemas.microsoft.com/office/drawing/2014/main" id="{5C0BC2D6-AC25-49F6-B216-31C027C892C1}"/>
                    </a:ext>
                  </a:extLst>
                </p:cNvPr>
                <p:cNvSpPr/>
                <p:nvPr/>
              </p:nvSpPr>
              <p:spPr>
                <a:xfrm>
                  <a:off x="3409734" y="2639424"/>
                  <a:ext cx="73162" cy="73162"/>
                </a:xfrm>
                <a:custGeom>
                  <a:avLst/>
                  <a:gdLst>
                    <a:gd name="connsiteX0" fmla="*/ 36581 w 73162"/>
                    <a:gd name="connsiteY0" fmla="*/ 73162 h 73162"/>
                    <a:gd name="connsiteX1" fmla="*/ 0 w 73162"/>
                    <a:gd name="connsiteY1" fmla="*/ 36581 h 73162"/>
                    <a:gd name="connsiteX2" fmla="*/ 36581 w 73162"/>
                    <a:gd name="connsiteY2" fmla="*/ 0 h 73162"/>
                    <a:gd name="connsiteX3" fmla="*/ 73162 w 73162"/>
                    <a:gd name="connsiteY3" fmla="*/ 36581 h 73162"/>
                    <a:gd name="connsiteX4" fmla="*/ 36581 w 73162"/>
                    <a:gd name="connsiteY4" fmla="*/ 73162 h 73162"/>
                    <a:gd name="connsiteX5" fmla="*/ 36581 w 73162"/>
                    <a:gd name="connsiteY5" fmla="*/ 10551 h 73162"/>
                    <a:gd name="connsiteX6" fmla="*/ 10551 w 73162"/>
                    <a:gd name="connsiteY6" fmla="*/ 36581 h 73162"/>
                    <a:gd name="connsiteX7" fmla="*/ 36581 w 73162"/>
                    <a:gd name="connsiteY7" fmla="*/ 62612 h 73162"/>
                    <a:gd name="connsiteX8" fmla="*/ 62612 w 73162"/>
                    <a:gd name="connsiteY8" fmla="*/ 36581 h 73162"/>
                    <a:gd name="connsiteX9" fmla="*/ 36581 w 73162"/>
                    <a:gd name="connsiteY9" fmla="*/ 10551 h 7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162" h="73162">
                      <a:moveTo>
                        <a:pt x="36581" y="73162"/>
                      </a:moveTo>
                      <a:cubicBezTo>
                        <a:pt x="16412" y="73162"/>
                        <a:pt x="0" y="56750"/>
                        <a:pt x="0" y="36581"/>
                      </a:cubicBezTo>
                      <a:cubicBezTo>
                        <a:pt x="0" y="16412"/>
                        <a:pt x="16412" y="0"/>
                        <a:pt x="36581" y="0"/>
                      </a:cubicBezTo>
                      <a:cubicBezTo>
                        <a:pt x="56750" y="0"/>
                        <a:pt x="73162" y="16412"/>
                        <a:pt x="73162" y="36581"/>
                      </a:cubicBezTo>
                      <a:cubicBezTo>
                        <a:pt x="73162" y="56750"/>
                        <a:pt x="56750" y="73162"/>
                        <a:pt x="36581" y="73162"/>
                      </a:cubicBezTo>
                      <a:close/>
                      <a:moveTo>
                        <a:pt x="36581" y="10551"/>
                      </a:moveTo>
                      <a:cubicBezTo>
                        <a:pt x="22213" y="10551"/>
                        <a:pt x="10551" y="22213"/>
                        <a:pt x="10551" y="36581"/>
                      </a:cubicBezTo>
                      <a:cubicBezTo>
                        <a:pt x="10551" y="50919"/>
                        <a:pt x="22213" y="62612"/>
                        <a:pt x="36581" y="62612"/>
                      </a:cubicBezTo>
                      <a:cubicBezTo>
                        <a:pt x="50919" y="62612"/>
                        <a:pt x="62612" y="50949"/>
                        <a:pt x="62612" y="36581"/>
                      </a:cubicBezTo>
                      <a:cubicBezTo>
                        <a:pt x="62612" y="22243"/>
                        <a:pt x="50949" y="10551"/>
                        <a:pt x="36581" y="10551"/>
                      </a:cubicBezTo>
                      <a:close/>
                    </a:path>
                  </a:pathLst>
                </a:custGeom>
                <a:solidFill>
                  <a:schemeClr val="accent1"/>
                </a:solidFill>
                <a:ln w="3004" cap="flat">
                  <a:noFill/>
                  <a:prstDash val="solid"/>
                  <a:miter/>
                </a:ln>
              </p:spPr>
              <p:txBody>
                <a:bodyPr rtlCol="0" anchor="ctr"/>
                <a:lstStyle/>
                <a:p>
                  <a:endParaRPr lang="en-GB" dirty="0"/>
                </a:p>
              </p:txBody>
            </p:sp>
            <p:sp>
              <p:nvSpPr>
                <p:cNvPr id="502" name="Freihandform: Form 501">
                  <a:extLst>
                    <a:ext uri="{FF2B5EF4-FFF2-40B4-BE49-F238E27FC236}">
                      <a16:creationId xmlns:a16="http://schemas.microsoft.com/office/drawing/2014/main" id="{3B48BC6F-4AD0-4FBB-A761-2A654F3F0553}"/>
                    </a:ext>
                  </a:extLst>
                </p:cNvPr>
                <p:cNvSpPr/>
                <p:nvPr/>
              </p:nvSpPr>
              <p:spPr>
                <a:xfrm>
                  <a:off x="3441054" y="2575459"/>
                  <a:ext cx="10520" cy="73132"/>
                </a:xfrm>
                <a:custGeom>
                  <a:avLst/>
                  <a:gdLst>
                    <a:gd name="connsiteX0" fmla="*/ 5260 w 10520"/>
                    <a:gd name="connsiteY0" fmla="*/ 73132 h 73132"/>
                    <a:gd name="connsiteX1" fmla="*/ 0 w 10520"/>
                    <a:gd name="connsiteY1" fmla="*/ 67872 h 73132"/>
                    <a:gd name="connsiteX2" fmla="*/ 0 w 10520"/>
                    <a:gd name="connsiteY2" fmla="*/ 5260 h 73132"/>
                    <a:gd name="connsiteX3" fmla="*/ 5260 w 10520"/>
                    <a:gd name="connsiteY3" fmla="*/ 0 h 73132"/>
                    <a:gd name="connsiteX4" fmla="*/ 10520 w 10520"/>
                    <a:gd name="connsiteY4" fmla="*/ 5260 h 73132"/>
                    <a:gd name="connsiteX5" fmla="*/ 10520 w 10520"/>
                    <a:gd name="connsiteY5" fmla="*/ 67872 h 73132"/>
                    <a:gd name="connsiteX6" fmla="*/ 5260 w 10520"/>
                    <a:gd name="connsiteY6" fmla="*/ 73132 h 73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73132">
                      <a:moveTo>
                        <a:pt x="5260" y="73132"/>
                      </a:moveTo>
                      <a:cubicBezTo>
                        <a:pt x="2345" y="73132"/>
                        <a:pt x="0" y="70757"/>
                        <a:pt x="0" y="67872"/>
                      </a:cubicBezTo>
                      <a:lnTo>
                        <a:pt x="0" y="5260"/>
                      </a:lnTo>
                      <a:cubicBezTo>
                        <a:pt x="0" y="2345"/>
                        <a:pt x="2375" y="0"/>
                        <a:pt x="5260" y="0"/>
                      </a:cubicBezTo>
                      <a:cubicBezTo>
                        <a:pt x="8146" y="0"/>
                        <a:pt x="10520" y="2375"/>
                        <a:pt x="10520" y="5260"/>
                      </a:cubicBezTo>
                      <a:lnTo>
                        <a:pt x="10520" y="67872"/>
                      </a:lnTo>
                      <a:cubicBezTo>
                        <a:pt x="10551" y="70757"/>
                        <a:pt x="8176" y="73132"/>
                        <a:pt x="5260" y="73132"/>
                      </a:cubicBezTo>
                      <a:close/>
                    </a:path>
                  </a:pathLst>
                </a:custGeom>
                <a:solidFill>
                  <a:schemeClr val="accent1"/>
                </a:solidFill>
                <a:ln w="3004" cap="flat">
                  <a:noFill/>
                  <a:prstDash val="solid"/>
                  <a:miter/>
                </a:ln>
              </p:spPr>
              <p:txBody>
                <a:bodyPr rtlCol="0" anchor="ctr"/>
                <a:lstStyle/>
                <a:p>
                  <a:endParaRPr lang="en-GB" dirty="0"/>
                </a:p>
              </p:txBody>
            </p:sp>
            <p:sp>
              <p:nvSpPr>
                <p:cNvPr id="503" name="Freihandform: Form 502">
                  <a:extLst>
                    <a:ext uri="{FF2B5EF4-FFF2-40B4-BE49-F238E27FC236}">
                      <a16:creationId xmlns:a16="http://schemas.microsoft.com/office/drawing/2014/main" id="{97FF779D-29D9-484C-A68C-3AB20B10E74E}"/>
                    </a:ext>
                  </a:extLst>
                </p:cNvPr>
                <p:cNvSpPr/>
                <p:nvPr/>
              </p:nvSpPr>
              <p:spPr>
                <a:xfrm>
                  <a:off x="3441054" y="2815896"/>
                  <a:ext cx="10520" cy="65016"/>
                </a:xfrm>
                <a:custGeom>
                  <a:avLst/>
                  <a:gdLst>
                    <a:gd name="connsiteX0" fmla="*/ 5260 w 10520"/>
                    <a:gd name="connsiteY0" fmla="*/ 65016 h 65016"/>
                    <a:gd name="connsiteX1" fmla="*/ 0 w 10520"/>
                    <a:gd name="connsiteY1" fmla="*/ 59756 h 65016"/>
                    <a:gd name="connsiteX2" fmla="*/ 0 w 10520"/>
                    <a:gd name="connsiteY2" fmla="*/ 5260 h 65016"/>
                    <a:gd name="connsiteX3" fmla="*/ 5260 w 10520"/>
                    <a:gd name="connsiteY3" fmla="*/ 0 h 65016"/>
                    <a:gd name="connsiteX4" fmla="*/ 10520 w 10520"/>
                    <a:gd name="connsiteY4" fmla="*/ 5260 h 65016"/>
                    <a:gd name="connsiteX5" fmla="*/ 10520 w 10520"/>
                    <a:gd name="connsiteY5" fmla="*/ 59756 h 65016"/>
                    <a:gd name="connsiteX6" fmla="*/ 5260 w 10520"/>
                    <a:gd name="connsiteY6" fmla="*/ 65016 h 65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65016">
                      <a:moveTo>
                        <a:pt x="5260" y="65016"/>
                      </a:moveTo>
                      <a:cubicBezTo>
                        <a:pt x="2345" y="65016"/>
                        <a:pt x="0" y="62642"/>
                        <a:pt x="0" y="59756"/>
                      </a:cubicBezTo>
                      <a:lnTo>
                        <a:pt x="0" y="5260"/>
                      </a:lnTo>
                      <a:cubicBezTo>
                        <a:pt x="0" y="2345"/>
                        <a:pt x="2375" y="0"/>
                        <a:pt x="5260" y="0"/>
                      </a:cubicBezTo>
                      <a:cubicBezTo>
                        <a:pt x="8176" y="0"/>
                        <a:pt x="10520" y="2375"/>
                        <a:pt x="10520" y="5260"/>
                      </a:cubicBezTo>
                      <a:lnTo>
                        <a:pt x="10520" y="59756"/>
                      </a:lnTo>
                      <a:cubicBezTo>
                        <a:pt x="10551" y="62642"/>
                        <a:pt x="8176" y="65016"/>
                        <a:pt x="5260" y="65016"/>
                      </a:cubicBezTo>
                      <a:close/>
                    </a:path>
                  </a:pathLst>
                </a:custGeom>
                <a:solidFill>
                  <a:schemeClr val="accent1"/>
                </a:solidFill>
                <a:ln w="3004" cap="flat">
                  <a:noFill/>
                  <a:prstDash val="solid"/>
                  <a:miter/>
                </a:ln>
              </p:spPr>
              <p:txBody>
                <a:bodyPr rtlCol="0" anchor="ctr"/>
                <a:lstStyle/>
                <a:p>
                  <a:endParaRPr lang="en-GB" dirty="0"/>
                </a:p>
              </p:txBody>
            </p:sp>
            <p:sp>
              <p:nvSpPr>
                <p:cNvPr id="504" name="Freihandform: Form 503">
                  <a:extLst>
                    <a:ext uri="{FF2B5EF4-FFF2-40B4-BE49-F238E27FC236}">
                      <a16:creationId xmlns:a16="http://schemas.microsoft.com/office/drawing/2014/main" id="{9E74870A-68AC-40D4-8F0E-B4390F714160}"/>
                    </a:ext>
                  </a:extLst>
                </p:cNvPr>
                <p:cNvSpPr/>
                <p:nvPr/>
              </p:nvSpPr>
              <p:spPr>
                <a:xfrm>
                  <a:off x="3441054" y="2702757"/>
                  <a:ext cx="10520" cy="72530"/>
                </a:xfrm>
                <a:custGeom>
                  <a:avLst/>
                  <a:gdLst>
                    <a:gd name="connsiteX0" fmla="*/ 5260 w 10520"/>
                    <a:gd name="connsiteY0" fmla="*/ 72531 h 72530"/>
                    <a:gd name="connsiteX1" fmla="*/ 0 w 10520"/>
                    <a:gd name="connsiteY1" fmla="*/ 67271 h 72530"/>
                    <a:gd name="connsiteX2" fmla="*/ 0 w 10520"/>
                    <a:gd name="connsiteY2" fmla="*/ 5260 h 72530"/>
                    <a:gd name="connsiteX3" fmla="*/ 5260 w 10520"/>
                    <a:gd name="connsiteY3" fmla="*/ 0 h 72530"/>
                    <a:gd name="connsiteX4" fmla="*/ 10520 w 10520"/>
                    <a:gd name="connsiteY4" fmla="*/ 5260 h 72530"/>
                    <a:gd name="connsiteX5" fmla="*/ 10520 w 10520"/>
                    <a:gd name="connsiteY5" fmla="*/ 67271 h 72530"/>
                    <a:gd name="connsiteX6" fmla="*/ 5260 w 10520"/>
                    <a:gd name="connsiteY6" fmla="*/ 72531 h 72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72530">
                      <a:moveTo>
                        <a:pt x="5260" y="72531"/>
                      </a:moveTo>
                      <a:cubicBezTo>
                        <a:pt x="2345" y="72531"/>
                        <a:pt x="0" y="70156"/>
                        <a:pt x="0" y="67271"/>
                      </a:cubicBezTo>
                      <a:lnTo>
                        <a:pt x="0" y="5260"/>
                      </a:lnTo>
                      <a:cubicBezTo>
                        <a:pt x="0" y="2345"/>
                        <a:pt x="2375" y="0"/>
                        <a:pt x="5260" y="0"/>
                      </a:cubicBezTo>
                      <a:cubicBezTo>
                        <a:pt x="8176" y="0"/>
                        <a:pt x="10520" y="2375"/>
                        <a:pt x="10520" y="5260"/>
                      </a:cubicBezTo>
                      <a:lnTo>
                        <a:pt x="10520" y="67271"/>
                      </a:lnTo>
                      <a:cubicBezTo>
                        <a:pt x="10551" y="70156"/>
                        <a:pt x="8176" y="72531"/>
                        <a:pt x="5260" y="72531"/>
                      </a:cubicBezTo>
                      <a:close/>
                    </a:path>
                  </a:pathLst>
                </a:custGeom>
                <a:solidFill>
                  <a:schemeClr val="accent1"/>
                </a:solidFill>
                <a:ln w="3004" cap="flat">
                  <a:noFill/>
                  <a:prstDash val="solid"/>
                  <a:miter/>
                </a:ln>
              </p:spPr>
              <p:txBody>
                <a:bodyPr rtlCol="0" anchor="ctr"/>
                <a:lstStyle/>
                <a:p>
                  <a:endParaRPr lang="en-GB" dirty="0"/>
                </a:p>
              </p:txBody>
            </p:sp>
            <p:sp>
              <p:nvSpPr>
                <p:cNvPr id="505" name="Freihandform: Form 504">
                  <a:extLst>
                    <a:ext uri="{FF2B5EF4-FFF2-40B4-BE49-F238E27FC236}">
                      <a16:creationId xmlns:a16="http://schemas.microsoft.com/office/drawing/2014/main" id="{4D71B397-6027-44C9-8D22-ED4638568140}"/>
                    </a:ext>
                  </a:extLst>
                </p:cNvPr>
                <p:cNvSpPr/>
                <p:nvPr/>
              </p:nvSpPr>
              <p:spPr>
                <a:xfrm>
                  <a:off x="3474539" y="2667588"/>
                  <a:ext cx="123930" cy="10520"/>
                </a:xfrm>
                <a:custGeom>
                  <a:avLst/>
                  <a:gdLst>
                    <a:gd name="connsiteX0" fmla="*/ 118670 w 123930"/>
                    <a:gd name="connsiteY0" fmla="*/ 10520 h 10520"/>
                    <a:gd name="connsiteX1" fmla="*/ 5260 w 123930"/>
                    <a:gd name="connsiteY1" fmla="*/ 10520 h 10520"/>
                    <a:gd name="connsiteX2" fmla="*/ 0 w 123930"/>
                    <a:gd name="connsiteY2" fmla="*/ 5260 h 10520"/>
                    <a:gd name="connsiteX3" fmla="*/ 5260 w 123930"/>
                    <a:gd name="connsiteY3" fmla="*/ 0 h 10520"/>
                    <a:gd name="connsiteX4" fmla="*/ 118670 w 123930"/>
                    <a:gd name="connsiteY4" fmla="*/ 0 h 10520"/>
                    <a:gd name="connsiteX5" fmla="*/ 123931 w 123930"/>
                    <a:gd name="connsiteY5" fmla="*/ 5260 h 10520"/>
                    <a:gd name="connsiteX6" fmla="*/ 118670 w 123930"/>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930" h="10520">
                      <a:moveTo>
                        <a:pt x="118670" y="10520"/>
                      </a:moveTo>
                      <a:lnTo>
                        <a:pt x="5260" y="10520"/>
                      </a:lnTo>
                      <a:cubicBezTo>
                        <a:pt x="2345" y="10520"/>
                        <a:pt x="0" y="8146"/>
                        <a:pt x="0" y="5260"/>
                      </a:cubicBezTo>
                      <a:cubicBezTo>
                        <a:pt x="0" y="2345"/>
                        <a:pt x="2375" y="0"/>
                        <a:pt x="5260" y="0"/>
                      </a:cubicBezTo>
                      <a:lnTo>
                        <a:pt x="118670" y="0"/>
                      </a:lnTo>
                      <a:cubicBezTo>
                        <a:pt x="121586" y="0"/>
                        <a:pt x="123931" y="2375"/>
                        <a:pt x="123931" y="5260"/>
                      </a:cubicBezTo>
                      <a:cubicBezTo>
                        <a:pt x="123931" y="8176"/>
                        <a:pt x="121586" y="10520"/>
                        <a:pt x="118670" y="10520"/>
                      </a:cubicBezTo>
                      <a:close/>
                    </a:path>
                  </a:pathLst>
                </a:custGeom>
                <a:solidFill>
                  <a:schemeClr val="accent1"/>
                </a:solidFill>
                <a:ln w="3004" cap="flat">
                  <a:noFill/>
                  <a:prstDash val="solid"/>
                  <a:miter/>
                </a:ln>
              </p:spPr>
              <p:txBody>
                <a:bodyPr rtlCol="0" anchor="ctr"/>
                <a:lstStyle/>
                <a:p>
                  <a:endParaRPr lang="en-GB" dirty="0"/>
                </a:p>
              </p:txBody>
            </p:sp>
          </p:grpSp>
        </p:grpSp>
      </p:grpSp>
      <p:grpSp>
        <p:nvGrpSpPr>
          <p:cNvPr id="35" name="Group 34">
            <a:extLst>
              <a:ext uri="{FF2B5EF4-FFF2-40B4-BE49-F238E27FC236}">
                <a16:creationId xmlns:a16="http://schemas.microsoft.com/office/drawing/2014/main" id="{E423192F-C822-3B32-CA53-D5D202C6B3DC}"/>
              </a:ext>
            </a:extLst>
          </p:cNvPr>
          <p:cNvGrpSpPr/>
          <p:nvPr/>
        </p:nvGrpSpPr>
        <p:grpSpPr>
          <a:xfrm>
            <a:off x="6947208" y="4178281"/>
            <a:ext cx="720000" cy="351170"/>
            <a:chOff x="6994595" y="4178281"/>
            <a:chExt cx="720000" cy="351170"/>
          </a:xfrm>
        </p:grpSpPr>
        <p:grpSp>
          <p:nvGrpSpPr>
            <p:cNvPr id="514" name="Grafik 19">
              <a:extLst>
                <a:ext uri="{FF2B5EF4-FFF2-40B4-BE49-F238E27FC236}">
                  <a16:creationId xmlns:a16="http://schemas.microsoft.com/office/drawing/2014/main" id="{2D35C651-A935-4B80-8DE3-CDDAF2544453}"/>
                </a:ext>
              </a:extLst>
            </p:cNvPr>
            <p:cNvGrpSpPr/>
            <p:nvPr/>
          </p:nvGrpSpPr>
          <p:grpSpPr>
            <a:xfrm>
              <a:off x="6994595" y="4178281"/>
              <a:ext cx="720000" cy="351170"/>
              <a:chOff x="2403627" y="4225483"/>
              <a:chExt cx="740834" cy="361331"/>
            </a:xfrm>
            <a:solidFill>
              <a:schemeClr val="tx2"/>
            </a:solidFill>
          </p:grpSpPr>
          <p:sp>
            <p:nvSpPr>
              <p:cNvPr id="516" name="Freihandform: Form 515">
                <a:extLst>
                  <a:ext uri="{FF2B5EF4-FFF2-40B4-BE49-F238E27FC236}">
                    <a16:creationId xmlns:a16="http://schemas.microsoft.com/office/drawing/2014/main" id="{9BE5800C-242D-4689-9A9B-AD946450F32D}"/>
                  </a:ext>
                </a:extLst>
              </p:cNvPr>
              <p:cNvSpPr/>
              <p:nvPr/>
            </p:nvSpPr>
            <p:spPr>
              <a:xfrm>
                <a:off x="2403627" y="4225483"/>
                <a:ext cx="308638" cy="361301"/>
              </a:xfrm>
              <a:custGeom>
                <a:avLst/>
                <a:gdLst>
                  <a:gd name="connsiteX0" fmla="*/ 69548 w 308638"/>
                  <a:gd name="connsiteY0" fmla="*/ 361302 h 361301"/>
                  <a:gd name="connsiteX1" fmla="*/ 69247 w 308638"/>
                  <a:gd name="connsiteY1" fmla="*/ 361302 h 361301"/>
                  <a:gd name="connsiteX2" fmla="*/ 64258 w 308638"/>
                  <a:gd name="connsiteY2" fmla="*/ 355741 h 361301"/>
                  <a:gd name="connsiteX3" fmla="*/ 64438 w 308638"/>
                  <a:gd name="connsiteY3" fmla="*/ 287208 h 361301"/>
                  <a:gd name="connsiteX4" fmla="*/ 52776 w 308638"/>
                  <a:gd name="connsiteY4" fmla="*/ 267129 h 361301"/>
                  <a:gd name="connsiteX5" fmla="*/ 324 w 308638"/>
                  <a:gd name="connsiteY5" fmla="*/ 135473 h 361301"/>
                  <a:gd name="connsiteX6" fmla="*/ 233 w 308638"/>
                  <a:gd name="connsiteY6" fmla="*/ 133790 h 361301"/>
                  <a:gd name="connsiteX7" fmla="*/ 23 w 308638"/>
                  <a:gd name="connsiteY7" fmla="*/ 124862 h 361301"/>
                  <a:gd name="connsiteX8" fmla="*/ 97442 w 308638"/>
                  <a:gd name="connsiteY8" fmla="*/ 2254 h 361301"/>
                  <a:gd name="connsiteX9" fmla="*/ 233246 w 308638"/>
                  <a:gd name="connsiteY9" fmla="*/ 28916 h 361301"/>
                  <a:gd name="connsiteX10" fmla="*/ 271570 w 308638"/>
                  <a:gd name="connsiteY10" fmla="*/ 107278 h 361301"/>
                  <a:gd name="connsiteX11" fmla="*/ 273314 w 308638"/>
                  <a:gd name="connsiteY11" fmla="*/ 115845 h 361301"/>
                  <a:gd name="connsiteX12" fmla="*/ 273945 w 308638"/>
                  <a:gd name="connsiteY12" fmla="*/ 148518 h 361301"/>
                  <a:gd name="connsiteX13" fmla="*/ 286479 w 308638"/>
                  <a:gd name="connsiteY13" fmla="*/ 165351 h 361301"/>
                  <a:gd name="connsiteX14" fmla="*/ 307280 w 308638"/>
                  <a:gd name="connsiteY14" fmla="*/ 195440 h 361301"/>
                  <a:gd name="connsiteX15" fmla="*/ 305717 w 308638"/>
                  <a:gd name="connsiteY15" fmla="*/ 212422 h 361301"/>
                  <a:gd name="connsiteX16" fmla="*/ 292581 w 308638"/>
                  <a:gd name="connsiteY16" fmla="*/ 220298 h 361301"/>
                  <a:gd name="connsiteX17" fmla="*/ 284976 w 308638"/>
                  <a:gd name="connsiteY17" fmla="*/ 220208 h 361301"/>
                  <a:gd name="connsiteX18" fmla="*/ 278303 w 308638"/>
                  <a:gd name="connsiteY18" fmla="*/ 220117 h 361301"/>
                  <a:gd name="connsiteX19" fmla="*/ 278484 w 308638"/>
                  <a:gd name="connsiteY19" fmla="*/ 247801 h 361301"/>
                  <a:gd name="connsiteX20" fmla="*/ 278784 w 308638"/>
                  <a:gd name="connsiteY20" fmla="*/ 278701 h 361301"/>
                  <a:gd name="connsiteX21" fmla="*/ 245389 w 308638"/>
                  <a:gd name="connsiteY21" fmla="*/ 312096 h 361301"/>
                  <a:gd name="connsiteX22" fmla="*/ 215511 w 308638"/>
                  <a:gd name="connsiteY22" fmla="*/ 312096 h 361301"/>
                  <a:gd name="connsiteX23" fmla="*/ 215511 w 308638"/>
                  <a:gd name="connsiteY23" fmla="*/ 356041 h 361301"/>
                  <a:gd name="connsiteX24" fmla="*/ 210251 w 308638"/>
                  <a:gd name="connsiteY24" fmla="*/ 361302 h 361301"/>
                  <a:gd name="connsiteX25" fmla="*/ 204991 w 308638"/>
                  <a:gd name="connsiteY25" fmla="*/ 356041 h 361301"/>
                  <a:gd name="connsiteX26" fmla="*/ 204991 w 308638"/>
                  <a:gd name="connsiteY26" fmla="*/ 306806 h 361301"/>
                  <a:gd name="connsiteX27" fmla="*/ 210251 w 308638"/>
                  <a:gd name="connsiteY27" fmla="*/ 301546 h 361301"/>
                  <a:gd name="connsiteX28" fmla="*/ 245419 w 308638"/>
                  <a:gd name="connsiteY28" fmla="*/ 301546 h 361301"/>
                  <a:gd name="connsiteX29" fmla="*/ 268264 w 308638"/>
                  <a:gd name="connsiteY29" fmla="*/ 278701 h 361301"/>
                  <a:gd name="connsiteX30" fmla="*/ 267963 w 308638"/>
                  <a:gd name="connsiteY30" fmla="*/ 247951 h 361301"/>
                  <a:gd name="connsiteX31" fmla="*/ 271059 w 308638"/>
                  <a:gd name="connsiteY31" fmla="*/ 210739 h 361301"/>
                  <a:gd name="connsiteX32" fmla="*/ 271871 w 308638"/>
                  <a:gd name="connsiteY32" fmla="*/ 210378 h 361301"/>
                  <a:gd name="connsiteX33" fmla="*/ 285307 w 308638"/>
                  <a:gd name="connsiteY33" fmla="*/ 209627 h 361301"/>
                  <a:gd name="connsiteX34" fmla="*/ 292281 w 308638"/>
                  <a:gd name="connsiteY34" fmla="*/ 209717 h 361301"/>
                  <a:gd name="connsiteX35" fmla="*/ 297270 w 308638"/>
                  <a:gd name="connsiteY35" fmla="*/ 206080 h 361301"/>
                  <a:gd name="connsiteX36" fmla="*/ 297360 w 308638"/>
                  <a:gd name="connsiteY36" fmla="*/ 198896 h 361301"/>
                  <a:gd name="connsiteX37" fmla="*/ 278574 w 308638"/>
                  <a:gd name="connsiteY37" fmla="*/ 172265 h 361301"/>
                  <a:gd name="connsiteX38" fmla="*/ 265078 w 308638"/>
                  <a:gd name="connsiteY38" fmla="*/ 142837 h 361301"/>
                  <a:gd name="connsiteX39" fmla="*/ 263124 w 308638"/>
                  <a:gd name="connsiteY39" fmla="*/ 118310 h 361301"/>
                  <a:gd name="connsiteX40" fmla="*/ 261080 w 308638"/>
                  <a:gd name="connsiteY40" fmla="*/ 107910 h 361301"/>
                  <a:gd name="connsiteX41" fmla="*/ 226813 w 308638"/>
                  <a:gd name="connsiteY41" fmla="*/ 37242 h 361301"/>
                  <a:gd name="connsiteX42" fmla="*/ 98945 w 308638"/>
                  <a:gd name="connsiteY42" fmla="*/ 12715 h 361301"/>
                  <a:gd name="connsiteX43" fmla="*/ 10664 w 308638"/>
                  <a:gd name="connsiteY43" fmla="*/ 124712 h 361301"/>
                  <a:gd name="connsiteX44" fmla="*/ 10874 w 308638"/>
                  <a:gd name="connsiteY44" fmla="*/ 133339 h 361301"/>
                  <a:gd name="connsiteX45" fmla="*/ 10934 w 308638"/>
                  <a:gd name="connsiteY45" fmla="*/ 135082 h 361301"/>
                  <a:gd name="connsiteX46" fmla="*/ 61793 w 308638"/>
                  <a:gd name="connsiteY46" fmla="*/ 261628 h 361301"/>
                  <a:gd name="connsiteX47" fmla="*/ 74508 w 308638"/>
                  <a:gd name="connsiteY47" fmla="*/ 283841 h 361301"/>
                  <a:gd name="connsiteX48" fmla="*/ 74748 w 308638"/>
                  <a:gd name="connsiteY48" fmla="*/ 284713 h 361301"/>
                  <a:gd name="connsiteX49" fmla="*/ 74838 w 308638"/>
                  <a:gd name="connsiteY49" fmla="*/ 356372 h 361301"/>
                  <a:gd name="connsiteX50" fmla="*/ 69548 w 308638"/>
                  <a:gd name="connsiteY50" fmla="*/ 361302 h 361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08638" h="361301">
                    <a:moveTo>
                      <a:pt x="69548" y="361302"/>
                    </a:moveTo>
                    <a:cubicBezTo>
                      <a:pt x="69458" y="361302"/>
                      <a:pt x="69368" y="361302"/>
                      <a:pt x="69247" y="361302"/>
                    </a:cubicBezTo>
                    <a:cubicBezTo>
                      <a:pt x="66332" y="361151"/>
                      <a:pt x="64107" y="358656"/>
                      <a:pt x="64258" y="355741"/>
                    </a:cubicBezTo>
                    <a:cubicBezTo>
                      <a:pt x="65069" y="340621"/>
                      <a:pt x="66662" y="299201"/>
                      <a:pt x="64438" y="287208"/>
                    </a:cubicBezTo>
                    <a:cubicBezTo>
                      <a:pt x="62755" y="283210"/>
                      <a:pt x="58336" y="276086"/>
                      <a:pt x="52776" y="267129"/>
                    </a:cubicBezTo>
                    <a:cubicBezTo>
                      <a:pt x="33989" y="236890"/>
                      <a:pt x="2518" y="186242"/>
                      <a:pt x="324" y="135473"/>
                    </a:cubicBezTo>
                    <a:lnTo>
                      <a:pt x="233" y="133790"/>
                    </a:lnTo>
                    <a:cubicBezTo>
                      <a:pt x="143" y="131956"/>
                      <a:pt x="113" y="131265"/>
                      <a:pt x="23" y="124862"/>
                    </a:cubicBezTo>
                    <a:cubicBezTo>
                      <a:pt x="-1720" y="12023"/>
                      <a:pt x="96450" y="2345"/>
                      <a:pt x="97442" y="2254"/>
                    </a:cubicBezTo>
                    <a:cubicBezTo>
                      <a:pt x="97743" y="2164"/>
                      <a:pt x="181606" y="-11362"/>
                      <a:pt x="233246" y="28916"/>
                    </a:cubicBezTo>
                    <a:cubicBezTo>
                      <a:pt x="256661" y="47192"/>
                      <a:pt x="269556" y="73553"/>
                      <a:pt x="271570" y="107278"/>
                    </a:cubicBezTo>
                    <a:cubicBezTo>
                      <a:pt x="271660" y="108992"/>
                      <a:pt x="272472" y="112328"/>
                      <a:pt x="273314" y="115845"/>
                    </a:cubicBezTo>
                    <a:cubicBezTo>
                      <a:pt x="275929" y="126696"/>
                      <a:pt x="279205" y="140192"/>
                      <a:pt x="273945" y="148518"/>
                    </a:cubicBezTo>
                    <a:cubicBezTo>
                      <a:pt x="273855" y="150983"/>
                      <a:pt x="281459" y="159640"/>
                      <a:pt x="286479" y="165351"/>
                    </a:cubicBezTo>
                    <a:cubicBezTo>
                      <a:pt x="294505" y="174489"/>
                      <a:pt x="303583" y="184859"/>
                      <a:pt x="307280" y="195440"/>
                    </a:cubicBezTo>
                    <a:cubicBezTo>
                      <a:pt x="310105" y="203495"/>
                      <a:pt x="308001" y="209116"/>
                      <a:pt x="305717" y="212422"/>
                    </a:cubicBezTo>
                    <a:cubicBezTo>
                      <a:pt x="301749" y="218194"/>
                      <a:pt x="295136" y="220238"/>
                      <a:pt x="292581" y="220298"/>
                    </a:cubicBezTo>
                    <a:cubicBezTo>
                      <a:pt x="290297" y="220358"/>
                      <a:pt x="287621" y="220298"/>
                      <a:pt x="284976" y="220208"/>
                    </a:cubicBezTo>
                    <a:cubicBezTo>
                      <a:pt x="282992" y="220147"/>
                      <a:pt x="280347" y="220087"/>
                      <a:pt x="278303" y="220117"/>
                    </a:cubicBezTo>
                    <a:cubicBezTo>
                      <a:pt x="278153" y="225798"/>
                      <a:pt x="278333" y="237341"/>
                      <a:pt x="278484" y="247801"/>
                    </a:cubicBezTo>
                    <a:cubicBezTo>
                      <a:pt x="278634" y="257811"/>
                      <a:pt x="278784" y="268812"/>
                      <a:pt x="278784" y="278701"/>
                    </a:cubicBezTo>
                    <a:cubicBezTo>
                      <a:pt x="278784" y="305123"/>
                      <a:pt x="256932" y="312096"/>
                      <a:pt x="245389" y="312096"/>
                    </a:cubicBezTo>
                    <a:lnTo>
                      <a:pt x="215511" y="312096"/>
                    </a:lnTo>
                    <a:lnTo>
                      <a:pt x="215511" y="356041"/>
                    </a:lnTo>
                    <a:cubicBezTo>
                      <a:pt x="215511" y="358957"/>
                      <a:pt x="213137" y="361302"/>
                      <a:pt x="210251" y="361302"/>
                    </a:cubicBezTo>
                    <a:cubicBezTo>
                      <a:pt x="207336" y="361302"/>
                      <a:pt x="204991" y="358927"/>
                      <a:pt x="204991" y="356041"/>
                    </a:cubicBezTo>
                    <a:lnTo>
                      <a:pt x="204991" y="306806"/>
                    </a:lnTo>
                    <a:cubicBezTo>
                      <a:pt x="204991" y="303890"/>
                      <a:pt x="207366" y="301546"/>
                      <a:pt x="210251" y="301546"/>
                    </a:cubicBezTo>
                    <a:lnTo>
                      <a:pt x="245419" y="301546"/>
                    </a:lnTo>
                    <a:cubicBezTo>
                      <a:pt x="247734" y="301515"/>
                      <a:pt x="268264" y="300734"/>
                      <a:pt x="268264" y="278701"/>
                    </a:cubicBezTo>
                    <a:cubicBezTo>
                      <a:pt x="268264" y="268842"/>
                      <a:pt x="268114" y="257901"/>
                      <a:pt x="267963" y="247951"/>
                    </a:cubicBezTo>
                    <a:cubicBezTo>
                      <a:pt x="267452" y="212663"/>
                      <a:pt x="267452" y="212663"/>
                      <a:pt x="271059" y="210739"/>
                    </a:cubicBezTo>
                    <a:cubicBezTo>
                      <a:pt x="271330" y="210589"/>
                      <a:pt x="271600" y="210499"/>
                      <a:pt x="271871" y="210378"/>
                    </a:cubicBezTo>
                    <a:cubicBezTo>
                      <a:pt x="275057" y="209327"/>
                      <a:pt x="279806" y="209477"/>
                      <a:pt x="285307" y="209627"/>
                    </a:cubicBezTo>
                    <a:cubicBezTo>
                      <a:pt x="287742" y="209717"/>
                      <a:pt x="290176" y="209777"/>
                      <a:pt x="292281" y="209717"/>
                    </a:cubicBezTo>
                    <a:cubicBezTo>
                      <a:pt x="292912" y="209597"/>
                      <a:pt x="295858" y="208425"/>
                      <a:pt x="297270" y="206080"/>
                    </a:cubicBezTo>
                    <a:cubicBezTo>
                      <a:pt x="298382" y="204247"/>
                      <a:pt x="298382" y="201902"/>
                      <a:pt x="297360" y="198896"/>
                    </a:cubicBezTo>
                    <a:cubicBezTo>
                      <a:pt x="294325" y="190239"/>
                      <a:pt x="285968" y="180681"/>
                      <a:pt x="278574" y="172265"/>
                    </a:cubicBezTo>
                    <a:cubicBezTo>
                      <a:pt x="268144" y="160361"/>
                      <a:pt x="259908" y="150983"/>
                      <a:pt x="265078" y="142837"/>
                    </a:cubicBezTo>
                    <a:cubicBezTo>
                      <a:pt x="267963" y="138299"/>
                      <a:pt x="264927" y="125794"/>
                      <a:pt x="263124" y="118310"/>
                    </a:cubicBezTo>
                    <a:cubicBezTo>
                      <a:pt x="262072" y="113981"/>
                      <a:pt x="261230" y="110555"/>
                      <a:pt x="261080" y="107910"/>
                    </a:cubicBezTo>
                    <a:cubicBezTo>
                      <a:pt x="259276" y="77340"/>
                      <a:pt x="247734" y="53564"/>
                      <a:pt x="226813" y="37242"/>
                    </a:cubicBezTo>
                    <a:cubicBezTo>
                      <a:pt x="179592" y="391"/>
                      <a:pt x="99697" y="12564"/>
                      <a:pt x="98945" y="12715"/>
                    </a:cubicBezTo>
                    <a:cubicBezTo>
                      <a:pt x="94767" y="13105"/>
                      <a:pt x="9071" y="21883"/>
                      <a:pt x="10664" y="124712"/>
                    </a:cubicBezTo>
                    <a:cubicBezTo>
                      <a:pt x="10754" y="130904"/>
                      <a:pt x="10784" y="131566"/>
                      <a:pt x="10874" y="133339"/>
                    </a:cubicBezTo>
                    <a:lnTo>
                      <a:pt x="10934" y="135082"/>
                    </a:lnTo>
                    <a:cubicBezTo>
                      <a:pt x="13008" y="183116"/>
                      <a:pt x="43548" y="232261"/>
                      <a:pt x="61793" y="261628"/>
                    </a:cubicBezTo>
                    <a:cubicBezTo>
                      <a:pt x="68075" y="271728"/>
                      <a:pt x="72614" y="279032"/>
                      <a:pt x="74508" y="283841"/>
                    </a:cubicBezTo>
                    <a:cubicBezTo>
                      <a:pt x="74628" y="284112"/>
                      <a:pt x="74718" y="284412"/>
                      <a:pt x="74748" y="284713"/>
                    </a:cubicBezTo>
                    <a:cubicBezTo>
                      <a:pt x="77844" y="299772"/>
                      <a:pt x="74989" y="354088"/>
                      <a:pt x="74838" y="356372"/>
                    </a:cubicBezTo>
                    <a:cubicBezTo>
                      <a:pt x="74658" y="359137"/>
                      <a:pt x="72343" y="361302"/>
                      <a:pt x="69548" y="361302"/>
                    </a:cubicBezTo>
                    <a:close/>
                  </a:path>
                </a:pathLst>
              </a:custGeom>
              <a:grpFill/>
              <a:ln w="3004" cap="flat">
                <a:noFill/>
                <a:prstDash val="solid"/>
                <a:miter/>
              </a:ln>
            </p:spPr>
            <p:txBody>
              <a:bodyPr rtlCol="0" anchor="ctr"/>
              <a:lstStyle/>
              <a:p>
                <a:endParaRPr lang="en-GB" dirty="0"/>
              </a:p>
            </p:txBody>
          </p:sp>
          <p:sp>
            <p:nvSpPr>
              <p:cNvPr id="517" name="Freihandform: Form 516">
                <a:extLst>
                  <a:ext uri="{FF2B5EF4-FFF2-40B4-BE49-F238E27FC236}">
                    <a16:creationId xmlns:a16="http://schemas.microsoft.com/office/drawing/2014/main" id="{3C5F8DCF-1377-42D1-BCF7-8EB394B11808}"/>
                  </a:ext>
                </a:extLst>
              </p:cNvPr>
              <p:cNvSpPr/>
              <p:nvPr/>
            </p:nvSpPr>
            <p:spPr>
              <a:xfrm>
                <a:off x="2835890" y="4225485"/>
                <a:ext cx="308571" cy="361329"/>
              </a:xfrm>
              <a:custGeom>
                <a:avLst/>
                <a:gdLst>
                  <a:gd name="connsiteX0" fmla="*/ 239024 w 308571"/>
                  <a:gd name="connsiteY0" fmla="*/ 361300 h 361329"/>
                  <a:gd name="connsiteX1" fmla="*/ 233764 w 308571"/>
                  <a:gd name="connsiteY1" fmla="*/ 356310 h 361329"/>
                  <a:gd name="connsiteX2" fmla="*/ 233854 w 308571"/>
                  <a:gd name="connsiteY2" fmla="*/ 284651 h 361329"/>
                  <a:gd name="connsiteX3" fmla="*/ 234094 w 308571"/>
                  <a:gd name="connsiteY3" fmla="*/ 283779 h 361329"/>
                  <a:gd name="connsiteX4" fmla="*/ 246779 w 308571"/>
                  <a:gd name="connsiteY4" fmla="*/ 261566 h 361329"/>
                  <a:gd name="connsiteX5" fmla="*/ 297638 w 308571"/>
                  <a:gd name="connsiteY5" fmla="*/ 135020 h 361329"/>
                  <a:gd name="connsiteX6" fmla="*/ 297728 w 308571"/>
                  <a:gd name="connsiteY6" fmla="*/ 133367 h 361329"/>
                  <a:gd name="connsiteX7" fmla="*/ 297938 w 308571"/>
                  <a:gd name="connsiteY7" fmla="*/ 124680 h 361329"/>
                  <a:gd name="connsiteX8" fmla="*/ 210198 w 308571"/>
                  <a:gd name="connsiteY8" fmla="*/ 12743 h 361329"/>
                  <a:gd name="connsiteX9" fmla="*/ 81788 w 308571"/>
                  <a:gd name="connsiteY9" fmla="*/ 37210 h 361329"/>
                  <a:gd name="connsiteX10" fmla="*/ 47522 w 308571"/>
                  <a:gd name="connsiteY10" fmla="*/ 107878 h 361329"/>
                  <a:gd name="connsiteX11" fmla="*/ 45478 w 308571"/>
                  <a:gd name="connsiteY11" fmla="*/ 118278 h 361329"/>
                  <a:gd name="connsiteX12" fmla="*/ 43524 w 308571"/>
                  <a:gd name="connsiteY12" fmla="*/ 142835 h 361329"/>
                  <a:gd name="connsiteX13" fmla="*/ 30028 w 308571"/>
                  <a:gd name="connsiteY13" fmla="*/ 172263 h 361329"/>
                  <a:gd name="connsiteX14" fmla="*/ 11242 w 308571"/>
                  <a:gd name="connsiteY14" fmla="*/ 198894 h 361329"/>
                  <a:gd name="connsiteX15" fmla="*/ 11332 w 308571"/>
                  <a:gd name="connsiteY15" fmla="*/ 206078 h 361329"/>
                  <a:gd name="connsiteX16" fmla="*/ 16562 w 308571"/>
                  <a:gd name="connsiteY16" fmla="*/ 209745 h 361329"/>
                  <a:gd name="connsiteX17" fmla="*/ 23295 w 308571"/>
                  <a:gd name="connsiteY17" fmla="*/ 209655 h 361329"/>
                  <a:gd name="connsiteX18" fmla="*/ 36731 w 308571"/>
                  <a:gd name="connsiteY18" fmla="*/ 210407 h 361329"/>
                  <a:gd name="connsiteX19" fmla="*/ 37543 w 308571"/>
                  <a:gd name="connsiteY19" fmla="*/ 210737 h 361329"/>
                  <a:gd name="connsiteX20" fmla="*/ 40669 w 308571"/>
                  <a:gd name="connsiteY20" fmla="*/ 247949 h 361329"/>
                  <a:gd name="connsiteX21" fmla="*/ 40368 w 308571"/>
                  <a:gd name="connsiteY21" fmla="*/ 278699 h 361329"/>
                  <a:gd name="connsiteX22" fmla="*/ 63242 w 308571"/>
                  <a:gd name="connsiteY22" fmla="*/ 301544 h 361329"/>
                  <a:gd name="connsiteX23" fmla="*/ 98381 w 308571"/>
                  <a:gd name="connsiteY23" fmla="*/ 301544 h 361329"/>
                  <a:gd name="connsiteX24" fmla="*/ 103641 w 308571"/>
                  <a:gd name="connsiteY24" fmla="*/ 306804 h 361329"/>
                  <a:gd name="connsiteX25" fmla="*/ 103641 w 308571"/>
                  <a:gd name="connsiteY25" fmla="*/ 356039 h 361329"/>
                  <a:gd name="connsiteX26" fmla="*/ 98381 w 308571"/>
                  <a:gd name="connsiteY26" fmla="*/ 361300 h 361329"/>
                  <a:gd name="connsiteX27" fmla="*/ 93121 w 308571"/>
                  <a:gd name="connsiteY27" fmla="*/ 356039 h 361329"/>
                  <a:gd name="connsiteX28" fmla="*/ 93121 w 308571"/>
                  <a:gd name="connsiteY28" fmla="*/ 312094 h 361329"/>
                  <a:gd name="connsiteX29" fmla="*/ 63242 w 308571"/>
                  <a:gd name="connsiteY29" fmla="*/ 312094 h 361329"/>
                  <a:gd name="connsiteX30" fmla="*/ 29848 w 308571"/>
                  <a:gd name="connsiteY30" fmla="*/ 278699 h 361329"/>
                  <a:gd name="connsiteX31" fmla="*/ 30148 w 308571"/>
                  <a:gd name="connsiteY31" fmla="*/ 247799 h 361329"/>
                  <a:gd name="connsiteX32" fmla="*/ 30329 w 308571"/>
                  <a:gd name="connsiteY32" fmla="*/ 220115 h 361329"/>
                  <a:gd name="connsiteX33" fmla="*/ 23656 w 308571"/>
                  <a:gd name="connsiteY33" fmla="*/ 220206 h 361329"/>
                  <a:gd name="connsiteX34" fmla="*/ 16051 w 308571"/>
                  <a:gd name="connsiteY34" fmla="*/ 220296 h 361329"/>
                  <a:gd name="connsiteX35" fmla="*/ 2915 w 308571"/>
                  <a:gd name="connsiteY35" fmla="*/ 212420 h 361329"/>
                  <a:gd name="connsiteX36" fmla="*/ 1352 w 308571"/>
                  <a:gd name="connsiteY36" fmla="*/ 195438 h 361329"/>
                  <a:gd name="connsiteX37" fmla="*/ 22153 w 308571"/>
                  <a:gd name="connsiteY37" fmla="*/ 165319 h 361329"/>
                  <a:gd name="connsiteX38" fmla="*/ 34567 w 308571"/>
                  <a:gd name="connsiteY38" fmla="*/ 148156 h 361329"/>
                  <a:gd name="connsiteX39" fmla="*/ 35288 w 308571"/>
                  <a:gd name="connsiteY39" fmla="*/ 115783 h 361329"/>
                  <a:gd name="connsiteX40" fmla="*/ 37031 w 308571"/>
                  <a:gd name="connsiteY40" fmla="*/ 107246 h 361329"/>
                  <a:gd name="connsiteX41" fmla="*/ 75356 w 308571"/>
                  <a:gd name="connsiteY41" fmla="*/ 28884 h 361329"/>
                  <a:gd name="connsiteX42" fmla="*/ 211671 w 308571"/>
                  <a:gd name="connsiteY42" fmla="*/ 2313 h 361329"/>
                  <a:gd name="connsiteX43" fmla="*/ 308549 w 308571"/>
                  <a:gd name="connsiteY43" fmla="*/ 124860 h 361329"/>
                  <a:gd name="connsiteX44" fmla="*/ 308338 w 308571"/>
                  <a:gd name="connsiteY44" fmla="*/ 133878 h 361329"/>
                  <a:gd name="connsiteX45" fmla="*/ 308248 w 308571"/>
                  <a:gd name="connsiteY45" fmla="*/ 135501 h 361329"/>
                  <a:gd name="connsiteX46" fmla="*/ 255796 w 308571"/>
                  <a:gd name="connsiteY46" fmla="*/ 267157 h 361329"/>
                  <a:gd name="connsiteX47" fmla="*/ 244134 w 308571"/>
                  <a:gd name="connsiteY47" fmla="*/ 287236 h 361329"/>
                  <a:gd name="connsiteX48" fmla="*/ 244314 w 308571"/>
                  <a:gd name="connsiteY48" fmla="*/ 355769 h 361329"/>
                  <a:gd name="connsiteX49" fmla="*/ 239324 w 308571"/>
                  <a:gd name="connsiteY49" fmla="*/ 361330 h 361329"/>
                  <a:gd name="connsiteX50" fmla="*/ 239024 w 308571"/>
                  <a:gd name="connsiteY50" fmla="*/ 361300 h 36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08571" h="361329">
                    <a:moveTo>
                      <a:pt x="239024" y="361300"/>
                    </a:moveTo>
                    <a:cubicBezTo>
                      <a:pt x="236228" y="361300"/>
                      <a:pt x="233914" y="359135"/>
                      <a:pt x="233764" y="356310"/>
                    </a:cubicBezTo>
                    <a:cubicBezTo>
                      <a:pt x="233643" y="353995"/>
                      <a:pt x="230788" y="299680"/>
                      <a:pt x="233854" y="284651"/>
                    </a:cubicBezTo>
                    <a:cubicBezTo>
                      <a:pt x="233914" y="284350"/>
                      <a:pt x="234004" y="284080"/>
                      <a:pt x="234094" y="283779"/>
                    </a:cubicBezTo>
                    <a:cubicBezTo>
                      <a:pt x="235988" y="278970"/>
                      <a:pt x="240527" y="271666"/>
                      <a:pt x="246779" y="261566"/>
                    </a:cubicBezTo>
                    <a:cubicBezTo>
                      <a:pt x="265024" y="232199"/>
                      <a:pt x="295594" y="183054"/>
                      <a:pt x="297638" y="135020"/>
                    </a:cubicBezTo>
                    <a:lnTo>
                      <a:pt x="297728" y="133367"/>
                    </a:lnTo>
                    <a:cubicBezTo>
                      <a:pt x="297818" y="131533"/>
                      <a:pt x="297848" y="130932"/>
                      <a:pt x="297938" y="124680"/>
                    </a:cubicBezTo>
                    <a:cubicBezTo>
                      <a:pt x="299531" y="21550"/>
                      <a:pt x="213835" y="13073"/>
                      <a:pt x="210198" y="12743"/>
                    </a:cubicBezTo>
                    <a:cubicBezTo>
                      <a:pt x="208905" y="12502"/>
                      <a:pt x="129010" y="329"/>
                      <a:pt x="81788" y="37210"/>
                    </a:cubicBezTo>
                    <a:cubicBezTo>
                      <a:pt x="60838" y="53532"/>
                      <a:pt x="49325" y="77308"/>
                      <a:pt x="47522" y="107878"/>
                    </a:cubicBezTo>
                    <a:cubicBezTo>
                      <a:pt x="47342" y="110523"/>
                      <a:pt x="46530" y="113949"/>
                      <a:pt x="45478" y="118278"/>
                    </a:cubicBezTo>
                    <a:cubicBezTo>
                      <a:pt x="43674" y="125762"/>
                      <a:pt x="40639" y="138267"/>
                      <a:pt x="43524" y="142835"/>
                    </a:cubicBezTo>
                    <a:cubicBezTo>
                      <a:pt x="48694" y="150981"/>
                      <a:pt x="40458" y="160389"/>
                      <a:pt x="30028" y="172263"/>
                    </a:cubicBezTo>
                    <a:cubicBezTo>
                      <a:pt x="22634" y="180679"/>
                      <a:pt x="14277" y="190237"/>
                      <a:pt x="11242" y="198894"/>
                    </a:cubicBezTo>
                    <a:cubicBezTo>
                      <a:pt x="10189" y="201900"/>
                      <a:pt x="10219" y="204245"/>
                      <a:pt x="11332" y="206078"/>
                    </a:cubicBezTo>
                    <a:cubicBezTo>
                      <a:pt x="12744" y="208423"/>
                      <a:pt x="15690" y="209595"/>
                      <a:pt x="16562" y="209745"/>
                    </a:cubicBezTo>
                    <a:cubicBezTo>
                      <a:pt x="18365" y="209775"/>
                      <a:pt x="20860" y="209715"/>
                      <a:pt x="23295" y="209655"/>
                    </a:cubicBezTo>
                    <a:cubicBezTo>
                      <a:pt x="28796" y="209505"/>
                      <a:pt x="33545" y="209355"/>
                      <a:pt x="36731" y="210407"/>
                    </a:cubicBezTo>
                    <a:cubicBezTo>
                      <a:pt x="37002" y="210497"/>
                      <a:pt x="37272" y="210617"/>
                      <a:pt x="37543" y="210737"/>
                    </a:cubicBezTo>
                    <a:cubicBezTo>
                      <a:pt x="41180" y="212661"/>
                      <a:pt x="41180" y="212661"/>
                      <a:pt x="40669" y="247949"/>
                    </a:cubicBezTo>
                    <a:cubicBezTo>
                      <a:pt x="40518" y="257929"/>
                      <a:pt x="40368" y="268840"/>
                      <a:pt x="40368" y="278699"/>
                    </a:cubicBezTo>
                    <a:cubicBezTo>
                      <a:pt x="40368" y="300732"/>
                      <a:pt x="60898" y="301544"/>
                      <a:pt x="63242" y="301544"/>
                    </a:cubicBezTo>
                    <a:lnTo>
                      <a:pt x="98381" y="301544"/>
                    </a:lnTo>
                    <a:cubicBezTo>
                      <a:pt x="101296" y="301544"/>
                      <a:pt x="103641" y="303918"/>
                      <a:pt x="103641" y="306804"/>
                    </a:cubicBezTo>
                    <a:lnTo>
                      <a:pt x="103641" y="356039"/>
                    </a:lnTo>
                    <a:cubicBezTo>
                      <a:pt x="103641" y="358955"/>
                      <a:pt x="101266" y="361300"/>
                      <a:pt x="98381" y="361300"/>
                    </a:cubicBezTo>
                    <a:cubicBezTo>
                      <a:pt x="95465" y="361300"/>
                      <a:pt x="93121" y="358925"/>
                      <a:pt x="93121" y="356039"/>
                    </a:cubicBezTo>
                    <a:lnTo>
                      <a:pt x="93121" y="312094"/>
                    </a:lnTo>
                    <a:lnTo>
                      <a:pt x="63242" y="312094"/>
                    </a:lnTo>
                    <a:cubicBezTo>
                      <a:pt x="51700" y="312094"/>
                      <a:pt x="29848" y="305120"/>
                      <a:pt x="29848" y="278699"/>
                    </a:cubicBezTo>
                    <a:cubicBezTo>
                      <a:pt x="29848" y="268780"/>
                      <a:pt x="29998" y="257809"/>
                      <a:pt x="30148" y="247799"/>
                    </a:cubicBezTo>
                    <a:cubicBezTo>
                      <a:pt x="30298" y="237339"/>
                      <a:pt x="30479" y="225766"/>
                      <a:pt x="30329" y="220115"/>
                    </a:cubicBezTo>
                    <a:cubicBezTo>
                      <a:pt x="28194" y="220085"/>
                      <a:pt x="25639" y="220145"/>
                      <a:pt x="23656" y="220206"/>
                    </a:cubicBezTo>
                    <a:cubicBezTo>
                      <a:pt x="21011" y="220296"/>
                      <a:pt x="18335" y="220356"/>
                      <a:pt x="16051" y="220296"/>
                    </a:cubicBezTo>
                    <a:cubicBezTo>
                      <a:pt x="13496" y="220206"/>
                      <a:pt x="6883" y="218192"/>
                      <a:pt x="2915" y="212420"/>
                    </a:cubicBezTo>
                    <a:cubicBezTo>
                      <a:pt x="661" y="209144"/>
                      <a:pt x="-1473" y="203523"/>
                      <a:pt x="1352" y="195438"/>
                    </a:cubicBezTo>
                    <a:cubicBezTo>
                      <a:pt x="5050" y="184827"/>
                      <a:pt x="14127" y="174487"/>
                      <a:pt x="22153" y="165319"/>
                    </a:cubicBezTo>
                    <a:cubicBezTo>
                      <a:pt x="27172" y="159578"/>
                      <a:pt x="34777" y="150951"/>
                      <a:pt x="34567" y="148156"/>
                    </a:cubicBezTo>
                    <a:cubicBezTo>
                      <a:pt x="29397" y="140130"/>
                      <a:pt x="32673" y="126634"/>
                      <a:pt x="35288" y="115783"/>
                    </a:cubicBezTo>
                    <a:cubicBezTo>
                      <a:pt x="36130" y="112266"/>
                      <a:pt x="36941" y="108960"/>
                      <a:pt x="37031" y="107246"/>
                    </a:cubicBezTo>
                    <a:cubicBezTo>
                      <a:pt x="39046" y="73551"/>
                      <a:pt x="51941" y="47160"/>
                      <a:pt x="75356" y="28884"/>
                    </a:cubicBezTo>
                    <a:cubicBezTo>
                      <a:pt x="126966" y="-11394"/>
                      <a:pt x="210859" y="2162"/>
                      <a:pt x="211671" y="2313"/>
                    </a:cubicBezTo>
                    <a:cubicBezTo>
                      <a:pt x="212152" y="2313"/>
                      <a:pt x="310292" y="12021"/>
                      <a:pt x="308549" y="124860"/>
                    </a:cubicBezTo>
                    <a:cubicBezTo>
                      <a:pt x="308459" y="131353"/>
                      <a:pt x="308429" y="131954"/>
                      <a:pt x="308338" y="133878"/>
                    </a:cubicBezTo>
                    <a:lnTo>
                      <a:pt x="308248" y="135501"/>
                    </a:lnTo>
                    <a:cubicBezTo>
                      <a:pt x="306084" y="186300"/>
                      <a:pt x="274613" y="236918"/>
                      <a:pt x="255796" y="267157"/>
                    </a:cubicBezTo>
                    <a:cubicBezTo>
                      <a:pt x="250236" y="276114"/>
                      <a:pt x="245817" y="283238"/>
                      <a:pt x="244134" y="287236"/>
                    </a:cubicBezTo>
                    <a:cubicBezTo>
                      <a:pt x="241940" y="299259"/>
                      <a:pt x="243502" y="340650"/>
                      <a:pt x="244314" y="355769"/>
                    </a:cubicBezTo>
                    <a:cubicBezTo>
                      <a:pt x="244464" y="358685"/>
                      <a:pt x="242240" y="361149"/>
                      <a:pt x="239324" y="361330"/>
                    </a:cubicBezTo>
                    <a:cubicBezTo>
                      <a:pt x="239204" y="361300"/>
                      <a:pt x="239114" y="361300"/>
                      <a:pt x="239024" y="361300"/>
                    </a:cubicBezTo>
                    <a:close/>
                  </a:path>
                </a:pathLst>
              </a:custGeom>
              <a:grpFill/>
              <a:ln w="3004" cap="flat">
                <a:noFill/>
                <a:prstDash val="solid"/>
                <a:miter/>
              </a:ln>
            </p:spPr>
            <p:txBody>
              <a:bodyPr rtlCol="0" anchor="ctr"/>
              <a:lstStyle/>
              <a:p>
                <a:endParaRPr lang="en-GB" dirty="0"/>
              </a:p>
            </p:txBody>
          </p:sp>
        </p:grpSp>
        <p:sp>
          <p:nvSpPr>
            <p:cNvPr id="515" name="Freihandform: Form 514">
              <a:extLst>
                <a:ext uri="{FF2B5EF4-FFF2-40B4-BE49-F238E27FC236}">
                  <a16:creationId xmlns:a16="http://schemas.microsoft.com/office/drawing/2014/main" id="{D8B24F89-D2D1-415A-9470-ADD1234D66F3}"/>
                </a:ext>
              </a:extLst>
            </p:cNvPr>
            <p:cNvSpPr/>
            <p:nvPr/>
          </p:nvSpPr>
          <p:spPr>
            <a:xfrm>
              <a:off x="7096432" y="4230992"/>
              <a:ext cx="516322" cy="157205"/>
            </a:xfrm>
            <a:custGeom>
              <a:avLst/>
              <a:gdLst>
                <a:gd name="connsiteX0" fmla="*/ 284046 w 531262"/>
                <a:gd name="connsiteY0" fmla="*/ 161725 h 161754"/>
                <a:gd name="connsiteX1" fmla="*/ 279087 w 531262"/>
                <a:gd name="connsiteY1" fmla="*/ 158208 h 161754"/>
                <a:gd name="connsiteX2" fmla="*/ 258617 w 531262"/>
                <a:gd name="connsiteY2" fmla="*/ 100766 h 161754"/>
                <a:gd name="connsiteX3" fmla="*/ 245992 w 531262"/>
                <a:gd name="connsiteY3" fmla="*/ 125985 h 161754"/>
                <a:gd name="connsiteX4" fmla="*/ 240612 w 531262"/>
                <a:gd name="connsiteY4" fmla="*/ 128871 h 161754"/>
                <a:gd name="connsiteX5" fmla="*/ 236133 w 531262"/>
                <a:gd name="connsiteY5" fmla="*/ 124753 h 161754"/>
                <a:gd name="connsiteX6" fmla="*/ 219331 w 531262"/>
                <a:gd name="connsiteY6" fmla="*/ 46361 h 161754"/>
                <a:gd name="connsiteX7" fmla="*/ 204151 w 531262"/>
                <a:gd name="connsiteY7" fmla="*/ 97009 h 161754"/>
                <a:gd name="connsiteX8" fmla="*/ 199101 w 531262"/>
                <a:gd name="connsiteY8" fmla="*/ 100766 h 161754"/>
                <a:gd name="connsiteX9" fmla="*/ 51394 w 531262"/>
                <a:gd name="connsiteY9" fmla="*/ 100766 h 161754"/>
                <a:gd name="connsiteX10" fmla="*/ 42467 w 531262"/>
                <a:gd name="connsiteY10" fmla="*/ 99594 h 161754"/>
                <a:gd name="connsiteX11" fmla="*/ 1347 w 531262"/>
                <a:gd name="connsiteY11" fmla="*/ 34638 h 161754"/>
                <a:gd name="connsiteX12" fmla="*/ 21006 w 531262"/>
                <a:gd name="connsiteY12" fmla="*/ 6864 h 161754"/>
                <a:gd name="connsiteX13" fmla="*/ 54551 w 531262"/>
                <a:gd name="connsiteY13" fmla="*/ 1123 h 161754"/>
                <a:gd name="connsiteX14" fmla="*/ 77425 w 531262"/>
                <a:gd name="connsiteY14" fmla="*/ 17324 h 161754"/>
                <a:gd name="connsiteX15" fmla="*/ 82144 w 531262"/>
                <a:gd name="connsiteY15" fmla="*/ 44948 h 161754"/>
                <a:gd name="connsiteX16" fmla="*/ 68738 w 531262"/>
                <a:gd name="connsiteY16" fmla="*/ 63915 h 161754"/>
                <a:gd name="connsiteX17" fmla="*/ 45834 w 531262"/>
                <a:gd name="connsiteY17" fmla="*/ 67822 h 161754"/>
                <a:gd name="connsiteX18" fmla="*/ 29993 w 531262"/>
                <a:gd name="connsiteY18" fmla="*/ 56611 h 161754"/>
                <a:gd name="connsiteX19" fmla="*/ 26717 w 531262"/>
                <a:gd name="connsiteY19" fmla="*/ 37494 h 161754"/>
                <a:gd name="connsiteX20" fmla="*/ 33029 w 531262"/>
                <a:gd name="connsiteY20" fmla="*/ 33526 h 161754"/>
                <a:gd name="connsiteX21" fmla="*/ 36997 w 531262"/>
                <a:gd name="connsiteY21" fmla="*/ 39838 h 161754"/>
                <a:gd name="connsiteX22" fmla="*/ 38920 w 531262"/>
                <a:gd name="connsiteY22" fmla="*/ 50990 h 161754"/>
                <a:gd name="connsiteX23" fmla="*/ 48178 w 531262"/>
                <a:gd name="connsiteY23" fmla="*/ 57542 h 161754"/>
                <a:gd name="connsiteX24" fmla="*/ 63117 w 531262"/>
                <a:gd name="connsiteY24" fmla="*/ 54988 h 161754"/>
                <a:gd name="connsiteX25" fmla="*/ 71864 w 531262"/>
                <a:gd name="connsiteY25" fmla="*/ 42603 h 161754"/>
                <a:gd name="connsiteX26" fmla="*/ 68498 w 531262"/>
                <a:gd name="connsiteY26" fmla="*/ 22915 h 161754"/>
                <a:gd name="connsiteX27" fmla="*/ 52206 w 531262"/>
                <a:gd name="connsiteY27" fmla="*/ 11403 h 161754"/>
                <a:gd name="connsiteX28" fmla="*/ 11627 w 531262"/>
                <a:gd name="connsiteY28" fmla="*/ 36982 h 161754"/>
                <a:gd name="connsiteX29" fmla="*/ 44601 w 531262"/>
                <a:gd name="connsiteY29" fmla="*/ 89284 h 161754"/>
                <a:gd name="connsiteX30" fmla="*/ 51394 w 531262"/>
                <a:gd name="connsiteY30" fmla="*/ 90246 h 161754"/>
                <a:gd name="connsiteX31" fmla="*/ 195164 w 531262"/>
                <a:gd name="connsiteY31" fmla="*/ 90246 h 161754"/>
                <a:gd name="connsiteX32" fmla="*/ 215122 w 531262"/>
                <a:gd name="connsiteY32" fmla="*/ 23667 h 161754"/>
                <a:gd name="connsiteX33" fmla="*/ 220383 w 531262"/>
                <a:gd name="connsiteY33" fmla="*/ 19909 h 161754"/>
                <a:gd name="connsiteX34" fmla="*/ 225342 w 531262"/>
                <a:gd name="connsiteY34" fmla="*/ 24057 h 161754"/>
                <a:gd name="connsiteX35" fmla="*/ 243287 w 531262"/>
                <a:gd name="connsiteY35" fmla="*/ 107830 h 161754"/>
                <a:gd name="connsiteX36" fmla="*/ 250621 w 531262"/>
                <a:gd name="connsiteY36" fmla="*/ 93161 h 161754"/>
                <a:gd name="connsiteX37" fmla="*/ 255341 w 531262"/>
                <a:gd name="connsiteY37" fmla="*/ 90246 h 161754"/>
                <a:gd name="connsiteX38" fmla="*/ 262374 w 531262"/>
                <a:gd name="connsiteY38" fmla="*/ 90246 h 161754"/>
                <a:gd name="connsiteX39" fmla="*/ 267334 w 531262"/>
                <a:gd name="connsiteY39" fmla="*/ 93763 h 161754"/>
                <a:gd name="connsiteX40" fmla="*/ 283896 w 531262"/>
                <a:gd name="connsiteY40" fmla="*/ 140353 h 161754"/>
                <a:gd name="connsiteX41" fmla="*/ 299556 w 531262"/>
                <a:gd name="connsiteY41" fmla="*/ 93853 h 161754"/>
                <a:gd name="connsiteX42" fmla="*/ 304546 w 531262"/>
                <a:gd name="connsiteY42" fmla="*/ 90246 h 161754"/>
                <a:gd name="connsiteX43" fmla="*/ 479907 w 531262"/>
                <a:gd name="connsiteY43" fmla="*/ 90246 h 161754"/>
                <a:gd name="connsiteX44" fmla="*/ 486850 w 531262"/>
                <a:gd name="connsiteY44" fmla="*/ 89254 h 161754"/>
                <a:gd name="connsiteX45" fmla="*/ 513993 w 531262"/>
                <a:gd name="connsiteY45" fmla="*/ 69987 h 161754"/>
                <a:gd name="connsiteX46" fmla="*/ 519644 w 531262"/>
                <a:gd name="connsiteY46" fmla="*/ 37012 h 161754"/>
                <a:gd name="connsiteX47" fmla="*/ 479065 w 531262"/>
                <a:gd name="connsiteY47" fmla="*/ 11433 h 161754"/>
                <a:gd name="connsiteX48" fmla="*/ 462773 w 531262"/>
                <a:gd name="connsiteY48" fmla="*/ 22975 h 161754"/>
                <a:gd name="connsiteX49" fmla="*/ 459407 w 531262"/>
                <a:gd name="connsiteY49" fmla="*/ 42633 h 161754"/>
                <a:gd name="connsiteX50" fmla="*/ 468154 w 531262"/>
                <a:gd name="connsiteY50" fmla="*/ 55017 h 161754"/>
                <a:gd name="connsiteX51" fmla="*/ 483093 w 531262"/>
                <a:gd name="connsiteY51" fmla="*/ 57572 h 161754"/>
                <a:gd name="connsiteX52" fmla="*/ 494244 w 531262"/>
                <a:gd name="connsiteY52" fmla="*/ 39868 h 161754"/>
                <a:gd name="connsiteX53" fmla="*/ 498212 w 531262"/>
                <a:gd name="connsiteY53" fmla="*/ 33556 h 161754"/>
                <a:gd name="connsiteX54" fmla="*/ 504524 w 531262"/>
                <a:gd name="connsiteY54" fmla="*/ 37524 h 161754"/>
                <a:gd name="connsiteX55" fmla="*/ 485407 w 531262"/>
                <a:gd name="connsiteY55" fmla="*/ 67852 h 161754"/>
                <a:gd name="connsiteX56" fmla="*/ 462503 w 531262"/>
                <a:gd name="connsiteY56" fmla="*/ 63945 h 161754"/>
                <a:gd name="connsiteX57" fmla="*/ 449097 w 531262"/>
                <a:gd name="connsiteY57" fmla="*/ 44978 h 161754"/>
                <a:gd name="connsiteX58" fmla="*/ 453816 w 531262"/>
                <a:gd name="connsiteY58" fmla="*/ 17354 h 161754"/>
                <a:gd name="connsiteX59" fmla="*/ 476690 w 531262"/>
                <a:gd name="connsiteY59" fmla="*/ 1153 h 161754"/>
                <a:gd name="connsiteX60" fmla="*/ 510236 w 531262"/>
                <a:gd name="connsiteY60" fmla="*/ 6894 h 161754"/>
                <a:gd name="connsiteX61" fmla="*/ 529894 w 531262"/>
                <a:gd name="connsiteY61" fmla="*/ 34668 h 161754"/>
                <a:gd name="connsiteX62" fmla="*/ 522890 w 531262"/>
                <a:gd name="connsiteY62" fmla="*/ 75608 h 161754"/>
                <a:gd name="connsiteX63" fmla="*/ 488984 w 531262"/>
                <a:gd name="connsiteY63" fmla="*/ 99594 h 161754"/>
                <a:gd name="connsiteX64" fmla="*/ 479876 w 531262"/>
                <a:gd name="connsiteY64" fmla="*/ 100796 h 161754"/>
                <a:gd name="connsiteX65" fmla="*/ 308303 w 531262"/>
                <a:gd name="connsiteY65" fmla="*/ 100796 h 161754"/>
                <a:gd name="connsiteX66" fmla="*/ 289006 w 531262"/>
                <a:gd name="connsiteY66" fmla="*/ 158148 h 161754"/>
                <a:gd name="connsiteX67" fmla="*/ 284046 w 531262"/>
                <a:gd name="connsiteY67" fmla="*/ 161755 h 161754"/>
                <a:gd name="connsiteX68" fmla="*/ 284046 w 531262"/>
                <a:gd name="connsiteY68" fmla="*/ 161725 h 161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31262" h="161754">
                  <a:moveTo>
                    <a:pt x="284046" y="161725"/>
                  </a:moveTo>
                  <a:cubicBezTo>
                    <a:pt x="281822" y="161725"/>
                    <a:pt x="279808" y="160312"/>
                    <a:pt x="279087" y="158208"/>
                  </a:cubicBezTo>
                  <a:lnTo>
                    <a:pt x="258617" y="100766"/>
                  </a:lnTo>
                  <a:lnTo>
                    <a:pt x="245992" y="125985"/>
                  </a:lnTo>
                  <a:cubicBezTo>
                    <a:pt x="245001" y="127999"/>
                    <a:pt x="242896" y="129141"/>
                    <a:pt x="240612" y="128871"/>
                  </a:cubicBezTo>
                  <a:cubicBezTo>
                    <a:pt x="238388" y="128600"/>
                    <a:pt x="236584" y="126947"/>
                    <a:pt x="236133" y="124753"/>
                  </a:cubicBezTo>
                  <a:lnTo>
                    <a:pt x="219331" y="46361"/>
                  </a:lnTo>
                  <a:lnTo>
                    <a:pt x="204151" y="97009"/>
                  </a:lnTo>
                  <a:cubicBezTo>
                    <a:pt x="203490" y="99233"/>
                    <a:pt x="201416" y="100766"/>
                    <a:pt x="199101" y="100766"/>
                  </a:cubicBezTo>
                  <a:lnTo>
                    <a:pt x="51394" y="100766"/>
                  </a:lnTo>
                  <a:cubicBezTo>
                    <a:pt x="48840" y="100766"/>
                    <a:pt x="43519" y="99774"/>
                    <a:pt x="42467" y="99594"/>
                  </a:cubicBezTo>
                  <a:cubicBezTo>
                    <a:pt x="13100" y="92951"/>
                    <a:pt x="-5265" y="63825"/>
                    <a:pt x="1347" y="34638"/>
                  </a:cubicBezTo>
                  <a:cubicBezTo>
                    <a:pt x="3992" y="23066"/>
                    <a:pt x="10966" y="13176"/>
                    <a:pt x="21006" y="6864"/>
                  </a:cubicBezTo>
                  <a:cubicBezTo>
                    <a:pt x="31045" y="552"/>
                    <a:pt x="42948" y="-1522"/>
                    <a:pt x="54551" y="1123"/>
                  </a:cubicBezTo>
                  <a:cubicBezTo>
                    <a:pt x="64079" y="3287"/>
                    <a:pt x="72225" y="9028"/>
                    <a:pt x="77425" y="17324"/>
                  </a:cubicBezTo>
                  <a:cubicBezTo>
                    <a:pt x="82625" y="25620"/>
                    <a:pt x="84308" y="35419"/>
                    <a:pt x="82144" y="44948"/>
                  </a:cubicBezTo>
                  <a:cubicBezTo>
                    <a:pt x="80371" y="52853"/>
                    <a:pt x="75591" y="59586"/>
                    <a:pt x="68738" y="63915"/>
                  </a:cubicBezTo>
                  <a:cubicBezTo>
                    <a:pt x="61855" y="68243"/>
                    <a:pt x="53739" y="69626"/>
                    <a:pt x="45834" y="67822"/>
                  </a:cubicBezTo>
                  <a:cubicBezTo>
                    <a:pt x="39221" y="66319"/>
                    <a:pt x="33600" y="62352"/>
                    <a:pt x="29993" y="56611"/>
                  </a:cubicBezTo>
                  <a:cubicBezTo>
                    <a:pt x="26386" y="50870"/>
                    <a:pt x="25214" y="44076"/>
                    <a:pt x="26717" y="37494"/>
                  </a:cubicBezTo>
                  <a:cubicBezTo>
                    <a:pt x="27378" y="34638"/>
                    <a:pt x="30233" y="32864"/>
                    <a:pt x="33029" y="33526"/>
                  </a:cubicBezTo>
                  <a:cubicBezTo>
                    <a:pt x="35884" y="34157"/>
                    <a:pt x="37658" y="36982"/>
                    <a:pt x="36997" y="39838"/>
                  </a:cubicBezTo>
                  <a:cubicBezTo>
                    <a:pt x="36125" y="43686"/>
                    <a:pt x="36786" y="47653"/>
                    <a:pt x="38920" y="50990"/>
                  </a:cubicBezTo>
                  <a:cubicBezTo>
                    <a:pt x="41024" y="54326"/>
                    <a:pt x="44301" y="56671"/>
                    <a:pt x="48178" y="57542"/>
                  </a:cubicBezTo>
                  <a:cubicBezTo>
                    <a:pt x="53348" y="58715"/>
                    <a:pt x="58639" y="57783"/>
                    <a:pt x="63117" y="54988"/>
                  </a:cubicBezTo>
                  <a:cubicBezTo>
                    <a:pt x="67596" y="52162"/>
                    <a:pt x="70692" y="47773"/>
                    <a:pt x="71864" y="42603"/>
                  </a:cubicBezTo>
                  <a:cubicBezTo>
                    <a:pt x="73397" y="35810"/>
                    <a:pt x="72225" y="28807"/>
                    <a:pt x="68498" y="22915"/>
                  </a:cubicBezTo>
                  <a:cubicBezTo>
                    <a:pt x="64770" y="17024"/>
                    <a:pt x="58999" y="12936"/>
                    <a:pt x="52206" y="11403"/>
                  </a:cubicBezTo>
                  <a:cubicBezTo>
                    <a:pt x="33991" y="7285"/>
                    <a:pt x="15775" y="18737"/>
                    <a:pt x="11627" y="36982"/>
                  </a:cubicBezTo>
                  <a:cubicBezTo>
                    <a:pt x="6307" y="60488"/>
                    <a:pt x="21096" y="83964"/>
                    <a:pt x="44601" y="89284"/>
                  </a:cubicBezTo>
                  <a:cubicBezTo>
                    <a:pt x="46946" y="89735"/>
                    <a:pt x="50343" y="90246"/>
                    <a:pt x="51394" y="90246"/>
                  </a:cubicBezTo>
                  <a:lnTo>
                    <a:pt x="195164" y="90246"/>
                  </a:lnTo>
                  <a:lnTo>
                    <a:pt x="215122" y="23667"/>
                  </a:lnTo>
                  <a:cubicBezTo>
                    <a:pt x="215814" y="21352"/>
                    <a:pt x="217738" y="19669"/>
                    <a:pt x="220383" y="19909"/>
                  </a:cubicBezTo>
                  <a:cubicBezTo>
                    <a:pt x="222787" y="20000"/>
                    <a:pt x="224831" y="21713"/>
                    <a:pt x="225342" y="24057"/>
                  </a:cubicBezTo>
                  <a:lnTo>
                    <a:pt x="243287" y="107830"/>
                  </a:lnTo>
                  <a:lnTo>
                    <a:pt x="250621" y="93161"/>
                  </a:lnTo>
                  <a:cubicBezTo>
                    <a:pt x="251523" y="91358"/>
                    <a:pt x="253327" y="90246"/>
                    <a:pt x="255341" y="90246"/>
                  </a:cubicBezTo>
                  <a:lnTo>
                    <a:pt x="262374" y="90246"/>
                  </a:lnTo>
                  <a:cubicBezTo>
                    <a:pt x="264598" y="90246"/>
                    <a:pt x="266612" y="91659"/>
                    <a:pt x="267334" y="93763"/>
                  </a:cubicBezTo>
                  <a:lnTo>
                    <a:pt x="283896" y="140353"/>
                  </a:lnTo>
                  <a:lnTo>
                    <a:pt x="299556" y="93853"/>
                  </a:lnTo>
                  <a:cubicBezTo>
                    <a:pt x="300278" y="91689"/>
                    <a:pt x="302292" y="90246"/>
                    <a:pt x="304546" y="90246"/>
                  </a:cubicBezTo>
                  <a:lnTo>
                    <a:pt x="479907" y="90246"/>
                  </a:lnTo>
                  <a:cubicBezTo>
                    <a:pt x="480929" y="90246"/>
                    <a:pt x="484325" y="89735"/>
                    <a:pt x="486850" y="89254"/>
                  </a:cubicBezTo>
                  <a:cubicBezTo>
                    <a:pt x="498062" y="86699"/>
                    <a:pt x="507771" y="79846"/>
                    <a:pt x="513993" y="69987"/>
                  </a:cubicBezTo>
                  <a:cubicBezTo>
                    <a:pt x="520215" y="60097"/>
                    <a:pt x="522229" y="48405"/>
                    <a:pt x="519644" y="37012"/>
                  </a:cubicBezTo>
                  <a:cubicBezTo>
                    <a:pt x="515496" y="18767"/>
                    <a:pt x="497310" y="7315"/>
                    <a:pt x="479065" y="11433"/>
                  </a:cubicBezTo>
                  <a:cubicBezTo>
                    <a:pt x="472272" y="12966"/>
                    <a:pt x="466471" y="17054"/>
                    <a:pt x="462773" y="22975"/>
                  </a:cubicBezTo>
                  <a:cubicBezTo>
                    <a:pt x="459076" y="28867"/>
                    <a:pt x="457874" y="35840"/>
                    <a:pt x="459407" y="42633"/>
                  </a:cubicBezTo>
                  <a:cubicBezTo>
                    <a:pt x="460579" y="47804"/>
                    <a:pt x="463675" y="52192"/>
                    <a:pt x="468154" y="55017"/>
                  </a:cubicBezTo>
                  <a:cubicBezTo>
                    <a:pt x="472632" y="57843"/>
                    <a:pt x="477953" y="58775"/>
                    <a:pt x="483093" y="57572"/>
                  </a:cubicBezTo>
                  <a:cubicBezTo>
                    <a:pt x="491058" y="55769"/>
                    <a:pt x="496048" y="47834"/>
                    <a:pt x="494244" y="39868"/>
                  </a:cubicBezTo>
                  <a:cubicBezTo>
                    <a:pt x="493613" y="37012"/>
                    <a:pt x="495387" y="34187"/>
                    <a:pt x="498212" y="33556"/>
                  </a:cubicBezTo>
                  <a:cubicBezTo>
                    <a:pt x="501068" y="32925"/>
                    <a:pt x="503893" y="34698"/>
                    <a:pt x="504524" y="37524"/>
                  </a:cubicBezTo>
                  <a:cubicBezTo>
                    <a:pt x="507620" y="51140"/>
                    <a:pt x="499024" y="64756"/>
                    <a:pt x="485407" y="67852"/>
                  </a:cubicBezTo>
                  <a:cubicBezTo>
                    <a:pt x="477502" y="69656"/>
                    <a:pt x="469356" y="68243"/>
                    <a:pt x="462503" y="63945"/>
                  </a:cubicBezTo>
                  <a:cubicBezTo>
                    <a:pt x="455649" y="59616"/>
                    <a:pt x="450870" y="52883"/>
                    <a:pt x="449097" y="44978"/>
                  </a:cubicBezTo>
                  <a:cubicBezTo>
                    <a:pt x="446933" y="35450"/>
                    <a:pt x="448616" y="25651"/>
                    <a:pt x="453816" y="17354"/>
                  </a:cubicBezTo>
                  <a:cubicBezTo>
                    <a:pt x="459016" y="9058"/>
                    <a:pt x="467162" y="3317"/>
                    <a:pt x="476690" y="1153"/>
                  </a:cubicBezTo>
                  <a:cubicBezTo>
                    <a:pt x="488293" y="-1492"/>
                    <a:pt x="500196" y="552"/>
                    <a:pt x="510236" y="6894"/>
                  </a:cubicBezTo>
                  <a:cubicBezTo>
                    <a:pt x="520275" y="13236"/>
                    <a:pt x="527279" y="23095"/>
                    <a:pt x="529894" y="34668"/>
                  </a:cubicBezTo>
                  <a:cubicBezTo>
                    <a:pt x="533110" y="48795"/>
                    <a:pt x="530615" y="63344"/>
                    <a:pt x="522890" y="75608"/>
                  </a:cubicBezTo>
                  <a:cubicBezTo>
                    <a:pt x="515165" y="87871"/>
                    <a:pt x="503112" y="96378"/>
                    <a:pt x="488984" y="99594"/>
                  </a:cubicBezTo>
                  <a:cubicBezTo>
                    <a:pt x="487752" y="99835"/>
                    <a:pt x="482432" y="100796"/>
                    <a:pt x="479876" y="100796"/>
                  </a:cubicBezTo>
                  <a:lnTo>
                    <a:pt x="308303" y="100796"/>
                  </a:lnTo>
                  <a:lnTo>
                    <a:pt x="289006" y="158148"/>
                  </a:lnTo>
                  <a:cubicBezTo>
                    <a:pt x="288284" y="160282"/>
                    <a:pt x="286301" y="161725"/>
                    <a:pt x="284046" y="161755"/>
                  </a:cubicBezTo>
                  <a:cubicBezTo>
                    <a:pt x="284076" y="161725"/>
                    <a:pt x="284076" y="161725"/>
                    <a:pt x="284046" y="161725"/>
                  </a:cubicBezTo>
                  <a:close/>
                </a:path>
              </a:pathLst>
            </a:custGeom>
            <a:solidFill>
              <a:schemeClr val="accent1"/>
            </a:solidFill>
            <a:ln w="3004" cap="flat">
              <a:noFill/>
              <a:prstDash val="solid"/>
              <a:miter/>
            </a:ln>
          </p:spPr>
          <p:txBody>
            <a:bodyPr rtlCol="0" anchor="ctr"/>
            <a:lstStyle/>
            <a:p>
              <a:endParaRPr lang="en-GB" dirty="0"/>
            </a:p>
          </p:txBody>
        </p:sp>
      </p:grpSp>
      <p:grpSp>
        <p:nvGrpSpPr>
          <p:cNvPr id="29" name="Group 28">
            <a:extLst>
              <a:ext uri="{FF2B5EF4-FFF2-40B4-BE49-F238E27FC236}">
                <a16:creationId xmlns:a16="http://schemas.microsoft.com/office/drawing/2014/main" id="{9122872A-0F6B-D35F-0F29-BC9D02E2C6E6}"/>
              </a:ext>
            </a:extLst>
          </p:cNvPr>
          <p:cNvGrpSpPr/>
          <p:nvPr/>
        </p:nvGrpSpPr>
        <p:grpSpPr>
          <a:xfrm>
            <a:off x="6947208" y="2488624"/>
            <a:ext cx="720000" cy="392718"/>
            <a:chOff x="6994595" y="2488624"/>
            <a:chExt cx="720000" cy="392718"/>
          </a:xfrm>
        </p:grpSpPr>
        <p:grpSp>
          <p:nvGrpSpPr>
            <p:cNvPr id="519" name="Group 998">
              <a:extLst>
                <a:ext uri="{FF2B5EF4-FFF2-40B4-BE49-F238E27FC236}">
                  <a16:creationId xmlns:a16="http://schemas.microsoft.com/office/drawing/2014/main" id="{4FA26BE1-DA32-4FF5-9CFF-D8A527A13455}"/>
                </a:ext>
              </a:extLst>
            </p:cNvPr>
            <p:cNvGrpSpPr/>
            <p:nvPr/>
          </p:nvGrpSpPr>
          <p:grpSpPr>
            <a:xfrm>
              <a:off x="6994595" y="2488624"/>
              <a:ext cx="720000" cy="319833"/>
              <a:chOff x="2436496" y="2586662"/>
              <a:chExt cx="652935" cy="290042"/>
            </a:xfrm>
          </p:grpSpPr>
          <p:grpSp>
            <p:nvGrpSpPr>
              <p:cNvPr id="528" name="Grafik 19">
                <a:extLst>
                  <a:ext uri="{FF2B5EF4-FFF2-40B4-BE49-F238E27FC236}">
                    <a16:creationId xmlns:a16="http://schemas.microsoft.com/office/drawing/2014/main" id="{274636A8-6E72-4027-9CAF-DA36E41A6053}"/>
                  </a:ext>
                </a:extLst>
              </p:cNvPr>
              <p:cNvGrpSpPr/>
              <p:nvPr/>
            </p:nvGrpSpPr>
            <p:grpSpPr>
              <a:xfrm>
                <a:off x="2922638" y="2586662"/>
                <a:ext cx="166793" cy="170410"/>
                <a:chOff x="2922638" y="2586662"/>
                <a:chExt cx="166793" cy="170410"/>
              </a:xfrm>
              <a:solidFill>
                <a:schemeClr val="accent1"/>
              </a:solidFill>
            </p:grpSpPr>
            <p:sp>
              <p:nvSpPr>
                <p:cNvPr id="530" name="Freihandform: Form 529">
                  <a:extLst>
                    <a:ext uri="{FF2B5EF4-FFF2-40B4-BE49-F238E27FC236}">
                      <a16:creationId xmlns:a16="http://schemas.microsoft.com/office/drawing/2014/main" id="{5D041559-BB58-4909-83D2-D85E6643CCA1}"/>
                    </a:ext>
                  </a:extLst>
                </p:cNvPr>
                <p:cNvSpPr/>
                <p:nvPr/>
              </p:nvSpPr>
              <p:spPr>
                <a:xfrm>
                  <a:off x="2922638" y="2586662"/>
                  <a:ext cx="166793" cy="170410"/>
                </a:xfrm>
                <a:custGeom>
                  <a:avLst/>
                  <a:gdLst>
                    <a:gd name="connsiteX0" fmla="*/ 161534 w 166793"/>
                    <a:gd name="connsiteY0" fmla="*/ 170410 h 170410"/>
                    <a:gd name="connsiteX1" fmla="*/ 106316 w 166793"/>
                    <a:gd name="connsiteY1" fmla="*/ 170410 h 170410"/>
                    <a:gd name="connsiteX2" fmla="*/ 101056 w 166793"/>
                    <a:gd name="connsiteY2" fmla="*/ 165210 h 170410"/>
                    <a:gd name="connsiteX3" fmla="*/ 5020 w 166793"/>
                    <a:gd name="connsiteY3" fmla="*/ 65837 h 170410"/>
                    <a:gd name="connsiteX4" fmla="*/ 0 w 166793"/>
                    <a:gd name="connsiteY4" fmla="*/ 60577 h 170410"/>
                    <a:gd name="connsiteX5" fmla="*/ 0 w 166793"/>
                    <a:gd name="connsiteY5" fmla="*/ 5270 h 170410"/>
                    <a:gd name="connsiteX6" fmla="*/ 1593 w 166793"/>
                    <a:gd name="connsiteY6" fmla="*/ 1482 h 170410"/>
                    <a:gd name="connsiteX7" fmla="*/ 5441 w 166793"/>
                    <a:gd name="connsiteY7" fmla="*/ 9 h 170410"/>
                    <a:gd name="connsiteX8" fmla="*/ 166794 w 166793"/>
                    <a:gd name="connsiteY8" fmla="*/ 165060 h 170410"/>
                    <a:gd name="connsiteX9" fmla="*/ 165261 w 166793"/>
                    <a:gd name="connsiteY9" fmla="*/ 168817 h 170410"/>
                    <a:gd name="connsiteX10" fmla="*/ 161534 w 166793"/>
                    <a:gd name="connsiteY10" fmla="*/ 170410 h 170410"/>
                    <a:gd name="connsiteX11" fmla="*/ 111366 w 166793"/>
                    <a:gd name="connsiteY11" fmla="*/ 159890 h 170410"/>
                    <a:gd name="connsiteX12" fmla="*/ 156093 w 166793"/>
                    <a:gd name="connsiteY12" fmla="*/ 159890 h 170410"/>
                    <a:gd name="connsiteX13" fmla="*/ 10520 w 166793"/>
                    <a:gd name="connsiteY13" fmla="*/ 10860 h 170410"/>
                    <a:gd name="connsiteX14" fmla="*/ 10520 w 166793"/>
                    <a:gd name="connsiteY14" fmla="*/ 55707 h 170410"/>
                    <a:gd name="connsiteX15" fmla="*/ 111366 w 166793"/>
                    <a:gd name="connsiteY15" fmla="*/ 159890 h 17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6793" h="170410">
                      <a:moveTo>
                        <a:pt x="161534" y="170410"/>
                      </a:moveTo>
                      <a:lnTo>
                        <a:pt x="106316" y="170410"/>
                      </a:lnTo>
                      <a:cubicBezTo>
                        <a:pt x="103431" y="170410"/>
                        <a:pt x="101086" y="168096"/>
                        <a:pt x="101056" y="165210"/>
                      </a:cubicBezTo>
                      <a:cubicBezTo>
                        <a:pt x="100154" y="112217"/>
                        <a:pt x="57983" y="68572"/>
                        <a:pt x="5020" y="65837"/>
                      </a:cubicBezTo>
                      <a:cubicBezTo>
                        <a:pt x="2224" y="65687"/>
                        <a:pt x="0" y="63372"/>
                        <a:pt x="0" y="60577"/>
                      </a:cubicBezTo>
                      <a:lnTo>
                        <a:pt x="0" y="5270"/>
                      </a:lnTo>
                      <a:cubicBezTo>
                        <a:pt x="0" y="3827"/>
                        <a:pt x="571" y="2474"/>
                        <a:pt x="1593" y="1482"/>
                      </a:cubicBezTo>
                      <a:cubicBezTo>
                        <a:pt x="2645" y="490"/>
                        <a:pt x="4028" y="-81"/>
                        <a:pt x="5441" y="9"/>
                      </a:cubicBezTo>
                      <a:cubicBezTo>
                        <a:pt x="94924" y="3015"/>
                        <a:pt x="165772" y="75516"/>
                        <a:pt x="166794" y="165060"/>
                      </a:cubicBezTo>
                      <a:cubicBezTo>
                        <a:pt x="166794" y="166473"/>
                        <a:pt x="166253" y="167825"/>
                        <a:pt x="165261" y="168817"/>
                      </a:cubicBezTo>
                      <a:cubicBezTo>
                        <a:pt x="164269" y="169809"/>
                        <a:pt x="162916" y="170410"/>
                        <a:pt x="161534" y="170410"/>
                      </a:cubicBezTo>
                      <a:close/>
                      <a:moveTo>
                        <a:pt x="111366" y="159890"/>
                      </a:moveTo>
                      <a:lnTo>
                        <a:pt x="156093" y="159890"/>
                      </a:lnTo>
                      <a:cubicBezTo>
                        <a:pt x="152546" y="80295"/>
                        <a:pt x="89995" y="16241"/>
                        <a:pt x="10520" y="10860"/>
                      </a:cubicBezTo>
                      <a:lnTo>
                        <a:pt x="10520" y="55707"/>
                      </a:lnTo>
                      <a:cubicBezTo>
                        <a:pt x="64926" y="60938"/>
                        <a:pt x="107909" y="105364"/>
                        <a:pt x="111366" y="159890"/>
                      </a:cubicBezTo>
                      <a:close/>
                    </a:path>
                  </a:pathLst>
                </a:custGeom>
                <a:solidFill>
                  <a:schemeClr val="accent1"/>
                </a:solidFill>
                <a:ln w="3004" cap="flat">
                  <a:noFill/>
                  <a:prstDash val="solid"/>
                  <a:miter/>
                </a:ln>
              </p:spPr>
              <p:txBody>
                <a:bodyPr rtlCol="0" anchor="ctr"/>
                <a:lstStyle/>
                <a:p>
                  <a:endParaRPr lang="en-GB" dirty="0"/>
                </a:p>
              </p:txBody>
            </p:sp>
            <p:grpSp>
              <p:nvGrpSpPr>
                <p:cNvPr id="531" name="Grafik 19">
                  <a:extLst>
                    <a:ext uri="{FF2B5EF4-FFF2-40B4-BE49-F238E27FC236}">
                      <a16:creationId xmlns:a16="http://schemas.microsoft.com/office/drawing/2014/main" id="{70C95DA4-7D23-43D3-8902-9F3AA41109BF}"/>
                    </a:ext>
                  </a:extLst>
                </p:cNvPr>
                <p:cNvGrpSpPr/>
                <p:nvPr/>
              </p:nvGrpSpPr>
              <p:grpSpPr>
                <a:xfrm>
                  <a:off x="2930881" y="2598082"/>
                  <a:ext cx="148492" cy="149010"/>
                  <a:chOff x="2930881" y="2598082"/>
                  <a:chExt cx="148492" cy="149010"/>
                </a:xfrm>
                <a:solidFill>
                  <a:schemeClr val="accent1"/>
                </a:solidFill>
              </p:grpSpPr>
              <p:sp>
                <p:nvSpPr>
                  <p:cNvPr id="532" name="Freihandform: Form 531">
                    <a:extLst>
                      <a:ext uri="{FF2B5EF4-FFF2-40B4-BE49-F238E27FC236}">
                        <a16:creationId xmlns:a16="http://schemas.microsoft.com/office/drawing/2014/main" id="{8173EBCB-E7FF-4BA8-A7B2-76BCC2C4DCEE}"/>
                      </a:ext>
                    </a:extLst>
                  </p:cNvPr>
                  <p:cNvSpPr/>
                  <p:nvPr/>
                </p:nvSpPr>
                <p:spPr>
                  <a:xfrm>
                    <a:off x="2994030" y="2635320"/>
                    <a:ext cx="47696" cy="48499"/>
                  </a:xfrm>
                  <a:custGeom>
                    <a:avLst/>
                    <a:gdLst>
                      <a:gd name="connsiteX0" fmla="*/ 5287 w 47696"/>
                      <a:gd name="connsiteY0" fmla="*/ 48500 h 48499"/>
                      <a:gd name="connsiteX1" fmla="*/ 1590 w 47696"/>
                      <a:gd name="connsiteY1" fmla="*/ 46997 h 48499"/>
                      <a:gd name="connsiteX2" fmla="*/ 1500 w 47696"/>
                      <a:gd name="connsiteY2" fmla="*/ 39542 h 48499"/>
                      <a:gd name="connsiteX3" fmla="*/ 38652 w 47696"/>
                      <a:gd name="connsiteY3" fmla="*/ 1578 h 48499"/>
                      <a:gd name="connsiteX4" fmla="*/ 46106 w 47696"/>
                      <a:gd name="connsiteY4" fmla="*/ 1488 h 48499"/>
                      <a:gd name="connsiteX5" fmla="*/ 46196 w 47696"/>
                      <a:gd name="connsiteY5" fmla="*/ 8943 h 48499"/>
                      <a:gd name="connsiteX6" fmla="*/ 9044 w 47696"/>
                      <a:gd name="connsiteY6" fmla="*/ 46906 h 48499"/>
                      <a:gd name="connsiteX7" fmla="*/ 5287 w 47696"/>
                      <a:gd name="connsiteY7" fmla="*/ 48500 h 48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96" h="48499">
                        <a:moveTo>
                          <a:pt x="5287" y="48500"/>
                        </a:moveTo>
                        <a:cubicBezTo>
                          <a:pt x="3965" y="48500"/>
                          <a:pt x="2612" y="47989"/>
                          <a:pt x="1590" y="46997"/>
                        </a:cubicBezTo>
                        <a:cubicBezTo>
                          <a:pt x="-484" y="44953"/>
                          <a:pt x="-544" y="41616"/>
                          <a:pt x="1500" y="39542"/>
                        </a:cubicBezTo>
                        <a:lnTo>
                          <a:pt x="38652" y="1578"/>
                        </a:lnTo>
                        <a:cubicBezTo>
                          <a:pt x="40696" y="-496"/>
                          <a:pt x="44032" y="-526"/>
                          <a:pt x="46106" y="1488"/>
                        </a:cubicBezTo>
                        <a:cubicBezTo>
                          <a:pt x="48180" y="3532"/>
                          <a:pt x="48240" y="6869"/>
                          <a:pt x="46196" y="8943"/>
                        </a:cubicBezTo>
                        <a:lnTo>
                          <a:pt x="9044" y="46906"/>
                        </a:lnTo>
                        <a:cubicBezTo>
                          <a:pt x="8022" y="47989"/>
                          <a:pt x="6640" y="48500"/>
                          <a:pt x="5287" y="48500"/>
                        </a:cubicBezTo>
                        <a:close/>
                      </a:path>
                    </a:pathLst>
                  </a:custGeom>
                  <a:solidFill>
                    <a:schemeClr val="accent1"/>
                  </a:solidFill>
                  <a:ln w="3004" cap="flat">
                    <a:noFill/>
                    <a:prstDash val="solid"/>
                    <a:miter/>
                  </a:ln>
                </p:spPr>
                <p:txBody>
                  <a:bodyPr rtlCol="0" anchor="ctr"/>
                  <a:lstStyle/>
                  <a:p>
                    <a:endParaRPr lang="en-GB" dirty="0"/>
                  </a:p>
                </p:txBody>
              </p:sp>
              <p:sp>
                <p:nvSpPr>
                  <p:cNvPr id="533" name="Freihandform: Form 532">
                    <a:extLst>
                      <a:ext uri="{FF2B5EF4-FFF2-40B4-BE49-F238E27FC236}">
                        <a16:creationId xmlns:a16="http://schemas.microsoft.com/office/drawing/2014/main" id="{CBA5D5D2-DD46-47B5-A7A7-4178A1B19AC1}"/>
                      </a:ext>
                    </a:extLst>
                  </p:cNvPr>
                  <p:cNvSpPr/>
                  <p:nvPr/>
                </p:nvSpPr>
                <p:spPr>
                  <a:xfrm>
                    <a:off x="2930881" y="2598082"/>
                    <a:ext cx="55021" cy="54957"/>
                  </a:xfrm>
                  <a:custGeom>
                    <a:avLst/>
                    <a:gdLst>
                      <a:gd name="connsiteX0" fmla="*/ 5283 w 55021"/>
                      <a:gd name="connsiteY0" fmla="*/ 54958 h 54957"/>
                      <a:gd name="connsiteX1" fmla="*/ 1556 w 55021"/>
                      <a:gd name="connsiteY1" fmla="*/ 53425 h 54957"/>
                      <a:gd name="connsiteX2" fmla="*/ 1556 w 55021"/>
                      <a:gd name="connsiteY2" fmla="*/ 45971 h 54957"/>
                      <a:gd name="connsiteX3" fmla="*/ 46012 w 55021"/>
                      <a:gd name="connsiteY3" fmla="*/ 1544 h 54957"/>
                      <a:gd name="connsiteX4" fmla="*/ 53466 w 55021"/>
                      <a:gd name="connsiteY4" fmla="*/ 1544 h 54957"/>
                      <a:gd name="connsiteX5" fmla="*/ 53466 w 55021"/>
                      <a:gd name="connsiteY5" fmla="*/ 8999 h 54957"/>
                      <a:gd name="connsiteX6" fmla="*/ 9010 w 55021"/>
                      <a:gd name="connsiteY6" fmla="*/ 53425 h 54957"/>
                      <a:gd name="connsiteX7" fmla="*/ 5283 w 55021"/>
                      <a:gd name="connsiteY7" fmla="*/ 54958 h 5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21" h="54957">
                        <a:moveTo>
                          <a:pt x="5283" y="54958"/>
                        </a:moveTo>
                        <a:cubicBezTo>
                          <a:pt x="3930" y="54958"/>
                          <a:pt x="2577" y="54447"/>
                          <a:pt x="1556" y="53425"/>
                        </a:cubicBezTo>
                        <a:cubicBezTo>
                          <a:pt x="-519" y="51351"/>
                          <a:pt x="-519" y="48014"/>
                          <a:pt x="1556" y="45971"/>
                        </a:cubicBezTo>
                        <a:lnTo>
                          <a:pt x="46012" y="1544"/>
                        </a:lnTo>
                        <a:cubicBezTo>
                          <a:pt x="48086" y="-530"/>
                          <a:pt x="51422" y="-500"/>
                          <a:pt x="53466" y="1544"/>
                        </a:cubicBezTo>
                        <a:cubicBezTo>
                          <a:pt x="55540" y="3618"/>
                          <a:pt x="55540" y="6955"/>
                          <a:pt x="53466" y="8999"/>
                        </a:cubicBezTo>
                        <a:lnTo>
                          <a:pt x="9010" y="53425"/>
                        </a:lnTo>
                        <a:cubicBezTo>
                          <a:pt x="7988" y="54447"/>
                          <a:pt x="6635" y="54958"/>
                          <a:pt x="5283" y="54958"/>
                        </a:cubicBezTo>
                        <a:close/>
                      </a:path>
                    </a:pathLst>
                  </a:custGeom>
                  <a:solidFill>
                    <a:schemeClr val="accent1"/>
                  </a:solidFill>
                  <a:ln w="3004" cap="flat">
                    <a:noFill/>
                    <a:prstDash val="solid"/>
                    <a:miter/>
                  </a:ln>
                </p:spPr>
                <p:txBody>
                  <a:bodyPr rtlCol="0" anchor="ctr"/>
                  <a:lstStyle/>
                  <a:p>
                    <a:endParaRPr lang="en-GB" dirty="0"/>
                  </a:p>
                </p:txBody>
              </p:sp>
              <p:sp>
                <p:nvSpPr>
                  <p:cNvPr id="534" name="Freihandform: Form 533">
                    <a:extLst>
                      <a:ext uri="{FF2B5EF4-FFF2-40B4-BE49-F238E27FC236}">
                        <a16:creationId xmlns:a16="http://schemas.microsoft.com/office/drawing/2014/main" id="{60657C98-087D-48F8-B805-DAF2A2D8A8E6}"/>
                      </a:ext>
                    </a:extLst>
                  </p:cNvPr>
                  <p:cNvSpPr/>
                  <p:nvPr/>
                </p:nvSpPr>
                <p:spPr>
                  <a:xfrm>
                    <a:off x="3023532" y="2692014"/>
                    <a:ext cx="55841" cy="55078"/>
                  </a:xfrm>
                  <a:custGeom>
                    <a:avLst/>
                    <a:gdLst>
                      <a:gd name="connsiteX0" fmla="*/ 5272 w 55841"/>
                      <a:gd name="connsiteY0" fmla="*/ 55078 h 55078"/>
                      <a:gd name="connsiteX1" fmla="*/ 1514 w 55841"/>
                      <a:gd name="connsiteY1" fmla="*/ 53515 h 55078"/>
                      <a:gd name="connsiteX2" fmla="*/ 1574 w 55841"/>
                      <a:gd name="connsiteY2" fmla="*/ 46061 h 55078"/>
                      <a:gd name="connsiteX3" fmla="*/ 46872 w 55841"/>
                      <a:gd name="connsiteY3" fmla="*/ 1514 h 55078"/>
                      <a:gd name="connsiteX4" fmla="*/ 54327 w 55841"/>
                      <a:gd name="connsiteY4" fmla="*/ 1575 h 55078"/>
                      <a:gd name="connsiteX5" fmla="*/ 54267 w 55841"/>
                      <a:gd name="connsiteY5" fmla="*/ 9029 h 55078"/>
                      <a:gd name="connsiteX6" fmla="*/ 8969 w 55841"/>
                      <a:gd name="connsiteY6" fmla="*/ 53545 h 55078"/>
                      <a:gd name="connsiteX7" fmla="*/ 5272 w 55841"/>
                      <a:gd name="connsiteY7" fmla="*/ 55078 h 55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841" h="55078">
                        <a:moveTo>
                          <a:pt x="5272" y="55078"/>
                        </a:moveTo>
                        <a:cubicBezTo>
                          <a:pt x="3919" y="55078"/>
                          <a:pt x="2536" y="54567"/>
                          <a:pt x="1514" y="53515"/>
                        </a:cubicBezTo>
                        <a:cubicBezTo>
                          <a:pt x="-530" y="51441"/>
                          <a:pt x="-500" y="48105"/>
                          <a:pt x="1574" y="46061"/>
                        </a:cubicBezTo>
                        <a:lnTo>
                          <a:pt x="46872" y="1514"/>
                        </a:lnTo>
                        <a:cubicBezTo>
                          <a:pt x="48977" y="-530"/>
                          <a:pt x="52283" y="-500"/>
                          <a:pt x="54327" y="1575"/>
                        </a:cubicBezTo>
                        <a:cubicBezTo>
                          <a:pt x="56371" y="3648"/>
                          <a:pt x="56341" y="6985"/>
                          <a:pt x="54267" y="9029"/>
                        </a:cubicBezTo>
                        <a:lnTo>
                          <a:pt x="8969" y="53545"/>
                        </a:lnTo>
                        <a:cubicBezTo>
                          <a:pt x="7947" y="54567"/>
                          <a:pt x="6594" y="55078"/>
                          <a:pt x="5272" y="55078"/>
                        </a:cubicBezTo>
                        <a:close/>
                      </a:path>
                    </a:pathLst>
                  </a:custGeom>
                  <a:solidFill>
                    <a:schemeClr val="accent1"/>
                  </a:solidFill>
                  <a:ln w="3004" cap="flat">
                    <a:noFill/>
                    <a:prstDash val="solid"/>
                    <a:miter/>
                  </a:ln>
                </p:spPr>
                <p:txBody>
                  <a:bodyPr rtlCol="0" anchor="ctr"/>
                  <a:lstStyle/>
                  <a:p>
                    <a:endParaRPr lang="en-GB" dirty="0"/>
                  </a:p>
                </p:txBody>
              </p:sp>
            </p:grpSp>
          </p:grpSp>
          <p:sp>
            <p:nvSpPr>
              <p:cNvPr id="529" name="Freihandform: Form 528">
                <a:extLst>
                  <a:ext uri="{FF2B5EF4-FFF2-40B4-BE49-F238E27FC236}">
                    <a16:creationId xmlns:a16="http://schemas.microsoft.com/office/drawing/2014/main" id="{EAB31BAB-7327-4824-94FC-006348EDC0EC}"/>
                  </a:ext>
                </a:extLst>
              </p:cNvPr>
              <p:cNvSpPr/>
              <p:nvPr/>
            </p:nvSpPr>
            <p:spPr>
              <a:xfrm>
                <a:off x="2436496" y="2718838"/>
                <a:ext cx="180665" cy="157866"/>
              </a:xfrm>
              <a:custGeom>
                <a:avLst/>
                <a:gdLst>
                  <a:gd name="connsiteX0" fmla="*/ 132865 w 180665"/>
                  <a:gd name="connsiteY0" fmla="*/ 157866 h 157866"/>
                  <a:gd name="connsiteX1" fmla="*/ 47800 w 180665"/>
                  <a:gd name="connsiteY1" fmla="*/ 157866 h 157866"/>
                  <a:gd name="connsiteX2" fmla="*/ 43231 w 180665"/>
                  <a:gd name="connsiteY2" fmla="*/ 155221 h 157866"/>
                  <a:gd name="connsiteX3" fmla="*/ 699 w 180665"/>
                  <a:gd name="connsiteY3" fmla="*/ 81578 h 157866"/>
                  <a:gd name="connsiteX4" fmla="*/ 699 w 180665"/>
                  <a:gd name="connsiteY4" fmla="*/ 76318 h 157866"/>
                  <a:gd name="connsiteX5" fmla="*/ 43231 w 180665"/>
                  <a:gd name="connsiteY5" fmla="*/ 2645 h 157866"/>
                  <a:gd name="connsiteX6" fmla="*/ 47800 w 180665"/>
                  <a:gd name="connsiteY6" fmla="*/ 0 h 157866"/>
                  <a:gd name="connsiteX7" fmla="*/ 132865 w 180665"/>
                  <a:gd name="connsiteY7" fmla="*/ 0 h 157866"/>
                  <a:gd name="connsiteX8" fmla="*/ 137434 w 180665"/>
                  <a:gd name="connsiteY8" fmla="*/ 2645 h 157866"/>
                  <a:gd name="connsiteX9" fmla="*/ 179967 w 180665"/>
                  <a:gd name="connsiteY9" fmla="*/ 76318 h 157866"/>
                  <a:gd name="connsiteX10" fmla="*/ 179967 w 180665"/>
                  <a:gd name="connsiteY10" fmla="*/ 81578 h 157866"/>
                  <a:gd name="connsiteX11" fmla="*/ 137434 w 180665"/>
                  <a:gd name="connsiteY11" fmla="*/ 155221 h 157866"/>
                  <a:gd name="connsiteX12" fmla="*/ 132865 w 180665"/>
                  <a:gd name="connsiteY12" fmla="*/ 157866 h 157866"/>
                  <a:gd name="connsiteX13" fmla="*/ 50836 w 180665"/>
                  <a:gd name="connsiteY13" fmla="*/ 147316 h 157866"/>
                  <a:gd name="connsiteX14" fmla="*/ 129800 w 180665"/>
                  <a:gd name="connsiteY14" fmla="*/ 147316 h 157866"/>
                  <a:gd name="connsiteX15" fmla="*/ 169296 w 180665"/>
                  <a:gd name="connsiteY15" fmla="*/ 78933 h 157866"/>
                  <a:gd name="connsiteX16" fmla="*/ 129800 w 180665"/>
                  <a:gd name="connsiteY16" fmla="*/ 10550 h 157866"/>
                  <a:gd name="connsiteX17" fmla="*/ 50836 w 180665"/>
                  <a:gd name="connsiteY17" fmla="*/ 10550 h 157866"/>
                  <a:gd name="connsiteX18" fmla="*/ 11370 w 180665"/>
                  <a:gd name="connsiteY18" fmla="*/ 78933 h 157866"/>
                  <a:gd name="connsiteX19" fmla="*/ 50836 w 180665"/>
                  <a:gd name="connsiteY19" fmla="*/ 147316 h 157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0665" h="157866">
                    <a:moveTo>
                      <a:pt x="132865" y="157866"/>
                    </a:moveTo>
                    <a:lnTo>
                      <a:pt x="47800" y="157866"/>
                    </a:lnTo>
                    <a:cubicBezTo>
                      <a:pt x="45907" y="157866"/>
                      <a:pt x="44163" y="156875"/>
                      <a:pt x="43231" y="155221"/>
                    </a:cubicBezTo>
                    <a:lnTo>
                      <a:pt x="699" y="81578"/>
                    </a:lnTo>
                    <a:cubicBezTo>
                      <a:pt x="-233" y="79955"/>
                      <a:pt x="-233" y="77941"/>
                      <a:pt x="699" y="76318"/>
                    </a:cubicBezTo>
                    <a:lnTo>
                      <a:pt x="43231" y="2645"/>
                    </a:lnTo>
                    <a:cubicBezTo>
                      <a:pt x="44163" y="1022"/>
                      <a:pt x="45907" y="0"/>
                      <a:pt x="47800" y="0"/>
                    </a:cubicBezTo>
                    <a:lnTo>
                      <a:pt x="132865" y="0"/>
                    </a:lnTo>
                    <a:cubicBezTo>
                      <a:pt x="134759" y="0"/>
                      <a:pt x="136503" y="992"/>
                      <a:pt x="137434" y="2645"/>
                    </a:cubicBezTo>
                    <a:lnTo>
                      <a:pt x="179967" y="76318"/>
                    </a:lnTo>
                    <a:cubicBezTo>
                      <a:pt x="180899" y="77941"/>
                      <a:pt x="180899" y="79955"/>
                      <a:pt x="179967" y="81578"/>
                    </a:cubicBezTo>
                    <a:lnTo>
                      <a:pt x="137434" y="155221"/>
                    </a:lnTo>
                    <a:cubicBezTo>
                      <a:pt x="136503" y="156875"/>
                      <a:pt x="134759" y="157866"/>
                      <a:pt x="132865" y="157866"/>
                    </a:cubicBezTo>
                    <a:close/>
                    <a:moveTo>
                      <a:pt x="50836" y="147316"/>
                    </a:moveTo>
                    <a:lnTo>
                      <a:pt x="129800" y="147316"/>
                    </a:lnTo>
                    <a:lnTo>
                      <a:pt x="169296" y="78933"/>
                    </a:lnTo>
                    <a:lnTo>
                      <a:pt x="129800" y="10550"/>
                    </a:lnTo>
                    <a:lnTo>
                      <a:pt x="50836" y="10550"/>
                    </a:lnTo>
                    <a:lnTo>
                      <a:pt x="11370" y="78933"/>
                    </a:lnTo>
                    <a:lnTo>
                      <a:pt x="50836" y="147316"/>
                    </a:lnTo>
                    <a:close/>
                  </a:path>
                </a:pathLst>
              </a:custGeom>
              <a:solidFill>
                <a:schemeClr val="accent1"/>
              </a:solidFill>
              <a:ln w="3004" cap="flat">
                <a:noFill/>
                <a:prstDash val="solid"/>
                <a:miter/>
              </a:ln>
            </p:spPr>
            <p:txBody>
              <a:bodyPr rtlCol="0" anchor="ctr"/>
              <a:lstStyle/>
              <a:p>
                <a:endParaRPr lang="en-GB" dirty="0"/>
              </a:p>
            </p:txBody>
          </p:sp>
        </p:grpSp>
        <p:grpSp>
          <p:nvGrpSpPr>
            <p:cNvPr id="520" name="Group 997">
              <a:extLst>
                <a:ext uri="{FF2B5EF4-FFF2-40B4-BE49-F238E27FC236}">
                  <a16:creationId xmlns:a16="http://schemas.microsoft.com/office/drawing/2014/main" id="{11426153-24E0-4140-8FFC-55E22A3A77B9}"/>
                </a:ext>
              </a:extLst>
            </p:cNvPr>
            <p:cNvGrpSpPr/>
            <p:nvPr/>
          </p:nvGrpSpPr>
          <p:grpSpPr>
            <a:xfrm>
              <a:off x="7192181" y="2512862"/>
              <a:ext cx="497959" cy="368480"/>
              <a:chOff x="2615677" y="2608644"/>
              <a:chExt cx="451576" cy="334158"/>
            </a:xfrm>
            <a:solidFill>
              <a:schemeClr val="tx2"/>
            </a:solidFill>
          </p:grpSpPr>
          <p:grpSp>
            <p:nvGrpSpPr>
              <p:cNvPr id="521" name="Group 4">
                <a:extLst>
                  <a:ext uri="{FF2B5EF4-FFF2-40B4-BE49-F238E27FC236}">
                    <a16:creationId xmlns:a16="http://schemas.microsoft.com/office/drawing/2014/main" id="{099C9696-AE32-489C-ABF0-57092329F8E6}"/>
                  </a:ext>
                </a:extLst>
              </p:cNvPr>
              <p:cNvGrpSpPr/>
              <p:nvPr/>
            </p:nvGrpSpPr>
            <p:grpSpPr>
              <a:xfrm>
                <a:off x="2733210" y="2608644"/>
                <a:ext cx="334043" cy="334158"/>
                <a:chOff x="2733210" y="2608644"/>
                <a:chExt cx="334043" cy="334158"/>
              </a:xfrm>
              <a:grpFill/>
            </p:grpSpPr>
            <p:sp>
              <p:nvSpPr>
                <p:cNvPr id="526" name="Freihandform: Form 525">
                  <a:extLst>
                    <a:ext uri="{FF2B5EF4-FFF2-40B4-BE49-F238E27FC236}">
                      <a16:creationId xmlns:a16="http://schemas.microsoft.com/office/drawing/2014/main" id="{434EDE32-71B6-4254-9AB5-5D2B74964EEA}"/>
                    </a:ext>
                  </a:extLst>
                </p:cNvPr>
                <p:cNvSpPr/>
                <p:nvPr/>
              </p:nvSpPr>
              <p:spPr>
                <a:xfrm>
                  <a:off x="2733210" y="2608644"/>
                  <a:ext cx="334043" cy="334158"/>
                </a:xfrm>
                <a:custGeom>
                  <a:avLst/>
                  <a:gdLst>
                    <a:gd name="connsiteX0" fmla="*/ 167095 w 334043"/>
                    <a:gd name="connsiteY0" fmla="*/ 334159 h 334158"/>
                    <a:gd name="connsiteX1" fmla="*/ 0 w 334043"/>
                    <a:gd name="connsiteY1" fmla="*/ 167064 h 334158"/>
                    <a:gd name="connsiteX2" fmla="*/ 165201 w 334043"/>
                    <a:gd name="connsiteY2" fmla="*/ 0 h 334158"/>
                    <a:gd name="connsiteX3" fmla="*/ 168958 w 334043"/>
                    <a:gd name="connsiteY3" fmla="*/ 1533 h 334158"/>
                    <a:gd name="connsiteX4" fmla="*/ 170521 w 334043"/>
                    <a:gd name="connsiteY4" fmla="*/ 5290 h 334158"/>
                    <a:gd name="connsiteX5" fmla="*/ 170521 w 334043"/>
                    <a:gd name="connsiteY5" fmla="*/ 60507 h 334158"/>
                    <a:gd name="connsiteX6" fmla="*/ 165321 w 334043"/>
                    <a:gd name="connsiteY6" fmla="*/ 65768 h 334158"/>
                    <a:gd name="connsiteX7" fmla="*/ 65708 w 334043"/>
                    <a:gd name="connsiteY7" fmla="*/ 167064 h 334158"/>
                    <a:gd name="connsiteX8" fmla="*/ 167095 w 334043"/>
                    <a:gd name="connsiteY8" fmla="*/ 268451 h 334158"/>
                    <a:gd name="connsiteX9" fmla="*/ 268211 w 334043"/>
                    <a:gd name="connsiteY9" fmla="*/ 172325 h 334158"/>
                    <a:gd name="connsiteX10" fmla="*/ 273471 w 334043"/>
                    <a:gd name="connsiteY10" fmla="*/ 167335 h 334158"/>
                    <a:gd name="connsiteX11" fmla="*/ 328778 w 334043"/>
                    <a:gd name="connsiteY11" fmla="*/ 167335 h 334158"/>
                    <a:gd name="connsiteX12" fmla="*/ 332566 w 334043"/>
                    <a:gd name="connsiteY12" fmla="*/ 168928 h 334158"/>
                    <a:gd name="connsiteX13" fmla="*/ 334039 w 334043"/>
                    <a:gd name="connsiteY13" fmla="*/ 172775 h 334158"/>
                    <a:gd name="connsiteX14" fmla="*/ 167095 w 334043"/>
                    <a:gd name="connsiteY14" fmla="*/ 334159 h 334158"/>
                    <a:gd name="connsiteX15" fmla="*/ 160001 w 334043"/>
                    <a:gd name="connsiteY15" fmla="*/ 10701 h 334158"/>
                    <a:gd name="connsiteX16" fmla="*/ 10581 w 334043"/>
                    <a:gd name="connsiteY16" fmla="*/ 167064 h 334158"/>
                    <a:gd name="connsiteX17" fmla="*/ 167125 w 334043"/>
                    <a:gd name="connsiteY17" fmla="*/ 323608 h 334158"/>
                    <a:gd name="connsiteX18" fmla="*/ 323248 w 334043"/>
                    <a:gd name="connsiteY18" fmla="*/ 177855 h 334158"/>
                    <a:gd name="connsiteX19" fmla="*/ 278401 w 334043"/>
                    <a:gd name="connsiteY19" fmla="*/ 177855 h 334158"/>
                    <a:gd name="connsiteX20" fmla="*/ 167125 w 334043"/>
                    <a:gd name="connsiteY20" fmla="*/ 279002 h 334158"/>
                    <a:gd name="connsiteX21" fmla="*/ 55187 w 334043"/>
                    <a:gd name="connsiteY21" fmla="*/ 167064 h 334158"/>
                    <a:gd name="connsiteX22" fmla="*/ 160001 w 334043"/>
                    <a:gd name="connsiteY22" fmla="*/ 55428 h 334158"/>
                    <a:gd name="connsiteX23" fmla="*/ 160001 w 334043"/>
                    <a:gd name="connsiteY23" fmla="*/ 10701 h 334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4043" h="334158">
                      <a:moveTo>
                        <a:pt x="167095" y="334159"/>
                      </a:moveTo>
                      <a:cubicBezTo>
                        <a:pt x="74966" y="334159"/>
                        <a:pt x="0" y="259193"/>
                        <a:pt x="0" y="167064"/>
                      </a:cubicBezTo>
                      <a:cubicBezTo>
                        <a:pt x="0" y="75988"/>
                        <a:pt x="74094" y="1022"/>
                        <a:pt x="165201" y="0"/>
                      </a:cubicBezTo>
                      <a:cubicBezTo>
                        <a:pt x="166674" y="30"/>
                        <a:pt x="167966" y="541"/>
                        <a:pt x="168958" y="1533"/>
                      </a:cubicBezTo>
                      <a:cubicBezTo>
                        <a:pt x="169950" y="2525"/>
                        <a:pt x="170521" y="3878"/>
                        <a:pt x="170521" y="5290"/>
                      </a:cubicBezTo>
                      <a:lnTo>
                        <a:pt x="170521" y="60507"/>
                      </a:lnTo>
                      <a:cubicBezTo>
                        <a:pt x="170521" y="63393"/>
                        <a:pt x="168207" y="65738"/>
                        <a:pt x="165321" y="65768"/>
                      </a:cubicBezTo>
                      <a:cubicBezTo>
                        <a:pt x="110374" y="66700"/>
                        <a:pt x="65708" y="112148"/>
                        <a:pt x="65708" y="167064"/>
                      </a:cubicBezTo>
                      <a:cubicBezTo>
                        <a:pt x="65708" y="222973"/>
                        <a:pt x="111186" y="268451"/>
                        <a:pt x="167095" y="268451"/>
                      </a:cubicBezTo>
                      <a:cubicBezTo>
                        <a:pt x="221019" y="268451"/>
                        <a:pt x="265445" y="226219"/>
                        <a:pt x="268211" y="172325"/>
                      </a:cubicBezTo>
                      <a:cubicBezTo>
                        <a:pt x="268361" y="169529"/>
                        <a:pt x="270676" y="167335"/>
                        <a:pt x="273471" y="167335"/>
                      </a:cubicBezTo>
                      <a:lnTo>
                        <a:pt x="328778" y="167335"/>
                      </a:lnTo>
                      <a:cubicBezTo>
                        <a:pt x="330221" y="167335"/>
                        <a:pt x="331574" y="167906"/>
                        <a:pt x="332566" y="168928"/>
                      </a:cubicBezTo>
                      <a:cubicBezTo>
                        <a:pt x="333558" y="169950"/>
                        <a:pt x="334099" y="171333"/>
                        <a:pt x="334039" y="172775"/>
                      </a:cubicBezTo>
                      <a:cubicBezTo>
                        <a:pt x="331033" y="263281"/>
                        <a:pt x="257690" y="334159"/>
                        <a:pt x="167095" y="334159"/>
                      </a:cubicBezTo>
                      <a:close/>
                      <a:moveTo>
                        <a:pt x="160001" y="10701"/>
                      </a:moveTo>
                      <a:cubicBezTo>
                        <a:pt x="77130" y="14458"/>
                        <a:pt x="10581" y="83502"/>
                        <a:pt x="10581" y="167064"/>
                      </a:cubicBezTo>
                      <a:cubicBezTo>
                        <a:pt x="10581" y="253392"/>
                        <a:pt x="80797" y="323608"/>
                        <a:pt x="167125" y="323608"/>
                      </a:cubicBezTo>
                      <a:cubicBezTo>
                        <a:pt x="250146" y="323608"/>
                        <a:pt x="317717" y="260005"/>
                        <a:pt x="323248" y="177855"/>
                      </a:cubicBezTo>
                      <a:lnTo>
                        <a:pt x="278401" y="177855"/>
                      </a:lnTo>
                      <a:cubicBezTo>
                        <a:pt x="272930" y="234966"/>
                        <a:pt x="224987" y="279002"/>
                        <a:pt x="167125" y="279002"/>
                      </a:cubicBezTo>
                      <a:cubicBezTo>
                        <a:pt x="105415" y="279002"/>
                        <a:pt x="55187" y="228804"/>
                        <a:pt x="55187" y="167064"/>
                      </a:cubicBezTo>
                      <a:cubicBezTo>
                        <a:pt x="55187" y="108180"/>
                        <a:pt x="101748" y="59155"/>
                        <a:pt x="160001" y="55428"/>
                      </a:cubicBezTo>
                      <a:lnTo>
                        <a:pt x="160001" y="10701"/>
                      </a:lnTo>
                      <a:close/>
                    </a:path>
                  </a:pathLst>
                </a:custGeom>
                <a:grpFill/>
                <a:ln w="3004" cap="flat">
                  <a:noFill/>
                  <a:prstDash val="solid"/>
                  <a:miter/>
                </a:ln>
              </p:spPr>
              <p:txBody>
                <a:bodyPr rtlCol="0" anchor="ctr"/>
                <a:lstStyle/>
                <a:p>
                  <a:endParaRPr lang="en-GB" dirty="0"/>
                </a:p>
              </p:txBody>
            </p:sp>
            <p:sp>
              <p:nvSpPr>
                <p:cNvPr id="527" name="Freihandform: Form 526">
                  <a:extLst>
                    <a:ext uri="{FF2B5EF4-FFF2-40B4-BE49-F238E27FC236}">
                      <a16:creationId xmlns:a16="http://schemas.microsoft.com/office/drawing/2014/main" id="{DF20080B-6104-4188-8F43-86ABB35FCE16}"/>
                    </a:ext>
                  </a:extLst>
                </p:cNvPr>
                <p:cNvSpPr/>
                <p:nvPr/>
              </p:nvSpPr>
              <p:spPr>
                <a:xfrm>
                  <a:off x="2784078" y="2848309"/>
                  <a:ext cx="45488" cy="49766"/>
                </a:xfrm>
                <a:custGeom>
                  <a:avLst/>
                  <a:gdLst>
                    <a:gd name="connsiteX0" fmla="*/ 5281 w 45488"/>
                    <a:gd name="connsiteY0" fmla="*/ 49767 h 49766"/>
                    <a:gd name="connsiteX1" fmla="*/ 1764 w 45488"/>
                    <a:gd name="connsiteY1" fmla="*/ 48444 h 49766"/>
                    <a:gd name="connsiteX2" fmla="*/ 1343 w 45488"/>
                    <a:gd name="connsiteY2" fmla="*/ 40990 h 49766"/>
                    <a:gd name="connsiteX3" fmla="*/ 36271 w 45488"/>
                    <a:gd name="connsiteY3" fmla="*/ 1764 h 49766"/>
                    <a:gd name="connsiteX4" fmla="*/ 43725 w 45488"/>
                    <a:gd name="connsiteY4" fmla="*/ 1343 h 49766"/>
                    <a:gd name="connsiteX5" fmla="*/ 44146 w 45488"/>
                    <a:gd name="connsiteY5" fmla="*/ 8797 h 49766"/>
                    <a:gd name="connsiteX6" fmla="*/ 9218 w 45488"/>
                    <a:gd name="connsiteY6" fmla="*/ 48024 h 49766"/>
                    <a:gd name="connsiteX7" fmla="*/ 5281 w 45488"/>
                    <a:gd name="connsiteY7" fmla="*/ 49767 h 49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88" h="49766">
                      <a:moveTo>
                        <a:pt x="5281" y="49767"/>
                      </a:moveTo>
                      <a:cubicBezTo>
                        <a:pt x="4018" y="49767"/>
                        <a:pt x="2786" y="49316"/>
                        <a:pt x="1764" y="48444"/>
                      </a:cubicBezTo>
                      <a:cubicBezTo>
                        <a:pt x="-401" y="46521"/>
                        <a:pt x="-611" y="43184"/>
                        <a:pt x="1343" y="40990"/>
                      </a:cubicBezTo>
                      <a:lnTo>
                        <a:pt x="36271" y="1764"/>
                      </a:lnTo>
                      <a:cubicBezTo>
                        <a:pt x="38194" y="-400"/>
                        <a:pt x="41531" y="-611"/>
                        <a:pt x="43725" y="1343"/>
                      </a:cubicBezTo>
                      <a:cubicBezTo>
                        <a:pt x="45889" y="3267"/>
                        <a:pt x="46100" y="6603"/>
                        <a:pt x="44146" y="8797"/>
                      </a:cubicBezTo>
                      <a:lnTo>
                        <a:pt x="9218" y="48024"/>
                      </a:lnTo>
                      <a:cubicBezTo>
                        <a:pt x="8196" y="49166"/>
                        <a:pt x="6753" y="49767"/>
                        <a:pt x="5281" y="49767"/>
                      </a:cubicBezTo>
                      <a:close/>
                    </a:path>
                  </a:pathLst>
                </a:custGeom>
                <a:grpFill/>
                <a:ln w="3004" cap="flat">
                  <a:noFill/>
                  <a:prstDash val="solid"/>
                  <a:miter/>
                </a:ln>
              </p:spPr>
              <p:txBody>
                <a:bodyPr rtlCol="0" anchor="ctr"/>
                <a:lstStyle/>
                <a:p>
                  <a:endParaRPr lang="en-GB" dirty="0"/>
                </a:p>
              </p:txBody>
            </p:sp>
          </p:grpSp>
          <p:sp>
            <p:nvSpPr>
              <p:cNvPr id="522" name="Freihandform: Form 521">
                <a:extLst>
                  <a:ext uri="{FF2B5EF4-FFF2-40B4-BE49-F238E27FC236}">
                    <a16:creationId xmlns:a16="http://schemas.microsoft.com/office/drawing/2014/main" id="{88055C30-2694-4A5D-9728-F1EF701C121A}"/>
                  </a:ext>
                </a:extLst>
              </p:cNvPr>
              <p:cNvSpPr/>
              <p:nvPr/>
            </p:nvSpPr>
            <p:spPr>
              <a:xfrm>
                <a:off x="2632695" y="2764316"/>
                <a:ext cx="62641" cy="62641"/>
              </a:xfrm>
              <a:custGeom>
                <a:avLst/>
                <a:gdLst>
                  <a:gd name="connsiteX0" fmla="*/ 31321 w 62641"/>
                  <a:gd name="connsiteY0" fmla="*/ 62642 h 62641"/>
                  <a:gd name="connsiteX1" fmla="*/ 0 w 62641"/>
                  <a:gd name="connsiteY1" fmla="*/ 31321 h 62641"/>
                  <a:gd name="connsiteX2" fmla="*/ 31321 w 62641"/>
                  <a:gd name="connsiteY2" fmla="*/ 0 h 62641"/>
                  <a:gd name="connsiteX3" fmla="*/ 62642 w 62641"/>
                  <a:gd name="connsiteY3" fmla="*/ 31321 h 62641"/>
                  <a:gd name="connsiteX4" fmla="*/ 31321 w 62641"/>
                  <a:gd name="connsiteY4" fmla="*/ 62642 h 62641"/>
                  <a:gd name="connsiteX5" fmla="*/ 31321 w 62641"/>
                  <a:gd name="connsiteY5" fmla="*/ 10550 h 62641"/>
                  <a:gd name="connsiteX6" fmla="*/ 10551 w 62641"/>
                  <a:gd name="connsiteY6" fmla="*/ 31321 h 62641"/>
                  <a:gd name="connsiteX7" fmla="*/ 31321 w 62641"/>
                  <a:gd name="connsiteY7" fmla="*/ 52091 h 62641"/>
                  <a:gd name="connsiteX8" fmla="*/ 52091 w 62641"/>
                  <a:gd name="connsiteY8" fmla="*/ 31321 h 62641"/>
                  <a:gd name="connsiteX9" fmla="*/ 31321 w 62641"/>
                  <a:gd name="connsiteY9" fmla="*/ 10550 h 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41" h="62641">
                    <a:moveTo>
                      <a:pt x="31321" y="62642"/>
                    </a:moveTo>
                    <a:cubicBezTo>
                      <a:pt x="14037" y="62642"/>
                      <a:pt x="0" y="48574"/>
                      <a:pt x="0" y="31321"/>
                    </a:cubicBezTo>
                    <a:cubicBezTo>
                      <a:pt x="0" y="14037"/>
                      <a:pt x="14067" y="0"/>
                      <a:pt x="31321" y="0"/>
                    </a:cubicBezTo>
                    <a:cubicBezTo>
                      <a:pt x="48574" y="0"/>
                      <a:pt x="62642" y="14037"/>
                      <a:pt x="62642" y="31321"/>
                    </a:cubicBezTo>
                    <a:cubicBezTo>
                      <a:pt x="62642" y="48604"/>
                      <a:pt x="48604" y="62642"/>
                      <a:pt x="31321" y="62642"/>
                    </a:cubicBezTo>
                    <a:close/>
                    <a:moveTo>
                      <a:pt x="31321" y="10550"/>
                    </a:moveTo>
                    <a:cubicBezTo>
                      <a:pt x="19869" y="10550"/>
                      <a:pt x="10551" y="19869"/>
                      <a:pt x="10551" y="31321"/>
                    </a:cubicBezTo>
                    <a:cubicBezTo>
                      <a:pt x="10551" y="42773"/>
                      <a:pt x="19869" y="52091"/>
                      <a:pt x="31321" y="52091"/>
                    </a:cubicBezTo>
                    <a:cubicBezTo>
                      <a:pt x="42773" y="52091"/>
                      <a:pt x="52091" y="42773"/>
                      <a:pt x="52091" y="31321"/>
                    </a:cubicBezTo>
                    <a:cubicBezTo>
                      <a:pt x="52091" y="19869"/>
                      <a:pt x="42773" y="10550"/>
                      <a:pt x="31321" y="10550"/>
                    </a:cubicBezTo>
                    <a:close/>
                  </a:path>
                </a:pathLst>
              </a:custGeom>
              <a:grpFill/>
              <a:ln w="3004" cap="flat">
                <a:noFill/>
                <a:prstDash val="solid"/>
                <a:miter/>
              </a:ln>
            </p:spPr>
            <p:txBody>
              <a:bodyPr rtlCol="0" anchor="ctr"/>
              <a:lstStyle/>
              <a:p>
                <a:endParaRPr lang="en-GB" dirty="0"/>
              </a:p>
            </p:txBody>
          </p:sp>
          <p:sp>
            <p:nvSpPr>
              <p:cNvPr id="523" name="Freihandform: Form 522">
                <a:extLst>
                  <a:ext uri="{FF2B5EF4-FFF2-40B4-BE49-F238E27FC236}">
                    <a16:creationId xmlns:a16="http://schemas.microsoft.com/office/drawing/2014/main" id="{1DCC3D17-C981-46DA-865C-E788DE020361}"/>
                  </a:ext>
                </a:extLst>
              </p:cNvPr>
              <p:cNvSpPr/>
              <p:nvPr/>
            </p:nvSpPr>
            <p:spPr>
              <a:xfrm>
                <a:off x="2687281" y="2790707"/>
                <a:ext cx="54646" cy="10520"/>
              </a:xfrm>
              <a:custGeom>
                <a:avLst/>
                <a:gdLst>
                  <a:gd name="connsiteX0" fmla="*/ 49386 w 54646"/>
                  <a:gd name="connsiteY0" fmla="*/ 10520 h 10520"/>
                  <a:gd name="connsiteX1" fmla="*/ 5260 w 54646"/>
                  <a:gd name="connsiteY1" fmla="*/ 10520 h 10520"/>
                  <a:gd name="connsiteX2" fmla="*/ 0 w 54646"/>
                  <a:gd name="connsiteY2" fmla="*/ 5260 h 10520"/>
                  <a:gd name="connsiteX3" fmla="*/ 5260 w 54646"/>
                  <a:gd name="connsiteY3" fmla="*/ 0 h 10520"/>
                  <a:gd name="connsiteX4" fmla="*/ 49386 w 54646"/>
                  <a:gd name="connsiteY4" fmla="*/ 0 h 10520"/>
                  <a:gd name="connsiteX5" fmla="*/ 54646 w 54646"/>
                  <a:gd name="connsiteY5" fmla="*/ 5260 h 10520"/>
                  <a:gd name="connsiteX6" fmla="*/ 49386 w 54646"/>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646" h="10520">
                    <a:moveTo>
                      <a:pt x="49386" y="10520"/>
                    </a:moveTo>
                    <a:lnTo>
                      <a:pt x="5260" y="10520"/>
                    </a:lnTo>
                    <a:cubicBezTo>
                      <a:pt x="2344" y="10520"/>
                      <a:pt x="0" y="8146"/>
                      <a:pt x="0" y="5260"/>
                    </a:cubicBezTo>
                    <a:cubicBezTo>
                      <a:pt x="0" y="2345"/>
                      <a:pt x="2375" y="0"/>
                      <a:pt x="5260" y="0"/>
                    </a:cubicBezTo>
                    <a:lnTo>
                      <a:pt x="49386" y="0"/>
                    </a:lnTo>
                    <a:cubicBezTo>
                      <a:pt x="52301" y="0"/>
                      <a:pt x="54646" y="2375"/>
                      <a:pt x="54646" y="5260"/>
                    </a:cubicBezTo>
                    <a:cubicBezTo>
                      <a:pt x="54646" y="8146"/>
                      <a:pt x="52271" y="10520"/>
                      <a:pt x="49386" y="10520"/>
                    </a:cubicBezTo>
                    <a:close/>
                  </a:path>
                </a:pathLst>
              </a:custGeom>
              <a:grpFill/>
              <a:ln w="3004" cap="flat">
                <a:noFill/>
                <a:prstDash val="solid"/>
                <a:miter/>
              </a:ln>
            </p:spPr>
            <p:txBody>
              <a:bodyPr rtlCol="0" anchor="ctr"/>
              <a:lstStyle/>
              <a:p>
                <a:endParaRPr lang="en-GB" dirty="0"/>
              </a:p>
            </p:txBody>
          </p:sp>
          <p:sp>
            <p:nvSpPr>
              <p:cNvPr id="524" name="Freihandform: Form 523">
                <a:extLst>
                  <a:ext uri="{FF2B5EF4-FFF2-40B4-BE49-F238E27FC236}">
                    <a16:creationId xmlns:a16="http://schemas.microsoft.com/office/drawing/2014/main" id="{57080444-2E59-4C61-A372-4799979451AD}"/>
                  </a:ext>
                </a:extLst>
              </p:cNvPr>
              <p:cNvSpPr/>
              <p:nvPr/>
            </p:nvSpPr>
            <p:spPr>
              <a:xfrm>
                <a:off x="2615687" y="2817516"/>
                <a:ext cx="45767" cy="70520"/>
              </a:xfrm>
              <a:custGeom>
                <a:avLst/>
                <a:gdLst>
                  <a:gd name="connsiteX0" fmla="*/ 5285 w 45767"/>
                  <a:gd name="connsiteY0" fmla="*/ 70520 h 70520"/>
                  <a:gd name="connsiteX1" fmla="*/ 2610 w 45767"/>
                  <a:gd name="connsiteY1" fmla="*/ 69799 h 70520"/>
                  <a:gd name="connsiteX2" fmla="*/ 746 w 45767"/>
                  <a:gd name="connsiteY2" fmla="*/ 62585 h 70520"/>
                  <a:gd name="connsiteX3" fmla="*/ 35944 w 45767"/>
                  <a:gd name="connsiteY3" fmla="*/ 2618 h 70520"/>
                  <a:gd name="connsiteX4" fmla="*/ 43158 w 45767"/>
                  <a:gd name="connsiteY4" fmla="*/ 725 h 70520"/>
                  <a:gd name="connsiteX5" fmla="*/ 45022 w 45767"/>
                  <a:gd name="connsiteY5" fmla="*/ 7939 h 70520"/>
                  <a:gd name="connsiteX6" fmla="*/ 9823 w 45767"/>
                  <a:gd name="connsiteY6" fmla="*/ 67905 h 70520"/>
                  <a:gd name="connsiteX7" fmla="*/ 5285 w 45767"/>
                  <a:gd name="connsiteY7" fmla="*/ 70520 h 7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67" h="70520">
                    <a:moveTo>
                      <a:pt x="5285" y="70520"/>
                    </a:moveTo>
                    <a:cubicBezTo>
                      <a:pt x="4383" y="70520"/>
                      <a:pt x="3451" y="70280"/>
                      <a:pt x="2610" y="69799"/>
                    </a:cubicBezTo>
                    <a:cubicBezTo>
                      <a:pt x="85" y="68326"/>
                      <a:pt x="-757" y="65080"/>
                      <a:pt x="746" y="62585"/>
                    </a:cubicBezTo>
                    <a:lnTo>
                      <a:pt x="35944" y="2618"/>
                    </a:lnTo>
                    <a:cubicBezTo>
                      <a:pt x="37417" y="93"/>
                      <a:pt x="40633" y="-748"/>
                      <a:pt x="43158" y="725"/>
                    </a:cubicBezTo>
                    <a:cubicBezTo>
                      <a:pt x="45683" y="2198"/>
                      <a:pt x="46525" y="5444"/>
                      <a:pt x="45022" y="7939"/>
                    </a:cubicBezTo>
                    <a:lnTo>
                      <a:pt x="9823" y="67905"/>
                    </a:lnTo>
                    <a:cubicBezTo>
                      <a:pt x="8862" y="69588"/>
                      <a:pt x="7118" y="70520"/>
                      <a:pt x="5285" y="70520"/>
                    </a:cubicBezTo>
                    <a:close/>
                  </a:path>
                </a:pathLst>
              </a:custGeom>
              <a:grpFill/>
              <a:ln w="3004" cap="flat">
                <a:noFill/>
                <a:prstDash val="solid"/>
                <a:miter/>
              </a:ln>
            </p:spPr>
            <p:txBody>
              <a:bodyPr rtlCol="0" anchor="ctr"/>
              <a:lstStyle/>
              <a:p>
                <a:endParaRPr lang="en-GB" dirty="0"/>
              </a:p>
            </p:txBody>
          </p:sp>
          <p:sp>
            <p:nvSpPr>
              <p:cNvPr id="525" name="Freihandform: Form 524">
                <a:extLst>
                  <a:ext uri="{FF2B5EF4-FFF2-40B4-BE49-F238E27FC236}">
                    <a16:creationId xmlns:a16="http://schemas.microsoft.com/office/drawing/2014/main" id="{19328245-7E0F-419C-BD0B-1376B6BC5640}"/>
                  </a:ext>
                </a:extLst>
              </p:cNvPr>
              <p:cNvSpPr/>
              <p:nvPr/>
            </p:nvSpPr>
            <p:spPr>
              <a:xfrm>
                <a:off x="2615677" y="2703054"/>
                <a:ext cx="45727" cy="70520"/>
              </a:xfrm>
              <a:custGeom>
                <a:avLst/>
                <a:gdLst>
                  <a:gd name="connsiteX0" fmla="*/ 40493 w 45727"/>
                  <a:gd name="connsiteY0" fmla="*/ 70520 h 70520"/>
                  <a:gd name="connsiteX1" fmla="*/ 35924 w 45727"/>
                  <a:gd name="connsiteY1" fmla="*/ 67905 h 70520"/>
                  <a:gd name="connsiteX2" fmla="*/ 726 w 45727"/>
                  <a:gd name="connsiteY2" fmla="*/ 7939 h 70520"/>
                  <a:gd name="connsiteX3" fmla="*/ 2589 w 45727"/>
                  <a:gd name="connsiteY3" fmla="*/ 725 h 70520"/>
                  <a:gd name="connsiteX4" fmla="*/ 9804 w 45727"/>
                  <a:gd name="connsiteY4" fmla="*/ 2618 h 70520"/>
                  <a:gd name="connsiteX5" fmla="*/ 45002 w 45727"/>
                  <a:gd name="connsiteY5" fmla="*/ 62585 h 70520"/>
                  <a:gd name="connsiteX6" fmla="*/ 43138 w 45727"/>
                  <a:gd name="connsiteY6" fmla="*/ 69799 h 70520"/>
                  <a:gd name="connsiteX7" fmla="*/ 40493 w 45727"/>
                  <a:gd name="connsiteY7" fmla="*/ 70520 h 7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7" h="70520">
                    <a:moveTo>
                      <a:pt x="40493" y="70520"/>
                    </a:moveTo>
                    <a:cubicBezTo>
                      <a:pt x="38690" y="70520"/>
                      <a:pt x="36916" y="69588"/>
                      <a:pt x="35924" y="67905"/>
                    </a:cubicBezTo>
                    <a:lnTo>
                      <a:pt x="726" y="7939"/>
                    </a:lnTo>
                    <a:cubicBezTo>
                      <a:pt x="-747" y="5414"/>
                      <a:pt x="95" y="2198"/>
                      <a:pt x="2589" y="725"/>
                    </a:cubicBezTo>
                    <a:cubicBezTo>
                      <a:pt x="5084" y="-748"/>
                      <a:pt x="8331" y="94"/>
                      <a:pt x="9804" y="2618"/>
                    </a:cubicBezTo>
                    <a:lnTo>
                      <a:pt x="45002" y="62585"/>
                    </a:lnTo>
                    <a:cubicBezTo>
                      <a:pt x="46475" y="65110"/>
                      <a:pt x="45633" y="68326"/>
                      <a:pt x="43138" y="69799"/>
                    </a:cubicBezTo>
                    <a:cubicBezTo>
                      <a:pt x="42327" y="70280"/>
                      <a:pt x="41395" y="70520"/>
                      <a:pt x="40493" y="70520"/>
                    </a:cubicBezTo>
                    <a:close/>
                  </a:path>
                </a:pathLst>
              </a:custGeom>
              <a:grpFill/>
              <a:ln w="3004" cap="flat">
                <a:noFill/>
                <a:prstDash val="solid"/>
                <a:miter/>
              </a:ln>
            </p:spPr>
            <p:txBody>
              <a:bodyPr rtlCol="0" anchor="ctr"/>
              <a:lstStyle/>
              <a:p>
                <a:endParaRPr lang="en-GB" dirty="0"/>
              </a:p>
            </p:txBody>
          </p:sp>
        </p:grpSp>
      </p:grpSp>
      <p:grpSp>
        <p:nvGrpSpPr>
          <p:cNvPr id="32" name="Group 31">
            <a:extLst>
              <a:ext uri="{FF2B5EF4-FFF2-40B4-BE49-F238E27FC236}">
                <a16:creationId xmlns:a16="http://schemas.microsoft.com/office/drawing/2014/main" id="{918F37F7-B117-ACAD-93AA-B56C4CE36341}"/>
              </a:ext>
            </a:extLst>
          </p:cNvPr>
          <p:cNvGrpSpPr/>
          <p:nvPr/>
        </p:nvGrpSpPr>
        <p:grpSpPr>
          <a:xfrm>
            <a:off x="6045776" y="3273397"/>
            <a:ext cx="432000" cy="432000"/>
            <a:chOff x="6093163" y="3273397"/>
            <a:chExt cx="432000" cy="432000"/>
          </a:xfrm>
        </p:grpSpPr>
        <p:sp>
          <p:nvSpPr>
            <p:cNvPr id="536" name="Freihandform: Form 535">
              <a:extLst>
                <a:ext uri="{FF2B5EF4-FFF2-40B4-BE49-F238E27FC236}">
                  <a16:creationId xmlns:a16="http://schemas.microsoft.com/office/drawing/2014/main" id="{E79BBF5E-849E-4F0F-BB48-09B94599D23B}"/>
                </a:ext>
              </a:extLst>
            </p:cNvPr>
            <p:cNvSpPr/>
            <p:nvPr/>
          </p:nvSpPr>
          <p:spPr>
            <a:xfrm>
              <a:off x="6225612" y="3383543"/>
              <a:ext cx="178569" cy="208442"/>
            </a:xfrm>
            <a:custGeom>
              <a:avLst/>
              <a:gdLst>
                <a:gd name="connsiteX0" fmla="*/ 45734 w 198348"/>
                <a:gd name="connsiteY0" fmla="*/ 231531 h 231530"/>
                <a:gd name="connsiteX1" fmla="*/ 45464 w 198348"/>
                <a:gd name="connsiteY1" fmla="*/ 231531 h 231530"/>
                <a:gd name="connsiteX2" fmla="*/ 40474 w 198348"/>
                <a:gd name="connsiteY2" fmla="*/ 225970 h 231530"/>
                <a:gd name="connsiteX3" fmla="*/ 40654 w 198348"/>
                <a:gd name="connsiteY3" fmla="*/ 183467 h 231530"/>
                <a:gd name="connsiteX4" fmla="*/ 33530 w 198348"/>
                <a:gd name="connsiteY4" fmla="*/ 171294 h 231530"/>
                <a:gd name="connsiteX5" fmla="*/ 196 w 198348"/>
                <a:gd name="connsiteY5" fmla="*/ 87401 h 231530"/>
                <a:gd name="connsiteX6" fmla="*/ 135 w 198348"/>
                <a:gd name="connsiteY6" fmla="*/ 86289 h 231530"/>
                <a:gd name="connsiteX7" fmla="*/ 15 w 198348"/>
                <a:gd name="connsiteY7" fmla="*/ 80638 h 231530"/>
                <a:gd name="connsiteX8" fmla="*/ 63168 w 198348"/>
                <a:gd name="connsiteY8" fmla="*/ 1434 h 231530"/>
                <a:gd name="connsiteX9" fmla="*/ 150067 w 198348"/>
                <a:gd name="connsiteY9" fmla="*/ 18597 h 231530"/>
                <a:gd name="connsiteX10" fmla="*/ 174985 w 198348"/>
                <a:gd name="connsiteY10" fmla="*/ 69396 h 231530"/>
                <a:gd name="connsiteX11" fmla="*/ 176037 w 198348"/>
                <a:gd name="connsiteY11" fmla="*/ 74416 h 231530"/>
                <a:gd name="connsiteX12" fmla="*/ 176698 w 198348"/>
                <a:gd name="connsiteY12" fmla="*/ 95577 h 231530"/>
                <a:gd name="connsiteX13" fmla="*/ 183882 w 198348"/>
                <a:gd name="connsiteY13" fmla="*/ 104775 h 231530"/>
                <a:gd name="connsiteX14" fmla="*/ 197378 w 198348"/>
                <a:gd name="connsiteY14" fmla="*/ 124373 h 231530"/>
                <a:gd name="connsiteX15" fmla="*/ 196146 w 198348"/>
                <a:gd name="connsiteY15" fmla="*/ 136817 h 231530"/>
                <a:gd name="connsiteX16" fmla="*/ 186317 w 198348"/>
                <a:gd name="connsiteY16" fmla="*/ 142618 h 231530"/>
                <a:gd name="connsiteX17" fmla="*/ 181357 w 198348"/>
                <a:gd name="connsiteY17" fmla="*/ 142558 h 231530"/>
                <a:gd name="connsiteX18" fmla="*/ 179193 w 198348"/>
                <a:gd name="connsiteY18" fmla="*/ 142498 h 231530"/>
                <a:gd name="connsiteX19" fmla="*/ 179343 w 198348"/>
                <a:gd name="connsiteY19" fmla="*/ 157978 h 231530"/>
                <a:gd name="connsiteX20" fmla="*/ 179524 w 198348"/>
                <a:gd name="connsiteY20" fmla="*/ 177486 h 231530"/>
                <a:gd name="connsiteX21" fmla="*/ 156529 w 198348"/>
                <a:gd name="connsiteY21" fmla="*/ 200480 h 231530"/>
                <a:gd name="connsiteX22" fmla="*/ 139666 w 198348"/>
                <a:gd name="connsiteY22" fmla="*/ 200480 h 231530"/>
                <a:gd name="connsiteX23" fmla="*/ 139666 w 198348"/>
                <a:gd name="connsiteY23" fmla="*/ 226210 h 231530"/>
                <a:gd name="connsiteX24" fmla="*/ 134406 w 198348"/>
                <a:gd name="connsiteY24" fmla="*/ 231470 h 231530"/>
                <a:gd name="connsiteX25" fmla="*/ 129146 w 198348"/>
                <a:gd name="connsiteY25" fmla="*/ 226210 h 231530"/>
                <a:gd name="connsiteX26" fmla="*/ 129146 w 198348"/>
                <a:gd name="connsiteY26" fmla="*/ 195190 h 231530"/>
                <a:gd name="connsiteX27" fmla="*/ 134406 w 198348"/>
                <a:gd name="connsiteY27" fmla="*/ 189930 h 231530"/>
                <a:gd name="connsiteX28" fmla="*/ 156559 w 198348"/>
                <a:gd name="connsiteY28" fmla="*/ 189930 h 231530"/>
                <a:gd name="connsiteX29" fmla="*/ 169003 w 198348"/>
                <a:gd name="connsiteY29" fmla="*/ 177486 h 231530"/>
                <a:gd name="connsiteX30" fmla="*/ 168823 w 198348"/>
                <a:gd name="connsiteY30" fmla="*/ 158128 h 231530"/>
                <a:gd name="connsiteX31" fmla="*/ 171829 w 198348"/>
                <a:gd name="connsiteY31" fmla="*/ 132939 h 231530"/>
                <a:gd name="connsiteX32" fmla="*/ 172640 w 198348"/>
                <a:gd name="connsiteY32" fmla="*/ 132608 h 231530"/>
                <a:gd name="connsiteX33" fmla="*/ 181718 w 198348"/>
                <a:gd name="connsiteY33" fmla="*/ 132038 h 231530"/>
                <a:gd name="connsiteX34" fmla="*/ 186046 w 198348"/>
                <a:gd name="connsiteY34" fmla="*/ 132098 h 231530"/>
                <a:gd name="connsiteX35" fmla="*/ 187609 w 198348"/>
                <a:gd name="connsiteY35" fmla="*/ 130685 h 231530"/>
                <a:gd name="connsiteX36" fmla="*/ 187459 w 198348"/>
                <a:gd name="connsiteY36" fmla="*/ 127859 h 231530"/>
                <a:gd name="connsiteX37" fmla="*/ 176007 w 198348"/>
                <a:gd name="connsiteY37" fmla="*/ 111718 h 231530"/>
                <a:gd name="connsiteX38" fmla="*/ 167320 w 198348"/>
                <a:gd name="connsiteY38" fmla="*/ 90827 h 231530"/>
                <a:gd name="connsiteX39" fmla="*/ 165847 w 198348"/>
                <a:gd name="connsiteY39" fmla="*/ 76850 h 231530"/>
                <a:gd name="connsiteX40" fmla="*/ 164525 w 198348"/>
                <a:gd name="connsiteY40" fmla="*/ 69967 h 231530"/>
                <a:gd name="connsiteX41" fmla="*/ 143664 w 198348"/>
                <a:gd name="connsiteY41" fmla="*/ 26833 h 231530"/>
                <a:gd name="connsiteX42" fmla="*/ 64701 w 198348"/>
                <a:gd name="connsiteY42" fmla="*/ 11774 h 231530"/>
                <a:gd name="connsiteX43" fmla="*/ 10686 w 198348"/>
                <a:gd name="connsiteY43" fmla="*/ 80367 h 231530"/>
                <a:gd name="connsiteX44" fmla="*/ 10806 w 198348"/>
                <a:gd name="connsiteY44" fmla="*/ 85687 h 231530"/>
                <a:gd name="connsiteX45" fmla="*/ 10866 w 198348"/>
                <a:gd name="connsiteY45" fmla="*/ 86830 h 231530"/>
                <a:gd name="connsiteX46" fmla="*/ 42608 w 198348"/>
                <a:gd name="connsiteY46" fmla="*/ 165613 h 231530"/>
                <a:gd name="connsiteX47" fmla="*/ 50754 w 198348"/>
                <a:gd name="connsiteY47" fmla="*/ 179920 h 231530"/>
                <a:gd name="connsiteX48" fmla="*/ 51024 w 198348"/>
                <a:gd name="connsiteY48" fmla="*/ 180792 h 231530"/>
                <a:gd name="connsiteX49" fmla="*/ 51114 w 198348"/>
                <a:gd name="connsiteY49" fmla="*/ 226451 h 231530"/>
                <a:gd name="connsiteX50" fmla="*/ 45734 w 198348"/>
                <a:gd name="connsiteY50" fmla="*/ 231531 h 231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98348" h="231530">
                  <a:moveTo>
                    <a:pt x="45734" y="231531"/>
                  </a:moveTo>
                  <a:cubicBezTo>
                    <a:pt x="45644" y="231531"/>
                    <a:pt x="45554" y="231531"/>
                    <a:pt x="45464" y="231531"/>
                  </a:cubicBezTo>
                  <a:cubicBezTo>
                    <a:pt x="42548" y="231380"/>
                    <a:pt x="40323" y="228885"/>
                    <a:pt x="40474" y="225970"/>
                  </a:cubicBezTo>
                  <a:cubicBezTo>
                    <a:pt x="40985" y="216592"/>
                    <a:pt x="41947" y="191042"/>
                    <a:pt x="40654" y="183467"/>
                  </a:cubicBezTo>
                  <a:cubicBezTo>
                    <a:pt x="39602" y="181033"/>
                    <a:pt x="36777" y="176494"/>
                    <a:pt x="33530" y="171294"/>
                  </a:cubicBezTo>
                  <a:cubicBezTo>
                    <a:pt x="21597" y="152086"/>
                    <a:pt x="1608" y="119894"/>
                    <a:pt x="196" y="87401"/>
                  </a:cubicBezTo>
                  <a:lnTo>
                    <a:pt x="135" y="86289"/>
                  </a:lnTo>
                  <a:cubicBezTo>
                    <a:pt x="75" y="85146"/>
                    <a:pt x="75" y="84666"/>
                    <a:pt x="15" y="80638"/>
                  </a:cubicBezTo>
                  <a:cubicBezTo>
                    <a:pt x="-1127" y="7746"/>
                    <a:pt x="62507" y="1494"/>
                    <a:pt x="63168" y="1434"/>
                  </a:cubicBezTo>
                  <a:cubicBezTo>
                    <a:pt x="63168" y="1404"/>
                    <a:pt x="116822" y="-7313"/>
                    <a:pt x="150067" y="18597"/>
                  </a:cubicBezTo>
                  <a:cubicBezTo>
                    <a:pt x="165306" y="30470"/>
                    <a:pt x="173692" y="47573"/>
                    <a:pt x="174985" y="69396"/>
                  </a:cubicBezTo>
                  <a:cubicBezTo>
                    <a:pt x="175045" y="70298"/>
                    <a:pt x="175586" y="72492"/>
                    <a:pt x="176037" y="74416"/>
                  </a:cubicBezTo>
                  <a:cubicBezTo>
                    <a:pt x="177690" y="81239"/>
                    <a:pt x="179734" y="89655"/>
                    <a:pt x="176698" y="95577"/>
                  </a:cubicBezTo>
                  <a:cubicBezTo>
                    <a:pt x="177570" y="97591"/>
                    <a:pt x="181327" y="101859"/>
                    <a:pt x="183882" y="104775"/>
                  </a:cubicBezTo>
                  <a:cubicBezTo>
                    <a:pt x="189052" y="110666"/>
                    <a:pt x="194914" y="117339"/>
                    <a:pt x="197378" y="124373"/>
                  </a:cubicBezTo>
                  <a:cubicBezTo>
                    <a:pt x="199422" y="130234"/>
                    <a:pt x="197859" y="134352"/>
                    <a:pt x="196146" y="136817"/>
                  </a:cubicBezTo>
                  <a:cubicBezTo>
                    <a:pt x="193321" y="140935"/>
                    <a:pt x="188601" y="142558"/>
                    <a:pt x="186317" y="142618"/>
                  </a:cubicBezTo>
                  <a:cubicBezTo>
                    <a:pt x="184844" y="142678"/>
                    <a:pt x="183101" y="142618"/>
                    <a:pt x="181357" y="142558"/>
                  </a:cubicBezTo>
                  <a:cubicBezTo>
                    <a:pt x="180726" y="142558"/>
                    <a:pt x="179975" y="142528"/>
                    <a:pt x="179193" y="142498"/>
                  </a:cubicBezTo>
                  <a:cubicBezTo>
                    <a:pt x="179163" y="146345"/>
                    <a:pt x="179253" y="152417"/>
                    <a:pt x="179343" y="157978"/>
                  </a:cubicBezTo>
                  <a:cubicBezTo>
                    <a:pt x="179434" y="164290"/>
                    <a:pt x="179524" y="171234"/>
                    <a:pt x="179524" y="177486"/>
                  </a:cubicBezTo>
                  <a:cubicBezTo>
                    <a:pt x="179524" y="194348"/>
                    <a:pt x="165757" y="200480"/>
                    <a:pt x="156529" y="200480"/>
                  </a:cubicBezTo>
                  <a:lnTo>
                    <a:pt x="139666" y="200480"/>
                  </a:lnTo>
                  <a:lnTo>
                    <a:pt x="139666" y="226210"/>
                  </a:lnTo>
                  <a:cubicBezTo>
                    <a:pt x="139666" y="229126"/>
                    <a:pt x="137292" y="231470"/>
                    <a:pt x="134406" y="231470"/>
                  </a:cubicBezTo>
                  <a:cubicBezTo>
                    <a:pt x="131521" y="231470"/>
                    <a:pt x="129146" y="229096"/>
                    <a:pt x="129146" y="226210"/>
                  </a:cubicBezTo>
                  <a:lnTo>
                    <a:pt x="129146" y="195190"/>
                  </a:lnTo>
                  <a:cubicBezTo>
                    <a:pt x="129146" y="192274"/>
                    <a:pt x="131521" y="189930"/>
                    <a:pt x="134406" y="189930"/>
                  </a:cubicBezTo>
                  <a:lnTo>
                    <a:pt x="156559" y="189930"/>
                  </a:lnTo>
                  <a:cubicBezTo>
                    <a:pt x="158603" y="189900"/>
                    <a:pt x="169003" y="189178"/>
                    <a:pt x="169003" y="177486"/>
                  </a:cubicBezTo>
                  <a:cubicBezTo>
                    <a:pt x="169003" y="171294"/>
                    <a:pt x="168913" y="164410"/>
                    <a:pt x="168823" y="158128"/>
                  </a:cubicBezTo>
                  <a:cubicBezTo>
                    <a:pt x="168492" y="134683"/>
                    <a:pt x="168492" y="134683"/>
                    <a:pt x="171829" y="132939"/>
                  </a:cubicBezTo>
                  <a:cubicBezTo>
                    <a:pt x="172069" y="132789"/>
                    <a:pt x="172340" y="132699"/>
                    <a:pt x="172640" y="132608"/>
                  </a:cubicBezTo>
                  <a:cubicBezTo>
                    <a:pt x="174955" y="131827"/>
                    <a:pt x="178111" y="131947"/>
                    <a:pt x="181718" y="132038"/>
                  </a:cubicBezTo>
                  <a:cubicBezTo>
                    <a:pt x="183221" y="132067"/>
                    <a:pt x="184724" y="132128"/>
                    <a:pt x="186046" y="132098"/>
                  </a:cubicBezTo>
                  <a:cubicBezTo>
                    <a:pt x="185956" y="132067"/>
                    <a:pt x="187159" y="131526"/>
                    <a:pt x="187609" y="130685"/>
                  </a:cubicBezTo>
                  <a:cubicBezTo>
                    <a:pt x="188030" y="129903"/>
                    <a:pt x="187760" y="128731"/>
                    <a:pt x="187459" y="127859"/>
                  </a:cubicBezTo>
                  <a:cubicBezTo>
                    <a:pt x="185686" y="122749"/>
                    <a:pt x="180546" y="116888"/>
                    <a:pt x="176007" y="111718"/>
                  </a:cubicBezTo>
                  <a:cubicBezTo>
                    <a:pt x="169184" y="103933"/>
                    <a:pt x="163292" y="97200"/>
                    <a:pt x="167320" y="90827"/>
                  </a:cubicBezTo>
                  <a:cubicBezTo>
                    <a:pt x="168703" y="88663"/>
                    <a:pt x="166689" y="80397"/>
                    <a:pt x="165847" y="76850"/>
                  </a:cubicBezTo>
                  <a:cubicBezTo>
                    <a:pt x="165156" y="74025"/>
                    <a:pt x="164615" y="71800"/>
                    <a:pt x="164525" y="69967"/>
                  </a:cubicBezTo>
                  <a:cubicBezTo>
                    <a:pt x="163413" y="51271"/>
                    <a:pt x="156379" y="36783"/>
                    <a:pt x="143664" y="26833"/>
                  </a:cubicBezTo>
                  <a:cubicBezTo>
                    <a:pt x="114538" y="4109"/>
                    <a:pt x="65182" y="11684"/>
                    <a:pt x="64701" y="11774"/>
                  </a:cubicBezTo>
                  <a:cubicBezTo>
                    <a:pt x="61966" y="12044"/>
                    <a:pt x="9694" y="17485"/>
                    <a:pt x="10686" y="80367"/>
                  </a:cubicBezTo>
                  <a:cubicBezTo>
                    <a:pt x="10746" y="84154"/>
                    <a:pt x="10776" y="84635"/>
                    <a:pt x="10806" y="85687"/>
                  </a:cubicBezTo>
                  <a:lnTo>
                    <a:pt x="10866" y="86830"/>
                  </a:lnTo>
                  <a:cubicBezTo>
                    <a:pt x="12129" y="116557"/>
                    <a:pt x="31216" y="147247"/>
                    <a:pt x="42608" y="165613"/>
                  </a:cubicBezTo>
                  <a:cubicBezTo>
                    <a:pt x="46606" y="172075"/>
                    <a:pt x="49521" y="176734"/>
                    <a:pt x="50754" y="179920"/>
                  </a:cubicBezTo>
                  <a:cubicBezTo>
                    <a:pt x="50874" y="180191"/>
                    <a:pt x="50964" y="180492"/>
                    <a:pt x="51024" y="180792"/>
                  </a:cubicBezTo>
                  <a:cubicBezTo>
                    <a:pt x="52978" y="190351"/>
                    <a:pt x="51325" y="222784"/>
                    <a:pt x="51114" y="226451"/>
                  </a:cubicBezTo>
                  <a:cubicBezTo>
                    <a:pt x="50844" y="229366"/>
                    <a:pt x="48529" y="231531"/>
                    <a:pt x="45734" y="231531"/>
                  </a:cubicBezTo>
                  <a:close/>
                </a:path>
              </a:pathLst>
            </a:custGeom>
            <a:solidFill>
              <a:schemeClr val="accent1"/>
            </a:solidFill>
            <a:ln w="3004" cap="flat">
              <a:noFill/>
              <a:prstDash val="solid"/>
              <a:miter/>
            </a:ln>
          </p:spPr>
          <p:txBody>
            <a:bodyPr rtlCol="0" anchor="ctr"/>
            <a:lstStyle/>
            <a:p>
              <a:endParaRPr lang="en-GB" dirty="0"/>
            </a:p>
          </p:txBody>
        </p:sp>
        <p:grpSp>
          <p:nvGrpSpPr>
            <p:cNvPr id="537" name="Group 983">
              <a:extLst>
                <a:ext uri="{FF2B5EF4-FFF2-40B4-BE49-F238E27FC236}">
                  <a16:creationId xmlns:a16="http://schemas.microsoft.com/office/drawing/2014/main" id="{9A23D888-B127-4D15-8A80-7943AC8A1799}"/>
                </a:ext>
              </a:extLst>
            </p:cNvPr>
            <p:cNvGrpSpPr/>
            <p:nvPr/>
          </p:nvGrpSpPr>
          <p:grpSpPr>
            <a:xfrm>
              <a:off x="6093163" y="3273397"/>
              <a:ext cx="432000" cy="432000"/>
              <a:chOff x="1730433" y="3284927"/>
              <a:chExt cx="479851" cy="479851"/>
            </a:xfrm>
            <a:solidFill>
              <a:schemeClr val="tx2"/>
            </a:solidFill>
          </p:grpSpPr>
          <p:grpSp>
            <p:nvGrpSpPr>
              <p:cNvPr id="538" name="Grafik 19">
                <a:extLst>
                  <a:ext uri="{FF2B5EF4-FFF2-40B4-BE49-F238E27FC236}">
                    <a16:creationId xmlns:a16="http://schemas.microsoft.com/office/drawing/2014/main" id="{2E6D7528-6525-4F47-9F59-429FC7062392}"/>
                  </a:ext>
                </a:extLst>
              </p:cNvPr>
              <p:cNvGrpSpPr/>
              <p:nvPr/>
            </p:nvGrpSpPr>
            <p:grpSpPr>
              <a:xfrm>
                <a:off x="1730433" y="3284927"/>
                <a:ext cx="479851" cy="479851"/>
                <a:chOff x="1730433" y="3284927"/>
                <a:chExt cx="479851" cy="479851"/>
              </a:xfrm>
              <a:grpFill/>
            </p:grpSpPr>
            <p:grpSp>
              <p:nvGrpSpPr>
                <p:cNvPr id="546" name="Grafik 19">
                  <a:extLst>
                    <a:ext uri="{FF2B5EF4-FFF2-40B4-BE49-F238E27FC236}">
                      <a16:creationId xmlns:a16="http://schemas.microsoft.com/office/drawing/2014/main" id="{6FAAEE4E-29CC-416A-BBCD-3E693CB29481}"/>
                    </a:ext>
                  </a:extLst>
                </p:cNvPr>
                <p:cNvGrpSpPr/>
                <p:nvPr/>
              </p:nvGrpSpPr>
              <p:grpSpPr>
                <a:xfrm>
                  <a:off x="1730433" y="3284927"/>
                  <a:ext cx="479851" cy="479851"/>
                  <a:chOff x="1730433" y="3284927"/>
                  <a:chExt cx="479851" cy="479851"/>
                </a:xfrm>
                <a:grpFill/>
              </p:grpSpPr>
              <p:sp>
                <p:nvSpPr>
                  <p:cNvPr id="549" name="Freihandform: Form 548">
                    <a:extLst>
                      <a:ext uri="{FF2B5EF4-FFF2-40B4-BE49-F238E27FC236}">
                        <a16:creationId xmlns:a16="http://schemas.microsoft.com/office/drawing/2014/main" id="{D0CB7284-4ED6-4D27-AE71-CB0F47243C1F}"/>
                      </a:ext>
                    </a:extLst>
                  </p:cNvPr>
                  <p:cNvSpPr/>
                  <p:nvPr/>
                </p:nvSpPr>
                <p:spPr>
                  <a:xfrm>
                    <a:off x="1730433" y="3284927"/>
                    <a:ext cx="479851" cy="479851"/>
                  </a:xfrm>
                  <a:custGeom>
                    <a:avLst/>
                    <a:gdLst>
                      <a:gd name="connsiteX0" fmla="*/ 239926 w 479851"/>
                      <a:gd name="connsiteY0" fmla="*/ 479852 h 479851"/>
                      <a:gd name="connsiteX1" fmla="*/ 0 w 479851"/>
                      <a:gd name="connsiteY1" fmla="*/ 239926 h 479851"/>
                      <a:gd name="connsiteX2" fmla="*/ 239926 w 479851"/>
                      <a:gd name="connsiteY2" fmla="*/ 0 h 479851"/>
                      <a:gd name="connsiteX3" fmla="*/ 479852 w 479851"/>
                      <a:gd name="connsiteY3" fmla="*/ 239926 h 479851"/>
                      <a:gd name="connsiteX4" fmla="*/ 239926 w 479851"/>
                      <a:gd name="connsiteY4" fmla="*/ 479852 h 479851"/>
                      <a:gd name="connsiteX5" fmla="*/ 239926 w 479851"/>
                      <a:gd name="connsiteY5" fmla="*/ 10580 h 479851"/>
                      <a:gd name="connsiteX6" fmla="*/ 10550 w 479851"/>
                      <a:gd name="connsiteY6" fmla="*/ 239956 h 479851"/>
                      <a:gd name="connsiteX7" fmla="*/ 239926 w 479851"/>
                      <a:gd name="connsiteY7" fmla="*/ 469331 h 479851"/>
                      <a:gd name="connsiteX8" fmla="*/ 469301 w 479851"/>
                      <a:gd name="connsiteY8" fmla="*/ 239956 h 479851"/>
                      <a:gd name="connsiteX9" fmla="*/ 239926 w 479851"/>
                      <a:gd name="connsiteY9" fmla="*/ 10580 h 47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851" h="479851">
                        <a:moveTo>
                          <a:pt x="239926" y="479852"/>
                        </a:moveTo>
                        <a:cubicBezTo>
                          <a:pt x="107639" y="479852"/>
                          <a:pt x="0" y="372243"/>
                          <a:pt x="0" y="239926"/>
                        </a:cubicBezTo>
                        <a:cubicBezTo>
                          <a:pt x="0" y="107639"/>
                          <a:pt x="107609" y="0"/>
                          <a:pt x="239926" y="0"/>
                        </a:cubicBezTo>
                        <a:cubicBezTo>
                          <a:pt x="372213" y="0"/>
                          <a:pt x="479852" y="107609"/>
                          <a:pt x="479852" y="239926"/>
                        </a:cubicBezTo>
                        <a:cubicBezTo>
                          <a:pt x="479822" y="372243"/>
                          <a:pt x="372213" y="479852"/>
                          <a:pt x="239926" y="479852"/>
                        </a:cubicBezTo>
                        <a:close/>
                        <a:moveTo>
                          <a:pt x="239926" y="10580"/>
                        </a:moveTo>
                        <a:cubicBezTo>
                          <a:pt x="113470" y="10580"/>
                          <a:pt x="10550" y="113470"/>
                          <a:pt x="10550" y="239956"/>
                        </a:cubicBezTo>
                        <a:cubicBezTo>
                          <a:pt x="10550" y="366441"/>
                          <a:pt x="113440" y="469331"/>
                          <a:pt x="239926" y="469331"/>
                        </a:cubicBezTo>
                        <a:cubicBezTo>
                          <a:pt x="366411" y="469331"/>
                          <a:pt x="469301" y="366441"/>
                          <a:pt x="469301" y="239956"/>
                        </a:cubicBezTo>
                        <a:cubicBezTo>
                          <a:pt x="469271" y="113470"/>
                          <a:pt x="366381" y="10580"/>
                          <a:pt x="239926" y="10580"/>
                        </a:cubicBezTo>
                        <a:close/>
                      </a:path>
                    </a:pathLst>
                  </a:custGeom>
                  <a:grpFill/>
                  <a:ln w="3004" cap="flat">
                    <a:noFill/>
                    <a:prstDash val="solid"/>
                    <a:miter/>
                  </a:ln>
                </p:spPr>
                <p:txBody>
                  <a:bodyPr rtlCol="0" anchor="ctr"/>
                  <a:lstStyle/>
                  <a:p>
                    <a:endParaRPr lang="en-GB" dirty="0"/>
                  </a:p>
                </p:txBody>
              </p:sp>
              <p:sp>
                <p:nvSpPr>
                  <p:cNvPr id="550" name="Freihandform: Form 549">
                    <a:extLst>
                      <a:ext uri="{FF2B5EF4-FFF2-40B4-BE49-F238E27FC236}">
                        <a16:creationId xmlns:a16="http://schemas.microsoft.com/office/drawing/2014/main" id="{8922F29C-CB8A-4301-A15F-0E59ECDAFB5F}"/>
                      </a:ext>
                    </a:extLst>
                  </p:cNvPr>
                  <p:cNvSpPr/>
                  <p:nvPr/>
                </p:nvSpPr>
                <p:spPr>
                  <a:xfrm>
                    <a:off x="1775611" y="3330105"/>
                    <a:ext cx="389466" cy="389496"/>
                  </a:xfrm>
                  <a:custGeom>
                    <a:avLst/>
                    <a:gdLst>
                      <a:gd name="connsiteX0" fmla="*/ 194718 w 389466"/>
                      <a:gd name="connsiteY0" fmla="*/ 389496 h 389496"/>
                      <a:gd name="connsiteX1" fmla="*/ 0 w 389466"/>
                      <a:gd name="connsiteY1" fmla="*/ 194748 h 389496"/>
                      <a:gd name="connsiteX2" fmla="*/ 194718 w 389466"/>
                      <a:gd name="connsiteY2" fmla="*/ 0 h 389496"/>
                      <a:gd name="connsiteX3" fmla="*/ 389466 w 389466"/>
                      <a:gd name="connsiteY3" fmla="*/ 194748 h 389496"/>
                      <a:gd name="connsiteX4" fmla="*/ 194718 w 389466"/>
                      <a:gd name="connsiteY4" fmla="*/ 389496 h 389496"/>
                      <a:gd name="connsiteX5" fmla="*/ 194718 w 389466"/>
                      <a:gd name="connsiteY5" fmla="*/ 10551 h 389496"/>
                      <a:gd name="connsiteX6" fmla="*/ 10550 w 389466"/>
                      <a:gd name="connsiteY6" fmla="*/ 194748 h 389496"/>
                      <a:gd name="connsiteX7" fmla="*/ 194718 w 389466"/>
                      <a:gd name="connsiteY7" fmla="*/ 378946 h 389496"/>
                      <a:gd name="connsiteX8" fmla="*/ 378916 w 389466"/>
                      <a:gd name="connsiteY8" fmla="*/ 194748 h 389496"/>
                      <a:gd name="connsiteX9" fmla="*/ 194718 w 389466"/>
                      <a:gd name="connsiteY9" fmla="*/ 10551 h 389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9466" h="389496">
                        <a:moveTo>
                          <a:pt x="194718" y="389496"/>
                        </a:moveTo>
                        <a:cubicBezTo>
                          <a:pt x="87350" y="389496"/>
                          <a:pt x="0" y="302147"/>
                          <a:pt x="0" y="194748"/>
                        </a:cubicBezTo>
                        <a:cubicBezTo>
                          <a:pt x="0" y="87350"/>
                          <a:pt x="87350" y="0"/>
                          <a:pt x="194718" y="0"/>
                        </a:cubicBezTo>
                        <a:cubicBezTo>
                          <a:pt x="302117" y="0"/>
                          <a:pt x="389466" y="87380"/>
                          <a:pt x="389466" y="194748"/>
                        </a:cubicBezTo>
                        <a:cubicBezTo>
                          <a:pt x="389496" y="302147"/>
                          <a:pt x="302117" y="389496"/>
                          <a:pt x="194718" y="389496"/>
                        </a:cubicBezTo>
                        <a:close/>
                        <a:moveTo>
                          <a:pt x="194718" y="10551"/>
                        </a:moveTo>
                        <a:cubicBezTo>
                          <a:pt x="93151" y="10551"/>
                          <a:pt x="10550" y="93181"/>
                          <a:pt x="10550" y="194748"/>
                        </a:cubicBezTo>
                        <a:cubicBezTo>
                          <a:pt x="10550" y="296315"/>
                          <a:pt x="93181" y="378946"/>
                          <a:pt x="194718" y="378946"/>
                        </a:cubicBezTo>
                        <a:cubicBezTo>
                          <a:pt x="296285" y="378946"/>
                          <a:pt x="378916" y="296315"/>
                          <a:pt x="378916" y="194748"/>
                        </a:cubicBezTo>
                        <a:cubicBezTo>
                          <a:pt x="378946" y="93211"/>
                          <a:pt x="296285" y="10551"/>
                          <a:pt x="194718" y="10551"/>
                        </a:cubicBezTo>
                        <a:close/>
                      </a:path>
                    </a:pathLst>
                  </a:custGeom>
                  <a:grpFill/>
                  <a:ln w="3004" cap="flat">
                    <a:noFill/>
                    <a:prstDash val="solid"/>
                    <a:miter/>
                  </a:ln>
                </p:spPr>
                <p:txBody>
                  <a:bodyPr rtlCol="0" anchor="ctr"/>
                  <a:lstStyle/>
                  <a:p>
                    <a:endParaRPr lang="en-GB" dirty="0"/>
                  </a:p>
                </p:txBody>
              </p:sp>
            </p:grpSp>
            <p:sp>
              <p:nvSpPr>
                <p:cNvPr id="547" name="Freihandform: Form 546">
                  <a:extLst>
                    <a:ext uri="{FF2B5EF4-FFF2-40B4-BE49-F238E27FC236}">
                      <a16:creationId xmlns:a16="http://schemas.microsoft.com/office/drawing/2014/main" id="{A1541434-B383-4E2E-8EA6-8CFA75159AEA}"/>
                    </a:ext>
                  </a:extLst>
                </p:cNvPr>
                <p:cNvSpPr/>
                <p:nvPr/>
              </p:nvSpPr>
              <p:spPr>
                <a:xfrm>
                  <a:off x="1963716" y="3287753"/>
                  <a:ext cx="10520" cy="51760"/>
                </a:xfrm>
                <a:custGeom>
                  <a:avLst/>
                  <a:gdLst>
                    <a:gd name="connsiteX0" fmla="*/ 5260 w 10520"/>
                    <a:gd name="connsiteY0" fmla="*/ 51760 h 51760"/>
                    <a:gd name="connsiteX1" fmla="*/ 0 w 10520"/>
                    <a:gd name="connsiteY1" fmla="*/ 46500 h 51760"/>
                    <a:gd name="connsiteX2" fmla="*/ 0 w 10520"/>
                    <a:gd name="connsiteY2" fmla="*/ 5260 h 51760"/>
                    <a:gd name="connsiteX3" fmla="*/ 5260 w 10520"/>
                    <a:gd name="connsiteY3" fmla="*/ 0 h 51760"/>
                    <a:gd name="connsiteX4" fmla="*/ 10520 w 10520"/>
                    <a:gd name="connsiteY4" fmla="*/ 5260 h 51760"/>
                    <a:gd name="connsiteX5" fmla="*/ 10520 w 10520"/>
                    <a:gd name="connsiteY5" fmla="*/ 46500 h 51760"/>
                    <a:gd name="connsiteX6" fmla="*/ 5260 w 10520"/>
                    <a:gd name="connsiteY6" fmla="*/ 51760 h 51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51760">
                      <a:moveTo>
                        <a:pt x="5260" y="51760"/>
                      </a:moveTo>
                      <a:cubicBezTo>
                        <a:pt x="2345" y="51760"/>
                        <a:pt x="0" y="49386"/>
                        <a:pt x="0" y="46500"/>
                      </a:cubicBezTo>
                      <a:lnTo>
                        <a:pt x="0" y="5260"/>
                      </a:lnTo>
                      <a:cubicBezTo>
                        <a:pt x="0" y="2344"/>
                        <a:pt x="2375" y="0"/>
                        <a:pt x="5260" y="0"/>
                      </a:cubicBezTo>
                      <a:cubicBezTo>
                        <a:pt x="8146" y="0"/>
                        <a:pt x="10520" y="2375"/>
                        <a:pt x="10520" y="5260"/>
                      </a:cubicBezTo>
                      <a:lnTo>
                        <a:pt x="10520" y="46500"/>
                      </a:lnTo>
                      <a:cubicBezTo>
                        <a:pt x="10551" y="49386"/>
                        <a:pt x="8176" y="51760"/>
                        <a:pt x="5260" y="51760"/>
                      </a:cubicBezTo>
                      <a:close/>
                    </a:path>
                  </a:pathLst>
                </a:custGeom>
                <a:grpFill/>
                <a:ln w="3004" cap="flat">
                  <a:noFill/>
                  <a:prstDash val="solid"/>
                  <a:miter/>
                </a:ln>
              </p:spPr>
              <p:txBody>
                <a:bodyPr rtlCol="0" anchor="ctr"/>
                <a:lstStyle/>
                <a:p>
                  <a:endParaRPr lang="en-GB" dirty="0"/>
                </a:p>
              </p:txBody>
            </p:sp>
            <p:sp>
              <p:nvSpPr>
                <p:cNvPr id="548" name="Freihandform: Form 547">
                  <a:extLst>
                    <a:ext uri="{FF2B5EF4-FFF2-40B4-BE49-F238E27FC236}">
                      <a16:creationId xmlns:a16="http://schemas.microsoft.com/office/drawing/2014/main" id="{713BD1C5-BD30-4F9D-960A-FA3C8EFFE24A}"/>
                    </a:ext>
                  </a:extLst>
                </p:cNvPr>
                <p:cNvSpPr/>
                <p:nvPr/>
              </p:nvSpPr>
              <p:spPr>
                <a:xfrm>
                  <a:off x="2113557" y="3643313"/>
                  <a:ext cx="40788" cy="38594"/>
                </a:xfrm>
                <a:custGeom>
                  <a:avLst/>
                  <a:gdLst>
                    <a:gd name="connsiteX0" fmla="*/ 35499 w 40788"/>
                    <a:gd name="connsiteY0" fmla="*/ 38595 h 38594"/>
                    <a:gd name="connsiteX1" fmla="*/ 31922 w 40788"/>
                    <a:gd name="connsiteY1" fmla="*/ 37182 h 38594"/>
                    <a:gd name="connsiteX2" fmla="*/ 1683 w 40788"/>
                    <a:gd name="connsiteY2" fmla="*/ 9137 h 38594"/>
                    <a:gd name="connsiteX3" fmla="*/ 1412 w 40788"/>
                    <a:gd name="connsiteY3" fmla="*/ 1683 h 38594"/>
                    <a:gd name="connsiteX4" fmla="*/ 8867 w 40788"/>
                    <a:gd name="connsiteY4" fmla="*/ 1412 h 38594"/>
                    <a:gd name="connsiteX5" fmla="*/ 39106 w 40788"/>
                    <a:gd name="connsiteY5" fmla="*/ 29457 h 38594"/>
                    <a:gd name="connsiteX6" fmla="*/ 39376 w 40788"/>
                    <a:gd name="connsiteY6" fmla="*/ 36911 h 38594"/>
                    <a:gd name="connsiteX7" fmla="*/ 35499 w 40788"/>
                    <a:gd name="connsiteY7" fmla="*/ 38595 h 3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88" h="38594">
                      <a:moveTo>
                        <a:pt x="35499" y="38595"/>
                      </a:moveTo>
                      <a:cubicBezTo>
                        <a:pt x="34206" y="38595"/>
                        <a:pt x="32914" y="38114"/>
                        <a:pt x="31922" y="37182"/>
                      </a:cubicBezTo>
                      <a:lnTo>
                        <a:pt x="1683" y="9137"/>
                      </a:lnTo>
                      <a:cubicBezTo>
                        <a:pt x="-451" y="7154"/>
                        <a:pt x="-571" y="3817"/>
                        <a:pt x="1412" y="1683"/>
                      </a:cubicBezTo>
                      <a:cubicBezTo>
                        <a:pt x="3396" y="-451"/>
                        <a:pt x="6733" y="-571"/>
                        <a:pt x="8867" y="1412"/>
                      </a:cubicBezTo>
                      <a:lnTo>
                        <a:pt x="39106" y="29457"/>
                      </a:lnTo>
                      <a:cubicBezTo>
                        <a:pt x="41240" y="31441"/>
                        <a:pt x="41360" y="34777"/>
                        <a:pt x="39376" y="36911"/>
                      </a:cubicBezTo>
                      <a:cubicBezTo>
                        <a:pt x="38324" y="38024"/>
                        <a:pt x="36911" y="38595"/>
                        <a:pt x="35499" y="38595"/>
                      </a:cubicBezTo>
                      <a:close/>
                    </a:path>
                  </a:pathLst>
                </a:custGeom>
                <a:grpFill/>
                <a:ln w="3004" cap="flat">
                  <a:noFill/>
                  <a:prstDash val="solid"/>
                  <a:miter/>
                </a:ln>
              </p:spPr>
              <p:txBody>
                <a:bodyPr rtlCol="0" anchor="ctr"/>
                <a:lstStyle/>
                <a:p>
                  <a:endParaRPr lang="en-GB" dirty="0"/>
                </a:p>
              </p:txBody>
            </p:sp>
          </p:grpSp>
          <p:sp>
            <p:nvSpPr>
              <p:cNvPr id="539" name="Freihandform: Form 538">
                <a:extLst>
                  <a:ext uri="{FF2B5EF4-FFF2-40B4-BE49-F238E27FC236}">
                    <a16:creationId xmlns:a16="http://schemas.microsoft.com/office/drawing/2014/main" id="{E855C09E-6F42-4D17-99B9-733794FFEA99}"/>
                  </a:ext>
                </a:extLst>
              </p:cNvPr>
              <p:cNvSpPr/>
              <p:nvPr/>
            </p:nvSpPr>
            <p:spPr>
              <a:xfrm>
                <a:off x="1949258" y="3354632"/>
                <a:ext cx="37062" cy="37031"/>
              </a:xfrm>
              <a:custGeom>
                <a:avLst/>
                <a:gdLst>
                  <a:gd name="connsiteX0" fmla="*/ 18516 w 37062"/>
                  <a:gd name="connsiteY0" fmla="*/ 37032 h 37031"/>
                  <a:gd name="connsiteX1" fmla="*/ 0 w 37062"/>
                  <a:gd name="connsiteY1" fmla="*/ 18516 h 37031"/>
                  <a:gd name="connsiteX2" fmla="*/ 18516 w 37062"/>
                  <a:gd name="connsiteY2" fmla="*/ 0 h 37031"/>
                  <a:gd name="connsiteX3" fmla="*/ 37062 w 37062"/>
                  <a:gd name="connsiteY3" fmla="*/ 18516 h 37031"/>
                  <a:gd name="connsiteX4" fmla="*/ 18516 w 37062"/>
                  <a:gd name="connsiteY4" fmla="*/ 37032 h 37031"/>
                  <a:gd name="connsiteX5" fmla="*/ 18516 w 37062"/>
                  <a:gd name="connsiteY5" fmla="*/ 10550 h 37031"/>
                  <a:gd name="connsiteX6" fmla="*/ 10551 w 37062"/>
                  <a:gd name="connsiteY6" fmla="*/ 18516 h 37031"/>
                  <a:gd name="connsiteX7" fmla="*/ 18516 w 37062"/>
                  <a:gd name="connsiteY7" fmla="*/ 26511 h 37031"/>
                  <a:gd name="connsiteX8" fmla="*/ 26512 w 37062"/>
                  <a:gd name="connsiteY8" fmla="*/ 18516 h 37031"/>
                  <a:gd name="connsiteX9" fmla="*/ 18516 w 37062"/>
                  <a:gd name="connsiteY9" fmla="*/ 10550 h 37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62" h="37031">
                    <a:moveTo>
                      <a:pt x="18516" y="37032"/>
                    </a:moveTo>
                    <a:cubicBezTo>
                      <a:pt x="8296" y="37032"/>
                      <a:pt x="0" y="28736"/>
                      <a:pt x="0" y="18516"/>
                    </a:cubicBezTo>
                    <a:cubicBezTo>
                      <a:pt x="0" y="8296"/>
                      <a:pt x="8296" y="0"/>
                      <a:pt x="18516" y="0"/>
                    </a:cubicBezTo>
                    <a:cubicBezTo>
                      <a:pt x="28736" y="0"/>
                      <a:pt x="37062" y="8296"/>
                      <a:pt x="37062" y="18516"/>
                    </a:cubicBezTo>
                    <a:cubicBezTo>
                      <a:pt x="37062" y="28736"/>
                      <a:pt x="28736" y="37032"/>
                      <a:pt x="18516" y="37032"/>
                    </a:cubicBezTo>
                    <a:close/>
                    <a:moveTo>
                      <a:pt x="18516" y="10550"/>
                    </a:moveTo>
                    <a:cubicBezTo>
                      <a:pt x="14127" y="10550"/>
                      <a:pt x="10551" y="14127"/>
                      <a:pt x="10551" y="18516"/>
                    </a:cubicBezTo>
                    <a:cubicBezTo>
                      <a:pt x="10551" y="22904"/>
                      <a:pt x="14127" y="26511"/>
                      <a:pt x="18516" y="26511"/>
                    </a:cubicBezTo>
                    <a:cubicBezTo>
                      <a:pt x="22904" y="26511"/>
                      <a:pt x="26512" y="22934"/>
                      <a:pt x="26512" y="18516"/>
                    </a:cubicBezTo>
                    <a:cubicBezTo>
                      <a:pt x="26512" y="14127"/>
                      <a:pt x="22935" y="10550"/>
                      <a:pt x="18516" y="10550"/>
                    </a:cubicBezTo>
                    <a:close/>
                  </a:path>
                </a:pathLst>
              </a:custGeom>
              <a:grpFill/>
              <a:ln w="3004" cap="flat">
                <a:noFill/>
                <a:prstDash val="solid"/>
                <a:miter/>
              </a:ln>
            </p:spPr>
            <p:txBody>
              <a:bodyPr rtlCol="0" anchor="ctr"/>
              <a:lstStyle/>
              <a:p>
                <a:endParaRPr lang="en-GB" dirty="0"/>
              </a:p>
            </p:txBody>
          </p:sp>
          <p:sp>
            <p:nvSpPr>
              <p:cNvPr id="540" name="Freihandform: Form 539">
                <a:extLst>
                  <a:ext uri="{FF2B5EF4-FFF2-40B4-BE49-F238E27FC236}">
                    <a16:creationId xmlns:a16="http://schemas.microsoft.com/office/drawing/2014/main" id="{B76DE58C-E056-4270-8AE2-C405393B8DA7}"/>
                  </a:ext>
                </a:extLst>
              </p:cNvPr>
              <p:cNvSpPr/>
              <p:nvPr/>
            </p:nvSpPr>
            <p:spPr>
              <a:xfrm>
                <a:off x="1949258" y="3656989"/>
                <a:ext cx="37062" cy="37062"/>
              </a:xfrm>
              <a:custGeom>
                <a:avLst/>
                <a:gdLst>
                  <a:gd name="connsiteX0" fmla="*/ 18516 w 37062"/>
                  <a:gd name="connsiteY0" fmla="*/ 37062 h 37062"/>
                  <a:gd name="connsiteX1" fmla="*/ 0 w 37062"/>
                  <a:gd name="connsiteY1" fmla="*/ 18546 h 37062"/>
                  <a:gd name="connsiteX2" fmla="*/ 18516 w 37062"/>
                  <a:gd name="connsiteY2" fmla="*/ 0 h 37062"/>
                  <a:gd name="connsiteX3" fmla="*/ 37062 w 37062"/>
                  <a:gd name="connsiteY3" fmla="*/ 18546 h 37062"/>
                  <a:gd name="connsiteX4" fmla="*/ 18516 w 37062"/>
                  <a:gd name="connsiteY4" fmla="*/ 37062 h 37062"/>
                  <a:gd name="connsiteX5" fmla="*/ 18516 w 37062"/>
                  <a:gd name="connsiteY5" fmla="*/ 10551 h 37062"/>
                  <a:gd name="connsiteX6" fmla="*/ 10551 w 37062"/>
                  <a:gd name="connsiteY6" fmla="*/ 18546 h 37062"/>
                  <a:gd name="connsiteX7" fmla="*/ 18516 w 37062"/>
                  <a:gd name="connsiteY7" fmla="*/ 26511 h 37062"/>
                  <a:gd name="connsiteX8" fmla="*/ 26512 w 37062"/>
                  <a:gd name="connsiteY8" fmla="*/ 18546 h 37062"/>
                  <a:gd name="connsiteX9" fmla="*/ 18516 w 37062"/>
                  <a:gd name="connsiteY9" fmla="*/ 10551 h 37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62" h="37062">
                    <a:moveTo>
                      <a:pt x="18516" y="37062"/>
                    </a:moveTo>
                    <a:cubicBezTo>
                      <a:pt x="8296" y="37062"/>
                      <a:pt x="0" y="28736"/>
                      <a:pt x="0" y="18546"/>
                    </a:cubicBezTo>
                    <a:cubicBezTo>
                      <a:pt x="0" y="8326"/>
                      <a:pt x="8296" y="0"/>
                      <a:pt x="18516" y="0"/>
                    </a:cubicBezTo>
                    <a:cubicBezTo>
                      <a:pt x="28736" y="0"/>
                      <a:pt x="37062" y="8296"/>
                      <a:pt x="37062" y="18546"/>
                    </a:cubicBezTo>
                    <a:cubicBezTo>
                      <a:pt x="37062" y="28736"/>
                      <a:pt x="28736" y="37062"/>
                      <a:pt x="18516" y="37062"/>
                    </a:cubicBezTo>
                    <a:close/>
                    <a:moveTo>
                      <a:pt x="18516" y="10551"/>
                    </a:moveTo>
                    <a:cubicBezTo>
                      <a:pt x="14127" y="10551"/>
                      <a:pt x="10551" y="14127"/>
                      <a:pt x="10551" y="18546"/>
                    </a:cubicBezTo>
                    <a:cubicBezTo>
                      <a:pt x="10551" y="22935"/>
                      <a:pt x="14127" y="26511"/>
                      <a:pt x="18516" y="26511"/>
                    </a:cubicBezTo>
                    <a:cubicBezTo>
                      <a:pt x="22904" y="26511"/>
                      <a:pt x="26512" y="22935"/>
                      <a:pt x="26512" y="18546"/>
                    </a:cubicBezTo>
                    <a:cubicBezTo>
                      <a:pt x="26512" y="14127"/>
                      <a:pt x="22935" y="10551"/>
                      <a:pt x="18516" y="10551"/>
                    </a:cubicBezTo>
                    <a:close/>
                  </a:path>
                </a:pathLst>
              </a:custGeom>
              <a:grpFill/>
              <a:ln w="3004" cap="flat">
                <a:noFill/>
                <a:prstDash val="solid"/>
                <a:miter/>
              </a:ln>
            </p:spPr>
            <p:txBody>
              <a:bodyPr rtlCol="0" anchor="ctr"/>
              <a:lstStyle/>
              <a:p>
                <a:endParaRPr lang="en-GB" dirty="0"/>
              </a:p>
            </p:txBody>
          </p:sp>
          <p:grpSp>
            <p:nvGrpSpPr>
              <p:cNvPr id="541" name="Grafik 19">
                <a:extLst>
                  <a:ext uri="{FF2B5EF4-FFF2-40B4-BE49-F238E27FC236}">
                    <a16:creationId xmlns:a16="http://schemas.microsoft.com/office/drawing/2014/main" id="{7E8AAA60-1CC3-4150-9C89-815427CB539F}"/>
                  </a:ext>
                </a:extLst>
              </p:cNvPr>
              <p:cNvGrpSpPr/>
              <p:nvPr/>
            </p:nvGrpSpPr>
            <p:grpSpPr>
              <a:xfrm>
                <a:off x="2013590" y="3300715"/>
                <a:ext cx="195063" cy="289274"/>
                <a:chOff x="2013590" y="3300715"/>
                <a:chExt cx="195063" cy="289274"/>
              </a:xfrm>
              <a:grpFill/>
            </p:grpSpPr>
            <p:sp>
              <p:nvSpPr>
                <p:cNvPr id="542" name="Freihandform: Form 541">
                  <a:extLst>
                    <a:ext uri="{FF2B5EF4-FFF2-40B4-BE49-F238E27FC236}">
                      <a16:creationId xmlns:a16="http://schemas.microsoft.com/office/drawing/2014/main" id="{AD2BD909-7A4B-46B8-B0C4-8FA8D7A2E232}"/>
                    </a:ext>
                  </a:extLst>
                </p:cNvPr>
                <p:cNvSpPr/>
                <p:nvPr/>
              </p:nvSpPr>
              <p:spPr>
                <a:xfrm>
                  <a:off x="2013590" y="3300715"/>
                  <a:ext cx="46154" cy="46132"/>
                </a:xfrm>
                <a:custGeom>
                  <a:avLst/>
                  <a:gdLst>
                    <a:gd name="connsiteX0" fmla="*/ 5283 w 46154"/>
                    <a:gd name="connsiteY0" fmla="*/ 46132 h 46132"/>
                    <a:gd name="connsiteX1" fmla="*/ 1556 w 46154"/>
                    <a:gd name="connsiteY1" fmla="*/ 44599 h 46132"/>
                    <a:gd name="connsiteX2" fmla="*/ 1556 w 46154"/>
                    <a:gd name="connsiteY2" fmla="*/ 37145 h 46132"/>
                    <a:gd name="connsiteX3" fmla="*/ 37145 w 46154"/>
                    <a:gd name="connsiteY3" fmla="*/ 1556 h 46132"/>
                    <a:gd name="connsiteX4" fmla="*/ 44599 w 46154"/>
                    <a:gd name="connsiteY4" fmla="*/ 1556 h 46132"/>
                    <a:gd name="connsiteX5" fmla="*/ 44599 w 46154"/>
                    <a:gd name="connsiteY5" fmla="*/ 9010 h 46132"/>
                    <a:gd name="connsiteX6" fmla="*/ 9010 w 46154"/>
                    <a:gd name="connsiteY6" fmla="*/ 44599 h 46132"/>
                    <a:gd name="connsiteX7" fmla="*/ 5283 w 46154"/>
                    <a:gd name="connsiteY7" fmla="*/ 46132 h 46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154" h="46132">
                      <a:moveTo>
                        <a:pt x="5283" y="46132"/>
                      </a:moveTo>
                      <a:cubicBezTo>
                        <a:pt x="3930" y="46132"/>
                        <a:pt x="2577" y="45621"/>
                        <a:pt x="1556" y="44599"/>
                      </a:cubicBezTo>
                      <a:cubicBezTo>
                        <a:pt x="-519" y="42525"/>
                        <a:pt x="-519" y="39189"/>
                        <a:pt x="1556" y="37145"/>
                      </a:cubicBezTo>
                      <a:lnTo>
                        <a:pt x="37145" y="1556"/>
                      </a:lnTo>
                      <a:cubicBezTo>
                        <a:pt x="39219" y="-519"/>
                        <a:pt x="42555" y="-519"/>
                        <a:pt x="44599" y="1556"/>
                      </a:cubicBezTo>
                      <a:cubicBezTo>
                        <a:pt x="46673" y="3630"/>
                        <a:pt x="46673" y="6966"/>
                        <a:pt x="44599" y="9010"/>
                      </a:cubicBezTo>
                      <a:lnTo>
                        <a:pt x="9010" y="44599"/>
                      </a:lnTo>
                      <a:cubicBezTo>
                        <a:pt x="7988" y="45621"/>
                        <a:pt x="6635" y="46132"/>
                        <a:pt x="5283" y="46132"/>
                      </a:cubicBezTo>
                      <a:close/>
                    </a:path>
                  </a:pathLst>
                </a:custGeom>
                <a:grpFill/>
                <a:ln w="3004" cap="flat">
                  <a:noFill/>
                  <a:prstDash val="solid"/>
                  <a:miter/>
                </a:ln>
              </p:spPr>
              <p:txBody>
                <a:bodyPr rtlCol="0" anchor="ctr"/>
                <a:lstStyle/>
                <a:p>
                  <a:endParaRPr lang="en-GB" dirty="0"/>
                </a:p>
              </p:txBody>
            </p:sp>
            <p:sp>
              <p:nvSpPr>
                <p:cNvPr id="543" name="Freihandform: Form 542">
                  <a:extLst>
                    <a:ext uri="{FF2B5EF4-FFF2-40B4-BE49-F238E27FC236}">
                      <a16:creationId xmlns:a16="http://schemas.microsoft.com/office/drawing/2014/main" id="{03590E86-4175-4B26-B546-51B806F7A56E}"/>
                    </a:ext>
                  </a:extLst>
                </p:cNvPr>
                <p:cNvSpPr/>
                <p:nvPr/>
              </p:nvSpPr>
              <p:spPr>
                <a:xfrm>
                  <a:off x="2093996" y="3348989"/>
                  <a:ext cx="42427" cy="42404"/>
                </a:xfrm>
                <a:custGeom>
                  <a:avLst/>
                  <a:gdLst>
                    <a:gd name="connsiteX0" fmla="*/ 5283 w 42427"/>
                    <a:gd name="connsiteY0" fmla="*/ 42405 h 42404"/>
                    <a:gd name="connsiteX1" fmla="*/ 1556 w 42427"/>
                    <a:gd name="connsiteY1" fmla="*/ 40872 h 42404"/>
                    <a:gd name="connsiteX2" fmla="*/ 1556 w 42427"/>
                    <a:gd name="connsiteY2" fmla="*/ 33417 h 42404"/>
                    <a:gd name="connsiteX3" fmla="*/ 33417 w 42427"/>
                    <a:gd name="connsiteY3" fmla="*/ 1556 h 42404"/>
                    <a:gd name="connsiteX4" fmla="*/ 40872 w 42427"/>
                    <a:gd name="connsiteY4" fmla="*/ 1556 h 42404"/>
                    <a:gd name="connsiteX5" fmla="*/ 40872 w 42427"/>
                    <a:gd name="connsiteY5" fmla="*/ 9010 h 42404"/>
                    <a:gd name="connsiteX6" fmla="*/ 9010 w 42427"/>
                    <a:gd name="connsiteY6" fmla="*/ 40872 h 42404"/>
                    <a:gd name="connsiteX7" fmla="*/ 5283 w 42427"/>
                    <a:gd name="connsiteY7" fmla="*/ 42405 h 4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427" h="42404">
                      <a:moveTo>
                        <a:pt x="5283" y="42405"/>
                      </a:moveTo>
                      <a:cubicBezTo>
                        <a:pt x="3930" y="42405"/>
                        <a:pt x="2577" y="41894"/>
                        <a:pt x="1556" y="40872"/>
                      </a:cubicBezTo>
                      <a:cubicBezTo>
                        <a:pt x="-519" y="38798"/>
                        <a:pt x="-519" y="35461"/>
                        <a:pt x="1556" y="33417"/>
                      </a:cubicBezTo>
                      <a:lnTo>
                        <a:pt x="33417" y="1556"/>
                      </a:lnTo>
                      <a:cubicBezTo>
                        <a:pt x="35491" y="-519"/>
                        <a:pt x="38828" y="-519"/>
                        <a:pt x="40872" y="1556"/>
                      </a:cubicBezTo>
                      <a:cubicBezTo>
                        <a:pt x="42946" y="3630"/>
                        <a:pt x="42946" y="6966"/>
                        <a:pt x="40872" y="9010"/>
                      </a:cubicBezTo>
                      <a:lnTo>
                        <a:pt x="9010" y="40872"/>
                      </a:lnTo>
                      <a:cubicBezTo>
                        <a:pt x="7988" y="41894"/>
                        <a:pt x="6635" y="42405"/>
                        <a:pt x="5283" y="42405"/>
                      </a:cubicBezTo>
                      <a:close/>
                    </a:path>
                  </a:pathLst>
                </a:custGeom>
                <a:grpFill/>
                <a:ln w="3004" cap="flat">
                  <a:noFill/>
                  <a:prstDash val="solid"/>
                  <a:miter/>
                </a:ln>
              </p:spPr>
              <p:txBody>
                <a:bodyPr rtlCol="0" anchor="ctr"/>
                <a:lstStyle/>
                <a:p>
                  <a:endParaRPr lang="en-GB" dirty="0"/>
                </a:p>
              </p:txBody>
            </p:sp>
            <p:sp>
              <p:nvSpPr>
                <p:cNvPr id="544" name="Freihandform: Form 543">
                  <a:extLst>
                    <a:ext uri="{FF2B5EF4-FFF2-40B4-BE49-F238E27FC236}">
                      <a16:creationId xmlns:a16="http://schemas.microsoft.com/office/drawing/2014/main" id="{2F629AA0-5CA7-4EBE-AEED-2618BC7EF48E}"/>
                    </a:ext>
                  </a:extLst>
                </p:cNvPr>
                <p:cNvSpPr/>
                <p:nvPr/>
              </p:nvSpPr>
              <p:spPr>
                <a:xfrm>
                  <a:off x="2144915" y="3421730"/>
                  <a:ext cx="43719" cy="43697"/>
                </a:xfrm>
                <a:custGeom>
                  <a:avLst/>
                  <a:gdLst>
                    <a:gd name="connsiteX0" fmla="*/ 5283 w 43719"/>
                    <a:gd name="connsiteY0" fmla="*/ 43697 h 43697"/>
                    <a:gd name="connsiteX1" fmla="*/ 1556 w 43719"/>
                    <a:gd name="connsiteY1" fmla="*/ 42164 h 43697"/>
                    <a:gd name="connsiteX2" fmla="*/ 1556 w 43719"/>
                    <a:gd name="connsiteY2" fmla="*/ 34710 h 43697"/>
                    <a:gd name="connsiteX3" fmla="*/ 34710 w 43719"/>
                    <a:gd name="connsiteY3" fmla="*/ 1556 h 43697"/>
                    <a:gd name="connsiteX4" fmla="*/ 42164 w 43719"/>
                    <a:gd name="connsiteY4" fmla="*/ 1556 h 43697"/>
                    <a:gd name="connsiteX5" fmla="*/ 42164 w 43719"/>
                    <a:gd name="connsiteY5" fmla="*/ 9010 h 43697"/>
                    <a:gd name="connsiteX6" fmla="*/ 9010 w 43719"/>
                    <a:gd name="connsiteY6" fmla="*/ 42164 h 43697"/>
                    <a:gd name="connsiteX7" fmla="*/ 5283 w 43719"/>
                    <a:gd name="connsiteY7" fmla="*/ 43697 h 43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19" h="43697">
                      <a:moveTo>
                        <a:pt x="5283" y="43697"/>
                      </a:moveTo>
                      <a:cubicBezTo>
                        <a:pt x="3930" y="43697"/>
                        <a:pt x="2577" y="43186"/>
                        <a:pt x="1556" y="42164"/>
                      </a:cubicBezTo>
                      <a:cubicBezTo>
                        <a:pt x="-519" y="40090"/>
                        <a:pt x="-519" y="36754"/>
                        <a:pt x="1556" y="34710"/>
                      </a:cubicBezTo>
                      <a:lnTo>
                        <a:pt x="34710" y="1556"/>
                      </a:lnTo>
                      <a:cubicBezTo>
                        <a:pt x="36784" y="-519"/>
                        <a:pt x="40120" y="-519"/>
                        <a:pt x="42164" y="1556"/>
                      </a:cubicBezTo>
                      <a:cubicBezTo>
                        <a:pt x="44238" y="3630"/>
                        <a:pt x="44238" y="6966"/>
                        <a:pt x="42164" y="9010"/>
                      </a:cubicBezTo>
                      <a:lnTo>
                        <a:pt x="9010" y="42164"/>
                      </a:lnTo>
                      <a:cubicBezTo>
                        <a:pt x="7988" y="43156"/>
                        <a:pt x="6635" y="43697"/>
                        <a:pt x="5283" y="43697"/>
                      </a:cubicBezTo>
                      <a:close/>
                    </a:path>
                  </a:pathLst>
                </a:custGeom>
                <a:grpFill/>
                <a:ln w="3004" cap="flat">
                  <a:noFill/>
                  <a:prstDash val="solid"/>
                  <a:miter/>
                </a:ln>
              </p:spPr>
              <p:txBody>
                <a:bodyPr rtlCol="0" anchor="ctr"/>
                <a:lstStyle/>
                <a:p>
                  <a:endParaRPr lang="en-GB" dirty="0"/>
                </a:p>
              </p:txBody>
            </p:sp>
            <p:sp>
              <p:nvSpPr>
                <p:cNvPr id="545" name="Freihandform: Form 544">
                  <a:extLst>
                    <a:ext uri="{FF2B5EF4-FFF2-40B4-BE49-F238E27FC236}">
                      <a16:creationId xmlns:a16="http://schemas.microsoft.com/office/drawing/2014/main" id="{4A5BCA60-A775-4807-BC16-26BE52C642CC}"/>
                    </a:ext>
                  </a:extLst>
                </p:cNvPr>
                <p:cNvSpPr/>
                <p:nvPr/>
              </p:nvSpPr>
              <p:spPr>
                <a:xfrm>
                  <a:off x="2145306" y="3526694"/>
                  <a:ext cx="63347" cy="63295"/>
                </a:xfrm>
                <a:custGeom>
                  <a:avLst/>
                  <a:gdLst>
                    <a:gd name="connsiteX0" fmla="*/ 5283 w 63347"/>
                    <a:gd name="connsiteY0" fmla="*/ 63296 h 63295"/>
                    <a:gd name="connsiteX1" fmla="*/ 1555 w 63347"/>
                    <a:gd name="connsiteY1" fmla="*/ 61763 h 63295"/>
                    <a:gd name="connsiteX2" fmla="*/ 1555 w 63347"/>
                    <a:gd name="connsiteY2" fmla="*/ 54308 h 63295"/>
                    <a:gd name="connsiteX3" fmla="*/ 54338 w 63347"/>
                    <a:gd name="connsiteY3" fmla="*/ 1556 h 63295"/>
                    <a:gd name="connsiteX4" fmla="*/ 61792 w 63347"/>
                    <a:gd name="connsiteY4" fmla="*/ 1556 h 63295"/>
                    <a:gd name="connsiteX5" fmla="*/ 61792 w 63347"/>
                    <a:gd name="connsiteY5" fmla="*/ 9010 h 63295"/>
                    <a:gd name="connsiteX6" fmla="*/ 9010 w 63347"/>
                    <a:gd name="connsiteY6" fmla="*/ 61763 h 63295"/>
                    <a:gd name="connsiteX7" fmla="*/ 5283 w 63347"/>
                    <a:gd name="connsiteY7" fmla="*/ 63296 h 63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347" h="63295">
                      <a:moveTo>
                        <a:pt x="5283" y="63296"/>
                      </a:moveTo>
                      <a:cubicBezTo>
                        <a:pt x="3930" y="63296"/>
                        <a:pt x="2578" y="62784"/>
                        <a:pt x="1555" y="61763"/>
                      </a:cubicBezTo>
                      <a:cubicBezTo>
                        <a:pt x="-518" y="59688"/>
                        <a:pt x="-518" y="56352"/>
                        <a:pt x="1555" y="54308"/>
                      </a:cubicBezTo>
                      <a:lnTo>
                        <a:pt x="54338" y="1556"/>
                      </a:lnTo>
                      <a:cubicBezTo>
                        <a:pt x="56412" y="-519"/>
                        <a:pt x="59749" y="-519"/>
                        <a:pt x="61792" y="1556"/>
                      </a:cubicBezTo>
                      <a:cubicBezTo>
                        <a:pt x="63866" y="3630"/>
                        <a:pt x="63866" y="6966"/>
                        <a:pt x="61792" y="9010"/>
                      </a:cubicBezTo>
                      <a:lnTo>
                        <a:pt x="9010" y="61763"/>
                      </a:lnTo>
                      <a:cubicBezTo>
                        <a:pt x="7988" y="62784"/>
                        <a:pt x="6635" y="63296"/>
                        <a:pt x="5283" y="63296"/>
                      </a:cubicBezTo>
                      <a:close/>
                    </a:path>
                  </a:pathLst>
                </a:custGeom>
                <a:grpFill/>
                <a:ln w="3004" cap="flat">
                  <a:noFill/>
                  <a:prstDash val="solid"/>
                  <a:miter/>
                </a:ln>
              </p:spPr>
              <p:txBody>
                <a:bodyPr rtlCol="0" anchor="ctr"/>
                <a:lstStyle/>
                <a:p>
                  <a:endParaRPr lang="en-GB" dirty="0"/>
                </a:p>
              </p:txBody>
            </p:sp>
          </p:grpSp>
        </p:grpSp>
      </p:grpSp>
      <p:grpSp>
        <p:nvGrpSpPr>
          <p:cNvPr id="551" name="Group 979">
            <a:extLst>
              <a:ext uri="{FF2B5EF4-FFF2-40B4-BE49-F238E27FC236}">
                <a16:creationId xmlns:a16="http://schemas.microsoft.com/office/drawing/2014/main" id="{C20BA189-510A-4F4E-8765-49EF508C42F7}"/>
              </a:ext>
            </a:extLst>
          </p:cNvPr>
          <p:cNvGrpSpPr>
            <a:grpSpLocks noChangeAspect="1"/>
          </p:cNvGrpSpPr>
          <p:nvPr/>
        </p:nvGrpSpPr>
        <p:grpSpPr>
          <a:xfrm>
            <a:off x="6045766" y="4097454"/>
            <a:ext cx="432021" cy="432000"/>
            <a:chOff x="1721420" y="4127012"/>
            <a:chExt cx="516968" cy="516943"/>
          </a:xfrm>
        </p:grpSpPr>
        <p:grpSp>
          <p:nvGrpSpPr>
            <p:cNvPr id="552" name="Group 978">
              <a:extLst>
                <a:ext uri="{FF2B5EF4-FFF2-40B4-BE49-F238E27FC236}">
                  <a16:creationId xmlns:a16="http://schemas.microsoft.com/office/drawing/2014/main" id="{CEA14693-CA74-47DA-AFBA-C39F5679079D}"/>
                </a:ext>
              </a:extLst>
            </p:cNvPr>
            <p:cNvGrpSpPr/>
            <p:nvPr/>
          </p:nvGrpSpPr>
          <p:grpSpPr>
            <a:xfrm>
              <a:off x="1742517" y="4127012"/>
              <a:ext cx="432599" cy="516943"/>
              <a:chOff x="1742516" y="4127012"/>
              <a:chExt cx="432599" cy="516943"/>
            </a:xfrm>
          </p:grpSpPr>
          <p:sp>
            <p:nvSpPr>
              <p:cNvPr id="563" name="Freihandform: Form 562">
                <a:extLst>
                  <a:ext uri="{FF2B5EF4-FFF2-40B4-BE49-F238E27FC236}">
                    <a16:creationId xmlns:a16="http://schemas.microsoft.com/office/drawing/2014/main" id="{D35BEF7F-9FCE-4569-9469-746E81051922}"/>
                  </a:ext>
                </a:extLst>
              </p:cNvPr>
              <p:cNvSpPr/>
              <p:nvPr/>
            </p:nvSpPr>
            <p:spPr>
              <a:xfrm>
                <a:off x="1932455" y="4450560"/>
                <a:ext cx="10520" cy="193395"/>
              </a:xfrm>
              <a:custGeom>
                <a:avLst/>
                <a:gdLst>
                  <a:gd name="connsiteX0" fmla="*/ 5260 w 10520"/>
                  <a:gd name="connsiteY0" fmla="*/ 193396 h 193395"/>
                  <a:gd name="connsiteX1" fmla="*/ 0 w 10520"/>
                  <a:gd name="connsiteY1" fmla="*/ 188135 h 193395"/>
                  <a:gd name="connsiteX2" fmla="*/ 0 w 10520"/>
                  <a:gd name="connsiteY2" fmla="*/ 5260 h 193395"/>
                  <a:gd name="connsiteX3" fmla="*/ 5260 w 10520"/>
                  <a:gd name="connsiteY3" fmla="*/ 0 h 193395"/>
                  <a:gd name="connsiteX4" fmla="*/ 10520 w 10520"/>
                  <a:gd name="connsiteY4" fmla="*/ 5260 h 193395"/>
                  <a:gd name="connsiteX5" fmla="*/ 10520 w 10520"/>
                  <a:gd name="connsiteY5" fmla="*/ 188135 h 193395"/>
                  <a:gd name="connsiteX6" fmla="*/ 5260 w 10520"/>
                  <a:gd name="connsiteY6" fmla="*/ 193396 h 19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193395">
                    <a:moveTo>
                      <a:pt x="5260" y="193396"/>
                    </a:moveTo>
                    <a:cubicBezTo>
                      <a:pt x="2345" y="193396"/>
                      <a:pt x="0" y="191021"/>
                      <a:pt x="0" y="188135"/>
                    </a:cubicBezTo>
                    <a:lnTo>
                      <a:pt x="0" y="5260"/>
                    </a:lnTo>
                    <a:cubicBezTo>
                      <a:pt x="0" y="2344"/>
                      <a:pt x="2375" y="0"/>
                      <a:pt x="5260" y="0"/>
                    </a:cubicBezTo>
                    <a:cubicBezTo>
                      <a:pt x="8176" y="0"/>
                      <a:pt x="10520" y="2375"/>
                      <a:pt x="10520" y="5260"/>
                    </a:cubicBezTo>
                    <a:lnTo>
                      <a:pt x="10520" y="188135"/>
                    </a:lnTo>
                    <a:cubicBezTo>
                      <a:pt x="10551" y="191021"/>
                      <a:pt x="8176" y="193396"/>
                      <a:pt x="5260" y="193396"/>
                    </a:cubicBezTo>
                    <a:close/>
                  </a:path>
                </a:pathLst>
              </a:custGeom>
              <a:solidFill>
                <a:schemeClr val="tx2"/>
              </a:solidFill>
              <a:ln w="3004" cap="flat">
                <a:noFill/>
                <a:prstDash val="solid"/>
                <a:miter/>
              </a:ln>
            </p:spPr>
            <p:txBody>
              <a:bodyPr rtlCol="0" anchor="ctr"/>
              <a:lstStyle/>
              <a:p>
                <a:endParaRPr lang="en-GB" dirty="0"/>
              </a:p>
            </p:txBody>
          </p:sp>
          <p:sp>
            <p:nvSpPr>
              <p:cNvPr id="564" name="Freihandform: Form 563">
                <a:extLst>
                  <a:ext uri="{FF2B5EF4-FFF2-40B4-BE49-F238E27FC236}">
                    <a16:creationId xmlns:a16="http://schemas.microsoft.com/office/drawing/2014/main" id="{110B465F-8703-4E78-BE89-BE697215180A}"/>
                  </a:ext>
                </a:extLst>
              </p:cNvPr>
              <p:cNvSpPr/>
              <p:nvPr/>
            </p:nvSpPr>
            <p:spPr>
              <a:xfrm>
                <a:off x="1932455" y="4281752"/>
                <a:ext cx="10520" cy="80856"/>
              </a:xfrm>
              <a:custGeom>
                <a:avLst/>
                <a:gdLst>
                  <a:gd name="connsiteX0" fmla="*/ 5260 w 10520"/>
                  <a:gd name="connsiteY0" fmla="*/ 80857 h 80856"/>
                  <a:gd name="connsiteX1" fmla="*/ 0 w 10520"/>
                  <a:gd name="connsiteY1" fmla="*/ 75597 h 80856"/>
                  <a:gd name="connsiteX2" fmla="*/ 0 w 10520"/>
                  <a:gd name="connsiteY2" fmla="*/ 5260 h 80856"/>
                  <a:gd name="connsiteX3" fmla="*/ 5260 w 10520"/>
                  <a:gd name="connsiteY3" fmla="*/ 0 h 80856"/>
                  <a:gd name="connsiteX4" fmla="*/ 10520 w 10520"/>
                  <a:gd name="connsiteY4" fmla="*/ 5260 h 80856"/>
                  <a:gd name="connsiteX5" fmla="*/ 10520 w 10520"/>
                  <a:gd name="connsiteY5" fmla="*/ 75597 h 80856"/>
                  <a:gd name="connsiteX6" fmla="*/ 5260 w 10520"/>
                  <a:gd name="connsiteY6" fmla="*/ 80857 h 8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80856">
                    <a:moveTo>
                      <a:pt x="5260" y="80857"/>
                    </a:moveTo>
                    <a:cubicBezTo>
                      <a:pt x="2345" y="80857"/>
                      <a:pt x="0" y="78482"/>
                      <a:pt x="0" y="75597"/>
                    </a:cubicBezTo>
                    <a:lnTo>
                      <a:pt x="0" y="5260"/>
                    </a:lnTo>
                    <a:cubicBezTo>
                      <a:pt x="0" y="2344"/>
                      <a:pt x="2375" y="0"/>
                      <a:pt x="5260" y="0"/>
                    </a:cubicBezTo>
                    <a:cubicBezTo>
                      <a:pt x="8176" y="0"/>
                      <a:pt x="10520" y="2375"/>
                      <a:pt x="10520" y="5260"/>
                    </a:cubicBezTo>
                    <a:lnTo>
                      <a:pt x="10520" y="75597"/>
                    </a:lnTo>
                    <a:cubicBezTo>
                      <a:pt x="10551" y="78512"/>
                      <a:pt x="8176" y="80857"/>
                      <a:pt x="5260" y="80857"/>
                    </a:cubicBezTo>
                    <a:close/>
                  </a:path>
                </a:pathLst>
              </a:custGeom>
              <a:solidFill>
                <a:schemeClr val="tx2"/>
              </a:solidFill>
              <a:ln w="3004" cap="flat">
                <a:noFill/>
                <a:prstDash val="solid"/>
                <a:miter/>
              </a:ln>
            </p:spPr>
            <p:txBody>
              <a:bodyPr rtlCol="0" anchor="ctr"/>
              <a:lstStyle/>
              <a:p>
                <a:endParaRPr lang="en-GB" dirty="0"/>
              </a:p>
            </p:txBody>
          </p:sp>
          <p:sp>
            <p:nvSpPr>
              <p:cNvPr id="565" name="Freihandform: Form 564">
                <a:extLst>
                  <a:ext uri="{FF2B5EF4-FFF2-40B4-BE49-F238E27FC236}">
                    <a16:creationId xmlns:a16="http://schemas.microsoft.com/office/drawing/2014/main" id="{304D4F24-EC5F-41C0-A3BC-961504C6BAC6}"/>
                  </a:ext>
                </a:extLst>
              </p:cNvPr>
              <p:cNvSpPr/>
              <p:nvPr/>
            </p:nvSpPr>
            <p:spPr>
              <a:xfrm>
                <a:off x="1932515" y="4127012"/>
                <a:ext cx="52722" cy="66789"/>
              </a:xfrm>
              <a:custGeom>
                <a:avLst/>
                <a:gdLst>
                  <a:gd name="connsiteX0" fmla="*/ 47402 w 52722"/>
                  <a:gd name="connsiteY0" fmla="*/ 66790 h 66789"/>
                  <a:gd name="connsiteX1" fmla="*/ 42142 w 52722"/>
                  <a:gd name="connsiteY1" fmla="*/ 61530 h 66789"/>
                  <a:gd name="connsiteX2" fmla="*/ 42142 w 52722"/>
                  <a:gd name="connsiteY2" fmla="*/ 26361 h 66789"/>
                  <a:gd name="connsiteX3" fmla="*/ 26331 w 52722"/>
                  <a:gd name="connsiteY3" fmla="*/ 10551 h 66789"/>
                  <a:gd name="connsiteX4" fmla="*/ 10520 w 52722"/>
                  <a:gd name="connsiteY4" fmla="*/ 26361 h 66789"/>
                  <a:gd name="connsiteX5" fmla="*/ 10520 w 52722"/>
                  <a:gd name="connsiteY5" fmla="*/ 61530 h 66789"/>
                  <a:gd name="connsiteX6" fmla="*/ 5260 w 52722"/>
                  <a:gd name="connsiteY6" fmla="*/ 66790 h 66789"/>
                  <a:gd name="connsiteX7" fmla="*/ 0 w 52722"/>
                  <a:gd name="connsiteY7" fmla="*/ 61530 h 66789"/>
                  <a:gd name="connsiteX8" fmla="*/ 0 w 52722"/>
                  <a:gd name="connsiteY8" fmla="*/ 26361 h 66789"/>
                  <a:gd name="connsiteX9" fmla="*/ 26361 w 52722"/>
                  <a:gd name="connsiteY9" fmla="*/ 0 h 66789"/>
                  <a:gd name="connsiteX10" fmla="*/ 52722 w 52722"/>
                  <a:gd name="connsiteY10" fmla="*/ 26361 h 66789"/>
                  <a:gd name="connsiteX11" fmla="*/ 52722 w 52722"/>
                  <a:gd name="connsiteY11" fmla="*/ 61530 h 66789"/>
                  <a:gd name="connsiteX12" fmla="*/ 47402 w 52722"/>
                  <a:gd name="connsiteY12" fmla="*/ 66790 h 6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722" h="66789">
                    <a:moveTo>
                      <a:pt x="47402" y="66790"/>
                    </a:moveTo>
                    <a:cubicBezTo>
                      <a:pt x="44486" y="66790"/>
                      <a:pt x="42142" y="64415"/>
                      <a:pt x="42142" y="61530"/>
                    </a:cubicBezTo>
                    <a:lnTo>
                      <a:pt x="42142" y="26361"/>
                    </a:lnTo>
                    <a:cubicBezTo>
                      <a:pt x="42142" y="17644"/>
                      <a:pt x="35048" y="10551"/>
                      <a:pt x="26331" y="10551"/>
                    </a:cubicBezTo>
                    <a:cubicBezTo>
                      <a:pt x="17614" y="10551"/>
                      <a:pt x="10520" y="17644"/>
                      <a:pt x="10520" y="26361"/>
                    </a:cubicBezTo>
                    <a:lnTo>
                      <a:pt x="10520" y="61530"/>
                    </a:lnTo>
                    <a:cubicBezTo>
                      <a:pt x="10520" y="64445"/>
                      <a:pt x="8146" y="66790"/>
                      <a:pt x="5260" y="66790"/>
                    </a:cubicBezTo>
                    <a:cubicBezTo>
                      <a:pt x="2345" y="66790"/>
                      <a:pt x="0" y="64415"/>
                      <a:pt x="0" y="61530"/>
                    </a:cubicBezTo>
                    <a:lnTo>
                      <a:pt x="0" y="26361"/>
                    </a:lnTo>
                    <a:cubicBezTo>
                      <a:pt x="0" y="11813"/>
                      <a:pt x="11843" y="0"/>
                      <a:pt x="26361" y="0"/>
                    </a:cubicBezTo>
                    <a:cubicBezTo>
                      <a:pt x="40909" y="0"/>
                      <a:pt x="52722" y="11843"/>
                      <a:pt x="52722" y="26361"/>
                    </a:cubicBezTo>
                    <a:lnTo>
                      <a:pt x="52722" y="61530"/>
                    </a:lnTo>
                    <a:cubicBezTo>
                      <a:pt x="52662" y="64445"/>
                      <a:pt x="50318" y="66790"/>
                      <a:pt x="47402" y="66790"/>
                    </a:cubicBezTo>
                    <a:close/>
                  </a:path>
                </a:pathLst>
              </a:custGeom>
              <a:solidFill>
                <a:schemeClr val="tx2"/>
              </a:solidFill>
              <a:ln w="3004" cap="flat">
                <a:noFill/>
                <a:prstDash val="solid"/>
                <a:miter/>
              </a:ln>
            </p:spPr>
            <p:txBody>
              <a:bodyPr rtlCol="0" anchor="ctr"/>
              <a:lstStyle/>
              <a:p>
                <a:endParaRPr lang="en-GB" dirty="0"/>
              </a:p>
            </p:txBody>
          </p:sp>
          <p:sp>
            <p:nvSpPr>
              <p:cNvPr id="566" name="Freihandform: Form 565">
                <a:extLst>
                  <a:ext uri="{FF2B5EF4-FFF2-40B4-BE49-F238E27FC236}">
                    <a16:creationId xmlns:a16="http://schemas.microsoft.com/office/drawing/2014/main" id="{EE7B1982-AA4C-4B80-B89F-7011645D2D15}"/>
                  </a:ext>
                </a:extLst>
              </p:cNvPr>
              <p:cNvSpPr/>
              <p:nvPr/>
            </p:nvSpPr>
            <p:spPr>
              <a:xfrm>
                <a:off x="1974657" y="4281752"/>
                <a:ext cx="10520" cy="80856"/>
              </a:xfrm>
              <a:custGeom>
                <a:avLst/>
                <a:gdLst>
                  <a:gd name="connsiteX0" fmla="*/ 5260 w 10520"/>
                  <a:gd name="connsiteY0" fmla="*/ 80857 h 80856"/>
                  <a:gd name="connsiteX1" fmla="*/ 0 w 10520"/>
                  <a:gd name="connsiteY1" fmla="*/ 75597 h 80856"/>
                  <a:gd name="connsiteX2" fmla="*/ 0 w 10520"/>
                  <a:gd name="connsiteY2" fmla="*/ 5260 h 80856"/>
                  <a:gd name="connsiteX3" fmla="*/ 5260 w 10520"/>
                  <a:gd name="connsiteY3" fmla="*/ 0 h 80856"/>
                  <a:gd name="connsiteX4" fmla="*/ 10520 w 10520"/>
                  <a:gd name="connsiteY4" fmla="*/ 5260 h 80856"/>
                  <a:gd name="connsiteX5" fmla="*/ 10520 w 10520"/>
                  <a:gd name="connsiteY5" fmla="*/ 75597 h 80856"/>
                  <a:gd name="connsiteX6" fmla="*/ 5260 w 10520"/>
                  <a:gd name="connsiteY6" fmla="*/ 80857 h 8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80856">
                    <a:moveTo>
                      <a:pt x="5260" y="80857"/>
                    </a:moveTo>
                    <a:cubicBezTo>
                      <a:pt x="2345" y="80857"/>
                      <a:pt x="0" y="78482"/>
                      <a:pt x="0" y="75597"/>
                    </a:cubicBezTo>
                    <a:lnTo>
                      <a:pt x="0" y="5260"/>
                    </a:lnTo>
                    <a:cubicBezTo>
                      <a:pt x="0" y="2344"/>
                      <a:pt x="2375" y="0"/>
                      <a:pt x="5260" y="0"/>
                    </a:cubicBezTo>
                    <a:cubicBezTo>
                      <a:pt x="8146" y="0"/>
                      <a:pt x="10520" y="2375"/>
                      <a:pt x="10520" y="5260"/>
                    </a:cubicBezTo>
                    <a:lnTo>
                      <a:pt x="10520" y="75597"/>
                    </a:lnTo>
                    <a:cubicBezTo>
                      <a:pt x="10520" y="78512"/>
                      <a:pt x="8176" y="80857"/>
                      <a:pt x="5260" y="80857"/>
                    </a:cubicBezTo>
                    <a:close/>
                  </a:path>
                </a:pathLst>
              </a:custGeom>
              <a:solidFill>
                <a:schemeClr val="tx2"/>
              </a:solidFill>
              <a:ln w="3004" cap="flat">
                <a:noFill/>
                <a:prstDash val="solid"/>
                <a:miter/>
              </a:ln>
            </p:spPr>
            <p:txBody>
              <a:bodyPr rtlCol="0" anchor="ctr"/>
              <a:lstStyle/>
              <a:p>
                <a:endParaRPr lang="en-GB" dirty="0"/>
              </a:p>
            </p:txBody>
          </p:sp>
          <p:sp>
            <p:nvSpPr>
              <p:cNvPr id="567" name="Freihandform: Form 566">
                <a:extLst>
                  <a:ext uri="{FF2B5EF4-FFF2-40B4-BE49-F238E27FC236}">
                    <a16:creationId xmlns:a16="http://schemas.microsoft.com/office/drawing/2014/main" id="{842B8427-9B9F-4813-A12D-42F7FCBC341E}"/>
                  </a:ext>
                </a:extLst>
              </p:cNvPr>
              <p:cNvSpPr/>
              <p:nvPr/>
            </p:nvSpPr>
            <p:spPr>
              <a:xfrm>
                <a:off x="1974657" y="4450560"/>
                <a:ext cx="10520" cy="193395"/>
              </a:xfrm>
              <a:custGeom>
                <a:avLst/>
                <a:gdLst>
                  <a:gd name="connsiteX0" fmla="*/ 5260 w 10520"/>
                  <a:gd name="connsiteY0" fmla="*/ 193396 h 193395"/>
                  <a:gd name="connsiteX1" fmla="*/ 0 w 10520"/>
                  <a:gd name="connsiteY1" fmla="*/ 188135 h 193395"/>
                  <a:gd name="connsiteX2" fmla="*/ 0 w 10520"/>
                  <a:gd name="connsiteY2" fmla="*/ 5260 h 193395"/>
                  <a:gd name="connsiteX3" fmla="*/ 5260 w 10520"/>
                  <a:gd name="connsiteY3" fmla="*/ 0 h 193395"/>
                  <a:gd name="connsiteX4" fmla="*/ 10520 w 10520"/>
                  <a:gd name="connsiteY4" fmla="*/ 5260 h 193395"/>
                  <a:gd name="connsiteX5" fmla="*/ 10520 w 10520"/>
                  <a:gd name="connsiteY5" fmla="*/ 188135 h 193395"/>
                  <a:gd name="connsiteX6" fmla="*/ 5260 w 10520"/>
                  <a:gd name="connsiteY6" fmla="*/ 193396 h 193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193395">
                    <a:moveTo>
                      <a:pt x="5260" y="193396"/>
                    </a:moveTo>
                    <a:cubicBezTo>
                      <a:pt x="2345" y="193396"/>
                      <a:pt x="0" y="191021"/>
                      <a:pt x="0" y="188135"/>
                    </a:cubicBezTo>
                    <a:lnTo>
                      <a:pt x="0" y="5260"/>
                    </a:lnTo>
                    <a:cubicBezTo>
                      <a:pt x="0" y="2344"/>
                      <a:pt x="2375" y="0"/>
                      <a:pt x="5260" y="0"/>
                    </a:cubicBezTo>
                    <a:cubicBezTo>
                      <a:pt x="8146" y="0"/>
                      <a:pt x="10520" y="2375"/>
                      <a:pt x="10520" y="5260"/>
                    </a:cubicBezTo>
                    <a:lnTo>
                      <a:pt x="10520" y="188135"/>
                    </a:lnTo>
                    <a:cubicBezTo>
                      <a:pt x="10520" y="191021"/>
                      <a:pt x="8176" y="193396"/>
                      <a:pt x="5260" y="193396"/>
                    </a:cubicBezTo>
                    <a:close/>
                  </a:path>
                </a:pathLst>
              </a:custGeom>
              <a:solidFill>
                <a:schemeClr val="tx2"/>
              </a:solidFill>
              <a:ln w="3004" cap="flat">
                <a:noFill/>
                <a:prstDash val="solid"/>
                <a:miter/>
              </a:ln>
            </p:spPr>
            <p:txBody>
              <a:bodyPr rtlCol="0" anchor="ctr"/>
              <a:lstStyle/>
              <a:p>
                <a:endParaRPr lang="en-GB" dirty="0"/>
              </a:p>
            </p:txBody>
          </p:sp>
          <p:sp>
            <p:nvSpPr>
              <p:cNvPr id="568" name="Freihandform: Form 567">
                <a:extLst>
                  <a:ext uri="{FF2B5EF4-FFF2-40B4-BE49-F238E27FC236}">
                    <a16:creationId xmlns:a16="http://schemas.microsoft.com/office/drawing/2014/main" id="{E1DA6FFD-E4D9-4E80-B86E-E740AD2160E6}"/>
                  </a:ext>
                </a:extLst>
              </p:cNvPr>
              <p:cNvSpPr/>
              <p:nvPr/>
            </p:nvSpPr>
            <p:spPr>
              <a:xfrm>
                <a:off x="1742516" y="4183221"/>
                <a:ext cx="383342" cy="109051"/>
              </a:xfrm>
              <a:custGeom>
                <a:avLst/>
                <a:gdLst>
                  <a:gd name="connsiteX0" fmla="*/ 378074 w 383342"/>
                  <a:gd name="connsiteY0" fmla="*/ 109052 h 109051"/>
                  <a:gd name="connsiteX1" fmla="*/ 75627 w 383342"/>
                  <a:gd name="connsiteY1" fmla="*/ 109052 h 109051"/>
                  <a:gd name="connsiteX2" fmla="*/ 72591 w 383342"/>
                  <a:gd name="connsiteY2" fmla="*/ 108090 h 109051"/>
                  <a:gd name="connsiteX3" fmla="*/ 2254 w 383342"/>
                  <a:gd name="connsiteY3" fmla="*/ 58854 h 109051"/>
                  <a:gd name="connsiteX4" fmla="*/ 0 w 383342"/>
                  <a:gd name="connsiteY4" fmla="*/ 54526 h 109051"/>
                  <a:gd name="connsiteX5" fmla="*/ 2254 w 383342"/>
                  <a:gd name="connsiteY5" fmla="*/ 50198 h 109051"/>
                  <a:gd name="connsiteX6" fmla="*/ 72591 w 383342"/>
                  <a:gd name="connsiteY6" fmla="*/ 962 h 109051"/>
                  <a:gd name="connsiteX7" fmla="*/ 75627 w 383342"/>
                  <a:gd name="connsiteY7" fmla="*/ 0 h 109051"/>
                  <a:gd name="connsiteX8" fmla="*/ 378074 w 383342"/>
                  <a:gd name="connsiteY8" fmla="*/ 0 h 109051"/>
                  <a:gd name="connsiteX9" fmla="*/ 383004 w 383342"/>
                  <a:gd name="connsiteY9" fmla="*/ 3427 h 109051"/>
                  <a:gd name="connsiteX10" fmla="*/ 381531 w 383342"/>
                  <a:gd name="connsiteY10" fmla="*/ 9258 h 109051"/>
                  <a:gd name="connsiteX11" fmla="*/ 329800 w 383342"/>
                  <a:gd name="connsiteY11" fmla="*/ 54526 h 109051"/>
                  <a:gd name="connsiteX12" fmla="*/ 381531 w 383342"/>
                  <a:gd name="connsiteY12" fmla="*/ 99794 h 109051"/>
                  <a:gd name="connsiteX13" fmla="*/ 383004 w 383342"/>
                  <a:gd name="connsiteY13" fmla="*/ 105625 h 109051"/>
                  <a:gd name="connsiteX14" fmla="*/ 378074 w 383342"/>
                  <a:gd name="connsiteY14" fmla="*/ 109052 h 109051"/>
                  <a:gd name="connsiteX15" fmla="*/ 77280 w 383342"/>
                  <a:gd name="connsiteY15" fmla="*/ 98501 h 109051"/>
                  <a:gd name="connsiteX16" fmla="*/ 364007 w 383342"/>
                  <a:gd name="connsiteY16" fmla="*/ 98501 h 109051"/>
                  <a:gd name="connsiteX17" fmla="*/ 318318 w 383342"/>
                  <a:gd name="connsiteY17" fmla="*/ 58524 h 109051"/>
                  <a:gd name="connsiteX18" fmla="*/ 316515 w 383342"/>
                  <a:gd name="connsiteY18" fmla="*/ 54556 h 109051"/>
                  <a:gd name="connsiteX19" fmla="*/ 318318 w 383342"/>
                  <a:gd name="connsiteY19" fmla="*/ 50588 h 109051"/>
                  <a:gd name="connsiteX20" fmla="*/ 364007 w 383342"/>
                  <a:gd name="connsiteY20" fmla="*/ 10611 h 109051"/>
                  <a:gd name="connsiteX21" fmla="*/ 77280 w 383342"/>
                  <a:gd name="connsiteY21" fmla="*/ 10611 h 109051"/>
                  <a:gd name="connsiteX22" fmla="*/ 14488 w 383342"/>
                  <a:gd name="connsiteY22" fmla="*/ 54556 h 109051"/>
                  <a:gd name="connsiteX23" fmla="*/ 77280 w 383342"/>
                  <a:gd name="connsiteY23" fmla="*/ 98501 h 10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3342" h="109051">
                    <a:moveTo>
                      <a:pt x="378074" y="109052"/>
                    </a:moveTo>
                    <a:lnTo>
                      <a:pt x="75627" y="109052"/>
                    </a:lnTo>
                    <a:cubicBezTo>
                      <a:pt x="74545" y="109052"/>
                      <a:pt x="73493" y="108721"/>
                      <a:pt x="72591" y="108090"/>
                    </a:cubicBezTo>
                    <a:lnTo>
                      <a:pt x="2254" y="58854"/>
                    </a:lnTo>
                    <a:cubicBezTo>
                      <a:pt x="842" y="57862"/>
                      <a:pt x="0" y="56269"/>
                      <a:pt x="0" y="54526"/>
                    </a:cubicBezTo>
                    <a:cubicBezTo>
                      <a:pt x="0" y="52813"/>
                      <a:pt x="842" y="51189"/>
                      <a:pt x="2254" y="50198"/>
                    </a:cubicBezTo>
                    <a:lnTo>
                      <a:pt x="72591" y="962"/>
                    </a:lnTo>
                    <a:cubicBezTo>
                      <a:pt x="73463" y="331"/>
                      <a:pt x="74545" y="0"/>
                      <a:pt x="75627" y="0"/>
                    </a:cubicBezTo>
                    <a:lnTo>
                      <a:pt x="378074" y="0"/>
                    </a:lnTo>
                    <a:cubicBezTo>
                      <a:pt x="380268" y="0"/>
                      <a:pt x="382252" y="1353"/>
                      <a:pt x="383004" y="3427"/>
                    </a:cubicBezTo>
                    <a:cubicBezTo>
                      <a:pt x="383785" y="5471"/>
                      <a:pt x="383184" y="7815"/>
                      <a:pt x="381531" y="9258"/>
                    </a:cubicBezTo>
                    <a:lnTo>
                      <a:pt x="329800" y="54526"/>
                    </a:lnTo>
                    <a:lnTo>
                      <a:pt x="381531" y="99794"/>
                    </a:lnTo>
                    <a:cubicBezTo>
                      <a:pt x="383184" y="101237"/>
                      <a:pt x="383755" y="103551"/>
                      <a:pt x="383004" y="105625"/>
                    </a:cubicBezTo>
                    <a:cubicBezTo>
                      <a:pt x="382222" y="107699"/>
                      <a:pt x="380268" y="109052"/>
                      <a:pt x="378074" y="109052"/>
                    </a:cubicBezTo>
                    <a:close/>
                    <a:moveTo>
                      <a:pt x="77280" y="98501"/>
                    </a:moveTo>
                    <a:lnTo>
                      <a:pt x="364007" y="98501"/>
                    </a:lnTo>
                    <a:lnTo>
                      <a:pt x="318318" y="58524"/>
                    </a:lnTo>
                    <a:cubicBezTo>
                      <a:pt x="317176" y="57532"/>
                      <a:pt x="316515" y="56059"/>
                      <a:pt x="316515" y="54556"/>
                    </a:cubicBezTo>
                    <a:cubicBezTo>
                      <a:pt x="316515" y="53023"/>
                      <a:pt x="317176" y="51580"/>
                      <a:pt x="318318" y="50588"/>
                    </a:cubicBezTo>
                    <a:lnTo>
                      <a:pt x="364007" y="10611"/>
                    </a:lnTo>
                    <a:lnTo>
                      <a:pt x="77280" y="10611"/>
                    </a:lnTo>
                    <a:lnTo>
                      <a:pt x="14488" y="54556"/>
                    </a:lnTo>
                    <a:lnTo>
                      <a:pt x="77280" y="98501"/>
                    </a:lnTo>
                    <a:close/>
                  </a:path>
                </a:pathLst>
              </a:custGeom>
              <a:solidFill>
                <a:schemeClr val="tx2"/>
              </a:solidFill>
              <a:ln w="3004" cap="flat">
                <a:noFill/>
                <a:prstDash val="solid"/>
                <a:miter/>
              </a:ln>
            </p:spPr>
            <p:txBody>
              <a:bodyPr rtlCol="0" anchor="ctr"/>
              <a:lstStyle/>
              <a:p>
                <a:endParaRPr lang="en-GB" dirty="0"/>
              </a:p>
            </p:txBody>
          </p:sp>
          <p:sp>
            <p:nvSpPr>
              <p:cNvPr id="569" name="Freihandform: Form 568">
                <a:extLst>
                  <a:ext uri="{FF2B5EF4-FFF2-40B4-BE49-F238E27FC236}">
                    <a16:creationId xmlns:a16="http://schemas.microsoft.com/office/drawing/2014/main" id="{ACACA7E9-3DBD-4A4A-A88D-4F93849C60E5}"/>
                  </a:ext>
                </a:extLst>
              </p:cNvPr>
              <p:cNvSpPr/>
              <p:nvPr/>
            </p:nvSpPr>
            <p:spPr>
              <a:xfrm>
                <a:off x="1791773" y="4352029"/>
                <a:ext cx="383342" cy="109051"/>
              </a:xfrm>
              <a:custGeom>
                <a:avLst/>
                <a:gdLst>
                  <a:gd name="connsiteX0" fmla="*/ 307716 w 383342"/>
                  <a:gd name="connsiteY0" fmla="*/ 109052 h 109051"/>
                  <a:gd name="connsiteX1" fmla="*/ 5269 w 383342"/>
                  <a:gd name="connsiteY1" fmla="*/ 109052 h 109051"/>
                  <a:gd name="connsiteX2" fmla="*/ 339 w 383342"/>
                  <a:gd name="connsiteY2" fmla="*/ 105625 h 109051"/>
                  <a:gd name="connsiteX3" fmla="*/ 1812 w 383342"/>
                  <a:gd name="connsiteY3" fmla="*/ 99794 h 109051"/>
                  <a:gd name="connsiteX4" fmla="*/ 53543 w 383342"/>
                  <a:gd name="connsiteY4" fmla="*/ 54526 h 109051"/>
                  <a:gd name="connsiteX5" fmla="*/ 1812 w 383342"/>
                  <a:gd name="connsiteY5" fmla="*/ 9258 h 109051"/>
                  <a:gd name="connsiteX6" fmla="*/ 339 w 383342"/>
                  <a:gd name="connsiteY6" fmla="*/ 3427 h 109051"/>
                  <a:gd name="connsiteX7" fmla="*/ 5269 w 383342"/>
                  <a:gd name="connsiteY7" fmla="*/ 0 h 109051"/>
                  <a:gd name="connsiteX8" fmla="*/ 307716 w 383342"/>
                  <a:gd name="connsiteY8" fmla="*/ 0 h 109051"/>
                  <a:gd name="connsiteX9" fmla="*/ 310752 w 383342"/>
                  <a:gd name="connsiteY9" fmla="*/ 962 h 109051"/>
                  <a:gd name="connsiteX10" fmla="*/ 381089 w 383342"/>
                  <a:gd name="connsiteY10" fmla="*/ 50198 h 109051"/>
                  <a:gd name="connsiteX11" fmla="*/ 383343 w 383342"/>
                  <a:gd name="connsiteY11" fmla="*/ 54526 h 109051"/>
                  <a:gd name="connsiteX12" fmla="*/ 381089 w 383342"/>
                  <a:gd name="connsiteY12" fmla="*/ 58854 h 109051"/>
                  <a:gd name="connsiteX13" fmla="*/ 310752 w 383342"/>
                  <a:gd name="connsiteY13" fmla="*/ 108090 h 109051"/>
                  <a:gd name="connsiteX14" fmla="*/ 307716 w 383342"/>
                  <a:gd name="connsiteY14" fmla="*/ 109052 h 109051"/>
                  <a:gd name="connsiteX15" fmla="*/ 19306 w 383342"/>
                  <a:gd name="connsiteY15" fmla="*/ 98501 h 109051"/>
                  <a:gd name="connsiteX16" fmla="*/ 306033 w 383342"/>
                  <a:gd name="connsiteY16" fmla="*/ 98501 h 109051"/>
                  <a:gd name="connsiteX17" fmla="*/ 368825 w 383342"/>
                  <a:gd name="connsiteY17" fmla="*/ 54556 h 109051"/>
                  <a:gd name="connsiteX18" fmla="*/ 306033 w 383342"/>
                  <a:gd name="connsiteY18" fmla="*/ 10611 h 109051"/>
                  <a:gd name="connsiteX19" fmla="*/ 19306 w 383342"/>
                  <a:gd name="connsiteY19" fmla="*/ 10611 h 109051"/>
                  <a:gd name="connsiteX20" fmla="*/ 64995 w 383342"/>
                  <a:gd name="connsiteY20" fmla="*/ 50588 h 109051"/>
                  <a:gd name="connsiteX21" fmla="*/ 66798 w 383342"/>
                  <a:gd name="connsiteY21" fmla="*/ 54556 h 109051"/>
                  <a:gd name="connsiteX22" fmla="*/ 64995 w 383342"/>
                  <a:gd name="connsiteY22" fmla="*/ 58524 h 109051"/>
                  <a:gd name="connsiteX23" fmla="*/ 19306 w 383342"/>
                  <a:gd name="connsiteY23" fmla="*/ 98501 h 109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3342" h="109051">
                    <a:moveTo>
                      <a:pt x="307716" y="109052"/>
                    </a:moveTo>
                    <a:lnTo>
                      <a:pt x="5269" y="109052"/>
                    </a:lnTo>
                    <a:cubicBezTo>
                      <a:pt x="3074" y="109052"/>
                      <a:pt x="1091" y="107699"/>
                      <a:pt x="339" y="105625"/>
                    </a:cubicBezTo>
                    <a:cubicBezTo>
                      <a:pt x="-442" y="103581"/>
                      <a:pt x="159" y="101237"/>
                      <a:pt x="1812" y="99794"/>
                    </a:cubicBezTo>
                    <a:lnTo>
                      <a:pt x="53543" y="54526"/>
                    </a:lnTo>
                    <a:lnTo>
                      <a:pt x="1812" y="9258"/>
                    </a:lnTo>
                    <a:cubicBezTo>
                      <a:pt x="159" y="7815"/>
                      <a:pt x="-412" y="5501"/>
                      <a:pt x="339" y="3427"/>
                    </a:cubicBezTo>
                    <a:cubicBezTo>
                      <a:pt x="1121" y="1353"/>
                      <a:pt x="3074" y="0"/>
                      <a:pt x="5269" y="0"/>
                    </a:cubicBezTo>
                    <a:lnTo>
                      <a:pt x="307716" y="0"/>
                    </a:lnTo>
                    <a:cubicBezTo>
                      <a:pt x="308798" y="0"/>
                      <a:pt x="309850" y="331"/>
                      <a:pt x="310752" y="962"/>
                    </a:cubicBezTo>
                    <a:lnTo>
                      <a:pt x="381089" y="50198"/>
                    </a:lnTo>
                    <a:cubicBezTo>
                      <a:pt x="382501" y="51189"/>
                      <a:pt x="383343" y="52782"/>
                      <a:pt x="383343" y="54526"/>
                    </a:cubicBezTo>
                    <a:cubicBezTo>
                      <a:pt x="383343" y="56269"/>
                      <a:pt x="382501" y="57862"/>
                      <a:pt x="381089" y="58854"/>
                    </a:cubicBezTo>
                    <a:lnTo>
                      <a:pt x="310752" y="108090"/>
                    </a:lnTo>
                    <a:cubicBezTo>
                      <a:pt x="309850" y="108721"/>
                      <a:pt x="308798" y="109052"/>
                      <a:pt x="307716" y="109052"/>
                    </a:cubicBezTo>
                    <a:close/>
                    <a:moveTo>
                      <a:pt x="19306" y="98501"/>
                    </a:moveTo>
                    <a:lnTo>
                      <a:pt x="306033" y="98501"/>
                    </a:lnTo>
                    <a:lnTo>
                      <a:pt x="368825" y="54556"/>
                    </a:lnTo>
                    <a:lnTo>
                      <a:pt x="306033" y="10611"/>
                    </a:lnTo>
                    <a:lnTo>
                      <a:pt x="19306" y="10611"/>
                    </a:lnTo>
                    <a:lnTo>
                      <a:pt x="64995" y="50588"/>
                    </a:lnTo>
                    <a:cubicBezTo>
                      <a:pt x="66137" y="51580"/>
                      <a:pt x="66798" y="53053"/>
                      <a:pt x="66798" y="54556"/>
                    </a:cubicBezTo>
                    <a:cubicBezTo>
                      <a:pt x="66798" y="56059"/>
                      <a:pt x="66137" y="57532"/>
                      <a:pt x="64995" y="58524"/>
                    </a:cubicBezTo>
                    <a:lnTo>
                      <a:pt x="19306" y="98501"/>
                    </a:lnTo>
                    <a:close/>
                  </a:path>
                </a:pathLst>
              </a:custGeom>
              <a:solidFill>
                <a:schemeClr val="tx2"/>
              </a:solidFill>
              <a:ln w="3004" cap="flat">
                <a:noFill/>
                <a:prstDash val="solid"/>
                <a:miter/>
              </a:ln>
            </p:spPr>
            <p:txBody>
              <a:bodyPr rtlCol="0" anchor="ctr"/>
              <a:lstStyle/>
              <a:p>
                <a:endParaRPr lang="en-GB" dirty="0"/>
              </a:p>
            </p:txBody>
          </p:sp>
        </p:grpSp>
        <p:grpSp>
          <p:nvGrpSpPr>
            <p:cNvPr id="553" name="Group 977">
              <a:extLst>
                <a:ext uri="{FF2B5EF4-FFF2-40B4-BE49-F238E27FC236}">
                  <a16:creationId xmlns:a16="http://schemas.microsoft.com/office/drawing/2014/main" id="{F88A97A3-BA01-4889-9564-C6458F34C9A1}"/>
                </a:ext>
              </a:extLst>
            </p:cNvPr>
            <p:cNvGrpSpPr/>
            <p:nvPr/>
          </p:nvGrpSpPr>
          <p:grpSpPr>
            <a:xfrm>
              <a:off x="1721420" y="4210882"/>
              <a:ext cx="516968" cy="250198"/>
              <a:chOff x="1721420" y="4210882"/>
              <a:chExt cx="516968" cy="250198"/>
            </a:xfrm>
          </p:grpSpPr>
          <p:sp>
            <p:nvSpPr>
              <p:cNvPr id="554" name="Freihandform: Form 553">
                <a:extLst>
                  <a:ext uri="{FF2B5EF4-FFF2-40B4-BE49-F238E27FC236}">
                    <a16:creationId xmlns:a16="http://schemas.microsoft.com/office/drawing/2014/main" id="{6F851D41-14BC-42E8-B0B6-A3350ED15D59}"/>
                  </a:ext>
                </a:extLst>
              </p:cNvPr>
              <p:cNvSpPr/>
              <p:nvPr/>
            </p:nvSpPr>
            <p:spPr>
              <a:xfrm>
                <a:off x="2157506" y="4352085"/>
                <a:ext cx="80882" cy="108995"/>
              </a:xfrm>
              <a:custGeom>
                <a:avLst/>
                <a:gdLst>
                  <a:gd name="connsiteX0" fmla="*/ 5286 w 80882"/>
                  <a:gd name="connsiteY0" fmla="*/ 108996 h 108995"/>
                  <a:gd name="connsiteX1" fmla="*/ 958 w 80882"/>
                  <a:gd name="connsiteY1" fmla="*/ 106741 h 108995"/>
                  <a:gd name="connsiteX2" fmla="*/ 2250 w 80882"/>
                  <a:gd name="connsiteY2" fmla="*/ 99407 h 108995"/>
                  <a:gd name="connsiteX3" fmla="*/ 66425 w 80882"/>
                  <a:gd name="connsiteY3" fmla="*/ 54500 h 108995"/>
                  <a:gd name="connsiteX4" fmla="*/ 2250 w 80882"/>
                  <a:gd name="connsiteY4" fmla="*/ 9592 h 108995"/>
                  <a:gd name="connsiteX5" fmla="*/ 958 w 80882"/>
                  <a:gd name="connsiteY5" fmla="*/ 2258 h 108995"/>
                  <a:gd name="connsiteX6" fmla="*/ 8292 w 80882"/>
                  <a:gd name="connsiteY6" fmla="*/ 966 h 108995"/>
                  <a:gd name="connsiteX7" fmla="*/ 78628 w 80882"/>
                  <a:gd name="connsiteY7" fmla="*/ 50201 h 108995"/>
                  <a:gd name="connsiteX8" fmla="*/ 80883 w 80882"/>
                  <a:gd name="connsiteY8" fmla="*/ 54530 h 108995"/>
                  <a:gd name="connsiteX9" fmla="*/ 78628 w 80882"/>
                  <a:gd name="connsiteY9" fmla="*/ 58858 h 108995"/>
                  <a:gd name="connsiteX10" fmla="*/ 8292 w 80882"/>
                  <a:gd name="connsiteY10" fmla="*/ 108094 h 108995"/>
                  <a:gd name="connsiteX11" fmla="*/ 5286 w 80882"/>
                  <a:gd name="connsiteY11" fmla="*/ 108996 h 10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882" h="108995">
                    <a:moveTo>
                      <a:pt x="5286" y="108996"/>
                    </a:moveTo>
                    <a:cubicBezTo>
                      <a:pt x="3633" y="108996"/>
                      <a:pt x="1979" y="108214"/>
                      <a:pt x="958" y="106741"/>
                    </a:cubicBezTo>
                    <a:cubicBezTo>
                      <a:pt x="-726" y="104367"/>
                      <a:pt x="-125" y="101060"/>
                      <a:pt x="2250" y="99407"/>
                    </a:cubicBezTo>
                    <a:lnTo>
                      <a:pt x="66425" y="54500"/>
                    </a:lnTo>
                    <a:lnTo>
                      <a:pt x="2250" y="9592"/>
                    </a:lnTo>
                    <a:cubicBezTo>
                      <a:pt x="-125" y="7909"/>
                      <a:pt x="-726" y="4633"/>
                      <a:pt x="958" y="2258"/>
                    </a:cubicBezTo>
                    <a:cubicBezTo>
                      <a:pt x="2641" y="-146"/>
                      <a:pt x="5917" y="-718"/>
                      <a:pt x="8292" y="966"/>
                    </a:cubicBezTo>
                    <a:lnTo>
                      <a:pt x="78628" y="50201"/>
                    </a:lnTo>
                    <a:cubicBezTo>
                      <a:pt x="80041" y="51193"/>
                      <a:pt x="80883" y="52786"/>
                      <a:pt x="80883" y="54530"/>
                    </a:cubicBezTo>
                    <a:cubicBezTo>
                      <a:pt x="80883" y="56273"/>
                      <a:pt x="80041" y="57866"/>
                      <a:pt x="78628" y="58858"/>
                    </a:cubicBezTo>
                    <a:lnTo>
                      <a:pt x="8292" y="108094"/>
                    </a:lnTo>
                    <a:cubicBezTo>
                      <a:pt x="7390" y="108695"/>
                      <a:pt x="6338" y="108996"/>
                      <a:pt x="5286" y="108996"/>
                    </a:cubicBezTo>
                    <a:close/>
                  </a:path>
                </a:pathLst>
              </a:custGeom>
              <a:solidFill>
                <a:schemeClr val="accent1"/>
              </a:solidFill>
              <a:ln w="3004" cap="flat">
                <a:noFill/>
                <a:prstDash val="solid"/>
                <a:miter/>
              </a:ln>
            </p:spPr>
            <p:txBody>
              <a:bodyPr rtlCol="0" anchor="ctr"/>
              <a:lstStyle/>
              <a:p>
                <a:endParaRPr lang="en-GB" dirty="0"/>
              </a:p>
            </p:txBody>
          </p:sp>
          <p:sp>
            <p:nvSpPr>
              <p:cNvPr id="555" name="Freihandform: Form 554">
                <a:extLst>
                  <a:ext uri="{FF2B5EF4-FFF2-40B4-BE49-F238E27FC236}">
                    <a16:creationId xmlns:a16="http://schemas.microsoft.com/office/drawing/2014/main" id="{11BC1F82-6AF7-4254-A754-635B85197128}"/>
                  </a:ext>
                </a:extLst>
              </p:cNvPr>
              <p:cNvSpPr/>
              <p:nvPr/>
            </p:nvSpPr>
            <p:spPr>
              <a:xfrm>
                <a:off x="1721420" y="4352085"/>
                <a:ext cx="80882" cy="108995"/>
              </a:xfrm>
              <a:custGeom>
                <a:avLst/>
                <a:gdLst>
                  <a:gd name="connsiteX0" fmla="*/ 5286 w 80882"/>
                  <a:gd name="connsiteY0" fmla="*/ 108996 h 108995"/>
                  <a:gd name="connsiteX1" fmla="*/ 958 w 80882"/>
                  <a:gd name="connsiteY1" fmla="*/ 106741 h 108995"/>
                  <a:gd name="connsiteX2" fmla="*/ 2250 w 80882"/>
                  <a:gd name="connsiteY2" fmla="*/ 99407 h 108995"/>
                  <a:gd name="connsiteX3" fmla="*/ 66425 w 80882"/>
                  <a:gd name="connsiteY3" fmla="*/ 54500 h 108995"/>
                  <a:gd name="connsiteX4" fmla="*/ 2250 w 80882"/>
                  <a:gd name="connsiteY4" fmla="*/ 9592 h 108995"/>
                  <a:gd name="connsiteX5" fmla="*/ 958 w 80882"/>
                  <a:gd name="connsiteY5" fmla="*/ 2258 h 108995"/>
                  <a:gd name="connsiteX6" fmla="*/ 8292 w 80882"/>
                  <a:gd name="connsiteY6" fmla="*/ 966 h 108995"/>
                  <a:gd name="connsiteX7" fmla="*/ 78628 w 80882"/>
                  <a:gd name="connsiteY7" fmla="*/ 50201 h 108995"/>
                  <a:gd name="connsiteX8" fmla="*/ 80883 w 80882"/>
                  <a:gd name="connsiteY8" fmla="*/ 54530 h 108995"/>
                  <a:gd name="connsiteX9" fmla="*/ 78628 w 80882"/>
                  <a:gd name="connsiteY9" fmla="*/ 58858 h 108995"/>
                  <a:gd name="connsiteX10" fmla="*/ 8292 w 80882"/>
                  <a:gd name="connsiteY10" fmla="*/ 108094 h 108995"/>
                  <a:gd name="connsiteX11" fmla="*/ 5286 w 80882"/>
                  <a:gd name="connsiteY11" fmla="*/ 108996 h 10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0882" h="108995">
                    <a:moveTo>
                      <a:pt x="5286" y="108996"/>
                    </a:moveTo>
                    <a:cubicBezTo>
                      <a:pt x="3633" y="108996"/>
                      <a:pt x="1980" y="108214"/>
                      <a:pt x="958" y="106741"/>
                    </a:cubicBezTo>
                    <a:cubicBezTo>
                      <a:pt x="-726" y="104367"/>
                      <a:pt x="-125" y="101060"/>
                      <a:pt x="2250" y="99407"/>
                    </a:cubicBezTo>
                    <a:lnTo>
                      <a:pt x="66425" y="54500"/>
                    </a:lnTo>
                    <a:lnTo>
                      <a:pt x="2250" y="9592"/>
                    </a:lnTo>
                    <a:cubicBezTo>
                      <a:pt x="-125" y="7909"/>
                      <a:pt x="-726" y="4633"/>
                      <a:pt x="958" y="2258"/>
                    </a:cubicBezTo>
                    <a:cubicBezTo>
                      <a:pt x="2611" y="-146"/>
                      <a:pt x="5917" y="-718"/>
                      <a:pt x="8292" y="966"/>
                    </a:cubicBezTo>
                    <a:lnTo>
                      <a:pt x="78628" y="50201"/>
                    </a:lnTo>
                    <a:cubicBezTo>
                      <a:pt x="80041" y="51193"/>
                      <a:pt x="80883" y="52786"/>
                      <a:pt x="80883" y="54530"/>
                    </a:cubicBezTo>
                    <a:cubicBezTo>
                      <a:pt x="80883" y="56273"/>
                      <a:pt x="80041" y="57866"/>
                      <a:pt x="78628" y="58858"/>
                    </a:cubicBezTo>
                    <a:lnTo>
                      <a:pt x="8292" y="108094"/>
                    </a:lnTo>
                    <a:cubicBezTo>
                      <a:pt x="7390" y="108695"/>
                      <a:pt x="6338" y="108996"/>
                      <a:pt x="5286" y="108996"/>
                    </a:cubicBezTo>
                    <a:close/>
                  </a:path>
                </a:pathLst>
              </a:custGeom>
              <a:solidFill>
                <a:schemeClr val="accent1"/>
              </a:solidFill>
              <a:ln w="3004" cap="flat">
                <a:noFill/>
                <a:prstDash val="solid"/>
                <a:miter/>
              </a:ln>
            </p:spPr>
            <p:txBody>
              <a:bodyPr rtlCol="0" anchor="ctr"/>
              <a:lstStyle/>
              <a:p>
                <a:endParaRPr lang="en-GB" dirty="0"/>
              </a:p>
            </p:txBody>
          </p:sp>
          <p:grpSp>
            <p:nvGrpSpPr>
              <p:cNvPr id="556" name="Grafik 19">
                <a:extLst>
                  <a:ext uri="{FF2B5EF4-FFF2-40B4-BE49-F238E27FC236}">
                    <a16:creationId xmlns:a16="http://schemas.microsoft.com/office/drawing/2014/main" id="{177DA487-E029-446A-83BD-8D5664A41198}"/>
                  </a:ext>
                </a:extLst>
              </p:cNvPr>
              <p:cNvGrpSpPr/>
              <p:nvPr/>
            </p:nvGrpSpPr>
            <p:grpSpPr>
              <a:xfrm>
                <a:off x="1924888" y="4210882"/>
                <a:ext cx="60312" cy="60289"/>
                <a:chOff x="1924888" y="4210882"/>
                <a:chExt cx="60312" cy="60289"/>
              </a:xfrm>
              <a:solidFill>
                <a:schemeClr val="accent1"/>
              </a:solidFill>
            </p:grpSpPr>
            <p:sp>
              <p:nvSpPr>
                <p:cNvPr id="561" name="Freihandform: Form 560">
                  <a:extLst>
                    <a:ext uri="{FF2B5EF4-FFF2-40B4-BE49-F238E27FC236}">
                      <a16:creationId xmlns:a16="http://schemas.microsoft.com/office/drawing/2014/main" id="{23E307DD-A303-494C-9F33-ADD12A2EDAFE}"/>
                    </a:ext>
                  </a:extLst>
                </p:cNvPr>
                <p:cNvSpPr/>
                <p:nvPr/>
              </p:nvSpPr>
              <p:spPr>
                <a:xfrm>
                  <a:off x="1924888" y="4210882"/>
                  <a:ext cx="60312" cy="60289"/>
                </a:xfrm>
                <a:custGeom>
                  <a:avLst/>
                  <a:gdLst>
                    <a:gd name="connsiteX0" fmla="*/ 55029 w 60312"/>
                    <a:gd name="connsiteY0" fmla="*/ 60290 h 60289"/>
                    <a:gd name="connsiteX1" fmla="*/ 51302 w 60312"/>
                    <a:gd name="connsiteY1" fmla="*/ 58757 h 60289"/>
                    <a:gd name="connsiteX2" fmla="*/ 1556 w 60312"/>
                    <a:gd name="connsiteY2" fmla="*/ 9010 h 60289"/>
                    <a:gd name="connsiteX3" fmla="*/ 1556 w 60312"/>
                    <a:gd name="connsiteY3" fmla="*/ 1555 h 60289"/>
                    <a:gd name="connsiteX4" fmla="*/ 9010 w 60312"/>
                    <a:gd name="connsiteY4" fmla="*/ 1555 h 60289"/>
                    <a:gd name="connsiteX5" fmla="*/ 58757 w 60312"/>
                    <a:gd name="connsiteY5" fmla="*/ 51302 h 60289"/>
                    <a:gd name="connsiteX6" fmla="*/ 58757 w 60312"/>
                    <a:gd name="connsiteY6" fmla="*/ 58757 h 60289"/>
                    <a:gd name="connsiteX7" fmla="*/ 55029 w 60312"/>
                    <a:gd name="connsiteY7" fmla="*/ 60290 h 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312" h="60289">
                      <a:moveTo>
                        <a:pt x="55029" y="60290"/>
                      </a:moveTo>
                      <a:cubicBezTo>
                        <a:pt x="53677" y="60290"/>
                        <a:pt x="52324" y="59779"/>
                        <a:pt x="51302" y="58757"/>
                      </a:cubicBezTo>
                      <a:lnTo>
                        <a:pt x="1556" y="9010"/>
                      </a:lnTo>
                      <a:cubicBezTo>
                        <a:pt x="-519" y="6936"/>
                        <a:pt x="-519" y="3600"/>
                        <a:pt x="1556" y="1555"/>
                      </a:cubicBezTo>
                      <a:cubicBezTo>
                        <a:pt x="3630" y="-518"/>
                        <a:pt x="6966" y="-518"/>
                        <a:pt x="9010" y="1555"/>
                      </a:cubicBezTo>
                      <a:lnTo>
                        <a:pt x="58757" y="51302"/>
                      </a:lnTo>
                      <a:cubicBezTo>
                        <a:pt x="60831" y="53376"/>
                        <a:pt x="60831" y="56713"/>
                        <a:pt x="58757" y="58757"/>
                      </a:cubicBezTo>
                      <a:cubicBezTo>
                        <a:pt x="57735" y="59779"/>
                        <a:pt x="56382" y="60290"/>
                        <a:pt x="55029" y="60290"/>
                      </a:cubicBezTo>
                      <a:close/>
                    </a:path>
                  </a:pathLst>
                </a:custGeom>
                <a:solidFill>
                  <a:schemeClr val="accent1"/>
                </a:solidFill>
                <a:ln w="3004" cap="flat">
                  <a:noFill/>
                  <a:prstDash val="solid"/>
                  <a:miter/>
                </a:ln>
              </p:spPr>
              <p:txBody>
                <a:bodyPr rtlCol="0" anchor="ctr"/>
                <a:lstStyle/>
                <a:p>
                  <a:endParaRPr lang="en-GB" dirty="0"/>
                </a:p>
              </p:txBody>
            </p:sp>
            <p:sp>
              <p:nvSpPr>
                <p:cNvPr id="562" name="Freihandform: Form 561">
                  <a:extLst>
                    <a:ext uri="{FF2B5EF4-FFF2-40B4-BE49-F238E27FC236}">
                      <a16:creationId xmlns:a16="http://schemas.microsoft.com/office/drawing/2014/main" id="{6E523FCA-4774-4C0A-90B8-1BB3BA9A37C0}"/>
                    </a:ext>
                  </a:extLst>
                </p:cNvPr>
                <p:cNvSpPr/>
                <p:nvPr/>
              </p:nvSpPr>
              <p:spPr>
                <a:xfrm>
                  <a:off x="1924888" y="4210882"/>
                  <a:ext cx="60312" cy="60289"/>
                </a:xfrm>
                <a:custGeom>
                  <a:avLst/>
                  <a:gdLst>
                    <a:gd name="connsiteX0" fmla="*/ 5283 w 60312"/>
                    <a:gd name="connsiteY0" fmla="*/ 60290 h 60289"/>
                    <a:gd name="connsiteX1" fmla="*/ 1556 w 60312"/>
                    <a:gd name="connsiteY1" fmla="*/ 58757 h 60289"/>
                    <a:gd name="connsiteX2" fmla="*/ 1556 w 60312"/>
                    <a:gd name="connsiteY2" fmla="*/ 51302 h 60289"/>
                    <a:gd name="connsiteX3" fmla="*/ 51302 w 60312"/>
                    <a:gd name="connsiteY3" fmla="*/ 1555 h 60289"/>
                    <a:gd name="connsiteX4" fmla="*/ 58757 w 60312"/>
                    <a:gd name="connsiteY4" fmla="*/ 1555 h 60289"/>
                    <a:gd name="connsiteX5" fmla="*/ 58757 w 60312"/>
                    <a:gd name="connsiteY5" fmla="*/ 9010 h 60289"/>
                    <a:gd name="connsiteX6" fmla="*/ 9010 w 60312"/>
                    <a:gd name="connsiteY6" fmla="*/ 58757 h 60289"/>
                    <a:gd name="connsiteX7" fmla="*/ 5283 w 60312"/>
                    <a:gd name="connsiteY7" fmla="*/ 60290 h 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312" h="60289">
                      <a:moveTo>
                        <a:pt x="5283" y="60290"/>
                      </a:moveTo>
                      <a:cubicBezTo>
                        <a:pt x="3930" y="60290"/>
                        <a:pt x="2577" y="59779"/>
                        <a:pt x="1556" y="58757"/>
                      </a:cubicBezTo>
                      <a:cubicBezTo>
                        <a:pt x="-519" y="56683"/>
                        <a:pt x="-519" y="53346"/>
                        <a:pt x="1556" y="51302"/>
                      </a:cubicBezTo>
                      <a:lnTo>
                        <a:pt x="51302" y="1555"/>
                      </a:lnTo>
                      <a:cubicBezTo>
                        <a:pt x="53376" y="-518"/>
                        <a:pt x="56713" y="-518"/>
                        <a:pt x="58757" y="1555"/>
                      </a:cubicBezTo>
                      <a:cubicBezTo>
                        <a:pt x="60831" y="3629"/>
                        <a:pt x="60831" y="6966"/>
                        <a:pt x="58757" y="9010"/>
                      </a:cubicBezTo>
                      <a:lnTo>
                        <a:pt x="9010" y="58757"/>
                      </a:lnTo>
                      <a:cubicBezTo>
                        <a:pt x="7988" y="59779"/>
                        <a:pt x="6635" y="60290"/>
                        <a:pt x="5283" y="60290"/>
                      </a:cubicBezTo>
                      <a:close/>
                    </a:path>
                  </a:pathLst>
                </a:custGeom>
                <a:solidFill>
                  <a:schemeClr val="accent1"/>
                </a:solidFill>
                <a:ln w="3004" cap="flat">
                  <a:noFill/>
                  <a:prstDash val="solid"/>
                  <a:miter/>
                </a:ln>
              </p:spPr>
              <p:txBody>
                <a:bodyPr rtlCol="0" anchor="ctr"/>
                <a:lstStyle/>
                <a:p>
                  <a:endParaRPr lang="en-GB" dirty="0"/>
                </a:p>
              </p:txBody>
            </p:sp>
          </p:grpSp>
          <p:grpSp>
            <p:nvGrpSpPr>
              <p:cNvPr id="557" name="Grafik 19">
                <a:extLst>
                  <a:ext uri="{FF2B5EF4-FFF2-40B4-BE49-F238E27FC236}">
                    <a16:creationId xmlns:a16="http://schemas.microsoft.com/office/drawing/2014/main" id="{343F022D-1FF5-4BBC-A588-58614366C373}"/>
                  </a:ext>
                </a:extLst>
              </p:cNvPr>
              <p:cNvGrpSpPr/>
              <p:nvPr/>
            </p:nvGrpSpPr>
            <p:grpSpPr>
              <a:xfrm>
                <a:off x="1897287" y="4380201"/>
                <a:ext cx="165283" cy="52745"/>
                <a:chOff x="1897287" y="4380201"/>
                <a:chExt cx="165283" cy="52745"/>
              </a:xfrm>
              <a:solidFill>
                <a:schemeClr val="accent1"/>
              </a:solidFill>
            </p:grpSpPr>
            <p:sp>
              <p:nvSpPr>
                <p:cNvPr id="558" name="Freihandform: Form 557">
                  <a:extLst>
                    <a:ext uri="{FF2B5EF4-FFF2-40B4-BE49-F238E27FC236}">
                      <a16:creationId xmlns:a16="http://schemas.microsoft.com/office/drawing/2014/main" id="{368F16E7-0379-4B06-98BD-D08F36DCF6ED}"/>
                    </a:ext>
                  </a:extLst>
                </p:cNvPr>
                <p:cNvSpPr/>
                <p:nvPr/>
              </p:nvSpPr>
              <p:spPr>
                <a:xfrm>
                  <a:off x="1897287" y="4401325"/>
                  <a:ext cx="165260" cy="10520"/>
                </a:xfrm>
                <a:custGeom>
                  <a:avLst/>
                  <a:gdLst>
                    <a:gd name="connsiteX0" fmla="*/ 160001 w 165260"/>
                    <a:gd name="connsiteY0" fmla="*/ 10520 h 10520"/>
                    <a:gd name="connsiteX1" fmla="*/ 5260 w 165260"/>
                    <a:gd name="connsiteY1" fmla="*/ 10520 h 10520"/>
                    <a:gd name="connsiteX2" fmla="*/ 0 w 165260"/>
                    <a:gd name="connsiteY2" fmla="*/ 5260 h 10520"/>
                    <a:gd name="connsiteX3" fmla="*/ 5260 w 165260"/>
                    <a:gd name="connsiteY3" fmla="*/ 0 h 10520"/>
                    <a:gd name="connsiteX4" fmla="*/ 160001 w 165260"/>
                    <a:gd name="connsiteY4" fmla="*/ 0 h 10520"/>
                    <a:gd name="connsiteX5" fmla="*/ 165261 w 165260"/>
                    <a:gd name="connsiteY5" fmla="*/ 5260 h 10520"/>
                    <a:gd name="connsiteX6" fmla="*/ 160001 w 165260"/>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260" h="10520">
                      <a:moveTo>
                        <a:pt x="160001" y="10520"/>
                      </a:moveTo>
                      <a:lnTo>
                        <a:pt x="5260" y="10520"/>
                      </a:lnTo>
                      <a:cubicBezTo>
                        <a:pt x="2345" y="10520"/>
                        <a:pt x="0" y="8146"/>
                        <a:pt x="0" y="5260"/>
                      </a:cubicBezTo>
                      <a:cubicBezTo>
                        <a:pt x="0" y="2375"/>
                        <a:pt x="2375" y="0"/>
                        <a:pt x="5260" y="0"/>
                      </a:cubicBezTo>
                      <a:lnTo>
                        <a:pt x="160001" y="0"/>
                      </a:lnTo>
                      <a:cubicBezTo>
                        <a:pt x="162916" y="0"/>
                        <a:pt x="165261" y="2375"/>
                        <a:pt x="165261" y="5260"/>
                      </a:cubicBezTo>
                      <a:cubicBezTo>
                        <a:pt x="165261" y="8146"/>
                        <a:pt x="162916" y="10520"/>
                        <a:pt x="160001" y="10520"/>
                      </a:cubicBezTo>
                      <a:close/>
                    </a:path>
                  </a:pathLst>
                </a:custGeom>
                <a:solidFill>
                  <a:schemeClr val="accent1"/>
                </a:solidFill>
                <a:ln w="3004" cap="flat">
                  <a:noFill/>
                  <a:prstDash val="solid"/>
                  <a:miter/>
                </a:ln>
              </p:spPr>
              <p:txBody>
                <a:bodyPr rtlCol="0" anchor="ctr"/>
                <a:lstStyle/>
                <a:p>
                  <a:endParaRPr lang="en-GB" dirty="0"/>
                </a:p>
              </p:txBody>
            </p:sp>
            <p:sp>
              <p:nvSpPr>
                <p:cNvPr id="559" name="Freihandform: Form 558">
                  <a:extLst>
                    <a:ext uri="{FF2B5EF4-FFF2-40B4-BE49-F238E27FC236}">
                      <a16:creationId xmlns:a16="http://schemas.microsoft.com/office/drawing/2014/main" id="{FBCADA20-E7A7-469C-81FD-BA14AE2BAFB9}"/>
                    </a:ext>
                  </a:extLst>
                </p:cNvPr>
                <p:cNvSpPr/>
                <p:nvPr/>
              </p:nvSpPr>
              <p:spPr>
                <a:xfrm>
                  <a:off x="2030904" y="4380201"/>
                  <a:ext cx="31666" cy="31643"/>
                </a:xfrm>
                <a:custGeom>
                  <a:avLst/>
                  <a:gdLst>
                    <a:gd name="connsiteX0" fmla="*/ 26384 w 31666"/>
                    <a:gd name="connsiteY0" fmla="*/ 31644 h 31643"/>
                    <a:gd name="connsiteX1" fmla="*/ 22657 w 31666"/>
                    <a:gd name="connsiteY1" fmla="*/ 30111 h 31643"/>
                    <a:gd name="connsiteX2" fmla="*/ 1556 w 31666"/>
                    <a:gd name="connsiteY2" fmla="*/ 9010 h 31643"/>
                    <a:gd name="connsiteX3" fmla="*/ 1556 w 31666"/>
                    <a:gd name="connsiteY3" fmla="*/ 1556 h 31643"/>
                    <a:gd name="connsiteX4" fmla="*/ 9010 w 31666"/>
                    <a:gd name="connsiteY4" fmla="*/ 1556 h 31643"/>
                    <a:gd name="connsiteX5" fmla="*/ 30111 w 31666"/>
                    <a:gd name="connsiteY5" fmla="*/ 22657 h 31643"/>
                    <a:gd name="connsiteX6" fmla="*/ 30111 w 31666"/>
                    <a:gd name="connsiteY6" fmla="*/ 30111 h 31643"/>
                    <a:gd name="connsiteX7" fmla="*/ 26384 w 31666"/>
                    <a:gd name="connsiteY7" fmla="*/ 31644 h 3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66" h="31643">
                      <a:moveTo>
                        <a:pt x="26384" y="31644"/>
                      </a:moveTo>
                      <a:cubicBezTo>
                        <a:pt x="25031" y="31644"/>
                        <a:pt x="23679" y="31133"/>
                        <a:pt x="22657" y="30111"/>
                      </a:cubicBezTo>
                      <a:lnTo>
                        <a:pt x="1556" y="9010"/>
                      </a:lnTo>
                      <a:cubicBezTo>
                        <a:pt x="-519" y="6936"/>
                        <a:pt x="-519" y="3599"/>
                        <a:pt x="1556" y="1556"/>
                      </a:cubicBezTo>
                      <a:cubicBezTo>
                        <a:pt x="3630" y="-519"/>
                        <a:pt x="6966" y="-519"/>
                        <a:pt x="9010" y="1556"/>
                      </a:cubicBezTo>
                      <a:lnTo>
                        <a:pt x="30111" y="22657"/>
                      </a:lnTo>
                      <a:cubicBezTo>
                        <a:pt x="32185" y="24731"/>
                        <a:pt x="32185" y="28067"/>
                        <a:pt x="30111" y="30111"/>
                      </a:cubicBezTo>
                      <a:cubicBezTo>
                        <a:pt x="29089" y="31133"/>
                        <a:pt x="27736" y="31644"/>
                        <a:pt x="26384" y="31644"/>
                      </a:cubicBezTo>
                      <a:close/>
                    </a:path>
                  </a:pathLst>
                </a:custGeom>
                <a:solidFill>
                  <a:schemeClr val="accent1"/>
                </a:solidFill>
                <a:ln w="3004" cap="flat">
                  <a:noFill/>
                  <a:prstDash val="solid"/>
                  <a:miter/>
                </a:ln>
              </p:spPr>
              <p:txBody>
                <a:bodyPr rtlCol="0" anchor="ctr"/>
                <a:lstStyle/>
                <a:p>
                  <a:endParaRPr lang="en-GB" dirty="0"/>
                </a:p>
              </p:txBody>
            </p:sp>
            <p:sp>
              <p:nvSpPr>
                <p:cNvPr id="560" name="Freihandform: Form 559">
                  <a:extLst>
                    <a:ext uri="{FF2B5EF4-FFF2-40B4-BE49-F238E27FC236}">
                      <a16:creationId xmlns:a16="http://schemas.microsoft.com/office/drawing/2014/main" id="{B7450E56-2053-44CA-8EE9-91A4BF9CFB44}"/>
                    </a:ext>
                  </a:extLst>
                </p:cNvPr>
                <p:cNvSpPr/>
                <p:nvPr/>
              </p:nvSpPr>
              <p:spPr>
                <a:xfrm>
                  <a:off x="2030904" y="4401302"/>
                  <a:ext cx="31666" cy="31643"/>
                </a:xfrm>
                <a:custGeom>
                  <a:avLst/>
                  <a:gdLst>
                    <a:gd name="connsiteX0" fmla="*/ 5283 w 31666"/>
                    <a:gd name="connsiteY0" fmla="*/ 31644 h 31643"/>
                    <a:gd name="connsiteX1" fmla="*/ 1556 w 31666"/>
                    <a:gd name="connsiteY1" fmla="*/ 30111 h 31643"/>
                    <a:gd name="connsiteX2" fmla="*/ 1556 w 31666"/>
                    <a:gd name="connsiteY2" fmla="*/ 22657 h 31643"/>
                    <a:gd name="connsiteX3" fmla="*/ 22657 w 31666"/>
                    <a:gd name="connsiteY3" fmla="*/ 1556 h 31643"/>
                    <a:gd name="connsiteX4" fmla="*/ 30111 w 31666"/>
                    <a:gd name="connsiteY4" fmla="*/ 1556 h 31643"/>
                    <a:gd name="connsiteX5" fmla="*/ 30111 w 31666"/>
                    <a:gd name="connsiteY5" fmla="*/ 9010 h 31643"/>
                    <a:gd name="connsiteX6" fmla="*/ 9010 w 31666"/>
                    <a:gd name="connsiteY6" fmla="*/ 30111 h 31643"/>
                    <a:gd name="connsiteX7" fmla="*/ 5283 w 31666"/>
                    <a:gd name="connsiteY7" fmla="*/ 31644 h 31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66" h="31643">
                      <a:moveTo>
                        <a:pt x="5283" y="31644"/>
                      </a:moveTo>
                      <a:cubicBezTo>
                        <a:pt x="3930" y="31644"/>
                        <a:pt x="2578" y="31133"/>
                        <a:pt x="1556" y="30111"/>
                      </a:cubicBezTo>
                      <a:cubicBezTo>
                        <a:pt x="-519" y="28037"/>
                        <a:pt x="-519" y="24701"/>
                        <a:pt x="1556" y="22657"/>
                      </a:cubicBezTo>
                      <a:lnTo>
                        <a:pt x="22657" y="1556"/>
                      </a:lnTo>
                      <a:cubicBezTo>
                        <a:pt x="24731" y="-519"/>
                        <a:pt x="28067" y="-519"/>
                        <a:pt x="30111" y="1556"/>
                      </a:cubicBezTo>
                      <a:cubicBezTo>
                        <a:pt x="32185" y="3630"/>
                        <a:pt x="32185" y="6966"/>
                        <a:pt x="30111" y="9010"/>
                      </a:cubicBezTo>
                      <a:lnTo>
                        <a:pt x="9010" y="30111"/>
                      </a:lnTo>
                      <a:cubicBezTo>
                        <a:pt x="7988" y="31133"/>
                        <a:pt x="6635" y="31644"/>
                        <a:pt x="5283" y="31644"/>
                      </a:cubicBezTo>
                      <a:close/>
                    </a:path>
                  </a:pathLst>
                </a:custGeom>
                <a:solidFill>
                  <a:schemeClr val="accent1"/>
                </a:solidFill>
                <a:ln w="3004" cap="flat">
                  <a:noFill/>
                  <a:prstDash val="solid"/>
                  <a:miter/>
                </a:ln>
              </p:spPr>
              <p:txBody>
                <a:bodyPr rtlCol="0" anchor="ctr"/>
                <a:lstStyle/>
                <a:p>
                  <a:endParaRPr lang="en-GB" dirty="0"/>
                </a:p>
              </p:txBody>
            </p:sp>
          </p:grpSp>
        </p:grpSp>
      </p:grpSp>
      <p:grpSp>
        <p:nvGrpSpPr>
          <p:cNvPr id="570" name="Group 6">
            <a:extLst>
              <a:ext uri="{FF2B5EF4-FFF2-40B4-BE49-F238E27FC236}">
                <a16:creationId xmlns:a16="http://schemas.microsoft.com/office/drawing/2014/main" id="{B6F482A5-D2CB-4213-BD18-1B7D933EA06E}"/>
              </a:ext>
            </a:extLst>
          </p:cNvPr>
          <p:cNvGrpSpPr>
            <a:grpSpLocks noChangeAspect="1"/>
          </p:cNvGrpSpPr>
          <p:nvPr/>
        </p:nvGrpSpPr>
        <p:grpSpPr>
          <a:xfrm>
            <a:off x="8139099" y="4097453"/>
            <a:ext cx="427085" cy="431997"/>
            <a:chOff x="3308609" y="4125933"/>
            <a:chExt cx="498223" cy="503954"/>
          </a:xfrm>
        </p:grpSpPr>
        <p:grpSp>
          <p:nvGrpSpPr>
            <p:cNvPr id="571" name="Group 992">
              <a:extLst>
                <a:ext uri="{FF2B5EF4-FFF2-40B4-BE49-F238E27FC236}">
                  <a16:creationId xmlns:a16="http://schemas.microsoft.com/office/drawing/2014/main" id="{3DBE3544-CD31-4140-AF6A-EF94F3710EDC}"/>
                </a:ext>
              </a:extLst>
            </p:cNvPr>
            <p:cNvGrpSpPr/>
            <p:nvPr/>
          </p:nvGrpSpPr>
          <p:grpSpPr>
            <a:xfrm>
              <a:off x="3308609" y="4125933"/>
              <a:ext cx="498223" cy="212783"/>
              <a:chOff x="3308611" y="4125930"/>
              <a:chExt cx="498223" cy="212783"/>
            </a:xfrm>
          </p:grpSpPr>
          <p:sp>
            <p:nvSpPr>
              <p:cNvPr id="583" name="Freihandform: Form 582">
                <a:extLst>
                  <a:ext uri="{FF2B5EF4-FFF2-40B4-BE49-F238E27FC236}">
                    <a16:creationId xmlns:a16="http://schemas.microsoft.com/office/drawing/2014/main" id="{18478717-3FE3-4908-870C-1DADDD7BA5BB}"/>
                  </a:ext>
                </a:extLst>
              </p:cNvPr>
              <p:cNvSpPr/>
              <p:nvPr/>
            </p:nvSpPr>
            <p:spPr>
              <a:xfrm>
                <a:off x="3448479" y="4206877"/>
                <a:ext cx="116327" cy="50948"/>
              </a:xfrm>
              <a:custGeom>
                <a:avLst/>
                <a:gdLst>
                  <a:gd name="connsiteX0" fmla="*/ 111096 w 116327"/>
                  <a:gd name="connsiteY0" fmla="*/ 50949 h 50948"/>
                  <a:gd name="connsiteX1" fmla="*/ 5260 w 116327"/>
                  <a:gd name="connsiteY1" fmla="*/ 50949 h 50948"/>
                  <a:gd name="connsiteX2" fmla="*/ 0 w 116327"/>
                  <a:gd name="connsiteY2" fmla="*/ 45689 h 50948"/>
                  <a:gd name="connsiteX3" fmla="*/ 0 w 116327"/>
                  <a:gd name="connsiteY3" fmla="*/ 5260 h 50948"/>
                  <a:gd name="connsiteX4" fmla="*/ 5260 w 116327"/>
                  <a:gd name="connsiteY4" fmla="*/ 0 h 50948"/>
                  <a:gd name="connsiteX5" fmla="*/ 45689 w 116327"/>
                  <a:gd name="connsiteY5" fmla="*/ 0 h 50948"/>
                  <a:gd name="connsiteX6" fmla="*/ 50949 w 116327"/>
                  <a:gd name="connsiteY6" fmla="*/ 5260 h 50948"/>
                  <a:gd name="connsiteX7" fmla="*/ 45689 w 116327"/>
                  <a:gd name="connsiteY7" fmla="*/ 10520 h 50948"/>
                  <a:gd name="connsiteX8" fmla="*/ 10520 w 116327"/>
                  <a:gd name="connsiteY8" fmla="*/ 10520 h 50948"/>
                  <a:gd name="connsiteX9" fmla="*/ 10520 w 116327"/>
                  <a:gd name="connsiteY9" fmla="*/ 40398 h 50948"/>
                  <a:gd name="connsiteX10" fmla="*/ 111066 w 116327"/>
                  <a:gd name="connsiteY10" fmla="*/ 40398 h 50948"/>
                  <a:gd name="connsiteX11" fmla="*/ 116326 w 116327"/>
                  <a:gd name="connsiteY11" fmla="*/ 45659 h 50948"/>
                  <a:gd name="connsiteX12" fmla="*/ 111096 w 116327"/>
                  <a:gd name="connsiteY12" fmla="*/ 50949 h 5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327" h="50948">
                    <a:moveTo>
                      <a:pt x="111096" y="50949"/>
                    </a:moveTo>
                    <a:lnTo>
                      <a:pt x="5260" y="50949"/>
                    </a:lnTo>
                    <a:cubicBezTo>
                      <a:pt x="2344" y="50949"/>
                      <a:pt x="0" y="48574"/>
                      <a:pt x="0" y="45689"/>
                    </a:cubicBezTo>
                    <a:lnTo>
                      <a:pt x="0" y="5260"/>
                    </a:lnTo>
                    <a:cubicBezTo>
                      <a:pt x="0" y="2345"/>
                      <a:pt x="2375" y="0"/>
                      <a:pt x="5260" y="0"/>
                    </a:cubicBezTo>
                    <a:lnTo>
                      <a:pt x="45689" y="0"/>
                    </a:lnTo>
                    <a:cubicBezTo>
                      <a:pt x="48604" y="0"/>
                      <a:pt x="50949" y="2375"/>
                      <a:pt x="50949" y="5260"/>
                    </a:cubicBezTo>
                    <a:cubicBezTo>
                      <a:pt x="50949" y="8176"/>
                      <a:pt x="48574" y="10520"/>
                      <a:pt x="45689" y="10520"/>
                    </a:cubicBezTo>
                    <a:lnTo>
                      <a:pt x="10520" y="10520"/>
                    </a:lnTo>
                    <a:lnTo>
                      <a:pt x="10520" y="40398"/>
                    </a:lnTo>
                    <a:lnTo>
                      <a:pt x="111066" y="40398"/>
                    </a:lnTo>
                    <a:cubicBezTo>
                      <a:pt x="113981" y="40398"/>
                      <a:pt x="116326" y="42773"/>
                      <a:pt x="116326" y="45659"/>
                    </a:cubicBezTo>
                    <a:cubicBezTo>
                      <a:pt x="116386" y="48574"/>
                      <a:pt x="114011" y="50949"/>
                      <a:pt x="111096" y="50949"/>
                    </a:cubicBezTo>
                    <a:close/>
                  </a:path>
                </a:pathLst>
              </a:custGeom>
              <a:solidFill>
                <a:schemeClr val="accent1"/>
              </a:solidFill>
              <a:ln w="3004" cap="flat">
                <a:noFill/>
                <a:prstDash val="solid"/>
                <a:miter/>
              </a:ln>
            </p:spPr>
            <p:txBody>
              <a:bodyPr rtlCol="0" anchor="ctr"/>
              <a:lstStyle/>
              <a:p>
                <a:endParaRPr lang="en-GB" dirty="0"/>
              </a:p>
            </p:txBody>
          </p:sp>
          <p:sp>
            <p:nvSpPr>
              <p:cNvPr id="584" name="Freihandform: Form 583">
                <a:extLst>
                  <a:ext uri="{FF2B5EF4-FFF2-40B4-BE49-F238E27FC236}">
                    <a16:creationId xmlns:a16="http://schemas.microsoft.com/office/drawing/2014/main" id="{4E5E5FDF-D7B6-4B32-8AA3-8FDBD904CEE7}"/>
                  </a:ext>
                </a:extLst>
              </p:cNvPr>
              <p:cNvSpPr/>
              <p:nvPr/>
            </p:nvSpPr>
            <p:spPr>
              <a:xfrm>
                <a:off x="3612537" y="4206607"/>
                <a:ext cx="56780" cy="51730"/>
              </a:xfrm>
              <a:custGeom>
                <a:avLst/>
                <a:gdLst>
                  <a:gd name="connsiteX0" fmla="*/ 5260 w 56780"/>
                  <a:gd name="connsiteY0" fmla="*/ 51730 h 51730"/>
                  <a:gd name="connsiteX1" fmla="*/ 0 w 56780"/>
                  <a:gd name="connsiteY1" fmla="*/ 46500 h 51730"/>
                  <a:gd name="connsiteX2" fmla="*/ 5231 w 56780"/>
                  <a:gd name="connsiteY2" fmla="*/ 41180 h 51730"/>
                  <a:gd name="connsiteX3" fmla="*/ 46260 w 56780"/>
                  <a:gd name="connsiteY3" fmla="*/ 40729 h 51730"/>
                  <a:gd name="connsiteX4" fmla="*/ 46260 w 56780"/>
                  <a:gd name="connsiteY4" fmla="*/ 10761 h 51730"/>
                  <a:gd name="connsiteX5" fmla="*/ 10551 w 56780"/>
                  <a:gd name="connsiteY5" fmla="*/ 10550 h 51730"/>
                  <a:gd name="connsiteX6" fmla="*/ 5321 w 56780"/>
                  <a:gd name="connsiteY6" fmla="*/ 5230 h 51730"/>
                  <a:gd name="connsiteX7" fmla="*/ 10581 w 56780"/>
                  <a:gd name="connsiteY7" fmla="*/ 0 h 51730"/>
                  <a:gd name="connsiteX8" fmla="*/ 10611 w 56780"/>
                  <a:gd name="connsiteY8" fmla="*/ 0 h 51730"/>
                  <a:gd name="connsiteX9" fmla="*/ 51550 w 56780"/>
                  <a:gd name="connsiteY9" fmla="*/ 240 h 51730"/>
                  <a:gd name="connsiteX10" fmla="*/ 56781 w 56780"/>
                  <a:gd name="connsiteY10" fmla="*/ 5501 h 51730"/>
                  <a:gd name="connsiteX11" fmla="*/ 56781 w 56780"/>
                  <a:gd name="connsiteY11" fmla="*/ 45929 h 51730"/>
                  <a:gd name="connsiteX12" fmla="*/ 51550 w 56780"/>
                  <a:gd name="connsiteY12" fmla="*/ 51189 h 51730"/>
                  <a:gd name="connsiteX13" fmla="*/ 5291 w 56780"/>
                  <a:gd name="connsiteY13" fmla="*/ 51700 h 51730"/>
                  <a:gd name="connsiteX14" fmla="*/ 5260 w 56780"/>
                  <a:gd name="connsiteY14" fmla="*/ 51730 h 51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6780" h="51730">
                    <a:moveTo>
                      <a:pt x="5260" y="51730"/>
                    </a:moveTo>
                    <a:cubicBezTo>
                      <a:pt x="2375" y="51730"/>
                      <a:pt x="30" y="49416"/>
                      <a:pt x="0" y="46500"/>
                    </a:cubicBezTo>
                    <a:cubicBezTo>
                      <a:pt x="-30" y="43585"/>
                      <a:pt x="2315" y="41210"/>
                      <a:pt x="5231" y="41180"/>
                    </a:cubicBezTo>
                    <a:lnTo>
                      <a:pt x="46260" y="40729"/>
                    </a:lnTo>
                    <a:lnTo>
                      <a:pt x="46260" y="10761"/>
                    </a:lnTo>
                    <a:lnTo>
                      <a:pt x="10551" y="10550"/>
                    </a:lnTo>
                    <a:cubicBezTo>
                      <a:pt x="7635" y="10520"/>
                      <a:pt x="5291" y="8146"/>
                      <a:pt x="5321" y="5230"/>
                    </a:cubicBezTo>
                    <a:cubicBezTo>
                      <a:pt x="5351" y="2344"/>
                      <a:pt x="7695" y="0"/>
                      <a:pt x="10581" y="0"/>
                    </a:cubicBezTo>
                    <a:cubicBezTo>
                      <a:pt x="10581" y="0"/>
                      <a:pt x="10611" y="0"/>
                      <a:pt x="10611" y="0"/>
                    </a:cubicBezTo>
                    <a:lnTo>
                      <a:pt x="51550" y="240"/>
                    </a:lnTo>
                    <a:cubicBezTo>
                      <a:pt x="54436" y="270"/>
                      <a:pt x="56781" y="2615"/>
                      <a:pt x="56781" y="5501"/>
                    </a:cubicBezTo>
                    <a:lnTo>
                      <a:pt x="56781" y="45929"/>
                    </a:lnTo>
                    <a:cubicBezTo>
                      <a:pt x="56781" y="48815"/>
                      <a:pt x="54466" y="51159"/>
                      <a:pt x="51550" y="51189"/>
                    </a:cubicBezTo>
                    <a:lnTo>
                      <a:pt x="5291" y="51700"/>
                    </a:lnTo>
                    <a:cubicBezTo>
                      <a:pt x="5321" y="51730"/>
                      <a:pt x="5291" y="51730"/>
                      <a:pt x="5260" y="51730"/>
                    </a:cubicBezTo>
                    <a:close/>
                  </a:path>
                </a:pathLst>
              </a:custGeom>
              <a:solidFill>
                <a:schemeClr val="accent1"/>
              </a:solidFill>
              <a:ln w="3004" cap="flat">
                <a:noFill/>
                <a:prstDash val="solid"/>
                <a:miter/>
              </a:ln>
            </p:spPr>
            <p:txBody>
              <a:bodyPr rtlCol="0" anchor="ctr"/>
              <a:lstStyle/>
              <a:p>
                <a:endParaRPr lang="en-GB" dirty="0"/>
              </a:p>
            </p:txBody>
          </p:sp>
          <p:grpSp>
            <p:nvGrpSpPr>
              <p:cNvPr id="585" name="Group 974">
                <a:extLst>
                  <a:ext uri="{FF2B5EF4-FFF2-40B4-BE49-F238E27FC236}">
                    <a16:creationId xmlns:a16="http://schemas.microsoft.com/office/drawing/2014/main" id="{8F1A8D5F-DC34-4FB8-B11E-D943145A511C}"/>
                  </a:ext>
                </a:extLst>
              </p:cNvPr>
              <p:cNvGrpSpPr/>
              <p:nvPr/>
            </p:nvGrpSpPr>
            <p:grpSpPr>
              <a:xfrm>
                <a:off x="3308611" y="4125930"/>
                <a:ext cx="148036" cy="212783"/>
                <a:chOff x="3310992" y="4125930"/>
                <a:chExt cx="148036" cy="212783"/>
              </a:xfrm>
              <a:solidFill>
                <a:schemeClr val="accent1"/>
              </a:solidFill>
            </p:grpSpPr>
            <p:sp>
              <p:nvSpPr>
                <p:cNvPr id="590" name="Freihandform: Form 589">
                  <a:extLst>
                    <a:ext uri="{FF2B5EF4-FFF2-40B4-BE49-F238E27FC236}">
                      <a16:creationId xmlns:a16="http://schemas.microsoft.com/office/drawing/2014/main" id="{CD45F66A-5160-4E6D-980E-76E9307077DF}"/>
                    </a:ext>
                  </a:extLst>
                </p:cNvPr>
                <p:cNvSpPr/>
                <p:nvPr/>
              </p:nvSpPr>
              <p:spPr>
                <a:xfrm>
                  <a:off x="3399934" y="4125930"/>
                  <a:ext cx="59094" cy="212783"/>
                </a:xfrm>
                <a:custGeom>
                  <a:avLst/>
                  <a:gdLst>
                    <a:gd name="connsiteX0" fmla="*/ 29547 w 59094"/>
                    <a:gd name="connsiteY0" fmla="*/ 212783 h 212783"/>
                    <a:gd name="connsiteX1" fmla="*/ 0 w 59094"/>
                    <a:gd name="connsiteY1" fmla="*/ 183236 h 212783"/>
                    <a:gd name="connsiteX2" fmla="*/ 0 w 59094"/>
                    <a:gd name="connsiteY2" fmla="*/ 29547 h 212783"/>
                    <a:gd name="connsiteX3" fmla="*/ 29547 w 59094"/>
                    <a:gd name="connsiteY3" fmla="*/ 0 h 212783"/>
                    <a:gd name="connsiteX4" fmla="*/ 59095 w 59094"/>
                    <a:gd name="connsiteY4" fmla="*/ 29547 h 212783"/>
                    <a:gd name="connsiteX5" fmla="*/ 59095 w 59094"/>
                    <a:gd name="connsiteY5" fmla="*/ 183236 h 212783"/>
                    <a:gd name="connsiteX6" fmla="*/ 29547 w 59094"/>
                    <a:gd name="connsiteY6" fmla="*/ 212783 h 212783"/>
                    <a:gd name="connsiteX7" fmla="*/ 29547 w 59094"/>
                    <a:gd name="connsiteY7" fmla="*/ 10551 h 212783"/>
                    <a:gd name="connsiteX8" fmla="*/ 10551 w 59094"/>
                    <a:gd name="connsiteY8" fmla="*/ 29547 h 212783"/>
                    <a:gd name="connsiteX9" fmla="*/ 10551 w 59094"/>
                    <a:gd name="connsiteY9" fmla="*/ 183236 h 212783"/>
                    <a:gd name="connsiteX10" fmla="*/ 29547 w 59094"/>
                    <a:gd name="connsiteY10" fmla="*/ 202233 h 212783"/>
                    <a:gd name="connsiteX11" fmla="*/ 48544 w 59094"/>
                    <a:gd name="connsiteY11" fmla="*/ 183236 h 212783"/>
                    <a:gd name="connsiteX12" fmla="*/ 48544 w 59094"/>
                    <a:gd name="connsiteY12" fmla="*/ 29547 h 212783"/>
                    <a:gd name="connsiteX13" fmla="*/ 29547 w 59094"/>
                    <a:gd name="connsiteY13" fmla="*/ 10551 h 212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094" h="212783">
                      <a:moveTo>
                        <a:pt x="29547" y="212783"/>
                      </a:moveTo>
                      <a:cubicBezTo>
                        <a:pt x="13256" y="212783"/>
                        <a:pt x="0" y="199527"/>
                        <a:pt x="0" y="183236"/>
                      </a:cubicBezTo>
                      <a:lnTo>
                        <a:pt x="0" y="29547"/>
                      </a:lnTo>
                      <a:cubicBezTo>
                        <a:pt x="0" y="13256"/>
                        <a:pt x="13256" y="0"/>
                        <a:pt x="29547" y="0"/>
                      </a:cubicBezTo>
                      <a:cubicBezTo>
                        <a:pt x="45839" y="0"/>
                        <a:pt x="59095" y="13256"/>
                        <a:pt x="59095" y="29547"/>
                      </a:cubicBezTo>
                      <a:lnTo>
                        <a:pt x="59095" y="183236"/>
                      </a:lnTo>
                      <a:cubicBezTo>
                        <a:pt x="59095" y="199527"/>
                        <a:pt x="45869" y="212783"/>
                        <a:pt x="29547" y="212783"/>
                      </a:cubicBezTo>
                      <a:close/>
                      <a:moveTo>
                        <a:pt x="29547" y="10551"/>
                      </a:moveTo>
                      <a:cubicBezTo>
                        <a:pt x="19087" y="10551"/>
                        <a:pt x="10551" y="19057"/>
                        <a:pt x="10551" y="29547"/>
                      </a:cubicBezTo>
                      <a:lnTo>
                        <a:pt x="10551" y="183236"/>
                      </a:lnTo>
                      <a:cubicBezTo>
                        <a:pt x="10551" y="193696"/>
                        <a:pt x="19057" y="202233"/>
                        <a:pt x="29547" y="202233"/>
                      </a:cubicBezTo>
                      <a:cubicBezTo>
                        <a:pt x="40008" y="202233"/>
                        <a:pt x="48544" y="193726"/>
                        <a:pt x="48544" y="183236"/>
                      </a:cubicBezTo>
                      <a:lnTo>
                        <a:pt x="48544" y="29547"/>
                      </a:lnTo>
                      <a:cubicBezTo>
                        <a:pt x="48544" y="19087"/>
                        <a:pt x="40038" y="10551"/>
                        <a:pt x="29547" y="10551"/>
                      </a:cubicBezTo>
                      <a:close/>
                    </a:path>
                  </a:pathLst>
                </a:custGeom>
                <a:solidFill>
                  <a:schemeClr val="accent1"/>
                </a:solidFill>
                <a:ln w="3004" cap="flat">
                  <a:noFill/>
                  <a:prstDash val="solid"/>
                  <a:miter/>
                </a:ln>
              </p:spPr>
              <p:txBody>
                <a:bodyPr rtlCol="0" anchor="ctr"/>
                <a:lstStyle/>
                <a:p>
                  <a:endParaRPr lang="en-GB" dirty="0"/>
                </a:p>
              </p:txBody>
            </p:sp>
            <p:sp>
              <p:nvSpPr>
                <p:cNvPr id="591" name="Freihandform: Form 590">
                  <a:extLst>
                    <a:ext uri="{FF2B5EF4-FFF2-40B4-BE49-F238E27FC236}">
                      <a16:creationId xmlns:a16="http://schemas.microsoft.com/office/drawing/2014/main" id="{AE2EF1D4-172E-40CE-9E38-C334DF6CDF03}"/>
                    </a:ext>
                  </a:extLst>
                </p:cNvPr>
                <p:cNvSpPr/>
                <p:nvPr/>
              </p:nvSpPr>
              <p:spPr>
                <a:xfrm>
                  <a:off x="3351420" y="4166358"/>
                  <a:ext cx="59094" cy="131896"/>
                </a:xfrm>
                <a:custGeom>
                  <a:avLst/>
                  <a:gdLst>
                    <a:gd name="connsiteX0" fmla="*/ 29547 w 59094"/>
                    <a:gd name="connsiteY0" fmla="*/ 131896 h 131896"/>
                    <a:gd name="connsiteX1" fmla="*/ 0 w 59094"/>
                    <a:gd name="connsiteY1" fmla="*/ 102349 h 131896"/>
                    <a:gd name="connsiteX2" fmla="*/ 0 w 59094"/>
                    <a:gd name="connsiteY2" fmla="*/ 29547 h 131896"/>
                    <a:gd name="connsiteX3" fmla="*/ 29547 w 59094"/>
                    <a:gd name="connsiteY3" fmla="*/ 0 h 131896"/>
                    <a:gd name="connsiteX4" fmla="*/ 59095 w 59094"/>
                    <a:gd name="connsiteY4" fmla="*/ 29547 h 131896"/>
                    <a:gd name="connsiteX5" fmla="*/ 59095 w 59094"/>
                    <a:gd name="connsiteY5" fmla="*/ 102349 h 131896"/>
                    <a:gd name="connsiteX6" fmla="*/ 29547 w 59094"/>
                    <a:gd name="connsiteY6" fmla="*/ 131896 h 131896"/>
                    <a:gd name="connsiteX7" fmla="*/ 29547 w 59094"/>
                    <a:gd name="connsiteY7" fmla="*/ 10580 h 131896"/>
                    <a:gd name="connsiteX8" fmla="*/ 10551 w 59094"/>
                    <a:gd name="connsiteY8" fmla="*/ 29577 h 131896"/>
                    <a:gd name="connsiteX9" fmla="*/ 10551 w 59094"/>
                    <a:gd name="connsiteY9" fmla="*/ 102379 h 131896"/>
                    <a:gd name="connsiteX10" fmla="*/ 29547 w 59094"/>
                    <a:gd name="connsiteY10" fmla="*/ 121376 h 131896"/>
                    <a:gd name="connsiteX11" fmla="*/ 48544 w 59094"/>
                    <a:gd name="connsiteY11" fmla="*/ 102379 h 131896"/>
                    <a:gd name="connsiteX12" fmla="*/ 48544 w 59094"/>
                    <a:gd name="connsiteY12" fmla="*/ 29577 h 131896"/>
                    <a:gd name="connsiteX13" fmla="*/ 29547 w 59094"/>
                    <a:gd name="connsiteY13" fmla="*/ 10580 h 131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094" h="131896">
                      <a:moveTo>
                        <a:pt x="29547" y="131896"/>
                      </a:moveTo>
                      <a:cubicBezTo>
                        <a:pt x="13256" y="131896"/>
                        <a:pt x="0" y="118640"/>
                        <a:pt x="0" y="102349"/>
                      </a:cubicBezTo>
                      <a:lnTo>
                        <a:pt x="0" y="29547"/>
                      </a:lnTo>
                      <a:cubicBezTo>
                        <a:pt x="0" y="13256"/>
                        <a:pt x="13256" y="0"/>
                        <a:pt x="29547" y="0"/>
                      </a:cubicBezTo>
                      <a:cubicBezTo>
                        <a:pt x="45839" y="0"/>
                        <a:pt x="59095" y="13256"/>
                        <a:pt x="59095" y="29547"/>
                      </a:cubicBezTo>
                      <a:lnTo>
                        <a:pt x="59095" y="102349"/>
                      </a:lnTo>
                      <a:cubicBezTo>
                        <a:pt x="59095" y="118640"/>
                        <a:pt x="45839" y="131896"/>
                        <a:pt x="29547" y="131896"/>
                      </a:cubicBezTo>
                      <a:close/>
                      <a:moveTo>
                        <a:pt x="29547" y="10580"/>
                      </a:moveTo>
                      <a:cubicBezTo>
                        <a:pt x="19087" y="10580"/>
                        <a:pt x="10551" y="19087"/>
                        <a:pt x="10551" y="29577"/>
                      </a:cubicBezTo>
                      <a:lnTo>
                        <a:pt x="10551" y="102379"/>
                      </a:lnTo>
                      <a:cubicBezTo>
                        <a:pt x="10551" y="112839"/>
                        <a:pt x="19057" y="121376"/>
                        <a:pt x="29547" y="121376"/>
                      </a:cubicBezTo>
                      <a:cubicBezTo>
                        <a:pt x="40008" y="121376"/>
                        <a:pt x="48544" y="112869"/>
                        <a:pt x="48544" y="102379"/>
                      </a:cubicBezTo>
                      <a:lnTo>
                        <a:pt x="48544" y="29577"/>
                      </a:lnTo>
                      <a:cubicBezTo>
                        <a:pt x="48544" y="19087"/>
                        <a:pt x="40038" y="10580"/>
                        <a:pt x="29547" y="10580"/>
                      </a:cubicBezTo>
                      <a:close/>
                    </a:path>
                  </a:pathLst>
                </a:custGeom>
                <a:solidFill>
                  <a:schemeClr val="accent1"/>
                </a:solidFill>
                <a:ln w="3004" cap="flat">
                  <a:noFill/>
                  <a:prstDash val="solid"/>
                  <a:miter/>
                </a:ln>
              </p:spPr>
              <p:txBody>
                <a:bodyPr rtlCol="0" anchor="ctr"/>
                <a:lstStyle/>
                <a:p>
                  <a:endParaRPr lang="en-GB" dirty="0"/>
                </a:p>
              </p:txBody>
            </p:sp>
            <p:sp>
              <p:nvSpPr>
                <p:cNvPr id="592" name="Freihandform: Form 591">
                  <a:extLst>
                    <a:ext uri="{FF2B5EF4-FFF2-40B4-BE49-F238E27FC236}">
                      <a16:creationId xmlns:a16="http://schemas.microsoft.com/office/drawing/2014/main" id="{8C14145D-22C5-4EB3-B906-B091035893B8}"/>
                    </a:ext>
                  </a:extLst>
                </p:cNvPr>
                <p:cNvSpPr/>
                <p:nvPr/>
              </p:nvSpPr>
              <p:spPr>
                <a:xfrm>
                  <a:off x="3310992" y="4206847"/>
                  <a:ext cx="50978" cy="50979"/>
                </a:xfrm>
                <a:custGeom>
                  <a:avLst/>
                  <a:gdLst>
                    <a:gd name="connsiteX0" fmla="*/ 45719 w 50978"/>
                    <a:gd name="connsiteY0" fmla="*/ 50979 h 50979"/>
                    <a:gd name="connsiteX1" fmla="*/ 25489 w 50978"/>
                    <a:gd name="connsiteY1" fmla="*/ 50979 h 50979"/>
                    <a:gd name="connsiteX2" fmla="*/ 0 w 50978"/>
                    <a:gd name="connsiteY2" fmla="*/ 25490 h 50979"/>
                    <a:gd name="connsiteX3" fmla="*/ 25489 w 50978"/>
                    <a:gd name="connsiteY3" fmla="*/ 0 h 50979"/>
                    <a:gd name="connsiteX4" fmla="*/ 45719 w 50978"/>
                    <a:gd name="connsiteY4" fmla="*/ 0 h 50979"/>
                    <a:gd name="connsiteX5" fmla="*/ 50979 w 50978"/>
                    <a:gd name="connsiteY5" fmla="*/ 5260 h 50979"/>
                    <a:gd name="connsiteX6" fmla="*/ 50979 w 50978"/>
                    <a:gd name="connsiteY6" fmla="*/ 45689 h 50979"/>
                    <a:gd name="connsiteX7" fmla="*/ 45719 w 50978"/>
                    <a:gd name="connsiteY7" fmla="*/ 50979 h 50979"/>
                    <a:gd name="connsiteX8" fmla="*/ 25489 w 50978"/>
                    <a:gd name="connsiteY8" fmla="*/ 10520 h 50979"/>
                    <a:gd name="connsiteX9" fmla="*/ 10550 w 50978"/>
                    <a:gd name="connsiteY9" fmla="*/ 25460 h 50979"/>
                    <a:gd name="connsiteX10" fmla="*/ 25489 w 50978"/>
                    <a:gd name="connsiteY10" fmla="*/ 40398 h 50979"/>
                    <a:gd name="connsiteX11" fmla="*/ 40428 w 50978"/>
                    <a:gd name="connsiteY11" fmla="*/ 40398 h 50979"/>
                    <a:gd name="connsiteX12" fmla="*/ 40428 w 50978"/>
                    <a:gd name="connsiteY12" fmla="*/ 10520 h 50979"/>
                    <a:gd name="connsiteX13" fmla="*/ 25489 w 50978"/>
                    <a:gd name="connsiteY13" fmla="*/ 10520 h 5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978" h="50979">
                      <a:moveTo>
                        <a:pt x="45719" y="50979"/>
                      </a:moveTo>
                      <a:lnTo>
                        <a:pt x="25489" y="50979"/>
                      </a:lnTo>
                      <a:cubicBezTo>
                        <a:pt x="11422" y="50979"/>
                        <a:pt x="0" y="39557"/>
                        <a:pt x="0" y="25490"/>
                      </a:cubicBezTo>
                      <a:cubicBezTo>
                        <a:pt x="0" y="11422"/>
                        <a:pt x="11422" y="0"/>
                        <a:pt x="25489" y="0"/>
                      </a:cubicBezTo>
                      <a:lnTo>
                        <a:pt x="45719" y="0"/>
                      </a:lnTo>
                      <a:cubicBezTo>
                        <a:pt x="48634" y="0"/>
                        <a:pt x="50979" y="2375"/>
                        <a:pt x="50979" y="5260"/>
                      </a:cubicBezTo>
                      <a:lnTo>
                        <a:pt x="50979" y="45689"/>
                      </a:lnTo>
                      <a:cubicBezTo>
                        <a:pt x="50979" y="48605"/>
                        <a:pt x="48634" y="50979"/>
                        <a:pt x="45719" y="50979"/>
                      </a:cubicBezTo>
                      <a:close/>
                      <a:moveTo>
                        <a:pt x="25489" y="10520"/>
                      </a:moveTo>
                      <a:cubicBezTo>
                        <a:pt x="17253" y="10520"/>
                        <a:pt x="10550" y="17224"/>
                        <a:pt x="10550" y="25460"/>
                      </a:cubicBezTo>
                      <a:cubicBezTo>
                        <a:pt x="10550" y="33695"/>
                        <a:pt x="17253" y="40398"/>
                        <a:pt x="25489" y="40398"/>
                      </a:cubicBezTo>
                      <a:lnTo>
                        <a:pt x="40428" y="40398"/>
                      </a:lnTo>
                      <a:lnTo>
                        <a:pt x="40428" y="10520"/>
                      </a:lnTo>
                      <a:lnTo>
                        <a:pt x="25489" y="10520"/>
                      </a:lnTo>
                      <a:close/>
                    </a:path>
                  </a:pathLst>
                </a:custGeom>
                <a:solidFill>
                  <a:schemeClr val="accent1"/>
                </a:solidFill>
                <a:ln w="3004" cap="flat">
                  <a:noFill/>
                  <a:prstDash val="solid"/>
                  <a:miter/>
                </a:ln>
              </p:spPr>
              <p:txBody>
                <a:bodyPr rtlCol="0" anchor="ctr"/>
                <a:lstStyle/>
                <a:p>
                  <a:endParaRPr lang="en-GB" dirty="0"/>
                </a:p>
              </p:txBody>
            </p:sp>
          </p:grpSp>
          <p:grpSp>
            <p:nvGrpSpPr>
              <p:cNvPr id="586" name="Grafik 19">
                <a:extLst>
                  <a:ext uri="{FF2B5EF4-FFF2-40B4-BE49-F238E27FC236}">
                    <a16:creationId xmlns:a16="http://schemas.microsoft.com/office/drawing/2014/main" id="{E806E9B1-4A56-4702-9CB3-E2F1B9AF07A9}"/>
                  </a:ext>
                </a:extLst>
              </p:cNvPr>
              <p:cNvGrpSpPr/>
              <p:nvPr/>
            </p:nvGrpSpPr>
            <p:grpSpPr>
              <a:xfrm>
                <a:off x="3658797" y="4125930"/>
                <a:ext cx="148037" cy="212783"/>
                <a:chOff x="3658797" y="4125930"/>
                <a:chExt cx="148037" cy="212783"/>
              </a:xfrm>
              <a:solidFill>
                <a:schemeClr val="accent1"/>
              </a:solidFill>
            </p:grpSpPr>
            <p:sp>
              <p:nvSpPr>
                <p:cNvPr id="587" name="Freihandform: Form 586">
                  <a:extLst>
                    <a:ext uri="{FF2B5EF4-FFF2-40B4-BE49-F238E27FC236}">
                      <a16:creationId xmlns:a16="http://schemas.microsoft.com/office/drawing/2014/main" id="{60C375DB-DCA7-4E97-9827-D6ADBEF30294}"/>
                    </a:ext>
                  </a:extLst>
                </p:cNvPr>
                <p:cNvSpPr/>
                <p:nvPr/>
              </p:nvSpPr>
              <p:spPr>
                <a:xfrm>
                  <a:off x="3658797" y="4125930"/>
                  <a:ext cx="59094" cy="212783"/>
                </a:xfrm>
                <a:custGeom>
                  <a:avLst/>
                  <a:gdLst>
                    <a:gd name="connsiteX0" fmla="*/ 29547 w 59094"/>
                    <a:gd name="connsiteY0" fmla="*/ 212783 h 212783"/>
                    <a:gd name="connsiteX1" fmla="*/ 0 w 59094"/>
                    <a:gd name="connsiteY1" fmla="*/ 183236 h 212783"/>
                    <a:gd name="connsiteX2" fmla="*/ 0 w 59094"/>
                    <a:gd name="connsiteY2" fmla="*/ 29547 h 212783"/>
                    <a:gd name="connsiteX3" fmla="*/ 29547 w 59094"/>
                    <a:gd name="connsiteY3" fmla="*/ 0 h 212783"/>
                    <a:gd name="connsiteX4" fmla="*/ 59095 w 59094"/>
                    <a:gd name="connsiteY4" fmla="*/ 29547 h 212783"/>
                    <a:gd name="connsiteX5" fmla="*/ 59095 w 59094"/>
                    <a:gd name="connsiteY5" fmla="*/ 183236 h 212783"/>
                    <a:gd name="connsiteX6" fmla="*/ 29547 w 59094"/>
                    <a:gd name="connsiteY6" fmla="*/ 212783 h 212783"/>
                    <a:gd name="connsiteX7" fmla="*/ 29547 w 59094"/>
                    <a:gd name="connsiteY7" fmla="*/ 10551 h 212783"/>
                    <a:gd name="connsiteX8" fmla="*/ 10551 w 59094"/>
                    <a:gd name="connsiteY8" fmla="*/ 29547 h 212783"/>
                    <a:gd name="connsiteX9" fmla="*/ 10551 w 59094"/>
                    <a:gd name="connsiteY9" fmla="*/ 183236 h 212783"/>
                    <a:gd name="connsiteX10" fmla="*/ 29547 w 59094"/>
                    <a:gd name="connsiteY10" fmla="*/ 202233 h 212783"/>
                    <a:gd name="connsiteX11" fmla="*/ 48544 w 59094"/>
                    <a:gd name="connsiteY11" fmla="*/ 183236 h 212783"/>
                    <a:gd name="connsiteX12" fmla="*/ 48544 w 59094"/>
                    <a:gd name="connsiteY12" fmla="*/ 29547 h 212783"/>
                    <a:gd name="connsiteX13" fmla="*/ 29547 w 59094"/>
                    <a:gd name="connsiteY13" fmla="*/ 10551 h 212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094" h="212783">
                      <a:moveTo>
                        <a:pt x="29547" y="212783"/>
                      </a:moveTo>
                      <a:cubicBezTo>
                        <a:pt x="13256" y="212783"/>
                        <a:pt x="0" y="199527"/>
                        <a:pt x="0" y="183236"/>
                      </a:cubicBezTo>
                      <a:lnTo>
                        <a:pt x="0" y="29547"/>
                      </a:lnTo>
                      <a:cubicBezTo>
                        <a:pt x="0" y="13256"/>
                        <a:pt x="13256" y="0"/>
                        <a:pt x="29547" y="0"/>
                      </a:cubicBezTo>
                      <a:cubicBezTo>
                        <a:pt x="45839" y="0"/>
                        <a:pt x="59095" y="13256"/>
                        <a:pt x="59095" y="29547"/>
                      </a:cubicBezTo>
                      <a:lnTo>
                        <a:pt x="59095" y="183236"/>
                      </a:lnTo>
                      <a:cubicBezTo>
                        <a:pt x="59065" y="199527"/>
                        <a:pt x="45809" y="212783"/>
                        <a:pt x="29547" y="212783"/>
                      </a:cubicBezTo>
                      <a:close/>
                      <a:moveTo>
                        <a:pt x="29547" y="10551"/>
                      </a:moveTo>
                      <a:cubicBezTo>
                        <a:pt x="19087" y="10551"/>
                        <a:pt x="10551" y="19057"/>
                        <a:pt x="10551" y="29547"/>
                      </a:cubicBezTo>
                      <a:lnTo>
                        <a:pt x="10551" y="183236"/>
                      </a:lnTo>
                      <a:cubicBezTo>
                        <a:pt x="10551" y="193696"/>
                        <a:pt x="19057" y="202233"/>
                        <a:pt x="29547" y="202233"/>
                      </a:cubicBezTo>
                      <a:cubicBezTo>
                        <a:pt x="40008" y="202233"/>
                        <a:pt x="48544" y="193726"/>
                        <a:pt x="48544" y="183236"/>
                      </a:cubicBezTo>
                      <a:lnTo>
                        <a:pt x="48544" y="29547"/>
                      </a:lnTo>
                      <a:cubicBezTo>
                        <a:pt x="48514" y="19087"/>
                        <a:pt x="40008" y="10551"/>
                        <a:pt x="29547" y="10551"/>
                      </a:cubicBezTo>
                      <a:close/>
                    </a:path>
                  </a:pathLst>
                </a:custGeom>
                <a:solidFill>
                  <a:schemeClr val="accent1"/>
                </a:solidFill>
                <a:ln w="3004" cap="flat">
                  <a:noFill/>
                  <a:prstDash val="solid"/>
                  <a:miter/>
                </a:ln>
              </p:spPr>
              <p:txBody>
                <a:bodyPr rtlCol="0" anchor="ctr"/>
                <a:lstStyle/>
                <a:p>
                  <a:endParaRPr lang="en-GB" dirty="0"/>
                </a:p>
              </p:txBody>
            </p:sp>
            <p:sp>
              <p:nvSpPr>
                <p:cNvPr id="588" name="Freihandform: Form 587">
                  <a:extLst>
                    <a:ext uri="{FF2B5EF4-FFF2-40B4-BE49-F238E27FC236}">
                      <a16:creationId xmlns:a16="http://schemas.microsoft.com/office/drawing/2014/main" id="{706E1CF0-E925-4D3D-8471-37A7798FD387}"/>
                    </a:ext>
                  </a:extLst>
                </p:cNvPr>
                <p:cNvSpPr/>
                <p:nvPr/>
              </p:nvSpPr>
              <p:spPr>
                <a:xfrm>
                  <a:off x="3707311" y="4166358"/>
                  <a:ext cx="59094" cy="131896"/>
                </a:xfrm>
                <a:custGeom>
                  <a:avLst/>
                  <a:gdLst>
                    <a:gd name="connsiteX0" fmla="*/ 29547 w 59094"/>
                    <a:gd name="connsiteY0" fmla="*/ 131896 h 131896"/>
                    <a:gd name="connsiteX1" fmla="*/ 0 w 59094"/>
                    <a:gd name="connsiteY1" fmla="*/ 102349 h 131896"/>
                    <a:gd name="connsiteX2" fmla="*/ 0 w 59094"/>
                    <a:gd name="connsiteY2" fmla="*/ 29547 h 131896"/>
                    <a:gd name="connsiteX3" fmla="*/ 29547 w 59094"/>
                    <a:gd name="connsiteY3" fmla="*/ 0 h 131896"/>
                    <a:gd name="connsiteX4" fmla="*/ 59095 w 59094"/>
                    <a:gd name="connsiteY4" fmla="*/ 29547 h 131896"/>
                    <a:gd name="connsiteX5" fmla="*/ 59095 w 59094"/>
                    <a:gd name="connsiteY5" fmla="*/ 102349 h 131896"/>
                    <a:gd name="connsiteX6" fmla="*/ 29547 w 59094"/>
                    <a:gd name="connsiteY6" fmla="*/ 131896 h 131896"/>
                    <a:gd name="connsiteX7" fmla="*/ 29547 w 59094"/>
                    <a:gd name="connsiteY7" fmla="*/ 10580 h 131896"/>
                    <a:gd name="connsiteX8" fmla="*/ 10551 w 59094"/>
                    <a:gd name="connsiteY8" fmla="*/ 29577 h 131896"/>
                    <a:gd name="connsiteX9" fmla="*/ 10551 w 59094"/>
                    <a:gd name="connsiteY9" fmla="*/ 102379 h 131896"/>
                    <a:gd name="connsiteX10" fmla="*/ 29547 w 59094"/>
                    <a:gd name="connsiteY10" fmla="*/ 121376 h 131896"/>
                    <a:gd name="connsiteX11" fmla="*/ 48544 w 59094"/>
                    <a:gd name="connsiteY11" fmla="*/ 102379 h 131896"/>
                    <a:gd name="connsiteX12" fmla="*/ 48544 w 59094"/>
                    <a:gd name="connsiteY12" fmla="*/ 29577 h 131896"/>
                    <a:gd name="connsiteX13" fmla="*/ 29547 w 59094"/>
                    <a:gd name="connsiteY13" fmla="*/ 10580 h 131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094" h="131896">
                      <a:moveTo>
                        <a:pt x="29547" y="131896"/>
                      </a:moveTo>
                      <a:cubicBezTo>
                        <a:pt x="13256" y="131896"/>
                        <a:pt x="0" y="118640"/>
                        <a:pt x="0" y="102349"/>
                      </a:cubicBezTo>
                      <a:lnTo>
                        <a:pt x="0" y="29547"/>
                      </a:lnTo>
                      <a:cubicBezTo>
                        <a:pt x="0" y="13256"/>
                        <a:pt x="13256" y="0"/>
                        <a:pt x="29547" y="0"/>
                      </a:cubicBezTo>
                      <a:cubicBezTo>
                        <a:pt x="45839" y="0"/>
                        <a:pt x="59095" y="13256"/>
                        <a:pt x="59095" y="29547"/>
                      </a:cubicBezTo>
                      <a:lnTo>
                        <a:pt x="59095" y="102349"/>
                      </a:lnTo>
                      <a:cubicBezTo>
                        <a:pt x="59095" y="118640"/>
                        <a:pt x="45839" y="131896"/>
                        <a:pt x="29547" y="131896"/>
                      </a:cubicBezTo>
                      <a:close/>
                      <a:moveTo>
                        <a:pt x="29547" y="10580"/>
                      </a:moveTo>
                      <a:cubicBezTo>
                        <a:pt x="19087" y="10580"/>
                        <a:pt x="10551" y="19087"/>
                        <a:pt x="10551" y="29577"/>
                      </a:cubicBezTo>
                      <a:lnTo>
                        <a:pt x="10551" y="102379"/>
                      </a:lnTo>
                      <a:cubicBezTo>
                        <a:pt x="10551" y="112839"/>
                        <a:pt x="19057" y="121376"/>
                        <a:pt x="29547" y="121376"/>
                      </a:cubicBezTo>
                      <a:cubicBezTo>
                        <a:pt x="40008" y="121376"/>
                        <a:pt x="48544" y="112869"/>
                        <a:pt x="48544" y="102379"/>
                      </a:cubicBezTo>
                      <a:lnTo>
                        <a:pt x="48544" y="29577"/>
                      </a:lnTo>
                      <a:cubicBezTo>
                        <a:pt x="48544" y="19087"/>
                        <a:pt x="40008" y="10580"/>
                        <a:pt x="29547" y="10580"/>
                      </a:cubicBezTo>
                      <a:close/>
                    </a:path>
                  </a:pathLst>
                </a:custGeom>
                <a:solidFill>
                  <a:schemeClr val="accent1"/>
                </a:solidFill>
                <a:ln w="3004" cap="flat">
                  <a:noFill/>
                  <a:prstDash val="solid"/>
                  <a:miter/>
                </a:ln>
              </p:spPr>
              <p:txBody>
                <a:bodyPr rtlCol="0" anchor="ctr"/>
                <a:lstStyle/>
                <a:p>
                  <a:endParaRPr lang="en-GB" dirty="0"/>
                </a:p>
              </p:txBody>
            </p:sp>
            <p:sp>
              <p:nvSpPr>
                <p:cNvPr id="589" name="Freihandform: Form 588">
                  <a:extLst>
                    <a:ext uri="{FF2B5EF4-FFF2-40B4-BE49-F238E27FC236}">
                      <a16:creationId xmlns:a16="http://schemas.microsoft.com/office/drawing/2014/main" id="{4ABAD84B-0230-487D-8827-5638CD5B6392}"/>
                    </a:ext>
                  </a:extLst>
                </p:cNvPr>
                <p:cNvSpPr/>
                <p:nvPr/>
              </p:nvSpPr>
              <p:spPr>
                <a:xfrm>
                  <a:off x="3755856" y="4206877"/>
                  <a:ext cx="50978" cy="50948"/>
                </a:xfrm>
                <a:custGeom>
                  <a:avLst/>
                  <a:gdLst>
                    <a:gd name="connsiteX0" fmla="*/ 25489 w 50978"/>
                    <a:gd name="connsiteY0" fmla="*/ 50949 h 50948"/>
                    <a:gd name="connsiteX1" fmla="*/ 5260 w 50978"/>
                    <a:gd name="connsiteY1" fmla="*/ 50949 h 50948"/>
                    <a:gd name="connsiteX2" fmla="*/ 0 w 50978"/>
                    <a:gd name="connsiteY2" fmla="*/ 45689 h 50948"/>
                    <a:gd name="connsiteX3" fmla="*/ 0 w 50978"/>
                    <a:gd name="connsiteY3" fmla="*/ 5260 h 50948"/>
                    <a:gd name="connsiteX4" fmla="*/ 5260 w 50978"/>
                    <a:gd name="connsiteY4" fmla="*/ 0 h 50948"/>
                    <a:gd name="connsiteX5" fmla="*/ 25489 w 50978"/>
                    <a:gd name="connsiteY5" fmla="*/ 0 h 50948"/>
                    <a:gd name="connsiteX6" fmla="*/ 50979 w 50978"/>
                    <a:gd name="connsiteY6" fmla="*/ 25489 h 50948"/>
                    <a:gd name="connsiteX7" fmla="*/ 25489 w 50978"/>
                    <a:gd name="connsiteY7" fmla="*/ 50949 h 50948"/>
                    <a:gd name="connsiteX8" fmla="*/ 10550 w 50978"/>
                    <a:gd name="connsiteY8" fmla="*/ 40398 h 50948"/>
                    <a:gd name="connsiteX9" fmla="*/ 25489 w 50978"/>
                    <a:gd name="connsiteY9" fmla="*/ 40398 h 50948"/>
                    <a:gd name="connsiteX10" fmla="*/ 40428 w 50978"/>
                    <a:gd name="connsiteY10" fmla="*/ 25460 h 50948"/>
                    <a:gd name="connsiteX11" fmla="*/ 25489 w 50978"/>
                    <a:gd name="connsiteY11" fmla="*/ 10520 h 50948"/>
                    <a:gd name="connsiteX12" fmla="*/ 10550 w 50978"/>
                    <a:gd name="connsiteY12" fmla="*/ 10520 h 50948"/>
                    <a:gd name="connsiteX13" fmla="*/ 10550 w 50978"/>
                    <a:gd name="connsiteY13" fmla="*/ 40398 h 50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978" h="50948">
                      <a:moveTo>
                        <a:pt x="25489" y="50949"/>
                      </a:moveTo>
                      <a:lnTo>
                        <a:pt x="5260" y="50949"/>
                      </a:lnTo>
                      <a:cubicBezTo>
                        <a:pt x="2344" y="50949"/>
                        <a:pt x="0" y="48574"/>
                        <a:pt x="0" y="45689"/>
                      </a:cubicBezTo>
                      <a:lnTo>
                        <a:pt x="0" y="5260"/>
                      </a:lnTo>
                      <a:cubicBezTo>
                        <a:pt x="0" y="2345"/>
                        <a:pt x="2375" y="0"/>
                        <a:pt x="5260" y="0"/>
                      </a:cubicBezTo>
                      <a:lnTo>
                        <a:pt x="25489" y="0"/>
                      </a:lnTo>
                      <a:cubicBezTo>
                        <a:pt x="39557" y="0"/>
                        <a:pt x="50979" y="11422"/>
                        <a:pt x="50979" y="25489"/>
                      </a:cubicBezTo>
                      <a:cubicBezTo>
                        <a:pt x="50979" y="39557"/>
                        <a:pt x="39557" y="50949"/>
                        <a:pt x="25489" y="50949"/>
                      </a:cubicBezTo>
                      <a:close/>
                      <a:moveTo>
                        <a:pt x="10550" y="40398"/>
                      </a:moveTo>
                      <a:lnTo>
                        <a:pt x="25489" y="40398"/>
                      </a:lnTo>
                      <a:cubicBezTo>
                        <a:pt x="33725" y="40398"/>
                        <a:pt x="40428" y="33695"/>
                        <a:pt x="40428" y="25460"/>
                      </a:cubicBezTo>
                      <a:cubicBezTo>
                        <a:pt x="40428" y="17223"/>
                        <a:pt x="33725" y="10520"/>
                        <a:pt x="25489" y="10520"/>
                      </a:cubicBezTo>
                      <a:lnTo>
                        <a:pt x="10550" y="10520"/>
                      </a:lnTo>
                      <a:lnTo>
                        <a:pt x="10550" y="40398"/>
                      </a:lnTo>
                      <a:close/>
                    </a:path>
                  </a:pathLst>
                </a:custGeom>
                <a:solidFill>
                  <a:schemeClr val="accent1"/>
                </a:solidFill>
                <a:ln w="3004" cap="flat">
                  <a:noFill/>
                  <a:prstDash val="solid"/>
                  <a:miter/>
                </a:ln>
              </p:spPr>
              <p:txBody>
                <a:bodyPr rtlCol="0" anchor="ctr"/>
                <a:lstStyle/>
                <a:p>
                  <a:endParaRPr lang="en-GB" dirty="0"/>
                </a:p>
              </p:txBody>
            </p:sp>
          </p:grpSp>
        </p:grpSp>
        <p:grpSp>
          <p:nvGrpSpPr>
            <p:cNvPr id="572" name="Group 975">
              <a:extLst>
                <a:ext uri="{FF2B5EF4-FFF2-40B4-BE49-F238E27FC236}">
                  <a16:creationId xmlns:a16="http://schemas.microsoft.com/office/drawing/2014/main" id="{89EBF74B-B0D7-4500-8D44-34F96824B8D5}"/>
                </a:ext>
              </a:extLst>
            </p:cNvPr>
            <p:cNvGrpSpPr/>
            <p:nvPr/>
          </p:nvGrpSpPr>
          <p:grpSpPr>
            <a:xfrm>
              <a:off x="3440423" y="4157343"/>
              <a:ext cx="354349" cy="472544"/>
              <a:chOff x="3440423" y="4157343"/>
              <a:chExt cx="354349" cy="472544"/>
            </a:xfrm>
          </p:grpSpPr>
          <p:sp>
            <p:nvSpPr>
              <p:cNvPr id="573" name="Freihandform: Form 572">
                <a:extLst>
                  <a:ext uri="{FF2B5EF4-FFF2-40B4-BE49-F238E27FC236}">
                    <a16:creationId xmlns:a16="http://schemas.microsoft.com/office/drawing/2014/main" id="{4985101E-229B-4425-9BBC-C89FF97D8EAD}"/>
                  </a:ext>
                </a:extLst>
              </p:cNvPr>
              <p:cNvSpPr/>
              <p:nvPr/>
            </p:nvSpPr>
            <p:spPr>
              <a:xfrm>
                <a:off x="3588439" y="4450457"/>
                <a:ext cx="123574" cy="45100"/>
              </a:xfrm>
              <a:custGeom>
                <a:avLst/>
                <a:gdLst>
                  <a:gd name="connsiteX0" fmla="*/ 58936 w 123574"/>
                  <a:gd name="connsiteY0" fmla="*/ 45101 h 45100"/>
                  <a:gd name="connsiteX1" fmla="*/ 2456 w 123574"/>
                  <a:gd name="connsiteY1" fmla="*/ 28569 h 45100"/>
                  <a:gd name="connsiteX2" fmla="*/ 803 w 123574"/>
                  <a:gd name="connsiteY2" fmla="*/ 21294 h 45100"/>
                  <a:gd name="connsiteX3" fmla="*/ 8077 w 123574"/>
                  <a:gd name="connsiteY3" fmla="*/ 19641 h 45100"/>
                  <a:gd name="connsiteX4" fmla="*/ 73875 w 123574"/>
                  <a:gd name="connsiteY4" fmla="*/ 32927 h 45100"/>
                  <a:gd name="connsiteX5" fmla="*/ 113823 w 123574"/>
                  <a:gd name="connsiteY5" fmla="*/ 2478 h 45100"/>
                  <a:gd name="connsiteX6" fmla="*/ 121097 w 123574"/>
                  <a:gd name="connsiteY6" fmla="*/ 795 h 45100"/>
                  <a:gd name="connsiteX7" fmla="*/ 122780 w 123574"/>
                  <a:gd name="connsiteY7" fmla="*/ 8069 h 45100"/>
                  <a:gd name="connsiteX8" fmla="*/ 76189 w 123574"/>
                  <a:gd name="connsiteY8" fmla="*/ 43237 h 45100"/>
                  <a:gd name="connsiteX9" fmla="*/ 58936 w 123574"/>
                  <a:gd name="connsiteY9" fmla="*/ 45101 h 4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574" h="45100">
                    <a:moveTo>
                      <a:pt x="58936" y="45101"/>
                    </a:moveTo>
                    <a:cubicBezTo>
                      <a:pt x="29148" y="45101"/>
                      <a:pt x="3719" y="29350"/>
                      <a:pt x="2456" y="28569"/>
                    </a:cubicBezTo>
                    <a:cubicBezTo>
                      <a:pt x="-8" y="27006"/>
                      <a:pt x="-730" y="23759"/>
                      <a:pt x="803" y="21294"/>
                    </a:cubicBezTo>
                    <a:cubicBezTo>
                      <a:pt x="2366" y="18830"/>
                      <a:pt x="5643" y="18078"/>
                      <a:pt x="8077" y="19641"/>
                    </a:cubicBezTo>
                    <a:cubicBezTo>
                      <a:pt x="8408" y="19852"/>
                      <a:pt x="41652" y="40321"/>
                      <a:pt x="73875" y="32927"/>
                    </a:cubicBezTo>
                    <a:cubicBezTo>
                      <a:pt x="90076" y="29200"/>
                      <a:pt x="103513" y="18950"/>
                      <a:pt x="113823" y="2478"/>
                    </a:cubicBezTo>
                    <a:cubicBezTo>
                      <a:pt x="115356" y="13"/>
                      <a:pt x="118632" y="-738"/>
                      <a:pt x="121097" y="795"/>
                    </a:cubicBezTo>
                    <a:cubicBezTo>
                      <a:pt x="123562" y="2328"/>
                      <a:pt x="124313" y="5604"/>
                      <a:pt x="122780" y="8069"/>
                    </a:cubicBezTo>
                    <a:cubicBezTo>
                      <a:pt x="110937" y="27036"/>
                      <a:pt x="95247" y="38849"/>
                      <a:pt x="76189" y="43237"/>
                    </a:cubicBezTo>
                    <a:cubicBezTo>
                      <a:pt x="70358" y="44560"/>
                      <a:pt x="64587" y="45101"/>
                      <a:pt x="58936" y="45101"/>
                    </a:cubicBezTo>
                    <a:close/>
                  </a:path>
                </a:pathLst>
              </a:custGeom>
              <a:solidFill>
                <a:schemeClr val="tx2"/>
              </a:solidFill>
              <a:ln w="3004" cap="flat">
                <a:noFill/>
                <a:prstDash val="solid"/>
                <a:miter/>
              </a:ln>
            </p:spPr>
            <p:txBody>
              <a:bodyPr rtlCol="0" anchor="ctr"/>
              <a:lstStyle/>
              <a:p>
                <a:endParaRPr lang="en-GB" dirty="0"/>
              </a:p>
            </p:txBody>
          </p:sp>
          <p:sp>
            <p:nvSpPr>
              <p:cNvPr id="574" name="Freihandform: Form 573">
                <a:extLst>
                  <a:ext uri="{FF2B5EF4-FFF2-40B4-BE49-F238E27FC236}">
                    <a16:creationId xmlns:a16="http://schemas.microsoft.com/office/drawing/2014/main" id="{AAB9AC4F-674F-490E-AB69-D83BF8814383}"/>
                  </a:ext>
                </a:extLst>
              </p:cNvPr>
              <p:cNvSpPr/>
              <p:nvPr/>
            </p:nvSpPr>
            <p:spPr>
              <a:xfrm>
                <a:off x="3440423" y="4248778"/>
                <a:ext cx="346969" cy="381109"/>
              </a:xfrm>
              <a:custGeom>
                <a:avLst/>
                <a:gdLst>
                  <a:gd name="connsiteX0" fmla="*/ 341673 w 346969"/>
                  <a:gd name="connsiteY0" fmla="*/ 381110 h 381109"/>
                  <a:gd name="connsiteX1" fmla="*/ 337375 w 346969"/>
                  <a:gd name="connsiteY1" fmla="*/ 378886 h 381109"/>
                  <a:gd name="connsiteX2" fmla="*/ 292348 w 346969"/>
                  <a:gd name="connsiteY2" fmla="*/ 288951 h 381109"/>
                  <a:gd name="connsiteX3" fmla="*/ 292348 w 346969"/>
                  <a:gd name="connsiteY3" fmla="*/ 288951 h 381109"/>
                  <a:gd name="connsiteX4" fmla="*/ 164029 w 346969"/>
                  <a:gd name="connsiteY4" fmla="*/ 325923 h 381109"/>
                  <a:gd name="connsiteX5" fmla="*/ 132978 w 346969"/>
                  <a:gd name="connsiteY5" fmla="*/ 326644 h 381109"/>
                  <a:gd name="connsiteX6" fmla="*/ 15300 w 346969"/>
                  <a:gd name="connsiteY6" fmla="*/ 306655 h 381109"/>
                  <a:gd name="connsiteX7" fmla="*/ 0 w 346969"/>
                  <a:gd name="connsiteY7" fmla="*/ 269624 h 381109"/>
                  <a:gd name="connsiteX8" fmla="*/ 90 w 346969"/>
                  <a:gd name="connsiteY8" fmla="*/ 268571 h 381109"/>
                  <a:gd name="connsiteX9" fmla="*/ 2705 w 346969"/>
                  <a:gd name="connsiteY9" fmla="*/ 258141 h 381109"/>
                  <a:gd name="connsiteX10" fmla="*/ 6763 w 346969"/>
                  <a:gd name="connsiteY10" fmla="*/ 197994 h 381109"/>
                  <a:gd name="connsiteX11" fmla="*/ 45598 w 346969"/>
                  <a:gd name="connsiteY11" fmla="*/ 77430 h 381109"/>
                  <a:gd name="connsiteX12" fmla="*/ 55458 w 346969"/>
                  <a:gd name="connsiteY12" fmla="*/ 52332 h 381109"/>
                  <a:gd name="connsiteX13" fmla="*/ 60928 w 346969"/>
                  <a:gd name="connsiteY13" fmla="*/ 38595 h 381109"/>
                  <a:gd name="connsiteX14" fmla="*/ 49536 w 346969"/>
                  <a:gd name="connsiteY14" fmla="*/ 5350 h 381109"/>
                  <a:gd name="connsiteX15" fmla="*/ 54736 w 346969"/>
                  <a:gd name="connsiteY15" fmla="*/ 0 h 381109"/>
                  <a:gd name="connsiteX16" fmla="*/ 54826 w 346969"/>
                  <a:gd name="connsiteY16" fmla="*/ 0 h 381109"/>
                  <a:gd name="connsiteX17" fmla="*/ 60087 w 346969"/>
                  <a:gd name="connsiteY17" fmla="*/ 5200 h 381109"/>
                  <a:gd name="connsiteX18" fmla="*/ 71058 w 346969"/>
                  <a:gd name="connsiteY18" fmla="*/ 34507 h 381109"/>
                  <a:gd name="connsiteX19" fmla="*/ 71839 w 346969"/>
                  <a:gd name="connsiteY19" fmla="*/ 39707 h 381109"/>
                  <a:gd name="connsiteX20" fmla="*/ 65257 w 346969"/>
                  <a:gd name="connsiteY20" fmla="*/ 56239 h 381109"/>
                  <a:gd name="connsiteX21" fmla="*/ 55307 w 346969"/>
                  <a:gd name="connsiteY21" fmla="*/ 81609 h 381109"/>
                  <a:gd name="connsiteX22" fmla="*/ 54826 w 346969"/>
                  <a:gd name="connsiteY22" fmla="*/ 82570 h 381109"/>
                  <a:gd name="connsiteX23" fmla="*/ 17284 w 346969"/>
                  <a:gd name="connsiteY23" fmla="*/ 197694 h 381109"/>
                  <a:gd name="connsiteX24" fmla="*/ 12835 w 346969"/>
                  <a:gd name="connsiteY24" fmla="*/ 261027 h 381109"/>
                  <a:gd name="connsiteX25" fmla="*/ 10580 w 346969"/>
                  <a:gd name="connsiteY25" fmla="*/ 269924 h 381109"/>
                  <a:gd name="connsiteX26" fmla="*/ 22544 w 346969"/>
                  <a:gd name="connsiteY26" fmla="*/ 298961 h 381109"/>
                  <a:gd name="connsiteX27" fmla="*/ 132527 w 346969"/>
                  <a:gd name="connsiteY27" fmla="*/ 316094 h 381109"/>
                  <a:gd name="connsiteX28" fmla="*/ 164209 w 346969"/>
                  <a:gd name="connsiteY28" fmla="*/ 315372 h 381109"/>
                  <a:gd name="connsiteX29" fmla="*/ 166794 w 346969"/>
                  <a:gd name="connsiteY29" fmla="*/ 315372 h 381109"/>
                  <a:gd name="connsiteX30" fmla="*/ 286216 w 346969"/>
                  <a:gd name="connsiteY30" fmla="*/ 280354 h 381109"/>
                  <a:gd name="connsiteX31" fmla="*/ 293821 w 346969"/>
                  <a:gd name="connsiteY31" fmla="*/ 275124 h 381109"/>
                  <a:gd name="connsiteX32" fmla="*/ 299141 w 346969"/>
                  <a:gd name="connsiteY32" fmla="*/ 274974 h 381109"/>
                  <a:gd name="connsiteX33" fmla="*/ 301906 w 346969"/>
                  <a:gd name="connsiteY33" fmla="*/ 279513 h 381109"/>
                  <a:gd name="connsiteX34" fmla="*/ 346002 w 346969"/>
                  <a:gd name="connsiteY34" fmla="*/ 372784 h 381109"/>
                  <a:gd name="connsiteX35" fmla="*/ 344739 w 346969"/>
                  <a:gd name="connsiteY35" fmla="*/ 380148 h 381109"/>
                  <a:gd name="connsiteX36" fmla="*/ 341673 w 346969"/>
                  <a:gd name="connsiteY36" fmla="*/ 381110 h 381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46969" h="381109">
                    <a:moveTo>
                      <a:pt x="341673" y="381110"/>
                    </a:moveTo>
                    <a:cubicBezTo>
                      <a:pt x="340020" y="381110"/>
                      <a:pt x="338397" y="380329"/>
                      <a:pt x="337375" y="378886"/>
                    </a:cubicBezTo>
                    <a:cubicBezTo>
                      <a:pt x="335692" y="376481"/>
                      <a:pt x="298990" y="324450"/>
                      <a:pt x="292348" y="288951"/>
                    </a:cubicBezTo>
                    <a:cubicBezTo>
                      <a:pt x="292348" y="288951"/>
                      <a:pt x="292348" y="288951"/>
                      <a:pt x="292348" y="288951"/>
                    </a:cubicBezTo>
                    <a:cubicBezTo>
                      <a:pt x="273982" y="302087"/>
                      <a:pt x="239625" y="326434"/>
                      <a:pt x="164029" y="325923"/>
                    </a:cubicBezTo>
                    <a:cubicBezTo>
                      <a:pt x="155312" y="325682"/>
                      <a:pt x="144461" y="326163"/>
                      <a:pt x="132978" y="326644"/>
                    </a:cubicBezTo>
                    <a:cubicBezTo>
                      <a:pt x="91888" y="328388"/>
                      <a:pt x="40789" y="330612"/>
                      <a:pt x="15300" y="306655"/>
                    </a:cubicBezTo>
                    <a:cubicBezTo>
                      <a:pt x="5441" y="297397"/>
                      <a:pt x="270" y="284923"/>
                      <a:pt x="0" y="269624"/>
                    </a:cubicBezTo>
                    <a:cubicBezTo>
                      <a:pt x="0" y="269263"/>
                      <a:pt x="30" y="268932"/>
                      <a:pt x="90" y="268571"/>
                    </a:cubicBezTo>
                    <a:cubicBezTo>
                      <a:pt x="751" y="264934"/>
                      <a:pt x="1683" y="261628"/>
                      <a:pt x="2705" y="258141"/>
                    </a:cubicBezTo>
                    <a:cubicBezTo>
                      <a:pt x="5861" y="247080"/>
                      <a:pt x="9799" y="233313"/>
                      <a:pt x="6763" y="197994"/>
                    </a:cubicBezTo>
                    <a:cubicBezTo>
                      <a:pt x="7515" y="174519"/>
                      <a:pt x="13616" y="128590"/>
                      <a:pt x="45598" y="77430"/>
                    </a:cubicBezTo>
                    <a:cubicBezTo>
                      <a:pt x="48364" y="70036"/>
                      <a:pt x="51791" y="61439"/>
                      <a:pt x="55458" y="52332"/>
                    </a:cubicBezTo>
                    <a:cubicBezTo>
                      <a:pt x="57261" y="47853"/>
                      <a:pt x="59095" y="43254"/>
                      <a:pt x="60928" y="38595"/>
                    </a:cubicBezTo>
                    <a:cubicBezTo>
                      <a:pt x="53354" y="28195"/>
                      <a:pt x="49716" y="17554"/>
                      <a:pt x="49536" y="5350"/>
                    </a:cubicBezTo>
                    <a:cubicBezTo>
                      <a:pt x="49506" y="2435"/>
                      <a:pt x="51821" y="30"/>
                      <a:pt x="54736" y="0"/>
                    </a:cubicBezTo>
                    <a:cubicBezTo>
                      <a:pt x="54766" y="0"/>
                      <a:pt x="54796" y="0"/>
                      <a:pt x="54826" y="0"/>
                    </a:cubicBezTo>
                    <a:cubicBezTo>
                      <a:pt x="57712" y="0"/>
                      <a:pt x="60057" y="2315"/>
                      <a:pt x="60087" y="5200"/>
                    </a:cubicBezTo>
                    <a:cubicBezTo>
                      <a:pt x="60237" y="15901"/>
                      <a:pt x="63724" y="25219"/>
                      <a:pt x="71058" y="34507"/>
                    </a:cubicBezTo>
                    <a:cubicBezTo>
                      <a:pt x="72230" y="35980"/>
                      <a:pt x="72501" y="37964"/>
                      <a:pt x="71839" y="39707"/>
                    </a:cubicBezTo>
                    <a:cubicBezTo>
                      <a:pt x="69645" y="45298"/>
                      <a:pt x="67421" y="50859"/>
                      <a:pt x="65257" y="56239"/>
                    </a:cubicBezTo>
                    <a:cubicBezTo>
                      <a:pt x="61559" y="65497"/>
                      <a:pt x="58073" y="74184"/>
                      <a:pt x="55307" y="81609"/>
                    </a:cubicBezTo>
                    <a:cubicBezTo>
                      <a:pt x="55187" y="81939"/>
                      <a:pt x="55007" y="82270"/>
                      <a:pt x="54826" y="82570"/>
                    </a:cubicBezTo>
                    <a:cubicBezTo>
                      <a:pt x="23896" y="131806"/>
                      <a:pt x="18035" y="175841"/>
                      <a:pt x="17284" y="197694"/>
                    </a:cubicBezTo>
                    <a:cubicBezTo>
                      <a:pt x="20470" y="234335"/>
                      <a:pt x="16231" y="249124"/>
                      <a:pt x="12835" y="261027"/>
                    </a:cubicBezTo>
                    <a:cubicBezTo>
                      <a:pt x="11933" y="264213"/>
                      <a:pt x="11121" y="267008"/>
                      <a:pt x="10580" y="269924"/>
                    </a:cubicBezTo>
                    <a:cubicBezTo>
                      <a:pt x="10911" y="282218"/>
                      <a:pt x="14849" y="291716"/>
                      <a:pt x="22544" y="298961"/>
                    </a:cubicBezTo>
                    <a:cubicBezTo>
                      <a:pt x="44787" y="319881"/>
                      <a:pt x="93421" y="317777"/>
                      <a:pt x="132527" y="316094"/>
                    </a:cubicBezTo>
                    <a:cubicBezTo>
                      <a:pt x="144220" y="315583"/>
                      <a:pt x="155251" y="315102"/>
                      <a:pt x="164209" y="315372"/>
                    </a:cubicBezTo>
                    <a:cubicBezTo>
                      <a:pt x="165080" y="315372"/>
                      <a:pt x="165922" y="315372"/>
                      <a:pt x="166794" y="315372"/>
                    </a:cubicBezTo>
                    <a:cubicBezTo>
                      <a:pt x="237251" y="315372"/>
                      <a:pt x="269052" y="292648"/>
                      <a:pt x="286216" y="280354"/>
                    </a:cubicBezTo>
                    <a:cubicBezTo>
                      <a:pt x="289101" y="278310"/>
                      <a:pt x="291596" y="276507"/>
                      <a:pt x="293821" y="275124"/>
                    </a:cubicBezTo>
                    <a:cubicBezTo>
                      <a:pt x="295444" y="274102"/>
                      <a:pt x="297457" y="274072"/>
                      <a:pt x="299141" y="274974"/>
                    </a:cubicBezTo>
                    <a:cubicBezTo>
                      <a:pt x="300824" y="275876"/>
                      <a:pt x="301846" y="277619"/>
                      <a:pt x="301906" y="279513"/>
                    </a:cubicBezTo>
                    <a:cubicBezTo>
                      <a:pt x="302537" y="311134"/>
                      <a:pt x="345581" y="372153"/>
                      <a:pt x="346002" y="372784"/>
                    </a:cubicBezTo>
                    <a:cubicBezTo>
                      <a:pt x="347685" y="375158"/>
                      <a:pt x="347114" y="378465"/>
                      <a:pt x="344739" y="380148"/>
                    </a:cubicBezTo>
                    <a:cubicBezTo>
                      <a:pt x="343808" y="380779"/>
                      <a:pt x="342725" y="381110"/>
                      <a:pt x="341673" y="381110"/>
                    </a:cubicBezTo>
                    <a:close/>
                  </a:path>
                </a:pathLst>
              </a:custGeom>
              <a:solidFill>
                <a:schemeClr val="tx2"/>
              </a:solidFill>
              <a:ln w="3004" cap="flat">
                <a:noFill/>
                <a:prstDash val="solid"/>
                <a:miter/>
              </a:ln>
            </p:spPr>
            <p:txBody>
              <a:bodyPr rtlCol="0" anchor="ctr"/>
              <a:lstStyle/>
              <a:p>
                <a:endParaRPr lang="en-GB" dirty="0"/>
              </a:p>
            </p:txBody>
          </p:sp>
          <p:sp>
            <p:nvSpPr>
              <p:cNvPr id="575" name="Freihandform: Form 574">
                <a:extLst>
                  <a:ext uri="{FF2B5EF4-FFF2-40B4-BE49-F238E27FC236}">
                    <a16:creationId xmlns:a16="http://schemas.microsoft.com/office/drawing/2014/main" id="{2AACCE0C-7248-4980-AA53-8A7CE670D8CA}"/>
                  </a:ext>
                </a:extLst>
              </p:cNvPr>
              <p:cNvSpPr/>
              <p:nvPr/>
            </p:nvSpPr>
            <p:spPr>
              <a:xfrm>
                <a:off x="3558520" y="4262856"/>
                <a:ext cx="236252" cy="173907"/>
              </a:xfrm>
              <a:custGeom>
                <a:avLst/>
                <a:gdLst>
                  <a:gd name="connsiteX0" fmla="*/ 15002 w 236252"/>
                  <a:gd name="connsiteY0" fmla="*/ 173907 h 173907"/>
                  <a:gd name="connsiteX1" fmla="*/ 13529 w 236252"/>
                  <a:gd name="connsiteY1" fmla="*/ 173697 h 173907"/>
                  <a:gd name="connsiteX2" fmla="*/ 9952 w 236252"/>
                  <a:gd name="connsiteY2" fmla="*/ 170150 h 173907"/>
                  <a:gd name="connsiteX3" fmla="*/ 4421 w 236252"/>
                  <a:gd name="connsiteY3" fmla="*/ 136635 h 173907"/>
                  <a:gd name="connsiteX4" fmla="*/ 8179 w 236252"/>
                  <a:gd name="connsiteY4" fmla="*/ 40268 h 173907"/>
                  <a:gd name="connsiteX5" fmla="*/ 11425 w 236252"/>
                  <a:gd name="connsiteY5" fmla="*/ 36541 h 173907"/>
                  <a:gd name="connsiteX6" fmla="*/ 42265 w 236252"/>
                  <a:gd name="connsiteY6" fmla="*/ 3717 h 173907"/>
                  <a:gd name="connsiteX7" fmla="*/ 48848 w 236252"/>
                  <a:gd name="connsiteY7" fmla="*/ 230 h 173907"/>
                  <a:gd name="connsiteX8" fmla="*/ 52334 w 236252"/>
                  <a:gd name="connsiteY8" fmla="*/ 6813 h 173907"/>
                  <a:gd name="connsiteX9" fmla="*/ 17797 w 236252"/>
                  <a:gd name="connsiteY9" fmla="*/ 45318 h 173907"/>
                  <a:gd name="connsiteX10" fmla="*/ 14641 w 236252"/>
                  <a:gd name="connsiteY10" fmla="*/ 134140 h 173907"/>
                  <a:gd name="connsiteX11" fmla="*/ 14852 w 236252"/>
                  <a:gd name="connsiteY11" fmla="*/ 135162 h 173907"/>
                  <a:gd name="connsiteX12" fmla="*/ 18008 w 236252"/>
                  <a:gd name="connsiteY12" fmla="*/ 158518 h 173907"/>
                  <a:gd name="connsiteX13" fmla="*/ 134544 w 236252"/>
                  <a:gd name="connsiteY13" fmla="*/ 128550 h 173907"/>
                  <a:gd name="connsiteX14" fmla="*/ 232625 w 236252"/>
                  <a:gd name="connsiteY14" fmla="*/ 101016 h 173907"/>
                  <a:gd name="connsiteX15" fmla="*/ 235991 w 236252"/>
                  <a:gd name="connsiteY15" fmla="*/ 107659 h 173907"/>
                  <a:gd name="connsiteX16" fmla="*/ 229348 w 236252"/>
                  <a:gd name="connsiteY16" fmla="*/ 111025 h 173907"/>
                  <a:gd name="connsiteX17" fmla="*/ 139744 w 236252"/>
                  <a:gd name="connsiteY17" fmla="*/ 138108 h 173907"/>
                  <a:gd name="connsiteX18" fmla="*/ 134935 w 236252"/>
                  <a:gd name="connsiteY18" fmla="*/ 139431 h 173907"/>
                  <a:gd name="connsiteX19" fmla="*/ 22036 w 236252"/>
                  <a:gd name="connsiteY19" fmla="*/ 169248 h 173907"/>
                  <a:gd name="connsiteX20" fmla="*/ 18429 w 236252"/>
                  <a:gd name="connsiteY20" fmla="*/ 172615 h 173907"/>
                  <a:gd name="connsiteX21" fmla="*/ 15002 w 236252"/>
                  <a:gd name="connsiteY21" fmla="*/ 173907 h 173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6252" h="173907">
                    <a:moveTo>
                      <a:pt x="15002" y="173907"/>
                    </a:moveTo>
                    <a:cubicBezTo>
                      <a:pt x="14521" y="173907"/>
                      <a:pt x="14010" y="173848"/>
                      <a:pt x="13529" y="173697"/>
                    </a:cubicBezTo>
                    <a:cubicBezTo>
                      <a:pt x="11816" y="173186"/>
                      <a:pt x="10463" y="171864"/>
                      <a:pt x="9952" y="170150"/>
                    </a:cubicBezTo>
                    <a:cubicBezTo>
                      <a:pt x="7668" y="162576"/>
                      <a:pt x="5714" y="150672"/>
                      <a:pt x="4421" y="136635"/>
                    </a:cubicBezTo>
                    <a:cubicBezTo>
                      <a:pt x="-2552" y="112619"/>
                      <a:pt x="-1260" y="80186"/>
                      <a:pt x="8179" y="40268"/>
                    </a:cubicBezTo>
                    <a:cubicBezTo>
                      <a:pt x="8569" y="38555"/>
                      <a:pt x="9802" y="37172"/>
                      <a:pt x="11425" y="36541"/>
                    </a:cubicBezTo>
                    <a:cubicBezTo>
                      <a:pt x="26364" y="30860"/>
                      <a:pt x="37606" y="18897"/>
                      <a:pt x="42265" y="3717"/>
                    </a:cubicBezTo>
                    <a:cubicBezTo>
                      <a:pt x="43136" y="922"/>
                      <a:pt x="46112" y="-611"/>
                      <a:pt x="48848" y="230"/>
                    </a:cubicBezTo>
                    <a:cubicBezTo>
                      <a:pt x="51643" y="1102"/>
                      <a:pt x="53206" y="4048"/>
                      <a:pt x="52334" y="6813"/>
                    </a:cubicBezTo>
                    <a:cubicBezTo>
                      <a:pt x="46954" y="24217"/>
                      <a:pt x="34450" y="38104"/>
                      <a:pt x="17797" y="45318"/>
                    </a:cubicBezTo>
                    <a:cubicBezTo>
                      <a:pt x="9381" y="82019"/>
                      <a:pt x="8299" y="112679"/>
                      <a:pt x="14641" y="134140"/>
                    </a:cubicBezTo>
                    <a:cubicBezTo>
                      <a:pt x="14731" y="134471"/>
                      <a:pt x="14791" y="134802"/>
                      <a:pt x="14852" y="135162"/>
                    </a:cubicBezTo>
                    <a:cubicBezTo>
                      <a:pt x="15663" y="144000"/>
                      <a:pt x="16745" y="152055"/>
                      <a:pt x="18008" y="158518"/>
                    </a:cubicBezTo>
                    <a:cubicBezTo>
                      <a:pt x="33818" y="143699"/>
                      <a:pt x="69648" y="114663"/>
                      <a:pt x="134544" y="128550"/>
                    </a:cubicBezTo>
                    <a:cubicBezTo>
                      <a:pt x="148281" y="116075"/>
                      <a:pt x="187417" y="86197"/>
                      <a:pt x="232625" y="101016"/>
                    </a:cubicBezTo>
                    <a:cubicBezTo>
                      <a:pt x="235390" y="101918"/>
                      <a:pt x="236893" y="104894"/>
                      <a:pt x="235991" y="107659"/>
                    </a:cubicBezTo>
                    <a:cubicBezTo>
                      <a:pt x="235089" y="110424"/>
                      <a:pt x="232084" y="111927"/>
                      <a:pt x="229348" y="111025"/>
                    </a:cubicBezTo>
                    <a:cubicBezTo>
                      <a:pt x="187116" y="97169"/>
                      <a:pt x="150084" y="128249"/>
                      <a:pt x="139744" y="138108"/>
                    </a:cubicBezTo>
                    <a:cubicBezTo>
                      <a:pt x="138452" y="139340"/>
                      <a:pt x="136648" y="139852"/>
                      <a:pt x="134935" y="139431"/>
                    </a:cubicBezTo>
                    <a:cubicBezTo>
                      <a:pt x="68866" y="124251"/>
                      <a:pt x="34841" y="156955"/>
                      <a:pt x="22036" y="169248"/>
                    </a:cubicBezTo>
                    <a:cubicBezTo>
                      <a:pt x="20563" y="170661"/>
                      <a:pt x="19390" y="171804"/>
                      <a:pt x="18429" y="172615"/>
                    </a:cubicBezTo>
                    <a:cubicBezTo>
                      <a:pt x="17467" y="173487"/>
                      <a:pt x="16234" y="173907"/>
                      <a:pt x="15002" y="173907"/>
                    </a:cubicBezTo>
                    <a:close/>
                  </a:path>
                </a:pathLst>
              </a:custGeom>
              <a:solidFill>
                <a:schemeClr val="tx2"/>
              </a:solidFill>
              <a:ln w="3004" cap="flat">
                <a:noFill/>
                <a:prstDash val="solid"/>
                <a:miter/>
              </a:ln>
            </p:spPr>
            <p:txBody>
              <a:bodyPr rtlCol="0" anchor="ctr"/>
              <a:lstStyle/>
              <a:p>
                <a:endParaRPr lang="en-GB" dirty="0"/>
              </a:p>
            </p:txBody>
          </p:sp>
          <p:sp>
            <p:nvSpPr>
              <p:cNvPr id="576" name="Freihandform: Form 575">
                <a:extLst>
                  <a:ext uri="{FF2B5EF4-FFF2-40B4-BE49-F238E27FC236}">
                    <a16:creationId xmlns:a16="http://schemas.microsoft.com/office/drawing/2014/main" id="{1BA608CB-4625-440C-872F-768619BA2BDA}"/>
                  </a:ext>
                </a:extLst>
              </p:cNvPr>
              <p:cNvSpPr/>
              <p:nvPr/>
            </p:nvSpPr>
            <p:spPr>
              <a:xfrm>
                <a:off x="3577488" y="4157899"/>
                <a:ext cx="37314" cy="46452"/>
              </a:xfrm>
              <a:custGeom>
                <a:avLst/>
                <a:gdLst>
                  <a:gd name="connsiteX0" fmla="*/ 31773 w 37314"/>
                  <a:gd name="connsiteY0" fmla="*/ 46453 h 46452"/>
                  <a:gd name="connsiteX1" fmla="*/ 31682 w 37314"/>
                  <a:gd name="connsiteY1" fmla="*/ 46453 h 46452"/>
                  <a:gd name="connsiteX2" fmla="*/ 26482 w 37314"/>
                  <a:gd name="connsiteY2" fmla="*/ 41102 h 46452"/>
                  <a:gd name="connsiteX3" fmla="*/ 26723 w 37314"/>
                  <a:gd name="connsiteY3" fmla="*/ 22977 h 46452"/>
                  <a:gd name="connsiteX4" fmla="*/ 23927 w 37314"/>
                  <a:gd name="connsiteY4" fmla="*/ 13148 h 46452"/>
                  <a:gd name="connsiteX5" fmla="*/ 19178 w 37314"/>
                  <a:gd name="connsiteY5" fmla="*/ 10563 h 46452"/>
                  <a:gd name="connsiteX6" fmla="*/ 10371 w 37314"/>
                  <a:gd name="connsiteY6" fmla="*/ 18559 h 46452"/>
                  <a:gd name="connsiteX7" fmla="*/ 3908 w 37314"/>
                  <a:gd name="connsiteY7" fmla="*/ 22286 h 46452"/>
                  <a:gd name="connsiteX8" fmla="*/ 181 w 37314"/>
                  <a:gd name="connsiteY8" fmla="*/ 15823 h 46452"/>
                  <a:gd name="connsiteX9" fmla="*/ 19930 w 37314"/>
                  <a:gd name="connsiteY9" fmla="*/ 43 h 46452"/>
                  <a:gd name="connsiteX10" fmla="*/ 31893 w 37314"/>
                  <a:gd name="connsiteY10" fmla="*/ 6235 h 46452"/>
                  <a:gd name="connsiteX11" fmla="*/ 37243 w 37314"/>
                  <a:gd name="connsiteY11" fmla="*/ 23428 h 46452"/>
                  <a:gd name="connsiteX12" fmla="*/ 37003 w 37314"/>
                  <a:gd name="connsiteY12" fmla="*/ 41253 h 46452"/>
                  <a:gd name="connsiteX13" fmla="*/ 31773 w 37314"/>
                  <a:gd name="connsiteY13" fmla="*/ 46453 h 46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314" h="46452">
                    <a:moveTo>
                      <a:pt x="31773" y="46453"/>
                    </a:moveTo>
                    <a:cubicBezTo>
                      <a:pt x="31742" y="46453"/>
                      <a:pt x="31712" y="46453"/>
                      <a:pt x="31682" y="46453"/>
                    </a:cubicBezTo>
                    <a:cubicBezTo>
                      <a:pt x="28767" y="46423"/>
                      <a:pt x="26452" y="44018"/>
                      <a:pt x="26482" y="41102"/>
                    </a:cubicBezTo>
                    <a:lnTo>
                      <a:pt x="26723" y="22977"/>
                    </a:lnTo>
                    <a:cubicBezTo>
                      <a:pt x="26993" y="19009"/>
                      <a:pt x="25971" y="15523"/>
                      <a:pt x="23927" y="13148"/>
                    </a:cubicBezTo>
                    <a:cubicBezTo>
                      <a:pt x="22996" y="12066"/>
                      <a:pt x="21402" y="10713"/>
                      <a:pt x="19178" y="10563"/>
                    </a:cubicBezTo>
                    <a:cubicBezTo>
                      <a:pt x="15421" y="10262"/>
                      <a:pt x="11694" y="13659"/>
                      <a:pt x="10371" y="18559"/>
                    </a:cubicBezTo>
                    <a:cubicBezTo>
                      <a:pt x="9620" y="21384"/>
                      <a:pt x="6734" y="23067"/>
                      <a:pt x="3908" y="22286"/>
                    </a:cubicBezTo>
                    <a:cubicBezTo>
                      <a:pt x="1083" y="21534"/>
                      <a:pt x="-570" y="18619"/>
                      <a:pt x="181" y="15823"/>
                    </a:cubicBezTo>
                    <a:cubicBezTo>
                      <a:pt x="2856" y="5844"/>
                      <a:pt x="11092" y="-589"/>
                      <a:pt x="19930" y="43"/>
                    </a:cubicBezTo>
                    <a:cubicBezTo>
                      <a:pt x="24468" y="373"/>
                      <a:pt x="28706" y="2567"/>
                      <a:pt x="31893" y="6235"/>
                    </a:cubicBezTo>
                    <a:cubicBezTo>
                      <a:pt x="35770" y="10713"/>
                      <a:pt x="37724" y="16995"/>
                      <a:pt x="37243" y="23428"/>
                    </a:cubicBezTo>
                    <a:lnTo>
                      <a:pt x="37003" y="41253"/>
                    </a:lnTo>
                    <a:cubicBezTo>
                      <a:pt x="37003" y="44138"/>
                      <a:pt x="34628" y="46453"/>
                      <a:pt x="31773" y="46453"/>
                    </a:cubicBezTo>
                    <a:close/>
                  </a:path>
                </a:pathLst>
              </a:custGeom>
              <a:solidFill>
                <a:schemeClr val="tx2"/>
              </a:solidFill>
              <a:ln w="3004" cap="flat">
                <a:noFill/>
                <a:prstDash val="solid"/>
                <a:miter/>
              </a:ln>
            </p:spPr>
            <p:txBody>
              <a:bodyPr rtlCol="0" anchor="ctr"/>
              <a:lstStyle/>
              <a:p>
                <a:endParaRPr lang="en-GB" dirty="0"/>
              </a:p>
            </p:txBody>
          </p:sp>
          <p:sp>
            <p:nvSpPr>
              <p:cNvPr id="577" name="Freihandform: Form 576">
                <a:extLst>
                  <a:ext uri="{FF2B5EF4-FFF2-40B4-BE49-F238E27FC236}">
                    <a16:creationId xmlns:a16="http://schemas.microsoft.com/office/drawing/2014/main" id="{93008B64-D01C-4B8E-91F6-82B6C2939719}"/>
                  </a:ext>
                </a:extLst>
              </p:cNvPr>
              <p:cNvSpPr/>
              <p:nvPr/>
            </p:nvSpPr>
            <p:spPr>
              <a:xfrm>
                <a:off x="3546034" y="4157343"/>
                <a:ext cx="41904" cy="27110"/>
              </a:xfrm>
              <a:custGeom>
                <a:avLst/>
                <a:gdLst>
                  <a:gd name="connsiteX0" fmla="*/ 5274 w 41904"/>
                  <a:gd name="connsiteY0" fmla="*/ 27111 h 27110"/>
                  <a:gd name="connsiteX1" fmla="*/ 4884 w 41904"/>
                  <a:gd name="connsiteY1" fmla="*/ 27111 h 27110"/>
                  <a:gd name="connsiteX2" fmla="*/ 14 w 41904"/>
                  <a:gd name="connsiteY2" fmla="*/ 21460 h 27110"/>
                  <a:gd name="connsiteX3" fmla="*/ 19943 w 41904"/>
                  <a:gd name="connsiteY3" fmla="*/ 449 h 27110"/>
                  <a:gd name="connsiteX4" fmla="*/ 37226 w 41904"/>
                  <a:gd name="connsiteY4" fmla="*/ 3845 h 27110"/>
                  <a:gd name="connsiteX5" fmla="*/ 41886 w 41904"/>
                  <a:gd name="connsiteY5" fmla="*/ 15598 h 27110"/>
                  <a:gd name="connsiteX6" fmla="*/ 36385 w 41904"/>
                  <a:gd name="connsiteY6" fmla="*/ 20648 h 27110"/>
                  <a:gd name="connsiteX7" fmla="*/ 31335 w 41904"/>
                  <a:gd name="connsiteY7" fmla="*/ 15147 h 27110"/>
                  <a:gd name="connsiteX8" fmla="*/ 30373 w 41904"/>
                  <a:gd name="connsiteY8" fmla="*/ 11871 h 27110"/>
                  <a:gd name="connsiteX9" fmla="*/ 21386 w 41904"/>
                  <a:gd name="connsiteY9" fmla="*/ 10879 h 27110"/>
                  <a:gd name="connsiteX10" fmla="*/ 10505 w 41904"/>
                  <a:gd name="connsiteY10" fmla="*/ 22211 h 27110"/>
                  <a:gd name="connsiteX11" fmla="*/ 5274 w 41904"/>
                  <a:gd name="connsiteY11" fmla="*/ 27111 h 2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904" h="27110">
                    <a:moveTo>
                      <a:pt x="5274" y="27111"/>
                    </a:moveTo>
                    <a:cubicBezTo>
                      <a:pt x="5154" y="27111"/>
                      <a:pt x="5034" y="27111"/>
                      <a:pt x="4884" y="27111"/>
                    </a:cubicBezTo>
                    <a:cubicBezTo>
                      <a:pt x="1968" y="26900"/>
                      <a:pt x="-196" y="24375"/>
                      <a:pt x="14" y="21460"/>
                    </a:cubicBezTo>
                    <a:cubicBezTo>
                      <a:pt x="615" y="12893"/>
                      <a:pt x="11797" y="1110"/>
                      <a:pt x="19943" y="449"/>
                    </a:cubicBezTo>
                    <a:cubicBezTo>
                      <a:pt x="20454" y="299"/>
                      <a:pt x="30794" y="-1625"/>
                      <a:pt x="37226" y="3845"/>
                    </a:cubicBezTo>
                    <a:cubicBezTo>
                      <a:pt x="39481" y="5769"/>
                      <a:pt x="42156" y="9376"/>
                      <a:pt x="41886" y="15598"/>
                    </a:cubicBezTo>
                    <a:cubicBezTo>
                      <a:pt x="41765" y="18514"/>
                      <a:pt x="39210" y="20919"/>
                      <a:pt x="36385" y="20648"/>
                    </a:cubicBezTo>
                    <a:cubicBezTo>
                      <a:pt x="33469" y="20528"/>
                      <a:pt x="31215" y="18063"/>
                      <a:pt x="31335" y="15147"/>
                    </a:cubicBezTo>
                    <a:cubicBezTo>
                      <a:pt x="31425" y="12773"/>
                      <a:pt x="30674" y="12111"/>
                      <a:pt x="30373" y="11871"/>
                    </a:cubicBezTo>
                    <a:cubicBezTo>
                      <a:pt x="28449" y="10248"/>
                      <a:pt x="23610" y="10428"/>
                      <a:pt x="21386" y="10879"/>
                    </a:cubicBezTo>
                    <a:cubicBezTo>
                      <a:pt x="17989" y="11270"/>
                      <a:pt x="10745" y="18694"/>
                      <a:pt x="10505" y="22211"/>
                    </a:cubicBezTo>
                    <a:cubicBezTo>
                      <a:pt x="10324" y="24977"/>
                      <a:pt x="8010" y="27111"/>
                      <a:pt x="5274" y="27111"/>
                    </a:cubicBezTo>
                    <a:close/>
                  </a:path>
                </a:pathLst>
              </a:custGeom>
              <a:solidFill>
                <a:schemeClr val="tx2"/>
              </a:solidFill>
              <a:ln w="3004" cap="flat">
                <a:noFill/>
                <a:prstDash val="solid"/>
                <a:miter/>
              </a:ln>
            </p:spPr>
            <p:txBody>
              <a:bodyPr rtlCol="0" anchor="ctr"/>
              <a:lstStyle/>
              <a:p>
                <a:endParaRPr lang="en-GB" dirty="0"/>
              </a:p>
            </p:txBody>
          </p:sp>
          <p:sp>
            <p:nvSpPr>
              <p:cNvPr id="578" name="Freihandform: Form 577">
                <a:extLst>
                  <a:ext uri="{FF2B5EF4-FFF2-40B4-BE49-F238E27FC236}">
                    <a16:creationId xmlns:a16="http://schemas.microsoft.com/office/drawing/2014/main" id="{703A3998-B9F3-45A0-8D9A-4261D2D4066B}"/>
                  </a:ext>
                </a:extLst>
              </p:cNvPr>
              <p:cNvSpPr/>
              <p:nvPr/>
            </p:nvSpPr>
            <p:spPr>
              <a:xfrm>
                <a:off x="3519971" y="4215166"/>
                <a:ext cx="36905" cy="23392"/>
              </a:xfrm>
              <a:custGeom>
                <a:avLst/>
                <a:gdLst>
                  <a:gd name="connsiteX0" fmla="*/ 17691 w 36905"/>
                  <a:gd name="connsiteY0" fmla="*/ 23393 h 23392"/>
                  <a:gd name="connsiteX1" fmla="*/ 16399 w 36905"/>
                  <a:gd name="connsiteY1" fmla="*/ 23333 h 23392"/>
                  <a:gd name="connsiteX2" fmla="*/ 378 w 36905"/>
                  <a:gd name="connsiteY2" fmla="*/ 10768 h 23392"/>
                  <a:gd name="connsiteX3" fmla="*/ 3324 w 36905"/>
                  <a:gd name="connsiteY3" fmla="*/ 3915 h 23392"/>
                  <a:gd name="connsiteX4" fmla="*/ 10177 w 36905"/>
                  <a:gd name="connsiteY4" fmla="*/ 6860 h 23392"/>
                  <a:gd name="connsiteX5" fmla="*/ 17180 w 36905"/>
                  <a:gd name="connsiteY5" fmla="*/ 12812 h 23392"/>
                  <a:gd name="connsiteX6" fmla="*/ 26468 w 36905"/>
                  <a:gd name="connsiteY6" fmla="*/ 4125 h 23392"/>
                  <a:gd name="connsiteX7" fmla="*/ 32781 w 36905"/>
                  <a:gd name="connsiteY7" fmla="*/ 127 h 23392"/>
                  <a:gd name="connsiteX8" fmla="*/ 36778 w 36905"/>
                  <a:gd name="connsiteY8" fmla="*/ 6440 h 23392"/>
                  <a:gd name="connsiteX9" fmla="*/ 17691 w 36905"/>
                  <a:gd name="connsiteY9" fmla="*/ 23393 h 23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905" h="23392">
                    <a:moveTo>
                      <a:pt x="17691" y="23393"/>
                    </a:moveTo>
                    <a:cubicBezTo>
                      <a:pt x="17271" y="23393"/>
                      <a:pt x="16850" y="23393"/>
                      <a:pt x="16399" y="23333"/>
                    </a:cubicBezTo>
                    <a:cubicBezTo>
                      <a:pt x="9365" y="22821"/>
                      <a:pt x="3233" y="17982"/>
                      <a:pt x="378" y="10768"/>
                    </a:cubicBezTo>
                    <a:cubicBezTo>
                      <a:pt x="-704" y="8063"/>
                      <a:pt x="618" y="4997"/>
                      <a:pt x="3324" y="3915"/>
                    </a:cubicBezTo>
                    <a:cubicBezTo>
                      <a:pt x="6029" y="2833"/>
                      <a:pt x="9095" y="4155"/>
                      <a:pt x="10177" y="6860"/>
                    </a:cubicBezTo>
                    <a:cubicBezTo>
                      <a:pt x="11529" y="10317"/>
                      <a:pt x="14235" y="12572"/>
                      <a:pt x="17180" y="12812"/>
                    </a:cubicBezTo>
                    <a:cubicBezTo>
                      <a:pt x="21419" y="13113"/>
                      <a:pt x="25266" y="9385"/>
                      <a:pt x="26468" y="4125"/>
                    </a:cubicBezTo>
                    <a:cubicBezTo>
                      <a:pt x="27100" y="1270"/>
                      <a:pt x="29925" y="-504"/>
                      <a:pt x="32781" y="127"/>
                    </a:cubicBezTo>
                    <a:cubicBezTo>
                      <a:pt x="35636" y="759"/>
                      <a:pt x="37410" y="3584"/>
                      <a:pt x="36778" y="6440"/>
                    </a:cubicBezTo>
                    <a:cubicBezTo>
                      <a:pt x="34524" y="16479"/>
                      <a:pt x="26619" y="23393"/>
                      <a:pt x="17691" y="23393"/>
                    </a:cubicBezTo>
                    <a:close/>
                  </a:path>
                </a:pathLst>
              </a:custGeom>
              <a:solidFill>
                <a:schemeClr val="tx2"/>
              </a:solidFill>
              <a:ln w="3004" cap="flat">
                <a:noFill/>
                <a:prstDash val="solid"/>
                <a:miter/>
              </a:ln>
            </p:spPr>
            <p:txBody>
              <a:bodyPr rtlCol="0" anchor="ctr"/>
              <a:lstStyle/>
              <a:p>
                <a:endParaRPr lang="en-GB" dirty="0"/>
              </a:p>
            </p:txBody>
          </p:sp>
          <p:sp>
            <p:nvSpPr>
              <p:cNvPr id="579" name="Freihandform: Form 578">
                <a:extLst>
                  <a:ext uri="{FF2B5EF4-FFF2-40B4-BE49-F238E27FC236}">
                    <a16:creationId xmlns:a16="http://schemas.microsoft.com/office/drawing/2014/main" id="{E22BA380-0F7F-49A6-A00D-DACD876A675B}"/>
                  </a:ext>
                </a:extLst>
              </p:cNvPr>
              <p:cNvSpPr/>
              <p:nvPr/>
            </p:nvSpPr>
            <p:spPr>
              <a:xfrm>
                <a:off x="3517899" y="4169412"/>
                <a:ext cx="38269" cy="27786"/>
              </a:xfrm>
              <a:custGeom>
                <a:avLst/>
                <a:gdLst>
                  <a:gd name="connsiteX0" fmla="*/ 5274 w 38269"/>
                  <a:gd name="connsiteY0" fmla="*/ 27787 h 27786"/>
                  <a:gd name="connsiteX1" fmla="*/ 4884 w 38269"/>
                  <a:gd name="connsiteY1" fmla="*/ 27787 h 27786"/>
                  <a:gd name="connsiteX2" fmla="*/ 14 w 38269"/>
                  <a:gd name="connsiteY2" fmla="*/ 22136 h 27786"/>
                  <a:gd name="connsiteX3" fmla="*/ 7980 w 38269"/>
                  <a:gd name="connsiteY3" fmla="*/ 6385 h 27786"/>
                  <a:gd name="connsiteX4" fmla="*/ 23610 w 38269"/>
                  <a:gd name="connsiteY4" fmla="*/ 43 h 27786"/>
                  <a:gd name="connsiteX5" fmla="*/ 37347 w 38269"/>
                  <a:gd name="connsiteY5" fmla="*/ 8249 h 27786"/>
                  <a:gd name="connsiteX6" fmla="*/ 35964 w 38269"/>
                  <a:gd name="connsiteY6" fmla="*/ 15583 h 27786"/>
                  <a:gd name="connsiteX7" fmla="*/ 28630 w 38269"/>
                  <a:gd name="connsiteY7" fmla="*/ 14200 h 27786"/>
                  <a:gd name="connsiteX8" fmla="*/ 22859 w 38269"/>
                  <a:gd name="connsiteY8" fmla="*/ 10563 h 27786"/>
                  <a:gd name="connsiteX9" fmla="*/ 15224 w 38269"/>
                  <a:gd name="connsiteY9" fmla="*/ 14080 h 27786"/>
                  <a:gd name="connsiteX10" fmla="*/ 10565 w 38269"/>
                  <a:gd name="connsiteY10" fmla="*/ 22917 h 27786"/>
                  <a:gd name="connsiteX11" fmla="*/ 5274 w 38269"/>
                  <a:gd name="connsiteY11" fmla="*/ 27787 h 27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269" h="27786">
                    <a:moveTo>
                      <a:pt x="5274" y="27787"/>
                    </a:moveTo>
                    <a:cubicBezTo>
                      <a:pt x="5154" y="27787"/>
                      <a:pt x="5004" y="27787"/>
                      <a:pt x="4884" y="27787"/>
                    </a:cubicBezTo>
                    <a:cubicBezTo>
                      <a:pt x="1968" y="27576"/>
                      <a:pt x="-196" y="25051"/>
                      <a:pt x="14" y="22136"/>
                    </a:cubicBezTo>
                    <a:cubicBezTo>
                      <a:pt x="435" y="16485"/>
                      <a:pt x="3321" y="10743"/>
                      <a:pt x="7980" y="6385"/>
                    </a:cubicBezTo>
                    <a:cubicBezTo>
                      <a:pt x="12669" y="1966"/>
                      <a:pt x="18320" y="-348"/>
                      <a:pt x="23610" y="43"/>
                    </a:cubicBezTo>
                    <a:cubicBezTo>
                      <a:pt x="29021" y="433"/>
                      <a:pt x="34040" y="3439"/>
                      <a:pt x="37347" y="8249"/>
                    </a:cubicBezTo>
                    <a:cubicBezTo>
                      <a:pt x="39000" y="10653"/>
                      <a:pt x="38369" y="13930"/>
                      <a:pt x="35964" y="15583"/>
                    </a:cubicBezTo>
                    <a:cubicBezTo>
                      <a:pt x="33559" y="17236"/>
                      <a:pt x="30283" y="16605"/>
                      <a:pt x="28630" y="14200"/>
                    </a:cubicBezTo>
                    <a:cubicBezTo>
                      <a:pt x="27127" y="12006"/>
                      <a:pt x="25083" y="10713"/>
                      <a:pt x="22859" y="10563"/>
                    </a:cubicBezTo>
                    <a:cubicBezTo>
                      <a:pt x="20724" y="10443"/>
                      <a:pt x="17719" y="11735"/>
                      <a:pt x="15224" y="14080"/>
                    </a:cubicBezTo>
                    <a:cubicBezTo>
                      <a:pt x="12519" y="16635"/>
                      <a:pt x="10775" y="19911"/>
                      <a:pt x="10565" y="22917"/>
                    </a:cubicBezTo>
                    <a:cubicBezTo>
                      <a:pt x="10324" y="25652"/>
                      <a:pt x="8010" y="27787"/>
                      <a:pt x="5274" y="27787"/>
                    </a:cubicBezTo>
                    <a:close/>
                  </a:path>
                </a:pathLst>
              </a:custGeom>
              <a:solidFill>
                <a:schemeClr val="tx2"/>
              </a:solidFill>
              <a:ln w="3004" cap="flat">
                <a:noFill/>
                <a:prstDash val="solid"/>
                <a:miter/>
              </a:ln>
            </p:spPr>
            <p:txBody>
              <a:bodyPr rtlCol="0" anchor="ctr"/>
              <a:lstStyle/>
              <a:p>
                <a:endParaRPr lang="en-GB" dirty="0"/>
              </a:p>
            </p:txBody>
          </p:sp>
          <p:sp>
            <p:nvSpPr>
              <p:cNvPr id="580" name="Freihandform: Form 579">
                <a:extLst>
                  <a:ext uri="{FF2B5EF4-FFF2-40B4-BE49-F238E27FC236}">
                    <a16:creationId xmlns:a16="http://schemas.microsoft.com/office/drawing/2014/main" id="{CA23EB04-D7E0-431F-8A93-B45C991D1748}"/>
                  </a:ext>
                </a:extLst>
              </p:cNvPr>
              <p:cNvSpPr/>
              <p:nvPr/>
            </p:nvSpPr>
            <p:spPr>
              <a:xfrm>
                <a:off x="3491855" y="4180840"/>
                <a:ext cx="38577" cy="62286"/>
              </a:xfrm>
              <a:custGeom>
                <a:avLst/>
                <a:gdLst>
                  <a:gd name="connsiteX0" fmla="*/ 19176 w 38577"/>
                  <a:gd name="connsiteY0" fmla="*/ 62287 h 62286"/>
                  <a:gd name="connsiteX1" fmla="*/ 17973 w 38577"/>
                  <a:gd name="connsiteY1" fmla="*/ 62257 h 62286"/>
                  <a:gd name="connsiteX2" fmla="*/ 16530 w 38577"/>
                  <a:gd name="connsiteY2" fmla="*/ 62046 h 62286"/>
                  <a:gd name="connsiteX3" fmla="*/ 59 w 38577"/>
                  <a:gd name="connsiteY3" fmla="*/ 42508 h 62286"/>
                  <a:gd name="connsiteX4" fmla="*/ 1742 w 38577"/>
                  <a:gd name="connsiteY4" fmla="*/ 19394 h 62286"/>
                  <a:gd name="connsiteX5" fmla="*/ 7603 w 38577"/>
                  <a:gd name="connsiteY5" fmla="*/ 5537 h 62286"/>
                  <a:gd name="connsiteX6" fmla="*/ 20979 w 38577"/>
                  <a:gd name="connsiteY6" fmla="*/ 36 h 62286"/>
                  <a:gd name="connsiteX7" fmla="*/ 35828 w 38577"/>
                  <a:gd name="connsiteY7" fmla="*/ 10136 h 62286"/>
                  <a:gd name="connsiteX8" fmla="*/ 33664 w 38577"/>
                  <a:gd name="connsiteY8" fmla="*/ 17260 h 62286"/>
                  <a:gd name="connsiteX9" fmla="*/ 26540 w 38577"/>
                  <a:gd name="connsiteY9" fmla="*/ 15095 h 62286"/>
                  <a:gd name="connsiteX10" fmla="*/ 20228 w 38577"/>
                  <a:gd name="connsiteY10" fmla="*/ 10556 h 62286"/>
                  <a:gd name="connsiteX11" fmla="*/ 15328 w 38577"/>
                  <a:gd name="connsiteY11" fmla="*/ 12751 h 62286"/>
                  <a:gd name="connsiteX12" fmla="*/ 12292 w 38577"/>
                  <a:gd name="connsiteY12" fmla="*/ 20175 h 62286"/>
                  <a:gd name="connsiteX13" fmla="*/ 10609 w 38577"/>
                  <a:gd name="connsiteY13" fmla="*/ 43290 h 62286"/>
                  <a:gd name="connsiteX14" fmla="*/ 17763 w 38577"/>
                  <a:gd name="connsiteY14" fmla="*/ 51586 h 62286"/>
                  <a:gd name="connsiteX15" fmla="*/ 19206 w 38577"/>
                  <a:gd name="connsiteY15" fmla="*/ 51797 h 62286"/>
                  <a:gd name="connsiteX16" fmla="*/ 24706 w 38577"/>
                  <a:gd name="connsiteY16" fmla="*/ 49512 h 62286"/>
                  <a:gd name="connsiteX17" fmla="*/ 28043 w 38577"/>
                  <a:gd name="connsiteY17" fmla="*/ 42749 h 62286"/>
                  <a:gd name="connsiteX18" fmla="*/ 33694 w 38577"/>
                  <a:gd name="connsiteY18" fmla="*/ 37880 h 62286"/>
                  <a:gd name="connsiteX19" fmla="*/ 38563 w 38577"/>
                  <a:gd name="connsiteY19" fmla="*/ 43531 h 62286"/>
                  <a:gd name="connsiteX20" fmla="*/ 31680 w 38577"/>
                  <a:gd name="connsiteY20" fmla="*/ 57418 h 62286"/>
                  <a:gd name="connsiteX21" fmla="*/ 19176 w 38577"/>
                  <a:gd name="connsiteY21" fmla="*/ 62287 h 6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577" h="62286">
                    <a:moveTo>
                      <a:pt x="19176" y="62287"/>
                    </a:moveTo>
                    <a:cubicBezTo>
                      <a:pt x="18785" y="62287"/>
                      <a:pt x="18364" y="62287"/>
                      <a:pt x="17973" y="62257"/>
                    </a:cubicBezTo>
                    <a:lnTo>
                      <a:pt x="16530" y="62046"/>
                    </a:lnTo>
                    <a:cubicBezTo>
                      <a:pt x="6401" y="61325"/>
                      <a:pt x="-723" y="53059"/>
                      <a:pt x="59" y="42508"/>
                    </a:cubicBezTo>
                    <a:lnTo>
                      <a:pt x="1742" y="19394"/>
                    </a:lnTo>
                    <a:cubicBezTo>
                      <a:pt x="2133" y="14073"/>
                      <a:pt x="4206" y="9144"/>
                      <a:pt x="7603" y="5537"/>
                    </a:cubicBezTo>
                    <a:cubicBezTo>
                      <a:pt x="11240" y="1659"/>
                      <a:pt x="16110" y="-295"/>
                      <a:pt x="20979" y="36"/>
                    </a:cubicBezTo>
                    <a:cubicBezTo>
                      <a:pt x="27051" y="457"/>
                      <a:pt x="32732" y="4335"/>
                      <a:pt x="35828" y="10136"/>
                    </a:cubicBezTo>
                    <a:cubicBezTo>
                      <a:pt x="37211" y="12691"/>
                      <a:pt x="36249" y="15907"/>
                      <a:pt x="33664" y="17260"/>
                    </a:cubicBezTo>
                    <a:cubicBezTo>
                      <a:pt x="31109" y="18642"/>
                      <a:pt x="27892" y="17650"/>
                      <a:pt x="26540" y="15095"/>
                    </a:cubicBezTo>
                    <a:cubicBezTo>
                      <a:pt x="25127" y="12480"/>
                      <a:pt x="22722" y="10737"/>
                      <a:pt x="20228" y="10556"/>
                    </a:cubicBezTo>
                    <a:cubicBezTo>
                      <a:pt x="17973" y="10436"/>
                      <a:pt x="16170" y="11849"/>
                      <a:pt x="15328" y="12751"/>
                    </a:cubicBezTo>
                    <a:cubicBezTo>
                      <a:pt x="13615" y="14584"/>
                      <a:pt x="12503" y="17290"/>
                      <a:pt x="12292" y="20175"/>
                    </a:cubicBezTo>
                    <a:lnTo>
                      <a:pt x="10609" y="43290"/>
                    </a:lnTo>
                    <a:cubicBezTo>
                      <a:pt x="10098" y="50474"/>
                      <a:pt x="15959" y="51466"/>
                      <a:pt x="17763" y="51586"/>
                    </a:cubicBezTo>
                    <a:lnTo>
                      <a:pt x="19206" y="51797"/>
                    </a:lnTo>
                    <a:cubicBezTo>
                      <a:pt x="20648" y="51917"/>
                      <a:pt x="22933" y="51045"/>
                      <a:pt x="24706" y="49512"/>
                    </a:cubicBezTo>
                    <a:cubicBezTo>
                      <a:pt x="26660" y="47769"/>
                      <a:pt x="27863" y="45364"/>
                      <a:pt x="28043" y="42749"/>
                    </a:cubicBezTo>
                    <a:cubicBezTo>
                      <a:pt x="28253" y="39833"/>
                      <a:pt x="30838" y="37759"/>
                      <a:pt x="33694" y="37880"/>
                    </a:cubicBezTo>
                    <a:cubicBezTo>
                      <a:pt x="36609" y="38090"/>
                      <a:pt x="38774" y="40615"/>
                      <a:pt x="38563" y="43531"/>
                    </a:cubicBezTo>
                    <a:cubicBezTo>
                      <a:pt x="38173" y="48911"/>
                      <a:pt x="35738" y="53841"/>
                      <a:pt x="31680" y="57418"/>
                    </a:cubicBezTo>
                    <a:cubicBezTo>
                      <a:pt x="28073" y="60544"/>
                      <a:pt x="23594" y="62287"/>
                      <a:pt x="19176" y="62287"/>
                    </a:cubicBezTo>
                    <a:close/>
                  </a:path>
                </a:pathLst>
              </a:custGeom>
              <a:solidFill>
                <a:schemeClr val="tx2"/>
              </a:solidFill>
              <a:ln w="3004" cap="flat">
                <a:noFill/>
                <a:prstDash val="solid"/>
                <a:miter/>
              </a:ln>
            </p:spPr>
            <p:txBody>
              <a:bodyPr rtlCol="0" anchor="ctr"/>
              <a:lstStyle/>
              <a:p>
                <a:endParaRPr lang="en-GB" dirty="0"/>
              </a:p>
            </p:txBody>
          </p:sp>
          <p:sp>
            <p:nvSpPr>
              <p:cNvPr id="581" name="Freihandform: Form 580">
                <a:extLst>
                  <a:ext uri="{FF2B5EF4-FFF2-40B4-BE49-F238E27FC236}">
                    <a16:creationId xmlns:a16="http://schemas.microsoft.com/office/drawing/2014/main" id="{14575DD8-DB90-4C96-9389-4FC6F65473BB}"/>
                  </a:ext>
                </a:extLst>
              </p:cNvPr>
              <p:cNvSpPr/>
              <p:nvPr/>
            </p:nvSpPr>
            <p:spPr>
              <a:xfrm>
                <a:off x="3555492" y="4184961"/>
                <a:ext cx="77524" cy="87863"/>
              </a:xfrm>
              <a:custGeom>
                <a:avLst/>
                <a:gdLst>
                  <a:gd name="connsiteX0" fmla="*/ 50763 w 77524"/>
                  <a:gd name="connsiteY0" fmla="*/ 87864 h 87863"/>
                  <a:gd name="connsiteX1" fmla="*/ 47427 w 77524"/>
                  <a:gd name="connsiteY1" fmla="*/ 86661 h 87863"/>
                  <a:gd name="connsiteX2" fmla="*/ 46675 w 77524"/>
                  <a:gd name="connsiteY2" fmla="*/ 79237 h 87863"/>
                  <a:gd name="connsiteX3" fmla="*/ 66995 w 77524"/>
                  <a:gd name="connsiteY3" fmla="*/ 35112 h 87863"/>
                  <a:gd name="connsiteX4" fmla="*/ 24913 w 77524"/>
                  <a:gd name="connsiteY4" fmla="*/ 11125 h 87863"/>
                  <a:gd name="connsiteX5" fmla="*/ 16677 w 77524"/>
                  <a:gd name="connsiteY5" fmla="*/ 11666 h 87863"/>
                  <a:gd name="connsiteX6" fmla="*/ 11146 w 77524"/>
                  <a:gd name="connsiteY6" fmla="*/ 17918 h 87863"/>
                  <a:gd name="connsiteX7" fmla="*/ 17909 w 77524"/>
                  <a:gd name="connsiteY7" fmla="*/ 31775 h 87863"/>
                  <a:gd name="connsiteX8" fmla="*/ 40874 w 77524"/>
                  <a:gd name="connsiteY8" fmla="*/ 39650 h 87863"/>
                  <a:gd name="connsiteX9" fmla="*/ 44150 w 77524"/>
                  <a:gd name="connsiteY9" fmla="*/ 46353 h 87863"/>
                  <a:gd name="connsiteX10" fmla="*/ 37447 w 77524"/>
                  <a:gd name="connsiteY10" fmla="*/ 49630 h 87863"/>
                  <a:gd name="connsiteX11" fmla="*/ 14483 w 77524"/>
                  <a:gd name="connsiteY11" fmla="*/ 41754 h 87863"/>
                  <a:gd name="connsiteX12" fmla="*/ 1167 w 77524"/>
                  <a:gd name="connsiteY12" fmla="*/ 14492 h 87863"/>
                  <a:gd name="connsiteX13" fmla="*/ 12018 w 77524"/>
                  <a:gd name="connsiteY13" fmla="*/ 2198 h 87863"/>
                  <a:gd name="connsiteX14" fmla="*/ 28400 w 77524"/>
                  <a:gd name="connsiteY14" fmla="*/ 1176 h 87863"/>
                  <a:gd name="connsiteX15" fmla="*/ 77365 w 77524"/>
                  <a:gd name="connsiteY15" fmla="*/ 37035 h 87863"/>
                  <a:gd name="connsiteX16" fmla="*/ 54851 w 77524"/>
                  <a:gd name="connsiteY16" fmla="*/ 85910 h 87863"/>
                  <a:gd name="connsiteX17" fmla="*/ 50763 w 77524"/>
                  <a:gd name="connsiteY17" fmla="*/ 87864 h 8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7524" h="87863">
                    <a:moveTo>
                      <a:pt x="50763" y="87864"/>
                    </a:moveTo>
                    <a:cubicBezTo>
                      <a:pt x="49591" y="87864"/>
                      <a:pt x="48419" y="87473"/>
                      <a:pt x="47427" y="86661"/>
                    </a:cubicBezTo>
                    <a:cubicBezTo>
                      <a:pt x="45172" y="84828"/>
                      <a:pt x="44842" y="81492"/>
                      <a:pt x="46675" y="79237"/>
                    </a:cubicBezTo>
                    <a:cubicBezTo>
                      <a:pt x="46826" y="79057"/>
                      <a:pt x="62486" y="59609"/>
                      <a:pt x="66995" y="35112"/>
                    </a:cubicBezTo>
                    <a:cubicBezTo>
                      <a:pt x="67025" y="30994"/>
                      <a:pt x="48659" y="19601"/>
                      <a:pt x="24913" y="11125"/>
                    </a:cubicBezTo>
                    <a:cubicBezTo>
                      <a:pt x="22238" y="10193"/>
                      <a:pt x="19262" y="10374"/>
                      <a:pt x="16677" y="11666"/>
                    </a:cubicBezTo>
                    <a:cubicBezTo>
                      <a:pt x="14062" y="12959"/>
                      <a:pt x="12108" y="15153"/>
                      <a:pt x="11146" y="17918"/>
                    </a:cubicBezTo>
                    <a:cubicBezTo>
                      <a:pt x="9192" y="23599"/>
                      <a:pt x="12228" y="29821"/>
                      <a:pt x="17909" y="31775"/>
                    </a:cubicBezTo>
                    <a:lnTo>
                      <a:pt x="40874" y="39650"/>
                    </a:lnTo>
                    <a:cubicBezTo>
                      <a:pt x="43639" y="40582"/>
                      <a:pt x="45112" y="43588"/>
                      <a:pt x="44150" y="46353"/>
                    </a:cubicBezTo>
                    <a:cubicBezTo>
                      <a:pt x="43219" y="49119"/>
                      <a:pt x="40183" y="50591"/>
                      <a:pt x="37447" y="49630"/>
                    </a:cubicBezTo>
                    <a:lnTo>
                      <a:pt x="14483" y="41754"/>
                    </a:lnTo>
                    <a:cubicBezTo>
                      <a:pt x="3301" y="37907"/>
                      <a:pt x="-2681" y="25673"/>
                      <a:pt x="1167" y="14492"/>
                    </a:cubicBezTo>
                    <a:cubicBezTo>
                      <a:pt x="3031" y="9081"/>
                      <a:pt x="6878" y="4692"/>
                      <a:pt x="12018" y="2198"/>
                    </a:cubicBezTo>
                    <a:cubicBezTo>
                      <a:pt x="17158" y="-327"/>
                      <a:pt x="22989" y="-688"/>
                      <a:pt x="28400" y="1176"/>
                    </a:cubicBezTo>
                    <a:cubicBezTo>
                      <a:pt x="44120" y="6797"/>
                      <a:pt x="80220" y="21495"/>
                      <a:pt x="77365" y="37035"/>
                    </a:cubicBezTo>
                    <a:cubicBezTo>
                      <a:pt x="72345" y="64268"/>
                      <a:pt x="55572" y="85038"/>
                      <a:pt x="54851" y="85910"/>
                    </a:cubicBezTo>
                    <a:cubicBezTo>
                      <a:pt x="53829" y="87203"/>
                      <a:pt x="52296" y="87864"/>
                      <a:pt x="50763" y="87864"/>
                    </a:cubicBezTo>
                    <a:close/>
                  </a:path>
                </a:pathLst>
              </a:custGeom>
              <a:solidFill>
                <a:schemeClr val="tx2"/>
              </a:solidFill>
              <a:ln w="3004" cap="flat">
                <a:noFill/>
                <a:prstDash val="solid"/>
                <a:miter/>
              </a:ln>
            </p:spPr>
            <p:txBody>
              <a:bodyPr rtlCol="0" anchor="ctr"/>
              <a:lstStyle/>
              <a:p>
                <a:endParaRPr lang="en-GB" dirty="0"/>
              </a:p>
            </p:txBody>
          </p:sp>
          <p:sp>
            <p:nvSpPr>
              <p:cNvPr id="582" name="Freihandform: Form 581">
                <a:extLst>
                  <a:ext uri="{FF2B5EF4-FFF2-40B4-BE49-F238E27FC236}">
                    <a16:creationId xmlns:a16="http://schemas.microsoft.com/office/drawing/2014/main" id="{6A63B13E-1080-4AD6-B442-543273FA340F}"/>
                  </a:ext>
                </a:extLst>
              </p:cNvPr>
              <p:cNvSpPr/>
              <p:nvPr/>
            </p:nvSpPr>
            <p:spPr>
              <a:xfrm>
                <a:off x="3551566" y="4225676"/>
                <a:ext cx="47702" cy="46968"/>
              </a:xfrm>
              <a:custGeom>
                <a:avLst/>
                <a:gdLst>
                  <a:gd name="connsiteX0" fmla="*/ 5334 w 47702"/>
                  <a:gd name="connsiteY0" fmla="*/ 46968 h 46968"/>
                  <a:gd name="connsiteX1" fmla="*/ 103 w 47702"/>
                  <a:gd name="connsiteY1" fmla="*/ 42189 h 46968"/>
                  <a:gd name="connsiteX2" fmla="*/ 40472 w 47702"/>
                  <a:gd name="connsiteY2" fmla="*/ 378 h 46968"/>
                  <a:gd name="connsiteX3" fmla="*/ 47325 w 47702"/>
                  <a:gd name="connsiteY3" fmla="*/ 3323 h 46968"/>
                  <a:gd name="connsiteX4" fmla="*/ 44379 w 47702"/>
                  <a:gd name="connsiteY4" fmla="*/ 10177 h 46968"/>
                  <a:gd name="connsiteX5" fmla="*/ 10624 w 47702"/>
                  <a:gd name="connsiteY5" fmla="*/ 41167 h 46968"/>
                  <a:gd name="connsiteX6" fmla="*/ 5875 w 47702"/>
                  <a:gd name="connsiteY6" fmla="*/ 46938 h 46968"/>
                  <a:gd name="connsiteX7" fmla="*/ 5334 w 47702"/>
                  <a:gd name="connsiteY7" fmla="*/ 46968 h 46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702" h="46968">
                    <a:moveTo>
                      <a:pt x="5334" y="46968"/>
                    </a:moveTo>
                    <a:cubicBezTo>
                      <a:pt x="2658" y="46968"/>
                      <a:pt x="344" y="44924"/>
                      <a:pt x="103" y="42189"/>
                    </a:cubicBezTo>
                    <a:cubicBezTo>
                      <a:pt x="-2241" y="18022"/>
                      <a:pt x="36083" y="2121"/>
                      <a:pt x="40472" y="378"/>
                    </a:cubicBezTo>
                    <a:cubicBezTo>
                      <a:pt x="43177" y="-704"/>
                      <a:pt x="46243" y="618"/>
                      <a:pt x="47325" y="3323"/>
                    </a:cubicBezTo>
                    <a:cubicBezTo>
                      <a:pt x="48407" y="6029"/>
                      <a:pt x="47084" y="9095"/>
                      <a:pt x="44379" y="10177"/>
                    </a:cubicBezTo>
                    <a:cubicBezTo>
                      <a:pt x="35212" y="13844"/>
                      <a:pt x="9271" y="27370"/>
                      <a:pt x="10624" y="41167"/>
                    </a:cubicBezTo>
                    <a:cubicBezTo>
                      <a:pt x="10894" y="44053"/>
                      <a:pt x="8790" y="46638"/>
                      <a:pt x="5875" y="46938"/>
                    </a:cubicBezTo>
                    <a:cubicBezTo>
                      <a:pt x="5664" y="46968"/>
                      <a:pt x="5514" y="46968"/>
                      <a:pt x="5334" y="46968"/>
                    </a:cubicBezTo>
                    <a:close/>
                  </a:path>
                </a:pathLst>
              </a:custGeom>
              <a:solidFill>
                <a:schemeClr val="tx2"/>
              </a:solidFill>
              <a:ln w="3004" cap="flat">
                <a:noFill/>
                <a:prstDash val="solid"/>
                <a:miter/>
              </a:ln>
            </p:spPr>
            <p:txBody>
              <a:bodyPr rtlCol="0" anchor="ctr"/>
              <a:lstStyle/>
              <a:p>
                <a:endParaRPr lang="en-GB" dirty="0"/>
              </a:p>
            </p:txBody>
          </p:sp>
        </p:grpSp>
      </p:grpSp>
      <p:grpSp>
        <p:nvGrpSpPr>
          <p:cNvPr id="593" name="Group 982">
            <a:extLst>
              <a:ext uri="{FF2B5EF4-FFF2-40B4-BE49-F238E27FC236}">
                <a16:creationId xmlns:a16="http://schemas.microsoft.com/office/drawing/2014/main" id="{E633696C-C88E-41FA-9D02-DBE1F0A8807C}"/>
              </a:ext>
            </a:extLst>
          </p:cNvPr>
          <p:cNvGrpSpPr>
            <a:grpSpLocks noChangeAspect="1"/>
          </p:cNvGrpSpPr>
          <p:nvPr/>
        </p:nvGrpSpPr>
        <p:grpSpPr>
          <a:xfrm>
            <a:off x="5013689" y="3273400"/>
            <a:ext cx="405307" cy="431997"/>
            <a:chOff x="908787" y="3311108"/>
            <a:chExt cx="470533" cy="501519"/>
          </a:xfrm>
        </p:grpSpPr>
        <p:sp>
          <p:nvSpPr>
            <p:cNvPr id="594" name="Freihandform: Form 593">
              <a:extLst>
                <a:ext uri="{FF2B5EF4-FFF2-40B4-BE49-F238E27FC236}">
                  <a16:creationId xmlns:a16="http://schemas.microsoft.com/office/drawing/2014/main" id="{8E20B178-5D83-407B-B3F7-2FFDC1CFE57C}"/>
                </a:ext>
              </a:extLst>
            </p:cNvPr>
            <p:cNvSpPr/>
            <p:nvPr/>
          </p:nvSpPr>
          <p:spPr>
            <a:xfrm>
              <a:off x="993341" y="3360246"/>
              <a:ext cx="385979" cy="452381"/>
            </a:xfrm>
            <a:custGeom>
              <a:avLst/>
              <a:gdLst>
                <a:gd name="connsiteX0" fmla="*/ 86206 w 385980"/>
                <a:gd name="connsiteY0" fmla="*/ 452382 h 452382"/>
                <a:gd name="connsiteX1" fmla="*/ 85906 w 385980"/>
                <a:gd name="connsiteY1" fmla="*/ 452382 h 452382"/>
                <a:gd name="connsiteX2" fmla="*/ 80916 w 385980"/>
                <a:gd name="connsiteY2" fmla="*/ 446821 h 452382"/>
                <a:gd name="connsiteX3" fmla="*/ 81097 w 385980"/>
                <a:gd name="connsiteY3" fmla="*/ 360013 h 452382"/>
                <a:gd name="connsiteX4" fmla="*/ 66248 w 385980"/>
                <a:gd name="connsiteY4" fmla="*/ 334403 h 452382"/>
                <a:gd name="connsiteX5" fmla="*/ 390 w 385980"/>
                <a:gd name="connsiteY5" fmla="*/ 169233 h 452382"/>
                <a:gd name="connsiteX6" fmla="*/ 300 w 385980"/>
                <a:gd name="connsiteY6" fmla="*/ 167189 h 452382"/>
                <a:gd name="connsiteX7" fmla="*/ 29 w 385980"/>
                <a:gd name="connsiteY7" fmla="*/ 155887 h 452382"/>
                <a:gd name="connsiteX8" fmla="*/ 121465 w 385980"/>
                <a:gd name="connsiteY8" fmla="*/ 2829 h 452382"/>
                <a:gd name="connsiteX9" fmla="*/ 291565 w 385980"/>
                <a:gd name="connsiteY9" fmla="*/ 36134 h 452382"/>
                <a:gd name="connsiteX10" fmla="*/ 339298 w 385980"/>
                <a:gd name="connsiteY10" fmla="*/ 133824 h 452382"/>
                <a:gd name="connsiteX11" fmla="*/ 341552 w 385980"/>
                <a:gd name="connsiteY11" fmla="*/ 144855 h 452382"/>
                <a:gd name="connsiteX12" fmla="*/ 342514 w 385980"/>
                <a:gd name="connsiteY12" fmla="*/ 184923 h 452382"/>
                <a:gd name="connsiteX13" fmla="*/ 358415 w 385980"/>
                <a:gd name="connsiteY13" fmla="*/ 207767 h 452382"/>
                <a:gd name="connsiteX14" fmla="*/ 384355 w 385980"/>
                <a:gd name="connsiteY14" fmla="*/ 245220 h 452382"/>
                <a:gd name="connsiteX15" fmla="*/ 382552 w 385980"/>
                <a:gd name="connsiteY15" fmla="*/ 265359 h 452382"/>
                <a:gd name="connsiteX16" fmla="*/ 367072 w 385980"/>
                <a:gd name="connsiteY16" fmla="*/ 274707 h 452382"/>
                <a:gd name="connsiteX17" fmla="*/ 357573 w 385980"/>
                <a:gd name="connsiteY17" fmla="*/ 274587 h 452382"/>
                <a:gd name="connsiteX18" fmla="*/ 347804 w 385980"/>
                <a:gd name="connsiteY18" fmla="*/ 274527 h 452382"/>
                <a:gd name="connsiteX19" fmla="*/ 347985 w 385980"/>
                <a:gd name="connsiteY19" fmla="*/ 310747 h 452382"/>
                <a:gd name="connsiteX20" fmla="*/ 348376 w 385980"/>
                <a:gd name="connsiteY20" fmla="*/ 349643 h 452382"/>
                <a:gd name="connsiteX21" fmla="*/ 307677 w 385980"/>
                <a:gd name="connsiteY21" fmla="*/ 390342 h 452382"/>
                <a:gd name="connsiteX22" fmla="*/ 268661 w 385980"/>
                <a:gd name="connsiteY22" fmla="*/ 390342 h 452382"/>
                <a:gd name="connsiteX23" fmla="*/ 268661 w 385980"/>
                <a:gd name="connsiteY23" fmla="*/ 447092 h 452382"/>
                <a:gd name="connsiteX24" fmla="*/ 263401 w 385980"/>
                <a:gd name="connsiteY24" fmla="*/ 452352 h 452382"/>
                <a:gd name="connsiteX25" fmla="*/ 258140 w 385980"/>
                <a:gd name="connsiteY25" fmla="*/ 447092 h 452382"/>
                <a:gd name="connsiteX26" fmla="*/ 258140 w 385980"/>
                <a:gd name="connsiteY26" fmla="*/ 385082 h 452382"/>
                <a:gd name="connsiteX27" fmla="*/ 263401 w 385980"/>
                <a:gd name="connsiteY27" fmla="*/ 379821 h 452382"/>
                <a:gd name="connsiteX28" fmla="*/ 307707 w 385980"/>
                <a:gd name="connsiteY28" fmla="*/ 379821 h 452382"/>
                <a:gd name="connsiteX29" fmla="*/ 337855 w 385980"/>
                <a:gd name="connsiteY29" fmla="*/ 349673 h 452382"/>
                <a:gd name="connsiteX30" fmla="*/ 337464 w 385980"/>
                <a:gd name="connsiteY30" fmla="*/ 310928 h 452382"/>
                <a:gd name="connsiteX31" fmla="*/ 340651 w 385980"/>
                <a:gd name="connsiteY31" fmla="*/ 265299 h 452382"/>
                <a:gd name="connsiteX32" fmla="*/ 341462 w 385980"/>
                <a:gd name="connsiteY32" fmla="*/ 264968 h 452382"/>
                <a:gd name="connsiteX33" fmla="*/ 357934 w 385980"/>
                <a:gd name="connsiteY33" fmla="*/ 264097 h 452382"/>
                <a:gd name="connsiteX34" fmla="*/ 366771 w 385980"/>
                <a:gd name="connsiteY34" fmla="*/ 264187 h 452382"/>
                <a:gd name="connsiteX35" fmla="*/ 374136 w 385980"/>
                <a:gd name="connsiteY35" fmla="*/ 259047 h 452382"/>
                <a:gd name="connsiteX36" fmla="*/ 374406 w 385980"/>
                <a:gd name="connsiteY36" fmla="*/ 248737 h 452382"/>
                <a:gd name="connsiteX37" fmla="*/ 350510 w 385980"/>
                <a:gd name="connsiteY37" fmla="*/ 214771 h 452382"/>
                <a:gd name="connsiteX38" fmla="*/ 333647 w 385980"/>
                <a:gd name="connsiteY38" fmla="*/ 179332 h 452382"/>
                <a:gd name="connsiteX39" fmla="*/ 331363 w 385980"/>
                <a:gd name="connsiteY39" fmla="*/ 147380 h 452382"/>
                <a:gd name="connsiteX40" fmla="*/ 328838 w 385980"/>
                <a:gd name="connsiteY40" fmla="*/ 134515 h 452382"/>
                <a:gd name="connsiteX41" fmla="*/ 285163 w 385980"/>
                <a:gd name="connsiteY41" fmla="*/ 44520 h 452382"/>
                <a:gd name="connsiteX42" fmla="*/ 122968 w 385980"/>
                <a:gd name="connsiteY42" fmla="*/ 13350 h 452382"/>
                <a:gd name="connsiteX43" fmla="*/ 10670 w 385980"/>
                <a:gd name="connsiteY43" fmla="*/ 155796 h 452382"/>
                <a:gd name="connsiteX44" fmla="*/ 10940 w 385980"/>
                <a:gd name="connsiteY44" fmla="*/ 166798 h 452382"/>
                <a:gd name="connsiteX45" fmla="*/ 11031 w 385980"/>
                <a:gd name="connsiteY45" fmla="*/ 168872 h 452382"/>
                <a:gd name="connsiteX46" fmla="*/ 75295 w 385980"/>
                <a:gd name="connsiteY46" fmla="*/ 328933 h 452382"/>
                <a:gd name="connsiteX47" fmla="*/ 91166 w 385980"/>
                <a:gd name="connsiteY47" fmla="*/ 356676 h 452382"/>
                <a:gd name="connsiteX48" fmla="*/ 91437 w 385980"/>
                <a:gd name="connsiteY48" fmla="*/ 357548 h 452382"/>
                <a:gd name="connsiteX49" fmla="*/ 91527 w 385980"/>
                <a:gd name="connsiteY49" fmla="*/ 447483 h 452382"/>
                <a:gd name="connsiteX50" fmla="*/ 86206 w 385980"/>
                <a:gd name="connsiteY50" fmla="*/ 452382 h 452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85980" h="452382">
                  <a:moveTo>
                    <a:pt x="86206" y="452382"/>
                  </a:moveTo>
                  <a:cubicBezTo>
                    <a:pt x="86116" y="452382"/>
                    <a:pt x="86026" y="452382"/>
                    <a:pt x="85906" y="452382"/>
                  </a:cubicBezTo>
                  <a:cubicBezTo>
                    <a:pt x="82990" y="452232"/>
                    <a:pt x="80766" y="449737"/>
                    <a:pt x="80916" y="446821"/>
                  </a:cubicBezTo>
                  <a:cubicBezTo>
                    <a:pt x="80946" y="446130"/>
                    <a:pt x="84523" y="378198"/>
                    <a:pt x="81097" y="360013"/>
                  </a:cubicBezTo>
                  <a:cubicBezTo>
                    <a:pt x="78962" y="354873"/>
                    <a:pt x="73342" y="345795"/>
                    <a:pt x="66248" y="334403"/>
                  </a:cubicBezTo>
                  <a:cubicBezTo>
                    <a:pt x="42652" y="296409"/>
                    <a:pt x="3125" y="232836"/>
                    <a:pt x="390" y="169233"/>
                  </a:cubicBezTo>
                  <a:lnTo>
                    <a:pt x="300" y="167189"/>
                  </a:lnTo>
                  <a:cubicBezTo>
                    <a:pt x="179" y="164814"/>
                    <a:pt x="149" y="164033"/>
                    <a:pt x="29" y="155887"/>
                  </a:cubicBezTo>
                  <a:cubicBezTo>
                    <a:pt x="-2165" y="15003"/>
                    <a:pt x="120233" y="2950"/>
                    <a:pt x="121465" y="2829"/>
                  </a:cubicBezTo>
                  <a:cubicBezTo>
                    <a:pt x="121976" y="2709"/>
                    <a:pt x="227090" y="-14214"/>
                    <a:pt x="291565" y="36134"/>
                  </a:cubicBezTo>
                  <a:cubicBezTo>
                    <a:pt x="320722" y="58918"/>
                    <a:pt x="336773" y="91772"/>
                    <a:pt x="339298" y="133824"/>
                  </a:cubicBezTo>
                  <a:cubicBezTo>
                    <a:pt x="339448" y="136108"/>
                    <a:pt x="340470" y="140346"/>
                    <a:pt x="341552" y="144855"/>
                  </a:cubicBezTo>
                  <a:cubicBezTo>
                    <a:pt x="344799" y="158261"/>
                    <a:pt x="348826" y="174944"/>
                    <a:pt x="342514" y="184923"/>
                  </a:cubicBezTo>
                  <a:cubicBezTo>
                    <a:pt x="340771" y="187658"/>
                    <a:pt x="352674" y="201245"/>
                    <a:pt x="358415" y="207767"/>
                  </a:cubicBezTo>
                  <a:cubicBezTo>
                    <a:pt x="368424" y="219190"/>
                    <a:pt x="379787" y="232145"/>
                    <a:pt x="384355" y="245220"/>
                  </a:cubicBezTo>
                  <a:cubicBezTo>
                    <a:pt x="387722" y="254839"/>
                    <a:pt x="385227" y="261482"/>
                    <a:pt x="382552" y="265359"/>
                  </a:cubicBezTo>
                  <a:cubicBezTo>
                    <a:pt x="377893" y="272152"/>
                    <a:pt x="369957" y="274617"/>
                    <a:pt x="367072" y="274707"/>
                  </a:cubicBezTo>
                  <a:cubicBezTo>
                    <a:pt x="364216" y="274797"/>
                    <a:pt x="360910" y="274707"/>
                    <a:pt x="357573" y="274587"/>
                  </a:cubicBezTo>
                  <a:cubicBezTo>
                    <a:pt x="354477" y="274497"/>
                    <a:pt x="350600" y="274377"/>
                    <a:pt x="347804" y="274527"/>
                  </a:cubicBezTo>
                  <a:cubicBezTo>
                    <a:pt x="347564" y="281200"/>
                    <a:pt x="347774" y="296740"/>
                    <a:pt x="347985" y="310747"/>
                  </a:cubicBezTo>
                  <a:cubicBezTo>
                    <a:pt x="348165" y="323342"/>
                    <a:pt x="348376" y="337199"/>
                    <a:pt x="348376" y="349643"/>
                  </a:cubicBezTo>
                  <a:cubicBezTo>
                    <a:pt x="348376" y="381835"/>
                    <a:pt x="321744" y="390342"/>
                    <a:pt x="307677" y="390342"/>
                  </a:cubicBezTo>
                  <a:lnTo>
                    <a:pt x="268661" y="390342"/>
                  </a:lnTo>
                  <a:lnTo>
                    <a:pt x="268661" y="447092"/>
                  </a:lnTo>
                  <a:cubicBezTo>
                    <a:pt x="268661" y="450008"/>
                    <a:pt x="266286" y="452352"/>
                    <a:pt x="263401" y="452352"/>
                  </a:cubicBezTo>
                  <a:cubicBezTo>
                    <a:pt x="260485" y="452352"/>
                    <a:pt x="258140" y="449978"/>
                    <a:pt x="258140" y="447092"/>
                  </a:cubicBezTo>
                  <a:lnTo>
                    <a:pt x="258140" y="385082"/>
                  </a:lnTo>
                  <a:cubicBezTo>
                    <a:pt x="258140" y="382166"/>
                    <a:pt x="260515" y="379821"/>
                    <a:pt x="263401" y="379821"/>
                  </a:cubicBezTo>
                  <a:lnTo>
                    <a:pt x="307707" y="379821"/>
                  </a:lnTo>
                  <a:cubicBezTo>
                    <a:pt x="310773" y="379791"/>
                    <a:pt x="337855" y="378769"/>
                    <a:pt x="337855" y="349673"/>
                  </a:cubicBezTo>
                  <a:cubicBezTo>
                    <a:pt x="337855" y="337259"/>
                    <a:pt x="337645" y="323462"/>
                    <a:pt x="337464" y="310928"/>
                  </a:cubicBezTo>
                  <a:cubicBezTo>
                    <a:pt x="336833" y="267313"/>
                    <a:pt x="336833" y="267313"/>
                    <a:pt x="340651" y="265299"/>
                  </a:cubicBezTo>
                  <a:cubicBezTo>
                    <a:pt x="340921" y="265149"/>
                    <a:pt x="341192" y="265059"/>
                    <a:pt x="341462" y="264968"/>
                  </a:cubicBezTo>
                  <a:cubicBezTo>
                    <a:pt x="345250" y="263706"/>
                    <a:pt x="351111" y="263886"/>
                    <a:pt x="357934" y="264097"/>
                  </a:cubicBezTo>
                  <a:cubicBezTo>
                    <a:pt x="361000" y="264187"/>
                    <a:pt x="364126" y="264307"/>
                    <a:pt x="366771" y="264187"/>
                  </a:cubicBezTo>
                  <a:cubicBezTo>
                    <a:pt x="367342" y="264097"/>
                    <a:pt x="371821" y="262744"/>
                    <a:pt x="374136" y="259047"/>
                  </a:cubicBezTo>
                  <a:cubicBezTo>
                    <a:pt x="375789" y="256372"/>
                    <a:pt x="375879" y="252915"/>
                    <a:pt x="374406" y="248737"/>
                  </a:cubicBezTo>
                  <a:cubicBezTo>
                    <a:pt x="370499" y="237585"/>
                    <a:pt x="359888" y="225442"/>
                    <a:pt x="350510" y="214771"/>
                  </a:cubicBezTo>
                  <a:cubicBezTo>
                    <a:pt x="337765" y="200223"/>
                    <a:pt x="327665" y="188740"/>
                    <a:pt x="333647" y="179332"/>
                  </a:cubicBezTo>
                  <a:cubicBezTo>
                    <a:pt x="337585" y="173110"/>
                    <a:pt x="333827" y="157630"/>
                    <a:pt x="331363" y="147380"/>
                  </a:cubicBezTo>
                  <a:cubicBezTo>
                    <a:pt x="330100" y="142180"/>
                    <a:pt x="329018" y="137731"/>
                    <a:pt x="328838" y="134515"/>
                  </a:cubicBezTo>
                  <a:cubicBezTo>
                    <a:pt x="326523" y="95620"/>
                    <a:pt x="311825" y="65351"/>
                    <a:pt x="285163" y="44520"/>
                  </a:cubicBezTo>
                  <a:cubicBezTo>
                    <a:pt x="225256" y="-2250"/>
                    <a:pt x="123960" y="13139"/>
                    <a:pt x="122968" y="13350"/>
                  </a:cubicBezTo>
                  <a:cubicBezTo>
                    <a:pt x="117798" y="13831"/>
                    <a:pt x="8626" y="24922"/>
                    <a:pt x="10670" y="155796"/>
                  </a:cubicBezTo>
                  <a:cubicBezTo>
                    <a:pt x="10790" y="163702"/>
                    <a:pt x="10820" y="164483"/>
                    <a:pt x="10940" y="166798"/>
                  </a:cubicBezTo>
                  <a:lnTo>
                    <a:pt x="11031" y="168872"/>
                  </a:lnTo>
                  <a:cubicBezTo>
                    <a:pt x="13646" y="229710"/>
                    <a:pt x="52241" y="291810"/>
                    <a:pt x="75295" y="328933"/>
                  </a:cubicBezTo>
                  <a:cubicBezTo>
                    <a:pt x="83171" y="341587"/>
                    <a:pt x="88852" y="350755"/>
                    <a:pt x="91166" y="356676"/>
                  </a:cubicBezTo>
                  <a:cubicBezTo>
                    <a:pt x="91286" y="356947"/>
                    <a:pt x="91377" y="357248"/>
                    <a:pt x="91437" y="357548"/>
                  </a:cubicBezTo>
                  <a:cubicBezTo>
                    <a:pt x="95284" y="376335"/>
                    <a:pt x="91677" y="444567"/>
                    <a:pt x="91527" y="447483"/>
                  </a:cubicBezTo>
                  <a:cubicBezTo>
                    <a:pt x="91316" y="450188"/>
                    <a:pt x="88972" y="452382"/>
                    <a:pt x="86206" y="452382"/>
                  </a:cubicBezTo>
                  <a:close/>
                </a:path>
              </a:pathLst>
            </a:custGeom>
            <a:solidFill>
              <a:schemeClr val="tx2"/>
            </a:solidFill>
            <a:ln w="3004" cap="flat">
              <a:noFill/>
              <a:prstDash val="solid"/>
              <a:miter/>
            </a:ln>
          </p:spPr>
          <p:txBody>
            <a:bodyPr rtlCol="0" anchor="ctr"/>
            <a:lstStyle/>
            <a:p>
              <a:endParaRPr lang="en-GB" dirty="0"/>
            </a:p>
          </p:txBody>
        </p:sp>
        <p:grpSp>
          <p:nvGrpSpPr>
            <p:cNvPr id="595" name="Grafik 19">
              <a:extLst>
                <a:ext uri="{FF2B5EF4-FFF2-40B4-BE49-F238E27FC236}">
                  <a16:creationId xmlns:a16="http://schemas.microsoft.com/office/drawing/2014/main" id="{713B1902-1488-48AF-9E7E-CF3E2D44BA5E}"/>
                </a:ext>
              </a:extLst>
            </p:cNvPr>
            <p:cNvGrpSpPr/>
            <p:nvPr/>
          </p:nvGrpSpPr>
          <p:grpSpPr>
            <a:xfrm>
              <a:off x="908787" y="3311108"/>
              <a:ext cx="426707" cy="304791"/>
              <a:chOff x="908787" y="3311108"/>
              <a:chExt cx="426708" cy="304791"/>
            </a:xfrm>
            <a:solidFill>
              <a:schemeClr val="accent1"/>
            </a:solidFill>
          </p:grpSpPr>
          <p:grpSp>
            <p:nvGrpSpPr>
              <p:cNvPr id="596" name="Grafik 19">
                <a:extLst>
                  <a:ext uri="{FF2B5EF4-FFF2-40B4-BE49-F238E27FC236}">
                    <a16:creationId xmlns:a16="http://schemas.microsoft.com/office/drawing/2014/main" id="{E1FAD850-9747-4C3E-90A4-B26CC3586E41}"/>
                  </a:ext>
                </a:extLst>
              </p:cNvPr>
              <p:cNvGrpSpPr/>
              <p:nvPr/>
            </p:nvGrpSpPr>
            <p:grpSpPr>
              <a:xfrm>
                <a:off x="1083730" y="3353433"/>
                <a:ext cx="209922" cy="218160"/>
                <a:chOff x="1083730" y="3353433"/>
                <a:chExt cx="209922" cy="218160"/>
              </a:xfrm>
              <a:solidFill>
                <a:schemeClr val="accent1"/>
              </a:solidFill>
            </p:grpSpPr>
            <p:sp>
              <p:nvSpPr>
                <p:cNvPr id="606" name="Freihandform: Form 605">
                  <a:extLst>
                    <a:ext uri="{FF2B5EF4-FFF2-40B4-BE49-F238E27FC236}">
                      <a16:creationId xmlns:a16="http://schemas.microsoft.com/office/drawing/2014/main" id="{389012C5-89D2-445A-A3B9-B849E7F3786C}"/>
                    </a:ext>
                  </a:extLst>
                </p:cNvPr>
                <p:cNvSpPr/>
                <p:nvPr/>
              </p:nvSpPr>
              <p:spPr>
                <a:xfrm>
                  <a:off x="1117494" y="3462031"/>
                  <a:ext cx="73139" cy="73132"/>
                </a:xfrm>
                <a:custGeom>
                  <a:avLst/>
                  <a:gdLst>
                    <a:gd name="connsiteX0" fmla="*/ 36570 w 73139"/>
                    <a:gd name="connsiteY0" fmla="*/ 73132 h 73132"/>
                    <a:gd name="connsiteX1" fmla="*/ 36570 w 73139"/>
                    <a:gd name="connsiteY1" fmla="*/ 73132 h 73132"/>
                    <a:gd name="connsiteX2" fmla="*/ 11231 w 73139"/>
                    <a:gd name="connsiteY2" fmla="*/ 62942 h 73132"/>
                    <a:gd name="connsiteX3" fmla="*/ 10179 w 73139"/>
                    <a:gd name="connsiteY3" fmla="*/ 11242 h 73132"/>
                    <a:gd name="connsiteX4" fmla="*/ 36570 w 73139"/>
                    <a:gd name="connsiteY4" fmla="*/ 0 h 73132"/>
                    <a:gd name="connsiteX5" fmla="*/ 61909 w 73139"/>
                    <a:gd name="connsiteY5" fmla="*/ 10190 h 73132"/>
                    <a:gd name="connsiteX6" fmla="*/ 62961 w 73139"/>
                    <a:gd name="connsiteY6" fmla="*/ 61890 h 73132"/>
                    <a:gd name="connsiteX7" fmla="*/ 36570 w 73139"/>
                    <a:gd name="connsiteY7" fmla="*/ 73132 h 73132"/>
                    <a:gd name="connsiteX8" fmla="*/ 36570 w 73139"/>
                    <a:gd name="connsiteY8" fmla="*/ 10551 h 73132"/>
                    <a:gd name="connsiteX9" fmla="*/ 17783 w 73139"/>
                    <a:gd name="connsiteY9" fmla="*/ 18546 h 73132"/>
                    <a:gd name="connsiteX10" fmla="*/ 18535 w 73139"/>
                    <a:gd name="connsiteY10" fmla="*/ 55337 h 73132"/>
                    <a:gd name="connsiteX11" fmla="*/ 36570 w 73139"/>
                    <a:gd name="connsiteY11" fmla="*/ 62582 h 73132"/>
                    <a:gd name="connsiteX12" fmla="*/ 55356 w 73139"/>
                    <a:gd name="connsiteY12" fmla="*/ 54586 h 73132"/>
                    <a:gd name="connsiteX13" fmla="*/ 54605 w 73139"/>
                    <a:gd name="connsiteY13" fmla="*/ 17794 h 73132"/>
                    <a:gd name="connsiteX14" fmla="*/ 36570 w 73139"/>
                    <a:gd name="connsiteY14" fmla="*/ 10551 h 73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139" h="73132">
                      <a:moveTo>
                        <a:pt x="36570" y="73132"/>
                      </a:moveTo>
                      <a:lnTo>
                        <a:pt x="36570" y="73132"/>
                      </a:lnTo>
                      <a:cubicBezTo>
                        <a:pt x="27072" y="73132"/>
                        <a:pt x="18084" y="69525"/>
                        <a:pt x="11231" y="62942"/>
                      </a:cubicBezTo>
                      <a:cubicBezTo>
                        <a:pt x="-3317" y="48965"/>
                        <a:pt x="-3798" y="25790"/>
                        <a:pt x="10179" y="11242"/>
                      </a:cubicBezTo>
                      <a:cubicBezTo>
                        <a:pt x="17152" y="3998"/>
                        <a:pt x="26500" y="0"/>
                        <a:pt x="36570" y="0"/>
                      </a:cubicBezTo>
                      <a:cubicBezTo>
                        <a:pt x="46068" y="0"/>
                        <a:pt x="55056" y="3607"/>
                        <a:pt x="61909" y="10190"/>
                      </a:cubicBezTo>
                      <a:cubicBezTo>
                        <a:pt x="76457" y="24167"/>
                        <a:pt x="76938" y="47342"/>
                        <a:pt x="62961" y="61890"/>
                      </a:cubicBezTo>
                      <a:cubicBezTo>
                        <a:pt x="56018" y="69134"/>
                        <a:pt x="46640" y="73132"/>
                        <a:pt x="36570" y="73132"/>
                      </a:cubicBezTo>
                      <a:close/>
                      <a:moveTo>
                        <a:pt x="36570" y="10551"/>
                      </a:moveTo>
                      <a:cubicBezTo>
                        <a:pt x="29416" y="10551"/>
                        <a:pt x="22743" y="13406"/>
                        <a:pt x="17783" y="18546"/>
                      </a:cubicBezTo>
                      <a:cubicBezTo>
                        <a:pt x="7834" y="28886"/>
                        <a:pt x="8195" y="45388"/>
                        <a:pt x="18535" y="55337"/>
                      </a:cubicBezTo>
                      <a:cubicBezTo>
                        <a:pt x="23404" y="60026"/>
                        <a:pt x="29807" y="62582"/>
                        <a:pt x="36570" y="62582"/>
                      </a:cubicBezTo>
                      <a:cubicBezTo>
                        <a:pt x="43724" y="62582"/>
                        <a:pt x="50397" y="59726"/>
                        <a:pt x="55356" y="54586"/>
                      </a:cubicBezTo>
                      <a:cubicBezTo>
                        <a:pt x="65306" y="44246"/>
                        <a:pt x="64945" y="27744"/>
                        <a:pt x="54605" y="17794"/>
                      </a:cubicBezTo>
                      <a:cubicBezTo>
                        <a:pt x="49736" y="13105"/>
                        <a:pt x="43333" y="10551"/>
                        <a:pt x="36570" y="10551"/>
                      </a:cubicBezTo>
                      <a:close/>
                    </a:path>
                  </a:pathLst>
                </a:custGeom>
                <a:solidFill>
                  <a:schemeClr val="accent1"/>
                </a:solidFill>
                <a:ln w="3004" cap="flat">
                  <a:noFill/>
                  <a:prstDash val="solid"/>
                  <a:miter/>
                </a:ln>
              </p:spPr>
              <p:txBody>
                <a:bodyPr rtlCol="0" anchor="ctr"/>
                <a:lstStyle/>
                <a:p>
                  <a:endParaRPr lang="en-GB" dirty="0"/>
                </a:p>
              </p:txBody>
            </p:sp>
            <p:sp>
              <p:nvSpPr>
                <p:cNvPr id="607" name="Freihandform: Form 606">
                  <a:extLst>
                    <a:ext uri="{FF2B5EF4-FFF2-40B4-BE49-F238E27FC236}">
                      <a16:creationId xmlns:a16="http://schemas.microsoft.com/office/drawing/2014/main" id="{787D5AFC-A849-40FD-8D15-EB6471389C3F}"/>
                    </a:ext>
                  </a:extLst>
                </p:cNvPr>
                <p:cNvSpPr/>
                <p:nvPr/>
              </p:nvSpPr>
              <p:spPr>
                <a:xfrm>
                  <a:off x="1083730" y="3516650"/>
                  <a:ext cx="53167" cy="54943"/>
                </a:xfrm>
                <a:custGeom>
                  <a:avLst/>
                  <a:gdLst>
                    <a:gd name="connsiteX0" fmla="*/ 5288 w 53167"/>
                    <a:gd name="connsiteY0" fmla="*/ 54944 h 54943"/>
                    <a:gd name="connsiteX1" fmla="*/ 1620 w 53167"/>
                    <a:gd name="connsiteY1" fmla="*/ 53471 h 54943"/>
                    <a:gd name="connsiteX2" fmla="*/ 1470 w 53167"/>
                    <a:gd name="connsiteY2" fmla="*/ 46017 h 54943"/>
                    <a:gd name="connsiteX3" fmla="*/ 44093 w 53167"/>
                    <a:gd name="connsiteY3" fmla="*/ 1620 h 54943"/>
                    <a:gd name="connsiteX4" fmla="*/ 51547 w 53167"/>
                    <a:gd name="connsiteY4" fmla="*/ 1470 h 54943"/>
                    <a:gd name="connsiteX5" fmla="*/ 51698 w 53167"/>
                    <a:gd name="connsiteY5" fmla="*/ 8925 h 54943"/>
                    <a:gd name="connsiteX6" fmla="*/ 9105 w 53167"/>
                    <a:gd name="connsiteY6" fmla="*/ 53351 h 54943"/>
                    <a:gd name="connsiteX7" fmla="*/ 5288 w 53167"/>
                    <a:gd name="connsiteY7" fmla="*/ 54944 h 54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167" h="54943">
                      <a:moveTo>
                        <a:pt x="5288" y="54944"/>
                      </a:moveTo>
                      <a:cubicBezTo>
                        <a:pt x="3965" y="54944"/>
                        <a:pt x="2642" y="54463"/>
                        <a:pt x="1620" y="53471"/>
                      </a:cubicBezTo>
                      <a:cubicBezTo>
                        <a:pt x="-484" y="51457"/>
                        <a:pt x="-544" y="48121"/>
                        <a:pt x="1470" y="46017"/>
                      </a:cubicBezTo>
                      <a:lnTo>
                        <a:pt x="44093" y="1620"/>
                      </a:lnTo>
                      <a:cubicBezTo>
                        <a:pt x="46107" y="-484"/>
                        <a:pt x="49443" y="-544"/>
                        <a:pt x="51547" y="1470"/>
                      </a:cubicBezTo>
                      <a:cubicBezTo>
                        <a:pt x="53651" y="3484"/>
                        <a:pt x="53712" y="6821"/>
                        <a:pt x="51698" y="8925"/>
                      </a:cubicBezTo>
                      <a:lnTo>
                        <a:pt x="9105" y="53351"/>
                      </a:lnTo>
                      <a:cubicBezTo>
                        <a:pt x="8083" y="54403"/>
                        <a:pt x="6670" y="54944"/>
                        <a:pt x="5288" y="54944"/>
                      </a:cubicBezTo>
                      <a:close/>
                    </a:path>
                  </a:pathLst>
                </a:custGeom>
                <a:solidFill>
                  <a:schemeClr val="accent1"/>
                </a:solidFill>
                <a:ln w="3004" cap="flat">
                  <a:noFill/>
                  <a:prstDash val="solid"/>
                  <a:miter/>
                </a:ln>
              </p:spPr>
              <p:txBody>
                <a:bodyPr rtlCol="0" anchor="ctr"/>
                <a:lstStyle/>
                <a:p>
                  <a:endParaRPr lang="en-GB" dirty="0"/>
                </a:p>
              </p:txBody>
            </p:sp>
            <p:sp>
              <p:nvSpPr>
                <p:cNvPr id="608" name="Freihandform: Form 607">
                  <a:extLst>
                    <a:ext uri="{FF2B5EF4-FFF2-40B4-BE49-F238E27FC236}">
                      <a16:creationId xmlns:a16="http://schemas.microsoft.com/office/drawing/2014/main" id="{FEC7FD5B-6B40-428E-BAA7-A904108D1984}"/>
                    </a:ext>
                  </a:extLst>
                </p:cNvPr>
                <p:cNvSpPr/>
                <p:nvPr/>
              </p:nvSpPr>
              <p:spPr>
                <a:xfrm>
                  <a:off x="1170869" y="3353433"/>
                  <a:ext cx="122782" cy="127444"/>
                </a:xfrm>
                <a:custGeom>
                  <a:avLst/>
                  <a:gdLst>
                    <a:gd name="connsiteX0" fmla="*/ 5288 w 122782"/>
                    <a:gd name="connsiteY0" fmla="*/ 127445 h 127444"/>
                    <a:gd name="connsiteX1" fmla="*/ 1620 w 122782"/>
                    <a:gd name="connsiteY1" fmla="*/ 125972 h 127444"/>
                    <a:gd name="connsiteX2" fmla="*/ 1470 w 122782"/>
                    <a:gd name="connsiteY2" fmla="*/ 118517 h 127444"/>
                    <a:gd name="connsiteX3" fmla="*/ 113708 w 122782"/>
                    <a:gd name="connsiteY3" fmla="*/ 1620 h 127444"/>
                    <a:gd name="connsiteX4" fmla="*/ 121163 w 122782"/>
                    <a:gd name="connsiteY4" fmla="*/ 1470 h 127444"/>
                    <a:gd name="connsiteX5" fmla="*/ 121313 w 122782"/>
                    <a:gd name="connsiteY5" fmla="*/ 8924 h 127444"/>
                    <a:gd name="connsiteX6" fmla="*/ 9075 w 122782"/>
                    <a:gd name="connsiteY6" fmla="*/ 125821 h 127444"/>
                    <a:gd name="connsiteX7" fmla="*/ 5288 w 122782"/>
                    <a:gd name="connsiteY7" fmla="*/ 127445 h 12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2782" h="127444">
                      <a:moveTo>
                        <a:pt x="5288" y="127445"/>
                      </a:moveTo>
                      <a:cubicBezTo>
                        <a:pt x="3965" y="127445"/>
                        <a:pt x="2642" y="126964"/>
                        <a:pt x="1620" y="125972"/>
                      </a:cubicBezTo>
                      <a:cubicBezTo>
                        <a:pt x="-484" y="123958"/>
                        <a:pt x="-544" y="120621"/>
                        <a:pt x="1470" y="118517"/>
                      </a:cubicBezTo>
                      <a:lnTo>
                        <a:pt x="113708" y="1620"/>
                      </a:lnTo>
                      <a:cubicBezTo>
                        <a:pt x="115722" y="-484"/>
                        <a:pt x="119058" y="-544"/>
                        <a:pt x="121163" y="1470"/>
                      </a:cubicBezTo>
                      <a:cubicBezTo>
                        <a:pt x="123267" y="3484"/>
                        <a:pt x="123327" y="6821"/>
                        <a:pt x="121313" y="8924"/>
                      </a:cubicBezTo>
                      <a:lnTo>
                        <a:pt x="9075" y="125821"/>
                      </a:lnTo>
                      <a:cubicBezTo>
                        <a:pt x="8053" y="126904"/>
                        <a:pt x="6670" y="127445"/>
                        <a:pt x="5288" y="127445"/>
                      </a:cubicBezTo>
                      <a:close/>
                    </a:path>
                  </a:pathLst>
                </a:custGeom>
                <a:solidFill>
                  <a:schemeClr val="accent1"/>
                </a:solidFill>
                <a:ln w="3004" cap="flat">
                  <a:noFill/>
                  <a:prstDash val="solid"/>
                  <a:miter/>
                </a:ln>
              </p:spPr>
              <p:txBody>
                <a:bodyPr rtlCol="0" anchor="ctr"/>
                <a:lstStyle/>
                <a:p>
                  <a:endParaRPr lang="en-GB" dirty="0"/>
                </a:p>
              </p:txBody>
            </p:sp>
          </p:grpSp>
          <p:sp>
            <p:nvSpPr>
              <p:cNvPr id="597" name="Freihandform: Form 596">
                <a:extLst>
                  <a:ext uri="{FF2B5EF4-FFF2-40B4-BE49-F238E27FC236}">
                    <a16:creationId xmlns:a16="http://schemas.microsoft.com/office/drawing/2014/main" id="{AF4F20C1-3480-4F15-97EC-A626B82E70AB}"/>
                  </a:ext>
                </a:extLst>
              </p:cNvPr>
              <p:cNvSpPr/>
              <p:nvPr/>
            </p:nvSpPr>
            <p:spPr>
              <a:xfrm>
                <a:off x="1041826" y="3556685"/>
                <a:ext cx="59214" cy="59215"/>
              </a:xfrm>
              <a:custGeom>
                <a:avLst/>
                <a:gdLst>
                  <a:gd name="connsiteX0" fmla="*/ 29607 w 59214"/>
                  <a:gd name="connsiteY0" fmla="*/ 59215 h 59215"/>
                  <a:gd name="connsiteX1" fmla="*/ 0 w 59214"/>
                  <a:gd name="connsiteY1" fmla="*/ 29607 h 59215"/>
                  <a:gd name="connsiteX2" fmla="*/ 29607 w 59214"/>
                  <a:gd name="connsiteY2" fmla="*/ 0 h 59215"/>
                  <a:gd name="connsiteX3" fmla="*/ 59215 w 59214"/>
                  <a:gd name="connsiteY3" fmla="*/ 29607 h 59215"/>
                  <a:gd name="connsiteX4" fmla="*/ 29607 w 59214"/>
                  <a:gd name="connsiteY4" fmla="*/ 59215 h 59215"/>
                  <a:gd name="connsiteX5" fmla="*/ 29607 w 59214"/>
                  <a:gd name="connsiteY5" fmla="*/ 10581 h 59215"/>
                  <a:gd name="connsiteX6" fmla="*/ 10550 w 59214"/>
                  <a:gd name="connsiteY6" fmla="*/ 29638 h 59215"/>
                  <a:gd name="connsiteX7" fmla="*/ 29607 w 59214"/>
                  <a:gd name="connsiteY7" fmla="*/ 48695 h 59215"/>
                  <a:gd name="connsiteX8" fmla="*/ 48664 w 59214"/>
                  <a:gd name="connsiteY8" fmla="*/ 29638 h 59215"/>
                  <a:gd name="connsiteX9" fmla="*/ 29607 w 59214"/>
                  <a:gd name="connsiteY9" fmla="*/ 10581 h 5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14" h="59215">
                    <a:moveTo>
                      <a:pt x="29607" y="59215"/>
                    </a:moveTo>
                    <a:cubicBezTo>
                      <a:pt x="13286" y="59215"/>
                      <a:pt x="0" y="45929"/>
                      <a:pt x="0" y="29607"/>
                    </a:cubicBezTo>
                    <a:cubicBezTo>
                      <a:pt x="0" y="13286"/>
                      <a:pt x="13286" y="0"/>
                      <a:pt x="29607" y="0"/>
                    </a:cubicBezTo>
                    <a:cubicBezTo>
                      <a:pt x="45929" y="0"/>
                      <a:pt x="59215" y="13286"/>
                      <a:pt x="59215" y="29607"/>
                    </a:cubicBezTo>
                    <a:cubicBezTo>
                      <a:pt x="59215" y="45929"/>
                      <a:pt x="45929" y="59215"/>
                      <a:pt x="29607" y="59215"/>
                    </a:cubicBezTo>
                    <a:close/>
                    <a:moveTo>
                      <a:pt x="29607" y="10581"/>
                    </a:moveTo>
                    <a:cubicBezTo>
                      <a:pt x="19117" y="10581"/>
                      <a:pt x="10550" y="19117"/>
                      <a:pt x="10550" y="29638"/>
                    </a:cubicBezTo>
                    <a:cubicBezTo>
                      <a:pt x="10550" y="40158"/>
                      <a:pt x="19087" y="48695"/>
                      <a:pt x="29607" y="48695"/>
                    </a:cubicBezTo>
                    <a:cubicBezTo>
                      <a:pt x="40098" y="48695"/>
                      <a:pt x="48664" y="40158"/>
                      <a:pt x="48664" y="29638"/>
                    </a:cubicBezTo>
                    <a:cubicBezTo>
                      <a:pt x="48664" y="19117"/>
                      <a:pt x="40128" y="10581"/>
                      <a:pt x="29607" y="10581"/>
                    </a:cubicBezTo>
                    <a:close/>
                  </a:path>
                </a:pathLst>
              </a:custGeom>
              <a:solidFill>
                <a:schemeClr val="accent1"/>
              </a:solidFill>
              <a:ln w="3004" cap="flat">
                <a:noFill/>
                <a:prstDash val="solid"/>
                <a:miter/>
              </a:ln>
            </p:spPr>
            <p:txBody>
              <a:bodyPr rtlCol="0" anchor="ctr"/>
              <a:lstStyle/>
              <a:p>
                <a:endParaRPr lang="en-GB" dirty="0"/>
              </a:p>
            </p:txBody>
          </p:sp>
          <p:sp>
            <p:nvSpPr>
              <p:cNvPr id="598" name="Freihandform: Form 597">
                <a:extLst>
                  <a:ext uri="{FF2B5EF4-FFF2-40B4-BE49-F238E27FC236}">
                    <a16:creationId xmlns:a16="http://schemas.microsoft.com/office/drawing/2014/main" id="{16857032-8436-4082-AD21-30150F2875A5}"/>
                  </a:ext>
                </a:extLst>
              </p:cNvPr>
              <p:cNvSpPr/>
              <p:nvPr/>
            </p:nvSpPr>
            <p:spPr>
              <a:xfrm>
                <a:off x="1109247" y="3384360"/>
                <a:ext cx="59214" cy="59215"/>
              </a:xfrm>
              <a:custGeom>
                <a:avLst/>
                <a:gdLst>
                  <a:gd name="connsiteX0" fmla="*/ 29607 w 59214"/>
                  <a:gd name="connsiteY0" fmla="*/ 59215 h 59215"/>
                  <a:gd name="connsiteX1" fmla="*/ 0 w 59214"/>
                  <a:gd name="connsiteY1" fmla="*/ 29608 h 59215"/>
                  <a:gd name="connsiteX2" fmla="*/ 29607 w 59214"/>
                  <a:gd name="connsiteY2" fmla="*/ 0 h 59215"/>
                  <a:gd name="connsiteX3" fmla="*/ 59215 w 59214"/>
                  <a:gd name="connsiteY3" fmla="*/ 29608 h 59215"/>
                  <a:gd name="connsiteX4" fmla="*/ 29607 w 59214"/>
                  <a:gd name="connsiteY4" fmla="*/ 59215 h 59215"/>
                  <a:gd name="connsiteX5" fmla="*/ 29607 w 59214"/>
                  <a:gd name="connsiteY5" fmla="*/ 10581 h 59215"/>
                  <a:gd name="connsiteX6" fmla="*/ 10550 w 59214"/>
                  <a:gd name="connsiteY6" fmla="*/ 29638 h 59215"/>
                  <a:gd name="connsiteX7" fmla="*/ 29607 w 59214"/>
                  <a:gd name="connsiteY7" fmla="*/ 48695 h 59215"/>
                  <a:gd name="connsiteX8" fmla="*/ 48664 w 59214"/>
                  <a:gd name="connsiteY8" fmla="*/ 29638 h 59215"/>
                  <a:gd name="connsiteX9" fmla="*/ 29607 w 59214"/>
                  <a:gd name="connsiteY9" fmla="*/ 10581 h 5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14" h="59215">
                    <a:moveTo>
                      <a:pt x="29607" y="59215"/>
                    </a:moveTo>
                    <a:cubicBezTo>
                      <a:pt x="13286" y="59215"/>
                      <a:pt x="0" y="45929"/>
                      <a:pt x="0" y="29608"/>
                    </a:cubicBezTo>
                    <a:cubicBezTo>
                      <a:pt x="0" y="13286"/>
                      <a:pt x="13286" y="0"/>
                      <a:pt x="29607" y="0"/>
                    </a:cubicBezTo>
                    <a:cubicBezTo>
                      <a:pt x="45929" y="0"/>
                      <a:pt x="59215" y="13286"/>
                      <a:pt x="59215" y="29608"/>
                    </a:cubicBezTo>
                    <a:cubicBezTo>
                      <a:pt x="59215" y="45929"/>
                      <a:pt x="45929" y="59215"/>
                      <a:pt x="29607" y="59215"/>
                    </a:cubicBezTo>
                    <a:close/>
                    <a:moveTo>
                      <a:pt x="29607" y="10581"/>
                    </a:moveTo>
                    <a:cubicBezTo>
                      <a:pt x="19117" y="10581"/>
                      <a:pt x="10550" y="19117"/>
                      <a:pt x="10550" y="29638"/>
                    </a:cubicBezTo>
                    <a:cubicBezTo>
                      <a:pt x="10550" y="40158"/>
                      <a:pt x="19087" y="48695"/>
                      <a:pt x="29607" y="48695"/>
                    </a:cubicBezTo>
                    <a:cubicBezTo>
                      <a:pt x="40098" y="48695"/>
                      <a:pt x="48664" y="40158"/>
                      <a:pt x="48664" y="29638"/>
                    </a:cubicBezTo>
                    <a:cubicBezTo>
                      <a:pt x="48664" y="19117"/>
                      <a:pt x="40098" y="10581"/>
                      <a:pt x="29607" y="10581"/>
                    </a:cubicBezTo>
                    <a:close/>
                  </a:path>
                </a:pathLst>
              </a:custGeom>
              <a:solidFill>
                <a:schemeClr val="accent1"/>
              </a:solidFill>
              <a:ln w="3004" cap="flat">
                <a:noFill/>
                <a:prstDash val="solid"/>
                <a:miter/>
              </a:ln>
            </p:spPr>
            <p:txBody>
              <a:bodyPr rtlCol="0" anchor="ctr"/>
              <a:lstStyle/>
              <a:p>
                <a:endParaRPr lang="en-GB" dirty="0"/>
              </a:p>
            </p:txBody>
          </p:sp>
          <p:sp>
            <p:nvSpPr>
              <p:cNvPr id="599" name="Freihandform: Form 598">
                <a:extLst>
                  <a:ext uri="{FF2B5EF4-FFF2-40B4-BE49-F238E27FC236}">
                    <a16:creationId xmlns:a16="http://schemas.microsoft.com/office/drawing/2014/main" id="{F38A2588-ACFA-4BF1-B207-98676BA1A281}"/>
                  </a:ext>
                </a:extLst>
              </p:cNvPr>
              <p:cNvSpPr/>
              <p:nvPr/>
            </p:nvSpPr>
            <p:spPr>
              <a:xfrm>
                <a:off x="1185445" y="3522117"/>
                <a:ext cx="59215" cy="59215"/>
              </a:xfrm>
              <a:custGeom>
                <a:avLst/>
                <a:gdLst>
                  <a:gd name="connsiteX0" fmla="*/ 29608 w 59215"/>
                  <a:gd name="connsiteY0" fmla="*/ 59215 h 59215"/>
                  <a:gd name="connsiteX1" fmla="*/ 0 w 59215"/>
                  <a:gd name="connsiteY1" fmla="*/ 29607 h 59215"/>
                  <a:gd name="connsiteX2" fmla="*/ 29608 w 59215"/>
                  <a:gd name="connsiteY2" fmla="*/ 0 h 59215"/>
                  <a:gd name="connsiteX3" fmla="*/ 59215 w 59215"/>
                  <a:gd name="connsiteY3" fmla="*/ 29607 h 59215"/>
                  <a:gd name="connsiteX4" fmla="*/ 29608 w 59215"/>
                  <a:gd name="connsiteY4" fmla="*/ 59215 h 59215"/>
                  <a:gd name="connsiteX5" fmla="*/ 29608 w 59215"/>
                  <a:gd name="connsiteY5" fmla="*/ 10581 h 59215"/>
                  <a:gd name="connsiteX6" fmla="*/ 10551 w 59215"/>
                  <a:gd name="connsiteY6" fmla="*/ 29638 h 59215"/>
                  <a:gd name="connsiteX7" fmla="*/ 29608 w 59215"/>
                  <a:gd name="connsiteY7" fmla="*/ 48695 h 59215"/>
                  <a:gd name="connsiteX8" fmla="*/ 48665 w 59215"/>
                  <a:gd name="connsiteY8" fmla="*/ 29638 h 59215"/>
                  <a:gd name="connsiteX9" fmla="*/ 29608 w 59215"/>
                  <a:gd name="connsiteY9" fmla="*/ 10581 h 5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15" h="59215">
                    <a:moveTo>
                      <a:pt x="29608" y="59215"/>
                    </a:moveTo>
                    <a:cubicBezTo>
                      <a:pt x="13286" y="59215"/>
                      <a:pt x="0" y="45929"/>
                      <a:pt x="0" y="29607"/>
                    </a:cubicBezTo>
                    <a:cubicBezTo>
                      <a:pt x="0" y="13286"/>
                      <a:pt x="13286" y="0"/>
                      <a:pt x="29608" y="0"/>
                    </a:cubicBezTo>
                    <a:cubicBezTo>
                      <a:pt x="45929" y="0"/>
                      <a:pt x="59215" y="13286"/>
                      <a:pt x="59215" y="29607"/>
                    </a:cubicBezTo>
                    <a:cubicBezTo>
                      <a:pt x="59215" y="45929"/>
                      <a:pt x="45929" y="59215"/>
                      <a:pt x="29608" y="59215"/>
                    </a:cubicBezTo>
                    <a:close/>
                    <a:moveTo>
                      <a:pt x="29608" y="10581"/>
                    </a:moveTo>
                    <a:cubicBezTo>
                      <a:pt x="19117" y="10581"/>
                      <a:pt x="10551" y="19117"/>
                      <a:pt x="10551" y="29638"/>
                    </a:cubicBezTo>
                    <a:cubicBezTo>
                      <a:pt x="10551" y="40128"/>
                      <a:pt x="19087" y="48695"/>
                      <a:pt x="29608" y="48695"/>
                    </a:cubicBezTo>
                    <a:cubicBezTo>
                      <a:pt x="40098" y="48695"/>
                      <a:pt x="48665" y="40158"/>
                      <a:pt x="48665" y="29638"/>
                    </a:cubicBezTo>
                    <a:cubicBezTo>
                      <a:pt x="48665" y="19117"/>
                      <a:pt x="40098" y="10581"/>
                      <a:pt x="29608" y="10581"/>
                    </a:cubicBezTo>
                    <a:close/>
                  </a:path>
                </a:pathLst>
              </a:custGeom>
              <a:solidFill>
                <a:schemeClr val="accent1"/>
              </a:solidFill>
              <a:ln w="3004" cap="flat">
                <a:noFill/>
                <a:prstDash val="solid"/>
                <a:miter/>
              </a:ln>
            </p:spPr>
            <p:txBody>
              <a:bodyPr rtlCol="0" anchor="ctr"/>
              <a:lstStyle/>
              <a:p>
                <a:endParaRPr lang="en-GB" dirty="0"/>
              </a:p>
            </p:txBody>
          </p:sp>
          <p:sp>
            <p:nvSpPr>
              <p:cNvPr id="600" name="Freihandform: Form 599">
                <a:extLst>
                  <a:ext uri="{FF2B5EF4-FFF2-40B4-BE49-F238E27FC236}">
                    <a16:creationId xmlns:a16="http://schemas.microsoft.com/office/drawing/2014/main" id="{03A19344-76B7-4139-81E5-EE0ED49092DA}"/>
                  </a:ext>
                </a:extLst>
              </p:cNvPr>
              <p:cNvSpPr/>
              <p:nvPr/>
            </p:nvSpPr>
            <p:spPr>
              <a:xfrm>
                <a:off x="1276281" y="3311108"/>
                <a:ext cx="59214" cy="59215"/>
              </a:xfrm>
              <a:custGeom>
                <a:avLst/>
                <a:gdLst>
                  <a:gd name="connsiteX0" fmla="*/ 29608 w 59214"/>
                  <a:gd name="connsiteY0" fmla="*/ 59215 h 59215"/>
                  <a:gd name="connsiteX1" fmla="*/ 0 w 59214"/>
                  <a:gd name="connsiteY1" fmla="*/ 29608 h 59215"/>
                  <a:gd name="connsiteX2" fmla="*/ 29608 w 59214"/>
                  <a:gd name="connsiteY2" fmla="*/ 0 h 59215"/>
                  <a:gd name="connsiteX3" fmla="*/ 59215 w 59214"/>
                  <a:gd name="connsiteY3" fmla="*/ 29608 h 59215"/>
                  <a:gd name="connsiteX4" fmla="*/ 29608 w 59214"/>
                  <a:gd name="connsiteY4" fmla="*/ 59215 h 59215"/>
                  <a:gd name="connsiteX5" fmla="*/ 29608 w 59214"/>
                  <a:gd name="connsiteY5" fmla="*/ 10581 h 59215"/>
                  <a:gd name="connsiteX6" fmla="*/ 10551 w 59214"/>
                  <a:gd name="connsiteY6" fmla="*/ 29638 h 59215"/>
                  <a:gd name="connsiteX7" fmla="*/ 29608 w 59214"/>
                  <a:gd name="connsiteY7" fmla="*/ 48695 h 59215"/>
                  <a:gd name="connsiteX8" fmla="*/ 48665 w 59214"/>
                  <a:gd name="connsiteY8" fmla="*/ 29638 h 59215"/>
                  <a:gd name="connsiteX9" fmla="*/ 29608 w 59214"/>
                  <a:gd name="connsiteY9" fmla="*/ 10581 h 59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14" h="59215">
                    <a:moveTo>
                      <a:pt x="29608" y="59215"/>
                    </a:moveTo>
                    <a:cubicBezTo>
                      <a:pt x="13286" y="59215"/>
                      <a:pt x="0" y="45929"/>
                      <a:pt x="0" y="29608"/>
                    </a:cubicBezTo>
                    <a:cubicBezTo>
                      <a:pt x="0" y="13286"/>
                      <a:pt x="13286" y="0"/>
                      <a:pt x="29608" y="0"/>
                    </a:cubicBezTo>
                    <a:cubicBezTo>
                      <a:pt x="45929" y="0"/>
                      <a:pt x="59215" y="13286"/>
                      <a:pt x="59215" y="29608"/>
                    </a:cubicBezTo>
                    <a:cubicBezTo>
                      <a:pt x="59215" y="45929"/>
                      <a:pt x="45929" y="59215"/>
                      <a:pt x="29608" y="59215"/>
                    </a:cubicBezTo>
                    <a:close/>
                    <a:moveTo>
                      <a:pt x="29608" y="10581"/>
                    </a:moveTo>
                    <a:cubicBezTo>
                      <a:pt x="19117" y="10581"/>
                      <a:pt x="10551" y="19117"/>
                      <a:pt x="10551" y="29638"/>
                    </a:cubicBezTo>
                    <a:cubicBezTo>
                      <a:pt x="10551" y="40158"/>
                      <a:pt x="19087" y="48695"/>
                      <a:pt x="29608" y="48695"/>
                    </a:cubicBezTo>
                    <a:cubicBezTo>
                      <a:pt x="40098" y="48695"/>
                      <a:pt x="48665" y="40158"/>
                      <a:pt x="48665" y="29638"/>
                    </a:cubicBezTo>
                    <a:cubicBezTo>
                      <a:pt x="48665" y="19117"/>
                      <a:pt x="40128" y="10581"/>
                      <a:pt x="29608" y="10581"/>
                    </a:cubicBezTo>
                    <a:close/>
                  </a:path>
                </a:pathLst>
              </a:custGeom>
              <a:solidFill>
                <a:schemeClr val="accent1"/>
              </a:solidFill>
              <a:ln w="3004" cap="flat">
                <a:noFill/>
                <a:prstDash val="solid"/>
                <a:miter/>
              </a:ln>
            </p:spPr>
            <p:txBody>
              <a:bodyPr rtlCol="0" anchor="ctr"/>
              <a:lstStyle/>
              <a:p>
                <a:endParaRPr lang="en-GB" dirty="0"/>
              </a:p>
            </p:txBody>
          </p:sp>
          <p:sp>
            <p:nvSpPr>
              <p:cNvPr id="601" name="Freihandform: Form 600">
                <a:extLst>
                  <a:ext uri="{FF2B5EF4-FFF2-40B4-BE49-F238E27FC236}">
                    <a16:creationId xmlns:a16="http://schemas.microsoft.com/office/drawing/2014/main" id="{5A8BE8D2-23CD-4416-81AF-4BC2C50D82A5}"/>
                  </a:ext>
                </a:extLst>
              </p:cNvPr>
              <p:cNvSpPr/>
              <p:nvPr/>
            </p:nvSpPr>
            <p:spPr>
              <a:xfrm>
                <a:off x="1173743" y="3512490"/>
                <a:ext cx="28723" cy="26340"/>
              </a:xfrm>
              <a:custGeom>
                <a:avLst/>
                <a:gdLst>
                  <a:gd name="connsiteX0" fmla="*/ 23425 w 28723"/>
                  <a:gd name="connsiteY0" fmla="*/ 26340 h 26340"/>
                  <a:gd name="connsiteX1" fmla="*/ 19968 w 28723"/>
                  <a:gd name="connsiteY1" fmla="*/ 25048 h 26340"/>
                  <a:gd name="connsiteX2" fmla="*/ 1813 w 28723"/>
                  <a:gd name="connsiteY2" fmla="*/ 9237 h 26340"/>
                  <a:gd name="connsiteX3" fmla="*/ 1302 w 28723"/>
                  <a:gd name="connsiteY3" fmla="*/ 1813 h 26340"/>
                  <a:gd name="connsiteX4" fmla="*/ 8756 w 28723"/>
                  <a:gd name="connsiteY4" fmla="*/ 1302 h 26340"/>
                  <a:gd name="connsiteX5" fmla="*/ 26911 w 28723"/>
                  <a:gd name="connsiteY5" fmla="*/ 17112 h 26340"/>
                  <a:gd name="connsiteX6" fmla="*/ 27422 w 28723"/>
                  <a:gd name="connsiteY6" fmla="*/ 24537 h 26340"/>
                  <a:gd name="connsiteX7" fmla="*/ 23425 w 28723"/>
                  <a:gd name="connsiteY7" fmla="*/ 26340 h 26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23" h="26340">
                    <a:moveTo>
                      <a:pt x="23425" y="26340"/>
                    </a:moveTo>
                    <a:cubicBezTo>
                      <a:pt x="22192" y="26340"/>
                      <a:pt x="20960" y="25919"/>
                      <a:pt x="19968" y="25048"/>
                    </a:cubicBezTo>
                    <a:lnTo>
                      <a:pt x="1813" y="9237"/>
                    </a:lnTo>
                    <a:cubicBezTo>
                      <a:pt x="-382" y="7313"/>
                      <a:pt x="-622" y="3977"/>
                      <a:pt x="1302" y="1813"/>
                    </a:cubicBezTo>
                    <a:cubicBezTo>
                      <a:pt x="3225" y="-382"/>
                      <a:pt x="6532" y="-622"/>
                      <a:pt x="8756" y="1302"/>
                    </a:cubicBezTo>
                    <a:lnTo>
                      <a:pt x="26911" y="17112"/>
                    </a:lnTo>
                    <a:cubicBezTo>
                      <a:pt x="29106" y="19036"/>
                      <a:pt x="29346" y="22372"/>
                      <a:pt x="27422" y="24537"/>
                    </a:cubicBezTo>
                    <a:cubicBezTo>
                      <a:pt x="26370" y="25739"/>
                      <a:pt x="24897" y="26340"/>
                      <a:pt x="23425" y="26340"/>
                    </a:cubicBezTo>
                    <a:close/>
                  </a:path>
                </a:pathLst>
              </a:custGeom>
              <a:solidFill>
                <a:schemeClr val="accent1"/>
              </a:solidFill>
              <a:ln w="3004" cap="flat">
                <a:noFill/>
                <a:prstDash val="solid"/>
                <a:miter/>
              </a:ln>
            </p:spPr>
            <p:txBody>
              <a:bodyPr rtlCol="0" anchor="ctr"/>
              <a:lstStyle/>
              <a:p>
                <a:endParaRPr lang="en-GB" dirty="0"/>
              </a:p>
            </p:txBody>
          </p:sp>
          <p:sp>
            <p:nvSpPr>
              <p:cNvPr id="602" name="Freihandform: Form 601">
                <a:extLst>
                  <a:ext uri="{FF2B5EF4-FFF2-40B4-BE49-F238E27FC236}">
                    <a16:creationId xmlns:a16="http://schemas.microsoft.com/office/drawing/2014/main" id="{8C6FD172-90AF-49C8-8B53-D1FDBA4AFFDA}"/>
                  </a:ext>
                </a:extLst>
              </p:cNvPr>
              <p:cNvSpPr/>
              <p:nvPr/>
            </p:nvSpPr>
            <p:spPr>
              <a:xfrm>
                <a:off x="1139143" y="3432749"/>
                <a:ext cx="14059" cy="38089"/>
              </a:xfrm>
              <a:custGeom>
                <a:avLst/>
                <a:gdLst>
                  <a:gd name="connsiteX0" fmla="*/ 8788 w 14059"/>
                  <a:gd name="connsiteY0" fmla="*/ 38089 h 38089"/>
                  <a:gd name="connsiteX1" fmla="*/ 3558 w 14059"/>
                  <a:gd name="connsiteY1" fmla="*/ 33490 h 38089"/>
                  <a:gd name="connsiteX2" fmla="*/ 41 w 14059"/>
                  <a:gd name="connsiteY2" fmla="*/ 5927 h 38089"/>
                  <a:gd name="connsiteX3" fmla="*/ 4610 w 14059"/>
                  <a:gd name="connsiteY3" fmla="*/ 36 h 38089"/>
                  <a:gd name="connsiteX4" fmla="*/ 10502 w 14059"/>
                  <a:gd name="connsiteY4" fmla="*/ 4604 h 38089"/>
                  <a:gd name="connsiteX5" fmla="*/ 14018 w 14059"/>
                  <a:gd name="connsiteY5" fmla="*/ 32168 h 38089"/>
                  <a:gd name="connsiteX6" fmla="*/ 9450 w 14059"/>
                  <a:gd name="connsiteY6" fmla="*/ 38059 h 38089"/>
                  <a:gd name="connsiteX7" fmla="*/ 8788 w 14059"/>
                  <a:gd name="connsiteY7" fmla="*/ 38089 h 38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059" h="38089">
                    <a:moveTo>
                      <a:pt x="8788" y="38089"/>
                    </a:moveTo>
                    <a:cubicBezTo>
                      <a:pt x="6173" y="38089"/>
                      <a:pt x="3889" y="36135"/>
                      <a:pt x="3558" y="33490"/>
                    </a:cubicBezTo>
                    <a:lnTo>
                      <a:pt x="41" y="5927"/>
                    </a:lnTo>
                    <a:cubicBezTo>
                      <a:pt x="-319" y="3041"/>
                      <a:pt x="1725" y="396"/>
                      <a:pt x="4610" y="36"/>
                    </a:cubicBezTo>
                    <a:cubicBezTo>
                      <a:pt x="7466" y="-295"/>
                      <a:pt x="10141" y="1719"/>
                      <a:pt x="10502" y="4604"/>
                    </a:cubicBezTo>
                    <a:lnTo>
                      <a:pt x="14018" y="32168"/>
                    </a:lnTo>
                    <a:cubicBezTo>
                      <a:pt x="14379" y="35053"/>
                      <a:pt x="12335" y="37699"/>
                      <a:pt x="9450" y="38059"/>
                    </a:cubicBezTo>
                    <a:cubicBezTo>
                      <a:pt x="9239" y="38089"/>
                      <a:pt x="8999" y="38089"/>
                      <a:pt x="8788" y="38089"/>
                    </a:cubicBezTo>
                    <a:close/>
                  </a:path>
                </a:pathLst>
              </a:custGeom>
              <a:solidFill>
                <a:schemeClr val="accent1"/>
              </a:solidFill>
              <a:ln w="3004" cap="flat">
                <a:noFill/>
                <a:prstDash val="solid"/>
                <a:miter/>
              </a:ln>
            </p:spPr>
            <p:txBody>
              <a:bodyPr rtlCol="0" anchor="ctr"/>
              <a:lstStyle/>
              <a:p>
                <a:endParaRPr lang="en-GB" dirty="0"/>
              </a:p>
            </p:txBody>
          </p:sp>
          <p:grpSp>
            <p:nvGrpSpPr>
              <p:cNvPr id="603" name="Grafik 19">
                <a:extLst>
                  <a:ext uri="{FF2B5EF4-FFF2-40B4-BE49-F238E27FC236}">
                    <a16:creationId xmlns:a16="http://schemas.microsoft.com/office/drawing/2014/main" id="{0F380002-DD2A-4D9F-BF8F-027151D02376}"/>
                  </a:ext>
                </a:extLst>
              </p:cNvPr>
              <p:cNvGrpSpPr/>
              <p:nvPr/>
            </p:nvGrpSpPr>
            <p:grpSpPr>
              <a:xfrm>
                <a:off x="908787" y="3469515"/>
                <a:ext cx="213925" cy="59184"/>
                <a:chOff x="908787" y="3469515"/>
                <a:chExt cx="213925" cy="59184"/>
              </a:xfrm>
              <a:solidFill>
                <a:schemeClr val="accent1"/>
              </a:solidFill>
            </p:grpSpPr>
            <p:sp>
              <p:nvSpPr>
                <p:cNvPr id="604" name="Freihandform: Form 603">
                  <a:extLst>
                    <a:ext uri="{FF2B5EF4-FFF2-40B4-BE49-F238E27FC236}">
                      <a16:creationId xmlns:a16="http://schemas.microsoft.com/office/drawing/2014/main" id="{9B08081A-5EBC-47D4-94AA-ABDF5A6E56B9}"/>
                    </a:ext>
                  </a:extLst>
                </p:cNvPr>
                <p:cNvSpPr/>
                <p:nvPr/>
              </p:nvSpPr>
              <p:spPr>
                <a:xfrm>
                  <a:off x="908787" y="3469515"/>
                  <a:ext cx="59214" cy="59184"/>
                </a:xfrm>
                <a:custGeom>
                  <a:avLst/>
                  <a:gdLst>
                    <a:gd name="connsiteX0" fmla="*/ 29607 w 59214"/>
                    <a:gd name="connsiteY0" fmla="*/ 59185 h 59184"/>
                    <a:gd name="connsiteX1" fmla="*/ 0 w 59214"/>
                    <a:gd name="connsiteY1" fmla="*/ 29607 h 59184"/>
                    <a:gd name="connsiteX2" fmla="*/ 29607 w 59214"/>
                    <a:gd name="connsiteY2" fmla="*/ 0 h 59184"/>
                    <a:gd name="connsiteX3" fmla="*/ 59215 w 59214"/>
                    <a:gd name="connsiteY3" fmla="*/ 29607 h 59184"/>
                    <a:gd name="connsiteX4" fmla="*/ 29607 w 59214"/>
                    <a:gd name="connsiteY4" fmla="*/ 59185 h 59184"/>
                    <a:gd name="connsiteX5" fmla="*/ 29607 w 59214"/>
                    <a:gd name="connsiteY5" fmla="*/ 10551 h 59184"/>
                    <a:gd name="connsiteX6" fmla="*/ 10550 w 59214"/>
                    <a:gd name="connsiteY6" fmla="*/ 29607 h 59184"/>
                    <a:gd name="connsiteX7" fmla="*/ 29607 w 59214"/>
                    <a:gd name="connsiteY7" fmla="*/ 48634 h 59184"/>
                    <a:gd name="connsiteX8" fmla="*/ 48664 w 59214"/>
                    <a:gd name="connsiteY8" fmla="*/ 29607 h 59184"/>
                    <a:gd name="connsiteX9" fmla="*/ 29607 w 59214"/>
                    <a:gd name="connsiteY9" fmla="*/ 10551 h 5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214" h="59184">
                      <a:moveTo>
                        <a:pt x="29607" y="59185"/>
                      </a:moveTo>
                      <a:cubicBezTo>
                        <a:pt x="13286" y="59185"/>
                        <a:pt x="0" y="45899"/>
                        <a:pt x="0" y="29607"/>
                      </a:cubicBezTo>
                      <a:cubicBezTo>
                        <a:pt x="0" y="13286"/>
                        <a:pt x="13286" y="0"/>
                        <a:pt x="29607" y="0"/>
                      </a:cubicBezTo>
                      <a:cubicBezTo>
                        <a:pt x="45929" y="0"/>
                        <a:pt x="59215" y="13286"/>
                        <a:pt x="59215" y="29607"/>
                      </a:cubicBezTo>
                      <a:cubicBezTo>
                        <a:pt x="59185" y="45929"/>
                        <a:pt x="45929" y="59185"/>
                        <a:pt x="29607" y="59185"/>
                      </a:cubicBezTo>
                      <a:close/>
                      <a:moveTo>
                        <a:pt x="29607" y="10551"/>
                      </a:moveTo>
                      <a:cubicBezTo>
                        <a:pt x="19117" y="10551"/>
                        <a:pt x="10550" y="19087"/>
                        <a:pt x="10550" y="29607"/>
                      </a:cubicBezTo>
                      <a:cubicBezTo>
                        <a:pt x="10550" y="40098"/>
                        <a:pt x="19087" y="48634"/>
                        <a:pt x="29607" y="48634"/>
                      </a:cubicBezTo>
                      <a:cubicBezTo>
                        <a:pt x="40128" y="48634"/>
                        <a:pt x="48664" y="40098"/>
                        <a:pt x="48664" y="29607"/>
                      </a:cubicBezTo>
                      <a:cubicBezTo>
                        <a:pt x="48634" y="19087"/>
                        <a:pt x="40098" y="10551"/>
                        <a:pt x="29607" y="10551"/>
                      </a:cubicBezTo>
                      <a:close/>
                    </a:path>
                  </a:pathLst>
                </a:custGeom>
                <a:solidFill>
                  <a:schemeClr val="accent1"/>
                </a:solidFill>
                <a:ln w="3004" cap="flat">
                  <a:noFill/>
                  <a:prstDash val="solid"/>
                  <a:miter/>
                </a:ln>
              </p:spPr>
              <p:txBody>
                <a:bodyPr rtlCol="0" anchor="ctr"/>
                <a:lstStyle/>
                <a:p>
                  <a:endParaRPr lang="en-GB" dirty="0"/>
                </a:p>
              </p:txBody>
            </p:sp>
            <p:sp>
              <p:nvSpPr>
                <p:cNvPr id="605" name="Freihandform: Form 604">
                  <a:extLst>
                    <a:ext uri="{FF2B5EF4-FFF2-40B4-BE49-F238E27FC236}">
                      <a16:creationId xmlns:a16="http://schemas.microsoft.com/office/drawing/2014/main" id="{1CAD0179-51FD-427F-B2BA-79E0ED11CC88}"/>
                    </a:ext>
                  </a:extLst>
                </p:cNvPr>
                <p:cNvSpPr/>
                <p:nvPr/>
              </p:nvSpPr>
              <p:spPr>
                <a:xfrm>
                  <a:off x="957452" y="3493893"/>
                  <a:ext cx="165260" cy="10520"/>
                </a:xfrm>
                <a:custGeom>
                  <a:avLst/>
                  <a:gdLst>
                    <a:gd name="connsiteX0" fmla="*/ 160001 w 165260"/>
                    <a:gd name="connsiteY0" fmla="*/ 10520 h 10520"/>
                    <a:gd name="connsiteX1" fmla="*/ 5260 w 165260"/>
                    <a:gd name="connsiteY1" fmla="*/ 10520 h 10520"/>
                    <a:gd name="connsiteX2" fmla="*/ 0 w 165260"/>
                    <a:gd name="connsiteY2" fmla="*/ 5260 h 10520"/>
                    <a:gd name="connsiteX3" fmla="*/ 5260 w 165260"/>
                    <a:gd name="connsiteY3" fmla="*/ 0 h 10520"/>
                    <a:gd name="connsiteX4" fmla="*/ 160001 w 165260"/>
                    <a:gd name="connsiteY4" fmla="*/ 0 h 10520"/>
                    <a:gd name="connsiteX5" fmla="*/ 165261 w 165260"/>
                    <a:gd name="connsiteY5" fmla="*/ 5260 h 10520"/>
                    <a:gd name="connsiteX6" fmla="*/ 160001 w 165260"/>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260" h="10520">
                      <a:moveTo>
                        <a:pt x="160001" y="10520"/>
                      </a:moveTo>
                      <a:lnTo>
                        <a:pt x="5260" y="10520"/>
                      </a:lnTo>
                      <a:cubicBezTo>
                        <a:pt x="2345" y="10520"/>
                        <a:pt x="0" y="8146"/>
                        <a:pt x="0" y="5260"/>
                      </a:cubicBezTo>
                      <a:cubicBezTo>
                        <a:pt x="0" y="2345"/>
                        <a:pt x="2375" y="0"/>
                        <a:pt x="5260" y="0"/>
                      </a:cubicBezTo>
                      <a:lnTo>
                        <a:pt x="160001" y="0"/>
                      </a:lnTo>
                      <a:cubicBezTo>
                        <a:pt x="162916" y="0"/>
                        <a:pt x="165261" y="2375"/>
                        <a:pt x="165261" y="5260"/>
                      </a:cubicBezTo>
                      <a:cubicBezTo>
                        <a:pt x="165261" y="8146"/>
                        <a:pt x="162916" y="10520"/>
                        <a:pt x="160001" y="10520"/>
                      </a:cubicBezTo>
                      <a:close/>
                    </a:path>
                  </a:pathLst>
                </a:custGeom>
                <a:solidFill>
                  <a:schemeClr val="accent1"/>
                </a:solidFill>
                <a:ln w="3004" cap="flat">
                  <a:noFill/>
                  <a:prstDash val="solid"/>
                  <a:miter/>
                </a:ln>
              </p:spPr>
              <p:txBody>
                <a:bodyPr rtlCol="0" anchor="ctr"/>
                <a:lstStyle/>
                <a:p>
                  <a:endParaRPr lang="en-GB" dirty="0"/>
                </a:p>
              </p:txBody>
            </p:sp>
          </p:grpSp>
        </p:grpSp>
      </p:grpSp>
      <p:grpSp>
        <p:nvGrpSpPr>
          <p:cNvPr id="25" name="Group 24">
            <a:extLst>
              <a:ext uri="{FF2B5EF4-FFF2-40B4-BE49-F238E27FC236}">
                <a16:creationId xmlns:a16="http://schemas.microsoft.com/office/drawing/2014/main" id="{24B2D8D5-5901-01C1-9045-BDF958C50AFF}"/>
              </a:ext>
            </a:extLst>
          </p:cNvPr>
          <p:cNvGrpSpPr/>
          <p:nvPr/>
        </p:nvGrpSpPr>
        <p:grpSpPr>
          <a:xfrm>
            <a:off x="5990680" y="1626717"/>
            <a:ext cx="542194" cy="432000"/>
            <a:chOff x="6038067" y="1626717"/>
            <a:chExt cx="542194" cy="432000"/>
          </a:xfrm>
        </p:grpSpPr>
        <p:grpSp>
          <p:nvGrpSpPr>
            <p:cNvPr id="610" name="Grafik 19">
              <a:extLst>
                <a:ext uri="{FF2B5EF4-FFF2-40B4-BE49-F238E27FC236}">
                  <a16:creationId xmlns:a16="http://schemas.microsoft.com/office/drawing/2014/main" id="{A288B08F-CA83-4833-96AD-3F56A58B4D1A}"/>
                </a:ext>
              </a:extLst>
            </p:cNvPr>
            <p:cNvGrpSpPr/>
            <p:nvPr/>
          </p:nvGrpSpPr>
          <p:grpSpPr>
            <a:xfrm>
              <a:off x="6217630" y="1626717"/>
              <a:ext cx="362631" cy="432000"/>
              <a:chOff x="1855100" y="1670152"/>
              <a:chExt cx="369778" cy="440514"/>
            </a:xfrm>
            <a:solidFill>
              <a:schemeClr val="tx2"/>
            </a:solidFill>
          </p:grpSpPr>
          <p:sp>
            <p:nvSpPr>
              <p:cNvPr id="622" name="Freihandform: Form 621">
                <a:extLst>
                  <a:ext uri="{FF2B5EF4-FFF2-40B4-BE49-F238E27FC236}">
                    <a16:creationId xmlns:a16="http://schemas.microsoft.com/office/drawing/2014/main" id="{F4287A5E-8490-4BCE-BFCF-B638FD38FA8E}"/>
                  </a:ext>
                </a:extLst>
              </p:cNvPr>
              <p:cNvSpPr/>
              <p:nvPr/>
            </p:nvSpPr>
            <p:spPr>
              <a:xfrm>
                <a:off x="1855100" y="1866679"/>
                <a:ext cx="84884" cy="243988"/>
              </a:xfrm>
              <a:custGeom>
                <a:avLst/>
                <a:gdLst>
                  <a:gd name="connsiteX0" fmla="*/ 77956 w 84884"/>
                  <a:gd name="connsiteY0" fmla="*/ 243988 h 243988"/>
                  <a:gd name="connsiteX1" fmla="*/ 77685 w 84884"/>
                  <a:gd name="connsiteY1" fmla="*/ 243988 h 243988"/>
                  <a:gd name="connsiteX2" fmla="*/ 72696 w 84884"/>
                  <a:gd name="connsiteY2" fmla="*/ 238428 h 243988"/>
                  <a:gd name="connsiteX3" fmla="*/ 72876 w 84884"/>
                  <a:gd name="connsiteY3" fmla="*/ 154024 h 243988"/>
                  <a:gd name="connsiteX4" fmla="*/ 58448 w 84884"/>
                  <a:gd name="connsiteY4" fmla="*/ 129135 h 243988"/>
                  <a:gd name="connsiteX5" fmla="*/ 165 w 84884"/>
                  <a:gd name="connsiteY5" fmla="*/ 6557 h 243988"/>
                  <a:gd name="connsiteX6" fmla="*/ 3982 w 84884"/>
                  <a:gd name="connsiteY6" fmla="*/ 155 h 243988"/>
                  <a:gd name="connsiteX7" fmla="*/ 10385 w 84884"/>
                  <a:gd name="connsiteY7" fmla="*/ 3972 h 243988"/>
                  <a:gd name="connsiteX8" fmla="*/ 67405 w 84884"/>
                  <a:gd name="connsiteY8" fmla="*/ 123545 h 243988"/>
                  <a:gd name="connsiteX9" fmla="*/ 82886 w 84884"/>
                  <a:gd name="connsiteY9" fmla="*/ 150567 h 243988"/>
                  <a:gd name="connsiteX10" fmla="*/ 83156 w 84884"/>
                  <a:gd name="connsiteY10" fmla="*/ 151439 h 243988"/>
                  <a:gd name="connsiteX11" fmla="*/ 83246 w 84884"/>
                  <a:gd name="connsiteY11" fmla="*/ 238999 h 243988"/>
                  <a:gd name="connsiteX12" fmla="*/ 77956 w 84884"/>
                  <a:gd name="connsiteY12" fmla="*/ 243988 h 24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884" h="243988">
                    <a:moveTo>
                      <a:pt x="77956" y="243988"/>
                    </a:moveTo>
                    <a:cubicBezTo>
                      <a:pt x="77866" y="243988"/>
                      <a:pt x="77776" y="243988"/>
                      <a:pt x="77685" y="243988"/>
                    </a:cubicBezTo>
                    <a:cubicBezTo>
                      <a:pt x="74770" y="243838"/>
                      <a:pt x="72545" y="241343"/>
                      <a:pt x="72696" y="238428"/>
                    </a:cubicBezTo>
                    <a:cubicBezTo>
                      <a:pt x="72726" y="237766"/>
                      <a:pt x="76213" y="171698"/>
                      <a:pt x="72876" y="154024"/>
                    </a:cubicBezTo>
                    <a:cubicBezTo>
                      <a:pt x="70802" y="149034"/>
                      <a:pt x="65331" y="140227"/>
                      <a:pt x="58448" y="129135"/>
                    </a:cubicBezTo>
                    <a:cubicBezTo>
                      <a:pt x="40082" y="99588"/>
                      <a:pt x="12339" y="54951"/>
                      <a:pt x="165" y="6557"/>
                    </a:cubicBezTo>
                    <a:cubicBezTo>
                      <a:pt x="-557" y="3732"/>
                      <a:pt x="1157" y="876"/>
                      <a:pt x="3982" y="155"/>
                    </a:cubicBezTo>
                    <a:cubicBezTo>
                      <a:pt x="6808" y="-536"/>
                      <a:pt x="9663" y="1147"/>
                      <a:pt x="10385" y="3972"/>
                    </a:cubicBezTo>
                    <a:cubicBezTo>
                      <a:pt x="22168" y="50773"/>
                      <a:pt x="49401" y="94568"/>
                      <a:pt x="67405" y="123545"/>
                    </a:cubicBezTo>
                    <a:cubicBezTo>
                      <a:pt x="75070" y="135868"/>
                      <a:pt x="80601" y="144766"/>
                      <a:pt x="82886" y="150567"/>
                    </a:cubicBezTo>
                    <a:cubicBezTo>
                      <a:pt x="83006" y="150838"/>
                      <a:pt x="83096" y="151138"/>
                      <a:pt x="83156" y="151439"/>
                    </a:cubicBezTo>
                    <a:cubicBezTo>
                      <a:pt x="86913" y="169744"/>
                      <a:pt x="83397" y="236173"/>
                      <a:pt x="83246" y="238999"/>
                    </a:cubicBezTo>
                    <a:cubicBezTo>
                      <a:pt x="83066" y="241824"/>
                      <a:pt x="80721" y="243988"/>
                      <a:pt x="77956" y="243988"/>
                    </a:cubicBezTo>
                    <a:close/>
                  </a:path>
                </a:pathLst>
              </a:custGeom>
              <a:grpFill/>
              <a:ln w="3004" cap="flat">
                <a:noFill/>
                <a:prstDash val="solid"/>
                <a:miter/>
              </a:ln>
            </p:spPr>
            <p:txBody>
              <a:bodyPr rtlCol="0" anchor="ctr"/>
              <a:lstStyle/>
              <a:p>
                <a:endParaRPr lang="en-GB" dirty="0"/>
              </a:p>
            </p:txBody>
          </p:sp>
          <p:sp>
            <p:nvSpPr>
              <p:cNvPr id="623" name="Freihandform: Form 622">
                <a:extLst>
                  <a:ext uri="{FF2B5EF4-FFF2-40B4-BE49-F238E27FC236}">
                    <a16:creationId xmlns:a16="http://schemas.microsoft.com/office/drawing/2014/main" id="{6D49C35B-FD57-418A-9FF0-43ECA65CE0EF}"/>
                  </a:ext>
                </a:extLst>
              </p:cNvPr>
              <p:cNvSpPr/>
              <p:nvPr/>
            </p:nvSpPr>
            <p:spPr>
              <a:xfrm>
                <a:off x="1887822" y="1670152"/>
                <a:ext cx="337057" cy="440514"/>
              </a:xfrm>
              <a:custGeom>
                <a:avLst/>
                <a:gdLst>
                  <a:gd name="connsiteX0" fmla="*/ 217619 w 337057"/>
                  <a:gd name="connsiteY0" fmla="*/ 440515 h 440514"/>
                  <a:gd name="connsiteX1" fmla="*/ 212359 w 337057"/>
                  <a:gd name="connsiteY1" fmla="*/ 435255 h 440514"/>
                  <a:gd name="connsiteX2" fmla="*/ 212359 w 337057"/>
                  <a:gd name="connsiteY2" fmla="*/ 374897 h 440514"/>
                  <a:gd name="connsiteX3" fmla="*/ 217619 w 337057"/>
                  <a:gd name="connsiteY3" fmla="*/ 369637 h 440514"/>
                  <a:gd name="connsiteX4" fmla="*/ 260723 w 337057"/>
                  <a:gd name="connsiteY4" fmla="*/ 369637 h 440514"/>
                  <a:gd name="connsiteX5" fmla="*/ 289940 w 337057"/>
                  <a:gd name="connsiteY5" fmla="*/ 340450 h 440514"/>
                  <a:gd name="connsiteX6" fmla="*/ 289579 w 337057"/>
                  <a:gd name="connsiteY6" fmla="*/ 302727 h 440514"/>
                  <a:gd name="connsiteX7" fmla="*/ 292765 w 337057"/>
                  <a:gd name="connsiteY7" fmla="*/ 258181 h 440514"/>
                  <a:gd name="connsiteX8" fmla="*/ 293577 w 337057"/>
                  <a:gd name="connsiteY8" fmla="*/ 257820 h 440514"/>
                  <a:gd name="connsiteX9" fmla="*/ 309628 w 337057"/>
                  <a:gd name="connsiteY9" fmla="*/ 256948 h 440514"/>
                  <a:gd name="connsiteX10" fmla="*/ 318255 w 337057"/>
                  <a:gd name="connsiteY10" fmla="*/ 257038 h 440514"/>
                  <a:gd name="connsiteX11" fmla="*/ 325288 w 337057"/>
                  <a:gd name="connsiteY11" fmla="*/ 252079 h 440514"/>
                  <a:gd name="connsiteX12" fmla="*/ 325529 w 337057"/>
                  <a:gd name="connsiteY12" fmla="*/ 242190 h 440514"/>
                  <a:gd name="connsiteX13" fmla="*/ 302294 w 337057"/>
                  <a:gd name="connsiteY13" fmla="*/ 209186 h 440514"/>
                  <a:gd name="connsiteX14" fmla="*/ 285852 w 337057"/>
                  <a:gd name="connsiteY14" fmla="*/ 174498 h 440514"/>
                  <a:gd name="connsiteX15" fmla="*/ 283597 w 337057"/>
                  <a:gd name="connsiteY15" fmla="*/ 143538 h 440514"/>
                  <a:gd name="connsiteX16" fmla="*/ 281133 w 337057"/>
                  <a:gd name="connsiteY16" fmla="*/ 130974 h 440514"/>
                  <a:gd name="connsiteX17" fmla="*/ 238660 w 337057"/>
                  <a:gd name="connsiteY17" fmla="*/ 43474 h 440514"/>
                  <a:gd name="connsiteX18" fmla="*/ 80974 w 337057"/>
                  <a:gd name="connsiteY18" fmla="*/ 13205 h 440514"/>
                  <a:gd name="connsiteX19" fmla="*/ 8954 w 337057"/>
                  <a:gd name="connsiteY19" fmla="*/ 47411 h 440514"/>
                  <a:gd name="connsiteX20" fmla="*/ 1500 w 337057"/>
                  <a:gd name="connsiteY20" fmla="*/ 47321 h 440514"/>
                  <a:gd name="connsiteX21" fmla="*/ 1590 w 337057"/>
                  <a:gd name="connsiteY21" fmla="*/ 39867 h 440514"/>
                  <a:gd name="connsiteX22" fmla="*/ 79561 w 337057"/>
                  <a:gd name="connsiteY22" fmla="*/ 2775 h 440514"/>
                  <a:gd name="connsiteX23" fmla="*/ 245153 w 337057"/>
                  <a:gd name="connsiteY23" fmla="*/ 35178 h 440514"/>
                  <a:gd name="connsiteX24" fmla="*/ 291683 w 337057"/>
                  <a:gd name="connsiteY24" fmla="*/ 130373 h 440514"/>
                  <a:gd name="connsiteX25" fmla="*/ 293877 w 337057"/>
                  <a:gd name="connsiteY25" fmla="*/ 141073 h 440514"/>
                  <a:gd name="connsiteX26" fmla="*/ 294779 w 337057"/>
                  <a:gd name="connsiteY26" fmla="*/ 180179 h 440514"/>
                  <a:gd name="connsiteX27" fmla="*/ 310229 w 337057"/>
                  <a:gd name="connsiteY27" fmla="*/ 202242 h 440514"/>
                  <a:gd name="connsiteX28" fmla="*/ 335478 w 337057"/>
                  <a:gd name="connsiteY28" fmla="*/ 238733 h 440514"/>
                  <a:gd name="connsiteX29" fmla="*/ 333705 w 337057"/>
                  <a:gd name="connsiteY29" fmla="*/ 258481 h 440514"/>
                  <a:gd name="connsiteX30" fmla="*/ 318525 w 337057"/>
                  <a:gd name="connsiteY30" fmla="*/ 267619 h 440514"/>
                  <a:gd name="connsiteX31" fmla="*/ 309267 w 337057"/>
                  <a:gd name="connsiteY31" fmla="*/ 267529 h 440514"/>
                  <a:gd name="connsiteX32" fmla="*/ 299919 w 337057"/>
                  <a:gd name="connsiteY32" fmla="*/ 267469 h 440514"/>
                  <a:gd name="connsiteX33" fmla="*/ 300099 w 337057"/>
                  <a:gd name="connsiteY33" fmla="*/ 302577 h 440514"/>
                  <a:gd name="connsiteX34" fmla="*/ 300460 w 337057"/>
                  <a:gd name="connsiteY34" fmla="*/ 340450 h 440514"/>
                  <a:gd name="connsiteX35" fmla="*/ 260693 w 337057"/>
                  <a:gd name="connsiteY35" fmla="*/ 380188 h 440514"/>
                  <a:gd name="connsiteX36" fmla="*/ 222880 w 337057"/>
                  <a:gd name="connsiteY36" fmla="*/ 380188 h 440514"/>
                  <a:gd name="connsiteX37" fmla="*/ 222880 w 337057"/>
                  <a:gd name="connsiteY37" fmla="*/ 435255 h 440514"/>
                  <a:gd name="connsiteX38" fmla="*/ 217619 w 337057"/>
                  <a:gd name="connsiteY38" fmla="*/ 440515 h 44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37057" h="440514">
                    <a:moveTo>
                      <a:pt x="217619" y="440515"/>
                    </a:moveTo>
                    <a:cubicBezTo>
                      <a:pt x="214704" y="440515"/>
                      <a:pt x="212359" y="438140"/>
                      <a:pt x="212359" y="435255"/>
                    </a:cubicBezTo>
                    <a:lnTo>
                      <a:pt x="212359" y="374897"/>
                    </a:lnTo>
                    <a:cubicBezTo>
                      <a:pt x="212359" y="371982"/>
                      <a:pt x="214734" y="369637"/>
                      <a:pt x="217619" y="369637"/>
                    </a:cubicBezTo>
                    <a:lnTo>
                      <a:pt x="260723" y="369637"/>
                    </a:lnTo>
                    <a:cubicBezTo>
                      <a:pt x="263699" y="369607"/>
                      <a:pt x="289940" y="368615"/>
                      <a:pt x="289940" y="340450"/>
                    </a:cubicBezTo>
                    <a:cubicBezTo>
                      <a:pt x="289940" y="328367"/>
                      <a:pt x="289729" y="314961"/>
                      <a:pt x="289579" y="302727"/>
                    </a:cubicBezTo>
                    <a:cubicBezTo>
                      <a:pt x="288978" y="260195"/>
                      <a:pt x="288978" y="260195"/>
                      <a:pt x="292765" y="258181"/>
                    </a:cubicBezTo>
                    <a:cubicBezTo>
                      <a:pt x="293036" y="258030"/>
                      <a:pt x="293306" y="257940"/>
                      <a:pt x="293577" y="257820"/>
                    </a:cubicBezTo>
                    <a:cubicBezTo>
                      <a:pt x="297274" y="256588"/>
                      <a:pt x="302985" y="256768"/>
                      <a:pt x="309628" y="256948"/>
                    </a:cubicBezTo>
                    <a:cubicBezTo>
                      <a:pt x="312634" y="257038"/>
                      <a:pt x="315670" y="257129"/>
                      <a:pt x="318255" y="257038"/>
                    </a:cubicBezTo>
                    <a:cubicBezTo>
                      <a:pt x="318796" y="256948"/>
                      <a:pt x="323124" y="255656"/>
                      <a:pt x="325288" y="252079"/>
                    </a:cubicBezTo>
                    <a:cubicBezTo>
                      <a:pt x="326851" y="249524"/>
                      <a:pt x="326942" y="246187"/>
                      <a:pt x="325529" y="242190"/>
                    </a:cubicBezTo>
                    <a:cubicBezTo>
                      <a:pt x="321742" y="231369"/>
                      <a:pt x="311401" y="219586"/>
                      <a:pt x="302294" y="209186"/>
                    </a:cubicBezTo>
                    <a:cubicBezTo>
                      <a:pt x="289850" y="194968"/>
                      <a:pt x="279990" y="183756"/>
                      <a:pt x="285852" y="174498"/>
                    </a:cubicBezTo>
                    <a:cubicBezTo>
                      <a:pt x="289669" y="168487"/>
                      <a:pt x="286002" y="153457"/>
                      <a:pt x="283597" y="143538"/>
                    </a:cubicBezTo>
                    <a:cubicBezTo>
                      <a:pt x="282365" y="138488"/>
                      <a:pt x="281313" y="134130"/>
                      <a:pt x="281133" y="130974"/>
                    </a:cubicBezTo>
                    <a:cubicBezTo>
                      <a:pt x="278878" y="93160"/>
                      <a:pt x="264601" y="63733"/>
                      <a:pt x="238660" y="43474"/>
                    </a:cubicBezTo>
                    <a:cubicBezTo>
                      <a:pt x="180377" y="-2004"/>
                      <a:pt x="81936" y="12995"/>
                      <a:pt x="80974" y="13205"/>
                    </a:cubicBezTo>
                    <a:cubicBezTo>
                      <a:pt x="80042" y="13325"/>
                      <a:pt x="40004" y="17143"/>
                      <a:pt x="8954" y="47411"/>
                    </a:cubicBezTo>
                    <a:cubicBezTo>
                      <a:pt x="6850" y="49425"/>
                      <a:pt x="3544" y="49395"/>
                      <a:pt x="1500" y="47321"/>
                    </a:cubicBezTo>
                    <a:cubicBezTo>
                      <a:pt x="-544" y="45247"/>
                      <a:pt x="-484" y="41881"/>
                      <a:pt x="1590" y="39867"/>
                    </a:cubicBezTo>
                    <a:cubicBezTo>
                      <a:pt x="35436" y="6893"/>
                      <a:pt x="77788" y="2925"/>
                      <a:pt x="79561" y="2775"/>
                    </a:cubicBezTo>
                    <a:cubicBezTo>
                      <a:pt x="80042" y="2655"/>
                      <a:pt x="182301" y="-13878"/>
                      <a:pt x="245153" y="35178"/>
                    </a:cubicBezTo>
                    <a:cubicBezTo>
                      <a:pt x="273588" y="57361"/>
                      <a:pt x="289248" y="89373"/>
                      <a:pt x="291683" y="130373"/>
                    </a:cubicBezTo>
                    <a:cubicBezTo>
                      <a:pt x="291803" y="132567"/>
                      <a:pt x="292825" y="136685"/>
                      <a:pt x="293877" y="141073"/>
                    </a:cubicBezTo>
                    <a:cubicBezTo>
                      <a:pt x="297034" y="154149"/>
                      <a:pt x="301001" y="170410"/>
                      <a:pt x="294779" y="180179"/>
                    </a:cubicBezTo>
                    <a:cubicBezTo>
                      <a:pt x="293156" y="182764"/>
                      <a:pt x="304698" y="195930"/>
                      <a:pt x="310229" y="202242"/>
                    </a:cubicBezTo>
                    <a:cubicBezTo>
                      <a:pt x="319968" y="213364"/>
                      <a:pt x="331030" y="225958"/>
                      <a:pt x="335478" y="238733"/>
                    </a:cubicBezTo>
                    <a:cubicBezTo>
                      <a:pt x="338755" y="248141"/>
                      <a:pt x="336320" y="254664"/>
                      <a:pt x="333705" y="258481"/>
                    </a:cubicBezTo>
                    <a:cubicBezTo>
                      <a:pt x="329527" y="264523"/>
                      <a:pt x="322192" y="267529"/>
                      <a:pt x="318525" y="267619"/>
                    </a:cubicBezTo>
                    <a:cubicBezTo>
                      <a:pt x="315730" y="267709"/>
                      <a:pt x="312484" y="267619"/>
                      <a:pt x="309267" y="267529"/>
                    </a:cubicBezTo>
                    <a:cubicBezTo>
                      <a:pt x="306322" y="267439"/>
                      <a:pt x="302594" y="267348"/>
                      <a:pt x="299919" y="267469"/>
                    </a:cubicBezTo>
                    <a:cubicBezTo>
                      <a:pt x="299679" y="274021"/>
                      <a:pt x="299919" y="289051"/>
                      <a:pt x="300099" y="302577"/>
                    </a:cubicBezTo>
                    <a:cubicBezTo>
                      <a:pt x="300280" y="314841"/>
                      <a:pt x="300460" y="328307"/>
                      <a:pt x="300460" y="340450"/>
                    </a:cubicBezTo>
                    <a:cubicBezTo>
                      <a:pt x="300460" y="371891"/>
                      <a:pt x="274460" y="380188"/>
                      <a:pt x="260693" y="380188"/>
                    </a:cubicBezTo>
                    <a:lnTo>
                      <a:pt x="222880" y="380188"/>
                    </a:lnTo>
                    <a:lnTo>
                      <a:pt x="222880" y="435255"/>
                    </a:lnTo>
                    <a:cubicBezTo>
                      <a:pt x="222910" y="438170"/>
                      <a:pt x="220535" y="440515"/>
                      <a:pt x="217619" y="440515"/>
                    </a:cubicBezTo>
                    <a:close/>
                  </a:path>
                </a:pathLst>
              </a:custGeom>
              <a:grpFill/>
              <a:ln w="3004" cap="flat">
                <a:noFill/>
                <a:prstDash val="solid"/>
                <a:miter/>
              </a:ln>
            </p:spPr>
            <p:txBody>
              <a:bodyPr rtlCol="0" anchor="ctr"/>
              <a:lstStyle/>
              <a:p>
                <a:endParaRPr lang="en-GB" dirty="0"/>
              </a:p>
            </p:txBody>
          </p:sp>
        </p:grpSp>
        <p:grpSp>
          <p:nvGrpSpPr>
            <p:cNvPr id="611" name="Group 1004">
              <a:extLst>
                <a:ext uri="{FF2B5EF4-FFF2-40B4-BE49-F238E27FC236}">
                  <a16:creationId xmlns:a16="http://schemas.microsoft.com/office/drawing/2014/main" id="{AFFFB540-4FAD-422F-8EE2-A81C2C72AEF5}"/>
                </a:ext>
              </a:extLst>
            </p:cNvPr>
            <p:cNvGrpSpPr/>
            <p:nvPr/>
          </p:nvGrpSpPr>
          <p:grpSpPr>
            <a:xfrm>
              <a:off x="6038067" y="1654408"/>
              <a:ext cx="385805" cy="296189"/>
              <a:chOff x="1671999" y="1698387"/>
              <a:chExt cx="393409" cy="302026"/>
            </a:xfrm>
            <a:solidFill>
              <a:schemeClr val="accent1"/>
            </a:solidFill>
          </p:grpSpPr>
          <p:sp>
            <p:nvSpPr>
              <p:cNvPr id="612" name="Freihandform: Form 611">
                <a:extLst>
                  <a:ext uri="{FF2B5EF4-FFF2-40B4-BE49-F238E27FC236}">
                    <a16:creationId xmlns:a16="http://schemas.microsoft.com/office/drawing/2014/main" id="{209EA5D8-C6B6-4D3E-875D-2F6B918C0D10}"/>
                  </a:ext>
                </a:extLst>
              </p:cNvPr>
              <p:cNvSpPr/>
              <p:nvPr/>
            </p:nvSpPr>
            <p:spPr>
              <a:xfrm>
                <a:off x="1976095" y="1742422"/>
                <a:ext cx="89313" cy="89333"/>
              </a:xfrm>
              <a:custGeom>
                <a:avLst/>
                <a:gdLst>
                  <a:gd name="connsiteX0" fmla="*/ 44672 w 89313"/>
                  <a:gd name="connsiteY0" fmla="*/ 89333 h 89333"/>
                  <a:gd name="connsiteX1" fmla="*/ 44010 w 89313"/>
                  <a:gd name="connsiteY1" fmla="*/ 89333 h 89333"/>
                  <a:gd name="connsiteX2" fmla="*/ 5 w 89313"/>
                  <a:gd name="connsiteY2" fmla="*/ 44036 h 89333"/>
                  <a:gd name="connsiteX3" fmla="*/ 44672 w 89313"/>
                  <a:gd name="connsiteY3" fmla="*/ 0 h 89333"/>
                  <a:gd name="connsiteX4" fmla="*/ 76684 w 89313"/>
                  <a:gd name="connsiteY4" fmla="*/ 13526 h 89333"/>
                  <a:gd name="connsiteX5" fmla="*/ 89308 w 89313"/>
                  <a:gd name="connsiteY5" fmla="*/ 45298 h 89333"/>
                  <a:gd name="connsiteX6" fmla="*/ 44672 w 89313"/>
                  <a:gd name="connsiteY6" fmla="*/ 89333 h 89333"/>
                  <a:gd name="connsiteX7" fmla="*/ 45153 w 89313"/>
                  <a:gd name="connsiteY7" fmla="*/ 10550 h 89333"/>
                  <a:gd name="connsiteX8" fmla="*/ 10555 w 89313"/>
                  <a:gd name="connsiteY8" fmla="*/ 44186 h 89333"/>
                  <a:gd name="connsiteX9" fmla="*/ 44161 w 89313"/>
                  <a:gd name="connsiteY9" fmla="*/ 78783 h 89333"/>
                  <a:gd name="connsiteX10" fmla="*/ 44672 w 89313"/>
                  <a:gd name="connsiteY10" fmla="*/ 84073 h 89333"/>
                  <a:gd name="connsiteX11" fmla="*/ 44672 w 89313"/>
                  <a:gd name="connsiteY11" fmla="*/ 78813 h 89333"/>
                  <a:gd name="connsiteX12" fmla="*/ 78758 w 89313"/>
                  <a:gd name="connsiteY12" fmla="*/ 45178 h 89333"/>
                  <a:gd name="connsiteX13" fmla="*/ 69139 w 89313"/>
                  <a:gd name="connsiteY13" fmla="*/ 20921 h 89333"/>
                  <a:gd name="connsiteX14" fmla="*/ 45153 w 89313"/>
                  <a:gd name="connsiteY14" fmla="*/ 10550 h 89333"/>
                  <a:gd name="connsiteX15" fmla="*/ 45153 w 89313"/>
                  <a:gd name="connsiteY15" fmla="*/ 10550 h 89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313" h="89333">
                    <a:moveTo>
                      <a:pt x="44672" y="89333"/>
                    </a:moveTo>
                    <a:cubicBezTo>
                      <a:pt x="44642" y="89333"/>
                      <a:pt x="44040" y="89333"/>
                      <a:pt x="44010" y="89333"/>
                    </a:cubicBezTo>
                    <a:cubicBezTo>
                      <a:pt x="19393" y="88973"/>
                      <a:pt x="-356" y="68653"/>
                      <a:pt x="5" y="44036"/>
                    </a:cubicBezTo>
                    <a:cubicBezTo>
                      <a:pt x="366" y="19748"/>
                      <a:pt x="20384" y="0"/>
                      <a:pt x="44672" y="0"/>
                    </a:cubicBezTo>
                    <a:cubicBezTo>
                      <a:pt x="57236" y="180"/>
                      <a:pt x="68388" y="4990"/>
                      <a:pt x="76684" y="13526"/>
                    </a:cubicBezTo>
                    <a:cubicBezTo>
                      <a:pt x="85010" y="22093"/>
                      <a:pt x="89489" y="33365"/>
                      <a:pt x="89308" y="45298"/>
                    </a:cubicBezTo>
                    <a:cubicBezTo>
                      <a:pt x="88978" y="69585"/>
                      <a:pt x="68959" y="89333"/>
                      <a:pt x="44672" y="89333"/>
                    </a:cubicBezTo>
                    <a:close/>
                    <a:moveTo>
                      <a:pt x="45153" y="10550"/>
                    </a:moveTo>
                    <a:cubicBezTo>
                      <a:pt x="26126" y="10550"/>
                      <a:pt x="10826" y="25640"/>
                      <a:pt x="10555" y="44186"/>
                    </a:cubicBezTo>
                    <a:cubicBezTo>
                      <a:pt x="10285" y="62972"/>
                      <a:pt x="25374" y="78512"/>
                      <a:pt x="44161" y="78783"/>
                    </a:cubicBezTo>
                    <a:lnTo>
                      <a:pt x="44672" y="84073"/>
                    </a:lnTo>
                    <a:lnTo>
                      <a:pt x="44672" y="78813"/>
                    </a:lnTo>
                    <a:cubicBezTo>
                      <a:pt x="63218" y="78813"/>
                      <a:pt x="78517" y="63724"/>
                      <a:pt x="78758" y="45178"/>
                    </a:cubicBezTo>
                    <a:cubicBezTo>
                      <a:pt x="78908" y="36070"/>
                      <a:pt x="75481" y="27443"/>
                      <a:pt x="69139" y="20921"/>
                    </a:cubicBezTo>
                    <a:cubicBezTo>
                      <a:pt x="62797" y="14368"/>
                      <a:pt x="54290" y="10701"/>
                      <a:pt x="45153" y="10550"/>
                    </a:cubicBezTo>
                    <a:lnTo>
                      <a:pt x="45153" y="10550"/>
                    </a:lnTo>
                    <a:close/>
                  </a:path>
                </a:pathLst>
              </a:custGeom>
              <a:solidFill>
                <a:schemeClr val="accent1"/>
              </a:solidFill>
              <a:ln w="3004" cap="flat">
                <a:noFill/>
                <a:prstDash val="solid"/>
                <a:miter/>
              </a:ln>
            </p:spPr>
            <p:txBody>
              <a:bodyPr rtlCol="0" anchor="ctr"/>
              <a:lstStyle/>
              <a:p>
                <a:endParaRPr lang="en-GB" dirty="0"/>
              </a:p>
            </p:txBody>
          </p:sp>
          <p:sp>
            <p:nvSpPr>
              <p:cNvPr id="613" name="Freihandform: Form 612">
                <a:extLst>
                  <a:ext uri="{FF2B5EF4-FFF2-40B4-BE49-F238E27FC236}">
                    <a16:creationId xmlns:a16="http://schemas.microsoft.com/office/drawing/2014/main" id="{0AD64F80-6629-46BB-AE5F-8FEC23CCF6AA}"/>
                  </a:ext>
                </a:extLst>
              </p:cNvPr>
              <p:cNvSpPr/>
              <p:nvPr/>
            </p:nvSpPr>
            <p:spPr>
              <a:xfrm>
                <a:off x="1887518" y="1781979"/>
                <a:ext cx="95465" cy="10520"/>
              </a:xfrm>
              <a:custGeom>
                <a:avLst/>
                <a:gdLst>
                  <a:gd name="connsiteX0" fmla="*/ 90205 w 95465"/>
                  <a:gd name="connsiteY0" fmla="*/ 10520 h 10520"/>
                  <a:gd name="connsiteX1" fmla="*/ 5260 w 95465"/>
                  <a:gd name="connsiteY1" fmla="*/ 10520 h 10520"/>
                  <a:gd name="connsiteX2" fmla="*/ 0 w 95465"/>
                  <a:gd name="connsiteY2" fmla="*/ 5260 h 10520"/>
                  <a:gd name="connsiteX3" fmla="*/ 5260 w 95465"/>
                  <a:gd name="connsiteY3" fmla="*/ 0 h 10520"/>
                  <a:gd name="connsiteX4" fmla="*/ 90205 w 95465"/>
                  <a:gd name="connsiteY4" fmla="*/ 0 h 10520"/>
                  <a:gd name="connsiteX5" fmla="*/ 95465 w 95465"/>
                  <a:gd name="connsiteY5" fmla="*/ 5260 h 10520"/>
                  <a:gd name="connsiteX6" fmla="*/ 90205 w 95465"/>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465" h="10520">
                    <a:moveTo>
                      <a:pt x="90205" y="10520"/>
                    </a:moveTo>
                    <a:lnTo>
                      <a:pt x="5260" y="10520"/>
                    </a:lnTo>
                    <a:cubicBezTo>
                      <a:pt x="2345" y="10520"/>
                      <a:pt x="0" y="8146"/>
                      <a:pt x="0" y="5260"/>
                    </a:cubicBezTo>
                    <a:cubicBezTo>
                      <a:pt x="0" y="2345"/>
                      <a:pt x="2375" y="0"/>
                      <a:pt x="5260" y="0"/>
                    </a:cubicBezTo>
                    <a:lnTo>
                      <a:pt x="90205" y="0"/>
                    </a:lnTo>
                    <a:cubicBezTo>
                      <a:pt x="93121" y="0"/>
                      <a:pt x="95465" y="2375"/>
                      <a:pt x="95465" y="5260"/>
                    </a:cubicBezTo>
                    <a:cubicBezTo>
                      <a:pt x="95495" y="8146"/>
                      <a:pt x="93121" y="10520"/>
                      <a:pt x="90205" y="10520"/>
                    </a:cubicBezTo>
                    <a:close/>
                  </a:path>
                </a:pathLst>
              </a:custGeom>
              <a:solidFill>
                <a:schemeClr val="accent1"/>
              </a:solidFill>
              <a:ln w="3004" cap="flat">
                <a:noFill/>
                <a:prstDash val="solid"/>
                <a:miter/>
              </a:ln>
            </p:spPr>
            <p:txBody>
              <a:bodyPr rtlCol="0" anchor="ctr"/>
              <a:lstStyle/>
              <a:p>
                <a:endParaRPr lang="en-GB" dirty="0"/>
              </a:p>
            </p:txBody>
          </p:sp>
          <p:sp>
            <p:nvSpPr>
              <p:cNvPr id="614" name="Freihandform: Form 613">
                <a:extLst>
                  <a:ext uri="{FF2B5EF4-FFF2-40B4-BE49-F238E27FC236}">
                    <a16:creationId xmlns:a16="http://schemas.microsoft.com/office/drawing/2014/main" id="{EB072ED9-F042-4891-9B3B-4CCEBD748A7A}"/>
                  </a:ext>
                </a:extLst>
              </p:cNvPr>
              <p:cNvSpPr/>
              <p:nvPr/>
            </p:nvSpPr>
            <p:spPr>
              <a:xfrm>
                <a:off x="2014304" y="1823459"/>
                <a:ext cx="10520" cy="66669"/>
              </a:xfrm>
              <a:custGeom>
                <a:avLst/>
                <a:gdLst>
                  <a:gd name="connsiteX0" fmla="*/ 5260 w 10520"/>
                  <a:gd name="connsiteY0" fmla="*/ 66669 h 66669"/>
                  <a:gd name="connsiteX1" fmla="*/ 0 w 10520"/>
                  <a:gd name="connsiteY1" fmla="*/ 61409 h 66669"/>
                  <a:gd name="connsiteX2" fmla="*/ 0 w 10520"/>
                  <a:gd name="connsiteY2" fmla="*/ 5260 h 66669"/>
                  <a:gd name="connsiteX3" fmla="*/ 5260 w 10520"/>
                  <a:gd name="connsiteY3" fmla="*/ 0 h 66669"/>
                  <a:gd name="connsiteX4" fmla="*/ 10520 w 10520"/>
                  <a:gd name="connsiteY4" fmla="*/ 5260 h 66669"/>
                  <a:gd name="connsiteX5" fmla="*/ 10520 w 10520"/>
                  <a:gd name="connsiteY5" fmla="*/ 61379 h 66669"/>
                  <a:gd name="connsiteX6" fmla="*/ 5260 w 10520"/>
                  <a:gd name="connsiteY6" fmla="*/ 66669 h 66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66669">
                    <a:moveTo>
                      <a:pt x="5260" y="66669"/>
                    </a:moveTo>
                    <a:cubicBezTo>
                      <a:pt x="2345" y="66669"/>
                      <a:pt x="0" y="64295"/>
                      <a:pt x="0" y="61409"/>
                    </a:cubicBezTo>
                    <a:lnTo>
                      <a:pt x="0" y="5260"/>
                    </a:lnTo>
                    <a:cubicBezTo>
                      <a:pt x="0" y="2345"/>
                      <a:pt x="2375" y="0"/>
                      <a:pt x="5260" y="0"/>
                    </a:cubicBezTo>
                    <a:cubicBezTo>
                      <a:pt x="8176" y="0"/>
                      <a:pt x="10520" y="2375"/>
                      <a:pt x="10520" y="5260"/>
                    </a:cubicBezTo>
                    <a:lnTo>
                      <a:pt x="10520" y="61379"/>
                    </a:lnTo>
                    <a:cubicBezTo>
                      <a:pt x="10550" y="64295"/>
                      <a:pt x="8176" y="66669"/>
                      <a:pt x="5260" y="66669"/>
                    </a:cubicBezTo>
                    <a:close/>
                  </a:path>
                </a:pathLst>
              </a:custGeom>
              <a:solidFill>
                <a:schemeClr val="accent1"/>
              </a:solidFill>
              <a:ln w="3004" cap="flat">
                <a:noFill/>
                <a:prstDash val="solid"/>
                <a:miter/>
              </a:ln>
            </p:spPr>
            <p:txBody>
              <a:bodyPr rtlCol="0" anchor="ctr"/>
              <a:lstStyle/>
              <a:p>
                <a:endParaRPr lang="en-GB" dirty="0"/>
              </a:p>
            </p:txBody>
          </p:sp>
          <p:sp>
            <p:nvSpPr>
              <p:cNvPr id="615" name="Freihandform: Form 614">
                <a:extLst>
                  <a:ext uri="{FF2B5EF4-FFF2-40B4-BE49-F238E27FC236}">
                    <a16:creationId xmlns:a16="http://schemas.microsoft.com/office/drawing/2014/main" id="{4B827F58-2A7F-4FCD-85B8-26B64DDB88E1}"/>
                  </a:ext>
                </a:extLst>
              </p:cNvPr>
              <p:cNvSpPr/>
              <p:nvPr/>
            </p:nvSpPr>
            <p:spPr>
              <a:xfrm>
                <a:off x="2014304" y="1931790"/>
                <a:ext cx="10520" cy="68623"/>
              </a:xfrm>
              <a:custGeom>
                <a:avLst/>
                <a:gdLst>
                  <a:gd name="connsiteX0" fmla="*/ 5260 w 10520"/>
                  <a:gd name="connsiteY0" fmla="*/ 68623 h 68623"/>
                  <a:gd name="connsiteX1" fmla="*/ 0 w 10520"/>
                  <a:gd name="connsiteY1" fmla="*/ 63363 h 68623"/>
                  <a:gd name="connsiteX2" fmla="*/ 0 w 10520"/>
                  <a:gd name="connsiteY2" fmla="*/ 5260 h 68623"/>
                  <a:gd name="connsiteX3" fmla="*/ 5260 w 10520"/>
                  <a:gd name="connsiteY3" fmla="*/ 0 h 68623"/>
                  <a:gd name="connsiteX4" fmla="*/ 10520 w 10520"/>
                  <a:gd name="connsiteY4" fmla="*/ 5260 h 68623"/>
                  <a:gd name="connsiteX5" fmla="*/ 10520 w 10520"/>
                  <a:gd name="connsiteY5" fmla="*/ 63363 h 68623"/>
                  <a:gd name="connsiteX6" fmla="*/ 5260 w 10520"/>
                  <a:gd name="connsiteY6" fmla="*/ 68623 h 68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68623">
                    <a:moveTo>
                      <a:pt x="5260" y="68623"/>
                    </a:moveTo>
                    <a:cubicBezTo>
                      <a:pt x="2345" y="68623"/>
                      <a:pt x="0" y="66249"/>
                      <a:pt x="0" y="63363"/>
                    </a:cubicBezTo>
                    <a:lnTo>
                      <a:pt x="0" y="5260"/>
                    </a:lnTo>
                    <a:cubicBezTo>
                      <a:pt x="0" y="2345"/>
                      <a:pt x="2375" y="0"/>
                      <a:pt x="5260" y="0"/>
                    </a:cubicBezTo>
                    <a:cubicBezTo>
                      <a:pt x="8176" y="0"/>
                      <a:pt x="10520" y="2375"/>
                      <a:pt x="10520" y="5260"/>
                    </a:cubicBezTo>
                    <a:lnTo>
                      <a:pt x="10520" y="63363"/>
                    </a:lnTo>
                    <a:cubicBezTo>
                      <a:pt x="10550" y="66249"/>
                      <a:pt x="8176" y="68623"/>
                      <a:pt x="5260" y="68623"/>
                    </a:cubicBezTo>
                    <a:close/>
                  </a:path>
                </a:pathLst>
              </a:custGeom>
              <a:solidFill>
                <a:schemeClr val="accent1"/>
              </a:solidFill>
              <a:ln w="3004" cap="flat">
                <a:noFill/>
                <a:prstDash val="solid"/>
                <a:miter/>
              </a:ln>
            </p:spPr>
            <p:txBody>
              <a:bodyPr rtlCol="0" anchor="ctr"/>
              <a:lstStyle/>
              <a:p>
                <a:endParaRPr lang="en-GB" dirty="0"/>
              </a:p>
            </p:txBody>
          </p:sp>
          <p:grpSp>
            <p:nvGrpSpPr>
              <p:cNvPr id="616" name="Grafik 19">
                <a:extLst>
                  <a:ext uri="{FF2B5EF4-FFF2-40B4-BE49-F238E27FC236}">
                    <a16:creationId xmlns:a16="http://schemas.microsoft.com/office/drawing/2014/main" id="{C6F6389A-8CF4-4C8C-9497-CEE64A493359}"/>
                  </a:ext>
                </a:extLst>
              </p:cNvPr>
              <p:cNvGrpSpPr/>
              <p:nvPr/>
            </p:nvGrpSpPr>
            <p:grpSpPr>
              <a:xfrm>
                <a:off x="1671999" y="1698387"/>
                <a:ext cx="226369" cy="177644"/>
                <a:chOff x="1671999" y="1698387"/>
                <a:chExt cx="226369" cy="177644"/>
              </a:xfrm>
              <a:solidFill>
                <a:schemeClr val="accent1"/>
              </a:solidFill>
            </p:grpSpPr>
            <p:sp>
              <p:nvSpPr>
                <p:cNvPr id="617" name="Freihandform: Form 616">
                  <a:extLst>
                    <a:ext uri="{FF2B5EF4-FFF2-40B4-BE49-F238E27FC236}">
                      <a16:creationId xmlns:a16="http://schemas.microsoft.com/office/drawing/2014/main" id="{4A2F43BA-C8C1-4C11-912A-8951C08C89EF}"/>
                    </a:ext>
                  </a:extLst>
                </p:cNvPr>
                <p:cNvSpPr/>
                <p:nvPr/>
              </p:nvSpPr>
              <p:spPr>
                <a:xfrm>
                  <a:off x="1671999" y="1698387"/>
                  <a:ext cx="226369" cy="177644"/>
                </a:xfrm>
                <a:custGeom>
                  <a:avLst/>
                  <a:gdLst>
                    <a:gd name="connsiteX0" fmla="*/ 207162 w 226369"/>
                    <a:gd name="connsiteY0" fmla="*/ 177645 h 177644"/>
                    <a:gd name="connsiteX1" fmla="*/ 19207 w 226369"/>
                    <a:gd name="connsiteY1" fmla="*/ 177645 h 177644"/>
                    <a:gd name="connsiteX2" fmla="*/ 0 w 226369"/>
                    <a:gd name="connsiteY2" fmla="*/ 158438 h 177644"/>
                    <a:gd name="connsiteX3" fmla="*/ 0 w 226369"/>
                    <a:gd name="connsiteY3" fmla="*/ 19207 h 177644"/>
                    <a:gd name="connsiteX4" fmla="*/ 19207 w 226369"/>
                    <a:gd name="connsiteY4" fmla="*/ 0 h 177644"/>
                    <a:gd name="connsiteX5" fmla="*/ 207162 w 226369"/>
                    <a:gd name="connsiteY5" fmla="*/ 0 h 177644"/>
                    <a:gd name="connsiteX6" fmla="*/ 226370 w 226369"/>
                    <a:gd name="connsiteY6" fmla="*/ 19207 h 177644"/>
                    <a:gd name="connsiteX7" fmla="*/ 226370 w 226369"/>
                    <a:gd name="connsiteY7" fmla="*/ 158438 h 177644"/>
                    <a:gd name="connsiteX8" fmla="*/ 207162 w 226369"/>
                    <a:gd name="connsiteY8" fmla="*/ 177645 h 177644"/>
                    <a:gd name="connsiteX9" fmla="*/ 207132 w 226369"/>
                    <a:gd name="connsiteY9" fmla="*/ 10581 h 177644"/>
                    <a:gd name="connsiteX10" fmla="*/ 19237 w 226369"/>
                    <a:gd name="connsiteY10" fmla="*/ 10581 h 177644"/>
                    <a:gd name="connsiteX11" fmla="*/ 10581 w 226369"/>
                    <a:gd name="connsiteY11" fmla="*/ 19237 h 177644"/>
                    <a:gd name="connsiteX12" fmla="*/ 10581 w 226369"/>
                    <a:gd name="connsiteY12" fmla="*/ 158468 h 177644"/>
                    <a:gd name="connsiteX13" fmla="*/ 19267 w 226369"/>
                    <a:gd name="connsiteY13" fmla="*/ 167124 h 177644"/>
                    <a:gd name="connsiteX14" fmla="*/ 207132 w 226369"/>
                    <a:gd name="connsiteY14" fmla="*/ 167124 h 177644"/>
                    <a:gd name="connsiteX15" fmla="*/ 215819 w 226369"/>
                    <a:gd name="connsiteY15" fmla="*/ 158468 h 177644"/>
                    <a:gd name="connsiteX16" fmla="*/ 215819 w 226369"/>
                    <a:gd name="connsiteY16" fmla="*/ 19207 h 177644"/>
                    <a:gd name="connsiteX17" fmla="*/ 207132 w 226369"/>
                    <a:gd name="connsiteY17" fmla="*/ 10581 h 177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26369" h="177644">
                      <a:moveTo>
                        <a:pt x="207162" y="177645"/>
                      </a:moveTo>
                      <a:lnTo>
                        <a:pt x="19207" y="177645"/>
                      </a:lnTo>
                      <a:cubicBezTo>
                        <a:pt x="11482" y="177645"/>
                        <a:pt x="0" y="172535"/>
                        <a:pt x="0" y="158438"/>
                      </a:cubicBezTo>
                      <a:lnTo>
                        <a:pt x="0" y="19207"/>
                      </a:lnTo>
                      <a:cubicBezTo>
                        <a:pt x="0" y="5110"/>
                        <a:pt x="11482" y="0"/>
                        <a:pt x="19207" y="0"/>
                      </a:cubicBezTo>
                      <a:lnTo>
                        <a:pt x="207162" y="0"/>
                      </a:lnTo>
                      <a:cubicBezTo>
                        <a:pt x="214887" y="0"/>
                        <a:pt x="226370" y="5110"/>
                        <a:pt x="226370" y="19207"/>
                      </a:cubicBezTo>
                      <a:lnTo>
                        <a:pt x="226370" y="158438"/>
                      </a:lnTo>
                      <a:cubicBezTo>
                        <a:pt x="226370" y="172535"/>
                        <a:pt x="214887" y="177645"/>
                        <a:pt x="207162" y="177645"/>
                      </a:cubicBezTo>
                      <a:close/>
                      <a:moveTo>
                        <a:pt x="207132" y="10581"/>
                      </a:moveTo>
                      <a:lnTo>
                        <a:pt x="19237" y="10581"/>
                      </a:lnTo>
                      <a:cubicBezTo>
                        <a:pt x="17253" y="10611"/>
                        <a:pt x="10581" y="11362"/>
                        <a:pt x="10581" y="19237"/>
                      </a:cubicBezTo>
                      <a:lnTo>
                        <a:pt x="10581" y="158468"/>
                      </a:lnTo>
                      <a:cubicBezTo>
                        <a:pt x="10581" y="166343"/>
                        <a:pt x="17223" y="167064"/>
                        <a:pt x="19267" y="167124"/>
                      </a:cubicBezTo>
                      <a:lnTo>
                        <a:pt x="207132" y="167124"/>
                      </a:lnTo>
                      <a:cubicBezTo>
                        <a:pt x="209176" y="167094"/>
                        <a:pt x="215819" y="166343"/>
                        <a:pt x="215819" y="158468"/>
                      </a:cubicBezTo>
                      <a:lnTo>
                        <a:pt x="215819" y="19207"/>
                      </a:lnTo>
                      <a:cubicBezTo>
                        <a:pt x="215819" y="11332"/>
                        <a:pt x="209176" y="10611"/>
                        <a:pt x="207132" y="10581"/>
                      </a:cubicBezTo>
                      <a:close/>
                    </a:path>
                  </a:pathLst>
                </a:custGeom>
                <a:solidFill>
                  <a:schemeClr val="accent1"/>
                </a:solidFill>
                <a:ln w="3004" cap="flat">
                  <a:noFill/>
                  <a:prstDash val="solid"/>
                  <a:miter/>
                </a:ln>
              </p:spPr>
              <p:txBody>
                <a:bodyPr rtlCol="0" anchor="ctr"/>
                <a:lstStyle/>
                <a:p>
                  <a:endParaRPr lang="en-GB" dirty="0"/>
                </a:p>
              </p:txBody>
            </p:sp>
            <p:grpSp>
              <p:nvGrpSpPr>
                <p:cNvPr id="618" name="Grafik 19">
                  <a:extLst>
                    <a:ext uri="{FF2B5EF4-FFF2-40B4-BE49-F238E27FC236}">
                      <a16:creationId xmlns:a16="http://schemas.microsoft.com/office/drawing/2014/main" id="{F9E26447-CA40-428C-9930-C76C66576E98}"/>
                    </a:ext>
                  </a:extLst>
                </p:cNvPr>
                <p:cNvGrpSpPr/>
                <p:nvPr/>
              </p:nvGrpSpPr>
              <p:grpSpPr>
                <a:xfrm>
                  <a:off x="1674423" y="1768513"/>
                  <a:ext cx="220126" cy="103581"/>
                  <a:chOff x="1674423" y="1768513"/>
                  <a:chExt cx="220126" cy="103581"/>
                </a:xfrm>
                <a:solidFill>
                  <a:schemeClr val="accent1"/>
                </a:solidFill>
              </p:grpSpPr>
              <p:sp>
                <p:nvSpPr>
                  <p:cNvPr id="620" name="Freihandform: Form 619">
                    <a:extLst>
                      <a:ext uri="{FF2B5EF4-FFF2-40B4-BE49-F238E27FC236}">
                        <a16:creationId xmlns:a16="http://schemas.microsoft.com/office/drawing/2014/main" id="{19B9035B-030C-4D9B-8226-D2BA0C8248E5}"/>
                      </a:ext>
                    </a:extLst>
                  </p:cNvPr>
                  <p:cNvSpPr/>
                  <p:nvPr/>
                </p:nvSpPr>
                <p:spPr>
                  <a:xfrm>
                    <a:off x="1674423" y="1768513"/>
                    <a:ext cx="139627" cy="103581"/>
                  </a:xfrm>
                  <a:custGeom>
                    <a:avLst/>
                    <a:gdLst>
                      <a:gd name="connsiteX0" fmla="*/ 134342 w 139627"/>
                      <a:gd name="connsiteY0" fmla="*/ 103581 h 103581"/>
                      <a:gd name="connsiteX1" fmla="*/ 130013 w 139627"/>
                      <a:gd name="connsiteY1" fmla="*/ 101327 h 103581"/>
                      <a:gd name="connsiteX2" fmla="*/ 69235 w 139627"/>
                      <a:gd name="connsiteY2" fmla="*/ 14458 h 103581"/>
                      <a:gd name="connsiteX3" fmla="*/ 9599 w 139627"/>
                      <a:gd name="connsiteY3" fmla="*/ 100215 h 103581"/>
                      <a:gd name="connsiteX4" fmla="*/ 2265 w 139627"/>
                      <a:gd name="connsiteY4" fmla="*/ 101537 h 103581"/>
                      <a:gd name="connsiteX5" fmla="*/ 943 w 139627"/>
                      <a:gd name="connsiteY5" fmla="*/ 94203 h 103581"/>
                      <a:gd name="connsiteX6" fmla="*/ 64907 w 139627"/>
                      <a:gd name="connsiteY6" fmla="*/ 2254 h 103581"/>
                      <a:gd name="connsiteX7" fmla="*/ 69235 w 139627"/>
                      <a:gd name="connsiteY7" fmla="*/ 0 h 103581"/>
                      <a:gd name="connsiteX8" fmla="*/ 69235 w 139627"/>
                      <a:gd name="connsiteY8" fmla="*/ 0 h 103581"/>
                      <a:gd name="connsiteX9" fmla="*/ 73564 w 139627"/>
                      <a:gd name="connsiteY9" fmla="*/ 2254 h 103581"/>
                      <a:gd name="connsiteX10" fmla="*/ 138670 w 139627"/>
                      <a:gd name="connsiteY10" fmla="*/ 95315 h 103581"/>
                      <a:gd name="connsiteX11" fmla="*/ 137378 w 139627"/>
                      <a:gd name="connsiteY11" fmla="*/ 102649 h 103581"/>
                      <a:gd name="connsiteX12" fmla="*/ 134342 w 139627"/>
                      <a:gd name="connsiteY12" fmla="*/ 103581 h 103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627" h="103581">
                        <a:moveTo>
                          <a:pt x="134342" y="103581"/>
                        </a:moveTo>
                        <a:cubicBezTo>
                          <a:pt x="132688" y="103581"/>
                          <a:pt x="131035" y="102800"/>
                          <a:pt x="130013" y="101327"/>
                        </a:cubicBezTo>
                        <a:lnTo>
                          <a:pt x="69235" y="14458"/>
                        </a:lnTo>
                        <a:lnTo>
                          <a:pt x="9599" y="100215"/>
                        </a:lnTo>
                        <a:cubicBezTo>
                          <a:pt x="7946" y="102619"/>
                          <a:pt x="4640" y="103190"/>
                          <a:pt x="2265" y="101537"/>
                        </a:cubicBezTo>
                        <a:cubicBezTo>
                          <a:pt x="-139" y="99884"/>
                          <a:pt x="-711" y="96578"/>
                          <a:pt x="943" y="94203"/>
                        </a:cubicBezTo>
                        <a:lnTo>
                          <a:pt x="64907" y="2254"/>
                        </a:lnTo>
                        <a:cubicBezTo>
                          <a:pt x="65899" y="842"/>
                          <a:pt x="67492" y="0"/>
                          <a:pt x="69235" y="0"/>
                        </a:cubicBezTo>
                        <a:cubicBezTo>
                          <a:pt x="69235" y="0"/>
                          <a:pt x="69235" y="0"/>
                          <a:pt x="69235" y="0"/>
                        </a:cubicBezTo>
                        <a:cubicBezTo>
                          <a:pt x="70949" y="0"/>
                          <a:pt x="72572" y="842"/>
                          <a:pt x="73564" y="2254"/>
                        </a:cubicBezTo>
                        <a:lnTo>
                          <a:pt x="138670" y="95315"/>
                        </a:lnTo>
                        <a:cubicBezTo>
                          <a:pt x="140353" y="97690"/>
                          <a:pt x="139752" y="100996"/>
                          <a:pt x="137378" y="102649"/>
                        </a:cubicBezTo>
                        <a:cubicBezTo>
                          <a:pt x="136446" y="103281"/>
                          <a:pt x="135364" y="103581"/>
                          <a:pt x="134342" y="103581"/>
                        </a:cubicBezTo>
                        <a:close/>
                      </a:path>
                    </a:pathLst>
                  </a:custGeom>
                  <a:solidFill>
                    <a:schemeClr val="accent1"/>
                  </a:solidFill>
                  <a:ln w="3004" cap="flat">
                    <a:noFill/>
                    <a:prstDash val="solid"/>
                    <a:miter/>
                  </a:ln>
                </p:spPr>
                <p:txBody>
                  <a:bodyPr rtlCol="0" anchor="ctr"/>
                  <a:lstStyle/>
                  <a:p>
                    <a:endParaRPr lang="en-GB" dirty="0"/>
                  </a:p>
                </p:txBody>
              </p:sp>
              <p:sp>
                <p:nvSpPr>
                  <p:cNvPr id="621" name="Freihandform: Form 620">
                    <a:extLst>
                      <a:ext uri="{FF2B5EF4-FFF2-40B4-BE49-F238E27FC236}">
                        <a16:creationId xmlns:a16="http://schemas.microsoft.com/office/drawing/2014/main" id="{79EEE83F-38F3-4AD0-93C9-143F09AEF428}"/>
                      </a:ext>
                    </a:extLst>
                  </p:cNvPr>
                  <p:cNvSpPr/>
                  <p:nvPr/>
                </p:nvSpPr>
                <p:spPr>
                  <a:xfrm>
                    <a:off x="1776980" y="1783983"/>
                    <a:ext cx="117569" cy="88110"/>
                  </a:xfrm>
                  <a:custGeom>
                    <a:avLst/>
                    <a:gdLst>
                      <a:gd name="connsiteX0" fmla="*/ 112311 w 117569"/>
                      <a:gd name="connsiteY0" fmla="*/ 88111 h 88110"/>
                      <a:gd name="connsiteX1" fmla="*/ 108283 w 117569"/>
                      <a:gd name="connsiteY1" fmla="*/ 86247 h 88110"/>
                      <a:gd name="connsiteX2" fmla="*/ 45702 w 117569"/>
                      <a:gd name="connsiteY2" fmla="*/ 12935 h 88110"/>
                      <a:gd name="connsiteX3" fmla="*/ 8910 w 117569"/>
                      <a:gd name="connsiteY3" fmla="*/ 47863 h 88110"/>
                      <a:gd name="connsiteX4" fmla="*/ 1456 w 117569"/>
                      <a:gd name="connsiteY4" fmla="*/ 47682 h 88110"/>
                      <a:gd name="connsiteX5" fmla="*/ 1636 w 117569"/>
                      <a:gd name="connsiteY5" fmla="*/ 40228 h 88110"/>
                      <a:gd name="connsiteX6" fmla="*/ 42455 w 117569"/>
                      <a:gd name="connsiteY6" fmla="*/ 1453 h 88110"/>
                      <a:gd name="connsiteX7" fmla="*/ 46363 w 117569"/>
                      <a:gd name="connsiteY7" fmla="*/ 10 h 88110"/>
                      <a:gd name="connsiteX8" fmla="*/ 50090 w 117569"/>
                      <a:gd name="connsiteY8" fmla="*/ 1843 h 88110"/>
                      <a:gd name="connsiteX9" fmla="*/ 116309 w 117569"/>
                      <a:gd name="connsiteY9" fmla="*/ 79424 h 88110"/>
                      <a:gd name="connsiteX10" fmla="*/ 115708 w 117569"/>
                      <a:gd name="connsiteY10" fmla="*/ 86848 h 88110"/>
                      <a:gd name="connsiteX11" fmla="*/ 112311 w 117569"/>
                      <a:gd name="connsiteY11" fmla="*/ 88111 h 8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569" h="88110">
                        <a:moveTo>
                          <a:pt x="112311" y="88111"/>
                        </a:moveTo>
                        <a:cubicBezTo>
                          <a:pt x="110808" y="88111"/>
                          <a:pt x="109335" y="87480"/>
                          <a:pt x="108283" y="86247"/>
                        </a:cubicBezTo>
                        <a:lnTo>
                          <a:pt x="45702" y="12935"/>
                        </a:lnTo>
                        <a:lnTo>
                          <a:pt x="8910" y="47863"/>
                        </a:lnTo>
                        <a:cubicBezTo>
                          <a:pt x="6776" y="49877"/>
                          <a:pt x="3470" y="49786"/>
                          <a:pt x="1456" y="47682"/>
                        </a:cubicBezTo>
                        <a:cubicBezTo>
                          <a:pt x="-558" y="45578"/>
                          <a:pt x="-468" y="42242"/>
                          <a:pt x="1636" y="40228"/>
                        </a:cubicBezTo>
                        <a:lnTo>
                          <a:pt x="42455" y="1453"/>
                        </a:lnTo>
                        <a:cubicBezTo>
                          <a:pt x="43507" y="461"/>
                          <a:pt x="44980" y="-80"/>
                          <a:pt x="46363" y="10"/>
                        </a:cubicBezTo>
                        <a:cubicBezTo>
                          <a:pt x="47806" y="100"/>
                          <a:pt x="49158" y="761"/>
                          <a:pt x="50090" y="1843"/>
                        </a:cubicBezTo>
                        <a:lnTo>
                          <a:pt x="116309" y="79424"/>
                        </a:lnTo>
                        <a:cubicBezTo>
                          <a:pt x="118202" y="81648"/>
                          <a:pt x="117932" y="84955"/>
                          <a:pt x="115708" y="86848"/>
                        </a:cubicBezTo>
                        <a:cubicBezTo>
                          <a:pt x="114716" y="87690"/>
                          <a:pt x="113513" y="88111"/>
                          <a:pt x="112311" y="88111"/>
                        </a:cubicBezTo>
                        <a:close/>
                      </a:path>
                    </a:pathLst>
                  </a:custGeom>
                  <a:solidFill>
                    <a:schemeClr val="accent1"/>
                  </a:solidFill>
                  <a:ln w="3004" cap="flat">
                    <a:noFill/>
                    <a:prstDash val="solid"/>
                    <a:miter/>
                  </a:ln>
                </p:spPr>
                <p:txBody>
                  <a:bodyPr rtlCol="0" anchor="ctr"/>
                  <a:lstStyle/>
                  <a:p>
                    <a:endParaRPr lang="en-GB" dirty="0"/>
                  </a:p>
                </p:txBody>
              </p:sp>
            </p:grpSp>
            <p:sp>
              <p:nvSpPr>
                <p:cNvPr id="619" name="Freihandform: Form 618">
                  <a:extLst>
                    <a:ext uri="{FF2B5EF4-FFF2-40B4-BE49-F238E27FC236}">
                      <a16:creationId xmlns:a16="http://schemas.microsoft.com/office/drawing/2014/main" id="{5FE80527-0820-4DED-9ABD-F2CC3F595B95}"/>
                    </a:ext>
                  </a:extLst>
                </p:cNvPr>
                <p:cNvSpPr/>
                <p:nvPr/>
              </p:nvSpPr>
              <p:spPr>
                <a:xfrm>
                  <a:off x="1819075" y="1721892"/>
                  <a:ext cx="51880" cy="51880"/>
                </a:xfrm>
                <a:custGeom>
                  <a:avLst/>
                  <a:gdLst>
                    <a:gd name="connsiteX0" fmla="*/ 25940 w 51880"/>
                    <a:gd name="connsiteY0" fmla="*/ 51881 h 51880"/>
                    <a:gd name="connsiteX1" fmla="*/ 0 w 51880"/>
                    <a:gd name="connsiteY1" fmla="*/ 25940 h 51880"/>
                    <a:gd name="connsiteX2" fmla="*/ 25940 w 51880"/>
                    <a:gd name="connsiteY2" fmla="*/ 0 h 51880"/>
                    <a:gd name="connsiteX3" fmla="*/ 51881 w 51880"/>
                    <a:gd name="connsiteY3" fmla="*/ 25940 h 51880"/>
                    <a:gd name="connsiteX4" fmla="*/ 25940 w 51880"/>
                    <a:gd name="connsiteY4" fmla="*/ 51881 h 51880"/>
                    <a:gd name="connsiteX5" fmla="*/ 25940 w 51880"/>
                    <a:gd name="connsiteY5" fmla="*/ 10550 h 51880"/>
                    <a:gd name="connsiteX6" fmla="*/ 10551 w 51880"/>
                    <a:gd name="connsiteY6" fmla="*/ 25940 h 51880"/>
                    <a:gd name="connsiteX7" fmla="*/ 25940 w 51880"/>
                    <a:gd name="connsiteY7" fmla="*/ 41330 h 51880"/>
                    <a:gd name="connsiteX8" fmla="*/ 41330 w 51880"/>
                    <a:gd name="connsiteY8" fmla="*/ 25940 h 51880"/>
                    <a:gd name="connsiteX9" fmla="*/ 25940 w 51880"/>
                    <a:gd name="connsiteY9" fmla="*/ 10550 h 51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80" h="51880">
                      <a:moveTo>
                        <a:pt x="25940" y="51881"/>
                      </a:moveTo>
                      <a:cubicBezTo>
                        <a:pt x="11633" y="51881"/>
                        <a:pt x="0" y="40248"/>
                        <a:pt x="0" y="25940"/>
                      </a:cubicBezTo>
                      <a:cubicBezTo>
                        <a:pt x="0" y="11633"/>
                        <a:pt x="11633" y="0"/>
                        <a:pt x="25940" y="0"/>
                      </a:cubicBezTo>
                      <a:cubicBezTo>
                        <a:pt x="40248" y="0"/>
                        <a:pt x="51881" y="11633"/>
                        <a:pt x="51881" y="25940"/>
                      </a:cubicBezTo>
                      <a:cubicBezTo>
                        <a:pt x="51881" y="40248"/>
                        <a:pt x="40248" y="51881"/>
                        <a:pt x="25940" y="51881"/>
                      </a:cubicBezTo>
                      <a:close/>
                      <a:moveTo>
                        <a:pt x="25940" y="10550"/>
                      </a:moveTo>
                      <a:cubicBezTo>
                        <a:pt x="17464" y="10550"/>
                        <a:pt x="10551" y="17464"/>
                        <a:pt x="10551" y="25940"/>
                      </a:cubicBezTo>
                      <a:cubicBezTo>
                        <a:pt x="10551" y="34417"/>
                        <a:pt x="17464" y="41330"/>
                        <a:pt x="25940" y="41330"/>
                      </a:cubicBezTo>
                      <a:cubicBezTo>
                        <a:pt x="34417" y="41330"/>
                        <a:pt x="41330" y="34417"/>
                        <a:pt x="41330" y="25940"/>
                      </a:cubicBezTo>
                      <a:cubicBezTo>
                        <a:pt x="41330" y="17464"/>
                        <a:pt x="34417" y="10550"/>
                        <a:pt x="25940" y="10550"/>
                      </a:cubicBezTo>
                      <a:close/>
                    </a:path>
                  </a:pathLst>
                </a:custGeom>
                <a:solidFill>
                  <a:schemeClr val="accent1"/>
                </a:solidFill>
                <a:ln w="3004" cap="flat">
                  <a:noFill/>
                  <a:prstDash val="solid"/>
                  <a:miter/>
                </a:ln>
              </p:spPr>
              <p:txBody>
                <a:bodyPr rtlCol="0" anchor="ctr"/>
                <a:lstStyle/>
                <a:p>
                  <a:endParaRPr lang="en-GB" dirty="0"/>
                </a:p>
              </p:txBody>
            </p:sp>
          </p:grpSp>
        </p:grpSp>
      </p:grpSp>
      <p:grpSp>
        <p:nvGrpSpPr>
          <p:cNvPr id="36" name="Group 35">
            <a:extLst>
              <a:ext uri="{FF2B5EF4-FFF2-40B4-BE49-F238E27FC236}">
                <a16:creationId xmlns:a16="http://schemas.microsoft.com/office/drawing/2014/main" id="{76B9A298-979E-DA9B-93A1-6E792697500B}"/>
              </a:ext>
            </a:extLst>
          </p:cNvPr>
          <p:cNvGrpSpPr/>
          <p:nvPr/>
        </p:nvGrpSpPr>
        <p:grpSpPr>
          <a:xfrm>
            <a:off x="5091344" y="4097446"/>
            <a:ext cx="249996" cy="432004"/>
            <a:chOff x="5138731" y="4097446"/>
            <a:chExt cx="249996" cy="432004"/>
          </a:xfrm>
        </p:grpSpPr>
        <p:grpSp>
          <p:nvGrpSpPr>
            <p:cNvPr id="625" name="Group 980">
              <a:extLst>
                <a:ext uri="{FF2B5EF4-FFF2-40B4-BE49-F238E27FC236}">
                  <a16:creationId xmlns:a16="http://schemas.microsoft.com/office/drawing/2014/main" id="{D0C628CC-E657-4940-B679-923557BC791D}"/>
                </a:ext>
              </a:extLst>
            </p:cNvPr>
            <p:cNvGrpSpPr/>
            <p:nvPr/>
          </p:nvGrpSpPr>
          <p:grpSpPr>
            <a:xfrm>
              <a:off x="5138731" y="4338067"/>
              <a:ext cx="249996" cy="191383"/>
              <a:chOff x="1023227" y="4360325"/>
              <a:chExt cx="300839" cy="230307"/>
            </a:xfrm>
            <a:solidFill>
              <a:schemeClr val="tx2"/>
            </a:solidFill>
          </p:grpSpPr>
          <p:sp>
            <p:nvSpPr>
              <p:cNvPr id="635" name="Freihandform: Form 634">
                <a:extLst>
                  <a:ext uri="{FF2B5EF4-FFF2-40B4-BE49-F238E27FC236}">
                    <a16:creationId xmlns:a16="http://schemas.microsoft.com/office/drawing/2014/main" id="{1FA009E1-18FF-4612-B4C7-450CA9891051}"/>
                  </a:ext>
                </a:extLst>
              </p:cNvPr>
              <p:cNvSpPr/>
              <p:nvPr/>
            </p:nvSpPr>
            <p:spPr>
              <a:xfrm>
                <a:off x="1168371" y="4360325"/>
                <a:ext cx="10520" cy="230307"/>
              </a:xfrm>
              <a:custGeom>
                <a:avLst/>
                <a:gdLst>
                  <a:gd name="connsiteX0" fmla="*/ 5260 w 10520"/>
                  <a:gd name="connsiteY0" fmla="*/ 230307 h 230307"/>
                  <a:gd name="connsiteX1" fmla="*/ 0 w 10520"/>
                  <a:gd name="connsiteY1" fmla="*/ 225047 h 230307"/>
                  <a:gd name="connsiteX2" fmla="*/ 0 w 10520"/>
                  <a:gd name="connsiteY2" fmla="*/ 5260 h 230307"/>
                  <a:gd name="connsiteX3" fmla="*/ 5260 w 10520"/>
                  <a:gd name="connsiteY3" fmla="*/ 0 h 230307"/>
                  <a:gd name="connsiteX4" fmla="*/ 10520 w 10520"/>
                  <a:gd name="connsiteY4" fmla="*/ 5260 h 230307"/>
                  <a:gd name="connsiteX5" fmla="*/ 10520 w 10520"/>
                  <a:gd name="connsiteY5" fmla="*/ 225047 h 230307"/>
                  <a:gd name="connsiteX6" fmla="*/ 5260 w 10520"/>
                  <a:gd name="connsiteY6" fmla="*/ 230307 h 230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230307">
                    <a:moveTo>
                      <a:pt x="5260" y="230307"/>
                    </a:moveTo>
                    <a:cubicBezTo>
                      <a:pt x="2345" y="230307"/>
                      <a:pt x="0" y="227933"/>
                      <a:pt x="0" y="225047"/>
                    </a:cubicBezTo>
                    <a:lnTo>
                      <a:pt x="0" y="5260"/>
                    </a:lnTo>
                    <a:cubicBezTo>
                      <a:pt x="0" y="2345"/>
                      <a:pt x="2375" y="0"/>
                      <a:pt x="5260" y="0"/>
                    </a:cubicBezTo>
                    <a:cubicBezTo>
                      <a:pt x="8176" y="0"/>
                      <a:pt x="10520" y="2375"/>
                      <a:pt x="10520" y="5260"/>
                    </a:cubicBezTo>
                    <a:lnTo>
                      <a:pt x="10520" y="225047"/>
                    </a:lnTo>
                    <a:cubicBezTo>
                      <a:pt x="10550" y="227963"/>
                      <a:pt x="8176" y="230307"/>
                      <a:pt x="5260" y="230307"/>
                    </a:cubicBezTo>
                    <a:close/>
                  </a:path>
                </a:pathLst>
              </a:custGeom>
              <a:grpFill/>
              <a:ln w="3004" cap="flat">
                <a:noFill/>
                <a:prstDash val="solid"/>
                <a:miter/>
              </a:ln>
            </p:spPr>
            <p:txBody>
              <a:bodyPr rtlCol="0" anchor="ctr"/>
              <a:lstStyle/>
              <a:p>
                <a:endParaRPr lang="en-GB" dirty="0"/>
              </a:p>
            </p:txBody>
          </p:sp>
          <p:grpSp>
            <p:nvGrpSpPr>
              <p:cNvPr id="636" name="Grafik 19">
                <a:extLst>
                  <a:ext uri="{FF2B5EF4-FFF2-40B4-BE49-F238E27FC236}">
                    <a16:creationId xmlns:a16="http://schemas.microsoft.com/office/drawing/2014/main" id="{D6F6E1F2-88C6-488D-8CA0-A700A0F3C0E4}"/>
                  </a:ext>
                </a:extLst>
              </p:cNvPr>
              <p:cNvGrpSpPr/>
              <p:nvPr/>
            </p:nvGrpSpPr>
            <p:grpSpPr>
              <a:xfrm>
                <a:off x="1168380" y="4392848"/>
                <a:ext cx="155686" cy="110013"/>
                <a:chOff x="1168380" y="4392848"/>
                <a:chExt cx="155686" cy="110013"/>
              </a:xfrm>
              <a:grpFill/>
            </p:grpSpPr>
            <p:sp>
              <p:nvSpPr>
                <p:cNvPr id="640" name="Freihandform: Form 639">
                  <a:extLst>
                    <a:ext uri="{FF2B5EF4-FFF2-40B4-BE49-F238E27FC236}">
                      <a16:creationId xmlns:a16="http://schemas.microsoft.com/office/drawing/2014/main" id="{968D16FD-36FD-42DE-9823-3D7D2721A16B}"/>
                    </a:ext>
                  </a:extLst>
                </p:cNvPr>
                <p:cNvSpPr/>
                <p:nvPr/>
              </p:nvSpPr>
              <p:spPr>
                <a:xfrm>
                  <a:off x="1208224" y="4392848"/>
                  <a:ext cx="115841" cy="96818"/>
                </a:xfrm>
                <a:custGeom>
                  <a:avLst/>
                  <a:gdLst>
                    <a:gd name="connsiteX0" fmla="*/ 45813 w 115841"/>
                    <a:gd name="connsiteY0" fmla="*/ 96818 h 96818"/>
                    <a:gd name="connsiteX1" fmla="*/ 45813 w 115841"/>
                    <a:gd name="connsiteY1" fmla="*/ 96818 h 96818"/>
                    <a:gd name="connsiteX2" fmla="*/ 11306 w 115841"/>
                    <a:gd name="connsiteY2" fmla="*/ 73373 h 96818"/>
                    <a:gd name="connsiteX3" fmla="*/ 3341 w 115841"/>
                    <a:gd name="connsiteY3" fmla="*/ 29728 h 96818"/>
                    <a:gd name="connsiteX4" fmla="*/ 99137 w 115841"/>
                    <a:gd name="connsiteY4" fmla="*/ 0 h 96818"/>
                    <a:gd name="connsiteX5" fmla="*/ 110830 w 115841"/>
                    <a:gd name="connsiteY5" fmla="*/ 241 h 96818"/>
                    <a:gd name="connsiteX6" fmla="*/ 114918 w 115841"/>
                    <a:gd name="connsiteY6" fmla="*/ 2525 h 96818"/>
                    <a:gd name="connsiteX7" fmla="*/ 115579 w 115841"/>
                    <a:gd name="connsiteY7" fmla="*/ 7154 h 96818"/>
                    <a:gd name="connsiteX8" fmla="*/ 45813 w 115841"/>
                    <a:gd name="connsiteY8" fmla="*/ 96818 h 96818"/>
                    <a:gd name="connsiteX9" fmla="*/ 99137 w 115841"/>
                    <a:gd name="connsiteY9" fmla="*/ 10520 h 96818"/>
                    <a:gd name="connsiteX10" fmla="*/ 12659 w 115841"/>
                    <a:gd name="connsiteY10" fmla="*/ 34627 h 96818"/>
                    <a:gd name="connsiteX11" fmla="*/ 20023 w 115841"/>
                    <a:gd name="connsiteY11" fmla="*/ 67391 h 96818"/>
                    <a:gd name="connsiteX12" fmla="*/ 45813 w 115841"/>
                    <a:gd name="connsiteY12" fmla="*/ 86237 h 96818"/>
                    <a:gd name="connsiteX13" fmla="*/ 103195 w 115841"/>
                    <a:gd name="connsiteY13" fmla="*/ 10551 h 96818"/>
                    <a:gd name="connsiteX14" fmla="*/ 99137 w 115841"/>
                    <a:gd name="connsiteY14" fmla="*/ 10520 h 96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841" h="96818">
                      <a:moveTo>
                        <a:pt x="45813" y="96818"/>
                      </a:moveTo>
                      <a:cubicBezTo>
                        <a:pt x="45813" y="96818"/>
                        <a:pt x="45813" y="96818"/>
                        <a:pt x="45813" y="96818"/>
                      </a:cubicBezTo>
                      <a:cubicBezTo>
                        <a:pt x="33550" y="96818"/>
                        <a:pt x="21947" y="88913"/>
                        <a:pt x="11306" y="73373"/>
                      </a:cubicBezTo>
                      <a:cubicBezTo>
                        <a:pt x="-296" y="56390"/>
                        <a:pt x="-3001" y="41691"/>
                        <a:pt x="3341" y="29728"/>
                      </a:cubicBezTo>
                      <a:cubicBezTo>
                        <a:pt x="16987" y="3848"/>
                        <a:pt x="69229" y="0"/>
                        <a:pt x="99137" y="0"/>
                      </a:cubicBezTo>
                      <a:cubicBezTo>
                        <a:pt x="106321" y="0"/>
                        <a:pt x="110830" y="241"/>
                        <a:pt x="110830" y="241"/>
                      </a:cubicBezTo>
                      <a:cubicBezTo>
                        <a:pt x="112483" y="331"/>
                        <a:pt x="113986" y="1172"/>
                        <a:pt x="114918" y="2525"/>
                      </a:cubicBezTo>
                      <a:cubicBezTo>
                        <a:pt x="115849" y="3878"/>
                        <a:pt x="116090" y="5591"/>
                        <a:pt x="115579" y="7154"/>
                      </a:cubicBezTo>
                      <a:cubicBezTo>
                        <a:pt x="112543" y="16322"/>
                        <a:pt x="84919" y="96818"/>
                        <a:pt x="45813" y="96818"/>
                      </a:cubicBezTo>
                      <a:close/>
                      <a:moveTo>
                        <a:pt x="99137" y="10520"/>
                      </a:moveTo>
                      <a:cubicBezTo>
                        <a:pt x="52967" y="10520"/>
                        <a:pt x="20625" y="19538"/>
                        <a:pt x="12659" y="34627"/>
                      </a:cubicBezTo>
                      <a:cubicBezTo>
                        <a:pt x="8301" y="42863"/>
                        <a:pt x="10765" y="53895"/>
                        <a:pt x="20023" y="67391"/>
                      </a:cubicBezTo>
                      <a:cubicBezTo>
                        <a:pt x="28590" y="79895"/>
                        <a:pt x="37247" y="86237"/>
                        <a:pt x="45813" y="86237"/>
                      </a:cubicBezTo>
                      <a:cubicBezTo>
                        <a:pt x="70251" y="86237"/>
                        <a:pt x="93576" y="36611"/>
                        <a:pt x="103195" y="10551"/>
                      </a:cubicBezTo>
                      <a:cubicBezTo>
                        <a:pt x="101962" y="10551"/>
                        <a:pt x="100610" y="10520"/>
                        <a:pt x="99137" y="10520"/>
                      </a:cubicBezTo>
                      <a:close/>
                    </a:path>
                  </a:pathLst>
                </a:custGeom>
                <a:grpFill/>
                <a:ln w="3004" cap="flat">
                  <a:noFill/>
                  <a:prstDash val="solid"/>
                  <a:miter/>
                </a:ln>
              </p:spPr>
              <p:txBody>
                <a:bodyPr rtlCol="0" anchor="ctr"/>
                <a:lstStyle/>
                <a:p>
                  <a:endParaRPr lang="en-GB" dirty="0"/>
                </a:p>
              </p:txBody>
            </p:sp>
            <p:sp>
              <p:nvSpPr>
                <p:cNvPr id="641" name="Freihandform: Form 640">
                  <a:extLst>
                    <a:ext uri="{FF2B5EF4-FFF2-40B4-BE49-F238E27FC236}">
                      <a16:creationId xmlns:a16="http://schemas.microsoft.com/office/drawing/2014/main" id="{457795B2-D783-4F9C-935A-175329642948}"/>
                    </a:ext>
                  </a:extLst>
                </p:cNvPr>
                <p:cNvSpPr/>
                <p:nvPr/>
              </p:nvSpPr>
              <p:spPr>
                <a:xfrm>
                  <a:off x="1168380" y="4442694"/>
                  <a:ext cx="83124" cy="60168"/>
                </a:xfrm>
                <a:custGeom>
                  <a:avLst/>
                  <a:gdLst>
                    <a:gd name="connsiteX0" fmla="*/ 5282 w 83124"/>
                    <a:gd name="connsiteY0" fmla="*/ 60168 h 60168"/>
                    <a:gd name="connsiteX1" fmla="*/ 923 w 83124"/>
                    <a:gd name="connsiteY1" fmla="*/ 57884 h 60168"/>
                    <a:gd name="connsiteX2" fmla="*/ 2306 w 83124"/>
                    <a:gd name="connsiteY2" fmla="*/ 50549 h 60168"/>
                    <a:gd name="connsiteX3" fmla="*/ 74867 w 83124"/>
                    <a:gd name="connsiteY3" fmla="*/ 923 h 60168"/>
                    <a:gd name="connsiteX4" fmla="*/ 82201 w 83124"/>
                    <a:gd name="connsiteY4" fmla="*/ 2306 h 60168"/>
                    <a:gd name="connsiteX5" fmla="*/ 80818 w 83124"/>
                    <a:gd name="connsiteY5" fmla="*/ 9640 h 60168"/>
                    <a:gd name="connsiteX6" fmla="*/ 8257 w 83124"/>
                    <a:gd name="connsiteY6" fmla="*/ 59266 h 60168"/>
                    <a:gd name="connsiteX7" fmla="*/ 5282 w 83124"/>
                    <a:gd name="connsiteY7" fmla="*/ 60168 h 60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124" h="60168">
                      <a:moveTo>
                        <a:pt x="5282" y="60168"/>
                      </a:moveTo>
                      <a:cubicBezTo>
                        <a:pt x="3598" y="60168"/>
                        <a:pt x="1945" y="59357"/>
                        <a:pt x="923" y="57884"/>
                      </a:cubicBezTo>
                      <a:cubicBezTo>
                        <a:pt x="-730" y="55479"/>
                        <a:pt x="-99" y="52203"/>
                        <a:pt x="2306" y="50549"/>
                      </a:cubicBezTo>
                      <a:lnTo>
                        <a:pt x="74867" y="923"/>
                      </a:lnTo>
                      <a:cubicBezTo>
                        <a:pt x="77271" y="-730"/>
                        <a:pt x="80548" y="-99"/>
                        <a:pt x="82201" y="2306"/>
                      </a:cubicBezTo>
                      <a:cubicBezTo>
                        <a:pt x="83854" y="4710"/>
                        <a:pt x="83223" y="7987"/>
                        <a:pt x="80818" y="9640"/>
                      </a:cubicBezTo>
                      <a:lnTo>
                        <a:pt x="8257" y="59266"/>
                      </a:lnTo>
                      <a:cubicBezTo>
                        <a:pt x="7326" y="59868"/>
                        <a:pt x="6304" y="60168"/>
                        <a:pt x="5282" y="60168"/>
                      </a:cubicBezTo>
                      <a:close/>
                    </a:path>
                  </a:pathLst>
                </a:custGeom>
                <a:grpFill/>
                <a:ln w="3004" cap="flat">
                  <a:noFill/>
                  <a:prstDash val="solid"/>
                  <a:miter/>
                </a:ln>
              </p:spPr>
              <p:txBody>
                <a:bodyPr rtlCol="0" anchor="ctr"/>
                <a:lstStyle/>
                <a:p>
                  <a:endParaRPr lang="en-GB" dirty="0"/>
                </a:p>
              </p:txBody>
            </p:sp>
          </p:grpSp>
          <p:grpSp>
            <p:nvGrpSpPr>
              <p:cNvPr id="637" name="Grafik 19">
                <a:extLst>
                  <a:ext uri="{FF2B5EF4-FFF2-40B4-BE49-F238E27FC236}">
                    <a16:creationId xmlns:a16="http://schemas.microsoft.com/office/drawing/2014/main" id="{19B67779-18B4-4090-B6BE-D9BEC164F12C}"/>
                  </a:ext>
                </a:extLst>
              </p:cNvPr>
              <p:cNvGrpSpPr/>
              <p:nvPr/>
            </p:nvGrpSpPr>
            <p:grpSpPr>
              <a:xfrm>
                <a:off x="1023227" y="4391826"/>
                <a:ext cx="155686" cy="110013"/>
                <a:chOff x="1023227" y="4391826"/>
                <a:chExt cx="155686" cy="110013"/>
              </a:xfrm>
              <a:grpFill/>
            </p:grpSpPr>
            <p:sp>
              <p:nvSpPr>
                <p:cNvPr id="638" name="Freihandform: Form 637">
                  <a:extLst>
                    <a:ext uri="{FF2B5EF4-FFF2-40B4-BE49-F238E27FC236}">
                      <a16:creationId xmlns:a16="http://schemas.microsoft.com/office/drawing/2014/main" id="{C2DB54AD-96D6-4800-BBD7-9247CC54D523}"/>
                    </a:ext>
                  </a:extLst>
                </p:cNvPr>
                <p:cNvSpPr/>
                <p:nvPr/>
              </p:nvSpPr>
              <p:spPr>
                <a:xfrm>
                  <a:off x="1023227" y="4391826"/>
                  <a:ext cx="115828" cy="96817"/>
                </a:xfrm>
                <a:custGeom>
                  <a:avLst/>
                  <a:gdLst>
                    <a:gd name="connsiteX0" fmla="*/ 70028 w 115828"/>
                    <a:gd name="connsiteY0" fmla="*/ 96818 h 96817"/>
                    <a:gd name="connsiteX1" fmla="*/ 263 w 115828"/>
                    <a:gd name="connsiteY1" fmla="*/ 7154 h 96817"/>
                    <a:gd name="connsiteX2" fmla="*/ 924 w 115828"/>
                    <a:gd name="connsiteY2" fmla="*/ 2525 h 96817"/>
                    <a:gd name="connsiteX3" fmla="*/ 5012 w 115828"/>
                    <a:gd name="connsiteY3" fmla="*/ 240 h 96817"/>
                    <a:gd name="connsiteX4" fmla="*/ 16705 w 115828"/>
                    <a:gd name="connsiteY4" fmla="*/ 0 h 96817"/>
                    <a:gd name="connsiteX5" fmla="*/ 112501 w 115828"/>
                    <a:gd name="connsiteY5" fmla="*/ 29728 h 96817"/>
                    <a:gd name="connsiteX6" fmla="*/ 104535 w 115828"/>
                    <a:gd name="connsiteY6" fmla="*/ 73372 h 96817"/>
                    <a:gd name="connsiteX7" fmla="*/ 70028 w 115828"/>
                    <a:gd name="connsiteY7" fmla="*/ 96818 h 96817"/>
                    <a:gd name="connsiteX8" fmla="*/ 12647 w 115828"/>
                    <a:gd name="connsiteY8" fmla="*/ 10580 h 96817"/>
                    <a:gd name="connsiteX9" fmla="*/ 70028 w 115828"/>
                    <a:gd name="connsiteY9" fmla="*/ 86267 h 96817"/>
                    <a:gd name="connsiteX10" fmla="*/ 95819 w 115828"/>
                    <a:gd name="connsiteY10" fmla="*/ 67421 h 96817"/>
                    <a:gd name="connsiteX11" fmla="*/ 103153 w 115828"/>
                    <a:gd name="connsiteY11" fmla="*/ 34657 h 96817"/>
                    <a:gd name="connsiteX12" fmla="*/ 16675 w 115828"/>
                    <a:gd name="connsiteY12" fmla="*/ 10550 h 96817"/>
                    <a:gd name="connsiteX13" fmla="*/ 12647 w 115828"/>
                    <a:gd name="connsiteY13" fmla="*/ 10580 h 96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828" h="96817">
                      <a:moveTo>
                        <a:pt x="70028" y="96818"/>
                      </a:moveTo>
                      <a:cubicBezTo>
                        <a:pt x="30923" y="96818"/>
                        <a:pt x="3299" y="16322"/>
                        <a:pt x="263" y="7154"/>
                      </a:cubicBezTo>
                      <a:cubicBezTo>
                        <a:pt x="-248" y="5591"/>
                        <a:pt x="-8" y="3877"/>
                        <a:pt x="924" y="2525"/>
                      </a:cubicBezTo>
                      <a:cubicBezTo>
                        <a:pt x="1856" y="1172"/>
                        <a:pt x="3359" y="331"/>
                        <a:pt x="5012" y="240"/>
                      </a:cubicBezTo>
                      <a:cubicBezTo>
                        <a:pt x="5012" y="240"/>
                        <a:pt x="9521" y="0"/>
                        <a:pt x="16705" y="0"/>
                      </a:cubicBezTo>
                      <a:cubicBezTo>
                        <a:pt x="46613" y="0"/>
                        <a:pt x="98854" y="3847"/>
                        <a:pt x="112501" y="29728"/>
                      </a:cubicBezTo>
                      <a:cubicBezTo>
                        <a:pt x="118813" y="41721"/>
                        <a:pt x="116138" y="56389"/>
                        <a:pt x="104535" y="73372"/>
                      </a:cubicBezTo>
                      <a:cubicBezTo>
                        <a:pt x="93895" y="88943"/>
                        <a:pt x="82292" y="96818"/>
                        <a:pt x="70028" y="96818"/>
                      </a:cubicBezTo>
                      <a:close/>
                      <a:moveTo>
                        <a:pt x="12647" y="10580"/>
                      </a:moveTo>
                      <a:cubicBezTo>
                        <a:pt x="22266" y="36641"/>
                        <a:pt x="45621" y="86267"/>
                        <a:pt x="70028" y="86267"/>
                      </a:cubicBezTo>
                      <a:cubicBezTo>
                        <a:pt x="78595" y="86267"/>
                        <a:pt x="87282" y="79925"/>
                        <a:pt x="95819" y="67421"/>
                      </a:cubicBezTo>
                      <a:cubicBezTo>
                        <a:pt x="105046" y="53925"/>
                        <a:pt x="107511" y="42893"/>
                        <a:pt x="103153" y="34657"/>
                      </a:cubicBezTo>
                      <a:cubicBezTo>
                        <a:pt x="95187" y="19568"/>
                        <a:pt x="62875" y="10550"/>
                        <a:pt x="16675" y="10550"/>
                      </a:cubicBezTo>
                      <a:cubicBezTo>
                        <a:pt x="15232" y="10550"/>
                        <a:pt x="13879" y="10550"/>
                        <a:pt x="12647" y="10580"/>
                      </a:cubicBezTo>
                      <a:close/>
                    </a:path>
                  </a:pathLst>
                </a:custGeom>
                <a:grpFill/>
                <a:ln w="3004" cap="flat">
                  <a:noFill/>
                  <a:prstDash val="solid"/>
                  <a:miter/>
                </a:ln>
              </p:spPr>
              <p:txBody>
                <a:bodyPr rtlCol="0" anchor="ctr"/>
                <a:lstStyle/>
                <a:p>
                  <a:endParaRPr lang="en-GB" dirty="0"/>
                </a:p>
              </p:txBody>
            </p:sp>
            <p:sp>
              <p:nvSpPr>
                <p:cNvPr id="639" name="Freihandform: Form 638">
                  <a:extLst>
                    <a:ext uri="{FF2B5EF4-FFF2-40B4-BE49-F238E27FC236}">
                      <a16:creationId xmlns:a16="http://schemas.microsoft.com/office/drawing/2014/main" id="{DF5C3847-A833-4C0A-AB85-02226CEDF54B}"/>
                    </a:ext>
                  </a:extLst>
                </p:cNvPr>
                <p:cNvSpPr/>
                <p:nvPr/>
              </p:nvSpPr>
              <p:spPr>
                <a:xfrm>
                  <a:off x="1095789" y="4441655"/>
                  <a:ext cx="83124" cy="60185"/>
                </a:xfrm>
                <a:custGeom>
                  <a:avLst/>
                  <a:gdLst>
                    <a:gd name="connsiteX0" fmla="*/ 77842 w 83124"/>
                    <a:gd name="connsiteY0" fmla="*/ 60185 h 60185"/>
                    <a:gd name="connsiteX1" fmla="*/ 74867 w 83124"/>
                    <a:gd name="connsiteY1" fmla="*/ 59253 h 60185"/>
                    <a:gd name="connsiteX2" fmla="*/ 2306 w 83124"/>
                    <a:gd name="connsiteY2" fmla="*/ 9627 h 60185"/>
                    <a:gd name="connsiteX3" fmla="*/ 923 w 83124"/>
                    <a:gd name="connsiteY3" fmla="*/ 2293 h 60185"/>
                    <a:gd name="connsiteX4" fmla="*/ 8257 w 83124"/>
                    <a:gd name="connsiteY4" fmla="*/ 910 h 60185"/>
                    <a:gd name="connsiteX5" fmla="*/ 80818 w 83124"/>
                    <a:gd name="connsiteY5" fmla="*/ 50536 h 60185"/>
                    <a:gd name="connsiteX6" fmla="*/ 82201 w 83124"/>
                    <a:gd name="connsiteY6" fmla="*/ 57870 h 60185"/>
                    <a:gd name="connsiteX7" fmla="*/ 77842 w 83124"/>
                    <a:gd name="connsiteY7" fmla="*/ 60185 h 60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124" h="60185">
                      <a:moveTo>
                        <a:pt x="77842" y="60185"/>
                      </a:moveTo>
                      <a:cubicBezTo>
                        <a:pt x="76820" y="60185"/>
                        <a:pt x="75768" y="59884"/>
                        <a:pt x="74867" y="59253"/>
                      </a:cubicBezTo>
                      <a:lnTo>
                        <a:pt x="2306" y="9627"/>
                      </a:lnTo>
                      <a:cubicBezTo>
                        <a:pt x="-99" y="7974"/>
                        <a:pt x="-730" y="4697"/>
                        <a:pt x="923" y="2293"/>
                      </a:cubicBezTo>
                      <a:cubicBezTo>
                        <a:pt x="2576" y="-112"/>
                        <a:pt x="5853" y="-713"/>
                        <a:pt x="8257" y="910"/>
                      </a:cubicBezTo>
                      <a:lnTo>
                        <a:pt x="80818" y="50536"/>
                      </a:lnTo>
                      <a:cubicBezTo>
                        <a:pt x="83223" y="52190"/>
                        <a:pt x="83854" y="55466"/>
                        <a:pt x="82201" y="57870"/>
                      </a:cubicBezTo>
                      <a:cubicBezTo>
                        <a:pt x="81179" y="59403"/>
                        <a:pt x="79526" y="60185"/>
                        <a:pt x="77842" y="60185"/>
                      </a:cubicBezTo>
                      <a:close/>
                    </a:path>
                  </a:pathLst>
                </a:custGeom>
                <a:grpFill/>
                <a:ln w="3004" cap="flat">
                  <a:noFill/>
                  <a:prstDash val="solid"/>
                  <a:miter/>
                </a:ln>
              </p:spPr>
              <p:txBody>
                <a:bodyPr rtlCol="0" anchor="ctr"/>
                <a:lstStyle/>
                <a:p>
                  <a:endParaRPr lang="en-GB" dirty="0"/>
                </a:p>
              </p:txBody>
            </p:sp>
          </p:grpSp>
        </p:grpSp>
        <p:grpSp>
          <p:nvGrpSpPr>
            <p:cNvPr id="626" name="Group 988">
              <a:extLst>
                <a:ext uri="{FF2B5EF4-FFF2-40B4-BE49-F238E27FC236}">
                  <a16:creationId xmlns:a16="http://schemas.microsoft.com/office/drawing/2014/main" id="{45326280-9E5B-4570-A921-7C30D4C906A4}"/>
                </a:ext>
              </a:extLst>
            </p:cNvPr>
            <p:cNvGrpSpPr/>
            <p:nvPr/>
          </p:nvGrpSpPr>
          <p:grpSpPr>
            <a:xfrm>
              <a:off x="5164309" y="4097446"/>
              <a:ext cx="196867" cy="247710"/>
              <a:chOff x="1054007" y="4070773"/>
              <a:chExt cx="236905" cy="298088"/>
            </a:xfrm>
          </p:grpSpPr>
          <p:grpSp>
            <p:nvGrpSpPr>
              <p:cNvPr id="627" name="Grafik 19">
                <a:extLst>
                  <a:ext uri="{FF2B5EF4-FFF2-40B4-BE49-F238E27FC236}">
                    <a16:creationId xmlns:a16="http://schemas.microsoft.com/office/drawing/2014/main" id="{00DC6472-57D2-4A55-9108-9A2CE88452A6}"/>
                  </a:ext>
                </a:extLst>
              </p:cNvPr>
              <p:cNvGrpSpPr/>
              <p:nvPr/>
            </p:nvGrpSpPr>
            <p:grpSpPr>
              <a:xfrm>
                <a:off x="1090580" y="4141801"/>
                <a:ext cx="163818" cy="227060"/>
                <a:chOff x="1090580" y="4141801"/>
                <a:chExt cx="163818" cy="227060"/>
              </a:xfrm>
              <a:solidFill>
                <a:schemeClr val="accent1"/>
              </a:solidFill>
            </p:grpSpPr>
            <p:sp>
              <p:nvSpPr>
                <p:cNvPr id="632" name="Freihandform: Form 631">
                  <a:extLst>
                    <a:ext uri="{FF2B5EF4-FFF2-40B4-BE49-F238E27FC236}">
                      <a16:creationId xmlns:a16="http://schemas.microsoft.com/office/drawing/2014/main" id="{9D851603-0DD7-41D6-901B-245B3C2D176E}"/>
                    </a:ext>
                  </a:extLst>
                </p:cNvPr>
                <p:cNvSpPr/>
                <p:nvPr/>
              </p:nvSpPr>
              <p:spPr>
                <a:xfrm>
                  <a:off x="1090580" y="4141801"/>
                  <a:ext cx="163818" cy="184287"/>
                </a:xfrm>
                <a:custGeom>
                  <a:avLst/>
                  <a:gdLst>
                    <a:gd name="connsiteX0" fmla="*/ 118310 w 163818"/>
                    <a:gd name="connsiteY0" fmla="*/ 184288 h 184287"/>
                    <a:gd name="connsiteX1" fmla="*/ 45448 w 163818"/>
                    <a:gd name="connsiteY1" fmla="*/ 184288 h 184287"/>
                    <a:gd name="connsiteX2" fmla="*/ 40188 w 163818"/>
                    <a:gd name="connsiteY2" fmla="*/ 179028 h 184287"/>
                    <a:gd name="connsiteX3" fmla="*/ 40188 w 163818"/>
                    <a:gd name="connsiteY3" fmla="*/ 153328 h 184287"/>
                    <a:gd name="connsiteX4" fmla="*/ 34447 w 163818"/>
                    <a:gd name="connsiteY4" fmla="*/ 148669 h 184287"/>
                    <a:gd name="connsiteX5" fmla="*/ 0 w 163818"/>
                    <a:gd name="connsiteY5" fmla="*/ 81909 h 184287"/>
                    <a:gd name="connsiteX6" fmla="*/ 81909 w 163818"/>
                    <a:gd name="connsiteY6" fmla="*/ 0 h 184287"/>
                    <a:gd name="connsiteX7" fmla="*/ 163818 w 163818"/>
                    <a:gd name="connsiteY7" fmla="*/ 81909 h 184287"/>
                    <a:gd name="connsiteX8" fmla="*/ 128620 w 163818"/>
                    <a:gd name="connsiteY8" fmla="*/ 149180 h 184287"/>
                    <a:gd name="connsiteX9" fmla="*/ 123570 w 163818"/>
                    <a:gd name="connsiteY9" fmla="*/ 158859 h 184287"/>
                    <a:gd name="connsiteX10" fmla="*/ 123600 w 163818"/>
                    <a:gd name="connsiteY10" fmla="*/ 178998 h 184287"/>
                    <a:gd name="connsiteX11" fmla="*/ 118310 w 163818"/>
                    <a:gd name="connsiteY11" fmla="*/ 184288 h 184287"/>
                    <a:gd name="connsiteX12" fmla="*/ 50739 w 163818"/>
                    <a:gd name="connsiteY12" fmla="*/ 173737 h 184287"/>
                    <a:gd name="connsiteX13" fmla="*/ 113050 w 163818"/>
                    <a:gd name="connsiteY13" fmla="*/ 173737 h 184287"/>
                    <a:gd name="connsiteX14" fmla="*/ 113050 w 163818"/>
                    <a:gd name="connsiteY14" fmla="*/ 159279 h 184287"/>
                    <a:gd name="connsiteX15" fmla="*/ 122999 w 163818"/>
                    <a:gd name="connsiteY15" fmla="*/ 140252 h 184287"/>
                    <a:gd name="connsiteX16" fmla="*/ 153268 w 163818"/>
                    <a:gd name="connsiteY16" fmla="*/ 81879 h 184287"/>
                    <a:gd name="connsiteX17" fmla="*/ 81909 w 163818"/>
                    <a:gd name="connsiteY17" fmla="*/ 10520 h 184287"/>
                    <a:gd name="connsiteX18" fmla="*/ 10550 w 163818"/>
                    <a:gd name="connsiteY18" fmla="*/ 81879 h 184287"/>
                    <a:gd name="connsiteX19" fmla="*/ 40459 w 163818"/>
                    <a:gd name="connsiteY19" fmla="*/ 139952 h 184287"/>
                    <a:gd name="connsiteX20" fmla="*/ 50408 w 163818"/>
                    <a:gd name="connsiteY20" fmla="*/ 149721 h 184287"/>
                    <a:gd name="connsiteX21" fmla="*/ 50769 w 163818"/>
                    <a:gd name="connsiteY21" fmla="*/ 151675 h 184287"/>
                    <a:gd name="connsiteX22" fmla="*/ 50769 w 163818"/>
                    <a:gd name="connsiteY22" fmla="*/ 173737 h 18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3818" h="184287">
                      <a:moveTo>
                        <a:pt x="118310" y="184288"/>
                      </a:moveTo>
                      <a:lnTo>
                        <a:pt x="45448" y="184288"/>
                      </a:lnTo>
                      <a:cubicBezTo>
                        <a:pt x="42533" y="184288"/>
                        <a:pt x="40188" y="181913"/>
                        <a:pt x="40188" y="179028"/>
                      </a:cubicBezTo>
                      <a:lnTo>
                        <a:pt x="40188" y="153328"/>
                      </a:lnTo>
                      <a:cubicBezTo>
                        <a:pt x="39497" y="152636"/>
                        <a:pt x="37813" y="151013"/>
                        <a:pt x="34447" y="148669"/>
                      </a:cubicBezTo>
                      <a:cubicBezTo>
                        <a:pt x="12865" y="133760"/>
                        <a:pt x="0" y="108811"/>
                        <a:pt x="0" y="81909"/>
                      </a:cubicBezTo>
                      <a:cubicBezTo>
                        <a:pt x="0" y="36762"/>
                        <a:pt x="36761" y="0"/>
                        <a:pt x="81909" y="0"/>
                      </a:cubicBezTo>
                      <a:cubicBezTo>
                        <a:pt x="127087" y="0"/>
                        <a:pt x="163818" y="36762"/>
                        <a:pt x="163818" y="81909"/>
                      </a:cubicBezTo>
                      <a:cubicBezTo>
                        <a:pt x="163818" y="109653"/>
                        <a:pt x="150322" y="135443"/>
                        <a:pt x="128620" y="149180"/>
                      </a:cubicBezTo>
                      <a:cubicBezTo>
                        <a:pt x="123209" y="152606"/>
                        <a:pt x="123570" y="158798"/>
                        <a:pt x="123570" y="158859"/>
                      </a:cubicBezTo>
                      <a:lnTo>
                        <a:pt x="123600" y="178998"/>
                      </a:lnTo>
                      <a:cubicBezTo>
                        <a:pt x="123570" y="181943"/>
                        <a:pt x="121225" y="184288"/>
                        <a:pt x="118310" y="184288"/>
                      </a:cubicBezTo>
                      <a:close/>
                      <a:moveTo>
                        <a:pt x="50739" y="173737"/>
                      </a:moveTo>
                      <a:lnTo>
                        <a:pt x="113050" y="173737"/>
                      </a:lnTo>
                      <a:lnTo>
                        <a:pt x="113050" y="159279"/>
                      </a:lnTo>
                      <a:cubicBezTo>
                        <a:pt x="113019" y="159189"/>
                        <a:pt x="112178" y="147076"/>
                        <a:pt x="122999" y="140252"/>
                      </a:cubicBezTo>
                      <a:cubicBezTo>
                        <a:pt x="141665" y="128409"/>
                        <a:pt x="153268" y="106046"/>
                        <a:pt x="153268" y="81879"/>
                      </a:cubicBezTo>
                      <a:cubicBezTo>
                        <a:pt x="153268" y="42533"/>
                        <a:pt x="121255" y="10520"/>
                        <a:pt x="81909" y="10520"/>
                      </a:cubicBezTo>
                      <a:cubicBezTo>
                        <a:pt x="42563" y="10520"/>
                        <a:pt x="10550" y="42533"/>
                        <a:pt x="10550" y="81879"/>
                      </a:cubicBezTo>
                      <a:cubicBezTo>
                        <a:pt x="10550" y="105325"/>
                        <a:pt x="21732" y="127027"/>
                        <a:pt x="40459" y="139952"/>
                      </a:cubicBezTo>
                      <a:cubicBezTo>
                        <a:pt x="47733" y="144972"/>
                        <a:pt x="49807" y="148218"/>
                        <a:pt x="50408" y="149721"/>
                      </a:cubicBezTo>
                      <a:cubicBezTo>
                        <a:pt x="50648" y="150352"/>
                        <a:pt x="50769" y="150983"/>
                        <a:pt x="50769" y="151675"/>
                      </a:cubicBezTo>
                      <a:lnTo>
                        <a:pt x="50769" y="173737"/>
                      </a:lnTo>
                      <a:close/>
                    </a:path>
                  </a:pathLst>
                </a:custGeom>
                <a:solidFill>
                  <a:schemeClr val="accent1"/>
                </a:solidFill>
                <a:ln w="3004" cap="flat">
                  <a:noFill/>
                  <a:prstDash val="solid"/>
                  <a:miter/>
                </a:ln>
              </p:spPr>
              <p:txBody>
                <a:bodyPr rtlCol="0" anchor="ctr"/>
                <a:lstStyle/>
                <a:p>
                  <a:endParaRPr lang="en-GB" dirty="0"/>
                </a:p>
              </p:txBody>
            </p:sp>
            <p:sp>
              <p:nvSpPr>
                <p:cNvPr id="633" name="Freihandform: Form 632">
                  <a:extLst>
                    <a:ext uri="{FF2B5EF4-FFF2-40B4-BE49-F238E27FC236}">
                      <a16:creationId xmlns:a16="http://schemas.microsoft.com/office/drawing/2014/main" id="{3A3D8A62-33B7-4D83-B0B0-0729DF7248DB}"/>
                    </a:ext>
                  </a:extLst>
                </p:cNvPr>
                <p:cNvSpPr/>
                <p:nvPr/>
              </p:nvSpPr>
              <p:spPr>
                <a:xfrm>
                  <a:off x="1130678" y="4336970"/>
                  <a:ext cx="82690" cy="10520"/>
                </a:xfrm>
                <a:custGeom>
                  <a:avLst/>
                  <a:gdLst>
                    <a:gd name="connsiteX0" fmla="*/ 77430 w 82690"/>
                    <a:gd name="connsiteY0" fmla="*/ 10520 h 10520"/>
                    <a:gd name="connsiteX1" fmla="*/ 5260 w 82690"/>
                    <a:gd name="connsiteY1" fmla="*/ 10520 h 10520"/>
                    <a:gd name="connsiteX2" fmla="*/ 0 w 82690"/>
                    <a:gd name="connsiteY2" fmla="*/ 5260 h 10520"/>
                    <a:gd name="connsiteX3" fmla="*/ 5260 w 82690"/>
                    <a:gd name="connsiteY3" fmla="*/ 0 h 10520"/>
                    <a:gd name="connsiteX4" fmla="*/ 77430 w 82690"/>
                    <a:gd name="connsiteY4" fmla="*/ 0 h 10520"/>
                    <a:gd name="connsiteX5" fmla="*/ 82691 w 82690"/>
                    <a:gd name="connsiteY5" fmla="*/ 5260 h 10520"/>
                    <a:gd name="connsiteX6" fmla="*/ 77430 w 82690"/>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2690" h="10520">
                      <a:moveTo>
                        <a:pt x="77430" y="10520"/>
                      </a:moveTo>
                      <a:lnTo>
                        <a:pt x="5260" y="10520"/>
                      </a:lnTo>
                      <a:cubicBezTo>
                        <a:pt x="2345" y="10520"/>
                        <a:pt x="0" y="8146"/>
                        <a:pt x="0" y="5260"/>
                      </a:cubicBezTo>
                      <a:cubicBezTo>
                        <a:pt x="0" y="2344"/>
                        <a:pt x="2375" y="0"/>
                        <a:pt x="5260" y="0"/>
                      </a:cubicBezTo>
                      <a:lnTo>
                        <a:pt x="77430" y="0"/>
                      </a:lnTo>
                      <a:cubicBezTo>
                        <a:pt x="80346" y="0"/>
                        <a:pt x="82691" y="2375"/>
                        <a:pt x="82691" y="5260"/>
                      </a:cubicBezTo>
                      <a:cubicBezTo>
                        <a:pt x="82691" y="8146"/>
                        <a:pt x="80346" y="10520"/>
                        <a:pt x="77430" y="10520"/>
                      </a:cubicBezTo>
                      <a:close/>
                    </a:path>
                  </a:pathLst>
                </a:custGeom>
                <a:solidFill>
                  <a:schemeClr val="accent1"/>
                </a:solidFill>
                <a:ln w="3004" cap="flat">
                  <a:noFill/>
                  <a:prstDash val="solid"/>
                  <a:miter/>
                </a:ln>
              </p:spPr>
              <p:txBody>
                <a:bodyPr rtlCol="0" anchor="ctr"/>
                <a:lstStyle/>
                <a:p>
                  <a:endParaRPr lang="en-GB" dirty="0"/>
                </a:p>
              </p:txBody>
            </p:sp>
            <p:sp>
              <p:nvSpPr>
                <p:cNvPr id="634" name="Freihandform: Form 633">
                  <a:extLst>
                    <a:ext uri="{FF2B5EF4-FFF2-40B4-BE49-F238E27FC236}">
                      <a16:creationId xmlns:a16="http://schemas.microsoft.com/office/drawing/2014/main" id="{8C6E7DBC-3B02-4597-8DE0-9C0D29AF5FB9}"/>
                    </a:ext>
                  </a:extLst>
                </p:cNvPr>
                <p:cNvSpPr/>
                <p:nvPr/>
              </p:nvSpPr>
              <p:spPr>
                <a:xfrm>
                  <a:off x="1144024" y="4358341"/>
                  <a:ext cx="55968" cy="10520"/>
                </a:xfrm>
                <a:custGeom>
                  <a:avLst/>
                  <a:gdLst>
                    <a:gd name="connsiteX0" fmla="*/ 50708 w 55968"/>
                    <a:gd name="connsiteY0" fmla="*/ 10520 h 10520"/>
                    <a:gd name="connsiteX1" fmla="*/ 5260 w 55968"/>
                    <a:gd name="connsiteY1" fmla="*/ 10520 h 10520"/>
                    <a:gd name="connsiteX2" fmla="*/ 0 w 55968"/>
                    <a:gd name="connsiteY2" fmla="*/ 5260 h 10520"/>
                    <a:gd name="connsiteX3" fmla="*/ 5260 w 55968"/>
                    <a:gd name="connsiteY3" fmla="*/ 0 h 10520"/>
                    <a:gd name="connsiteX4" fmla="*/ 50708 w 55968"/>
                    <a:gd name="connsiteY4" fmla="*/ 0 h 10520"/>
                    <a:gd name="connsiteX5" fmla="*/ 55969 w 55968"/>
                    <a:gd name="connsiteY5" fmla="*/ 5260 h 10520"/>
                    <a:gd name="connsiteX6" fmla="*/ 50708 w 55968"/>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68" h="10520">
                      <a:moveTo>
                        <a:pt x="50708" y="10520"/>
                      </a:moveTo>
                      <a:lnTo>
                        <a:pt x="5260" y="10520"/>
                      </a:lnTo>
                      <a:cubicBezTo>
                        <a:pt x="2345" y="10520"/>
                        <a:pt x="0" y="8146"/>
                        <a:pt x="0" y="5260"/>
                      </a:cubicBezTo>
                      <a:cubicBezTo>
                        <a:pt x="0" y="2344"/>
                        <a:pt x="2375" y="0"/>
                        <a:pt x="5260" y="0"/>
                      </a:cubicBezTo>
                      <a:lnTo>
                        <a:pt x="50708" y="0"/>
                      </a:lnTo>
                      <a:cubicBezTo>
                        <a:pt x="53624" y="0"/>
                        <a:pt x="55969" y="2375"/>
                        <a:pt x="55969" y="5260"/>
                      </a:cubicBezTo>
                      <a:cubicBezTo>
                        <a:pt x="55999" y="8176"/>
                        <a:pt x="53624" y="10520"/>
                        <a:pt x="50708" y="10520"/>
                      </a:cubicBezTo>
                      <a:close/>
                    </a:path>
                  </a:pathLst>
                </a:custGeom>
                <a:solidFill>
                  <a:schemeClr val="accent1"/>
                </a:solidFill>
                <a:ln w="3004" cap="flat">
                  <a:noFill/>
                  <a:prstDash val="solid"/>
                  <a:miter/>
                </a:ln>
              </p:spPr>
              <p:txBody>
                <a:bodyPr rtlCol="0" anchor="ctr"/>
                <a:lstStyle/>
                <a:p>
                  <a:endParaRPr lang="en-GB" dirty="0"/>
                </a:p>
              </p:txBody>
            </p:sp>
          </p:grpSp>
          <p:grpSp>
            <p:nvGrpSpPr>
              <p:cNvPr id="628" name="Grafik 19">
                <a:extLst>
                  <a:ext uri="{FF2B5EF4-FFF2-40B4-BE49-F238E27FC236}">
                    <a16:creationId xmlns:a16="http://schemas.microsoft.com/office/drawing/2014/main" id="{FE4088CA-60AE-4CCB-B9D8-2587387D5789}"/>
                  </a:ext>
                </a:extLst>
              </p:cNvPr>
              <p:cNvGrpSpPr/>
              <p:nvPr/>
            </p:nvGrpSpPr>
            <p:grpSpPr>
              <a:xfrm>
                <a:off x="1054007" y="4070773"/>
                <a:ext cx="236905" cy="84614"/>
                <a:chOff x="1054007" y="4070773"/>
                <a:chExt cx="236905" cy="84614"/>
              </a:xfrm>
              <a:solidFill>
                <a:schemeClr val="accent1"/>
              </a:solidFill>
            </p:grpSpPr>
            <p:sp>
              <p:nvSpPr>
                <p:cNvPr id="629" name="Freihandform: Form 628">
                  <a:extLst>
                    <a:ext uri="{FF2B5EF4-FFF2-40B4-BE49-F238E27FC236}">
                      <a16:creationId xmlns:a16="http://schemas.microsoft.com/office/drawing/2014/main" id="{C7C2EA25-4070-4CA0-893E-C589C4F8BA1E}"/>
                    </a:ext>
                  </a:extLst>
                </p:cNvPr>
                <p:cNvSpPr/>
                <p:nvPr/>
              </p:nvSpPr>
              <p:spPr>
                <a:xfrm>
                  <a:off x="1165336" y="4070773"/>
                  <a:ext cx="10520" cy="57892"/>
                </a:xfrm>
                <a:custGeom>
                  <a:avLst/>
                  <a:gdLst>
                    <a:gd name="connsiteX0" fmla="*/ 5260 w 10520"/>
                    <a:gd name="connsiteY0" fmla="*/ 57892 h 57892"/>
                    <a:gd name="connsiteX1" fmla="*/ 0 w 10520"/>
                    <a:gd name="connsiteY1" fmla="*/ 52632 h 57892"/>
                    <a:gd name="connsiteX2" fmla="*/ 0 w 10520"/>
                    <a:gd name="connsiteY2" fmla="*/ 5260 h 57892"/>
                    <a:gd name="connsiteX3" fmla="*/ 5260 w 10520"/>
                    <a:gd name="connsiteY3" fmla="*/ 0 h 57892"/>
                    <a:gd name="connsiteX4" fmla="*/ 10520 w 10520"/>
                    <a:gd name="connsiteY4" fmla="*/ 5260 h 57892"/>
                    <a:gd name="connsiteX5" fmla="*/ 10520 w 10520"/>
                    <a:gd name="connsiteY5" fmla="*/ 52632 h 57892"/>
                    <a:gd name="connsiteX6" fmla="*/ 5260 w 10520"/>
                    <a:gd name="connsiteY6" fmla="*/ 57892 h 57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20" h="57892">
                      <a:moveTo>
                        <a:pt x="5260" y="57892"/>
                      </a:moveTo>
                      <a:cubicBezTo>
                        <a:pt x="2345" y="57892"/>
                        <a:pt x="0" y="55518"/>
                        <a:pt x="0" y="52632"/>
                      </a:cubicBezTo>
                      <a:lnTo>
                        <a:pt x="0" y="5260"/>
                      </a:lnTo>
                      <a:cubicBezTo>
                        <a:pt x="0" y="2344"/>
                        <a:pt x="2375" y="0"/>
                        <a:pt x="5260" y="0"/>
                      </a:cubicBezTo>
                      <a:cubicBezTo>
                        <a:pt x="8176" y="0"/>
                        <a:pt x="10520" y="2375"/>
                        <a:pt x="10520" y="5260"/>
                      </a:cubicBezTo>
                      <a:lnTo>
                        <a:pt x="10520" y="52632"/>
                      </a:lnTo>
                      <a:cubicBezTo>
                        <a:pt x="10550" y="55518"/>
                        <a:pt x="8176" y="57892"/>
                        <a:pt x="5260" y="57892"/>
                      </a:cubicBezTo>
                      <a:close/>
                    </a:path>
                  </a:pathLst>
                </a:custGeom>
                <a:solidFill>
                  <a:schemeClr val="accent1"/>
                </a:solidFill>
                <a:ln w="3004" cap="flat">
                  <a:noFill/>
                  <a:prstDash val="solid"/>
                  <a:miter/>
                </a:ln>
              </p:spPr>
              <p:txBody>
                <a:bodyPr rtlCol="0" anchor="ctr"/>
                <a:lstStyle/>
                <a:p>
                  <a:endParaRPr lang="en-GB" dirty="0"/>
                </a:p>
              </p:txBody>
            </p:sp>
            <p:sp>
              <p:nvSpPr>
                <p:cNvPr id="630" name="Freihandform: Form 629">
                  <a:extLst>
                    <a:ext uri="{FF2B5EF4-FFF2-40B4-BE49-F238E27FC236}">
                      <a16:creationId xmlns:a16="http://schemas.microsoft.com/office/drawing/2014/main" id="{65C84FAA-65E5-4A73-B73F-258439D23516}"/>
                    </a:ext>
                  </a:extLst>
                </p:cNvPr>
                <p:cNvSpPr/>
                <p:nvPr/>
              </p:nvSpPr>
              <p:spPr>
                <a:xfrm>
                  <a:off x="1054007" y="4111329"/>
                  <a:ext cx="44050" cy="44058"/>
                </a:xfrm>
                <a:custGeom>
                  <a:avLst/>
                  <a:gdLst>
                    <a:gd name="connsiteX0" fmla="*/ 38768 w 44050"/>
                    <a:gd name="connsiteY0" fmla="*/ 44058 h 44058"/>
                    <a:gd name="connsiteX1" fmla="*/ 35041 w 44050"/>
                    <a:gd name="connsiteY1" fmla="*/ 42525 h 44058"/>
                    <a:gd name="connsiteX2" fmla="*/ 1556 w 44050"/>
                    <a:gd name="connsiteY2" fmla="*/ 9010 h 44058"/>
                    <a:gd name="connsiteX3" fmla="*/ 1556 w 44050"/>
                    <a:gd name="connsiteY3" fmla="*/ 1556 h 44058"/>
                    <a:gd name="connsiteX4" fmla="*/ 9010 w 44050"/>
                    <a:gd name="connsiteY4" fmla="*/ 1556 h 44058"/>
                    <a:gd name="connsiteX5" fmla="*/ 42495 w 44050"/>
                    <a:gd name="connsiteY5" fmla="*/ 35041 h 44058"/>
                    <a:gd name="connsiteX6" fmla="*/ 42495 w 44050"/>
                    <a:gd name="connsiteY6" fmla="*/ 42495 h 44058"/>
                    <a:gd name="connsiteX7" fmla="*/ 38768 w 44050"/>
                    <a:gd name="connsiteY7" fmla="*/ 44058 h 4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50" h="44058">
                      <a:moveTo>
                        <a:pt x="38768" y="44058"/>
                      </a:moveTo>
                      <a:cubicBezTo>
                        <a:pt x="37415" y="44058"/>
                        <a:pt x="36063" y="43547"/>
                        <a:pt x="35041" y="42525"/>
                      </a:cubicBezTo>
                      <a:lnTo>
                        <a:pt x="1556" y="9010"/>
                      </a:lnTo>
                      <a:cubicBezTo>
                        <a:pt x="-519" y="6936"/>
                        <a:pt x="-519" y="3600"/>
                        <a:pt x="1556" y="1556"/>
                      </a:cubicBezTo>
                      <a:cubicBezTo>
                        <a:pt x="3630" y="-519"/>
                        <a:pt x="6966" y="-519"/>
                        <a:pt x="9010" y="1556"/>
                      </a:cubicBezTo>
                      <a:lnTo>
                        <a:pt x="42495" y="35041"/>
                      </a:lnTo>
                      <a:cubicBezTo>
                        <a:pt x="44569" y="37115"/>
                        <a:pt x="44569" y="40451"/>
                        <a:pt x="42495" y="42495"/>
                      </a:cubicBezTo>
                      <a:cubicBezTo>
                        <a:pt x="41473" y="43517"/>
                        <a:pt x="40120" y="44058"/>
                        <a:pt x="38768" y="44058"/>
                      </a:cubicBezTo>
                      <a:close/>
                    </a:path>
                  </a:pathLst>
                </a:custGeom>
                <a:solidFill>
                  <a:schemeClr val="accent1"/>
                </a:solidFill>
                <a:ln w="3004" cap="flat">
                  <a:noFill/>
                  <a:prstDash val="solid"/>
                  <a:miter/>
                </a:ln>
              </p:spPr>
              <p:txBody>
                <a:bodyPr rtlCol="0" anchor="ctr"/>
                <a:lstStyle/>
                <a:p>
                  <a:endParaRPr lang="en-GB" dirty="0"/>
                </a:p>
              </p:txBody>
            </p:sp>
            <p:sp>
              <p:nvSpPr>
                <p:cNvPr id="631" name="Freihandform: Form 630">
                  <a:extLst>
                    <a:ext uri="{FF2B5EF4-FFF2-40B4-BE49-F238E27FC236}">
                      <a16:creationId xmlns:a16="http://schemas.microsoft.com/office/drawing/2014/main" id="{B04D8037-E83E-4E0B-B97F-8B52079D3D48}"/>
                    </a:ext>
                  </a:extLst>
                </p:cNvPr>
                <p:cNvSpPr/>
                <p:nvPr/>
              </p:nvSpPr>
              <p:spPr>
                <a:xfrm>
                  <a:off x="1246861" y="4111359"/>
                  <a:ext cx="44050" cy="44028"/>
                </a:xfrm>
                <a:custGeom>
                  <a:avLst/>
                  <a:gdLst>
                    <a:gd name="connsiteX0" fmla="*/ 5283 w 44050"/>
                    <a:gd name="connsiteY0" fmla="*/ 44028 h 44028"/>
                    <a:gd name="connsiteX1" fmla="*/ 1556 w 44050"/>
                    <a:gd name="connsiteY1" fmla="*/ 42495 h 44028"/>
                    <a:gd name="connsiteX2" fmla="*/ 1556 w 44050"/>
                    <a:gd name="connsiteY2" fmla="*/ 35041 h 44028"/>
                    <a:gd name="connsiteX3" fmla="*/ 35041 w 44050"/>
                    <a:gd name="connsiteY3" fmla="*/ 1556 h 44028"/>
                    <a:gd name="connsiteX4" fmla="*/ 42495 w 44050"/>
                    <a:gd name="connsiteY4" fmla="*/ 1556 h 44028"/>
                    <a:gd name="connsiteX5" fmla="*/ 42495 w 44050"/>
                    <a:gd name="connsiteY5" fmla="*/ 9010 h 44028"/>
                    <a:gd name="connsiteX6" fmla="*/ 9010 w 44050"/>
                    <a:gd name="connsiteY6" fmla="*/ 42495 h 44028"/>
                    <a:gd name="connsiteX7" fmla="*/ 5283 w 44050"/>
                    <a:gd name="connsiteY7" fmla="*/ 44028 h 44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50" h="44028">
                      <a:moveTo>
                        <a:pt x="5283" y="44028"/>
                      </a:moveTo>
                      <a:cubicBezTo>
                        <a:pt x="3930" y="44028"/>
                        <a:pt x="2577" y="43517"/>
                        <a:pt x="1556" y="42495"/>
                      </a:cubicBezTo>
                      <a:cubicBezTo>
                        <a:pt x="-519" y="40421"/>
                        <a:pt x="-519" y="37085"/>
                        <a:pt x="1556" y="35041"/>
                      </a:cubicBezTo>
                      <a:lnTo>
                        <a:pt x="35041" y="1556"/>
                      </a:lnTo>
                      <a:cubicBezTo>
                        <a:pt x="37115" y="-519"/>
                        <a:pt x="40451" y="-519"/>
                        <a:pt x="42495" y="1556"/>
                      </a:cubicBezTo>
                      <a:cubicBezTo>
                        <a:pt x="44569" y="3630"/>
                        <a:pt x="44569" y="6966"/>
                        <a:pt x="42495" y="9010"/>
                      </a:cubicBezTo>
                      <a:lnTo>
                        <a:pt x="9010" y="42495"/>
                      </a:lnTo>
                      <a:cubicBezTo>
                        <a:pt x="7988" y="43487"/>
                        <a:pt x="6635" y="44028"/>
                        <a:pt x="5283" y="44028"/>
                      </a:cubicBezTo>
                      <a:close/>
                    </a:path>
                  </a:pathLst>
                </a:custGeom>
                <a:solidFill>
                  <a:schemeClr val="accent1"/>
                </a:solidFill>
                <a:ln w="3004" cap="flat">
                  <a:noFill/>
                  <a:prstDash val="solid"/>
                  <a:miter/>
                </a:ln>
              </p:spPr>
              <p:txBody>
                <a:bodyPr rtlCol="0" anchor="ctr"/>
                <a:lstStyle/>
                <a:p>
                  <a:endParaRPr lang="en-GB" dirty="0"/>
                </a:p>
              </p:txBody>
            </p:sp>
          </p:grpSp>
        </p:grpSp>
      </p:grpSp>
      <p:grpSp>
        <p:nvGrpSpPr>
          <p:cNvPr id="31" name="Group 30">
            <a:extLst>
              <a:ext uri="{FF2B5EF4-FFF2-40B4-BE49-F238E27FC236}">
                <a16:creationId xmlns:a16="http://schemas.microsoft.com/office/drawing/2014/main" id="{FB2DF7CA-A8E4-0AAC-0ACB-7CC1803C6444}"/>
              </a:ext>
            </a:extLst>
          </p:cNvPr>
          <p:cNvGrpSpPr/>
          <p:nvPr/>
        </p:nvGrpSpPr>
        <p:grpSpPr>
          <a:xfrm>
            <a:off x="4903780" y="2449339"/>
            <a:ext cx="625125" cy="432000"/>
            <a:chOff x="4951167" y="2449339"/>
            <a:chExt cx="625125" cy="432000"/>
          </a:xfrm>
        </p:grpSpPr>
        <p:grpSp>
          <p:nvGrpSpPr>
            <p:cNvPr id="643" name="Group 993">
              <a:extLst>
                <a:ext uri="{FF2B5EF4-FFF2-40B4-BE49-F238E27FC236}">
                  <a16:creationId xmlns:a16="http://schemas.microsoft.com/office/drawing/2014/main" id="{5BC7BE61-D6D7-4442-99E2-6119ECD1D1A2}"/>
                </a:ext>
              </a:extLst>
            </p:cNvPr>
            <p:cNvGrpSpPr/>
            <p:nvPr/>
          </p:nvGrpSpPr>
          <p:grpSpPr>
            <a:xfrm>
              <a:off x="4951167" y="2449339"/>
              <a:ext cx="625125" cy="432000"/>
              <a:chOff x="800066" y="2450447"/>
              <a:chExt cx="731470" cy="505491"/>
            </a:xfrm>
          </p:grpSpPr>
          <p:grpSp>
            <p:nvGrpSpPr>
              <p:cNvPr id="648" name="Grafik 19">
                <a:extLst>
                  <a:ext uri="{FF2B5EF4-FFF2-40B4-BE49-F238E27FC236}">
                    <a16:creationId xmlns:a16="http://schemas.microsoft.com/office/drawing/2014/main" id="{F7A5E644-8B81-4A7C-8467-B38F6EFA2406}"/>
                  </a:ext>
                </a:extLst>
              </p:cNvPr>
              <p:cNvGrpSpPr/>
              <p:nvPr/>
            </p:nvGrpSpPr>
            <p:grpSpPr>
              <a:xfrm>
                <a:off x="800066" y="2450477"/>
                <a:ext cx="266410" cy="505461"/>
                <a:chOff x="800066" y="2450477"/>
                <a:chExt cx="266410" cy="505461"/>
              </a:xfrm>
              <a:solidFill>
                <a:schemeClr val="accent1"/>
              </a:solidFill>
            </p:grpSpPr>
            <p:sp>
              <p:nvSpPr>
                <p:cNvPr id="660" name="Freihandform: Form 659">
                  <a:extLst>
                    <a:ext uri="{FF2B5EF4-FFF2-40B4-BE49-F238E27FC236}">
                      <a16:creationId xmlns:a16="http://schemas.microsoft.com/office/drawing/2014/main" id="{9075C661-A042-44DF-94AE-40DCBA5BECA1}"/>
                    </a:ext>
                  </a:extLst>
                </p:cNvPr>
                <p:cNvSpPr/>
                <p:nvPr/>
              </p:nvSpPr>
              <p:spPr>
                <a:xfrm>
                  <a:off x="947983" y="2516602"/>
                  <a:ext cx="118493" cy="381143"/>
                </a:xfrm>
                <a:custGeom>
                  <a:avLst/>
                  <a:gdLst>
                    <a:gd name="connsiteX0" fmla="*/ 113230 w 118493"/>
                    <a:gd name="connsiteY0" fmla="*/ 381144 h 381143"/>
                    <a:gd name="connsiteX1" fmla="*/ 110615 w 118493"/>
                    <a:gd name="connsiteY1" fmla="*/ 380452 h 381143"/>
                    <a:gd name="connsiteX2" fmla="*/ 0 w 118493"/>
                    <a:gd name="connsiteY2" fmla="*/ 190574 h 381143"/>
                    <a:gd name="connsiteX3" fmla="*/ 110615 w 118493"/>
                    <a:gd name="connsiteY3" fmla="*/ 695 h 381143"/>
                    <a:gd name="connsiteX4" fmla="*/ 117799 w 118493"/>
                    <a:gd name="connsiteY4" fmla="*/ 2679 h 381143"/>
                    <a:gd name="connsiteX5" fmla="*/ 115815 w 118493"/>
                    <a:gd name="connsiteY5" fmla="*/ 9863 h 381143"/>
                    <a:gd name="connsiteX6" fmla="*/ 10550 w 118493"/>
                    <a:gd name="connsiteY6" fmla="*/ 190544 h 381143"/>
                    <a:gd name="connsiteX7" fmla="*/ 115815 w 118493"/>
                    <a:gd name="connsiteY7" fmla="*/ 371254 h 381143"/>
                    <a:gd name="connsiteX8" fmla="*/ 117799 w 118493"/>
                    <a:gd name="connsiteY8" fmla="*/ 378438 h 381143"/>
                    <a:gd name="connsiteX9" fmla="*/ 113230 w 118493"/>
                    <a:gd name="connsiteY9" fmla="*/ 381144 h 381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493" h="381143">
                      <a:moveTo>
                        <a:pt x="113230" y="381144"/>
                      </a:moveTo>
                      <a:cubicBezTo>
                        <a:pt x="112358" y="381144"/>
                        <a:pt x="111456" y="380933"/>
                        <a:pt x="110615" y="380452"/>
                      </a:cubicBezTo>
                      <a:cubicBezTo>
                        <a:pt x="42382" y="341677"/>
                        <a:pt x="0" y="268906"/>
                        <a:pt x="0" y="190574"/>
                      </a:cubicBezTo>
                      <a:cubicBezTo>
                        <a:pt x="0" y="112242"/>
                        <a:pt x="42382" y="39500"/>
                        <a:pt x="110615" y="695"/>
                      </a:cubicBezTo>
                      <a:cubicBezTo>
                        <a:pt x="113140" y="-748"/>
                        <a:pt x="116356" y="124"/>
                        <a:pt x="117799" y="2679"/>
                      </a:cubicBezTo>
                      <a:cubicBezTo>
                        <a:pt x="119242" y="5204"/>
                        <a:pt x="118370" y="8420"/>
                        <a:pt x="115815" y="9863"/>
                      </a:cubicBezTo>
                      <a:cubicBezTo>
                        <a:pt x="50889" y="46774"/>
                        <a:pt x="10550" y="116029"/>
                        <a:pt x="10550" y="190544"/>
                      </a:cubicBezTo>
                      <a:cubicBezTo>
                        <a:pt x="10550" y="265088"/>
                        <a:pt x="50889" y="334313"/>
                        <a:pt x="115815" y="371254"/>
                      </a:cubicBezTo>
                      <a:cubicBezTo>
                        <a:pt x="118340" y="372697"/>
                        <a:pt x="119242" y="375914"/>
                        <a:pt x="117799" y="378438"/>
                      </a:cubicBezTo>
                      <a:cubicBezTo>
                        <a:pt x="116837" y="380182"/>
                        <a:pt x="115063" y="381144"/>
                        <a:pt x="113230" y="381144"/>
                      </a:cubicBezTo>
                      <a:close/>
                    </a:path>
                  </a:pathLst>
                </a:custGeom>
                <a:solidFill>
                  <a:schemeClr val="accent1"/>
                </a:solidFill>
                <a:ln w="3004" cap="flat">
                  <a:noFill/>
                  <a:prstDash val="solid"/>
                  <a:miter/>
                </a:ln>
              </p:spPr>
              <p:txBody>
                <a:bodyPr rtlCol="0" anchor="ctr"/>
                <a:lstStyle/>
                <a:p>
                  <a:endParaRPr lang="en-GB" dirty="0"/>
                </a:p>
              </p:txBody>
            </p:sp>
            <p:grpSp>
              <p:nvGrpSpPr>
                <p:cNvPr id="661" name="Grafik 19">
                  <a:extLst>
                    <a:ext uri="{FF2B5EF4-FFF2-40B4-BE49-F238E27FC236}">
                      <a16:creationId xmlns:a16="http://schemas.microsoft.com/office/drawing/2014/main" id="{0819C05F-03B8-40FF-AC52-8AEA9A717997}"/>
                    </a:ext>
                  </a:extLst>
                </p:cNvPr>
                <p:cNvGrpSpPr/>
                <p:nvPr/>
              </p:nvGrpSpPr>
              <p:grpSpPr>
                <a:xfrm>
                  <a:off x="800066" y="2671135"/>
                  <a:ext cx="158227" cy="66789"/>
                  <a:chOff x="800066" y="2671135"/>
                  <a:chExt cx="158227" cy="66789"/>
                </a:xfrm>
                <a:solidFill>
                  <a:schemeClr val="accent1"/>
                </a:solidFill>
              </p:grpSpPr>
              <p:sp>
                <p:nvSpPr>
                  <p:cNvPr id="669" name="Freihandform: Form 668">
                    <a:extLst>
                      <a:ext uri="{FF2B5EF4-FFF2-40B4-BE49-F238E27FC236}">
                        <a16:creationId xmlns:a16="http://schemas.microsoft.com/office/drawing/2014/main" id="{2B2F95E4-3BCA-4EB7-BA67-1037B76E4961}"/>
                      </a:ext>
                    </a:extLst>
                  </p:cNvPr>
                  <p:cNvSpPr/>
                  <p:nvPr/>
                </p:nvSpPr>
                <p:spPr>
                  <a:xfrm>
                    <a:off x="800066" y="2671135"/>
                    <a:ext cx="66789" cy="66789"/>
                  </a:xfrm>
                  <a:custGeom>
                    <a:avLst/>
                    <a:gdLst>
                      <a:gd name="connsiteX0" fmla="*/ 33395 w 66789"/>
                      <a:gd name="connsiteY0" fmla="*/ 66790 h 66789"/>
                      <a:gd name="connsiteX1" fmla="*/ 0 w 66789"/>
                      <a:gd name="connsiteY1" fmla="*/ 33395 h 66789"/>
                      <a:gd name="connsiteX2" fmla="*/ 33395 w 66789"/>
                      <a:gd name="connsiteY2" fmla="*/ 0 h 66789"/>
                      <a:gd name="connsiteX3" fmla="*/ 66790 w 66789"/>
                      <a:gd name="connsiteY3" fmla="*/ 33395 h 66789"/>
                      <a:gd name="connsiteX4" fmla="*/ 33395 w 66789"/>
                      <a:gd name="connsiteY4" fmla="*/ 66790 h 66789"/>
                      <a:gd name="connsiteX5" fmla="*/ 33395 w 66789"/>
                      <a:gd name="connsiteY5" fmla="*/ 10550 h 66789"/>
                      <a:gd name="connsiteX6" fmla="*/ 10550 w 66789"/>
                      <a:gd name="connsiteY6" fmla="*/ 33395 h 66789"/>
                      <a:gd name="connsiteX7" fmla="*/ 33395 w 66789"/>
                      <a:gd name="connsiteY7" fmla="*/ 56239 h 66789"/>
                      <a:gd name="connsiteX8" fmla="*/ 56239 w 66789"/>
                      <a:gd name="connsiteY8" fmla="*/ 33395 h 66789"/>
                      <a:gd name="connsiteX9" fmla="*/ 33395 w 66789"/>
                      <a:gd name="connsiteY9" fmla="*/ 10550 h 6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89" h="66789">
                        <a:moveTo>
                          <a:pt x="33395" y="66790"/>
                        </a:moveTo>
                        <a:cubicBezTo>
                          <a:pt x="14969" y="66790"/>
                          <a:pt x="0" y="51821"/>
                          <a:pt x="0" y="33395"/>
                        </a:cubicBezTo>
                        <a:cubicBezTo>
                          <a:pt x="0" y="14969"/>
                          <a:pt x="14969" y="0"/>
                          <a:pt x="33395" y="0"/>
                        </a:cubicBezTo>
                        <a:cubicBezTo>
                          <a:pt x="51821" y="0"/>
                          <a:pt x="66790" y="14969"/>
                          <a:pt x="66790" y="33395"/>
                        </a:cubicBezTo>
                        <a:cubicBezTo>
                          <a:pt x="66790" y="51821"/>
                          <a:pt x="51821" y="66790"/>
                          <a:pt x="33395" y="66790"/>
                        </a:cubicBezTo>
                        <a:close/>
                        <a:moveTo>
                          <a:pt x="33395" y="10550"/>
                        </a:moveTo>
                        <a:cubicBezTo>
                          <a:pt x="20800" y="10550"/>
                          <a:pt x="10550" y="20800"/>
                          <a:pt x="10550" y="33395"/>
                        </a:cubicBezTo>
                        <a:cubicBezTo>
                          <a:pt x="10550" y="45989"/>
                          <a:pt x="20800" y="56239"/>
                          <a:pt x="33395" y="56239"/>
                        </a:cubicBezTo>
                        <a:cubicBezTo>
                          <a:pt x="45989" y="56239"/>
                          <a:pt x="56239" y="45989"/>
                          <a:pt x="56239" y="33395"/>
                        </a:cubicBezTo>
                        <a:cubicBezTo>
                          <a:pt x="56239" y="20800"/>
                          <a:pt x="45989" y="10550"/>
                          <a:pt x="33395" y="10550"/>
                        </a:cubicBezTo>
                        <a:close/>
                      </a:path>
                    </a:pathLst>
                  </a:custGeom>
                  <a:solidFill>
                    <a:schemeClr val="accent1"/>
                  </a:solidFill>
                  <a:ln w="3004" cap="flat">
                    <a:noFill/>
                    <a:prstDash val="solid"/>
                    <a:miter/>
                  </a:ln>
                </p:spPr>
                <p:txBody>
                  <a:bodyPr rtlCol="0" anchor="ctr"/>
                  <a:lstStyle/>
                  <a:p>
                    <a:endParaRPr lang="en-GB" dirty="0"/>
                  </a:p>
                </p:txBody>
              </p:sp>
              <p:sp>
                <p:nvSpPr>
                  <p:cNvPr id="670" name="Freihandform: Form 669">
                    <a:extLst>
                      <a:ext uri="{FF2B5EF4-FFF2-40B4-BE49-F238E27FC236}">
                        <a16:creationId xmlns:a16="http://schemas.microsoft.com/office/drawing/2014/main" id="{6DD03064-7DE4-467B-BDD5-BD7C09E5ADBC}"/>
                      </a:ext>
                    </a:extLst>
                  </p:cNvPr>
                  <p:cNvSpPr/>
                  <p:nvPr/>
                </p:nvSpPr>
                <p:spPr>
                  <a:xfrm>
                    <a:off x="856877" y="2698999"/>
                    <a:ext cx="101417" cy="10520"/>
                  </a:xfrm>
                  <a:custGeom>
                    <a:avLst/>
                    <a:gdLst>
                      <a:gd name="connsiteX0" fmla="*/ 96157 w 101417"/>
                      <a:gd name="connsiteY0" fmla="*/ 10520 h 10520"/>
                      <a:gd name="connsiteX1" fmla="*/ 5260 w 101417"/>
                      <a:gd name="connsiteY1" fmla="*/ 10520 h 10520"/>
                      <a:gd name="connsiteX2" fmla="*/ 0 w 101417"/>
                      <a:gd name="connsiteY2" fmla="*/ 5260 h 10520"/>
                      <a:gd name="connsiteX3" fmla="*/ 5260 w 101417"/>
                      <a:gd name="connsiteY3" fmla="*/ 0 h 10520"/>
                      <a:gd name="connsiteX4" fmla="*/ 96157 w 101417"/>
                      <a:gd name="connsiteY4" fmla="*/ 0 h 10520"/>
                      <a:gd name="connsiteX5" fmla="*/ 101417 w 101417"/>
                      <a:gd name="connsiteY5" fmla="*/ 5260 h 10520"/>
                      <a:gd name="connsiteX6" fmla="*/ 96157 w 101417"/>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417" h="10520">
                        <a:moveTo>
                          <a:pt x="96157" y="10520"/>
                        </a:moveTo>
                        <a:lnTo>
                          <a:pt x="5260" y="10520"/>
                        </a:lnTo>
                        <a:cubicBezTo>
                          <a:pt x="2345" y="10520"/>
                          <a:pt x="0" y="8146"/>
                          <a:pt x="0" y="5260"/>
                        </a:cubicBezTo>
                        <a:cubicBezTo>
                          <a:pt x="0" y="2345"/>
                          <a:pt x="2375" y="0"/>
                          <a:pt x="5260" y="0"/>
                        </a:cubicBezTo>
                        <a:lnTo>
                          <a:pt x="96157" y="0"/>
                        </a:lnTo>
                        <a:cubicBezTo>
                          <a:pt x="99072" y="0"/>
                          <a:pt x="101417" y="2375"/>
                          <a:pt x="101417" y="5260"/>
                        </a:cubicBezTo>
                        <a:cubicBezTo>
                          <a:pt x="101447" y="8176"/>
                          <a:pt x="99072" y="10520"/>
                          <a:pt x="96157" y="10520"/>
                        </a:cubicBezTo>
                        <a:close/>
                      </a:path>
                    </a:pathLst>
                  </a:custGeom>
                  <a:solidFill>
                    <a:schemeClr val="accent1"/>
                  </a:solidFill>
                  <a:ln w="3004" cap="flat">
                    <a:noFill/>
                    <a:prstDash val="solid"/>
                    <a:miter/>
                  </a:ln>
                </p:spPr>
                <p:txBody>
                  <a:bodyPr rtlCol="0" anchor="ctr"/>
                  <a:lstStyle/>
                  <a:p>
                    <a:endParaRPr lang="en-GB" dirty="0"/>
                  </a:p>
                </p:txBody>
              </p:sp>
            </p:grpSp>
            <p:grpSp>
              <p:nvGrpSpPr>
                <p:cNvPr id="662" name="Grafik 19">
                  <a:extLst>
                    <a:ext uri="{FF2B5EF4-FFF2-40B4-BE49-F238E27FC236}">
                      <a16:creationId xmlns:a16="http://schemas.microsoft.com/office/drawing/2014/main" id="{D2B491B0-6CD3-4F8C-8ECD-4C5A52C8934E}"/>
                    </a:ext>
                  </a:extLst>
                </p:cNvPr>
                <p:cNvGrpSpPr/>
                <p:nvPr/>
              </p:nvGrpSpPr>
              <p:grpSpPr>
                <a:xfrm>
                  <a:off x="879909" y="2450477"/>
                  <a:ext cx="127973" cy="505461"/>
                  <a:chOff x="879909" y="2450477"/>
                  <a:chExt cx="127973" cy="505461"/>
                </a:xfrm>
                <a:solidFill>
                  <a:schemeClr val="accent1"/>
                </a:solidFill>
              </p:grpSpPr>
              <p:grpSp>
                <p:nvGrpSpPr>
                  <p:cNvPr id="663" name="Grafik 19">
                    <a:extLst>
                      <a:ext uri="{FF2B5EF4-FFF2-40B4-BE49-F238E27FC236}">
                        <a16:creationId xmlns:a16="http://schemas.microsoft.com/office/drawing/2014/main" id="{0908CE90-28E0-46F0-ADE9-CBAF7C30070F}"/>
                      </a:ext>
                    </a:extLst>
                  </p:cNvPr>
                  <p:cNvGrpSpPr/>
                  <p:nvPr/>
                </p:nvGrpSpPr>
                <p:grpSpPr>
                  <a:xfrm>
                    <a:off x="879909" y="2832526"/>
                    <a:ext cx="123013" cy="123412"/>
                    <a:chOff x="879909" y="2832526"/>
                    <a:chExt cx="123013" cy="123412"/>
                  </a:xfrm>
                  <a:solidFill>
                    <a:schemeClr val="accent1"/>
                  </a:solidFill>
                </p:grpSpPr>
                <p:sp>
                  <p:nvSpPr>
                    <p:cNvPr id="667" name="Freihandform: Form 666">
                      <a:extLst>
                        <a:ext uri="{FF2B5EF4-FFF2-40B4-BE49-F238E27FC236}">
                          <a16:creationId xmlns:a16="http://schemas.microsoft.com/office/drawing/2014/main" id="{6701AF20-3653-4291-8F3A-F0C8C5A1D028}"/>
                        </a:ext>
                      </a:extLst>
                    </p:cNvPr>
                    <p:cNvSpPr/>
                    <p:nvPr/>
                  </p:nvSpPr>
                  <p:spPr>
                    <a:xfrm>
                      <a:off x="879909" y="2889149"/>
                      <a:ext cx="66774" cy="66789"/>
                    </a:xfrm>
                    <a:custGeom>
                      <a:avLst/>
                      <a:gdLst>
                        <a:gd name="connsiteX0" fmla="*/ 33387 w 66774"/>
                        <a:gd name="connsiteY0" fmla="*/ 66790 h 66789"/>
                        <a:gd name="connsiteX1" fmla="*/ 33387 w 66774"/>
                        <a:gd name="connsiteY1" fmla="*/ 66790 h 66789"/>
                        <a:gd name="connsiteX2" fmla="*/ 9761 w 66774"/>
                        <a:gd name="connsiteY2" fmla="*/ 57021 h 66789"/>
                        <a:gd name="connsiteX3" fmla="*/ 9761 w 66774"/>
                        <a:gd name="connsiteY3" fmla="*/ 9799 h 66789"/>
                        <a:gd name="connsiteX4" fmla="*/ 33387 w 66774"/>
                        <a:gd name="connsiteY4" fmla="*/ 0 h 66789"/>
                        <a:gd name="connsiteX5" fmla="*/ 57013 w 66774"/>
                        <a:gd name="connsiteY5" fmla="*/ 9799 h 66789"/>
                        <a:gd name="connsiteX6" fmla="*/ 57013 w 66774"/>
                        <a:gd name="connsiteY6" fmla="*/ 57021 h 66789"/>
                        <a:gd name="connsiteX7" fmla="*/ 33387 w 66774"/>
                        <a:gd name="connsiteY7" fmla="*/ 66790 h 66789"/>
                        <a:gd name="connsiteX8" fmla="*/ 33357 w 66774"/>
                        <a:gd name="connsiteY8" fmla="*/ 10550 h 66789"/>
                        <a:gd name="connsiteX9" fmla="*/ 17216 w 66774"/>
                        <a:gd name="connsiteY9" fmla="*/ 17253 h 66789"/>
                        <a:gd name="connsiteX10" fmla="*/ 17216 w 66774"/>
                        <a:gd name="connsiteY10" fmla="*/ 49566 h 66789"/>
                        <a:gd name="connsiteX11" fmla="*/ 49529 w 66774"/>
                        <a:gd name="connsiteY11" fmla="*/ 49566 h 66789"/>
                        <a:gd name="connsiteX12" fmla="*/ 49529 w 66774"/>
                        <a:gd name="connsiteY12" fmla="*/ 17253 h 66789"/>
                        <a:gd name="connsiteX13" fmla="*/ 33357 w 66774"/>
                        <a:gd name="connsiteY13" fmla="*/ 10550 h 6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774" h="66789">
                          <a:moveTo>
                            <a:pt x="33387" y="66790"/>
                          </a:moveTo>
                          <a:lnTo>
                            <a:pt x="33387" y="66790"/>
                          </a:lnTo>
                          <a:cubicBezTo>
                            <a:pt x="24460" y="66790"/>
                            <a:pt x="16074" y="63303"/>
                            <a:pt x="9761" y="57021"/>
                          </a:cubicBezTo>
                          <a:cubicBezTo>
                            <a:pt x="-3254" y="44005"/>
                            <a:pt x="-3254" y="22814"/>
                            <a:pt x="9761" y="9799"/>
                          </a:cubicBezTo>
                          <a:cubicBezTo>
                            <a:pt x="16074" y="3487"/>
                            <a:pt x="24460" y="0"/>
                            <a:pt x="33387" y="0"/>
                          </a:cubicBezTo>
                          <a:cubicBezTo>
                            <a:pt x="42315" y="0"/>
                            <a:pt x="50701" y="3487"/>
                            <a:pt x="57013" y="9799"/>
                          </a:cubicBezTo>
                          <a:cubicBezTo>
                            <a:pt x="70028" y="22814"/>
                            <a:pt x="70028" y="44005"/>
                            <a:pt x="57013" y="57021"/>
                          </a:cubicBezTo>
                          <a:cubicBezTo>
                            <a:pt x="50671" y="63303"/>
                            <a:pt x="42285" y="66790"/>
                            <a:pt x="33387" y="66790"/>
                          </a:cubicBezTo>
                          <a:close/>
                          <a:moveTo>
                            <a:pt x="33357" y="10550"/>
                          </a:moveTo>
                          <a:cubicBezTo>
                            <a:pt x="27255" y="10550"/>
                            <a:pt x="21514" y="12925"/>
                            <a:pt x="17216" y="17253"/>
                          </a:cubicBezTo>
                          <a:cubicBezTo>
                            <a:pt x="8319" y="26151"/>
                            <a:pt x="8319" y="40669"/>
                            <a:pt x="17216" y="49566"/>
                          </a:cubicBezTo>
                          <a:cubicBezTo>
                            <a:pt x="25843" y="58193"/>
                            <a:pt x="40902" y="58193"/>
                            <a:pt x="49529" y="49566"/>
                          </a:cubicBezTo>
                          <a:cubicBezTo>
                            <a:pt x="58426" y="40669"/>
                            <a:pt x="58426" y="26151"/>
                            <a:pt x="49529" y="17253"/>
                          </a:cubicBezTo>
                          <a:cubicBezTo>
                            <a:pt x="45200" y="12925"/>
                            <a:pt x="39459" y="10550"/>
                            <a:pt x="33357" y="10550"/>
                          </a:cubicBezTo>
                          <a:close/>
                        </a:path>
                      </a:pathLst>
                    </a:custGeom>
                    <a:solidFill>
                      <a:schemeClr val="accent1"/>
                    </a:solidFill>
                    <a:ln w="3004" cap="flat">
                      <a:noFill/>
                      <a:prstDash val="solid"/>
                      <a:miter/>
                    </a:ln>
                  </p:spPr>
                  <p:txBody>
                    <a:bodyPr rtlCol="0" anchor="ctr"/>
                    <a:lstStyle/>
                    <a:p>
                      <a:endParaRPr lang="en-GB" dirty="0"/>
                    </a:p>
                  </p:txBody>
                </p:sp>
                <p:sp>
                  <p:nvSpPr>
                    <p:cNvPr id="668" name="Freihandform: Form 667">
                      <a:extLst>
                        <a:ext uri="{FF2B5EF4-FFF2-40B4-BE49-F238E27FC236}">
                          <a16:creationId xmlns:a16="http://schemas.microsoft.com/office/drawing/2014/main" id="{50F13F9E-45D3-47A8-9943-7FE1CF00745B}"/>
                        </a:ext>
                      </a:extLst>
                    </p:cNvPr>
                    <p:cNvSpPr/>
                    <p:nvPr/>
                  </p:nvSpPr>
                  <p:spPr>
                    <a:xfrm>
                      <a:off x="928092" y="2832526"/>
                      <a:ext cx="74830" cy="74807"/>
                    </a:xfrm>
                    <a:custGeom>
                      <a:avLst/>
                      <a:gdLst>
                        <a:gd name="connsiteX0" fmla="*/ 5283 w 74830"/>
                        <a:gd name="connsiteY0" fmla="*/ 74808 h 74807"/>
                        <a:gd name="connsiteX1" fmla="*/ 1556 w 74830"/>
                        <a:gd name="connsiteY1" fmla="*/ 73275 h 74807"/>
                        <a:gd name="connsiteX2" fmla="*/ 1556 w 74830"/>
                        <a:gd name="connsiteY2" fmla="*/ 65820 h 74807"/>
                        <a:gd name="connsiteX3" fmla="*/ 65820 w 74830"/>
                        <a:gd name="connsiteY3" fmla="*/ 1556 h 74807"/>
                        <a:gd name="connsiteX4" fmla="*/ 73275 w 74830"/>
                        <a:gd name="connsiteY4" fmla="*/ 1556 h 74807"/>
                        <a:gd name="connsiteX5" fmla="*/ 73275 w 74830"/>
                        <a:gd name="connsiteY5" fmla="*/ 9010 h 74807"/>
                        <a:gd name="connsiteX6" fmla="*/ 9010 w 74830"/>
                        <a:gd name="connsiteY6" fmla="*/ 73275 h 74807"/>
                        <a:gd name="connsiteX7" fmla="*/ 5283 w 74830"/>
                        <a:gd name="connsiteY7" fmla="*/ 74808 h 7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830" h="74807">
                          <a:moveTo>
                            <a:pt x="5283" y="74808"/>
                          </a:moveTo>
                          <a:cubicBezTo>
                            <a:pt x="3930" y="74808"/>
                            <a:pt x="2578" y="74297"/>
                            <a:pt x="1556" y="73275"/>
                          </a:cubicBezTo>
                          <a:cubicBezTo>
                            <a:pt x="-519" y="71201"/>
                            <a:pt x="-519" y="67864"/>
                            <a:pt x="1556" y="65820"/>
                          </a:cubicBezTo>
                          <a:lnTo>
                            <a:pt x="65820" y="1556"/>
                          </a:lnTo>
                          <a:cubicBezTo>
                            <a:pt x="67894" y="-519"/>
                            <a:pt x="71231" y="-519"/>
                            <a:pt x="73275" y="1556"/>
                          </a:cubicBezTo>
                          <a:cubicBezTo>
                            <a:pt x="75349" y="3630"/>
                            <a:pt x="75349" y="6966"/>
                            <a:pt x="73275" y="9010"/>
                          </a:cubicBezTo>
                          <a:lnTo>
                            <a:pt x="9010" y="73275"/>
                          </a:lnTo>
                          <a:cubicBezTo>
                            <a:pt x="7988" y="74297"/>
                            <a:pt x="6635" y="74808"/>
                            <a:pt x="5283" y="74808"/>
                          </a:cubicBezTo>
                          <a:close/>
                        </a:path>
                      </a:pathLst>
                    </a:custGeom>
                    <a:solidFill>
                      <a:schemeClr val="accent1"/>
                    </a:solidFill>
                    <a:ln w="3004" cap="flat">
                      <a:noFill/>
                      <a:prstDash val="solid"/>
                      <a:miter/>
                    </a:ln>
                  </p:spPr>
                  <p:txBody>
                    <a:bodyPr rtlCol="0" anchor="ctr"/>
                    <a:lstStyle/>
                    <a:p>
                      <a:endParaRPr lang="en-GB" dirty="0"/>
                    </a:p>
                  </p:txBody>
                </p:sp>
              </p:grpSp>
              <p:grpSp>
                <p:nvGrpSpPr>
                  <p:cNvPr id="664" name="Grafik 19">
                    <a:extLst>
                      <a:ext uri="{FF2B5EF4-FFF2-40B4-BE49-F238E27FC236}">
                        <a16:creationId xmlns:a16="http://schemas.microsoft.com/office/drawing/2014/main" id="{5E3CBEA2-33E9-42C8-B816-57AC36137B05}"/>
                      </a:ext>
                    </a:extLst>
                  </p:cNvPr>
                  <p:cNvGrpSpPr/>
                  <p:nvPr/>
                </p:nvGrpSpPr>
                <p:grpSpPr>
                  <a:xfrm>
                    <a:off x="884868" y="2450477"/>
                    <a:ext cx="123013" cy="123419"/>
                    <a:chOff x="884868" y="2450477"/>
                    <a:chExt cx="123013" cy="123419"/>
                  </a:xfrm>
                  <a:solidFill>
                    <a:schemeClr val="accent1"/>
                  </a:solidFill>
                </p:grpSpPr>
                <p:sp>
                  <p:nvSpPr>
                    <p:cNvPr id="665" name="Freihandform: Form 664">
                      <a:extLst>
                        <a:ext uri="{FF2B5EF4-FFF2-40B4-BE49-F238E27FC236}">
                          <a16:creationId xmlns:a16="http://schemas.microsoft.com/office/drawing/2014/main" id="{CA06C488-D7A8-46F3-B5A4-FA218487B6C2}"/>
                        </a:ext>
                      </a:extLst>
                    </p:cNvPr>
                    <p:cNvSpPr/>
                    <p:nvPr/>
                  </p:nvSpPr>
                  <p:spPr>
                    <a:xfrm>
                      <a:off x="884868" y="2450477"/>
                      <a:ext cx="66774" cy="66789"/>
                    </a:xfrm>
                    <a:custGeom>
                      <a:avLst/>
                      <a:gdLst>
                        <a:gd name="connsiteX0" fmla="*/ 33387 w 66774"/>
                        <a:gd name="connsiteY0" fmla="*/ 66790 h 66789"/>
                        <a:gd name="connsiteX1" fmla="*/ 9761 w 66774"/>
                        <a:gd name="connsiteY1" fmla="*/ 56991 h 66789"/>
                        <a:gd name="connsiteX2" fmla="*/ 9761 w 66774"/>
                        <a:gd name="connsiteY2" fmla="*/ 9769 h 66789"/>
                        <a:gd name="connsiteX3" fmla="*/ 33387 w 66774"/>
                        <a:gd name="connsiteY3" fmla="*/ 0 h 66789"/>
                        <a:gd name="connsiteX4" fmla="*/ 57013 w 66774"/>
                        <a:gd name="connsiteY4" fmla="*/ 9769 h 66789"/>
                        <a:gd name="connsiteX5" fmla="*/ 57013 w 66774"/>
                        <a:gd name="connsiteY5" fmla="*/ 56991 h 66789"/>
                        <a:gd name="connsiteX6" fmla="*/ 33387 w 66774"/>
                        <a:gd name="connsiteY6" fmla="*/ 66790 h 66789"/>
                        <a:gd name="connsiteX7" fmla="*/ 33387 w 66774"/>
                        <a:gd name="connsiteY7" fmla="*/ 10520 h 66789"/>
                        <a:gd name="connsiteX8" fmla="*/ 17246 w 66774"/>
                        <a:gd name="connsiteY8" fmla="*/ 17223 h 66789"/>
                        <a:gd name="connsiteX9" fmla="*/ 17246 w 66774"/>
                        <a:gd name="connsiteY9" fmla="*/ 49536 h 66789"/>
                        <a:gd name="connsiteX10" fmla="*/ 49559 w 66774"/>
                        <a:gd name="connsiteY10" fmla="*/ 49536 h 66789"/>
                        <a:gd name="connsiteX11" fmla="*/ 49559 w 66774"/>
                        <a:gd name="connsiteY11" fmla="*/ 17223 h 66789"/>
                        <a:gd name="connsiteX12" fmla="*/ 33387 w 66774"/>
                        <a:gd name="connsiteY12" fmla="*/ 10520 h 6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74" h="66789">
                          <a:moveTo>
                            <a:pt x="33387" y="66790"/>
                          </a:moveTo>
                          <a:cubicBezTo>
                            <a:pt x="24460" y="66790"/>
                            <a:pt x="16074" y="63303"/>
                            <a:pt x="9761" y="56991"/>
                          </a:cubicBezTo>
                          <a:cubicBezTo>
                            <a:pt x="-3254" y="43975"/>
                            <a:pt x="-3254" y="22784"/>
                            <a:pt x="9761" y="9769"/>
                          </a:cubicBezTo>
                          <a:cubicBezTo>
                            <a:pt x="16074" y="3457"/>
                            <a:pt x="24460" y="0"/>
                            <a:pt x="33387" y="0"/>
                          </a:cubicBezTo>
                          <a:cubicBezTo>
                            <a:pt x="42315" y="0"/>
                            <a:pt x="50701" y="3487"/>
                            <a:pt x="57013" y="9769"/>
                          </a:cubicBezTo>
                          <a:cubicBezTo>
                            <a:pt x="70028" y="22784"/>
                            <a:pt x="70028" y="43975"/>
                            <a:pt x="57013" y="56991"/>
                          </a:cubicBezTo>
                          <a:cubicBezTo>
                            <a:pt x="50701" y="63303"/>
                            <a:pt x="42315" y="66790"/>
                            <a:pt x="33387" y="66790"/>
                          </a:cubicBezTo>
                          <a:close/>
                          <a:moveTo>
                            <a:pt x="33387" y="10520"/>
                          </a:moveTo>
                          <a:cubicBezTo>
                            <a:pt x="27285" y="10520"/>
                            <a:pt x="21544" y="12895"/>
                            <a:pt x="17246" y="17223"/>
                          </a:cubicBezTo>
                          <a:cubicBezTo>
                            <a:pt x="8349" y="26121"/>
                            <a:pt x="8349" y="40639"/>
                            <a:pt x="17246" y="49536"/>
                          </a:cubicBezTo>
                          <a:cubicBezTo>
                            <a:pt x="25873" y="58163"/>
                            <a:pt x="40932" y="58163"/>
                            <a:pt x="49559" y="49536"/>
                          </a:cubicBezTo>
                          <a:cubicBezTo>
                            <a:pt x="58456" y="40639"/>
                            <a:pt x="58456" y="26121"/>
                            <a:pt x="49559" y="17223"/>
                          </a:cubicBezTo>
                          <a:cubicBezTo>
                            <a:pt x="45230" y="12925"/>
                            <a:pt x="39489" y="10520"/>
                            <a:pt x="33387" y="10520"/>
                          </a:cubicBezTo>
                          <a:close/>
                        </a:path>
                      </a:pathLst>
                    </a:custGeom>
                    <a:solidFill>
                      <a:schemeClr val="accent1"/>
                    </a:solidFill>
                    <a:ln w="3004" cap="flat">
                      <a:noFill/>
                      <a:prstDash val="solid"/>
                      <a:miter/>
                    </a:ln>
                  </p:spPr>
                  <p:txBody>
                    <a:bodyPr rtlCol="0" anchor="ctr"/>
                    <a:lstStyle/>
                    <a:p>
                      <a:endParaRPr lang="en-GB" dirty="0"/>
                    </a:p>
                  </p:txBody>
                </p:sp>
                <p:sp>
                  <p:nvSpPr>
                    <p:cNvPr id="666" name="Freihandform: Form 665">
                      <a:extLst>
                        <a:ext uri="{FF2B5EF4-FFF2-40B4-BE49-F238E27FC236}">
                          <a16:creationId xmlns:a16="http://schemas.microsoft.com/office/drawing/2014/main" id="{2E92F158-8439-4B6C-9C49-6B8F500FBA2B}"/>
                        </a:ext>
                      </a:extLst>
                    </p:cNvPr>
                    <p:cNvSpPr/>
                    <p:nvPr/>
                  </p:nvSpPr>
                  <p:spPr>
                    <a:xfrm>
                      <a:off x="933052" y="2499059"/>
                      <a:ext cx="74830" cy="74837"/>
                    </a:xfrm>
                    <a:custGeom>
                      <a:avLst/>
                      <a:gdLst>
                        <a:gd name="connsiteX0" fmla="*/ 69548 w 74830"/>
                        <a:gd name="connsiteY0" fmla="*/ 74838 h 74837"/>
                        <a:gd name="connsiteX1" fmla="*/ 65820 w 74830"/>
                        <a:gd name="connsiteY1" fmla="*/ 73305 h 74837"/>
                        <a:gd name="connsiteX2" fmla="*/ 1556 w 74830"/>
                        <a:gd name="connsiteY2" fmla="*/ 9010 h 74837"/>
                        <a:gd name="connsiteX3" fmla="*/ 1556 w 74830"/>
                        <a:gd name="connsiteY3" fmla="*/ 1556 h 74837"/>
                        <a:gd name="connsiteX4" fmla="*/ 9010 w 74830"/>
                        <a:gd name="connsiteY4" fmla="*/ 1556 h 74837"/>
                        <a:gd name="connsiteX5" fmla="*/ 73275 w 74830"/>
                        <a:gd name="connsiteY5" fmla="*/ 65820 h 74837"/>
                        <a:gd name="connsiteX6" fmla="*/ 73275 w 74830"/>
                        <a:gd name="connsiteY6" fmla="*/ 73275 h 74837"/>
                        <a:gd name="connsiteX7" fmla="*/ 69548 w 74830"/>
                        <a:gd name="connsiteY7" fmla="*/ 74838 h 74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830" h="74837">
                          <a:moveTo>
                            <a:pt x="69548" y="74838"/>
                          </a:moveTo>
                          <a:cubicBezTo>
                            <a:pt x="68195" y="74838"/>
                            <a:pt x="66842" y="74327"/>
                            <a:pt x="65820" y="73305"/>
                          </a:cubicBezTo>
                          <a:lnTo>
                            <a:pt x="1556" y="9010"/>
                          </a:lnTo>
                          <a:cubicBezTo>
                            <a:pt x="-519" y="6936"/>
                            <a:pt x="-519" y="3599"/>
                            <a:pt x="1556" y="1556"/>
                          </a:cubicBezTo>
                          <a:cubicBezTo>
                            <a:pt x="3630" y="-519"/>
                            <a:pt x="6966" y="-519"/>
                            <a:pt x="9010" y="1556"/>
                          </a:cubicBezTo>
                          <a:lnTo>
                            <a:pt x="73275" y="65820"/>
                          </a:lnTo>
                          <a:cubicBezTo>
                            <a:pt x="75349" y="67894"/>
                            <a:pt x="75349" y="71231"/>
                            <a:pt x="73275" y="73275"/>
                          </a:cubicBezTo>
                          <a:cubicBezTo>
                            <a:pt x="72253" y="74327"/>
                            <a:pt x="70900" y="74838"/>
                            <a:pt x="69548" y="74838"/>
                          </a:cubicBezTo>
                          <a:close/>
                        </a:path>
                      </a:pathLst>
                    </a:custGeom>
                    <a:solidFill>
                      <a:schemeClr val="accent1"/>
                    </a:solidFill>
                    <a:ln w="3004" cap="flat">
                      <a:noFill/>
                      <a:prstDash val="solid"/>
                      <a:miter/>
                    </a:ln>
                  </p:spPr>
                  <p:txBody>
                    <a:bodyPr rtlCol="0" anchor="ctr"/>
                    <a:lstStyle/>
                    <a:p>
                      <a:endParaRPr lang="en-GB" dirty="0"/>
                    </a:p>
                  </p:txBody>
                </p:sp>
              </p:grpSp>
            </p:grpSp>
          </p:grpSp>
          <p:grpSp>
            <p:nvGrpSpPr>
              <p:cNvPr id="649" name="Grafik 19">
                <a:extLst>
                  <a:ext uri="{FF2B5EF4-FFF2-40B4-BE49-F238E27FC236}">
                    <a16:creationId xmlns:a16="http://schemas.microsoft.com/office/drawing/2014/main" id="{4CB49938-36A8-43A8-A42A-F048D676C648}"/>
                  </a:ext>
                </a:extLst>
              </p:cNvPr>
              <p:cNvGrpSpPr/>
              <p:nvPr/>
            </p:nvGrpSpPr>
            <p:grpSpPr>
              <a:xfrm>
                <a:off x="1266118" y="2450447"/>
                <a:ext cx="265418" cy="505491"/>
                <a:chOff x="1266118" y="2450447"/>
                <a:chExt cx="265418" cy="505491"/>
              </a:xfrm>
              <a:solidFill>
                <a:schemeClr val="accent1"/>
              </a:solidFill>
            </p:grpSpPr>
            <p:sp>
              <p:nvSpPr>
                <p:cNvPr id="650" name="Freihandform: Form 649">
                  <a:extLst>
                    <a:ext uri="{FF2B5EF4-FFF2-40B4-BE49-F238E27FC236}">
                      <a16:creationId xmlns:a16="http://schemas.microsoft.com/office/drawing/2014/main" id="{E4E8E1A1-048C-40CB-9BD8-CB6C7FE9FFBE}"/>
                    </a:ext>
                  </a:extLst>
                </p:cNvPr>
                <p:cNvSpPr/>
                <p:nvPr/>
              </p:nvSpPr>
              <p:spPr>
                <a:xfrm>
                  <a:off x="1464747" y="2670564"/>
                  <a:ext cx="66789" cy="66789"/>
                </a:xfrm>
                <a:custGeom>
                  <a:avLst/>
                  <a:gdLst>
                    <a:gd name="connsiteX0" fmla="*/ 33395 w 66789"/>
                    <a:gd name="connsiteY0" fmla="*/ 66790 h 66789"/>
                    <a:gd name="connsiteX1" fmla="*/ 0 w 66789"/>
                    <a:gd name="connsiteY1" fmla="*/ 33395 h 66789"/>
                    <a:gd name="connsiteX2" fmla="*/ 33395 w 66789"/>
                    <a:gd name="connsiteY2" fmla="*/ 0 h 66789"/>
                    <a:gd name="connsiteX3" fmla="*/ 66790 w 66789"/>
                    <a:gd name="connsiteY3" fmla="*/ 33395 h 66789"/>
                    <a:gd name="connsiteX4" fmla="*/ 33395 w 66789"/>
                    <a:gd name="connsiteY4" fmla="*/ 66790 h 66789"/>
                    <a:gd name="connsiteX5" fmla="*/ 33395 w 66789"/>
                    <a:gd name="connsiteY5" fmla="*/ 10550 h 66789"/>
                    <a:gd name="connsiteX6" fmla="*/ 10551 w 66789"/>
                    <a:gd name="connsiteY6" fmla="*/ 33395 h 66789"/>
                    <a:gd name="connsiteX7" fmla="*/ 33395 w 66789"/>
                    <a:gd name="connsiteY7" fmla="*/ 56239 h 66789"/>
                    <a:gd name="connsiteX8" fmla="*/ 56239 w 66789"/>
                    <a:gd name="connsiteY8" fmla="*/ 33395 h 66789"/>
                    <a:gd name="connsiteX9" fmla="*/ 33395 w 66789"/>
                    <a:gd name="connsiteY9" fmla="*/ 10550 h 6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789" h="66789">
                      <a:moveTo>
                        <a:pt x="33395" y="66790"/>
                      </a:moveTo>
                      <a:cubicBezTo>
                        <a:pt x="14969" y="66790"/>
                        <a:pt x="0" y="51821"/>
                        <a:pt x="0" y="33395"/>
                      </a:cubicBezTo>
                      <a:cubicBezTo>
                        <a:pt x="0" y="14969"/>
                        <a:pt x="14969" y="0"/>
                        <a:pt x="33395" y="0"/>
                      </a:cubicBezTo>
                      <a:cubicBezTo>
                        <a:pt x="51821" y="0"/>
                        <a:pt x="66790" y="14969"/>
                        <a:pt x="66790" y="33395"/>
                      </a:cubicBezTo>
                      <a:cubicBezTo>
                        <a:pt x="66790" y="51821"/>
                        <a:pt x="51821" y="66790"/>
                        <a:pt x="33395" y="66790"/>
                      </a:cubicBezTo>
                      <a:close/>
                      <a:moveTo>
                        <a:pt x="33395" y="10550"/>
                      </a:moveTo>
                      <a:cubicBezTo>
                        <a:pt x="20800" y="10550"/>
                        <a:pt x="10551" y="20800"/>
                        <a:pt x="10551" y="33395"/>
                      </a:cubicBezTo>
                      <a:cubicBezTo>
                        <a:pt x="10551" y="45989"/>
                        <a:pt x="20800" y="56239"/>
                        <a:pt x="33395" y="56239"/>
                      </a:cubicBezTo>
                      <a:cubicBezTo>
                        <a:pt x="45989" y="56239"/>
                        <a:pt x="56239" y="45989"/>
                        <a:pt x="56239" y="33395"/>
                      </a:cubicBezTo>
                      <a:cubicBezTo>
                        <a:pt x="56239" y="20800"/>
                        <a:pt x="45989" y="10550"/>
                        <a:pt x="33395" y="10550"/>
                      </a:cubicBezTo>
                      <a:close/>
                    </a:path>
                  </a:pathLst>
                </a:custGeom>
                <a:solidFill>
                  <a:schemeClr val="accent1"/>
                </a:solidFill>
                <a:ln w="3004" cap="flat">
                  <a:noFill/>
                  <a:prstDash val="solid"/>
                  <a:miter/>
                </a:ln>
              </p:spPr>
              <p:txBody>
                <a:bodyPr rtlCol="0" anchor="ctr"/>
                <a:lstStyle/>
                <a:p>
                  <a:endParaRPr lang="en-GB" dirty="0"/>
                </a:p>
              </p:txBody>
            </p:sp>
            <p:sp>
              <p:nvSpPr>
                <p:cNvPr id="651" name="Freihandform: Form 650">
                  <a:extLst>
                    <a:ext uri="{FF2B5EF4-FFF2-40B4-BE49-F238E27FC236}">
                      <a16:creationId xmlns:a16="http://schemas.microsoft.com/office/drawing/2014/main" id="{DAB1ADA0-B81B-4101-8EEF-69FB0AA266DA}"/>
                    </a:ext>
                  </a:extLst>
                </p:cNvPr>
                <p:cNvSpPr/>
                <p:nvPr/>
              </p:nvSpPr>
              <p:spPr>
                <a:xfrm>
                  <a:off x="1266118" y="2516638"/>
                  <a:ext cx="118493" cy="381107"/>
                </a:xfrm>
                <a:custGeom>
                  <a:avLst/>
                  <a:gdLst>
                    <a:gd name="connsiteX0" fmla="*/ 5294 w 118493"/>
                    <a:gd name="connsiteY0" fmla="*/ 381107 h 381107"/>
                    <a:gd name="connsiteX1" fmla="*/ 695 w 118493"/>
                    <a:gd name="connsiteY1" fmla="*/ 378432 h 381107"/>
                    <a:gd name="connsiteX2" fmla="*/ 2679 w 118493"/>
                    <a:gd name="connsiteY2" fmla="*/ 371248 h 381107"/>
                    <a:gd name="connsiteX3" fmla="*/ 107943 w 118493"/>
                    <a:gd name="connsiteY3" fmla="*/ 190537 h 381107"/>
                    <a:gd name="connsiteX4" fmla="*/ 2679 w 118493"/>
                    <a:gd name="connsiteY4" fmla="*/ 9856 h 381107"/>
                    <a:gd name="connsiteX5" fmla="*/ 695 w 118493"/>
                    <a:gd name="connsiteY5" fmla="*/ 2672 h 381107"/>
                    <a:gd name="connsiteX6" fmla="*/ 7879 w 118493"/>
                    <a:gd name="connsiteY6" fmla="*/ 689 h 381107"/>
                    <a:gd name="connsiteX7" fmla="*/ 118494 w 118493"/>
                    <a:gd name="connsiteY7" fmla="*/ 190567 h 381107"/>
                    <a:gd name="connsiteX8" fmla="*/ 7879 w 118493"/>
                    <a:gd name="connsiteY8" fmla="*/ 380446 h 381107"/>
                    <a:gd name="connsiteX9" fmla="*/ 5294 w 118493"/>
                    <a:gd name="connsiteY9" fmla="*/ 381107 h 38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493" h="381107">
                      <a:moveTo>
                        <a:pt x="5294" y="381107"/>
                      </a:moveTo>
                      <a:cubicBezTo>
                        <a:pt x="3460" y="381107"/>
                        <a:pt x="1687" y="380145"/>
                        <a:pt x="695" y="378432"/>
                      </a:cubicBezTo>
                      <a:cubicBezTo>
                        <a:pt x="-748" y="375907"/>
                        <a:pt x="124" y="372691"/>
                        <a:pt x="2679" y="371248"/>
                      </a:cubicBezTo>
                      <a:cubicBezTo>
                        <a:pt x="67605" y="334336"/>
                        <a:pt x="107943" y="265082"/>
                        <a:pt x="107943" y="190537"/>
                      </a:cubicBezTo>
                      <a:cubicBezTo>
                        <a:pt x="107943" y="115993"/>
                        <a:pt x="67605" y="46768"/>
                        <a:pt x="2679" y="9856"/>
                      </a:cubicBezTo>
                      <a:cubicBezTo>
                        <a:pt x="154" y="8414"/>
                        <a:pt x="-748" y="5197"/>
                        <a:pt x="695" y="2672"/>
                      </a:cubicBezTo>
                      <a:cubicBezTo>
                        <a:pt x="2138" y="148"/>
                        <a:pt x="5354" y="-754"/>
                        <a:pt x="7879" y="689"/>
                      </a:cubicBezTo>
                      <a:cubicBezTo>
                        <a:pt x="76111" y="39464"/>
                        <a:pt x="118494" y="112235"/>
                        <a:pt x="118494" y="190567"/>
                      </a:cubicBezTo>
                      <a:cubicBezTo>
                        <a:pt x="118494" y="268899"/>
                        <a:pt x="76111" y="341641"/>
                        <a:pt x="7879" y="380446"/>
                      </a:cubicBezTo>
                      <a:cubicBezTo>
                        <a:pt x="7067" y="380897"/>
                        <a:pt x="6196" y="381107"/>
                        <a:pt x="5294" y="381107"/>
                      </a:cubicBezTo>
                      <a:close/>
                    </a:path>
                  </a:pathLst>
                </a:custGeom>
                <a:solidFill>
                  <a:schemeClr val="accent1"/>
                </a:solidFill>
                <a:ln w="3004" cap="flat">
                  <a:noFill/>
                  <a:prstDash val="solid"/>
                  <a:miter/>
                </a:ln>
              </p:spPr>
              <p:txBody>
                <a:bodyPr rtlCol="0" anchor="ctr"/>
                <a:lstStyle/>
                <a:p>
                  <a:endParaRPr lang="en-GB" dirty="0"/>
                </a:p>
              </p:txBody>
            </p:sp>
            <p:sp>
              <p:nvSpPr>
                <p:cNvPr id="652" name="Freihandform: Form 651">
                  <a:extLst>
                    <a:ext uri="{FF2B5EF4-FFF2-40B4-BE49-F238E27FC236}">
                      <a16:creationId xmlns:a16="http://schemas.microsoft.com/office/drawing/2014/main" id="{FCAAC7AB-4683-40AE-8FEC-92E29AEC044B}"/>
                    </a:ext>
                  </a:extLst>
                </p:cNvPr>
                <p:cNvSpPr/>
                <p:nvPr/>
              </p:nvSpPr>
              <p:spPr>
                <a:xfrm>
                  <a:off x="1373880" y="2698999"/>
                  <a:ext cx="101416" cy="10520"/>
                </a:xfrm>
                <a:custGeom>
                  <a:avLst/>
                  <a:gdLst>
                    <a:gd name="connsiteX0" fmla="*/ 96157 w 101416"/>
                    <a:gd name="connsiteY0" fmla="*/ 10520 h 10520"/>
                    <a:gd name="connsiteX1" fmla="*/ 5260 w 101416"/>
                    <a:gd name="connsiteY1" fmla="*/ 10520 h 10520"/>
                    <a:gd name="connsiteX2" fmla="*/ 0 w 101416"/>
                    <a:gd name="connsiteY2" fmla="*/ 5260 h 10520"/>
                    <a:gd name="connsiteX3" fmla="*/ 5260 w 101416"/>
                    <a:gd name="connsiteY3" fmla="*/ 0 h 10520"/>
                    <a:gd name="connsiteX4" fmla="*/ 96157 w 101416"/>
                    <a:gd name="connsiteY4" fmla="*/ 0 h 10520"/>
                    <a:gd name="connsiteX5" fmla="*/ 101417 w 101416"/>
                    <a:gd name="connsiteY5" fmla="*/ 5260 h 10520"/>
                    <a:gd name="connsiteX6" fmla="*/ 96157 w 101416"/>
                    <a:gd name="connsiteY6" fmla="*/ 10520 h 1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416" h="10520">
                      <a:moveTo>
                        <a:pt x="96157" y="10520"/>
                      </a:moveTo>
                      <a:lnTo>
                        <a:pt x="5260" y="10520"/>
                      </a:lnTo>
                      <a:cubicBezTo>
                        <a:pt x="2345" y="10520"/>
                        <a:pt x="0" y="8146"/>
                        <a:pt x="0" y="5260"/>
                      </a:cubicBezTo>
                      <a:cubicBezTo>
                        <a:pt x="0" y="2345"/>
                        <a:pt x="2375" y="0"/>
                        <a:pt x="5260" y="0"/>
                      </a:cubicBezTo>
                      <a:lnTo>
                        <a:pt x="96157" y="0"/>
                      </a:lnTo>
                      <a:cubicBezTo>
                        <a:pt x="99072" y="0"/>
                        <a:pt x="101417" y="2375"/>
                        <a:pt x="101417" y="5260"/>
                      </a:cubicBezTo>
                      <a:cubicBezTo>
                        <a:pt x="101417" y="8176"/>
                        <a:pt x="99042" y="10520"/>
                        <a:pt x="96157" y="10520"/>
                      </a:cubicBezTo>
                      <a:close/>
                    </a:path>
                  </a:pathLst>
                </a:custGeom>
                <a:solidFill>
                  <a:schemeClr val="accent1"/>
                </a:solidFill>
                <a:ln w="3004" cap="flat">
                  <a:noFill/>
                  <a:prstDash val="solid"/>
                  <a:miter/>
                </a:ln>
              </p:spPr>
              <p:txBody>
                <a:bodyPr rtlCol="0" anchor="ctr"/>
                <a:lstStyle/>
                <a:p>
                  <a:endParaRPr lang="en-GB" dirty="0"/>
                </a:p>
              </p:txBody>
            </p:sp>
            <p:grpSp>
              <p:nvGrpSpPr>
                <p:cNvPr id="653" name="Grafik 19">
                  <a:extLst>
                    <a:ext uri="{FF2B5EF4-FFF2-40B4-BE49-F238E27FC236}">
                      <a16:creationId xmlns:a16="http://schemas.microsoft.com/office/drawing/2014/main" id="{7E81606E-7F92-406E-AFC0-8DA386C64B47}"/>
                    </a:ext>
                  </a:extLst>
                </p:cNvPr>
                <p:cNvGrpSpPr/>
                <p:nvPr/>
              </p:nvGrpSpPr>
              <p:grpSpPr>
                <a:xfrm>
                  <a:off x="1324833" y="2450447"/>
                  <a:ext cx="128003" cy="505491"/>
                  <a:chOff x="1324833" y="2450447"/>
                  <a:chExt cx="128003" cy="505491"/>
                </a:xfrm>
                <a:solidFill>
                  <a:schemeClr val="accent1"/>
                </a:solidFill>
              </p:grpSpPr>
              <p:grpSp>
                <p:nvGrpSpPr>
                  <p:cNvPr id="654" name="Grafik 19">
                    <a:extLst>
                      <a:ext uri="{FF2B5EF4-FFF2-40B4-BE49-F238E27FC236}">
                        <a16:creationId xmlns:a16="http://schemas.microsoft.com/office/drawing/2014/main" id="{04501409-BE35-403C-8806-A2606F6C7A44}"/>
                      </a:ext>
                    </a:extLst>
                  </p:cNvPr>
                  <p:cNvGrpSpPr/>
                  <p:nvPr/>
                </p:nvGrpSpPr>
                <p:grpSpPr>
                  <a:xfrm>
                    <a:off x="1329822" y="2832526"/>
                    <a:ext cx="123013" cy="123412"/>
                    <a:chOff x="1329822" y="2832526"/>
                    <a:chExt cx="123013" cy="123412"/>
                  </a:xfrm>
                  <a:solidFill>
                    <a:schemeClr val="accent1"/>
                  </a:solidFill>
                </p:grpSpPr>
                <p:sp>
                  <p:nvSpPr>
                    <p:cNvPr id="658" name="Freihandform: Form 657">
                      <a:extLst>
                        <a:ext uri="{FF2B5EF4-FFF2-40B4-BE49-F238E27FC236}">
                          <a16:creationId xmlns:a16="http://schemas.microsoft.com/office/drawing/2014/main" id="{51E77533-BCDB-42D6-82F6-5C6B6EC7B4AB}"/>
                        </a:ext>
                      </a:extLst>
                    </p:cNvPr>
                    <p:cNvSpPr/>
                    <p:nvPr/>
                  </p:nvSpPr>
                  <p:spPr>
                    <a:xfrm>
                      <a:off x="1386062" y="2889149"/>
                      <a:ext cx="66774" cy="66789"/>
                    </a:xfrm>
                    <a:custGeom>
                      <a:avLst/>
                      <a:gdLst>
                        <a:gd name="connsiteX0" fmla="*/ 33387 w 66774"/>
                        <a:gd name="connsiteY0" fmla="*/ 66790 h 66789"/>
                        <a:gd name="connsiteX1" fmla="*/ 9761 w 66774"/>
                        <a:gd name="connsiteY1" fmla="*/ 57021 h 66789"/>
                        <a:gd name="connsiteX2" fmla="*/ 9761 w 66774"/>
                        <a:gd name="connsiteY2" fmla="*/ 9799 h 66789"/>
                        <a:gd name="connsiteX3" fmla="*/ 33387 w 66774"/>
                        <a:gd name="connsiteY3" fmla="*/ 0 h 66789"/>
                        <a:gd name="connsiteX4" fmla="*/ 57013 w 66774"/>
                        <a:gd name="connsiteY4" fmla="*/ 9799 h 66789"/>
                        <a:gd name="connsiteX5" fmla="*/ 57013 w 66774"/>
                        <a:gd name="connsiteY5" fmla="*/ 57021 h 66789"/>
                        <a:gd name="connsiteX6" fmla="*/ 33387 w 66774"/>
                        <a:gd name="connsiteY6" fmla="*/ 66790 h 66789"/>
                        <a:gd name="connsiteX7" fmla="*/ 33387 w 66774"/>
                        <a:gd name="connsiteY7" fmla="*/ 10550 h 66789"/>
                        <a:gd name="connsiteX8" fmla="*/ 17246 w 66774"/>
                        <a:gd name="connsiteY8" fmla="*/ 17253 h 66789"/>
                        <a:gd name="connsiteX9" fmla="*/ 17246 w 66774"/>
                        <a:gd name="connsiteY9" fmla="*/ 49566 h 66789"/>
                        <a:gd name="connsiteX10" fmla="*/ 49559 w 66774"/>
                        <a:gd name="connsiteY10" fmla="*/ 49566 h 66789"/>
                        <a:gd name="connsiteX11" fmla="*/ 49559 w 66774"/>
                        <a:gd name="connsiteY11" fmla="*/ 17253 h 66789"/>
                        <a:gd name="connsiteX12" fmla="*/ 33387 w 66774"/>
                        <a:gd name="connsiteY12" fmla="*/ 10550 h 6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74" h="66789">
                          <a:moveTo>
                            <a:pt x="33387" y="66790"/>
                          </a:moveTo>
                          <a:cubicBezTo>
                            <a:pt x="24460" y="66790"/>
                            <a:pt x="16074" y="63303"/>
                            <a:pt x="9761" y="57021"/>
                          </a:cubicBezTo>
                          <a:cubicBezTo>
                            <a:pt x="-3254" y="44005"/>
                            <a:pt x="-3254" y="22814"/>
                            <a:pt x="9761" y="9799"/>
                          </a:cubicBezTo>
                          <a:cubicBezTo>
                            <a:pt x="16074" y="3487"/>
                            <a:pt x="24460" y="0"/>
                            <a:pt x="33387" y="0"/>
                          </a:cubicBezTo>
                          <a:cubicBezTo>
                            <a:pt x="42315" y="0"/>
                            <a:pt x="50701" y="3487"/>
                            <a:pt x="57013" y="9799"/>
                          </a:cubicBezTo>
                          <a:cubicBezTo>
                            <a:pt x="70028" y="22814"/>
                            <a:pt x="70028" y="44005"/>
                            <a:pt x="57013" y="57021"/>
                          </a:cubicBezTo>
                          <a:cubicBezTo>
                            <a:pt x="50701" y="63303"/>
                            <a:pt x="42315" y="66790"/>
                            <a:pt x="33387" y="66790"/>
                          </a:cubicBezTo>
                          <a:close/>
                          <a:moveTo>
                            <a:pt x="33387" y="10550"/>
                          </a:moveTo>
                          <a:cubicBezTo>
                            <a:pt x="27285" y="10550"/>
                            <a:pt x="21544" y="12925"/>
                            <a:pt x="17246" y="17253"/>
                          </a:cubicBezTo>
                          <a:cubicBezTo>
                            <a:pt x="8349" y="26151"/>
                            <a:pt x="8349" y="40669"/>
                            <a:pt x="17246" y="49566"/>
                          </a:cubicBezTo>
                          <a:cubicBezTo>
                            <a:pt x="25873" y="58193"/>
                            <a:pt x="40932" y="58193"/>
                            <a:pt x="49559" y="49566"/>
                          </a:cubicBezTo>
                          <a:cubicBezTo>
                            <a:pt x="58456" y="40669"/>
                            <a:pt x="58456" y="26151"/>
                            <a:pt x="49559" y="17253"/>
                          </a:cubicBezTo>
                          <a:cubicBezTo>
                            <a:pt x="45230" y="12925"/>
                            <a:pt x="39489" y="10550"/>
                            <a:pt x="33387" y="10550"/>
                          </a:cubicBezTo>
                          <a:close/>
                        </a:path>
                      </a:pathLst>
                    </a:custGeom>
                    <a:solidFill>
                      <a:schemeClr val="accent1"/>
                    </a:solidFill>
                    <a:ln w="3004" cap="flat">
                      <a:noFill/>
                      <a:prstDash val="solid"/>
                      <a:miter/>
                    </a:ln>
                  </p:spPr>
                  <p:txBody>
                    <a:bodyPr rtlCol="0" anchor="ctr"/>
                    <a:lstStyle/>
                    <a:p>
                      <a:endParaRPr lang="en-GB" dirty="0"/>
                    </a:p>
                  </p:txBody>
                </p:sp>
                <p:sp>
                  <p:nvSpPr>
                    <p:cNvPr id="659" name="Freihandform: Form 658">
                      <a:extLst>
                        <a:ext uri="{FF2B5EF4-FFF2-40B4-BE49-F238E27FC236}">
                          <a16:creationId xmlns:a16="http://schemas.microsoft.com/office/drawing/2014/main" id="{C6AC4F20-D64E-4F25-804B-AD79AB1DE4D1}"/>
                        </a:ext>
                      </a:extLst>
                    </p:cNvPr>
                    <p:cNvSpPr/>
                    <p:nvPr/>
                  </p:nvSpPr>
                  <p:spPr>
                    <a:xfrm>
                      <a:off x="1329822" y="2832526"/>
                      <a:ext cx="74830" cy="74807"/>
                    </a:xfrm>
                    <a:custGeom>
                      <a:avLst/>
                      <a:gdLst>
                        <a:gd name="connsiteX0" fmla="*/ 69548 w 74830"/>
                        <a:gd name="connsiteY0" fmla="*/ 74808 h 74807"/>
                        <a:gd name="connsiteX1" fmla="*/ 65820 w 74830"/>
                        <a:gd name="connsiteY1" fmla="*/ 73275 h 74807"/>
                        <a:gd name="connsiteX2" fmla="*/ 1556 w 74830"/>
                        <a:gd name="connsiteY2" fmla="*/ 9010 h 74807"/>
                        <a:gd name="connsiteX3" fmla="*/ 1556 w 74830"/>
                        <a:gd name="connsiteY3" fmla="*/ 1556 h 74807"/>
                        <a:gd name="connsiteX4" fmla="*/ 9010 w 74830"/>
                        <a:gd name="connsiteY4" fmla="*/ 1556 h 74807"/>
                        <a:gd name="connsiteX5" fmla="*/ 73275 w 74830"/>
                        <a:gd name="connsiteY5" fmla="*/ 65820 h 74807"/>
                        <a:gd name="connsiteX6" fmla="*/ 73275 w 74830"/>
                        <a:gd name="connsiteY6" fmla="*/ 73275 h 74807"/>
                        <a:gd name="connsiteX7" fmla="*/ 69548 w 74830"/>
                        <a:gd name="connsiteY7" fmla="*/ 74808 h 7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830" h="74807">
                          <a:moveTo>
                            <a:pt x="69548" y="74808"/>
                          </a:moveTo>
                          <a:cubicBezTo>
                            <a:pt x="68195" y="74808"/>
                            <a:pt x="66842" y="74297"/>
                            <a:pt x="65820" y="73275"/>
                          </a:cubicBezTo>
                          <a:lnTo>
                            <a:pt x="1556" y="9010"/>
                          </a:lnTo>
                          <a:cubicBezTo>
                            <a:pt x="-519" y="6936"/>
                            <a:pt x="-519" y="3599"/>
                            <a:pt x="1556" y="1556"/>
                          </a:cubicBezTo>
                          <a:cubicBezTo>
                            <a:pt x="3630" y="-519"/>
                            <a:pt x="6966" y="-519"/>
                            <a:pt x="9010" y="1556"/>
                          </a:cubicBezTo>
                          <a:lnTo>
                            <a:pt x="73275" y="65820"/>
                          </a:lnTo>
                          <a:cubicBezTo>
                            <a:pt x="75349" y="67894"/>
                            <a:pt x="75349" y="71231"/>
                            <a:pt x="73275" y="73275"/>
                          </a:cubicBezTo>
                          <a:cubicBezTo>
                            <a:pt x="72253" y="74297"/>
                            <a:pt x="70900" y="74808"/>
                            <a:pt x="69548" y="74808"/>
                          </a:cubicBezTo>
                          <a:close/>
                        </a:path>
                      </a:pathLst>
                    </a:custGeom>
                    <a:solidFill>
                      <a:schemeClr val="accent1"/>
                    </a:solidFill>
                    <a:ln w="3004" cap="flat">
                      <a:noFill/>
                      <a:prstDash val="solid"/>
                      <a:miter/>
                    </a:ln>
                  </p:spPr>
                  <p:txBody>
                    <a:bodyPr rtlCol="0" anchor="ctr"/>
                    <a:lstStyle/>
                    <a:p>
                      <a:endParaRPr lang="en-GB" dirty="0"/>
                    </a:p>
                  </p:txBody>
                </p:sp>
              </p:grpSp>
              <p:grpSp>
                <p:nvGrpSpPr>
                  <p:cNvPr id="655" name="Grafik 19">
                    <a:extLst>
                      <a:ext uri="{FF2B5EF4-FFF2-40B4-BE49-F238E27FC236}">
                        <a16:creationId xmlns:a16="http://schemas.microsoft.com/office/drawing/2014/main" id="{89465C38-2AD0-40A9-AFB8-682C186EE6EE}"/>
                      </a:ext>
                    </a:extLst>
                  </p:cNvPr>
                  <p:cNvGrpSpPr/>
                  <p:nvPr/>
                </p:nvGrpSpPr>
                <p:grpSpPr>
                  <a:xfrm>
                    <a:off x="1324833" y="2450447"/>
                    <a:ext cx="123043" cy="123449"/>
                    <a:chOff x="1324833" y="2450447"/>
                    <a:chExt cx="123043" cy="123449"/>
                  </a:xfrm>
                  <a:solidFill>
                    <a:schemeClr val="accent1"/>
                  </a:solidFill>
                </p:grpSpPr>
                <p:sp>
                  <p:nvSpPr>
                    <p:cNvPr id="656" name="Freihandform: Form 655">
                      <a:extLst>
                        <a:ext uri="{FF2B5EF4-FFF2-40B4-BE49-F238E27FC236}">
                          <a16:creationId xmlns:a16="http://schemas.microsoft.com/office/drawing/2014/main" id="{AAFD31EE-8562-4ACB-968D-43F811A2E4B4}"/>
                        </a:ext>
                      </a:extLst>
                    </p:cNvPr>
                    <p:cNvSpPr/>
                    <p:nvPr/>
                  </p:nvSpPr>
                  <p:spPr>
                    <a:xfrm>
                      <a:off x="1381102" y="2450447"/>
                      <a:ext cx="66774" cy="66819"/>
                    </a:xfrm>
                    <a:custGeom>
                      <a:avLst/>
                      <a:gdLst>
                        <a:gd name="connsiteX0" fmla="*/ 33387 w 66774"/>
                        <a:gd name="connsiteY0" fmla="*/ 66820 h 66819"/>
                        <a:gd name="connsiteX1" fmla="*/ 9761 w 66774"/>
                        <a:gd name="connsiteY1" fmla="*/ 57021 h 66819"/>
                        <a:gd name="connsiteX2" fmla="*/ 9761 w 66774"/>
                        <a:gd name="connsiteY2" fmla="*/ 9799 h 66819"/>
                        <a:gd name="connsiteX3" fmla="*/ 33387 w 66774"/>
                        <a:gd name="connsiteY3" fmla="*/ 0 h 66819"/>
                        <a:gd name="connsiteX4" fmla="*/ 57013 w 66774"/>
                        <a:gd name="connsiteY4" fmla="*/ 9769 h 66819"/>
                        <a:gd name="connsiteX5" fmla="*/ 57013 w 66774"/>
                        <a:gd name="connsiteY5" fmla="*/ 56991 h 66819"/>
                        <a:gd name="connsiteX6" fmla="*/ 33387 w 66774"/>
                        <a:gd name="connsiteY6" fmla="*/ 66820 h 66819"/>
                        <a:gd name="connsiteX7" fmla="*/ 33387 w 66774"/>
                        <a:gd name="connsiteY7" fmla="*/ 10551 h 66819"/>
                        <a:gd name="connsiteX8" fmla="*/ 17216 w 66774"/>
                        <a:gd name="connsiteY8" fmla="*/ 17253 h 66819"/>
                        <a:gd name="connsiteX9" fmla="*/ 17216 w 66774"/>
                        <a:gd name="connsiteY9" fmla="*/ 49566 h 66819"/>
                        <a:gd name="connsiteX10" fmla="*/ 49529 w 66774"/>
                        <a:gd name="connsiteY10" fmla="*/ 49566 h 66819"/>
                        <a:gd name="connsiteX11" fmla="*/ 49529 w 66774"/>
                        <a:gd name="connsiteY11" fmla="*/ 17253 h 66819"/>
                        <a:gd name="connsiteX12" fmla="*/ 33387 w 66774"/>
                        <a:gd name="connsiteY12" fmla="*/ 10551 h 6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6774" h="66819">
                          <a:moveTo>
                            <a:pt x="33387" y="66820"/>
                          </a:moveTo>
                          <a:cubicBezTo>
                            <a:pt x="24460" y="66820"/>
                            <a:pt x="16074" y="63333"/>
                            <a:pt x="9761" y="57021"/>
                          </a:cubicBezTo>
                          <a:cubicBezTo>
                            <a:pt x="-3254" y="44005"/>
                            <a:pt x="-3254" y="22814"/>
                            <a:pt x="9761" y="9799"/>
                          </a:cubicBezTo>
                          <a:cubicBezTo>
                            <a:pt x="16074" y="3487"/>
                            <a:pt x="24460" y="0"/>
                            <a:pt x="33387" y="0"/>
                          </a:cubicBezTo>
                          <a:cubicBezTo>
                            <a:pt x="42315" y="0"/>
                            <a:pt x="50701" y="3487"/>
                            <a:pt x="57013" y="9769"/>
                          </a:cubicBezTo>
                          <a:cubicBezTo>
                            <a:pt x="70028" y="22784"/>
                            <a:pt x="70028" y="43975"/>
                            <a:pt x="57013" y="56991"/>
                          </a:cubicBezTo>
                          <a:cubicBezTo>
                            <a:pt x="50701" y="63333"/>
                            <a:pt x="42315" y="66820"/>
                            <a:pt x="33387" y="66820"/>
                          </a:cubicBezTo>
                          <a:close/>
                          <a:moveTo>
                            <a:pt x="33387" y="10551"/>
                          </a:moveTo>
                          <a:cubicBezTo>
                            <a:pt x="27285" y="10551"/>
                            <a:pt x="21544" y="12925"/>
                            <a:pt x="17216" y="17253"/>
                          </a:cubicBezTo>
                          <a:cubicBezTo>
                            <a:pt x="8319" y="26151"/>
                            <a:pt x="8319" y="40669"/>
                            <a:pt x="17216" y="49566"/>
                          </a:cubicBezTo>
                          <a:cubicBezTo>
                            <a:pt x="25843" y="58193"/>
                            <a:pt x="40902" y="58193"/>
                            <a:pt x="49529" y="49566"/>
                          </a:cubicBezTo>
                          <a:cubicBezTo>
                            <a:pt x="58426" y="40669"/>
                            <a:pt x="58426" y="26151"/>
                            <a:pt x="49529" y="17253"/>
                          </a:cubicBezTo>
                          <a:cubicBezTo>
                            <a:pt x="45230" y="12955"/>
                            <a:pt x="39489" y="10551"/>
                            <a:pt x="33387" y="10551"/>
                          </a:cubicBezTo>
                          <a:close/>
                        </a:path>
                      </a:pathLst>
                    </a:custGeom>
                    <a:solidFill>
                      <a:schemeClr val="accent1"/>
                    </a:solidFill>
                    <a:ln w="3004" cap="flat">
                      <a:noFill/>
                      <a:prstDash val="solid"/>
                      <a:miter/>
                    </a:ln>
                  </p:spPr>
                  <p:txBody>
                    <a:bodyPr rtlCol="0" anchor="ctr"/>
                    <a:lstStyle/>
                    <a:p>
                      <a:endParaRPr lang="en-GB" dirty="0"/>
                    </a:p>
                  </p:txBody>
                </p:sp>
                <p:sp>
                  <p:nvSpPr>
                    <p:cNvPr id="657" name="Freihandform: Form 656">
                      <a:extLst>
                        <a:ext uri="{FF2B5EF4-FFF2-40B4-BE49-F238E27FC236}">
                          <a16:creationId xmlns:a16="http://schemas.microsoft.com/office/drawing/2014/main" id="{3DF7DEB0-A327-4700-9193-D8424BB84738}"/>
                        </a:ext>
                      </a:extLst>
                    </p:cNvPr>
                    <p:cNvSpPr/>
                    <p:nvPr/>
                  </p:nvSpPr>
                  <p:spPr>
                    <a:xfrm>
                      <a:off x="1324833" y="2499089"/>
                      <a:ext cx="74830" cy="74807"/>
                    </a:xfrm>
                    <a:custGeom>
                      <a:avLst/>
                      <a:gdLst>
                        <a:gd name="connsiteX0" fmla="*/ 5283 w 74830"/>
                        <a:gd name="connsiteY0" fmla="*/ 74808 h 74807"/>
                        <a:gd name="connsiteX1" fmla="*/ 1555 w 74830"/>
                        <a:gd name="connsiteY1" fmla="*/ 73275 h 74807"/>
                        <a:gd name="connsiteX2" fmla="*/ 1555 w 74830"/>
                        <a:gd name="connsiteY2" fmla="*/ 65820 h 74807"/>
                        <a:gd name="connsiteX3" fmla="*/ 65820 w 74830"/>
                        <a:gd name="connsiteY3" fmla="*/ 1556 h 74807"/>
                        <a:gd name="connsiteX4" fmla="*/ 73275 w 74830"/>
                        <a:gd name="connsiteY4" fmla="*/ 1556 h 74807"/>
                        <a:gd name="connsiteX5" fmla="*/ 73275 w 74830"/>
                        <a:gd name="connsiteY5" fmla="*/ 9010 h 74807"/>
                        <a:gd name="connsiteX6" fmla="*/ 9010 w 74830"/>
                        <a:gd name="connsiteY6" fmla="*/ 73275 h 74807"/>
                        <a:gd name="connsiteX7" fmla="*/ 5283 w 74830"/>
                        <a:gd name="connsiteY7" fmla="*/ 74808 h 7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830" h="74807">
                          <a:moveTo>
                            <a:pt x="5283" y="74808"/>
                          </a:moveTo>
                          <a:cubicBezTo>
                            <a:pt x="3930" y="74808"/>
                            <a:pt x="2578" y="74297"/>
                            <a:pt x="1555" y="73275"/>
                          </a:cubicBezTo>
                          <a:cubicBezTo>
                            <a:pt x="-518" y="71201"/>
                            <a:pt x="-518" y="67864"/>
                            <a:pt x="1555" y="65820"/>
                          </a:cubicBezTo>
                          <a:lnTo>
                            <a:pt x="65820" y="1556"/>
                          </a:lnTo>
                          <a:cubicBezTo>
                            <a:pt x="67894" y="-519"/>
                            <a:pt x="71231" y="-519"/>
                            <a:pt x="73275" y="1556"/>
                          </a:cubicBezTo>
                          <a:cubicBezTo>
                            <a:pt x="75349" y="3630"/>
                            <a:pt x="75349" y="6966"/>
                            <a:pt x="73275" y="9010"/>
                          </a:cubicBezTo>
                          <a:lnTo>
                            <a:pt x="9010" y="73275"/>
                          </a:lnTo>
                          <a:cubicBezTo>
                            <a:pt x="7988" y="74297"/>
                            <a:pt x="6635" y="74808"/>
                            <a:pt x="5283" y="74808"/>
                          </a:cubicBezTo>
                          <a:close/>
                        </a:path>
                      </a:pathLst>
                    </a:custGeom>
                    <a:solidFill>
                      <a:schemeClr val="accent1"/>
                    </a:solidFill>
                    <a:ln w="3004" cap="flat">
                      <a:noFill/>
                      <a:prstDash val="solid"/>
                      <a:miter/>
                    </a:ln>
                  </p:spPr>
                  <p:txBody>
                    <a:bodyPr rtlCol="0" anchor="ctr"/>
                    <a:lstStyle/>
                    <a:p>
                      <a:endParaRPr lang="en-GB" dirty="0"/>
                    </a:p>
                  </p:txBody>
                </p:sp>
              </p:grpSp>
            </p:grpSp>
          </p:grpSp>
        </p:grpSp>
        <p:grpSp>
          <p:nvGrpSpPr>
            <p:cNvPr id="644" name="Grafik 19">
              <a:extLst>
                <a:ext uri="{FF2B5EF4-FFF2-40B4-BE49-F238E27FC236}">
                  <a16:creationId xmlns:a16="http://schemas.microsoft.com/office/drawing/2014/main" id="{35990E5D-58E3-48B8-82B6-1F8135F8E1D8}"/>
                </a:ext>
              </a:extLst>
            </p:cNvPr>
            <p:cNvGrpSpPr/>
            <p:nvPr/>
          </p:nvGrpSpPr>
          <p:grpSpPr>
            <a:xfrm>
              <a:off x="5166039" y="2545517"/>
              <a:ext cx="196226" cy="231323"/>
              <a:chOff x="1051494" y="2562985"/>
              <a:chExt cx="229608" cy="270675"/>
            </a:xfrm>
            <a:solidFill>
              <a:schemeClr val="tx2"/>
            </a:solidFill>
          </p:grpSpPr>
          <p:sp>
            <p:nvSpPr>
              <p:cNvPr id="645" name="Freihandform: Form 644">
                <a:extLst>
                  <a:ext uri="{FF2B5EF4-FFF2-40B4-BE49-F238E27FC236}">
                    <a16:creationId xmlns:a16="http://schemas.microsoft.com/office/drawing/2014/main" id="{3C60DAB7-6C10-4A2A-989C-2E2F7BF89F41}"/>
                  </a:ext>
                </a:extLst>
              </p:cNvPr>
              <p:cNvSpPr/>
              <p:nvPr/>
            </p:nvSpPr>
            <p:spPr>
              <a:xfrm>
                <a:off x="1188511" y="2731853"/>
                <a:ext cx="92591" cy="101807"/>
              </a:xfrm>
              <a:custGeom>
                <a:avLst/>
                <a:gdLst>
                  <a:gd name="connsiteX0" fmla="*/ 87350 w 92591"/>
                  <a:gd name="connsiteY0" fmla="*/ 101808 h 101807"/>
                  <a:gd name="connsiteX1" fmla="*/ 82630 w 92591"/>
                  <a:gd name="connsiteY1" fmla="*/ 98892 h 101807"/>
                  <a:gd name="connsiteX2" fmla="*/ 58103 w 92591"/>
                  <a:gd name="connsiteY2" fmla="*/ 50107 h 101807"/>
                  <a:gd name="connsiteX3" fmla="*/ 9048 w 92591"/>
                  <a:gd name="connsiteY3" fmla="*/ 36371 h 101807"/>
                  <a:gd name="connsiteX4" fmla="*/ 0 w 92591"/>
                  <a:gd name="connsiteY4" fmla="*/ 24498 h 101807"/>
                  <a:gd name="connsiteX5" fmla="*/ 0 w 92591"/>
                  <a:gd name="connsiteY5" fmla="*/ 5260 h 101807"/>
                  <a:gd name="connsiteX6" fmla="*/ 5260 w 92591"/>
                  <a:gd name="connsiteY6" fmla="*/ 0 h 101807"/>
                  <a:gd name="connsiteX7" fmla="*/ 10520 w 92591"/>
                  <a:gd name="connsiteY7" fmla="*/ 5260 h 101807"/>
                  <a:gd name="connsiteX8" fmla="*/ 10520 w 92591"/>
                  <a:gd name="connsiteY8" fmla="*/ 24498 h 101807"/>
                  <a:gd name="connsiteX9" fmla="*/ 11843 w 92591"/>
                  <a:gd name="connsiteY9" fmla="*/ 26211 h 101807"/>
                  <a:gd name="connsiteX10" fmla="*/ 61349 w 92591"/>
                  <a:gd name="connsiteY10" fmla="*/ 40068 h 101807"/>
                  <a:gd name="connsiteX11" fmla="*/ 62852 w 92591"/>
                  <a:gd name="connsiteY11" fmla="*/ 40519 h 101807"/>
                  <a:gd name="connsiteX12" fmla="*/ 67241 w 92591"/>
                  <a:gd name="connsiteY12" fmla="*/ 44847 h 101807"/>
                  <a:gd name="connsiteX13" fmla="*/ 92039 w 92591"/>
                  <a:gd name="connsiteY13" fmla="*/ 94173 h 101807"/>
                  <a:gd name="connsiteX14" fmla="*/ 89694 w 92591"/>
                  <a:gd name="connsiteY14" fmla="*/ 101237 h 101807"/>
                  <a:gd name="connsiteX15" fmla="*/ 87350 w 92591"/>
                  <a:gd name="connsiteY15" fmla="*/ 101808 h 101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2591" h="101807">
                    <a:moveTo>
                      <a:pt x="87350" y="101808"/>
                    </a:moveTo>
                    <a:cubicBezTo>
                      <a:pt x="85426" y="101808"/>
                      <a:pt x="83562" y="100756"/>
                      <a:pt x="82630" y="98892"/>
                    </a:cubicBezTo>
                    <a:cubicBezTo>
                      <a:pt x="69014" y="71689"/>
                      <a:pt x="59756" y="53324"/>
                      <a:pt x="58103" y="50107"/>
                    </a:cubicBezTo>
                    <a:lnTo>
                      <a:pt x="9048" y="36371"/>
                    </a:lnTo>
                    <a:cubicBezTo>
                      <a:pt x="3727" y="34898"/>
                      <a:pt x="0" y="30028"/>
                      <a:pt x="0" y="24498"/>
                    </a:cubicBezTo>
                    <a:lnTo>
                      <a:pt x="0" y="5260"/>
                    </a:lnTo>
                    <a:cubicBezTo>
                      <a:pt x="0" y="2345"/>
                      <a:pt x="2375" y="0"/>
                      <a:pt x="5260" y="0"/>
                    </a:cubicBezTo>
                    <a:cubicBezTo>
                      <a:pt x="8176" y="0"/>
                      <a:pt x="10520" y="2375"/>
                      <a:pt x="10520" y="5260"/>
                    </a:cubicBezTo>
                    <a:lnTo>
                      <a:pt x="10520" y="24498"/>
                    </a:lnTo>
                    <a:cubicBezTo>
                      <a:pt x="10520" y="25279"/>
                      <a:pt x="11062" y="25970"/>
                      <a:pt x="11843" y="26211"/>
                    </a:cubicBezTo>
                    <a:lnTo>
                      <a:pt x="61349" y="40068"/>
                    </a:lnTo>
                    <a:cubicBezTo>
                      <a:pt x="61860" y="40128"/>
                      <a:pt x="62371" y="40308"/>
                      <a:pt x="62852" y="40519"/>
                    </a:cubicBezTo>
                    <a:cubicBezTo>
                      <a:pt x="63513" y="40819"/>
                      <a:pt x="65768" y="41992"/>
                      <a:pt x="67241" y="44847"/>
                    </a:cubicBezTo>
                    <a:cubicBezTo>
                      <a:pt x="68202" y="46711"/>
                      <a:pt x="77490" y="65137"/>
                      <a:pt x="92039" y="94173"/>
                    </a:cubicBezTo>
                    <a:cubicBezTo>
                      <a:pt x="93331" y="96788"/>
                      <a:pt x="92279" y="99944"/>
                      <a:pt x="89694" y="101237"/>
                    </a:cubicBezTo>
                    <a:cubicBezTo>
                      <a:pt x="88943" y="101627"/>
                      <a:pt x="88131" y="101808"/>
                      <a:pt x="87350" y="101808"/>
                    </a:cubicBezTo>
                    <a:close/>
                  </a:path>
                </a:pathLst>
              </a:custGeom>
              <a:grpFill/>
              <a:ln w="3004" cap="flat">
                <a:noFill/>
                <a:prstDash val="solid"/>
                <a:miter/>
              </a:ln>
            </p:spPr>
            <p:txBody>
              <a:bodyPr rtlCol="0" anchor="ctr"/>
              <a:lstStyle/>
              <a:p>
                <a:endParaRPr lang="en-GB" dirty="0"/>
              </a:p>
            </p:txBody>
          </p:sp>
          <p:sp>
            <p:nvSpPr>
              <p:cNvPr id="646" name="Freihandform: Form 645">
                <a:extLst>
                  <a:ext uri="{FF2B5EF4-FFF2-40B4-BE49-F238E27FC236}">
                    <a16:creationId xmlns:a16="http://schemas.microsoft.com/office/drawing/2014/main" id="{FB572924-178E-42CC-AD1D-1A73D90071D2}"/>
                  </a:ext>
                </a:extLst>
              </p:cNvPr>
              <p:cNvSpPr/>
              <p:nvPr/>
            </p:nvSpPr>
            <p:spPr>
              <a:xfrm>
                <a:off x="1051494" y="2731011"/>
                <a:ext cx="92260" cy="102649"/>
              </a:xfrm>
              <a:custGeom>
                <a:avLst/>
                <a:gdLst>
                  <a:gd name="connsiteX0" fmla="*/ 5271 w 92260"/>
                  <a:gd name="connsiteY0" fmla="*/ 102649 h 102649"/>
                  <a:gd name="connsiteX1" fmla="*/ 2927 w 92260"/>
                  <a:gd name="connsiteY1" fmla="*/ 102078 h 102649"/>
                  <a:gd name="connsiteX2" fmla="*/ 552 w 92260"/>
                  <a:gd name="connsiteY2" fmla="*/ 95015 h 102649"/>
                  <a:gd name="connsiteX3" fmla="*/ 7586 w 92260"/>
                  <a:gd name="connsiteY3" fmla="*/ 80977 h 102649"/>
                  <a:gd name="connsiteX4" fmla="*/ 25380 w 92260"/>
                  <a:gd name="connsiteY4" fmla="*/ 45659 h 102649"/>
                  <a:gd name="connsiteX5" fmla="*/ 29348 w 92260"/>
                  <a:gd name="connsiteY5" fmla="*/ 41571 h 102649"/>
                  <a:gd name="connsiteX6" fmla="*/ 31242 w 92260"/>
                  <a:gd name="connsiteY6" fmla="*/ 40939 h 102649"/>
                  <a:gd name="connsiteX7" fmla="*/ 80417 w 92260"/>
                  <a:gd name="connsiteY7" fmla="*/ 27053 h 102649"/>
                  <a:gd name="connsiteX8" fmla="*/ 81740 w 92260"/>
                  <a:gd name="connsiteY8" fmla="*/ 25309 h 102649"/>
                  <a:gd name="connsiteX9" fmla="*/ 81740 w 92260"/>
                  <a:gd name="connsiteY9" fmla="*/ 5260 h 102649"/>
                  <a:gd name="connsiteX10" fmla="*/ 87000 w 92260"/>
                  <a:gd name="connsiteY10" fmla="*/ 0 h 102649"/>
                  <a:gd name="connsiteX11" fmla="*/ 92260 w 92260"/>
                  <a:gd name="connsiteY11" fmla="*/ 5260 h 102649"/>
                  <a:gd name="connsiteX12" fmla="*/ 92260 w 92260"/>
                  <a:gd name="connsiteY12" fmla="*/ 25309 h 102649"/>
                  <a:gd name="connsiteX13" fmla="*/ 83213 w 92260"/>
                  <a:gd name="connsiteY13" fmla="*/ 37212 h 102649"/>
                  <a:gd name="connsiteX14" fmla="*/ 34518 w 92260"/>
                  <a:gd name="connsiteY14" fmla="*/ 50949 h 102649"/>
                  <a:gd name="connsiteX15" fmla="*/ 17024 w 92260"/>
                  <a:gd name="connsiteY15" fmla="*/ 85727 h 102649"/>
                  <a:gd name="connsiteX16" fmla="*/ 9990 w 92260"/>
                  <a:gd name="connsiteY16" fmla="*/ 99734 h 102649"/>
                  <a:gd name="connsiteX17" fmla="*/ 5271 w 92260"/>
                  <a:gd name="connsiteY17" fmla="*/ 102649 h 102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2260" h="102649">
                    <a:moveTo>
                      <a:pt x="5271" y="102649"/>
                    </a:moveTo>
                    <a:cubicBezTo>
                      <a:pt x="4490" y="102649"/>
                      <a:pt x="3678" y="102469"/>
                      <a:pt x="2927" y="102078"/>
                    </a:cubicBezTo>
                    <a:cubicBezTo>
                      <a:pt x="312" y="100786"/>
                      <a:pt x="-740" y="97600"/>
                      <a:pt x="552" y="95015"/>
                    </a:cubicBezTo>
                    <a:lnTo>
                      <a:pt x="7586" y="80977"/>
                    </a:lnTo>
                    <a:cubicBezTo>
                      <a:pt x="16633" y="62972"/>
                      <a:pt x="24448" y="47432"/>
                      <a:pt x="25380" y="45659"/>
                    </a:cubicBezTo>
                    <a:cubicBezTo>
                      <a:pt x="26252" y="43915"/>
                      <a:pt x="27635" y="42472"/>
                      <a:pt x="29348" y="41571"/>
                    </a:cubicBezTo>
                    <a:cubicBezTo>
                      <a:pt x="29919" y="41240"/>
                      <a:pt x="30580" y="41030"/>
                      <a:pt x="31242" y="40939"/>
                    </a:cubicBezTo>
                    <a:lnTo>
                      <a:pt x="80417" y="27053"/>
                    </a:lnTo>
                    <a:cubicBezTo>
                      <a:pt x="81229" y="26842"/>
                      <a:pt x="81740" y="26121"/>
                      <a:pt x="81740" y="25309"/>
                    </a:cubicBezTo>
                    <a:lnTo>
                      <a:pt x="81740" y="5260"/>
                    </a:lnTo>
                    <a:cubicBezTo>
                      <a:pt x="81740" y="2345"/>
                      <a:pt x="84114" y="0"/>
                      <a:pt x="87000" y="0"/>
                    </a:cubicBezTo>
                    <a:cubicBezTo>
                      <a:pt x="89916" y="0"/>
                      <a:pt x="92260" y="2375"/>
                      <a:pt x="92260" y="5260"/>
                    </a:cubicBezTo>
                    <a:lnTo>
                      <a:pt x="92260" y="25309"/>
                    </a:lnTo>
                    <a:cubicBezTo>
                      <a:pt x="92260" y="30840"/>
                      <a:pt x="88533" y="35739"/>
                      <a:pt x="83213" y="37212"/>
                    </a:cubicBezTo>
                    <a:lnTo>
                      <a:pt x="34518" y="50949"/>
                    </a:lnTo>
                    <a:cubicBezTo>
                      <a:pt x="32865" y="54195"/>
                      <a:pt x="25470" y="68864"/>
                      <a:pt x="17024" y="85727"/>
                    </a:cubicBezTo>
                    <a:lnTo>
                      <a:pt x="9990" y="99734"/>
                    </a:lnTo>
                    <a:cubicBezTo>
                      <a:pt x="9059" y="101567"/>
                      <a:pt x="7195" y="102649"/>
                      <a:pt x="5271" y="102649"/>
                    </a:cubicBezTo>
                    <a:close/>
                  </a:path>
                </a:pathLst>
              </a:custGeom>
              <a:grpFill/>
              <a:ln w="3004" cap="flat">
                <a:noFill/>
                <a:prstDash val="solid"/>
                <a:miter/>
              </a:ln>
            </p:spPr>
            <p:txBody>
              <a:bodyPr rtlCol="0" anchor="ctr"/>
              <a:lstStyle/>
              <a:p>
                <a:endParaRPr lang="en-GB" dirty="0"/>
              </a:p>
            </p:txBody>
          </p:sp>
          <p:sp>
            <p:nvSpPr>
              <p:cNvPr id="647" name="Freihandform: Form 646">
                <a:extLst>
                  <a:ext uri="{FF2B5EF4-FFF2-40B4-BE49-F238E27FC236}">
                    <a16:creationId xmlns:a16="http://schemas.microsoft.com/office/drawing/2014/main" id="{231416AC-FCF5-4921-B443-4D4C98AEF4A3}"/>
                  </a:ext>
                </a:extLst>
              </p:cNvPr>
              <p:cNvSpPr/>
              <p:nvPr/>
            </p:nvSpPr>
            <p:spPr>
              <a:xfrm>
                <a:off x="1090340" y="2562985"/>
                <a:ext cx="153538" cy="182754"/>
              </a:xfrm>
              <a:custGeom>
                <a:avLst/>
                <a:gdLst>
                  <a:gd name="connsiteX0" fmla="*/ 76769 w 153538"/>
                  <a:gd name="connsiteY0" fmla="*/ 182755 h 182754"/>
                  <a:gd name="connsiteX1" fmla="*/ 0 w 153538"/>
                  <a:gd name="connsiteY1" fmla="*/ 91377 h 182754"/>
                  <a:gd name="connsiteX2" fmla="*/ 76769 w 153538"/>
                  <a:gd name="connsiteY2" fmla="*/ 0 h 182754"/>
                  <a:gd name="connsiteX3" fmla="*/ 153538 w 153538"/>
                  <a:gd name="connsiteY3" fmla="*/ 91377 h 182754"/>
                  <a:gd name="connsiteX4" fmla="*/ 76769 w 153538"/>
                  <a:gd name="connsiteY4" fmla="*/ 182755 h 182754"/>
                  <a:gd name="connsiteX5" fmla="*/ 76769 w 153538"/>
                  <a:gd name="connsiteY5" fmla="*/ 10551 h 182754"/>
                  <a:gd name="connsiteX6" fmla="*/ 10550 w 153538"/>
                  <a:gd name="connsiteY6" fmla="*/ 91377 h 182754"/>
                  <a:gd name="connsiteX7" fmla="*/ 76769 w 153538"/>
                  <a:gd name="connsiteY7" fmla="*/ 172204 h 182754"/>
                  <a:gd name="connsiteX8" fmla="*/ 142988 w 153538"/>
                  <a:gd name="connsiteY8" fmla="*/ 91377 h 182754"/>
                  <a:gd name="connsiteX9" fmla="*/ 76769 w 153538"/>
                  <a:gd name="connsiteY9" fmla="*/ 10551 h 18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538" h="182754">
                    <a:moveTo>
                      <a:pt x="76769" y="182755"/>
                    </a:moveTo>
                    <a:cubicBezTo>
                      <a:pt x="34447" y="182755"/>
                      <a:pt x="0" y="141755"/>
                      <a:pt x="0" y="91377"/>
                    </a:cubicBezTo>
                    <a:cubicBezTo>
                      <a:pt x="0" y="41000"/>
                      <a:pt x="34447" y="0"/>
                      <a:pt x="76769" y="0"/>
                    </a:cubicBezTo>
                    <a:cubicBezTo>
                      <a:pt x="119091" y="0"/>
                      <a:pt x="153538" y="41000"/>
                      <a:pt x="153538" y="91377"/>
                    </a:cubicBezTo>
                    <a:cubicBezTo>
                      <a:pt x="153568" y="141755"/>
                      <a:pt x="119121" y="182755"/>
                      <a:pt x="76769" y="182755"/>
                    </a:cubicBezTo>
                    <a:close/>
                    <a:moveTo>
                      <a:pt x="76769" y="10551"/>
                    </a:moveTo>
                    <a:cubicBezTo>
                      <a:pt x="40248" y="10551"/>
                      <a:pt x="10550" y="46801"/>
                      <a:pt x="10550" y="91377"/>
                    </a:cubicBezTo>
                    <a:cubicBezTo>
                      <a:pt x="10550" y="135954"/>
                      <a:pt x="40248" y="172204"/>
                      <a:pt x="76769" y="172204"/>
                    </a:cubicBezTo>
                    <a:cubicBezTo>
                      <a:pt x="113290" y="172204"/>
                      <a:pt x="142988" y="135954"/>
                      <a:pt x="142988" y="91377"/>
                    </a:cubicBezTo>
                    <a:cubicBezTo>
                      <a:pt x="143018" y="46801"/>
                      <a:pt x="113290" y="10551"/>
                      <a:pt x="76769" y="10551"/>
                    </a:cubicBezTo>
                    <a:close/>
                  </a:path>
                </a:pathLst>
              </a:custGeom>
              <a:grpFill/>
              <a:ln w="3004" cap="flat">
                <a:noFill/>
                <a:prstDash val="solid"/>
                <a:miter/>
              </a:ln>
            </p:spPr>
            <p:txBody>
              <a:bodyPr rtlCol="0" anchor="ctr"/>
              <a:lstStyle/>
              <a:p>
                <a:endParaRPr lang="en-GB" dirty="0"/>
              </a:p>
            </p:txBody>
          </p:sp>
        </p:grpSp>
      </p:grpSp>
      <p:sp>
        <p:nvSpPr>
          <p:cNvPr id="671" name="TextBox 1067">
            <a:extLst>
              <a:ext uri="{FF2B5EF4-FFF2-40B4-BE49-F238E27FC236}">
                <a16:creationId xmlns:a16="http://schemas.microsoft.com/office/drawing/2014/main" id="{54A5CF9B-48D1-4DB1-8055-CDE46C71C863}"/>
              </a:ext>
            </a:extLst>
          </p:cNvPr>
          <p:cNvSpPr txBox="1"/>
          <p:nvPr/>
        </p:nvSpPr>
        <p:spPr>
          <a:xfrm>
            <a:off x="5029592" y="2077494"/>
            <a:ext cx="373500" cy="107722"/>
          </a:xfrm>
          <a:prstGeom prst="rect">
            <a:avLst/>
          </a:prstGeom>
          <a:noFill/>
          <a:effectLst/>
        </p:spPr>
        <p:txBody>
          <a:bodyPr wrap="none" lIns="0" tIns="0" rIns="0" bIns="0" rtlCol="0" anchor="t">
            <a:spAutoFit/>
          </a:bodyPr>
          <a:lstStyle/>
          <a:p>
            <a:pPr algn="ctr"/>
            <a:r>
              <a:rPr lang="en-GB" sz="700" dirty="0">
                <a:solidFill>
                  <a:schemeClr val="tx2"/>
                </a:solidFill>
              </a:rPr>
              <a:t>Creativity</a:t>
            </a:r>
          </a:p>
        </p:txBody>
      </p:sp>
      <p:sp>
        <p:nvSpPr>
          <p:cNvPr id="673" name="TextBox 1069">
            <a:extLst>
              <a:ext uri="{FF2B5EF4-FFF2-40B4-BE49-F238E27FC236}">
                <a16:creationId xmlns:a16="http://schemas.microsoft.com/office/drawing/2014/main" id="{E2BC4ED7-F747-49EA-B7BB-A16485069535}"/>
              </a:ext>
            </a:extLst>
          </p:cNvPr>
          <p:cNvSpPr txBox="1"/>
          <p:nvPr/>
        </p:nvSpPr>
        <p:spPr>
          <a:xfrm>
            <a:off x="5072072" y="3723675"/>
            <a:ext cx="288541" cy="215444"/>
          </a:xfrm>
          <a:prstGeom prst="rect">
            <a:avLst/>
          </a:prstGeom>
          <a:noFill/>
          <a:effectLst/>
        </p:spPr>
        <p:txBody>
          <a:bodyPr wrap="none" lIns="0" tIns="0" rIns="0" bIns="0" rtlCol="0" anchor="t">
            <a:spAutoFit/>
          </a:bodyPr>
          <a:lstStyle/>
          <a:p>
            <a:pPr algn="ctr"/>
            <a:r>
              <a:rPr lang="en-GB" sz="700" dirty="0">
                <a:solidFill>
                  <a:schemeClr val="tx2"/>
                </a:solidFill>
              </a:rPr>
              <a:t>Mental</a:t>
            </a:r>
            <a:br>
              <a:rPr lang="en-GB" sz="700" dirty="0">
                <a:solidFill>
                  <a:schemeClr val="tx2"/>
                </a:solidFill>
              </a:rPr>
            </a:br>
            <a:r>
              <a:rPr lang="en-GB" sz="700" dirty="0">
                <a:solidFill>
                  <a:schemeClr val="tx2"/>
                </a:solidFill>
              </a:rPr>
              <a:t>models</a:t>
            </a:r>
          </a:p>
        </p:txBody>
      </p:sp>
      <p:sp>
        <p:nvSpPr>
          <p:cNvPr id="674" name="TextBox 1071">
            <a:extLst>
              <a:ext uri="{FF2B5EF4-FFF2-40B4-BE49-F238E27FC236}">
                <a16:creationId xmlns:a16="http://schemas.microsoft.com/office/drawing/2014/main" id="{9AACFE51-9E57-4A45-935E-4E6E820D8C0C}"/>
              </a:ext>
            </a:extLst>
          </p:cNvPr>
          <p:cNvSpPr txBox="1"/>
          <p:nvPr/>
        </p:nvSpPr>
        <p:spPr>
          <a:xfrm>
            <a:off x="4952648" y="4547732"/>
            <a:ext cx="527388" cy="215444"/>
          </a:xfrm>
          <a:prstGeom prst="rect">
            <a:avLst/>
          </a:prstGeom>
          <a:noFill/>
          <a:effectLst/>
        </p:spPr>
        <p:txBody>
          <a:bodyPr wrap="none" lIns="0" tIns="0" rIns="0" bIns="0" rtlCol="0" anchor="t">
            <a:spAutoFit/>
          </a:bodyPr>
          <a:lstStyle/>
          <a:p>
            <a:pPr algn="ctr"/>
            <a:r>
              <a:rPr lang="en-GB" sz="700" dirty="0">
                <a:solidFill>
                  <a:schemeClr val="tx2"/>
                </a:solidFill>
              </a:rPr>
              <a:t>Development</a:t>
            </a:r>
          </a:p>
          <a:p>
            <a:pPr algn="ctr"/>
            <a:r>
              <a:rPr lang="en-GB" sz="700" dirty="0">
                <a:solidFill>
                  <a:schemeClr val="tx2"/>
                </a:solidFill>
              </a:rPr>
              <a:t>of ideas</a:t>
            </a:r>
          </a:p>
        </p:txBody>
      </p:sp>
      <p:sp>
        <p:nvSpPr>
          <p:cNvPr id="675" name="TextBox 1073">
            <a:extLst>
              <a:ext uri="{FF2B5EF4-FFF2-40B4-BE49-F238E27FC236}">
                <a16:creationId xmlns:a16="http://schemas.microsoft.com/office/drawing/2014/main" id="{3902E2A9-A57C-4489-B471-816EA6243701}"/>
              </a:ext>
            </a:extLst>
          </p:cNvPr>
          <p:cNvSpPr txBox="1"/>
          <p:nvPr/>
        </p:nvSpPr>
        <p:spPr>
          <a:xfrm>
            <a:off x="6035752" y="2077494"/>
            <a:ext cx="452047" cy="215444"/>
          </a:xfrm>
          <a:prstGeom prst="rect">
            <a:avLst/>
          </a:prstGeom>
          <a:noFill/>
          <a:effectLst/>
        </p:spPr>
        <p:txBody>
          <a:bodyPr wrap="none" lIns="0" tIns="0" rIns="0" bIns="0" rtlCol="0" anchor="t">
            <a:spAutoFit/>
          </a:bodyPr>
          <a:lstStyle/>
          <a:p>
            <a:pPr algn="ctr"/>
            <a:r>
              <a:rPr lang="en-GB" sz="700" dirty="0">
                <a:solidFill>
                  <a:schemeClr val="tx2"/>
                </a:solidFill>
              </a:rPr>
              <a:t>Associative</a:t>
            </a:r>
            <a:br>
              <a:rPr lang="en-GB" sz="700" dirty="0">
                <a:solidFill>
                  <a:schemeClr val="tx2"/>
                </a:solidFill>
              </a:rPr>
            </a:br>
            <a:r>
              <a:rPr lang="en-GB" sz="700" dirty="0">
                <a:solidFill>
                  <a:schemeClr val="tx2"/>
                </a:solidFill>
              </a:rPr>
              <a:t>thinking</a:t>
            </a:r>
          </a:p>
        </p:txBody>
      </p:sp>
      <p:sp>
        <p:nvSpPr>
          <p:cNvPr id="676" name="TextBox 1074">
            <a:extLst>
              <a:ext uri="{FF2B5EF4-FFF2-40B4-BE49-F238E27FC236}">
                <a16:creationId xmlns:a16="http://schemas.microsoft.com/office/drawing/2014/main" id="{DB64B81C-ED17-42A2-BA3E-2FB3427732CC}"/>
              </a:ext>
            </a:extLst>
          </p:cNvPr>
          <p:cNvSpPr txBox="1"/>
          <p:nvPr/>
        </p:nvSpPr>
        <p:spPr>
          <a:xfrm>
            <a:off x="6081438" y="2899619"/>
            <a:ext cx="360676" cy="107722"/>
          </a:xfrm>
          <a:prstGeom prst="rect">
            <a:avLst/>
          </a:prstGeom>
          <a:noFill/>
          <a:effectLst/>
        </p:spPr>
        <p:txBody>
          <a:bodyPr wrap="none" lIns="0" tIns="0" rIns="0" bIns="0" rtlCol="0" anchor="t">
            <a:spAutoFit/>
          </a:bodyPr>
          <a:lstStyle/>
          <a:p>
            <a:pPr algn="ctr"/>
            <a:r>
              <a:rPr lang="en-GB" sz="700" dirty="0">
                <a:solidFill>
                  <a:schemeClr val="tx2"/>
                </a:solidFill>
              </a:rPr>
              <a:t>Vigilance</a:t>
            </a:r>
          </a:p>
        </p:txBody>
      </p:sp>
      <p:sp>
        <p:nvSpPr>
          <p:cNvPr id="677" name="TextBox 1075">
            <a:extLst>
              <a:ext uri="{FF2B5EF4-FFF2-40B4-BE49-F238E27FC236}">
                <a16:creationId xmlns:a16="http://schemas.microsoft.com/office/drawing/2014/main" id="{A51FAB4B-A2B2-4DEA-9C88-A97259508867}"/>
              </a:ext>
            </a:extLst>
          </p:cNvPr>
          <p:cNvSpPr txBox="1"/>
          <p:nvPr/>
        </p:nvSpPr>
        <p:spPr>
          <a:xfrm>
            <a:off x="5998082" y="3723675"/>
            <a:ext cx="527388" cy="215444"/>
          </a:xfrm>
          <a:prstGeom prst="rect">
            <a:avLst/>
          </a:prstGeom>
          <a:noFill/>
          <a:effectLst/>
        </p:spPr>
        <p:txBody>
          <a:bodyPr wrap="none" lIns="0" tIns="0" rIns="0" bIns="0" rtlCol="0" anchor="t">
            <a:spAutoFit/>
          </a:bodyPr>
          <a:lstStyle/>
          <a:p>
            <a:pPr algn="ctr"/>
            <a:r>
              <a:rPr lang="en-GB" sz="700" dirty="0">
                <a:solidFill>
                  <a:schemeClr val="tx2"/>
                </a:solidFill>
              </a:rPr>
              <a:t>Development</a:t>
            </a:r>
            <a:br>
              <a:rPr lang="en-GB" sz="700" dirty="0">
                <a:solidFill>
                  <a:schemeClr val="tx2"/>
                </a:solidFill>
              </a:rPr>
            </a:br>
            <a:r>
              <a:rPr lang="en-GB" sz="700" dirty="0">
                <a:solidFill>
                  <a:schemeClr val="tx2"/>
                </a:solidFill>
              </a:rPr>
              <a:t>of abilities</a:t>
            </a:r>
          </a:p>
        </p:txBody>
      </p:sp>
      <p:sp>
        <p:nvSpPr>
          <p:cNvPr id="678" name="TextBox 1076">
            <a:extLst>
              <a:ext uri="{FF2B5EF4-FFF2-40B4-BE49-F238E27FC236}">
                <a16:creationId xmlns:a16="http://schemas.microsoft.com/office/drawing/2014/main" id="{969CF76B-02DD-4F9B-B192-142FF47D60B5}"/>
              </a:ext>
            </a:extLst>
          </p:cNvPr>
          <p:cNvSpPr txBox="1"/>
          <p:nvPr/>
        </p:nvSpPr>
        <p:spPr>
          <a:xfrm>
            <a:off x="6070217" y="4547732"/>
            <a:ext cx="383118" cy="107722"/>
          </a:xfrm>
          <a:prstGeom prst="rect">
            <a:avLst/>
          </a:prstGeom>
          <a:noFill/>
          <a:effectLst/>
        </p:spPr>
        <p:txBody>
          <a:bodyPr wrap="none" lIns="0" tIns="0" rIns="0" bIns="0" rtlCol="0" anchor="t">
            <a:spAutoFit/>
          </a:bodyPr>
          <a:lstStyle/>
          <a:p>
            <a:pPr algn="ctr"/>
            <a:r>
              <a:rPr lang="en-GB" sz="700" dirty="0">
                <a:solidFill>
                  <a:schemeClr val="tx2"/>
                </a:solidFill>
              </a:rPr>
              <a:t>Prudence</a:t>
            </a:r>
          </a:p>
        </p:txBody>
      </p:sp>
      <p:sp>
        <p:nvSpPr>
          <p:cNvPr id="679" name="TextBox 1078">
            <a:extLst>
              <a:ext uri="{FF2B5EF4-FFF2-40B4-BE49-F238E27FC236}">
                <a16:creationId xmlns:a16="http://schemas.microsoft.com/office/drawing/2014/main" id="{61E0B6F6-7B30-48C5-8266-6C1C36647DA1}"/>
              </a:ext>
            </a:extLst>
          </p:cNvPr>
          <p:cNvSpPr txBox="1"/>
          <p:nvPr/>
        </p:nvSpPr>
        <p:spPr>
          <a:xfrm>
            <a:off x="7118857" y="2077494"/>
            <a:ext cx="376706" cy="107722"/>
          </a:xfrm>
          <a:prstGeom prst="rect">
            <a:avLst/>
          </a:prstGeom>
          <a:noFill/>
          <a:effectLst/>
        </p:spPr>
        <p:txBody>
          <a:bodyPr wrap="none" lIns="0" tIns="0" rIns="0" bIns="0" rtlCol="0" anchor="t">
            <a:spAutoFit/>
          </a:bodyPr>
          <a:lstStyle/>
          <a:p>
            <a:pPr algn="ctr"/>
            <a:r>
              <a:rPr lang="en-GB" sz="700" dirty="0">
                <a:solidFill>
                  <a:schemeClr val="tx2"/>
                </a:solidFill>
              </a:rPr>
              <a:t>Cognition</a:t>
            </a:r>
          </a:p>
        </p:txBody>
      </p:sp>
      <p:sp>
        <p:nvSpPr>
          <p:cNvPr id="680" name="TextBox 1079">
            <a:extLst>
              <a:ext uri="{FF2B5EF4-FFF2-40B4-BE49-F238E27FC236}">
                <a16:creationId xmlns:a16="http://schemas.microsoft.com/office/drawing/2014/main" id="{3CCEA3C1-40FD-4D09-BA47-736CD1128C5D}"/>
              </a:ext>
            </a:extLst>
          </p:cNvPr>
          <p:cNvSpPr txBox="1"/>
          <p:nvPr/>
        </p:nvSpPr>
        <p:spPr>
          <a:xfrm>
            <a:off x="7085194" y="2899619"/>
            <a:ext cx="444032" cy="215444"/>
          </a:xfrm>
          <a:prstGeom prst="rect">
            <a:avLst/>
          </a:prstGeom>
          <a:noFill/>
          <a:effectLst/>
        </p:spPr>
        <p:txBody>
          <a:bodyPr wrap="none" lIns="0" tIns="0" rIns="0" bIns="0" rtlCol="0" anchor="t">
            <a:spAutoFit/>
          </a:bodyPr>
          <a:lstStyle/>
          <a:p>
            <a:pPr algn="ctr"/>
            <a:r>
              <a:rPr lang="en-GB" sz="700" dirty="0">
                <a:solidFill>
                  <a:schemeClr val="tx2"/>
                </a:solidFill>
              </a:rPr>
              <a:t>Structuring</a:t>
            </a:r>
            <a:br>
              <a:rPr lang="en-GB" sz="700" dirty="0">
                <a:solidFill>
                  <a:schemeClr val="tx2"/>
                </a:solidFill>
              </a:rPr>
            </a:br>
            <a:r>
              <a:rPr lang="en-GB" sz="700" dirty="0">
                <a:solidFill>
                  <a:schemeClr val="tx2"/>
                </a:solidFill>
              </a:rPr>
              <a:t>information</a:t>
            </a:r>
          </a:p>
        </p:txBody>
      </p:sp>
      <p:sp>
        <p:nvSpPr>
          <p:cNvPr id="681" name="TextBox 1080">
            <a:extLst>
              <a:ext uri="{FF2B5EF4-FFF2-40B4-BE49-F238E27FC236}">
                <a16:creationId xmlns:a16="http://schemas.microsoft.com/office/drawing/2014/main" id="{83C67B8F-B1C9-4715-B111-B94E42E0866D}"/>
              </a:ext>
            </a:extLst>
          </p:cNvPr>
          <p:cNvSpPr txBox="1"/>
          <p:nvPr/>
        </p:nvSpPr>
        <p:spPr>
          <a:xfrm>
            <a:off x="7090003" y="3723675"/>
            <a:ext cx="434414" cy="107722"/>
          </a:xfrm>
          <a:prstGeom prst="rect">
            <a:avLst/>
          </a:prstGeom>
          <a:noFill/>
          <a:effectLst/>
        </p:spPr>
        <p:txBody>
          <a:bodyPr wrap="none" lIns="0" tIns="0" rIns="0" bIns="0" rtlCol="0" anchor="t">
            <a:spAutoFit/>
          </a:bodyPr>
          <a:lstStyle/>
          <a:p>
            <a:pPr algn="ctr"/>
            <a:r>
              <a:rPr lang="en-GB" sz="700" dirty="0">
                <a:solidFill>
                  <a:schemeClr val="tx2"/>
                </a:solidFill>
              </a:rPr>
              <a:t>Brainstorm</a:t>
            </a:r>
          </a:p>
        </p:txBody>
      </p:sp>
      <p:sp>
        <p:nvSpPr>
          <p:cNvPr id="682" name="TextBox 1081">
            <a:extLst>
              <a:ext uri="{FF2B5EF4-FFF2-40B4-BE49-F238E27FC236}">
                <a16:creationId xmlns:a16="http://schemas.microsoft.com/office/drawing/2014/main" id="{4B00B2FC-0363-48FF-9081-D12769380663}"/>
              </a:ext>
            </a:extLst>
          </p:cNvPr>
          <p:cNvSpPr txBox="1"/>
          <p:nvPr/>
        </p:nvSpPr>
        <p:spPr>
          <a:xfrm>
            <a:off x="6996228" y="4547732"/>
            <a:ext cx="621965" cy="107722"/>
          </a:xfrm>
          <a:prstGeom prst="rect">
            <a:avLst/>
          </a:prstGeom>
          <a:noFill/>
          <a:effectLst/>
        </p:spPr>
        <p:txBody>
          <a:bodyPr wrap="none" lIns="0" tIns="0" rIns="0" bIns="0" rtlCol="0" anchor="t">
            <a:spAutoFit/>
          </a:bodyPr>
          <a:lstStyle/>
          <a:p>
            <a:pPr algn="ctr"/>
            <a:r>
              <a:rPr lang="en-GB" sz="700" dirty="0">
                <a:solidFill>
                  <a:schemeClr val="tx2"/>
                </a:solidFill>
              </a:rPr>
              <a:t>Communication</a:t>
            </a:r>
          </a:p>
        </p:txBody>
      </p:sp>
      <p:sp>
        <p:nvSpPr>
          <p:cNvPr id="683" name="TextBox 1083">
            <a:extLst>
              <a:ext uri="{FF2B5EF4-FFF2-40B4-BE49-F238E27FC236}">
                <a16:creationId xmlns:a16="http://schemas.microsoft.com/office/drawing/2014/main" id="{54AA68D6-1D04-4BC4-A341-492DAC7A46A5}"/>
              </a:ext>
            </a:extLst>
          </p:cNvPr>
          <p:cNvSpPr txBox="1"/>
          <p:nvPr/>
        </p:nvSpPr>
        <p:spPr>
          <a:xfrm>
            <a:off x="8133833" y="2077494"/>
            <a:ext cx="437620" cy="215444"/>
          </a:xfrm>
          <a:prstGeom prst="rect">
            <a:avLst/>
          </a:prstGeom>
          <a:noFill/>
          <a:effectLst/>
        </p:spPr>
        <p:txBody>
          <a:bodyPr wrap="none" lIns="0" tIns="0" rIns="0" bIns="0" rtlCol="0" anchor="t">
            <a:spAutoFit/>
          </a:bodyPr>
          <a:lstStyle/>
          <a:p>
            <a:pPr algn="ctr"/>
            <a:r>
              <a:rPr lang="en-GB" sz="700" dirty="0">
                <a:solidFill>
                  <a:schemeClr val="tx2"/>
                </a:solidFill>
              </a:rPr>
              <a:t>Sharing</a:t>
            </a:r>
            <a:br>
              <a:rPr lang="en-GB" sz="700" dirty="0">
                <a:solidFill>
                  <a:schemeClr val="tx2"/>
                </a:solidFill>
              </a:rPr>
            </a:br>
            <a:r>
              <a:rPr lang="en-GB" sz="700" dirty="0">
                <a:solidFill>
                  <a:schemeClr val="tx2"/>
                </a:solidFill>
              </a:rPr>
              <a:t>experience</a:t>
            </a:r>
          </a:p>
        </p:txBody>
      </p:sp>
      <p:sp>
        <p:nvSpPr>
          <p:cNvPr id="684" name="TextBox 1084">
            <a:extLst>
              <a:ext uri="{FF2B5EF4-FFF2-40B4-BE49-F238E27FC236}">
                <a16:creationId xmlns:a16="http://schemas.microsoft.com/office/drawing/2014/main" id="{546270B1-26CA-4AE6-93C9-9FBF9793261A}"/>
              </a:ext>
            </a:extLst>
          </p:cNvPr>
          <p:cNvSpPr txBox="1"/>
          <p:nvPr/>
        </p:nvSpPr>
        <p:spPr>
          <a:xfrm>
            <a:off x="8176313" y="2899619"/>
            <a:ext cx="352661" cy="215444"/>
          </a:xfrm>
          <a:prstGeom prst="rect">
            <a:avLst/>
          </a:prstGeom>
          <a:noFill/>
          <a:effectLst/>
        </p:spPr>
        <p:txBody>
          <a:bodyPr wrap="none" lIns="0" tIns="0" rIns="0" bIns="0" rtlCol="0" anchor="t">
            <a:spAutoFit/>
          </a:bodyPr>
          <a:lstStyle/>
          <a:p>
            <a:pPr algn="ctr"/>
            <a:r>
              <a:rPr lang="en-GB" sz="700" dirty="0">
                <a:solidFill>
                  <a:schemeClr val="tx2"/>
                </a:solidFill>
              </a:rPr>
              <a:t>Personal</a:t>
            </a:r>
            <a:br>
              <a:rPr lang="en-GB" sz="700" dirty="0">
                <a:solidFill>
                  <a:schemeClr val="tx2"/>
                </a:solidFill>
              </a:rPr>
            </a:br>
            <a:r>
              <a:rPr lang="en-GB" sz="700" dirty="0">
                <a:solidFill>
                  <a:schemeClr val="tx2"/>
                </a:solidFill>
              </a:rPr>
              <a:t>qualities</a:t>
            </a:r>
          </a:p>
        </p:txBody>
      </p:sp>
      <p:sp>
        <p:nvSpPr>
          <p:cNvPr id="685" name="TextBox 1085">
            <a:extLst>
              <a:ext uri="{FF2B5EF4-FFF2-40B4-BE49-F238E27FC236}">
                <a16:creationId xmlns:a16="http://schemas.microsoft.com/office/drawing/2014/main" id="{A21CC08A-A643-4C94-9D47-4F78AAF893B1}"/>
              </a:ext>
            </a:extLst>
          </p:cNvPr>
          <p:cNvSpPr txBox="1"/>
          <p:nvPr/>
        </p:nvSpPr>
        <p:spPr>
          <a:xfrm>
            <a:off x="8135437" y="3723675"/>
            <a:ext cx="434413" cy="215444"/>
          </a:xfrm>
          <a:prstGeom prst="rect">
            <a:avLst/>
          </a:prstGeom>
          <a:noFill/>
          <a:effectLst/>
        </p:spPr>
        <p:txBody>
          <a:bodyPr wrap="none" lIns="0" tIns="0" rIns="0" bIns="0" rtlCol="0" anchor="t">
            <a:spAutoFit/>
          </a:bodyPr>
          <a:lstStyle/>
          <a:p>
            <a:pPr algn="ctr"/>
            <a:r>
              <a:rPr lang="en-GB" sz="700" dirty="0">
                <a:solidFill>
                  <a:schemeClr val="tx2"/>
                </a:solidFill>
              </a:rPr>
              <a:t>Structuring</a:t>
            </a:r>
            <a:br>
              <a:rPr lang="en-GB" sz="700" dirty="0">
                <a:solidFill>
                  <a:schemeClr val="tx2"/>
                </a:solidFill>
              </a:rPr>
            </a:br>
            <a:r>
              <a:rPr lang="en-GB" sz="700" dirty="0">
                <a:solidFill>
                  <a:schemeClr val="tx2"/>
                </a:solidFill>
              </a:rPr>
              <a:t>knowledge</a:t>
            </a:r>
          </a:p>
        </p:txBody>
      </p:sp>
      <p:sp>
        <p:nvSpPr>
          <p:cNvPr id="686" name="TextBox 1086">
            <a:extLst>
              <a:ext uri="{FF2B5EF4-FFF2-40B4-BE49-F238E27FC236}">
                <a16:creationId xmlns:a16="http://schemas.microsoft.com/office/drawing/2014/main" id="{D7BB5081-8CCE-4D87-8F8C-A51244241EBE}"/>
              </a:ext>
            </a:extLst>
          </p:cNvPr>
          <p:cNvSpPr txBox="1"/>
          <p:nvPr/>
        </p:nvSpPr>
        <p:spPr>
          <a:xfrm>
            <a:off x="8190739" y="4547732"/>
            <a:ext cx="323808" cy="107722"/>
          </a:xfrm>
          <a:prstGeom prst="rect">
            <a:avLst/>
          </a:prstGeom>
          <a:noFill/>
          <a:effectLst/>
        </p:spPr>
        <p:txBody>
          <a:bodyPr wrap="none" lIns="0" tIns="0" rIns="0" bIns="0" rtlCol="0" anchor="t">
            <a:spAutoFit/>
          </a:bodyPr>
          <a:lstStyle/>
          <a:p>
            <a:pPr algn="ctr"/>
            <a:r>
              <a:rPr lang="en-GB" sz="700" dirty="0">
                <a:solidFill>
                  <a:schemeClr val="tx2"/>
                </a:solidFill>
              </a:rPr>
              <a:t>Practice</a:t>
            </a:r>
          </a:p>
        </p:txBody>
      </p:sp>
    </p:spTree>
    <p:extLst>
      <p:ext uri="{BB962C8B-B14F-4D97-AF65-F5344CB8AC3E}">
        <p14:creationId xmlns:p14="http://schemas.microsoft.com/office/powerpoint/2010/main" val="420810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kt 29" hidden="1">
            <a:extLst>
              <a:ext uri="{FF2B5EF4-FFF2-40B4-BE49-F238E27FC236}">
                <a16:creationId xmlns:a16="http://schemas.microsoft.com/office/drawing/2014/main" id="{648DBD49-C084-4575-8966-F55CDBEAB6C2}"/>
              </a:ext>
            </a:extLst>
          </p:cNvPr>
          <p:cNvGraphicFramePr>
            <a:graphicFrameLocks noChangeAspect="1"/>
          </p:cNvGraphicFramePr>
          <p:nvPr>
            <p:custDataLst>
              <p:tags r:id="rId1"/>
            </p:custDataLst>
            <p:extLst>
              <p:ext uri="{D42A27DB-BD31-4B8C-83A1-F6EECF244321}">
                <p14:modId xmlns:p14="http://schemas.microsoft.com/office/powerpoint/2010/main" val="1285686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0" name="Objekt 29" hidden="1">
                        <a:extLst>
                          <a:ext uri="{FF2B5EF4-FFF2-40B4-BE49-F238E27FC236}">
                            <a16:creationId xmlns:a16="http://schemas.microsoft.com/office/drawing/2014/main" id="{648DBD49-C084-4575-8966-F55CDBEAB6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94A1F9C-705A-4EC6-A3D8-2B50293F8C7A}"/>
              </a:ext>
            </a:extLst>
          </p:cNvPr>
          <p:cNvSpPr>
            <a:spLocks noGrp="1"/>
          </p:cNvSpPr>
          <p:nvPr>
            <p:ph type="sldNum" sz="quarter" idx="11"/>
          </p:nvPr>
        </p:nvSpPr>
        <p:spPr/>
        <p:txBody>
          <a:bodyPr/>
          <a:lstStyle/>
          <a:p>
            <a:fld id="{D56DB8AA-803C-49D2-90AA-1140CE72DCD7}" type="slidenum">
              <a:rPr lang="en-GB" smtClean="0"/>
              <a:pPr/>
              <a:t>33</a:t>
            </a:fld>
            <a:endParaRPr lang="en-GB" dirty="0"/>
          </a:p>
        </p:txBody>
      </p:sp>
      <p:sp>
        <p:nvSpPr>
          <p:cNvPr id="3" name="Title 2">
            <a:extLst>
              <a:ext uri="{FF2B5EF4-FFF2-40B4-BE49-F238E27FC236}">
                <a16:creationId xmlns:a16="http://schemas.microsoft.com/office/drawing/2014/main" id="{45837A31-5921-8FDE-993E-36D1F1BB078E}"/>
              </a:ext>
            </a:extLst>
          </p:cNvPr>
          <p:cNvSpPr>
            <a:spLocks noGrp="1"/>
          </p:cNvSpPr>
          <p:nvPr>
            <p:ph type="title"/>
          </p:nvPr>
        </p:nvSpPr>
        <p:spPr>
          <a:xfrm>
            <a:off x="252000" y="252000"/>
            <a:ext cx="6748875" cy="576000"/>
          </a:xfrm>
        </p:spPr>
        <p:txBody>
          <a:bodyPr/>
          <a:lstStyle/>
          <a:p>
            <a:r>
              <a:rPr lang="en-US" dirty="0"/>
              <a:t>Medical 1/2</a:t>
            </a:r>
            <a:br>
              <a:rPr lang="en-US" dirty="0"/>
            </a:br>
            <a:endParaRPr lang="en-US" dirty="0"/>
          </a:p>
        </p:txBody>
      </p:sp>
      <p:sp>
        <p:nvSpPr>
          <p:cNvPr id="29" name="TextBox 28">
            <a:extLst>
              <a:ext uri="{FF2B5EF4-FFF2-40B4-BE49-F238E27FC236}">
                <a16:creationId xmlns:a16="http://schemas.microsoft.com/office/drawing/2014/main" id="{92AFF1FE-C021-4F9E-AAF1-C444DBCD4A48}"/>
              </a:ext>
            </a:extLst>
          </p:cNvPr>
          <p:cNvSpPr txBox="1"/>
          <p:nvPr/>
        </p:nvSpPr>
        <p:spPr>
          <a:xfrm>
            <a:off x="4908600" y="3723675"/>
            <a:ext cx="798548" cy="107722"/>
          </a:xfrm>
          <a:prstGeom prst="rect">
            <a:avLst/>
          </a:prstGeom>
          <a:noFill/>
          <a:effectLst/>
        </p:spPr>
        <p:txBody>
          <a:bodyPr wrap="square" lIns="0" tIns="0" rIns="0" bIns="0" rtlCol="0" anchor="t">
            <a:spAutoFit/>
          </a:bodyPr>
          <a:lstStyle/>
          <a:p>
            <a:pPr algn="ctr"/>
            <a:r>
              <a:rPr lang="en-GB" sz="700" dirty="0">
                <a:solidFill>
                  <a:schemeClr val="tx2"/>
                </a:solidFill>
              </a:rPr>
              <a:t>Incubation period</a:t>
            </a:r>
          </a:p>
        </p:txBody>
      </p:sp>
      <p:sp>
        <p:nvSpPr>
          <p:cNvPr id="5" name="TextBox 4">
            <a:extLst>
              <a:ext uri="{FF2B5EF4-FFF2-40B4-BE49-F238E27FC236}">
                <a16:creationId xmlns:a16="http://schemas.microsoft.com/office/drawing/2014/main" id="{D8303ED9-8D37-4DB0-BF2F-F4218F1A1C12}"/>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hysician</a:t>
            </a:r>
          </a:p>
        </p:txBody>
      </p:sp>
      <p:sp>
        <p:nvSpPr>
          <p:cNvPr id="6" name="TextBox 5">
            <a:extLst>
              <a:ext uri="{FF2B5EF4-FFF2-40B4-BE49-F238E27FC236}">
                <a16:creationId xmlns:a16="http://schemas.microsoft.com/office/drawing/2014/main" id="{5BE374DC-033D-481A-B108-FFDA099F96C7}"/>
              </a:ext>
            </a:extLst>
          </p:cNvPr>
          <p:cNvSpPr txBox="1"/>
          <p:nvPr/>
        </p:nvSpPr>
        <p:spPr>
          <a:xfrm>
            <a:off x="3588420"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ample</a:t>
            </a:r>
          </a:p>
        </p:txBody>
      </p:sp>
      <p:sp>
        <p:nvSpPr>
          <p:cNvPr id="7" name="TextBox 6">
            <a:extLst>
              <a:ext uri="{FF2B5EF4-FFF2-40B4-BE49-F238E27FC236}">
                <a16:creationId xmlns:a16="http://schemas.microsoft.com/office/drawing/2014/main" id="{BFB059C8-A48E-4738-A8A3-FE8EA62DEC6C}"/>
              </a:ext>
            </a:extLst>
          </p:cNvPr>
          <p:cNvSpPr txBox="1"/>
          <p:nvPr/>
        </p:nvSpPr>
        <p:spPr>
          <a:xfrm>
            <a:off x="254298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jection</a:t>
            </a:r>
          </a:p>
        </p:txBody>
      </p:sp>
      <p:sp>
        <p:nvSpPr>
          <p:cNvPr id="8" name="TextBox 7">
            <a:extLst>
              <a:ext uri="{FF2B5EF4-FFF2-40B4-BE49-F238E27FC236}">
                <a16:creationId xmlns:a16="http://schemas.microsoft.com/office/drawing/2014/main" id="{789B0658-9EE5-449B-B926-2C11B8F4C784}"/>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NA</a:t>
            </a:r>
          </a:p>
        </p:txBody>
      </p:sp>
      <p:sp>
        <p:nvSpPr>
          <p:cNvPr id="9" name="TextBox 8">
            <a:extLst>
              <a:ext uri="{FF2B5EF4-FFF2-40B4-BE49-F238E27FC236}">
                <a16:creationId xmlns:a16="http://schemas.microsoft.com/office/drawing/2014/main" id="{BE9F1EA7-B470-4D0D-B439-4ED52509BFAC}"/>
              </a:ext>
            </a:extLst>
          </p:cNvPr>
          <p:cNvSpPr txBox="1"/>
          <p:nvPr/>
        </p:nvSpPr>
        <p:spPr>
          <a:xfrm>
            <a:off x="452119"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pproved</a:t>
            </a:r>
            <a:br>
              <a:rPr lang="en-GB" sz="700" dirty="0">
                <a:solidFill>
                  <a:schemeClr val="tx2"/>
                </a:solidFill>
              </a:rPr>
            </a:br>
            <a:r>
              <a:rPr lang="en-GB" sz="700" dirty="0">
                <a:solidFill>
                  <a:schemeClr val="tx2"/>
                </a:solidFill>
              </a:rPr>
              <a:t>medication</a:t>
            </a:r>
          </a:p>
        </p:txBody>
      </p:sp>
      <p:sp>
        <p:nvSpPr>
          <p:cNvPr id="10" name="TextBox 9">
            <a:extLst>
              <a:ext uri="{FF2B5EF4-FFF2-40B4-BE49-F238E27FC236}">
                <a16:creationId xmlns:a16="http://schemas.microsoft.com/office/drawing/2014/main" id="{A6D13EBC-41E8-480F-8567-6C1B19DB8B93}"/>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Health</a:t>
            </a:r>
          </a:p>
        </p:txBody>
      </p:sp>
      <p:sp>
        <p:nvSpPr>
          <p:cNvPr id="11" name="TextBox 10">
            <a:extLst>
              <a:ext uri="{FF2B5EF4-FFF2-40B4-BE49-F238E27FC236}">
                <a16:creationId xmlns:a16="http://schemas.microsoft.com/office/drawing/2014/main" id="{75B4CF44-21B8-45F4-8FD9-2D443C237E39}"/>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edical</a:t>
            </a:r>
          </a:p>
        </p:txBody>
      </p:sp>
      <p:sp>
        <p:nvSpPr>
          <p:cNvPr id="12" name="TextBox 11">
            <a:extLst>
              <a:ext uri="{FF2B5EF4-FFF2-40B4-BE49-F238E27FC236}">
                <a16:creationId xmlns:a16="http://schemas.microsoft.com/office/drawing/2014/main" id="{5215C790-E7F7-4D1A-BB87-B4A65EF695DA}"/>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Hospital</a:t>
            </a:r>
          </a:p>
        </p:txBody>
      </p:sp>
      <p:sp>
        <p:nvSpPr>
          <p:cNvPr id="13" name="TextBox 12">
            <a:extLst>
              <a:ext uri="{FF2B5EF4-FFF2-40B4-BE49-F238E27FC236}">
                <a16:creationId xmlns:a16="http://schemas.microsoft.com/office/drawing/2014/main" id="{7823E177-3989-4938-B381-8C3BB5588637}"/>
              </a:ext>
            </a:extLst>
          </p:cNvPr>
          <p:cNvSpPr txBox="1"/>
          <p:nvPr/>
        </p:nvSpPr>
        <p:spPr>
          <a:xfrm>
            <a:off x="452119"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edical</a:t>
            </a:r>
            <a:br>
              <a:rPr lang="en-GB" sz="700" dirty="0">
                <a:solidFill>
                  <a:schemeClr val="tx2"/>
                </a:solidFill>
              </a:rPr>
            </a:br>
            <a:r>
              <a:rPr lang="en-GB" sz="700" dirty="0">
                <a:solidFill>
                  <a:schemeClr val="tx2"/>
                </a:solidFill>
              </a:rPr>
              <a:t>plaster</a:t>
            </a:r>
          </a:p>
        </p:txBody>
      </p:sp>
      <p:sp>
        <p:nvSpPr>
          <p:cNvPr id="14" name="TextBox 13">
            <a:extLst>
              <a:ext uri="{FF2B5EF4-FFF2-40B4-BE49-F238E27FC236}">
                <a16:creationId xmlns:a16="http://schemas.microsoft.com/office/drawing/2014/main" id="{65F216B3-41A9-4E8E-83BA-9A74FFFFE477}"/>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VID-19</a:t>
            </a:r>
          </a:p>
        </p:txBody>
      </p:sp>
      <p:sp>
        <p:nvSpPr>
          <p:cNvPr id="15" name="TextBox 14">
            <a:extLst>
              <a:ext uri="{FF2B5EF4-FFF2-40B4-BE49-F238E27FC236}">
                <a16:creationId xmlns:a16="http://schemas.microsoft.com/office/drawing/2014/main" id="{9AEBB531-223A-404F-A04C-0411508D352F}"/>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ARS-CoV-2</a:t>
            </a:r>
          </a:p>
        </p:txBody>
      </p:sp>
      <p:sp>
        <p:nvSpPr>
          <p:cNvPr id="16" name="TextBox 15">
            <a:extLst>
              <a:ext uri="{FF2B5EF4-FFF2-40B4-BE49-F238E27FC236}">
                <a16:creationId xmlns:a16="http://schemas.microsoft.com/office/drawing/2014/main" id="{B45D69D6-3D20-4DD2-80AB-CA149C3A6AC3}"/>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search</a:t>
            </a:r>
          </a:p>
        </p:txBody>
      </p:sp>
      <p:sp>
        <p:nvSpPr>
          <p:cNvPr id="17" name="TextBox 16">
            <a:extLst>
              <a:ext uri="{FF2B5EF4-FFF2-40B4-BE49-F238E27FC236}">
                <a16:creationId xmlns:a16="http://schemas.microsoft.com/office/drawing/2014/main" id="{462B187D-06B8-496E-BEB5-960455434CE1}"/>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rus genome</a:t>
            </a:r>
          </a:p>
        </p:txBody>
      </p:sp>
      <p:sp>
        <p:nvSpPr>
          <p:cNvPr id="18" name="TextBox 17">
            <a:extLst>
              <a:ext uri="{FF2B5EF4-FFF2-40B4-BE49-F238E27FC236}">
                <a16:creationId xmlns:a16="http://schemas.microsoft.com/office/drawing/2014/main" id="{C65A98ED-7B8B-49B8-82EB-68D85B4ADF90}"/>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accine</a:t>
            </a:r>
          </a:p>
        </p:txBody>
      </p:sp>
      <p:sp>
        <p:nvSpPr>
          <p:cNvPr id="19" name="TextBox 18">
            <a:extLst>
              <a:ext uri="{FF2B5EF4-FFF2-40B4-BE49-F238E27FC236}">
                <a16:creationId xmlns:a16="http://schemas.microsoft.com/office/drawing/2014/main" id="{A35AFF07-646C-4B07-B78E-8BA8D53D02DA}"/>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fection</a:t>
            </a:r>
          </a:p>
        </p:txBody>
      </p:sp>
      <p:sp>
        <p:nvSpPr>
          <p:cNvPr id="20" name="TextBox 19">
            <a:extLst>
              <a:ext uri="{FF2B5EF4-FFF2-40B4-BE49-F238E27FC236}">
                <a16:creationId xmlns:a16="http://schemas.microsoft.com/office/drawing/2014/main" id="{248877C0-8990-433A-A35D-AB75E1FEB75D}"/>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rology</a:t>
            </a:r>
          </a:p>
        </p:txBody>
      </p:sp>
      <p:sp>
        <p:nvSpPr>
          <p:cNvPr id="51" name="Freihandform: Form 564">
            <a:extLst>
              <a:ext uri="{FF2B5EF4-FFF2-40B4-BE49-F238E27FC236}">
                <a16:creationId xmlns:a16="http://schemas.microsoft.com/office/drawing/2014/main" id="{0CEDA0F0-0E89-4460-834C-79FD8F3E3567}"/>
              </a:ext>
            </a:extLst>
          </p:cNvPr>
          <p:cNvSpPr>
            <a:spLocks noChangeAspect="1"/>
          </p:cNvSpPr>
          <p:nvPr/>
        </p:nvSpPr>
        <p:spPr>
          <a:xfrm>
            <a:off x="600541" y="1573894"/>
            <a:ext cx="387018" cy="412934"/>
          </a:xfrm>
          <a:custGeom>
            <a:avLst/>
            <a:gdLst>
              <a:gd name="connsiteX0" fmla="*/ 368944 w 369126"/>
              <a:gd name="connsiteY0" fmla="*/ 383358 h 393845"/>
              <a:gd name="connsiteX1" fmla="*/ 339828 w 369126"/>
              <a:gd name="connsiteY1" fmla="*/ 257266 h 393845"/>
              <a:gd name="connsiteX2" fmla="*/ 335056 w 369126"/>
              <a:gd name="connsiteY2" fmla="*/ 252130 h 393845"/>
              <a:gd name="connsiteX3" fmla="*/ 277699 w 369126"/>
              <a:gd name="connsiteY3" fmla="*/ 234443 h 393845"/>
              <a:gd name="connsiteX4" fmla="*/ 277699 w 369126"/>
              <a:gd name="connsiteY4" fmla="*/ 226367 h 393845"/>
              <a:gd name="connsiteX5" fmla="*/ 236180 w 369126"/>
              <a:gd name="connsiteY5" fmla="*/ 180488 h 393845"/>
              <a:gd name="connsiteX6" fmla="*/ 244653 w 369126"/>
              <a:gd name="connsiteY6" fmla="*/ 157301 h 393845"/>
              <a:gd name="connsiteX7" fmla="*/ 259780 w 369126"/>
              <a:gd name="connsiteY7" fmla="*/ 123644 h 393845"/>
              <a:gd name="connsiteX8" fmla="*/ 256494 w 369126"/>
              <a:gd name="connsiteY8" fmla="*/ 105940 h 393845"/>
              <a:gd name="connsiteX9" fmla="*/ 251721 w 369126"/>
              <a:gd name="connsiteY9" fmla="*/ 101514 h 393845"/>
              <a:gd name="connsiteX10" fmla="*/ 238261 w 369126"/>
              <a:gd name="connsiteY10" fmla="*/ 33439 h 393845"/>
              <a:gd name="connsiteX11" fmla="*/ 140295 w 369126"/>
              <a:gd name="connsiteY11" fmla="*/ 8039 h 393845"/>
              <a:gd name="connsiteX12" fmla="*/ 112170 w 369126"/>
              <a:gd name="connsiteY12" fmla="*/ 35586 h 393845"/>
              <a:gd name="connsiteX13" fmla="*/ 91823 w 369126"/>
              <a:gd name="connsiteY13" fmla="*/ 78822 h 393845"/>
              <a:gd name="connsiteX14" fmla="*/ 95968 w 369126"/>
              <a:gd name="connsiteY14" fmla="*/ 103165 h 393845"/>
              <a:gd name="connsiteX15" fmla="*/ 90122 w 369126"/>
              <a:gd name="connsiteY15" fmla="*/ 123594 h 393845"/>
              <a:gd name="connsiteX16" fmla="*/ 105233 w 369126"/>
              <a:gd name="connsiteY16" fmla="*/ 157268 h 393845"/>
              <a:gd name="connsiteX17" fmla="*/ 114234 w 369126"/>
              <a:gd name="connsiteY17" fmla="*/ 181496 h 393845"/>
              <a:gd name="connsiteX18" fmla="*/ 63665 w 369126"/>
              <a:gd name="connsiteY18" fmla="*/ 236639 h 393845"/>
              <a:gd name="connsiteX19" fmla="*/ 63665 w 369126"/>
              <a:gd name="connsiteY19" fmla="*/ 237036 h 393845"/>
              <a:gd name="connsiteX20" fmla="*/ 14797 w 369126"/>
              <a:gd name="connsiteY20" fmla="*/ 252114 h 393845"/>
              <a:gd name="connsiteX21" fmla="*/ 10289 w 369126"/>
              <a:gd name="connsiteY21" fmla="*/ 256342 h 393845"/>
              <a:gd name="connsiteX22" fmla="*/ 512 w 369126"/>
              <a:gd name="connsiteY22" fmla="*/ 282154 h 393845"/>
              <a:gd name="connsiteX23" fmla="*/ 4591 w 369126"/>
              <a:gd name="connsiteY23" fmla="*/ 291238 h 393845"/>
              <a:gd name="connsiteX24" fmla="*/ 13674 w 369126"/>
              <a:gd name="connsiteY24" fmla="*/ 287158 h 393845"/>
              <a:gd name="connsiteX25" fmla="*/ 22229 w 369126"/>
              <a:gd name="connsiteY25" fmla="*/ 264549 h 393845"/>
              <a:gd name="connsiteX26" fmla="*/ 63665 w 369126"/>
              <a:gd name="connsiteY26" fmla="*/ 251767 h 393845"/>
              <a:gd name="connsiteX27" fmla="*/ 63665 w 369126"/>
              <a:gd name="connsiteY27" fmla="*/ 266779 h 393845"/>
              <a:gd name="connsiteX28" fmla="*/ 60626 w 369126"/>
              <a:gd name="connsiteY28" fmla="*/ 266779 h 393845"/>
              <a:gd name="connsiteX29" fmla="*/ 17390 w 369126"/>
              <a:gd name="connsiteY29" fmla="*/ 308347 h 393845"/>
              <a:gd name="connsiteX30" fmla="*/ 264 w 369126"/>
              <a:gd name="connsiteY30" fmla="*/ 368941 h 393845"/>
              <a:gd name="connsiteX31" fmla="*/ 0 w 369126"/>
              <a:gd name="connsiteY31" fmla="*/ 370856 h 393845"/>
              <a:gd name="connsiteX32" fmla="*/ 15755 w 369126"/>
              <a:gd name="connsiteY32" fmla="*/ 388874 h 393845"/>
              <a:gd name="connsiteX33" fmla="*/ 25053 w 369126"/>
              <a:gd name="connsiteY33" fmla="*/ 393845 h 393845"/>
              <a:gd name="connsiteX34" fmla="*/ 36217 w 369126"/>
              <a:gd name="connsiteY34" fmla="*/ 382665 h 393845"/>
              <a:gd name="connsiteX35" fmla="*/ 25053 w 369126"/>
              <a:gd name="connsiteY35" fmla="*/ 371484 h 393845"/>
              <a:gd name="connsiteX36" fmla="*/ 17093 w 369126"/>
              <a:gd name="connsiteY36" fmla="*/ 374820 h 393845"/>
              <a:gd name="connsiteX37" fmla="*/ 14137 w 369126"/>
              <a:gd name="connsiteY37" fmla="*/ 371583 h 393845"/>
              <a:gd name="connsiteX38" fmla="*/ 31015 w 369126"/>
              <a:gd name="connsiteY38" fmla="*/ 311964 h 393845"/>
              <a:gd name="connsiteX39" fmla="*/ 60643 w 369126"/>
              <a:gd name="connsiteY39" fmla="*/ 280850 h 393845"/>
              <a:gd name="connsiteX40" fmla="*/ 80791 w 369126"/>
              <a:gd name="connsiteY40" fmla="*/ 280850 h 393845"/>
              <a:gd name="connsiteX41" fmla="*/ 110469 w 369126"/>
              <a:gd name="connsiteY41" fmla="*/ 312162 h 393845"/>
              <a:gd name="connsiteX42" fmla="*/ 127297 w 369126"/>
              <a:gd name="connsiteY42" fmla="*/ 371583 h 393845"/>
              <a:gd name="connsiteX43" fmla="*/ 124242 w 369126"/>
              <a:gd name="connsiteY43" fmla="*/ 374836 h 393845"/>
              <a:gd name="connsiteX44" fmla="*/ 116265 w 369126"/>
              <a:gd name="connsiteY44" fmla="*/ 371467 h 393845"/>
              <a:gd name="connsiteX45" fmla="*/ 105085 w 369126"/>
              <a:gd name="connsiteY45" fmla="*/ 382648 h 393845"/>
              <a:gd name="connsiteX46" fmla="*/ 116265 w 369126"/>
              <a:gd name="connsiteY46" fmla="*/ 393829 h 393845"/>
              <a:gd name="connsiteX47" fmla="*/ 125547 w 369126"/>
              <a:gd name="connsiteY47" fmla="*/ 388874 h 393845"/>
              <a:gd name="connsiteX48" fmla="*/ 141451 w 369126"/>
              <a:gd name="connsiteY48" fmla="*/ 370840 h 393845"/>
              <a:gd name="connsiteX49" fmla="*/ 141186 w 369126"/>
              <a:gd name="connsiteY49" fmla="*/ 368924 h 393845"/>
              <a:gd name="connsiteX50" fmla="*/ 124110 w 369126"/>
              <a:gd name="connsiteY50" fmla="*/ 308628 h 393845"/>
              <a:gd name="connsiteX51" fmla="*/ 80808 w 369126"/>
              <a:gd name="connsiteY51" fmla="*/ 266779 h 393845"/>
              <a:gd name="connsiteX52" fmla="*/ 77769 w 369126"/>
              <a:gd name="connsiteY52" fmla="*/ 266779 h 393845"/>
              <a:gd name="connsiteX53" fmla="*/ 77769 w 369126"/>
              <a:gd name="connsiteY53" fmla="*/ 247423 h 393845"/>
              <a:gd name="connsiteX54" fmla="*/ 103252 w 369126"/>
              <a:gd name="connsiteY54" fmla="*/ 239562 h 393845"/>
              <a:gd name="connsiteX55" fmla="*/ 136909 w 369126"/>
              <a:gd name="connsiteY55" fmla="*/ 305341 h 393845"/>
              <a:gd name="connsiteX56" fmla="*/ 142210 w 369126"/>
              <a:gd name="connsiteY56" fmla="*/ 309107 h 393845"/>
              <a:gd name="connsiteX57" fmla="*/ 143185 w 369126"/>
              <a:gd name="connsiteY57" fmla="*/ 309173 h 393845"/>
              <a:gd name="connsiteX58" fmla="*/ 148337 w 369126"/>
              <a:gd name="connsiteY58" fmla="*/ 306943 h 393845"/>
              <a:gd name="connsiteX59" fmla="*/ 174200 w 369126"/>
              <a:gd name="connsiteY59" fmla="*/ 279215 h 393845"/>
              <a:gd name="connsiteX60" fmla="*/ 200062 w 369126"/>
              <a:gd name="connsiteY60" fmla="*/ 306943 h 393845"/>
              <a:gd name="connsiteX61" fmla="*/ 205215 w 369126"/>
              <a:gd name="connsiteY61" fmla="*/ 309173 h 393845"/>
              <a:gd name="connsiteX62" fmla="*/ 206189 w 369126"/>
              <a:gd name="connsiteY62" fmla="*/ 309107 h 393845"/>
              <a:gd name="connsiteX63" fmla="*/ 211474 w 369126"/>
              <a:gd name="connsiteY63" fmla="*/ 305341 h 393845"/>
              <a:gd name="connsiteX64" fmla="*/ 245330 w 369126"/>
              <a:gd name="connsiteY64" fmla="*/ 239166 h 393845"/>
              <a:gd name="connsiteX65" fmla="*/ 263628 w 369126"/>
              <a:gd name="connsiteY65" fmla="*/ 244814 h 393845"/>
              <a:gd name="connsiteX66" fmla="*/ 263628 w 369126"/>
              <a:gd name="connsiteY66" fmla="*/ 342335 h 393845"/>
              <a:gd name="connsiteX67" fmla="*/ 245429 w 369126"/>
              <a:gd name="connsiteY67" fmla="*/ 366496 h 393845"/>
              <a:gd name="connsiteX68" fmla="*/ 270730 w 369126"/>
              <a:gd name="connsiteY68" fmla="*/ 391781 h 393845"/>
              <a:gd name="connsiteX69" fmla="*/ 296014 w 369126"/>
              <a:gd name="connsiteY69" fmla="*/ 366496 h 393845"/>
              <a:gd name="connsiteX70" fmla="*/ 277699 w 369126"/>
              <a:gd name="connsiteY70" fmla="*/ 342285 h 393845"/>
              <a:gd name="connsiteX71" fmla="*/ 277699 w 369126"/>
              <a:gd name="connsiteY71" fmla="*/ 249141 h 393845"/>
              <a:gd name="connsiteX72" fmla="*/ 327029 w 369126"/>
              <a:gd name="connsiteY72" fmla="*/ 264368 h 393845"/>
              <a:gd name="connsiteX73" fmla="*/ 355237 w 369126"/>
              <a:gd name="connsiteY73" fmla="*/ 386513 h 393845"/>
              <a:gd name="connsiteX74" fmla="*/ 362091 w 369126"/>
              <a:gd name="connsiteY74" fmla="*/ 391962 h 393845"/>
              <a:gd name="connsiteX75" fmla="*/ 363676 w 369126"/>
              <a:gd name="connsiteY75" fmla="*/ 391781 h 393845"/>
              <a:gd name="connsiteX76" fmla="*/ 368944 w 369126"/>
              <a:gd name="connsiteY76" fmla="*/ 383358 h 393845"/>
              <a:gd name="connsiteX77" fmla="*/ 27943 w 369126"/>
              <a:gd name="connsiteY77" fmla="*/ 382665 h 393845"/>
              <a:gd name="connsiteX78" fmla="*/ 25053 w 369126"/>
              <a:gd name="connsiteY78" fmla="*/ 385571 h 393845"/>
              <a:gd name="connsiteX79" fmla="*/ 24029 w 369126"/>
              <a:gd name="connsiteY79" fmla="*/ 385373 h 393845"/>
              <a:gd name="connsiteX80" fmla="*/ 24905 w 369126"/>
              <a:gd name="connsiteY80" fmla="*/ 382367 h 393845"/>
              <a:gd name="connsiteX81" fmla="*/ 24508 w 369126"/>
              <a:gd name="connsiteY81" fmla="*/ 379890 h 393845"/>
              <a:gd name="connsiteX82" fmla="*/ 25053 w 369126"/>
              <a:gd name="connsiteY82" fmla="*/ 379774 h 393845"/>
              <a:gd name="connsiteX83" fmla="*/ 27943 w 369126"/>
              <a:gd name="connsiteY83" fmla="*/ 382665 h 393845"/>
              <a:gd name="connsiteX84" fmla="*/ 113359 w 369126"/>
              <a:gd name="connsiteY84" fmla="*/ 382681 h 393845"/>
              <a:gd name="connsiteX85" fmla="*/ 116265 w 369126"/>
              <a:gd name="connsiteY85" fmla="*/ 379774 h 393845"/>
              <a:gd name="connsiteX86" fmla="*/ 116926 w 369126"/>
              <a:gd name="connsiteY86" fmla="*/ 379907 h 393845"/>
              <a:gd name="connsiteX87" fmla="*/ 116530 w 369126"/>
              <a:gd name="connsiteY87" fmla="*/ 382367 h 393845"/>
              <a:gd name="connsiteX88" fmla="*/ 117388 w 369126"/>
              <a:gd name="connsiteY88" fmla="*/ 385356 h 393845"/>
              <a:gd name="connsiteX89" fmla="*/ 116265 w 369126"/>
              <a:gd name="connsiteY89" fmla="*/ 385588 h 393845"/>
              <a:gd name="connsiteX90" fmla="*/ 113359 w 369126"/>
              <a:gd name="connsiteY90" fmla="*/ 382681 h 393845"/>
              <a:gd name="connsiteX91" fmla="*/ 281927 w 369126"/>
              <a:gd name="connsiteY91" fmla="*/ 366496 h 393845"/>
              <a:gd name="connsiteX92" fmla="*/ 270713 w 369126"/>
              <a:gd name="connsiteY92" fmla="*/ 377710 h 393845"/>
              <a:gd name="connsiteX93" fmla="*/ 259483 w 369126"/>
              <a:gd name="connsiteY93" fmla="*/ 366496 h 393845"/>
              <a:gd name="connsiteX94" fmla="*/ 270713 w 369126"/>
              <a:gd name="connsiteY94" fmla="*/ 355266 h 393845"/>
              <a:gd name="connsiteX95" fmla="*/ 281927 w 369126"/>
              <a:gd name="connsiteY95" fmla="*/ 366496 h 393845"/>
              <a:gd name="connsiteX96" fmla="*/ 104011 w 369126"/>
              <a:gd name="connsiteY96" fmla="*/ 121332 h 393845"/>
              <a:gd name="connsiteX97" fmla="*/ 106736 w 369126"/>
              <a:gd name="connsiteY97" fmla="*/ 112909 h 393845"/>
              <a:gd name="connsiteX98" fmla="*/ 110997 w 369126"/>
              <a:gd name="connsiteY98" fmla="*/ 109160 h 393845"/>
              <a:gd name="connsiteX99" fmla="*/ 111113 w 369126"/>
              <a:gd name="connsiteY99" fmla="*/ 103496 h 393845"/>
              <a:gd name="connsiteX100" fmla="*/ 105894 w 369126"/>
              <a:gd name="connsiteY100" fmla="*/ 78822 h 393845"/>
              <a:gd name="connsiteX101" fmla="*/ 120840 w 369126"/>
              <a:gd name="connsiteY101" fmla="*/ 46816 h 393845"/>
              <a:gd name="connsiteX102" fmla="*/ 125084 w 369126"/>
              <a:gd name="connsiteY102" fmla="*/ 41399 h 393845"/>
              <a:gd name="connsiteX103" fmla="*/ 146950 w 369126"/>
              <a:gd name="connsiteY103" fmla="*/ 20442 h 393845"/>
              <a:gd name="connsiteX104" fmla="*/ 226569 w 369126"/>
              <a:gd name="connsiteY104" fmla="*/ 41267 h 393845"/>
              <a:gd name="connsiteX105" fmla="*/ 236957 w 369126"/>
              <a:gd name="connsiteY105" fmla="*/ 104503 h 393845"/>
              <a:gd name="connsiteX106" fmla="*/ 238162 w 369126"/>
              <a:gd name="connsiteY106" fmla="*/ 109837 h 393845"/>
              <a:gd name="connsiteX107" fmla="*/ 242820 w 369126"/>
              <a:gd name="connsiteY107" fmla="*/ 112810 h 393845"/>
              <a:gd name="connsiteX108" fmla="*/ 245891 w 369126"/>
              <a:gd name="connsiteY108" fmla="*/ 121348 h 393845"/>
              <a:gd name="connsiteX109" fmla="*/ 237171 w 369126"/>
              <a:gd name="connsiteY109" fmla="*/ 145229 h 393845"/>
              <a:gd name="connsiteX110" fmla="*/ 231854 w 369126"/>
              <a:gd name="connsiteY110" fmla="*/ 150530 h 393845"/>
              <a:gd name="connsiteX111" fmla="*/ 211144 w 369126"/>
              <a:gd name="connsiteY111" fmla="*/ 194427 h 393845"/>
              <a:gd name="connsiteX112" fmla="*/ 209459 w 369126"/>
              <a:gd name="connsiteY112" fmla="*/ 199794 h 393845"/>
              <a:gd name="connsiteX113" fmla="*/ 211474 w 369126"/>
              <a:gd name="connsiteY113" fmla="*/ 218770 h 393845"/>
              <a:gd name="connsiteX114" fmla="*/ 211276 w 369126"/>
              <a:gd name="connsiteY114" fmla="*/ 218919 h 393845"/>
              <a:gd name="connsiteX115" fmla="*/ 174183 w 369126"/>
              <a:gd name="connsiteY115" fmla="*/ 257778 h 393845"/>
              <a:gd name="connsiteX116" fmla="*/ 138280 w 369126"/>
              <a:gd name="connsiteY116" fmla="*/ 220174 h 393845"/>
              <a:gd name="connsiteX117" fmla="*/ 140443 w 369126"/>
              <a:gd name="connsiteY117" fmla="*/ 199761 h 393845"/>
              <a:gd name="connsiteX118" fmla="*/ 138775 w 369126"/>
              <a:gd name="connsiteY118" fmla="*/ 194427 h 393845"/>
              <a:gd name="connsiteX119" fmla="*/ 118032 w 369126"/>
              <a:gd name="connsiteY119" fmla="*/ 150514 h 393845"/>
              <a:gd name="connsiteX120" fmla="*/ 112748 w 369126"/>
              <a:gd name="connsiteY120" fmla="*/ 145245 h 393845"/>
              <a:gd name="connsiteX121" fmla="*/ 104011 w 369126"/>
              <a:gd name="connsiteY121" fmla="*/ 121332 h 393845"/>
              <a:gd name="connsiteX122" fmla="*/ 119089 w 369126"/>
              <a:gd name="connsiteY122" fmla="*/ 195335 h 393845"/>
              <a:gd name="connsiteX123" fmla="*/ 120939 w 369126"/>
              <a:gd name="connsiteY123" fmla="*/ 195335 h 393845"/>
              <a:gd name="connsiteX124" fmla="*/ 121798 w 369126"/>
              <a:gd name="connsiteY124" fmla="*/ 195154 h 393845"/>
              <a:gd name="connsiteX125" fmla="*/ 126125 w 369126"/>
              <a:gd name="connsiteY125" fmla="*/ 201198 h 393845"/>
              <a:gd name="connsiteX126" fmla="*/ 124308 w 369126"/>
              <a:gd name="connsiteY126" fmla="*/ 218341 h 393845"/>
              <a:gd name="connsiteX127" fmla="*/ 77967 w 369126"/>
              <a:gd name="connsiteY127" fmla="*/ 232643 h 393845"/>
              <a:gd name="connsiteX128" fmla="*/ 119089 w 369126"/>
              <a:gd name="connsiteY128" fmla="*/ 195335 h 393845"/>
              <a:gd name="connsiteX129" fmla="*/ 144853 w 369126"/>
              <a:gd name="connsiteY129" fmla="*/ 289999 h 393845"/>
              <a:gd name="connsiteX130" fmla="*/ 116893 w 369126"/>
              <a:gd name="connsiteY130" fmla="*/ 235368 h 393845"/>
              <a:gd name="connsiteX131" fmla="*/ 129593 w 369126"/>
              <a:gd name="connsiteY131" fmla="*/ 231454 h 393845"/>
              <a:gd name="connsiteX132" fmla="*/ 164935 w 369126"/>
              <a:gd name="connsiteY132" fmla="*/ 268480 h 393845"/>
              <a:gd name="connsiteX133" fmla="*/ 144853 w 369126"/>
              <a:gd name="connsiteY133" fmla="*/ 289999 h 393845"/>
              <a:gd name="connsiteX134" fmla="*/ 203481 w 369126"/>
              <a:gd name="connsiteY134" fmla="*/ 289999 h 393845"/>
              <a:gd name="connsiteX135" fmla="*/ 183415 w 369126"/>
              <a:gd name="connsiteY135" fmla="*/ 268480 h 393845"/>
              <a:gd name="connsiteX136" fmla="*/ 219104 w 369126"/>
              <a:gd name="connsiteY136" fmla="*/ 231090 h 393845"/>
              <a:gd name="connsiteX137" fmla="*/ 231655 w 369126"/>
              <a:gd name="connsiteY137" fmla="*/ 234955 h 393845"/>
              <a:gd name="connsiteX138" fmla="*/ 203481 w 369126"/>
              <a:gd name="connsiteY138" fmla="*/ 289999 h 393845"/>
              <a:gd name="connsiteX139" fmla="*/ 225578 w 369126"/>
              <a:gd name="connsiteY139" fmla="*/ 218341 h 393845"/>
              <a:gd name="connsiteX140" fmla="*/ 223778 w 369126"/>
              <a:gd name="connsiteY140" fmla="*/ 201248 h 393845"/>
              <a:gd name="connsiteX141" fmla="*/ 228831 w 369126"/>
              <a:gd name="connsiteY141" fmla="*/ 194047 h 393845"/>
              <a:gd name="connsiteX142" fmla="*/ 230086 w 369126"/>
              <a:gd name="connsiteY142" fmla="*/ 194295 h 393845"/>
              <a:gd name="connsiteX143" fmla="*/ 231589 w 369126"/>
              <a:gd name="connsiteY143" fmla="*/ 194295 h 393845"/>
              <a:gd name="connsiteX144" fmla="*/ 263612 w 369126"/>
              <a:gd name="connsiteY144" fmla="*/ 226334 h 393845"/>
              <a:gd name="connsiteX145" fmla="*/ 263612 w 369126"/>
              <a:gd name="connsiteY145" fmla="*/ 230066 h 393845"/>
              <a:gd name="connsiteX146" fmla="*/ 225578 w 369126"/>
              <a:gd name="connsiteY146" fmla="*/ 218341 h 39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Lst>
            <a:rect l="l" t="t" r="r" b="b"/>
            <a:pathLst>
              <a:path w="369126" h="393845">
                <a:moveTo>
                  <a:pt x="368944" y="383358"/>
                </a:moveTo>
                <a:lnTo>
                  <a:pt x="339828" y="257266"/>
                </a:lnTo>
                <a:cubicBezTo>
                  <a:pt x="339267" y="254822"/>
                  <a:pt x="337450" y="252857"/>
                  <a:pt x="335056" y="252130"/>
                </a:cubicBezTo>
                <a:lnTo>
                  <a:pt x="277699" y="234443"/>
                </a:lnTo>
                <a:lnTo>
                  <a:pt x="277699" y="226367"/>
                </a:lnTo>
                <a:cubicBezTo>
                  <a:pt x="277699" y="202503"/>
                  <a:pt x="259467" y="182800"/>
                  <a:pt x="236180" y="180488"/>
                </a:cubicBezTo>
                <a:cubicBezTo>
                  <a:pt x="240573" y="170926"/>
                  <a:pt x="243348" y="162074"/>
                  <a:pt x="244653" y="157301"/>
                </a:cubicBezTo>
                <a:cubicBezTo>
                  <a:pt x="252035" y="153140"/>
                  <a:pt x="256676" y="142636"/>
                  <a:pt x="259780" y="123644"/>
                </a:cubicBezTo>
                <a:cubicBezTo>
                  <a:pt x="260969" y="116476"/>
                  <a:pt x="259863" y="110514"/>
                  <a:pt x="256494" y="105940"/>
                </a:cubicBezTo>
                <a:cubicBezTo>
                  <a:pt x="255041" y="103974"/>
                  <a:pt x="253356" y="102538"/>
                  <a:pt x="251721" y="101514"/>
                </a:cubicBezTo>
                <a:cubicBezTo>
                  <a:pt x="253868" y="86254"/>
                  <a:pt x="254710" y="58030"/>
                  <a:pt x="238261" y="33439"/>
                </a:cubicBezTo>
                <a:cubicBezTo>
                  <a:pt x="217403" y="2358"/>
                  <a:pt x="172548" y="-9269"/>
                  <a:pt x="140295" y="8039"/>
                </a:cubicBezTo>
                <a:cubicBezTo>
                  <a:pt x="120807" y="18526"/>
                  <a:pt x="114317" y="29756"/>
                  <a:pt x="112170" y="35586"/>
                </a:cubicBezTo>
                <a:cubicBezTo>
                  <a:pt x="105679" y="39698"/>
                  <a:pt x="91823" y="51639"/>
                  <a:pt x="91823" y="78822"/>
                </a:cubicBezTo>
                <a:cubicBezTo>
                  <a:pt x="91823" y="88153"/>
                  <a:pt x="93772" y="96625"/>
                  <a:pt x="95968" y="103165"/>
                </a:cubicBezTo>
                <a:cubicBezTo>
                  <a:pt x="91493" y="107112"/>
                  <a:pt x="88520" y="113768"/>
                  <a:pt x="90122" y="123594"/>
                </a:cubicBezTo>
                <a:cubicBezTo>
                  <a:pt x="93227" y="142586"/>
                  <a:pt x="97868" y="153090"/>
                  <a:pt x="105233" y="157268"/>
                </a:cubicBezTo>
                <a:cubicBezTo>
                  <a:pt x="106604" y="162190"/>
                  <a:pt x="109527" y="171521"/>
                  <a:pt x="114234" y="181496"/>
                </a:cubicBezTo>
                <a:cubicBezTo>
                  <a:pt x="85944" y="183956"/>
                  <a:pt x="63665" y="207738"/>
                  <a:pt x="63665" y="236639"/>
                </a:cubicBezTo>
                <a:lnTo>
                  <a:pt x="63665" y="237036"/>
                </a:lnTo>
                <a:lnTo>
                  <a:pt x="14797" y="252114"/>
                </a:lnTo>
                <a:cubicBezTo>
                  <a:pt x="12717" y="252758"/>
                  <a:pt x="11065" y="254310"/>
                  <a:pt x="10289" y="256342"/>
                </a:cubicBezTo>
                <a:lnTo>
                  <a:pt x="512" y="282154"/>
                </a:lnTo>
                <a:cubicBezTo>
                  <a:pt x="-859" y="285788"/>
                  <a:pt x="958" y="289850"/>
                  <a:pt x="4591" y="291238"/>
                </a:cubicBezTo>
                <a:cubicBezTo>
                  <a:pt x="8224" y="292608"/>
                  <a:pt x="12287" y="290792"/>
                  <a:pt x="13674" y="287158"/>
                </a:cubicBezTo>
                <a:lnTo>
                  <a:pt x="22229" y="264549"/>
                </a:lnTo>
                <a:lnTo>
                  <a:pt x="63665" y="251767"/>
                </a:lnTo>
                <a:lnTo>
                  <a:pt x="63665" y="266779"/>
                </a:lnTo>
                <a:lnTo>
                  <a:pt x="60626" y="266779"/>
                </a:lnTo>
                <a:cubicBezTo>
                  <a:pt x="39785" y="266779"/>
                  <a:pt x="24013" y="282006"/>
                  <a:pt x="17390" y="308347"/>
                </a:cubicBezTo>
                <a:lnTo>
                  <a:pt x="264" y="368941"/>
                </a:lnTo>
                <a:cubicBezTo>
                  <a:pt x="83" y="369568"/>
                  <a:pt x="0" y="370212"/>
                  <a:pt x="0" y="370856"/>
                </a:cubicBezTo>
                <a:cubicBezTo>
                  <a:pt x="0" y="380088"/>
                  <a:pt x="6804" y="387619"/>
                  <a:pt x="15755" y="388874"/>
                </a:cubicBezTo>
                <a:cubicBezTo>
                  <a:pt x="17770" y="391863"/>
                  <a:pt x="21172" y="393845"/>
                  <a:pt x="25053" y="393845"/>
                </a:cubicBezTo>
                <a:cubicBezTo>
                  <a:pt x="31213" y="393845"/>
                  <a:pt x="36217" y="388841"/>
                  <a:pt x="36217" y="382665"/>
                </a:cubicBezTo>
                <a:cubicBezTo>
                  <a:pt x="36217" y="376488"/>
                  <a:pt x="31213" y="371484"/>
                  <a:pt x="25053" y="371484"/>
                </a:cubicBezTo>
                <a:cubicBezTo>
                  <a:pt x="21932" y="371484"/>
                  <a:pt x="19124" y="372772"/>
                  <a:pt x="17093" y="374820"/>
                </a:cubicBezTo>
                <a:cubicBezTo>
                  <a:pt x="15590" y="374374"/>
                  <a:pt x="14418" y="373152"/>
                  <a:pt x="14137" y="371583"/>
                </a:cubicBezTo>
                <a:lnTo>
                  <a:pt x="31015" y="311964"/>
                </a:lnTo>
                <a:cubicBezTo>
                  <a:pt x="34582" y="297761"/>
                  <a:pt x="42609" y="280850"/>
                  <a:pt x="60643" y="280850"/>
                </a:cubicBezTo>
                <a:lnTo>
                  <a:pt x="80791" y="280850"/>
                </a:lnTo>
                <a:cubicBezTo>
                  <a:pt x="100147" y="280850"/>
                  <a:pt x="107645" y="300288"/>
                  <a:pt x="110469" y="312162"/>
                </a:cubicBezTo>
                <a:lnTo>
                  <a:pt x="127297" y="371583"/>
                </a:lnTo>
                <a:cubicBezTo>
                  <a:pt x="127017" y="373185"/>
                  <a:pt x="125794" y="374424"/>
                  <a:pt x="124242" y="374836"/>
                </a:cubicBezTo>
                <a:cubicBezTo>
                  <a:pt x="122211" y="372772"/>
                  <a:pt x="119387" y="371467"/>
                  <a:pt x="116265" y="371467"/>
                </a:cubicBezTo>
                <a:cubicBezTo>
                  <a:pt x="110105" y="371467"/>
                  <a:pt x="105085" y="376488"/>
                  <a:pt x="105085" y="382648"/>
                </a:cubicBezTo>
                <a:cubicBezTo>
                  <a:pt x="105085" y="388808"/>
                  <a:pt x="110105" y="393829"/>
                  <a:pt x="116265" y="393829"/>
                </a:cubicBezTo>
                <a:cubicBezTo>
                  <a:pt x="120130" y="393829"/>
                  <a:pt x="123532" y="391863"/>
                  <a:pt x="125547" y="388874"/>
                </a:cubicBezTo>
                <a:cubicBezTo>
                  <a:pt x="134580" y="387685"/>
                  <a:pt x="141451" y="380121"/>
                  <a:pt x="141451" y="370840"/>
                </a:cubicBezTo>
                <a:cubicBezTo>
                  <a:pt x="141451" y="370196"/>
                  <a:pt x="141368" y="369552"/>
                  <a:pt x="141186" y="368924"/>
                </a:cubicBezTo>
                <a:lnTo>
                  <a:pt x="124110" y="308628"/>
                </a:lnTo>
                <a:cubicBezTo>
                  <a:pt x="117900" y="282419"/>
                  <a:pt x="101716" y="266779"/>
                  <a:pt x="80808" y="266779"/>
                </a:cubicBezTo>
                <a:lnTo>
                  <a:pt x="77769" y="266779"/>
                </a:lnTo>
                <a:lnTo>
                  <a:pt x="77769" y="247423"/>
                </a:lnTo>
                <a:lnTo>
                  <a:pt x="103252" y="239562"/>
                </a:lnTo>
                <a:lnTo>
                  <a:pt x="136909" y="305341"/>
                </a:lnTo>
                <a:cubicBezTo>
                  <a:pt x="137949" y="307389"/>
                  <a:pt x="139931" y="308793"/>
                  <a:pt x="142210" y="309107"/>
                </a:cubicBezTo>
                <a:cubicBezTo>
                  <a:pt x="142541" y="309156"/>
                  <a:pt x="142854" y="309173"/>
                  <a:pt x="143185" y="309173"/>
                </a:cubicBezTo>
                <a:cubicBezTo>
                  <a:pt x="145117" y="309173"/>
                  <a:pt x="147000" y="308364"/>
                  <a:pt x="148337" y="306943"/>
                </a:cubicBezTo>
                <a:lnTo>
                  <a:pt x="174200" y="279215"/>
                </a:lnTo>
                <a:lnTo>
                  <a:pt x="200062" y="306943"/>
                </a:lnTo>
                <a:cubicBezTo>
                  <a:pt x="201400" y="308380"/>
                  <a:pt x="203266" y="309173"/>
                  <a:pt x="205215" y="309173"/>
                </a:cubicBezTo>
                <a:cubicBezTo>
                  <a:pt x="205545" y="309173"/>
                  <a:pt x="205859" y="309156"/>
                  <a:pt x="206189" y="309107"/>
                </a:cubicBezTo>
                <a:cubicBezTo>
                  <a:pt x="208468" y="308793"/>
                  <a:pt x="210434" y="307389"/>
                  <a:pt x="211474" y="305341"/>
                </a:cubicBezTo>
                <a:lnTo>
                  <a:pt x="245330" y="239166"/>
                </a:lnTo>
                <a:lnTo>
                  <a:pt x="263628" y="244814"/>
                </a:lnTo>
                <a:lnTo>
                  <a:pt x="263628" y="342335"/>
                </a:lnTo>
                <a:cubicBezTo>
                  <a:pt x="253158" y="345423"/>
                  <a:pt x="245429" y="355035"/>
                  <a:pt x="245429" y="366496"/>
                </a:cubicBezTo>
                <a:cubicBezTo>
                  <a:pt x="245429" y="380435"/>
                  <a:pt x="256775" y="391781"/>
                  <a:pt x="270730" y="391781"/>
                </a:cubicBezTo>
                <a:cubicBezTo>
                  <a:pt x="284668" y="391781"/>
                  <a:pt x="296014" y="380435"/>
                  <a:pt x="296014" y="366496"/>
                </a:cubicBezTo>
                <a:cubicBezTo>
                  <a:pt x="296014" y="354985"/>
                  <a:pt x="288236" y="345341"/>
                  <a:pt x="277699" y="342285"/>
                </a:cubicBezTo>
                <a:lnTo>
                  <a:pt x="277699" y="249141"/>
                </a:lnTo>
                <a:lnTo>
                  <a:pt x="327029" y="264368"/>
                </a:lnTo>
                <a:lnTo>
                  <a:pt x="355237" y="386513"/>
                </a:lnTo>
                <a:cubicBezTo>
                  <a:pt x="355980" y="389766"/>
                  <a:pt x="358887" y="391962"/>
                  <a:pt x="362091" y="391962"/>
                </a:cubicBezTo>
                <a:cubicBezTo>
                  <a:pt x="362619" y="391962"/>
                  <a:pt x="363148" y="391896"/>
                  <a:pt x="363676" y="391781"/>
                </a:cubicBezTo>
                <a:cubicBezTo>
                  <a:pt x="367458" y="390922"/>
                  <a:pt x="369820" y="387140"/>
                  <a:pt x="368944" y="383358"/>
                </a:cubicBezTo>
                <a:close/>
                <a:moveTo>
                  <a:pt x="27943" y="382665"/>
                </a:moveTo>
                <a:cubicBezTo>
                  <a:pt x="27943" y="384266"/>
                  <a:pt x="26639" y="385571"/>
                  <a:pt x="25053" y="385571"/>
                </a:cubicBezTo>
                <a:cubicBezTo>
                  <a:pt x="24690" y="385571"/>
                  <a:pt x="24343" y="385489"/>
                  <a:pt x="24029" y="385373"/>
                </a:cubicBezTo>
                <a:cubicBezTo>
                  <a:pt x="24525" y="384465"/>
                  <a:pt x="24872" y="383474"/>
                  <a:pt x="24905" y="382367"/>
                </a:cubicBezTo>
                <a:cubicBezTo>
                  <a:pt x="24938" y="381492"/>
                  <a:pt x="24756" y="380666"/>
                  <a:pt x="24508" y="379890"/>
                </a:cubicBezTo>
                <a:cubicBezTo>
                  <a:pt x="24690" y="379857"/>
                  <a:pt x="24855" y="379774"/>
                  <a:pt x="25053" y="379774"/>
                </a:cubicBezTo>
                <a:cubicBezTo>
                  <a:pt x="26639" y="379774"/>
                  <a:pt x="27943" y="381079"/>
                  <a:pt x="27943" y="382665"/>
                </a:cubicBezTo>
                <a:close/>
                <a:moveTo>
                  <a:pt x="113359" y="382681"/>
                </a:moveTo>
                <a:cubicBezTo>
                  <a:pt x="113359" y="381079"/>
                  <a:pt x="114663" y="379774"/>
                  <a:pt x="116265" y="379774"/>
                </a:cubicBezTo>
                <a:cubicBezTo>
                  <a:pt x="116497" y="379774"/>
                  <a:pt x="116711" y="379857"/>
                  <a:pt x="116926" y="379907"/>
                </a:cubicBezTo>
                <a:cubicBezTo>
                  <a:pt x="116662" y="380683"/>
                  <a:pt x="116497" y="381492"/>
                  <a:pt x="116530" y="382367"/>
                </a:cubicBezTo>
                <a:cubicBezTo>
                  <a:pt x="116563" y="383457"/>
                  <a:pt x="116909" y="384448"/>
                  <a:pt x="117388" y="385356"/>
                </a:cubicBezTo>
                <a:cubicBezTo>
                  <a:pt x="117042" y="385505"/>
                  <a:pt x="116662" y="385588"/>
                  <a:pt x="116265" y="385588"/>
                </a:cubicBezTo>
                <a:cubicBezTo>
                  <a:pt x="114663" y="385571"/>
                  <a:pt x="113359" y="384266"/>
                  <a:pt x="113359" y="382681"/>
                </a:cubicBezTo>
                <a:close/>
                <a:moveTo>
                  <a:pt x="281927" y="366496"/>
                </a:moveTo>
                <a:cubicBezTo>
                  <a:pt x="281927" y="372673"/>
                  <a:pt x="276906" y="377710"/>
                  <a:pt x="270713" y="377710"/>
                </a:cubicBezTo>
                <a:cubicBezTo>
                  <a:pt x="264520" y="377710"/>
                  <a:pt x="259483" y="372689"/>
                  <a:pt x="259483" y="366496"/>
                </a:cubicBezTo>
                <a:cubicBezTo>
                  <a:pt x="259483" y="360303"/>
                  <a:pt x="264520" y="355266"/>
                  <a:pt x="270713" y="355266"/>
                </a:cubicBezTo>
                <a:cubicBezTo>
                  <a:pt x="276906" y="355283"/>
                  <a:pt x="281927" y="360320"/>
                  <a:pt x="281927" y="366496"/>
                </a:cubicBezTo>
                <a:close/>
                <a:moveTo>
                  <a:pt x="104011" y="121332"/>
                </a:moveTo>
                <a:cubicBezTo>
                  <a:pt x="102839" y="114148"/>
                  <a:pt x="105778" y="113223"/>
                  <a:pt x="106736" y="112909"/>
                </a:cubicBezTo>
                <a:cubicBezTo>
                  <a:pt x="108619" y="112315"/>
                  <a:pt x="110155" y="110960"/>
                  <a:pt x="110997" y="109160"/>
                </a:cubicBezTo>
                <a:cubicBezTo>
                  <a:pt x="111823" y="107377"/>
                  <a:pt x="111872" y="105312"/>
                  <a:pt x="111113" y="103496"/>
                </a:cubicBezTo>
                <a:cubicBezTo>
                  <a:pt x="108735" y="97781"/>
                  <a:pt x="105894" y="88863"/>
                  <a:pt x="105894" y="78822"/>
                </a:cubicBezTo>
                <a:cubicBezTo>
                  <a:pt x="105894" y="53852"/>
                  <a:pt x="120312" y="47047"/>
                  <a:pt x="120840" y="46816"/>
                </a:cubicBezTo>
                <a:cubicBezTo>
                  <a:pt x="123020" y="45908"/>
                  <a:pt x="124638" y="43728"/>
                  <a:pt x="125084" y="41399"/>
                </a:cubicBezTo>
                <a:cubicBezTo>
                  <a:pt x="125101" y="41300"/>
                  <a:pt x="127281" y="31011"/>
                  <a:pt x="146950" y="20442"/>
                </a:cubicBezTo>
                <a:cubicBezTo>
                  <a:pt x="169757" y="8188"/>
                  <a:pt x="208072" y="13720"/>
                  <a:pt x="226569" y="41267"/>
                </a:cubicBezTo>
                <a:cubicBezTo>
                  <a:pt x="242456" y="64999"/>
                  <a:pt x="239120" y="93388"/>
                  <a:pt x="236957" y="104503"/>
                </a:cubicBezTo>
                <a:cubicBezTo>
                  <a:pt x="236593" y="106353"/>
                  <a:pt x="237105" y="108285"/>
                  <a:pt x="238162" y="109837"/>
                </a:cubicBezTo>
                <a:cubicBezTo>
                  <a:pt x="239219" y="111390"/>
                  <a:pt x="240970" y="112480"/>
                  <a:pt x="242820" y="112810"/>
                </a:cubicBezTo>
                <a:cubicBezTo>
                  <a:pt x="244801" y="113173"/>
                  <a:pt x="246948" y="114940"/>
                  <a:pt x="245891" y="121348"/>
                </a:cubicBezTo>
                <a:cubicBezTo>
                  <a:pt x="243150" y="138144"/>
                  <a:pt x="239483" y="144717"/>
                  <a:pt x="237171" y="145229"/>
                </a:cubicBezTo>
                <a:cubicBezTo>
                  <a:pt x="234529" y="145823"/>
                  <a:pt x="232448" y="147888"/>
                  <a:pt x="231854" y="150530"/>
                </a:cubicBezTo>
                <a:cubicBezTo>
                  <a:pt x="231788" y="150794"/>
                  <a:pt x="225462" y="177978"/>
                  <a:pt x="211144" y="194427"/>
                </a:cubicBezTo>
                <a:cubicBezTo>
                  <a:pt x="209856" y="195897"/>
                  <a:pt x="209245" y="197846"/>
                  <a:pt x="209459" y="199794"/>
                </a:cubicBezTo>
                <a:lnTo>
                  <a:pt x="211474" y="218770"/>
                </a:lnTo>
                <a:cubicBezTo>
                  <a:pt x="211408" y="218836"/>
                  <a:pt x="211325" y="218853"/>
                  <a:pt x="211276" y="218919"/>
                </a:cubicBezTo>
                <a:lnTo>
                  <a:pt x="174183" y="257778"/>
                </a:lnTo>
                <a:lnTo>
                  <a:pt x="138280" y="220174"/>
                </a:lnTo>
                <a:lnTo>
                  <a:pt x="140443" y="199761"/>
                </a:lnTo>
                <a:cubicBezTo>
                  <a:pt x="140641" y="197829"/>
                  <a:pt x="140047" y="195897"/>
                  <a:pt x="138775" y="194427"/>
                </a:cubicBezTo>
                <a:cubicBezTo>
                  <a:pt x="124539" y="177912"/>
                  <a:pt x="118099" y="150794"/>
                  <a:pt x="118032" y="150514"/>
                </a:cubicBezTo>
                <a:cubicBezTo>
                  <a:pt x="117421" y="147888"/>
                  <a:pt x="115374" y="145840"/>
                  <a:pt x="112748" y="145245"/>
                </a:cubicBezTo>
                <a:cubicBezTo>
                  <a:pt x="110436" y="144700"/>
                  <a:pt x="106753" y="138127"/>
                  <a:pt x="104011" y="121332"/>
                </a:cubicBezTo>
                <a:close/>
                <a:moveTo>
                  <a:pt x="119089" y="195335"/>
                </a:moveTo>
                <a:lnTo>
                  <a:pt x="120939" y="195335"/>
                </a:lnTo>
                <a:cubicBezTo>
                  <a:pt x="121236" y="195335"/>
                  <a:pt x="121501" y="195203"/>
                  <a:pt x="121798" y="195154"/>
                </a:cubicBezTo>
                <a:cubicBezTo>
                  <a:pt x="123152" y="197218"/>
                  <a:pt x="124589" y="199249"/>
                  <a:pt x="126125" y="201198"/>
                </a:cubicBezTo>
                <a:lnTo>
                  <a:pt x="124308" y="218341"/>
                </a:lnTo>
                <a:lnTo>
                  <a:pt x="77967" y="232643"/>
                </a:lnTo>
                <a:cubicBezTo>
                  <a:pt x="79998" y="211735"/>
                  <a:pt x="97653" y="195335"/>
                  <a:pt x="119089" y="195335"/>
                </a:cubicBezTo>
                <a:close/>
                <a:moveTo>
                  <a:pt x="144853" y="289999"/>
                </a:moveTo>
                <a:lnTo>
                  <a:pt x="116893" y="235368"/>
                </a:lnTo>
                <a:lnTo>
                  <a:pt x="129593" y="231454"/>
                </a:lnTo>
                <a:lnTo>
                  <a:pt x="164935" y="268480"/>
                </a:lnTo>
                <a:lnTo>
                  <a:pt x="144853" y="289999"/>
                </a:lnTo>
                <a:close/>
                <a:moveTo>
                  <a:pt x="203481" y="289999"/>
                </a:moveTo>
                <a:lnTo>
                  <a:pt x="183415" y="268480"/>
                </a:lnTo>
                <a:lnTo>
                  <a:pt x="219104" y="231090"/>
                </a:lnTo>
                <a:lnTo>
                  <a:pt x="231655" y="234955"/>
                </a:lnTo>
                <a:lnTo>
                  <a:pt x="203481" y="289999"/>
                </a:lnTo>
                <a:close/>
                <a:moveTo>
                  <a:pt x="225578" y="218341"/>
                </a:moveTo>
                <a:lnTo>
                  <a:pt x="223778" y="201248"/>
                </a:lnTo>
                <a:cubicBezTo>
                  <a:pt x="225611" y="198952"/>
                  <a:pt x="227262" y="196524"/>
                  <a:pt x="228831" y="194047"/>
                </a:cubicBezTo>
                <a:cubicBezTo>
                  <a:pt x="229244" y="194130"/>
                  <a:pt x="229641" y="194295"/>
                  <a:pt x="230086" y="194295"/>
                </a:cubicBezTo>
                <a:lnTo>
                  <a:pt x="231589" y="194295"/>
                </a:lnTo>
                <a:cubicBezTo>
                  <a:pt x="249260" y="194295"/>
                  <a:pt x="263612" y="208679"/>
                  <a:pt x="263612" y="226334"/>
                </a:cubicBezTo>
                <a:lnTo>
                  <a:pt x="263612" y="230066"/>
                </a:lnTo>
                <a:lnTo>
                  <a:pt x="225578" y="218341"/>
                </a:lnTo>
                <a:close/>
              </a:path>
            </a:pathLst>
          </a:custGeom>
          <a:solidFill>
            <a:schemeClr val="tx2"/>
          </a:solidFill>
          <a:ln w="1650" cap="flat">
            <a:noFill/>
            <a:prstDash val="solid"/>
            <a:miter/>
          </a:ln>
        </p:spPr>
        <p:txBody>
          <a:bodyPr rtlCol="0" anchor="ctr"/>
          <a:lstStyle/>
          <a:p>
            <a:endParaRPr lang="en-GB" dirty="0"/>
          </a:p>
        </p:txBody>
      </p:sp>
      <p:grpSp>
        <p:nvGrpSpPr>
          <p:cNvPr id="52" name="Gruppieren 594">
            <a:extLst>
              <a:ext uri="{FF2B5EF4-FFF2-40B4-BE49-F238E27FC236}">
                <a16:creationId xmlns:a16="http://schemas.microsoft.com/office/drawing/2014/main" id="{8F9036AD-137F-48A9-8582-1C519E3A1D3A}"/>
              </a:ext>
            </a:extLst>
          </p:cNvPr>
          <p:cNvGrpSpPr>
            <a:grpSpLocks noChangeAspect="1"/>
          </p:cNvGrpSpPr>
          <p:nvPr/>
        </p:nvGrpSpPr>
        <p:grpSpPr>
          <a:xfrm>
            <a:off x="1741943" y="1573895"/>
            <a:ext cx="195058" cy="412934"/>
            <a:chOff x="5279714" y="2327919"/>
            <a:chExt cx="175590" cy="371718"/>
          </a:xfrm>
        </p:grpSpPr>
        <p:sp>
          <p:nvSpPr>
            <p:cNvPr id="53" name="Freihandform: Form 595">
              <a:extLst>
                <a:ext uri="{FF2B5EF4-FFF2-40B4-BE49-F238E27FC236}">
                  <a16:creationId xmlns:a16="http://schemas.microsoft.com/office/drawing/2014/main" id="{77A7D3D6-EFFB-47BB-B534-A70015716A66}"/>
                </a:ext>
              </a:extLst>
            </p:cNvPr>
            <p:cNvSpPr/>
            <p:nvPr/>
          </p:nvSpPr>
          <p:spPr>
            <a:xfrm>
              <a:off x="5279714" y="2327919"/>
              <a:ext cx="175590" cy="371718"/>
            </a:xfrm>
            <a:custGeom>
              <a:avLst/>
              <a:gdLst>
                <a:gd name="connsiteX0" fmla="*/ 104541 w 175589"/>
                <a:gd name="connsiteY0" fmla="*/ 273389 h 371718"/>
                <a:gd name="connsiteX1" fmla="*/ 175555 w 175589"/>
                <a:gd name="connsiteY1" fmla="*/ 191788 h 371718"/>
                <a:gd name="connsiteX2" fmla="*/ 102229 w 175589"/>
                <a:gd name="connsiteY2" fmla="*/ 100064 h 371718"/>
                <a:gd name="connsiteX3" fmla="*/ 175555 w 175589"/>
                <a:gd name="connsiteY3" fmla="*/ 7035 h 371718"/>
                <a:gd name="connsiteX4" fmla="*/ 168520 w 175589"/>
                <a:gd name="connsiteY4" fmla="*/ 0 h 371718"/>
                <a:gd name="connsiteX5" fmla="*/ 161484 w 175589"/>
                <a:gd name="connsiteY5" fmla="*/ 7035 h 371718"/>
                <a:gd name="connsiteX6" fmla="*/ 87778 w 175589"/>
                <a:gd name="connsiteY6" fmla="*/ 92021 h 371718"/>
                <a:gd name="connsiteX7" fmla="*/ 14072 w 175589"/>
                <a:gd name="connsiteY7" fmla="*/ 7035 h 371718"/>
                <a:gd name="connsiteX8" fmla="*/ 7036 w 175589"/>
                <a:gd name="connsiteY8" fmla="*/ 0 h 371718"/>
                <a:gd name="connsiteX9" fmla="*/ 1 w 175589"/>
                <a:gd name="connsiteY9" fmla="*/ 7035 h 371718"/>
                <a:gd name="connsiteX10" fmla="*/ 73327 w 175589"/>
                <a:gd name="connsiteY10" fmla="*/ 100064 h 371718"/>
                <a:gd name="connsiteX11" fmla="*/ 18 w 175589"/>
                <a:gd name="connsiteY11" fmla="*/ 191788 h 371718"/>
                <a:gd name="connsiteX12" fmla="*/ 71015 w 175589"/>
                <a:gd name="connsiteY12" fmla="*/ 273389 h 371718"/>
                <a:gd name="connsiteX13" fmla="*/ 1 w 175589"/>
                <a:gd name="connsiteY13" fmla="*/ 364551 h 371718"/>
                <a:gd name="connsiteX14" fmla="*/ 6921 w 175589"/>
                <a:gd name="connsiteY14" fmla="*/ 371719 h 371718"/>
                <a:gd name="connsiteX15" fmla="*/ 7053 w 175589"/>
                <a:gd name="connsiteY15" fmla="*/ 371719 h 371718"/>
                <a:gd name="connsiteX16" fmla="*/ 14088 w 175589"/>
                <a:gd name="connsiteY16" fmla="*/ 364799 h 371718"/>
                <a:gd name="connsiteX17" fmla="*/ 87795 w 175589"/>
                <a:gd name="connsiteY17" fmla="*/ 281019 h 371718"/>
                <a:gd name="connsiteX18" fmla="*/ 161501 w 175589"/>
                <a:gd name="connsiteY18" fmla="*/ 364783 h 371718"/>
                <a:gd name="connsiteX19" fmla="*/ 168536 w 175589"/>
                <a:gd name="connsiteY19" fmla="*/ 371702 h 371718"/>
                <a:gd name="connsiteX20" fmla="*/ 168668 w 175589"/>
                <a:gd name="connsiteY20" fmla="*/ 371702 h 371718"/>
                <a:gd name="connsiteX21" fmla="*/ 175588 w 175589"/>
                <a:gd name="connsiteY21" fmla="*/ 364535 h 371718"/>
                <a:gd name="connsiteX22" fmla="*/ 104541 w 175589"/>
                <a:gd name="connsiteY22" fmla="*/ 273389 h 371718"/>
                <a:gd name="connsiteX23" fmla="*/ 85961 w 175589"/>
                <a:gd name="connsiteY23" fmla="*/ 264751 h 371718"/>
                <a:gd name="connsiteX24" fmla="*/ 14055 w 175589"/>
                <a:gd name="connsiteY24" fmla="*/ 191788 h 371718"/>
                <a:gd name="connsiteX25" fmla="*/ 87745 w 175589"/>
                <a:gd name="connsiteY25" fmla="*/ 108107 h 371718"/>
                <a:gd name="connsiteX26" fmla="*/ 161435 w 175589"/>
                <a:gd name="connsiteY26" fmla="*/ 191788 h 371718"/>
                <a:gd name="connsiteX27" fmla="*/ 89529 w 175589"/>
                <a:gd name="connsiteY27" fmla="*/ 264751 h 371718"/>
                <a:gd name="connsiteX28" fmla="*/ 87729 w 175589"/>
                <a:gd name="connsiteY28" fmla="*/ 265577 h 371718"/>
                <a:gd name="connsiteX29" fmla="*/ 85961 w 175589"/>
                <a:gd name="connsiteY29" fmla="*/ 264751 h 37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75589" h="371718">
                  <a:moveTo>
                    <a:pt x="104541" y="273389"/>
                  </a:moveTo>
                  <a:cubicBezTo>
                    <a:pt x="140857" y="256643"/>
                    <a:pt x="175555" y="237386"/>
                    <a:pt x="175555" y="191788"/>
                  </a:cubicBezTo>
                  <a:cubicBezTo>
                    <a:pt x="175539" y="144902"/>
                    <a:pt x="139866" y="121203"/>
                    <a:pt x="102229" y="100064"/>
                  </a:cubicBezTo>
                  <a:cubicBezTo>
                    <a:pt x="139998" y="78760"/>
                    <a:pt x="175555" y="54698"/>
                    <a:pt x="175555" y="7035"/>
                  </a:cubicBezTo>
                  <a:cubicBezTo>
                    <a:pt x="175555" y="3154"/>
                    <a:pt x="172401" y="0"/>
                    <a:pt x="168520" y="0"/>
                  </a:cubicBezTo>
                  <a:cubicBezTo>
                    <a:pt x="164639" y="0"/>
                    <a:pt x="161484" y="3154"/>
                    <a:pt x="161484" y="7035"/>
                  </a:cubicBezTo>
                  <a:cubicBezTo>
                    <a:pt x="161484" y="49809"/>
                    <a:pt x="126208" y="70717"/>
                    <a:pt x="87778" y="92021"/>
                  </a:cubicBezTo>
                  <a:cubicBezTo>
                    <a:pt x="49348" y="70717"/>
                    <a:pt x="14072" y="49809"/>
                    <a:pt x="14072" y="7035"/>
                  </a:cubicBezTo>
                  <a:cubicBezTo>
                    <a:pt x="14072" y="3154"/>
                    <a:pt x="10917" y="0"/>
                    <a:pt x="7036" y="0"/>
                  </a:cubicBezTo>
                  <a:cubicBezTo>
                    <a:pt x="3155" y="0"/>
                    <a:pt x="1" y="3154"/>
                    <a:pt x="1" y="7035"/>
                  </a:cubicBezTo>
                  <a:cubicBezTo>
                    <a:pt x="1" y="54698"/>
                    <a:pt x="35558" y="78760"/>
                    <a:pt x="73327" y="100064"/>
                  </a:cubicBezTo>
                  <a:cubicBezTo>
                    <a:pt x="35706" y="121220"/>
                    <a:pt x="18" y="144919"/>
                    <a:pt x="18" y="191788"/>
                  </a:cubicBezTo>
                  <a:cubicBezTo>
                    <a:pt x="18" y="237386"/>
                    <a:pt x="34699" y="256643"/>
                    <a:pt x="71015" y="273389"/>
                  </a:cubicBezTo>
                  <a:cubicBezTo>
                    <a:pt x="35211" y="290713"/>
                    <a:pt x="909" y="313702"/>
                    <a:pt x="1" y="364551"/>
                  </a:cubicBezTo>
                  <a:cubicBezTo>
                    <a:pt x="-65" y="368432"/>
                    <a:pt x="3023" y="371653"/>
                    <a:pt x="6921" y="371719"/>
                  </a:cubicBezTo>
                  <a:cubicBezTo>
                    <a:pt x="6970" y="371719"/>
                    <a:pt x="7003" y="371719"/>
                    <a:pt x="7053" y="371719"/>
                  </a:cubicBezTo>
                  <a:cubicBezTo>
                    <a:pt x="10884" y="371719"/>
                    <a:pt x="14022" y="368647"/>
                    <a:pt x="14088" y="364799"/>
                  </a:cubicBezTo>
                  <a:cubicBezTo>
                    <a:pt x="14947" y="317153"/>
                    <a:pt x="49381" y="298624"/>
                    <a:pt x="87795" y="281019"/>
                  </a:cubicBezTo>
                  <a:cubicBezTo>
                    <a:pt x="126208" y="298624"/>
                    <a:pt x="160659" y="317153"/>
                    <a:pt x="161501" y="364783"/>
                  </a:cubicBezTo>
                  <a:cubicBezTo>
                    <a:pt x="161567" y="368631"/>
                    <a:pt x="164705" y="371702"/>
                    <a:pt x="168536" y="371702"/>
                  </a:cubicBezTo>
                  <a:cubicBezTo>
                    <a:pt x="168586" y="371702"/>
                    <a:pt x="168619" y="371702"/>
                    <a:pt x="168668" y="371702"/>
                  </a:cubicBezTo>
                  <a:cubicBezTo>
                    <a:pt x="172549" y="371636"/>
                    <a:pt x="175654" y="368416"/>
                    <a:pt x="175588" y="364535"/>
                  </a:cubicBezTo>
                  <a:cubicBezTo>
                    <a:pt x="174647" y="313702"/>
                    <a:pt x="140345" y="290713"/>
                    <a:pt x="104541" y="273389"/>
                  </a:cubicBezTo>
                  <a:close/>
                  <a:moveTo>
                    <a:pt x="85961" y="264751"/>
                  </a:moveTo>
                  <a:cubicBezTo>
                    <a:pt x="47382" y="247262"/>
                    <a:pt x="14055" y="232151"/>
                    <a:pt x="14055" y="191788"/>
                  </a:cubicBezTo>
                  <a:cubicBezTo>
                    <a:pt x="14055" y="149906"/>
                    <a:pt x="49463" y="129312"/>
                    <a:pt x="87745" y="108107"/>
                  </a:cubicBezTo>
                  <a:cubicBezTo>
                    <a:pt x="126027" y="129296"/>
                    <a:pt x="161435" y="149890"/>
                    <a:pt x="161435" y="191788"/>
                  </a:cubicBezTo>
                  <a:cubicBezTo>
                    <a:pt x="161435" y="232151"/>
                    <a:pt x="128108" y="247262"/>
                    <a:pt x="89529" y="264751"/>
                  </a:cubicBezTo>
                  <a:cubicBezTo>
                    <a:pt x="88934" y="265016"/>
                    <a:pt x="88323" y="265296"/>
                    <a:pt x="87729" y="265577"/>
                  </a:cubicBezTo>
                  <a:cubicBezTo>
                    <a:pt x="87167" y="265296"/>
                    <a:pt x="86556" y="265016"/>
                    <a:pt x="85961" y="264751"/>
                  </a:cubicBezTo>
                  <a:close/>
                </a:path>
              </a:pathLst>
            </a:custGeom>
            <a:solidFill>
              <a:schemeClr val="tx2"/>
            </a:solidFill>
            <a:ln w="1650" cap="flat">
              <a:noFill/>
              <a:prstDash val="solid"/>
              <a:miter/>
            </a:ln>
          </p:spPr>
          <p:txBody>
            <a:bodyPr rtlCol="0" anchor="ctr"/>
            <a:lstStyle/>
            <a:p>
              <a:endParaRPr lang="en-GB" dirty="0"/>
            </a:p>
          </p:txBody>
        </p:sp>
        <p:grpSp>
          <p:nvGrpSpPr>
            <p:cNvPr id="54" name="Gruppieren 596">
              <a:extLst>
                <a:ext uri="{FF2B5EF4-FFF2-40B4-BE49-F238E27FC236}">
                  <a16:creationId xmlns:a16="http://schemas.microsoft.com/office/drawing/2014/main" id="{7C1FA83F-F968-472A-BF9B-8C0CD6E7936A}"/>
                </a:ext>
              </a:extLst>
            </p:cNvPr>
            <p:cNvGrpSpPr/>
            <p:nvPr/>
          </p:nvGrpSpPr>
          <p:grpSpPr>
            <a:xfrm>
              <a:off x="5316987" y="2342187"/>
              <a:ext cx="100889" cy="344898"/>
              <a:chOff x="5316987" y="2342187"/>
              <a:chExt cx="100889" cy="344898"/>
            </a:xfrm>
          </p:grpSpPr>
          <p:sp>
            <p:nvSpPr>
              <p:cNvPr id="55" name="Freihandform: Form 597">
                <a:extLst>
                  <a:ext uri="{FF2B5EF4-FFF2-40B4-BE49-F238E27FC236}">
                    <a16:creationId xmlns:a16="http://schemas.microsoft.com/office/drawing/2014/main" id="{8261941B-2853-473A-8F69-2D260DE0ECFE}"/>
                  </a:ext>
                </a:extLst>
              </p:cNvPr>
              <p:cNvSpPr/>
              <p:nvPr/>
            </p:nvSpPr>
            <p:spPr>
              <a:xfrm>
                <a:off x="5316987" y="2342187"/>
                <a:ext cx="100889" cy="14070"/>
              </a:xfrm>
              <a:custGeom>
                <a:avLst/>
                <a:gdLst>
                  <a:gd name="connsiteX0" fmla="*/ 7035 w 100889"/>
                  <a:gd name="connsiteY0" fmla="*/ 14071 h 14070"/>
                  <a:gd name="connsiteX1" fmla="*/ 93855 w 100889"/>
                  <a:gd name="connsiteY1" fmla="*/ 14071 h 14070"/>
                  <a:gd name="connsiteX2" fmla="*/ 100890 w 100889"/>
                  <a:gd name="connsiteY2" fmla="*/ 7035 h 14070"/>
                  <a:gd name="connsiteX3" fmla="*/ 93855 w 100889"/>
                  <a:gd name="connsiteY3" fmla="*/ 0 h 14070"/>
                  <a:gd name="connsiteX4" fmla="*/ 7035 w 100889"/>
                  <a:gd name="connsiteY4" fmla="*/ 0 h 14070"/>
                  <a:gd name="connsiteX5" fmla="*/ 0 w 100889"/>
                  <a:gd name="connsiteY5" fmla="*/ 7035 h 14070"/>
                  <a:gd name="connsiteX6" fmla="*/ 7035 w 100889"/>
                  <a:gd name="connsiteY6" fmla="*/ 14071 h 1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89" h="14070">
                    <a:moveTo>
                      <a:pt x="7035" y="14071"/>
                    </a:moveTo>
                    <a:lnTo>
                      <a:pt x="93855" y="14071"/>
                    </a:lnTo>
                    <a:cubicBezTo>
                      <a:pt x="97736" y="14071"/>
                      <a:pt x="100890" y="10916"/>
                      <a:pt x="100890" y="7035"/>
                    </a:cubicBezTo>
                    <a:cubicBezTo>
                      <a:pt x="100890" y="3154"/>
                      <a:pt x="97736" y="0"/>
                      <a:pt x="93855" y="0"/>
                    </a:cubicBezTo>
                    <a:lnTo>
                      <a:pt x="7035" y="0"/>
                    </a:lnTo>
                    <a:cubicBezTo>
                      <a:pt x="3154" y="0"/>
                      <a:pt x="0" y="3154"/>
                      <a:pt x="0" y="7035"/>
                    </a:cubicBezTo>
                    <a:cubicBezTo>
                      <a:pt x="0" y="10916"/>
                      <a:pt x="3154" y="14071"/>
                      <a:pt x="7035" y="14071"/>
                    </a:cubicBezTo>
                    <a:close/>
                  </a:path>
                </a:pathLst>
              </a:custGeom>
              <a:solidFill>
                <a:schemeClr val="accent1"/>
              </a:solidFill>
              <a:ln w="1650" cap="flat">
                <a:noFill/>
                <a:prstDash val="solid"/>
                <a:miter/>
              </a:ln>
            </p:spPr>
            <p:txBody>
              <a:bodyPr rtlCol="0" anchor="ctr"/>
              <a:lstStyle/>
              <a:p>
                <a:endParaRPr lang="en-GB" dirty="0"/>
              </a:p>
            </p:txBody>
          </p:sp>
          <p:sp>
            <p:nvSpPr>
              <p:cNvPr id="56" name="Freihandform: Form 598">
                <a:extLst>
                  <a:ext uri="{FF2B5EF4-FFF2-40B4-BE49-F238E27FC236}">
                    <a16:creationId xmlns:a16="http://schemas.microsoft.com/office/drawing/2014/main" id="{559D595A-B2B6-4CCB-8EDF-2A539482258D}"/>
                  </a:ext>
                </a:extLst>
              </p:cNvPr>
              <p:cNvSpPr/>
              <p:nvPr/>
            </p:nvSpPr>
            <p:spPr>
              <a:xfrm>
                <a:off x="5338110" y="2377381"/>
                <a:ext cx="58661" cy="14070"/>
              </a:xfrm>
              <a:custGeom>
                <a:avLst/>
                <a:gdLst>
                  <a:gd name="connsiteX0" fmla="*/ 7035 w 58661"/>
                  <a:gd name="connsiteY0" fmla="*/ 0 h 14070"/>
                  <a:gd name="connsiteX1" fmla="*/ 0 w 58661"/>
                  <a:gd name="connsiteY1" fmla="*/ 7035 h 14070"/>
                  <a:gd name="connsiteX2" fmla="*/ 7035 w 58661"/>
                  <a:gd name="connsiteY2" fmla="*/ 14071 h 14070"/>
                  <a:gd name="connsiteX3" fmla="*/ 51626 w 58661"/>
                  <a:gd name="connsiteY3" fmla="*/ 14071 h 14070"/>
                  <a:gd name="connsiteX4" fmla="*/ 58661 w 58661"/>
                  <a:gd name="connsiteY4" fmla="*/ 7035 h 14070"/>
                  <a:gd name="connsiteX5" fmla="*/ 51626 w 58661"/>
                  <a:gd name="connsiteY5" fmla="*/ 0 h 14070"/>
                  <a:gd name="connsiteX6" fmla="*/ 7035 w 58661"/>
                  <a:gd name="connsiteY6" fmla="*/ 0 h 1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61" h="14070">
                    <a:moveTo>
                      <a:pt x="7035" y="0"/>
                    </a:moveTo>
                    <a:cubicBezTo>
                      <a:pt x="3154" y="0"/>
                      <a:pt x="0" y="3154"/>
                      <a:pt x="0" y="7035"/>
                    </a:cubicBezTo>
                    <a:cubicBezTo>
                      <a:pt x="0" y="10916"/>
                      <a:pt x="3154" y="14071"/>
                      <a:pt x="7035" y="14071"/>
                    </a:cubicBezTo>
                    <a:lnTo>
                      <a:pt x="51626" y="14071"/>
                    </a:lnTo>
                    <a:cubicBezTo>
                      <a:pt x="55507" y="14071"/>
                      <a:pt x="58661" y="10916"/>
                      <a:pt x="58661" y="7035"/>
                    </a:cubicBezTo>
                    <a:cubicBezTo>
                      <a:pt x="58661" y="3154"/>
                      <a:pt x="55507" y="0"/>
                      <a:pt x="51626" y="0"/>
                    </a:cubicBezTo>
                    <a:lnTo>
                      <a:pt x="7035" y="0"/>
                    </a:lnTo>
                    <a:close/>
                  </a:path>
                </a:pathLst>
              </a:custGeom>
              <a:solidFill>
                <a:schemeClr val="accent1"/>
              </a:solidFill>
              <a:ln w="1650" cap="flat">
                <a:noFill/>
                <a:prstDash val="solid"/>
                <a:miter/>
              </a:ln>
            </p:spPr>
            <p:txBody>
              <a:bodyPr rtlCol="0" anchor="ctr"/>
              <a:lstStyle/>
              <a:p>
                <a:endParaRPr lang="en-GB" dirty="0"/>
              </a:p>
            </p:txBody>
          </p:sp>
          <p:sp>
            <p:nvSpPr>
              <p:cNvPr id="57" name="Freihandform: Form 599">
                <a:extLst>
                  <a:ext uri="{FF2B5EF4-FFF2-40B4-BE49-F238E27FC236}">
                    <a16:creationId xmlns:a16="http://schemas.microsoft.com/office/drawing/2014/main" id="{6E646BF0-C252-477E-A1D5-022DE2B4E40E}"/>
                  </a:ext>
                </a:extLst>
              </p:cNvPr>
              <p:cNvSpPr/>
              <p:nvPr/>
            </p:nvSpPr>
            <p:spPr>
              <a:xfrm>
                <a:off x="5316987" y="2673015"/>
                <a:ext cx="100889" cy="14070"/>
              </a:xfrm>
              <a:custGeom>
                <a:avLst/>
                <a:gdLst>
                  <a:gd name="connsiteX0" fmla="*/ 93855 w 100889"/>
                  <a:gd name="connsiteY0" fmla="*/ 0 h 14070"/>
                  <a:gd name="connsiteX1" fmla="*/ 7035 w 100889"/>
                  <a:gd name="connsiteY1" fmla="*/ 0 h 14070"/>
                  <a:gd name="connsiteX2" fmla="*/ 0 w 100889"/>
                  <a:gd name="connsiteY2" fmla="*/ 7035 h 14070"/>
                  <a:gd name="connsiteX3" fmla="*/ 7035 w 100889"/>
                  <a:gd name="connsiteY3" fmla="*/ 14071 h 14070"/>
                  <a:gd name="connsiteX4" fmla="*/ 93855 w 100889"/>
                  <a:gd name="connsiteY4" fmla="*/ 14071 h 14070"/>
                  <a:gd name="connsiteX5" fmla="*/ 100890 w 100889"/>
                  <a:gd name="connsiteY5" fmla="*/ 7035 h 14070"/>
                  <a:gd name="connsiteX6" fmla="*/ 93855 w 100889"/>
                  <a:gd name="connsiteY6" fmla="*/ 0 h 1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89" h="14070">
                    <a:moveTo>
                      <a:pt x="93855" y="0"/>
                    </a:moveTo>
                    <a:lnTo>
                      <a:pt x="7035" y="0"/>
                    </a:lnTo>
                    <a:cubicBezTo>
                      <a:pt x="3154" y="0"/>
                      <a:pt x="0" y="3154"/>
                      <a:pt x="0" y="7035"/>
                    </a:cubicBezTo>
                    <a:cubicBezTo>
                      <a:pt x="0" y="10916"/>
                      <a:pt x="3154" y="14071"/>
                      <a:pt x="7035" y="14071"/>
                    </a:cubicBezTo>
                    <a:lnTo>
                      <a:pt x="93855" y="14071"/>
                    </a:lnTo>
                    <a:cubicBezTo>
                      <a:pt x="97736" y="14071"/>
                      <a:pt x="100890" y="10916"/>
                      <a:pt x="100890" y="7035"/>
                    </a:cubicBezTo>
                    <a:cubicBezTo>
                      <a:pt x="100890" y="3154"/>
                      <a:pt x="97736" y="0"/>
                      <a:pt x="93855" y="0"/>
                    </a:cubicBezTo>
                    <a:close/>
                  </a:path>
                </a:pathLst>
              </a:custGeom>
              <a:solidFill>
                <a:schemeClr val="accent1"/>
              </a:solidFill>
              <a:ln w="1650" cap="flat">
                <a:noFill/>
                <a:prstDash val="solid"/>
                <a:miter/>
              </a:ln>
            </p:spPr>
            <p:txBody>
              <a:bodyPr rtlCol="0" anchor="ctr"/>
              <a:lstStyle/>
              <a:p>
                <a:endParaRPr lang="en-GB" dirty="0"/>
              </a:p>
            </p:txBody>
          </p:sp>
          <p:sp>
            <p:nvSpPr>
              <p:cNvPr id="58" name="Freihandform: Form 600">
                <a:extLst>
                  <a:ext uri="{FF2B5EF4-FFF2-40B4-BE49-F238E27FC236}">
                    <a16:creationId xmlns:a16="http://schemas.microsoft.com/office/drawing/2014/main" id="{38A07862-0031-45EF-927F-D74557577290}"/>
                  </a:ext>
                </a:extLst>
              </p:cNvPr>
              <p:cNvSpPr/>
              <p:nvPr/>
            </p:nvSpPr>
            <p:spPr>
              <a:xfrm>
                <a:off x="5338093" y="2637838"/>
                <a:ext cx="58661" cy="14070"/>
              </a:xfrm>
              <a:custGeom>
                <a:avLst/>
                <a:gdLst>
                  <a:gd name="connsiteX0" fmla="*/ 51626 w 58661"/>
                  <a:gd name="connsiteY0" fmla="*/ 14071 h 14070"/>
                  <a:gd name="connsiteX1" fmla="*/ 58661 w 58661"/>
                  <a:gd name="connsiteY1" fmla="*/ 7035 h 14070"/>
                  <a:gd name="connsiteX2" fmla="*/ 51626 w 58661"/>
                  <a:gd name="connsiteY2" fmla="*/ 0 h 14070"/>
                  <a:gd name="connsiteX3" fmla="*/ 7035 w 58661"/>
                  <a:gd name="connsiteY3" fmla="*/ 0 h 14070"/>
                  <a:gd name="connsiteX4" fmla="*/ 0 w 58661"/>
                  <a:gd name="connsiteY4" fmla="*/ 7035 h 14070"/>
                  <a:gd name="connsiteX5" fmla="*/ 7035 w 58661"/>
                  <a:gd name="connsiteY5" fmla="*/ 14071 h 14070"/>
                  <a:gd name="connsiteX6" fmla="*/ 51626 w 58661"/>
                  <a:gd name="connsiteY6" fmla="*/ 14071 h 1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61" h="14070">
                    <a:moveTo>
                      <a:pt x="51626" y="14071"/>
                    </a:moveTo>
                    <a:cubicBezTo>
                      <a:pt x="55507" y="14071"/>
                      <a:pt x="58661" y="10916"/>
                      <a:pt x="58661" y="7035"/>
                    </a:cubicBezTo>
                    <a:cubicBezTo>
                      <a:pt x="58661" y="3154"/>
                      <a:pt x="55507" y="0"/>
                      <a:pt x="51626" y="0"/>
                    </a:cubicBezTo>
                    <a:lnTo>
                      <a:pt x="7035" y="0"/>
                    </a:lnTo>
                    <a:cubicBezTo>
                      <a:pt x="3154" y="0"/>
                      <a:pt x="0" y="3154"/>
                      <a:pt x="0" y="7035"/>
                    </a:cubicBezTo>
                    <a:cubicBezTo>
                      <a:pt x="0" y="10916"/>
                      <a:pt x="3154" y="14071"/>
                      <a:pt x="7035" y="14071"/>
                    </a:cubicBezTo>
                    <a:lnTo>
                      <a:pt x="51626" y="14071"/>
                    </a:lnTo>
                    <a:close/>
                  </a:path>
                </a:pathLst>
              </a:custGeom>
              <a:solidFill>
                <a:schemeClr val="accent1"/>
              </a:solidFill>
              <a:ln w="1650" cap="flat">
                <a:noFill/>
                <a:prstDash val="solid"/>
                <a:miter/>
              </a:ln>
            </p:spPr>
            <p:txBody>
              <a:bodyPr rtlCol="0" anchor="ctr"/>
              <a:lstStyle/>
              <a:p>
                <a:endParaRPr lang="en-GB" dirty="0"/>
              </a:p>
            </p:txBody>
          </p:sp>
          <p:sp>
            <p:nvSpPr>
              <p:cNvPr id="59" name="Freihandform: Form 601">
                <a:extLst>
                  <a:ext uri="{FF2B5EF4-FFF2-40B4-BE49-F238E27FC236}">
                    <a16:creationId xmlns:a16="http://schemas.microsoft.com/office/drawing/2014/main" id="{ABB068CC-C4F4-4874-8C4E-3AF0D18C90E7}"/>
                  </a:ext>
                </a:extLst>
              </p:cNvPr>
              <p:cNvSpPr/>
              <p:nvPr/>
            </p:nvSpPr>
            <p:spPr>
              <a:xfrm>
                <a:off x="5316987" y="2507601"/>
                <a:ext cx="100889" cy="14070"/>
              </a:xfrm>
              <a:custGeom>
                <a:avLst/>
                <a:gdLst>
                  <a:gd name="connsiteX0" fmla="*/ 100890 w 100889"/>
                  <a:gd name="connsiteY0" fmla="*/ 7035 h 14070"/>
                  <a:gd name="connsiteX1" fmla="*/ 93855 w 100889"/>
                  <a:gd name="connsiteY1" fmla="*/ 0 h 14070"/>
                  <a:gd name="connsiteX2" fmla="*/ 7035 w 100889"/>
                  <a:gd name="connsiteY2" fmla="*/ 0 h 14070"/>
                  <a:gd name="connsiteX3" fmla="*/ 0 w 100889"/>
                  <a:gd name="connsiteY3" fmla="*/ 7035 h 14070"/>
                  <a:gd name="connsiteX4" fmla="*/ 7035 w 100889"/>
                  <a:gd name="connsiteY4" fmla="*/ 14071 h 14070"/>
                  <a:gd name="connsiteX5" fmla="*/ 93855 w 100889"/>
                  <a:gd name="connsiteY5" fmla="*/ 14071 h 14070"/>
                  <a:gd name="connsiteX6" fmla="*/ 100890 w 100889"/>
                  <a:gd name="connsiteY6" fmla="*/ 7035 h 1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889" h="14070">
                    <a:moveTo>
                      <a:pt x="100890" y="7035"/>
                    </a:moveTo>
                    <a:cubicBezTo>
                      <a:pt x="100890" y="3154"/>
                      <a:pt x="97736" y="0"/>
                      <a:pt x="93855" y="0"/>
                    </a:cubicBezTo>
                    <a:lnTo>
                      <a:pt x="7035" y="0"/>
                    </a:lnTo>
                    <a:cubicBezTo>
                      <a:pt x="3154" y="0"/>
                      <a:pt x="0" y="3154"/>
                      <a:pt x="0" y="7035"/>
                    </a:cubicBezTo>
                    <a:cubicBezTo>
                      <a:pt x="0" y="10916"/>
                      <a:pt x="3154" y="14071"/>
                      <a:pt x="7035" y="14071"/>
                    </a:cubicBezTo>
                    <a:lnTo>
                      <a:pt x="93855" y="14071"/>
                    </a:lnTo>
                    <a:cubicBezTo>
                      <a:pt x="97736" y="14071"/>
                      <a:pt x="100890" y="10933"/>
                      <a:pt x="100890" y="7035"/>
                    </a:cubicBezTo>
                    <a:close/>
                  </a:path>
                </a:pathLst>
              </a:custGeom>
              <a:solidFill>
                <a:schemeClr val="accent1"/>
              </a:solidFill>
              <a:ln w="1650" cap="flat">
                <a:noFill/>
                <a:prstDash val="solid"/>
                <a:miter/>
              </a:ln>
            </p:spPr>
            <p:txBody>
              <a:bodyPr rtlCol="0" anchor="ctr"/>
              <a:lstStyle/>
              <a:p>
                <a:endParaRPr lang="en-GB" dirty="0"/>
              </a:p>
            </p:txBody>
          </p:sp>
          <p:sp>
            <p:nvSpPr>
              <p:cNvPr id="60" name="Freihandform: Form 602">
                <a:extLst>
                  <a:ext uri="{FF2B5EF4-FFF2-40B4-BE49-F238E27FC236}">
                    <a16:creationId xmlns:a16="http://schemas.microsoft.com/office/drawing/2014/main" id="{854B6906-E725-450B-935C-E4BD8D8BB260}"/>
                  </a:ext>
                </a:extLst>
              </p:cNvPr>
              <p:cNvSpPr/>
              <p:nvPr/>
            </p:nvSpPr>
            <p:spPr>
              <a:xfrm>
                <a:off x="5338110" y="2546312"/>
                <a:ext cx="58661" cy="14070"/>
              </a:xfrm>
              <a:custGeom>
                <a:avLst/>
                <a:gdLst>
                  <a:gd name="connsiteX0" fmla="*/ 58661 w 58661"/>
                  <a:gd name="connsiteY0" fmla="*/ 7035 h 14070"/>
                  <a:gd name="connsiteX1" fmla="*/ 51626 w 58661"/>
                  <a:gd name="connsiteY1" fmla="*/ 0 h 14070"/>
                  <a:gd name="connsiteX2" fmla="*/ 7035 w 58661"/>
                  <a:gd name="connsiteY2" fmla="*/ 0 h 14070"/>
                  <a:gd name="connsiteX3" fmla="*/ 0 w 58661"/>
                  <a:gd name="connsiteY3" fmla="*/ 7035 h 14070"/>
                  <a:gd name="connsiteX4" fmla="*/ 7035 w 58661"/>
                  <a:gd name="connsiteY4" fmla="*/ 14071 h 14070"/>
                  <a:gd name="connsiteX5" fmla="*/ 51626 w 58661"/>
                  <a:gd name="connsiteY5" fmla="*/ 14071 h 14070"/>
                  <a:gd name="connsiteX6" fmla="*/ 58661 w 58661"/>
                  <a:gd name="connsiteY6" fmla="*/ 7035 h 1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61" h="14070">
                    <a:moveTo>
                      <a:pt x="58661" y="7035"/>
                    </a:moveTo>
                    <a:cubicBezTo>
                      <a:pt x="58661" y="3154"/>
                      <a:pt x="55507" y="0"/>
                      <a:pt x="51626" y="0"/>
                    </a:cubicBezTo>
                    <a:lnTo>
                      <a:pt x="7035" y="0"/>
                    </a:lnTo>
                    <a:cubicBezTo>
                      <a:pt x="3154" y="0"/>
                      <a:pt x="0" y="3154"/>
                      <a:pt x="0" y="7035"/>
                    </a:cubicBezTo>
                    <a:cubicBezTo>
                      <a:pt x="0" y="10916"/>
                      <a:pt x="3154" y="14071"/>
                      <a:pt x="7035" y="14071"/>
                    </a:cubicBezTo>
                    <a:lnTo>
                      <a:pt x="51626" y="14071"/>
                    </a:lnTo>
                    <a:cubicBezTo>
                      <a:pt x="55507" y="14087"/>
                      <a:pt x="58661" y="10933"/>
                      <a:pt x="58661" y="7035"/>
                    </a:cubicBezTo>
                    <a:close/>
                  </a:path>
                </a:pathLst>
              </a:custGeom>
              <a:solidFill>
                <a:schemeClr val="accent1"/>
              </a:solidFill>
              <a:ln w="1650" cap="flat">
                <a:noFill/>
                <a:prstDash val="solid"/>
                <a:miter/>
              </a:ln>
            </p:spPr>
            <p:txBody>
              <a:bodyPr rtlCol="0" anchor="ctr"/>
              <a:lstStyle/>
              <a:p>
                <a:endParaRPr lang="en-GB" dirty="0"/>
              </a:p>
            </p:txBody>
          </p:sp>
          <p:sp>
            <p:nvSpPr>
              <p:cNvPr id="61" name="Freihandform: Form 603">
                <a:extLst>
                  <a:ext uri="{FF2B5EF4-FFF2-40B4-BE49-F238E27FC236}">
                    <a16:creationId xmlns:a16="http://schemas.microsoft.com/office/drawing/2014/main" id="{ECB47CF2-9599-46B9-8731-FFE7B307CBFC}"/>
                  </a:ext>
                </a:extLst>
              </p:cNvPr>
              <p:cNvSpPr/>
              <p:nvPr/>
            </p:nvSpPr>
            <p:spPr>
              <a:xfrm>
                <a:off x="5338110" y="2468890"/>
                <a:ext cx="58661" cy="14070"/>
              </a:xfrm>
              <a:custGeom>
                <a:avLst/>
                <a:gdLst>
                  <a:gd name="connsiteX0" fmla="*/ 7035 w 58661"/>
                  <a:gd name="connsiteY0" fmla="*/ 14071 h 14070"/>
                  <a:gd name="connsiteX1" fmla="*/ 51626 w 58661"/>
                  <a:gd name="connsiteY1" fmla="*/ 14071 h 14070"/>
                  <a:gd name="connsiteX2" fmla="*/ 58661 w 58661"/>
                  <a:gd name="connsiteY2" fmla="*/ 7035 h 14070"/>
                  <a:gd name="connsiteX3" fmla="*/ 51626 w 58661"/>
                  <a:gd name="connsiteY3" fmla="*/ 0 h 14070"/>
                  <a:gd name="connsiteX4" fmla="*/ 7035 w 58661"/>
                  <a:gd name="connsiteY4" fmla="*/ 0 h 14070"/>
                  <a:gd name="connsiteX5" fmla="*/ 0 w 58661"/>
                  <a:gd name="connsiteY5" fmla="*/ 7035 h 14070"/>
                  <a:gd name="connsiteX6" fmla="*/ 7035 w 58661"/>
                  <a:gd name="connsiteY6" fmla="*/ 14071 h 1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61" h="14070">
                    <a:moveTo>
                      <a:pt x="7035" y="14071"/>
                    </a:moveTo>
                    <a:lnTo>
                      <a:pt x="51626" y="14071"/>
                    </a:lnTo>
                    <a:cubicBezTo>
                      <a:pt x="55507" y="14071"/>
                      <a:pt x="58661" y="10916"/>
                      <a:pt x="58661" y="7035"/>
                    </a:cubicBezTo>
                    <a:cubicBezTo>
                      <a:pt x="58661" y="3154"/>
                      <a:pt x="55507" y="0"/>
                      <a:pt x="51626" y="0"/>
                    </a:cubicBezTo>
                    <a:lnTo>
                      <a:pt x="7035" y="0"/>
                    </a:lnTo>
                    <a:cubicBezTo>
                      <a:pt x="3154" y="0"/>
                      <a:pt x="0" y="3154"/>
                      <a:pt x="0" y="7035"/>
                    </a:cubicBezTo>
                    <a:cubicBezTo>
                      <a:pt x="-16" y="10916"/>
                      <a:pt x="3138" y="14071"/>
                      <a:pt x="7035" y="14071"/>
                    </a:cubicBezTo>
                    <a:close/>
                  </a:path>
                </a:pathLst>
              </a:custGeom>
              <a:solidFill>
                <a:schemeClr val="accent1"/>
              </a:solidFill>
              <a:ln w="1650" cap="flat">
                <a:noFill/>
                <a:prstDash val="solid"/>
                <a:miter/>
              </a:ln>
            </p:spPr>
            <p:txBody>
              <a:bodyPr rtlCol="0" anchor="ctr"/>
              <a:lstStyle/>
              <a:p>
                <a:endParaRPr lang="en-GB" dirty="0"/>
              </a:p>
            </p:txBody>
          </p:sp>
        </p:grpSp>
      </p:grpSp>
      <p:grpSp>
        <p:nvGrpSpPr>
          <p:cNvPr id="62" name="Gruppieren 558">
            <a:extLst>
              <a:ext uri="{FF2B5EF4-FFF2-40B4-BE49-F238E27FC236}">
                <a16:creationId xmlns:a16="http://schemas.microsoft.com/office/drawing/2014/main" id="{CC6769F2-32E8-44C6-9522-02EA3DA91C4C}"/>
              </a:ext>
            </a:extLst>
          </p:cNvPr>
          <p:cNvGrpSpPr>
            <a:grpSpLocks noChangeAspect="1"/>
          </p:cNvGrpSpPr>
          <p:nvPr/>
        </p:nvGrpSpPr>
        <p:grpSpPr>
          <a:xfrm>
            <a:off x="2699866" y="1573895"/>
            <a:ext cx="370108" cy="412932"/>
            <a:chOff x="5188764" y="3004320"/>
            <a:chExt cx="339711" cy="379019"/>
          </a:xfrm>
        </p:grpSpPr>
        <p:sp>
          <p:nvSpPr>
            <p:cNvPr id="63" name="Freihandform: Form 559">
              <a:extLst>
                <a:ext uri="{FF2B5EF4-FFF2-40B4-BE49-F238E27FC236}">
                  <a16:creationId xmlns:a16="http://schemas.microsoft.com/office/drawing/2014/main" id="{2187CD50-9862-48E5-87B4-57556E7FA2FA}"/>
                </a:ext>
              </a:extLst>
            </p:cNvPr>
            <p:cNvSpPr/>
            <p:nvPr/>
          </p:nvSpPr>
          <p:spPr>
            <a:xfrm>
              <a:off x="5363045" y="3144781"/>
              <a:ext cx="165430" cy="236114"/>
            </a:xfrm>
            <a:custGeom>
              <a:avLst/>
              <a:gdLst>
                <a:gd name="connsiteX0" fmla="*/ 144291 w 165430"/>
                <a:gd name="connsiteY0" fmla="*/ 50453 h 236114"/>
                <a:gd name="connsiteX1" fmla="*/ 137256 w 165430"/>
                <a:gd name="connsiteY1" fmla="*/ 50453 h 236114"/>
                <a:gd name="connsiteX2" fmla="*/ 137256 w 165430"/>
                <a:gd name="connsiteY2" fmla="*/ 24640 h 236114"/>
                <a:gd name="connsiteX3" fmla="*/ 137140 w 165430"/>
                <a:gd name="connsiteY3" fmla="*/ 24079 h 236114"/>
                <a:gd name="connsiteX4" fmla="*/ 137256 w 165430"/>
                <a:gd name="connsiteY4" fmla="*/ 23022 h 236114"/>
                <a:gd name="connsiteX5" fmla="*/ 82707 w 165430"/>
                <a:gd name="connsiteY5" fmla="*/ 0 h 236114"/>
                <a:gd name="connsiteX6" fmla="*/ 28158 w 165430"/>
                <a:gd name="connsiteY6" fmla="*/ 23022 h 236114"/>
                <a:gd name="connsiteX7" fmla="*/ 28274 w 165430"/>
                <a:gd name="connsiteY7" fmla="*/ 24079 h 236114"/>
                <a:gd name="connsiteX8" fmla="*/ 28158 w 165430"/>
                <a:gd name="connsiteY8" fmla="*/ 24640 h 236114"/>
                <a:gd name="connsiteX9" fmla="*/ 28158 w 165430"/>
                <a:gd name="connsiteY9" fmla="*/ 50453 h 236114"/>
                <a:gd name="connsiteX10" fmla="*/ 21123 w 165430"/>
                <a:gd name="connsiteY10" fmla="*/ 50453 h 236114"/>
                <a:gd name="connsiteX11" fmla="*/ 0 w 165430"/>
                <a:gd name="connsiteY11" fmla="*/ 71576 h 236114"/>
                <a:gd name="connsiteX12" fmla="*/ 0 w 165430"/>
                <a:gd name="connsiteY12" fmla="*/ 208832 h 236114"/>
                <a:gd name="connsiteX13" fmla="*/ 264 w 165430"/>
                <a:gd name="connsiteY13" fmla="*/ 210136 h 236114"/>
                <a:gd name="connsiteX14" fmla="*/ 82723 w 165430"/>
                <a:gd name="connsiteY14" fmla="*/ 236114 h 236114"/>
                <a:gd name="connsiteX15" fmla="*/ 165166 w 165430"/>
                <a:gd name="connsiteY15" fmla="*/ 210136 h 236114"/>
                <a:gd name="connsiteX16" fmla="*/ 165430 w 165430"/>
                <a:gd name="connsiteY16" fmla="*/ 208832 h 236114"/>
                <a:gd name="connsiteX17" fmla="*/ 165430 w 165430"/>
                <a:gd name="connsiteY17" fmla="*/ 71576 h 236114"/>
                <a:gd name="connsiteX18" fmla="*/ 144291 w 165430"/>
                <a:gd name="connsiteY18" fmla="*/ 50453 h 236114"/>
                <a:gd name="connsiteX19" fmla="*/ 82690 w 165430"/>
                <a:gd name="connsiteY19" fmla="*/ 14087 h 236114"/>
                <a:gd name="connsiteX20" fmla="*/ 122921 w 165430"/>
                <a:gd name="connsiteY20" fmla="*/ 23038 h 236114"/>
                <a:gd name="connsiteX21" fmla="*/ 82690 w 165430"/>
                <a:gd name="connsiteY21" fmla="*/ 31989 h 236114"/>
                <a:gd name="connsiteX22" fmla="*/ 42460 w 165430"/>
                <a:gd name="connsiteY22" fmla="*/ 23038 h 236114"/>
                <a:gd name="connsiteX23" fmla="*/ 82690 w 165430"/>
                <a:gd name="connsiteY23" fmla="*/ 14087 h 236114"/>
                <a:gd name="connsiteX24" fmla="*/ 82707 w 165430"/>
                <a:gd name="connsiteY24" fmla="*/ 222027 h 236114"/>
                <a:gd name="connsiteX25" fmla="*/ 14071 w 165430"/>
                <a:gd name="connsiteY25" fmla="*/ 208386 h 236114"/>
                <a:gd name="connsiteX26" fmla="*/ 14071 w 165430"/>
                <a:gd name="connsiteY26" fmla="*/ 71559 h 236114"/>
                <a:gd name="connsiteX27" fmla="*/ 21106 w 165430"/>
                <a:gd name="connsiteY27" fmla="*/ 64524 h 236114"/>
                <a:gd name="connsiteX28" fmla="*/ 35177 w 165430"/>
                <a:gd name="connsiteY28" fmla="*/ 64524 h 236114"/>
                <a:gd name="connsiteX29" fmla="*/ 42212 w 165430"/>
                <a:gd name="connsiteY29" fmla="*/ 57489 h 236114"/>
                <a:gd name="connsiteX30" fmla="*/ 42212 w 165430"/>
                <a:gd name="connsiteY30" fmla="*/ 39273 h 236114"/>
                <a:gd name="connsiteX31" fmla="*/ 82690 w 165430"/>
                <a:gd name="connsiteY31" fmla="*/ 46060 h 236114"/>
                <a:gd name="connsiteX32" fmla="*/ 123169 w 165430"/>
                <a:gd name="connsiteY32" fmla="*/ 39273 h 236114"/>
                <a:gd name="connsiteX33" fmla="*/ 123169 w 165430"/>
                <a:gd name="connsiteY33" fmla="*/ 57489 h 236114"/>
                <a:gd name="connsiteX34" fmla="*/ 130204 w 165430"/>
                <a:gd name="connsiteY34" fmla="*/ 64524 h 236114"/>
                <a:gd name="connsiteX35" fmla="*/ 144275 w 165430"/>
                <a:gd name="connsiteY35" fmla="*/ 64524 h 236114"/>
                <a:gd name="connsiteX36" fmla="*/ 151310 w 165430"/>
                <a:gd name="connsiteY36" fmla="*/ 71559 h 236114"/>
                <a:gd name="connsiteX37" fmla="*/ 151310 w 165430"/>
                <a:gd name="connsiteY37" fmla="*/ 208122 h 236114"/>
                <a:gd name="connsiteX38" fmla="*/ 82707 w 165430"/>
                <a:gd name="connsiteY38" fmla="*/ 222027 h 23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65430" h="236114">
                  <a:moveTo>
                    <a:pt x="144291" y="50453"/>
                  </a:moveTo>
                  <a:lnTo>
                    <a:pt x="137256" y="50453"/>
                  </a:lnTo>
                  <a:lnTo>
                    <a:pt x="137256" y="24640"/>
                  </a:lnTo>
                  <a:cubicBezTo>
                    <a:pt x="137256" y="24442"/>
                    <a:pt x="137157" y="24277"/>
                    <a:pt x="137140" y="24079"/>
                  </a:cubicBezTo>
                  <a:cubicBezTo>
                    <a:pt x="137173" y="23732"/>
                    <a:pt x="137256" y="23385"/>
                    <a:pt x="137256" y="23022"/>
                  </a:cubicBezTo>
                  <a:cubicBezTo>
                    <a:pt x="137256" y="7118"/>
                    <a:pt x="109858" y="0"/>
                    <a:pt x="82707" y="0"/>
                  </a:cubicBezTo>
                  <a:cubicBezTo>
                    <a:pt x="55556" y="0"/>
                    <a:pt x="28158" y="7118"/>
                    <a:pt x="28158" y="23022"/>
                  </a:cubicBezTo>
                  <a:cubicBezTo>
                    <a:pt x="28158" y="23385"/>
                    <a:pt x="28241" y="23716"/>
                    <a:pt x="28274" y="24079"/>
                  </a:cubicBezTo>
                  <a:cubicBezTo>
                    <a:pt x="28257" y="24277"/>
                    <a:pt x="28158" y="24442"/>
                    <a:pt x="28158" y="24640"/>
                  </a:cubicBezTo>
                  <a:lnTo>
                    <a:pt x="28158" y="50453"/>
                  </a:lnTo>
                  <a:lnTo>
                    <a:pt x="21123" y="50453"/>
                  </a:lnTo>
                  <a:cubicBezTo>
                    <a:pt x="9480" y="50453"/>
                    <a:pt x="0" y="59933"/>
                    <a:pt x="0" y="71576"/>
                  </a:cubicBezTo>
                  <a:lnTo>
                    <a:pt x="0" y="208832"/>
                  </a:lnTo>
                  <a:cubicBezTo>
                    <a:pt x="0" y="209294"/>
                    <a:pt x="182" y="209691"/>
                    <a:pt x="264" y="210136"/>
                  </a:cubicBezTo>
                  <a:cubicBezTo>
                    <a:pt x="3022" y="230549"/>
                    <a:pt x="52848" y="236114"/>
                    <a:pt x="82723" y="236114"/>
                  </a:cubicBezTo>
                  <a:cubicBezTo>
                    <a:pt x="112583" y="236114"/>
                    <a:pt x="162408" y="230549"/>
                    <a:pt x="165166" y="210136"/>
                  </a:cubicBezTo>
                  <a:cubicBezTo>
                    <a:pt x="165249" y="209691"/>
                    <a:pt x="165430" y="209294"/>
                    <a:pt x="165430" y="208832"/>
                  </a:cubicBezTo>
                  <a:lnTo>
                    <a:pt x="165430" y="71576"/>
                  </a:lnTo>
                  <a:cubicBezTo>
                    <a:pt x="165397" y="59916"/>
                    <a:pt x="155934" y="50453"/>
                    <a:pt x="144291" y="50453"/>
                  </a:cubicBezTo>
                  <a:close/>
                  <a:moveTo>
                    <a:pt x="82690" y="14087"/>
                  </a:moveTo>
                  <a:cubicBezTo>
                    <a:pt x="106604" y="14087"/>
                    <a:pt x="120378" y="20099"/>
                    <a:pt x="122921" y="23038"/>
                  </a:cubicBezTo>
                  <a:cubicBezTo>
                    <a:pt x="120378" y="25962"/>
                    <a:pt x="106604" y="31989"/>
                    <a:pt x="82690" y="31989"/>
                  </a:cubicBezTo>
                  <a:cubicBezTo>
                    <a:pt x="58777" y="31989"/>
                    <a:pt x="45003" y="25978"/>
                    <a:pt x="42460" y="23038"/>
                  </a:cubicBezTo>
                  <a:cubicBezTo>
                    <a:pt x="45003" y="20099"/>
                    <a:pt x="58777" y="14087"/>
                    <a:pt x="82690" y="14087"/>
                  </a:cubicBezTo>
                  <a:close/>
                  <a:moveTo>
                    <a:pt x="82707" y="222027"/>
                  </a:moveTo>
                  <a:cubicBezTo>
                    <a:pt x="41403" y="222027"/>
                    <a:pt x="16036" y="212927"/>
                    <a:pt x="14071" y="208386"/>
                  </a:cubicBezTo>
                  <a:lnTo>
                    <a:pt x="14071" y="71559"/>
                  </a:lnTo>
                  <a:cubicBezTo>
                    <a:pt x="14071" y="67678"/>
                    <a:pt x="17225" y="64524"/>
                    <a:pt x="21106" y="64524"/>
                  </a:cubicBezTo>
                  <a:lnTo>
                    <a:pt x="35177" y="64524"/>
                  </a:lnTo>
                  <a:cubicBezTo>
                    <a:pt x="39058" y="64524"/>
                    <a:pt x="42212" y="61370"/>
                    <a:pt x="42212" y="57489"/>
                  </a:cubicBezTo>
                  <a:lnTo>
                    <a:pt x="42212" y="39273"/>
                  </a:lnTo>
                  <a:cubicBezTo>
                    <a:pt x="52699" y="43880"/>
                    <a:pt x="67711" y="46060"/>
                    <a:pt x="82690" y="46060"/>
                  </a:cubicBezTo>
                  <a:cubicBezTo>
                    <a:pt x="97653" y="46060"/>
                    <a:pt x="112682" y="43880"/>
                    <a:pt x="123169" y="39273"/>
                  </a:cubicBezTo>
                  <a:lnTo>
                    <a:pt x="123169" y="57489"/>
                  </a:lnTo>
                  <a:cubicBezTo>
                    <a:pt x="123169" y="61386"/>
                    <a:pt x="126323" y="64524"/>
                    <a:pt x="130204" y="64524"/>
                  </a:cubicBezTo>
                  <a:lnTo>
                    <a:pt x="144275" y="64524"/>
                  </a:lnTo>
                  <a:cubicBezTo>
                    <a:pt x="148156" y="64524"/>
                    <a:pt x="151310" y="67678"/>
                    <a:pt x="151310" y="71559"/>
                  </a:cubicBezTo>
                  <a:lnTo>
                    <a:pt x="151310" y="208122"/>
                  </a:lnTo>
                  <a:cubicBezTo>
                    <a:pt x="149097" y="213027"/>
                    <a:pt x="123796" y="222027"/>
                    <a:pt x="82707" y="222027"/>
                  </a:cubicBezTo>
                  <a:close/>
                </a:path>
              </a:pathLst>
            </a:custGeom>
            <a:solidFill>
              <a:schemeClr val="accent1"/>
            </a:solidFill>
            <a:ln w="1650" cap="flat">
              <a:noFill/>
              <a:prstDash val="solid"/>
              <a:miter/>
            </a:ln>
          </p:spPr>
          <p:txBody>
            <a:bodyPr rtlCol="0" anchor="ctr"/>
            <a:lstStyle/>
            <a:p>
              <a:endParaRPr lang="en-GB" dirty="0"/>
            </a:p>
          </p:txBody>
        </p:sp>
        <p:sp>
          <p:nvSpPr>
            <p:cNvPr id="64" name="Freihandform: Form 560">
              <a:extLst>
                <a:ext uri="{FF2B5EF4-FFF2-40B4-BE49-F238E27FC236}">
                  <a16:creationId xmlns:a16="http://schemas.microsoft.com/office/drawing/2014/main" id="{8ABD98D2-0DED-4755-82BD-CC32495A8179}"/>
                </a:ext>
              </a:extLst>
            </p:cNvPr>
            <p:cNvSpPr/>
            <p:nvPr/>
          </p:nvSpPr>
          <p:spPr>
            <a:xfrm>
              <a:off x="5188764" y="3004320"/>
              <a:ext cx="225662" cy="379019"/>
            </a:xfrm>
            <a:custGeom>
              <a:avLst/>
              <a:gdLst>
                <a:gd name="connsiteX0" fmla="*/ 191327 w 225662"/>
                <a:gd name="connsiteY0" fmla="*/ 100131 h 379019"/>
                <a:gd name="connsiteX1" fmla="*/ 174829 w 225662"/>
                <a:gd name="connsiteY1" fmla="*/ 92105 h 379019"/>
                <a:gd name="connsiteX2" fmla="*/ 196513 w 225662"/>
                <a:gd name="connsiteY2" fmla="*/ 47515 h 379019"/>
                <a:gd name="connsiteX3" fmla="*/ 215538 w 225662"/>
                <a:gd name="connsiteY3" fmla="*/ 56763 h 379019"/>
                <a:gd name="connsiteX4" fmla="*/ 218610 w 225662"/>
                <a:gd name="connsiteY4" fmla="*/ 57473 h 379019"/>
                <a:gd name="connsiteX5" fmla="*/ 224952 w 225662"/>
                <a:gd name="connsiteY5" fmla="*/ 53510 h 379019"/>
                <a:gd name="connsiteX6" fmla="*/ 221698 w 225662"/>
                <a:gd name="connsiteY6" fmla="*/ 44096 h 379019"/>
                <a:gd name="connsiteX7" fmla="*/ 132501 w 225662"/>
                <a:gd name="connsiteY7" fmla="*/ 711 h 379019"/>
                <a:gd name="connsiteX8" fmla="*/ 123087 w 225662"/>
                <a:gd name="connsiteY8" fmla="*/ 3965 h 379019"/>
                <a:gd name="connsiteX9" fmla="*/ 126341 w 225662"/>
                <a:gd name="connsiteY9" fmla="*/ 13378 h 379019"/>
                <a:gd name="connsiteX10" fmla="*/ 145366 w 225662"/>
                <a:gd name="connsiteY10" fmla="*/ 22643 h 379019"/>
                <a:gd name="connsiteX11" fmla="*/ 123682 w 225662"/>
                <a:gd name="connsiteY11" fmla="*/ 67217 h 379019"/>
                <a:gd name="connsiteX12" fmla="*/ 107183 w 225662"/>
                <a:gd name="connsiteY12" fmla="*/ 59191 h 379019"/>
                <a:gd name="connsiteX13" fmla="*/ 101799 w 225662"/>
                <a:gd name="connsiteY13" fmla="*/ 58861 h 379019"/>
                <a:gd name="connsiteX14" fmla="*/ 97770 w 225662"/>
                <a:gd name="connsiteY14" fmla="*/ 62428 h 379019"/>
                <a:gd name="connsiteX15" fmla="*/ 27383 w 225662"/>
                <a:gd name="connsiteY15" fmla="*/ 207115 h 379019"/>
                <a:gd name="connsiteX16" fmla="*/ 27053 w 225662"/>
                <a:gd name="connsiteY16" fmla="*/ 212483 h 379019"/>
                <a:gd name="connsiteX17" fmla="*/ 30620 w 225662"/>
                <a:gd name="connsiteY17" fmla="*/ 216512 h 379019"/>
                <a:gd name="connsiteX18" fmla="*/ 47135 w 225662"/>
                <a:gd name="connsiteY18" fmla="*/ 224539 h 379019"/>
                <a:gd name="connsiteX19" fmla="*/ 23436 w 225662"/>
                <a:gd name="connsiteY19" fmla="*/ 273274 h 379019"/>
                <a:gd name="connsiteX20" fmla="*/ 26689 w 225662"/>
                <a:gd name="connsiteY20" fmla="*/ 282688 h 379019"/>
                <a:gd name="connsiteX21" fmla="*/ 39588 w 225662"/>
                <a:gd name="connsiteY21" fmla="*/ 288964 h 379019"/>
                <a:gd name="connsiteX22" fmla="*/ 711 w 225662"/>
                <a:gd name="connsiteY22" fmla="*/ 368896 h 379019"/>
                <a:gd name="connsiteX23" fmla="*/ 3965 w 225662"/>
                <a:gd name="connsiteY23" fmla="*/ 378309 h 379019"/>
                <a:gd name="connsiteX24" fmla="*/ 7037 w 225662"/>
                <a:gd name="connsiteY24" fmla="*/ 379020 h 379019"/>
                <a:gd name="connsiteX25" fmla="*/ 13378 w 225662"/>
                <a:gd name="connsiteY25" fmla="*/ 375056 h 379019"/>
                <a:gd name="connsiteX26" fmla="*/ 52255 w 225662"/>
                <a:gd name="connsiteY26" fmla="*/ 295124 h 379019"/>
                <a:gd name="connsiteX27" fmla="*/ 65153 w 225662"/>
                <a:gd name="connsiteY27" fmla="*/ 301399 h 379019"/>
                <a:gd name="connsiteX28" fmla="*/ 68225 w 225662"/>
                <a:gd name="connsiteY28" fmla="*/ 302109 h 379019"/>
                <a:gd name="connsiteX29" fmla="*/ 74550 w 225662"/>
                <a:gd name="connsiteY29" fmla="*/ 298146 h 379019"/>
                <a:gd name="connsiteX30" fmla="*/ 98265 w 225662"/>
                <a:gd name="connsiteY30" fmla="*/ 249410 h 379019"/>
                <a:gd name="connsiteX31" fmla="*/ 114780 w 225662"/>
                <a:gd name="connsiteY31" fmla="*/ 257436 h 379019"/>
                <a:gd name="connsiteX32" fmla="*/ 117852 w 225662"/>
                <a:gd name="connsiteY32" fmla="*/ 258147 h 379019"/>
                <a:gd name="connsiteX33" fmla="*/ 124194 w 225662"/>
                <a:gd name="connsiteY33" fmla="*/ 254183 h 379019"/>
                <a:gd name="connsiteX34" fmla="*/ 194564 w 225662"/>
                <a:gd name="connsiteY34" fmla="*/ 109512 h 379019"/>
                <a:gd name="connsiteX35" fmla="*/ 191327 w 225662"/>
                <a:gd name="connsiteY35" fmla="*/ 100131 h 379019"/>
                <a:gd name="connsiteX36" fmla="*/ 158033 w 225662"/>
                <a:gd name="connsiteY36" fmla="*/ 28803 h 379019"/>
                <a:gd name="connsiteX37" fmla="*/ 183846 w 225662"/>
                <a:gd name="connsiteY37" fmla="*/ 41355 h 379019"/>
                <a:gd name="connsiteX38" fmla="*/ 162162 w 225662"/>
                <a:gd name="connsiteY38" fmla="*/ 85945 h 379019"/>
                <a:gd name="connsiteX39" fmla="*/ 136349 w 225662"/>
                <a:gd name="connsiteY39" fmla="*/ 73377 h 379019"/>
                <a:gd name="connsiteX40" fmla="*/ 158033 w 225662"/>
                <a:gd name="connsiteY40" fmla="*/ 28803 h 379019"/>
                <a:gd name="connsiteX41" fmla="*/ 64988 w 225662"/>
                <a:gd name="connsiteY41" fmla="*/ 285677 h 379019"/>
                <a:gd name="connsiteX42" fmla="*/ 39175 w 225662"/>
                <a:gd name="connsiteY42" fmla="*/ 273126 h 379019"/>
                <a:gd name="connsiteX43" fmla="*/ 59802 w 225662"/>
                <a:gd name="connsiteY43" fmla="*/ 230715 h 379019"/>
                <a:gd name="connsiteX44" fmla="*/ 85631 w 225662"/>
                <a:gd name="connsiteY44" fmla="*/ 243267 h 379019"/>
                <a:gd name="connsiteX45" fmla="*/ 64988 w 225662"/>
                <a:gd name="connsiteY45" fmla="*/ 285677 h 379019"/>
                <a:gd name="connsiteX46" fmla="*/ 114615 w 225662"/>
                <a:gd name="connsiteY46" fmla="*/ 241714 h 379019"/>
                <a:gd name="connsiteX47" fmla="*/ 43105 w 225662"/>
                <a:gd name="connsiteY47" fmla="*/ 206950 h 379019"/>
                <a:gd name="connsiteX48" fmla="*/ 53526 w 225662"/>
                <a:gd name="connsiteY48" fmla="*/ 185514 h 379019"/>
                <a:gd name="connsiteX49" fmla="*/ 86176 w 225662"/>
                <a:gd name="connsiteY49" fmla="*/ 201385 h 379019"/>
                <a:gd name="connsiteX50" fmla="*/ 89248 w 225662"/>
                <a:gd name="connsiteY50" fmla="*/ 202095 h 379019"/>
                <a:gd name="connsiteX51" fmla="*/ 95590 w 225662"/>
                <a:gd name="connsiteY51" fmla="*/ 198131 h 379019"/>
                <a:gd name="connsiteX52" fmla="*/ 92336 w 225662"/>
                <a:gd name="connsiteY52" fmla="*/ 188718 h 379019"/>
                <a:gd name="connsiteX53" fmla="*/ 59686 w 225662"/>
                <a:gd name="connsiteY53" fmla="*/ 172847 h 379019"/>
                <a:gd name="connsiteX54" fmla="*/ 73245 w 225662"/>
                <a:gd name="connsiteY54" fmla="*/ 144986 h 379019"/>
                <a:gd name="connsiteX55" fmla="*/ 105895 w 225662"/>
                <a:gd name="connsiteY55" fmla="*/ 160874 h 379019"/>
                <a:gd name="connsiteX56" fmla="*/ 108967 w 225662"/>
                <a:gd name="connsiteY56" fmla="*/ 161584 h 379019"/>
                <a:gd name="connsiteX57" fmla="*/ 115292 w 225662"/>
                <a:gd name="connsiteY57" fmla="*/ 157620 h 379019"/>
                <a:gd name="connsiteX58" fmla="*/ 112039 w 225662"/>
                <a:gd name="connsiteY58" fmla="*/ 148206 h 379019"/>
                <a:gd name="connsiteX59" fmla="*/ 79422 w 225662"/>
                <a:gd name="connsiteY59" fmla="*/ 132336 h 379019"/>
                <a:gd name="connsiteX60" fmla="*/ 92964 w 225662"/>
                <a:gd name="connsiteY60" fmla="*/ 104491 h 379019"/>
                <a:gd name="connsiteX61" fmla="*/ 125614 w 225662"/>
                <a:gd name="connsiteY61" fmla="*/ 120379 h 379019"/>
                <a:gd name="connsiteX62" fmla="*/ 128686 w 225662"/>
                <a:gd name="connsiteY62" fmla="*/ 121089 h 379019"/>
                <a:gd name="connsiteX63" fmla="*/ 135028 w 225662"/>
                <a:gd name="connsiteY63" fmla="*/ 117125 h 379019"/>
                <a:gd name="connsiteX64" fmla="*/ 131774 w 225662"/>
                <a:gd name="connsiteY64" fmla="*/ 107712 h 379019"/>
                <a:gd name="connsiteX65" fmla="*/ 99124 w 225662"/>
                <a:gd name="connsiteY65" fmla="*/ 91824 h 379019"/>
                <a:gd name="connsiteX66" fmla="*/ 107349 w 225662"/>
                <a:gd name="connsiteY66" fmla="*/ 74930 h 379019"/>
                <a:gd name="connsiteX67" fmla="*/ 162327 w 225662"/>
                <a:gd name="connsiteY67" fmla="*/ 101684 h 379019"/>
                <a:gd name="connsiteX68" fmla="*/ 162343 w 225662"/>
                <a:gd name="connsiteY68" fmla="*/ 101700 h 379019"/>
                <a:gd name="connsiteX69" fmla="*/ 162360 w 225662"/>
                <a:gd name="connsiteY69" fmla="*/ 101700 h 379019"/>
                <a:gd name="connsiteX70" fmla="*/ 178858 w 225662"/>
                <a:gd name="connsiteY70" fmla="*/ 109727 h 379019"/>
                <a:gd name="connsiteX71" fmla="*/ 114615 w 225662"/>
                <a:gd name="connsiteY71" fmla="*/ 241714 h 379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225662" h="379019">
                  <a:moveTo>
                    <a:pt x="191327" y="100131"/>
                  </a:moveTo>
                  <a:lnTo>
                    <a:pt x="174829" y="92105"/>
                  </a:lnTo>
                  <a:lnTo>
                    <a:pt x="196513" y="47515"/>
                  </a:lnTo>
                  <a:lnTo>
                    <a:pt x="215538" y="56763"/>
                  </a:lnTo>
                  <a:cubicBezTo>
                    <a:pt x="216529" y="57242"/>
                    <a:pt x="217586" y="57473"/>
                    <a:pt x="218610" y="57473"/>
                  </a:cubicBezTo>
                  <a:cubicBezTo>
                    <a:pt x="221219" y="57473"/>
                    <a:pt x="223729" y="56020"/>
                    <a:pt x="224952" y="53510"/>
                  </a:cubicBezTo>
                  <a:cubicBezTo>
                    <a:pt x="226653" y="50009"/>
                    <a:pt x="225199" y="45797"/>
                    <a:pt x="221698" y="44096"/>
                  </a:cubicBezTo>
                  <a:lnTo>
                    <a:pt x="132501" y="711"/>
                  </a:lnTo>
                  <a:cubicBezTo>
                    <a:pt x="129000" y="-990"/>
                    <a:pt x="124788" y="464"/>
                    <a:pt x="123087" y="3965"/>
                  </a:cubicBezTo>
                  <a:cubicBezTo>
                    <a:pt x="121386" y="7466"/>
                    <a:pt x="122840" y="11677"/>
                    <a:pt x="126341" y="13378"/>
                  </a:cubicBezTo>
                  <a:lnTo>
                    <a:pt x="145366" y="22643"/>
                  </a:lnTo>
                  <a:lnTo>
                    <a:pt x="123682" y="67217"/>
                  </a:lnTo>
                  <a:lnTo>
                    <a:pt x="107183" y="59191"/>
                  </a:lnTo>
                  <a:cubicBezTo>
                    <a:pt x="105499" y="58365"/>
                    <a:pt x="103567" y="58250"/>
                    <a:pt x="101799" y="58861"/>
                  </a:cubicBezTo>
                  <a:cubicBezTo>
                    <a:pt x="100032" y="59472"/>
                    <a:pt x="98579" y="60760"/>
                    <a:pt x="97770" y="62428"/>
                  </a:cubicBezTo>
                  <a:lnTo>
                    <a:pt x="27383" y="207115"/>
                  </a:lnTo>
                  <a:cubicBezTo>
                    <a:pt x="26574" y="208800"/>
                    <a:pt x="26458" y="210732"/>
                    <a:pt x="27053" y="212483"/>
                  </a:cubicBezTo>
                  <a:cubicBezTo>
                    <a:pt x="27664" y="214250"/>
                    <a:pt x="28952" y="215703"/>
                    <a:pt x="30620" y="216512"/>
                  </a:cubicBezTo>
                  <a:lnTo>
                    <a:pt x="47135" y="224539"/>
                  </a:lnTo>
                  <a:lnTo>
                    <a:pt x="23436" y="273274"/>
                  </a:lnTo>
                  <a:cubicBezTo>
                    <a:pt x="21735" y="276776"/>
                    <a:pt x="23188" y="280987"/>
                    <a:pt x="26689" y="282688"/>
                  </a:cubicBezTo>
                  <a:lnTo>
                    <a:pt x="39588" y="288964"/>
                  </a:lnTo>
                  <a:lnTo>
                    <a:pt x="711" y="368896"/>
                  </a:lnTo>
                  <a:cubicBezTo>
                    <a:pt x="-990" y="372397"/>
                    <a:pt x="464" y="376609"/>
                    <a:pt x="3965" y="378309"/>
                  </a:cubicBezTo>
                  <a:cubicBezTo>
                    <a:pt x="4956" y="378788"/>
                    <a:pt x="6013" y="379020"/>
                    <a:pt x="7037" y="379020"/>
                  </a:cubicBezTo>
                  <a:cubicBezTo>
                    <a:pt x="9646" y="379020"/>
                    <a:pt x="12156" y="377566"/>
                    <a:pt x="13378" y="375056"/>
                  </a:cubicBezTo>
                  <a:lnTo>
                    <a:pt x="52255" y="295124"/>
                  </a:lnTo>
                  <a:lnTo>
                    <a:pt x="65153" y="301399"/>
                  </a:lnTo>
                  <a:cubicBezTo>
                    <a:pt x="66144" y="301878"/>
                    <a:pt x="67201" y="302109"/>
                    <a:pt x="68225" y="302109"/>
                  </a:cubicBezTo>
                  <a:cubicBezTo>
                    <a:pt x="70834" y="302109"/>
                    <a:pt x="73344" y="300656"/>
                    <a:pt x="74550" y="298146"/>
                  </a:cubicBezTo>
                  <a:lnTo>
                    <a:pt x="98265" y="249410"/>
                  </a:lnTo>
                  <a:lnTo>
                    <a:pt x="114780" y="257436"/>
                  </a:lnTo>
                  <a:cubicBezTo>
                    <a:pt x="115771" y="257915"/>
                    <a:pt x="116828" y="258147"/>
                    <a:pt x="117852" y="258147"/>
                  </a:cubicBezTo>
                  <a:cubicBezTo>
                    <a:pt x="120461" y="258147"/>
                    <a:pt x="122972" y="256693"/>
                    <a:pt x="124194" y="254183"/>
                  </a:cubicBezTo>
                  <a:lnTo>
                    <a:pt x="194564" y="109512"/>
                  </a:lnTo>
                  <a:cubicBezTo>
                    <a:pt x="196265" y="106044"/>
                    <a:pt x="194812" y="101833"/>
                    <a:pt x="191327" y="100131"/>
                  </a:cubicBezTo>
                  <a:close/>
                  <a:moveTo>
                    <a:pt x="158033" y="28803"/>
                  </a:moveTo>
                  <a:lnTo>
                    <a:pt x="183846" y="41355"/>
                  </a:lnTo>
                  <a:lnTo>
                    <a:pt x="162162" y="85945"/>
                  </a:lnTo>
                  <a:lnTo>
                    <a:pt x="136349" y="73377"/>
                  </a:lnTo>
                  <a:lnTo>
                    <a:pt x="158033" y="28803"/>
                  </a:lnTo>
                  <a:close/>
                  <a:moveTo>
                    <a:pt x="64988" y="285677"/>
                  </a:moveTo>
                  <a:lnTo>
                    <a:pt x="39175" y="273126"/>
                  </a:lnTo>
                  <a:lnTo>
                    <a:pt x="59802" y="230715"/>
                  </a:lnTo>
                  <a:lnTo>
                    <a:pt x="85631" y="243267"/>
                  </a:lnTo>
                  <a:lnTo>
                    <a:pt x="64988" y="285677"/>
                  </a:lnTo>
                  <a:close/>
                  <a:moveTo>
                    <a:pt x="114615" y="241714"/>
                  </a:moveTo>
                  <a:lnTo>
                    <a:pt x="43105" y="206950"/>
                  </a:lnTo>
                  <a:lnTo>
                    <a:pt x="53526" y="185514"/>
                  </a:lnTo>
                  <a:lnTo>
                    <a:pt x="86176" y="201385"/>
                  </a:lnTo>
                  <a:cubicBezTo>
                    <a:pt x="87167" y="201864"/>
                    <a:pt x="88224" y="202095"/>
                    <a:pt x="89248" y="202095"/>
                  </a:cubicBezTo>
                  <a:cubicBezTo>
                    <a:pt x="91857" y="202095"/>
                    <a:pt x="94368" y="200641"/>
                    <a:pt x="95590" y="198131"/>
                  </a:cubicBezTo>
                  <a:cubicBezTo>
                    <a:pt x="97291" y="194630"/>
                    <a:pt x="95838" y="190419"/>
                    <a:pt x="92336" y="188718"/>
                  </a:cubicBezTo>
                  <a:lnTo>
                    <a:pt x="59686" y="172847"/>
                  </a:lnTo>
                  <a:lnTo>
                    <a:pt x="73245" y="144986"/>
                  </a:lnTo>
                  <a:lnTo>
                    <a:pt x="105895" y="160874"/>
                  </a:lnTo>
                  <a:cubicBezTo>
                    <a:pt x="106886" y="161352"/>
                    <a:pt x="107943" y="161584"/>
                    <a:pt x="108967" y="161584"/>
                  </a:cubicBezTo>
                  <a:cubicBezTo>
                    <a:pt x="111576" y="161584"/>
                    <a:pt x="114087" y="160130"/>
                    <a:pt x="115292" y="157620"/>
                  </a:cubicBezTo>
                  <a:cubicBezTo>
                    <a:pt x="116993" y="154119"/>
                    <a:pt x="115540" y="149908"/>
                    <a:pt x="112039" y="148206"/>
                  </a:cubicBezTo>
                  <a:lnTo>
                    <a:pt x="79422" y="132336"/>
                  </a:lnTo>
                  <a:lnTo>
                    <a:pt x="92964" y="104491"/>
                  </a:lnTo>
                  <a:lnTo>
                    <a:pt x="125614" y="120379"/>
                  </a:lnTo>
                  <a:cubicBezTo>
                    <a:pt x="126605" y="120858"/>
                    <a:pt x="127662" y="121089"/>
                    <a:pt x="128686" y="121089"/>
                  </a:cubicBezTo>
                  <a:cubicBezTo>
                    <a:pt x="131295" y="121089"/>
                    <a:pt x="133805" y="119636"/>
                    <a:pt x="135028" y="117125"/>
                  </a:cubicBezTo>
                  <a:cubicBezTo>
                    <a:pt x="136729" y="113624"/>
                    <a:pt x="135275" y="109413"/>
                    <a:pt x="131774" y="107712"/>
                  </a:cubicBezTo>
                  <a:lnTo>
                    <a:pt x="99124" y="91824"/>
                  </a:lnTo>
                  <a:lnTo>
                    <a:pt x="107349" y="74930"/>
                  </a:lnTo>
                  <a:lnTo>
                    <a:pt x="162327" y="101684"/>
                  </a:lnTo>
                  <a:cubicBezTo>
                    <a:pt x="162327" y="101684"/>
                    <a:pt x="162327" y="101684"/>
                    <a:pt x="162343" y="101700"/>
                  </a:cubicBezTo>
                  <a:cubicBezTo>
                    <a:pt x="162343" y="101700"/>
                    <a:pt x="162360" y="101700"/>
                    <a:pt x="162360" y="101700"/>
                  </a:cubicBezTo>
                  <a:lnTo>
                    <a:pt x="178858" y="109727"/>
                  </a:lnTo>
                  <a:lnTo>
                    <a:pt x="114615" y="241714"/>
                  </a:lnTo>
                  <a:close/>
                </a:path>
              </a:pathLst>
            </a:custGeom>
            <a:solidFill>
              <a:schemeClr val="tx2"/>
            </a:solidFill>
            <a:ln w="1650" cap="flat">
              <a:noFill/>
              <a:prstDash val="solid"/>
              <a:miter/>
            </a:ln>
          </p:spPr>
          <p:txBody>
            <a:bodyPr rtlCol="0" anchor="ctr"/>
            <a:lstStyle/>
            <a:p>
              <a:endParaRPr lang="en-GB" dirty="0"/>
            </a:p>
          </p:txBody>
        </p:sp>
      </p:grpSp>
      <p:grpSp>
        <p:nvGrpSpPr>
          <p:cNvPr id="65" name="Gruppieren 608">
            <a:extLst>
              <a:ext uri="{FF2B5EF4-FFF2-40B4-BE49-F238E27FC236}">
                <a16:creationId xmlns:a16="http://schemas.microsoft.com/office/drawing/2014/main" id="{6C313593-822C-4202-A99A-3E686B65211A}"/>
              </a:ext>
            </a:extLst>
          </p:cNvPr>
          <p:cNvGrpSpPr>
            <a:grpSpLocks noChangeAspect="1"/>
          </p:cNvGrpSpPr>
          <p:nvPr/>
        </p:nvGrpSpPr>
        <p:grpSpPr>
          <a:xfrm>
            <a:off x="3832847" y="1573895"/>
            <a:ext cx="248976" cy="412934"/>
            <a:chOff x="7380072" y="2332372"/>
            <a:chExt cx="217883" cy="361362"/>
          </a:xfrm>
        </p:grpSpPr>
        <p:sp>
          <p:nvSpPr>
            <p:cNvPr id="66" name="Freihandform: Form 609">
              <a:extLst>
                <a:ext uri="{FF2B5EF4-FFF2-40B4-BE49-F238E27FC236}">
                  <a16:creationId xmlns:a16="http://schemas.microsoft.com/office/drawing/2014/main" id="{F3851A32-A81B-4540-82D5-E8357D283E8F}"/>
                </a:ext>
              </a:extLst>
            </p:cNvPr>
            <p:cNvSpPr/>
            <p:nvPr/>
          </p:nvSpPr>
          <p:spPr>
            <a:xfrm>
              <a:off x="7380072" y="2332372"/>
              <a:ext cx="217883" cy="361362"/>
            </a:xfrm>
            <a:custGeom>
              <a:avLst/>
              <a:gdLst>
                <a:gd name="connsiteX0" fmla="*/ 217073 w 217882"/>
                <a:gd name="connsiteY0" fmla="*/ 279995 h 361363"/>
                <a:gd name="connsiteX1" fmla="*/ 146818 w 217882"/>
                <a:gd name="connsiteY1" fmla="*/ 145134 h 361363"/>
                <a:gd name="connsiteX2" fmla="*/ 146818 w 217882"/>
                <a:gd name="connsiteY2" fmla="*/ 48719 h 361363"/>
                <a:gd name="connsiteX3" fmla="*/ 170088 w 217882"/>
                <a:gd name="connsiteY3" fmla="*/ 24426 h 361363"/>
                <a:gd name="connsiteX4" fmla="*/ 145662 w 217882"/>
                <a:gd name="connsiteY4" fmla="*/ 0 h 361363"/>
                <a:gd name="connsiteX5" fmla="*/ 72187 w 217882"/>
                <a:gd name="connsiteY5" fmla="*/ 0 h 361363"/>
                <a:gd name="connsiteX6" fmla="*/ 47778 w 217882"/>
                <a:gd name="connsiteY6" fmla="*/ 24426 h 361363"/>
                <a:gd name="connsiteX7" fmla="*/ 71047 w 217882"/>
                <a:gd name="connsiteY7" fmla="*/ 48719 h 361363"/>
                <a:gd name="connsiteX8" fmla="*/ 71047 w 217882"/>
                <a:gd name="connsiteY8" fmla="*/ 145150 h 361363"/>
                <a:gd name="connsiteX9" fmla="*/ 793 w 217882"/>
                <a:gd name="connsiteY9" fmla="*/ 280011 h 361363"/>
                <a:gd name="connsiteX10" fmla="*/ 0 w 217882"/>
                <a:gd name="connsiteY10" fmla="*/ 283265 h 361363"/>
                <a:gd name="connsiteX11" fmla="*/ 78099 w 217882"/>
                <a:gd name="connsiteY11" fmla="*/ 361364 h 361363"/>
                <a:gd name="connsiteX12" fmla="*/ 139783 w 217882"/>
                <a:gd name="connsiteY12" fmla="*/ 361364 h 361363"/>
                <a:gd name="connsiteX13" fmla="*/ 217882 w 217882"/>
                <a:gd name="connsiteY13" fmla="*/ 283265 h 361363"/>
                <a:gd name="connsiteX14" fmla="*/ 217073 w 217882"/>
                <a:gd name="connsiteY14" fmla="*/ 279995 h 361363"/>
                <a:gd name="connsiteX15" fmla="*/ 61849 w 217882"/>
                <a:gd name="connsiteY15" fmla="*/ 24409 h 361363"/>
                <a:gd name="connsiteX16" fmla="*/ 72187 w 217882"/>
                <a:gd name="connsiteY16" fmla="*/ 14071 h 361363"/>
                <a:gd name="connsiteX17" fmla="*/ 145662 w 217882"/>
                <a:gd name="connsiteY17" fmla="*/ 14071 h 361363"/>
                <a:gd name="connsiteX18" fmla="*/ 156000 w 217882"/>
                <a:gd name="connsiteY18" fmla="*/ 24409 h 361363"/>
                <a:gd name="connsiteX19" fmla="*/ 145662 w 217882"/>
                <a:gd name="connsiteY19" fmla="*/ 34747 h 361363"/>
                <a:gd name="connsiteX20" fmla="*/ 72187 w 217882"/>
                <a:gd name="connsiteY20" fmla="*/ 34747 h 361363"/>
                <a:gd name="connsiteX21" fmla="*/ 61849 w 217882"/>
                <a:gd name="connsiteY21" fmla="*/ 24409 h 361363"/>
                <a:gd name="connsiteX22" fmla="*/ 139766 w 217882"/>
                <a:gd name="connsiteY22" fmla="*/ 347277 h 361363"/>
                <a:gd name="connsiteX23" fmla="*/ 78083 w 217882"/>
                <a:gd name="connsiteY23" fmla="*/ 347277 h 361363"/>
                <a:gd name="connsiteX24" fmla="*/ 14087 w 217882"/>
                <a:gd name="connsiteY24" fmla="*/ 284933 h 361363"/>
                <a:gd name="connsiteX25" fmla="*/ 84326 w 217882"/>
                <a:gd name="connsiteY25" fmla="*/ 150121 h 361363"/>
                <a:gd name="connsiteX26" fmla="*/ 85118 w 217882"/>
                <a:gd name="connsiteY26" fmla="*/ 146868 h 361363"/>
                <a:gd name="connsiteX27" fmla="*/ 85118 w 217882"/>
                <a:gd name="connsiteY27" fmla="*/ 48835 h 361363"/>
                <a:gd name="connsiteX28" fmla="*/ 132714 w 217882"/>
                <a:gd name="connsiteY28" fmla="*/ 48835 h 361363"/>
                <a:gd name="connsiteX29" fmla="*/ 132714 w 217882"/>
                <a:gd name="connsiteY29" fmla="*/ 146868 h 361363"/>
                <a:gd name="connsiteX30" fmla="*/ 133507 w 217882"/>
                <a:gd name="connsiteY30" fmla="*/ 150121 h 361363"/>
                <a:gd name="connsiteX31" fmla="*/ 203745 w 217882"/>
                <a:gd name="connsiteY31" fmla="*/ 284933 h 361363"/>
                <a:gd name="connsiteX32" fmla="*/ 139766 w 217882"/>
                <a:gd name="connsiteY32" fmla="*/ 347277 h 361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17882" h="361363">
                  <a:moveTo>
                    <a:pt x="217073" y="279995"/>
                  </a:moveTo>
                  <a:lnTo>
                    <a:pt x="146818" y="145134"/>
                  </a:lnTo>
                  <a:lnTo>
                    <a:pt x="146818" y="48719"/>
                  </a:lnTo>
                  <a:cubicBezTo>
                    <a:pt x="159749" y="48108"/>
                    <a:pt x="170088" y="37489"/>
                    <a:pt x="170088" y="24426"/>
                  </a:cubicBezTo>
                  <a:cubicBezTo>
                    <a:pt x="170088" y="10966"/>
                    <a:pt x="159138" y="0"/>
                    <a:pt x="145662" y="0"/>
                  </a:cubicBezTo>
                  <a:lnTo>
                    <a:pt x="72187" y="0"/>
                  </a:lnTo>
                  <a:cubicBezTo>
                    <a:pt x="58727" y="0"/>
                    <a:pt x="47778" y="10949"/>
                    <a:pt x="47778" y="24426"/>
                  </a:cubicBezTo>
                  <a:cubicBezTo>
                    <a:pt x="47778" y="37489"/>
                    <a:pt x="58133" y="48125"/>
                    <a:pt x="71047" y="48719"/>
                  </a:cubicBezTo>
                  <a:lnTo>
                    <a:pt x="71047" y="145150"/>
                  </a:lnTo>
                  <a:lnTo>
                    <a:pt x="793" y="280011"/>
                  </a:lnTo>
                  <a:cubicBezTo>
                    <a:pt x="264" y="281019"/>
                    <a:pt x="0" y="282125"/>
                    <a:pt x="0" y="283265"/>
                  </a:cubicBezTo>
                  <a:cubicBezTo>
                    <a:pt x="0" y="326336"/>
                    <a:pt x="35045" y="361364"/>
                    <a:pt x="78099" y="361364"/>
                  </a:cubicBezTo>
                  <a:lnTo>
                    <a:pt x="139783" y="361364"/>
                  </a:lnTo>
                  <a:cubicBezTo>
                    <a:pt x="182837" y="361364"/>
                    <a:pt x="217882" y="326336"/>
                    <a:pt x="217882" y="283265"/>
                  </a:cubicBezTo>
                  <a:cubicBezTo>
                    <a:pt x="217865" y="282125"/>
                    <a:pt x="217585" y="281002"/>
                    <a:pt x="217073" y="279995"/>
                  </a:cubicBezTo>
                  <a:close/>
                  <a:moveTo>
                    <a:pt x="61849" y="24409"/>
                  </a:moveTo>
                  <a:cubicBezTo>
                    <a:pt x="61849" y="18711"/>
                    <a:pt x="66489" y="14071"/>
                    <a:pt x="72187" y="14071"/>
                  </a:cubicBezTo>
                  <a:lnTo>
                    <a:pt x="145662" y="14071"/>
                  </a:lnTo>
                  <a:cubicBezTo>
                    <a:pt x="151360" y="14071"/>
                    <a:pt x="156000" y="18711"/>
                    <a:pt x="156000" y="24409"/>
                  </a:cubicBezTo>
                  <a:cubicBezTo>
                    <a:pt x="156000" y="30107"/>
                    <a:pt x="151360" y="34747"/>
                    <a:pt x="145662" y="34747"/>
                  </a:cubicBezTo>
                  <a:lnTo>
                    <a:pt x="72187" y="34747"/>
                  </a:lnTo>
                  <a:cubicBezTo>
                    <a:pt x="66489" y="34747"/>
                    <a:pt x="61849" y="30107"/>
                    <a:pt x="61849" y="24409"/>
                  </a:cubicBezTo>
                  <a:close/>
                  <a:moveTo>
                    <a:pt x="139766" y="347277"/>
                  </a:moveTo>
                  <a:lnTo>
                    <a:pt x="78083" y="347277"/>
                  </a:lnTo>
                  <a:cubicBezTo>
                    <a:pt x="43352" y="347277"/>
                    <a:pt x="14979" y="319465"/>
                    <a:pt x="14087" y="284933"/>
                  </a:cubicBezTo>
                  <a:lnTo>
                    <a:pt x="84326" y="150121"/>
                  </a:lnTo>
                  <a:cubicBezTo>
                    <a:pt x="84854" y="149114"/>
                    <a:pt x="85118" y="148007"/>
                    <a:pt x="85118" y="146868"/>
                  </a:cubicBezTo>
                  <a:lnTo>
                    <a:pt x="85118" y="48835"/>
                  </a:lnTo>
                  <a:lnTo>
                    <a:pt x="132714" y="48835"/>
                  </a:lnTo>
                  <a:lnTo>
                    <a:pt x="132714" y="146868"/>
                  </a:lnTo>
                  <a:cubicBezTo>
                    <a:pt x="132714" y="147991"/>
                    <a:pt x="132995" y="149114"/>
                    <a:pt x="133507" y="150121"/>
                  </a:cubicBezTo>
                  <a:lnTo>
                    <a:pt x="203745" y="284933"/>
                  </a:lnTo>
                  <a:cubicBezTo>
                    <a:pt x="202870" y="319465"/>
                    <a:pt x="174497" y="347277"/>
                    <a:pt x="139766" y="347277"/>
                  </a:cubicBezTo>
                  <a:close/>
                </a:path>
              </a:pathLst>
            </a:custGeom>
            <a:solidFill>
              <a:schemeClr val="tx2"/>
            </a:solidFill>
            <a:ln w="1650" cap="flat">
              <a:noFill/>
              <a:prstDash val="solid"/>
              <a:miter/>
            </a:ln>
          </p:spPr>
          <p:txBody>
            <a:bodyPr rtlCol="0" anchor="ctr"/>
            <a:lstStyle/>
            <a:p>
              <a:endParaRPr lang="en-GB" dirty="0"/>
            </a:p>
          </p:txBody>
        </p:sp>
        <p:grpSp>
          <p:nvGrpSpPr>
            <p:cNvPr id="67" name="Gruppieren 610">
              <a:extLst>
                <a:ext uri="{FF2B5EF4-FFF2-40B4-BE49-F238E27FC236}">
                  <a16:creationId xmlns:a16="http://schemas.microsoft.com/office/drawing/2014/main" id="{DCA86969-200F-44BF-9045-5A58331AAC9A}"/>
                </a:ext>
              </a:extLst>
            </p:cNvPr>
            <p:cNvGrpSpPr/>
            <p:nvPr/>
          </p:nvGrpSpPr>
          <p:grpSpPr>
            <a:xfrm>
              <a:off x="7443222" y="2542217"/>
              <a:ext cx="91509" cy="14070"/>
              <a:chOff x="7443222" y="2542217"/>
              <a:chExt cx="91509" cy="14070"/>
            </a:xfrm>
          </p:grpSpPr>
          <p:sp>
            <p:nvSpPr>
              <p:cNvPr id="68" name="Freihandform: Form 611">
                <a:extLst>
                  <a:ext uri="{FF2B5EF4-FFF2-40B4-BE49-F238E27FC236}">
                    <a16:creationId xmlns:a16="http://schemas.microsoft.com/office/drawing/2014/main" id="{8743D61D-5140-41F3-8855-03FF1B08BC12}"/>
                  </a:ext>
                </a:extLst>
              </p:cNvPr>
              <p:cNvSpPr/>
              <p:nvPr/>
            </p:nvSpPr>
            <p:spPr>
              <a:xfrm>
                <a:off x="7443222" y="2542217"/>
                <a:ext cx="22295" cy="14070"/>
              </a:xfrm>
              <a:custGeom>
                <a:avLst/>
                <a:gdLst>
                  <a:gd name="connsiteX0" fmla="*/ 15260 w 22295"/>
                  <a:gd name="connsiteY0" fmla="*/ 0 h 14070"/>
                  <a:gd name="connsiteX1" fmla="*/ 7035 w 22295"/>
                  <a:gd name="connsiteY1" fmla="*/ 0 h 14070"/>
                  <a:gd name="connsiteX2" fmla="*/ 0 w 22295"/>
                  <a:gd name="connsiteY2" fmla="*/ 7035 h 14070"/>
                  <a:gd name="connsiteX3" fmla="*/ 7035 w 22295"/>
                  <a:gd name="connsiteY3" fmla="*/ 14071 h 14070"/>
                  <a:gd name="connsiteX4" fmla="*/ 15260 w 22295"/>
                  <a:gd name="connsiteY4" fmla="*/ 14071 h 14070"/>
                  <a:gd name="connsiteX5" fmla="*/ 22295 w 22295"/>
                  <a:gd name="connsiteY5" fmla="*/ 7035 h 14070"/>
                  <a:gd name="connsiteX6" fmla="*/ 15260 w 22295"/>
                  <a:gd name="connsiteY6" fmla="*/ 0 h 1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95" h="14070">
                    <a:moveTo>
                      <a:pt x="15260" y="0"/>
                    </a:moveTo>
                    <a:lnTo>
                      <a:pt x="7035" y="0"/>
                    </a:lnTo>
                    <a:cubicBezTo>
                      <a:pt x="3138" y="0"/>
                      <a:pt x="0" y="3154"/>
                      <a:pt x="0" y="7035"/>
                    </a:cubicBezTo>
                    <a:cubicBezTo>
                      <a:pt x="0" y="10916"/>
                      <a:pt x="3154" y="14071"/>
                      <a:pt x="7035" y="14071"/>
                    </a:cubicBezTo>
                    <a:lnTo>
                      <a:pt x="15260" y="14071"/>
                    </a:lnTo>
                    <a:cubicBezTo>
                      <a:pt x="19157" y="14071"/>
                      <a:pt x="22295" y="10916"/>
                      <a:pt x="22295" y="7035"/>
                    </a:cubicBezTo>
                    <a:cubicBezTo>
                      <a:pt x="22295" y="3154"/>
                      <a:pt x="19157" y="0"/>
                      <a:pt x="15260" y="0"/>
                    </a:cubicBezTo>
                    <a:close/>
                  </a:path>
                </a:pathLst>
              </a:custGeom>
              <a:solidFill>
                <a:schemeClr val="accent1"/>
              </a:solidFill>
              <a:ln w="1650" cap="flat">
                <a:noFill/>
                <a:prstDash val="solid"/>
                <a:miter/>
              </a:ln>
            </p:spPr>
            <p:txBody>
              <a:bodyPr rtlCol="0" anchor="ctr"/>
              <a:lstStyle/>
              <a:p>
                <a:endParaRPr lang="en-GB" dirty="0"/>
              </a:p>
            </p:txBody>
          </p:sp>
          <p:sp>
            <p:nvSpPr>
              <p:cNvPr id="69" name="Freihandform: Form 612">
                <a:extLst>
                  <a:ext uri="{FF2B5EF4-FFF2-40B4-BE49-F238E27FC236}">
                    <a16:creationId xmlns:a16="http://schemas.microsoft.com/office/drawing/2014/main" id="{68C5F1C6-CE5F-4789-8B90-0330F99057E0}"/>
                  </a:ext>
                </a:extLst>
              </p:cNvPr>
              <p:cNvSpPr/>
              <p:nvPr/>
            </p:nvSpPr>
            <p:spPr>
              <a:xfrm>
                <a:off x="7477838" y="2542217"/>
                <a:ext cx="22278" cy="14070"/>
              </a:xfrm>
              <a:custGeom>
                <a:avLst/>
                <a:gdLst>
                  <a:gd name="connsiteX0" fmla="*/ 15243 w 22278"/>
                  <a:gd name="connsiteY0" fmla="*/ 0 h 14070"/>
                  <a:gd name="connsiteX1" fmla="*/ 7035 w 22278"/>
                  <a:gd name="connsiteY1" fmla="*/ 0 h 14070"/>
                  <a:gd name="connsiteX2" fmla="*/ 0 w 22278"/>
                  <a:gd name="connsiteY2" fmla="*/ 7035 h 14070"/>
                  <a:gd name="connsiteX3" fmla="*/ 7035 w 22278"/>
                  <a:gd name="connsiteY3" fmla="*/ 14071 h 14070"/>
                  <a:gd name="connsiteX4" fmla="*/ 15243 w 22278"/>
                  <a:gd name="connsiteY4" fmla="*/ 14071 h 14070"/>
                  <a:gd name="connsiteX5" fmla="*/ 22279 w 22278"/>
                  <a:gd name="connsiteY5" fmla="*/ 7035 h 14070"/>
                  <a:gd name="connsiteX6" fmla="*/ 15243 w 22278"/>
                  <a:gd name="connsiteY6" fmla="*/ 0 h 1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78" h="14070">
                    <a:moveTo>
                      <a:pt x="15243" y="0"/>
                    </a:moveTo>
                    <a:lnTo>
                      <a:pt x="7035" y="0"/>
                    </a:lnTo>
                    <a:cubicBezTo>
                      <a:pt x="3138" y="0"/>
                      <a:pt x="0" y="3154"/>
                      <a:pt x="0" y="7035"/>
                    </a:cubicBezTo>
                    <a:cubicBezTo>
                      <a:pt x="0" y="10916"/>
                      <a:pt x="3154" y="14071"/>
                      <a:pt x="7035" y="14071"/>
                    </a:cubicBezTo>
                    <a:lnTo>
                      <a:pt x="15243" y="14071"/>
                    </a:lnTo>
                    <a:cubicBezTo>
                      <a:pt x="19141" y="14071"/>
                      <a:pt x="22279" y="10916"/>
                      <a:pt x="22279" y="7035"/>
                    </a:cubicBezTo>
                    <a:cubicBezTo>
                      <a:pt x="22279" y="3154"/>
                      <a:pt x="19141" y="0"/>
                      <a:pt x="15243" y="0"/>
                    </a:cubicBezTo>
                    <a:close/>
                  </a:path>
                </a:pathLst>
              </a:custGeom>
              <a:solidFill>
                <a:schemeClr val="accent1"/>
              </a:solidFill>
              <a:ln w="1650" cap="flat">
                <a:noFill/>
                <a:prstDash val="solid"/>
                <a:miter/>
              </a:ln>
            </p:spPr>
            <p:txBody>
              <a:bodyPr rtlCol="0" anchor="ctr"/>
              <a:lstStyle/>
              <a:p>
                <a:endParaRPr lang="en-GB" dirty="0"/>
              </a:p>
            </p:txBody>
          </p:sp>
          <p:sp>
            <p:nvSpPr>
              <p:cNvPr id="70" name="Freihandform: Form 613">
                <a:extLst>
                  <a:ext uri="{FF2B5EF4-FFF2-40B4-BE49-F238E27FC236}">
                    <a16:creationId xmlns:a16="http://schemas.microsoft.com/office/drawing/2014/main" id="{0598090E-4132-47C5-9F24-D2FDA102F695}"/>
                  </a:ext>
                </a:extLst>
              </p:cNvPr>
              <p:cNvSpPr/>
              <p:nvPr/>
            </p:nvSpPr>
            <p:spPr>
              <a:xfrm>
                <a:off x="7512453" y="2542217"/>
                <a:ext cx="22278" cy="14070"/>
              </a:xfrm>
              <a:custGeom>
                <a:avLst/>
                <a:gdLst>
                  <a:gd name="connsiteX0" fmla="*/ 7035 w 22278"/>
                  <a:gd name="connsiteY0" fmla="*/ 14071 h 14070"/>
                  <a:gd name="connsiteX1" fmla="*/ 15243 w 22278"/>
                  <a:gd name="connsiteY1" fmla="*/ 14071 h 14070"/>
                  <a:gd name="connsiteX2" fmla="*/ 22279 w 22278"/>
                  <a:gd name="connsiteY2" fmla="*/ 7035 h 14070"/>
                  <a:gd name="connsiteX3" fmla="*/ 15243 w 22278"/>
                  <a:gd name="connsiteY3" fmla="*/ 0 h 14070"/>
                  <a:gd name="connsiteX4" fmla="*/ 7035 w 22278"/>
                  <a:gd name="connsiteY4" fmla="*/ 0 h 14070"/>
                  <a:gd name="connsiteX5" fmla="*/ 0 w 22278"/>
                  <a:gd name="connsiteY5" fmla="*/ 7035 h 14070"/>
                  <a:gd name="connsiteX6" fmla="*/ 7035 w 22278"/>
                  <a:gd name="connsiteY6" fmla="*/ 14071 h 1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278" h="14070">
                    <a:moveTo>
                      <a:pt x="7035" y="14071"/>
                    </a:moveTo>
                    <a:lnTo>
                      <a:pt x="15243" y="14071"/>
                    </a:lnTo>
                    <a:cubicBezTo>
                      <a:pt x="19141" y="14071"/>
                      <a:pt x="22279" y="10916"/>
                      <a:pt x="22279" y="7035"/>
                    </a:cubicBezTo>
                    <a:cubicBezTo>
                      <a:pt x="22279" y="3154"/>
                      <a:pt x="19124" y="0"/>
                      <a:pt x="15243" y="0"/>
                    </a:cubicBezTo>
                    <a:lnTo>
                      <a:pt x="7035" y="0"/>
                    </a:lnTo>
                    <a:cubicBezTo>
                      <a:pt x="3138" y="0"/>
                      <a:pt x="0" y="3154"/>
                      <a:pt x="0" y="7035"/>
                    </a:cubicBezTo>
                    <a:cubicBezTo>
                      <a:pt x="0" y="10916"/>
                      <a:pt x="3138" y="14071"/>
                      <a:pt x="7035" y="14071"/>
                    </a:cubicBezTo>
                    <a:close/>
                  </a:path>
                </a:pathLst>
              </a:custGeom>
              <a:solidFill>
                <a:schemeClr val="accent1"/>
              </a:solidFill>
              <a:ln w="1650" cap="flat">
                <a:noFill/>
                <a:prstDash val="solid"/>
                <a:miter/>
              </a:ln>
            </p:spPr>
            <p:txBody>
              <a:bodyPr rtlCol="0" anchor="ctr"/>
              <a:lstStyle/>
              <a:p>
                <a:endParaRPr lang="en-GB" dirty="0"/>
              </a:p>
            </p:txBody>
          </p:sp>
        </p:grpSp>
      </p:grpSp>
      <p:grpSp>
        <p:nvGrpSpPr>
          <p:cNvPr id="71" name="Gruppieren 578">
            <a:extLst>
              <a:ext uri="{FF2B5EF4-FFF2-40B4-BE49-F238E27FC236}">
                <a16:creationId xmlns:a16="http://schemas.microsoft.com/office/drawing/2014/main" id="{8AFCAFA6-622C-439E-B0C7-7912A4B1011F}"/>
              </a:ext>
            </a:extLst>
          </p:cNvPr>
          <p:cNvGrpSpPr>
            <a:grpSpLocks noChangeAspect="1"/>
          </p:cNvGrpSpPr>
          <p:nvPr/>
        </p:nvGrpSpPr>
        <p:grpSpPr>
          <a:xfrm>
            <a:off x="583418" y="2517928"/>
            <a:ext cx="421270" cy="197275"/>
            <a:chOff x="6590225" y="3828256"/>
            <a:chExt cx="391556" cy="183362"/>
          </a:xfrm>
        </p:grpSpPr>
        <p:sp>
          <p:nvSpPr>
            <p:cNvPr id="72" name="Freihandform: Form 579">
              <a:extLst>
                <a:ext uri="{FF2B5EF4-FFF2-40B4-BE49-F238E27FC236}">
                  <a16:creationId xmlns:a16="http://schemas.microsoft.com/office/drawing/2014/main" id="{B6869FB8-CB30-439B-BE5E-A84B8821C41F}"/>
                </a:ext>
              </a:extLst>
            </p:cNvPr>
            <p:cNvSpPr/>
            <p:nvPr/>
          </p:nvSpPr>
          <p:spPr>
            <a:xfrm>
              <a:off x="6808800" y="3828256"/>
              <a:ext cx="172981" cy="137272"/>
            </a:xfrm>
            <a:custGeom>
              <a:avLst/>
              <a:gdLst>
                <a:gd name="connsiteX0" fmla="*/ 164634 w 172981"/>
                <a:gd name="connsiteY0" fmla="*/ 6623 h 137272"/>
                <a:gd name="connsiteX1" fmla="*/ 147492 w 172981"/>
                <a:gd name="connsiteY1" fmla="*/ 0 h 137272"/>
                <a:gd name="connsiteX2" fmla="*/ 128582 w 172981"/>
                <a:gd name="connsiteY2" fmla="*/ 8373 h 137272"/>
                <a:gd name="connsiteX3" fmla="*/ 67774 w 172981"/>
                <a:gd name="connsiteY3" fmla="*/ 75391 h 137272"/>
                <a:gd name="connsiteX4" fmla="*/ 42968 w 172981"/>
                <a:gd name="connsiteY4" fmla="*/ 52171 h 137272"/>
                <a:gd name="connsiteX5" fmla="*/ 28022 w 172981"/>
                <a:gd name="connsiteY5" fmla="*/ 45400 h 137272"/>
                <a:gd name="connsiteX6" fmla="*/ 6900 w 172981"/>
                <a:gd name="connsiteY6" fmla="*/ 53360 h 137272"/>
                <a:gd name="connsiteX7" fmla="*/ 13 w 172981"/>
                <a:gd name="connsiteY7" fmla="*/ 71642 h 137272"/>
                <a:gd name="connsiteX8" fmla="*/ 8072 w 172981"/>
                <a:gd name="connsiteY8" fmla="*/ 89429 h 137272"/>
                <a:gd name="connsiteX9" fmla="*/ 51804 w 172981"/>
                <a:gd name="connsiteY9" fmla="*/ 130386 h 137272"/>
                <a:gd name="connsiteX10" fmla="*/ 69244 w 172981"/>
                <a:gd name="connsiteY10" fmla="*/ 137272 h 137272"/>
                <a:gd name="connsiteX11" fmla="*/ 70284 w 172981"/>
                <a:gd name="connsiteY11" fmla="*/ 137256 h 137272"/>
                <a:gd name="connsiteX12" fmla="*/ 88137 w 172981"/>
                <a:gd name="connsiteY12" fmla="*/ 128899 h 137272"/>
                <a:gd name="connsiteX13" fmla="*/ 166368 w 172981"/>
                <a:gd name="connsiteY13" fmla="*/ 42658 h 137272"/>
                <a:gd name="connsiteX14" fmla="*/ 164634 w 172981"/>
                <a:gd name="connsiteY14" fmla="*/ 6623 h 137272"/>
                <a:gd name="connsiteX15" fmla="*/ 155964 w 172981"/>
                <a:gd name="connsiteY15" fmla="*/ 33195 h 137272"/>
                <a:gd name="connsiteX16" fmla="*/ 77732 w 172981"/>
                <a:gd name="connsiteY16" fmla="*/ 119420 h 137272"/>
                <a:gd name="connsiteX17" fmla="*/ 69805 w 172981"/>
                <a:gd name="connsiteY17" fmla="*/ 123152 h 137272"/>
                <a:gd name="connsiteX18" fmla="*/ 69260 w 172981"/>
                <a:gd name="connsiteY18" fmla="*/ 123169 h 137272"/>
                <a:gd name="connsiteX19" fmla="*/ 61449 w 172981"/>
                <a:gd name="connsiteY19" fmla="*/ 120080 h 137272"/>
                <a:gd name="connsiteX20" fmla="*/ 17717 w 172981"/>
                <a:gd name="connsiteY20" fmla="*/ 79123 h 137272"/>
                <a:gd name="connsiteX21" fmla="*/ 14100 w 172981"/>
                <a:gd name="connsiteY21" fmla="*/ 71146 h 137272"/>
                <a:gd name="connsiteX22" fmla="*/ 17189 w 172981"/>
                <a:gd name="connsiteY22" fmla="*/ 62939 h 137272"/>
                <a:gd name="connsiteX23" fmla="*/ 25529 w 172981"/>
                <a:gd name="connsiteY23" fmla="*/ 59322 h 137272"/>
                <a:gd name="connsiteX24" fmla="*/ 26652 w 172981"/>
                <a:gd name="connsiteY24" fmla="*/ 59371 h 137272"/>
                <a:gd name="connsiteX25" fmla="*/ 33357 w 172981"/>
                <a:gd name="connsiteY25" fmla="*/ 62410 h 137272"/>
                <a:gd name="connsiteX26" fmla="*/ 63381 w 172981"/>
                <a:gd name="connsiteY26" fmla="*/ 90518 h 137272"/>
                <a:gd name="connsiteX27" fmla="*/ 68484 w 172981"/>
                <a:gd name="connsiteY27" fmla="*/ 92418 h 137272"/>
                <a:gd name="connsiteX28" fmla="*/ 73406 w 172981"/>
                <a:gd name="connsiteY28" fmla="*/ 90122 h 137272"/>
                <a:gd name="connsiteX29" fmla="*/ 139019 w 172981"/>
                <a:gd name="connsiteY29" fmla="*/ 17803 h 137272"/>
                <a:gd name="connsiteX30" fmla="*/ 155188 w 172981"/>
                <a:gd name="connsiteY30" fmla="*/ 17027 h 137272"/>
                <a:gd name="connsiteX31" fmla="*/ 155964 w 172981"/>
                <a:gd name="connsiteY31" fmla="*/ 33195 h 13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72981" h="137272">
                  <a:moveTo>
                    <a:pt x="164634" y="6623"/>
                  </a:moveTo>
                  <a:cubicBezTo>
                    <a:pt x="159927" y="2345"/>
                    <a:pt x="153850" y="0"/>
                    <a:pt x="147492" y="0"/>
                  </a:cubicBezTo>
                  <a:cubicBezTo>
                    <a:pt x="140308" y="0"/>
                    <a:pt x="133404" y="3055"/>
                    <a:pt x="128582" y="8373"/>
                  </a:cubicBezTo>
                  <a:lnTo>
                    <a:pt x="67774" y="75391"/>
                  </a:lnTo>
                  <a:lnTo>
                    <a:pt x="42968" y="52171"/>
                  </a:lnTo>
                  <a:cubicBezTo>
                    <a:pt x="38840" y="48290"/>
                    <a:pt x="33670" y="45945"/>
                    <a:pt x="28022" y="45400"/>
                  </a:cubicBezTo>
                  <a:cubicBezTo>
                    <a:pt x="20145" y="44607"/>
                    <a:pt x="12267" y="47613"/>
                    <a:pt x="6900" y="53360"/>
                  </a:cubicBezTo>
                  <a:cubicBezTo>
                    <a:pt x="2243" y="58331"/>
                    <a:pt x="-202" y="64821"/>
                    <a:pt x="13" y="71642"/>
                  </a:cubicBezTo>
                  <a:cubicBezTo>
                    <a:pt x="244" y="78446"/>
                    <a:pt x="3101" y="84771"/>
                    <a:pt x="8072" y="89429"/>
                  </a:cubicBezTo>
                  <a:lnTo>
                    <a:pt x="51804" y="130386"/>
                  </a:lnTo>
                  <a:cubicBezTo>
                    <a:pt x="56560" y="134828"/>
                    <a:pt x="62753" y="137272"/>
                    <a:pt x="69244" y="137272"/>
                  </a:cubicBezTo>
                  <a:lnTo>
                    <a:pt x="70284" y="137256"/>
                  </a:lnTo>
                  <a:cubicBezTo>
                    <a:pt x="77072" y="136975"/>
                    <a:pt x="83579" y="133936"/>
                    <a:pt x="88137" y="128899"/>
                  </a:cubicBezTo>
                  <a:lnTo>
                    <a:pt x="166368" y="42658"/>
                  </a:lnTo>
                  <a:cubicBezTo>
                    <a:pt x="175831" y="32221"/>
                    <a:pt x="175038" y="16052"/>
                    <a:pt x="164634" y="6623"/>
                  </a:cubicBezTo>
                  <a:close/>
                  <a:moveTo>
                    <a:pt x="155964" y="33195"/>
                  </a:moveTo>
                  <a:lnTo>
                    <a:pt x="77732" y="119420"/>
                  </a:lnTo>
                  <a:cubicBezTo>
                    <a:pt x="75652" y="121715"/>
                    <a:pt x="72811" y="123036"/>
                    <a:pt x="69805" y="123152"/>
                  </a:cubicBezTo>
                  <a:lnTo>
                    <a:pt x="69260" y="123169"/>
                  </a:lnTo>
                  <a:cubicBezTo>
                    <a:pt x="66337" y="123169"/>
                    <a:pt x="63579" y="122062"/>
                    <a:pt x="61449" y="120080"/>
                  </a:cubicBezTo>
                  <a:lnTo>
                    <a:pt x="17717" y="79123"/>
                  </a:lnTo>
                  <a:cubicBezTo>
                    <a:pt x="15488" y="77026"/>
                    <a:pt x="14199" y="74202"/>
                    <a:pt x="14100" y="71146"/>
                  </a:cubicBezTo>
                  <a:cubicBezTo>
                    <a:pt x="14001" y="68091"/>
                    <a:pt x="15091" y="65185"/>
                    <a:pt x="17189" y="62939"/>
                  </a:cubicBezTo>
                  <a:cubicBezTo>
                    <a:pt x="19369" y="60610"/>
                    <a:pt x="22325" y="59322"/>
                    <a:pt x="25529" y="59322"/>
                  </a:cubicBezTo>
                  <a:cubicBezTo>
                    <a:pt x="25908" y="59322"/>
                    <a:pt x="26272" y="59338"/>
                    <a:pt x="26652" y="59371"/>
                  </a:cubicBezTo>
                  <a:cubicBezTo>
                    <a:pt x="29178" y="59619"/>
                    <a:pt x="31491" y="60676"/>
                    <a:pt x="33357" y="62410"/>
                  </a:cubicBezTo>
                  <a:lnTo>
                    <a:pt x="63381" y="90518"/>
                  </a:lnTo>
                  <a:cubicBezTo>
                    <a:pt x="64752" y="91807"/>
                    <a:pt x="66618" y="92533"/>
                    <a:pt x="68484" y="92418"/>
                  </a:cubicBezTo>
                  <a:cubicBezTo>
                    <a:pt x="70367" y="92335"/>
                    <a:pt x="72134" y="91509"/>
                    <a:pt x="73406" y="90122"/>
                  </a:cubicBezTo>
                  <a:lnTo>
                    <a:pt x="139019" y="17803"/>
                  </a:lnTo>
                  <a:cubicBezTo>
                    <a:pt x="143099" y="13327"/>
                    <a:pt x="150679" y="12915"/>
                    <a:pt x="155188" y="17027"/>
                  </a:cubicBezTo>
                  <a:cubicBezTo>
                    <a:pt x="159845" y="21271"/>
                    <a:pt x="160192" y="28521"/>
                    <a:pt x="155964" y="33195"/>
                  </a:cubicBezTo>
                  <a:close/>
                </a:path>
              </a:pathLst>
            </a:custGeom>
            <a:solidFill>
              <a:schemeClr val="accent1"/>
            </a:solidFill>
            <a:ln w="1650" cap="flat">
              <a:noFill/>
              <a:prstDash val="solid"/>
              <a:miter/>
            </a:ln>
          </p:spPr>
          <p:txBody>
            <a:bodyPr rtlCol="0" anchor="ctr"/>
            <a:lstStyle/>
            <a:p>
              <a:endParaRPr lang="en-GB" dirty="0"/>
            </a:p>
          </p:txBody>
        </p:sp>
        <p:sp>
          <p:nvSpPr>
            <p:cNvPr id="73" name="Freihandform: Form 580">
              <a:extLst>
                <a:ext uri="{FF2B5EF4-FFF2-40B4-BE49-F238E27FC236}">
                  <a16:creationId xmlns:a16="http://schemas.microsoft.com/office/drawing/2014/main" id="{A20A644A-6A04-4F45-A31E-E82125E7F81D}"/>
                </a:ext>
              </a:extLst>
            </p:cNvPr>
            <p:cNvSpPr/>
            <p:nvPr/>
          </p:nvSpPr>
          <p:spPr>
            <a:xfrm>
              <a:off x="6590225" y="3839467"/>
              <a:ext cx="358837" cy="172151"/>
            </a:xfrm>
            <a:custGeom>
              <a:avLst/>
              <a:gdLst>
                <a:gd name="connsiteX0" fmla="*/ 351802 w 358837"/>
                <a:gd name="connsiteY0" fmla="*/ 85812 h 172151"/>
                <a:gd name="connsiteX1" fmla="*/ 344766 w 358837"/>
                <a:gd name="connsiteY1" fmla="*/ 92847 h 172151"/>
                <a:gd name="connsiteX2" fmla="*/ 279549 w 358837"/>
                <a:gd name="connsiteY2" fmla="*/ 158065 h 172151"/>
                <a:gd name="connsiteX3" fmla="*/ 186471 w 358837"/>
                <a:gd name="connsiteY3" fmla="*/ 158065 h 172151"/>
                <a:gd name="connsiteX4" fmla="*/ 186471 w 358837"/>
                <a:gd name="connsiteY4" fmla="*/ 14071 h 172151"/>
                <a:gd name="connsiteX5" fmla="*/ 279549 w 358837"/>
                <a:gd name="connsiteY5" fmla="*/ 14071 h 172151"/>
                <a:gd name="connsiteX6" fmla="*/ 307030 w 358837"/>
                <a:gd name="connsiteY6" fmla="*/ 20115 h 172151"/>
                <a:gd name="connsiteX7" fmla="*/ 316377 w 358837"/>
                <a:gd name="connsiteY7" fmla="*/ 16697 h 172151"/>
                <a:gd name="connsiteX8" fmla="*/ 312959 w 358837"/>
                <a:gd name="connsiteY8" fmla="*/ 7349 h 172151"/>
                <a:gd name="connsiteX9" fmla="*/ 279565 w 358837"/>
                <a:gd name="connsiteY9" fmla="*/ 0 h 172151"/>
                <a:gd name="connsiteX10" fmla="*/ 79305 w 358837"/>
                <a:gd name="connsiteY10" fmla="*/ 0 h 172151"/>
                <a:gd name="connsiteX11" fmla="*/ 0 w 358837"/>
                <a:gd name="connsiteY11" fmla="*/ 79305 h 172151"/>
                <a:gd name="connsiteX12" fmla="*/ 0 w 358837"/>
                <a:gd name="connsiteY12" fmla="*/ 92847 h 172151"/>
                <a:gd name="connsiteX13" fmla="*/ 79305 w 358837"/>
                <a:gd name="connsiteY13" fmla="*/ 172152 h 172151"/>
                <a:gd name="connsiteX14" fmla="*/ 279532 w 358837"/>
                <a:gd name="connsiteY14" fmla="*/ 172152 h 172151"/>
                <a:gd name="connsiteX15" fmla="*/ 358837 w 358837"/>
                <a:gd name="connsiteY15" fmla="*/ 92847 h 172151"/>
                <a:gd name="connsiteX16" fmla="*/ 351802 w 358837"/>
                <a:gd name="connsiteY16" fmla="*/ 85812 h 172151"/>
                <a:gd name="connsiteX17" fmla="*/ 14087 w 358837"/>
                <a:gd name="connsiteY17" fmla="*/ 92847 h 172151"/>
                <a:gd name="connsiteX18" fmla="*/ 14087 w 358837"/>
                <a:gd name="connsiteY18" fmla="*/ 79305 h 172151"/>
                <a:gd name="connsiteX19" fmla="*/ 79305 w 358837"/>
                <a:gd name="connsiteY19" fmla="*/ 14087 h 172151"/>
                <a:gd name="connsiteX20" fmla="*/ 172383 w 358837"/>
                <a:gd name="connsiteY20" fmla="*/ 14087 h 172151"/>
                <a:gd name="connsiteX21" fmla="*/ 172383 w 358837"/>
                <a:gd name="connsiteY21" fmla="*/ 158081 h 172151"/>
                <a:gd name="connsiteX22" fmla="*/ 79305 w 358837"/>
                <a:gd name="connsiteY22" fmla="*/ 158081 h 172151"/>
                <a:gd name="connsiteX23" fmla="*/ 14087 w 358837"/>
                <a:gd name="connsiteY23" fmla="*/ 92847 h 17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8837" h="172151">
                  <a:moveTo>
                    <a:pt x="351802" y="85812"/>
                  </a:moveTo>
                  <a:cubicBezTo>
                    <a:pt x="347904" y="85812"/>
                    <a:pt x="344766" y="88966"/>
                    <a:pt x="344766" y="92847"/>
                  </a:cubicBezTo>
                  <a:cubicBezTo>
                    <a:pt x="344766" y="128817"/>
                    <a:pt x="315502" y="158065"/>
                    <a:pt x="279549" y="158065"/>
                  </a:cubicBezTo>
                  <a:lnTo>
                    <a:pt x="186471" y="158065"/>
                  </a:lnTo>
                  <a:lnTo>
                    <a:pt x="186471" y="14071"/>
                  </a:lnTo>
                  <a:lnTo>
                    <a:pt x="279549" y="14071"/>
                  </a:lnTo>
                  <a:cubicBezTo>
                    <a:pt x="289144" y="14071"/>
                    <a:pt x="298376" y="16102"/>
                    <a:pt x="307030" y="20115"/>
                  </a:cubicBezTo>
                  <a:cubicBezTo>
                    <a:pt x="310547" y="21767"/>
                    <a:pt x="314742" y="20214"/>
                    <a:pt x="316377" y="16697"/>
                  </a:cubicBezTo>
                  <a:cubicBezTo>
                    <a:pt x="318012" y="13162"/>
                    <a:pt x="316476" y="8984"/>
                    <a:pt x="312959" y="7349"/>
                  </a:cubicBezTo>
                  <a:cubicBezTo>
                    <a:pt x="302455" y="2461"/>
                    <a:pt x="291209" y="0"/>
                    <a:pt x="279565" y="0"/>
                  </a:cubicBezTo>
                  <a:lnTo>
                    <a:pt x="79305" y="0"/>
                  </a:lnTo>
                  <a:cubicBezTo>
                    <a:pt x="35573" y="0"/>
                    <a:pt x="0" y="35573"/>
                    <a:pt x="0" y="79305"/>
                  </a:cubicBezTo>
                  <a:lnTo>
                    <a:pt x="0" y="92847"/>
                  </a:lnTo>
                  <a:cubicBezTo>
                    <a:pt x="0" y="136579"/>
                    <a:pt x="35573" y="172152"/>
                    <a:pt x="79305" y="172152"/>
                  </a:cubicBezTo>
                  <a:lnTo>
                    <a:pt x="279532" y="172152"/>
                  </a:lnTo>
                  <a:cubicBezTo>
                    <a:pt x="323264" y="172152"/>
                    <a:pt x="358837" y="136579"/>
                    <a:pt x="358837" y="92847"/>
                  </a:cubicBezTo>
                  <a:cubicBezTo>
                    <a:pt x="358837" y="88966"/>
                    <a:pt x="355699" y="85812"/>
                    <a:pt x="351802" y="85812"/>
                  </a:cubicBezTo>
                  <a:close/>
                  <a:moveTo>
                    <a:pt x="14087" y="92847"/>
                  </a:moveTo>
                  <a:lnTo>
                    <a:pt x="14087" y="79305"/>
                  </a:lnTo>
                  <a:cubicBezTo>
                    <a:pt x="14087" y="43335"/>
                    <a:pt x="43352" y="14087"/>
                    <a:pt x="79305" y="14087"/>
                  </a:cubicBezTo>
                  <a:lnTo>
                    <a:pt x="172383" y="14087"/>
                  </a:lnTo>
                  <a:lnTo>
                    <a:pt x="172383" y="158081"/>
                  </a:lnTo>
                  <a:lnTo>
                    <a:pt x="79305" y="158081"/>
                  </a:lnTo>
                  <a:cubicBezTo>
                    <a:pt x="43352" y="158065"/>
                    <a:pt x="14087" y="128817"/>
                    <a:pt x="14087" y="92847"/>
                  </a:cubicBezTo>
                  <a:close/>
                </a:path>
              </a:pathLst>
            </a:custGeom>
            <a:solidFill>
              <a:schemeClr val="tx2"/>
            </a:solidFill>
            <a:ln w="1650" cap="flat">
              <a:noFill/>
              <a:prstDash val="solid"/>
              <a:miter/>
            </a:ln>
          </p:spPr>
          <p:txBody>
            <a:bodyPr rtlCol="0" anchor="ctr"/>
            <a:lstStyle/>
            <a:p>
              <a:endParaRPr lang="en-GB" dirty="0"/>
            </a:p>
          </p:txBody>
        </p:sp>
      </p:grpSp>
      <p:grpSp>
        <p:nvGrpSpPr>
          <p:cNvPr id="74" name="Gruppieren 637">
            <a:extLst>
              <a:ext uri="{FF2B5EF4-FFF2-40B4-BE49-F238E27FC236}">
                <a16:creationId xmlns:a16="http://schemas.microsoft.com/office/drawing/2014/main" id="{8CFECF0E-2AFF-44EC-A0D7-52FEED1EE67C}"/>
              </a:ext>
            </a:extLst>
          </p:cNvPr>
          <p:cNvGrpSpPr>
            <a:grpSpLocks noChangeAspect="1"/>
          </p:cNvGrpSpPr>
          <p:nvPr/>
        </p:nvGrpSpPr>
        <p:grpSpPr>
          <a:xfrm>
            <a:off x="1628847" y="2405921"/>
            <a:ext cx="421274" cy="421274"/>
            <a:chOff x="8017134" y="3725530"/>
            <a:chExt cx="336657" cy="336657"/>
          </a:xfrm>
        </p:grpSpPr>
        <p:sp>
          <p:nvSpPr>
            <p:cNvPr id="75" name="Freihandform: Form 638">
              <a:extLst>
                <a:ext uri="{FF2B5EF4-FFF2-40B4-BE49-F238E27FC236}">
                  <a16:creationId xmlns:a16="http://schemas.microsoft.com/office/drawing/2014/main" id="{66F2F343-8A88-4310-90CB-0783FF667A19}"/>
                </a:ext>
              </a:extLst>
            </p:cNvPr>
            <p:cNvSpPr/>
            <p:nvPr/>
          </p:nvSpPr>
          <p:spPr>
            <a:xfrm>
              <a:off x="8101806" y="3793787"/>
              <a:ext cx="167312" cy="200144"/>
            </a:xfrm>
            <a:custGeom>
              <a:avLst/>
              <a:gdLst>
                <a:gd name="connsiteX0" fmla="*/ 160278 w 167312"/>
                <a:gd name="connsiteY0" fmla="*/ 0 h 200144"/>
                <a:gd name="connsiteX1" fmla="*/ 118297 w 167312"/>
                <a:gd name="connsiteY1" fmla="*/ 0 h 200144"/>
                <a:gd name="connsiteX2" fmla="*/ 111261 w 167312"/>
                <a:gd name="connsiteY2" fmla="*/ 7035 h 200144"/>
                <a:gd name="connsiteX3" fmla="*/ 111261 w 167312"/>
                <a:gd name="connsiteY3" fmla="*/ 71791 h 200144"/>
                <a:gd name="connsiteX4" fmla="*/ 56035 w 167312"/>
                <a:gd name="connsiteY4" fmla="*/ 71791 h 200144"/>
                <a:gd name="connsiteX5" fmla="*/ 56035 w 167312"/>
                <a:gd name="connsiteY5" fmla="*/ 7035 h 200144"/>
                <a:gd name="connsiteX6" fmla="*/ 49000 w 167312"/>
                <a:gd name="connsiteY6" fmla="*/ 0 h 200144"/>
                <a:gd name="connsiteX7" fmla="*/ 7035 w 167312"/>
                <a:gd name="connsiteY7" fmla="*/ 0 h 200144"/>
                <a:gd name="connsiteX8" fmla="*/ 0 w 167312"/>
                <a:gd name="connsiteY8" fmla="*/ 7035 h 200144"/>
                <a:gd name="connsiteX9" fmla="*/ 0 w 167312"/>
                <a:gd name="connsiteY9" fmla="*/ 193109 h 200144"/>
                <a:gd name="connsiteX10" fmla="*/ 7035 w 167312"/>
                <a:gd name="connsiteY10" fmla="*/ 200145 h 200144"/>
                <a:gd name="connsiteX11" fmla="*/ 49000 w 167312"/>
                <a:gd name="connsiteY11" fmla="*/ 200145 h 200144"/>
                <a:gd name="connsiteX12" fmla="*/ 56035 w 167312"/>
                <a:gd name="connsiteY12" fmla="*/ 193109 h 200144"/>
                <a:gd name="connsiteX13" fmla="*/ 56035 w 167312"/>
                <a:gd name="connsiteY13" fmla="*/ 122574 h 200144"/>
                <a:gd name="connsiteX14" fmla="*/ 111261 w 167312"/>
                <a:gd name="connsiteY14" fmla="*/ 122574 h 200144"/>
                <a:gd name="connsiteX15" fmla="*/ 111261 w 167312"/>
                <a:gd name="connsiteY15" fmla="*/ 193109 h 200144"/>
                <a:gd name="connsiteX16" fmla="*/ 118297 w 167312"/>
                <a:gd name="connsiteY16" fmla="*/ 200145 h 200144"/>
                <a:gd name="connsiteX17" fmla="*/ 160278 w 167312"/>
                <a:gd name="connsiteY17" fmla="*/ 200145 h 200144"/>
                <a:gd name="connsiteX18" fmla="*/ 167313 w 167312"/>
                <a:gd name="connsiteY18" fmla="*/ 193109 h 200144"/>
                <a:gd name="connsiteX19" fmla="*/ 167313 w 167312"/>
                <a:gd name="connsiteY19" fmla="*/ 7035 h 200144"/>
                <a:gd name="connsiteX20" fmla="*/ 160278 w 167312"/>
                <a:gd name="connsiteY20" fmla="*/ 0 h 200144"/>
                <a:gd name="connsiteX21" fmla="*/ 153242 w 167312"/>
                <a:gd name="connsiteY21" fmla="*/ 186074 h 200144"/>
                <a:gd name="connsiteX22" fmla="*/ 125349 w 167312"/>
                <a:gd name="connsiteY22" fmla="*/ 186074 h 200144"/>
                <a:gd name="connsiteX23" fmla="*/ 125349 w 167312"/>
                <a:gd name="connsiteY23" fmla="*/ 115539 h 200144"/>
                <a:gd name="connsiteX24" fmla="*/ 118313 w 167312"/>
                <a:gd name="connsiteY24" fmla="*/ 108503 h 200144"/>
                <a:gd name="connsiteX25" fmla="*/ 49016 w 167312"/>
                <a:gd name="connsiteY25" fmla="*/ 108503 h 200144"/>
                <a:gd name="connsiteX26" fmla="*/ 41981 w 167312"/>
                <a:gd name="connsiteY26" fmla="*/ 115539 h 200144"/>
                <a:gd name="connsiteX27" fmla="*/ 41981 w 167312"/>
                <a:gd name="connsiteY27" fmla="*/ 186074 h 200144"/>
                <a:gd name="connsiteX28" fmla="*/ 14087 w 167312"/>
                <a:gd name="connsiteY28" fmla="*/ 186074 h 200144"/>
                <a:gd name="connsiteX29" fmla="*/ 14087 w 167312"/>
                <a:gd name="connsiteY29" fmla="*/ 14071 h 200144"/>
                <a:gd name="connsiteX30" fmla="*/ 41981 w 167312"/>
                <a:gd name="connsiteY30" fmla="*/ 14071 h 200144"/>
                <a:gd name="connsiteX31" fmla="*/ 41981 w 167312"/>
                <a:gd name="connsiteY31" fmla="*/ 78826 h 200144"/>
                <a:gd name="connsiteX32" fmla="*/ 49016 w 167312"/>
                <a:gd name="connsiteY32" fmla="*/ 85861 h 200144"/>
                <a:gd name="connsiteX33" fmla="*/ 118313 w 167312"/>
                <a:gd name="connsiteY33" fmla="*/ 85861 h 200144"/>
                <a:gd name="connsiteX34" fmla="*/ 125349 w 167312"/>
                <a:gd name="connsiteY34" fmla="*/ 78826 h 200144"/>
                <a:gd name="connsiteX35" fmla="*/ 125349 w 167312"/>
                <a:gd name="connsiteY35" fmla="*/ 14071 h 200144"/>
                <a:gd name="connsiteX36" fmla="*/ 153242 w 167312"/>
                <a:gd name="connsiteY36" fmla="*/ 14071 h 200144"/>
                <a:gd name="connsiteX37" fmla="*/ 153242 w 167312"/>
                <a:gd name="connsiteY37" fmla="*/ 186074 h 20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7312" h="200144">
                  <a:moveTo>
                    <a:pt x="160278" y="0"/>
                  </a:moveTo>
                  <a:lnTo>
                    <a:pt x="118297" y="0"/>
                  </a:lnTo>
                  <a:cubicBezTo>
                    <a:pt x="114399" y="0"/>
                    <a:pt x="111261" y="3154"/>
                    <a:pt x="111261" y="7035"/>
                  </a:cubicBezTo>
                  <a:lnTo>
                    <a:pt x="111261" y="71791"/>
                  </a:lnTo>
                  <a:lnTo>
                    <a:pt x="56035" y="71791"/>
                  </a:lnTo>
                  <a:lnTo>
                    <a:pt x="56035" y="7035"/>
                  </a:lnTo>
                  <a:cubicBezTo>
                    <a:pt x="56035" y="3138"/>
                    <a:pt x="52881" y="0"/>
                    <a:pt x="49000" y="0"/>
                  </a:cubicBezTo>
                  <a:lnTo>
                    <a:pt x="7035" y="0"/>
                  </a:lnTo>
                  <a:cubicBezTo>
                    <a:pt x="3138" y="0"/>
                    <a:pt x="0" y="3154"/>
                    <a:pt x="0" y="7035"/>
                  </a:cubicBezTo>
                  <a:lnTo>
                    <a:pt x="0" y="193109"/>
                  </a:lnTo>
                  <a:cubicBezTo>
                    <a:pt x="0" y="197007"/>
                    <a:pt x="3154" y="200145"/>
                    <a:pt x="7035" y="200145"/>
                  </a:cubicBezTo>
                  <a:lnTo>
                    <a:pt x="49000" y="200145"/>
                  </a:lnTo>
                  <a:cubicBezTo>
                    <a:pt x="52897" y="200145"/>
                    <a:pt x="56035" y="196991"/>
                    <a:pt x="56035" y="193109"/>
                  </a:cubicBezTo>
                  <a:lnTo>
                    <a:pt x="56035" y="122574"/>
                  </a:lnTo>
                  <a:lnTo>
                    <a:pt x="111261" y="122574"/>
                  </a:lnTo>
                  <a:lnTo>
                    <a:pt x="111261" y="193109"/>
                  </a:lnTo>
                  <a:cubicBezTo>
                    <a:pt x="111261" y="197007"/>
                    <a:pt x="114416" y="200145"/>
                    <a:pt x="118297" y="200145"/>
                  </a:cubicBezTo>
                  <a:lnTo>
                    <a:pt x="160278" y="200145"/>
                  </a:lnTo>
                  <a:cubicBezTo>
                    <a:pt x="164175" y="200145"/>
                    <a:pt x="167313" y="196991"/>
                    <a:pt x="167313" y="193109"/>
                  </a:cubicBezTo>
                  <a:lnTo>
                    <a:pt x="167313" y="7035"/>
                  </a:lnTo>
                  <a:cubicBezTo>
                    <a:pt x="167313" y="3154"/>
                    <a:pt x="164175" y="0"/>
                    <a:pt x="160278" y="0"/>
                  </a:cubicBezTo>
                  <a:close/>
                  <a:moveTo>
                    <a:pt x="153242" y="186074"/>
                  </a:moveTo>
                  <a:lnTo>
                    <a:pt x="125349" y="186074"/>
                  </a:lnTo>
                  <a:lnTo>
                    <a:pt x="125349" y="115539"/>
                  </a:lnTo>
                  <a:cubicBezTo>
                    <a:pt x="125349" y="111641"/>
                    <a:pt x="122194" y="108503"/>
                    <a:pt x="118313" y="108503"/>
                  </a:cubicBezTo>
                  <a:lnTo>
                    <a:pt x="49016" y="108503"/>
                  </a:lnTo>
                  <a:cubicBezTo>
                    <a:pt x="45119" y="108503"/>
                    <a:pt x="41981" y="111658"/>
                    <a:pt x="41981" y="115539"/>
                  </a:cubicBezTo>
                  <a:lnTo>
                    <a:pt x="41981" y="186074"/>
                  </a:lnTo>
                  <a:lnTo>
                    <a:pt x="14087" y="186074"/>
                  </a:lnTo>
                  <a:lnTo>
                    <a:pt x="14087" y="14071"/>
                  </a:lnTo>
                  <a:lnTo>
                    <a:pt x="41981" y="14071"/>
                  </a:lnTo>
                  <a:lnTo>
                    <a:pt x="41981" y="78826"/>
                  </a:lnTo>
                  <a:cubicBezTo>
                    <a:pt x="41981" y="82723"/>
                    <a:pt x="45135" y="85861"/>
                    <a:pt x="49016" y="85861"/>
                  </a:cubicBezTo>
                  <a:lnTo>
                    <a:pt x="118313" y="85861"/>
                  </a:lnTo>
                  <a:cubicBezTo>
                    <a:pt x="122211" y="85861"/>
                    <a:pt x="125349" y="82707"/>
                    <a:pt x="125349" y="78826"/>
                  </a:cubicBezTo>
                  <a:lnTo>
                    <a:pt x="125349" y="14071"/>
                  </a:lnTo>
                  <a:lnTo>
                    <a:pt x="153242" y="14071"/>
                  </a:lnTo>
                  <a:lnTo>
                    <a:pt x="153242" y="186074"/>
                  </a:lnTo>
                  <a:close/>
                </a:path>
              </a:pathLst>
            </a:custGeom>
            <a:solidFill>
              <a:schemeClr val="accent1"/>
            </a:solidFill>
            <a:ln w="1650" cap="flat">
              <a:noFill/>
              <a:prstDash val="solid"/>
              <a:miter/>
            </a:ln>
          </p:spPr>
          <p:txBody>
            <a:bodyPr rtlCol="0" anchor="ctr"/>
            <a:lstStyle/>
            <a:p>
              <a:endParaRPr lang="en-GB" dirty="0"/>
            </a:p>
          </p:txBody>
        </p:sp>
        <p:sp>
          <p:nvSpPr>
            <p:cNvPr id="76" name="Freihandform: Form 639">
              <a:extLst>
                <a:ext uri="{FF2B5EF4-FFF2-40B4-BE49-F238E27FC236}">
                  <a16:creationId xmlns:a16="http://schemas.microsoft.com/office/drawing/2014/main" id="{45CE826C-AE5D-4235-A738-7B1457AACFD1}"/>
                </a:ext>
              </a:extLst>
            </p:cNvPr>
            <p:cNvSpPr/>
            <p:nvPr/>
          </p:nvSpPr>
          <p:spPr>
            <a:xfrm>
              <a:off x="8017134" y="3725530"/>
              <a:ext cx="336657" cy="336657"/>
            </a:xfrm>
            <a:custGeom>
              <a:avLst/>
              <a:gdLst>
                <a:gd name="connsiteX0" fmla="*/ 168337 w 336657"/>
                <a:gd name="connsiteY0" fmla="*/ 0 h 336657"/>
                <a:gd name="connsiteX1" fmla="*/ 0 w 336657"/>
                <a:gd name="connsiteY1" fmla="*/ 168337 h 336657"/>
                <a:gd name="connsiteX2" fmla="*/ 168337 w 336657"/>
                <a:gd name="connsiteY2" fmla="*/ 336658 h 336657"/>
                <a:gd name="connsiteX3" fmla="*/ 336658 w 336657"/>
                <a:gd name="connsiteY3" fmla="*/ 168337 h 336657"/>
                <a:gd name="connsiteX4" fmla="*/ 168337 w 336657"/>
                <a:gd name="connsiteY4" fmla="*/ 0 h 336657"/>
                <a:gd name="connsiteX5" fmla="*/ 168337 w 336657"/>
                <a:gd name="connsiteY5" fmla="*/ 322587 h 336657"/>
                <a:gd name="connsiteX6" fmla="*/ 14071 w 336657"/>
                <a:gd name="connsiteY6" fmla="*/ 168337 h 336657"/>
                <a:gd name="connsiteX7" fmla="*/ 168337 w 336657"/>
                <a:gd name="connsiteY7" fmla="*/ 14071 h 336657"/>
                <a:gd name="connsiteX8" fmla="*/ 322587 w 336657"/>
                <a:gd name="connsiteY8" fmla="*/ 168321 h 336657"/>
                <a:gd name="connsiteX9" fmla="*/ 168337 w 336657"/>
                <a:gd name="connsiteY9" fmla="*/ 322587 h 336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6657" h="336657">
                  <a:moveTo>
                    <a:pt x="168337" y="0"/>
                  </a:moveTo>
                  <a:cubicBezTo>
                    <a:pt x="75523" y="0"/>
                    <a:pt x="0" y="75523"/>
                    <a:pt x="0" y="168337"/>
                  </a:cubicBezTo>
                  <a:cubicBezTo>
                    <a:pt x="0" y="261151"/>
                    <a:pt x="75523" y="336658"/>
                    <a:pt x="168337" y="336658"/>
                  </a:cubicBezTo>
                  <a:cubicBezTo>
                    <a:pt x="261151" y="336658"/>
                    <a:pt x="336658" y="261151"/>
                    <a:pt x="336658" y="168337"/>
                  </a:cubicBezTo>
                  <a:cubicBezTo>
                    <a:pt x="336658" y="75523"/>
                    <a:pt x="261151" y="0"/>
                    <a:pt x="168337" y="0"/>
                  </a:cubicBezTo>
                  <a:close/>
                  <a:moveTo>
                    <a:pt x="168337" y="322587"/>
                  </a:moveTo>
                  <a:cubicBezTo>
                    <a:pt x="83269" y="322587"/>
                    <a:pt x="14071" y="253389"/>
                    <a:pt x="14071" y="168337"/>
                  </a:cubicBezTo>
                  <a:cubicBezTo>
                    <a:pt x="14071" y="83269"/>
                    <a:pt x="83269" y="14071"/>
                    <a:pt x="168337" y="14071"/>
                  </a:cubicBezTo>
                  <a:cubicBezTo>
                    <a:pt x="253389" y="14071"/>
                    <a:pt x="322587" y="83269"/>
                    <a:pt x="322587" y="168321"/>
                  </a:cubicBezTo>
                  <a:cubicBezTo>
                    <a:pt x="322587" y="253389"/>
                    <a:pt x="253389" y="322587"/>
                    <a:pt x="168337" y="322587"/>
                  </a:cubicBezTo>
                  <a:close/>
                </a:path>
              </a:pathLst>
            </a:custGeom>
            <a:solidFill>
              <a:schemeClr val="tx2"/>
            </a:solidFill>
            <a:ln w="1650" cap="flat">
              <a:noFill/>
              <a:prstDash val="solid"/>
              <a:miter/>
            </a:ln>
          </p:spPr>
          <p:txBody>
            <a:bodyPr rtlCol="0" anchor="ctr"/>
            <a:lstStyle/>
            <a:p>
              <a:endParaRPr lang="en-GB" dirty="0"/>
            </a:p>
          </p:txBody>
        </p:sp>
      </p:grpSp>
      <p:grpSp>
        <p:nvGrpSpPr>
          <p:cNvPr id="77" name="Gruppieren 5">
            <a:extLst>
              <a:ext uri="{FF2B5EF4-FFF2-40B4-BE49-F238E27FC236}">
                <a16:creationId xmlns:a16="http://schemas.microsoft.com/office/drawing/2014/main" id="{570EFBCC-6582-4B83-8B7A-B68F6A7F5266}"/>
              </a:ext>
            </a:extLst>
          </p:cNvPr>
          <p:cNvGrpSpPr>
            <a:grpSpLocks noChangeAspect="1"/>
          </p:cNvGrpSpPr>
          <p:nvPr/>
        </p:nvGrpSpPr>
        <p:grpSpPr>
          <a:xfrm>
            <a:off x="2647524" y="2405921"/>
            <a:ext cx="474788" cy="421274"/>
            <a:chOff x="344929" y="1905338"/>
            <a:chExt cx="426799" cy="378694"/>
          </a:xfrm>
        </p:grpSpPr>
        <p:grpSp>
          <p:nvGrpSpPr>
            <p:cNvPr id="78" name="Grafik 4">
              <a:extLst>
                <a:ext uri="{FF2B5EF4-FFF2-40B4-BE49-F238E27FC236}">
                  <a16:creationId xmlns:a16="http://schemas.microsoft.com/office/drawing/2014/main" id="{CC3EA8E5-2554-4331-A3E9-372396E4C976}"/>
                </a:ext>
              </a:extLst>
            </p:cNvPr>
            <p:cNvGrpSpPr/>
            <p:nvPr/>
          </p:nvGrpSpPr>
          <p:grpSpPr>
            <a:xfrm>
              <a:off x="483789" y="2018644"/>
              <a:ext cx="150610" cy="246879"/>
              <a:chOff x="483789" y="2018644"/>
              <a:chExt cx="150610" cy="246879"/>
            </a:xfrm>
            <a:solidFill>
              <a:schemeClr val="accent1"/>
            </a:solidFill>
          </p:grpSpPr>
          <p:sp>
            <p:nvSpPr>
              <p:cNvPr id="87" name="Freihandform: Form 263">
                <a:extLst>
                  <a:ext uri="{FF2B5EF4-FFF2-40B4-BE49-F238E27FC236}">
                    <a16:creationId xmlns:a16="http://schemas.microsoft.com/office/drawing/2014/main" id="{A785510C-1BE5-46A7-9D1B-92A24CED7F42}"/>
                  </a:ext>
                </a:extLst>
              </p:cNvPr>
              <p:cNvSpPr/>
              <p:nvPr/>
            </p:nvSpPr>
            <p:spPr>
              <a:xfrm>
                <a:off x="483789" y="2018644"/>
                <a:ext cx="121985" cy="246879"/>
              </a:xfrm>
              <a:custGeom>
                <a:avLst/>
                <a:gdLst>
                  <a:gd name="connsiteX0" fmla="*/ 104876 w 121985"/>
                  <a:gd name="connsiteY0" fmla="*/ 246879 h 246879"/>
                  <a:gd name="connsiteX1" fmla="*/ 100076 w 121985"/>
                  <a:gd name="connsiteY1" fmla="*/ 242278 h 246879"/>
                  <a:gd name="connsiteX2" fmla="*/ 63971 w 121985"/>
                  <a:gd name="connsiteY2" fmla="*/ 213815 h 246879"/>
                  <a:gd name="connsiteX3" fmla="*/ 36517 w 121985"/>
                  <a:gd name="connsiteY3" fmla="*/ 185728 h 246879"/>
                  <a:gd name="connsiteX4" fmla="*/ 68337 w 121985"/>
                  <a:gd name="connsiteY4" fmla="*/ 148703 h 246879"/>
                  <a:gd name="connsiteX5" fmla="*/ 76995 w 121985"/>
                  <a:gd name="connsiteY5" fmla="*/ 143851 h 246879"/>
                  <a:gd name="connsiteX6" fmla="*/ 81376 w 121985"/>
                  <a:gd name="connsiteY6" fmla="*/ 141304 h 246879"/>
                  <a:gd name="connsiteX7" fmla="*/ 112371 w 121985"/>
                  <a:gd name="connsiteY7" fmla="*/ 105391 h 246879"/>
                  <a:gd name="connsiteX8" fmla="*/ 73947 w 121985"/>
                  <a:gd name="connsiteY8" fmla="*/ 76589 h 246879"/>
                  <a:gd name="connsiteX9" fmla="*/ 0 w 121985"/>
                  <a:gd name="connsiteY9" fmla="*/ 27336 h 246879"/>
                  <a:gd name="connsiteX10" fmla="*/ 8930 w 121985"/>
                  <a:gd name="connsiteY10" fmla="*/ 6935 h 246879"/>
                  <a:gd name="connsiteX11" fmla="*/ 48172 w 121985"/>
                  <a:gd name="connsiteY11" fmla="*/ 1486 h 246879"/>
                  <a:gd name="connsiteX12" fmla="*/ 51816 w 121985"/>
                  <a:gd name="connsiteY12" fmla="*/ 7222 h 246879"/>
                  <a:gd name="connsiteX13" fmla="*/ 46081 w 121985"/>
                  <a:gd name="connsiteY13" fmla="*/ 10873 h 246879"/>
                  <a:gd name="connsiteX14" fmla="*/ 14938 w 121985"/>
                  <a:gd name="connsiteY14" fmla="*/ 14451 h 246879"/>
                  <a:gd name="connsiteX15" fmla="*/ 9615 w 121985"/>
                  <a:gd name="connsiteY15" fmla="*/ 27336 h 246879"/>
                  <a:gd name="connsiteX16" fmla="*/ 76089 w 121985"/>
                  <a:gd name="connsiteY16" fmla="*/ 67224 h 246879"/>
                  <a:gd name="connsiteX17" fmla="*/ 121986 w 121985"/>
                  <a:gd name="connsiteY17" fmla="*/ 105391 h 246879"/>
                  <a:gd name="connsiteX18" fmla="*/ 86183 w 121985"/>
                  <a:gd name="connsiteY18" fmla="*/ 149631 h 246879"/>
                  <a:gd name="connsiteX19" fmla="*/ 81869 w 121985"/>
                  <a:gd name="connsiteY19" fmla="*/ 152134 h 246879"/>
                  <a:gd name="connsiteX20" fmla="*/ 72946 w 121985"/>
                  <a:gd name="connsiteY20" fmla="*/ 157126 h 246879"/>
                  <a:gd name="connsiteX21" fmla="*/ 46140 w 121985"/>
                  <a:gd name="connsiteY21" fmla="*/ 185713 h 246879"/>
                  <a:gd name="connsiteX22" fmla="*/ 65348 w 121985"/>
                  <a:gd name="connsiteY22" fmla="*/ 204281 h 246879"/>
                  <a:gd name="connsiteX23" fmla="*/ 109684 w 121985"/>
                  <a:gd name="connsiteY23" fmla="*/ 241851 h 246879"/>
                  <a:gd name="connsiteX24" fmla="*/ 105082 w 121985"/>
                  <a:gd name="connsiteY24" fmla="*/ 246857 h 246879"/>
                  <a:gd name="connsiteX25" fmla="*/ 104876 w 121985"/>
                  <a:gd name="connsiteY25" fmla="*/ 246879 h 246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1985" h="246879">
                    <a:moveTo>
                      <a:pt x="104876" y="246879"/>
                    </a:moveTo>
                    <a:cubicBezTo>
                      <a:pt x="102314" y="246879"/>
                      <a:pt x="100186" y="244855"/>
                      <a:pt x="100076" y="242278"/>
                    </a:cubicBezTo>
                    <a:cubicBezTo>
                      <a:pt x="99111" y="219087"/>
                      <a:pt x="64324" y="213867"/>
                      <a:pt x="63971" y="213815"/>
                    </a:cubicBezTo>
                    <a:cubicBezTo>
                      <a:pt x="52744" y="212181"/>
                      <a:pt x="36517" y="201240"/>
                      <a:pt x="36517" y="185728"/>
                    </a:cubicBezTo>
                    <a:cubicBezTo>
                      <a:pt x="36517" y="166085"/>
                      <a:pt x="52685" y="157251"/>
                      <a:pt x="68337" y="148703"/>
                    </a:cubicBezTo>
                    <a:cubicBezTo>
                      <a:pt x="71216" y="147128"/>
                      <a:pt x="74131" y="145537"/>
                      <a:pt x="76995" y="143851"/>
                    </a:cubicBezTo>
                    <a:lnTo>
                      <a:pt x="81376" y="141304"/>
                    </a:lnTo>
                    <a:cubicBezTo>
                      <a:pt x="97315" y="132094"/>
                      <a:pt x="112371" y="123399"/>
                      <a:pt x="112371" y="105391"/>
                    </a:cubicBezTo>
                    <a:cubicBezTo>
                      <a:pt x="112371" y="89915"/>
                      <a:pt x="84637" y="79358"/>
                      <a:pt x="73947" y="76589"/>
                    </a:cubicBezTo>
                    <a:cubicBezTo>
                      <a:pt x="66614" y="75139"/>
                      <a:pt x="0" y="60900"/>
                      <a:pt x="0" y="27336"/>
                    </a:cubicBezTo>
                    <a:cubicBezTo>
                      <a:pt x="0" y="18552"/>
                      <a:pt x="3004" y="11691"/>
                      <a:pt x="8930" y="6935"/>
                    </a:cubicBezTo>
                    <a:cubicBezTo>
                      <a:pt x="22639" y="-4050"/>
                      <a:pt x="47126" y="1244"/>
                      <a:pt x="48172" y="1486"/>
                    </a:cubicBezTo>
                    <a:cubicBezTo>
                      <a:pt x="50756" y="2061"/>
                      <a:pt x="52390" y="4630"/>
                      <a:pt x="51816" y="7222"/>
                    </a:cubicBezTo>
                    <a:cubicBezTo>
                      <a:pt x="51242" y="9806"/>
                      <a:pt x="48680" y="11433"/>
                      <a:pt x="46081" y="10873"/>
                    </a:cubicBezTo>
                    <a:cubicBezTo>
                      <a:pt x="40264" y="9600"/>
                      <a:pt x="23309" y="7730"/>
                      <a:pt x="14938" y="14451"/>
                    </a:cubicBezTo>
                    <a:cubicBezTo>
                      <a:pt x="11353" y="17323"/>
                      <a:pt x="9615" y="21541"/>
                      <a:pt x="9615" y="27336"/>
                    </a:cubicBezTo>
                    <a:cubicBezTo>
                      <a:pt x="9615" y="49194"/>
                      <a:pt x="57595" y="63543"/>
                      <a:pt x="76089" y="67224"/>
                    </a:cubicBezTo>
                    <a:cubicBezTo>
                      <a:pt x="78217" y="67762"/>
                      <a:pt x="121986" y="79380"/>
                      <a:pt x="121986" y="105391"/>
                    </a:cubicBezTo>
                    <a:cubicBezTo>
                      <a:pt x="121986" y="128943"/>
                      <a:pt x="102969" y="139935"/>
                      <a:pt x="86183" y="149631"/>
                    </a:cubicBezTo>
                    <a:lnTo>
                      <a:pt x="81869" y="152134"/>
                    </a:lnTo>
                    <a:cubicBezTo>
                      <a:pt x="78917" y="153864"/>
                      <a:pt x="75913" y="155506"/>
                      <a:pt x="72946" y="157126"/>
                    </a:cubicBezTo>
                    <a:cubicBezTo>
                      <a:pt x="58560" y="164981"/>
                      <a:pt x="46140" y="171769"/>
                      <a:pt x="46140" y="185713"/>
                    </a:cubicBezTo>
                    <a:cubicBezTo>
                      <a:pt x="46140" y="196065"/>
                      <a:pt x="58648" y="203309"/>
                      <a:pt x="65348" y="204281"/>
                    </a:cubicBezTo>
                    <a:cubicBezTo>
                      <a:pt x="67093" y="204531"/>
                      <a:pt x="108395" y="210767"/>
                      <a:pt x="109684" y="241851"/>
                    </a:cubicBezTo>
                    <a:cubicBezTo>
                      <a:pt x="109794" y="244509"/>
                      <a:pt x="107733" y="246747"/>
                      <a:pt x="105082" y="246857"/>
                    </a:cubicBezTo>
                    <a:cubicBezTo>
                      <a:pt x="105009" y="246879"/>
                      <a:pt x="104942" y="246879"/>
                      <a:pt x="104876" y="246879"/>
                    </a:cubicBezTo>
                    <a:close/>
                  </a:path>
                </a:pathLst>
              </a:custGeom>
              <a:solidFill>
                <a:schemeClr val="accent1"/>
              </a:solidFill>
              <a:ln w="735" cap="flat">
                <a:noFill/>
                <a:prstDash val="solid"/>
                <a:miter/>
              </a:ln>
            </p:spPr>
            <p:txBody>
              <a:bodyPr rtlCol="0" anchor="ctr"/>
              <a:lstStyle/>
              <a:p>
                <a:endParaRPr lang="en-GB" dirty="0"/>
              </a:p>
            </p:txBody>
          </p:sp>
          <p:sp>
            <p:nvSpPr>
              <p:cNvPr id="88" name="Freihandform: Form 264">
                <a:extLst>
                  <a:ext uri="{FF2B5EF4-FFF2-40B4-BE49-F238E27FC236}">
                    <a16:creationId xmlns:a16="http://schemas.microsoft.com/office/drawing/2014/main" id="{848A9217-0A65-4E79-B10D-CFD5F7A9797E}"/>
                  </a:ext>
                </a:extLst>
              </p:cNvPr>
              <p:cNvSpPr/>
              <p:nvPr/>
            </p:nvSpPr>
            <p:spPr>
              <a:xfrm>
                <a:off x="524712" y="2234799"/>
                <a:ext cx="20974" cy="30724"/>
              </a:xfrm>
              <a:custGeom>
                <a:avLst/>
                <a:gdLst>
                  <a:gd name="connsiteX0" fmla="*/ 4812 w 20974"/>
                  <a:gd name="connsiteY0" fmla="*/ 30725 h 30724"/>
                  <a:gd name="connsiteX1" fmla="*/ 4606 w 20974"/>
                  <a:gd name="connsiteY1" fmla="*/ 30717 h 30724"/>
                  <a:gd name="connsiteX2" fmla="*/ 4 w 20974"/>
                  <a:gd name="connsiteY2" fmla="*/ 25711 h 30724"/>
                  <a:gd name="connsiteX3" fmla="*/ 13168 w 20974"/>
                  <a:gd name="connsiteY3" fmla="*/ 1047 h 30724"/>
                  <a:gd name="connsiteX4" fmla="*/ 19927 w 20974"/>
                  <a:gd name="connsiteY4" fmla="*/ 1813 h 30724"/>
                  <a:gd name="connsiteX5" fmla="*/ 19168 w 20974"/>
                  <a:gd name="connsiteY5" fmla="*/ 8564 h 30724"/>
                  <a:gd name="connsiteX6" fmla="*/ 9605 w 20974"/>
                  <a:gd name="connsiteY6" fmla="*/ 26108 h 30724"/>
                  <a:gd name="connsiteX7" fmla="*/ 4812 w 20974"/>
                  <a:gd name="connsiteY7" fmla="*/ 30725 h 30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74" h="30724">
                    <a:moveTo>
                      <a:pt x="4812" y="30725"/>
                    </a:moveTo>
                    <a:cubicBezTo>
                      <a:pt x="4738" y="30725"/>
                      <a:pt x="4672" y="30725"/>
                      <a:pt x="4606" y="30717"/>
                    </a:cubicBezTo>
                    <a:cubicBezTo>
                      <a:pt x="1955" y="30607"/>
                      <a:pt x="-106" y="28369"/>
                      <a:pt x="4" y="25711"/>
                    </a:cubicBezTo>
                    <a:cubicBezTo>
                      <a:pt x="409" y="15993"/>
                      <a:pt x="4841" y="7703"/>
                      <a:pt x="13168" y="1047"/>
                    </a:cubicBezTo>
                    <a:cubicBezTo>
                      <a:pt x="15244" y="-602"/>
                      <a:pt x="18263" y="-271"/>
                      <a:pt x="19927" y="1813"/>
                    </a:cubicBezTo>
                    <a:cubicBezTo>
                      <a:pt x="21576" y="3889"/>
                      <a:pt x="21244" y="6907"/>
                      <a:pt x="19168" y="8564"/>
                    </a:cubicBezTo>
                    <a:cubicBezTo>
                      <a:pt x="13021" y="13467"/>
                      <a:pt x="9892" y="19203"/>
                      <a:pt x="9605" y="26108"/>
                    </a:cubicBezTo>
                    <a:cubicBezTo>
                      <a:pt x="9502" y="28707"/>
                      <a:pt x="7374" y="30725"/>
                      <a:pt x="4812" y="30725"/>
                    </a:cubicBezTo>
                    <a:close/>
                  </a:path>
                </a:pathLst>
              </a:custGeom>
              <a:solidFill>
                <a:schemeClr val="accent1"/>
              </a:solidFill>
              <a:ln w="735" cap="flat">
                <a:noFill/>
                <a:prstDash val="solid"/>
                <a:miter/>
              </a:ln>
            </p:spPr>
            <p:txBody>
              <a:bodyPr rtlCol="0" anchor="ctr"/>
              <a:lstStyle/>
              <a:p>
                <a:endParaRPr lang="en-GB" dirty="0"/>
              </a:p>
            </p:txBody>
          </p:sp>
          <p:sp>
            <p:nvSpPr>
              <p:cNvPr id="89" name="Freihandform: Form 265">
                <a:extLst>
                  <a:ext uri="{FF2B5EF4-FFF2-40B4-BE49-F238E27FC236}">
                    <a16:creationId xmlns:a16="http://schemas.microsoft.com/office/drawing/2014/main" id="{9A7612A5-65AD-4F0D-B15F-3A1A11ABBCBE}"/>
                  </a:ext>
                </a:extLst>
              </p:cNvPr>
              <p:cNvSpPr/>
              <p:nvPr/>
            </p:nvSpPr>
            <p:spPr>
              <a:xfrm>
                <a:off x="573235" y="2175175"/>
                <a:ext cx="24647" cy="53346"/>
              </a:xfrm>
              <a:custGeom>
                <a:avLst/>
                <a:gdLst>
                  <a:gd name="connsiteX0" fmla="*/ 9562 w 24647"/>
                  <a:gd name="connsiteY0" fmla="*/ 53346 h 53346"/>
                  <a:gd name="connsiteX1" fmla="*/ 5572 w 24647"/>
                  <a:gd name="connsiteY1" fmla="*/ 51226 h 53346"/>
                  <a:gd name="connsiteX2" fmla="*/ 6868 w 24647"/>
                  <a:gd name="connsiteY2" fmla="*/ 44548 h 53346"/>
                  <a:gd name="connsiteX3" fmla="*/ 15033 w 24647"/>
                  <a:gd name="connsiteY3" fmla="*/ 29198 h 53346"/>
                  <a:gd name="connsiteX4" fmla="*/ 2082 w 24647"/>
                  <a:gd name="connsiteY4" fmla="*/ 8767 h 53346"/>
                  <a:gd name="connsiteX5" fmla="*/ 845 w 24647"/>
                  <a:gd name="connsiteY5" fmla="*/ 2075 h 53346"/>
                  <a:gd name="connsiteX6" fmla="*/ 7538 w 24647"/>
                  <a:gd name="connsiteY6" fmla="*/ 838 h 53346"/>
                  <a:gd name="connsiteX7" fmla="*/ 24648 w 24647"/>
                  <a:gd name="connsiteY7" fmla="*/ 29190 h 53346"/>
                  <a:gd name="connsiteX8" fmla="*/ 12250 w 24647"/>
                  <a:gd name="connsiteY8" fmla="*/ 52514 h 53346"/>
                  <a:gd name="connsiteX9" fmla="*/ 9562 w 24647"/>
                  <a:gd name="connsiteY9" fmla="*/ 53346 h 5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647" h="53346">
                    <a:moveTo>
                      <a:pt x="9562" y="53346"/>
                    </a:moveTo>
                    <a:cubicBezTo>
                      <a:pt x="8016" y="53346"/>
                      <a:pt x="6500" y="52603"/>
                      <a:pt x="5572" y="51226"/>
                    </a:cubicBezTo>
                    <a:cubicBezTo>
                      <a:pt x="4092" y="49032"/>
                      <a:pt x="4666" y="46035"/>
                      <a:pt x="6868" y="44548"/>
                    </a:cubicBezTo>
                    <a:cubicBezTo>
                      <a:pt x="11977" y="41095"/>
                      <a:pt x="15033" y="35353"/>
                      <a:pt x="15033" y="29198"/>
                    </a:cubicBezTo>
                    <a:cubicBezTo>
                      <a:pt x="15033" y="21121"/>
                      <a:pt x="11160" y="15011"/>
                      <a:pt x="2082" y="8767"/>
                    </a:cubicBezTo>
                    <a:cubicBezTo>
                      <a:pt x="-104" y="7258"/>
                      <a:pt x="-657" y="4269"/>
                      <a:pt x="845" y="2075"/>
                    </a:cubicBezTo>
                    <a:cubicBezTo>
                      <a:pt x="2355" y="-97"/>
                      <a:pt x="5344" y="-656"/>
                      <a:pt x="7538" y="838"/>
                    </a:cubicBezTo>
                    <a:cubicBezTo>
                      <a:pt x="14878" y="5896"/>
                      <a:pt x="24648" y="14333"/>
                      <a:pt x="24648" y="29190"/>
                    </a:cubicBezTo>
                    <a:cubicBezTo>
                      <a:pt x="24648" y="38548"/>
                      <a:pt x="20009" y="47265"/>
                      <a:pt x="12250" y="52514"/>
                    </a:cubicBezTo>
                    <a:cubicBezTo>
                      <a:pt x="11418" y="53081"/>
                      <a:pt x="10483" y="53346"/>
                      <a:pt x="9562" y="53346"/>
                    </a:cubicBezTo>
                    <a:close/>
                  </a:path>
                </a:pathLst>
              </a:custGeom>
              <a:solidFill>
                <a:schemeClr val="accent1"/>
              </a:solidFill>
              <a:ln w="735" cap="flat">
                <a:noFill/>
                <a:prstDash val="solid"/>
                <a:miter/>
              </a:ln>
            </p:spPr>
            <p:txBody>
              <a:bodyPr rtlCol="0" anchor="ctr"/>
              <a:lstStyle/>
              <a:p>
                <a:endParaRPr lang="en-GB" dirty="0"/>
              </a:p>
            </p:txBody>
          </p:sp>
          <p:sp>
            <p:nvSpPr>
              <p:cNvPr id="90" name="Freihandform: Form 266">
                <a:extLst>
                  <a:ext uri="{FF2B5EF4-FFF2-40B4-BE49-F238E27FC236}">
                    <a16:creationId xmlns:a16="http://schemas.microsoft.com/office/drawing/2014/main" id="{4FB33832-1A9C-4509-8EAB-20B3774F2925}"/>
                  </a:ext>
                </a:extLst>
              </p:cNvPr>
              <p:cNvSpPr/>
              <p:nvPr/>
            </p:nvSpPr>
            <p:spPr>
              <a:xfrm>
                <a:off x="512421" y="2098722"/>
                <a:ext cx="25873" cy="59355"/>
              </a:xfrm>
              <a:custGeom>
                <a:avLst/>
                <a:gdLst>
                  <a:gd name="connsiteX0" fmla="*/ 21064 w 25873"/>
                  <a:gd name="connsiteY0" fmla="*/ 59356 h 59355"/>
                  <a:gd name="connsiteX1" fmla="*/ 18155 w 25873"/>
                  <a:gd name="connsiteY1" fmla="*/ 58377 h 59355"/>
                  <a:gd name="connsiteX2" fmla="*/ 0 w 25873"/>
                  <a:gd name="connsiteY2" fmla="*/ 25320 h 59355"/>
                  <a:gd name="connsiteX3" fmla="*/ 15328 w 25873"/>
                  <a:gd name="connsiteY3" fmla="*/ 885 h 59355"/>
                  <a:gd name="connsiteX4" fmla="*/ 22028 w 25873"/>
                  <a:gd name="connsiteY4" fmla="*/ 2033 h 59355"/>
                  <a:gd name="connsiteX5" fmla="*/ 20879 w 25873"/>
                  <a:gd name="connsiteY5" fmla="*/ 8733 h 59355"/>
                  <a:gd name="connsiteX6" fmla="*/ 9615 w 25873"/>
                  <a:gd name="connsiteY6" fmla="*/ 25320 h 59355"/>
                  <a:gd name="connsiteX7" fmla="*/ 23979 w 25873"/>
                  <a:gd name="connsiteY7" fmla="*/ 50727 h 59355"/>
                  <a:gd name="connsiteX8" fmla="*/ 24892 w 25873"/>
                  <a:gd name="connsiteY8" fmla="*/ 57464 h 59355"/>
                  <a:gd name="connsiteX9" fmla="*/ 21064 w 25873"/>
                  <a:gd name="connsiteY9" fmla="*/ 59356 h 59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873" h="59355">
                    <a:moveTo>
                      <a:pt x="21064" y="59356"/>
                    </a:moveTo>
                    <a:cubicBezTo>
                      <a:pt x="20048" y="59356"/>
                      <a:pt x="19024" y="59039"/>
                      <a:pt x="18155" y="58377"/>
                    </a:cubicBezTo>
                    <a:cubicBezTo>
                      <a:pt x="10366" y="52450"/>
                      <a:pt x="0" y="42577"/>
                      <a:pt x="0" y="25320"/>
                    </a:cubicBezTo>
                    <a:cubicBezTo>
                      <a:pt x="0" y="16294"/>
                      <a:pt x="5161" y="8078"/>
                      <a:pt x="15328" y="885"/>
                    </a:cubicBezTo>
                    <a:cubicBezTo>
                      <a:pt x="17500" y="-654"/>
                      <a:pt x="20504" y="-131"/>
                      <a:pt x="22028" y="2033"/>
                    </a:cubicBezTo>
                    <a:cubicBezTo>
                      <a:pt x="23567" y="4205"/>
                      <a:pt x="23044" y="7201"/>
                      <a:pt x="20879" y="8733"/>
                    </a:cubicBezTo>
                    <a:cubicBezTo>
                      <a:pt x="13399" y="14012"/>
                      <a:pt x="9615" y="19592"/>
                      <a:pt x="9615" y="25320"/>
                    </a:cubicBezTo>
                    <a:cubicBezTo>
                      <a:pt x="9615" y="35340"/>
                      <a:pt x="14047" y="43174"/>
                      <a:pt x="23979" y="50727"/>
                    </a:cubicBezTo>
                    <a:cubicBezTo>
                      <a:pt x="26092" y="52332"/>
                      <a:pt x="26497" y="55351"/>
                      <a:pt x="24892" y="57464"/>
                    </a:cubicBezTo>
                    <a:cubicBezTo>
                      <a:pt x="23950" y="58708"/>
                      <a:pt x="22514" y="59356"/>
                      <a:pt x="21064" y="59356"/>
                    </a:cubicBezTo>
                    <a:close/>
                  </a:path>
                </a:pathLst>
              </a:custGeom>
              <a:solidFill>
                <a:schemeClr val="accent1"/>
              </a:solidFill>
              <a:ln w="735" cap="flat">
                <a:noFill/>
                <a:prstDash val="solid"/>
                <a:miter/>
              </a:ln>
            </p:spPr>
            <p:txBody>
              <a:bodyPr rtlCol="0" anchor="ctr"/>
              <a:lstStyle/>
              <a:p>
                <a:endParaRPr lang="en-GB" dirty="0"/>
              </a:p>
            </p:txBody>
          </p:sp>
          <p:sp>
            <p:nvSpPr>
              <p:cNvPr id="91" name="Freihandform: Form 267">
                <a:extLst>
                  <a:ext uri="{FF2B5EF4-FFF2-40B4-BE49-F238E27FC236}">
                    <a16:creationId xmlns:a16="http://schemas.microsoft.com/office/drawing/2014/main" id="{471873B1-824F-476A-84E4-8873C5961227}"/>
                  </a:ext>
                </a:extLst>
              </p:cNvPr>
              <p:cNvSpPr/>
              <p:nvPr/>
            </p:nvSpPr>
            <p:spPr>
              <a:xfrm>
                <a:off x="580185" y="2018659"/>
                <a:ext cx="54214" cy="69514"/>
              </a:xfrm>
              <a:custGeom>
                <a:avLst/>
                <a:gdLst>
                  <a:gd name="connsiteX0" fmla="*/ 4806 w 54214"/>
                  <a:gd name="connsiteY0" fmla="*/ 69514 h 69514"/>
                  <a:gd name="connsiteX1" fmla="*/ 271 w 54214"/>
                  <a:gd name="connsiteY1" fmla="*/ 66297 h 69514"/>
                  <a:gd name="connsiteX2" fmla="*/ 3216 w 54214"/>
                  <a:gd name="connsiteY2" fmla="*/ 60179 h 69514"/>
                  <a:gd name="connsiteX3" fmla="*/ 44599 w 54214"/>
                  <a:gd name="connsiteY3" fmla="*/ 27336 h 69514"/>
                  <a:gd name="connsiteX4" fmla="*/ 39269 w 54214"/>
                  <a:gd name="connsiteY4" fmla="*/ 14437 h 69514"/>
                  <a:gd name="connsiteX5" fmla="*/ 8134 w 54214"/>
                  <a:gd name="connsiteY5" fmla="*/ 10866 h 69514"/>
                  <a:gd name="connsiteX6" fmla="*/ 2399 w 54214"/>
                  <a:gd name="connsiteY6" fmla="*/ 7222 h 69514"/>
                  <a:gd name="connsiteX7" fmla="*/ 6043 w 54214"/>
                  <a:gd name="connsiteY7" fmla="*/ 1486 h 69514"/>
                  <a:gd name="connsiteX8" fmla="*/ 45284 w 54214"/>
                  <a:gd name="connsiteY8" fmla="*/ 6935 h 69514"/>
                  <a:gd name="connsiteX9" fmla="*/ 54215 w 54214"/>
                  <a:gd name="connsiteY9" fmla="*/ 27336 h 69514"/>
                  <a:gd name="connsiteX10" fmla="*/ 6389 w 54214"/>
                  <a:gd name="connsiteY10" fmla="*/ 69242 h 69514"/>
                  <a:gd name="connsiteX11" fmla="*/ 4806 w 54214"/>
                  <a:gd name="connsiteY11" fmla="*/ 69514 h 69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14" h="69514">
                    <a:moveTo>
                      <a:pt x="4806" y="69514"/>
                    </a:moveTo>
                    <a:cubicBezTo>
                      <a:pt x="2818" y="69514"/>
                      <a:pt x="963" y="68277"/>
                      <a:pt x="271" y="66297"/>
                    </a:cubicBezTo>
                    <a:cubicBezTo>
                      <a:pt x="-605" y="63794"/>
                      <a:pt x="713" y="61047"/>
                      <a:pt x="3216" y="60179"/>
                    </a:cubicBezTo>
                    <a:cubicBezTo>
                      <a:pt x="18669" y="54767"/>
                      <a:pt x="44599" y="43304"/>
                      <a:pt x="44599" y="27336"/>
                    </a:cubicBezTo>
                    <a:cubicBezTo>
                      <a:pt x="44599" y="21534"/>
                      <a:pt x="42855" y="17315"/>
                      <a:pt x="39269" y="14437"/>
                    </a:cubicBezTo>
                    <a:cubicBezTo>
                      <a:pt x="30839" y="7678"/>
                      <a:pt x="13943" y="9570"/>
                      <a:pt x="8134" y="10866"/>
                    </a:cubicBezTo>
                    <a:cubicBezTo>
                      <a:pt x="5550" y="11455"/>
                      <a:pt x="2980" y="9821"/>
                      <a:pt x="2399" y="7222"/>
                    </a:cubicBezTo>
                    <a:cubicBezTo>
                      <a:pt x="1817" y="4630"/>
                      <a:pt x="3452" y="2061"/>
                      <a:pt x="6043" y="1486"/>
                    </a:cubicBezTo>
                    <a:cubicBezTo>
                      <a:pt x="7081" y="1244"/>
                      <a:pt x="31576" y="-4050"/>
                      <a:pt x="45284" y="6935"/>
                    </a:cubicBezTo>
                    <a:cubicBezTo>
                      <a:pt x="51211" y="11691"/>
                      <a:pt x="54215" y="18552"/>
                      <a:pt x="54215" y="27336"/>
                    </a:cubicBezTo>
                    <a:cubicBezTo>
                      <a:pt x="54215" y="43798"/>
                      <a:pt x="37679" y="58294"/>
                      <a:pt x="6389" y="69242"/>
                    </a:cubicBezTo>
                    <a:cubicBezTo>
                      <a:pt x="5866" y="69426"/>
                      <a:pt x="5329" y="69514"/>
                      <a:pt x="4806" y="69514"/>
                    </a:cubicBezTo>
                    <a:close/>
                  </a:path>
                </a:pathLst>
              </a:custGeom>
              <a:solidFill>
                <a:schemeClr val="accent1"/>
              </a:solidFill>
              <a:ln w="735" cap="flat">
                <a:noFill/>
                <a:prstDash val="solid"/>
                <a:miter/>
              </a:ln>
            </p:spPr>
            <p:txBody>
              <a:bodyPr rtlCol="0" anchor="ctr"/>
              <a:lstStyle/>
              <a:p>
                <a:endParaRPr lang="en-GB" dirty="0"/>
              </a:p>
            </p:txBody>
          </p:sp>
        </p:grpSp>
        <p:grpSp>
          <p:nvGrpSpPr>
            <p:cNvPr id="79" name="Gruppieren 4">
              <a:extLst>
                <a:ext uri="{FF2B5EF4-FFF2-40B4-BE49-F238E27FC236}">
                  <a16:creationId xmlns:a16="http://schemas.microsoft.com/office/drawing/2014/main" id="{49B68149-1864-4D25-8B91-D87371396EE2}"/>
                </a:ext>
              </a:extLst>
            </p:cNvPr>
            <p:cNvGrpSpPr/>
            <p:nvPr/>
          </p:nvGrpSpPr>
          <p:grpSpPr>
            <a:xfrm>
              <a:off x="344929" y="1905338"/>
              <a:ext cx="426799" cy="378694"/>
              <a:chOff x="344929" y="1905338"/>
              <a:chExt cx="426799" cy="378694"/>
            </a:xfrm>
          </p:grpSpPr>
          <p:sp>
            <p:nvSpPr>
              <p:cNvPr id="80" name="Freihandform: Form 268">
                <a:extLst>
                  <a:ext uri="{FF2B5EF4-FFF2-40B4-BE49-F238E27FC236}">
                    <a16:creationId xmlns:a16="http://schemas.microsoft.com/office/drawing/2014/main" id="{FE7E8E83-B0E4-45DC-8C43-53E59163832B}"/>
                  </a:ext>
                </a:extLst>
              </p:cNvPr>
              <p:cNvSpPr/>
              <p:nvPr/>
            </p:nvSpPr>
            <p:spPr>
              <a:xfrm>
                <a:off x="553517" y="2105246"/>
                <a:ext cx="9615" cy="43408"/>
              </a:xfrm>
              <a:custGeom>
                <a:avLst/>
                <a:gdLst>
                  <a:gd name="connsiteX0" fmla="*/ 4808 w 9615"/>
                  <a:gd name="connsiteY0" fmla="*/ 43408 h 43408"/>
                  <a:gd name="connsiteX1" fmla="*/ 0 w 9615"/>
                  <a:gd name="connsiteY1" fmla="*/ 38601 h 43408"/>
                  <a:gd name="connsiteX2" fmla="*/ 0 w 9615"/>
                  <a:gd name="connsiteY2" fmla="*/ 4808 h 43408"/>
                  <a:gd name="connsiteX3" fmla="*/ 4808 w 9615"/>
                  <a:gd name="connsiteY3" fmla="*/ 0 h 43408"/>
                  <a:gd name="connsiteX4" fmla="*/ 9615 w 9615"/>
                  <a:gd name="connsiteY4" fmla="*/ 4808 h 43408"/>
                  <a:gd name="connsiteX5" fmla="*/ 9615 w 9615"/>
                  <a:gd name="connsiteY5" fmla="*/ 38601 h 43408"/>
                  <a:gd name="connsiteX6" fmla="*/ 4808 w 9615"/>
                  <a:gd name="connsiteY6" fmla="*/ 43408 h 43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15" h="43408">
                    <a:moveTo>
                      <a:pt x="4808" y="43408"/>
                    </a:moveTo>
                    <a:cubicBezTo>
                      <a:pt x="2150" y="43408"/>
                      <a:pt x="0" y="41258"/>
                      <a:pt x="0" y="38601"/>
                    </a:cubicBezTo>
                    <a:lnTo>
                      <a:pt x="0" y="4808"/>
                    </a:lnTo>
                    <a:cubicBezTo>
                      <a:pt x="0" y="2150"/>
                      <a:pt x="2150" y="0"/>
                      <a:pt x="4808" y="0"/>
                    </a:cubicBezTo>
                    <a:cubicBezTo>
                      <a:pt x="7465" y="0"/>
                      <a:pt x="9615" y="2150"/>
                      <a:pt x="9615" y="4808"/>
                    </a:cubicBezTo>
                    <a:lnTo>
                      <a:pt x="9615" y="38601"/>
                    </a:lnTo>
                    <a:cubicBezTo>
                      <a:pt x="9615" y="41258"/>
                      <a:pt x="7465" y="43408"/>
                      <a:pt x="4808" y="43408"/>
                    </a:cubicBezTo>
                    <a:close/>
                  </a:path>
                </a:pathLst>
              </a:custGeom>
              <a:solidFill>
                <a:schemeClr val="tx2"/>
              </a:solidFill>
              <a:ln w="735" cap="flat">
                <a:noFill/>
                <a:prstDash val="solid"/>
                <a:miter/>
              </a:ln>
            </p:spPr>
            <p:txBody>
              <a:bodyPr rtlCol="0" anchor="ctr"/>
              <a:lstStyle/>
              <a:p>
                <a:endParaRPr lang="en-GB" dirty="0"/>
              </a:p>
            </p:txBody>
          </p:sp>
          <p:sp>
            <p:nvSpPr>
              <p:cNvPr id="81" name="Freihandform: Form 269">
                <a:extLst>
                  <a:ext uri="{FF2B5EF4-FFF2-40B4-BE49-F238E27FC236}">
                    <a16:creationId xmlns:a16="http://schemas.microsoft.com/office/drawing/2014/main" id="{C7068D92-611C-4B30-AFC4-B6C2CA483BF5}"/>
                  </a:ext>
                </a:extLst>
              </p:cNvPr>
              <p:cNvSpPr/>
              <p:nvPr/>
            </p:nvSpPr>
            <p:spPr>
              <a:xfrm>
                <a:off x="553517" y="1956013"/>
                <a:ext cx="9615" cy="118304"/>
              </a:xfrm>
              <a:custGeom>
                <a:avLst/>
                <a:gdLst>
                  <a:gd name="connsiteX0" fmla="*/ 4808 w 9615"/>
                  <a:gd name="connsiteY0" fmla="*/ 118305 h 118304"/>
                  <a:gd name="connsiteX1" fmla="*/ 0 w 9615"/>
                  <a:gd name="connsiteY1" fmla="*/ 113497 h 118304"/>
                  <a:gd name="connsiteX2" fmla="*/ 0 w 9615"/>
                  <a:gd name="connsiteY2" fmla="*/ 4808 h 118304"/>
                  <a:gd name="connsiteX3" fmla="*/ 4808 w 9615"/>
                  <a:gd name="connsiteY3" fmla="*/ 0 h 118304"/>
                  <a:gd name="connsiteX4" fmla="*/ 9615 w 9615"/>
                  <a:gd name="connsiteY4" fmla="*/ 4808 h 118304"/>
                  <a:gd name="connsiteX5" fmla="*/ 9615 w 9615"/>
                  <a:gd name="connsiteY5" fmla="*/ 113497 h 118304"/>
                  <a:gd name="connsiteX6" fmla="*/ 4808 w 9615"/>
                  <a:gd name="connsiteY6" fmla="*/ 118305 h 11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15" h="118304">
                    <a:moveTo>
                      <a:pt x="4808" y="118305"/>
                    </a:moveTo>
                    <a:cubicBezTo>
                      <a:pt x="2150" y="118305"/>
                      <a:pt x="0" y="116155"/>
                      <a:pt x="0" y="113497"/>
                    </a:cubicBezTo>
                    <a:lnTo>
                      <a:pt x="0" y="4808"/>
                    </a:lnTo>
                    <a:cubicBezTo>
                      <a:pt x="0" y="2150"/>
                      <a:pt x="2150" y="0"/>
                      <a:pt x="4808" y="0"/>
                    </a:cubicBezTo>
                    <a:cubicBezTo>
                      <a:pt x="7465" y="0"/>
                      <a:pt x="9615" y="2150"/>
                      <a:pt x="9615" y="4808"/>
                    </a:cubicBezTo>
                    <a:lnTo>
                      <a:pt x="9615" y="113497"/>
                    </a:lnTo>
                    <a:cubicBezTo>
                      <a:pt x="9615" y="116155"/>
                      <a:pt x="7465" y="118305"/>
                      <a:pt x="4808" y="118305"/>
                    </a:cubicBezTo>
                    <a:close/>
                  </a:path>
                </a:pathLst>
              </a:custGeom>
              <a:solidFill>
                <a:schemeClr val="tx2"/>
              </a:solidFill>
              <a:ln w="735" cap="flat">
                <a:noFill/>
                <a:prstDash val="solid"/>
                <a:miter/>
              </a:ln>
            </p:spPr>
            <p:txBody>
              <a:bodyPr rtlCol="0" anchor="ctr"/>
              <a:lstStyle/>
              <a:p>
                <a:endParaRPr lang="en-GB" dirty="0"/>
              </a:p>
            </p:txBody>
          </p:sp>
          <p:sp>
            <p:nvSpPr>
              <p:cNvPr id="82" name="Freihandform: Form 270">
                <a:extLst>
                  <a:ext uri="{FF2B5EF4-FFF2-40B4-BE49-F238E27FC236}">
                    <a16:creationId xmlns:a16="http://schemas.microsoft.com/office/drawing/2014/main" id="{0388876A-6D1E-40B1-B038-1247B5899B60}"/>
                  </a:ext>
                </a:extLst>
              </p:cNvPr>
              <p:cNvSpPr/>
              <p:nvPr/>
            </p:nvSpPr>
            <p:spPr>
              <a:xfrm>
                <a:off x="553517" y="2182367"/>
                <a:ext cx="9615" cy="37069"/>
              </a:xfrm>
              <a:custGeom>
                <a:avLst/>
                <a:gdLst>
                  <a:gd name="connsiteX0" fmla="*/ 4808 w 9615"/>
                  <a:gd name="connsiteY0" fmla="*/ 37069 h 37069"/>
                  <a:gd name="connsiteX1" fmla="*/ 0 w 9615"/>
                  <a:gd name="connsiteY1" fmla="*/ 32262 h 37069"/>
                  <a:gd name="connsiteX2" fmla="*/ 0 w 9615"/>
                  <a:gd name="connsiteY2" fmla="*/ 4808 h 37069"/>
                  <a:gd name="connsiteX3" fmla="*/ 4808 w 9615"/>
                  <a:gd name="connsiteY3" fmla="*/ 0 h 37069"/>
                  <a:gd name="connsiteX4" fmla="*/ 9615 w 9615"/>
                  <a:gd name="connsiteY4" fmla="*/ 4808 h 37069"/>
                  <a:gd name="connsiteX5" fmla="*/ 9615 w 9615"/>
                  <a:gd name="connsiteY5" fmla="*/ 32262 h 37069"/>
                  <a:gd name="connsiteX6" fmla="*/ 4808 w 9615"/>
                  <a:gd name="connsiteY6" fmla="*/ 37069 h 3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15" h="37069">
                    <a:moveTo>
                      <a:pt x="4808" y="37069"/>
                    </a:moveTo>
                    <a:cubicBezTo>
                      <a:pt x="2150" y="37069"/>
                      <a:pt x="0" y="34919"/>
                      <a:pt x="0" y="32262"/>
                    </a:cubicBezTo>
                    <a:lnTo>
                      <a:pt x="0" y="4808"/>
                    </a:lnTo>
                    <a:cubicBezTo>
                      <a:pt x="0" y="2150"/>
                      <a:pt x="2150" y="0"/>
                      <a:pt x="4808" y="0"/>
                    </a:cubicBezTo>
                    <a:cubicBezTo>
                      <a:pt x="7465" y="0"/>
                      <a:pt x="9615" y="2150"/>
                      <a:pt x="9615" y="4808"/>
                    </a:cubicBezTo>
                    <a:lnTo>
                      <a:pt x="9615" y="32262"/>
                    </a:lnTo>
                    <a:cubicBezTo>
                      <a:pt x="9615" y="34919"/>
                      <a:pt x="7465" y="37069"/>
                      <a:pt x="4808" y="37069"/>
                    </a:cubicBezTo>
                    <a:close/>
                  </a:path>
                </a:pathLst>
              </a:custGeom>
              <a:solidFill>
                <a:schemeClr val="tx2"/>
              </a:solidFill>
              <a:ln w="735" cap="flat">
                <a:noFill/>
                <a:prstDash val="solid"/>
                <a:miter/>
              </a:ln>
            </p:spPr>
            <p:txBody>
              <a:bodyPr rtlCol="0" anchor="ctr"/>
              <a:lstStyle/>
              <a:p>
                <a:endParaRPr lang="en-GB" dirty="0"/>
              </a:p>
            </p:txBody>
          </p:sp>
          <p:sp>
            <p:nvSpPr>
              <p:cNvPr id="83" name="Freihandform: Form 271">
                <a:extLst>
                  <a:ext uri="{FF2B5EF4-FFF2-40B4-BE49-F238E27FC236}">
                    <a16:creationId xmlns:a16="http://schemas.microsoft.com/office/drawing/2014/main" id="{7E349A8E-8ED7-4A01-88EA-DC758E213586}"/>
                  </a:ext>
                </a:extLst>
              </p:cNvPr>
              <p:cNvSpPr/>
              <p:nvPr/>
            </p:nvSpPr>
            <p:spPr>
              <a:xfrm>
                <a:off x="553517" y="2246963"/>
                <a:ext cx="9615" cy="37069"/>
              </a:xfrm>
              <a:custGeom>
                <a:avLst/>
                <a:gdLst>
                  <a:gd name="connsiteX0" fmla="*/ 4808 w 9615"/>
                  <a:gd name="connsiteY0" fmla="*/ 37069 h 37069"/>
                  <a:gd name="connsiteX1" fmla="*/ 0 w 9615"/>
                  <a:gd name="connsiteY1" fmla="*/ 32262 h 37069"/>
                  <a:gd name="connsiteX2" fmla="*/ 0 w 9615"/>
                  <a:gd name="connsiteY2" fmla="*/ 4808 h 37069"/>
                  <a:gd name="connsiteX3" fmla="*/ 4808 w 9615"/>
                  <a:gd name="connsiteY3" fmla="*/ 0 h 37069"/>
                  <a:gd name="connsiteX4" fmla="*/ 9615 w 9615"/>
                  <a:gd name="connsiteY4" fmla="*/ 4808 h 37069"/>
                  <a:gd name="connsiteX5" fmla="*/ 9615 w 9615"/>
                  <a:gd name="connsiteY5" fmla="*/ 32262 h 37069"/>
                  <a:gd name="connsiteX6" fmla="*/ 4808 w 9615"/>
                  <a:gd name="connsiteY6" fmla="*/ 37069 h 3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15" h="37069">
                    <a:moveTo>
                      <a:pt x="4808" y="37069"/>
                    </a:moveTo>
                    <a:cubicBezTo>
                      <a:pt x="2150" y="37069"/>
                      <a:pt x="0" y="34919"/>
                      <a:pt x="0" y="32262"/>
                    </a:cubicBezTo>
                    <a:lnTo>
                      <a:pt x="0" y="4808"/>
                    </a:lnTo>
                    <a:cubicBezTo>
                      <a:pt x="0" y="2150"/>
                      <a:pt x="2150" y="0"/>
                      <a:pt x="4808" y="0"/>
                    </a:cubicBezTo>
                    <a:cubicBezTo>
                      <a:pt x="7465" y="0"/>
                      <a:pt x="9615" y="2150"/>
                      <a:pt x="9615" y="4808"/>
                    </a:cubicBezTo>
                    <a:lnTo>
                      <a:pt x="9615" y="32262"/>
                    </a:lnTo>
                    <a:cubicBezTo>
                      <a:pt x="9615" y="34919"/>
                      <a:pt x="7465" y="37069"/>
                      <a:pt x="4808" y="37069"/>
                    </a:cubicBezTo>
                    <a:close/>
                  </a:path>
                </a:pathLst>
              </a:custGeom>
              <a:solidFill>
                <a:schemeClr val="tx2"/>
              </a:solidFill>
              <a:ln w="735" cap="flat">
                <a:noFill/>
                <a:prstDash val="solid"/>
                <a:miter/>
              </a:ln>
            </p:spPr>
            <p:txBody>
              <a:bodyPr rtlCol="0" anchor="ctr"/>
              <a:lstStyle/>
              <a:p>
                <a:endParaRPr lang="en-GB" dirty="0"/>
              </a:p>
            </p:txBody>
          </p:sp>
          <p:sp>
            <p:nvSpPr>
              <p:cNvPr id="84" name="Freihandform: Form 272">
                <a:extLst>
                  <a:ext uri="{FF2B5EF4-FFF2-40B4-BE49-F238E27FC236}">
                    <a16:creationId xmlns:a16="http://schemas.microsoft.com/office/drawing/2014/main" id="{866EE7EB-3904-4112-92B9-4947530CFA66}"/>
                  </a:ext>
                </a:extLst>
              </p:cNvPr>
              <p:cNvSpPr/>
              <p:nvPr/>
            </p:nvSpPr>
            <p:spPr>
              <a:xfrm>
                <a:off x="344929" y="1937644"/>
                <a:ext cx="218206" cy="100215"/>
              </a:xfrm>
              <a:custGeom>
                <a:avLst/>
                <a:gdLst>
                  <a:gd name="connsiteX0" fmla="*/ 100672 w 218206"/>
                  <a:gd name="connsiteY0" fmla="*/ 100216 h 100215"/>
                  <a:gd name="connsiteX1" fmla="*/ 65112 w 218206"/>
                  <a:gd name="connsiteY1" fmla="*/ 79734 h 100215"/>
                  <a:gd name="connsiteX2" fmla="*/ 2724 w 218206"/>
                  <a:gd name="connsiteY2" fmla="*/ 55939 h 100215"/>
                  <a:gd name="connsiteX3" fmla="*/ 0 w 218206"/>
                  <a:gd name="connsiteY3" fmla="*/ 50049 h 100215"/>
                  <a:gd name="connsiteX4" fmla="*/ 6435 w 218206"/>
                  <a:gd name="connsiteY4" fmla="*/ 49165 h 100215"/>
                  <a:gd name="connsiteX5" fmla="*/ 59325 w 218206"/>
                  <a:gd name="connsiteY5" fmla="*/ 31062 h 100215"/>
                  <a:gd name="connsiteX6" fmla="*/ 78040 w 218206"/>
                  <a:gd name="connsiteY6" fmla="*/ 20938 h 100215"/>
                  <a:gd name="connsiteX7" fmla="*/ 139170 w 218206"/>
                  <a:gd name="connsiteY7" fmla="*/ 0 h 100215"/>
                  <a:gd name="connsiteX8" fmla="*/ 176379 w 218206"/>
                  <a:gd name="connsiteY8" fmla="*/ 29523 h 100215"/>
                  <a:gd name="connsiteX9" fmla="*/ 213536 w 218206"/>
                  <a:gd name="connsiteY9" fmla="*/ 59738 h 100215"/>
                  <a:gd name="connsiteX10" fmla="*/ 218204 w 218206"/>
                  <a:gd name="connsiteY10" fmla="*/ 64678 h 100215"/>
                  <a:gd name="connsiteX11" fmla="*/ 213264 w 218206"/>
                  <a:gd name="connsiteY11" fmla="*/ 69346 h 100215"/>
                  <a:gd name="connsiteX12" fmla="*/ 168538 w 218206"/>
                  <a:gd name="connsiteY12" fmla="*/ 35081 h 100215"/>
                  <a:gd name="connsiteX13" fmla="*/ 139170 w 218206"/>
                  <a:gd name="connsiteY13" fmla="*/ 9608 h 100215"/>
                  <a:gd name="connsiteX14" fmla="*/ 82723 w 218206"/>
                  <a:gd name="connsiteY14" fmla="*/ 29324 h 100215"/>
                  <a:gd name="connsiteX15" fmla="*/ 63706 w 218206"/>
                  <a:gd name="connsiteY15" fmla="*/ 39617 h 100215"/>
                  <a:gd name="connsiteX16" fmla="*/ 14754 w 218206"/>
                  <a:gd name="connsiteY16" fmla="*/ 57382 h 100215"/>
                  <a:gd name="connsiteX17" fmla="*/ 66180 w 218206"/>
                  <a:gd name="connsiteY17" fmla="*/ 69780 h 100215"/>
                  <a:gd name="connsiteX18" fmla="*/ 69272 w 218206"/>
                  <a:gd name="connsiteY18" fmla="*/ 69139 h 100215"/>
                  <a:gd name="connsiteX19" fmla="*/ 71098 w 218206"/>
                  <a:gd name="connsiteY19" fmla="*/ 71731 h 100215"/>
                  <a:gd name="connsiteX20" fmla="*/ 100672 w 218206"/>
                  <a:gd name="connsiteY20" fmla="*/ 90586 h 100215"/>
                  <a:gd name="connsiteX21" fmla="*/ 120072 w 218206"/>
                  <a:gd name="connsiteY21" fmla="*/ 80080 h 100215"/>
                  <a:gd name="connsiteX22" fmla="*/ 143668 w 218206"/>
                  <a:gd name="connsiteY22" fmla="*/ 59723 h 100215"/>
                  <a:gd name="connsiteX23" fmla="*/ 148476 w 218206"/>
                  <a:gd name="connsiteY23" fmla="*/ 64531 h 100215"/>
                  <a:gd name="connsiteX24" fmla="*/ 143668 w 218206"/>
                  <a:gd name="connsiteY24" fmla="*/ 69338 h 100215"/>
                  <a:gd name="connsiteX25" fmla="*/ 128929 w 218206"/>
                  <a:gd name="connsiteY25" fmla="*/ 83812 h 100215"/>
                  <a:gd name="connsiteX26" fmla="*/ 100672 w 218206"/>
                  <a:gd name="connsiteY26" fmla="*/ 100216 h 100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8206" h="100215">
                    <a:moveTo>
                      <a:pt x="100672" y="100216"/>
                    </a:moveTo>
                    <a:cubicBezTo>
                      <a:pt x="83474" y="100216"/>
                      <a:pt x="69942" y="85697"/>
                      <a:pt x="65112" y="79734"/>
                    </a:cubicBezTo>
                    <a:cubicBezTo>
                      <a:pt x="54010" y="81412"/>
                      <a:pt x="16057" y="84843"/>
                      <a:pt x="2724" y="55939"/>
                    </a:cubicBezTo>
                    <a:lnTo>
                      <a:pt x="0" y="50049"/>
                    </a:lnTo>
                    <a:lnTo>
                      <a:pt x="6435" y="49165"/>
                    </a:lnTo>
                    <a:cubicBezTo>
                      <a:pt x="6678" y="49136"/>
                      <a:pt x="30620" y="45735"/>
                      <a:pt x="59325" y="31062"/>
                    </a:cubicBezTo>
                    <a:cubicBezTo>
                      <a:pt x="66040" y="27631"/>
                      <a:pt x="72195" y="24193"/>
                      <a:pt x="78040" y="20938"/>
                    </a:cubicBezTo>
                    <a:cubicBezTo>
                      <a:pt x="98191" y="9704"/>
                      <a:pt x="115596" y="0"/>
                      <a:pt x="139170" y="0"/>
                    </a:cubicBezTo>
                    <a:cubicBezTo>
                      <a:pt x="155440" y="0"/>
                      <a:pt x="166086" y="15004"/>
                      <a:pt x="176379" y="29523"/>
                    </a:cubicBezTo>
                    <a:cubicBezTo>
                      <a:pt x="186760" y="44152"/>
                      <a:pt x="197494" y="59289"/>
                      <a:pt x="213536" y="59738"/>
                    </a:cubicBezTo>
                    <a:cubicBezTo>
                      <a:pt x="216187" y="59811"/>
                      <a:pt x="218285" y="62027"/>
                      <a:pt x="218204" y="64678"/>
                    </a:cubicBezTo>
                    <a:cubicBezTo>
                      <a:pt x="218130" y="67328"/>
                      <a:pt x="215833" y="69493"/>
                      <a:pt x="213264" y="69346"/>
                    </a:cubicBezTo>
                    <a:cubicBezTo>
                      <a:pt x="192429" y="68757"/>
                      <a:pt x="179736" y="50866"/>
                      <a:pt x="168538" y="35081"/>
                    </a:cubicBezTo>
                    <a:cubicBezTo>
                      <a:pt x="159247" y="21976"/>
                      <a:pt x="150478" y="9608"/>
                      <a:pt x="139170" y="9608"/>
                    </a:cubicBezTo>
                    <a:cubicBezTo>
                      <a:pt x="118091" y="9608"/>
                      <a:pt x="102483" y="18310"/>
                      <a:pt x="82723" y="29324"/>
                    </a:cubicBezTo>
                    <a:cubicBezTo>
                      <a:pt x="76789" y="32637"/>
                      <a:pt x="70531" y="36119"/>
                      <a:pt x="63706" y="39617"/>
                    </a:cubicBezTo>
                    <a:cubicBezTo>
                      <a:pt x="42672" y="50366"/>
                      <a:pt x="24332" y="55320"/>
                      <a:pt x="14754" y="57382"/>
                    </a:cubicBezTo>
                    <a:cubicBezTo>
                      <a:pt x="29847" y="77002"/>
                      <a:pt x="65797" y="69868"/>
                      <a:pt x="66180" y="69780"/>
                    </a:cubicBezTo>
                    <a:lnTo>
                      <a:pt x="69272" y="69139"/>
                    </a:lnTo>
                    <a:lnTo>
                      <a:pt x="71098" y="71731"/>
                    </a:lnTo>
                    <a:cubicBezTo>
                      <a:pt x="71230" y="71922"/>
                      <a:pt x="84534" y="90586"/>
                      <a:pt x="100672" y="90586"/>
                    </a:cubicBezTo>
                    <a:cubicBezTo>
                      <a:pt x="115780" y="90586"/>
                      <a:pt x="119910" y="80514"/>
                      <a:pt x="120072" y="80080"/>
                    </a:cubicBezTo>
                    <a:cubicBezTo>
                      <a:pt x="121161" y="77709"/>
                      <a:pt x="129900" y="59723"/>
                      <a:pt x="143668" y="59723"/>
                    </a:cubicBezTo>
                    <a:cubicBezTo>
                      <a:pt x="146326" y="59723"/>
                      <a:pt x="148476" y="61873"/>
                      <a:pt x="148476" y="64531"/>
                    </a:cubicBezTo>
                    <a:cubicBezTo>
                      <a:pt x="148476" y="67188"/>
                      <a:pt x="146326" y="69338"/>
                      <a:pt x="143668" y="69338"/>
                    </a:cubicBezTo>
                    <a:cubicBezTo>
                      <a:pt x="137160" y="69338"/>
                      <a:pt x="130681" y="80058"/>
                      <a:pt x="128929" y="83812"/>
                    </a:cubicBezTo>
                    <a:cubicBezTo>
                      <a:pt x="128833" y="84136"/>
                      <a:pt x="122693" y="100216"/>
                      <a:pt x="100672" y="100216"/>
                    </a:cubicBezTo>
                    <a:close/>
                  </a:path>
                </a:pathLst>
              </a:custGeom>
              <a:solidFill>
                <a:schemeClr val="tx2"/>
              </a:solidFill>
              <a:ln w="735" cap="flat">
                <a:noFill/>
                <a:prstDash val="solid"/>
                <a:miter/>
              </a:ln>
            </p:spPr>
            <p:txBody>
              <a:bodyPr rtlCol="0" anchor="ctr"/>
              <a:lstStyle/>
              <a:p>
                <a:endParaRPr lang="en-GB" dirty="0"/>
              </a:p>
            </p:txBody>
          </p:sp>
          <p:sp>
            <p:nvSpPr>
              <p:cNvPr id="85" name="Freihandform: Form 273">
                <a:extLst>
                  <a:ext uri="{FF2B5EF4-FFF2-40B4-BE49-F238E27FC236}">
                    <a16:creationId xmlns:a16="http://schemas.microsoft.com/office/drawing/2014/main" id="{1E708729-A3DC-49D7-B680-C8DCF19923F7}"/>
                  </a:ext>
                </a:extLst>
              </p:cNvPr>
              <p:cNvSpPr/>
              <p:nvPr/>
            </p:nvSpPr>
            <p:spPr>
              <a:xfrm>
                <a:off x="553523" y="1937651"/>
                <a:ext cx="218205" cy="100208"/>
              </a:xfrm>
              <a:custGeom>
                <a:avLst/>
                <a:gdLst>
                  <a:gd name="connsiteX0" fmla="*/ 117526 w 218205"/>
                  <a:gd name="connsiteY0" fmla="*/ 100208 h 100208"/>
                  <a:gd name="connsiteX1" fmla="*/ 89115 w 218205"/>
                  <a:gd name="connsiteY1" fmla="*/ 83444 h 100208"/>
                  <a:gd name="connsiteX2" fmla="*/ 74538 w 218205"/>
                  <a:gd name="connsiteY2" fmla="*/ 69346 h 100208"/>
                  <a:gd name="connsiteX3" fmla="*/ 69730 w 218205"/>
                  <a:gd name="connsiteY3" fmla="*/ 64538 h 100208"/>
                  <a:gd name="connsiteX4" fmla="*/ 74538 w 218205"/>
                  <a:gd name="connsiteY4" fmla="*/ 59730 h 100208"/>
                  <a:gd name="connsiteX5" fmla="*/ 97994 w 218205"/>
                  <a:gd name="connsiteY5" fmla="*/ 79771 h 100208"/>
                  <a:gd name="connsiteX6" fmla="*/ 117534 w 218205"/>
                  <a:gd name="connsiteY6" fmla="*/ 90593 h 100208"/>
                  <a:gd name="connsiteX7" fmla="*/ 147108 w 218205"/>
                  <a:gd name="connsiteY7" fmla="*/ 71738 h 100208"/>
                  <a:gd name="connsiteX8" fmla="*/ 148927 w 218205"/>
                  <a:gd name="connsiteY8" fmla="*/ 69154 h 100208"/>
                  <a:gd name="connsiteX9" fmla="*/ 152026 w 218205"/>
                  <a:gd name="connsiteY9" fmla="*/ 69780 h 100208"/>
                  <a:gd name="connsiteX10" fmla="*/ 203452 w 218205"/>
                  <a:gd name="connsiteY10" fmla="*/ 57382 h 100208"/>
                  <a:gd name="connsiteX11" fmla="*/ 154500 w 218205"/>
                  <a:gd name="connsiteY11" fmla="*/ 39617 h 100208"/>
                  <a:gd name="connsiteX12" fmla="*/ 135483 w 218205"/>
                  <a:gd name="connsiteY12" fmla="*/ 29324 h 100208"/>
                  <a:gd name="connsiteX13" fmla="*/ 79036 w 218205"/>
                  <a:gd name="connsiteY13" fmla="*/ 9608 h 100208"/>
                  <a:gd name="connsiteX14" fmla="*/ 49668 w 218205"/>
                  <a:gd name="connsiteY14" fmla="*/ 35081 h 100208"/>
                  <a:gd name="connsiteX15" fmla="*/ 4942 w 218205"/>
                  <a:gd name="connsiteY15" fmla="*/ 69346 h 100208"/>
                  <a:gd name="connsiteX16" fmla="*/ 2 w 218205"/>
                  <a:gd name="connsiteY16" fmla="*/ 64678 h 100208"/>
                  <a:gd name="connsiteX17" fmla="*/ 4670 w 218205"/>
                  <a:gd name="connsiteY17" fmla="*/ 59738 h 100208"/>
                  <a:gd name="connsiteX18" fmla="*/ 41827 w 218205"/>
                  <a:gd name="connsiteY18" fmla="*/ 29523 h 100208"/>
                  <a:gd name="connsiteX19" fmla="*/ 79036 w 218205"/>
                  <a:gd name="connsiteY19" fmla="*/ 0 h 100208"/>
                  <a:gd name="connsiteX20" fmla="*/ 140165 w 218205"/>
                  <a:gd name="connsiteY20" fmla="*/ 20938 h 100208"/>
                  <a:gd name="connsiteX21" fmla="*/ 158880 w 218205"/>
                  <a:gd name="connsiteY21" fmla="*/ 31062 h 100208"/>
                  <a:gd name="connsiteX22" fmla="*/ 211771 w 218205"/>
                  <a:gd name="connsiteY22" fmla="*/ 49165 h 100208"/>
                  <a:gd name="connsiteX23" fmla="*/ 218206 w 218205"/>
                  <a:gd name="connsiteY23" fmla="*/ 50049 h 100208"/>
                  <a:gd name="connsiteX24" fmla="*/ 215489 w 218205"/>
                  <a:gd name="connsiteY24" fmla="*/ 55946 h 100208"/>
                  <a:gd name="connsiteX25" fmla="*/ 153101 w 218205"/>
                  <a:gd name="connsiteY25" fmla="*/ 79741 h 100208"/>
                  <a:gd name="connsiteX26" fmla="*/ 117526 w 218205"/>
                  <a:gd name="connsiteY26" fmla="*/ 100208 h 100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8205" h="100208">
                    <a:moveTo>
                      <a:pt x="117526" y="100208"/>
                    </a:moveTo>
                    <a:cubicBezTo>
                      <a:pt x="95498" y="100208"/>
                      <a:pt x="89366" y="84129"/>
                      <a:pt x="89115" y="83444"/>
                    </a:cubicBezTo>
                    <a:cubicBezTo>
                      <a:pt x="87518" y="80065"/>
                      <a:pt x="81039" y="69346"/>
                      <a:pt x="74538" y="69346"/>
                    </a:cubicBezTo>
                    <a:cubicBezTo>
                      <a:pt x="71880" y="69346"/>
                      <a:pt x="69730" y="67196"/>
                      <a:pt x="69730" y="64538"/>
                    </a:cubicBezTo>
                    <a:cubicBezTo>
                      <a:pt x="69730" y="61880"/>
                      <a:pt x="71880" y="59730"/>
                      <a:pt x="74538" y="59730"/>
                    </a:cubicBezTo>
                    <a:cubicBezTo>
                      <a:pt x="88305" y="59730"/>
                      <a:pt x="97044" y="77716"/>
                      <a:pt x="97994" y="79771"/>
                    </a:cubicBezTo>
                    <a:cubicBezTo>
                      <a:pt x="98296" y="80522"/>
                      <a:pt x="102426" y="90593"/>
                      <a:pt x="117534" y="90593"/>
                    </a:cubicBezTo>
                    <a:cubicBezTo>
                      <a:pt x="133672" y="90593"/>
                      <a:pt x="146983" y="71922"/>
                      <a:pt x="147108" y="71738"/>
                    </a:cubicBezTo>
                    <a:lnTo>
                      <a:pt x="148927" y="69154"/>
                    </a:lnTo>
                    <a:lnTo>
                      <a:pt x="152026" y="69780"/>
                    </a:lnTo>
                    <a:cubicBezTo>
                      <a:pt x="152409" y="69861"/>
                      <a:pt x="188359" y="76988"/>
                      <a:pt x="203452" y="57382"/>
                    </a:cubicBezTo>
                    <a:cubicBezTo>
                      <a:pt x="193873" y="55313"/>
                      <a:pt x="175534" y="50366"/>
                      <a:pt x="154500" y="39617"/>
                    </a:cubicBezTo>
                    <a:cubicBezTo>
                      <a:pt x="147675" y="36127"/>
                      <a:pt x="141417" y="32637"/>
                      <a:pt x="135483" y="29324"/>
                    </a:cubicBezTo>
                    <a:cubicBezTo>
                      <a:pt x="115723" y="18310"/>
                      <a:pt x="100114" y="9608"/>
                      <a:pt x="79036" y="9608"/>
                    </a:cubicBezTo>
                    <a:cubicBezTo>
                      <a:pt x="67735" y="9608"/>
                      <a:pt x="58959" y="21976"/>
                      <a:pt x="49668" y="35081"/>
                    </a:cubicBezTo>
                    <a:cubicBezTo>
                      <a:pt x="38470" y="50866"/>
                      <a:pt x="25777" y="68757"/>
                      <a:pt x="4942" y="69346"/>
                    </a:cubicBezTo>
                    <a:cubicBezTo>
                      <a:pt x="2225" y="69485"/>
                      <a:pt x="76" y="67328"/>
                      <a:pt x="2" y="64678"/>
                    </a:cubicBezTo>
                    <a:cubicBezTo>
                      <a:pt x="-72" y="62027"/>
                      <a:pt x="2019" y="59811"/>
                      <a:pt x="4670" y="59738"/>
                    </a:cubicBezTo>
                    <a:cubicBezTo>
                      <a:pt x="20712" y="59289"/>
                      <a:pt x="31446" y="44152"/>
                      <a:pt x="41827" y="29523"/>
                    </a:cubicBezTo>
                    <a:cubicBezTo>
                      <a:pt x="52120" y="15012"/>
                      <a:pt x="62766" y="0"/>
                      <a:pt x="79036" y="0"/>
                    </a:cubicBezTo>
                    <a:cubicBezTo>
                      <a:pt x="102610" y="0"/>
                      <a:pt x="120015" y="9704"/>
                      <a:pt x="140165" y="20938"/>
                    </a:cubicBezTo>
                    <a:cubicBezTo>
                      <a:pt x="146011" y="24200"/>
                      <a:pt x="152166" y="27631"/>
                      <a:pt x="158880" y="31062"/>
                    </a:cubicBezTo>
                    <a:cubicBezTo>
                      <a:pt x="187579" y="45727"/>
                      <a:pt x="211528" y="49129"/>
                      <a:pt x="211771" y="49165"/>
                    </a:cubicBezTo>
                    <a:lnTo>
                      <a:pt x="218206" y="50049"/>
                    </a:lnTo>
                    <a:lnTo>
                      <a:pt x="215489" y="55946"/>
                    </a:lnTo>
                    <a:cubicBezTo>
                      <a:pt x="202149" y="84843"/>
                      <a:pt x="164189" y="81412"/>
                      <a:pt x="153101" y="79741"/>
                    </a:cubicBezTo>
                    <a:cubicBezTo>
                      <a:pt x="148257" y="85690"/>
                      <a:pt x="134725" y="100208"/>
                      <a:pt x="117526" y="100208"/>
                    </a:cubicBezTo>
                    <a:close/>
                  </a:path>
                </a:pathLst>
              </a:custGeom>
              <a:solidFill>
                <a:schemeClr val="tx2"/>
              </a:solidFill>
              <a:ln w="735" cap="flat">
                <a:noFill/>
                <a:prstDash val="solid"/>
                <a:miter/>
              </a:ln>
            </p:spPr>
            <p:txBody>
              <a:bodyPr rtlCol="0" anchor="ctr"/>
              <a:lstStyle/>
              <a:p>
                <a:endParaRPr lang="en-GB" dirty="0"/>
              </a:p>
            </p:txBody>
          </p:sp>
          <p:sp>
            <p:nvSpPr>
              <p:cNvPr id="86" name="Freihandform: Form 274">
                <a:extLst>
                  <a:ext uri="{FF2B5EF4-FFF2-40B4-BE49-F238E27FC236}">
                    <a16:creationId xmlns:a16="http://schemas.microsoft.com/office/drawing/2014/main" id="{5177BD8C-3430-4CB6-A06F-70D109308558}"/>
                  </a:ext>
                </a:extLst>
              </p:cNvPr>
              <p:cNvSpPr/>
              <p:nvPr/>
            </p:nvSpPr>
            <p:spPr>
              <a:xfrm>
                <a:off x="528184" y="1905338"/>
                <a:ext cx="60282" cy="60289"/>
              </a:xfrm>
              <a:custGeom>
                <a:avLst/>
                <a:gdLst>
                  <a:gd name="connsiteX0" fmla="*/ 30141 w 60282"/>
                  <a:gd name="connsiteY0" fmla="*/ 60290 h 60289"/>
                  <a:gd name="connsiteX1" fmla="*/ 0 w 60282"/>
                  <a:gd name="connsiteY1" fmla="*/ 30141 h 60289"/>
                  <a:gd name="connsiteX2" fmla="*/ 30141 w 60282"/>
                  <a:gd name="connsiteY2" fmla="*/ 0 h 60289"/>
                  <a:gd name="connsiteX3" fmla="*/ 60283 w 60282"/>
                  <a:gd name="connsiteY3" fmla="*/ 30141 h 60289"/>
                  <a:gd name="connsiteX4" fmla="*/ 30141 w 60282"/>
                  <a:gd name="connsiteY4" fmla="*/ 60290 h 60289"/>
                  <a:gd name="connsiteX5" fmla="*/ 30141 w 60282"/>
                  <a:gd name="connsiteY5" fmla="*/ 9615 h 60289"/>
                  <a:gd name="connsiteX6" fmla="*/ 9615 w 60282"/>
                  <a:gd name="connsiteY6" fmla="*/ 30141 h 60289"/>
                  <a:gd name="connsiteX7" fmla="*/ 30141 w 60282"/>
                  <a:gd name="connsiteY7" fmla="*/ 50675 h 60289"/>
                  <a:gd name="connsiteX8" fmla="*/ 50667 w 60282"/>
                  <a:gd name="connsiteY8" fmla="*/ 30141 h 60289"/>
                  <a:gd name="connsiteX9" fmla="*/ 30141 w 60282"/>
                  <a:gd name="connsiteY9" fmla="*/ 9615 h 60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82" h="60289">
                    <a:moveTo>
                      <a:pt x="30141" y="60290"/>
                    </a:moveTo>
                    <a:cubicBezTo>
                      <a:pt x="13517" y="60290"/>
                      <a:pt x="0" y="46765"/>
                      <a:pt x="0" y="30141"/>
                    </a:cubicBezTo>
                    <a:cubicBezTo>
                      <a:pt x="0" y="13517"/>
                      <a:pt x="13517" y="0"/>
                      <a:pt x="30141" y="0"/>
                    </a:cubicBezTo>
                    <a:cubicBezTo>
                      <a:pt x="46765" y="0"/>
                      <a:pt x="60283" y="13517"/>
                      <a:pt x="60283" y="30141"/>
                    </a:cubicBezTo>
                    <a:cubicBezTo>
                      <a:pt x="60283" y="46765"/>
                      <a:pt x="46765" y="60290"/>
                      <a:pt x="30141" y="60290"/>
                    </a:cubicBezTo>
                    <a:close/>
                    <a:moveTo>
                      <a:pt x="30141" y="9615"/>
                    </a:moveTo>
                    <a:cubicBezTo>
                      <a:pt x="18825" y="9615"/>
                      <a:pt x="9615" y="18825"/>
                      <a:pt x="9615" y="30141"/>
                    </a:cubicBezTo>
                    <a:cubicBezTo>
                      <a:pt x="9615" y="41464"/>
                      <a:pt x="18825" y="50675"/>
                      <a:pt x="30141" y="50675"/>
                    </a:cubicBezTo>
                    <a:cubicBezTo>
                      <a:pt x="41457" y="50675"/>
                      <a:pt x="50667" y="41464"/>
                      <a:pt x="50667" y="30141"/>
                    </a:cubicBezTo>
                    <a:cubicBezTo>
                      <a:pt x="50667" y="18825"/>
                      <a:pt x="41457" y="9615"/>
                      <a:pt x="30141" y="9615"/>
                    </a:cubicBezTo>
                    <a:close/>
                  </a:path>
                </a:pathLst>
              </a:custGeom>
              <a:solidFill>
                <a:schemeClr val="tx2"/>
              </a:solidFill>
              <a:ln w="735" cap="flat">
                <a:noFill/>
                <a:prstDash val="solid"/>
                <a:miter/>
              </a:ln>
            </p:spPr>
            <p:txBody>
              <a:bodyPr rtlCol="0" anchor="ctr"/>
              <a:lstStyle/>
              <a:p>
                <a:endParaRPr lang="en-GB" dirty="0"/>
              </a:p>
            </p:txBody>
          </p:sp>
        </p:grpSp>
      </p:grpSp>
      <p:grpSp>
        <p:nvGrpSpPr>
          <p:cNvPr id="92" name="Gruppieren 479">
            <a:extLst>
              <a:ext uri="{FF2B5EF4-FFF2-40B4-BE49-F238E27FC236}">
                <a16:creationId xmlns:a16="http://schemas.microsoft.com/office/drawing/2014/main" id="{FCC1FF4C-28CB-48DC-BFAA-4D67D393F690}"/>
              </a:ext>
            </a:extLst>
          </p:cNvPr>
          <p:cNvGrpSpPr>
            <a:grpSpLocks noChangeAspect="1"/>
          </p:cNvGrpSpPr>
          <p:nvPr/>
        </p:nvGrpSpPr>
        <p:grpSpPr>
          <a:xfrm>
            <a:off x="3709206" y="2405923"/>
            <a:ext cx="496292" cy="421274"/>
            <a:chOff x="1097856" y="2662655"/>
            <a:chExt cx="362961" cy="308097"/>
          </a:xfrm>
        </p:grpSpPr>
        <p:grpSp>
          <p:nvGrpSpPr>
            <p:cNvPr id="93" name="Gruppieren 478">
              <a:extLst>
                <a:ext uri="{FF2B5EF4-FFF2-40B4-BE49-F238E27FC236}">
                  <a16:creationId xmlns:a16="http://schemas.microsoft.com/office/drawing/2014/main" id="{2941169A-63F4-43B2-8CAD-53BF4B696BC6}"/>
                </a:ext>
              </a:extLst>
            </p:cNvPr>
            <p:cNvGrpSpPr/>
            <p:nvPr/>
          </p:nvGrpSpPr>
          <p:grpSpPr>
            <a:xfrm>
              <a:off x="1106350" y="2662655"/>
              <a:ext cx="346197" cy="308097"/>
              <a:chOff x="1106350" y="2662654"/>
              <a:chExt cx="346197" cy="308097"/>
            </a:xfrm>
          </p:grpSpPr>
          <p:sp>
            <p:nvSpPr>
              <p:cNvPr id="95" name="Freihandform: Form 118">
                <a:extLst>
                  <a:ext uri="{FF2B5EF4-FFF2-40B4-BE49-F238E27FC236}">
                    <a16:creationId xmlns:a16="http://schemas.microsoft.com/office/drawing/2014/main" id="{E8CE867A-DE43-4D3A-8093-FB8765A55C6D}"/>
                  </a:ext>
                </a:extLst>
              </p:cNvPr>
              <p:cNvSpPr/>
              <p:nvPr/>
            </p:nvSpPr>
            <p:spPr>
              <a:xfrm>
                <a:off x="1106350" y="2662654"/>
                <a:ext cx="346197" cy="155344"/>
              </a:xfrm>
              <a:custGeom>
                <a:avLst/>
                <a:gdLst>
                  <a:gd name="connsiteX0" fmla="*/ 23356 w 346197"/>
                  <a:gd name="connsiteY0" fmla="*/ 155345 h 155344"/>
                  <a:gd name="connsiteX1" fmla="*/ 19535 w 346197"/>
                  <a:gd name="connsiteY1" fmla="*/ 153460 h 155344"/>
                  <a:gd name="connsiteX2" fmla="*/ 27906 w 346197"/>
                  <a:gd name="connsiteY2" fmla="*/ 27969 h 155344"/>
                  <a:gd name="connsiteX3" fmla="*/ 95425 w 346197"/>
                  <a:gd name="connsiteY3" fmla="*/ 0 h 155344"/>
                  <a:gd name="connsiteX4" fmla="*/ 162945 w 346197"/>
                  <a:gd name="connsiteY4" fmla="*/ 27969 h 155344"/>
                  <a:gd name="connsiteX5" fmla="*/ 173002 w 346197"/>
                  <a:gd name="connsiteY5" fmla="*/ 39933 h 155344"/>
                  <a:gd name="connsiteX6" fmla="*/ 183059 w 346197"/>
                  <a:gd name="connsiteY6" fmla="*/ 27969 h 155344"/>
                  <a:gd name="connsiteX7" fmla="*/ 250571 w 346197"/>
                  <a:gd name="connsiteY7" fmla="*/ 0 h 155344"/>
                  <a:gd name="connsiteX8" fmla="*/ 318091 w 346197"/>
                  <a:gd name="connsiteY8" fmla="*/ 27969 h 155344"/>
                  <a:gd name="connsiteX9" fmla="*/ 328133 w 346197"/>
                  <a:gd name="connsiteY9" fmla="*/ 151192 h 155344"/>
                  <a:gd name="connsiteX10" fmla="*/ 321426 w 346197"/>
                  <a:gd name="connsiteY10" fmla="*/ 152289 h 155344"/>
                  <a:gd name="connsiteX11" fmla="*/ 320329 w 346197"/>
                  <a:gd name="connsiteY11" fmla="*/ 145582 h 155344"/>
                  <a:gd name="connsiteX12" fmla="*/ 311288 w 346197"/>
                  <a:gd name="connsiteY12" fmla="*/ 34765 h 155344"/>
                  <a:gd name="connsiteX13" fmla="*/ 250571 w 346197"/>
                  <a:gd name="connsiteY13" fmla="*/ 9615 h 155344"/>
                  <a:gd name="connsiteX14" fmla="*/ 189854 w 346197"/>
                  <a:gd name="connsiteY14" fmla="*/ 34765 h 155344"/>
                  <a:gd name="connsiteX15" fmla="*/ 177117 w 346197"/>
                  <a:gd name="connsiteY15" fmla="*/ 51183 h 155344"/>
                  <a:gd name="connsiteX16" fmla="*/ 173002 w 346197"/>
                  <a:gd name="connsiteY16" fmla="*/ 57993 h 155344"/>
                  <a:gd name="connsiteX17" fmla="*/ 168894 w 346197"/>
                  <a:gd name="connsiteY17" fmla="*/ 51190 h 155344"/>
                  <a:gd name="connsiteX18" fmla="*/ 156157 w 346197"/>
                  <a:gd name="connsiteY18" fmla="*/ 34765 h 155344"/>
                  <a:gd name="connsiteX19" fmla="*/ 95440 w 346197"/>
                  <a:gd name="connsiteY19" fmla="*/ 9615 h 155344"/>
                  <a:gd name="connsiteX20" fmla="*/ 34716 w 346197"/>
                  <a:gd name="connsiteY20" fmla="*/ 34772 h 155344"/>
                  <a:gd name="connsiteX21" fmla="*/ 27184 w 346197"/>
                  <a:gd name="connsiteY21" fmla="*/ 147614 h 155344"/>
                  <a:gd name="connsiteX22" fmla="*/ 26293 w 346197"/>
                  <a:gd name="connsiteY22" fmla="*/ 154358 h 155344"/>
                  <a:gd name="connsiteX23" fmla="*/ 23356 w 346197"/>
                  <a:gd name="connsiteY23" fmla="*/ 155345 h 155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6197" h="155344">
                    <a:moveTo>
                      <a:pt x="23356" y="155345"/>
                    </a:moveTo>
                    <a:cubicBezTo>
                      <a:pt x="21913" y="155345"/>
                      <a:pt x="20484" y="154697"/>
                      <a:pt x="19535" y="153460"/>
                    </a:cubicBezTo>
                    <a:cubicBezTo>
                      <a:pt x="-9421" y="115647"/>
                      <a:pt x="-5821" y="61696"/>
                      <a:pt x="27906" y="27969"/>
                    </a:cubicBezTo>
                    <a:cubicBezTo>
                      <a:pt x="45943" y="9932"/>
                      <a:pt x="69915" y="0"/>
                      <a:pt x="95425" y="0"/>
                    </a:cubicBezTo>
                    <a:cubicBezTo>
                      <a:pt x="120936" y="0"/>
                      <a:pt x="144907" y="9932"/>
                      <a:pt x="162945" y="27969"/>
                    </a:cubicBezTo>
                    <a:cubicBezTo>
                      <a:pt x="166545" y="31577"/>
                      <a:pt x="169910" y="35582"/>
                      <a:pt x="173002" y="39933"/>
                    </a:cubicBezTo>
                    <a:cubicBezTo>
                      <a:pt x="176087" y="35582"/>
                      <a:pt x="179459" y="31570"/>
                      <a:pt x="183059" y="27969"/>
                    </a:cubicBezTo>
                    <a:cubicBezTo>
                      <a:pt x="201089" y="9932"/>
                      <a:pt x="225068" y="0"/>
                      <a:pt x="250571" y="0"/>
                    </a:cubicBezTo>
                    <a:cubicBezTo>
                      <a:pt x="276081" y="0"/>
                      <a:pt x="300060" y="9932"/>
                      <a:pt x="318091" y="27969"/>
                    </a:cubicBezTo>
                    <a:cubicBezTo>
                      <a:pt x="351361" y="61240"/>
                      <a:pt x="355587" y="113063"/>
                      <a:pt x="328133" y="151192"/>
                    </a:cubicBezTo>
                    <a:cubicBezTo>
                      <a:pt x="326572" y="153342"/>
                      <a:pt x="323568" y="153828"/>
                      <a:pt x="321426" y="152289"/>
                    </a:cubicBezTo>
                    <a:cubicBezTo>
                      <a:pt x="319269" y="150743"/>
                      <a:pt x="318783" y="147739"/>
                      <a:pt x="320329" y="145582"/>
                    </a:cubicBezTo>
                    <a:cubicBezTo>
                      <a:pt x="345015" y="111296"/>
                      <a:pt x="341216" y="64693"/>
                      <a:pt x="311288" y="34765"/>
                    </a:cubicBezTo>
                    <a:cubicBezTo>
                      <a:pt x="295069" y="18546"/>
                      <a:pt x="273505" y="9615"/>
                      <a:pt x="250571" y="9615"/>
                    </a:cubicBezTo>
                    <a:cubicBezTo>
                      <a:pt x="227637" y="9615"/>
                      <a:pt x="206073" y="18546"/>
                      <a:pt x="189854" y="34765"/>
                    </a:cubicBezTo>
                    <a:cubicBezTo>
                      <a:pt x="185120" y="39499"/>
                      <a:pt x="180835" y="45020"/>
                      <a:pt x="177117" y="51183"/>
                    </a:cubicBezTo>
                    <a:lnTo>
                      <a:pt x="173002" y="57993"/>
                    </a:lnTo>
                    <a:lnTo>
                      <a:pt x="168894" y="51190"/>
                    </a:lnTo>
                    <a:cubicBezTo>
                      <a:pt x="165161" y="45020"/>
                      <a:pt x="160876" y="39491"/>
                      <a:pt x="156157" y="34765"/>
                    </a:cubicBezTo>
                    <a:cubicBezTo>
                      <a:pt x="139938" y="18546"/>
                      <a:pt x="118374" y="9615"/>
                      <a:pt x="95440" y="9615"/>
                    </a:cubicBezTo>
                    <a:cubicBezTo>
                      <a:pt x="72499" y="9615"/>
                      <a:pt x="50935" y="18546"/>
                      <a:pt x="34716" y="34772"/>
                    </a:cubicBezTo>
                    <a:cubicBezTo>
                      <a:pt x="4383" y="65098"/>
                      <a:pt x="1144" y="113615"/>
                      <a:pt x="27184" y="147614"/>
                    </a:cubicBezTo>
                    <a:cubicBezTo>
                      <a:pt x="28796" y="149720"/>
                      <a:pt x="28399" y="152738"/>
                      <a:pt x="26293" y="154358"/>
                    </a:cubicBezTo>
                    <a:cubicBezTo>
                      <a:pt x="25402" y="155021"/>
                      <a:pt x="24372" y="155345"/>
                      <a:pt x="23356" y="155345"/>
                    </a:cubicBezTo>
                    <a:close/>
                  </a:path>
                </a:pathLst>
              </a:custGeom>
              <a:solidFill>
                <a:schemeClr val="tx2"/>
              </a:solidFill>
              <a:ln w="735" cap="flat">
                <a:noFill/>
                <a:prstDash val="solid"/>
                <a:miter/>
              </a:ln>
            </p:spPr>
            <p:txBody>
              <a:bodyPr rtlCol="0" anchor="ctr"/>
              <a:lstStyle/>
              <a:p>
                <a:endParaRPr lang="en-GB" dirty="0"/>
              </a:p>
            </p:txBody>
          </p:sp>
          <p:sp>
            <p:nvSpPr>
              <p:cNvPr id="96" name="Freihandform: Form 119">
                <a:extLst>
                  <a:ext uri="{FF2B5EF4-FFF2-40B4-BE49-F238E27FC236}">
                    <a16:creationId xmlns:a16="http://schemas.microsoft.com/office/drawing/2014/main" id="{379CD6DA-6618-41F5-8FEF-02CC33AB1C50}"/>
                  </a:ext>
                </a:extLst>
              </p:cNvPr>
              <p:cNvSpPr/>
              <p:nvPr/>
            </p:nvSpPr>
            <p:spPr>
              <a:xfrm>
                <a:off x="1145386" y="2829997"/>
                <a:ext cx="266909" cy="140754"/>
              </a:xfrm>
              <a:custGeom>
                <a:avLst/>
                <a:gdLst>
                  <a:gd name="connsiteX0" fmla="*/ 133959 w 266909"/>
                  <a:gd name="connsiteY0" fmla="*/ 140754 h 140754"/>
                  <a:gd name="connsiteX1" fmla="*/ 1408 w 266909"/>
                  <a:gd name="connsiteY1" fmla="*/ 8203 h 140754"/>
                  <a:gd name="connsiteX2" fmla="*/ 1408 w 266909"/>
                  <a:gd name="connsiteY2" fmla="*/ 1408 h 140754"/>
                  <a:gd name="connsiteX3" fmla="*/ 8203 w 266909"/>
                  <a:gd name="connsiteY3" fmla="*/ 1408 h 140754"/>
                  <a:gd name="connsiteX4" fmla="*/ 133952 w 266909"/>
                  <a:gd name="connsiteY4" fmla="*/ 127156 h 140754"/>
                  <a:gd name="connsiteX5" fmla="*/ 258706 w 266909"/>
                  <a:gd name="connsiteY5" fmla="*/ 2395 h 140754"/>
                  <a:gd name="connsiteX6" fmla="*/ 265501 w 266909"/>
                  <a:gd name="connsiteY6" fmla="*/ 2395 h 140754"/>
                  <a:gd name="connsiteX7" fmla="*/ 265501 w 266909"/>
                  <a:gd name="connsiteY7" fmla="*/ 9190 h 140754"/>
                  <a:gd name="connsiteX8" fmla="*/ 133959 w 266909"/>
                  <a:gd name="connsiteY8" fmla="*/ 140754 h 140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6909" h="140754">
                    <a:moveTo>
                      <a:pt x="133959" y="140754"/>
                    </a:moveTo>
                    <a:lnTo>
                      <a:pt x="1408" y="8203"/>
                    </a:lnTo>
                    <a:cubicBezTo>
                      <a:pt x="-469" y="6326"/>
                      <a:pt x="-469" y="3285"/>
                      <a:pt x="1408" y="1408"/>
                    </a:cubicBezTo>
                    <a:cubicBezTo>
                      <a:pt x="3285" y="-469"/>
                      <a:pt x="6326" y="-469"/>
                      <a:pt x="8203" y="1408"/>
                    </a:cubicBezTo>
                    <a:lnTo>
                      <a:pt x="133952" y="127156"/>
                    </a:lnTo>
                    <a:lnTo>
                      <a:pt x="258706" y="2395"/>
                    </a:lnTo>
                    <a:cubicBezTo>
                      <a:pt x="260583" y="517"/>
                      <a:pt x="263624" y="517"/>
                      <a:pt x="265501" y="2395"/>
                    </a:cubicBezTo>
                    <a:cubicBezTo>
                      <a:pt x="267379" y="4272"/>
                      <a:pt x="267379" y="7313"/>
                      <a:pt x="265501" y="9190"/>
                    </a:cubicBezTo>
                    <a:lnTo>
                      <a:pt x="133959" y="140754"/>
                    </a:lnTo>
                    <a:close/>
                  </a:path>
                </a:pathLst>
              </a:custGeom>
              <a:solidFill>
                <a:schemeClr val="tx2"/>
              </a:solidFill>
              <a:ln w="735" cap="flat">
                <a:noFill/>
                <a:prstDash val="solid"/>
                <a:miter/>
              </a:ln>
            </p:spPr>
            <p:txBody>
              <a:bodyPr rtlCol="0" anchor="ctr"/>
              <a:lstStyle/>
              <a:p>
                <a:endParaRPr lang="en-GB" dirty="0"/>
              </a:p>
            </p:txBody>
          </p:sp>
        </p:grpSp>
        <p:sp>
          <p:nvSpPr>
            <p:cNvPr id="94" name="Freihandform: Form 120">
              <a:extLst>
                <a:ext uri="{FF2B5EF4-FFF2-40B4-BE49-F238E27FC236}">
                  <a16:creationId xmlns:a16="http://schemas.microsoft.com/office/drawing/2014/main" id="{4935459D-0AE2-4439-A508-744B11066161}"/>
                </a:ext>
              </a:extLst>
            </p:cNvPr>
            <p:cNvSpPr/>
            <p:nvPr/>
          </p:nvSpPr>
          <p:spPr>
            <a:xfrm>
              <a:off x="1097856" y="2750788"/>
              <a:ext cx="362961" cy="128273"/>
            </a:xfrm>
            <a:custGeom>
              <a:avLst/>
              <a:gdLst>
                <a:gd name="connsiteX0" fmla="*/ 199091 w 362961"/>
                <a:gd name="connsiteY0" fmla="*/ 128273 h 128273"/>
                <a:gd name="connsiteX1" fmla="*/ 198723 w 362961"/>
                <a:gd name="connsiteY1" fmla="*/ 128259 h 128273"/>
                <a:gd name="connsiteX2" fmla="*/ 194777 w 362961"/>
                <a:gd name="connsiteY2" fmla="*/ 125594 h 128273"/>
                <a:gd name="connsiteX3" fmla="*/ 140267 w 362961"/>
                <a:gd name="connsiteY3" fmla="*/ 15350 h 128273"/>
                <a:gd name="connsiteX4" fmla="*/ 108800 w 362961"/>
                <a:gd name="connsiteY4" fmla="*/ 74595 h 128273"/>
                <a:gd name="connsiteX5" fmla="*/ 104552 w 362961"/>
                <a:gd name="connsiteY5" fmla="*/ 77150 h 128273"/>
                <a:gd name="connsiteX6" fmla="*/ 4808 w 362961"/>
                <a:gd name="connsiteY6" fmla="*/ 77150 h 128273"/>
                <a:gd name="connsiteX7" fmla="*/ 0 w 362961"/>
                <a:gd name="connsiteY7" fmla="*/ 72342 h 128273"/>
                <a:gd name="connsiteX8" fmla="*/ 4808 w 362961"/>
                <a:gd name="connsiteY8" fmla="*/ 67534 h 128273"/>
                <a:gd name="connsiteX9" fmla="*/ 101659 w 362961"/>
                <a:gd name="connsiteY9" fmla="*/ 67534 h 128273"/>
                <a:gd name="connsiteX10" fmla="*/ 136166 w 362961"/>
                <a:gd name="connsiteY10" fmla="*/ 2555 h 128273"/>
                <a:gd name="connsiteX11" fmla="*/ 140480 w 362961"/>
                <a:gd name="connsiteY11" fmla="*/ 0 h 128273"/>
                <a:gd name="connsiteX12" fmla="*/ 144721 w 362961"/>
                <a:gd name="connsiteY12" fmla="*/ 2680 h 128273"/>
                <a:gd name="connsiteX13" fmla="*/ 199806 w 362961"/>
                <a:gd name="connsiteY13" fmla="*/ 114064 h 128273"/>
                <a:gd name="connsiteX14" fmla="*/ 231007 w 362961"/>
                <a:gd name="connsiteY14" fmla="*/ 69581 h 128273"/>
                <a:gd name="connsiteX15" fmla="*/ 234938 w 362961"/>
                <a:gd name="connsiteY15" fmla="*/ 67534 h 128273"/>
                <a:gd name="connsiteX16" fmla="*/ 358154 w 362961"/>
                <a:gd name="connsiteY16" fmla="*/ 67534 h 128273"/>
                <a:gd name="connsiteX17" fmla="*/ 362962 w 362961"/>
                <a:gd name="connsiteY17" fmla="*/ 72342 h 128273"/>
                <a:gd name="connsiteX18" fmla="*/ 358154 w 362961"/>
                <a:gd name="connsiteY18" fmla="*/ 77150 h 128273"/>
                <a:gd name="connsiteX19" fmla="*/ 237449 w 362961"/>
                <a:gd name="connsiteY19" fmla="*/ 77150 h 128273"/>
                <a:gd name="connsiteX20" fmla="*/ 203023 w 362961"/>
                <a:gd name="connsiteY20" fmla="*/ 126219 h 128273"/>
                <a:gd name="connsiteX21" fmla="*/ 199091 w 362961"/>
                <a:gd name="connsiteY21" fmla="*/ 128273 h 128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62961" h="128273">
                  <a:moveTo>
                    <a:pt x="199091" y="128273"/>
                  </a:moveTo>
                  <a:cubicBezTo>
                    <a:pt x="198966" y="128273"/>
                    <a:pt x="198848" y="128266"/>
                    <a:pt x="198723" y="128259"/>
                  </a:cubicBezTo>
                  <a:cubicBezTo>
                    <a:pt x="197030" y="128134"/>
                    <a:pt x="195528" y="127118"/>
                    <a:pt x="194777" y="125594"/>
                  </a:cubicBezTo>
                  <a:lnTo>
                    <a:pt x="140267" y="15350"/>
                  </a:lnTo>
                  <a:lnTo>
                    <a:pt x="108800" y="74595"/>
                  </a:lnTo>
                  <a:cubicBezTo>
                    <a:pt x="107968" y="76170"/>
                    <a:pt x="106334" y="77150"/>
                    <a:pt x="104552" y="77150"/>
                  </a:cubicBezTo>
                  <a:lnTo>
                    <a:pt x="4808" y="77150"/>
                  </a:lnTo>
                  <a:cubicBezTo>
                    <a:pt x="2150" y="77150"/>
                    <a:pt x="0" y="75000"/>
                    <a:pt x="0" y="72342"/>
                  </a:cubicBezTo>
                  <a:cubicBezTo>
                    <a:pt x="0" y="69684"/>
                    <a:pt x="2150" y="67534"/>
                    <a:pt x="4808" y="67534"/>
                  </a:cubicBezTo>
                  <a:lnTo>
                    <a:pt x="101659" y="67534"/>
                  </a:lnTo>
                  <a:lnTo>
                    <a:pt x="136166" y="2555"/>
                  </a:lnTo>
                  <a:cubicBezTo>
                    <a:pt x="137012" y="965"/>
                    <a:pt x="138662" y="74"/>
                    <a:pt x="140480" y="0"/>
                  </a:cubicBezTo>
                  <a:cubicBezTo>
                    <a:pt x="142284" y="29"/>
                    <a:pt x="143918" y="1060"/>
                    <a:pt x="144721" y="2680"/>
                  </a:cubicBezTo>
                  <a:lnTo>
                    <a:pt x="199806" y="114064"/>
                  </a:lnTo>
                  <a:lnTo>
                    <a:pt x="231007" y="69581"/>
                  </a:lnTo>
                  <a:cubicBezTo>
                    <a:pt x="231905" y="68300"/>
                    <a:pt x="233370" y="67534"/>
                    <a:pt x="234938" y="67534"/>
                  </a:cubicBezTo>
                  <a:lnTo>
                    <a:pt x="358154" y="67534"/>
                  </a:lnTo>
                  <a:cubicBezTo>
                    <a:pt x="360812" y="67534"/>
                    <a:pt x="362962" y="69684"/>
                    <a:pt x="362962" y="72342"/>
                  </a:cubicBezTo>
                  <a:cubicBezTo>
                    <a:pt x="362962" y="75000"/>
                    <a:pt x="360812" y="77150"/>
                    <a:pt x="358154" y="77150"/>
                  </a:cubicBezTo>
                  <a:lnTo>
                    <a:pt x="237449" y="77150"/>
                  </a:lnTo>
                  <a:lnTo>
                    <a:pt x="203023" y="126219"/>
                  </a:lnTo>
                  <a:cubicBezTo>
                    <a:pt x="202125" y="127515"/>
                    <a:pt x="200652" y="128273"/>
                    <a:pt x="199091" y="128273"/>
                  </a:cubicBezTo>
                  <a:close/>
                </a:path>
              </a:pathLst>
            </a:custGeom>
            <a:solidFill>
              <a:schemeClr val="accent1"/>
            </a:solidFill>
            <a:ln w="735" cap="flat">
              <a:noFill/>
              <a:prstDash val="solid"/>
              <a:miter/>
            </a:ln>
          </p:spPr>
          <p:txBody>
            <a:bodyPr rtlCol="0" anchor="ctr"/>
            <a:lstStyle/>
            <a:p>
              <a:endParaRPr lang="en-GB" dirty="0"/>
            </a:p>
          </p:txBody>
        </p:sp>
      </p:grpSp>
      <p:grpSp>
        <p:nvGrpSpPr>
          <p:cNvPr id="97" name="Gruppieren 493">
            <a:extLst>
              <a:ext uri="{FF2B5EF4-FFF2-40B4-BE49-F238E27FC236}">
                <a16:creationId xmlns:a16="http://schemas.microsoft.com/office/drawing/2014/main" id="{831EE17C-0A85-4BD3-A992-667272386120}"/>
              </a:ext>
            </a:extLst>
          </p:cNvPr>
          <p:cNvGrpSpPr>
            <a:grpSpLocks noChangeAspect="1"/>
          </p:cNvGrpSpPr>
          <p:nvPr/>
        </p:nvGrpSpPr>
        <p:grpSpPr>
          <a:xfrm>
            <a:off x="632047" y="3260362"/>
            <a:ext cx="324007" cy="324000"/>
            <a:chOff x="3286868" y="3381192"/>
            <a:chExt cx="311064" cy="311057"/>
          </a:xfrm>
        </p:grpSpPr>
        <p:grpSp>
          <p:nvGrpSpPr>
            <p:cNvPr id="98" name="Gruppieren 491">
              <a:extLst>
                <a:ext uri="{FF2B5EF4-FFF2-40B4-BE49-F238E27FC236}">
                  <a16:creationId xmlns:a16="http://schemas.microsoft.com/office/drawing/2014/main" id="{8B245FEC-9277-4D82-A6FF-6A6259737208}"/>
                </a:ext>
              </a:extLst>
            </p:cNvPr>
            <p:cNvGrpSpPr/>
            <p:nvPr/>
          </p:nvGrpSpPr>
          <p:grpSpPr>
            <a:xfrm>
              <a:off x="3392493" y="3449073"/>
              <a:ext cx="102360" cy="170460"/>
              <a:chOff x="3392493" y="3449073"/>
              <a:chExt cx="102360" cy="170460"/>
            </a:xfrm>
          </p:grpSpPr>
          <p:sp>
            <p:nvSpPr>
              <p:cNvPr id="103" name="Freihandform: Form 295">
                <a:extLst>
                  <a:ext uri="{FF2B5EF4-FFF2-40B4-BE49-F238E27FC236}">
                    <a16:creationId xmlns:a16="http://schemas.microsoft.com/office/drawing/2014/main" id="{15CFC0D9-BE23-440B-819F-4F5EAFCF9841}"/>
                  </a:ext>
                </a:extLst>
              </p:cNvPr>
              <p:cNvSpPr/>
              <p:nvPr/>
            </p:nvSpPr>
            <p:spPr>
              <a:xfrm rot="18899757">
                <a:off x="3355594" y="3488765"/>
                <a:ext cx="89000" cy="9615"/>
              </a:xfrm>
              <a:custGeom>
                <a:avLst/>
                <a:gdLst>
                  <a:gd name="connsiteX0" fmla="*/ 0 w 89000"/>
                  <a:gd name="connsiteY0" fmla="*/ 0 h 9615"/>
                  <a:gd name="connsiteX1" fmla="*/ 89001 w 89000"/>
                  <a:gd name="connsiteY1" fmla="*/ 0 h 9615"/>
                  <a:gd name="connsiteX2" fmla="*/ 89001 w 89000"/>
                  <a:gd name="connsiteY2" fmla="*/ 9616 h 9615"/>
                  <a:gd name="connsiteX3" fmla="*/ 0 w 89000"/>
                  <a:gd name="connsiteY3" fmla="*/ 9616 h 9615"/>
                </a:gdLst>
                <a:ahLst/>
                <a:cxnLst>
                  <a:cxn ang="0">
                    <a:pos x="connsiteX0" y="connsiteY0"/>
                  </a:cxn>
                  <a:cxn ang="0">
                    <a:pos x="connsiteX1" y="connsiteY1"/>
                  </a:cxn>
                  <a:cxn ang="0">
                    <a:pos x="connsiteX2" y="connsiteY2"/>
                  </a:cxn>
                  <a:cxn ang="0">
                    <a:pos x="connsiteX3" y="connsiteY3"/>
                  </a:cxn>
                </a:cxnLst>
                <a:rect l="l" t="t" r="r" b="b"/>
                <a:pathLst>
                  <a:path w="89000" h="9615">
                    <a:moveTo>
                      <a:pt x="0" y="0"/>
                    </a:moveTo>
                    <a:lnTo>
                      <a:pt x="89001" y="0"/>
                    </a:lnTo>
                    <a:lnTo>
                      <a:pt x="89001" y="9616"/>
                    </a:lnTo>
                    <a:lnTo>
                      <a:pt x="0" y="9616"/>
                    </a:lnTo>
                    <a:close/>
                  </a:path>
                </a:pathLst>
              </a:custGeom>
              <a:solidFill>
                <a:schemeClr val="accent1"/>
              </a:solidFill>
              <a:ln w="735" cap="flat">
                <a:noFill/>
                <a:prstDash val="solid"/>
                <a:miter/>
              </a:ln>
            </p:spPr>
            <p:txBody>
              <a:bodyPr rtlCol="0" anchor="ctr"/>
              <a:lstStyle/>
              <a:p>
                <a:endParaRPr lang="en-GB" dirty="0"/>
              </a:p>
            </p:txBody>
          </p:sp>
          <p:sp>
            <p:nvSpPr>
              <p:cNvPr id="104" name="Freihandform: Form 297">
                <a:extLst>
                  <a:ext uri="{FF2B5EF4-FFF2-40B4-BE49-F238E27FC236}">
                    <a16:creationId xmlns:a16="http://schemas.microsoft.com/office/drawing/2014/main" id="{C83A0B44-201D-4B1B-9BB7-8C8B5D166AA4}"/>
                  </a:ext>
                </a:extLst>
              </p:cNvPr>
              <p:cNvSpPr/>
              <p:nvPr/>
            </p:nvSpPr>
            <p:spPr>
              <a:xfrm rot="18899757">
                <a:off x="3445345" y="3574598"/>
                <a:ext cx="80254" cy="9615"/>
              </a:xfrm>
              <a:custGeom>
                <a:avLst/>
                <a:gdLst>
                  <a:gd name="connsiteX0" fmla="*/ 0 w 80254"/>
                  <a:gd name="connsiteY0" fmla="*/ 0 h 9615"/>
                  <a:gd name="connsiteX1" fmla="*/ 80254 w 80254"/>
                  <a:gd name="connsiteY1" fmla="*/ 0 h 9615"/>
                  <a:gd name="connsiteX2" fmla="*/ 80254 w 80254"/>
                  <a:gd name="connsiteY2" fmla="*/ 9616 h 9615"/>
                  <a:gd name="connsiteX3" fmla="*/ 0 w 80254"/>
                  <a:gd name="connsiteY3" fmla="*/ 9616 h 9615"/>
                </a:gdLst>
                <a:ahLst/>
                <a:cxnLst>
                  <a:cxn ang="0">
                    <a:pos x="connsiteX0" y="connsiteY0"/>
                  </a:cxn>
                  <a:cxn ang="0">
                    <a:pos x="connsiteX1" y="connsiteY1"/>
                  </a:cxn>
                  <a:cxn ang="0">
                    <a:pos x="connsiteX2" y="connsiteY2"/>
                  </a:cxn>
                  <a:cxn ang="0">
                    <a:pos x="connsiteX3" y="connsiteY3"/>
                  </a:cxn>
                </a:cxnLst>
                <a:rect l="l" t="t" r="r" b="b"/>
                <a:pathLst>
                  <a:path w="80254" h="9615">
                    <a:moveTo>
                      <a:pt x="0" y="0"/>
                    </a:moveTo>
                    <a:lnTo>
                      <a:pt x="80254" y="0"/>
                    </a:lnTo>
                    <a:lnTo>
                      <a:pt x="80254" y="9616"/>
                    </a:lnTo>
                    <a:lnTo>
                      <a:pt x="0" y="9616"/>
                    </a:lnTo>
                    <a:close/>
                  </a:path>
                </a:pathLst>
              </a:custGeom>
              <a:solidFill>
                <a:schemeClr val="accent1"/>
              </a:solidFill>
              <a:ln w="735" cap="flat">
                <a:noFill/>
                <a:prstDash val="solid"/>
                <a:miter/>
              </a:ln>
            </p:spPr>
            <p:txBody>
              <a:bodyPr rtlCol="0" anchor="ctr"/>
              <a:lstStyle/>
              <a:p>
                <a:endParaRPr lang="en-GB" dirty="0"/>
              </a:p>
            </p:txBody>
          </p:sp>
          <p:grpSp>
            <p:nvGrpSpPr>
              <p:cNvPr id="105" name="Grafik 4">
                <a:extLst>
                  <a:ext uri="{FF2B5EF4-FFF2-40B4-BE49-F238E27FC236}">
                    <a16:creationId xmlns:a16="http://schemas.microsoft.com/office/drawing/2014/main" id="{40E7CDCF-B5B8-4969-B832-FDB460FFF500}"/>
                  </a:ext>
                </a:extLst>
              </p:cNvPr>
              <p:cNvGrpSpPr/>
              <p:nvPr/>
            </p:nvGrpSpPr>
            <p:grpSpPr>
              <a:xfrm>
                <a:off x="3392493" y="3528958"/>
                <a:ext cx="60674" cy="60723"/>
                <a:chOff x="3392493" y="3528958"/>
                <a:chExt cx="60674" cy="60723"/>
              </a:xfrm>
              <a:solidFill>
                <a:schemeClr val="accent1"/>
              </a:solidFill>
            </p:grpSpPr>
            <p:sp>
              <p:nvSpPr>
                <p:cNvPr id="114" name="Freihandform: Form 300">
                  <a:extLst>
                    <a:ext uri="{FF2B5EF4-FFF2-40B4-BE49-F238E27FC236}">
                      <a16:creationId xmlns:a16="http://schemas.microsoft.com/office/drawing/2014/main" id="{FFE39776-8860-49AD-88FC-300361336363}"/>
                    </a:ext>
                  </a:extLst>
                </p:cNvPr>
                <p:cNvSpPr/>
                <p:nvPr/>
              </p:nvSpPr>
              <p:spPr>
                <a:xfrm rot="-2700000">
                  <a:off x="3396962" y="3529923"/>
                  <a:ext cx="9615" cy="16623"/>
                </a:xfrm>
                <a:custGeom>
                  <a:avLst/>
                  <a:gdLst>
                    <a:gd name="connsiteX0" fmla="*/ 0 w 9615"/>
                    <a:gd name="connsiteY0" fmla="*/ 0 h 16623"/>
                    <a:gd name="connsiteX1" fmla="*/ 9615 w 9615"/>
                    <a:gd name="connsiteY1" fmla="*/ 0 h 16623"/>
                    <a:gd name="connsiteX2" fmla="*/ 9615 w 9615"/>
                    <a:gd name="connsiteY2" fmla="*/ 16624 h 16623"/>
                    <a:gd name="connsiteX3" fmla="*/ 0 w 9615"/>
                    <a:gd name="connsiteY3" fmla="*/ 16624 h 16623"/>
                  </a:gdLst>
                  <a:ahLst/>
                  <a:cxnLst>
                    <a:cxn ang="0">
                      <a:pos x="connsiteX0" y="connsiteY0"/>
                    </a:cxn>
                    <a:cxn ang="0">
                      <a:pos x="connsiteX1" y="connsiteY1"/>
                    </a:cxn>
                    <a:cxn ang="0">
                      <a:pos x="connsiteX2" y="connsiteY2"/>
                    </a:cxn>
                    <a:cxn ang="0">
                      <a:pos x="connsiteX3" y="connsiteY3"/>
                    </a:cxn>
                  </a:cxnLst>
                  <a:rect l="l" t="t" r="r" b="b"/>
                  <a:pathLst>
                    <a:path w="9615" h="16623">
                      <a:moveTo>
                        <a:pt x="0" y="0"/>
                      </a:moveTo>
                      <a:lnTo>
                        <a:pt x="9615" y="0"/>
                      </a:lnTo>
                      <a:lnTo>
                        <a:pt x="9615" y="16624"/>
                      </a:lnTo>
                      <a:lnTo>
                        <a:pt x="0" y="16624"/>
                      </a:lnTo>
                      <a:close/>
                    </a:path>
                  </a:pathLst>
                </a:custGeom>
                <a:solidFill>
                  <a:schemeClr val="accent1"/>
                </a:solidFill>
                <a:ln w="735" cap="flat">
                  <a:noFill/>
                  <a:prstDash val="solid"/>
                  <a:miter/>
                </a:ln>
              </p:spPr>
              <p:txBody>
                <a:bodyPr rtlCol="0" anchor="ctr"/>
                <a:lstStyle/>
                <a:p>
                  <a:endParaRPr lang="en-GB" dirty="0"/>
                </a:p>
              </p:txBody>
            </p:sp>
            <p:sp>
              <p:nvSpPr>
                <p:cNvPr id="115" name="Freihandform: Form 301">
                  <a:extLst>
                    <a:ext uri="{FF2B5EF4-FFF2-40B4-BE49-F238E27FC236}">
                      <a16:creationId xmlns:a16="http://schemas.microsoft.com/office/drawing/2014/main" id="{4EC332ED-E059-4C62-9C52-F3EAA606F881}"/>
                    </a:ext>
                  </a:extLst>
                </p:cNvPr>
                <p:cNvSpPr/>
                <p:nvPr/>
              </p:nvSpPr>
              <p:spPr>
                <a:xfrm rot="-2700000">
                  <a:off x="3418208" y="3551171"/>
                  <a:ext cx="9615" cy="16638"/>
                </a:xfrm>
                <a:custGeom>
                  <a:avLst/>
                  <a:gdLst>
                    <a:gd name="connsiteX0" fmla="*/ 0 w 9615"/>
                    <a:gd name="connsiteY0" fmla="*/ 0 h 16638"/>
                    <a:gd name="connsiteX1" fmla="*/ 9615 w 9615"/>
                    <a:gd name="connsiteY1" fmla="*/ 0 h 16638"/>
                    <a:gd name="connsiteX2" fmla="*/ 9615 w 9615"/>
                    <a:gd name="connsiteY2" fmla="*/ 16639 h 16638"/>
                    <a:gd name="connsiteX3" fmla="*/ 0 w 9615"/>
                    <a:gd name="connsiteY3" fmla="*/ 16639 h 16638"/>
                  </a:gdLst>
                  <a:ahLst/>
                  <a:cxnLst>
                    <a:cxn ang="0">
                      <a:pos x="connsiteX0" y="connsiteY0"/>
                    </a:cxn>
                    <a:cxn ang="0">
                      <a:pos x="connsiteX1" y="connsiteY1"/>
                    </a:cxn>
                    <a:cxn ang="0">
                      <a:pos x="connsiteX2" y="connsiteY2"/>
                    </a:cxn>
                    <a:cxn ang="0">
                      <a:pos x="connsiteX3" y="connsiteY3"/>
                    </a:cxn>
                  </a:cxnLst>
                  <a:rect l="l" t="t" r="r" b="b"/>
                  <a:pathLst>
                    <a:path w="9615" h="16638">
                      <a:moveTo>
                        <a:pt x="0" y="0"/>
                      </a:moveTo>
                      <a:lnTo>
                        <a:pt x="9615" y="0"/>
                      </a:lnTo>
                      <a:lnTo>
                        <a:pt x="9615" y="16639"/>
                      </a:lnTo>
                      <a:lnTo>
                        <a:pt x="0" y="16639"/>
                      </a:lnTo>
                      <a:close/>
                    </a:path>
                  </a:pathLst>
                </a:custGeom>
                <a:solidFill>
                  <a:schemeClr val="accent1"/>
                </a:solidFill>
                <a:ln w="735" cap="flat">
                  <a:noFill/>
                  <a:prstDash val="solid"/>
                  <a:miter/>
                </a:ln>
              </p:spPr>
              <p:txBody>
                <a:bodyPr rtlCol="0" anchor="ctr"/>
                <a:lstStyle/>
                <a:p>
                  <a:endParaRPr lang="en-GB" dirty="0"/>
                </a:p>
              </p:txBody>
            </p:sp>
            <p:sp>
              <p:nvSpPr>
                <p:cNvPr id="116" name="Freihandform: Form 302">
                  <a:extLst>
                    <a:ext uri="{FF2B5EF4-FFF2-40B4-BE49-F238E27FC236}">
                      <a16:creationId xmlns:a16="http://schemas.microsoft.com/office/drawing/2014/main" id="{B0D0C3EC-0319-4A93-A0E2-697A3538A1B6}"/>
                    </a:ext>
                  </a:extLst>
                </p:cNvPr>
                <p:cNvSpPr/>
                <p:nvPr/>
              </p:nvSpPr>
              <p:spPr>
                <a:xfrm rot="-2698542">
                  <a:off x="3439081" y="3572085"/>
                  <a:ext cx="9615" cy="16631"/>
                </a:xfrm>
                <a:custGeom>
                  <a:avLst/>
                  <a:gdLst>
                    <a:gd name="connsiteX0" fmla="*/ 0 w 9615"/>
                    <a:gd name="connsiteY0" fmla="*/ 0 h 16631"/>
                    <a:gd name="connsiteX1" fmla="*/ 9615 w 9615"/>
                    <a:gd name="connsiteY1" fmla="*/ 0 h 16631"/>
                    <a:gd name="connsiteX2" fmla="*/ 9615 w 9615"/>
                    <a:gd name="connsiteY2" fmla="*/ 16631 h 16631"/>
                    <a:gd name="connsiteX3" fmla="*/ 0 w 9615"/>
                    <a:gd name="connsiteY3" fmla="*/ 16631 h 16631"/>
                  </a:gdLst>
                  <a:ahLst/>
                  <a:cxnLst>
                    <a:cxn ang="0">
                      <a:pos x="connsiteX0" y="connsiteY0"/>
                    </a:cxn>
                    <a:cxn ang="0">
                      <a:pos x="connsiteX1" y="connsiteY1"/>
                    </a:cxn>
                    <a:cxn ang="0">
                      <a:pos x="connsiteX2" y="connsiteY2"/>
                    </a:cxn>
                    <a:cxn ang="0">
                      <a:pos x="connsiteX3" y="connsiteY3"/>
                    </a:cxn>
                  </a:cxnLst>
                  <a:rect l="l" t="t" r="r" b="b"/>
                  <a:pathLst>
                    <a:path w="9615" h="16631">
                      <a:moveTo>
                        <a:pt x="0" y="0"/>
                      </a:moveTo>
                      <a:lnTo>
                        <a:pt x="9615" y="0"/>
                      </a:lnTo>
                      <a:lnTo>
                        <a:pt x="9615" y="16631"/>
                      </a:lnTo>
                      <a:lnTo>
                        <a:pt x="0" y="16631"/>
                      </a:lnTo>
                      <a:close/>
                    </a:path>
                  </a:pathLst>
                </a:custGeom>
                <a:solidFill>
                  <a:schemeClr val="accent1"/>
                </a:solidFill>
                <a:ln w="735" cap="flat">
                  <a:noFill/>
                  <a:prstDash val="solid"/>
                  <a:miter/>
                </a:ln>
              </p:spPr>
              <p:txBody>
                <a:bodyPr rtlCol="0" anchor="ctr"/>
                <a:lstStyle/>
                <a:p>
                  <a:endParaRPr lang="en-GB" dirty="0"/>
                </a:p>
              </p:txBody>
            </p:sp>
          </p:grpSp>
          <p:grpSp>
            <p:nvGrpSpPr>
              <p:cNvPr id="106" name="Grafik 4">
                <a:extLst>
                  <a:ext uri="{FF2B5EF4-FFF2-40B4-BE49-F238E27FC236}">
                    <a16:creationId xmlns:a16="http://schemas.microsoft.com/office/drawing/2014/main" id="{C75298A7-90D4-425C-A10B-A3135CBA8F77}"/>
                  </a:ext>
                </a:extLst>
              </p:cNvPr>
              <p:cNvGrpSpPr/>
              <p:nvPr/>
            </p:nvGrpSpPr>
            <p:grpSpPr>
              <a:xfrm>
                <a:off x="3413344" y="3508100"/>
                <a:ext cx="60670" cy="60676"/>
                <a:chOff x="3413344" y="3508100"/>
                <a:chExt cx="60670" cy="60676"/>
              </a:xfrm>
              <a:solidFill>
                <a:schemeClr val="accent1"/>
              </a:solidFill>
            </p:grpSpPr>
            <p:sp>
              <p:nvSpPr>
                <p:cNvPr id="111" name="Freihandform: Form 304">
                  <a:extLst>
                    <a:ext uri="{FF2B5EF4-FFF2-40B4-BE49-F238E27FC236}">
                      <a16:creationId xmlns:a16="http://schemas.microsoft.com/office/drawing/2014/main" id="{C191F820-C0BF-4E4A-A66D-22406EC06329}"/>
                    </a:ext>
                  </a:extLst>
                </p:cNvPr>
                <p:cNvSpPr/>
                <p:nvPr/>
              </p:nvSpPr>
              <p:spPr>
                <a:xfrm rot="-2700000">
                  <a:off x="3417818" y="3509062"/>
                  <a:ext cx="9615" cy="16638"/>
                </a:xfrm>
                <a:custGeom>
                  <a:avLst/>
                  <a:gdLst>
                    <a:gd name="connsiteX0" fmla="*/ 0 w 9615"/>
                    <a:gd name="connsiteY0" fmla="*/ 0 h 16638"/>
                    <a:gd name="connsiteX1" fmla="*/ 9615 w 9615"/>
                    <a:gd name="connsiteY1" fmla="*/ 0 h 16638"/>
                    <a:gd name="connsiteX2" fmla="*/ 9615 w 9615"/>
                    <a:gd name="connsiteY2" fmla="*/ 16639 h 16638"/>
                    <a:gd name="connsiteX3" fmla="*/ 0 w 9615"/>
                    <a:gd name="connsiteY3" fmla="*/ 16639 h 16638"/>
                  </a:gdLst>
                  <a:ahLst/>
                  <a:cxnLst>
                    <a:cxn ang="0">
                      <a:pos x="connsiteX0" y="connsiteY0"/>
                    </a:cxn>
                    <a:cxn ang="0">
                      <a:pos x="connsiteX1" y="connsiteY1"/>
                    </a:cxn>
                    <a:cxn ang="0">
                      <a:pos x="connsiteX2" y="connsiteY2"/>
                    </a:cxn>
                    <a:cxn ang="0">
                      <a:pos x="connsiteX3" y="connsiteY3"/>
                    </a:cxn>
                  </a:cxnLst>
                  <a:rect l="l" t="t" r="r" b="b"/>
                  <a:pathLst>
                    <a:path w="9615" h="16638">
                      <a:moveTo>
                        <a:pt x="0" y="0"/>
                      </a:moveTo>
                      <a:lnTo>
                        <a:pt x="9615" y="0"/>
                      </a:lnTo>
                      <a:lnTo>
                        <a:pt x="9615" y="16639"/>
                      </a:lnTo>
                      <a:lnTo>
                        <a:pt x="0" y="16639"/>
                      </a:lnTo>
                      <a:close/>
                    </a:path>
                  </a:pathLst>
                </a:custGeom>
                <a:solidFill>
                  <a:schemeClr val="accent1"/>
                </a:solidFill>
                <a:ln w="735" cap="flat">
                  <a:noFill/>
                  <a:prstDash val="solid"/>
                  <a:miter/>
                </a:ln>
              </p:spPr>
              <p:txBody>
                <a:bodyPr rtlCol="0" anchor="ctr"/>
                <a:lstStyle/>
                <a:p>
                  <a:endParaRPr lang="en-GB" dirty="0"/>
                </a:p>
              </p:txBody>
            </p:sp>
            <p:sp>
              <p:nvSpPr>
                <p:cNvPr id="112" name="Freihandform: Form 305">
                  <a:extLst>
                    <a:ext uri="{FF2B5EF4-FFF2-40B4-BE49-F238E27FC236}">
                      <a16:creationId xmlns:a16="http://schemas.microsoft.com/office/drawing/2014/main" id="{D5E0B9DD-4D61-4422-B615-F2F4656F3675}"/>
                    </a:ext>
                  </a:extLst>
                </p:cNvPr>
                <p:cNvSpPr/>
                <p:nvPr/>
              </p:nvSpPr>
              <p:spPr>
                <a:xfrm rot="-2700000">
                  <a:off x="3439106" y="3530457"/>
                  <a:ext cx="9615" cy="16623"/>
                </a:xfrm>
                <a:custGeom>
                  <a:avLst/>
                  <a:gdLst>
                    <a:gd name="connsiteX0" fmla="*/ 0 w 9615"/>
                    <a:gd name="connsiteY0" fmla="*/ 0 h 16623"/>
                    <a:gd name="connsiteX1" fmla="*/ 9615 w 9615"/>
                    <a:gd name="connsiteY1" fmla="*/ 0 h 16623"/>
                    <a:gd name="connsiteX2" fmla="*/ 9615 w 9615"/>
                    <a:gd name="connsiteY2" fmla="*/ 16624 h 16623"/>
                    <a:gd name="connsiteX3" fmla="*/ 0 w 9615"/>
                    <a:gd name="connsiteY3" fmla="*/ 16624 h 16623"/>
                  </a:gdLst>
                  <a:ahLst/>
                  <a:cxnLst>
                    <a:cxn ang="0">
                      <a:pos x="connsiteX0" y="connsiteY0"/>
                    </a:cxn>
                    <a:cxn ang="0">
                      <a:pos x="connsiteX1" y="connsiteY1"/>
                    </a:cxn>
                    <a:cxn ang="0">
                      <a:pos x="connsiteX2" y="connsiteY2"/>
                    </a:cxn>
                    <a:cxn ang="0">
                      <a:pos x="connsiteX3" y="connsiteY3"/>
                    </a:cxn>
                  </a:cxnLst>
                  <a:rect l="l" t="t" r="r" b="b"/>
                  <a:pathLst>
                    <a:path w="9615" h="16623">
                      <a:moveTo>
                        <a:pt x="0" y="0"/>
                      </a:moveTo>
                      <a:lnTo>
                        <a:pt x="9615" y="0"/>
                      </a:lnTo>
                      <a:lnTo>
                        <a:pt x="9615" y="16624"/>
                      </a:lnTo>
                      <a:lnTo>
                        <a:pt x="0" y="16624"/>
                      </a:lnTo>
                      <a:close/>
                    </a:path>
                  </a:pathLst>
                </a:custGeom>
                <a:solidFill>
                  <a:schemeClr val="accent1"/>
                </a:solidFill>
                <a:ln w="735" cap="flat">
                  <a:noFill/>
                  <a:prstDash val="solid"/>
                  <a:miter/>
                </a:ln>
              </p:spPr>
              <p:txBody>
                <a:bodyPr rtlCol="0" anchor="ctr"/>
                <a:lstStyle/>
                <a:p>
                  <a:endParaRPr lang="en-GB" dirty="0"/>
                </a:p>
              </p:txBody>
            </p:sp>
            <p:sp>
              <p:nvSpPr>
                <p:cNvPr id="113" name="Freihandform: Form 306">
                  <a:extLst>
                    <a:ext uri="{FF2B5EF4-FFF2-40B4-BE49-F238E27FC236}">
                      <a16:creationId xmlns:a16="http://schemas.microsoft.com/office/drawing/2014/main" id="{BA39B9E7-5381-43F6-B647-9FB06D9189E3}"/>
                    </a:ext>
                  </a:extLst>
                </p:cNvPr>
                <p:cNvSpPr/>
                <p:nvPr/>
              </p:nvSpPr>
              <p:spPr>
                <a:xfrm rot="-2700000">
                  <a:off x="3459925" y="3551175"/>
                  <a:ext cx="9615" cy="16638"/>
                </a:xfrm>
                <a:custGeom>
                  <a:avLst/>
                  <a:gdLst>
                    <a:gd name="connsiteX0" fmla="*/ 0 w 9615"/>
                    <a:gd name="connsiteY0" fmla="*/ 0 h 16638"/>
                    <a:gd name="connsiteX1" fmla="*/ 9615 w 9615"/>
                    <a:gd name="connsiteY1" fmla="*/ 0 h 16638"/>
                    <a:gd name="connsiteX2" fmla="*/ 9615 w 9615"/>
                    <a:gd name="connsiteY2" fmla="*/ 16639 h 16638"/>
                    <a:gd name="connsiteX3" fmla="*/ 0 w 9615"/>
                    <a:gd name="connsiteY3" fmla="*/ 16639 h 16638"/>
                  </a:gdLst>
                  <a:ahLst/>
                  <a:cxnLst>
                    <a:cxn ang="0">
                      <a:pos x="connsiteX0" y="connsiteY0"/>
                    </a:cxn>
                    <a:cxn ang="0">
                      <a:pos x="connsiteX1" y="connsiteY1"/>
                    </a:cxn>
                    <a:cxn ang="0">
                      <a:pos x="connsiteX2" y="connsiteY2"/>
                    </a:cxn>
                    <a:cxn ang="0">
                      <a:pos x="connsiteX3" y="connsiteY3"/>
                    </a:cxn>
                  </a:cxnLst>
                  <a:rect l="l" t="t" r="r" b="b"/>
                  <a:pathLst>
                    <a:path w="9615" h="16638">
                      <a:moveTo>
                        <a:pt x="0" y="0"/>
                      </a:moveTo>
                      <a:lnTo>
                        <a:pt x="9615" y="0"/>
                      </a:lnTo>
                      <a:lnTo>
                        <a:pt x="9615" y="16639"/>
                      </a:lnTo>
                      <a:lnTo>
                        <a:pt x="0" y="16639"/>
                      </a:lnTo>
                      <a:close/>
                    </a:path>
                  </a:pathLst>
                </a:custGeom>
                <a:solidFill>
                  <a:schemeClr val="accent1"/>
                </a:solidFill>
                <a:ln w="735" cap="flat">
                  <a:noFill/>
                  <a:prstDash val="solid"/>
                  <a:miter/>
                </a:ln>
              </p:spPr>
              <p:txBody>
                <a:bodyPr rtlCol="0" anchor="ctr"/>
                <a:lstStyle/>
                <a:p>
                  <a:endParaRPr lang="en-GB" dirty="0"/>
                </a:p>
              </p:txBody>
            </p:sp>
          </p:grpSp>
          <p:grpSp>
            <p:nvGrpSpPr>
              <p:cNvPr id="107" name="Grafik 4">
                <a:extLst>
                  <a:ext uri="{FF2B5EF4-FFF2-40B4-BE49-F238E27FC236}">
                    <a16:creationId xmlns:a16="http://schemas.microsoft.com/office/drawing/2014/main" id="{C86F9FFB-5372-4937-8B13-A648970EA09B}"/>
                  </a:ext>
                </a:extLst>
              </p:cNvPr>
              <p:cNvGrpSpPr/>
              <p:nvPr/>
            </p:nvGrpSpPr>
            <p:grpSpPr>
              <a:xfrm>
                <a:off x="3434192" y="3487205"/>
                <a:ext cx="60661" cy="60658"/>
                <a:chOff x="3434192" y="3487205"/>
                <a:chExt cx="60661" cy="60658"/>
              </a:xfrm>
              <a:solidFill>
                <a:schemeClr val="accent1"/>
              </a:solidFill>
            </p:grpSpPr>
            <p:sp>
              <p:nvSpPr>
                <p:cNvPr id="108" name="Freihandform: Form 308">
                  <a:extLst>
                    <a:ext uri="{FF2B5EF4-FFF2-40B4-BE49-F238E27FC236}">
                      <a16:creationId xmlns:a16="http://schemas.microsoft.com/office/drawing/2014/main" id="{6AD42A24-076F-4978-8E28-992C8E94847B}"/>
                    </a:ext>
                  </a:extLst>
                </p:cNvPr>
                <p:cNvSpPr/>
                <p:nvPr/>
              </p:nvSpPr>
              <p:spPr>
                <a:xfrm rot="-2701459">
                  <a:off x="3438665" y="3488168"/>
                  <a:ext cx="9615" cy="16631"/>
                </a:xfrm>
                <a:custGeom>
                  <a:avLst/>
                  <a:gdLst>
                    <a:gd name="connsiteX0" fmla="*/ 0 w 9615"/>
                    <a:gd name="connsiteY0" fmla="*/ 0 h 16631"/>
                    <a:gd name="connsiteX1" fmla="*/ 9615 w 9615"/>
                    <a:gd name="connsiteY1" fmla="*/ 0 h 16631"/>
                    <a:gd name="connsiteX2" fmla="*/ 9615 w 9615"/>
                    <a:gd name="connsiteY2" fmla="*/ 16631 h 16631"/>
                    <a:gd name="connsiteX3" fmla="*/ 0 w 9615"/>
                    <a:gd name="connsiteY3" fmla="*/ 16631 h 16631"/>
                  </a:gdLst>
                  <a:ahLst/>
                  <a:cxnLst>
                    <a:cxn ang="0">
                      <a:pos x="connsiteX0" y="connsiteY0"/>
                    </a:cxn>
                    <a:cxn ang="0">
                      <a:pos x="connsiteX1" y="connsiteY1"/>
                    </a:cxn>
                    <a:cxn ang="0">
                      <a:pos x="connsiteX2" y="connsiteY2"/>
                    </a:cxn>
                    <a:cxn ang="0">
                      <a:pos x="connsiteX3" y="connsiteY3"/>
                    </a:cxn>
                  </a:cxnLst>
                  <a:rect l="l" t="t" r="r" b="b"/>
                  <a:pathLst>
                    <a:path w="9615" h="16631">
                      <a:moveTo>
                        <a:pt x="0" y="0"/>
                      </a:moveTo>
                      <a:lnTo>
                        <a:pt x="9615" y="0"/>
                      </a:lnTo>
                      <a:lnTo>
                        <a:pt x="9615" y="16631"/>
                      </a:lnTo>
                      <a:lnTo>
                        <a:pt x="0" y="16631"/>
                      </a:lnTo>
                      <a:close/>
                    </a:path>
                  </a:pathLst>
                </a:custGeom>
                <a:solidFill>
                  <a:schemeClr val="accent1"/>
                </a:solidFill>
                <a:ln w="735" cap="flat">
                  <a:noFill/>
                  <a:prstDash val="solid"/>
                  <a:miter/>
                </a:ln>
              </p:spPr>
              <p:txBody>
                <a:bodyPr rtlCol="0" anchor="ctr"/>
                <a:lstStyle/>
                <a:p>
                  <a:endParaRPr lang="en-GB" dirty="0"/>
                </a:p>
              </p:txBody>
            </p:sp>
            <p:sp>
              <p:nvSpPr>
                <p:cNvPr id="109" name="Freihandform: Form 309">
                  <a:extLst>
                    <a:ext uri="{FF2B5EF4-FFF2-40B4-BE49-F238E27FC236}">
                      <a16:creationId xmlns:a16="http://schemas.microsoft.com/office/drawing/2014/main" id="{8128D56B-F956-4B72-AD69-1DE608C04C58}"/>
                    </a:ext>
                  </a:extLst>
                </p:cNvPr>
                <p:cNvSpPr/>
                <p:nvPr/>
              </p:nvSpPr>
              <p:spPr>
                <a:xfrm rot="-2700000">
                  <a:off x="3459885" y="3509330"/>
                  <a:ext cx="9615" cy="16638"/>
                </a:xfrm>
                <a:custGeom>
                  <a:avLst/>
                  <a:gdLst>
                    <a:gd name="connsiteX0" fmla="*/ 0 w 9615"/>
                    <a:gd name="connsiteY0" fmla="*/ 0 h 16638"/>
                    <a:gd name="connsiteX1" fmla="*/ 9615 w 9615"/>
                    <a:gd name="connsiteY1" fmla="*/ 0 h 16638"/>
                    <a:gd name="connsiteX2" fmla="*/ 9615 w 9615"/>
                    <a:gd name="connsiteY2" fmla="*/ 16639 h 16638"/>
                    <a:gd name="connsiteX3" fmla="*/ 0 w 9615"/>
                    <a:gd name="connsiteY3" fmla="*/ 16639 h 16638"/>
                  </a:gdLst>
                  <a:ahLst/>
                  <a:cxnLst>
                    <a:cxn ang="0">
                      <a:pos x="connsiteX0" y="connsiteY0"/>
                    </a:cxn>
                    <a:cxn ang="0">
                      <a:pos x="connsiteX1" y="connsiteY1"/>
                    </a:cxn>
                    <a:cxn ang="0">
                      <a:pos x="connsiteX2" y="connsiteY2"/>
                    </a:cxn>
                    <a:cxn ang="0">
                      <a:pos x="connsiteX3" y="connsiteY3"/>
                    </a:cxn>
                  </a:cxnLst>
                  <a:rect l="l" t="t" r="r" b="b"/>
                  <a:pathLst>
                    <a:path w="9615" h="16638">
                      <a:moveTo>
                        <a:pt x="0" y="0"/>
                      </a:moveTo>
                      <a:lnTo>
                        <a:pt x="9615" y="0"/>
                      </a:lnTo>
                      <a:lnTo>
                        <a:pt x="9615" y="16639"/>
                      </a:lnTo>
                      <a:lnTo>
                        <a:pt x="0" y="16639"/>
                      </a:lnTo>
                      <a:close/>
                    </a:path>
                  </a:pathLst>
                </a:custGeom>
                <a:solidFill>
                  <a:schemeClr val="accent1"/>
                </a:solidFill>
                <a:ln w="735" cap="flat">
                  <a:noFill/>
                  <a:prstDash val="solid"/>
                  <a:miter/>
                </a:ln>
              </p:spPr>
              <p:txBody>
                <a:bodyPr rtlCol="0" anchor="ctr"/>
                <a:lstStyle/>
                <a:p>
                  <a:endParaRPr lang="en-GB" dirty="0"/>
                </a:p>
              </p:txBody>
            </p:sp>
            <p:sp>
              <p:nvSpPr>
                <p:cNvPr id="110" name="Freihandform: Form 310">
                  <a:extLst>
                    <a:ext uri="{FF2B5EF4-FFF2-40B4-BE49-F238E27FC236}">
                      <a16:creationId xmlns:a16="http://schemas.microsoft.com/office/drawing/2014/main" id="{C0C66D83-08F3-4080-9BC5-C75C4DEEE1D6}"/>
                    </a:ext>
                  </a:extLst>
                </p:cNvPr>
                <p:cNvSpPr/>
                <p:nvPr/>
              </p:nvSpPr>
              <p:spPr>
                <a:xfrm rot="-2701459">
                  <a:off x="3480765" y="3530270"/>
                  <a:ext cx="9615" cy="16631"/>
                </a:xfrm>
                <a:custGeom>
                  <a:avLst/>
                  <a:gdLst>
                    <a:gd name="connsiteX0" fmla="*/ 0 w 9615"/>
                    <a:gd name="connsiteY0" fmla="*/ 0 h 16631"/>
                    <a:gd name="connsiteX1" fmla="*/ 9615 w 9615"/>
                    <a:gd name="connsiteY1" fmla="*/ 0 h 16631"/>
                    <a:gd name="connsiteX2" fmla="*/ 9615 w 9615"/>
                    <a:gd name="connsiteY2" fmla="*/ 16631 h 16631"/>
                    <a:gd name="connsiteX3" fmla="*/ 0 w 9615"/>
                    <a:gd name="connsiteY3" fmla="*/ 16631 h 16631"/>
                  </a:gdLst>
                  <a:ahLst/>
                  <a:cxnLst>
                    <a:cxn ang="0">
                      <a:pos x="connsiteX0" y="connsiteY0"/>
                    </a:cxn>
                    <a:cxn ang="0">
                      <a:pos x="connsiteX1" y="connsiteY1"/>
                    </a:cxn>
                    <a:cxn ang="0">
                      <a:pos x="connsiteX2" y="connsiteY2"/>
                    </a:cxn>
                    <a:cxn ang="0">
                      <a:pos x="connsiteX3" y="connsiteY3"/>
                    </a:cxn>
                  </a:cxnLst>
                  <a:rect l="l" t="t" r="r" b="b"/>
                  <a:pathLst>
                    <a:path w="9615" h="16631">
                      <a:moveTo>
                        <a:pt x="0" y="0"/>
                      </a:moveTo>
                      <a:lnTo>
                        <a:pt x="9615" y="0"/>
                      </a:lnTo>
                      <a:lnTo>
                        <a:pt x="9615" y="16631"/>
                      </a:lnTo>
                      <a:lnTo>
                        <a:pt x="0" y="16631"/>
                      </a:lnTo>
                      <a:close/>
                    </a:path>
                  </a:pathLst>
                </a:custGeom>
                <a:solidFill>
                  <a:schemeClr val="accent1"/>
                </a:solidFill>
                <a:ln w="735" cap="flat">
                  <a:noFill/>
                  <a:prstDash val="solid"/>
                  <a:miter/>
                </a:ln>
              </p:spPr>
              <p:txBody>
                <a:bodyPr rtlCol="0" anchor="ctr"/>
                <a:lstStyle/>
                <a:p>
                  <a:endParaRPr lang="en-GB" dirty="0"/>
                </a:p>
              </p:txBody>
            </p:sp>
          </p:grpSp>
        </p:grpSp>
        <p:grpSp>
          <p:nvGrpSpPr>
            <p:cNvPr id="99" name="Gruppieren 492">
              <a:extLst>
                <a:ext uri="{FF2B5EF4-FFF2-40B4-BE49-F238E27FC236}">
                  <a16:creationId xmlns:a16="http://schemas.microsoft.com/office/drawing/2014/main" id="{3FFBBB89-F322-4D0F-B270-FF62360159BB}"/>
                </a:ext>
              </a:extLst>
            </p:cNvPr>
            <p:cNvGrpSpPr/>
            <p:nvPr/>
          </p:nvGrpSpPr>
          <p:grpSpPr>
            <a:xfrm>
              <a:off x="3286868" y="3381192"/>
              <a:ext cx="311064" cy="311057"/>
              <a:chOff x="3286868" y="3381192"/>
              <a:chExt cx="311064" cy="311057"/>
            </a:xfrm>
          </p:grpSpPr>
          <p:sp>
            <p:nvSpPr>
              <p:cNvPr id="100" name="Freihandform: Form 296">
                <a:extLst>
                  <a:ext uri="{FF2B5EF4-FFF2-40B4-BE49-F238E27FC236}">
                    <a16:creationId xmlns:a16="http://schemas.microsoft.com/office/drawing/2014/main" id="{B6829CAB-93CD-4A8D-BA0D-870E700CD29B}"/>
                  </a:ext>
                </a:extLst>
              </p:cNvPr>
              <p:cNvSpPr/>
              <p:nvPr/>
            </p:nvSpPr>
            <p:spPr>
              <a:xfrm>
                <a:off x="3286905" y="3546535"/>
                <a:ext cx="143402" cy="145692"/>
              </a:xfrm>
              <a:custGeom>
                <a:avLst/>
                <a:gdLst>
                  <a:gd name="connsiteX0" fmla="*/ 65296 w 143402"/>
                  <a:gd name="connsiteY0" fmla="*/ 145693 h 145692"/>
                  <a:gd name="connsiteX1" fmla="*/ 19105 w 143402"/>
                  <a:gd name="connsiteY1" fmla="*/ 126587 h 145692"/>
                  <a:gd name="connsiteX2" fmla="*/ 19105 w 143402"/>
                  <a:gd name="connsiteY2" fmla="*/ 34198 h 145692"/>
                  <a:gd name="connsiteX3" fmla="*/ 52906 w 143402"/>
                  <a:gd name="connsiteY3" fmla="*/ 0 h 145692"/>
                  <a:gd name="connsiteX4" fmla="*/ 59738 w 143402"/>
                  <a:gd name="connsiteY4" fmla="*/ 6759 h 145692"/>
                  <a:gd name="connsiteX5" fmla="*/ 25923 w 143402"/>
                  <a:gd name="connsiteY5" fmla="*/ 40979 h 145692"/>
                  <a:gd name="connsiteX6" fmla="*/ 9586 w 143402"/>
                  <a:gd name="connsiteY6" fmla="*/ 80389 h 145692"/>
                  <a:gd name="connsiteX7" fmla="*/ 25900 w 143402"/>
                  <a:gd name="connsiteY7" fmla="*/ 119792 h 145692"/>
                  <a:gd name="connsiteX8" fmla="*/ 104699 w 143402"/>
                  <a:gd name="connsiteY8" fmla="*/ 119792 h 145692"/>
                  <a:gd name="connsiteX9" fmla="*/ 136607 w 143402"/>
                  <a:gd name="connsiteY9" fmla="*/ 87884 h 145692"/>
                  <a:gd name="connsiteX10" fmla="*/ 143403 w 143402"/>
                  <a:gd name="connsiteY10" fmla="*/ 94679 h 145692"/>
                  <a:gd name="connsiteX11" fmla="*/ 111495 w 143402"/>
                  <a:gd name="connsiteY11" fmla="*/ 126587 h 145692"/>
                  <a:gd name="connsiteX12" fmla="*/ 65296 w 143402"/>
                  <a:gd name="connsiteY12" fmla="*/ 145693 h 14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3402" h="145692">
                    <a:moveTo>
                      <a:pt x="65296" y="145693"/>
                    </a:moveTo>
                    <a:cubicBezTo>
                      <a:pt x="48576" y="145693"/>
                      <a:pt x="31849" y="139324"/>
                      <a:pt x="19105" y="126587"/>
                    </a:cubicBezTo>
                    <a:cubicBezTo>
                      <a:pt x="-6368" y="101114"/>
                      <a:pt x="-6368" y="59671"/>
                      <a:pt x="19105" y="34198"/>
                    </a:cubicBezTo>
                    <a:lnTo>
                      <a:pt x="52906" y="0"/>
                    </a:lnTo>
                    <a:lnTo>
                      <a:pt x="59738" y="6759"/>
                    </a:lnTo>
                    <a:lnTo>
                      <a:pt x="25923" y="40979"/>
                    </a:lnTo>
                    <a:cubicBezTo>
                      <a:pt x="15380" y="51521"/>
                      <a:pt x="9586" y="65510"/>
                      <a:pt x="9586" y="80389"/>
                    </a:cubicBezTo>
                    <a:cubicBezTo>
                      <a:pt x="9586" y="95283"/>
                      <a:pt x="15380" y="109264"/>
                      <a:pt x="25900" y="119792"/>
                    </a:cubicBezTo>
                    <a:cubicBezTo>
                      <a:pt x="47619" y="141496"/>
                      <a:pt x="82966" y="141518"/>
                      <a:pt x="104699" y="119792"/>
                    </a:cubicBezTo>
                    <a:lnTo>
                      <a:pt x="136607" y="87884"/>
                    </a:lnTo>
                    <a:lnTo>
                      <a:pt x="143403" y="94679"/>
                    </a:lnTo>
                    <a:lnTo>
                      <a:pt x="111495" y="126587"/>
                    </a:lnTo>
                    <a:cubicBezTo>
                      <a:pt x="98758" y="139324"/>
                      <a:pt x="82023" y="145693"/>
                      <a:pt x="65296" y="145693"/>
                    </a:cubicBezTo>
                    <a:close/>
                  </a:path>
                </a:pathLst>
              </a:custGeom>
              <a:solidFill>
                <a:schemeClr val="tx2"/>
              </a:solidFill>
              <a:ln w="735" cap="flat">
                <a:noFill/>
                <a:prstDash val="solid"/>
                <a:miter/>
              </a:ln>
            </p:spPr>
            <p:txBody>
              <a:bodyPr rtlCol="0" anchor="ctr"/>
              <a:lstStyle/>
              <a:p>
                <a:endParaRPr lang="en-GB" dirty="0"/>
              </a:p>
            </p:txBody>
          </p:sp>
          <p:sp>
            <p:nvSpPr>
              <p:cNvPr id="101" name="Freihandform: Form 298">
                <a:extLst>
                  <a:ext uri="{FF2B5EF4-FFF2-40B4-BE49-F238E27FC236}">
                    <a16:creationId xmlns:a16="http://schemas.microsoft.com/office/drawing/2014/main" id="{BE25F4F7-EC63-4E81-B19D-5F7805705824}"/>
                  </a:ext>
                </a:extLst>
              </p:cNvPr>
              <p:cNvSpPr/>
              <p:nvPr/>
            </p:nvSpPr>
            <p:spPr>
              <a:xfrm>
                <a:off x="3454007" y="3381224"/>
                <a:ext cx="143895" cy="144667"/>
              </a:xfrm>
              <a:custGeom>
                <a:avLst/>
                <a:gdLst>
                  <a:gd name="connsiteX0" fmla="*/ 91624 w 143895"/>
                  <a:gd name="connsiteY0" fmla="*/ 144667 h 144667"/>
                  <a:gd name="connsiteX1" fmla="*/ 84828 w 143895"/>
                  <a:gd name="connsiteY1" fmla="*/ 137872 h 144667"/>
                  <a:gd name="connsiteX2" fmla="*/ 117996 w 143895"/>
                  <a:gd name="connsiteY2" fmla="*/ 104705 h 144667"/>
                  <a:gd name="connsiteX3" fmla="*/ 117996 w 143895"/>
                  <a:gd name="connsiteY3" fmla="*/ 25906 h 144667"/>
                  <a:gd name="connsiteX4" fmla="*/ 39197 w 143895"/>
                  <a:gd name="connsiteY4" fmla="*/ 25906 h 144667"/>
                  <a:gd name="connsiteX5" fmla="*/ 6795 w 143895"/>
                  <a:gd name="connsiteY5" fmla="*/ 58308 h 144667"/>
                  <a:gd name="connsiteX6" fmla="*/ 0 w 143895"/>
                  <a:gd name="connsiteY6" fmla="*/ 51512 h 144667"/>
                  <a:gd name="connsiteX7" fmla="*/ 32401 w 143895"/>
                  <a:gd name="connsiteY7" fmla="*/ 19111 h 144667"/>
                  <a:gd name="connsiteX8" fmla="*/ 124791 w 143895"/>
                  <a:gd name="connsiteY8" fmla="*/ 19111 h 144667"/>
                  <a:gd name="connsiteX9" fmla="*/ 124791 w 143895"/>
                  <a:gd name="connsiteY9" fmla="*/ 111500 h 144667"/>
                  <a:gd name="connsiteX10" fmla="*/ 91624 w 143895"/>
                  <a:gd name="connsiteY10" fmla="*/ 144667 h 144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895" h="144667">
                    <a:moveTo>
                      <a:pt x="91624" y="144667"/>
                    </a:moveTo>
                    <a:lnTo>
                      <a:pt x="84828" y="137872"/>
                    </a:lnTo>
                    <a:lnTo>
                      <a:pt x="117996" y="104705"/>
                    </a:lnTo>
                    <a:cubicBezTo>
                      <a:pt x="139722" y="82979"/>
                      <a:pt x="139722" y="47632"/>
                      <a:pt x="117996" y="25906"/>
                    </a:cubicBezTo>
                    <a:cubicBezTo>
                      <a:pt x="96277" y="4180"/>
                      <a:pt x="60930" y="4165"/>
                      <a:pt x="39197" y="25906"/>
                    </a:cubicBezTo>
                    <a:lnTo>
                      <a:pt x="6795" y="58308"/>
                    </a:lnTo>
                    <a:lnTo>
                      <a:pt x="0" y="51512"/>
                    </a:lnTo>
                    <a:lnTo>
                      <a:pt x="32401" y="19111"/>
                    </a:lnTo>
                    <a:cubicBezTo>
                      <a:pt x="57875" y="-6370"/>
                      <a:pt x="99303" y="-6370"/>
                      <a:pt x="124791" y="19111"/>
                    </a:cubicBezTo>
                    <a:cubicBezTo>
                      <a:pt x="150264" y="44584"/>
                      <a:pt x="150264" y="86027"/>
                      <a:pt x="124791" y="111500"/>
                    </a:cubicBezTo>
                    <a:lnTo>
                      <a:pt x="91624" y="144667"/>
                    </a:lnTo>
                    <a:close/>
                  </a:path>
                </a:pathLst>
              </a:custGeom>
              <a:solidFill>
                <a:schemeClr val="tx2"/>
              </a:solidFill>
              <a:ln w="735" cap="flat">
                <a:noFill/>
                <a:prstDash val="solid"/>
                <a:miter/>
              </a:ln>
            </p:spPr>
            <p:txBody>
              <a:bodyPr rtlCol="0" anchor="ctr"/>
              <a:lstStyle/>
              <a:p>
                <a:endParaRPr lang="en-GB" dirty="0"/>
              </a:p>
            </p:txBody>
          </p:sp>
          <p:sp>
            <p:nvSpPr>
              <p:cNvPr id="102" name="Freihandform: Form 311">
                <a:extLst>
                  <a:ext uri="{FF2B5EF4-FFF2-40B4-BE49-F238E27FC236}">
                    <a16:creationId xmlns:a16="http://schemas.microsoft.com/office/drawing/2014/main" id="{48888AF9-1F30-47DA-AC32-29F50486CC32}"/>
                  </a:ext>
                </a:extLst>
              </p:cNvPr>
              <p:cNvSpPr/>
              <p:nvPr/>
            </p:nvSpPr>
            <p:spPr>
              <a:xfrm>
                <a:off x="3286868" y="3381192"/>
                <a:ext cx="311064" cy="311057"/>
              </a:xfrm>
              <a:custGeom>
                <a:avLst/>
                <a:gdLst>
                  <a:gd name="connsiteX0" fmla="*/ 245724 w 311064"/>
                  <a:gd name="connsiteY0" fmla="*/ 311057 h 311057"/>
                  <a:gd name="connsiteX1" fmla="*/ 199533 w 311064"/>
                  <a:gd name="connsiteY1" fmla="*/ 291923 h 311057"/>
                  <a:gd name="connsiteX2" fmla="*/ 19135 w 311064"/>
                  <a:gd name="connsiteY2" fmla="*/ 111524 h 311057"/>
                  <a:gd name="connsiteX3" fmla="*/ 0 w 311064"/>
                  <a:gd name="connsiteY3" fmla="*/ 65333 h 311057"/>
                  <a:gd name="connsiteX4" fmla="*/ 19135 w 311064"/>
                  <a:gd name="connsiteY4" fmla="*/ 19135 h 311057"/>
                  <a:gd name="connsiteX5" fmla="*/ 65333 w 311064"/>
                  <a:gd name="connsiteY5" fmla="*/ 0 h 311057"/>
                  <a:gd name="connsiteX6" fmla="*/ 111524 w 311064"/>
                  <a:gd name="connsiteY6" fmla="*/ 19135 h 311057"/>
                  <a:gd name="connsiteX7" fmla="*/ 291930 w 311064"/>
                  <a:gd name="connsiteY7" fmla="*/ 199533 h 311057"/>
                  <a:gd name="connsiteX8" fmla="*/ 311065 w 311064"/>
                  <a:gd name="connsiteY8" fmla="*/ 245724 h 311057"/>
                  <a:gd name="connsiteX9" fmla="*/ 291930 w 311064"/>
                  <a:gd name="connsiteY9" fmla="*/ 291923 h 311057"/>
                  <a:gd name="connsiteX10" fmla="*/ 245724 w 311064"/>
                  <a:gd name="connsiteY10" fmla="*/ 311057 h 311057"/>
                  <a:gd name="connsiteX11" fmla="*/ 65340 w 311064"/>
                  <a:gd name="connsiteY11" fmla="*/ 9623 h 311057"/>
                  <a:gd name="connsiteX12" fmla="*/ 25937 w 311064"/>
                  <a:gd name="connsiteY12" fmla="*/ 25937 h 311057"/>
                  <a:gd name="connsiteX13" fmla="*/ 9623 w 311064"/>
                  <a:gd name="connsiteY13" fmla="*/ 65340 h 311057"/>
                  <a:gd name="connsiteX14" fmla="*/ 25937 w 311064"/>
                  <a:gd name="connsiteY14" fmla="*/ 104736 h 311057"/>
                  <a:gd name="connsiteX15" fmla="*/ 206336 w 311064"/>
                  <a:gd name="connsiteY15" fmla="*/ 285135 h 311057"/>
                  <a:gd name="connsiteX16" fmla="*/ 245732 w 311064"/>
                  <a:gd name="connsiteY16" fmla="*/ 301449 h 311057"/>
                  <a:gd name="connsiteX17" fmla="*/ 285135 w 311064"/>
                  <a:gd name="connsiteY17" fmla="*/ 285135 h 311057"/>
                  <a:gd name="connsiteX18" fmla="*/ 301449 w 311064"/>
                  <a:gd name="connsiteY18" fmla="*/ 245732 h 311057"/>
                  <a:gd name="connsiteX19" fmla="*/ 285135 w 311064"/>
                  <a:gd name="connsiteY19" fmla="*/ 206336 h 311057"/>
                  <a:gd name="connsiteX20" fmla="*/ 104736 w 311064"/>
                  <a:gd name="connsiteY20" fmla="*/ 25937 h 311057"/>
                  <a:gd name="connsiteX21" fmla="*/ 65340 w 311064"/>
                  <a:gd name="connsiteY21" fmla="*/ 9623 h 31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1064" h="311057">
                    <a:moveTo>
                      <a:pt x="245724" y="311057"/>
                    </a:moveTo>
                    <a:cubicBezTo>
                      <a:pt x="228283" y="311057"/>
                      <a:pt x="211872" y="304269"/>
                      <a:pt x="199533" y="291923"/>
                    </a:cubicBezTo>
                    <a:lnTo>
                      <a:pt x="19135" y="111524"/>
                    </a:lnTo>
                    <a:cubicBezTo>
                      <a:pt x="6788" y="99185"/>
                      <a:pt x="0" y="82774"/>
                      <a:pt x="0" y="65333"/>
                    </a:cubicBezTo>
                    <a:cubicBezTo>
                      <a:pt x="0" y="47877"/>
                      <a:pt x="6788" y="31466"/>
                      <a:pt x="19135" y="19135"/>
                    </a:cubicBezTo>
                    <a:cubicBezTo>
                      <a:pt x="31474" y="6788"/>
                      <a:pt x="47884" y="0"/>
                      <a:pt x="65333" y="0"/>
                    </a:cubicBezTo>
                    <a:cubicBezTo>
                      <a:pt x="82774" y="0"/>
                      <a:pt x="99185" y="6788"/>
                      <a:pt x="111524" y="19135"/>
                    </a:cubicBezTo>
                    <a:lnTo>
                      <a:pt x="291930" y="199533"/>
                    </a:lnTo>
                    <a:cubicBezTo>
                      <a:pt x="304277" y="211872"/>
                      <a:pt x="311065" y="228283"/>
                      <a:pt x="311065" y="245724"/>
                    </a:cubicBezTo>
                    <a:cubicBezTo>
                      <a:pt x="311065" y="263180"/>
                      <a:pt x="304277" y="279591"/>
                      <a:pt x="291930" y="291923"/>
                    </a:cubicBezTo>
                    <a:cubicBezTo>
                      <a:pt x="279591" y="304269"/>
                      <a:pt x="263180" y="311057"/>
                      <a:pt x="245724" y="311057"/>
                    </a:cubicBezTo>
                    <a:close/>
                    <a:moveTo>
                      <a:pt x="65340" y="9623"/>
                    </a:moveTo>
                    <a:cubicBezTo>
                      <a:pt x="50447" y="9623"/>
                      <a:pt x="36466" y="15417"/>
                      <a:pt x="25937" y="25937"/>
                    </a:cubicBezTo>
                    <a:cubicBezTo>
                      <a:pt x="15417" y="36466"/>
                      <a:pt x="9623" y="50447"/>
                      <a:pt x="9623" y="65340"/>
                    </a:cubicBezTo>
                    <a:cubicBezTo>
                      <a:pt x="9623" y="80220"/>
                      <a:pt x="15417" y="94208"/>
                      <a:pt x="25937" y="104736"/>
                    </a:cubicBezTo>
                    <a:lnTo>
                      <a:pt x="206336" y="285135"/>
                    </a:lnTo>
                    <a:cubicBezTo>
                      <a:pt x="216857" y="295655"/>
                      <a:pt x="230845" y="301449"/>
                      <a:pt x="245732" y="301449"/>
                    </a:cubicBezTo>
                    <a:cubicBezTo>
                      <a:pt x="260626" y="301449"/>
                      <a:pt x="274607" y="295655"/>
                      <a:pt x="285135" y="285135"/>
                    </a:cubicBezTo>
                    <a:cubicBezTo>
                      <a:pt x="295655" y="274607"/>
                      <a:pt x="301449" y="260625"/>
                      <a:pt x="301449" y="245732"/>
                    </a:cubicBezTo>
                    <a:cubicBezTo>
                      <a:pt x="301449" y="230852"/>
                      <a:pt x="295655" y="216864"/>
                      <a:pt x="285135" y="206336"/>
                    </a:cubicBezTo>
                    <a:lnTo>
                      <a:pt x="104736" y="25937"/>
                    </a:lnTo>
                    <a:cubicBezTo>
                      <a:pt x="94208" y="15417"/>
                      <a:pt x="80220" y="9623"/>
                      <a:pt x="65340" y="9623"/>
                    </a:cubicBezTo>
                    <a:close/>
                  </a:path>
                </a:pathLst>
              </a:custGeom>
              <a:solidFill>
                <a:schemeClr val="tx2"/>
              </a:solidFill>
              <a:ln w="735" cap="flat">
                <a:noFill/>
                <a:prstDash val="solid"/>
                <a:miter/>
              </a:ln>
            </p:spPr>
            <p:txBody>
              <a:bodyPr rtlCol="0" anchor="ctr"/>
              <a:lstStyle/>
              <a:p>
                <a:endParaRPr lang="en-GB" dirty="0"/>
              </a:p>
            </p:txBody>
          </p:sp>
        </p:grpSp>
      </p:grpSp>
      <p:grpSp>
        <p:nvGrpSpPr>
          <p:cNvPr id="117" name="Gruppieren 509">
            <a:extLst>
              <a:ext uri="{FF2B5EF4-FFF2-40B4-BE49-F238E27FC236}">
                <a16:creationId xmlns:a16="http://schemas.microsoft.com/office/drawing/2014/main" id="{EF8B7882-7DF3-4C31-B341-AF6093ABCD4A}"/>
              </a:ext>
            </a:extLst>
          </p:cNvPr>
          <p:cNvGrpSpPr>
            <a:grpSpLocks noChangeAspect="1"/>
          </p:cNvGrpSpPr>
          <p:nvPr/>
        </p:nvGrpSpPr>
        <p:grpSpPr>
          <a:xfrm>
            <a:off x="1707192" y="3260366"/>
            <a:ext cx="264585" cy="323995"/>
            <a:chOff x="1117985" y="4060157"/>
            <a:chExt cx="322711" cy="395173"/>
          </a:xfrm>
        </p:grpSpPr>
        <p:grpSp>
          <p:nvGrpSpPr>
            <p:cNvPr id="118" name="Gruppieren 507">
              <a:extLst>
                <a:ext uri="{FF2B5EF4-FFF2-40B4-BE49-F238E27FC236}">
                  <a16:creationId xmlns:a16="http://schemas.microsoft.com/office/drawing/2014/main" id="{4CF4C986-436A-46D1-8F18-26E3C7011833}"/>
                </a:ext>
              </a:extLst>
            </p:cNvPr>
            <p:cNvGrpSpPr/>
            <p:nvPr/>
          </p:nvGrpSpPr>
          <p:grpSpPr>
            <a:xfrm>
              <a:off x="1169492" y="4060157"/>
              <a:ext cx="97697" cy="320431"/>
              <a:chOff x="1169492" y="4060151"/>
              <a:chExt cx="97697" cy="320430"/>
            </a:xfrm>
          </p:grpSpPr>
          <p:sp>
            <p:nvSpPr>
              <p:cNvPr id="125" name="Freihandform: Form 184">
                <a:extLst>
                  <a:ext uri="{FF2B5EF4-FFF2-40B4-BE49-F238E27FC236}">
                    <a16:creationId xmlns:a16="http://schemas.microsoft.com/office/drawing/2014/main" id="{DCFAD1D8-BDE5-43F5-915A-678D28878FA6}"/>
                  </a:ext>
                </a:extLst>
              </p:cNvPr>
              <p:cNvSpPr/>
              <p:nvPr/>
            </p:nvSpPr>
            <p:spPr>
              <a:xfrm>
                <a:off x="1169492" y="4122201"/>
                <a:ext cx="97697" cy="208007"/>
              </a:xfrm>
              <a:custGeom>
                <a:avLst/>
                <a:gdLst>
                  <a:gd name="connsiteX0" fmla="*/ 87177 w 97697"/>
                  <a:gd name="connsiteY0" fmla="*/ 208007 h 208007"/>
                  <a:gd name="connsiteX1" fmla="*/ 10528 w 97697"/>
                  <a:gd name="connsiteY1" fmla="*/ 208007 h 208007"/>
                  <a:gd name="connsiteX2" fmla="*/ 0 w 97697"/>
                  <a:gd name="connsiteY2" fmla="*/ 197486 h 208007"/>
                  <a:gd name="connsiteX3" fmla="*/ 0 w 97697"/>
                  <a:gd name="connsiteY3" fmla="*/ 10521 h 208007"/>
                  <a:gd name="connsiteX4" fmla="*/ 10528 w 97697"/>
                  <a:gd name="connsiteY4" fmla="*/ 0 h 208007"/>
                  <a:gd name="connsiteX5" fmla="*/ 87177 w 97697"/>
                  <a:gd name="connsiteY5" fmla="*/ 0 h 208007"/>
                  <a:gd name="connsiteX6" fmla="*/ 97698 w 97697"/>
                  <a:gd name="connsiteY6" fmla="*/ 10521 h 208007"/>
                  <a:gd name="connsiteX7" fmla="*/ 97698 w 97697"/>
                  <a:gd name="connsiteY7" fmla="*/ 53848 h 208007"/>
                  <a:gd name="connsiteX8" fmla="*/ 88083 w 97697"/>
                  <a:gd name="connsiteY8" fmla="*/ 53848 h 208007"/>
                  <a:gd name="connsiteX9" fmla="*/ 88083 w 97697"/>
                  <a:gd name="connsiteY9" fmla="*/ 10521 h 208007"/>
                  <a:gd name="connsiteX10" fmla="*/ 87170 w 97697"/>
                  <a:gd name="connsiteY10" fmla="*/ 9608 h 208007"/>
                  <a:gd name="connsiteX11" fmla="*/ 10521 w 97697"/>
                  <a:gd name="connsiteY11" fmla="*/ 9608 h 208007"/>
                  <a:gd name="connsiteX12" fmla="*/ 9608 w 97697"/>
                  <a:gd name="connsiteY12" fmla="*/ 10521 h 208007"/>
                  <a:gd name="connsiteX13" fmla="*/ 9608 w 97697"/>
                  <a:gd name="connsiteY13" fmla="*/ 197486 h 208007"/>
                  <a:gd name="connsiteX14" fmla="*/ 10521 w 97697"/>
                  <a:gd name="connsiteY14" fmla="*/ 198399 h 208007"/>
                  <a:gd name="connsiteX15" fmla="*/ 87170 w 97697"/>
                  <a:gd name="connsiteY15" fmla="*/ 198399 h 208007"/>
                  <a:gd name="connsiteX16" fmla="*/ 88083 w 97697"/>
                  <a:gd name="connsiteY16" fmla="*/ 197486 h 208007"/>
                  <a:gd name="connsiteX17" fmla="*/ 88083 w 97697"/>
                  <a:gd name="connsiteY17" fmla="*/ 150161 h 208007"/>
                  <a:gd name="connsiteX18" fmla="*/ 97698 w 97697"/>
                  <a:gd name="connsiteY18" fmla="*/ 150161 h 208007"/>
                  <a:gd name="connsiteX19" fmla="*/ 97698 w 97697"/>
                  <a:gd name="connsiteY19" fmla="*/ 197486 h 208007"/>
                  <a:gd name="connsiteX20" fmla="*/ 87177 w 97697"/>
                  <a:gd name="connsiteY20" fmla="*/ 208007 h 20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7697" h="208007">
                    <a:moveTo>
                      <a:pt x="87177" y="208007"/>
                    </a:moveTo>
                    <a:lnTo>
                      <a:pt x="10528" y="208007"/>
                    </a:lnTo>
                    <a:cubicBezTo>
                      <a:pt x="4727" y="208007"/>
                      <a:pt x="0" y="203288"/>
                      <a:pt x="0" y="197486"/>
                    </a:cubicBezTo>
                    <a:lnTo>
                      <a:pt x="0" y="10521"/>
                    </a:lnTo>
                    <a:cubicBezTo>
                      <a:pt x="0" y="4719"/>
                      <a:pt x="4727" y="0"/>
                      <a:pt x="10528" y="0"/>
                    </a:cubicBezTo>
                    <a:lnTo>
                      <a:pt x="87177" y="0"/>
                    </a:lnTo>
                    <a:cubicBezTo>
                      <a:pt x="92979" y="0"/>
                      <a:pt x="97698" y="4719"/>
                      <a:pt x="97698" y="10521"/>
                    </a:cubicBezTo>
                    <a:lnTo>
                      <a:pt x="97698" y="53848"/>
                    </a:lnTo>
                    <a:lnTo>
                      <a:pt x="88083" y="53848"/>
                    </a:lnTo>
                    <a:lnTo>
                      <a:pt x="88083" y="10521"/>
                    </a:lnTo>
                    <a:cubicBezTo>
                      <a:pt x="88083" y="10020"/>
                      <a:pt x="87678" y="9608"/>
                      <a:pt x="87170" y="9608"/>
                    </a:cubicBezTo>
                    <a:lnTo>
                      <a:pt x="10521" y="9608"/>
                    </a:lnTo>
                    <a:cubicBezTo>
                      <a:pt x="10020" y="9608"/>
                      <a:pt x="9608" y="10020"/>
                      <a:pt x="9608" y="10521"/>
                    </a:cubicBezTo>
                    <a:lnTo>
                      <a:pt x="9608" y="197486"/>
                    </a:lnTo>
                    <a:cubicBezTo>
                      <a:pt x="9608" y="197987"/>
                      <a:pt x="10013" y="198399"/>
                      <a:pt x="10521" y="198399"/>
                    </a:cubicBezTo>
                    <a:lnTo>
                      <a:pt x="87170" y="198399"/>
                    </a:lnTo>
                    <a:cubicBezTo>
                      <a:pt x="87670" y="198399"/>
                      <a:pt x="88083" y="197987"/>
                      <a:pt x="88083" y="197486"/>
                    </a:cubicBezTo>
                    <a:lnTo>
                      <a:pt x="88083" y="150161"/>
                    </a:lnTo>
                    <a:lnTo>
                      <a:pt x="97698" y="150161"/>
                    </a:lnTo>
                    <a:lnTo>
                      <a:pt x="97698" y="197486"/>
                    </a:lnTo>
                    <a:cubicBezTo>
                      <a:pt x="97698" y="203281"/>
                      <a:pt x="92979" y="208007"/>
                      <a:pt x="87177" y="208007"/>
                    </a:cubicBezTo>
                    <a:close/>
                  </a:path>
                </a:pathLst>
              </a:custGeom>
              <a:solidFill>
                <a:schemeClr val="accent1"/>
              </a:solidFill>
              <a:ln w="735" cap="flat">
                <a:noFill/>
                <a:prstDash val="solid"/>
                <a:miter/>
              </a:ln>
            </p:spPr>
            <p:txBody>
              <a:bodyPr rtlCol="0" anchor="ctr"/>
              <a:lstStyle/>
              <a:p>
                <a:endParaRPr lang="en-GB" dirty="0"/>
              </a:p>
            </p:txBody>
          </p:sp>
          <p:sp>
            <p:nvSpPr>
              <p:cNvPr id="126" name="Freihandform: Form 185">
                <a:extLst>
                  <a:ext uri="{FF2B5EF4-FFF2-40B4-BE49-F238E27FC236}">
                    <a16:creationId xmlns:a16="http://schemas.microsoft.com/office/drawing/2014/main" id="{15988398-C998-4B53-89AA-1DED428073AC}"/>
                  </a:ext>
                </a:extLst>
              </p:cNvPr>
              <p:cNvSpPr/>
              <p:nvPr/>
            </p:nvSpPr>
            <p:spPr>
              <a:xfrm>
                <a:off x="1194568" y="4320593"/>
                <a:ext cx="47538" cy="59988"/>
              </a:xfrm>
              <a:custGeom>
                <a:avLst/>
                <a:gdLst>
                  <a:gd name="connsiteX0" fmla="*/ 37128 w 47538"/>
                  <a:gd name="connsiteY0" fmla="*/ 59988 h 59988"/>
                  <a:gd name="connsiteX1" fmla="*/ 10410 w 47538"/>
                  <a:gd name="connsiteY1" fmla="*/ 59988 h 59988"/>
                  <a:gd name="connsiteX2" fmla="*/ 0 w 47538"/>
                  <a:gd name="connsiteY2" fmla="*/ 49578 h 59988"/>
                  <a:gd name="connsiteX3" fmla="*/ 0 w 47538"/>
                  <a:gd name="connsiteY3" fmla="*/ 0 h 59988"/>
                  <a:gd name="connsiteX4" fmla="*/ 47538 w 47538"/>
                  <a:gd name="connsiteY4" fmla="*/ 0 h 59988"/>
                  <a:gd name="connsiteX5" fmla="*/ 47538 w 47538"/>
                  <a:gd name="connsiteY5" fmla="*/ 49578 h 59988"/>
                  <a:gd name="connsiteX6" fmla="*/ 37128 w 47538"/>
                  <a:gd name="connsiteY6" fmla="*/ 59988 h 59988"/>
                  <a:gd name="connsiteX7" fmla="*/ 9615 w 47538"/>
                  <a:gd name="connsiteY7" fmla="*/ 9615 h 59988"/>
                  <a:gd name="connsiteX8" fmla="*/ 9615 w 47538"/>
                  <a:gd name="connsiteY8" fmla="*/ 49578 h 59988"/>
                  <a:gd name="connsiteX9" fmla="*/ 10410 w 47538"/>
                  <a:gd name="connsiteY9" fmla="*/ 50373 h 59988"/>
                  <a:gd name="connsiteX10" fmla="*/ 37128 w 47538"/>
                  <a:gd name="connsiteY10" fmla="*/ 50373 h 59988"/>
                  <a:gd name="connsiteX11" fmla="*/ 37931 w 47538"/>
                  <a:gd name="connsiteY11" fmla="*/ 49578 h 59988"/>
                  <a:gd name="connsiteX12" fmla="*/ 37931 w 47538"/>
                  <a:gd name="connsiteY12" fmla="*/ 9615 h 59988"/>
                  <a:gd name="connsiteX13" fmla="*/ 9615 w 47538"/>
                  <a:gd name="connsiteY13" fmla="*/ 9615 h 59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538" h="59988">
                    <a:moveTo>
                      <a:pt x="37128" y="59988"/>
                    </a:moveTo>
                    <a:lnTo>
                      <a:pt x="10410" y="59988"/>
                    </a:lnTo>
                    <a:cubicBezTo>
                      <a:pt x="4675" y="59988"/>
                      <a:pt x="0" y="55320"/>
                      <a:pt x="0" y="49578"/>
                    </a:cubicBezTo>
                    <a:lnTo>
                      <a:pt x="0" y="0"/>
                    </a:lnTo>
                    <a:lnTo>
                      <a:pt x="47538" y="0"/>
                    </a:lnTo>
                    <a:lnTo>
                      <a:pt x="47538" y="49578"/>
                    </a:lnTo>
                    <a:cubicBezTo>
                      <a:pt x="47546" y="55320"/>
                      <a:pt x="42871" y="59988"/>
                      <a:pt x="37128" y="59988"/>
                    </a:cubicBezTo>
                    <a:close/>
                    <a:moveTo>
                      <a:pt x="9615" y="9615"/>
                    </a:moveTo>
                    <a:lnTo>
                      <a:pt x="9615" y="49578"/>
                    </a:lnTo>
                    <a:cubicBezTo>
                      <a:pt x="9615" y="50019"/>
                      <a:pt x="9968" y="50373"/>
                      <a:pt x="10410" y="50373"/>
                    </a:cubicBezTo>
                    <a:lnTo>
                      <a:pt x="37128" y="50373"/>
                    </a:lnTo>
                    <a:cubicBezTo>
                      <a:pt x="37570" y="50373"/>
                      <a:pt x="37931" y="50019"/>
                      <a:pt x="37931" y="49578"/>
                    </a:cubicBezTo>
                    <a:lnTo>
                      <a:pt x="37931" y="9615"/>
                    </a:lnTo>
                    <a:lnTo>
                      <a:pt x="9615" y="9615"/>
                    </a:lnTo>
                    <a:close/>
                  </a:path>
                </a:pathLst>
              </a:custGeom>
              <a:solidFill>
                <a:schemeClr val="accent1"/>
              </a:solidFill>
              <a:ln w="735" cap="flat">
                <a:noFill/>
                <a:prstDash val="solid"/>
                <a:miter/>
              </a:ln>
            </p:spPr>
            <p:txBody>
              <a:bodyPr rtlCol="0" anchor="ctr"/>
              <a:lstStyle/>
              <a:p>
                <a:endParaRPr lang="en-GB" dirty="0"/>
              </a:p>
            </p:txBody>
          </p:sp>
          <p:sp>
            <p:nvSpPr>
              <p:cNvPr id="127" name="Freihandform: Form 186">
                <a:extLst>
                  <a:ext uri="{FF2B5EF4-FFF2-40B4-BE49-F238E27FC236}">
                    <a16:creationId xmlns:a16="http://schemas.microsoft.com/office/drawing/2014/main" id="{ACB0A073-CE2E-40B4-87EB-5EE13CA79977}"/>
                  </a:ext>
                </a:extLst>
              </p:cNvPr>
              <p:cNvSpPr/>
              <p:nvPr/>
            </p:nvSpPr>
            <p:spPr>
              <a:xfrm>
                <a:off x="1169492" y="4060151"/>
                <a:ext cx="97697" cy="33447"/>
              </a:xfrm>
              <a:custGeom>
                <a:avLst/>
                <a:gdLst>
                  <a:gd name="connsiteX0" fmla="*/ 97698 w 97697"/>
                  <a:gd name="connsiteY0" fmla="*/ 33447 h 33447"/>
                  <a:gd name="connsiteX1" fmla="*/ 0 w 97697"/>
                  <a:gd name="connsiteY1" fmla="*/ 33447 h 33447"/>
                  <a:gd name="connsiteX2" fmla="*/ 0 w 97697"/>
                  <a:gd name="connsiteY2" fmla="*/ 10396 h 33447"/>
                  <a:gd name="connsiteX3" fmla="*/ 10396 w 97697"/>
                  <a:gd name="connsiteY3" fmla="*/ 0 h 33447"/>
                  <a:gd name="connsiteX4" fmla="*/ 87302 w 97697"/>
                  <a:gd name="connsiteY4" fmla="*/ 0 h 33447"/>
                  <a:gd name="connsiteX5" fmla="*/ 97698 w 97697"/>
                  <a:gd name="connsiteY5" fmla="*/ 10396 h 33447"/>
                  <a:gd name="connsiteX6" fmla="*/ 97698 w 97697"/>
                  <a:gd name="connsiteY6" fmla="*/ 33447 h 33447"/>
                  <a:gd name="connsiteX7" fmla="*/ 9615 w 97697"/>
                  <a:gd name="connsiteY7" fmla="*/ 23839 h 33447"/>
                  <a:gd name="connsiteX8" fmla="*/ 88090 w 97697"/>
                  <a:gd name="connsiteY8" fmla="*/ 23839 h 33447"/>
                  <a:gd name="connsiteX9" fmla="*/ 88090 w 97697"/>
                  <a:gd name="connsiteY9" fmla="*/ 10403 h 33447"/>
                  <a:gd name="connsiteX10" fmla="*/ 87310 w 97697"/>
                  <a:gd name="connsiteY10" fmla="*/ 9623 h 33447"/>
                  <a:gd name="connsiteX11" fmla="*/ 10396 w 97697"/>
                  <a:gd name="connsiteY11" fmla="*/ 9623 h 33447"/>
                  <a:gd name="connsiteX12" fmla="*/ 9615 w 97697"/>
                  <a:gd name="connsiteY12" fmla="*/ 10403 h 33447"/>
                  <a:gd name="connsiteX13" fmla="*/ 9615 w 97697"/>
                  <a:gd name="connsiteY13" fmla="*/ 23839 h 33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697" h="33447">
                    <a:moveTo>
                      <a:pt x="97698" y="33447"/>
                    </a:moveTo>
                    <a:lnTo>
                      <a:pt x="0" y="33447"/>
                    </a:lnTo>
                    <a:lnTo>
                      <a:pt x="0" y="10396"/>
                    </a:lnTo>
                    <a:cubicBezTo>
                      <a:pt x="0" y="4668"/>
                      <a:pt x="4660" y="0"/>
                      <a:pt x="10396" y="0"/>
                    </a:cubicBezTo>
                    <a:lnTo>
                      <a:pt x="87302" y="0"/>
                    </a:lnTo>
                    <a:cubicBezTo>
                      <a:pt x="93037" y="0"/>
                      <a:pt x="97698" y="4668"/>
                      <a:pt x="97698" y="10396"/>
                    </a:cubicBezTo>
                    <a:lnTo>
                      <a:pt x="97698" y="33447"/>
                    </a:lnTo>
                    <a:close/>
                    <a:moveTo>
                      <a:pt x="9615" y="23839"/>
                    </a:moveTo>
                    <a:lnTo>
                      <a:pt x="88090" y="23839"/>
                    </a:lnTo>
                    <a:lnTo>
                      <a:pt x="88090" y="10403"/>
                    </a:lnTo>
                    <a:cubicBezTo>
                      <a:pt x="88090" y="9969"/>
                      <a:pt x="87737" y="9623"/>
                      <a:pt x="87310" y="9623"/>
                    </a:cubicBezTo>
                    <a:lnTo>
                      <a:pt x="10396" y="9623"/>
                    </a:lnTo>
                    <a:cubicBezTo>
                      <a:pt x="9961" y="9623"/>
                      <a:pt x="9615" y="9969"/>
                      <a:pt x="9615" y="10403"/>
                    </a:cubicBezTo>
                    <a:lnTo>
                      <a:pt x="9615" y="23839"/>
                    </a:lnTo>
                    <a:close/>
                  </a:path>
                </a:pathLst>
              </a:custGeom>
              <a:solidFill>
                <a:schemeClr val="accent1"/>
              </a:solidFill>
              <a:ln w="735" cap="flat">
                <a:noFill/>
                <a:prstDash val="solid"/>
                <a:miter/>
              </a:ln>
            </p:spPr>
            <p:txBody>
              <a:bodyPr rtlCol="0" anchor="ctr"/>
              <a:lstStyle/>
              <a:p>
                <a:endParaRPr lang="en-GB" dirty="0"/>
              </a:p>
            </p:txBody>
          </p:sp>
          <p:sp>
            <p:nvSpPr>
              <p:cNvPr id="128" name="Freihandform: Form 187">
                <a:extLst>
                  <a:ext uri="{FF2B5EF4-FFF2-40B4-BE49-F238E27FC236}">
                    <a16:creationId xmlns:a16="http://schemas.microsoft.com/office/drawing/2014/main" id="{975BF3A3-4ABD-45A8-98D7-DE55D86F67D6}"/>
                  </a:ext>
                </a:extLst>
              </p:cNvPr>
              <p:cNvSpPr/>
              <p:nvPr/>
            </p:nvSpPr>
            <p:spPr>
              <a:xfrm>
                <a:off x="1193294" y="4083990"/>
                <a:ext cx="50085" cy="47810"/>
              </a:xfrm>
              <a:custGeom>
                <a:avLst/>
                <a:gdLst>
                  <a:gd name="connsiteX0" fmla="*/ 50086 w 50085"/>
                  <a:gd name="connsiteY0" fmla="*/ 47811 h 47810"/>
                  <a:gd name="connsiteX1" fmla="*/ 0 w 50085"/>
                  <a:gd name="connsiteY1" fmla="*/ 47811 h 47810"/>
                  <a:gd name="connsiteX2" fmla="*/ 0 w 50085"/>
                  <a:gd name="connsiteY2" fmla="*/ 0 h 47810"/>
                  <a:gd name="connsiteX3" fmla="*/ 50086 w 50085"/>
                  <a:gd name="connsiteY3" fmla="*/ 0 h 47810"/>
                  <a:gd name="connsiteX4" fmla="*/ 50086 w 50085"/>
                  <a:gd name="connsiteY4" fmla="*/ 47811 h 47810"/>
                  <a:gd name="connsiteX5" fmla="*/ 9615 w 50085"/>
                  <a:gd name="connsiteY5" fmla="*/ 38196 h 47810"/>
                  <a:gd name="connsiteX6" fmla="*/ 40478 w 50085"/>
                  <a:gd name="connsiteY6" fmla="*/ 38196 h 47810"/>
                  <a:gd name="connsiteX7" fmla="*/ 40478 w 50085"/>
                  <a:gd name="connsiteY7" fmla="*/ 9608 h 47810"/>
                  <a:gd name="connsiteX8" fmla="*/ 9615 w 50085"/>
                  <a:gd name="connsiteY8" fmla="*/ 9608 h 47810"/>
                  <a:gd name="connsiteX9" fmla="*/ 9615 w 50085"/>
                  <a:gd name="connsiteY9" fmla="*/ 38196 h 4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085" h="47810">
                    <a:moveTo>
                      <a:pt x="50086" y="47811"/>
                    </a:moveTo>
                    <a:lnTo>
                      <a:pt x="0" y="47811"/>
                    </a:lnTo>
                    <a:lnTo>
                      <a:pt x="0" y="0"/>
                    </a:lnTo>
                    <a:lnTo>
                      <a:pt x="50086" y="0"/>
                    </a:lnTo>
                    <a:lnTo>
                      <a:pt x="50086" y="47811"/>
                    </a:lnTo>
                    <a:close/>
                    <a:moveTo>
                      <a:pt x="9615" y="38196"/>
                    </a:moveTo>
                    <a:lnTo>
                      <a:pt x="40478" y="38196"/>
                    </a:lnTo>
                    <a:lnTo>
                      <a:pt x="40478" y="9608"/>
                    </a:lnTo>
                    <a:lnTo>
                      <a:pt x="9615" y="9608"/>
                    </a:lnTo>
                    <a:lnTo>
                      <a:pt x="9615" y="38196"/>
                    </a:lnTo>
                    <a:close/>
                  </a:path>
                </a:pathLst>
              </a:custGeom>
              <a:solidFill>
                <a:schemeClr val="accent1"/>
              </a:solidFill>
              <a:ln w="735" cap="flat">
                <a:noFill/>
                <a:prstDash val="solid"/>
                <a:miter/>
              </a:ln>
            </p:spPr>
            <p:txBody>
              <a:bodyPr rtlCol="0" anchor="ctr"/>
              <a:lstStyle/>
              <a:p>
                <a:endParaRPr lang="en-GB" dirty="0"/>
              </a:p>
            </p:txBody>
          </p:sp>
        </p:grpSp>
        <p:grpSp>
          <p:nvGrpSpPr>
            <p:cNvPr id="119" name="Gruppieren 508">
              <a:extLst>
                <a:ext uri="{FF2B5EF4-FFF2-40B4-BE49-F238E27FC236}">
                  <a16:creationId xmlns:a16="http://schemas.microsoft.com/office/drawing/2014/main" id="{F5DE1520-4569-4BDC-A454-74B4BD22EA84}"/>
                </a:ext>
              </a:extLst>
            </p:cNvPr>
            <p:cNvGrpSpPr/>
            <p:nvPr/>
          </p:nvGrpSpPr>
          <p:grpSpPr>
            <a:xfrm>
              <a:off x="1117985" y="4168626"/>
              <a:ext cx="322711" cy="286704"/>
              <a:chOff x="1117985" y="4168627"/>
              <a:chExt cx="322711" cy="286703"/>
            </a:xfrm>
          </p:grpSpPr>
          <p:sp>
            <p:nvSpPr>
              <p:cNvPr id="120" name="Freihandform: Form 181">
                <a:extLst>
                  <a:ext uri="{FF2B5EF4-FFF2-40B4-BE49-F238E27FC236}">
                    <a16:creationId xmlns:a16="http://schemas.microsoft.com/office/drawing/2014/main" id="{F2F19AA1-C4F3-4349-850B-6D239229B1FC}"/>
                  </a:ext>
                </a:extLst>
              </p:cNvPr>
              <p:cNvSpPr/>
              <p:nvPr/>
            </p:nvSpPr>
            <p:spPr>
              <a:xfrm>
                <a:off x="1172032" y="4209930"/>
                <a:ext cx="255847" cy="218999"/>
              </a:xfrm>
              <a:custGeom>
                <a:avLst/>
                <a:gdLst>
                  <a:gd name="connsiteX0" fmla="*/ 151428 w 255847"/>
                  <a:gd name="connsiteY0" fmla="*/ 218999 h 218999"/>
                  <a:gd name="connsiteX1" fmla="*/ 0 w 255847"/>
                  <a:gd name="connsiteY1" fmla="*/ 218999 h 218999"/>
                  <a:gd name="connsiteX2" fmla="*/ 0 w 255847"/>
                  <a:gd name="connsiteY2" fmla="*/ 209384 h 218999"/>
                  <a:gd name="connsiteX3" fmla="*/ 151428 w 255847"/>
                  <a:gd name="connsiteY3" fmla="*/ 209384 h 218999"/>
                  <a:gd name="connsiteX4" fmla="*/ 246232 w 255847"/>
                  <a:gd name="connsiteY4" fmla="*/ 114580 h 218999"/>
                  <a:gd name="connsiteX5" fmla="*/ 246232 w 255847"/>
                  <a:gd name="connsiteY5" fmla="*/ 104420 h 218999"/>
                  <a:gd name="connsiteX6" fmla="*/ 151428 w 255847"/>
                  <a:gd name="connsiteY6" fmla="*/ 9615 h 218999"/>
                  <a:gd name="connsiteX7" fmla="*/ 136527 w 255847"/>
                  <a:gd name="connsiteY7" fmla="*/ 9615 h 218999"/>
                  <a:gd name="connsiteX8" fmla="*/ 136527 w 255847"/>
                  <a:gd name="connsiteY8" fmla="*/ 0 h 218999"/>
                  <a:gd name="connsiteX9" fmla="*/ 151428 w 255847"/>
                  <a:gd name="connsiteY9" fmla="*/ 0 h 218999"/>
                  <a:gd name="connsiteX10" fmla="*/ 255847 w 255847"/>
                  <a:gd name="connsiteY10" fmla="*/ 104420 h 218999"/>
                  <a:gd name="connsiteX11" fmla="*/ 255847 w 255847"/>
                  <a:gd name="connsiteY11" fmla="*/ 114580 h 218999"/>
                  <a:gd name="connsiteX12" fmla="*/ 151428 w 255847"/>
                  <a:gd name="connsiteY12" fmla="*/ 218999 h 21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5847" h="218999">
                    <a:moveTo>
                      <a:pt x="151428" y="218999"/>
                    </a:moveTo>
                    <a:lnTo>
                      <a:pt x="0" y="218999"/>
                    </a:lnTo>
                    <a:lnTo>
                      <a:pt x="0" y="209384"/>
                    </a:lnTo>
                    <a:lnTo>
                      <a:pt x="151428" y="209384"/>
                    </a:lnTo>
                    <a:cubicBezTo>
                      <a:pt x="203700" y="209384"/>
                      <a:pt x="246232" y="166852"/>
                      <a:pt x="246232" y="114580"/>
                    </a:cubicBezTo>
                    <a:lnTo>
                      <a:pt x="246232" y="104420"/>
                    </a:lnTo>
                    <a:cubicBezTo>
                      <a:pt x="246232" y="52147"/>
                      <a:pt x="203700" y="9615"/>
                      <a:pt x="151428" y="9615"/>
                    </a:cubicBezTo>
                    <a:lnTo>
                      <a:pt x="136527" y="9615"/>
                    </a:lnTo>
                    <a:lnTo>
                      <a:pt x="136527" y="0"/>
                    </a:lnTo>
                    <a:lnTo>
                      <a:pt x="151428" y="0"/>
                    </a:lnTo>
                    <a:cubicBezTo>
                      <a:pt x="209001" y="0"/>
                      <a:pt x="255847" y="46839"/>
                      <a:pt x="255847" y="104420"/>
                    </a:cubicBezTo>
                    <a:lnTo>
                      <a:pt x="255847" y="114580"/>
                    </a:lnTo>
                    <a:cubicBezTo>
                      <a:pt x="255847" y="172168"/>
                      <a:pt x="209001" y="218999"/>
                      <a:pt x="151428" y="218999"/>
                    </a:cubicBezTo>
                    <a:close/>
                  </a:path>
                </a:pathLst>
              </a:custGeom>
              <a:solidFill>
                <a:schemeClr val="tx2"/>
              </a:solidFill>
              <a:ln w="735" cap="flat">
                <a:noFill/>
                <a:prstDash val="solid"/>
                <a:miter/>
              </a:ln>
            </p:spPr>
            <p:txBody>
              <a:bodyPr rtlCol="0" anchor="ctr"/>
              <a:lstStyle/>
              <a:p>
                <a:endParaRPr lang="en-GB" dirty="0"/>
              </a:p>
            </p:txBody>
          </p:sp>
          <p:sp>
            <p:nvSpPr>
              <p:cNvPr id="121" name="Freihandform: Form 182">
                <a:extLst>
                  <a:ext uri="{FF2B5EF4-FFF2-40B4-BE49-F238E27FC236}">
                    <a16:creationId xmlns:a16="http://schemas.microsoft.com/office/drawing/2014/main" id="{1FF53E1A-534C-4EA8-A2DC-4EA8A535242A}"/>
                  </a:ext>
                </a:extLst>
              </p:cNvPr>
              <p:cNvSpPr/>
              <p:nvPr/>
            </p:nvSpPr>
            <p:spPr>
              <a:xfrm>
                <a:off x="1183267" y="4233364"/>
                <a:ext cx="217232" cy="169656"/>
              </a:xfrm>
              <a:custGeom>
                <a:avLst/>
                <a:gdLst>
                  <a:gd name="connsiteX0" fmla="*/ 137675 w 217232"/>
                  <a:gd name="connsiteY0" fmla="*/ 169657 h 169656"/>
                  <a:gd name="connsiteX1" fmla="*/ 4808 w 217232"/>
                  <a:gd name="connsiteY1" fmla="*/ 169657 h 169656"/>
                  <a:gd name="connsiteX2" fmla="*/ 0 w 217232"/>
                  <a:gd name="connsiteY2" fmla="*/ 164849 h 169656"/>
                  <a:gd name="connsiteX3" fmla="*/ 4808 w 217232"/>
                  <a:gd name="connsiteY3" fmla="*/ 160042 h 169656"/>
                  <a:gd name="connsiteX4" fmla="*/ 137675 w 217232"/>
                  <a:gd name="connsiteY4" fmla="*/ 160042 h 169656"/>
                  <a:gd name="connsiteX5" fmla="*/ 207617 w 217232"/>
                  <a:gd name="connsiteY5" fmla="*/ 90107 h 169656"/>
                  <a:gd name="connsiteX6" fmla="*/ 207617 w 217232"/>
                  <a:gd name="connsiteY6" fmla="*/ 79557 h 169656"/>
                  <a:gd name="connsiteX7" fmla="*/ 137675 w 217232"/>
                  <a:gd name="connsiteY7" fmla="*/ 9615 h 169656"/>
                  <a:gd name="connsiteX8" fmla="*/ 129680 w 217232"/>
                  <a:gd name="connsiteY8" fmla="*/ 9615 h 169656"/>
                  <a:gd name="connsiteX9" fmla="*/ 124872 w 217232"/>
                  <a:gd name="connsiteY9" fmla="*/ 4808 h 169656"/>
                  <a:gd name="connsiteX10" fmla="*/ 129680 w 217232"/>
                  <a:gd name="connsiteY10" fmla="*/ 0 h 169656"/>
                  <a:gd name="connsiteX11" fmla="*/ 137675 w 217232"/>
                  <a:gd name="connsiteY11" fmla="*/ 0 h 169656"/>
                  <a:gd name="connsiteX12" fmla="*/ 217232 w 217232"/>
                  <a:gd name="connsiteY12" fmla="*/ 79557 h 169656"/>
                  <a:gd name="connsiteX13" fmla="*/ 217232 w 217232"/>
                  <a:gd name="connsiteY13" fmla="*/ 90107 h 169656"/>
                  <a:gd name="connsiteX14" fmla="*/ 137675 w 217232"/>
                  <a:gd name="connsiteY14" fmla="*/ 169657 h 16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7232" h="169656">
                    <a:moveTo>
                      <a:pt x="137675" y="169657"/>
                    </a:moveTo>
                    <a:lnTo>
                      <a:pt x="4808" y="169657"/>
                    </a:lnTo>
                    <a:cubicBezTo>
                      <a:pt x="2150" y="169657"/>
                      <a:pt x="0" y="167507"/>
                      <a:pt x="0" y="164849"/>
                    </a:cubicBezTo>
                    <a:cubicBezTo>
                      <a:pt x="0" y="162192"/>
                      <a:pt x="2150" y="160042"/>
                      <a:pt x="4808" y="160042"/>
                    </a:cubicBezTo>
                    <a:lnTo>
                      <a:pt x="137675" y="160042"/>
                    </a:lnTo>
                    <a:cubicBezTo>
                      <a:pt x="176246" y="160042"/>
                      <a:pt x="207617" y="128664"/>
                      <a:pt x="207617" y="90107"/>
                    </a:cubicBezTo>
                    <a:lnTo>
                      <a:pt x="207617" y="79557"/>
                    </a:lnTo>
                    <a:cubicBezTo>
                      <a:pt x="207617" y="40986"/>
                      <a:pt x="176239" y="9615"/>
                      <a:pt x="137675" y="9615"/>
                    </a:cubicBezTo>
                    <a:lnTo>
                      <a:pt x="129680" y="9615"/>
                    </a:lnTo>
                    <a:cubicBezTo>
                      <a:pt x="127022" y="9615"/>
                      <a:pt x="124872" y="7465"/>
                      <a:pt x="124872" y="4808"/>
                    </a:cubicBezTo>
                    <a:cubicBezTo>
                      <a:pt x="124872" y="2150"/>
                      <a:pt x="127022" y="0"/>
                      <a:pt x="129680" y="0"/>
                    </a:cubicBezTo>
                    <a:lnTo>
                      <a:pt x="137675" y="0"/>
                    </a:lnTo>
                    <a:cubicBezTo>
                      <a:pt x="181540" y="0"/>
                      <a:pt x="217232" y="35685"/>
                      <a:pt x="217232" y="79557"/>
                    </a:cubicBezTo>
                    <a:lnTo>
                      <a:pt x="217232" y="90107"/>
                    </a:lnTo>
                    <a:cubicBezTo>
                      <a:pt x="217232" y="133972"/>
                      <a:pt x="181540" y="169657"/>
                      <a:pt x="137675" y="169657"/>
                    </a:cubicBezTo>
                    <a:close/>
                  </a:path>
                </a:pathLst>
              </a:custGeom>
              <a:solidFill>
                <a:schemeClr val="tx2"/>
              </a:solidFill>
              <a:ln w="735" cap="flat">
                <a:noFill/>
                <a:prstDash val="solid"/>
                <a:miter/>
              </a:ln>
            </p:spPr>
            <p:txBody>
              <a:bodyPr rtlCol="0" anchor="ctr"/>
              <a:lstStyle/>
              <a:p>
                <a:endParaRPr lang="en-GB" dirty="0"/>
              </a:p>
            </p:txBody>
          </p:sp>
          <p:sp>
            <p:nvSpPr>
              <p:cNvPr id="122" name="Freihandform: Form 183">
                <a:extLst>
                  <a:ext uri="{FF2B5EF4-FFF2-40B4-BE49-F238E27FC236}">
                    <a16:creationId xmlns:a16="http://schemas.microsoft.com/office/drawing/2014/main" id="{4EF29484-10F8-4634-AD74-A5828EC85821}"/>
                  </a:ext>
                </a:extLst>
              </p:cNvPr>
              <p:cNvSpPr/>
              <p:nvPr/>
            </p:nvSpPr>
            <p:spPr>
              <a:xfrm>
                <a:off x="1117985" y="4419314"/>
                <a:ext cx="322711" cy="36016"/>
              </a:xfrm>
              <a:custGeom>
                <a:avLst/>
                <a:gdLst>
                  <a:gd name="connsiteX0" fmla="*/ 322712 w 322711"/>
                  <a:gd name="connsiteY0" fmla="*/ 36016 h 36016"/>
                  <a:gd name="connsiteX1" fmla="*/ 0 w 322711"/>
                  <a:gd name="connsiteY1" fmla="*/ 36016 h 36016"/>
                  <a:gd name="connsiteX2" fmla="*/ 0 w 322711"/>
                  <a:gd name="connsiteY2" fmla="*/ 0 h 36016"/>
                  <a:gd name="connsiteX3" fmla="*/ 322712 w 322711"/>
                  <a:gd name="connsiteY3" fmla="*/ 0 h 36016"/>
                  <a:gd name="connsiteX4" fmla="*/ 322712 w 322711"/>
                  <a:gd name="connsiteY4" fmla="*/ 36016 h 36016"/>
                  <a:gd name="connsiteX5" fmla="*/ 9615 w 322711"/>
                  <a:gd name="connsiteY5" fmla="*/ 26401 h 36016"/>
                  <a:gd name="connsiteX6" fmla="*/ 313104 w 322711"/>
                  <a:gd name="connsiteY6" fmla="*/ 26401 h 36016"/>
                  <a:gd name="connsiteX7" fmla="*/ 313104 w 322711"/>
                  <a:gd name="connsiteY7" fmla="*/ 9615 h 36016"/>
                  <a:gd name="connsiteX8" fmla="*/ 9615 w 322711"/>
                  <a:gd name="connsiteY8" fmla="*/ 9615 h 36016"/>
                  <a:gd name="connsiteX9" fmla="*/ 9615 w 322711"/>
                  <a:gd name="connsiteY9" fmla="*/ 26401 h 36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2711" h="36016">
                    <a:moveTo>
                      <a:pt x="322712" y="36016"/>
                    </a:moveTo>
                    <a:lnTo>
                      <a:pt x="0" y="36016"/>
                    </a:lnTo>
                    <a:lnTo>
                      <a:pt x="0" y="0"/>
                    </a:lnTo>
                    <a:lnTo>
                      <a:pt x="322712" y="0"/>
                    </a:lnTo>
                    <a:lnTo>
                      <a:pt x="322712" y="36016"/>
                    </a:lnTo>
                    <a:close/>
                    <a:moveTo>
                      <a:pt x="9615" y="26401"/>
                    </a:moveTo>
                    <a:lnTo>
                      <a:pt x="313104" y="26401"/>
                    </a:lnTo>
                    <a:lnTo>
                      <a:pt x="313104" y="9615"/>
                    </a:lnTo>
                    <a:lnTo>
                      <a:pt x="9615" y="9615"/>
                    </a:lnTo>
                    <a:lnTo>
                      <a:pt x="9615" y="26401"/>
                    </a:lnTo>
                    <a:close/>
                  </a:path>
                </a:pathLst>
              </a:custGeom>
              <a:solidFill>
                <a:schemeClr val="tx2"/>
              </a:solidFill>
              <a:ln w="735" cap="flat">
                <a:noFill/>
                <a:prstDash val="solid"/>
                <a:miter/>
              </a:ln>
            </p:spPr>
            <p:txBody>
              <a:bodyPr rtlCol="0" anchor="ctr"/>
              <a:lstStyle/>
              <a:p>
                <a:endParaRPr lang="en-GB" dirty="0"/>
              </a:p>
            </p:txBody>
          </p:sp>
          <p:sp>
            <p:nvSpPr>
              <p:cNvPr id="123" name="Freihandform: Form 188">
                <a:extLst>
                  <a:ext uri="{FF2B5EF4-FFF2-40B4-BE49-F238E27FC236}">
                    <a16:creationId xmlns:a16="http://schemas.microsoft.com/office/drawing/2014/main" id="{B690E3E9-D4CF-41CD-A3C7-3F9CFCDB9CD0}"/>
                  </a:ext>
                </a:extLst>
              </p:cNvPr>
              <p:cNvSpPr/>
              <p:nvPr/>
            </p:nvSpPr>
            <p:spPr>
              <a:xfrm>
                <a:off x="1206590" y="4168627"/>
                <a:ext cx="111583" cy="111575"/>
              </a:xfrm>
              <a:custGeom>
                <a:avLst/>
                <a:gdLst>
                  <a:gd name="connsiteX0" fmla="*/ 55792 w 111583"/>
                  <a:gd name="connsiteY0" fmla="*/ 111576 h 111575"/>
                  <a:gd name="connsiteX1" fmla="*/ 0 w 111583"/>
                  <a:gd name="connsiteY1" fmla="*/ 55792 h 111575"/>
                  <a:gd name="connsiteX2" fmla="*/ 55792 w 111583"/>
                  <a:gd name="connsiteY2" fmla="*/ 0 h 111575"/>
                  <a:gd name="connsiteX3" fmla="*/ 111583 w 111583"/>
                  <a:gd name="connsiteY3" fmla="*/ 55792 h 111575"/>
                  <a:gd name="connsiteX4" fmla="*/ 55792 w 111583"/>
                  <a:gd name="connsiteY4" fmla="*/ 111576 h 111575"/>
                  <a:gd name="connsiteX5" fmla="*/ 55792 w 111583"/>
                  <a:gd name="connsiteY5" fmla="*/ 9608 h 111575"/>
                  <a:gd name="connsiteX6" fmla="*/ 9615 w 111583"/>
                  <a:gd name="connsiteY6" fmla="*/ 55792 h 111575"/>
                  <a:gd name="connsiteX7" fmla="*/ 55792 w 111583"/>
                  <a:gd name="connsiteY7" fmla="*/ 101961 h 111575"/>
                  <a:gd name="connsiteX8" fmla="*/ 101968 w 111583"/>
                  <a:gd name="connsiteY8" fmla="*/ 55792 h 111575"/>
                  <a:gd name="connsiteX9" fmla="*/ 55792 w 111583"/>
                  <a:gd name="connsiteY9" fmla="*/ 9608 h 111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583" h="111575">
                    <a:moveTo>
                      <a:pt x="55792" y="111576"/>
                    </a:moveTo>
                    <a:cubicBezTo>
                      <a:pt x="25032" y="111576"/>
                      <a:pt x="0" y="86544"/>
                      <a:pt x="0" y="55792"/>
                    </a:cubicBezTo>
                    <a:cubicBezTo>
                      <a:pt x="0" y="25024"/>
                      <a:pt x="25032" y="0"/>
                      <a:pt x="55792" y="0"/>
                    </a:cubicBezTo>
                    <a:cubicBezTo>
                      <a:pt x="86551" y="0"/>
                      <a:pt x="111583" y="25032"/>
                      <a:pt x="111583" y="55792"/>
                    </a:cubicBezTo>
                    <a:cubicBezTo>
                      <a:pt x="111583" y="86544"/>
                      <a:pt x="86551" y="111576"/>
                      <a:pt x="55792" y="111576"/>
                    </a:cubicBezTo>
                    <a:close/>
                    <a:moveTo>
                      <a:pt x="55792" y="9608"/>
                    </a:moveTo>
                    <a:cubicBezTo>
                      <a:pt x="30333" y="9608"/>
                      <a:pt x="9615" y="30325"/>
                      <a:pt x="9615" y="55792"/>
                    </a:cubicBezTo>
                    <a:cubicBezTo>
                      <a:pt x="9615" y="81250"/>
                      <a:pt x="30333" y="101961"/>
                      <a:pt x="55792" y="101961"/>
                    </a:cubicBezTo>
                    <a:cubicBezTo>
                      <a:pt x="81250" y="101961"/>
                      <a:pt x="101968" y="81250"/>
                      <a:pt x="101968" y="55792"/>
                    </a:cubicBezTo>
                    <a:cubicBezTo>
                      <a:pt x="101968" y="30333"/>
                      <a:pt x="81258" y="9608"/>
                      <a:pt x="55792" y="9608"/>
                    </a:cubicBezTo>
                    <a:close/>
                  </a:path>
                </a:pathLst>
              </a:custGeom>
              <a:solidFill>
                <a:schemeClr val="tx2"/>
              </a:solidFill>
              <a:ln w="735" cap="flat">
                <a:noFill/>
                <a:prstDash val="solid"/>
                <a:miter/>
              </a:ln>
            </p:spPr>
            <p:txBody>
              <a:bodyPr rtlCol="0" anchor="ctr"/>
              <a:lstStyle/>
              <a:p>
                <a:endParaRPr lang="en-GB" dirty="0"/>
              </a:p>
            </p:txBody>
          </p:sp>
          <p:sp>
            <p:nvSpPr>
              <p:cNvPr id="124" name="Freihandform: Form 189">
                <a:extLst>
                  <a:ext uri="{FF2B5EF4-FFF2-40B4-BE49-F238E27FC236}">
                    <a16:creationId xmlns:a16="http://schemas.microsoft.com/office/drawing/2014/main" id="{3C3D19E3-39B9-4D6C-A999-30C97A6F83FB}"/>
                  </a:ext>
                </a:extLst>
              </p:cNvPr>
              <p:cNvSpPr/>
              <p:nvPr/>
            </p:nvSpPr>
            <p:spPr>
              <a:xfrm>
                <a:off x="1228913" y="4190943"/>
                <a:ext cx="66945" cy="66945"/>
              </a:xfrm>
              <a:custGeom>
                <a:avLst/>
                <a:gdLst>
                  <a:gd name="connsiteX0" fmla="*/ 33469 w 66945"/>
                  <a:gd name="connsiteY0" fmla="*/ 66945 h 66945"/>
                  <a:gd name="connsiteX1" fmla="*/ 0 w 66945"/>
                  <a:gd name="connsiteY1" fmla="*/ 33476 h 66945"/>
                  <a:gd name="connsiteX2" fmla="*/ 33469 w 66945"/>
                  <a:gd name="connsiteY2" fmla="*/ 0 h 66945"/>
                  <a:gd name="connsiteX3" fmla="*/ 66945 w 66945"/>
                  <a:gd name="connsiteY3" fmla="*/ 33476 h 66945"/>
                  <a:gd name="connsiteX4" fmla="*/ 33469 w 66945"/>
                  <a:gd name="connsiteY4" fmla="*/ 66945 h 66945"/>
                  <a:gd name="connsiteX5" fmla="*/ 33469 w 66945"/>
                  <a:gd name="connsiteY5" fmla="*/ 9608 h 66945"/>
                  <a:gd name="connsiteX6" fmla="*/ 9615 w 66945"/>
                  <a:gd name="connsiteY6" fmla="*/ 33469 h 66945"/>
                  <a:gd name="connsiteX7" fmla="*/ 33469 w 66945"/>
                  <a:gd name="connsiteY7" fmla="*/ 57323 h 66945"/>
                  <a:gd name="connsiteX8" fmla="*/ 57330 w 66945"/>
                  <a:gd name="connsiteY8" fmla="*/ 33469 h 66945"/>
                  <a:gd name="connsiteX9" fmla="*/ 33469 w 66945"/>
                  <a:gd name="connsiteY9" fmla="*/ 9608 h 6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945" h="66945">
                    <a:moveTo>
                      <a:pt x="33469" y="66945"/>
                    </a:moveTo>
                    <a:cubicBezTo>
                      <a:pt x="15019" y="66945"/>
                      <a:pt x="0" y="51934"/>
                      <a:pt x="0" y="33476"/>
                    </a:cubicBezTo>
                    <a:cubicBezTo>
                      <a:pt x="0" y="15019"/>
                      <a:pt x="15019" y="0"/>
                      <a:pt x="33469" y="0"/>
                    </a:cubicBezTo>
                    <a:cubicBezTo>
                      <a:pt x="51926" y="0"/>
                      <a:pt x="66945" y="15019"/>
                      <a:pt x="66945" y="33476"/>
                    </a:cubicBezTo>
                    <a:cubicBezTo>
                      <a:pt x="66945" y="51934"/>
                      <a:pt x="51926" y="66945"/>
                      <a:pt x="33469" y="66945"/>
                    </a:cubicBezTo>
                    <a:close/>
                    <a:moveTo>
                      <a:pt x="33469" y="9608"/>
                    </a:moveTo>
                    <a:cubicBezTo>
                      <a:pt x="20320" y="9608"/>
                      <a:pt x="9615" y="20312"/>
                      <a:pt x="9615" y="33469"/>
                    </a:cubicBezTo>
                    <a:cubicBezTo>
                      <a:pt x="9615" y="46625"/>
                      <a:pt x="20320" y="57323"/>
                      <a:pt x="33469" y="57323"/>
                    </a:cubicBezTo>
                    <a:cubicBezTo>
                      <a:pt x="46626" y="57323"/>
                      <a:pt x="57330" y="46618"/>
                      <a:pt x="57330" y="33469"/>
                    </a:cubicBezTo>
                    <a:cubicBezTo>
                      <a:pt x="57330" y="20312"/>
                      <a:pt x="46626" y="9608"/>
                      <a:pt x="33469" y="9608"/>
                    </a:cubicBezTo>
                    <a:close/>
                  </a:path>
                </a:pathLst>
              </a:custGeom>
              <a:solidFill>
                <a:schemeClr val="tx2"/>
              </a:solidFill>
              <a:ln w="735" cap="flat">
                <a:noFill/>
                <a:prstDash val="solid"/>
                <a:miter/>
              </a:ln>
            </p:spPr>
            <p:txBody>
              <a:bodyPr rtlCol="0" anchor="ctr"/>
              <a:lstStyle/>
              <a:p>
                <a:endParaRPr lang="en-GB" dirty="0"/>
              </a:p>
            </p:txBody>
          </p:sp>
        </p:grpSp>
      </p:grpSp>
      <p:grpSp>
        <p:nvGrpSpPr>
          <p:cNvPr id="31" name="Group 30">
            <a:extLst>
              <a:ext uri="{FF2B5EF4-FFF2-40B4-BE49-F238E27FC236}">
                <a16:creationId xmlns:a16="http://schemas.microsoft.com/office/drawing/2014/main" id="{77F8EF39-9ECC-6FEE-2A6D-023A093E7BBC}"/>
              </a:ext>
            </a:extLst>
          </p:cNvPr>
          <p:cNvGrpSpPr/>
          <p:nvPr/>
        </p:nvGrpSpPr>
        <p:grpSpPr>
          <a:xfrm>
            <a:off x="2659609" y="3197068"/>
            <a:ext cx="450618" cy="450588"/>
            <a:chOff x="2659609" y="3197068"/>
            <a:chExt cx="450618" cy="450588"/>
          </a:xfrm>
        </p:grpSpPr>
        <p:grpSp>
          <p:nvGrpSpPr>
            <p:cNvPr id="130" name="Group 129">
              <a:extLst>
                <a:ext uri="{FF2B5EF4-FFF2-40B4-BE49-F238E27FC236}">
                  <a16:creationId xmlns:a16="http://schemas.microsoft.com/office/drawing/2014/main" id="{4E6B47D4-20C4-45A3-9BF3-3B4D331AFE65}"/>
                </a:ext>
              </a:extLst>
            </p:cNvPr>
            <p:cNvGrpSpPr/>
            <p:nvPr/>
          </p:nvGrpSpPr>
          <p:grpSpPr>
            <a:xfrm>
              <a:off x="2659609" y="3197068"/>
              <a:ext cx="450618" cy="450588"/>
              <a:chOff x="568742" y="1593174"/>
              <a:chExt cx="450618" cy="450588"/>
            </a:xfrm>
            <a:solidFill>
              <a:schemeClr val="tx2"/>
            </a:solidFill>
          </p:grpSpPr>
          <p:sp>
            <p:nvSpPr>
              <p:cNvPr id="135" name="Freeform: Shape 134">
                <a:extLst>
                  <a:ext uri="{FF2B5EF4-FFF2-40B4-BE49-F238E27FC236}">
                    <a16:creationId xmlns:a16="http://schemas.microsoft.com/office/drawing/2014/main" id="{01E43B62-3016-4C90-AFA0-E147EE6F4F44}"/>
                  </a:ext>
                </a:extLst>
              </p:cNvPr>
              <p:cNvSpPr/>
              <p:nvPr/>
            </p:nvSpPr>
            <p:spPr>
              <a:xfrm>
                <a:off x="657671" y="1681823"/>
                <a:ext cx="272766" cy="272766"/>
              </a:xfrm>
              <a:custGeom>
                <a:avLst/>
                <a:gdLst>
                  <a:gd name="connsiteX0" fmla="*/ 212717 w 425434"/>
                  <a:gd name="connsiteY0" fmla="*/ 425434 h 425434"/>
                  <a:gd name="connsiteX1" fmla="*/ 0 w 425434"/>
                  <a:gd name="connsiteY1" fmla="*/ 212717 h 425434"/>
                  <a:gd name="connsiteX2" fmla="*/ 212717 w 425434"/>
                  <a:gd name="connsiteY2" fmla="*/ 0 h 425434"/>
                  <a:gd name="connsiteX3" fmla="*/ 425434 w 425434"/>
                  <a:gd name="connsiteY3" fmla="*/ 212717 h 425434"/>
                  <a:gd name="connsiteX4" fmla="*/ 212717 w 425434"/>
                  <a:gd name="connsiteY4" fmla="*/ 425434 h 425434"/>
                  <a:gd name="connsiteX5" fmla="*/ 212717 w 425434"/>
                  <a:gd name="connsiteY5" fmla="*/ 21272 h 425434"/>
                  <a:gd name="connsiteX6" fmla="*/ 21272 w 425434"/>
                  <a:gd name="connsiteY6" fmla="*/ 212717 h 425434"/>
                  <a:gd name="connsiteX7" fmla="*/ 212717 w 425434"/>
                  <a:gd name="connsiteY7" fmla="*/ 404163 h 425434"/>
                  <a:gd name="connsiteX8" fmla="*/ 404163 w 425434"/>
                  <a:gd name="connsiteY8" fmla="*/ 212717 h 425434"/>
                  <a:gd name="connsiteX9" fmla="*/ 212717 w 425434"/>
                  <a:gd name="connsiteY9" fmla="*/ 21272 h 42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434" h="425434">
                    <a:moveTo>
                      <a:pt x="212717" y="425434"/>
                    </a:moveTo>
                    <a:cubicBezTo>
                      <a:pt x="95425" y="425434"/>
                      <a:pt x="0" y="330009"/>
                      <a:pt x="0" y="212717"/>
                    </a:cubicBezTo>
                    <a:cubicBezTo>
                      <a:pt x="0" y="95425"/>
                      <a:pt x="95425" y="0"/>
                      <a:pt x="212717" y="0"/>
                    </a:cubicBezTo>
                    <a:cubicBezTo>
                      <a:pt x="330009" y="0"/>
                      <a:pt x="425434" y="95425"/>
                      <a:pt x="425434" y="212717"/>
                    </a:cubicBezTo>
                    <a:cubicBezTo>
                      <a:pt x="425434" y="330009"/>
                      <a:pt x="330009" y="425434"/>
                      <a:pt x="212717" y="425434"/>
                    </a:cubicBezTo>
                    <a:close/>
                    <a:moveTo>
                      <a:pt x="212717" y="21272"/>
                    </a:moveTo>
                    <a:cubicBezTo>
                      <a:pt x="107156" y="21272"/>
                      <a:pt x="21272" y="107156"/>
                      <a:pt x="21272" y="212717"/>
                    </a:cubicBezTo>
                    <a:cubicBezTo>
                      <a:pt x="21272" y="318278"/>
                      <a:pt x="107156" y="404163"/>
                      <a:pt x="212717" y="404163"/>
                    </a:cubicBezTo>
                    <a:cubicBezTo>
                      <a:pt x="318278" y="404163"/>
                      <a:pt x="404163" y="318278"/>
                      <a:pt x="404163" y="212717"/>
                    </a:cubicBezTo>
                    <a:cubicBezTo>
                      <a:pt x="404163" y="107156"/>
                      <a:pt x="318278" y="21272"/>
                      <a:pt x="212717" y="21272"/>
                    </a:cubicBezTo>
                    <a:close/>
                  </a:path>
                </a:pathLst>
              </a:custGeom>
              <a:grpFill/>
              <a:ln w="1063" cap="flat">
                <a:noFill/>
                <a:prstDash val="solid"/>
                <a:miter/>
              </a:ln>
            </p:spPr>
            <p:txBody>
              <a:bodyPr rtlCol="0" anchor="ctr"/>
              <a:lstStyle/>
              <a:p>
                <a:endParaRPr lang="en-GB" dirty="0"/>
              </a:p>
            </p:txBody>
          </p:sp>
          <p:grpSp>
            <p:nvGrpSpPr>
              <p:cNvPr id="136" name="Graphic 818">
                <a:extLst>
                  <a:ext uri="{FF2B5EF4-FFF2-40B4-BE49-F238E27FC236}">
                    <a16:creationId xmlns:a16="http://schemas.microsoft.com/office/drawing/2014/main" id="{B9E0A4D0-6DEA-47C6-8515-3A9FB17A6FAC}"/>
                  </a:ext>
                </a:extLst>
              </p:cNvPr>
              <p:cNvGrpSpPr/>
              <p:nvPr/>
            </p:nvGrpSpPr>
            <p:grpSpPr>
              <a:xfrm>
                <a:off x="568742" y="1782139"/>
                <a:ext cx="102280" cy="71567"/>
                <a:chOff x="2160446" y="323053"/>
                <a:chExt cx="159527" cy="111623"/>
              </a:xfrm>
              <a:grpFill/>
            </p:grpSpPr>
            <p:sp>
              <p:nvSpPr>
                <p:cNvPr id="168" name="Freeform: Shape 167">
                  <a:extLst>
                    <a:ext uri="{FF2B5EF4-FFF2-40B4-BE49-F238E27FC236}">
                      <a16:creationId xmlns:a16="http://schemas.microsoft.com/office/drawing/2014/main" id="{9185E828-AD80-471E-8438-FC98FAB6AE26}"/>
                    </a:ext>
                  </a:extLst>
                </p:cNvPr>
                <p:cNvSpPr/>
                <p:nvPr/>
              </p:nvSpPr>
              <p:spPr>
                <a:xfrm>
                  <a:off x="2160446" y="323053"/>
                  <a:ext cx="95722" cy="111623"/>
                </a:xfrm>
                <a:custGeom>
                  <a:avLst/>
                  <a:gdLst>
                    <a:gd name="connsiteX0" fmla="*/ 40097 w 95722"/>
                    <a:gd name="connsiteY0" fmla="*/ 111623 h 111623"/>
                    <a:gd name="connsiteX1" fmla="*/ 0 w 95722"/>
                    <a:gd name="connsiteY1" fmla="*/ 56008 h 111623"/>
                    <a:gd name="connsiteX2" fmla="*/ 38555 w 95722"/>
                    <a:gd name="connsiteY2" fmla="*/ 0 h 111623"/>
                    <a:gd name="connsiteX3" fmla="*/ 95723 w 95722"/>
                    <a:gd name="connsiteY3" fmla="*/ 56008 h 111623"/>
                    <a:gd name="connsiteX4" fmla="*/ 40097 w 95722"/>
                    <a:gd name="connsiteY4" fmla="*/ 111623 h 111623"/>
                    <a:gd name="connsiteX5" fmla="*/ 38544 w 95722"/>
                    <a:gd name="connsiteY5" fmla="*/ 21272 h 111623"/>
                    <a:gd name="connsiteX6" fmla="*/ 21261 w 95722"/>
                    <a:gd name="connsiteY6" fmla="*/ 56008 h 111623"/>
                    <a:gd name="connsiteX7" fmla="*/ 40087 w 95722"/>
                    <a:gd name="connsiteY7" fmla="*/ 90352 h 111623"/>
                    <a:gd name="connsiteX8" fmla="*/ 74440 w 95722"/>
                    <a:gd name="connsiteY8" fmla="*/ 56008 h 111623"/>
                    <a:gd name="connsiteX9" fmla="*/ 38544 w 95722"/>
                    <a:gd name="connsiteY9" fmla="*/ 21272 h 11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722" h="111623">
                      <a:moveTo>
                        <a:pt x="40097" y="111623"/>
                      </a:moveTo>
                      <a:cubicBezTo>
                        <a:pt x="12401" y="111623"/>
                        <a:pt x="0" y="83694"/>
                        <a:pt x="0" y="56008"/>
                      </a:cubicBezTo>
                      <a:cubicBezTo>
                        <a:pt x="0" y="21984"/>
                        <a:pt x="15135" y="0"/>
                        <a:pt x="38555" y="0"/>
                      </a:cubicBezTo>
                      <a:cubicBezTo>
                        <a:pt x="65804" y="0"/>
                        <a:pt x="95723" y="29312"/>
                        <a:pt x="95723" y="56008"/>
                      </a:cubicBezTo>
                      <a:cubicBezTo>
                        <a:pt x="95712" y="83034"/>
                        <a:pt x="67123" y="111623"/>
                        <a:pt x="40097" y="111623"/>
                      </a:cubicBezTo>
                      <a:close/>
                      <a:moveTo>
                        <a:pt x="38544" y="21272"/>
                      </a:moveTo>
                      <a:cubicBezTo>
                        <a:pt x="21740" y="21272"/>
                        <a:pt x="21261" y="52445"/>
                        <a:pt x="21261" y="56008"/>
                      </a:cubicBezTo>
                      <a:cubicBezTo>
                        <a:pt x="21261" y="67889"/>
                        <a:pt x="25196" y="90352"/>
                        <a:pt x="40087" y="90352"/>
                      </a:cubicBezTo>
                      <a:cubicBezTo>
                        <a:pt x="55498" y="90352"/>
                        <a:pt x="74440" y="71420"/>
                        <a:pt x="74440" y="56008"/>
                      </a:cubicBezTo>
                      <a:cubicBezTo>
                        <a:pt x="74440" y="39906"/>
                        <a:pt x="52722" y="21272"/>
                        <a:pt x="38544" y="21272"/>
                      </a:cubicBezTo>
                      <a:close/>
                    </a:path>
                  </a:pathLst>
                </a:custGeom>
                <a:grpFill/>
                <a:ln w="1063" cap="flat">
                  <a:noFill/>
                  <a:prstDash val="solid"/>
                  <a:miter/>
                </a:ln>
              </p:spPr>
              <p:txBody>
                <a:bodyPr rtlCol="0" anchor="ctr"/>
                <a:lstStyle/>
                <a:p>
                  <a:endParaRPr lang="en-GB" dirty="0"/>
                </a:p>
              </p:txBody>
            </p:sp>
            <p:sp>
              <p:nvSpPr>
                <p:cNvPr id="169" name="Freeform: Shape 168">
                  <a:extLst>
                    <a:ext uri="{FF2B5EF4-FFF2-40B4-BE49-F238E27FC236}">
                      <a16:creationId xmlns:a16="http://schemas.microsoft.com/office/drawing/2014/main" id="{896093F9-FB4B-4C5D-8F6A-F9C5145C855E}"/>
                    </a:ext>
                  </a:extLst>
                </p:cNvPr>
                <p:cNvSpPr/>
                <p:nvPr/>
              </p:nvSpPr>
              <p:spPr>
                <a:xfrm>
                  <a:off x="2234887" y="368447"/>
                  <a:ext cx="85086" cy="21271"/>
                </a:xfrm>
                <a:custGeom>
                  <a:avLst/>
                  <a:gdLst>
                    <a:gd name="connsiteX0" fmla="*/ 74451 w 85086"/>
                    <a:gd name="connsiteY0" fmla="*/ 21272 h 21271"/>
                    <a:gd name="connsiteX1" fmla="*/ 10636 w 85086"/>
                    <a:gd name="connsiteY1" fmla="*/ 21272 h 21271"/>
                    <a:gd name="connsiteX2" fmla="*/ 0 w 85086"/>
                    <a:gd name="connsiteY2" fmla="*/ 10636 h 21271"/>
                    <a:gd name="connsiteX3" fmla="*/ 10636 w 85086"/>
                    <a:gd name="connsiteY3" fmla="*/ 0 h 21271"/>
                    <a:gd name="connsiteX4" fmla="*/ 74451 w 85086"/>
                    <a:gd name="connsiteY4" fmla="*/ 0 h 21271"/>
                    <a:gd name="connsiteX5" fmla="*/ 85087 w 85086"/>
                    <a:gd name="connsiteY5" fmla="*/ 10636 h 21271"/>
                    <a:gd name="connsiteX6" fmla="*/ 74451 w 85086"/>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86" h="21271">
                      <a:moveTo>
                        <a:pt x="74451" y="21272"/>
                      </a:moveTo>
                      <a:lnTo>
                        <a:pt x="10636" y="21272"/>
                      </a:lnTo>
                      <a:cubicBezTo>
                        <a:pt x="4765" y="21272"/>
                        <a:pt x="0" y="16507"/>
                        <a:pt x="0" y="10636"/>
                      </a:cubicBezTo>
                      <a:cubicBezTo>
                        <a:pt x="0" y="4765"/>
                        <a:pt x="4765" y="0"/>
                        <a:pt x="10636" y="0"/>
                      </a:cubicBezTo>
                      <a:lnTo>
                        <a:pt x="74451" y="0"/>
                      </a:lnTo>
                      <a:cubicBezTo>
                        <a:pt x="80322" y="0"/>
                        <a:pt x="85087" y="4765"/>
                        <a:pt x="85087" y="10636"/>
                      </a:cubicBezTo>
                      <a:cubicBezTo>
                        <a:pt x="85087" y="16517"/>
                        <a:pt x="80333" y="21272"/>
                        <a:pt x="74451" y="21272"/>
                      </a:cubicBezTo>
                      <a:close/>
                    </a:path>
                  </a:pathLst>
                </a:custGeom>
                <a:grpFill/>
                <a:ln w="1063" cap="flat">
                  <a:noFill/>
                  <a:prstDash val="solid"/>
                  <a:miter/>
                </a:ln>
              </p:spPr>
              <p:txBody>
                <a:bodyPr rtlCol="0" anchor="ctr"/>
                <a:lstStyle/>
                <a:p>
                  <a:endParaRPr lang="en-GB" dirty="0"/>
                </a:p>
              </p:txBody>
            </p:sp>
          </p:grpSp>
          <p:grpSp>
            <p:nvGrpSpPr>
              <p:cNvPr id="137" name="Graphic 818">
                <a:extLst>
                  <a:ext uri="{FF2B5EF4-FFF2-40B4-BE49-F238E27FC236}">
                    <a16:creationId xmlns:a16="http://schemas.microsoft.com/office/drawing/2014/main" id="{ECFE460D-0909-426D-8F68-5348262FFB01}"/>
                  </a:ext>
                </a:extLst>
              </p:cNvPr>
              <p:cNvGrpSpPr/>
              <p:nvPr/>
            </p:nvGrpSpPr>
            <p:grpSpPr>
              <a:xfrm>
                <a:off x="917086" y="1782010"/>
                <a:ext cx="102274" cy="71573"/>
                <a:chOff x="2703758" y="322851"/>
                <a:chExt cx="159517" cy="111633"/>
              </a:xfrm>
              <a:grpFill/>
            </p:grpSpPr>
            <p:sp>
              <p:nvSpPr>
                <p:cNvPr id="166" name="Freeform: Shape 165">
                  <a:extLst>
                    <a:ext uri="{FF2B5EF4-FFF2-40B4-BE49-F238E27FC236}">
                      <a16:creationId xmlns:a16="http://schemas.microsoft.com/office/drawing/2014/main" id="{BBAE05FB-E2FC-4649-AF02-093337D0EDFC}"/>
                    </a:ext>
                  </a:extLst>
                </p:cNvPr>
                <p:cNvSpPr/>
                <p:nvPr/>
              </p:nvSpPr>
              <p:spPr>
                <a:xfrm>
                  <a:off x="2767572" y="322851"/>
                  <a:ext cx="95702" cy="111633"/>
                </a:xfrm>
                <a:custGeom>
                  <a:avLst/>
                  <a:gdLst>
                    <a:gd name="connsiteX0" fmla="*/ 55690 w 95702"/>
                    <a:gd name="connsiteY0" fmla="*/ 111634 h 111633"/>
                    <a:gd name="connsiteX1" fmla="*/ 18145 w 95702"/>
                    <a:gd name="connsiteY1" fmla="*/ 94468 h 111633"/>
                    <a:gd name="connsiteX2" fmla="*/ 0 w 95702"/>
                    <a:gd name="connsiteY2" fmla="*/ 56285 h 111633"/>
                    <a:gd name="connsiteX3" fmla="*/ 18677 w 95702"/>
                    <a:gd name="connsiteY3" fmla="*/ 17602 h 111633"/>
                    <a:gd name="connsiteX4" fmla="*/ 56892 w 95702"/>
                    <a:gd name="connsiteY4" fmla="*/ 0 h 111633"/>
                    <a:gd name="connsiteX5" fmla="*/ 56945 w 95702"/>
                    <a:gd name="connsiteY5" fmla="*/ 10636 h 111633"/>
                    <a:gd name="connsiteX6" fmla="*/ 56892 w 95702"/>
                    <a:gd name="connsiteY6" fmla="*/ 0 h 111633"/>
                    <a:gd name="connsiteX7" fmla="*/ 57072 w 95702"/>
                    <a:gd name="connsiteY7" fmla="*/ 0 h 111633"/>
                    <a:gd name="connsiteX8" fmla="*/ 88118 w 95702"/>
                    <a:gd name="connsiteY8" fmla="*/ 20134 h 111633"/>
                    <a:gd name="connsiteX9" fmla="*/ 95702 w 95702"/>
                    <a:gd name="connsiteY9" fmla="*/ 55817 h 111633"/>
                    <a:gd name="connsiteX10" fmla="*/ 55860 w 95702"/>
                    <a:gd name="connsiteY10" fmla="*/ 111634 h 111633"/>
                    <a:gd name="connsiteX11" fmla="*/ 55690 w 95702"/>
                    <a:gd name="connsiteY11" fmla="*/ 111634 h 111633"/>
                    <a:gd name="connsiteX12" fmla="*/ 57094 w 95702"/>
                    <a:gd name="connsiteY12" fmla="*/ 21282 h 111633"/>
                    <a:gd name="connsiteX13" fmla="*/ 56998 w 95702"/>
                    <a:gd name="connsiteY13" fmla="*/ 21282 h 111633"/>
                    <a:gd name="connsiteX14" fmla="*/ 33397 w 95702"/>
                    <a:gd name="connsiteY14" fmla="*/ 32961 h 111633"/>
                    <a:gd name="connsiteX15" fmla="*/ 21262 w 95702"/>
                    <a:gd name="connsiteY15" fmla="*/ 56189 h 111633"/>
                    <a:gd name="connsiteX16" fmla="*/ 32972 w 95702"/>
                    <a:gd name="connsiteY16" fmla="*/ 79227 h 111633"/>
                    <a:gd name="connsiteX17" fmla="*/ 55775 w 95702"/>
                    <a:gd name="connsiteY17" fmla="*/ 90373 h 111633"/>
                    <a:gd name="connsiteX18" fmla="*/ 74441 w 95702"/>
                    <a:gd name="connsiteY18" fmla="*/ 55934 h 111633"/>
                    <a:gd name="connsiteX19" fmla="*/ 69240 w 95702"/>
                    <a:gd name="connsiteY19" fmla="*/ 29929 h 111633"/>
                    <a:gd name="connsiteX20" fmla="*/ 57094 w 95702"/>
                    <a:gd name="connsiteY20" fmla="*/ 21282 h 11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702" h="111633">
                      <a:moveTo>
                        <a:pt x="55690" y="111634"/>
                      </a:moveTo>
                      <a:cubicBezTo>
                        <a:pt x="43044" y="111634"/>
                        <a:pt x="29366" y="105391"/>
                        <a:pt x="18145" y="94468"/>
                      </a:cubicBezTo>
                      <a:cubicBezTo>
                        <a:pt x="6680" y="83311"/>
                        <a:pt x="64" y="69399"/>
                        <a:pt x="0" y="56285"/>
                      </a:cubicBezTo>
                      <a:cubicBezTo>
                        <a:pt x="-63" y="43160"/>
                        <a:pt x="6744" y="29057"/>
                        <a:pt x="18677" y="17602"/>
                      </a:cubicBezTo>
                      <a:cubicBezTo>
                        <a:pt x="30100" y="6647"/>
                        <a:pt x="44384" y="64"/>
                        <a:pt x="56892" y="0"/>
                      </a:cubicBezTo>
                      <a:lnTo>
                        <a:pt x="56945" y="10636"/>
                      </a:lnTo>
                      <a:lnTo>
                        <a:pt x="56892" y="0"/>
                      </a:lnTo>
                      <a:cubicBezTo>
                        <a:pt x="56945" y="0"/>
                        <a:pt x="57009" y="0"/>
                        <a:pt x="57072" y="0"/>
                      </a:cubicBezTo>
                      <a:cubicBezTo>
                        <a:pt x="70367" y="0"/>
                        <a:pt x="81397" y="7137"/>
                        <a:pt x="88118" y="20134"/>
                      </a:cubicBezTo>
                      <a:cubicBezTo>
                        <a:pt x="94309" y="32088"/>
                        <a:pt x="95659" y="46138"/>
                        <a:pt x="95702" y="55817"/>
                      </a:cubicBezTo>
                      <a:cubicBezTo>
                        <a:pt x="95829" y="83502"/>
                        <a:pt x="83566" y="111496"/>
                        <a:pt x="55860" y="111634"/>
                      </a:cubicBezTo>
                      <a:cubicBezTo>
                        <a:pt x="55817" y="111634"/>
                        <a:pt x="55754" y="111634"/>
                        <a:pt x="55690" y="111634"/>
                      </a:cubicBezTo>
                      <a:close/>
                      <a:moveTo>
                        <a:pt x="57094" y="21282"/>
                      </a:moveTo>
                      <a:cubicBezTo>
                        <a:pt x="57062" y="21282"/>
                        <a:pt x="57030" y="21282"/>
                        <a:pt x="56998" y="21282"/>
                      </a:cubicBezTo>
                      <a:cubicBezTo>
                        <a:pt x="49915" y="21314"/>
                        <a:pt x="40874" y="25792"/>
                        <a:pt x="33397" y="32961"/>
                      </a:cubicBezTo>
                      <a:cubicBezTo>
                        <a:pt x="25760" y="40278"/>
                        <a:pt x="21230" y="48967"/>
                        <a:pt x="21262" y="56189"/>
                      </a:cubicBezTo>
                      <a:cubicBezTo>
                        <a:pt x="21293" y="63517"/>
                        <a:pt x="25675" y="72143"/>
                        <a:pt x="32972" y="79227"/>
                      </a:cubicBezTo>
                      <a:cubicBezTo>
                        <a:pt x="40066" y="86129"/>
                        <a:pt x="48638" y="90181"/>
                        <a:pt x="55775" y="90373"/>
                      </a:cubicBezTo>
                      <a:cubicBezTo>
                        <a:pt x="70676" y="90298"/>
                        <a:pt x="74505" y="67814"/>
                        <a:pt x="74441" y="55934"/>
                      </a:cubicBezTo>
                      <a:cubicBezTo>
                        <a:pt x="74398" y="45543"/>
                        <a:pt x="72548" y="36311"/>
                        <a:pt x="69240" y="29929"/>
                      </a:cubicBezTo>
                      <a:cubicBezTo>
                        <a:pt x="65294" y="22303"/>
                        <a:pt x="60678" y="21282"/>
                        <a:pt x="57094" y="21282"/>
                      </a:cubicBezTo>
                      <a:close/>
                    </a:path>
                  </a:pathLst>
                </a:custGeom>
                <a:grpFill/>
                <a:ln w="1063" cap="flat">
                  <a:noFill/>
                  <a:prstDash val="solid"/>
                  <a:miter/>
                </a:ln>
              </p:spPr>
              <p:txBody>
                <a:bodyPr rtlCol="0" anchor="ctr"/>
                <a:lstStyle/>
                <a:p>
                  <a:endParaRPr lang="en-GB" dirty="0"/>
                </a:p>
              </p:txBody>
            </p:sp>
            <p:sp>
              <p:nvSpPr>
                <p:cNvPr id="167" name="Freeform: Shape 166">
                  <a:extLst>
                    <a:ext uri="{FF2B5EF4-FFF2-40B4-BE49-F238E27FC236}">
                      <a16:creationId xmlns:a16="http://schemas.microsoft.com/office/drawing/2014/main" id="{20E568C9-5E73-42E1-BF6C-BBFD46A51AFC}"/>
                    </a:ext>
                  </a:extLst>
                </p:cNvPr>
                <p:cNvSpPr/>
                <p:nvPr/>
              </p:nvSpPr>
              <p:spPr>
                <a:xfrm>
                  <a:off x="2703758" y="368479"/>
                  <a:ext cx="85086" cy="21580"/>
                </a:xfrm>
                <a:custGeom>
                  <a:avLst/>
                  <a:gdLst>
                    <a:gd name="connsiteX0" fmla="*/ 10636 w 85086"/>
                    <a:gd name="connsiteY0" fmla="*/ 21580 h 21580"/>
                    <a:gd name="connsiteX1" fmla="*/ 0 w 85086"/>
                    <a:gd name="connsiteY1" fmla="*/ 10997 h 21580"/>
                    <a:gd name="connsiteX2" fmla="*/ 10583 w 85086"/>
                    <a:gd name="connsiteY2" fmla="*/ 308 h 21580"/>
                    <a:gd name="connsiteX3" fmla="*/ 74398 w 85086"/>
                    <a:gd name="connsiteY3" fmla="*/ 0 h 21580"/>
                    <a:gd name="connsiteX4" fmla="*/ 74451 w 85086"/>
                    <a:gd name="connsiteY4" fmla="*/ 0 h 21580"/>
                    <a:gd name="connsiteX5" fmla="*/ 85087 w 85086"/>
                    <a:gd name="connsiteY5" fmla="*/ 10583 h 21580"/>
                    <a:gd name="connsiteX6" fmla="*/ 74504 w 85086"/>
                    <a:gd name="connsiteY6" fmla="*/ 21272 h 21580"/>
                    <a:gd name="connsiteX7" fmla="*/ 10689 w 85086"/>
                    <a:gd name="connsiteY7" fmla="*/ 21580 h 21580"/>
                    <a:gd name="connsiteX8" fmla="*/ 10636 w 85086"/>
                    <a:gd name="connsiteY8" fmla="*/ 21580 h 2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086" h="21580">
                      <a:moveTo>
                        <a:pt x="10636" y="21580"/>
                      </a:moveTo>
                      <a:cubicBezTo>
                        <a:pt x="4786" y="21580"/>
                        <a:pt x="21" y="16858"/>
                        <a:pt x="0" y="10997"/>
                      </a:cubicBezTo>
                      <a:cubicBezTo>
                        <a:pt x="-21" y="5126"/>
                        <a:pt x="4712" y="340"/>
                        <a:pt x="10583" y="308"/>
                      </a:cubicBezTo>
                      <a:lnTo>
                        <a:pt x="74398" y="0"/>
                      </a:lnTo>
                      <a:cubicBezTo>
                        <a:pt x="74408" y="0"/>
                        <a:pt x="74430" y="0"/>
                        <a:pt x="74451" y="0"/>
                      </a:cubicBezTo>
                      <a:cubicBezTo>
                        <a:pt x="80301" y="0"/>
                        <a:pt x="85066" y="4722"/>
                        <a:pt x="85087" y="10583"/>
                      </a:cubicBezTo>
                      <a:cubicBezTo>
                        <a:pt x="85108" y="16454"/>
                        <a:pt x="80375" y="21240"/>
                        <a:pt x="74504" y="21272"/>
                      </a:cubicBezTo>
                      <a:lnTo>
                        <a:pt x="10689" y="21580"/>
                      </a:lnTo>
                      <a:cubicBezTo>
                        <a:pt x="10668" y="21580"/>
                        <a:pt x="10647" y="21580"/>
                        <a:pt x="10636" y="21580"/>
                      </a:cubicBezTo>
                      <a:close/>
                    </a:path>
                  </a:pathLst>
                </a:custGeom>
                <a:grpFill/>
                <a:ln w="1063" cap="flat">
                  <a:noFill/>
                  <a:prstDash val="solid"/>
                  <a:miter/>
                </a:ln>
              </p:spPr>
              <p:txBody>
                <a:bodyPr rtlCol="0" anchor="ctr"/>
                <a:lstStyle/>
                <a:p>
                  <a:endParaRPr lang="en-GB" dirty="0"/>
                </a:p>
              </p:txBody>
            </p:sp>
          </p:grpSp>
          <p:grpSp>
            <p:nvGrpSpPr>
              <p:cNvPr id="138" name="Graphic 818">
                <a:extLst>
                  <a:ext uri="{FF2B5EF4-FFF2-40B4-BE49-F238E27FC236}">
                    <a16:creationId xmlns:a16="http://schemas.microsoft.com/office/drawing/2014/main" id="{9A768EFA-B1DE-423C-8503-F20565B5EFF7}"/>
                  </a:ext>
                </a:extLst>
              </p:cNvPr>
              <p:cNvGrpSpPr/>
              <p:nvPr/>
            </p:nvGrpSpPr>
            <p:grpSpPr>
              <a:xfrm>
                <a:off x="620603" y="1593174"/>
                <a:ext cx="347135" cy="140352"/>
                <a:chOff x="2241333" y="28323"/>
                <a:chExt cx="541427" cy="218907"/>
              </a:xfrm>
              <a:grpFill/>
            </p:grpSpPr>
            <p:grpSp>
              <p:nvGrpSpPr>
                <p:cNvPr id="157" name="Graphic 818">
                  <a:extLst>
                    <a:ext uri="{FF2B5EF4-FFF2-40B4-BE49-F238E27FC236}">
                      <a16:creationId xmlns:a16="http://schemas.microsoft.com/office/drawing/2014/main" id="{3B35DEB2-110E-4792-9473-A090A09CE2C5}"/>
                    </a:ext>
                  </a:extLst>
                </p:cNvPr>
                <p:cNvGrpSpPr/>
                <p:nvPr/>
              </p:nvGrpSpPr>
              <p:grpSpPr>
                <a:xfrm>
                  <a:off x="2456272" y="28323"/>
                  <a:ext cx="111623" cy="159537"/>
                  <a:chOff x="2456272" y="28323"/>
                  <a:chExt cx="111623" cy="159537"/>
                </a:xfrm>
                <a:grpFill/>
              </p:grpSpPr>
              <p:sp>
                <p:nvSpPr>
                  <p:cNvPr id="164" name="Freeform: Shape 163">
                    <a:extLst>
                      <a:ext uri="{FF2B5EF4-FFF2-40B4-BE49-F238E27FC236}">
                        <a16:creationId xmlns:a16="http://schemas.microsoft.com/office/drawing/2014/main" id="{69C6DB16-09B9-44ED-9AB6-E0179842D3A3}"/>
                      </a:ext>
                    </a:extLst>
                  </p:cNvPr>
                  <p:cNvSpPr/>
                  <p:nvPr/>
                </p:nvSpPr>
                <p:spPr>
                  <a:xfrm>
                    <a:off x="2456272" y="28323"/>
                    <a:ext cx="111623" cy="95722"/>
                  </a:xfrm>
                  <a:custGeom>
                    <a:avLst/>
                    <a:gdLst>
                      <a:gd name="connsiteX0" fmla="*/ 55615 w 111623"/>
                      <a:gd name="connsiteY0" fmla="*/ 95723 h 95722"/>
                      <a:gd name="connsiteX1" fmla="*/ 0 w 111623"/>
                      <a:gd name="connsiteY1" fmla="*/ 40108 h 95722"/>
                      <a:gd name="connsiteX2" fmla="*/ 55615 w 111623"/>
                      <a:gd name="connsiteY2" fmla="*/ 0 h 95722"/>
                      <a:gd name="connsiteX3" fmla="*/ 111623 w 111623"/>
                      <a:gd name="connsiteY3" fmla="*/ 38555 h 95722"/>
                      <a:gd name="connsiteX4" fmla="*/ 55615 w 111623"/>
                      <a:gd name="connsiteY4" fmla="*/ 95723 h 95722"/>
                      <a:gd name="connsiteX5" fmla="*/ 55615 w 111623"/>
                      <a:gd name="connsiteY5" fmla="*/ 21272 h 95722"/>
                      <a:gd name="connsiteX6" fmla="*/ 21272 w 111623"/>
                      <a:gd name="connsiteY6" fmla="*/ 40108 h 95722"/>
                      <a:gd name="connsiteX7" fmla="*/ 55615 w 111623"/>
                      <a:gd name="connsiteY7" fmla="*/ 74451 h 95722"/>
                      <a:gd name="connsiteX8" fmla="*/ 90352 w 111623"/>
                      <a:gd name="connsiteY8" fmla="*/ 38555 h 95722"/>
                      <a:gd name="connsiteX9" fmla="*/ 55615 w 111623"/>
                      <a:gd name="connsiteY9" fmla="*/ 21272 h 9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623" h="95722">
                        <a:moveTo>
                          <a:pt x="55615" y="95723"/>
                        </a:moveTo>
                        <a:cubicBezTo>
                          <a:pt x="28589" y="95723"/>
                          <a:pt x="0" y="67134"/>
                          <a:pt x="0" y="40108"/>
                        </a:cubicBezTo>
                        <a:cubicBezTo>
                          <a:pt x="0" y="12401"/>
                          <a:pt x="27930" y="0"/>
                          <a:pt x="55615" y="0"/>
                        </a:cubicBezTo>
                        <a:cubicBezTo>
                          <a:pt x="89639" y="0"/>
                          <a:pt x="111623" y="15135"/>
                          <a:pt x="111623" y="38555"/>
                        </a:cubicBezTo>
                        <a:cubicBezTo>
                          <a:pt x="111623" y="65804"/>
                          <a:pt x="82311" y="95723"/>
                          <a:pt x="55615" y="95723"/>
                        </a:cubicBezTo>
                        <a:close/>
                        <a:moveTo>
                          <a:pt x="55615" y="21272"/>
                        </a:moveTo>
                        <a:cubicBezTo>
                          <a:pt x="43735" y="21272"/>
                          <a:pt x="21272" y="25207"/>
                          <a:pt x="21272" y="40108"/>
                        </a:cubicBezTo>
                        <a:cubicBezTo>
                          <a:pt x="21272" y="55519"/>
                          <a:pt x="40204" y="74451"/>
                          <a:pt x="55615" y="74451"/>
                        </a:cubicBezTo>
                        <a:cubicBezTo>
                          <a:pt x="72047" y="74451"/>
                          <a:pt x="90352" y="53052"/>
                          <a:pt x="90352" y="38555"/>
                        </a:cubicBezTo>
                        <a:cubicBezTo>
                          <a:pt x="90352" y="21761"/>
                          <a:pt x="59178" y="21272"/>
                          <a:pt x="55615" y="21272"/>
                        </a:cubicBezTo>
                        <a:close/>
                      </a:path>
                    </a:pathLst>
                  </a:custGeom>
                  <a:grpFill/>
                  <a:ln w="1063" cap="flat">
                    <a:noFill/>
                    <a:prstDash val="solid"/>
                    <a:miter/>
                  </a:ln>
                </p:spPr>
                <p:txBody>
                  <a:bodyPr rtlCol="0" anchor="ctr"/>
                  <a:lstStyle/>
                  <a:p>
                    <a:endParaRPr lang="en-GB" dirty="0"/>
                  </a:p>
                </p:txBody>
              </p:sp>
              <p:sp>
                <p:nvSpPr>
                  <p:cNvPr id="165" name="Freeform: Shape 164">
                    <a:extLst>
                      <a:ext uri="{FF2B5EF4-FFF2-40B4-BE49-F238E27FC236}">
                        <a16:creationId xmlns:a16="http://schemas.microsoft.com/office/drawing/2014/main" id="{97EDC14E-4A19-4199-90E1-85967049948F}"/>
                      </a:ext>
                    </a:extLst>
                  </p:cNvPr>
                  <p:cNvSpPr/>
                  <p:nvPr/>
                </p:nvSpPr>
                <p:spPr>
                  <a:xfrm>
                    <a:off x="2501230" y="102774"/>
                    <a:ext cx="21271" cy="85086"/>
                  </a:xfrm>
                  <a:custGeom>
                    <a:avLst/>
                    <a:gdLst>
                      <a:gd name="connsiteX0" fmla="*/ 10636 w 21271"/>
                      <a:gd name="connsiteY0" fmla="*/ 85087 h 85086"/>
                      <a:gd name="connsiteX1" fmla="*/ 0 w 21271"/>
                      <a:gd name="connsiteY1" fmla="*/ 74451 h 85086"/>
                      <a:gd name="connsiteX2" fmla="*/ 0 w 21271"/>
                      <a:gd name="connsiteY2" fmla="*/ 10636 h 85086"/>
                      <a:gd name="connsiteX3" fmla="*/ 10636 w 21271"/>
                      <a:gd name="connsiteY3" fmla="*/ 0 h 85086"/>
                      <a:gd name="connsiteX4" fmla="*/ 21272 w 21271"/>
                      <a:gd name="connsiteY4" fmla="*/ 10636 h 85086"/>
                      <a:gd name="connsiteX5" fmla="*/ 21272 w 21271"/>
                      <a:gd name="connsiteY5" fmla="*/ 74451 h 85086"/>
                      <a:gd name="connsiteX6" fmla="*/ 10636 w 21271"/>
                      <a:gd name="connsiteY6" fmla="*/ 85087 h 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85086">
                        <a:moveTo>
                          <a:pt x="10636" y="85087"/>
                        </a:moveTo>
                        <a:cubicBezTo>
                          <a:pt x="4765" y="85087"/>
                          <a:pt x="0" y="80322"/>
                          <a:pt x="0" y="74451"/>
                        </a:cubicBezTo>
                        <a:lnTo>
                          <a:pt x="0" y="10636"/>
                        </a:lnTo>
                        <a:cubicBezTo>
                          <a:pt x="0" y="4765"/>
                          <a:pt x="4765" y="0"/>
                          <a:pt x="10636" y="0"/>
                        </a:cubicBezTo>
                        <a:cubicBezTo>
                          <a:pt x="16507" y="0"/>
                          <a:pt x="21272" y="4765"/>
                          <a:pt x="21272" y="10636"/>
                        </a:cubicBezTo>
                        <a:lnTo>
                          <a:pt x="21272" y="74451"/>
                        </a:lnTo>
                        <a:cubicBezTo>
                          <a:pt x="21272" y="80333"/>
                          <a:pt x="16507" y="85087"/>
                          <a:pt x="10636" y="85087"/>
                        </a:cubicBezTo>
                        <a:close/>
                      </a:path>
                    </a:pathLst>
                  </a:custGeom>
                  <a:grpFill/>
                  <a:ln w="1063" cap="flat">
                    <a:noFill/>
                    <a:prstDash val="solid"/>
                    <a:miter/>
                  </a:ln>
                </p:spPr>
                <p:txBody>
                  <a:bodyPr rtlCol="0" anchor="ctr"/>
                  <a:lstStyle/>
                  <a:p>
                    <a:endParaRPr lang="en-GB" dirty="0"/>
                  </a:p>
                </p:txBody>
              </p:sp>
            </p:grpSp>
            <p:grpSp>
              <p:nvGrpSpPr>
                <p:cNvPr id="158" name="Graphic 818">
                  <a:extLst>
                    <a:ext uri="{FF2B5EF4-FFF2-40B4-BE49-F238E27FC236}">
                      <a16:creationId xmlns:a16="http://schemas.microsoft.com/office/drawing/2014/main" id="{2D62C442-5B33-4AD7-B440-C5AC06C36028}"/>
                    </a:ext>
                  </a:extLst>
                </p:cNvPr>
                <p:cNvGrpSpPr/>
                <p:nvPr/>
              </p:nvGrpSpPr>
              <p:grpSpPr>
                <a:xfrm>
                  <a:off x="2644737" y="110202"/>
                  <a:ext cx="138023" cy="137028"/>
                  <a:chOff x="2644737" y="110202"/>
                  <a:chExt cx="138023" cy="137028"/>
                </a:xfrm>
                <a:grpFill/>
              </p:grpSpPr>
              <p:sp>
                <p:nvSpPr>
                  <p:cNvPr id="162" name="Freeform: Shape 161">
                    <a:extLst>
                      <a:ext uri="{FF2B5EF4-FFF2-40B4-BE49-F238E27FC236}">
                        <a16:creationId xmlns:a16="http://schemas.microsoft.com/office/drawing/2014/main" id="{385D3060-1911-4F2C-B01B-C900760BB082}"/>
                      </a:ext>
                    </a:extLst>
                  </p:cNvPr>
                  <p:cNvSpPr/>
                  <p:nvPr/>
                </p:nvSpPr>
                <p:spPr>
                  <a:xfrm>
                    <a:off x="2678660" y="110202"/>
                    <a:ext cx="104100" cy="102780"/>
                  </a:xfrm>
                  <a:custGeom>
                    <a:avLst/>
                    <a:gdLst>
                      <a:gd name="connsiteX0" fmla="*/ 53060 w 104100"/>
                      <a:gd name="connsiteY0" fmla="*/ 102781 h 102780"/>
                      <a:gd name="connsiteX1" fmla="*/ 14335 w 104100"/>
                      <a:gd name="connsiteY1" fmla="*/ 88816 h 102780"/>
                      <a:gd name="connsiteX2" fmla="*/ 14335 w 104100"/>
                      <a:gd name="connsiteY2" fmla="*/ 10164 h 102780"/>
                      <a:gd name="connsiteX3" fmla="*/ 50698 w 104100"/>
                      <a:gd name="connsiteY3" fmla="*/ 1676 h 102780"/>
                      <a:gd name="connsiteX4" fmla="*/ 82021 w 104100"/>
                      <a:gd name="connsiteY4" fmla="*/ 21129 h 102780"/>
                      <a:gd name="connsiteX5" fmla="*/ 94359 w 104100"/>
                      <a:gd name="connsiteY5" fmla="*/ 87986 h 102780"/>
                      <a:gd name="connsiteX6" fmla="*/ 94359 w 104100"/>
                      <a:gd name="connsiteY6" fmla="*/ 87986 h 102780"/>
                      <a:gd name="connsiteX7" fmla="*/ 54953 w 104100"/>
                      <a:gd name="connsiteY7" fmla="*/ 102760 h 102780"/>
                      <a:gd name="connsiteX8" fmla="*/ 53060 w 104100"/>
                      <a:gd name="connsiteY8" fmla="*/ 102781 h 102780"/>
                      <a:gd name="connsiteX9" fmla="*/ 38935 w 104100"/>
                      <a:gd name="connsiteY9" fmla="*/ 21246 h 102780"/>
                      <a:gd name="connsiteX10" fmla="*/ 29384 w 104100"/>
                      <a:gd name="connsiteY10" fmla="*/ 25203 h 102780"/>
                      <a:gd name="connsiteX11" fmla="*/ 29384 w 104100"/>
                      <a:gd name="connsiteY11" fmla="*/ 73777 h 102780"/>
                      <a:gd name="connsiteX12" fmla="*/ 54432 w 104100"/>
                      <a:gd name="connsiteY12" fmla="*/ 81499 h 102780"/>
                      <a:gd name="connsiteX13" fmla="*/ 79330 w 104100"/>
                      <a:gd name="connsiteY13" fmla="*/ 72958 h 102780"/>
                      <a:gd name="connsiteX14" fmla="*/ 79330 w 104100"/>
                      <a:gd name="connsiteY14" fmla="*/ 72958 h 102780"/>
                      <a:gd name="connsiteX15" fmla="*/ 66993 w 104100"/>
                      <a:gd name="connsiteY15" fmla="*/ 36179 h 102780"/>
                      <a:gd name="connsiteX16" fmla="*/ 44987 w 104100"/>
                      <a:gd name="connsiteY16" fmla="*/ 22172 h 102780"/>
                      <a:gd name="connsiteX17" fmla="*/ 38935 w 104100"/>
                      <a:gd name="connsiteY17" fmla="*/ 21246 h 10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4100" h="102780">
                        <a:moveTo>
                          <a:pt x="53060" y="102781"/>
                        </a:moveTo>
                        <a:cubicBezTo>
                          <a:pt x="37297" y="102781"/>
                          <a:pt x="23269" y="97740"/>
                          <a:pt x="14335" y="88816"/>
                        </a:cubicBezTo>
                        <a:cubicBezTo>
                          <a:pt x="-4778" y="69703"/>
                          <a:pt x="-4778" y="29266"/>
                          <a:pt x="14335" y="10164"/>
                        </a:cubicBezTo>
                        <a:cubicBezTo>
                          <a:pt x="23715" y="772"/>
                          <a:pt x="36617" y="-2248"/>
                          <a:pt x="50698" y="1676"/>
                        </a:cubicBezTo>
                        <a:cubicBezTo>
                          <a:pt x="61324" y="4644"/>
                          <a:pt x="72438" y="11547"/>
                          <a:pt x="82021" y="21129"/>
                        </a:cubicBezTo>
                        <a:cubicBezTo>
                          <a:pt x="106079" y="45188"/>
                          <a:pt x="110919" y="71426"/>
                          <a:pt x="94359" y="87986"/>
                        </a:cubicBezTo>
                        <a:lnTo>
                          <a:pt x="94359" y="87986"/>
                        </a:lnTo>
                        <a:cubicBezTo>
                          <a:pt x="85520" y="96836"/>
                          <a:pt x="70790" y="102356"/>
                          <a:pt x="54953" y="102760"/>
                        </a:cubicBezTo>
                        <a:cubicBezTo>
                          <a:pt x="54325" y="102770"/>
                          <a:pt x="53687" y="102781"/>
                          <a:pt x="53060" y="102781"/>
                        </a:cubicBezTo>
                        <a:close/>
                        <a:moveTo>
                          <a:pt x="38935" y="21246"/>
                        </a:moveTo>
                        <a:cubicBezTo>
                          <a:pt x="34043" y="21246"/>
                          <a:pt x="31214" y="23363"/>
                          <a:pt x="29384" y="25203"/>
                        </a:cubicBezTo>
                        <a:cubicBezTo>
                          <a:pt x="18493" y="36094"/>
                          <a:pt x="18493" y="62875"/>
                          <a:pt x="29384" y="73777"/>
                        </a:cubicBezTo>
                        <a:cubicBezTo>
                          <a:pt x="34489" y="78882"/>
                          <a:pt x="43849" y="81935"/>
                          <a:pt x="54432" y="81499"/>
                        </a:cubicBezTo>
                        <a:cubicBezTo>
                          <a:pt x="64791" y="81233"/>
                          <a:pt x="74331" y="77957"/>
                          <a:pt x="79330" y="72958"/>
                        </a:cubicBezTo>
                        <a:lnTo>
                          <a:pt x="79330" y="72958"/>
                        </a:lnTo>
                        <a:cubicBezTo>
                          <a:pt x="91210" y="61078"/>
                          <a:pt x="69503" y="38689"/>
                          <a:pt x="66993" y="36179"/>
                        </a:cubicBezTo>
                        <a:cubicBezTo>
                          <a:pt x="60058" y="29245"/>
                          <a:pt x="52039" y="24139"/>
                          <a:pt x="44987" y="22172"/>
                        </a:cubicBezTo>
                        <a:cubicBezTo>
                          <a:pt x="42668" y="21512"/>
                          <a:pt x="40669" y="21246"/>
                          <a:pt x="38935" y="21246"/>
                        </a:cubicBezTo>
                        <a:close/>
                      </a:path>
                    </a:pathLst>
                  </a:custGeom>
                  <a:grpFill/>
                  <a:ln w="1063" cap="flat">
                    <a:noFill/>
                    <a:prstDash val="solid"/>
                    <a:miter/>
                  </a:ln>
                </p:spPr>
                <p:txBody>
                  <a:bodyPr rtlCol="0" anchor="ctr"/>
                  <a:lstStyle/>
                  <a:p>
                    <a:endParaRPr lang="en-GB" dirty="0"/>
                  </a:p>
                </p:txBody>
              </p:sp>
              <p:sp>
                <p:nvSpPr>
                  <p:cNvPr id="163" name="Freeform: Shape 162">
                    <a:extLst>
                      <a:ext uri="{FF2B5EF4-FFF2-40B4-BE49-F238E27FC236}">
                        <a16:creationId xmlns:a16="http://schemas.microsoft.com/office/drawing/2014/main" id="{80447E10-7EDD-40B1-88F0-AD0BEA4810B9}"/>
                      </a:ext>
                    </a:extLst>
                  </p:cNvPr>
                  <p:cNvSpPr/>
                  <p:nvPr/>
                </p:nvSpPr>
                <p:spPr>
                  <a:xfrm>
                    <a:off x="2644737" y="180828"/>
                    <a:ext cx="66404" cy="66402"/>
                  </a:xfrm>
                  <a:custGeom>
                    <a:avLst/>
                    <a:gdLst>
                      <a:gd name="connsiteX0" fmla="*/ 10639 w 66404"/>
                      <a:gd name="connsiteY0" fmla="*/ 66402 h 66402"/>
                      <a:gd name="connsiteX1" fmla="*/ 3119 w 66404"/>
                      <a:gd name="connsiteY1" fmla="*/ 63286 h 66402"/>
                      <a:gd name="connsiteX2" fmla="*/ 3119 w 66404"/>
                      <a:gd name="connsiteY2" fmla="*/ 48247 h 66402"/>
                      <a:gd name="connsiteX3" fmla="*/ 48247 w 66404"/>
                      <a:gd name="connsiteY3" fmla="*/ 3119 h 66402"/>
                      <a:gd name="connsiteX4" fmla="*/ 63286 w 66404"/>
                      <a:gd name="connsiteY4" fmla="*/ 3119 h 66402"/>
                      <a:gd name="connsiteX5" fmla="*/ 63286 w 66404"/>
                      <a:gd name="connsiteY5" fmla="*/ 18158 h 66402"/>
                      <a:gd name="connsiteX6" fmla="*/ 18158 w 66404"/>
                      <a:gd name="connsiteY6" fmla="*/ 63286 h 66402"/>
                      <a:gd name="connsiteX7" fmla="*/ 10639 w 66404"/>
                      <a:gd name="connsiteY7" fmla="*/ 66402 h 6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04" h="66402">
                        <a:moveTo>
                          <a:pt x="10639" y="66402"/>
                        </a:moveTo>
                        <a:cubicBezTo>
                          <a:pt x="7916" y="66402"/>
                          <a:pt x="5193" y="65360"/>
                          <a:pt x="3119" y="63286"/>
                        </a:cubicBezTo>
                        <a:cubicBezTo>
                          <a:pt x="-1040" y="59127"/>
                          <a:pt x="-1040" y="52406"/>
                          <a:pt x="3119" y="48247"/>
                        </a:cubicBezTo>
                        <a:lnTo>
                          <a:pt x="48247" y="3119"/>
                        </a:lnTo>
                        <a:cubicBezTo>
                          <a:pt x="52406" y="-1040"/>
                          <a:pt x="59127" y="-1040"/>
                          <a:pt x="63286" y="3119"/>
                        </a:cubicBezTo>
                        <a:cubicBezTo>
                          <a:pt x="67445" y="7278"/>
                          <a:pt x="67445" y="13999"/>
                          <a:pt x="63286" y="18158"/>
                        </a:cubicBezTo>
                        <a:lnTo>
                          <a:pt x="18158" y="63286"/>
                        </a:lnTo>
                        <a:cubicBezTo>
                          <a:pt x="16084" y="65360"/>
                          <a:pt x="13361" y="66402"/>
                          <a:pt x="10639" y="66402"/>
                        </a:cubicBezTo>
                        <a:close/>
                      </a:path>
                    </a:pathLst>
                  </a:custGeom>
                  <a:grpFill/>
                  <a:ln w="1063" cap="flat">
                    <a:noFill/>
                    <a:prstDash val="solid"/>
                    <a:miter/>
                  </a:ln>
                </p:spPr>
                <p:txBody>
                  <a:bodyPr rtlCol="0" anchor="ctr"/>
                  <a:lstStyle/>
                  <a:p>
                    <a:endParaRPr lang="en-GB" dirty="0"/>
                  </a:p>
                </p:txBody>
              </p:sp>
            </p:grpSp>
            <p:grpSp>
              <p:nvGrpSpPr>
                <p:cNvPr id="159" name="Graphic 818">
                  <a:extLst>
                    <a:ext uri="{FF2B5EF4-FFF2-40B4-BE49-F238E27FC236}">
                      <a16:creationId xmlns:a16="http://schemas.microsoft.com/office/drawing/2014/main" id="{D5139A26-E0FB-4DE6-8F7F-09E5177A5A26}"/>
                    </a:ext>
                  </a:extLst>
                </p:cNvPr>
                <p:cNvGrpSpPr/>
                <p:nvPr/>
              </p:nvGrpSpPr>
              <p:grpSpPr>
                <a:xfrm>
                  <a:off x="2241333" y="109701"/>
                  <a:ext cx="138023" cy="137050"/>
                  <a:chOff x="2241333" y="109701"/>
                  <a:chExt cx="138023" cy="137050"/>
                </a:xfrm>
                <a:grpFill/>
              </p:grpSpPr>
              <p:sp>
                <p:nvSpPr>
                  <p:cNvPr id="160" name="Freeform: Shape 159">
                    <a:extLst>
                      <a:ext uri="{FF2B5EF4-FFF2-40B4-BE49-F238E27FC236}">
                        <a16:creationId xmlns:a16="http://schemas.microsoft.com/office/drawing/2014/main" id="{E1A53C43-CA42-4A81-99C5-5296DB5FE621}"/>
                      </a:ext>
                    </a:extLst>
                  </p:cNvPr>
                  <p:cNvSpPr/>
                  <p:nvPr/>
                </p:nvSpPr>
                <p:spPr>
                  <a:xfrm>
                    <a:off x="2241333" y="109701"/>
                    <a:ext cx="104127" cy="102728"/>
                  </a:xfrm>
                  <a:custGeom>
                    <a:avLst/>
                    <a:gdLst>
                      <a:gd name="connsiteX0" fmla="*/ 50647 w 104127"/>
                      <a:gd name="connsiteY0" fmla="*/ 102729 h 102728"/>
                      <a:gd name="connsiteX1" fmla="*/ 9742 w 104127"/>
                      <a:gd name="connsiteY1" fmla="*/ 88009 h 102728"/>
                      <a:gd name="connsiteX2" fmla="*/ 9742 w 104127"/>
                      <a:gd name="connsiteY2" fmla="*/ 88009 h 102728"/>
                      <a:gd name="connsiteX3" fmla="*/ 22079 w 104127"/>
                      <a:gd name="connsiteY3" fmla="*/ 21141 h 102728"/>
                      <a:gd name="connsiteX4" fmla="*/ 53402 w 104127"/>
                      <a:gd name="connsiteY4" fmla="*/ 1688 h 102728"/>
                      <a:gd name="connsiteX5" fmla="*/ 89766 w 104127"/>
                      <a:gd name="connsiteY5" fmla="*/ 10165 h 102728"/>
                      <a:gd name="connsiteX6" fmla="*/ 104124 w 104127"/>
                      <a:gd name="connsiteY6" fmla="*/ 49049 h 102728"/>
                      <a:gd name="connsiteX7" fmla="*/ 89766 w 104127"/>
                      <a:gd name="connsiteY7" fmla="*/ 88817 h 102728"/>
                      <a:gd name="connsiteX8" fmla="*/ 50647 w 104127"/>
                      <a:gd name="connsiteY8" fmla="*/ 102729 h 102728"/>
                      <a:gd name="connsiteX9" fmla="*/ 24781 w 104127"/>
                      <a:gd name="connsiteY9" fmla="*/ 72969 h 102728"/>
                      <a:gd name="connsiteX10" fmla="*/ 74727 w 104127"/>
                      <a:gd name="connsiteY10" fmla="*/ 73788 h 102728"/>
                      <a:gd name="connsiteX11" fmla="*/ 82852 w 104127"/>
                      <a:gd name="connsiteY11" fmla="*/ 49262 h 102728"/>
                      <a:gd name="connsiteX12" fmla="*/ 74727 w 104127"/>
                      <a:gd name="connsiteY12" fmla="*/ 25214 h 102728"/>
                      <a:gd name="connsiteX13" fmla="*/ 37118 w 104127"/>
                      <a:gd name="connsiteY13" fmla="*/ 36180 h 102728"/>
                      <a:gd name="connsiteX14" fmla="*/ 24781 w 104127"/>
                      <a:gd name="connsiteY14" fmla="*/ 72969 h 102728"/>
                      <a:gd name="connsiteX15" fmla="*/ 24781 w 104127"/>
                      <a:gd name="connsiteY15" fmla="*/ 72969 h 10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127" h="102728">
                        <a:moveTo>
                          <a:pt x="50647" y="102729"/>
                        </a:moveTo>
                        <a:cubicBezTo>
                          <a:pt x="35161" y="102729"/>
                          <a:pt x="19537" y="97804"/>
                          <a:pt x="9742" y="88009"/>
                        </a:cubicBezTo>
                        <a:lnTo>
                          <a:pt x="9742" y="88009"/>
                        </a:lnTo>
                        <a:cubicBezTo>
                          <a:pt x="-6819" y="71438"/>
                          <a:pt x="-1979" y="45199"/>
                          <a:pt x="22079" y="21141"/>
                        </a:cubicBezTo>
                        <a:cubicBezTo>
                          <a:pt x="31651" y="11569"/>
                          <a:pt x="42776" y="4655"/>
                          <a:pt x="53402" y="1688"/>
                        </a:cubicBezTo>
                        <a:cubicBezTo>
                          <a:pt x="67473" y="-2258"/>
                          <a:pt x="80374" y="773"/>
                          <a:pt x="89766" y="10165"/>
                        </a:cubicBezTo>
                        <a:cubicBezTo>
                          <a:pt x="98742" y="19141"/>
                          <a:pt x="103975" y="33319"/>
                          <a:pt x="104124" y="49049"/>
                        </a:cubicBezTo>
                        <a:cubicBezTo>
                          <a:pt x="104273" y="65046"/>
                          <a:pt x="99040" y="79542"/>
                          <a:pt x="89766" y="88817"/>
                        </a:cubicBezTo>
                        <a:cubicBezTo>
                          <a:pt x="80481" y="98113"/>
                          <a:pt x="65633" y="102729"/>
                          <a:pt x="50647" y="102729"/>
                        </a:cubicBezTo>
                        <a:close/>
                        <a:moveTo>
                          <a:pt x="24781" y="72969"/>
                        </a:moveTo>
                        <a:cubicBezTo>
                          <a:pt x="34810" y="82988"/>
                          <a:pt x="63346" y="85190"/>
                          <a:pt x="74727" y="73788"/>
                        </a:cubicBezTo>
                        <a:cubicBezTo>
                          <a:pt x="79906" y="68598"/>
                          <a:pt x="82948" y="59430"/>
                          <a:pt x="82852" y="49262"/>
                        </a:cubicBezTo>
                        <a:cubicBezTo>
                          <a:pt x="82767" y="39349"/>
                          <a:pt x="79651" y="30139"/>
                          <a:pt x="74727" y="25214"/>
                        </a:cubicBezTo>
                        <a:cubicBezTo>
                          <a:pt x="64186" y="14674"/>
                          <a:pt x="45521" y="27778"/>
                          <a:pt x="37118" y="36180"/>
                        </a:cubicBezTo>
                        <a:cubicBezTo>
                          <a:pt x="34608" y="38701"/>
                          <a:pt x="12900" y="61089"/>
                          <a:pt x="24781" y="72969"/>
                        </a:cubicBezTo>
                        <a:lnTo>
                          <a:pt x="24781" y="72969"/>
                        </a:lnTo>
                        <a:close/>
                      </a:path>
                    </a:pathLst>
                  </a:custGeom>
                  <a:grpFill/>
                  <a:ln w="1063" cap="flat">
                    <a:noFill/>
                    <a:prstDash val="solid"/>
                    <a:miter/>
                  </a:ln>
                </p:spPr>
                <p:txBody>
                  <a:bodyPr rtlCol="0" anchor="ctr"/>
                  <a:lstStyle/>
                  <a:p>
                    <a:endParaRPr lang="en-GB" dirty="0"/>
                  </a:p>
                </p:txBody>
              </p:sp>
              <p:sp>
                <p:nvSpPr>
                  <p:cNvPr id="161" name="Freeform: Shape 160">
                    <a:extLst>
                      <a:ext uri="{FF2B5EF4-FFF2-40B4-BE49-F238E27FC236}">
                        <a16:creationId xmlns:a16="http://schemas.microsoft.com/office/drawing/2014/main" id="{C3B1F16F-013D-418F-8919-DFC2A3E2C2EE}"/>
                      </a:ext>
                    </a:extLst>
                  </p:cNvPr>
                  <p:cNvSpPr/>
                  <p:nvPr/>
                </p:nvSpPr>
                <p:spPr>
                  <a:xfrm>
                    <a:off x="2312951" y="180349"/>
                    <a:ext cx="66404" cy="66402"/>
                  </a:xfrm>
                  <a:custGeom>
                    <a:avLst/>
                    <a:gdLst>
                      <a:gd name="connsiteX0" fmla="*/ 55766 w 66404"/>
                      <a:gd name="connsiteY0" fmla="*/ 66402 h 66402"/>
                      <a:gd name="connsiteX1" fmla="*/ 48247 w 66404"/>
                      <a:gd name="connsiteY1" fmla="*/ 63286 h 66402"/>
                      <a:gd name="connsiteX2" fmla="*/ 3119 w 66404"/>
                      <a:gd name="connsiteY2" fmla="*/ 18158 h 66402"/>
                      <a:gd name="connsiteX3" fmla="*/ 3119 w 66404"/>
                      <a:gd name="connsiteY3" fmla="*/ 3119 h 66402"/>
                      <a:gd name="connsiteX4" fmla="*/ 18158 w 66404"/>
                      <a:gd name="connsiteY4" fmla="*/ 3119 h 66402"/>
                      <a:gd name="connsiteX5" fmla="*/ 63286 w 66404"/>
                      <a:gd name="connsiteY5" fmla="*/ 48247 h 66402"/>
                      <a:gd name="connsiteX6" fmla="*/ 63286 w 66404"/>
                      <a:gd name="connsiteY6" fmla="*/ 63286 h 66402"/>
                      <a:gd name="connsiteX7" fmla="*/ 55766 w 66404"/>
                      <a:gd name="connsiteY7" fmla="*/ 66402 h 6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04" h="66402">
                        <a:moveTo>
                          <a:pt x="55766" y="66402"/>
                        </a:moveTo>
                        <a:cubicBezTo>
                          <a:pt x="53044" y="66402"/>
                          <a:pt x="50321" y="65360"/>
                          <a:pt x="48247" y="63286"/>
                        </a:cubicBezTo>
                        <a:lnTo>
                          <a:pt x="3119" y="18158"/>
                        </a:lnTo>
                        <a:cubicBezTo>
                          <a:pt x="-1040" y="13999"/>
                          <a:pt x="-1040" y="7278"/>
                          <a:pt x="3119" y="3119"/>
                        </a:cubicBezTo>
                        <a:cubicBezTo>
                          <a:pt x="7278" y="-1040"/>
                          <a:pt x="13999" y="-1040"/>
                          <a:pt x="18158" y="3119"/>
                        </a:cubicBezTo>
                        <a:lnTo>
                          <a:pt x="63286" y="48247"/>
                        </a:lnTo>
                        <a:cubicBezTo>
                          <a:pt x="67445" y="52406"/>
                          <a:pt x="67445" y="59127"/>
                          <a:pt x="63286" y="63286"/>
                        </a:cubicBezTo>
                        <a:cubicBezTo>
                          <a:pt x="61212" y="65360"/>
                          <a:pt x="58489" y="66402"/>
                          <a:pt x="55766" y="66402"/>
                        </a:cubicBezTo>
                        <a:close/>
                      </a:path>
                    </a:pathLst>
                  </a:custGeom>
                  <a:grpFill/>
                  <a:ln w="1063" cap="flat">
                    <a:noFill/>
                    <a:prstDash val="solid"/>
                    <a:miter/>
                  </a:ln>
                </p:spPr>
                <p:txBody>
                  <a:bodyPr rtlCol="0" anchor="ctr"/>
                  <a:lstStyle/>
                  <a:p>
                    <a:endParaRPr lang="en-GB" dirty="0"/>
                  </a:p>
                </p:txBody>
              </p:sp>
            </p:grpSp>
          </p:grpSp>
          <p:grpSp>
            <p:nvGrpSpPr>
              <p:cNvPr id="139" name="Graphic 818">
                <a:extLst>
                  <a:ext uri="{FF2B5EF4-FFF2-40B4-BE49-F238E27FC236}">
                    <a16:creationId xmlns:a16="http://schemas.microsoft.com/office/drawing/2014/main" id="{82DC0216-CAAC-4F4B-A041-BDFC42622F9E}"/>
                  </a:ext>
                </a:extLst>
              </p:cNvPr>
              <p:cNvGrpSpPr/>
              <p:nvPr/>
            </p:nvGrpSpPr>
            <p:grpSpPr>
              <a:xfrm>
                <a:off x="620603" y="1903409"/>
                <a:ext cx="347141" cy="140353"/>
                <a:chOff x="2241333" y="512198"/>
                <a:chExt cx="541437" cy="218909"/>
              </a:xfrm>
              <a:grpFill/>
            </p:grpSpPr>
            <p:grpSp>
              <p:nvGrpSpPr>
                <p:cNvPr id="148" name="Graphic 818">
                  <a:extLst>
                    <a:ext uri="{FF2B5EF4-FFF2-40B4-BE49-F238E27FC236}">
                      <a16:creationId xmlns:a16="http://schemas.microsoft.com/office/drawing/2014/main" id="{8955A2CA-EB5F-4F7D-95DB-391B0E457CF6}"/>
                    </a:ext>
                  </a:extLst>
                </p:cNvPr>
                <p:cNvGrpSpPr/>
                <p:nvPr/>
              </p:nvGrpSpPr>
              <p:grpSpPr>
                <a:xfrm>
                  <a:off x="2456272" y="571570"/>
                  <a:ext cx="111623" cy="159537"/>
                  <a:chOff x="2456272" y="571570"/>
                  <a:chExt cx="111623" cy="159537"/>
                </a:xfrm>
                <a:grpFill/>
              </p:grpSpPr>
              <p:sp>
                <p:nvSpPr>
                  <p:cNvPr id="155" name="Freeform: Shape 154">
                    <a:extLst>
                      <a:ext uri="{FF2B5EF4-FFF2-40B4-BE49-F238E27FC236}">
                        <a16:creationId xmlns:a16="http://schemas.microsoft.com/office/drawing/2014/main" id="{33DA2A9F-C111-4B6F-9919-36B2E7897817}"/>
                      </a:ext>
                    </a:extLst>
                  </p:cNvPr>
                  <p:cNvSpPr/>
                  <p:nvPr/>
                </p:nvSpPr>
                <p:spPr>
                  <a:xfrm>
                    <a:off x="2456272" y="635386"/>
                    <a:ext cx="111623" cy="95722"/>
                  </a:xfrm>
                  <a:custGeom>
                    <a:avLst/>
                    <a:gdLst>
                      <a:gd name="connsiteX0" fmla="*/ 55615 w 111623"/>
                      <a:gd name="connsiteY0" fmla="*/ 95723 h 95722"/>
                      <a:gd name="connsiteX1" fmla="*/ 0 w 111623"/>
                      <a:gd name="connsiteY1" fmla="*/ 55615 h 95722"/>
                      <a:gd name="connsiteX2" fmla="*/ 55615 w 111623"/>
                      <a:gd name="connsiteY2" fmla="*/ 0 h 95722"/>
                      <a:gd name="connsiteX3" fmla="*/ 111623 w 111623"/>
                      <a:gd name="connsiteY3" fmla="*/ 57168 h 95722"/>
                      <a:gd name="connsiteX4" fmla="*/ 55615 w 111623"/>
                      <a:gd name="connsiteY4" fmla="*/ 95723 h 95722"/>
                      <a:gd name="connsiteX5" fmla="*/ 55615 w 111623"/>
                      <a:gd name="connsiteY5" fmla="*/ 21272 h 95722"/>
                      <a:gd name="connsiteX6" fmla="*/ 21272 w 111623"/>
                      <a:gd name="connsiteY6" fmla="*/ 55615 h 95722"/>
                      <a:gd name="connsiteX7" fmla="*/ 55615 w 111623"/>
                      <a:gd name="connsiteY7" fmla="*/ 74451 h 95722"/>
                      <a:gd name="connsiteX8" fmla="*/ 90352 w 111623"/>
                      <a:gd name="connsiteY8" fmla="*/ 57168 h 95722"/>
                      <a:gd name="connsiteX9" fmla="*/ 55615 w 111623"/>
                      <a:gd name="connsiteY9" fmla="*/ 21272 h 9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623" h="95722">
                        <a:moveTo>
                          <a:pt x="55615" y="95723"/>
                        </a:moveTo>
                        <a:cubicBezTo>
                          <a:pt x="27930" y="95723"/>
                          <a:pt x="0" y="83321"/>
                          <a:pt x="0" y="55615"/>
                        </a:cubicBezTo>
                        <a:cubicBezTo>
                          <a:pt x="0" y="28589"/>
                          <a:pt x="28589" y="0"/>
                          <a:pt x="55615" y="0"/>
                        </a:cubicBezTo>
                        <a:cubicBezTo>
                          <a:pt x="82311" y="0"/>
                          <a:pt x="111623" y="29919"/>
                          <a:pt x="111623" y="57168"/>
                        </a:cubicBezTo>
                        <a:cubicBezTo>
                          <a:pt x="111623" y="80588"/>
                          <a:pt x="89639" y="95723"/>
                          <a:pt x="55615" y="95723"/>
                        </a:cubicBezTo>
                        <a:close/>
                        <a:moveTo>
                          <a:pt x="55615" y="21272"/>
                        </a:moveTo>
                        <a:cubicBezTo>
                          <a:pt x="40204" y="21272"/>
                          <a:pt x="21272" y="40204"/>
                          <a:pt x="21272" y="55615"/>
                        </a:cubicBezTo>
                        <a:cubicBezTo>
                          <a:pt x="21272" y="70516"/>
                          <a:pt x="43735" y="74451"/>
                          <a:pt x="55615" y="74451"/>
                        </a:cubicBezTo>
                        <a:cubicBezTo>
                          <a:pt x="59167" y="74451"/>
                          <a:pt x="90352" y="73972"/>
                          <a:pt x="90352" y="57168"/>
                        </a:cubicBezTo>
                        <a:cubicBezTo>
                          <a:pt x="90352" y="42660"/>
                          <a:pt x="72058" y="21272"/>
                          <a:pt x="55615" y="21272"/>
                        </a:cubicBezTo>
                        <a:close/>
                      </a:path>
                    </a:pathLst>
                  </a:custGeom>
                  <a:grpFill/>
                  <a:ln w="1063" cap="flat">
                    <a:noFill/>
                    <a:prstDash val="solid"/>
                    <a:miter/>
                  </a:ln>
                </p:spPr>
                <p:txBody>
                  <a:bodyPr rtlCol="0" anchor="ctr"/>
                  <a:lstStyle/>
                  <a:p>
                    <a:endParaRPr lang="en-GB" dirty="0"/>
                  </a:p>
                </p:txBody>
              </p:sp>
              <p:sp>
                <p:nvSpPr>
                  <p:cNvPr id="156" name="Freeform: Shape 155">
                    <a:extLst>
                      <a:ext uri="{FF2B5EF4-FFF2-40B4-BE49-F238E27FC236}">
                        <a16:creationId xmlns:a16="http://schemas.microsoft.com/office/drawing/2014/main" id="{53C05971-1812-44E1-A937-BBEC37C16529}"/>
                      </a:ext>
                    </a:extLst>
                  </p:cNvPr>
                  <p:cNvSpPr/>
                  <p:nvPr/>
                </p:nvSpPr>
                <p:spPr>
                  <a:xfrm>
                    <a:off x="2501230" y="571570"/>
                    <a:ext cx="21271" cy="85086"/>
                  </a:xfrm>
                  <a:custGeom>
                    <a:avLst/>
                    <a:gdLst>
                      <a:gd name="connsiteX0" fmla="*/ 10636 w 21271"/>
                      <a:gd name="connsiteY0" fmla="*/ 85087 h 85086"/>
                      <a:gd name="connsiteX1" fmla="*/ 0 w 21271"/>
                      <a:gd name="connsiteY1" fmla="*/ 74451 h 85086"/>
                      <a:gd name="connsiteX2" fmla="*/ 0 w 21271"/>
                      <a:gd name="connsiteY2" fmla="*/ 10636 h 85086"/>
                      <a:gd name="connsiteX3" fmla="*/ 10636 w 21271"/>
                      <a:gd name="connsiteY3" fmla="*/ 0 h 85086"/>
                      <a:gd name="connsiteX4" fmla="*/ 21272 w 21271"/>
                      <a:gd name="connsiteY4" fmla="*/ 10636 h 85086"/>
                      <a:gd name="connsiteX5" fmla="*/ 21272 w 21271"/>
                      <a:gd name="connsiteY5" fmla="*/ 74451 h 85086"/>
                      <a:gd name="connsiteX6" fmla="*/ 10636 w 21271"/>
                      <a:gd name="connsiteY6" fmla="*/ 85087 h 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85086">
                        <a:moveTo>
                          <a:pt x="10636" y="85087"/>
                        </a:moveTo>
                        <a:cubicBezTo>
                          <a:pt x="4765" y="85087"/>
                          <a:pt x="0" y="80322"/>
                          <a:pt x="0" y="74451"/>
                        </a:cubicBezTo>
                        <a:lnTo>
                          <a:pt x="0" y="10636"/>
                        </a:lnTo>
                        <a:cubicBezTo>
                          <a:pt x="0" y="4765"/>
                          <a:pt x="4765" y="0"/>
                          <a:pt x="10636" y="0"/>
                        </a:cubicBezTo>
                        <a:cubicBezTo>
                          <a:pt x="16507" y="0"/>
                          <a:pt x="21272" y="4765"/>
                          <a:pt x="21272" y="10636"/>
                        </a:cubicBezTo>
                        <a:lnTo>
                          <a:pt x="21272" y="74451"/>
                        </a:lnTo>
                        <a:cubicBezTo>
                          <a:pt x="21272" y="80322"/>
                          <a:pt x="16507" y="85087"/>
                          <a:pt x="10636" y="85087"/>
                        </a:cubicBezTo>
                        <a:close/>
                      </a:path>
                    </a:pathLst>
                  </a:custGeom>
                  <a:grpFill/>
                  <a:ln w="1063" cap="flat">
                    <a:noFill/>
                    <a:prstDash val="solid"/>
                    <a:miter/>
                  </a:ln>
                </p:spPr>
                <p:txBody>
                  <a:bodyPr rtlCol="0" anchor="ctr"/>
                  <a:lstStyle/>
                  <a:p>
                    <a:endParaRPr lang="en-GB" dirty="0"/>
                  </a:p>
                </p:txBody>
              </p:sp>
            </p:grpSp>
            <p:grpSp>
              <p:nvGrpSpPr>
                <p:cNvPr id="149" name="Graphic 818">
                  <a:extLst>
                    <a:ext uri="{FF2B5EF4-FFF2-40B4-BE49-F238E27FC236}">
                      <a16:creationId xmlns:a16="http://schemas.microsoft.com/office/drawing/2014/main" id="{F7DE2657-213E-47D0-B07A-6B4C0458D090}"/>
                    </a:ext>
                  </a:extLst>
                </p:cNvPr>
                <p:cNvGrpSpPr/>
                <p:nvPr/>
              </p:nvGrpSpPr>
              <p:grpSpPr>
                <a:xfrm>
                  <a:off x="2644737" y="512198"/>
                  <a:ext cx="138033" cy="137035"/>
                  <a:chOff x="2644737" y="512198"/>
                  <a:chExt cx="138033" cy="137035"/>
                </a:xfrm>
                <a:grpFill/>
              </p:grpSpPr>
              <p:sp>
                <p:nvSpPr>
                  <p:cNvPr id="153" name="Freeform: Shape 152">
                    <a:extLst>
                      <a:ext uri="{FF2B5EF4-FFF2-40B4-BE49-F238E27FC236}">
                        <a16:creationId xmlns:a16="http://schemas.microsoft.com/office/drawing/2014/main" id="{86254511-7425-48F6-BA30-860CFBF76F8B}"/>
                      </a:ext>
                    </a:extLst>
                  </p:cNvPr>
                  <p:cNvSpPr/>
                  <p:nvPr/>
                </p:nvSpPr>
                <p:spPr>
                  <a:xfrm>
                    <a:off x="2678670" y="546513"/>
                    <a:ext cx="104100" cy="102720"/>
                  </a:xfrm>
                  <a:custGeom>
                    <a:avLst/>
                    <a:gdLst>
                      <a:gd name="connsiteX0" fmla="*/ 38967 w 104100"/>
                      <a:gd name="connsiteY0" fmla="*/ 102721 h 102720"/>
                      <a:gd name="connsiteX1" fmla="*/ 14335 w 104100"/>
                      <a:gd name="connsiteY1" fmla="*/ 92553 h 102720"/>
                      <a:gd name="connsiteX2" fmla="*/ 14335 w 104100"/>
                      <a:gd name="connsiteY2" fmla="*/ 13901 h 102720"/>
                      <a:gd name="connsiteX3" fmla="*/ 94359 w 104100"/>
                      <a:gd name="connsiteY3" fmla="*/ 14720 h 102720"/>
                      <a:gd name="connsiteX4" fmla="*/ 94359 w 104100"/>
                      <a:gd name="connsiteY4" fmla="*/ 14720 h 102720"/>
                      <a:gd name="connsiteX5" fmla="*/ 82021 w 104100"/>
                      <a:gd name="connsiteY5" fmla="*/ 81587 h 102720"/>
                      <a:gd name="connsiteX6" fmla="*/ 50698 w 104100"/>
                      <a:gd name="connsiteY6" fmla="*/ 101040 h 102720"/>
                      <a:gd name="connsiteX7" fmla="*/ 38967 w 104100"/>
                      <a:gd name="connsiteY7" fmla="*/ 102721 h 102720"/>
                      <a:gd name="connsiteX8" fmla="*/ 52804 w 104100"/>
                      <a:gd name="connsiteY8" fmla="*/ 21293 h 102720"/>
                      <a:gd name="connsiteX9" fmla="*/ 29363 w 104100"/>
                      <a:gd name="connsiteY9" fmla="*/ 28951 h 102720"/>
                      <a:gd name="connsiteX10" fmla="*/ 29363 w 104100"/>
                      <a:gd name="connsiteY10" fmla="*/ 77525 h 102720"/>
                      <a:gd name="connsiteX11" fmla="*/ 66971 w 104100"/>
                      <a:gd name="connsiteY11" fmla="*/ 66559 h 102720"/>
                      <a:gd name="connsiteX12" fmla="*/ 79309 w 104100"/>
                      <a:gd name="connsiteY12" fmla="*/ 29780 h 102720"/>
                      <a:gd name="connsiteX13" fmla="*/ 52804 w 104100"/>
                      <a:gd name="connsiteY13" fmla="*/ 21293 h 102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100" h="102720">
                        <a:moveTo>
                          <a:pt x="38967" y="102721"/>
                        </a:moveTo>
                        <a:cubicBezTo>
                          <a:pt x="29544" y="102721"/>
                          <a:pt x="21035" y="99264"/>
                          <a:pt x="14335" y="92553"/>
                        </a:cubicBezTo>
                        <a:cubicBezTo>
                          <a:pt x="-4778" y="73440"/>
                          <a:pt x="-4778" y="33014"/>
                          <a:pt x="14335" y="13901"/>
                        </a:cubicBezTo>
                        <a:cubicBezTo>
                          <a:pt x="33202" y="-4978"/>
                          <a:pt x="75097" y="-4552"/>
                          <a:pt x="94359" y="14720"/>
                        </a:cubicBezTo>
                        <a:lnTo>
                          <a:pt x="94359" y="14720"/>
                        </a:lnTo>
                        <a:cubicBezTo>
                          <a:pt x="110919" y="31291"/>
                          <a:pt x="106079" y="57529"/>
                          <a:pt x="82021" y="81587"/>
                        </a:cubicBezTo>
                        <a:cubicBezTo>
                          <a:pt x="72449" y="91160"/>
                          <a:pt x="61324" y="98073"/>
                          <a:pt x="50698" y="101040"/>
                        </a:cubicBezTo>
                        <a:cubicBezTo>
                          <a:pt x="46667" y="102168"/>
                          <a:pt x="42743" y="102721"/>
                          <a:pt x="38967" y="102721"/>
                        </a:cubicBezTo>
                        <a:close/>
                        <a:moveTo>
                          <a:pt x="52804" y="21293"/>
                        </a:moveTo>
                        <a:cubicBezTo>
                          <a:pt x="43679" y="21293"/>
                          <a:pt x="34660" y="23654"/>
                          <a:pt x="29363" y="28951"/>
                        </a:cubicBezTo>
                        <a:cubicBezTo>
                          <a:pt x="18472" y="39842"/>
                          <a:pt x="18472" y="66623"/>
                          <a:pt x="29363" y="77525"/>
                        </a:cubicBezTo>
                        <a:cubicBezTo>
                          <a:pt x="39903" y="88075"/>
                          <a:pt x="58569" y="74961"/>
                          <a:pt x="66971" y="66559"/>
                        </a:cubicBezTo>
                        <a:cubicBezTo>
                          <a:pt x="69481" y="64049"/>
                          <a:pt x="91189" y="41660"/>
                          <a:pt x="79309" y="29780"/>
                        </a:cubicBezTo>
                        <a:cubicBezTo>
                          <a:pt x="73959" y="24409"/>
                          <a:pt x="63302" y="21293"/>
                          <a:pt x="52804" y="21293"/>
                        </a:cubicBezTo>
                        <a:close/>
                      </a:path>
                    </a:pathLst>
                  </a:custGeom>
                  <a:grpFill/>
                  <a:ln w="1063" cap="flat">
                    <a:noFill/>
                    <a:prstDash val="solid"/>
                    <a:miter/>
                  </a:ln>
                </p:spPr>
                <p:txBody>
                  <a:bodyPr rtlCol="0" anchor="ctr"/>
                  <a:lstStyle/>
                  <a:p>
                    <a:endParaRPr lang="en-GB" dirty="0"/>
                  </a:p>
                </p:txBody>
              </p:sp>
              <p:sp>
                <p:nvSpPr>
                  <p:cNvPr id="154" name="Freeform: Shape 153">
                    <a:extLst>
                      <a:ext uri="{FF2B5EF4-FFF2-40B4-BE49-F238E27FC236}">
                        <a16:creationId xmlns:a16="http://schemas.microsoft.com/office/drawing/2014/main" id="{FAFF4DC3-877C-4489-A70A-B1BE345E33D0}"/>
                      </a:ext>
                    </a:extLst>
                  </p:cNvPr>
                  <p:cNvSpPr/>
                  <p:nvPr/>
                </p:nvSpPr>
                <p:spPr>
                  <a:xfrm>
                    <a:off x="2644737" y="512198"/>
                    <a:ext cx="66404" cy="66402"/>
                  </a:xfrm>
                  <a:custGeom>
                    <a:avLst/>
                    <a:gdLst>
                      <a:gd name="connsiteX0" fmla="*/ 55766 w 66404"/>
                      <a:gd name="connsiteY0" fmla="*/ 66402 h 66402"/>
                      <a:gd name="connsiteX1" fmla="*/ 48247 w 66404"/>
                      <a:gd name="connsiteY1" fmla="*/ 63286 h 66402"/>
                      <a:gd name="connsiteX2" fmla="*/ 3119 w 66404"/>
                      <a:gd name="connsiteY2" fmla="*/ 18158 h 66402"/>
                      <a:gd name="connsiteX3" fmla="*/ 3119 w 66404"/>
                      <a:gd name="connsiteY3" fmla="*/ 3119 h 66402"/>
                      <a:gd name="connsiteX4" fmla="*/ 18158 w 66404"/>
                      <a:gd name="connsiteY4" fmla="*/ 3119 h 66402"/>
                      <a:gd name="connsiteX5" fmla="*/ 63286 w 66404"/>
                      <a:gd name="connsiteY5" fmla="*/ 48247 h 66402"/>
                      <a:gd name="connsiteX6" fmla="*/ 63286 w 66404"/>
                      <a:gd name="connsiteY6" fmla="*/ 63286 h 66402"/>
                      <a:gd name="connsiteX7" fmla="*/ 55766 w 66404"/>
                      <a:gd name="connsiteY7" fmla="*/ 66402 h 6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04" h="66402">
                        <a:moveTo>
                          <a:pt x="55766" y="66402"/>
                        </a:moveTo>
                        <a:cubicBezTo>
                          <a:pt x="53044" y="66402"/>
                          <a:pt x="50321" y="65360"/>
                          <a:pt x="48247" y="63286"/>
                        </a:cubicBezTo>
                        <a:lnTo>
                          <a:pt x="3119" y="18158"/>
                        </a:lnTo>
                        <a:cubicBezTo>
                          <a:pt x="-1040" y="13999"/>
                          <a:pt x="-1040" y="7278"/>
                          <a:pt x="3119" y="3119"/>
                        </a:cubicBezTo>
                        <a:cubicBezTo>
                          <a:pt x="7278" y="-1040"/>
                          <a:pt x="13999" y="-1040"/>
                          <a:pt x="18158" y="3119"/>
                        </a:cubicBezTo>
                        <a:lnTo>
                          <a:pt x="63286" y="48247"/>
                        </a:lnTo>
                        <a:cubicBezTo>
                          <a:pt x="67445" y="52405"/>
                          <a:pt x="67445" y="59127"/>
                          <a:pt x="63286" y="63286"/>
                        </a:cubicBezTo>
                        <a:cubicBezTo>
                          <a:pt x="61201" y="65360"/>
                          <a:pt x="58489" y="66402"/>
                          <a:pt x="55766" y="66402"/>
                        </a:cubicBezTo>
                        <a:close/>
                      </a:path>
                    </a:pathLst>
                  </a:custGeom>
                  <a:grpFill/>
                  <a:ln w="1063" cap="flat">
                    <a:noFill/>
                    <a:prstDash val="solid"/>
                    <a:miter/>
                  </a:ln>
                </p:spPr>
                <p:txBody>
                  <a:bodyPr rtlCol="0" anchor="ctr"/>
                  <a:lstStyle/>
                  <a:p>
                    <a:endParaRPr lang="en-GB" dirty="0"/>
                  </a:p>
                </p:txBody>
              </p:sp>
            </p:grpSp>
            <p:grpSp>
              <p:nvGrpSpPr>
                <p:cNvPr id="150" name="Graphic 818">
                  <a:extLst>
                    <a:ext uri="{FF2B5EF4-FFF2-40B4-BE49-F238E27FC236}">
                      <a16:creationId xmlns:a16="http://schemas.microsoft.com/office/drawing/2014/main" id="{6EBA74E9-8146-484B-A4DB-38DA6B89BCB7}"/>
                    </a:ext>
                  </a:extLst>
                </p:cNvPr>
                <p:cNvGrpSpPr/>
                <p:nvPr/>
              </p:nvGrpSpPr>
              <p:grpSpPr>
                <a:xfrm>
                  <a:off x="2241333" y="512666"/>
                  <a:ext cx="138033" cy="137045"/>
                  <a:chOff x="2241333" y="512666"/>
                  <a:chExt cx="138033" cy="137045"/>
                </a:xfrm>
                <a:grpFill/>
              </p:grpSpPr>
              <p:sp>
                <p:nvSpPr>
                  <p:cNvPr id="151" name="Freeform: Shape 150">
                    <a:extLst>
                      <a:ext uri="{FF2B5EF4-FFF2-40B4-BE49-F238E27FC236}">
                        <a16:creationId xmlns:a16="http://schemas.microsoft.com/office/drawing/2014/main" id="{C31B6D54-EB93-4C95-BEC4-440B34EFF93F}"/>
                      </a:ext>
                    </a:extLst>
                  </p:cNvPr>
                  <p:cNvSpPr/>
                  <p:nvPr/>
                </p:nvSpPr>
                <p:spPr>
                  <a:xfrm>
                    <a:off x="2241333" y="546995"/>
                    <a:ext cx="104100" cy="102716"/>
                  </a:xfrm>
                  <a:custGeom>
                    <a:avLst/>
                    <a:gdLst>
                      <a:gd name="connsiteX0" fmla="*/ 65133 w 104100"/>
                      <a:gd name="connsiteY0" fmla="*/ 102717 h 102716"/>
                      <a:gd name="connsiteX1" fmla="*/ 53402 w 104100"/>
                      <a:gd name="connsiteY1" fmla="*/ 101037 h 102716"/>
                      <a:gd name="connsiteX2" fmla="*/ 22079 w 104100"/>
                      <a:gd name="connsiteY2" fmla="*/ 81584 h 102716"/>
                      <a:gd name="connsiteX3" fmla="*/ 9742 w 104100"/>
                      <a:gd name="connsiteY3" fmla="*/ 14716 h 102716"/>
                      <a:gd name="connsiteX4" fmla="*/ 9742 w 104100"/>
                      <a:gd name="connsiteY4" fmla="*/ 14716 h 102716"/>
                      <a:gd name="connsiteX5" fmla="*/ 89766 w 104100"/>
                      <a:gd name="connsiteY5" fmla="*/ 13897 h 102716"/>
                      <a:gd name="connsiteX6" fmla="*/ 89766 w 104100"/>
                      <a:gd name="connsiteY6" fmla="*/ 92549 h 102716"/>
                      <a:gd name="connsiteX7" fmla="*/ 65133 w 104100"/>
                      <a:gd name="connsiteY7" fmla="*/ 102717 h 102716"/>
                      <a:gd name="connsiteX8" fmla="*/ 24781 w 104100"/>
                      <a:gd name="connsiteY8" fmla="*/ 29766 h 102716"/>
                      <a:gd name="connsiteX9" fmla="*/ 37118 w 104100"/>
                      <a:gd name="connsiteY9" fmla="*/ 66555 h 102716"/>
                      <a:gd name="connsiteX10" fmla="*/ 74727 w 104100"/>
                      <a:gd name="connsiteY10" fmla="*/ 77521 h 102716"/>
                      <a:gd name="connsiteX11" fmla="*/ 74727 w 104100"/>
                      <a:gd name="connsiteY11" fmla="*/ 28947 h 102716"/>
                      <a:gd name="connsiteX12" fmla="*/ 24781 w 104100"/>
                      <a:gd name="connsiteY12" fmla="*/ 29766 h 102716"/>
                      <a:gd name="connsiteX13" fmla="*/ 24781 w 104100"/>
                      <a:gd name="connsiteY13" fmla="*/ 29766 h 102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100" h="102716">
                        <a:moveTo>
                          <a:pt x="65133" y="102717"/>
                        </a:moveTo>
                        <a:cubicBezTo>
                          <a:pt x="61357" y="102717"/>
                          <a:pt x="57422" y="102164"/>
                          <a:pt x="53402" y="101037"/>
                        </a:cubicBezTo>
                        <a:cubicBezTo>
                          <a:pt x="42776" y="98069"/>
                          <a:pt x="31662" y="91166"/>
                          <a:pt x="22079" y="81584"/>
                        </a:cubicBezTo>
                        <a:cubicBezTo>
                          <a:pt x="-1979" y="57525"/>
                          <a:pt x="-6819" y="31276"/>
                          <a:pt x="9742" y="14716"/>
                        </a:cubicBezTo>
                        <a:lnTo>
                          <a:pt x="9742" y="14716"/>
                        </a:lnTo>
                        <a:cubicBezTo>
                          <a:pt x="29024" y="-4546"/>
                          <a:pt x="70898" y="-4982"/>
                          <a:pt x="89766" y="13897"/>
                        </a:cubicBezTo>
                        <a:cubicBezTo>
                          <a:pt x="108878" y="33010"/>
                          <a:pt x="108878" y="73437"/>
                          <a:pt x="89766" y="92549"/>
                        </a:cubicBezTo>
                        <a:cubicBezTo>
                          <a:pt x="83054" y="99260"/>
                          <a:pt x="74556" y="102717"/>
                          <a:pt x="65133" y="102717"/>
                        </a:cubicBezTo>
                        <a:close/>
                        <a:moveTo>
                          <a:pt x="24781" y="29766"/>
                        </a:moveTo>
                        <a:cubicBezTo>
                          <a:pt x="12911" y="41646"/>
                          <a:pt x="34608" y="64034"/>
                          <a:pt x="37118" y="66555"/>
                        </a:cubicBezTo>
                        <a:cubicBezTo>
                          <a:pt x="45521" y="74957"/>
                          <a:pt x="64176" y="88061"/>
                          <a:pt x="74727" y="77521"/>
                        </a:cubicBezTo>
                        <a:cubicBezTo>
                          <a:pt x="85618" y="66630"/>
                          <a:pt x="85618" y="39848"/>
                          <a:pt x="74727" y="28947"/>
                        </a:cubicBezTo>
                        <a:cubicBezTo>
                          <a:pt x="63346" y="17566"/>
                          <a:pt x="34810" y="19747"/>
                          <a:pt x="24781" y="29766"/>
                        </a:cubicBezTo>
                        <a:lnTo>
                          <a:pt x="24781" y="29766"/>
                        </a:lnTo>
                        <a:close/>
                      </a:path>
                    </a:pathLst>
                  </a:custGeom>
                  <a:grpFill/>
                  <a:ln w="1063" cap="flat">
                    <a:noFill/>
                    <a:prstDash val="solid"/>
                    <a:miter/>
                  </a:ln>
                </p:spPr>
                <p:txBody>
                  <a:bodyPr rtlCol="0" anchor="ctr"/>
                  <a:lstStyle/>
                  <a:p>
                    <a:endParaRPr lang="en-GB" dirty="0"/>
                  </a:p>
                </p:txBody>
              </p:sp>
              <p:sp>
                <p:nvSpPr>
                  <p:cNvPr id="152" name="Freeform: Shape 151">
                    <a:extLst>
                      <a:ext uri="{FF2B5EF4-FFF2-40B4-BE49-F238E27FC236}">
                        <a16:creationId xmlns:a16="http://schemas.microsoft.com/office/drawing/2014/main" id="{32890B51-E734-4F19-8169-CD52B14C941D}"/>
                      </a:ext>
                    </a:extLst>
                  </p:cNvPr>
                  <p:cNvSpPr/>
                  <p:nvPr/>
                </p:nvSpPr>
                <p:spPr>
                  <a:xfrm>
                    <a:off x="2312962" y="512666"/>
                    <a:ext cx="66404" cy="66402"/>
                  </a:xfrm>
                  <a:custGeom>
                    <a:avLst/>
                    <a:gdLst>
                      <a:gd name="connsiteX0" fmla="*/ 10639 w 66404"/>
                      <a:gd name="connsiteY0" fmla="*/ 66402 h 66402"/>
                      <a:gd name="connsiteX1" fmla="*/ 3119 w 66404"/>
                      <a:gd name="connsiteY1" fmla="*/ 63286 h 66402"/>
                      <a:gd name="connsiteX2" fmla="*/ 3119 w 66404"/>
                      <a:gd name="connsiteY2" fmla="*/ 48247 h 66402"/>
                      <a:gd name="connsiteX3" fmla="*/ 48247 w 66404"/>
                      <a:gd name="connsiteY3" fmla="*/ 3119 h 66402"/>
                      <a:gd name="connsiteX4" fmla="*/ 63286 w 66404"/>
                      <a:gd name="connsiteY4" fmla="*/ 3119 h 66402"/>
                      <a:gd name="connsiteX5" fmla="*/ 63286 w 66404"/>
                      <a:gd name="connsiteY5" fmla="*/ 18158 h 66402"/>
                      <a:gd name="connsiteX6" fmla="*/ 18158 w 66404"/>
                      <a:gd name="connsiteY6" fmla="*/ 63286 h 66402"/>
                      <a:gd name="connsiteX7" fmla="*/ 10639 w 66404"/>
                      <a:gd name="connsiteY7" fmla="*/ 66402 h 6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04" h="66402">
                        <a:moveTo>
                          <a:pt x="10639" y="66402"/>
                        </a:moveTo>
                        <a:cubicBezTo>
                          <a:pt x="7916" y="66402"/>
                          <a:pt x="5193" y="65360"/>
                          <a:pt x="3119" y="63286"/>
                        </a:cubicBezTo>
                        <a:cubicBezTo>
                          <a:pt x="-1040" y="59127"/>
                          <a:pt x="-1040" y="52405"/>
                          <a:pt x="3119" y="48247"/>
                        </a:cubicBezTo>
                        <a:lnTo>
                          <a:pt x="48247" y="3119"/>
                        </a:lnTo>
                        <a:cubicBezTo>
                          <a:pt x="52406" y="-1040"/>
                          <a:pt x="59127" y="-1040"/>
                          <a:pt x="63286" y="3119"/>
                        </a:cubicBezTo>
                        <a:cubicBezTo>
                          <a:pt x="67445" y="7278"/>
                          <a:pt x="67445" y="13999"/>
                          <a:pt x="63286" y="18158"/>
                        </a:cubicBezTo>
                        <a:lnTo>
                          <a:pt x="18158" y="63286"/>
                        </a:lnTo>
                        <a:cubicBezTo>
                          <a:pt x="16073" y="65371"/>
                          <a:pt x="13361" y="66402"/>
                          <a:pt x="10639" y="66402"/>
                        </a:cubicBezTo>
                        <a:close/>
                      </a:path>
                    </a:pathLst>
                  </a:custGeom>
                  <a:grpFill/>
                  <a:ln w="1063" cap="flat">
                    <a:noFill/>
                    <a:prstDash val="solid"/>
                    <a:miter/>
                  </a:ln>
                </p:spPr>
                <p:txBody>
                  <a:bodyPr rtlCol="0" anchor="ctr"/>
                  <a:lstStyle/>
                  <a:p>
                    <a:endParaRPr lang="en-GB" dirty="0"/>
                  </a:p>
                </p:txBody>
              </p:sp>
            </p:grpSp>
          </p:grpSp>
          <p:sp>
            <p:nvSpPr>
              <p:cNvPr id="140" name="Freeform: Shape 139">
                <a:extLst>
                  <a:ext uri="{FF2B5EF4-FFF2-40B4-BE49-F238E27FC236}">
                    <a16:creationId xmlns:a16="http://schemas.microsoft.com/office/drawing/2014/main" id="{058B6667-09F7-4AD3-802C-5D6F909C6103}"/>
                  </a:ext>
                </a:extLst>
              </p:cNvPr>
              <p:cNvSpPr/>
              <p:nvPr/>
            </p:nvSpPr>
            <p:spPr>
              <a:xfrm>
                <a:off x="841315" y="1930035"/>
                <a:ext cx="23967" cy="36140"/>
              </a:xfrm>
              <a:custGeom>
                <a:avLst/>
                <a:gdLst>
                  <a:gd name="connsiteX0" fmla="*/ 26753 w 37382"/>
                  <a:gd name="connsiteY0" fmla="*/ 56368 h 56367"/>
                  <a:gd name="connsiteX1" fmla="*/ 17085 w 37382"/>
                  <a:gd name="connsiteY1" fmla="*/ 50167 h 56367"/>
                  <a:gd name="connsiteX2" fmla="*/ 972 w 37382"/>
                  <a:gd name="connsiteY2" fmla="*/ 15080 h 56367"/>
                  <a:gd name="connsiteX3" fmla="*/ 6194 w 37382"/>
                  <a:gd name="connsiteY3" fmla="*/ 976 h 56367"/>
                  <a:gd name="connsiteX4" fmla="*/ 20297 w 37382"/>
                  <a:gd name="connsiteY4" fmla="*/ 6199 h 56367"/>
                  <a:gd name="connsiteX5" fmla="*/ 36410 w 37382"/>
                  <a:gd name="connsiteY5" fmla="*/ 41286 h 56367"/>
                  <a:gd name="connsiteX6" fmla="*/ 31188 w 37382"/>
                  <a:gd name="connsiteY6" fmla="*/ 55389 h 56367"/>
                  <a:gd name="connsiteX7" fmla="*/ 26753 w 37382"/>
                  <a:gd name="connsiteY7" fmla="*/ 56368 h 56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82" h="56367">
                    <a:moveTo>
                      <a:pt x="26753" y="56368"/>
                    </a:moveTo>
                    <a:cubicBezTo>
                      <a:pt x="22733" y="56368"/>
                      <a:pt x="18872" y="54071"/>
                      <a:pt x="17085" y="50167"/>
                    </a:cubicBezTo>
                    <a:lnTo>
                      <a:pt x="972" y="15080"/>
                    </a:lnTo>
                    <a:cubicBezTo>
                      <a:pt x="-1474" y="9740"/>
                      <a:pt x="855" y="3423"/>
                      <a:pt x="6194" y="976"/>
                    </a:cubicBezTo>
                    <a:cubicBezTo>
                      <a:pt x="11512" y="-1480"/>
                      <a:pt x="17840" y="859"/>
                      <a:pt x="20297" y="6199"/>
                    </a:cubicBezTo>
                    <a:lnTo>
                      <a:pt x="36410" y="41286"/>
                    </a:lnTo>
                    <a:cubicBezTo>
                      <a:pt x="38857" y="46626"/>
                      <a:pt x="36527" y="52943"/>
                      <a:pt x="31188" y="55389"/>
                    </a:cubicBezTo>
                    <a:cubicBezTo>
                      <a:pt x="29752" y="56060"/>
                      <a:pt x="28242" y="56368"/>
                      <a:pt x="26753" y="56368"/>
                    </a:cubicBezTo>
                    <a:close/>
                  </a:path>
                </a:pathLst>
              </a:custGeom>
              <a:grpFill/>
              <a:ln w="1063" cap="flat">
                <a:noFill/>
                <a:prstDash val="solid"/>
                <a:miter/>
              </a:ln>
            </p:spPr>
            <p:txBody>
              <a:bodyPr rtlCol="0" anchor="ctr"/>
              <a:lstStyle/>
              <a:p>
                <a:endParaRPr lang="en-GB" dirty="0"/>
              </a:p>
            </p:txBody>
          </p:sp>
          <p:sp>
            <p:nvSpPr>
              <p:cNvPr id="141" name="Freeform: Shape 140">
                <a:extLst>
                  <a:ext uri="{FF2B5EF4-FFF2-40B4-BE49-F238E27FC236}">
                    <a16:creationId xmlns:a16="http://schemas.microsoft.com/office/drawing/2014/main" id="{AADE2B92-048F-4F1B-A4A8-E550E2F78A9A}"/>
                  </a:ext>
                </a:extLst>
              </p:cNvPr>
              <p:cNvSpPr/>
              <p:nvPr/>
            </p:nvSpPr>
            <p:spPr>
              <a:xfrm>
                <a:off x="722069" y="1670382"/>
                <a:ext cx="24158" cy="36549"/>
              </a:xfrm>
              <a:custGeom>
                <a:avLst/>
                <a:gdLst>
                  <a:gd name="connsiteX0" fmla="*/ 27051 w 37680"/>
                  <a:gd name="connsiteY0" fmla="*/ 57006 h 57006"/>
                  <a:gd name="connsiteX1" fmla="*/ 17383 w 37680"/>
                  <a:gd name="connsiteY1" fmla="*/ 50805 h 57006"/>
                  <a:gd name="connsiteX2" fmla="*/ 972 w 37680"/>
                  <a:gd name="connsiteY2" fmla="*/ 15080 h 57006"/>
                  <a:gd name="connsiteX3" fmla="*/ 6194 w 37680"/>
                  <a:gd name="connsiteY3" fmla="*/ 976 h 57006"/>
                  <a:gd name="connsiteX4" fmla="*/ 20297 w 37680"/>
                  <a:gd name="connsiteY4" fmla="*/ 6199 h 57006"/>
                  <a:gd name="connsiteX5" fmla="*/ 36708 w 37680"/>
                  <a:gd name="connsiteY5" fmla="*/ 41924 h 57006"/>
                  <a:gd name="connsiteX6" fmla="*/ 31486 w 37680"/>
                  <a:gd name="connsiteY6" fmla="*/ 56028 h 57006"/>
                  <a:gd name="connsiteX7" fmla="*/ 27051 w 37680"/>
                  <a:gd name="connsiteY7" fmla="*/ 57006 h 5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80" h="57006">
                    <a:moveTo>
                      <a:pt x="27051" y="57006"/>
                    </a:moveTo>
                    <a:cubicBezTo>
                      <a:pt x="23031" y="57006"/>
                      <a:pt x="19170" y="54709"/>
                      <a:pt x="17383" y="50805"/>
                    </a:cubicBezTo>
                    <a:lnTo>
                      <a:pt x="972" y="15080"/>
                    </a:lnTo>
                    <a:cubicBezTo>
                      <a:pt x="-1474" y="9740"/>
                      <a:pt x="855" y="3423"/>
                      <a:pt x="6194" y="976"/>
                    </a:cubicBezTo>
                    <a:cubicBezTo>
                      <a:pt x="11512" y="-1480"/>
                      <a:pt x="17840" y="859"/>
                      <a:pt x="20297" y="6199"/>
                    </a:cubicBezTo>
                    <a:lnTo>
                      <a:pt x="36708" y="41924"/>
                    </a:lnTo>
                    <a:cubicBezTo>
                      <a:pt x="39155" y="47264"/>
                      <a:pt x="36825" y="53581"/>
                      <a:pt x="31486" y="56028"/>
                    </a:cubicBezTo>
                    <a:cubicBezTo>
                      <a:pt x="30040" y="56698"/>
                      <a:pt x="28529" y="57006"/>
                      <a:pt x="27051" y="57006"/>
                    </a:cubicBezTo>
                    <a:close/>
                  </a:path>
                </a:pathLst>
              </a:custGeom>
              <a:grpFill/>
              <a:ln w="1063" cap="flat">
                <a:noFill/>
                <a:prstDash val="solid"/>
                <a:miter/>
              </a:ln>
            </p:spPr>
            <p:txBody>
              <a:bodyPr rtlCol="0" anchor="ctr"/>
              <a:lstStyle/>
              <a:p>
                <a:endParaRPr lang="en-GB" dirty="0"/>
              </a:p>
            </p:txBody>
          </p:sp>
          <p:sp>
            <p:nvSpPr>
              <p:cNvPr id="142" name="Freeform: Shape 141">
                <a:extLst>
                  <a:ext uri="{FF2B5EF4-FFF2-40B4-BE49-F238E27FC236}">
                    <a16:creationId xmlns:a16="http://schemas.microsoft.com/office/drawing/2014/main" id="{9CCB521E-E831-4756-BE13-AE2927ED515A}"/>
                  </a:ext>
                </a:extLst>
              </p:cNvPr>
              <p:cNvSpPr/>
              <p:nvPr/>
            </p:nvSpPr>
            <p:spPr>
              <a:xfrm>
                <a:off x="906862" y="1865921"/>
                <a:ext cx="35435" cy="23572"/>
              </a:xfrm>
              <a:custGeom>
                <a:avLst/>
                <a:gdLst>
                  <a:gd name="connsiteX0" fmla="*/ 44620 w 55268"/>
                  <a:gd name="connsiteY0" fmla="*/ 36766 h 36765"/>
                  <a:gd name="connsiteX1" fmla="*/ 40216 w 55268"/>
                  <a:gd name="connsiteY1" fmla="*/ 35809 h 36765"/>
                  <a:gd name="connsiteX2" fmla="*/ 6235 w 55268"/>
                  <a:gd name="connsiteY2" fmla="*/ 20323 h 36765"/>
                  <a:gd name="connsiteX3" fmla="*/ 959 w 55268"/>
                  <a:gd name="connsiteY3" fmla="*/ 6230 h 36765"/>
                  <a:gd name="connsiteX4" fmla="*/ 15052 w 55268"/>
                  <a:gd name="connsiteY4" fmla="*/ 955 h 36765"/>
                  <a:gd name="connsiteX5" fmla="*/ 49034 w 55268"/>
                  <a:gd name="connsiteY5" fmla="*/ 16441 h 36765"/>
                  <a:gd name="connsiteX6" fmla="*/ 54309 w 55268"/>
                  <a:gd name="connsiteY6" fmla="*/ 30533 h 36765"/>
                  <a:gd name="connsiteX7" fmla="*/ 44620 w 55268"/>
                  <a:gd name="connsiteY7" fmla="*/ 36766 h 36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268" h="36765">
                    <a:moveTo>
                      <a:pt x="44620" y="36766"/>
                    </a:moveTo>
                    <a:cubicBezTo>
                      <a:pt x="43141" y="36766"/>
                      <a:pt x="41642" y="36457"/>
                      <a:pt x="40216" y="35809"/>
                    </a:cubicBezTo>
                    <a:lnTo>
                      <a:pt x="6235" y="20323"/>
                    </a:lnTo>
                    <a:cubicBezTo>
                      <a:pt x="885" y="17887"/>
                      <a:pt x="-1476" y="11580"/>
                      <a:pt x="959" y="6230"/>
                    </a:cubicBezTo>
                    <a:cubicBezTo>
                      <a:pt x="3395" y="880"/>
                      <a:pt x="9723" y="-1470"/>
                      <a:pt x="15052" y="955"/>
                    </a:cubicBezTo>
                    <a:lnTo>
                      <a:pt x="49034" y="16441"/>
                    </a:lnTo>
                    <a:cubicBezTo>
                      <a:pt x="54383" y="18876"/>
                      <a:pt x="56745" y="25183"/>
                      <a:pt x="54309" y="30533"/>
                    </a:cubicBezTo>
                    <a:cubicBezTo>
                      <a:pt x="52511" y="34447"/>
                      <a:pt x="48651" y="36766"/>
                      <a:pt x="44620" y="36766"/>
                    </a:cubicBezTo>
                    <a:close/>
                  </a:path>
                </a:pathLst>
              </a:custGeom>
              <a:grpFill/>
              <a:ln w="1063" cap="flat">
                <a:noFill/>
                <a:prstDash val="solid"/>
                <a:miter/>
              </a:ln>
            </p:spPr>
            <p:txBody>
              <a:bodyPr rtlCol="0" anchor="ctr"/>
              <a:lstStyle/>
              <a:p>
                <a:endParaRPr lang="en-GB" dirty="0"/>
              </a:p>
            </p:txBody>
          </p:sp>
          <p:sp>
            <p:nvSpPr>
              <p:cNvPr id="143" name="Freeform: Shape 142">
                <a:extLst>
                  <a:ext uri="{FF2B5EF4-FFF2-40B4-BE49-F238E27FC236}">
                    <a16:creationId xmlns:a16="http://schemas.microsoft.com/office/drawing/2014/main" id="{5381B3E9-0AEF-4F6C-BCC7-4BECFDAAB823}"/>
                  </a:ext>
                </a:extLst>
              </p:cNvPr>
              <p:cNvSpPr/>
              <p:nvPr/>
            </p:nvSpPr>
            <p:spPr>
              <a:xfrm>
                <a:off x="646125" y="1747062"/>
                <a:ext cx="36056" cy="23860"/>
              </a:xfrm>
              <a:custGeom>
                <a:avLst/>
                <a:gdLst>
                  <a:gd name="connsiteX0" fmla="*/ 45588 w 56236"/>
                  <a:gd name="connsiteY0" fmla="*/ 37215 h 37215"/>
                  <a:gd name="connsiteX1" fmla="*/ 41184 w 56236"/>
                  <a:gd name="connsiteY1" fmla="*/ 36258 h 37215"/>
                  <a:gd name="connsiteX2" fmla="*/ 6235 w 56236"/>
                  <a:gd name="connsiteY2" fmla="*/ 20326 h 37215"/>
                  <a:gd name="connsiteX3" fmla="*/ 959 w 56236"/>
                  <a:gd name="connsiteY3" fmla="*/ 6233 h 37215"/>
                  <a:gd name="connsiteX4" fmla="*/ 15052 w 56236"/>
                  <a:gd name="connsiteY4" fmla="*/ 958 h 37215"/>
                  <a:gd name="connsiteX5" fmla="*/ 50001 w 56236"/>
                  <a:gd name="connsiteY5" fmla="*/ 16890 h 37215"/>
                  <a:gd name="connsiteX6" fmla="*/ 55277 w 56236"/>
                  <a:gd name="connsiteY6" fmla="*/ 30983 h 37215"/>
                  <a:gd name="connsiteX7" fmla="*/ 45588 w 56236"/>
                  <a:gd name="connsiteY7" fmla="*/ 37215 h 37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36" h="37215">
                    <a:moveTo>
                      <a:pt x="45588" y="37215"/>
                    </a:moveTo>
                    <a:cubicBezTo>
                      <a:pt x="44109" y="37215"/>
                      <a:pt x="42609" y="36907"/>
                      <a:pt x="41184" y="36258"/>
                    </a:cubicBezTo>
                    <a:lnTo>
                      <a:pt x="6235" y="20326"/>
                    </a:lnTo>
                    <a:cubicBezTo>
                      <a:pt x="885" y="17890"/>
                      <a:pt x="-1476" y="11583"/>
                      <a:pt x="959" y="6233"/>
                    </a:cubicBezTo>
                    <a:cubicBezTo>
                      <a:pt x="3395" y="894"/>
                      <a:pt x="9713" y="-1478"/>
                      <a:pt x="15052" y="958"/>
                    </a:cubicBezTo>
                    <a:lnTo>
                      <a:pt x="50001" y="16890"/>
                    </a:lnTo>
                    <a:cubicBezTo>
                      <a:pt x="55351" y="19326"/>
                      <a:pt x="57712" y="25633"/>
                      <a:pt x="55277" y="30983"/>
                    </a:cubicBezTo>
                    <a:cubicBezTo>
                      <a:pt x="53479" y="34907"/>
                      <a:pt x="49619" y="37215"/>
                      <a:pt x="45588" y="37215"/>
                    </a:cubicBezTo>
                    <a:close/>
                  </a:path>
                </a:pathLst>
              </a:custGeom>
              <a:grpFill/>
              <a:ln w="1063" cap="flat">
                <a:noFill/>
                <a:prstDash val="solid"/>
                <a:miter/>
              </a:ln>
            </p:spPr>
            <p:txBody>
              <a:bodyPr rtlCol="0" anchor="ctr"/>
              <a:lstStyle/>
              <a:p>
                <a:endParaRPr lang="en-GB" dirty="0"/>
              </a:p>
            </p:txBody>
          </p:sp>
          <p:sp>
            <p:nvSpPr>
              <p:cNvPr id="144" name="Freeform: Shape 143">
                <a:extLst>
                  <a:ext uri="{FF2B5EF4-FFF2-40B4-BE49-F238E27FC236}">
                    <a16:creationId xmlns:a16="http://schemas.microsoft.com/office/drawing/2014/main" id="{DF479939-5EB3-4D3A-8DC0-E9C8D4510E1E}"/>
                  </a:ext>
                </a:extLst>
              </p:cNvPr>
              <p:cNvSpPr/>
              <p:nvPr/>
            </p:nvSpPr>
            <p:spPr>
              <a:xfrm>
                <a:off x="905600" y="1748472"/>
                <a:ext cx="36896" cy="23971"/>
              </a:xfrm>
              <a:custGeom>
                <a:avLst/>
                <a:gdLst>
                  <a:gd name="connsiteX0" fmla="*/ 10650 w 57546"/>
                  <a:gd name="connsiteY0" fmla="*/ 37388 h 37388"/>
                  <a:gd name="connsiteX1" fmla="*/ 918 w 57546"/>
                  <a:gd name="connsiteY1" fmla="*/ 31060 h 37388"/>
                  <a:gd name="connsiteX2" fmla="*/ 6321 w 57546"/>
                  <a:gd name="connsiteY2" fmla="*/ 17021 h 37388"/>
                  <a:gd name="connsiteX3" fmla="*/ 42589 w 57546"/>
                  <a:gd name="connsiteY3" fmla="*/ 918 h 37388"/>
                  <a:gd name="connsiteX4" fmla="*/ 56628 w 57546"/>
                  <a:gd name="connsiteY4" fmla="*/ 6321 h 37388"/>
                  <a:gd name="connsiteX5" fmla="*/ 51226 w 57546"/>
                  <a:gd name="connsiteY5" fmla="*/ 20360 h 37388"/>
                  <a:gd name="connsiteX6" fmla="*/ 14957 w 57546"/>
                  <a:gd name="connsiteY6" fmla="*/ 36463 h 37388"/>
                  <a:gd name="connsiteX7" fmla="*/ 10650 w 57546"/>
                  <a:gd name="connsiteY7" fmla="*/ 37388 h 37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46" h="37388">
                    <a:moveTo>
                      <a:pt x="10650" y="37388"/>
                    </a:moveTo>
                    <a:cubicBezTo>
                      <a:pt x="6576" y="37388"/>
                      <a:pt x="2683" y="35027"/>
                      <a:pt x="918" y="31060"/>
                    </a:cubicBezTo>
                    <a:cubicBezTo>
                      <a:pt x="-1465" y="25689"/>
                      <a:pt x="950" y="19403"/>
                      <a:pt x="6321" y="17021"/>
                    </a:cubicBezTo>
                    <a:lnTo>
                      <a:pt x="42589" y="918"/>
                    </a:lnTo>
                    <a:cubicBezTo>
                      <a:pt x="47950" y="-1465"/>
                      <a:pt x="54235" y="950"/>
                      <a:pt x="56628" y="6321"/>
                    </a:cubicBezTo>
                    <a:cubicBezTo>
                      <a:pt x="59011" y="11692"/>
                      <a:pt x="56597" y="17978"/>
                      <a:pt x="51226" y="20360"/>
                    </a:cubicBezTo>
                    <a:lnTo>
                      <a:pt x="14957" y="36463"/>
                    </a:lnTo>
                    <a:cubicBezTo>
                      <a:pt x="13564" y="37090"/>
                      <a:pt x="12096" y="37388"/>
                      <a:pt x="10650" y="37388"/>
                    </a:cubicBezTo>
                    <a:close/>
                  </a:path>
                </a:pathLst>
              </a:custGeom>
              <a:grpFill/>
              <a:ln w="1063" cap="flat">
                <a:noFill/>
                <a:prstDash val="solid"/>
                <a:miter/>
              </a:ln>
            </p:spPr>
            <p:txBody>
              <a:bodyPr rtlCol="0" anchor="ctr"/>
              <a:lstStyle/>
              <a:p>
                <a:endParaRPr lang="en-GB" dirty="0"/>
              </a:p>
            </p:txBody>
          </p:sp>
          <p:sp>
            <p:nvSpPr>
              <p:cNvPr id="145" name="Freeform: Shape 144">
                <a:extLst>
                  <a:ext uri="{FF2B5EF4-FFF2-40B4-BE49-F238E27FC236}">
                    <a16:creationId xmlns:a16="http://schemas.microsoft.com/office/drawing/2014/main" id="{F01BF906-551B-4BC0-AEAB-0A7884C0FEE5}"/>
                  </a:ext>
                </a:extLst>
              </p:cNvPr>
              <p:cNvSpPr/>
              <p:nvPr/>
            </p:nvSpPr>
            <p:spPr>
              <a:xfrm>
                <a:off x="645074" y="1864705"/>
                <a:ext cx="35593" cy="23397"/>
              </a:xfrm>
              <a:custGeom>
                <a:avLst/>
                <a:gdLst>
                  <a:gd name="connsiteX0" fmla="*/ 10650 w 55514"/>
                  <a:gd name="connsiteY0" fmla="*/ 36493 h 36493"/>
                  <a:gd name="connsiteX1" fmla="*/ 918 w 55514"/>
                  <a:gd name="connsiteY1" fmla="*/ 30165 h 36493"/>
                  <a:gd name="connsiteX2" fmla="*/ 6321 w 55514"/>
                  <a:gd name="connsiteY2" fmla="*/ 16126 h 36493"/>
                  <a:gd name="connsiteX3" fmla="*/ 40558 w 55514"/>
                  <a:gd name="connsiteY3" fmla="*/ 927 h 36493"/>
                  <a:gd name="connsiteX4" fmla="*/ 54597 w 55514"/>
                  <a:gd name="connsiteY4" fmla="*/ 6330 h 36493"/>
                  <a:gd name="connsiteX5" fmla="*/ 49194 w 55514"/>
                  <a:gd name="connsiteY5" fmla="*/ 20369 h 36493"/>
                  <a:gd name="connsiteX6" fmla="*/ 14957 w 55514"/>
                  <a:gd name="connsiteY6" fmla="*/ 35568 h 36493"/>
                  <a:gd name="connsiteX7" fmla="*/ 10650 w 55514"/>
                  <a:gd name="connsiteY7" fmla="*/ 36493 h 3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14" h="36493">
                    <a:moveTo>
                      <a:pt x="10650" y="36493"/>
                    </a:moveTo>
                    <a:cubicBezTo>
                      <a:pt x="6576" y="36493"/>
                      <a:pt x="2683" y="34132"/>
                      <a:pt x="918" y="30165"/>
                    </a:cubicBezTo>
                    <a:cubicBezTo>
                      <a:pt x="-1465" y="24794"/>
                      <a:pt x="950" y="18508"/>
                      <a:pt x="6321" y="16126"/>
                    </a:cubicBezTo>
                    <a:lnTo>
                      <a:pt x="40558" y="927"/>
                    </a:lnTo>
                    <a:cubicBezTo>
                      <a:pt x="45918" y="-1477"/>
                      <a:pt x="52204" y="959"/>
                      <a:pt x="54597" y="6330"/>
                    </a:cubicBezTo>
                    <a:cubicBezTo>
                      <a:pt x="56979" y="11701"/>
                      <a:pt x="54565" y="17987"/>
                      <a:pt x="49194" y="20369"/>
                    </a:cubicBezTo>
                    <a:lnTo>
                      <a:pt x="14957" y="35568"/>
                    </a:lnTo>
                    <a:cubicBezTo>
                      <a:pt x="13564" y="36195"/>
                      <a:pt x="12096" y="36493"/>
                      <a:pt x="10650" y="36493"/>
                    </a:cubicBezTo>
                    <a:close/>
                  </a:path>
                </a:pathLst>
              </a:custGeom>
              <a:grpFill/>
              <a:ln w="1063" cap="flat">
                <a:noFill/>
                <a:prstDash val="solid"/>
                <a:miter/>
              </a:ln>
            </p:spPr>
            <p:txBody>
              <a:bodyPr rtlCol="0" anchor="ctr"/>
              <a:lstStyle/>
              <a:p>
                <a:endParaRPr lang="en-GB" dirty="0"/>
              </a:p>
            </p:txBody>
          </p:sp>
          <p:sp>
            <p:nvSpPr>
              <p:cNvPr id="146" name="Freeform: Shape 145">
                <a:extLst>
                  <a:ext uri="{FF2B5EF4-FFF2-40B4-BE49-F238E27FC236}">
                    <a16:creationId xmlns:a16="http://schemas.microsoft.com/office/drawing/2014/main" id="{D216EB11-3628-4D59-B0D2-E66F9B50FDA1}"/>
                  </a:ext>
                </a:extLst>
              </p:cNvPr>
              <p:cNvSpPr/>
              <p:nvPr/>
            </p:nvSpPr>
            <p:spPr>
              <a:xfrm>
                <a:off x="722255" y="1930993"/>
                <a:ext cx="23540" cy="35236"/>
              </a:xfrm>
              <a:custGeom>
                <a:avLst/>
                <a:gdLst>
                  <a:gd name="connsiteX0" fmla="*/ 10636 w 36715"/>
                  <a:gd name="connsiteY0" fmla="*/ 54957 h 54957"/>
                  <a:gd name="connsiteX1" fmla="*/ 6211 w 36715"/>
                  <a:gd name="connsiteY1" fmla="*/ 53989 h 54957"/>
                  <a:gd name="connsiteX2" fmla="*/ 968 w 36715"/>
                  <a:gd name="connsiteY2" fmla="*/ 39886 h 54957"/>
                  <a:gd name="connsiteX3" fmla="*/ 16401 w 36715"/>
                  <a:gd name="connsiteY3" fmla="*/ 6213 h 54957"/>
                  <a:gd name="connsiteX4" fmla="*/ 30504 w 36715"/>
                  <a:gd name="connsiteY4" fmla="*/ 970 h 54957"/>
                  <a:gd name="connsiteX5" fmla="*/ 35747 w 36715"/>
                  <a:gd name="connsiteY5" fmla="*/ 15073 h 54957"/>
                  <a:gd name="connsiteX6" fmla="*/ 20315 w 36715"/>
                  <a:gd name="connsiteY6" fmla="*/ 48746 h 54957"/>
                  <a:gd name="connsiteX7" fmla="*/ 10636 w 36715"/>
                  <a:gd name="connsiteY7" fmla="*/ 54957 h 54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15" h="54957">
                    <a:moveTo>
                      <a:pt x="10636" y="54957"/>
                    </a:moveTo>
                    <a:cubicBezTo>
                      <a:pt x="9147" y="54957"/>
                      <a:pt x="7647" y="54649"/>
                      <a:pt x="6211" y="53989"/>
                    </a:cubicBezTo>
                    <a:cubicBezTo>
                      <a:pt x="872" y="51543"/>
                      <a:pt x="-1478" y="45225"/>
                      <a:pt x="968" y="39886"/>
                    </a:cubicBezTo>
                    <a:lnTo>
                      <a:pt x="16401" y="6213"/>
                    </a:lnTo>
                    <a:cubicBezTo>
                      <a:pt x="18847" y="863"/>
                      <a:pt x="25175" y="-1477"/>
                      <a:pt x="30504" y="970"/>
                    </a:cubicBezTo>
                    <a:cubicBezTo>
                      <a:pt x="35843" y="3416"/>
                      <a:pt x="38194" y="9734"/>
                      <a:pt x="35747" y="15073"/>
                    </a:cubicBezTo>
                    <a:lnTo>
                      <a:pt x="20315" y="48746"/>
                    </a:lnTo>
                    <a:cubicBezTo>
                      <a:pt x="18517" y="52660"/>
                      <a:pt x="14667" y="54957"/>
                      <a:pt x="10636" y="54957"/>
                    </a:cubicBezTo>
                    <a:close/>
                  </a:path>
                </a:pathLst>
              </a:custGeom>
              <a:grpFill/>
              <a:ln w="1063" cap="flat">
                <a:noFill/>
                <a:prstDash val="solid"/>
                <a:miter/>
              </a:ln>
            </p:spPr>
            <p:txBody>
              <a:bodyPr rtlCol="0" anchor="ctr"/>
              <a:lstStyle/>
              <a:p>
                <a:endParaRPr lang="en-GB" dirty="0"/>
              </a:p>
            </p:txBody>
          </p:sp>
          <p:sp>
            <p:nvSpPr>
              <p:cNvPr id="147" name="Freeform: Shape 146">
                <a:extLst>
                  <a:ext uri="{FF2B5EF4-FFF2-40B4-BE49-F238E27FC236}">
                    <a16:creationId xmlns:a16="http://schemas.microsoft.com/office/drawing/2014/main" id="{5B0B2039-CB07-4752-9799-86D62DFDABB9}"/>
                  </a:ext>
                </a:extLst>
              </p:cNvPr>
              <p:cNvSpPr/>
              <p:nvPr/>
            </p:nvSpPr>
            <p:spPr>
              <a:xfrm>
                <a:off x="841358" y="1670320"/>
                <a:ext cx="23887" cy="36004"/>
              </a:xfrm>
              <a:custGeom>
                <a:avLst/>
                <a:gdLst>
                  <a:gd name="connsiteX0" fmla="*/ 10636 w 37257"/>
                  <a:gd name="connsiteY0" fmla="*/ 56156 h 56156"/>
                  <a:gd name="connsiteX1" fmla="*/ 6211 w 37257"/>
                  <a:gd name="connsiteY1" fmla="*/ 55188 h 56156"/>
                  <a:gd name="connsiteX2" fmla="*/ 968 w 37257"/>
                  <a:gd name="connsiteY2" fmla="*/ 41085 h 56156"/>
                  <a:gd name="connsiteX3" fmla="*/ 16943 w 37257"/>
                  <a:gd name="connsiteY3" fmla="*/ 6221 h 56156"/>
                  <a:gd name="connsiteX4" fmla="*/ 31046 w 37257"/>
                  <a:gd name="connsiteY4" fmla="*/ 977 h 56156"/>
                  <a:gd name="connsiteX5" fmla="*/ 36290 w 37257"/>
                  <a:gd name="connsiteY5" fmla="*/ 15080 h 56156"/>
                  <a:gd name="connsiteX6" fmla="*/ 20315 w 37257"/>
                  <a:gd name="connsiteY6" fmla="*/ 49945 h 56156"/>
                  <a:gd name="connsiteX7" fmla="*/ 10636 w 37257"/>
                  <a:gd name="connsiteY7" fmla="*/ 56156 h 56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57" h="56156">
                    <a:moveTo>
                      <a:pt x="10636" y="56156"/>
                    </a:moveTo>
                    <a:cubicBezTo>
                      <a:pt x="9147" y="56156"/>
                      <a:pt x="7647" y="55848"/>
                      <a:pt x="6211" y="55188"/>
                    </a:cubicBezTo>
                    <a:cubicBezTo>
                      <a:pt x="872" y="52742"/>
                      <a:pt x="-1478" y="46424"/>
                      <a:pt x="968" y="41085"/>
                    </a:cubicBezTo>
                    <a:lnTo>
                      <a:pt x="16943" y="6221"/>
                    </a:lnTo>
                    <a:cubicBezTo>
                      <a:pt x="19389" y="881"/>
                      <a:pt x="25707" y="-1490"/>
                      <a:pt x="31046" y="977"/>
                    </a:cubicBezTo>
                    <a:cubicBezTo>
                      <a:pt x="36385" y="3423"/>
                      <a:pt x="38736" y="9741"/>
                      <a:pt x="36290" y="15080"/>
                    </a:cubicBezTo>
                    <a:lnTo>
                      <a:pt x="20315" y="49945"/>
                    </a:lnTo>
                    <a:cubicBezTo>
                      <a:pt x="18528" y="53848"/>
                      <a:pt x="14667" y="56156"/>
                      <a:pt x="10636" y="56156"/>
                    </a:cubicBezTo>
                    <a:close/>
                  </a:path>
                </a:pathLst>
              </a:custGeom>
              <a:grpFill/>
              <a:ln w="1063" cap="flat">
                <a:noFill/>
                <a:prstDash val="solid"/>
                <a:miter/>
              </a:ln>
            </p:spPr>
            <p:txBody>
              <a:bodyPr rtlCol="0" anchor="ctr"/>
              <a:lstStyle/>
              <a:p>
                <a:endParaRPr lang="en-GB" dirty="0"/>
              </a:p>
            </p:txBody>
          </p:sp>
        </p:grpSp>
        <p:grpSp>
          <p:nvGrpSpPr>
            <p:cNvPr id="131" name="Group 130">
              <a:extLst>
                <a:ext uri="{FF2B5EF4-FFF2-40B4-BE49-F238E27FC236}">
                  <a16:creationId xmlns:a16="http://schemas.microsoft.com/office/drawing/2014/main" id="{F004003F-0332-46A2-A710-39D433720901}"/>
                </a:ext>
              </a:extLst>
            </p:cNvPr>
            <p:cNvGrpSpPr/>
            <p:nvPr/>
          </p:nvGrpSpPr>
          <p:grpSpPr>
            <a:xfrm>
              <a:off x="2812895" y="3334297"/>
              <a:ext cx="158540" cy="158128"/>
              <a:chOff x="722028" y="1730403"/>
              <a:chExt cx="158540" cy="158128"/>
            </a:xfrm>
          </p:grpSpPr>
          <p:sp>
            <p:nvSpPr>
              <p:cNvPr id="132" name="Freeform: Shape 131">
                <a:extLst>
                  <a:ext uri="{FF2B5EF4-FFF2-40B4-BE49-F238E27FC236}">
                    <a16:creationId xmlns:a16="http://schemas.microsoft.com/office/drawing/2014/main" id="{1213FBA2-E308-452A-BDC0-4A650F8D2002}"/>
                  </a:ext>
                </a:extLst>
              </p:cNvPr>
              <p:cNvSpPr/>
              <p:nvPr/>
            </p:nvSpPr>
            <p:spPr>
              <a:xfrm>
                <a:off x="722028" y="1839953"/>
                <a:ext cx="48583" cy="48578"/>
              </a:xfrm>
              <a:custGeom>
                <a:avLst/>
                <a:gdLst>
                  <a:gd name="connsiteX0" fmla="*/ 37941 w 75775"/>
                  <a:gd name="connsiteY0" fmla="*/ 75768 h 75768"/>
                  <a:gd name="connsiteX1" fmla="*/ 3109 w 75775"/>
                  <a:gd name="connsiteY1" fmla="*/ 52923 h 75768"/>
                  <a:gd name="connsiteX2" fmla="*/ 22849 w 75775"/>
                  <a:gd name="connsiteY2" fmla="*/ 3104 h 75768"/>
                  <a:gd name="connsiteX3" fmla="*/ 72667 w 75775"/>
                  <a:gd name="connsiteY3" fmla="*/ 22844 h 75768"/>
                  <a:gd name="connsiteX4" fmla="*/ 72667 w 75775"/>
                  <a:gd name="connsiteY4" fmla="*/ 22844 h 75768"/>
                  <a:gd name="connsiteX5" fmla="*/ 52927 w 75775"/>
                  <a:gd name="connsiteY5" fmla="*/ 72663 h 75768"/>
                  <a:gd name="connsiteX6" fmla="*/ 37941 w 75775"/>
                  <a:gd name="connsiteY6" fmla="*/ 75768 h 75768"/>
                  <a:gd name="connsiteX7" fmla="*/ 37856 w 75775"/>
                  <a:gd name="connsiteY7" fmla="*/ 21260 h 75768"/>
                  <a:gd name="connsiteX8" fmla="*/ 31283 w 75775"/>
                  <a:gd name="connsiteY8" fmla="*/ 22621 h 75768"/>
                  <a:gd name="connsiteX9" fmla="*/ 22636 w 75775"/>
                  <a:gd name="connsiteY9" fmla="*/ 44478 h 75768"/>
                  <a:gd name="connsiteX10" fmla="*/ 44493 w 75775"/>
                  <a:gd name="connsiteY10" fmla="*/ 53125 h 75768"/>
                  <a:gd name="connsiteX11" fmla="*/ 53140 w 75775"/>
                  <a:gd name="connsiteY11" fmla="*/ 31279 h 75768"/>
                  <a:gd name="connsiteX12" fmla="*/ 53140 w 75775"/>
                  <a:gd name="connsiteY12" fmla="*/ 31279 h 75768"/>
                  <a:gd name="connsiteX13" fmla="*/ 37856 w 75775"/>
                  <a:gd name="connsiteY13" fmla="*/ 21260 h 75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775" h="75768">
                    <a:moveTo>
                      <a:pt x="37941" y="75768"/>
                    </a:moveTo>
                    <a:cubicBezTo>
                      <a:pt x="23274" y="75768"/>
                      <a:pt x="9288" y="67206"/>
                      <a:pt x="3109" y="52923"/>
                    </a:cubicBezTo>
                    <a:cubicBezTo>
                      <a:pt x="-5177" y="33735"/>
                      <a:pt x="3672" y="11389"/>
                      <a:pt x="22849" y="3104"/>
                    </a:cubicBezTo>
                    <a:cubicBezTo>
                      <a:pt x="42036" y="-5171"/>
                      <a:pt x="64382" y="3668"/>
                      <a:pt x="72667" y="22844"/>
                    </a:cubicBezTo>
                    <a:cubicBezTo>
                      <a:pt x="72667" y="22844"/>
                      <a:pt x="72667" y="22844"/>
                      <a:pt x="72667" y="22844"/>
                    </a:cubicBezTo>
                    <a:cubicBezTo>
                      <a:pt x="80952" y="42021"/>
                      <a:pt x="72103" y="64367"/>
                      <a:pt x="52927" y="72663"/>
                    </a:cubicBezTo>
                    <a:cubicBezTo>
                      <a:pt x="48045" y="74769"/>
                      <a:pt x="42951" y="75768"/>
                      <a:pt x="37941" y="75768"/>
                    </a:cubicBezTo>
                    <a:close/>
                    <a:moveTo>
                      <a:pt x="37856" y="21260"/>
                    </a:moveTo>
                    <a:cubicBezTo>
                      <a:pt x="35654" y="21260"/>
                      <a:pt x="33421" y="21696"/>
                      <a:pt x="31283" y="22621"/>
                    </a:cubicBezTo>
                    <a:cubicBezTo>
                      <a:pt x="22870" y="26258"/>
                      <a:pt x="18999" y="36054"/>
                      <a:pt x="22636" y="44478"/>
                    </a:cubicBezTo>
                    <a:cubicBezTo>
                      <a:pt x="26274" y="52880"/>
                      <a:pt x="36059" y="56751"/>
                      <a:pt x="44493" y="53125"/>
                    </a:cubicBezTo>
                    <a:cubicBezTo>
                      <a:pt x="52895" y="49487"/>
                      <a:pt x="56777" y="39691"/>
                      <a:pt x="53140" y="31279"/>
                    </a:cubicBezTo>
                    <a:lnTo>
                      <a:pt x="53140" y="31279"/>
                    </a:lnTo>
                    <a:cubicBezTo>
                      <a:pt x="50428" y="25014"/>
                      <a:pt x="44291" y="21260"/>
                      <a:pt x="37856" y="21260"/>
                    </a:cubicBezTo>
                    <a:close/>
                  </a:path>
                </a:pathLst>
              </a:custGeom>
              <a:solidFill>
                <a:schemeClr val="accent1"/>
              </a:solidFill>
              <a:ln w="1063" cap="flat">
                <a:noFill/>
                <a:prstDash val="solid"/>
                <a:miter/>
              </a:ln>
            </p:spPr>
            <p:txBody>
              <a:bodyPr rtlCol="0" anchor="ctr"/>
              <a:lstStyle/>
              <a:p>
                <a:endParaRPr lang="en-GB" dirty="0"/>
              </a:p>
            </p:txBody>
          </p:sp>
          <p:sp>
            <p:nvSpPr>
              <p:cNvPr id="133" name="Freeform: Shape 132">
                <a:extLst>
                  <a:ext uri="{FF2B5EF4-FFF2-40B4-BE49-F238E27FC236}">
                    <a16:creationId xmlns:a16="http://schemas.microsoft.com/office/drawing/2014/main" id="{AE61AC14-A18F-4F05-95A5-79882E4AE974}"/>
                  </a:ext>
                </a:extLst>
              </p:cNvPr>
              <p:cNvSpPr/>
              <p:nvPr/>
            </p:nvSpPr>
            <p:spPr>
              <a:xfrm>
                <a:off x="743756" y="1730403"/>
                <a:ext cx="48593" cy="48593"/>
              </a:xfrm>
              <a:custGeom>
                <a:avLst/>
                <a:gdLst>
                  <a:gd name="connsiteX0" fmla="*/ 37896 w 75791"/>
                  <a:gd name="connsiteY0" fmla="*/ 75791 h 75791"/>
                  <a:gd name="connsiteX1" fmla="*/ 0 w 75791"/>
                  <a:gd name="connsiteY1" fmla="*/ 37896 h 75791"/>
                  <a:gd name="connsiteX2" fmla="*/ 37896 w 75791"/>
                  <a:gd name="connsiteY2" fmla="*/ 0 h 75791"/>
                  <a:gd name="connsiteX3" fmla="*/ 75791 w 75791"/>
                  <a:gd name="connsiteY3" fmla="*/ 37896 h 75791"/>
                  <a:gd name="connsiteX4" fmla="*/ 37896 w 75791"/>
                  <a:gd name="connsiteY4" fmla="*/ 75791 h 75791"/>
                  <a:gd name="connsiteX5" fmla="*/ 37896 w 75791"/>
                  <a:gd name="connsiteY5" fmla="*/ 21282 h 75791"/>
                  <a:gd name="connsiteX6" fmla="*/ 21272 w 75791"/>
                  <a:gd name="connsiteY6" fmla="*/ 37906 h 75791"/>
                  <a:gd name="connsiteX7" fmla="*/ 37896 w 75791"/>
                  <a:gd name="connsiteY7" fmla="*/ 54530 h 75791"/>
                  <a:gd name="connsiteX8" fmla="*/ 54519 w 75791"/>
                  <a:gd name="connsiteY8" fmla="*/ 37906 h 75791"/>
                  <a:gd name="connsiteX9" fmla="*/ 37896 w 75791"/>
                  <a:gd name="connsiteY9" fmla="*/ 21282 h 75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791" h="75791">
                    <a:moveTo>
                      <a:pt x="37896" y="75791"/>
                    </a:moveTo>
                    <a:cubicBezTo>
                      <a:pt x="17007" y="75791"/>
                      <a:pt x="0" y="58795"/>
                      <a:pt x="0" y="37896"/>
                    </a:cubicBezTo>
                    <a:cubicBezTo>
                      <a:pt x="0" y="17007"/>
                      <a:pt x="16996" y="0"/>
                      <a:pt x="37896" y="0"/>
                    </a:cubicBezTo>
                    <a:cubicBezTo>
                      <a:pt x="58784" y="0"/>
                      <a:pt x="75791" y="16996"/>
                      <a:pt x="75791" y="37896"/>
                    </a:cubicBezTo>
                    <a:cubicBezTo>
                      <a:pt x="75791" y="58795"/>
                      <a:pt x="58795" y="75791"/>
                      <a:pt x="37896" y="75791"/>
                    </a:cubicBezTo>
                    <a:close/>
                    <a:moveTo>
                      <a:pt x="37896" y="21282"/>
                    </a:moveTo>
                    <a:cubicBezTo>
                      <a:pt x="28738" y="21282"/>
                      <a:pt x="21272" y="28738"/>
                      <a:pt x="21272" y="37906"/>
                    </a:cubicBezTo>
                    <a:cubicBezTo>
                      <a:pt x="21272" y="47064"/>
                      <a:pt x="28727" y="54530"/>
                      <a:pt x="37896" y="54530"/>
                    </a:cubicBezTo>
                    <a:cubicBezTo>
                      <a:pt x="47064" y="54530"/>
                      <a:pt x="54519" y="47074"/>
                      <a:pt x="54519" y="37906"/>
                    </a:cubicBezTo>
                    <a:cubicBezTo>
                      <a:pt x="54519" y="28749"/>
                      <a:pt x="47064" y="21282"/>
                      <a:pt x="37896" y="21282"/>
                    </a:cubicBezTo>
                    <a:close/>
                  </a:path>
                </a:pathLst>
              </a:custGeom>
              <a:solidFill>
                <a:schemeClr val="accent1"/>
              </a:solidFill>
              <a:ln w="1063" cap="flat">
                <a:noFill/>
                <a:prstDash val="solid"/>
                <a:miter/>
              </a:ln>
            </p:spPr>
            <p:txBody>
              <a:bodyPr rtlCol="0" anchor="ctr"/>
              <a:lstStyle/>
              <a:p>
                <a:endParaRPr lang="en-GB" dirty="0"/>
              </a:p>
            </p:txBody>
          </p:sp>
          <p:sp>
            <p:nvSpPr>
              <p:cNvPr id="134" name="Freeform: Shape 133">
                <a:extLst>
                  <a:ext uri="{FF2B5EF4-FFF2-40B4-BE49-F238E27FC236}">
                    <a16:creationId xmlns:a16="http://schemas.microsoft.com/office/drawing/2014/main" id="{8B71BADD-2B8E-4502-9B50-8D48B7C45D00}"/>
                  </a:ext>
                </a:extLst>
              </p:cNvPr>
              <p:cNvSpPr/>
              <p:nvPr/>
            </p:nvSpPr>
            <p:spPr>
              <a:xfrm>
                <a:off x="823431" y="1819883"/>
                <a:ext cx="57137" cy="57137"/>
              </a:xfrm>
              <a:custGeom>
                <a:avLst/>
                <a:gdLst>
                  <a:gd name="connsiteX0" fmla="*/ 44564 w 89117"/>
                  <a:gd name="connsiteY0" fmla="*/ 89118 h 89117"/>
                  <a:gd name="connsiteX1" fmla="*/ 0 w 89117"/>
                  <a:gd name="connsiteY1" fmla="*/ 44564 h 89117"/>
                  <a:gd name="connsiteX2" fmla="*/ 44564 w 89117"/>
                  <a:gd name="connsiteY2" fmla="*/ 0 h 89117"/>
                  <a:gd name="connsiteX3" fmla="*/ 89118 w 89117"/>
                  <a:gd name="connsiteY3" fmla="*/ 44564 h 89117"/>
                  <a:gd name="connsiteX4" fmla="*/ 44564 w 89117"/>
                  <a:gd name="connsiteY4" fmla="*/ 89118 h 89117"/>
                  <a:gd name="connsiteX5" fmla="*/ 44564 w 89117"/>
                  <a:gd name="connsiteY5" fmla="*/ 21272 h 89117"/>
                  <a:gd name="connsiteX6" fmla="*/ 21272 w 89117"/>
                  <a:gd name="connsiteY6" fmla="*/ 44564 h 89117"/>
                  <a:gd name="connsiteX7" fmla="*/ 44564 w 89117"/>
                  <a:gd name="connsiteY7" fmla="*/ 67846 h 89117"/>
                  <a:gd name="connsiteX8" fmla="*/ 67846 w 89117"/>
                  <a:gd name="connsiteY8" fmla="*/ 44564 h 89117"/>
                  <a:gd name="connsiteX9" fmla="*/ 44564 w 89117"/>
                  <a:gd name="connsiteY9" fmla="*/ 21272 h 89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117" h="89117">
                    <a:moveTo>
                      <a:pt x="44564" y="89118"/>
                    </a:moveTo>
                    <a:cubicBezTo>
                      <a:pt x="19985" y="89118"/>
                      <a:pt x="0" y="69133"/>
                      <a:pt x="0" y="44564"/>
                    </a:cubicBezTo>
                    <a:cubicBezTo>
                      <a:pt x="0" y="19985"/>
                      <a:pt x="19985" y="0"/>
                      <a:pt x="44564" y="0"/>
                    </a:cubicBezTo>
                    <a:cubicBezTo>
                      <a:pt x="69133" y="0"/>
                      <a:pt x="89118" y="19985"/>
                      <a:pt x="89118" y="44564"/>
                    </a:cubicBezTo>
                    <a:cubicBezTo>
                      <a:pt x="89118" y="69133"/>
                      <a:pt x="69133" y="89118"/>
                      <a:pt x="44564" y="89118"/>
                    </a:cubicBezTo>
                    <a:close/>
                    <a:moveTo>
                      <a:pt x="44564" y="21272"/>
                    </a:moveTo>
                    <a:cubicBezTo>
                      <a:pt x="31716" y="21272"/>
                      <a:pt x="21272" y="31716"/>
                      <a:pt x="21272" y="44564"/>
                    </a:cubicBezTo>
                    <a:cubicBezTo>
                      <a:pt x="21272" y="57402"/>
                      <a:pt x="31716" y="67846"/>
                      <a:pt x="44564" y="67846"/>
                    </a:cubicBezTo>
                    <a:cubicBezTo>
                      <a:pt x="57402" y="67846"/>
                      <a:pt x="67846" y="57402"/>
                      <a:pt x="67846" y="44564"/>
                    </a:cubicBezTo>
                    <a:cubicBezTo>
                      <a:pt x="67846" y="31727"/>
                      <a:pt x="57402" y="21272"/>
                      <a:pt x="44564" y="21272"/>
                    </a:cubicBezTo>
                    <a:close/>
                  </a:path>
                </a:pathLst>
              </a:custGeom>
              <a:solidFill>
                <a:schemeClr val="accent1"/>
              </a:solidFill>
              <a:ln w="1063" cap="flat">
                <a:noFill/>
                <a:prstDash val="solid"/>
                <a:miter/>
              </a:ln>
            </p:spPr>
            <p:txBody>
              <a:bodyPr rtlCol="0" anchor="ctr"/>
              <a:lstStyle/>
              <a:p>
                <a:endParaRPr lang="en-GB" dirty="0"/>
              </a:p>
            </p:txBody>
          </p:sp>
        </p:grpSp>
      </p:grpSp>
      <p:grpSp>
        <p:nvGrpSpPr>
          <p:cNvPr id="4" name="Group 3">
            <a:extLst>
              <a:ext uri="{FF2B5EF4-FFF2-40B4-BE49-F238E27FC236}">
                <a16:creationId xmlns:a16="http://schemas.microsoft.com/office/drawing/2014/main" id="{55B01DD3-FC3B-B3B7-C570-99C8A11C910C}"/>
              </a:ext>
            </a:extLst>
          </p:cNvPr>
          <p:cNvGrpSpPr/>
          <p:nvPr/>
        </p:nvGrpSpPr>
        <p:grpSpPr>
          <a:xfrm>
            <a:off x="3705148" y="3211681"/>
            <a:ext cx="504408" cy="421362"/>
            <a:chOff x="3705148" y="3211681"/>
            <a:chExt cx="504408" cy="421362"/>
          </a:xfrm>
        </p:grpSpPr>
        <p:grpSp>
          <p:nvGrpSpPr>
            <p:cNvPr id="171" name="Graphic 818">
              <a:extLst>
                <a:ext uri="{FF2B5EF4-FFF2-40B4-BE49-F238E27FC236}">
                  <a16:creationId xmlns:a16="http://schemas.microsoft.com/office/drawing/2014/main" id="{A085CF5F-70B5-4556-8B78-D81AD8777246}"/>
                </a:ext>
              </a:extLst>
            </p:cNvPr>
            <p:cNvGrpSpPr/>
            <p:nvPr/>
          </p:nvGrpSpPr>
          <p:grpSpPr>
            <a:xfrm>
              <a:off x="3705148" y="3211681"/>
              <a:ext cx="281759" cy="386237"/>
              <a:chOff x="3490691" y="69164"/>
              <a:chExt cx="439460" cy="602415"/>
            </a:xfrm>
            <a:solidFill>
              <a:schemeClr val="tx2"/>
            </a:solidFill>
          </p:grpSpPr>
          <p:sp>
            <p:nvSpPr>
              <p:cNvPr id="212" name="Freeform: Shape 211">
                <a:extLst>
                  <a:ext uri="{FF2B5EF4-FFF2-40B4-BE49-F238E27FC236}">
                    <a16:creationId xmlns:a16="http://schemas.microsoft.com/office/drawing/2014/main" id="{D722F6DB-587D-417A-AB58-73BDE0DE38E5}"/>
                  </a:ext>
                </a:extLst>
              </p:cNvPr>
              <p:cNvSpPr/>
              <p:nvPr/>
            </p:nvSpPr>
            <p:spPr>
              <a:xfrm>
                <a:off x="3674143" y="493569"/>
                <a:ext cx="124012" cy="37298"/>
              </a:xfrm>
              <a:custGeom>
                <a:avLst/>
                <a:gdLst>
                  <a:gd name="connsiteX0" fmla="*/ 63633 w 124012"/>
                  <a:gd name="connsiteY0" fmla="*/ 37298 h 37298"/>
                  <a:gd name="connsiteX1" fmla="*/ 1030 w 124012"/>
                  <a:gd name="connsiteY1" fmla="*/ 15208 h 37298"/>
                  <a:gd name="connsiteX2" fmla="*/ 6082 w 124012"/>
                  <a:gd name="connsiteY2" fmla="*/ 1041 h 37298"/>
                  <a:gd name="connsiteX3" fmla="*/ 19919 w 124012"/>
                  <a:gd name="connsiteY3" fmla="*/ 5444 h 37298"/>
                  <a:gd name="connsiteX4" fmla="*/ 63633 w 124012"/>
                  <a:gd name="connsiteY4" fmla="*/ 16027 h 37298"/>
                  <a:gd name="connsiteX5" fmla="*/ 103634 w 124012"/>
                  <a:gd name="connsiteY5" fmla="*/ 4817 h 37298"/>
                  <a:gd name="connsiteX6" fmla="*/ 113696 w 124012"/>
                  <a:gd name="connsiteY6" fmla="*/ 8209 h 37298"/>
                  <a:gd name="connsiteX7" fmla="*/ 124012 w 124012"/>
                  <a:gd name="connsiteY7" fmla="*/ 10805 h 37298"/>
                  <a:gd name="connsiteX8" fmla="*/ 63633 w 124012"/>
                  <a:gd name="connsiteY8" fmla="*/ 37298 h 37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012" h="37298">
                    <a:moveTo>
                      <a:pt x="63633" y="37298"/>
                    </a:moveTo>
                    <a:cubicBezTo>
                      <a:pt x="14016" y="37298"/>
                      <a:pt x="2774" y="18898"/>
                      <a:pt x="1030" y="15208"/>
                    </a:cubicBezTo>
                    <a:cubicBezTo>
                      <a:pt x="-1491" y="9900"/>
                      <a:pt x="775" y="3551"/>
                      <a:pt x="6082" y="1041"/>
                    </a:cubicBezTo>
                    <a:cubicBezTo>
                      <a:pt x="11166" y="-1395"/>
                      <a:pt x="17197" y="594"/>
                      <a:pt x="19919" y="5444"/>
                    </a:cubicBezTo>
                    <a:cubicBezTo>
                      <a:pt x="20664" y="6369"/>
                      <a:pt x="29226" y="16027"/>
                      <a:pt x="63633" y="16027"/>
                    </a:cubicBezTo>
                    <a:cubicBezTo>
                      <a:pt x="98146" y="16027"/>
                      <a:pt x="103581" y="4934"/>
                      <a:pt x="103634" y="4817"/>
                    </a:cubicBezTo>
                    <a:lnTo>
                      <a:pt x="113696" y="8209"/>
                    </a:lnTo>
                    <a:lnTo>
                      <a:pt x="124012" y="10805"/>
                    </a:lnTo>
                    <a:cubicBezTo>
                      <a:pt x="122896" y="15229"/>
                      <a:pt x="114759" y="37298"/>
                      <a:pt x="63633" y="37298"/>
                    </a:cubicBezTo>
                    <a:close/>
                  </a:path>
                </a:pathLst>
              </a:custGeom>
              <a:grpFill/>
              <a:ln w="1063" cap="flat">
                <a:noFill/>
                <a:prstDash val="solid"/>
                <a:miter/>
              </a:ln>
            </p:spPr>
            <p:txBody>
              <a:bodyPr rtlCol="0" anchor="ctr"/>
              <a:lstStyle/>
              <a:p>
                <a:endParaRPr lang="en-GB" dirty="0"/>
              </a:p>
            </p:txBody>
          </p:sp>
          <p:sp>
            <p:nvSpPr>
              <p:cNvPr id="213" name="Freeform: Shape 212">
                <a:extLst>
                  <a:ext uri="{FF2B5EF4-FFF2-40B4-BE49-F238E27FC236}">
                    <a16:creationId xmlns:a16="http://schemas.microsoft.com/office/drawing/2014/main" id="{7F2E5D3D-3111-44EC-A4EC-3FBE673E0A57}"/>
                  </a:ext>
                </a:extLst>
              </p:cNvPr>
              <p:cNvSpPr/>
              <p:nvPr/>
            </p:nvSpPr>
            <p:spPr>
              <a:xfrm>
                <a:off x="3600345" y="447969"/>
                <a:ext cx="105508" cy="216612"/>
              </a:xfrm>
              <a:custGeom>
                <a:avLst/>
                <a:gdLst>
                  <a:gd name="connsiteX0" fmla="*/ 94866 w 105508"/>
                  <a:gd name="connsiteY0" fmla="*/ 216612 h 216612"/>
                  <a:gd name="connsiteX1" fmla="*/ 84294 w 105508"/>
                  <a:gd name="connsiteY1" fmla="*/ 207093 h 216612"/>
                  <a:gd name="connsiteX2" fmla="*/ 69478 w 105508"/>
                  <a:gd name="connsiteY2" fmla="*/ 36504 h 216612"/>
                  <a:gd name="connsiteX3" fmla="*/ 32242 w 105508"/>
                  <a:gd name="connsiteY3" fmla="*/ 78888 h 216612"/>
                  <a:gd name="connsiteX4" fmla="*/ 45824 w 105508"/>
                  <a:gd name="connsiteY4" fmla="*/ 109030 h 216612"/>
                  <a:gd name="connsiteX5" fmla="*/ 42538 w 105508"/>
                  <a:gd name="connsiteY5" fmla="*/ 121889 h 216612"/>
                  <a:gd name="connsiteX6" fmla="*/ 22947 w 105508"/>
                  <a:gd name="connsiteY6" fmla="*/ 136673 h 216612"/>
                  <a:gd name="connsiteX7" fmla="*/ 42846 w 105508"/>
                  <a:gd name="connsiteY7" fmla="*/ 199946 h 216612"/>
                  <a:gd name="connsiteX8" fmla="*/ 35997 w 105508"/>
                  <a:gd name="connsiteY8" fmla="*/ 213336 h 216612"/>
                  <a:gd name="connsiteX9" fmla="*/ 22606 w 105508"/>
                  <a:gd name="connsiteY9" fmla="*/ 206487 h 216612"/>
                  <a:gd name="connsiteX10" fmla="*/ 430 w 105508"/>
                  <a:gd name="connsiteY10" fmla="*/ 135631 h 216612"/>
                  <a:gd name="connsiteX11" fmla="*/ 4228 w 105508"/>
                  <a:gd name="connsiteY11" fmla="*/ 124144 h 216612"/>
                  <a:gd name="connsiteX12" fmla="*/ 22947 w 105508"/>
                  <a:gd name="connsiteY12" fmla="*/ 110020 h 216612"/>
                  <a:gd name="connsiteX13" fmla="*/ 10035 w 105508"/>
                  <a:gd name="connsiteY13" fmla="*/ 81377 h 216612"/>
                  <a:gd name="connsiteX14" fmla="*/ 11736 w 105508"/>
                  <a:gd name="connsiteY14" fmla="*/ 69986 h 216612"/>
                  <a:gd name="connsiteX15" fmla="*/ 70053 w 105508"/>
                  <a:gd name="connsiteY15" fmla="*/ 3618 h 216612"/>
                  <a:gd name="connsiteX16" fmla="*/ 81380 w 105508"/>
                  <a:gd name="connsiteY16" fmla="*/ 545 h 216612"/>
                  <a:gd name="connsiteX17" fmla="*/ 88634 w 105508"/>
                  <a:gd name="connsiteY17" fmla="*/ 9787 h 216612"/>
                  <a:gd name="connsiteX18" fmla="*/ 105449 w 105508"/>
                  <a:gd name="connsiteY18" fmla="*/ 204849 h 216612"/>
                  <a:gd name="connsiteX19" fmla="*/ 95994 w 105508"/>
                  <a:gd name="connsiteY19" fmla="*/ 216548 h 216612"/>
                  <a:gd name="connsiteX20" fmla="*/ 94866 w 105508"/>
                  <a:gd name="connsiteY20" fmla="*/ 216612 h 216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508" h="216612">
                    <a:moveTo>
                      <a:pt x="94866" y="216612"/>
                    </a:moveTo>
                    <a:cubicBezTo>
                      <a:pt x="89495" y="216612"/>
                      <a:pt x="84879" y="212560"/>
                      <a:pt x="84294" y="207093"/>
                    </a:cubicBezTo>
                    <a:cubicBezTo>
                      <a:pt x="81029" y="176323"/>
                      <a:pt x="73212" y="81973"/>
                      <a:pt x="69478" y="36504"/>
                    </a:cubicBezTo>
                    <a:lnTo>
                      <a:pt x="32242" y="78888"/>
                    </a:lnTo>
                    <a:lnTo>
                      <a:pt x="45824" y="109030"/>
                    </a:lnTo>
                    <a:cubicBezTo>
                      <a:pt x="47866" y="113561"/>
                      <a:pt x="46494" y="118900"/>
                      <a:pt x="42538" y="121889"/>
                    </a:cubicBezTo>
                    <a:lnTo>
                      <a:pt x="22947" y="136673"/>
                    </a:lnTo>
                    <a:cubicBezTo>
                      <a:pt x="26063" y="146979"/>
                      <a:pt x="32668" y="168442"/>
                      <a:pt x="42846" y="199946"/>
                    </a:cubicBezTo>
                    <a:cubicBezTo>
                      <a:pt x="44654" y="205540"/>
                      <a:pt x="41581" y="211528"/>
                      <a:pt x="35997" y="213336"/>
                    </a:cubicBezTo>
                    <a:cubicBezTo>
                      <a:pt x="30381" y="215123"/>
                      <a:pt x="24404" y="212071"/>
                      <a:pt x="22606" y="206487"/>
                    </a:cubicBezTo>
                    <a:cubicBezTo>
                      <a:pt x="7801" y="160667"/>
                      <a:pt x="505" y="135875"/>
                      <a:pt x="430" y="135631"/>
                    </a:cubicBezTo>
                    <a:cubicBezTo>
                      <a:pt x="-814" y="131387"/>
                      <a:pt x="696" y="126814"/>
                      <a:pt x="4228" y="124144"/>
                    </a:cubicBezTo>
                    <a:lnTo>
                      <a:pt x="22947" y="110020"/>
                    </a:lnTo>
                    <a:lnTo>
                      <a:pt x="10035" y="81377"/>
                    </a:lnTo>
                    <a:cubicBezTo>
                      <a:pt x="8322" y="77570"/>
                      <a:pt x="8982" y="73124"/>
                      <a:pt x="11736" y="69986"/>
                    </a:cubicBezTo>
                    <a:lnTo>
                      <a:pt x="70053" y="3618"/>
                    </a:lnTo>
                    <a:cubicBezTo>
                      <a:pt x="72871" y="406"/>
                      <a:pt x="77349" y="-806"/>
                      <a:pt x="81380" y="545"/>
                    </a:cubicBezTo>
                    <a:cubicBezTo>
                      <a:pt x="85432" y="1885"/>
                      <a:pt x="88293" y="5522"/>
                      <a:pt x="88634" y="9787"/>
                    </a:cubicBezTo>
                    <a:cubicBezTo>
                      <a:pt x="88761" y="11329"/>
                      <a:pt x="101131" y="164220"/>
                      <a:pt x="105449" y="204849"/>
                    </a:cubicBezTo>
                    <a:cubicBezTo>
                      <a:pt x="106066" y="210688"/>
                      <a:pt x="101833" y="215921"/>
                      <a:pt x="95994" y="216548"/>
                    </a:cubicBezTo>
                    <a:cubicBezTo>
                      <a:pt x="95621" y="216591"/>
                      <a:pt x="95238" y="216612"/>
                      <a:pt x="94866" y="216612"/>
                    </a:cubicBezTo>
                    <a:close/>
                  </a:path>
                </a:pathLst>
              </a:custGeom>
              <a:grpFill/>
              <a:ln w="1063" cap="flat">
                <a:noFill/>
                <a:prstDash val="solid"/>
                <a:miter/>
              </a:ln>
            </p:spPr>
            <p:txBody>
              <a:bodyPr rtlCol="0" anchor="ctr"/>
              <a:lstStyle/>
              <a:p>
                <a:endParaRPr lang="en-GB" dirty="0"/>
              </a:p>
            </p:txBody>
          </p:sp>
          <p:sp>
            <p:nvSpPr>
              <p:cNvPr id="214" name="Freeform: Shape 213">
                <a:extLst>
                  <a:ext uri="{FF2B5EF4-FFF2-40B4-BE49-F238E27FC236}">
                    <a16:creationId xmlns:a16="http://schemas.microsoft.com/office/drawing/2014/main" id="{ED0E6516-68CC-4AD2-9800-D463A4EC5E7C}"/>
                  </a:ext>
                </a:extLst>
              </p:cNvPr>
              <p:cNvSpPr/>
              <p:nvPr/>
            </p:nvSpPr>
            <p:spPr>
              <a:xfrm>
                <a:off x="3765129" y="447431"/>
                <a:ext cx="105138" cy="220649"/>
              </a:xfrm>
              <a:custGeom>
                <a:avLst/>
                <a:gdLst>
                  <a:gd name="connsiteX0" fmla="*/ 71017 w 105138"/>
                  <a:gd name="connsiteY0" fmla="*/ 220649 h 220649"/>
                  <a:gd name="connsiteX1" fmla="*/ 67688 w 105138"/>
                  <a:gd name="connsiteY1" fmla="*/ 220107 h 220649"/>
                  <a:gd name="connsiteX2" fmla="*/ 60924 w 105138"/>
                  <a:gd name="connsiteY2" fmla="*/ 206674 h 220649"/>
                  <a:gd name="connsiteX3" fmla="*/ 82206 w 105138"/>
                  <a:gd name="connsiteY3" fmla="*/ 139934 h 220649"/>
                  <a:gd name="connsiteX4" fmla="*/ 62498 w 105138"/>
                  <a:gd name="connsiteY4" fmla="*/ 124661 h 220649"/>
                  <a:gd name="connsiteX5" fmla="*/ 59275 w 105138"/>
                  <a:gd name="connsiteY5" fmla="*/ 111983 h 220649"/>
                  <a:gd name="connsiteX6" fmla="*/ 72996 w 105138"/>
                  <a:gd name="connsiteY6" fmla="*/ 80671 h 220649"/>
                  <a:gd name="connsiteX7" fmla="*/ 35791 w 105138"/>
                  <a:gd name="connsiteY7" fmla="*/ 37170 h 220649"/>
                  <a:gd name="connsiteX8" fmla="*/ 21231 w 105138"/>
                  <a:gd name="connsiteY8" fmla="*/ 210035 h 220649"/>
                  <a:gd name="connsiteX9" fmla="*/ 9670 w 105138"/>
                  <a:gd name="connsiteY9" fmla="*/ 219660 h 220649"/>
                  <a:gd name="connsiteX10" fmla="*/ 44 w 105138"/>
                  <a:gd name="connsiteY10" fmla="*/ 208099 h 220649"/>
                  <a:gd name="connsiteX11" fmla="*/ 16487 w 105138"/>
                  <a:gd name="connsiteY11" fmla="*/ 9889 h 220649"/>
                  <a:gd name="connsiteX12" fmla="*/ 23773 w 105138"/>
                  <a:gd name="connsiteY12" fmla="*/ 540 h 220649"/>
                  <a:gd name="connsiteX13" fmla="*/ 35185 w 105138"/>
                  <a:gd name="connsiteY13" fmla="*/ 3731 h 220649"/>
                  <a:gd name="connsiteX14" fmla="*/ 93502 w 105138"/>
                  <a:gd name="connsiteY14" fmla="*/ 71917 h 220649"/>
                  <a:gd name="connsiteX15" fmla="*/ 95161 w 105138"/>
                  <a:gd name="connsiteY15" fmla="*/ 83096 h 220649"/>
                  <a:gd name="connsiteX16" fmla="*/ 82089 w 105138"/>
                  <a:gd name="connsiteY16" fmla="*/ 112919 h 220649"/>
                  <a:gd name="connsiteX17" fmla="*/ 101021 w 105138"/>
                  <a:gd name="connsiteY17" fmla="*/ 127585 h 220649"/>
                  <a:gd name="connsiteX18" fmla="*/ 104712 w 105138"/>
                  <a:gd name="connsiteY18" fmla="*/ 138987 h 220649"/>
                  <a:gd name="connsiteX19" fmla="*/ 81143 w 105138"/>
                  <a:gd name="connsiteY19" fmla="*/ 213342 h 220649"/>
                  <a:gd name="connsiteX20" fmla="*/ 71017 w 105138"/>
                  <a:gd name="connsiteY20" fmla="*/ 220649 h 22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5138" h="220649">
                    <a:moveTo>
                      <a:pt x="71017" y="220649"/>
                    </a:moveTo>
                    <a:cubicBezTo>
                      <a:pt x="69911" y="220649"/>
                      <a:pt x="68795" y="220468"/>
                      <a:pt x="67688" y="220107"/>
                    </a:cubicBezTo>
                    <a:cubicBezTo>
                      <a:pt x="62115" y="218267"/>
                      <a:pt x="59084" y="212247"/>
                      <a:pt x="60924" y="206674"/>
                    </a:cubicBezTo>
                    <a:cubicBezTo>
                      <a:pt x="71773" y="173841"/>
                      <a:pt x="78920" y="150740"/>
                      <a:pt x="82206" y="139934"/>
                    </a:cubicBezTo>
                    <a:lnTo>
                      <a:pt x="62498" y="124661"/>
                    </a:lnTo>
                    <a:cubicBezTo>
                      <a:pt x="58648" y="121672"/>
                      <a:pt x="57318" y="116450"/>
                      <a:pt x="59275" y="111983"/>
                    </a:cubicBezTo>
                    <a:lnTo>
                      <a:pt x="72996" y="80671"/>
                    </a:lnTo>
                    <a:lnTo>
                      <a:pt x="35791" y="37170"/>
                    </a:lnTo>
                    <a:cubicBezTo>
                      <a:pt x="33292" y="69918"/>
                      <a:pt x="28378" y="131691"/>
                      <a:pt x="21231" y="210035"/>
                    </a:cubicBezTo>
                    <a:cubicBezTo>
                      <a:pt x="20699" y="215884"/>
                      <a:pt x="15519" y="220171"/>
                      <a:pt x="9670" y="219660"/>
                    </a:cubicBezTo>
                    <a:cubicBezTo>
                      <a:pt x="3820" y="219128"/>
                      <a:pt x="-487" y="213949"/>
                      <a:pt x="44" y="208099"/>
                    </a:cubicBezTo>
                    <a:cubicBezTo>
                      <a:pt x="10755" y="90732"/>
                      <a:pt x="16434" y="10676"/>
                      <a:pt x="16487" y="9889"/>
                    </a:cubicBezTo>
                    <a:cubicBezTo>
                      <a:pt x="16796" y="5582"/>
                      <a:pt x="19667" y="1891"/>
                      <a:pt x="23773" y="540"/>
                    </a:cubicBezTo>
                    <a:cubicBezTo>
                      <a:pt x="27857" y="-821"/>
                      <a:pt x="32377" y="444"/>
                      <a:pt x="35185" y="3731"/>
                    </a:cubicBezTo>
                    <a:lnTo>
                      <a:pt x="93502" y="71917"/>
                    </a:lnTo>
                    <a:cubicBezTo>
                      <a:pt x="96161" y="75023"/>
                      <a:pt x="96799" y="79362"/>
                      <a:pt x="95161" y="83096"/>
                    </a:cubicBezTo>
                    <a:lnTo>
                      <a:pt x="82089" y="112919"/>
                    </a:lnTo>
                    <a:lnTo>
                      <a:pt x="101021" y="127585"/>
                    </a:lnTo>
                    <a:cubicBezTo>
                      <a:pt x="104478" y="130266"/>
                      <a:pt x="105935" y="134797"/>
                      <a:pt x="104712" y="138987"/>
                    </a:cubicBezTo>
                    <a:cubicBezTo>
                      <a:pt x="104637" y="139253"/>
                      <a:pt x="96607" y="166502"/>
                      <a:pt x="81143" y="213342"/>
                    </a:cubicBezTo>
                    <a:cubicBezTo>
                      <a:pt x="79632" y="217820"/>
                      <a:pt x="75484" y="220649"/>
                      <a:pt x="71017" y="220649"/>
                    </a:cubicBezTo>
                    <a:close/>
                  </a:path>
                </a:pathLst>
              </a:custGeom>
              <a:grpFill/>
              <a:ln w="1063" cap="flat">
                <a:noFill/>
                <a:prstDash val="solid"/>
                <a:miter/>
              </a:ln>
            </p:spPr>
            <p:txBody>
              <a:bodyPr rtlCol="0" anchor="ctr"/>
              <a:lstStyle/>
              <a:p>
                <a:endParaRPr lang="en-GB" dirty="0"/>
              </a:p>
            </p:txBody>
          </p:sp>
          <p:grpSp>
            <p:nvGrpSpPr>
              <p:cNvPr id="215" name="Graphic 818">
                <a:extLst>
                  <a:ext uri="{FF2B5EF4-FFF2-40B4-BE49-F238E27FC236}">
                    <a16:creationId xmlns:a16="http://schemas.microsoft.com/office/drawing/2014/main" id="{E9690F2D-89C8-4363-85F3-A993844E59DC}"/>
                  </a:ext>
                </a:extLst>
              </p:cNvPr>
              <p:cNvGrpSpPr/>
              <p:nvPr/>
            </p:nvGrpSpPr>
            <p:grpSpPr>
              <a:xfrm>
                <a:off x="3490691" y="69164"/>
                <a:ext cx="439460" cy="404226"/>
                <a:chOff x="3490691" y="69164"/>
                <a:chExt cx="439460" cy="404226"/>
              </a:xfrm>
              <a:grpFill/>
            </p:grpSpPr>
            <p:sp>
              <p:nvSpPr>
                <p:cNvPr id="220" name="Freeform: Shape 219">
                  <a:extLst>
                    <a:ext uri="{FF2B5EF4-FFF2-40B4-BE49-F238E27FC236}">
                      <a16:creationId xmlns:a16="http://schemas.microsoft.com/office/drawing/2014/main" id="{E2963878-95BC-4687-BBA4-80A0310E7B9C}"/>
                    </a:ext>
                  </a:extLst>
                </p:cNvPr>
                <p:cNvSpPr/>
                <p:nvPr/>
              </p:nvSpPr>
              <p:spPr>
                <a:xfrm>
                  <a:off x="3660255" y="353301"/>
                  <a:ext cx="156258" cy="100296"/>
                </a:xfrm>
                <a:custGeom>
                  <a:avLst/>
                  <a:gdLst>
                    <a:gd name="connsiteX0" fmla="*/ 10621 w 156258"/>
                    <a:gd name="connsiteY0" fmla="*/ 100296 h 100296"/>
                    <a:gd name="connsiteX1" fmla="*/ 5729 w 156258"/>
                    <a:gd name="connsiteY1" fmla="*/ 99094 h 100296"/>
                    <a:gd name="connsiteX2" fmla="*/ 1134 w 156258"/>
                    <a:gd name="connsiteY2" fmla="*/ 84885 h 100296"/>
                    <a:gd name="connsiteX3" fmla="*/ 6388 w 156258"/>
                    <a:gd name="connsiteY3" fmla="*/ 49329 h 100296"/>
                    <a:gd name="connsiteX4" fmla="*/ 1527 w 156258"/>
                    <a:gd name="connsiteY4" fmla="*/ 16124 h 100296"/>
                    <a:gd name="connsiteX5" fmla="*/ 1527 w 156258"/>
                    <a:gd name="connsiteY5" fmla="*/ 5403 h 100296"/>
                    <a:gd name="connsiteX6" fmla="*/ 10632 w 156258"/>
                    <a:gd name="connsiteY6" fmla="*/ 0 h 100296"/>
                    <a:gd name="connsiteX7" fmla="*/ 145622 w 156258"/>
                    <a:gd name="connsiteY7" fmla="*/ 0 h 100296"/>
                    <a:gd name="connsiteX8" fmla="*/ 155077 w 156258"/>
                    <a:gd name="connsiteY8" fmla="*/ 5765 h 100296"/>
                    <a:gd name="connsiteX9" fmla="*/ 154301 w 156258"/>
                    <a:gd name="connsiteY9" fmla="*/ 16805 h 100296"/>
                    <a:gd name="connsiteX10" fmla="*/ 154301 w 156258"/>
                    <a:gd name="connsiteY10" fmla="*/ 16805 h 100296"/>
                    <a:gd name="connsiteX11" fmla="*/ 149111 w 156258"/>
                    <a:gd name="connsiteY11" fmla="*/ 50552 h 100296"/>
                    <a:gd name="connsiteX12" fmla="*/ 154577 w 156258"/>
                    <a:gd name="connsiteY12" fmla="*/ 83928 h 100296"/>
                    <a:gd name="connsiteX13" fmla="*/ 151259 w 156258"/>
                    <a:gd name="connsiteY13" fmla="*/ 98456 h 100296"/>
                    <a:gd name="connsiteX14" fmla="*/ 136869 w 156258"/>
                    <a:gd name="connsiteY14" fmla="*/ 95712 h 100296"/>
                    <a:gd name="connsiteX15" fmla="*/ 127828 w 156258"/>
                    <a:gd name="connsiteY15" fmla="*/ 50924 h 100296"/>
                    <a:gd name="connsiteX16" fmla="*/ 130445 w 156258"/>
                    <a:gd name="connsiteY16" fmla="*/ 21282 h 100296"/>
                    <a:gd name="connsiteX17" fmla="*/ 25299 w 156258"/>
                    <a:gd name="connsiteY17" fmla="*/ 21282 h 100296"/>
                    <a:gd name="connsiteX18" fmla="*/ 27649 w 156258"/>
                    <a:gd name="connsiteY18" fmla="*/ 49531 h 100296"/>
                    <a:gd name="connsiteX19" fmla="*/ 20066 w 156258"/>
                    <a:gd name="connsiteY19" fmla="*/ 94563 h 100296"/>
                    <a:gd name="connsiteX20" fmla="*/ 10621 w 156258"/>
                    <a:gd name="connsiteY20" fmla="*/ 100296 h 10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6258" h="100296">
                      <a:moveTo>
                        <a:pt x="10621" y="100296"/>
                      </a:moveTo>
                      <a:cubicBezTo>
                        <a:pt x="8973" y="100296"/>
                        <a:pt x="7292" y="99913"/>
                        <a:pt x="5729" y="99094"/>
                      </a:cubicBezTo>
                      <a:cubicBezTo>
                        <a:pt x="560" y="96414"/>
                        <a:pt x="-1472" y="90075"/>
                        <a:pt x="1134" y="84885"/>
                      </a:cubicBezTo>
                      <a:cubicBezTo>
                        <a:pt x="1357" y="84385"/>
                        <a:pt x="6165" y="73664"/>
                        <a:pt x="6388" y="49329"/>
                      </a:cubicBezTo>
                      <a:cubicBezTo>
                        <a:pt x="6611" y="25420"/>
                        <a:pt x="1581" y="16220"/>
                        <a:pt x="1527" y="16124"/>
                      </a:cubicBezTo>
                      <a:cubicBezTo>
                        <a:pt x="-323" y="12827"/>
                        <a:pt x="-376" y="8668"/>
                        <a:pt x="1527" y="5403"/>
                      </a:cubicBezTo>
                      <a:cubicBezTo>
                        <a:pt x="3431" y="2138"/>
                        <a:pt x="6845" y="0"/>
                        <a:pt x="10632" y="0"/>
                      </a:cubicBezTo>
                      <a:lnTo>
                        <a:pt x="145622" y="0"/>
                      </a:lnTo>
                      <a:cubicBezTo>
                        <a:pt x="149600" y="0"/>
                        <a:pt x="153248" y="2223"/>
                        <a:pt x="155077" y="5765"/>
                      </a:cubicBezTo>
                      <a:cubicBezTo>
                        <a:pt x="156896" y="9296"/>
                        <a:pt x="156598" y="13561"/>
                        <a:pt x="154301" y="16805"/>
                      </a:cubicBezTo>
                      <a:lnTo>
                        <a:pt x="154301" y="16805"/>
                      </a:lnTo>
                      <a:cubicBezTo>
                        <a:pt x="154312" y="16805"/>
                        <a:pt x="148696" y="26324"/>
                        <a:pt x="149111" y="50552"/>
                      </a:cubicBezTo>
                      <a:cubicBezTo>
                        <a:pt x="149536" y="75110"/>
                        <a:pt x="154535" y="83842"/>
                        <a:pt x="154577" y="83928"/>
                      </a:cubicBezTo>
                      <a:cubicBezTo>
                        <a:pt x="157492" y="88852"/>
                        <a:pt x="156088" y="95372"/>
                        <a:pt x="151259" y="98456"/>
                      </a:cubicBezTo>
                      <a:cubicBezTo>
                        <a:pt x="146430" y="101551"/>
                        <a:pt x="140134" y="100413"/>
                        <a:pt x="136869" y="95712"/>
                      </a:cubicBezTo>
                      <a:cubicBezTo>
                        <a:pt x="135454" y="93670"/>
                        <a:pt x="128360" y="81896"/>
                        <a:pt x="127828" y="50924"/>
                      </a:cubicBezTo>
                      <a:cubicBezTo>
                        <a:pt x="127605" y="38161"/>
                        <a:pt x="128817" y="28451"/>
                        <a:pt x="130445" y="21282"/>
                      </a:cubicBezTo>
                      <a:lnTo>
                        <a:pt x="25299" y="21282"/>
                      </a:lnTo>
                      <a:cubicBezTo>
                        <a:pt x="26703" y="28153"/>
                        <a:pt x="27766" y="37396"/>
                        <a:pt x="27649" y="49531"/>
                      </a:cubicBezTo>
                      <a:cubicBezTo>
                        <a:pt x="27373" y="79663"/>
                        <a:pt x="20810" y="93128"/>
                        <a:pt x="20066" y="94563"/>
                      </a:cubicBezTo>
                      <a:cubicBezTo>
                        <a:pt x="18173" y="98211"/>
                        <a:pt x="14461" y="100296"/>
                        <a:pt x="10621" y="100296"/>
                      </a:cubicBezTo>
                      <a:close/>
                    </a:path>
                  </a:pathLst>
                </a:custGeom>
                <a:grpFill/>
                <a:ln w="1063" cap="flat">
                  <a:noFill/>
                  <a:prstDash val="solid"/>
                  <a:miter/>
                </a:ln>
              </p:spPr>
              <p:txBody>
                <a:bodyPr rtlCol="0" anchor="ctr"/>
                <a:lstStyle/>
                <a:p>
                  <a:endParaRPr lang="en-GB" dirty="0"/>
                </a:p>
              </p:txBody>
            </p:sp>
            <p:sp>
              <p:nvSpPr>
                <p:cNvPr id="221" name="Freeform: Shape 220">
                  <a:extLst>
                    <a:ext uri="{FF2B5EF4-FFF2-40B4-BE49-F238E27FC236}">
                      <a16:creationId xmlns:a16="http://schemas.microsoft.com/office/drawing/2014/main" id="{F94D7211-33A8-463D-BC6D-59D5E5104515}"/>
                    </a:ext>
                  </a:extLst>
                </p:cNvPr>
                <p:cNvSpPr/>
                <p:nvPr/>
              </p:nvSpPr>
              <p:spPr>
                <a:xfrm>
                  <a:off x="3593636" y="318007"/>
                  <a:ext cx="88453" cy="58022"/>
                </a:xfrm>
                <a:custGeom>
                  <a:avLst/>
                  <a:gdLst>
                    <a:gd name="connsiteX0" fmla="*/ 77804 w 88453"/>
                    <a:gd name="connsiteY0" fmla="*/ 58023 h 58022"/>
                    <a:gd name="connsiteX1" fmla="*/ 72710 w 88453"/>
                    <a:gd name="connsiteY1" fmla="*/ 56715 h 58022"/>
                    <a:gd name="connsiteX2" fmla="*/ 5534 w 88453"/>
                    <a:gd name="connsiteY2" fmla="*/ 19957 h 58022"/>
                    <a:gd name="connsiteX3" fmla="*/ 1311 w 88453"/>
                    <a:gd name="connsiteY3" fmla="*/ 5524 h 58022"/>
                    <a:gd name="connsiteX4" fmla="*/ 15744 w 88453"/>
                    <a:gd name="connsiteY4" fmla="*/ 1302 h 58022"/>
                    <a:gd name="connsiteX5" fmla="*/ 82920 w 88453"/>
                    <a:gd name="connsiteY5" fmla="*/ 38059 h 58022"/>
                    <a:gd name="connsiteX6" fmla="*/ 87143 w 88453"/>
                    <a:gd name="connsiteY6" fmla="*/ 52492 h 58022"/>
                    <a:gd name="connsiteX7" fmla="*/ 77804 w 88453"/>
                    <a:gd name="connsiteY7" fmla="*/ 58023 h 58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453" h="58022">
                      <a:moveTo>
                        <a:pt x="77804" y="58023"/>
                      </a:moveTo>
                      <a:cubicBezTo>
                        <a:pt x="76081" y="58023"/>
                        <a:pt x="74326" y="57597"/>
                        <a:pt x="72710" y="56715"/>
                      </a:cubicBezTo>
                      <a:lnTo>
                        <a:pt x="5534" y="19957"/>
                      </a:lnTo>
                      <a:cubicBezTo>
                        <a:pt x="386" y="17139"/>
                        <a:pt x="-1518" y="10672"/>
                        <a:pt x="1311" y="5524"/>
                      </a:cubicBezTo>
                      <a:cubicBezTo>
                        <a:pt x="4130" y="376"/>
                        <a:pt x="10596" y="-1506"/>
                        <a:pt x="15744" y="1302"/>
                      </a:cubicBezTo>
                      <a:lnTo>
                        <a:pt x="82920" y="38059"/>
                      </a:lnTo>
                      <a:cubicBezTo>
                        <a:pt x="88068" y="40878"/>
                        <a:pt x="89972" y="47344"/>
                        <a:pt x="87143" y="52492"/>
                      </a:cubicBezTo>
                      <a:cubicBezTo>
                        <a:pt x="85217" y="56023"/>
                        <a:pt x="81569" y="58023"/>
                        <a:pt x="77804" y="58023"/>
                      </a:cubicBezTo>
                      <a:close/>
                    </a:path>
                  </a:pathLst>
                </a:custGeom>
                <a:grpFill/>
                <a:ln w="1063" cap="flat">
                  <a:noFill/>
                  <a:prstDash val="solid"/>
                  <a:miter/>
                </a:ln>
              </p:spPr>
              <p:txBody>
                <a:bodyPr rtlCol="0" anchor="ctr"/>
                <a:lstStyle/>
                <a:p>
                  <a:endParaRPr lang="en-GB" dirty="0"/>
                </a:p>
              </p:txBody>
            </p:sp>
            <p:sp>
              <p:nvSpPr>
                <p:cNvPr id="222" name="Freeform: Shape 221">
                  <a:extLst>
                    <a:ext uri="{FF2B5EF4-FFF2-40B4-BE49-F238E27FC236}">
                      <a16:creationId xmlns:a16="http://schemas.microsoft.com/office/drawing/2014/main" id="{15AA5C7D-D9FD-4D13-A445-CF9EEA12870A}"/>
                    </a:ext>
                  </a:extLst>
                </p:cNvPr>
                <p:cNvSpPr/>
                <p:nvPr/>
              </p:nvSpPr>
              <p:spPr>
                <a:xfrm>
                  <a:off x="3795831" y="318914"/>
                  <a:ext cx="85652" cy="57115"/>
                </a:xfrm>
                <a:custGeom>
                  <a:avLst/>
                  <a:gdLst>
                    <a:gd name="connsiteX0" fmla="*/ 10653 w 85652"/>
                    <a:gd name="connsiteY0" fmla="*/ 57116 h 57115"/>
                    <a:gd name="connsiteX1" fmla="*/ 1346 w 85652"/>
                    <a:gd name="connsiteY1" fmla="*/ 51649 h 57115"/>
                    <a:gd name="connsiteX2" fmla="*/ 5462 w 85652"/>
                    <a:gd name="connsiteY2" fmla="*/ 37184 h 57115"/>
                    <a:gd name="connsiteX3" fmla="*/ 69841 w 85652"/>
                    <a:gd name="connsiteY3" fmla="*/ 1342 h 57115"/>
                    <a:gd name="connsiteX4" fmla="*/ 84306 w 85652"/>
                    <a:gd name="connsiteY4" fmla="*/ 5458 h 57115"/>
                    <a:gd name="connsiteX5" fmla="*/ 80190 w 85652"/>
                    <a:gd name="connsiteY5" fmla="*/ 19922 h 57115"/>
                    <a:gd name="connsiteX6" fmla="*/ 15811 w 85652"/>
                    <a:gd name="connsiteY6" fmla="*/ 55765 h 57115"/>
                    <a:gd name="connsiteX7" fmla="*/ 10653 w 85652"/>
                    <a:gd name="connsiteY7" fmla="*/ 57116 h 57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652" h="57115">
                      <a:moveTo>
                        <a:pt x="10653" y="57116"/>
                      </a:moveTo>
                      <a:cubicBezTo>
                        <a:pt x="6919" y="57116"/>
                        <a:pt x="3293" y="55148"/>
                        <a:pt x="1346" y="51649"/>
                      </a:cubicBezTo>
                      <a:cubicBezTo>
                        <a:pt x="-1515" y="46523"/>
                        <a:pt x="336" y="40045"/>
                        <a:pt x="5462" y="37184"/>
                      </a:cubicBezTo>
                      <a:lnTo>
                        <a:pt x="69841" y="1342"/>
                      </a:lnTo>
                      <a:cubicBezTo>
                        <a:pt x="74978" y="-1509"/>
                        <a:pt x="81455" y="331"/>
                        <a:pt x="84306" y="5458"/>
                      </a:cubicBezTo>
                      <a:cubicBezTo>
                        <a:pt x="87167" y="10584"/>
                        <a:pt x="85316" y="17061"/>
                        <a:pt x="80190" y="19922"/>
                      </a:cubicBezTo>
                      <a:lnTo>
                        <a:pt x="15811" y="55765"/>
                      </a:lnTo>
                      <a:cubicBezTo>
                        <a:pt x="14173" y="56691"/>
                        <a:pt x="12397" y="57116"/>
                        <a:pt x="10653" y="57116"/>
                      </a:cubicBezTo>
                      <a:close/>
                    </a:path>
                  </a:pathLst>
                </a:custGeom>
                <a:grpFill/>
                <a:ln w="1063" cap="flat">
                  <a:noFill/>
                  <a:prstDash val="solid"/>
                  <a:miter/>
                </a:ln>
              </p:spPr>
              <p:txBody>
                <a:bodyPr rtlCol="0" anchor="ctr"/>
                <a:lstStyle/>
                <a:p>
                  <a:endParaRPr lang="en-GB" dirty="0"/>
                </a:p>
              </p:txBody>
            </p:sp>
            <p:sp>
              <p:nvSpPr>
                <p:cNvPr id="223" name="Freeform: Shape 222">
                  <a:extLst>
                    <a:ext uri="{FF2B5EF4-FFF2-40B4-BE49-F238E27FC236}">
                      <a16:creationId xmlns:a16="http://schemas.microsoft.com/office/drawing/2014/main" id="{8AF7999F-B2FB-47DE-8CA6-CEEBBFD022F7}"/>
                    </a:ext>
                  </a:extLst>
                </p:cNvPr>
                <p:cNvSpPr/>
                <p:nvPr/>
              </p:nvSpPr>
              <p:spPr>
                <a:xfrm>
                  <a:off x="3588353" y="259919"/>
                  <a:ext cx="300054" cy="213472"/>
                </a:xfrm>
                <a:custGeom>
                  <a:avLst/>
                  <a:gdLst>
                    <a:gd name="connsiteX0" fmla="*/ 149423 w 300054"/>
                    <a:gd name="connsiteY0" fmla="*/ 213472 h 213472"/>
                    <a:gd name="connsiteX1" fmla="*/ 0 w 300054"/>
                    <a:gd name="connsiteY1" fmla="*/ 10636 h 213472"/>
                    <a:gd name="connsiteX2" fmla="*/ 10636 w 300054"/>
                    <a:gd name="connsiteY2" fmla="*/ 0 h 213472"/>
                    <a:gd name="connsiteX3" fmla="*/ 21272 w 300054"/>
                    <a:gd name="connsiteY3" fmla="*/ 10636 h 213472"/>
                    <a:gd name="connsiteX4" fmla="*/ 149423 w 300054"/>
                    <a:gd name="connsiteY4" fmla="*/ 192201 h 213472"/>
                    <a:gd name="connsiteX5" fmla="*/ 278787 w 300054"/>
                    <a:gd name="connsiteY5" fmla="*/ 21559 h 213472"/>
                    <a:gd name="connsiteX6" fmla="*/ 289784 w 300054"/>
                    <a:gd name="connsiteY6" fmla="*/ 11295 h 213472"/>
                    <a:gd name="connsiteX7" fmla="*/ 300048 w 300054"/>
                    <a:gd name="connsiteY7" fmla="*/ 22293 h 213472"/>
                    <a:gd name="connsiteX8" fmla="*/ 149423 w 300054"/>
                    <a:gd name="connsiteY8" fmla="*/ 213472 h 213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0054" h="213472">
                      <a:moveTo>
                        <a:pt x="149423" y="213472"/>
                      </a:moveTo>
                      <a:cubicBezTo>
                        <a:pt x="60050" y="213472"/>
                        <a:pt x="0" y="131959"/>
                        <a:pt x="0" y="10636"/>
                      </a:cubicBezTo>
                      <a:cubicBezTo>
                        <a:pt x="0" y="4765"/>
                        <a:pt x="4765" y="0"/>
                        <a:pt x="10636" y="0"/>
                      </a:cubicBezTo>
                      <a:cubicBezTo>
                        <a:pt x="16507" y="0"/>
                        <a:pt x="21272" y="4765"/>
                        <a:pt x="21272" y="10636"/>
                      </a:cubicBezTo>
                      <a:cubicBezTo>
                        <a:pt x="21272" y="94393"/>
                        <a:pt x="54838" y="192201"/>
                        <a:pt x="149423" y="192201"/>
                      </a:cubicBezTo>
                      <a:cubicBezTo>
                        <a:pt x="224417" y="192201"/>
                        <a:pt x="275192" y="125216"/>
                        <a:pt x="278787" y="21559"/>
                      </a:cubicBezTo>
                      <a:cubicBezTo>
                        <a:pt x="279000" y="15688"/>
                        <a:pt x="283924" y="11189"/>
                        <a:pt x="289784" y="11295"/>
                      </a:cubicBezTo>
                      <a:cubicBezTo>
                        <a:pt x="295656" y="11497"/>
                        <a:pt x="300250" y="16422"/>
                        <a:pt x="300048" y="22293"/>
                      </a:cubicBezTo>
                      <a:cubicBezTo>
                        <a:pt x="296017" y="138426"/>
                        <a:pt x="236903" y="213472"/>
                        <a:pt x="149423" y="213472"/>
                      </a:cubicBezTo>
                      <a:close/>
                    </a:path>
                  </a:pathLst>
                </a:custGeom>
                <a:grpFill/>
                <a:ln w="1063" cap="flat">
                  <a:noFill/>
                  <a:prstDash val="solid"/>
                  <a:miter/>
                </a:ln>
              </p:spPr>
              <p:txBody>
                <a:bodyPr rtlCol="0" anchor="ctr"/>
                <a:lstStyle/>
                <a:p>
                  <a:endParaRPr lang="en-GB" dirty="0"/>
                </a:p>
              </p:txBody>
            </p:sp>
            <p:sp>
              <p:nvSpPr>
                <p:cNvPr id="224" name="Freeform: Shape 223">
                  <a:extLst>
                    <a:ext uri="{FF2B5EF4-FFF2-40B4-BE49-F238E27FC236}">
                      <a16:creationId xmlns:a16="http://schemas.microsoft.com/office/drawing/2014/main" id="{40BC3ED5-DA6F-4BF9-BB1E-3C9D37C285B3}"/>
                    </a:ext>
                  </a:extLst>
                </p:cNvPr>
                <p:cNvSpPr/>
                <p:nvPr/>
              </p:nvSpPr>
              <p:spPr>
                <a:xfrm>
                  <a:off x="3761704" y="133058"/>
                  <a:ext cx="126749" cy="157513"/>
                </a:xfrm>
                <a:custGeom>
                  <a:avLst/>
                  <a:gdLst>
                    <a:gd name="connsiteX0" fmla="*/ 116093 w 126749"/>
                    <a:gd name="connsiteY0" fmla="*/ 157513 h 157513"/>
                    <a:gd name="connsiteX1" fmla="*/ 110573 w 126749"/>
                    <a:gd name="connsiteY1" fmla="*/ 155960 h 157513"/>
                    <a:gd name="connsiteX2" fmla="*/ 885 w 126749"/>
                    <a:gd name="connsiteY2" fmla="*/ 14887 h 157513"/>
                    <a:gd name="connsiteX3" fmla="*/ 6395 w 126749"/>
                    <a:gd name="connsiteY3" fmla="*/ 890 h 157513"/>
                    <a:gd name="connsiteX4" fmla="*/ 20391 w 126749"/>
                    <a:gd name="connsiteY4" fmla="*/ 6399 h 157513"/>
                    <a:gd name="connsiteX5" fmla="*/ 121645 w 126749"/>
                    <a:gd name="connsiteY5" fmla="*/ 137794 h 157513"/>
                    <a:gd name="connsiteX6" fmla="*/ 125197 w 126749"/>
                    <a:gd name="connsiteY6" fmla="*/ 152408 h 157513"/>
                    <a:gd name="connsiteX7" fmla="*/ 116093 w 126749"/>
                    <a:gd name="connsiteY7" fmla="*/ 157513 h 157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749" h="157513">
                      <a:moveTo>
                        <a:pt x="116093" y="157513"/>
                      </a:moveTo>
                      <a:cubicBezTo>
                        <a:pt x="114210" y="157513"/>
                        <a:pt x="112296" y="157013"/>
                        <a:pt x="110573" y="155960"/>
                      </a:cubicBezTo>
                      <a:cubicBezTo>
                        <a:pt x="66381" y="129041"/>
                        <a:pt x="30506" y="82903"/>
                        <a:pt x="885" y="14887"/>
                      </a:cubicBezTo>
                      <a:cubicBezTo>
                        <a:pt x="-1455" y="9505"/>
                        <a:pt x="1002" y="3230"/>
                        <a:pt x="6395" y="890"/>
                      </a:cubicBezTo>
                      <a:cubicBezTo>
                        <a:pt x="11766" y="-1461"/>
                        <a:pt x="18051" y="1007"/>
                        <a:pt x="20391" y="6399"/>
                      </a:cubicBezTo>
                      <a:cubicBezTo>
                        <a:pt x="48204" y="70257"/>
                        <a:pt x="81324" y="113236"/>
                        <a:pt x="121645" y="137794"/>
                      </a:cubicBezTo>
                      <a:cubicBezTo>
                        <a:pt x="126665" y="140847"/>
                        <a:pt x="128250" y="147399"/>
                        <a:pt x="125197" y="152408"/>
                      </a:cubicBezTo>
                      <a:cubicBezTo>
                        <a:pt x="123176" y="155695"/>
                        <a:pt x="119677" y="157513"/>
                        <a:pt x="116093" y="157513"/>
                      </a:cubicBezTo>
                      <a:close/>
                    </a:path>
                  </a:pathLst>
                </a:custGeom>
                <a:grpFill/>
                <a:ln w="1063" cap="flat">
                  <a:noFill/>
                  <a:prstDash val="solid"/>
                  <a:miter/>
                </a:ln>
              </p:spPr>
              <p:txBody>
                <a:bodyPr rtlCol="0" anchor="ctr"/>
                <a:lstStyle/>
                <a:p>
                  <a:endParaRPr lang="en-GB" dirty="0"/>
                </a:p>
              </p:txBody>
            </p:sp>
            <p:sp>
              <p:nvSpPr>
                <p:cNvPr id="225" name="Freeform: Shape 224">
                  <a:extLst>
                    <a:ext uri="{FF2B5EF4-FFF2-40B4-BE49-F238E27FC236}">
                      <a16:creationId xmlns:a16="http://schemas.microsoft.com/office/drawing/2014/main" id="{15EE56BD-B9EE-4944-9160-0041BA47B8CF}"/>
                    </a:ext>
                  </a:extLst>
                </p:cNvPr>
                <p:cNvSpPr/>
                <p:nvPr/>
              </p:nvSpPr>
              <p:spPr>
                <a:xfrm>
                  <a:off x="3581028" y="76306"/>
                  <a:ext cx="214073" cy="205990"/>
                </a:xfrm>
                <a:custGeom>
                  <a:avLst/>
                  <a:gdLst>
                    <a:gd name="connsiteX0" fmla="*/ 10621 w 214073"/>
                    <a:gd name="connsiteY0" fmla="*/ 205990 h 205990"/>
                    <a:gd name="connsiteX1" fmla="*/ 135 w 214073"/>
                    <a:gd name="connsiteY1" fmla="*/ 197035 h 205990"/>
                    <a:gd name="connsiteX2" fmla="*/ 8962 w 214073"/>
                    <a:gd name="connsiteY2" fmla="*/ 184857 h 205990"/>
                    <a:gd name="connsiteX3" fmla="*/ 192877 w 214073"/>
                    <a:gd name="connsiteY3" fmla="*/ 9323 h 205990"/>
                    <a:gd name="connsiteX4" fmla="*/ 204758 w 214073"/>
                    <a:gd name="connsiteY4" fmla="*/ 91 h 205990"/>
                    <a:gd name="connsiteX5" fmla="*/ 213990 w 214073"/>
                    <a:gd name="connsiteY5" fmla="*/ 11971 h 205990"/>
                    <a:gd name="connsiteX6" fmla="*/ 12323 w 214073"/>
                    <a:gd name="connsiteY6" fmla="*/ 205852 h 205990"/>
                    <a:gd name="connsiteX7" fmla="*/ 10621 w 214073"/>
                    <a:gd name="connsiteY7" fmla="*/ 205990 h 205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073" h="205990">
                      <a:moveTo>
                        <a:pt x="10621" y="205990"/>
                      </a:moveTo>
                      <a:cubicBezTo>
                        <a:pt x="5495" y="205990"/>
                        <a:pt x="975" y="202268"/>
                        <a:pt x="135" y="197035"/>
                      </a:cubicBezTo>
                      <a:cubicBezTo>
                        <a:pt x="-791" y="191239"/>
                        <a:pt x="3155" y="185782"/>
                        <a:pt x="8962" y="184857"/>
                      </a:cubicBezTo>
                      <a:cubicBezTo>
                        <a:pt x="157013" y="161192"/>
                        <a:pt x="184837" y="73351"/>
                        <a:pt x="192877" y="9323"/>
                      </a:cubicBezTo>
                      <a:cubicBezTo>
                        <a:pt x="193601" y="3484"/>
                        <a:pt x="199025" y="-675"/>
                        <a:pt x="204758" y="91"/>
                      </a:cubicBezTo>
                      <a:cubicBezTo>
                        <a:pt x="210586" y="825"/>
                        <a:pt x="214724" y="6143"/>
                        <a:pt x="213990" y="11971"/>
                      </a:cubicBezTo>
                      <a:cubicBezTo>
                        <a:pt x="208863" y="52770"/>
                        <a:pt x="193250" y="176944"/>
                        <a:pt x="12323" y="205852"/>
                      </a:cubicBezTo>
                      <a:cubicBezTo>
                        <a:pt x="11749" y="205948"/>
                        <a:pt x="11185" y="205990"/>
                        <a:pt x="10621" y="205990"/>
                      </a:cubicBezTo>
                      <a:close/>
                    </a:path>
                  </a:pathLst>
                </a:custGeom>
                <a:grpFill/>
                <a:ln w="1063" cap="flat">
                  <a:noFill/>
                  <a:prstDash val="solid"/>
                  <a:miter/>
                </a:ln>
              </p:spPr>
              <p:txBody>
                <a:bodyPr rtlCol="0" anchor="ctr"/>
                <a:lstStyle/>
                <a:p>
                  <a:endParaRPr lang="en-GB" dirty="0"/>
                </a:p>
              </p:txBody>
            </p:sp>
            <p:sp>
              <p:nvSpPr>
                <p:cNvPr id="226" name="Freeform: Shape 225">
                  <a:extLst>
                    <a:ext uri="{FF2B5EF4-FFF2-40B4-BE49-F238E27FC236}">
                      <a16:creationId xmlns:a16="http://schemas.microsoft.com/office/drawing/2014/main" id="{DC5E2024-090B-42E6-A230-BB7CE11942C4}"/>
                    </a:ext>
                  </a:extLst>
                </p:cNvPr>
                <p:cNvSpPr/>
                <p:nvPr/>
              </p:nvSpPr>
              <p:spPr>
                <a:xfrm>
                  <a:off x="3490691" y="69164"/>
                  <a:ext cx="439460" cy="379211"/>
                </a:xfrm>
                <a:custGeom>
                  <a:avLst/>
                  <a:gdLst>
                    <a:gd name="connsiteX0" fmla="*/ 11841 w 439460"/>
                    <a:gd name="connsiteY0" fmla="*/ 379211 h 379211"/>
                    <a:gd name="connsiteX1" fmla="*/ 10363 w 439460"/>
                    <a:gd name="connsiteY1" fmla="*/ 379190 h 379211"/>
                    <a:gd name="connsiteX2" fmla="*/ 3 w 439460"/>
                    <a:gd name="connsiteY2" fmla="*/ 368288 h 379211"/>
                    <a:gd name="connsiteX3" fmla="*/ 10905 w 439460"/>
                    <a:gd name="connsiteY3" fmla="*/ 357929 h 379211"/>
                    <a:gd name="connsiteX4" fmla="*/ 31188 w 439460"/>
                    <a:gd name="connsiteY4" fmla="*/ 350143 h 379211"/>
                    <a:gd name="connsiteX5" fmla="*/ 57522 w 439460"/>
                    <a:gd name="connsiteY5" fmla="*/ 205283 h 379211"/>
                    <a:gd name="connsiteX6" fmla="*/ 57873 w 439460"/>
                    <a:gd name="connsiteY6" fmla="*/ 181065 h 379211"/>
                    <a:gd name="connsiteX7" fmla="*/ 255860 w 439460"/>
                    <a:gd name="connsiteY7" fmla="*/ 22 h 379211"/>
                    <a:gd name="connsiteX8" fmla="*/ 437488 w 439460"/>
                    <a:gd name="connsiteY8" fmla="*/ 181161 h 379211"/>
                    <a:gd name="connsiteX9" fmla="*/ 437403 w 439460"/>
                    <a:gd name="connsiteY9" fmla="*/ 209388 h 379211"/>
                    <a:gd name="connsiteX10" fmla="*/ 439392 w 439460"/>
                    <a:gd name="connsiteY10" fmla="*/ 280298 h 379211"/>
                    <a:gd name="connsiteX11" fmla="*/ 430011 w 439460"/>
                    <a:gd name="connsiteY11" fmla="*/ 292050 h 379211"/>
                    <a:gd name="connsiteX12" fmla="*/ 418259 w 439460"/>
                    <a:gd name="connsiteY12" fmla="*/ 282669 h 379211"/>
                    <a:gd name="connsiteX13" fmla="*/ 416142 w 439460"/>
                    <a:gd name="connsiteY13" fmla="*/ 209101 h 379211"/>
                    <a:gd name="connsiteX14" fmla="*/ 416238 w 439460"/>
                    <a:gd name="connsiteY14" fmla="*/ 181650 h 379211"/>
                    <a:gd name="connsiteX15" fmla="*/ 255530 w 439460"/>
                    <a:gd name="connsiteY15" fmla="*/ 21304 h 379211"/>
                    <a:gd name="connsiteX16" fmla="*/ 79145 w 439460"/>
                    <a:gd name="connsiteY16" fmla="*/ 181735 h 379211"/>
                    <a:gd name="connsiteX17" fmla="*/ 78794 w 439460"/>
                    <a:gd name="connsiteY17" fmla="*/ 205474 h 379211"/>
                    <a:gd name="connsiteX18" fmla="*/ 45972 w 439460"/>
                    <a:gd name="connsiteY18" fmla="*/ 365459 h 379211"/>
                    <a:gd name="connsiteX19" fmla="*/ 11841 w 439460"/>
                    <a:gd name="connsiteY19" fmla="*/ 379211 h 379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39460" h="379211">
                      <a:moveTo>
                        <a:pt x="11841" y="379211"/>
                      </a:moveTo>
                      <a:cubicBezTo>
                        <a:pt x="11352" y="379211"/>
                        <a:pt x="10863" y="379211"/>
                        <a:pt x="10363" y="379190"/>
                      </a:cubicBezTo>
                      <a:cubicBezTo>
                        <a:pt x="4492" y="379041"/>
                        <a:pt x="-145" y="374159"/>
                        <a:pt x="3" y="368288"/>
                      </a:cubicBezTo>
                      <a:cubicBezTo>
                        <a:pt x="152" y="362417"/>
                        <a:pt x="5087" y="357525"/>
                        <a:pt x="10905" y="357929"/>
                      </a:cubicBezTo>
                      <a:cubicBezTo>
                        <a:pt x="18978" y="358142"/>
                        <a:pt x="25551" y="355589"/>
                        <a:pt x="31188" y="350143"/>
                      </a:cubicBezTo>
                      <a:cubicBezTo>
                        <a:pt x="56554" y="325617"/>
                        <a:pt x="57161" y="250294"/>
                        <a:pt x="57522" y="205283"/>
                      </a:cubicBezTo>
                      <a:cubicBezTo>
                        <a:pt x="57586" y="196296"/>
                        <a:pt x="57661" y="188085"/>
                        <a:pt x="57873" y="181065"/>
                      </a:cubicBezTo>
                      <a:cubicBezTo>
                        <a:pt x="61777" y="54041"/>
                        <a:pt x="176186" y="-1255"/>
                        <a:pt x="255860" y="22"/>
                      </a:cubicBezTo>
                      <a:cubicBezTo>
                        <a:pt x="337809" y="1351"/>
                        <a:pt x="434542" y="49585"/>
                        <a:pt x="437488" y="181161"/>
                      </a:cubicBezTo>
                      <a:cubicBezTo>
                        <a:pt x="437680" y="189478"/>
                        <a:pt x="437541" y="199050"/>
                        <a:pt x="437403" y="209388"/>
                      </a:cubicBezTo>
                      <a:cubicBezTo>
                        <a:pt x="437095" y="231532"/>
                        <a:pt x="436733" y="256633"/>
                        <a:pt x="439392" y="280298"/>
                      </a:cubicBezTo>
                      <a:cubicBezTo>
                        <a:pt x="440051" y="286137"/>
                        <a:pt x="435850" y="291391"/>
                        <a:pt x="430011" y="292050"/>
                      </a:cubicBezTo>
                      <a:cubicBezTo>
                        <a:pt x="424300" y="292731"/>
                        <a:pt x="418918" y="288509"/>
                        <a:pt x="418259" y="282669"/>
                      </a:cubicBezTo>
                      <a:cubicBezTo>
                        <a:pt x="415451" y="257686"/>
                        <a:pt x="415823" y="231873"/>
                        <a:pt x="416142" y="209101"/>
                      </a:cubicBezTo>
                      <a:cubicBezTo>
                        <a:pt x="416280" y="199040"/>
                        <a:pt x="416419" y="189733"/>
                        <a:pt x="416238" y="181650"/>
                      </a:cubicBezTo>
                      <a:cubicBezTo>
                        <a:pt x="413621" y="65177"/>
                        <a:pt x="328035" y="22484"/>
                        <a:pt x="255530" y="21304"/>
                      </a:cubicBezTo>
                      <a:cubicBezTo>
                        <a:pt x="200117" y="20623"/>
                        <a:pt x="82931" y="58412"/>
                        <a:pt x="79145" y="181735"/>
                      </a:cubicBezTo>
                      <a:cubicBezTo>
                        <a:pt x="78932" y="188617"/>
                        <a:pt x="78868" y="196668"/>
                        <a:pt x="78794" y="205474"/>
                      </a:cubicBezTo>
                      <a:cubicBezTo>
                        <a:pt x="78358" y="260015"/>
                        <a:pt x="77762" y="334721"/>
                        <a:pt x="45972" y="365459"/>
                      </a:cubicBezTo>
                      <a:cubicBezTo>
                        <a:pt x="36516" y="374585"/>
                        <a:pt x="25040" y="379211"/>
                        <a:pt x="11841" y="379211"/>
                      </a:cubicBezTo>
                      <a:close/>
                    </a:path>
                  </a:pathLst>
                </a:custGeom>
                <a:grpFill/>
                <a:ln w="1063" cap="flat">
                  <a:noFill/>
                  <a:prstDash val="solid"/>
                  <a:miter/>
                </a:ln>
              </p:spPr>
              <p:txBody>
                <a:bodyPr rtlCol="0" anchor="ctr"/>
                <a:lstStyle/>
                <a:p>
                  <a:endParaRPr lang="en-GB" dirty="0"/>
                </a:p>
              </p:txBody>
            </p:sp>
          </p:grpSp>
          <p:sp>
            <p:nvSpPr>
              <p:cNvPr id="216" name="Freeform: Shape 215">
                <a:extLst>
                  <a:ext uri="{FF2B5EF4-FFF2-40B4-BE49-F238E27FC236}">
                    <a16:creationId xmlns:a16="http://schemas.microsoft.com/office/drawing/2014/main" id="{B6A81EFD-3AAF-48E8-A6BD-66CE07431778}"/>
                  </a:ext>
                </a:extLst>
              </p:cNvPr>
              <p:cNvSpPr/>
              <p:nvPr/>
            </p:nvSpPr>
            <p:spPr>
              <a:xfrm>
                <a:off x="3781390" y="441731"/>
                <a:ext cx="97781" cy="55229"/>
              </a:xfrm>
              <a:custGeom>
                <a:avLst/>
                <a:gdLst>
                  <a:gd name="connsiteX0" fmla="*/ 87132 w 97781"/>
                  <a:gd name="connsiteY0" fmla="*/ 55229 h 55229"/>
                  <a:gd name="connsiteX1" fmla="*/ 82825 w 97781"/>
                  <a:gd name="connsiteY1" fmla="*/ 54314 h 55229"/>
                  <a:gd name="connsiteX2" fmla="*/ 6321 w 97781"/>
                  <a:gd name="connsiteY2" fmla="*/ 20354 h 55229"/>
                  <a:gd name="connsiteX3" fmla="*/ 918 w 97781"/>
                  <a:gd name="connsiteY3" fmla="*/ 6315 h 55229"/>
                  <a:gd name="connsiteX4" fmla="*/ 14957 w 97781"/>
                  <a:gd name="connsiteY4" fmla="*/ 912 h 55229"/>
                  <a:gd name="connsiteX5" fmla="*/ 91461 w 97781"/>
                  <a:gd name="connsiteY5" fmla="*/ 34872 h 55229"/>
                  <a:gd name="connsiteX6" fmla="*/ 96864 w 97781"/>
                  <a:gd name="connsiteY6" fmla="*/ 48911 h 55229"/>
                  <a:gd name="connsiteX7" fmla="*/ 87132 w 97781"/>
                  <a:gd name="connsiteY7" fmla="*/ 55229 h 5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7781" h="55229">
                    <a:moveTo>
                      <a:pt x="87132" y="55229"/>
                    </a:moveTo>
                    <a:cubicBezTo>
                      <a:pt x="85686" y="55229"/>
                      <a:pt x="84228" y="54931"/>
                      <a:pt x="82825" y="54314"/>
                    </a:cubicBezTo>
                    <a:lnTo>
                      <a:pt x="6321" y="20354"/>
                    </a:lnTo>
                    <a:cubicBezTo>
                      <a:pt x="950" y="17972"/>
                      <a:pt x="-1465" y="11686"/>
                      <a:pt x="918" y="6315"/>
                    </a:cubicBezTo>
                    <a:cubicBezTo>
                      <a:pt x="3311" y="954"/>
                      <a:pt x="9607" y="-1460"/>
                      <a:pt x="14957" y="912"/>
                    </a:cubicBezTo>
                    <a:lnTo>
                      <a:pt x="91461" y="34872"/>
                    </a:lnTo>
                    <a:cubicBezTo>
                      <a:pt x="96832" y="37254"/>
                      <a:pt x="99246" y="43540"/>
                      <a:pt x="96864" y="48911"/>
                    </a:cubicBezTo>
                    <a:cubicBezTo>
                      <a:pt x="95098" y="52879"/>
                      <a:pt x="91206" y="55229"/>
                      <a:pt x="87132" y="55229"/>
                    </a:cubicBezTo>
                    <a:close/>
                  </a:path>
                </a:pathLst>
              </a:custGeom>
              <a:grpFill/>
              <a:ln w="1063" cap="flat">
                <a:noFill/>
                <a:prstDash val="solid"/>
                <a:miter/>
              </a:ln>
            </p:spPr>
            <p:txBody>
              <a:bodyPr rtlCol="0" anchor="ctr"/>
              <a:lstStyle/>
              <a:p>
                <a:endParaRPr lang="en-GB" dirty="0"/>
              </a:p>
            </p:txBody>
          </p:sp>
          <p:sp>
            <p:nvSpPr>
              <p:cNvPr id="217" name="Freeform: Shape 216">
                <a:extLst>
                  <a:ext uri="{FF2B5EF4-FFF2-40B4-BE49-F238E27FC236}">
                    <a16:creationId xmlns:a16="http://schemas.microsoft.com/office/drawing/2014/main" id="{DB525359-7446-4145-9744-188B6F936012}"/>
                  </a:ext>
                </a:extLst>
              </p:cNvPr>
              <p:cNvSpPr/>
              <p:nvPr/>
            </p:nvSpPr>
            <p:spPr>
              <a:xfrm>
                <a:off x="3491343" y="439495"/>
                <a:ext cx="424398" cy="232084"/>
              </a:xfrm>
              <a:custGeom>
                <a:avLst/>
                <a:gdLst>
                  <a:gd name="connsiteX0" fmla="*/ 242508 w 424398"/>
                  <a:gd name="connsiteY0" fmla="*/ 232084 h 232084"/>
                  <a:gd name="connsiteX1" fmla="*/ 8381 w 424398"/>
                  <a:gd name="connsiteY1" fmla="*/ 211270 h 232084"/>
                  <a:gd name="connsiteX2" fmla="*/ 0 w 424398"/>
                  <a:gd name="connsiteY2" fmla="*/ 200868 h 232084"/>
                  <a:gd name="connsiteX3" fmla="*/ 0 w 424398"/>
                  <a:gd name="connsiteY3" fmla="*/ 139701 h 232084"/>
                  <a:gd name="connsiteX4" fmla="*/ 45319 w 424398"/>
                  <a:gd name="connsiteY4" fmla="*/ 69069 h 232084"/>
                  <a:gd name="connsiteX5" fmla="*/ 183500 w 424398"/>
                  <a:gd name="connsiteY5" fmla="*/ 1106 h 232084"/>
                  <a:gd name="connsiteX6" fmla="*/ 197742 w 424398"/>
                  <a:gd name="connsiteY6" fmla="*/ 5955 h 232084"/>
                  <a:gd name="connsiteX7" fmla="*/ 192892 w 424398"/>
                  <a:gd name="connsiteY7" fmla="*/ 20197 h 232084"/>
                  <a:gd name="connsiteX8" fmla="*/ 54445 w 424398"/>
                  <a:gd name="connsiteY8" fmla="*/ 88288 h 232084"/>
                  <a:gd name="connsiteX9" fmla="*/ 21272 w 424398"/>
                  <a:gd name="connsiteY9" fmla="*/ 139701 h 232084"/>
                  <a:gd name="connsiteX10" fmla="*/ 21272 w 424398"/>
                  <a:gd name="connsiteY10" fmla="*/ 192115 h 232084"/>
                  <a:gd name="connsiteX11" fmla="*/ 246741 w 424398"/>
                  <a:gd name="connsiteY11" fmla="*/ 210791 h 232084"/>
                  <a:gd name="connsiteX12" fmla="*/ 412544 w 424398"/>
                  <a:gd name="connsiteY12" fmla="*/ 200921 h 232084"/>
                  <a:gd name="connsiteX13" fmla="*/ 424328 w 424398"/>
                  <a:gd name="connsiteY13" fmla="*/ 210270 h 232084"/>
                  <a:gd name="connsiteX14" fmla="*/ 414979 w 424398"/>
                  <a:gd name="connsiteY14" fmla="*/ 222055 h 232084"/>
                  <a:gd name="connsiteX15" fmla="*/ 246794 w 424398"/>
                  <a:gd name="connsiteY15" fmla="*/ 232053 h 232084"/>
                  <a:gd name="connsiteX16" fmla="*/ 242508 w 424398"/>
                  <a:gd name="connsiteY16" fmla="*/ 232084 h 232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98" h="232084">
                    <a:moveTo>
                      <a:pt x="242508" y="232084"/>
                    </a:moveTo>
                    <a:cubicBezTo>
                      <a:pt x="106040" y="232084"/>
                      <a:pt x="9360" y="211483"/>
                      <a:pt x="8381" y="211270"/>
                    </a:cubicBezTo>
                    <a:cubicBezTo>
                      <a:pt x="3489" y="210206"/>
                      <a:pt x="0" y="205878"/>
                      <a:pt x="0" y="200868"/>
                    </a:cubicBezTo>
                    <a:lnTo>
                      <a:pt x="0" y="139701"/>
                    </a:lnTo>
                    <a:cubicBezTo>
                      <a:pt x="0" y="109421"/>
                      <a:pt x="17783" y="81693"/>
                      <a:pt x="45319" y="69069"/>
                    </a:cubicBezTo>
                    <a:lnTo>
                      <a:pt x="183500" y="1106"/>
                    </a:lnTo>
                    <a:cubicBezTo>
                      <a:pt x="188786" y="-1511"/>
                      <a:pt x="195147" y="680"/>
                      <a:pt x="197742" y="5955"/>
                    </a:cubicBezTo>
                    <a:cubicBezTo>
                      <a:pt x="200337" y="11231"/>
                      <a:pt x="198167" y="17602"/>
                      <a:pt x="192892" y="20197"/>
                    </a:cubicBezTo>
                    <a:lnTo>
                      <a:pt x="54445" y="88288"/>
                    </a:lnTo>
                    <a:cubicBezTo>
                      <a:pt x="34194" y="97583"/>
                      <a:pt x="21272" y="117706"/>
                      <a:pt x="21272" y="139701"/>
                    </a:cubicBezTo>
                    <a:lnTo>
                      <a:pt x="21272" y="192115"/>
                    </a:lnTo>
                    <a:cubicBezTo>
                      <a:pt x="47574" y="197007"/>
                      <a:pt x="133193" y="211281"/>
                      <a:pt x="246741" y="210791"/>
                    </a:cubicBezTo>
                    <a:cubicBezTo>
                      <a:pt x="301484" y="210621"/>
                      <a:pt x="357269" y="207303"/>
                      <a:pt x="412544" y="200921"/>
                    </a:cubicBezTo>
                    <a:cubicBezTo>
                      <a:pt x="418340" y="200230"/>
                      <a:pt x="423658" y="204431"/>
                      <a:pt x="424328" y="210270"/>
                    </a:cubicBezTo>
                    <a:cubicBezTo>
                      <a:pt x="424998" y="216109"/>
                      <a:pt x="420808" y="221385"/>
                      <a:pt x="414979" y="222055"/>
                    </a:cubicBezTo>
                    <a:cubicBezTo>
                      <a:pt x="358918" y="228511"/>
                      <a:pt x="302335" y="231882"/>
                      <a:pt x="246794" y="232053"/>
                    </a:cubicBezTo>
                    <a:cubicBezTo>
                      <a:pt x="245369" y="232084"/>
                      <a:pt x="243923" y="232084"/>
                      <a:pt x="242508" y="232084"/>
                    </a:cubicBezTo>
                    <a:close/>
                  </a:path>
                </a:pathLst>
              </a:custGeom>
              <a:grpFill/>
              <a:ln w="1063" cap="flat">
                <a:noFill/>
                <a:prstDash val="solid"/>
                <a:miter/>
              </a:ln>
            </p:spPr>
            <p:txBody>
              <a:bodyPr rtlCol="0" anchor="ctr"/>
              <a:lstStyle/>
              <a:p>
                <a:endParaRPr lang="en-GB" dirty="0"/>
              </a:p>
            </p:txBody>
          </p:sp>
          <p:sp>
            <p:nvSpPr>
              <p:cNvPr id="218" name="Freeform: Shape 217">
                <a:extLst>
                  <a:ext uri="{FF2B5EF4-FFF2-40B4-BE49-F238E27FC236}">
                    <a16:creationId xmlns:a16="http://schemas.microsoft.com/office/drawing/2014/main" id="{91DD6940-5CD6-4842-A6A7-7BC01BCA6BCF}"/>
                  </a:ext>
                </a:extLst>
              </p:cNvPr>
              <p:cNvSpPr/>
              <p:nvPr/>
            </p:nvSpPr>
            <p:spPr>
              <a:xfrm>
                <a:off x="3781595" y="270937"/>
                <a:ext cx="36874" cy="23335"/>
              </a:xfrm>
              <a:custGeom>
                <a:avLst/>
                <a:gdLst>
                  <a:gd name="connsiteX0" fmla="*/ 33184 w 36874"/>
                  <a:gd name="connsiteY0" fmla="*/ 0 h 23335"/>
                  <a:gd name="connsiteX1" fmla="*/ 3691 w 36874"/>
                  <a:gd name="connsiteY1" fmla="*/ 0 h 23335"/>
                  <a:gd name="connsiteX2" fmla="*/ 0 w 36874"/>
                  <a:gd name="connsiteY2" fmla="*/ 3691 h 23335"/>
                  <a:gd name="connsiteX3" fmla="*/ 0 w 36874"/>
                  <a:gd name="connsiteY3" fmla="*/ 19644 h 23335"/>
                  <a:gd name="connsiteX4" fmla="*/ 3691 w 36874"/>
                  <a:gd name="connsiteY4" fmla="*/ 23335 h 23335"/>
                  <a:gd name="connsiteX5" fmla="*/ 33184 w 36874"/>
                  <a:gd name="connsiteY5" fmla="*/ 23335 h 23335"/>
                  <a:gd name="connsiteX6" fmla="*/ 36875 w 36874"/>
                  <a:gd name="connsiteY6" fmla="*/ 19644 h 23335"/>
                  <a:gd name="connsiteX7" fmla="*/ 36875 w 36874"/>
                  <a:gd name="connsiteY7" fmla="*/ 3691 h 23335"/>
                  <a:gd name="connsiteX8" fmla="*/ 33184 w 36874"/>
                  <a:gd name="connsiteY8" fmla="*/ 0 h 2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74" h="23335">
                    <a:moveTo>
                      <a:pt x="33184" y="0"/>
                    </a:moveTo>
                    <a:lnTo>
                      <a:pt x="3691" y="0"/>
                    </a:lnTo>
                    <a:cubicBezTo>
                      <a:pt x="1659" y="0"/>
                      <a:pt x="0" y="1659"/>
                      <a:pt x="0" y="3691"/>
                    </a:cubicBezTo>
                    <a:lnTo>
                      <a:pt x="0" y="19644"/>
                    </a:lnTo>
                    <a:cubicBezTo>
                      <a:pt x="0" y="21676"/>
                      <a:pt x="1659" y="23335"/>
                      <a:pt x="3691" y="23335"/>
                    </a:cubicBezTo>
                    <a:lnTo>
                      <a:pt x="33184" y="23335"/>
                    </a:lnTo>
                    <a:cubicBezTo>
                      <a:pt x="35215" y="23335"/>
                      <a:pt x="36875" y="21676"/>
                      <a:pt x="36875" y="19644"/>
                    </a:cubicBezTo>
                    <a:lnTo>
                      <a:pt x="36875" y="3691"/>
                    </a:lnTo>
                    <a:cubicBezTo>
                      <a:pt x="36875" y="1659"/>
                      <a:pt x="35215" y="0"/>
                      <a:pt x="33184" y="0"/>
                    </a:cubicBezTo>
                    <a:close/>
                  </a:path>
                </a:pathLst>
              </a:custGeom>
              <a:grpFill/>
              <a:ln w="1063" cap="flat">
                <a:noFill/>
                <a:prstDash val="solid"/>
                <a:miter/>
              </a:ln>
            </p:spPr>
            <p:txBody>
              <a:bodyPr rtlCol="0" anchor="ctr"/>
              <a:lstStyle/>
              <a:p>
                <a:endParaRPr lang="en-GB" dirty="0"/>
              </a:p>
            </p:txBody>
          </p:sp>
          <p:sp>
            <p:nvSpPr>
              <p:cNvPr id="219" name="Freeform: Shape 218">
                <a:extLst>
                  <a:ext uri="{FF2B5EF4-FFF2-40B4-BE49-F238E27FC236}">
                    <a16:creationId xmlns:a16="http://schemas.microsoft.com/office/drawing/2014/main" id="{07DB7135-8C52-4A35-838B-66C87B1B204C}"/>
                  </a:ext>
                </a:extLst>
              </p:cNvPr>
              <p:cNvSpPr/>
              <p:nvPr/>
            </p:nvSpPr>
            <p:spPr>
              <a:xfrm>
                <a:off x="3659708" y="269810"/>
                <a:ext cx="36874" cy="23335"/>
              </a:xfrm>
              <a:custGeom>
                <a:avLst/>
                <a:gdLst>
                  <a:gd name="connsiteX0" fmla="*/ 33184 w 36874"/>
                  <a:gd name="connsiteY0" fmla="*/ 0 h 23335"/>
                  <a:gd name="connsiteX1" fmla="*/ 3691 w 36874"/>
                  <a:gd name="connsiteY1" fmla="*/ 0 h 23335"/>
                  <a:gd name="connsiteX2" fmla="*/ 0 w 36874"/>
                  <a:gd name="connsiteY2" fmla="*/ 3691 h 23335"/>
                  <a:gd name="connsiteX3" fmla="*/ 0 w 36874"/>
                  <a:gd name="connsiteY3" fmla="*/ 19644 h 23335"/>
                  <a:gd name="connsiteX4" fmla="*/ 3691 w 36874"/>
                  <a:gd name="connsiteY4" fmla="*/ 23335 h 23335"/>
                  <a:gd name="connsiteX5" fmla="*/ 33184 w 36874"/>
                  <a:gd name="connsiteY5" fmla="*/ 23335 h 23335"/>
                  <a:gd name="connsiteX6" fmla="*/ 36875 w 36874"/>
                  <a:gd name="connsiteY6" fmla="*/ 19644 h 23335"/>
                  <a:gd name="connsiteX7" fmla="*/ 36875 w 36874"/>
                  <a:gd name="connsiteY7" fmla="*/ 3691 h 23335"/>
                  <a:gd name="connsiteX8" fmla="*/ 33184 w 36874"/>
                  <a:gd name="connsiteY8" fmla="*/ 0 h 2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874" h="23335">
                    <a:moveTo>
                      <a:pt x="33184" y="0"/>
                    </a:moveTo>
                    <a:lnTo>
                      <a:pt x="3691" y="0"/>
                    </a:lnTo>
                    <a:cubicBezTo>
                      <a:pt x="1659" y="0"/>
                      <a:pt x="0" y="1659"/>
                      <a:pt x="0" y="3691"/>
                    </a:cubicBezTo>
                    <a:lnTo>
                      <a:pt x="0" y="19644"/>
                    </a:lnTo>
                    <a:cubicBezTo>
                      <a:pt x="0" y="21676"/>
                      <a:pt x="1659" y="23335"/>
                      <a:pt x="3691" y="23335"/>
                    </a:cubicBezTo>
                    <a:lnTo>
                      <a:pt x="33184" y="23335"/>
                    </a:lnTo>
                    <a:cubicBezTo>
                      <a:pt x="35215" y="23335"/>
                      <a:pt x="36875" y="21676"/>
                      <a:pt x="36875" y="19644"/>
                    </a:cubicBezTo>
                    <a:lnTo>
                      <a:pt x="36875" y="3691"/>
                    </a:lnTo>
                    <a:cubicBezTo>
                      <a:pt x="36864" y="1659"/>
                      <a:pt x="35205" y="0"/>
                      <a:pt x="33184" y="0"/>
                    </a:cubicBezTo>
                    <a:close/>
                  </a:path>
                </a:pathLst>
              </a:custGeom>
              <a:grpFill/>
              <a:ln w="1063" cap="flat">
                <a:noFill/>
                <a:prstDash val="solid"/>
                <a:miter/>
              </a:ln>
            </p:spPr>
            <p:txBody>
              <a:bodyPr rtlCol="0" anchor="ctr"/>
              <a:lstStyle/>
              <a:p>
                <a:endParaRPr lang="en-GB" dirty="0"/>
              </a:p>
            </p:txBody>
          </p:sp>
        </p:grpSp>
        <p:grpSp>
          <p:nvGrpSpPr>
            <p:cNvPr id="172" name="Graphic 818">
              <a:extLst>
                <a:ext uri="{FF2B5EF4-FFF2-40B4-BE49-F238E27FC236}">
                  <a16:creationId xmlns:a16="http://schemas.microsoft.com/office/drawing/2014/main" id="{E8C18BB7-14D8-44E2-96D4-461957DBFD06}"/>
                </a:ext>
              </a:extLst>
            </p:cNvPr>
            <p:cNvGrpSpPr/>
            <p:nvPr/>
          </p:nvGrpSpPr>
          <p:grpSpPr>
            <a:xfrm>
              <a:off x="3957425" y="3380939"/>
              <a:ext cx="252131" cy="252104"/>
              <a:chOff x="3884168" y="333157"/>
              <a:chExt cx="393250" cy="393207"/>
            </a:xfrm>
            <a:solidFill>
              <a:schemeClr val="accent1"/>
            </a:solidFill>
          </p:grpSpPr>
          <p:grpSp>
            <p:nvGrpSpPr>
              <p:cNvPr id="173" name="Graphic 818">
                <a:extLst>
                  <a:ext uri="{FF2B5EF4-FFF2-40B4-BE49-F238E27FC236}">
                    <a16:creationId xmlns:a16="http://schemas.microsoft.com/office/drawing/2014/main" id="{8AE286EF-9898-456F-9B1E-37A93FC1D631}"/>
                  </a:ext>
                </a:extLst>
              </p:cNvPr>
              <p:cNvGrpSpPr/>
              <p:nvPr/>
            </p:nvGrpSpPr>
            <p:grpSpPr>
              <a:xfrm>
                <a:off x="3884168" y="333157"/>
                <a:ext cx="393250" cy="393207"/>
                <a:chOff x="3884168" y="333157"/>
                <a:chExt cx="393250" cy="393207"/>
              </a:xfrm>
              <a:solidFill>
                <a:schemeClr val="accent1"/>
              </a:solidFill>
            </p:grpSpPr>
            <p:sp>
              <p:nvSpPr>
                <p:cNvPr id="177" name="Freeform: Shape 176">
                  <a:extLst>
                    <a:ext uri="{FF2B5EF4-FFF2-40B4-BE49-F238E27FC236}">
                      <a16:creationId xmlns:a16="http://schemas.microsoft.com/office/drawing/2014/main" id="{60D8CC5D-D3E8-4443-A1A9-349D44A37333}"/>
                    </a:ext>
                  </a:extLst>
                </p:cNvPr>
                <p:cNvSpPr/>
                <p:nvPr/>
              </p:nvSpPr>
              <p:spPr>
                <a:xfrm>
                  <a:off x="3959863" y="408618"/>
                  <a:ext cx="241848" cy="241848"/>
                </a:xfrm>
                <a:custGeom>
                  <a:avLst/>
                  <a:gdLst>
                    <a:gd name="connsiteX0" fmla="*/ 120930 w 241848"/>
                    <a:gd name="connsiteY0" fmla="*/ 241849 h 241848"/>
                    <a:gd name="connsiteX1" fmla="*/ 0 w 241848"/>
                    <a:gd name="connsiteY1" fmla="*/ 120930 h 241848"/>
                    <a:gd name="connsiteX2" fmla="*/ 120930 w 241848"/>
                    <a:gd name="connsiteY2" fmla="*/ 0 h 241848"/>
                    <a:gd name="connsiteX3" fmla="*/ 241849 w 241848"/>
                    <a:gd name="connsiteY3" fmla="*/ 120930 h 241848"/>
                    <a:gd name="connsiteX4" fmla="*/ 120930 w 241848"/>
                    <a:gd name="connsiteY4" fmla="*/ 241849 h 241848"/>
                    <a:gd name="connsiteX5" fmla="*/ 120930 w 241848"/>
                    <a:gd name="connsiteY5" fmla="*/ 21272 h 241848"/>
                    <a:gd name="connsiteX6" fmla="*/ 21272 w 241848"/>
                    <a:gd name="connsiteY6" fmla="*/ 120930 h 241848"/>
                    <a:gd name="connsiteX7" fmla="*/ 120930 w 241848"/>
                    <a:gd name="connsiteY7" fmla="*/ 220577 h 241848"/>
                    <a:gd name="connsiteX8" fmla="*/ 220577 w 241848"/>
                    <a:gd name="connsiteY8" fmla="*/ 120930 h 241848"/>
                    <a:gd name="connsiteX9" fmla="*/ 120930 w 241848"/>
                    <a:gd name="connsiteY9" fmla="*/ 21272 h 24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848" h="241848">
                      <a:moveTo>
                        <a:pt x="120930" y="241849"/>
                      </a:moveTo>
                      <a:cubicBezTo>
                        <a:pt x="54254" y="241849"/>
                        <a:pt x="0" y="187606"/>
                        <a:pt x="0" y="120930"/>
                      </a:cubicBezTo>
                      <a:cubicBezTo>
                        <a:pt x="0" y="54254"/>
                        <a:pt x="54254" y="0"/>
                        <a:pt x="120930" y="0"/>
                      </a:cubicBezTo>
                      <a:cubicBezTo>
                        <a:pt x="187606" y="0"/>
                        <a:pt x="241849" y="54254"/>
                        <a:pt x="241849" y="120930"/>
                      </a:cubicBezTo>
                      <a:cubicBezTo>
                        <a:pt x="241849" y="187606"/>
                        <a:pt x="187606" y="241849"/>
                        <a:pt x="120930" y="241849"/>
                      </a:cubicBezTo>
                      <a:close/>
                      <a:moveTo>
                        <a:pt x="120930" y="21272"/>
                      </a:moveTo>
                      <a:cubicBezTo>
                        <a:pt x="65974" y="21272"/>
                        <a:pt x="21272" y="65974"/>
                        <a:pt x="21272" y="120930"/>
                      </a:cubicBezTo>
                      <a:cubicBezTo>
                        <a:pt x="21272" y="175875"/>
                        <a:pt x="65974" y="220577"/>
                        <a:pt x="120930" y="220577"/>
                      </a:cubicBezTo>
                      <a:cubicBezTo>
                        <a:pt x="175875" y="220577"/>
                        <a:pt x="220577" y="175875"/>
                        <a:pt x="220577" y="120930"/>
                      </a:cubicBezTo>
                      <a:cubicBezTo>
                        <a:pt x="220577" y="65974"/>
                        <a:pt x="175875" y="21272"/>
                        <a:pt x="120930" y="21272"/>
                      </a:cubicBezTo>
                      <a:close/>
                    </a:path>
                  </a:pathLst>
                </a:custGeom>
                <a:solidFill>
                  <a:schemeClr val="accent1"/>
                </a:solidFill>
                <a:ln w="1063" cap="flat">
                  <a:noFill/>
                  <a:prstDash val="solid"/>
                  <a:miter/>
                </a:ln>
              </p:spPr>
              <p:txBody>
                <a:bodyPr rtlCol="0" anchor="ctr"/>
                <a:lstStyle/>
                <a:p>
                  <a:endParaRPr lang="en-GB" dirty="0"/>
                </a:p>
              </p:txBody>
            </p:sp>
            <p:grpSp>
              <p:nvGrpSpPr>
                <p:cNvPr id="178" name="Graphic 818">
                  <a:extLst>
                    <a:ext uri="{FF2B5EF4-FFF2-40B4-BE49-F238E27FC236}">
                      <a16:creationId xmlns:a16="http://schemas.microsoft.com/office/drawing/2014/main" id="{57915A4F-9449-4C0F-9BD7-CF7D3EF22731}"/>
                    </a:ext>
                  </a:extLst>
                </p:cNvPr>
                <p:cNvGrpSpPr/>
                <p:nvPr/>
              </p:nvGrpSpPr>
              <p:grpSpPr>
                <a:xfrm>
                  <a:off x="3884168" y="494003"/>
                  <a:ext cx="96733" cy="70579"/>
                  <a:chOff x="3884168" y="494003"/>
                  <a:chExt cx="96733" cy="70579"/>
                </a:xfrm>
                <a:solidFill>
                  <a:schemeClr val="accent1"/>
                </a:solidFill>
              </p:grpSpPr>
              <p:sp>
                <p:nvSpPr>
                  <p:cNvPr id="210" name="Freeform: Shape 209">
                    <a:extLst>
                      <a:ext uri="{FF2B5EF4-FFF2-40B4-BE49-F238E27FC236}">
                        <a16:creationId xmlns:a16="http://schemas.microsoft.com/office/drawing/2014/main" id="{01B916BB-ABE3-456B-AB2D-D680BEA9D877}"/>
                      </a:ext>
                    </a:extLst>
                  </p:cNvPr>
                  <p:cNvSpPr/>
                  <p:nvPr/>
                </p:nvSpPr>
                <p:spPr>
                  <a:xfrm>
                    <a:off x="3884168" y="494003"/>
                    <a:ext cx="61911" cy="70579"/>
                  </a:xfrm>
                  <a:custGeom>
                    <a:avLst/>
                    <a:gdLst>
                      <a:gd name="connsiteX0" fmla="*/ 26717 w 61911"/>
                      <a:gd name="connsiteY0" fmla="*/ 70580 h 70579"/>
                      <a:gd name="connsiteX1" fmla="*/ 0 w 61911"/>
                      <a:gd name="connsiteY1" fmla="*/ 35396 h 70579"/>
                      <a:gd name="connsiteX2" fmla="*/ 25877 w 61911"/>
                      <a:gd name="connsiteY2" fmla="*/ 0 h 70579"/>
                      <a:gd name="connsiteX3" fmla="*/ 61911 w 61911"/>
                      <a:gd name="connsiteY3" fmla="*/ 35396 h 70579"/>
                      <a:gd name="connsiteX4" fmla="*/ 26717 w 61911"/>
                      <a:gd name="connsiteY4" fmla="*/ 70580 h 70579"/>
                      <a:gd name="connsiteX5" fmla="*/ 25866 w 61911"/>
                      <a:gd name="connsiteY5" fmla="*/ 21282 h 70579"/>
                      <a:gd name="connsiteX6" fmla="*/ 21261 w 61911"/>
                      <a:gd name="connsiteY6" fmla="*/ 35407 h 70579"/>
                      <a:gd name="connsiteX7" fmla="*/ 26707 w 61911"/>
                      <a:gd name="connsiteY7" fmla="*/ 49318 h 70579"/>
                      <a:gd name="connsiteX8" fmla="*/ 40618 w 61911"/>
                      <a:gd name="connsiteY8" fmla="*/ 35407 h 70579"/>
                      <a:gd name="connsiteX9" fmla="*/ 25866 w 61911"/>
                      <a:gd name="connsiteY9" fmla="*/ 21282 h 7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911" h="70579">
                        <a:moveTo>
                          <a:pt x="26717" y="70580"/>
                        </a:moveTo>
                        <a:cubicBezTo>
                          <a:pt x="10987" y="70580"/>
                          <a:pt x="0" y="56115"/>
                          <a:pt x="0" y="35396"/>
                        </a:cubicBezTo>
                        <a:cubicBezTo>
                          <a:pt x="0" y="13901"/>
                          <a:pt x="10157" y="0"/>
                          <a:pt x="25877" y="0"/>
                        </a:cubicBezTo>
                        <a:cubicBezTo>
                          <a:pt x="43384" y="0"/>
                          <a:pt x="61911" y="18187"/>
                          <a:pt x="61911" y="35396"/>
                        </a:cubicBezTo>
                        <a:cubicBezTo>
                          <a:pt x="61901" y="52828"/>
                          <a:pt x="44149" y="70580"/>
                          <a:pt x="26717" y="70580"/>
                        </a:cubicBezTo>
                        <a:close/>
                        <a:moveTo>
                          <a:pt x="25866" y="21282"/>
                        </a:moveTo>
                        <a:cubicBezTo>
                          <a:pt x="23420" y="21282"/>
                          <a:pt x="21261" y="27887"/>
                          <a:pt x="21261" y="35407"/>
                        </a:cubicBezTo>
                        <a:cubicBezTo>
                          <a:pt x="21261" y="41990"/>
                          <a:pt x="23495" y="49318"/>
                          <a:pt x="26707" y="49318"/>
                        </a:cubicBezTo>
                        <a:cubicBezTo>
                          <a:pt x="31993" y="49318"/>
                          <a:pt x="40618" y="41544"/>
                          <a:pt x="40618" y="35407"/>
                        </a:cubicBezTo>
                        <a:cubicBezTo>
                          <a:pt x="40629" y="29440"/>
                          <a:pt x="31216" y="21282"/>
                          <a:pt x="25866" y="21282"/>
                        </a:cubicBezTo>
                        <a:close/>
                      </a:path>
                    </a:pathLst>
                  </a:custGeom>
                  <a:solidFill>
                    <a:schemeClr val="accent1"/>
                  </a:solidFill>
                  <a:ln w="1063" cap="flat">
                    <a:noFill/>
                    <a:prstDash val="solid"/>
                    <a:miter/>
                  </a:ln>
                </p:spPr>
                <p:txBody>
                  <a:bodyPr rtlCol="0" anchor="ctr"/>
                  <a:lstStyle/>
                  <a:p>
                    <a:endParaRPr lang="en-GB" dirty="0"/>
                  </a:p>
                </p:txBody>
              </p:sp>
              <p:sp>
                <p:nvSpPr>
                  <p:cNvPr id="211" name="Freeform: Shape 210">
                    <a:extLst>
                      <a:ext uri="{FF2B5EF4-FFF2-40B4-BE49-F238E27FC236}">
                        <a16:creationId xmlns:a16="http://schemas.microsoft.com/office/drawing/2014/main" id="{7764EDAB-2086-4A2F-B343-7EA351DB1E87}"/>
                      </a:ext>
                    </a:extLst>
                  </p:cNvPr>
                  <p:cNvSpPr/>
                  <p:nvPr/>
                </p:nvSpPr>
                <p:spPr>
                  <a:xfrm>
                    <a:off x="3924807" y="518785"/>
                    <a:ext cx="56093" cy="21271"/>
                  </a:xfrm>
                  <a:custGeom>
                    <a:avLst/>
                    <a:gdLst>
                      <a:gd name="connsiteX0" fmla="*/ 45458 w 56093"/>
                      <a:gd name="connsiteY0" fmla="*/ 21272 h 21271"/>
                      <a:gd name="connsiteX1" fmla="*/ 10636 w 56093"/>
                      <a:gd name="connsiteY1" fmla="*/ 21272 h 21271"/>
                      <a:gd name="connsiteX2" fmla="*/ 0 w 56093"/>
                      <a:gd name="connsiteY2" fmla="*/ 10636 h 21271"/>
                      <a:gd name="connsiteX3" fmla="*/ 10636 w 56093"/>
                      <a:gd name="connsiteY3" fmla="*/ 0 h 21271"/>
                      <a:gd name="connsiteX4" fmla="*/ 45458 w 56093"/>
                      <a:gd name="connsiteY4" fmla="*/ 0 h 21271"/>
                      <a:gd name="connsiteX5" fmla="*/ 56093 w 56093"/>
                      <a:gd name="connsiteY5" fmla="*/ 10636 h 21271"/>
                      <a:gd name="connsiteX6" fmla="*/ 45458 w 56093"/>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093" h="21271">
                        <a:moveTo>
                          <a:pt x="45458" y="21272"/>
                        </a:moveTo>
                        <a:lnTo>
                          <a:pt x="10636" y="21272"/>
                        </a:lnTo>
                        <a:cubicBezTo>
                          <a:pt x="4765" y="21272"/>
                          <a:pt x="0" y="16507"/>
                          <a:pt x="0" y="10636"/>
                        </a:cubicBezTo>
                        <a:cubicBezTo>
                          <a:pt x="0" y="4765"/>
                          <a:pt x="4765" y="0"/>
                          <a:pt x="10636" y="0"/>
                        </a:cubicBezTo>
                        <a:lnTo>
                          <a:pt x="45458" y="0"/>
                        </a:lnTo>
                        <a:cubicBezTo>
                          <a:pt x="51329" y="0"/>
                          <a:pt x="56093" y="4765"/>
                          <a:pt x="56093" y="10636"/>
                        </a:cubicBezTo>
                        <a:cubicBezTo>
                          <a:pt x="56093" y="16507"/>
                          <a:pt x="51329" y="21272"/>
                          <a:pt x="45458" y="21272"/>
                        </a:cubicBezTo>
                        <a:close/>
                      </a:path>
                    </a:pathLst>
                  </a:custGeom>
                  <a:solidFill>
                    <a:schemeClr val="accent1"/>
                  </a:solidFill>
                  <a:ln w="1063" cap="flat">
                    <a:noFill/>
                    <a:prstDash val="solid"/>
                    <a:miter/>
                  </a:ln>
                </p:spPr>
                <p:txBody>
                  <a:bodyPr rtlCol="0" anchor="ctr"/>
                  <a:lstStyle/>
                  <a:p>
                    <a:endParaRPr lang="en-GB" dirty="0"/>
                  </a:p>
                </p:txBody>
              </p:sp>
            </p:grpSp>
            <p:grpSp>
              <p:nvGrpSpPr>
                <p:cNvPr id="179" name="Graphic 818">
                  <a:extLst>
                    <a:ext uri="{FF2B5EF4-FFF2-40B4-BE49-F238E27FC236}">
                      <a16:creationId xmlns:a16="http://schemas.microsoft.com/office/drawing/2014/main" id="{A3D92FFF-A15F-4207-8A32-619BE6F1D8BC}"/>
                    </a:ext>
                  </a:extLst>
                </p:cNvPr>
                <p:cNvGrpSpPr/>
                <p:nvPr/>
              </p:nvGrpSpPr>
              <p:grpSpPr>
                <a:xfrm>
                  <a:off x="4180684" y="493907"/>
                  <a:ext cx="96733" cy="70579"/>
                  <a:chOff x="4180684" y="493907"/>
                  <a:chExt cx="96733" cy="70579"/>
                </a:xfrm>
                <a:solidFill>
                  <a:schemeClr val="accent1"/>
                </a:solidFill>
              </p:grpSpPr>
              <p:sp>
                <p:nvSpPr>
                  <p:cNvPr id="208" name="Freeform: Shape 207">
                    <a:extLst>
                      <a:ext uri="{FF2B5EF4-FFF2-40B4-BE49-F238E27FC236}">
                        <a16:creationId xmlns:a16="http://schemas.microsoft.com/office/drawing/2014/main" id="{CDC19EF0-4CA8-496D-A40D-AE43088E48E3}"/>
                      </a:ext>
                    </a:extLst>
                  </p:cNvPr>
                  <p:cNvSpPr/>
                  <p:nvPr/>
                </p:nvSpPr>
                <p:spPr>
                  <a:xfrm>
                    <a:off x="4215517" y="493907"/>
                    <a:ext cx="61901" cy="70579"/>
                  </a:xfrm>
                  <a:custGeom>
                    <a:avLst/>
                    <a:gdLst>
                      <a:gd name="connsiteX0" fmla="*/ 35237 w 61901"/>
                      <a:gd name="connsiteY0" fmla="*/ 70580 h 70579"/>
                      <a:gd name="connsiteX1" fmla="*/ 0 w 61901"/>
                      <a:gd name="connsiteY1" fmla="*/ 35566 h 70579"/>
                      <a:gd name="connsiteX2" fmla="*/ 11689 w 61901"/>
                      <a:gd name="connsiteY2" fmla="*/ 10955 h 70579"/>
                      <a:gd name="connsiteX3" fmla="*/ 35865 w 61901"/>
                      <a:gd name="connsiteY3" fmla="*/ 0 h 70579"/>
                      <a:gd name="connsiteX4" fmla="*/ 35981 w 61901"/>
                      <a:gd name="connsiteY4" fmla="*/ 0 h 70579"/>
                      <a:gd name="connsiteX5" fmla="*/ 61901 w 61901"/>
                      <a:gd name="connsiteY5" fmla="*/ 35269 h 70579"/>
                      <a:gd name="connsiteX6" fmla="*/ 35354 w 61901"/>
                      <a:gd name="connsiteY6" fmla="*/ 70580 h 70579"/>
                      <a:gd name="connsiteX7" fmla="*/ 35237 w 61901"/>
                      <a:gd name="connsiteY7" fmla="*/ 70580 h 70579"/>
                      <a:gd name="connsiteX8" fmla="*/ 35907 w 61901"/>
                      <a:gd name="connsiteY8" fmla="*/ 10625 h 70579"/>
                      <a:gd name="connsiteX9" fmla="*/ 35950 w 61901"/>
                      <a:gd name="connsiteY9" fmla="*/ 21261 h 70579"/>
                      <a:gd name="connsiteX10" fmla="*/ 26399 w 61901"/>
                      <a:gd name="connsiteY10" fmla="*/ 26292 h 70579"/>
                      <a:gd name="connsiteX11" fmla="*/ 21261 w 61901"/>
                      <a:gd name="connsiteY11" fmla="*/ 35460 h 70579"/>
                      <a:gd name="connsiteX12" fmla="*/ 35226 w 61901"/>
                      <a:gd name="connsiteY12" fmla="*/ 49308 h 70579"/>
                      <a:gd name="connsiteX13" fmla="*/ 35248 w 61901"/>
                      <a:gd name="connsiteY13" fmla="*/ 49308 h 70579"/>
                      <a:gd name="connsiteX14" fmla="*/ 40619 w 61901"/>
                      <a:gd name="connsiteY14" fmla="*/ 35364 h 70579"/>
                      <a:gd name="connsiteX15" fmla="*/ 35960 w 61901"/>
                      <a:gd name="connsiteY15" fmla="*/ 21261 h 70579"/>
                      <a:gd name="connsiteX16" fmla="*/ 35950 w 61901"/>
                      <a:gd name="connsiteY16" fmla="*/ 21261 h 70579"/>
                      <a:gd name="connsiteX17" fmla="*/ 35907 w 61901"/>
                      <a:gd name="connsiteY17" fmla="*/ 10625 h 7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901" h="70579">
                        <a:moveTo>
                          <a:pt x="35237" y="70580"/>
                        </a:moveTo>
                        <a:cubicBezTo>
                          <a:pt x="17837" y="70580"/>
                          <a:pt x="75" y="52945"/>
                          <a:pt x="0" y="35566"/>
                        </a:cubicBezTo>
                        <a:cubicBezTo>
                          <a:pt x="-42" y="27090"/>
                          <a:pt x="4212" y="18113"/>
                          <a:pt x="11689" y="10955"/>
                        </a:cubicBezTo>
                        <a:cubicBezTo>
                          <a:pt x="18900" y="4031"/>
                          <a:pt x="27717" y="43"/>
                          <a:pt x="35865" y="0"/>
                        </a:cubicBezTo>
                        <a:cubicBezTo>
                          <a:pt x="35896" y="0"/>
                          <a:pt x="35939" y="0"/>
                          <a:pt x="35981" y="0"/>
                        </a:cubicBezTo>
                        <a:cubicBezTo>
                          <a:pt x="51627" y="0"/>
                          <a:pt x="61795" y="13827"/>
                          <a:pt x="61901" y="35269"/>
                        </a:cubicBezTo>
                        <a:cubicBezTo>
                          <a:pt x="61997" y="55977"/>
                          <a:pt x="51084" y="70505"/>
                          <a:pt x="35354" y="70580"/>
                        </a:cubicBezTo>
                        <a:cubicBezTo>
                          <a:pt x="35311" y="70580"/>
                          <a:pt x="35279" y="70580"/>
                          <a:pt x="35237" y="70580"/>
                        </a:cubicBezTo>
                        <a:close/>
                        <a:moveTo>
                          <a:pt x="35907" y="10625"/>
                        </a:moveTo>
                        <a:lnTo>
                          <a:pt x="35950" y="21261"/>
                        </a:lnTo>
                        <a:cubicBezTo>
                          <a:pt x="33865" y="21272"/>
                          <a:pt x="29983" y="22846"/>
                          <a:pt x="26399" y="26292"/>
                        </a:cubicBezTo>
                        <a:cubicBezTo>
                          <a:pt x="23272" y="29302"/>
                          <a:pt x="21251" y="32897"/>
                          <a:pt x="21261" y="35460"/>
                        </a:cubicBezTo>
                        <a:cubicBezTo>
                          <a:pt x="21293" y="41597"/>
                          <a:pt x="29930" y="49308"/>
                          <a:pt x="35226" y="49308"/>
                        </a:cubicBezTo>
                        <a:cubicBezTo>
                          <a:pt x="35226" y="49308"/>
                          <a:pt x="35237" y="49308"/>
                          <a:pt x="35248" y="49308"/>
                        </a:cubicBezTo>
                        <a:cubicBezTo>
                          <a:pt x="38449" y="49297"/>
                          <a:pt x="40651" y="41948"/>
                          <a:pt x="40619" y="35364"/>
                        </a:cubicBezTo>
                        <a:cubicBezTo>
                          <a:pt x="40587" y="27845"/>
                          <a:pt x="38406" y="21261"/>
                          <a:pt x="35960" y="21261"/>
                        </a:cubicBezTo>
                        <a:cubicBezTo>
                          <a:pt x="35960" y="21261"/>
                          <a:pt x="35960" y="21261"/>
                          <a:pt x="35950" y="21261"/>
                        </a:cubicBezTo>
                        <a:lnTo>
                          <a:pt x="35907" y="10625"/>
                        </a:lnTo>
                        <a:close/>
                      </a:path>
                    </a:pathLst>
                  </a:custGeom>
                  <a:solidFill>
                    <a:schemeClr val="accent1"/>
                  </a:solidFill>
                  <a:ln w="1063" cap="flat">
                    <a:noFill/>
                    <a:prstDash val="solid"/>
                    <a:miter/>
                  </a:ln>
                </p:spPr>
                <p:txBody>
                  <a:bodyPr rtlCol="0" anchor="ctr"/>
                  <a:lstStyle/>
                  <a:p>
                    <a:endParaRPr lang="en-GB" dirty="0"/>
                  </a:p>
                </p:txBody>
              </p:sp>
              <p:sp>
                <p:nvSpPr>
                  <p:cNvPr id="209" name="Freeform: Shape 208">
                    <a:extLst>
                      <a:ext uri="{FF2B5EF4-FFF2-40B4-BE49-F238E27FC236}">
                        <a16:creationId xmlns:a16="http://schemas.microsoft.com/office/drawing/2014/main" id="{2A99533E-51B2-49FE-8A21-518B86F04FCA}"/>
                      </a:ext>
                    </a:extLst>
                  </p:cNvPr>
                  <p:cNvSpPr/>
                  <p:nvPr/>
                </p:nvSpPr>
                <p:spPr>
                  <a:xfrm>
                    <a:off x="4180684" y="518795"/>
                    <a:ext cx="56093" cy="21441"/>
                  </a:xfrm>
                  <a:custGeom>
                    <a:avLst/>
                    <a:gdLst>
                      <a:gd name="connsiteX0" fmla="*/ 10636 w 56093"/>
                      <a:gd name="connsiteY0" fmla="*/ 21442 h 21441"/>
                      <a:gd name="connsiteX1" fmla="*/ 0 w 56093"/>
                      <a:gd name="connsiteY1" fmla="*/ 10859 h 21441"/>
                      <a:gd name="connsiteX2" fmla="*/ 10583 w 56093"/>
                      <a:gd name="connsiteY2" fmla="*/ 170 h 21441"/>
                      <a:gd name="connsiteX3" fmla="*/ 45405 w 56093"/>
                      <a:gd name="connsiteY3" fmla="*/ 0 h 21441"/>
                      <a:gd name="connsiteX4" fmla="*/ 45458 w 56093"/>
                      <a:gd name="connsiteY4" fmla="*/ 0 h 21441"/>
                      <a:gd name="connsiteX5" fmla="*/ 56094 w 56093"/>
                      <a:gd name="connsiteY5" fmla="*/ 10583 h 21441"/>
                      <a:gd name="connsiteX6" fmla="*/ 45511 w 56093"/>
                      <a:gd name="connsiteY6" fmla="*/ 21272 h 21441"/>
                      <a:gd name="connsiteX7" fmla="*/ 10689 w 56093"/>
                      <a:gd name="connsiteY7" fmla="*/ 21442 h 21441"/>
                      <a:gd name="connsiteX8" fmla="*/ 10636 w 56093"/>
                      <a:gd name="connsiteY8" fmla="*/ 21442 h 21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6093" h="21441">
                        <a:moveTo>
                          <a:pt x="10636" y="21442"/>
                        </a:moveTo>
                        <a:cubicBezTo>
                          <a:pt x="4786" y="21442"/>
                          <a:pt x="21" y="16720"/>
                          <a:pt x="0" y="10859"/>
                        </a:cubicBezTo>
                        <a:cubicBezTo>
                          <a:pt x="-21" y="4988"/>
                          <a:pt x="4712" y="202"/>
                          <a:pt x="10583" y="170"/>
                        </a:cubicBezTo>
                        <a:lnTo>
                          <a:pt x="45405" y="0"/>
                        </a:lnTo>
                        <a:cubicBezTo>
                          <a:pt x="45426" y="0"/>
                          <a:pt x="45437" y="0"/>
                          <a:pt x="45458" y="0"/>
                        </a:cubicBezTo>
                        <a:cubicBezTo>
                          <a:pt x="51307" y="0"/>
                          <a:pt x="56072" y="4722"/>
                          <a:pt x="56094" y="10583"/>
                        </a:cubicBezTo>
                        <a:cubicBezTo>
                          <a:pt x="56115" y="16454"/>
                          <a:pt x="51382" y="21240"/>
                          <a:pt x="45511" y="21272"/>
                        </a:cubicBezTo>
                        <a:lnTo>
                          <a:pt x="10689" y="21442"/>
                        </a:lnTo>
                        <a:cubicBezTo>
                          <a:pt x="10668" y="21442"/>
                          <a:pt x="10657" y="21442"/>
                          <a:pt x="10636" y="21442"/>
                        </a:cubicBezTo>
                        <a:close/>
                      </a:path>
                    </a:pathLst>
                  </a:custGeom>
                  <a:solidFill>
                    <a:schemeClr val="accent1"/>
                  </a:solidFill>
                  <a:ln w="1063" cap="flat">
                    <a:noFill/>
                    <a:prstDash val="solid"/>
                    <a:miter/>
                  </a:ln>
                </p:spPr>
                <p:txBody>
                  <a:bodyPr rtlCol="0" anchor="ctr"/>
                  <a:lstStyle/>
                  <a:p>
                    <a:endParaRPr lang="en-GB" dirty="0"/>
                  </a:p>
                </p:txBody>
              </p:sp>
            </p:grpSp>
            <p:grpSp>
              <p:nvGrpSpPr>
                <p:cNvPr id="180" name="Graphic 818">
                  <a:extLst>
                    <a:ext uri="{FF2B5EF4-FFF2-40B4-BE49-F238E27FC236}">
                      <a16:creationId xmlns:a16="http://schemas.microsoft.com/office/drawing/2014/main" id="{7C49A1BE-0FFF-45CE-92B4-024EF56F0C9C}"/>
                    </a:ext>
                  </a:extLst>
                </p:cNvPr>
                <p:cNvGrpSpPr/>
                <p:nvPr/>
              </p:nvGrpSpPr>
              <p:grpSpPr>
                <a:xfrm>
                  <a:off x="3928240" y="333157"/>
                  <a:ext cx="305314" cy="129129"/>
                  <a:chOff x="3928240" y="333157"/>
                  <a:chExt cx="305314" cy="129129"/>
                </a:xfrm>
                <a:solidFill>
                  <a:schemeClr val="accent1"/>
                </a:solidFill>
              </p:grpSpPr>
              <p:grpSp>
                <p:nvGrpSpPr>
                  <p:cNvPr id="199" name="Graphic 818">
                    <a:extLst>
                      <a:ext uri="{FF2B5EF4-FFF2-40B4-BE49-F238E27FC236}">
                        <a16:creationId xmlns:a16="http://schemas.microsoft.com/office/drawing/2014/main" id="{9ABD4B22-A1CA-416F-87F1-0B18F8DEAF77}"/>
                      </a:ext>
                    </a:extLst>
                  </p:cNvPr>
                  <p:cNvGrpSpPr/>
                  <p:nvPr/>
                </p:nvGrpSpPr>
                <p:grpSpPr>
                  <a:xfrm>
                    <a:off x="4045630" y="333157"/>
                    <a:ext cx="70579" cy="96733"/>
                    <a:chOff x="4045630" y="333157"/>
                    <a:chExt cx="70579" cy="96733"/>
                  </a:xfrm>
                  <a:solidFill>
                    <a:schemeClr val="accent1"/>
                  </a:solidFill>
                </p:grpSpPr>
                <p:sp>
                  <p:nvSpPr>
                    <p:cNvPr id="206" name="Freeform: Shape 205">
                      <a:extLst>
                        <a:ext uri="{FF2B5EF4-FFF2-40B4-BE49-F238E27FC236}">
                          <a16:creationId xmlns:a16="http://schemas.microsoft.com/office/drawing/2014/main" id="{749A4F92-2F29-4032-A759-3C0FC8216B3F}"/>
                        </a:ext>
                      </a:extLst>
                    </p:cNvPr>
                    <p:cNvSpPr/>
                    <p:nvPr/>
                  </p:nvSpPr>
                  <p:spPr>
                    <a:xfrm>
                      <a:off x="4045630" y="333157"/>
                      <a:ext cx="70579" cy="61900"/>
                    </a:xfrm>
                    <a:custGeom>
                      <a:avLst/>
                      <a:gdLst>
                        <a:gd name="connsiteX0" fmla="*/ 35183 w 70579"/>
                        <a:gd name="connsiteY0" fmla="*/ 61901 h 61900"/>
                        <a:gd name="connsiteX1" fmla="*/ 0 w 70579"/>
                        <a:gd name="connsiteY1" fmla="*/ 26717 h 61900"/>
                        <a:gd name="connsiteX2" fmla="*/ 35183 w 70579"/>
                        <a:gd name="connsiteY2" fmla="*/ 0 h 61900"/>
                        <a:gd name="connsiteX3" fmla="*/ 70580 w 70579"/>
                        <a:gd name="connsiteY3" fmla="*/ 25877 h 61900"/>
                        <a:gd name="connsiteX4" fmla="*/ 35183 w 70579"/>
                        <a:gd name="connsiteY4" fmla="*/ 61901 h 61900"/>
                        <a:gd name="connsiteX5" fmla="*/ 35183 w 70579"/>
                        <a:gd name="connsiteY5" fmla="*/ 21272 h 61900"/>
                        <a:gd name="connsiteX6" fmla="*/ 21272 w 70579"/>
                        <a:gd name="connsiteY6" fmla="*/ 26717 h 61900"/>
                        <a:gd name="connsiteX7" fmla="*/ 35183 w 70579"/>
                        <a:gd name="connsiteY7" fmla="*/ 40629 h 61900"/>
                        <a:gd name="connsiteX8" fmla="*/ 49308 w 70579"/>
                        <a:gd name="connsiteY8" fmla="*/ 25866 h 61900"/>
                        <a:gd name="connsiteX9" fmla="*/ 35183 w 70579"/>
                        <a:gd name="connsiteY9" fmla="*/ 21272 h 6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579" h="61900">
                          <a:moveTo>
                            <a:pt x="35183" y="61901"/>
                          </a:moveTo>
                          <a:cubicBezTo>
                            <a:pt x="17751" y="61901"/>
                            <a:pt x="0" y="44149"/>
                            <a:pt x="0" y="26717"/>
                          </a:cubicBezTo>
                          <a:cubicBezTo>
                            <a:pt x="0" y="10987"/>
                            <a:pt x="14465" y="0"/>
                            <a:pt x="35183" y="0"/>
                          </a:cubicBezTo>
                          <a:cubicBezTo>
                            <a:pt x="56679" y="0"/>
                            <a:pt x="70580" y="10157"/>
                            <a:pt x="70580" y="25877"/>
                          </a:cubicBezTo>
                          <a:cubicBezTo>
                            <a:pt x="70569" y="43384"/>
                            <a:pt x="52382" y="61901"/>
                            <a:pt x="35183" y="61901"/>
                          </a:cubicBezTo>
                          <a:close/>
                          <a:moveTo>
                            <a:pt x="35183" y="21272"/>
                          </a:moveTo>
                          <a:cubicBezTo>
                            <a:pt x="28600" y="21272"/>
                            <a:pt x="21272" y="23505"/>
                            <a:pt x="21272" y="26717"/>
                          </a:cubicBezTo>
                          <a:cubicBezTo>
                            <a:pt x="21272" y="32003"/>
                            <a:pt x="29047" y="40629"/>
                            <a:pt x="35183" y="40629"/>
                          </a:cubicBezTo>
                          <a:cubicBezTo>
                            <a:pt x="41140" y="40629"/>
                            <a:pt x="49308" y="31216"/>
                            <a:pt x="49308" y="25866"/>
                          </a:cubicBezTo>
                          <a:cubicBezTo>
                            <a:pt x="49297" y="23420"/>
                            <a:pt x="42703" y="21272"/>
                            <a:pt x="35183" y="21272"/>
                          </a:cubicBezTo>
                          <a:close/>
                        </a:path>
                      </a:pathLst>
                    </a:custGeom>
                    <a:solidFill>
                      <a:schemeClr val="accent1"/>
                    </a:solidFill>
                    <a:ln w="1063" cap="flat">
                      <a:noFill/>
                      <a:prstDash val="solid"/>
                      <a:miter/>
                    </a:ln>
                  </p:spPr>
                  <p:txBody>
                    <a:bodyPr rtlCol="0" anchor="ctr"/>
                    <a:lstStyle/>
                    <a:p>
                      <a:endParaRPr lang="en-GB" dirty="0"/>
                    </a:p>
                  </p:txBody>
                </p:sp>
                <p:sp>
                  <p:nvSpPr>
                    <p:cNvPr id="207" name="Freeform: Shape 206">
                      <a:extLst>
                        <a:ext uri="{FF2B5EF4-FFF2-40B4-BE49-F238E27FC236}">
                          <a16:creationId xmlns:a16="http://schemas.microsoft.com/office/drawing/2014/main" id="{9CE7C891-E384-4255-BCBE-D6F1FF00897C}"/>
                        </a:ext>
                      </a:extLst>
                    </p:cNvPr>
                    <p:cNvSpPr/>
                    <p:nvPr/>
                  </p:nvSpPr>
                  <p:spPr>
                    <a:xfrm>
                      <a:off x="4070157" y="373797"/>
                      <a:ext cx="21271" cy="56093"/>
                    </a:xfrm>
                    <a:custGeom>
                      <a:avLst/>
                      <a:gdLst>
                        <a:gd name="connsiteX0" fmla="*/ 10636 w 21271"/>
                        <a:gd name="connsiteY0" fmla="*/ 56093 h 56093"/>
                        <a:gd name="connsiteX1" fmla="*/ 0 w 21271"/>
                        <a:gd name="connsiteY1" fmla="*/ 45458 h 56093"/>
                        <a:gd name="connsiteX2" fmla="*/ 0 w 21271"/>
                        <a:gd name="connsiteY2" fmla="*/ 10636 h 56093"/>
                        <a:gd name="connsiteX3" fmla="*/ 10636 w 21271"/>
                        <a:gd name="connsiteY3" fmla="*/ 0 h 56093"/>
                        <a:gd name="connsiteX4" fmla="*/ 21272 w 21271"/>
                        <a:gd name="connsiteY4" fmla="*/ 10636 h 56093"/>
                        <a:gd name="connsiteX5" fmla="*/ 21272 w 21271"/>
                        <a:gd name="connsiteY5" fmla="*/ 45458 h 56093"/>
                        <a:gd name="connsiteX6" fmla="*/ 10636 w 21271"/>
                        <a:gd name="connsiteY6" fmla="*/ 56093 h 5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56093">
                          <a:moveTo>
                            <a:pt x="10636" y="56093"/>
                          </a:moveTo>
                          <a:cubicBezTo>
                            <a:pt x="4765" y="56093"/>
                            <a:pt x="0" y="51329"/>
                            <a:pt x="0" y="45458"/>
                          </a:cubicBezTo>
                          <a:lnTo>
                            <a:pt x="0" y="10636"/>
                          </a:lnTo>
                          <a:cubicBezTo>
                            <a:pt x="0" y="4765"/>
                            <a:pt x="4765" y="0"/>
                            <a:pt x="10636" y="0"/>
                          </a:cubicBezTo>
                          <a:cubicBezTo>
                            <a:pt x="16507" y="0"/>
                            <a:pt x="21272" y="4765"/>
                            <a:pt x="21272" y="10636"/>
                          </a:cubicBezTo>
                          <a:lnTo>
                            <a:pt x="21272" y="45458"/>
                          </a:lnTo>
                          <a:cubicBezTo>
                            <a:pt x="21272" y="51329"/>
                            <a:pt x="16507" y="56093"/>
                            <a:pt x="10636" y="56093"/>
                          </a:cubicBezTo>
                          <a:close/>
                        </a:path>
                      </a:pathLst>
                    </a:custGeom>
                    <a:solidFill>
                      <a:schemeClr val="accent1"/>
                    </a:solidFill>
                    <a:ln w="1063" cap="flat">
                      <a:noFill/>
                      <a:prstDash val="solid"/>
                      <a:miter/>
                    </a:ln>
                  </p:spPr>
                  <p:txBody>
                    <a:bodyPr rtlCol="0" anchor="ctr"/>
                    <a:lstStyle/>
                    <a:p>
                      <a:endParaRPr lang="en-GB" dirty="0"/>
                    </a:p>
                  </p:txBody>
                </p:sp>
              </p:grpSp>
              <p:grpSp>
                <p:nvGrpSpPr>
                  <p:cNvPr id="200" name="Graphic 818">
                    <a:extLst>
                      <a:ext uri="{FF2B5EF4-FFF2-40B4-BE49-F238E27FC236}">
                        <a16:creationId xmlns:a16="http://schemas.microsoft.com/office/drawing/2014/main" id="{8523DDEF-5019-4F43-AF87-55BE89D4084C}"/>
                      </a:ext>
                    </a:extLst>
                  </p:cNvPr>
                  <p:cNvGrpSpPr/>
                  <p:nvPr/>
                </p:nvGrpSpPr>
                <p:grpSpPr>
                  <a:xfrm>
                    <a:off x="4148477" y="377873"/>
                    <a:ext cx="85078" cy="84413"/>
                    <a:chOff x="4148477" y="377873"/>
                    <a:chExt cx="85078" cy="84413"/>
                  </a:xfrm>
                  <a:solidFill>
                    <a:schemeClr val="accent1"/>
                  </a:solidFill>
                </p:grpSpPr>
                <p:sp>
                  <p:nvSpPr>
                    <p:cNvPr id="204" name="Freeform: Shape 203">
                      <a:extLst>
                        <a:ext uri="{FF2B5EF4-FFF2-40B4-BE49-F238E27FC236}">
                          <a16:creationId xmlns:a16="http://schemas.microsoft.com/office/drawing/2014/main" id="{361921A2-A449-44C1-9AAE-D2742460CF16}"/>
                        </a:ext>
                      </a:extLst>
                    </p:cNvPr>
                    <p:cNvSpPr/>
                    <p:nvPr/>
                  </p:nvSpPr>
                  <p:spPr>
                    <a:xfrm>
                      <a:off x="4166987" y="377873"/>
                      <a:ext cx="66567" cy="65716"/>
                    </a:xfrm>
                    <a:custGeom>
                      <a:avLst/>
                      <a:gdLst>
                        <a:gd name="connsiteX0" fmla="*/ 33799 w 66567"/>
                        <a:gd name="connsiteY0" fmla="*/ 65716 h 65716"/>
                        <a:gd name="connsiteX1" fmla="*/ 9241 w 66567"/>
                        <a:gd name="connsiteY1" fmla="*/ 56676 h 65716"/>
                        <a:gd name="connsiteX2" fmla="*/ 9241 w 66567"/>
                        <a:gd name="connsiteY2" fmla="*/ 6921 h 65716"/>
                        <a:gd name="connsiteX3" fmla="*/ 53018 w 66567"/>
                        <a:gd name="connsiteY3" fmla="*/ 12898 h 65716"/>
                        <a:gd name="connsiteX4" fmla="*/ 59751 w 66567"/>
                        <a:gd name="connsiteY4" fmla="*/ 56229 h 65716"/>
                        <a:gd name="connsiteX5" fmla="*/ 59751 w 66567"/>
                        <a:gd name="connsiteY5" fmla="*/ 56229 h 65716"/>
                        <a:gd name="connsiteX6" fmla="*/ 59751 w 66567"/>
                        <a:gd name="connsiteY6" fmla="*/ 56229 h 65716"/>
                        <a:gd name="connsiteX7" fmla="*/ 59751 w 66567"/>
                        <a:gd name="connsiteY7" fmla="*/ 56229 h 65716"/>
                        <a:gd name="connsiteX8" fmla="*/ 34959 w 66567"/>
                        <a:gd name="connsiteY8" fmla="*/ 65705 h 65716"/>
                        <a:gd name="connsiteX9" fmla="*/ 33799 w 66567"/>
                        <a:gd name="connsiteY9" fmla="*/ 65716 h 65716"/>
                        <a:gd name="connsiteX10" fmla="*/ 26269 w 66567"/>
                        <a:gd name="connsiteY10" fmla="*/ 21269 h 65716"/>
                        <a:gd name="connsiteX11" fmla="*/ 24280 w 66567"/>
                        <a:gd name="connsiteY11" fmla="*/ 21960 h 65716"/>
                        <a:gd name="connsiteX12" fmla="*/ 24280 w 66567"/>
                        <a:gd name="connsiteY12" fmla="*/ 41636 h 65716"/>
                        <a:gd name="connsiteX13" fmla="*/ 34406 w 66567"/>
                        <a:gd name="connsiteY13" fmla="*/ 44434 h 65716"/>
                        <a:gd name="connsiteX14" fmla="*/ 44701 w 66567"/>
                        <a:gd name="connsiteY14" fmla="*/ 41179 h 65716"/>
                        <a:gd name="connsiteX15" fmla="*/ 44701 w 66567"/>
                        <a:gd name="connsiteY15" fmla="*/ 41179 h 65716"/>
                        <a:gd name="connsiteX16" fmla="*/ 37969 w 66567"/>
                        <a:gd name="connsiteY16" fmla="*/ 27938 h 65716"/>
                        <a:gd name="connsiteX17" fmla="*/ 26269 w 66567"/>
                        <a:gd name="connsiteY17" fmla="*/ 21269 h 6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567" h="65716">
                          <a:moveTo>
                            <a:pt x="33799" y="65716"/>
                          </a:moveTo>
                          <a:cubicBezTo>
                            <a:pt x="23919" y="65716"/>
                            <a:pt x="15016" y="62451"/>
                            <a:pt x="9241" y="56676"/>
                          </a:cubicBezTo>
                          <a:cubicBezTo>
                            <a:pt x="-3086" y="44349"/>
                            <a:pt x="-3075" y="19237"/>
                            <a:pt x="9241" y="6921"/>
                          </a:cubicBezTo>
                          <a:cubicBezTo>
                            <a:pt x="20356" y="-4183"/>
                            <a:pt x="38352" y="-1737"/>
                            <a:pt x="53018" y="12898"/>
                          </a:cubicBezTo>
                          <a:cubicBezTo>
                            <a:pt x="68228" y="28108"/>
                            <a:pt x="70865" y="45104"/>
                            <a:pt x="59751" y="56229"/>
                          </a:cubicBezTo>
                          <a:lnTo>
                            <a:pt x="59751" y="56229"/>
                          </a:lnTo>
                          <a:lnTo>
                            <a:pt x="59751" y="56229"/>
                          </a:lnTo>
                          <a:lnTo>
                            <a:pt x="59751" y="56229"/>
                          </a:lnTo>
                          <a:cubicBezTo>
                            <a:pt x="53986" y="61994"/>
                            <a:pt x="44946" y="65450"/>
                            <a:pt x="34959" y="65705"/>
                          </a:cubicBezTo>
                          <a:cubicBezTo>
                            <a:pt x="34565" y="65716"/>
                            <a:pt x="34182" y="65716"/>
                            <a:pt x="33799" y="65716"/>
                          </a:cubicBezTo>
                          <a:close/>
                          <a:moveTo>
                            <a:pt x="26269" y="21269"/>
                          </a:moveTo>
                          <a:cubicBezTo>
                            <a:pt x="25450" y="21269"/>
                            <a:pt x="24770" y="21492"/>
                            <a:pt x="24280" y="21960"/>
                          </a:cubicBezTo>
                          <a:cubicBezTo>
                            <a:pt x="20547" y="25704"/>
                            <a:pt x="19941" y="37297"/>
                            <a:pt x="24280" y="41636"/>
                          </a:cubicBezTo>
                          <a:cubicBezTo>
                            <a:pt x="26088" y="43445"/>
                            <a:pt x="30098" y="44498"/>
                            <a:pt x="34406" y="44434"/>
                          </a:cubicBezTo>
                          <a:cubicBezTo>
                            <a:pt x="39373" y="44306"/>
                            <a:pt x="43223" y="42658"/>
                            <a:pt x="44701" y="41179"/>
                          </a:cubicBezTo>
                          <a:cubicBezTo>
                            <a:pt x="44701" y="41179"/>
                            <a:pt x="44701" y="41179"/>
                            <a:pt x="44701" y="41179"/>
                          </a:cubicBezTo>
                          <a:cubicBezTo>
                            <a:pt x="46435" y="39446"/>
                            <a:pt x="43287" y="33255"/>
                            <a:pt x="37969" y="27938"/>
                          </a:cubicBezTo>
                          <a:cubicBezTo>
                            <a:pt x="34310" y="24279"/>
                            <a:pt x="29322" y="21269"/>
                            <a:pt x="26269" y="21269"/>
                          </a:cubicBezTo>
                          <a:close/>
                        </a:path>
                      </a:pathLst>
                    </a:custGeom>
                    <a:solidFill>
                      <a:schemeClr val="accent1"/>
                    </a:solidFill>
                    <a:ln w="1063" cap="flat">
                      <a:noFill/>
                      <a:prstDash val="solid"/>
                      <a:miter/>
                    </a:ln>
                  </p:spPr>
                  <p:txBody>
                    <a:bodyPr rtlCol="0" anchor="ctr"/>
                    <a:lstStyle/>
                    <a:p>
                      <a:endParaRPr lang="en-GB" dirty="0"/>
                    </a:p>
                  </p:txBody>
                </p:sp>
                <p:sp>
                  <p:nvSpPr>
                    <p:cNvPr id="205" name="Freeform: Shape 204">
                      <a:extLst>
                        <a:ext uri="{FF2B5EF4-FFF2-40B4-BE49-F238E27FC236}">
                          <a16:creationId xmlns:a16="http://schemas.microsoft.com/office/drawing/2014/main" id="{1AE99C04-C6A9-479E-AB46-7E301D9D1620}"/>
                        </a:ext>
                      </a:extLst>
                    </p:cNvPr>
                    <p:cNvSpPr/>
                    <p:nvPr/>
                  </p:nvSpPr>
                  <p:spPr>
                    <a:xfrm>
                      <a:off x="4148477" y="416391"/>
                      <a:ext cx="45899" cy="45896"/>
                    </a:xfrm>
                    <a:custGeom>
                      <a:avLst/>
                      <a:gdLst>
                        <a:gd name="connsiteX0" fmla="*/ 10639 w 45899"/>
                        <a:gd name="connsiteY0" fmla="*/ 45896 h 45896"/>
                        <a:gd name="connsiteX1" fmla="*/ 3119 w 45899"/>
                        <a:gd name="connsiteY1" fmla="*/ 42780 h 45896"/>
                        <a:gd name="connsiteX2" fmla="*/ 3119 w 45899"/>
                        <a:gd name="connsiteY2" fmla="*/ 27741 h 45896"/>
                        <a:gd name="connsiteX3" fmla="*/ 27741 w 45899"/>
                        <a:gd name="connsiteY3" fmla="*/ 3119 h 45896"/>
                        <a:gd name="connsiteX4" fmla="*/ 42780 w 45899"/>
                        <a:gd name="connsiteY4" fmla="*/ 3119 h 45896"/>
                        <a:gd name="connsiteX5" fmla="*/ 42780 w 45899"/>
                        <a:gd name="connsiteY5" fmla="*/ 18158 h 45896"/>
                        <a:gd name="connsiteX6" fmla="*/ 18158 w 45899"/>
                        <a:gd name="connsiteY6" fmla="*/ 42780 h 45896"/>
                        <a:gd name="connsiteX7" fmla="*/ 10639 w 45899"/>
                        <a:gd name="connsiteY7" fmla="*/ 45896 h 4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99" h="45896">
                          <a:moveTo>
                            <a:pt x="10639" y="45896"/>
                          </a:moveTo>
                          <a:cubicBezTo>
                            <a:pt x="7916" y="45896"/>
                            <a:pt x="5193" y="44854"/>
                            <a:pt x="3119" y="42780"/>
                          </a:cubicBezTo>
                          <a:cubicBezTo>
                            <a:pt x="-1040" y="38621"/>
                            <a:pt x="-1040" y="31900"/>
                            <a:pt x="3119" y="27741"/>
                          </a:cubicBezTo>
                          <a:lnTo>
                            <a:pt x="27741" y="3119"/>
                          </a:lnTo>
                          <a:cubicBezTo>
                            <a:pt x="31900" y="-1040"/>
                            <a:pt x="38621" y="-1040"/>
                            <a:pt x="42780" y="3119"/>
                          </a:cubicBezTo>
                          <a:cubicBezTo>
                            <a:pt x="46939" y="7278"/>
                            <a:pt x="46939" y="13999"/>
                            <a:pt x="42780" y="18158"/>
                          </a:cubicBezTo>
                          <a:lnTo>
                            <a:pt x="18158" y="42780"/>
                          </a:lnTo>
                          <a:cubicBezTo>
                            <a:pt x="16084" y="44865"/>
                            <a:pt x="13361" y="45896"/>
                            <a:pt x="10639" y="45896"/>
                          </a:cubicBezTo>
                          <a:close/>
                        </a:path>
                      </a:pathLst>
                    </a:custGeom>
                    <a:solidFill>
                      <a:schemeClr val="accent1"/>
                    </a:solidFill>
                    <a:ln w="1063" cap="flat">
                      <a:noFill/>
                      <a:prstDash val="solid"/>
                      <a:miter/>
                    </a:ln>
                  </p:spPr>
                  <p:txBody>
                    <a:bodyPr rtlCol="0" anchor="ctr"/>
                    <a:lstStyle/>
                    <a:p>
                      <a:endParaRPr lang="en-GB" dirty="0"/>
                    </a:p>
                  </p:txBody>
                </p:sp>
              </p:grpSp>
              <p:grpSp>
                <p:nvGrpSpPr>
                  <p:cNvPr id="201" name="Graphic 818">
                    <a:extLst>
                      <a:ext uri="{FF2B5EF4-FFF2-40B4-BE49-F238E27FC236}">
                        <a16:creationId xmlns:a16="http://schemas.microsoft.com/office/drawing/2014/main" id="{F0F33A97-59E6-4A2D-80B5-7A3113F9AAA1}"/>
                      </a:ext>
                    </a:extLst>
                  </p:cNvPr>
                  <p:cNvGrpSpPr/>
                  <p:nvPr/>
                </p:nvGrpSpPr>
                <p:grpSpPr>
                  <a:xfrm>
                    <a:off x="3928240" y="377619"/>
                    <a:ext cx="85070" cy="84413"/>
                    <a:chOff x="3928240" y="377619"/>
                    <a:chExt cx="85070" cy="84413"/>
                  </a:xfrm>
                  <a:solidFill>
                    <a:schemeClr val="accent1"/>
                  </a:solidFill>
                </p:grpSpPr>
                <p:sp>
                  <p:nvSpPr>
                    <p:cNvPr id="202" name="Freeform: Shape 201">
                      <a:extLst>
                        <a:ext uri="{FF2B5EF4-FFF2-40B4-BE49-F238E27FC236}">
                          <a16:creationId xmlns:a16="http://schemas.microsoft.com/office/drawing/2014/main" id="{C83D8E17-ACB1-4972-B01E-19D7DED2DBB8}"/>
                        </a:ext>
                      </a:extLst>
                    </p:cNvPr>
                    <p:cNvSpPr/>
                    <p:nvPr/>
                  </p:nvSpPr>
                  <p:spPr>
                    <a:xfrm>
                      <a:off x="3928240" y="377619"/>
                      <a:ext cx="66560" cy="65715"/>
                    </a:xfrm>
                    <a:custGeom>
                      <a:avLst/>
                      <a:gdLst>
                        <a:gd name="connsiteX0" fmla="*/ 32761 w 66560"/>
                        <a:gd name="connsiteY0" fmla="*/ 65715 h 65715"/>
                        <a:gd name="connsiteX1" fmla="*/ 31601 w 66560"/>
                        <a:gd name="connsiteY1" fmla="*/ 65705 h 65715"/>
                        <a:gd name="connsiteX2" fmla="*/ 6809 w 66560"/>
                        <a:gd name="connsiteY2" fmla="*/ 56228 h 65715"/>
                        <a:gd name="connsiteX3" fmla="*/ 6809 w 66560"/>
                        <a:gd name="connsiteY3" fmla="*/ 56228 h 65715"/>
                        <a:gd name="connsiteX4" fmla="*/ 6809 w 66560"/>
                        <a:gd name="connsiteY4" fmla="*/ 56228 h 65715"/>
                        <a:gd name="connsiteX5" fmla="*/ 6809 w 66560"/>
                        <a:gd name="connsiteY5" fmla="*/ 56228 h 65715"/>
                        <a:gd name="connsiteX6" fmla="*/ 13542 w 66560"/>
                        <a:gd name="connsiteY6" fmla="*/ 12908 h 65715"/>
                        <a:gd name="connsiteX7" fmla="*/ 57319 w 66560"/>
                        <a:gd name="connsiteY7" fmla="*/ 6920 h 65715"/>
                        <a:gd name="connsiteX8" fmla="*/ 57319 w 66560"/>
                        <a:gd name="connsiteY8" fmla="*/ 56675 h 65715"/>
                        <a:gd name="connsiteX9" fmla="*/ 32761 w 66560"/>
                        <a:gd name="connsiteY9" fmla="*/ 65715 h 65715"/>
                        <a:gd name="connsiteX10" fmla="*/ 40291 w 66560"/>
                        <a:gd name="connsiteY10" fmla="*/ 21268 h 65715"/>
                        <a:gd name="connsiteX11" fmla="*/ 28581 w 66560"/>
                        <a:gd name="connsiteY11" fmla="*/ 27947 h 65715"/>
                        <a:gd name="connsiteX12" fmla="*/ 21848 w 66560"/>
                        <a:gd name="connsiteY12" fmla="*/ 41189 h 65715"/>
                        <a:gd name="connsiteX13" fmla="*/ 21848 w 66560"/>
                        <a:gd name="connsiteY13" fmla="*/ 41189 h 65715"/>
                        <a:gd name="connsiteX14" fmla="*/ 32144 w 66560"/>
                        <a:gd name="connsiteY14" fmla="*/ 44444 h 65715"/>
                        <a:gd name="connsiteX15" fmla="*/ 42269 w 66560"/>
                        <a:gd name="connsiteY15" fmla="*/ 41646 h 65715"/>
                        <a:gd name="connsiteX16" fmla="*/ 42269 w 66560"/>
                        <a:gd name="connsiteY16" fmla="*/ 21970 h 65715"/>
                        <a:gd name="connsiteX17" fmla="*/ 40291 w 66560"/>
                        <a:gd name="connsiteY17" fmla="*/ 21268 h 65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560" h="65715">
                          <a:moveTo>
                            <a:pt x="32761" y="65715"/>
                          </a:moveTo>
                          <a:cubicBezTo>
                            <a:pt x="32378" y="65715"/>
                            <a:pt x="31995" y="65715"/>
                            <a:pt x="31601" y="65705"/>
                          </a:cubicBezTo>
                          <a:cubicBezTo>
                            <a:pt x="21614" y="65449"/>
                            <a:pt x="12574" y="61993"/>
                            <a:pt x="6809" y="56228"/>
                          </a:cubicBezTo>
                          <a:lnTo>
                            <a:pt x="6809" y="56228"/>
                          </a:lnTo>
                          <a:lnTo>
                            <a:pt x="6809" y="56228"/>
                          </a:lnTo>
                          <a:lnTo>
                            <a:pt x="6809" y="56228"/>
                          </a:lnTo>
                          <a:cubicBezTo>
                            <a:pt x="-4295" y="45114"/>
                            <a:pt x="-1657" y="28107"/>
                            <a:pt x="13542" y="12908"/>
                          </a:cubicBezTo>
                          <a:cubicBezTo>
                            <a:pt x="28198" y="-1737"/>
                            <a:pt x="46205" y="-4184"/>
                            <a:pt x="57319" y="6920"/>
                          </a:cubicBezTo>
                          <a:cubicBezTo>
                            <a:pt x="69635" y="19237"/>
                            <a:pt x="69646" y="44348"/>
                            <a:pt x="57319" y="56675"/>
                          </a:cubicBezTo>
                          <a:cubicBezTo>
                            <a:pt x="51544" y="62450"/>
                            <a:pt x="42641" y="65715"/>
                            <a:pt x="32761" y="65715"/>
                          </a:cubicBezTo>
                          <a:close/>
                          <a:moveTo>
                            <a:pt x="40291" y="21268"/>
                          </a:moveTo>
                          <a:cubicBezTo>
                            <a:pt x="37228" y="21268"/>
                            <a:pt x="32250" y="24278"/>
                            <a:pt x="28581" y="27947"/>
                          </a:cubicBezTo>
                          <a:cubicBezTo>
                            <a:pt x="23263" y="33265"/>
                            <a:pt x="20115" y="39455"/>
                            <a:pt x="21848" y="41189"/>
                          </a:cubicBezTo>
                          <a:cubicBezTo>
                            <a:pt x="21848" y="41189"/>
                            <a:pt x="21848" y="41189"/>
                            <a:pt x="21848" y="41189"/>
                          </a:cubicBezTo>
                          <a:cubicBezTo>
                            <a:pt x="23327" y="42667"/>
                            <a:pt x="27166" y="44305"/>
                            <a:pt x="32144" y="44444"/>
                          </a:cubicBezTo>
                          <a:cubicBezTo>
                            <a:pt x="36494" y="44561"/>
                            <a:pt x="40461" y="43454"/>
                            <a:pt x="42269" y="41646"/>
                          </a:cubicBezTo>
                          <a:cubicBezTo>
                            <a:pt x="46609" y="37307"/>
                            <a:pt x="46002" y="25703"/>
                            <a:pt x="42269" y="21970"/>
                          </a:cubicBezTo>
                          <a:cubicBezTo>
                            <a:pt x="41791" y="21481"/>
                            <a:pt x="41110" y="21268"/>
                            <a:pt x="40291" y="21268"/>
                          </a:cubicBezTo>
                          <a:close/>
                        </a:path>
                      </a:pathLst>
                    </a:custGeom>
                    <a:solidFill>
                      <a:schemeClr val="accent1"/>
                    </a:solidFill>
                    <a:ln w="1063" cap="flat">
                      <a:noFill/>
                      <a:prstDash val="solid"/>
                      <a:miter/>
                    </a:ln>
                  </p:spPr>
                  <p:txBody>
                    <a:bodyPr rtlCol="0" anchor="ctr"/>
                    <a:lstStyle/>
                    <a:p>
                      <a:endParaRPr lang="en-GB" dirty="0"/>
                    </a:p>
                  </p:txBody>
                </p:sp>
                <p:sp>
                  <p:nvSpPr>
                    <p:cNvPr id="203" name="Freeform: Shape 202">
                      <a:extLst>
                        <a:ext uri="{FF2B5EF4-FFF2-40B4-BE49-F238E27FC236}">
                          <a16:creationId xmlns:a16="http://schemas.microsoft.com/office/drawing/2014/main" id="{3D259930-FE85-4AC9-9E1D-422F709204AF}"/>
                        </a:ext>
                      </a:extLst>
                    </p:cNvPr>
                    <p:cNvSpPr/>
                    <p:nvPr/>
                  </p:nvSpPr>
                  <p:spPr>
                    <a:xfrm>
                      <a:off x="3967412" y="416135"/>
                      <a:ext cx="45899" cy="45896"/>
                    </a:xfrm>
                    <a:custGeom>
                      <a:avLst/>
                      <a:gdLst>
                        <a:gd name="connsiteX0" fmla="*/ 35261 w 45899"/>
                        <a:gd name="connsiteY0" fmla="*/ 45896 h 45896"/>
                        <a:gd name="connsiteX1" fmla="*/ 27741 w 45899"/>
                        <a:gd name="connsiteY1" fmla="*/ 42780 h 45896"/>
                        <a:gd name="connsiteX2" fmla="*/ 3119 w 45899"/>
                        <a:gd name="connsiteY2" fmla="*/ 18158 h 45896"/>
                        <a:gd name="connsiteX3" fmla="*/ 3119 w 45899"/>
                        <a:gd name="connsiteY3" fmla="*/ 3119 h 45896"/>
                        <a:gd name="connsiteX4" fmla="*/ 18158 w 45899"/>
                        <a:gd name="connsiteY4" fmla="*/ 3119 h 45896"/>
                        <a:gd name="connsiteX5" fmla="*/ 42780 w 45899"/>
                        <a:gd name="connsiteY5" fmla="*/ 27741 h 45896"/>
                        <a:gd name="connsiteX6" fmla="*/ 42780 w 45899"/>
                        <a:gd name="connsiteY6" fmla="*/ 42780 h 45896"/>
                        <a:gd name="connsiteX7" fmla="*/ 35261 w 45899"/>
                        <a:gd name="connsiteY7" fmla="*/ 45896 h 4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99" h="45896">
                          <a:moveTo>
                            <a:pt x="35261" y="45896"/>
                          </a:moveTo>
                          <a:cubicBezTo>
                            <a:pt x="32538" y="45896"/>
                            <a:pt x="29815" y="44854"/>
                            <a:pt x="27741" y="42780"/>
                          </a:cubicBezTo>
                          <a:lnTo>
                            <a:pt x="3119" y="18158"/>
                          </a:lnTo>
                          <a:cubicBezTo>
                            <a:pt x="-1040" y="13999"/>
                            <a:pt x="-1040" y="7278"/>
                            <a:pt x="3119" y="3119"/>
                          </a:cubicBezTo>
                          <a:cubicBezTo>
                            <a:pt x="7278" y="-1040"/>
                            <a:pt x="13999" y="-1040"/>
                            <a:pt x="18158" y="3119"/>
                          </a:cubicBezTo>
                          <a:lnTo>
                            <a:pt x="42780" y="27741"/>
                          </a:lnTo>
                          <a:cubicBezTo>
                            <a:pt x="46939" y="31900"/>
                            <a:pt x="46939" y="38621"/>
                            <a:pt x="42780" y="42780"/>
                          </a:cubicBezTo>
                          <a:cubicBezTo>
                            <a:pt x="40706" y="44854"/>
                            <a:pt x="37983" y="45896"/>
                            <a:pt x="35261" y="45896"/>
                          </a:cubicBezTo>
                          <a:close/>
                        </a:path>
                      </a:pathLst>
                    </a:custGeom>
                    <a:solidFill>
                      <a:schemeClr val="accent1"/>
                    </a:solidFill>
                    <a:ln w="1063" cap="flat">
                      <a:noFill/>
                      <a:prstDash val="solid"/>
                      <a:miter/>
                    </a:ln>
                  </p:spPr>
                  <p:txBody>
                    <a:bodyPr rtlCol="0" anchor="ctr"/>
                    <a:lstStyle/>
                    <a:p>
                      <a:endParaRPr lang="en-GB" dirty="0"/>
                    </a:p>
                  </p:txBody>
                </p:sp>
              </p:grpSp>
            </p:grpSp>
            <p:grpSp>
              <p:nvGrpSpPr>
                <p:cNvPr id="181" name="Graphic 818">
                  <a:extLst>
                    <a:ext uri="{FF2B5EF4-FFF2-40B4-BE49-F238E27FC236}">
                      <a16:creationId xmlns:a16="http://schemas.microsoft.com/office/drawing/2014/main" id="{CB12670B-28F3-4FC8-9D44-FDCF3E4C0B9D}"/>
                    </a:ext>
                  </a:extLst>
                </p:cNvPr>
                <p:cNvGrpSpPr/>
                <p:nvPr/>
              </p:nvGrpSpPr>
              <p:grpSpPr>
                <a:xfrm>
                  <a:off x="3928222" y="597243"/>
                  <a:ext cx="305314" cy="129121"/>
                  <a:chOff x="3928222" y="597243"/>
                  <a:chExt cx="305314" cy="129121"/>
                </a:xfrm>
                <a:solidFill>
                  <a:schemeClr val="accent1"/>
                </a:solidFill>
              </p:grpSpPr>
              <p:grpSp>
                <p:nvGrpSpPr>
                  <p:cNvPr id="190" name="Graphic 818">
                    <a:extLst>
                      <a:ext uri="{FF2B5EF4-FFF2-40B4-BE49-F238E27FC236}">
                        <a16:creationId xmlns:a16="http://schemas.microsoft.com/office/drawing/2014/main" id="{459736D1-0C2E-4E44-B74C-9ACA6B196B94}"/>
                      </a:ext>
                    </a:extLst>
                  </p:cNvPr>
                  <p:cNvGrpSpPr/>
                  <p:nvPr/>
                </p:nvGrpSpPr>
                <p:grpSpPr>
                  <a:xfrm>
                    <a:off x="4045630" y="629642"/>
                    <a:ext cx="70579" cy="96722"/>
                    <a:chOff x="4045630" y="629642"/>
                    <a:chExt cx="70579" cy="96722"/>
                  </a:xfrm>
                  <a:solidFill>
                    <a:schemeClr val="accent1"/>
                  </a:solidFill>
                </p:grpSpPr>
                <p:sp>
                  <p:nvSpPr>
                    <p:cNvPr id="197" name="Freeform: Shape 196">
                      <a:extLst>
                        <a:ext uri="{FF2B5EF4-FFF2-40B4-BE49-F238E27FC236}">
                          <a16:creationId xmlns:a16="http://schemas.microsoft.com/office/drawing/2014/main" id="{9F521528-A164-47A8-A4F2-1A035F8EC115}"/>
                        </a:ext>
                      </a:extLst>
                    </p:cNvPr>
                    <p:cNvSpPr/>
                    <p:nvPr/>
                  </p:nvSpPr>
                  <p:spPr>
                    <a:xfrm>
                      <a:off x="4045630" y="664464"/>
                      <a:ext cx="70579" cy="61900"/>
                    </a:xfrm>
                    <a:custGeom>
                      <a:avLst/>
                      <a:gdLst>
                        <a:gd name="connsiteX0" fmla="*/ 35183 w 70579"/>
                        <a:gd name="connsiteY0" fmla="*/ 61901 h 61900"/>
                        <a:gd name="connsiteX1" fmla="*/ 0 w 70579"/>
                        <a:gd name="connsiteY1" fmla="*/ 35183 h 61900"/>
                        <a:gd name="connsiteX2" fmla="*/ 35183 w 70579"/>
                        <a:gd name="connsiteY2" fmla="*/ 0 h 61900"/>
                        <a:gd name="connsiteX3" fmla="*/ 70580 w 70579"/>
                        <a:gd name="connsiteY3" fmla="*/ 36034 h 61900"/>
                        <a:gd name="connsiteX4" fmla="*/ 35183 w 70579"/>
                        <a:gd name="connsiteY4" fmla="*/ 61901 h 61900"/>
                        <a:gd name="connsiteX5" fmla="*/ 35183 w 70579"/>
                        <a:gd name="connsiteY5" fmla="*/ 21272 h 61900"/>
                        <a:gd name="connsiteX6" fmla="*/ 21272 w 70579"/>
                        <a:gd name="connsiteY6" fmla="*/ 35183 h 61900"/>
                        <a:gd name="connsiteX7" fmla="*/ 35183 w 70579"/>
                        <a:gd name="connsiteY7" fmla="*/ 40629 h 61900"/>
                        <a:gd name="connsiteX8" fmla="*/ 49308 w 70579"/>
                        <a:gd name="connsiteY8" fmla="*/ 36024 h 61900"/>
                        <a:gd name="connsiteX9" fmla="*/ 35183 w 70579"/>
                        <a:gd name="connsiteY9" fmla="*/ 21272 h 6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579" h="61900">
                          <a:moveTo>
                            <a:pt x="35183" y="61901"/>
                          </a:moveTo>
                          <a:cubicBezTo>
                            <a:pt x="14465" y="61901"/>
                            <a:pt x="0" y="50914"/>
                            <a:pt x="0" y="35183"/>
                          </a:cubicBezTo>
                          <a:cubicBezTo>
                            <a:pt x="0" y="17751"/>
                            <a:pt x="17751" y="0"/>
                            <a:pt x="35183" y="0"/>
                          </a:cubicBezTo>
                          <a:cubicBezTo>
                            <a:pt x="52382" y="0"/>
                            <a:pt x="70580" y="18517"/>
                            <a:pt x="70580" y="36034"/>
                          </a:cubicBezTo>
                          <a:cubicBezTo>
                            <a:pt x="70569" y="51743"/>
                            <a:pt x="56679" y="61901"/>
                            <a:pt x="35183" y="61901"/>
                          </a:cubicBezTo>
                          <a:close/>
                          <a:moveTo>
                            <a:pt x="35183" y="21272"/>
                          </a:moveTo>
                          <a:cubicBezTo>
                            <a:pt x="29047" y="21272"/>
                            <a:pt x="21272" y="29897"/>
                            <a:pt x="21272" y="35183"/>
                          </a:cubicBezTo>
                          <a:cubicBezTo>
                            <a:pt x="21272" y="38395"/>
                            <a:pt x="28600" y="40629"/>
                            <a:pt x="35183" y="40629"/>
                          </a:cubicBezTo>
                          <a:cubicBezTo>
                            <a:pt x="42703" y="40629"/>
                            <a:pt x="49308" y="38481"/>
                            <a:pt x="49308" y="36024"/>
                          </a:cubicBezTo>
                          <a:cubicBezTo>
                            <a:pt x="49297" y="30684"/>
                            <a:pt x="41140" y="21272"/>
                            <a:pt x="35183" y="21272"/>
                          </a:cubicBezTo>
                          <a:close/>
                        </a:path>
                      </a:pathLst>
                    </a:custGeom>
                    <a:solidFill>
                      <a:schemeClr val="accent1"/>
                    </a:solidFill>
                    <a:ln w="1063" cap="flat">
                      <a:noFill/>
                      <a:prstDash val="solid"/>
                      <a:miter/>
                    </a:ln>
                  </p:spPr>
                  <p:txBody>
                    <a:bodyPr rtlCol="0" anchor="ctr"/>
                    <a:lstStyle/>
                    <a:p>
                      <a:endParaRPr lang="en-GB" dirty="0"/>
                    </a:p>
                  </p:txBody>
                </p:sp>
                <p:sp>
                  <p:nvSpPr>
                    <p:cNvPr id="198" name="Freeform: Shape 197">
                      <a:extLst>
                        <a:ext uri="{FF2B5EF4-FFF2-40B4-BE49-F238E27FC236}">
                          <a16:creationId xmlns:a16="http://schemas.microsoft.com/office/drawing/2014/main" id="{DAA61654-D7A3-4EA8-ACA4-36757CF9CEC6}"/>
                        </a:ext>
                      </a:extLst>
                    </p:cNvPr>
                    <p:cNvSpPr/>
                    <p:nvPr/>
                  </p:nvSpPr>
                  <p:spPr>
                    <a:xfrm>
                      <a:off x="4070157" y="629642"/>
                      <a:ext cx="21271" cy="56093"/>
                    </a:xfrm>
                    <a:custGeom>
                      <a:avLst/>
                      <a:gdLst>
                        <a:gd name="connsiteX0" fmla="*/ 10636 w 21271"/>
                        <a:gd name="connsiteY0" fmla="*/ 56093 h 56093"/>
                        <a:gd name="connsiteX1" fmla="*/ 0 w 21271"/>
                        <a:gd name="connsiteY1" fmla="*/ 45458 h 56093"/>
                        <a:gd name="connsiteX2" fmla="*/ 0 w 21271"/>
                        <a:gd name="connsiteY2" fmla="*/ 10636 h 56093"/>
                        <a:gd name="connsiteX3" fmla="*/ 10636 w 21271"/>
                        <a:gd name="connsiteY3" fmla="*/ 0 h 56093"/>
                        <a:gd name="connsiteX4" fmla="*/ 21272 w 21271"/>
                        <a:gd name="connsiteY4" fmla="*/ 10636 h 56093"/>
                        <a:gd name="connsiteX5" fmla="*/ 21272 w 21271"/>
                        <a:gd name="connsiteY5" fmla="*/ 45458 h 56093"/>
                        <a:gd name="connsiteX6" fmla="*/ 10636 w 21271"/>
                        <a:gd name="connsiteY6" fmla="*/ 56093 h 5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56093">
                          <a:moveTo>
                            <a:pt x="10636" y="56093"/>
                          </a:moveTo>
                          <a:cubicBezTo>
                            <a:pt x="4765" y="56093"/>
                            <a:pt x="0" y="51329"/>
                            <a:pt x="0" y="45458"/>
                          </a:cubicBezTo>
                          <a:lnTo>
                            <a:pt x="0" y="10636"/>
                          </a:lnTo>
                          <a:cubicBezTo>
                            <a:pt x="0" y="4765"/>
                            <a:pt x="4765" y="0"/>
                            <a:pt x="10636" y="0"/>
                          </a:cubicBezTo>
                          <a:cubicBezTo>
                            <a:pt x="16507" y="0"/>
                            <a:pt x="21272" y="4765"/>
                            <a:pt x="21272" y="10636"/>
                          </a:cubicBezTo>
                          <a:lnTo>
                            <a:pt x="21272" y="45458"/>
                          </a:lnTo>
                          <a:cubicBezTo>
                            <a:pt x="21272" y="51329"/>
                            <a:pt x="16507" y="56093"/>
                            <a:pt x="10636" y="56093"/>
                          </a:cubicBezTo>
                          <a:close/>
                        </a:path>
                      </a:pathLst>
                    </a:custGeom>
                    <a:solidFill>
                      <a:schemeClr val="accent1"/>
                    </a:solidFill>
                    <a:ln w="1063" cap="flat">
                      <a:noFill/>
                      <a:prstDash val="solid"/>
                      <a:miter/>
                    </a:ln>
                  </p:spPr>
                  <p:txBody>
                    <a:bodyPr rtlCol="0" anchor="ctr"/>
                    <a:lstStyle/>
                    <a:p>
                      <a:endParaRPr lang="en-GB" dirty="0"/>
                    </a:p>
                  </p:txBody>
                </p:sp>
              </p:grpSp>
              <p:grpSp>
                <p:nvGrpSpPr>
                  <p:cNvPr id="191" name="Graphic 818">
                    <a:extLst>
                      <a:ext uri="{FF2B5EF4-FFF2-40B4-BE49-F238E27FC236}">
                        <a16:creationId xmlns:a16="http://schemas.microsoft.com/office/drawing/2014/main" id="{18AAFEC0-EADC-4D8B-913E-6BD7E27940F2}"/>
                      </a:ext>
                    </a:extLst>
                  </p:cNvPr>
                  <p:cNvGrpSpPr/>
                  <p:nvPr/>
                </p:nvGrpSpPr>
                <p:grpSpPr>
                  <a:xfrm>
                    <a:off x="4148477" y="597243"/>
                    <a:ext cx="85060" cy="84408"/>
                    <a:chOff x="4148477" y="597243"/>
                    <a:chExt cx="85060" cy="84408"/>
                  </a:xfrm>
                  <a:solidFill>
                    <a:schemeClr val="accent1"/>
                  </a:solidFill>
                </p:grpSpPr>
                <p:sp>
                  <p:nvSpPr>
                    <p:cNvPr id="195" name="Freeform: Shape 194">
                      <a:extLst>
                        <a:ext uri="{FF2B5EF4-FFF2-40B4-BE49-F238E27FC236}">
                          <a16:creationId xmlns:a16="http://schemas.microsoft.com/office/drawing/2014/main" id="{933C3588-77EE-4B81-9CC3-B320D2203228}"/>
                        </a:ext>
                      </a:extLst>
                    </p:cNvPr>
                    <p:cNvSpPr/>
                    <p:nvPr/>
                  </p:nvSpPr>
                  <p:spPr>
                    <a:xfrm>
                      <a:off x="4166987" y="615918"/>
                      <a:ext cx="66549" cy="65733"/>
                    </a:xfrm>
                    <a:custGeom>
                      <a:avLst/>
                      <a:gdLst>
                        <a:gd name="connsiteX0" fmla="*/ 26067 w 66549"/>
                        <a:gd name="connsiteY0" fmla="*/ 65734 h 65733"/>
                        <a:gd name="connsiteX1" fmla="*/ 9241 w 66549"/>
                        <a:gd name="connsiteY1" fmla="*/ 58810 h 65733"/>
                        <a:gd name="connsiteX2" fmla="*/ 9241 w 66549"/>
                        <a:gd name="connsiteY2" fmla="*/ 9045 h 65733"/>
                        <a:gd name="connsiteX3" fmla="*/ 34948 w 66549"/>
                        <a:gd name="connsiteY3" fmla="*/ 15 h 65733"/>
                        <a:gd name="connsiteX4" fmla="*/ 59740 w 66549"/>
                        <a:gd name="connsiteY4" fmla="*/ 9492 h 65733"/>
                        <a:gd name="connsiteX5" fmla="*/ 59740 w 66549"/>
                        <a:gd name="connsiteY5" fmla="*/ 9492 h 65733"/>
                        <a:gd name="connsiteX6" fmla="*/ 59740 w 66549"/>
                        <a:gd name="connsiteY6" fmla="*/ 9492 h 65733"/>
                        <a:gd name="connsiteX7" fmla="*/ 59740 w 66549"/>
                        <a:gd name="connsiteY7" fmla="*/ 9492 h 65733"/>
                        <a:gd name="connsiteX8" fmla="*/ 53008 w 66549"/>
                        <a:gd name="connsiteY8" fmla="*/ 52811 h 65733"/>
                        <a:gd name="connsiteX9" fmla="*/ 26067 w 66549"/>
                        <a:gd name="connsiteY9" fmla="*/ 65734 h 65733"/>
                        <a:gd name="connsiteX10" fmla="*/ 33810 w 66549"/>
                        <a:gd name="connsiteY10" fmla="*/ 21287 h 65733"/>
                        <a:gd name="connsiteX11" fmla="*/ 24280 w 66549"/>
                        <a:gd name="connsiteY11" fmla="*/ 24095 h 65733"/>
                        <a:gd name="connsiteX12" fmla="*/ 24280 w 66549"/>
                        <a:gd name="connsiteY12" fmla="*/ 43771 h 65733"/>
                        <a:gd name="connsiteX13" fmla="*/ 37969 w 66549"/>
                        <a:gd name="connsiteY13" fmla="*/ 37783 h 65733"/>
                        <a:gd name="connsiteX14" fmla="*/ 44701 w 66549"/>
                        <a:gd name="connsiteY14" fmla="*/ 24541 h 65733"/>
                        <a:gd name="connsiteX15" fmla="*/ 44701 w 66549"/>
                        <a:gd name="connsiteY15" fmla="*/ 24541 h 65733"/>
                        <a:gd name="connsiteX16" fmla="*/ 34406 w 66549"/>
                        <a:gd name="connsiteY16" fmla="*/ 21287 h 65733"/>
                        <a:gd name="connsiteX17" fmla="*/ 33810 w 66549"/>
                        <a:gd name="connsiteY17" fmla="*/ 21287 h 6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549" h="65733">
                          <a:moveTo>
                            <a:pt x="26067" y="65734"/>
                          </a:moveTo>
                          <a:cubicBezTo>
                            <a:pt x="19760" y="65734"/>
                            <a:pt x="13900" y="63458"/>
                            <a:pt x="9241" y="58810"/>
                          </a:cubicBezTo>
                          <a:cubicBezTo>
                            <a:pt x="-3086" y="46472"/>
                            <a:pt x="-3075" y="21361"/>
                            <a:pt x="9241" y="9045"/>
                          </a:cubicBezTo>
                          <a:cubicBezTo>
                            <a:pt x="15240" y="3046"/>
                            <a:pt x="24631" y="-251"/>
                            <a:pt x="34948" y="15"/>
                          </a:cubicBezTo>
                          <a:cubicBezTo>
                            <a:pt x="44935" y="270"/>
                            <a:pt x="53976" y="3727"/>
                            <a:pt x="59740" y="9492"/>
                          </a:cubicBezTo>
                          <a:lnTo>
                            <a:pt x="59740" y="9492"/>
                          </a:lnTo>
                          <a:lnTo>
                            <a:pt x="59740" y="9492"/>
                          </a:lnTo>
                          <a:lnTo>
                            <a:pt x="59740" y="9492"/>
                          </a:lnTo>
                          <a:cubicBezTo>
                            <a:pt x="70844" y="20606"/>
                            <a:pt x="68206" y="37613"/>
                            <a:pt x="53008" y="52811"/>
                          </a:cubicBezTo>
                          <a:cubicBezTo>
                            <a:pt x="44499" y="61341"/>
                            <a:pt x="34842" y="65734"/>
                            <a:pt x="26067" y="65734"/>
                          </a:cubicBezTo>
                          <a:close/>
                          <a:moveTo>
                            <a:pt x="33810" y="21287"/>
                          </a:moveTo>
                          <a:cubicBezTo>
                            <a:pt x="29705" y="21287"/>
                            <a:pt x="26014" y="22372"/>
                            <a:pt x="24280" y="24095"/>
                          </a:cubicBezTo>
                          <a:cubicBezTo>
                            <a:pt x="19930" y="28434"/>
                            <a:pt x="20536" y="40038"/>
                            <a:pt x="24280" y="43771"/>
                          </a:cubicBezTo>
                          <a:cubicBezTo>
                            <a:pt x="26546" y="46026"/>
                            <a:pt x="33321" y="42431"/>
                            <a:pt x="37969" y="37783"/>
                          </a:cubicBezTo>
                          <a:cubicBezTo>
                            <a:pt x="43287" y="32465"/>
                            <a:pt x="46435" y="26275"/>
                            <a:pt x="44701" y="24541"/>
                          </a:cubicBezTo>
                          <a:cubicBezTo>
                            <a:pt x="44701" y="24541"/>
                            <a:pt x="44701" y="24541"/>
                            <a:pt x="44701" y="24541"/>
                          </a:cubicBezTo>
                          <a:cubicBezTo>
                            <a:pt x="43223" y="23063"/>
                            <a:pt x="39383" y="21425"/>
                            <a:pt x="34406" y="21287"/>
                          </a:cubicBezTo>
                          <a:cubicBezTo>
                            <a:pt x="34214" y="21287"/>
                            <a:pt x="34012" y="21287"/>
                            <a:pt x="33810" y="21287"/>
                          </a:cubicBezTo>
                          <a:close/>
                        </a:path>
                      </a:pathLst>
                    </a:custGeom>
                    <a:solidFill>
                      <a:schemeClr val="accent1"/>
                    </a:solidFill>
                    <a:ln w="1063" cap="flat">
                      <a:noFill/>
                      <a:prstDash val="solid"/>
                      <a:miter/>
                    </a:ln>
                  </p:spPr>
                  <p:txBody>
                    <a:bodyPr rtlCol="0" anchor="ctr"/>
                    <a:lstStyle/>
                    <a:p>
                      <a:endParaRPr lang="en-GB" dirty="0"/>
                    </a:p>
                  </p:txBody>
                </p:sp>
                <p:sp>
                  <p:nvSpPr>
                    <p:cNvPr id="196" name="Freeform: Shape 195">
                      <a:extLst>
                        <a:ext uri="{FF2B5EF4-FFF2-40B4-BE49-F238E27FC236}">
                          <a16:creationId xmlns:a16="http://schemas.microsoft.com/office/drawing/2014/main" id="{D5FE8D96-6E80-43D9-ACE6-A47868574072}"/>
                        </a:ext>
                      </a:extLst>
                    </p:cNvPr>
                    <p:cNvSpPr/>
                    <p:nvPr/>
                  </p:nvSpPr>
                  <p:spPr>
                    <a:xfrm>
                      <a:off x="4148477" y="597243"/>
                      <a:ext cx="45899" cy="45896"/>
                    </a:xfrm>
                    <a:custGeom>
                      <a:avLst/>
                      <a:gdLst>
                        <a:gd name="connsiteX0" fmla="*/ 35261 w 45899"/>
                        <a:gd name="connsiteY0" fmla="*/ 45896 h 45896"/>
                        <a:gd name="connsiteX1" fmla="*/ 27741 w 45899"/>
                        <a:gd name="connsiteY1" fmla="*/ 42780 h 45896"/>
                        <a:gd name="connsiteX2" fmla="*/ 3119 w 45899"/>
                        <a:gd name="connsiteY2" fmla="*/ 18158 h 45896"/>
                        <a:gd name="connsiteX3" fmla="*/ 3119 w 45899"/>
                        <a:gd name="connsiteY3" fmla="*/ 3119 h 45896"/>
                        <a:gd name="connsiteX4" fmla="*/ 18158 w 45899"/>
                        <a:gd name="connsiteY4" fmla="*/ 3119 h 45896"/>
                        <a:gd name="connsiteX5" fmla="*/ 42780 w 45899"/>
                        <a:gd name="connsiteY5" fmla="*/ 27741 h 45896"/>
                        <a:gd name="connsiteX6" fmla="*/ 42780 w 45899"/>
                        <a:gd name="connsiteY6" fmla="*/ 42780 h 45896"/>
                        <a:gd name="connsiteX7" fmla="*/ 35261 w 45899"/>
                        <a:gd name="connsiteY7" fmla="*/ 45896 h 4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99" h="45896">
                          <a:moveTo>
                            <a:pt x="35261" y="45896"/>
                          </a:moveTo>
                          <a:cubicBezTo>
                            <a:pt x="32538" y="45896"/>
                            <a:pt x="29815" y="44854"/>
                            <a:pt x="27741" y="42780"/>
                          </a:cubicBezTo>
                          <a:lnTo>
                            <a:pt x="3119" y="18158"/>
                          </a:lnTo>
                          <a:cubicBezTo>
                            <a:pt x="-1040" y="13999"/>
                            <a:pt x="-1040" y="7278"/>
                            <a:pt x="3119" y="3119"/>
                          </a:cubicBezTo>
                          <a:cubicBezTo>
                            <a:pt x="7278" y="-1040"/>
                            <a:pt x="13999" y="-1040"/>
                            <a:pt x="18158" y="3119"/>
                          </a:cubicBezTo>
                          <a:lnTo>
                            <a:pt x="42780" y="27741"/>
                          </a:lnTo>
                          <a:cubicBezTo>
                            <a:pt x="46939" y="31900"/>
                            <a:pt x="46939" y="38621"/>
                            <a:pt x="42780" y="42780"/>
                          </a:cubicBezTo>
                          <a:cubicBezTo>
                            <a:pt x="40706" y="44854"/>
                            <a:pt x="37983" y="45896"/>
                            <a:pt x="35261" y="45896"/>
                          </a:cubicBezTo>
                          <a:close/>
                        </a:path>
                      </a:pathLst>
                    </a:custGeom>
                    <a:solidFill>
                      <a:schemeClr val="accent1"/>
                    </a:solidFill>
                    <a:ln w="1063" cap="flat">
                      <a:noFill/>
                      <a:prstDash val="solid"/>
                      <a:miter/>
                    </a:ln>
                  </p:spPr>
                  <p:txBody>
                    <a:bodyPr rtlCol="0" anchor="ctr"/>
                    <a:lstStyle/>
                    <a:p>
                      <a:endParaRPr lang="en-GB" dirty="0"/>
                    </a:p>
                  </p:txBody>
                </p:sp>
              </p:grpSp>
              <p:grpSp>
                <p:nvGrpSpPr>
                  <p:cNvPr id="192" name="Graphic 818">
                    <a:extLst>
                      <a:ext uri="{FF2B5EF4-FFF2-40B4-BE49-F238E27FC236}">
                        <a16:creationId xmlns:a16="http://schemas.microsoft.com/office/drawing/2014/main" id="{0B9E5CB0-935E-4EE2-A8B7-4CDED6C27CA8}"/>
                      </a:ext>
                    </a:extLst>
                  </p:cNvPr>
                  <p:cNvGrpSpPr/>
                  <p:nvPr/>
                </p:nvGrpSpPr>
                <p:grpSpPr>
                  <a:xfrm>
                    <a:off x="3928222" y="597498"/>
                    <a:ext cx="85078" cy="84419"/>
                    <a:chOff x="3928222" y="597498"/>
                    <a:chExt cx="85078" cy="84419"/>
                  </a:xfrm>
                  <a:solidFill>
                    <a:schemeClr val="accent1"/>
                  </a:solidFill>
                </p:grpSpPr>
                <p:sp>
                  <p:nvSpPr>
                    <p:cNvPr id="193" name="Freeform: Shape 192">
                      <a:extLst>
                        <a:ext uri="{FF2B5EF4-FFF2-40B4-BE49-F238E27FC236}">
                          <a16:creationId xmlns:a16="http://schemas.microsoft.com/office/drawing/2014/main" id="{EF7D2064-11D7-426D-BEA5-0F1612589828}"/>
                        </a:ext>
                      </a:extLst>
                    </p:cNvPr>
                    <p:cNvSpPr/>
                    <p:nvPr/>
                  </p:nvSpPr>
                  <p:spPr>
                    <a:xfrm>
                      <a:off x="3928222" y="616184"/>
                      <a:ext cx="66563" cy="65733"/>
                    </a:xfrm>
                    <a:custGeom>
                      <a:avLst/>
                      <a:gdLst>
                        <a:gd name="connsiteX0" fmla="*/ 40501 w 66563"/>
                        <a:gd name="connsiteY0" fmla="*/ 65734 h 65733"/>
                        <a:gd name="connsiteX1" fmla="*/ 13549 w 66563"/>
                        <a:gd name="connsiteY1" fmla="*/ 52822 h 65733"/>
                        <a:gd name="connsiteX2" fmla="*/ 6817 w 66563"/>
                        <a:gd name="connsiteY2" fmla="*/ 9492 h 65733"/>
                        <a:gd name="connsiteX3" fmla="*/ 6817 w 66563"/>
                        <a:gd name="connsiteY3" fmla="*/ 9492 h 65733"/>
                        <a:gd name="connsiteX4" fmla="*/ 6817 w 66563"/>
                        <a:gd name="connsiteY4" fmla="*/ 9492 h 65733"/>
                        <a:gd name="connsiteX5" fmla="*/ 6817 w 66563"/>
                        <a:gd name="connsiteY5" fmla="*/ 9492 h 65733"/>
                        <a:gd name="connsiteX6" fmla="*/ 31609 w 66563"/>
                        <a:gd name="connsiteY6" fmla="*/ 15 h 65733"/>
                        <a:gd name="connsiteX7" fmla="*/ 57327 w 66563"/>
                        <a:gd name="connsiteY7" fmla="*/ 9045 h 65733"/>
                        <a:gd name="connsiteX8" fmla="*/ 57327 w 66563"/>
                        <a:gd name="connsiteY8" fmla="*/ 58799 h 65733"/>
                        <a:gd name="connsiteX9" fmla="*/ 40501 w 66563"/>
                        <a:gd name="connsiteY9" fmla="*/ 65734 h 65733"/>
                        <a:gd name="connsiteX10" fmla="*/ 32758 w 66563"/>
                        <a:gd name="connsiteY10" fmla="*/ 21276 h 65733"/>
                        <a:gd name="connsiteX11" fmla="*/ 32162 w 66563"/>
                        <a:gd name="connsiteY11" fmla="*/ 21276 h 65733"/>
                        <a:gd name="connsiteX12" fmla="*/ 21867 w 66563"/>
                        <a:gd name="connsiteY12" fmla="*/ 24531 h 65733"/>
                        <a:gd name="connsiteX13" fmla="*/ 21867 w 66563"/>
                        <a:gd name="connsiteY13" fmla="*/ 24531 h 65733"/>
                        <a:gd name="connsiteX14" fmla="*/ 28599 w 66563"/>
                        <a:gd name="connsiteY14" fmla="*/ 37772 h 65733"/>
                        <a:gd name="connsiteX15" fmla="*/ 42298 w 66563"/>
                        <a:gd name="connsiteY15" fmla="*/ 43760 h 65733"/>
                        <a:gd name="connsiteX16" fmla="*/ 42298 w 66563"/>
                        <a:gd name="connsiteY16" fmla="*/ 24084 h 65733"/>
                        <a:gd name="connsiteX17" fmla="*/ 32758 w 66563"/>
                        <a:gd name="connsiteY17" fmla="*/ 21276 h 65733"/>
                        <a:gd name="connsiteX18" fmla="*/ 14347 w 66563"/>
                        <a:gd name="connsiteY18" fmla="*/ 17011 h 65733"/>
                        <a:gd name="connsiteX19" fmla="*/ 14454 w 66563"/>
                        <a:gd name="connsiteY19" fmla="*/ 17011 h 65733"/>
                        <a:gd name="connsiteX20" fmla="*/ 14347 w 66563"/>
                        <a:gd name="connsiteY20" fmla="*/ 17011 h 65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6563" h="65733">
                          <a:moveTo>
                            <a:pt x="40501" y="65734"/>
                          </a:moveTo>
                          <a:cubicBezTo>
                            <a:pt x="31726" y="65734"/>
                            <a:pt x="22079" y="61331"/>
                            <a:pt x="13549" y="52822"/>
                          </a:cubicBezTo>
                          <a:cubicBezTo>
                            <a:pt x="-1660" y="37613"/>
                            <a:pt x="-4297" y="20617"/>
                            <a:pt x="6817" y="9492"/>
                          </a:cubicBezTo>
                          <a:lnTo>
                            <a:pt x="6817" y="9492"/>
                          </a:lnTo>
                          <a:lnTo>
                            <a:pt x="6817" y="9492"/>
                          </a:lnTo>
                          <a:lnTo>
                            <a:pt x="6817" y="9492"/>
                          </a:lnTo>
                          <a:cubicBezTo>
                            <a:pt x="12582" y="3727"/>
                            <a:pt x="21622" y="270"/>
                            <a:pt x="31609" y="15"/>
                          </a:cubicBezTo>
                          <a:cubicBezTo>
                            <a:pt x="42107" y="-251"/>
                            <a:pt x="51328" y="3046"/>
                            <a:pt x="57327" y="9045"/>
                          </a:cubicBezTo>
                          <a:cubicBezTo>
                            <a:pt x="69643" y="21361"/>
                            <a:pt x="69643" y="46472"/>
                            <a:pt x="57327" y="58799"/>
                          </a:cubicBezTo>
                          <a:cubicBezTo>
                            <a:pt x="52679" y="63458"/>
                            <a:pt x="46818" y="65734"/>
                            <a:pt x="40501" y="65734"/>
                          </a:cubicBezTo>
                          <a:close/>
                          <a:moveTo>
                            <a:pt x="32758" y="21276"/>
                          </a:moveTo>
                          <a:cubicBezTo>
                            <a:pt x="32556" y="21276"/>
                            <a:pt x="32354" y="21276"/>
                            <a:pt x="32162" y="21276"/>
                          </a:cubicBezTo>
                          <a:cubicBezTo>
                            <a:pt x="27195" y="21404"/>
                            <a:pt x="23345" y="23052"/>
                            <a:pt x="21867" y="24531"/>
                          </a:cubicBezTo>
                          <a:cubicBezTo>
                            <a:pt x="21867" y="24531"/>
                            <a:pt x="21867" y="24531"/>
                            <a:pt x="21867" y="24531"/>
                          </a:cubicBezTo>
                          <a:cubicBezTo>
                            <a:pt x="20133" y="26264"/>
                            <a:pt x="23281" y="32454"/>
                            <a:pt x="28599" y="37772"/>
                          </a:cubicBezTo>
                          <a:cubicBezTo>
                            <a:pt x="33258" y="42431"/>
                            <a:pt x="40043" y="46026"/>
                            <a:pt x="42298" y="43760"/>
                          </a:cubicBezTo>
                          <a:cubicBezTo>
                            <a:pt x="46031" y="40027"/>
                            <a:pt x="46638" y="28434"/>
                            <a:pt x="42298" y="24084"/>
                          </a:cubicBezTo>
                          <a:cubicBezTo>
                            <a:pt x="40565" y="22361"/>
                            <a:pt x="36863" y="21276"/>
                            <a:pt x="32758" y="21276"/>
                          </a:cubicBezTo>
                          <a:close/>
                          <a:moveTo>
                            <a:pt x="14347" y="17011"/>
                          </a:moveTo>
                          <a:lnTo>
                            <a:pt x="14454" y="17011"/>
                          </a:lnTo>
                          <a:lnTo>
                            <a:pt x="14347" y="17011"/>
                          </a:lnTo>
                          <a:close/>
                        </a:path>
                      </a:pathLst>
                    </a:custGeom>
                    <a:solidFill>
                      <a:schemeClr val="accent1"/>
                    </a:solidFill>
                    <a:ln w="1063" cap="flat">
                      <a:noFill/>
                      <a:prstDash val="solid"/>
                      <a:miter/>
                    </a:ln>
                  </p:spPr>
                  <p:txBody>
                    <a:bodyPr rtlCol="0" anchor="ctr"/>
                    <a:lstStyle/>
                    <a:p>
                      <a:endParaRPr lang="en-GB" dirty="0"/>
                    </a:p>
                  </p:txBody>
                </p:sp>
                <p:sp>
                  <p:nvSpPr>
                    <p:cNvPr id="194" name="Freeform: Shape 193">
                      <a:extLst>
                        <a:ext uri="{FF2B5EF4-FFF2-40B4-BE49-F238E27FC236}">
                          <a16:creationId xmlns:a16="http://schemas.microsoft.com/office/drawing/2014/main" id="{B8A71866-A487-4BBD-9A52-728B9B9A4549}"/>
                        </a:ext>
                      </a:extLst>
                    </p:cNvPr>
                    <p:cNvSpPr/>
                    <p:nvPr/>
                  </p:nvSpPr>
                  <p:spPr>
                    <a:xfrm>
                      <a:off x="3967401" y="597498"/>
                      <a:ext cx="45899" cy="45896"/>
                    </a:xfrm>
                    <a:custGeom>
                      <a:avLst/>
                      <a:gdLst>
                        <a:gd name="connsiteX0" fmla="*/ 10639 w 45899"/>
                        <a:gd name="connsiteY0" fmla="*/ 45896 h 45896"/>
                        <a:gd name="connsiteX1" fmla="*/ 3119 w 45899"/>
                        <a:gd name="connsiteY1" fmla="*/ 42780 h 45896"/>
                        <a:gd name="connsiteX2" fmla="*/ 3119 w 45899"/>
                        <a:gd name="connsiteY2" fmla="*/ 27741 h 45896"/>
                        <a:gd name="connsiteX3" fmla="*/ 27741 w 45899"/>
                        <a:gd name="connsiteY3" fmla="*/ 3119 h 45896"/>
                        <a:gd name="connsiteX4" fmla="*/ 42780 w 45899"/>
                        <a:gd name="connsiteY4" fmla="*/ 3119 h 45896"/>
                        <a:gd name="connsiteX5" fmla="*/ 42780 w 45899"/>
                        <a:gd name="connsiteY5" fmla="*/ 18158 h 45896"/>
                        <a:gd name="connsiteX6" fmla="*/ 18169 w 45899"/>
                        <a:gd name="connsiteY6" fmla="*/ 42780 h 45896"/>
                        <a:gd name="connsiteX7" fmla="*/ 10639 w 45899"/>
                        <a:gd name="connsiteY7" fmla="*/ 45896 h 4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99" h="45896">
                          <a:moveTo>
                            <a:pt x="10639" y="45896"/>
                          </a:moveTo>
                          <a:cubicBezTo>
                            <a:pt x="7916" y="45896"/>
                            <a:pt x="5193" y="44854"/>
                            <a:pt x="3119" y="42780"/>
                          </a:cubicBezTo>
                          <a:cubicBezTo>
                            <a:pt x="-1040" y="38621"/>
                            <a:pt x="-1040" y="31900"/>
                            <a:pt x="3119" y="27741"/>
                          </a:cubicBezTo>
                          <a:lnTo>
                            <a:pt x="27741" y="3119"/>
                          </a:lnTo>
                          <a:cubicBezTo>
                            <a:pt x="31900" y="-1040"/>
                            <a:pt x="38621" y="-1040"/>
                            <a:pt x="42780" y="3119"/>
                          </a:cubicBezTo>
                          <a:cubicBezTo>
                            <a:pt x="46939" y="7278"/>
                            <a:pt x="46939" y="13999"/>
                            <a:pt x="42780" y="18158"/>
                          </a:cubicBezTo>
                          <a:lnTo>
                            <a:pt x="18169" y="42780"/>
                          </a:lnTo>
                          <a:cubicBezTo>
                            <a:pt x="16084" y="44854"/>
                            <a:pt x="13361" y="45896"/>
                            <a:pt x="10639" y="45896"/>
                          </a:cubicBezTo>
                          <a:close/>
                        </a:path>
                      </a:pathLst>
                    </a:custGeom>
                    <a:solidFill>
                      <a:schemeClr val="accent1"/>
                    </a:solidFill>
                    <a:ln w="1063" cap="flat">
                      <a:noFill/>
                      <a:prstDash val="solid"/>
                      <a:miter/>
                    </a:ln>
                  </p:spPr>
                  <p:txBody>
                    <a:bodyPr rtlCol="0" anchor="ctr"/>
                    <a:lstStyle/>
                    <a:p>
                      <a:endParaRPr lang="en-GB" dirty="0"/>
                    </a:p>
                  </p:txBody>
                </p:sp>
              </p:grpSp>
            </p:grpSp>
            <p:sp>
              <p:nvSpPr>
                <p:cNvPr id="182" name="Freeform: Shape 181">
                  <a:extLst>
                    <a:ext uri="{FF2B5EF4-FFF2-40B4-BE49-F238E27FC236}">
                      <a16:creationId xmlns:a16="http://schemas.microsoft.com/office/drawing/2014/main" id="{AB793D38-7423-4330-96DA-9857B8861E35}"/>
                    </a:ext>
                  </a:extLst>
                </p:cNvPr>
                <p:cNvSpPr/>
                <p:nvPr/>
              </p:nvSpPr>
              <p:spPr>
                <a:xfrm>
                  <a:off x="4116185" y="619897"/>
                  <a:ext cx="30064" cy="40429"/>
                </a:xfrm>
                <a:custGeom>
                  <a:avLst/>
                  <a:gdLst>
                    <a:gd name="connsiteX0" fmla="*/ 19436 w 30064"/>
                    <a:gd name="connsiteY0" fmla="*/ 40429 h 40429"/>
                    <a:gd name="connsiteX1" fmla="*/ 9768 w 30064"/>
                    <a:gd name="connsiteY1" fmla="*/ 34229 h 40429"/>
                    <a:gd name="connsiteX2" fmla="*/ 972 w 30064"/>
                    <a:gd name="connsiteY2" fmla="*/ 15084 h 40429"/>
                    <a:gd name="connsiteX3" fmla="*/ 6194 w 30064"/>
                    <a:gd name="connsiteY3" fmla="*/ 981 h 40429"/>
                    <a:gd name="connsiteX4" fmla="*/ 20297 w 30064"/>
                    <a:gd name="connsiteY4" fmla="*/ 6203 h 40429"/>
                    <a:gd name="connsiteX5" fmla="*/ 29093 w 30064"/>
                    <a:gd name="connsiteY5" fmla="*/ 25348 h 40429"/>
                    <a:gd name="connsiteX6" fmla="*/ 23871 w 30064"/>
                    <a:gd name="connsiteY6" fmla="*/ 39451 h 40429"/>
                    <a:gd name="connsiteX7" fmla="*/ 19436 w 30064"/>
                    <a:gd name="connsiteY7" fmla="*/ 40429 h 40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64" h="40429">
                      <a:moveTo>
                        <a:pt x="19436" y="40429"/>
                      </a:moveTo>
                      <a:cubicBezTo>
                        <a:pt x="15415" y="40429"/>
                        <a:pt x="11555" y="38132"/>
                        <a:pt x="9768" y="34229"/>
                      </a:cubicBezTo>
                      <a:lnTo>
                        <a:pt x="972" y="15084"/>
                      </a:lnTo>
                      <a:cubicBezTo>
                        <a:pt x="-1474" y="9745"/>
                        <a:pt x="855" y="3427"/>
                        <a:pt x="6194" y="981"/>
                      </a:cubicBezTo>
                      <a:cubicBezTo>
                        <a:pt x="11512" y="-1487"/>
                        <a:pt x="17840" y="864"/>
                        <a:pt x="20297" y="6203"/>
                      </a:cubicBezTo>
                      <a:lnTo>
                        <a:pt x="29093" y="25348"/>
                      </a:lnTo>
                      <a:cubicBezTo>
                        <a:pt x="31539" y="30687"/>
                        <a:pt x="29210" y="37005"/>
                        <a:pt x="23871" y="39451"/>
                      </a:cubicBezTo>
                      <a:cubicBezTo>
                        <a:pt x="22435" y="40121"/>
                        <a:pt x="20925" y="40429"/>
                        <a:pt x="19436" y="40429"/>
                      </a:cubicBezTo>
                      <a:close/>
                    </a:path>
                  </a:pathLst>
                </a:custGeom>
                <a:solidFill>
                  <a:schemeClr val="accent1"/>
                </a:solidFill>
                <a:ln w="1063" cap="flat">
                  <a:noFill/>
                  <a:prstDash val="solid"/>
                  <a:miter/>
                </a:ln>
              </p:spPr>
              <p:txBody>
                <a:bodyPr rtlCol="0" anchor="ctr"/>
                <a:lstStyle/>
                <a:p>
                  <a:endParaRPr lang="en-GB" dirty="0"/>
                </a:p>
              </p:txBody>
            </p:sp>
            <p:sp>
              <p:nvSpPr>
                <p:cNvPr id="183" name="Freeform: Shape 182">
                  <a:extLst>
                    <a:ext uri="{FF2B5EF4-FFF2-40B4-BE49-F238E27FC236}">
                      <a16:creationId xmlns:a16="http://schemas.microsoft.com/office/drawing/2014/main" id="{2852F08C-E0CF-471C-8E4F-0786FDBCB1EA}"/>
                    </a:ext>
                  </a:extLst>
                </p:cNvPr>
                <p:cNvSpPr/>
                <p:nvPr/>
              </p:nvSpPr>
              <p:spPr>
                <a:xfrm>
                  <a:off x="4014689" y="398878"/>
                  <a:ext cx="30221" cy="40775"/>
                </a:xfrm>
                <a:custGeom>
                  <a:avLst/>
                  <a:gdLst>
                    <a:gd name="connsiteX0" fmla="*/ 19594 w 30221"/>
                    <a:gd name="connsiteY0" fmla="*/ 40776 h 40775"/>
                    <a:gd name="connsiteX1" fmla="*/ 9925 w 30221"/>
                    <a:gd name="connsiteY1" fmla="*/ 34575 h 40775"/>
                    <a:gd name="connsiteX2" fmla="*/ 970 w 30221"/>
                    <a:gd name="connsiteY2" fmla="*/ 15080 h 40775"/>
                    <a:gd name="connsiteX3" fmla="*/ 6192 w 30221"/>
                    <a:gd name="connsiteY3" fmla="*/ 976 h 40775"/>
                    <a:gd name="connsiteX4" fmla="*/ 20295 w 30221"/>
                    <a:gd name="connsiteY4" fmla="*/ 6199 h 40775"/>
                    <a:gd name="connsiteX5" fmla="*/ 29251 w 30221"/>
                    <a:gd name="connsiteY5" fmla="*/ 25705 h 40775"/>
                    <a:gd name="connsiteX6" fmla="*/ 24029 w 30221"/>
                    <a:gd name="connsiteY6" fmla="*/ 39808 h 40775"/>
                    <a:gd name="connsiteX7" fmla="*/ 19594 w 30221"/>
                    <a:gd name="connsiteY7" fmla="*/ 40776 h 40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21" h="40775">
                      <a:moveTo>
                        <a:pt x="19594" y="40776"/>
                      </a:moveTo>
                      <a:cubicBezTo>
                        <a:pt x="15573" y="40776"/>
                        <a:pt x="11712" y="38478"/>
                        <a:pt x="9925" y="34575"/>
                      </a:cubicBezTo>
                      <a:lnTo>
                        <a:pt x="970" y="15080"/>
                      </a:lnTo>
                      <a:cubicBezTo>
                        <a:pt x="-1476" y="9740"/>
                        <a:pt x="864" y="3423"/>
                        <a:pt x="6192" y="976"/>
                      </a:cubicBezTo>
                      <a:cubicBezTo>
                        <a:pt x="11521" y="-1480"/>
                        <a:pt x="17839" y="859"/>
                        <a:pt x="20295" y="6199"/>
                      </a:cubicBezTo>
                      <a:lnTo>
                        <a:pt x="29251" y="25705"/>
                      </a:lnTo>
                      <a:cubicBezTo>
                        <a:pt x="31697" y="31044"/>
                        <a:pt x="29357" y="37362"/>
                        <a:pt x="24029" y="39808"/>
                      </a:cubicBezTo>
                      <a:cubicBezTo>
                        <a:pt x="22582" y="40467"/>
                        <a:pt x="21072" y="40776"/>
                        <a:pt x="19594" y="40776"/>
                      </a:cubicBezTo>
                      <a:close/>
                    </a:path>
                  </a:pathLst>
                </a:custGeom>
                <a:solidFill>
                  <a:schemeClr val="accent1"/>
                </a:solidFill>
                <a:ln w="1063" cap="flat">
                  <a:noFill/>
                  <a:prstDash val="solid"/>
                  <a:miter/>
                </a:ln>
              </p:spPr>
              <p:txBody>
                <a:bodyPr rtlCol="0" anchor="ctr"/>
                <a:lstStyle/>
                <a:p>
                  <a:endParaRPr lang="en-GB" dirty="0"/>
                </a:p>
              </p:txBody>
            </p:sp>
            <p:sp>
              <p:nvSpPr>
                <p:cNvPr id="184" name="Freeform: Shape 183">
                  <a:extLst>
                    <a:ext uri="{FF2B5EF4-FFF2-40B4-BE49-F238E27FC236}">
                      <a16:creationId xmlns:a16="http://schemas.microsoft.com/office/drawing/2014/main" id="{2DF036D4-E1B0-4691-9E28-7A5E55A4C507}"/>
                    </a:ext>
                  </a:extLst>
                </p:cNvPr>
                <p:cNvSpPr/>
                <p:nvPr/>
              </p:nvSpPr>
              <p:spPr>
                <a:xfrm>
                  <a:off x="4171971" y="565320"/>
                  <a:ext cx="39825" cy="29734"/>
                </a:xfrm>
                <a:custGeom>
                  <a:avLst/>
                  <a:gdLst>
                    <a:gd name="connsiteX0" fmla="*/ 29187 w 39825"/>
                    <a:gd name="connsiteY0" fmla="*/ 29734 h 29734"/>
                    <a:gd name="connsiteX1" fmla="*/ 24773 w 39825"/>
                    <a:gd name="connsiteY1" fmla="*/ 28777 h 29734"/>
                    <a:gd name="connsiteX2" fmla="*/ 6224 w 39825"/>
                    <a:gd name="connsiteY2" fmla="*/ 20322 h 29734"/>
                    <a:gd name="connsiteX3" fmla="*/ 960 w 39825"/>
                    <a:gd name="connsiteY3" fmla="*/ 6229 h 29734"/>
                    <a:gd name="connsiteX4" fmla="*/ 15052 w 39825"/>
                    <a:gd name="connsiteY4" fmla="*/ 964 h 29734"/>
                    <a:gd name="connsiteX5" fmla="*/ 33601 w 39825"/>
                    <a:gd name="connsiteY5" fmla="*/ 9420 h 29734"/>
                    <a:gd name="connsiteX6" fmla="*/ 38866 w 39825"/>
                    <a:gd name="connsiteY6" fmla="*/ 23512 h 29734"/>
                    <a:gd name="connsiteX7" fmla="*/ 29187 w 39825"/>
                    <a:gd name="connsiteY7" fmla="*/ 29734 h 29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25" h="29734">
                      <a:moveTo>
                        <a:pt x="29187" y="29734"/>
                      </a:moveTo>
                      <a:cubicBezTo>
                        <a:pt x="27709" y="29734"/>
                        <a:pt x="26209" y="29426"/>
                        <a:pt x="24773" y="28777"/>
                      </a:cubicBezTo>
                      <a:lnTo>
                        <a:pt x="6224" y="20322"/>
                      </a:lnTo>
                      <a:cubicBezTo>
                        <a:pt x="885" y="17886"/>
                        <a:pt x="-1476" y="11579"/>
                        <a:pt x="960" y="6229"/>
                      </a:cubicBezTo>
                      <a:cubicBezTo>
                        <a:pt x="3385" y="890"/>
                        <a:pt x="9681" y="-1482"/>
                        <a:pt x="15052" y="964"/>
                      </a:cubicBezTo>
                      <a:lnTo>
                        <a:pt x="33601" y="9420"/>
                      </a:lnTo>
                      <a:cubicBezTo>
                        <a:pt x="38940" y="11855"/>
                        <a:pt x="41301" y="18162"/>
                        <a:pt x="38866" y="23512"/>
                      </a:cubicBezTo>
                      <a:cubicBezTo>
                        <a:pt x="37090" y="27416"/>
                        <a:pt x="33229" y="29734"/>
                        <a:pt x="29187" y="29734"/>
                      </a:cubicBezTo>
                      <a:close/>
                    </a:path>
                  </a:pathLst>
                </a:custGeom>
                <a:solidFill>
                  <a:schemeClr val="accent1"/>
                </a:solidFill>
                <a:ln w="1063" cap="flat">
                  <a:noFill/>
                  <a:prstDash val="solid"/>
                  <a:miter/>
                </a:ln>
              </p:spPr>
              <p:txBody>
                <a:bodyPr rtlCol="0" anchor="ctr"/>
                <a:lstStyle/>
                <a:p>
                  <a:endParaRPr lang="en-GB" dirty="0"/>
                </a:p>
              </p:txBody>
            </p:sp>
            <p:sp>
              <p:nvSpPr>
                <p:cNvPr id="185" name="Freeform: Shape 184">
                  <a:extLst>
                    <a:ext uri="{FF2B5EF4-FFF2-40B4-BE49-F238E27FC236}">
                      <a16:creationId xmlns:a16="http://schemas.microsoft.com/office/drawing/2014/main" id="{7A16C4F6-9866-44D1-94BE-34C2B836B66D}"/>
                    </a:ext>
                  </a:extLst>
                </p:cNvPr>
                <p:cNvSpPr/>
                <p:nvPr/>
              </p:nvSpPr>
              <p:spPr>
                <a:xfrm>
                  <a:off x="3950044" y="464152"/>
                  <a:ext cx="40346" cy="29968"/>
                </a:xfrm>
                <a:custGeom>
                  <a:avLst/>
                  <a:gdLst>
                    <a:gd name="connsiteX0" fmla="*/ 29708 w 40346"/>
                    <a:gd name="connsiteY0" fmla="*/ 29968 h 29968"/>
                    <a:gd name="connsiteX1" fmla="*/ 25295 w 40346"/>
                    <a:gd name="connsiteY1" fmla="*/ 29011 h 29968"/>
                    <a:gd name="connsiteX2" fmla="*/ 6224 w 40346"/>
                    <a:gd name="connsiteY2" fmla="*/ 20322 h 29968"/>
                    <a:gd name="connsiteX3" fmla="*/ 960 w 40346"/>
                    <a:gd name="connsiteY3" fmla="*/ 6229 h 29968"/>
                    <a:gd name="connsiteX4" fmla="*/ 15052 w 40346"/>
                    <a:gd name="connsiteY4" fmla="*/ 964 h 29968"/>
                    <a:gd name="connsiteX5" fmla="*/ 34122 w 40346"/>
                    <a:gd name="connsiteY5" fmla="*/ 9654 h 29968"/>
                    <a:gd name="connsiteX6" fmla="*/ 39387 w 40346"/>
                    <a:gd name="connsiteY6" fmla="*/ 23746 h 29968"/>
                    <a:gd name="connsiteX7" fmla="*/ 29708 w 40346"/>
                    <a:gd name="connsiteY7" fmla="*/ 29968 h 29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6" h="29968">
                      <a:moveTo>
                        <a:pt x="29708" y="29968"/>
                      </a:moveTo>
                      <a:cubicBezTo>
                        <a:pt x="28230" y="29968"/>
                        <a:pt x="26730" y="29660"/>
                        <a:pt x="25295" y="29011"/>
                      </a:cubicBezTo>
                      <a:lnTo>
                        <a:pt x="6224" y="20322"/>
                      </a:lnTo>
                      <a:cubicBezTo>
                        <a:pt x="885" y="17886"/>
                        <a:pt x="-1476" y="11579"/>
                        <a:pt x="960" y="6229"/>
                      </a:cubicBezTo>
                      <a:cubicBezTo>
                        <a:pt x="3395" y="890"/>
                        <a:pt x="9692" y="-1482"/>
                        <a:pt x="15052" y="964"/>
                      </a:cubicBezTo>
                      <a:lnTo>
                        <a:pt x="34122" y="9654"/>
                      </a:lnTo>
                      <a:cubicBezTo>
                        <a:pt x="39461" y="12089"/>
                        <a:pt x="41823" y="18396"/>
                        <a:pt x="39387" y="23746"/>
                      </a:cubicBezTo>
                      <a:cubicBezTo>
                        <a:pt x="37600" y="27660"/>
                        <a:pt x="33739" y="29968"/>
                        <a:pt x="29708" y="29968"/>
                      </a:cubicBezTo>
                      <a:close/>
                    </a:path>
                  </a:pathLst>
                </a:custGeom>
                <a:solidFill>
                  <a:schemeClr val="accent1"/>
                </a:solidFill>
                <a:ln w="1063" cap="flat">
                  <a:noFill/>
                  <a:prstDash val="solid"/>
                  <a:miter/>
                </a:ln>
              </p:spPr>
              <p:txBody>
                <a:bodyPr rtlCol="0" anchor="ctr"/>
                <a:lstStyle/>
                <a:p>
                  <a:endParaRPr lang="en-GB" dirty="0"/>
                </a:p>
              </p:txBody>
            </p:sp>
            <p:sp>
              <p:nvSpPr>
                <p:cNvPr id="186" name="Freeform: Shape 185">
                  <a:extLst>
                    <a:ext uri="{FF2B5EF4-FFF2-40B4-BE49-F238E27FC236}">
                      <a16:creationId xmlns:a16="http://schemas.microsoft.com/office/drawing/2014/main" id="{287DB183-F0E0-45E7-9FA4-DF93E3268725}"/>
                    </a:ext>
                  </a:extLst>
                </p:cNvPr>
                <p:cNvSpPr/>
                <p:nvPr/>
              </p:nvSpPr>
              <p:spPr>
                <a:xfrm>
                  <a:off x="4170907" y="465327"/>
                  <a:ext cx="41071" cy="30090"/>
                </a:xfrm>
                <a:custGeom>
                  <a:avLst/>
                  <a:gdLst>
                    <a:gd name="connsiteX0" fmla="*/ 10650 w 41071"/>
                    <a:gd name="connsiteY0" fmla="*/ 30090 h 30090"/>
                    <a:gd name="connsiteX1" fmla="*/ 918 w 41071"/>
                    <a:gd name="connsiteY1" fmla="*/ 23762 h 30090"/>
                    <a:gd name="connsiteX2" fmla="*/ 6321 w 41071"/>
                    <a:gd name="connsiteY2" fmla="*/ 9723 h 30090"/>
                    <a:gd name="connsiteX3" fmla="*/ 26114 w 41071"/>
                    <a:gd name="connsiteY3" fmla="*/ 927 h 30090"/>
                    <a:gd name="connsiteX4" fmla="*/ 40154 w 41071"/>
                    <a:gd name="connsiteY4" fmla="*/ 6330 h 30090"/>
                    <a:gd name="connsiteX5" fmla="*/ 34751 w 41071"/>
                    <a:gd name="connsiteY5" fmla="*/ 20369 h 30090"/>
                    <a:gd name="connsiteX6" fmla="*/ 14957 w 41071"/>
                    <a:gd name="connsiteY6" fmla="*/ 29165 h 30090"/>
                    <a:gd name="connsiteX7" fmla="*/ 10650 w 41071"/>
                    <a:gd name="connsiteY7" fmla="*/ 30090 h 30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71" h="30090">
                      <a:moveTo>
                        <a:pt x="10650" y="30090"/>
                      </a:moveTo>
                      <a:cubicBezTo>
                        <a:pt x="6576" y="30090"/>
                        <a:pt x="2683" y="27729"/>
                        <a:pt x="918" y="23762"/>
                      </a:cubicBezTo>
                      <a:cubicBezTo>
                        <a:pt x="-1465" y="18402"/>
                        <a:pt x="950" y="12116"/>
                        <a:pt x="6321" y="9723"/>
                      </a:cubicBezTo>
                      <a:lnTo>
                        <a:pt x="26114" y="927"/>
                      </a:lnTo>
                      <a:cubicBezTo>
                        <a:pt x="31475" y="-1477"/>
                        <a:pt x="37760" y="959"/>
                        <a:pt x="40154" y="6330"/>
                      </a:cubicBezTo>
                      <a:cubicBezTo>
                        <a:pt x="42536" y="11690"/>
                        <a:pt x="40122" y="17976"/>
                        <a:pt x="34751" y="20369"/>
                      </a:cubicBezTo>
                      <a:lnTo>
                        <a:pt x="14957" y="29165"/>
                      </a:lnTo>
                      <a:cubicBezTo>
                        <a:pt x="13564" y="29793"/>
                        <a:pt x="12096" y="30090"/>
                        <a:pt x="10650" y="30090"/>
                      </a:cubicBezTo>
                      <a:close/>
                    </a:path>
                  </a:pathLst>
                </a:custGeom>
                <a:solidFill>
                  <a:schemeClr val="accent1"/>
                </a:solidFill>
                <a:ln w="1063" cap="flat">
                  <a:noFill/>
                  <a:prstDash val="solid"/>
                  <a:miter/>
                </a:ln>
              </p:spPr>
              <p:txBody>
                <a:bodyPr rtlCol="0" anchor="ctr"/>
                <a:lstStyle/>
                <a:p>
                  <a:endParaRPr lang="en-GB" dirty="0"/>
                </a:p>
              </p:txBody>
            </p:sp>
            <p:sp>
              <p:nvSpPr>
                <p:cNvPr id="187" name="Freeform: Shape 186">
                  <a:extLst>
                    <a:ext uri="{FF2B5EF4-FFF2-40B4-BE49-F238E27FC236}">
                      <a16:creationId xmlns:a16="http://schemas.microsoft.com/office/drawing/2014/main" id="{D2A570ED-96B4-4341-8609-FEC1E79518F5}"/>
                    </a:ext>
                  </a:extLst>
                </p:cNvPr>
                <p:cNvSpPr/>
                <p:nvPr/>
              </p:nvSpPr>
              <p:spPr>
                <a:xfrm>
                  <a:off x="3949149" y="564273"/>
                  <a:ext cx="39965" cy="29590"/>
                </a:xfrm>
                <a:custGeom>
                  <a:avLst/>
                  <a:gdLst>
                    <a:gd name="connsiteX0" fmla="*/ 10650 w 39965"/>
                    <a:gd name="connsiteY0" fmla="*/ 29591 h 29590"/>
                    <a:gd name="connsiteX1" fmla="*/ 918 w 39965"/>
                    <a:gd name="connsiteY1" fmla="*/ 23262 h 29590"/>
                    <a:gd name="connsiteX2" fmla="*/ 6321 w 39965"/>
                    <a:gd name="connsiteY2" fmla="*/ 9223 h 29590"/>
                    <a:gd name="connsiteX3" fmla="*/ 25008 w 39965"/>
                    <a:gd name="connsiteY3" fmla="*/ 927 h 29590"/>
                    <a:gd name="connsiteX4" fmla="*/ 39047 w 39965"/>
                    <a:gd name="connsiteY4" fmla="*/ 6330 h 29590"/>
                    <a:gd name="connsiteX5" fmla="*/ 33644 w 39965"/>
                    <a:gd name="connsiteY5" fmla="*/ 20369 h 29590"/>
                    <a:gd name="connsiteX6" fmla="*/ 14957 w 39965"/>
                    <a:gd name="connsiteY6" fmla="*/ 28665 h 29590"/>
                    <a:gd name="connsiteX7" fmla="*/ 10650 w 39965"/>
                    <a:gd name="connsiteY7" fmla="*/ 29591 h 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65" h="29590">
                      <a:moveTo>
                        <a:pt x="10650" y="29591"/>
                      </a:moveTo>
                      <a:cubicBezTo>
                        <a:pt x="6576" y="29591"/>
                        <a:pt x="2683" y="27229"/>
                        <a:pt x="918" y="23262"/>
                      </a:cubicBezTo>
                      <a:cubicBezTo>
                        <a:pt x="-1465" y="17891"/>
                        <a:pt x="950" y="11605"/>
                        <a:pt x="6321" y="9223"/>
                      </a:cubicBezTo>
                      <a:lnTo>
                        <a:pt x="25008" y="927"/>
                      </a:lnTo>
                      <a:cubicBezTo>
                        <a:pt x="30358" y="-1477"/>
                        <a:pt x="36654" y="959"/>
                        <a:pt x="39047" y="6330"/>
                      </a:cubicBezTo>
                      <a:cubicBezTo>
                        <a:pt x="41430" y="11701"/>
                        <a:pt x="39015" y="17987"/>
                        <a:pt x="33644" y="20369"/>
                      </a:cubicBezTo>
                      <a:lnTo>
                        <a:pt x="14957" y="28665"/>
                      </a:lnTo>
                      <a:cubicBezTo>
                        <a:pt x="13553" y="29303"/>
                        <a:pt x="12086" y="29591"/>
                        <a:pt x="10650" y="29591"/>
                      </a:cubicBezTo>
                      <a:close/>
                    </a:path>
                  </a:pathLst>
                </a:custGeom>
                <a:solidFill>
                  <a:schemeClr val="accent1"/>
                </a:solidFill>
                <a:ln w="1063" cap="flat">
                  <a:noFill/>
                  <a:prstDash val="solid"/>
                  <a:miter/>
                </a:ln>
              </p:spPr>
              <p:txBody>
                <a:bodyPr rtlCol="0" anchor="ctr"/>
                <a:lstStyle/>
                <a:p>
                  <a:endParaRPr lang="en-GB" dirty="0"/>
                </a:p>
              </p:txBody>
            </p:sp>
            <p:sp>
              <p:nvSpPr>
                <p:cNvPr id="188" name="Freeform: Shape 187">
                  <a:extLst>
                    <a:ext uri="{FF2B5EF4-FFF2-40B4-BE49-F238E27FC236}">
                      <a16:creationId xmlns:a16="http://schemas.microsoft.com/office/drawing/2014/main" id="{E29D6ABD-8A04-4AAE-ADA5-1C85C306AD8C}"/>
                    </a:ext>
                  </a:extLst>
                </p:cNvPr>
                <p:cNvSpPr/>
                <p:nvPr/>
              </p:nvSpPr>
              <p:spPr>
                <a:xfrm>
                  <a:off x="4014840" y="620715"/>
                  <a:ext cx="29706" cy="39653"/>
                </a:xfrm>
                <a:custGeom>
                  <a:avLst/>
                  <a:gdLst>
                    <a:gd name="connsiteX0" fmla="*/ 10636 w 29706"/>
                    <a:gd name="connsiteY0" fmla="*/ 39654 h 39653"/>
                    <a:gd name="connsiteX1" fmla="*/ 6211 w 29706"/>
                    <a:gd name="connsiteY1" fmla="*/ 38686 h 39653"/>
                    <a:gd name="connsiteX2" fmla="*/ 968 w 29706"/>
                    <a:gd name="connsiteY2" fmla="*/ 24583 h 39653"/>
                    <a:gd name="connsiteX3" fmla="*/ 9392 w 29706"/>
                    <a:gd name="connsiteY3" fmla="*/ 6204 h 39653"/>
                    <a:gd name="connsiteX4" fmla="*/ 23495 w 29706"/>
                    <a:gd name="connsiteY4" fmla="*/ 961 h 39653"/>
                    <a:gd name="connsiteX5" fmla="*/ 28738 w 29706"/>
                    <a:gd name="connsiteY5" fmla="*/ 15064 h 39653"/>
                    <a:gd name="connsiteX6" fmla="*/ 20315 w 29706"/>
                    <a:gd name="connsiteY6" fmla="*/ 33442 h 39653"/>
                    <a:gd name="connsiteX7" fmla="*/ 10636 w 29706"/>
                    <a:gd name="connsiteY7" fmla="*/ 39654 h 3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06" h="39653">
                      <a:moveTo>
                        <a:pt x="10636" y="39654"/>
                      </a:moveTo>
                      <a:cubicBezTo>
                        <a:pt x="9147" y="39654"/>
                        <a:pt x="7647" y="39345"/>
                        <a:pt x="6211" y="38686"/>
                      </a:cubicBezTo>
                      <a:cubicBezTo>
                        <a:pt x="872" y="36240"/>
                        <a:pt x="-1478" y="29922"/>
                        <a:pt x="968" y="24583"/>
                      </a:cubicBezTo>
                      <a:lnTo>
                        <a:pt x="9392" y="6204"/>
                      </a:lnTo>
                      <a:cubicBezTo>
                        <a:pt x="11838" y="854"/>
                        <a:pt x="18145" y="-1464"/>
                        <a:pt x="23495" y="961"/>
                      </a:cubicBezTo>
                      <a:cubicBezTo>
                        <a:pt x="28834" y="3407"/>
                        <a:pt x="31184" y="9724"/>
                        <a:pt x="28738" y="15064"/>
                      </a:cubicBezTo>
                      <a:lnTo>
                        <a:pt x="20315" y="33442"/>
                      </a:lnTo>
                      <a:cubicBezTo>
                        <a:pt x="18517" y="37356"/>
                        <a:pt x="14667" y="39654"/>
                        <a:pt x="10636" y="39654"/>
                      </a:cubicBezTo>
                      <a:close/>
                    </a:path>
                  </a:pathLst>
                </a:custGeom>
                <a:solidFill>
                  <a:schemeClr val="accent1"/>
                </a:solidFill>
                <a:ln w="1063" cap="flat">
                  <a:noFill/>
                  <a:prstDash val="solid"/>
                  <a:miter/>
                </a:ln>
              </p:spPr>
              <p:txBody>
                <a:bodyPr rtlCol="0" anchor="ctr"/>
                <a:lstStyle/>
                <a:p>
                  <a:endParaRPr lang="en-GB" dirty="0"/>
                </a:p>
              </p:txBody>
            </p:sp>
            <p:sp>
              <p:nvSpPr>
                <p:cNvPr id="189" name="Freeform: Shape 188">
                  <a:extLst>
                    <a:ext uri="{FF2B5EF4-FFF2-40B4-BE49-F238E27FC236}">
                      <a16:creationId xmlns:a16="http://schemas.microsoft.com/office/drawing/2014/main" id="{FBEA3BE0-13CE-41F5-BC26-25024E08E158}"/>
                    </a:ext>
                  </a:extLst>
                </p:cNvPr>
                <p:cNvSpPr/>
                <p:nvPr/>
              </p:nvSpPr>
              <p:spPr>
                <a:xfrm>
                  <a:off x="4116231" y="398816"/>
                  <a:ext cx="30004" cy="40316"/>
                </a:xfrm>
                <a:custGeom>
                  <a:avLst/>
                  <a:gdLst>
                    <a:gd name="connsiteX0" fmla="*/ 10636 w 30004"/>
                    <a:gd name="connsiteY0" fmla="*/ 40316 h 40316"/>
                    <a:gd name="connsiteX1" fmla="*/ 6211 w 30004"/>
                    <a:gd name="connsiteY1" fmla="*/ 39348 h 40316"/>
                    <a:gd name="connsiteX2" fmla="*/ 968 w 30004"/>
                    <a:gd name="connsiteY2" fmla="*/ 25245 h 40316"/>
                    <a:gd name="connsiteX3" fmla="*/ 9689 w 30004"/>
                    <a:gd name="connsiteY3" fmla="*/ 6218 h 40316"/>
                    <a:gd name="connsiteX4" fmla="*/ 23793 w 30004"/>
                    <a:gd name="connsiteY4" fmla="*/ 974 h 40316"/>
                    <a:gd name="connsiteX5" fmla="*/ 29036 w 30004"/>
                    <a:gd name="connsiteY5" fmla="*/ 15077 h 40316"/>
                    <a:gd name="connsiteX6" fmla="*/ 20315 w 30004"/>
                    <a:gd name="connsiteY6" fmla="*/ 34105 h 40316"/>
                    <a:gd name="connsiteX7" fmla="*/ 10636 w 30004"/>
                    <a:gd name="connsiteY7" fmla="*/ 40316 h 4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04" h="40316">
                      <a:moveTo>
                        <a:pt x="10636" y="40316"/>
                      </a:moveTo>
                      <a:cubicBezTo>
                        <a:pt x="9147" y="40316"/>
                        <a:pt x="7647" y="40008"/>
                        <a:pt x="6211" y="39348"/>
                      </a:cubicBezTo>
                      <a:cubicBezTo>
                        <a:pt x="872" y="36902"/>
                        <a:pt x="-1478" y="30585"/>
                        <a:pt x="968" y="25245"/>
                      </a:cubicBezTo>
                      <a:lnTo>
                        <a:pt x="9689" y="6218"/>
                      </a:lnTo>
                      <a:cubicBezTo>
                        <a:pt x="12136" y="868"/>
                        <a:pt x="18453" y="-1483"/>
                        <a:pt x="23793" y="974"/>
                      </a:cubicBezTo>
                      <a:cubicBezTo>
                        <a:pt x="29132" y="3421"/>
                        <a:pt x="31482" y="9738"/>
                        <a:pt x="29036" y="15077"/>
                      </a:cubicBezTo>
                      <a:lnTo>
                        <a:pt x="20315" y="34105"/>
                      </a:lnTo>
                      <a:cubicBezTo>
                        <a:pt x="18517" y="38019"/>
                        <a:pt x="14667" y="40316"/>
                        <a:pt x="10636" y="40316"/>
                      </a:cubicBezTo>
                      <a:close/>
                    </a:path>
                  </a:pathLst>
                </a:custGeom>
                <a:solidFill>
                  <a:schemeClr val="accent1"/>
                </a:solidFill>
                <a:ln w="1063" cap="flat">
                  <a:noFill/>
                  <a:prstDash val="solid"/>
                  <a:miter/>
                </a:ln>
              </p:spPr>
              <p:txBody>
                <a:bodyPr rtlCol="0" anchor="ctr"/>
                <a:lstStyle/>
                <a:p>
                  <a:endParaRPr lang="en-GB" dirty="0"/>
                </a:p>
              </p:txBody>
            </p:sp>
          </p:grpSp>
          <p:sp>
            <p:nvSpPr>
              <p:cNvPr id="174" name="Freeform: Shape 173">
                <a:extLst>
                  <a:ext uri="{FF2B5EF4-FFF2-40B4-BE49-F238E27FC236}">
                    <a16:creationId xmlns:a16="http://schemas.microsoft.com/office/drawing/2014/main" id="{E65901BC-DF6C-4D8B-8B4B-77E3E518BD9D}"/>
                  </a:ext>
                </a:extLst>
              </p:cNvPr>
              <p:cNvSpPr/>
              <p:nvPr/>
            </p:nvSpPr>
            <p:spPr>
              <a:xfrm>
                <a:off x="4019409" y="480923"/>
                <a:ext cx="30724" cy="26417"/>
              </a:xfrm>
              <a:custGeom>
                <a:avLst/>
                <a:gdLst>
                  <a:gd name="connsiteX0" fmla="*/ 10650 w 30724"/>
                  <a:gd name="connsiteY0" fmla="*/ 26418 h 26417"/>
                  <a:gd name="connsiteX1" fmla="*/ 1302 w 30724"/>
                  <a:gd name="connsiteY1" fmla="*/ 20876 h 26417"/>
                  <a:gd name="connsiteX2" fmla="*/ 5545 w 30724"/>
                  <a:gd name="connsiteY2" fmla="*/ 6454 h 26417"/>
                  <a:gd name="connsiteX3" fmla="*/ 15001 w 30724"/>
                  <a:gd name="connsiteY3" fmla="*/ 1306 h 26417"/>
                  <a:gd name="connsiteX4" fmla="*/ 29423 w 30724"/>
                  <a:gd name="connsiteY4" fmla="*/ 5550 h 26417"/>
                  <a:gd name="connsiteX5" fmla="*/ 25179 w 30724"/>
                  <a:gd name="connsiteY5" fmla="*/ 19972 h 26417"/>
                  <a:gd name="connsiteX6" fmla="*/ 15724 w 30724"/>
                  <a:gd name="connsiteY6" fmla="*/ 25120 h 26417"/>
                  <a:gd name="connsiteX7" fmla="*/ 10650 w 30724"/>
                  <a:gd name="connsiteY7" fmla="*/ 26418 h 26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24" h="26417">
                    <a:moveTo>
                      <a:pt x="10650" y="26418"/>
                    </a:moveTo>
                    <a:cubicBezTo>
                      <a:pt x="6885" y="26418"/>
                      <a:pt x="3227" y="24418"/>
                      <a:pt x="1302" y="20876"/>
                    </a:cubicBezTo>
                    <a:cubicBezTo>
                      <a:pt x="-1517" y="15718"/>
                      <a:pt x="397" y="9262"/>
                      <a:pt x="5545" y="6454"/>
                    </a:cubicBezTo>
                    <a:lnTo>
                      <a:pt x="15001" y="1306"/>
                    </a:lnTo>
                    <a:cubicBezTo>
                      <a:pt x="20148" y="-1523"/>
                      <a:pt x="26625" y="402"/>
                      <a:pt x="29423" y="5550"/>
                    </a:cubicBezTo>
                    <a:cubicBezTo>
                      <a:pt x="32241" y="10708"/>
                      <a:pt x="30327" y="17164"/>
                      <a:pt x="25179" y="19972"/>
                    </a:cubicBezTo>
                    <a:lnTo>
                      <a:pt x="15724" y="25120"/>
                    </a:lnTo>
                    <a:cubicBezTo>
                      <a:pt x="14118" y="26003"/>
                      <a:pt x="12373" y="26418"/>
                      <a:pt x="10650" y="26418"/>
                    </a:cubicBezTo>
                    <a:close/>
                  </a:path>
                </a:pathLst>
              </a:custGeom>
              <a:solidFill>
                <a:schemeClr val="accent1"/>
              </a:solidFill>
              <a:ln w="1063" cap="flat">
                <a:noFill/>
                <a:prstDash val="solid"/>
                <a:miter/>
              </a:ln>
            </p:spPr>
            <p:txBody>
              <a:bodyPr rtlCol="0" anchor="ctr"/>
              <a:lstStyle/>
              <a:p>
                <a:endParaRPr lang="en-GB" dirty="0"/>
              </a:p>
            </p:txBody>
          </p:sp>
          <p:sp>
            <p:nvSpPr>
              <p:cNvPr id="175" name="Freeform: Shape 174">
                <a:extLst>
                  <a:ext uri="{FF2B5EF4-FFF2-40B4-BE49-F238E27FC236}">
                    <a16:creationId xmlns:a16="http://schemas.microsoft.com/office/drawing/2014/main" id="{E3524E0E-701C-45E8-A976-2D5C1F364136}"/>
                  </a:ext>
                </a:extLst>
              </p:cNvPr>
              <p:cNvSpPr/>
              <p:nvPr/>
            </p:nvSpPr>
            <p:spPr>
              <a:xfrm>
                <a:off x="4067515" y="557379"/>
                <a:ext cx="29862" cy="27284"/>
              </a:xfrm>
              <a:custGeom>
                <a:avLst/>
                <a:gdLst>
                  <a:gd name="connsiteX0" fmla="*/ 19223 w 29862"/>
                  <a:gd name="connsiteY0" fmla="*/ 27285 h 27284"/>
                  <a:gd name="connsiteX1" fmla="*/ 13128 w 29862"/>
                  <a:gd name="connsiteY1" fmla="*/ 25360 h 27284"/>
                  <a:gd name="connsiteX2" fmla="*/ 4534 w 29862"/>
                  <a:gd name="connsiteY2" fmla="*/ 19350 h 27284"/>
                  <a:gd name="connsiteX3" fmla="*/ 1918 w 29862"/>
                  <a:gd name="connsiteY3" fmla="*/ 4535 h 27284"/>
                  <a:gd name="connsiteX4" fmla="*/ 16734 w 29862"/>
                  <a:gd name="connsiteY4" fmla="*/ 1918 h 27284"/>
                  <a:gd name="connsiteX5" fmla="*/ 25328 w 29862"/>
                  <a:gd name="connsiteY5" fmla="*/ 7927 h 27284"/>
                  <a:gd name="connsiteX6" fmla="*/ 27944 w 29862"/>
                  <a:gd name="connsiteY6" fmla="*/ 22743 h 27284"/>
                  <a:gd name="connsiteX7" fmla="*/ 19223 w 29862"/>
                  <a:gd name="connsiteY7" fmla="*/ 27285 h 27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62" h="27284">
                    <a:moveTo>
                      <a:pt x="19223" y="27285"/>
                    </a:moveTo>
                    <a:cubicBezTo>
                      <a:pt x="17117" y="27285"/>
                      <a:pt x="14990" y="26657"/>
                      <a:pt x="13128" y="25360"/>
                    </a:cubicBezTo>
                    <a:lnTo>
                      <a:pt x="4534" y="19350"/>
                    </a:lnTo>
                    <a:cubicBezTo>
                      <a:pt x="-273" y="15979"/>
                      <a:pt x="-1443" y="9353"/>
                      <a:pt x="1918" y="4535"/>
                    </a:cubicBezTo>
                    <a:cubicBezTo>
                      <a:pt x="5290" y="-273"/>
                      <a:pt x="11916" y="-1443"/>
                      <a:pt x="16734" y="1918"/>
                    </a:cubicBezTo>
                    <a:lnTo>
                      <a:pt x="25328" y="7927"/>
                    </a:lnTo>
                    <a:cubicBezTo>
                      <a:pt x="30135" y="11299"/>
                      <a:pt x="31305" y="17925"/>
                      <a:pt x="27944" y="22743"/>
                    </a:cubicBezTo>
                    <a:cubicBezTo>
                      <a:pt x="25881" y="25710"/>
                      <a:pt x="22584" y="27285"/>
                      <a:pt x="19223" y="27285"/>
                    </a:cubicBezTo>
                    <a:close/>
                  </a:path>
                </a:pathLst>
              </a:custGeom>
              <a:solidFill>
                <a:schemeClr val="accent1"/>
              </a:solidFill>
              <a:ln w="1063" cap="flat">
                <a:noFill/>
                <a:prstDash val="solid"/>
                <a:miter/>
              </a:ln>
            </p:spPr>
            <p:txBody>
              <a:bodyPr rtlCol="0" anchor="ctr"/>
              <a:lstStyle/>
              <a:p>
                <a:endParaRPr lang="en-GB" dirty="0"/>
              </a:p>
            </p:txBody>
          </p:sp>
          <p:sp>
            <p:nvSpPr>
              <p:cNvPr id="176" name="Freeform: Shape 175">
                <a:extLst>
                  <a:ext uri="{FF2B5EF4-FFF2-40B4-BE49-F238E27FC236}">
                    <a16:creationId xmlns:a16="http://schemas.microsoft.com/office/drawing/2014/main" id="{F3FDE6B4-AF65-432E-B8A3-FD4E2BE48F90}"/>
                  </a:ext>
                </a:extLst>
              </p:cNvPr>
              <p:cNvSpPr/>
              <p:nvPr/>
            </p:nvSpPr>
            <p:spPr>
              <a:xfrm>
                <a:off x="4124223" y="499816"/>
                <a:ext cx="26422" cy="31582"/>
              </a:xfrm>
              <a:custGeom>
                <a:avLst/>
                <a:gdLst>
                  <a:gd name="connsiteX0" fmla="*/ 10632 w 26422"/>
                  <a:gd name="connsiteY0" fmla="*/ 31583 h 31582"/>
                  <a:gd name="connsiteX1" fmla="*/ 5888 w 26422"/>
                  <a:gd name="connsiteY1" fmla="*/ 30466 h 31582"/>
                  <a:gd name="connsiteX2" fmla="*/ 1124 w 26422"/>
                  <a:gd name="connsiteY2" fmla="*/ 16203 h 31582"/>
                  <a:gd name="connsiteX3" fmla="*/ 6271 w 26422"/>
                  <a:gd name="connsiteY3" fmla="*/ 5887 h 31582"/>
                  <a:gd name="connsiteX4" fmla="*/ 20534 w 26422"/>
                  <a:gd name="connsiteY4" fmla="*/ 1122 h 31582"/>
                  <a:gd name="connsiteX5" fmla="*/ 25299 w 26422"/>
                  <a:gd name="connsiteY5" fmla="*/ 15384 h 31582"/>
                  <a:gd name="connsiteX6" fmla="*/ 20151 w 26422"/>
                  <a:gd name="connsiteY6" fmla="*/ 25701 h 31582"/>
                  <a:gd name="connsiteX7" fmla="*/ 10632 w 26422"/>
                  <a:gd name="connsiteY7" fmla="*/ 31583 h 31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22" h="31582">
                    <a:moveTo>
                      <a:pt x="10632" y="31583"/>
                    </a:moveTo>
                    <a:cubicBezTo>
                      <a:pt x="9037" y="31583"/>
                      <a:pt x="7420" y="31221"/>
                      <a:pt x="5888" y="30466"/>
                    </a:cubicBezTo>
                    <a:cubicBezTo>
                      <a:pt x="634" y="27839"/>
                      <a:pt x="-1504" y="21457"/>
                      <a:pt x="1124" y="16203"/>
                    </a:cubicBezTo>
                    <a:lnTo>
                      <a:pt x="6271" y="5887"/>
                    </a:lnTo>
                    <a:cubicBezTo>
                      <a:pt x="8888" y="643"/>
                      <a:pt x="15269" y="-1505"/>
                      <a:pt x="20534" y="1122"/>
                    </a:cubicBezTo>
                    <a:cubicBezTo>
                      <a:pt x="25788" y="3749"/>
                      <a:pt x="27926" y="10130"/>
                      <a:pt x="25299" y="15384"/>
                    </a:cubicBezTo>
                    <a:lnTo>
                      <a:pt x="20151" y="25701"/>
                    </a:lnTo>
                    <a:cubicBezTo>
                      <a:pt x="18300" y="29424"/>
                      <a:pt x="14535" y="31583"/>
                      <a:pt x="10632" y="31583"/>
                    </a:cubicBezTo>
                    <a:close/>
                  </a:path>
                </a:pathLst>
              </a:custGeom>
              <a:solidFill>
                <a:schemeClr val="accent1"/>
              </a:solidFill>
              <a:ln w="1063" cap="flat">
                <a:noFill/>
                <a:prstDash val="solid"/>
                <a:miter/>
              </a:ln>
            </p:spPr>
            <p:txBody>
              <a:bodyPr rtlCol="0" anchor="ctr"/>
              <a:lstStyle/>
              <a:p>
                <a:endParaRPr lang="en-GB" dirty="0"/>
              </a:p>
            </p:txBody>
          </p:sp>
        </p:grpSp>
      </p:grpSp>
      <p:grpSp>
        <p:nvGrpSpPr>
          <p:cNvPr id="34" name="Group 33">
            <a:extLst>
              <a:ext uri="{FF2B5EF4-FFF2-40B4-BE49-F238E27FC236}">
                <a16:creationId xmlns:a16="http://schemas.microsoft.com/office/drawing/2014/main" id="{FA6E099C-95A6-F843-C095-8EA2B878C402}"/>
              </a:ext>
            </a:extLst>
          </p:cNvPr>
          <p:cNvGrpSpPr/>
          <p:nvPr/>
        </p:nvGrpSpPr>
        <p:grpSpPr>
          <a:xfrm>
            <a:off x="597235" y="4077325"/>
            <a:ext cx="393632" cy="393578"/>
            <a:chOff x="597235" y="4077325"/>
            <a:chExt cx="393632" cy="393578"/>
          </a:xfrm>
        </p:grpSpPr>
        <p:grpSp>
          <p:nvGrpSpPr>
            <p:cNvPr id="228" name="Graphic 818">
              <a:extLst>
                <a:ext uri="{FF2B5EF4-FFF2-40B4-BE49-F238E27FC236}">
                  <a16:creationId xmlns:a16="http://schemas.microsoft.com/office/drawing/2014/main" id="{61C03C73-550A-4235-AE26-093956294D22}"/>
                </a:ext>
              </a:extLst>
            </p:cNvPr>
            <p:cNvGrpSpPr/>
            <p:nvPr/>
          </p:nvGrpSpPr>
          <p:grpSpPr>
            <a:xfrm>
              <a:off x="597235" y="4077325"/>
              <a:ext cx="393632" cy="393578"/>
              <a:chOff x="4926641" y="28993"/>
              <a:chExt cx="702871" cy="702774"/>
            </a:xfrm>
            <a:solidFill>
              <a:schemeClr val="tx2"/>
            </a:solidFill>
          </p:grpSpPr>
          <p:sp>
            <p:nvSpPr>
              <p:cNvPr id="230" name="Freeform: Shape 229">
                <a:extLst>
                  <a:ext uri="{FF2B5EF4-FFF2-40B4-BE49-F238E27FC236}">
                    <a16:creationId xmlns:a16="http://schemas.microsoft.com/office/drawing/2014/main" id="{36F9A4DB-4A3D-4CFB-A505-8BDCF0F3ED45}"/>
                  </a:ext>
                </a:extLst>
              </p:cNvPr>
              <p:cNvSpPr/>
              <p:nvPr/>
            </p:nvSpPr>
            <p:spPr>
              <a:xfrm>
                <a:off x="5065354" y="167259"/>
                <a:ext cx="425434" cy="425434"/>
              </a:xfrm>
              <a:custGeom>
                <a:avLst/>
                <a:gdLst>
                  <a:gd name="connsiteX0" fmla="*/ 212717 w 425434"/>
                  <a:gd name="connsiteY0" fmla="*/ 425434 h 425434"/>
                  <a:gd name="connsiteX1" fmla="*/ 0 w 425434"/>
                  <a:gd name="connsiteY1" fmla="*/ 212717 h 425434"/>
                  <a:gd name="connsiteX2" fmla="*/ 212717 w 425434"/>
                  <a:gd name="connsiteY2" fmla="*/ 0 h 425434"/>
                  <a:gd name="connsiteX3" fmla="*/ 425434 w 425434"/>
                  <a:gd name="connsiteY3" fmla="*/ 212717 h 425434"/>
                  <a:gd name="connsiteX4" fmla="*/ 212717 w 425434"/>
                  <a:gd name="connsiteY4" fmla="*/ 425434 h 425434"/>
                  <a:gd name="connsiteX5" fmla="*/ 212717 w 425434"/>
                  <a:gd name="connsiteY5" fmla="*/ 21272 h 425434"/>
                  <a:gd name="connsiteX6" fmla="*/ 21272 w 425434"/>
                  <a:gd name="connsiteY6" fmla="*/ 212717 h 425434"/>
                  <a:gd name="connsiteX7" fmla="*/ 212717 w 425434"/>
                  <a:gd name="connsiteY7" fmla="*/ 404163 h 425434"/>
                  <a:gd name="connsiteX8" fmla="*/ 404163 w 425434"/>
                  <a:gd name="connsiteY8" fmla="*/ 212717 h 425434"/>
                  <a:gd name="connsiteX9" fmla="*/ 212717 w 425434"/>
                  <a:gd name="connsiteY9" fmla="*/ 21272 h 425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5434" h="425434">
                    <a:moveTo>
                      <a:pt x="212717" y="425434"/>
                    </a:moveTo>
                    <a:cubicBezTo>
                      <a:pt x="95425" y="425434"/>
                      <a:pt x="0" y="330009"/>
                      <a:pt x="0" y="212717"/>
                    </a:cubicBezTo>
                    <a:cubicBezTo>
                      <a:pt x="0" y="95425"/>
                      <a:pt x="95425" y="0"/>
                      <a:pt x="212717" y="0"/>
                    </a:cubicBezTo>
                    <a:cubicBezTo>
                      <a:pt x="330009" y="0"/>
                      <a:pt x="425434" y="95425"/>
                      <a:pt x="425434" y="212717"/>
                    </a:cubicBezTo>
                    <a:cubicBezTo>
                      <a:pt x="425434" y="330009"/>
                      <a:pt x="330009" y="425434"/>
                      <a:pt x="212717" y="425434"/>
                    </a:cubicBezTo>
                    <a:close/>
                    <a:moveTo>
                      <a:pt x="212717" y="21272"/>
                    </a:moveTo>
                    <a:cubicBezTo>
                      <a:pt x="107156" y="21272"/>
                      <a:pt x="21272" y="107156"/>
                      <a:pt x="21272" y="212717"/>
                    </a:cubicBezTo>
                    <a:cubicBezTo>
                      <a:pt x="21272" y="318278"/>
                      <a:pt x="107156" y="404163"/>
                      <a:pt x="212717" y="404163"/>
                    </a:cubicBezTo>
                    <a:cubicBezTo>
                      <a:pt x="318278" y="404163"/>
                      <a:pt x="404163" y="318278"/>
                      <a:pt x="404163" y="212717"/>
                    </a:cubicBezTo>
                    <a:cubicBezTo>
                      <a:pt x="404163" y="107156"/>
                      <a:pt x="318278" y="21272"/>
                      <a:pt x="212717" y="21272"/>
                    </a:cubicBezTo>
                    <a:close/>
                  </a:path>
                </a:pathLst>
              </a:custGeom>
              <a:grpFill/>
              <a:ln w="1063" cap="flat">
                <a:noFill/>
                <a:prstDash val="solid"/>
                <a:miter/>
              </a:ln>
            </p:spPr>
            <p:txBody>
              <a:bodyPr rtlCol="0" anchor="ctr"/>
              <a:lstStyle/>
              <a:p>
                <a:endParaRPr lang="en-GB" dirty="0"/>
              </a:p>
            </p:txBody>
          </p:sp>
          <p:grpSp>
            <p:nvGrpSpPr>
              <p:cNvPr id="231" name="Graphic 818">
                <a:extLst>
                  <a:ext uri="{FF2B5EF4-FFF2-40B4-BE49-F238E27FC236}">
                    <a16:creationId xmlns:a16="http://schemas.microsoft.com/office/drawing/2014/main" id="{D8CD2C7D-17D0-42EA-A143-F732B4C00FB1}"/>
                  </a:ext>
                </a:extLst>
              </p:cNvPr>
              <p:cNvGrpSpPr/>
              <p:nvPr/>
            </p:nvGrpSpPr>
            <p:grpSpPr>
              <a:xfrm>
                <a:off x="4926641" y="323723"/>
                <a:ext cx="159537" cy="111623"/>
                <a:chOff x="4926641" y="323723"/>
                <a:chExt cx="159537" cy="111623"/>
              </a:xfrm>
              <a:grpFill/>
            </p:grpSpPr>
            <p:sp>
              <p:nvSpPr>
                <p:cNvPr id="263" name="Freeform: Shape 262">
                  <a:extLst>
                    <a:ext uri="{FF2B5EF4-FFF2-40B4-BE49-F238E27FC236}">
                      <a16:creationId xmlns:a16="http://schemas.microsoft.com/office/drawing/2014/main" id="{B0D4663E-A452-438B-BCE6-347053E19D9E}"/>
                    </a:ext>
                  </a:extLst>
                </p:cNvPr>
                <p:cNvSpPr/>
                <p:nvPr/>
              </p:nvSpPr>
              <p:spPr>
                <a:xfrm>
                  <a:off x="4926641" y="323723"/>
                  <a:ext cx="95722" cy="111623"/>
                </a:xfrm>
                <a:custGeom>
                  <a:avLst/>
                  <a:gdLst>
                    <a:gd name="connsiteX0" fmla="*/ 40108 w 95722"/>
                    <a:gd name="connsiteY0" fmla="*/ 111623 h 111623"/>
                    <a:gd name="connsiteX1" fmla="*/ 0 w 95722"/>
                    <a:gd name="connsiteY1" fmla="*/ 56008 h 111623"/>
                    <a:gd name="connsiteX2" fmla="*/ 38555 w 95722"/>
                    <a:gd name="connsiteY2" fmla="*/ 0 h 111623"/>
                    <a:gd name="connsiteX3" fmla="*/ 95723 w 95722"/>
                    <a:gd name="connsiteY3" fmla="*/ 56008 h 111623"/>
                    <a:gd name="connsiteX4" fmla="*/ 40108 w 95722"/>
                    <a:gd name="connsiteY4" fmla="*/ 111623 h 111623"/>
                    <a:gd name="connsiteX5" fmla="*/ 38555 w 95722"/>
                    <a:gd name="connsiteY5" fmla="*/ 21272 h 111623"/>
                    <a:gd name="connsiteX6" fmla="*/ 21272 w 95722"/>
                    <a:gd name="connsiteY6" fmla="*/ 56008 h 111623"/>
                    <a:gd name="connsiteX7" fmla="*/ 40108 w 95722"/>
                    <a:gd name="connsiteY7" fmla="*/ 90352 h 111623"/>
                    <a:gd name="connsiteX8" fmla="*/ 74451 w 95722"/>
                    <a:gd name="connsiteY8" fmla="*/ 56008 h 111623"/>
                    <a:gd name="connsiteX9" fmla="*/ 38555 w 95722"/>
                    <a:gd name="connsiteY9" fmla="*/ 21272 h 111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722" h="111623">
                      <a:moveTo>
                        <a:pt x="40108" y="111623"/>
                      </a:moveTo>
                      <a:cubicBezTo>
                        <a:pt x="12402" y="111623"/>
                        <a:pt x="0" y="83694"/>
                        <a:pt x="0" y="56008"/>
                      </a:cubicBezTo>
                      <a:cubicBezTo>
                        <a:pt x="0" y="21984"/>
                        <a:pt x="15135" y="0"/>
                        <a:pt x="38555" y="0"/>
                      </a:cubicBezTo>
                      <a:cubicBezTo>
                        <a:pt x="65804" y="0"/>
                        <a:pt x="95723" y="29312"/>
                        <a:pt x="95723" y="56008"/>
                      </a:cubicBezTo>
                      <a:cubicBezTo>
                        <a:pt x="95723" y="83034"/>
                        <a:pt x="67134" y="111623"/>
                        <a:pt x="40108" y="111623"/>
                      </a:cubicBezTo>
                      <a:close/>
                      <a:moveTo>
                        <a:pt x="38555" y="21272"/>
                      </a:moveTo>
                      <a:cubicBezTo>
                        <a:pt x="21761" y="21272"/>
                        <a:pt x="21272" y="52445"/>
                        <a:pt x="21272" y="56008"/>
                      </a:cubicBezTo>
                      <a:cubicBezTo>
                        <a:pt x="21272" y="67889"/>
                        <a:pt x="25207" y="90352"/>
                        <a:pt x="40108" y="90352"/>
                      </a:cubicBezTo>
                      <a:cubicBezTo>
                        <a:pt x="55508" y="90352"/>
                        <a:pt x="74451" y="71420"/>
                        <a:pt x="74451" y="56008"/>
                      </a:cubicBezTo>
                      <a:cubicBezTo>
                        <a:pt x="74451" y="39565"/>
                        <a:pt x="53052" y="21272"/>
                        <a:pt x="38555" y="21272"/>
                      </a:cubicBezTo>
                      <a:close/>
                    </a:path>
                  </a:pathLst>
                </a:custGeom>
                <a:grpFill/>
                <a:ln w="1063" cap="flat">
                  <a:noFill/>
                  <a:prstDash val="solid"/>
                  <a:miter/>
                </a:ln>
              </p:spPr>
              <p:txBody>
                <a:bodyPr rtlCol="0" anchor="ctr"/>
                <a:lstStyle/>
                <a:p>
                  <a:endParaRPr lang="en-GB" dirty="0"/>
                </a:p>
              </p:txBody>
            </p:sp>
            <p:sp>
              <p:nvSpPr>
                <p:cNvPr id="264" name="Freeform: Shape 263">
                  <a:extLst>
                    <a:ext uri="{FF2B5EF4-FFF2-40B4-BE49-F238E27FC236}">
                      <a16:creationId xmlns:a16="http://schemas.microsoft.com/office/drawing/2014/main" id="{0E5E12D5-AB45-45C4-A9D2-A7306C8BD872}"/>
                    </a:ext>
                  </a:extLst>
                </p:cNvPr>
                <p:cNvSpPr/>
                <p:nvPr/>
              </p:nvSpPr>
              <p:spPr>
                <a:xfrm>
                  <a:off x="5001092" y="369117"/>
                  <a:ext cx="85086" cy="21271"/>
                </a:xfrm>
                <a:custGeom>
                  <a:avLst/>
                  <a:gdLst>
                    <a:gd name="connsiteX0" fmla="*/ 74451 w 85086"/>
                    <a:gd name="connsiteY0" fmla="*/ 21272 h 21271"/>
                    <a:gd name="connsiteX1" fmla="*/ 10636 w 85086"/>
                    <a:gd name="connsiteY1" fmla="*/ 21272 h 21271"/>
                    <a:gd name="connsiteX2" fmla="*/ 0 w 85086"/>
                    <a:gd name="connsiteY2" fmla="*/ 10636 h 21271"/>
                    <a:gd name="connsiteX3" fmla="*/ 10636 w 85086"/>
                    <a:gd name="connsiteY3" fmla="*/ 0 h 21271"/>
                    <a:gd name="connsiteX4" fmla="*/ 74451 w 85086"/>
                    <a:gd name="connsiteY4" fmla="*/ 0 h 21271"/>
                    <a:gd name="connsiteX5" fmla="*/ 85087 w 85086"/>
                    <a:gd name="connsiteY5" fmla="*/ 10636 h 21271"/>
                    <a:gd name="connsiteX6" fmla="*/ 74451 w 85086"/>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086" h="21271">
                      <a:moveTo>
                        <a:pt x="74451" y="21272"/>
                      </a:moveTo>
                      <a:lnTo>
                        <a:pt x="10636" y="21272"/>
                      </a:lnTo>
                      <a:cubicBezTo>
                        <a:pt x="4754" y="21272"/>
                        <a:pt x="0" y="16507"/>
                        <a:pt x="0" y="10636"/>
                      </a:cubicBezTo>
                      <a:cubicBezTo>
                        <a:pt x="0" y="4765"/>
                        <a:pt x="4754" y="0"/>
                        <a:pt x="10636" y="0"/>
                      </a:cubicBezTo>
                      <a:lnTo>
                        <a:pt x="74451" y="0"/>
                      </a:lnTo>
                      <a:cubicBezTo>
                        <a:pt x="80333" y="0"/>
                        <a:pt x="85087" y="4765"/>
                        <a:pt x="85087" y="10636"/>
                      </a:cubicBezTo>
                      <a:cubicBezTo>
                        <a:pt x="85087" y="16507"/>
                        <a:pt x="80333" y="21272"/>
                        <a:pt x="74451" y="21272"/>
                      </a:cubicBezTo>
                      <a:close/>
                    </a:path>
                  </a:pathLst>
                </a:custGeom>
                <a:grpFill/>
                <a:ln w="1063" cap="flat">
                  <a:noFill/>
                  <a:prstDash val="solid"/>
                  <a:miter/>
                </a:ln>
              </p:spPr>
              <p:txBody>
                <a:bodyPr rtlCol="0" anchor="ctr"/>
                <a:lstStyle/>
                <a:p>
                  <a:endParaRPr lang="en-GB" dirty="0"/>
                </a:p>
              </p:txBody>
            </p:sp>
          </p:grpSp>
          <p:grpSp>
            <p:nvGrpSpPr>
              <p:cNvPr id="232" name="Graphic 818">
                <a:extLst>
                  <a:ext uri="{FF2B5EF4-FFF2-40B4-BE49-F238E27FC236}">
                    <a16:creationId xmlns:a16="http://schemas.microsoft.com/office/drawing/2014/main" id="{42C6DE49-9753-430D-8A12-FC550EB16AF1}"/>
                  </a:ext>
                </a:extLst>
              </p:cNvPr>
              <p:cNvGrpSpPr/>
              <p:nvPr/>
            </p:nvGrpSpPr>
            <p:grpSpPr>
              <a:xfrm>
                <a:off x="5469963" y="323532"/>
                <a:ext cx="159549" cy="111633"/>
                <a:chOff x="5469963" y="323532"/>
                <a:chExt cx="159549" cy="111633"/>
              </a:xfrm>
              <a:grpFill/>
            </p:grpSpPr>
            <p:sp>
              <p:nvSpPr>
                <p:cNvPr id="261" name="Freeform: Shape 260">
                  <a:extLst>
                    <a:ext uri="{FF2B5EF4-FFF2-40B4-BE49-F238E27FC236}">
                      <a16:creationId xmlns:a16="http://schemas.microsoft.com/office/drawing/2014/main" id="{40FFC444-F2EE-4411-AE76-0AB20FFBA37E}"/>
                    </a:ext>
                  </a:extLst>
                </p:cNvPr>
                <p:cNvSpPr/>
                <p:nvPr/>
              </p:nvSpPr>
              <p:spPr>
                <a:xfrm>
                  <a:off x="5533778" y="323532"/>
                  <a:ext cx="95734" cy="111633"/>
                </a:xfrm>
                <a:custGeom>
                  <a:avLst/>
                  <a:gdLst>
                    <a:gd name="connsiteX0" fmla="*/ 55690 w 95734"/>
                    <a:gd name="connsiteY0" fmla="*/ 111623 h 111633"/>
                    <a:gd name="connsiteX1" fmla="*/ 18145 w 95734"/>
                    <a:gd name="connsiteY1" fmla="*/ 94457 h 111633"/>
                    <a:gd name="connsiteX2" fmla="*/ 0 w 95734"/>
                    <a:gd name="connsiteY2" fmla="*/ 56274 h 111633"/>
                    <a:gd name="connsiteX3" fmla="*/ 56902 w 95734"/>
                    <a:gd name="connsiteY3" fmla="*/ 0 h 111633"/>
                    <a:gd name="connsiteX4" fmla="*/ 57083 w 95734"/>
                    <a:gd name="connsiteY4" fmla="*/ 0 h 111633"/>
                    <a:gd name="connsiteX5" fmla="*/ 88140 w 95734"/>
                    <a:gd name="connsiteY5" fmla="*/ 20134 h 111633"/>
                    <a:gd name="connsiteX6" fmla="*/ 95734 w 95734"/>
                    <a:gd name="connsiteY6" fmla="*/ 55817 h 111633"/>
                    <a:gd name="connsiteX7" fmla="*/ 55892 w 95734"/>
                    <a:gd name="connsiteY7" fmla="*/ 111634 h 111633"/>
                    <a:gd name="connsiteX8" fmla="*/ 55690 w 95734"/>
                    <a:gd name="connsiteY8" fmla="*/ 111623 h 111633"/>
                    <a:gd name="connsiteX9" fmla="*/ 57094 w 95734"/>
                    <a:gd name="connsiteY9" fmla="*/ 21261 h 111633"/>
                    <a:gd name="connsiteX10" fmla="*/ 56998 w 95734"/>
                    <a:gd name="connsiteY10" fmla="*/ 21261 h 111633"/>
                    <a:gd name="connsiteX11" fmla="*/ 21272 w 95734"/>
                    <a:gd name="connsiteY11" fmla="*/ 56168 h 111633"/>
                    <a:gd name="connsiteX12" fmla="*/ 32982 w 95734"/>
                    <a:gd name="connsiteY12" fmla="*/ 79205 h 111633"/>
                    <a:gd name="connsiteX13" fmla="*/ 55700 w 95734"/>
                    <a:gd name="connsiteY13" fmla="*/ 90352 h 111633"/>
                    <a:gd name="connsiteX14" fmla="*/ 55785 w 95734"/>
                    <a:gd name="connsiteY14" fmla="*/ 90352 h 111633"/>
                    <a:gd name="connsiteX15" fmla="*/ 74462 w 95734"/>
                    <a:gd name="connsiteY15" fmla="*/ 55913 h 111633"/>
                    <a:gd name="connsiteX16" fmla="*/ 69261 w 95734"/>
                    <a:gd name="connsiteY16" fmla="*/ 29908 h 111633"/>
                    <a:gd name="connsiteX17" fmla="*/ 57094 w 95734"/>
                    <a:gd name="connsiteY17" fmla="*/ 21261 h 11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734" h="111633">
                      <a:moveTo>
                        <a:pt x="55690" y="111623"/>
                      </a:moveTo>
                      <a:cubicBezTo>
                        <a:pt x="43054" y="111623"/>
                        <a:pt x="29366" y="105380"/>
                        <a:pt x="18145" y="94457"/>
                      </a:cubicBezTo>
                      <a:cubicBezTo>
                        <a:pt x="6680" y="83300"/>
                        <a:pt x="64" y="69388"/>
                        <a:pt x="0" y="56274"/>
                      </a:cubicBezTo>
                      <a:cubicBezTo>
                        <a:pt x="-127" y="29578"/>
                        <a:pt x="29653" y="128"/>
                        <a:pt x="56902" y="0"/>
                      </a:cubicBezTo>
                      <a:cubicBezTo>
                        <a:pt x="56966" y="0"/>
                        <a:pt x="57030" y="0"/>
                        <a:pt x="57083" y="0"/>
                      </a:cubicBezTo>
                      <a:cubicBezTo>
                        <a:pt x="70388" y="0"/>
                        <a:pt x="81407" y="7137"/>
                        <a:pt x="88140" y="20134"/>
                      </a:cubicBezTo>
                      <a:cubicBezTo>
                        <a:pt x="94330" y="32088"/>
                        <a:pt x="95691" y="46138"/>
                        <a:pt x="95734" y="55817"/>
                      </a:cubicBezTo>
                      <a:cubicBezTo>
                        <a:pt x="95872" y="83502"/>
                        <a:pt x="83588" y="111496"/>
                        <a:pt x="55892" y="111634"/>
                      </a:cubicBezTo>
                      <a:cubicBezTo>
                        <a:pt x="55817" y="111623"/>
                        <a:pt x="55753" y="111623"/>
                        <a:pt x="55690" y="111623"/>
                      </a:cubicBezTo>
                      <a:close/>
                      <a:moveTo>
                        <a:pt x="57094" y="21261"/>
                      </a:moveTo>
                      <a:cubicBezTo>
                        <a:pt x="57062" y="21261"/>
                        <a:pt x="57030" y="21261"/>
                        <a:pt x="56998" y="21261"/>
                      </a:cubicBezTo>
                      <a:cubicBezTo>
                        <a:pt x="42820" y="21325"/>
                        <a:pt x="21198" y="40065"/>
                        <a:pt x="21272" y="56168"/>
                      </a:cubicBezTo>
                      <a:cubicBezTo>
                        <a:pt x="21304" y="63496"/>
                        <a:pt x="25686" y="72111"/>
                        <a:pt x="32982" y="79205"/>
                      </a:cubicBezTo>
                      <a:cubicBezTo>
                        <a:pt x="40055" y="86087"/>
                        <a:pt x="48755" y="90352"/>
                        <a:pt x="55700" y="90352"/>
                      </a:cubicBezTo>
                      <a:cubicBezTo>
                        <a:pt x="55732" y="90352"/>
                        <a:pt x="55753" y="90352"/>
                        <a:pt x="55785" y="90352"/>
                      </a:cubicBezTo>
                      <a:cubicBezTo>
                        <a:pt x="70686" y="90277"/>
                        <a:pt x="74515" y="67793"/>
                        <a:pt x="74462" y="55913"/>
                      </a:cubicBezTo>
                      <a:cubicBezTo>
                        <a:pt x="74409" y="45521"/>
                        <a:pt x="72558" y="36290"/>
                        <a:pt x="69261" y="29908"/>
                      </a:cubicBezTo>
                      <a:cubicBezTo>
                        <a:pt x="65294" y="22282"/>
                        <a:pt x="60689" y="21261"/>
                        <a:pt x="57094" y="21261"/>
                      </a:cubicBezTo>
                      <a:close/>
                    </a:path>
                  </a:pathLst>
                </a:custGeom>
                <a:grpFill/>
                <a:ln w="1063" cap="flat">
                  <a:noFill/>
                  <a:prstDash val="solid"/>
                  <a:miter/>
                </a:ln>
              </p:spPr>
              <p:txBody>
                <a:bodyPr rtlCol="0" anchor="ctr"/>
                <a:lstStyle/>
                <a:p>
                  <a:endParaRPr lang="en-GB" dirty="0"/>
                </a:p>
              </p:txBody>
            </p:sp>
            <p:sp>
              <p:nvSpPr>
                <p:cNvPr id="262" name="Freeform: Shape 261">
                  <a:extLst>
                    <a:ext uri="{FF2B5EF4-FFF2-40B4-BE49-F238E27FC236}">
                      <a16:creationId xmlns:a16="http://schemas.microsoft.com/office/drawing/2014/main" id="{A9C08B62-1E38-4F00-8A31-B2B0AAFB695E}"/>
                    </a:ext>
                  </a:extLst>
                </p:cNvPr>
                <p:cNvSpPr/>
                <p:nvPr/>
              </p:nvSpPr>
              <p:spPr>
                <a:xfrm>
                  <a:off x="5469963" y="369132"/>
                  <a:ext cx="85087" cy="21586"/>
                </a:xfrm>
                <a:custGeom>
                  <a:avLst/>
                  <a:gdLst>
                    <a:gd name="connsiteX0" fmla="*/ 10636 w 85087"/>
                    <a:gd name="connsiteY0" fmla="*/ 21586 h 21586"/>
                    <a:gd name="connsiteX1" fmla="*/ 0 w 85087"/>
                    <a:gd name="connsiteY1" fmla="*/ 11004 h 21586"/>
                    <a:gd name="connsiteX2" fmla="*/ 10583 w 85087"/>
                    <a:gd name="connsiteY2" fmla="*/ 314 h 21586"/>
                    <a:gd name="connsiteX3" fmla="*/ 74398 w 85087"/>
                    <a:gd name="connsiteY3" fmla="*/ 6 h 21586"/>
                    <a:gd name="connsiteX4" fmla="*/ 85087 w 85087"/>
                    <a:gd name="connsiteY4" fmla="*/ 10589 h 21586"/>
                    <a:gd name="connsiteX5" fmla="*/ 74504 w 85087"/>
                    <a:gd name="connsiteY5" fmla="*/ 21278 h 21586"/>
                    <a:gd name="connsiteX6" fmla="*/ 10689 w 85087"/>
                    <a:gd name="connsiteY6" fmla="*/ 21586 h 21586"/>
                    <a:gd name="connsiteX7" fmla="*/ 10636 w 85087"/>
                    <a:gd name="connsiteY7" fmla="*/ 21586 h 2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087" h="21586">
                      <a:moveTo>
                        <a:pt x="10636" y="21586"/>
                      </a:moveTo>
                      <a:cubicBezTo>
                        <a:pt x="4786" y="21586"/>
                        <a:pt x="32" y="16864"/>
                        <a:pt x="0" y="11004"/>
                      </a:cubicBezTo>
                      <a:cubicBezTo>
                        <a:pt x="-32" y="5133"/>
                        <a:pt x="4712" y="346"/>
                        <a:pt x="10583" y="314"/>
                      </a:cubicBezTo>
                      <a:lnTo>
                        <a:pt x="74398" y="6"/>
                      </a:lnTo>
                      <a:cubicBezTo>
                        <a:pt x="80386" y="-196"/>
                        <a:pt x="85044" y="4707"/>
                        <a:pt x="85087" y="10589"/>
                      </a:cubicBezTo>
                      <a:cubicBezTo>
                        <a:pt x="85119" y="16460"/>
                        <a:pt x="80375" y="21246"/>
                        <a:pt x="74504" y="21278"/>
                      </a:cubicBezTo>
                      <a:lnTo>
                        <a:pt x="10689" y="21586"/>
                      </a:lnTo>
                      <a:cubicBezTo>
                        <a:pt x="10668" y="21586"/>
                        <a:pt x="10657" y="21586"/>
                        <a:pt x="10636" y="21586"/>
                      </a:cubicBezTo>
                      <a:close/>
                    </a:path>
                  </a:pathLst>
                </a:custGeom>
                <a:grpFill/>
                <a:ln w="1063" cap="flat">
                  <a:noFill/>
                  <a:prstDash val="solid"/>
                  <a:miter/>
                </a:ln>
              </p:spPr>
              <p:txBody>
                <a:bodyPr rtlCol="0" anchor="ctr"/>
                <a:lstStyle/>
                <a:p>
                  <a:endParaRPr lang="en-GB" dirty="0"/>
                </a:p>
              </p:txBody>
            </p:sp>
          </p:grpSp>
          <p:grpSp>
            <p:nvGrpSpPr>
              <p:cNvPr id="233" name="Graphic 818">
                <a:extLst>
                  <a:ext uri="{FF2B5EF4-FFF2-40B4-BE49-F238E27FC236}">
                    <a16:creationId xmlns:a16="http://schemas.microsoft.com/office/drawing/2014/main" id="{44061092-1BD9-4E2B-83D2-68F0A8DE806A}"/>
                  </a:ext>
                </a:extLst>
              </p:cNvPr>
              <p:cNvGrpSpPr/>
              <p:nvPr/>
            </p:nvGrpSpPr>
            <p:grpSpPr>
              <a:xfrm>
                <a:off x="5007473" y="28993"/>
                <a:ext cx="541558" cy="218907"/>
                <a:chOff x="5007473" y="28993"/>
                <a:chExt cx="541558" cy="218907"/>
              </a:xfrm>
              <a:grpFill/>
            </p:grpSpPr>
            <p:grpSp>
              <p:nvGrpSpPr>
                <p:cNvPr id="252" name="Graphic 818">
                  <a:extLst>
                    <a:ext uri="{FF2B5EF4-FFF2-40B4-BE49-F238E27FC236}">
                      <a16:creationId xmlns:a16="http://schemas.microsoft.com/office/drawing/2014/main" id="{70A717F0-E509-44E0-846B-91DBB3111030}"/>
                    </a:ext>
                  </a:extLst>
                </p:cNvPr>
                <p:cNvGrpSpPr/>
                <p:nvPr/>
              </p:nvGrpSpPr>
              <p:grpSpPr>
                <a:xfrm>
                  <a:off x="5222488" y="28993"/>
                  <a:ext cx="111623" cy="159537"/>
                  <a:chOff x="5222488" y="28993"/>
                  <a:chExt cx="111623" cy="159537"/>
                </a:xfrm>
                <a:grpFill/>
              </p:grpSpPr>
              <p:sp>
                <p:nvSpPr>
                  <p:cNvPr id="259" name="Freeform: Shape 258">
                    <a:extLst>
                      <a:ext uri="{FF2B5EF4-FFF2-40B4-BE49-F238E27FC236}">
                        <a16:creationId xmlns:a16="http://schemas.microsoft.com/office/drawing/2014/main" id="{C4861686-9E02-4C9B-B3D1-5E866D6FC711}"/>
                      </a:ext>
                    </a:extLst>
                  </p:cNvPr>
                  <p:cNvSpPr/>
                  <p:nvPr/>
                </p:nvSpPr>
                <p:spPr>
                  <a:xfrm>
                    <a:off x="5222488" y="28993"/>
                    <a:ext cx="111623" cy="95722"/>
                  </a:xfrm>
                  <a:custGeom>
                    <a:avLst/>
                    <a:gdLst>
                      <a:gd name="connsiteX0" fmla="*/ 55615 w 111623"/>
                      <a:gd name="connsiteY0" fmla="*/ 95723 h 95722"/>
                      <a:gd name="connsiteX1" fmla="*/ 0 w 111623"/>
                      <a:gd name="connsiteY1" fmla="*/ 40108 h 95722"/>
                      <a:gd name="connsiteX2" fmla="*/ 55615 w 111623"/>
                      <a:gd name="connsiteY2" fmla="*/ 0 h 95722"/>
                      <a:gd name="connsiteX3" fmla="*/ 111623 w 111623"/>
                      <a:gd name="connsiteY3" fmla="*/ 38555 h 95722"/>
                      <a:gd name="connsiteX4" fmla="*/ 55615 w 111623"/>
                      <a:gd name="connsiteY4" fmla="*/ 95723 h 95722"/>
                      <a:gd name="connsiteX5" fmla="*/ 55615 w 111623"/>
                      <a:gd name="connsiteY5" fmla="*/ 21272 h 95722"/>
                      <a:gd name="connsiteX6" fmla="*/ 21272 w 111623"/>
                      <a:gd name="connsiteY6" fmla="*/ 40108 h 95722"/>
                      <a:gd name="connsiteX7" fmla="*/ 55615 w 111623"/>
                      <a:gd name="connsiteY7" fmla="*/ 74451 h 95722"/>
                      <a:gd name="connsiteX8" fmla="*/ 90352 w 111623"/>
                      <a:gd name="connsiteY8" fmla="*/ 38555 h 95722"/>
                      <a:gd name="connsiteX9" fmla="*/ 55615 w 111623"/>
                      <a:gd name="connsiteY9" fmla="*/ 21272 h 9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623" h="95722">
                        <a:moveTo>
                          <a:pt x="55615" y="95723"/>
                        </a:moveTo>
                        <a:cubicBezTo>
                          <a:pt x="28589" y="95723"/>
                          <a:pt x="0" y="67134"/>
                          <a:pt x="0" y="40108"/>
                        </a:cubicBezTo>
                        <a:cubicBezTo>
                          <a:pt x="0" y="12401"/>
                          <a:pt x="27940" y="0"/>
                          <a:pt x="55615" y="0"/>
                        </a:cubicBezTo>
                        <a:cubicBezTo>
                          <a:pt x="89639" y="0"/>
                          <a:pt x="111623" y="15135"/>
                          <a:pt x="111623" y="38555"/>
                        </a:cubicBezTo>
                        <a:cubicBezTo>
                          <a:pt x="111613" y="65804"/>
                          <a:pt x="82311" y="95723"/>
                          <a:pt x="55615" y="95723"/>
                        </a:cubicBezTo>
                        <a:close/>
                        <a:moveTo>
                          <a:pt x="55615" y="21272"/>
                        </a:moveTo>
                        <a:cubicBezTo>
                          <a:pt x="43735" y="21272"/>
                          <a:pt x="21272" y="25207"/>
                          <a:pt x="21272" y="40108"/>
                        </a:cubicBezTo>
                        <a:cubicBezTo>
                          <a:pt x="21272" y="55519"/>
                          <a:pt x="40203" y="74451"/>
                          <a:pt x="55615" y="74451"/>
                        </a:cubicBezTo>
                        <a:cubicBezTo>
                          <a:pt x="71718" y="74451"/>
                          <a:pt x="90352" y="52733"/>
                          <a:pt x="90352" y="38555"/>
                        </a:cubicBezTo>
                        <a:cubicBezTo>
                          <a:pt x="90341" y="21750"/>
                          <a:pt x="59167" y="21272"/>
                          <a:pt x="55615" y="21272"/>
                        </a:cubicBezTo>
                        <a:close/>
                      </a:path>
                    </a:pathLst>
                  </a:custGeom>
                  <a:grpFill/>
                  <a:ln w="1063" cap="flat">
                    <a:noFill/>
                    <a:prstDash val="solid"/>
                    <a:miter/>
                  </a:ln>
                </p:spPr>
                <p:txBody>
                  <a:bodyPr rtlCol="0" anchor="ctr"/>
                  <a:lstStyle/>
                  <a:p>
                    <a:endParaRPr lang="en-GB" dirty="0"/>
                  </a:p>
                </p:txBody>
              </p:sp>
              <p:sp>
                <p:nvSpPr>
                  <p:cNvPr id="260" name="Freeform: Shape 259">
                    <a:extLst>
                      <a:ext uri="{FF2B5EF4-FFF2-40B4-BE49-F238E27FC236}">
                        <a16:creationId xmlns:a16="http://schemas.microsoft.com/office/drawing/2014/main" id="{66725744-8809-416D-A485-EA74D87A7A68}"/>
                      </a:ext>
                    </a:extLst>
                  </p:cNvPr>
                  <p:cNvSpPr/>
                  <p:nvPr/>
                </p:nvSpPr>
                <p:spPr>
                  <a:xfrm>
                    <a:off x="5267435" y="103444"/>
                    <a:ext cx="21271" cy="85086"/>
                  </a:xfrm>
                  <a:custGeom>
                    <a:avLst/>
                    <a:gdLst>
                      <a:gd name="connsiteX0" fmla="*/ 10636 w 21271"/>
                      <a:gd name="connsiteY0" fmla="*/ 85087 h 85086"/>
                      <a:gd name="connsiteX1" fmla="*/ 0 w 21271"/>
                      <a:gd name="connsiteY1" fmla="*/ 74451 h 85086"/>
                      <a:gd name="connsiteX2" fmla="*/ 0 w 21271"/>
                      <a:gd name="connsiteY2" fmla="*/ 10636 h 85086"/>
                      <a:gd name="connsiteX3" fmla="*/ 10636 w 21271"/>
                      <a:gd name="connsiteY3" fmla="*/ 0 h 85086"/>
                      <a:gd name="connsiteX4" fmla="*/ 21272 w 21271"/>
                      <a:gd name="connsiteY4" fmla="*/ 10636 h 85086"/>
                      <a:gd name="connsiteX5" fmla="*/ 21272 w 21271"/>
                      <a:gd name="connsiteY5" fmla="*/ 74451 h 85086"/>
                      <a:gd name="connsiteX6" fmla="*/ 10636 w 21271"/>
                      <a:gd name="connsiteY6" fmla="*/ 85087 h 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85086">
                        <a:moveTo>
                          <a:pt x="10636" y="85087"/>
                        </a:moveTo>
                        <a:cubicBezTo>
                          <a:pt x="4754" y="85087"/>
                          <a:pt x="0" y="80322"/>
                          <a:pt x="0" y="74451"/>
                        </a:cubicBezTo>
                        <a:lnTo>
                          <a:pt x="0" y="10636"/>
                        </a:lnTo>
                        <a:cubicBezTo>
                          <a:pt x="0" y="4765"/>
                          <a:pt x="4754" y="0"/>
                          <a:pt x="10636" y="0"/>
                        </a:cubicBezTo>
                        <a:cubicBezTo>
                          <a:pt x="16517" y="0"/>
                          <a:pt x="21272" y="4765"/>
                          <a:pt x="21272" y="10636"/>
                        </a:cubicBezTo>
                        <a:lnTo>
                          <a:pt x="21272" y="74451"/>
                        </a:lnTo>
                        <a:cubicBezTo>
                          <a:pt x="21272" y="80322"/>
                          <a:pt x="16517" y="85087"/>
                          <a:pt x="10636" y="85087"/>
                        </a:cubicBezTo>
                        <a:close/>
                      </a:path>
                    </a:pathLst>
                  </a:custGeom>
                  <a:grpFill/>
                  <a:ln w="1063" cap="flat">
                    <a:noFill/>
                    <a:prstDash val="solid"/>
                    <a:miter/>
                  </a:ln>
                </p:spPr>
                <p:txBody>
                  <a:bodyPr rtlCol="0" anchor="ctr"/>
                  <a:lstStyle/>
                  <a:p>
                    <a:endParaRPr lang="en-GB" dirty="0"/>
                  </a:p>
                </p:txBody>
              </p:sp>
            </p:grpSp>
            <p:grpSp>
              <p:nvGrpSpPr>
                <p:cNvPr id="253" name="Graphic 818">
                  <a:extLst>
                    <a:ext uri="{FF2B5EF4-FFF2-40B4-BE49-F238E27FC236}">
                      <a16:creationId xmlns:a16="http://schemas.microsoft.com/office/drawing/2014/main" id="{A634F342-AF86-4EB5-B4AD-B8D11C301A2D}"/>
                    </a:ext>
                  </a:extLst>
                </p:cNvPr>
                <p:cNvGrpSpPr/>
                <p:nvPr/>
              </p:nvGrpSpPr>
              <p:grpSpPr>
                <a:xfrm>
                  <a:off x="5410942" y="110858"/>
                  <a:ext cx="138089" cy="137042"/>
                  <a:chOff x="5410942" y="110858"/>
                  <a:chExt cx="138089" cy="137042"/>
                </a:xfrm>
                <a:grpFill/>
              </p:grpSpPr>
              <p:sp>
                <p:nvSpPr>
                  <p:cNvPr id="257" name="Freeform: Shape 256">
                    <a:extLst>
                      <a:ext uri="{FF2B5EF4-FFF2-40B4-BE49-F238E27FC236}">
                        <a16:creationId xmlns:a16="http://schemas.microsoft.com/office/drawing/2014/main" id="{2E7B8FED-7A98-450B-8552-478C07252CA3}"/>
                      </a:ext>
                    </a:extLst>
                  </p:cNvPr>
                  <p:cNvSpPr/>
                  <p:nvPr/>
                </p:nvSpPr>
                <p:spPr>
                  <a:xfrm>
                    <a:off x="5444865" y="110858"/>
                    <a:ext cx="104166" cy="102709"/>
                  </a:xfrm>
                  <a:custGeom>
                    <a:avLst/>
                    <a:gdLst>
                      <a:gd name="connsiteX0" fmla="*/ 53453 w 104166"/>
                      <a:gd name="connsiteY0" fmla="*/ 102710 h 102709"/>
                      <a:gd name="connsiteX1" fmla="*/ 14334 w 104166"/>
                      <a:gd name="connsiteY1" fmla="*/ 88819 h 102709"/>
                      <a:gd name="connsiteX2" fmla="*/ 14334 w 104166"/>
                      <a:gd name="connsiteY2" fmla="*/ 10156 h 102709"/>
                      <a:gd name="connsiteX3" fmla="*/ 50699 w 104166"/>
                      <a:gd name="connsiteY3" fmla="*/ 1669 h 102709"/>
                      <a:gd name="connsiteX4" fmla="*/ 82021 w 104166"/>
                      <a:gd name="connsiteY4" fmla="*/ 21122 h 102709"/>
                      <a:gd name="connsiteX5" fmla="*/ 102038 w 104166"/>
                      <a:gd name="connsiteY5" fmla="*/ 51626 h 102709"/>
                      <a:gd name="connsiteX6" fmla="*/ 94359 w 104166"/>
                      <a:gd name="connsiteY6" fmla="*/ 87979 h 102709"/>
                      <a:gd name="connsiteX7" fmla="*/ 53453 w 104166"/>
                      <a:gd name="connsiteY7" fmla="*/ 102710 h 102709"/>
                      <a:gd name="connsiteX8" fmla="*/ 38935 w 104166"/>
                      <a:gd name="connsiteY8" fmla="*/ 21250 h 102709"/>
                      <a:gd name="connsiteX9" fmla="*/ 29384 w 104166"/>
                      <a:gd name="connsiteY9" fmla="*/ 25206 h 102709"/>
                      <a:gd name="connsiteX10" fmla="*/ 29384 w 104166"/>
                      <a:gd name="connsiteY10" fmla="*/ 73780 h 102709"/>
                      <a:gd name="connsiteX11" fmla="*/ 79330 w 104166"/>
                      <a:gd name="connsiteY11" fmla="*/ 72951 h 102709"/>
                      <a:gd name="connsiteX12" fmla="*/ 79330 w 104166"/>
                      <a:gd name="connsiteY12" fmla="*/ 72951 h 102709"/>
                      <a:gd name="connsiteX13" fmla="*/ 81798 w 104166"/>
                      <a:gd name="connsiteY13" fmla="*/ 58167 h 102709"/>
                      <a:gd name="connsiteX14" fmla="*/ 66982 w 104166"/>
                      <a:gd name="connsiteY14" fmla="*/ 36172 h 102709"/>
                      <a:gd name="connsiteX15" fmla="*/ 44976 w 104166"/>
                      <a:gd name="connsiteY15" fmla="*/ 22164 h 102709"/>
                      <a:gd name="connsiteX16" fmla="*/ 38935 w 104166"/>
                      <a:gd name="connsiteY16" fmla="*/ 21250 h 102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4166" h="102709">
                        <a:moveTo>
                          <a:pt x="53453" y="102710"/>
                        </a:moveTo>
                        <a:cubicBezTo>
                          <a:pt x="38467" y="102710"/>
                          <a:pt x="23620" y="98094"/>
                          <a:pt x="14334" y="88819"/>
                        </a:cubicBezTo>
                        <a:cubicBezTo>
                          <a:pt x="-4778" y="69707"/>
                          <a:pt x="-4778" y="29269"/>
                          <a:pt x="14334" y="10156"/>
                        </a:cubicBezTo>
                        <a:cubicBezTo>
                          <a:pt x="23737" y="754"/>
                          <a:pt x="36659" y="-2234"/>
                          <a:pt x="50699" y="1669"/>
                        </a:cubicBezTo>
                        <a:cubicBezTo>
                          <a:pt x="61324" y="4636"/>
                          <a:pt x="72449" y="11539"/>
                          <a:pt x="82021" y="21122"/>
                        </a:cubicBezTo>
                        <a:cubicBezTo>
                          <a:pt x="88881" y="27972"/>
                          <a:pt x="97900" y="38831"/>
                          <a:pt x="102038" y="51626"/>
                        </a:cubicBezTo>
                        <a:cubicBezTo>
                          <a:pt x="106558" y="65601"/>
                          <a:pt x="103825" y="78524"/>
                          <a:pt x="94359" y="87979"/>
                        </a:cubicBezTo>
                        <a:cubicBezTo>
                          <a:pt x="84574" y="97785"/>
                          <a:pt x="68939" y="102710"/>
                          <a:pt x="53453" y="102710"/>
                        </a:cubicBezTo>
                        <a:close/>
                        <a:moveTo>
                          <a:pt x="38935" y="21250"/>
                        </a:moveTo>
                        <a:cubicBezTo>
                          <a:pt x="34043" y="21250"/>
                          <a:pt x="31203" y="23377"/>
                          <a:pt x="29384" y="25206"/>
                        </a:cubicBezTo>
                        <a:cubicBezTo>
                          <a:pt x="18504" y="36097"/>
                          <a:pt x="18504" y="62878"/>
                          <a:pt x="29384" y="73780"/>
                        </a:cubicBezTo>
                        <a:cubicBezTo>
                          <a:pt x="40999" y="85395"/>
                          <a:pt x="69077" y="83193"/>
                          <a:pt x="79330" y="72951"/>
                        </a:cubicBezTo>
                        <a:lnTo>
                          <a:pt x="79330" y="72951"/>
                        </a:lnTo>
                        <a:cubicBezTo>
                          <a:pt x="81883" y="70398"/>
                          <a:pt x="84457" y="66420"/>
                          <a:pt x="81798" y="58167"/>
                        </a:cubicBezTo>
                        <a:cubicBezTo>
                          <a:pt x="79596" y="51328"/>
                          <a:pt x="74331" y="43511"/>
                          <a:pt x="66982" y="36172"/>
                        </a:cubicBezTo>
                        <a:cubicBezTo>
                          <a:pt x="60058" y="29237"/>
                          <a:pt x="52039" y="24132"/>
                          <a:pt x="44976" y="22164"/>
                        </a:cubicBezTo>
                        <a:cubicBezTo>
                          <a:pt x="42669" y="21526"/>
                          <a:pt x="40669" y="21250"/>
                          <a:pt x="38935" y="21250"/>
                        </a:cubicBezTo>
                        <a:close/>
                      </a:path>
                    </a:pathLst>
                  </a:custGeom>
                  <a:grpFill/>
                  <a:ln w="1063" cap="flat">
                    <a:noFill/>
                    <a:prstDash val="solid"/>
                    <a:miter/>
                  </a:ln>
                </p:spPr>
                <p:txBody>
                  <a:bodyPr rtlCol="0" anchor="ctr"/>
                  <a:lstStyle/>
                  <a:p>
                    <a:endParaRPr lang="en-GB" dirty="0"/>
                  </a:p>
                </p:txBody>
              </p:sp>
              <p:sp>
                <p:nvSpPr>
                  <p:cNvPr id="258" name="Freeform: Shape 257">
                    <a:extLst>
                      <a:ext uri="{FF2B5EF4-FFF2-40B4-BE49-F238E27FC236}">
                        <a16:creationId xmlns:a16="http://schemas.microsoft.com/office/drawing/2014/main" id="{CFEBCC0E-BCD5-43E9-8B69-65D6F71D9888}"/>
                      </a:ext>
                    </a:extLst>
                  </p:cNvPr>
                  <p:cNvSpPr/>
                  <p:nvPr/>
                </p:nvSpPr>
                <p:spPr>
                  <a:xfrm>
                    <a:off x="5410942" y="181498"/>
                    <a:ext cx="66404" cy="66402"/>
                  </a:xfrm>
                  <a:custGeom>
                    <a:avLst/>
                    <a:gdLst>
                      <a:gd name="connsiteX0" fmla="*/ 10639 w 66404"/>
                      <a:gd name="connsiteY0" fmla="*/ 66402 h 66402"/>
                      <a:gd name="connsiteX1" fmla="*/ 3119 w 66404"/>
                      <a:gd name="connsiteY1" fmla="*/ 63286 h 66402"/>
                      <a:gd name="connsiteX2" fmla="*/ 3119 w 66404"/>
                      <a:gd name="connsiteY2" fmla="*/ 48247 h 66402"/>
                      <a:gd name="connsiteX3" fmla="*/ 48247 w 66404"/>
                      <a:gd name="connsiteY3" fmla="*/ 3119 h 66402"/>
                      <a:gd name="connsiteX4" fmla="*/ 63286 w 66404"/>
                      <a:gd name="connsiteY4" fmla="*/ 3119 h 66402"/>
                      <a:gd name="connsiteX5" fmla="*/ 63286 w 66404"/>
                      <a:gd name="connsiteY5" fmla="*/ 18158 h 66402"/>
                      <a:gd name="connsiteX6" fmla="*/ 18158 w 66404"/>
                      <a:gd name="connsiteY6" fmla="*/ 63286 h 66402"/>
                      <a:gd name="connsiteX7" fmla="*/ 10639 w 66404"/>
                      <a:gd name="connsiteY7" fmla="*/ 66402 h 6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04" h="66402">
                        <a:moveTo>
                          <a:pt x="10639" y="66402"/>
                        </a:moveTo>
                        <a:cubicBezTo>
                          <a:pt x="7916" y="66402"/>
                          <a:pt x="5193" y="65360"/>
                          <a:pt x="3119" y="63286"/>
                        </a:cubicBezTo>
                        <a:cubicBezTo>
                          <a:pt x="-1040" y="59127"/>
                          <a:pt x="-1040" y="52406"/>
                          <a:pt x="3119" y="48247"/>
                        </a:cubicBezTo>
                        <a:lnTo>
                          <a:pt x="48247" y="3119"/>
                        </a:lnTo>
                        <a:cubicBezTo>
                          <a:pt x="52406" y="-1040"/>
                          <a:pt x="59127" y="-1040"/>
                          <a:pt x="63286" y="3119"/>
                        </a:cubicBezTo>
                        <a:cubicBezTo>
                          <a:pt x="67445" y="7278"/>
                          <a:pt x="67445" y="13999"/>
                          <a:pt x="63286" y="18158"/>
                        </a:cubicBezTo>
                        <a:lnTo>
                          <a:pt x="18158" y="63286"/>
                        </a:lnTo>
                        <a:cubicBezTo>
                          <a:pt x="16084" y="65360"/>
                          <a:pt x="13361" y="66402"/>
                          <a:pt x="10639" y="66402"/>
                        </a:cubicBezTo>
                        <a:close/>
                      </a:path>
                    </a:pathLst>
                  </a:custGeom>
                  <a:grpFill/>
                  <a:ln w="1063" cap="flat">
                    <a:noFill/>
                    <a:prstDash val="solid"/>
                    <a:miter/>
                  </a:ln>
                </p:spPr>
                <p:txBody>
                  <a:bodyPr rtlCol="0" anchor="ctr"/>
                  <a:lstStyle/>
                  <a:p>
                    <a:endParaRPr lang="en-GB" dirty="0"/>
                  </a:p>
                </p:txBody>
              </p:sp>
            </p:grpSp>
            <p:grpSp>
              <p:nvGrpSpPr>
                <p:cNvPr id="254" name="Graphic 818">
                  <a:extLst>
                    <a:ext uri="{FF2B5EF4-FFF2-40B4-BE49-F238E27FC236}">
                      <a16:creationId xmlns:a16="http://schemas.microsoft.com/office/drawing/2014/main" id="{0C3FE0DF-7543-4B4B-9D45-A72A42D2653C}"/>
                    </a:ext>
                  </a:extLst>
                </p:cNvPr>
                <p:cNvGrpSpPr/>
                <p:nvPr/>
              </p:nvGrpSpPr>
              <p:grpSpPr>
                <a:xfrm>
                  <a:off x="5007473" y="110391"/>
                  <a:ext cx="138088" cy="137030"/>
                  <a:chOff x="5007473" y="110391"/>
                  <a:chExt cx="138088" cy="137030"/>
                </a:xfrm>
                <a:grpFill/>
              </p:grpSpPr>
              <p:sp>
                <p:nvSpPr>
                  <p:cNvPr id="255" name="Freeform: Shape 254">
                    <a:extLst>
                      <a:ext uri="{FF2B5EF4-FFF2-40B4-BE49-F238E27FC236}">
                        <a16:creationId xmlns:a16="http://schemas.microsoft.com/office/drawing/2014/main" id="{7438EB35-1B57-478A-ADA2-866C468C7F23}"/>
                      </a:ext>
                    </a:extLst>
                  </p:cNvPr>
                  <p:cNvSpPr/>
                  <p:nvPr/>
                </p:nvSpPr>
                <p:spPr>
                  <a:xfrm>
                    <a:off x="5007473" y="110391"/>
                    <a:ext cx="104192" cy="102772"/>
                  </a:xfrm>
                  <a:custGeom>
                    <a:avLst/>
                    <a:gdLst>
                      <a:gd name="connsiteX0" fmla="*/ 51106 w 104192"/>
                      <a:gd name="connsiteY0" fmla="*/ 102772 h 102772"/>
                      <a:gd name="connsiteX1" fmla="*/ 49202 w 104192"/>
                      <a:gd name="connsiteY1" fmla="*/ 102751 h 102772"/>
                      <a:gd name="connsiteX2" fmla="*/ 9806 w 104192"/>
                      <a:gd name="connsiteY2" fmla="*/ 87989 h 102772"/>
                      <a:gd name="connsiteX3" fmla="*/ 2117 w 104192"/>
                      <a:gd name="connsiteY3" fmla="*/ 51635 h 102772"/>
                      <a:gd name="connsiteX4" fmla="*/ 22144 w 104192"/>
                      <a:gd name="connsiteY4" fmla="*/ 21121 h 102772"/>
                      <a:gd name="connsiteX5" fmla="*/ 53467 w 104192"/>
                      <a:gd name="connsiteY5" fmla="*/ 1679 h 102772"/>
                      <a:gd name="connsiteX6" fmla="*/ 89820 w 104192"/>
                      <a:gd name="connsiteY6" fmla="*/ 10155 h 102772"/>
                      <a:gd name="connsiteX7" fmla="*/ 104189 w 104192"/>
                      <a:gd name="connsiteY7" fmla="*/ 49040 h 102772"/>
                      <a:gd name="connsiteX8" fmla="*/ 89820 w 104192"/>
                      <a:gd name="connsiteY8" fmla="*/ 88808 h 102772"/>
                      <a:gd name="connsiteX9" fmla="*/ 51106 w 104192"/>
                      <a:gd name="connsiteY9" fmla="*/ 102772 h 102772"/>
                      <a:gd name="connsiteX10" fmla="*/ 65241 w 104192"/>
                      <a:gd name="connsiteY10" fmla="*/ 21249 h 102772"/>
                      <a:gd name="connsiteX11" fmla="*/ 59189 w 104192"/>
                      <a:gd name="connsiteY11" fmla="*/ 22163 h 102772"/>
                      <a:gd name="connsiteX12" fmla="*/ 37194 w 104192"/>
                      <a:gd name="connsiteY12" fmla="*/ 36160 h 102772"/>
                      <a:gd name="connsiteX13" fmla="*/ 22378 w 104192"/>
                      <a:gd name="connsiteY13" fmla="*/ 58155 h 102772"/>
                      <a:gd name="connsiteX14" fmla="*/ 24846 w 104192"/>
                      <a:gd name="connsiteY14" fmla="*/ 72939 h 102772"/>
                      <a:gd name="connsiteX15" fmla="*/ 24846 w 104192"/>
                      <a:gd name="connsiteY15" fmla="*/ 72939 h 102772"/>
                      <a:gd name="connsiteX16" fmla="*/ 49744 w 104192"/>
                      <a:gd name="connsiteY16" fmla="*/ 81479 h 102772"/>
                      <a:gd name="connsiteX17" fmla="*/ 74781 w 104192"/>
                      <a:gd name="connsiteY17" fmla="*/ 73758 h 102772"/>
                      <a:gd name="connsiteX18" fmla="*/ 82917 w 104192"/>
                      <a:gd name="connsiteY18" fmla="*/ 49232 h 102772"/>
                      <a:gd name="connsiteX19" fmla="*/ 74781 w 104192"/>
                      <a:gd name="connsiteY19" fmla="*/ 25184 h 102772"/>
                      <a:gd name="connsiteX20" fmla="*/ 65241 w 104192"/>
                      <a:gd name="connsiteY20" fmla="*/ 21249 h 102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192" h="102772">
                        <a:moveTo>
                          <a:pt x="51106" y="102772"/>
                        </a:moveTo>
                        <a:cubicBezTo>
                          <a:pt x="50467" y="102772"/>
                          <a:pt x="49840" y="102762"/>
                          <a:pt x="49202" y="102751"/>
                        </a:cubicBezTo>
                        <a:cubicBezTo>
                          <a:pt x="33376" y="102347"/>
                          <a:pt x="18645" y="96827"/>
                          <a:pt x="9806" y="87989"/>
                        </a:cubicBezTo>
                        <a:cubicBezTo>
                          <a:pt x="341" y="78523"/>
                          <a:pt x="-2382" y="65611"/>
                          <a:pt x="2117" y="51635"/>
                        </a:cubicBezTo>
                        <a:cubicBezTo>
                          <a:pt x="6254" y="38830"/>
                          <a:pt x="15284" y="27970"/>
                          <a:pt x="22144" y="21121"/>
                        </a:cubicBezTo>
                        <a:cubicBezTo>
                          <a:pt x="31716" y="11549"/>
                          <a:pt x="42841" y="4646"/>
                          <a:pt x="53467" y="1679"/>
                        </a:cubicBezTo>
                        <a:cubicBezTo>
                          <a:pt x="67495" y="-2246"/>
                          <a:pt x="80429" y="764"/>
                          <a:pt x="89820" y="10155"/>
                        </a:cubicBezTo>
                        <a:cubicBezTo>
                          <a:pt x="98807" y="19132"/>
                          <a:pt x="104040" y="33310"/>
                          <a:pt x="104189" y="49040"/>
                        </a:cubicBezTo>
                        <a:cubicBezTo>
                          <a:pt x="104338" y="65036"/>
                          <a:pt x="99095" y="79533"/>
                          <a:pt x="89820" y="88808"/>
                        </a:cubicBezTo>
                        <a:cubicBezTo>
                          <a:pt x="80907" y="97731"/>
                          <a:pt x="66879" y="102772"/>
                          <a:pt x="51106" y="102772"/>
                        </a:cubicBezTo>
                        <a:close/>
                        <a:moveTo>
                          <a:pt x="65241" y="21249"/>
                        </a:moveTo>
                        <a:cubicBezTo>
                          <a:pt x="63496" y="21249"/>
                          <a:pt x="61497" y="21514"/>
                          <a:pt x="59189" y="22163"/>
                        </a:cubicBezTo>
                        <a:cubicBezTo>
                          <a:pt x="52137" y="24131"/>
                          <a:pt x="44118" y="29236"/>
                          <a:pt x="37194" y="36160"/>
                        </a:cubicBezTo>
                        <a:cubicBezTo>
                          <a:pt x="29855" y="43499"/>
                          <a:pt x="24580" y="51316"/>
                          <a:pt x="22378" y="58155"/>
                        </a:cubicBezTo>
                        <a:cubicBezTo>
                          <a:pt x="19708" y="66398"/>
                          <a:pt x="22293" y="70386"/>
                          <a:pt x="24846" y="72939"/>
                        </a:cubicBezTo>
                        <a:lnTo>
                          <a:pt x="24846" y="72939"/>
                        </a:lnTo>
                        <a:cubicBezTo>
                          <a:pt x="29855" y="77948"/>
                          <a:pt x="39385" y="81214"/>
                          <a:pt x="49744" y="81479"/>
                        </a:cubicBezTo>
                        <a:cubicBezTo>
                          <a:pt x="60380" y="81713"/>
                          <a:pt x="69686" y="78852"/>
                          <a:pt x="74781" y="73758"/>
                        </a:cubicBezTo>
                        <a:cubicBezTo>
                          <a:pt x="79961" y="68568"/>
                          <a:pt x="83002" y="59399"/>
                          <a:pt x="82917" y="49232"/>
                        </a:cubicBezTo>
                        <a:cubicBezTo>
                          <a:pt x="82822" y="39319"/>
                          <a:pt x="79705" y="30108"/>
                          <a:pt x="74781" y="25184"/>
                        </a:cubicBezTo>
                        <a:cubicBezTo>
                          <a:pt x="72962" y="23365"/>
                          <a:pt x="70133" y="21249"/>
                          <a:pt x="65241" y="21249"/>
                        </a:cubicBezTo>
                        <a:close/>
                      </a:path>
                    </a:pathLst>
                  </a:custGeom>
                  <a:grpFill/>
                  <a:ln w="1063" cap="flat">
                    <a:noFill/>
                    <a:prstDash val="solid"/>
                    <a:miter/>
                  </a:ln>
                </p:spPr>
                <p:txBody>
                  <a:bodyPr rtlCol="0" anchor="ctr"/>
                  <a:lstStyle/>
                  <a:p>
                    <a:endParaRPr lang="en-GB" dirty="0"/>
                  </a:p>
                </p:txBody>
              </p:sp>
              <p:sp>
                <p:nvSpPr>
                  <p:cNvPr id="256" name="Freeform: Shape 255">
                    <a:extLst>
                      <a:ext uri="{FF2B5EF4-FFF2-40B4-BE49-F238E27FC236}">
                        <a16:creationId xmlns:a16="http://schemas.microsoft.com/office/drawing/2014/main" id="{BAD1E646-9096-4574-B4BB-EF05B655F704}"/>
                      </a:ext>
                    </a:extLst>
                  </p:cNvPr>
                  <p:cNvSpPr/>
                  <p:nvPr/>
                </p:nvSpPr>
                <p:spPr>
                  <a:xfrm>
                    <a:off x="5079167" y="181019"/>
                    <a:ext cx="66394" cy="66402"/>
                  </a:xfrm>
                  <a:custGeom>
                    <a:avLst/>
                    <a:gdLst>
                      <a:gd name="connsiteX0" fmla="*/ 55756 w 66394"/>
                      <a:gd name="connsiteY0" fmla="*/ 66402 h 66402"/>
                      <a:gd name="connsiteX1" fmla="*/ 48236 w 66394"/>
                      <a:gd name="connsiteY1" fmla="*/ 63286 h 66402"/>
                      <a:gd name="connsiteX2" fmla="*/ 3119 w 66394"/>
                      <a:gd name="connsiteY2" fmla="*/ 18158 h 66402"/>
                      <a:gd name="connsiteX3" fmla="*/ 3119 w 66394"/>
                      <a:gd name="connsiteY3" fmla="*/ 3119 h 66402"/>
                      <a:gd name="connsiteX4" fmla="*/ 18158 w 66394"/>
                      <a:gd name="connsiteY4" fmla="*/ 3119 h 66402"/>
                      <a:gd name="connsiteX5" fmla="*/ 63275 w 66394"/>
                      <a:gd name="connsiteY5" fmla="*/ 48247 h 66402"/>
                      <a:gd name="connsiteX6" fmla="*/ 63275 w 66394"/>
                      <a:gd name="connsiteY6" fmla="*/ 63286 h 66402"/>
                      <a:gd name="connsiteX7" fmla="*/ 55756 w 66394"/>
                      <a:gd name="connsiteY7" fmla="*/ 66402 h 6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94" h="66402">
                        <a:moveTo>
                          <a:pt x="55756" y="66402"/>
                        </a:moveTo>
                        <a:cubicBezTo>
                          <a:pt x="53033" y="66402"/>
                          <a:pt x="50310" y="65360"/>
                          <a:pt x="48236" y="63286"/>
                        </a:cubicBezTo>
                        <a:lnTo>
                          <a:pt x="3119" y="18158"/>
                        </a:lnTo>
                        <a:cubicBezTo>
                          <a:pt x="-1040" y="13999"/>
                          <a:pt x="-1040" y="7278"/>
                          <a:pt x="3119" y="3119"/>
                        </a:cubicBezTo>
                        <a:cubicBezTo>
                          <a:pt x="7277" y="-1040"/>
                          <a:pt x="13999" y="-1040"/>
                          <a:pt x="18158" y="3119"/>
                        </a:cubicBezTo>
                        <a:lnTo>
                          <a:pt x="63275" y="48247"/>
                        </a:lnTo>
                        <a:cubicBezTo>
                          <a:pt x="67434" y="52406"/>
                          <a:pt x="67434" y="59127"/>
                          <a:pt x="63275" y="63286"/>
                        </a:cubicBezTo>
                        <a:cubicBezTo>
                          <a:pt x="61201" y="65360"/>
                          <a:pt x="58479" y="66402"/>
                          <a:pt x="55756" y="66402"/>
                        </a:cubicBezTo>
                        <a:close/>
                      </a:path>
                    </a:pathLst>
                  </a:custGeom>
                  <a:grpFill/>
                  <a:ln w="1063" cap="flat">
                    <a:noFill/>
                    <a:prstDash val="solid"/>
                    <a:miter/>
                  </a:ln>
                </p:spPr>
                <p:txBody>
                  <a:bodyPr rtlCol="0" anchor="ctr"/>
                  <a:lstStyle/>
                  <a:p>
                    <a:endParaRPr lang="en-GB" dirty="0"/>
                  </a:p>
                </p:txBody>
              </p:sp>
            </p:grpSp>
          </p:grpSp>
          <p:grpSp>
            <p:nvGrpSpPr>
              <p:cNvPr id="234" name="Graphic 818">
                <a:extLst>
                  <a:ext uri="{FF2B5EF4-FFF2-40B4-BE49-F238E27FC236}">
                    <a16:creationId xmlns:a16="http://schemas.microsoft.com/office/drawing/2014/main" id="{4B700D98-396B-417C-937E-58645B4A56B8}"/>
                  </a:ext>
                </a:extLst>
              </p:cNvPr>
              <p:cNvGrpSpPr/>
              <p:nvPr/>
            </p:nvGrpSpPr>
            <p:grpSpPr>
              <a:xfrm>
                <a:off x="5007468" y="512858"/>
                <a:ext cx="541501" cy="218909"/>
                <a:chOff x="5007468" y="512858"/>
                <a:chExt cx="541501" cy="218909"/>
              </a:xfrm>
              <a:grpFill/>
            </p:grpSpPr>
            <p:grpSp>
              <p:nvGrpSpPr>
                <p:cNvPr id="243" name="Graphic 818">
                  <a:extLst>
                    <a:ext uri="{FF2B5EF4-FFF2-40B4-BE49-F238E27FC236}">
                      <a16:creationId xmlns:a16="http://schemas.microsoft.com/office/drawing/2014/main" id="{A0AB1540-790E-4A52-8358-0AD8EA2BE009}"/>
                    </a:ext>
                  </a:extLst>
                </p:cNvPr>
                <p:cNvGrpSpPr/>
                <p:nvPr/>
              </p:nvGrpSpPr>
              <p:grpSpPr>
                <a:xfrm>
                  <a:off x="5222488" y="572230"/>
                  <a:ext cx="111623" cy="159537"/>
                  <a:chOff x="5222488" y="572230"/>
                  <a:chExt cx="111623" cy="159537"/>
                </a:xfrm>
                <a:grpFill/>
              </p:grpSpPr>
              <p:sp>
                <p:nvSpPr>
                  <p:cNvPr id="250" name="Freeform: Shape 249">
                    <a:extLst>
                      <a:ext uri="{FF2B5EF4-FFF2-40B4-BE49-F238E27FC236}">
                        <a16:creationId xmlns:a16="http://schemas.microsoft.com/office/drawing/2014/main" id="{F51E3635-26F6-490A-AA82-467E108C931B}"/>
                      </a:ext>
                    </a:extLst>
                  </p:cNvPr>
                  <p:cNvSpPr/>
                  <p:nvPr/>
                </p:nvSpPr>
                <p:spPr>
                  <a:xfrm>
                    <a:off x="5222488" y="636045"/>
                    <a:ext cx="111623" cy="95722"/>
                  </a:xfrm>
                  <a:custGeom>
                    <a:avLst/>
                    <a:gdLst>
                      <a:gd name="connsiteX0" fmla="*/ 55615 w 111623"/>
                      <a:gd name="connsiteY0" fmla="*/ 95723 h 95722"/>
                      <a:gd name="connsiteX1" fmla="*/ 0 w 111623"/>
                      <a:gd name="connsiteY1" fmla="*/ 55615 h 95722"/>
                      <a:gd name="connsiteX2" fmla="*/ 55615 w 111623"/>
                      <a:gd name="connsiteY2" fmla="*/ 0 h 95722"/>
                      <a:gd name="connsiteX3" fmla="*/ 111623 w 111623"/>
                      <a:gd name="connsiteY3" fmla="*/ 57168 h 95722"/>
                      <a:gd name="connsiteX4" fmla="*/ 55615 w 111623"/>
                      <a:gd name="connsiteY4" fmla="*/ 95723 h 95722"/>
                      <a:gd name="connsiteX5" fmla="*/ 55615 w 111623"/>
                      <a:gd name="connsiteY5" fmla="*/ 21272 h 95722"/>
                      <a:gd name="connsiteX6" fmla="*/ 21272 w 111623"/>
                      <a:gd name="connsiteY6" fmla="*/ 55615 h 95722"/>
                      <a:gd name="connsiteX7" fmla="*/ 55615 w 111623"/>
                      <a:gd name="connsiteY7" fmla="*/ 74451 h 95722"/>
                      <a:gd name="connsiteX8" fmla="*/ 90352 w 111623"/>
                      <a:gd name="connsiteY8" fmla="*/ 57168 h 95722"/>
                      <a:gd name="connsiteX9" fmla="*/ 55615 w 111623"/>
                      <a:gd name="connsiteY9" fmla="*/ 21272 h 95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623" h="95722">
                        <a:moveTo>
                          <a:pt x="55615" y="95723"/>
                        </a:moveTo>
                        <a:cubicBezTo>
                          <a:pt x="27930" y="95723"/>
                          <a:pt x="0" y="83321"/>
                          <a:pt x="0" y="55615"/>
                        </a:cubicBezTo>
                        <a:cubicBezTo>
                          <a:pt x="0" y="28589"/>
                          <a:pt x="28589" y="0"/>
                          <a:pt x="55615" y="0"/>
                        </a:cubicBezTo>
                        <a:cubicBezTo>
                          <a:pt x="82311" y="0"/>
                          <a:pt x="111623" y="29919"/>
                          <a:pt x="111623" y="57168"/>
                        </a:cubicBezTo>
                        <a:cubicBezTo>
                          <a:pt x="111613" y="80588"/>
                          <a:pt x="89639" y="95723"/>
                          <a:pt x="55615" y="95723"/>
                        </a:cubicBezTo>
                        <a:close/>
                        <a:moveTo>
                          <a:pt x="55615" y="21272"/>
                        </a:moveTo>
                        <a:cubicBezTo>
                          <a:pt x="40203" y="21272"/>
                          <a:pt x="21272" y="40204"/>
                          <a:pt x="21272" y="55615"/>
                        </a:cubicBezTo>
                        <a:cubicBezTo>
                          <a:pt x="21272" y="70516"/>
                          <a:pt x="43735" y="74451"/>
                          <a:pt x="55615" y="74451"/>
                        </a:cubicBezTo>
                        <a:cubicBezTo>
                          <a:pt x="59167" y="74451"/>
                          <a:pt x="90352" y="73972"/>
                          <a:pt x="90352" y="57168"/>
                        </a:cubicBezTo>
                        <a:cubicBezTo>
                          <a:pt x="90341" y="43001"/>
                          <a:pt x="71718" y="21272"/>
                          <a:pt x="55615" y="21272"/>
                        </a:cubicBezTo>
                        <a:close/>
                      </a:path>
                    </a:pathLst>
                  </a:custGeom>
                  <a:grpFill/>
                  <a:ln w="1063" cap="flat">
                    <a:noFill/>
                    <a:prstDash val="solid"/>
                    <a:miter/>
                  </a:ln>
                </p:spPr>
                <p:txBody>
                  <a:bodyPr rtlCol="0" anchor="ctr"/>
                  <a:lstStyle/>
                  <a:p>
                    <a:endParaRPr lang="en-GB" dirty="0"/>
                  </a:p>
                </p:txBody>
              </p:sp>
              <p:sp>
                <p:nvSpPr>
                  <p:cNvPr id="251" name="Freeform: Shape 250">
                    <a:extLst>
                      <a:ext uri="{FF2B5EF4-FFF2-40B4-BE49-F238E27FC236}">
                        <a16:creationId xmlns:a16="http://schemas.microsoft.com/office/drawing/2014/main" id="{5A0B5466-5120-4A9F-87BE-4EF3BEECB319}"/>
                      </a:ext>
                    </a:extLst>
                  </p:cNvPr>
                  <p:cNvSpPr/>
                  <p:nvPr/>
                </p:nvSpPr>
                <p:spPr>
                  <a:xfrm>
                    <a:off x="5267435" y="572230"/>
                    <a:ext cx="21271" cy="85086"/>
                  </a:xfrm>
                  <a:custGeom>
                    <a:avLst/>
                    <a:gdLst>
                      <a:gd name="connsiteX0" fmla="*/ 10636 w 21271"/>
                      <a:gd name="connsiteY0" fmla="*/ 85087 h 85086"/>
                      <a:gd name="connsiteX1" fmla="*/ 0 w 21271"/>
                      <a:gd name="connsiteY1" fmla="*/ 74451 h 85086"/>
                      <a:gd name="connsiteX2" fmla="*/ 0 w 21271"/>
                      <a:gd name="connsiteY2" fmla="*/ 10636 h 85086"/>
                      <a:gd name="connsiteX3" fmla="*/ 10636 w 21271"/>
                      <a:gd name="connsiteY3" fmla="*/ 0 h 85086"/>
                      <a:gd name="connsiteX4" fmla="*/ 21272 w 21271"/>
                      <a:gd name="connsiteY4" fmla="*/ 10636 h 85086"/>
                      <a:gd name="connsiteX5" fmla="*/ 21272 w 21271"/>
                      <a:gd name="connsiteY5" fmla="*/ 74451 h 85086"/>
                      <a:gd name="connsiteX6" fmla="*/ 10636 w 21271"/>
                      <a:gd name="connsiteY6" fmla="*/ 85087 h 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85086">
                        <a:moveTo>
                          <a:pt x="10636" y="85087"/>
                        </a:moveTo>
                        <a:cubicBezTo>
                          <a:pt x="4754" y="85087"/>
                          <a:pt x="0" y="80322"/>
                          <a:pt x="0" y="74451"/>
                        </a:cubicBezTo>
                        <a:lnTo>
                          <a:pt x="0" y="10636"/>
                        </a:lnTo>
                        <a:cubicBezTo>
                          <a:pt x="0" y="4765"/>
                          <a:pt x="4754" y="0"/>
                          <a:pt x="10636" y="0"/>
                        </a:cubicBezTo>
                        <a:cubicBezTo>
                          <a:pt x="16517" y="0"/>
                          <a:pt x="21272" y="4765"/>
                          <a:pt x="21272" y="10636"/>
                        </a:cubicBezTo>
                        <a:lnTo>
                          <a:pt x="21272" y="74451"/>
                        </a:lnTo>
                        <a:cubicBezTo>
                          <a:pt x="21272" y="80322"/>
                          <a:pt x="16517" y="85087"/>
                          <a:pt x="10636" y="85087"/>
                        </a:cubicBezTo>
                        <a:close/>
                      </a:path>
                    </a:pathLst>
                  </a:custGeom>
                  <a:grpFill/>
                  <a:ln w="1063" cap="flat">
                    <a:noFill/>
                    <a:prstDash val="solid"/>
                    <a:miter/>
                  </a:ln>
                </p:spPr>
                <p:txBody>
                  <a:bodyPr rtlCol="0" anchor="ctr"/>
                  <a:lstStyle/>
                  <a:p>
                    <a:endParaRPr lang="en-GB" dirty="0"/>
                  </a:p>
                </p:txBody>
              </p:sp>
            </p:grpSp>
            <p:grpSp>
              <p:nvGrpSpPr>
                <p:cNvPr id="244" name="Graphic 818">
                  <a:extLst>
                    <a:ext uri="{FF2B5EF4-FFF2-40B4-BE49-F238E27FC236}">
                      <a16:creationId xmlns:a16="http://schemas.microsoft.com/office/drawing/2014/main" id="{B6FDD5A0-369D-48B3-9FFB-2E9FFD9C0DBD}"/>
                    </a:ext>
                  </a:extLst>
                </p:cNvPr>
                <p:cNvGrpSpPr/>
                <p:nvPr/>
              </p:nvGrpSpPr>
              <p:grpSpPr>
                <a:xfrm>
                  <a:off x="5410942" y="512858"/>
                  <a:ext cx="138027" cy="137183"/>
                  <a:chOff x="5410942" y="512858"/>
                  <a:chExt cx="138027" cy="137183"/>
                </a:xfrm>
                <a:grpFill/>
              </p:grpSpPr>
              <p:sp>
                <p:nvSpPr>
                  <p:cNvPr id="248" name="Freeform: Shape 247">
                    <a:extLst>
                      <a:ext uri="{FF2B5EF4-FFF2-40B4-BE49-F238E27FC236}">
                        <a16:creationId xmlns:a16="http://schemas.microsoft.com/office/drawing/2014/main" id="{B8A24470-65C6-408D-AAA2-EB987DE070CC}"/>
                      </a:ext>
                    </a:extLst>
                  </p:cNvPr>
                  <p:cNvSpPr/>
                  <p:nvPr/>
                </p:nvSpPr>
                <p:spPr>
                  <a:xfrm>
                    <a:off x="5444865" y="547190"/>
                    <a:ext cx="104104" cy="102851"/>
                  </a:xfrm>
                  <a:custGeom>
                    <a:avLst/>
                    <a:gdLst>
                      <a:gd name="connsiteX0" fmla="*/ 38808 w 104104"/>
                      <a:gd name="connsiteY0" fmla="*/ 102851 h 102851"/>
                      <a:gd name="connsiteX1" fmla="*/ 14334 w 104104"/>
                      <a:gd name="connsiteY1" fmla="*/ 92545 h 102851"/>
                      <a:gd name="connsiteX2" fmla="*/ 14334 w 104104"/>
                      <a:gd name="connsiteY2" fmla="*/ 13893 h 102851"/>
                      <a:gd name="connsiteX3" fmla="*/ 94359 w 104104"/>
                      <a:gd name="connsiteY3" fmla="*/ 14712 h 102851"/>
                      <a:gd name="connsiteX4" fmla="*/ 94359 w 104104"/>
                      <a:gd name="connsiteY4" fmla="*/ 14712 h 102851"/>
                      <a:gd name="connsiteX5" fmla="*/ 82021 w 104104"/>
                      <a:gd name="connsiteY5" fmla="*/ 81580 h 102851"/>
                      <a:gd name="connsiteX6" fmla="*/ 38808 w 104104"/>
                      <a:gd name="connsiteY6" fmla="*/ 102851 h 102851"/>
                      <a:gd name="connsiteX7" fmla="*/ 52868 w 104104"/>
                      <a:gd name="connsiteY7" fmla="*/ 21115 h 102851"/>
                      <a:gd name="connsiteX8" fmla="*/ 29374 w 104104"/>
                      <a:gd name="connsiteY8" fmla="*/ 28943 h 102851"/>
                      <a:gd name="connsiteX9" fmla="*/ 29374 w 104104"/>
                      <a:gd name="connsiteY9" fmla="*/ 77506 h 102851"/>
                      <a:gd name="connsiteX10" fmla="*/ 66982 w 104104"/>
                      <a:gd name="connsiteY10" fmla="*/ 66541 h 102851"/>
                      <a:gd name="connsiteX11" fmla="*/ 79320 w 104104"/>
                      <a:gd name="connsiteY11" fmla="*/ 29762 h 102851"/>
                      <a:gd name="connsiteX12" fmla="*/ 52868 w 104104"/>
                      <a:gd name="connsiteY12" fmla="*/ 21115 h 102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4104" h="102851">
                        <a:moveTo>
                          <a:pt x="38808" y="102851"/>
                        </a:moveTo>
                        <a:cubicBezTo>
                          <a:pt x="30033" y="102851"/>
                          <a:pt x="21578" y="99788"/>
                          <a:pt x="14334" y="92545"/>
                        </a:cubicBezTo>
                        <a:cubicBezTo>
                          <a:pt x="-4778" y="73433"/>
                          <a:pt x="-4778" y="32995"/>
                          <a:pt x="14334" y="13893"/>
                        </a:cubicBezTo>
                        <a:cubicBezTo>
                          <a:pt x="33224" y="-4986"/>
                          <a:pt x="75108" y="-4539"/>
                          <a:pt x="94359" y="14712"/>
                        </a:cubicBezTo>
                        <a:lnTo>
                          <a:pt x="94359" y="14712"/>
                        </a:lnTo>
                        <a:cubicBezTo>
                          <a:pt x="110929" y="31272"/>
                          <a:pt x="106079" y="57521"/>
                          <a:pt x="82021" y="81580"/>
                        </a:cubicBezTo>
                        <a:cubicBezTo>
                          <a:pt x="69683" y="93928"/>
                          <a:pt x="53783" y="102851"/>
                          <a:pt x="38808" y="102851"/>
                        </a:cubicBezTo>
                        <a:close/>
                        <a:moveTo>
                          <a:pt x="52868" y="21115"/>
                        </a:moveTo>
                        <a:cubicBezTo>
                          <a:pt x="43785" y="21115"/>
                          <a:pt x="34787" y="23529"/>
                          <a:pt x="29374" y="28943"/>
                        </a:cubicBezTo>
                        <a:cubicBezTo>
                          <a:pt x="18483" y="39834"/>
                          <a:pt x="18483" y="66615"/>
                          <a:pt x="29374" y="77506"/>
                        </a:cubicBezTo>
                        <a:cubicBezTo>
                          <a:pt x="39935" y="88057"/>
                          <a:pt x="58590" y="74932"/>
                          <a:pt x="66982" y="66541"/>
                        </a:cubicBezTo>
                        <a:cubicBezTo>
                          <a:pt x="69492" y="64030"/>
                          <a:pt x="91200" y="41631"/>
                          <a:pt x="79320" y="29762"/>
                        </a:cubicBezTo>
                        <a:cubicBezTo>
                          <a:pt x="73853" y="24284"/>
                          <a:pt x="63291" y="21115"/>
                          <a:pt x="52868" y="21115"/>
                        </a:cubicBezTo>
                        <a:close/>
                      </a:path>
                    </a:pathLst>
                  </a:custGeom>
                  <a:grpFill/>
                  <a:ln w="1063" cap="flat">
                    <a:noFill/>
                    <a:prstDash val="solid"/>
                    <a:miter/>
                  </a:ln>
                </p:spPr>
                <p:txBody>
                  <a:bodyPr rtlCol="0" anchor="ctr"/>
                  <a:lstStyle/>
                  <a:p>
                    <a:endParaRPr lang="en-GB" dirty="0"/>
                  </a:p>
                </p:txBody>
              </p:sp>
              <p:sp>
                <p:nvSpPr>
                  <p:cNvPr id="249" name="Freeform: Shape 248">
                    <a:extLst>
                      <a:ext uri="{FF2B5EF4-FFF2-40B4-BE49-F238E27FC236}">
                        <a16:creationId xmlns:a16="http://schemas.microsoft.com/office/drawing/2014/main" id="{B8EE9DBF-2B69-4208-99AF-E57665653471}"/>
                      </a:ext>
                    </a:extLst>
                  </p:cNvPr>
                  <p:cNvSpPr/>
                  <p:nvPr/>
                </p:nvSpPr>
                <p:spPr>
                  <a:xfrm>
                    <a:off x="5410942" y="512858"/>
                    <a:ext cx="66404" cy="66402"/>
                  </a:xfrm>
                  <a:custGeom>
                    <a:avLst/>
                    <a:gdLst>
                      <a:gd name="connsiteX0" fmla="*/ 55766 w 66404"/>
                      <a:gd name="connsiteY0" fmla="*/ 66402 h 66402"/>
                      <a:gd name="connsiteX1" fmla="*/ 48247 w 66404"/>
                      <a:gd name="connsiteY1" fmla="*/ 63286 h 66402"/>
                      <a:gd name="connsiteX2" fmla="*/ 3119 w 66404"/>
                      <a:gd name="connsiteY2" fmla="*/ 18158 h 66402"/>
                      <a:gd name="connsiteX3" fmla="*/ 3119 w 66404"/>
                      <a:gd name="connsiteY3" fmla="*/ 3119 h 66402"/>
                      <a:gd name="connsiteX4" fmla="*/ 18158 w 66404"/>
                      <a:gd name="connsiteY4" fmla="*/ 3119 h 66402"/>
                      <a:gd name="connsiteX5" fmla="*/ 63286 w 66404"/>
                      <a:gd name="connsiteY5" fmla="*/ 48247 h 66402"/>
                      <a:gd name="connsiteX6" fmla="*/ 63286 w 66404"/>
                      <a:gd name="connsiteY6" fmla="*/ 63286 h 66402"/>
                      <a:gd name="connsiteX7" fmla="*/ 55766 w 66404"/>
                      <a:gd name="connsiteY7" fmla="*/ 66402 h 6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404" h="66402">
                        <a:moveTo>
                          <a:pt x="55766" y="66402"/>
                        </a:moveTo>
                        <a:cubicBezTo>
                          <a:pt x="53044" y="66402"/>
                          <a:pt x="50321" y="65360"/>
                          <a:pt x="48247" y="63286"/>
                        </a:cubicBezTo>
                        <a:lnTo>
                          <a:pt x="3119" y="18158"/>
                        </a:lnTo>
                        <a:cubicBezTo>
                          <a:pt x="-1040" y="13999"/>
                          <a:pt x="-1040" y="7278"/>
                          <a:pt x="3119" y="3119"/>
                        </a:cubicBezTo>
                        <a:cubicBezTo>
                          <a:pt x="7277" y="-1040"/>
                          <a:pt x="13999" y="-1040"/>
                          <a:pt x="18158" y="3119"/>
                        </a:cubicBezTo>
                        <a:lnTo>
                          <a:pt x="63286" y="48247"/>
                        </a:lnTo>
                        <a:cubicBezTo>
                          <a:pt x="67445" y="52405"/>
                          <a:pt x="67445" y="59127"/>
                          <a:pt x="63286" y="63286"/>
                        </a:cubicBezTo>
                        <a:cubicBezTo>
                          <a:pt x="61212" y="65371"/>
                          <a:pt x="58489" y="66402"/>
                          <a:pt x="55766" y="66402"/>
                        </a:cubicBezTo>
                        <a:close/>
                      </a:path>
                    </a:pathLst>
                  </a:custGeom>
                  <a:grpFill/>
                  <a:ln w="1063" cap="flat">
                    <a:noFill/>
                    <a:prstDash val="solid"/>
                    <a:miter/>
                  </a:ln>
                </p:spPr>
                <p:txBody>
                  <a:bodyPr rtlCol="0" anchor="ctr"/>
                  <a:lstStyle/>
                  <a:p>
                    <a:endParaRPr lang="en-GB" dirty="0"/>
                  </a:p>
                </p:txBody>
              </p:sp>
            </p:grpSp>
            <p:grpSp>
              <p:nvGrpSpPr>
                <p:cNvPr id="245" name="Graphic 818">
                  <a:extLst>
                    <a:ext uri="{FF2B5EF4-FFF2-40B4-BE49-F238E27FC236}">
                      <a16:creationId xmlns:a16="http://schemas.microsoft.com/office/drawing/2014/main" id="{FAC8490F-ED8C-4D8D-B955-4D201607925D}"/>
                    </a:ext>
                  </a:extLst>
                </p:cNvPr>
                <p:cNvGrpSpPr/>
                <p:nvPr/>
              </p:nvGrpSpPr>
              <p:grpSpPr>
                <a:xfrm>
                  <a:off x="5007468" y="513336"/>
                  <a:ext cx="138092" cy="137045"/>
                  <a:chOff x="5007468" y="513336"/>
                  <a:chExt cx="138092" cy="137045"/>
                </a:xfrm>
                <a:grpFill/>
              </p:grpSpPr>
              <p:sp>
                <p:nvSpPr>
                  <p:cNvPr id="246" name="Freeform: Shape 245">
                    <a:extLst>
                      <a:ext uri="{FF2B5EF4-FFF2-40B4-BE49-F238E27FC236}">
                        <a16:creationId xmlns:a16="http://schemas.microsoft.com/office/drawing/2014/main" id="{0F4C7C95-8504-4037-BFE6-65201B17E6FA}"/>
                      </a:ext>
                    </a:extLst>
                  </p:cNvPr>
                  <p:cNvSpPr/>
                  <p:nvPr/>
                </p:nvSpPr>
                <p:spPr>
                  <a:xfrm>
                    <a:off x="5007468" y="547578"/>
                    <a:ext cx="104159" cy="102803"/>
                  </a:xfrm>
                  <a:custGeom>
                    <a:avLst/>
                    <a:gdLst>
                      <a:gd name="connsiteX0" fmla="*/ 65203 w 104159"/>
                      <a:gd name="connsiteY0" fmla="*/ 102804 h 102803"/>
                      <a:gd name="connsiteX1" fmla="*/ 53471 w 104159"/>
                      <a:gd name="connsiteY1" fmla="*/ 101123 h 102803"/>
                      <a:gd name="connsiteX2" fmla="*/ 22149 w 104159"/>
                      <a:gd name="connsiteY2" fmla="*/ 81670 h 102803"/>
                      <a:gd name="connsiteX3" fmla="*/ 2121 w 104159"/>
                      <a:gd name="connsiteY3" fmla="*/ 51156 h 102803"/>
                      <a:gd name="connsiteX4" fmla="*/ 9811 w 104159"/>
                      <a:gd name="connsiteY4" fmla="*/ 14803 h 102803"/>
                      <a:gd name="connsiteX5" fmla="*/ 9811 w 104159"/>
                      <a:gd name="connsiteY5" fmla="*/ 14803 h 102803"/>
                      <a:gd name="connsiteX6" fmla="*/ 9811 w 104159"/>
                      <a:gd name="connsiteY6" fmla="*/ 14803 h 102803"/>
                      <a:gd name="connsiteX7" fmla="*/ 9811 w 104159"/>
                      <a:gd name="connsiteY7" fmla="*/ 14803 h 102803"/>
                      <a:gd name="connsiteX8" fmla="*/ 49206 w 104159"/>
                      <a:gd name="connsiteY8" fmla="*/ 29 h 102803"/>
                      <a:gd name="connsiteX9" fmla="*/ 89825 w 104159"/>
                      <a:gd name="connsiteY9" fmla="*/ 13984 h 102803"/>
                      <a:gd name="connsiteX10" fmla="*/ 89825 w 104159"/>
                      <a:gd name="connsiteY10" fmla="*/ 92636 h 102803"/>
                      <a:gd name="connsiteX11" fmla="*/ 65203 w 104159"/>
                      <a:gd name="connsiteY11" fmla="*/ 102804 h 102803"/>
                      <a:gd name="connsiteX12" fmla="*/ 51110 w 104159"/>
                      <a:gd name="connsiteY12" fmla="*/ 21291 h 102803"/>
                      <a:gd name="connsiteX13" fmla="*/ 49749 w 104159"/>
                      <a:gd name="connsiteY13" fmla="*/ 21301 h 102803"/>
                      <a:gd name="connsiteX14" fmla="*/ 24850 w 104159"/>
                      <a:gd name="connsiteY14" fmla="*/ 29842 h 102803"/>
                      <a:gd name="connsiteX15" fmla="*/ 24850 w 104159"/>
                      <a:gd name="connsiteY15" fmla="*/ 29842 h 102803"/>
                      <a:gd name="connsiteX16" fmla="*/ 22383 w 104159"/>
                      <a:gd name="connsiteY16" fmla="*/ 44626 h 102803"/>
                      <a:gd name="connsiteX17" fmla="*/ 37198 w 104159"/>
                      <a:gd name="connsiteY17" fmla="*/ 66621 h 102803"/>
                      <a:gd name="connsiteX18" fmla="*/ 59194 w 104159"/>
                      <a:gd name="connsiteY18" fmla="*/ 80617 h 102803"/>
                      <a:gd name="connsiteX19" fmla="*/ 74796 w 104159"/>
                      <a:gd name="connsiteY19" fmla="*/ 77586 h 102803"/>
                      <a:gd name="connsiteX20" fmla="*/ 74796 w 104159"/>
                      <a:gd name="connsiteY20" fmla="*/ 29012 h 102803"/>
                      <a:gd name="connsiteX21" fmla="*/ 51110 w 104159"/>
                      <a:gd name="connsiteY21" fmla="*/ 21291 h 102803"/>
                      <a:gd name="connsiteX22" fmla="*/ 17331 w 104159"/>
                      <a:gd name="connsiteY22" fmla="*/ 22322 h 102803"/>
                      <a:gd name="connsiteX23" fmla="*/ 17437 w 104159"/>
                      <a:gd name="connsiteY23" fmla="*/ 22322 h 102803"/>
                      <a:gd name="connsiteX24" fmla="*/ 17331 w 104159"/>
                      <a:gd name="connsiteY24" fmla="*/ 22322 h 102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4159" h="102803">
                        <a:moveTo>
                          <a:pt x="65203" y="102804"/>
                        </a:moveTo>
                        <a:cubicBezTo>
                          <a:pt x="61427" y="102804"/>
                          <a:pt x="57492" y="102251"/>
                          <a:pt x="53471" y="101123"/>
                        </a:cubicBezTo>
                        <a:cubicBezTo>
                          <a:pt x="42846" y="98156"/>
                          <a:pt x="31721" y="91253"/>
                          <a:pt x="22149" y="81670"/>
                        </a:cubicBezTo>
                        <a:cubicBezTo>
                          <a:pt x="15289" y="74821"/>
                          <a:pt x="6259" y="63962"/>
                          <a:pt x="2121" y="51156"/>
                        </a:cubicBezTo>
                        <a:cubicBezTo>
                          <a:pt x="-2388" y="37181"/>
                          <a:pt x="345" y="24269"/>
                          <a:pt x="9811" y="14803"/>
                        </a:cubicBezTo>
                        <a:lnTo>
                          <a:pt x="9811" y="14803"/>
                        </a:lnTo>
                        <a:lnTo>
                          <a:pt x="9811" y="14803"/>
                        </a:lnTo>
                        <a:lnTo>
                          <a:pt x="9811" y="14803"/>
                        </a:lnTo>
                        <a:cubicBezTo>
                          <a:pt x="18650" y="5954"/>
                          <a:pt x="33380" y="434"/>
                          <a:pt x="49206" y="29"/>
                        </a:cubicBezTo>
                        <a:cubicBezTo>
                          <a:pt x="65607" y="-439"/>
                          <a:pt x="80540" y="4688"/>
                          <a:pt x="89825" y="13984"/>
                        </a:cubicBezTo>
                        <a:cubicBezTo>
                          <a:pt x="108938" y="33096"/>
                          <a:pt x="108938" y="73523"/>
                          <a:pt x="89825" y="92636"/>
                        </a:cubicBezTo>
                        <a:cubicBezTo>
                          <a:pt x="83135" y="99347"/>
                          <a:pt x="74626" y="102793"/>
                          <a:pt x="65203" y="102804"/>
                        </a:cubicBezTo>
                        <a:close/>
                        <a:moveTo>
                          <a:pt x="51110" y="21291"/>
                        </a:moveTo>
                        <a:cubicBezTo>
                          <a:pt x="50664" y="21291"/>
                          <a:pt x="50206" y="21291"/>
                          <a:pt x="49749" y="21301"/>
                        </a:cubicBezTo>
                        <a:cubicBezTo>
                          <a:pt x="39390" y="21567"/>
                          <a:pt x="29860" y="24843"/>
                          <a:pt x="24850" y="29842"/>
                        </a:cubicBezTo>
                        <a:lnTo>
                          <a:pt x="24850" y="29842"/>
                        </a:lnTo>
                        <a:cubicBezTo>
                          <a:pt x="22298" y="32394"/>
                          <a:pt x="19713" y="36383"/>
                          <a:pt x="22383" y="44626"/>
                        </a:cubicBezTo>
                        <a:cubicBezTo>
                          <a:pt x="24584" y="51464"/>
                          <a:pt x="29849" y="59271"/>
                          <a:pt x="37198" y="66621"/>
                        </a:cubicBezTo>
                        <a:cubicBezTo>
                          <a:pt x="44122" y="73545"/>
                          <a:pt x="52142" y="78650"/>
                          <a:pt x="59194" y="80617"/>
                        </a:cubicBezTo>
                        <a:cubicBezTo>
                          <a:pt x="68000" y="83064"/>
                          <a:pt x="72307" y="80064"/>
                          <a:pt x="74796" y="77586"/>
                        </a:cubicBezTo>
                        <a:cubicBezTo>
                          <a:pt x="85687" y="66695"/>
                          <a:pt x="85687" y="39914"/>
                          <a:pt x="74796" y="29012"/>
                        </a:cubicBezTo>
                        <a:cubicBezTo>
                          <a:pt x="69914" y="24141"/>
                          <a:pt x="61129" y="21291"/>
                          <a:pt x="51110" y="21291"/>
                        </a:cubicBezTo>
                        <a:close/>
                        <a:moveTo>
                          <a:pt x="17331" y="22322"/>
                        </a:moveTo>
                        <a:lnTo>
                          <a:pt x="17437" y="22322"/>
                        </a:lnTo>
                        <a:lnTo>
                          <a:pt x="17331" y="22322"/>
                        </a:lnTo>
                        <a:close/>
                      </a:path>
                    </a:pathLst>
                  </a:custGeom>
                  <a:grpFill/>
                  <a:ln w="1063" cap="flat">
                    <a:noFill/>
                    <a:prstDash val="solid"/>
                    <a:miter/>
                  </a:ln>
                </p:spPr>
                <p:txBody>
                  <a:bodyPr rtlCol="0" anchor="ctr"/>
                  <a:lstStyle/>
                  <a:p>
                    <a:endParaRPr lang="en-GB" dirty="0"/>
                  </a:p>
                </p:txBody>
              </p:sp>
              <p:sp>
                <p:nvSpPr>
                  <p:cNvPr id="247" name="Freeform: Shape 246">
                    <a:extLst>
                      <a:ext uri="{FF2B5EF4-FFF2-40B4-BE49-F238E27FC236}">
                        <a16:creationId xmlns:a16="http://schemas.microsoft.com/office/drawing/2014/main" id="{0BE0768C-EEF6-402A-85A5-9D2896504981}"/>
                      </a:ext>
                    </a:extLst>
                  </p:cNvPr>
                  <p:cNvSpPr/>
                  <p:nvPr/>
                </p:nvSpPr>
                <p:spPr>
                  <a:xfrm>
                    <a:off x="5079167" y="513336"/>
                    <a:ext cx="66394" cy="66402"/>
                  </a:xfrm>
                  <a:custGeom>
                    <a:avLst/>
                    <a:gdLst>
                      <a:gd name="connsiteX0" fmla="*/ 10639 w 66394"/>
                      <a:gd name="connsiteY0" fmla="*/ 66402 h 66402"/>
                      <a:gd name="connsiteX1" fmla="*/ 3119 w 66394"/>
                      <a:gd name="connsiteY1" fmla="*/ 63286 h 66402"/>
                      <a:gd name="connsiteX2" fmla="*/ 3119 w 66394"/>
                      <a:gd name="connsiteY2" fmla="*/ 48247 h 66402"/>
                      <a:gd name="connsiteX3" fmla="*/ 48236 w 66394"/>
                      <a:gd name="connsiteY3" fmla="*/ 3119 h 66402"/>
                      <a:gd name="connsiteX4" fmla="*/ 63275 w 66394"/>
                      <a:gd name="connsiteY4" fmla="*/ 3119 h 66402"/>
                      <a:gd name="connsiteX5" fmla="*/ 63275 w 66394"/>
                      <a:gd name="connsiteY5" fmla="*/ 18158 h 66402"/>
                      <a:gd name="connsiteX6" fmla="*/ 18158 w 66394"/>
                      <a:gd name="connsiteY6" fmla="*/ 63286 h 66402"/>
                      <a:gd name="connsiteX7" fmla="*/ 10639 w 66394"/>
                      <a:gd name="connsiteY7" fmla="*/ 66402 h 6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394" h="66402">
                        <a:moveTo>
                          <a:pt x="10639" y="66402"/>
                        </a:moveTo>
                        <a:cubicBezTo>
                          <a:pt x="7916" y="66402"/>
                          <a:pt x="5193" y="65360"/>
                          <a:pt x="3119" y="63286"/>
                        </a:cubicBezTo>
                        <a:cubicBezTo>
                          <a:pt x="-1040" y="59127"/>
                          <a:pt x="-1040" y="52405"/>
                          <a:pt x="3119" y="48247"/>
                        </a:cubicBezTo>
                        <a:lnTo>
                          <a:pt x="48236" y="3119"/>
                        </a:lnTo>
                        <a:cubicBezTo>
                          <a:pt x="52395" y="-1040"/>
                          <a:pt x="59117" y="-1040"/>
                          <a:pt x="63275" y="3119"/>
                        </a:cubicBezTo>
                        <a:cubicBezTo>
                          <a:pt x="67434" y="7278"/>
                          <a:pt x="67434" y="13999"/>
                          <a:pt x="63275" y="18158"/>
                        </a:cubicBezTo>
                        <a:lnTo>
                          <a:pt x="18158" y="63286"/>
                        </a:lnTo>
                        <a:cubicBezTo>
                          <a:pt x="16073" y="65360"/>
                          <a:pt x="13361" y="66402"/>
                          <a:pt x="10639" y="66402"/>
                        </a:cubicBezTo>
                        <a:close/>
                      </a:path>
                    </a:pathLst>
                  </a:custGeom>
                  <a:grpFill/>
                  <a:ln w="1063" cap="flat">
                    <a:noFill/>
                    <a:prstDash val="solid"/>
                    <a:miter/>
                  </a:ln>
                </p:spPr>
                <p:txBody>
                  <a:bodyPr rtlCol="0" anchor="ctr"/>
                  <a:lstStyle/>
                  <a:p>
                    <a:endParaRPr lang="en-GB" dirty="0"/>
                  </a:p>
                </p:txBody>
              </p:sp>
            </p:grpSp>
          </p:grpSp>
          <p:sp>
            <p:nvSpPr>
              <p:cNvPr id="235" name="Freeform: Shape 234">
                <a:extLst>
                  <a:ext uri="{FF2B5EF4-FFF2-40B4-BE49-F238E27FC236}">
                    <a16:creationId xmlns:a16="http://schemas.microsoft.com/office/drawing/2014/main" id="{48085D68-A0C3-4C9C-9BF0-6D8816561C56}"/>
                  </a:ext>
                </a:extLst>
              </p:cNvPr>
              <p:cNvSpPr/>
              <p:nvPr/>
            </p:nvSpPr>
            <p:spPr>
              <a:xfrm>
                <a:off x="5351779" y="554405"/>
                <a:ext cx="37391" cy="56358"/>
              </a:xfrm>
              <a:custGeom>
                <a:avLst/>
                <a:gdLst>
                  <a:gd name="connsiteX0" fmla="*/ 26769 w 37391"/>
                  <a:gd name="connsiteY0" fmla="*/ 56359 h 56358"/>
                  <a:gd name="connsiteX1" fmla="*/ 17101 w 37391"/>
                  <a:gd name="connsiteY1" fmla="*/ 50158 h 56358"/>
                  <a:gd name="connsiteX2" fmla="*/ 977 w 37391"/>
                  <a:gd name="connsiteY2" fmla="*/ 15070 h 56358"/>
                  <a:gd name="connsiteX3" fmla="*/ 6188 w 37391"/>
                  <a:gd name="connsiteY3" fmla="*/ 967 h 56358"/>
                  <a:gd name="connsiteX4" fmla="*/ 20291 w 37391"/>
                  <a:gd name="connsiteY4" fmla="*/ 6189 h 56358"/>
                  <a:gd name="connsiteX5" fmla="*/ 36415 w 37391"/>
                  <a:gd name="connsiteY5" fmla="*/ 41277 h 56358"/>
                  <a:gd name="connsiteX6" fmla="*/ 31204 w 37391"/>
                  <a:gd name="connsiteY6" fmla="*/ 55380 h 56358"/>
                  <a:gd name="connsiteX7" fmla="*/ 26769 w 37391"/>
                  <a:gd name="connsiteY7" fmla="*/ 56359 h 56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91" h="56358">
                    <a:moveTo>
                      <a:pt x="26769" y="56359"/>
                    </a:moveTo>
                    <a:cubicBezTo>
                      <a:pt x="22738" y="56359"/>
                      <a:pt x="18887" y="54061"/>
                      <a:pt x="17101" y="50158"/>
                    </a:cubicBezTo>
                    <a:lnTo>
                      <a:pt x="977" y="15070"/>
                    </a:lnTo>
                    <a:cubicBezTo>
                      <a:pt x="-1480" y="9731"/>
                      <a:pt x="860" y="3413"/>
                      <a:pt x="6188" y="967"/>
                    </a:cubicBezTo>
                    <a:cubicBezTo>
                      <a:pt x="11559" y="-1468"/>
                      <a:pt x="17856" y="850"/>
                      <a:pt x="20291" y="6189"/>
                    </a:cubicBezTo>
                    <a:lnTo>
                      <a:pt x="36415" y="41277"/>
                    </a:lnTo>
                    <a:cubicBezTo>
                      <a:pt x="38872" y="46616"/>
                      <a:pt x="36532" y="52934"/>
                      <a:pt x="31204" y="55380"/>
                    </a:cubicBezTo>
                    <a:cubicBezTo>
                      <a:pt x="29757" y="56040"/>
                      <a:pt x="28258" y="56359"/>
                      <a:pt x="26769" y="56359"/>
                    </a:cubicBezTo>
                    <a:close/>
                  </a:path>
                </a:pathLst>
              </a:custGeom>
              <a:grpFill/>
              <a:ln w="1063" cap="flat">
                <a:noFill/>
                <a:prstDash val="solid"/>
                <a:miter/>
              </a:ln>
            </p:spPr>
            <p:txBody>
              <a:bodyPr rtlCol="0" anchor="ctr"/>
              <a:lstStyle/>
              <a:p>
                <a:endParaRPr lang="en-GB" dirty="0"/>
              </a:p>
            </p:txBody>
          </p:sp>
          <p:sp>
            <p:nvSpPr>
              <p:cNvPr id="236" name="Freeform: Shape 235">
                <a:extLst>
                  <a:ext uri="{FF2B5EF4-FFF2-40B4-BE49-F238E27FC236}">
                    <a16:creationId xmlns:a16="http://schemas.microsoft.com/office/drawing/2014/main" id="{B3D79643-B3AD-4C80-9F37-84C41B2FE12A}"/>
                  </a:ext>
                </a:extLst>
              </p:cNvPr>
              <p:cNvSpPr/>
              <p:nvPr/>
            </p:nvSpPr>
            <p:spPr>
              <a:xfrm>
                <a:off x="5165786" y="149414"/>
                <a:ext cx="37687" cy="57006"/>
              </a:xfrm>
              <a:custGeom>
                <a:avLst/>
                <a:gdLst>
                  <a:gd name="connsiteX0" fmla="*/ 27060 w 37687"/>
                  <a:gd name="connsiteY0" fmla="*/ 57006 h 57006"/>
                  <a:gd name="connsiteX1" fmla="*/ 17381 w 37687"/>
                  <a:gd name="connsiteY1" fmla="*/ 50805 h 57006"/>
                  <a:gd name="connsiteX2" fmla="*/ 970 w 37687"/>
                  <a:gd name="connsiteY2" fmla="*/ 15080 h 57006"/>
                  <a:gd name="connsiteX3" fmla="*/ 6203 w 37687"/>
                  <a:gd name="connsiteY3" fmla="*/ 976 h 57006"/>
                  <a:gd name="connsiteX4" fmla="*/ 20306 w 37687"/>
                  <a:gd name="connsiteY4" fmla="*/ 6199 h 57006"/>
                  <a:gd name="connsiteX5" fmla="*/ 36717 w 37687"/>
                  <a:gd name="connsiteY5" fmla="*/ 41924 h 57006"/>
                  <a:gd name="connsiteX6" fmla="*/ 31484 w 37687"/>
                  <a:gd name="connsiteY6" fmla="*/ 56028 h 57006"/>
                  <a:gd name="connsiteX7" fmla="*/ 27060 w 37687"/>
                  <a:gd name="connsiteY7" fmla="*/ 57006 h 57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687" h="57006">
                    <a:moveTo>
                      <a:pt x="27060" y="57006"/>
                    </a:moveTo>
                    <a:cubicBezTo>
                      <a:pt x="23029" y="57006"/>
                      <a:pt x="19179" y="54709"/>
                      <a:pt x="17381" y="50805"/>
                    </a:cubicBezTo>
                    <a:lnTo>
                      <a:pt x="970" y="15080"/>
                    </a:lnTo>
                    <a:cubicBezTo>
                      <a:pt x="-1476" y="9740"/>
                      <a:pt x="864" y="3423"/>
                      <a:pt x="6203" y="976"/>
                    </a:cubicBezTo>
                    <a:cubicBezTo>
                      <a:pt x="11521" y="-1480"/>
                      <a:pt x="17849" y="859"/>
                      <a:pt x="20306" y="6199"/>
                    </a:cubicBezTo>
                    <a:lnTo>
                      <a:pt x="36717" y="41924"/>
                    </a:lnTo>
                    <a:cubicBezTo>
                      <a:pt x="39163" y="47264"/>
                      <a:pt x="36823" y="53581"/>
                      <a:pt x="31484" y="56028"/>
                    </a:cubicBezTo>
                    <a:cubicBezTo>
                      <a:pt x="30048" y="56687"/>
                      <a:pt x="28549" y="57006"/>
                      <a:pt x="27060" y="57006"/>
                    </a:cubicBezTo>
                    <a:close/>
                  </a:path>
                </a:pathLst>
              </a:custGeom>
              <a:grpFill/>
              <a:ln w="1063" cap="flat">
                <a:noFill/>
                <a:prstDash val="solid"/>
                <a:miter/>
              </a:ln>
            </p:spPr>
            <p:txBody>
              <a:bodyPr rtlCol="0" anchor="ctr"/>
              <a:lstStyle/>
              <a:p>
                <a:endParaRPr lang="en-GB" dirty="0"/>
              </a:p>
            </p:txBody>
          </p:sp>
          <p:sp>
            <p:nvSpPr>
              <p:cNvPr id="237" name="Freeform: Shape 236">
                <a:extLst>
                  <a:ext uri="{FF2B5EF4-FFF2-40B4-BE49-F238E27FC236}">
                    <a16:creationId xmlns:a16="http://schemas.microsoft.com/office/drawing/2014/main" id="{EBEAF26B-F206-4230-92D5-0AAB15DB1BB4}"/>
                  </a:ext>
                </a:extLst>
              </p:cNvPr>
              <p:cNvSpPr/>
              <p:nvPr/>
            </p:nvSpPr>
            <p:spPr>
              <a:xfrm>
                <a:off x="5454028" y="454382"/>
                <a:ext cx="55247" cy="36770"/>
              </a:xfrm>
              <a:custGeom>
                <a:avLst/>
                <a:gdLst>
                  <a:gd name="connsiteX0" fmla="*/ 44599 w 55247"/>
                  <a:gd name="connsiteY0" fmla="*/ 36770 h 36770"/>
                  <a:gd name="connsiteX1" fmla="*/ 40196 w 55247"/>
                  <a:gd name="connsiteY1" fmla="*/ 35813 h 36770"/>
                  <a:gd name="connsiteX2" fmla="*/ 6224 w 55247"/>
                  <a:gd name="connsiteY2" fmla="*/ 20327 h 36770"/>
                  <a:gd name="connsiteX3" fmla="*/ 960 w 55247"/>
                  <a:gd name="connsiteY3" fmla="*/ 6235 h 36770"/>
                  <a:gd name="connsiteX4" fmla="*/ 15052 w 55247"/>
                  <a:gd name="connsiteY4" fmla="*/ 959 h 36770"/>
                  <a:gd name="connsiteX5" fmla="*/ 49023 w 55247"/>
                  <a:gd name="connsiteY5" fmla="*/ 16445 h 36770"/>
                  <a:gd name="connsiteX6" fmla="*/ 54288 w 55247"/>
                  <a:gd name="connsiteY6" fmla="*/ 30538 h 36770"/>
                  <a:gd name="connsiteX7" fmla="*/ 44599 w 55247"/>
                  <a:gd name="connsiteY7" fmla="*/ 36770 h 3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247" h="36770">
                    <a:moveTo>
                      <a:pt x="44599" y="36770"/>
                    </a:moveTo>
                    <a:cubicBezTo>
                      <a:pt x="43120" y="36770"/>
                      <a:pt x="41631" y="36462"/>
                      <a:pt x="40196" y="35813"/>
                    </a:cubicBezTo>
                    <a:lnTo>
                      <a:pt x="6224" y="20327"/>
                    </a:lnTo>
                    <a:cubicBezTo>
                      <a:pt x="885" y="17892"/>
                      <a:pt x="-1476" y="11585"/>
                      <a:pt x="960" y="6235"/>
                    </a:cubicBezTo>
                    <a:cubicBezTo>
                      <a:pt x="3395" y="885"/>
                      <a:pt x="9692" y="-1476"/>
                      <a:pt x="15052" y="959"/>
                    </a:cubicBezTo>
                    <a:lnTo>
                      <a:pt x="49023" y="16445"/>
                    </a:lnTo>
                    <a:cubicBezTo>
                      <a:pt x="54362" y="18881"/>
                      <a:pt x="56723" y="25188"/>
                      <a:pt x="54288" y="30538"/>
                    </a:cubicBezTo>
                    <a:cubicBezTo>
                      <a:pt x="52501" y="34462"/>
                      <a:pt x="48640" y="36770"/>
                      <a:pt x="44599" y="36770"/>
                    </a:cubicBezTo>
                    <a:close/>
                  </a:path>
                </a:pathLst>
              </a:custGeom>
              <a:grpFill/>
              <a:ln w="1063" cap="flat">
                <a:noFill/>
                <a:prstDash val="solid"/>
                <a:miter/>
              </a:ln>
            </p:spPr>
            <p:txBody>
              <a:bodyPr rtlCol="0" anchor="ctr"/>
              <a:lstStyle/>
              <a:p>
                <a:endParaRPr lang="en-GB" dirty="0"/>
              </a:p>
            </p:txBody>
          </p:sp>
          <p:sp>
            <p:nvSpPr>
              <p:cNvPr id="238" name="Freeform: Shape 237">
                <a:extLst>
                  <a:ext uri="{FF2B5EF4-FFF2-40B4-BE49-F238E27FC236}">
                    <a16:creationId xmlns:a16="http://schemas.microsoft.com/office/drawing/2014/main" id="{08150A2B-0F42-418C-BAF2-1B8A0E896AD1}"/>
                  </a:ext>
                </a:extLst>
              </p:cNvPr>
              <p:cNvSpPr/>
              <p:nvPr/>
            </p:nvSpPr>
            <p:spPr>
              <a:xfrm>
                <a:off x="5047356" y="269006"/>
                <a:ext cx="56225" cy="37210"/>
              </a:xfrm>
              <a:custGeom>
                <a:avLst/>
                <a:gdLst>
                  <a:gd name="connsiteX0" fmla="*/ 45577 w 56225"/>
                  <a:gd name="connsiteY0" fmla="*/ 37211 h 37210"/>
                  <a:gd name="connsiteX1" fmla="*/ 41174 w 56225"/>
                  <a:gd name="connsiteY1" fmla="*/ 36254 h 37210"/>
                  <a:gd name="connsiteX2" fmla="*/ 6224 w 56225"/>
                  <a:gd name="connsiteY2" fmla="*/ 20321 h 37210"/>
                  <a:gd name="connsiteX3" fmla="*/ 960 w 56225"/>
                  <a:gd name="connsiteY3" fmla="*/ 6229 h 37210"/>
                  <a:gd name="connsiteX4" fmla="*/ 15052 w 56225"/>
                  <a:gd name="connsiteY4" fmla="*/ 953 h 37210"/>
                  <a:gd name="connsiteX5" fmla="*/ 50001 w 56225"/>
                  <a:gd name="connsiteY5" fmla="*/ 16886 h 37210"/>
                  <a:gd name="connsiteX6" fmla="*/ 55266 w 56225"/>
                  <a:gd name="connsiteY6" fmla="*/ 30978 h 37210"/>
                  <a:gd name="connsiteX7" fmla="*/ 45577 w 56225"/>
                  <a:gd name="connsiteY7" fmla="*/ 37211 h 37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25" h="37210">
                    <a:moveTo>
                      <a:pt x="45577" y="37211"/>
                    </a:moveTo>
                    <a:cubicBezTo>
                      <a:pt x="44099" y="37211"/>
                      <a:pt x="42610" y="36902"/>
                      <a:pt x="41174" y="36254"/>
                    </a:cubicBezTo>
                    <a:lnTo>
                      <a:pt x="6224" y="20321"/>
                    </a:lnTo>
                    <a:cubicBezTo>
                      <a:pt x="885" y="17885"/>
                      <a:pt x="-1476" y="11578"/>
                      <a:pt x="960" y="6229"/>
                    </a:cubicBezTo>
                    <a:cubicBezTo>
                      <a:pt x="3395" y="889"/>
                      <a:pt x="9702" y="-1472"/>
                      <a:pt x="15052" y="953"/>
                    </a:cubicBezTo>
                    <a:lnTo>
                      <a:pt x="50001" y="16886"/>
                    </a:lnTo>
                    <a:cubicBezTo>
                      <a:pt x="55341" y="19321"/>
                      <a:pt x="57702" y="25628"/>
                      <a:pt x="55266" y="30978"/>
                    </a:cubicBezTo>
                    <a:cubicBezTo>
                      <a:pt x="53479" y="34903"/>
                      <a:pt x="49619" y="37211"/>
                      <a:pt x="45577" y="37211"/>
                    </a:cubicBezTo>
                    <a:close/>
                  </a:path>
                </a:pathLst>
              </a:custGeom>
              <a:grpFill/>
              <a:ln w="1063" cap="flat">
                <a:noFill/>
                <a:prstDash val="solid"/>
                <a:miter/>
              </a:ln>
            </p:spPr>
            <p:txBody>
              <a:bodyPr rtlCol="0" anchor="ctr"/>
              <a:lstStyle/>
              <a:p>
                <a:endParaRPr lang="en-GB" dirty="0"/>
              </a:p>
            </p:txBody>
          </p:sp>
          <p:sp>
            <p:nvSpPr>
              <p:cNvPr id="239" name="Freeform: Shape 238">
                <a:extLst>
                  <a:ext uri="{FF2B5EF4-FFF2-40B4-BE49-F238E27FC236}">
                    <a16:creationId xmlns:a16="http://schemas.microsoft.com/office/drawing/2014/main" id="{7C9943B2-7653-476A-B06A-D72EDE8EC3CC}"/>
                  </a:ext>
                </a:extLst>
              </p:cNvPr>
              <p:cNvSpPr/>
              <p:nvPr/>
            </p:nvSpPr>
            <p:spPr>
              <a:xfrm>
                <a:off x="5452061" y="271193"/>
                <a:ext cx="57532" cy="37395"/>
              </a:xfrm>
              <a:custGeom>
                <a:avLst/>
                <a:gdLst>
                  <a:gd name="connsiteX0" fmla="*/ 10648 w 57532"/>
                  <a:gd name="connsiteY0" fmla="*/ 37396 h 37395"/>
                  <a:gd name="connsiteX1" fmla="*/ 916 w 57532"/>
                  <a:gd name="connsiteY1" fmla="*/ 31067 h 37395"/>
                  <a:gd name="connsiteX2" fmla="*/ 6319 w 57532"/>
                  <a:gd name="connsiteY2" fmla="*/ 17028 h 37395"/>
                  <a:gd name="connsiteX3" fmla="*/ 42577 w 57532"/>
                  <a:gd name="connsiteY3" fmla="*/ 925 h 37395"/>
                  <a:gd name="connsiteX4" fmla="*/ 56616 w 57532"/>
                  <a:gd name="connsiteY4" fmla="*/ 6328 h 37395"/>
                  <a:gd name="connsiteX5" fmla="*/ 51213 w 57532"/>
                  <a:gd name="connsiteY5" fmla="*/ 20368 h 37395"/>
                  <a:gd name="connsiteX6" fmla="*/ 14956 w 57532"/>
                  <a:gd name="connsiteY6" fmla="*/ 36470 h 37395"/>
                  <a:gd name="connsiteX7" fmla="*/ 10648 w 57532"/>
                  <a:gd name="connsiteY7" fmla="*/ 37396 h 37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532" h="37395">
                    <a:moveTo>
                      <a:pt x="10648" y="37396"/>
                    </a:moveTo>
                    <a:cubicBezTo>
                      <a:pt x="6564" y="37396"/>
                      <a:pt x="2682" y="35035"/>
                      <a:pt x="916" y="31067"/>
                    </a:cubicBezTo>
                    <a:cubicBezTo>
                      <a:pt x="-1466" y="25696"/>
                      <a:pt x="959" y="19410"/>
                      <a:pt x="6319" y="17028"/>
                    </a:cubicBezTo>
                    <a:lnTo>
                      <a:pt x="42577" y="925"/>
                    </a:lnTo>
                    <a:cubicBezTo>
                      <a:pt x="48012" y="-1478"/>
                      <a:pt x="54234" y="968"/>
                      <a:pt x="56616" y="6328"/>
                    </a:cubicBezTo>
                    <a:cubicBezTo>
                      <a:pt x="58999" y="11700"/>
                      <a:pt x="56574" y="17985"/>
                      <a:pt x="51213" y="20368"/>
                    </a:cubicBezTo>
                    <a:lnTo>
                      <a:pt x="14956" y="36470"/>
                    </a:lnTo>
                    <a:cubicBezTo>
                      <a:pt x="13552" y="37098"/>
                      <a:pt x="12084" y="37396"/>
                      <a:pt x="10648" y="37396"/>
                    </a:cubicBezTo>
                    <a:close/>
                  </a:path>
                </a:pathLst>
              </a:custGeom>
              <a:grpFill/>
              <a:ln w="1063" cap="flat">
                <a:noFill/>
                <a:prstDash val="solid"/>
                <a:miter/>
              </a:ln>
            </p:spPr>
            <p:txBody>
              <a:bodyPr rtlCol="0" anchor="ctr"/>
              <a:lstStyle/>
              <a:p>
                <a:endParaRPr lang="en-GB" dirty="0"/>
              </a:p>
            </p:txBody>
          </p:sp>
          <p:sp>
            <p:nvSpPr>
              <p:cNvPr id="240" name="Freeform: Shape 239">
                <a:extLst>
                  <a:ext uri="{FF2B5EF4-FFF2-40B4-BE49-F238E27FC236}">
                    <a16:creationId xmlns:a16="http://schemas.microsoft.com/office/drawing/2014/main" id="{96EB36E9-B91C-47EA-83ED-C962DFCB44D3}"/>
                  </a:ext>
                </a:extLst>
              </p:cNvPr>
              <p:cNvSpPr/>
              <p:nvPr/>
            </p:nvSpPr>
            <p:spPr>
              <a:xfrm>
                <a:off x="5045718" y="452487"/>
                <a:ext cx="55511" cy="36496"/>
              </a:xfrm>
              <a:custGeom>
                <a:avLst/>
                <a:gdLst>
                  <a:gd name="connsiteX0" fmla="*/ 10648 w 55511"/>
                  <a:gd name="connsiteY0" fmla="*/ 36496 h 36496"/>
                  <a:gd name="connsiteX1" fmla="*/ 916 w 55511"/>
                  <a:gd name="connsiteY1" fmla="*/ 30168 h 36496"/>
                  <a:gd name="connsiteX2" fmla="*/ 6319 w 55511"/>
                  <a:gd name="connsiteY2" fmla="*/ 16129 h 36496"/>
                  <a:gd name="connsiteX3" fmla="*/ 40556 w 55511"/>
                  <a:gd name="connsiteY3" fmla="*/ 930 h 36496"/>
                  <a:gd name="connsiteX4" fmla="*/ 54595 w 55511"/>
                  <a:gd name="connsiteY4" fmla="*/ 6333 h 36496"/>
                  <a:gd name="connsiteX5" fmla="*/ 49192 w 55511"/>
                  <a:gd name="connsiteY5" fmla="*/ 20372 h 36496"/>
                  <a:gd name="connsiteX6" fmla="*/ 14956 w 55511"/>
                  <a:gd name="connsiteY6" fmla="*/ 35571 h 36496"/>
                  <a:gd name="connsiteX7" fmla="*/ 10648 w 55511"/>
                  <a:gd name="connsiteY7" fmla="*/ 36496 h 36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11" h="36496">
                    <a:moveTo>
                      <a:pt x="10648" y="36496"/>
                    </a:moveTo>
                    <a:cubicBezTo>
                      <a:pt x="6564" y="36496"/>
                      <a:pt x="2682" y="34135"/>
                      <a:pt x="916" y="30168"/>
                    </a:cubicBezTo>
                    <a:cubicBezTo>
                      <a:pt x="-1466" y="24797"/>
                      <a:pt x="959" y="18511"/>
                      <a:pt x="6319" y="16129"/>
                    </a:cubicBezTo>
                    <a:lnTo>
                      <a:pt x="40556" y="930"/>
                    </a:lnTo>
                    <a:cubicBezTo>
                      <a:pt x="45991" y="-1484"/>
                      <a:pt x="52213" y="972"/>
                      <a:pt x="54595" y="6333"/>
                    </a:cubicBezTo>
                    <a:cubicBezTo>
                      <a:pt x="56978" y="11704"/>
                      <a:pt x="54553" y="17990"/>
                      <a:pt x="49192" y="20372"/>
                    </a:cubicBezTo>
                    <a:lnTo>
                      <a:pt x="14956" y="35571"/>
                    </a:lnTo>
                    <a:cubicBezTo>
                      <a:pt x="13552" y="36209"/>
                      <a:pt x="12084" y="36496"/>
                      <a:pt x="10648" y="36496"/>
                    </a:cubicBezTo>
                    <a:close/>
                  </a:path>
                </a:pathLst>
              </a:custGeom>
              <a:grpFill/>
              <a:ln w="1063" cap="flat">
                <a:noFill/>
                <a:prstDash val="solid"/>
                <a:miter/>
              </a:ln>
            </p:spPr>
            <p:txBody>
              <a:bodyPr rtlCol="0" anchor="ctr"/>
              <a:lstStyle/>
              <a:p>
                <a:endParaRPr lang="en-GB" dirty="0"/>
              </a:p>
            </p:txBody>
          </p:sp>
          <p:sp>
            <p:nvSpPr>
              <p:cNvPr id="241" name="Freeform: Shape 240">
                <a:extLst>
                  <a:ext uri="{FF2B5EF4-FFF2-40B4-BE49-F238E27FC236}">
                    <a16:creationId xmlns:a16="http://schemas.microsoft.com/office/drawing/2014/main" id="{03BE4C42-C72E-4B4B-B5A5-16B6063F3A76}"/>
                  </a:ext>
                </a:extLst>
              </p:cNvPr>
              <p:cNvSpPr/>
              <p:nvPr/>
            </p:nvSpPr>
            <p:spPr>
              <a:xfrm>
                <a:off x="5166090" y="555890"/>
                <a:ext cx="36706" cy="54958"/>
              </a:xfrm>
              <a:custGeom>
                <a:avLst/>
                <a:gdLst>
                  <a:gd name="connsiteX0" fmla="*/ 10632 w 36706"/>
                  <a:gd name="connsiteY0" fmla="*/ 54959 h 54958"/>
                  <a:gd name="connsiteX1" fmla="*/ 6218 w 36706"/>
                  <a:gd name="connsiteY1" fmla="*/ 53991 h 54958"/>
                  <a:gd name="connsiteX2" fmla="*/ 974 w 36706"/>
                  <a:gd name="connsiteY2" fmla="*/ 39887 h 54958"/>
                  <a:gd name="connsiteX3" fmla="*/ 16396 w 36706"/>
                  <a:gd name="connsiteY3" fmla="*/ 6214 h 54958"/>
                  <a:gd name="connsiteX4" fmla="*/ 30489 w 36706"/>
                  <a:gd name="connsiteY4" fmla="*/ 971 h 54958"/>
                  <a:gd name="connsiteX5" fmla="*/ 35732 w 36706"/>
                  <a:gd name="connsiteY5" fmla="*/ 15074 h 54958"/>
                  <a:gd name="connsiteX6" fmla="*/ 20310 w 36706"/>
                  <a:gd name="connsiteY6" fmla="*/ 48747 h 54958"/>
                  <a:gd name="connsiteX7" fmla="*/ 10632 w 36706"/>
                  <a:gd name="connsiteY7" fmla="*/ 54959 h 5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06" h="54958">
                    <a:moveTo>
                      <a:pt x="10632" y="54959"/>
                    </a:moveTo>
                    <a:cubicBezTo>
                      <a:pt x="9153" y="54959"/>
                      <a:pt x="7654" y="54650"/>
                      <a:pt x="6218" y="53991"/>
                    </a:cubicBezTo>
                    <a:cubicBezTo>
                      <a:pt x="868" y="51544"/>
                      <a:pt x="-1483" y="45227"/>
                      <a:pt x="974" y="39887"/>
                    </a:cubicBezTo>
                    <a:lnTo>
                      <a:pt x="16396" y="6214"/>
                    </a:lnTo>
                    <a:cubicBezTo>
                      <a:pt x="18832" y="886"/>
                      <a:pt x="25150" y="-1486"/>
                      <a:pt x="30489" y="971"/>
                    </a:cubicBezTo>
                    <a:cubicBezTo>
                      <a:pt x="35839" y="3417"/>
                      <a:pt x="38189" y="9735"/>
                      <a:pt x="35732" y="15074"/>
                    </a:cubicBezTo>
                    <a:lnTo>
                      <a:pt x="20310" y="48747"/>
                    </a:lnTo>
                    <a:cubicBezTo>
                      <a:pt x="18524" y="52651"/>
                      <a:pt x="14663" y="54959"/>
                      <a:pt x="10632" y="54959"/>
                    </a:cubicBezTo>
                    <a:close/>
                  </a:path>
                </a:pathLst>
              </a:custGeom>
              <a:grpFill/>
              <a:ln w="1063" cap="flat">
                <a:noFill/>
                <a:prstDash val="solid"/>
                <a:miter/>
              </a:ln>
            </p:spPr>
            <p:txBody>
              <a:bodyPr rtlCol="0" anchor="ctr"/>
              <a:lstStyle/>
              <a:p>
                <a:endParaRPr lang="en-GB" dirty="0"/>
              </a:p>
            </p:txBody>
          </p:sp>
          <p:sp>
            <p:nvSpPr>
              <p:cNvPr id="242" name="Freeform: Shape 241">
                <a:extLst>
                  <a:ext uri="{FF2B5EF4-FFF2-40B4-BE49-F238E27FC236}">
                    <a16:creationId xmlns:a16="http://schemas.microsoft.com/office/drawing/2014/main" id="{D028E40C-9DC4-468E-A671-EC3B14279F8C}"/>
                  </a:ext>
                </a:extLst>
              </p:cNvPr>
              <p:cNvSpPr/>
              <p:nvPr/>
            </p:nvSpPr>
            <p:spPr>
              <a:xfrm>
                <a:off x="5351845" y="149331"/>
                <a:ext cx="37270" cy="56131"/>
              </a:xfrm>
              <a:custGeom>
                <a:avLst/>
                <a:gdLst>
                  <a:gd name="connsiteX0" fmla="*/ 10632 w 37270"/>
                  <a:gd name="connsiteY0" fmla="*/ 56132 h 56131"/>
                  <a:gd name="connsiteX1" fmla="*/ 6207 w 37270"/>
                  <a:gd name="connsiteY1" fmla="*/ 55164 h 56131"/>
                  <a:gd name="connsiteX2" fmla="*/ 974 w 37270"/>
                  <a:gd name="connsiteY2" fmla="*/ 41061 h 56131"/>
                  <a:gd name="connsiteX3" fmla="*/ 16960 w 37270"/>
                  <a:gd name="connsiteY3" fmla="*/ 6196 h 56131"/>
                  <a:gd name="connsiteX4" fmla="*/ 31063 w 37270"/>
                  <a:gd name="connsiteY4" fmla="*/ 964 h 56131"/>
                  <a:gd name="connsiteX5" fmla="*/ 36296 w 37270"/>
                  <a:gd name="connsiteY5" fmla="*/ 15067 h 56131"/>
                  <a:gd name="connsiteX6" fmla="*/ 20311 w 37270"/>
                  <a:gd name="connsiteY6" fmla="*/ 49931 h 56131"/>
                  <a:gd name="connsiteX7" fmla="*/ 10632 w 37270"/>
                  <a:gd name="connsiteY7" fmla="*/ 56132 h 56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70" h="56131">
                    <a:moveTo>
                      <a:pt x="10632" y="56132"/>
                    </a:moveTo>
                    <a:cubicBezTo>
                      <a:pt x="9154" y="56132"/>
                      <a:pt x="7654" y="55823"/>
                      <a:pt x="6207" y="55164"/>
                    </a:cubicBezTo>
                    <a:cubicBezTo>
                      <a:pt x="868" y="52718"/>
                      <a:pt x="-1482" y="46400"/>
                      <a:pt x="974" y="41061"/>
                    </a:cubicBezTo>
                    <a:lnTo>
                      <a:pt x="16960" y="6196"/>
                    </a:lnTo>
                    <a:cubicBezTo>
                      <a:pt x="19396" y="868"/>
                      <a:pt x="25682" y="-1472"/>
                      <a:pt x="31063" y="964"/>
                    </a:cubicBezTo>
                    <a:cubicBezTo>
                      <a:pt x="36402" y="3410"/>
                      <a:pt x="38753" y="9728"/>
                      <a:pt x="36296" y="15067"/>
                    </a:cubicBezTo>
                    <a:lnTo>
                      <a:pt x="20311" y="49931"/>
                    </a:lnTo>
                    <a:cubicBezTo>
                      <a:pt x="18534" y="53834"/>
                      <a:pt x="14663" y="56132"/>
                      <a:pt x="10632" y="56132"/>
                    </a:cubicBezTo>
                    <a:close/>
                  </a:path>
                </a:pathLst>
              </a:custGeom>
              <a:grpFill/>
              <a:ln w="1063" cap="flat">
                <a:noFill/>
                <a:prstDash val="solid"/>
                <a:miter/>
              </a:ln>
            </p:spPr>
            <p:txBody>
              <a:bodyPr rtlCol="0" anchor="ctr"/>
              <a:lstStyle/>
              <a:p>
                <a:endParaRPr lang="en-GB" dirty="0"/>
              </a:p>
            </p:txBody>
          </p:sp>
        </p:grpSp>
        <p:sp>
          <p:nvSpPr>
            <p:cNvPr id="229" name="Freeform: Shape 228">
              <a:extLst>
                <a:ext uri="{FF2B5EF4-FFF2-40B4-BE49-F238E27FC236}">
                  <a16:creationId xmlns:a16="http://schemas.microsoft.com/office/drawing/2014/main" id="{1B3F2D81-C1B5-4B48-88E7-11747009921F}"/>
                </a:ext>
              </a:extLst>
            </p:cNvPr>
            <p:cNvSpPr/>
            <p:nvPr/>
          </p:nvSpPr>
          <p:spPr>
            <a:xfrm>
              <a:off x="713287" y="4194709"/>
              <a:ext cx="160077" cy="160082"/>
            </a:xfrm>
            <a:custGeom>
              <a:avLst/>
              <a:gdLst>
                <a:gd name="connsiteX0" fmla="*/ 88122 w 285835"/>
                <a:gd name="connsiteY0" fmla="*/ 285842 h 285842"/>
                <a:gd name="connsiteX1" fmla="*/ 84048 w 285835"/>
                <a:gd name="connsiteY1" fmla="*/ 285034 h 285842"/>
                <a:gd name="connsiteX2" fmla="*/ 77496 w 285835"/>
                <a:gd name="connsiteY2" fmla="*/ 274664 h 285842"/>
                <a:gd name="connsiteX3" fmla="*/ 78858 w 285835"/>
                <a:gd name="connsiteY3" fmla="*/ 248096 h 285842"/>
                <a:gd name="connsiteX4" fmla="*/ 67446 w 285835"/>
                <a:gd name="connsiteY4" fmla="*/ 218400 h 285842"/>
                <a:gd name="connsiteX5" fmla="*/ 37740 w 285835"/>
                <a:gd name="connsiteY5" fmla="*/ 206977 h 285842"/>
                <a:gd name="connsiteX6" fmla="*/ 11182 w 285835"/>
                <a:gd name="connsiteY6" fmla="*/ 208328 h 285842"/>
                <a:gd name="connsiteX7" fmla="*/ 812 w 285835"/>
                <a:gd name="connsiteY7" fmla="*/ 201776 h 285842"/>
                <a:gd name="connsiteX8" fmla="*/ 3514 w 285835"/>
                <a:gd name="connsiteY8" fmla="*/ 189811 h 285842"/>
                <a:gd name="connsiteX9" fmla="*/ 23243 w 285835"/>
                <a:gd name="connsiteY9" fmla="*/ 171985 h 285842"/>
                <a:gd name="connsiteX10" fmla="*/ 36176 w 285835"/>
                <a:gd name="connsiteY10" fmla="*/ 142918 h 285842"/>
                <a:gd name="connsiteX11" fmla="*/ 23243 w 285835"/>
                <a:gd name="connsiteY11" fmla="*/ 113839 h 285842"/>
                <a:gd name="connsiteX12" fmla="*/ 3514 w 285835"/>
                <a:gd name="connsiteY12" fmla="*/ 96013 h 285842"/>
                <a:gd name="connsiteX13" fmla="*/ 812 w 285835"/>
                <a:gd name="connsiteY13" fmla="*/ 84048 h 285842"/>
                <a:gd name="connsiteX14" fmla="*/ 11182 w 285835"/>
                <a:gd name="connsiteY14" fmla="*/ 77496 h 285842"/>
                <a:gd name="connsiteX15" fmla="*/ 37740 w 285835"/>
                <a:gd name="connsiteY15" fmla="*/ 78858 h 285842"/>
                <a:gd name="connsiteX16" fmla="*/ 67446 w 285835"/>
                <a:gd name="connsiteY16" fmla="*/ 67435 h 285842"/>
                <a:gd name="connsiteX17" fmla="*/ 78858 w 285835"/>
                <a:gd name="connsiteY17" fmla="*/ 37740 h 285842"/>
                <a:gd name="connsiteX18" fmla="*/ 77496 w 285835"/>
                <a:gd name="connsiteY18" fmla="*/ 11182 h 285842"/>
                <a:gd name="connsiteX19" fmla="*/ 84048 w 285835"/>
                <a:gd name="connsiteY19" fmla="*/ 812 h 285842"/>
                <a:gd name="connsiteX20" fmla="*/ 96014 w 285835"/>
                <a:gd name="connsiteY20" fmla="*/ 3513 h 285842"/>
                <a:gd name="connsiteX21" fmla="*/ 113839 w 285835"/>
                <a:gd name="connsiteY21" fmla="*/ 23254 h 285842"/>
                <a:gd name="connsiteX22" fmla="*/ 142918 w 285835"/>
                <a:gd name="connsiteY22" fmla="*/ 36165 h 285842"/>
                <a:gd name="connsiteX23" fmla="*/ 171985 w 285835"/>
                <a:gd name="connsiteY23" fmla="*/ 23254 h 285842"/>
                <a:gd name="connsiteX24" fmla="*/ 189811 w 285835"/>
                <a:gd name="connsiteY24" fmla="*/ 3513 h 285842"/>
                <a:gd name="connsiteX25" fmla="*/ 201776 w 285835"/>
                <a:gd name="connsiteY25" fmla="*/ 812 h 285842"/>
                <a:gd name="connsiteX26" fmla="*/ 208328 w 285835"/>
                <a:gd name="connsiteY26" fmla="*/ 11182 h 285842"/>
                <a:gd name="connsiteX27" fmla="*/ 206967 w 285835"/>
                <a:gd name="connsiteY27" fmla="*/ 37750 h 285842"/>
                <a:gd name="connsiteX28" fmla="*/ 218379 w 285835"/>
                <a:gd name="connsiteY28" fmla="*/ 67446 h 285842"/>
                <a:gd name="connsiteX29" fmla="*/ 248085 w 285835"/>
                <a:gd name="connsiteY29" fmla="*/ 78868 h 285842"/>
                <a:gd name="connsiteX30" fmla="*/ 274653 w 285835"/>
                <a:gd name="connsiteY30" fmla="*/ 77507 h 285842"/>
                <a:gd name="connsiteX31" fmla="*/ 285023 w 285835"/>
                <a:gd name="connsiteY31" fmla="*/ 84059 h 285842"/>
                <a:gd name="connsiteX32" fmla="*/ 282322 w 285835"/>
                <a:gd name="connsiteY32" fmla="*/ 96024 h 285842"/>
                <a:gd name="connsiteX33" fmla="*/ 262582 w 285835"/>
                <a:gd name="connsiteY33" fmla="*/ 113850 h 285842"/>
                <a:gd name="connsiteX34" fmla="*/ 249659 w 285835"/>
                <a:gd name="connsiteY34" fmla="*/ 142928 h 285842"/>
                <a:gd name="connsiteX35" fmla="*/ 262582 w 285835"/>
                <a:gd name="connsiteY35" fmla="*/ 171996 h 285842"/>
                <a:gd name="connsiteX36" fmla="*/ 282322 w 285835"/>
                <a:gd name="connsiteY36" fmla="*/ 189822 h 285842"/>
                <a:gd name="connsiteX37" fmla="*/ 285023 w 285835"/>
                <a:gd name="connsiteY37" fmla="*/ 201787 h 285842"/>
                <a:gd name="connsiteX38" fmla="*/ 274653 w 285835"/>
                <a:gd name="connsiteY38" fmla="*/ 208339 h 285842"/>
                <a:gd name="connsiteX39" fmla="*/ 248085 w 285835"/>
                <a:gd name="connsiteY39" fmla="*/ 206988 h 285842"/>
                <a:gd name="connsiteX40" fmla="*/ 218379 w 285835"/>
                <a:gd name="connsiteY40" fmla="*/ 218411 h 285842"/>
                <a:gd name="connsiteX41" fmla="*/ 206967 w 285835"/>
                <a:gd name="connsiteY41" fmla="*/ 248106 h 285842"/>
                <a:gd name="connsiteX42" fmla="*/ 208328 w 285835"/>
                <a:gd name="connsiteY42" fmla="*/ 274664 h 285842"/>
                <a:gd name="connsiteX43" fmla="*/ 198245 w 285835"/>
                <a:gd name="connsiteY43" fmla="*/ 285832 h 285842"/>
                <a:gd name="connsiteX44" fmla="*/ 187078 w 285835"/>
                <a:gd name="connsiteY44" fmla="*/ 275759 h 285842"/>
                <a:gd name="connsiteX45" fmla="*/ 185716 w 285835"/>
                <a:gd name="connsiteY45" fmla="*/ 249191 h 285842"/>
                <a:gd name="connsiteX46" fmla="*/ 203340 w 285835"/>
                <a:gd name="connsiteY46" fmla="*/ 203372 h 285842"/>
                <a:gd name="connsiteX47" fmla="*/ 246085 w 285835"/>
                <a:gd name="connsiteY47" fmla="*/ 185663 h 285842"/>
                <a:gd name="connsiteX48" fmla="*/ 228387 w 285835"/>
                <a:gd name="connsiteY48" fmla="*/ 142928 h 285842"/>
                <a:gd name="connsiteX49" fmla="*/ 246085 w 285835"/>
                <a:gd name="connsiteY49" fmla="*/ 100183 h 285842"/>
                <a:gd name="connsiteX50" fmla="*/ 203340 w 285835"/>
                <a:gd name="connsiteY50" fmla="*/ 82474 h 285842"/>
                <a:gd name="connsiteX51" fmla="*/ 185642 w 285835"/>
                <a:gd name="connsiteY51" fmla="*/ 39739 h 285842"/>
                <a:gd name="connsiteX52" fmla="*/ 142918 w 285835"/>
                <a:gd name="connsiteY52" fmla="*/ 57437 h 285842"/>
                <a:gd name="connsiteX53" fmla="*/ 142907 w 285835"/>
                <a:gd name="connsiteY53" fmla="*/ 57437 h 285842"/>
                <a:gd name="connsiteX54" fmla="*/ 100161 w 285835"/>
                <a:gd name="connsiteY54" fmla="*/ 39739 h 285842"/>
                <a:gd name="connsiteX55" fmla="*/ 82463 w 285835"/>
                <a:gd name="connsiteY55" fmla="*/ 82474 h 285842"/>
                <a:gd name="connsiteX56" fmla="*/ 39718 w 285835"/>
                <a:gd name="connsiteY56" fmla="*/ 100183 h 285842"/>
                <a:gd name="connsiteX57" fmla="*/ 57427 w 285835"/>
                <a:gd name="connsiteY57" fmla="*/ 142928 h 285842"/>
                <a:gd name="connsiteX58" fmla="*/ 39718 w 285835"/>
                <a:gd name="connsiteY58" fmla="*/ 185663 h 285842"/>
                <a:gd name="connsiteX59" fmla="*/ 82463 w 285835"/>
                <a:gd name="connsiteY59" fmla="*/ 203372 h 285842"/>
                <a:gd name="connsiteX60" fmla="*/ 100161 w 285835"/>
                <a:gd name="connsiteY60" fmla="*/ 246107 h 285842"/>
                <a:gd name="connsiteX61" fmla="*/ 142886 w 285835"/>
                <a:gd name="connsiteY61" fmla="*/ 228409 h 285842"/>
                <a:gd name="connsiteX62" fmla="*/ 142907 w 285835"/>
                <a:gd name="connsiteY62" fmla="*/ 228409 h 285842"/>
                <a:gd name="connsiteX63" fmla="*/ 153543 w 285835"/>
                <a:gd name="connsiteY63" fmla="*/ 239044 h 285842"/>
                <a:gd name="connsiteX64" fmla="*/ 142907 w 285835"/>
                <a:gd name="connsiteY64" fmla="*/ 249680 h 285842"/>
                <a:gd name="connsiteX65" fmla="*/ 142907 w 285835"/>
                <a:gd name="connsiteY65" fmla="*/ 249680 h 285842"/>
                <a:gd name="connsiteX66" fmla="*/ 142886 w 285835"/>
                <a:gd name="connsiteY66" fmla="*/ 249680 h 285842"/>
                <a:gd name="connsiteX67" fmla="*/ 113829 w 285835"/>
                <a:gd name="connsiteY67" fmla="*/ 262603 h 285842"/>
                <a:gd name="connsiteX68" fmla="*/ 96003 w 285835"/>
                <a:gd name="connsiteY68" fmla="*/ 282332 h 285842"/>
                <a:gd name="connsiteX69" fmla="*/ 88122 w 285835"/>
                <a:gd name="connsiteY69" fmla="*/ 285842 h 285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85835" h="285842">
                  <a:moveTo>
                    <a:pt x="88122" y="285842"/>
                  </a:moveTo>
                  <a:cubicBezTo>
                    <a:pt x="86750" y="285842"/>
                    <a:pt x="85367" y="285576"/>
                    <a:pt x="84048" y="285034"/>
                  </a:cubicBezTo>
                  <a:cubicBezTo>
                    <a:pt x="79889" y="283311"/>
                    <a:pt x="77262" y="279163"/>
                    <a:pt x="77496" y="274664"/>
                  </a:cubicBezTo>
                  <a:lnTo>
                    <a:pt x="78858" y="248096"/>
                  </a:lnTo>
                  <a:cubicBezTo>
                    <a:pt x="79432" y="236885"/>
                    <a:pt x="75380" y="226345"/>
                    <a:pt x="67446" y="218400"/>
                  </a:cubicBezTo>
                  <a:cubicBezTo>
                    <a:pt x="59501" y="210455"/>
                    <a:pt x="48833" y="206392"/>
                    <a:pt x="37740" y="206977"/>
                  </a:cubicBezTo>
                  <a:lnTo>
                    <a:pt x="11182" y="208328"/>
                  </a:lnTo>
                  <a:cubicBezTo>
                    <a:pt x="6694" y="208615"/>
                    <a:pt x="2535" y="205924"/>
                    <a:pt x="812" y="201776"/>
                  </a:cubicBezTo>
                  <a:cubicBezTo>
                    <a:pt x="-911" y="197618"/>
                    <a:pt x="163" y="192832"/>
                    <a:pt x="3514" y="189811"/>
                  </a:cubicBezTo>
                  <a:lnTo>
                    <a:pt x="23243" y="171985"/>
                  </a:lnTo>
                  <a:cubicBezTo>
                    <a:pt x="31571" y="164455"/>
                    <a:pt x="36166" y="154138"/>
                    <a:pt x="36176" y="142918"/>
                  </a:cubicBezTo>
                  <a:cubicBezTo>
                    <a:pt x="36176" y="131686"/>
                    <a:pt x="31581" y="121359"/>
                    <a:pt x="23243" y="113839"/>
                  </a:cubicBezTo>
                  <a:lnTo>
                    <a:pt x="3514" y="96013"/>
                  </a:lnTo>
                  <a:cubicBezTo>
                    <a:pt x="174" y="92993"/>
                    <a:pt x="-911" y="88207"/>
                    <a:pt x="812" y="84048"/>
                  </a:cubicBezTo>
                  <a:cubicBezTo>
                    <a:pt x="2535" y="79900"/>
                    <a:pt x="6800" y="77231"/>
                    <a:pt x="11182" y="77496"/>
                  </a:cubicBezTo>
                  <a:lnTo>
                    <a:pt x="37740" y="78858"/>
                  </a:lnTo>
                  <a:cubicBezTo>
                    <a:pt x="48854" y="79475"/>
                    <a:pt x="59501" y="75380"/>
                    <a:pt x="67446" y="67435"/>
                  </a:cubicBezTo>
                  <a:cubicBezTo>
                    <a:pt x="75380" y="59490"/>
                    <a:pt x="79432" y="48950"/>
                    <a:pt x="78858" y="37740"/>
                  </a:cubicBezTo>
                  <a:lnTo>
                    <a:pt x="77496" y="11182"/>
                  </a:lnTo>
                  <a:cubicBezTo>
                    <a:pt x="77273" y="6683"/>
                    <a:pt x="79900" y="2535"/>
                    <a:pt x="84048" y="812"/>
                  </a:cubicBezTo>
                  <a:cubicBezTo>
                    <a:pt x="88228" y="-900"/>
                    <a:pt x="93014" y="174"/>
                    <a:pt x="96014" y="3513"/>
                  </a:cubicBezTo>
                  <a:lnTo>
                    <a:pt x="113839" y="23254"/>
                  </a:lnTo>
                  <a:cubicBezTo>
                    <a:pt x="121369" y="31581"/>
                    <a:pt x="131697" y="36176"/>
                    <a:pt x="142918" y="36165"/>
                  </a:cubicBezTo>
                  <a:cubicBezTo>
                    <a:pt x="154149" y="36165"/>
                    <a:pt x="164466" y="31581"/>
                    <a:pt x="171985" y="23254"/>
                  </a:cubicBezTo>
                  <a:lnTo>
                    <a:pt x="189811" y="3513"/>
                  </a:lnTo>
                  <a:cubicBezTo>
                    <a:pt x="192821" y="163"/>
                    <a:pt x="197618" y="-911"/>
                    <a:pt x="201776" y="812"/>
                  </a:cubicBezTo>
                  <a:cubicBezTo>
                    <a:pt x="205935" y="2535"/>
                    <a:pt x="208562" y="6683"/>
                    <a:pt x="208328" y="11182"/>
                  </a:cubicBezTo>
                  <a:lnTo>
                    <a:pt x="206967" y="37750"/>
                  </a:lnTo>
                  <a:cubicBezTo>
                    <a:pt x="206392" y="48960"/>
                    <a:pt x="210445" y="59501"/>
                    <a:pt x="218379" y="67446"/>
                  </a:cubicBezTo>
                  <a:cubicBezTo>
                    <a:pt x="226313" y="75391"/>
                    <a:pt x="236928" y="79464"/>
                    <a:pt x="248085" y="78868"/>
                  </a:cubicBezTo>
                  <a:lnTo>
                    <a:pt x="274653" y="77507"/>
                  </a:lnTo>
                  <a:cubicBezTo>
                    <a:pt x="279120" y="77273"/>
                    <a:pt x="283300" y="79900"/>
                    <a:pt x="285023" y="84059"/>
                  </a:cubicBezTo>
                  <a:cubicBezTo>
                    <a:pt x="286746" y="88217"/>
                    <a:pt x="285672" y="93014"/>
                    <a:pt x="282322" y="96024"/>
                  </a:cubicBezTo>
                  <a:lnTo>
                    <a:pt x="262582" y="113850"/>
                  </a:lnTo>
                  <a:cubicBezTo>
                    <a:pt x="254254" y="121380"/>
                    <a:pt x="249659" y="131707"/>
                    <a:pt x="249659" y="142928"/>
                  </a:cubicBezTo>
                  <a:cubicBezTo>
                    <a:pt x="249659" y="154160"/>
                    <a:pt x="254254" y="164476"/>
                    <a:pt x="262582" y="171996"/>
                  </a:cubicBezTo>
                  <a:lnTo>
                    <a:pt x="282322" y="189822"/>
                  </a:lnTo>
                  <a:cubicBezTo>
                    <a:pt x="285662" y="192832"/>
                    <a:pt x="286746" y="197628"/>
                    <a:pt x="285023" y="201787"/>
                  </a:cubicBezTo>
                  <a:cubicBezTo>
                    <a:pt x="283300" y="205935"/>
                    <a:pt x="279099" y="208605"/>
                    <a:pt x="274653" y="208339"/>
                  </a:cubicBezTo>
                  <a:lnTo>
                    <a:pt x="248085" y="206988"/>
                  </a:lnTo>
                  <a:cubicBezTo>
                    <a:pt x="236949" y="206424"/>
                    <a:pt x="226324" y="210477"/>
                    <a:pt x="218379" y="218411"/>
                  </a:cubicBezTo>
                  <a:cubicBezTo>
                    <a:pt x="210445" y="226345"/>
                    <a:pt x="206392" y="236896"/>
                    <a:pt x="206967" y="248106"/>
                  </a:cubicBezTo>
                  <a:lnTo>
                    <a:pt x="208328" y="274664"/>
                  </a:lnTo>
                  <a:cubicBezTo>
                    <a:pt x="208626" y="280535"/>
                    <a:pt x="204116" y="285523"/>
                    <a:pt x="198245" y="285832"/>
                  </a:cubicBezTo>
                  <a:cubicBezTo>
                    <a:pt x="192736" y="286076"/>
                    <a:pt x="187386" y="281620"/>
                    <a:pt x="187078" y="275759"/>
                  </a:cubicBezTo>
                  <a:lnTo>
                    <a:pt x="185716" y="249191"/>
                  </a:lnTo>
                  <a:cubicBezTo>
                    <a:pt x="184844" y="232142"/>
                    <a:pt x="191268" y="215443"/>
                    <a:pt x="203340" y="203372"/>
                  </a:cubicBezTo>
                  <a:cubicBezTo>
                    <a:pt x="214678" y="192023"/>
                    <a:pt x="230121" y="185663"/>
                    <a:pt x="246085" y="185663"/>
                  </a:cubicBezTo>
                  <a:cubicBezTo>
                    <a:pt x="234801" y="174368"/>
                    <a:pt x="228387" y="158967"/>
                    <a:pt x="228387" y="142928"/>
                  </a:cubicBezTo>
                  <a:cubicBezTo>
                    <a:pt x="228387" y="126889"/>
                    <a:pt x="234811" y="111478"/>
                    <a:pt x="246085" y="100183"/>
                  </a:cubicBezTo>
                  <a:cubicBezTo>
                    <a:pt x="230121" y="100183"/>
                    <a:pt x="214688" y="93822"/>
                    <a:pt x="203340" y="82474"/>
                  </a:cubicBezTo>
                  <a:cubicBezTo>
                    <a:pt x="192002" y="71136"/>
                    <a:pt x="185642" y="55704"/>
                    <a:pt x="185642" y="39739"/>
                  </a:cubicBezTo>
                  <a:cubicBezTo>
                    <a:pt x="174347" y="51024"/>
                    <a:pt x="158946" y="57437"/>
                    <a:pt x="142918" y="57437"/>
                  </a:cubicBezTo>
                  <a:cubicBezTo>
                    <a:pt x="142907" y="57437"/>
                    <a:pt x="142907" y="57437"/>
                    <a:pt x="142907" y="57437"/>
                  </a:cubicBezTo>
                  <a:cubicBezTo>
                    <a:pt x="126868" y="57437"/>
                    <a:pt x="111467" y="51024"/>
                    <a:pt x="100161" y="39739"/>
                  </a:cubicBezTo>
                  <a:cubicBezTo>
                    <a:pt x="100161" y="55704"/>
                    <a:pt x="93801" y="71136"/>
                    <a:pt x="82463" y="82474"/>
                  </a:cubicBezTo>
                  <a:cubicBezTo>
                    <a:pt x="71125" y="93812"/>
                    <a:pt x="55682" y="100172"/>
                    <a:pt x="39718" y="100183"/>
                  </a:cubicBezTo>
                  <a:cubicBezTo>
                    <a:pt x="51013" y="111478"/>
                    <a:pt x="57427" y="126879"/>
                    <a:pt x="57427" y="142928"/>
                  </a:cubicBezTo>
                  <a:cubicBezTo>
                    <a:pt x="57416" y="158967"/>
                    <a:pt x="51003" y="174378"/>
                    <a:pt x="39718" y="185663"/>
                  </a:cubicBezTo>
                  <a:cubicBezTo>
                    <a:pt x="55682" y="185663"/>
                    <a:pt x="71115" y="192023"/>
                    <a:pt x="82463" y="203372"/>
                  </a:cubicBezTo>
                  <a:cubicBezTo>
                    <a:pt x="93801" y="214710"/>
                    <a:pt x="100161" y="230142"/>
                    <a:pt x="100161" y="246107"/>
                  </a:cubicBezTo>
                  <a:cubicBezTo>
                    <a:pt x="111467" y="234822"/>
                    <a:pt x="126858" y="228409"/>
                    <a:pt x="142886" y="228409"/>
                  </a:cubicBezTo>
                  <a:cubicBezTo>
                    <a:pt x="142896" y="228409"/>
                    <a:pt x="142907" y="228409"/>
                    <a:pt x="142907" y="228409"/>
                  </a:cubicBezTo>
                  <a:cubicBezTo>
                    <a:pt x="148789" y="228409"/>
                    <a:pt x="153543" y="233173"/>
                    <a:pt x="153543" y="239044"/>
                  </a:cubicBezTo>
                  <a:cubicBezTo>
                    <a:pt x="153543" y="244915"/>
                    <a:pt x="148778" y="249680"/>
                    <a:pt x="142907" y="249680"/>
                  </a:cubicBezTo>
                  <a:lnTo>
                    <a:pt x="142907" y="249680"/>
                  </a:lnTo>
                  <a:cubicBezTo>
                    <a:pt x="142896" y="249680"/>
                    <a:pt x="142896" y="249680"/>
                    <a:pt x="142886" y="249680"/>
                  </a:cubicBezTo>
                  <a:cubicBezTo>
                    <a:pt x="131835" y="249680"/>
                    <a:pt x="121242" y="254392"/>
                    <a:pt x="113829" y="262603"/>
                  </a:cubicBezTo>
                  <a:lnTo>
                    <a:pt x="96003" y="282332"/>
                  </a:lnTo>
                  <a:cubicBezTo>
                    <a:pt x="93950" y="284619"/>
                    <a:pt x="91068" y="285842"/>
                    <a:pt x="88122" y="285842"/>
                  </a:cubicBezTo>
                  <a:close/>
                </a:path>
              </a:pathLst>
            </a:custGeom>
            <a:solidFill>
              <a:schemeClr val="accent1"/>
            </a:solidFill>
            <a:ln w="1063" cap="flat">
              <a:noFill/>
              <a:prstDash val="solid"/>
              <a:miter/>
            </a:ln>
          </p:spPr>
          <p:txBody>
            <a:bodyPr rtlCol="0" anchor="ctr"/>
            <a:lstStyle/>
            <a:p>
              <a:endParaRPr lang="en-GB" dirty="0"/>
            </a:p>
          </p:txBody>
        </p:sp>
      </p:grpSp>
      <p:grpSp>
        <p:nvGrpSpPr>
          <p:cNvPr id="265" name="Group 264">
            <a:extLst>
              <a:ext uri="{FF2B5EF4-FFF2-40B4-BE49-F238E27FC236}">
                <a16:creationId xmlns:a16="http://schemas.microsoft.com/office/drawing/2014/main" id="{07DD5812-A9F8-4DD1-905B-AC6D03927B57}"/>
              </a:ext>
            </a:extLst>
          </p:cNvPr>
          <p:cNvGrpSpPr/>
          <p:nvPr/>
        </p:nvGrpSpPr>
        <p:grpSpPr>
          <a:xfrm>
            <a:off x="1620186" y="4070738"/>
            <a:ext cx="438596" cy="406754"/>
            <a:chOff x="3672390" y="1575013"/>
            <a:chExt cx="502120" cy="465667"/>
          </a:xfrm>
        </p:grpSpPr>
        <p:grpSp>
          <p:nvGrpSpPr>
            <p:cNvPr id="266" name="Graphic 818">
              <a:extLst>
                <a:ext uri="{FF2B5EF4-FFF2-40B4-BE49-F238E27FC236}">
                  <a16:creationId xmlns:a16="http://schemas.microsoft.com/office/drawing/2014/main" id="{AC1579ED-3E84-4D2A-ADE0-FC9980C9927D}"/>
                </a:ext>
              </a:extLst>
            </p:cNvPr>
            <p:cNvGrpSpPr/>
            <p:nvPr/>
          </p:nvGrpSpPr>
          <p:grpSpPr>
            <a:xfrm>
              <a:off x="3854769" y="1737228"/>
              <a:ext cx="119211" cy="133212"/>
              <a:chOff x="6534751" y="253005"/>
              <a:chExt cx="185934" cy="207771"/>
            </a:xfrm>
            <a:solidFill>
              <a:schemeClr val="accent1"/>
            </a:solidFill>
          </p:grpSpPr>
          <p:sp>
            <p:nvSpPr>
              <p:cNvPr id="292" name="Freeform: Shape 291">
                <a:extLst>
                  <a:ext uri="{FF2B5EF4-FFF2-40B4-BE49-F238E27FC236}">
                    <a16:creationId xmlns:a16="http://schemas.microsoft.com/office/drawing/2014/main" id="{4517D216-DCFA-4266-A641-37CB79835B56}"/>
                  </a:ext>
                </a:extLst>
              </p:cNvPr>
              <p:cNvSpPr/>
              <p:nvPr/>
            </p:nvSpPr>
            <p:spPr>
              <a:xfrm>
                <a:off x="6534751" y="253005"/>
                <a:ext cx="185934" cy="207771"/>
              </a:xfrm>
              <a:custGeom>
                <a:avLst/>
                <a:gdLst>
                  <a:gd name="connsiteX0" fmla="*/ 136182 w 185934"/>
                  <a:gd name="connsiteY0" fmla="*/ 207771 h 207771"/>
                  <a:gd name="connsiteX1" fmla="*/ 0 w 185934"/>
                  <a:gd name="connsiteY1" fmla="*/ 66708 h 207771"/>
                  <a:gd name="connsiteX2" fmla="*/ 97179 w 185934"/>
                  <a:gd name="connsiteY2" fmla="*/ 0 h 207771"/>
                  <a:gd name="connsiteX3" fmla="*/ 185829 w 185934"/>
                  <a:gd name="connsiteY3" fmla="*/ 88650 h 207771"/>
                  <a:gd name="connsiteX4" fmla="*/ 185883 w 185934"/>
                  <a:gd name="connsiteY4" fmla="*/ 98935 h 207771"/>
                  <a:gd name="connsiteX5" fmla="*/ 166079 w 185934"/>
                  <a:gd name="connsiteY5" fmla="*/ 195859 h 207771"/>
                  <a:gd name="connsiteX6" fmla="*/ 136182 w 185934"/>
                  <a:gd name="connsiteY6" fmla="*/ 207771 h 207771"/>
                  <a:gd name="connsiteX7" fmla="*/ 97179 w 185934"/>
                  <a:gd name="connsiteY7" fmla="*/ 21272 h 207771"/>
                  <a:gd name="connsiteX8" fmla="*/ 21272 w 185934"/>
                  <a:gd name="connsiteY8" fmla="*/ 66708 h 207771"/>
                  <a:gd name="connsiteX9" fmla="*/ 136182 w 185934"/>
                  <a:gd name="connsiteY9" fmla="*/ 186500 h 207771"/>
                  <a:gd name="connsiteX10" fmla="*/ 150976 w 185934"/>
                  <a:gd name="connsiteY10" fmla="*/ 180873 h 207771"/>
                  <a:gd name="connsiteX11" fmla="*/ 164611 w 185934"/>
                  <a:gd name="connsiteY11" fmla="*/ 99094 h 207771"/>
                  <a:gd name="connsiteX12" fmla="*/ 164558 w 185934"/>
                  <a:gd name="connsiteY12" fmla="*/ 88660 h 207771"/>
                  <a:gd name="connsiteX13" fmla="*/ 97179 w 185934"/>
                  <a:gd name="connsiteY13" fmla="*/ 21272 h 20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5934" h="207771">
                    <a:moveTo>
                      <a:pt x="136182" y="207771"/>
                    </a:moveTo>
                    <a:cubicBezTo>
                      <a:pt x="87820" y="207771"/>
                      <a:pt x="0" y="116803"/>
                      <a:pt x="0" y="66708"/>
                    </a:cubicBezTo>
                    <a:cubicBezTo>
                      <a:pt x="0" y="24314"/>
                      <a:pt x="35417" y="0"/>
                      <a:pt x="97179" y="0"/>
                    </a:cubicBezTo>
                    <a:cubicBezTo>
                      <a:pt x="146062" y="0"/>
                      <a:pt x="185829" y="39767"/>
                      <a:pt x="185829" y="88650"/>
                    </a:cubicBezTo>
                    <a:lnTo>
                      <a:pt x="185883" y="98935"/>
                    </a:lnTo>
                    <a:cubicBezTo>
                      <a:pt x="186117" y="132991"/>
                      <a:pt x="186415" y="175375"/>
                      <a:pt x="166079" y="195859"/>
                    </a:cubicBezTo>
                    <a:cubicBezTo>
                      <a:pt x="158219" y="203762"/>
                      <a:pt x="148168" y="207771"/>
                      <a:pt x="136182" y="207771"/>
                    </a:cubicBezTo>
                    <a:close/>
                    <a:moveTo>
                      <a:pt x="97179" y="21272"/>
                    </a:moveTo>
                    <a:cubicBezTo>
                      <a:pt x="68835" y="21272"/>
                      <a:pt x="21272" y="27175"/>
                      <a:pt x="21272" y="66708"/>
                    </a:cubicBezTo>
                    <a:cubicBezTo>
                      <a:pt x="21272" y="104774"/>
                      <a:pt x="99669" y="186500"/>
                      <a:pt x="136182" y="186500"/>
                    </a:cubicBezTo>
                    <a:cubicBezTo>
                      <a:pt x="142467" y="186500"/>
                      <a:pt x="147158" y="184713"/>
                      <a:pt x="150976" y="180873"/>
                    </a:cubicBezTo>
                    <a:cubicBezTo>
                      <a:pt x="165089" y="166674"/>
                      <a:pt x="164813" y="127609"/>
                      <a:pt x="164611" y="99094"/>
                    </a:cubicBezTo>
                    <a:lnTo>
                      <a:pt x="164558" y="88660"/>
                    </a:lnTo>
                    <a:cubicBezTo>
                      <a:pt x="164558" y="51499"/>
                      <a:pt x="134331" y="21272"/>
                      <a:pt x="97179" y="21272"/>
                    </a:cubicBezTo>
                    <a:close/>
                  </a:path>
                </a:pathLst>
              </a:custGeom>
              <a:solidFill>
                <a:schemeClr val="accent1"/>
              </a:solidFill>
              <a:ln w="1063" cap="flat">
                <a:noFill/>
                <a:prstDash val="solid"/>
                <a:miter/>
              </a:ln>
            </p:spPr>
            <p:txBody>
              <a:bodyPr rtlCol="0" anchor="ctr"/>
              <a:lstStyle/>
              <a:p>
                <a:endParaRPr lang="en-GB" dirty="0"/>
              </a:p>
            </p:txBody>
          </p:sp>
          <p:sp>
            <p:nvSpPr>
              <p:cNvPr id="293" name="Freeform: Shape 292">
                <a:extLst>
                  <a:ext uri="{FF2B5EF4-FFF2-40B4-BE49-F238E27FC236}">
                    <a16:creationId xmlns:a16="http://schemas.microsoft.com/office/drawing/2014/main" id="{56A4FB98-430C-4398-9D85-943C7E7C67F0}"/>
                  </a:ext>
                </a:extLst>
              </p:cNvPr>
              <p:cNvSpPr/>
              <p:nvPr/>
            </p:nvSpPr>
            <p:spPr>
              <a:xfrm>
                <a:off x="6598481" y="301196"/>
                <a:ext cx="74450" cy="74450"/>
              </a:xfrm>
              <a:custGeom>
                <a:avLst/>
                <a:gdLst>
                  <a:gd name="connsiteX0" fmla="*/ 37225 w 74450"/>
                  <a:gd name="connsiteY0" fmla="*/ 74451 h 74450"/>
                  <a:gd name="connsiteX1" fmla="*/ 0 w 74450"/>
                  <a:gd name="connsiteY1" fmla="*/ 37225 h 74450"/>
                  <a:gd name="connsiteX2" fmla="*/ 37225 w 74450"/>
                  <a:gd name="connsiteY2" fmla="*/ 0 h 74450"/>
                  <a:gd name="connsiteX3" fmla="*/ 74451 w 74450"/>
                  <a:gd name="connsiteY3" fmla="*/ 37225 h 74450"/>
                  <a:gd name="connsiteX4" fmla="*/ 37225 w 74450"/>
                  <a:gd name="connsiteY4" fmla="*/ 74451 h 74450"/>
                  <a:gd name="connsiteX5" fmla="*/ 37225 w 74450"/>
                  <a:gd name="connsiteY5" fmla="*/ 21272 h 74450"/>
                  <a:gd name="connsiteX6" fmla="*/ 21272 w 74450"/>
                  <a:gd name="connsiteY6" fmla="*/ 37225 h 74450"/>
                  <a:gd name="connsiteX7" fmla="*/ 37225 w 74450"/>
                  <a:gd name="connsiteY7" fmla="*/ 53179 h 74450"/>
                  <a:gd name="connsiteX8" fmla="*/ 53179 w 74450"/>
                  <a:gd name="connsiteY8" fmla="*/ 37225 h 74450"/>
                  <a:gd name="connsiteX9" fmla="*/ 37225 w 74450"/>
                  <a:gd name="connsiteY9" fmla="*/ 21272 h 74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450" h="74450">
                    <a:moveTo>
                      <a:pt x="37225" y="74451"/>
                    </a:moveTo>
                    <a:cubicBezTo>
                      <a:pt x="16698" y="74451"/>
                      <a:pt x="0" y="57753"/>
                      <a:pt x="0" y="37225"/>
                    </a:cubicBezTo>
                    <a:cubicBezTo>
                      <a:pt x="0" y="16698"/>
                      <a:pt x="16698" y="0"/>
                      <a:pt x="37225" y="0"/>
                    </a:cubicBezTo>
                    <a:cubicBezTo>
                      <a:pt x="57752" y="0"/>
                      <a:pt x="74451" y="16698"/>
                      <a:pt x="74451" y="37225"/>
                    </a:cubicBezTo>
                    <a:cubicBezTo>
                      <a:pt x="74451" y="57742"/>
                      <a:pt x="57752" y="74451"/>
                      <a:pt x="37225" y="74451"/>
                    </a:cubicBezTo>
                    <a:close/>
                    <a:moveTo>
                      <a:pt x="37225" y="21272"/>
                    </a:moveTo>
                    <a:cubicBezTo>
                      <a:pt x="28430" y="21272"/>
                      <a:pt x="21272" y="28430"/>
                      <a:pt x="21272" y="37225"/>
                    </a:cubicBezTo>
                    <a:cubicBezTo>
                      <a:pt x="21272" y="46021"/>
                      <a:pt x="28430" y="53179"/>
                      <a:pt x="37225" y="53179"/>
                    </a:cubicBezTo>
                    <a:cubicBezTo>
                      <a:pt x="46021" y="53179"/>
                      <a:pt x="53179" y="46021"/>
                      <a:pt x="53179" y="37225"/>
                    </a:cubicBezTo>
                    <a:cubicBezTo>
                      <a:pt x="53179" y="28430"/>
                      <a:pt x="46032" y="21272"/>
                      <a:pt x="37225" y="21272"/>
                    </a:cubicBezTo>
                    <a:close/>
                  </a:path>
                </a:pathLst>
              </a:custGeom>
              <a:solidFill>
                <a:schemeClr val="accent1"/>
              </a:solidFill>
              <a:ln w="1063" cap="flat">
                <a:noFill/>
                <a:prstDash val="solid"/>
                <a:miter/>
              </a:ln>
            </p:spPr>
            <p:txBody>
              <a:bodyPr rtlCol="0" anchor="ctr"/>
              <a:lstStyle/>
              <a:p>
                <a:endParaRPr lang="en-GB" dirty="0"/>
              </a:p>
            </p:txBody>
          </p:sp>
        </p:grpSp>
        <p:grpSp>
          <p:nvGrpSpPr>
            <p:cNvPr id="267" name="Group 266">
              <a:extLst>
                <a:ext uri="{FF2B5EF4-FFF2-40B4-BE49-F238E27FC236}">
                  <a16:creationId xmlns:a16="http://schemas.microsoft.com/office/drawing/2014/main" id="{5C6C537D-E1C6-492B-A3DE-36C6225DA844}"/>
                </a:ext>
              </a:extLst>
            </p:cNvPr>
            <p:cNvGrpSpPr/>
            <p:nvPr/>
          </p:nvGrpSpPr>
          <p:grpSpPr>
            <a:xfrm>
              <a:off x="3672390" y="1575013"/>
              <a:ext cx="502120" cy="465667"/>
              <a:chOff x="3672390" y="1575013"/>
              <a:chExt cx="502120" cy="465667"/>
            </a:xfrm>
          </p:grpSpPr>
          <p:sp>
            <p:nvSpPr>
              <p:cNvPr id="268" name="Freeform: Shape 267">
                <a:extLst>
                  <a:ext uri="{FF2B5EF4-FFF2-40B4-BE49-F238E27FC236}">
                    <a16:creationId xmlns:a16="http://schemas.microsoft.com/office/drawing/2014/main" id="{5C0DB4C4-3654-4B6D-8888-ED2CFC3F76D8}"/>
                  </a:ext>
                </a:extLst>
              </p:cNvPr>
              <p:cNvSpPr/>
              <p:nvPr/>
            </p:nvSpPr>
            <p:spPr>
              <a:xfrm>
                <a:off x="3679829" y="1593606"/>
                <a:ext cx="164654" cy="153367"/>
              </a:xfrm>
              <a:custGeom>
                <a:avLst/>
                <a:gdLst>
                  <a:gd name="connsiteX0" fmla="*/ 139129 w 256812"/>
                  <a:gd name="connsiteY0" fmla="*/ 239207 h 239207"/>
                  <a:gd name="connsiteX1" fmla="*/ 71378 w 256812"/>
                  <a:gd name="connsiteY1" fmla="*/ 209586 h 239207"/>
                  <a:gd name="connsiteX2" fmla="*/ 21624 w 256812"/>
                  <a:gd name="connsiteY2" fmla="*/ 23533 h 239207"/>
                  <a:gd name="connsiteX3" fmla="*/ 113890 w 256812"/>
                  <a:gd name="connsiteY3" fmla="*/ 8058 h 239207"/>
                  <a:gd name="connsiteX4" fmla="*/ 136236 w 256812"/>
                  <a:gd name="connsiteY4" fmla="*/ 13163 h 239207"/>
                  <a:gd name="connsiteX5" fmla="*/ 161443 w 256812"/>
                  <a:gd name="connsiteY5" fmla="*/ 8718 h 239207"/>
                  <a:gd name="connsiteX6" fmla="*/ 216249 w 256812"/>
                  <a:gd name="connsiteY6" fmla="*/ 11781 h 239207"/>
                  <a:gd name="connsiteX7" fmla="*/ 216249 w 256812"/>
                  <a:gd name="connsiteY7" fmla="*/ 11781 h 239207"/>
                  <a:gd name="connsiteX8" fmla="*/ 219887 w 256812"/>
                  <a:gd name="connsiteY8" fmla="*/ 189804 h 239207"/>
                  <a:gd name="connsiteX9" fmla="*/ 150052 w 256812"/>
                  <a:gd name="connsiteY9" fmla="*/ 238346 h 239207"/>
                  <a:gd name="connsiteX10" fmla="*/ 139129 w 256812"/>
                  <a:gd name="connsiteY10" fmla="*/ 239207 h 239207"/>
                  <a:gd name="connsiteX11" fmla="*/ 69698 w 256812"/>
                  <a:gd name="connsiteY11" fmla="*/ 21162 h 239207"/>
                  <a:gd name="connsiteX12" fmla="*/ 38663 w 256812"/>
                  <a:gd name="connsiteY12" fmla="*/ 36275 h 239207"/>
                  <a:gd name="connsiteX13" fmla="*/ 84886 w 256812"/>
                  <a:gd name="connsiteY13" fmla="*/ 193154 h 239207"/>
                  <a:gd name="connsiteX14" fmla="*/ 146712 w 256812"/>
                  <a:gd name="connsiteY14" fmla="*/ 217329 h 239207"/>
                  <a:gd name="connsiteX15" fmla="*/ 203465 w 256812"/>
                  <a:gd name="connsiteY15" fmla="*/ 176275 h 239207"/>
                  <a:gd name="connsiteX16" fmla="*/ 202763 w 256812"/>
                  <a:gd name="connsiteY16" fmla="*/ 28202 h 239207"/>
                  <a:gd name="connsiteX17" fmla="*/ 202763 w 256812"/>
                  <a:gd name="connsiteY17" fmla="*/ 28202 h 239207"/>
                  <a:gd name="connsiteX18" fmla="*/ 166974 w 256812"/>
                  <a:gd name="connsiteY18" fmla="*/ 29245 h 239207"/>
                  <a:gd name="connsiteX19" fmla="*/ 134938 w 256812"/>
                  <a:gd name="connsiteY19" fmla="*/ 34382 h 239207"/>
                  <a:gd name="connsiteX20" fmla="*/ 108072 w 256812"/>
                  <a:gd name="connsiteY20" fmla="*/ 28500 h 239207"/>
                  <a:gd name="connsiteX21" fmla="*/ 69698 w 256812"/>
                  <a:gd name="connsiteY21" fmla="*/ 21162 h 239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6812" h="239207">
                    <a:moveTo>
                      <a:pt x="139129" y="239207"/>
                    </a:moveTo>
                    <a:cubicBezTo>
                      <a:pt x="117804" y="239207"/>
                      <a:pt x="95522" y="229443"/>
                      <a:pt x="71378" y="209586"/>
                    </a:cubicBezTo>
                    <a:cubicBezTo>
                      <a:pt x="-796" y="150228"/>
                      <a:pt x="-19856" y="78946"/>
                      <a:pt x="21624" y="23533"/>
                    </a:cubicBezTo>
                    <a:cubicBezTo>
                      <a:pt x="47448" y="-10927"/>
                      <a:pt x="87428" y="496"/>
                      <a:pt x="113890" y="8058"/>
                    </a:cubicBezTo>
                    <a:cubicBezTo>
                      <a:pt x="122473" y="10504"/>
                      <a:pt x="130557" y="12812"/>
                      <a:pt x="136236" y="13163"/>
                    </a:cubicBezTo>
                    <a:cubicBezTo>
                      <a:pt x="143224" y="13621"/>
                      <a:pt x="152083" y="11228"/>
                      <a:pt x="161443" y="8718"/>
                    </a:cubicBezTo>
                    <a:cubicBezTo>
                      <a:pt x="179492" y="3868"/>
                      <a:pt x="199945" y="-1610"/>
                      <a:pt x="216249" y="11781"/>
                    </a:cubicBezTo>
                    <a:lnTo>
                      <a:pt x="216249" y="11781"/>
                    </a:lnTo>
                    <a:cubicBezTo>
                      <a:pt x="268950" y="55101"/>
                      <a:pt x="270439" y="128307"/>
                      <a:pt x="219887" y="189804"/>
                    </a:cubicBezTo>
                    <a:cubicBezTo>
                      <a:pt x="195733" y="219191"/>
                      <a:pt x="173547" y="234613"/>
                      <a:pt x="150052" y="238346"/>
                    </a:cubicBezTo>
                    <a:cubicBezTo>
                      <a:pt x="146436" y="238909"/>
                      <a:pt x="142798" y="239207"/>
                      <a:pt x="139129" y="239207"/>
                    </a:cubicBezTo>
                    <a:close/>
                    <a:moveTo>
                      <a:pt x="69698" y="21162"/>
                    </a:moveTo>
                    <a:cubicBezTo>
                      <a:pt x="57307" y="21162"/>
                      <a:pt x="46991" y="25150"/>
                      <a:pt x="38663" y="36275"/>
                    </a:cubicBezTo>
                    <a:cubicBezTo>
                      <a:pt x="4171" y="82339"/>
                      <a:pt x="21454" y="140985"/>
                      <a:pt x="84886" y="193154"/>
                    </a:cubicBezTo>
                    <a:cubicBezTo>
                      <a:pt x="108551" y="212596"/>
                      <a:pt x="128216" y="220275"/>
                      <a:pt x="146712" y="217329"/>
                    </a:cubicBezTo>
                    <a:cubicBezTo>
                      <a:pt x="164761" y="214458"/>
                      <a:pt x="182810" y="201407"/>
                      <a:pt x="203465" y="176275"/>
                    </a:cubicBezTo>
                    <a:cubicBezTo>
                      <a:pt x="239478" y="132466"/>
                      <a:pt x="253230" y="69693"/>
                      <a:pt x="202763" y="28202"/>
                    </a:cubicBezTo>
                    <a:lnTo>
                      <a:pt x="202763" y="28202"/>
                    </a:lnTo>
                    <a:cubicBezTo>
                      <a:pt x="194893" y="21736"/>
                      <a:pt x="181311" y="25384"/>
                      <a:pt x="166974" y="29245"/>
                    </a:cubicBezTo>
                    <a:cubicBezTo>
                      <a:pt x="156391" y="32095"/>
                      <a:pt x="145468" y="35009"/>
                      <a:pt x="134938" y="34382"/>
                    </a:cubicBezTo>
                    <a:cubicBezTo>
                      <a:pt x="126961" y="33893"/>
                      <a:pt x="117783" y="31276"/>
                      <a:pt x="108072" y="28500"/>
                    </a:cubicBezTo>
                    <a:cubicBezTo>
                      <a:pt x="93565" y="24363"/>
                      <a:pt x="80791" y="21162"/>
                      <a:pt x="69698" y="21162"/>
                    </a:cubicBezTo>
                    <a:close/>
                  </a:path>
                </a:pathLst>
              </a:custGeom>
              <a:solidFill>
                <a:schemeClr val="tx2"/>
              </a:solidFill>
              <a:ln w="1063" cap="flat">
                <a:noFill/>
                <a:prstDash val="solid"/>
                <a:miter/>
              </a:ln>
            </p:spPr>
            <p:txBody>
              <a:bodyPr rtlCol="0" anchor="ctr"/>
              <a:lstStyle/>
              <a:p>
                <a:endParaRPr lang="en-GB" dirty="0"/>
              </a:p>
            </p:txBody>
          </p:sp>
          <p:sp>
            <p:nvSpPr>
              <p:cNvPr id="269" name="Freeform: Shape 268">
                <a:extLst>
                  <a:ext uri="{FF2B5EF4-FFF2-40B4-BE49-F238E27FC236}">
                    <a16:creationId xmlns:a16="http://schemas.microsoft.com/office/drawing/2014/main" id="{A328E80B-BD89-4B83-8504-3A6CEB1CC7A0}"/>
                  </a:ext>
                </a:extLst>
              </p:cNvPr>
              <p:cNvSpPr/>
              <p:nvPr/>
            </p:nvSpPr>
            <p:spPr>
              <a:xfrm>
                <a:off x="3734958" y="1641759"/>
                <a:ext cx="59807" cy="54165"/>
              </a:xfrm>
              <a:custGeom>
                <a:avLst/>
                <a:gdLst>
                  <a:gd name="connsiteX0" fmla="*/ 41828 w 93281"/>
                  <a:gd name="connsiteY0" fmla="*/ 84482 h 84482"/>
                  <a:gd name="connsiteX1" fmla="*/ 12920 w 93281"/>
                  <a:gd name="connsiteY1" fmla="*/ 72293 h 84482"/>
                  <a:gd name="connsiteX2" fmla="*/ 273 w 93281"/>
                  <a:gd name="connsiteY2" fmla="*/ 42173 h 84482"/>
                  <a:gd name="connsiteX3" fmla="*/ 8452 w 93281"/>
                  <a:gd name="connsiteY3" fmla="*/ 11084 h 84482"/>
                  <a:gd name="connsiteX4" fmla="*/ 31724 w 93281"/>
                  <a:gd name="connsiteY4" fmla="*/ 150 h 84482"/>
                  <a:gd name="connsiteX5" fmla="*/ 93220 w 93281"/>
                  <a:gd name="connsiteY5" fmla="*/ 35100 h 84482"/>
                  <a:gd name="connsiteX6" fmla="*/ 93220 w 93281"/>
                  <a:gd name="connsiteY6" fmla="*/ 35100 h 84482"/>
                  <a:gd name="connsiteX7" fmla="*/ 78064 w 93281"/>
                  <a:gd name="connsiteY7" fmla="*/ 69220 h 84482"/>
                  <a:gd name="connsiteX8" fmla="*/ 44497 w 93281"/>
                  <a:gd name="connsiteY8" fmla="*/ 84408 h 84482"/>
                  <a:gd name="connsiteX9" fmla="*/ 41828 w 93281"/>
                  <a:gd name="connsiteY9" fmla="*/ 84482 h 84482"/>
                  <a:gd name="connsiteX10" fmla="*/ 36521 w 93281"/>
                  <a:gd name="connsiteY10" fmla="*/ 21273 h 84482"/>
                  <a:gd name="connsiteX11" fmla="*/ 32989 w 93281"/>
                  <a:gd name="connsiteY11" fmla="*/ 21380 h 84482"/>
                  <a:gd name="connsiteX12" fmla="*/ 24651 w 93281"/>
                  <a:gd name="connsiteY12" fmla="*/ 24868 h 84482"/>
                  <a:gd name="connsiteX13" fmla="*/ 21439 w 93281"/>
                  <a:gd name="connsiteY13" fmla="*/ 40014 h 84482"/>
                  <a:gd name="connsiteX14" fmla="*/ 28278 w 93281"/>
                  <a:gd name="connsiteY14" fmla="*/ 57573 h 84482"/>
                  <a:gd name="connsiteX15" fmla="*/ 43211 w 93281"/>
                  <a:gd name="connsiteY15" fmla="*/ 63168 h 84482"/>
                  <a:gd name="connsiteX16" fmla="*/ 63493 w 93281"/>
                  <a:gd name="connsiteY16" fmla="*/ 53691 h 84482"/>
                  <a:gd name="connsiteX17" fmla="*/ 71980 w 93281"/>
                  <a:gd name="connsiteY17" fmla="*/ 36365 h 84482"/>
                  <a:gd name="connsiteX18" fmla="*/ 71980 w 93281"/>
                  <a:gd name="connsiteY18" fmla="*/ 36365 h 84482"/>
                  <a:gd name="connsiteX19" fmla="*/ 36521 w 93281"/>
                  <a:gd name="connsiteY19" fmla="*/ 21273 h 84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281" h="84482">
                    <a:moveTo>
                      <a:pt x="41828" y="84482"/>
                    </a:moveTo>
                    <a:cubicBezTo>
                      <a:pt x="30703" y="84482"/>
                      <a:pt x="20514" y="80206"/>
                      <a:pt x="12920" y="72293"/>
                    </a:cubicBezTo>
                    <a:cubicBezTo>
                      <a:pt x="5910" y="64976"/>
                      <a:pt x="1539" y="54563"/>
                      <a:pt x="273" y="42173"/>
                    </a:cubicBezTo>
                    <a:cubicBezTo>
                      <a:pt x="-960" y="29984"/>
                      <a:pt x="2018" y="18657"/>
                      <a:pt x="8452" y="11084"/>
                    </a:cubicBezTo>
                    <a:cubicBezTo>
                      <a:pt x="14047" y="4511"/>
                      <a:pt x="22088" y="725"/>
                      <a:pt x="31724" y="150"/>
                    </a:cubicBezTo>
                    <a:cubicBezTo>
                      <a:pt x="56239" y="-1371"/>
                      <a:pt x="91625" y="8531"/>
                      <a:pt x="93220" y="35100"/>
                    </a:cubicBezTo>
                    <a:lnTo>
                      <a:pt x="93220" y="35100"/>
                    </a:lnTo>
                    <a:cubicBezTo>
                      <a:pt x="93933" y="47065"/>
                      <a:pt x="88424" y="59498"/>
                      <a:pt x="78064" y="69220"/>
                    </a:cubicBezTo>
                    <a:cubicBezTo>
                      <a:pt x="68534" y="78164"/>
                      <a:pt x="56292" y="83706"/>
                      <a:pt x="44497" y="84408"/>
                    </a:cubicBezTo>
                    <a:cubicBezTo>
                      <a:pt x="43604" y="84461"/>
                      <a:pt x="42721" y="84482"/>
                      <a:pt x="41828" y="84482"/>
                    </a:cubicBezTo>
                    <a:close/>
                    <a:moveTo>
                      <a:pt x="36521" y="21273"/>
                    </a:moveTo>
                    <a:cubicBezTo>
                      <a:pt x="35340" y="21273"/>
                      <a:pt x="34149" y="21305"/>
                      <a:pt x="32989" y="21380"/>
                    </a:cubicBezTo>
                    <a:cubicBezTo>
                      <a:pt x="27331" y="21720"/>
                      <a:pt x="25310" y="24092"/>
                      <a:pt x="24651" y="24868"/>
                    </a:cubicBezTo>
                    <a:cubicBezTo>
                      <a:pt x="22034" y="27953"/>
                      <a:pt x="20801" y="33749"/>
                      <a:pt x="21439" y="40014"/>
                    </a:cubicBezTo>
                    <a:cubicBezTo>
                      <a:pt x="22215" y="47639"/>
                      <a:pt x="24587" y="53723"/>
                      <a:pt x="28278" y="57573"/>
                    </a:cubicBezTo>
                    <a:cubicBezTo>
                      <a:pt x="32181" y="61647"/>
                      <a:pt x="37233" y="63508"/>
                      <a:pt x="43211" y="63168"/>
                    </a:cubicBezTo>
                    <a:cubicBezTo>
                      <a:pt x="49932" y="62764"/>
                      <a:pt x="57707" y="59137"/>
                      <a:pt x="63493" y="53691"/>
                    </a:cubicBezTo>
                    <a:cubicBezTo>
                      <a:pt x="69226" y="48320"/>
                      <a:pt x="72310" y="42002"/>
                      <a:pt x="71980" y="36365"/>
                    </a:cubicBezTo>
                    <a:lnTo>
                      <a:pt x="71980" y="36365"/>
                    </a:lnTo>
                    <a:cubicBezTo>
                      <a:pt x="71470" y="27697"/>
                      <a:pt x="52889" y="21273"/>
                      <a:pt x="36521" y="21273"/>
                    </a:cubicBezTo>
                    <a:close/>
                  </a:path>
                </a:pathLst>
              </a:custGeom>
              <a:solidFill>
                <a:schemeClr val="tx2"/>
              </a:solidFill>
              <a:ln w="1063" cap="flat">
                <a:noFill/>
                <a:prstDash val="solid"/>
                <a:miter/>
              </a:ln>
            </p:spPr>
            <p:txBody>
              <a:bodyPr rtlCol="0" anchor="ctr"/>
              <a:lstStyle/>
              <a:p>
                <a:endParaRPr lang="en-GB" dirty="0"/>
              </a:p>
            </p:txBody>
          </p:sp>
          <p:sp>
            <p:nvSpPr>
              <p:cNvPr id="270" name="Freeform: Shape 269">
                <a:extLst>
                  <a:ext uri="{FF2B5EF4-FFF2-40B4-BE49-F238E27FC236}">
                    <a16:creationId xmlns:a16="http://schemas.microsoft.com/office/drawing/2014/main" id="{89E2ADEE-9421-4F5A-B825-FBF7AEFD6001}"/>
                  </a:ext>
                </a:extLst>
              </p:cNvPr>
              <p:cNvSpPr/>
              <p:nvPr/>
            </p:nvSpPr>
            <p:spPr>
              <a:xfrm>
                <a:off x="3830890" y="1650688"/>
                <a:ext cx="30737" cy="17230"/>
              </a:xfrm>
              <a:custGeom>
                <a:avLst/>
                <a:gdLst>
                  <a:gd name="connsiteX0" fmla="*/ 37308 w 47940"/>
                  <a:gd name="connsiteY0" fmla="*/ 26874 h 26873"/>
                  <a:gd name="connsiteX1" fmla="*/ 35106 w 47940"/>
                  <a:gd name="connsiteY1" fmla="*/ 26650 h 26873"/>
                  <a:gd name="connsiteX2" fmla="*/ 8442 w 47940"/>
                  <a:gd name="connsiteY2" fmla="*/ 21045 h 26873"/>
                  <a:gd name="connsiteX3" fmla="*/ 231 w 47940"/>
                  <a:gd name="connsiteY3" fmla="*/ 8453 h 26873"/>
                  <a:gd name="connsiteX4" fmla="*/ 12835 w 47940"/>
                  <a:gd name="connsiteY4" fmla="*/ 231 h 26873"/>
                  <a:gd name="connsiteX5" fmla="*/ 39498 w 47940"/>
                  <a:gd name="connsiteY5" fmla="*/ 5836 h 26873"/>
                  <a:gd name="connsiteX6" fmla="*/ 47710 w 47940"/>
                  <a:gd name="connsiteY6" fmla="*/ 18429 h 26873"/>
                  <a:gd name="connsiteX7" fmla="*/ 37308 w 47940"/>
                  <a:gd name="connsiteY7" fmla="*/ 26874 h 26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940" h="26873">
                    <a:moveTo>
                      <a:pt x="37308" y="26874"/>
                    </a:moveTo>
                    <a:cubicBezTo>
                      <a:pt x="36584" y="26874"/>
                      <a:pt x="35840" y="26799"/>
                      <a:pt x="35106" y="26650"/>
                    </a:cubicBezTo>
                    <a:lnTo>
                      <a:pt x="8442" y="21045"/>
                    </a:lnTo>
                    <a:cubicBezTo>
                      <a:pt x="2699" y="19844"/>
                      <a:pt x="-981" y="14196"/>
                      <a:pt x="231" y="8453"/>
                    </a:cubicBezTo>
                    <a:cubicBezTo>
                      <a:pt x="1433" y="2699"/>
                      <a:pt x="7080" y="-981"/>
                      <a:pt x="12835" y="231"/>
                    </a:cubicBezTo>
                    <a:lnTo>
                      <a:pt x="39498" y="5836"/>
                    </a:lnTo>
                    <a:cubicBezTo>
                      <a:pt x="45242" y="7038"/>
                      <a:pt x="48922" y="12686"/>
                      <a:pt x="47710" y="18429"/>
                    </a:cubicBezTo>
                    <a:cubicBezTo>
                      <a:pt x="46656" y="23438"/>
                      <a:pt x="42232" y="26874"/>
                      <a:pt x="37308" y="26874"/>
                    </a:cubicBezTo>
                    <a:close/>
                  </a:path>
                </a:pathLst>
              </a:custGeom>
              <a:solidFill>
                <a:schemeClr val="tx2"/>
              </a:solidFill>
              <a:ln w="1063" cap="flat">
                <a:noFill/>
                <a:prstDash val="solid"/>
                <a:miter/>
              </a:ln>
            </p:spPr>
            <p:txBody>
              <a:bodyPr rtlCol="0" anchor="ctr"/>
              <a:lstStyle/>
              <a:p>
                <a:endParaRPr lang="en-GB" dirty="0"/>
              </a:p>
            </p:txBody>
          </p:sp>
          <p:sp>
            <p:nvSpPr>
              <p:cNvPr id="271" name="Freeform: Shape 270">
                <a:extLst>
                  <a:ext uri="{FF2B5EF4-FFF2-40B4-BE49-F238E27FC236}">
                    <a16:creationId xmlns:a16="http://schemas.microsoft.com/office/drawing/2014/main" id="{DEA5182A-5B2A-40ED-8765-4C525024B51B}"/>
                  </a:ext>
                </a:extLst>
              </p:cNvPr>
              <p:cNvSpPr/>
              <p:nvPr/>
            </p:nvSpPr>
            <p:spPr>
              <a:xfrm>
                <a:off x="3688582" y="1699036"/>
                <a:ext cx="28772" cy="28127"/>
              </a:xfrm>
              <a:custGeom>
                <a:avLst/>
                <a:gdLst>
                  <a:gd name="connsiteX0" fmla="*/ 10642 w 44875"/>
                  <a:gd name="connsiteY0" fmla="*/ 43870 h 43869"/>
                  <a:gd name="connsiteX1" fmla="*/ 2953 w 44875"/>
                  <a:gd name="connsiteY1" fmla="*/ 40594 h 43869"/>
                  <a:gd name="connsiteX2" fmla="*/ 3282 w 44875"/>
                  <a:gd name="connsiteY2" fmla="*/ 25555 h 43869"/>
                  <a:gd name="connsiteX3" fmla="*/ 26883 w 44875"/>
                  <a:gd name="connsiteY3" fmla="*/ 2954 h 43869"/>
                  <a:gd name="connsiteX4" fmla="*/ 41923 w 44875"/>
                  <a:gd name="connsiteY4" fmla="*/ 3273 h 43869"/>
                  <a:gd name="connsiteX5" fmla="*/ 41593 w 44875"/>
                  <a:gd name="connsiteY5" fmla="*/ 18312 h 43869"/>
                  <a:gd name="connsiteX6" fmla="*/ 17992 w 44875"/>
                  <a:gd name="connsiteY6" fmla="*/ 40913 h 43869"/>
                  <a:gd name="connsiteX7" fmla="*/ 10642 w 44875"/>
                  <a:gd name="connsiteY7" fmla="*/ 43870 h 43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75" h="43869">
                    <a:moveTo>
                      <a:pt x="10642" y="43870"/>
                    </a:moveTo>
                    <a:cubicBezTo>
                      <a:pt x="7845" y="43870"/>
                      <a:pt x="5059" y="42774"/>
                      <a:pt x="2953" y="40594"/>
                    </a:cubicBezTo>
                    <a:cubicBezTo>
                      <a:pt x="-1110" y="36350"/>
                      <a:pt x="-961" y="29618"/>
                      <a:pt x="3282" y="25555"/>
                    </a:cubicBezTo>
                    <a:lnTo>
                      <a:pt x="26883" y="2954"/>
                    </a:lnTo>
                    <a:cubicBezTo>
                      <a:pt x="31106" y="-1099"/>
                      <a:pt x="37838" y="-971"/>
                      <a:pt x="41923" y="3273"/>
                    </a:cubicBezTo>
                    <a:cubicBezTo>
                      <a:pt x="45985" y="7516"/>
                      <a:pt x="45837" y="14249"/>
                      <a:pt x="41593" y="18312"/>
                    </a:cubicBezTo>
                    <a:lnTo>
                      <a:pt x="17992" y="40913"/>
                    </a:lnTo>
                    <a:cubicBezTo>
                      <a:pt x="15939" y="42891"/>
                      <a:pt x="13291" y="43870"/>
                      <a:pt x="10642" y="43870"/>
                    </a:cubicBezTo>
                    <a:close/>
                  </a:path>
                </a:pathLst>
              </a:custGeom>
              <a:solidFill>
                <a:schemeClr val="tx2"/>
              </a:solidFill>
              <a:ln w="1063" cap="flat">
                <a:noFill/>
                <a:prstDash val="solid"/>
                <a:miter/>
              </a:ln>
            </p:spPr>
            <p:txBody>
              <a:bodyPr rtlCol="0" anchor="ctr"/>
              <a:lstStyle/>
              <a:p>
                <a:endParaRPr lang="en-GB" dirty="0"/>
              </a:p>
            </p:txBody>
          </p:sp>
          <p:sp>
            <p:nvSpPr>
              <p:cNvPr id="272" name="Freeform: Shape 271">
                <a:extLst>
                  <a:ext uri="{FF2B5EF4-FFF2-40B4-BE49-F238E27FC236}">
                    <a16:creationId xmlns:a16="http://schemas.microsoft.com/office/drawing/2014/main" id="{67792F63-370A-41C4-93E3-71497EAD3304}"/>
                  </a:ext>
                </a:extLst>
              </p:cNvPr>
              <p:cNvSpPr/>
              <p:nvPr/>
            </p:nvSpPr>
            <p:spPr>
              <a:xfrm>
                <a:off x="3672390" y="1603127"/>
                <a:ext cx="28279" cy="24148"/>
              </a:xfrm>
              <a:custGeom>
                <a:avLst/>
                <a:gdLst>
                  <a:gd name="connsiteX0" fmla="*/ 33450 w 44107"/>
                  <a:gd name="connsiteY0" fmla="*/ 37665 h 37664"/>
                  <a:gd name="connsiteX1" fmla="*/ 27260 w 44107"/>
                  <a:gd name="connsiteY1" fmla="*/ 35665 h 37664"/>
                  <a:gd name="connsiteX2" fmla="*/ 4435 w 44107"/>
                  <a:gd name="connsiteY2" fmla="*/ 19286 h 37664"/>
                  <a:gd name="connsiteX3" fmla="*/ 2000 w 44107"/>
                  <a:gd name="connsiteY3" fmla="*/ 4438 h 37664"/>
                  <a:gd name="connsiteX4" fmla="*/ 16847 w 44107"/>
                  <a:gd name="connsiteY4" fmla="*/ 2003 h 37664"/>
                  <a:gd name="connsiteX5" fmla="*/ 39672 w 44107"/>
                  <a:gd name="connsiteY5" fmla="*/ 18382 h 37664"/>
                  <a:gd name="connsiteX6" fmla="*/ 42107 w 44107"/>
                  <a:gd name="connsiteY6" fmla="*/ 33219 h 37664"/>
                  <a:gd name="connsiteX7" fmla="*/ 33450 w 44107"/>
                  <a:gd name="connsiteY7" fmla="*/ 37665 h 3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107" h="37664">
                    <a:moveTo>
                      <a:pt x="33450" y="37665"/>
                    </a:moveTo>
                    <a:cubicBezTo>
                      <a:pt x="31301" y="37665"/>
                      <a:pt x="29142" y="37016"/>
                      <a:pt x="27260" y="35665"/>
                    </a:cubicBezTo>
                    <a:lnTo>
                      <a:pt x="4435" y="19286"/>
                    </a:lnTo>
                    <a:cubicBezTo>
                      <a:pt x="-330" y="15861"/>
                      <a:pt x="-1436" y="9214"/>
                      <a:pt x="2000" y="4438"/>
                    </a:cubicBezTo>
                    <a:cubicBezTo>
                      <a:pt x="5414" y="-337"/>
                      <a:pt x="12050" y="-1433"/>
                      <a:pt x="16847" y="2003"/>
                    </a:cubicBezTo>
                    <a:lnTo>
                      <a:pt x="39672" y="18382"/>
                    </a:lnTo>
                    <a:cubicBezTo>
                      <a:pt x="44437" y="21807"/>
                      <a:pt x="45543" y="28454"/>
                      <a:pt x="42107" y="33219"/>
                    </a:cubicBezTo>
                    <a:cubicBezTo>
                      <a:pt x="40023" y="36122"/>
                      <a:pt x="36758" y="37665"/>
                      <a:pt x="33450" y="37665"/>
                    </a:cubicBezTo>
                    <a:close/>
                  </a:path>
                </a:pathLst>
              </a:custGeom>
              <a:solidFill>
                <a:schemeClr val="tx2"/>
              </a:solidFill>
              <a:ln w="1063" cap="flat">
                <a:noFill/>
                <a:prstDash val="solid"/>
                <a:miter/>
              </a:ln>
            </p:spPr>
            <p:txBody>
              <a:bodyPr rtlCol="0" anchor="ctr"/>
              <a:lstStyle/>
              <a:p>
                <a:endParaRPr lang="en-GB" dirty="0"/>
              </a:p>
            </p:txBody>
          </p:sp>
          <p:sp>
            <p:nvSpPr>
              <p:cNvPr id="273" name="Freeform: Shape 272">
                <a:extLst>
                  <a:ext uri="{FF2B5EF4-FFF2-40B4-BE49-F238E27FC236}">
                    <a16:creationId xmlns:a16="http://schemas.microsoft.com/office/drawing/2014/main" id="{07ADA557-F680-491C-9DA7-6E11D5F0930D}"/>
                  </a:ext>
                </a:extLst>
              </p:cNvPr>
              <p:cNvSpPr/>
              <p:nvPr/>
            </p:nvSpPr>
            <p:spPr>
              <a:xfrm>
                <a:off x="3708608" y="1575013"/>
                <a:ext cx="18518" cy="31921"/>
              </a:xfrm>
              <a:custGeom>
                <a:avLst/>
                <a:gdLst>
                  <a:gd name="connsiteX0" fmla="*/ 18228 w 28883"/>
                  <a:gd name="connsiteY0" fmla="*/ 49789 h 49788"/>
                  <a:gd name="connsiteX1" fmla="*/ 7954 w 28883"/>
                  <a:gd name="connsiteY1" fmla="*/ 41886 h 49788"/>
                  <a:gd name="connsiteX2" fmla="*/ 360 w 28883"/>
                  <a:gd name="connsiteY2" fmla="*/ 13372 h 49788"/>
                  <a:gd name="connsiteX3" fmla="*/ 7911 w 28883"/>
                  <a:gd name="connsiteY3" fmla="*/ 353 h 49788"/>
                  <a:gd name="connsiteX4" fmla="*/ 20930 w 28883"/>
                  <a:gd name="connsiteY4" fmla="*/ 7894 h 49788"/>
                  <a:gd name="connsiteX5" fmla="*/ 28524 w 28883"/>
                  <a:gd name="connsiteY5" fmla="*/ 36409 h 49788"/>
                  <a:gd name="connsiteX6" fmla="*/ 20972 w 28883"/>
                  <a:gd name="connsiteY6" fmla="*/ 49427 h 49788"/>
                  <a:gd name="connsiteX7" fmla="*/ 18228 w 28883"/>
                  <a:gd name="connsiteY7" fmla="*/ 49789 h 49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83" h="49788">
                    <a:moveTo>
                      <a:pt x="18228" y="49789"/>
                    </a:moveTo>
                    <a:cubicBezTo>
                      <a:pt x="13538" y="49789"/>
                      <a:pt x="9220" y="46641"/>
                      <a:pt x="7954" y="41886"/>
                    </a:cubicBezTo>
                    <a:lnTo>
                      <a:pt x="360" y="13372"/>
                    </a:lnTo>
                    <a:cubicBezTo>
                      <a:pt x="-1150" y="7692"/>
                      <a:pt x="2232" y="1864"/>
                      <a:pt x="7911" y="353"/>
                    </a:cubicBezTo>
                    <a:cubicBezTo>
                      <a:pt x="13506" y="-1136"/>
                      <a:pt x="19409" y="2215"/>
                      <a:pt x="20930" y="7894"/>
                    </a:cubicBezTo>
                    <a:lnTo>
                      <a:pt x="28524" y="36409"/>
                    </a:lnTo>
                    <a:cubicBezTo>
                      <a:pt x="30034" y="42088"/>
                      <a:pt x="26652" y="47917"/>
                      <a:pt x="20972" y="49427"/>
                    </a:cubicBezTo>
                    <a:cubicBezTo>
                      <a:pt x="20057" y="49672"/>
                      <a:pt x="19143" y="49789"/>
                      <a:pt x="18228" y="49789"/>
                    </a:cubicBezTo>
                    <a:close/>
                  </a:path>
                </a:pathLst>
              </a:custGeom>
              <a:solidFill>
                <a:schemeClr val="tx2"/>
              </a:solidFill>
              <a:ln w="1063" cap="flat">
                <a:noFill/>
                <a:prstDash val="solid"/>
                <a:miter/>
              </a:ln>
            </p:spPr>
            <p:txBody>
              <a:bodyPr rtlCol="0" anchor="ctr"/>
              <a:lstStyle/>
              <a:p>
                <a:endParaRPr lang="en-GB" dirty="0"/>
              </a:p>
            </p:txBody>
          </p:sp>
          <p:sp>
            <p:nvSpPr>
              <p:cNvPr id="274" name="Freeform: Shape 273">
                <a:extLst>
                  <a:ext uri="{FF2B5EF4-FFF2-40B4-BE49-F238E27FC236}">
                    <a16:creationId xmlns:a16="http://schemas.microsoft.com/office/drawing/2014/main" id="{1B566270-EC46-4945-B338-AD66C5D238D4}"/>
                  </a:ext>
                </a:extLst>
              </p:cNvPr>
              <p:cNvSpPr/>
              <p:nvPr/>
            </p:nvSpPr>
            <p:spPr>
              <a:xfrm>
                <a:off x="3817845" y="1599303"/>
                <a:ext cx="27585" cy="23281"/>
              </a:xfrm>
              <a:custGeom>
                <a:avLst/>
                <a:gdLst>
                  <a:gd name="connsiteX0" fmla="*/ 10643 w 43025"/>
                  <a:gd name="connsiteY0" fmla="*/ 36312 h 36312"/>
                  <a:gd name="connsiteX1" fmla="*/ 1890 w 43025"/>
                  <a:gd name="connsiteY1" fmla="*/ 31728 h 36312"/>
                  <a:gd name="connsiteX2" fmla="*/ 4591 w 43025"/>
                  <a:gd name="connsiteY2" fmla="*/ 16934 h 36312"/>
                  <a:gd name="connsiteX3" fmla="*/ 26341 w 43025"/>
                  <a:gd name="connsiteY3" fmla="*/ 1895 h 36312"/>
                  <a:gd name="connsiteX4" fmla="*/ 41136 w 43025"/>
                  <a:gd name="connsiteY4" fmla="*/ 4586 h 36312"/>
                  <a:gd name="connsiteX5" fmla="*/ 38434 w 43025"/>
                  <a:gd name="connsiteY5" fmla="*/ 19380 h 36312"/>
                  <a:gd name="connsiteX6" fmla="*/ 16684 w 43025"/>
                  <a:gd name="connsiteY6" fmla="*/ 34419 h 36312"/>
                  <a:gd name="connsiteX7" fmla="*/ 10643 w 43025"/>
                  <a:gd name="connsiteY7" fmla="*/ 36312 h 36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025" h="36312">
                    <a:moveTo>
                      <a:pt x="10643" y="36312"/>
                    </a:moveTo>
                    <a:cubicBezTo>
                      <a:pt x="7271" y="36312"/>
                      <a:pt x="3953" y="34717"/>
                      <a:pt x="1890" y="31728"/>
                    </a:cubicBezTo>
                    <a:cubicBezTo>
                      <a:pt x="-1450" y="26900"/>
                      <a:pt x="-248" y="20274"/>
                      <a:pt x="4591" y="16934"/>
                    </a:cubicBezTo>
                    <a:lnTo>
                      <a:pt x="26341" y="1895"/>
                    </a:lnTo>
                    <a:cubicBezTo>
                      <a:pt x="31138" y="-1456"/>
                      <a:pt x="37786" y="-243"/>
                      <a:pt x="41136" y="4586"/>
                    </a:cubicBezTo>
                    <a:cubicBezTo>
                      <a:pt x="44476" y="9414"/>
                      <a:pt x="43274" y="16040"/>
                      <a:pt x="38434" y="19380"/>
                    </a:cubicBezTo>
                    <a:lnTo>
                      <a:pt x="16684" y="34419"/>
                    </a:lnTo>
                    <a:cubicBezTo>
                      <a:pt x="14844" y="35695"/>
                      <a:pt x="12728" y="36312"/>
                      <a:pt x="10643" y="36312"/>
                    </a:cubicBezTo>
                    <a:close/>
                  </a:path>
                </a:pathLst>
              </a:custGeom>
              <a:solidFill>
                <a:schemeClr val="tx2"/>
              </a:solidFill>
              <a:ln w="1063" cap="flat">
                <a:noFill/>
                <a:prstDash val="solid"/>
                <a:miter/>
              </a:ln>
            </p:spPr>
            <p:txBody>
              <a:bodyPr rtlCol="0" anchor="ctr"/>
              <a:lstStyle/>
              <a:p>
                <a:endParaRPr lang="en-GB" dirty="0"/>
              </a:p>
            </p:txBody>
          </p:sp>
          <p:sp>
            <p:nvSpPr>
              <p:cNvPr id="275" name="Freeform: Shape 274">
                <a:extLst>
                  <a:ext uri="{FF2B5EF4-FFF2-40B4-BE49-F238E27FC236}">
                    <a16:creationId xmlns:a16="http://schemas.microsoft.com/office/drawing/2014/main" id="{3543A688-22B9-44C2-A0AD-24BF00A84939}"/>
                  </a:ext>
                </a:extLst>
              </p:cNvPr>
              <p:cNvSpPr/>
              <p:nvPr/>
            </p:nvSpPr>
            <p:spPr>
              <a:xfrm>
                <a:off x="3731539" y="1726149"/>
                <a:ext cx="18180" cy="28986"/>
              </a:xfrm>
              <a:custGeom>
                <a:avLst/>
                <a:gdLst>
                  <a:gd name="connsiteX0" fmla="*/ 10636 w 28356"/>
                  <a:gd name="connsiteY0" fmla="*/ 45210 h 45209"/>
                  <a:gd name="connsiteX1" fmla="*/ 7616 w 28356"/>
                  <a:gd name="connsiteY1" fmla="*/ 44763 h 45209"/>
                  <a:gd name="connsiteX2" fmla="*/ 437 w 28356"/>
                  <a:gd name="connsiteY2" fmla="*/ 31543 h 45209"/>
                  <a:gd name="connsiteX3" fmla="*/ 7520 w 28356"/>
                  <a:gd name="connsiteY3" fmla="*/ 7612 h 45209"/>
                  <a:gd name="connsiteX4" fmla="*/ 20741 w 28356"/>
                  <a:gd name="connsiteY4" fmla="*/ 433 h 45209"/>
                  <a:gd name="connsiteX5" fmla="*/ 27920 w 28356"/>
                  <a:gd name="connsiteY5" fmla="*/ 13653 h 45209"/>
                  <a:gd name="connsiteX6" fmla="*/ 20836 w 28356"/>
                  <a:gd name="connsiteY6" fmla="*/ 37584 h 45209"/>
                  <a:gd name="connsiteX7" fmla="*/ 10636 w 28356"/>
                  <a:gd name="connsiteY7" fmla="*/ 45210 h 45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56" h="45209">
                    <a:moveTo>
                      <a:pt x="10636" y="45210"/>
                    </a:moveTo>
                    <a:cubicBezTo>
                      <a:pt x="9637" y="45210"/>
                      <a:pt x="8626" y="45061"/>
                      <a:pt x="7616" y="44763"/>
                    </a:cubicBezTo>
                    <a:cubicBezTo>
                      <a:pt x="1990" y="43093"/>
                      <a:pt x="-1222" y="37180"/>
                      <a:pt x="437" y="31543"/>
                    </a:cubicBezTo>
                    <a:lnTo>
                      <a:pt x="7520" y="7612"/>
                    </a:lnTo>
                    <a:cubicBezTo>
                      <a:pt x="9190" y="1986"/>
                      <a:pt x="15114" y="-1216"/>
                      <a:pt x="20741" y="433"/>
                    </a:cubicBezTo>
                    <a:cubicBezTo>
                      <a:pt x="26367" y="2103"/>
                      <a:pt x="29579" y="8016"/>
                      <a:pt x="27920" y="13653"/>
                    </a:cubicBezTo>
                    <a:lnTo>
                      <a:pt x="20836" y="37584"/>
                    </a:lnTo>
                    <a:cubicBezTo>
                      <a:pt x="19464" y="42211"/>
                      <a:pt x="15231" y="45210"/>
                      <a:pt x="10636" y="45210"/>
                    </a:cubicBezTo>
                    <a:close/>
                  </a:path>
                </a:pathLst>
              </a:custGeom>
              <a:solidFill>
                <a:schemeClr val="tx2"/>
              </a:solidFill>
              <a:ln w="1063" cap="flat">
                <a:noFill/>
                <a:prstDash val="solid"/>
                <a:miter/>
              </a:ln>
            </p:spPr>
            <p:txBody>
              <a:bodyPr rtlCol="0" anchor="ctr"/>
              <a:lstStyle/>
              <a:p>
                <a:endParaRPr lang="en-GB" dirty="0"/>
              </a:p>
            </p:txBody>
          </p:sp>
          <p:sp>
            <p:nvSpPr>
              <p:cNvPr id="276" name="Freeform: Shape 275">
                <a:extLst>
                  <a:ext uri="{FF2B5EF4-FFF2-40B4-BE49-F238E27FC236}">
                    <a16:creationId xmlns:a16="http://schemas.microsoft.com/office/drawing/2014/main" id="{9A42A77A-E65A-4E50-A348-0FB1053664F7}"/>
                  </a:ext>
                </a:extLst>
              </p:cNvPr>
              <p:cNvSpPr/>
              <p:nvPr/>
            </p:nvSpPr>
            <p:spPr>
              <a:xfrm>
                <a:off x="3811911" y="1687605"/>
                <a:ext cx="218166" cy="218213"/>
              </a:xfrm>
              <a:custGeom>
                <a:avLst/>
                <a:gdLst>
                  <a:gd name="connsiteX0" fmla="*/ 170163 w 340275"/>
                  <a:gd name="connsiteY0" fmla="*/ 340347 h 340347"/>
                  <a:gd name="connsiteX1" fmla="*/ 49893 w 340275"/>
                  <a:gd name="connsiteY1" fmla="*/ 290561 h 340347"/>
                  <a:gd name="connsiteX2" fmla="*/ 0 w 340275"/>
                  <a:gd name="connsiteY2" fmla="*/ 170248 h 340347"/>
                  <a:gd name="connsiteX3" fmla="*/ 49808 w 340275"/>
                  <a:gd name="connsiteY3" fmla="*/ 49893 h 340347"/>
                  <a:gd name="connsiteX4" fmla="*/ 170120 w 340275"/>
                  <a:gd name="connsiteY4" fmla="*/ 0 h 340347"/>
                  <a:gd name="connsiteX5" fmla="*/ 170184 w 340275"/>
                  <a:gd name="connsiteY5" fmla="*/ 0 h 340347"/>
                  <a:gd name="connsiteX6" fmla="*/ 290476 w 340275"/>
                  <a:gd name="connsiteY6" fmla="*/ 49797 h 340347"/>
                  <a:gd name="connsiteX7" fmla="*/ 290571 w 340275"/>
                  <a:gd name="connsiteY7" fmla="*/ 290455 h 340347"/>
                  <a:gd name="connsiteX8" fmla="*/ 290571 w 340275"/>
                  <a:gd name="connsiteY8" fmla="*/ 290455 h 340347"/>
                  <a:gd name="connsiteX9" fmla="*/ 170259 w 340275"/>
                  <a:gd name="connsiteY9" fmla="*/ 340337 h 340347"/>
                  <a:gd name="connsiteX10" fmla="*/ 170163 w 340275"/>
                  <a:gd name="connsiteY10" fmla="*/ 340347 h 340347"/>
                  <a:gd name="connsiteX11" fmla="*/ 170174 w 340275"/>
                  <a:gd name="connsiteY11" fmla="*/ 21272 h 340347"/>
                  <a:gd name="connsiteX12" fmla="*/ 170120 w 340275"/>
                  <a:gd name="connsiteY12" fmla="*/ 21272 h 340347"/>
                  <a:gd name="connsiteX13" fmla="*/ 64847 w 340275"/>
                  <a:gd name="connsiteY13" fmla="*/ 64932 h 340347"/>
                  <a:gd name="connsiteX14" fmla="*/ 21272 w 340275"/>
                  <a:gd name="connsiteY14" fmla="*/ 170248 h 340347"/>
                  <a:gd name="connsiteX15" fmla="*/ 64932 w 340275"/>
                  <a:gd name="connsiteY15" fmla="*/ 275511 h 340347"/>
                  <a:gd name="connsiteX16" fmla="*/ 170163 w 340275"/>
                  <a:gd name="connsiteY16" fmla="*/ 319076 h 340347"/>
                  <a:gd name="connsiteX17" fmla="*/ 170238 w 340275"/>
                  <a:gd name="connsiteY17" fmla="*/ 319076 h 340347"/>
                  <a:gd name="connsiteX18" fmla="*/ 275511 w 340275"/>
                  <a:gd name="connsiteY18" fmla="*/ 275426 h 340347"/>
                  <a:gd name="connsiteX19" fmla="*/ 275415 w 340275"/>
                  <a:gd name="connsiteY19" fmla="*/ 64847 h 340347"/>
                  <a:gd name="connsiteX20" fmla="*/ 170174 w 340275"/>
                  <a:gd name="connsiteY20" fmla="*/ 21272 h 340347"/>
                  <a:gd name="connsiteX21" fmla="*/ 283031 w 340275"/>
                  <a:gd name="connsiteY21" fmla="*/ 282935 h 340347"/>
                  <a:gd name="connsiteX22" fmla="*/ 283137 w 340275"/>
                  <a:gd name="connsiteY22" fmla="*/ 282935 h 340347"/>
                  <a:gd name="connsiteX23" fmla="*/ 283031 w 340275"/>
                  <a:gd name="connsiteY23" fmla="*/ 282935 h 340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0275" h="340347">
                    <a:moveTo>
                      <a:pt x="170163" y="340347"/>
                    </a:moveTo>
                    <a:cubicBezTo>
                      <a:pt x="124737" y="340347"/>
                      <a:pt x="82024" y="322671"/>
                      <a:pt x="49893" y="290561"/>
                    </a:cubicBezTo>
                    <a:cubicBezTo>
                      <a:pt x="17741" y="258430"/>
                      <a:pt x="21" y="215706"/>
                      <a:pt x="0" y="170248"/>
                    </a:cubicBezTo>
                    <a:cubicBezTo>
                      <a:pt x="-21" y="124780"/>
                      <a:pt x="17666" y="82034"/>
                      <a:pt x="49808" y="49893"/>
                    </a:cubicBezTo>
                    <a:cubicBezTo>
                      <a:pt x="81939" y="17741"/>
                      <a:pt x="124652" y="21"/>
                      <a:pt x="170120" y="0"/>
                    </a:cubicBezTo>
                    <a:cubicBezTo>
                      <a:pt x="170142" y="0"/>
                      <a:pt x="170163" y="0"/>
                      <a:pt x="170184" y="0"/>
                    </a:cubicBezTo>
                    <a:cubicBezTo>
                      <a:pt x="215610" y="0"/>
                      <a:pt x="258324" y="17687"/>
                      <a:pt x="290476" y="49797"/>
                    </a:cubicBezTo>
                    <a:cubicBezTo>
                      <a:pt x="356833" y="116133"/>
                      <a:pt x="356886" y="224087"/>
                      <a:pt x="290571" y="290455"/>
                    </a:cubicBezTo>
                    <a:cubicBezTo>
                      <a:pt x="290571" y="290455"/>
                      <a:pt x="290571" y="290455"/>
                      <a:pt x="290571" y="290455"/>
                    </a:cubicBezTo>
                    <a:cubicBezTo>
                      <a:pt x="258440" y="322596"/>
                      <a:pt x="215716" y="340315"/>
                      <a:pt x="170259" y="340337"/>
                    </a:cubicBezTo>
                    <a:cubicBezTo>
                      <a:pt x="170216" y="340347"/>
                      <a:pt x="170184" y="340347"/>
                      <a:pt x="170163" y="340347"/>
                    </a:cubicBezTo>
                    <a:close/>
                    <a:moveTo>
                      <a:pt x="170174" y="21272"/>
                    </a:moveTo>
                    <a:cubicBezTo>
                      <a:pt x="170152" y="21272"/>
                      <a:pt x="170142" y="21272"/>
                      <a:pt x="170120" y="21272"/>
                    </a:cubicBezTo>
                    <a:cubicBezTo>
                      <a:pt x="130342" y="21282"/>
                      <a:pt x="92957" y="36789"/>
                      <a:pt x="64847" y="64932"/>
                    </a:cubicBezTo>
                    <a:cubicBezTo>
                      <a:pt x="36725" y="93064"/>
                      <a:pt x="21250" y="130470"/>
                      <a:pt x="21272" y="170248"/>
                    </a:cubicBezTo>
                    <a:cubicBezTo>
                      <a:pt x="21293" y="210026"/>
                      <a:pt x="36800" y="247411"/>
                      <a:pt x="64932" y="275511"/>
                    </a:cubicBezTo>
                    <a:cubicBezTo>
                      <a:pt x="93042" y="303611"/>
                      <a:pt x="130406" y="319076"/>
                      <a:pt x="170163" y="319076"/>
                    </a:cubicBezTo>
                    <a:cubicBezTo>
                      <a:pt x="170184" y="319076"/>
                      <a:pt x="170205" y="319076"/>
                      <a:pt x="170238" y="319076"/>
                    </a:cubicBezTo>
                    <a:cubicBezTo>
                      <a:pt x="210005" y="319065"/>
                      <a:pt x="247401" y="303558"/>
                      <a:pt x="275511" y="275426"/>
                    </a:cubicBezTo>
                    <a:cubicBezTo>
                      <a:pt x="333530" y="217354"/>
                      <a:pt x="333487" y="122887"/>
                      <a:pt x="275415" y="64847"/>
                    </a:cubicBezTo>
                    <a:cubicBezTo>
                      <a:pt x="247305" y="36747"/>
                      <a:pt x="209920" y="21272"/>
                      <a:pt x="170174" y="21272"/>
                    </a:cubicBezTo>
                    <a:close/>
                    <a:moveTo>
                      <a:pt x="283031" y="282935"/>
                    </a:moveTo>
                    <a:lnTo>
                      <a:pt x="283137" y="282935"/>
                    </a:lnTo>
                    <a:lnTo>
                      <a:pt x="283031" y="282935"/>
                    </a:lnTo>
                    <a:close/>
                  </a:path>
                </a:pathLst>
              </a:custGeom>
              <a:solidFill>
                <a:schemeClr val="tx2"/>
              </a:solidFill>
              <a:ln w="1063" cap="flat">
                <a:noFill/>
                <a:prstDash val="solid"/>
                <a:miter/>
              </a:ln>
            </p:spPr>
            <p:txBody>
              <a:bodyPr rtlCol="0" anchor="ctr"/>
              <a:lstStyle/>
              <a:p>
                <a:endParaRPr lang="en-GB" dirty="0"/>
              </a:p>
            </p:txBody>
          </p:sp>
          <p:sp>
            <p:nvSpPr>
              <p:cNvPr id="277" name="Freeform: Shape 276">
                <a:extLst>
                  <a:ext uri="{FF2B5EF4-FFF2-40B4-BE49-F238E27FC236}">
                    <a16:creationId xmlns:a16="http://schemas.microsoft.com/office/drawing/2014/main" id="{B35E3C72-7914-4CBC-A051-41FFDC7D92E1}"/>
                  </a:ext>
                </a:extLst>
              </p:cNvPr>
              <p:cNvSpPr/>
              <p:nvPr/>
            </p:nvSpPr>
            <p:spPr>
              <a:xfrm>
                <a:off x="3805854" y="1864056"/>
                <a:ext cx="47389" cy="47394"/>
              </a:xfrm>
              <a:custGeom>
                <a:avLst/>
                <a:gdLst>
                  <a:gd name="connsiteX0" fmla="*/ 10639 w 73913"/>
                  <a:gd name="connsiteY0" fmla="*/ 73922 h 73921"/>
                  <a:gd name="connsiteX1" fmla="*/ 3119 w 73913"/>
                  <a:gd name="connsiteY1" fmla="*/ 70806 h 73921"/>
                  <a:gd name="connsiteX2" fmla="*/ 3119 w 73913"/>
                  <a:gd name="connsiteY2" fmla="*/ 55766 h 73921"/>
                  <a:gd name="connsiteX3" fmla="*/ 55756 w 73913"/>
                  <a:gd name="connsiteY3" fmla="*/ 3119 h 73921"/>
                  <a:gd name="connsiteX4" fmla="*/ 70795 w 73913"/>
                  <a:gd name="connsiteY4" fmla="*/ 3119 h 73921"/>
                  <a:gd name="connsiteX5" fmla="*/ 70795 w 73913"/>
                  <a:gd name="connsiteY5" fmla="*/ 18158 h 73921"/>
                  <a:gd name="connsiteX6" fmla="*/ 18158 w 73913"/>
                  <a:gd name="connsiteY6" fmla="*/ 70806 h 73921"/>
                  <a:gd name="connsiteX7" fmla="*/ 10639 w 73913"/>
                  <a:gd name="connsiteY7" fmla="*/ 73922 h 73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913" h="73921">
                    <a:moveTo>
                      <a:pt x="10639" y="73922"/>
                    </a:moveTo>
                    <a:cubicBezTo>
                      <a:pt x="7916" y="73922"/>
                      <a:pt x="5193" y="72880"/>
                      <a:pt x="3119" y="70806"/>
                    </a:cubicBezTo>
                    <a:cubicBezTo>
                      <a:pt x="-1040" y="66647"/>
                      <a:pt x="-1040" y="59925"/>
                      <a:pt x="3119" y="55766"/>
                    </a:cubicBezTo>
                    <a:lnTo>
                      <a:pt x="55756" y="3119"/>
                    </a:lnTo>
                    <a:cubicBezTo>
                      <a:pt x="59914" y="-1040"/>
                      <a:pt x="66636" y="-1040"/>
                      <a:pt x="70795" y="3119"/>
                    </a:cubicBezTo>
                    <a:cubicBezTo>
                      <a:pt x="74953" y="7278"/>
                      <a:pt x="74953" y="13999"/>
                      <a:pt x="70795" y="18158"/>
                    </a:cubicBezTo>
                    <a:lnTo>
                      <a:pt x="18158" y="70806"/>
                    </a:lnTo>
                    <a:cubicBezTo>
                      <a:pt x="16084" y="72890"/>
                      <a:pt x="13361" y="73922"/>
                      <a:pt x="10639" y="73922"/>
                    </a:cubicBezTo>
                    <a:close/>
                  </a:path>
                </a:pathLst>
              </a:custGeom>
              <a:solidFill>
                <a:schemeClr val="tx2"/>
              </a:solidFill>
              <a:ln w="1063" cap="flat">
                <a:noFill/>
                <a:prstDash val="solid"/>
                <a:miter/>
              </a:ln>
            </p:spPr>
            <p:txBody>
              <a:bodyPr rtlCol="0" anchor="ctr"/>
              <a:lstStyle/>
              <a:p>
                <a:endParaRPr lang="en-GB" dirty="0"/>
              </a:p>
            </p:txBody>
          </p:sp>
          <p:sp>
            <p:nvSpPr>
              <p:cNvPr id="278" name="Freeform: Shape 277">
                <a:extLst>
                  <a:ext uri="{FF2B5EF4-FFF2-40B4-BE49-F238E27FC236}">
                    <a16:creationId xmlns:a16="http://schemas.microsoft.com/office/drawing/2014/main" id="{66CF32AF-2DEB-4D42-8083-A3E37C6FEAF4}"/>
                  </a:ext>
                </a:extLst>
              </p:cNvPr>
              <p:cNvSpPr/>
              <p:nvPr/>
            </p:nvSpPr>
            <p:spPr>
              <a:xfrm>
                <a:off x="3725362" y="1883429"/>
                <a:ext cx="108603" cy="108521"/>
              </a:xfrm>
              <a:custGeom>
                <a:avLst/>
                <a:gdLst>
                  <a:gd name="connsiteX0" fmla="*/ 42501 w 169389"/>
                  <a:gd name="connsiteY0" fmla="*/ 169262 h 169261"/>
                  <a:gd name="connsiteX1" fmla="*/ 12423 w 169389"/>
                  <a:gd name="connsiteY1" fmla="*/ 156839 h 169261"/>
                  <a:gd name="connsiteX2" fmla="*/ 0 w 169389"/>
                  <a:gd name="connsiteY2" fmla="*/ 126761 h 169261"/>
                  <a:gd name="connsiteX3" fmla="*/ 12423 w 169389"/>
                  <a:gd name="connsiteY3" fmla="*/ 96683 h 169261"/>
                  <a:gd name="connsiteX4" fmla="*/ 106114 w 169389"/>
                  <a:gd name="connsiteY4" fmla="*/ 2991 h 169261"/>
                  <a:gd name="connsiteX5" fmla="*/ 121153 w 169389"/>
                  <a:gd name="connsiteY5" fmla="*/ 2991 h 169261"/>
                  <a:gd name="connsiteX6" fmla="*/ 166271 w 169389"/>
                  <a:gd name="connsiteY6" fmla="*/ 48119 h 169261"/>
                  <a:gd name="connsiteX7" fmla="*/ 166271 w 169389"/>
                  <a:gd name="connsiteY7" fmla="*/ 63158 h 169261"/>
                  <a:gd name="connsiteX8" fmla="*/ 72579 w 169389"/>
                  <a:gd name="connsiteY8" fmla="*/ 156839 h 169261"/>
                  <a:gd name="connsiteX9" fmla="*/ 42501 w 169389"/>
                  <a:gd name="connsiteY9" fmla="*/ 169262 h 169261"/>
                  <a:gd name="connsiteX10" fmla="*/ 113623 w 169389"/>
                  <a:gd name="connsiteY10" fmla="*/ 25550 h 169261"/>
                  <a:gd name="connsiteX11" fmla="*/ 27451 w 169389"/>
                  <a:gd name="connsiteY11" fmla="*/ 111722 h 169261"/>
                  <a:gd name="connsiteX12" fmla="*/ 21261 w 169389"/>
                  <a:gd name="connsiteY12" fmla="*/ 126761 h 169261"/>
                  <a:gd name="connsiteX13" fmla="*/ 27451 w 169389"/>
                  <a:gd name="connsiteY13" fmla="*/ 141800 h 169261"/>
                  <a:gd name="connsiteX14" fmla="*/ 57529 w 169389"/>
                  <a:gd name="connsiteY14" fmla="*/ 141800 h 169261"/>
                  <a:gd name="connsiteX15" fmla="*/ 143701 w 169389"/>
                  <a:gd name="connsiteY15" fmla="*/ 55639 h 169261"/>
                  <a:gd name="connsiteX16" fmla="*/ 113623 w 169389"/>
                  <a:gd name="connsiteY16" fmla="*/ 25550 h 169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9389" h="169261">
                    <a:moveTo>
                      <a:pt x="42501" y="169262"/>
                    </a:moveTo>
                    <a:cubicBezTo>
                      <a:pt x="31121" y="169262"/>
                      <a:pt x="20432" y="164848"/>
                      <a:pt x="12423" y="156839"/>
                    </a:cubicBezTo>
                    <a:cubicBezTo>
                      <a:pt x="4414" y="148830"/>
                      <a:pt x="0" y="138152"/>
                      <a:pt x="0" y="126761"/>
                    </a:cubicBezTo>
                    <a:cubicBezTo>
                      <a:pt x="0" y="115370"/>
                      <a:pt x="4414" y="104691"/>
                      <a:pt x="12423" y="96683"/>
                    </a:cubicBezTo>
                    <a:lnTo>
                      <a:pt x="106114" y="2991"/>
                    </a:lnTo>
                    <a:cubicBezTo>
                      <a:pt x="110102" y="-997"/>
                      <a:pt x="117164" y="-997"/>
                      <a:pt x="121153" y="2991"/>
                    </a:cubicBezTo>
                    <a:lnTo>
                      <a:pt x="166271" y="48119"/>
                    </a:lnTo>
                    <a:cubicBezTo>
                      <a:pt x="170429" y="52278"/>
                      <a:pt x="170429" y="59000"/>
                      <a:pt x="166271" y="63158"/>
                    </a:cubicBezTo>
                    <a:lnTo>
                      <a:pt x="72579" y="156839"/>
                    </a:lnTo>
                    <a:cubicBezTo>
                      <a:pt x="64570" y="164848"/>
                      <a:pt x="53892" y="169262"/>
                      <a:pt x="42501" y="169262"/>
                    </a:cubicBezTo>
                    <a:close/>
                    <a:moveTo>
                      <a:pt x="113623" y="25550"/>
                    </a:moveTo>
                    <a:lnTo>
                      <a:pt x="27451" y="111722"/>
                    </a:lnTo>
                    <a:cubicBezTo>
                      <a:pt x="23452" y="115710"/>
                      <a:pt x="21261" y="121049"/>
                      <a:pt x="21261" y="126761"/>
                    </a:cubicBezTo>
                    <a:cubicBezTo>
                      <a:pt x="21261" y="132472"/>
                      <a:pt x="23452" y="137811"/>
                      <a:pt x="27451" y="141800"/>
                    </a:cubicBezTo>
                    <a:cubicBezTo>
                      <a:pt x="35460" y="149787"/>
                      <a:pt x="49563" y="149777"/>
                      <a:pt x="57529" y="141800"/>
                    </a:cubicBezTo>
                    <a:lnTo>
                      <a:pt x="143701" y="55639"/>
                    </a:lnTo>
                    <a:lnTo>
                      <a:pt x="113623" y="25550"/>
                    </a:lnTo>
                    <a:close/>
                  </a:path>
                </a:pathLst>
              </a:custGeom>
              <a:solidFill>
                <a:schemeClr val="tx2"/>
              </a:solidFill>
              <a:ln w="1063" cap="flat">
                <a:noFill/>
                <a:prstDash val="solid"/>
                <a:miter/>
              </a:ln>
            </p:spPr>
            <p:txBody>
              <a:bodyPr rtlCol="0" anchor="ctr"/>
              <a:lstStyle/>
              <a:p>
                <a:endParaRPr lang="en-GB" dirty="0"/>
              </a:p>
            </p:txBody>
          </p:sp>
          <p:grpSp>
            <p:nvGrpSpPr>
              <p:cNvPr id="279" name="Graphic 818">
                <a:extLst>
                  <a:ext uri="{FF2B5EF4-FFF2-40B4-BE49-F238E27FC236}">
                    <a16:creationId xmlns:a16="http://schemas.microsoft.com/office/drawing/2014/main" id="{A5D9F7F3-055D-41E6-8523-FB6AB7803E51}"/>
                  </a:ext>
                </a:extLst>
              </p:cNvPr>
              <p:cNvGrpSpPr/>
              <p:nvPr/>
            </p:nvGrpSpPr>
            <p:grpSpPr>
              <a:xfrm>
                <a:off x="3924818" y="1797554"/>
                <a:ext cx="249692" cy="243126"/>
                <a:chOff x="6644007" y="347096"/>
                <a:chExt cx="389446" cy="379204"/>
              </a:xfrm>
              <a:solidFill>
                <a:schemeClr val="tx2"/>
              </a:solidFill>
            </p:grpSpPr>
            <p:grpSp>
              <p:nvGrpSpPr>
                <p:cNvPr id="280" name="Graphic 818">
                  <a:extLst>
                    <a:ext uri="{FF2B5EF4-FFF2-40B4-BE49-F238E27FC236}">
                      <a16:creationId xmlns:a16="http://schemas.microsoft.com/office/drawing/2014/main" id="{31E75DC6-E807-4149-8AB4-F3E4E4EC3061}"/>
                    </a:ext>
                  </a:extLst>
                </p:cNvPr>
                <p:cNvGrpSpPr/>
                <p:nvPr/>
              </p:nvGrpSpPr>
              <p:grpSpPr>
                <a:xfrm>
                  <a:off x="6644007" y="375435"/>
                  <a:ext cx="389446" cy="343921"/>
                  <a:chOff x="6644007" y="375435"/>
                  <a:chExt cx="389446" cy="343921"/>
                </a:xfrm>
                <a:solidFill>
                  <a:schemeClr val="accent1"/>
                </a:solidFill>
              </p:grpSpPr>
              <p:grpSp>
                <p:nvGrpSpPr>
                  <p:cNvPr id="283" name="Graphic 818">
                    <a:extLst>
                      <a:ext uri="{FF2B5EF4-FFF2-40B4-BE49-F238E27FC236}">
                        <a16:creationId xmlns:a16="http://schemas.microsoft.com/office/drawing/2014/main" id="{7ECC73F0-3258-4358-A2A2-371A90CF5327}"/>
                      </a:ext>
                    </a:extLst>
                  </p:cNvPr>
                  <p:cNvGrpSpPr/>
                  <p:nvPr/>
                </p:nvGrpSpPr>
                <p:grpSpPr>
                  <a:xfrm>
                    <a:off x="6659169" y="375435"/>
                    <a:ext cx="367543" cy="343921"/>
                    <a:chOff x="6659169" y="375435"/>
                    <a:chExt cx="367543" cy="343921"/>
                  </a:xfrm>
                  <a:solidFill>
                    <a:schemeClr val="accent1"/>
                  </a:solidFill>
                </p:grpSpPr>
                <p:sp>
                  <p:nvSpPr>
                    <p:cNvPr id="286" name="Freeform: Shape 285">
                      <a:extLst>
                        <a:ext uri="{FF2B5EF4-FFF2-40B4-BE49-F238E27FC236}">
                          <a16:creationId xmlns:a16="http://schemas.microsoft.com/office/drawing/2014/main" id="{AB6A1C6C-0267-4528-8BA1-46F684F8D38F}"/>
                        </a:ext>
                      </a:extLst>
                    </p:cNvPr>
                    <p:cNvSpPr/>
                    <p:nvPr/>
                  </p:nvSpPr>
                  <p:spPr>
                    <a:xfrm>
                      <a:off x="6706392" y="517083"/>
                      <a:ext cx="206525" cy="162920"/>
                    </a:xfrm>
                    <a:custGeom>
                      <a:avLst/>
                      <a:gdLst>
                        <a:gd name="connsiteX0" fmla="*/ 152284 w 206525"/>
                        <a:gd name="connsiteY0" fmla="*/ 162920 h 162920"/>
                        <a:gd name="connsiteX1" fmla="*/ 0 w 206525"/>
                        <a:gd name="connsiteY1" fmla="*/ 10636 h 162920"/>
                        <a:gd name="connsiteX2" fmla="*/ 10636 w 206525"/>
                        <a:gd name="connsiteY2" fmla="*/ 0 h 162920"/>
                        <a:gd name="connsiteX3" fmla="*/ 21272 w 206525"/>
                        <a:gd name="connsiteY3" fmla="*/ 10636 h 162920"/>
                        <a:gd name="connsiteX4" fmla="*/ 152284 w 206525"/>
                        <a:gd name="connsiteY4" fmla="*/ 141648 h 162920"/>
                        <a:gd name="connsiteX5" fmla="*/ 192615 w 206525"/>
                        <a:gd name="connsiteY5" fmla="*/ 135331 h 162920"/>
                        <a:gd name="connsiteX6" fmla="*/ 206006 w 206525"/>
                        <a:gd name="connsiteY6" fmla="*/ 142180 h 162920"/>
                        <a:gd name="connsiteX7" fmla="*/ 199156 w 206525"/>
                        <a:gd name="connsiteY7" fmla="*/ 155571 h 162920"/>
                        <a:gd name="connsiteX8" fmla="*/ 152284 w 206525"/>
                        <a:gd name="connsiteY8" fmla="*/ 162920 h 162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525" h="162920">
                          <a:moveTo>
                            <a:pt x="152284" y="162920"/>
                          </a:moveTo>
                          <a:cubicBezTo>
                            <a:pt x="68303" y="162920"/>
                            <a:pt x="0" y="94606"/>
                            <a:pt x="0" y="10636"/>
                          </a:cubicBezTo>
                          <a:cubicBezTo>
                            <a:pt x="0" y="4765"/>
                            <a:pt x="4754" y="0"/>
                            <a:pt x="10636" y="0"/>
                          </a:cubicBezTo>
                          <a:cubicBezTo>
                            <a:pt x="16517" y="0"/>
                            <a:pt x="21272" y="4765"/>
                            <a:pt x="21272" y="10636"/>
                          </a:cubicBezTo>
                          <a:cubicBezTo>
                            <a:pt x="21272" y="82875"/>
                            <a:pt x="80045" y="141648"/>
                            <a:pt x="152284" y="141648"/>
                          </a:cubicBezTo>
                          <a:cubicBezTo>
                            <a:pt x="166079" y="141648"/>
                            <a:pt x="179650" y="139521"/>
                            <a:pt x="192615" y="135331"/>
                          </a:cubicBezTo>
                          <a:cubicBezTo>
                            <a:pt x="198231" y="133554"/>
                            <a:pt x="204208" y="136596"/>
                            <a:pt x="206006" y="142180"/>
                          </a:cubicBezTo>
                          <a:cubicBezTo>
                            <a:pt x="207814" y="147764"/>
                            <a:pt x="204751" y="153763"/>
                            <a:pt x="199156" y="155571"/>
                          </a:cubicBezTo>
                          <a:cubicBezTo>
                            <a:pt x="184085" y="160453"/>
                            <a:pt x="168312" y="162920"/>
                            <a:pt x="152284" y="162920"/>
                          </a:cubicBezTo>
                          <a:close/>
                        </a:path>
                      </a:pathLst>
                    </a:custGeom>
                    <a:solidFill>
                      <a:schemeClr val="accent1"/>
                    </a:solidFill>
                    <a:ln w="1063" cap="flat">
                      <a:noFill/>
                      <a:prstDash val="solid"/>
                      <a:miter/>
                    </a:ln>
                  </p:spPr>
                  <p:txBody>
                    <a:bodyPr rtlCol="0" anchor="ctr"/>
                    <a:lstStyle/>
                    <a:p>
                      <a:endParaRPr lang="en-GB" dirty="0"/>
                    </a:p>
                  </p:txBody>
                </p:sp>
                <p:sp>
                  <p:nvSpPr>
                    <p:cNvPr id="287" name="Freeform: Shape 286">
                      <a:extLst>
                        <a:ext uri="{FF2B5EF4-FFF2-40B4-BE49-F238E27FC236}">
                          <a16:creationId xmlns:a16="http://schemas.microsoft.com/office/drawing/2014/main" id="{E887CBC0-270E-4907-BA5C-05DAFF29A21C}"/>
                        </a:ext>
                      </a:extLst>
                    </p:cNvPr>
                    <p:cNvSpPr/>
                    <p:nvPr/>
                  </p:nvSpPr>
                  <p:spPr>
                    <a:xfrm>
                      <a:off x="6828639" y="375435"/>
                      <a:ext cx="182311" cy="245581"/>
                    </a:xfrm>
                    <a:custGeom>
                      <a:avLst/>
                      <a:gdLst>
                        <a:gd name="connsiteX0" fmla="*/ 145075 w 182311"/>
                        <a:gd name="connsiteY0" fmla="*/ 245582 h 245581"/>
                        <a:gd name="connsiteX1" fmla="*/ 138874 w 182311"/>
                        <a:gd name="connsiteY1" fmla="*/ 243582 h 245581"/>
                        <a:gd name="connsiteX2" fmla="*/ 136449 w 182311"/>
                        <a:gd name="connsiteY2" fmla="*/ 228735 h 245581"/>
                        <a:gd name="connsiteX3" fmla="*/ 161050 w 182311"/>
                        <a:gd name="connsiteY3" fmla="*/ 152284 h 245581"/>
                        <a:gd name="connsiteX4" fmla="*/ 30038 w 182311"/>
                        <a:gd name="connsiteY4" fmla="*/ 21261 h 245581"/>
                        <a:gd name="connsiteX5" fmla="*/ 12084 w 182311"/>
                        <a:gd name="connsiteY5" fmla="*/ 22484 h 245581"/>
                        <a:gd name="connsiteX6" fmla="*/ 97 w 182311"/>
                        <a:gd name="connsiteY6" fmla="*/ 13391 h 245581"/>
                        <a:gd name="connsiteX7" fmla="*/ 9191 w 182311"/>
                        <a:gd name="connsiteY7" fmla="*/ 1415 h 245581"/>
                        <a:gd name="connsiteX8" fmla="*/ 30027 w 182311"/>
                        <a:gd name="connsiteY8" fmla="*/ 0 h 245581"/>
                        <a:gd name="connsiteX9" fmla="*/ 182311 w 182311"/>
                        <a:gd name="connsiteY9" fmla="*/ 152295 h 245581"/>
                        <a:gd name="connsiteX10" fmla="*/ 153701 w 182311"/>
                        <a:gd name="connsiteY10" fmla="*/ 241179 h 245581"/>
                        <a:gd name="connsiteX11" fmla="*/ 145075 w 182311"/>
                        <a:gd name="connsiteY11" fmla="*/ 245582 h 245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82311" h="245581">
                          <a:moveTo>
                            <a:pt x="145075" y="245582"/>
                          </a:moveTo>
                          <a:cubicBezTo>
                            <a:pt x="142926" y="245582"/>
                            <a:pt x="140756" y="244933"/>
                            <a:pt x="138874" y="243582"/>
                          </a:cubicBezTo>
                          <a:cubicBezTo>
                            <a:pt x="134109" y="240147"/>
                            <a:pt x="133024" y="233500"/>
                            <a:pt x="136449" y="228735"/>
                          </a:cubicBezTo>
                          <a:cubicBezTo>
                            <a:pt x="152552" y="206378"/>
                            <a:pt x="161050" y="179948"/>
                            <a:pt x="161050" y="152284"/>
                          </a:cubicBezTo>
                          <a:cubicBezTo>
                            <a:pt x="161050" y="80045"/>
                            <a:pt x="102276" y="21261"/>
                            <a:pt x="30038" y="21261"/>
                          </a:cubicBezTo>
                          <a:cubicBezTo>
                            <a:pt x="24049" y="21261"/>
                            <a:pt x="18008" y="21676"/>
                            <a:pt x="12084" y="22484"/>
                          </a:cubicBezTo>
                          <a:cubicBezTo>
                            <a:pt x="6213" y="23239"/>
                            <a:pt x="895" y="19208"/>
                            <a:pt x="97" y="13391"/>
                          </a:cubicBezTo>
                          <a:cubicBezTo>
                            <a:pt x="-690" y="7573"/>
                            <a:pt x="3384" y="2202"/>
                            <a:pt x="9191" y="1415"/>
                          </a:cubicBezTo>
                          <a:cubicBezTo>
                            <a:pt x="16062" y="479"/>
                            <a:pt x="23071" y="0"/>
                            <a:pt x="30027" y="0"/>
                          </a:cubicBezTo>
                          <a:cubicBezTo>
                            <a:pt x="114007" y="0"/>
                            <a:pt x="182311" y="68314"/>
                            <a:pt x="182311" y="152295"/>
                          </a:cubicBezTo>
                          <a:cubicBezTo>
                            <a:pt x="182311" y="184447"/>
                            <a:pt x="172409" y="215185"/>
                            <a:pt x="153701" y="241179"/>
                          </a:cubicBezTo>
                          <a:cubicBezTo>
                            <a:pt x="151637" y="244050"/>
                            <a:pt x="148372" y="245582"/>
                            <a:pt x="145075" y="245582"/>
                          </a:cubicBezTo>
                          <a:close/>
                        </a:path>
                      </a:pathLst>
                    </a:custGeom>
                    <a:solidFill>
                      <a:schemeClr val="accent1"/>
                    </a:solidFill>
                    <a:ln w="1063" cap="flat">
                      <a:noFill/>
                      <a:prstDash val="solid"/>
                      <a:miter/>
                    </a:ln>
                  </p:spPr>
                  <p:txBody>
                    <a:bodyPr rtlCol="0" anchor="ctr"/>
                    <a:lstStyle/>
                    <a:p>
                      <a:endParaRPr lang="en-GB" dirty="0"/>
                    </a:p>
                  </p:txBody>
                </p:sp>
                <p:sp>
                  <p:nvSpPr>
                    <p:cNvPr id="288" name="Freeform: Shape 287">
                      <a:extLst>
                        <a:ext uri="{FF2B5EF4-FFF2-40B4-BE49-F238E27FC236}">
                          <a16:creationId xmlns:a16="http://schemas.microsoft.com/office/drawing/2014/main" id="{1D002A1B-5527-460B-8F76-226039A816AD}"/>
                        </a:ext>
                      </a:extLst>
                    </p:cNvPr>
                    <p:cNvSpPr/>
                    <p:nvPr/>
                  </p:nvSpPr>
                  <p:spPr>
                    <a:xfrm>
                      <a:off x="6935434" y="391144"/>
                      <a:ext cx="91278" cy="97201"/>
                    </a:xfrm>
                    <a:custGeom>
                      <a:avLst/>
                      <a:gdLst>
                        <a:gd name="connsiteX0" fmla="*/ 56382 w 91278"/>
                        <a:gd name="connsiteY0" fmla="*/ 97201 h 97201"/>
                        <a:gd name="connsiteX1" fmla="*/ 46437 w 91278"/>
                        <a:gd name="connsiteY1" fmla="*/ 90352 h 97201"/>
                        <a:gd name="connsiteX2" fmla="*/ 52574 w 91278"/>
                        <a:gd name="connsiteY2" fmla="*/ 76621 h 97201"/>
                        <a:gd name="connsiteX3" fmla="*/ 70006 w 91278"/>
                        <a:gd name="connsiteY3" fmla="*/ 49999 h 97201"/>
                        <a:gd name="connsiteX4" fmla="*/ 41290 w 91278"/>
                        <a:gd name="connsiteY4" fmla="*/ 21282 h 97201"/>
                        <a:gd name="connsiteX5" fmla="*/ 19018 w 91278"/>
                        <a:gd name="connsiteY5" fmla="*/ 31131 h 97201"/>
                        <a:gd name="connsiteX6" fmla="*/ 4085 w 91278"/>
                        <a:gd name="connsiteY6" fmla="*/ 32950 h 97201"/>
                        <a:gd name="connsiteX7" fmla="*/ 2256 w 91278"/>
                        <a:gd name="connsiteY7" fmla="*/ 18017 h 97201"/>
                        <a:gd name="connsiteX8" fmla="*/ 41290 w 91278"/>
                        <a:gd name="connsiteY8" fmla="*/ 0 h 97201"/>
                        <a:gd name="connsiteX9" fmla="*/ 91278 w 91278"/>
                        <a:gd name="connsiteY9" fmla="*/ 49989 h 97201"/>
                        <a:gd name="connsiteX10" fmla="*/ 60179 w 91278"/>
                        <a:gd name="connsiteY10" fmla="*/ 96488 h 97201"/>
                        <a:gd name="connsiteX11" fmla="*/ 56382 w 91278"/>
                        <a:gd name="connsiteY11" fmla="*/ 97201 h 97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278" h="97201">
                          <a:moveTo>
                            <a:pt x="56382" y="97201"/>
                          </a:moveTo>
                          <a:cubicBezTo>
                            <a:pt x="52106" y="97201"/>
                            <a:pt x="48065" y="94595"/>
                            <a:pt x="46437" y="90352"/>
                          </a:cubicBezTo>
                          <a:cubicBezTo>
                            <a:pt x="44353" y="84863"/>
                            <a:pt x="47097" y="78716"/>
                            <a:pt x="52574" y="76621"/>
                          </a:cubicBezTo>
                          <a:cubicBezTo>
                            <a:pt x="63327" y="72515"/>
                            <a:pt x="70006" y="62315"/>
                            <a:pt x="70006" y="49999"/>
                          </a:cubicBezTo>
                          <a:cubicBezTo>
                            <a:pt x="70006" y="34162"/>
                            <a:pt x="57126" y="21282"/>
                            <a:pt x="41290" y="21282"/>
                          </a:cubicBezTo>
                          <a:cubicBezTo>
                            <a:pt x="34642" y="21282"/>
                            <a:pt x="25389" y="22995"/>
                            <a:pt x="19018" y="31131"/>
                          </a:cubicBezTo>
                          <a:cubicBezTo>
                            <a:pt x="15402" y="35747"/>
                            <a:pt x="8701" y="36566"/>
                            <a:pt x="4085" y="32950"/>
                          </a:cubicBezTo>
                          <a:cubicBezTo>
                            <a:pt x="-541" y="29334"/>
                            <a:pt x="-1360" y="22644"/>
                            <a:pt x="2256" y="18017"/>
                          </a:cubicBezTo>
                          <a:cubicBezTo>
                            <a:pt x="11339" y="6403"/>
                            <a:pt x="25208" y="0"/>
                            <a:pt x="41290" y="0"/>
                          </a:cubicBezTo>
                          <a:cubicBezTo>
                            <a:pt x="68858" y="0"/>
                            <a:pt x="91278" y="22420"/>
                            <a:pt x="91278" y="49989"/>
                          </a:cubicBezTo>
                          <a:cubicBezTo>
                            <a:pt x="91278" y="71016"/>
                            <a:pt x="79079" y="89267"/>
                            <a:pt x="60179" y="96488"/>
                          </a:cubicBezTo>
                          <a:cubicBezTo>
                            <a:pt x="58924" y="96978"/>
                            <a:pt x="57647" y="97201"/>
                            <a:pt x="56382" y="97201"/>
                          </a:cubicBezTo>
                          <a:close/>
                        </a:path>
                      </a:pathLst>
                    </a:custGeom>
                    <a:solidFill>
                      <a:schemeClr val="accent1"/>
                    </a:solidFill>
                    <a:ln w="1063" cap="flat">
                      <a:noFill/>
                      <a:prstDash val="solid"/>
                      <a:miter/>
                    </a:ln>
                  </p:spPr>
                  <p:txBody>
                    <a:bodyPr rtlCol="0" anchor="ctr"/>
                    <a:lstStyle/>
                    <a:p>
                      <a:endParaRPr lang="en-GB" dirty="0"/>
                    </a:p>
                  </p:txBody>
                </p:sp>
                <p:sp>
                  <p:nvSpPr>
                    <p:cNvPr id="289" name="Freeform: Shape 288">
                      <a:extLst>
                        <a:ext uri="{FF2B5EF4-FFF2-40B4-BE49-F238E27FC236}">
                          <a16:creationId xmlns:a16="http://schemas.microsoft.com/office/drawing/2014/main" id="{A3F75438-5C58-458F-B691-4E49413C76F3}"/>
                        </a:ext>
                      </a:extLst>
                    </p:cNvPr>
                    <p:cNvSpPr/>
                    <p:nvPr/>
                  </p:nvSpPr>
                  <p:spPr>
                    <a:xfrm>
                      <a:off x="6659169" y="522571"/>
                      <a:ext cx="192307" cy="196784"/>
                    </a:xfrm>
                    <a:custGeom>
                      <a:avLst/>
                      <a:gdLst>
                        <a:gd name="connsiteX0" fmla="*/ 105072 w 192307"/>
                        <a:gd name="connsiteY0" fmla="*/ 196784 h 196784"/>
                        <a:gd name="connsiteX1" fmla="*/ 0 w 192307"/>
                        <a:gd name="connsiteY1" fmla="*/ 91713 h 196784"/>
                        <a:gd name="connsiteX2" fmla="*/ 51159 w 192307"/>
                        <a:gd name="connsiteY2" fmla="*/ 1510 h 196784"/>
                        <a:gd name="connsiteX3" fmla="*/ 65751 w 192307"/>
                        <a:gd name="connsiteY3" fmla="*/ 5169 h 196784"/>
                        <a:gd name="connsiteX4" fmla="*/ 62081 w 192307"/>
                        <a:gd name="connsiteY4" fmla="*/ 19761 h 196784"/>
                        <a:gd name="connsiteX5" fmla="*/ 21272 w 192307"/>
                        <a:gd name="connsiteY5" fmla="*/ 91713 h 196784"/>
                        <a:gd name="connsiteX6" fmla="*/ 105072 w 192307"/>
                        <a:gd name="connsiteY6" fmla="*/ 175513 h 196784"/>
                        <a:gd name="connsiteX7" fmla="*/ 173056 w 192307"/>
                        <a:gd name="connsiteY7" fmla="*/ 140723 h 196784"/>
                        <a:gd name="connsiteX8" fmla="*/ 187904 w 192307"/>
                        <a:gd name="connsiteY8" fmla="*/ 138330 h 196784"/>
                        <a:gd name="connsiteX9" fmla="*/ 190297 w 192307"/>
                        <a:gd name="connsiteY9" fmla="*/ 153177 h 196784"/>
                        <a:gd name="connsiteX10" fmla="*/ 105072 w 192307"/>
                        <a:gd name="connsiteY10" fmla="*/ 196784 h 196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2307" h="196784">
                          <a:moveTo>
                            <a:pt x="105072" y="196784"/>
                          </a:moveTo>
                          <a:cubicBezTo>
                            <a:pt x="47138" y="196784"/>
                            <a:pt x="0" y="149646"/>
                            <a:pt x="0" y="91713"/>
                          </a:cubicBezTo>
                          <a:cubicBezTo>
                            <a:pt x="0" y="54966"/>
                            <a:pt x="19602" y="20399"/>
                            <a:pt x="51159" y="1510"/>
                          </a:cubicBezTo>
                          <a:cubicBezTo>
                            <a:pt x="56200" y="-1500"/>
                            <a:pt x="62730" y="127"/>
                            <a:pt x="65751" y="5169"/>
                          </a:cubicBezTo>
                          <a:cubicBezTo>
                            <a:pt x="68761" y="10210"/>
                            <a:pt x="67123" y="16741"/>
                            <a:pt x="62081" y="19761"/>
                          </a:cubicBezTo>
                          <a:cubicBezTo>
                            <a:pt x="36534" y="35055"/>
                            <a:pt x="21272" y="61964"/>
                            <a:pt x="21272" y="91713"/>
                          </a:cubicBezTo>
                          <a:cubicBezTo>
                            <a:pt x="21272" y="137915"/>
                            <a:pt x="58859" y="175513"/>
                            <a:pt x="105072" y="175513"/>
                          </a:cubicBezTo>
                          <a:cubicBezTo>
                            <a:pt x="131906" y="175513"/>
                            <a:pt x="157315" y="162505"/>
                            <a:pt x="173056" y="140723"/>
                          </a:cubicBezTo>
                          <a:cubicBezTo>
                            <a:pt x="176480" y="135969"/>
                            <a:pt x="183117" y="134884"/>
                            <a:pt x="187904" y="138330"/>
                          </a:cubicBezTo>
                          <a:cubicBezTo>
                            <a:pt x="192658" y="141765"/>
                            <a:pt x="193732" y="148412"/>
                            <a:pt x="190297" y="153177"/>
                          </a:cubicBezTo>
                          <a:cubicBezTo>
                            <a:pt x="170588" y="180480"/>
                            <a:pt x="138713" y="196784"/>
                            <a:pt x="105072" y="196784"/>
                          </a:cubicBezTo>
                          <a:close/>
                        </a:path>
                      </a:pathLst>
                    </a:custGeom>
                    <a:solidFill>
                      <a:schemeClr val="accent1"/>
                    </a:solidFill>
                    <a:ln w="1063" cap="flat">
                      <a:noFill/>
                      <a:prstDash val="solid"/>
                      <a:miter/>
                    </a:ln>
                  </p:spPr>
                  <p:txBody>
                    <a:bodyPr rtlCol="0" anchor="ctr"/>
                    <a:lstStyle/>
                    <a:p>
                      <a:endParaRPr lang="en-GB" dirty="0"/>
                    </a:p>
                  </p:txBody>
                </p:sp>
                <p:sp>
                  <p:nvSpPr>
                    <p:cNvPr id="290" name="Freeform: Shape 289">
                      <a:extLst>
                        <a:ext uri="{FF2B5EF4-FFF2-40B4-BE49-F238E27FC236}">
                          <a16:creationId xmlns:a16="http://schemas.microsoft.com/office/drawing/2014/main" id="{9BAE94E6-706A-4FB4-AA95-A69F0778DFC5}"/>
                        </a:ext>
                      </a:extLst>
                    </p:cNvPr>
                    <p:cNvSpPr/>
                    <p:nvPr/>
                  </p:nvSpPr>
                  <p:spPr>
                    <a:xfrm>
                      <a:off x="6769345" y="477730"/>
                      <a:ext cx="84236" cy="84225"/>
                    </a:xfrm>
                    <a:custGeom>
                      <a:avLst/>
                      <a:gdLst>
                        <a:gd name="connsiteX0" fmla="*/ 42118 w 84236"/>
                        <a:gd name="connsiteY0" fmla="*/ 84225 h 84225"/>
                        <a:gd name="connsiteX1" fmla="*/ 0 w 84236"/>
                        <a:gd name="connsiteY1" fmla="*/ 42107 h 84225"/>
                        <a:gd name="connsiteX2" fmla="*/ 42118 w 84236"/>
                        <a:gd name="connsiteY2" fmla="*/ 0 h 84225"/>
                        <a:gd name="connsiteX3" fmla="*/ 84236 w 84236"/>
                        <a:gd name="connsiteY3" fmla="*/ 42107 h 84225"/>
                        <a:gd name="connsiteX4" fmla="*/ 42118 w 84236"/>
                        <a:gd name="connsiteY4" fmla="*/ 84225 h 84225"/>
                        <a:gd name="connsiteX5" fmla="*/ 42118 w 84236"/>
                        <a:gd name="connsiteY5" fmla="*/ 21272 h 84225"/>
                        <a:gd name="connsiteX6" fmla="*/ 21272 w 84236"/>
                        <a:gd name="connsiteY6" fmla="*/ 42107 h 84225"/>
                        <a:gd name="connsiteX7" fmla="*/ 42118 w 84236"/>
                        <a:gd name="connsiteY7" fmla="*/ 62954 h 84225"/>
                        <a:gd name="connsiteX8" fmla="*/ 62964 w 84236"/>
                        <a:gd name="connsiteY8" fmla="*/ 42107 h 84225"/>
                        <a:gd name="connsiteX9" fmla="*/ 42118 w 84236"/>
                        <a:gd name="connsiteY9" fmla="*/ 21272 h 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236" h="84225">
                          <a:moveTo>
                            <a:pt x="42118" y="84225"/>
                          </a:moveTo>
                          <a:cubicBezTo>
                            <a:pt x="18890" y="84225"/>
                            <a:pt x="0" y="65336"/>
                            <a:pt x="0" y="42107"/>
                          </a:cubicBezTo>
                          <a:cubicBezTo>
                            <a:pt x="0" y="18889"/>
                            <a:pt x="18890" y="0"/>
                            <a:pt x="42118" y="0"/>
                          </a:cubicBezTo>
                          <a:cubicBezTo>
                            <a:pt x="65347" y="0"/>
                            <a:pt x="84236" y="18889"/>
                            <a:pt x="84236" y="42107"/>
                          </a:cubicBezTo>
                          <a:cubicBezTo>
                            <a:pt x="84236" y="65336"/>
                            <a:pt x="65336" y="84225"/>
                            <a:pt x="42118" y="84225"/>
                          </a:cubicBezTo>
                          <a:close/>
                          <a:moveTo>
                            <a:pt x="42118" y="21272"/>
                          </a:moveTo>
                          <a:cubicBezTo>
                            <a:pt x="30621" y="21272"/>
                            <a:pt x="21272" y="30621"/>
                            <a:pt x="21272" y="42107"/>
                          </a:cubicBezTo>
                          <a:cubicBezTo>
                            <a:pt x="21272" y="53594"/>
                            <a:pt x="30621" y="62954"/>
                            <a:pt x="42118" y="62954"/>
                          </a:cubicBezTo>
                          <a:cubicBezTo>
                            <a:pt x="53616" y="62954"/>
                            <a:pt x="62964" y="53605"/>
                            <a:pt x="62964" y="42107"/>
                          </a:cubicBezTo>
                          <a:cubicBezTo>
                            <a:pt x="62964" y="30610"/>
                            <a:pt x="53616" y="21272"/>
                            <a:pt x="42118" y="21272"/>
                          </a:cubicBezTo>
                          <a:close/>
                        </a:path>
                      </a:pathLst>
                    </a:custGeom>
                    <a:solidFill>
                      <a:schemeClr val="accent1"/>
                    </a:solidFill>
                    <a:ln w="1063" cap="flat">
                      <a:noFill/>
                      <a:prstDash val="solid"/>
                      <a:miter/>
                    </a:ln>
                  </p:spPr>
                  <p:txBody>
                    <a:bodyPr rtlCol="0" anchor="ctr"/>
                    <a:lstStyle/>
                    <a:p>
                      <a:endParaRPr lang="en-GB" dirty="0"/>
                    </a:p>
                  </p:txBody>
                </p:sp>
                <p:sp>
                  <p:nvSpPr>
                    <p:cNvPr id="291" name="Freeform: Shape 290">
                      <a:extLst>
                        <a:ext uri="{FF2B5EF4-FFF2-40B4-BE49-F238E27FC236}">
                          <a16:creationId xmlns:a16="http://schemas.microsoft.com/office/drawing/2014/main" id="{C7D76E04-6641-412C-A7C9-BE4F75C0727F}"/>
                        </a:ext>
                      </a:extLst>
                    </p:cNvPr>
                    <p:cNvSpPr/>
                    <p:nvPr/>
                  </p:nvSpPr>
                  <p:spPr>
                    <a:xfrm>
                      <a:off x="6887394" y="587953"/>
                      <a:ext cx="107828" cy="107791"/>
                    </a:xfrm>
                    <a:custGeom>
                      <a:avLst/>
                      <a:gdLst>
                        <a:gd name="connsiteX0" fmla="*/ 54007 w 107828"/>
                        <a:gd name="connsiteY0" fmla="*/ 107791 h 107791"/>
                        <a:gd name="connsiteX1" fmla="*/ 49402 w 107828"/>
                        <a:gd name="connsiteY1" fmla="*/ 107600 h 107791"/>
                        <a:gd name="connsiteX2" fmla="*/ 190 w 107828"/>
                        <a:gd name="connsiteY2" fmla="*/ 49358 h 107791"/>
                        <a:gd name="connsiteX3" fmla="*/ 21823 w 107828"/>
                        <a:gd name="connsiteY3" fmla="*/ 17397 h 107791"/>
                        <a:gd name="connsiteX4" fmla="*/ 27120 w 107828"/>
                        <a:gd name="connsiteY4" fmla="*/ 12951 h 107791"/>
                        <a:gd name="connsiteX5" fmla="*/ 58411 w 107828"/>
                        <a:gd name="connsiteY5" fmla="*/ 135 h 107791"/>
                        <a:gd name="connsiteX6" fmla="*/ 95094 w 107828"/>
                        <a:gd name="connsiteY6" fmla="*/ 19056 h 107791"/>
                        <a:gd name="connsiteX7" fmla="*/ 107633 w 107828"/>
                        <a:gd name="connsiteY7" fmla="*/ 58377 h 107791"/>
                        <a:gd name="connsiteX8" fmla="*/ 88723 w 107828"/>
                        <a:gd name="connsiteY8" fmla="*/ 95049 h 107791"/>
                        <a:gd name="connsiteX9" fmla="*/ 54007 w 107828"/>
                        <a:gd name="connsiteY9" fmla="*/ 107791 h 107791"/>
                        <a:gd name="connsiteX10" fmla="*/ 55209 w 107828"/>
                        <a:gd name="connsiteY10" fmla="*/ 21279 h 107791"/>
                        <a:gd name="connsiteX11" fmla="*/ 41010 w 107828"/>
                        <a:gd name="connsiteY11" fmla="*/ 29065 h 107791"/>
                        <a:gd name="connsiteX12" fmla="*/ 35352 w 107828"/>
                        <a:gd name="connsiteY12" fmla="*/ 33829 h 107791"/>
                        <a:gd name="connsiteX13" fmla="*/ 21387 w 107828"/>
                        <a:gd name="connsiteY13" fmla="*/ 51145 h 107791"/>
                        <a:gd name="connsiteX14" fmla="*/ 51199 w 107828"/>
                        <a:gd name="connsiteY14" fmla="*/ 86402 h 107791"/>
                        <a:gd name="connsiteX15" fmla="*/ 75003 w 107828"/>
                        <a:gd name="connsiteY15" fmla="*/ 78808 h 107791"/>
                        <a:gd name="connsiteX16" fmla="*/ 86457 w 107828"/>
                        <a:gd name="connsiteY16" fmla="*/ 56601 h 107791"/>
                        <a:gd name="connsiteX17" fmla="*/ 86457 w 107828"/>
                        <a:gd name="connsiteY17" fmla="*/ 56601 h 107791"/>
                        <a:gd name="connsiteX18" fmla="*/ 78863 w 107828"/>
                        <a:gd name="connsiteY18" fmla="*/ 32798 h 107791"/>
                        <a:gd name="connsiteX19" fmla="*/ 56645 w 107828"/>
                        <a:gd name="connsiteY19" fmla="*/ 21343 h 107791"/>
                        <a:gd name="connsiteX20" fmla="*/ 55209 w 107828"/>
                        <a:gd name="connsiteY20" fmla="*/ 21279 h 10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7828" h="107791">
                          <a:moveTo>
                            <a:pt x="54007" y="107791"/>
                          </a:moveTo>
                          <a:cubicBezTo>
                            <a:pt x="52476" y="107791"/>
                            <a:pt x="50955" y="107727"/>
                            <a:pt x="49402" y="107600"/>
                          </a:cubicBezTo>
                          <a:cubicBezTo>
                            <a:pt x="19792" y="105111"/>
                            <a:pt x="-2288" y="78989"/>
                            <a:pt x="190" y="49358"/>
                          </a:cubicBezTo>
                          <a:cubicBezTo>
                            <a:pt x="1466" y="34159"/>
                            <a:pt x="13240" y="24470"/>
                            <a:pt x="21823" y="17397"/>
                          </a:cubicBezTo>
                          <a:lnTo>
                            <a:pt x="27120" y="12951"/>
                          </a:lnTo>
                          <a:cubicBezTo>
                            <a:pt x="34778" y="6357"/>
                            <a:pt x="43510" y="-1099"/>
                            <a:pt x="58411" y="135"/>
                          </a:cubicBezTo>
                          <a:cubicBezTo>
                            <a:pt x="72780" y="1337"/>
                            <a:pt x="85798" y="8059"/>
                            <a:pt x="95094" y="19056"/>
                          </a:cubicBezTo>
                          <a:cubicBezTo>
                            <a:pt x="104390" y="30054"/>
                            <a:pt x="108846" y="44019"/>
                            <a:pt x="107633" y="58377"/>
                          </a:cubicBezTo>
                          <a:cubicBezTo>
                            <a:pt x="106442" y="72725"/>
                            <a:pt x="99720" y="85754"/>
                            <a:pt x="88723" y="95049"/>
                          </a:cubicBezTo>
                          <a:cubicBezTo>
                            <a:pt x="78895" y="103345"/>
                            <a:pt x="66717" y="107791"/>
                            <a:pt x="54007" y="107791"/>
                          </a:cubicBezTo>
                          <a:close/>
                          <a:moveTo>
                            <a:pt x="55209" y="21279"/>
                          </a:moveTo>
                          <a:cubicBezTo>
                            <a:pt x="50264" y="21279"/>
                            <a:pt x="47232" y="23715"/>
                            <a:pt x="41010" y="29065"/>
                          </a:cubicBezTo>
                          <a:lnTo>
                            <a:pt x="35352" y="33829"/>
                          </a:lnTo>
                          <a:cubicBezTo>
                            <a:pt x="28747" y="39264"/>
                            <a:pt x="21908" y="44901"/>
                            <a:pt x="21387" y="51145"/>
                          </a:cubicBezTo>
                          <a:cubicBezTo>
                            <a:pt x="19887" y="69077"/>
                            <a:pt x="33257" y="84892"/>
                            <a:pt x="51199" y="86402"/>
                          </a:cubicBezTo>
                          <a:cubicBezTo>
                            <a:pt x="59847" y="87168"/>
                            <a:pt x="68334" y="84435"/>
                            <a:pt x="75003" y="78808"/>
                          </a:cubicBezTo>
                          <a:cubicBezTo>
                            <a:pt x="81661" y="73182"/>
                            <a:pt x="85734" y="65290"/>
                            <a:pt x="86457" y="56601"/>
                          </a:cubicBezTo>
                          <a:cubicBezTo>
                            <a:pt x="86457" y="56601"/>
                            <a:pt x="86457" y="56601"/>
                            <a:pt x="86457" y="56601"/>
                          </a:cubicBezTo>
                          <a:cubicBezTo>
                            <a:pt x="87181" y="47911"/>
                            <a:pt x="84479" y="39456"/>
                            <a:pt x="78863" y="32798"/>
                          </a:cubicBezTo>
                          <a:cubicBezTo>
                            <a:pt x="73237" y="26140"/>
                            <a:pt x="65345" y="22066"/>
                            <a:pt x="56645" y="21343"/>
                          </a:cubicBezTo>
                          <a:cubicBezTo>
                            <a:pt x="56156" y="21300"/>
                            <a:pt x="55677" y="21279"/>
                            <a:pt x="55209" y="21279"/>
                          </a:cubicBezTo>
                          <a:close/>
                        </a:path>
                      </a:pathLst>
                    </a:custGeom>
                    <a:solidFill>
                      <a:schemeClr val="accent1"/>
                    </a:solidFill>
                    <a:ln w="1063" cap="flat">
                      <a:noFill/>
                      <a:prstDash val="solid"/>
                      <a:miter/>
                    </a:ln>
                  </p:spPr>
                  <p:txBody>
                    <a:bodyPr rtlCol="0" anchor="ctr"/>
                    <a:lstStyle/>
                    <a:p>
                      <a:endParaRPr lang="en-GB" dirty="0"/>
                    </a:p>
                  </p:txBody>
                </p:sp>
              </p:grpSp>
              <p:sp>
                <p:nvSpPr>
                  <p:cNvPr id="284" name="Freeform: Shape 283">
                    <a:extLst>
                      <a:ext uri="{FF2B5EF4-FFF2-40B4-BE49-F238E27FC236}">
                        <a16:creationId xmlns:a16="http://schemas.microsoft.com/office/drawing/2014/main" id="{68BB9284-F2F8-44F9-9FBE-B86CA5563842}"/>
                      </a:ext>
                    </a:extLst>
                  </p:cNvPr>
                  <p:cNvSpPr/>
                  <p:nvPr/>
                </p:nvSpPr>
                <p:spPr>
                  <a:xfrm>
                    <a:off x="6989669" y="538673"/>
                    <a:ext cx="43783" cy="25229"/>
                  </a:xfrm>
                  <a:custGeom>
                    <a:avLst/>
                    <a:gdLst>
                      <a:gd name="connsiteX0" fmla="*/ 33161 w 43783"/>
                      <a:gd name="connsiteY0" fmla="*/ 25229 h 25229"/>
                      <a:gd name="connsiteX1" fmla="*/ 31310 w 43783"/>
                      <a:gd name="connsiteY1" fmla="*/ 25069 h 25229"/>
                      <a:gd name="connsiteX2" fmla="*/ 8805 w 43783"/>
                      <a:gd name="connsiteY2" fmla="*/ 21124 h 25229"/>
                      <a:gd name="connsiteX3" fmla="*/ 158 w 43783"/>
                      <a:gd name="connsiteY3" fmla="*/ 8818 h 25229"/>
                      <a:gd name="connsiteX4" fmla="*/ 12474 w 43783"/>
                      <a:gd name="connsiteY4" fmla="*/ 171 h 25229"/>
                      <a:gd name="connsiteX5" fmla="*/ 34980 w 43783"/>
                      <a:gd name="connsiteY5" fmla="*/ 4117 h 25229"/>
                      <a:gd name="connsiteX6" fmla="*/ 43626 w 43783"/>
                      <a:gd name="connsiteY6" fmla="*/ 16423 h 25229"/>
                      <a:gd name="connsiteX7" fmla="*/ 33161 w 43783"/>
                      <a:gd name="connsiteY7" fmla="*/ 25229 h 25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783" h="25229">
                        <a:moveTo>
                          <a:pt x="33161" y="25229"/>
                        </a:moveTo>
                        <a:cubicBezTo>
                          <a:pt x="32555" y="25229"/>
                          <a:pt x="31938" y="25176"/>
                          <a:pt x="31310" y="25069"/>
                        </a:cubicBezTo>
                        <a:lnTo>
                          <a:pt x="8805" y="21124"/>
                        </a:lnTo>
                        <a:cubicBezTo>
                          <a:pt x="3019" y="20113"/>
                          <a:pt x="-842" y="14604"/>
                          <a:pt x="158" y="8818"/>
                        </a:cubicBezTo>
                        <a:cubicBezTo>
                          <a:pt x="1168" y="3043"/>
                          <a:pt x="6614" y="-882"/>
                          <a:pt x="12474" y="171"/>
                        </a:cubicBezTo>
                        <a:lnTo>
                          <a:pt x="34980" y="4117"/>
                        </a:lnTo>
                        <a:cubicBezTo>
                          <a:pt x="40765" y="5127"/>
                          <a:pt x="44626" y="10637"/>
                          <a:pt x="43626" y="16423"/>
                        </a:cubicBezTo>
                        <a:cubicBezTo>
                          <a:pt x="42722" y="21592"/>
                          <a:pt x="38223" y="25229"/>
                          <a:pt x="33161" y="25229"/>
                        </a:cubicBezTo>
                        <a:close/>
                      </a:path>
                    </a:pathLst>
                  </a:custGeom>
                  <a:solidFill>
                    <a:schemeClr val="accent1"/>
                  </a:solidFill>
                  <a:ln w="1063" cap="flat">
                    <a:noFill/>
                    <a:prstDash val="solid"/>
                    <a:miter/>
                  </a:ln>
                </p:spPr>
                <p:txBody>
                  <a:bodyPr rtlCol="0" anchor="ctr"/>
                  <a:lstStyle/>
                  <a:p>
                    <a:endParaRPr lang="en-GB" dirty="0"/>
                  </a:p>
                </p:txBody>
              </p:sp>
              <p:sp>
                <p:nvSpPr>
                  <p:cNvPr id="285" name="Freeform: Shape 284">
                    <a:extLst>
                      <a:ext uri="{FF2B5EF4-FFF2-40B4-BE49-F238E27FC236}">
                        <a16:creationId xmlns:a16="http://schemas.microsoft.com/office/drawing/2014/main" id="{2A858E99-4C8A-4E3E-A038-5B6A064DA3B9}"/>
                      </a:ext>
                    </a:extLst>
                  </p:cNvPr>
                  <p:cNvSpPr/>
                  <p:nvPr/>
                </p:nvSpPr>
                <p:spPr>
                  <a:xfrm>
                    <a:off x="6644007" y="562780"/>
                    <a:ext cx="37768" cy="28148"/>
                  </a:xfrm>
                  <a:custGeom>
                    <a:avLst/>
                    <a:gdLst>
                      <a:gd name="connsiteX0" fmla="*/ 27127 w 37768"/>
                      <a:gd name="connsiteY0" fmla="*/ 28148 h 28148"/>
                      <a:gd name="connsiteX1" fmla="*/ 23032 w 37768"/>
                      <a:gd name="connsiteY1" fmla="*/ 27329 h 28148"/>
                      <a:gd name="connsiteX2" fmla="*/ 6547 w 37768"/>
                      <a:gd name="connsiteY2" fmla="*/ 20458 h 28148"/>
                      <a:gd name="connsiteX3" fmla="*/ 825 w 37768"/>
                      <a:gd name="connsiteY3" fmla="*/ 6547 h 28148"/>
                      <a:gd name="connsiteX4" fmla="*/ 14737 w 37768"/>
                      <a:gd name="connsiteY4" fmla="*/ 814 h 28148"/>
                      <a:gd name="connsiteX5" fmla="*/ 31222 w 37768"/>
                      <a:gd name="connsiteY5" fmla="*/ 7685 h 28148"/>
                      <a:gd name="connsiteX6" fmla="*/ 36944 w 37768"/>
                      <a:gd name="connsiteY6" fmla="*/ 21596 h 28148"/>
                      <a:gd name="connsiteX7" fmla="*/ 27127 w 37768"/>
                      <a:gd name="connsiteY7" fmla="*/ 28148 h 28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768" h="28148">
                        <a:moveTo>
                          <a:pt x="27127" y="28148"/>
                        </a:moveTo>
                        <a:cubicBezTo>
                          <a:pt x="25755" y="28148"/>
                          <a:pt x="24372" y="27882"/>
                          <a:pt x="23032" y="27329"/>
                        </a:cubicBezTo>
                        <a:lnTo>
                          <a:pt x="6547" y="20458"/>
                        </a:lnTo>
                        <a:cubicBezTo>
                          <a:pt x="1122" y="18204"/>
                          <a:pt x="-1441" y="11971"/>
                          <a:pt x="825" y="6547"/>
                        </a:cubicBezTo>
                        <a:cubicBezTo>
                          <a:pt x="3090" y="1122"/>
                          <a:pt x="9333" y="-1430"/>
                          <a:pt x="14737" y="814"/>
                        </a:cubicBezTo>
                        <a:lnTo>
                          <a:pt x="31222" y="7685"/>
                        </a:lnTo>
                        <a:cubicBezTo>
                          <a:pt x="36646" y="9940"/>
                          <a:pt x="39209" y="16172"/>
                          <a:pt x="36944" y="21596"/>
                        </a:cubicBezTo>
                        <a:cubicBezTo>
                          <a:pt x="35242" y="25681"/>
                          <a:pt x="31296" y="28148"/>
                          <a:pt x="27127" y="28148"/>
                        </a:cubicBezTo>
                        <a:close/>
                      </a:path>
                    </a:pathLst>
                  </a:custGeom>
                  <a:solidFill>
                    <a:schemeClr val="accent1"/>
                  </a:solidFill>
                  <a:ln w="1063" cap="flat">
                    <a:noFill/>
                    <a:prstDash val="solid"/>
                    <a:miter/>
                  </a:ln>
                </p:spPr>
                <p:txBody>
                  <a:bodyPr rtlCol="0" anchor="ctr"/>
                  <a:lstStyle/>
                  <a:p>
                    <a:endParaRPr lang="en-GB" dirty="0"/>
                  </a:p>
                </p:txBody>
              </p:sp>
            </p:grpSp>
            <p:sp>
              <p:nvSpPr>
                <p:cNvPr id="281" name="Freeform: Shape 280">
                  <a:extLst>
                    <a:ext uri="{FF2B5EF4-FFF2-40B4-BE49-F238E27FC236}">
                      <a16:creationId xmlns:a16="http://schemas.microsoft.com/office/drawing/2014/main" id="{D7E6E258-89CF-4A48-A195-829B660894C1}"/>
                    </a:ext>
                  </a:extLst>
                </p:cNvPr>
                <p:cNvSpPr/>
                <p:nvPr/>
              </p:nvSpPr>
              <p:spPr>
                <a:xfrm>
                  <a:off x="6803186" y="687021"/>
                  <a:ext cx="32529" cy="39280"/>
                </a:xfrm>
                <a:custGeom>
                  <a:avLst/>
                  <a:gdLst>
                    <a:gd name="connsiteX0" fmla="*/ 21912 w 32529"/>
                    <a:gd name="connsiteY0" fmla="*/ 39280 h 39280"/>
                    <a:gd name="connsiteX1" fmla="*/ 12883 w 32529"/>
                    <a:gd name="connsiteY1" fmla="*/ 34281 h 39280"/>
                    <a:gd name="connsiteX2" fmla="*/ 1619 w 32529"/>
                    <a:gd name="connsiteY2" fmla="*/ 16275 h 39280"/>
                    <a:gd name="connsiteX3" fmla="*/ 4991 w 32529"/>
                    <a:gd name="connsiteY3" fmla="*/ 1619 h 39280"/>
                    <a:gd name="connsiteX4" fmla="*/ 19647 w 32529"/>
                    <a:gd name="connsiteY4" fmla="*/ 5001 h 39280"/>
                    <a:gd name="connsiteX5" fmla="*/ 30910 w 32529"/>
                    <a:gd name="connsiteY5" fmla="*/ 23007 h 39280"/>
                    <a:gd name="connsiteX6" fmla="*/ 27539 w 32529"/>
                    <a:gd name="connsiteY6" fmla="*/ 37664 h 39280"/>
                    <a:gd name="connsiteX7" fmla="*/ 21912 w 32529"/>
                    <a:gd name="connsiteY7" fmla="*/ 39280 h 39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29" h="39280">
                      <a:moveTo>
                        <a:pt x="21912" y="39280"/>
                      </a:moveTo>
                      <a:cubicBezTo>
                        <a:pt x="18370" y="39280"/>
                        <a:pt x="14903" y="37504"/>
                        <a:pt x="12883" y="34281"/>
                      </a:cubicBezTo>
                      <a:lnTo>
                        <a:pt x="1619" y="16275"/>
                      </a:lnTo>
                      <a:cubicBezTo>
                        <a:pt x="-1497" y="11297"/>
                        <a:pt x="24" y="4735"/>
                        <a:pt x="4991" y="1619"/>
                      </a:cubicBezTo>
                      <a:cubicBezTo>
                        <a:pt x="9979" y="-1498"/>
                        <a:pt x="16530" y="23"/>
                        <a:pt x="19647" y="5001"/>
                      </a:cubicBezTo>
                      <a:lnTo>
                        <a:pt x="30910" y="23007"/>
                      </a:lnTo>
                      <a:cubicBezTo>
                        <a:pt x="34027" y="27985"/>
                        <a:pt x="32505" y="34547"/>
                        <a:pt x="27539" y="37664"/>
                      </a:cubicBezTo>
                      <a:cubicBezTo>
                        <a:pt x="25784" y="38770"/>
                        <a:pt x="23837" y="39280"/>
                        <a:pt x="21912" y="39280"/>
                      </a:cubicBezTo>
                      <a:close/>
                    </a:path>
                  </a:pathLst>
                </a:custGeom>
                <a:solidFill>
                  <a:schemeClr val="accent1"/>
                </a:solidFill>
                <a:ln w="1063" cap="flat">
                  <a:noFill/>
                  <a:prstDash val="solid"/>
                  <a:miter/>
                </a:ln>
              </p:spPr>
              <p:txBody>
                <a:bodyPr rtlCol="0" anchor="ctr"/>
                <a:lstStyle/>
                <a:p>
                  <a:endParaRPr lang="en-GB" dirty="0"/>
                </a:p>
              </p:txBody>
            </p:sp>
            <p:sp>
              <p:nvSpPr>
                <p:cNvPr id="282" name="Freeform: Shape 281">
                  <a:extLst>
                    <a:ext uri="{FF2B5EF4-FFF2-40B4-BE49-F238E27FC236}">
                      <a16:creationId xmlns:a16="http://schemas.microsoft.com/office/drawing/2014/main" id="{F47186D5-CA55-4D3D-BC85-B120C4E7BC40}"/>
                    </a:ext>
                  </a:extLst>
                </p:cNvPr>
                <p:cNvSpPr/>
                <p:nvPr/>
              </p:nvSpPr>
              <p:spPr>
                <a:xfrm>
                  <a:off x="6859473" y="347096"/>
                  <a:ext cx="24644" cy="49418"/>
                </a:xfrm>
                <a:custGeom>
                  <a:avLst/>
                  <a:gdLst>
                    <a:gd name="connsiteX0" fmla="*/ 10647 w 24644"/>
                    <a:gd name="connsiteY0" fmla="*/ 49419 h 49418"/>
                    <a:gd name="connsiteX1" fmla="*/ 9371 w 24644"/>
                    <a:gd name="connsiteY1" fmla="*/ 49344 h 49418"/>
                    <a:gd name="connsiteX2" fmla="*/ 75 w 24644"/>
                    <a:gd name="connsiteY2" fmla="*/ 37517 h 49418"/>
                    <a:gd name="connsiteX3" fmla="*/ 3447 w 24644"/>
                    <a:gd name="connsiteY3" fmla="*/ 9375 h 49418"/>
                    <a:gd name="connsiteX4" fmla="*/ 15274 w 24644"/>
                    <a:gd name="connsiteY4" fmla="*/ 79 h 49418"/>
                    <a:gd name="connsiteX5" fmla="*/ 24569 w 24644"/>
                    <a:gd name="connsiteY5" fmla="*/ 11906 h 49418"/>
                    <a:gd name="connsiteX6" fmla="*/ 21198 w 24644"/>
                    <a:gd name="connsiteY6" fmla="*/ 40038 h 49418"/>
                    <a:gd name="connsiteX7" fmla="*/ 10647 w 24644"/>
                    <a:gd name="connsiteY7" fmla="*/ 49419 h 49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44" h="49418">
                      <a:moveTo>
                        <a:pt x="10647" y="49419"/>
                      </a:moveTo>
                      <a:cubicBezTo>
                        <a:pt x="10232" y="49419"/>
                        <a:pt x="9796" y="49397"/>
                        <a:pt x="9371" y="49344"/>
                      </a:cubicBezTo>
                      <a:cubicBezTo>
                        <a:pt x="3542" y="48653"/>
                        <a:pt x="-616" y="43356"/>
                        <a:pt x="75" y="37517"/>
                      </a:cubicBezTo>
                      <a:lnTo>
                        <a:pt x="3447" y="9375"/>
                      </a:lnTo>
                      <a:cubicBezTo>
                        <a:pt x="4149" y="3557"/>
                        <a:pt x="9456" y="-634"/>
                        <a:pt x="15274" y="79"/>
                      </a:cubicBezTo>
                      <a:cubicBezTo>
                        <a:pt x="21102" y="770"/>
                        <a:pt x="25261" y="6067"/>
                        <a:pt x="24569" y="11906"/>
                      </a:cubicBezTo>
                      <a:lnTo>
                        <a:pt x="21198" y="40038"/>
                      </a:lnTo>
                      <a:cubicBezTo>
                        <a:pt x="20549" y="45452"/>
                        <a:pt x="15955" y="49419"/>
                        <a:pt x="10647" y="49419"/>
                      </a:cubicBezTo>
                      <a:close/>
                    </a:path>
                  </a:pathLst>
                </a:custGeom>
                <a:solidFill>
                  <a:schemeClr val="accent1"/>
                </a:solidFill>
                <a:ln w="1063" cap="flat">
                  <a:noFill/>
                  <a:prstDash val="solid"/>
                  <a:miter/>
                </a:ln>
              </p:spPr>
              <p:txBody>
                <a:bodyPr rtlCol="0" anchor="ctr"/>
                <a:lstStyle/>
                <a:p>
                  <a:endParaRPr lang="en-GB" dirty="0"/>
                </a:p>
              </p:txBody>
            </p:sp>
          </p:grpSp>
        </p:grpSp>
      </p:grpSp>
      <p:grpSp>
        <p:nvGrpSpPr>
          <p:cNvPr id="35" name="Group 34">
            <a:extLst>
              <a:ext uri="{FF2B5EF4-FFF2-40B4-BE49-F238E27FC236}">
                <a16:creationId xmlns:a16="http://schemas.microsoft.com/office/drawing/2014/main" id="{AD8EEDDB-2787-852E-348A-964258BF2265}"/>
              </a:ext>
            </a:extLst>
          </p:cNvPr>
          <p:cNvGrpSpPr/>
          <p:nvPr/>
        </p:nvGrpSpPr>
        <p:grpSpPr>
          <a:xfrm>
            <a:off x="3784615" y="4053731"/>
            <a:ext cx="345474" cy="440772"/>
            <a:chOff x="3784615" y="4053731"/>
            <a:chExt cx="345474" cy="440772"/>
          </a:xfrm>
        </p:grpSpPr>
        <p:grpSp>
          <p:nvGrpSpPr>
            <p:cNvPr id="295" name="Group 294">
              <a:extLst>
                <a:ext uri="{FF2B5EF4-FFF2-40B4-BE49-F238E27FC236}">
                  <a16:creationId xmlns:a16="http://schemas.microsoft.com/office/drawing/2014/main" id="{10A6EE52-174A-45C9-A6B1-0AD6508D964B}"/>
                </a:ext>
              </a:extLst>
            </p:cNvPr>
            <p:cNvGrpSpPr/>
            <p:nvPr/>
          </p:nvGrpSpPr>
          <p:grpSpPr>
            <a:xfrm>
              <a:off x="3885875" y="4226464"/>
              <a:ext cx="142955" cy="268039"/>
              <a:chOff x="1755354" y="2541448"/>
              <a:chExt cx="163660" cy="306861"/>
            </a:xfrm>
            <a:solidFill>
              <a:schemeClr val="tx2"/>
            </a:solidFill>
          </p:grpSpPr>
          <p:sp>
            <p:nvSpPr>
              <p:cNvPr id="309" name="Freeform: Shape 308">
                <a:extLst>
                  <a:ext uri="{FF2B5EF4-FFF2-40B4-BE49-F238E27FC236}">
                    <a16:creationId xmlns:a16="http://schemas.microsoft.com/office/drawing/2014/main" id="{6857757F-C0CE-4253-85C3-34FAD8D02D71}"/>
                  </a:ext>
                </a:extLst>
              </p:cNvPr>
              <p:cNvSpPr/>
              <p:nvPr/>
            </p:nvSpPr>
            <p:spPr>
              <a:xfrm>
                <a:off x="1755354" y="2541448"/>
                <a:ext cx="163660" cy="306861"/>
              </a:xfrm>
              <a:custGeom>
                <a:avLst/>
                <a:gdLst>
                  <a:gd name="connsiteX0" fmla="*/ 129375 w 255260"/>
                  <a:gd name="connsiteY0" fmla="*/ 478614 h 478613"/>
                  <a:gd name="connsiteX1" fmla="*/ 125875 w 255260"/>
                  <a:gd name="connsiteY1" fmla="*/ 478614 h 478613"/>
                  <a:gd name="connsiteX2" fmla="*/ 42543 w 255260"/>
                  <a:gd name="connsiteY2" fmla="*/ 395282 h 478613"/>
                  <a:gd name="connsiteX3" fmla="*/ 42543 w 255260"/>
                  <a:gd name="connsiteY3" fmla="*/ 116994 h 478613"/>
                  <a:gd name="connsiteX4" fmla="*/ 10636 w 255260"/>
                  <a:gd name="connsiteY4" fmla="*/ 85087 h 478613"/>
                  <a:gd name="connsiteX5" fmla="*/ 0 w 255260"/>
                  <a:gd name="connsiteY5" fmla="*/ 74451 h 478613"/>
                  <a:gd name="connsiteX6" fmla="*/ 0 w 255260"/>
                  <a:gd name="connsiteY6" fmla="*/ 10636 h 478613"/>
                  <a:gd name="connsiteX7" fmla="*/ 10636 w 255260"/>
                  <a:gd name="connsiteY7" fmla="*/ 0 h 478613"/>
                  <a:gd name="connsiteX8" fmla="*/ 244625 w 255260"/>
                  <a:gd name="connsiteY8" fmla="*/ 0 h 478613"/>
                  <a:gd name="connsiteX9" fmla="*/ 255261 w 255260"/>
                  <a:gd name="connsiteY9" fmla="*/ 10636 h 478613"/>
                  <a:gd name="connsiteX10" fmla="*/ 255261 w 255260"/>
                  <a:gd name="connsiteY10" fmla="*/ 74451 h 478613"/>
                  <a:gd name="connsiteX11" fmla="*/ 244625 w 255260"/>
                  <a:gd name="connsiteY11" fmla="*/ 85087 h 478613"/>
                  <a:gd name="connsiteX12" fmla="*/ 212717 w 255260"/>
                  <a:gd name="connsiteY12" fmla="*/ 116994 h 478613"/>
                  <a:gd name="connsiteX13" fmla="*/ 212717 w 255260"/>
                  <a:gd name="connsiteY13" fmla="*/ 395282 h 478613"/>
                  <a:gd name="connsiteX14" fmla="*/ 129375 w 255260"/>
                  <a:gd name="connsiteY14" fmla="*/ 478614 h 478613"/>
                  <a:gd name="connsiteX15" fmla="*/ 21272 w 255260"/>
                  <a:gd name="connsiteY15" fmla="*/ 64889 h 478613"/>
                  <a:gd name="connsiteX16" fmla="*/ 63815 w 255260"/>
                  <a:gd name="connsiteY16" fmla="*/ 116994 h 478613"/>
                  <a:gd name="connsiteX17" fmla="*/ 63815 w 255260"/>
                  <a:gd name="connsiteY17" fmla="*/ 395282 h 478613"/>
                  <a:gd name="connsiteX18" fmla="*/ 125875 w 255260"/>
                  <a:gd name="connsiteY18" fmla="*/ 457342 h 478613"/>
                  <a:gd name="connsiteX19" fmla="*/ 129375 w 255260"/>
                  <a:gd name="connsiteY19" fmla="*/ 457342 h 478613"/>
                  <a:gd name="connsiteX20" fmla="*/ 191435 w 255260"/>
                  <a:gd name="connsiteY20" fmla="*/ 395282 h 478613"/>
                  <a:gd name="connsiteX21" fmla="*/ 191435 w 255260"/>
                  <a:gd name="connsiteY21" fmla="*/ 116994 h 478613"/>
                  <a:gd name="connsiteX22" fmla="*/ 233978 w 255260"/>
                  <a:gd name="connsiteY22" fmla="*/ 64889 h 478613"/>
                  <a:gd name="connsiteX23" fmla="*/ 233978 w 255260"/>
                  <a:gd name="connsiteY23" fmla="*/ 21272 h 478613"/>
                  <a:gd name="connsiteX24" fmla="*/ 21261 w 255260"/>
                  <a:gd name="connsiteY24" fmla="*/ 21272 h 478613"/>
                  <a:gd name="connsiteX25" fmla="*/ 21261 w 255260"/>
                  <a:gd name="connsiteY25" fmla="*/ 64889 h 47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5260" h="478613">
                    <a:moveTo>
                      <a:pt x="129375" y="478614"/>
                    </a:moveTo>
                    <a:lnTo>
                      <a:pt x="125875" y="478614"/>
                    </a:lnTo>
                    <a:cubicBezTo>
                      <a:pt x="79928" y="478614"/>
                      <a:pt x="42543" y="441228"/>
                      <a:pt x="42543" y="395282"/>
                    </a:cubicBezTo>
                    <a:lnTo>
                      <a:pt x="42543" y="116994"/>
                    </a:lnTo>
                    <a:cubicBezTo>
                      <a:pt x="42543" y="99403"/>
                      <a:pt x="28227" y="85087"/>
                      <a:pt x="10636" y="85087"/>
                    </a:cubicBezTo>
                    <a:cubicBezTo>
                      <a:pt x="4765" y="85087"/>
                      <a:pt x="0" y="80322"/>
                      <a:pt x="0" y="74451"/>
                    </a:cubicBezTo>
                    <a:lnTo>
                      <a:pt x="0" y="10636"/>
                    </a:lnTo>
                    <a:cubicBezTo>
                      <a:pt x="0" y="4765"/>
                      <a:pt x="4765" y="0"/>
                      <a:pt x="10636" y="0"/>
                    </a:cubicBezTo>
                    <a:lnTo>
                      <a:pt x="244625" y="0"/>
                    </a:lnTo>
                    <a:cubicBezTo>
                      <a:pt x="250496" y="0"/>
                      <a:pt x="255261" y="4765"/>
                      <a:pt x="255261" y="10636"/>
                    </a:cubicBezTo>
                    <a:lnTo>
                      <a:pt x="255261" y="74451"/>
                    </a:lnTo>
                    <a:cubicBezTo>
                      <a:pt x="255261" y="80322"/>
                      <a:pt x="250496" y="85087"/>
                      <a:pt x="244625" y="85087"/>
                    </a:cubicBezTo>
                    <a:cubicBezTo>
                      <a:pt x="227033" y="85087"/>
                      <a:pt x="212717" y="99403"/>
                      <a:pt x="212717" y="116994"/>
                    </a:cubicBezTo>
                    <a:lnTo>
                      <a:pt x="212717" y="395282"/>
                    </a:lnTo>
                    <a:cubicBezTo>
                      <a:pt x="212717" y="441228"/>
                      <a:pt x="175332" y="478614"/>
                      <a:pt x="129375" y="478614"/>
                    </a:cubicBezTo>
                    <a:close/>
                    <a:moveTo>
                      <a:pt x="21272" y="64889"/>
                    </a:moveTo>
                    <a:cubicBezTo>
                      <a:pt x="45511" y="69824"/>
                      <a:pt x="63815" y="91319"/>
                      <a:pt x="63815" y="116994"/>
                    </a:cubicBezTo>
                    <a:lnTo>
                      <a:pt x="63815" y="395282"/>
                    </a:lnTo>
                    <a:cubicBezTo>
                      <a:pt x="63815" y="429508"/>
                      <a:pt x="91660" y="457342"/>
                      <a:pt x="125875" y="457342"/>
                    </a:cubicBezTo>
                    <a:lnTo>
                      <a:pt x="129375" y="457342"/>
                    </a:lnTo>
                    <a:cubicBezTo>
                      <a:pt x="163601" y="457342"/>
                      <a:pt x="191435" y="429497"/>
                      <a:pt x="191435" y="395282"/>
                    </a:cubicBezTo>
                    <a:lnTo>
                      <a:pt x="191435" y="116994"/>
                    </a:lnTo>
                    <a:cubicBezTo>
                      <a:pt x="191435" y="91309"/>
                      <a:pt x="209739" y="69824"/>
                      <a:pt x="233978" y="64889"/>
                    </a:cubicBezTo>
                    <a:lnTo>
                      <a:pt x="233978" y="21272"/>
                    </a:lnTo>
                    <a:lnTo>
                      <a:pt x="21261" y="21272"/>
                    </a:lnTo>
                    <a:lnTo>
                      <a:pt x="21261" y="64889"/>
                    </a:lnTo>
                    <a:close/>
                  </a:path>
                </a:pathLst>
              </a:custGeom>
              <a:grpFill/>
              <a:ln w="1063" cap="flat">
                <a:noFill/>
                <a:prstDash val="solid"/>
                <a:miter/>
              </a:ln>
            </p:spPr>
            <p:txBody>
              <a:bodyPr rtlCol="0" anchor="ctr"/>
              <a:lstStyle/>
              <a:p>
                <a:endParaRPr lang="en-GB" dirty="0"/>
              </a:p>
            </p:txBody>
          </p:sp>
          <p:sp>
            <p:nvSpPr>
              <p:cNvPr id="310" name="Freeform: Shape 309">
                <a:extLst>
                  <a:ext uri="{FF2B5EF4-FFF2-40B4-BE49-F238E27FC236}">
                    <a16:creationId xmlns:a16="http://schemas.microsoft.com/office/drawing/2014/main" id="{9DE26339-F657-4DB6-B832-B199F8F28E5D}"/>
                  </a:ext>
                </a:extLst>
              </p:cNvPr>
              <p:cNvSpPr/>
              <p:nvPr/>
            </p:nvSpPr>
            <p:spPr>
              <a:xfrm>
                <a:off x="1755354" y="2582363"/>
                <a:ext cx="163660" cy="13638"/>
              </a:xfrm>
              <a:custGeom>
                <a:avLst/>
                <a:gdLst>
                  <a:gd name="connsiteX0" fmla="*/ 244625 w 255260"/>
                  <a:gd name="connsiteY0" fmla="*/ 21272 h 21271"/>
                  <a:gd name="connsiteX1" fmla="*/ 10636 w 255260"/>
                  <a:gd name="connsiteY1" fmla="*/ 21272 h 21271"/>
                  <a:gd name="connsiteX2" fmla="*/ 0 w 255260"/>
                  <a:gd name="connsiteY2" fmla="*/ 10636 h 21271"/>
                  <a:gd name="connsiteX3" fmla="*/ 10636 w 255260"/>
                  <a:gd name="connsiteY3" fmla="*/ 0 h 21271"/>
                  <a:gd name="connsiteX4" fmla="*/ 244625 w 255260"/>
                  <a:gd name="connsiteY4" fmla="*/ 0 h 21271"/>
                  <a:gd name="connsiteX5" fmla="*/ 255261 w 255260"/>
                  <a:gd name="connsiteY5" fmla="*/ 10636 h 21271"/>
                  <a:gd name="connsiteX6" fmla="*/ 244625 w 255260"/>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5260" h="21271">
                    <a:moveTo>
                      <a:pt x="244625" y="21272"/>
                    </a:moveTo>
                    <a:lnTo>
                      <a:pt x="10636" y="21272"/>
                    </a:lnTo>
                    <a:cubicBezTo>
                      <a:pt x="4765" y="21272"/>
                      <a:pt x="0" y="16507"/>
                      <a:pt x="0" y="10636"/>
                    </a:cubicBezTo>
                    <a:cubicBezTo>
                      <a:pt x="0" y="4765"/>
                      <a:pt x="4765" y="0"/>
                      <a:pt x="10636" y="0"/>
                    </a:cubicBezTo>
                    <a:lnTo>
                      <a:pt x="244625" y="0"/>
                    </a:lnTo>
                    <a:cubicBezTo>
                      <a:pt x="250496" y="0"/>
                      <a:pt x="255261" y="4765"/>
                      <a:pt x="255261" y="10636"/>
                    </a:cubicBezTo>
                    <a:cubicBezTo>
                      <a:pt x="255261" y="16507"/>
                      <a:pt x="250496" y="21272"/>
                      <a:pt x="244625" y="21272"/>
                    </a:cubicBezTo>
                    <a:close/>
                  </a:path>
                </a:pathLst>
              </a:custGeom>
              <a:grpFill/>
              <a:ln w="1063" cap="flat">
                <a:noFill/>
                <a:prstDash val="solid"/>
                <a:miter/>
              </a:ln>
            </p:spPr>
            <p:txBody>
              <a:bodyPr rtlCol="0" anchor="ctr"/>
              <a:lstStyle/>
              <a:p>
                <a:endParaRPr lang="en-GB" dirty="0"/>
              </a:p>
            </p:txBody>
          </p:sp>
          <p:sp>
            <p:nvSpPr>
              <p:cNvPr id="311" name="Freeform: Shape 310">
                <a:extLst>
                  <a:ext uri="{FF2B5EF4-FFF2-40B4-BE49-F238E27FC236}">
                    <a16:creationId xmlns:a16="http://schemas.microsoft.com/office/drawing/2014/main" id="{F261E6C9-77A0-4F98-88F6-BCBFD09BB54F}"/>
                  </a:ext>
                </a:extLst>
              </p:cNvPr>
              <p:cNvSpPr/>
              <p:nvPr/>
            </p:nvSpPr>
            <p:spPr>
              <a:xfrm>
                <a:off x="1816727" y="2636916"/>
                <a:ext cx="40915" cy="13638"/>
              </a:xfrm>
              <a:custGeom>
                <a:avLst/>
                <a:gdLst>
                  <a:gd name="connsiteX0" fmla="*/ 53179 w 63815"/>
                  <a:gd name="connsiteY0" fmla="*/ 21272 h 21271"/>
                  <a:gd name="connsiteX1" fmla="*/ 10636 w 63815"/>
                  <a:gd name="connsiteY1" fmla="*/ 21272 h 21271"/>
                  <a:gd name="connsiteX2" fmla="*/ 0 w 63815"/>
                  <a:gd name="connsiteY2" fmla="*/ 10636 h 21271"/>
                  <a:gd name="connsiteX3" fmla="*/ 10636 w 63815"/>
                  <a:gd name="connsiteY3" fmla="*/ 0 h 21271"/>
                  <a:gd name="connsiteX4" fmla="*/ 53179 w 63815"/>
                  <a:gd name="connsiteY4" fmla="*/ 0 h 21271"/>
                  <a:gd name="connsiteX5" fmla="*/ 63815 w 63815"/>
                  <a:gd name="connsiteY5" fmla="*/ 10636 h 21271"/>
                  <a:gd name="connsiteX6" fmla="*/ 53179 w 63815"/>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15" h="21271">
                    <a:moveTo>
                      <a:pt x="53179" y="21272"/>
                    </a:moveTo>
                    <a:lnTo>
                      <a:pt x="10636" y="21272"/>
                    </a:lnTo>
                    <a:cubicBezTo>
                      <a:pt x="4765" y="21272"/>
                      <a:pt x="0" y="16507"/>
                      <a:pt x="0" y="10636"/>
                    </a:cubicBezTo>
                    <a:cubicBezTo>
                      <a:pt x="0" y="4765"/>
                      <a:pt x="4765" y="0"/>
                      <a:pt x="10636" y="0"/>
                    </a:cubicBezTo>
                    <a:lnTo>
                      <a:pt x="53179" y="0"/>
                    </a:lnTo>
                    <a:cubicBezTo>
                      <a:pt x="59050" y="0"/>
                      <a:pt x="63815" y="4765"/>
                      <a:pt x="63815" y="10636"/>
                    </a:cubicBezTo>
                    <a:cubicBezTo>
                      <a:pt x="63815" y="16518"/>
                      <a:pt x="59050" y="21272"/>
                      <a:pt x="53179" y="21272"/>
                    </a:cubicBezTo>
                    <a:close/>
                  </a:path>
                </a:pathLst>
              </a:custGeom>
              <a:grpFill/>
              <a:ln w="1063" cap="flat">
                <a:noFill/>
                <a:prstDash val="solid"/>
                <a:miter/>
              </a:ln>
            </p:spPr>
            <p:txBody>
              <a:bodyPr rtlCol="0" anchor="ctr"/>
              <a:lstStyle/>
              <a:p>
                <a:endParaRPr lang="en-GB" dirty="0"/>
              </a:p>
            </p:txBody>
          </p:sp>
          <p:sp>
            <p:nvSpPr>
              <p:cNvPr id="312" name="Freeform: Shape 311">
                <a:extLst>
                  <a:ext uri="{FF2B5EF4-FFF2-40B4-BE49-F238E27FC236}">
                    <a16:creationId xmlns:a16="http://schemas.microsoft.com/office/drawing/2014/main" id="{A6A7CF7C-E740-4D01-8775-268F28DE47AB}"/>
                  </a:ext>
                </a:extLst>
              </p:cNvPr>
              <p:cNvSpPr/>
              <p:nvPr/>
            </p:nvSpPr>
            <p:spPr>
              <a:xfrm>
                <a:off x="1816727" y="2718746"/>
                <a:ext cx="40915" cy="13638"/>
              </a:xfrm>
              <a:custGeom>
                <a:avLst/>
                <a:gdLst>
                  <a:gd name="connsiteX0" fmla="*/ 53179 w 63815"/>
                  <a:gd name="connsiteY0" fmla="*/ 21272 h 21271"/>
                  <a:gd name="connsiteX1" fmla="*/ 10636 w 63815"/>
                  <a:gd name="connsiteY1" fmla="*/ 21272 h 21271"/>
                  <a:gd name="connsiteX2" fmla="*/ 0 w 63815"/>
                  <a:gd name="connsiteY2" fmla="*/ 10636 h 21271"/>
                  <a:gd name="connsiteX3" fmla="*/ 10636 w 63815"/>
                  <a:gd name="connsiteY3" fmla="*/ 0 h 21271"/>
                  <a:gd name="connsiteX4" fmla="*/ 53179 w 63815"/>
                  <a:gd name="connsiteY4" fmla="*/ 0 h 21271"/>
                  <a:gd name="connsiteX5" fmla="*/ 63815 w 63815"/>
                  <a:gd name="connsiteY5" fmla="*/ 10636 h 21271"/>
                  <a:gd name="connsiteX6" fmla="*/ 53179 w 63815"/>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815" h="21271">
                    <a:moveTo>
                      <a:pt x="53179" y="21272"/>
                    </a:moveTo>
                    <a:lnTo>
                      <a:pt x="10636" y="21272"/>
                    </a:lnTo>
                    <a:cubicBezTo>
                      <a:pt x="4765" y="21272"/>
                      <a:pt x="0" y="16507"/>
                      <a:pt x="0" y="10636"/>
                    </a:cubicBezTo>
                    <a:cubicBezTo>
                      <a:pt x="0" y="4765"/>
                      <a:pt x="4765" y="0"/>
                      <a:pt x="10636" y="0"/>
                    </a:cubicBezTo>
                    <a:lnTo>
                      <a:pt x="53179" y="0"/>
                    </a:lnTo>
                    <a:cubicBezTo>
                      <a:pt x="59050" y="0"/>
                      <a:pt x="63815" y="4765"/>
                      <a:pt x="63815" y="10636"/>
                    </a:cubicBezTo>
                    <a:cubicBezTo>
                      <a:pt x="63815" y="16518"/>
                      <a:pt x="59050" y="21272"/>
                      <a:pt x="53179" y="21272"/>
                    </a:cubicBezTo>
                    <a:close/>
                  </a:path>
                </a:pathLst>
              </a:custGeom>
              <a:grpFill/>
              <a:ln w="1063" cap="flat">
                <a:noFill/>
                <a:prstDash val="solid"/>
                <a:miter/>
              </a:ln>
            </p:spPr>
            <p:txBody>
              <a:bodyPr rtlCol="0" anchor="ctr"/>
              <a:lstStyle/>
              <a:p>
                <a:endParaRPr lang="en-GB" dirty="0"/>
              </a:p>
            </p:txBody>
          </p:sp>
          <p:sp>
            <p:nvSpPr>
              <p:cNvPr id="313" name="Freeform: Shape 312">
                <a:extLst>
                  <a:ext uri="{FF2B5EF4-FFF2-40B4-BE49-F238E27FC236}">
                    <a16:creationId xmlns:a16="http://schemas.microsoft.com/office/drawing/2014/main" id="{BE4E9497-422A-4092-ABB3-76573EF12314}"/>
                  </a:ext>
                </a:extLst>
              </p:cNvPr>
              <p:cNvSpPr/>
              <p:nvPr/>
            </p:nvSpPr>
            <p:spPr>
              <a:xfrm>
                <a:off x="1823545" y="2677831"/>
                <a:ext cx="27276" cy="13638"/>
              </a:xfrm>
              <a:custGeom>
                <a:avLst/>
                <a:gdLst>
                  <a:gd name="connsiteX0" fmla="*/ 31908 w 42543"/>
                  <a:gd name="connsiteY0" fmla="*/ 21272 h 21271"/>
                  <a:gd name="connsiteX1" fmla="*/ 10636 w 42543"/>
                  <a:gd name="connsiteY1" fmla="*/ 21272 h 21271"/>
                  <a:gd name="connsiteX2" fmla="*/ 0 w 42543"/>
                  <a:gd name="connsiteY2" fmla="*/ 10636 h 21271"/>
                  <a:gd name="connsiteX3" fmla="*/ 10636 w 42543"/>
                  <a:gd name="connsiteY3" fmla="*/ 0 h 21271"/>
                  <a:gd name="connsiteX4" fmla="*/ 31908 w 42543"/>
                  <a:gd name="connsiteY4" fmla="*/ 0 h 21271"/>
                  <a:gd name="connsiteX5" fmla="*/ 42543 w 42543"/>
                  <a:gd name="connsiteY5" fmla="*/ 10636 h 21271"/>
                  <a:gd name="connsiteX6" fmla="*/ 31908 w 42543"/>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43" h="21271">
                    <a:moveTo>
                      <a:pt x="31908" y="21272"/>
                    </a:moveTo>
                    <a:lnTo>
                      <a:pt x="10636" y="21272"/>
                    </a:lnTo>
                    <a:cubicBezTo>
                      <a:pt x="4765" y="21272"/>
                      <a:pt x="0" y="16507"/>
                      <a:pt x="0" y="10636"/>
                    </a:cubicBezTo>
                    <a:cubicBezTo>
                      <a:pt x="0" y="4765"/>
                      <a:pt x="4765" y="0"/>
                      <a:pt x="10636" y="0"/>
                    </a:cubicBezTo>
                    <a:lnTo>
                      <a:pt x="31908" y="0"/>
                    </a:lnTo>
                    <a:cubicBezTo>
                      <a:pt x="37779" y="0"/>
                      <a:pt x="42543" y="4765"/>
                      <a:pt x="42543" y="10636"/>
                    </a:cubicBezTo>
                    <a:cubicBezTo>
                      <a:pt x="42543" y="16518"/>
                      <a:pt x="37779" y="21272"/>
                      <a:pt x="31908" y="21272"/>
                    </a:cubicBezTo>
                    <a:close/>
                  </a:path>
                </a:pathLst>
              </a:custGeom>
              <a:grpFill/>
              <a:ln w="1063" cap="flat">
                <a:noFill/>
                <a:prstDash val="solid"/>
                <a:miter/>
              </a:ln>
            </p:spPr>
            <p:txBody>
              <a:bodyPr rtlCol="0" anchor="ctr"/>
              <a:lstStyle/>
              <a:p>
                <a:endParaRPr lang="en-GB" dirty="0"/>
              </a:p>
            </p:txBody>
          </p:sp>
          <p:sp>
            <p:nvSpPr>
              <p:cNvPr id="314" name="Freeform: Shape 313">
                <a:extLst>
                  <a:ext uri="{FF2B5EF4-FFF2-40B4-BE49-F238E27FC236}">
                    <a16:creationId xmlns:a16="http://schemas.microsoft.com/office/drawing/2014/main" id="{BCE19925-3BE3-4B94-82B7-F2873E2D22E6}"/>
                  </a:ext>
                </a:extLst>
              </p:cNvPr>
              <p:cNvSpPr/>
              <p:nvPr/>
            </p:nvSpPr>
            <p:spPr>
              <a:xfrm>
                <a:off x="1823545" y="2759661"/>
                <a:ext cx="27276" cy="13638"/>
              </a:xfrm>
              <a:custGeom>
                <a:avLst/>
                <a:gdLst>
                  <a:gd name="connsiteX0" fmla="*/ 31908 w 42543"/>
                  <a:gd name="connsiteY0" fmla="*/ 21272 h 21271"/>
                  <a:gd name="connsiteX1" fmla="*/ 10636 w 42543"/>
                  <a:gd name="connsiteY1" fmla="*/ 21272 h 21271"/>
                  <a:gd name="connsiteX2" fmla="*/ 0 w 42543"/>
                  <a:gd name="connsiteY2" fmla="*/ 10636 h 21271"/>
                  <a:gd name="connsiteX3" fmla="*/ 10636 w 42543"/>
                  <a:gd name="connsiteY3" fmla="*/ 0 h 21271"/>
                  <a:gd name="connsiteX4" fmla="*/ 31908 w 42543"/>
                  <a:gd name="connsiteY4" fmla="*/ 0 h 21271"/>
                  <a:gd name="connsiteX5" fmla="*/ 42543 w 42543"/>
                  <a:gd name="connsiteY5" fmla="*/ 10636 h 21271"/>
                  <a:gd name="connsiteX6" fmla="*/ 31908 w 42543"/>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543" h="21271">
                    <a:moveTo>
                      <a:pt x="31908" y="21272"/>
                    </a:moveTo>
                    <a:lnTo>
                      <a:pt x="10636" y="21272"/>
                    </a:lnTo>
                    <a:cubicBezTo>
                      <a:pt x="4765" y="21272"/>
                      <a:pt x="0" y="16507"/>
                      <a:pt x="0" y="10636"/>
                    </a:cubicBezTo>
                    <a:cubicBezTo>
                      <a:pt x="0" y="4765"/>
                      <a:pt x="4765" y="0"/>
                      <a:pt x="10636" y="0"/>
                    </a:cubicBezTo>
                    <a:lnTo>
                      <a:pt x="31908" y="0"/>
                    </a:lnTo>
                    <a:cubicBezTo>
                      <a:pt x="37779" y="0"/>
                      <a:pt x="42543" y="4765"/>
                      <a:pt x="42543" y="10636"/>
                    </a:cubicBezTo>
                    <a:cubicBezTo>
                      <a:pt x="42543" y="16518"/>
                      <a:pt x="37779" y="21272"/>
                      <a:pt x="31908" y="21272"/>
                    </a:cubicBezTo>
                    <a:close/>
                  </a:path>
                </a:pathLst>
              </a:custGeom>
              <a:grpFill/>
              <a:ln w="1063" cap="flat">
                <a:noFill/>
                <a:prstDash val="solid"/>
                <a:miter/>
              </a:ln>
            </p:spPr>
            <p:txBody>
              <a:bodyPr rtlCol="0" anchor="ctr"/>
              <a:lstStyle/>
              <a:p>
                <a:endParaRPr lang="en-GB" dirty="0"/>
              </a:p>
            </p:txBody>
          </p:sp>
        </p:grpSp>
        <p:grpSp>
          <p:nvGrpSpPr>
            <p:cNvPr id="296" name="Group 295">
              <a:extLst>
                <a:ext uri="{FF2B5EF4-FFF2-40B4-BE49-F238E27FC236}">
                  <a16:creationId xmlns:a16="http://schemas.microsoft.com/office/drawing/2014/main" id="{03F704C4-035B-421C-A63E-229C3726E8AD}"/>
                </a:ext>
              </a:extLst>
            </p:cNvPr>
            <p:cNvGrpSpPr/>
            <p:nvPr/>
          </p:nvGrpSpPr>
          <p:grpSpPr>
            <a:xfrm>
              <a:off x="3784615" y="4053731"/>
              <a:ext cx="345474" cy="154868"/>
              <a:chOff x="1639428" y="2343693"/>
              <a:chExt cx="395512" cy="177298"/>
            </a:xfrm>
          </p:grpSpPr>
          <p:sp>
            <p:nvSpPr>
              <p:cNvPr id="297" name="Freeform: Shape 296">
                <a:extLst>
                  <a:ext uri="{FF2B5EF4-FFF2-40B4-BE49-F238E27FC236}">
                    <a16:creationId xmlns:a16="http://schemas.microsoft.com/office/drawing/2014/main" id="{5F30F80A-237B-4B59-8951-B3C2231D6078}"/>
                  </a:ext>
                </a:extLst>
              </p:cNvPr>
              <p:cNvSpPr/>
              <p:nvPr/>
            </p:nvSpPr>
            <p:spPr>
              <a:xfrm>
                <a:off x="1809907" y="2343693"/>
                <a:ext cx="54553" cy="54553"/>
              </a:xfrm>
              <a:custGeom>
                <a:avLst/>
                <a:gdLst>
                  <a:gd name="connsiteX0" fmla="*/ 42543 w 85086"/>
                  <a:gd name="connsiteY0" fmla="*/ 85087 h 85086"/>
                  <a:gd name="connsiteX1" fmla="*/ 0 w 85086"/>
                  <a:gd name="connsiteY1" fmla="*/ 42543 h 85086"/>
                  <a:gd name="connsiteX2" fmla="*/ 42543 w 85086"/>
                  <a:gd name="connsiteY2" fmla="*/ 0 h 85086"/>
                  <a:gd name="connsiteX3" fmla="*/ 85087 w 85086"/>
                  <a:gd name="connsiteY3" fmla="*/ 42543 h 85086"/>
                  <a:gd name="connsiteX4" fmla="*/ 42543 w 85086"/>
                  <a:gd name="connsiteY4" fmla="*/ 85087 h 85086"/>
                  <a:gd name="connsiteX5" fmla="*/ 42543 w 85086"/>
                  <a:gd name="connsiteY5" fmla="*/ 21272 h 85086"/>
                  <a:gd name="connsiteX6" fmla="*/ 21272 w 85086"/>
                  <a:gd name="connsiteY6" fmla="*/ 42543 h 85086"/>
                  <a:gd name="connsiteX7" fmla="*/ 42543 w 85086"/>
                  <a:gd name="connsiteY7" fmla="*/ 63815 h 85086"/>
                  <a:gd name="connsiteX8" fmla="*/ 63815 w 85086"/>
                  <a:gd name="connsiteY8" fmla="*/ 42543 h 85086"/>
                  <a:gd name="connsiteX9" fmla="*/ 42543 w 85086"/>
                  <a:gd name="connsiteY9" fmla="*/ 21272 h 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86" h="85086">
                    <a:moveTo>
                      <a:pt x="42543" y="85087"/>
                    </a:moveTo>
                    <a:cubicBezTo>
                      <a:pt x="19081" y="85087"/>
                      <a:pt x="0" y="66006"/>
                      <a:pt x="0" y="42543"/>
                    </a:cubicBezTo>
                    <a:cubicBezTo>
                      <a:pt x="0" y="19081"/>
                      <a:pt x="19081" y="0"/>
                      <a:pt x="42543" y="0"/>
                    </a:cubicBezTo>
                    <a:cubicBezTo>
                      <a:pt x="66006" y="0"/>
                      <a:pt x="85087" y="19081"/>
                      <a:pt x="85087" y="42543"/>
                    </a:cubicBezTo>
                    <a:cubicBezTo>
                      <a:pt x="85087" y="66006"/>
                      <a:pt x="65995" y="85087"/>
                      <a:pt x="42543" y="85087"/>
                    </a:cubicBezTo>
                    <a:close/>
                    <a:moveTo>
                      <a:pt x="42543" y="21272"/>
                    </a:moveTo>
                    <a:cubicBezTo>
                      <a:pt x="30812" y="21272"/>
                      <a:pt x="21272" y="30812"/>
                      <a:pt x="21272" y="42543"/>
                    </a:cubicBezTo>
                    <a:cubicBezTo>
                      <a:pt x="21272" y="54275"/>
                      <a:pt x="30812" y="63815"/>
                      <a:pt x="42543" y="63815"/>
                    </a:cubicBezTo>
                    <a:cubicBezTo>
                      <a:pt x="54275" y="63815"/>
                      <a:pt x="63815" y="54275"/>
                      <a:pt x="63815" y="42543"/>
                    </a:cubicBezTo>
                    <a:cubicBezTo>
                      <a:pt x="63815" y="30812"/>
                      <a:pt x="54275" y="21272"/>
                      <a:pt x="42543" y="21272"/>
                    </a:cubicBezTo>
                    <a:close/>
                  </a:path>
                </a:pathLst>
              </a:custGeom>
              <a:solidFill>
                <a:schemeClr val="accent1"/>
              </a:solidFill>
              <a:ln w="1063" cap="flat">
                <a:noFill/>
                <a:prstDash val="solid"/>
                <a:miter/>
              </a:ln>
            </p:spPr>
            <p:txBody>
              <a:bodyPr rtlCol="0" anchor="ctr"/>
              <a:lstStyle/>
              <a:p>
                <a:endParaRPr lang="en-GB" dirty="0"/>
              </a:p>
            </p:txBody>
          </p:sp>
          <p:sp>
            <p:nvSpPr>
              <p:cNvPr id="298" name="Freeform: Shape 297">
                <a:extLst>
                  <a:ext uri="{FF2B5EF4-FFF2-40B4-BE49-F238E27FC236}">
                    <a16:creationId xmlns:a16="http://schemas.microsoft.com/office/drawing/2014/main" id="{6AF188B7-AE99-48FC-B4F4-5FF525A33F2E}"/>
                  </a:ext>
                </a:extLst>
              </p:cNvPr>
              <p:cNvSpPr/>
              <p:nvPr/>
            </p:nvSpPr>
            <p:spPr>
              <a:xfrm>
                <a:off x="1830365" y="2384608"/>
                <a:ext cx="13638" cy="136383"/>
              </a:xfrm>
              <a:custGeom>
                <a:avLst/>
                <a:gdLst>
                  <a:gd name="connsiteX0" fmla="*/ 10636 w 21271"/>
                  <a:gd name="connsiteY0" fmla="*/ 212717 h 212717"/>
                  <a:gd name="connsiteX1" fmla="*/ 0 w 21271"/>
                  <a:gd name="connsiteY1" fmla="*/ 202081 h 212717"/>
                  <a:gd name="connsiteX2" fmla="*/ 0 w 21271"/>
                  <a:gd name="connsiteY2" fmla="*/ 10636 h 212717"/>
                  <a:gd name="connsiteX3" fmla="*/ 10636 w 21271"/>
                  <a:gd name="connsiteY3" fmla="*/ 0 h 212717"/>
                  <a:gd name="connsiteX4" fmla="*/ 21272 w 21271"/>
                  <a:gd name="connsiteY4" fmla="*/ 10636 h 212717"/>
                  <a:gd name="connsiteX5" fmla="*/ 21272 w 21271"/>
                  <a:gd name="connsiteY5" fmla="*/ 202081 h 212717"/>
                  <a:gd name="connsiteX6" fmla="*/ 10636 w 21271"/>
                  <a:gd name="connsiteY6" fmla="*/ 212717 h 21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212717">
                    <a:moveTo>
                      <a:pt x="10636" y="212717"/>
                    </a:moveTo>
                    <a:cubicBezTo>
                      <a:pt x="4765" y="212717"/>
                      <a:pt x="0" y="207952"/>
                      <a:pt x="0" y="202081"/>
                    </a:cubicBezTo>
                    <a:lnTo>
                      <a:pt x="0" y="10636"/>
                    </a:lnTo>
                    <a:cubicBezTo>
                      <a:pt x="0" y="4765"/>
                      <a:pt x="4765" y="0"/>
                      <a:pt x="10636" y="0"/>
                    </a:cubicBezTo>
                    <a:cubicBezTo>
                      <a:pt x="16507" y="0"/>
                      <a:pt x="21272" y="4765"/>
                      <a:pt x="21272" y="10636"/>
                    </a:cubicBezTo>
                    <a:lnTo>
                      <a:pt x="21272" y="202081"/>
                    </a:lnTo>
                    <a:cubicBezTo>
                      <a:pt x="21272" y="207963"/>
                      <a:pt x="16507" y="212717"/>
                      <a:pt x="10636" y="212717"/>
                    </a:cubicBezTo>
                    <a:close/>
                  </a:path>
                </a:pathLst>
              </a:custGeom>
              <a:solidFill>
                <a:schemeClr val="accent1"/>
              </a:solidFill>
              <a:ln w="1063" cap="flat">
                <a:noFill/>
                <a:prstDash val="solid"/>
                <a:miter/>
              </a:ln>
            </p:spPr>
            <p:txBody>
              <a:bodyPr rtlCol="0" anchor="ctr"/>
              <a:lstStyle/>
              <a:p>
                <a:endParaRPr lang="en-GB" dirty="0"/>
              </a:p>
            </p:txBody>
          </p:sp>
          <p:grpSp>
            <p:nvGrpSpPr>
              <p:cNvPr id="299" name="Graphic 818">
                <a:extLst>
                  <a:ext uri="{FF2B5EF4-FFF2-40B4-BE49-F238E27FC236}">
                    <a16:creationId xmlns:a16="http://schemas.microsoft.com/office/drawing/2014/main" id="{2943F1B4-DC2E-4A40-B123-91B91B662A4C}"/>
                  </a:ext>
                </a:extLst>
              </p:cNvPr>
              <p:cNvGrpSpPr/>
              <p:nvPr/>
            </p:nvGrpSpPr>
            <p:grpSpPr>
              <a:xfrm>
                <a:off x="1857642" y="2370969"/>
                <a:ext cx="177298" cy="150021"/>
                <a:chOff x="3915799" y="1336533"/>
                <a:chExt cx="276532" cy="233988"/>
              </a:xfrm>
              <a:solidFill>
                <a:schemeClr val="accent1"/>
              </a:solidFill>
            </p:grpSpPr>
            <p:sp>
              <p:nvSpPr>
                <p:cNvPr id="305" name="Freeform: Shape 304">
                  <a:extLst>
                    <a:ext uri="{FF2B5EF4-FFF2-40B4-BE49-F238E27FC236}">
                      <a16:creationId xmlns:a16="http://schemas.microsoft.com/office/drawing/2014/main" id="{74BCC039-963F-4772-9448-641ADF9C0B1A}"/>
                    </a:ext>
                  </a:extLst>
                </p:cNvPr>
                <p:cNvSpPr/>
                <p:nvPr/>
              </p:nvSpPr>
              <p:spPr>
                <a:xfrm>
                  <a:off x="3979614" y="1336533"/>
                  <a:ext cx="85086" cy="85086"/>
                </a:xfrm>
                <a:custGeom>
                  <a:avLst/>
                  <a:gdLst>
                    <a:gd name="connsiteX0" fmla="*/ 42543 w 85086"/>
                    <a:gd name="connsiteY0" fmla="*/ 85087 h 85086"/>
                    <a:gd name="connsiteX1" fmla="*/ 0 w 85086"/>
                    <a:gd name="connsiteY1" fmla="*/ 42543 h 85086"/>
                    <a:gd name="connsiteX2" fmla="*/ 42543 w 85086"/>
                    <a:gd name="connsiteY2" fmla="*/ 0 h 85086"/>
                    <a:gd name="connsiteX3" fmla="*/ 85087 w 85086"/>
                    <a:gd name="connsiteY3" fmla="*/ 42543 h 85086"/>
                    <a:gd name="connsiteX4" fmla="*/ 42543 w 85086"/>
                    <a:gd name="connsiteY4" fmla="*/ 85087 h 85086"/>
                    <a:gd name="connsiteX5" fmla="*/ 42543 w 85086"/>
                    <a:gd name="connsiteY5" fmla="*/ 21272 h 85086"/>
                    <a:gd name="connsiteX6" fmla="*/ 21272 w 85086"/>
                    <a:gd name="connsiteY6" fmla="*/ 42543 h 85086"/>
                    <a:gd name="connsiteX7" fmla="*/ 42543 w 85086"/>
                    <a:gd name="connsiteY7" fmla="*/ 63815 h 85086"/>
                    <a:gd name="connsiteX8" fmla="*/ 63815 w 85086"/>
                    <a:gd name="connsiteY8" fmla="*/ 42543 h 85086"/>
                    <a:gd name="connsiteX9" fmla="*/ 42543 w 85086"/>
                    <a:gd name="connsiteY9" fmla="*/ 21272 h 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86" h="85086">
                      <a:moveTo>
                        <a:pt x="42543" y="85087"/>
                      </a:moveTo>
                      <a:cubicBezTo>
                        <a:pt x="19081" y="85087"/>
                        <a:pt x="0" y="66006"/>
                        <a:pt x="0" y="42543"/>
                      </a:cubicBezTo>
                      <a:cubicBezTo>
                        <a:pt x="0" y="19081"/>
                        <a:pt x="19081" y="0"/>
                        <a:pt x="42543" y="0"/>
                      </a:cubicBezTo>
                      <a:cubicBezTo>
                        <a:pt x="66006" y="0"/>
                        <a:pt x="85087" y="19081"/>
                        <a:pt x="85087" y="42543"/>
                      </a:cubicBezTo>
                      <a:cubicBezTo>
                        <a:pt x="85087" y="66006"/>
                        <a:pt x="65995" y="85087"/>
                        <a:pt x="42543" y="85087"/>
                      </a:cubicBezTo>
                      <a:close/>
                      <a:moveTo>
                        <a:pt x="42543" y="21272"/>
                      </a:moveTo>
                      <a:cubicBezTo>
                        <a:pt x="30812" y="21272"/>
                        <a:pt x="21272" y="30812"/>
                        <a:pt x="21272" y="42543"/>
                      </a:cubicBezTo>
                      <a:cubicBezTo>
                        <a:pt x="21272" y="54275"/>
                        <a:pt x="30812" y="63815"/>
                        <a:pt x="42543" y="63815"/>
                      </a:cubicBezTo>
                      <a:cubicBezTo>
                        <a:pt x="54275" y="63815"/>
                        <a:pt x="63815" y="54275"/>
                        <a:pt x="63815" y="42543"/>
                      </a:cubicBezTo>
                      <a:cubicBezTo>
                        <a:pt x="63815" y="30812"/>
                        <a:pt x="54275" y="21272"/>
                        <a:pt x="42543" y="21272"/>
                      </a:cubicBezTo>
                      <a:close/>
                    </a:path>
                  </a:pathLst>
                </a:custGeom>
                <a:solidFill>
                  <a:schemeClr val="accent1"/>
                </a:solidFill>
                <a:ln w="1063" cap="flat">
                  <a:noFill/>
                  <a:prstDash val="solid"/>
                  <a:miter/>
                </a:ln>
              </p:spPr>
              <p:txBody>
                <a:bodyPr rtlCol="0" anchor="ctr"/>
                <a:lstStyle/>
                <a:p>
                  <a:endParaRPr lang="en-GB" dirty="0"/>
                </a:p>
              </p:txBody>
            </p:sp>
            <p:sp>
              <p:nvSpPr>
                <p:cNvPr id="306" name="Freeform: Shape 305">
                  <a:extLst>
                    <a:ext uri="{FF2B5EF4-FFF2-40B4-BE49-F238E27FC236}">
                      <a16:creationId xmlns:a16="http://schemas.microsoft.com/office/drawing/2014/main" id="{899F0897-905B-41D3-8FA1-F4DA467BBA0D}"/>
                    </a:ext>
                  </a:extLst>
                </p:cNvPr>
                <p:cNvSpPr/>
                <p:nvPr/>
              </p:nvSpPr>
              <p:spPr>
                <a:xfrm>
                  <a:off x="4107244" y="1379077"/>
                  <a:ext cx="85086" cy="85086"/>
                </a:xfrm>
                <a:custGeom>
                  <a:avLst/>
                  <a:gdLst>
                    <a:gd name="connsiteX0" fmla="*/ 42543 w 85086"/>
                    <a:gd name="connsiteY0" fmla="*/ 85087 h 85086"/>
                    <a:gd name="connsiteX1" fmla="*/ 0 w 85086"/>
                    <a:gd name="connsiteY1" fmla="*/ 42543 h 85086"/>
                    <a:gd name="connsiteX2" fmla="*/ 42543 w 85086"/>
                    <a:gd name="connsiteY2" fmla="*/ 0 h 85086"/>
                    <a:gd name="connsiteX3" fmla="*/ 85087 w 85086"/>
                    <a:gd name="connsiteY3" fmla="*/ 42543 h 85086"/>
                    <a:gd name="connsiteX4" fmla="*/ 42543 w 85086"/>
                    <a:gd name="connsiteY4" fmla="*/ 85087 h 85086"/>
                    <a:gd name="connsiteX5" fmla="*/ 42543 w 85086"/>
                    <a:gd name="connsiteY5" fmla="*/ 21272 h 85086"/>
                    <a:gd name="connsiteX6" fmla="*/ 21272 w 85086"/>
                    <a:gd name="connsiteY6" fmla="*/ 42543 h 85086"/>
                    <a:gd name="connsiteX7" fmla="*/ 42543 w 85086"/>
                    <a:gd name="connsiteY7" fmla="*/ 63815 h 85086"/>
                    <a:gd name="connsiteX8" fmla="*/ 63815 w 85086"/>
                    <a:gd name="connsiteY8" fmla="*/ 42543 h 85086"/>
                    <a:gd name="connsiteX9" fmla="*/ 42543 w 85086"/>
                    <a:gd name="connsiteY9" fmla="*/ 21272 h 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86" h="85086">
                      <a:moveTo>
                        <a:pt x="42543" y="85087"/>
                      </a:moveTo>
                      <a:cubicBezTo>
                        <a:pt x="19081" y="85087"/>
                        <a:pt x="0" y="66006"/>
                        <a:pt x="0" y="42543"/>
                      </a:cubicBezTo>
                      <a:cubicBezTo>
                        <a:pt x="0" y="19081"/>
                        <a:pt x="19081" y="0"/>
                        <a:pt x="42543" y="0"/>
                      </a:cubicBezTo>
                      <a:cubicBezTo>
                        <a:pt x="66006" y="0"/>
                        <a:pt x="85087" y="19081"/>
                        <a:pt x="85087" y="42543"/>
                      </a:cubicBezTo>
                      <a:cubicBezTo>
                        <a:pt x="85087" y="66006"/>
                        <a:pt x="65995" y="85087"/>
                        <a:pt x="42543" y="85087"/>
                      </a:cubicBezTo>
                      <a:close/>
                      <a:moveTo>
                        <a:pt x="42543" y="21272"/>
                      </a:moveTo>
                      <a:cubicBezTo>
                        <a:pt x="30812" y="21272"/>
                        <a:pt x="21272" y="30812"/>
                        <a:pt x="21272" y="42543"/>
                      </a:cubicBezTo>
                      <a:cubicBezTo>
                        <a:pt x="21272" y="54275"/>
                        <a:pt x="30812" y="63815"/>
                        <a:pt x="42543" y="63815"/>
                      </a:cubicBezTo>
                      <a:cubicBezTo>
                        <a:pt x="54275" y="63815"/>
                        <a:pt x="63815" y="54275"/>
                        <a:pt x="63815" y="42543"/>
                      </a:cubicBezTo>
                      <a:cubicBezTo>
                        <a:pt x="63815" y="30812"/>
                        <a:pt x="54275" y="21272"/>
                        <a:pt x="42543" y="21272"/>
                      </a:cubicBezTo>
                      <a:close/>
                    </a:path>
                  </a:pathLst>
                </a:custGeom>
                <a:solidFill>
                  <a:schemeClr val="accent1"/>
                </a:solidFill>
                <a:ln w="1063" cap="flat">
                  <a:noFill/>
                  <a:prstDash val="solid"/>
                  <a:miter/>
                </a:ln>
              </p:spPr>
              <p:txBody>
                <a:bodyPr rtlCol="0" anchor="ctr"/>
                <a:lstStyle/>
                <a:p>
                  <a:endParaRPr lang="en-GB" dirty="0"/>
                </a:p>
              </p:txBody>
            </p:sp>
            <p:sp>
              <p:nvSpPr>
                <p:cNvPr id="307" name="Freeform: Shape 306">
                  <a:extLst>
                    <a:ext uri="{FF2B5EF4-FFF2-40B4-BE49-F238E27FC236}">
                      <a16:creationId xmlns:a16="http://schemas.microsoft.com/office/drawing/2014/main" id="{D7CE13B2-874F-46E8-9687-7588B1394E53}"/>
                    </a:ext>
                  </a:extLst>
                </p:cNvPr>
                <p:cNvSpPr/>
                <p:nvPr/>
              </p:nvSpPr>
              <p:spPr>
                <a:xfrm>
                  <a:off x="3915799" y="1391418"/>
                  <a:ext cx="93232" cy="179103"/>
                </a:xfrm>
                <a:custGeom>
                  <a:avLst/>
                  <a:gdLst>
                    <a:gd name="connsiteX0" fmla="*/ 10636 w 93232"/>
                    <a:gd name="connsiteY0" fmla="*/ 179104 h 179103"/>
                    <a:gd name="connsiteX1" fmla="*/ 0 w 93232"/>
                    <a:gd name="connsiteY1" fmla="*/ 168468 h 179103"/>
                    <a:gd name="connsiteX2" fmla="*/ 0 w 93232"/>
                    <a:gd name="connsiteY2" fmla="*/ 72745 h 179103"/>
                    <a:gd name="connsiteX3" fmla="*/ 3691 w 93232"/>
                    <a:gd name="connsiteY3" fmla="*/ 64694 h 179103"/>
                    <a:gd name="connsiteX4" fmla="*/ 75653 w 93232"/>
                    <a:gd name="connsiteY4" fmla="*/ 2591 h 179103"/>
                    <a:gd name="connsiteX5" fmla="*/ 90649 w 93232"/>
                    <a:gd name="connsiteY5" fmla="*/ 3697 h 179103"/>
                    <a:gd name="connsiteX6" fmla="*/ 89543 w 93232"/>
                    <a:gd name="connsiteY6" fmla="*/ 18694 h 179103"/>
                    <a:gd name="connsiteX7" fmla="*/ 21272 w 93232"/>
                    <a:gd name="connsiteY7" fmla="*/ 77627 h 179103"/>
                    <a:gd name="connsiteX8" fmla="*/ 21272 w 93232"/>
                    <a:gd name="connsiteY8" fmla="*/ 168478 h 179103"/>
                    <a:gd name="connsiteX9" fmla="*/ 10636 w 93232"/>
                    <a:gd name="connsiteY9" fmla="*/ 179104 h 179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32" h="179103">
                      <a:moveTo>
                        <a:pt x="10636" y="179104"/>
                      </a:moveTo>
                      <a:cubicBezTo>
                        <a:pt x="4765" y="179104"/>
                        <a:pt x="0" y="174339"/>
                        <a:pt x="0" y="168468"/>
                      </a:cubicBezTo>
                      <a:lnTo>
                        <a:pt x="0" y="72745"/>
                      </a:lnTo>
                      <a:cubicBezTo>
                        <a:pt x="0" y="69650"/>
                        <a:pt x="1340" y="66714"/>
                        <a:pt x="3691" y="64694"/>
                      </a:cubicBezTo>
                      <a:lnTo>
                        <a:pt x="75653" y="2591"/>
                      </a:lnTo>
                      <a:cubicBezTo>
                        <a:pt x="80088" y="-1259"/>
                        <a:pt x="86810" y="-759"/>
                        <a:pt x="90649" y="3697"/>
                      </a:cubicBezTo>
                      <a:cubicBezTo>
                        <a:pt x="94489" y="8143"/>
                        <a:pt x="93989" y="14854"/>
                        <a:pt x="89543" y="18694"/>
                      </a:cubicBezTo>
                      <a:lnTo>
                        <a:pt x="21272" y="77627"/>
                      </a:lnTo>
                      <a:lnTo>
                        <a:pt x="21272" y="168478"/>
                      </a:lnTo>
                      <a:cubicBezTo>
                        <a:pt x="21272" y="174349"/>
                        <a:pt x="16507" y="179104"/>
                        <a:pt x="10636" y="179104"/>
                      </a:cubicBezTo>
                      <a:close/>
                    </a:path>
                  </a:pathLst>
                </a:custGeom>
                <a:solidFill>
                  <a:schemeClr val="accent1"/>
                </a:solidFill>
                <a:ln w="1063" cap="flat">
                  <a:noFill/>
                  <a:prstDash val="solid"/>
                  <a:miter/>
                </a:ln>
              </p:spPr>
              <p:txBody>
                <a:bodyPr rtlCol="0" anchor="ctr"/>
                <a:lstStyle/>
                <a:p>
                  <a:endParaRPr lang="en-GB" dirty="0"/>
                </a:p>
              </p:txBody>
            </p:sp>
            <p:sp>
              <p:nvSpPr>
                <p:cNvPr id="308" name="Freeform: Shape 307">
                  <a:extLst>
                    <a:ext uri="{FF2B5EF4-FFF2-40B4-BE49-F238E27FC236}">
                      <a16:creationId xmlns:a16="http://schemas.microsoft.com/office/drawing/2014/main" id="{7715F3C2-37D7-4EDB-97CE-4CE586A17E66}"/>
                    </a:ext>
                  </a:extLst>
                </p:cNvPr>
                <p:cNvSpPr/>
                <p:nvPr/>
              </p:nvSpPr>
              <p:spPr>
                <a:xfrm>
                  <a:off x="3915799" y="1436220"/>
                  <a:ext cx="219388" cy="91758"/>
                </a:xfrm>
                <a:custGeom>
                  <a:avLst/>
                  <a:gdLst>
                    <a:gd name="connsiteX0" fmla="*/ 138266 w 219388"/>
                    <a:gd name="connsiteY0" fmla="*/ 91758 h 91758"/>
                    <a:gd name="connsiteX1" fmla="*/ 10636 w 219388"/>
                    <a:gd name="connsiteY1" fmla="*/ 91758 h 91758"/>
                    <a:gd name="connsiteX2" fmla="*/ 0 w 219388"/>
                    <a:gd name="connsiteY2" fmla="*/ 81122 h 91758"/>
                    <a:gd name="connsiteX3" fmla="*/ 10636 w 219388"/>
                    <a:gd name="connsiteY3" fmla="*/ 70486 h 91758"/>
                    <a:gd name="connsiteX4" fmla="*/ 133863 w 219388"/>
                    <a:gd name="connsiteY4" fmla="*/ 70486 h 91758"/>
                    <a:gd name="connsiteX5" fmla="*/ 201230 w 219388"/>
                    <a:gd name="connsiteY5" fmla="*/ 3119 h 91758"/>
                    <a:gd name="connsiteX6" fmla="*/ 216269 w 219388"/>
                    <a:gd name="connsiteY6" fmla="*/ 3119 h 91758"/>
                    <a:gd name="connsiteX7" fmla="*/ 216269 w 219388"/>
                    <a:gd name="connsiteY7" fmla="*/ 18158 h 91758"/>
                    <a:gd name="connsiteX8" fmla="*/ 145786 w 219388"/>
                    <a:gd name="connsiteY8" fmla="*/ 88642 h 91758"/>
                    <a:gd name="connsiteX9" fmla="*/ 138266 w 219388"/>
                    <a:gd name="connsiteY9" fmla="*/ 91758 h 9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388" h="91758">
                      <a:moveTo>
                        <a:pt x="138266" y="91758"/>
                      </a:moveTo>
                      <a:lnTo>
                        <a:pt x="10636" y="91758"/>
                      </a:lnTo>
                      <a:cubicBezTo>
                        <a:pt x="4765" y="91758"/>
                        <a:pt x="0" y="86993"/>
                        <a:pt x="0" y="81122"/>
                      </a:cubicBezTo>
                      <a:cubicBezTo>
                        <a:pt x="0" y="75251"/>
                        <a:pt x="4765" y="70486"/>
                        <a:pt x="10636" y="70486"/>
                      </a:cubicBezTo>
                      <a:lnTo>
                        <a:pt x="133863" y="70486"/>
                      </a:lnTo>
                      <a:lnTo>
                        <a:pt x="201230" y="3119"/>
                      </a:lnTo>
                      <a:cubicBezTo>
                        <a:pt x="205389" y="-1040"/>
                        <a:pt x="212111" y="-1040"/>
                        <a:pt x="216269" y="3119"/>
                      </a:cubicBezTo>
                      <a:cubicBezTo>
                        <a:pt x="220428" y="7278"/>
                        <a:pt x="220428" y="13999"/>
                        <a:pt x="216269" y="18158"/>
                      </a:cubicBezTo>
                      <a:lnTo>
                        <a:pt x="145786" y="88642"/>
                      </a:lnTo>
                      <a:cubicBezTo>
                        <a:pt x="143786" y="90641"/>
                        <a:pt x="141085" y="91758"/>
                        <a:pt x="138266" y="91758"/>
                      </a:cubicBezTo>
                      <a:close/>
                    </a:path>
                  </a:pathLst>
                </a:custGeom>
                <a:solidFill>
                  <a:schemeClr val="accent1"/>
                </a:solidFill>
                <a:ln w="1063" cap="flat">
                  <a:noFill/>
                  <a:prstDash val="solid"/>
                  <a:miter/>
                </a:ln>
              </p:spPr>
              <p:txBody>
                <a:bodyPr rtlCol="0" anchor="ctr"/>
                <a:lstStyle/>
                <a:p>
                  <a:endParaRPr lang="en-GB" dirty="0"/>
                </a:p>
              </p:txBody>
            </p:sp>
          </p:grpSp>
          <p:grpSp>
            <p:nvGrpSpPr>
              <p:cNvPr id="300" name="Graphic 818">
                <a:extLst>
                  <a:ext uri="{FF2B5EF4-FFF2-40B4-BE49-F238E27FC236}">
                    <a16:creationId xmlns:a16="http://schemas.microsoft.com/office/drawing/2014/main" id="{D1BB580C-E9FC-4682-9726-2CDB86317B75}"/>
                  </a:ext>
                </a:extLst>
              </p:cNvPr>
              <p:cNvGrpSpPr/>
              <p:nvPr/>
            </p:nvGrpSpPr>
            <p:grpSpPr>
              <a:xfrm>
                <a:off x="1639428" y="2370969"/>
                <a:ext cx="177298" cy="150021"/>
                <a:chOff x="3575451" y="1336533"/>
                <a:chExt cx="276532" cy="233988"/>
              </a:xfrm>
              <a:solidFill>
                <a:schemeClr val="accent1"/>
              </a:solidFill>
            </p:grpSpPr>
            <p:sp>
              <p:nvSpPr>
                <p:cNvPr id="301" name="Freeform: Shape 300">
                  <a:extLst>
                    <a:ext uri="{FF2B5EF4-FFF2-40B4-BE49-F238E27FC236}">
                      <a16:creationId xmlns:a16="http://schemas.microsoft.com/office/drawing/2014/main" id="{60C5B40A-864F-4C91-936D-F054BDC092F1}"/>
                    </a:ext>
                  </a:extLst>
                </p:cNvPr>
                <p:cNvSpPr/>
                <p:nvPr/>
              </p:nvSpPr>
              <p:spPr>
                <a:xfrm>
                  <a:off x="3703082" y="1336533"/>
                  <a:ext cx="85086" cy="85086"/>
                </a:xfrm>
                <a:custGeom>
                  <a:avLst/>
                  <a:gdLst>
                    <a:gd name="connsiteX0" fmla="*/ 42543 w 85086"/>
                    <a:gd name="connsiteY0" fmla="*/ 85087 h 85086"/>
                    <a:gd name="connsiteX1" fmla="*/ 0 w 85086"/>
                    <a:gd name="connsiteY1" fmla="*/ 42543 h 85086"/>
                    <a:gd name="connsiteX2" fmla="*/ 42543 w 85086"/>
                    <a:gd name="connsiteY2" fmla="*/ 0 h 85086"/>
                    <a:gd name="connsiteX3" fmla="*/ 85087 w 85086"/>
                    <a:gd name="connsiteY3" fmla="*/ 42543 h 85086"/>
                    <a:gd name="connsiteX4" fmla="*/ 42543 w 85086"/>
                    <a:gd name="connsiteY4" fmla="*/ 85087 h 85086"/>
                    <a:gd name="connsiteX5" fmla="*/ 42543 w 85086"/>
                    <a:gd name="connsiteY5" fmla="*/ 21272 h 85086"/>
                    <a:gd name="connsiteX6" fmla="*/ 21272 w 85086"/>
                    <a:gd name="connsiteY6" fmla="*/ 42543 h 85086"/>
                    <a:gd name="connsiteX7" fmla="*/ 42543 w 85086"/>
                    <a:gd name="connsiteY7" fmla="*/ 63815 h 85086"/>
                    <a:gd name="connsiteX8" fmla="*/ 63815 w 85086"/>
                    <a:gd name="connsiteY8" fmla="*/ 42543 h 85086"/>
                    <a:gd name="connsiteX9" fmla="*/ 42543 w 85086"/>
                    <a:gd name="connsiteY9" fmla="*/ 21272 h 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86" h="85086">
                      <a:moveTo>
                        <a:pt x="42543" y="85087"/>
                      </a:moveTo>
                      <a:cubicBezTo>
                        <a:pt x="19081" y="85087"/>
                        <a:pt x="0" y="66006"/>
                        <a:pt x="0" y="42543"/>
                      </a:cubicBezTo>
                      <a:cubicBezTo>
                        <a:pt x="0" y="19081"/>
                        <a:pt x="19081" y="0"/>
                        <a:pt x="42543" y="0"/>
                      </a:cubicBezTo>
                      <a:cubicBezTo>
                        <a:pt x="66006" y="0"/>
                        <a:pt x="85087" y="19081"/>
                        <a:pt x="85087" y="42543"/>
                      </a:cubicBezTo>
                      <a:cubicBezTo>
                        <a:pt x="85087" y="66006"/>
                        <a:pt x="65995" y="85087"/>
                        <a:pt x="42543" y="85087"/>
                      </a:cubicBezTo>
                      <a:close/>
                      <a:moveTo>
                        <a:pt x="42543" y="21272"/>
                      </a:moveTo>
                      <a:cubicBezTo>
                        <a:pt x="30812" y="21272"/>
                        <a:pt x="21272" y="30812"/>
                        <a:pt x="21272" y="42543"/>
                      </a:cubicBezTo>
                      <a:cubicBezTo>
                        <a:pt x="21272" y="54275"/>
                        <a:pt x="30812" y="63815"/>
                        <a:pt x="42543" y="63815"/>
                      </a:cubicBezTo>
                      <a:cubicBezTo>
                        <a:pt x="54275" y="63815"/>
                        <a:pt x="63815" y="54275"/>
                        <a:pt x="63815" y="42543"/>
                      </a:cubicBezTo>
                      <a:cubicBezTo>
                        <a:pt x="63815" y="30812"/>
                        <a:pt x="54275" y="21272"/>
                        <a:pt x="42543" y="21272"/>
                      </a:cubicBezTo>
                      <a:close/>
                    </a:path>
                  </a:pathLst>
                </a:custGeom>
                <a:solidFill>
                  <a:schemeClr val="accent1"/>
                </a:solidFill>
                <a:ln w="1063" cap="flat">
                  <a:noFill/>
                  <a:prstDash val="solid"/>
                  <a:miter/>
                </a:ln>
              </p:spPr>
              <p:txBody>
                <a:bodyPr rtlCol="0" anchor="ctr"/>
                <a:lstStyle/>
                <a:p>
                  <a:endParaRPr lang="en-GB" dirty="0"/>
                </a:p>
              </p:txBody>
            </p:sp>
            <p:sp>
              <p:nvSpPr>
                <p:cNvPr id="302" name="Freeform: Shape 301">
                  <a:extLst>
                    <a:ext uri="{FF2B5EF4-FFF2-40B4-BE49-F238E27FC236}">
                      <a16:creationId xmlns:a16="http://schemas.microsoft.com/office/drawing/2014/main" id="{6C9C7BBF-BCE8-49A2-A27B-EFCE14A1CDBC}"/>
                    </a:ext>
                  </a:extLst>
                </p:cNvPr>
                <p:cNvSpPr/>
                <p:nvPr/>
              </p:nvSpPr>
              <p:spPr>
                <a:xfrm>
                  <a:off x="3575451" y="1379077"/>
                  <a:ext cx="85086" cy="85086"/>
                </a:xfrm>
                <a:custGeom>
                  <a:avLst/>
                  <a:gdLst>
                    <a:gd name="connsiteX0" fmla="*/ 42543 w 85086"/>
                    <a:gd name="connsiteY0" fmla="*/ 85087 h 85086"/>
                    <a:gd name="connsiteX1" fmla="*/ 0 w 85086"/>
                    <a:gd name="connsiteY1" fmla="*/ 42543 h 85086"/>
                    <a:gd name="connsiteX2" fmla="*/ 42543 w 85086"/>
                    <a:gd name="connsiteY2" fmla="*/ 0 h 85086"/>
                    <a:gd name="connsiteX3" fmla="*/ 85087 w 85086"/>
                    <a:gd name="connsiteY3" fmla="*/ 42543 h 85086"/>
                    <a:gd name="connsiteX4" fmla="*/ 42543 w 85086"/>
                    <a:gd name="connsiteY4" fmla="*/ 85087 h 85086"/>
                    <a:gd name="connsiteX5" fmla="*/ 42543 w 85086"/>
                    <a:gd name="connsiteY5" fmla="*/ 21272 h 85086"/>
                    <a:gd name="connsiteX6" fmla="*/ 21272 w 85086"/>
                    <a:gd name="connsiteY6" fmla="*/ 42543 h 85086"/>
                    <a:gd name="connsiteX7" fmla="*/ 42543 w 85086"/>
                    <a:gd name="connsiteY7" fmla="*/ 63815 h 85086"/>
                    <a:gd name="connsiteX8" fmla="*/ 63815 w 85086"/>
                    <a:gd name="connsiteY8" fmla="*/ 42543 h 85086"/>
                    <a:gd name="connsiteX9" fmla="*/ 42543 w 85086"/>
                    <a:gd name="connsiteY9" fmla="*/ 21272 h 85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086" h="85086">
                      <a:moveTo>
                        <a:pt x="42543" y="85087"/>
                      </a:moveTo>
                      <a:cubicBezTo>
                        <a:pt x="19081" y="85087"/>
                        <a:pt x="0" y="66006"/>
                        <a:pt x="0" y="42543"/>
                      </a:cubicBezTo>
                      <a:cubicBezTo>
                        <a:pt x="0" y="19081"/>
                        <a:pt x="19081" y="0"/>
                        <a:pt x="42543" y="0"/>
                      </a:cubicBezTo>
                      <a:cubicBezTo>
                        <a:pt x="66006" y="0"/>
                        <a:pt x="85087" y="19081"/>
                        <a:pt x="85087" y="42543"/>
                      </a:cubicBezTo>
                      <a:cubicBezTo>
                        <a:pt x="85087" y="66006"/>
                        <a:pt x="65995" y="85087"/>
                        <a:pt x="42543" y="85087"/>
                      </a:cubicBezTo>
                      <a:close/>
                      <a:moveTo>
                        <a:pt x="42543" y="21272"/>
                      </a:moveTo>
                      <a:cubicBezTo>
                        <a:pt x="30812" y="21272"/>
                        <a:pt x="21272" y="30812"/>
                        <a:pt x="21272" y="42543"/>
                      </a:cubicBezTo>
                      <a:cubicBezTo>
                        <a:pt x="21272" y="54275"/>
                        <a:pt x="30812" y="63815"/>
                        <a:pt x="42543" y="63815"/>
                      </a:cubicBezTo>
                      <a:cubicBezTo>
                        <a:pt x="54275" y="63815"/>
                        <a:pt x="63815" y="54275"/>
                        <a:pt x="63815" y="42543"/>
                      </a:cubicBezTo>
                      <a:cubicBezTo>
                        <a:pt x="63815" y="30812"/>
                        <a:pt x="54275" y="21272"/>
                        <a:pt x="42543" y="21272"/>
                      </a:cubicBezTo>
                      <a:close/>
                    </a:path>
                  </a:pathLst>
                </a:custGeom>
                <a:solidFill>
                  <a:schemeClr val="accent1"/>
                </a:solidFill>
                <a:ln w="1063" cap="flat">
                  <a:noFill/>
                  <a:prstDash val="solid"/>
                  <a:miter/>
                </a:ln>
              </p:spPr>
              <p:txBody>
                <a:bodyPr rtlCol="0" anchor="ctr"/>
                <a:lstStyle/>
                <a:p>
                  <a:endParaRPr lang="en-GB" dirty="0"/>
                </a:p>
              </p:txBody>
            </p:sp>
            <p:sp>
              <p:nvSpPr>
                <p:cNvPr id="303" name="Freeform: Shape 302">
                  <a:extLst>
                    <a:ext uri="{FF2B5EF4-FFF2-40B4-BE49-F238E27FC236}">
                      <a16:creationId xmlns:a16="http://schemas.microsoft.com/office/drawing/2014/main" id="{2497C420-BC74-4D03-AF95-50ED991B7154}"/>
                    </a:ext>
                  </a:extLst>
                </p:cNvPr>
                <p:cNvSpPr/>
                <p:nvPr/>
              </p:nvSpPr>
              <p:spPr>
                <a:xfrm>
                  <a:off x="3758181" y="1390934"/>
                  <a:ext cx="93802" cy="179587"/>
                </a:xfrm>
                <a:custGeom>
                  <a:avLst/>
                  <a:gdLst>
                    <a:gd name="connsiteX0" fmla="*/ 83167 w 93802"/>
                    <a:gd name="connsiteY0" fmla="*/ 179588 h 179587"/>
                    <a:gd name="connsiteX1" fmla="*/ 72531 w 93802"/>
                    <a:gd name="connsiteY1" fmla="*/ 168952 h 179587"/>
                    <a:gd name="connsiteX2" fmla="*/ 72531 w 93802"/>
                    <a:gd name="connsiteY2" fmla="*/ 78100 h 179587"/>
                    <a:gd name="connsiteX3" fmla="*/ 3685 w 93802"/>
                    <a:gd name="connsiteY3" fmla="*/ 18678 h 179587"/>
                    <a:gd name="connsiteX4" fmla="*/ 2579 w 93802"/>
                    <a:gd name="connsiteY4" fmla="*/ 3681 h 179587"/>
                    <a:gd name="connsiteX5" fmla="*/ 17575 w 93802"/>
                    <a:gd name="connsiteY5" fmla="*/ 2575 h 179587"/>
                    <a:gd name="connsiteX6" fmla="*/ 90112 w 93802"/>
                    <a:gd name="connsiteY6" fmla="*/ 65178 h 179587"/>
                    <a:gd name="connsiteX7" fmla="*/ 93802 w 93802"/>
                    <a:gd name="connsiteY7" fmla="*/ 73229 h 179587"/>
                    <a:gd name="connsiteX8" fmla="*/ 93802 w 93802"/>
                    <a:gd name="connsiteY8" fmla="*/ 168952 h 179587"/>
                    <a:gd name="connsiteX9" fmla="*/ 83167 w 93802"/>
                    <a:gd name="connsiteY9" fmla="*/ 179588 h 179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802" h="179587">
                      <a:moveTo>
                        <a:pt x="83167" y="179588"/>
                      </a:moveTo>
                      <a:cubicBezTo>
                        <a:pt x="77296" y="179588"/>
                        <a:pt x="72531" y="174823"/>
                        <a:pt x="72531" y="168952"/>
                      </a:cubicBezTo>
                      <a:lnTo>
                        <a:pt x="72531" y="78100"/>
                      </a:lnTo>
                      <a:lnTo>
                        <a:pt x="3685" y="18678"/>
                      </a:lnTo>
                      <a:cubicBezTo>
                        <a:pt x="-761" y="14838"/>
                        <a:pt x="-1250" y="8127"/>
                        <a:pt x="2579" y="3681"/>
                      </a:cubicBezTo>
                      <a:cubicBezTo>
                        <a:pt x="6418" y="-754"/>
                        <a:pt x="13130" y="-1254"/>
                        <a:pt x="17575" y="2575"/>
                      </a:cubicBezTo>
                      <a:lnTo>
                        <a:pt x="90112" y="65178"/>
                      </a:lnTo>
                      <a:cubicBezTo>
                        <a:pt x="92452" y="67199"/>
                        <a:pt x="93802" y="70134"/>
                        <a:pt x="93802" y="73229"/>
                      </a:cubicBezTo>
                      <a:lnTo>
                        <a:pt x="93802" y="168952"/>
                      </a:lnTo>
                      <a:cubicBezTo>
                        <a:pt x="93802" y="174834"/>
                        <a:pt x="89038" y="179588"/>
                        <a:pt x="83167" y="179588"/>
                      </a:cubicBezTo>
                      <a:close/>
                    </a:path>
                  </a:pathLst>
                </a:custGeom>
                <a:solidFill>
                  <a:schemeClr val="accent1"/>
                </a:solidFill>
                <a:ln w="1063" cap="flat">
                  <a:noFill/>
                  <a:prstDash val="solid"/>
                  <a:miter/>
                </a:ln>
              </p:spPr>
              <p:txBody>
                <a:bodyPr rtlCol="0" anchor="ctr"/>
                <a:lstStyle/>
                <a:p>
                  <a:endParaRPr lang="en-GB" dirty="0"/>
                </a:p>
              </p:txBody>
            </p:sp>
            <p:sp>
              <p:nvSpPr>
                <p:cNvPr id="304" name="Freeform: Shape 303">
                  <a:extLst>
                    <a:ext uri="{FF2B5EF4-FFF2-40B4-BE49-F238E27FC236}">
                      <a16:creationId xmlns:a16="http://schemas.microsoft.com/office/drawing/2014/main" id="{8B9BB833-06C8-4F13-9801-165E9EB8F875}"/>
                    </a:ext>
                  </a:extLst>
                </p:cNvPr>
                <p:cNvSpPr/>
                <p:nvPr/>
              </p:nvSpPr>
              <p:spPr>
                <a:xfrm>
                  <a:off x="3632595" y="1436220"/>
                  <a:ext cx="219388" cy="91758"/>
                </a:xfrm>
                <a:custGeom>
                  <a:avLst/>
                  <a:gdLst>
                    <a:gd name="connsiteX0" fmla="*/ 208753 w 219388"/>
                    <a:gd name="connsiteY0" fmla="*/ 91758 h 91758"/>
                    <a:gd name="connsiteX1" fmla="*/ 81122 w 219388"/>
                    <a:gd name="connsiteY1" fmla="*/ 91758 h 91758"/>
                    <a:gd name="connsiteX2" fmla="*/ 73603 w 219388"/>
                    <a:gd name="connsiteY2" fmla="*/ 88642 h 91758"/>
                    <a:gd name="connsiteX3" fmla="*/ 3119 w 219388"/>
                    <a:gd name="connsiteY3" fmla="*/ 18158 h 91758"/>
                    <a:gd name="connsiteX4" fmla="*/ 3119 w 219388"/>
                    <a:gd name="connsiteY4" fmla="*/ 3119 h 91758"/>
                    <a:gd name="connsiteX5" fmla="*/ 18158 w 219388"/>
                    <a:gd name="connsiteY5" fmla="*/ 3119 h 91758"/>
                    <a:gd name="connsiteX6" fmla="*/ 85526 w 219388"/>
                    <a:gd name="connsiteY6" fmla="*/ 70486 h 91758"/>
                    <a:gd name="connsiteX7" fmla="*/ 208753 w 219388"/>
                    <a:gd name="connsiteY7" fmla="*/ 70486 h 91758"/>
                    <a:gd name="connsiteX8" fmla="*/ 219388 w 219388"/>
                    <a:gd name="connsiteY8" fmla="*/ 81122 h 91758"/>
                    <a:gd name="connsiteX9" fmla="*/ 208753 w 219388"/>
                    <a:gd name="connsiteY9" fmla="*/ 91758 h 91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9388" h="91758">
                      <a:moveTo>
                        <a:pt x="208753" y="91758"/>
                      </a:moveTo>
                      <a:lnTo>
                        <a:pt x="81122" y="91758"/>
                      </a:lnTo>
                      <a:cubicBezTo>
                        <a:pt x="78304" y="91758"/>
                        <a:pt x="75592" y="90641"/>
                        <a:pt x="73603" y="88642"/>
                      </a:cubicBezTo>
                      <a:lnTo>
                        <a:pt x="3119" y="18158"/>
                      </a:lnTo>
                      <a:cubicBezTo>
                        <a:pt x="-1040" y="13999"/>
                        <a:pt x="-1040" y="7278"/>
                        <a:pt x="3119" y="3119"/>
                      </a:cubicBezTo>
                      <a:cubicBezTo>
                        <a:pt x="7278" y="-1040"/>
                        <a:pt x="13999" y="-1040"/>
                        <a:pt x="18158" y="3119"/>
                      </a:cubicBezTo>
                      <a:lnTo>
                        <a:pt x="85526" y="70486"/>
                      </a:lnTo>
                      <a:lnTo>
                        <a:pt x="208753" y="70486"/>
                      </a:lnTo>
                      <a:cubicBezTo>
                        <a:pt x="214624" y="70486"/>
                        <a:pt x="219388" y="75251"/>
                        <a:pt x="219388" y="81122"/>
                      </a:cubicBezTo>
                      <a:cubicBezTo>
                        <a:pt x="219388" y="86993"/>
                        <a:pt x="214624" y="91758"/>
                        <a:pt x="208753" y="91758"/>
                      </a:cubicBezTo>
                      <a:close/>
                    </a:path>
                  </a:pathLst>
                </a:custGeom>
                <a:solidFill>
                  <a:schemeClr val="accent1"/>
                </a:solidFill>
                <a:ln w="1063" cap="flat">
                  <a:noFill/>
                  <a:prstDash val="solid"/>
                  <a:miter/>
                </a:ln>
              </p:spPr>
              <p:txBody>
                <a:bodyPr rtlCol="0" anchor="ctr"/>
                <a:lstStyle/>
                <a:p>
                  <a:endParaRPr lang="en-GB" dirty="0"/>
                </a:p>
              </p:txBody>
            </p:sp>
          </p:grpSp>
        </p:grpSp>
      </p:grpSp>
      <p:grpSp>
        <p:nvGrpSpPr>
          <p:cNvPr id="33" name="Group 32">
            <a:extLst>
              <a:ext uri="{FF2B5EF4-FFF2-40B4-BE49-F238E27FC236}">
                <a16:creationId xmlns:a16="http://schemas.microsoft.com/office/drawing/2014/main" id="{802BF8D6-0ADD-BD45-000D-49DB7B7F56D2}"/>
              </a:ext>
            </a:extLst>
          </p:cNvPr>
          <p:cNvGrpSpPr/>
          <p:nvPr/>
        </p:nvGrpSpPr>
        <p:grpSpPr>
          <a:xfrm>
            <a:off x="2688275" y="4081745"/>
            <a:ext cx="393286" cy="384739"/>
            <a:chOff x="2688275" y="4081745"/>
            <a:chExt cx="393286" cy="384739"/>
          </a:xfrm>
        </p:grpSpPr>
        <p:grpSp>
          <p:nvGrpSpPr>
            <p:cNvPr id="316" name="Graphic 818">
              <a:extLst>
                <a:ext uri="{FF2B5EF4-FFF2-40B4-BE49-F238E27FC236}">
                  <a16:creationId xmlns:a16="http://schemas.microsoft.com/office/drawing/2014/main" id="{A6FE2A88-666B-4735-8C95-B51509AA2618}"/>
                </a:ext>
              </a:extLst>
            </p:cNvPr>
            <p:cNvGrpSpPr/>
            <p:nvPr/>
          </p:nvGrpSpPr>
          <p:grpSpPr>
            <a:xfrm>
              <a:off x="2688275" y="4081745"/>
              <a:ext cx="393286" cy="340119"/>
              <a:chOff x="2159038" y="1377619"/>
              <a:chExt cx="702252" cy="607318"/>
            </a:xfrm>
            <a:solidFill>
              <a:schemeClr val="tx2"/>
            </a:solidFill>
          </p:grpSpPr>
          <p:sp>
            <p:nvSpPr>
              <p:cNvPr id="357" name="Freeform: Shape 356">
                <a:extLst>
                  <a:ext uri="{FF2B5EF4-FFF2-40B4-BE49-F238E27FC236}">
                    <a16:creationId xmlns:a16="http://schemas.microsoft.com/office/drawing/2014/main" id="{CD9CF89C-D52C-4672-AADE-4D655516E35F}"/>
                  </a:ext>
                </a:extLst>
              </p:cNvPr>
              <p:cNvSpPr/>
              <p:nvPr/>
            </p:nvSpPr>
            <p:spPr>
              <a:xfrm>
                <a:off x="2419219" y="1377619"/>
                <a:ext cx="182931" cy="228803"/>
              </a:xfrm>
              <a:custGeom>
                <a:avLst/>
                <a:gdLst>
                  <a:gd name="connsiteX0" fmla="*/ 35266 w 182931"/>
                  <a:gd name="connsiteY0" fmla="*/ 228799 h 228803"/>
                  <a:gd name="connsiteX1" fmla="*/ 34362 w 182931"/>
                  <a:gd name="connsiteY1" fmla="*/ 228767 h 228803"/>
                  <a:gd name="connsiteX2" fmla="*/ 20822 w 182931"/>
                  <a:gd name="connsiteY2" fmla="*/ 219758 h 228803"/>
                  <a:gd name="connsiteX3" fmla="*/ 17164 w 182931"/>
                  <a:gd name="connsiteY3" fmla="*/ 213876 h 228803"/>
                  <a:gd name="connsiteX4" fmla="*/ 1178 w 182931"/>
                  <a:gd name="connsiteY4" fmla="*/ 164781 h 228803"/>
                  <a:gd name="connsiteX5" fmla="*/ 15664 w 182931"/>
                  <a:gd name="connsiteY5" fmla="*/ 149891 h 228803"/>
                  <a:gd name="connsiteX6" fmla="*/ 55453 w 182931"/>
                  <a:gd name="connsiteY6" fmla="*/ 105412 h 228803"/>
                  <a:gd name="connsiteX7" fmla="*/ 54655 w 182931"/>
                  <a:gd name="connsiteY7" fmla="*/ 10721 h 228803"/>
                  <a:gd name="connsiteX8" fmla="*/ 57739 w 182931"/>
                  <a:gd name="connsiteY8" fmla="*/ 3148 h 228803"/>
                  <a:gd name="connsiteX9" fmla="*/ 65291 w 182931"/>
                  <a:gd name="connsiteY9" fmla="*/ 0 h 228803"/>
                  <a:gd name="connsiteX10" fmla="*/ 117651 w 182931"/>
                  <a:gd name="connsiteY10" fmla="*/ 0 h 228803"/>
                  <a:gd name="connsiteX11" fmla="*/ 125203 w 182931"/>
                  <a:gd name="connsiteY11" fmla="*/ 3148 h 228803"/>
                  <a:gd name="connsiteX12" fmla="*/ 128287 w 182931"/>
                  <a:gd name="connsiteY12" fmla="*/ 10721 h 228803"/>
                  <a:gd name="connsiteX13" fmla="*/ 127489 w 182931"/>
                  <a:gd name="connsiteY13" fmla="*/ 105784 h 228803"/>
                  <a:gd name="connsiteX14" fmla="*/ 166449 w 182931"/>
                  <a:gd name="connsiteY14" fmla="*/ 149593 h 228803"/>
                  <a:gd name="connsiteX15" fmla="*/ 167268 w 182931"/>
                  <a:gd name="connsiteY15" fmla="*/ 149891 h 228803"/>
                  <a:gd name="connsiteX16" fmla="*/ 181754 w 182931"/>
                  <a:gd name="connsiteY16" fmla="*/ 164781 h 228803"/>
                  <a:gd name="connsiteX17" fmla="*/ 165757 w 182931"/>
                  <a:gd name="connsiteY17" fmla="*/ 213887 h 228803"/>
                  <a:gd name="connsiteX18" fmla="*/ 162109 w 182931"/>
                  <a:gd name="connsiteY18" fmla="*/ 219758 h 228803"/>
                  <a:gd name="connsiteX19" fmla="*/ 148559 w 182931"/>
                  <a:gd name="connsiteY19" fmla="*/ 228777 h 228803"/>
                  <a:gd name="connsiteX20" fmla="*/ 136200 w 182931"/>
                  <a:gd name="connsiteY20" fmla="*/ 223119 h 228803"/>
                  <a:gd name="connsiteX21" fmla="*/ 120693 w 182931"/>
                  <a:gd name="connsiteY21" fmla="*/ 205272 h 228803"/>
                  <a:gd name="connsiteX22" fmla="*/ 119832 w 182931"/>
                  <a:gd name="connsiteY22" fmla="*/ 204442 h 228803"/>
                  <a:gd name="connsiteX23" fmla="*/ 92061 w 182931"/>
                  <a:gd name="connsiteY23" fmla="*/ 192849 h 228803"/>
                  <a:gd name="connsiteX24" fmla="*/ 91987 w 182931"/>
                  <a:gd name="connsiteY24" fmla="*/ 192849 h 228803"/>
                  <a:gd name="connsiteX25" fmla="*/ 63111 w 182931"/>
                  <a:gd name="connsiteY25" fmla="*/ 204442 h 228803"/>
                  <a:gd name="connsiteX26" fmla="*/ 62249 w 182931"/>
                  <a:gd name="connsiteY26" fmla="*/ 205272 h 228803"/>
                  <a:gd name="connsiteX27" fmla="*/ 46742 w 182931"/>
                  <a:gd name="connsiteY27" fmla="*/ 223140 h 228803"/>
                  <a:gd name="connsiteX28" fmla="*/ 35266 w 182931"/>
                  <a:gd name="connsiteY28" fmla="*/ 228799 h 228803"/>
                  <a:gd name="connsiteX29" fmla="*/ 76012 w 182931"/>
                  <a:gd name="connsiteY29" fmla="*/ 21261 h 228803"/>
                  <a:gd name="connsiteX30" fmla="*/ 76714 w 182931"/>
                  <a:gd name="connsiteY30" fmla="*/ 105561 h 228803"/>
                  <a:gd name="connsiteX31" fmla="*/ 22769 w 182931"/>
                  <a:gd name="connsiteY31" fmla="*/ 169908 h 228803"/>
                  <a:gd name="connsiteX32" fmla="*/ 21439 w 182931"/>
                  <a:gd name="connsiteY32" fmla="*/ 171248 h 228803"/>
                  <a:gd name="connsiteX33" fmla="*/ 35106 w 182931"/>
                  <a:gd name="connsiteY33" fmla="*/ 202422 h 228803"/>
                  <a:gd name="connsiteX34" fmla="*/ 35447 w 182931"/>
                  <a:gd name="connsiteY34" fmla="*/ 202953 h 228803"/>
                  <a:gd name="connsiteX35" fmla="*/ 47933 w 182931"/>
                  <a:gd name="connsiteY35" fmla="*/ 189499 h 228803"/>
                  <a:gd name="connsiteX36" fmla="*/ 90966 w 182931"/>
                  <a:gd name="connsiteY36" fmla="*/ 171556 h 228803"/>
                  <a:gd name="connsiteX37" fmla="*/ 92689 w 182931"/>
                  <a:gd name="connsiteY37" fmla="*/ 171588 h 228803"/>
                  <a:gd name="connsiteX38" fmla="*/ 134998 w 182931"/>
                  <a:gd name="connsiteY38" fmla="*/ 189499 h 228803"/>
                  <a:gd name="connsiteX39" fmla="*/ 147485 w 182931"/>
                  <a:gd name="connsiteY39" fmla="*/ 202953 h 228803"/>
                  <a:gd name="connsiteX40" fmla="*/ 147815 w 182931"/>
                  <a:gd name="connsiteY40" fmla="*/ 202432 h 228803"/>
                  <a:gd name="connsiteX41" fmla="*/ 161492 w 182931"/>
                  <a:gd name="connsiteY41" fmla="*/ 171248 h 228803"/>
                  <a:gd name="connsiteX42" fmla="*/ 159610 w 182931"/>
                  <a:gd name="connsiteY42" fmla="*/ 169716 h 228803"/>
                  <a:gd name="connsiteX43" fmla="*/ 106218 w 182931"/>
                  <a:gd name="connsiteY43" fmla="*/ 105922 h 228803"/>
                  <a:gd name="connsiteX44" fmla="*/ 106920 w 182931"/>
                  <a:gd name="connsiteY44" fmla="*/ 21240 h 228803"/>
                  <a:gd name="connsiteX45" fmla="*/ 76012 w 182931"/>
                  <a:gd name="connsiteY45" fmla="*/ 21240 h 228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82931" h="228803">
                    <a:moveTo>
                      <a:pt x="35266" y="228799"/>
                    </a:moveTo>
                    <a:cubicBezTo>
                      <a:pt x="34968" y="228799"/>
                      <a:pt x="34660" y="228788"/>
                      <a:pt x="34362" y="228767"/>
                    </a:cubicBezTo>
                    <a:cubicBezTo>
                      <a:pt x="28831" y="228437"/>
                      <a:pt x="23907" y="225150"/>
                      <a:pt x="20822" y="219758"/>
                    </a:cubicBezTo>
                    <a:cubicBezTo>
                      <a:pt x="19918" y="218173"/>
                      <a:pt x="18631" y="216163"/>
                      <a:pt x="17164" y="213876"/>
                    </a:cubicBezTo>
                    <a:cubicBezTo>
                      <a:pt x="8761" y="200688"/>
                      <a:pt x="-3938" y="180767"/>
                      <a:pt x="1178" y="164781"/>
                    </a:cubicBezTo>
                    <a:cubicBezTo>
                      <a:pt x="2699" y="160038"/>
                      <a:pt x="6443" y="153614"/>
                      <a:pt x="15664" y="149891"/>
                    </a:cubicBezTo>
                    <a:cubicBezTo>
                      <a:pt x="18046" y="149104"/>
                      <a:pt x="54644" y="137245"/>
                      <a:pt x="55453" y="105412"/>
                    </a:cubicBezTo>
                    <a:cubicBezTo>
                      <a:pt x="55378" y="98786"/>
                      <a:pt x="54985" y="51446"/>
                      <a:pt x="54655" y="10721"/>
                    </a:cubicBezTo>
                    <a:cubicBezTo>
                      <a:pt x="54634" y="7881"/>
                      <a:pt x="55740" y="5158"/>
                      <a:pt x="57739" y="3148"/>
                    </a:cubicBezTo>
                    <a:cubicBezTo>
                      <a:pt x="59739" y="1138"/>
                      <a:pt x="62451" y="0"/>
                      <a:pt x="65291" y="0"/>
                    </a:cubicBezTo>
                    <a:lnTo>
                      <a:pt x="117651" y="0"/>
                    </a:lnTo>
                    <a:cubicBezTo>
                      <a:pt x="120491" y="0"/>
                      <a:pt x="123203" y="1127"/>
                      <a:pt x="125203" y="3148"/>
                    </a:cubicBezTo>
                    <a:cubicBezTo>
                      <a:pt x="127202" y="5158"/>
                      <a:pt x="128308" y="7892"/>
                      <a:pt x="128287" y="10721"/>
                    </a:cubicBezTo>
                    <a:cubicBezTo>
                      <a:pt x="127957" y="51435"/>
                      <a:pt x="127564" y="98775"/>
                      <a:pt x="127489" y="105784"/>
                    </a:cubicBezTo>
                    <a:cubicBezTo>
                      <a:pt x="128287" y="137245"/>
                      <a:pt x="164896" y="149104"/>
                      <a:pt x="166449" y="149593"/>
                    </a:cubicBezTo>
                    <a:cubicBezTo>
                      <a:pt x="166714" y="149678"/>
                      <a:pt x="167012" y="149785"/>
                      <a:pt x="167268" y="149891"/>
                    </a:cubicBezTo>
                    <a:cubicBezTo>
                      <a:pt x="176489" y="153614"/>
                      <a:pt x="180233" y="160038"/>
                      <a:pt x="181754" y="164781"/>
                    </a:cubicBezTo>
                    <a:cubicBezTo>
                      <a:pt x="186869" y="180778"/>
                      <a:pt x="174170" y="200699"/>
                      <a:pt x="165757" y="213887"/>
                    </a:cubicBezTo>
                    <a:cubicBezTo>
                      <a:pt x="164300" y="216174"/>
                      <a:pt x="163013" y="218173"/>
                      <a:pt x="162109" y="219758"/>
                    </a:cubicBezTo>
                    <a:cubicBezTo>
                      <a:pt x="159025" y="225161"/>
                      <a:pt x="154079" y="228448"/>
                      <a:pt x="148559" y="228777"/>
                    </a:cubicBezTo>
                    <a:cubicBezTo>
                      <a:pt x="143645" y="229064"/>
                      <a:pt x="139029" y="226959"/>
                      <a:pt x="136200" y="223119"/>
                    </a:cubicBezTo>
                    <a:cubicBezTo>
                      <a:pt x="130297" y="215163"/>
                      <a:pt x="124639" y="208654"/>
                      <a:pt x="120693" y="205272"/>
                    </a:cubicBezTo>
                    <a:cubicBezTo>
                      <a:pt x="120395" y="205017"/>
                      <a:pt x="120108" y="204740"/>
                      <a:pt x="119832" y="204442"/>
                    </a:cubicBezTo>
                    <a:cubicBezTo>
                      <a:pt x="112291" y="196338"/>
                      <a:pt x="103218" y="192615"/>
                      <a:pt x="92061" y="192849"/>
                    </a:cubicBezTo>
                    <a:cubicBezTo>
                      <a:pt x="92040" y="192849"/>
                      <a:pt x="92019" y="192849"/>
                      <a:pt x="91987" y="192849"/>
                    </a:cubicBezTo>
                    <a:cubicBezTo>
                      <a:pt x="79171" y="192849"/>
                      <a:pt x="70566" y="196423"/>
                      <a:pt x="63111" y="204442"/>
                    </a:cubicBezTo>
                    <a:cubicBezTo>
                      <a:pt x="62845" y="204730"/>
                      <a:pt x="62558" y="205006"/>
                      <a:pt x="62249" y="205272"/>
                    </a:cubicBezTo>
                    <a:cubicBezTo>
                      <a:pt x="58314" y="208644"/>
                      <a:pt x="52666" y="215163"/>
                      <a:pt x="46742" y="223140"/>
                    </a:cubicBezTo>
                    <a:cubicBezTo>
                      <a:pt x="44072" y="226714"/>
                      <a:pt x="39839" y="228799"/>
                      <a:pt x="35266" y="228799"/>
                    </a:cubicBezTo>
                    <a:close/>
                    <a:moveTo>
                      <a:pt x="76012" y="21261"/>
                    </a:moveTo>
                    <a:cubicBezTo>
                      <a:pt x="76320" y="59157"/>
                      <a:pt x="76650" y="99169"/>
                      <a:pt x="76714" y="105561"/>
                    </a:cubicBezTo>
                    <a:cubicBezTo>
                      <a:pt x="75523" y="153156"/>
                      <a:pt x="24917" y="169248"/>
                      <a:pt x="22769" y="169908"/>
                    </a:cubicBezTo>
                    <a:cubicBezTo>
                      <a:pt x="21726" y="170365"/>
                      <a:pt x="21514" y="171014"/>
                      <a:pt x="21439" y="171248"/>
                    </a:cubicBezTo>
                    <a:cubicBezTo>
                      <a:pt x="19365" y="177736"/>
                      <a:pt x="30799" y="195668"/>
                      <a:pt x="35106" y="202422"/>
                    </a:cubicBezTo>
                    <a:cubicBezTo>
                      <a:pt x="35223" y="202602"/>
                      <a:pt x="35330" y="202783"/>
                      <a:pt x="35447" y="202953"/>
                    </a:cubicBezTo>
                    <a:cubicBezTo>
                      <a:pt x="39329" y="198157"/>
                      <a:pt x="43743" y="193179"/>
                      <a:pt x="47933" y="189499"/>
                    </a:cubicBezTo>
                    <a:cubicBezTo>
                      <a:pt x="59367" y="177427"/>
                      <a:pt x="73449" y="171556"/>
                      <a:pt x="90966" y="171556"/>
                    </a:cubicBezTo>
                    <a:cubicBezTo>
                      <a:pt x="91189" y="171546"/>
                      <a:pt x="92380" y="171567"/>
                      <a:pt x="92689" y="171588"/>
                    </a:cubicBezTo>
                    <a:cubicBezTo>
                      <a:pt x="108760" y="171014"/>
                      <a:pt x="123448" y="177300"/>
                      <a:pt x="134998" y="189499"/>
                    </a:cubicBezTo>
                    <a:cubicBezTo>
                      <a:pt x="139199" y="193179"/>
                      <a:pt x="143603" y="198146"/>
                      <a:pt x="147485" y="202953"/>
                    </a:cubicBezTo>
                    <a:cubicBezTo>
                      <a:pt x="147591" y="202773"/>
                      <a:pt x="147708" y="202602"/>
                      <a:pt x="147815" y="202432"/>
                    </a:cubicBezTo>
                    <a:cubicBezTo>
                      <a:pt x="152122" y="195678"/>
                      <a:pt x="163566" y="177736"/>
                      <a:pt x="161492" y="171248"/>
                    </a:cubicBezTo>
                    <a:cubicBezTo>
                      <a:pt x="161418" y="171025"/>
                      <a:pt x="161237" y="170429"/>
                      <a:pt x="159610" y="169716"/>
                    </a:cubicBezTo>
                    <a:cubicBezTo>
                      <a:pt x="153654" y="167759"/>
                      <a:pt x="107356" y="151072"/>
                      <a:pt x="106218" y="105922"/>
                    </a:cubicBezTo>
                    <a:cubicBezTo>
                      <a:pt x="106271" y="99190"/>
                      <a:pt x="106611" y="59135"/>
                      <a:pt x="106920" y="21240"/>
                    </a:cubicBezTo>
                    <a:lnTo>
                      <a:pt x="76012" y="21240"/>
                    </a:lnTo>
                    <a:close/>
                  </a:path>
                </a:pathLst>
              </a:custGeom>
              <a:grpFill/>
              <a:ln w="1063" cap="flat">
                <a:noFill/>
                <a:prstDash val="solid"/>
                <a:miter/>
              </a:ln>
            </p:spPr>
            <p:txBody>
              <a:bodyPr rtlCol="0" anchor="ctr"/>
              <a:lstStyle/>
              <a:p>
                <a:endParaRPr lang="en-GB" dirty="0"/>
              </a:p>
            </p:txBody>
          </p:sp>
          <p:sp>
            <p:nvSpPr>
              <p:cNvPr id="358" name="Freeform: Shape 357">
                <a:extLst>
                  <a:ext uri="{FF2B5EF4-FFF2-40B4-BE49-F238E27FC236}">
                    <a16:creationId xmlns:a16="http://schemas.microsoft.com/office/drawing/2014/main" id="{362C40B0-5852-45BD-9C84-2901278D44C4}"/>
                  </a:ext>
                </a:extLst>
              </p:cNvPr>
              <p:cNvSpPr/>
              <p:nvPr/>
            </p:nvSpPr>
            <p:spPr>
              <a:xfrm>
                <a:off x="2455164" y="1574957"/>
                <a:ext cx="28591" cy="139382"/>
              </a:xfrm>
              <a:custGeom>
                <a:avLst/>
                <a:gdLst>
                  <a:gd name="connsiteX0" fmla="*/ 17955 w 28591"/>
                  <a:gd name="connsiteY0" fmla="*/ 139383 h 139382"/>
                  <a:gd name="connsiteX1" fmla="*/ 7320 w 28591"/>
                  <a:gd name="connsiteY1" fmla="*/ 128747 h 139382"/>
                  <a:gd name="connsiteX2" fmla="*/ 87 w 28591"/>
                  <a:gd name="connsiteY2" fmla="*/ 11997 h 139382"/>
                  <a:gd name="connsiteX3" fmla="*/ 9277 w 28591"/>
                  <a:gd name="connsiteY3" fmla="*/ 96 h 139382"/>
                  <a:gd name="connsiteX4" fmla="*/ 21178 w 28591"/>
                  <a:gd name="connsiteY4" fmla="*/ 9285 h 139382"/>
                  <a:gd name="connsiteX5" fmla="*/ 28591 w 28591"/>
                  <a:gd name="connsiteY5" fmla="*/ 128747 h 139382"/>
                  <a:gd name="connsiteX6" fmla="*/ 17955 w 28591"/>
                  <a:gd name="connsiteY6" fmla="*/ 139383 h 139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91" h="139382">
                    <a:moveTo>
                      <a:pt x="17955" y="139383"/>
                    </a:moveTo>
                    <a:cubicBezTo>
                      <a:pt x="12084" y="139383"/>
                      <a:pt x="7320" y="134618"/>
                      <a:pt x="7320" y="128747"/>
                    </a:cubicBezTo>
                    <a:cubicBezTo>
                      <a:pt x="7320" y="128141"/>
                      <a:pt x="7117" y="66761"/>
                      <a:pt x="87" y="11997"/>
                    </a:cubicBezTo>
                    <a:cubicBezTo>
                      <a:pt x="-657" y="6169"/>
                      <a:pt x="3448" y="840"/>
                      <a:pt x="9277" y="96"/>
                    </a:cubicBezTo>
                    <a:cubicBezTo>
                      <a:pt x="15094" y="-691"/>
                      <a:pt x="20423" y="3457"/>
                      <a:pt x="21178" y="9285"/>
                    </a:cubicBezTo>
                    <a:cubicBezTo>
                      <a:pt x="28389" y="65357"/>
                      <a:pt x="28591" y="128130"/>
                      <a:pt x="28591" y="128747"/>
                    </a:cubicBezTo>
                    <a:cubicBezTo>
                      <a:pt x="28591" y="134629"/>
                      <a:pt x="23826" y="139383"/>
                      <a:pt x="17955" y="139383"/>
                    </a:cubicBezTo>
                    <a:close/>
                  </a:path>
                </a:pathLst>
              </a:custGeom>
              <a:grpFill/>
              <a:ln w="1063" cap="flat">
                <a:noFill/>
                <a:prstDash val="solid"/>
                <a:miter/>
              </a:ln>
            </p:spPr>
            <p:txBody>
              <a:bodyPr rtlCol="0" anchor="ctr"/>
              <a:lstStyle/>
              <a:p>
                <a:endParaRPr lang="en-GB" dirty="0"/>
              </a:p>
            </p:txBody>
          </p:sp>
          <p:sp>
            <p:nvSpPr>
              <p:cNvPr id="359" name="Freeform: Shape 358">
                <a:extLst>
                  <a:ext uri="{FF2B5EF4-FFF2-40B4-BE49-F238E27FC236}">
                    <a16:creationId xmlns:a16="http://schemas.microsoft.com/office/drawing/2014/main" id="{002F7B9C-0BE8-4DD5-8E6D-E3E5CFBFB723}"/>
                  </a:ext>
                </a:extLst>
              </p:cNvPr>
              <p:cNvSpPr/>
              <p:nvPr/>
            </p:nvSpPr>
            <p:spPr>
              <a:xfrm>
                <a:off x="2159038" y="1440872"/>
                <a:ext cx="305351" cy="544001"/>
              </a:xfrm>
              <a:custGeom>
                <a:avLst/>
                <a:gdLst>
                  <a:gd name="connsiteX0" fmla="*/ 48728 w 305351"/>
                  <a:gd name="connsiteY0" fmla="*/ 544001 h 544001"/>
                  <a:gd name="connsiteX1" fmla="*/ 13927 w 305351"/>
                  <a:gd name="connsiteY1" fmla="*/ 535705 h 544001"/>
                  <a:gd name="connsiteX2" fmla="*/ 335 w 305351"/>
                  <a:gd name="connsiteY2" fmla="*/ 508977 h 544001"/>
                  <a:gd name="connsiteX3" fmla="*/ 159075 w 305351"/>
                  <a:gd name="connsiteY3" fmla="*/ 44073 h 544001"/>
                  <a:gd name="connsiteX4" fmla="*/ 162404 w 305351"/>
                  <a:gd name="connsiteY4" fmla="*/ 40734 h 544001"/>
                  <a:gd name="connsiteX5" fmla="*/ 240875 w 305351"/>
                  <a:gd name="connsiteY5" fmla="*/ 1126 h 544001"/>
                  <a:gd name="connsiteX6" fmla="*/ 304892 w 305351"/>
                  <a:gd name="connsiteY6" fmla="*/ 84628 h 544001"/>
                  <a:gd name="connsiteX7" fmla="*/ 297798 w 305351"/>
                  <a:gd name="connsiteY7" fmla="*/ 97902 h 544001"/>
                  <a:gd name="connsiteX8" fmla="*/ 284525 w 305351"/>
                  <a:gd name="connsiteY8" fmla="*/ 90807 h 544001"/>
                  <a:gd name="connsiteX9" fmla="*/ 236334 w 305351"/>
                  <a:gd name="connsiteY9" fmla="*/ 21908 h 544001"/>
                  <a:gd name="connsiteX10" fmla="*/ 179060 w 305351"/>
                  <a:gd name="connsiteY10" fmla="*/ 53954 h 544001"/>
                  <a:gd name="connsiteX11" fmla="*/ 173965 w 305351"/>
                  <a:gd name="connsiteY11" fmla="*/ 59251 h 544001"/>
                  <a:gd name="connsiteX12" fmla="*/ 21585 w 305351"/>
                  <a:gd name="connsiteY12" fmla="*/ 508637 h 544001"/>
                  <a:gd name="connsiteX13" fmla="*/ 25967 w 305351"/>
                  <a:gd name="connsiteY13" fmla="*/ 518177 h 544001"/>
                  <a:gd name="connsiteX14" fmla="*/ 217912 w 305351"/>
                  <a:gd name="connsiteY14" fmla="*/ 477314 h 544001"/>
                  <a:gd name="connsiteX15" fmla="*/ 231611 w 305351"/>
                  <a:gd name="connsiteY15" fmla="*/ 483526 h 544001"/>
                  <a:gd name="connsiteX16" fmla="*/ 225400 w 305351"/>
                  <a:gd name="connsiteY16" fmla="*/ 497225 h 544001"/>
                  <a:gd name="connsiteX17" fmla="*/ 48728 w 305351"/>
                  <a:gd name="connsiteY17" fmla="*/ 544001 h 544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5351" h="544001">
                    <a:moveTo>
                      <a:pt x="48728" y="544001"/>
                    </a:moveTo>
                    <a:cubicBezTo>
                      <a:pt x="33391" y="544001"/>
                      <a:pt x="21925" y="541215"/>
                      <a:pt x="13927" y="535705"/>
                    </a:cubicBezTo>
                    <a:cubicBezTo>
                      <a:pt x="5099" y="529643"/>
                      <a:pt x="398" y="520400"/>
                      <a:pt x="335" y="508977"/>
                    </a:cubicBezTo>
                    <a:cubicBezTo>
                      <a:pt x="-6632" y="246963"/>
                      <a:pt x="96802" y="105219"/>
                      <a:pt x="159075" y="44073"/>
                    </a:cubicBezTo>
                    <a:cubicBezTo>
                      <a:pt x="160691" y="42489"/>
                      <a:pt x="161840" y="41393"/>
                      <a:pt x="162404" y="40734"/>
                    </a:cubicBezTo>
                    <a:cubicBezTo>
                      <a:pt x="190461" y="8996"/>
                      <a:pt x="216742" y="-4128"/>
                      <a:pt x="240875" y="1126"/>
                    </a:cubicBezTo>
                    <a:cubicBezTo>
                      <a:pt x="275080" y="8592"/>
                      <a:pt x="294565" y="50646"/>
                      <a:pt x="304892" y="84628"/>
                    </a:cubicBezTo>
                    <a:cubicBezTo>
                      <a:pt x="306594" y="90244"/>
                      <a:pt x="303425" y="96189"/>
                      <a:pt x="297798" y="97902"/>
                    </a:cubicBezTo>
                    <a:cubicBezTo>
                      <a:pt x="292172" y="99582"/>
                      <a:pt x="286237" y="96423"/>
                      <a:pt x="284525" y="90807"/>
                    </a:cubicBezTo>
                    <a:cubicBezTo>
                      <a:pt x="272453" y="51072"/>
                      <a:pt x="254883" y="25961"/>
                      <a:pt x="236334" y="21908"/>
                    </a:cubicBezTo>
                    <a:cubicBezTo>
                      <a:pt x="220316" y="18430"/>
                      <a:pt x="201065" y="29194"/>
                      <a:pt x="179060" y="53954"/>
                    </a:cubicBezTo>
                    <a:cubicBezTo>
                      <a:pt x="178070" y="55220"/>
                      <a:pt x="176666" y="56602"/>
                      <a:pt x="173965" y="59251"/>
                    </a:cubicBezTo>
                    <a:cubicBezTo>
                      <a:pt x="114149" y="117971"/>
                      <a:pt x="14831" y="254461"/>
                      <a:pt x="21585" y="508637"/>
                    </a:cubicBezTo>
                    <a:cubicBezTo>
                      <a:pt x="21617" y="514444"/>
                      <a:pt x="23819" y="516710"/>
                      <a:pt x="25967" y="518177"/>
                    </a:cubicBezTo>
                    <a:cubicBezTo>
                      <a:pt x="39443" y="527452"/>
                      <a:pt x="83635" y="527856"/>
                      <a:pt x="217912" y="477314"/>
                    </a:cubicBezTo>
                    <a:cubicBezTo>
                      <a:pt x="223379" y="475251"/>
                      <a:pt x="229548" y="478027"/>
                      <a:pt x="231611" y="483526"/>
                    </a:cubicBezTo>
                    <a:cubicBezTo>
                      <a:pt x="233675" y="489024"/>
                      <a:pt x="230899" y="495151"/>
                      <a:pt x="225400" y="497225"/>
                    </a:cubicBezTo>
                    <a:cubicBezTo>
                      <a:pt x="141685" y="528728"/>
                      <a:pt x="84592" y="544001"/>
                      <a:pt x="48728" y="544001"/>
                    </a:cubicBezTo>
                    <a:close/>
                  </a:path>
                </a:pathLst>
              </a:custGeom>
              <a:grpFill/>
              <a:ln w="1063" cap="flat">
                <a:noFill/>
                <a:prstDash val="solid"/>
                <a:miter/>
              </a:ln>
            </p:spPr>
            <p:txBody>
              <a:bodyPr rtlCol="0" anchor="ctr"/>
              <a:lstStyle/>
              <a:p>
                <a:endParaRPr lang="en-GB" dirty="0"/>
              </a:p>
            </p:txBody>
          </p:sp>
          <p:sp>
            <p:nvSpPr>
              <p:cNvPr id="360" name="Freeform: Shape 359">
                <a:extLst>
                  <a:ext uri="{FF2B5EF4-FFF2-40B4-BE49-F238E27FC236}">
                    <a16:creationId xmlns:a16="http://schemas.microsoft.com/office/drawing/2014/main" id="{79B6C63B-09F0-41DB-AC1E-D93A012D2E9F}"/>
                  </a:ext>
                </a:extLst>
              </p:cNvPr>
              <p:cNvSpPr/>
              <p:nvPr/>
            </p:nvSpPr>
            <p:spPr>
              <a:xfrm>
                <a:off x="2538727" y="1572361"/>
                <a:ext cx="26731" cy="84779"/>
              </a:xfrm>
              <a:custGeom>
                <a:avLst/>
                <a:gdLst>
                  <a:gd name="connsiteX0" fmla="*/ 10641 w 26731"/>
                  <a:gd name="connsiteY0" fmla="*/ 84779 h 84779"/>
                  <a:gd name="connsiteX1" fmla="*/ 10067 w 26731"/>
                  <a:gd name="connsiteY1" fmla="*/ 84769 h 84779"/>
                  <a:gd name="connsiteX2" fmla="*/ 16 w 26731"/>
                  <a:gd name="connsiteY2" fmla="*/ 73590 h 84779"/>
                  <a:gd name="connsiteX3" fmla="*/ 5547 w 26731"/>
                  <a:gd name="connsiteY3" fmla="*/ 9222 h 84779"/>
                  <a:gd name="connsiteX4" fmla="*/ 17501 w 26731"/>
                  <a:gd name="connsiteY4" fmla="*/ 86 h 84779"/>
                  <a:gd name="connsiteX5" fmla="*/ 26637 w 26731"/>
                  <a:gd name="connsiteY5" fmla="*/ 12041 h 84779"/>
                  <a:gd name="connsiteX6" fmla="*/ 21266 w 26731"/>
                  <a:gd name="connsiteY6" fmla="*/ 74718 h 84779"/>
                  <a:gd name="connsiteX7" fmla="*/ 10641 w 26731"/>
                  <a:gd name="connsiteY7" fmla="*/ 84779 h 84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31" h="84779">
                    <a:moveTo>
                      <a:pt x="10641" y="84779"/>
                    </a:moveTo>
                    <a:cubicBezTo>
                      <a:pt x="10450" y="84779"/>
                      <a:pt x="10258" y="84769"/>
                      <a:pt x="10067" y="84769"/>
                    </a:cubicBezTo>
                    <a:cubicBezTo>
                      <a:pt x="4206" y="84460"/>
                      <a:pt x="-303" y="79451"/>
                      <a:pt x="16" y="73590"/>
                    </a:cubicBezTo>
                    <a:cubicBezTo>
                      <a:pt x="1356" y="48330"/>
                      <a:pt x="3217" y="26675"/>
                      <a:pt x="5547" y="9222"/>
                    </a:cubicBezTo>
                    <a:cubicBezTo>
                      <a:pt x="6323" y="3404"/>
                      <a:pt x="11747" y="-648"/>
                      <a:pt x="17501" y="86"/>
                    </a:cubicBezTo>
                    <a:cubicBezTo>
                      <a:pt x="23319" y="862"/>
                      <a:pt x="27414" y="6212"/>
                      <a:pt x="26637" y="12041"/>
                    </a:cubicBezTo>
                    <a:cubicBezTo>
                      <a:pt x="24383" y="28930"/>
                      <a:pt x="22575" y="50021"/>
                      <a:pt x="21266" y="74718"/>
                    </a:cubicBezTo>
                    <a:cubicBezTo>
                      <a:pt x="20958" y="80376"/>
                      <a:pt x="16257" y="84779"/>
                      <a:pt x="10641" y="84779"/>
                    </a:cubicBezTo>
                    <a:close/>
                  </a:path>
                </a:pathLst>
              </a:custGeom>
              <a:grpFill/>
              <a:ln w="1063" cap="flat">
                <a:noFill/>
                <a:prstDash val="solid"/>
                <a:miter/>
              </a:ln>
            </p:spPr>
            <p:txBody>
              <a:bodyPr rtlCol="0" anchor="ctr"/>
              <a:lstStyle/>
              <a:p>
                <a:endParaRPr lang="en-GB" dirty="0"/>
              </a:p>
            </p:txBody>
          </p:sp>
          <p:sp>
            <p:nvSpPr>
              <p:cNvPr id="361" name="Freeform: Shape 360">
                <a:extLst>
                  <a:ext uri="{FF2B5EF4-FFF2-40B4-BE49-F238E27FC236}">
                    <a16:creationId xmlns:a16="http://schemas.microsoft.com/office/drawing/2014/main" id="{3C24F60E-E619-41D5-8BF0-FBF949305F3F}"/>
                  </a:ext>
                </a:extLst>
              </p:cNvPr>
              <p:cNvSpPr/>
              <p:nvPr/>
            </p:nvSpPr>
            <p:spPr>
              <a:xfrm>
                <a:off x="2555938" y="1440471"/>
                <a:ext cx="305351" cy="544466"/>
              </a:xfrm>
              <a:custGeom>
                <a:avLst/>
                <a:gdLst>
                  <a:gd name="connsiteX0" fmla="*/ 256007 w 305351"/>
                  <a:gd name="connsiteY0" fmla="*/ 544467 h 544466"/>
                  <a:gd name="connsiteX1" fmla="*/ 156722 w 305351"/>
                  <a:gd name="connsiteY1" fmla="*/ 524333 h 544466"/>
                  <a:gd name="connsiteX2" fmla="*/ 149755 w 305351"/>
                  <a:gd name="connsiteY2" fmla="*/ 511007 h 544466"/>
                  <a:gd name="connsiteX3" fmla="*/ 163082 w 305351"/>
                  <a:gd name="connsiteY3" fmla="*/ 504040 h 544466"/>
                  <a:gd name="connsiteX4" fmla="*/ 279396 w 305351"/>
                  <a:gd name="connsiteY4" fmla="*/ 518303 h 544466"/>
                  <a:gd name="connsiteX5" fmla="*/ 283756 w 305351"/>
                  <a:gd name="connsiteY5" fmla="*/ 508762 h 544466"/>
                  <a:gd name="connsiteX6" fmla="*/ 131376 w 305351"/>
                  <a:gd name="connsiteY6" fmla="*/ 59249 h 544466"/>
                  <a:gd name="connsiteX7" fmla="*/ 126292 w 305351"/>
                  <a:gd name="connsiteY7" fmla="*/ 53952 h 544466"/>
                  <a:gd name="connsiteX8" fmla="*/ 69018 w 305351"/>
                  <a:gd name="connsiteY8" fmla="*/ 21917 h 544466"/>
                  <a:gd name="connsiteX9" fmla="*/ 20827 w 305351"/>
                  <a:gd name="connsiteY9" fmla="*/ 90816 h 544466"/>
                  <a:gd name="connsiteX10" fmla="*/ 7554 w 305351"/>
                  <a:gd name="connsiteY10" fmla="*/ 97910 h 544466"/>
                  <a:gd name="connsiteX11" fmla="*/ 460 w 305351"/>
                  <a:gd name="connsiteY11" fmla="*/ 84636 h 544466"/>
                  <a:gd name="connsiteX12" fmla="*/ 64477 w 305351"/>
                  <a:gd name="connsiteY12" fmla="*/ 1134 h 544466"/>
                  <a:gd name="connsiteX13" fmla="*/ 142502 w 305351"/>
                  <a:gd name="connsiteY13" fmla="*/ 40189 h 544466"/>
                  <a:gd name="connsiteX14" fmla="*/ 143384 w 305351"/>
                  <a:gd name="connsiteY14" fmla="*/ 41338 h 544466"/>
                  <a:gd name="connsiteX15" fmla="*/ 146267 w 305351"/>
                  <a:gd name="connsiteY15" fmla="*/ 44061 h 544466"/>
                  <a:gd name="connsiteX16" fmla="*/ 305017 w 305351"/>
                  <a:gd name="connsiteY16" fmla="*/ 509188 h 544466"/>
                  <a:gd name="connsiteX17" fmla="*/ 291861 w 305351"/>
                  <a:gd name="connsiteY17" fmla="*/ 535533 h 544466"/>
                  <a:gd name="connsiteX18" fmla="*/ 256007 w 305351"/>
                  <a:gd name="connsiteY18" fmla="*/ 544467 h 54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5351" h="544466">
                    <a:moveTo>
                      <a:pt x="256007" y="544467"/>
                    </a:moveTo>
                    <a:cubicBezTo>
                      <a:pt x="232343" y="544467"/>
                      <a:pt x="199701" y="537798"/>
                      <a:pt x="156722" y="524333"/>
                    </a:cubicBezTo>
                    <a:cubicBezTo>
                      <a:pt x="151117" y="522578"/>
                      <a:pt x="148000" y="516612"/>
                      <a:pt x="149755" y="511007"/>
                    </a:cubicBezTo>
                    <a:cubicBezTo>
                      <a:pt x="151510" y="505401"/>
                      <a:pt x="157466" y="502264"/>
                      <a:pt x="163082" y="504040"/>
                    </a:cubicBezTo>
                    <a:cubicBezTo>
                      <a:pt x="245691" y="529896"/>
                      <a:pt x="271429" y="524099"/>
                      <a:pt x="279396" y="518303"/>
                    </a:cubicBezTo>
                    <a:cubicBezTo>
                      <a:pt x="281502" y="516771"/>
                      <a:pt x="283671" y="514453"/>
                      <a:pt x="283756" y="508762"/>
                    </a:cubicBezTo>
                    <a:cubicBezTo>
                      <a:pt x="290510" y="254438"/>
                      <a:pt x="191182" y="117969"/>
                      <a:pt x="131376" y="59249"/>
                    </a:cubicBezTo>
                    <a:cubicBezTo>
                      <a:pt x="128675" y="56590"/>
                      <a:pt x="127271" y="55228"/>
                      <a:pt x="126292" y="53952"/>
                    </a:cubicBezTo>
                    <a:cubicBezTo>
                      <a:pt x="104287" y="29192"/>
                      <a:pt x="84993" y="18407"/>
                      <a:pt x="69018" y="21917"/>
                    </a:cubicBezTo>
                    <a:cubicBezTo>
                      <a:pt x="50469" y="25958"/>
                      <a:pt x="32899" y="51080"/>
                      <a:pt x="20827" y="90816"/>
                    </a:cubicBezTo>
                    <a:cubicBezTo>
                      <a:pt x="19126" y="96442"/>
                      <a:pt x="13191" y="99633"/>
                      <a:pt x="7554" y="97910"/>
                    </a:cubicBezTo>
                    <a:cubicBezTo>
                      <a:pt x="1927" y="96198"/>
                      <a:pt x="-1242" y="90263"/>
                      <a:pt x="460" y="84636"/>
                    </a:cubicBezTo>
                    <a:cubicBezTo>
                      <a:pt x="10787" y="50665"/>
                      <a:pt x="30272" y="8600"/>
                      <a:pt x="64477" y="1134"/>
                    </a:cubicBezTo>
                    <a:cubicBezTo>
                      <a:pt x="88652" y="-4141"/>
                      <a:pt x="114901" y="9005"/>
                      <a:pt x="142502" y="40189"/>
                    </a:cubicBezTo>
                    <a:cubicBezTo>
                      <a:pt x="142821" y="40551"/>
                      <a:pt x="143118" y="40934"/>
                      <a:pt x="143384" y="41338"/>
                    </a:cubicBezTo>
                    <a:cubicBezTo>
                      <a:pt x="143501" y="41380"/>
                      <a:pt x="144650" y="42476"/>
                      <a:pt x="146267" y="44061"/>
                    </a:cubicBezTo>
                    <a:cubicBezTo>
                      <a:pt x="208540" y="105206"/>
                      <a:pt x="311984" y="246950"/>
                      <a:pt x="305017" y="509188"/>
                    </a:cubicBezTo>
                    <a:cubicBezTo>
                      <a:pt x="304858" y="520270"/>
                      <a:pt x="300306" y="529417"/>
                      <a:pt x="291861" y="535533"/>
                    </a:cubicBezTo>
                    <a:cubicBezTo>
                      <a:pt x="283650" y="541489"/>
                      <a:pt x="271844" y="544467"/>
                      <a:pt x="256007" y="544467"/>
                    </a:cubicBezTo>
                    <a:close/>
                  </a:path>
                </a:pathLst>
              </a:custGeom>
              <a:grpFill/>
              <a:ln w="1063" cap="flat">
                <a:noFill/>
                <a:prstDash val="solid"/>
                <a:miter/>
              </a:ln>
            </p:spPr>
            <p:txBody>
              <a:bodyPr rtlCol="0" anchor="ctr"/>
              <a:lstStyle/>
              <a:p>
                <a:endParaRPr lang="en-GB" dirty="0"/>
              </a:p>
            </p:txBody>
          </p:sp>
        </p:grpSp>
        <p:grpSp>
          <p:nvGrpSpPr>
            <p:cNvPr id="317" name="Graphic 818">
              <a:extLst>
                <a:ext uri="{FF2B5EF4-FFF2-40B4-BE49-F238E27FC236}">
                  <a16:creationId xmlns:a16="http://schemas.microsoft.com/office/drawing/2014/main" id="{FDA2E284-509B-4F16-9DEC-7E2B6D04A7A7}"/>
                </a:ext>
              </a:extLst>
            </p:cNvPr>
            <p:cNvGrpSpPr/>
            <p:nvPr/>
          </p:nvGrpSpPr>
          <p:grpSpPr>
            <a:xfrm>
              <a:off x="2797532" y="4250367"/>
              <a:ext cx="216141" cy="216117"/>
              <a:chOff x="2354125" y="1678710"/>
              <a:chExt cx="385943" cy="385900"/>
            </a:xfrm>
            <a:solidFill>
              <a:schemeClr val="accent1"/>
            </a:solidFill>
          </p:grpSpPr>
          <p:grpSp>
            <p:nvGrpSpPr>
              <p:cNvPr id="318" name="Graphic 818">
                <a:extLst>
                  <a:ext uri="{FF2B5EF4-FFF2-40B4-BE49-F238E27FC236}">
                    <a16:creationId xmlns:a16="http://schemas.microsoft.com/office/drawing/2014/main" id="{405323C3-93DB-41A6-9620-B327ED7DECD2}"/>
                  </a:ext>
                </a:extLst>
              </p:cNvPr>
              <p:cNvGrpSpPr/>
              <p:nvPr/>
            </p:nvGrpSpPr>
            <p:grpSpPr>
              <a:xfrm>
                <a:off x="2354125" y="1678710"/>
                <a:ext cx="385943" cy="385900"/>
                <a:chOff x="2354125" y="1678710"/>
                <a:chExt cx="385943" cy="385900"/>
              </a:xfrm>
              <a:solidFill>
                <a:schemeClr val="accent1"/>
              </a:solidFill>
            </p:grpSpPr>
            <p:sp>
              <p:nvSpPr>
                <p:cNvPr id="322" name="Freeform: Shape 321">
                  <a:extLst>
                    <a:ext uri="{FF2B5EF4-FFF2-40B4-BE49-F238E27FC236}">
                      <a16:creationId xmlns:a16="http://schemas.microsoft.com/office/drawing/2014/main" id="{53A4A47D-0CA3-4109-BF2F-47C2E7795C7B}"/>
                    </a:ext>
                  </a:extLst>
                </p:cNvPr>
                <p:cNvSpPr/>
                <p:nvPr/>
              </p:nvSpPr>
              <p:spPr>
                <a:xfrm>
                  <a:off x="2428332" y="1752682"/>
                  <a:ext cx="237519" cy="237519"/>
                </a:xfrm>
                <a:custGeom>
                  <a:avLst/>
                  <a:gdLst>
                    <a:gd name="connsiteX0" fmla="*/ 118760 w 237519"/>
                    <a:gd name="connsiteY0" fmla="*/ 237520 h 237519"/>
                    <a:gd name="connsiteX1" fmla="*/ 0 w 237519"/>
                    <a:gd name="connsiteY1" fmla="*/ 118760 h 237519"/>
                    <a:gd name="connsiteX2" fmla="*/ 118760 w 237519"/>
                    <a:gd name="connsiteY2" fmla="*/ 0 h 237519"/>
                    <a:gd name="connsiteX3" fmla="*/ 237520 w 237519"/>
                    <a:gd name="connsiteY3" fmla="*/ 118760 h 237519"/>
                    <a:gd name="connsiteX4" fmla="*/ 118760 w 237519"/>
                    <a:gd name="connsiteY4" fmla="*/ 237520 h 237519"/>
                    <a:gd name="connsiteX5" fmla="*/ 118760 w 237519"/>
                    <a:gd name="connsiteY5" fmla="*/ 21272 h 237519"/>
                    <a:gd name="connsiteX6" fmla="*/ 21272 w 237519"/>
                    <a:gd name="connsiteY6" fmla="*/ 118760 h 237519"/>
                    <a:gd name="connsiteX7" fmla="*/ 118760 w 237519"/>
                    <a:gd name="connsiteY7" fmla="*/ 216248 h 237519"/>
                    <a:gd name="connsiteX8" fmla="*/ 216248 w 237519"/>
                    <a:gd name="connsiteY8" fmla="*/ 118760 h 237519"/>
                    <a:gd name="connsiteX9" fmla="*/ 118760 w 237519"/>
                    <a:gd name="connsiteY9" fmla="*/ 21272 h 23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7519" h="237519">
                      <a:moveTo>
                        <a:pt x="118760" y="237520"/>
                      </a:moveTo>
                      <a:cubicBezTo>
                        <a:pt x="53275" y="237520"/>
                        <a:pt x="0" y="184245"/>
                        <a:pt x="0" y="118760"/>
                      </a:cubicBezTo>
                      <a:cubicBezTo>
                        <a:pt x="0" y="53275"/>
                        <a:pt x="53275" y="0"/>
                        <a:pt x="118760" y="0"/>
                      </a:cubicBezTo>
                      <a:cubicBezTo>
                        <a:pt x="184245" y="0"/>
                        <a:pt x="237520" y="53275"/>
                        <a:pt x="237520" y="118760"/>
                      </a:cubicBezTo>
                      <a:cubicBezTo>
                        <a:pt x="237520" y="184245"/>
                        <a:pt x="184245" y="237520"/>
                        <a:pt x="118760" y="237520"/>
                      </a:cubicBezTo>
                      <a:close/>
                      <a:moveTo>
                        <a:pt x="118760" y="21272"/>
                      </a:moveTo>
                      <a:cubicBezTo>
                        <a:pt x="65006" y="21272"/>
                        <a:pt x="21272" y="65006"/>
                        <a:pt x="21272" y="118760"/>
                      </a:cubicBezTo>
                      <a:cubicBezTo>
                        <a:pt x="21272" y="172514"/>
                        <a:pt x="65006" y="216248"/>
                        <a:pt x="118760" y="216248"/>
                      </a:cubicBezTo>
                      <a:cubicBezTo>
                        <a:pt x="172514" y="216248"/>
                        <a:pt x="216248" y="172514"/>
                        <a:pt x="216248" y="118760"/>
                      </a:cubicBezTo>
                      <a:cubicBezTo>
                        <a:pt x="216248" y="65006"/>
                        <a:pt x="172524" y="21272"/>
                        <a:pt x="118760" y="21272"/>
                      </a:cubicBezTo>
                      <a:close/>
                    </a:path>
                  </a:pathLst>
                </a:custGeom>
                <a:solidFill>
                  <a:schemeClr val="accent1"/>
                </a:solidFill>
                <a:ln w="1063" cap="flat">
                  <a:noFill/>
                  <a:prstDash val="solid"/>
                  <a:miter/>
                </a:ln>
              </p:spPr>
              <p:txBody>
                <a:bodyPr rtlCol="0" anchor="ctr"/>
                <a:lstStyle/>
                <a:p>
                  <a:endParaRPr lang="en-GB" dirty="0"/>
                </a:p>
              </p:txBody>
            </p:sp>
            <p:grpSp>
              <p:nvGrpSpPr>
                <p:cNvPr id="323" name="Graphic 818">
                  <a:extLst>
                    <a:ext uri="{FF2B5EF4-FFF2-40B4-BE49-F238E27FC236}">
                      <a16:creationId xmlns:a16="http://schemas.microsoft.com/office/drawing/2014/main" id="{AB8CABD8-6037-4C74-B7BF-EE64CBEA9154}"/>
                    </a:ext>
                  </a:extLst>
                </p:cNvPr>
                <p:cNvGrpSpPr/>
                <p:nvPr/>
              </p:nvGrpSpPr>
              <p:grpSpPr>
                <a:xfrm>
                  <a:off x="2354125" y="1836397"/>
                  <a:ext cx="95244" cy="69611"/>
                  <a:chOff x="2354125" y="1836397"/>
                  <a:chExt cx="95244" cy="69611"/>
                </a:xfrm>
                <a:solidFill>
                  <a:schemeClr val="accent1"/>
                </a:solidFill>
              </p:grpSpPr>
              <p:sp>
                <p:nvSpPr>
                  <p:cNvPr id="355" name="Freeform: Shape 354">
                    <a:extLst>
                      <a:ext uri="{FF2B5EF4-FFF2-40B4-BE49-F238E27FC236}">
                        <a16:creationId xmlns:a16="http://schemas.microsoft.com/office/drawing/2014/main" id="{69C18C12-5CC3-400C-9FCE-7F167D365834}"/>
                      </a:ext>
                    </a:extLst>
                  </p:cNvPr>
                  <p:cNvSpPr/>
                  <p:nvPr/>
                </p:nvSpPr>
                <p:spPr>
                  <a:xfrm>
                    <a:off x="2354125" y="1836397"/>
                    <a:ext cx="61103" cy="69611"/>
                  </a:xfrm>
                  <a:custGeom>
                    <a:avLst/>
                    <a:gdLst>
                      <a:gd name="connsiteX0" fmla="*/ 26398 w 61103"/>
                      <a:gd name="connsiteY0" fmla="*/ 69612 h 69611"/>
                      <a:gd name="connsiteX1" fmla="*/ 0 w 61103"/>
                      <a:gd name="connsiteY1" fmla="*/ 34907 h 69611"/>
                      <a:gd name="connsiteX2" fmla="*/ 25569 w 61103"/>
                      <a:gd name="connsiteY2" fmla="*/ 0 h 69611"/>
                      <a:gd name="connsiteX3" fmla="*/ 61103 w 61103"/>
                      <a:gd name="connsiteY3" fmla="*/ 34907 h 69611"/>
                      <a:gd name="connsiteX4" fmla="*/ 26398 w 61103"/>
                      <a:gd name="connsiteY4" fmla="*/ 69612 h 69611"/>
                      <a:gd name="connsiteX5" fmla="*/ 25569 w 61103"/>
                      <a:gd name="connsiteY5" fmla="*/ 21272 h 69611"/>
                      <a:gd name="connsiteX6" fmla="*/ 21272 w 61103"/>
                      <a:gd name="connsiteY6" fmla="*/ 34907 h 69611"/>
                      <a:gd name="connsiteX7" fmla="*/ 26398 w 61103"/>
                      <a:gd name="connsiteY7" fmla="*/ 48340 h 69611"/>
                      <a:gd name="connsiteX8" fmla="*/ 39831 w 61103"/>
                      <a:gd name="connsiteY8" fmla="*/ 34907 h 69611"/>
                      <a:gd name="connsiteX9" fmla="*/ 25569 w 61103"/>
                      <a:gd name="connsiteY9" fmla="*/ 21272 h 69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103" h="69611">
                        <a:moveTo>
                          <a:pt x="26398" y="69612"/>
                        </a:moveTo>
                        <a:cubicBezTo>
                          <a:pt x="10859" y="69612"/>
                          <a:pt x="0" y="55338"/>
                          <a:pt x="0" y="34907"/>
                        </a:cubicBezTo>
                        <a:cubicBezTo>
                          <a:pt x="0" y="13699"/>
                          <a:pt x="10040" y="0"/>
                          <a:pt x="25569" y="0"/>
                        </a:cubicBezTo>
                        <a:cubicBezTo>
                          <a:pt x="42841" y="0"/>
                          <a:pt x="61103" y="17943"/>
                          <a:pt x="61103" y="34907"/>
                        </a:cubicBezTo>
                        <a:cubicBezTo>
                          <a:pt x="61103" y="52094"/>
                          <a:pt x="43596" y="69612"/>
                          <a:pt x="26398" y="69612"/>
                        </a:cubicBezTo>
                        <a:close/>
                        <a:moveTo>
                          <a:pt x="25569" y="21272"/>
                        </a:moveTo>
                        <a:cubicBezTo>
                          <a:pt x="23537" y="21272"/>
                          <a:pt x="21272" y="27100"/>
                          <a:pt x="21272" y="34907"/>
                        </a:cubicBezTo>
                        <a:cubicBezTo>
                          <a:pt x="21272" y="42065"/>
                          <a:pt x="23675" y="48340"/>
                          <a:pt x="26398" y="48340"/>
                        </a:cubicBezTo>
                        <a:cubicBezTo>
                          <a:pt x="31503" y="48340"/>
                          <a:pt x="39831" y="40831"/>
                          <a:pt x="39831" y="34907"/>
                        </a:cubicBezTo>
                        <a:cubicBezTo>
                          <a:pt x="39831" y="29153"/>
                          <a:pt x="30738" y="21272"/>
                          <a:pt x="25569" y="21272"/>
                        </a:cubicBezTo>
                        <a:close/>
                      </a:path>
                    </a:pathLst>
                  </a:custGeom>
                  <a:solidFill>
                    <a:schemeClr val="accent1"/>
                  </a:solidFill>
                  <a:ln w="1063" cap="flat">
                    <a:noFill/>
                    <a:prstDash val="solid"/>
                    <a:miter/>
                  </a:ln>
                </p:spPr>
                <p:txBody>
                  <a:bodyPr rtlCol="0" anchor="ctr"/>
                  <a:lstStyle/>
                  <a:p>
                    <a:endParaRPr lang="en-GB" dirty="0"/>
                  </a:p>
                </p:txBody>
              </p:sp>
              <p:sp>
                <p:nvSpPr>
                  <p:cNvPr id="356" name="Freeform: Shape 355">
                    <a:extLst>
                      <a:ext uri="{FF2B5EF4-FFF2-40B4-BE49-F238E27FC236}">
                        <a16:creationId xmlns:a16="http://schemas.microsoft.com/office/drawing/2014/main" id="{01D08D64-71AE-4628-9501-D105785DFDCC}"/>
                      </a:ext>
                    </a:extLst>
                  </p:cNvPr>
                  <p:cNvSpPr/>
                  <p:nvPr/>
                </p:nvSpPr>
                <p:spPr>
                  <a:xfrm>
                    <a:off x="2393957" y="1860689"/>
                    <a:ext cx="55412" cy="21271"/>
                  </a:xfrm>
                  <a:custGeom>
                    <a:avLst/>
                    <a:gdLst>
                      <a:gd name="connsiteX0" fmla="*/ 44777 w 55412"/>
                      <a:gd name="connsiteY0" fmla="*/ 21272 h 21271"/>
                      <a:gd name="connsiteX1" fmla="*/ 10636 w 55412"/>
                      <a:gd name="connsiteY1" fmla="*/ 21272 h 21271"/>
                      <a:gd name="connsiteX2" fmla="*/ 0 w 55412"/>
                      <a:gd name="connsiteY2" fmla="*/ 10636 h 21271"/>
                      <a:gd name="connsiteX3" fmla="*/ 10636 w 55412"/>
                      <a:gd name="connsiteY3" fmla="*/ 0 h 21271"/>
                      <a:gd name="connsiteX4" fmla="*/ 44777 w 55412"/>
                      <a:gd name="connsiteY4" fmla="*/ 0 h 21271"/>
                      <a:gd name="connsiteX5" fmla="*/ 55413 w 55412"/>
                      <a:gd name="connsiteY5" fmla="*/ 10636 h 21271"/>
                      <a:gd name="connsiteX6" fmla="*/ 44777 w 55412"/>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412" h="21271">
                        <a:moveTo>
                          <a:pt x="44777" y="21272"/>
                        </a:moveTo>
                        <a:lnTo>
                          <a:pt x="10636" y="21272"/>
                        </a:lnTo>
                        <a:cubicBezTo>
                          <a:pt x="4765" y="21272"/>
                          <a:pt x="0" y="16507"/>
                          <a:pt x="0" y="10636"/>
                        </a:cubicBezTo>
                        <a:cubicBezTo>
                          <a:pt x="0" y="4765"/>
                          <a:pt x="4765" y="0"/>
                          <a:pt x="10636" y="0"/>
                        </a:cubicBezTo>
                        <a:lnTo>
                          <a:pt x="44777" y="0"/>
                        </a:lnTo>
                        <a:cubicBezTo>
                          <a:pt x="50648" y="0"/>
                          <a:pt x="55413" y="4765"/>
                          <a:pt x="55413" y="10636"/>
                        </a:cubicBezTo>
                        <a:cubicBezTo>
                          <a:pt x="55413" y="16507"/>
                          <a:pt x="50659" y="21272"/>
                          <a:pt x="44777" y="21272"/>
                        </a:cubicBezTo>
                        <a:close/>
                      </a:path>
                    </a:pathLst>
                  </a:custGeom>
                  <a:solidFill>
                    <a:schemeClr val="accent1"/>
                  </a:solidFill>
                  <a:ln w="1063" cap="flat">
                    <a:noFill/>
                    <a:prstDash val="solid"/>
                    <a:miter/>
                  </a:ln>
                </p:spPr>
                <p:txBody>
                  <a:bodyPr rtlCol="0" anchor="ctr"/>
                  <a:lstStyle/>
                  <a:p>
                    <a:endParaRPr lang="en-GB" dirty="0"/>
                  </a:p>
                </p:txBody>
              </p:sp>
            </p:grpSp>
            <p:grpSp>
              <p:nvGrpSpPr>
                <p:cNvPr id="324" name="Graphic 818">
                  <a:extLst>
                    <a:ext uri="{FF2B5EF4-FFF2-40B4-BE49-F238E27FC236}">
                      <a16:creationId xmlns:a16="http://schemas.microsoft.com/office/drawing/2014/main" id="{94F53126-5214-4995-BCC3-352AA7F03835}"/>
                    </a:ext>
                  </a:extLst>
                </p:cNvPr>
                <p:cNvGrpSpPr/>
                <p:nvPr/>
              </p:nvGrpSpPr>
              <p:grpSpPr>
                <a:xfrm>
                  <a:off x="2644824" y="1836288"/>
                  <a:ext cx="95244" cy="69624"/>
                  <a:chOff x="2644824" y="1836288"/>
                  <a:chExt cx="95244" cy="69624"/>
                </a:xfrm>
                <a:solidFill>
                  <a:schemeClr val="accent1"/>
                </a:solidFill>
              </p:grpSpPr>
              <p:sp>
                <p:nvSpPr>
                  <p:cNvPr id="353" name="Freeform: Shape 352">
                    <a:extLst>
                      <a:ext uri="{FF2B5EF4-FFF2-40B4-BE49-F238E27FC236}">
                        <a16:creationId xmlns:a16="http://schemas.microsoft.com/office/drawing/2014/main" id="{58AB767D-C2CB-4850-A5D0-86F225E0DC0C}"/>
                      </a:ext>
                    </a:extLst>
                  </p:cNvPr>
                  <p:cNvSpPr/>
                  <p:nvPr/>
                </p:nvSpPr>
                <p:spPr>
                  <a:xfrm>
                    <a:off x="2678965" y="1836288"/>
                    <a:ext cx="61103" cy="69624"/>
                  </a:xfrm>
                  <a:custGeom>
                    <a:avLst/>
                    <a:gdLst>
                      <a:gd name="connsiteX0" fmla="*/ 34748 w 61103"/>
                      <a:gd name="connsiteY0" fmla="*/ 69625 h 69624"/>
                      <a:gd name="connsiteX1" fmla="*/ 0 w 61103"/>
                      <a:gd name="connsiteY1" fmla="*/ 35090 h 69624"/>
                      <a:gd name="connsiteX2" fmla="*/ 11519 w 61103"/>
                      <a:gd name="connsiteY2" fmla="*/ 10798 h 69624"/>
                      <a:gd name="connsiteX3" fmla="*/ 35365 w 61103"/>
                      <a:gd name="connsiteY3" fmla="*/ 3 h 69624"/>
                      <a:gd name="connsiteX4" fmla="*/ 61103 w 61103"/>
                      <a:gd name="connsiteY4" fmla="*/ 34793 h 69624"/>
                      <a:gd name="connsiteX5" fmla="*/ 34865 w 61103"/>
                      <a:gd name="connsiteY5" fmla="*/ 69625 h 69624"/>
                      <a:gd name="connsiteX6" fmla="*/ 34748 w 61103"/>
                      <a:gd name="connsiteY6" fmla="*/ 69625 h 69624"/>
                      <a:gd name="connsiteX7" fmla="*/ 35471 w 61103"/>
                      <a:gd name="connsiteY7" fmla="*/ 21274 h 69624"/>
                      <a:gd name="connsiteX8" fmla="*/ 35471 w 61103"/>
                      <a:gd name="connsiteY8" fmla="*/ 21274 h 69624"/>
                      <a:gd name="connsiteX9" fmla="*/ 26239 w 61103"/>
                      <a:gd name="connsiteY9" fmla="*/ 26146 h 69624"/>
                      <a:gd name="connsiteX10" fmla="*/ 21272 w 61103"/>
                      <a:gd name="connsiteY10" fmla="*/ 34984 h 69624"/>
                      <a:gd name="connsiteX11" fmla="*/ 34748 w 61103"/>
                      <a:gd name="connsiteY11" fmla="*/ 48353 h 69624"/>
                      <a:gd name="connsiteX12" fmla="*/ 34769 w 61103"/>
                      <a:gd name="connsiteY12" fmla="*/ 48353 h 69624"/>
                      <a:gd name="connsiteX13" fmla="*/ 39842 w 61103"/>
                      <a:gd name="connsiteY13" fmla="*/ 34888 h 69624"/>
                      <a:gd name="connsiteX14" fmla="*/ 35471 w 61103"/>
                      <a:gd name="connsiteY14" fmla="*/ 21274 h 6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1103" h="69624">
                        <a:moveTo>
                          <a:pt x="34748" y="69625"/>
                        </a:moveTo>
                        <a:cubicBezTo>
                          <a:pt x="17603" y="69625"/>
                          <a:pt x="85" y="52235"/>
                          <a:pt x="0" y="35090"/>
                        </a:cubicBezTo>
                        <a:cubicBezTo>
                          <a:pt x="-42" y="26709"/>
                          <a:pt x="4159" y="17860"/>
                          <a:pt x="11519" y="10798"/>
                        </a:cubicBezTo>
                        <a:cubicBezTo>
                          <a:pt x="18624" y="3980"/>
                          <a:pt x="27324" y="45"/>
                          <a:pt x="35365" y="3"/>
                        </a:cubicBezTo>
                        <a:cubicBezTo>
                          <a:pt x="50744" y="-221"/>
                          <a:pt x="61008" y="13585"/>
                          <a:pt x="61103" y="34793"/>
                        </a:cubicBezTo>
                        <a:cubicBezTo>
                          <a:pt x="61188" y="55224"/>
                          <a:pt x="50404" y="69551"/>
                          <a:pt x="34865" y="69625"/>
                        </a:cubicBezTo>
                        <a:cubicBezTo>
                          <a:pt x="34822" y="69625"/>
                          <a:pt x="34780" y="69625"/>
                          <a:pt x="34748" y="69625"/>
                        </a:cubicBezTo>
                        <a:close/>
                        <a:moveTo>
                          <a:pt x="35471" y="21274"/>
                        </a:moveTo>
                        <a:cubicBezTo>
                          <a:pt x="35471" y="21274"/>
                          <a:pt x="35471" y="21274"/>
                          <a:pt x="35471" y="21274"/>
                        </a:cubicBezTo>
                        <a:cubicBezTo>
                          <a:pt x="33461" y="21285"/>
                          <a:pt x="29717" y="22817"/>
                          <a:pt x="26239" y="26146"/>
                        </a:cubicBezTo>
                        <a:cubicBezTo>
                          <a:pt x="22793" y="29453"/>
                          <a:pt x="21261" y="32963"/>
                          <a:pt x="21272" y="34984"/>
                        </a:cubicBezTo>
                        <a:cubicBezTo>
                          <a:pt x="21304" y="40908"/>
                          <a:pt x="29642" y="48353"/>
                          <a:pt x="34748" y="48353"/>
                        </a:cubicBezTo>
                        <a:cubicBezTo>
                          <a:pt x="34748" y="48353"/>
                          <a:pt x="34758" y="48353"/>
                          <a:pt x="34769" y="48353"/>
                        </a:cubicBezTo>
                        <a:cubicBezTo>
                          <a:pt x="37502" y="48343"/>
                          <a:pt x="39874" y="42046"/>
                          <a:pt x="39842" y="34888"/>
                        </a:cubicBezTo>
                        <a:cubicBezTo>
                          <a:pt x="39800" y="27092"/>
                          <a:pt x="37502" y="21274"/>
                          <a:pt x="35471" y="21274"/>
                        </a:cubicBezTo>
                        <a:close/>
                      </a:path>
                    </a:pathLst>
                  </a:custGeom>
                  <a:solidFill>
                    <a:schemeClr val="accent1"/>
                  </a:solidFill>
                  <a:ln w="1063" cap="flat">
                    <a:noFill/>
                    <a:prstDash val="solid"/>
                    <a:miter/>
                  </a:ln>
                </p:spPr>
                <p:txBody>
                  <a:bodyPr rtlCol="0" anchor="ctr"/>
                  <a:lstStyle/>
                  <a:p>
                    <a:endParaRPr lang="en-GB" dirty="0"/>
                  </a:p>
                </p:txBody>
              </p:sp>
              <p:sp>
                <p:nvSpPr>
                  <p:cNvPr id="354" name="Freeform: Shape 353">
                    <a:extLst>
                      <a:ext uri="{FF2B5EF4-FFF2-40B4-BE49-F238E27FC236}">
                        <a16:creationId xmlns:a16="http://schemas.microsoft.com/office/drawing/2014/main" id="{3559DBA6-E61C-4B60-994E-8BC2224014FC}"/>
                      </a:ext>
                    </a:extLst>
                  </p:cNvPr>
                  <p:cNvSpPr/>
                  <p:nvPr/>
                </p:nvSpPr>
                <p:spPr>
                  <a:xfrm>
                    <a:off x="2644824" y="1860700"/>
                    <a:ext cx="55412" cy="21431"/>
                  </a:xfrm>
                  <a:custGeom>
                    <a:avLst/>
                    <a:gdLst>
                      <a:gd name="connsiteX0" fmla="*/ 10636 w 55412"/>
                      <a:gd name="connsiteY0" fmla="*/ 21431 h 21431"/>
                      <a:gd name="connsiteX1" fmla="*/ 0 w 55412"/>
                      <a:gd name="connsiteY1" fmla="*/ 10849 h 21431"/>
                      <a:gd name="connsiteX2" fmla="*/ 10583 w 55412"/>
                      <a:gd name="connsiteY2" fmla="*/ 160 h 21431"/>
                      <a:gd name="connsiteX3" fmla="*/ 44724 w 55412"/>
                      <a:gd name="connsiteY3" fmla="*/ 0 h 21431"/>
                      <a:gd name="connsiteX4" fmla="*/ 44777 w 55412"/>
                      <a:gd name="connsiteY4" fmla="*/ 0 h 21431"/>
                      <a:gd name="connsiteX5" fmla="*/ 55413 w 55412"/>
                      <a:gd name="connsiteY5" fmla="*/ 10583 h 21431"/>
                      <a:gd name="connsiteX6" fmla="*/ 44830 w 55412"/>
                      <a:gd name="connsiteY6" fmla="*/ 21272 h 21431"/>
                      <a:gd name="connsiteX7" fmla="*/ 10689 w 55412"/>
                      <a:gd name="connsiteY7" fmla="*/ 21431 h 21431"/>
                      <a:gd name="connsiteX8" fmla="*/ 10636 w 55412"/>
                      <a:gd name="connsiteY8" fmla="*/ 21431 h 21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12" h="21431">
                        <a:moveTo>
                          <a:pt x="10636" y="21431"/>
                        </a:moveTo>
                        <a:cubicBezTo>
                          <a:pt x="4786" y="21431"/>
                          <a:pt x="21" y="16698"/>
                          <a:pt x="0" y="10849"/>
                        </a:cubicBezTo>
                        <a:cubicBezTo>
                          <a:pt x="-21" y="4978"/>
                          <a:pt x="4712" y="192"/>
                          <a:pt x="10583" y="160"/>
                        </a:cubicBezTo>
                        <a:lnTo>
                          <a:pt x="44724" y="0"/>
                        </a:lnTo>
                        <a:cubicBezTo>
                          <a:pt x="44745" y="0"/>
                          <a:pt x="44756" y="0"/>
                          <a:pt x="44777" y="0"/>
                        </a:cubicBezTo>
                        <a:cubicBezTo>
                          <a:pt x="50627" y="0"/>
                          <a:pt x="55392" y="4733"/>
                          <a:pt x="55413" y="10583"/>
                        </a:cubicBezTo>
                        <a:cubicBezTo>
                          <a:pt x="55434" y="16454"/>
                          <a:pt x="50701" y="21240"/>
                          <a:pt x="44830" y="21272"/>
                        </a:cubicBezTo>
                        <a:lnTo>
                          <a:pt x="10689" y="21431"/>
                        </a:lnTo>
                        <a:cubicBezTo>
                          <a:pt x="10668" y="21431"/>
                          <a:pt x="10647" y="21431"/>
                          <a:pt x="10636" y="21431"/>
                        </a:cubicBezTo>
                        <a:close/>
                      </a:path>
                    </a:pathLst>
                  </a:custGeom>
                  <a:solidFill>
                    <a:schemeClr val="accent1"/>
                  </a:solidFill>
                  <a:ln w="1063" cap="flat">
                    <a:noFill/>
                    <a:prstDash val="solid"/>
                    <a:miter/>
                  </a:ln>
                </p:spPr>
                <p:txBody>
                  <a:bodyPr rtlCol="0" anchor="ctr"/>
                  <a:lstStyle/>
                  <a:p>
                    <a:endParaRPr lang="en-GB" dirty="0"/>
                  </a:p>
                </p:txBody>
              </p:sp>
            </p:grpSp>
            <p:grpSp>
              <p:nvGrpSpPr>
                <p:cNvPr id="325" name="Graphic 818">
                  <a:extLst>
                    <a:ext uri="{FF2B5EF4-FFF2-40B4-BE49-F238E27FC236}">
                      <a16:creationId xmlns:a16="http://schemas.microsoft.com/office/drawing/2014/main" id="{1C96C9E2-3A8F-4A7E-BF31-4F5AD7291CA8}"/>
                    </a:ext>
                  </a:extLst>
                </p:cNvPr>
                <p:cNvGrpSpPr/>
                <p:nvPr/>
              </p:nvGrpSpPr>
              <p:grpSpPr>
                <a:xfrm>
                  <a:off x="2397323" y="1678710"/>
                  <a:ext cx="299758" cy="127002"/>
                  <a:chOff x="2397323" y="1678710"/>
                  <a:chExt cx="299758" cy="127002"/>
                </a:xfrm>
                <a:solidFill>
                  <a:schemeClr val="accent1"/>
                </a:solidFill>
              </p:grpSpPr>
              <p:grpSp>
                <p:nvGrpSpPr>
                  <p:cNvPr id="344" name="Graphic 818">
                    <a:extLst>
                      <a:ext uri="{FF2B5EF4-FFF2-40B4-BE49-F238E27FC236}">
                        <a16:creationId xmlns:a16="http://schemas.microsoft.com/office/drawing/2014/main" id="{610C59D9-ED8C-4EE6-87A1-CD235A6384B8}"/>
                      </a:ext>
                    </a:extLst>
                  </p:cNvPr>
                  <p:cNvGrpSpPr/>
                  <p:nvPr/>
                </p:nvGrpSpPr>
                <p:grpSpPr>
                  <a:xfrm>
                    <a:off x="2512408" y="1678710"/>
                    <a:ext cx="69611" cy="95244"/>
                    <a:chOff x="2512408" y="1678710"/>
                    <a:chExt cx="69611" cy="95244"/>
                  </a:xfrm>
                  <a:solidFill>
                    <a:schemeClr val="accent1"/>
                  </a:solidFill>
                </p:grpSpPr>
                <p:sp>
                  <p:nvSpPr>
                    <p:cNvPr id="351" name="Freeform: Shape 350">
                      <a:extLst>
                        <a:ext uri="{FF2B5EF4-FFF2-40B4-BE49-F238E27FC236}">
                          <a16:creationId xmlns:a16="http://schemas.microsoft.com/office/drawing/2014/main" id="{1076F72D-6C5E-4E0A-AC94-2B19D5298FBE}"/>
                        </a:ext>
                      </a:extLst>
                    </p:cNvPr>
                    <p:cNvSpPr/>
                    <p:nvPr/>
                  </p:nvSpPr>
                  <p:spPr>
                    <a:xfrm>
                      <a:off x="2512408" y="1678710"/>
                      <a:ext cx="69611" cy="61103"/>
                    </a:xfrm>
                    <a:custGeom>
                      <a:avLst/>
                      <a:gdLst>
                        <a:gd name="connsiteX0" fmla="*/ 34705 w 69611"/>
                        <a:gd name="connsiteY0" fmla="*/ 61103 h 61103"/>
                        <a:gd name="connsiteX1" fmla="*/ 0 w 69611"/>
                        <a:gd name="connsiteY1" fmla="*/ 26398 h 61103"/>
                        <a:gd name="connsiteX2" fmla="*/ 34705 w 69611"/>
                        <a:gd name="connsiteY2" fmla="*/ 0 h 61103"/>
                        <a:gd name="connsiteX3" fmla="*/ 69612 w 69611"/>
                        <a:gd name="connsiteY3" fmla="*/ 25579 h 61103"/>
                        <a:gd name="connsiteX4" fmla="*/ 34705 w 69611"/>
                        <a:gd name="connsiteY4" fmla="*/ 61103 h 61103"/>
                        <a:gd name="connsiteX5" fmla="*/ 34705 w 69611"/>
                        <a:gd name="connsiteY5" fmla="*/ 21261 h 61103"/>
                        <a:gd name="connsiteX6" fmla="*/ 21272 w 69611"/>
                        <a:gd name="connsiteY6" fmla="*/ 26388 h 61103"/>
                        <a:gd name="connsiteX7" fmla="*/ 34705 w 69611"/>
                        <a:gd name="connsiteY7" fmla="*/ 39821 h 61103"/>
                        <a:gd name="connsiteX8" fmla="*/ 48340 w 69611"/>
                        <a:gd name="connsiteY8" fmla="*/ 25558 h 61103"/>
                        <a:gd name="connsiteX9" fmla="*/ 34705 w 69611"/>
                        <a:gd name="connsiteY9" fmla="*/ 21261 h 6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11" h="61103">
                          <a:moveTo>
                            <a:pt x="34705" y="61103"/>
                          </a:moveTo>
                          <a:cubicBezTo>
                            <a:pt x="17517" y="61103"/>
                            <a:pt x="0" y="43586"/>
                            <a:pt x="0" y="26398"/>
                          </a:cubicBezTo>
                          <a:cubicBezTo>
                            <a:pt x="0" y="10859"/>
                            <a:pt x="14273" y="0"/>
                            <a:pt x="34705" y="0"/>
                          </a:cubicBezTo>
                          <a:cubicBezTo>
                            <a:pt x="55913" y="0"/>
                            <a:pt x="69612" y="10040"/>
                            <a:pt x="69612" y="25579"/>
                          </a:cubicBezTo>
                          <a:cubicBezTo>
                            <a:pt x="69612" y="42841"/>
                            <a:pt x="51669" y="61103"/>
                            <a:pt x="34705" y="61103"/>
                          </a:cubicBezTo>
                          <a:close/>
                          <a:moveTo>
                            <a:pt x="34705" y="21261"/>
                          </a:moveTo>
                          <a:cubicBezTo>
                            <a:pt x="27547" y="21261"/>
                            <a:pt x="21272" y="23665"/>
                            <a:pt x="21272" y="26388"/>
                          </a:cubicBezTo>
                          <a:cubicBezTo>
                            <a:pt x="21272" y="31493"/>
                            <a:pt x="28781" y="39821"/>
                            <a:pt x="34705" y="39821"/>
                          </a:cubicBezTo>
                          <a:cubicBezTo>
                            <a:pt x="40459" y="39821"/>
                            <a:pt x="48340" y="30727"/>
                            <a:pt x="48340" y="25558"/>
                          </a:cubicBezTo>
                          <a:cubicBezTo>
                            <a:pt x="48340" y="23537"/>
                            <a:pt x="42512" y="21261"/>
                            <a:pt x="34705" y="21261"/>
                          </a:cubicBezTo>
                          <a:close/>
                        </a:path>
                      </a:pathLst>
                    </a:custGeom>
                    <a:solidFill>
                      <a:schemeClr val="accent1"/>
                    </a:solidFill>
                    <a:ln w="1063" cap="flat">
                      <a:noFill/>
                      <a:prstDash val="solid"/>
                      <a:miter/>
                    </a:ln>
                  </p:spPr>
                  <p:txBody>
                    <a:bodyPr rtlCol="0" anchor="ctr"/>
                    <a:lstStyle/>
                    <a:p>
                      <a:endParaRPr lang="en-GB" dirty="0"/>
                    </a:p>
                  </p:txBody>
                </p:sp>
                <p:sp>
                  <p:nvSpPr>
                    <p:cNvPr id="352" name="Freeform: Shape 351">
                      <a:extLst>
                        <a:ext uri="{FF2B5EF4-FFF2-40B4-BE49-F238E27FC236}">
                          <a16:creationId xmlns:a16="http://schemas.microsoft.com/office/drawing/2014/main" id="{99F6FD7E-4D06-441D-8189-87F227B8210C}"/>
                        </a:ext>
                      </a:extLst>
                    </p:cNvPr>
                    <p:cNvSpPr/>
                    <p:nvPr/>
                  </p:nvSpPr>
                  <p:spPr>
                    <a:xfrm>
                      <a:off x="2536456" y="1718541"/>
                      <a:ext cx="21271" cy="55412"/>
                    </a:xfrm>
                    <a:custGeom>
                      <a:avLst/>
                      <a:gdLst>
                        <a:gd name="connsiteX0" fmla="*/ 10636 w 21271"/>
                        <a:gd name="connsiteY0" fmla="*/ 55413 h 55412"/>
                        <a:gd name="connsiteX1" fmla="*/ 0 w 21271"/>
                        <a:gd name="connsiteY1" fmla="*/ 44777 h 55412"/>
                        <a:gd name="connsiteX2" fmla="*/ 0 w 21271"/>
                        <a:gd name="connsiteY2" fmla="*/ 10636 h 55412"/>
                        <a:gd name="connsiteX3" fmla="*/ 10636 w 21271"/>
                        <a:gd name="connsiteY3" fmla="*/ 0 h 55412"/>
                        <a:gd name="connsiteX4" fmla="*/ 21272 w 21271"/>
                        <a:gd name="connsiteY4" fmla="*/ 10636 h 55412"/>
                        <a:gd name="connsiteX5" fmla="*/ 21272 w 21271"/>
                        <a:gd name="connsiteY5" fmla="*/ 44777 h 55412"/>
                        <a:gd name="connsiteX6" fmla="*/ 10636 w 21271"/>
                        <a:gd name="connsiteY6" fmla="*/ 55413 h 5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55412">
                          <a:moveTo>
                            <a:pt x="10636" y="55413"/>
                          </a:moveTo>
                          <a:cubicBezTo>
                            <a:pt x="4765" y="55413"/>
                            <a:pt x="0" y="50648"/>
                            <a:pt x="0" y="44777"/>
                          </a:cubicBezTo>
                          <a:lnTo>
                            <a:pt x="0" y="10636"/>
                          </a:lnTo>
                          <a:cubicBezTo>
                            <a:pt x="0" y="4765"/>
                            <a:pt x="4765" y="0"/>
                            <a:pt x="10636" y="0"/>
                          </a:cubicBezTo>
                          <a:cubicBezTo>
                            <a:pt x="16507" y="0"/>
                            <a:pt x="21272" y="4765"/>
                            <a:pt x="21272" y="10636"/>
                          </a:cubicBezTo>
                          <a:lnTo>
                            <a:pt x="21272" y="44777"/>
                          </a:lnTo>
                          <a:cubicBezTo>
                            <a:pt x="21272" y="50648"/>
                            <a:pt x="16517" y="55413"/>
                            <a:pt x="10636" y="55413"/>
                          </a:cubicBezTo>
                          <a:close/>
                        </a:path>
                      </a:pathLst>
                    </a:custGeom>
                    <a:solidFill>
                      <a:schemeClr val="accent1"/>
                    </a:solidFill>
                    <a:ln w="1063" cap="flat">
                      <a:noFill/>
                      <a:prstDash val="solid"/>
                      <a:miter/>
                    </a:ln>
                  </p:spPr>
                  <p:txBody>
                    <a:bodyPr rtlCol="0" anchor="ctr"/>
                    <a:lstStyle/>
                    <a:p>
                      <a:endParaRPr lang="en-GB" dirty="0"/>
                    </a:p>
                  </p:txBody>
                </p:sp>
              </p:grpSp>
              <p:grpSp>
                <p:nvGrpSpPr>
                  <p:cNvPr id="345" name="Graphic 818">
                    <a:extLst>
                      <a:ext uri="{FF2B5EF4-FFF2-40B4-BE49-F238E27FC236}">
                        <a16:creationId xmlns:a16="http://schemas.microsoft.com/office/drawing/2014/main" id="{2B27443B-386C-46B3-AF10-99CEBC2AC4FF}"/>
                      </a:ext>
                    </a:extLst>
                  </p:cNvPr>
                  <p:cNvGrpSpPr/>
                  <p:nvPr/>
                </p:nvGrpSpPr>
                <p:grpSpPr>
                  <a:xfrm>
                    <a:off x="2613244" y="1722484"/>
                    <a:ext cx="83837" cy="83228"/>
                    <a:chOff x="2613244" y="1722484"/>
                    <a:chExt cx="83837" cy="83228"/>
                  </a:xfrm>
                  <a:solidFill>
                    <a:schemeClr val="accent1"/>
                  </a:solidFill>
                </p:grpSpPr>
                <p:sp>
                  <p:nvSpPr>
                    <p:cNvPr id="349" name="Freeform: Shape 348">
                      <a:extLst>
                        <a:ext uri="{FF2B5EF4-FFF2-40B4-BE49-F238E27FC236}">
                          <a16:creationId xmlns:a16="http://schemas.microsoft.com/office/drawing/2014/main" id="{17A8E8A9-9DE6-4C7A-B125-DFFC0E604632}"/>
                        </a:ext>
                      </a:extLst>
                    </p:cNvPr>
                    <p:cNvSpPr/>
                    <p:nvPr/>
                  </p:nvSpPr>
                  <p:spPr>
                    <a:xfrm>
                      <a:off x="2631379" y="1722484"/>
                      <a:ext cx="65702" cy="64838"/>
                    </a:xfrm>
                    <a:custGeom>
                      <a:avLst/>
                      <a:gdLst>
                        <a:gd name="connsiteX0" fmla="*/ 33569 w 65702"/>
                        <a:gd name="connsiteY0" fmla="*/ 64839 h 64838"/>
                        <a:gd name="connsiteX1" fmla="*/ 9128 w 65702"/>
                        <a:gd name="connsiteY1" fmla="*/ 55979 h 64838"/>
                        <a:gd name="connsiteX2" fmla="*/ 2 w 65702"/>
                        <a:gd name="connsiteY2" fmla="*/ 31166 h 64838"/>
                        <a:gd name="connsiteX3" fmla="*/ 9138 w 65702"/>
                        <a:gd name="connsiteY3" fmla="*/ 6905 h 64838"/>
                        <a:gd name="connsiteX4" fmla="*/ 33420 w 65702"/>
                        <a:gd name="connsiteY4" fmla="*/ 1109 h 64838"/>
                        <a:gd name="connsiteX5" fmla="*/ 52352 w 65702"/>
                        <a:gd name="connsiteY5" fmla="*/ 12787 h 64838"/>
                        <a:gd name="connsiteX6" fmla="*/ 58957 w 65702"/>
                        <a:gd name="connsiteY6" fmla="*/ 55554 h 64838"/>
                        <a:gd name="connsiteX7" fmla="*/ 58957 w 65702"/>
                        <a:gd name="connsiteY7" fmla="*/ 55554 h 64838"/>
                        <a:gd name="connsiteX8" fmla="*/ 33569 w 65702"/>
                        <a:gd name="connsiteY8" fmla="*/ 64839 h 64838"/>
                        <a:gd name="connsiteX9" fmla="*/ 51426 w 65702"/>
                        <a:gd name="connsiteY9" fmla="*/ 48023 h 64838"/>
                        <a:gd name="connsiteX10" fmla="*/ 51533 w 65702"/>
                        <a:gd name="connsiteY10" fmla="*/ 48023 h 64838"/>
                        <a:gd name="connsiteX11" fmla="*/ 51426 w 65702"/>
                        <a:gd name="connsiteY11" fmla="*/ 48023 h 64838"/>
                        <a:gd name="connsiteX12" fmla="*/ 25837 w 65702"/>
                        <a:gd name="connsiteY12" fmla="*/ 21285 h 64838"/>
                        <a:gd name="connsiteX13" fmla="*/ 24188 w 65702"/>
                        <a:gd name="connsiteY13" fmla="*/ 21955 h 64838"/>
                        <a:gd name="connsiteX14" fmla="*/ 21284 w 65702"/>
                        <a:gd name="connsiteY14" fmla="*/ 31368 h 64838"/>
                        <a:gd name="connsiteX15" fmla="*/ 24188 w 65702"/>
                        <a:gd name="connsiteY15" fmla="*/ 40940 h 64838"/>
                        <a:gd name="connsiteX16" fmla="*/ 43917 w 65702"/>
                        <a:gd name="connsiteY16" fmla="*/ 40504 h 64838"/>
                        <a:gd name="connsiteX17" fmla="*/ 37313 w 65702"/>
                        <a:gd name="connsiteY17" fmla="*/ 27826 h 64838"/>
                        <a:gd name="connsiteX18" fmla="*/ 27708 w 65702"/>
                        <a:gd name="connsiteY18" fmla="*/ 21593 h 64838"/>
                        <a:gd name="connsiteX19" fmla="*/ 25837 w 65702"/>
                        <a:gd name="connsiteY19" fmla="*/ 21285 h 6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5702" h="64838">
                          <a:moveTo>
                            <a:pt x="33569" y="64839"/>
                          </a:moveTo>
                          <a:cubicBezTo>
                            <a:pt x="24273" y="64839"/>
                            <a:pt x="15041" y="61893"/>
                            <a:pt x="9128" y="55979"/>
                          </a:cubicBezTo>
                          <a:cubicBezTo>
                            <a:pt x="3235" y="50087"/>
                            <a:pt x="-94" y="41046"/>
                            <a:pt x="2" y="31166"/>
                          </a:cubicBezTo>
                          <a:cubicBezTo>
                            <a:pt x="98" y="21455"/>
                            <a:pt x="3427" y="12617"/>
                            <a:pt x="9138" y="6905"/>
                          </a:cubicBezTo>
                          <a:cubicBezTo>
                            <a:pt x="15477" y="566"/>
                            <a:pt x="24114" y="-1518"/>
                            <a:pt x="33420" y="1109"/>
                          </a:cubicBezTo>
                          <a:cubicBezTo>
                            <a:pt x="39908" y="2917"/>
                            <a:pt x="46630" y="7065"/>
                            <a:pt x="52352" y="12787"/>
                          </a:cubicBezTo>
                          <a:cubicBezTo>
                            <a:pt x="67348" y="27773"/>
                            <a:pt x="69943" y="44556"/>
                            <a:pt x="58957" y="55554"/>
                          </a:cubicBezTo>
                          <a:cubicBezTo>
                            <a:pt x="58957" y="55554"/>
                            <a:pt x="58957" y="55554"/>
                            <a:pt x="58957" y="55554"/>
                          </a:cubicBezTo>
                          <a:cubicBezTo>
                            <a:pt x="52756" y="61733"/>
                            <a:pt x="43130" y="64839"/>
                            <a:pt x="33569" y="64839"/>
                          </a:cubicBezTo>
                          <a:close/>
                          <a:moveTo>
                            <a:pt x="51426" y="48023"/>
                          </a:moveTo>
                          <a:lnTo>
                            <a:pt x="51533" y="48023"/>
                          </a:lnTo>
                          <a:lnTo>
                            <a:pt x="51426" y="48023"/>
                          </a:lnTo>
                          <a:close/>
                          <a:moveTo>
                            <a:pt x="25837" y="21285"/>
                          </a:moveTo>
                          <a:cubicBezTo>
                            <a:pt x="24847" y="21285"/>
                            <a:pt x="24465" y="21668"/>
                            <a:pt x="24188" y="21955"/>
                          </a:cubicBezTo>
                          <a:cubicBezTo>
                            <a:pt x="22773" y="23369"/>
                            <a:pt x="21316" y="26826"/>
                            <a:pt x="21284" y="31368"/>
                          </a:cubicBezTo>
                          <a:cubicBezTo>
                            <a:pt x="21252" y="35388"/>
                            <a:pt x="22391" y="39143"/>
                            <a:pt x="24188" y="40940"/>
                          </a:cubicBezTo>
                          <a:cubicBezTo>
                            <a:pt x="28240" y="45003"/>
                            <a:pt x="40248" y="44152"/>
                            <a:pt x="43917" y="40504"/>
                          </a:cubicBezTo>
                          <a:cubicBezTo>
                            <a:pt x="45353" y="39068"/>
                            <a:pt x="42833" y="33335"/>
                            <a:pt x="37313" y="27826"/>
                          </a:cubicBezTo>
                          <a:cubicBezTo>
                            <a:pt x="34228" y="24742"/>
                            <a:pt x="30644" y="22412"/>
                            <a:pt x="27708" y="21593"/>
                          </a:cubicBezTo>
                          <a:cubicBezTo>
                            <a:pt x="26911" y="21370"/>
                            <a:pt x="26304" y="21285"/>
                            <a:pt x="25837" y="21285"/>
                          </a:cubicBezTo>
                          <a:close/>
                        </a:path>
                      </a:pathLst>
                    </a:custGeom>
                    <a:solidFill>
                      <a:schemeClr val="accent1"/>
                    </a:solidFill>
                    <a:ln w="1063" cap="flat">
                      <a:noFill/>
                      <a:prstDash val="solid"/>
                      <a:miter/>
                    </a:ln>
                  </p:spPr>
                  <p:txBody>
                    <a:bodyPr rtlCol="0" anchor="ctr"/>
                    <a:lstStyle/>
                    <a:p>
                      <a:endParaRPr lang="en-GB" dirty="0"/>
                    </a:p>
                  </p:txBody>
                </p:sp>
                <p:sp>
                  <p:nvSpPr>
                    <p:cNvPr id="350" name="Freeform: Shape 349">
                      <a:extLst>
                        <a:ext uri="{FF2B5EF4-FFF2-40B4-BE49-F238E27FC236}">
                          <a16:creationId xmlns:a16="http://schemas.microsoft.com/office/drawing/2014/main" id="{5FFDD317-4783-4C32-92A4-B7C308EEADF5}"/>
                        </a:ext>
                      </a:extLst>
                    </p:cNvPr>
                    <p:cNvSpPr/>
                    <p:nvPr/>
                  </p:nvSpPr>
                  <p:spPr>
                    <a:xfrm>
                      <a:off x="2613244" y="1760295"/>
                      <a:ext cx="45420" cy="45417"/>
                    </a:xfrm>
                    <a:custGeom>
                      <a:avLst/>
                      <a:gdLst>
                        <a:gd name="connsiteX0" fmla="*/ 10639 w 45420"/>
                        <a:gd name="connsiteY0" fmla="*/ 45418 h 45417"/>
                        <a:gd name="connsiteX1" fmla="*/ 3119 w 45420"/>
                        <a:gd name="connsiteY1" fmla="*/ 42301 h 45417"/>
                        <a:gd name="connsiteX2" fmla="*/ 3119 w 45420"/>
                        <a:gd name="connsiteY2" fmla="*/ 27262 h 45417"/>
                        <a:gd name="connsiteX3" fmla="*/ 27262 w 45420"/>
                        <a:gd name="connsiteY3" fmla="*/ 3119 h 45417"/>
                        <a:gd name="connsiteX4" fmla="*/ 42301 w 45420"/>
                        <a:gd name="connsiteY4" fmla="*/ 3119 h 45417"/>
                        <a:gd name="connsiteX5" fmla="*/ 42301 w 45420"/>
                        <a:gd name="connsiteY5" fmla="*/ 18158 h 45417"/>
                        <a:gd name="connsiteX6" fmla="*/ 18158 w 45420"/>
                        <a:gd name="connsiteY6" fmla="*/ 42301 h 45417"/>
                        <a:gd name="connsiteX7" fmla="*/ 10639 w 45420"/>
                        <a:gd name="connsiteY7" fmla="*/ 45418 h 4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20" h="45417">
                          <a:moveTo>
                            <a:pt x="10639" y="45418"/>
                          </a:moveTo>
                          <a:cubicBezTo>
                            <a:pt x="7916" y="45418"/>
                            <a:pt x="5193" y="44376"/>
                            <a:pt x="3119" y="42301"/>
                          </a:cubicBezTo>
                          <a:cubicBezTo>
                            <a:pt x="-1040" y="38143"/>
                            <a:pt x="-1040" y="31421"/>
                            <a:pt x="3119" y="27262"/>
                          </a:cubicBezTo>
                          <a:lnTo>
                            <a:pt x="27262" y="3119"/>
                          </a:lnTo>
                          <a:cubicBezTo>
                            <a:pt x="31421" y="-1040"/>
                            <a:pt x="38143" y="-1040"/>
                            <a:pt x="42301" y="3119"/>
                          </a:cubicBezTo>
                          <a:cubicBezTo>
                            <a:pt x="46460" y="7278"/>
                            <a:pt x="46460" y="13999"/>
                            <a:pt x="42301" y="18158"/>
                          </a:cubicBezTo>
                          <a:lnTo>
                            <a:pt x="18158" y="42301"/>
                          </a:lnTo>
                          <a:cubicBezTo>
                            <a:pt x="16084" y="44386"/>
                            <a:pt x="13361" y="45418"/>
                            <a:pt x="10639" y="45418"/>
                          </a:cubicBezTo>
                          <a:close/>
                        </a:path>
                      </a:pathLst>
                    </a:custGeom>
                    <a:solidFill>
                      <a:schemeClr val="accent1"/>
                    </a:solidFill>
                    <a:ln w="1063" cap="flat">
                      <a:noFill/>
                      <a:prstDash val="solid"/>
                      <a:miter/>
                    </a:ln>
                  </p:spPr>
                  <p:txBody>
                    <a:bodyPr rtlCol="0" anchor="ctr"/>
                    <a:lstStyle/>
                    <a:p>
                      <a:endParaRPr lang="en-GB" dirty="0"/>
                    </a:p>
                  </p:txBody>
                </p:sp>
              </p:grpSp>
              <p:grpSp>
                <p:nvGrpSpPr>
                  <p:cNvPr id="346" name="Graphic 818">
                    <a:extLst>
                      <a:ext uri="{FF2B5EF4-FFF2-40B4-BE49-F238E27FC236}">
                        <a16:creationId xmlns:a16="http://schemas.microsoft.com/office/drawing/2014/main" id="{A320C671-EE75-4AD6-B879-7B321A4A157C}"/>
                      </a:ext>
                    </a:extLst>
                  </p:cNvPr>
                  <p:cNvGrpSpPr/>
                  <p:nvPr/>
                </p:nvGrpSpPr>
                <p:grpSpPr>
                  <a:xfrm>
                    <a:off x="2397323" y="1722240"/>
                    <a:ext cx="83818" cy="83217"/>
                    <a:chOff x="2397323" y="1722240"/>
                    <a:chExt cx="83818" cy="83217"/>
                  </a:xfrm>
                  <a:solidFill>
                    <a:schemeClr val="accent1"/>
                  </a:solidFill>
                </p:grpSpPr>
                <p:sp>
                  <p:nvSpPr>
                    <p:cNvPr id="347" name="Freeform: Shape 346">
                      <a:extLst>
                        <a:ext uri="{FF2B5EF4-FFF2-40B4-BE49-F238E27FC236}">
                          <a16:creationId xmlns:a16="http://schemas.microsoft.com/office/drawing/2014/main" id="{2DF498E8-F0C8-4D4B-946B-42562C53A3B5}"/>
                        </a:ext>
                      </a:extLst>
                    </p:cNvPr>
                    <p:cNvSpPr/>
                    <p:nvPr/>
                  </p:nvSpPr>
                  <p:spPr>
                    <a:xfrm>
                      <a:off x="2397323" y="1722240"/>
                      <a:ext cx="65683" cy="64838"/>
                    </a:xfrm>
                    <a:custGeom>
                      <a:avLst/>
                      <a:gdLst>
                        <a:gd name="connsiteX0" fmla="*/ 32115 w 65683"/>
                        <a:gd name="connsiteY0" fmla="*/ 64838 h 64838"/>
                        <a:gd name="connsiteX1" fmla="*/ 6737 w 65683"/>
                        <a:gd name="connsiteY1" fmla="*/ 55543 h 64838"/>
                        <a:gd name="connsiteX2" fmla="*/ 6737 w 65683"/>
                        <a:gd name="connsiteY2" fmla="*/ 55543 h 64838"/>
                        <a:gd name="connsiteX3" fmla="*/ 13353 w 65683"/>
                        <a:gd name="connsiteY3" fmla="*/ 12776 h 64838"/>
                        <a:gd name="connsiteX4" fmla="*/ 32274 w 65683"/>
                        <a:gd name="connsiteY4" fmla="*/ 1108 h 64838"/>
                        <a:gd name="connsiteX5" fmla="*/ 56556 w 65683"/>
                        <a:gd name="connsiteY5" fmla="*/ 6916 h 64838"/>
                        <a:gd name="connsiteX6" fmla="*/ 65681 w 65683"/>
                        <a:gd name="connsiteY6" fmla="*/ 31165 h 64838"/>
                        <a:gd name="connsiteX7" fmla="*/ 56545 w 65683"/>
                        <a:gd name="connsiteY7" fmla="*/ 55990 h 64838"/>
                        <a:gd name="connsiteX8" fmla="*/ 32115 w 65683"/>
                        <a:gd name="connsiteY8" fmla="*/ 64838 h 64838"/>
                        <a:gd name="connsiteX9" fmla="*/ 21777 w 65683"/>
                        <a:gd name="connsiteY9" fmla="*/ 40493 h 64838"/>
                        <a:gd name="connsiteX10" fmla="*/ 41495 w 65683"/>
                        <a:gd name="connsiteY10" fmla="*/ 40929 h 64838"/>
                        <a:gd name="connsiteX11" fmla="*/ 44399 w 65683"/>
                        <a:gd name="connsiteY11" fmla="*/ 31346 h 64838"/>
                        <a:gd name="connsiteX12" fmla="*/ 41495 w 65683"/>
                        <a:gd name="connsiteY12" fmla="*/ 21944 h 64838"/>
                        <a:gd name="connsiteX13" fmla="*/ 37975 w 65683"/>
                        <a:gd name="connsiteY13" fmla="*/ 21582 h 64838"/>
                        <a:gd name="connsiteX14" fmla="*/ 28371 w 65683"/>
                        <a:gd name="connsiteY14" fmla="*/ 27805 h 64838"/>
                        <a:gd name="connsiteX15" fmla="*/ 21777 w 65683"/>
                        <a:gd name="connsiteY15" fmla="*/ 40493 h 6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683" h="64838">
                          <a:moveTo>
                            <a:pt x="32115" y="64838"/>
                          </a:moveTo>
                          <a:cubicBezTo>
                            <a:pt x="22564" y="64838"/>
                            <a:pt x="12938" y="61733"/>
                            <a:pt x="6737" y="55543"/>
                          </a:cubicBezTo>
                          <a:cubicBezTo>
                            <a:pt x="6737" y="55543"/>
                            <a:pt x="6737" y="55543"/>
                            <a:pt x="6737" y="55543"/>
                          </a:cubicBezTo>
                          <a:cubicBezTo>
                            <a:pt x="-4239" y="44556"/>
                            <a:pt x="-1644" y="27762"/>
                            <a:pt x="13353" y="12776"/>
                          </a:cubicBezTo>
                          <a:cubicBezTo>
                            <a:pt x="19064" y="7054"/>
                            <a:pt x="25786" y="2917"/>
                            <a:pt x="32274" y="1108"/>
                          </a:cubicBezTo>
                          <a:cubicBezTo>
                            <a:pt x="41580" y="-1519"/>
                            <a:pt x="50217" y="566"/>
                            <a:pt x="56556" y="6916"/>
                          </a:cubicBezTo>
                          <a:cubicBezTo>
                            <a:pt x="62267" y="12627"/>
                            <a:pt x="65596" y="21465"/>
                            <a:pt x="65681" y="31165"/>
                          </a:cubicBezTo>
                          <a:cubicBezTo>
                            <a:pt x="65777" y="41046"/>
                            <a:pt x="62437" y="50097"/>
                            <a:pt x="56545" y="55990"/>
                          </a:cubicBezTo>
                          <a:cubicBezTo>
                            <a:pt x="50632" y="61892"/>
                            <a:pt x="41410" y="64838"/>
                            <a:pt x="32115" y="64838"/>
                          </a:cubicBezTo>
                          <a:close/>
                          <a:moveTo>
                            <a:pt x="21777" y="40493"/>
                          </a:moveTo>
                          <a:cubicBezTo>
                            <a:pt x="25446" y="44141"/>
                            <a:pt x="37433" y="44992"/>
                            <a:pt x="41495" y="40929"/>
                          </a:cubicBezTo>
                          <a:cubicBezTo>
                            <a:pt x="43303" y="39132"/>
                            <a:pt x="44442" y="35367"/>
                            <a:pt x="44399" y="31346"/>
                          </a:cubicBezTo>
                          <a:cubicBezTo>
                            <a:pt x="44356" y="26805"/>
                            <a:pt x="42910" y="23359"/>
                            <a:pt x="41495" y="21944"/>
                          </a:cubicBezTo>
                          <a:cubicBezTo>
                            <a:pt x="41081" y="21519"/>
                            <a:pt x="40453" y="20891"/>
                            <a:pt x="37975" y="21582"/>
                          </a:cubicBezTo>
                          <a:cubicBezTo>
                            <a:pt x="35039" y="22401"/>
                            <a:pt x="31455" y="24720"/>
                            <a:pt x="28371" y="27805"/>
                          </a:cubicBezTo>
                          <a:cubicBezTo>
                            <a:pt x="22861" y="33324"/>
                            <a:pt x="20341" y="39057"/>
                            <a:pt x="21777" y="40493"/>
                          </a:cubicBezTo>
                          <a:close/>
                        </a:path>
                      </a:pathLst>
                    </a:custGeom>
                    <a:solidFill>
                      <a:schemeClr val="accent1"/>
                    </a:solidFill>
                    <a:ln w="1063" cap="flat">
                      <a:noFill/>
                      <a:prstDash val="solid"/>
                      <a:miter/>
                    </a:ln>
                  </p:spPr>
                  <p:txBody>
                    <a:bodyPr rtlCol="0" anchor="ctr"/>
                    <a:lstStyle/>
                    <a:p>
                      <a:endParaRPr lang="en-GB" dirty="0"/>
                    </a:p>
                  </p:txBody>
                </p:sp>
                <p:sp>
                  <p:nvSpPr>
                    <p:cNvPr id="348" name="Freeform: Shape 347">
                      <a:extLst>
                        <a:ext uri="{FF2B5EF4-FFF2-40B4-BE49-F238E27FC236}">
                          <a16:creationId xmlns:a16="http://schemas.microsoft.com/office/drawing/2014/main" id="{2721116D-2EB4-47A2-AD25-0905269BFFF5}"/>
                        </a:ext>
                      </a:extLst>
                    </p:cNvPr>
                    <p:cNvSpPr/>
                    <p:nvPr/>
                  </p:nvSpPr>
                  <p:spPr>
                    <a:xfrm>
                      <a:off x="2435721" y="1760040"/>
                      <a:ext cx="45420" cy="45417"/>
                    </a:xfrm>
                    <a:custGeom>
                      <a:avLst/>
                      <a:gdLst>
                        <a:gd name="connsiteX0" fmla="*/ 34782 w 45420"/>
                        <a:gd name="connsiteY0" fmla="*/ 45418 h 45417"/>
                        <a:gd name="connsiteX1" fmla="*/ 27262 w 45420"/>
                        <a:gd name="connsiteY1" fmla="*/ 42301 h 45417"/>
                        <a:gd name="connsiteX2" fmla="*/ 3119 w 45420"/>
                        <a:gd name="connsiteY2" fmla="*/ 18158 h 45417"/>
                        <a:gd name="connsiteX3" fmla="*/ 3119 w 45420"/>
                        <a:gd name="connsiteY3" fmla="*/ 3119 h 45417"/>
                        <a:gd name="connsiteX4" fmla="*/ 18158 w 45420"/>
                        <a:gd name="connsiteY4" fmla="*/ 3119 h 45417"/>
                        <a:gd name="connsiteX5" fmla="*/ 42301 w 45420"/>
                        <a:gd name="connsiteY5" fmla="*/ 27262 h 45417"/>
                        <a:gd name="connsiteX6" fmla="*/ 42301 w 45420"/>
                        <a:gd name="connsiteY6" fmla="*/ 42301 h 45417"/>
                        <a:gd name="connsiteX7" fmla="*/ 34782 w 45420"/>
                        <a:gd name="connsiteY7" fmla="*/ 45418 h 4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20" h="45417">
                          <a:moveTo>
                            <a:pt x="34782" y="45418"/>
                          </a:moveTo>
                          <a:cubicBezTo>
                            <a:pt x="32059" y="45418"/>
                            <a:pt x="29336" y="44376"/>
                            <a:pt x="27262" y="42301"/>
                          </a:cubicBezTo>
                          <a:lnTo>
                            <a:pt x="3119" y="18158"/>
                          </a:lnTo>
                          <a:cubicBezTo>
                            <a:pt x="-1040" y="13999"/>
                            <a:pt x="-1040" y="7267"/>
                            <a:pt x="3119" y="3119"/>
                          </a:cubicBezTo>
                          <a:cubicBezTo>
                            <a:pt x="7278" y="-1040"/>
                            <a:pt x="13999" y="-1040"/>
                            <a:pt x="18158" y="3119"/>
                          </a:cubicBezTo>
                          <a:lnTo>
                            <a:pt x="42301" y="27262"/>
                          </a:lnTo>
                          <a:cubicBezTo>
                            <a:pt x="46460" y="31421"/>
                            <a:pt x="46460" y="38153"/>
                            <a:pt x="42301" y="42301"/>
                          </a:cubicBezTo>
                          <a:cubicBezTo>
                            <a:pt x="40227" y="44386"/>
                            <a:pt x="37505" y="45418"/>
                            <a:pt x="34782" y="45418"/>
                          </a:cubicBezTo>
                          <a:close/>
                        </a:path>
                      </a:pathLst>
                    </a:custGeom>
                    <a:solidFill>
                      <a:schemeClr val="accent1"/>
                    </a:solidFill>
                    <a:ln w="1063" cap="flat">
                      <a:noFill/>
                      <a:prstDash val="solid"/>
                      <a:miter/>
                    </a:ln>
                  </p:spPr>
                  <p:txBody>
                    <a:bodyPr rtlCol="0" anchor="ctr"/>
                    <a:lstStyle/>
                    <a:p>
                      <a:endParaRPr lang="en-GB" dirty="0"/>
                    </a:p>
                  </p:txBody>
                </p:sp>
              </p:grpSp>
            </p:grpSp>
            <p:grpSp>
              <p:nvGrpSpPr>
                <p:cNvPr id="326" name="Graphic 818">
                  <a:extLst>
                    <a:ext uri="{FF2B5EF4-FFF2-40B4-BE49-F238E27FC236}">
                      <a16:creationId xmlns:a16="http://schemas.microsoft.com/office/drawing/2014/main" id="{74050AFA-1041-4C23-97BD-2B475D77554E}"/>
                    </a:ext>
                  </a:extLst>
                </p:cNvPr>
                <p:cNvGrpSpPr/>
                <p:nvPr/>
              </p:nvGrpSpPr>
              <p:grpSpPr>
                <a:xfrm>
                  <a:off x="2397382" y="1937595"/>
                  <a:ext cx="299632" cy="127016"/>
                  <a:chOff x="2397382" y="1937595"/>
                  <a:chExt cx="299632" cy="127016"/>
                </a:xfrm>
                <a:solidFill>
                  <a:schemeClr val="accent1"/>
                </a:solidFill>
              </p:grpSpPr>
              <p:grpSp>
                <p:nvGrpSpPr>
                  <p:cNvPr id="335" name="Graphic 818">
                    <a:extLst>
                      <a:ext uri="{FF2B5EF4-FFF2-40B4-BE49-F238E27FC236}">
                        <a16:creationId xmlns:a16="http://schemas.microsoft.com/office/drawing/2014/main" id="{81C6CB26-020D-493B-980F-6E036FB0ACAC}"/>
                      </a:ext>
                    </a:extLst>
                  </p:cNvPr>
                  <p:cNvGrpSpPr/>
                  <p:nvPr/>
                </p:nvGrpSpPr>
                <p:grpSpPr>
                  <a:xfrm>
                    <a:off x="2512408" y="1969367"/>
                    <a:ext cx="69611" cy="95244"/>
                    <a:chOff x="2512408" y="1969367"/>
                    <a:chExt cx="69611" cy="95244"/>
                  </a:xfrm>
                  <a:solidFill>
                    <a:schemeClr val="accent1"/>
                  </a:solidFill>
                </p:grpSpPr>
                <p:sp>
                  <p:nvSpPr>
                    <p:cNvPr id="342" name="Freeform: Shape 341">
                      <a:extLst>
                        <a:ext uri="{FF2B5EF4-FFF2-40B4-BE49-F238E27FC236}">
                          <a16:creationId xmlns:a16="http://schemas.microsoft.com/office/drawing/2014/main" id="{FF2063BA-E230-43C6-B947-630F9937F030}"/>
                        </a:ext>
                      </a:extLst>
                    </p:cNvPr>
                    <p:cNvSpPr/>
                    <p:nvPr/>
                  </p:nvSpPr>
                  <p:spPr>
                    <a:xfrm>
                      <a:off x="2512408" y="2003508"/>
                      <a:ext cx="69611" cy="61103"/>
                    </a:xfrm>
                    <a:custGeom>
                      <a:avLst/>
                      <a:gdLst>
                        <a:gd name="connsiteX0" fmla="*/ 34705 w 69611"/>
                        <a:gd name="connsiteY0" fmla="*/ 61103 h 61103"/>
                        <a:gd name="connsiteX1" fmla="*/ 0 w 69611"/>
                        <a:gd name="connsiteY1" fmla="*/ 34705 h 61103"/>
                        <a:gd name="connsiteX2" fmla="*/ 34705 w 69611"/>
                        <a:gd name="connsiteY2" fmla="*/ 0 h 61103"/>
                        <a:gd name="connsiteX3" fmla="*/ 69612 w 69611"/>
                        <a:gd name="connsiteY3" fmla="*/ 35534 h 61103"/>
                        <a:gd name="connsiteX4" fmla="*/ 34705 w 69611"/>
                        <a:gd name="connsiteY4" fmla="*/ 61103 h 61103"/>
                        <a:gd name="connsiteX5" fmla="*/ 34705 w 69611"/>
                        <a:gd name="connsiteY5" fmla="*/ 21272 h 61103"/>
                        <a:gd name="connsiteX6" fmla="*/ 21272 w 69611"/>
                        <a:gd name="connsiteY6" fmla="*/ 34705 h 61103"/>
                        <a:gd name="connsiteX7" fmla="*/ 34705 w 69611"/>
                        <a:gd name="connsiteY7" fmla="*/ 39831 h 61103"/>
                        <a:gd name="connsiteX8" fmla="*/ 48340 w 69611"/>
                        <a:gd name="connsiteY8" fmla="*/ 35534 h 61103"/>
                        <a:gd name="connsiteX9" fmla="*/ 34705 w 69611"/>
                        <a:gd name="connsiteY9" fmla="*/ 21272 h 61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9611" h="61103">
                          <a:moveTo>
                            <a:pt x="34705" y="61103"/>
                          </a:moveTo>
                          <a:cubicBezTo>
                            <a:pt x="14273" y="61103"/>
                            <a:pt x="0" y="50244"/>
                            <a:pt x="0" y="34705"/>
                          </a:cubicBezTo>
                          <a:cubicBezTo>
                            <a:pt x="0" y="17517"/>
                            <a:pt x="17507" y="0"/>
                            <a:pt x="34705" y="0"/>
                          </a:cubicBezTo>
                          <a:cubicBezTo>
                            <a:pt x="51669" y="0"/>
                            <a:pt x="69612" y="18262"/>
                            <a:pt x="69612" y="35534"/>
                          </a:cubicBezTo>
                          <a:cubicBezTo>
                            <a:pt x="69612" y="51063"/>
                            <a:pt x="55913" y="61103"/>
                            <a:pt x="34705" y="61103"/>
                          </a:cubicBezTo>
                          <a:close/>
                          <a:moveTo>
                            <a:pt x="34705" y="21272"/>
                          </a:moveTo>
                          <a:cubicBezTo>
                            <a:pt x="28781" y="21272"/>
                            <a:pt x="21272" y="29600"/>
                            <a:pt x="21272" y="34705"/>
                          </a:cubicBezTo>
                          <a:cubicBezTo>
                            <a:pt x="21272" y="37438"/>
                            <a:pt x="27547" y="39831"/>
                            <a:pt x="34705" y="39831"/>
                          </a:cubicBezTo>
                          <a:cubicBezTo>
                            <a:pt x="42512" y="39831"/>
                            <a:pt x="48340" y="37566"/>
                            <a:pt x="48340" y="35534"/>
                          </a:cubicBezTo>
                          <a:cubicBezTo>
                            <a:pt x="48340" y="30365"/>
                            <a:pt x="40459" y="21272"/>
                            <a:pt x="34705" y="21272"/>
                          </a:cubicBezTo>
                          <a:close/>
                        </a:path>
                      </a:pathLst>
                    </a:custGeom>
                    <a:solidFill>
                      <a:schemeClr val="accent1"/>
                    </a:solidFill>
                    <a:ln w="1063" cap="flat">
                      <a:noFill/>
                      <a:prstDash val="solid"/>
                      <a:miter/>
                    </a:ln>
                  </p:spPr>
                  <p:txBody>
                    <a:bodyPr rtlCol="0" anchor="ctr"/>
                    <a:lstStyle/>
                    <a:p>
                      <a:endParaRPr lang="en-GB" dirty="0"/>
                    </a:p>
                  </p:txBody>
                </p:sp>
                <p:sp>
                  <p:nvSpPr>
                    <p:cNvPr id="343" name="Freeform: Shape 342">
                      <a:extLst>
                        <a:ext uri="{FF2B5EF4-FFF2-40B4-BE49-F238E27FC236}">
                          <a16:creationId xmlns:a16="http://schemas.microsoft.com/office/drawing/2014/main" id="{7AB882AB-E02F-45C5-B9A5-A2204319583A}"/>
                        </a:ext>
                      </a:extLst>
                    </p:cNvPr>
                    <p:cNvSpPr/>
                    <p:nvPr/>
                  </p:nvSpPr>
                  <p:spPr>
                    <a:xfrm>
                      <a:off x="2536456" y="1969367"/>
                      <a:ext cx="21271" cy="55412"/>
                    </a:xfrm>
                    <a:custGeom>
                      <a:avLst/>
                      <a:gdLst>
                        <a:gd name="connsiteX0" fmla="*/ 10636 w 21271"/>
                        <a:gd name="connsiteY0" fmla="*/ 55413 h 55412"/>
                        <a:gd name="connsiteX1" fmla="*/ 0 w 21271"/>
                        <a:gd name="connsiteY1" fmla="*/ 44777 h 55412"/>
                        <a:gd name="connsiteX2" fmla="*/ 0 w 21271"/>
                        <a:gd name="connsiteY2" fmla="*/ 10636 h 55412"/>
                        <a:gd name="connsiteX3" fmla="*/ 10636 w 21271"/>
                        <a:gd name="connsiteY3" fmla="*/ 0 h 55412"/>
                        <a:gd name="connsiteX4" fmla="*/ 21272 w 21271"/>
                        <a:gd name="connsiteY4" fmla="*/ 10636 h 55412"/>
                        <a:gd name="connsiteX5" fmla="*/ 21272 w 21271"/>
                        <a:gd name="connsiteY5" fmla="*/ 44777 h 55412"/>
                        <a:gd name="connsiteX6" fmla="*/ 10636 w 21271"/>
                        <a:gd name="connsiteY6" fmla="*/ 55413 h 5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55412">
                          <a:moveTo>
                            <a:pt x="10636" y="55413"/>
                          </a:moveTo>
                          <a:cubicBezTo>
                            <a:pt x="4765" y="55413"/>
                            <a:pt x="0" y="50648"/>
                            <a:pt x="0" y="44777"/>
                          </a:cubicBezTo>
                          <a:lnTo>
                            <a:pt x="0" y="10636"/>
                          </a:lnTo>
                          <a:cubicBezTo>
                            <a:pt x="0" y="4765"/>
                            <a:pt x="4765" y="0"/>
                            <a:pt x="10636" y="0"/>
                          </a:cubicBezTo>
                          <a:cubicBezTo>
                            <a:pt x="16507" y="0"/>
                            <a:pt x="21272" y="4765"/>
                            <a:pt x="21272" y="10636"/>
                          </a:cubicBezTo>
                          <a:lnTo>
                            <a:pt x="21272" y="44777"/>
                          </a:lnTo>
                          <a:cubicBezTo>
                            <a:pt x="21272" y="50648"/>
                            <a:pt x="16517" y="55413"/>
                            <a:pt x="10636" y="55413"/>
                          </a:cubicBezTo>
                          <a:close/>
                        </a:path>
                      </a:pathLst>
                    </a:custGeom>
                    <a:solidFill>
                      <a:schemeClr val="accent1"/>
                    </a:solidFill>
                    <a:ln w="1063" cap="flat">
                      <a:noFill/>
                      <a:prstDash val="solid"/>
                      <a:miter/>
                    </a:ln>
                  </p:spPr>
                  <p:txBody>
                    <a:bodyPr rtlCol="0" anchor="ctr"/>
                    <a:lstStyle/>
                    <a:p>
                      <a:endParaRPr lang="en-GB" dirty="0"/>
                    </a:p>
                  </p:txBody>
                </p:sp>
              </p:grpSp>
              <p:grpSp>
                <p:nvGrpSpPr>
                  <p:cNvPr id="336" name="Graphic 818">
                    <a:extLst>
                      <a:ext uri="{FF2B5EF4-FFF2-40B4-BE49-F238E27FC236}">
                        <a16:creationId xmlns:a16="http://schemas.microsoft.com/office/drawing/2014/main" id="{38E386DB-A76E-4B41-9A65-2C7BC2499A29}"/>
                      </a:ext>
                    </a:extLst>
                  </p:cNvPr>
                  <p:cNvGrpSpPr/>
                  <p:nvPr/>
                </p:nvGrpSpPr>
                <p:grpSpPr>
                  <a:xfrm>
                    <a:off x="2613244" y="1937595"/>
                    <a:ext cx="83770" cy="83185"/>
                    <a:chOff x="2613244" y="1937595"/>
                    <a:chExt cx="83770" cy="83185"/>
                  </a:xfrm>
                  <a:solidFill>
                    <a:schemeClr val="accent1"/>
                  </a:solidFill>
                </p:grpSpPr>
                <p:sp>
                  <p:nvSpPr>
                    <p:cNvPr id="340" name="Freeform: Shape 339">
                      <a:extLst>
                        <a:ext uri="{FF2B5EF4-FFF2-40B4-BE49-F238E27FC236}">
                          <a16:creationId xmlns:a16="http://schemas.microsoft.com/office/drawing/2014/main" id="{11C372A7-32F8-4AF0-B26D-5409626C3507}"/>
                        </a:ext>
                      </a:extLst>
                    </p:cNvPr>
                    <p:cNvSpPr/>
                    <p:nvPr/>
                  </p:nvSpPr>
                  <p:spPr>
                    <a:xfrm>
                      <a:off x="2631389" y="1955984"/>
                      <a:ext cx="65624" cy="64796"/>
                    </a:xfrm>
                    <a:custGeom>
                      <a:avLst/>
                      <a:gdLst>
                        <a:gd name="connsiteX0" fmla="*/ 25773 w 65624"/>
                        <a:gd name="connsiteY0" fmla="*/ 64797 h 64796"/>
                        <a:gd name="connsiteX1" fmla="*/ 9138 w 65624"/>
                        <a:gd name="connsiteY1" fmla="*/ 57937 h 64796"/>
                        <a:gd name="connsiteX2" fmla="*/ 2 w 65624"/>
                        <a:gd name="connsiteY2" fmla="*/ 33676 h 64796"/>
                        <a:gd name="connsiteX3" fmla="*/ 9138 w 65624"/>
                        <a:gd name="connsiteY3" fmla="*/ 8852 h 64796"/>
                        <a:gd name="connsiteX4" fmla="*/ 58946 w 65624"/>
                        <a:gd name="connsiteY4" fmla="*/ 9299 h 64796"/>
                        <a:gd name="connsiteX5" fmla="*/ 64264 w 65624"/>
                        <a:gd name="connsiteY5" fmla="*/ 33761 h 64796"/>
                        <a:gd name="connsiteX6" fmla="*/ 52341 w 65624"/>
                        <a:gd name="connsiteY6" fmla="*/ 52066 h 64796"/>
                        <a:gd name="connsiteX7" fmla="*/ 25773 w 65624"/>
                        <a:gd name="connsiteY7" fmla="*/ 64797 h 64796"/>
                        <a:gd name="connsiteX8" fmla="*/ 33356 w 65624"/>
                        <a:gd name="connsiteY8" fmla="*/ 21211 h 64796"/>
                        <a:gd name="connsiteX9" fmla="*/ 24167 w 65624"/>
                        <a:gd name="connsiteY9" fmla="*/ 23902 h 64796"/>
                        <a:gd name="connsiteX10" fmla="*/ 21263 w 65624"/>
                        <a:gd name="connsiteY10" fmla="*/ 33485 h 64796"/>
                        <a:gd name="connsiteX11" fmla="*/ 24167 w 65624"/>
                        <a:gd name="connsiteY11" fmla="*/ 42897 h 64796"/>
                        <a:gd name="connsiteX12" fmla="*/ 37291 w 65624"/>
                        <a:gd name="connsiteY12" fmla="*/ 37026 h 64796"/>
                        <a:gd name="connsiteX13" fmla="*/ 44003 w 65624"/>
                        <a:gd name="connsiteY13" fmla="*/ 27231 h 64796"/>
                        <a:gd name="connsiteX14" fmla="*/ 43896 w 65624"/>
                        <a:gd name="connsiteY14" fmla="*/ 24338 h 64796"/>
                        <a:gd name="connsiteX15" fmla="*/ 33941 w 65624"/>
                        <a:gd name="connsiteY15" fmla="*/ 21211 h 64796"/>
                        <a:gd name="connsiteX16" fmla="*/ 33356 w 65624"/>
                        <a:gd name="connsiteY16" fmla="*/ 21211 h 64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624" h="64796">
                          <a:moveTo>
                            <a:pt x="25773" y="64797"/>
                          </a:moveTo>
                          <a:cubicBezTo>
                            <a:pt x="19529" y="64797"/>
                            <a:pt x="13744" y="62542"/>
                            <a:pt x="9138" y="57937"/>
                          </a:cubicBezTo>
                          <a:cubicBezTo>
                            <a:pt x="3427" y="52225"/>
                            <a:pt x="98" y="43387"/>
                            <a:pt x="2" y="33676"/>
                          </a:cubicBezTo>
                          <a:cubicBezTo>
                            <a:pt x="-94" y="23796"/>
                            <a:pt x="3246" y="14744"/>
                            <a:pt x="9138" y="8852"/>
                          </a:cubicBezTo>
                          <a:cubicBezTo>
                            <a:pt x="21125" y="-3135"/>
                            <a:pt x="46736" y="-2911"/>
                            <a:pt x="58946" y="9299"/>
                          </a:cubicBezTo>
                          <a:cubicBezTo>
                            <a:pt x="65296" y="15648"/>
                            <a:pt x="67231" y="24561"/>
                            <a:pt x="64264" y="33761"/>
                          </a:cubicBezTo>
                          <a:cubicBezTo>
                            <a:pt x="61754" y="41547"/>
                            <a:pt x="56393" y="48013"/>
                            <a:pt x="52341" y="52066"/>
                          </a:cubicBezTo>
                          <a:cubicBezTo>
                            <a:pt x="43939" y="60468"/>
                            <a:pt x="34430" y="64797"/>
                            <a:pt x="25773" y="64797"/>
                          </a:cubicBezTo>
                          <a:close/>
                          <a:moveTo>
                            <a:pt x="33356" y="21211"/>
                          </a:moveTo>
                          <a:cubicBezTo>
                            <a:pt x="28878" y="21211"/>
                            <a:pt x="25539" y="22540"/>
                            <a:pt x="24167" y="23902"/>
                          </a:cubicBezTo>
                          <a:cubicBezTo>
                            <a:pt x="22369" y="25699"/>
                            <a:pt x="21231" y="29464"/>
                            <a:pt x="21263" y="33485"/>
                          </a:cubicBezTo>
                          <a:cubicBezTo>
                            <a:pt x="21306" y="38026"/>
                            <a:pt x="22752" y="41483"/>
                            <a:pt x="24167" y="42897"/>
                          </a:cubicBezTo>
                          <a:cubicBezTo>
                            <a:pt x="26124" y="44844"/>
                            <a:pt x="32229" y="42089"/>
                            <a:pt x="37291" y="37026"/>
                          </a:cubicBezTo>
                          <a:cubicBezTo>
                            <a:pt x="40620" y="33687"/>
                            <a:pt x="43077" y="30124"/>
                            <a:pt x="44003" y="27231"/>
                          </a:cubicBezTo>
                          <a:cubicBezTo>
                            <a:pt x="44683" y="25125"/>
                            <a:pt x="44258" y="24710"/>
                            <a:pt x="43896" y="24338"/>
                          </a:cubicBezTo>
                          <a:cubicBezTo>
                            <a:pt x="42482" y="22923"/>
                            <a:pt x="38759" y="21339"/>
                            <a:pt x="33941" y="21211"/>
                          </a:cubicBezTo>
                          <a:cubicBezTo>
                            <a:pt x="33750" y="21211"/>
                            <a:pt x="33548" y="21211"/>
                            <a:pt x="33356" y="21211"/>
                          </a:cubicBezTo>
                          <a:close/>
                        </a:path>
                      </a:pathLst>
                    </a:custGeom>
                    <a:solidFill>
                      <a:schemeClr val="accent1"/>
                    </a:solidFill>
                    <a:ln w="1063" cap="flat">
                      <a:noFill/>
                      <a:prstDash val="solid"/>
                      <a:miter/>
                    </a:ln>
                  </p:spPr>
                  <p:txBody>
                    <a:bodyPr rtlCol="0" anchor="ctr"/>
                    <a:lstStyle/>
                    <a:p>
                      <a:endParaRPr lang="en-GB" dirty="0"/>
                    </a:p>
                  </p:txBody>
                </p:sp>
                <p:sp>
                  <p:nvSpPr>
                    <p:cNvPr id="341" name="Freeform: Shape 340">
                      <a:extLst>
                        <a:ext uri="{FF2B5EF4-FFF2-40B4-BE49-F238E27FC236}">
                          <a16:creationId xmlns:a16="http://schemas.microsoft.com/office/drawing/2014/main" id="{9D404B96-DE1A-4805-942E-0E00F6D78432}"/>
                        </a:ext>
                      </a:extLst>
                    </p:cNvPr>
                    <p:cNvSpPr/>
                    <p:nvPr/>
                  </p:nvSpPr>
                  <p:spPr>
                    <a:xfrm>
                      <a:off x="2613244" y="1937595"/>
                      <a:ext cx="45420" cy="45417"/>
                    </a:xfrm>
                    <a:custGeom>
                      <a:avLst/>
                      <a:gdLst>
                        <a:gd name="connsiteX0" fmla="*/ 34782 w 45420"/>
                        <a:gd name="connsiteY0" fmla="*/ 45418 h 45417"/>
                        <a:gd name="connsiteX1" fmla="*/ 27262 w 45420"/>
                        <a:gd name="connsiteY1" fmla="*/ 42301 h 45417"/>
                        <a:gd name="connsiteX2" fmla="*/ 3119 w 45420"/>
                        <a:gd name="connsiteY2" fmla="*/ 18158 h 45417"/>
                        <a:gd name="connsiteX3" fmla="*/ 3119 w 45420"/>
                        <a:gd name="connsiteY3" fmla="*/ 3119 h 45417"/>
                        <a:gd name="connsiteX4" fmla="*/ 18158 w 45420"/>
                        <a:gd name="connsiteY4" fmla="*/ 3119 h 45417"/>
                        <a:gd name="connsiteX5" fmla="*/ 42301 w 45420"/>
                        <a:gd name="connsiteY5" fmla="*/ 27262 h 45417"/>
                        <a:gd name="connsiteX6" fmla="*/ 42301 w 45420"/>
                        <a:gd name="connsiteY6" fmla="*/ 42301 h 45417"/>
                        <a:gd name="connsiteX7" fmla="*/ 34782 w 45420"/>
                        <a:gd name="connsiteY7" fmla="*/ 45418 h 4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20" h="45417">
                          <a:moveTo>
                            <a:pt x="34782" y="45418"/>
                          </a:moveTo>
                          <a:cubicBezTo>
                            <a:pt x="32059" y="45418"/>
                            <a:pt x="29336" y="44375"/>
                            <a:pt x="27262" y="42301"/>
                          </a:cubicBezTo>
                          <a:lnTo>
                            <a:pt x="3119" y="18158"/>
                          </a:lnTo>
                          <a:cubicBezTo>
                            <a:pt x="-1040" y="13999"/>
                            <a:pt x="-1040" y="7278"/>
                            <a:pt x="3119" y="3119"/>
                          </a:cubicBezTo>
                          <a:cubicBezTo>
                            <a:pt x="7278" y="-1040"/>
                            <a:pt x="13999" y="-1040"/>
                            <a:pt x="18158" y="3119"/>
                          </a:cubicBezTo>
                          <a:lnTo>
                            <a:pt x="42301" y="27262"/>
                          </a:lnTo>
                          <a:cubicBezTo>
                            <a:pt x="46460" y="31421"/>
                            <a:pt x="46460" y="38143"/>
                            <a:pt x="42301" y="42301"/>
                          </a:cubicBezTo>
                          <a:cubicBezTo>
                            <a:pt x="40227" y="44386"/>
                            <a:pt x="37505" y="45418"/>
                            <a:pt x="34782" y="45418"/>
                          </a:cubicBezTo>
                          <a:close/>
                        </a:path>
                      </a:pathLst>
                    </a:custGeom>
                    <a:solidFill>
                      <a:schemeClr val="accent1"/>
                    </a:solidFill>
                    <a:ln w="1063" cap="flat">
                      <a:noFill/>
                      <a:prstDash val="solid"/>
                      <a:miter/>
                    </a:ln>
                  </p:spPr>
                  <p:txBody>
                    <a:bodyPr rtlCol="0" anchor="ctr"/>
                    <a:lstStyle/>
                    <a:p>
                      <a:endParaRPr lang="en-GB" dirty="0"/>
                    </a:p>
                  </p:txBody>
                </p:sp>
              </p:grpSp>
              <p:grpSp>
                <p:nvGrpSpPr>
                  <p:cNvPr id="337" name="Graphic 818">
                    <a:extLst>
                      <a:ext uri="{FF2B5EF4-FFF2-40B4-BE49-F238E27FC236}">
                        <a16:creationId xmlns:a16="http://schemas.microsoft.com/office/drawing/2014/main" id="{8D708D5D-B324-49A3-BBD6-BA1F46A3FC8F}"/>
                      </a:ext>
                    </a:extLst>
                  </p:cNvPr>
                  <p:cNvGrpSpPr/>
                  <p:nvPr/>
                </p:nvGrpSpPr>
                <p:grpSpPr>
                  <a:xfrm>
                    <a:off x="2397382" y="1937850"/>
                    <a:ext cx="83770" cy="83228"/>
                    <a:chOff x="2397382" y="1937850"/>
                    <a:chExt cx="83770" cy="83228"/>
                  </a:xfrm>
                  <a:solidFill>
                    <a:schemeClr val="accent1"/>
                  </a:solidFill>
                </p:grpSpPr>
                <p:sp>
                  <p:nvSpPr>
                    <p:cNvPr id="338" name="Freeform: Shape 337">
                      <a:extLst>
                        <a:ext uri="{FF2B5EF4-FFF2-40B4-BE49-F238E27FC236}">
                          <a16:creationId xmlns:a16="http://schemas.microsoft.com/office/drawing/2014/main" id="{105A7F65-4717-4C33-AE69-FC7C53AFB9C4}"/>
                        </a:ext>
                      </a:extLst>
                    </p:cNvPr>
                    <p:cNvSpPr/>
                    <p:nvPr/>
                  </p:nvSpPr>
                  <p:spPr>
                    <a:xfrm>
                      <a:off x="2397382" y="1956236"/>
                      <a:ext cx="65624" cy="64841"/>
                    </a:xfrm>
                    <a:custGeom>
                      <a:avLst/>
                      <a:gdLst>
                        <a:gd name="connsiteX0" fmla="*/ 39894 w 65624"/>
                        <a:gd name="connsiteY0" fmla="*/ 64842 h 64841"/>
                        <a:gd name="connsiteX1" fmla="*/ 32205 w 65624"/>
                        <a:gd name="connsiteY1" fmla="*/ 63746 h 64841"/>
                        <a:gd name="connsiteX2" fmla="*/ 13284 w 65624"/>
                        <a:gd name="connsiteY2" fmla="*/ 52068 h 64841"/>
                        <a:gd name="connsiteX3" fmla="*/ 1361 w 65624"/>
                        <a:gd name="connsiteY3" fmla="*/ 33764 h 64841"/>
                        <a:gd name="connsiteX4" fmla="*/ 6679 w 65624"/>
                        <a:gd name="connsiteY4" fmla="*/ 9301 h 64841"/>
                        <a:gd name="connsiteX5" fmla="*/ 56486 w 65624"/>
                        <a:gd name="connsiteY5" fmla="*/ 8865 h 64841"/>
                        <a:gd name="connsiteX6" fmla="*/ 65623 w 65624"/>
                        <a:gd name="connsiteY6" fmla="*/ 33679 h 64841"/>
                        <a:gd name="connsiteX7" fmla="*/ 56486 w 65624"/>
                        <a:gd name="connsiteY7" fmla="*/ 57939 h 64841"/>
                        <a:gd name="connsiteX8" fmla="*/ 39894 w 65624"/>
                        <a:gd name="connsiteY8" fmla="*/ 64842 h 64841"/>
                        <a:gd name="connsiteX9" fmla="*/ 32258 w 65624"/>
                        <a:gd name="connsiteY9" fmla="*/ 21214 h 64841"/>
                        <a:gd name="connsiteX10" fmla="*/ 31673 w 65624"/>
                        <a:gd name="connsiteY10" fmla="*/ 21224 h 64841"/>
                        <a:gd name="connsiteX11" fmla="*/ 21718 w 65624"/>
                        <a:gd name="connsiteY11" fmla="*/ 24351 h 64841"/>
                        <a:gd name="connsiteX12" fmla="*/ 21611 w 65624"/>
                        <a:gd name="connsiteY12" fmla="*/ 27244 h 64841"/>
                        <a:gd name="connsiteX13" fmla="*/ 28323 w 65624"/>
                        <a:gd name="connsiteY13" fmla="*/ 37040 h 64841"/>
                        <a:gd name="connsiteX14" fmla="*/ 37927 w 65624"/>
                        <a:gd name="connsiteY14" fmla="*/ 43262 h 64841"/>
                        <a:gd name="connsiteX15" fmla="*/ 41437 w 65624"/>
                        <a:gd name="connsiteY15" fmla="*/ 42900 h 64841"/>
                        <a:gd name="connsiteX16" fmla="*/ 44340 w 65624"/>
                        <a:gd name="connsiteY16" fmla="*/ 33487 h 64841"/>
                        <a:gd name="connsiteX17" fmla="*/ 41437 w 65624"/>
                        <a:gd name="connsiteY17" fmla="*/ 23915 h 64841"/>
                        <a:gd name="connsiteX18" fmla="*/ 32258 w 65624"/>
                        <a:gd name="connsiteY18" fmla="*/ 21214 h 64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624" h="64841">
                          <a:moveTo>
                            <a:pt x="39894" y="64842"/>
                          </a:moveTo>
                          <a:cubicBezTo>
                            <a:pt x="37416" y="64842"/>
                            <a:pt x="34832" y="64480"/>
                            <a:pt x="32205" y="63746"/>
                          </a:cubicBezTo>
                          <a:cubicBezTo>
                            <a:pt x="25717" y="61938"/>
                            <a:pt x="18995" y="57790"/>
                            <a:pt x="13284" y="52068"/>
                          </a:cubicBezTo>
                          <a:cubicBezTo>
                            <a:pt x="9231" y="48016"/>
                            <a:pt x="3881" y="41560"/>
                            <a:pt x="1361" y="33764"/>
                          </a:cubicBezTo>
                          <a:cubicBezTo>
                            <a:pt x="-1607" y="24564"/>
                            <a:pt x="329" y="15640"/>
                            <a:pt x="6679" y="9301"/>
                          </a:cubicBezTo>
                          <a:cubicBezTo>
                            <a:pt x="18889" y="-2908"/>
                            <a:pt x="44489" y="-3143"/>
                            <a:pt x="56486" y="8865"/>
                          </a:cubicBezTo>
                          <a:cubicBezTo>
                            <a:pt x="62379" y="14758"/>
                            <a:pt x="65718" y="23798"/>
                            <a:pt x="65623" y="33679"/>
                          </a:cubicBezTo>
                          <a:cubicBezTo>
                            <a:pt x="65527" y="43389"/>
                            <a:pt x="62198" y="52228"/>
                            <a:pt x="56486" y="57939"/>
                          </a:cubicBezTo>
                          <a:cubicBezTo>
                            <a:pt x="51945" y="62502"/>
                            <a:pt x="46212" y="64842"/>
                            <a:pt x="39894" y="64842"/>
                          </a:cubicBezTo>
                          <a:close/>
                          <a:moveTo>
                            <a:pt x="32258" y="21214"/>
                          </a:moveTo>
                          <a:cubicBezTo>
                            <a:pt x="32067" y="21214"/>
                            <a:pt x="31864" y="21214"/>
                            <a:pt x="31673" y="21224"/>
                          </a:cubicBezTo>
                          <a:cubicBezTo>
                            <a:pt x="26855" y="21352"/>
                            <a:pt x="23132" y="22937"/>
                            <a:pt x="21718" y="24351"/>
                          </a:cubicBezTo>
                          <a:cubicBezTo>
                            <a:pt x="21346" y="24723"/>
                            <a:pt x="20931" y="25138"/>
                            <a:pt x="21611" y="27244"/>
                          </a:cubicBezTo>
                          <a:cubicBezTo>
                            <a:pt x="22537" y="30126"/>
                            <a:pt x="24994" y="33700"/>
                            <a:pt x="28323" y="37040"/>
                          </a:cubicBezTo>
                          <a:cubicBezTo>
                            <a:pt x="31407" y="40124"/>
                            <a:pt x="34991" y="42443"/>
                            <a:pt x="37927" y="43262"/>
                          </a:cubicBezTo>
                          <a:cubicBezTo>
                            <a:pt x="40394" y="43953"/>
                            <a:pt x="41022" y="43336"/>
                            <a:pt x="41437" y="42900"/>
                          </a:cubicBezTo>
                          <a:cubicBezTo>
                            <a:pt x="42851" y="41486"/>
                            <a:pt x="44308" y="38029"/>
                            <a:pt x="44340" y="33487"/>
                          </a:cubicBezTo>
                          <a:cubicBezTo>
                            <a:pt x="44372" y="29467"/>
                            <a:pt x="43234" y="25713"/>
                            <a:pt x="41437" y="23915"/>
                          </a:cubicBezTo>
                          <a:cubicBezTo>
                            <a:pt x="40086" y="22543"/>
                            <a:pt x="36746" y="21214"/>
                            <a:pt x="32258" y="21214"/>
                          </a:cubicBezTo>
                          <a:close/>
                        </a:path>
                      </a:pathLst>
                    </a:custGeom>
                    <a:solidFill>
                      <a:schemeClr val="accent1"/>
                    </a:solidFill>
                    <a:ln w="1063" cap="flat">
                      <a:noFill/>
                      <a:prstDash val="solid"/>
                      <a:miter/>
                    </a:ln>
                  </p:spPr>
                  <p:txBody>
                    <a:bodyPr rtlCol="0" anchor="ctr"/>
                    <a:lstStyle/>
                    <a:p>
                      <a:endParaRPr lang="en-GB" dirty="0"/>
                    </a:p>
                  </p:txBody>
                </p:sp>
                <p:sp>
                  <p:nvSpPr>
                    <p:cNvPr id="339" name="Freeform: Shape 338">
                      <a:extLst>
                        <a:ext uri="{FF2B5EF4-FFF2-40B4-BE49-F238E27FC236}">
                          <a16:creationId xmlns:a16="http://schemas.microsoft.com/office/drawing/2014/main" id="{D843E00F-5EE4-413D-A789-E2C6FD836E1F}"/>
                        </a:ext>
                      </a:extLst>
                    </p:cNvPr>
                    <p:cNvSpPr/>
                    <p:nvPr/>
                  </p:nvSpPr>
                  <p:spPr>
                    <a:xfrm>
                      <a:off x="2435732" y="1937850"/>
                      <a:ext cx="45420" cy="45417"/>
                    </a:xfrm>
                    <a:custGeom>
                      <a:avLst/>
                      <a:gdLst>
                        <a:gd name="connsiteX0" fmla="*/ 10639 w 45420"/>
                        <a:gd name="connsiteY0" fmla="*/ 45418 h 45417"/>
                        <a:gd name="connsiteX1" fmla="*/ 3119 w 45420"/>
                        <a:gd name="connsiteY1" fmla="*/ 42301 h 45417"/>
                        <a:gd name="connsiteX2" fmla="*/ 3119 w 45420"/>
                        <a:gd name="connsiteY2" fmla="*/ 27262 h 45417"/>
                        <a:gd name="connsiteX3" fmla="*/ 27262 w 45420"/>
                        <a:gd name="connsiteY3" fmla="*/ 3119 h 45417"/>
                        <a:gd name="connsiteX4" fmla="*/ 42301 w 45420"/>
                        <a:gd name="connsiteY4" fmla="*/ 3119 h 45417"/>
                        <a:gd name="connsiteX5" fmla="*/ 42301 w 45420"/>
                        <a:gd name="connsiteY5" fmla="*/ 18158 h 45417"/>
                        <a:gd name="connsiteX6" fmla="*/ 18158 w 45420"/>
                        <a:gd name="connsiteY6" fmla="*/ 42301 h 45417"/>
                        <a:gd name="connsiteX7" fmla="*/ 10639 w 45420"/>
                        <a:gd name="connsiteY7" fmla="*/ 45418 h 45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20" h="45417">
                          <a:moveTo>
                            <a:pt x="10639" y="45418"/>
                          </a:moveTo>
                          <a:cubicBezTo>
                            <a:pt x="7916" y="45418"/>
                            <a:pt x="5193" y="44375"/>
                            <a:pt x="3119" y="42301"/>
                          </a:cubicBezTo>
                          <a:cubicBezTo>
                            <a:pt x="-1040" y="38153"/>
                            <a:pt x="-1040" y="31421"/>
                            <a:pt x="3119" y="27262"/>
                          </a:cubicBezTo>
                          <a:lnTo>
                            <a:pt x="27262" y="3119"/>
                          </a:lnTo>
                          <a:cubicBezTo>
                            <a:pt x="31421" y="-1040"/>
                            <a:pt x="38143" y="-1040"/>
                            <a:pt x="42301" y="3119"/>
                          </a:cubicBezTo>
                          <a:cubicBezTo>
                            <a:pt x="46460" y="7267"/>
                            <a:pt x="46460" y="13999"/>
                            <a:pt x="42301" y="18158"/>
                          </a:cubicBezTo>
                          <a:lnTo>
                            <a:pt x="18158" y="42301"/>
                          </a:lnTo>
                          <a:cubicBezTo>
                            <a:pt x="16073" y="44375"/>
                            <a:pt x="13361" y="45418"/>
                            <a:pt x="10639" y="45418"/>
                          </a:cubicBezTo>
                          <a:close/>
                        </a:path>
                      </a:pathLst>
                    </a:custGeom>
                    <a:solidFill>
                      <a:schemeClr val="accent1"/>
                    </a:solidFill>
                    <a:ln w="1063" cap="flat">
                      <a:noFill/>
                      <a:prstDash val="solid"/>
                      <a:miter/>
                    </a:ln>
                  </p:spPr>
                  <p:txBody>
                    <a:bodyPr rtlCol="0" anchor="ctr"/>
                    <a:lstStyle/>
                    <a:p>
                      <a:endParaRPr lang="en-GB" dirty="0"/>
                    </a:p>
                  </p:txBody>
                </p:sp>
              </p:grpSp>
            </p:grpSp>
            <p:sp>
              <p:nvSpPr>
                <p:cNvPr id="327" name="Freeform: Shape 326">
                  <a:extLst>
                    <a:ext uri="{FF2B5EF4-FFF2-40B4-BE49-F238E27FC236}">
                      <a16:creationId xmlns:a16="http://schemas.microsoft.com/office/drawing/2014/main" id="{232F8E6B-2644-4138-A54C-ED97DE16ED8B}"/>
                    </a:ext>
                  </a:extLst>
                </p:cNvPr>
                <p:cNvSpPr/>
                <p:nvPr/>
              </p:nvSpPr>
              <p:spPr>
                <a:xfrm>
                  <a:off x="2581590" y="1959820"/>
                  <a:ext cx="29894" cy="40049"/>
                </a:xfrm>
                <a:custGeom>
                  <a:avLst/>
                  <a:gdLst>
                    <a:gd name="connsiteX0" fmla="*/ 19265 w 29894"/>
                    <a:gd name="connsiteY0" fmla="*/ 40050 h 40049"/>
                    <a:gd name="connsiteX1" fmla="*/ 9597 w 29894"/>
                    <a:gd name="connsiteY1" fmla="*/ 33849 h 40049"/>
                    <a:gd name="connsiteX2" fmla="*/ 972 w 29894"/>
                    <a:gd name="connsiteY2" fmla="*/ 15077 h 40049"/>
                    <a:gd name="connsiteX3" fmla="*/ 6194 w 29894"/>
                    <a:gd name="connsiteY3" fmla="*/ 973 h 40049"/>
                    <a:gd name="connsiteX4" fmla="*/ 20297 w 29894"/>
                    <a:gd name="connsiteY4" fmla="*/ 6196 h 40049"/>
                    <a:gd name="connsiteX5" fmla="*/ 28923 w 29894"/>
                    <a:gd name="connsiteY5" fmla="*/ 24968 h 40049"/>
                    <a:gd name="connsiteX6" fmla="*/ 23701 w 29894"/>
                    <a:gd name="connsiteY6" fmla="*/ 39071 h 40049"/>
                    <a:gd name="connsiteX7" fmla="*/ 19265 w 29894"/>
                    <a:gd name="connsiteY7" fmla="*/ 40050 h 4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94" h="40049">
                      <a:moveTo>
                        <a:pt x="19265" y="40050"/>
                      </a:moveTo>
                      <a:cubicBezTo>
                        <a:pt x="15245" y="40050"/>
                        <a:pt x="11384" y="37752"/>
                        <a:pt x="9597" y="33849"/>
                      </a:cubicBezTo>
                      <a:lnTo>
                        <a:pt x="972" y="15077"/>
                      </a:lnTo>
                      <a:cubicBezTo>
                        <a:pt x="-1474" y="9738"/>
                        <a:pt x="855" y="3420"/>
                        <a:pt x="6194" y="973"/>
                      </a:cubicBezTo>
                      <a:cubicBezTo>
                        <a:pt x="11512" y="-1473"/>
                        <a:pt x="17840" y="846"/>
                        <a:pt x="20297" y="6196"/>
                      </a:cubicBezTo>
                      <a:lnTo>
                        <a:pt x="28923" y="24968"/>
                      </a:lnTo>
                      <a:cubicBezTo>
                        <a:pt x="31369" y="30307"/>
                        <a:pt x="29040" y="36625"/>
                        <a:pt x="23701" y="39071"/>
                      </a:cubicBezTo>
                      <a:cubicBezTo>
                        <a:pt x="22265" y="39731"/>
                        <a:pt x="20755" y="40050"/>
                        <a:pt x="19265" y="40050"/>
                      </a:cubicBezTo>
                      <a:close/>
                    </a:path>
                  </a:pathLst>
                </a:custGeom>
                <a:solidFill>
                  <a:schemeClr val="accent1"/>
                </a:solidFill>
                <a:ln w="1063" cap="flat">
                  <a:noFill/>
                  <a:prstDash val="solid"/>
                  <a:miter/>
                </a:ln>
              </p:spPr>
              <p:txBody>
                <a:bodyPr rtlCol="0" anchor="ctr"/>
                <a:lstStyle/>
                <a:p>
                  <a:endParaRPr lang="en-GB" dirty="0"/>
                </a:p>
              </p:txBody>
            </p:sp>
            <p:sp>
              <p:nvSpPr>
                <p:cNvPr id="328" name="Freeform: Shape 327">
                  <a:extLst>
                    <a:ext uri="{FF2B5EF4-FFF2-40B4-BE49-F238E27FC236}">
                      <a16:creationId xmlns:a16="http://schemas.microsoft.com/office/drawing/2014/main" id="{AC5C0FDD-59D7-4F03-8B1E-A979FD5613A5}"/>
                    </a:ext>
                  </a:extLst>
                </p:cNvPr>
                <p:cNvSpPr/>
                <p:nvPr/>
              </p:nvSpPr>
              <p:spPr>
                <a:xfrm>
                  <a:off x="2482071" y="1743138"/>
                  <a:ext cx="30054" cy="40388"/>
                </a:xfrm>
                <a:custGeom>
                  <a:avLst/>
                  <a:gdLst>
                    <a:gd name="connsiteX0" fmla="*/ 19425 w 30054"/>
                    <a:gd name="connsiteY0" fmla="*/ 40388 h 40388"/>
                    <a:gd name="connsiteX1" fmla="*/ 9757 w 30054"/>
                    <a:gd name="connsiteY1" fmla="*/ 34188 h 40388"/>
                    <a:gd name="connsiteX2" fmla="*/ 972 w 30054"/>
                    <a:gd name="connsiteY2" fmla="*/ 15075 h 40388"/>
                    <a:gd name="connsiteX3" fmla="*/ 6194 w 30054"/>
                    <a:gd name="connsiteY3" fmla="*/ 972 h 40388"/>
                    <a:gd name="connsiteX4" fmla="*/ 20297 w 30054"/>
                    <a:gd name="connsiteY4" fmla="*/ 6194 h 40388"/>
                    <a:gd name="connsiteX5" fmla="*/ 29082 w 30054"/>
                    <a:gd name="connsiteY5" fmla="*/ 25307 h 40388"/>
                    <a:gd name="connsiteX6" fmla="*/ 23860 w 30054"/>
                    <a:gd name="connsiteY6" fmla="*/ 39410 h 40388"/>
                    <a:gd name="connsiteX7" fmla="*/ 19425 w 30054"/>
                    <a:gd name="connsiteY7" fmla="*/ 40388 h 40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54" h="40388">
                      <a:moveTo>
                        <a:pt x="19425" y="40388"/>
                      </a:moveTo>
                      <a:cubicBezTo>
                        <a:pt x="15405" y="40388"/>
                        <a:pt x="11544" y="38091"/>
                        <a:pt x="9757" y="34188"/>
                      </a:cubicBezTo>
                      <a:lnTo>
                        <a:pt x="972" y="15075"/>
                      </a:lnTo>
                      <a:cubicBezTo>
                        <a:pt x="-1474" y="9736"/>
                        <a:pt x="855" y="3418"/>
                        <a:pt x="6194" y="972"/>
                      </a:cubicBezTo>
                      <a:cubicBezTo>
                        <a:pt x="11523" y="-1474"/>
                        <a:pt x="17840" y="855"/>
                        <a:pt x="20297" y="6194"/>
                      </a:cubicBezTo>
                      <a:lnTo>
                        <a:pt x="29082" y="25307"/>
                      </a:lnTo>
                      <a:cubicBezTo>
                        <a:pt x="31529" y="30646"/>
                        <a:pt x="29199" y="36964"/>
                        <a:pt x="23860" y="39410"/>
                      </a:cubicBezTo>
                      <a:cubicBezTo>
                        <a:pt x="22424" y="40080"/>
                        <a:pt x="20914" y="40388"/>
                        <a:pt x="19425" y="40388"/>
                      </a:cubicBezTo>
                      <a:close/>
                    </a:path>
                  </a:pathLst>
                </a:custGeom>
                <a:solidFill>
                  <a:schemeClr val="accent1"/>
                </a:solidFill>
                <a:ln w="1063" cap="flat">
                  <a:noFill/>
                  <a:prstDash val="solid"/>
                  <a:miter/>
                </a:ln>
              </p:spPr>
              <p:txBody>
                <a:bodyPr rtlCol="0" anchor="ctr"/>
                <a:lstStyle/>
                <a:p>
                  <a:endParaRPr lang="en-GB" dirty="0"/>
                </a:p>
              </p:txBody>
            </p:sp>
            <p:sp>
              <p:nvSpPr>
                <p:cNvPr id="329" name="Freeform: Shape 328">
                  <a:extLst>
                    <a:ext uri="{FF2B5EF4-FFF2-40B4-BE49-F238E27FC236}">
                      <a16:creationId xmlns:a16="http://schemas.microsoft.com/office/drawing/2014/main" id="{33C9F5EB-88B7-4D73-AB57-50A2CE1EB539}"/>
                    </a:ext>
                  </a:extLst>
                </p:cNvPr>
                <p:cNvSpPr/>
                <p:nvPr/>
              </p:nvSpPr>
              <p:spPr>
                <a:xfrm>
                  <a:off x="2636292" y="1906310"/>
                  <a:ext cx="39453" cy="29574"/>
                </a:xfrm>
                <a:custGeom>
                  <a:avLst/>
                  <a:gdLst>
                    <a:gd name="connsiteX0" fmla="*/ 28815 w 39453"/>
                    <a:gd name="connsiteY0" fmla="*/ 29575 h 29574"/>
                    <a:gd name="connsiteX1" fmla="*/ 24401 w 39453"/>
                    <a:gd name="connsiteY1" fmla="*/ 28607 h 29574"/>
                    <a:gd name="connsiteX2" fmla="*/ 6224 w 39453"/>
                    <a:gd name="connsiteY2" fmla="*/ 20321 h 29574"/>
                    <a:gd name="connsiteX3" fmla="*/ 960 w 39453"/>
                    <a:gd name="connsiteY3" fmla="*/ 6229 h 29574"/>
                    <a:gd name="connsiteX4" fmla="*/ 15052 w 39453"/>
                    <a:gd name="connsiteY4" fmla="*/ 964 h 29574"/>
                    <a:gd name="connsiteX5" fmla="*/ 33229 w 39453"/>
                    <a:gd name="connsiteY5" fmla="*/ 9250 h 29574"/>
                    <a:gd name="connsiteX6" fmla="*/ 38494 w 39453"/>
                    <a:gd name="connsiteY6" fmla="*/ 23342 h 29574"/>
                    <a:gd name="connsiteX7" fmla="*/ 28815 w 39453"/>
                    <a:gd name="connsiteY7" fmla="*/ 29575 h 29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453" h="29574">
                      <a:moveTo>
                        <a:pt x="28815" y="29575"/>
                      </a:moveTo>
                      <a:cubicBezTo>
                        <a:pt x="27337" y="29575"/>
                        <a:pt x="25837" y="29266"/>
                        <a:pt x="24401" y="28607"/>
                      </a:cubicBezTo>
                      <a:lnTo>
                        <a:pt x="6224" y="20321"/>
                      </a:lnTo>
                      <a:cubicBezTo>
                        <a:pt x="885" y="17886"/>
                        <a:pt x="-1476" y="11579"/>
                        <a:pt x="960" y="6229"/>
                      </a:cubicBezTo>
                      <a:cubicBezTo>
                        <a:pt x="3395" y="890"/>
                        <a:pt x="9692" y="-1482"/>
                        <a:pt x="15052" y="964"/>
                      </a:cubicBezTo>
                      <a:lnTo>
                        <a:pt x="33229" y="9250"/>
                      </a:lnTo>
                      <a:cubicBezTo>
                        <a:pt x="38568" y="11685"/>
                        <a:pt x="40929" y="17992"/>
                        <a:pt x="38494" y="23342"/>
                      </a:cubicBezTo>
                      <a:cubicBezTo>
                        <a:pt x="36717" y="27256"/>
                        <a:pt x="32857" y="29575"/>
                        <a:pt x="28815" y="29575"/>
                      </a:cubicBezTo>
                      <a:close/>
                    </a:path>
                  </a:pathLst>
                </a:custGeom>
                <a:solidFill>
                  <a:schemeClr val="accent1"/>
                </a:solidFill>
                <a:ln w="1063" cap="flat">
                  <a:noFill/>
                  <a:prstDash val="solid"/>
                  <a:miter/>
                </a:ln>
              </p:spPr>
              <p:txBody>
                <a:bodyPr rtlCol="0" anchor="ctr"/>
                <a:lstStyle/>
                <a:p>
                  <a:endParaRPr lang="en-GB" dirty="0"/>
                </a:p>
              </p:txBody>
            </p:sp>
            <p:sp>
              <p:nvSpPr>
                <p:cNvPr id="330" name="Freeform: Shape 329">
                  <a:extLst>
                    <a:ext uri="{FF2B5EF4-FFF2-40B4-BE49-F238E27FC236}">
                      <a16:creationId xmlns:a16="http://schemas.microsoft.com/office/drawing/2014/main" id="{598AB057-8495-4E5C-ABC3-6389DAC461E0}"/>
                    </a:ext>
                  </a:extLst>
                </p:cNvPr>
                <p:cNvSpPr/>
                <p:nvPr/>
              </p:nvSpPr>
              <p:spPr>
                <a:xfrm>
                  <a:off x="2418693" y="1807105"/>
                  <a:ext cx="39974" cy="29823"/>
                </a:xfrm>
                <a:custGeom>
                  <a:avLst/>
                  <a:gdLst>
                    <a:gd name="connsiteX0" fmla="*/ 29336 w 39974"/>
                    <a:gd name="connsiteY0" fmla="*/ 29824 h 29823"/>
                    <a:gd name="connsiteX1" fmla="*/ 24922 w 39974"/>
                    <a:gd name="connsiteY1" fmla="*/ 28856 h 29823"/>
                    <a:gd name="connsiteX2" fmla="*/ 6224 w 39974"/>
                    <a:gd name="connsiteY2" fmla="*/ 20326 h 29823"/>
                    <a:gd name="connsiteX3" fmla="*/ 960 w 39974"/>
                    <a:gd name="connsiteY3" fmla="*/ 6234 h 29823"/>
                    <a:gd name="connsiteX4" fmla="*/ 15052 w 39974"/>
                    <a:gd name="connsiteY4" fmla="*/ 969 h 29823"/>
                    <a:gd name="connsiteX5" fmla="*/ 33750 w 39974"/>
                    <a:gd name="connsiteY5" fmla="*/ 9499 h 29823"/>
                    <a:gd name="connsiteX6" fmla="*/ 39015 w 39974"/>
                    <a:gd name="connsiteY6" fmla="*/ 23591 h 29823"/>
                    <a:gd name="connsiteX7" fmla="*/ 29336 w 39974"/>
                    <a:gd name="connsiteY7" fmla="*/ 29824 h 2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74" h="29823">
                      <a:moveTo>
                        <a:pt x="29336" y="29824"/>
                      </a:moveTo>
                      <a:cubicBezTo>
                        <a:pt x="27858" y="29824"/>
                        <a:pt x="26358" y="29515"/>
                        <a:pt x="24922" y="28856"/>
                      </a:cubicBezTo>
                      <a:lnTo>
                        <a:pt x="6224" y="20326"/>
                      </a:lnTo>
                      <a:cubicBezTo>
                        <a:pt x="885" y="17890"/>
                        <a:pt x="-1476" y="11583"/>
                        <a:pt x="960" y="6234"/>
                      </a:cubicBezTo>
                      <a:cubicBezTo>
                        <a:pt x="3395" y="894"/>
                        <a:pt x="9702" y="-1488"/>
                        <a:pt x="15052" y="969"/>
                      </a:cubicBezTo>
                      <a:lnTo>
                        <a:pt x="33750" y="9499"/>
                      </a:lnTo>
                      <a:cubicBezTo>
                        <a:pt x="39089" y="11934"/>
                        <a:pt x="41450" y="18241"/>
                        <a:pt x="39015" y="23591"/>
                      </a:cubicBezTo>
                      <a:cubicBezTo>
                        <a:pt x="37239" y="27516"/>
                        <a:pt x="33378" y="29824"/>
                        <a:pt x="29336" y="29824"/>
                      </a:cubicBezTo>
                      <a:close/>
                    </a:path>
                  </a:pathLst>
                </a:custGeom>
                <a:solidFill>
                  <a:schemeClr val="accent1"/>
                </a:solidFill>
                <a:ln w="1063" cap="flat">
                  <a:noFill/>
                  <a:prstDash val="solid"/>
                  <a:miter/>
                </a:ln>
              </p:spPr>
              <p:txBody>
                <a:bodyPr rtlCol="0" anchor="ctr"/>
                <a:lstStyle/>
                <a:p>
                  <a:endParaRPr lang="en-GB" dirty="0"/>
                </a:p>
              </p:txBody>
            </p:sp>
            <p:sp>
              <p:nvSpPr>
                <p:cNvPr id="331" name="Freeform: Shape 330">
                  <a:extLst>
                    <a:ext uri="{FF2B5EF4-FFF2-40B4-BE49-F238E27FC236}">
                      <a16:creationId xmlns:a16="http://schemas.microsoft.com/office/drawing/2014/main" id="{C3DC084F-4E1B-4C14-A29D-48D82715167B}"/>
                    </a:ext>
                  </a:extLst>
                </p:cNvPr>
                <p:cNvSpPr/>
                <p:nvPr/>
              </p:nvSpPr>
              <p:spPr>
                <a:xfrm>
                  <a:off x="2635238" y="1808289"/>
                  <a:ext cx="40677" cy="29905"/>
                </a:xfrm>
                <a:custGeom>
                  <a:avLst/>
                  <a:gdLst>
                    <a:gd name="connsiteX0" fmla="*/ 10650 w 40677"/>
                    <a:gd name="connsiteY0" fmla="*/ 29905 h 29905"/>
                    <a:gd name="connsiteX1" fmla="*/ 918 w 40677"/>
                    <a:gd name="connsiteY1" fmla="*/ 23577 h 29905"/>
                    <a:gd name="connsiteX2" fmla="*/ 6321 w 40677"/>
                    <a:gd name="connsiteY2" fmla="*/ 9537 h 29905"/>
                    <a:gd name="connsiteX3" fmla="*/ 25721 w 40677"/>
                    <a:gd name="connsiteY3" fmla="*/ 922 h 29905"/>
                    <a:gd name="connsiteX4" fmla="*/ 39760 w 40677"/>
                    <a:gd name="connsiteY4" fmla="*/ 6325 h 29905"/>
                    <a:gd name="connsiteX5" fmla="*/ 34357 w 40677"/>
                    <a:gd name="connsiteY5" fmla="*/ 20365 h 29905"/>
                    <a:gd name="connsiteX6" fmla="*/ 14957 w 40677"/>
                    <a:gd name="connsiteY6" fmla="*/ 28980 h 29905"/>
                    <a:gd name="connsiteX7" fmla="*/ 10650 w 40677"/>
                    <a:gd name="connsiteY7" fmla="*/ 29905 h 29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677" h="29905">
                      <a:moveTo>
                        <a:pt x="10650" y="29905"/>
                      </a:moveTo>
                      <a:cubicBezTo>
                        <a:pt x="6576" y="29905"/>
                        <a:pt x="2683" y="27544"/>
                        <a:pt x="918" y="23577"/>
                      </a:cubicBezTo>
                      <a:cubicBezTo>
                        <a:pt x="-1465" y="18206"/>
                        <a:pt x="950" y="11920"/>
                        <a:pt x="6321" y="9537"/>
                      </a:cubicBezTo>
                      <a:lnTo>
                        <a:pt x="25721" y="922"/>
                      </a:lnTo>
                      <a:cubicBezTo>
                        <a:pt x="31081" y="-1471"/>
                        <a:pt x="37367" y="954"/>
                        <a:pt x="39760" y="6325"/>
                      </a:cubicBezTo>
                      <a:cubicBezTo>
                        <a:pt x="42142" y="11697"/>
                        <a:pt x="39728" y="17982"/>
                        <a:pt x="34357" y="20365"/>
                      </a:cubicBezTo>
                      <a:lnTo>
                        <a:pt x="14957" y="28980"/>
                      </a:lnTo>
                      <a:cubicBezTo>
                        <a:pt x="13553" y="29607"/>
                        <a:pt x="12096" y="29905"/>
                        <a:pt x="10650" y="29905"/>
                      </a:cubicBezTo>
                      <a:close/>
                    </a:path>
                  </a:pathLst>
                </a:custGeom>
                <a:solidFill>
                  <a:schemeClr val="accent1"/>
                </a:solidFill>
                <a:ln w="1063" cap="flat">
                  <a:noFill/>
                  <a:prstDash val="solid"/>
                  <a:miter/>
                </a:ln>
              </p:spPr>
              <p:txBody>
                <a:bodyPr rtlCol="0" anchor="ctr"/>
                <a:lstStyle/>
                <a:p>
                  <a:endParaRPr lang="en-GB" dirty="0"/>
                </a:p>
              </p:txBody>
            </p:sp>
            <p:sp>
              <p:nvSpPr>
                <p:cNvPr id="332" name="Freeform: Shape 331">
                  <a:extLst>
                    <a:ext uri="{FF2B5EF4-FFF2-40B4-BE49-F238E27FC236}">
                      <a16:creationId xmlns:a16="http://schemas.microsoft.com/office/drawing/2014/main" id="{AE5B1B72-51C4-4F6B-906D-20A22AABD77F}"/>
                    </a:ext>
                  </a:extLst>
                </p:cNvPr>
                <p:cNvSpPr/>
                <p:nvPr/>
              </p:nvSpPr>
              <p:spPr>
                <a:xfrm>
                  <a:off x="2417820" y="1905288"/>
                  <a:ext cx="39603" cy="29426"/>
                </a:xfrm>
                <a:custGeom>
                  <a:avLst/>
                  <a:gdLst>
                    <a:gd name="connsiteX0" fmla="*/ 10650 w 39603"/>
                    <a:gd name="connsiteY0" fmla="*/ 29427 h 29426"/>
                    <a:gd name="connsiteX1" fmla="*/ 918 w 39603"/>
                    <a:gd name="connsiteY1" fmla="*/ 23098 h 29426"/>
                    <a:gd name="connsiteX2" fmla="*/ 6321 w 39603"/>
                    <a:gd name="connsiteY2" fmla="*/ 9059 h 29426"/>
                    <a:gd name="connsiteX3" fmla="*/ 24646 w 39603"/>
                    <a:gd name="connsiteY3" fmla="*/ 922 h 29426"/>
                    <a:gd name="connsiteX4" fmla="*/ 38686 w 39603"/>
                    <a:gd name="connsiteY4" fmla="*/ 6325 h 29426"/>
                    <a:gd name="connsiteX5" fmla="*/ 33283 w 39603"/>
                    <a:gd name="connsiteY5" fmla="*/ 20365 h 29426"/>
                    <a:gd name="connsiteX6" fmla="*/ 14957 w 39603"/>
                    <a:gd name="connsiteY6" fmla="*/ 28501 h 29426"/>
                    <a:gd name="connsiteX7" fmla="*/ 10650 w 39603"/>
                    <a:gd name="connsiteY7" fmla="*/ 29427 h 2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603" h="29426">
                      <a:moveTo>
                        <a:pt x="10650" y="29427"/>
                      </a:moveTo>
                      <a:cubicBezTo>
                        <a:pt x="6576" y="29427"/>
                        <a:pt x="2683" y="27065"/>
                        <a:pt x="918" y="23098"/>
                      </a:cubicBezTo>
                      <a:cubicBezTo>
                        <a:pt x="-1465" y="17727"/>
                        <a:pt x="950" y="11441"/>
                        <a:pt x="6321" y="9059"/>
                      </a:cubicBezTo>
                      <a:lnTo>
                        <a:pt x="24646" y="922"/>
                      </a:lnTo>
                      <a:cubicBezTo>
                        <a:pt x="30007" y="-1471"/>
                        <a:pt x="36293" y="954"/>
                        <a:pt x="38686" y="6325"/>
                      </a:cubicBezTo>
                      <a:cubicBezTo>
                        <a:pt x="41068" y="11697"/>
                        <a:pt x="38654" y="17982"/>
                        <a:pt x="33283" y="20365"/>
                      </a:cubicBezTo>
                      <a:lnTo>
                        <a:pt x="14957" y="28501"/>
                      </a:lnTo>
                      <a:cubicBezTo>
                        <a:pt x="13564" y="29129"/>
                        <a:pt x="12096" y="29427"/>
                        <a:pt x="10650" y="29427"/>
                      </a:cubicBezTo>
                      <a:close/>
                    </a:path>
                  </a:pathLst>
                </a:custGeom>
                <a:solidFill>
                  <a:schemeClr val="accent1"/>
                </a:solidFill>
                <a:ln w="1063" cap="flat">
                  <a:noFill/>
                  <a:prstDash val="solid"/>
                  <a:miter/>
                </a:ln>
              </p:spPr>
              <p:txBody>
                <a:bodyPr rtlCol="0" anchor="ctr"/>
                <a:lstStyle/>
                <a:p>
                  <a:endParaRPr lang="en-GB" dirty="0"/>
                </a:p>
              </p:txBody>
            </p:sp>
            <p:sp>
              <p:nvSpPr>
                <p:cNvPr id="333" name="Freeform: Shape 332">
                  <a:extLst>
                    <a:ext uri="{FF2B5EF4-FFF2-40B4-BE49-F238E27FC236}">
                      <a16:creationId xmlns:a16="http://schemas.microsoft.com/office/drawing/2014/main" id="{9B971BCE-5098-4283-BEE5-DD5443602031}"/>
                    </a:ext>
                  </a:extLst>
                </p:cNvPr>
                <p:cNvSpPr/>
                <p:nvPr/>
              </p:nvSpPr>
              <p:spPr>
                <a:xfrm>
                  <a:off x="2482234" y="1960622"/>
                  <a:ext cx="29536" cy="39301"/>
                </a:xfrm>
                <a:custGeom>
                  <a:avLst/>
                  <a:gdLst>
                    <a:gd name="connsiteX0" fmla="*/ 10636 w 29536"/>
                    <a:gd name="connsiteY0" fmla="*/ 39301 h 39301"/>
                    <a:gd name="connsiteX1" fmla="*/ 6212 w 29536"/>
                    <a:gd name="connsiteY1" fmla="*/ 38333 h 39301"/>
                    <a:gd name="connsiteX2" fmla="*/ 968 w 29536"/>
                    <a:gd name="connsiteY2" fmla="*/ 24230 h 39301"/>
                    <a:gd name="connsiteX3" fmla="*/ 9221 w 29536"/>
                    <a:gd name="connsiteY3" fmla="*/ 6213 h 39301"/>
                    <a:gd name="connsiteX4" fmla="*/ 23325 w 29536"/>
                    <a:gd name="connsiteY4" fmla="*/ 970 h 39301"/>
                    <a:gd name="connsiteX5" fmla="*/ 28568 w 29536"/>
                    <a:gd name="connsiteY5" fmla="*/ 15073 h 39301"/>
                    <a:gd name="connsiteX6" fmla="*/ 20315 w 29536"/>
                    <a:gd name="connsiteY6" fmla="*/ 33090 h 39301"/>
                    <a:gd name="connsiteX7" fmla="*/ 10636 w 29536"/>
                    <a:gd name="connsiteY7" fmla="*/ 39301 h 39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536" h="39301">
                      <a:moveTo>
                        <a:pt x="10636" y="39301"/>
                      </a:moveTo>
                      <a:cubicBezTo>
                        <a:pt x="9147" y="39301"/>
                        <a:pt x="7647" y="38982"/>
                        <a:pt x="6212" y="38333"/>
                      </a:cubicBezTo>
                      <a:cubicBezTo>
                        <a:pt x="872" y="35887"/>
                        <a:pt x="-1478" y="29570"/>
                        <a:pt x="968" y="24230"/>
                      </a:cubicBezTo>
                      <a:lnTo>
                        <a:pt x="9221" y="6213"/>
                      </a:lnTo>
                      <a:cubicBezTo>
                        <a:pt x="11668" y="863"/>
                        <a:pt x="17985" y="-1477"/>
                        <a:pt x="23325" y="970"/>
                      </a:cubicBezTo>
                      <a:cubicBezTo>
                        <a:pt x="28664" y="3416"/>
                        <a:pt x="31014" y="9734"/>
                        <a:pt x="28568" y="15073"/>
                      </a:cubicBezTo>
                      <a:lnTo>
                        <a:pt x="20315" y="33090"/>
                      </a:lnTo>
                      <a:cubicBezTo>
                        <a:pt x="18517" y="36993"/>
                        <a:pt x="14667" y="39301"/>
                        <a:pt x="10636" y="39301"/>
                      </a:cubicBezTo>
                      <a:close/>
                    </a:path>
                  </a:pathLst>
                </a:custGeom>
                <a:solidFill>
                  <a:schemeClr val="accent1"/>
                </a:solidFill>
                <a:ln w="1063" cap="flat">
                  <a:noFill/>
                  <a:prstDash val="solid"/>
                  <a:miter/>
                </a:ln>
              </p:spPr>
              <p:txBody>
                <a:bodyPr rtlCol="0" anchor="ctr"/>
                <a:lstStyle/>
                <a:p>
                  <a:endParaRPr lang="en-GB" dirty="0"/>
                </a:p>
              </p:txBody>
            </p:sp>
            <p:sp>
              <p:nvSpPr>
                <p:cNvPr id="334" name="Freeform: Shape 333">
                  <a:extLst>
                    <a:ext uri="{FF2B5EF4-FFF2-40B4-BE49-F238E27FC236}">
                      <a16:creationId xmlns:a16="http://schemas.microsoft.com/office/drawing/2014/main" id="{01565543-18F9-4523-8CF7-9DC022CF51B2}"/>
                    </a:ext>
                  </a:extLst>
                </p:cNvPr>
                <p:cNvSpPr/>
                <p:nvPr/>
              </p:nvSpPr>
              <p:spPr>
                <a:xfrm>
                  <a:off x="2581626" y="1743072"/>
                  <a:ext cx="29833" cy="39944"/>
                </a:xfrm>
                <a:custGeom>
                  <a:avLst/>
                  <a:gdLst>
                    <a:gd name="connsiteX0" fmla="*/ 10636 w 29833"/>
                    <a:gd name="connsiteY0" fmla="*/ 39944 h 39944"/>
                    <a:gd name="connsiteX1" fmla="*/ 6211 w 29833"/>
                    <a:gd name="connsiteY1" fmla="*/ 38976 h 39944"/>
                    <a:gd name="connsiteX2" fmla="*/ 968 w 29833"/>
                    <a:gd name="connsiteY2" fmla="*/ 24873 h 39944"/>
                    <a:gd name="connsiteX3" fmla="*/ 9519 w 29833"/>
                    <a:gd name="connsiteY3" fmla="*/ 6218 h 39944"/>
                    <a:gd name="connsiteX4" fmla="*/ 23622 w 29833"/>
                    <a:gd name="connsiteY4" fmla="*/ 974 h 39944"/>
                    <a:gd name="connsiteX5" fmla="*/ 28866 w 29833"/>
                    <a:gd name="connsiteY5" fmla="*/ 15077 h 39944"/>
                    <a:gd name="connsiteX6" fmla="*/ 20315 w 29833"/>
                    <a:gd name="connsiteY6" fmla="*/ 33733 h 39944"/>
                    <a:gd name="connsiteX7" fmla="*/ 10636 w 29833"/>
                    <a:gd name="connsiteY7" fmla="*/ 39944 h 39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33" h="39944">
                      <a:moveTo>
                        <a:pt x="10636" y="39944"/>
                      </a:moveTo>
                      <a:cubicBezTo>
                        <a:pt x="9147" y="39944"/>
                        <a:pt x="7647" y="39636"/>
                        <a:pt x="6211" y="38976"/>
                      </a:cubicBezTo>
                      <a:cubicBezTo>
                        <a:pt x="872" y="36530"/>
                        <a:pt x="-1478" y="30212"/>
                        <a:pt x="968" y="24873"/>
                      </a:cubicBezTo>
                      <a:lnTo>
                        <a:pt x="9519" y="6218"/>
                      </a:lnTo>
                      <a:cubicBezTo>
                        <a:pt x="11965" y="868"/>
                        <a:pt x="18283" y="-1483"/>
                        <a:pt x="23622" y="974"/>
                      </a:cubicBezTo>
                      <a:cubicBezTo>
                        <a:pt x="28962" y="3420"/>
                        <a:pt x="31312" y="9738"/>
                        <a:pt x="28866" y="15077"/>
                      </a:cubicBezTo>
                      <a:lnTo>
                        <a:pt x="20315" y="33733"/>
                      </a:lnTo>
                      <a:cubicBezTo>
                        <a:pt x="18517" y="37647"/>
                        <a:pt x="14667" y="39944"/>
                        <a:pt x="10636" y="39944"/>
                      </a:cubicBezTo>
                      <a:close/>
                    </a:path>
                  </a:pathLst>
                </a:custGeom>
                <a:solidFill>
                  <a:schemeClr val="accent1"/>
                </a:solidFill>
                <a:ln w="1063" cap="flat">
                  <a:noFill/>
                  <a:prstDash val="solid"/>
                  <a:miter/>
                </a:ln>
              </p:spPr>
              <p:txBody>
                <a:bodyPr rtlCol="0" anchor="ctr"/>
                <a:lstStyle/>
                <a:p>
                  <a:endParaRPr lang="en-GB" dirty="0"/>
                </a:p>
              </p:txBody>
            </p:sp>
          </p:grpSp>
          <p:sp>
            <p:nvSpPr>
              <p:cNvPr id="319" name="Freeform: Shape 318">
                <a:extLst>
                  <a:ext uri="{FF2B5EF4-FFF2-40B4-BE49-F238E27FC236}">
                    <a16:creationId xmlns:a16="http://schemas.microsoft.com/office/drawing/2014/main" id="{FDF480F5-BF28-461A-9ECB-E1A95A3A7063}"/>
                  </a:ext>
                </a:extLst>
              </p:cNvPr>
              <p:cNvSpPr/>
              <p:nvPr/>
            </p:nvSpPr>
            <p:spPr>
              <a:xfrm>
                <a:off x="2486706" y="1823556"/>
                <a:ext cx="30547" cy="26327"/>
              </a:xfrm>
              <a:custGeom>
                <a:avLst/>
                <a:gdLst>
                  <a:gd name="connsiteX0" fmla="*/ 10653 w 30547"/>
                  <a:gd name="connsiteY0" fmla="*/ 26328 h 26327"/>
                  <a:gd name="connsiteX1" fmla="*/ 1304 w 30547"/>
                  <a:gd name="connsiteY1" fmla="*/ 20786 h 26327"/>
                  <a:gd name="connsiteX2" fmla="*/ 5547 w 30547"/>
                  <a:gd name="connsiteY2" fmla="*/ 6354 h 26327"/>
                  <a:gd name="connsiteX3" fmla="*/ 14811 w 30547"/>
                  <a:gd name="connsiteY3" fmla="*/ 1302 h 26327"/>
                  <a:gd name="connsiteX4" fmla="*/ 29244 w 30547"/>
                  <a:gd name="connsiteY4" fmla="*/ 5545 h 26327"/>
                  <a:gd name="connsiteX5" fmla="*/ 25000 w 30547"/>
                  <a:gd name="connsiteY5" fmla="*/ 19978 h 26327"/>
                  <a:gd name="connsiteX6" fmla="*/ 15737 w 30547"/>
                  <a:gd name="connsiteY6" fmla="*/ 25030 h 26327"/>
                  <a:gd name="connsiteX7" fmla="*/ 10653 w 30547"/>
                  <a:gd name="connsiteY7" fmla="*/ 26328 h 26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47" h="26327">
                    <a:moveTo>
                      <a:pt x="10653" y="26328"/>
                    </a:moveTo>
                    <a:cubicBezTo>
                      <a:pt x="6887" y="26328"/>
                      <a:pt x="3239" y="24328"/>
                      <a:pt x="1304" y="20786"/>
                    </a:cubicBezTo>
                    <a:cubicBezTo>
                      <a:pt x="-1515" y="15628"/>
                      <a:pt x="389" y="9172"/>
                      <a:pt x="5547" y="6354"/>
                    </a:cubicBezTo>
                    <a:lnTo>
                      <a:pt x="14811" y="1302"/>
                    </a:lnTo>
                    <a:cubicBezTo>
                      <a:pt x="19980" y="-1517"/>
                      <a:pt x="26436" y="397"/>
                      <a:pt x="29244" y="5545"/>
                    </a:cubicBezTo>
                    <a:cubicBezTo>
                      <a:pt x="32063" y="10704"/>
                      <a:pt x="30159" y="17160"/>
                      <a:pt x="25000" y="19978"/>
                    </a:cubicBezTo>
                    <a:lnTo>
                      <a:pt x="15737" y="25030"/>
                    </a:lnTo>
                    <a:cubicBezTo>
                      <a:pt x="14120" y="25913"/>
                      <a:pt x="12376" y="26328"/>
                      <a:pt x="10653" y="26328"/>
                    </a:cubicBezTo>
                    <a:close/>
                  </a:path>
                </a:pathLst>
              </a:custGeom>
              <a:solidFill>
                <a:schemeClr val="accent1"/>
              </a:solidFill>
              <a:ln w="1063" cap="flat">
                <a:noFill/>
                <a:prstDash val="solid"/>
                <a:miter/>
              </a:ln>
            </p:spPr>
            <p:txBody>
              <a:bodyPr rtlCol="0" anchor="ctr"/>
              <a:lstStyle/>
              <a:p>
                <a:endParaRPr lang="en-GB" dirty="0"/>
              </a:p>
            </p:txBody>
          </p:sp>
          <p:sp>
            <p:nvSpPr>
              <p:cNvPr id="320" name="Freeform: Shape 319">
                <a:extLst>
                  <a:ext uri="{FF2B5EF4-FFF2-40B4-BE49-F238E27FC236}">
                    <a16:creationId xmlns:a16="http://schemas.microsoft.com/office/drawing/2014/main" id="{D6C70902-191B-4113-B94B-CCC3234CAD37}"/>
                  </a:ext>
                </a:extLst>
              </p:cNvPr>
              <p:cNvSpPr/>
              <p:nvPr/>
            </p:nvSpPr>
            <p:spPr>
              <a:xfrm>
                <a:off x="2533881" y="1898528"/>
                <a:ext cx="29707" cy="27167"/>
              </a:xfrm>
              <a:custGeom>
                <a:avLst/>
                <a:gdLst>
                  <a:gd name="connsiteX0" fmla="*/ 19049 w 29707"/>
                  <a:gd name="connsiteY0" fmla="*/ 27168 h 27167"/>
                  <a:gd name="connsiteX1" fmla="*/ 12966 w 29707"/>
                  <a:gd name="connsiteY1" fmla="*/ 25243 h 27167"/>
                  <a:gd name="connsiteX2" fmla="*/ 4542 w 29707"/>
                  <a:gd name="connsiteY2" fmla="*/ 19350 h 27167"/>
                  <a:gd name="connsiteX3" fmla="*/ 1926 w 29707"/>
                  <a:gd name="connsiteY3" fmla="*/ 4535 h 27167"/>
                  <a:gd name="connsiteX4" fmla="*/ 16741 w 29707"/>
                  <a:gd name="connsiteY4" fmla="*/ 1918 h 27167"/>
                  <a:gd name="connsiteX5" fmla="*/ 25165 w 29707"/>
                  <a:gd name="connsiteY5" fmla="*/ 7810 h 27167"/>
                  <a:gd name="connsiteX6" fmla="*/ 27781 w 29707"/>
                  <a:gd name="connsiteY6" fmla="*/ 22626 h 27167"/>
                  <a:gd name="connsiteX7" fmla="*/ 19049 w 29707"/>
                  <a:gd name="connsiteY7" fmla="*/ 27168 h 2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07" h="27167">
                    <a:moveTo>
                      <a:pt x="19049" y="27168"/>
                    </a:moveTo>
                    <a:cubicBezTo>
                      <a:pt x="16943" y="27168"/>
                      <a:pt x="14816" y="26540"/>
                      <a:pt x="12966" y="25243"/>
                    </a:cubicBezTo>
                    <a:lnTo>
                      <a:pt x="4542" y="19350"/>
                    </a:lnTo>
                    <a:cubicBezTo>
                      <a:pt x="-276" y="15979"/>
                      <a:pt x="-1446" y="9352"/>
                      <a:pt x="1926" y="4535"/>
                    </a:cubicBezTo>
                    <a:cubicBezTo>
                      <a:pt x="5287" y="-273"/>
                      <a:pt x="11934" y="-1443"/>
                      <a:pt x="16741" y="1918"/>
                    </a:cubicBezTo>
                    <a:lnTo>
                      <a:pt x="25165" y="7810"/>
                    </a:lnTo>
                    <a:cubicBezTo>
                      <a:pt x="29983" y="11182"/>
                      <a:pt x="31153" y="17808"/>
                      <a:pt x="27781" y="22626"/>
                    </a:cubicBezTo>
                    <a:cubicBezTo>
                      <a:pt x="25707" y="25583"/>
                      <a:pt x="22400" y="27168"/>
                      <a:pt x="19049" y="27168"/>
                    </a:cubicBezTo>
                    <a:close/>
                  </a:path>
                </a:pathLst>
              </a:custGeom>
              <a:solidFill>
                <a:schemeClr val="accent1"/>
              </a:solidFill>
              <a:ln w="1063" cap="flat">
                <a:noFill/>
                <a:prstDash val="solid"/>
                <a:miter/>
              </a:ln>
            </p:spPr>
            <p:txBody>
              <a:bodyPr rtlCol="0" anchor="ctr"/>
              <a:lstStyle/>
              <a:p>
                <a:endParaRPr lang="en-GB" dirty="0"/>
              </a:p>
            </p:txBody>
          </p:sp>
          <p:sp>
            <p:nvSpPr>
              <p:cNvPr id="321" name="Freeform: Shape 320">
                <a:extLst>
                  <a:ext uri="{FF2B5EF4-FFF2-40B4-BE49-F238E27FC236}">
                    <a16:creationId xmlns:a16="http://schemas.microsoft.com/office/drawing/2014/main" id="{317752B1-8769-4781-B638-2F7381247862}"/>
                  </a:ext>
                </a:extLst>
              </p:cNvPr>
              <p:cNvSpPr/>
              <p:nvPr/>
            </p:nvSpPr>
            <p:spPr>
              <a:xfrm>
                <a:off x="2589477" y="1842084"/>
                <a:ext cx="26331" cy="31378"/>
              </a:xfrm>
              <a:custGeom>
                <a:avLst/>
                <a:gdLst>
                  <a:gd name="connsiteX0" fmla="*/ 10624 w 26331"/>
                  <a:gd name="connsiteY0" fmla="*/ 31379 h 31378"/>
                  <a:gd name="connsiteX1" fmla="*/ 5880 w 26331"/>
                  <a:gd name="connsiteY1" fmla="*/ 30262 h 31378"/>
                  <a:gd name="connsiteX2" fmla="*/ 1126 w 26331"/>
                  <a:gd name="connsiteY2" fmla="*/ 15989 h 31378"/>
                  <a:gd name="connsiteX3" fmla="*/ 6178 w 26331"/>
                  <a:gd name="connsiteY3" fmla="*/ 5885 h 31378"/>
                  <a:gd name="connsiteX4" fmla="*/ 20451 w 26331"/>
                  <a:gd name="connsiteY4" fmla="*/ 1130 h 31378"/>
                  <a:gd name="connsiteX5" fmla="*/ 25205 w 26331"/>
                  <a:gd name="connsiteY5" fmla="*/ 15404 h 31378"/>
                  <a:gd name="connsiteX6" fmla="*/ 20153 w 26331"/>
                  <a:gd name="connsiteY6" fmla="*/ 25508 h 31378"/>
                  <a:gd name="connsiteX7" fmla="*/ 10624 w 26331"/>
                  <a:gd name="connsiteY7" fmla="*/ 31379 h 31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31" h="31378">
                    <a:moveTo>
                      <a:pt x="10624" y="31379"/>
                    </a:moveTo>
                    <a:cubicBezTo>
                      <a:pt x="9028" y="31379"/>
                      <a:pt x="7401" y="31017"/>
                      <a:pt x="5880" y="30262"/>
                    </a:cubicBezTo>
                    <a:cubicBezTo>
                      <a:pt x="626" y="27635"/>
                      <a:pt x="-1501" y="21243"/>
                      <a:pt x="1126" y="15989"/>
                    </a:cubicBezTo>
                    <a:lnTo>
                      <a:pt x="6178" y="5885"/>
                    </a:lnTo>
                    <a:cubicBezTo>
                      <a:pt x="8805" y="631"/>
                      <a:pt x="15176" y="-1507"/>
                      <a:pt x="20451" y="1130"/>
                    </a:cubicBezTo>
                    <a:cubicBezTo>
                      <a:pt x="25705" y="3757"/>
                      <a:pt x="27832" y="10150"/>
                      <a:pt x="25205" y="15404"/>
                    </a:cubicBezTo>
                    <a:lnTo>
                      <a:pt x="20153" y="25508"/>
                    </a:lnTo>
                    <a:cubicBezTo>
                      <a:pt x="18281" y="29230"/>
                      <a:pt x="14527" y="31379"/>
                      <a:pt x="10624" y="31379"/>
                    </a:cubicBezTo>
                    <a:close/>
                  </a:path>
                </a:pathLst>
              </a:custGeom>
              <a:solidFill>
                <a:schemeClr val="accent1"/>
              </a:solidFill>
              <a:ln w="1063" cap="flat">
                <a:noFill/>
                <a:prstDash val="solid"/>
                <a:miter/>
              </a:ln>
            </p:spPr>
            <p:txBody>
              <a:bodyPr rtlCol="0" anchor="ctr"/>
              <a:lstStyle/>
              <a:p>
                <a:endParaRPr lang="en-GB" dirty="0"/>
              </a:p>
            </p:txBody>
          </p:sp>
        </p:grpSp>
      </p:grpSp>
      <p:sp>
        <p:nvSpPr>
          <p:cNvPr id="21" name="TextBox 20">
            <a:extLst>
              <a:ext uri="{FF2B5EF4-FFF2-40B4-BE49-F238E27FC236}">
                <a16:creationId xmlns:a16="http://schemas.microsoft.com/office/drawing/2014/main" id="{091B4B69-3205-420B-9820-F3305EDBD0E4}"/>
              </a:ext>
            </a:extLst>
          </p:cNvPr>
          <p:cNvSpPr txBox="1"/>
          <p:nvPr/>
        </p:nvSpPr>
        <p:spPr>
          <a:xfrm>
            <a:off x="487133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iagnostics</a:t>
            </a:r>
          </a:p>
        </p:txBody>
      </p:sp>
      <p:sp>
        <p:nvSpPr>
          <p:cNvPr id="22" name="TextBox 21">
            <a:extLst>
              <a:ext uri="{FF2B5EF4-FFF2-40B4-BE49-F238E27FC236}">
                <a16:creationId xmlns:a16="http://schemas.microsoft.com/office/drawing/2014/main" id="{848F4B25-E0FA-44C1-A19B-DF80AF20F227}"/>
              </a:ext>
            </a:extLst>
          </p:cNvPr>
          <p:cNvSpPr txBox="1"/>
          <p:nvPr/>
        </p:nvSpPr>
        <p:spPr>
          <a:xfrm>
            <a:off x="8007638"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ral testing</a:t>
            </a:r>
          </a:p>
        </p:txBody>
      </p:sp>
      <p:sp>
        <p:nvSpPr>
          <p:cNvPr id="23" name="TextBox 22">
            <a:extLst>
              <a:ext uri="{FF2B5EF4-FFF2-40B4-BE49-F238E27FC236}">
                <a16:creationId xmlns:a16="http://schemas.microsoft.com/office/drawing/2014/main" id="{7E64DA34-9E84-4310-9D2A-8DF8A6F53D97}"/>
              </a:ext>
            </a:extLst>
          </p:cNvPr>
          <p:cNvSpPr txBox="1"/>
          <p:nvPr/>
        </p:nvSpPr>
        <p:spPr>
          <a:xfrm>
            <a:off x="6962205"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reatment</a:t>
            </a:r>
          </a:p>
        </p:txBody>
      </p:sp>
      <p:sp>
        <p:nvSpPr>
          <p:cNvPr id="24" name="TextBox 23">
            <a:extLst>
              <a:ext uri="{FF2B5EF4-FFF2-40B4-BE49-F238E27FC236}">
                <a16:creationId xmlns:a16="http://schemas.microsoft.com/office/drawing/2014/main" id="{0C048199-BDA7-431F-B598-95A2C531959B}"/>
              </a:ext>
            </a:extLst>
          </p:cNvPr>
          <p:cNvSpPr txBox="1"/>
          <p:nvPr/>
        </p:nvSpPr>
        <p:spPr>
          <a:xfrm>
            <a:off x="5916771"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linical trial</a:t>
            </a:r>
          </a:p>
        </p:txBody>
      </p:sp>
      <p:sp>
        <p:nvSpPr>
          <p:cNvPr id="25" name="TextBox 24">
            <a:extLst>
              <a:ext uri="{FF2B5EF4-FFF2-40B4-BE49-F238E27FC236}">
                <a16:creationId xmlns:a16="http://schemas.microsoft.com/office/drawing/2014/main" id="{20482971-5619-4170-817B-DC53C0AFEF37}"/>
              </a:ext>
            </a:extLst>
          </p:cNvPr>
          <p:cNvSpPr txBox="1"/>
          <p:nvPr/>
        </p:nvSpPr>
        <p:spPr>
          <a:xfrm>
            <a:off x="487133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ommunity spread</a:t>
            </a:r>
          </a:p>
        </p:txBody>
      </p:sp>
      <p:sp>
        <p:nvSpPr>
          <p:cNvPr id="26" name="TextBox 25">
            <a:extLst>
              <a:ext uri="{FF2B5EF4-FFF2-40B4-BE49-F238E27FC236}">
                <a16:creationId xmlns:a16="http://schemas.microsoft.com/office/drawing/2014/main" id="{87108DFE-D76D-4A4A-8C07-785BABE3C91E}"/>
              </a:ext>
            </a:extLst>
          </p:cNvPr>
          <p:cNvSpPr txBox="1"/>
          <p:nvPr/>
        </p:nvSpPr>
        <p:spPr>
          <a:xfrm>
            <a:off x="8007638"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elf-isolation</a:t>
            </a:r>
          </a:p>
        </p:txBody>
      </p:sp>
      <p:sp>
        <p:nvSpPr>
          <p:cNvPr id="27" name="TextBox 26">
            <a:extLst>
              <a:ext uri="{FF2B5EF4-FFF2-40B4-BE49-F238E27FC236}">
                <a16:creationId xmlns:a16="http://schemas.microsoft.com/office/drawing/2014/main" id="{93B308D8-60E1-423C-9BFD-2410F94BD1A0}"/>
              </a:ext>
            </a:extLst>
          </p:cNvPr>
          <p:cNvSpPr txBox="1"/>
          <p:nvPr/>
        </p:nvSpPr>
        <p:spPr>
          <a:xfrm>
            <a:off x="6962205"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tection</a:t>
            </a:r>
          </a:p>
        </p:txBody>
      </p:sp>
      <p:sp>
        <p:nvSpPr>
          <p:cNvPr id="28" name="TextBox 27">
            <a:extLst>
              <a:ext uri="{FF2B5EF4-FFF2-40B4-BE49-F238E27FC236}">
                <a16:creationId xmlns:a16="http://schemas.microsoft.com/office/drawing/2014/main" id="{CD034099-F54A-460D-B27D-29C42EF0D9C4}"/>
              </a:ext>
            </a:extLst>
          </p:cNvPr>
          <p:cNvSpPr txBox="1"/>
          <p:nvPr/>
        </p:nvSpPr>
        <p:spPr>
          <a:xfrm>
            <a:off x="5916771"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ocial distancing</a:t>
            </a:r>
          </a:p>
        </p:txBody>
      </p:sp>
      <p:sp>
        <p:nvSpPr>
          <p:cNvPr id="32" name="TextBox 31">
            <a:extLst>
              <a:ext uri="{FF2B5EF4-FFF2-40B4-BE49-F238E27FC236}">
                <a16:creationId xmlns:a16="http://schemas.microsoft.com/office/drawing/2014/main" id="{A7DB34A1-E124-4994-86A2-9FF62C83F6E9}"/>
              </a:ext>
            </a:extLst>
          </p:cNvPr>
          <p:cNvSpPr txBox="1"/>
          <p:nvPr/>
        </p:nvSpPr>
        <p:spPr>
          <a:xfrm>
            <a:off x="5916771"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andemic</a:t>
            </a:r>
          </a:p>
        </p:txBody>
      </p:sp>
      <p:grpSp>
        <p:nvGrpSpPr>
          <p:cNvPr id="45" name="Group 44">
            <a:extLst>
              <a:ext uri="{FF2B5EF4-FFF2-40B4-BE49-F238E27FC236}">
                <a16:creationId xmlns:a16="http://schemas.microsoft.com/office/drawing/2014/main" id="{F11145EC-E20B-4C9E-B628-8D84E429706F}"/>
              </a:ext>
            </a:extLst>
          </p:cNvPr>
          <p:cNvGrpSpPr/>
          <p:nvPr/>
        </p:nvGrpSpPr>
        <p:grpSpPr>
          <a:xfrm>
            <a:off x="6004087" y="1548509"/>
            <a:ext cx="504629" cy="463705"/>
            <a:chOff x="6003675" y="1548509"/>
            <a:chExt cx="504629" cy="463705"/>
          </a:xfrm>
        </p:grpSpPr>
        <p:grpSp>
          <p:nvGrpSpPr>
            <p:cNvPr id="363" name="Group 362">
              <a:extLst>
                <a:ext uri="{FF2B5EF4-FFF2-40B4-BE49-F238E27FC236}">
                  <a16:creationId xmlns:a16="http://schemas.microsoft.com/office/drawing/2014/main" id="{9C43F752-16A1-4354-86E3-57F233767B71}"/>
                </a:ext>
              </a:extLst>
            </p:cNvPr>
            <p:cNvGrpSpPr/>
            <p:nvPr/>
          </p:nvGrpSpPr>
          <p:grpSpPr>
            <a:xfrm>
              <a:off x="6049116" y="1641872"/>
              <a:ext cx="184197" cy="295482"/>
              <a:chOff x="3716577" y="2482735"/>
              <a:chExt cx="184197" cy="295482"/>
            </a:xfrm>
            <a:solidFill>
              <a:schemeClr val="accent1"/>
            </a:solidFill>
          </p:grpSpPr>
          <p:grpSp>
            <p:nvGrpSpPr>
              <p:cNvPr id="378" name="Graphic 818">
                <a:extLst>
                  <a:ext uri="{FF2B5EF4-FFF2-40B4-BE49-F238E27FC236}">
                    <a16:creationId xmlns:a16="http://schemas.microsoft.com/office/drawing/2014/main" id="{31068B67-57E5-4C85-8E9D-4161D52999B5}"/>
                  </a:ext>
                </a:extLst>
              </p:cNvPr>
              <p:cNvGrpSpPr/>
              <p:nvPr/>
            </p:nvGrpSpPr>
            <p:grpSpPr>
              <a:xfrm>
                <a:off x="3716577" y="2482735"/>
                <a:ext cx="179475" cy="63576"/>
                <a:chOff x="6316055" y="1510854"/>
                <a:chExt cx="279928" cy="99159"/>
              </a:xfrm>
              <a:solidFill>
                <a:schemeClr val="accent1"/>
              </a:solidFill>
            </p:grpSpPr>
            <p:sp>
              <p:nvSpPr>
                <p:cNvPr id="380" name="Freeform: Shape 379">
                  <a:extLst>
                    <a:ext uri="{FF2B5EF4-FFF2-40B4-BE49-F238E27FC236}">
                      <a16:creationId xmlns:a16="http://schemas.microsoft.com/office/drawing/2014/main" id="{7B684EBC-E1C4-46BA-9495-7247E89C879E}"/>
                    </a:ext>
                  </a:extLst>
                </p:cNvPr>
                <p:cNvSpPr/>
                <p:nvPr/>
              </p:nvSpPr>
              <p:spPr>
                <a:xfrm>
                  <a:off x="6444683" y="1510854"/>
                  <a:ext cx="22660" cy="75579"/>
                </a:xfrm>
                <a:custGeom>
                  <a:avLst/>
                  <a:gdLst>
                    <a:gd name="connsiteX0" fmla="*/ 10639 w 22660"/>
                    <a:gd name="connsiteY0" fmla="*/ 75579 h 75579"/>
                    <a:gd name="connsiteX1" fmla="*/ 10373 w 22660"/>
                    <a:gd name="connsiteY1" fmla="*/ 75579 h 75579"/>
                    <a:gd name="connsiteX2" fmla="*/ 3 w 22660"/>
                    <a:gd name="connsiteY2" fmla="*/ 64678 h 75579"/>
                    <a:gd name="connsiteX3" fmla="*/ 1385 w 22660"/>
                    <a:gd name="connsiteY3" fmla="*/ 10382 h 75579"/>
                    <a:gd name="connsiteX4" fmla="*/ 12287 w 22660"/>
                    <a:gd name="connsiteY4" fmla="*/ 22 h 75579"/>
                    <a:gd name="connsiteX5" fmla="*/ 22657 w 22660"/>
                    <a:gd name="connsiteY5" fmla="*/ 10924 h 75579"/>
                    <a:gd name="connsiteX6" fmla="*/ 21275 w 22660"/>
                    <a:gd name="connsiteY6" fmla="*/ 65220 h 75579"/>
                    <a:gd name="connsiteX7" fmla="*/ 10639 w 22660"/>
                    <a:gd name="connsiteY7" fmla="*/ 75579 h 7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60" h="75579">
                      <a:moveTo>
                        <a:pt x="10639" y="75579"/>
                      </a:moveTo>
                      <a:cubicBezTo>
                        <a:pt x="10554" y="75579"/>
                        <a:pt x="10458" y="75579"/>
                        <a:pt x="10373" y="75579"/>
                      </a:cubicBezTo>
                      <a:cubicBezTo>
                        <a:pt x="4502" y="75430"/>
                        <a:pt x="-135" y="70549"/>
                        <a:pt x="3" y="64678"/>
                      </a:cubicBezTo>
                      <a:lnTo>
                        <a:pt x="1385" y="10382"/>
                      </a:lnTo>
                      <a:cubicBezTo>
                        <a:pt x="1535" y="4511"/>
                        <a:pt x="6299" y="-371"/>
                        <a:pt x="12287" y="22"/>
                      </a:cubicBezTo>
                      <a:cubicBezTo>
                        <a:pt x="18158" y="171"/>
                        <a:pt x="22796" y="5053"/>
                        <a:pt x="22657" y="10924"/>
                      </a:cubicBezTo>
                      <a:lnTo>
                        <a:pt x="21275" y="65220"/>
                      </a:lnTo>
                      <a:cubicBezTo>
                        <a:pt x="21137" y="70985"/>
                        <a:pt x="16393" y="75579"/>
                        <a:pt x="10639" y="75579"/>
                      </a:cubicBezTo>
                      <a:close/>
                    </a:path>
                  </a:pathLst>
                </a:custGeom>
                <a:solidFill>
                  <a:schemeClr val="accent1"/>
                </a:solidFill>
                <a:ln w="1063" cap="flat">
                  <a:noFill/>
                  <a:prstDash val="solid"/>
                  <a:miter/>
                </a:ln>
              </p:spPr>
              <p:txBody>
                <a:bodyPr rtlCol="0" anchor="ctr"/>
                <a:lstStyle/>
                <a:p>
                  <a:endParaRPr lang="en-GB" dirty="0"/>
                </a:p>
              </p:txBody>
            </p:sp>
            <p:sp>
              <p:nvSpPr>
                <p:cNvPr id="381" name="Freeform: Shape 380">
                  <a:extLst>
                    <a:ext uri="{FF2B5EF4-FFF2-40B4-BE49-F238E27FC236}">
                      <a16:creationId xmlns:a16="http://schemas.microsoft.com/office/drawing/2014/main" id="{B3C306D3-DAD1-48C9-9C57-572FDA5BE7F4}"/>
                    </a:ext>
                  </a:extLst>
                </p:cNvPr>
                <p:cNvSpPr/>
                <p:nvPr/>
              </p:nvSpPr>
              <p:spPr>
                <a:xfrm>
                  <a:off x="6316055" y="1560787"/>
                  <a:ext cx="57457" cy="49225"/>
                </a:xfrm>
                <a:custGeom>
                  <a:avLst/>
                  <a:gdLst>
                    <a:gd name="connsiteX0" fmla="*/ 46810 w 57457"/>
                    <a:gd name="connsiteY0" fmla="*/ 49225 h 49225"/>
                    <a:gd name="connsiteX1" fmla="*/ 40322 w 57457"/>
                    <a:gd name="connsiteY1" fmla="*/ 47013 h 49225"/>
                    <a:gd name="connsiteX2" fmla="*/ 4139 w 57457"/>
                    <a:gd name="connsiteY2" fmla="*/ 19062 h 49225"/>
                    <a:gd name="connsiteX3" fmla="*/ 2224 w 57457"/>
                    <a:gd name="connsiteY3" fmla="*/ 4140 h 49225"/>
                    <a:gd name="connsiteX4" fmla="*/ 17136 w 57457"/>
                    <a:gd name="connsiteY4" fmla="*/ 2226 h 49225"/>
                    <a:gd name="connsiteX5" fmla="*/ 53319 w 57457"/>
                    <a:gd name="connsiteY5" fmla="*/ 30177 h 49225"/>
                    <a:gd name="connsiteX6" fmla="*/ 55233 w 57457"/>
                    <a:gd name="connsiteY6" fmla="*/ 45099 h 49225"/>
                    <a:gd name="connsiteX7" fmla="*/ 46810 w 57457"/>
                    <a:gd name="connsiteY7" fmla="*/ 49225 h 4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57" h="49225">
                      <a:moveTo>
                        <a:pt x="46810" y="49225"/>
                      </a:moveTo>
                      <a:cubicBezTo>
                        <a:pt x="44544" y="49225"/>
                        <a:pt x="42247" y="48502"/>
                        <a:pt x="40322" y="47013"/>
                      </a:cubicBezTo>
                      <a:lnTo>
                        <a:pt x="4139" y="19062"/>
                      </a:lnTo>
                      <a:cubicBezTo>
                        <a:pt x="-520" y="15467"/>
                        <a:pt x="-1371" y="8788"/>
                        <a:pt x="2224" y="4140"/>
                      </a:cubicBezTo>
                      <a:cubicBezTo>
                        <a:pt x="5787" y="-508"/>
                        <a:pt x="12477" y="-1380"/>
                        <a:pt x="17136" y="2226"/>
                      </a:cubicBezTo>
                      <a:lnTo>
                        <a:pt x="53319" y="30177"/>
                      </a:lnTo>
                      <a:cubicBezTo>
                        <a:pt x="57978" y="33772"/>
                        <a:pt x="58828" y="40451"/>
                        <a:pt x="55233" y="45099"/>
                      </a:cubicBezTo>
                      <a:cubicBezTo>
                        <a:pt x="53149" y="47811"/>
                        <a:pt x="50001" y="49225"/>
                        <a:pt x="46810" y="49225"/>
                      </a:cubicBezTo>
                      <a:close/>
                    </a:path>
                  </a:pathLst>
                </a:custGeom>
                <a:solidFill>
                  <a:schemeClr val="accent1"/>
                </a:solidFill>
                <a:ln w="1063" cap="flat">
                  <a:noFill/>
                  <a:prstDash val="solid"/>
                  <a:miter/>
                </a:ln>
              </p:spPr>
              <p:txBody>
                <a:bodyPr rtlCol="0" anchor="ctr"/>
                <a:lstStyle/>
                <a:p>
                  <a:endParaRPr lang="en-GB" dirty="0"/>
                </a:p>
              </p:txBody>
            </p:sp>
            <p:sp>
              <p:nvSpPr>
                <p:cNvPr id="382" name="Freeform: Shape 381">
                  <a:extLst>
                    <a:ext uri="{FF2B5EF4-FFF2-40B4-BE49-F238E27FC236}">
                      <a16:creationId xmlns:a16="http://schemas.microsoft.com/office/drawing/2014/main" id="{9E1BE016-95C6-4247-9A15-18ABE129938A}"/>
                    </a:ext>
                  </a:extLst>
                </p:cNvPr>
                <p:cNvSpPr/>
                <p:nvPr/>
              </p:nvSpPr>
              <p:spPr>
                <a:xfrm>
                  <a:off x="6538514" y="1560785"/>
                  <a:ext cx="57468" cy="49228"/>
                </a:xfrm>
                <a:custGeom>
                  <a:avLst/>
                  <a:gdLst>
                    <a:gd name="connsiteX0" fmla="*/ 10648 w 57468"/>
                    <a:gd name="connsiteY0" fmla="*/ 49228 h 49228"/>
                    <a:gd name="connsiteX1" fmla="*/ 2224 w 57468"/>
                    <a:gd name="connsiteY1" fmla="*/ 45091 h 49228"/>
                    <a:gd name="connsiteX2" fmla="*/ 4139 w 57468"/>
                    <a:gd name="connsiteY2" fmla="*/ 30169 h 49228"/>
                    <a:gd name="connsiteX3" fmla="*/ 40333 w 57468"/>
                    <a:gd name="connsiteY3" fmla="*/ 2218 h 49228"/>
                    <a:gd name="connsiteX4" fmla="*/ 55244 w 57468"/>
                    <a:gd name="connsiteY4" fmla="*/ 4132 h 49228"/>
                    <a:gd name="connsiteX5" fmla="*/ 53329 w 57468"/>
                    <a:gd name="connsiteY5" fmla="*/ 19054 h 49228"/>
                    <a:gd name="connsiteX6" fmla="*/ 17136 w 57468"/>
                    <a:gd name="connsiteY6" fmla="*/ 47005 h 49228"/>
                    <a:gd name="connsiteX7" fmla="*/ 10648 w 57468"/>
                    <a:gd name="connsiteY7" fmla="*/ 49228 h 49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468" h="49228">
                      <a:moveTo>
                        <a:pt x="10648" y="49228"/>
                      </a:moveTo>
                      <a:cubicBezTo>
                        <a:pt x="7457" y="49228"/>
                        <a:pt x="4309" y="47803"/>
                        <a:pt x="2224" y="45091"/>
                      </a:cubicBezTo>
                      <a:cubicBezTo>
                        <a:pt x="-1371" y="40443"/>
                        <a:pt x="-520" y="33764"/>
                        <a:pt x="4139" y="30169"/>
                      </a:cubicBezTo>
                      <a:lnTo>
                        <a:pt x="40333" y="2218"/>
                      </a:lnTo>
                      <a:cubicBezTo>
                        <a:pt x="44991" y="-1377"/>
                        <a:pt x="51670" y="-505"/>
                        <a:pt x="55244" y="4132"/>
                      </a:cubicBezTo>
                      <a:cubicBezTo>
                        <a:pt x="58839" y="8780"/>
                        <a:pt x="57988" y="15459"/>
                        <a:pt x="53329" y="19054"/>
                      </a:cubicBezTo>
                      <a:lnTo>
                        <a:pt x="17136" y="47005"/>
                      </a:lnTo>
                      <a:cubicBezTo>
                        <a:pt x="15200" y="48516"/>
                        <a:pt x="12913" y="49228"/>
                        <a:pt x="10648" y="49228"/>
                      </a:cubicBezTo>
                      <a:close/>
                    </a:path>
                  </a:pathLst>
                </a:custGeom>
                <a:solidFill>
                  <a:schemeClr val="accent1"/>
                </a:solidFill>
                <a:ln w="1063" cap="flat">
                  <a:noFill/>
                  <a:prstDash val="solid"/>
                  <a:miter/>
                </a:ln>
              </p:spPr>
              <p:txBody>
                <a:bodyPr rtlCol="0" anchor="ctr"/>
                <a:lstStyle/>
                <a:p>
                  <a:endParaRPr lang="en-GB" dirty="0"/>
                </a:p>
              </p:txBody>
            </p:sp>
          </p:grpSp>
          <p:sp>
            <p:nvSpPr>
              <p:cNvPr id="379" name="Freeform: Shape 378">
                <a:extLst>
                  <a:ext uri="{FF2B5EF4-FFF2-40B4-BE49-F238E27FC236}">
                    <a16:creationId xmlns:a16="http://schemas.microsoft.com/office/drawing/2014/main" id="{257D79D1-EBC3-4984-A7EC-055A2650A361}"/>
                  </a:ext>
                </a:extLst>
              </p:cNvPr>
              <p:cNvSpPr/>
              <p:nvPr/>
            </p:nvSpPr>
            <p:spPr>
              <a:xfrm>
                <a:off x="3730667" y="2730916"/>
                <a:ext cx="170107" cy="47301"/>
              </a:xfrm>
              <a:custGeom>
                <a:avLst/>
                <a:gdLst>
                  <a:gd name="connsiteX0" fmla="*/ 254694 w 265317"/>
                  <a:gd name="connsiteY0" fmla="*/ 73775 h 73775"/>
                  <a:gd name="connsiteX1" fmla="*/ 254237 w 265317"/>
                  <a:gd name="connsiteY1" fmla="*/ 73765 h 73775"/>
                  <a:gd name="connsiteX2" fmla="*/ 121810 w 265317"/>
                  <a:gd name="connsiteY2" fmla="*/ 38677 h 73775"/>
                  <a:gd name="connsiteX3" fmla="*/ 11048 w 265317"/>
                  <a:gd name="connsiteY3" fmla="*/ 21670 h 73775"/>
                  <a:gd name="connsiteX4" fmla="*/ 8 w 265317"/>
                  <a:gd name="connsiteY4" fmla="*/ 11460 h 73775"/>
                  <a:gd name="connsiteX5" fmla="*/ 10218 w 265317"/>
                  <a:gd name="connsiteY5" fmla="*/ 420 h 73775"/>
                  <a:gd name="connsiteX6" fmla="*/ 129808 w 265317"/>
                  <a:gd name="connsiteY6" fmla="*/ 18958 h 73775"/>
                  <a:gd name="connsiteX7" fmla="*/ 255130 w 265317"/>
                  <a:gd name="connsiteY7" fmla="*/ 52514 h 73775"/>
                  <a:gd name="connsiteX8" fmla="*/ 265309 w 265317"/>
                  <a:gd name="connsiteY8" fmla="*/ 63586 h 73775"/>
                  <a:gd name="connsiteX9" fmla="*/ 254694 w 265317"/>
                  <a:gd name="connsiteY9" fmla="*/ 73775 h 73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5317" h="73775">
                    <a:moveTo>
                      <a:pt x="254694" y="73775"/>
                    </a:moveTo>
                    <a:cubicBezTo>
                      <a:pt x="254535" y="73775"/>
                      <a:pt x="254396" y="73765"/>
                      <a:pt x="254237" y="73765"/>
                    </a:cubicBezTo>
                    <a:cubicBezTo>
                      <a:pt x="206780" y="71765"/>
                      <a:pt x="167821" y="57332"/>
                      <a:pt x="121810" y="38677"/>
                    </a:cubicBezTo>
                    <a:cubicBezTo>
                      <a:pt x="86414" y="24308"/>
                      <a:pt x="57356" y="19884"/>
                      <a:pt x="11048" y="21670"/>
                    </a:cubicBezTo>
                    <a:cubicBezTo>
                      <a:pt x="5273" y="22011"/>
                      <a:pt x="231" y="17342"/>
                      <a:pt x="8" y="11460"/>
                    </a:cubicBezTo>
                    <a:cubicBezTo>
                      <a:pt x="-215" y="5589"/>
                      <a:pt x="4347" y="643"/>
                      <a:pt x="10218" y="420"/>
                    </a:cubicBezTo>
                    <a:cubicBezTo>
                      <a:pt x="51890" y="-1218"/>
                      <a:pt x="86350" y="1335"/>
                      <a:pt x="129808" y="18958"/>
                    </a:cubicBezTo>
                    <a:cubicBezTo>
                      <a:pt x="175350" y="37433"/>
                      <a:pt x="211002" y="50653"/>
                      <a:pt x="255130" y="52514"/>
                    </a:cubicBezTo>
                    <a:cubicBezTo>
                      <a:pt x="261001" y="52759"/>
                      <a:pt x="265553" y="57715"/>
                      <a:pt x="265309" y="63586"/>
                    </a:cubicBezTo>
                    <a:cubicBezTo>
                      <a:pt x="265075" y="69298"/>
                      <a:pt x="260363" y="73775"/>
                      <a:pt x="254694" y="73775"/>
                    </a:cubicBezTo>
                    <a:close/>
                  </a:path>
                </a:pathLst>
              </a:custGeom>
              <a:solidFill>
                <a:schemeClr val="accent1"/>
              </a:solidFill>
              <a:ln w="1063" cap="flat">
                <a:noFill/>
                <a:prstDash val="solid"/>
                <a:miter/>
              </a:ln>
            </p:spPr>
            <p:txBody>
              <a:bodyPr rtlCol="0" anchor="ctr"/>
              <a:lstStyle/>
              <a:p>
                <a:endParaRPr lang="en-GB" dirty="0"/>
              </a:p>
            </p:txBody>
          </p:sp>
        </p:grpSp>
        <p:grpSp>
          <p:nvGrpSpPr>
            <p:cNvPr id="364" name="Group 363">
              <a:extLst>
                <a:ext uri="{FF2B5EF4-FFF2-40B4-BE49-F238E27FC236}">
                  <a16:creationId xmlns:a16="http://schemas.microsoft.com/office/drawing/2014/main" id="{2905E4ED-7FEB-423C-9BD7-9EDAF5C70DAF}"/>
                </a:ext>
              </a:extLst>
            </p:cNvPr>
            <p:cNvGrpSpPr/>
            <p:nvPr/>
          </p:nvGrpSpPr>
          <p:grpSpPr>
            <a:xfrm>
              <a:off x="6003675" y="1548509"/>
              <a:ext cx="504629" cy="463705"/>
              <a:chOff x="3671136" y="2389372"/>
              <a:chExt cx="504629" cy="463705"/>
            </a:xfrm>
            <a:solidFill>
              <a:schemeClr val="tx2"/>
            </a:solidFill>
          </p:grpSpPr>
          <p:grpSp>
            <p:nvGrpSpPr>
              <p:cNvPr id="365" name="Graphic 818">
                <a:extLst>
                  <a:ext uri="{FF2B5EF4-FFF2-40B4-BE49-F238E27FC236}">
                    <a16:creationId xmlns:a16="http://schemas.microsoft.com/office/drawing/2014/main" id="{5D83EEE5-F4FF-4CCB-A1EF-3418E448FDF2}"/>
                  </a:ext>
                </a:extLst>
              </p:cNvPr>
              <p:cNvGrpSpPr/>
              <p:nvPr/>
            </p:nvGrpSpPr>
            <p:grpSpPr>
              <a:xfrm>
                <a:off x="3853704" y="2389372"/>
                <a:ext cx="322061" cy="463705"/>
                <a:chOff x="6529932" y="1365235"/>
                <a:chExt cx="502320" cy="723242"/>
              </a:xfrm>
              <a:grpFill/>
            </p:grpSpPr>
            <p:sp>
              <p:nvSpPr>
                <p:cNvPr id="369" name="Freeform: Shape 368">
                  <a:extLst>
                    <a:ext uri="{FF2B5EF4-FFF2-40B4-BE49-F238E27FC236}">
                      <a16:creationId xmlns:a16="http://schemas.microsoft.com/office/drawing/2014/main" id="{9AE02CD9-9CA7-4307-ADBB-EA16E865952F}"/>
                    </a:ext>
                  </a:extLst>
                </p:cNvPr>
                <p:cNvSpPr/>
                <p:nvPr/>
              </p:nvSpPr>
              <p:spPr>
                <a:xfrm>
                  <a:off x="6856021" y="1585788"/>
                  <a:ext cx="111257" cy="405222"/>
                </a:xfrm>
                <a:custGeom>
                  <a:avLst/>
                  <a:gdLst>
                    <a:gd name="connsiteX0" fmla="*/ 34105 w 111257"/>
                    <a:gd name="connsiteY0" fmla="*/ 405222 h 405222"/>
                    <a:gd name="connsiteX1" fmla="*/ 27213 w 111257"/>
                    <a:gd name="connsiteY1" fmla="*/ 402680 h 405222"/>
                    <a:gd name="connsiteX2" fmla="*/ 26022 w 111257"/>
                    <a:gd name="connsiteY2" fmla="*/ 387684 h 405222"/>
                    <a:gd name="connsiteX3" fmla="*/ 77978 w 111257"/>
                    <a:gd name="connsiteY3" fmla="*/ 292248 h 405222"/>
                    <a:gd name="connsiteX4" fmla="*/ 3410 w 111257"/>
                    <a:gd name="connsiteY4" fmla="*/ 18449 h 405222"/>
                    <a:gd name="connsiteX5" fmla="*/ 2836 w 111257"/>
                    <a:gd name="connsiteY5" fmla="*/ 3410 h 405222"/>
                    <a:gd name="connsiteX6" fmla="*/ 17864 w 111257"/>
                    <a:gd name="connsiteY6" fmla="*/ 2836 h 405222"/>
                    <a:gd name="connsiteX7" fmla="*/ 98165 w 111257"/>
                    <a:gd name="connsiteY7" fmla="*/ 298906 h 405222"/>
                    <a:gd name="connsiteX8" fmla="*/ 42199 w 111257"/>
                    <a:gd name="connsiteY8" fmla="*/ 401478 h 405222"/>
                    <a:gd name="connsiteX9" fmla="*/ 34105 w 111257"/>
                    <a:gd name="connsiteY9" fmla="*/ 405222 h 405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257" h="405222">
                      <a:moveTo>
                        <a:pt x="34105" y="405222"/>
                      </a:moveTo>
                      <a:cubicBezTo>
                        <a:pt x="31670" y="405222"/>
                        <a:pt x="29202" y="404382"/>
                        <a:pt x="27213" y="402680"/>
                      </a:cubicBezTo>
                      <a:cubicBezTo>
                        <a:pt x="22736" y="398873"/>
                        <a:pt x="22204" y="392151"/>
                        <a:pt x="26022" y="387684"/>
                      </a:cubicBezTo>
                      <a:cubicBezTo>
                        <a:pt x="47538" y="362423"/>
                        <a:pt x="66002" y="328538"/>
                        <a:pt x="77978" y="292248"/>
                      </a:cubicBezTo>
                      <a:cubicBezTo>
                        <a:pt x="108929" y="198450"/>
                        <a:pt x="78968" y="88412"/>
                        <a:pt x="3410" y="18449"/>
                      </a:cubicBezTo>
                      <a:cubicBezTo>
                        <a:pt x="-897" y="14461"/>
                        <a:pt x="-1163" y="7728"/>
                        <a:pt x="2836" y="3410"/>
                      </a:cubicBezTo>
                      <a:cubicBezTo>
                        <a:pt x="6814" y="-897"/>
                        <a:pt x="13557" y="-1163"/>
                        <a:pt x="17864" y="2836"/>
                      </a:cubicBezTo>
                      <a:cubicBezTo>
                        <a:pt x="99409" y="78361"/>
                        <a:pt x="131678" y="197344"/>
                        <a:pt x="98165" y="298906"/>
                      </a:cubicBezTo>
                      <a:cubicBezTo>
                        <a:pt x="85359" y="337738"/>
                        <a:pt x="65481" y="374165"/>
                        <a:pt x="42199" y="401478"/>
                      </a:cubicBezTo>
                      <a:cubicBezTo>
                        <a:pt x="40104" y="403956"/>
                        <a:pt x="37115" y="405222"/>
                        <a:pt x="34105" y="405222"/>
                      </a:cubicBezTo>
                      <a:close/>
                    </a:path>
                  </a:pathLst>
                </a:custGeom>
                <a:grpFill/>
                <a:ln w="1063" cap="flat">
                  <a:noFill/>
                  <a:prstDash val="solid"/>
                  <a:miter/>
                </a:ln>
              </p:spPr>
              <p:txBody>
                <a:bodyPr rtlCol="0" anchor="ctr"/>
                <a:lstStyle/>
                <a:p>
                  <a:endParaRPr lang="en-GB" dirty="0"/>
                </a:p>
              </p:txBody>
            </p:sp>
            <p:sp>
              <p:nvSpPr>
                <p:cNvPr id="370" name="Freeform: Shape 369">
                  <a:extLst>
                    <a:ext uri="{FF2B5EF4-FFF2-40B4-BE49-F238E27FC236}">
                      <a16:creationId xmlns:a16="http://schemas.microsoft.com/office/drawing/2014/main" id="{DBB674BC-D0BD-4127-805D-6A7267EE6580}"/>
                    </a:ext>
                  </a:extLst>
                </p:cNvPr>
                <p:cNvSpPr/>
                <p:nvPr/>
              </p:nvSpPr>
              <p:spPr>
                <a:xfrm>
                  <a:off x="6807003" y="1618239"/>
                  <a:ext cx="89733" cy="302724"/>
                </a:xfrm>
                <a:custGeom>
                  <a:avLst/>
                  <a:gdLst>
                    <a:gd name="connsiteX0" fmla="*/ 36559 w 89733"/>
                    <a:gd name="connsiteY0" fmla="*/ 302724 h 302724"/>
                    <a:gd name="connsiteX1" fmla="*/ 29551 w 89733"/>
                    <a:gd name="connsiteY1" fmla="*/ 300086 h 302724"/>
                    <a:gd name="connsiteX2" fmla="*/ 28562 w 89733"/>
                    <a:gd name="connsiteY2" fmla="*/ 285079 h 302724"/>
                    <a:gd name="connsiteX3" fmla="*/ 56810 w 89733"/>
                    <a:gd name="connsiteY3" fmla="*/ 234442 h 302724"/>
                    <a:gd name="connsiteX4" fmla="*/ 4025 w 89733"/>
                    <a:gd name="connsiteY4" fmla="*/ 18970 h 302724"/>
                    <a:gd name="connsiteX5" fmla="*/ 2312 w 89733"/>
                    <a:gd name="connsiteY5" fmla="*/ 4027 h 302724"/>
                    <a:gd name="connsiteX6" fmla="*/ 17255 w 89733"/>
                    <a:gd name="connsiteY6" fmla="*/ 2304 h 302724"/>
                    <a:gd name="connsiteX7" fmla="*/ 76997 w 89733"/>
                    <a:gd name="connsiteY7" fmla="*/ 241100 h 302724"/>
                    <a:gd name="connsiteX8" fmla="*/ 44547 w 89733"/>
                    <a:gd name="connsiteY8" fmla="*/ 299097 h 302724"/>
                    <a:gd name="connsiteX9" fmla="*/ 36559 w 89733"/>
                    <a:gd name="connsiteY9" fmla="*/ 302724 h 302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733" h="302724">
                      <a:moveTo>
                        <a:pt x="36559" y="302724"/>
                      </a:moveTo>
                      <a:cubicBezTo>
                        <a:pt x="34071" y="302724"/>
                        <a:pt x="31561" y="301852"/>
                        <a:pt x="29551" y="300086"/>
                      </a:cubicBezTo>
                      <a:cubicBezTo>
                        <a:pt x="25137" y="296215"/>
                        <a:pt x="24690" y="289493"/>
                        <a:pt x="28562" y="285079"/>
                      </a:cubicBezTo>
                      <a:cubicBezTo>
                        <a:pt x="41016" y="270870"/>
                        <a:pt x="50259" y="254299"/>
                        <a:pt x="56810" y="234442"/>
                      </a:cubicBezTo>
                      <a:cubicBezTo>
                        <a:pt x="83953" y="152152"/>
                        <a:pt x="62745" y="65566"/>
                        <a:pt x="4025" y="18970"/>
                      </a:cubicBezTo>
                      <a:cubicBezTo>
                        <a:pt x="-581" y="15322"/>
                        <a:pt x="-1346" y="8632"/>
                        <a:pt x="2312" y="4027"/>
                      </a:cubicBezTo>
                      <a:cubicBezTo>
                        <a:pt x="5961" y="-579"/>
                        <a:pt x="12640" y="-1344"/>
                        <a:pt x="17255" y="2304"/>
                      </a:cubicBezTo>
                      <a:cubicBezTo>
                        <a:pt x="82922" y="54409"/>
                        <a:pt x="106937" y="150376"/>
                        <a:pt x="76997" y="241100"/>
                      </a:cubicBezTo>
                      <a:cubicBezTo>
                        <a:pt x="69542" y="263722"/>
                        <a:pt x="58927" y="282686"/>
                        <a:pt x="44547" y="299097"/>
                      </a:cubicBezTo>
                      <a:cubicBezTo>
                        <a:pt x="42463" y="301501"/>
                        <a:pt x="39517" y="302724"/>
                        <a:pt x="36559" y="302724"/>
                      </a:cubicBezTo>
                      <a:close/>
                    </a:path>
                  </a:pathLst>
                </a:custGeom>
                <a:grpFill/>
                <a:ln w="1063" cap="flat">
                  <a:noFill/>
                  <a:prstDash val="solid"/>
                  <a:miter/>
                </a:ln>
              </p:spPr>
              <p:txBody>
                <a:bodyPr rtlCol="0" anchor="ctr"/>
                <a:lstStyle/>
                <a:p>
                  <a:endParaRPr lang="en-GB" dirty="0"/>
                </a:p>
              </p:txBody>
            </p:sp>
            <p:sp>
              <p:nvSpPr>
                <p:cNvPr id="371" name="Freeform: Shape 370">
                  <a:extLst>
                    <a:ext uri="{FF2B5EF4-FFF2-40B4-BE49-F238E27FC236}">
                      <a16:creationId xmlns:a16="http://schemas.microsoft.com/office/drawing/2014/main" id="{5FDE42A2-6087-47DB-89F0-6F83208F084C}"/>
                    </a:ext>
                  </a:extLst>
                </p:cNvPr>
                <p:cNvSpPr/>
                <p:nvPr/>
              </p:nvSpPr>
              <p:spPr>
                <a:xfrm>
                  <a:off x="6685892" y="1408574"/>
                  <a:ext cx="208369" cy="310147"/>
                </a:xfrm>
                <a:custGeom>
                  <a:avLst/>
                  <a:gdLst>
                    <a:gd name="connsiteX0" fmla="*/ 72084 w 208369"/>
                    <a:gd name="connsiteY0" fmla="*/ 310148 h 310147"/>
                    <a:gd name="connsiteX1" fmla="*/ 68329 w 208369"/>
                    <a:gd name="connsiteY1" fmla="*/ 309467 h 310147"/>
                    <a:gd name="connsiteX2" fmla="*/ 15171 w 208369"/>
                    <a:gd name="connsiteY2" fmla="*/ 289440 h 310147"/>
                    <a:gd name="connsiteX3" fmla="*/ 8492 w 208369"/>
                    <a:gd name="connsiteY3" fmla="*/ 281559 h 310147"/>
                    <a:gd name="connsiteX4" fmla="*/ 207 w 208369"/>
                    <a:gd name="connsiteY4" fmla="*/ 239866 h 310147"/>
                    <a:gd name="connsiteX5" fmla="*/ 760 w 208369"/>
                    <a:gd name="connsiteY5" fmla="*/ 233846 h 310147"/>
                    <a:gd name="connsiteX6" fmla="*/ 91526 w 208369"/>
                    <a:gd name="connsiteY6" fmla="*/ 6686 h 310147"/>
                    <a:gd name="connsiteX7" fmla="*/ 105150 w 208369"/>
                    <a:gd name="connsiteY7" fmla="*/ 687 h 310147"/>
                    <a:gd name="connsiteX8" fmla="*/ 201480 w 208369"/>
                    <a:gd name="connsiteY8" fmla="*/ 37009 h 310147"/>
                    <a:gd name="connsiteX9" fmla="*/ 207468 w 208369"/>
                    <a:gd name="connsiteY9" fmla="*/ 42667 h 310147"/>
                    <a:gd name="connsiteX10" fmla="*/ 207617 w 208369"/>
                    <a:gd name="connsiteY10" fmla="*/ 50899 h 310147"/>
                    <a:gd name="connsiteX11" fmla="*/ 181516 w 208369"/>
                    <a:gd name="connsiteY11" fmla="*/ 116235 h 310147"/>
                    <a:gd name="connsiteX12" fmla="*/ 167690 w 208369"/>
                    <a:gd name="connsiteY12" fmla="*/ 122170 h 310147"/>
                    <a:gd name="connsiteX13" fmla="*/ 161755 w 208369"/>
                    <a:gd name="connsiteY13" fmla="*/ 108343 h 310147"/>
                    <a:gd name="connsiteX14" fmla="*/ 183834 w 208369"/>
                    <a:gd name="connsiteY14" fmla="*/ 53090 h 310147"/>
                    <a:gd name="connsiteX15" fmla="*/ 107405 w 208369"/>
                    <a:gd name="connsiteY15" fmla="*/ 24277 h 310147"/>
                    <a:gd name="connsiteX16" fmla="*/ 21680 w 208369"/>
                    <a:gd name="connsiteY16" fmla="*/ 238824 h 310147"/>
                    <a:gd name="connsiteX17" fmla="*/ 28190 w 208369"/>
                    <a:gd name="connsiteY17" fmla="*/ 271625 h 310147"/>
                    <a:gd name="connsiteX18" fmla="*/ 70456 w 208369"/>
                    <a:gd name="connsiteY18" fmla="*/ 287547 h 310147"/>
                    <a:gd name="connsiteX19" fmla="*/ 98227 w 208369"/>
                    <a:gd name="connsiteY19" fmla="*/ 267317 h 310147"/>
                    <a:gd name="connsiteX20" fmla="*/ 131963 w 208369"/>
                    <a:gd name="connsiteY20" fmla="*/ 182869 h 310147"/>
                    <a:gd name="connsiteX21" fmla="*/ 145790 w 208369"/>
                    <a:gd name="connsiteY21" fmla="*/ 176934 h 310147"/>
                    <a:gd name="connsiteX22" fmla="*/ 151725 w 208369"/>
                    <a:gd name="connsiteY22" fmla="*/ 190760 h 310147"/>
                    <a:gd name="connsiteX23" fmla="*/ 116850 w 208369"/>
                    <a:gd name="connsiteY23" fmla="*/ 278060 h 310147"/>
                    <a:gd name="connsiteX24" fmla="*/ 113234 w 208369"/>
                    <a:gd name="connsiteY24" fmla="*/ 282708 h 310147"/>
                    <a:gd name="connsiteX25" fmla="*/ 78348 w 208369"/>
                    <a:gd name="connsiteY25" fmla="*/ 308117 h 310147"/>
                    <a:gd name="connsiteX26" fmla="*/ 72084 w 208369"/>
                    <a:gd name="connsiteY26" fmla="*/ 310148 h 310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8369" h="310147">
                      <a:moveTo>
                        <a:pt x="72084" y="310148"/>
                      </a:moveTo>
                      <a:cubicBezTo>
                        <a:pt x="70818" y="310148"/>
                        <a:pt x="69553" y="309925"/>
                        <a:pt x="68329" y="309467"/>
                      </a:cubicBezTo>
                      <a:lnTo>
                        <a:pt x="15171" y="289440"/>
                      </a:lnTo>
                      <a:cubicBezTo>
                        <a:pt x="11736" y="288142"/>
                        <a:pt x="9204" y="285164"/>
                        <a:pt x="8492" y="281559"/>
                      </a:cubicBezTo>
                      <a:lnTo>
                        <a:pt x="207" y="239866"/>
                      </a:lnTo>
                      <a:cubicBezTo>
                        <a:pt x="-198" y="237856"/>
                        <a:pt x="-6" y="235761"/>
                        <a:pt x="760" y="233846"/>
                      </a:cubicBezTo>
                      <a:lnTo>
                        <a:pt x="91526" y="6686"/>
                      </a:lnTo>
                      <a:cubicBezTo>
                        <a:pt x="93674" y="1304"/>
                        <a:pt x="99726" y="-1355"/>
                        <a:pt x="105150" y="687"/>
                      </a:cubicBezTo>
                      <a:lnTo>
                        <a:pt x="201480" y="37009"/>
                      </a:lnTo>
                      <a:cubicBezTo>
                        <a:pt x="204160" y="38019"/>
                        <a:pt x="206308" y="40061"/>
                        <a:pt x="207468" y="42667"/>
                      </a:cubicBezTo>
                      <a:cubicBezTo>
                        <a:pt x="208616" y="45283"/>
                        <a:pt x="208669" y="48251"/>
                        <a:pt x="207617" y="50899"/>
                      </a:cubicBezTo>
                      <a:lnTo>
                        <a:pt x="181516" y="116235"/>
                      </a:lnTo>
                      <a:cubicBezTo>
                        <a:pt x="179336" y="121702"/>
                        <a:pt x="173146" y="124308"/>
                        <a:pt x="167690" y="122170"/>
                      </a:cubicBezTo>
                      <a:cubicBezTo>
                        <a:pt x="162233" y="119990"/>
                        <a:pt x="159574" y="113799"/>
                        <a:pt x="161755" y="108343"/>
                      </a:cubicBezTo>
                      <a:lnTo>
                        <a:pt x="183834" y="53090"/>
                      </a:lnTo>
                      <a:lnTo>
                        <a:pt x="107405" y="24277"/>
                      </a:lnTo>
                      <a:lnTo>
                        <a:pt x="21680" y="238824"/>
                      </a:lnTo>
                      <a:lnTo>
                        <a:pt x="28190" y="271625"/>
                      </a:lnTo>
                      <a:lnTo>
                        <a:pt x="70456" y="287547"/>
                      </a:lnTo>
                      <a:lnTo>
                        <a:pt x="98227" y="267317"/>
                      </a:lnTo>
                      <a:lnTo>
                        <a:pt x="131963" y="182869"/>
                      </a:lnTo>
                      <a:cubicBezTo>
                        <a:pt x="134144" y="177402"/>
                        <a:pt x="140345" y="174775"/>
                        <a:pt x="145790" y="176934"/>
                      </a:cubicBezTo>
                      <a:cubicBezTo>
                        <a:pt x="151247" y="179114"/>
                        <a:pt x="153906" y="185304"/>
                        <a:pt x="151725" y="190760"/>
                      </a:cubicBezTo>
                      <a:lnTo>
                        <a:pt x="116850" y="278060"/>
                      </a:lnTo>
                      <a:cubicBezTo>
                        <a:pt x="116106" y="279921"/>
                        <a:pt x="114850" y="281527"/>
                        <a:pt x="113234" y="282708"/>
                      </a:cubicBezTo>
                      <a:lnTo>
                        <a:pt x="78348" y="308117"/>
                      </a:lnTo>
                      <a:cubicBezTo>
                        <a:pt x="76497" y="309457"/>
                        <a:pt x="74306" y="310148"/>
                        <a:pt x="72084" y="310148"/>
                      </a:cubicBezTo>
                      <a:close/>
                    </a:path>
                  </a:pathLst>
                </a:custGeom>
                <a:grpFill/>
                <a:ln w="1063" cap="flat">
                  <a:noFill/>
                  <a:prstDash val="solid"/>
                  <a:miter/>
                </a:ln>
              </p:spPr>
              <p:txBody>
                <a:bodyPr rtlCol="0" anchor="ctr"/>
                <a:lstStyle/>
                <a:p>
                  <a:endParaRPr lang="en-GB" dirty="0"/>
                </a:p>
              </p:txBody>
            </p:sp>
            <p:sp>
              <p:nvSpPr>
                <p:cNvPr id="372" name="Freeform: Shape 371">
                  <a:extLst>
                    <a:ext uri="{FF2B5EF4-FFF2-40B4-BE49-F238E27FC236}">
                      <a16:creationId xmlns:a16="http://schemas.microsoft.com/office/drawing/2014/main" id="{06B31B51-2F29-4793-8075-3FA5A64742A8}"/>
                    </a:ext>
                  </a:extLst>
                </p:cNvPr>
                <p:cNvSpPr/>
                <p:nvPr/>
              </p:nvSpPr>
              <p:spPr>
                <a:xfrm>
                  <a:off x="6761084" y="1365235"/>
                  <a:ext cx="163826" cy="106819"/>
                </a:xfrm>
                <a:custGeom>
                  <a:avLst/>
                  <a:gdLst>
                    <a:gd name="connsiteX0" fmla="*/ 137796 w 163826"/>
                    <a:gd name="connsiteY0" fmla="*/ 106820 h 106819"/>
                    <a:gd name="connsiteX1" fmla="*/ 134031 w 163826"/>
                    <a:gd name="connsiteY1" fmla="*/ 106139 h 106819"/>
                    <a:gd name="connsiteX2" fmla="*/ 6869 w 163826"/>
                    <a:gd name="connsiteY2" fmla="*/ 58054 h 106819"/>
                    <a:gd name="connsiteX3" fmla="*/ 881 w 163826"/>
                    <a:gd name="connsiteY3" fmla="*/ 52332 h 106819"/>
                    <a:gd name="connsiteX4" fmla="*/ 796 w 163826"/>
                    <a:gd name="connsiteY4" fmla="*/ 44047 h 106819"/>
                    <a:gd name="connsiteX5" fmla="*/ 16217 w 163826"/>
                    <a:gd name="connsiteY5" fmla="*/ 6588 h 106819"/>
                    <a:gd name="connsiteX6" fmla="*/ 29810 w 163826"/>
                    <a:gd name="connsiteY6" fmla="*/ 685 h 106819"/>
                    <a:gd name="connsiteX7" fmla="*/ 156962 w 163826"/>
                    <a:gd name="connsiteY7" fmla="*/ 48748 h 106819"/>
                    <a:gd name="connsiteX8" fmla="*/ 162950 w 163826"/>
                    <a:gd name="connsiteY8" fmla="*/ 54460 h 106819"/>
                    <a:gd name="connsiteX9" fmla="*/ 163035 w 163826"/>
                    <a:gd name="connsiteY9" fmla="*/ 62745 h 106819"/>
                    <a:gd name="connsiteX10" fmla="*/ 147623 w 163826"/>
                    <a:gd name="connsiteY10" fmla="*/ 100215 h 106819"/>
                    <a:gd name="connsiteX11" fmla="*/ 137796 w 163826"/>
                    <a:gd name="connsiteY11" fmla="*/ 106820 h 106819"/>
                    <a:gd name="connsiteX12" fmla="*/ 24631 w 163826"/>
                    <a:gd name="connsiteY12" fmla="*/ 42026 h 106819"/>
                    <a:gd name="connsiteX13" fmla="*/ 131882 w 163826"/>
                    <a:gd name="connsiteY13" fmla="*/ 82581 h 106819"/>
                    <a:gd name="connsiteX14" fmla="*/ 139200 w 163826"/>
                    <a:gd name="connsiteY14" fmla="*/ 64787 h 106819"/>
                    <a:gd name="connsiteX15" fmla="*/ 31948 w 163826"/>
                    <a:gd name="connsiteY15" fmla="*/ 24243 h 106819"/>
                    <a:gd name="connsiteX16" fmla="*/ 24631 w 163826"/>
                    <a:gd name="connsiteY16" fmla="*/ 42026 h 106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3826" h="106819">
                      <a:moveTo>
                        <a:pt x="137796" y="106820"/>
                      </a:moveTo>
                      <a:cubicBezTo>
                        <a:pt x="136541" y="106820"/>
                        <a:pt x="135275" y="106597"/>
                        <a:pt x="134031" y="106139"/>
                      </a:cubicBezTo>
                      <a:lnTo>
                        <a:pt x="6869" y="58054"/>
                      </a:lnTo>
                      <a:cubicBezTo>
                        <a:pt x="4178" y="57033"/>
                        <a:pt x="2019" y="54970"/>
                        <a:pt x="881" y="52332"/>
                      </a:cubicBezTo>
                      <a:cubicBezTo>
                        <a:pt x="-268" y="49695"/>
                        <a:pt x="-289" y="46706"/>
                        <a:pt x="796" y="44047"/>
                      </a:cubicBezTo>
                      <a:lnTo>
                        <a:pt x="16217" y="6588"/>
                      </a:lnTo>
                      <a:cubicBezTo>
                        <a:pt x="18419" y="1259"/>
                        <a:pt x="24450" y="-1336"/>
                        <a:pt x="29810" y="685"/>
                      </a:cubicBezTo>
                      <a:lnTo>
                        <a:pt x="156962" y="48748"/>
                      </a:lnTo>
                      <a:cubicBezTo>
                        <a:pt x="159653" y="49769"/>
                        <a:pt x="161812" y="51833"/>
                        <a:pt x="162950" y="54460"/>
                      </a:cubicBezTo>
                      <a:cubicBezTo>
                        <a:pt x="164088" y="57097"/>
                        <a:pt x="164120" y="60086"/>
                        <a:pt x="163035" y="62745"/>
                      </a:cubicBezTo>
                      <a:lnTo>
                        <a:pt x="147623" y="100215"/>
                      </a:lnTo>
                      <a:cubicBezTo>
                        <a:pt x="145943" y="104320"/>
                        <a:pt x="141976" y="106820"/>
                        <a:pt x="137796" y="106820"/>
                      </a:cubicBezTo>
                      <a:close/>
                      <a:moveTo>
                        <a:pt x="24631" y="42026"/>
                      </a:moveTo>
                      <a:lnTo>
                        <a:pt x="131882" y="82581"/>
                      </a:lnTo>
                      <a:lnTo>
                        <a:pt x="139200" y="64787"/>
                      </a:lnTo>
                      <a:lnTo>
                        <a:pt x="31948" y="24243"/>
                      </a:lnTo>
                      <a:lnTo>
                        <a:pt x="24631" y="42026"/>
                      </a:lnTo>
                      <a:close/>
                    </a:path>
                  </a:pathLst>
                </a:custGeom>
                <a:grpFill/>
                <a:ln w="1063" cap="flat">
                  <a:noFill/>
                  <a:prstDash val="solid"/>
                  <a:miter/>
                </a:ln>
              </p:spPr>
              <p:txBody>
                <a:bodyPr rtlCol="0" anchor="ctr"/>
                <a:lstStyle/>
                <a:p>
                  <a:endParaRPr lang="en-GB" dirty="0"/>
                </a:p>
              </p:txBody>
            </p:sp>
            <p:sp>
              <p:nvSpPr>
                <p:cNvPr id="373" name="Freeform: Shape 372">
                  <a:extLst>
                    <a:ext uri="{FF2B5EF4-FFF2-40B4-BE49-F238E27FC236}">
                      <a16:creationId xmlns:a16="http://schemas.microsoft.com/office/drawing/2014/main" id="{2612A278-7FBC-4EB1-BCBD-F23189AC0FA1}"/>
                    </a:ext>
                  </a:extLst>
                </p:cNvPr>
                <p:cNvSpPr/>
                <p:nvPr/>
              </p:nvSpPr>
              <p:spPr>
                <a:xfrm>
                  <a:off x="6795850" y="1510546"/>
                  <a:ext cx="100945" cy="98647"/>
                </a:xfrm>
                <a:custGeom>
                  <a:avLst/>
                  <a:gdLst>
                    <a:gd name="connsiteX0" fmla="*/ 50478 w 100945"/>
                    <a:gd name="connsiteY0" fmla="*/ 98648 h 98647"/>
                    <a:gd name="connsiteX1" fmla="*/ 0 w 100945"/>
                    <a:gd name="connsiteY1" fmla="*/ 49318 h 98647"/>
                    <a:gd name="connsiteX2" fmla="*/ 50478 w 100945"/>
                    <a:gd name="connsiteY2" fmla="*/ 0 h 98647"/>
                    <a:gd name="connsiteX3" fmla="*/ 100945 w 100945"/>
                    <a:gd name="connsiteY3" fmla="*/ 49318 h 98647"/>
                    <a:gd name="connsiteX4" fmla="*/ 50478 w 100945"/>
                    <a:gd name="connsiteY4" fmla="*/ 98648 h 98647"/>
                    <a:gd name="connsiteX5" fmla="*/ 50478 w 100945"/>
                    <a:gd name="connsiteY5" fmla="*/ 21272 h 98647"/>
                    <a:gd name="connsiteX6" fmla="*/ 21272 w 100945"/>
                    <a:gd name="connsiteY6" fmla="*/ 49318 h 98647"/>
                    <a:gd name="connsiteX7" fmla="*/ 50478 w 100945"/>
                    <a:gd name="connsiteY7" fmla="*/ 77376 h 98647"/>
                    <a:gd name="connsiteX8" fmla="*/ 79673 w 100945"/>
                    <a:gd name="connsiteY8" fmla="*/ 49318 h 98647"/>
                    <a:gd name="connsiteX9" fmla="*/ 50478 w 100945"/>
                    <a:gd name="connsiteY9" fmla="*/ 21272 h 9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945" h="98647">
                      <a:moveTo>
                        <a:pt x="50478" y="98648"/>
                      </a:moveTo>
                      <a:cubicBezTo>
                        <a:pt x="22644" y="98648"/>
                        <a:pt x="0" y="76514"/>
                        <a:pt x="0" y="49318"/>
                      </a:cubicBezTo>
                      <a:cubicBezTo>
                        <a:pt x="0" y="22123"/>
                        <a:pt x="22644" y="0"/>
                        <a:pt x="50478" y="0"/>
                      </a:cubicBezTo>
                      <a:cubicBezTo>
                        <a:pt x="78301" y="0"/>
                        <a:pt x="100945" y="22123"/>
                        <a:pt x="100945" y="49318"/>
                      </a:cubicBezTo>
                      <a:cubicBezTo>
                        <a:pt x="100945" y="76514"/>
                        <a:pt x="78301" y="98648"/>
                        <a:pt x="50478" y="98648"/>
                      </a:cubicBezTo>
                      <a:close/>
                      <a:moveTo>
                        <a:pt x="50478" y="21272"/>
                      </a:moveTo>
                      <a:cubicBezTo>
                        <a:pt x="34365" y="21272"/>
                        <a:pt x="21272" y="33854"/>
                        <a:pt x="21272" y="49318"/>
                      </a:cubicBezTo>
                      <a:cubicBezTo>
                        <a:pt x="21272" y="64794"/>
                        <a:pt x="34365" y="77376"/>
                        <a:pt x="50478" y="77376"/>
                      </a:cubicBezTo>
                      <a:cubicBezTo>
                        <a:pt x="66581" y="77376"/>
                        <a:pt x="79673" y="64794"/>
                        <a:pt x="79673" y="49318"/>
                      </a:cubicBezTo>
                      <a:cubicBezTo>
                        <a:pt x="79673" y="33854"/>
                        <a:pt x="66581" y="21272"/>
                        <a:pt x="50478" y="21272"/>
                      </a:cubicBezTo>
                      <a:close/>
                    </a:path>
                  </a:pathLst>
                </a:custGeom>
                <a:grpFill/>
                <a:ln w="1063" cap="flat">
                  <a:noFill/>
                  <a:prstDash val="solid"/>
                  <a:miter/>
                </a:ln>
              </p:spPr>
              <p:txBody>
                <a:bodyPr rtlCol="0" anchor="ctr"/>
                <a:lstStyle/>
                <a:p>
                  <a:endParaRPr lang="en-GB" dirty="0"/>
                </a:p>
              </p:txBody>
            </p:sp>
            <p:sp>
              <p:nvSpPr>
                <p:cNvPr id="374" name="Freeform: Shape 373">
                  <a:extLst>
                    <a:ext uri="{FF2B5EF4-FFF2-40B4-BE49-F238E27FC236}">
                      <a16:creationId xmlns:a16="http://schemas.microsoft.com/office/drawing/2014/main" id="{E367ADDE-6A1C-4014-AFDD-C79B411AADC1}"/>
                    </a:ext>
                  </a:extLst>
                </p:cNvPr>
                <p:cNvSpPr/>
                <p:nvPr/>
              </p:nvSpPr>
              <p:spPr>
                <a:xfrm>
                  <a:off x="6529932" y="1907668"/>
                  <a:ext cx="502320" cy="180809"/>
                </a:xfrm>
                <a:custGeom>
                  <a:avLst/>
                  <a:gdLst>
                    <a:gd name="connsiteX0" fmla="*/ 491685 w 502320"/>
                    <a:gd name="connsiteY0" fmla="*/ 180810 h 180809"/>
                    <a:gd name="connsiteX1" fmla="*/ 10636 w 502320"/>
                    <a:gd name="connsiteY1" fmla="*/ 180810 h 180809"/>
                    <a:gd name="connsiteX2" fmla="*/ 0 w 502320"/>
                    <a:gd name="connsiteY2" fmla="*/ 170174 h 180809"/>
                    <a:gd name="connsiteX3" fmla="*/ 0 w 502320"/>
                    <a:gd name="connsiteY3" fmla="*/ 119536 h 180809"/>
                    <a:gd name="connsiteX4" fmla="*/ 10636 w 502320"/>
                    <a:gd name="connsiteY4" fmla="*/ 108901 h 180809"/>
                    <a:gd name="connsiteX5" fmla="*/ 199603 w 502320"/>
                    <a:gd name="connsiteY5" fmla="*/ 108901 h 180809"/>
                    <a:gd name="connsiteX6" fmla="*/ 199603 w 502320"/>
                    <a:gd name="connsiteY6" fmla="*/ 10636 h 180809"/>
                    <a:gd name="connsiteX7" fmla="*/ 210239 w 502320"/>
                    <a:gd name="connsiteY7" fmla="*/ 0 h 180809"/>
                    <a:gd name="connsiteX8" fmla="*/ 220875 w 502320"/>
                    <a:gd name="connsiteY8" fmla="*/ 10636 h 180809"/>
                    <a:gd name="connsiteX9" fmla="*/ 220875 w 502320"/>
                    <a:gd name="connsiteY9" fmla="*/ 119536 h 180809"/>
                    <a:gd name="connsiteX10" fmla="*/ 210239 w 502320"/>
                    <a:gd name="connsiteY10" fmla="*/ 130172 h 180809"/>
                    <a:gd name="connsiteX11" fmla="*/ 21272 w 502320"/>
                    <a:gd name="connsiteY11" fmla="*/ 130172 h 180809"/>
                    <a:gd name="connsiteX12" fmla="*/ 21272 w 502320"/>
                    <a:gd name="connsiteY12" fmla="*/ 159538 h 180809"/>
                    <a:gd name="connsiteX13" fmla="*/ 481049 w 502320"/>
                    <a:gd name="connsiteY13" fmla="*/ 159538 h 180809"/>
                    <a:gd name="connsiteX14" fmla="*/ 481049 w 502320"/>
                    <a:gd name="connsiteY14" fmla="*/ 127109 h 180809"/>
                    <a:gd name="connsiteX15" fmla="*/ 269268 w 502320"/>
                    <a:gd name="connsiteY15" fmla="*/ 53903 h 180809"/>
                    <a:gd name="connsiteX16" fmla="*/ 262110 w 502320"/>
                    <a:gd name="connsiteY16" fmla="*/ 43852 h 180809"/>
                    <a:gd name="connsiteX17" fmla="*/ 262110 w 502320"/>
                    <a:gd name="connsiteY17" fmla="*/ 21155 h 180809"/>
                    <a:gd name="connsiteX18" fmla="*/ 272746 w 502320"/>
                    <a:gd name="connsiteY18" fmla="*/ 10519 h 180809"/>
                    <a:gd name="connsiteX19" fmla="*/ 283382 w 502320"/>
                    <a:gd name="connsiteY19" fmla="*/ 21155 h 180809"/>
                    <a:gd name="connsiteX20" fmla="*/ 283382 w 502320"/>
                    <a:gd name="connsiteY20" fmla="*/ 36268 h 180809"/>
                    <a:gd name="connsiteX21" fmla="*/ 495163 w 502320"/>
                    <a:gd name="connsiteY21" fmla="*/ 109475 h 180809"/>
                    <a:gd name="connsiteX22" fmla="*/ 502321 w 502320"/>
                    <a:gd name="connsiteY22" fmla="*/ 119526 h 180809"/>
                    <a:gd name="connsiteX23" fmla="*/ 502321 w 502320"/>
                    <a:gd name="connsiteY23" fmla="*/ 170163 h 180809"/>
                    <a:gd name="connsiteX24" fmla="*/ 491685 w 502320"/>
                    <a:gd name="connsiteY24" fmla="*/ 180810 h 180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2320" h="180809">
                      <a:moveTo>
                        <a:pt x="491685" y="180810"/>
                      </a:moveTo>
                      <a:lnTo>
                        <a:pt x="10636" y="180810"/>
                      </a:lnTo>
                      <a:cubicBezTo>
                        <a:pt x="4754" y="180810"/>
                        <a:pt x="0" y="176045"/>
                        <a:pt x="0" y="170174"/>
                      </a:cubicBezTo>
                      <a:lnTo>
                        <a:pt x="0" y="119536"/>
                      </a:lnTo>
                      <a:cubicBezTo>
                        <a:pt x="0" y="113665"/>
                        <a:pt x="4754" y="108901"/>
                        <a:pt x="10636" y="108901"/>
                      </a:cubicBezTo>
                      <a:lnTo>
                        <a:pt x="199603" y="108901"/>
                      </a:lnTo>
                      <a:lnTo>
                        <a:pt x="199603" y="10636"/>
                      </a:lnTo>
                      <a:cubicBezTo>
                        <a:pt x="199603" y="4765"/>
                        <a:pt x="204357" y="0"/>
                        <a:pt x="210239" y="0"/>
                      </a:cubicBezTo>
                      <a:cubicBezTo>
                        <a:pt x="216121" y="0"/>
                        <a:pt x="220875" y="4765"/>
                        <a:pt x="220875" y="10636"/>
                      </a:cubicBezTo>
                      <a:lnTo>
                        <a:pt x="220875" y="119536"/>
                      </a:lnTo>
                      <a:cubicBezTo>
                        <a:pt x="220875" y="125407"/>
                        <a:pt x="216121" y="130172"/>
                        <a:pt x="210239" y="130172"/>
                      </a:cubicBezTo>
                      <a:lnTo>
                        <a:pt x="21272" y="130172"/>
                      </a:lnTo>
                      <a:lnTo>
                        <a:pt x="21272" y="159538"/>
                      </a:lnTo>
                      <a:lnTo>
                        <a:pt x="481049" y="159538"/>
                      </a:lnTo>
                      <a:lnTo>
                        <a:pt x="481049" y="127109"/>
                      </a:lnTo>
                      <a:lnTo>
                        <a:pt x="269268" y="53903"/>
                      </a:lnTo>
                      <a:cubicBezTo>
                        <a:pt x="264992" y="52414"/>
                        <a:pt x="262110" y="48383"/>
                        <a:pt x="262110" y="43852"/>
                      </a:cubicBezTo>
                      <a:lnTo>
                        <a:pt x="262110" y="21155"/>
                      </a:lnTo>
                      <a:cubicBezTo>
                        <a:pt x="262110" y="15284"/>
                        <a:pt x="266864" y="10519"/>
                        <a:pt x="272746" y="10519"/>
                      </a:cubicBezTo>
                      <a:cubicBezTo>
                        <a:pt x="278628" y="10519"/>
                        <a:pt x="283382" y="15284"/>
                        <a:pt x="283382" y="21155"/>
                      </a:cubicBezTo>
                      <a:lnTo>
                        <a:pt x="283382" y="36268"/>
                      </a:lnTo>
                      <a:lnTo>
                        <a:pt x="495163" y="109475"/>
                      </a:lnTo>
                      <a:cubicBezTo>
                        <a:pt x="499439" y="110964"/>
                        <a:pt x="502321" y="114995"/>
                        <a:pt x="502321" y="119526"/>
                      </a:cubicBezTo>
                      <a:lnTo>
                        <a:pt x="502321" y="170163"/>
                      </a:lnTo>
                      <a:cubicBezTo>
                        <a:pt x="502321" y="176045"/>
                        <a:pt x="497556" y="180810"/>
                        <a:pt x="491685" y="180810"/>
                      </a:cubicBezTo>
                      <a:close/>
                    </a:path>
                  </a:pathLst>
                </a:custGeom>
                <a:grpFill/>
                <a:ln w="1063" cap="flat">
                  <a:noFill/>
                  <a:prstDash val="solid"/>
                  <a:miter/>
                </a:ln>
              </p:spPr>
              <p:txBody>
                <a:bodyPr rtlCol="0" anchor="ctr"/>
                <a:lstStyle/>
                <a:p>
                  <a:endParaRPr lang="en-GB" dirty="0"/>
                </a:p>
              </p:txBody>
            </p:sp>
            <p:sp>
              <p:nvSpPr>
                <p:cNvPr id="375" name="Freeform: Shape 374">
                  <a:extLst>
                    <a:ext uri="{FF2B5EF4-FFF2-40B4-BE49-F238E27FC236}">
                      <a16:creationId xmlns:a16="http://schemas.microsoft.com/office/drawing/2014/main" id="{DA2B247F-7AC3-41DF-88E5-83097181C14B}"/>
                    </a:ext>
                  </a:extLst>
                </p:cNvPr>
                <p:cNvSpPr/>
                <p:nvPr/>
              </p:nvSpPr>
              <p:spPr>
                <a:xfrm>
                  <a:off x="6599924" y="1820051"/>
                  <a:ext cx="226878" cy="84457"/>
                </a:xfrm>
                <a:custGeom>
                  <a:avLst/>
                  <a:gdLst>
                    <a:gd name="connsiteX0" fmla="*/ 216240 w 226878"/>
                    <a:gd name="connsiteY0" fmla="*/ 84458 h 84457"/>
                    <a:gd name="connsiteX1" fmla="*/ 213113 w 226878"/>
                    <a:gd name="connsiteY1" fmla="*/ 83990 h 84457"/>
                    <a:gd name="connsiteX2" fmla="*/ 7512 w 226878"/>
                    <a:gd name="connsiteY2" fmla="*/ 20802 h 84457"/>
                    <a:gd name="connsiteX3" fmla="*/ 470 w 226878"/>
                    <a:gd name="connsiteY3" fmla="*/ 7508 h 84457"/>
                    <a:gd name="connsiteX4" fmla="*/ 13765 w 226878"/>
                    <a:gd name="connsiteY4" fmla="*/ 467 h 84457"/>
                    <a:gd name="connsiteX5" fmla="*/ 219367 w 226878"/>
                    <a:gd name="connsiteY5" fmla="*/ 63654 h 84457"/>
                    <a:gd name="connsiteX6" fmla="*/ 226408 w 226878"/>
                    <a:gd name="connsiteY6" fmla="*/ 76949 h 84457"/>
                    <a:gd name="connsiteX7" fmla="*/ 216240 w 226878"/>
                    <a:gd name="connsiteY7" fmla="*/ 84458 h 84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878" h="84457">
                      <a:moveTo>
                        <a:pt x="216240" y="84458"/>
                      </a:moveTo>
                      <a:cubicBezTo>
                        <a:pt x="215208" y="84458"/>
                        <a:pt x="214156" y="84298"/>
                        <a:pt x="213113" y="83990"/>
                      </a:cubicBezTo>
                      <a:lnTo>
                        <a:pt x="7512" y="20802"/>
                      </a:lnTo>
                      <a:cubicBezTo>
                        <a:pt x="1906" y="19069"/>
                        <a:pt x="-1253" y="13123"/>
                        <a:pt x="470" y="7508"/>
                      </a:cubicBezTo>
                      <a:cubicBezTo>
                        <a:pt x="2204" y="1902"/>
                        <a:pt x="8150" y="-1246"/>
                        <a:pt x="13765" y="467"/>
                      </a:cubicBezTo>
                      <a:lnTo>
                        <a:pt x="219367" y="63654"/>
                      </a:lnTo>
                      <a:cubicBezTo>
                        <a:pt x="224972" y="65388"/>
                        <a:pt x="228131" y="71333"/>
                        <a:pt x="226408" y="76949"/>
                      </a:cubicBezTo>
                      <a:cubicBezTo>
                        <a:pt x="224994" y="81512"/>
                        <a:pt x="220792" y="84458"/>
                        <a:pt x="216240" y="84458"/>
                      </a:cubicBezTo>
                      <a:close/>
                    </a:path>
                  </a:pathLst>
                </a:custGeom>
                <a:grpFill/>
                <a:ln w="1063" cap="flat">
                  <a:noFill/>
                  <a:prstDash val="solid"/>
                  <a:miter/>
                </a:ln>
              </p:spPr>
              <p:txBody>
                <a:bodyPr rtlCol="0" anchor="ctr"/>
                <a:lstStyle/>
                <a:p>
                  <a:endParaRPr lang="en-GB" dirty="0"/>
                </a:p>
              </p:txBody>
            </p:sp>
            <p:sp>
              <p:nvSpPr>
                <p:cNvPr id="376" name="Freeform: Shape 375">
                  <a:extLst>
                    <a:ext uri="{FF2B5EF4-FFF2-40B4-BE49-F238E27FC236}">
                      <a16:creationId xmlns:a16="http://schemas.microsoft.com/office/drawing/2014/main" id="{49FC7DE3-A026-4EA1-B8F6-255AC56210D4}"/>
                    </a:ext>
                  </a:extLst>
                </p:cNvPr>
                <p:cNvSpPr/>
                <p:nvPr/>
              </p:nvSpPr>
              <p:spPr>
                <a:xfrm>
                  <a:off x="6585470" y="1854740"/>
                  <a:ext cx="226867" cy="84453"/>
                </a:xfrm>
                <a:custGeom>
                  <a:avLst/>
                  <a:gdLst>
                    <a:gd name="connsiteX0" fmla="*/ 216229 w 226867"/>
                    <a:gd name="connsiteY0" fmla="*/ 84453 h 84453"/>
                    <a:gd name="connsiteX1" fmla="*/ 213102 w 226867"/>
                    <a:gd name="connsiteY1" fmla="*/ 83985 h 84453"/>
                    <a:gd name="connsiteX2" fmla="*/ 7512 w 226867"/>
                    <a:gd name="connsiteY2" fmla="*/ 20798 h 84453"/>
                    <a:gd name="connsiteX3" fmla="*/ 470 w 226867"/>
                    <a:gd name="connsiteY3" fmla="*/ 7503 h 84453"/>
                    <a:gd name="connsiteX4" fmla="*/ 13765 w 226867"/>
                    <a:gd name="connsiteY4" fmla="*/ 462 h 84453"/>
                    <a:gd name="connsiteX5" fmla="*/ 219356 w 226867"/>
                    <a:gd name="connsiteY5" fmla="*/ 63649 h 84453"/>
                    <a:gd name="connsiteX6" fmla="*/ 226397 w 226867"/>
                    <a:gd name="connsiteY6" fmla="*/ 76944 h 84453"/>
                    <a:gd name="connsiteX7" fmla="*/ 216229 w 226867"/>
                    <a:gd name="connsiteY7" fmla="*/ 84453 h 84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6867" h="84453">
                      <a:moveTo>
                        <a:pt x="216229" y="84453"/>
                      </a:moveTo>
                      <a:cubicBezTo>
                        <a:pt x="215198" y="84453"/>
                        <a:pt x="214145" y="84294"/>
                        <a:pt x="213102" y="83985"/>
                      </a:cubicBezTo>
                      <a:lnTo>
                        <a:pt x="7512" y="20798"/>
                      </a:lnTo>
                      <a:cubicBezTo>
                        <a:pt x="1906" y="19064"/>
                        <a:pt x="-1253" y="13118"/>
                        <a:pt x="470" y="7503"/>
                      </a:cubicBezTo>
                      <a:cubicBezTo>
                        <a:pt x="2204" y="1908"/>
                        <a:pt x="8149" y="-1240"/>
                        <a:pt x="13765" y="462"/>
                      </a:cubicBezTo>
                      <a:lnTo>
                        <a:pt x="219356" y="63649"/>
                      </a:lnTo>
                      <a:cubicBezTo>
                        <a:pt x="224961" y="65383"/>
                        <a:pt x="228120" y="71328"/>
                        <a:pt x="226397" y="76944"/>
                      </a:cubicBezTo>
                      <a:cubicBezTo>
                        <a:pt x="224983" y="81507"/>
                        <a:pt x="220782" y="84453"/>
                        <a:pt x="216229" y="84453"/>
                      </a:cubicBezTo>
                      <a:close/>
                    </a:path>
                  </a:pathLst>
                </a:custGeom>
                <a:grpFill/>
                <a:ln w="1063" cap="flat">
                  <a:noFill/>
                  <a:prstDash val="solid"/>
                  <a:miter/>
                </a:ln>
              </p:spPr>
              <p:txBody>
                <a:bodyPr rtlCol="0" anchor="ctr"/>
                <a:lstStyle/>
                <a:p>
                  <a:endParaRPr lang="en-GB" dirty="0"/>
                </a:p>
              </p:txBody>
            </p:sp>
            <p:sp>
              <p:nvSpPr>
                <p:cNvPr id="377" name="Freeform: Shape 376">
                  <a:extLst>
                    <a:ext uri="{FF2B5EF4-FFF2-40B4-BE49-F238E27FC236}">
                      <a16:creationId xmlns:a16="http://schemas.microsoft.com/office/drawing/2014/main" id="{8EF0B4B6-3BA9-4171-BE55-FBDCFD5D20AB}"/>
                    </a:ext>
                  </a:extLst>
                </p:cNvPr>
                <p:cNvSpPr/>
                <p:nvPr/>
              </p:nvSpPr>
              <p:spPr>
                <a:xfrm>
                  <a:off x="6685879" y="1635718"/>
                  <a:ext cx="117614" cy="57594"/>
                </a:xfrm>
                <a:custGeom>
                  <a:avLst/>
                  <a:gdLst>
                    <a:gd name="connsiteX0" fmla="*/ 106982 w 117614"/>
                    <a:gd name="connsiteY0" fmla="*/ 57595 h 57594"/>
                    <a:gd name="connsiteX1" fmla="*/ 103228 w 117614"/>
                    <a:gd name="connsiteY1" fmla="*/ 56904 h 57594"/>
                    <a:gd name="connsiteX2" fmla="*/ 6888 w 117614"/>
                    <a:gd name="connsiteY2" fmla="*/ 20593 h 57594"/>
                    <a:gd name="connsiteX3" fmla="*/ 687 w 117614"/>
                    <a:gd name="connsiteY3" fmla="*/ 6894 h 57594"/>
                    <a:gd name="connsiteX4" fmla="*/ 14386 w 117614"/>
                    <a:gd name="connsiteY4" fmla="*/ 693 h 57594"/>
                    <a:gd name="connsiteX5" fmla="*/ 110726 w 117614"/>
                    <a:gd name="connsiteY5" fmla="*/ 37004 h 57594"/>
                    <a:gd name="connsiteX6" fmla="*/ 116927 w 117614"/>
                    <a:gd name="connsiteY6" fmla="*/ 50703 h 57594"/>
                    <a:gd name="connsiteX7" fmla="*/ 106982 w 117614"/>
                    <a:gd name="connsiteY7" fmla="*/ 57595 h 5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614" h="57594">
                      <a:moveTo>
                        <a:pt x="106982" y="57595"/>
                      </a:moveTo>
                      <a:cubicBezTo>
                        <a:pt x="105738" y="57595"/>
                        <a:pt x="104472" y="57372"/>
                        <a:pt x="103228" y="56904"/>
                      </a:cubicBezTo>
                      <a:lnTo>
                        <a:pt x="6888" y="20593"/>
                      </a:lnTo>
                      <a:cubicBezTo>
                        <a:pt x="1390" y="18519"/>
                        <a:pt x="-1386" y="12393"/>
                        <a:pt x="687" y="6894"/>
                      </a:cubicBezTo>
                      <a:cubicBezTo>
                        <a:pt x="2751" y="1384"/>
                        <a:pt x="8888" y="-1391"/>
                        <a:pt x="14386" y="693"/>
                      </a:cubicBezTo>
                      <a:lnTo>
                        <a:pt x="110726" y="37004"/>
                      </a:lnTo>
                      <a:cubicBezTo>
                        <a:pt x="116225" y="39078"/>
                        <a:pt x="119001" y="45204"/>
                        <a:pt x="116927" y="50703"/>
                      </a:cubicBezTo>
                      <a:cubicBezTo>
                        <a:pt x="115331" y="54968"/>
                        <a:pt x="111279" y="57595"/>
                        <a:pt x="106982" y="57595"/>
                      </a:cubicBezTo>
                      <a:close/>
                    </a:path>
                  </a:pathLst>
                </a:custGeom>
                <a:grpFill/>
                <a:ln w="1063" cap="flat">
                  <a:noFill/>
                  <a:prstDash val="solid"/>
                  <a:miter/>
                </a:ln>
              </p:spPr>
              <p:txBody>
                <a:bodyPr rtlCol="0" anchor="ctr"/>
                <a:lstStyle/>
                <a:p>
                  <a:endParaRPr lang="en-GB" dirty="0"/>
                </a:p>
              </p:txBody>
            </p:sp>
          </p:grpSp>
          <p:grpSp>
            <p:nvGrpSpPr>
              <p:cNvPr id="366" name="Graphic 818">
                <a:extLst>
                  <a:ext uri="{FF2B5EF4-FFF2-40B4-BE49-F238E27FC236}">
                    <a16:creationId xmlns:a16="http://schemas.microsoft.com/office/drawing/2014/main" id="{194A8021-8AE4-446B-8A4E-9C30C7540B63}"/>
                  </a:ext>
                </a:extLst>
              </p:cNvPr>
              <p:cNvGrpSpPr/>
              <p:nvPr/>
            </p:nvGrpSpPr>
            <p:grpSpPr>
              <a:xfrm>
                <a:off x="3671136" y="2569577"/>
                <a:ext cx="242317" cy="283500"/>
                <a:chOff x="6245181" y="1646302"/>
                <a:chExt cx="377942" cy="442175"/>
              </a:xfrm>
              <a:grpFill/>
            </p:grpSpPr>
            <p:sp>
              <p:nvSpPr>
                <p:cNvPr id="367" name="Freeform: Shape 366">
                  <a:extLst>
                    <a:ext uri="{FF2B5EF4-FFF2-40B4-BE49-F238E27FC236}">
                      <a16:creationId xmlns:a16="http://schemas.microsoft.com/office/drawing/2014/main" id="{47859FAF-5EEE-49DB-884F-0CC5AA5481C7}"/>
                    </a:ext>
                  </a:extLst>
                </p:cNvPr>
                <p:cNvSpPr/>
                <p:nvPr/>
              </p:nvSpPr>
              <p:spPr>
                <a:xfrm>
                  <a:off x="6245181" y="1646302"/>
                  <a:ext cx="377942" cy="442175"/>
                </a:xfrm>
                <a:custGeom>
                  <a:avLst/>
                  <a:gdLst>
                    <a:gd name="connsiteX0" fmla="*/ 248111 w 377942"/>
                    <a:gd name="connsiteY0" fmla="*/ 442175 h 442175"/>
                    <a:gd name="connsiteX1" fmla="*/ 24683 w 377942"/>
                    <a:gd name="connsiteY1" fmla="*/ 442175 h 442175"/>
                    <a:gd name="connsiteX2" fmla="*/ 3231 w 377942"/>
                    <a:gd name="connsiteY2" fmla="*/ 429901 h 442175"/>
                    <a:gd name="connsiteX3" fmla="*/ 3231 w 377942"/>
                    <a:gd name="connsiteY3" fmla="*/ 406013 h 442175"/>
                    <a:gd name="connsiteX4" fmla="*/ 151388 w 377942"/>
                    <a:gd name="connsiteY4" fmla="*/ 149455 h 442175"/>
                    <a:gd name="connsiteX5" fmla="*/ 151388 w 377942"/>
                    <a:gd name="connsiteY5" fmla="*/ 10636 h 442175"/>
                    <a:gd name="connsiteX6" fmla="*/ 162024 w 377942"/>
                    <a:gd name="connsiteY6" fmla="*/ 0 h 442175"/>
                    <a:gd name="connsiteX7" fmla="*/ 260172 w 377942"/>
                    <a:gd name="connsiteY7" fmla="*/ 0 h 442175"/>
                    <a:gd name="connsiteX8" fmla="*/ 270808 w 377942"/>
                    <a:gd name="connsiteY8" fmla="*/ 10636 h 442175"/>
                    <a:gd name="connsiteX9" fmla="*/ 270808 w 377942"/>
                    <a:gd name="connsiteY9" fmla="*/ 149444 h 442175"/>
                    <a:gd name="connsiteX10" fmla="*/ 376507 w 377942"/>
                    <a:gd name="connsiteY10" fmla="*/ 331945 h 442175"/>
                    <a:gd name="connsiteX11" fmla="*/ 372635 w 377942"/>
                    <a:gd name="connsiteY11" fmla="*/ 346474 h 442175"/>
                    <a:gd name="connsiteX12" fmla="*/ 358107 w 377942"/>
                    <a:gd name="connsiteY12" fmla="*/ 342602 h 442175"/>
                    <a:gd name="connsiteX13" fmla="*/ 250982 w 377942"/>
                    <a:gd name="connsiteY13" fmla="*/ 157634 h 442175"/>
                    <a:gd name="connsiteX14" fmla="*/ 249546 w 377942"/>
                    <a:gd name="connsiteY14" fmla="*/ 152305 h 442175"/>
                    <a:gd name="connsiteX15" fmla="*/ 249546 w 377942"/>
                    <a:gd name="connsiteY15" fmla="*/ 21272 h 442175"/>
                    <a:gd name="connsiteX16" fmla="*/ 172671 w 377942"/>
                    <a:gd name="connsiteY16" fmla="*/ 21272 h 442175"/>
                    <a:gd name="connsiteX17" fmla="*/ 172671 w 377942"/>
                    <a:gd name="connsiteY17" fmla="*/ 152305 h 442175"/>
                    <a:gd name="connsiteX18" fmla="*/ 171245 w 377942"/>
                    <a:gd name="connsiteY18" fmla="*/ 157623 h 442175"/>
                    <a:gd name="connsiteX19" fmla="*/ 21673 w 377942"/>
                    <a:gd name="connsiteY19" fmla="*/ 416649 h 442175"/>
                    <a:gd name="connsiteX20" fmla="*/ 21673 w 377942"/>
                    <a:gd name="connsiteY20" fmla="*/ 419265 h 442175"/>
                    <a:gd name="connsiteX21" fmla="*/ 24694 w 377942"/>
                    <a:gd name="connsiteY21" fmla="*/ 420903 h 442175"/>
                    <a:gd name="connsiteX22" fmla="*/ 248121 w 377942"/>
                    <a:gd name="connsiteY22" fmla="*/ 420903 h 442175"/>
                    <a:gd name="connsiteX23" fmla="*/ 258757 w 377942"/>
                    <a:gd name="connsiteY23" fmla="*/ 431539 h 442175"/>
                    <a:gd name="connsiteX24" fmla="*/ 248111 w 377942"/>
                    <a:gd name="connsiteY24" fmla="*/ 442175 h 44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7942" h="442175">
                      <a:moveTo>
                        <a:pt x="248111" y="442175"/>
                      </a:moveTo>
                      <a:lnTo>
                        <a:pt x="24683" y="442175"/>
                      </a:lnTo>
                      <a:cubicBezTo>
                        <a:pt x="15685" y="442175"/>
                        <a:pt x="7677" y="437580"/>
                        <a:pt x="3231" y="429901"/>
                      </a:cubicBezTo>
                      <a:cubicBezTo>
                        <a:pt x="-1077" y="422424"/>
                        <a:pt x="-1077" y="413501"/>
                        <a:pt x="3231" y="406013"/>
                      </a:cubicBezTo>
                      <a:lnTo>
                        <a:pt x="151388" y="149455"/>
                      </a:lnTo>
                      <a:lnTo>
                        <a:pt x="151388" y="10636"/>
                      </a:lnTo>
                      <a:cubicBezTo>
                        <a:pt x="151388" y="4765"/>
                        <a:pt x="156142" y="0"/>
                        <a:pt x="162024" y="0"/>
                      </a:cubicBezTo>
                      <a:lnTo>
                        <a:pt x="260172" y="0"/>
                      </a:lnTo>
                      <a:cubicBezTo>
                        <a:pt x="266053" y="0"/>
                        <a:pt x="270808" y="4765"/>
                        <a:pt x="270808" y="10636"/>
                      </a:cubicBezTo>
                      <a:lnTo>
                        <a:pt x="270808" y="149444"/>
                      </a:lnTo>
                      <a:lnTo>
                        <a:pt x="376507" y="331945"/>
                      </a:lnTo>
                      <a:cubicBezTo>
                        <a:pt x="379453" y="337029"/>
                        <a:pt x="377719" y="343528"/>
                        <a:pt x="372635" y="346474"/>
                      </a:cubicBezTo>
                      <a:cubicBezTo>
                        <a:pt x="367583" y="349430"/>
                        <a:pt x="361053" y="347697"/>
                        <a:pt x="358107" y="342602"/>
                      </a:cubicBezTo>
                      <a:lnTo>
                        <a:pt x="250982" y="157634"/>
                      </a:lnTo>
                      <a:cubicBezTo>
                        <a:pt x="250046" y="156017"/>
                        <a:pt x="249546" y="154177"/>
                        <a:pt x="249546" y="152305"/>
                      </a:cubicBezTo>
                      <a:lnTo>
                        <a:pt x="249546" y="21272"/>
                      </a:lnTo>
                      <a:lnTo>
                        <a:pt x="172671" y="21272"/>
                      </a:lnTo>
                      <a:lnTo>
                        <a:pt x="172671" y="152305"/>
                      </a:lnTo>
                      <a:cubicBezTo>
                        <a:pt x="172671" y="154177"/>
                        <a:pt x="172181" y="156007"/>
                        <a:pt x="171245" y="157623"/>
                      </a:cubicBezTo>
                      <a:lnTo>
                        <a:pt x="21673" y="416649"/>
                      </a:lnTo>
                      <a:cubicBezTo>
                        <a:pt x="21173" y="417521"/>
                        <a:pt x="21173" y="418393"/>
                        <a:pt x="21673" y="419265"/>
                      </a:cubicBezTo>
                      <a:cubicBezTo>
                        <a:pt x="21950" y="419755"/>
                        <a:pt x="22811" y="420903"/>
                        <a:pt x="24694" y="420903"/>
                      </a:cubicBezTo>
                      <a:lnTo>
                        <a:pt x="248121" y="420903"/>
                      </a:lnTo>
                      <a:cubicBezTo>
                        <a:pt x="254003" y="420903"/>
                        <a:pt x="258757" y="425668"/>
                        <a:pt x="258757" y="431539"/>
                      </a:cubicBezTo>
                      <a:cubicBezTo>
                        <a:pt x="258747" y="437410"/>
                        <a:pt x="253992" y="442175"/>
                        <a:pt x="248111" y="442175"/>
                      </a:cubicBezTo>
                      <a:close/>
                    </a:path>
                  </a:pathLst>
                </a:custGeom>
                <a:grpFill/>
                <a:ln w="1063" cap="flat">
                  <a:noFill/>
                  <a:prstDash val="solid"/>
                  <a:miter/>
                </a:ln>
              </p:spPr>
              <p:txBody>
                <a:bodyPr rtlCol="0" anchor="ctr"/>
                <a:lstStyle/>
                <a:p>
                  <a:endParaRPr lang="en-GB" dirty="0"/>
                </a:p>
              </p:txBody>
            </p:sp>
            <p:sp>
              <p:nvSpPr>
                <p:cNvPr id="368" name="Freeform: Shape 367">
                  <a:extLst>
                    <a:ext uri="{FF2B5EF4-FFF2-40B4-BE49-F238E27FC236}">
                      <a16:creationId xmlns:a16="http://schemas.microsoft.com/office/drawing/2014/main" id="{0375E2FF-F20C-4E42-81EA-466900A23CD7}"/>
                    </a:ext>
                  </a:extLst>
                </p:cNvPr>
                <p:cNvSpPr/>
                <p:nvPr/>
              </p:nvSpPr>
              <p:spPr>
                <a:xfrm>
                  <a:off x="6364375" y="1646302"/>
                  <a:ext cx="183798" cy="21271"/>
                </a:xfrm>
                <a:custGeom>
                  <a:avLst/>
                  <a:gdLst>
                    <a:gd name="connsiteX0" fmla="*/ 173162 w 183798"/>
                    <a:gd name="connsiteY0" fmla="*/ 21272 h 21271"/>
                    <a:gd name="connsiteX1" fmla="*/ 10636 w 183798"/>
                    <a:gd name="connsiteY1" fmla="*/ 21272 h 21271"/>
                    <a:gd name="connsiteX2" fmla="*/ 0 w 183798"/>
                    <a:gd name="connsiteY2" fmla="*/ 10636 h 21271"/>
                    <a:gd name="connsiteX3" fmla="*/ 10636 w 183798"/>
                    <a:gd name="connsiteY3" fmla="*/ 0 h 21271"/>
                    <a:gd name="connsiteX4" fmla="*/ 173162 w 183798"/>
                    <a:gd name="connsiteY4" fmla="*/ 0 h 21271"/>
                    <a:gd name="connsiteX5" fmla="*/ 183798 w 183798"/>
                    <a:gd name="connsiteY5" fmla="*/ 10636 h 21271"/>
                    <a:gd name="connsiteX6" fmla="*/ 173162 w 183798"/>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798" h="21271">
                      <a:moveTo>
                        <a:pt x="173162" y="21272"/>
                      </a:moveTo>
                      <a:lnTo>
                        <a:pt x="10636" y="21272"/>
                      </a:lnTo>
                      <a:cubicBezTo>
                        <a:pt x="4754" y="21272"/>
                        <a:pt x="0" y="16507"/>
                        <a:pt x="0" y="10636"/>
                      </a:cubicBezTo>
                      <a:cubicBezTo>
                        <a:pt x="0" y="4765"/>
                        <a:pt x="4754" y="0"/>
                        <a:pt x="10636" y="0"/>
                      </a:cubicBezTo>
                      <a:lnTo>
                        <a:pt x="173162" y="0"/>
                      </a:lnTo>
                      <a:cubicBezTo>
                        <a:pt x="179044" y="0"/>
                        <a:pt x="183798" y="4765"/>
                        <a:pt x="183798" y="10636"/>
                      </a:cubicBezTo>
                      <a:cubicBezTo>
                        <a:pt x="183798" y="16507"/>
                        <a:pt x="179044" y="21272"/>
                        <a:pt x="173162" y="21272"/>
                      </a:cubicBezTo>
                      <a:close/>
                    </a:path>
                  </a:pathLst>
                </a:custGeom>
                <a:grpFill/>
                <a:ln w="1063" cap="flat">
                  <a:noFill/>
                  <a:prstDash val="solid"/>
                  <a:miter/>
                </a:ln>
              </p:spPr>
              <p:txBody>
                <a:bodyPr rtlCol="0" anchor="ctr"/>
                <a:lstStyle/>
                <a:p>
                  <a:endParaRPr lang="en-GB" dirty="0"/>
                </a:p>
              </p:txBody>
            </p:sp>
          </p:grpSp>
        </p:grpSp>
      </p:grpSp>
      <p:grpSp>
        <p:nvGrpSpPr>
          <p:cNvPr id="383" name="Group 382">
            <a:extLst>
              <a:ext uri="{FF2B5EF4-FFF2-40B4-BE49-F238E27FC236}">
                <a16:creationId xmlns:a16="http://schemas.microsoft.com/office/drawing/2014/main" id="{CA57CA7C-5F05-478E-B224-28FC78566E1D}"/>
              </a:ext>
            </a:extLst>
          </p:cNvPr>
          <p:cNvGrpSpPr/>
          <p:nvPr/>
        </p:nvGrpSpPr>
        <p:grpSpPr>
          <a:xfrm>
            <a:off x="4933683" y="1568967"/>
            <a:ext cx="559171" cy="422788"/>
            <a:chOff x="2600731" y="2418792"/>
            <a:chExt cx="559171" cy="422788"/>
          </a:xfrm>
        </p:grpSpPr>
        <p:grpSp>
          <p:nvGrpSpPr>
            <p:cNvPr id="384" name="Group 383">
              <a:extLst>
                <a:ext uri="{FF2B5EF4-FFF2-40B4-BE49-F238E27FC236}">
                  <a16:creationId xmlns:a16="http://schemas.microsoft.com/office/drawing/2014/main" id="{6EA40176-00F8-4325-A31F-E5489516E56A}"/>
                </a:ext>
              </a:extLst>
            </p:cNvPr>
            <p:cNvGrpSpPr/>
            <p:nvPr/>
          </p:nvGrpSpPr>
          <p:grpSpPr>
            <a:xfrm>
              <a:off x="2600731" y="2418792"/>
              <a:ext cx="559171" cy="422788"/>
              <a:chOff x="2600731" y="2418792"/>
              <a:chExt cx="559171" cy="422788"/>
            </a:xfrm>
          </p:grpSpPr>
          <p:sp>
            <p:nvSpPr>
              <p:cNvPr id="393" name="Freeform: Shape 392">
                <a:extLst>
                  <a:ext uri="{FF2B5EF4-FFF2-40B4-BE49-F238E27FC236}">
                    <a16:creationId xmlns:a16="http://schemas.microsoft.com/office/drawing/2014/main" id="{24B8637C-408E-4B43-AA49-2698479E97D1}"/>
                  </a:ext>
                </a:extLst>
              </p:cNvPr>
              <p:cNvSpPr/>
              <p:nvPr/>
            </p:nvSpPr>
            <p:spPr>
              <a:xfrm>
                <a:off x="2600731" y="2418792"/>
                <a:ext cx="559171" cy="13638"/>
              </a:xfrm>
              <a:custGeom>
                <a:avLst/>
                <a:gdLst>
                  <a:gd name="connsiteX0" fmla="*/ 861504 w 872140"/>
                  <a:gd name="connsiteY0" fmla="*/ 21272 h 21271"/>
                  <a:gd name="connsiteX1" fmla="*/ 10636 w 872140"/>
                  <a:gd name="connsiteY1" fmla="*/ 21272 h 21271"/>
                  <a:gd name="connsiteX2" fmla="*/ 0 w 872140"/>
                  <a:gd name="connsiteY2" fmla="*/ 10636 h 21271"/>
                  <a:gd name="connsiteX3" fmla="*/ 10636 w 872140"/>
                  <a:gd name="connsiteY3" fmla="*/ 0 h 21271"/>
                  <a:gd name="connsiteX4" fmla="*/ 861504 w 872140"/>
                  <a:gd name="connsiteY4" fmla="*/ 0 h 21271"/>
                  <a:gd name="connsiteX5" fmla="*/ 872140 w 872140"/>
                  <a:gd name="connsiteY5" fmla="*/ 10636 h 21271"/>
                  <a:gd name="connsiteX6" fmla="*/ 861504 w 872140"/>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140" h="21271">
                    <a:moveTo>
                      <a:pt x="861504" y="21272"/>
                    </a:moveTo>
                    <a:lnTo>
                      <a:pt x="10636" y="21272"/>
                    </a:lnTo>
                    <a:cubicBezTo>
                      <a:pt x="4754" y="21272"/>
                      <a:pt x="0" y="16507"/>
                      <a:pt x="0" y="10636"/>
                    </a:cubicBezTo>
                    <a:cubicBezTo>
                      <a:pt x="0" y="4765"/>
                      <a:pt x="4754" y="0"/>
                      <a:pt x="10636" y="0"/>
                    </a:cubicBezTo>
                    <a:lnTo>
                      <a:pt x="861504" y="0"/>
                    </a:lnTo>
                    <a:cubicBezTo>
                      <a:pt x="867386" y="0"/>
                      <a:pt x="872140" y="4765"/>
                      <a:pt x="872140" y="10636"/>
                    </a:cubicBezTo>
                    <a:cubicBezTo>
                      <a:pt x="872140" y="16507"/>
                      <a:pt x="867375" y="21272"/>
                      <a:pt x="861504" y="21272"/>
                    </a:cubicBezTo>
                    <a:close/>
                  </a:path>
                </a:pathLst>
              </a:custGeom>
              <a:solidFill>
                <a:schemeClr val="tx2"/>
              </a:solidFill>
              <a:ln w="1063" cap="flat">
                <a:noFill/>
                <a:prstDash val="solid"/>
                <a:miter/>
              </a:ln>
            </p:spPr>
            <p:txBody>
              <a:bodyPr rtlCol="0" anchor="ctr"/>
              <a:lstStyle/>
              <a:p>
                <a:endParaRPr lang="en-GB" dirty="0"/>
              </a:p>
            </p:txBody>
          </p:sp>
          <p:sp>
            <p:nvSpPr>
              <p:cNvPr id="394" name="Freeform: Shape 393">
                <a:extLst>
                  <a:ext uri="{FF2B5EF4-FFF2-40B4-BE49-F238E27FC236}">
                    <a16:creationId xmlns:a16="http://schemas.microsoft.com/office/drawing/2014/main" id="{090721F4-5178-463F-B7F6-B5AFEE061E6E}"/>
                  </a:ext>
                </a:extLst>
              </p:cNvPr>
              <p:cNvSpPr/>
              <p:nvPr/>
            </p:nvSpPr>
            <p:spPr>
              <a:xfrm>
                <a:off x="2600731" y="2827942"/>
                <a:ext cx="559171" cy="13638"/>
              </a:xfrm>
              <a:custGeom>
                <a:avLst/>
                <a:gdLst>
                  <a:gd name="connsiteX0" fmla="*/ 861504 w 872140"/>
                  <a:gd name="connsiteY0" fmla="*/ 21272 h 21271"/>
                  <a:gd name="connsiteX1" fmla="*/ 10636 w 872140"/>
                  <a:gd name="connsiteY1" fmla="*/ 21272 h 21271"/>
                  <a:gd name="connsiteX2" fmla="*/ 0 w 872140"/>
                  <a:gd name="connsiteY2" fmla="*/ 10636 h 21271"/>
                  <a:gd name="connsiteX3" fmla="*/ 10636 w 872140"/>
                  <a:gd name="connsiteY3" fmla="*/ 0 h 21271"/>
                  <a:gd name="connsiteX4" fmla="*/ 861504 w 872140"/>
                  <a:gd name="connsiteY4" fmla="*/ 0 h 21271"/>
                  <a:gd name="connsiteX5" fmla="*/ 872140 w 872140"/>
                  <a:gd name="connsiteY5" fmla="*/ 10636 h 21271"/>
                  <a:gd name="connsiteX6" fmla="*/ 861504 w 872140"/>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72140" h="21271">
                    <a:moveTo>
                      <a:pt x="861504" y="21272"/>
                    </a:moveTo>
                    <a:lnTo>
                      <a:pt x="10636" y="21272"/>
                    </a:lnTo>
                    <a:cubicBezTo>
                      <a:pt x="4754" y="21272"/>
                      <a:pt x="0" y="16507"/>
                      <a:pt x="0" y="10636"/>
                    </a:cubicBezTo>
                    <a:cubicBezTo>
                      <a:pt x="0" y="4765"/>
                      <a:pt x="4754" y="0"/>
                      <a:pt x="10636" y="0"/>
                    </a:cubicBezTo>
                    <a:lnTo>
                      <a:pt x="861504" y="0"/>
                    </a:lnTo>
                    <a:cubicBezTo>
                      <a:pt x="867386" y="0"/>
                      <a:pt x="872140" y="4765"/>
                      <a:pt x="872140" y="10636"/>
                    </a:cubicBezTo>
                    <a:cubicBezTo>
                      <a:pt x="872140" y="16507"/>
                      <a:pt x="867375" y="21272"/>
                      <a:pt x="861504" y="21272"/>
                    </a:cubicBezTo>
                    <a:close/>
                  </a:path>
                </a:pathLst>
              </a:custGeom>
              <a:solidFill>
                <a:schemeClr val="tx2"/>
              </a:solidFill>
              <a:ln w="1063" cap="flat">
                <a:noFill/>
                <a:prstDash val="solid"/>
                <a:miter/>
              </a:ln>
            </p:spPr>
            <p:txBody>
              <a:bodyPr rtlCol="0" anchor="ctr"/>
              <a:lstStyle/>
              <a:p>
                <a:endParaRPr lang="en-GB" dirty="0"/>
              </a:p>
            </p:txBody>
          </p:sp>
          <p:sp>
            <p:nvSpPr>
              <p:cNvPr id="395" name="Freeform: Shape 394">
                <a:extLst>
                  <a:ext uri="{FF2B5EF4-FFF2-40B4-BE49-F238E27FC236}">
                    <a16:creationId xmlns:a16="http://schemas.microsoft.com/office/drawing/2014/main" id="{F7537636-0EAE-4F23-B064-5BD1E04452BC}"/>
                  </a:ext>
                </a:extLst>
              </p:cNvPr>
              <p:cNvSpPr/>
              <p:nvPr/>
            </p:nvSpPr>
            <p:spPr>
              <a:xfrm>
                <a:off x="2614370" y="2446069"/>
                <a:ext cx="531894" cy="368235"/>
              </a:xfrm>
              <a:custGeom>
                <a:avLst/>
                <a:gdLst>
                  <a:gd name="connsiteX0" fmla="*/ 818961 w 829596"/>
                  <a:gd name="connsiteY0" fmla="*/ 574336 h 574336"/>
                  <a:gd name="connsiteX1" fmla="*/ 10636 w 829596"/>
                  <a:gd name="connsiteY1" fmla="*/ 574336 h 574336"/>
                  <a:gd name="connsiteX2" fmla="*/ 0 w 829596"/>
                  <a:gd name="connsiteY2" fmla="*/ 563700 h 574336"/>
                  <a:gd name="connsiteX3" fmla="*/ 0 w 829596"/>
                  <a:gd name="connsiteY3" fmla="*/ 10636 h 574336"/>
                  <a:gd name="connsiteX4" fmla="*/ 10636 w 829596"/>
                  <a:gd name="connsiteY4" fmla="*/ 0 h 574336"/>
                  <a:gd name="connsiteX5" fmla="*/ 818961 w 829596"/>
                  <a:gd name="connsiteY5" fmla="*/ 0 h 574336"/>
                  <a:gd name="connsiteX6" fmla="*/ 829597 w 829596"/>
                  <a:gd name="connsiteY6" fmla="*/ 10636 h 574336"/>
                  <a:gd name="connsiteX7" fmla="*/ 829597 w 829596"/>
                  <a:gd name="connsiteY7" fmla="*/ 563700 h 574336"/>
                  <a:gd name="connsiteX8" fmla="*/ 818961 w 829596"/>
                  <a:gd name="connsiteY8" fmla="*/ 574336 h 574336"/>
                  <a:gd name="connsiteX9" fmla="*/ 21272 w 829596"/>
                  <a:gd name="connsiteY9" fmla="*/ 553065 h 574336"/>
                  <a:gd name="connsiteX10" fmla="*/ 808325 w 829596"/>
                  <a:gd name="connsiteY10" fmla="*/ 553065 h 574336"/>
                  <a:gd name="connsiteX11" fmla="*/ 808325 w 829596"/>
                  <a:gd name="connsiteY11" fmla="*/ 21272 h 574336"/>
                  <a:gd name="connsiteX12" fmla="*/ 21272 w 829596"/>
                  <a:gd name="connsiteY12" fmla="*/ 21272 h 574336"/>
                  <a:gd name="connsiteX13" fmla="*/ 21272 w 829596"/>
                  <a:gd name="connsiteY13" fmla="*/ 553065 h 57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9596" h="574336">
                    <a:moveTo>
                      <a:pt x="818961" y="574336"/>
                    </a:moveTo>
                    <a:lnTo>
                      <a:pt x="10636" y="574336"/>
                    </a:lnTo>
                    <a:cubicBezTo>
                      <a:pt x="4754" y="574336"/>
                      <a:pt x="0" y="569571"/>
                      <a:pt x="0" y="563700"/>
                    </a:cubicBezTo>
                    <a:lnTo>
                      <a:pt x="0" y="10636"/>
                    </a:lnTo>
                    <a:cubicBezTo>
                      <a:pt x="0" y="4765"/>
                      <a:pt x="4754" y="0"/>
                      <a:pt x="10636" y="0"/>
                    </a:cubicBezTo>
                    <a:lnTo>
                      <a:pt x="818961" y="0"/>
                    </a:lnTo>
                    <a:cubicBezTo>
                      <a:pt x="824843" y="0"/>
                      <a:pt x="829597" y="4765"/>
                      <a:pt x="829597" y="10636"/>
                    </a:cubicBezTo>
                    <a:lnTo>
                      <a:pt x="829597" y="563700"/>
                    </a:lnTo>
                    <a:cubicBezTo>
                      <a:pt x="829597" y="569571"/>
                      <a:pt x="824832" y="574336"/>
                      <a:pt x="818961" y="574336"/>
                    </a:cubicBezTo>
                    <a:close/>
                    <a:moveTo>
                      <a:pt x="21272" y="553065"/>
                    </a:moveTo>
                    <a:lnTo>
                      <a:pt x="808325" y="553065"/>
                    </a:lnTo>
                    <a:lnTo>
                      <a:pt x="808325" y="21272"/>
                    </a:lnTo>
                    <a:lnTo>
                      <a:pt x="21272" y="21272"/>
                    </a:lnTo>
                    <a:lnTo>
                      <a:pt x="21272" y="553065"/>
                    </a:lnTo>
                    <a:close/>
                  </a:path>
                </a:pathLst>
              </a:custGeom>
              <a:solidFill>
                <a:schemeClr val="tx2"/>
              </a:solidFill>
              <a:ln w="1063" cap="flat">
                <a:noFill/>
                <a:prstDash val="solid"/>
                <a:miter/>
              </a:ln>
            </p:spPr>
            <p:txBody>
              <a:bodyPr rtlCol="0" anchor="ctr"/>
              <a:lstStyle/>
              <a:p>
                <a:endParaRPr lang="en-GB" dirty="0"/>
              </a:p>
            </p:txBody>
          </p:sp>
          <p:sp>
            <p:nvSpPr>
              <p:cNvPr id="396" name="Freeform: Shape 395">
                <a:extLst>
                  <a:ext uri="{FF2B5EF4-FFF2-40B4-BE49-F238E27FC236}">
                    <a16:creationId xmlns:a16="http://schemas.microsoft.com/office/drawing/2014/main" id="{11F9563A-868F-428B-A42D-72CDB1EBBBF3}"/>
                  </a:ext>
                </a:extLst>
              </p:cNvPr>
              <p:cNvSpPr/>
              <p:nvPr/>
            </p:nvSpPr>
            <p:spPr>
              <a:xfrm>
                <a:off x="2873497" y="2452888"/>
                <a:ext cx="13638" cy="354596"/>
              </a:xfrm>
              <a:custGeom>
                <a:avLst/>
                <a:gdLst>
                  <a:gd name="connsiteX0" fmla="*/ 0 w 21271"/>
                  <a:gd name="connsiteY0" fmla="*/ 0 h 553064"/>
                  <a:gd name="connsiteX1" fmla="*/ 21272 w 21271"/>
                  <a:gd name="connsiteY1" fmla="*/ 0 h 553064"/>
                  <a:gd name="connsiteX2" fmla="*/ 21272 w 21271"/>
                  <a:gd name="connsiteY2" fmla="*/ 553065 h 553064"/>
                  <a:gd name="connsiteX3" fmla="*/ 0 w 21271"/>
                  <a:gd name="connsiteY3" fmla="*/ 553065 h 553064"/>
                </a:gdLst>
                <a:ahLst/>
                <a:cxnLst>
                  <a:cxn ang="0">
                    <a:pos x="connsiteX0" y="connsiteY0"/>
                  </a:cxn>
                  <a:cxn ang="0">
                    <a:pos x="connsiteX1" y="connsiteY1"/>
                  </a:cxn>
                  <a:cxn ang="0">
                    <a:pos x="connsiteX2" y="connsiteY2"/>
                  </a:cxn>
                  <a:cxn ang="0">
                    <a:pos x="connsiteX3" y="connsiteY3"/>
                  </a:cxn>
                </a:cxnLst>
                <a:rect l="l" t="t" r="r" b="b"/>
                <a:pathLst>
                  <a:path w="21271" h="553064">
                    <a:moveTo>
                      <a:pt x="0" y="0"/>
                    </a:moveTo>
                    <a:lnTo>
                      <a:pt x="21272" y="0"/>
                    </a:lnTo>
                    <a:lnTo>
                      <a:pt x="21272" y="553065"/>
                    </a:lnTo>
                    <a:lnTo>
                      <a:pt x="0" y="553065"/>
                    </a:lnTo>
                    <a:close/>
                  </a:path>
                </a:pathLst>
              </a:custGeom>
              <a:solidFill>
                <a:schemeClr val="tx2"/>
              </a:solidFill>
              <a:ln w="1063" cap="flat">
                <a:noFill/>
                <a:prstDash val="solid"/>
                <a:miter/>
              </a:ln>
            </p:spPr>
            <p:txBody>
              <a:bodyPr rtlCol="0" anchor="ctr"/>
              <a:lstStyle/>
              <a:p>
                <a:endParaRPr lang="en-GB" dirty="0"/>
              </a:p>
            </p:txBody>
          </p:sp>
          <p:sp>
            <p:nvSpPr>
              <p:cNvPr id="397" name="Freeform: Shape 396">
                <a:extLst>
                  <a:ext uri="{FF2B5EF4-FFF2-40B4-BE49-F238E27FC236}">
                    <a16:creationId xmlns:a16="http://schemas.microsoft.com/office/drawing/2014/main" id="{211499B9-B4BC-4E51-AB4C-907A3A780E12}"/>
                  </a:ext>
                </a:extLst>
              </p:cNvPr>
              <p:cNvSpPr/>
              <p:nvPr/>
            </p:nvSpPr>
            <p:spPr>
              <a:xfrm>
                <a:off x="2880903" y="2623367"/>
                <a:ext cx="258541" cy="13638"/>
              </a:xfrm>
              <a:custGeom>
                <a:avLst/>
                <a:gdLst>
                  <a:gd name="connsiteX0" fmla="*/ 0 w 403247"/>
                  <a:gd name="connsiteY0" fmla="*/ 0 h 21271"/>
                  <a:gd name="connsiteX1" fmla="*/ 403248 w 403247"/>
                  <a:gd name="connsiteY1" fmla="*/ 0 h 21271"/>
                  <a:gd name="connsiteX2" fmla="*/ 403248 w 403247"/>
                  <a:gd name="connsiteY2" fmla="*/ 21272 h 21271"/>
                  <a:gd name="connsiteX3" fmla="*/ 0 w 403247"/>
                  <a:gd name="connsiteY3" fmla="*/ 21272 h 21271"/>
                </a:gdLst>
                <a:ahLst/>
                <a:cxnLst>
                  <a:cxn ang="0">
                    <a:pos x="connsiteX0" y="connsiteY0"/>
                  </a:cxn>
                  <a:cxn ang="0">
                    <a:pos x="connsiteX1" y="connsiteY1"/>
                  </a:cxn>
                  <a:cxn ang="0">
                    <a:pos x="connsiteX2" y="connsiteY2"/>
                  </a:cxn>
                  <a:cxn ang="0">
                    <a:pos x="connsiteX3" y="connsiteY3"/>
                  </a:cxn>
                </a:cxnLst>
                <a:rect l="l" t="t" r="r" b="b"/>
                <a:pathLst>
                  <a:path w="403247" h="21271">
                    <a:moveTo>
                      <a:pt x="0" y="0"/>
                    </a:moveTo>
                    <a:lnTo>
                      <a:pt x="403248" y="0"/>
                    </a:lnTo>
                    <a:lnTo>
                      <a:pt x="403248" y="21272"/>
                    </a:lnTo>
                    <a:lnTo>
                      <a:pt x="0" y="21272"/>
                    </a:lnTo>
                    <a:close/>
                  </a:path>
                </a:pathLst>
              </a:custGeom>
              <a:solidFill>
                <a:schemeClr val="tx2"/>
              </a:solidFill>
              <a:ln w="1063" cap="flat">
                <a:noFill/>
                <a:prstDash val="solid"/>
                <a:miter/>
              </a:ln>
            </p:spPr>
            <p:txBody>
              <a:bodyPr rtlCol="0" anchor="ctr"/>
              <a:lstStyle/>
              <a:p>
                <a:endParaRPr lang="en-GB" dirty="0"/>
              </a:p>
            </p:txBody>
          </p:sp>
        </p:grpSp>
        <p:grpSp>
          <p:nvGrpSpPr>
            <p:cNvPr id="385" name="Group 384">
              <a:extLst>
                <a:ext uri="{FF2B5EF4-FFF2-40B4-BE49-F238E27FC236}">
                  <a16:creationId xmlns:a16="http://schemas.microsoft.com/office/drawing/2014/main" id="{1CDC28CF-B104-485E-AF22-FF54811BF54B}"/>
                </a:ext>
              </a:extLst>
            </p:cNvPr>
            <p:cNvGrpSpPr/>
            <p:nvPr/>
          </p:nvGrpSpPr>
          <p:grpSpPr>
            <a:xfrm>
              <a:off x="2644069" y="2483363"/>
              <a:ext cx="459464" cy="300752"/>
              <a:chOff x="2644069" y="2483363"/>
              <a:chExt cx="459464" cy="300752"/>
            </a:xfrm>
          </p:grpSpPr>
          <p:sp>
            <p:nvSpPr>
              <p:cNvPr id="386" name="Freeform: Shape 385">
                <a:extLst>
                  <a:ext uri="{FF2B5EF4-FFF2-40B4-BE49-F238E27FC236}">
                    <a16:creationId xmlns:a16="http://schemas.microsoft.com/office/drawing/2014/main" id="{AA20584D-FF01-4D63-8E69-908FEA60E5FC}"/>
                  </a:ext>
                </a:extLst>
              </p:cNvPr>
              <p:cNvSpPr/>
              <p:nvPr/>
            </p:nvSpPr>
            <p:spPr>
              <a:xfrm>
                <a:off x="2900895" y="2483363"/>
                <a:ext cx="202638" cy="119580"/>
              </a:xfrm>
              <a:custGeom>
                <a:avLst/>
                <a:gdLst>
                  <a:gd name="connsiteX0" fmla="*/ 121995 w 316055"/>
                  <a:gd name="connsiteY0" fmla="*/ 186509 h 186509"/>
                  <a:gd name="connsiteX1" fmla="*/ 111742 w 316055"/>
                  <a:gd name="connsiteY1" fmla="*/ 178703 h 186509"/>
                  <a:gd name="connsiteX2" fmla="*/ 95767 w 316055"/>
                  <a:gd name="connsiteY2" fmla="*/ 118982 h 186509"/>
                  <a:gd name="connsiteX3" fmla="*/ 11340 w 316055"/>
                  <a:gd name="connsiteY3" fmla="*/ 148284 h 186509"/>
                  <a:gd name="connsiteX4" fmla="*/ 23 w 316055"/>
                  <a:gd name="connsiteY4" fmla="*/ 138382 h 186509"/>
                  <a:gd name="connsiteX5" fmla="*/ 9936 w 316055"/>
                  <a:gd name="connsiteY5" fmla="*/ 127066 h 186509"/>
                  <a:gd name="connsiteX6" fmla="*/ 88503 w 316055"/>
                  <a:gd name="connsiteY6" fmla="*/ 87458 h 186509"/>
                  <a:gd name="connsiteX7" fmla="*/ 98394 w 316055"/>
                  <a:gd name="connsiteY7" fmla="*/ 78055 h 186509"/>
                  <a:gd name="connsiteX8" fmla="*/ 109392 w 316055"/>
                  <a:gd name="connsiteY8" fmla="*/ 86128 h 186509"/>
                  <a:gd name="connsiteX9" fmla="*/ 119570 w 316055"/>
                  <a:gd name="connsiteY9" fmla="*/ 125842 h 186509"/>
                  <a:gd name="connsiteX10" fmla="*/ 139055 w 316055"/>
                  <a:gd name="connsiteY10" fmla="*/ 8901 h 186509"/>
                  <a:gd name="connsiteX11" fmla="*/ 148712 w 316055"/>
                  <a:gd name="connsiteY11" fmla="*/ 41 h 186509"/>
                  <a:gd name="connsiteX12" fmla="*/ 159625 w 316055"/>
                  <a:gd name="connsiteY12" fmla="*/ 7285 h 186509"/>
                  <a:gd name="connsiteX13" fmla="*/ 190894 w 316055"/>
                  <a:gd name="connsiteY13" fmla="*/ 101103 h 186509"/>
                  <a:gd name="connsiteX14" fmla="*/ 206263 w 316055"/>
                  <a:gd name="connsiteY14" fmla="*/ 85735 h 186509"/>
                  <a:gd name="connsiteX15" fmla="*/ 215484 w 316055"/>
                  <a:gd name="connsiteY15" fmla="*/ 82757 h 186509"/>
                  <a:gd name="connsiteX16" fmla="*/ 223291 w 316055"/>
                  <a:gd name="connsiteY16" fmla="*/ 88500 h 186509"/>
                  <a:gd name="connsiteX17" fmla="*/ 243467 w 316055"/>
                  <a:gd name="connsiteY17" fmla="*/ 128863 h 186509"/>
                  <a:gd name="connsiteX18" fmla="*/ 254082 w 316055"/>
                  <a:gd name="connsiteY18" fmla="*/ 115855 h 186509"/>
                  <a:gd name="connsiteX19" fmla="*/ 268376 w 316055"/>
                  <a:gd name="connsiteY19" fmla="*/ 113835 h 186509"/>
                  <a:gd name="connsiteX20" fmla="*/ 268366 w 316055"/>
                  <a:gd name="connsiteY20" fmla="*/ 113824 h 186509"/>
                  <a:gd name="connsiteX21" fmla="*/ 306655 w 316055"/>
                  <a:gd name="connsiteY21" fmla="*/ 122205 h 186509"/>
                  <a:gd name="connsiteX22" fmla="*/ 315983 w 316055"/>
                  <a:gd name="connsiteY22" fmla="*/ 134000 h 186509"/>
                  <a:gd name="connsiteX23" fmla="*/ 304187 w 316055"/>
                  <a:gd name="connsiteY23" fmla="*/ 143328 h 186509"/>
                  <a:gd name="connsiteX24" fmla="*/ 265494 w 316055"/>
                  <a:gd name="connsiteY24" fmla="*/ 135510 h 186509"/>
                  <a:gd name="connsiteX25" fmla="*/ 249551 w 316055"/>
                  <a:gd name="connsiteY25" fmla="*/ 155038 h 186509"/>
                  <a:gd name="connsiteX26" fmla="*/ 240138 w 316055"/>
                  <a:gd name="connsiteY26" fmla="*/ 158888 h 186509"/>
                  <a:gd name="connsiteX27" fmla="*/ 231800 w 316055"/>
                  <a:gd name="connsiteY27" fmla="*/ 153070 h 186509"/>
                  <a:gd name="connsiteX28" fmla="*/ 210858 w 316055"/>
                  <a:gd name="connsiteY28" fmla="*/ 111197 h 186509"/>
                  <a:gd name="connsiteX29" fmla="*/ 193766 w 316055"/>
                  <a:gd name="connsiteY29" fmla="*/ 128299 h 186509"/>
                  <a:gd name="connsiteX30" fmla="*/ 183800 w 316055"/>
                  <a:gd name="connsiteY30" fmla="*/ 131128 h 186509"/>
                  <a:gd name="connsiteX31" fmla="*/ 176153 w 316055"/>
                  <a:gd name="connsiteY31" fmla="*/ 124141 h 186509"/>
                  <a:gd name="connsiteX32" fmla="*/ 152967 w 316055"/>
                  <a:gd name="connsiteY32" fmla="*/ 54614 h 186509"/>
                  <a:gd name="connsiteX33" fmla="*/ 132471 w 316055"/>
                  <a:gd name="connsiteY33" fmla="*/ 177597 h 186509"/>
                  <a:gd name="connsiteX34" fmla="*/ 122527 w 316055"/>
                  <a:gd name="connsiteY34" fmla="*/ 186467 h 186509"/>
                  <a:gd name="connsiteX35" fmla="*/ 121995 w 316055"/>
                  <a:gd name="connsiteY35" fmla="*/ 186509 h 186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16055" h="186509">
                    <a:moveTo>
                      <a:pt x="121995" y="186509"/>
                    </a:moveTo>
                    <a:cubicBezTo>
                      <a:pt x="117230" y="186509"/>
                      <a:pt x="113018" y="183329"/>
                      <a:pt x="111742" y="178703"/>
                    </a:cubicBezTo>
                    <a:cubicBezTo>
                      <a:pt x="111636" y="178320"/>
                      <a:pt x="103606" y="149199"/>
                      <a:pt x="95767" y="118982"/>
                    </a:cubicBezTo>
                    <a:cubicBezTo>
                      <a:pt x="79898" y="135489"/>
                      <a:pt x="51118" y="145636"/>
                      <a:pt x="11340" y="148284"/>
                    </a:cubicBezTo>
                    <a:cubicBezTo>
                      <a:pt x="5554" y="148901"/>
                      <a:pt x="416" y="144253"/>
                      <a:pt x="23" y="138382"/>
                    </a:cubicBezTo>
                    <a:cubicBezTo>
                      <a:pt x="-360" y="132522"/>
                      <a:pt x="4065" y="127459"/>
                      <a:pt x="9936" y="127066"/>
                    </a:cubicBezTo>
                    <a:cubicBezTo>
                      <a:pt x="37780" y="125204"/>
                      <a:pt x="85035" y="117589"/>
                      <a:pt x="88503" y="87458"/>
                    </a:cubicBezTo>
                    <a:cubicBezTo>
                      <a:pt x="89088" y="82342"/>
                      <a:pt x="93257" y="78385"/>
                      <a:pt x="98394" y="78055"/>
                    </a:cubicBezTo>
                    <a:cubicBezTo>
                      <a:pt x="103563" y="77779"/>
                      <a:pt x="108168" y="81129"/>
                      <a:pt x="109392" y="86128"/>
                    </a:cubicBezTo>
                    <a:cubicBezTo>
                      <a:pt x="112487" y="98678"/>
                      <a:pt x="116124" y="112739"/>
                      <a:pt x="119570" y="125842"/>
                    </a:cubicBezTo>
                    <a:lnTo>
                      <a:pt x="139055" y="8901"/>
                    </a:lnTo>
                    <a:cubicBezTo>
                      <a:pt x="139853" y="4083"/>
                      <a:pt x="143841" y="435"/>
                      <a:pt x="148712" y="41"/>
                    </a:cubicBezTo>
                    <a:cubicBezTo>
                      <a:pt x="153499" y="-395"/>
                      <a:pt x="158082" y="2647"/>
                      <a:pt x="159625" y="7285"/>
                    </a:cubicBezTo>
                    <a:lnTo>
                      <a:pt x="190894" y="101103"/>
                    </a:lnTo>
                    <a:lnTo>
                      <a:pt x="206263" y="85735"/>
                    </a:lnTo>
                    <a:cubicBezTo>
                      <a:pt x="208667" y="83320"/>
                      <a:pt x="212049" y="82225"/>
                      <a:pt x="215484" y="82757"/>
                    </a:cubicBezTo>
                    <a:cubicBezTo>
                      <a:pt x="218856" y="83310"/>
                      <a:pt x="221770" y="85437"/>
                      <a:pt x="223291" y="88500"/>
                    </a:cubicBezTo>
                    <a:lnTo>
                      <a:pt x="243467" y="128863"/>
                    </a:lnTo>
                    <a:lnTo>
                      <a:pt x="254082" y="115855"/>
                    </a:lnTo>
                    <a:cubicBezTo>
                      <a:pt x="257570" y="111558"/>
                      <a:pt x="263814" y="110686"/>
                      <a:pt x="268376" y="113835"/>
                    </a:cubicBezTo>
                    <a:lnTo>
                      <a:pt x="268366" y="113824"/>
                    </a:lnTo>
                    <a:cubicBezTo>
                      <a:pt x="268429" y="113824"/>
                      <a:pt x="277576" y="118801"/>
                      <a:pt x="306655" y="122205"/>
                    </a:cubicBezTo>
                    <a:cubicBezTo>
                      <a:pt x="312494" y="122886"/>
                      <a:pt x="316663" y="128172"/>
                      <a:pt x="315983" y="134000"/>
                    </a:cubicBezTo>
                    <a:cubicBezTo>
                      <a:pt x="315302" y="139829"/>
                      <a:pt x="310058" y="144104"/>
                      <a:pt x="304187" y="143328"/>
                    </a:cubicBezTo>
                    <a:cubicBezTo>
                      <a:pt x="284745" y="141052"/>
                      <a:pt x="272694" y="137999"/>
                      <a:pt x="265494" y="135510"/>
                    </a:cubicBezTo>
                    <a:lnTo>
                      <a:pt x="249551" y="155038"/>
                    </a:lnTo>
                    <a:cubicBezTo>
                      <a:pt x="247275" y="157824"/>
                      <a:pt x="243829" y="159282"/>
                      <a:pt x="240138" y="158888"/>
                    </a:cubicBezTo>
                    <a:cubicBezTo>
                      <a:pt x="236554" y="158484"/>
                      <a:pt x="233406" y="156293"/>
                      <a:pt x="231800" y="153070"/>
                    </a:cubicBezTo>
                    <a:lnTo>
                      <a:pt x="210858" y="111197"/>
                    </a:lnTo>
                    <a:lnTo>
                      <a:pt x="193766" y="128299"/>
                    </a:lnTo>
                    <a:cubicBezTo>
                      <a:pt x="191160" y="130916"/>
                      <a:pt x="187395" y="132001"/>
                      <a:pt x="183800" y="131128"/>
                    </a:cubicBezTo>
                    <a:cubicBezTo>
                      <a:pt x="180205" y="130277"/>
                      <a:pt x="177323" y="127640"/>
                      <a:pt x="176153" y="124141"/>
                    </a:cubicBezTo>
                    <a:lnTo>
                      <a:pt x="152967" y="54614"/>
                    </a:lnTo>
                    <a:lnTo>
                      <a:pt x="132471" y="177597"/>
                    </a:lnTo>
                    <a:cubicBezTo>
                      <a:pt x="131652" y="182521"/>
                      <a:pt x="127515" y="186212"/>
                      <a:pt x="122527" y="186467"/>
                    </a:cubicBezTo>
                    <a:cubicBezTo>
                      <a:pt x="122357" y="186509"/>
                      <a:pt x="122176" y="186509"/>
                      <a:pt x="121995" y="186509"/>
                    </a:cubicBezTo>
                    <a:close/>
                  </a:path>
                </a:pathLst>
              </a:custGeom>
              <a:solidFill>
                <a:schemeClr val="accent1"/>
              </a:solidFill>
              <a:ln w="1063" cap="flat">
                <a:noFill/>
                <a:prstDash val="solid"/>
                <a:miter/>
              </a:ln>
            </p:spPr>
            <p:txBody>
              <a:bodyPr rtlCol="0" anchor="ctr"/>
              <a:lstStyle/>
              <a:p>
                <a:endParaRPr lang="en-GB" dirty="0"/>
              </a:p>
            </p:txBody>
          </p:sp>
          <p:sp>
            <p:nvSpPr>
              <p:cNvPr id="387" name="Freeform: Shape 386">
                <a:extLst>
                  <a:ext uri="{FF2B5EF4-FFF2-40B4-BE49-F238E27FC236}">
                    <a16:creationId xmlns:a16="http://schemas.microsoft.com/office/drawing/2014/main" id="{051C99FA-32CB-4015-A7BD-19842E5D55DF}"/>
                  </a:ext>
                </a:extLst>
              </p:cNvPr>
              <p:cNvSpPr/>
              <p:nvPr/>
            </p:nvSpPr>
            <p:spPr>
              <a:xfrm>
                <a:off x="2929145" y="2656256"/>
                <a:ext cx="145892" cy="127859"/>
              </a:xfrm>
              <a:custGeom>
                <a:avLst/>
                <a:gdLst>
                  <a:gd name="connsiteX0" fmla="*/ 113787 w 227548"/>
                  <a:gd name="connsiteY0" fmla="*/ 199422 h 199422"/>
                  <a:gd name="connsiteX1" fmla="*/ 108767 w 227548"/>
                  <a:gd name="connsiteY1" fmla="*/ 198167 h 199422"/>
                  <a:gd name="connsiteX2" fmla="*/ 5 w 227548"/>
                  <a:gd name="connsiteY2" fmla="*/ 67017 h 199422"/>
                  <a:gd name="connsiteX3" fmla="*/ 19096 w 227548"/>
                  <a:gd name="connsiteY3" fmla="*/ 19953 h 199422"/>
                  <a:gd name="connsiteX4" fmla="*/ 66894 w 227548"/>
                  <a:gd name="connsiteY4" fmla="*/ 0 h 199422"/>
                  <a:gd name="connsiteX5" fmla="*/ 113777 w 227548"/>
                  <a:gd name="connsiteY5" fmla="*/ 27377 h 199422"/>
                  <a:gd name="connsiteX6" fmla="*/ 160660 w 227548"/>
                  <a:gd name="connsiteY6" fmla="*/ 0 h 199422"/>
                  <a:gd name="connsiteX7" fmla="*/ 227549 w 227548"/>
                  <a:gd name="connsiteY7" fmla="*/ 66900 h 199422"/>
                  <a:gd name="connsiteX8" fmla="*/ 118648 w 227548"/>
                  <a:gd name="connsiteY8" fmla="*/ 198252 h 199422"/>
                  <a:gd name="connsiteX9" fmla="*/ 113787 w 227548"/>
                  <a:gd name="connsiteY9" fmla="*/ 199422 h 199422"/>
                  <a:gd name="connsiteX10" fmla="*/ 66905 w 227548"/>
                  <a:gd name="connsiteY10" fmla="*/ 21272 h 199422"/>
                  <a:gd name="connsiteX11" fmla="*/ 34242 w 227548"/>
                  <a:gd name="connsiteY11" fmla="*/ 34917 h 199422"/>
                  <a:gd name="connsiteX12" fmla="*/ 21287 w 227548"/>
                  <a:gd name="connsiteY12" fmla="*/ 66772 h 199422"/>
                  <a:gd name="connsiteX13" fmla="*/ 113872 w 227548"/>
                  <a:gd name="connsiteY13" fmla="*/ 176598 h 199422"/>
                  <a:gd name="connsiteX14" fmla="*/ 206287 w 227548"/>
                  <a:gd name="connsiteY14" fmla="*/ 66900 h 199422"/>
                  <a:gd name="connsiteX15" fmla="*/ 160670 w 227548"/>
                  <a:gd name="connsiteY15" fmla="*/ 21272 h 199422"/>
                  <a:gd name="connsiteX16" fmla="*/ 122647 w 227548"/>
                  <a:gd name="connsiteY16" fmla="*/ 51084 h 199422"/>
                  <a:gd name="connsiteX17" fmla="*/ 104928 w 227548"/>
                  <a:gd name="connsiteY17" fmla="*/ 51084 h 199422"/>
                  <a:gd name="connsiteX18" fmla="*/ 66905 w 227548"/>
                  <a:gd name="connsiteY18" fmla="*/ 21272 h 199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7548" h="199422">
                    <a:moveTo>
                      <a:pt x="113787" y="199422"/>
                    </a:moveTo>
                    <a:cubicBezTo>
                      <a:pt x="112064" y="199422"/>
                      <a:pt x="110341" y="198997"/>
                      <a:pt x="108767" y="198167"/>
                    </a:cubicBezTo>
                    <a:cubicBezTo>
                      <a:pt x="104364" y="195817"/>
                      <a:pt x="856" y="139670"/>
                      <a:pt x="5" y="67017"/>
                    </a:cubicBezTo>
                    <a:cubicBezTo>
                      <a:pt x="-208" y="49329"/>
                      <a:pt x="6578" y="32620"/>
                      <a:pt x="19096" y="19953"/>
                    </a:cubicBezTo>
                    <a:cubicBezTo>
                      <a:pt x="31817" y="7084"/>
                      <a:pt x="48792" y="0"/>
                      <a:pt x="66894" y="0"/>
                    </a:cubicBezTo>
                    <a:cubicBezTo>
                      <a:pt x="86432" y="0"/>
                      <a:pt x="102769" y="14146"/>
                      <a:pt x="113777" y="27377"/>
                    </a:cubicBezTo>
                    <a:cubicBezTo>
                      <a:pt x="124785" y="14135"/>
                      <a:pt x="141122" y="0"/>
                      <a:pt x="160660" y="0"/>
                    </a:cubicBezTo>
                    <a:cubicBezTo>
                      <a:pt x="197545" y="0"/>
                      <a:pt x="227549" y="30004"/>
                      <a:pt x="227549" y="66900"/>
                    </a:cubicBezTo>
                    <a:cubicBezTo>
                      <a:pt x="227549" y="141287"/>
                      <a:pt x="123094" y="195955"/>
                      <a:pt x="118648" y="198252"/>
                    </a:cubicBezTo>
                    <a:cubicBezTo>
                      <a:pt x="117127" y="199029"/>
                      <a:pt x="115457" y="199422"/>
                      <a:pt x="113787" y="199422"/>
                    </a:cubicBezTo>
                    <a:close/>
                    <a:moveTo>
                      <a:pt x="66905" y="21272"/>
                    </a:moveTo>
                    <a:cubicBezTo>
                      <a:pt x="54535" y="21272"/>
                      <a:pt x="42931" y="26122"/>
                      <a:pt x="34242" y="34917"/>
                    </a:cubicBezTo>
                    <a:cubicBezTo>
                      <a:pt x="25744" y="43511"/>
                      <a:pt x="21149" y="54817"/>
                      <a:pt x="21287" y="66772"/>
                    </a:cubicBezTo>
                    <a:cubicBezTo>
                      <a:pt x="21894" y="119015"/>
                      <a:pt x="94132" y="165005"/>
                      <a:pt x="113872" y="176598"/>
                    </a:cubicBezTo>
                    <a:cubicBezTo>
                      <a:pt x="133708" y="165271"/>
                      <a:pt x="206287" y="120196"/>
                      <a:pt x="206287" y="66900"/>
                    </a:cubicBezTo>
                    <a:cubicBezTo>
                      <a:pt x="206287" y="41746"/>
                      <a:pt x="185824" y="21272"/>
                      <a:pt x="160670" y="21272"/>
                    </a:cubicBezTo>
                    <a:cubicBezTo>
                      <a:pt x="149258" y="21272"/>
                      <a:pt x="135038" y="32418"/>
                      <a:pt x="122647" y="51084"/>
                    </a:cubicBezTo>
                    <a:cubicBezTo>
                      <a:pt x="118701" y="57019"/>
                      <a:pt x="108874" y="57019"/>
                      <a:pt x="104928" y="51084"/>
                    </a:cubicBezTo>
                    <a:cubicBezTo>
                      <a:pt x="92537" y="32418"/>
                      <a:pt x="78317" y="21272"/>
                      <a:pt x="66905" y="21272"/>
                    </a:cubicBezTo>
                    <a:close/>
                  </a:path>
                </a:pathLst>
              </a:custGeom>
              <a:solidFill>
                <a:schemeClr val="accent1"/>
              </a:solidFill>
              <a:ln w="1063" cap="flat">
                <a:noFill/>
                <a:prstDash val="solid"/>
                <a:miter/>
              </a:ln>
            </p:spPr>
            <p:txBody>
              <a:bodyPr rtlCol="0" anchor="ctr"/>
              <a:lstStyle/>
              <a:p>
                <a:endParaRPr lang="en-GB" dirty="0"/>
              </a:p>
            </p:txBody>
          </p:sp>
          <p:grpSp>
            <p:nvGrpSpPr>
              <p:cNvPr id="388" name="Graphic 818">
                <a:extLst>
                  <a:ext uri="{FF2B5EF4-FFF2-40B4-BE49-F238E27FC236}">
                    <a16:creationId xmlns:a16="http://schemas.microsoft.com/office/drawing/2014/main" id="{76B9A766-E20D-4AD6-B9B0-DABF553ABFE0}"/>
                  </a:ext>
                </a:extLst>
              </p:cNvPr>
              <p:cNvGrpSpPr/>
              <p:nvPr/>
            </p:nvGrpSpPr>
            <p:grpSpPr>
              <a:xfrm>
                <a:off x="2644069" y="2514117"/>
                <a:ext cx="214614" cy="200626"/>
                <a:chOff x="4910616" y="1559801"/>
                <a:chExt cx="334734" cy="312917"/>
              </a:xfrm>
              <a:solidFill>
                <a:schemeClr val="accent1"/>
              </a:solidFill>
            </p:grpSpPr>
            <p:sp>
              <p:nvSpPr>
                <p:cNvPr id="389" name="Freeform: Shape 388">
                  <a:extLst>
                    <a:ext uri="{FF2B5EF4-FFF2-40B4-BE49-F238E27FC236}">
                      <a16:creationId xmlns:a16="http://schemas.microsoft.com/office/drawing/2014/main" id="{AAB81939-CE19-4BAE-94D7-E884E21FCAD3}"/>
                    </a:ext>
                  </a:extLst>
                </p:cNvPr>
                <p:cNvSpPr/>
                <p:nvPr/>
              </p:nvSpPr>
              <p:spPr>
                <a:xfrm>
                  <a:off x="4910616" y="1610383"/>
                  <a:ext cx="161150" cy="262335"/>
                </a:xfrm>
                <a:custGeom>
                  <a:avLst/>
                  <a:gdLst>
                    <a:gd name="connsiteX0" fmla="*/ 28437 w 161150"/>
                    <a:gd name="connsiteY0" fmla="*/ 262336 h 262335"/>
                    <a:gd name="connsiteX1" fmla="*/ 8941 w 161150"/>
                    <a:gd name="connsiteY1" fmla="*/ 257475 h 262335"/>
                    <a:gd name="connsiteX2" fmla="*/ 156 w 161150"/>
                    <a:gd name="connsiteY2" fmla="*/ 240437 h 262335"/>
                    <a:gd name="connsiteX3" fmla="*/ 75054 w 161150"/>
                    <a:gd name="connsiteY3" fmla="*/ 21987 h 262335"/>
                    <a:gd name="connsiteX4" fmla="*/ 76256 w 161150"/>
                    <a:gd name="connsiteY4" fmla="*/ 20785 h 262335"/>
                    <a:gd name="connsiteX5" fmla="*/ 76511 w 161150"/>
                    <a:gd name="connsiteY5" fmla="*/ 20476 h 262335"/>
                    <a:gd name="connsiteX6" fmla="*/ 117991 w 161150"/>
                    <a:gd name="connsiteY6" fmla="*/ 672 h 262335"/>
                    <a:gd name="connsiteX7" fmla="*/ 151770 w 161150"/>
                    <a:gd name="connsiteY7" fmla="*/ 43099 h 262335"/>
                    <a:gd name="connsiteX8" fmla="*/ 144686 w 161150"/>
                    <a:gd name="connsiteY8" fmla="*/ 56372 h 262335"/>
                    <a:gd name="connsiteX9" fmla="*/ 131413 w 161150"/>
                    <a:gd name="connsiteY9" fmla="*/ 49289 h 262335"/>
                    <a:gd name="connsiteX10" fmla="*/ 113460 w 161150"/>
                    <a:gd name="connsiteY10" fmla="*/ 21455 h 262335"/>
                    <a:gd name="connsiteX11" fmla="*/ 92677 w 161150"/>
                    <a:gd name="connsiteY11" fmla="*/ 34303 h 262335"/>
                    <a:gd name="connsiteX12" fmla="*/ 89944 w 161150"/>
                    <a:gd name="connsiteY12" fmla="*/ 37153 h 262335"/>
                    <a:gd name="connsiteX13" fmla="*/ 21417 w 161150"/>
                    <a:gd name="connsiteY13" fmla="*/ 240085 h 262335"/>
                    <a:gd name="connsiteX14" fmla="*/ 112396 w 161150"/>
                    <a:gd name="connsiteY14" fmla="*/ 217314 h 262335"/>
                    <a:gd name="connsiteX15" fmla="*/ 123500 w 161150"/>
                    <a:gd name="connsiteY15" fmla="*/ 213187 h 262335"/>
                    <a:gd name="connsiteX16" fmla="*/ 124595 w 161150"/>
                    <a:gd name="connsiteY16" fmla="*/ 212879 h 262335"/>
                    <a:gd name="connsiteX17" fmla="*/ 139879 w 161150"/>
                    <a:gd name="connsiteY17" fmla="*/ 133578 h 262335"/>
                    <a:gd name="connsiteX18" fmla="*/ 137784 w 161150"/>
                    <a:gd name="connsiteY18" fmla="*/ 84791 h 262335"/>
                    <a:gd name="connsiteX19" fmla="*/ 147441 w 161150"/>
                    <a:gd name="connsiteY19" fmla="*/ 73262 h 262335"/>
                    <a:gd name="connsiteX20" fmla="*/ 158971 w 161150"/>
                    <a:gd name="connsiteY20" fmla="*/ 82919 h 262335"/>
                    <a:gd name="connsiteX21" fmla="*/ 161151 w 161150"/>
                    <a:gd name="connsiteY21" fmla="*/ 133663 h 262335"/>
                    <a:gd name="connsiteX22" fmla="*/ 129881 w 161150"/>
                    <a:gd name="connsiteY22" fmla="*/ 233491 h 262335"/>
                    <a:gd name="connsiteX23" fmla="*/ 119979 w 161150"/>
                    <a:gd name="connsiteY23" fmla="*/ 237193 h 262335"/>
                    <a:gd name="connsiteX24" fmla="*/ 28437 w 161150"/>
                    <a:gd name="connsiteY24" fmla="*/ 262336 h 26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1150" h="262335">
                      <a:moveTo>
                        <a:pt x="28437" y="262336"/>
                      </a:moveTo>
                      <a:cubicBezTo>
                        <a:pt x="20321" y="262336"/>
                        <a:pt x="13802" y="260804"/>
                        <a:pt x="8941" y="257475"/>
                      </a:cubicBezTo>
                      <a:cubicBezTo>
                        <a:pt x="3325" y="253625"/>
                        <a:pt x="198" y="247573"/>
                        <a:pt x="156" y="240437"/>
                      </a:cubicBezTo>
                      <a:cubicBezTo>
                        <a:pt x="-3109" y="117603"/>
                        <a:pt x="45677" y="50831"/>
                        <a:pt x="75054" y="21987"/>
                      </a:cubicBezTo>
                      <a:lnTo>
                        <a:pt x="76256" y="20785"/>
                      </a:lnTo>
                      <a:cubicBezTo>
                        <a:pt x="76351" y="20678"/>
                        <a:pt x="76436" y="20583"/>
                        <a:pt x="76511" y="20476"/>
                      </a:cubicBezTo>
                      <a:cubicBezTo>
                        <a:pt x="90731" y="4427"/>
                        <a:pt x="104696" y="-2263"/>
                        <a:pt x="117991" y="672"/>
                      </a:cubicBezTo>
                      <a:cubicBezTo>
                        <a:pt x="132626" y="3863"/>
                        <a:pt x="144304" y="18530"/>
                        <a:pt x="151770" y="43099"/>
                      </a:cubicBezTo>
                      <a:cubicBezTo>
                        <a:pt x="153472" y="48715"/>
                        <a:pt x="150302" y="54660"/>
                        <a:pt x="144686" y="56372"/>
                      </a:cubicBezTo>
                      <a:cubicBezTo>
                        <a:pt x="139081" y="58085"/>
                        <a:pt x="133125" y="54894"/>
                        <a:pt x="131413" y="49289"/>
                      </a:cubicBezTo>
                      <a:cubicBezTo>
                        <a:pt x="126616" y="33484"/>
                        <a:pt x="119735" y="22827"/>
                        <a:pt x="113460" y="21455"/>
                      </a:cubicBezTo>
                      <a:cubicBezTo>
                        <a:pt x="108556" y="20402"/>
                        <a:pt x="100941" y="25039"/>
                        <a:pt x="92677" y="34303"/>
                      </a:cubicBezTo>
                      <a:cubicBezTo>
                        <a:pt x="92018" y="35122"/>
                        <a:pt x="91220" y="35909"/>
                        <a:pt x="89944" y="37153"/>
                      </a:cubicBezTo>
                      <a:cubicBezTo>
                        <a:pt x="63046" y="63573"/>
                        <a:pt x="18364" y="125080"/>
                        <a:pt x="21417" y="240085"/>
                      </a:cubicBezTo>
                      <a:cubicBezTo>
                        <a:pt x="24225" y="242319"/>
                        <a:pt x="39764" y="244978"/>
                        <a:pt x="112396" y="217314"/>
                      </a:cubicBezTo>
                      <a:cubicBezTo>
                        <a:pt x="117267" y="215453"/>
                        <a:pt x="121107" y="213996"/>
                        <a:pt x="123500" y="213187"/>
                      </a:cubicBezTo>
                      <a:cubicBezTo>
                        <a:pt x="123851" y="213060"/>
                        <a:pt x="124212" y="212964"/>
                        <a:pt x="124595" y="212879"/>
                      </a:cubicBezTo>
                      <a:cubicBezTo>
                        <a:pt x="127052" y="212326"/>
                        <a:pt x="139347" y="205912"/>
                        <a:pt x="139879" y="133578"/>
                      </a:cubicBezTo>
                      <a:cubicBezTo>
                        <a:pt x="139879" y="133408"/>
                        <a:pt x="139783" y="107595"/>
                        <a:pt x="137784" y="84791"/>
                      </a:cubicBezTo>
                      <a:cubicBezTo>
                        <a:pt x="137263" y="78942"/>
                        <a:pt x="141592" y="73773"/>
                        <a:pt x="147441" y="73262"/>
                      </a:cubicBezTo>
                      <a:cubicBezTo>
                        <a:pt x="153397" y="72815"/>
                        <a:pt x="158460" y="77080"/>
                        <a:pt x="158971" y="82919"/>
                      </a:cubicBezTo>
                      <a:cubicBezTo>
                        <a:pt x="161087" y="107020"/>
                        <a:pt x="161151" y="133397"/>
                        <a:pt x="161151" y="133663"/>
                      </a:cubicBezTo>
                      <a:cubicBezTo>
                        <a:pt x="160555" y="214506"/>
                        <a:pt x="145112" y="229779"/>
                        <a:pt x="129881" y="233491"/>
                      </a:cubicBezTo>
                      <a:cubicBezTo>
                        <a:pt x="127637" y="234278"/>
                        <a:pt x="124234" y="235576"/>
                        <a:pt x="119979" y="237193"/>
                      </a:cubicBezTo>
                      <a:cubicBezTo>
                        <a:pt x="79946" y="252466"/>
                        <a:pt x="49049" y="262336"/>
                        <a:pt x="28437" y="262336"/>
                      </a:cubicBezTo>
                      <a:close/>
                    </a:path>
                  </a:pathLst>
                </a:custGeom>
                <a:solidFill>
                  <a:schemeClr val="accent1"/>
                </a:solidFill>
                <a:ln w="1063" cap="flat">
                  <a:noFill/>
                  <a:prstDash val="solid"/>
                  <a:miter/>
                </a:ln>
              </p:spPr>
              <p:txBody>
                <a:bodyPr rtlCol="0" anchor="ctr"/>
                <a:lstStyle/>
                <a:p>
                  <a:endParaRPr lang="en-GB" dirty="0"/>
                </a:p>
              </p:txBody>
            </p:sp>
            <p:sp>
              <p:nvSpPr>
                <p:cNvPr id="390" name="Freeform: Shape 389">
                  <a:extLst>
                    <a:ext uri="{FF2B5EF4-FFF2-40B4-BE49-F238E27FC236}">
                      <a16:creationId xmlns:a16="http://schemas.microsoft.com/office/drawing/2014/main" id="{22CDC0DB-9191-420C-9FCE-22D0D134B9A6}"/>
                    </a:ext>
                  </a:extLst>
                </p:cNvPr>
                <p:cNvSpPr/>
                <p:nvPr/>
              </p:nvSpPr>
              <p:spPr>
                <a:xfrm>
                  <a:off x="5084201" y="1610404"/>
                  <a:ext cx="161150" cy="262314"/>
                </a:xfrm>
                <a:custGeom>
                  <a:avLst/>
                  <a:gdLst>
                    <a:gd name="connsiteX0" fmla="*/ 132704 w 161150"/>
                    <a:gd name="connsiteY0" fmla="*/ 262315 h 262314"/>
                    <a:gd name="connsiteX1" fmla="*/ 41171 w 161150"/>
                    <a:gd name="connsiteY1" fmla="*/ 237182 h 262314"/>
                    <a:gd name="connsiteX2" fmla="*/ 31269 w 161150"/>
                    <a:gd name="connsiteY2" fmla="*/ 233481 h 262314"/>
                    <a:gd name="connsiteX3" fmla="*/ 0 w 161150"/>
                    <a:gd name="connsiteY3" fmla="*/ 133727 h 262314"/>
                    <a:gd name="connsiteX4" fmla="*/ 2170 w 161150"/>
                    <a:gd name="connsiteY4" fmla="*/ 83005 h 262314"/>
                    <a:gd name="connsiteX5" fmla="*/ 13688 w 161150"/>
                    <a:gd name="connsiteY5" fmla="*/ 73337 h 262314"/>
                    <a:gd name="connsiteX6" fmla="*/ 23356 w 161150"/>
                    <a:gd name="connsiteY6" fmla="*/ 84855 h 262314"/>
                    <a:gd name="connsiteX7" fmla="*/ 21272 w 161150"/>
                    <a:gd name="connsiteY7" fmla="*/ 133631 h 262314"/>
                    <a:gd name="connsiteX8" fmla="*/ 36555 w 161150"/>
                    <a:gd name="connsiteY8" fmla="*/ 212858 h 262314"/>
                    <a:gd name="connsiteX9" fmla="*/ 37651 w 161150"/>
                    <a:gd name="connsiteY9" fmla="*/ 213166 h 262314"/>
                    <a:gd name="connsiteX10" fmla="*/ 48755 w 161150"/>
                    <a:gd name="connsiteY10" fmla="*/ 217293 h 262314"/>
                    <a:gd name="connsiteX11" fmla="*/ 140202 w 161150"/>
                    <a:gd name="connsiteY11" fmla="*/ 239894 h 262314"/>
                    <a:gd name="connsiteX12" fmla="*/ 71196 w 161150"/>
                    <a:gd name="connsiteY12" fmla="*/ 37132 h 262314"/>
                    <a:gd name="connsiteX13" fmla="*/ 68474 w 161150"/>
                    <a:gd name="connsiteY13" fmla="*/ 34292 h 262314"/>
                    <a:gd name="connsiteX14" fmla="*/ 47691 w 161150"/>
                    <a:gd name="connsiteY14" fmla="*/ 21444 h 262314"/>
                    <a:gd name="connsiteX15" fmla="*/ 29738 w 161150"/>
                    <a:gd name="connsiteY15" fmla="*/ 49278 h 262314"/>
                    <a:gd name="connsiteX16" fmla="*/ 16464 w 161150"/>
                    <a:gd name="connsiteY16" fmla="*/ 56362 h 262314"/>
                    <a:gd name="connsiteX17" fmla="*/ 9381 w 161150"/>
                    <a:gd name="connsiteY17" fmla="*/ 43088 h 262314"/>
                    <a:gd name="connsiteX18" fmla="*/ 43160 w 161150"/>
                    <a:gd name="connsiteY18" fmla="*/ 662 h 262314"/>
                    <a:gd name="connsiteX19" fmla="*/ 84640 w 161150"/>
                    <a:gd name="connsiteY19" fmla="*/ 20466 h 262314"/>
                    <a:gd name="connsiteX20" fmla="*/ 84885 w 161150"/>
                    <a:gd name="connsiteY20" fmla="*/ 20764 h 262314"/>
                    <a:gd name="connsiteX21" fmla="*/ 86087 w 161150"/>
                    <a:gd name="connsiteY21" fmla="*/ 21955 h 262314"/>
                    <a:gd name="connsiteX22" fmla="*/ 160995 w 161150"/>
                    <a:gd name="connsiteY22" fmla="*/ 240639 h 262314"/>
                    <a:gd name="connsiteX23" fmla="*/ 152210 w 161150"/>
                    <a:gd name="connsiteY23" fmla="*/ 257465 h 262314"/>
                    <a:gd name="connsiteX24" fmla="*/ 132704 w 161150"/>
                    <a:gd name="connsiteY24" fmla="*/ 262315 h 262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61150" h="262314">
                      <a:moveTo>
                        <a:pt x="132704" y="262315"/>
                      </a:moveTo>
                      <a:cubicBezTo>
                        <a:pt x="112091" y="262315"/>
                        <a:pt x="81194" y="252444"/>
                        <a:pt x="41171" y="237182"/>
                      </a:cubicBezTo>
                      <a:cubicBezTo>
                        <a:pt x="36928" y="235565"/>
                        <a:pt x="33514" y="234268"/>
                        <a:pt x="31269" y="233481"/>
                      </a:cubicBezTo>
                      <a:cubicBezTo>
                        <a:pt x="16028" y="229758"/>
                        <a:pt x="585" y="214485"/>
                        <a:pt x="0" y="133727"/>
                      </a:cubicBezTo>
                      <a:cubicBezTo>
                        <a:pt x="0" y="133387"/>
                        <a:pt x="64" y="107084"/>
                        <a:pt x="2170" y="83005"/>
                      </a:cubicBezTo>
                      <a:cubicBezTo>
                        <a:pt x="2691" y="77155"/>
                        <a:pt x="7945" y="72784"/>
                        <a:pt x="13688" y="73337"/>
                      </a:cubicBezTo>
                      <a:cubicBezTo>
                        <a:pt x="19549" y="73847"/>
                        <a:pt x="23867" y="79006"/>
                        <a:pt x="23356" y="84855"/>
                      </a:cubicBezTo>
                      <a:cubicBezTo>
                        <a:pt x="21357" y="107659"/>
                        <a:pt x="21272" y="133387"/>
                        <a:pt x="21272" y="133631"/>
                      </a:cubicBezTo>
                      <a:cubicBezTo>
                        <a:pt x="21804" y="205891"/>
                        <a:pt x="34088" y="212305"/>
                        <a:pt x="36555" y="212858"/>
                      </a:cubicBezTo>
                      <a:cubicBezTo>
                        <a:pt x="36928" y="212943"/>
                        <a:pt x="37289" y="213039"/>
                        <a:pt x="37651" y="213166"/>
                      </a:cubicBezTo>
                      <a:cubicBezTo>
                        <a:pt x="40044" y="213975"/>
                        <a:pt x="43884" y="215432"/>
                        <a:pt x="48755" y="217293"/>
                      </a:cubicBezTo>
                      <a:cubicBezTo>
                        <a:pt x="121398" y="244978"/>
                        <a:pt x="136894" y="242308"/>
                        <a:pt x="140202" y="239894"/>
                      </a:cubicBezTo>
                      <a:cubicBezTo>
                        <a:pt x="142786" y="125027"/>
                        <a:pt x="98105" y="63541"/>
                        <a:pt x="71196" y="37132"/>
                      </a:cubicBezTo>
                      <a:cubicBezTo>
                        <a:pt x="69931" y="35888"/>
                        <a:pt x="69133" y="35111"/>
                        <a:pt x="68474" y="34292"/>
                      </a:cubicBezTo>
                      <a:cubicBezTo>
                        <a:pt x="60209" y="25029"/>
                        <a:pt x="52679" y="20360"/>
                        <a:pt x="47691" y="21444"/>
                      </a:cubicBezTo>
                      <a:cubicBezTo>
                        <a:pt x="41416" y="22816"/>
                        <a:pt x="34545" y="33473"/>
                        <a:pt x="29738" y="49278"/>
                      </a:cubicBezTo>
                      <a:cubicBezTo>
                        <a:pt x="28025" y="54883"/>
                        <a:pt x="22165" y="58074"/>
                        <a:pt x="16464" y="56362"/>
                      </a:cubicBezTo>
                      <a:cubicBezTo>
                        <a:pt x="10849" y="54650"/>
                        <a:pt x="7679" y="48715"/>
                        <a:pt x="9381" y="43088"/>
                      </a:cubicBezTo>
                      <a:cubicBezTo>
                        <a:pt x="16847" y="18520"/>
                        <a:pt x="28525" y="3853"/>
                        <a:pt x="43160" y="662"/>
                      </a:cubicBezTo>
                      <a:cubicBezTo>
                        <a:pt x="56444" y="-2242"/>
                        <a:pt x="70431" y="4416"/>
                        <a:pt x="84640" y="20466"/>
                      </a:cubicBezTo>
                      <a:cubicBezTo>
                        <a:pt x="84725" y="20562"/>
                        <a:pt x="84810" y="20668"/>
                        <a:pt x="84885" y="20764"/>
                      </a:cubicBezTo>
                      <a:lnTo>
                        <a:pt x="86087" y="21955"/>
                      </a:lnTo>
                      <a:cubicBezTo>
                        <a:pt x="115463" y="50789"/>
                        <a:pt x="164260" y="117539"/>
                        <a:pt x="160995" y="240639"/>
                      </a:cubicBezTo>
                      <a:cubicBezTo>
                        <a:pt x="160952" y="247552"/>
                        <a:pt x="157825" y="253614"/>
                        <a:pt x="152210" y="257465"/>
                      </a:cubicBezTo>
                      <a:cubicBezTo>
                        <a:pt x="147339" y="260794"/>
                        <a:pt x="140819" y="262315"/>
                        <a:pt x="132704" y="262315"/>
                      </a:cubicBezTo>
                      <a:close/>
                    </a:path>
                  </a:pathLst>
                </a:custGeom>
                <a:solidFill>
                  <a:schemeClr val="accent1"/>
                </a:solidFill>
                <a:ln w="1063" cap="flat">
                  <a:noFill/>
                  <a:prstDash val="solid"/>
                  <a:miter/>
                </a:ln>
              </p:spPr>
              <p:txBody>
                <a:bodyPr rtlCol="0" anchor="ctr"/>
                <a:lstStyle/>
                <a:p>
                  <a:endParaRPr lang="en-GB" dirty="0"/>
                </a:p>
              </p:txBody>
            </p:sp>
            <p:sp>
              <p:nvSpPr>
                <p:cNvPr id="391" name="Freeform: Shape 390">
                  <a:extLst>
                    <a:ext uri="{FF2B5EF4-FFF2-40B4-BE49-F238E27FC236}">
                      <a16:creationId xmlns:a16="http://schemas.microsoft.com/office/drawing/2014/main" id="{AC713454-D2C0-409F-8477-D55B40346248}"/>
                    </a:ext>
                  </a:extLst>
                </p:cNvPr>
                <p:cNvSpPr/>
                <p:nvPr/>
              </p:nvSpPr>
              <p:spPr>
                <a:xfrm>
                  <a:off x="5032631" y="1559801"/>
                  <a:ext cx="55111" cy="114952"/>
                </a:xfrm>
                <a:custGeom>
                  <a:avLst/>
                  <a:gdLst>
                    <a:gd name="connsiteX0" fmla="*/ 10654 w 55111"/>
                    <a:gd name="connsiteY0" fmla="*/ 114952 h 114952"/>
                    <a:gd name="connsiteX1" fmla="*/ 1262 w 55111"/>
                    <a:gd name="connsiteY1" fmla="*/ 109337 h 114952"/>
                    <a:gd name="connsiteX2" fmla="*/ 5623 w 55111"/>
                    <a:gd name="connsiteY2" fmla="*/ 94936 h 114952"/>
                    <a:gd name="connsiteX3" fmla="*/ 33840 w 55111"/>
                    <a:gd name="connsiteY3" fmla="*/ 79833 h 114952"/>
                    <a:gd name="connsiteX4" fmla="*/ 33840 w 55111"/>
                    <a:gd name="connsiteY4" fmla="*/ 10636 h 114952"/>
                    <a:gd name="connsiteX5" fmla="*/ 44476 w 55111"/>
                    <a:gd name="connsiteY5" fmla="*/ 0 h 114952"/>
                    <a:gd name="connsiteX6" fmla="*/ 55111 w 55111"/>
                    <a:gd name="connsiteY6" fmla="*/ 10636 h 114952"/>
                    <a:gd name="connsiteX7" fmla="*/ 55111 w 55111"/>
                    <a:gd name="connsiteY7" fmla="*/ 86204 h 114952"/>
                    <a:gd name="connsiteX8" fmla="*/ 49496 w 55111"/>
                    <a:gd name="connsiteY8" fmla="*/ 95584 h 114952"/>
                    <a:gd name="connsiteX9" fmla="*/ 15653 w 55111"/>
                    <a:gd name="connsiteY9" fmla="*/ 113697 h 114952"/>
                    <a:gd name="connsiteX10" fmla="*/ 10654 w 55111"/>
                    <a:gd name="connsiteY10" fmla="*/ 114952 h 114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111" h="114952">
                      <a:moveTo>
                        <a:pt x="10654" y="114952"/>
                      </a:moveTo>
                      <a:cubicBezTo>
                        <a:pt x="6857" y="114952"/>
                        <a:pt x="3187" y="112921"/>
                        <a:pt x="1262" y="109337"/>
                      </a:cubicBezTo>
                      <a:cubicBezTo>
                        <a:pt x="-1514" y="104157"/>
                        <a:pt x="443" y="97712"/>
                        <a:pt x="5623" y="94936"/>
                      </a:cubicBezTo>
                      <a:lnTo>
                        <a:pt x="33840" y="79833"/>
                      </a:lnTo>
                      <a:lnTo>
                        <a:pt x="33840" y="10636"/>
                      </a:lnTo>
                      <a:cubicBezTo>
                        <a:pt x="33840" y="4765"/>
                        <a:pt x="38594" y="0"/>
                        <a:pt x="44476" y="0"/>
                      </a:cubicBezTo>
                      <a:cubicBezTo>
                        <a:pt x="50357" y="0"/>
                        <a:pt x="55111" y="4765"/>
                        <a:pt x="55111" y="10636"/>
                      </a:cubicBezTo>
                      <a:lnTo>
                        <a:pt x="55111" y="86204"/>
                      </a:lnTo>
                      <a:cubicBezTo>
                        <a:pt x="55111" y="90128"/>
                        <a:pt x="52952" y="93734"/>
                        <a:pt x="49496" y="95584"/>
                      </a:cubicBezTo>
                      <a:lnTo>
                        <a:pt x="15653" y="113697"/>
                      </a:lnTo>
                      <a:cubicBezTo>
                        <a:pt x="14057" y="114548"/>
                        <a:pt x="12345" y="114952"/>
                        <a:pt x="10654" y="114952"/>
                      </a:cubicBezTo>
                      <a:close/>
                    </a:path>
                  </a:pathLst>
                </a:custGeom>
                <a:solidFill>
                  <a:schemeClr val="accent1"/>
                </a:solidFill>
                <a:ln w="1063" cap="flat">
                  <a:noFill/>
                  <a:prstDash val="solid"/>
                  <a:miter/>
                </a:ln>
              </p:spPr>
              <p:txBody>
                <a:bodyPr rtlCol="0" anchor="ctr"/>
                <a:lstStyle/>
                <a:p>
                  <a:endParaRPr lang="en-GB" dirty="0"/>
                </a:p>
              </p:txBody>
            </p:sp>
            <p:sp>
              <p:nvSpPr>
                <p:cNvPr id="392" name="Freeform: Shape 391">
                  <a:extLst>
                    <a:ext uri="{FF2B5EF4-FFF2-40B4-BE49-F238E27FC236}">
                      <a16:creationId xmlns:a16="http://schemas.microsoft.com/office/drawing/2014/main" id="{E32D1F61-519C-412E-8B53-0D1C9CBB1425}"/>
                    </a:ext>
                  </a:extLst>
                </p:cNvPr>
                <p:cNvSpPr/>
                <p:nvPr/>
              </p:nvSpPr>
              <p:spPr>
                <a:xfrm>
                  <a:off x="5066272" y="1635366"/>
                  <a:ext cx="55129" cy="39386"/>
                </a:xfrm>
                <a:custGeom>
                  <a:avLst/>
                  <a:gdLst>
                    <a:gd name="connsiteX0" fmla="*/ 44476 w 55129"/>
                    <a:gd name="connsiteY0" fmla="*/ 39387 h 39386"/>
                    <a:gd name="connsiteX1" fmla="*/ 39466 w 55129"/>
                    <a:gd name="connsiteY1" fmla="*/ 38132 h 39386"/>
                    <a:gd name="connsiteX2" fmla="*/ 5623 w 55129"/>
                    <a:gd name="connsiteY2" fmla="*/ 20019 h 39386"/>
                    <a:gd name="connsiteX3" fmla="*/ 1262 w 55129"/>
                    <a:gd name="connsiteY3" fmla="*/ 5618 h 39386"/>
                    <a:gd name="connsiteX4" fmla="*/ 15663 w 55129"/>
                    <a:gd name="connsiteY4" fmla="*/ 1257 h 39386"/>
                    <a:gd name="connsiteX5" fmla="*/ 49506 w 55129"/>
                    <a:gd name="connsiteY5" fmla="*/ 19370 h 39386"/>
                    <a:gd name="connsiteX6" fmla="*/ 53867 w 55129"/>
                    <a:gd name="connsiteY6" fmla="*/ 33771 h 39386"/>
                    <a:gd name="connsiteX7" fmla="*/ 44476 w 55129"/>
                    <a:gd name="connsiteY7" fmla="*/ 39387 h 39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29" h="39386">
                      <a:moveTo>
                        <a:pt x="44476" y="39387"/>
                      </a:moveTo>
                      <a:cubicBezTo>
                        <a:pt x="42785" y="39387"/>
                        <a:pt x="41072" y="38983"/>
                        <a:pt x="39466" y="38132"/>
                      </a:cubicBezTo>
                      <a:lnTo>
                        <a:pt x="5623" y="20019"/>
                      </a:lnTo>
                      <a:cubicBezTo>
                        <a:pt x="443" y="17243"/>
                        <a:pt x="-1514" y="10798"/>
                        <a:pt x="1262" y="5618"/>
                      </a:cubicBezTo>
                      <a:cubicBezTo>
                        <a:pt x="4049" y="438"/>
                        <a:pt x="10473" y="-1508"/>
                        <a:pt x="15663" y="1257"/>
                      </a:cubicBezTo>
                      <a:lnTo>
                        <a:pt x="49506" y="19370"/>
                      </a:lnTo>
                      <a:cubicBezTo>
                        <a:pt x="54686" y="22146"/>
                        <a:pt x="56643" y="28592"/>
                        <a:pt x="53867" y="33771"/>
                      </a:cubicBezTo>
                      <a:cubicBezTo>
                        <a:pt x="51953" y="37345"/>
                        <a:pt x="48283" y="39387"/>
                        <a:pt x="44476" y="39387"/>
                      </a:cubicBezTo>
                      <a:close/>
                    </a:path>
                  </a:pathLst>
                </a:custGeom>
                <a:solidFill>
                  <a:schemeClr val="accent1"/>
                </a:solidFill>
                <a:ln w="1063" cap="flat">
                  <a:noFill/>
                  <a:prstDash val="solid"/>
                  <a:miter/>
                </a:ln>
              </p:spPr>
              <p:txBody>
                <a:bodyPr rtlCol="0" anchor="ctr"/>
                <a:lstStyle/>
                <a:p>
                  <a:endParaRPr lang="en-GB" dirty="0"/>
                </a:p>
              </p:txBody>
            </p:sp>
          </p:grpSp>
        </p:grpSp>
      </p:grpSp>
      <p:grpSp>
        <p:nvGrpSpPr>
          <p:cNvPr id="398" name="Group 397">
            <a:extLst>
              <a:ext uri="{FF2B5EF4-FFF2-40B4-BE49-F238E27FC236}">
                <a16:creationId xmlns:a16="http://schemas.microsoft.com/office/drawing/2014/main" id="{1A33B9C0-AF43-420F-B27F-23A83D865CB2}"/>
              </a:ext>
            </a:extLst>
          </p:cNvPr>
          <p:cNvGrpSpPr/>
          <p:nvPr/>
        </p:nvGrpSpPr>
        <p:grpSpPr>
          <a:xfrm>
            <a:off x="8136464" y="1630234"/>
            <a:ext cx="412409" cy="300254"/>
            <a:chOff x="1630979" y="3272414"/>
            <a:chExt cx="412409" cy="300254"/>
          </a:xfrm>
        </p:grpSpPr>
        <p:grpSp>
          <p:nvGrpSpPr>
            <p:cNvPr id="399" name="Group 398">
              <a:extLst>
                <a:ext uri="{FF2B5EF4-FFF2-40B4-BE49-F238E27FC236}">
                  <a16:creationId xmlns:a16="http://schemas.microsoft.com/office/drawing/2014/main" id="{621F1878-5B71-49C7-8D45-957F93F3ED3A}"/>
                </a:ext>
              </a:extLst>
            </p:cNvPr>
            <p:cNvGrpSpPr/>
            <p:nvPr/>
          </p:nvGrpSpPr>
          <p:grpSpPr>
            <a:xfrm>
              <a:off x="1760517" y="3488156"/>
              <a:ext cx="155913" cy="47123"/>
              <a:chOff x="1760517" y="3488156"/>
              <a:chExt cx="155913" cy="47123"/>
            </a:xfrm>
            <a:solidFill>
              <a:schemeClr val="accent1"/>
            </a:solidFill>
          </p:grpSpPr>
          <p:sp>
            <p:nvSpPr>
              <p:cNvPr id="409" name="Freeform: Shape 408">
                <a:extLst>
                  <a:ext uri="{FF2B5EF4-FFF2-40B4-BE49-F238E27FC236}">
                    <a16:creationId xmlns:a16="http://schemas.microsoft.com/office/drawing/2014/main" id="{FD4E7561-43DA-45E1-817A-72532E124C64}"/>
                  </a:ext>
                </a:extLst>
              </p:cNvPr>
              <p:cNvSpPr/>
              <p:nvPr/>
            </p:nvSpPr>
            <p:spPr>
              <a:xfrm>
                <a:off x="1821796" y="3488156"/>
                <a:ext cx="22202" cy="17535"/>
              </a:xfrm>
              <a:custGeom>
                <a:avLst/>
                <a:gdLst>
                  <a:gd name="connsiteX0" fmla="*/ 23989 w 34629"/>
                  <a:gd name="connsiteY0" fmla="*/ 27350 h 27349"/>
                  <a:gd name="connsiteX1" fmla="*/ 19596 w 34629"/>
                  <a:gd name="connsiteY1" fmla="*/ 26393 h 27349"/>
                  <a:gd name="connsiteX2" fmla="*/ 6237 w 34629"/>
                  <a:gd name="connsiteY2" fmla="*/ 20330 h 27349"/>
                  <a:gd name="connsiteX3" fmla="*/ 951 w 34629"/>
                  <a:gd name="connsiteY3" fmla="*/ 6259 h 27349"/>
                  <a:gd name="connsiteX4" fmla="*/ 15033 w 34629"/>
                  <a:gd name="connsiteY4" fmla="*/ 973 h 27349"/>
                  <a:gd name="connsiteX5" fmla="*/ 28392 w 34629"/>
                  <a:gd name="connsiteY5" fmla="*/ 7036 h 27349"/>
                  <a:gd name="connsiteX6" fmla="*/ 33678 w 34629"/>
                  <a:gd name="connsiteY6" fmla="*/ 21107 h 27349"/>
                  <a:gd name="connsiteX7" fmla="*/ 23989 w 34629"/>
                  <a:gd name="connsiteY7" fmla="*/ 27350 h 2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629" h="27349">
                    <a:moveTo>
                      <a:pt x="23989" y="27350"/>
                    </a:moveTo>
                    <a:cubicBezTo>
                      <a:pt x="22521" y="27350"/>
                      <a:pt x="21021" y="27052"/>
                      <a:pt x="19596" y="26393"/>
                    </a:cubicBezTo>
                    <a:lnTo>
                      <a:pt x="6237" y="20330"/>
                    </a:lnTo>
                    <a:cubicBezTo>
                      <a:pt x="898" y="17905"/>
                      <a:pt x="-1474" y="11609"/>
                      <a:pt x="951" y="6259"/>
                    </a:cubicBezTo>
                    <a:cubicBezTo>
                      <a:pt x="3376" y="899"/>
                      <a:pt x="9662" y="-1494"/>
                      <a:pt x="15033" y="973"/>
                    </a:cubicBezTo>
                    <a:lnTo>
                      <a:pt x="28392" y="7036"/>
                    </a:lnTo>
                    <a:cubicBezTo>
                      <a:pt x="33731" y="9460"/>
                      <a:pt x="36103" y="15757"/>
                      <a:pt x="33678" y="21107"/>
                    </a:cubicBezTo>
                    <a:cubicBezTo>
                      <a:pt x="31902" y="25031"/>
                      <a:pt x="28030" y="27350"/>
                      <a:pt x="23989" y="27350"/>
                    </a:cubicBezTo>
                    <a:close/>
                  </a:path>
                </a:pathLst>
              </a:custGeom>
              <a:solidFill>
                <a:schemeClr val="accent1"/>
              </a:solidFill>
              <a:ln w="1063" cap="flat">
                <a:noFill/>
                <a:prstDash val="solid"/>
                <a:miter/>
              </a:ln>
            </p:spPr>
            <p:txBody>
              <a:bodyPr rtlCol="0" anchor="ctr"/>
              <a:lstStyle/>
              <a:p>
                <a:endParaRPr lang="en-GB" dirty="0"/>
              </a:p>
            </p:txBody>
          </p:sp>
          <p:sp>
            <p:nvSpPr>
              <p:cNvPr id="410" name="Freeform: Shape 409">
                <a:extLst>
                  <a:ext uri="{FF2B5EF4-FFF2-40B4-BE49-F238E27FC236}">
                    <a16:creationId xmlns:a16="http://schemas.microsoft.com/office/drawing/2014/main" id="{0D7A4FAD-EAB2-4A9A-B09C-968FE4EC5A95}"/>
                  </a:ext>
                </a:extLst>
              </p:cNvPr>
              <p:cNvSpPr/>
              <p:nvPr/>
            </p:nvSpPr>
            <p:spPr>
              <a:xfrm>
                <a:off x="1891926" y="3513864"/>
                <a:ext cx="24504" cy="17610"/>
              </a:xfrm>
              <a:custGeom>
                <a:avLst/>
                <a:gdLst>
                  <a:gd name="connsiteX0" fmla="*/ 10638 w 38219"/>
                  <a:gd name="connsiteY0" fmla="*/ 27466 h 27466"/>
                  <a:gd name="connsiteX1" fmla="*/ 651 w 38219"/>
                  <a:gd name="connsiteY1" fmla="*/ 20489 h 27466"/>
                  <a:gd name="connsiteX2" fmla="*/ 6980 w 38219"/>
                  <a:gd name="connsiteY2" fmla="*/ 6843 h 27466"/>
                  <a:gd name="connsiteX3" fmla="*/ 23923 w 38219"/>
                  <a:gd name="connsiteY3" fmla="*/ 643 h 27466"/>
                  <a:gd name="connsiteX4" fmla="*/ 37568 w 38219"/>
                  <a:gd name="connsiteY4" fmla="*/ 6982 h 27466"/>
                  <a:gd name="connsiteX5" fmla="*/ 31240 w 38219"/>
                  <a:gd name="connsiteY5" fmla="*/ 20628 h 27466"/>
                  <a:gd name="connsiteX6" fmla="*/ 14297 w 38219"/>
                  <a:gd name="connsiteY6" fmla="*/ 26828 h 27466"/>
                  <a:gd name="connsiteX7" fmla="*/ 10638 w 38219"/>
                  <a:gd name="connsiteY7" fmla="*/ 27466 h 2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19" h="27466">
                    <a:moveTo>
                      <a:pt x="10638" y="27466"/>
                    </a:moveTo>
                    <a:cubicBezTo>
                      <a:pt x="6299" y="27466"/>
                      <a:pt x="2226" y="24797"/>
                      <a:pt x="651" y="20489"/>
                    </a:cubicBezTo>
                    <a:cubicBezTo>
                      <a:pt x="-1369" y="14969"/>
                      <a:pt x="1470" y="8864"/>
                      <a:pt x="6980" y="6843"/>
                    </a:cubicBezTo>
                    <a:lnTo>
                      <a:pt x="23923" y="643"/>
                    </a:lnTo>
                    <a:cubicBezTo>
                      <a:pt x="29421" y="-1357"/>
                      <a:pt x="35548" y="1462"/>
                      <a:pt x="37568" y="6982"/>
                    </a:cubicBezTo>
                    <a:cubicBezTo>
                      <a:pt x="39589" y="12502"/>
                      <a:pt x="36749" y="18607"/>
                      <a:pt x="31240" y="20628"/>
                    </a:cubicBezTo>
                    <a:lnTo>
                      <a:pt x="14297" y="26828"/>
                    </a:lnTo>
                    <a:cubicBezTo>
                      <a:pt x="13085" y="27254"/>
                      <a:pt x="11851" y="27466"/>
                      <a:pt x="10638" y="27466"/>
                    </a:cubicBezTo>
                    <a:close/>
                  </a:path>
                </a:pathLst>
              </a:custGeom>
              <a:solidFill>
                <a:schemeClr val="accent1"/>
              </a:solidFill>
              <a:ln w="1063" cap="flat">
                <a:noFill/>
                <a:prstDash val="solid"/>
                <a:miter/>
              </a:ln>
            </p:spPr>
            <p:txBody>
              <a:bodyPr rtlCol="0" anchor="ctr"/>
              <a:lstStyle/>
              <a:p>
                <a:endParaRPr lang="en-GB" dirty="0"/>
              </a:p>
            </p:txBody>
          </p:sp>
          <p:sp>
            <p:nvSpPr>
              <p:cNvPr id="411" name="Freeform: Shape 410">
                <a:extLst>
                  <a:ext uri="{FF2B5EF4-FFF2-40B4-BE49-F238E27FC236}">
                    <a16:creationId xmlns:a16="http://schemas.microsoft.com/office/drawing/2014/main" id="{2C03080E-323C-4989-89AC-1D44329A1B12}"/>
                  </a:ext>
                </a:extLst>
              </p:cNvPr>
              <p:cNvSpPr/>
              <p:nvPr/>
            </p:nvSpPr>
            <p:spPr>
              <a:xfrm>
                <a:off x="1760517" y="3519677"/>
                <a:ext cx="25843" cy="15602"/>
              </a:xfrm>
              <a:custGeom>
                <a:avLst/>
                <a:gdLst>
                  <a:gd name="connsiteX0" fmla="*/ 29694 w 40308"/>
                  <a:gd name="connsiteY0" fmla="*/ 24334 h 24334"/>
                  <a:gd name="connsiteX1" fmla="*/ 27982 w 40308"/>
                  <a:gd name="connsiteY1" fmla="*/ 24196 h 24334"/>
                  <a:gd name="connsiteX2" fmla="*/ 8944 w 40308"/>
                  <a:gd name="connsiteY2" fmla="*/ 21133 h 24334"/>
                  <a:gd name="connsiteX3" fmla="*/ 137 w 40308"/>
                  <a:gd name="connsiteY3" fmla="*/ 8944 h 24334"/>
                  <a:gd name="connsiteX4" fmla="*/ 12326 w 40308"/>
                  <a:gd name="connsiteY4" fmla="*/ 138 h 24334"/>
                  <a:gd name="connsiteX5" fmla="*/ 31364 w 40308"/>
                  <a:gd name="connsiteY5" fmla="*/ 3201 h 24334"/>
                  <a:gd name="connsiteX6" fmla="*/ 40171 w 40308"/>
                  <a:gd name="connsiteY6" fmla="*/ 15389 h 24334"/>
                  <a:gd name="connsiteX7" fmla="*/ 29694 w 40308"/>
                  <a:gd name="connsiteY7" fmla="*/ 24334 h 24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08" h="24334">
                    <a:moveTo>
                      <a:pt x="29694" y="24334"/>
                    </a:moveTo>
                    <a:cubicBezTo>
                      <a:pt x="29131" y="24334"/>
                      <a:pt x="28567" y="24292"/>
                      <a:pt x="27982" y="24196"/>
                    </a:cubicBezTo>
                    <a:lnTo>
                      <a:pt x="8944" y="21133"/>
                    </a:lnTo>
                    <a:cubicBezTo>
                      <a:pt x="3147" y="20197"/>
                      <a:pt x="-799" y="14741"/>
                      <a:pt x="137" y="8944"/>
                    </a:cubicBezTo>
                    <a:cubicBezTo>
                      <a:pt x="1073" y="3137"/>
                      <a:pt x="6593" y="-798"/>
                      <a:pt x="12326" y="138"/>
                    </a:cubicBezTo>
                    <a:lnTo>
                      <a:pt x="31364" y="3201"/>
                    </a:lnTo>
                    <a:cubicBezTo>
                      <a:pt x="37161" y="4137"/>
                      <a:pt x="41107" y="9593"/>
                      <a:pt x="40171" y="15389"/>
                    </a:cubicBezTo>
                    <a:cubicBezTo>
                      <a:pt x="39341" y="20622"/>
                      <a:pt x="34821" y="24334"/>
                      <a:pt x="29694" y="24334"/>
                    </a:cubicBezTo>
                    <a:close/>
                  </a:path>
                </a:pathLst>
              </a:custGeom>
              <a:solidFill>
                <a:schemeClr val="accent1"/>
              </a:solidFill>
              <a:ln w="1063" cap="flat">
                <a:noFill/>
                <a:prstDash val="solid"/>
                <a:miter/>
              </a:ln>
            </p:spPr>
            <p:txBody>
              <a:bodyPr rtlCol="0" anchor="ctr"/>
              <a:lstStyle/>
              <a:p>
                <a:endParaRPr lang="en-GB" dirty="0"/>
              </a:p>
            </p:txBody>
          </p:sp>
        </p:grpSp>
        <p:grpSp>
          <p:nvGrpSpPr>
            <p:cNvPr id="400" name="Group 399">
              <a:extLst>
                <a:ext uri="{FF2B5EF4-FFF2-40B4-BE49-F238E27FC236}">
                  <a16:creationId xmlns:a16="http://schemas.microsoft.com/office/drawing/2014/main" id="{94B9C32C-C971-49C3-90A1-37583A44A179}"/>
                </a:ext>
              </a:extLst>
            </p:cNvPr>
            <p:cNvGrpSpPr/>
            <p:nvPr/>
          </p:nvGrpSpPr>
          <p:grpSpPr>
            <a:xfrm>
              <a:off x="1630979" y="3272414"/>
              <a:ext cx="412409" cy="300254"/>
              <a:chOff x="1630979" y="3272414"/>
              <a:chExt cx="412409" cy="300254"/>
            </a:xfrm>
          </p:grpSpPr>
          <p:sp>
            <p:nvSpPr>
              <p:cNvPr id="401" name="Freeform: Shape 400">
                <a:extLst>
                  <a:ext uri="{FF2B5EF4-FFF2-40B4-BE49-F238E27FC236}">
                    <a16:creationId xmlns:a16="http://schemas.microsoft.com/office/drawing/2014/main" id="{92E64784-2426-4494-A54F-F94629AD2A4E}"/>
                  </a:ext>
                </a:extLst>
              </p:cNvPr>
              <p:cNvSpPr/>
              <p:nvPr/>
            </p:nvSpPr>
            <p:spPr>
              <a:xfrm>
                <a:off x="1630979" y="3459334"/>
                <a:ext cx="412402" cy="113334"/>
              </a:xfrm>
              <a:custGeom>
                <a:avLst/>
                <a:gdLst>
                  <a:gd name="connsiteX0" fmla="*/ 321618 w 643224"/>
                  <a:gd name="connsiteY0" fmla="*/ 176768 h 176767"/>
                  <a:gd name="connsiteX1" fmla="*/ 0 w 643224"/>
                  <a:gd name="connsiteY1" fmla="*/ 88384 h 176767"/>
                  <a:gd name="connsiteX2" fmla="*/ 321618 w 643224"/>
                  <a:gd name="connsiteY2" fmla="*/ 0 h 176767"/>
                  <a:gd name="connsiteX3" fmla="*/ 643225 w 643224"/>
                  <a:gd name="connsiteY3" fmla="*/ 88384 h 176767"/>
                  <a:gd name="connsiteX4" fmla="*/ 321618 w 643224"/>
                  <a:gd name="connsiteY4" fmla="*/ 176768 h 176767"/>
                  <a:gd name="connsiteX5" fmla="*/ 321618 w 643224"/>
                  <a:gd name="connsiteY5" fmla="*/ 21282 h 176767"/>
                  <a:gd name="connsiteX6" fmla="*/ 21272 w 643224"/>
                  <a:gd name="connsiteY6" fmla="*/ 88395 h 176767"/>
                  <a:gd name="connsiteX7" fmla="*/ 321618 w 643224"/>
                  <a:gd name="connsiteY7" fmla="*/ 155507 h 176767"/>
                  <a:gd name="connsiteX8" fmla="*/ 621953 w 643224"/>
                  <a:gd name="connsiteY8" fmla="*/ 88395 h 176767"/>
                  <a:gd name="connsiteX9" fmla="*/ 321618 w 643224"/>
                  <a:gd name="connsiteY9" fmla="*/ 21282 h 176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3224" h="176767">
                    <a:moveTo>
                      <a:pt x="321618" y="176768"/>
                    </a:moveTo>
                    <a:cubicBezTo>
                      <a:pt x="161793" y="176768"/>
                      <a:pt x="0" y="146413"/>
                      <a:pt x="0" y="88384"/>
                    </a:cubicBezTo>
                    <a:cubicBezTo>
                      <a:pt x="0" y="30355"/>
                      <a:pt x="161793" y="0"/>
                      <a:pt x="321618" y="0"/>
                    </a:cubicBezTo>
                    <a:cubicBezTo>
                      <a:pt x="481432" y="0"/>
                      <a:pt x="643225" y="30355"/>
                      <a:pt x="643225" y="88384"/>
                    </a:cubicBezTo>
                    <a:cubicBezTo>
                      <a:pt x="643225" y="146413"/>
                      <a:pt x="481432" y="176768"/>
                      <a:pt x="321618" y="176768"/>
                    </a:cubicBezTo>
                    <a:close/>
                    <a:moveTo>
                      <a:pt x="321618" y="21282"/>
                    </a:moveTo>
                    <a:cubicBezTo>
                      <a:pt x="135533" y="21282"/>
                      <a:pt x="21272" y="60369"/>
                      <a:pt x="21272" y="88395"/>
                    </a:cubicBezTo>
                    <a:cubicBezTo>
                      <a:pt x="21272" y="116420"/>
                      <a:pt x="135533" y="155507"/>
                      <a:pt x="321618" y="155507"/>
                    </a:cubicBezTo>
                    <a:cubicBezTo>
                      <a:pt x="507703" y="155507"/>
                      <a:pt x="621953" y="116420"/>
                      <a:pt x="621953" y="88395"/>
                    </a:cubicBezTo>
                    <a:cubicBezTo>
                      <a:pt x="621953" y="60358"/>
                      <a:pt x="507692" y="21282"/>
                      <a:pt x="321618" y="21282"/>
                    </a:cubicBezTo>
                    <a:close/>
                  </a:path>
                </a:pathLst>
              </a:custGeom>
              <a:solidFill>
                <a:schemeClr val="tx2"/>
              </a:solidFill>
              <a:ln w="1063" cap="flat">
                <a:noFill/>
                <a:prstDash val="solid"/>
                <a:miter/>
              </a:ln>
            </p:spPr>
            <p:txBody>
              <a:bodyPr rtlCol="0" anchor="ctr"/>
              <a:lstStyle/>
              <a:p>
                <a:endParaRPr lang="en-GB" dirty="0"/>
              </a:p>
            </p:txBody>
          </p:sp>
          <p:sp>
            <p:nvSpPr>
              <p:cNvPr id="402" name="Freeform: Shape 401">
                <a:extLst>
                  <a:ext uri="{FF2B5EF4-FFF2-40B4-BE49-F238E27FC236}">
                    <a16:creationId xmlns:a16="http://schemas.microsoft.com/office/drawing/2014/main" id="{D827726B-A8B8-4695-B63D-888934FBB01E}"/>
                  </a:ext>
                </a:extLst>
              </p:cNvPr>
              <p:cNvSpPr/>
              <p:nvPr/>
            </p:nvSpPr>
            <p:spPr>
              <a:xfrm>
                <a:off x="1630979" y="3272414"/>
                <a:ext cx="412402" cy="113334"/>
              </a:xfrm>
              <a:custGeom>
                <a:avLst/>
                <a:gdLst>
                  <a:gd name="connsiteX0" fmla="*/ 321618 w 643224"/>
                  <a:gd name="connsiteY0" fmla="*/ 176768 h 176768"/>
                  <a:gd name="connsiteX1" fmla="*/ 0 w 643224"/>
                  <a:gd name="connsiteY1" fmla="*/ 88384 h 176768"/>
                  <a:gd name="connsiteX2" fmla="*/ 321618 w 643224"/>
                  <a:gd name="connsiteY2" fmla="*/ 0 h 176768"/>
                  <a:gd name="connsiteX3" fmla="*/ 643225 w 643224"/>
                  <a:gd name="connsiteY3" fmla="*/ 88384 h 176768"/>
                  <a:gd name="connsiteX4" fmla="*/ 321618 w 643224"/>
                  <a:gd name="connsiteY4" fmla="*/ 176768 h 176768"/>
                  <a:gd name="connsiteX5" fmla="*/ 321618 w 643224"/>
                  <a:gd name="connsiteY5" fmla="*/ 21272 h 176768"/>
                  <a:gd name="connsiteX6" fmla="*/ 21272 w 643224"/>
                  <a:gd name="connsiteY6" fmla="*/ 88384 h 176768"/>
                  <a:gd name="connsiteX7" fmla="*/ 321618 w 643224"/>
                  <a:gd name="connsiteY7" fmla="*/ 155496 h 176768"/>
                  <a:gd name="connsiteX8" fmla="*/ 621953 w 643224"/>
                  <a:gd name="connsiteY8" fmla="*/ 88384 h 176768"/>
                  <a:gd name="connsiteX9" fmla="*/ 321618 w 643224"/>
                  <a:gd name="connsiteY9" fmla="*/ 21272 h 176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3224" h="176768">
                    <a:moveTo>
                      <a:pt x="321618" y="176768"/>
                    </a:moveTo>
                    <a:cubicBezTo>
                      <a:pt x="161793" y="176768"/>
                      <a:pt x="0" y="146413"/>
                      <a:pt x="0" y="88384"/>
                    </a:cubicBezTo>
                    <a:cubicBezTo>
                      <a:pt x="0" y="30365"/>
                      <a:pt x="161793" y="0"/>
                      <a:pt x="321618" y="0"/>
                    </a:cubicBezTo>
                    <a:cubicBezTo>
                      <a:pt x="481432" y="0"/>
                      <a:pt x="643225" y="30355"/>
                      <a:pt x="643225" y="88384"/>
                    </a:cubicBezTo>
                    <a:cubicBezTo>
                      <a:pt x="643225" y="146403"/>
                      <a:pt x="481432" y="176768"/>
                      <a:pt x="321618" y="176768"/>
                    </a:cubicBezTo>
                    <a:close/>
                    <a:moveTo>
                      <a:pt x="321618" y="21272"/>
                    </a:moveTo>
                    <a:cubicBezTo>
                      <a:pt x="135533" y="21272"/>
                      <a:pt x="21272" y="60358"/>
                      <a:pt x="21272" y="88384"/>
                    </a:cubicBezTo>
                    <a:cubicBezTo>
                      <a:pt x="21272" y="116410"/>
                      <a:pt x="135533" y="155496"/>
                      <a:pt x="321618" y="155496"/>
                    </a:cubicBezTo>
                    <a:cubicBezTo>
                      <a:pt x="507703" y="155496"/>
                      <a:pt x="621953" y="116410"/>
                      <a:pt x="621953" y="88384"/>
                    </a:cubicBezTo>
                    <a:cubicBezTo>
                      <a:pt x="621953" y="60358"/>
                      <a:pt x="507692" y="21272"/>
                      <a:pt x="321618" y="21272"/>
                    </a:cubicBezTo>
                    <a:close/>
                  </a:path>
                </a:pathLst>
              </a:custGeom>
              <a:solidFill>
                <a:schemeClr val="tx2"/>
              </a:solidFill>
              <a:ln w="1063" cap="flat">
                <a:noFill/>
                <a:prstDash val="solid"/>
                <a:miter/>
              </a:ln>
            </p:spPr>
            <p:txBody>
              <a:bodyPr rtlCol="0" anchor="ctr"/>
              <a:lstStyle/>
              <a:p>
                <a:endParaRPr lang="en-GB" dirty="0"/>
              </a:p>
            </p:txBody>
          </p:sp>
          <p:sp>
            <p:nvSpPr>
              <p:cNvPr id="403" name="Freeform: Shape 402">
                <a:extLst>
                  <a:ext uri="{FF2B5EF4-FFF2-40B4-BE49-F238E27FC236}">
                    <a16:creationId xmlns:a16="http://schemas.microsoft.com/office/drawing/2014/main" id="{C055EBA6-440B-453B-B264-3EFBC311717C}"/>
                  </a:ext>
                </a:extLst>
              </p:cNvPr>
              <p:cNvSpPr/>
              <p:nvPr/>
            </p:nvSpPr>
            <p:spPr>
              <a:xfrm>
                <a:off x="1936284" y="3353412"/>
                <a:ext cx="107104" cy="55883"/>
              </a:xfrm>
              <a:custGeom>
                <a:avLst/>
                <a:gdLst>
                  <a:gd name="connsiteX0" fmla="*/ 10618 w 167050"/>
                  <a:gd name="connsiteY0" fmla="*/ 87161 h 87161"/>
                  <a:gd name="connsiteX1" fmla="*/ 131 w 167050"/>
                  <a:gd name="connsiteY1" fmla="*/ 78174 h 87161"/>
                  <a:gd name="connsiteX2" fmla="*/ 8980 w 167050"/>
                  <a:gd name="connsiteY2" fmla="*/ 66006 h 87161"/>
                  <a:gd name="connsiteX3" fmla="*/ 47248 w 167050"/>
                  <a:gd name="connsiteY3" fmla="*/ 58902 h 87161"/>
                  <a:gd name="connsiteX4" fmla="*/ 145779 w 167050"/>
                  <a:gd name="connsiteY4" fmla="*/ 10636 h 87161"/>
                  <a:gd name="connsiteX5" fmla="*/ 156414 w 167050"/>
                  <a:gd name="connsiteY5" fmla="*/ 0 h 87161"/>
                  <a:gd name="connsiteX6" fmla="*/ 167050 w 167050"/>
                  <a:gd name="connsiteY6" fmla="*/ 10636 h 87161"/>
                  <a:gd name="connsiteX7" fmla="*/ 51779 w 167050"/>
                  <a:gd name="connsiteY7" fmla="*/ 79695 h 87161"/>
                  <a:gd name="connsiteX8" fmla="*/ 12309 w 167050"/>
                  <a:gd name="connsiteY8" fmla="*/ 87023 h 87161"/>
                  <a:gd name="connsiteX9" fmla="*/ 10618 w 167050"/>
                  <a:gd name="connsiteY9" fmla="*/ 87161 h 8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7050" h="87161">
                    <a:moveTo>
                      <a:pt x="10618" y="87161"/>
                    </a:moveTo>
                    <a:cubicBezTo>
                      <a:pt x="5481" y="87161"/>
                      <a:pt x="950" y="83417"/>
                      <a:pt x="131" y="78174"/>
                    </a:cubicBezTo>
                    <a:cubicBezTo>
                      <a:pt x="-784" y="72377"/>
                      <a:pt x="3184" y="66921"/>
                      <a:pt x="8980" y="66006"/>
                    </a:cubicBezTo>
                    <a:cubicBezTo>
                      <a:pt x="22498" y="63879"/>
                      <a:pt x="35378" y="61486"/>
                      <a:pt x="47248" y="58902"/>
                    </a:cubicBezTo>
                    <a:cubicBezTo>
                      <a:pt x="115307" y="44096"/>
                      <a:pt x="145779" y="23995"/>
                      <a:pt x="145779" y="10636"/>
                    </a:cubicBezTo>
                    <a:cubicBezTo>
                      <a:pt x="145779" y="4754"/>
                      <a:pt x="150543" y="0"/>
                      <a:pt x="156414" y="0"/>
                    </a:cubicBezTo>
                    <a:cubicBezTo>
                      <a:pt x="162285" y="0"/>
                      <a:pt x="167050" y="4754"/>
                      <a:pt x="167050" y="10636"/>
                    </a:cubicBezTo>
                    <a:cubicBezTo>
                      <a:pt x="167050" y="46979"/>
                      <a:pt x="104363" y="68250"/>
                      <a:pt x="51779" y="79695"/>
                    </a:cubicBezTo>
                    <a:cubicBezTo>
                      <a:pt x="39516" y="82364"/>
                      <a:pt x="26232" y="84821"/>
                      <a:pt x="12309" y="87023"/>
                    </a:cubicBezTo>
                    <a:cubicBezTo>
                      <a:pt x="11724" y="87118"/>
                      <a:pt x="11171" y="87161"/>
                      <a:pt x="10618" y="87161"/>
                    </a:cubicBezTo>
                    <a:close/>
                  </a:path>
                </a:pathLst>
              </a:custGeom>
              <a:solidFill>
                <a:schemeClr val="tx2"/>
              </a:solidFill>
              <a:ln w="1063" cap="flat">
                <a:noFill/>
                <a:prstDash val="solid"/>
                <a:miter/>
              </a:ln>
            </p:spPr>
            <p:txBody>
              <a:bodyPr rtlCol="0" anchor="ctr"/>
              <a:lstStyle/>
              <a:p>
                <a:endParaRPr lang="en-GB" dirty="0"/>
              </a:p>
            </p:txBody>
          </p:sp>
          <p:sp>
            <p:nvSpPr>
              <p:cNvPr id="404" name="Freeform: Shape 403">
                <a:extLst>
                  <a:ext uri="{FF2B5EF4-FFF2-40B4-BE49-F238E27FC236}">
                    <a16:creationId xmlns:a16="http://schemas.microsoft.com/office/drawing/2014/main" id="{F2668888-3A34-4747-9F9E-7B8B84942DA7}"/>
                  </a:ext>
                </a:extLst>
              </p:cNvPr>
              <p:cNvSpPr/>
              <p:nvPr/>
            </p:nvSpPr>
            <p:spPr>
              <a:xfrm>
                <a:off x="1755592" y="3399640"/>
                <a:ext cx="163183" cy="17259"/>
              </a:xfrm>
              <a:custGeom>
                <a:avLst/>
                <a:gdLst>
                  <a:gd name="connsiteX0" fmla="*/ 127259 w 254517"/>
                  <a:gd name="connsiteY0" fmla="*/ 26919 h 26919"/>
                  <a:gd name="connsiteX1" fmla="*/ 9573 w 254517"/>
                  <a:gd name="connsiteY1" fmla="*/ 21218 h 26919"/>
                  <a:gd name="connsiteX2" fmla="*/ 54 w 254517"/>
                  <a:gd name="connsiteY2" fmla="*/ 9561 h 26919"/>
                  <a:gd name="connsiteX3" fmla="*/ 11711 w 254517"/>
                  <a:gd name="connsiteY3" fmla="*/ 42 h 26919"/>
                  <a:gd name="connsiteX4" fmla="*/ 127259 w 254517"/>
                  <a:gd name="connsiteY4" fmla="*/ 5637 h 26919"/>
                  <a:gd name="connsiteX5" fmla="*/ 242807 w 254517"/>
                  <a:gd name="connsiteY5" fmla="*/ 42 h 26919"/>
                  <a:gd name="connsiteX6" fmla="*/ 254464 w 254517"/>
                  <a:gd name="connsiteY6" fmla="*/ 9561 h 26919"/>
                  <a:gd name="connsiteX7" fmla="*/ 244944 w 254517"/>
                  <a:gd name="connsiteY7" fmla="*/ 21218 h 26919"/>
                  <a:gd name="connsiteX8" fmla="*/ 127259 w 254517"/>
                  <a:gd name="connsiteY8" fmla="*/ 26919 h 26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4517" h="26919">
                    <a:moveTo>
                      <a:pt x="127259" y="26919"/>
                    </a:moveTo>
                    <a:cubicBezTo>
                      <a:pt x="86555" y="26919"/>
                      <a:pt x="46958" y="24994"/>
                      <a:pt x="9573" y="21218"/>
                    </a:cubicBezTo>
                    <a:cubicBezTo>
                      <a:pt x="3723" y="20623"/>
                      <a:pt x="-531" y="15411"/>
                      <a:pt x="54" y="9561"/>
                    </a:cubicBezTo>
                    <a:cubicBezTo>
                      <a:pt x="639" y="3711"/>
                      <a:pt x="5872" y="-436"/>
                      <a:pt x="11711" y="42"/>
                    </a:cubicBezTo>
                    <a:cubicBezTo>
                      <a:pt x="48394" y="3765"/>
                      <a:pt x="87268" y="5637"/>
                      <a:pt x="127259" y="5637"/>
                    </a:cubicBezTo>
                    <a:cubicBezTo>
                      <a:pt x="167239" y="5637"/>
                      <a:pt x="206123" y="3754"/>
                      <a:pt x="242807" y="42"/>
                    </a:cubicBezTo>
                    <a:cubicBezTo>
                      <a:pt x="248741" y="-468"/>
                      <a:pt x="253868" y="3711"/>
                      <a:pt x="254464" y="9561"/>
                    </a:cubicBezTo>
                    <a:cubicBezTo>
                      <a:pt x="255048" y="15411"/>
                      <a:pt x="250794" y="20623"/>
                      <a:pt x="244944" y="21218"/>
                    </a:cubicBezTo>
                    <a:cubicBezTo>
                      <a:pt x="207549" y="24994"/>
                      <a:pt x="167951" y="26919"/>
                      <a:pt x="127259" y="26919"/>
                    </a:cubicBezTo>
                    <a:close/>
                  </a:path>
                </a:pathLst>
              </a:custGeom>
              <a:solidFill>
                <a:schemeClr val="tx2"/>
              </a:solidFill>
              <a:ln w="1063" cap="flat">
                <a:noFill/>
                <a:prstDash val="solid"/>
                <a:miter/>
              </a:ln>
            </p:spPr>
            <p:txBody>
              <a:bodyPr rtlCol="0" anchor="ctr"/>
              <a:lstStyle/>
              <a:p>
                <a:endParaRPr lang="en-GB" dirty="0"/>
              </a:p>
            </p:txBody>
          </p:sp>
          <p:sp>
            <p:nvSpPr>
              <p:cNvPr id="405" name="Freeform: Shape 404">
                <a:extLst>
                  <a:ext uri="{FF2B5EF4-FFF2-40B4-BE49-F238E27FC236}">
                    <a16:creationId xmlns:a16="http://schemas.microsoft.com/office/drawing/2014/main" id="{B9666D8C-9617-4F1A-AD95-5AFAF0A78FEE}"/>
                  </a:ext>
                </a:extLst>
              </p:cNvPr>
              <p:cNvSpPr/>
              <p:nvPr/>
            </p:nvSpPr>
            <p:spPr>
              <a:xfrm>
                <a:off x="1630979" y="3322263"/>
                <a:ext cx="13638" cy="200558"/>
              </a:xfrm>
              <a:custGeom>
                <a:avLst/>
                <a:gdLst>
                  <a:gd name="connsiteX0" fmla="*/ 10636 w 21271"/>
                  <a:gd name="connsiteY0" fmla="*/ 312811 h 312811"/>
                  <a:gd name="connsiteX1" fmla="*/ 0 w 21271"/>
                  <a:gd name="connsiteY1" fmla="*/ 302175 h 312811"/>
                  <a:gd name="connsiteX2" fmla="*/ 0 w 21271"/>
                  <a:gd name="connsiteY2" fmla="*/ 10636 h 312811"/>
                  <a:gd name="connsiteX3" fmla="*/ 10636 w 21271"/>
                  <a:gd name="connsiteY3" fmla="*/ 0 h 312811"/>
                  <a:gd name="connsiteX4" fmla="*/ 21272 w 21271"/>
                  <a:gd name="connsiteY4" fmla="*/ 10636 h 312811"/>
                  <a:gd name="connsiteX5" fmla="*/ 21272 w 21271"/>
                  <a:gd name="connsiteY5" fmla="*/ 302175 h 312811"/>
                  <a:gd name="connsiteX6" fmla="*/ 10636 w 21271"/>
                  <a:gd name="connsiteY6" fmla="*/ 312811 h 31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312811">
                    <a:moveTo>
                      <a:pt x="10636" y="312811"/>
                    </a:moveTo>
                    <a:cubicBezTo>
                      <a:pt x="4765" y="312811"/>
                      <a:pt x="0" y="308057"/>
                      <a:pt x="0" y="302175"/>
                    </a:cubicBezTo>
                    <a:lnTo>
                      <a:pt x="0" y="10636"/>
                    </a:lnTo>
                    <a:cubicBezTo>
                      <a:pt x="0" y="4754"/>
                      <a:pt x="4765" y="0"/>
                      <a:pt x="10636" y="0"/>
                    </a:cubicBezTo>
                    <a:cubicBezTo>
                      <a:pt x="16507" y="0"/>
                      <a:pt x="21272" y="4754"/>
                      <a:pt x="21272" y="10636"/>
                    </a:cubicBezTo>
                    <a:lnTo>
                      <a:pt x="21272" y="302175"/>
                    </a:lnTo>
                    <a:cubicBezTo>
                      <a:pt x="21272" y="308057"/>
                      <a:pt x="16507" y="312811"/>
                      <a:pt x="10636" y="312811"/>
                    </a:cubicBezTo>
                    <a:close/>
                  </a:path>
                </a:pathLst>
              </a:custGeom>
              <a:solidFill>
                <a:schemeClr val="tx2"/>
              </a:solidFill>
              <a:ln w="1063" cap="flat">
                <a:noFill/>
                <a:prstDash val="solid"/>
                <a:miter/>
              </a:ln>
            </p:spPr>
            <p:txBody>
              <a:bodyPr rtlCol="0" anchor="ctr"/>
              <a:lstStyle/>
              <a:p>
                <a:endParaRPr lang="en-GB" dirty="0"/>
              </a:p>
            </p:txBody>
          </p:sp>
          <p:sp>
            <p:nvSpPr>
              <p:cNvPr id="406" name="Freeform: Shape 405">
                <a:extLst>
                  <a:ext uri="{FF2B5EF4-FFF2-40B4-BE49-F238E27FC236}">
                    <a16:creationId xmlns:a16="http://schemas.microsoft.com/office/drawing/2014/main" id="{14973C43-3DAE-4E44-A8A6-3B16E702427C}"/>
                  </a:ext>
                </a:extLst>
              </p:cNvPr>
              <p:cNvSpPr/>
              <p:nvPr/>
            </p:nvSpPr>
            <p:spPr>
              <a:xfrm>
                <a:off x="2029743" y="3322263"/>
                <a:ext cx="13638" cy="200558"/>
              </a:xfrm>
              <a:custGeom>
                <a:avLst/>
                <a:gdLst>
                  <a:gd name="connsiteX0" fmla="*/ 10636 w 21271"/>
                  <a:gd name="connsiteY0" fmla="*/ 312811 h 312811"/>
                  <a:gd name="connsiteX1" fmla="*/ 0 w 21271"/>
                  <a:gd name="connsiteY1" fmla="*/ 302175 h 312811"/>
                  <a:gd name="connsiteX2" fmla="*/ 0 w 21271"/>
                  <a:gd name="connsiteY2" fmla="*/ 10636 h 312811"/>
                  <a:gd name="connsiteX3" fmla="*/ 10636 w 21271"/>
                  <a:gd name="connsiteY3" fmla="*/ 0 h 312811"/>
                  <a:gd name="connsiteX4" fmla="*/ 21272 w 21271"/>
                  <a:gd name="connsiteY4" fmla="*/ 10636 h 312811"/>
                  <a:gd name="connsiteX5" fmla="*/ 21272 w 21271"/>
                  <a:gd name="connsiteY5" fmla="*/ 302175 h 312811"/>
                  <a:gd name="connsiteX6" fmla="*/ 10636 w 21271"/>
                  <a:gd name="connsiteY6" fmla="*/ 312811 h 312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312811">
                    <a:moveTo>
                      <a:pt x="10636" y="312811"/>
                    </a:moveTo>
                    <a:cubicBezTo>
                      <a:pt x="4765" y="312811"/>
                      <a:pt x="0" y="308057"/>
                      <a:pt x="0" y="302175"/>
                    </a:cubicBezTo>
                    <a:lnTo>
                      <a:pt x="0" y="10636"/>
                    </a:lnTo>
                    <a:cubicBezTo>
                      <a:pt x="0" y="4754"/>
                      <a:pt x="4765" y="0"/>
                      <a:pt x="10636" y="0"/>
                    </a:cubicBezTo>
                    <a:cubicBezTo>
                      <a:pt x="16507" y="0"/>
                      <a:pt x="21272" y="4754"/>
                      <a:pt x="21272" y="10636"/>
                    </a:cubicBezTo>
                    <a:lnTo>
                      <a:pt x="21272" y="302175"/>
                    </a:lnTo>
                    <a:cubicBezTo>
                      <a:pt x="21272" y="308057"/>
                      <a:pt x="16507" y="312811"/>
                      <a:pt x="10636" y="312811"/>
                    </a:cubicBezTo>
                    <a:close/>
                  </a:path>
                </a:pathLst>
              </a:custGeom>
              <a:solidFill>
                <a:schemeClr val="tx2"/>
              </a:solidFill>
              <a:ln w="1063" cap="flat">
                <a:noFill/>
                <a:prstDash val="solid"/>
                <a:miter/>
              </a:ln>
            </p:spPr>
            <p:txBody>
              <a:bodyPr rtlCol="0" anchor="ctr"/>
              <a:lstStyle/>
              <a:p>
                <a:endParaRPr lang="en-GB" dirty="0"/>
              </a:p>
            </p:txBody>
          </p:sp>
          <p:sp>
            <p:nvSpPr>
              <p:cNvPr id="407" name="Freeform: Shape 406">
                <a:extLst>
                  <a:ext uri="{FF2B5EF4-FFF2-40B4-BE49-F238E27FC236}">
                    <a16:creationId xmlns:a16="http://schemas.microsoft.com/office/drawing/2014/main" id="{A4B169E6-6BCC-4395-BAFB-1685A4FE79C6}"/>
                  </a:ext>
                </a:extLst>
              </p:cNvPr>
              <p:cNvSpPr/>
              <p:nvPr/>
            </p:nvSpPr>
            <p:spPr>
              <a:xfrm>
                <a:off x="1687837" y="3509970"/>
                <a:ext cx="23757" cy="14412"/>
              </a:xfrm>
              <a:custGeom>
                <a:avLst/>
                <a:gdLst>
                  <a:gd name="connsiteX0" fmla="*/ 10625 w 37054"/>
                  <a:gd name="connsiteY0" fmla="*/ 22480 h 22479"/>
                  <a:gd name="connsiteX1" fmla="*/ 31 w 37054"/>
                  <a:gd name="connsiteY1" fmla="*/ 12663 h 22479"/>
                  <a:gd name="connsiteX2" fmla="*/ 9816 w 37054"/>
                  <a:gd name="connsiteY2" fmla="*/ 1240 h 22479"/>
                  <a:gd name="connsiteX3" fmla="*/ 25600 w 37054"/>
                  <a:gd name="connsiteY3" fmla="*/ 27 h 22479"/>
                  <a:gd name="connsiteX4" fmla="*/ 37023 w 37054"/>
                  <a:gd name="connsiteY4" fmla="*/ 9812 h 22479"/>
                  <a:gd name="connsiteX5" fmla="*/ 27238 w 37054"/>
                  <a:gd name="connsiteY5" fmla="*/ 21235 h 22479"/>
                  <a:gd name="connsiteX6" fmla="*/ 11454 w 37054"/>
                  <a:gd name="connsiteY6" fmla="*/ 22448 h 22479"/>
                  <a:gd name="connsiteX7" fmla="*/ 10625 w 37054"/>
                  <a:gd name="connsiteY7" fmla="*/ 22480 h 2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054" h="22479">
                    <a:moveTo>
                      <a:pt x="10625" y="22480"/>
                    </a:moveTo>
                    <a:cubicBezTo>
                      <a:pt x="5115" y="22480"/>
                      <a:pt x="457" y="18247"/>
                      <a:pt x="31" y="12663"/>
                    </a:cubicBezTo>
                    <a:cubicBezTo>
                      <a:pt x="-415" y="6802"/>
                      <a:pt x="3967" y="1687"/>
                      <a:pt x="9816" y="1240"/>
                    </a:cubicBezTo>
                    <a:lnTo>
                      <a:pt x="25600" y="27"/>
                    </a:lnTo>
                    <a:cubicBezTo>
                      <a:pt x="31407" y="-388"/>
                      <a:pt x="36566" y="3952"/>
                      <a:pt x="37023" y="9812"/>
                    </a:cubicBezTo>
                    <a:cubicBezTo>
                      <a:pt x="37470" y="15673"/>
                      <a:pt x="33088" y="20789"/>
                      <a:pt x="27238" y="21235"/>
                    </a:cubicBezTo>
                    <a:lnTo>
                      <a:pt x="11454" y="22448"/>
                    </a:lnTo>
                    <a:cubicBezTo>
                      <a:pt x="11167" y="22469"/>
                      <a:pt x="10891" y="22480"/>
                      <a:pt x="10625" y="22480"/>
                    </a:cubicBezTo>
                    <a:close/>
                  </a:path>
                </a:pathLst>
              </a:custGeom>
              <a:solidFill>
                <a:schemeClr val="accent1"/>
              </a:solidFill>
              <a:ln w="1063" cap="flat">
                <a:noFill/>
                <a:prstDash val="solid"/>
                <a:miter/>
              </a:ln>
            </p:spPr>
            <p:txBody>
              <a:bodyPr rtlCol="0" anchor="ctr"/>
              <a:lstStyle/>
              <a:p>
                <a:endParaRPr lang="en-GB" dirty="0"/>
              </a:p>
            </p:txBody>
          </p:sp>
          <p:sp>
            <p:nvSpPr>
              <p:cNvPr id="408" name="Freeform: Shape 407">
                <a:extLst>
                  <a:ext uri="{FF2B5EF4-FFF2-40B4-BE49-F238E27FC236}">
                    <a16:creationId xmlns:a16="http://schemas.microsoft.com/office/drawing/2014/main" id="{23DA6668-F92B-4E3F-8A48-6008BABBCCC2}"/>
                  </a:ext>
                </a:extLst>
              </p:cNvPr>
              <p:cNvSpPr/>
              <p:nvPr/>
            </p:nvSpPr>
            <p:spPr>
              <a:xfrm>
                <a:off x="1960466" y="3509178"/>
                <a:ext cx="20602" cy="17618"/>
              </a:xfrm>
              <a:custGeom>
                <a:avLst/>
                <a:gdLst>
                  <a:gd name="connsiteX0" fmla="*/ 10648 w 32133"/>
                  <a:gd name="connsiteY0" fmla="*/ 27480 h 27479"/>
                  <a:gd name="connsiteX1" fmla="*/ 1395 w 32133"/>
                  <a:gd name="connsiteY1" fmla="*/ 22109 h 27479"/>
                  <a:gd name="connsiteX2" fmla="*/ 5362 w 32133"/>
                  <a:gd name="connsiteY2" fmla="*/ 7612 h 27479"/>
                  <a:gd name="connsiteX3" fmla="*/ 16232 w 32133"/>
                  <a:gd name="connsiteY3" fmla="*/ 1411 h 27479"/>
                  <a:gd name="connsiteX4" fmla="*/ 30739 w 32133"/>
                  <a:gd name="connsiteY4" fmla="*/ 5378 h 27479"/>
                  <a:gd name="connsiteX5" fmla="*/ 26772 w 32133"/>
                  <a:gd name="connsiteY5" fmla="*/ 19875 h 27479"/>
                  <a:gd name="connsiteX6" fmla="*/ 15902 w 32133"/>
                  <a:gd name="connsiteY6" fmla="*/ 26076 h 27479"/>
                  <a:gd name="connsiteX7" fmla="*/ 10648 w 32133"/>
                  <a:gd name="connsiteY7" fmla="*/ 27480 h 27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33" h="27479">
                    <a:moveTo>
                      <a:pt x="10648" y="27480"/>
                    </a:moveTo>
                    <a:cubicBezTo>
                      <a:pt x="6947" y="27480"/>
                      <a:pt x="3362" y="25555"/>
                      <a:pt x="1395" y="22109"/>
                    </a:cubicBezTo>
                    <a:cubicBezTo>
                      <a:pt x="-1509" y="17004"/>
                      <a:pt x="267" y="10516"/>
                      <a:pt x="5362" y="7612"/>
                    </a:cubicBezTo>
                    <a:lnTo>
                      <a:pt x="16232" y="1411"/>
                    </a:lnTo>
                    <a:cubicBezTo>
                      <a:pt x="21326" y="-1524"/>
                      <a:pt x="27825" y="273"/>
                      <a:pt x="30739" y="5378"/>
                    </a:cubicBezTo>
                    <a:cubicBezTo>
                      <a:pt x="33643" y="10484"/>
                      <a:pt x="31866" y="16972"/>
                      <a:pt x="26772" y="19875"/>
                    </a:cubicBezTo>
                    <a:lnTo>
                      <a:pt x="15902" y="26076"/>
                    </a:lnTo>
                    <a:cubicBezTo>
                      <a:pt x="14243" y="27033"/>
                      <a:pt x="12435" y="27480"/>
                      <a:pt x="10648" y="27480"/>
                    </a:cubicBezTo>
                    <a:close/>
                  </a:path>
                </a:pathLst>
              </a:custGeom>
              <a:solidFill>
                <a:schemeClr val="accent1"/>
              </a:solidFill>
              <a:ln w="1063" cap="flat">
                <a:noFill/>
                <a:prstDash val="solid"/>
                <a:miter/>
              </a:ln>
            </p:spPr>
            <p:txBody>
              <a:bodyPr rtlCol="0" anchor="ctr"/>
              <a:lstStyle/>
              <a:p>
                <a:endParaRPr lang="en-GB" dirty="0">
                  <a:solidFill>
                    <a:schemeClr val="accent1"/>
                  </a:solidFill>
                </a:endParaRPr>
              </a:p>
            </p:txBody>
          </p:sp>
        </p:grpSp>
      </p:grpSp>
      <p:grpSp>
        <p:nvGrpSpPr>
          <p:cNvPr id="412" name="Group 411">
            <a:extLst>
              <a:ext uri="{FF2B5EF4-FFF2-40B4-BE49-F238E27FC236}">
                <a16:creationId xmlns:a16="http://schemas.microsoft.com/office/drawing/2014/main" id="{2B0C3253-261C-409D-945B-580113684F35}"/>
              </a:ext>
            </a:extLst>
          </p:cNvPr>
          <p:cNvGrpSpPr/>
          <p:nvPr/>
        </p:nvGrpSpPr>
        <p:grpSpPr>
          <a:xfrm>
            <a:off x="7119025" y="1555329"/>
            <a:ext cx="361018" cy="450064"/>
            <a:chOff x="613541" y="3197043"/>
            <a:chExt cx="361018" cy="450064"/>
          </a:xfrm>
        </p:grpSpPr>
        <p:grpSp>
          <p:nvGrpSpPr>
            <p:cNvPr id="413" name="Graphic 818">
              <a:extLst>
                <a:ext uri="{FF2B5EF4-FFF2-40B4-BE49-F238E27FC236}">
                  <a16:creationId xmlns:a16="http://schemas.microsoft.com/office/drawing/2014/main" id="{2CFEE7D6-5794-4370-9496-411D901882AF}"/>
                </a:ext>
              </a:extLst>
            </p:cNvPr>
            <p:cNvGrpSpPr/>
            <p:nvPr/>
          </p:nvGrpSpPr>
          <p:grpSpPr>
            <a:xfrm>
              <a:off x="613541" y="3299330"/>
              <a:ext cx="217409" cy="245489"/>
              <a:chOff x="2222241" y="2891463"/>
              <a:chExt cx="339094" cy="382890"/>
            </a:xfrm>
            <a:solidFill>
              <a:schemeClr val="accent1"/>
            </a:solidFill>
          </p:grpSpPr>
          <p:grpSp>
            <p:nvGrpSpPr>
              <p:cNvPr id="420" name="Graphic 818">
                <a:extLst>
                  <a:ext uri="{FF2B5EF4-FFF2-40B4-BE49-F238E27FC236}">
                    <a16:creationId xmlns:a16="http://schemas.microsoft.com/office/drawing/2014/main" id="{48D32C82-EA0A-407E-9F3B-63B0D577F8F8}"/>
                  </a:ext>
                </a:extLst>
              </p:cNvPr>
              <p:cNvGrpSpPr/>
              <p:nvPr/>
            </p:nvGrpSpPr>
            <p:grpSpPr>
              <a:xfrm>
                <a:off x="2222241" y="2891463"/>
                <a:ext cx="339094" cy="382890"/>
                <a:chOff x="2222241" y="2891463"/>
                <a:chExt cx="339094" cy="382890"/>
              </a:xfrm>
              <a:solidFill>
                <a:schemeClr val="accent1"/>
              </a:solidFill>
            </p:grpSpPr>
            <p:sp>
              <p:nvSpPr>
                <p:cNvPr id="422" name="Freeform: Shape 421">
                  <a:extLst>
                    <a:ext uri="{FF2B5EF4-FFF2-40B4-BE49-F238E27FC236}">
                      <a16:creationId xmlns:a16="http://schemas.microsoft.com/office/drawing/2014/main" id="{792D01DB-4E30-4B78-8B1E-70BD5A6198DE}"/>
                    </a:ext>
                  </a:extLst>
                </p:cNvPr>
                <p:cNvSpPr/>
                <p:nvPr/>
              </p:nvSpPr>
              <p:spPr>
                <a:xfrm>
                  <a:off x="2222241" y="2970506"/>
                  <a:ext cx="339083" cy="224738"/>
                </a:xfrm>
                <a:custGeom>
                  <a:avLst/>
                  <a:gdLst>
                    <a:gd name="connsiteX0" fmla="*/ 296134 w 339083"/>
                    <a:gd name="connsiteY0" fmla="*/ 224739 h 224738"/>
                    <a:gd name="connsiteX1" fmla="*/ 137256 w 339083"/>
                    <a:gd name="connsiteY1" fmla="*/ 168326 h 224738"/>
                    <a:gd name="connsiteX2" fmla="*/ 32024 w 339083"/>
                    <a:gd name="connsiteY2" fmla="*/ 88802 h 224738"/>
                    <a:gd name="connsiteX3" fmla="*/ 3754 w 339083"/>
                    <a:gd name="connsiteY3" fmla="*/ 16670 h 224738"/>
                    <a:gd name="connsiteX4" fmla="*/ 80364 w 339083"/>
                    <a:gd name="connsiteY4" fmla="*/ 5076 h 224738"/>
                    <a:gd name="connsiteX5" fmla="*/ 201847 w 339083"/>
                    <a:gd name="connsiteY5" fmla="*/ 56448 h 224738"/>
                    <a:gd name="connsiteX6" fmla="*/ 335348 w 339083"/>
                    <a:gd name="connsiteY6" fmla="*/ 208115 h 224738"/>
                    <a:gd name="connsiteX7" fmla="*/ 335348 w 339083"/>
                    <a:gd name="connsiteY7" fmla="*/ 208115 h 224738"/>
                    <a:gd name="connsiteX8" fmla="*/ 296134 w 339083"/>
                    <a:gd name="connsiteY8" fmla="*/ 224739 h 224738"/>
                    <a:gd name="connsiteX9" fmla="*/ 42586 w 339083"/>
                    <a:gd name="connsiteY9" fmla="*/ 21243 h 224738"/>
                    <a:gd name="connsiteX10" fmla="*/ 22186 w 339083"/>
                    <a:gd name="connsiteY10" fmla="*/ 27305 h 224738"/>
                    <a:gd name="connsiteX11" fmla="*/ 47489 w 339083"/>
                    <a:gd name="connsiteY11" fmla="*/ 74188 h 224738"/>
                    <a:gd name="connsiteX12" fmla="*/ 147902 w 339083"/>
                    <a:gd name="connsiteY12" fmla="*/ 149894 h 224738"/>
                    <a:gd name="connsiteX13" fmla="*/ 316938 w 339083"/>
                    <a:gd name="connsiteY13" fmla="*/ 197479 h 224738"/>
                    <a:gd name="connsiteX14" fmla="*/ 316938 w 339083"/>
                    <a:gd name="connsiteY14" fmla="*/ 197479 h 224738"/>
                    <a:gd name="connsiteX15" fmla="*/ 191222 w 339083"/>
                    <a:gd name="connsiteY15" fmla="*/ 74880 h 224738"/>
                    <a:gd name="connsiteX16" fmla="*/ 75451 w 339083"/>
                    <a:gd name="connsiteY16" fmla="*/ 25774 h 224738"/>
                    <a:gd name="connsiteX17" fmla="*/ 42586 w 339083"/>
                    <a:gd name="connsiteY17" fmla="*/ 21243 h 224738"/>
                    <a:gd name="connsiteX18" fmla="*/ 326148 w 339083"/>
                    <a:gd name="connsiteY18" fmla="*/ 202808 h 224738"/>
                    <a:gd name="connsiteX19" fmla="*/ 326255 w 339083"/>
                    <a:gd name="connsiteY19" fmla="*/ 202808 h 224738"/>
                    <a:gd name="connsiteX20" fmla="*/ 326148 w 339083"/>
                    <a:gd name="connsiteY20" fmla="*/ 202808 h 224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39083" h="224738">
                      <a:moveTo>
                        <a:pt x="296134" y="224739"/>
                      </a:moveTo>
                      <a:cubicBezTo>
                        <a:pt x="255782" y="224739"/>
                        <a:pt x="193689" y="200904"/>
                        <a:pt x="137256" y="168326"/>
                      </a:cubicBezTo>
                      <a:cubicBezTo>
                        <a:pt x="94563" y="143683"/>
                        <a:pt x="57189" y="115434"/>
                        <a:pt x="32024" y="88802"/>
                      </a:cubicBezTo>
                      <a:cubicBezTo>
                        <a:pt x="3627" y="58766"/>
                        <a:pt x="-6148" y="33814"/>
                        <a:pt x="3754" y="16670"/>
                      </a:cubicBezTo>
                      <a:cubicBezTo>
                        <a:pt x="13656" y="-476"/>
                        <a:pt x="40150" y="-4496"/>
                        <a:pt x="80364" y="5076"/>
                      </a:cubicBezTo>
                      <a:cubicBezTo>
                        <a:pt x="116005" y="13553"/>
                        <a:pt x="159155" y="31804"/>
                        <a:pt x="201847" y="56448"/>
                      </a:cubicBezTo>
                      <a:cubicBezTo>
                        <a:pt x="284232" y="104022"/>
                        <a:pt x="356546" y="171389"/>
                        <a:pt x="335348" y="208115"/>
                      </a:cubicBezTo>
                      <a:lnTo>
                        <a:pt x="335348" y="208115"/>
                      </a:lnTo>
                      <a:cubicBezTo>
                        <a:pt x="328669" y="219697"/>
                        <a:pt x="314704" y="224739"/>
                        <a:pt x="296134" y="224739"/>
                      </a:cubicBezTo>
                      <a:close/>
                      <a:moveTo>
                        <a:pt x="42586" y="21243"/>
                      </a:moveTo>
                      <a:cubicBezTo>
                        <a:pt x="31067" y="21243"/>
                        <a:pt x="24250" y="23710"/>
                        <a:pt x="22186" y="27305"/>
                      </a:cubicBezTo>
                      <a:cubicBezTo>
                        <a:pt x="18591" y="33517"/>
                        <a:pt x="25026" y="50428"/>
                        <a:pt x="47489" y="74188"/>
                      </a:cubicBezTo>
                      <a:cubicBezTo>
                        <a:pt x="71281" y="99363"/>
                        <a:pt x="106943" y="126261"/>
                        <a:pt x="147902" y="149894"/>
                      </a:cubicBezTo>
                      <a:cubicBezTo>
                        <a:pt x="237849" y="201829"/>
                        <a:pt x="308089" y="212784"/>
                        <a:pt x="316938" y="197479"/>
                      </a:cubicBezTo>
                      <a:lnTo>
                        <a:pt x="316938" y="197479"/>
                      </a:lnTo>
                      <a:cubicBezTo>
                        <a:pt x="325765" y="182185"/>
                        <a:pt x="281180" y="126804"/>
                        <a:pt x="191222" y="74880"/>
                      </a:cubicBezTo>
                      <a:cubicBezTo>
                        <a:pt x="150263" y="51226"/>
                        <a:pt x="109145" y="33793"/>
                        <a:pt x="75451" y="25774"/>
                      </a:cubicBezTo>
                      <a:cubicBezTo>
                        <a:pt x="61996" y="22572"/>
                        <a:pt x="51031" y="21243"/>
                        <a:pt x="42586" y="21243"/>
                      </a:cubicBezTo>
                      <a:close/>
                      <a:moveTo>
                        <a:pt x="326148" y="202808"/>
                      </a:moveTo>
                      <a:lnTo>
                        <a:pt x="326255" y="202808"/>
                      </a:lnTo>
                      <a:lnTo>
                        <a:pt x="326148" y="202808"/>
                      </a:lnTo>
                      <a:close/>
                    </a:path>
                  </a:pathLst>
                </a:custGeom>
                <a:solidFill>
                  <a:schemeClr val="accent1"/>
                </a:solidFill>
                <a:ln w="1063" cap="flat">
                  <a:noFill/>
                  <a:prstDash val="solid"/>
                  <a:miter/>
                </a:ln>
              </p:spPr>
              <p:txBody>
                <a:bodyPr rtlCol="0" anchor="ctr"/>
                <a:lstStyle/>
                <a:p>
                  <a:endParaRPr lang="en-GB" dirty="0"/>
                </a:p>
              </p:txBody>
            </p:sp>
            <p:sp>
              <p:nvSpPr>
                <p:cNvPr id="423" name="Freeform: Shape 422">
                  <a:extLst>
                    <a:ext uri="{FF2B5EF4-FFF2-40B4-BE49-F238E27FC236}">
                      <a16:creationId xmlns:a16="http://schemas.microsoft.com/office/drawing/2014/main" id="{37E75C74-FA66-4B9F-8CAA-C68D2BD7AD2E}"/>
                    </a:ext>
                  </a:extLst>
                </p:cNvPr>
                <p:cNvSpPr/>
                <p:nvPr/>
              </p:nvSpPr>
              <p:spPr>
                <a:xfrm>
                  <a:off x="2222270" y="2970517"/>
                  <a:ext cx="339065" cy="224770"/>
                </a:xfrm>
                <a:custGeom>
                  <a:avLst/>
                  <a:gdLst>
                    <a:gd name="connsiteX0" fmla="*/ 42876 w 339065"/>
                    <a:gd name="connsiteY0" fmla="*/ 224771 h 224770"/>
                    <a:gd name="connsiteX1" fmla="*/ 3736 w 339065"/>
                    <a:gd name="connsiteY1" fmla="*/ 208115 h 224770"/>
                    <a:gd name="connsiteX2" fmla="*/ 137237 w 339065"/>
                    <a:gd name="connsiteY2" fmla="*/ 56448 h 224770"/>
                    <a:gd name="connsiteX3" fmla="*/ 258720 w 339065"/>
                    <a:gd name="connsiteY3" fmla="*/ 5076 h 224770"/>
                    <a:gd name="connsiteX4" fmla="*/ 335330 w 339065"/>
                    <a:gd name="connsiteY4" fmla="*/ 16670 h 224770"/>
                    <a:gd name="connsiteX5" fmla="*/ 335330 w 339065"/>
                    <a:gd name="connsiteY5" fmla="*/ 16670 h 224770"/>
                    <a:gd name="connsiteX6" fmla="*/ 201828 w 339065"/>
                    <a:gd name="connsiteY6" fmla="*/ 168326 h 224770"/>
                    <a:gd name="connsiteX7" fmla="*/ 80346 w 339065"/>
                    <a:gd name="connsiteY7" fmla="*/ 219697 h 224770"/>
                    <a:gd name="connsiteX8" fmla="*/ 42876 w 339065"/>
                    <a:gd name="connsiteY8" fmla="*/ 224771 h 224770"/>
                    <a:gd name="connsiteX9" fmla="*/ 296488 w 339065"/>
                    <a:gd name="connsiteY9" fmla="*/ 21232 h 224770"/>
                    <a:gd name="connsiteX10" fmla="*/ 263633 w 339065"/>
                    <a:gd name="connsiteY10" fmla="*/ 25763 h 224770"/>
                    <a:gd name="connsiteX11" fmla="*/ 147862 w 339065"/>
                    <a:gd name="connsiteY11" fmla="*/ 74869 h 224770"/>
                    <a:gd name="connsiteX12" fmla="*/ 22146 w 339065"/>
                    <a:gd name="connsiteY12" fmla="*/ 197469 h 224770"/>
                    <a:gd name="connsiteX13" fmla="*/ 75400 w 339065"/>
                    <a:gd name="connsiteY13" fmla="*/ 199000 h 224770"/>
                    <a:gd name="connsiteX14" fmla="*/ 191171 w 339065"/>
                    <a:gd name="connsiteY14" fmla="*/ 149894 h 224770"/>
                    <a:gd name="connsiteX15" fmla="*/ 316887 w 339065"/>
                    <a:gd name="connsiteY15" fmla="*/ 27305 h 224770"/>
                    <a:gd name="connsiteX16" fmla="*/ 316887 w 339065"/>
                    <a:gd name="connsiteY16" fmla="*/ 27305 h 224770"/>
                    <a:gd name="connsiteX17" fmla="*/ 296488 w 339065"/>
                    <a:gd name="connsiteY17" fmla="*/ 21232 h 224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39065" h="224770">
                      <a:moveTo>
                        <a:pt x="42876" y="224771"/>
                      </a:moveTo>
                      <a:cubicBezTo>
                        <a:pt x="23423" y="224771"/>
                        <a:pt x="10128" y="219187"/>
                        <a:pt x="3736" y="208115"/>
                      </a:cubicBezTo>
                      <a:cubicBezTo>
                        <a:pt x="-17462" y="171389"/>
                        <a:pt x="54851" y="104022"/>
                        <a:pt x="137237" y="56448"/>
                      </a:cubicBezTo>
                      <a:cubicBezTo>
                        <a:pt x="179929" y="31804"/>
                        <a:pt x="223068" y="13553"/>
                        <a:pt x="258720" y="5076"/>
                      </a:cubicBezTo>
                      <a:cubicBezTo>
                        <a:pt x="298944" y="-4496"/>
                        <a:pt x="325428" y="-476"/>
                        <a:pt x="335330" y="16670"/>
                      </a:cubicBezTo>
                      <a:lnTo>
                        <a:pt x="335330" y="16670"/>
                      </a:lnTo>
                      <a:cubicBezTo>
                        <a:pt x="356527" y="53385"/>
                        <a:pt x="284214" y="120752"/>
                        <a:pt x="201828" y="168326"/>
                      </a:cubicBezTo>
                      <a:cubicBezTo>
                        <a:pt x="159136" y="192970"/>
                        <a:pt x="115986" y="211221"/>
                        <a:pt x="80346" y="219697"/>
                      </a:cubicBezTo>
                      <a:cubicBezTo>
                        <a:pt x="66083" y="223090"/>
                        <a:pt x="53554" y="224771"/>
                        <a:pt x="42876" y="224771"/>
                      </a:cubicBezTo>
                      <a:close/>
                      <a:moveTo>
                        <a:pt x="296488" y="21232"/>
                      </a:moveTo>
                      <a:cubicBezTo>
                        <a:pt x="288053" y="21232"/>
                        <a:pt x="277088" y="22562"/>
                        <a:pt x="263633" y="25763"/>
                      </a:cubicBezTo>
                      <a:cubicBezTo>
                        <a:pt x="229939" y="33783"/>
                        <a:pt x="188821" y="51226"/>
                        <a:pt x="147862" y="74869"/>
                      </a:cubicBezTo>
                      <a:cubicBezTo>
                        <a:pt x="57904" y="126814"/>
                        <a:pt x="13318" y="182174"/>
                        <a:pt x="22146" y="197469"/>
                      </a:cubicBezTo>
                      <a:cubicBezTo>
                        <a:pt x="25720" y="203680"/>
                        <a:pt x="43609" y="206551"/>
                        <a:pt x="75400" y="199000"/>
                      </a:cubicBezTo>
                      <a:cubicBezTo>
                        <a:pt x="109094" y="190981"/>
                        <a:pt x="150213" y="173538"/>
                        <a:pt x="191171" y="149894"/>
                      </a:cubicBezTo>
                      <a:cubicBezTo>
                        <a:pt x="281129" y="97959"/>
                        <a:pt x="325715" y="42589"/>
                        <a:pt x="316887" y="27305"/>
                      </a:cubicBezTo>
                      <a:lnTo>
                        <a:pt x="316887" y="27305"/>
                      </a:lnTo>
                      <a:cubicBezTo>
                        <a:pt x="314824" y="23710"/>
                        <a:pt x="308006" y="21232"/>
                        <a:pt x="296488" y="21232"/>
                      </a:cubicBezTo>
                      <a:close/>
                    </a:path>
                  </a:pathLst>
                </a:custGeom>
                <a:solidFill>
                  <a:schemeClr val="accent1"/>
                </a:solidFill>
                <a:ln w="1063" cap="flat">
                  <a:noFill/>
                  <a:prstDash val="solid"/>
                  <a:miter/>
                </a:ln>
              </p:spPr>
              <p:txBody>
                <a:bodyPr rtlCol="0" anchor="ctr"/>
                <a:lstStyle/>
                <a:p>
                  <a:endParaRPr lang="en-GB" dirty="0"/>
                </a:p>
              </p:txBody>
            </p:sp>
            <p:sp>
              <p:nvSpPr>
                <p:cNvPr id="424" name="Freeform: Shape 423">
                  <a:extLst>
                    <a:ext uri="{FF2B5EF4-FFF2-40B4-BE49-F238E27FC236}">
                      <a16:creationId xmlns:a16="http://schemas.microsoft.com/office/drawing/2014/main" id="{6A7F9F01-51DC-4887-8E32-3F8D52C63CBF}"/>
                    </a:ext>
                  </a:extLst>
                </p:cNvPr>
                <p:cNvSpPr/>
                <p:nvPr/>
              </p:nvSpPr>
              <p:spPr>
                <a:xfrm>
                  <a:off x="2327217" y="2891463"/>
                  <a:ext cx="129172" cy="382890"/>
                </a:xfrm>
                <a:custGeom>
                  <a:avLst/>
                  <a:gdLst>
                    <a:gd name="connsiteX0" fmla="*/ 64581 w 129172"/>
                    <a:gd name="connsiteY0" fmla="*/ 382891 h 382890"/>
                    <a:gd name="connsiteX1" fmla="*/ 0 w 129172"/>
                    <a:gd name="connsiteY1" fmla="*/ 191445 h 382890"/>
                    <a:gd name="connsiteX2" fmla="*/ 64581 w 129172"/>
                    <a:gd name="connsiteY2" fmla="*/ 0 h 382890"/>
                    <a:gd name="connsiteX3" fmla="*/ 129172 w 129172"/>
                    <a:gd name="connsiteY3" fmla="*/ 191445 h 382890"/>
                    <a:gd name="connsiteX4" fmla="*/ 64581 w 129172"/>
                    <a:gd name="connsiteY4" fmla="*/ 382891 h 382890"/>
                    <a:gd name="connsiteX5" fmla="*/ 64581 w 129172"/>
                    <a:gd name="connsiteY5" fmla="*/ 21272 h 382890"/>
                    <a:gd name="connsiteX6" fmla="*/ 21272 w 129172"/>
                    <a:gd name="connsiteY6" fmla="*/ 191445 h 382890"/>
                    <a:gd name="connsiteX7" fmla="*/ 64581 w 129172"/>
                    <a:gd name="connsiteY7" fmla="*/ 361619 h 382890"/>
                    <a:gd name="connsiteX8" fmla="*/ 107901 w 129172"/>
                    <a:gd name="connsiteY8" fmla="*/ 191445 h 382890"/>
                    <a:gd name="connsiteX9" fmla="*/ 64581 w 129172"/>
                    <a:gd name="connsiteY9" fmla="*/ 21272 h 38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172" h="382890">
                      <a:moveTo>
                        <a:pt x="64581" y="382891"/>
                      </a:moveTo>
                      <a:cubicBezTo>
                        <a:pt x="22186" y="382891"/>
                        <a:pt x="0" y="286583"/>
                        <a:pt x="0" y="191445"/>
                      </a:cubicBezTo>
                      <a:cubicBezTo>
                        <a:pt x="0" y="96307"/>
                        <a:pt x="22186" y="0"/>
                        <a:pt x="64581" y="0"/>
                      </a:cubicBezTo>
                      <a:cubicBezTo>
                        <a:pt x="106986" y="0"/>
                        <a:pt x="129172" y="96307"/>
                        <a:pt x="129172" y="191445"/>
                      </a:cubicBezTo>
                      <a:cubicBezTo>
                        <a:pt x="129172" y="286583"/>
                        <a:pt x="106986" y="382891"/>
                        <a:pt x="64581" y="382891"/>
                      </a:cubicBezTo>
                      <a:close/>
                      <a:moveTo>
                        <a:pt x="64581" y="21272"/>
                      </a:moveTo>
                      <a:cubicBezTo>
                        <a:pt x="46925" y="21272"/>
                        <a:pt x="21272" y="87565"/>
                        <a:pt x="21272" y="191445"/>
                      </a:cubicBezTo>
                      <a:cubicBezTo>
                        <a:pt x="21272" y="295326"/>
                        <a:pt x="46925" y="361619"/>
                        <a:pt x="64581" y="361619"/>
                      </a:cubicBezTo>
                      <a:cubicBezTo>
                        <a:pt x="82247" y="361619"/>
                        <a:pt x="107901" y="295326"/>
                        <a:pt x="107901" y="191445"/>
                      </a:cubicBezTo>
                      <a:cubicBezTo>
                        <a:pt x="107901" y="87565"/>
                        <a:pt x="82247" y="21272"/>
                        <a:pt x="64581" y="21272"/>
                      </a:cubicBezTo>
                      <a:close/>
                    </a:path>
                  </a:pathLst>
                </a:custGeom>
                <a:solidFill>
                  <a:schemeClr val="accent1"/>
                </a:solidFill>
                <a:ln w="1063" cap="flat">
                  <a:noFill/>
                  <a:prstDash val="solid"/>
                  <a:miter/>
                </a:ln>
              </p:spPr>
              <p:txBody>
                <a:bodyPr rtlCol="0" anchor="ctr"/>
                <a:lstStyle/>
                <a:p>
                  <a:endParaRPr lang="en-GB" dirty="0"/>
                </a:p>
              </p:txBody>
            </p:sp>
          </p:grpSp>
          <p:sp>
            <p:nvSpPr>
              <p:cNvPr id="421" name="Freeform: Shape 420">
                <a:extLst>
                  <a:ext uri="{FF2B5EF4-FFF2-40B4-BE49-F238E27FC236}">
                    <a16:creationId xmlns:a16="http://schemas.microsoft.com/office/drawing/2014/main" id="{E475ED97-BAA5-4BC5-BBEF-8A66EFDDE39B}"/>
                  </a:ext>
                </a:extLst>
              </p:cNvPr>
              <p:cNvSpPr/>
              <p:nvPr/>
            </p:nvSpPr>
            <p:spPr>
              <a:xfrm>
                <a:off x="2359156" y="3050267"/>
                <a:ext cx="65282" cy="65272"/>
              </a:xfrm>
              <a:custGeom>
                <a:avLst/>
                <a:gdLst>
                  <a:gd name="connsiteX0" fmla="*/ 32641 w 65282"/>
                  <a:gd name="connsiteY0" fmla="*/ 65272 h 65272"/>
                  <a:gd name="connsiteX1" fmla="*/ 0 w 65282"/>
                  <a:gd name="connsiteY1" fmla="*/ 32642 h 65272"/>
                  <a:gd name="connsiteX2" fmla="*/ 32641 w 65282"/>
                  <a:gd name="connsiteY2" fmla="*/ 0 h 65272"/>
                  <a:gd name="connsiteX3" fmla="*/ 65283 w 65282"/>
                  <a:gd name="connsiteY3" fmla="*/ 32642 h 65272"/>
                  <a:gd name="connsiteX4" fmla="*/ 32641 w 65282"/>
                  <a:gd name="connsiteY4" fmla="*/ 65272 h 65272"/>
                  <a:gd name="connsiteX5" fmla="*/ 32641 w 65282"/>
                  <a:gd name="connsiteY5" fmla="*/ 21261 h 65272"/>
                  <a:gd name="connsiteX6" fmla="*/ 21272 w 65282"/>
                  <a:gd name="connsiteY6" fmla="*/ 32631 h 65272"/>
                  <a:gd name="connsiteX7" fmla="*/ 32641 w 65282"/>
                  <a:gd name="connsiteY7" fmla="*/ 43990 h 65272"/>
                  <a:gd name="connsiteX8" fmla="*/ 44011 w 65282"/>
                  <a:gd name="connsiteY8" fmla="*/ 32631 h 65272"/>
                  <a:gd name="connsiteX9" fmla="*/ 32641 w 65282"/>
                  <a:gd name="connsiteY9" fmla="*/ 21261 h 6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82" h="65272">
                    <a:moveTo>
                      <a:pt x="32641" y="65272"/>
                    </a:moveTo>
                    <a:cubicBezTo>
                      <a:pt x="14646" y="65272"/>
                      <a:pt x="0" y="50637"/>
                      <a:pt x="0" y="32642"/>
                    </a:cubicBezTo>
                    <a:cubicBezTo>
                      <a:pt x="0" y="14646"/>
                      <a:pt x="14635" y="0"/>
                      <a:pt x="32641" y="0"/>
                    </a:cubicBezTo>
                    <a:cubicBezTo>
                      <a:pt x="50637" y="0"/>
                      <a:pt x="65283" y="14646"/>
                      <a:pt x="65283" y="32642"/>
                    </a:cubicBezTo>
                    <a:cubicBezTo>
                      <a:pt x="65283" y="50637"/>
                      <a:pt x="50637" y="65272"/>
                      <a:pt x="32641" y="65272"/>
                    </a:cubicBezTo>
                    <a:close/>
                    <a:moveTo>
                      <a:pt x="32641" y="21261"/>
                    </a:moveTo>
                    <a:cubicBezTo>
                      <a:pt x="26377" y="21261"/>
                      <a:pt x="21272" y="26356"/>
                      <a:pt x="21272" y="32631"/>
                    </a:cubicBezTo>
                    <a:cubicBezTo>
                      <a:pt x="21272" y="38895"/>
                      <a:pt x="26366" y="43990"/>
                      <a:pt x="32641" y="43990"/>
                    </a:cubicBezTo>
                    <a:cubicBezTo>
                      <a:pt x="38917" y="43990"/>
                      <a:pt x="44011" y="38885"/>
                      <a:pt x="44011" y="32631"/>
                    </a:cubicBezTo>
                    <a:cubicBezTo>
                      <a:pt x="44011" y="26366"/>
                      <a:pt x="38917" y="21261"/>
                      <a:pt x="32641" y="21261"/>
                    </a:cubicBezTo>
                    <a:close/>
                  </a:path>
                </a:pathLst>
              </a:custGeom>
              <a:solidFill>
                <a:schemeClr val="accent1"/>
              </a:solidFill>
              <a:ln w="1063" cap="flat">
                <a:noFill/>
                <a:prstDash val="solid"/>
                <a:miter/>
              </a:ln>
            </p:spPr>
            <p:txBody>
              <a:bodyPr rtlCol="0" anchor="ctr"/>
              <a:lstStyle/>
              <a:p>
                <a:endParaRPr lang="en-GB" dirty="0"/>
              </a:p>
            </p:txBody>
          </p:sp>
        </p:grpSp>
        <p:grpSp>
          <p:nvGrpSpPr>
            <p:cNvPr id="414" name="Group 413">
              <a:extLst>
                <a:ext uri="{FF2B5EF4-FFF2-40B4-BE49-F238E27FC236}">
                  <a16:creationId xmlns:a16="http://schemas.microsoft.com/office/drawing/2014/main" id="{5993DFEE-1919-4678-B07C-8AD604EEF1FC}"/>
                </a:ext>
              </a:extLst>
            </p:cNvPr>
            <p:cNvGrpSpPr/>
            <p:nvPr/>
          </p:nvGrpSpPr>
          <p:grpSpPr>
            <a:xfrm>
              <a:off x="626784" y="3197043"/>
              <a:ext cx="347775" cy="450064"/>
              <a:chOff x="626784" y="3197043"/>
              <a:chExt cx="347775" cy="450064"/>
            </a:xfrm>
          </p:grpSpPr>
          <p:sp>
            <p:nvSpPr>
              <p:cNvPr id="415" name="Freeform: Shape 414">
                <a:extLst>
                  <a:ext uri="{FF2B5EF4-FFF2-40B4-BE49-F238E27FC236}">
                    <a16:creationId xmlns:a16="http://schemas.microsoft.com/office/drawing/2014/main" id="{E6156FC2-6C54-45B7-A601-64CD2048A418}"/>
                  </a:ext>
                </a:extLst>
              </p:cNvPr>
              <p:cNvSpPr/>
              <p:nvPr/>
            </p:nvSpPr>
            <p:spPr>
              <a:xfrm>
                <a:off x="626784" y="3197043"/>
                <a:ext cx="190936" cy="143202"/>
              </a:xfrm>
              <a:custGeom>
                <a:avLst/>
                <a:gdLst>
                  <a:gd name="connsiteX0" fmla="*/ 287168 w 297803"/>
                  <a:gd name="connsiteY0" fmla="*/ 223353 h 223352"/>
                  <a:gd name="connsiteX1" fmla="*/ 276532 w 297803"/>
                  <a:gd name="connsiteY1" fmla="*/ 212717 h 223352"/>
                  <a:gd name="connsiteX2" fmla="*/ 276532 w 297803"/>
                  <a:gd name="connsiteY2" fmla="*/ 148902 h 223352"/>
                  <a:gd name="connsiteX3" fmla="*/ 148902 w 297803"/>
                  <a:gd name="connsiteY3" fmla="*/ 21272 h 223352"/>
                  <a:gd name="connsiteX4" fmla="*/ 21272 w 297803"/>
                  <a:gd name="connsiteY4" fmla="*/ 148902 h 223352"/>
                  <a:gd name="connsiteX5" fmla="*/ 21272 w 297803"/>
                  <a:gd name="connsiteY5" fmla="*/ 212717 h 223352"/>
                  <a:gd name="connsiteX6" fmla="*/ 10636 w 297803"/>
                  <a:gd name="connsiteY6" fmla="*/ 223353 h 223352"/>
                  <a:gd name="connsiteX7" fmla="*/ 0 w 297803"/>
                  <a:gd name="connsiteY7" fmla="*/ 212717 h 223352"/>
                  <a:gd name="connsiteX8" fmla="*/ 0 w 297803"/>
                  <a:gd name="connsiteY8" fmla="*/ 148902 h 223352"/>
                  <a:gd name="connsiteX9" fmla="*/ 148902 w 297803"/>
                  <a:gd name="connsiteY9" fmla="*/ 0 h 223352"/>
                  <a:gd name="connsiteX10" fmla="*/ 297804 w 297803"/>
                  <a:gd name="connsiteY10" fmla="*/ 148902 h 223352"/>
                  <a:gd name="connsiteX11" fmla="*/ 297804 w 297803"/>
                  <a:gd name="connsiteY11" fmla="*/ 212717 h 223352"/>
                  <a:gd name="connsiteX12" fmla="*/ 287168 w 297803"/>
                  <a:gd name="connsiteY12" fmla="*/ 223353 h 22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7803" h="223352">
                    <a:moveTo>
                      <a:pt x="287168" y="223353"/>
                    </a:moveTo>
                    <a:cubicBezTo>
                      <a:pt x="281297" y="223353"/>
                      <a:pt x="276532" y="218599"/>
                      <a:pt x="276532" y="212717"/>
                    </a:cubicBezTo>
                    <a:lnTo>
                      <a:pt x="276532" y="148902"/>
                    </a:lnTo>
                    <a:cubicBezTo>
                      <a:pt x="276532" y="78524"/>
                      <a:pt x="219279" y="21272"/>
                      <a:pt x="148902" y="21272"/>
                    </a:cubicBezTo>
                    <a:cubicBezTo>
                      <a:pt x="78525" y="21272"/>
                      <a:pt x="21272" y="78524"/>
                      <a:pt x="21272" y="148902"/>
                    </a:cubicBezTo>
                    <a:lnTo>
                      <a:pt x="21272" y="212717"/>
                    </a:lnTo>
                    <a:cubicBezTo>
                      <a:pt x="21272" y="218599"/>
                      <a:pt x="16507" y="223353"/>
                      <a:pt x="10636" y="223353"/>
                    </a:cubicBezTo>
                    <a:cubicBezTo>
                      <a:pt x="4765" y="223353"/>
                      <a:pt x="0" y="218599"/>
                      <a:pt x="0" y="212717"/>
                    </a:cubicBezTo>
                    <a:lnTo>
                      <a:pt x="0" y="148902"/>
                    </a:lnTo>
                    <a:cubicBezTo>
                      <a:pt x="0" y="66793"/>
                      <a:pt x="66793" y="0"/>
                      <a:pt x="148902" y="0"/>
                    </a:cubicBezTo>
                    <a:cubicBezTo>
                      <a:pt x="231011" y="0"/>
                      <a:pt x="297804" y="66793"/>
                      <a:pt x="297804" y="148902"/>
                    </a:cubicBezTo>
                    <a:lnTo>
                      <a:pt x="297804" y="212717"/>
                    </a:lnTo>
                    <a:cubicBezTo>
                      <a:pt x="297804" y="218599"/>
                      <a:pt x="293039" y="223353"/>
                      <a:pt x="287168" y="223353"/>
                    </a:cubicBezTo>
                    <a:close/>
                  </a:path>
                </a:pathLst>
              </a:custGeom>
              <a:solidFill>
                <a:schemeClr val="tx2"/>
              </a:solidFill>
              <a:ln w="1063" cap="flat">
                <a:noFill/>
                <a:prstDash val="solid"/>
                <a:miter/>
              </a:ln>
            </p:spPr>
            <p:txBody>
              <a:bodyPr rtlCol="0" anchor="ctr"/>
              <a:lstStyle/>
              <a:p>
                <a:endParaRPr lang="en-GB" dirty="0"/>
              </a:p>
            </p:txBody>
          </p:sp>
          <p:sp>
            <p:nvSpPr>
              <p:cNvPr id="416" name="Freeform: Shape 415">
                <a:extLst>
                  <a:ext uri="{FF2B5EF4-FFF2-40B4-BE49-F238E27FC236}">
                    <a16:creationId xmlns:a16="http://schemas.microsoft.com/office/drawing/2014/main" id="{BD4A4601-AEAC-4D26-A4CA-F8E8AC715C23}"/>
                  </a:ext>
                </a:extLst>
              </p:cNvPr>
              <p:cNvSpPr/>
              <p:nvPr/>
            </p:nvSpPr>
            <p:spPr>
              <a:xfrm>
                <a:off x="626784" y="3503898"/>
                <a:ext cx="190936" cy="143209"/>
              </a:xfrm>
              <a:custGeom>
                <a:avLst/>
                <a:gdLst>
                  <a:gd name="connsiteX0" fmla="*/ 148902 w 297803"/>
                  <a:gd name="connsiteY0" fmla="*/ 223364 h 223363"/>
                  <a:gd name="connsiteX1" fmla="*/ 0 w 297803"/>
                  <a:gd name="connsiteY1" fmla="*/ 74462 h 223363"/>
                  <a:gd name="connsiteX2" fmla="*/ 0 w 297803"/>
                  <a:gd name="connsiteY2" fmla="*/ 10636 h 223363"/>
                  <a:gd name="connsiteX3" fmla="*/ 10636 w 297803"/>
                  <a:gd name="connsiteY3" fmla="*/ 0 h 223363"/>
                  <a:gd name="connsiteX4" fmla="*/ 21272 w 297803"/>
                  <a:gd name="connsiteY4" fmla="*/ 10636 h 223363"/>
                  <a:gd name="connsiteX5" fmla="*/ 21272 w 297803"/>
                  <a:gd name="connsiteY5" fmla="*/ 74462 h 223363"/>
                  <a:gd name="connsiteX6" fmla="*/ 148902 w 297803"/>
                  <a:gd name="connsiteY6" fmla="*/ 202092 h 223363"/>
                  <a:gd name="connsiteX7" fmla="*/ 276532 w 297803"/>
                  <a:gd name="connsiteY7" fmla="*/ 74462 h 223363"/>
                  <a:gd name="connsiteX8" fmla="*/ 276532 w 297803"/>
                  <a:gd name="connsiteY8" fmla="*/ 10636 h 223363"/>
                  <a:gd name="connsiteX9" fmla="*/ 287168 w 297803"/>
                  <a:gd name="connsiteY9" fmla="*/ 0 h 223363"/>
                  <a:gd name="connsiteX10" fmla="*/ 297804 w 297803"/>
                  <a:gd name="connsiteY10" fmla="*/ 10636 h 223363"/>
                  <a:gd name="connsiteX11" fmla="*/ 297804 w 297803"/>
                  <a:gd name="connsiteY11" fmla="*/ 74462 h 223363"/>
                  <a:gd name="connsiteX12" fmla="*/ 148902 w 297803"/>
                  <a:gd name="connsiteY12" fmla="*/ 223364 h 22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7803" h="223363">
                    <a:moveTo>
                      <a:pt x="148902" y="223364"/>
                    </a:moveTo>
                    <a:cubicBezTo>
                      <a:pt x="66793" y="223364"/>
                      <a:pt x="0" y="156570"/>
                      <a:pt x="0" y="74462"/>
                    </a:cubicBezTo>
                    <a:lnTo>
                      <a:pt x="0" y="10636"/>
                    </a:lnTo>
                    <a:cubicBezTo>
                      <a:pt x="0" y="4754"/>
                      <a:pt x="4765" y="0"/>
                      <a:pt x="10636" y="0"/>
                    </a:cubicBezTo>
                    <a:cubicBezTo>
                      <a:pt x="16507" y="0"/>
                      <a:pt x="21272" y="4754"/>
                      <a:pt x="21272" y="10636"/>
                    </a:cubicBezTo>
                    <a:lnTo>
                      <a:pt x="21272" y="74462"/>
                    </a:lnTo>
                    <a:cubicBezTo>
                      <a:pt x="21272" y="144839"/>
                      <a:pt x="78525" y="202092"/>
                      <a:pt x="148902" y="202092"/>
                    </a:cubicBezTo>
                    <a:cubicBezTo>
                      <a:pt x="219279" y="202092"/>
                      <a:pt x="276532" y="144839"/>
                      <a:pt x="276532" y="74462"/>
                    </a:cubicBezTo>
                    <a:lnTo>
                      <a:pt x="276532" y="10636"/>
                    </a:lnTo>
                    <a:cubicBezTo>
                      <a:pt x="276532" y="4754"/>
                      <a:pt x="281297" y="0"/>
                      <a:pt x="287168" y="0"/>
                    </a:cubicBezTo>
                    <a:cubicBezTo>
                      <a:pt x="293039" y="0"/>
                      <a:pt x="297804" y="4754"/>
                      <a:pt x="297804" y="10636"/>
                    </a:cubicBezTo>
                    <a:lnTo>
                      <a:pt x="297804" y="74462"/>
                    </a:lnTo>
                    <a:cubicBezTo>
                      <a:pt x="297804" y="156560"/>
                      <a:pt x="231011" y="223364"/>
                      <a:pt x="148902" y="223364"/>
                    </a:cubicBezTo>
                    <a:close/>
                  </a:path>
                </a:pathLst>
              </a:custGeom>
              <a:solidFill>
                <a:schemeClr val="tx2"/>
              </a:solidFill>
              <a:ln w="1063" cap="flat">
                <a:noFill/>
                <a:prstDash val="solid"/>
                <a:miter/>
              </a:ln>
            </p:spPr>
            <p:txBody>
              <a:bodyPr rtlCol="0" anchor="ctr"/>
              <a:lstStyle/>
              <a:p>
                <a:endParaRPr lang="en-GB" dirty="0"/>
              </a:p>
            </p:txBody>
          </p:sp>
          <p:sp>
            <p:nvSpPr>
              <p:cNvPr id="417" name="Freeform: Shape 416">
                <a:extLst>
                  <a:ext uri="{FF2B5EF4-FFF2-40B4-BE49-F238E27FC236}">
                    <a16:creationId xmlns:a16="http://schemas.microsoft.com/office/drawing/2014/main" id="{DEB87B7B-8440-428E-BC91-089A5BDEFCD0}"/>
                  </a:ext>
                </a:extLst>
              </p:cNvPr>
              <p:cNvSpPr/>
              <p:nvPr/>
            </p:nvSpPr>
            <p:spPr>
              <a:xfrm>
                <a:off x="790397" y="3387979"/>
                <a:ext cx="184162" cy="259128"/>
              </a:xfrm>
              <a:custGeom>
                <a:avLst/>
                <a:gdLst>
                  <a:gd name="connsiteX0" fmla="*/ 85159 w 287239"/>
                  <a:gd name="connsiteY0" fmla="*/ 404163 h 404162"/>
                  <a:gd name="connsiteX1" fmla="*/ 6496 w 287239"/>
                  <a:gd name="connsiteY1" fmla="*/ 388272 h 404162"/>
                  <a:gd name="connsiteX2" fmla="*/ 848 w 287239"/>
                  <a:gd name="connsiteY2" fmla="*/ 374329 h 404162"/>
                  <a:gd name="connsiteX3" fmla="*/ 14792 w 287239"/>
                  <a:gd name="connsiteY3" fmla="*/ 368681 h 404162"/>
                  <a:gd name="connsiteX4" fmla="*/ 85169 w 287239"/>
                  <a:gd name="connsiteY4" fmla="*/ 382891 h 404162"/>
                  <a:gd name="connsiteX5" fmla="*/ 265979 w 287239"/>
                  <a:gd name="connsiteY5" fmla="*/ 202081 h 404162"/>
                  <a:gd name="connsiteX6" fmla="*/ 85169 w 287239"/>
                  <a:gd name="connsiteY6" fmla="*/ 21272 h 404162"/>
                  <a:gd name="connsiteX7" fmla="*/ 75129 w 287239"/>
                  <a:gd name="connsiteY7" fmla="*/ 21538 h 404162"/>
                  <a:gd name="connsiteX8" fmla="*/ 63908 w 287239"/>
                  <a:gd name="connsiteY8" fmla="*/ 11518 h 404162"/>
                  <a:gd name="connsiteX9" fmla="*/ 73927 w 287239"/>
                  <a:gd name="connsiteY9" fmla="*/ 308 h 404162"/>
                  <a:gd name="connsiteX10" fmla="*/ 85159 w 287239"/>
                  <a:gd name="connsiteY10" fmla="*/ 0 h 404162"/>
                  <a:gd name="connsiteX11" fmla="*/ 287240 w 287239"/>
                  <a:gd name="connsiteY11" fmla="*/ 202081 h 404162"/>
                  <a:gd name="connsiteX12" fmla="*/ 85159 w 287239"/>
                  <a:gd name="connsiteY12" fmla="*/ 404163 h 40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7239" h="404162">
                    <a:moveTo>
                      <a:pt x="85159" y="404163"/>
                    </a:moveTo>
                    <a:cubicBezTo>
                      <a:pt x="57888" y="404163"/>
                      <a:pt x="31426" y="398813"/>
                      <a:pt x="6496" y="388272"/>
                    </a:cubicBezTo>
                    <a:cubicBezTo>
                      <a:pt x="1082" y="385986"/>
                      <a:pt x="-1449" y="379742"/>
                      <a:pt x="848" y="374329"/>
                    </a:cubicBezTo>
                    <a:cubicBezTo>
                      <a:pt x="3135" y="368905"/>
                      <a:pt x="9367" y="366405"/>
                      <a:pt x="14792" y="368681"/>
                    </a:cubicBezTo>
                    <a:cubicBezTo>
                      <a:pt x="37084" y="378115"/>
                      <a:pt x="60760" y="382891"/>
                      <a:pt x="85169" y="382891"/>
                    </a:cubicBezTo>
                    <a:cubicBezTo>
                      <a:pt x="184870" y="382891"/>
                      <a:pt x="265979" y="301782"/>
                      <a:pt x="265979" y="202081"/>
                    </a:cubicBezTo>
                    <a:cubicBezTo>
                      <a:pt x="265979" y="102381"/>
                      <a:pt x="184870" y="21272"/>
                      <a:pt x="85169" y="21272"/>
                    </a:cubicBezTo>
                    <a:cubicBezTo>
                      <a:pt x="81798" y="21272"/>
                      <a:pt x="78458" y="21357"/>
                      <a:pt x="75129" y="21538"/>
                    </a:cubicBezTo>
                    <a:cubicBezTo>
                      <a:pt x="69386" y="21910"/>
                      <a:pt x="64248" y="17379"/>
                      <a:pt x="63908" y="11518"/>
                    </a:cubicBezTo>
                    <a:cubicBezTo>
                      <a:pt x="63578" y="5658"/>
                      <a:pt x="68067" y="638"/>
                      <a:pt x="73927" y="308"/>
                    </a:cubicBezTo>
                    <a:cubicBezTo>
                      <a:pt x="77650" y="96"/>
                      <a:pt x="81393" y="0"/>
                      <a:pt x="85159" y="0"/>
                    </a:cubicBezTo>
                    <a:cubicBezTo>
                      <a:pt x="196590" y="0"/>
                      <a:pt x="287240" y="90649"/>
                      <a:pt x="287240" y="202081"/>
                    </a:cubicBezTo>
                    <a:cubicBezTo>
                      <a:pt x="287240" y="313513"/>
                      <a:pt x="196580" y="404163"/>
                      <a:pt x="85159" y="404163"/>
                    </a:cubicBezTo>
                    <a:close/>
                  </a:path>
                </a:pathLst>
              </a:custGeom>
              <a:solidFill>
                <a:schemeClr val="tx2"/>
              </a:solidFill>
              <a:ln w="1063" cap="flat">
                <a:noFill/>
                <a:prstDash val="solid"/>
                <a:miter/>
              </a:ln>
            </p:spPr>
            <p:txBody>
              <a:bodyPr rtlCol="0" anchor="ctr"/>
              <a:lstStyle/>
              <a:p>
                <a:endParaRPr lang="en-GB" dirty="0"/>
              </a:p>
            </p:txBody>
          </p:sp>
          <p:sp>
            <p:nvSpPr>
              <p:cNvPr id="418" name="Freeform: Shape 417">
                <a:extLst>
                  <a:ext uri="{FF2B5EF4-FFF2-40B4-BE49-F238E27FC236}">
                    <a16:creationId xmlns:a16="http://schemas.microsoft.com/office/drawing/2014/main" id="{DDFCD6E0-93A2-4A59-90E3-9982F5F4FD4D}"/>
                  </a:ext>
                </a:extLst>
              </p:cNvPr>
              <p:cNvSpPr/>
              <p:nvPr/>
            </p:nvSpPr>
            <p:spPr>
              <a:xfrm>
                <a:off x="838177" y="3490266"/>
                <a:ext cx="133396" cy="13638"/>
              </a:xfrm>
              <a:custGeom>
                <a:avLst/>
                <a:gdLst>
                  <a:gd name="connsiteX0" fmla="*/ 197423 w 208058"/>
                  <a:gd name="connsiteY0" fmla="*/ 21272 h 21271"/>
                  <a:gd name="connsiteX1" fmla="*/ 10636 w 208058"/>
                  <a:gd name="connsiteY1" fmla="*/ 21272 h 21271"/>
                  <a:gd name="connsiteX2" fmla="*/ 0 w 208058"/>
                  <a:gd name="connsiteY2" fmla="*/ 10636 h 21271"/>
                  <a:gd name="connsiteX3" fmla="*/ 10636 w 208058"/>
                  <a:gd name="connsiteY3" fmla="*/ 0 h 21271"/>
                  <a:gd name="connsiteX4" fmla="*/ 197423 w 208058"/>
                  <a:gd name="connsiteY4" fmla="*/ 0 h 21271"/>
                  <a:gd name="connsiteX5" fmla="*/ 208059 w 208058"/>
                  <a:gd name="connsiteY5" fmla="*/ 10636 h 21271"/>
                  <a:gd name="connsiteX6" fmla="*/ 197423 w 208058"/>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058" h="21271">
                    <a:moveTo>
                      <a:pt x="197423" y="21272"/>
                    </a:moveTo>
                    <a:lnTo>
                      <a:pt x="10636" y="21272"/>
                    </a:lnTo>
                    <a:cubicBezTo>
                      <a:pt x="4765" y="21272"/>
                      <a:pt x="0" y="16517"/>
                      <a:pt x="0" y="10636"/>
                    </a:cubicBezTo>
                    <a:cubicBezTo>
                      <a:pt x="0" y="4754"/>
                      <a:pt x="4765" y="0"/>
                      <a:pt x="10636" y="0"/>
                    </a:cubicBezTo>
                    <a:lnTo>
                      <a:pt x="197423" y="0"/>
                    </a:lnTo>
                    <a:cubicBezTo>
                      <a:pt x="203294" y="0"/>
                      <a:pt x="208059" y="4754"/>
                      <a:pt x="208059" y="10636"/>
                    </a:cubicBezTo>
                    <a:cubicBezTo>
                      <a:pt x="208059" y="16517"/>
                      <a:pt x="203304" y="21272"/>
                      <a:pt x="197423" y="21272"/>
                    </a:cubicBezTo>
                    <a:close/>
                  </a:path>
                </a:pathLst>
              </a:custGeom>
              <a:solidFill>
                <a:schemeClr val="tx2"/>
              </a:solidFill>
              <a:ln w="1063" cap="flat">
                <a:noFill/>
                <a:prstDash val="solid"/>
                <a:miter/>
              </a:ln>
            </p:spPr>
            <p:txBody>
              <a:bodyPr rtlCol="0" anchor="ctr"/>
              <a:lstStyle/>
              <a:p>
                <a:endParaRPr lang="en-GB" dirty="0"/>
              </a:p>
            </p:txBody>
          </p:sp>
          <p:sp>
            <p:nvSpPr>
              <p:cNvPr id="419" name="Freeform: Shape 418">
                <a:extLst>
                  <a:ext uri="{FF2B5EF4-FFF2-40B4-BE49-F238E27FC236}">
                    <a16:creationId xmlns:a16="http://schemas.microsoft.com/office/drawing/2014/main" id="{DC0748BD-D244-44DB-A983-6067BB61DDBF}"/>
                  </a:ext>
                </a:extLst>
              </p:cNvPr>
              <p:cNvSpPr/>
              <p:nvPr/>
            </p:nvSpPr>
            <p:spPr>
              <a:xfrm>
                <a:off x="804082" y="3531182"/>
                <a:ext cx="166216" cy="13638"/>
              </a:xfrm>
              <a:custGeom>
                <a:avLst/>
                <a:gdLst>
                  <a:gd name="connsiteX0" fmla="*/ 248613 w 259248"/>
                  <a:gd name="connsiteY0" fmla="*/ 21272 h 21271"/>
                  <a:gd name="connsiteX1" fmla="*/ 10636 w 259248"/>
                  <a:gd name="connsiteY1" fmla="*/ 21272 h 21271"/>
                  <a:gd name="connsiteX2" fmla="*/ 0 w 259248"/>
                  <a:gd name="connsiteY2" fmla="*/ 10636 h 21271"/>
                  <a:gd name="connsiteX3" fmla="*/ 10636 w 259248"/>
                  <a:gd name="connsiteY3" fmla="*/ 0 h 21271"/>
                  <a:gd name="connsiteX4" fmla="*/ 248613 w 259248"/>
                  <a:gd name="connsiteY4" fmla="*/ 0 h 21271"/>
                  <a:gd name="connsiteX5" fmla="*/ 259249 w 259248"/>
                  <a:gd name="connsiteY5" fmla="*/ 10636 h 21271"/>
                  <a:gd name="connsiteX6" fmla="*/ 248613 w 259248"/>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248" h="21271">
                    <a:moveTo>
                      <a:pt x="248613" y="21272"/>
                    </a:moveTo>
                    <a:lnTo>
                      <a:pt x="10636" y="21272"/>
                    </a:lnTo>
                    <a:cubicBezTo>
                      <a:pt x="4765" y="21272"/>
                      <a:pt x="0" y="16517"/>
                      <a:pt x="0" y="10636"/>
                    </a:cubicBezTo>
                    <a:cubicBezTo>
                      <a:pt x="0" y="4754"/>
                      <a:pt x="4765" y="0"/>
                      <a:pt x="10636" y="0"/>
                    </a:cubicBezTo>
                    <a:lnTo>
                      <a:pt x="248613" y="0"/>
                    </a:lnTo>
                    <a:cubicBezTo>
                      <a:pt x="254484" y="0"/>
                      <a:pt x="259249" y="4754"/>
                      <a:pt x="259249" y="10636"/>
                    </a:cubicBezTo>
                    <a:cubicBezTo>
                      <a:pt x="259249" y="16517"/>
                      <a:pt x="254484" y="21272"/>
                      <a:pt x="248613" y="21272"/>
                    </a:cubicBezTo>
                    <a:close/>
                  </a:path>
                </a:pathLst>
              </a:custGeom>
              <a:solidFill>
                <a:schemeClr val="tx2"/>
              </a:solidFill>
              <a:ln w="1063" cap="flat">
                <a:noFill/>
                <a:prstDash val="solid"/>
                <a:miter/>
              </a:ln>
            </p:spPr>
            <p:txBody>
              <a:bodyPr rtlCol="0" anchor="ctr"/>
              <a:lstStyle/>
              <a:p>
                <a:endParaRPr lang="en-GB" dirty="0"/>
              </a:p>
            </p:txBody>
          </p:sp>
        </p:grpSp>
      </p:grpSp>
      <p:grpSp>
        <p:nvGrpSpPr>
          <p:cNvPr id="43" name="Group 42">
            <a:extLst>
              <a:ext uri="{FF2B5EF4-FFF2-40B4-BE49-F238E27FC236}">
                <a16:creationId xmlns:a16="http://schemas.microsoft.com/office/drawing/2014/main" id="{17F8CB8E-AE32-B83B-EFE4-3CD87AA4A323}"/>
              </a:ext>
            </a:extLst>
          </p:cNvPr>
          <p:cNvGrpSpPr/>
          <p:nvPr/>
        </p:nvGrpSpPr>
        <p:grpSpPr>
          <a:xfrm>
            <a:off x="6004833" y="2391526"/>
            <a:ext cx="503137" cy="450064"/>
            <a:chOff x="6004421" y="2391526"/>
            <a:chExt cx="503137" cy="450064"/>
          </a:xfrm>
        </p:grpSpPr>
        <p:grpSp>
          <p:nvGrpSpPr>
            <p:cNvPr id="426" name="Graphic 818">
              <a:extLst>
                <a:ext uri="{FF2B5EF4-FFF2-40B4-BE49-F238E27FC236}">
                  <a16:creationId xmlns:a16="http://schemas.microsoft.com/office/drawing/2014/main" id="{883830E2-E8C0-4512-B15C-AF36F2E909B4}"/>
                </a:ext>
              </a:extLst>
            </p:cNvPr>
            <p:cNvGrpSpPr/>
            <p:nvPr/>
          </p:nvGrpSpPr>
          <p:grpSpPr>
            <a:xfrm>
              <a:off x="6297986" y="2461252"/>
              <a:ext cx="209572" cy="319272"/>
              <a:chOff x="6728334" y="2795454"/>
              <a:chExt cx="326871" cy="497970"/>
            </a:xfrm>
            <a:solidFill>
              <a:schemeClr val="accent1"/>
            </a:solidFill>
          </p:grpSpPr>
          <p:sp>
            <p:nvSpPr>
              <p:cNvPr id="433" name="Freeform: Shape 432">
                <a:extLst>
                  <a:ext uri="{FF2B5EF4-FFF2-40B4-BE49-F238E27FC236}">
                    <a16:creationId xmlns:a16="http://schemas.microsoft.com/office/drawing/2014/main" id="{380DD5FA-8739-4895-8C41-D4EEA1F15B22}"/>
                  </a:ext>
                </a:extLst>
              </p:cNvPr>
              <p:cNvSpPr/>
              <p:nvPr/>
            </p:nvSpPr>
            <p:spPr>
              <a:xfrm>
                <a:off x="6728334" y="2873170"/>
                <a:ext cx="291422" cy="398046"/>
              </a:xfrm>
              <a:custGeom>
                <a:avLst/>
                <a:gdLst>
                  <a:gd name="connsiteX0" fmla="*/ 280787 w 291422"/>
                  <a:gd name="connsiteY0" fmla="*/ 398047 h 398046"/>
                  <a:gd name="connsiteX1" fmla="*/ 89395 w 291422"/>
                  <a:gd name="connsiteY1" fmla="*/ 398047 h 398046"/>
                  <a:gd name="connsiteX2" fmla="*/ 0 w 291422"/>
                  <a:gd name="connsiteY2" fmla="*/ 312067 h 398046"/>
                  <a:gd name="connsiteX3" fmla="*/ 0 w 291422"/>
                  <a:gd name="connsiteY3" fmla="*/ 34184 h 398046"/>
                  <a:gd name="connsiteX4" fmla="*/ 35236 w 291422"/>
                  <a:gd name="connsiteY4" fmla="*/ 0 h 398046"/>
                  <a:gd name="connsiteX5" fmla="*/ 40980 w 291422"/>
                  <a:gd name="connsiteY5" fmla="*/ 0 h 398046"/>
                  <a:gd name="connsiteX6" fmla="*/ 51616 w 291422"/>
                  <a:gd name="connsiteY6" fmla="*/ 10636 h 398046"/>
                  <a:gd name="connsiteX7" fmla="*/ 40980 w 291422"/>
                  <a:gd name="connsiteY7" fmla="*/ 21272 h 398046"/>
                  <a:gd name="connsiteX8" fmla="*/ 35236 w 291422"/>
                  <a:gd name="connsiteY8" fmla="*/ 21272 h 398046"/>
                  <a:gd name="connsiteX9" fmla="*/ 21272 w 291422"/>
                  <a:gd name="connsiteY9" fmla="*/ 34184 h 398046"/>
                  <a:gd name="connsiteX10" fmla="*/ 21272 w 291422"/>
                  <a:gd name="connsiteY10" fmla="*/ 312067 h 398046"/>
                  <a:gd name="connsiteX11" fmla="*/ 89426 w 291422"/>
                  <a:gd name="connsiteY11" fmla="*/ 376775 h 398046"/>
                  <a:gd name="connsiteX12" fmla="*/ 280787 w 291422"/>
                  <a:gd name="connsiteY12" fmla="*/ 376775 h 398046"/>
                  <a:gd name="connsiteX13" fmla="*/ 291422 w 291422"/>
                  <a:gd name="connsiteY13" fmla="*/ 387411 h 398046"/>
                  <a:gd name="connsiteX14" fmla="*/ 280787 w 291422"/>
                  <a:gd name="connsiteY14" fmla="*/ 398047 h 398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91422" h="398046">
                    <a:moveTo>
                      <a:pt x="280787" y="398047"/>
                    </a:moveTo>
                    <a:lnTo>
                      <a:pt x="89395" y="398047"/>
                    </a:lnTo>
                    <a:cubicBezTo>
                      <a:pt x="58476" y="398047"/>
                      <a:pt x="0" y="380083"/>
                      <a:pt x="0" y="312067"/>
                    </a:cubicBezTo>
                    <a:lnTo>
                      <a:pt x="0" y="34184"/>
                    </a:lnTo>
                    <a:cubicBezTo>
                      <a:pt x="0" y="15337"/>
                      <a:pt x="15805" y="0"/>
                      <a:pt x="35236" y="0"/>
                    </a:cubicBezTo>
                    <a:lnTo>
                      <a:pt x="40980" y="0"/>
                    </a:lnTo>
                    <a:cubicBezTo>
                      <a:pt x="46862" y="0"/>
                      <a:pt x="51616" y="4754"/>
                      <a:pt x="51616" y="10636"/>
                    </a:cubicBezTo>
                    <a:cubicBezTo>
                      <a:pt x="51616" y="16518"/>
                      <a:pt x="46862" y="21272"/>
                      <a:pt x="40980" y="21272"/>
                    </a:cubicBezTo>
                    <a:lnTo>
                      <a:pt x="35236" y="21272"/>
                    </a:lnTo>
                    <a:cubicBezTo>
                      <a:pt x="27525" y="21272"/>
                      <a:pt x="21272" y="27068"/>
                      <a:pt x="21272" y="34184"/>
                    </a:cubicBezTo>
                    <a:lnTo>
                      <a:pt x="21272" y="312067"/>
                    </a:lnTo>
                    <a:cubicBezTo>
                      <a:pt x="21272" y="375669"/>
                      <a:pt x="86640" y="376765"/>
                      <a:pt x="89426" y="376775"/>
                    </a:cubicBezTo>
                    <a:lnTo>
                      <a:pt x="280787" y="376775"/>
                    </a:lnTo>
                    <a:cubicBezTo>
                      <a:pt x="286669" y="376775"/>
                      <a:pt x="291422" y="381530"/>
                      <a:pt x="291422" y="387411"/>
                    </a:cubicBezTo>
                    <a:cubicBezTo>
                      <a:pt x="291422" y="393293"/>
                      <a:pt x="286669" y="398047"/>
                      <a:pt x="280787" y="398047"/>
                    </a:cubicBezTo>
                    <a:close/>
                  </a:path>
                </a:pathLst>
              </a:custGeom>
              <a:solidFill>
                <a:schemeClr val="accent1"/>
              </a:solidFill>
              <a:ln w="1063" cap="flat">
                <a:noFill/>
                <a:prstDash val="solid"/>
                <a:miter/>
              </a:ln>
            </p:spPr>
            <p:txBody>
              <a:bodyPr rtlCol="0" anchor="ctr"/>
              <a:lstStyle/>
              <a:p>
                <a:endParaRPr lang="en-GB" dirty="0"/>
              </a:p>
            </p:txBody>
          </p:sp>
          <p:sp>
            <p:nvSpPr>
              <p:cNvPr id="434" name="Freeform: Shape 433">
                <a:extLst>
                  <a:ext uri="{FF2B5EF4-FFF2-40B4-BE49-F238E27FC236}">
                    <a16:creationId xmlns:a16="http://schemas.microsoft.com/office/drawing/2014/main" id="{4C815AF7-08FD-4186-8388-29C8FD13A451}"/>
                  </a:ext>
                </a:extLst>
              </p:cNvPr>
              <p:cNvSpPr/>
              <p:nvPr/>
            </p:nvSpPr>
            <p:spPr>
              <a:xfrm>
                <a:off x="6767708" y="2816661"/>
                <a:ext cx="63659" cy="192157"/>
              </a:xfrm>
              <a:custGeom>
                <a:avLst/>
                <a:gdLst>
                  <a:gd name="connsiteX0" fmla="*/ 10636 w 63659"/>
                  <a:gd name="connsiteY0" fmla="*/ 192158 h 192157"/>
                  <a:gd name="connsiteX1" fmla="*/ 0 w 63659"/>
                  <a:gd name="connsiteY1" fmla="*/ 181522 h 192157"/>
                  <a:gd name="connsiteX2" fmla="*/ 0 w 63659"/>
                  <a:gd name="connsiteY2" fmla="*/ 38885 h 192157"/>
                  <a:gd name="connsiteX3" fmla="*/ 40172 w 63659"/>
                  <a:gd name="connsiteY3" fmla="*/ 0 h 192157"/>
                  <a:gd name="connsiteX4" fmla="*/ 57497 w 63659"/>
                  <a:gd name="connsiteY4" fmla="*/ 3786 h 192157"/>
                  <a:gd name="connsiteX5" fmla="*/ 62666 w 63659"/>
                  <a:gd name="connsiteY5" fmla="*/ 17911 h 192157"/>
                  <a:gd name="connsiteX6" fmla="*/ 48542 w 63659"/>
                  <a:gd name="connsiteY6" fmla="*/ 23080 h 192157"/>
                  <a:gd name="connsiteX7" fmla="*/ 40172 w 63659"/>
                  <a:gd name="connsiteY7" fmla="*/ 21261 h 192157"/>
                  <a:gd name="connsiteX8" fmla="*/ 21272 w 63659"/>
                  <a:gd name="connsiteY8" fmla="*/ 38874 h 192157"/>
                  <a:gd name="connsiteX9" fmla="*/ 21272 w 63659"/>
                  <a:gd name="connsiteY9" fmla="*/ 181511 h 192157"/>
                  <a:gd name="connsiteX10" fmla="*/ 10636 w 63659"/>
                  <a:gd name="connsiteY10" fmla="*/ 192158 h 192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659" h="192157">
                    <a:moveTo>
                      <a:pt x="10636" y="192158"/>
                    </a:moveTo>
                    <a:cubicBezTo>
                      <a:pt x="4754" y="192158"/>
                      <a:pt x="0" y="187404"/>
                      <a:pt x="0" y="181522"/>
                    </a:cubicBezTo>
                    <a:lnTo>
                      <a:pt x="0" y="38885"/>
                    </a:lnTo>
                    <a:cubicBezTo>
                      <a:pt x="0" y="17443"/>
                      <a:pt x="18017" y="0"/>
                      <a:pt x="40172" y="0"/>
                    </a:cubicBezTo>
                    <a:cubicBezTo>
                      <a:pt x="46234" y="0"/>
                      <a:pt x="52073" y="1276"/>
                      <a:pt x="57497" y="3786"/>
                    </a:cubicBezTo>
                    <a:cubicBezTo>
                      <a:pt x="62826" y="6254"/>
                      <a:pt x="65145" y="12582"/>
                      <a:pt x="62666" y="17911"/>
                    </a:cubicBezTo>
                    <a:cubicBezTo>
                      <a:pt x="60199" y="23229"/>
                      <a:pt x="53903" y="25579"/>
                      <a:pt x="48542" y="23080"/>
                    </a:cubicBezTo>
                    <a:cubicBezTo>
                      <a:pt x="45947" y="21878"/>
                      <a:pt x="43129" y="21261"/>
                      <a:pt x="40172" y="21261"/>
                    </a:cubicBezTo>
                    <a:cubicBezTo>
                      <a:pt x="29749" y="21261"/>
                      <a:pt x="21272" y="29163"/>
                      <a:pt x="21272" y="38874"/>
                    </a:cubicBezTo>
                    <a:lnTo>
                      <a:pt x="21272" y="181511"/>
                    </a:lnTo>
                    <a:cubicBezTo>
                      <a:pt x="21272" y="187404"/>
                      <a:pt x="16507" y="192158"/>
                      <a:pt x="10636" y="192158"/>
                    </a:cubicBezTo>
                    <a:close/>
                  </a:path>
                </a:pathLst>
              </a:custGeom>
              <a:solidFill>
                <a:schemeClr val="accent1"/>
              </a:solidFill>
              <a:ln w="1063" cap="flat">
                <a:noFill/>
                <a:prstDash val="solid"/>
                <a:miter/>
              </a:ln>
            </p:spPr>
            <p:txBody>
              <a:bodyPr rtlCol="0" anchor="ctr"/>
              <a:lstStyle/>
              <a:p>
                <a:endParaRPr lang="en-GB" dirty="0"/>
              </a:p>
            </p:txBody>
          </p:sp>
          <p:sp>
            <p:nvSpPr>
              <p:cNvPr id="435" name="Freeform: Shape 434">
                <a:extLst>
                  <a:ext uri="{FF2B5EF4-FFF2-40B4-BE49-F238E27FC236}">
                    <a16:creationId xmlns:a16="http://schemas.microsoft.com/office/drawing/2014/main" id="{7ED0B32E-A845-4188-B917-3626BC51FE8B}"/>
                  </a:ext>
                </a:extLst>
              </p:cNvPr>
              <p:cNvSpPr/>
              <p:nvPr/>
            </p:nvSpPr>
            <p:spPr>
              <a:xfrm>
                <a:off x="6812017" y="2795454"/>
                <a:ext cx="80343" cy="211004"/>
              </a:xfrm>
              <a:custGeom>
                <a:avLst/>
                <a:gdLst>
                  <a:gd name="connsiteX0" fmla="*/ 10636 w 80343"/>
                  <a:gd name="connsiteY0" fmla="*/ 211005 h 211004"/>
                  <a:gd name="connsiteX1" fmla="*/ 0 w 80343"/>
                  <a:gd name="connsiteY1" fmla="*/ 200369 h 211004"/>
                  <a:gd name="connsiteX2" fmla="*/ 0 w 80343"/>
                  <a:gd name="connsiteY2" fmla="*/ 38895 h 211004"/>
                  <a:gd name="connsiteX3" fmla="*/ 40172 w 80343"/>
                  <a:gd name="connsiteY3" fmla="*/ 0 h 211004"/>
                  <a:gd name="connsiteX4" fmla="*/ 80343 w 80343"/>
                  <a:gd name="connsiteY4" fmla="*/ 38895 h 211004"/>
                  <a:gd name="connsiteX5" fmla="*/ 80343 w 80343"/>
                  <a:gd name="connsiteY5" fmla="*/ 66580 h 211004"/>
                  <a:gd name="connsiteX6" fmla="*/ 69707 w 80343"/>
                  <a:gd name="connsiteY6" fmla="*/ 77216 h 211004"/>
                  <a:gd name="connsiteX7" fmla="*/ 59072 w 80343"/>
                  <a:gd name="connsiteY7" fmla="*/ 66580 h 211004"/>
                  <a:gd name="connsiteX8" fmla="*/ 59072 w 80343"/>
                  <a:gd name="connsiteY8" fmla="*/ 38895 h 211004"/>
                  <a:gd name="connsiteX9" fmla="*/ 40172 w 80343"/>
                  <a:gd name="connsiteY9" fmla="*/ 21272 h 211004"/>
                  <a:gd name="connsiteX10" fmla="*/ 21272 w 80343"/>
                  <a:gd name="connsiteY10" fmla="*/ 38895 h 211004"/>
                  <a:gd name="connsiteX11" fmla="*/ 21272 w 80343"/>
                  <a:gd name="connsiteY11" fmla="*/ 200369 h 211004"/>
                  <a:gd name="connsiteX12" fmla="*/ 10636 w 80343"/>
                  <a:gd name="connsiteY12" fmla="*/ 211005 h 211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343" h="211004">
                    <a:moveTo>
                      <a:pt x="10636" y="211005"/>
                    </a:moveTo>
                    <a:cubicBezTo>
                      <a:pt x="4754" y="211005"/>
                      <a:pt x="0" y="206250"/>
                      <a:pt x="0" y="200369"/>
                    </a:cubicBezTo>
                    <a:lnTo>
                      <a:pt x="0" y="38895"/>
                    </a:lnTo>
                    <a:cubicBezTo>
                      <a:pt x="0" y="17443"/>
                      <a:pt x="18017" y="0"/>
                      <a:pt x="40172" y="0"/>
                    </a:cubicBezTo>
                    <a:cubicBezTo>
                      <a:pt x="62326" y="0"/>
                      <a:pt x="80343" y="17453"/>
                      <a:pt x="80343" y="38895"/>
                    </a:cubicBezTo>
                    <a:lnTo>
                      <a:pt x="80343" y="66580"/>
                    </a:lnTo>
                    <a:cubicBezTo>
                      <a:pt x="80343" y="72462"/>
                      <a:pt x="75589" y="77216"/>
                      <a:pt x="69707" y="77216"/>
                    </a:cubicBezTo>
                    <a:cubicBezTo>
                      <a:pt x="63826" y="77216"/>
                      <a:pt x="59072" y="72462"/>
                      <a:pt x="59072" y="66580"/>
                    </a:cubicBezTo>
                    <a:lnTo>
                      <a:pt x="59072" y="38895"/>
                    </a:lnTo>
                    <a:cubicBezTo>
                      <a:pt x="59072" y="29174"/>
                      <a:pt x="50595" y="21272"/>
                      <a:pt x="40172" y="21272"/>
                    </a:cubicBezTo>
                    <a:cubicBezTo>
                      <a:pt x="29748" y="21272"/>
                      <a:pt x="21272" y="29174"/>
                      <a:pt x="21272" y="38895"/>
                    </a:cubicBezTo>
                    <a:lnTo>
                      <a:pt x="21272" y="200369"/>
                    </a:lnTo>
                    <a:cubicBezTo>
                      <a:pt x="21272" y="206250"/>
                      <a:pt x="16507" y="211005"/>
                      <a:pt x="10636" y="211005"/>
                    </a:cubicBezTo>
                    <a:close/>
                  </a:path>
                </a:pathLst>
              </a:custGeom>
              <a:solidFill>
                <a:schemeClr val="accent1"/>
              </a:solidFill>
              <a:ln w="1063" cap="flat">
                <a:noFill/>
                <a:prstDash val="solid"/>
                <a:miter/>
              </a:ln>
            </p:spPr>
            <p:txBody>
              <a:bodyPr rtlCol="0" anchor="ctr"/>
              <a:lstStyle/>
              <a:p>
                <a:endParaRPr lang="en-GB" dirty="0"/>
              </a:p>
            </p:txBody>
          </p:sp>
          <p:sp>
            <p:nvSpPr>
              <p:cNvPr id="436" name="Freeform: Shape 435">
                <a:extLst>
                  <a:ext uri="{FF2B5EF4-FFF2-40B4-BE49-F238E27FC236}">
                    <a16:creationId xmlns:a16="http://schemas.microsoft.com/office/drawing/2014/main" id="{22F8426C-2F00-4CA1-81D7-84AA1C43A9EA}"/>
                  </a:ext>
                </a:extLst>
              </p:cNvPr>
              <p:cNvSpPr/>
              <p:nvPr/>
            </p:nvSpPr>
            <p:spPr>
              <a:xfrm>
                <a:off x="6853039" y="2850409"/>
                <a:ext cx="80343" cy="154485"/>
              </a:xfrm>
              <a:custGeom>
                <a:avLst/>
                <a:gdLst>
                  <a:gd name="connsiteX0" fmla="*/ 10636 w 80343"/>
                  <a:gd name="connsiteY0" fmla="*/ 154486 h 154485"/>
                  <a:gd name="connsiteX1" fmla="*/ 0 w 80343"/>
                  <a:gd name="connsiteY1" fmla="*/ 143850 h 154485"/>
                  <a:gd name="connsiteX2" fmla="*/ 0 w 80343"/>
                  <a:gd name="connsiteY2" fmla="*/ 38895 h 154485"/>
                  <a:gd name="connsiteX3" fmla="*/ 40172 w 80343"/>
                  <a:gd name="connsiteY3" fmla="*/ 0 h 154485"/>
                  <a:gd name="connsiteX4" fmla="*/ 80343 w 80343"/>
                  <a:gd name="connsiteY4" fmla="*/ 38895 h 154485"/>
                  <a:gd name="connsiteX5" fmla="*/ 80343 w 80343"/>
                  <a:gd name="connsiteY5" fmla="*/ 133086 h 154485"/>
                  <a:gd name="connsiteX6" fmla="*/ 69707 w 80343"/>
                  <a:gd name="connsiteY6" fmla="*/ 143722 h 154485"/>
                  <a:gd name="connsiteX7" fmla="*/ 59072 w 80343"/>
                  <a:gd name="connsiteY7" fmla="*/ 133086 h 154485"/>
                  <a:gd name="connsiteX8" fmla="*/ 59072 w 80343"/>
                  <a:gd name="connsiteY8" fmla="*/ 38895 h 154485"/>
                  <a:gd name="connsiteX9" fmla="*/ 40172 w 80343"/>
                  <a:gd name="connsiteY9" fmla="*/ 21272 h 154485"/>
                  <a:gd name="connsiteX10" fmla="*/ 21272 w 80343"/>
                  <a:gd name="connsiteY10" fmla="*/ 38895 h 154485"/>
                  <a:gd name="connsiteX11" fmla="*/ 21272 w 80343"/>
                  <a:gd name="connsiteY11" fmla="*/ 143850 h 154485"/>
                  <a:gd name="connsiteX12" fmla="*/ 10636 w 80343"/>
                  <a:gd name="connsiteY12" fmla="*/ 154486 h 154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0343" h="154485">
                    <a:moveTo>
                      <a:pt x="10636" y="154486"/>
                    </a:moveTo>
                    <a:cubicBezTo>
                      <a:pt x="4754" y="154486"/>
                      <a:pt x="0" y="149732"/>
                      <a:pt x="0" y="143850"/>
                    </a:cubicBezTo>
                    <a:lnTo>
                      <a:pt x="0" y="38895"/>
                    </a:lnTo>
                    <a:cubicBezTo>
                      <a:pt x="0" y="17443"/>
                      <a:pt x="18017" y="0"/>
                      <a:pt x="40172" y="0"/>
                    </a:cubicBezTo>
                    <a:cubicBezTo>
                      <a:pt x="62326" y="0"/>
                      <a:pt x="80343" y="17453"/>
                      <a:pt x="80343" y="38895"/>
                    </a:cubicBezTo>
                    <a:lnTo>
                      <a:pt x="80343" y="133086"/>
                    </a:lnTo>
                    <a:cubicBezTo>
                      <a:pt x="80343" y="138968"/>
                      <a:pt x="75589" y="143722"/>
                      <a:pt x="69707" y="143722"/>
                    </a:cubicBezTo>
                    <a:cubicBezTo>
                      <a:pt x="63826" y="143722"/>
                      <a:pt x="59072" y="138968"/>
                      <a:pt x="59072" y="133086"/>
                    </a:cubicBezTo>
                    <a:lnTo>
                      <a:pt x="59072" y="38895"/>
                    </a:lnTo>
                    <a:cubicBezTo>
                      <a:pt x="59072" y="29174"/>
                      <a:pt x="50595" y="21272"/>
                      <a:pt x="40172" y="21272"/>
                    </a:cubicBezTo>
                    <a:cubicBezTo>
                      <a:pt x="29749" y="21272"/>
                      <a:pt x="21272" y="29174"/>
                      <a:pt x="21272" y="38895"/>
                    </a:cubicBezTo>
                    <a:lnTo>
                      <a:pt x="21272" y="143850"/>
                    </a:lnTo>
                    <a:cubicBezTo>
                      <a:pt x="21272" y="149732"/>
                      <a:pt x="16518" y="154486"/>
                      <a:pt x="10636" y="154486"/>
                    </a:cubicBezTo>
                    <a:close/>
                  </a:path>
                </a:pathLst>
              </a:custGeom>
              <a:solidFill>
                <a:schemeClr val="accent1"/>
              </a:solidFill>
              <a:ln w="1063" cap="flat">
                <a:noFill/>
                <a:prstDash val="solid"/>
                <a:miter/>
              </a:ln>
            </p:spPr>
            <p:txBody>
              <a:bodyPr rtlCol="0" anchor="ctr"/>
              <a:lstStyle/>
              <a:p>
                <a:endParaRPr lang="en-GB" dirty="0"/>
              </a:p>
            </p:txBody>
          </p:sp>
          <p:sp>
            <p:nvSpPr>
              <p:cNvPr id="437" name="Freeform: Shape 436">
                <a:extLst>
                  <a:ext uri="{FF2B5EF4-FFF2-40B4-BE49-F238E27FC236}">
                    <a16:creationId xmlns:a16="http://schemas.microsoft.com/office/drawing/2014/main" id="{376229AB-2078-425D-8699-564F7A5390D3}"/>
                  </a:ext>
                </a:extLst>
              </p:cNvPr>
              <p:cNvSpPr/>
              <p:nvPr/>
            </p:nvSpPr>
            <p:spPr>
              <a:xfrm>
                <a:off x="6890977" y="2976795"/>
                <a:ext cx="138628" cy="139669"/>
              </a:xfrm>
              <a:custGeom>
                <a:avLst/>
                <a:gdLst>
                  <a:gd name="connsiteX0" fmla="*/ 127992 w 138628"/>
                  <a:gd name="connsiteY0" fmla="*/ 139670 h 139669"/>
                  <a:gd name="connsiteX1" fmla="*/ 99243 w 138628"/>
                  <a:gd name="connsiteY1" fmla="*/ 139670 h 139669"/>
                  <a:gd name="connsiteX2" fmla="*/ 59072 w 138628"/>
                  <a:gd name="connsiteY2" fmla="*/ 100785 h 139669"/>
                  <a:gd name="connsiteX3" fmla="*/ 59072 w 138628"/>
                  <a:gd name="connsiteY3" fmla="*/ 38895 h 139669"/>
                  <a:gd name="connsiteX4" fmla="*/ 40172 w 138628"/>
                  <a:gd name="connsiteY4" fmla="*/ 21272 h 139669"/>
                  <a:gd name="connsiteX5" fmla="*/ 21272 w 138628"/>
                  <a:gd name="connsiteY5" fmla="*/ 38895 h 139669"/>
                  <a:gd name="connsiteX6" fmla="*/ 21272 w 138628"/>
                  <a:gd name="connsiteY6" fmla="*/ 125939 h 139669"/>
                  <a:gd name="connsiteX7" fmla="*/ 10636 w 138628"/>
                  <a:gd name="connsiteY7" fmla="*/ 136575 h 139669"/>
                  <a:gd name="connsiteX8" fmla="*/ 0 w 138628"/>
                  <a:gd name="connsiteY8" fmla="*/ 125939 h 139669"/>
                  <a:gd name="connsiteX9" fmla="*/ 0 w 138628"/>
                  <a:gd name="connsiteY9" fmla="*/ 38895 h 139669"/>
                  <a:gd name="connsiteX10" fmla="*/ 40172 w 138628"/>
                  <a:gd name="connsiteY10" fmla="*/ 0 h 139669"/>
                  <a:gd name="connsiteX11" fmla="*/ 80343 w 138628"/>
                  <a:gd name="connsiteY11" fmla="*/ 38895 h 139669"/>
                  <a:gd name="connsiteX12" fmla="*/ 80343 w 138628"/>
                  <a:gd name="connsiteY12" fmla="*/ 100785 h 139669"/>
                  <a:gd name="connsiteX13" fmla="*/ 99328 w 138628"/>
                  <a:gd name="connsiteY13" fmla="*/ 118398 h 139669"/>
                  <a:gd name="connsiteX14" fmla="*/ 127992 w 138628"/>
                  <a:gd name="connsiteY14" fmla="*/ 118398 h 139669"/>
                  <a:gd name="connsiteX15" fmla="*/ 138628 w 138628"/>
                  <a:gd name="connsiteY15" fmla="*/ 129034 h 139669"/>
                  <a:gd name="connsiteX16" fmla="*/ 127992 w 138628"/>
                  <a:gd name="connsiteY16" fmla="*/ 139670 h 13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8628" h="139669">
                    <a:moveTo>
                      <a:pt x="127992" y="139670"/>
                    </a:moveTo>
                    <a:lnTo>
                      <a:pt x="99243" y="139670"/>
                    </a:lnTo>
                    <a:cubicBezTo>
                      <a:pt x="83087" y="139670"/>
                      <a:pt x="59072" y="129311"/>
                      <a:pt x="59072" y="100785"/>
                    </a:cubicBezTo>
                    <a:lnTo>
                      <a:pt x="59072" y="38895"/>
                    </a:lnTo>
                    <a:cubicBezTo>
                      <a:pt x="59072" y="29174"/>
                      <a:pt x="50595" y="21272"/>
                      <a:pt x="40172" y="21272"/>
                    </a:cubicBezTo>
                    <a:cubicBezTo>
                      <a:pt x="29749" y="21272"/>
                      <a:pt x="21272" y="29174"/>
                      <a:pt x="21272" y="38895"/>
                    </a:cubicBezTo>
                    <a:lnTo>
                      <a:pt x="21272" y="125939"/>
                    </a:lnTo>
                    <a:cubicBezTo>
                      <a:pt x="21272" y="131821"/>
                      <a:pt x="16518" y="136575"/>
                      <a:pt x="10636" y="136575"/>
                    </a:cubicBezTo>
                    <a:cubicBezTo>
                      <a:pt x="4754" y="136575"/>
                      <a:pt x="0" y="131821"/>
                      <a:pt x="0" y="125939"/>
                    </a:cubicBezTo>
                    <a:lnTo>
                      <a:pt x="0" y="38895"/>
                    </a:lnTo>
                    <a:cubicBezTo>
                      <a:pt x="0" y="17443"/>
                      <a:pt x="18017" y="0"/>
                      <a:pt x="40172" y="0"/>
                    </a:cubicBezTo>
                    <a:cubicBezTo>
                      <a:pt x="62326" y="0"/>
                      <a:pt x="80343" y="17453"/>
                      <a:pt x="80343" y="38895"/>
                    </a:cubicBezTo>
                    <a:lnTo>
                      <a:pt x="80343" y="100785"/>
                    </a:lnTo>
                    <a:cubicBezTo>
                      <a:pt x="80343" y="116856"/>
                      <a:pt x="94872" y="118324"/>
                      <a:pt x="99328" y="118398"/>
                    </a:cubicBezTo>
                    <a:lnTo>
                      <a:pt x="127992" y="118398"/>
                    </a:lnTo>
                    <a:cubicBezTo>
                      <a:pt x="133874" y="118398"/>
                      <a:pt x="138628" y="123153"/>
                      <a:pt x="138628" y="129034"/>
                    </a:cubicBezTo>
                    <a:cubicBezTo>
                      <a:pt x="138628" y="134916"/>
                      <a:pt x="133863" y="139670"/>
                      <a:pt x="127992" y="139670"/>
                    </a:cubicBezTo>
                    <a:close/>
                  </a:path>
                </a:pathLst>
              </a:custGeom>
              <a:solidFill>
                <a:schemeClr val="accent1"/>
              </a:solidFill>
              <a:ln w="1063" cap="flat">
                <a:noFill/>
                <a:prstDash val="solid"/>
                <a:miter/>
              </a:ln>
            </p:spPr>
            <p:txBody>
              <a:bodyPr rtlCol="0" anchor="ctr"/>
              <a:lstStyle/>
              <a:p>
                <a:endParaRPr lang="en-GB" dirty="0"/>
              </a:p>
            </p:txBody>
          </p:sp>
          <p:sp>
            <p:nvSpPr>
              <p:cNvPr id="438" name="Freeform: Shape 437">
                <a:extLst>
                  <a:ext uri="{FF2B5EF4-FFF2-40B4-BE49-F238E27FC236}">
                    <a16:creationId xmlns:a16="http://schemas.microsoft.com/office/drawing/2014/main" id="{2678437A-5918-4DC5-A92A-CBB715CE7EDE}"/>
                  </a:ext>
                </a:extLst>
              </p:cNvPr>
              <p:cNvSpPr/>
              <p:nvPr/>
            </p:nvSpPr>
            <p:spPr>
              <a:xfrm>
                <a:off x="7010056" y="3070975"/>
                <a:ext cx="45149" cy="222449"/>
              </a:xfrm>
              <a:custGeom>
                <a:avLst/>
                <a:gdLst>
                  <a:gd name="connsiteX0" fmla="*/ 34514 w 45149"/>
                  <a:gd name="connsiteY0" fmla="*/ 222449 h 222449"/>
                  <a:gd name="connsiteX1" fmla="*/ 10636 w 45149"/>
                  <a:gd name="connsiteY1" fmla="*/ 222449 h 222449"/>
                  <a:gd name="connsiteX2" fmla="*/ 0 w 45149"/>
                  <a:gd name="connsiteY2" fmla="*/ 211813 h 222449"/>
                  <a:gd name="connsiteX3" fmla="*/ 0 w 45149"/>
                  <a:gd name="connsiteY3" fmla="*/ 10636 h 222449"/>
                  <a:gd name="connsiteX4" fmla="*/ 10636 w 45149"/>
                  <a:gd name="connsiteY4" fmla="*/ 0 h 222449"/>
                  <a:gd name="connsiteX5" fmla="*/ 34514 w 45149"/>
                  <a:gd name="connsiteY5" fmla="*/ 0 h 222449"/>
                  <a:gd name="connsiteX6" fmla="*/ 45149 w 45149"/>
                  <a:gd name="connsiteY6" fmla="*/ 10636 h 222449"/>
                  <a:gd name="connsiteX7" fmla="*/ 34514 w 45149"/>
                  <a:gd name="connsiteY7" fmla="*/ 21272 h 222449"/>
                  <a:gd name="connsiteX8" fmla="*/ 21272 w 45149"/>
                  <a:gd name="connsiteY8" fmla="*/ 21272 h 222449"/>
                  <a:gd name="connsiteX9" fmla="*/ 21272 w 45149"/>
                  <a:gd name="connsiteY9" fmla="*/ 201177 h 222449"/>
                  <a:gd name="connsiteX10" fmla="*/ 34514 w 45149"/>
                  <a:gd name="connsiteY10" fmla="*/ 201177 h 222449"/>
                  <a:gd name="connsiteX11" fmla="*/ 45149 w 45149"/>
                  <a:gd name="connsiteY11" fmla="*/ 211813 h 222449"/>
                  <a:gd name="connsiteX12" fmla="*/ 34514 w 45149"/>
                  <a:gd name="connsiteY12" fmla="*/ 222449 h 222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149" h="222449">
                    <a:moveTo>
                      <a:pt x="34514" y="222449"/>
                    </a:moveTo>
                    <a:lnTo>
                      <a:pt x="10636" y="222449"/>
                    </a:lnTo>
                    <a:cubicBezTo>
                      <a:pt x="4754" y="222449"/>
                      <a:pt x="0" y="217695"/>
                      <a:pt x="0" y="211813"/>
                    </a:cubicBezTo>
                    <a:lnTo>
                      <a:pt x="0" y="10636"/>
                    </a:lnTo>
                    <a:cubicBezTo>
                      <a:pt x="0" y="4754"/>
                      <a:pt x="4754" y="0"/>
                      <a:pt x="10636" y="0"/>
                    </a:cubicBezTo>
                    <a:lnTo>
                      <a:pt x="34514" y="0"/>
                    </a:lnTo>
                    <a:cubicBezTo>
                      <a:pt x="40395" y="0"/>
                      <a:pt x="45149" y="4754"/>
                      <a:pt x="45149" y="10636"/>
                    </a:cubicBezTo>
                    <a:cubicBezTo>
                      <a:pt x="45149" y="16518"/>
                      <a:pt x="40395" y="21272"/>
                      <a:pt x="34514" y="21272"/>
                    </a:cubicBezTo>
                    <a:lnTo>
                      <a:pt x="21272" y="21272"/>
                    </a:lnTo>
                    <a:lnTo>
                      <a:pt x="21272" y="201177"/>
                    </a:lnTo>
                    <a:lnTo>
                      <a:pt x="34514" y="201177"/>
                    </a:lnTo>
                    <a:cubicBezTo>
                      <a:pt x="40395" y="201177"/>
                      <a:pt x="45149" y="205932"/>
                      <a:pt x="45149" y="211813"/>
                    </a:cubicBezTo>
                    <a:cubicBezTo>
                      <a:pt x="45149" y="217684"/>
                      <a:pt x="40395" y="222449"/>
                      <a:pt x="34514" y="222449"/>
                    </a:cubicBezTo>
                    <a:close/>
                  </a:path>
                </a:pathLst>
              </a:custGeom>
              <a:solidFill>
                <a:schemeClr val="accent1"/>
              </a:solidFill>
              <a:ln w="1063" cap="flat">
                <a:noFill/>
                <a:prstDash val="solid"/>
                <a:miter/>
              </a:ln>
            </p:spPr>
            <p:txBody>
              <a:bodyPr rtlCol="0" anchor="ctr"/>
              <a:lstStyle/>
              <a:p>
                <a:endParaRPr lang="en-GB" dirty="0"/>
              </a:p>
            </p:txBody>
          </p:sp>
          <p:sp>
            <p:nvSpPr>
              <p:cNvPr id="439" name="Freeform: Shape 438">
                <a:extLst>
                  <a:ext uri="{FF2B5EF4-FFF2-40B4-BE49-F238E27FC236}">
                    <a16:creationId xmlns:a16="http://schemas.microsoft.com/office/drawing/2014/main" id="{9669F206-7A24-4C22-B0C2-84CE411B697E}"/>
                  </a:ext>
                </a:extLst>
              </p:cNvPr>
              <p:cNvSpPr/>
              <p:nvPr/>
            </p:nvSpPr>
            <p:spPr>
              <a:xfrm>
                <a:off x="6837043" y="3092747"/>
                <a:ext cx="75046" cy="72706"/>
              </a:xfrm>
              <a:custGeom>
                <a:avLst/>
                <a:gdLst>
                  <a:gd name="connsiteX0" fmla="*/ 10636 w 75046"/>
                  <a:gd name="connsiteY0" fmla="*/ 72707 h 72706"/>
                  <a:gd name="connsiteX1" fmla="*/ 0 w 75046"/>
                  <a:gd name="connsiteY1" fmla="*/ 62071 h 72706"/>
                  <a:gd name="connsiteX2" fmla="*/ 64411 w 75046"/>
                  <a:gd name="connsiteY2" fmla="*/ 0 h 72706"/>
                  <a:gd name="connsiteX3" fmla="*/ 75047 w 75046"/>
                  <a:gd name="connsiteY3" fmla="*/ 10636 h 72706"/>
                  <a:gd name="connsiteX4" fmla="*/ 64411 w 75046"/>
                  <a:gd name="connsiteY4" fmla="*/ 21272 h 72706"/>
                  <a:gd name="connsiteX5" fmla="*/ 21272 w 75046"/>
                  <a:gd name="connsiteY5" fmla="*/ 62071 h 72706"/>
                  <a:gd name="connsiteX6" fmla="*/ 10636 w 75046"/>
                  <a:gd name="connsiteY6" fmla="*/ 72707 h 72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5046" h="72706">
                    <a:moveTo>
                      <a:pt x="10636" y="72707"/>
                    </a:moveTo>
                    <a:cubicBezTo>
                      <a:pt x="4754" y="72707"/>
                      <a:pt x="0" y="67952"/>
                      <a:pt x="0" y="62071"/>
                    </a:cubicBezTo>
                    <a:cubicBezTo>
                      <a:pt x="0" y="27845"/>
                      <a:pt x="28898" y="0"/>
                      <a:pt x="64411" y="0"/>
                    </a:cubicBezTo>
                    <a:cubicBezTo>
                      <a:pt x="70293" y="0"/>
                      <a:pt x="75047" y="4754"/>
                      <a:pt x="75047" y="10636"/>
                    </a:cubicBezTo>
                    <a:cubicBezTo>
                      <a:pt x="75047" y="16517"/>
                      <a:pt x="70293" y="21272"/>
                      <a:pt x="64411" y="21272"/>
                    </a:cubicBezTo>
                    <a:cubicBezTo>
                      <a:pt x="40629" y="21272"/>
                      <a:pt x="21272" y="39576"/>
                      <a:pt x="21272" y="62071"/>
                    </a:cubicBezTo>
                    <a:cubicBezTo>
                      <a:pt x="21272" y="67942"/>
                      <a:pt x="16518" y="72707"/>
                      <a:pt x="10636" y="72707"/>
                    </a:cubicBezTo>
                    <a:close/>
                  </a:path>
                </a:pathLst>
              </a:custGeom>
              <a:solidFill>
                <a:schemeClr val="accent1"/>
              </a:solidFill>
              <a:ln w="1063" cap="flat">
                <a:noFill/>
                <a:prstDash val="solid"/>
                <a:miter/>
              </a:ln>
            </p:spPr>
            <p:txBody>
              <a:bodyPr rtlCol="0" anchor="ctr"/>
              <a:lstStyle/>
              <a:p>
                <a:endParaRPr lang="en-GB" dirty="0"/>
              </a:p>
            </p:txBody>
          </p:sp>
        </p:grpSp>
        <p:grpSp>
          <p:nvGrpSpPr>
            <p:cNvPr id="427" name="Graphic 818">
              <a:extLst>
                <a:ext uri="{FF2B5EF4-FFF2-40B4-BE49-F238E27FC236}">
                  <a16:creationId xmlns:a16="http://schemas.microsoft.com/office/drawing/2014/main" id="{AFA04993-A319-4654-BC08-9560AACD666D}"/>
                </a:ext>
              </a:extLst>
            </p:cNvPr>
            <p:cNvGrpSpPr/>
            <p:nvPr/>
          </p:nvGrpSpPr>
          <p:grpSpPr>
            <a:xfrm>
              <a:off x="6004421" y="2391526"/>
              <a:ext cx="204574" cy="450064"/>
              <a:chOff x="6270460" y="2686702"/>
              <a:chExt cx="319075" cy="701966"/>
            </a:xfrm>
            <a:solidFill>
              <a:schemeClr val="tx2"/>
            </a:solidFill>
          </p:grpSpPr>
          <p:sp>
            <p:nvSpPr>
              <p:cNvPr id="428" name="Freeform: Shape 427">
                <a:extLst>
                  <a:ext uri="{FF2B5EF4-FFF2-40B4-BE49-F238E27FC236}">
                    <a16:creationId xmlns:a16="http://schemas.microsoft.com/office/drawing/2014/main" id="{1486DF47-068F-47D8-A624-3279BE27175A}"/>
                  </a:ext>
                </a:extLst>
              </p:cNvPr>
              <p:cNvSpPr/>
              <p:nvPr/>
            </p:nvSpPr>
            <p:spPr>
              <a:xfrm>
                <a:off x="6323639" y="3016413"/>
                <a:ext cx="31907" cy="372254"/>
              </a:xfrm>
              <a:custGeom>
                <a:avLst/>
                <a:gdLst>
                  <a:gd name="connsiteX0" fmla="*/ 21272 w 31907"/>
                  <a:gd name="connsiteY0" fmla="*/ 372255 h 372254"/>
                  <a:gd name="connsiteX1" fmla="*/ 10636 w 31907"/>
                  <a:gd name="connsiteY1" fmla="*/ 361619 h 372254"/>
                  <a:gd name="connsiteX2" fmla="*/ 10636 w 31907"/>
                  <a:gd name="connsiteY2" fmla="*/ 21272 h 372254"/>
                  <a:gd name="connsiteX3" fmla="*/ 0 w 31907"/>
                  <a:gd name="connsiteY3" fmla="*/ 10636 h 372254"/>
                  <a:gd name="connsiteX4" fmla="*/ 10636 w 31907"/>
                  <a:gd name="connsiteY4" fmla="*/ 0 h 372254"/>
                  <a:gd name="connsiteX5" fmla="*/ 21272 w 31907"/>
                  <a:gd name="connsiteY5" fmla="*/ 0 h 372254"/>
                  <a:gd name="connsiteX6" fmla="*/ 31908 w 31907"/>
                  <a:gd name="connsiteY6" fmla="*/ 10636 h 372254"/>
                  <a:gd name="connsiteX7" fmla="*/ 31908 w 31907"/>
                  <a:gd name="connsiteY7" fmla="*/ 361619 h 372254"/>
                  <a:gd name="connsiteX8" fmla="*/ 21272 w 31907"/>
                  <a:gd name="connsiteY8" fmla="*/ 372255 h 37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7" h="372254">
                    <a:moveTo>
                      <a:pt x="21272" y="372255"/>
                    </a:moveTo>
                    <a:cubicBezTo>
                      <a:pt x="15390" y="372255"/>
                      <a:pt x="10636" y="367501"/>
                      <a:pt x="10636" y="361619"/>
                    </a:cubicBezTo>
                    <a:lnTo>
                      <a:pt x="10636" y="21272"/>
                    </a:lnTo>
                    <a:cubicBezTo>
                      <a:pt x="4754" y="21272"/>
                      <a:pt x="0" y="16518"/>
                      <a:pt x="0" y="10636"/>
                    </a:cubicBezTo>
                    <a:cubicBezTo>
                      <a:pt x="0" y="4754"/>
                      <a:pt x="4754" y="0"/>
                      <a:pt x="10636" y="0"/>
                    </a:cubicBezTo>
                    <a:lnTo>
                      <a:pt x="21272" y="0"/>
                    </a:lnTo>
                    <a:cubicBezTo>
                      <a:pt x="27153" y="0"/>
                      <a:pt x="31908" y="4754"/>
                      <a:pt x="31908" y="10636"/>
                    </a:cubicBezTo>
                    <a:lnTo>
                      <a:pt x="31908" y="361619"/>
                    </a:lnTo>
                    <a:cubicBezTo>
                      <a:pt x="31908" y="367501"/>
                      <a:pt x="27143" y="372255"/>
                      <a:pt x="21272" y="372255"/>
                    </a:cubicBezTo>
                    <a:close/>
                  </a:path>
                </a:pathLst>
              </a:custGeom>
              <a:grpFill/>
              <a:ln w="1063" cap="flat">
                <a:noFill/>
                <a:prstDash val="solid"/>
                <a:miter/>
              </a:ln>
            </p:spPr>
            <p:txBody>
              <a:bodyPr rtlCol="0" anchor="ctr"/>
              <a:lstStyle/>
              <a:p>
                <a:endParaRPr lang="en-GB" dirty="0"/>
              </a:p>
            </p:txBody>
          </p:sp>
          <p:sp>
            <p:nvSpPr>
              <p:cNvPr id="429" name="Freeform: Shape 428">
                <a:extLst>
                  <a:ext uri="{FF2B5EF4-FFF2-40B4-BE49-F238E27FC236}">
                    <a16:creationId xmlns:a16="http://schemas.microsoft.com/office/drawing/2014/main" id="{54ABFD93-F26F-43F4-8014-98F293784429}"/>
                  </a:ext>
                </a:extLst>
              </p:cNvPr>
              <p:cNvSpPr/>
              <p:nvPr/>
            </p:nvSpPr>
            <p:spPr>
              <a:xfrm>
                <a:off x="6504449" y="3016413"/>
                <a:ext cx="31907" cy="372254"/>
              </a:xfrm>
              <a:custGeom>
                <a:avLst/>
                <a:gdLst>
                  <a:gd name="connsiteX0" fmla="*/ 10636 w 31907"/>
                  <a:gd name="connsiteY0" fmla="*/ 372255 h 372254"/>
                  <a:gd name="connsiteX1" fmla="*/ 0 w 31907"/>
                  <a:gd name="connsiteY1" fmla="*/ 361619 h 372254"/>
                  <a:gd name="connsiteX2" fmla="*/ 0 w 31907"/>
                  <a:gd name="connsiteY2" fmla="*/ 10636 h 372254"/>
                  <a:gd name="connsiteX3" fmla="*/ 10636 w 31907"/>
                  <a:gd name="connsiteY3" fmla="*/ 0 h 372254"/>
                  <a:gd name="connsiteX4" fmla="*/ 21272 w 31907"/>
                  <a:gd name="connsiteY4" fmla="*/ 0 h 372254"/>
                  <a:gd name="connsiteX5" fmla="*/ 31908 w 31907"/>
                  <a:gd name="connsiteY5" fmla="*/ 10636 h 372254"/>
                  <a:gd name="connsiteX6" fmla="*/ 21272 w 31907"/>
                  <a:gd name="connsiteY6" fmla="*/ 21272 h 372254"/>
                  <a:gd name="connsiteX7" fmla="*/ 21272 w 31907"/>
                  <a:gd name="connsiteY7" fmla="*/ 361619 h 372254"/>
                  <a:gd name="connsiteX8" fmla="*/ 10636 w 31907"/>
                  <a:gd name="connsiteY8" fmla="*/ 372255 h 37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907" h="372254">
                    <a:moveTo>
                      <a:pt x="10636" y="372255"/>
                    </a:moveTo>
                    <a:cubicBezTo>
                      <a:pt x="4754" y="372255"/>
                      <a:pt x="0" y="367501"/>
                      <a:pt x="0" y="361619"/>
                    </a:cubicBezTo>
                    <a:lnTo>
                      <a:pt x="0" y="10636"/>
                    </a:lnTo>
                    <a:cubicBezTo>
                      <a:pt x="0" y="4754"/>
                      <a:pt x="4754" y="0"/>
                      <a:pt x="10636" y="0"/>
                    </a:cubicBezTo>
                    <a:lnTo>
                      <a:pt x="21272" y="0"/>
                    </a:lnTo>
                    <a:cubicBezTo>
                      <a:pt x="27154" y="0"/>
                      <a:pt x="31908" y="4754"/>
                      <a:pt x="31908" y="10636"/>
                    </a:cubicBezTo>
                    <a:cubicBezTo>
                      <a:pt x="31908" y="16518"/>
                      <a:pt x="27154" y="21272"/>
                      <a:pt x="21272" y="21272"/>
                    </a:cubicBezTo>
                    <a:lnTo>
                      <a:pt x="21272" y="361619"/>
                    </a:lnTo>
                    <a:cubicBezTo>
                      <a:pt x="21272" y="367501"/>
                      <a:pt x="16507" y="372255"/>
                      <a:pt x="10636" y="372255"/>
                    </a:cubicBezTo>
                    <a:close/>
                  </a:path>
                </a:pathLst>
              </a:custGeom>
              <a:grpFill/>
              <a:ln w="1063" cap="flat">
                <a:noFill/>
                <a:prstDash val="solid"/>
                <a:miter/>
              </a:ln>
            </p:spPr>
            <p:txBody>
              <a:bodyPr rtlCol="0" anchor="ctr"/>
              <a:lstStyle/>
              <a:p>
                <a:endParaRPr lang="en-GB" dirty="0"/>
              </a:p>
            </p:txBody>
          </p:sp>
          <p:sp>
            <p:nvSpPr>
              <p:cNvPr id="430" name="Freeform: Shape 429">
                <a:extLst>
                  <a:ext uri="{FF2B5EF4-FFF2-40B4-BE49-F238E27FC236}">
                    <a16:creationId xmlns:a16="http://schemas.microsoft.com/office/drawing/2014/main" id="{D0B62E52-670F-44B8-8870-0BB7000E1A7F}"/>
                  </a:ext>
                </a:extLst>
              </p:cNvPr>
              <p:cNvSpPr/>
              <p:nvPr/>
            </p:nvSpPr>
            <p:spPr>
              <a:xfrm>
                <a:off x="6419362" y="3175951"/>
                <a:ext cx="21271" cy="212717"/>
              </a:xfrm>
              <a:custGeom>
                <a:avLst/>
                <a:gdLst>
                  <a:gd name="connsiteX0" fmla="*/ 10636 w 21271"/>
                  <a:gd name="connsiteY0" fmla="*/ 212717 h 212717"/>
                  <a:gd name="connsiteX1" fmla="*/ 0 w 21271"/>
                  <a:gd name="connsiteY1" fmla="*/ 202081 h 212717"/>
                  <a:gd name="connsiteX2" fmla="*/ 0 w 21271"/>
                  <a:gd name="connsiteY2" fmla="*/ 10636 h 212717"/>
                  <a:gd name="connsiteX3" fmla="*/ 10636 w 21271"/>
                  <a:gd name="connsiteY3" fmla="*/ 0 h 212717"/>
                  <a:gd name="connsiteX4" fmla="*/ 21272 w 21271"/>
                  <a:gd name="connsiteY4" fmla="*/ 10636 h 212717"/>
                  <a:gd name="connsiteX5" fmla="*/ 21272 w 21271"/>
                  <a:gd name="connsiteY5" fmla="*/ 202081 h 212717"/>
                  <a:gd name="connsiteX6" fmla="*/ 10636 w 21271"/>
                  <a:gd name="connsiteY6" fmla="*/ 212717 h 212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212717">
                    <a:moveTo>
                      <a:pt x="10636" y="212717"/>
                    </a:moveTo>
                    <a:cubicBezTo>
                      <a:pt x="4754" y="212717"/>
                      <a:pt x="0" y="207963"/>
                      <a:pt x="0" y="202081"/>
                    </a:cubicBezTo>
                    <a:lnTo>
                      <a:pt x="0" y="10636"/>
                    </a:lnTo>
                    <a:cubicBezTo>
                      <a:pt x="0" y="4754"/>
                      <a:pt x="4754" y="0"/>
                      <a:pt x="10636" y="0"/>
                    </a:cubicBezTo>
                    <a:cubicBezTo>
                      <a:pt x="16518" y="0"/>
                      <a:pt x="21272" y="4754"/>
                      <a:pt x="21272" y="10636"/>
                    </a:cubicBezTo>
                    <a:lnTo>
                      <a:pt x="21272" y="202081"/>
                    </a:lnTo>
                    <a:cubicBezTo>
                      <a:pt x="21272" y="207963"/>
                      <a:pt x="16507" y="212717"/>
                      <a:pt x="10636" y="212717"/>
                    </a:cubicBezTo>
                    <a:close/>
                  </a:path>
                </a:pathLst>
              </a:custGeom>
              <a:grpFill/>
              <a:ln w="1063" cap="flat">
                <a:noFill/>
                <a:prstDash val="solid"/>
                <a:miter/>
              </a:ln>
            </p:spPr>
            <p:txBody>
              <a:bodyPr rtlCol="0" anchor="ctr"/>
              <a:lstStyle/>
              <a:p>
                <a:endParaRPr lang="en-GB" dirty="0"/>
              </a:p>
            </p:txBody>
          </p:sp>
          <p:sp>
            <p:nvSpPr>
              <p:cNvPr id="431" name="Freeform: Shape 430">
                <a:extLst>
                  <a:ext uri="{FF2B5EF4-FFF2-40B4-BE49-F238E27FC236}">
                    <a16:creationId xmlns:a16="http://schemas.microsoft.com/office/drawing/2014/main" id="{E30B2112-6D7F-48B5-A5BC-69CE48FF164A}"/>
                  </a:ext>
                </a:extLst>
              </p:cNvPr>
              <p:cNvSpPr/>
              <p:nvPr/>
            </p:nvSpPr>
            <p:spPr>
              <a:xfrm>
                <a:off x="6270460" y="2878147"/>
                <a:ext cx="319075" cy="329711"/>
              </a:xfrm>
              <a:custGeom>
                <a:avLst/>
                <a:gdLst>
                  <a:gd name="connsiteX0" fmla="*/ 308440 w 319075"/>
                  <a:gd name="connsiteY0" fmla="*/ 329712 h 329711"/>
                  <a:gd name="connsiteX1" fmla="*/ 276532 w 319075"/>
                  <a:gd name="connsiteY1" fmla="*/ 329712 h 329711"/>
                  <a:gd name="connsiteX2" fmla="*/ 265896 w 319075"/>
                  <a:gd name="connsiteY2" fmla="*/ 319076 h 329711"/>
                  <a:gd name="connsiteX3" fmla="*/ 276532 w 319075"/>
                  <a:gd name="connsiteY3" fmla="*/ 308440 h 329711"/>
                  <a:gd name="connsiteX4" fmla="*/ 297804 w 319075"/>
                  <a:gd name="connsiteY4" fmla="*/ 308440 h 329711"/>
                  <a:gd name="connsiteX5" fmla="*/ 297804 w 319075"/>
                  <a:gd name="connsiteY5" fmla="*/ 138266 h 329711"/>
                  <a:gd name="connsiteX6" fmla="*/ 191445 w 319075"/>
                  <a:gd name="connsiteY6" fmla="*/ 21272 h 329711"/>
                  <a:gd name="connsiteX7" fmla="*/ 127630 w 319075"/>
                  <a:gd name="connsiteY7" fmla="*/ 21272 h 329711"/>
                  <a:gd name="connsiteX8" fmla="*/ 21272 w 319075"/>
                  <a:gd name="connsiteY8" fmla="*/ 138266 h 329711"/>
                  <a:gd name="connsiteX9" fmla="*/ 21272 w 319075"/>
                  <a:gd name="connsiteY9" fmla="*/ 308440 h 329711"/>
                  <a:gd name="connsiteX10" fmla="*/ 42543 w 319075"/>
                  <a:gd name="connsiteY10" fmla="*/ 308440 h 329711"/>
                  <a:gd name="connsiteX11" fmla="*/ 53179 w 319075"/>
                  <a:gd name="connsiteY11" fmla="*/ 319076 h 329711"/>
                  <a:gd name="connsiteX12" fmla="*/ 42543 w 319075"/>
                  <a:gd name="connsiteY12" fmla="*/ 329712 h 329711"/>
                  <a:gd name="connsiteX13" fmla="*/ 10636 w 319075"/>
                  <a:gd name="connsiteY13" fmla="*/ 329712 h 329711"/>
                  <a:gd name="connsiteX14" fmla="*/ 0 w 319075"/>
                  <a:gd name="connsiteY14" fmla="*/ 319076 h 329711"/>
                  <a:gd name="connsiteX15" fmla="*/ 0 w 319075"/>
                  <a:gd name="connsiteY15" fmla="*/ 138266 h 329711"/>
                  <a:gd name="connsiteX16" fmla="*/ 127630 w 319075"/>
                  <a:gd name="connsiteY16" fmla="*/ 0 h 329711"/>
                  <a:gd name="connsiteX17" fmla="*/ 191445 w 319075"/>
                  <a:gd name="connsiteY17" fmla="*/ 0 h 329711"/>
                  <a:gd name="connsiteX18" fmla="*/ 319076 w 319075"/>
                  <a:gd name="connsiteY18" fmla="*/ 138266 h 329711"/>
                  <a:gd name="connsiteX19" fmla="*/ 319076 w 319075"/>
                  <a:gd name="connsiteY19" fmla="*/ 319076 h 329711"/>
                  <a:gd name="connsiteX20" fmla="*/ 308440 w 319075"/>
                  <a:gd name="connsiteY20" fmla="*/ 329712 h 329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19075" h="329711">
                    <a:moveTo>
                      <a:pt x="308440" y="329712"/>
                    </a:moveTo>
                    <a:lnTo>
                      <a:pt x="276532" y="329712"/>
                    </a:lnTo>
                    <a:cubicBezTo>
                      <a:pt x="270651" y="329712"/>
                      <a:pt x="265896" y="324957"/>
                      <a:pt x="265896" y="319076"/>
                    </a:cubicBezTo>
                    <a:cubicBezTo>
                      <a:pt x="265896" y="313194"/>
                      <a:pt x="270651" y="308440"/>
                      <a:pt x="276532" y="308440"/>
                    </a:cubicBezTo>
                    <a:lnTo>
                      <a:pt x="297804" y="308440"/>
                    </a:lnTo>
                    <a:lnTo>
                      <a:pt x="297804" y="138266"/>
                    </a:lnTo>
                    <a:cubicBezTo>
                      <a:pt x="297804" y="70473"/>
                      <a:pt x="253069" y="21272"/>
                      <a:pt x="191445" y="21272"/>
                    </a:cubicBezTo>
                    <a:lnTo>
                      <a:pt x="127630" y="21272"/>
                    </a:lnTo>
                    <a:cubicBezTo>
                      <a:pt x="66006" y="21272"/>
                      <a:pt x="21272" y="70473"/>
                      <a:pt x="21272" y="138266"/>
                    </a:cubicBezTo>
                    <a:lnTo>
                      <a:pt x="21272" y="308440"/>
                    </a:lnTo>
                    <a:lnTo>
                      <a:pt x="42543" y="308440"/>
                    </a:lnTo>
                    <a:cubicBezTo>
                      <a:pt x="48425" y="308440"/>
                      <a:pt x="53179" y="313194"/>
                      <a:pt x="53179" y="319076"/>
                    </a:cubicBezTo>
                    <a:cubicBezTo>
                      <a:pt x="53179" y="324957"/>
                      <a:pt x="48425" y="329712"/>
                      <a:pt x="42543" y="329712"/>
                    </a:cubicBezTo>
                    <a:lnTo>
                      <a:pt x="10636" y="329712"/>
                    </a:lnTo>
                    <a:cubicBezTo>
                      <a:pt x="4754" y="329712"/>
                      <a:pt x="0" y="324957"/>
                      <a:pt x="0" y="319076"/>
                    </a:cubicBezTo>
                    <a:lnTo>
                      <a:pt x="0" y="138266"/>
                    </a:lnTo>
                    <a:cubicBezTo>
                      <a:pt x="0" y="59444"/>
                      <a:pt x="54870" y="0"/>
                      <a:pt x="127630" y="0"/>
                    </a:cubicBezTo>
                    <a:lnTo>
                      <a:pt x="191445" y="0"/>
                    </a:lnTo>
                    <a:cubicBezTo>
                      <a:pt x="264205" y="0"/>
                      <a:pt x="319076" y="59444"/>
                      <a:pt x="319076" y="138266"/>
                    </a:cubicBezTo>
                    <a:lnTo>
                      <a:pt x="319076" y="319076"/>
                    </a:lnTo>
                    <a:cubicBezTo>
                      <a:pt x="319076" y="324957"/>
                      <a:pt x="314311" y="329712"/>
                      <a:pt x="308440" y="329712"/>
                    </a:cubicBezTo>
                    <a:close/>
                  </a:path>
                </a:pathLst>
              </a:custGeom>
              <a:grpFill/>
              <a:ln w="1063" cap="flat">
                <a:noFill/>
                <a:prstDash val="solid"/>
                <a:miter/>
              </a:ln>
            </p:spPr>
            <p:txBody>
              <a:bodyPr rtlCol="0" anchor="ctr"/>
              <a:lstStyle/>
              <a:p>
                <a:endParaRPr lang="en-GB" dirty="0"/>
              </a:p>
            </p:txBody>
          </p:sp>
          <p:sp>
            <p:nvSpPr>
              <p:cNvPr id="432" name="Freeform: Shape 431">
                <a:extLst>
                  <a:ext uri="{FF2B5EF4-FFF2-40B4-BE49-F238E27FC236}">
                    <a16:creationId xmlns:a16="http://schemas.microsoft.com/office/drawing/2014/main" id="{747DC9E2-BCD1-4CEA-910B-76E0F816FA35}"/>
                  </a:ext>
                </a:extLst>
              </p:cNvPr>
              <p:cNvSpPr/>
              <p:nvPr/>
            </p:nvSpPr>
            <p:spPr>
              <a:xfrm>
                <a:off x="6355547" y="2686702"/>
                <a:ext cx="148901" cy="170173"/>
              </a:xfrm>
              <a:custGeom>
                <a:avLst/>
                <a:gdLst>
                  <a:gd name="connsiteX0" fmla="*/ 74451 w 148901"/>
                  <a:gd name="connsiteY0" fmla="*/ 170174 h 170173"/>
                  <a:gd name="connsiteX1" fmla="*/ 0 w 148901"/>
                  <a:gd name="connsiteY1" fmla="*/ 85087 h 170173"/>
                  <a:gd name="connsiteX2" fmla="*/ 74451 w 148901"/>
                  <a:gd name="connsiteY2" fmla="*/ 0 h 170173"/>
                  <a:gd name="connsiteX3" fmla="*/ 148902 w 148901"/>
                  <a:gd name="connsiteY3" fmla="*/ 85087 h 170173"/>
                  <a:gd name="connsiteX4" fmla="*/ 74451 w 148901"/>
                  <a:gd name="connsiteY4" fmla="*/ 170174 h 170173"/>
                  <a:gd name="connsiteX5" fmla="*/ 74451 w 148901"/>
                  <a:gd name="connsiteY5" fmla="*/ 21272 h 170173"/>
                  <a:gd name="connsiteX6" fmla="*/ 21272 w 148901"/>
                  <a:gd name="connsiteY6" fmla="*/ 85087 h 170173"/>
                  <a:gd name="connsiteX7" fmla="*/ 74451 w 148901"/>
                  <a:gd name="connsiteY7" fmla="*/ 148902 h 170173"/>
                  <a:gd name="connsiteX8" fmla="*/ 127630 w 148901"/>
                  <a:gd name="connsiteY8" fmla="*/ 85087 h 170173"/>
                  <a:gd name="connsiteX9" fmla="*/ 74451 w 148901"/>
                  <a:gd name="connsiteY9" fmla="*/ 21272 h 170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8901" h="170173">
                    <a:moveTo>
                      <a:pt x="74451" y="170174"/>
                    </a:moveTo>
                    <a:cubicBezTo>
                      <a:pt x="29919" y="170174"/>
                      <a:pt x="0" y="135979"/>
                      <a:pt x="0" y="85087"/>
                    </a:cubicBezTo>
                    <a:cubicBezTo>
                      <a:pt x="0" y="34194"/>
                      <a:pt x="29919" y="0"/>
                      <a:pt x="74451" y="0"/>
                    </a:cubicBezTo>
                    <a:cubicBezTo>
                      <a:pt x="118983" y="0"/>
                      <a:pt x="148902" y="34194"/>
                      <a:pt x="148902" y="85087"/>
                    </a:cubicBezTo>
                    <a:cubicBezTo>
                      <a:pt x="148902" y="135979"/>
                      <a:pt x="118973" y="170174"/>
                      <a:pt x="74451" y="170174"/>
                    </a:cubicBezTo>
                    <a:close/>
                    <a:moveTo>
                      <a:pt x="74451" y="21272"/>
                    </a:moveTo>
                    <a:cubicBezTo>
                      <a:pt x="35205" y="21272"/>
                      <a:pt x="21272" y="55647"/>
                      <a:pt x="21272" y="85087"/>
                    </a:cubicBezTo>
                    <a:cubicBezTo>
                      <a:pt x="21272" y="114527"/>
                      <a:pt x="35205" y="148902"/>
                      <a:pt x="74451" y="148902"/>
                    </a:cubicBezTo>
                    <a:cubicBezTo>
                      <a:pt x="113697" y="148902"/>
                      <a:pt x="127630" y="114527"/>
                      <a:pt x="127630" y="85087"/>
                    </a:cubicBezTo>
                    <a:cubicBezTo>
                      <a:pt x="127630" y="55647"/>
                      <a:pt x="113697" y="21272"/>
                      <a:pt x="74451" y="21272"/>
                    </a:cubicBezTo>
                    <a:close/>
                  </a:path>
                </a:pathLst>
              </a:custGeom>
              <a:grpFill/>
              <a:ln w="1063" cap="flat">
                <a:noFill/>
                <a:prstDash val="solid"/>
                <a:miter/>
              </a:ln>
            </p:spPr>
            <p:txBody>
              <a:bodyPr rtlCol="0" anchor="ctr"/>
              <a:lstStyle/>
              <a:p>
                <a:endParaRPr lang="en-GB" dirty="0"/>
              </a:p>
            </p:txBody>
          </p:sp>
        </p:grpSp>
      </p:grpSp>
      <p:grpSp>
        <p:nvGrpSpPr>
          <p:cNvPr id="44" name="Group 43">
            <a:extLst>
              <a:ext uri="{FF2B5EF4-FFF2-40B4-BE49-F238E27FC236}">
                <a16:creationId xmlns:a16="http://schemas.microsoft.com/office/drawing/2014/main" id="{97E9FE50-3EDB-55CD-3B9F-3CFD7A130562}"/>
              </a:ext>
            </a:extLst>
          </p:cNvPr>
          <p:cNvGrpSpPr/>
          <p:nvPr/>
        </p:nvGrpSpPr>
        <p:grpSpPr>
          <a:xfrm>
            <a:off x="4901515" y="2445451"/>
            <a:ext cx="623506" cy="342202"/>
            <a:chOff x="4901103" y="2445451"/>
            <a:chExt cx="623506" cy="342202"/>
          </a:xfrm>
        </p:grpSpPr>
        <p:grpSp>
          <p:nvGrpSpPr>
            <p:cNvPr id="441" name="Group 440">
              <a:extLst>
                <a:ext uri="{FF2B5EF4-FFF2-40B4-BE49-F238E27FC236}">
                  <a16:creationId xmlns:a16="http://schemas.microsoft.com/office/drawing/2014/main" id="{89849B07-11D8-4617-98D8-884652888A32}"/>
                </a:ext>
              </a:extLst>
            </p:cNvPr>
            <p:cNvGrpSpPr/>
            <p:nvPr/>
          </p:nvGrpSpPr>
          <p:grpSpPr>
            <a:xfrm>
              <a:off x="4939602" y="2445451"/>
              <a:ext cx="546520" cy="317469"/>
              <a:chOff x="2541510" y="3168423"/>
              <a:chExt cx="677626" cy="393628"/>
            </a:xfrm>
          </p:grpSpPr>
          <p:grpSp>
            <p:nvGrpSpPr>
              <p:cNvPr id="448" name="Graphic 818">
                <a:extLst>
                  <a:ext uri="{FF2B5EF4-FFF2-40B4-BE49-F238E27FC236}">
                    <a16:creationId xmlns:a16="http://schemas.microsoft.com/office/drawing/2014/main" id="{85C7DA3A-C0BF-49A4-8EE7-6423560CDF8A}"/>
                  </a:ext>
                </a:extLst>
              </p:cNvPr>
              <p:cNvGrpSpPr/>
              <p:nvPr/>
            </p:nvGrpSpPr>
            <p:grpSpPr>
              <a:xfrm>
                <a:off x="2756723" y="3168423"/>
                <a:ext cx="259653" cy="259632"/>
                <a:chOff x="5082031" y="2687287"/>
                <a:chExt cx="404982" cy="404949"/>
              </a:xfrm>
              <a:solidFill>
                <a:schemeClr val="tx2"/>
              </a:solidFill>
            </p:grpSpPr>
            <p:grpSp>
              <p:nvGrpSpPr>
                <p:cNvPr id="455" name="Graphic 818">
                  <a:extLst>
                    <a:ext uri="{FF2B5EF4-FFF2-40B4-BE49-F238E27FC236}">
                      <a16:creationId xmlns:a16="http://schemas.microsoft.com/office/drawing/2014/main" id="{8397019D-0304-4DD0-8636-119B6C5998F3}"/>
                    </a:ext>
                  </a:extLst>
                </p:cNvPr>
                <p:cNvGrpSpPr/>
                <p:nvPr/>
              </p:nvGrpSpPr>
              <p:grpSpPr>
                <a:xfrm>
                  <a:off x="5082031" y="2687287"/>
                  <a:ext cx="404982" cy="404949"/>
                  <a:chOff x="5082031" y="2687287"/>
                  <a:chExt cx="404982" cy="404949"/>
                </a:xfrm>
                <a:solidFill>
                  <a:schemeClr val="accent1"/>
                </a:solidFill>
              </p:grpSpPr>
              <p:sp>
                <p:nvSpPr>
                  <p:cNvPr id="459" name="Freeform: Shape 458">
                    <a:extLst>
                      <a:ext uri="{FF2B5EF4-FFF2-40B4-BE49-F238E27FC236}">
                        <a16:creationId xmlns:a16="http://schemas.microsoft.com/office/drawing/2014/main" id="{CAE74046-EBF1-42FB-AB03-703DA70A8BF9}"/>
                      </a:ext>
                    </a:extLst>
                  </p:cNvPr>
                  <p:cNvSpPr/>
                  <p:nvPr/>
                </p:nvSpPr>
                <p:spPr>
                  <a:xfrm>
                    <a:off x="5160119" y="2765131"/>
                    <a:ext cx="248793" cy="248804"/>
                  </a:xfrm>
                  <a:custGeom>
                    <a:avLst/>
                    <a:gdLst>
                      <a:gd name="connsiteX0" fmla="*/ 124397 w 248793"/>
                      <a:gd name="connsiteY0" fmla="*/ 248805 h 248804"/>
                      <a:gd name="connsiteX1" fmla="*/ 0 w 248793"/>
                      <a:gd name="connsiteY1" fmla="*/ 124408 h 248804"/>
                      <a:gd name="connsiteX2" fmla="*/ 124397 w 248793"/>
                      <a:gd name="connsiteY2" fmla="*/ 0 h 248804"/>
                      <a:gd name="connsiteX3" fmla="*/ 248794 w 248793"/>
                      <a:gd name="connsiteY3" fmla="*/ 124408 h 248804"/>
                      <a:gd name="connsiteX4" fmla="*/ 124397 w 248793"/>
                      <a:gd name="connsiteY4" fmla="*/ 248805 h 248804"/>
                      <a:gd name="connsiteX5" fmla="*/ 124397 w 248793"/>
                      <a:gd name="connsiteY5" fmla="*/ 21272 h 248804"/>
                      <a:gd name="connsiteX6" fmla="*/ 21272 w 248793"/>
                      <a:gd name="connsiteY6" fmla="*/ 124408 h 248804"/>
                      <a:gd name="connsiteX7" fmla="*/ 124397 w 248793"/>
                      <a:gd name="connsiteY7" fmla="*/ 227533 h 248804"/>
                      <a:gd name="connsiteX8" fmla="*/ 227522 w 248793"/>
                      <a:gd name="connsiteY8" fmla="*/ 124408 h 248804"/>
                      <a:gd name="connsiteX9" fmla="*/ 124397 w 248793"/>
                      <a:gd name="connsiteY9" fmla="*/ 21272 h 24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793" h="248804">
                        <a:moveTo>
                          <a:pt x="124397" y="248805"/>
                        </a:moveTo>
                        <a:cubicBezTo>
                          <a:pt x="55806" y="248805"/>
                          <a:pt x="0" y="192998"/>
                          <a:pt x="0" y="124408"/>
                        </a:cubicBezTo>
                        <a:cubicBezTo>
                          <a:pt x="0" y="55806"/>
                          <a:pt x="55806" y="0"/>
                          <a:pt x="124397" y="0"/>
                        </a:cubicBezTo>
                        <a:cubicBezTo>
                          <a:pt x="192988" y="0"/>
                          <a:pt x="248794" y="55806"/>
                          <a:pt x="248794" y="124408"/>
                        </a:cubicBezTo>
                        <a:cubicBezTo>
                          <a:pt x="248805" y="192998"/>
                          <a:pt x="192998" y="248805"/>
                          <a:pt x="124397" y="248805"/>
                        </a:cubicBezTo>
                        <a:close/>
                        <a:moveTo>
                          <a:pt x="124397" y="21272"/>
                        </a:moveTo>
                        <a:cubicBezTo>
                          <a:pt x="67527" y="21272"/>
                          <a:pt x="21272" y="67548"/>
                          <a:pt x="21272" y="124408"/>
                        </a:cubicBezTo>
                        <a:cubicBezTo>
                          <a:pt x="21272" y="181267"/>
                          <a:pt x="67538" y="227533"/>
                          <a:pt x="124397" y="227533"/>
                        </a:cubicBezTo>
                        <a:cubicBezTo>
                          <a:pt x="181256" y="227533"/>
                          <a:pt x="227522" y="181267"/>
                          <a:pt x="227522" y="124408"/>
                        </a:cubicBezTo>
                        <a:cubicBezTo>
                          <a:pt x="227522" y="67548"/>
                          <a:pt x="181267" y="21272"/>
                          <a:pt x="124397" y="21272"/>
                        </a:cubicBezTo>
                        <a:close/>
                      </a:path>
                    </a:pathLst>
                  </a:custGeom>
                  <a:solidFill>
                    <a:schemeClr val="accent1"/>
                  </a:solidFill>
                  <a:ln w="1063" cap="flat">
                    <a:noFill/>
                    <a:prstDash val="solid"/>
                    <a:miter/>
                  </a:ln>
                </p:spPr>
                <p:txBody>
                  <a:bodyPr rtlCol="0" anchor="ctr"/>
                  <a:lstStyle/>
                  <a:p>
                    <a:endParaRPr lang="en-GB" dirty="0"/>
                  </a:p>
                </p:txBody>
              </p:sp>
              <p:grpSp>
                <p:nvGrpSpPr>
                  <p:cNvPr id="460" name="Graphic 818">
                    <a:extLst>
                      <a:ext uri="{FF2B5EF4-FFF2-40B4-BE49-F238E27FC236}">
                        <a16:creationId xmlns:a16="http://schemas.microsoft.com/office/drawing/2014/main" id="{8295CB5A-8B7E-40ED-8226-8503B97498AB}"/>
                      </a:ext>
                    </a:extLst>
                  </p:cNvPr>
                  <p:cNvGrpSpPr/>
                  <p:nvPr/>
                </p:nvGrpSpPr>
                <p:grpSpPr>
                  <a:xfrm>
                    <a:off x="5082031" y="2853217"/>
                    <a:ext cx="99115" cy="72132"/>
                    <a:chOff x="5082031" y="2853217"/>
                    <a:chExt cx="99115" cy="72132"/>
                  </a:xfrm>
                  <a:solidFill>
                    <a:schemeClr val="accent1"/>
                  </a:solidFill>
                </p:grpSpPr>
                <p:sp>
                  <p:nvSpPr>
                    <p:cNvPr id="492" name="Freeform: Shape 491">
                      <a:extLst>
                        <a:ext uri="{FF2B5EF4-FFF2-40B4-BE49-F238E27FC236}">
                          <a16:creationId xmlns:a16="http://schemas.microsoft.com/office/drawing/2014/main" id="{DBD6F918-07B1-4D39-8F10-4A3A95D9264F}"/>
                        </a:ext>
                      </a:extLst>
                    </p:cNvPr>
                    <p:cNvSpPr/>
                    <p:nvPr/>
                  </p:nvSpPr>
                  <p:spPr>
                    <a:xfrm>
                      <a:off x="5082031" y="2853217"/>
                      <a:ext cx="63187" cy="72132"/>
                    </a:xfrm>
                    <a:custGeom>
                      <a:avLst/>
                      <a:gdLst>
                        <a:gd name="connsiteX0" fmla="*/ 27228 w 63187"/>
                        <a:gd name="connsiteY0" fmla="*/ 72132 h 72132"/>
                        <a:gd name="connsiteX1" fmla="*/ 0 w 63187"/>
                        <a:gd name="connsiteY1" fmla="*/ 36173 h 72132"/>
                        <a:gd name="connsiteX2" fmla="*/ 26356 w 63187"/>
                        <a:gd name="connsiteY2" fmla="*/ 0 h 72132"/>
                        <a:gd name="connsiteX3" fmla="*/ 63188 w 63187"/>
                        <a:gd name="connsiteY3" fmla="*/ 36173 h 72132"/>
                        <a:gd name="connsiteX4" fmla="*/ 27228 w 63187"/>
                        <a:gd name="connsiteY4" fmla="*/ 72132 h 72132"/>
                        <a:gd name="connsiteX5" fmla="*/ 26356 w 63187"/>
                        <a:gd name="connsiteY5" fmla="*/ 21272 h 72132"/>
                        <a:gd name="connsiteX6" fmla="*/ 21272 w 63187"/>
                        <a:gd name="connsiteY6" fmla="*/ 36173 h 72132"/>
                        <a:gd name="connsiteX7" fmla="*/ 27228 w 63187"/>
                        <a:gd name="connsiteY7" fmla="*/ 50861 h 72132"/>
                        <a:gd name="connsiteX8" fmla="*/ 41916 w 63187"/>
                        <a:gd name="connsiteY8" fmla="*/ 36173 h 72132"/>
                        <a:gd name="connsiteX9" fmla="*/ 26356 w 63187"/>
                        <a:gd name="connsiteY9" fmla="*/ 21272 h 7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187" h="72132">
                          <a:moveTo>
                            <a:pt x="27228" y="72132"/>
                          </a:moveTo>
                          <a:cubicBezTo>
                            <a:pt x="11200" y="72132"/>
                            <a:pt x="0" y="57338"/>
                            <a:pt x="0" y="36173"/>
                          </a:cubicBezTo>
                          <a:cubicBezTo>
                            <a:pt x="0" y="14199"/>
                            <a:pt x="10349" y="0"/>
                            <a:pt x="26356" y="0"/>
                          </a:cubicBezTo>
                          <a:cubicBezTo>
                            <a:pt x="44256" y="0"/>
                            <a:pt x="63188" y="18592"/>
                            <a:pt x="63188" y="36173"/>
                          </a:cubicBezTo>
                          <a:cubicBezTo>
                            <a:pt x="63188" y="53988"/>
                            <a:pt x="45043" y="72132"/>
                            <a:pt x="27228" y="72132"/>
                          </a:cubicBezTo>
                          <a:close/>
                          <a:moveTo>
                            <a:pt x="26356" y="21272"/>
                          </a:moveTo>
                          <a:cubicBezTo>
                            <a:pt x="23314" y="21272"/>
                            <a:pt x="21272" y="28983"/>
                            <a:pt x="21272" y="36173"/>
                          </a:cubicBezTo>
                          <a:cubicBezTo>
                            <a:pt x="21272" y="43267"/>
                            <a:pt x="23665" y="50861"/>
                            <a:pt x="27228" y="50861"/>
                          </a:cubicBezTo>
                          <a:cubicBezTo>
                            <a:pt x="32801" y="50861"/>
                            <a:pt x="41916" y="42661"/>
                            <a:pt x="41916" y="36173"/>
                          </a:cubicBezTo>
                          <a:cubicBezTo>
                            <a:pt x="41916" y="29749"/>
                            <a:pt x="32131" y="21272"/>
                            <a:pt x="26356" y="21272"/>
                          </a:cubicBezTo>
                          <a:close/>
                        </a:path>
                      </a:pathLst>
                    </a:custGeom>
                    <a:solidFill>
                      <a:schemeClr val="accent1"/>
                    </a:solidFill>
                    <a:ln w="1063" cap="flat">
                      <a:noFill/>
                      <a:prstDash val="solid"/>
                      <a:miter/>
                    </a:ln>
                  </p:spPr>
                  <p:txBody>
                    <a:bodyPr rtlCol="0" anchor="ctr"/>
                    <a:lstStyle/>
                    <a:p>
                      <a:endParaRPr lang="en-GB" dirty="0"/>
                    </a:p>
                  </p:txBody>
                </p:sp>
                <p:sp>
                  <p:nvSpPr>
                    <p:cNvPr id="493" name="Freeform: Shape 492">
                      <a:extLst>
                        <a:ext uri="{FF2B5EF4-FFF2-40B4-BE49-F238E27FC236}">
                          <a16:creationId xmlns:a16="http://schemas.microsoft.com/office/drawing/2014/main" id="{C913D6E7-2ECA-4FB5-993E-9BA0EFAC8D4B}"/>
                        </a:ext>
                      </a:extLst>
                    </p:cNvPr>
                    <p:cNvSpPr/>
                    <p:nvPr/>
                  </p:nvSpPr>
                  <p:spPr>
                    <a:xfrm>
                      <a:off x="5123947" y="2878775"/>
                      <a:ext cx="57199" cy="21271"/>
                    </a:xfrm>
                    <a:custGeom>
                      <a:avLst/>
                      <a:gdLst>
                        <a:gd name="connsiteX0" fmla="*/ 46564 w 57199"/>
                        <a:gd name="connsiteY0" fmla="*/ 21272 h 21271"/>
                        <a:gd name="connsiteX1" fmla="*/ 10636 w 57199"/>
                        <a:gd name="connsiteY1" fmla="*/ 21272 h 21271"/>
                        <a:gd name="connsiteX2" fmla="*/ 0 w 57199"/>
                        <a:gd name="connsiteY2" fmla="*/ 10636 h 21271"/>
                        <a:gd name="connsiteX3" fmla="*/ 10636 w 57199"/>
                        <a:gd name="connsiteY3" fmla="*/ 0 h 21271"/>
                        <a:gd name="connsiteX4" fmla="*/ 46564 w 57199"/>
                        <a:gd name="connsiteY4" fmla="*/ 0 h 21271"/>
                        <a:gd name="connsiteX5" fmla="*/ 57200 w 57199"/>
                        <a:gd name="connsiteY5" fmla="*/ 10636 h 21271"/>
                        <a:gd name="connsiteX6" fmla="*/ 46564 w 57199"/>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99" h="21271">
                          <a:moveTo>
                            <a:pt x="46564" y="21272"/>
                          </a:moveTo>
                          <a:lnTo>
                            <a:pt x="10636" y="21272"/>
                          </a:lnTo>
                          <a:cubicBezTo>
                            <a:pt x="4754" y="21272"/>
                            <a:pt x="0" y="16518"/>
                            <a:pt x="0" y="10636"/>
                          </a:cubicBezTo>
                          <a:cubicBezTo>
                            <a:pt x="0" y="4754"/>
                            <a:pt x="4754" y="0"/>
                            <a:pt x="10636" y="0"/>
                          </a:cubicBezTo>
                          <a:lnTo>
                            <a:pt x="46564" y="0"/>
                          </a:lnTo>
                          <a:cubicBezTo>
                            <a:pt x="52445" y="0"/>
                            <a:pt x="57200" y="4754"/>
                            <a:pt x="57200" y="10636"/>
                          </a:cubicBezTo>
                          <a:cubicBezTo>
                            <a:pt x="57200" y="16518"/>
                            <a:pt x="52435" y="21272"/>
                            <a:pt x="46564" y="21272"/>
                          </a:cubicBezTo>
                          <a:close/>
                        </a:path>
                      </a:pathLst>
                    </a:custGeom>
                    <a:solidFill>
                      <a:schemeClr val="accent1"/>
                    </a:solidFill>
                    <a:ln w="1063" cap="flat">
                      <a:noFill/>
                      <a:prstDash val="solid"/>
                      <a:miter/>
                    </a:ln>
                  </p:spPr>
                  <p:txBody>
                    <a:bodyPr rtlCol="0" anchor="ctr"/>
                    <a:lstStyle/>
                    <a:p>
                      <a:endParaRPr lang="en-GB" dirty="0"/>
                    </a:p>
                  </p:txBody>
                </p:sp>
              </p:grpSp>
              <p:grpSp>
                <p:nvGrpSpPr>
                  <p:cNvPr id="461" name="Graphic 818">
                    <a:extLst>
                      <a:ext uri="{FF2B5EF4-FFF2-40B4-BE49-F238E27FC236}">
                        <a16:creationId xmlns:a16="http://schemas.microsoft.com/office/drawing/2014/main" id="{554D7760-6F0C-4275-917F-66A2FEF4AEE7}"/>
                      </a:ext>
                    </a:extLst>
                  </p:cNvPr>
                  <p:cNvGrpSpPr/>
                  <p:nvPr/>
                </p:nvGrpSpPr>
                <p:grpSpPr>
                  <a:xfrm>
                    <a:off x="5387897" y="2853110"/>
                    <a:ext cx="99116" cy="72153"/>
                    <a:chOff x="5387897" y="2853110"/>
                    <a:chExt cx="99116" cy="72153"/>
                  </a:xfrm>
                  <a:solidFill>
                    <a:schemeClr val="accent1"/>
                  </a:solidFill>
                </p:grpSpPr>
                <p:sp>
                  <p:nvSpPr>
                    <p:cNvPr id="490" name="Freeform: Shape 489">
                      <a:extLst>
                        <a:ext uri="{FF2B5EF4-FFF2-40B4-BE49-F238E27FC236}">
                          <a16:creationId xmlns:a16="http://schemas.microsoft.com/office/drawing/2014/main" id="{2725956E-5691-4251-B350-EA0B0CCAA5BE}"/>
                        </a:ext>
                      </a:extLst>
                    </p:cNvPr>
                    <p:cNvSpPr/>
                    <p:nvPr/>
                  </p:nvSpPr>
                  <p:spPr>
                    <a:xfrm>
                      <a:off x="5423824" y="2853110"/>
                      <a:ext cx="63188" cy="72153"/>
                    </a:xfrm>
                    <a:custGeom>
                      <a:avLst/>
                      <a:gdLst>
                        <a:gd name="connsiteX0" fmla="*/ 36024 w 63188"/>
                        <a:gd name="connsiteY0" fmla="*/ 72143 h 72153"/>
                        <a:gd name="connsiteX1" fmla="*/ 0 w 63188"/>
                        <a:gd name="connsiteY1" fmla="*/ 36353 h 72153"/>
                        <a:gd name="connsiteX2" fmla="*/ 36652 w 63188"/>
                        <a:gd name="connsiteY2" fmla="*/ 0 h 72153"/>
                        <a:gd name="connsiteX3" fmla="*/ 36662 w 63188"/>
                        <a:gd name="connsiteY3" fmla="*/ 0 h 72153"/>
                        <a:gd name="connsiteX4" fmla="*/ 36790 w 63188"/>
                        <a:gd name="connsiteY4" fmla="*/ 0 h 72153"/>
                        <a:gd name="connsiteX5" fmla="*/ 63188 w 63188"/>
                        <a:gd name="connsiteY5" fmla="*/ 36055 h 72153"/>
                        <a:gd name="connsiteX6" fmla="*/ 36141 w 63188"/>
                        <a:gd name="connsiteY6" fmla="*/ 72153 h 72153"/>
                        <a:gd name="connsiteX7" fmla="*/ 36024 w 63188"/>
                        <a:gd name="connsiteY7" fmla="*/ 72143 h 72153"/>
                        <a:gd name="connsiteX8" fmla="*/ 36768 w 63188"/>
                        <a:gd name="connsiteY8" fmla="*/ 21261 h 72153"/>
                        <a:gd name="connsiteX9" fmla="*/ 21272 w 63188"/>
                        <a:gd name="connsiteY9" fmla="*/ 36247 h 72153"/>
                        <a:gd name="connsiteX10" fmla="*/ 36013 w 63188"/>
                        <a:gd name="connsiteY10" fmla="*/ 50861 h 72153"/>
                        <a:gd name="connsiteX11" fmla="*/ 36035 w 63188"/>
                        <a:gd name="connsiteY11" fmla="*/ 50861 h 72153"/>
                        <a:gd name="connsiteX12" fmla="*/ 41927 w 63188"/>
                        <a:gd name="connsiteY12" fmla="*/ 36130 h 72153"/>
                        <a:gd name="connsiteX13" fmla="*/ 36768 w 63188"/>
                        <a:gd name="connsiteY13" fmla="*/ 21261 h 72153"/>
                        <a:gd name="connsiteX14" fmla="*/ 36768 w 63188"/>
                        <a:gd name="connsiteY14" fmla="*/ 21261 h 72153"/>
                        <a:gd name="connsiteX15" fmla="*/ 36768 w 63188"/>
                        <a:gd name="connsiteY15" fmla="*/ 21261 h 72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188" h="72153">
                          <a:moveTo>
                            <a:pt x="36024" y="72143"/>
                          </a:moveTo>
                          <a:cubicBezTo>
                            <a:pt x="18241" y="72143"/>
                            <a:pt x="96" y="54126"/>
                            <a:pt x="0" y="36353"/>
                          </a:cubicBezTo>
                          <a:cubicBezTo>
                            <a:pt x="-74" y="18783"/>
                            <a:pt x="18773" y="96"/>
                            <a:pt x="36652" y="0"/>
                          </a:cubicBezTo>
                          <a:cubicBezTo>
                            <a:pt x="36662" y="0"/>
                            <a:pt x="36662" y="0"/>
                            <a:pt x="36662" y="0"/>
                          </a:cubicBezTo>
                          <a:cubicBezTo>
                            <a:pt x="36705" y="0"/>
                            <a:pt x="36747" y="0"/>
                            <a:pt x="36790" y="0"/>
                          </a:cubicBezTo>
                          <a:cubicBezTo>
                            <a:pt x="52722" y="0"/>
                            <a:pt x="63082" y="14135"/>
                            <a:pt x="63188" y="36055"/>
                          </a:cubicBezTo>
                          <a:cubicBezTo>
                            <a:pt x="63284" y="57221"/>
                            <a:pt x="52158" y="72069"/>
                            <a:pt x="36141" y="72153"/>
                          </a:cubicBezTo>
                          <a:cubicBezTo>
                            <a:pt x="36109" y="72143"/>
                            <a:pt x="36067" y="72143"/>
                            <a:pt x="36024" y="72143"/>
                          </a:cubicBezTo>
                          <a:close/>
                          <a:moveTo>
                            <a:pt x="36768" y="21261"/>
                          </a:moveTo>
                          <a:cubicBezTo>
                            <a:pt x="30983" y="21304"/>
                            <a:pt x="21240" y="29823"/>
                            <a:pt x="21272" y="36247"/>
                          </a:cubicBezTo>
                          <a:cubicBezTo>
                            <a:pt x="21304" y="42703"/>
                            <a:pt x="30419" y="50861"/>
                            <a:pt x="36013" y="50861"/>
                          </a:cubicBezTo>
                          <a:cubicBezTo>
                            <a:pt x="36024" y="50861"/>
                            <a:pt x="36035" y="50861"/>
                            <a:pt x="36035" y="50861"/>
                          </a:cubicBezTo>
                          <a:cubicBezTo>
                            <a:pt x="39597" y="50839"/>
                            <a:pt x="41959" y="43224"/>
                            <a:pt x="41927" y="36130"/>
                          </a:cubicBezTo>
                          <a:cubicBezTo>
                            <a:pt x="41895" y="28961"/>
                            <a:pt x="39810" y="21261"/>
                            <a:pt x="36768" y="21261"/>
                          </a:cubicBezTo>
                          <a:lnTo>
                            <a:pt x="36768" y="21261"/>
                          </a:lnTo>
                          <a:lnTo>
                            <a:pt x="36768" y="21261"/>
                          </a:lnTo>
                          <a:close/>
                        </a:path>
                      </a:pathLst>
                    </a:custGeom>
                    <a:solidFill>
                      <a:schemeClr val="accent1"/>
                    </a:solidFill>
                    <a:ln w="1063" cap="flat">
                      <a:noFill/>
                      <a:prstDash val="solid"/>
                      <a:miter/>
                    </a:ln>
                  </p:spPr>
                  <p:txBody>
                    <a:bodyPr rtlCol="0" anchor="ctr"/>
                    <a:lstStyle/>
                    <a:p>
                      <a:endParaRPr lang="en-GB" dirty="0"/>
                    </a:p>
                  </p:txBody>
                </p:sp>
                <p:sp>
                  <p:nvSpPr>
                    <p:cNvPr id="491" name="Freeform: Shape 490">
                      <a:extLst>
                        <a:ext uri="{FF2B5EF4-FFF2-40B4-BE49-F238E27FC236}">
                          <a16:creationId xmlns:a16="http://schemas.microsoft.com/office/drawing/2014/main" id="{A91AE752-1E3B-4710-BC1F-410726D7B1B8}"/>
                        </a:ext>
                      </a:extLst>
                    </p:cNvPr>
                    <p:cNvSpPr/>
                    <p:nvPr/>
                  </p:nvSpPr>
                  <p:spPr>
                    <a:xfrm>
                      <a:off x="5387897" y="2878785"/>
                      <a:ext cx="57199" cy="21442"/>
                    </a:xfrm>
                    <a:custGeom>
                      <a:avLst/>
                      <a:gdLst>
                        <a:gd name="connsiteX0" fmla="*/ 10636 w 57199"/>
                        <a:gd name="connsiteY0" fmla="*/ 21442 h 21442"/>
                        <a:gd name="connsiteX1" fmla="*/ 0 w 57199"/>
                        <a:gd name="connsiteY1" fmla="*/ 10859 h 21442"/>
                        <a:gd name="connsiteX2" fmla="*/ 10583 w 57199"/>
                        <a:gd name="connsiteY2" fmla="*/ 170 h 21442"/>
                        <a:gd name="connsiteX3" fmla="*/ 46511 w 57199"/>
                        <a:gd name="connsiteY3" fmla="*/ 0 h 21442"/>
                        <a:gd name="connsiteX4" fmla="*/ 46564 w 57199"/>
                        <a:gd name="connsiteY4" fmla="*/ 0 h 21442"/>
                        <a:gd name="connsiteX5" fmla="*/ 57200 w 57199"/>
                        <a:gd name="connsiteY5" fmla="*/ 10583 h 21442"/>
                        <a:gd name="connsiteX6" fmla="*/ 46617 w 57199"/>
                        <a:gd name="connsiteY6" fmla="*/ 21272 h 21442"/>
                        <a:gd name="connsiteX7" fmla="*/ 10689 w 57199"/>
                        <a:gd name="connsiteY7" fmla="*/ 21442 h 21442"/>
                        <a:gd name="connsiteX8" fmla="*/ 10636 w 57199"/>
                        <a:gd name="connsiteY8" fmla="*/ 21442 h 21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99" h="21442">
                          <a:moveTo>
                            <a:pt x="10636" y="21442"/>
                          </a:moveTo>
                          <a:cubicBezTo>
                            <a:pt x="4786" y="21442"/>
                            <a:pt x="32" y="16720"/>
                            <a:pt x="0" y="10859"/>
                          </a:cubicBezTo>
                          <a:cubicBezTo>
                            <a:pt x="-32" y="4978"/>
                            <a:pt x="4712" y="202"/>
                            <a:pt x="10583" y="170"/>
                          </a:cubicBezTo>
                          <a:lnTo>
                            <a:pt x="46511" y="0"/>
                          </a:lnTo>
                          <a:cubicBezTo>
                            <a:pt x="46532" y="0"/>
                            <a:pt x="46553" y="0"/>
                            <a:pt x="46564" y="0"/>
                          </a:cubicBezTo>
                          <a:cubicBezTo>
                            <a:pt x="52413" y="0"/>
                            <a:pt x="57168" y="4723"/>
                            <a:pt x="57200" y="10583"/>
                          </a:cubicBezTo>
                          <a:cubicBezTo>
                            <a:pt x="57232" y="16464"/>
                            <a:pt x="52488" y="21240"/>
                            <a:pt x="46617" y="21272"/>
                          </a:cubicBezTo>
                          <a:lnTo>
                            <a:pt x="10689" y="21442"/>
                          </a:lnTo>
                          <a:cubicBezTo>
                            <a:pt x="10668" y="21442"/>
                            <a:pt x="10646" y="21442"/>
                            <a:pt x="10636" y="21442"/>
                          </a:cubicBezTo>
                          <a:close/>
                        </a:path>
                      </a:pathLst>
                    </a:custGeom>
                    <a:solidFill>
                      <a:schemeClr val="accent1"/>
                    </a:solidFill>
                    <a:ln w="1063" cap="flat">
                      <a:noFill/>
                      <a:prstDash val="solid"/>
                      <a:miter/>
                    </a:ln>
                  </p:spPr>
                  <p:txBody>
                    <a:bodyPr rtlCol="0" anchor="ctr"/>
                    <a:lstStyle/>
                    <a:p>
                      <a:endParaRPr lang="en-GB" dirty="0"/>
                    </a:p>
                  </p:txBody>
                </p:sp>
              </p:grpSp>
              <p:grpSp>
                <p:nvGrpSpPr>
                  <p:cNvPr id="462" name="Graphic 818">
                    <a:extLst>
                      <a:ext uri="{FF2B5EF4-FFF2-40B4-BE49-F238E27FC236}">
                        <a16:creationId xmlns:a16="http://schemas.microsoft.com/office/drawing/2014/main" id="{FB6D4F27-B03C-4B5F-9DA7-E15825A71DD3}"/>
                      </a:ext>
                    </a:extLst>
                  </p:cNvPr>
                  <p:cNvGrpSpPr/>
                  <p:nvPr/>
                </p:nvGrpSpPr>
                <p:grpSpPr>
                  <a:xfrm>
                    <a:off x="5127489" y="2687287"/>
                    <a:ext cx="314272" cy="132533"/>
                    <a:chOff x="5127489" y="2687287"/>
                    <a:chExt cx="314272" cy="132533"/>
                  </a:xfrm>
                  <a:solidFill>
                    <a:schemeClr val="accent1"/>
                  </a:solidFill>
                </p:grpSpPr>
                <p:grpSp>
                  <p:nvGrpSpPr>
                    <p:cNvPr id="481" name="Graphic 818">
                      <a:extLst>
                        <a:ext uri="{FF2B5EF4-FFF2-40B4-BE49-F238E27FC236}">
                          <a16:creationId xmlns:a16="http://schemas.microsoft.com/office/drawing/2014/main" id="{DD3B841F-0B71-40A8-AAA5-96818A67F2FE}"/>
                        </a:ext>
                      </a:extLst>
                    </p:cNvPr>
                    <p:cNvGrpSpPr/>
                    <p:nvPr/>
                  </p:nvGrpSpPr>
                  <p:grpSpPr>
                    <a:xfrm>
                      <a:off x="5248578" y="2687287"/>
                      <a:ext cx="72132" cy="99115"/>
                      <a:chOff x="5248578" y="2687287"/>
                      <a:chExt cx="72132" cy="99115"/>
                    </a:xfrm>
                    <a:solidFill>
                      <a:schemeClr val="accent1"/>
                    </a:solidFill>
                  </p:grpSpPr>
                  <p:sp>
                    <p:nvSpPr>
                      <p:cNvPr id="488" name="Freeform: Shape 487">
                        <a:extLst>
                          <a:ext uri="{FF2B5EF4-FFF2-40B4-BE49-F238E27FC236}">
                            <a16:creationId xmlns:a16="http://schemas.microsoft.com/office/drawing/2014/main" id="{30D1B6DA-6D55-4999-9709-51B62A9FC8B4}"/>
                          </a:ext>
                        </a:extLst>
                      </p:cNvPr>
                      <p:cNvSpPr/>
                      <p:nvPr/>
                    </p:nvSpPr>
                    <p:spPr>
                      <a:xfrm>
                        <a:off x="5248578" y="2687287"/>
                        <a:ext cx="72132" cy="63187"/>
                      </a:xfrm>
                      <a:custGeom>
                        <a:avLst/>
                        <a:gdLst>
                          <a:gd name="connsiteX0" fmla="*/ 35960 w 72132"/>
                          <a:gd name="connsiteY0" fmla="*/ 63188 h 63187"/>
                          <a:gd name="connsiteX1" fmla="*/ 0 w 72132"/>
                          <a:gd name="connsiteY1" fmla="*/ 27228 h 63187"/>
                          <a:gd name="connsiteX2" fmla="*/ 35960 w 72132"/>
                          <a:gd name="connsiteY2" fmla="*/ 0 h 63187"/>
                          <a:gd name="connsiteX3" fmla="*/ 72132 w 72132"/>
                          <a:gd name="connsiteY3" fmla="*/ 26356 h 63187"/>
                          <a:gd name="connsiteX4" fmla="*/ 35960 w 72132"/>
                          <a:gd name="connsiteY4" fmla="*/ 63188 h 63187"/>
                          <a:gd name="connsiteX5" fmla="*/ 35960 w 72132"/>
                          <a:gd name="connsiteY5" fmla="*/ 21272 h 63187"/>
                          <a:gd name="connsiteX6" fmla="*/ 21272 w 72132"/>
                          <a:gd name="connsiteY6" fmla="*/ 27228 h 63187"/>
                          <a:gd name="connsiteX7" fmla="*/ 35960 w 72132"/>
                          <a:gd name="connsiteY7" fmla="*/ 41916 h 63187"/>
                          <a:gd name="connsiteX8" fmla="*/ 50861 w 72132"/>
                          <a:gd name="connsiteY8" fmla="*/ 26356 h 63187"/>
                          <a:gd name="connsiteX9" fmla="*/ 35960 w 72132"/>
                          <a:gd name="connsiteY9" fmla="*/ 21272 h 6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32" h="63187">
                            <a:moveTo>
                              <a:pt x="35960" y="63188"/>
                            </a:moveTo>
                            <a:cubicBezTo>
                              <a:pt x="18145" y="63188"/>
                              <a:pt x="0" y="45043"/>
                              <a:pt x="0" y="27228"/>
                            </a:cubicBezTo>
                            <a:cubicBezTo>
                              <a:pt x="0" y="11200"/>
                              <a:pt x="14795" y="0"/>
                              <a:pt x="35960" y="0"/>
                            </a:cubicBezTo>
                            <a:cubicBezTo>
                              <a:pt x="57934" y="0"/>
                              <a:pt x="72132" y="10349"/>
                              <a:pt x="72132" y="26356"/>
                            </a:cubicBezTo>
                            <a:cubicBezTo>
                              <a:pt x="72143" y="44256"/>
                              <a:pt x="53552" y="63188"/>
                              <a:pt x="35960" y="63188"/>
                            </a:cubicBezTo>
                            <a:close/>
                            <a:moveTo>
                              <a:pt x="35960" y="21272"/>
                            </a:moveTo>
                            <a:cubicBezTo>
                              <a:pt x="28866" y="21272"/>
                              <a:pt x="21272" y="23665"/>
                              <a:pt x="21272" y="27228"/>
                            </a:cubicBezTo>
                            <a:cubicBezTo>
                              <a:pt x="21272" y="32801"/>
                              <a:pt x="29472" y="41916"/>
                              <a:pt x="35960" y="41916"/>
                            </a:cubicBezTo>
                            <a:cubicBezTo>
                              <a:pt x="42384" y="41916"/>
                              <a:pt x="50861" y="32131"/>
                              <a:pt x="50861" y="26356"/>
                            </a:cubicBezTo>
                            <a:cubicBezTo>
                              <a:pt x="50871" y="23314"/>
                              <a:pt x="43160" y="21272"/>
                              <a:pt x="35960" y="21272"/>
                            </a:cubicBezTo>
                            <a:close/>
                          </a:path>
                        </a:pathLst>
                      </a:custGeom>
                      <a:solidFill>
                        <a:schemeClr val="accent1"/>
                      </a:solidFill>
                      <a:ln w="1063" cap="flat">
                        <a:noFill/>
                        <a:prstDash val="solid"/>
                        <a:miter/>
                      </a:ln>
                    </p:spPr>
                    <p:txBody>
                      <a:bodyPr rtlCol="0" anchor="ctr"/>
                      <a:lstStyle/>
                      <a:p>
                        <a:endParaRPr lang="en-GB" dirty="0"/>
                      </a:p>
                    </p:txBody>
                  </p:sp>
                  <p:sp>
                    <p:nvSpPr>
                      <p:cNvPr id="489" name="Freeform: Shape 488">
                        <a:extLst>
                          <a:ext uri="{FF2B5EF4-FFF2-40B4-BE49-F238E27FC236}">
                            <a16:creationId xmlns:a16="http://schemas.microsoft.com/office/drawing/2014/main" id="{3B4EA3E9-D303-4CA2-B89E-BC776C791D1C}"/>
                          </a:ext>
                        </a:extLst>
                      </p:cNvPr>
                      <p:cNvSpPr/>
                      <p:nvPr/>
                    </p:nvSpPr>
                    <p:spPr>
                      <a:xfrm>
                        <a:off x="5273880" y="2729203"/>
                        <a:ext cx="21271" cy="57199"/>
                      </a:xfrm>
                      <a:custGeom>
                        <a:avLst/>
                        <a:gdLst>
                          <a:gd name="connsiteX0" fmla="*/ 10636 w 21271"/>
                          <a:gd name="connsiteY0" fmla="*/ 57200 h 57199"/>
                          <a:gd name="connsiteX1" fmla="*/ 0 w 21271"/>
                          <a:gd name="connsiteY1" fmla="*/ 46564 h 57199"/>
                          <a:gd name="connsiteX2" fmla="*/ 0 w 21271"/>
                          <a:gd name="connsiteY2" fmla="*/ 10636 h 57199"/>
                          <a:gd name="connsiteX3" fmla="*/ 10636 w 21271"/>
                          <a:gd name="connsiteY3" fmla="*/ 0 h 57199"/>
                          <a:gd name="connsiteX4" fmla="*/ 21272 w 21271"/>
                          <a:gd name="connsiteY4" fmla="*/ 10636 h 57199"/>
                          <a:gd name="connsiteX5" fmla="*/ 21272 w 21271"/>
                          <a:gd name="connsiteY5" fmla="*/ 46564 h 57199"/>
                          <a:gd name="connsiteX6" fmla="*/ 10636 w 21271"/>
                          <a:gd name="connsiteY6" fmla="*/ 57200 h 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57199">
                            <a:moveTo>
                              <a:pt x="10636" y="57200"/>
                            </a:moveTo>
                            <a:cubicBezTo>
                              <a:pt x="4754" y="57200"/>
                              <a:pt x="0" y="52445"/>
                              <a:pt x="0" y="46564"/>
                            </a:cubicBezTo>
                            <a:lnTo>
                              <a:pt x="0" y="10636"/>
                            </a:lnTo>
                            <a:cubicBezTo>
                              <a:pt x="0" y="4754"/>
                              <a:pt x="4754" y="0"/>
                              <a:pt x="10636" y="0"/>
                            </a:cubicBezTo>
                            <a:cubicBezTo>
                              <a:pt x="16518" y="0"/>
                              <a:pt x="21272" y="4754"/>
                              <a:pt x="21272" y="10636"/>
                            </a:cubicBezTo>
                            <a:lnTo>
                              <a:pt x="21272" y="46564"/>
                            </a:lnTo>
                            <a:cubicBezTo>
                              <a:pt x="21272" y="52445"/>
                              <a:pt x="16518" y="57200"/>
                              <a:pt x="10636" y="57200"/>
                            </a:cubicBezTo>
                            <a:close/>
                          </a:path>
                        </a:pathLst>
                      </a:custGeom>
                      <a:solidFill>
                        <a:schemeClr val="accent1"/>
                      </a:solidFill>
                      <a:ln w="1063" cap="flat">
                        <a:noFill/>
                        <a:prstDash val="solid"/>
                        <a:miter/>
                      </a:ln>
                    </p:spPr>
                    <p:txBody>
                      <a:bodyPr rtlCol="0" anchor="ctr"/>
                      <a:lstStyle/>
                      <a:p>
                        <a:endParaRPr lang="en-GB" dirty="0"/>
                      </a:p>
                    </p:txBody>
                  </p:sp>
                </p:grpSp>
                <p:grpSp>
                  <p:nvGrpSpPr>
                    <p:cNvPr id="482" name="Graphic 818">
                      <a:extLst>
                        <a:ext uri="{FF2B5EF4-FFF2-40B4-BE49-F238E27FC236}">
                          <a16:creationId xmlns:a16="http://schemas.microsoft.com/office/drawing/2014/main" id="{919AA387-32EB-40ED-B92A-6AA044FFD197}"/>
                        </a:ext>
                      </a:extLst>
                    </p:cNvPr>
                    <p:cNvGrpSpPr/>
                    <p:nvPr/>
                  </p:nvGrpSpPr>
                  <p:grpSpPr>
                    <a:xfrm>
                      <a:off x="5354678" y="2733423"/>
                      <a:ext cx="87082" cy="86397"/>
                      <a:chOff x="5354678" y="2733423"/>
                      <a:chExt cx="87082" cy="86397"/>
                    </a:xfrm>
                    <a:solidFill>
                      <a:schemeClr val="accent1"/>
                    </a:solidFill>
                  </p:grpSpPr>
                  <p:sp>
                    <p:nvSpPr>
                      <p:cNvPr id="486" name="Freeform: Shape 485">
                        <a:extLst>
                          <a:ext uri="{FF2B5EF4-FFF2-40B4-BE49-F238E27FC236}">
                            <a16:creationId xmlns:a16="http://schemas.microsoft.com/office/drawing/2014/main" id="{A2F0853C-3AF0-4544-A344-9139129A00FC}"/>
                          </a:ext>
                        </a:extLst>
                      </p:cNvPr>
                      <p:cNvSpPr/>
                      <p:nvPr/>
                    </p:nvSpPr>
                    <p:spPr>
                      <a:xfrm>
                        <a:off x="5373760" y="2733423"/>
                        <a:ext cx="68000" cy="67072"/>
                      </a:xfrm>
                      <a:custGeom>
                        <a:avLst/>
                        <a:gdLst>
                          <a:gd name="connsiteX0" fmla="*/ 34781 w 68000"/>
                          <a:gd name="connsiteY0" fmla="*/ 67072 h 67072"/>
                          <a:gd name="connsiteX1" fmla="*/ 9457 w 68000"/>
                          <a:gd name="connsiteY1" fmla="*/ 57893 h 67072"/>
                          <a:gd name="connsiteX2" fmla="*/ 2 w 68000"/>
                          <a:gd name="connsiteY2" fmla="*/ 32176 h 67072"/>
                          <a:gd name="connsiteX3" fmla="*/ 9457 w 68000"/>
                          <a:gd name="connsiteY3" fmla="*/ 7043 h 67072"/>
                          <a:gd name="connsiteX4" fmla="*/ 54127 w 68000"/>
                          <a:gd name="connsiteY4" fmla="*/ 13223 h 67072"/>
                          <a:gd name="connsiteX5" fmla="*/ 61073 w 68000"/>
                          <a:gd name="connsiteY5" fmla="*/ 57436 h 67072"/>
                          <a:gd name="connsiteX6" fmla="*/ 34781 w 68000"/>
                          <a:gd name="connsiteY6" fmla="*/ 67072 h 67072"/>
                          <a:gd name="connsiteX7" fmla="*/ 26783 w 68000"/>
                          <a:gd name="connsiteY7" fmla="*/ 21264 h 67072"/>
                          <a:gd name="connsiteX8" fmla="*/ 24496 w 68000"/>
                          <a:gd name="connsiteY8" fmla="*/ 22072 h 67072"/>
                          <a:gd name="connsiteX9" fmla="*/ 21273 w 68000"/>
                          <a:gd name="connsiteY9" fmla="*/ 32367 h 67072"/>
                          <a:gd name="connsiteX10" fmla="*/ 24496 w 68000"/>
                          <a:gd name="connsiteY10" fmla="*/ 42833 h 67072"/>
                          <a:gd name="connsiteX11" fmla="*/ 46034 w 68000"/>
                          <a:gd name="connsiteY11" fmla="*/ 42386 h 67072"/>
                          <a:gd name="connsiteX12" fmla="*/ 39088 w 68000"/>
                          <a:gd name="connsiteY12" fmla="*/ 28251 h 67072"/>
                          <a:gd name="connsiteX13" fmla="*/ 26783 w 68000"/>
                          <a:gd name="connsiteY13" fmla="*/ 21264 h 67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0" h="67072">
                            <a:moveTo>
                              <a:pt x="34781" y="67072"/>
                            </a:moveTo>
                            <a:cubicBezTo>
                              <a:pt x="25145" y="67072"/>
                              <a:pt x="15583" y="64020"/>
                              <a:pt x="9457" y="57893"/>
                            </a:cubicBezTo>
                            <a:cubicBezTo>
                              <a:pt x="3362" y="51799"/>
                              <a:pt x="-84" y="42429"/>
                              <a:pt x="2" y="32176"/>
                            </a:cubicBezTo>
                            <a:cubicBezTo>
                              <a:pt x="97" y="22114"/>
                              <a:pt x="3543" y="12946"/>
                              <a:pt x="9457" y="7043"/>
                            </a:cubicBezTo>
                            <a:cubicBezTo>
                              <a:pt x="20763" y="-4284"/>
                              <a:pt x="39152" y="-1752"/>
                              <a:pt x="54127" y="13223"/>
                            </a:cubicBezTo>
                            <a:cubicBezTo>
                              <a:pt x="69666" y="28762"/>
                              <a:pt x="72400" y="46120"/>
                              <a:pt x="61073" y="57436"/>
                            </a:cubicBezTo>
                            <a:cubicBezTo>
                              <a:pt x="54670" y="63850"/>
                              <a:pt x="44672" y="67072"/>
                              <a:pt x="34781" y="67072"/>
                            </a:cubicBezTo>
                            <a:close/>
                            <a:moveTo>
                              <a:pt x="26783" y="21264"/>
                            </a:moveTo>
                            <a:cubicBezTo>
                              <a:pt x="25836" y="21264"/>
                              <a:pt x="25059" y="21508"/>
                              <a:pt x="24496" y="22072"/>
                            </a:cubicBezTo>
                            <a:cubicBezTo>
                              <a:pt x="22932" y="23635"/>
                              <a:pt x="21326" y="27432"/>
                              <a:pt x="21273" y="32367"/>
                            </a:cubicBezTo>
                            <a:cubicBezTo>
                              <a:pt x="21231" y="36739"/>
                              <a:pt x="22496" y="40855"/>
                              <a:pt x="24496" y="42833"/>
                            </a:cubicBezTo>
                            <a:cubicBezTo>
                              <a:pt x="29048" y="47385"/>
                              <a:pt x="41949" y="46470"/>
                              <a:pt x="46034" y="42386"/>
                            </a:cubicBezTo>
                            <a:cubicBezTo>
                              <a:pt x="48182" y="40238"/>
                              <a:pt x="44172" y="33335"/>
                              <a:pt x="39088" y="28251"/>
                            </a:cubicBezTo>
                            <a:cubicBezTo>
                              <a:pt x="35185" y="24358"/>
                              <a:pt x="30048" y="21264"/>
                              <a:pt x="26783" y="21264"/>
                            </a:cubicBezTo>
                            <a:close/>
                          </a:path>
                        </a:pathLst>
                      </a:custGeom>
                      <a:solidFill>
                        <a:schemeClr val="accent1"/>
                      </a:solidFill>
                      <a:ln w="1063" cap="flat">
                        <a:noFill/>
                        <a:prstDash val="solid"/>
                        <a:miter/>
                      </a:ln>
                    </p:spPr>
                    <p:txBody>
                      <a:bodyPr rtlCol="0" anchor="ctr"/>
                      <a:lstStyle/>
                      <a:p>
                        <a:endParaRPr lang="en-GB" dirty="0"/>
                      </a:p>
                    </p:txBody>
                  </p:sp>
                  <p:sp>
                    <p:nvSpPr>
                      <p:cNvPr id="487" name="Freeform: Shape 486">
                        <a:extLst>
                          <a:ext uri="{FF2B5EF4-FFF2-40B4-BE49-F238E27FC236}">
                            <a16:creationId xmlns:a16="http://schemas.microsoft.com/office/drawing/2014/main" id="{7FA76A58-E6E6-44CF-9D4C-FACE278468D7}"/>
                          </a:ext>
                        </a:extLst>
                      </p:cNvPr>
                      <p:cNvSpPr/>
                      <p:nvPr/>
                    </p:nvSpPr>
                    <p:spPr>
                      <a:xfrm>
                        <a:off x="5354678" y="2773137"/>
                        <a:ext cx="46686" cy="46683"/>
                      </a:xfrm>
                      <a:custGeom>
                        <a:avLst/>
                        <a:gdLst>
                          <a:gd name="connsiteX0" fmla="*/ 10638 w 46686"/>
                          <a:gd name="connsiteY0" fmla="*/ 46683 h 46683"/>
                          <a:gd name="connsiteX1" fmla="*/ 3119 w 46686"/>
                          <a:gd name="connsiteY1" fmla="*/ 43567 h 46683"/>
                          <a:gd name="connsiteX2" fmla="*/ 3119 w 46686"/>
                          <a:gd name="connsiteY2" fmla="*/ 28528 h 46683"/>
                          <a:gd name="connsiteX3" fmla="*/ 28528 w 46686"/>
                          <a:gd name="connsiteY3" fmla="*/ 3119 h 46683"/>
                          <a:gd name="connsiteX4" fmla="*/ 43567 w 46686"/>
                          <a:gd name="connsiteY4" fmla="*/ 3119 h 46683"/>
                          <a:gd name="connsiteX5" fmla="*/ 43567 w 46686"/>
                          <a:gd name="connsiteY5" fmla="*/ 18158 h 46683"/>
                          <a:gd name="connsiteX6" fmla="*/ 18158 w 46686"/>
                          <a:gd name="connsiteY6" fmla="*/ 43567 h 46683"/>
                          <a:gd name="connsiteX7" fmla="*/ 10638 w 46686"/>
                          <a:gd name="connsiteY7" fmla="*/ 46683 h 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86" h="46683">
                            <a:moveTo>
                              <a:pt x="10638" y="46683"/>
                            </a:moveTo>
                            <a:cubicBezTo>
                              <a:pt x="7916" y="46683"/>
                              <a:pt x="5193" y="45641"/>
                              <a:pt x="3119" y="43567"/>
                            </a:cubicBezTo>
                            <a:cubicBezTo>
                              <a:pt x="-1040" y="39408"/>
                              <a:pt x="-1040" y="32687"/>
                              <a:pt x="3119" y="28528"/>
                            </a:cubicBezTo>
                            <a:lnTo>
                              <a:pt x="28528" y="3119"/>
                            </a:lnTo>
                            <a:cubicBezTo>
                              <a:pt x="32687" y="-1040"/>
                              <a:pt x="39408" y="-1040"/>
                              <a:pt x="43567" y="3119"/>
                            </a:cubicBezTo>
                            <a:cubicBezTo>
                              <a:pt x="47726" y="7277"/>
                              <a:pt x="47726" y="13999"/>
                              <a:pt x="43567" y="18158"/>
                            </a:cubicBezTo>
                            <a:lnTo>
                              <a:pt x="18158" y="43567"/>
                            </a:lnTo>
                            <a:cubicBezTo>
                              <a:pt x="16084" y="45652"/>
                              <a:pt x="13361" y="46683"/>
                              <a:pt x="10638" y="46683"/>
                            </a:cubicBezTo>
                            <a:close/>
                          </a:path>
                        </a:pathLst>
                      </a:custGeom>
                      <a:solidFill>
                        <a:schemeClr val="accent1"/>
                      </a:solidFill>
                      <a:ln w="1063" cap="flat">
                        <a:noFill/>
                        <a:prstDash val="solid"/>
                        <a:miter/>
                      </a:ln>
                    </p:spPr>
                    <p:txBody>
                      <a:bodyPr rtlCol="0" anchor="ctr"/>
                      <a:lstStyle/>
                      <a:p>
                        <a:endParaRPr lang="en-GB" dirty="0"/>
                      </a:p>
                    </p:txBody>
                  </p:sp>
                </p:grpSp>
                <p:grpSp>
                  <p:nvGrpSpPr>
                    <p:cNvPr id="483" name="Graphic 818">
                      <a:extLst>
                        <a:ext uri="{FF2B5EF4-FFF2-40B4-BE49-F238E27FC236}">
                          <a16:creationId xmlns:a16="http://schemas.microsoft.com/office/drawing/2014/main" id="{ADC977D5-2068-4A76-8627-60920E766339}"/>
                        </a:ext>
                      </a:extLst>
                    </p:cNvPr>
                    <p:cNvGrpSpPr/>
                    <p:nvPr/>
                  </p:nvGrpSpPr>
                  <p:grpSpPr>
                    <a:xfrm>
                      <a:off x="5127489" y="2733145"/>
                      <a:ext cx="87078" cy="86409"/>
                      <a:chOff x="5127489" y="2733145"/>
                      <a:chExt cx="87078" cy="86409"/>
                    </a:xfrm>
                    <a:solidFill>
                      <a:schemeClr val="accent1"/>
                    </a:solidFill>
                  </p:grpSpPr>
                  <p:sp>
                    <p:nvSpPr>
                      <p:cNvPr id="484" name="Freeform: Shape 483">
                        <a:extLst>
                          <a:ext uri="{FF2B5EF4-FFF2-40B4-BE49-F238E27FC236}">
                            <a16:creationId xmlns:a16="http://schemas.microsoft.com/office/drawing/2014/main" id="{3888880D-705C-41D8-BC4C-82D76D6FCF12}"/>
                          </a:ext>
                        </a:extLst>
                      </p:cNvPr>
                      <p:cNvSpPr/>
                      <p:nvPr/>
                    </p:nvSpPr>
                    <p:spPr>
                      <a:xfrm>
                        <a:off x="5127489" y="2733145"/>
                        <a:ext cx="68002" cy="67084"/>
                      </a:xfrm>
                      <a:custGeom>
                        <a:avLst/>
                        <a:gdLst>
                          <a:gd name="connsiteX0" fmla="*/ 33226 w 68002"/>
                          <a:gd name="connsiteY0" fmla="*/ 67085 h 67084"/>
                          <a:gd name="connsiteX1" fmla="*/ 6924 w 68002"/>
                          <a:gd name="connsiteY1" fmla="*/ 57448 h 67084"/>
                          <a:gd name="connsiteX2" fmla="*/ 13869 w 68002"/>
                          <a:gd name="connsiteY2" fmla="*/ 13235 h 67084"/>
                          <a:gd name="connsiteX3" fmla="*/ 58550 w 68002"/>
                          <a:gd name="connsiteY3" fmla="*/ 7056 h 67084"/>
                          <a:gd name="connsiteX4" fmla="*/ 58550 w 68002"/>
                          <a:gd name="connsiteY4" fmla="*/ 57906 h 67084"/>
                          <a:gd name="connsiteX5" fmla="*/ 33226 w 68002"/>
                          <a:gd name="connsiteY5" fmla="*/ 67085 h 67084"/>
                          <a:gd name="connsiteX6" fmla="*/ 41235 w 68002"/>
                          <a:gd name="connsiteY6" fmla="*/ 21276 h 67084"/>
                          <a:gd name="connsiteX7" fmla="*/ 28919 w 68002"/>
                          <a:gd name="connsiteY7" fmla="*/ 28264 h 67084"/>
                          <a:gd name="connsiteX8" fmla="*/ 21973 w 68002"/>
                          <a:gd name="connsiteY8" fmla="*/ 42399 h 67084"/>
                          <a:gd name="connsiteX9" fmla="*/ 43522 w 68002"/>
                          <a:gd name="connsiteY9" fmla="*/ 42856 h 67084"/>
                          <a:gd name="connsiteX10" fmla="*/ 43522 w 68002"/>
                          <a:gd name="connsiteY10" fmla="*/ 22084 h 67084"/>
                          <a:gd name="connsiteX11" fmla="*/ 41235 w 68002"/>
                          <a:gd name="connsiteY11" fmla="*/ 21276 h 67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002" h="67084">
                            <a:moveTo>
                              <a:pt x="33226" y="67085"/>
                            </a:moveTo>
                            <a:cubicBezTo>
                              <a:pt x="23324" y="67085"/>
                              <a:pt x="13348" y="63862"/>
                              <a:pt x="6924" y="57448"/>
                            </a:cubicBezTo>
                            <a:cubicBezTo>
                              <a:pt x="-4393" y="46132"/>
                              <a:pt x="-1670" y="28774"/>
                              <a:pt x="13869" y="13235"/>
                            </a:cubicBezTo>
                            <a:cubicBezTo>
                              <a:pt x="28844" y="-1751"/>
                              <a:pt x="47212" y="-4293"/>
                              <a:pt x="58550" y="7056"/>
                            </a:cubicBezTo>
                            <a:cubicBezTo>
                              <a:pt x="71154" y="19659"/>
                              <a:pt x="71154" y="45313"/>
                              <a:pt x="58550" y="57906"/>
                            </a:cubicBezTo>
                            <a:cubicBezTo>
                              <a:pt x="52424" y="64032"/>
                              <a:pt x="42862" y="67085"/>
                              <a:pt x="33226" y="67085"/>
                            </a:cubicBezTo>
                            <a:close/>
                            <a:moveTo>
                              <a:pt x="41235" y="21276"/>
                            </a:moveTo>
                            <a:cubicBezTo>
                              <a:pt x="37948" y="21276"/>
                              <a:pt x="32822" y="24360"/>
                              <a:pt x="28919" y="28264"/>
                            </a:cubicBezTo>
                            <a:cubicBezTo>
                              <a:pt x="23824" y="33358"/>
                              <a:pt x="19825" y="40250"/>
                              <a:pt x="21973" y="42399"/>
                            </a:cubicBezTo>
                            <a:cubicBezTo>
                              <a:pt x="26058" y="46493"/>
                              <a:pt x="38991" y="47419"/>
                              <a:pt x="43522" y="42856"/>
                            </a:cubicBezTo>
                            <a:cubicBezTo>
                              <a:pt x="48106" y="38272"/>
                              <a:pt x="47467" y="26030"/>
                              <a:pt x="43522" y="22084"/>
                            </a:cubicBezTo>
                            <a:cubicBezTo>
                              <a:pt x="42958" y="21520"/>
                              <a:pt x="42171" y="21276"/>
                              <a:pt x="41235" y="21276"/>
                            </a:cubicBezTo>
                            <a:close/>
                          </a:path>
                        </a:pathLst>
                      </a:custGeom>
                      <a:solidFill>
                        <a:schemeClr val="accent1"/>
                      </a:solidFill>
                      <a:ln w="1063" cap="flat">
                        <a:noFill/>
                        <a:prstDash val="solid"/>
                        <a:miter/>
                      </a:ln>
                    </p:spPr>
                    <p:txBody>
                      <a:bodyPr rtlCol="0" anchor="ctr"/>
                      <a:lstStyle/>
                      <a:p>
                        <a:endParaRPr lang="en-GB" dirty="0"/>
                      </a:p>
                    </p:txBody>
                  </p:sp>
                  <p:sp>
                    <p:nvSpPr>
                      <p:cNvPr id="485" name="Freeform: Shape 484">
                        <a:extLst>
                          <a:ext uri="{FF2B5EF4-FFF2-40B4-BE49-F238E27FC236}">
                            <a16:creationId xmlns:a16="http://schemas.microsoft.com/office/drawing/2014/main" id="{40C41E6E-F0A0-4376-8A7C-1CA23154E117}"/>
                          </a:ext>
                        </a:extLst>
                      </p:cNvPr>
                      <p:cNvSpPr/>
                      <p:nvPr/>
                    </p:nvSpPr>
                    <p:spPr>
                      <a:xfrm>
                        <a:off x="5167891" y="2772871"/>
                        <a:ext cx="46675" cy="46683"/>
                      </a:xfrm>
                      <a:custGeom>
                        <a:avLst/>
                        <a:gdLst>
                          <a:gd name="connsiteX0" fmla="*/ 36037 w 46675"/>
                          <a:gd name="connsiteY0" fmla="*/ 46683 h 46683"/>
                          <a:gd name="connsiteX1" fmla="*/ 28517 w 46675"/>
                          <a:gd name="connsiteY1" fmla="*/ 43567 h 46683"/>
                          <a:gd name="connsiteX2" fmla="*/ 3119 w 46675"/>
                          <a:gd name="connsiteY2" fmla="*/ 18158 h 46683"/>
                          <a:gd name="connsiteX3" fmla="*/ 3119 w 46675"/>
                          <a:gd name="connsiteY3" fmla="*/ 3119 h 46683"/>
                          <a:gd name="connsiteX4" fmla="*/ 18158 w 46675"/>
                          <a:gd name="connsiteY4" fmla="*/ 3119 h 46683"/>
                          <a:gd name="connsiteX5" fmla="*/ 43556 w 46675"/>
                          <a:gd name="connsiteY5" fmla="*/ 28528 h 46683"/>
                          <a:gd name="connsiteX6" fmla="*/ 43556 w 46675"/>
                          <a:gd name="connsiteY6" fmla="*/ 43567 h 46683"/>
                          <a:gd name="connsiteX7" fmla="*/ 36037 w 46675"/>
                          <a:gd name="connsiteY7" fmla="*/ 46683 h 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75" h="46683">
                            <a:moveTo>
                              <a:pt x="36037" y="46683"/>
                            </a:moveTo>
                            <a:cubicBezTo>
                              <a:pt x="33314" y="46683"/>
                              <a:pt x="30591" y="45641"/>
                              <a:pt x="28517" y="43567"/>
                            </a:cubicBezTo>
                            <a:lnTo>
                              <a:pt x="3119" y="18158"/>
                            </a:lnTo>
                            <a:cubicBezTo>
                              <a:pt x="-1040" y="13999"/>
                              <a:pt x="-1040" y="7277"/>
                              <a:pt x="3119" y="3119"/>
                            </a:cubicBezTo>
                            <a:cubicBezTo>
                              <a:pt x="7278" y="-1040"/>
                              <a:pt x="13999" y="-1040"/>
                              <a:pt x="18158" y="3119"/>
                            </a:cubicBezTo>
                            <a:lnTo>
                              <a:pt x="43556" y="28528"/>
                            </a:lnTo>
                            <a:cubicBezTo>
                              <a:pt x="47715" y="32687"/>
                              <a:pt x="47715" y="39408"/>
                              <a:pt x="43556" y="43567"/>
                            </a:cubicBezTo>
                            <a:cubicBezTo>
                              <a:pt x="41483" y="45641"/>
                              <a:pt x="38760" y="46683"/>
                              <a:pt x="36037" y="46683"/>
                            </a:cubicBezTo>
                            <a:close/>
                          </a:path>
                        </a:pathLst>
                      </a:custGeom>
                      <a:solidFill>
                        <a:schemeClr val="accent1"/>
                      </a:solidFill>
                      <a:ln w="1063" cap="flat">
                        <a:noFill/>
                        <a:prstDash val="solid"/>
                        <a:miter/>
                      </a:ln>
                    </p:spPr>
                    <p:txBody>
                      <a:bodyPr rtlCol="0" anchor="ctr"/>
                      <a:lstStyle/>
                      <a:p>
                        <a:endParaRPr lang="en-GB" dirty="0"/>
                      </a:p>
                    </p:txBody>
                  </p:sp>
                </p:grpSp>
              </p:grpSp>
              <p:grpSp>
                <p:nvGrpSpPr>
                  <p:cNvPr id="463" name="Graphic 818">
                    <a:extLst>
                      <a:ext uri="{FF2B5EF4-FFF2-40B4-BE49-F238E27FC236}">
                        <a16:creationId xmlns:a16="http://schemas.microsoft.com/office/drawing/2014/main" id="{DF04C5DA-1756-4253-AFDF-7E29DC6BABE8}"/>
                      </a:ext>
                    </a:extLst>
                  </p:cNvPr>
                  <p:cNvGrpSpPr/>
                  <p:nvPr/>
                </p:nvGrpSpPr>
                <p:grpSpPr>
                  <a:xfrm>
                    <a:off x="5127484" y="2959690"/>
                    <a:ext cx="314282" cy="132546"/>
                    <a:chOff x="5127484" y="2959690"/>
                    <a:chExt cx="314282" cy="132546"/>
                  </a:xfrm>
                  <a:solidFill>
                    <a:schemeClr val="accent1"/>
                  </a:solidFill>
                </p:grpSpPr>
                <p:grpSp>
                  <p:nvGrpSpPr>
                    <p:cNvPr id="472" name="Graphic 818">
                      <a:extLst>
                        <a:ext uri="{FF2B5EF4-FFF2-40B4-BE49-F238E27FC236}">
                          <a16:creationId xmlns:a16="http://schemas.microsoft.com/office/drawing/2014/main" id="{2E83B370-46B4-4397-AF53-9969BF611DEA}"/>
                        </a:ext>
                      </a:extLst>
                    </p:cNvPr>
                    <p:cNvGrpSpPr/>
                    <p:nvPr/>
                  </p:nvGrpSpPr>
                  <p:grpSpPr>
                    <a:xfrm>
                      <a:off x="5248578" y="2993121"/>
                      <a:ext cx="72132" cy="99115"/>
                      <a:chOff x="5248578" y="2993121"/>
                      <a:chExt cx="72132" cy="99115"/>
                    </a:xfrm>
                    <a:solidFill>
                      <a:schemeClr val="accent1"/>
                    </a:solidFill>
                  </p:grpSpPr>
                  <p:sp>
                    <p:nvSpPr>
                      <p:cNvPr id="479" name="Freeform: Shape 478">
                        <a:extLst>
                          <a:ext uri="{FF2B5EF4-FFF2-40B4-BE49-F238E27FC236}">
                            <a16:creationId xmlns:a16="http://schemas.microsoft.com/office/drawing/2014/main" id="{57F214A9-BCF1-48A9-844E-CC97B66EC9F0}"/>
                          </a:ext>
                        </a:extLst>
                      </p:cNvPr>
                      <p:cNvSpPr/>
                      <p:nvPr/>
                    </p:nvSpPr>
                    <p:spPr>
                      <a:xfrm>
                        <a:off x="5248578" y="3029049"/>
                        <a:ext cx="72132" cy="63187"/>
                      </a:xfrm>
                      <a:custGeom>
                        <a:avLst/>
                        <a:gdLst>
                          <a:gd name="connsiteX0" fmla="*/ 35960 w 72132"/>
                          <a:gd name="connsiteY0" fmla="*/ 63188 h 63187"/>
                          <a:gd name="connsiteX1" fmla="*/ 0 w 72132"/>
                          <a:gd name="connsiteY1" fmla="*/ 35960 h 63187"/>
                          <a:gd name="connsiteX2" fmla="*/ 35960 w 72132"/>
                          <a:gd name="connsiteY2" fmla="*/ 0 h 63187"/>
                          <a:gd name="connsiteX3" fmla="*/ 72132 w 72132"/>
                          <a:gd name="connsiteY3" fmla="*/ 36832 h 63187"/>
                          <a:gd name="connsiteX4" fmla="*/ 35960 w 72132"/>
                          <a:gd name="connsiteY4" fmla="*/ 63188 h 63187"/>
                          <a:gd name="connsiteX5" fmla="*/ 35960 w 72132"/>
                          <a:gd name="connsiteY5" fmla="*/ 21272 h 63187"/>
                          <a:gd name="connsiteX6" fmla="*/ 21272 w 72132"/>
                          <a:gd name="connsiteY6" fmla="*/ 35960 h 63187"/>
                          <a:gd name="connsiteX7" fmla="*/ 35960 w 72132"/>
                          <a:gd name="connsiteY7" fmla="*/ 41916 h 63187"/>
                          <a:gd name="connsiteX8" fmla="*/ 50861 w 72132"/>
                          <a:gd name="connsiteY8" fmla="*/ 36832 h 63187"/>
                          <a:gd name="connsiteX9" fmla="*/ 35960 w 72132"/>
                          <a:gd name="connsiteY9" fmla="*/ 21272 h 6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32" h="63187">
                            <a:moveTo>
                              <a:pt x="35960" y="63188"/>
                            </a:moveTo>
                            <a:cubicBezTo>
                              <a:pt x="14795" y="63188"/>
                              <a:pt x="0" y="51988"/>
                              <a:pt x="0" y="35960"/>
                            </a:cubicBezTo>
                            <a:cubicBezTo>
                              <a:pt x="0" y="18145"/>
                              <a:pt x="18145" y="0"/>
                              <a:pt x="35960" y="0"/>
                            </a:cubicBezTo>
                            <a:cubicBezTo>
                              <a:pt x="53541" y="0"/>
                              <a:pt x="72132" y="18932"/>
                              <a:pt x="72132" y="36832"/>
                            </a:cubicBezTo>
                            <a:cubicBezTo>
                              <a:pt x="72143" y="52839"/>
                              <a:pt x="57944" y="63188"/>
                              <a:pt x="35960" y="63188"/>
                            </a:cubicBezTo>
                            <a:close/>
                            <a:moveTo>
                              <a:pt x="35960" y="21272"/>
                            </a:moveTo>
                            <a:cubicBezTo>
                              <a:pt x="29483" y="21272"/>
                              <a:pt x="21272" y="30376"/>
                              <a:pt x="21272" y="35960"/>
                            </a:cubicBezTo>
                            <a:cubicBezTo>
                              <a:pt x="21272" y="39523"/>
                              <a:pt x="28866" y="41916"/>
                              <a:pt x="35960" y="41916"/>
                            </a:cubicBezTo>
                            <a:cubicBezTo>
                              <a:pt x="43160" y="41916"/>
                              <a:pt x="50861" y="39884"/>
                              <a:pt x="50861" y="36832"/>
                            </a:cubicBezTo>
                            <a:cubicBezTo>
                              <a:pt x="50871" y="31057"/>
                              <a:pt x="42395" y="21272"/>
                              <a:pt x="35960" y="21272"/>
                            </a:cubicBezTo>
                            <a:close/>
                          </a:path>
                        </a:pathLst>
                      </a:custGeom>
                      <a:solidFill>
                        <a:schemeClr val="accent1"/>
                      </a:solidFill>
                      <a:ln w="1063" cap="flat">
                        <a:noFill/>
                        <a:prstDash val="solid"/>
                        <a:miter/>
                      </a:ln>
                    </p:spPr>
                    <p:txBody>
                      <a:bodyPr rtlCol="0" anchor="ctr"/>
                      <a:lstStyle/>
                      <a:p>
                        <a:endParaRPr lang="en-GB" dirty="0"/>
                      </a:p>
                    </p:txBody>
                  </p:sp>
                  <p:sp>
                    <p:nvSpPr>
                      <p:cNvPr id="480" name="Freeform: Shape 479">
                        <a:extLst>
                          <a:ext uri="{FF2B5EF4-FFF2-40B4-BE49-F238E27FC236}">
                            <a16:creationId xmlns:a16="http://schemas.microsoft.com/office/drawing/2014/main" id="{0DCB17F7-2434-4ABD-85B5-04AD785B157D}"/>
                          </a:ext>
                        </a:extLst>
                      </p:cNvPr>
                      <p:cNvSpPr/>
                      <p:nvPr/>
                    </p:nvSpPr>
                    <p:spPr>
                      <a:xfrm>
                        <a:off x="5273880" y="2993121"/>
                        <a:ext cx="21271" cy="57199"/>
                      </a:xfrm>
                      <a:custGeom>
                        <a:avLst/>
                        <a:gdLst>
                          <a:gd name="connsiteX0" fmla="*/ 10636 w 21271"/>
                          <a:gd name="connsiteY0" fmla="*/ 57200 h 57199"/>
                          <a:gd name="connsiteX1" fmla="*/ 0 w 21271"/>
                          <a:gd name="connsiteY1" fmla="*/ 46564 h 57199"/>
                          <a:gd name="connsiteX2" fmla="*/ 0 w 21271"/>
                          <a:gd name="connsiteY2" fmla="*/ 10636 h 57199"/>
                          <a:gd name="connsiteX3" fmla="*/ 10636 w 21271"/>
                          <a:gd name="connsiteY3" fmla="*/ 0 h 57199"/>
                          <a:gd name="connsiteX4" fmla="*/ 21272 w 21271"/>
                          <a:gd name="connsiteY4" fmla="*/ 10636 h 57199"/>
                          <a:gd name="connsiteX5" fmla="*/ 21272 w 21271"/>
                          <a:gd name="connsiteY5" fmla="*/ 46564 h 57199"/>
                          <a:gd name="connsiteX6" fmla="*/ 10636 w 21271"/>
                          <a:gd name="connsiteY6" fmla="*/ 57200 h 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57199">
                            <a:moveTo>
                              <a:pt x="10636" y="57200"/>
                            </a:moveTo>
                            <a:cubicBezTo>
                              <a:pt x="4754" y="57200"/>
                              <a:pt x="0" y="52445"/>
                              <a:pt x="0" y="46564"/>
                            </a:cubicBezTo>
                            <a:lnTo>
                              <a:pt x="0" y="10636"/>
                            </a:lnTo>
                            <a:cubicBezTo>
                              <a:pt x="0" y="4754"/>
                              <a:pt x="4754" y="0"/>
                              <a:pt x="10636" y="0"/>
                            </a:cubicBezTo>
                            <a:cubicBezTo>
                              <a:pt x="16518" y="0"/>
                              <a:pt x="21272" y="4754"/>
                              <a:pt x="21272" y="10636"/>
                            </a:cubicBezTo>
                            <a:lnTo>
                              <a:pt x="21272" y="46564"/>
                            </a:lnTo>
                            <a:cubicBezTo>
                              <a:pt x="21272" y="52445"/>
                              <a:pt x="16518" y="57200"/>
                              <a:pt x="10636" y="57200"/>
                            </a:cubicBezTo>
                            <a:close/>
                          </a:path>
                        </a:pathLst>
                      </a:custGeom>
                      <a:solidFill>
                        <a:schemeClr val="accent1"/>
                      </a:solidFill>
                      <a:ln w="1063" cap="flat">
                        <a:noFill/>
                        <a:prstDash val="solid"/>
                        <a:miter/>
                      </a:ln>
                    </p:spPr>
                    <p:txBody>
                      <a:bodyPr rtlCol="0" anchor="ctr"/>
                      <a:lstStyle/>
                      <a:p>
                        <a:endParaRPr lang="en-GB" dirty="0"/>
                      </a:p>
                    </p:txBody>
                  </p:sp>
                </p:grpSp>
                <p:grpSp>
                  <p:nvGrpSpPr>
                    <p:cNvPr id="473" name="Graphic 818">
                      <a:extLst>
                        <a:ext uri="{FF2B5EF4-FFF2-40B4-BE49-F238E27FC236}">
                          <a16:creationId xmlns:a16="http://schemas.microsoft.com/office/drawing/2014/main" id="{E0A07B9D-4651-4B69-9771-6768FF42551E}"/>
                        </a:ext>
                      </a:extLst>
                    </p:cNvPr>
                    <p:cNvGrpSpPr/>
                    <p:nvPr/>
                  </p:nvGrpSpPr>
                  <p:grpSpPr>
                    <a:xfrm>
                      <a:off x="5354678" y="2959690"/>
                      <a:ext cx="87088" cy="86418"/>
                      <a:chOff x="5354678" y="2959690"/>
                      <a:chExt cx="87088" cy="86418"/>
                    </a:xfrm>
                    <a:solidFill>
                      <a:schemeClr val="accent1"/>
                    </a:solidFill>
                  </p:grpSpPr>
                  <p:sp>
                    <p:nvSpPr>
                      <p:cNvPr id="477" name="Freeform: Shape 476">
                        <a:extLst>
                          <a:ext uri="{FF2B5EF4-FFF2-40B4-BE49-F238E27FC236}">
                            <a16:creationId xmlns:a16="http://schemas.microsoft.com/office/drawing/2014/main" id="{AFF901C0-B936-4892-9032-A04FA52BB57D}"/>
                          </a:ext>
                        </a:extLst>
                      </p:cNvPr>
                      <p:cNvSpPr/>
                      <p:nvPr/>
                    </p:nvSpPr>
                    <p:spPr>
                      <a:xfrm>
                        <a:off x="5373760" y="2979035"/>
                        <a:ext cx="68007" cy="67074"/>
                      </a:xfrm>
                      <a:custGeom>
                        <a:avLst/>
                        <a:gdLst>
                          <a:gd name="connsiteX0" fmla="*/ 26570 w 68007"/>
                          <a:gd name="connsiteY0" fmla="*/ 67074 h 67074"/>
                          <a:gd name="connsiteX1" fmla="*/ 9457 w 68007"/>
                          <a:gd name="connsiteY1" fmla="*/ 60033 h 67074"/>
                          <a:gd name="connsiteX2" fmla="*/ 2 w 68007"/>
                          <a:gd name="connsiteY2" fmla="*/ 34901 h 67074"/>
                          <a:gd name="connsiteX3" fmla="*/ 9457 w 68007"/>
                          <a:gd name="connsiteY3" fmla="*/ 9173 h 67074"/>
                          <a:gd name="connsiteX4" fmla="*/ 61084 w 68007"/>
                          <a:gd name="connsiteY4" fmla="*/ 9640 h 67074"/>
                          <a:gd name="connsiteX5" fmla="*/ 54138 w 68007"/>
                          <a:gd name="connsiteY5" fmla="*/ 53854 h 67074"/>
                          <a:gd name="connsiteX6" fmla="*/ 26570 w 68007"/>
                          <a:gd name="connsiteY6" fmla="*/ 67074 h 67074"/>
                          <a:gd name="connsiteX7" fmla="*/ 34409 w 68007"/>
                          <a:gd name="connsiteY7" fmla="*/ 21180 h 67074"/>
                          <a:gd name="connsiteX8" fmla="*/ 24486 w 68007"/>
                          <a:gd name="connsiteY8" fmla="*/ 24212 h 67074"/>
                          <a:gd name="connsiteX9" fmla="*/ 21263 w 68007"/>
                          <a:gd name="connsiteY9" fmla="*/ 34688 h 67074"/>
                          <a:gd name="connsiteX10" fmla="*/ 24486 w 68007"/>
                          <a:gd name="connsiteY10" fmla="*/ 44983 h 67074"/>
                          <a:gd name="connsiteX11" fmla="*/ 39078 w 68007"/>
                          <a:gd name="connsiteY11" fmla="*/ 38804 h 67074"/>
                          <a:gd name="connsiteX12" fmla="*/ 46023 w 68007"/>
                          <a:gd name="connsiteY12" fmla="*/ 24669 h 67074"/>
                          <a:gd name="connsiteX13" fmla="*/ 34409 w 68007"/>
                          <a:gd name="connsiteY13" fmla="*/ 21180 h 6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007" h="67074">
                            <a:moveTo>
                              <a:pt x="26570" y="67074"/>
                            </a:moveTo>
                            <a:cubicBezTo>
                              <a:pt x="20146" y="67074"/>
                              <a:pt x="14179" y="64766"/>
                              <a:pt x="9457" y="60033"/>
                            </a:cubicBezTo>
                            <a:cubicBezTo>
                              <a:pt x="3544" y="54120"/>
                              <a:pt x="98" y="44962"/>
                              <a:pt x="2" y="34901"/>
                            </a:cubicBezTo>
                            <a:cubicBezTo>
                              <a:pt x="-94" y="24648"/>
                              <a:pt x="3352" y="15278"/>
                              <a:pt x="9457" y="9173"/>
                            </a:cubicBezTo>
                            <a:cubicBezTo>
                              <a:pt x="21880" y="-3240"/>
                              <a:pt x="48406" y="-3027"/>
                              <a:pt x="61084" y="9640"/>
                            </a:cubicBezTo>
                            <a:cubicBezTo>
                              <a:pt x="72400" y="20957"/>
                              <a:pt x="69677" y="38315"/>
                              <a:pt x="54138" y="53854"/>
                            </a:cubicBezTo>
                            <a:cubicBezTo>
                              <a:pt x="45417" y="62575"/>
                              <a:pt x="35536" y="67074"/>
                              <a:pt x="26570" y="67074"/>
                            </a:cubicBezTo>
                            <a:close/>
                            <a:moveTo>
                              <a:pt x="34409" y="21180"/>
                            </a:moveTo>
                            <a:cubicBezTo>
                              <a:pt x="30452" y="21180"/>
                              <a:pt x="26592" y="22116"/>
                              <a:pt x="24486" y="24212"/>
                            </a:cubicBezTo>
                            <a:cubicBezTo>
                              <a:pt x="22486" y="26211"/>
                              <a:pt x="21220" y="30317"/>
                              <a:pt x="21263" y="34688"/>
                            </a:cubicBezTo>
                            <a:cubicBezTo>
                              <a:pt x="21316" y="39623"/>
                              <a:pt x="22912" y="43409"/>
                              <a:pt x="24486" y="44983"/>
                            </a:cubicBezTo>
                            <a:cubicBezTo>
                              <a:pt x="26974" y="47472"/>
                              <a:pt x="34037" y="43824"/>
                              <a:pt x="39078" y="38804"/>
                            </a:cubicBezTo>
                            <a:cubicBezTo>
                              <a:pt x="44173" y="33709"/>
                              <a:pt x="48172" y="26817"/>
                              <a:pt x="46023" y="24669"/>
                            </a:cubicBezTo>
                            <a:cubicBezTo>
                              <a:pt x="43832" y="22467"/>
                              <a:pt x="39057" y="21180"/>
                              <a:pt x="34409" y="21180"/>
                            </a:cubicBezTo>
                            <a:close/>
                          </a:path>
                        </a:pathLst>
                      </a:custGeom>
                      <a:solidFill>
                        <a:schemeClr val="accent1"/>
                      </a:solidFill>
                      <a:ln w="1063" cap="flat">
                        <a:noFill/>
                        <a:prstDash val="solid"/>
                        <a:miter/>
                      </a:ln>
                    </p:spPr>
                    <p:txBody>
                      <a:bodyPr rtlCol="0" anchor="ctr"/>
                      <a:lstStyle/>
                      <a:p>
                        <a:endParaRPr lang="en-GB" dirty="0"/>
                      </a:p>
                    </p:txBody>
                  </p:sp>
                  <p:sp>
                    <p:nvSpPr>
                      <p:cNvPr id="478" name="Freeform: Shape 477">
                        <a:extLst>
                          <a:ext uri="{FF2B5EF4-FFF2-40B4-BE49-F238E27FC236}">
                            <a16:creationId xmlns:a16="http://schemas.microsoft.com/office/drawing/2014/main" id="{D6F436B9-B5BE-4470-AF44-95873673857A}"/>
                          </a:ext>
                        </a:extLst>
                      </p:cNvPr>
                      <p:cNvSpPr/>
                      <p:nvPr/>
                    </p:nvSpPr>
                    <p:spPr>
                      <a:xfrm>
                        <a:off x="5354678" y="2959690"/>
                        <a:ext cx="46686" cy="46683"/>
                      </a:xfrm>
                      <a:custGeom>
                        <a:avLst/>
                        <a:gdLst>
                          <a:gd name="connsiteX0" fmla="*/ 36048 w 46686"/>
                          <a:gd name="connsiteY0" fmla="*/ 46683 h 46683"/>
                          <a:gd name="connsiteX1" fmla="*/ 28528 w 46686"/>
                          <a:gd name="connsiteY1" fmla="*/ 43567 h 46683"/>
                          <a:gd name="connsiteX2" fmla="*/ 3119 w 46686"/>
                          <a:gd name="connsiteY2" fmla="*/ 18158 h 46683"/>
                          <a:gd name="connsiteX3" fmla="*/ 3119 w 46686"/>
                          <a:gd name="connsiteY3" fmla="*/ 3119 h 46683"/>
                          <a:gd name="connsiteX4" fmla="*/ 18158 w 46686"/>
                          <a:gd name="connsiteY4" fmla="*/ 3119 h 46683"/>
                          <a:gd name="connsiteX5" fmla="*/ 43567 w 46686"/>
                          <a:gd name="connsiteY5" fmla="*/ 28528 h 46683"/>
                          <a:gd name="connsiteX6" fmla="*/ 43567 w 46686"/>
                          <a:gd name="connsiteY6" fmla="*/ 43567 h 46683"/>
                          <a:gd name="connsiteX7" fmla="*/ 36048 w 46686"/>
                          <a:gd name="connsiteY7" fmla="*/ 46683 h 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86" h="46683">
                            <a:moveTo>
                              <a:pt x="36048" y="46683"/>
                            </a:moveTo>
                            <a:cubicBezTo>
                              <a:pt x="33325" y="46683"/>
                              <a:pt x="30602" y="45641"/>
                              <a:pt x="28528" y="43567"/>
                            </a:cubicBezTo>
                            <a:lnTo>
                              <a:pt x="3119" y="18158"/>
                            </a:lnTo>
                            <a:cubicBezTo>
                              <a:pt x="-1040" y="13999"/>
                              <a:pt x="-1040" y="7278"/>
                              <a:pt x="3119" y="3119"/>
                            </a:cubicBezTo>
                            <a:cubicBezTo>
                              <a:pt x="7278" y="-1040"/>
                              <a:pt x="14000" y="-1040"/>
                              <a:pt x="18158" y="3119"/>
                            </a:cubicBezTo>
                            <a:lnTo>
                              <a:pt x="43567" y="28528"/>
                            </a:lnTo>
                            <a:cubicBezTo>
                              <a:pt x="47726" y="32687"/>
                              <a:pt x="47726" y="39409"/>
                              <a:pt x="43567" y="43567"/>
                            </a:cubicBezTo>
                            <a:cubicBezTo>
                              <a:pt x="41482" y="45652"/>
                              <a:pt x="38771" y="46683"/>
                              <a:pt x="36048" y="46683"/>
                            </a:cubicBezTo>
                            <a:close/>
                          </a:path>
                        </a:pathLst>
                      </a:custGeom>
                      <a:solidFill>
                        <a:schemeClr val="accent1"/>
                      </a:solidFill>
                      <a:ln w="1063" cap="flat">
                        <a:noFill/>
                        <a:prstDash val="solid"/>
                        <a:miter/>
                      </a:ln>
                    </p:spPr>
                    <p:txBody>
                      <a:bodyPr rtlCol="0" anchor="ctr"/>
                      <a:lstStyle/>
                      <a:p>
                        <a:endParaRPr lang="en-GB" dirty="0"/>
                      </a:p>
                    </p:txBody>
                  </p:sp>
                </p:grpSp>
                <p:grpSp>
                  <p:nvGrpSpPr>
                    <p:cNvPr id="474" name="Graphic 818">
                      <a:extLst>
                        <a:ext uri="{FF2B5EF4-FFF2-40B4-BE49-F238E27FC236}">
                          <a16:creationId xmlns:a16="http://schemas.microsoft.com/office/drawing/2014/main" id="{137C060A-147F-40D2-92F8-1901B8553DB1}"/>
                        </a:ext>
                      </a:extLst>
                    </p:cNvPr>
                    <p:cNvGrpSpPr/>
                    <p:nvPr/>
                  </p:nvGrpSpPr>
                  <p:grpSpPr>
                    <a:xfrm>
                      <a:off x="5127484" y="2959966"/>
                      <a:ext cx="87093" cy="86408"/>
                      <a:chOff x="5127484" y="2959966"/>
                      <a:chExt cx="87093" cy="86408"/>
                    </a:xfrm>
                    <a:solidFill>
                      <a:schemeClr val="accent1"/>
                    </a:solidFill>
                  </p:grpSpPr>
                  <p:sp>
                    <p:nvSpPr>
                      <p:cNvPr id="475" name="Freeform: Shape 474">
                        <a:extLst>
                          <a:ext uri="{FF2B5EF4-FFF2-40B4-BE49-F238E27FC236}">
                            <a16:creationId xmlns:a16="http://schemas.microsoft.com/office/drawing/2014/main" id="{851AF21A-96F5-470A-9FCF-9510EDB81766}"/>
                          </a:ext>
                        </a:extLst>
                      </p:cNvPr>
                      <p:cNvSpPr/>
                      <p:nvPr/>
                    </p:nvSpPr>
                    <p:spPr>
                      <a:xfrm>
                        <a:off x="5127484" y="2979294"/>
                        <a:ext cx="67999" cy="67080"/>
                      </a:xfrm>
                      <a:custGeom>
                        <a:avLst/>
                        <a:gdLst>
                          <a:gd name="connsiteX0" fmla="*/ 41431 w 67999"/>
                          <a:gd name="connsiteY0" fmla="*/ 67081 h 67080"/>
                          <a:gd name="connsiteX1" fmla="*/ 13874 w 67999"/>
                          <a:gd name="connsiteY1" fmla="*/ 53860 h 67080"/>
                          <a:gd name="connsiteX2" fmla="*/ 6928 w 67999"/>
                          <a:gd name="connsiteY2" fmla="*/ 9647 h 67080"/>
                          <a:gd name="connsiteX3" fmla="*/ 58555 w 67999"/>
                          <a:gd name="connsiteY3" fmla="*/ 9190 h 67080"/>
                          <a:gd name="connsiteX4" fmla="*/ 58555 w 67999"/>
                          <a:gd name="connsiteY4" fmla="*/ 60029 h 67080"/>
                          <a:gd name="connsiteX5" fmla="*/ 41431 w 67999"/>
                          <a:gd name="connsiteY5" fmla="*/ 67081 h 67080"/>
                          <a:gd name="connsiteX6" fmla="*/ 33443 w 67999"/>
                          <a:gd name="connsiteY6" fmla="*/ 21229 h 67080"/>
                          <a:gd name="connsiteX7" fmla="*/ 32816 w 67999"/>
                          <a:gd name="connsiteY7" fmla="*/ 21240 h 67080"/>
                          <a:gd name="connsiteX8" fmla="*/ 21957 w 67999"/>
                          <a:gd name="connsiteY8" fmla="*/ 24686 h 67080"/>
                          <a:gd name="connsiteX9" fmla="*/ 21712 w 67999"/>
                          <a:gd name="connsiteY9" fmla="*/ 28302 h 67080"/>
                          <a:gd name="connsiteX10" fmla="*/ 28913 w 67999"/>
                          <a:gd name="connsiteY10" fmla="*/ 38821 h 67080"/>
                          <a:gd name="connsiteX11" fmla="*/ 43516 w 67999"/>
                          <a:gd name="connsiteY11" fmla="*/ 44990 h 67080"/>
                          <a:gd name="connsiteX12" fmla="*/ 43516 w 67999"/>
                          <a:gd name="connsiteY12" fmla="*/ 24229 h 67080"/>
                          <a:gd name="connsiteX13" fmla="*/ 33443 w 67999"/>
                          <a:gd name="connsiteY13" fmla="*/ 21229 h 67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999" h="67080">
                            <a:moveTo>
                              <a:pt x="41431" y="67081"/>
                            </a:moveTo>
                            <a:cubicBezTo>
                              <a:pt x="32465" y="67081"/>
                              <a:pt x="22595" y="62582"/>
                              <a:pt x="13874" y="53860"/>
                            </a:cubicBezTo>
                            <a:cubicBezTo>
                              <a:pt x="-1666" y="38321"/>
                              <a:pt x="-4399" y="20964"/>
                              <a:pt x="6928" y="9647"/>
                            </a:cubicBezTo>
                            <a:cubicBezTo>
                              <a:pt x="19585" y="-3020"/>
                              <a:pt x="46143" y="-3254"/>
                              <a:pt x="58555" y="9190"/>
                            </a:cubicBezTo>
                            <a:cubicBezTo>
                              <a:pt x="71147" y="21783"/>
                              <a:pt x="71147" y="47447"/>
                              <a:pt x="58555" y="60029"/>
                            </a:cubicBezTo>
                            <a:cubicBezTo>
                              <a:pt x="53822" y="64762"/>
                              <a:pt x="47866" y="67081"/>
                              <a:pt x="41431" y="67081"/>
                            </a:cubicBezTo>
                            <a:close/>
                            <a:moveTo>
                              <a:pt x="33443" y="21229"/>
                            </a:moveTo>
                            <a:cubicBezTo>
                              <a:pt x="33231" y="21229"/>
                              <a:pt x="33029" y="21229"/>
                              <a:pt x="32816" y="21240"/>
                            </a:cubicBezTo>
                            <a:cubicBezTo>
                              <a:pt x="27594" y="21378"/>
                              <a:pt x="23531" y="23123"/>
                              <a:pt x="21957" y="24686"/>
                            </a:cubicBezTo>
                            <a:cubicBezTo>
                              <a:pt x="21478" y="25165"/>
                              <a:pt x="20882" y="25760"/>
                              <a:pt x="21712" y="28302"/>
                            </a:cubicBezTo>
                            <a:cubicBezTo>
                              <a:pt x="22722" y="31419"/>
                              <a:pt x="25339" y="35248"/>
                              <a:pt x="28913" y="38821"/>
                            </a:cubicBezTo>
                            <a:cubicBezTo>
                              <a:pt x="33933" y="43841"/>
                              <a:pt x="41006" y="47479"/>
                              <a:pt x="43516" y="44990"/>
                            </a:cubicBezTo>
                            <a:cubicBezTo>
                              <a:pt x="47461" y="41044"/>
                              <a:pt x="48100" y="28813"/>
                              <a:pt x="43516" y="24229"/>
                            </a:cubicBezTo>
                            <a:cubicBezTo>
                              <a:pt x="41676" y="22378"/>
                              <a:pt x="37772" y="21229"/>
                              <a:pt x="33443" y="21229"/>
                            </a:cubicBezTo>
                            <a:close/>
                          </a:path>
                        </a:pathLst>
                      </a:custGeom>
                      <a:solidFill>
                        <a:schemeClr val="accent1"/>
                      </a:solidFill>
                      <a:ln w="1063" cap="flat">
                        <a:noFill/>
                        <a:prstDash val="solid"/>
                        <a:miter/>
                      </a:ln>
                    </p:spPr>
                    <p:txBody>
                      <a:bodyPr rtlCol="0" anchor="ctr"/>
                      <a:lstStyle/>
                      <a:p>
                        <a:endParaRPr lang="en-GB" dirty="0"/>
                      </a:p>
                    </p:txBody>
                  </p:sp>
                  <p:sp>
                    <p:nvSpPr>
                      <p:cNvPr id="476" name="Freeform: Shape 475">
                        <a:extLst>
                          <a:ext uri="{FF2B5EF4-FFF2-40B4-BE49-F238E27FC236}">
                            <a16:creationId xmlns:a16="http://schemas.microsoft.com/office/drawing/2014/main" id="{31041373-D562-47D3-A2D1-C05A50EEF6D5}"/>
                          </a:ext>
                        </a:extLst>
                      </p:cNvPr>
                      <p:cNvSpPr/>
                      <p:nvPr/>
                    </p:nvSpPr>
                    <p:spPr>
                      <a:xfrm>
                        <a:off x="5167902" y="2959966"/>
                        <a:ext cx="46675" cy="46683"/>
                      </a:xfrm>
                      <a:custGeom>
                        <a:avLst/>
                        <a:gdLst>
                          <a:gd name="connsiteX0" fmla="*/ 10639 w 46675"/>
                          <a:gd name="connsiteY0" fmla="*/ 46683 h 46683"/>
                          <a:gd name="connsiteX1" fmla="*/ 3119 w 46675"/>
                          <a:gd name="connsiteY1" fmla="*/ 43567 h 46683"/>
                          <a:gd name="connsiteX2" fmla="*/ 3119 w 46675"/>
                          <a:gd name="connsiteY2" fmla="*/ 28528 h 46683"/>
                          <a:gd name="connsiteX3" fmla="*/ 28517 w 46675"/>
                          <a:gd name="connsiteY3" fmla="*/ 3119 h 46683"/>
                          <a:gd name="connsiteX4" fmla="*/ 43556 w 46675"/>
                          <a:gd name="connsiteY4" fmla="*/ 3119 h 46683"/>
                          <a:gd name="connsiteX5" fmla="*/ 43556 w 46675"/>
                          <a:gd name="connsiteY5" fmla="*/ 18158 h 46683"/>
                          <a:gd name="connsiteX6" fmla="*/ 18158 w 46675"/>
                          <a:gd name="connsiteY6" fmla="*/ 43567 h 46683"/>
                          <a:gd name="connsiteX7" fmla="*/ 10639 w 46675"/>
                          <a:gd name="connsiteY7" fmla="*/ 46683 h 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75" h="46683">
                            <a:moveTo>
                              <a:pt x="10639" y="46683"/>
                            </a:moveTo>
                            <a:cubicBezTo>
                              <a:pt x="7916" y="46683"/>
                              <a:pt x="5193" y="45641"/>
                              <a:pt x="3119" y="43567"/>
                            </a:cubicBezTo>
                            <a:cubicBezTo>
                              <a:pt x="-1040" y="39409"/>
                              <a:pt x="-1040" y="32687"/>
                              <a:pt x="3119" y="28528"/>
                            </a:cubicBezTo>
                            <a:lnTo>
                              <a:pt x="28517" y="3119"/>
                            </a:lnTo>
                            <a:cubicBezTo>
                              <a:pt x="32676" y="-1040"/>
                              <a:pt x="39398" y="-1040"/>
                              <a:pt x="43556" y="3119"/>
                            </a:cubicBezTo>
                            <a:cubicBezTo>
                              <a:pt x="47715" y="7278"/>
                              <a:pt x="47715" y="13999"/>
                              <a:pt x="43556" y="18158"/>
                            </a:cubicBezTo>
                            <a:lnTo>
                              <a:pt x="18158" y="43567"/>
                            </a:lnTo>
                            <a:cubicBezTo>
                              <a:pt x="16073" y="45641"/>
                              <a:pt x="13351" y="46683"/>
                              <a:pt x="10639" y="46683"/>
                            </a:cubicBezTo>
                            <a:close/>
                          </a:path>
                        </a:pathLst>
                      </a:custGeom>
                      <a:solidFill>
                        <a:schemeClr val="accent1"/>
                      </a:solidFill>
                      <a:ln w="1063" cap="flat">
                        <a:noFill/>
                        <a:prstDash val="solid"/>
                        <a:miter/>
                      </a:ln>
                    </p:spPr>
                    <p:txBody>
                      <a:bodyPr rtlCol="0" anchor="ctr"/>
                      <a:lstStyle/>
                      <a:p>
                        <a:endParaRPr lang="en-GB" dirty="0"/>
                      </a:p>
                    </p:txBody>
                  </p:sp>
                </p:grpSp>
              </p:grpSp>
              <p:sp>
                <p:nvSpPr>
                  <p:cNvPr id="464" name="Freeform: Shape 463">
                    <a:extLst>
                      <a:ext uri="{FF2B5EF4-FFF2-40B4-BE49-F238E27FC236}">
                        <a16:creationId xmlns:a16="http://schemas.microsoft.com/office/drawing/2014/main" id="{5E2A129A-6FB7-49A5-BB7F-CCAD3F2641BA}"/>
                      </a:ext>
                    </a:extLst>
                  </p:cNvPr>
                  <p:cNvSpPr/>
                  <p:nvPr/>
                </p:nvSpPr>
                <p:spPr>
                  <a:xfrm>
                    <a:off x="5321371" y="2983078"/>
                    <a:ext cx="30350" cy="41025"/>
                  </a:xfrm>
                  <a:custGeom>
                    <a:avLst/>
                    <a:gdLst>
                      <a:gd name="connsiteX0" fmla="*/ 19728 w 30350"/>
                      <a:gd name="connsiteY0" fmla="*/ 41025 h 41025"/>
                      <a:gd name="connsiteX1" fmla="*/ 10060 w 30350"/>
                      <a:gd name="connsiteY1" fmla="*/ 34835 h 41025"/>
                      <a:gd name="connsiteX2" fmla="*/ 977 w 30350"/>
                      <a:gd name="connsiteY2" fmla="*/ 15084 h 41025"/>
                      <a:gd name="connsiteX3" fmla="*/ 6188 w 30350"/>
                      <a:gd name="connsiteY3" fmla="*/ 981 h 41025"/>
                      <a:gd name="connsiteX4" fmla="*/ 20291 w 30350"/>
                      <a:gd name="connsiteY4" fmla="*/ 6193 h 41025"/>
                      <a:gd name="connsiteX5" fmla="*/ 29374 w 30350"/>
                      <a:gd name="connsiteY5" fmla="*/ 25943 h 41025"/>
                      <a:gd name="connsiteX6" fmla="*/ 24163 w 30350"/>
                      <a:gd name="connsiteY6" fmla="*/ 40047 h 41025"/>
                      <a:gd name="connsiteX7" fmla="*/ 19728 w 30350"/>
                      <a:gd name="connsiteY7" fmla="*/ 41025 h 4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50" h="41025">
                        <a:moveTo>
                          <a:pt x="19728" y="41025"/>
                        </a:moveTo>
                        <a:cubicBezTo>
                          <a:pt x="15697" y="41025"/>
                          <a:pt x="11846" y="38728"/>
                          <a:pt x="10060" y="34835"/>
                        </a:cubicBezTo>
                        <a:lnTo>
                          <a:pt x="977" y="15084"/>
                        </a:lnTo>
                        <a:cubicBezTo>
                          <a:pt x="-1480" y="9745"/>
                          <a:pt x="860" y="3427"/>
                          <a:pt x="6188" y="981"/>
                        </a:cubicBezTo>
                        <a:cubicBezTo>
                          <a:pt x="11559" y="-1486"/>
                          <a:pt x="17856" y="864"/>
                          <a:pt x="20291" y="6193"/>
                        </a:cubicBezTo>
                        <a:lnTo>
                          <a:pt x="29374" y="25943"/>
                        </a:lnTo>
                        <a:cubicBezTo>
                          <a:pt x="31831" y="31283"/>
                          <a:pt x="29491" y="37601"/>
                          <a:pt x="24163" y="40047"/>
                        </a:cubicBezTo>
                        <a:cubicBezTo>
                          <a:pt x="22716" y="40717"/>
                          <a:pt x="21206" y="41025"/>
                          <a:pt x="19728" y="41025"/>
                        </a:cubicBezTo>
                        <a:close/>
                      </a:path>
                    </a:pathLst>
                  </a:custGeom>
                  <a:solidFill>
                    <a:schemeClr val="accent1"/>
                  </a:solidFill>
                  <a:ln w="1063" cap="flat">
                    <a:noFill/>
                    <a:prstDash val="solid"/>
                    <a:miter/>
                  </a:ln>
                </p:spPr>
                <p:txBody>
                  <a:bodyPr rtlCol="0" anchor="ctr"/>
                  <a:lstStyle/>
                  <a:p>
                    <a:endParaRPr lang="en-GB" dirty="0"/>
                  </a:p>
                </p:txBody>
              </p:sp>
              <p:sp>
                <p:nvSpPr>
                  <p:cNvPr id="465" name="Freeform: Shape 464">
                    <a:extLst>
                      <a:ext uri="{FF2B5EF4-FFF2-40B4-BE49-F238E27FC236}">
                        <a16:creationId xmlns:a16="http://schemas.microsoft.com/office/drawing/2014/main" id="{ABBD970D-6035-440B-B74F-3784EBC601BD}"/>
                      </a:ext>
                    </a:extLst>
                  </p:cNvPr>
                  <p:cNvSpPr/>
                  <p:nvPr/>
                </p:nvSpPr>
                <p:spPr>
                  <a:xfrm>
                    <a:off x="5216668" y="2755085"/>
                    <a:ext cx="30507" cy="41389"/>
                  </a:xfrm>
                  <a:custGeom>
                    <a:avLst/>
                    <a:gdLst>
                      <a:gd name="connsiteX0" fmla="*/ 19881 w 30507"/>
                      <a:gd name="connsiteY0" fmla="*/ 41389 h 41389"/>
                      <a:gd name="connsiteX1" fmla="*/ 10202 w 30507"/>
                      <a:gd name="connsiteY1" fmla="*/ 35189 h 41389"/>
                      <a:gd name="connsiteX2" fmla="*/ 970 w 30507"/>
                      <a:gd name="connsiteY2" fmla="*/ 15066 h 41389"/>
                      <a:gd name="connsiteX3" fmla="*/ 6203 w 30507"/>
                      <a:gd name="connsiteY3" fmla="*/ 962 h 41389"/>
                      <a:gd name="connsiteX4" fmla="*/ 20306 w 30507"/>
                      <a:gd name="connsiteY4" fmla="*/ 6195 h 41389"/>
                      <a:gd name="connsiteX5" fmla="*/ 29538 w 30507"/>
                      <a:gd name="connsiteY5" fmla="*/ 26318 h 41389"/>
                      <a:gd name="connsiteX6" fmla="*/ 24305 w 30507"/>
                      <a:gd name="connsiteY6" fmla="*/ 40421 h 41389"/>
                      <a:gd name="connsiteX7" fmla="*/ 19881 w 30507"/>
                      <a:gd name="connsiteY7" fmla="*/ 41389 h 4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07" h="41389">
                        <a:moveTo>
                          <a:pt x="19881" y="41389"/>
                        </a:moveTo>
                        <a:cubicBezTo>
                          <a:pt x="15850" y="41389"/>
                          <a:pt x="11999" y="39092"/>
                          <a:pt x="10202" y="35189"/>
                        </a:cubicBezTo>
                        <a:lnTo>
                          <a:pt x="970" y="15066"/>
                        </a:lnTo>
                        <a:cubicBezTo>
                          <a:pt x="-1476" y="9726"/>
                          <a:pt x="863" y="3409"/>
                          <a:pt x="6203" y="962"/>
                        </a:cubicBezTo>
                        <a:cubicBezTo>
                          <a:pt x="11521" y="-1463"/>
                          <a:pt x="17849" y="845"/>
                          <a:pt x="20306" y="6195"/>
                        </a:cubicBezTo>
                        <a:lnTo>
                          <a:pt x="29538" y="26318"/>
                        </a:lnTo>
                        <a:cubicBezTo>
                          <a:pt x="31984" y="31657"/>
                          <a:pt x="29644" y="37975"/>
                          <a:pt x="24305" y="40421"/>
                        </a:cubicBezTo>
                        <a:cubicBezTo>
                          <a:pt x="22869" y="41081"/>
                          <a:pt x="21359" y="41389"/>
                          <a:pt x="19881" y="41389"/>
                        </a:cubicBezTo>
                        <a:close/>
                      </a:path>
                    </a:pathLst>
                  </a:custGeom>
                  <a:solidFill>
                    <a:schemeClr val="accent1"/>
                  </a:solidFill>
                  <a:ln w="1063" cap="flat">
                    <a:noFill/>
                    <a:prstDash val="solid"/>
                    <a:miter/>
                  </a:ln>
                </p:spPr>
                <p:txBody>
                  <a:bodyPr rtlCol="0" anchor="ctr"/>
                  <a:lstStyle/>
                  <a:p>
                    <a:endParaRPr lang="en-GB" dirty="0"/>
                  </a:p>
                </p:txBody>
              </p:sp>
              <p:sp>
                <p:nvSpPr>
                  <p:cNvPr id="466" name="Freeform: Shape 465">
                    <a:extLst>
                      <a:ext uri="{FF2B5EF4-FFF2-40B4-BE49-F238E27FC236}">
                        <a16:creationId xmlns:a16="http://schemas.microsoft.com/office/drawing/2014/main" id="{91783C4F-C09F-43EA-A0D3-1714E07E8734}"/>
                      </a:ext>
                    </a:extLst>
                  </p:cNvPr>
                  <p:cNvSpPr/>
                  <p:nvPr/>
                </p:nvSpPr>
                <p:spPr>
                  <a:xfrm>
                    <a:off x="5378928" y="2926773"/>
                    <a:ext cx="40399" cy="29994"/>
                  </a:xfrm>
                  <a:custGeom>
                    <a:avLst/>
                    <a:gdLst>
                      <a:gd name="connsiteX0" fmla="*/ 29751 w 40399"/>
                      <a:gd name="connsiteY0" fmla="*/ 29994 h 29994"/>
                      <a:gd name="connsiteX1" fmla="*/ 25348 w 40399"/>
                      <a:gd name="connsiteY1" fmla="*/ 29037 h 29994"/>
                      <a:gd name="connsiteX2" fmla="*/ 6224 w 40399"/>
                      <a:gd name="connsiteY2" fmla="*/ 20326 h 29994"/>
                      <a:gd name="connsiteX3" fmla="*/ 960 w 40399"/>
                      <a:gd name="connsiteY3" fmla="*/ 6234 h 29994"/>
                      <a:gd name="connsiteX4" fmla="*/ 15052 w 40399"/>
                      <a:gd name="connsiteY4" fmla="*/ 969 h 29994"/>
                      <a:gd name="connsiteX5" fmla="*/ 34175 w 40399"/>
                      <a:gd name="connsiteY5" fmla="*/ 9680 h 29994"/>
                      <a:gd name="connsiteX6" fmla="*/ 39440 w 40399"/>
                      <a:gd name="connsiteY6" fmla="*/ 23772 h 29994"/>
                      <a:gd name="connsiteX7" fmla="*/ 29751 w 40399"/>
                      <a:gd name="connsiteY7" fmla="*/ 29994 h 29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99" h="29994">
                        <a:moveTo>
                          <a:pt x="29751" y="29994"/>
                        </a:moveTo>
                        <a:cubicBezTo>
                          <a:pt x="28273" y="29994"/>
                          <a:pt x="26784" y="29696"/>
                          <a:pt x="25348" y="29037"/>
                        </a:cubicBezTo>
                        <a:lnTo>
                          <a:pt x="6224" y="20326"/>
                        </a:lnTo>
                        <a:cubicBezTo>
                          <a:pt x="885" y="17891"/>
                          <a:pt x="-1476" y="11583"/>
                          <a:pt x="960" y="6234"/>
                        </a:cubicBezTo>
                        <a:cubicBezTo>
                          <a:pt x="3395" y="894"/>
                          <a:pt x="9692" y="-1488"/>
                          <a:pt x="15052" y="969"/>
                        </a:cubicBezTo>
                        <a:lnTo>
                          <a:pt x="34175" y="9680"/>
                        </a:lnTo>
                        <a:cubicBezTo>
                          <a:pt x="39515" y="12115"/>
                          <a:pt x="41876" y="18422"/>
                          <a:pt x="39440" y="23772"/>
                        </a:cubicBezTo>
                        <a:cubicBezTo>
                          <a:pt x="37653" y="27697"/>
                          <a:pt x="33792" y="29994"/>
                          <a:pt x="29751" y="29994"/>
                        </a:cubicBezTo>
                        <a:close/>
                      </a:path>
                    </a:pathLst>
                  </a:custGeom>
                  <a:solidFill>
                    <a:schemeClr val="accent1"/>
                  </a:solidFill>
                  <a:ln w="1063" cap="flat">
                    <a:noFill/>
                    <a:prstDash val="solid"/>
                    <a:miter/>
                  </a:ln>
                </p:spPr>
                <p:txBody>
                  <a:bodyPr rtlCol="0" anchor="ctr"/>
                  <a:lstStyle/>
                  <a:p>
                    <a:endParaRPr lang="en-GB" dirty="0"/>
                  </a:p>
                </p:txBody>
              </p:sp>
              <p:sp>
                <p:nvSpPr>
                  <p:cNvPr id="467" name="Freeform: Shape 466">
                    <a:extLst>
                      <a:ext uri="{FF2B5EF4-FFF2-40B4-BE49-F238E27FC236}">
                        <a16:creationId xmlns:a16="http://schemas.microsoft.com/office/drawing/2014/main" id="{C0A071FA-7CF6-4ABA-ADF7-7B446977418A}"/>
                      </a:ext>
                    </a:extLst>
                  </p:cNvPr>
                  <p:cNvSpPr/>
                  <p:nvPr/>
                </p:nvSpPr>
                <p:spPr>
                  <a:xfrm>
                    <a:off x="5149981" y="2822402"/>
                    <a:ext cx="40952" cy="30251"/>
                  </a:xfrm>
                  <a:custGeom>
                    <a:avLst/>
                    <a:gdLst>
                      <a:gd name="connsiteX0" fmla="*/ 30304 w 40952"/>
                      <a:gd name="connsiteY0" fmla="*/ 30251 h 30251"/>
                      <a:gd name="connsiteX1" fmla="*/ 25901 w 40952"/>
                      <a:gd name="connsiteY1" fmla="*/ 29294 h 30251"/>
                      <a:gd name="connsiteX2" fmla="*/ 6224 w 40952"/>
                      <a:gd name="connsiteY2" fmla="*/ 20328 h 30251"/>
                      <a:gd name="connsiteX3" fmla="*/ 960 w 40952"/>
                      <a:gd name="connsiteY3" fmla="*/ 6235 h 30251"/>
                      <a:gd name="connsiteX4" fmla="*/ 15052 w 40952"/>
                      <a:gd name="connsiteY4" fmla="*/ 971 h 30251"/>
                      <a:gd name="connsiteX5" fmla="*/ 34729 w 40952"/>
                      <a:gd name="connsiteY5" fmla="*/ 9937 h 30251"/>
                      <a:gd name="connsiteX6" fmla="*/ 39993 w 40952"/>
                      <a:gd name="connsiteY6" fmla="*/ 24029 h 30251"/>
                      <a:gd name="connsiteX7" fmla="*/ 30304 w 40952"/>
                      <a:gd name="connsiteY7" fmla="*/ 30251 h 3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2" h="30251">
                        <a:moveTo>
                          <a:pt x="30304" y="30251"/>
                        </a:moveTo>
                        <a:cubicBezTo>
                          <a:pt x="28826" y="30251"/>
                          <a:pt x="27336" y="29953"/>
                          <a:pt x="25901" y="29294"/>
                        </a:cubicBezTo>
                        <a:lnTo>
                          <a:pt x="6224" y="20328"/>
                        </a:lnTo>
                        <a:cubicBezTo>
                          <a:pt x="885" y="17892"/>
                          <a:pt x="-1476" y="11585"/>
                          <a:pt x="960" y="6235"/>
                        </a:cubicBezTo>
                        <a:cubicBezTo>
                          <a:pt x="3395" y="885"/>
                          <a:pt x="9681" y="-1486"/>
                          <a:pt x="15052" y="971"/>
                        </a:cubicBezTo>
                        <a:lnTo>
                          <a:pt x="34729" y="9937"/>
                        </a:lnTo>
                        <a:cubicBezTo>
                          <a:pt x="40068" y="12383"/>
                          <a:pt x="42429" y="18679"/>
                          <a:pt x="39993" y="24029"/>
                        </a:cubicBezTo>
                        <a:cubicBezTo>
                          <a:pt x="38206" y="27954"/>
                          <a:pt x="34335" y="30251"/>
                          <a:pt x="30304" y="30251"/>
                        </a:cubicBezTo>
                        <a:close/>
                      </a:path>
                    </a:pathLst>
                  </a:custGeom>
                  <a:solidFill>
                    <a:schemeClr val="accent1"/>
                  </a:solidFill>
                  <a:ln w="1063" cap="flat">
                    <a:noFill/>
                    <a:prstDash val="solid"/>
                    <a:miter/>
                  </a:ln>
                </p:spPr>
                <p:txBody>
                  <a:bodyPr rtlCol="0" anchor="ctr"/>
                  <a:lstStyle/>
                  <a:p>
                    <a:endParaRPr lang="en-GB" dirty="0"/>
                  </a:p>
                </p:txBody>
              </p:sp>
              <p:sp>
                <p:nvSpPr>
                  <p:cNvPr id="468" name="Freeform: Shape 467">
                    <a:extLst>
                      <a:ext uri="{FF2B5EF4-FFF2-40B4-BE49-F238E27FC236}">
                        <a16:creationId xmlns:a16="http://schemas.microsoft.com/office/drawing/2014/main" id="{01226FD3-C7C3-4793-8FB0-53871BD8A80A}"/>
                      </a:ext>
                    </a:extLst>
                  </p:cNvPr>
                  <p:cNvSpPr/>
                  <p:nvPr/>
                </p:nvSpPr>
                <p:spPr>
                  <a:xfrm>
                    <a:off x="5377823" y="2823635"/>
                    <a:ext cx="41695" cy="30357"/>
                  </a:xfrm>
                  <a:custGeom>
                    <a:avLst/>
                    <a:gdLst>
                      <a:gd name="connsiteX0" fmla="*/ 10648 w 41695"/>
                      <a:gd name="connsiteY0" fmla="*/ 30358 h 30357"/>
                      <a:gd name="connsiteX1" fmla="*/ 916 w 41695"/>
                      <a:gd name="connsiteY1" fmla="*/ 24040 h 30357"/>
                      <a:gd name="connsiteX2" fmla="*/ 6319 w 41695"/>
                      <a:gd name="connsiteY2" fmla="*/ 10001 h 30357"/>
                      <a:gd name="connsiteX3" fmla="*/ 26740 w 41695"/>
                      <a:gd name="connsiteY3" fmla="*/ 928 h 30357"/>
                      <a:gd name="connsiteX4" fmla="*/ 40779 w 41695"/>
                      <a:gd name="connsiteY4" fmla="*/ 6331 h 30357"/>
                      <a:gd name="connsiteX5" fmla="*/ 35376 w 41695"/>
                      <a:gd name="connsiteY5" fmla="*/ 20371 h 30357"/>
                      <a:gd name="connsiteX6" fmla="*/ 14956 w 41695"/>
                      <a:gd name="connsiteY6" fmla="*/ 29443 h 30357"/>
                      <a:gd name="connsiteX7" fmla="*/ 10648 w 41695"/>
                      <a:gd name="connsiteY7" fmla="*/ 30358 h 3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95" h="30357">
                        <a:moveTo>
                          <a:pt x="10648" y="30358"/>
                        </a:moveTo>
                        <a:cubicBezTo>
                          <a:pt x="6564" y="30358"/>
                          <a:pt x="2682" y="27997"/>
                          <a:pt x="916" y="24040"/>
                        </a:cubicBezTo>
                        <a:cubicBezTo>
                          <a:pt x="-1466" y="18669"/>
                          <a:pt x="959" y="12383"/>
                          <a:pt x="6319" y="10001"/>
                        </a:cubicBezTo>
                        <a:lnTo>
                          <a:pt x="26740" y="928"/>
                        </a:lnTo>
                        <a:cubicBezTo>
                          <a:pt x="32133" y="-1486"/>
                          <a:pt x="38397" y="982"/>
                          <a:pt x="40779" y="6331"/>
                        </a:cubicBezTo>
                        <a:cubicBezTo>
                          <a:pt x="43162" y="11703"/>
                          <a:pt x="40737" y="17988"/>
                          <a:pt x="35376" y="20371"/>
                        </a:cubicBezTo>
                        <a:lnTo>
                          <a:pt x="14956" y="29443"/>
                        </a:lnTo>
                        <a:cubicBezTo>
                          <a:pt x="13552" y="30071"/>
                          <a:pt x="12084" y="30358"/>
                          <a:pt x="10648" y="30358"/>
                        </a:cubicBezTo>
                        <a:close/>
                      </a:path>
                    </a:pathLst>
                  </a:custGeom>
                  <a:solidFill>
                    <a:schemeClr val="accent1"/>
                  </a:solidFill>
                  <a:ln w="1063" cap="flat">
                    <a:noFill/>
                    <a:prstDash val="solid"/>
                    <a:miter/>
                  </a:ln>
                </p:spPr>
                <p:txBody>
                  <a:bodyPr rtlCol="0" anchor="ctr"/>
                  <a:lstStyle/>
                  <a:p>
                    <a:endParaRPr lang="en-GB" dirty="0"/>
                  </a:p>
                </p:txBody>
              </p:sp>
              <p:sp>
                <p:nvSpPr>
                  <p:cNvPr id="469" name="Freeform: Shape 468">
                    <a:extLst>
                      <a:ext uri="{FF2B5EF4-FFF2-40B4-BE49-F238E27FC236}">
                        <a16:creationId xmlns:a16="http://schemas.microsoft.com/office/drawing/2014/main" id="{18528B1A-0793-4820-A154-EDECB38BEC09}"/>
                      </a:ext>
                    </a:extLst>
                  </p:cNvPr>
                  <p:cNvSpPr/>
                  <p:nvPr/>
                </p:nvSpPr>
                <p:spPr>
                  <a:xfrm>
                    <a:off x="5149067" y="2925706"/>
                    <a:ext cx="40546" cy="29838"/>
                  </a:xfrm>
                  <a:custGeom>
                    <a:avLst/>
                    <a:gdLst>
                      <a:gd name="connsiteX0" fmla="*/ 10648 w 40546"/>
                      <a:gd name="connsiteY0" fmla="*/ 29838 h 29838"/>
                      <a:gd name="connsiteX1" fmla="*/ 916 w 40546"/>
                      <a:gd name="connsiteY1" fmla="*/ 23510 h 29838"/>
                      <a:gd name="connsiteX2" fmla="*/ 6330 w 40546"/>
                      <a:gd name="connsiteY2" fmla="*/ 9481 h 29838"/>
                      <a:gd name="connsiteX3" fmla="*/ 25602 w 40546"/>
                      <a:gd name="connsiteY3" fmla="*/ 930 h 29838"/>
                      <a:gd name="connsiteX4" fmla="*/ 39631 w 40546"/>
                      <a:gd name="connsiteY4" fmla="*/ 6343 h 29838"/>
                      <a:gd name="connsiteX5" fmla="*/ 34217 w 40546"/>
                      <a:gd name="connsiteY5" fmla="*/ 20372 h 29838"/>
                      <a:gd name="connsiteX6" fmla="*/ 14945 w 40546"/>
                      <a:gd name="connsiteY6" fmla="*/ 28923 h 29838"/>
                      <a:gd name="connsiteX7" fmla="*/ 10648 w 40546"/>
                      <a:gd name="connsiteY7" fmla="*/ 29838 h 29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46" h="29838">
                        <a:moveTo>
                          <a:pt x="10648" y="29838"/>
                        </a:moveTo>
                        <a:cubicBezTo>
                          <a:pt x="6564" y="29838"/>
                          <a:pt x="2671" y="27477"/>
                          <a:pt x="916" y="23510"/>
                        </a:cubicBezTo>
                        <a:cubicBezTo>
                          <a:pt x="-1466" y="18139"/>
                          <a:pt x="959" y="11853"/>
                          <a:pt x="6330" y="9481"/>
                        </a:cubicBezTo>
                        <a:lnTo>
                          <a:pt x="25602" y="930"/>
                        </a:lnTo>
                        <a:cubicBezTo>
                          <a:pt x="30994" y="-1485"/>
                          <a:pt x="37270" y="972"/>
                          <a:pt x="39631" y="6343"/>
                        </a:cubicBezTo>
                        <a:cubicBezTo>
                          <a:pt x="42013" y="11715"/>
                          <a:pt x="39588" y="18000"/>
                          <a:pt x="34217" y="20372"/>
                        </a:cubicBezTo>
                        <a:lnTo>
                          <a:pt x="14945" y="28923"/>
                        </a:lnTo>
                        <a:cubicBezTo>
                          <a:pt x="13541" y="29551"/>
                          <a:pt x="12084" y="29838"/>
                          <a:pt x="10648" y="29838"/>
                        </a:cubicBezTo>
                        <a:close/>
                      </a:path>
                    </a:pathLst>
                  </a:custGeom>
                  <a:solidFill>
                    <a:schemeClr val="accent1"/>
                  </a:solidFill>
                  <a:ln w="1063" cap="flat">
                    <a:noFill/>
                    <a:prstDash val="solid"/>
                    <a:miter/>
                  </a:ln>
                </p:spPr>
                <p:txBody>
                  <a:bodyPr rtlCol="0" anchor="ctr"/>
                  <a:lstStyle/>
                  <a:p>
                    <a:endParaRPr lang="en-GB" dirty="0"/>
                  </a:p>
                </p:txBody>
              </p:sp>
              <p:sp>
                <p:nvSpPr>
                  <p:cNvPr id="470" name="Freeform: Shape 469">
                    <a:extLst>
                      <a:ext uri="{FF2B5EF4-FFF2-40B4-BE49-F238E27FC236}">
                        <a16:creationId xmlns:a16="http://schemas.microsoft.com/office/drawing/2014/main" id="{4B949EE8-6002-4CBB-BD7A-E465ACFC21FA}"/>
                      </a:ext>
                    </a:extLst>
                  </p:cNvPr>
                  <p:cNvSpPr/>
                  <p:nvPr/>
                </p:nvSpPr>
                <p:spPr>
                  <a:xfrm>
                    <a:off x="5216828" y="2983942"/>
                    <a:ext cx="29954" cy="40214"/>
                  </a:xfrm>
                  <a:custGeom>
                    <a:avLst/>
                    <a:gdLst>
                      <a:gd name="connsiteX0" fmla="*/ 10627 w 29954"/>
                      <a:gd name="connsiteY0" fmla="*/ 40214 h 40214"/>
                      <a:gd name="connsiteX1" fmla="*/ 6213 w 29954"/>
                      <a:gd name="connsiteY1" fmla="*/ 39246 h 40214"/>
                      <a:gd name="connsiteX2" fmla="*/ 970 w 29954"/>
                      <a:gd name="connsiteY2" fmla="*/ 25154 h 40214"/>
                      <a:gd name="connsiteX3" fmla="*/ 9649 w 29954"/>
                      <a:gd name="connsiteY3" fmla="*/ 6201 h 40214"/>
                      <a:gd name="connsiteX4" fmla="*/ 23741 w 29954"/>
                      <a:gd name="connsiteY4" fmla="*/ 957 h 40214"/>
                      <a:gd name="connsiteX5" fmla="*/ 28985 w 29954"/>
                      <a:gd name="connsiteY5" fmla="*/ 15050 h 40214"/>
                      <a:gd name="connsiteX6" fmla="*/ 20306 w 29954"/>
                      <a:gd name="connsiteY6" fmla="*/ 34003 h 40214"/>
                      <a:gd name="connsiteX7" fmla="*/ 10627 w 29954"/>
                      <a:gd name="connsiteY7" fmla="*/ 40214 h 4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54" h="40214">
                        <a:moveTo>
                          <a:pt x="10627" y="40214"/>
                        </a:moveTo>
                        <a:cubicBezTo>
                          <a:pt x="9149" y="40214"/>
                          <a:pt x="7649" y="39906"/>
                          <a:pt x="6213" y="39246"/>
                        </a:cubicBezTo>
                        <a:cubicBezTo>
                          <a:pt x="863" y="36800"/>
                          <a:pt x="-1477" y="30493"/>
                          <a:pt x="970" y="25154"/>
                        </a:cubicBezTo>
                        <a:lnTo>
                          <a:pt x="9649" y="6201"/>
                        </a:lnTo>
                        <a:cubicBezTo>
                          <a:pt x="12084" y="872"/>
                          <a:pt x="18402" y="-1468"/>
                          <a:pt x="23741" y="957"/>
                        </a:cubicBezTo>
                        <a:cubicBezTo>
                          <a:pt x="29091" y="3403"/>
                          <a:pt x="31431" y="9710"/>
                          <a:pt x="28985" y="15050"/>
                        </a:cubicBezTo>
                        <a:lnTo>
                          <a:pt x="20306" y="34003"/>
                        </a:lnTo>
                        <a:cubicBezTo>
                          <a:pt x="18519" y="37917"/>
                          <a:pt x="14669" y="40214"/>
                          <a:pt x="10627" y="40214"/>
                        </a:cubicBezTo>
                        <a:close/>
                      </a:path>
                    </a:pathLst>
                  </a:custGeom>
                  <a:solidFill>
                    <a:schemeClr val="accent1"/>
                  </a:solidFill>
                  <a:ln w="1063" cap="flat">
                    <a:noFill/>
                    <a:prstDash val="solid"/>
                    <a:miter/>
                  </a:ln>
                </p:spPr>
                <p:txBody>
                  <a:bodyPr rtlCol="0" anchor="ctr"/>
                  <a:lstStyle/>
                  <a:p>
                    <a:endParaRPr lang="en-GB" dirty="0"/>
                  </a:p>
                </p:txBody>
              </p:sp>
              <p:sp>
                <p:nvSpPr>
                  <p:cNvPr id="471" name="Freeform: Shape 470">
                    <a:extLst>
                      <a:ext uri="{FF2B5EF4-FFF2-40B4-BE49-F238E27FC236}">
                        <a16:creationId xmlns:a16="http://schemas.microsoft.com/office/drawing/2014/main" id="{C8FB7EE8-CDA0-4268-96B9-B983766A6C8C}"/>
                      </a:ext>
                    </a:extLst>
                  </p:cNvPr>
                  <p:cNvSpPr/>
                  <p:nvPr/>
                </p:nvSpPr>
                <p:spPr>
                  <a:xfrm>
                    <a:off x="5321405" y="2755041"/>
                    <a:ext cx="30282" cy="40890"/>
                  </a:xfrm>
                  <a:custGeom>
                    <a:avLst/>
                    <a:gdLst>
                      <a:gd name="connsiteX0" fmla="*/ 10632 w 30282"/>
                      <a:gd name="connsiteY0" fmla="*/ 40891 h 40890"/>
                      <a:gd name="connsiteX1" fmla="*/ 6207 w 30282"/>
                      <a:gd name="connsiteY1" fmla="*/ 39923 h 40890"/>
                      <a:gd name="connsiteX2" fmla="*/ 975 w 30282"/>
                      <a:gd name="connsiteY2" fmla="*/ 25820 h 40890"/>
                      <a:gd name="connsiteX3" fmla="*/ 9972 w 30282"/>
                      <a:gd name="connsiteY3" fmla="*/ 6196 h 40890"/>
                      <a:gd name="connsiteX4" fmla="*/ 24076 w 30282"/>
                      <a:gd name="connsiteY4" fmla="*/ 964 h 40890"/>
                      <a:gd name="connsiteX5" fmla="*/ 29308 w 30282"/>
                      <a:gd name="connsiteY5" fmla="*/ 15067 h 40890"/>
                      <a:gd name="connsiteX6" fmla="*/ 20310 w 30282"/>
                      <a:gd name="connsiteY6" fmla="*/ 34690 h 40890"/>
                      <a:gd name="connsiteX7" fmla="*/ 10632 w 30282"/>
                      <a:gd name="connsiteY7" fmla="*/ 40891 h 40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82" h="40890">
                        <a:moveTo>
                          <a:pt x="10632" y="40891"/>
                        </a:moveTo>
                        <a:cubicBezTo>
                          <a:pt x="9153" y="40891"/>
                          <a:pt x="7654" y="40582"/>
                          <a:pt x="6207" y="39923"/>
                        </a:cubicBezTo>
                        <a:cubicBezTo>
                          <a:pt x="868" y="37477"/>
                          <a:pt x="-1482" y="31159"/>
                          <a:pt x="975" y="25820"/>
                        </a:cubicBezTo>
                        <a:lnTo>
                          <a:pt x="9972" y="6196"/>
                        </a:lnTo>
                        <a:cubicBezTo>
                          <a:pt x="12408" y="868"/>
                          <a:pt x="18704" y="-1472"/>
                          <a:pt x="24076" y="964"/>
                        </a:cubicBezTo>
                        <a:cubicBezTo>
                          <a:pt x="29415" y="3410"/>
                          <a:pt x="31765" y="9728"/>
                          <a:pt x="29308" y="15067"/>
                        </a:cubicBezTo>
                        <a:lnTo>
                          <a:pt x="20310" y="34690"/>
                        </a:lnTo>
                        <a:cubicBezTo>
                          <a:pt x="18524" y="38604"/>
                          <a:pt x="14663" y="40891"/>
                          <a:pt x="10632" y="40891"/>
                        </a:cubicBezTo>
                        <a:close/>
                      </a:path>
                    </a:pathLst>
                  </a:custGeom>
                  <a:solidFill>
                    <a:schemeClr val="accent1"/>
                  </a:solidFill>
                  <a:ln w="1063" cap="flat">
                    <a:noFill/>
                    <a:prstDash val="solid"/>
                    <a:miter/>
                  </a:ln>
                </p:spPr>
                <p:txBody>
                  <a:bodyPr rtlCol="0" anchor="ctr"/>
                  <a:lstStyle/>
                  <a:p>
                    <a:endParaRPr lang="en-GB" dirty="0"/>
                  </a:p>
                </p:txBody>
              </p:sp>
            </p:grpSp>
            <p:sp>
              <p:nvSpPr>
                <p:cNvPr id="456" name="Freeform: Shape 455">
                  <a:extLst>
                    <a:ext uri="{FF2B5EF4-FFF2-40B4-BE49-F238E27FC236}">
                      <a16:creationId xmlns:a16="http://schemas.microsoft.com/office/drawing/2014/main" id="{4824B3D2-B897-42BE-B358-97A75E6C2C19}"/>
                    </a:ext>
                  </a:extLst>
                </p:cNvPr>
                <p:cNvSpPr/>
                <p:nvPr/>
              </p:nvSpPr>
              <p:spPr>
                <a:xfrm>
                  <a:off x="5221535" y="2839703"/>
                  <a:ext cx="31016" cy="26596"/>
                </a:xfrm>
                <a:custGeom>
                  <a:avLst/>
                  <a:gdLst>
                    <a:gd name="connsiteX0" fmla="*/ 10653 w 31016"/>
                    <a:gd name="connsiteY0" fmla="*/ 26596 h 26596"/>
                    <a:gd name="connsiteX1" fmla="*/ 1304 w 31016"/>
                    <a:gd name="connsiteY1" fmla="*/ 21055 h 26596"/>
                    <a:gd name="connsiteX2" fmla="*/ 5537 w 31016"/>
                    <a:gd name="connsiteY2" fmla="*/ 6622 h 26596"/>
                    <a:gd name="connsiteX3" fmla="*/ 15280 w 31016"/>
                    <a:gd name="connsiteY3" fmla="*/ 1304 h 26596"/>
                    <a:gd name="connsiteX4" fmla="*/ 29712 w 31016"/>
                    <a:gd name="connsiteY4" fmla="*/ 5537 h 26596"/>
                    <a:gd name="connsiteX5" fmla="*/ 25479 w 31016"/>
                    <a:gd name="connsiteY5" fmla="*/ 19970 h 26596"/>
                    <a:gd name="connsiteX6" fmla="*/ 15737 w 31016"/>
                    <a:gd name="connsiteY6" fmla="*/ 25288 h 26596"/>
                    <a:gd name="connsiteX7" fmla="*/ 10653 w 31016"/>
                    <a:gd name="connsiteY7" fmla="*/ 26596 h 26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16" h="26596">
                      <a:moveTo>
                        <a:pt x="10653" y="26596"/>
                      </a:moveTo>
                      <a:cubicBezTo>
                        <a:pt x="6888" y="26596"/>
                        <a:pt x="3240" y="24586"/>
                        <a:pt x="1304" y="21055"/>
                      </a:cubicBezTo>
                      <a:cubicBezTo>
                        <a:pt x="-1514" y="15896"/>
                        <a:pt x="389" y="9430"/>
                        <a:pt x="5537" y="6622"/>
                      </a:cubicBezTo>
                      <a:lnTo>
                        <a:pt x="15280" y="1304"/>
                      </a:lnTo>
                      <a:cubicBezTo>
                        <a:pt x="20438" y="-1514"/>
                        <a:pt x="26904" y="389"/>
                        <a:pt x="29712" y="5537"/>
                      </a:cubicBezTo>
                      <a:cubicBezTo>
                        <a:pt x="32531" y="10695"/>
                        <a:pt x="30627" y="17162"/>
                        <a:pt x="25479" y="19970"/>
                      </a:cubicBezTo>
                      <a:lnTo>
                        <a:pt x="15737" y="25288"/>
                      </a:lnTo>
                      <a:cubicBezTo>
                        <a:pt x="14131" y="26171"/>
                        <a:pt x="12387" y="26596"/>
                        <a:pt x="10653" y="26596"/>
                      </a:cubicBezTo>
                      <a:close/>
                    </a:path>
                  </a:pathLst>
                </a:custGeom>
                <a:solidFill>
                  <a:schemeClr val="accent1"/>
                </a:solidFill>
                <a:ln w="1063" cap="flat">
                  <a:noFill/>
                  <a:prstDash val="solid"/>
                  <a:miter/>
                </a:ln>
              </p:spPr>
              <p:txBody>
                <a:bodyPr rtlCol="0" anchor="ctr"/>
                <a:lstStyle/>
                <a:p>
                  <a:endParaRPr lang="en-GB" dirty="0"/>
                </a:p>
              </p:txBody>
            </p:sp>
            <p:sp>
              <p:nvSpPr>
                <p:cNvPr id="457" name="Freeform: Shape 456">
                  <a:extLst>
                    <a:ext uri="{FF2B5EF4-FFF2-40B4-BE49-F238E27FC236}">
                      <a16:creationId xmlns:a16="http://schemas.microsoft.com/office/drawing/2014/main" id="{19B3EBA6-C568-4C43-8B21-A3F9CD4010E9}"/>
                    </a:ext>
                  </a:extLst>
                </p:cNvPr>
                <p:cNvSpPr/>
                <p:nvPr/>
              </p:nvSpPr>
              <p:spPr>
                <a:xfrm>
                  <a:off x="5271180" y="2918571"/>
                  <a:ext cx="30139" cy="27496"/>
                </a:xfrm>
                <a:custGeom>
                  <a:avLst/>
                  <a:gdLst>
                    <a:gd name="connsiteX0" fmla="*/ 19484 w 30139"/>
                    <a:gd name="connsiteY0" fmla="*/ 27497 h 27496"/>
                    <a:gd name="connsiteX1" fmla="*/ 13389 w 30139"/>
                    <a:gd name="connsiteY1" fmla="*/ 25561 h 27496"/>
                    <a:gd name="connsiteX2" fmla="*/ 4529 w 30139"/>
                    <a:gd name="connsiteY2" fmla="*/ 19350 h 27496"/>
                    <a:gd name="connsiteX3" fmla="*/ 1934 w 30139"/>
                    <a:gd name="connsiteY3" fmla="*/ 4534 h 27496"/>
                    <a:gd name="connsiteX4" fmla="*/ 16750 w 30139"/>
                    <a:gd name="connsiteY4" fmla="*/ 1939 h 27496"/>
                    <a:gd name="connsiteX5" fmla="*/ 25610 w 30139"/>
                    <a:gd name="connsiteY5" fmla="*/ 8150 h 27496"/>
                    <a:gd name="connsiteX6" fmla="*/ 28205 w 30139"/>
                    <a:gd name="connsiteY6" fmla="*/ 22966 h 27496"/>
                    <a:gd name="connsiteX7" fmla="*/ 19484 w 30139"/>
                    <a:gd name="connsiteY7" fmla="*/ 27497 h 27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39" h="27496">
                      <a:moveTo>
                        <a:pt x="19484" y="27497"/>
                      </a:moveTo>
                      <a:cubicBezTo>
                        <a:pt x="17378" y="27497"/>
                        <a:pt x="15250" y="26870"/>
                        <a:pt x="13389" y="25561"/>
                      </a:cubicBezTo>
                      <a:lnTo>
                        <a:pt x="4529" y="19350"/>
                      </a:lnTo>
                      <a:cubicBezTo>
                        <a:pt x="-278" y="15989"/>
                        <a:pt x="-1448" y="9352"/>
                        <a:pt x="1934" y="4534"/>
                      </a:cubicBezTo>
                      <a:cubicBezTo>
                        <a:pt x="5295" y="-273"/>
                        <a:pt x="11922" y="-1454"/>
                        <a:pt x="16750" y="1939"/>
                      </a:cubicBezTo>
                      <a:lnTo>
                        <a:pt x="25610" y="8150"/>
                      </a:lnTo>
                      <a:cubicBezTo>
                        <a:pt x="30417" y="11511"/>
                        <a:pt x="31587" y="18148"/>
                        <a:pt x="28205" y="22966"/>
                      </a:cubicBezTo>
                      <a:cubicBezTo>
                        <a:pt x="26131" y="25912"/>
                        <a:pt x="22834" y="27497"/>
                        <a:pt x="19484" y="27497"/>
                      </a:cubicBezTo>
                      <a:close/>
                    </a:path>
                  </a:pathLst>
                </a:custGeom>
                <a:solidFill>
                  <a:schemeClr val="accent1"/>
                </a:solidFill>
                <a:ln w="1063" cap="flat">
                  <a:noFill/>
                  <a:prstDash val="solid"/>
                  <a:miter/>
                </a:ln>
              </p:spPr>
              <p:txBody>
                <a:bodyPr rtlCol="0" anchor="ctr"/>
                <a:lstStyle/>
                <a:p>
                  <a:endParaRPr lang="en-GB" dirty="0"/>
                </a:p>
              </p:txBody>
            </p:sp>
            <p:sp>
              <p:nvSpPr>
                <p:cNvPr id="458" name="Freeform: Shape 457">
                  <a:extLst>
                    <a:ext uri="{FF2B5EF4-FFF2-40B4-BE49-F238E27FC236}">
                      <a16:creationId xmlns:a16="http://schemas.microsoft.com/office/drawing/2014/main" id="{B61A6577-3681-47C0-89EB-5228BF469E6A}"/>
                    </a:ext>
                  </a:extLst>
                </p:cNvPr>
                <p:cNvSpPr/>
                <p:nvPr/>
              </p:nvSpPr>
              <p:spPr>
                <a:xfrm>
                  <a:off x="5329667" y="2859216"/>
                  <a:ext cx="26597" cy="31896"/>
                </a:xfrm>
                <a:custGeom>
                  <a:avLst/>
                  <a:gdLst>
                    <a:gd name="connsiteX0" fmla="*/ 10624 w 26597"/>
                    <a:gd name="connsiteY0" fmla="*/ 31897 h 31896"/>
                    <a:gd name="connsiteX1" fmla="*/ 5880 w 26597"/>
                    <a:gd name="connsiteY1" fmla="*/ 30780 h 31896"/>
                    <a:gd name="connsiteX2" fmla="*/ 1126 w 26597"/>
                    <a:gd name="connsiteY2" fmla="*/ 16507 h 31896"/>
                    <a:gd name="connsiteX3" fmla="*/ 6444 w 26597"/>
                    <a:gd name="connsiteY3" fmla="*/ 5871 h 31896"/>
                    <a:gd name="connsiteX4" fmla="*/ 20717 w 26597"/>
                    <a:gd name="connsiteY4" fmla="*/ 1116 h 31896"/>
                    <a:gd name="connsiteX5" fmla="*/ 25471 w 26597"/>
                    <a:gd name="connsiteY5" fmla="*/ 15390 h 31896"/>
                    <a:gd name="connsiteX6" fmla="*/ 20153 w 26597"/>
                    <a:gd name="connsiteY6" fmla="*/ 26026 h 31896"/>
                    <a:gd name="connsiteX7" fmla="*/ 10624 w 26597"/>
                    <a:gd name="connsiteY7" fmla="*/ 31897 h 31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97" h="31896">
                      <a:moveTo>
                        <a:pt x="10624" y="31897"/>
                      </a:moveTo>
                      <a:cubicBezTo>
                        <a:pt x="9028" y="31897"/>
                        <a:pt x="7401" y="31535"/>
                        <a:pt x="5880" y="30780"/>
                      </a:cubicBezTo>
                      <a:cubicBezTo>
                        <a:pt x="626" y="28153"/>
                        <a:pt x="-1501" y="21761"/>
                        <a:pt x="1126" y="16507"/>
                      </a:cubicBezTo>
                      <a:lnTo>
                        <a:pt x="6444" y="5871"/>
                      </a:lnTo>
                      <a:cubicBezTo>
                        <a:pt x="9081" y="617"/>
                        <a:pt x="15463" y="-1489"/>
                        <a:pt x="20717" y="1116"/>
                      </a:cubicBezTo>
                      <a:cubicBezTo>
                        <a:pt x="25971" y="3744"/>
                        <a:pt x="28098" y="10136"/>
                        <a:pt x="25471" y="15390"/>
                      </a:cubicBezTo>
                      <a:lnTo>
                        <a:pt x="20153" y="26026"/>
                      </a:lnTo>
                      <a:cubicBezTo>
                        <a:pt x="18271" y="29737"/>
                        <a:pt x="14527" y="31897"/>
                        <a:pt x="10624" y="31897"/>
                      </a:cubicBezTo>
                      <a:close/>
                    </a:path>
                  </a:pathLst>
                </a:custGeom>
                <a:solidFill>
                  <a:schemeClr val="accent1"/>
                </a:solidFill>
                <a:ln w="1063" cap="flat">
                  <a:noFill/>
                  <a:prstDash val="solid"/>
                  <a:miter/>
                </a:ln>
              </p:spPr>
              <p:txBody>
                <a:bodyPr rtlCol="0" anchor="ctr"/>
                <a:lstStyle/>
                <a:p>
                  <a:endParaRPr lang="en-GB" dirty="0"/>
                </a:p>
              </p:txBody>
            </p:sp>
          </p:grpSp>
          <p:grpSp>
            <p:nvGrpSpPr>
              <p:cNvPr id="449" name="Graphic 818">
                <a:extLst>
                  <a:ext uri="{FF2B5EF4-FFF2-40B4-BE49-F238E27FC236}">
                    <a16:creationId xmlns:a16="http://schemas.microsoft.com/office/drawing/2014/main" id="{39228BAB-822C-47D1-A23C-31C33DE11BAD}"/>
                  </a:ext>
                </a:extLst>
              </p:cNvPr>
              <p:cNvGrpSpPr/>
              <p:nvPr/>
            </p:nvGrpSpPr>
            <p:grpSpPr>
              <a:xfrm>
                <a:off x="3028193" y="3335301"/>
                <a:ext cx="190943" cy="226750"/>
                <a:chOff x="5505444" y="2947568"/>
                <a:chExt cx="297814" cy="353663"/>
              </a:xfrm>
              <a:solidFill>
                <a:schemeClr val="tx2"/>
              </a:solidFill>
            </p:grpSpPr>
            <p:sp>
              <p:nvSpPr>
                <p:cNvPr id="453" name="Freeform: Shape 452">
                  <a:extLst>
                    <a:ext uri="{FF2B5EF4-FFF2-40B4-BE49-F238E27FC236}">
                      <a16:creationId xmlns:a16="http://schemas.microsoft.com/office/drawing/2014/main" id="{1D90DC9B-7458-4F53-9E6E-C366A651E780}"/>
                    </a:ext>
                  </a:extLst>
                </p:cNvPr>
                <p:cNvSpPr/>
                <p:nvPr/>
              </p:nvSpPr>
              <p:spPr>
                <a:xfrm>
                  <a:off x="5505444" y="3117741"/>
                  <a:ext cx="297814" cy="183489"/>
                </a:xfrm>
                <a:custGeom>
                  <a:avLst/>
                  <a:gdLst>
                    <a:gd name="connsiteX0" fmla="*/ 155454 w 297814"/>
                    <a:gd name="connsiteY0" fmla="*/ 183490 h 183489"/>
                    <a:gd name="connsiteX1" fmla="*/ 145009 w 297814"/>
                    <a:gd name="connsiteY1" fmla="*/ 183405 h 183489"/>
                    <a:gd name="connsiteX2" fmla="*/ 4223 w 297814"/>
                    <a:gd name="connsiteY2" fmla="*/ 157400 h 183489"/>
                    <a:gd name="connsiteX3" fmla="*/ 0 w 297814"/>
                    <a:gd name="connsiteY3" fmla="*/ 148902 h 183489"/>
                    <a:gd name="connsiteX4" fmla="*/ 0 w 297814"/>
                    <a:gd name="connsiteY4" fmla="*/ 116994 h 183489"/>
                    <a:gd name="connsiteX5" fmla="*/ 112240 w 297814"/>
                    <a:gd name="connsiteY5" fmla="*/ 0 h 183489"/>
                    <a:gd name="connsiteX6" fmla="*/ 185585 w 297814"/>
                    <a:gd name="connsiteY6" fmla="*/ 0 h 183489"/>
                    <a:gd name="connsiteX7" fmla="*/ 297815 w 297814"/>
                    <a:gd name="connsiteY7" fmla="*/ 116994 h 183489"/>
                    <a:gd name="connsiteX8" fmla="*/ 297815 w 297814"/>
                    <a:gd name="connsiteY8" fmla="*/ 148902 h 183489"/>
                    <a:gd name="connsiteX9" fmla="*/ 293263 w 297814"/>
                    <a:gd name="connsiteY9" fmla="*/ 157613 h 183489"/>
                    <a:gd name="connsiteX10" fmla="*/ 155454 w 297814"/>
                    <a:gd name="connsiteY10" fmla="*/ 183490 h 183489"/>
                    <a:gd name="connsiteX11" fmla="*/ 21261 w 297814"/>
                    <a:gd name="connsiteY11" fmla="*/ 142669 h 183489"/>
                    <a:gd name="connsiteX12" fmla="*/ 145360 w 297814"/>
                    <a:gd name="connsiteY12" fmla="*/ 162133 h 183489"/>
                    <a:gd name="connsiteX13" fmla="*/ 276522 w 297814"/>
                    <a:gd name="connsiteY13" fmla="*/ 142616 h 183489"/>
                    <a:gd name="connsiteX14" fmla="*/ 276522 w 297814"/>
                    <a:gd name="connsiteY14" fmla="*/ 116994 h 183489"/>
                    <a:gd name="connsiteX15" fmla="*/ 185564 w 297814"/>
                    <a:gd name="connsiteY15" fmla="*/ 21272 h 183489"/>
                    <a:gd name="connsiteX16" fmla="*/ 112219 w 297814"/>
                    <a:gd name="connsiteY16" fmla="*/ 21272 h 183489"/>
                    <a:gd name="connsiteX17" fmla="*/ 21251 w 297814"/>
                    <a:gd name="connsiteY17" fmla="*/ 116994 h 183489"/>
                    <a:gd name="connsiteX18" fmla="*/ 21251 w 297814"/>
                    <a:gd name="connsiteY18" fmla="*/ 142669 h 183489"/>
                    <a:gd name="connsiteX19" fmla="*/ 10625 w 297814"/>
                    <a:gd name="connsiteY19" fmla="*/ 148902 h 183489"/>
                    <a:gd name="connsiteX20" fmla="*/ 10732 w 297814"/>
                    <a:gd name="connsiteY20" fmla="*/ 148902 h 183489"/>
                    <a:gd name="connsiteX21" fmla="*/ 10625 w 297814"/>
                    <a:gd name="connsiteY21" fmla="*/ 148902 h 18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7814" h="183489">
                      <a:moveTo>
                        <a:pt x="155454" y="183490"/>
                      </a:moveTo>
                      <a:cubicBezTo>
                        <a:pt x="152040" y="183490"/>
                        <a:pt x="148572" y="183469"/>
                        <a:pt x="145009" y="183405"/>
                      </a:cubicBezTo>
                      <a:cubicBezTo>
                        <a:pt x="39321" y="181618"/>
                        <a:pt x="7498" y="159867"/>
                        <a:pt x="4223" y="157400"/>
                      </a:cubicBezTo>
                      <a:cubicBezTo>
                        <a:pt x="1564" y="155390"/>
                        <a:pt x="0" y="152242"/>
                        <a:pt x="0" y="148902"/>
                      </a:cubicBezTo>
                      <a:lnTo>
                        <a:pt x="0" y="116994"/>
                      </a:lnTo>
                      <a:cubicBezTo>
                        <a:pt x="0" y="50297"/>
                        <a:pt x="48255" y="0"/>
                        <a:pt x="112240" y="0"/>
                      </a:cubicBezTo>
                      <a:lnTo>
                        <a:pt x="185585" y="0"/>
                      </a:lnTo>
                      <a:cubicBezTo>
                        <a:pt x="249571" y="0"/>
                        <a:pt x="297815" y="50297"/>
                        <a:pt x="297815" y="116994"/>
                      </a:cubicBezTo>
                      <a:lnTo>
                        <a:pt x="297815" y="148902"/>
                      </a:lnTo>
                      <a:cubicBezTo>
                        <a:pt x="297815" y="152369"/>
                        <a:pt x="296124" y="155634"/>
                        <a:pt x="293263" y="157613"/>
                      </a:cubicBezTo>
                      <a:cubicBezTo>
                        <a:pt x="291688" y="158708"/>
                        <a:pt x="255016" y="183490"/>
                        <a:pt x="155454" y="183490"/>
                      </a:cubicBezTo>
                      <a:close/>
                      <a:moveTo>
                        <a:pt x="21261" y="142669"/>
                      </a:moveTo>
                      <a:cubicBezTo>
                        <a:pt x="32535" y="148051"/>
                        <a:pt x="67314" y="160814"/>
                        <a:pt x="145360" y="162133"/>
                      </a:cubicBezTo>
                      <a:cubicBezTo>
                        <a:pt x="225161" y="163579"/>
                        <a:pt x="264014" y="148657"/>
                        <a:pt x="276522" y="142616"/>
                      </a:cubicBezTo>
                      <a:lnTo>
                        <a:pt x="276522" y="116994"/>
                      </a:lnTo>
                      <a:cubicBezTo>
                        <a:pt x="276522" y="61528"/>
                        <a:pt x="238264" y="21272"/>
                        <a:pt x="185564" y="21272"/>
                      </a:cubicBezTo>
                      <a:lnTo>
                        <a:pt x="112219" y="21272"/>
                      </a:lnTo>
                      <a:cubicBezTo>
                        <a:pt x="59508" y="21272"/>
                        <a:pt x="21251" y="61528"/>
                        <a:pt x="21251" y="116994"/>
                      </a:cubicBezTo>
                      <a:lnTo>
                        <a:pt x="21251" y="142669"/>
                      </a:lnTo>
                      <a:close/>
                      <a:moveTo>
                        <a:pt x="10625" y="148902"/>
                      </a:moveTo>
                      <a:lnTo>
                        <a:pt x="10732" y="148902"/>
                      </a:lnTo>
                      <a:lnTo>
                        <a:pt x="10625" y="148902"/>
                      </a:lnTo>
                      <a:close/>
                    </a:path>
                  </a:pathLst>
                </a:custGeom>
                <a:solidFill>
                  <a:schemeClr val="accent1"/>
                </a:solidFill>
                <a:ln w="1063" cap="flat">
                  <a:noFill/>
                  <a:prstDash val="solid"/>
                  <a:miter/>
                </a:ln>
              </p:spPr>
              <p:txBody>
                <a:bodyPr rtlCol="0" anchor="ctr"/>
                <a:lstStyle/>
                <a:p>
                  <a:endParaRPr lang="en-GB" dirty="0"/>
                </a:p>
              </p:txBody>
            </p:sp>
            <p:sp>
              <p:nvSpPr>
                <p:cNvPr id="454" name="Freeform: Shape 453">
                  <a:extLst>
                    <a:ext uri="{FF2B5EF4-FFF2-40B4-BE49-F238E27FC236}">
                      <a16:creationId xmlns:a16="http://schemas.microsoft.com/office/drawing/2014/main" id="{DB180DF1-EAAE-4278-9318-0B882F25178D}"/>
                    </a:ext>
                  </a:extLst>
                </p:cNvPr>
                <p:cNvSpPr/>
                <p:nvPr/>
              </p:nvSpPr>
              <p:spPr>
                <a:xfrm>
                  <a:off x="5590254" y="2947568"/>
                  <a:ext cx="127630" cy="148901"/>
                </a:xfrm>
                <a:custGeom>
                  <a:avLst/>
                  <a:gdLst>
                    <a:gd name="connsiteX0" fmla="*/ 63815 w 127630"/>
                    <a:gd name="connsiteY0" fmla="*/ 148902 h 148901"/>
                    <a:gd name="connsiteX1" fmla="*/ 0 w 127630"/>
                    <a:gd name="connsiteY1" fmla="*/ 74451 h 148901"/>
                    <a:gd name="connsiteX2" fmla="*/ 63815 w 127630"/>
                    <a:gd name="connsiteY2" fmla="*/ 0 h 148901"/>
                    <a:gd name="connsiteX3" fmla="*/ 127630 w 127630"/>
                    <a:gd name="connsiteY3" fmla="*/ 74451 h 148901"/>
                    <a:gd name="connsiteX4" fmla="*/ 63815 w 127630"/>
                    <a:gd name="connsiteY4" fmla="*/ 148902 h 148901"/>
                    <a:gd name="connsiteX5" fmla="*/ 63815 w 127630"/>
                    <a:gd name="connsiteY5" fmla="*/ 21272 h 148901"/>
                    <a:gd name="connsiteX6" fmla="*/ 21272 w 127630"/>
                    <a:gd name="connsiteY6" fmla="*/ 74451 h 148901"/>
                    <a:gd name="connsiteX7" fmla="*/ 63815 w 127630"/>
                    <a:gd name="connsiteY7" fmla="*/ 127630 h 148901"/>
                    <a:gd name="connsiteX8" fmla="*/ 106359 w 127630"/>
                    <a:gd name="connsiteY8" fmla="*/ 74451 h 148901"/>
                    <a:gd name="connsiteX9" fmla="*/ 63815 w 127630"/>
                    <a:gd name="connsiteY9" fmla="*/ 21272 h 14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630" h="148901">
                      <a:moveTo>
                        <a:pt x="63815" y="148902"/>
                      </a:moveTo>
                      <a:cubicBezTo>
                        <a:pt x="25643" y="148902"/>
                        <a:pt x="0" y="118983"/>
                        <a:pt x="0" y="74451"/>
                      </a:cubicBezTo>
                      <a:cubicBezTo>
                        <a:pt x="0" y="29919"/>
                        <a:pt x="25643" y="0"/>
                        <a:pt x="63815" y="0"/>
                      </a:cubicBezTo>
                      <a:cubicBezTo>
                        <a:pt x="101987" y="0"/>
                        <a:pt x="127630" y="29919"/>
                        <a:pt x="127630" y="74451"/>
                      </a:cubicBezTo>
                      <a:cubicBezTo>
                        <a:pt x="127630" y="118983"/>
                        <a:pt x="101977" y="148902"/>
                        <a:pt x="63815" y="148902"/>
                      </a:cubicBezTo>
                      <a:close/>
                      <a:moveTo>
                        <a:pt x="63815" y="21272"/>
                      </a:moveTo>
                      <a:cubicBezTo>
                        <a:pt x="32450" y="21272"/>
                        <a:pt x="21272" y="48744"/>
                        <a:pt x="21272" y="74451"/>
                      </a:cubicBezTo>
                      <a:cubicBezTo>
                        <a:pt x="21272" y="100158"/>
                        <a:pt x="32450" y="127630"/>
                        <a:pt x="63815" y="127630"/>
                      </a:cubicBezTo>
                      <a:cubicBezTo>
                        <a:pt x="95181" y="127630"/>
                        <a:pt x="106359" y="100158"/>
                        <a:pt x="106359" y="74451"/>
                      </a:cubicBezTo>
                      <a:cubicBezTo>
                        <a:pt x="106359" y="48744"/>
                        <a:pt x="95181" y="21272"/>
                        <a:pt x="63815" y="21272"/>
                      </a:cubicBezTo>
                      <a:close/>
                    </a:path>
                  </a:pathLst>
                </a:custGeom>
                <a:solidFill>
                  <a:schemeClr val="accent1"/>
                </a:solidFill>
                <a:ln w="1063" cap="flat">
                  <a:noFill/>
                  <a:prstDash val="solid"/>
                  <a:miter/>
                </a:ln>
              </p:spPr>
              <p:txBody>
                <a:bodyPr rtlCol="0" anchor="ctr"/>
                <a:lstStyle/>
                <a:p>
                  <a:endParaRPr lang="en-GB" dirty="0"/>
                </a:p>
              </p:txBody>
            </p:sp>
          </p:grpSp>
          <p:grpSp>
            <p:nvGrpSpPr>
              <p:cNvPr id="450" name="Graphic 818">
                <a:extLst>
                  <a:ext uri="{FF2B5EF4-FFF2-40B4-BE49-F238E27FC236}">
                    <a16:creationId xmlns:a16="http://schemas.microsoft.com/office/drawing/2014/main" id="{6B437646-A103-4E17-872F-DB1D6F9EFE7C}"/>
                  </a:ext>
                </a:extLst>
              </p:cNvPr>
              <p:cNvGrpSpPr/>
              <p:nvPr/>
            </p:nvGrpSpPr>
            <p:grpSpPr>
              <a:xfrm>
                <a:off x="2541510" y="3335301"/>
                <a:ext cx="190943" cy="226750"/>
                <a:chOff x="4746363" y="2947568"/>
                <a:chExt cx="297814" cy="353663"/>
              </a:xfrm>
              <a:solidFill>
                <a:schemeClr val="tx2"/>
              </a:solidFill>
            </p:grpSpPr>
            <p:sp>
              <p:nvSpPr>
                <p:cNvPr id="451" name="Freeform: Shape 450">
                  <a:extLst>
                    <a:ext uri="{FF2B5EF4-FFF2-40B4-BE49-F238E27FC236}">
                      <a16:creationId xmlns:a16="http://schemas.microsoft.com/office/drawing/2014/main" id="{8078B08F-8A04-4B25-9548-E8153472E56A}"/>
                    </a:ext>
                  </a:extLst>
                </p:cNvPr>
                <p:cNvSpPr/>
                <p:nvPr/>
              </p:nvSpPr>
              <p:spPr>
                <a:xfrm>
                  <a:off x="4746363" y="3117741"/>
                  <a:ext cx="297814" cy="183489"/>
                </a:xfrm>
                <a:custGeom>
                  <a:avLst/>
                  <a:gdLst>
                    <a:gd name="connsiteX0" fmla="*/ 142350 w 297814"/>
                    <a:gd name="connsiteY0" fmla="*/ 183490 h 183489"/>
                    <a:gd name="connsiteX1" fmla="*/ 4552 w 297814"/>
                    <a:gd name="connsiteY1" fmla="*/ 157613 h 183489"/>
                    <a:gd name="connsiteX2" fmla="*/ 0 w 297814"/>
                    <a:gd name="connsiteY2" fmla="*/ 148902 h 183489"/>
                    <a:gd name="connsiteX3" fmla="*/ 0 w 297814"/>
                    <a:gd name="connsiteY3" fmla="*/ 116994 h 183489"/>
                    <a:gd name="connsiteX4" fmla="*/ 112240 w 297814"/>
                    <a:gd name="connsiteY4" fmla="*/ 0 h 183489"/>
                    <a:gd name="connsiteX5" fmla="*/ 185585 w 297814"/>
                    <a:gd name="connsiteY5" fmla="*/ 0 h 183489"/>
                    <a:gd name="connsiteX6" fmla="*/ 297815 w 297814"/>
                    <a:gd name="connsiteY6" fmla="*/ 116994 h 183489"/>
                    <a:gd name="connsiteX7" fmla="*/ 297815 w 297814"/>
                    <a:gd name="connsiteY7" fmla="*/ 148902 h 183489"/>
                    <a:gd name="connsiteX8" fmla="*/ 293592 w 297814"/>
                    <a:gd name="connsiteY8" fmla="*/ 157389 h 183489"/>
                    <a:gd name="connsiteX9" fmla="*/ 152816 w 297814"/>
                    <a:gd name="connsiteY9" fmla="*/ 183405 h 183489"/>
                    <a:gd name="connsiteX10" fmla="*/ 142350 w 297814"/>
                    <a:gd name="connsiteY10" fmla="*/ 183490 h 183489"/>
                    <a:gd name="connsiteX11" fmla="*/ 21272 w 297814"/>
                    <a:gd name="connsiteY11" fmla="*/ 142627 h 183489"/>
                    <a:gd name="connsiteX12" fmla="*/ 152444 w 297814"/>
                    <a:gd name="connsiteY12" fmla="*/ 162133 h 183489"/>
                    <a:gd name="connsiteX13" fmla="*/ 276532 w 297814"/>
                    <a:gd name="connsiteY13" fmla="*/ 142669 h 183489"/>
                    <a:gd name="connsiteX14" fmla="*/ 276532 w 297814"/>
                    <a:gd name="connsiteY14" fmla="*/ 116994 h 183489"/>
                    <a:gd name="connsiteX15" fmla="*/ 185574 w 297814"/>
                    <a:gd name="connsiteY15" fmla="*/ 21272 h 183489"/>
                    <a:gd name="connsiteX16" fmla="*/ 112230 w 297814"/>
                    <a:gd name="connsiteY16" fmla="*/ 21272 h 183489"/>
                    <a:gd name="connsiteX17" fmla="*/ 21261 w 297814"/>
                    <a:gd name="connsiteY17" fmla="*/ 116994 h 183489"/>
                    <a:gd name="connsiteX18" fmla="*/ 21261 w 297814"/>
                    <a:gd name="connsiteY18" fmla="*/ 142627 h 183489"/>
                    <a:gd name="connsiteX19" fmla="*/ 287168 w 297814"/>
                    <a:gd name="connsiteY19" fmla="*/ 148902 h 183489"/>
                    <a:gd name="connsiteX20" fmla="*/ 287275 w 297814"/>
                    <a:gd name="connsiteY20" fmla="*/ 148902 h 183489"/>
                    <a:gd name="connsiteX21" fmla="*/ 287168 w 297814"/>
                    <a:gd name="connsiteY21" fmla="*/ 148902 h 183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7814" h="183489">
                      <a:moveTo>
                        <a:pt x="142350" y="183490"/>
                      </a:moveTo>
                      <a:cubicBezTo>
                        <a:pt x="42767" y="183490"/>
                        <a:pt x="6105" y="158708"/>
                        <a:pt x="4552" y="157613"/>
                      </a:cubicBezTo>
                      <a:cubicBezTo>
                        <a:pt x="1691" y="155624"/>
                        <a:pt x="0" y="152369"/>
                        <a:pt x="0" y="148902"/>
                      </a:cubicBezTo>
                      <a:lnTo>
                        <a:pt x="0" y="116994"/>
                      </a:lnTo>
                      <a:cubicBezTo>
                        <a:pt x="0" y="50297"/>
                        <a:pt x="48255" y="0"/>
                        <a:pt x="112240" y="0"/>
                      </a:cubicBezTo>
                      <a:lnTo>
                        <a:pt x="185585" y="0"/>
                      </a:lnTo>
                      <a:cubicBezTo>
                        <a:pt x="249571" y="0"/>
                        <a:pt x="297815" y="50297"/>
                        <a:pt x="297815" y="116994"/>
                      </a:cubicBezTo>
                      <a:lnTo>
                        <a:pt x="297815" y="148902"/>
                      </a:lnTo>
                      <a:cubicBezTo>
                        <a:pt x="297815" y="152231"/>
                        <a:pt x="296251" y="155379"/>
                        <a:pt x="293592" y="157389"/>
                      </a:cubicBezTo>
                      <a:cubicBezTo>
                        <a:pt x="290306" y="159867"/>
                        <a:pt x="258494" y="181618"/>
                        <a:pt x="152816" y="183405"/>
                      </a:cubicBezTo>
                      <a:cubicBezTo>
                        <a:pt x="149242" y="183469"/>
                        <a:pt x="145754" y="183490"/>
                        <a:pt x="142350" y="183490"/>
                      </a:cubicBezTo>
                      <a:close/>
                      <a:moveTo>
                        <a:pt x="21272" y="142627"/>
                      </a:moveTo>
                      <a:cubicBezTo>
                        <a:pt x="33684" y="148625"/>
                        <a:pt x="72462" y="163484"/>
                        <a:pt x="152444" y="162133"/>
                      </a:cubicBezTo>
                      <a:cubicBezTo>
                        <a:pt x="230490" y="160814"/>
                        <a:pt x="265258" y="148051"/>
                        <a:pt x="276532" y="142669"/>
                      </a:cubicBezTo>
                      <a:lnTo>
                        <a:pt x="276532" y="116994"/>
                      </a:lnTo>
                      <a:cubicBezTo>
                        <a:pt x="276532" y="61528"/>
                        <a:pt x="238275" y="21272"/>
                        <a:pt x="185574" y="21272"/>
                      </a:cubicBezTo>
                      <a:lnTo>
                        <a:pt x="112230" y="21272"/>
                      </a:lnTo>
                      <a:cubicBezTo>
                        <a:pt x="59518" y="21272"/>
                        <a:pt x="21261" y="61528"/>
                        <a:pt x="21261" y="116994"/>
                      </a:cubicBezTo>
                      <a:lnTo>
                        <a:pt x="21261" y="142627"/>
                      </a:lnTo>
                      <a:close/>
                      <a:moveTo>
                        <a:pt x="287168" y="148902"/>
                      </a:moveTo>
                      <a:lnTo>
                        <a:pt x="287275" y="148902"/>
                      </a:lnTo>
                      <a:lnTo>
                        <a:pt x="287168" y="148902"/>
                      </a:lnTo>
                      <a:close/>
                    </a:path>
                  </a:pathLst>
                </a:custGeom>
                <a:solidFill>
                  <a:schemeClr val="accent1"/>
                </a:solidFill>
                <a:ln w="1063" cap="flat">
                  <a:noFill/>
                  <a:prstDash val="solid"/>
                  <a:miter/>
                </a:ln>
              </p:spPr>
              <p:txBody>
                <a:bodyPr rtlCol="0" anchor="ctr"/>
                <a:lstStyle/>
                <a:p>
                  <a:endParaRPr lang="en-GB" dirty="0"/>
                </a:p>
              </p:txBody>
            </p:sp>
            <p:sp>
              <p:nvSpPr>
                <p:cNvPr id="452" name="Freeform: Shape 451">
                  <a:extLst>
                    <a:ext uri="{FF2B5EF4-FFF2-40B4-BE49-F238E27FC236}">
                      <a16:creationId xmlns:a16="http://schemas.microsoft.com/office/drawing/2014/main" id="{94532334-6BC1-478F-B920-1CD5C538192E}"/>
                    </a:ext>
                  </a:extLst>
                </p:cNvPr>
                <p:cNvSpPr/>
                <p:nvPr/>
              </p:nvSpPr>
              <p:spPr>
                <a:xfrm>
                  <a:off x="4831727" y="2947568"/>
                  <a:ext cx="127630" cy="148901"/>
                </a:xfrm>
                <a:custGeom>
                  <a:avLst/>
                  <a:gdLst>
                    <a:gd name="connsiteX0" fmla="*/ 63815 w 127630"/>
                    <a:gd name="connsiteY0" fmla="*/ 148902 h 148901"/>
                    <a:gd name="connsiteX1" fmla="*/ 0 w 127630"/>
                    <a:gd name="connsiteY1" fmla="*/ 74451 h 148901"/>
                    <a:gd name="connsiteX2" fmla="*/ 63815 w 127630"/>
                    <a:gd name="connsiteY2" fmla="*/ 0 h 148901"/>
                    <a:gd name="connsiteX3" fmla="*/ 127630 w 127630"/>
                    <a:gd name="connsiteY3" fmla="*/ 74451 h 148901"/>
                    <a:gd name="connsiteX4" fmla="*/ 63815 w 127630"/>
                    <a:gd name="connsiteY4" fmla="*/ 148902 h 148901"/>
                    <a:gd name="connsiteX5" fmla="*/ 63815 w 127630"/>
                    <a:gd name="connsiteY5" fmla="*/ 21272 h 148901"/>
                    <a:gd name="connsiteX6" fmla="*/ 21272 w 127630"/>
                    <a:gd name="connsiteY6" fmla="*/ 74451 h 148901"/>
                    <a:gd name="connsiteX7" fmla="*/ 63815 w 127630"/>
                    <a:gd name="connsiteY7" fmla="*/ 127630 h 148901"/>
                    <a:gd name="connsiteX8" fmla="*/ 106359 w 127630"/>
                    <a:gd name="connsiteY8" fmla="*/ 74451 h 148901"/>
                    <a:gd name="connsiteX9" fmla="*/ 63815 w 127630"/>
                    <a:gd name="connsiteY9" fmla="*/ 21272 h 14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630" h="148901">
                      <a:moveTo>
                        <a:pt x="63815" y="148902"/>
                      </a:moveTo>
                      <a:cubicBezTo>
                        <a:pt x="25643" y="148902"/>
                        <a:pt x="0" y="118983"/>
                        <a:pt x="0" y="74451"/>
                      </a:cubicBezTo>
                      <a:cubicBezTo>
                        <a:pt x="0" y="29919"/>
                        <a:pt x="25643" y="0"/>
                        <a:pt x="63815" y="0"/>
                      </a:cubicBezTo>
                      <a:cubicBezTo>
                        <a:pt x="101987" y="0"/>
                        <a:pt x="127630" y="29919"/>
                        <a:pt x="127630" y="74451"/>
                      </a:cubicBezTo>
                      <a:cubicBezTo>
                        <a:pt x="127630" y="118983"/>
                        <a:pt x="101987" y="148902"/>
                        <a:pt x="63815" y="148902"/>
                      </a:cubicBezTo>
                      <a:close/>
                      <a:moveTo>
                        <a:pt x="63815" y="21272"/>
                      </a:moveTo>
                      <a:cubicBezTo>
                        <a:pt x="32450" y="21272"/>
                        <a:pt x="21272" y="48744"/>
                        <a:pt x="21272" y="74451"/>
                      </a:cubicBezTo>
                      <a:cubicBezTo>
                        <a:pt x="21272" y="100158"/>
                        <a:pt x="32450" y="127630"/>
                        <a:pt x="63815" y="127630"/>
                      </a:cubicBezTo>
                      <a:cubicBezTo>
                        <a:pt x="95180" y="127630"/>
                        <a:pt x="106359" y="100158"/>
                        <a:pt x="106359" y="74451"/>
                      </a:cubicBezTo>
                      <a:cubicBezTo>
                        <a:pt x="106359" y="48744"/>
                        <a:pt x="95180" y="21272"/>
                        <a:pt x="63815" y="21272"/>
                      </a:cubicBezTo>
                      <a:close/>
                    </a:path>
                  </a:pathLst>
                </a:custGeom>
                <a:solidFill>
                  <a:schemeClr val="accent1"/>
                </a:solidFill>
                <a:ln w="1063" cap="flat">
                  <a:noFill/>
                  <a:prstDash val="solid"/>
                  <a:miter/>
                </a:ln>
              </p:spPr>
              <p:txBody>
                <a:bodyPr rtlCol="0" anchor="ctr"/>
                <a:lstStyle/>
                <a:p>
                  <a:endParaRPr lang="en-GB" dirty="0"/>
                </a:p>
              </p:txBody>
            </p:sp>
          </p:grpSp>
        </p:grpSp>
        <p:grpSp>
          <p:nvGrpSpPr>
            <p:cNvPr id="442" name="Group 441">
              <a:extLst>
                <a:ext uri="{FF2B5EF4-FFF2-40B4-BE49-F238E27FC236}">
                  <a16:creationId xmlns:a16="http://schemas.microsoft.com/office/drawing/2014/main" id="{2FD1BDDA-F4C1-41EC-A6E6-400764BC7B7B}"/>
                </a:ext>
              </a:extLst>
            </p:cNvPr>
            <p:cNvGrpSpPr/>
            <p:nvPr/>
          </p:nvGrpSpPr>
          <p:grpSpPr>
            <a:xfrm>
              <a:off x="4901103" y="2619867"/>
              <a:ext cx="623506" cy="167786"/>
              <a:chOff x="2493776" y="3384688"/>
              <a:chExt cx="773080" cy="208036"/>
            </a:xfrm>
            <a:solidFill>
              <a:schemeClr val="tx2"/>
            </a:solidFill>
          </p:grpSpPr>
          <p:sp>
            <p:nvSpPr>
              <p:cNvPr id="443" name="Freeform: Shape 442">
                <a:extLst>
                  <a:ext uri="{FF2B5EF4-FFF2-40B4-BE49-F238E27FC236}">
                    <a16:creationId xmlns:a16="http://schemas.microsoft.com/office/drawing/2014/main" id="{8E295AE5-1C18-4815-B67E-C5C7B4FB444F}"/>
                  </a:ext>
                </a:extLst>
              </p:cNvPr>
              <p:cNvSpPr/>
              <p:nvPr/>
            </p:nvSpPr>
            <p:spPr>
              <a:xfrm>
                <a:off x="2718310" y="3384688"/>
                <a:ext cx="331267" cy="80749"/>
              </a:xfrm>
              <a:custGeom>
                <a:avLst/>
                <a:gdLst>
                  <a:gd name="connsiteX0" fmla="*/ 258334 w 516679"/>
                  <a:gd name="connsiteY0" fmla="*/ 125945 h 125945"/>
                  <a:gd name="connsiteX1" fmla="*/ 0 w 516679"/>
                  <a:gd name="connsiteY1" fmla="*/ 49899 h 125945"/>
                  <a:gd name="connsiteX2" fmla="*/ 56636 w 516679"/>
                  <a:gd name="connsiteY2" fmla="*/ 612 h 125945"/>
                  <a:gd name="connsiteX3" fmla="*/ 70197 w 516679"/>
                  <a:gd name="connsiteY3" fmla="*/ 7111 h 125945"/>
                  <a:gd name="connsiteX4" fmla="*/ 63698 w 516679"/>
                  <a:gd name="connsiteY4" fmla="*/ 20671 h 125945"/>
                  <a:gd name="connsiteX5" fmla="*/ 21272 w 516679"/>
                  <a:gd name="connsiteY5" fmla="*/ 49888 h 125945"/>
                  <a:gd name="connsiteX6" fmla="*/ 258334 w 516679"/>
                  <a:gd name="connsiteY6" fmla="*/ 104663 h 125945"/>
                  <a:gd name="connsiteX7" fmla="*/ 495408 w 516679"/>
                  <a:gd name="connsiteY7" fmla="*/ 49888 h 125945"/>
                  <a:gd name="connsiteX8" fmla="*/ 455300 w 516679"/>
                  <a:gd name="connsiteY8" fmla="*/ 21225 h 125945"/>
                  <a:gd name="connsiteX9" fmla="*/ 448716 w 516679"/>
                  <a:gd name="connsiteY9" fmla="*/ 7706 h 125945"/>
                  <a:gd name="connsiteX10" fmla="*/ 462234 w 516679"/>
                  <a:gd name="connsiteY10" fmla="*/ 1123 h 125945"/>
                  <a:gd name="connsiteX11" fmla="*/ 516679 w 516679"/>
                  <a:gd name="connsiteY11" fmla="*/ 49899 h 125945"/>
                  <a:gd name="connsiteX12" fmla="*/ 258334 w 516679"/>
                  <a:gd name="connsiteY12" fmla="*/ 125945 h 125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6679" h="125945">
                    <a:moveTo>
                      <a:pt x="258334" y="125945"/>
                    </a:moveTo>
                    <a:cubicBezTo>
                      <a:pt x="129959" y="125945"/>
                      <a:pt x="0" y="99823"/>
                      <a:pt x="0" y="49899"/>
                    </a:cubicBezTo>
                    <a:cubicBezTo>
                      <a:pt x="0" y="30414"/>
                      <a:pt x="19059" y="13833"/>
                      <a:pt x="56636" y="612"/>
                    </a:cubicBezTo>
                    <a:cubicBezTo>
                      <a:pt x="62209" y="-1355"/>
                      <a:pt x="68261" y="1580"/>
                      <a:pt x="70197" y="7111"/>
                    </a:cubicBezTo>
                    <a:cubicBezTo>
                      <a:pt x="72154" y="12652"/>
                      <a:pt x="69229" y="18725"/>
                      <a:pt x="63698" y="20671"/>
                    </a:cubicBezTo>
                    <a:cubicBezTo>
                      <a:pt x="32418" y="31669"/>
                      <a:pt x="21272" y="42985"/>
                      <a:pt x="21272" y="49888"/>
                    </a:cubicBezTo>
                    <a:cubicBezTo>
                      <a:pt x="21272" y="72223"/>
                      <a:pt x="113623" y="104663"/>
                      <a:pt x="258334" y="104663"/>
                    </a:cubicBezTo>
                    <a:cubicBezTo>
                      <a:pt x="403046" y="104663"/>
                      <a:pt x="495408" y="72213"/>
                      <a:pt x="495408" y="49888"/>
                    </a:cubicBezTo>
                    <a:cubicBezTo>
                      <a:pt x="495408" y="40348"/>
                      <a:pt x="481156" y="30159"/>
                      <a:pt x="455300" y="21225"/>
                    </a:cubicBezTo>
                    <a:cubicBezTo>
                      <a:pt x="449748" y="19299"/>
                      <a:pt x="446791" y="13248"/>
                      <a:pt x="448716" y="7706"/>
                    </a:cubicBezTo>
                    <a:cubicBezTo>
                      <a:pt x="450652" y="2155"/>
                      <a:pt x="456725" y="-792"/>
                      <a:pt x="462234" y="1123"/>
                    </a:cubicBezTo>
                    <a:cubicBezTo>
                      <a:pt x="498864" y="13779"/>
                      <a:pt x="516679" y="29733"/>
                      <a:pt x="516679" y="49899"/>
                    </a:cubicBezTo>
                    <a:cubicBezTo>
                      <a:pt x="516679" y="99823"/>
                      <a:pt x="386709" y="125945"/>
                      <a:pt x="258334" y="125945"/>
                    </a:cubicBezTo>
                    <a:close/>
                  </a:path>
                </a:pathLst>
              </a:custGeom>
              <a:grpFill/>
              <a:ln w="1063" cap="flat">
                <a:noFill/>
                <a:prstDash val="solid"/>
                <a:miter/>
              </a:ln>
            </p:spPr>
            <p:txBody>
              <a:bodyPr rtlCol="0" anchor="ctr"/>
              <a:lstStyle/>
              <a:p>
                <a:endParaRPr lang="en-GB" dirty="0"/>
              </a:p>
            </p:txBody>
          </p:sp>
          <p:sp>
            <p:nvSpPr>
              <p:cNvPr id="444" name="Freeform: Shape 443">
                <a:extLst>
                  <a:ext uri="{FF2B5EF4-FFF2-40B4-BE49-F238E27FC236}">
                    <a16:creationId xmlns:a16="http://schemas.microsoft.com/office/drawing/2014/main" id="{688CD8B6-067F-41A9-BCB6-0369638CA622}"/>
                  </a:ext>
                </a:extLst>
              </p:cNvPr>
              <p:cNvSpPr/>
              <p:nvPr/>
            </p:nvSpPr>
            <p:spPr>
              <a:xfrm>
                <a:off x="2980452" y="3517989"/>
                <a:ext cx="286404" cy="74735"/>
              </a:xfrm>
              <a:custGeom>
                <a:avLst/>
                <a:gdLst>
                  <a:gd name="connsiteX0" fmla="*/ 223353 w 446705"/>
                  <a:gd name="connsiteY0" fmla="*/ 116565 h 116564"/>
                  <a:gd name="connsiteX1" fmla="*/ 0 w 446705"/>
                  <a:gd name="connsiteY1" fmla="*/ 46070 h 116564"/>
                  <a:gd name="connsiteX2" fmla="*/ 47564 w 446705"/>
                  <a:gd name="connsiteY2" fmla="*/ 655 h 116564"/>
                  <a:gd name="connsiteX3" fmla="*/ 61220 w 446705"/>
                  <a:gd name="connsiteY3" fmla="*/ 6962 h 116564"/>
                  <a:gd name="connsiteX4" fmla="*/ 54913 w 446705"/>
                  <a:gd name="connsiteY4" fmla="*/ 20618 h 116564"/>
                  <a:gd name="connsiteX5" fmla="*/ 21272 w 446705"/>
                  <a:gd name="connsiteY5" fmla="*/ 46070 h 116564"/>
                  <a:gd name="connsiteX6" fmla="*/ 223353 w 446705"/>
                  <a:gd name="connsiteY6" fmla="*/ 95293 h 116564"/>
                  <a:gd name="connsiteX7" fmla="*/ 425434 w 446705"/>
                  <a:gd name="connsiteY7" fmla="*/ 46070 h 116564"/>
                  <a:gd name="connsiteX8" fmla="*/ 400483 w 446705"/>
                  <a:gd name="connsiteY8" fmla="*/ 24543 h 116564"/>
                  <a:gd name="connsiteX9" fmla="*/ 395271 w 446705"/>
                  <a:gd name="connsiteY9" fmla="*/ 10440 h 116564"/>
                  <a:gd name="connsiteX10" fmla="*/ 409374 w 446705"/>
                  <a:gd name="connsiteY10" fmla="*/ 5228 h 116564"/>
                  <a:gd name="connsiteX11" fmla="*/ 446706 w 446705"/>
                  <a:gd name="connsiteY11" fmla="*/ 46081 h 116564"/>
                  <a:gd name="connsiteX12" fmla="*/ 223353 w 446705"/>
                  <a:gd name="connsiteY12" fmla="*/ 116565 h 116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6705" h="116564">
                    <a:moveTo>
                      <a:pt x="223353" y="116565"/>
                    </a:moveTo>
                    <a:cubicBezTo>
                      <a:pt x="112357" y="116565"/>
                      <a:pt x="0" y="92358"/>
                      <a:pt x="0" y="46070"/>
                    </a:cubicBezTo>
                    <a:cubicBezTo>
                      <a:pt x="0" y="18172"/>
                      <a:pt x="35800" y="4994"/>
                      <a:pt x="47564" y="655"/>
                    </a:cubicBezTo>
                    <a:cubicBezTo>
                      <a:pt x="53073" y="-1366"/>
                      <a:pt x="59189" y="1442"/>
                      <a:pt x="61220" y="6962"/>
                    </a:cubicBezTo>
                    <a:cubicBezTo>
                      <a:pt x="63241" y="12482"/>
                      <a:pt x="60433" y="18587"/>
                      <a:pt x="54913" y="20618"/>
                    </a:cubicBezTo>
                    <a:cubicBezTo>
                      <a:pt x="33216" y="28606"/>
                      <a:pt x="21272" y="37646"/>
                      <a:pt x="21272" y="46070"/>
                    </a:cubicBezTo>
                    <a:cubicBezTo>
                      <a:pt x="21272" y="66140"/>
                      <a:pt x="99988" y="95293"/>
                      <a:pt x="223353" y="95293"/>
                    </a:cubicBezTo>
                    <a:cubicBezTo>
                      <a:pt x="346719" y="95293"/>
                      <a:pt x="425434" y="66140"/>
                      <a:pt x="425434" y="46070"/>
                    </a:cubicBezTo>
                    <a:cubicBezTo>
                      <a:pt x="425434" y="39763"/>
                      <a:pt x="416107" y="31712"/>
                      <a:pt x="400483" y="24543"/>
                    </a:cubicBezTo>
                    <a:cubicBezTo>
                      <a:pt x="395154" y="22097"/>
                      <a:pt x="392804" y="15779"/>
                      <a:pt x="395271" y="10440"/>
                    </a:cubicBezTo>
                    <a:cubicBezTo>
                      <a:pt x="397707" y="5112"/>
                      <a:pt x="404003" y="2750"/>
                      <a:pt x="409374" y="5228"/>
                    </a:cubicBezTo>
                    <a:cubicBezTo>
                      <a:pt x="434145" y="16609"/>
                      <a:pt x="446706" y="30350"/>
                      <a:pt x="446706" y="46081"/>
                    </a:cubicBezTo>
                    <a:cubicBezTo>
                      <a:pt x="446706" y="92358"/>
                      <a:pt x="334338" y="116565"/>
                      <a:pt x="223353" y="116565"/>
                    </a:cubicBezTo>
                    <a:close/>
                  </a:path>
                </a:pathLst>
              </a:custGeom>
              <a:grpFill/>
              <a:ln w="1063" cap="flat">
                <a:noFill/>
                <a:prstDash val="solid"/>
                <a:miter/>
              </a:ln>
            </p:spPr>
            <p:txBody>
              <a:bodyPr rtlCol="0" anchor="ctr"/>
              <a:lstStyle/>
              <a:p>
                <a:endParaRPr lang="en-GB" dirty="0"/>
              </a:p>
            </p:txBody>
          </p:sp>
          <p:sp>
            <p:nvSpPr>
              <p:cNvPr id="445" name="Freeform: Shape 444">
                <a:extLst>
                  <a:ext uri="{FF2B5EF4-FFF2-40B4-BE49-F238E27FC236}">
                    <a16:creationId xmlns:a16="http://schemas.microsoft.com/office/drawing/2014/main" id="{2A444078-AD7B-47E6-BD9B-51E7FF6C7F30}"/>
                  </a:ext>
                </a:extLst>
              </p:cNvPr>
              <p:cNvSpPr/>
              <p:nvPr/>
            </p:nvSpPr>
            <p:spPr>
              <a:xfrm>
                <a:off x="2950197" y="3448226"/>
                <a:ext cx="69539" cy="83125"/>
              </a:xfrm>
              <a:custGeom>
                <a:avLst/>
                <a:gdLst>
                  <a:gd name="connsiteX0" fmla="*/ 97837 w 108460"/>
                  <a:gd name="connsiteY0" fmla="*/ 129652 h 129651"/>
                  <a:gd name="connsiteX1" fmla="*/ 89541 w 108460"/>
                  <a:gd name="connsiteY1" fmla="*/ 125685 h 129651"/>
                  <a:gd name="connsiteX2" fmla="*/ 2349 w 108460"/>
                  <a:gd name="connsiteY2" fmla="*/ 17305 h 129651"/>
                  <a:gd name="connsiteX3" fmla="*/ 3965 w 108460"/>
                  <a:gd name="connsiteY3" fmla="*/ 2351 h 129651"/>
                  <a:gd name="connsiteX4" fmla="*/ 18919 w 108460"/>
                  <a:gd name="connsiteY4" fmla="*/ 3968 h 129651"/>
                  <a:gd name="connsiteX5" fmla="*/ 106112 w 108460"/>
                  <a:gd name="connsiteY5" fmla="*/ 112347 h 129651"/>
                  <a:gd name="connsiteX6" fmla="*/ 104495 w 108460"/>
                  <a:gd name="connsiteY6" fmla="*/ 127301 h 129651"/>
                  <a:gd name="connsiteX7" fmla="*/ 97837 w 108460"/>
                  <a:gd name="connsiteY7" fmla="*/ 129652 h 129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460" h="129651">
                    <a:moveTo>
                      <a:pt x="97837" y="129652"/>
                    </a:moveTo>
                    <a:cubicBezTo>
                      <a:pt x="94721" y="129652"/>
                      <a:pt x="91637" y="128290"/>
                      <a:pt x="89541" y="125685"/>
                    </a:cubicBezTo>
                    <a:lnTo>
                      <a:pt x="2349" y="17305"/>
                    </a:lnTo>
                    <a:cubicBezTo>
                      <a:pt x="-1331" y="12721"/>
                      <a:pt x="-608" y="6031"/>
                      <a:pt x="3965" y="2351"/>
                    </a:cubicBezTo>
                    <a:cubicBezTo>
                      <a:pt x="8549" y="-1350"/>
                      <a:pt x="15261" y="-585"/>
                      <a:pt x="18919" y="3968"/>
                    </a:cubicBezTo>
                    <a:lnTo>
                      <a:pt x="106112" y="112347"/>
                    </a:lnTo>
                    <a:cubicBezTo>
                      <a:pt x="109792" y="116931"/>
                      <a:pt x="109069" y="123621"/>
                      <a:pt x="104495" y="127301"/>
                    </a:cubicBezTo>
                    <a:cubicBezTo>
                      <a:pt x="102528" y="128886"/>
                      <a:pt x="100167" y="129652"/>
                      <a:pt x="97837" y="129652"/>
                    </a:cubicBezTo>
                    <a:close/>
                  </a:path>
                </a:pathLst>
              </a:custGeom>
              <a:grpFill/>
              <a:ln w="1063" cap="flat">
                <a:noFill/>
                <a:prstDash val="solid"/>
                <a:miter/>
              </a:ln>
            </p:spPr>
            <p:txBody>
              <a:bodyPr rtlCol="0" anchor="ctr"/>
              <a:lstStyle/>
              <a:p>
                <a:endParaRPr lang="en-GB" dirty="0"/>
              </a:p>
            </p:txBody>
          </p:sp>
          <p:sp>
            <p:nvSpPr>
              <p:cNvPr id="446" name="Freeform: Shape 445">
                <a:extLst>
                  <a:ext uri="{FF2B5EF4-FFF2-40B4-BE49-F238E27FC236}">
                    <a16:creationId xmlns:a16="http://schemas.microsoft.com/office/drawing/2014/main" id="{E78B8F36-BF07-4C57-B796-FA475BC34D9A}"/>
                  </a:ext>
                </a:extLst>
              </p:cNvPr>
              <p:cNvSpPr/>
              <p:nvPr/>
            </p:nvSpPr>
            <p:spPr>
              <a:xfrm>
                <a:off x="2493776" y="3517987"/>
                <a:ext cx="286404" cy="74736"/>
              </a:xfrm>
              <a:custGeom>
                <a:avLst/>
                <a:gdLst>
                  <a:gd name="connsiteX0" fmla="*/ 223353 w 446705"/>
                  <a:gd name="connsiteY0" fmla="*/ 116567 h 116566"/>
                  <a:gd name="connsiteX1" fmla="*/ 0 w 446705"/>
                  <a:gd name="connsiteY1" fmla="*/ 46072 h 116566"/>
                  <a:gd name="connsiteX2" fmla="*/ 37332 w 446705"/>
                  <a:gd name="connsiteY2" fmla="*/ 5220 h 116566"/>
                  <a:gd name="connsiteX3" fmla="*/ 51435 w 446705"/>
                  <a:gd name="connsiteY3" fmla="*/ 10432 h 116566"/>
                  <a:gd name="connsiteX4" fmla="*/ 46223 w 446705"/>
                  <a:gd name="connsiteY4" fmla="*/ 24535 h 116566"/>
                  <a:gd name="connsiteX5" fmla="*/ 21272 w 446705"/>
                  <a:gd name="connsiteY5" fmla="*/ 46062 h 116566"/>
                  <a:gd name="connsiteX6" fmla="*/ 223353 w 446705"/>
                  <a:gd name="connsiteY6" fmla="*/ 95285 h 116566"/>
                  <a:gd name="connsiteX7" fmla="*/ 425434 w 446705"/>
                  <a:gd name="connsiteY7" fmla="*/ 46062 h 116566"/>
                  <a:gd name="connsiteX8" fmla="*/ 391804 w 446705"/>
                  <a:gd name="connsiteY8" fmla="*/ 20610 h 116566"/>
                  <a:gd name="connsiteX9" fmla="*/ 385497 w 446705"/>
                  <a:gd name="connsiteY9" fmla="*/ 6954 h 116566"/>
                  <a:gd name="connsiteX10" fmla="*/ 399153 w 446705"/>
                  <a:gd name="connsiteY10" fmla="*/ 647 h 116566"/>
                  <a:gd name="connsiteX11" fmla="*/ 446706 w 446705"/>
                  <a:gd name="connsiteY11" fmla="*/ 46062 h 116566"/>
                  <a:gd name="connsiteX12" fmla="*/ 223353 w 446705"/>
                  <a:gd name="connsiteY12" fmla="*/ 116567 h 116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6705" h="116566">
                    <a:moveTo>
                      <a:pt x="223353" y="116567"/>
                    </a:moveTo>
                    <a:cubicBezTo>
                      <a:pt x="112357" y="116567"/>
                      <a:pt x="0" y="92360"/>
                      <a:pt x="0" y="46072"/>
                    </a:cubicBezTo>
                    <a:cubicBezTo>
                      <a:pt x="0" y="30353"/>
                      <a:pt x="12561" y="16600"/>
                      <a:pt x="37332" y="5220"/>
                    </a:cubicBezTo>
                    <a:cubicBezTo>
                      <a:pt x="42692" y="2763"/>
                      <a:pt x="48989" y="5103"/>
                      <a:pt x="51435" y="10432"/>
                    </a:cubicBezTo>
                    <a:cubicBezTo>
                      <a:pt x="53892" y="15771"/>
                      <a:pt x="51563" y="22088"/>
                      <a:pt x="46223" y="24535"/>
                    </a:cubicBezTo>
                    <a:cubicBezTo>
                      <a:pt x="30599" y="31725"/>
                      <a:pt x="21272" y="39776"/>
                      <a:pt x="21272" y="46062"/>
                    </a:cubicBezTo>
                    <a:cubicBezTo>
                      <a:pt x="21272" y="66131"/>
                      <a:pt x="99988" y="95285"/>
                      <a:pt x="223353" y="95285"/>
                    </a:cubicBezTo>
                    <a:cubicBezTo>
                      <a:pt x="346718" y="95285"/>
                      <a:pt x="425434" y="66131"/>
                      <a:pt x="425434" y="46062"/>
                    </a:cubicBezTo>
                    <a:cubicBezTo>
                      <a:pt x="425434" y="37638"/>
                      <a:pt x="413490" y="28597"/>
                      <a:pt x="391804" y="20610"/>
                    </a:cubicBezTo>
                    <a:cubicBezTo>
                      <a:pt x="386284" y="18579"/>
                      <a:pt x="383476" y="12463"/>
                      <a:pt x="385497" y="6954"/>
                    </a:cubicBezTo>
                    <a:cubicBezTo>
                      <a:pt x="387528" y="1434"/>
                      <a:pt x="393654" y="-1353"/>
                      <a:pt x="399153" y="647"/>
                    </a:cubicBezTo>
                    <a:cubicBezTo>
                      <a:pt x="410906" y="4975"/>
                      <a:pt x="446706" y="18153"/>
                      <a:pt x="446706" y="46062"/>
                    </a:cubicBezTo>
                    <a:cubicBezTo>
                      <a:pt x="446706" y="92360"/>
                      <a:pt x="334338" y="116567"/>
                      <a:pt x="223353" y="116567"/>
                    </a:cubicBezTo>
                    <a:close/>
                  </a:path>
                </a:pathLst>
              </a:custGeom>
              <a:grpFill/>
              <a:ln w="1063" cap="flat">
                <a:noFill/>
                <a:prstDash val="solid"/>
                <a:miter/>
              </a:ln>
            </p:spPr>
            <p:txBody>
              <a:bodyPr rtlCol="0" anchor="ctr"/>
              <a:lstStyle/>
              <a:p>
                <a:endParaRPr lang="en-GB" dirty="0"/>
              </a:p>
            </p:txBody>
          </p:sp>
          <p:sp>
            <p:nvSpPr>
              <p:cNvPr id="447" name="Freeform: Shape 446">
                <a:extLst>
                  <a:ext uri="{FF2B5EF4-FFF2-40B4-BE49-F238E27FC236}">
                    <a16:creationId xmlns:a16="http://schemas.microsoft.com/office/drawing/2014/main" id="{EA904C7C-BF89-4C5D-BB44-18A5F1E25AAB}"/>
                  </a:ext>
                </a:extLst>
              </p:cNvPr>
              <p:cNvSpPr/>
              <p:nvPr/>
            </p:nvSpPr>
            <p:spPr>
              <a:xfrm>
                <a:off x="2740894" y="3447662"/>
                <a:ext cx="69503" cy="83690"/>
              </a:xfrm>
              <a:custGeom>
                <a:avLst/>
                <a:gdLst>
                  <a:gd name="connsiteX0" fmla="*/ 10627 w 108404"/>
                  <a:gd name="connsiteY0" fmla="*/ 130531 h 130531"/>
                  <a:gd name="connsiteX1" fmla="*/ 4012 w 108404"/>
                  <a:gd name="connsiteY1" fmla="*/ 128213 h 130531"/>
                  <a:gd name="connsiteX2" fmla="*/ 2321 w 108404"/>
                  <a:gd name="connsiteY2" fmla="*/ 113269 h 130531"/>
                  <a:gd name="connsiteX3" fmla="*/ 89449 w 108404"/>
                  <a:gd name="connsiteY3" fmla="*/ 4007 h 130531"/>
                  <a:gd name="connsiteX4" fmla="*/ 104393 w 108404"/>
                  <a:gd name="connsiteY4" fmla="*/ 2316 h 130531"/>
                  <a:gd name="connsiteX5" fmla="*/ 106084 w 108404"/>
                  <a:gd name="connsiteY5" fmla="*/ 17259 h 130531"/>
                  <a:gd name="connsiteX6" fmla="*/ 18955 w 108404"/>
                  <a:gd name="connsiteY6" fmla="*/ 126522 h 130531"/>
                  <a:gd name="connsiteX7" fmla="*/ 10627 w 108404"/>
                  <a:gd name="connsiteY7" fmla="*/ 130531 h 130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404" h="130531">
                    <a:moveTo>
                      <a:pt x="10627" y="130531"/>
                    </a:moveTo>
                    <a:cubicBezTo>
                      <a:pt x="8298" y="130531"/>
                      <a:pt x="5969" y="129776"/>
                      <a:pt x="4012" y="128213"/>
                    </a:cubicBezTo>
                    <a:cubicBezTo>
                      <a:pt x="-594" y="124543"/>
                      <a:pt x="-1338" y="117853"/>
                      <a:pt x="2321" y="113269"/>
                    </a:cubicBezTo>
                    <a:lnTo>
                      <a:pt x="89449" y="4007"/>
                    </a:lnTo>
                    <a:cubicBezTo>
                      <a:pt x="93129" y="-598"/>
                      <a:pt x="99830" y="-1332"/>
                      <a:pt x="104393" y="2316"/>
                    </a:cubicBezTo>
                    <a:cubicBezTo>
                      <a:pt x="108998" y="5985"/>
                      <a:pt x="109743" y="12675"/>
                      <a:pt x="106084" y="17259"/>
                    </a:cubicBezTo>
                    <a:lnTo>
                      <a:pt x="18955" y="126522"/>
                    </a:lnTo>
                    <a:cubicBezTo>
                      <a:pt x="16849" y="129159"/>
                      <a:pt x="13754" y="130531"/>
                      <a:pt x="10627" y="130531"/>
                    </a:cubicBezTo>
                    <a:close/>
                  </a:path>
                </a:pathLst>
              </a:custGeom>
              <a:grpFill/>
              <a:ln w="1063" cap="flat">
                <a:noFill/>
                <a:prstDash val="solid"/>
                <a:miter/>
              </a:ln>
            </p:spPr>
            <p:txBody>
              <a:bodyPr rtlCol="0" anchor="ctr"/>
              <a:lstStyle/>
              <a:p>
                <a:endParaRPr lang="en-GB" dirty="0"/>
              </a:p>
            </p:txBody>
          </p:sp>
        </p:grpSp>
      </p:grpSp>
      <p:grpSp>
        <p:nvGrpSpPr>
          <p:cNvPr id="494" name="Group 493">
            <a:extLst>
              <a:ext uri="{FF2B5EF4-FFF2-40B4-BE49-F238E27FC236}">
                <a16:creationId xmlns:a16="http://schemas.microsoft.com/office/drawing/2014/main" id="{453512D4-9D86-4F04-BC28-12A91838566B}"/>
              </a:ext>
            </a:extLst>
          </p:cNvPr>
          <p:cNvGrpSpPr/>
          <p:nvPr/>
        </p:nvGrpSpPr>
        <p:grpSpPr>
          <a:xfrm>
            <a:off x="8113935" y="2400187"/>
            <a:ext cx="457464" cy="432736"/>
            <a:chOff x="1584872" y="3973829"/>
            <a:chExt cx="504620" cy="477342"/>
          </a:xfrm>
        </p:grpSpPr>
        <p:grpSp>
          <p:nvGrpSpPr>
            <p:cNvPr id="495" name="Group 494">
              <a:extLst>
                <a:ext uri="{FF2B5EF4-FFF2-40B4-BE49-F238E27FC236}">
                  <a16:creationId xmlns:a16="http://schemas.microsoft.com/office/drawing/2014/main" id="{C884EDF1-9E1E-4A0F-8697-1DEC46136103}"/>
                </a:ext>
              </a:extLst>
            </p:cNvPr>
            <p:cNvGrpSpPr/>
            <p:nvPr/>
          </p:nvGrpSpPr>
          <p:grpSpPr>
            <a:xfrm>
              <a:off x="1584872" y="3973829"/>
              <a:ext cx="504620" cy="477342"/>
              <a:chOff x="1584873" y="3973832"/>
              <a:chExt cx="504620" cy="477342"/>
            </a:xfrm>
          </p:grpSpPr>
          <p:sp>
            <p:nvSpPr>
              <p:cNvPr id="506" name="Freeform: Shape 505">
                <a:extLst>
                  <a:ext uri="{FF2B5EF4-FFF2-40B4-BE49-F238E27FC236}">
                    <a16:creationId xmlns:a16="http://schemas.microsoft.com/office/drawing/2014/main" id="{19278A42-8897-47C0-880C-D137D64F4132}"/>
                  </a:ext>
                </a:extLst>
              </p:cNvPr>
              <p:cNvSpPr/>
              <p:nvPr/>
            </p:nvSpPr>
            <p:spPr>
              <a:xfrm>
                <a:off x="1584873" y="3973832"/>
                <a:ext cx="504620" cy="259170"/>
              </a:xfrm>
              <a:custGeom>
                <a:avLst/>
                <a:gdLst>
                  <a:gd name="connsiteX0" fmla="*/ 10638 w 787058"/>
                  <a:gd name="connsiteY0" fmla="*/ 404229 h 404228"/>
                  <a:gd name="connsiteX1" fmla="*/ 3119 w 787058"/>
                  <a:gd name="connsiteY1" fmla="*/ 401113 h 404228"/>
                  <a:gd name="connsiteX2" fmla="*/ 3119 w 787058"/>
                  <a:gd name="connsiteY2" fmla="*/ 386074 h 404228"/>
                  <a:gd name="connsiteX3" fmla="*/ 386063 w 787058"/>
                  <a:gd name="connsiteY3" fmla="*/ 3119 h 404228"/>
                  <a:gd name="connsiteX4" fmla="*/ 401102 w 787058"/>
                  <a:gd name="connsiteY4" fmla="*/ 3119 h 404228"/>
                  <a:gd name="connsiteX5" fmla="*/ 783940 w 787058"/>
                  <a:gd name="connsiteY5" fmla="*/ 385946 h 404228"/>
                  <a:gd name="connsiteX6" fmla="*/ 783940 w 787058"/>
                  <a:gd name="connsiteY6" fmla="*/ 400985 h 404228"/>
                  <a:gd name="connsiteX7" fmla="*/ 768901 w 787058"/>
                  <a:gd name="connsiteY7" fmla="*/ 400985 h 404228"/>
                  <a:gd name="connsiteX8" fmla="*/ 393583 w 787058"/>
                  <a:gd name="connsiteY8" fmla="*/ 25678 h 404228"/>
                  <a:gd name="connsiteX9" fmla="*/ 18158 w 787058"/>
                  <a:gd name="connsiteY9" fmla="*/ 401113 h 404228"/>
                  <a:gd name="connsiteX10" fmla="*/ 10638 w 787058"/>
                  <a:gd name="connsiteY10" fmla="*/ 404229 h 404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7058" h="404228">
                    <a:moveTo>
                      <a:pt x="10638" y="404229"/>
                    </a:moveTo>
                    <a:cubicBezTo>
                      <a:pt x="7916" y="404229"/>
                      <a:pt x="5193" y="403187"/>
                      <a:pt x="3119" y="401113"/>
                    </a:cubicBezTo>
                    <a:cubicBezTo>
                      <a:pt x="-1040" y="396954"/>
                      <a:pt x="-1040" y="390232"/>
                      <a:pt x="3119" y="386074"/>
                    </a:cubicBezTo>
                    <a:lnTo>
                      <a:pt x="386063" y="3119"/>
                    </a:lnTo>
                    <a:cubicBezTo>
                      <a:pt x="390222" y="-1040"/>
                      <a:pt x="396944" y="-1040"/>
                      <a:pt x="401102" y="3119"/>
                    </a:cubicBezTo>
                    <a:lnTo>
                      <a:pt x="783940" y="385946"/>
                    </a:lnTo>
                    <a:cubicBezTo>
                      <a:pt x="788098" y="390105"/>
                      <a:pt x="788098" y="396826"/>
                      <a:pt x="783940" y="400985"/>
                    </a:cubicBezTo>
                    <a:cubicBezTo>
                      <a:pt x="779781" y="405144"/>
                      <a:pt x="773059" y="405144"/>
                      <a:pt x="768901" y="400985"/>
                    </a:cubicBezTo>
                    <a:lnTo>
                      <a:pt x="393583" y="25678"/>
                    </a:lnTo>
                    <a:lnTo>
                      <a:pt x="18158" y="401113"/>
                    </a:lnTo>
                    <a:cubicBezTo>
                      <a:pt x="16084" y="403197"/>
                      <a:pt x="13361" y="404229"/>
                      <a:pt x="10638" y="404229"/>
                    </a:cubicBezTo>
                    <a:close/>
                  </a:path>
                </a:pathLst>
              </a:custGeom>
              <a:solidFill>
                <a:schemeClr val="tx2"/>
              </a:solidFill>
              <a:ln w="1063" cap="flat">
                <a:noFill/>
                <a:prstDash val="solid"/>
                <a:miter/>
              </a:ln>
            </p:spPr>
            <p:txBody>
              <a:bodyPr rtlCol="0" anchor="ctr"/>
              <a:lstStyle/>
              <a:p>
                <a:endParaRPr lang="en-GB" dirty="0"/>
              </a:p>
            </p:txBody>
          </p:sp>
          <p:sp>
            <p:nvSpPr>
              <p:cNvPr id="507" name="Freeform: Shape 506">
                <a:extLst>
                  <a:ext uri="{FF2B5EF4-FFF2-40B4-BE49-F238E27FC236}">
                    <a16:creationId xmlns:a16="http://schemas.microsoft.com/office/drawing/2014/main" id="{2E9E6AC4-2852-4666-A74A-EB7A25B680E4}"/>
                  </a:ext>
                </a:extLst>
              </p:cNvPr>
              <p:cNvSpPr/>
              <p:nvPr/>
            </p:nvSpPr>
            <p:spPr>
              <a:xfrm>
                <a:off x="1977658" y="4076121"/>
                <a:ext cx="62736" cy="102287"/>
              </a:xfrm>
              <a:custGeom>
                <a:avLst/>
                <a:gdLst>
                  <a:gd name="connsiteX0" fmla="*/ 87214 w 97849"/>
                  <a:gd name="connsiteY0" fmla="*/ 159538 h 159537"/>
                  <a:gd name="connsiteX1" fmla="*/ 76578 w 97849"/>
                  <a:gd name="connsiteY1" fmla="*/ 148902 h 159537"/>
                  <a:gd name="connsiteX2" fmla="*/ 76578 w 97849"/>
                  <a:gd name="connsiteY2" fmla="*/ 21272 h 159537"/>
                  <a:gd name="connsiteX3" fmla="*/ 10636 w 97849"/>
                  <a:gd name="connsiteY3" fmla="*/ 21272 h 159537"/>
                  <a:gd name="connsiteX4" fmla="*/ 0 w 97849"/>
                  <a:gd name="connsiteY4" fmla="*/ 10636 h 159537"/>
                  <a:gd name="connsiteX5" fmla="*/ 10636 w 97849"/>
                  <a:gd name="connsiteY5" fmla="*/ 0 h 159537"/>
                  <a:gd name="connsiteX6" fmla="*/ 87214 w 97849"/>
                  <a:gd name="connsiteY6" fmla="*/ 0 h 159537"/>
                  <a:gd name="connsiteX7" fmla="*/ 97850 w 97849"/>
                  <a:gd name="connsiteY7" fmla="*/ 10636 h 159537"/>
                  <a:gd name="connsiteX8" fmla="*/ 97850 w 97849"/>
                  <a:gd name="connsiteY8" fmla="*/ 148902 h 159537"/>
                  <a:gd name="connsiteX9" fmla="*/ 87214 w 97849"/>
                  <a:gd name="connsiteY9" fmla="*/ 159538 h 15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849" h="159537">
                    <a:moveTo>
                      <a:pt x="87214" y="159538"/>
                    </a:moveTo>
                    <a:cubicBezTo>
                      <a:pt x="81343" y="159538"/>
                      <a:pt x="76578" y="154784"/>
                      <a:pt x="76578" y="148902"/>
                    </a:cubicBezTo>
                    <a:lnTo>
                      <a:pt x="76578" y="21272"/>
                    </a:lnTo>
                    <a:lnTo>
                      <a:pt x="10636" y="21272"/>
                    </a:lnTo>
                    <a:cubicBezTo>
                      <a:pt x="4765" y="21272"/>
                      <a:pt x="0" y="16518"/>
                      <a:pt x="0" y="10636"/>
                    </a:cubicBezTo>
                    <a:cubicBezTo>
                      <a:pt x="0" y="4754"/>
                      <a:pt x="4765" y="0"/>
                      <a:pt x="10636" y="0"/>
                    </a:cubicBezTo>
                    <a:lnTo>
                      <a:pt x="87214" y="0"/>
                    </a:lnTo>
                    <a:cubicBezTo>
                      <a:pt x="93085" y="0"/>
                      <a:pt x="97850" y="4754"/>
                      <a:pt x="97850" y="10636"/>
                    </a:cubicBezTo>
                    <a:lnTo>
                      <a:pt x="97850" y="148902"/>
                    </a:lnTo>
                    <a:cubicBezTo>
                      <a:pt x="97850" y="154784"/>
                      <a:pt x="93085" y="159538"/>
                      <a:pt x="87214" y="159538"/>
                    </a:cubicBezTo>
                    <a:close/>
                  </a:path>
                </a:pathLst>
              </a:custGeom>
              <a:solidFill>
                <a:schemeClr val="tx2"/>
              </a:solidFill>
              <a:ln w="1063" cap="flat">
                <a:noFill/>
                <a:prstDash val="solid"/>
                <a:miter/>
              </a:ln>
            </p:spPr>
            <p:txBody>
              <a:bodyPr rtlCol="0" anchor="ctr"/>
              <a:lstStyle/>
              <a:p>
                <a:endParaRPr lang="en-GB" dirty="0"/>
              </a:p>
            </p:txBody>
          </p:sp>
          <p:sp>
            <p:nvSpPr>
              <p:cNvPr id="508" name="Freeform: Shape 507">
                <a:extLst>
                  <a:ext uri="{FF2B5EF4-FFF2-40B4-BE49-F238E27FC236}">
                    <a16:creationId xmlns:a16="http://schemas.microsoft.com/office/drawing/2014/main" id="{3861F7BD-B580-4FFF-A8A5-C69BA7EA584C}"/>
                  </a:ext>
                </a:extLst>
              </p:cNvPr>
              <p:cNvSpPr/>
              <p:nvPr/>
            </p:nvSpPr>
            <p:spPr>
              <a:xfrm>
                <a:off x="1633973" y="4212504"/>
                <a:ext cx="406421" cy="238670"/>
              </a:xfrm>
              <a:custGeom>
                <a:avLst/>
                <a:gdLst>
                  <a:gd name="connsiteX0" fmla="*/ 623261 w 633896"/>
                  <a:gd name="connsiteY0" fmla="*/ 372255 h 372254"/>
                  <a:gd name="connsiteX1" fmla="*/ 10636 w 633896"/>
                  <a:gd name="connsiteY1" fmla="*/ 372255 h 372254"/>
                  <a:gd name="connsiteX2" fmla="*/ 0 w 633896"/>
                  <a:gd name="connsiteY2" fmla="*/ 361619 h 372254"/>
                  <a:gd name="connsiteX3" fmla="*/ 0 w 633896"/>
                  <a:gd name="connsiteY3" fmla="*/ 10636 h 372254"/>
                  <a:gd name="connsiteX4" fmla="*/ 10636 w 633896"/>
                  <a:gd name="connsiteY4" fmla="*/ 0 h 372254"/>
                  <a:gd name="connsiteX5" fmla="*/ 21272 w 633896"/>
                  <a:gd name="connsiteY5" fmla="*/ 10636 h 372254"/>
                  <a:gd name="connsiteX6" fmla="*/ 21272 w 633896"/>
                  <a:gd name="connsiteY6" fmla="*/ 350983 h 372254"/>
                  <a:gd name="connsiteX7" fmla="*/ 612625 w 633896"/>
                  <a:gd name="connsiteY7" fmla="*/ 350983 h 372254"/>
                  <a:gd name="connsiteX8" fmla="*/ 612625 w 633896"/>
                  <a:gd name="connsiteY8" fmla="*/ 10636 h 372254"/>
                  <a:gd name="connsiteX9" fmla="*/ 623261 w 633896"/>
                  <a:gd name="connsiteY9" fmla="*/ 0 h 372254"/>
                  <a:gd name="connsiteX10" fmla="*/ 633897 w 633896"/>
                  <a:gd name="connsiteY10" fmla="*/ 10636 h 372254"/>
                  <a:gd name="connsiteX11" fmla="*/ 633897 w 633896"/>
                  <a:gd name="connsiteY11" fmla="*/ 361619 h 372254"/>
                  <a:gd name="connsiteX12" fmla="*/ 623261 w 633896"/>
                  <a:gd name="connsiteY12" fmla="*/ 372255 h 37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3896" h="372254">
                    <a:moveTo>
                      <a:pt x="623261" y="372255"/>
                    </a:moveTo>
                    <a:lnTo>
                      <a:pt x="10636" y="372255"/>
                    </a:lnTo>
                    <a:cubicBezTo>
                      <a:pt x="4765" y="372255"/>
                      <a:pt x="0" y="367501"/>
                      <a:pt x="0" y="361619"/>
                    </a:cubicBezTo>
                    <a:lnTo>
                      <a:pt x="0" y="10636"/>
                    </a:lnTo>
                    <a:cubicBezTo>
                      <a:pt x="0" y="4754"/>
                      <a:pt x="4765" y="0"/>
                      <a:pt x="10636" y="0"/>
                    </a:cubicBezTo>
                    <a:cubicBezTo>
                      <a:pt x="16507" y="0"/>
                      <a:pt x="21272" y="4754"/>
                      <a:pt x="21272" y="10636"/>
                    </a:cubicBezTo>
                    <a:lnTo>
                      <a:pt x="21272" y="350983"/>
                    </a:lnTo>
                    <a:lnTo>
                      <a:pt x="612625" y="350983"/>
                    </a:lnTo>
                    <a:lnTo>
                      <a:pt x="612625" y="10636"/>
                    </a:lnTo>
                    <a:cubicBezTo>
                      <a:pt x="612625" y="4754"/>
                      <a:pt x="617390" y="0"/>
                      <a:pt x="623261" y="0"/>
                    </a:cubicBezTo>
                    <a:cubicBezTo>
                      <a:pt x="629132" y="0"/>
                      <a:pt x="633897" y="4754"/>
                      <a:pt x="633897" y="10636"/>
                    </a:cubicBezTo>
                    <a:lnTo>
                      <a:pt x="633897" y="361619"/>
                    </a:lnTo>
                    <a:cubicBezTo>
                      <a:pt x="633897" y="367501"/>
                      <a:pt x="629132" y="372255"/>
                      <a:pt x="623261" y="372255"/>
                    </a:cubicBezTo>
                    <a:close/>
                  </a:path>
                </a:pathLst>
              </a:custGeom>
              <a:solidFill>
                <a:schemeClr val="tx2"/>
              </a:solidFill>
              <a:ln w="1063" cap="flat">
                <a:noFill/>
                <a:prstDash val="solid"/>
                <a:miter/>
              </a:ln>
            </p:spPr>
            <p:txBody>
              <a:bodyPr rtlCol="0" anchor="ctr"/>
              <a:lstStyle/>
              <a:p>
                <a:endParaRPr lang="en-GB" dirty="0"/>
              </a:p>
            </p:txBody>
          </p:sp>
        </p:grpSp>
        <p:grpSp>
          <p:nvGrpSpPr>
            <p:cNvPr id="496" name="Graphic 818">
              <a:extLst>
                <a:ext uri="{FF2B5EF4-FFF2-40B4-BE49-F238E27FC236}">
                  <a16:creationId xmlns:a16="http://schemas.microsoft.com/office/drawing/2014/main" id="{43A3E251-3208-4646-8085-C827966A94EC}"/>
                </a:ext>
              </a:extLst>
            </p:cNvPr>
            <p:cNvGrpSpPr/>
            <p:nvPr/>
          </p:nvGrpSpPr>
          <p:grpSpPr>
            <a:xfrm>
              <a:off x="1727552" y="4100886"/>
              <a:ext cx="222670" cy="317317"/>
              <a:chOff x="3712016" y="4248616"/>
              <a:chExt cx="347299" cy="494921"/>
            </a:xfrm>
            <a:solidFill>
              <a:schemeClr val="accent1"/>
            </a:solidFill>
          </p:grpSpPr>
          <p:sp>
            <p:nvSpPr>
              <p:cNvPr id="497" name="Freeform: Shape 496">
                <a:extLst>
                  <a:ext uri="{FF2B5EF4-FFF2-40B4-BE49-F238E27FC236}">
                    <a16:creationId xmlns:a16="http://schemas.microsoft.com/office/drawing/2014/main" id="{6CC7936C-2BEA-4765-B4AA-5FE21964E22F}"/>
                  </a:ext>
                </a:extLst>
              </p:cNvPr>
              <p:cNvSpPr/>
              <p:nvPr/>
            </p:nvSpPr>
            <p:spPr>
              <a:xfrm>
                <a:off x="3815359" y="4458147"/>
                <a:ext cx="226158" cy="146688"/>
              </a:xfrm>
              <a:custGeom>
                <a:avLst/>
                <a:gdLst>
                  <a:gd name="connsiteX0" fmla="*/ 195981 w 226158"/>
                  <a:gd name="connsiteY0" fmla="*/ 146689 h 146688"/>
                  <a:gd name="connsiteX1" fmla="*/ 194748 w 226158"/>
                  <a:gd name="connsiteY1" fmla="*/ 146657 h 146688"/>
                  <a:gd name="connsiteX2" fmla="*/ 84188 w 226158"/>
                  <a:gd name="connsiteY2" fmla="*/ 142169 h 146688"/>
                  <a:gd name="connsiteX3" fmla="*/ 38975 w 226158"/>
                  <a:gd name="connsiteY3" fmla="*/ 115962 h 146688"/>
                  <a:gd name="connsiteX4" fmla="*/ 1632 w 226158"/>
                  <a:gd name="connsiteY4" fmla="*/ 56497 h 146688"/>
                  <a:gd name="connsiteX5" fmla="*/ 4983 w 226158"/>
                  <a:gd name="connsiteY5" fmla="*/ 41830 h 146688"/>
                  <a:gd name="connsiteX6" fmla="*/ 19639 w 226158"/>
                  <a:gd name="connsiteY6" fmla="*/ 45169 h 146688"/>
                  <a:gd name="connsiteX7" fmla="*/ 56981 w 226158"/>
                  <a:gd name="connsiteY7" fmla="*/ 104645 h 146688"/>
                  <a:gd name="connsiteX8" fmla="*/ 85039 w 226158"/>
                  <a:gd name="connsiteY8" fmla="*/ 120907 h 146688"/>
                  <a:gd name="connsiteX9" fmla="*/ 195599 w 226158"/>
                  <a:gd name="connsiteY9" fmla="*/ 125396 h 146688"/>
                  <a:gd name="connsiteX10" fmla="*/ 201991 w 226158"/>
                  <a:gd name="connsiteY10" fmla="*/ 122992 h 146688"/>
                  <a:gd name="connsiteX11" fmla="*/ 204724 w 226158"/>
                  <a:gd name="connsiteY11" fmla="*/ 116749 h 146688"/>
                  <a:gd name="connsiteX12" fmla="*/ 204884 w 226158"/>
                  <a:gd name="connsiteY12" fmla="*/ 105688 h 146688"/>
                  <a:gd name="connsiteX13" fmla="*/ 196492 w 226158"/>
                  <a:gd name="connsiteY13" fmla="*/ 96796 h 146688"/>
                  <a:gd name="connsiteX14" fmla="*/ 103364 w 226158"/>
                  <a:gd name="connsiteY14" fmla="*/ 92744 h 146688"/>
                  <a:gd name="connsiteX15" fmla="*/ 94388 w 226158"/>
                  <a:gd name="connsiteY15" fmla="*/ 87011 h 146688"/>
                  <a:gd name="connsiteX16" fmla="*/ 57322 w 226158"/>
                  <a:gd name="connsiteY16" fmla="*/ 15528 h 146688"/>
                  <a:gd name="connsiteX17" fmla="*/ 61863 w 226158"/>
                  <a:gd name="connsiteY17" fmla="*/ 1191 h 146688"/>
                  <a:gd name="connsiteX18" fmla="*/ 76200 w 226158"/>
                  <a:gd name="connsiteY18" fmla="*/ 5743 h 146688"/>
                  <a:gd name="connsiteX19" fmla="*/ 110437 w 226158"/>
                  <a:gd name="connsiteY19" fmla="*/ 71759 h 146688"/>
                  <a:gd name="connsiteX20" fmla="*/ 197417 w 226158"/>
                  <a:gd name="connsiteY20" fmla="*/ 75535 h 146688"/>
                  <a:gd name="connsiteX21" fmla="*/ 226155 w 226158"/>
                  <a:gd name="connsiteY21" fmla="*/ 105964 h 146688"/>
                  <a:gd name="connsiteX22" fmla="*/ 225996 w 226158"/>
                  <a:gd name="connsiteY22" fmla="*/ 117025 h 146688"/>
                  <a:gd name="connsiteX23" fmla="*/ 216626 w 226158"/>
                  <a:gd name="connsiteY23" fmla="*/ 138414 h 146688"/>
                  <a:gd name="connsiteX24" fmla="*/ 195981 w 226158"/>
                  <a:gd name="connsiteY24" fmla="*/ 146689 h 14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6158" h="146688">
                    <a:moveTo>
                      <a:pt x="195981" y="146689"/>
                    </a:moveTo>
                    <a:cubicBezTo>
                      <a:pt x="195567" y="146689"/>
                      <a:pt x="195162" y="146678"/>
                      <a:pt x="194748" y="146657"/>
                    </a:cubicBezTo>
                    <a:lnTo>
                      <a:pt x="84188" y="142169"/>
                    </a:lnTo>
                    <a:cubicBezTo>
                      <a:pt x="65713" y="141435"/>
                      <a:pt x="48813" y="131628"/>
                      <a:pt x="38975" y="115962"/>
                    </a:cubicBezTo>
                    <a:lnTo>
                      <a:pt x="1632" y="56497"/>
                    </a:lnTo>
                    <a:cubicBezTo>
                      <a:pt x="-1495" y="51519"/>
                      <a:pt x="5" y="44957"/>
                      <a:pt x="4983" y="41830"/>
                    </a:cubicBezTo>
                    <a:cubicBezTo>
                      <a:pt x="9950" y="38714"/>
                      <a:pt x="16523" y="40224"/>
                      <a:pt x="19639" y="45169"/>
                    </a:cubicBezTo>
                    <a:lnTo>
                      <a:pt x="56981" y="104645"/>
                    </a:lnTo>
                    <a:cubicBezTo>
                      <a:pt x="63086" y="114366"/>
                      <a:pt x="73573" y="120439"/>
                      <a:pt x="85039" y="120907"/>
                    </a:cubicBezTo>
                    <a:lnTo>
                      <a:pt x="195599" y="125396"/>
                    </a:lnTo>
                    <a:cubicBezTo>
                      <a:pt x="198066" y="125396"/>
                      <a:pt x="200257" y="124641"/>
                      <a:pt x="201991" y="122992"/>
                    </a:cubicBezTo>
                    <a:cubicBezTo>
                      <a:pt x="203724" y="121355"/>
                      <a:pt x="204692" y="119131"/>
                      <a:pt x="204724" y="116749"/>
                    </a:cubicBezTo>
                    <a:lnTo>
                      <a:pt x="204884" y="105688"/>
                    </a:lnTo>
                    <a:cubicBezTo>
                      <a:pt x="204948" y="100912"/>
                      <a:pt x="201267" y="97009"/>
                      <a:pt x="196492" y="96796"/>
                    </a:cubicBezTo>
                    <a:lnTo>
                      <a:pt x="103364" y="92744"/>
                    </a:lnTo>
                    <a:cubicBezTo>
                      <a:pt x="99567" y="92574"/>
                      <a:pt x="96132" y="90393"/>
                      <a:pt x="94388" y="87011"/>
                    </a:cubicBezTo>
                    <a:lnTo>
                      <a:pt x="57322" y="15528"/>
                    </a:lnTo>
                    <a:cubicBezTo>
                      <a:pt x="54620" y="10316"/>
                      <a:pt x="56652" y="3892"/>
                      <a:pt x="61863" y="1191"/>
                    </a:cubicBezTo>
                    <a:cubicBezTo>
                      <a:pt x="67096" y="-1501"/>
                      <a:pt x="73510" y="520"/>
                      <a:pt x="76200" y="5743"/>
                    </a:cubicBezTo>
                    <a:lnTo>
                      <a:pt x="110437" y="71759"/>
                    </a:lnTo>
                    <a:lnTo>
                      <a:pt x="197417" y="75535"/>
                    </a:lnTo>
                    <a:cubicBezTo>
                      <a:pt x="213765" y="76248"/>
                      <a:pt x="226379" y="89617"/>
                      <a:pt x="226155" y="105964"/>
                    </a:cubicBezTo>
                    <a:lnTo>
                      <a:pt x="225996" y="117025"/>
                    </a:lnTo>
                    <a:cubicBezTo>
                      <a:pt x="225879" y="125204"/>
                      <a:pt x="222550" y="132788"/>
                      <a:pt x="216626" y="138414"/>
                    </a:cubicBezTo>
                    <a:cubicBezTo>
                      <a:pt x="210989" y="143774"/>
                      <a:pt x="203703" y="146689"/>
                      <a:pt x="195981" y="146689"/>
                    </a:cubicBezTo>
                    <a:close/>
                  </a:path>
                </a:pathLst>
              </a:custGeom>
              <a:solidFill>
                <a:schemeClr val="accent1"/>
              </a:solidFill>
              <a:ln w="1063" cap="flat">
                <a:noFill/>
                <a:prstDash val="solid"/>
                <a:miter/>
              </a:ln>
            </p:spPr>
            <p:txBody>
              <a:bodyPr rtlCol="0" anchor="ctr"/>
              <a:lstStyle/>
              <a:p>
                <a:endParaRPr lang="en-GB" dirty="0"/>
              </a:p>
            </p:txBody>
          </p:sp>
          <p:sp>
            <p:nvSpPr>
              <p:cNvPr id="498" name="Freeform: Shape 497">
                <a:extLst>
                  <a:ext uri="{FF2B5EF4-FFF2-40B4-BE49-F238E27FC236}">
                    <a16:creationId xmlns:a16="http://schemas.microsoft.com/office/drawing/2014/main" id="{00A74A32-09C1-413F-A5F6-AC8F9A8B18A6}"/>
                  </a:ext>
                </a:extLst>
              </p:cNvPr>
              <p:cNvSpPr/>
              <p:nvPr/>
            </p:nvSpPr>
            <p:spPr>
              <a:xfrm>
                <a:off x="3712016" y="4394054"/>
                <a:ext cx="209100" cy="349483"/>
              </a:xfrm>
              <a:custGeom>
                <a:avLst/>
                <a:gdLst>
                  <a:gd name="connsiteX0" fmla="*/ 105646 w 209100"/>
                  <a:gd name="connsiteY0" fmla="*/ 349484 h 349483"/>
                  <a:gd name="connsiteX1" fmla="*/ 0 w 209100"/>
                  <a:gd name="connsiteY1" fmla="*/ 243827 h 349483"/>
                  <a:gd name="connsiteX2" fmla="*/ 0 w 209100"/>
                  <a:gd name="connsiteY2" fmla="*/ 106146 h 349483"/>
                  <a:gd name="connsiteX3" fmla="*/ 106156 w 209100"/>
                  <a:gd name="connsiteY3" fmla="*/ 0 h 349483"/>
                  <a:gd name="connsiteX4" fmla="*/ 116792 w 209100"/>
                  <a:gd name="connsiteY4" fmla="*/ 10636 h 349483"/>
                  <a:gd name="connsiteX5" fmla="*/ 106156 w 209100"/>
                  <a:gd name="connsiteY5" fmla="*/ 21272 h 349483"/>
                  <a:gd name="connsiteX6" fmla="*/ 21272 w 209100"/>
                  <a:gd name="connsiteY6" fmla="*/ 106146 h 349483"/>
                  <a:gd name="connsiteX7" fmla="*/ 21272 w 209100"/>
                  <a:gd name="connsiteY7" fmla="*/ 243827 h 349483"/>
                  <a:gd name="connsiteX8" fmla="*/ 105646 w 209100"/>
                  <a:gd name="connsiteY8" fmla="*/ 328212 h 349483"/>
                  <a:gd name="connsiteX9" fmla="*/ 175375 w 209100"/>
                  <a:gd name="connsiteY9" fmla="*/ 224513 h 349483"/>
                  <a:gd name="connsiteX10" fmla="*/ 198465 w 209100"/>
                  <a:gd name="connsiteY10" fmla="*/ 185819 h 349483"/>
                  <a:gd name="connsiteX11" fmla="*/ 209101 w 209100"/>
                  <a:gd name="connsiteY11" fmla="*/ 196455 h 349483"/>
                  <a:gd name="connsiteX12" fmla="*/ 203857 w 209100"/>
                  <a:gd name="connsiteY12" fmla="*/ 205623 h 349483"/>
                  <a:gd name="connsiteX13" fmla="*/ 195795 w 209100"/>
                  <a:gd name="connsiteY13" fmla="*/ 230437 h 349483"/>
                  <a:gd name="connsiteX14" fmla="*/ 106890 w 209100"/>
                  <a:gd name="connsiteY14" fmla="*/ 349473 h 349483"/>
                  <a:gd name="connsiteX15" fmla="*/ 105646 w 209100"/>
                  <a:gd name="connsiteY15" fmla="*/ 349484 h 349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9100" h="349483">
                    <a:moveTo>
                      <a:pt x="105646" y="349484"/>
                    </a:moveTo>
                    <a:cubicBezTo>
                      <a:pt x="47393" y="349484"/>
                      <a:pt x="0" y="302091"/>
                      <a:pt x="0" y="243827"/>
                    </a:cubicBezTo>
                    <a:lnTo>
                      <a:pt x="0" y="106146"/>
                    </a:lnTo>
                    <a:cubicBezTo>
                      <a:pt x="0" y="47617"/>
                      <a:pt x="47627" y="0"/>
                      <a:pt x="106156" y="0"/>
                    </a:cubicBezTo>
                    <a:cubicBezTo>
                      <a:pt x="112027" y="0"/>
                      <a:pt x="116792" y="4754"/>
                      <a:pt x="116792" y="10636"/>
                    </a:cubicBezTo>
                    <a:cubicBezTo>
                      <a:pt x="116792" y="16518"/>
                      <a:pt x="112027" y="21272"/>
                      <a:pt x="106156" y="21272"/>
                    </a:cubicBezTo>
                    <a:cubicBezTo>
                      <a:pt x="59348" y="21272"/>
                      <a:pt x="21272" y="59348"/>
                      <a:pt x="21272" y="106146"/>
                    </a:cubicBezTo>
                    <a:lnTo>
                      <a:pt x="21272" y="243827"/>
                    </a:lnTo>
                    <a:cubicBezTo>
                      <a:pt x="21272" y="290359"/>
                      <a:pt x="59125" y="328212"/>
                      <a:pt x="105646" y="328212"/>
                    </a:cubicBezTo>
                    <a:cubicBezTo>
                      <a:pt x="145615" y="327000"/>
                      <a:pt x="164249" y="262844"/>
                      <a:pt x="175375" y="224513"/>
                    </a:cubicBezTo>
                    <a:cubicBezTo>
                      <a:pt x="183096" y="197944"/>
                      <a:pt x="186617" y="185819"/>
                      <a:pt x="198465" y="185819"/>
                    </a:cubicBezTo>
                    <a:cubicBezTo>
                      <a:pt x="204336" y="185819"/>
                      <a:pt x="209101" y="190573"/>
                      <a:pt x="209101" y="196455"/>
                    </a:cubicBezTo>
                    <a:cubicBezTo>
                      <a:pt x="209101" y="200359"/>
                      <a:pt x="206995" y="203773"/>
                      <a:pt x="203857" y="205623"/>
                    </a:cubicBezTo>
                    <a:cubicBezTo>
                      <a:pt x="201805" y="209761"/>
                      <a:pt x="198508" y="221119"/>
                      <a:pt x="195795" y="230437"/>
                    </a:cubicBezTo>
                    <a:cubicBezTo>
                      <a:pt x="183054" y="274320"/>
                      <a:pt x="161718" y="347782"/>
                      <a:pt x="106890" y="349473"/>
                    </a:cubicBezTo>
                    <a:cubicBezTo>
                      <a:pt x="106795" y="349484"/>
                      <a:pt x="105752" y="349484"/>
                      <a:pt x="105646" y="349484"/>
                    </a:cubicBezTo>
                    <a:close/>
                  </a:path>
                </a:pathLst>
              </a:custGeom>
              <a:solidFill>
                <a:schemeClr val="accent1"/>
              </a:solidFill>
              <a:ln w="1063" cap="flat">
                <a:noFill/>
                <a:prstDash val="solid"/>
                <a:miter/>
              </a:ln>
            </p:spPr>
            <p:txBody>
              <a:bodyPr rtlCol="0" anchor="ctr"/>
              <a:lstStyle/>
              <a:p>
                <a:endParaRPr lang="en-GB" dirty="0"/>
              </a:p>
            </p:txBody>
          </p:sp>
          <p:sp>
            <p:nvSpPr>
              <p:cNvPr id="499" name="Freeform: Shape 498">
                <a:extLst>
                  <a:ext uri="{FF2B5EF4-FFF2-40B4-BE49-F238E27FC236}">
                    <a16:creationId xmlns:a16="http://schemas.microsoft.com/office/drawing/2014/main" id="{C00976B9-F19A-45D0-9E1F-74578B5226C2}"/>
                  </a:ext>
                </a:extLst>
              </p:cNvPr>
              <p:cNvSpPr/>
              <p:nvPr/>
            </p:nvSpPr>
            <p:spPr>
              <a:xfrm>
                <a:off x="3812736" y="4519378"/>
                <a:ext cx="36751" cy="51976"/>
              </a:xfrm>
              <a:custGeom>
                <a:avLst/>
                <a:gdLst>
                  <a:gd name="connsiteX0" fmla="*/ 10637 w 36751"/>
                  <a:gd name="connsiteY0" fmla="*/ 51976 h 51976"/>
                  <a:gd name="connsiteX1" fmla="*/ 7212 w 36751"/>
                  <a:gd name="connsiteY1" fmla="*/ 51412 h 51976"/>
                  <a:gd name="connsiteX2" fmla="*/ 565 w 36751"/>
                  <a:gd name="connsiteY2" fmla="*/ 37937 h 51976"/>
                  <a:gd name="connsiteX3" fmla="*/ 17178 w 36751"/>
                  <a:gd name="connsiteY3" fmla="*/ 4881 h 51976"/>
                  <a:gd name="connsiteX4" fmla="*/ 31877 w 36751"/>
                  <a:gd name="connsiteY4" fmla="*/ 1690 h 51976"/>
                  <a:gd name="connsiteX5" fmla="*/ 35057 w 36751"/>
                  <a:gd name="connsiteY5" fmla="*/ 16389 h 51976"/>
                  <a:gd name="connsiteX6" fmla="*/ 20709 w 36751"/>
                  <a:gd name="connsiteY6" fmla="*/ 44776 h 51976"/>
                  <a:gd name="connsiteX7" fmla="*/ 10637 w 36751"/>
                  <a:gd name="connsiteY7" fmla="*/ 51976 h 51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51" h="51976">
                    <a:moveTo>
                      <a:pt x="10637" y="51976"/>
                    </a:moveTo>
                    <a:cubicBezTo>
                      <a:pt x="9499" y="51976"/>
                      <a:pt x="8350" y="51796"/>
                      <a:pt x="7212" y="51412"/>
                    </a:cubicBezTo>
                    <a:cubicBezTo>
                      <a:pt x="1660" y="49520"/>
                      <a:pt x="-1318" y="43499"/>
                      <a:pt x="565" y="37937"/>
                    </a:cubicBezTo>
                    <a:cubicBezTo>
                      <a:pt x="777" y="37299"/>
                      <a:pt x="5883" y="22398"/>
                      <a:pt x="17178" y="4881"/>
                    </a:cubicBezTo>
                    <a:cubicBezTo>
                      <a:pt x="20358" y="-65"/>
                      <a:pt x="26942" y="-1480"/>
                      <a:pt x="31877" y="1690"/>
                    </a:cubicBezTo>
                    <a:cubicBezTo>
                      <a:pt x="36812" y="4870"/>
                      <a:pt x="38237" y="11454"/>
                      <a:pt x="35057" y="16389"/>
                    </a:cubicBezTo>
                    <a:cubicBezTo>
                      <a:pt x="25272" y="31588"/>
                      <a:pt x="20752" y="44638"/>
                      <a:pt x="20709" y="44776"/>
                    </a:cubicBezTo>
                    <a:cubicBezTo>
                      <a:pt x="19188" y="49190"/>
                      <a:pt x="15061" y="51976"/>
                      <a:pt x="10637" y="51976"/>
                    </a:cubicBezTo>
                    <a:close/>
                  </a:path>
                </a:pathLst>
              </a:custGeom>
              <a:solidFill>
                <a:schemeClr val="accent1"/>
              </a:solidFill>
              <a:ln w="1063" cap="flat">
                <a:noFill/>
                <a:prstDash val="solid"/>
                <a:miter/>
              </a:ln>
            </p:spPr>
            <p:txBody>
              <a:bodyPr rtlCol="0" anchor="ctr"/>
              <a:lstStyle/>
              <a:p>
                <a:endParaRPr lang="en-GB" dirty="0"/>
              </a:p>
            </p:txBody>
          </p:sp>
          <p:sp>
            <p:nvSpPr>
              <p:cNvPr id="500" name="Freeform: Shape 499">
                <a:extLst>
                  <a:ext uri="{FF2B5EF4-FFF2-40B4-BE49-F238E27FC236}">
                    <a16:creationId xmlns:a16="http://schemas.microsoft.com/office/drawing/2014/main" id="{E2ED766E-66D2-4F9F-9E20-2C18C584A839}"/>
                  </a:ext>
                </a:extLst>
              </p:cNvPr>
              <p:cNvSpPr/>
              <p:nvPr/>
            </p:nvSpPr>
            <p:spPr>
              <a:xfrm>
                <a:off x="3885502" y="4471981"/>
                <a:ext cx="92986" cy="79027"/>
              </a:xfrm>
              <a:custGeom>
                <a:avLst/>
                <a:gdLst>
                  <a:gd name="connsiteX0" fmla="*/ 82359 w 92986"/>
                  <a:gd name="connsiteY0" fmla="*/ 79027 h 79027"/>
                  <a:gd name="connsiteX1" fmla="*/ 71968 w 92986"/>
                  <a:gd name="connsiteY1" fmla="*/ 70614 h 79027"/>
                  <a:gd name="connsiteX2" fmla="*/ 64353 w 92986"/>
                  <a:gd name="connsiteY2" fmla="*/ 35069 h 79027"/>
                  <a:gd name="connsiteX3" fmla="*/ 38901 w 92986"/>
                  <a:gd name="connsiteY3" fmla="*/ 21423 h 79027"/>
                  <a:gd name="connsiteX4" fmla="*/ 14832 w 92986"/>
                  <a:gd name="connsiteY4" fmla="*/ 27231 h 79027"/>
                  <a:gd name="connsiteX5" fmla="*/ 867 w 92986"/>
                  <a:gd name="connsiteY5" fmla="*/ 21668 h 79027"/>
                  <a:gd name="connsiteX6" fmla="*/ 6430 w 92986"/>
                  <a:gd name="connsiteY6" fmla="*/ 7692 h 79027"/>
                  <a:gd name="connsiteX7" fmla="*/ 37721 w 92986"/>
                  <a:gd name="connsiteY7" fmla="*/ 205 h 79027"/>
                  <a:gd name="connsiteX8" fmla="*/ 84997 w 92986"/>
                  <a:gd name="connsiteY8" fmla="*/ 30060 h 79027"/>
                  <a:gd name="connsiteX9" fmla="*/ 92751 w 92986"/>
                  <a:gd name="connsiteY9" fmla="*/ 66179 h 79027"/>
                  <a:gd name="connsiteX10" fmla="*/ 84572 w 92986"/>
                  <a:gd name="connsiteY10" fmla="*/ 78804 h 79027"/>
                  <a:gd name="connsiteX11" fmla="*/ 82359 w 92986"/>
                  <a:gd name="connsiteY11" fmla="*/ 79027 h 79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986" h="79027">
                    <a:moveTo>
                      <a:pt x="82359" y="79027"/>
                    </a:moveTo>
                    <a:cubicBezTo>
                      <a:pt x="77456" y="79027"/>
                      <a:pt x="73042" y="75613"/>
                      <a:pt x="71968" y="70614"/>
                    </a:cubicBezTo>
                    <a:lnTo>
                      <a:pt x="64353" y="35069"/>
                    </a:lnTo>
                    <a:cubicBezTo>
                      <a:pt x="61173" y="23519"/>
                      <a:pt x="60279" y="20275"/>
                      <a:pt x="38901" y="21423"/>
                    </a:cubicBezTo>
                    <a:cubicBezTo>
                      <a:pt x="28691" y="21998"/>
                      <a:pt x="22565" y="23902"/>
                      <a:pt x="14832" y="27231"/>
                    </a:cubicBezTo>
                    <a:cubicBezTo>
                      <a:pt x="9419" y="29517"/>
                      <a:pt x="3176" y="27050"/>
                      <a:pt x="867" y="21668"/>
                    </a:cubicBezTo>
                    <a:cubicBezTo>
                      <a:pt x="-1451" y="16265"/>
                      <a:pt x="1038" y="10011"/>
                      <a:pt x="6430" y="7692"/>
                    </a:cubicBezTo>
                    <a:cubicBezTo>
                      <a:pt x="15928" y="3608"/>
                      <a:pt x="24469" y="928"/>
                      <a:pt x="37721" y="205"/>
                    </a:cubicBezTo>
                    <a:cubicBezTo>
                      <a:pt x="73415" y="-1859"/>
                      <a:pt x="80052" y="11936"/>
                      <a:pt x="84997" y="30060"/>
                    </a:cubicBezTo>
                    <a:lnTo>
                      <a:pt x="92751" y="66179"/>
                    </a:lnTo>
                    <a:cubicBezTo>
                      <a:pt x="93974" y="71922"/>
                      <a:pt x="90315" y="77570"/>
                      <a:pt x="84572" y="78804"/>
                    </a:cubicBezTo>
                    <a:cubicBezTo>
                      <a:pt x="83848" y="78953"/>
                      <a:pt x="83093" y="79027"/>
                      <a:pt x="82359" y="79027"/>
                    </a:cubicBezTo>
                    <a:close/>
                  </a:path>
                </a:pathLst>
              </a:custGeom>
              <a:solidFill>
                <a:schemeClr val="accent1"/>
              </a:solidFill>
              <a:ln w="1063" cap="flat">
                <a:noFill/>
                <a:prstDash val="solid"/>
                <a:miter/>
              </a:ln>
            </p:spPr>
            <p:txBody>
              <a:bodyPr rtlCol="0" anchor="ctr"/>
              <a:lstStyle/>
              <a:p>
                <a:endParaRPr lang="en-GB" dirty="0"/>
              </a:p>
            </p:txBody>
          </p:sp>
          <p:sp>
            <p:nvSpPr>
              <p:cNvPr id="501" name="Freeform: Shape 500">
                <a:extLst>
                  <a:ext uri="{FF2B5EF4-FFF2-40B4-BE49-F238E27FC236}">
                    <a16:creationId xmlns:a16="http://schemas.microsoft.com/office/drawing/2014/main" id="{15FEBD7F-0F61-4D42-9D93-12FFDA88D830}"/>
                  </a:ext>
                </a:extLst>
              </p:cNvPr>
              <p:cNvSpPr/>
              <p:nvPr/>
            </p:nvSpPr>
            <p:spPr>
              <a:xfrm>
                <a:off x="3909720" y="4581896"/>
                <a:ext cx="114374" cy="158834"/>
              </a:xfrm>
              <a:custGeom>
                <a:avLst/>
                <a:gdLst>
                  <a:gd name="connsiteX0" fmla="*/ 76679 w 114374"/>
                  <a:gd name="connsiteY0" fmla="*/ 158834 h 158834"/>
                  <a:gd name="connsiteX1" fmla="*/ 40315 w 114374"/>
                  <a:gd name="connsiteY1" fmla="*/ 131075 h 158834"/>
                  <a:gd name="connsiteX2" fmla="*/ 569 w 114374"/>
                  <a:gd name="connsiteY2" fmla="*/ 14070 h 158834"/>
                  <a:gd name="connsiteX3" fmla="*/ 7216 w 114374"/>
                  <a:gd name="connsiteY3" fmla="*/ 573 h 158834"/>
                  <a:gd name="connsiteX4" fmla="*/ 20703 w 114374"/>
                  <a:gd name="connsiteY4" fmla="*/ 7231 h 158834"/>
                  <a:gd name="connsiteX5" fmla="*/ 60629 w 114374"/>
                  <a:gd name="connsiteY5" fmla="*/ 124853 h 158834"/>
                  <a:gd name="connsiteX6" fmla="*/ 68543 w 114374"/>
                  <a:gd name="connsiteY6" fmla="*/ 135372 h 158834"/>
                  <a:gd name="connsiteX7" fmla="*/ 80997 w 114374"/>
                  <a:gd name="connsiteY7" fmla="*/ 136967 h 158834"/>
                  <a:gd name="connsiteX8" fmla="*/ 90910 w 114374"/>
                  <a:gd name="connsiteY8" fmla="*/ 129246 h 158834"/>
                  <a:gd name="connsiteX9" fmla="*/ 92516 w 114374"/>
                  <a:gd name="connsiteY9" fmla="*/ 116791 h 158834"/>
                  <a:gd name="connsiteX10" fmla="*/ 64352 w 114374"/>
                  <a:gd name="connsiteY10" fmla="*/ 14517 h 158834"/>
                  <a:gd name="connsiteX11" fmla="*/ 71787 w 114374"/>
                  <a:gd name="connsiteY11" fmla="*/ 1445 h 158834"/>
                  <a:gd name="connsiteX12" fmla="*/ 84869 w 114374"/>
                  <a:gd name="connsiteY12" fmla="*/ 8869 h 158834"/>
                  <a:gd name="connsiteX13" fmla="*/ 113032 w 114374"/>
                  <a:gd name="connsiteY13" fmla="*/ 111165 h 158834"/>
                  <a:gd name="connsiteX14" fmla="*/ 109384 w 114374"/>
                  <a:gd name="connsiteY14" fmla="*/ 139786 h 158834"/>
                  <a:gd name="connsiteX15" fmla="*/ 86613 w 114374"/>
                  <a:gd name="connsiteY15" fmla="*/ 157484 h 158834"/>
                  <a:gd name="connsiteX16" fmla="*/ 76679 w 114374"/>
                  <a:gd name="connsiteY16" fmla="*/ 158834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4374" h="158834">
                    <a:moveTo>
                      <a:pt x="76679" y="158834"/>
                    </a:moveTo>
                    <a:cubicBezTo>
                      <a:pt x="60108" y="158834"/>
                      <a:pt x="44888" y="147805"/>
                      <a:pt x="40315" y="131075"/>
                    </a:cubicBezTo>
                    <a:lnTo>
                      <a:pt x="569" y="14070"/>
                    </a:lnTo>
                    <a:cubicBezTo>
                      <a:pt x="-1324" y="8518"/>
                      <a:pt x="1664" y="2466"/>
                      <a:pt x="7216" y="573"/>
                    </a:cubicBezTo>
                    <a:cubicBezTo>
                      <a:pt x="12779" y="-1331"/>
                      <a:pt x="18809" y="1668"/>
                      <a:pt x="20703" y="7231"/>
                    </a:cubicBezTo>
                    <a:lnTo>
                      <a:pt x="60629" y="124853"/>
                    </a:lnTo>
                    <a:cubicBezTo>
                      <a:pt x="61970" y="129671"/>
                      <a:pt x="64714" y="133181"/>
                      <a:pt x="68543" y="135372"/>
                    </a:cubicBezTo>
                    <a:cubicBezTo>
                      <a:pt x="72372" y="137552"/>
                      <a:pt x="76807" y="138158"/>
                      <a:pt x="80997" y="136967"/>
                    </a:cubicBezTo>
                    <a:cubicBezTo>
                      <a:pt x="85198" y="135829"/>
                      <a:pt x="88719" y="133085"/>
                      <a:pt x="90910" y="129246"/>
                    </a:cubicBezTo>
                    <a:cubicBezTo>
                      <a:pt x="93090" y="125417"/>
                      <a:pt x="93665" y="121003"/>
                      <a:pt x="92516" y="116791"/>
                    </a:cubicBezTo>
                    <a:lnTo>
                      <a:pt x="64352" y="14517"/>
                    </a:lnTo>
                    <a:cubicBezTo>
                      <a:pt x="62799" y="8858"/>
                      <a:pt x="66128" y="2998"/>
                      <a:pt x="71787" y="1445"/>
                    </a:cubicBezTo>
                    <a:cubicBezTo>
                      <a:pt x="77455" y="-108"/>
                      <a:pt x="83305" y="3211"/>
                      <a:pt x="84869" y="8869"/>
                    </a:cubicBezTo>
                    <a:lnTo>
                      <a:pt x="113032" y="111165"/>
                    </a:lnTo>
                    <a:cubicBezTo>
                      <a:pt x="115681" y="120864"/>
                      <a:pt x="114383" y="131022"/>
                      <a:pt x="109384" y="139786"/>
                    </a:cubicBezTo>
                    <a:cubicBezTo>
                      <a:pt x="104385" y="148550"/>
                      <a:pt x="96302" y="154835"/>
                      <a:pt x="86613" y="157484"/>
                    </a:cubicBezTo>
                    <a:cubicBezTo>
                      <a:pt x="83295" y="158398"/>
                      <a:pt x="79966" y="158834"/>
                      <a:pt x="76679" y="158834"/>
                    </a:cubicBezTo>
                    <a:close/>
                  </a:path>
                </a:pathLst>
              </a:custGeom>
              <a:solidFill>
                <a:schemeClr val="accent1"/>
              </a:solidFill>
              <a:ln w="1063" cap="flat">
                <a:noFill/>
                <a:prstDash val="solid"/>
                <a:miter/>
              </a:ln>
            </p:spPr>
            <p:txBody>
              <a:bodyPr rtlCol="0" anchor="ctr"/>
              <a:lstStyle/>
              <a:p>
                <a:endParaRPr lang="en-GB" dirty="0"/>
              </a:p>
            </p:txBody>
          </p:sp>
          <p:sp>
            <p:nvSpPr>
              <p:cNvPr id="502" name="Freeform: Shape 501">
                <a:extLst>
                  <a:ext uri="{FF2B5EF4-FFF2-40B4-BE49-F238E27FC236}">
                    <a16:creationId xmlns:a16="http://schemas.microsoft.com/office/drawing/2014/main" id="{DFC61FAF-CF41-4A26-96A5-423D3B213F45}"/>
                  </a:ext>
                </a:extLst>
              </p:cNvPr>
              <p:cNvSpPr/>
              <p:nvPr/>
            </p:nvSpPr>
            <p:spPr>
              <a:xfrm>
                <a:off x="3997597" y="4585220"/>
                <a:ext cx="61717" cy="152181"/>
              </a:xfrm>
              <a:custGeom>
                <a:avLst/>
                <a:gdLst>
                  <a:gd name="connsiteX0" fmla="*/ 24017 w 61717"/>
                  <a:gd name="connsiteY0" fmla="*/ 152182 h 152181"/>
                  <a:gd name="connsiteX1" fmla="*/ 5362 w 61717"/>
                  <a:gd name="connsiteY1" fmla="*/ 147183 h 152181"/>
                  <a:gd name="connsiteX2" fmla="*/ 1395 w 61717"/>
                  <a:gd name="connsiteY2" fmla="*/ 132675 h 152181"/>
                  <a:gd name="connsiteX3" fmla="*/ 15902 w 61717"/>
                  <a:gd name="connsiteY3" fmla="*/ 128719 h 152181"/>
                  <a:gd name="connsiteX4" fmla="*/ 28357 w 61717"/>
                  <a:gd name="connsiteY4" fmla="*/ 130314 h 152181"/>
                  <a:gd name="connsiteX5" fmla="*/ 38269 w 61717"/>
                  <a:gd name="connsiteY5" fmla="*/ 122592 h 152181"/>
                  <a:gd name="connsiteX6" fmla="*/ 39875 w 61717"/>
                  <a:gd name="connsiteY6" fmla="*/ 110138 h 152181"/>
                  <a:gd name="connsiteX7" fmla="*/ 12562 w 61717"/>
                  <a:gd name="connsiteY7" fmla="*/ 13543 h 152181"/>
                  <a:gd name="connsiteX8" fmla="*/ 19901 w 61717"/>
                  <a:gd name="connsiteY8" fmla="*/ 419 h 152181"/>
                  <a:gd name="connsiteX9" fmla="*/ 33026 w 61717"/>
                  <a:gd name="connsiteY9" fmla="*/ 7746 h 152181"/>
                  <a:gd name="connsiteX10" fmla="*/ 60360 w 61717"/>
                  <a:gd name="connsiteY10" fmla="*/ 104437 h 152181"/>
                  <a:gd name="connsiteX11" fmla="*/ 56733 w 61717"/>
                  <a:gd name="connsiteY11" fmla="*/ 133133 h 152181"/>
                  <a:gd name="connsiteX12" fmla="*/ 33962 w 61717"/>
                  <a:gd name="connsiteY12" fmla="*/ 150831 h 152181"/>
                  <a:gd name="connsiteX13" fmla="*/ 24017 w 61717"/>
                  <a:gd name="connsiteY13" fmla="*/ 152182 h 15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717" h="152181">
                    <a:moveTo>
                      <a:pt x="24017" y="152182"/>
                    </a:moveTo>
                    <a:cubicBezTo>
                      <a:pt x="17551" y="152182"/>
                      <a:pt x="11148" y="150501"/>
                      <a:pt x="5362" y="147183"/>
                    </a:cubicBezTo>
                    <a:cubicBezTo>
                      <a:pt x="267" y="144279"/>
                      <a:pt x="-1509" y="137781"/>
                      <a:pt x="1395" y="132675"/>
                    </a:cubicBezTo>
                    <a:cubicBezTo>
                      <a:pt x="4309" y="127581"/>
                      <a:pt x="10818" y="125804"/>
                      <a:pt x="15902" y="128719"/>
                    </a:cubicBezTo>
                    <a:cubicBezTo>
                      <a:pt x="19731" y="130899"/>
                      <a:pt x="24166" y="131495"/>
                      <a:pt x="28357" y="130314"/>
                    </a:cubicBezTo>
                    <a:cubicBezTo>
                      <a:pt x="32558" y="129176"/>
                      <a:pt x="36078" y="126432"/>
                      <a:pt x="38269" y="122592"/>
                    </a:cubicBezTo>
                    <a:cubicBezTo>
                      <a:pt x="40450" y="118763"/>
                      <a:pt x="41024" y="114350"/>
                      <a:pt x="39875" y="110138"/>
                    </a:cubicBezTo>
                    <a:lnTo>
                      <a:pt x="12562" y="13543"/>
                    </a:lnTo>
                    <a:cubicBezTo>
                      <a:pt x="10967" y="7885"/>
                      <a:pt x="14254" y="2003"/>
                      <a:pt x="19901" y="419"/>
                    </a:cubicBezTo>
                    <a:cubicBezTo>
                      <a:pt x="25591" y="-1219"/>
                      <a:pt x="31430" y="2099"/>
                      <a:pt x="33026" y="7746"/>
                    </a:cubicBezTo>
                    <a:lnTo>
                      <a:pt x="60360" y="104437"/>
                    </a:lnTo>
                    <a:cubicBezTo>
                      <a:pt x="63030" y="114211"/>
                      <a:pt x="61732" y="124369"/>
                      <a:pt x="56733" y="133133"/>
                    </a:cubicBezTo>
                    <a:cubicBezTo>
                      <a:pt x="51734" y="141896"/>
                      <a:pt x="43651" y="148182"/>
                      <a:pt x="33962" y="150831"/>
                    </a:cubicBezTo>
                    <a:cubicBezTo>
                      <a:pt x="30686" y="151735"/>
                      <a:pt x="27346" y="152182"/>
                      <a:pt x="24017" y="152182"/>
                    </a:cubicBezTo>
                    <a:close/>
                  </a:path>
                </a:pathLst>
              </a:custGeom>
              <a:solidFill>
                <a:schemeClr val="accent1"/>
              </a:solidFill>
              <a:ln w="1063" cap="flat">
                <a:noFill/>
                <a:prstDash val="solid"/>
                <a:miter/>
              </a:ln>
            </p:spPr>
            <p:txBody>
              <a:bodyPr rtlCol="0" anchor="ctr"/>
              <a:lstStyle/>
              <a:p>
                <a:endParaRPr lang="en-GB" dirty="0"/>
              </a:p>
            </p:txBody>
          </p:sp>
          <p:sp>
            <p:nvSpPr>
              <p:cNvPr id="503" name="Freeform: Shape 502">
                <a:extLst>
                  <a:ext uri="{FF2B5EF4-FFF2-40B4-BE49-F238E27FC236}">
                    <a16:creationId xmlns:a16="http://schemas.microsoft.com/office/drawing/2014/main" id="{D5595915-3A9C-4444-837D-FB73F3816FF3}"/>
                  </a:ext>
                </a:extLst>
              </p:cNvPr>
              <p:cNvSpPr/>
              <p:nvPr/>
            </p:nvSpPr>
            <p:spPr>
              <a:xfrm>
                <a:off x="3947948" y="4482686"/>
                <a:ext cx="74765" cy="72385"/>
              </a:xfrm>
              <a:custGeom>
                <a:avLst/>
                <a:gdLst>
                  <a:gd name="connsiteX0" fmla="*/ 64116 w 74765"/>
                  <a:gd name="connsiteY0" fmla="*/ 72385 h 72385"/>
                  <a:gd name="connsiteX1" fmla="*/ 53736 w 74765"/>
                  <a:gd name="connsiteY1" fmla="*/ 64025 h 72385"/>
                  <a:gd name="connsiteX2" fmla="*/ 47429 w 74765"/>
                  <a:gd name="connsiteY2" fmla="*/ 35160 h 72385"/>
                  <a:gd name="connsiteX3" fmla="*/ 39484 w 74765"/>
                  <a:gd name="connsiteY3" fmla="*/ 23194 h 72385"/>
                  <a:gd name="connsiteX4" fmla="*/ 25997 w 74765"/>
                  <a:gd name="connsiteY4" fmla="*/ 22088 h 72385"/>
                  <a:gd name="connsiteX5" fmla="*/ 14245 w 74765"/>
                  <a:gd name="connsiteY5" fmla="*/ 26342 h 72385"/>
                  <a:gd name="connsiteX6" fmla="*/ 631 w 74765"/>
                  <a:gd name="connsiteY6" fmla="*/ 19940 h 72385"/>
                  <a:gd name="connsiteX7" fmla="*/ 7034 w 74765"/>
                  <a:gd name="connsiteY7" fmla="*/ 6336 h 72385"/>
                  <a:gd name="connsiteX8" fmla="*/ 19584 w 74765"/>
                  <a:gd name="connsiteY8" fmla="*/ 1816 h 72385"/>
                  <a:gd name="connsiteX9" fmla="*/ 50492 w 74765"/>
                  <a:gd name="connsiteY9" fmla="*/ 4996 h 72385"/>
                  <a:gd name="connsiteX10" fmla="*/ 68211 w 74765"/>
                  <a:gd name="connsiteY10" fmla="*/ 30608 h 72385"/>
                  <a:gd name="connsiteX11" fmla="*/ 74518 w 74765"/>
                  <a:gd name="connsiteY11" fmla="*/ 59473 h 72385"/>
                  <a:gd name="connsiteX12" fmla="*/ 66392 w 74765"/>
                  <a:gd name="connsiteY12" fmla="*/ 72130 h 72385"/>
                  <a:gd name="connsiteX13" fmla="*/ 64116 w 74765"/>
                  <a:gd name="connsiteY13" fmla="*/ 72385 h 72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765" h="72385">
                    <a:moveTo>
                      <a:pt x="64116" y="72385"/>
                    </a:moveTo>
                    <a:cubicBezTo>
                      <a:pt x="59224" y="72385"/>
                      <a:pt x="54821" y="69003"/>
                      <a:pt x="53736" y="64025"/>
                    </a:cubicBezTo>
                    <a:lnTo>
                      <a:pt x="47429" y="35160"/>
                    </a:lnTo>
                    <a:cubicBezTo>
                      <a:pt x="46301" y="30001"/>
                      <a:pt x="43334" y="25523"/>
                      <a:pt x="39484" y="23194"/>
                    </a:cubicBezTo>
                    <a:cubicBezTo>
                      <a:pt x="35867" y="21003"/>
                      <a:pt x="31326" y="20631"/>
                      <a:pt x="25997" y="22088"/>
                    </a:cubicBezTo>
                    <a:lnTo>
                      <a:pt x="14245" y="26342"/>
                    </a:lnTo>
                    <a:cubicBezTo>
                      <a:pt x="8725" y="28363"/>
                      <a:pt x="2620" y="25460"/>
                      <a:pt x="631" y="19940"/>
                    </a:cubicBezTo>
                    <a:cubicBezTo>
                      <a:pt x="-1358" y="14409"/>
                      <a:pt x="1514" y="8314"/>
                      <a:pt x="7034" y="6336"/>
                    </a:cubicBezTo>
                    <a:lnTo>
                      <a:pt x="19584" y="1816"/>
                    </a:lnTo>
                    <a:cubicBezTo>
                      <a:pt x="34293" y="-2279"/>
                      <a:pt x="44429" y="1327"/>
                      <a:pt x="50492" y="4996"/>
                    </a:cubicBezTo>
                    <a:cubicBezTo>
                      <a:pt x="59362" y="10367"/>
                      <a:pt x="65829" y="19706"/>
                      <a:pt x="68211" y="30608"/>
                    </a:cubicBezTo>
                    <a:lnTo>
                      <a:pt x="74518" y="59473"/>
                    </a:lnTo>
                    <a:cubicBezTo>
                      <a:pt x="75773" y="65216"/>
                      <a:pt x="72136" y="70885"/>
                      <a:pt x="66392" y="72130"/>
                    </a:cubicBezTo>
                    <a:cubicBezTo>
                      <a:pt x="65637" y="72300"/>
                      <a:pt x="64871" y="72385"/>
                      <a:pt x="64116" y="72385"/>
                    </a:cubicBezTo>
                    <a:close/>
                  </a:path>
                </a:pathLst>
              </a:custGeom>
              <a:solidFill>
                <a:schemeClr val="accent1"/>
              </a:solidFill>
              <a:ln w="1063" cap="flat">
                <a:noFill/>
                <a:prstDash val="solid"/>
                <a:miter/>
              </a:ln>
            </p:spPr>
            <p:txBody>
              <a:bodyPr rtlCol="0" anchor="ctr"/>
              <a:lstStyle/>
              <a:p>
                <a:endParaRPr lang="en-GB" dirty="0"/>
              </a:p>
            </p:txBody>
          </p:sp>
          <p:sp>
            <p:nvSpPr>
              <p:cNvPr id="504" name="Freeform: Shape 503">
                <a:extLst>
                  <a:ext uri="{FF2B5EF4-FFF2-40B4-BE49-F238E27FC236}">
                    <a16:creationId xmlns:a16="http://schemas.microsoft.com/office/drawing/2014/main" id="{5F74C561-5A5B-4D91-9740-1EEDDF199E9B}"/>
                  </a:ext>
                </a:extLst>
              </p:cNvPr>
              <p:cNvSpPr/>
              <p:nvPr/>
            </p:nvSpPr>
            <p:spPr>
              <a:xfrm>
                <a:off x="3831760" y="4248616"/>
                <a:ext cx="163299" cy="176516"/>
              </a:xfrm>
              <a:custGeom>
                <a:avLst/>
                <a:gdLst>
                  <a:gd name="connsiteX0" fmla="*/ 75402 w 163299"/>
                  <a:gd name="connsiteY0" fmla="*/ 176516 h 176516"/>
                  <a:gd name="connsiteX1" fmla="*/ 47536 w 163299"/>
                  <a:gd name="connsiteY1" fmla="*/ 170996 h 176516"/>
                  <a:gd name="connsiteX2" fmla="*/ 4886 w 163299"/>
                  <a:gd name="connsiteY2" fmla="*/ 124486 h 176516"/>
                  <a:gd name="connsiteX3" fmla="*/ 7502 w 163299"/>
                  <a:gd name="connsiteY3" fmla="*/ 57660 h 176516"/>
                  <a:gd name="connsiteX4" fmla="*/ 115776 w 163299"/>
                  <a:gd name="connsiteY4" fmla="*/ 5470 h 176516"/>
                  <a:gd name="connsiteX5" fmla="*/ 155830 w 163299"/>
                  <a:gd name="connsiteY5" fmla="*/ 118817 h 176516"/>
                  <a:gd name="connsiteX6" fmla="*/ 155830 w 163299"/>
                  <a:gd name="connsiteY6" fmla="*/ 118817 h 176516"/>
                  <a:gd name="connsiteX7" fmla="*/ 110585 w 163299"/>
                  <a:gd name="connsiteY7" fmla="*/ 168071 h 176516"/>
                  <a:gd name="connsiteX8" fmla="*/ 75402 w 163299"/>
                  <a:gd name="connsiteY8" fmla="*/ 176516 h 176516"/>
                  <a:gd name="connsiteX9" fmla="*/ 87963 w 163299"/>
                  <a:gd name="connsiteY9" fmla="*/ 21254 h 176516"/>
                  <a:gd name="connsiteX10" fmla="*/ 27179 w 163299"/>
                  <a:gd name="connsiteY10" fmla="*/ 65765 h 176516"/>
                  <a:gd name="connsiteX11" fmla="*/ 25009 w 163299"/>
                  <a:gd name="connsiteY11" fmla="*/ 117561 h 176516"/>
                  <a:gd name="connsiteX12" fmla="*/ 55651 w 163299"/>
                  <a:gd name="connsiteY12" fmla="*/ 151330 h 176516"/>
                  <a:gd name="connsiteX13" fmla="*/ 101215 w 163299"/>
                  <a:gd name="connsiteY13" fmla="*/ 148991 h 176516"/>
                  <a:gd name="connsiteX14" fmla="*/ 136186 w 163299"/>
                  <a:gd name="connsiteY14" fmla="*/ 110712 h 176516"/>
                  <a:gd name="connsiteX15" fmla="*/ 136186 w 163299"/>
                  <a:gd name="connsiteY15" fmla="*/ 110712 h 176516"/>
                  <a:gd name="connsiteX16" fmla="*/ 107682 w 163299"/>
                  <a:gd name="connsiteY16" fmla="*/ 25136 h 176516"/>
                  <a:gd name="connsiteX17" fmla="*/ 87963 w 163299"/>
                  <a:gd name="connsiteY17" fmla="*/ 21254 h 17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299" h="176516">
                    <a:moveTo>
                      <a:pt x="75402" y="176516"/>
                    </a:moveTo>
                    <a:cubicBezTo>
                      <a:pt x="65883" y="176516"/>
                      <a:pt x="56481" y="174687"/>
                      <a:pt x="47536" y="170996"/>
                    </a:cubicBezTo>
                    <a:cubicBezTo>
                      <a:pt x="27519" y="162743"/>
                      <a:pt x="12363" y="146225"/>
                      <a:pt x="4886" y="124486"/>
                    </a:cubicBezTo>
                    <a:cubicBezTo>
                      <a:pt x="-2431" y="103235"/>
                      <a:pt x="-1506" y="79507"/>
                      <a:pt x="7502" y="57660"/>
                    </a:cubicBezTo>
                    <a:cubicBezTo>
                      <a:pt x="26317" y="12033"/>
                      <a:pt x="74902" y="-11388"/>
                      <a:pt x="115776" y="5470"/>
                    </a:cubicBezTo>
                    <a:cubicBezTo>
                      <a:pt x="156681" y="22349"/>
                      <a:pt x="174645" y="73189"/>
                      <a:pt x="155830" y="118817"/>
                    </a:cubicBezTo>
                    <a:lnTo>
                      <a:pt x="155830" y="118817"/>
                    </a:lnTo>
                    <a:cubicBezTo>
                      <a:pt x="146822" y="140663"/>
                      <a:pt x="130761" y="158148"/>
                      <a:pt x="110585" y="168071"/>
                    </a:cubicBezTo>
                    <a:cubicBezTo>
                      <a:pt x="99173" y="173687"/>
                      <a:pt x="87208" y="176516"/>
                      <a:pt x="75402" y="176516"/>
                    </a:cubicBezTo>
                    <a:close/>
                    <a:moveTo>
                      <a:pt x="87963" y="21254"/>
                    </a:moveTo>
                    <a:cubicBezTo>
                      <a:pt x="63266" y="21254"/>
                      <a:pt x="38474" y="38367"/>
                      <a:pt x="27179" y="65765"/>
                    </a:cubicBezTo>
                    <a:cubicBezTo>
                      <a:pt x="20148" y="82825"/>
                      <a:pt x="19383" y="101214"/>
                      <a:pt x="25009" y="117561"/>
                    </a:cubicBezTo>
                    <a:cubicBezTo>
                      <a:pt x="30476" y="133451"/>
                      <a:pt x="41367" y="145438"/>
                      <a:pt x="55651" y="151330"/>
                    </a:cubicBezTo>
                    <a:cubicBezTo>
                      <a:pt x="69967" y="157244"/>
                      <a:pt x="86155" y="156404"/>
                      <a:pt x="101215" y="148991"/>
                    </a:cubicBezTo>
                    <a:cubicBezTo>
                      <a:pt x="116733" y="141354"/>
                      <a:pt x="129155" y="127762"/>
                      <a:pt x="136186" y="110712"/>
                    </a:cubicBezTo>
                    <a:lnTo>
                      <a:pt x="136186" y="110712"/>
                    </a:lnTo>
                    <a:cubicBezTo>
                      <a:pt x="150523" y="75922"/>
                      <a:pt x="137739" y="37527"/>
                      <a:pt x="107682" y="25136"/>
                    </a:cubicBezTo>
                    <a:cubicBezTo>
                      <a:pt x="101289" y="22509"/>
                      <a:pt x="94631" y="21254"/>
                      <a:pt x="87963" y="21254"/>
                    </a:cubicBezTo>
                    <a:close/>
                  </a:path>
                </a:pathLst>
              </a:custGeom>
              <a:solidFill>
                <a:schemeClr val="accent1"/>
              </a:solidFill>
              <a:ln w="1063" cap="flat">
                <a:noFill/>
                <a:prstDash val="solid"/>
                <a:miter/>
              </a:ln>
            </p:spPr>
            <p:txBody>
              <a:bodyPr rtlCol="0" anchor="ctr"/>
              <a:lstStyle/>
              <a:p>
                <a:endParaRPr lang="en-GB" dirty="0"/>
              </a:p>
            </p:txBody>
          </p:sp>
          <p:sp>
            <p:nvSpPr>
              <p:cNvPr id="505" name="Freeform: Shape 504">
                <a:extLst>
                  <a:ext uri="{FF2B5EF4-FFF2-40B4-BE49-F238E27FC236}">
                    <a16:creationId xmlns:a16="http://schemas.microsoft.com/office/drawing/2014/main" id="{EBD2F11C-EC42-4BAA-82C8-63472C2610BA}"/>
                  </a:ext>
                </a:extLst>
              </p:cNvPr>
              <p:cNvSpPr/>
              <p:nvPr/>
            </p:nvSpPr>
            <p:spPr>
              <a:xfrm>
                <a:off x="3895219" y="4439379"/>
                <a:ext cx="36776" cy="54067"/>
              </a:xfrm>
              <a:custGeom>
                <a:avLst/>
                <a:gdLst>
                  <a:gd name="connsiteX0" fmla="*/ 26120 w 36776"/>
                  <a:gd name="connsiteY0" fmla="*/ 54067 h 54067"/>
                  <a:gd name="connsiteX1" fmla="*/ 15602 w 36776"/>
                  <a:gd name="connsiteY1" fmla="*/ 44920 h 54067"/>
                  <a:gd name="connsiteX2" fmla="*/ 4849 w 36776"/>
                  <a:gd name="connsiteY2" fmla="*/ 19682 h 54067"/>
                  <a:gd name="connsiteX3" fmla="*/ 1498 w 36776"/>
                  <a:gd name="connsiteY3" fmla="*/ 5195 h 54067"/>
                  <a:gd name="connsiteX4" fmla="*/ 15485 w 36776"/>
                  <a:gd name="connsiteY4" fmla="*/ 1271 h 54067"/>
                  <a:gd name="connsiteX5" fmla="*/ 36671 w 36776"/>
                  <a:gd name="connsiteY5" fmla="*/ 41953 h 54067"/>
                  <a:gd name="connsiteX6" fmla="*/ 27620 w 36776"/>
                  <a:gd name="connsiteY6" fmla="*/ 53972 h 54067"/>
                  <a:gd name="connsiteX7" fmla="*/ 26120 w 36776"/>
                  <a:gd name="connsiteY7" fmla="*/ 54067 h 54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776" h="54067">
                    <a:moveTo>
                      <a:pt x="26120" y="54067"/>
                    </a:moveTo>
                    <a:cubicBezTo>
                      <a:pt x="20909" y="54067"/>
                      <a:pt x="16357" y="50228"/>
                      <a:pt x="15602" y="44920"/>
                    </a:cubicBezTo>
                    <a:cubicBezTo>
                      <a:pt x="12836" y="25276"/>
                      <a:pt x="4923" y="19745"/>
                      <a:pt x="4849" y="19682"/>
                    </a:cubicBezTo>
                    <a:cubicBezTo>
                      <a:pt x="137" y="16502"/>
                      <a:pt x="-1469" y="10045"/>
                      <a:pt x="1498" y="5195"/>
                    </a:cubicBezTo>
                    <a:cubicBezTo>
                      <a:pt x="4455" y="335"/>
                      <a:pt x="10486" y="-1441"/>
                      <a:pt x="15485" y="1271"/>
                    </a:cubicBezTo>
                    <a:cubicBezTo>
                      <a:pt x="17197" y="2218"/>
                      <a:pt x="32364" y="11354"/>
                      <a:pt x="36671" y="41953"/>
                    </a:cubicBezTo>
                    <a:cubicBezTo>
                      <a:pt x="37490" y="47771"/>
                      <a:pt x="33438" y="53153"/>
                      <a:pt x="27620" y="53972"/>
                    </a:cubicBezTo>
                    <a:cubicBezTo>
                      <a:pt x="27120" y="54035"/>
                      <a:pt x="26610" y="54067"/>
                      <a:pt x="26120" y="54067"/>
                    </a:cubicBezTo>
                    <a:close/>
                  </a:path>
                </a:pathLst>
              </a:custGeom>
              <a:solidFill>
                <a:schemeClr val="accent1"/>
              </a:solidFill>
              <a:ln w="1063" cap="flat">
                <a:noFill/>
                <a:prstDash val="solid"/>
                <a:miter/>
              </a:ln>
            </p:spPr>
            <p:txBody>
              <a:bodyPr rtlCol="0" anchor="ctr"/>
              <a:lstStyle/>
              <a:p>
                <a:endParaRPr lang="en-GB" dirty="0"/>
              </a:p>
            </p:txBody>
          </p:sp>
        </p:grpSp>
      </p:grpSp>
      <p:grpSp>
        <p:nvGrpSpPr>
          <p:cNvPr id="509" name="Group 508">
            <a:extLst>
              <a:ext uri="{FF2B5EF4-FFF2-40B4-BE49-F238E27FC236}">
                <a16:creationId xmlns:a16="http://schemas.microsoft.com/office/drawing/2014/main" id="{E298F839-D986-4F57-8096-B4F394DCB84F}"/>
              </a:ext>
            </a:extLst>
          </p:cNvPr>
          <p:cNvGrpSpPr/>
          <p:nvPr/>
        </p:nvGrpSpPr>
        <p:grpSpPr>
          <a:xfrm>
            <a:off x="7107461" y="2391655"/>
            <a:ext cx="384147" cy="449806"/>
            <a:chOff x="601977" y="3999969"/>
            <a:chExt cx="384147" cy="449806"/>
          </a:xfrm>
        </p:grpSpPr>
        <p:grpSp>
          <p:nvGrpSpPr>
            <p:cNvPr id="510" name="Graphic 818">
              <a:extLst>
                <a:ext uri="{FF2B5EF4-FFF2-40B4-BE49-F238E27FC236}">
                  <a16:creationId xmlns:a16="http://schemas.microsoft.com/office/drawing/2014/main" id="{FFAC5C74-F1B9-448E-8F9F-8904A1391740}"/>
                </a:ext>
              </a:extLst>
            </p:cNvPr>
            <p:cNvGrpSpPr/>
            <p:nvPr/>
          </p:nvGrpSpPr>
          <p:grpSpPr>
            <a:xfrm>
              <a:off x="664334" y="4113728"/>
              <a:ext cx="259653" cy="259626"/>
              <a:chOff x="2309370" y="4268647"/>
              <a:chExt cx="404982" cy="404939"/>
            </a:xfrm>
            <a:solidFill>
              <a:schemeClr val="accent1"/>
            </a:solidFill>
          </p:grpSpPr>
          <p:grpSp>
            <p:nvGrpSpPr>
              <p:cNvPr id="514" name="Graphic 818">
                <a:extLst>
                  <a:ext uri="{FF2B5EF4-FFF2-40B4-BE49-F238E27FC236}">
                    <a16:creationId xmlns:a16="http://schemas.microsoft.com/office/drawing/2014/main" id="{2DF0B61A-B073-4084-93BD-8B932CDAD3BD}"/>
                  </a:ext>
                </a:extLst>
              </p:cNvPr>
              <p:cNvGrpSpPr/>
              <p:nvPr/>
            </p:nvGrpSpPr>
            <p:grpSpPr>
              <a:xfrm>
                <a:off x="2309370" y="4268647"/>
                <a:ext cx="404982" cy="404939"/>
                <a:chOff x="2309370" y="4268647"/>
                <a:chExt cx="404982" cy="404939"/>
              </a:xfrm>
              <a:solidFill>
                <a:schemeClr val="accent1"/>
              </a:solidFill>
            </p:grpSpPr>
            <p:sp>
              <p:nvSpPr>
                <p:cNvPr id="518" name="Freeform: Shape 517">
                  <a:extLst>
                    <a:ext uri="{FF2B5EF4-FFF2-40B4-BE49-F238E27FC236}">
                      <a16:creationId xmlns:a16="http://schemas.microsoft.com/office/drawing/2014/main" id="{80EA90A4-F8CE-41CF-A781-62479B007656}"/>
                    </a:ext>
                  </a:extLst>
                </p:cNvPr>
                <p:cNvSpPr/>
                <p:nvPr/>
              </p:nvSpPr>
              <p:spPr>
                <a:xfrm>
                  <a:off x="2387469" y="4346491"/>
                  <a:ext cx="248793" cy="248794"/>
                </a:xfrm>
                <a:custGeom>
                  <a:avLst/>
                  <a:gdLst>
                    <a:gd name="connsiteX0" fmla="*/ 124397 w 248793"/>
                    <a:gd name="connsiteY0" fmla="*/ 248794 h 248794"/>
                    <a:gd name="connsiteX1" fmla="*/ 0 w 248793"/>
                    <a:gd name="connsiteY1" fmla="*/ 124397 h 248794"/>
                    <a:gd name="connsiteX2" fmla="*/ 124397 w 248793"/>
                    <a:gd name="connsiteY2" fmla="*/ 0 h 248794"/>
                    <a:gd name="connsiteX3" fmla="*/ 248794 w 248793"/>
                    <a:gd name="connsiteY3" fmla="*/ 124397 h 248794"/>
                    <a:gd name="connsiteX4" fmla="*/ 124397 w 248793"/>
                    <a:gd name="connsiteY4" fmla="*/ 248794 h 248794"/>
                    <a:gd name="connsiteX5" fmla="*/ 124397 w 248793"/>
                    <a:gd name="connsiteY5" fmla="*/ 21261 h 248794"/>
                    <a:gd name="connsiteX6" fmla="*/ 21272 w 248793"/>
                    <a:gd name="connsiteY6" fmla="*/ 124386 h 248794"/>
                    <a:gd name="connsiteX7" fmla="*/ 124397 w 248793"/>
                    <a:gd name="connsiteY7" fmla="*/ 227512 h 248794"/>
                    <a:gd name="connsiteX8" fmla="*/ 227522 w 248793"/>
                    <a:gd name="connsiteY8" fmla="*/ 124386 h 248794"/>
                    <a:gd name="connsiteX9" fmla="*/ 124397 w 248793"/>
                    <a:gd name="connsiteY9" fmla="*/ 21261 h 24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793" h="248794">
                      <a:moveTo>
                        <a:pt x="124397" y="248794"/>
                      </a:moveTo>
                      <a:cubicBezTo>
                        <a:pt x="55806" y="248794"/>
                        <a:pt x="0" y="192988"/>
                        <a:pt x="0" y="124397"/>
                      </a:cubicBezTo>
                      <a:cubicBezTo>
                        <a:pt x="0" y="55806"/>
                        <a:pt x="55806" y="0"/>
                        <a:pt x="124397" y="0"/>
                      </a:cubicBezTo>
                      <a:cubicBezTo>
                        <a:pt x="192988" y="0"/>
                        <a:pt x="248794" y="55806"/>
                        <a:pt x="248794" y="124397"/>
                      </a:cubicBezTo>
                      <a:cubicBezTo>
                        <a:pt x="248794" y="192988"/>
                        <a:pt x="192988" y="248794"/>
                        <a:pt x="124397" y="248794"/>
                      </a:cubicBezTo>
                      <a:close/>
                      <a:moveTo>
                        <a:pt x="124397" y="21261"/>
                      </a:moveTo>
                      <a:cubicBezTo>
                        <a:pt x="67527" y="21261"/>
                        <a:pt x="21272" y="67527"/>
                        <a:pt x="21272" y="124386"/>
                      </a:cubicBezTo>
                      <a:cubicBezTo>
                        <a:pt x="21272" y="181246"/>
                        <a:pt x="67538" y="227512"/>
                        <a:pt x="124397" y="227512"/>
                      </a:cubicBezTo>
                      <a:cubicBezTo>
                        <a:pt x="181256" y="227512"/>
                        <a:pt x="227522" y="181246"/>
                        <a:pt x="227522" y="124386"/>
                      </a:cubicBezTo>
                      <a:cubicBezTo>
                        <a:pt x="227522" y="67527"/>
                        <a:pt x="181267" y="21261"/>
                        <a:pt x="124397" y="21261"/>
                      </a:cubicBezTo>
                      <a:close/>
                    </a:path>
                  </a:pathLst>
                </a:custGeom>
                <a:solidFill>
                  <a:schemeClr val="accent1"/>
                </a:solidFill>
                <a:ln w="1063" cap="flat">
                  <a:noFill/>
                  <a:prstDash val="solid"/>
                  <a:miter/>
                </a:ln>
              </p:spPr>
              <p:txBody>
                <a:bodyPr rtlCol="0" anchor="ctr"/>
                <a:lstStyle/>
                <a:p>
                  <a:endParaRPr lang="en-GB" dirty="0"/>
                </a:p>
              </p:txBody>
            </p:sp>
            <p:grpSp>
              <p:nvGrpSpPr>
                <p:cNvPr id="519" name="Graphic 818">
                  <a:extLst>
                    <a:ext uri="{FF2B5EF4-FFF2-40B4-BE49-F238E27FC236}">
                      <a16:creationId xmlns:a16="http://schemas.microsoft.com/office/drawing/2014/main" id="{1CD4316A-F5EC-4AFC-9A5E-D2E0266777AC}"/>
                    </a:ext>
                  </a:extLst>
                </p:cNvPr>
                <p:cNvGrpSpPr/>
                <p:nvPr/>
              </p:nvGrpSpPr>
              <p:grpSpPr>
                <a:xfrm>
                  <a:off x="2309370" y="4434577"/>
                  <a:ext cx="99115" cy="72132"/>
                  <a:chOff x="2309370" y="4434577"/>
                  <a:chExt cx="99115" cy="72132"/>
                </a:xfrm>
                <a:solidFill>
                  <a:schemeClr val="accent1"/>
                </a:solidFill>
              </p:grpSpPr>
              <p:sp>
                <p:nvSpPr>
                  <p:cNvPr id="551" name="Freeform: Shape 550">
                    <a:extLst>
                      <a:ext uri="{FF2B5EF4-FFF2-40B4-BE49-F238E27FC236}">
                        <a16:creationId xmlns:a16="http://schemas.microsoft.com/office/drawing/2014/main" id="{51AC53F5-CD37-46E8-927D-BC81D37DA7E2}"/>
                      </a:ext>
                    </a:extLst>
                  </p:cNvPr>
                  <p:cNvSpPr/>
                  <p:nvPr/>
                </p:nvSpPr>
                <p:spPr>
                  <a:xfrm>
                    <a:off x="2309370" y="4434577"/>
                    <a:ext cx="63187" cy="72132"/>
                  </a:xfrm>
                  <a:custGeom>
                    <a:avLst/>
                    <a:gdLst>
                      <a:gd name="connsiteX0" fmla="*/ 27228 w 63187"/>
                      <a:gd name="connsiteY0" fmla="*/ 72132 h 72132"/>
                      <a:gd name="connsiteX1" fmla="*/ 0 w 63187"/>
                      <a:gd name="connsiteY1" fmla="*/ 36173 h 72132"/>
                      <a:gd name="connsiteX2" fmla="*/ 26356 w 63187"/>
                      <a:gd name="connsiteY2" fmla="*/ 0 h 72132"/>
                      <a:gd name="connsiteX3" fmla="*/ 63188 w 63187"/>
                      <a:gd name="connsiteY3" fmla="*/ 36173 h 72132"/>
                      <a:gd name="connsiteX4" fmla="*/ 27228 w 63187"/>
                      <a:gd name="connsiteY4" fmla="*/ 72132 h 72132"/>
                      <a:gd name="connsiteX5" fmla="*/ 26356 w 63187"/>
                      <a:gd name="connsiteY5" fmla="*/ 21272 h 72132"/>
                      <a:gd name="connsiteX6" fmla="*/ 21272 w 63187"/>
                      <a:gd name="connsiteY6" fmla="*/ 36173 h 72132"/>
                      <a:gd name="connsiteX7" fmla="*/ 27228 w 63187"/>
                      <a:gd name="connsiteY7" fmla="*/ 50860 h 72132"/>
                      <a:gd name="connsiteX8" fmla="*/ 41916 w 63187"/>
                      <a:gd name="connsiteY8" fmla="*/ 36173 h 72132"/>
                      <a:gd name="connsiteX9" fmla="*/ 26356 w 63187"/>
                      <a:gd name="connsiteY9" fmla="*/ 21272 h 7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187" h="72132">
                        <a:moveTo>
                          <a:pt x="27228" y="72132"/>
                        </a:moveTo>
                        <a:cubicBezTo>
                          <a:pt x="11200" y="72132"/>
                          <a:pt x="0" y="57338"/>
                          <a:pt x="0" y="36173"/>
                        </a:cubicBezTo>
                        <a:cubicBezTo>
                          <a:pt x="0" y="14199"/>
                          <a:pt x="10349" y="0"/>
                          <a:pt x="26356" y="0"/>
                        </a:cubicBezTo>
                        <a:cubicBezTo>
                          <a:pt x="44256" y="0"/>
                          <a:pt x="63188" y="18591"/>
                          <a:pt x="63188" y="36173"/>
                        </a:cubicBezTo>
                        <a:cubicBezTo>
                          <a:pt x="63188" y="53988"/>
                          <a:pt x="45043" y="72132"/>
                          <a:pt x="27228" y="72132"/>
                        </a:cubicBezTo>
                        <a:close/>
                        <a:moveTo>
                          <a:pt x="26356" y="21272"/>
                        </a:moveTo>
                        <a:cubicBezTo>
                          <a:pt x="23314" y="21272"/>
                          <a:pt x="21272" y="28983"/>
                          <a:pt x="21272" y="36173"/>
                        </a:cubicBezTo>
                        <a:cubicBezTo>
                          <a:pt x="21272" y="43267"/>
                          <a:pt x="23665" y="50860"/>
                          <a:pt x="27228" y="50860"/>
                        </a:cubicBezTo>
                        <a:cubicBezTo>
                          <a:pt x="32812" y="50860"/>
                          <a:pt x="41916" y="42660"/>
                          <a:pt x="41916" y="36173"/>
                        </a:cubicBezTo>
                        <a:cubicBezTo>
                          <a:pt x="41916" y="29749"/>
                          <a:pt x="32131" y="21272"/>
                          <a:pt x="26356" y="21272"/>
                        </a:cubicBezTo>
                        <a:close/>
                      </a:path>
                    </a:pathLst>
                  </a:custGeom>
                  <a:solidFill>
                    <a:schemeClr val="accent1"/>
                  </a:solidFill>
                  <a:ln w="1063" cap="flat">
                    <a:noFill/>
                    <a:prstDash val="solid"/>
                    <a:miter/>
                  </a:ln>
                </p:spPr>
                <p:txBody>
                  <a:bodyPr rtlCol="0" anchor="ctr"/>
                  <a:lstStyle/>
                  <a:p>
                    <a:endParaRPr lang="en-GB" dirty="0"/>
                  </a:p>
                </p:txBody>
              </p:sp>
              <p:sp>
                <p:nvSpPr>
                  <p:cNvPr id="552" name="Freeform: Shape 551">
                    <a:extLst>
                      <a:ext uri="{FF2B5EF4-FFF2-40B4-BE49-F238E27FC236}">
                        <a16:creationId xmlns:a16="http://schemas.microsoft.com/office/drawing/2014/main" id="{F6E1C25B-FA66-4D4C-B27E-6B93FBA803B7}"/>
                      </a:ext>
                    </a:extLst>
                  </p:cNvPr>
                  <p:cNvSpPr/>
                  <p:nvPr/>
                </p:nvSpPr>
                <p:spPr>
                  <a:xfrm>
                    <a:off x="2351296" y="4460124"/>
                    <a:ext cx="57188" cy="21271"/>
                  </a:xfrm>
                  <a:custGeom>
                    <a:avLst/>
                    <a:gdLst>
                      <a:gd name="connsiteX0" fmla="*/ 46553 w 57188"/>
                      <a:gd name="connsiteY0" fmla="*/ 21272 h 21271"/>
                      <a:gd name="connsiteX1" fmla="*/ 10636 w 57188"/>
                      <a:gd name="connsiteY1" fmla="*/ 21272 h 21271"/>
                      <a:gd name="connsiteX2" fmla="*/ 0 w 57188"/>
                      <a:gd name="connsiteY2" fmla="*/ 10636 h 21271"/>
                      <a:gd name="connsiteX3" fmla="*/ 10636 w 57188"/>
                      <a:gd name="connsiteY3" fmla="*/ 0 h 21271"/>
                      <a:gd name="connsiteX4" fmla="*/ 46553 w 57188"/>
                      <a:gd name="connsiteY4" fmla="*/ 0 h 21271"/>
                      <a:gd name="connsiteX5" fmla="*/ 57189 w 57188"/>
                      <a:gd name="connsiteY5" fmla="*/ 10636 h 21271"/>
                      <a:gd name="connsiteX6" fmla="*/ 46553 w 57188"/>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88" h="21271">
                        <a:moveTo>
                          <a:pt x="46553" y="21272"/>
                        </a:moveTo>
                        <a:lnTo>
                          <a:pt x="10636" y="21272"/>
                        </a:lnTo>
                        <a:cubicBezTo>
                          <a:pt x="4765" y="21272"/>
                          <a:pt x="0" y="16517"/>
                          <a:pt x="0" y="10636"/>
                        </a:cubicBezTo>
                        <a:cubicBezTo>
                          <a:pt x="0" y="4754"/>
                          <a:pt x="4765" y="0"/>
                          <a:pt x="10636" y="0"/>
                        </a:cubicBezTo>
                        <a:lnTo>
                          <a:pt x="46553" y="0"/>
                        </a:lnTo>
                        <a:cubicBezTo>
                          <a:pt x="52424" y="0"/>
                          <a:pt x="57189" y="4754"/>
                          <a:pt x="57189" y="10636"/>
                        </a:cubicBezTo>
                        <a:cubicBezTo>
                          <a:pt x="57189" y="16517"/>
                          <a:pt x="52424" y="21272"/>
                          <a:pt x="46553" y="21272"/>
                        </a:cubicBezTo>
                        <a:close/>
                      </a:path>
                    </a:pathLst>
                  </a:custGeom>
                  <a:solidFill>
                    <a:schemeClr val="accent1"/>
                  </a:solidFill>
                  <a:ln w="1063" cap="flat">
                    <a:noFill/>
                    <a:prstDash val="solid"/>
                    <a:miter/>
                  </a:ln>
                </p:spPr>
                <p:txBody>
                  <a:bodyPr rtlCol="0" anchor="ctr"/>
                  <a:lstStyle/>
                  <a:p>
                    <a:endParaRPr lang="en-GB" dirty="0"/>
                  </a:p>
                </p:txBody>
              </p:sp>
            </p:grpSp>
            <p:grpSp>
              <p:nvGrpSpPr>
                <p:cNvPr id="520" name="Graphic 818">
                  <a:extLst>
                    <a:ext uri="{FF2B5EF4-FFF2-40B4-BE49-F238E27FC236}">
                      <a16:creationId xmlns:a16="http://schemas.microsoft.com/office/drawing/2014/main" id="{91E15698-AC00-49FF-B509-767716914463}"/>
                    </a:ext>
                  </a:extLst>
                </p:cNvPr>
                <p:cNvGrpSpPr/>
                <p:nvPr/>
              </p:nvGrpSpPr>
              <p:grpSpPr>
                <a:xfrm>
                  <a:off x="2615246" y="4434460"/>
                  <a:ext cx="99105" cy="72132"/>
                  <a:chOff x="2615246" y="4434460"/>
                  <a:chExt cx="99105" cy="72132"/>
                </a:xfrm>
                <a:solidFill>
                  <a:schemeClr val="accent1"/>
                </a:solidFill>
              </p:grpSpPr>
              <p:sp>
                <p:nvSpPr>
                  <p:cNvPr id="549" name="Freeform: Shape 548">
                    <a:extLst>
                      <a:ext uri="{FF2B5EF4-FFF2-40B4-BE49-F238E27FC236}">
                        <a16:creationId xmlns:a16="http://schemas.microsoft.com/office/drawing/2014/main" id="{E6060BDE-8F33-4EFD-8C6A-1C075FF62C59}"/>
                      </a:ext>
                    </a:extLst>
                  </p:cNvPr>
                  <p:cNvSpPr/>
                  <p:nvPr/>
                </p:nvSpPr>
                <p:spPr>
                  <a:xfrm>
                    <a:off x="2651163" y="4434460"/>
                    <a:ext cx="63188" cy="72132"/>
                  </a:xfrm>
                  <a:custGeom>
                    <a:avLst/>
                    <a:gdLst>
                      <a:gd name="connsiteX0" fmla="*/ 35992 w 63188"/>
                      <a:gd name="connsiteY0" fmla="*/ 72132 h 72132"/>
                      <a:gd name="connsiteX1" fmla="*/ 11625 w 63188"/>
                      <a:gd name="connsiteY1" fmla="*/ 61167 h 72132"/>
                      <a:gd name="connsiteX2" fmla="*/ 0 w 63188"/>
                      <a:gd name="connsiteY2" fmla="*/ 36353 h 72132"/>
                      <a:gd name="connsiteX3" fmla="*/ 11955 w 63188"/>
                      <a:gd name="connsiteY3" fmla="*/ 11199 h 72132"/>
                      <a:gd name="connsiteX4" fmla="*/ 36673 w 63188"/>
                      <a:gd name="connsiteY4" fmla="*/ 0 h 72132"/>
                      <a:gd name="connsiteX5" fmla="*/ 36790 w 63188"/>
                      <a:gd name="connsiteY5" fmla="*/ 0 h 72132"/>
                      <a:gd name="connsiteX6" fmla="*/ 63188 w 63188"/>
                      <a:gd name="connsiteY6" fmla="*/ 36055 h 72132"/>
                      <a:gd name="connsiteX7" fmla="*/ 57966 w 63188"/>
                      <a:gd name="connsiteY7" fmla="*/ 58571 h 72132"/>
                      <a:gd name="connsiteX8" fmla="*/ 36130 w 63188"/>
                      <a:gd name="connsiteY8" fmla="*/ 72132 h 72132"/>
                      <a:gd name="connsiteX9" fmla="*/ 35992 w 63188"/>
                      <a:gd name="connsiteY9" fmla="*/ 72132 h 72132"/>
                      <a:gd name="connsiteX10" fmla="*/ 36768 w 63188"/>
                      <a:gd name="connsiteY10" fmla="*/ 21272 h 72132"/>
                      <a:gd name="connsiteX11" fmla="*/ 26686 w 63188"/>
                      <a:gd name="connsiteY11" fmla="*/ 26547 h 72132"/>
                      <a:gd name="connsiteX12" fmla="*/ 21283 w 63188"/>
                      <a:gd name="connsiteY12" fmla="*/ 36247 h 72132"/>
                      <a:gd name="connsiteX13" fmla="*/ 26462 w 63188"/>
                      <a:gd name="connsiteY13" fmla="*/ 45904 h 72132"/>
                      <a:gd name="connsiteX14" fmla="*/ 36003 w 63188"/>
                      <a:gd name="connsiteY14" fmla="*/ 50860 h 72132"/>
                      <a:gd name="connsiteX15" fmla="*/ 39385 w 63188"/>
                      <a:gd name="connsiteY15" fmla="*/ 48212 h 72132"/>
                      <a:gd name="connsiteX16" fmla="*/ 41916 w 63188"/>
                      <a:gd name="connsiteY16" fmla="*/ 36151 h 72132"/>
                      <a:gd name="connsiteX17" fmla="*/ 36768 w 63188"/>
                      <a:gd name="connsiteY17" fmla="*/ 21272 h 72132"/>
                      <a:gd name="connsiteX18" fmla="*/ 36768 w 63188"/>
                      <a:gd name="connsiteY18" fmla="*/ 21272 h 72132"/>
                      <a:gd name="connsiteX19" fmla="*/ 36768 w 63188"/>
                      <a:gd name="connsiteY19" fmla="*/ 21272 h 7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188" h="72132">
                        <a:moveTo>
                          <a:pt x="35992" y="72132"/>
                        </a:moveTo>
                        <a:cubicBezTo>
                          <a:pt x="27685" y="72132"/>
                          <a:pt x="18815" y="68133"/>
                          <a:pt x="11625" y="61167"/>
                        </a:cubicBezTo>
                        <a:cubicBezTo>
                          <a:pt x="4287" y="54020"/>
                          <a:pt x="43" y="44979"/>
                          <a:pt x="0" y="36353"/>
                        </a:cubicBezTo>
                        <a:cubicBezTo>
                          <a:pt x="-42" y="27696"/>
                          <a:pt x="4318" y="18528"/>
                          <a:pt x="11955" y="11199"/>
                        </a:cubicBezTo>
                        <a:cubicBezTo>
                          <a:pt x="19336" y="4127"/>
                          <a:pt x="28345" y="43"/>
                          <a:pt x="36673" y="0"/>
                        </a:cubicBezTo>
                        <a:cubicBezTo>
                          <a:pt x="36715" y="0"/>
                          <a:pt x="36747" y="0"/>
                          <a:pt x="36790" y="0"/>
                        </a:cubicBezTo>
                        <a:cubicBezTo>
                          <a:pt x="52733" y="0"/>
                          <a:pt x="63092" y="14135"/>
                          <a:pt x="63188" y="36055"/>
                        </a:cubicBezTo>
                        <a:cubicBezTo>
                          <a:pt x="63230" y="44469"/>
                          <a:pt x="61380" y="52467"/>
                          <a:pt x="57966" y="58571"/>
                        </a:cubicBezTo>
                        <a:cubicBezTo>
                          <a:pt x="53116" y="67272"/>
                          <a:pt x="45362" y="72090"/>
                          <a:pt x="36130" y="72132"/>
                        </a:cubicBezTo>
                        <a:cubicBezTo>
                          <a:pt x="36088" y="72132"/>
                          <a:pt x="36045" y="72132"/>
                          <a:pt x="35992" y="72132"/>
                        </a:cubicBezTo>
                        <a:close/>
                        <a:moveTo>
                          <a:pt x="36768" y="21272"/>
                        </a:moveTo>
                        <a:cubicBezTo>
                          <a:pt x="34556" y="21282"/>
                          <a:pt x="30451" y="22931"/>
                          <a:pt x="26686" y="26547"/>
                        </a:cubicBezTo>
                        <a:cubicBezTo>
                          <a:pt x="23389" y="29717"/>
                          <a:pt x="21272" y="33513"/>
                          <a:pt x="21283" y="36247"/>
                        </a:cubicBezTo>
                        <a:cubicBezTo>
                          <a:pt x="21293" y="39076"/>
                          <a:pt x="23335" y="42862"/>
                          <a:pt x="26462" y="45904"/>
                        </a:cubicBezTo>
                        <a:cubicBezTo>
                          <a:pt x="29993" y="49329"/>
                          <a:pt x="33790" y="50860"/>
                          <a:pt x="36003" y="50860"/>
                        </a:cubicBezTo>
                        <a:cubicBezTo>
                          <a:pt x="36790" y="50669"/>
                          <a:pt x="37896" y="50882"/>
                          <a:pt x="39385" y="48212"/>
                        </a:cubicBezTo>
                        <a:cubicBezTo>
                          <a:pt x="40991" y="45330"/>
                          <a:pt x="41937" y="40831"/>
                          <a:pt x="41916" y="36151"/>
                        </a:cubicBezTo>
                        <a:cubicBezTo>
                          <a:pt x="41895" y="28961"/>
                          <a:pt x="39810" y="21272"/>
                          <a:pt x="36768" y="21272"/>
                        </a:cubicBezTo>
                        <a:cubicBezTo>
                          <a:pt x="36768" y="21272"/>
                          <a:pt x="36768" y="21272"/>
                          <a:pt x="36768" y="21272"/>
                        </a:cubicBezTo>
                        <a:lnTo>
                          <a:pt x="36768" y="21272"/>
                        </a:lnTo>
                        <a:close/>
                      </a:path>
                    </a:pathLst>
                  </a:custGeom>
                  <a:solidFill>
                    <a:schemeClr val="accent1"/>
                  </a:solidFill>
                  <a:ln w="1063" cap="flat">
                    <a:noFill/>
                    <a:prstDash val="solid"/>
                    <a:miter/>
                  </a:ln>
                </p:spPr>
                <p:txBody>
                  <a:bodyPr rtlCol="0" anchor="ctr"/>
                  <a:lstStyle/>
                  <a:p>
                    <a:endParaRPr lang="en-GB" dirty="0"/>
                  </a:p>
                </p:txBody>
              </p:sp>
              <p:sp>
                <p:nvSpPr>
                  <p:cNvPr id="550" name="Freeform: Shape 549">
                    <a:extLst>
                      <a:ext uri="{FF2B5EF4-FFF2-40B4-BE49-F238E27FC236}">
                        <a16:creationId xmlns:a16="http://schemas.microsoft.com/office/drawing/2014/main" id="{AD4A648E-4DDE-485D-BD6D-974FC3E74CFE}"/>
                      </a:ext>
                    </a:extLst>
                  </p:cNvPr>
                  <p:cNvSpPr/>
                  <p:nvPr/>
                </p:nvSpPr>
                <p:spPr>
                  <a:xfrm>
                    <a:off x="2615246" y="4460120"/>
                    <a:ext cx="57189" cy="21467"/>
                  </a:xfrm>
                  <a:custGeom>
                    <a:avLst/>
                    <a:gdLst>
                      <a:gd name="connsiteX0" fmla="*/ 10636 w 57189"/>
                      <a:gd name="connsiteY0" fmla="*/ 21468 h 21467"/>
                      <a:gd name="connsiteX1" fmla="*/ 0 w 57189"/>
                      <a:gd name="connsiteY1" fmla="*/ 10885 h 21467"/>
                      <a:gd name="connsiteX2" fmla="*/ 10593 w 57189"/>
                      <a:gd name="connsiteY2" fmla="*/ 196 h 21467"/>
                      <a:gd name="connsiteX3" fmla="*/ 46511 w 57189"/>
                      <a:gd name="connsiteY3" fmla="*/ 26 h 21467"/>
                      <a:gd name="connsiteX4" fmla="*/ 57189 w 57189"/>
                      <a:gd name="connsiteY4" fmla="*/ 10609 h 21467"/>
                      <a:gd name="connsiteX5" fmla="*/ 46596 w 57189"/>
                      <a:gd name="connsiteY5" fmla="*/ 21298 h 21467"/>
                      <a:gd name="connsiteX6" fmla="*/ 10678 w 57189"/>
                      <a:gd name="connsiteY6" fmla="*/ 21468 h 21467"/>
                      <a:gd name="connsiteX7" fmla="*/ 10636 w 57189"/>
                      <a:gd name="connsiteY7" fmla="*/ 21468 h 2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189" h="21467">
                        <a:moveTo>
                          <a:pt x="10636" y="21468"/>
                        </a:moveTo>
                        <a:cubicBezTo>
                          <a:pt x="4786" y="21468"/>
                          <a:pt x="21" y="16746"/>
                          <a:pt x="0" y="10885"/>
                        </a:cubicBezTo>
                        <a:cubicBezTo>
                          <a:pt x="-21" y="5004"/>
                          <a:pt x="4712" y="228"/>
                          <a:pt x="10593" y="196"/>
                        </a:cubicBezTo>
                        <a:lnTo>
                          <a:pt x="46511" y="26"/>
                        </a:lnTo>
                        <a:cubicBezTo>
                          <a:pt x="52499" y="-410"/>
                          <a:pt x="57168" y="4727"/>
                          <a:pt x="57189" y="10609"/>
                        </a:cubicBezTo>
                        <a:cubicBezTo>
                          <a:pt x="57210" y="16490"/>
                          <a:pt x="52477" y="21266"/>
                          <a:pt x="46596" y="21298"/>
                        </a:cubicBezTo>
                        <a:lnTo>
                          <a:pt x="10678" y="21468"/>
                        </a:lnTo>
                        <a:cubicBezTo>
                          <a:pt x="10668" y="21468"/>
                          <a:pt x="10657" y="21468"/>
                          <a:pt x="10636" y="21468"/>
                        </a:cubicBezTo>
                        <a:close/>
                      </a:path>
                    </a:pathLst>
                  </a:custGeom>
                  <a:solidFill>
                    <a:schemeClr val="accent1"/>
                  </a:solidFill>
                  <a:ln w="1063" cap="flat">
                    <a:noFill/>
                    <a:prstDash val="solid"/>
                    <a:miter/>
                  </a:ln>
                </p:spPr>
                <p:txBody>
                  <a:bodyPr rtlCol="0" anchor="ctr"/>
                  <a:lstStyle/>
                  <a:p>
                    <a:endParaRPr lang="en-GB" dirty="0"/>
                  </a:p>
                </p:txBody>
              </p:sp>
            </p:grpSp>
            <p:grpSp>
              <p:nvGrpSpPr>
                <p:cNvPr id="521" name="Graphic 818">
                  <a:extLst>
                    <a:ext uri="{FF2B5EF4-FFF2-40B4-BE49-F238E27FC236}">
                      <a16:creationId xmlns:a16="http://schemas.microsoft.com/office/drawing/2014/main" id="{F453146D-7BE8-4E16-8C58-42902FD6D51A}"/>
                    </a:ext>
                  </a:extLst>
                </p:cNvPr>
                <p:cNvGrpSpPr/>
                <p:nvPr/>
              </p:nvGrpSpPr>
              <p:grpSpPr>
                <a:xfrm>
                  <a:off x="2354850" y="4268647"/>
                  <a:ext cx="314252" cy="132533"/>
                  <a:chOff x="2354850" y="4268647"/>
                  <a:chExt cx="314252" cy="132533"/>
                </a:xfrm>
                <a:solidFill>
                  <a:schemeClr val="accent1"/>
                </a:solidFill>
              </p:grpSpPr>
              <p:grpSp>
                <p:nvGrpSpPr>
                  <p:cNvPr id="540" name="Graphic 818">
                    <a:extLst>
                      <a:ext uri="{FF2B5EF4-FFF2-40B4-BE49-F238E27FC236}">
                        <a16:creationId xmlns:a16="http://schemas.microsoft.com/office/drawing/2014/main" id="{954B8D44-7165-41B0-A928-658BB301E93C}"/>
                      </a:ext>
                    </a:extLst>
                  </p:cNvPr>
                  <p:cNvGrpSpPr/>
                  <p:nvPr/>
                </p:nvGrpSpPr>
                <p:grpSpPr>
                  <a:xfrm>
                    <a:off x="2475916" y="4268647"/>
                    <a:ext cx="72132" cy="99104"/>
                    <a:chOff x="2475916" y="4268647"/>
                    <a:chExt cx="72132" cy="99104"/>
                  </a:xfrm>
                  <a:solidFill>
                    <a:schemeClr val="accent1"/>
                  </a:solidFill>
                </p:grpSpPr>
                <p:sp>
                  <p:nvSpPr>
                    <p:cNvPr id="547" name="Freeform: Shape 546">
                      <a:extLst>
                        <a:ext uri="{FF2B5EF4-FFF2-40B4-BE49-F238E27FC236}">
                          <a16:creationId xmlns:a16="http://schemas.microsoft.com/office/drawing/2014/main" id="{AC807BD2-AC95-4A6E-9833-B59BCD60701F}"/>
                        </a:ext>
                      </a:extLst>
                    </p:cNvPr>
                    <p:cNvSpPr/>
                    <p:nvPr/>
                  </p:nvSpPr>
                  <p:spPr>
                    <a:xfrm>
                      <a:off x="2475916" y="4268647"/>
                      <a:ext cx="72132" cy="63187"/>
                    </a:xfrm>
                    <a:custGeom>
                      <a:avLst/>
                      <a:gdLst>
                        <a:gd name="connsiteX0" fmla="*/ 35960 w 72132"/>
                        <a:gd name="connsiteY0" fmla="*/ 63188 h 63187"/>
                        <a:gd name="connsiteX1" fmla="*/ 0 w 72132"/>
                        <a:gd name="connsiteY1" fmla="*/ 27228 h 63187"/>
                        <a:gd name="connsiteX2" fmla="*/ 35960 w 72132"/>
                        <a:gd name="connsiteY2" fmla="*/ 0 h 63187"/>
                        <a:gd name="connsiteX3" fmla="*/ 72132 w 72132"/>
                        <a:gd name="connsiteY3" fmla="*/ 26356 h 63187"/>
                        <a:gd name="connsiteX4" fmla="*/ 35960 w 72132"/>
                        <a:gd name="connsiteY4" fmla="*/ 63188 h 63187"/>
                        <a:gd name="connsiteX5" fmla="*/ 35960 w 72132"/>
                        <a:gd name="connsiteY5" fmla="*/ 21272 h 63187"/>
                        <a:gd name="connsiteX6" fmla="*/ 21272 w 72132"/>
                        <a:gd name="connsiteY6" fmla="*/ 27228 h 63187"/>
                        <a:gd name="connsiteX7" fmla="*/ 35960 w 72132"/>
                        <a:gd name="connsiteY7" fmla="*/ 41916 h 63187"/>
                        <a:gd name="connsiteX8" fmla="*/ 50861 w 72132"/>
                        <a:gd name="connsiteY8" fmla="*/ 26356 h 63187"/>
                        <a:gd name="connsiteX9" fmla="*/ 35960 w 72132"/>
                        <a:gd name="connsiteY9" fmla="*/ 21272 h 6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32" h="63187">
                          <a:moveTo>
                            <a:pt x="35960" y="63188"/>
                          </a:moveTo>
                          <a:cubicBezTo>
                            <a:pt x="18145" y="63188"/>
                            <a:pt x="0" y="45043"/>
                            <a:pt x="0" y="27228"/>
                          </a:cubicBezTo>
                          <a:cubicBezTo>
                            <a:pt x="0" y="11200"/>
                            <a:pt x="14784" y="0"/>
                            <a:pt x="35960" y="0"/>
                          </a:cubicBezTo>
                          <a:cubicBezTo>
                            <a:pt x="57934" y="0"/>
                            <a:pt x="72132" y="10349"/>
                            <a:pt x="72132" y="26356"/>
                          </a:cubicBezTo>
                          <a:cubicBezTo>
                            <a:pt x="72143" y="44245"/>
                            <a:pt x="53541" y="63188"/>
                            <a:pt x="35960" y="63188"/>
                          </a:cubicBezTo>
                          <a:close/>
                          <a:moveTo>
                            <a:pt x="35960" y="21272"/>
                          </a:moveTo>
                          <a:cubicBezTo>
                            <a:pt x="28866" y="21272"/>
                            <a:pt x="21272" y="23665"/>
                            <a:pt x="21272" y="27228"/>
                          </a:cubicBezTo>
                          <a:cubicBezTo>
                            <a:pt x="21272" y="32801"/>
                            <a:pt x="29472" y="41916"/>
                            <a:pt x="35960" y="41916"/>
                          </a:cubicBezTo>
                          <a:cubicBezTo>
                            <a:pt x="42395" y="41916"/>
                            <a:pt x="50861" y="32131"/>
                            <a:pt x="50861" y="26356"/>
                          </a:cubicBezTo>
                          <a:cubicBezTo>
                            <a:pt x="50871" y="23314"/>
                            <a:pt x="43160" y="21272"/>
                            <a:pt x="35960" y="21272"/>
                          </a:cubicBezTo>
                          <a:close/>
                        </a:path>
                      </a:pathLst>
                    </a:custGeom>
                    <a:solidFill>
                      <a:schemeClr val="accent1"/>
                    </a:solidFill>
                    <a:ln w="1063" cap="flat">
                      <a:noFill/>
                      <a:prstDash val="solid"/>
                      <a:miter/>
                    </a:ln>
                  </p:spPr>
                  <p:txBody>
                    <a:bodyPr rtlCol="0" anchor="ctr"/>
                    <a:lstStyle/>
                    <a:p>
                      <a:endParaRPr lang="en-GB" dirty="0"/>
                    </a:p>
                  </p:txBody>
                </p:sp>
                <p:sp>
                  <p:nvSpPr>
                    <p:cNvPr id="548" name="Freeform: Shape 547">
                      <a:extLst>
                        <a:ext uri="{FF2B5EF4-FFF2-40B4-BE49-F238E27FC236}">
                          <a16:creationId xmlns:a16="http://schemas.microsoft.com/office/drawing/2014/main" id="{CD3D1F62-4AC8-4BCE-B2C1-8847C34A9753}"/>
                        </a:ext>
                      </a:extLst>
                    </p:cNvPr>
                    <p:cNvSpPr/>
                    <p:nvPr/>
                  </p:nvSpPr>
                  <p:spPr>
                    <a:xfrm>
                      <a:off x="2501230" y="4310553"/>
                      <a:ext cx="21271" cy="57199"/>
                    </a:xfrm>
                    <a:custGeom>
                      <a:avLst/>
                      <a:gdLst>
                        <a:gd name="connsiteX0" fmla="*/ 10636 w 21271"/>
                        <a:gd name="connsiteY0" fmla="*/ 57199 h 57199"/>
                        <a:gd name="connsiteX1" fmla="*/ 0 w 21271"/>
                        <a:gd name="connsiteY1" fmla="*/ 46564 h 57199"/>
                        <a:gd name="connsiteX2" fmla="*/ 0 w 21271"/>
                        <a:gd name="connsiteY2" fmla="*/ 10636 h 57199"/>
                        <a:gd name="connsiteX3" fmla="*/ 10636 w 21271"/>
                        <a:gd name="connsiteY3" fmla="*/ 0 h 57199"/>
                        <a:gd name="connsiteX4" fmla="*/ 21272 w 21271"/>
                        <a:gd name="connsiteY4" fmla="*/ 10636 h 57199"/>
                        <a:gd name="connsiteX5" fmla="*/ 21272 w 21271"/>
                        <a:gd name="connsiteY5" fmla="*/ 46564 h 57199"/>
                        <a:gd name="connsiteX6" fmla="*/ 10636 w 21271"/>
                        <a:gd name="connsiteY6" fmla="*/ 57199 h 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57199">
                          <a:moveTo>
                            <a:pt x="10636" y="57199"/>
                          </a:moveTo>
                          <a:cubicBezTo>
                            <a:pt x="4765" y="57199"/>
                            <a:pt x="0" y="52445"/>
                            <a:pt x="0" y="46564"/>
                          </a:cubicBezTo>
                          <a:lnTo>
                            <a:pt x="0" y="10636"/>
                          </a:lnTo>
                          <a:cubicBezTo>
                            <a:pt x="0" y="4754"/>
                            <a:pt x="4765" y="0"/>
                            <a:pt x="10636" y="0"/>
                          </a:cubicBezTo>
                          <a:cubicBezTo>
                            <a:pt x="16507" y="0"/>
                            <a:pt x="21272" y="4754"/>
                            <a:pt x="21272" y="10636"/>
                          </a:cubicBezTo>
                          <a:lnTo>
                            <a:pt x="21272" y="46564"/>
                          </a:lnTo>
                          <a:cubicBezTo>
                            <a:pt x="21272" y="52445"/>
                            <a:pt x="16507" y="57199"/>
                            <a:pt x="10636" y="57199"/>
                          </a:cubicBezTo>
                          <a:close/>
                        </a:path>
                      </a:pathLst>
                    </a:custGeom>
                    <a:solidFill>
                      <a:schemeClr val="accent1"/>
                    </a:solidFill>
                    <a:ln w="1063" cap="flat">
                      <a:noFill/>
                      <a:prstDash val="solid"/>
                      <a:miter/>
                    </a:ln>
                  </p:spPr>
                  <p:txBody>
                    <a:bodyPr rtlCol="0" anchor="ctr"/>
                    <a:lstStyle/>
                    <a:p>
                      <a:endParaRPr lang="en-GB" dirty="0"/>
                    </a:p>
                  </p:txBody>
                </p:sp>
              </p:grpSp>
              <p:grpSp>
                <p:nvGrpSpPr>
                  <p:cNvPr id="541" name="Graphic 818">
                    <a:extLst>
                      <a:ext uri="{FF2B5EF4-FFF2-40B4-BE49-F238E27FC236}">
                        <a16:creationId xmlns:a16="http://schemas.microsoft.com/office/drawing/2014/main" id="{7FC902FF-91D0-408A-97AD-74B95274147F}"/>
                      </a:ext>
                    </a:extLst>
                  </p:cNvPr>
                  <p:cNvGrpSpPr/>
                  <p:nvPr/>
                </p:nvGrpSpPr>
                <p:grpSpPr>
                  <a:xfrm>
                    <a:off x="2582017" y="4314773"/>
                    <a:ext cx="87085" cy="86407"/>
                    <a:chOff x="2582017" y="4314773"/>
                    <a:chExt cx="87085" cy="86407"/>
                  </a:xfrm>
                  <a:solidFill>
                    <a:schemeClr val="accent1"/>
                  </a:solidFill>
                </p:grpSpPr>
                <p:sp>
                  <p:nvSpPr>
                    <p:cNvPr id="545" name="Freeform: Shape 544">
                      <a:extLst>
                        <a:ext uri="{FF2B5EF4-FFF2-40B4-BE49-F238E27FC236}">
                          <a16:creationId xmlns:a16="http://schemas.microsoft.com/office/drawing/2014/main" id="{053B2631-2666-4C75-8955-6F89C9620AE9}"/>
                        </a:ext>
                      </a:extLst>
                    </p:cNvPr>
                    <p:cNvSpPr/>
                    <p:nvPr/>
                  </p:nvSpPr>
                  <p:spPr>
                    <a:xfrm>
                      <a:off x="2601111" y="4314773"/>
                      <a:ext cx="67991" cy="67071"/>
                    </a:xfrm>
                    <a:custGeom>
                      <a:avLst/>
                      <a:gdLst>
                        <a:gd name="connsiteX0" fmla="*/ 34758 w 67991"/>
                        <a:gd name="connsiteY0" fmla="*/ 67071 h 67071"/>
                        <a:gd name="connsiteX1" fmla="*/ 9445 w 67991"/>
                        <a:gd name="connsiteY1" fmla="*/ 57903 h 67071"/>
                        <a:gd name="connsiteX2" fmla="*/ 9445 w 67991"/>
                        <a:gd name="connsiteY2" fmla="*/ 7053 h 67071"/>
                        <a:gd name="connsiteX3" fmla="*/ 54126 w 67991"/>
                        <a:gd name="connsiteY3" fmla="*/ 13222 h 67071"/>
                        <a:gd name="connsiteX4" fmla="*/ 61071 w 67991"/>
                        <a:gd name="connsiteY4" fmla="*/ 57435 h 67071"/>
                        <a:gd name="connsiteX5" fmla="*/ 34758 w 67991"/>
                        <a:gd name="connsiteY5" fmla="*/ 67071 h 67071"/>
                        <a:gd name="connsiteX6" fmla="*/ 26770 w 67991"/>
                        <a:gd name="connsiteY6" fmla="*/ 21273 h 67071"/>
                        <a:gd name="connsiteX7" fmla="*/ 24484 w 67991"/>
                        <a:gd name="connsiteY7" fmla="*/ 22082 h 67071"/>
                        <a:gd name="connsiteX8" fmla="*/ 24484 w 67991"/>
                        <a:gd name="connsiteY8" fmla="*/ 42853 h 67071"/>
                        <a:gd name="connsiteX9" fmla="*/ 46032 w 67991"/>
                        <a:gd name="connsiteY9" fmla="*/ 42385 h 67071"/>
                        <a:gd name="connsiteX10" fmla="*/ 39076 w 67991"/>
                        <a:gd name="connsiteY10" fmla="*/ 28250 h 67071"/>
                        <a:gd name="connsiteX11" fmla="*/ 26770 w 67991"/>
                        <a:gd name="connsiteY11" fmla="*/ 21273 h 6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7991" h="67071">
                          <a:moveTo>
                            <a:pt x="34758" y="67071"/>
                          </a:moveTo>
                          <a:cubicBezTo>
                            <a:pt x="25122" y="67071"/>
                            <a:pt x="15571" y="64030"/>
                            <a:pt x="9445" y="57903"/>
                          </a:cubicBezTo>
                          <a:cubicBezTo>
                            <a:pt x="-3148" y="45300"/>
                            <a:pt x="-3148" y="19646"/>
                            <a:pt x="9445" y="7053"/>
                          </a:cubicBezTo>
                          <a:cubicBezTo>
                            <a:pt x="20772" y="-4295"/>
                            <a:pt x="39140" y="-1743"/>
                            <a:pt x="54126" y="13222"/>
                          </a:cubicBezTo>
                          <a:cubicBezTo>
                            <a:pt x="69654" y="28772"/>
                            <a:pt x="72388" y="46129"/>
                            <a:pt x="61071" y="57435"/>
                          </a:cubicBezTo>
                          <a:cubicBezTo>
                            <a:pt x="54658" y="63849"/>
                            <a:pt x="44660" y="67071"/>
                            <a:pt x="34758" y="67071"/>
                          </a:cubicBezTo>
                          <a:close/>
                          <a:moveTo>
                            <a:pt x="26770" y="21273"/>
                          </a:moveTo>
                          <a:cubicBezTo>
                            <a:pt x="25834" y="21273"/>
                            <a:pt x="25037" y="21518"/>
                            <a:pt x="24484" y="22082"/>
                          </a:cubicBezTo>
                          <a:cubicBezTo>
                            <a:pt x="20538" y="26028"/>
                            <a:pt x="19900" y="38269"/>
                            <a:pt x="24484" y="42853"/>
                          </a:cubicBezTo>
                          <a:cubicBezTo>
                            <a:pt x="29036" y="47395"/>
                            <a:pt x="41948" y="46459"/>
                            <a:pt x="46032" y="42385"/>
                          </a:cubicBezTo>
                          <a:cubicBezTo>
                            <a:pt x="48180" y="40237"/>
                            <a:pt x="44171" y="33334"/>
                            <a:pt x="39076" y="28250"/>
                          </a:cubicBezTo>
                          <a:cubicBezTo>
                            <a:pt x="35183" y="24358"/>
                            <a:pt x="30046" y="21273"/>
                            <a:pt x="26770" y="21273"/>
                          </a:cubicBezTo>
                          <a:close/>
                        </a:path>
                      </a:pathLst>
                    </a:custGeom>
                    <a:solidFill>
                      <a:schemeClr val="accent1"/>
                    </a:solidFill>
                    <a:ln w="1063" cap="flat">
                      <a:noFill/>
                      <a:prstDash val="solid"/>
                      <a:miter/>
                    </a:ln>
                  </p:spPr>
                  <p:txBody>
                    <a:bodyPr rtlCol="0" anchor="ctr"/>
                    <a:lstStyle/>
                    <a:p>
                      <a:endParaRPr lang="en-GB" dirty="0"/>
                    </a:p>
                  </p:txBody>
                </p:sp>
                <p:sp>
                  <p:nvSpPr>
                    <p:cNvPr id="546" name="Freeform: Shape 545">
                      <a:extLst>
                        <a:ext uri="{FF2B5EF4-FFF2-40B4-BE49-F238E27FC236}">
                          <a16:creationId xmlns:a16="http://schemas.microsoft.com/office/drawing/2014/main" id="{EE1BFAAA-E7EF-4F88-8572-EBD8B0834473}"/>
                        </a:ext>
                      </a:extLst>
                    </p:cNvPr>
                    <p:cNvSpPr/>
                    <p:nvPr/>
                  </p:nvSpPr>
                  <p:spPr>
                    <a:xfrm>
                      <a:off x="2582017" y="4354497"/>
                      <a:ext cx="46686" cy="46683"/>
                    </a:xfrm>
                    <a:custGeom>
                      <a:avLst/>
                      <a:gdLst>
                        <a:gd name="connsiteX0" fmla="*/ 10638 w 46686"/>
                        <a:gd name="connsiteY0" fmla="*/ 46684 h 46683"/>
                        <a:gd name="connsiteX1" fmla="*/ 3119 w 46686"/>
                        <a:gd name="connsiteY1" fmla="*/ 43567 h 46683"/>
                        <a:gd name="connsiteX2" fmla="*/ 3119 w 46686"/>
                        <a:gd name="connsiteY2" fmla="*/ 28528 h 46683"/>
                        <a:gd name="connsiteX3" fmla="*/ 28528 w 46686"/>
                        <a:gd name="connsiteY3" fmla="*/ 3119 h 46683"/>
                        <a:gd name="connsiteX4" fmla="*/ 43567 w 46686"/>
                        <a:gd name="connsiteY4" fmla="*/ 3119 h 46683"/>
                        <a:gd name="connsiteX5" fmla="*/ 43567 w 46686"/>
                        <a:gd name="connsiteY5" fmla="*/ 18158 h 46683"/>
                        <a:gd name="connsiteX6" fmla="*/ 18158 w 46686"/>
                        <a:gd name="connsiteY6" fmla="*/ 43567 h 46683"/>
                        <a:gd name="connsiteX7" fmla="*/ 10638 w 46686"/>
                        <a:gd name="connsiteY7" fmla="*/ 46684 h 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86" h="46683">
                          <a:moveTo>
                            <a:pt x="10638" y="46684"/>
                          </a:moveTo>
                          <a:cubicBezTo>
                            <a:pt x="7916" y="46684"/>
                            <a:pt x="5193" y="45641"/>
                            <a:pt x="3119" y="43567"/>
                          </a:cubicBezTo>
                          <a:cubicBezTo>
                            <a:pt x="-1040" y="39409"/>
                            <a:pt x="-1040" y="32687"/>
                            <a:pt x="3119" y="28528"/>
                          </a:cubicBezTo>
                          <a:lnTo>
                            <a:pt x="28528" y="3119"/>
                          </a:lnTo>
                          <a:cubicBezTo>
                            <a:pt x="32687" y="-1040"/>
                            <a:pt x="39409" y="-1040"/>
                            <a:pt x="43567" y="3119"/>
                          </a:cubicBezTo>
                          <a:cubicBezTo>
                            <a:pt x="47726" y="7277"/>
                            <a:pt x="47726" y="14000"/>
                            <a:pt x="43567" y="18158"/>
                          </a:cubicBezTo>
                          <a:lnTo>
                            <a:pt x="18158" y="43567"/>
                          </a:lnTo>
                          <a:cubicBezTo>
                            <a:pt x="16084" y="45641"/>
                            <a:pt x="13361" y="46684"/>
                            <a:pt x="10638" y="46684"/>
                          </a:cubicBezTo>
                          <a:close/>
                        </a:path>
                      </a:pathLst>
                    </a:custGeom>
                    <a:solidFill>
                      <a:schemeClr val="accent1"/>
                    </a:solidFill>
                    <a:ln w="1063" cap="flat">
                      <a:noFill/>
                      <a:prstDash val="solid"/>
                      <a:miter/>
                    </a:ln>
                  </p:spPr>
                  <p:txBody>
                    <a:bodyPr rtlCol="0" anchor="ctr"/>
                    <a:lstStyle/>
                    <a:p>
                      <a:endParaRPr lang="en-GB" dirty="0"/>
                    </a:p>
                  </p:txBody>
                </p:sp>
              </p:grpSp>
              <p:grpSp>
                <p:nvGrpSpPr>
                  <p:cNvPr id="542" name="Graphic 818">
                    <a:extLst>
                      <a:ext uri="{FF2B5EF4-FFF2-40B4-BE49-F238E27FC236}">
                        <a16:creationId xmlns:a16="http://schemas.microsoft.com/office/drawing/2014/main" id="{31464F9B-A901-4077-84BD-D9FD2DA09827}"/>
                      </a:ext>
                    </a:extLst>
                  </p:cNvPr>
                  <p:cNvGrpSpPr/>
                  <p:nvPr/>
                </p:nvGrpSpPr>
                <p:grpSpPr>
                  <a:xfrm>
                    <a:off x="2354850" y="4314455"/>
                    <a:ext cx="87066" cy="86459"/>
                    <a:chOff x="2354850" y="4314455"/>
                    <a:chExt cx="87066" cy="86459"/>
                  </a:xfrm>
                  <a:solidFill>
                    <a:schemeClr val="accent1"/>
                  </a:solidFill>
                </p:grpSpPr>
                <p:sp>
                  <p:nvSpPr>
                    <p:cNvPr id="543" name="Freeform: Shape 542">
                      <a:extLst>
                        <a:ext uri="{FF2B5EF4-FFF2-40B4-BE49-F238E27FC236}">
                          <a16:creationId xmlns:a16="http://schemas.microsoft.com/office/drawing/2014/main" id="{02027712-15BF-42EE-B0B2-C3D306D556B8}"/>
                        </a:ext>
                      </a:extLst>
                    </p:cNvPr>
                    <p:cNvSpPr/>
                    <p:nvPr/>
                  </p:nvSpPr>
                  <p:spPr>
                    <a:xfrm>
                      <a:off x="2354850" y="4314455"/>
                      <a:ext cx="67972" cy="67123"/>
                    </a:xfrm>
                    <a:custGeom>
                      <a:avLst/>
                      <a:gdLst>
                        <a:gd name="connsiteX0" fmla="*/ 33215 w 67972"/>
                        <a:gd name="connsiteY0" fmla="*/ 67123 h 67123"/>
                        <a:gd name="connsiteX1" fmla="*/ 6902 w 67972"/>
                        <a:gd name="connsiteY1" fmla="*/ 57477 h 67123"/>
                        <a:gd name="connsiteX2" fmla="*/ 6902 w 67972"/>
                        <a:gd name="connsiteY2" fmla="*/ 57477 h 67123"/>
                        <a:gd name="connsiteX3" fmla="*/ 6902 w 67972"/>
                        <a:gd name="connsiteY3" fmla="*/ 57477 h 67123"/>
                        <a:gd name="connsiteX4" fmla="*/ 6902 w 67972"/>
                        <a:gd name="connsiteY4" fmla="*/ 57477 h 67123"/>
                        <a:gd name="connsiteX5" fmla="*/ 1445 w 67972"/>
                        <a:gd name="connsiteY5" fmla="*/ 32302 h 67123"/>
                        <a:gd name="connsiteX6" fmla="*/ 13847 w 67972"/>
                        <a:gd name="connsiteY6" fmla="*/ 13274 h 67123"/>
                        <a:gd name="connsiteX7" fmla="*/ 33512 w 67972"/>
                        <a:gd name="connsiteY7" fmla="*/ 1118 h 67123"/>
                        <a:gd name="connsiteX8" fmla="*/ 58528 w 67972"/>
                        <a:gd name="connsiteY8" fmla="*/ 7095 h 67123"/>
                        <a:gd name="connsiteX9" fmla="*/ 58528 w 67972"/>
                        <a:gd name="connsiteY9" fmla="*/ 57945 h 67123"/>
                        <a:gd name="connsiteX10" fmla="*/ 33215 w 67972"/>
                        <a:gd name="connsiteY10" fmla="*/ 67123 h 67123"/>
                        <a:gd name="connsiteX11" fmla="*/ 41362 w 67972"/>
                        <a:gd name="connsiteY11" fmla="*/ 21272 h 67123"/>
                        <a:gd name="connsiteX12" fmla="*/ 39245 w 67972"/>
                        <a:gd name="connsiteY12" fmla="*/ 21613 h 67123"/>
                        <a:gd name="connsiteX13" fmla="*/ 28896 w 67972"/>
                        <a:gd name="connsiteY13" fmla="*/ 28313 h 67123"/>
                        <a:gd name="connsiteX14" fmla="*/ 21696 w 67972"/>
                        <a:gd name="connsiteY14" fmla="*/ 38832 h 67123"/>
                        <a:gd name="connsiteX15" fmla="*/ 21941 w 67972"/>
                        <a:gd name="connsiteY15" fmla="*/ 42438 h 67123"/>
                        <a:gd name="connsiteX16" fmla="*/ 21941 w 67972"/>
                        <a:gd name="connsiteY16" fmla="*/ 42438 h 67123"/>
                        <a:gd name="connsiteX17" fmla="*/ 32800 w 67972"/>
                        <a:gd name="connsiteY17" fmla="*/ 45884 h 67123"/>
                        <a:gd name="connsiteX18" fmla="*/ 43489 w 67972"/>
                        <a:gd name="connsiteY18" fmla="*/ 42906 h 67123"/>
                        <a:gd name="connsiteX19" fmla="*/ 43489 w 67972"/>
                        <a:gd name="connsiteY19" fmla="*/ 22134 h 67123"/>
                        <a:gd name="connsiteX20" fmla="*/ 41362 w 67972"/>
                        <a:gd name="connsiteY20" fmla="*/ 21272 h 67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972" h="67123">
                          <a:moveTo>
                            <a:pt x="33215" y="67123"/>
                          </a:moveTo>
                          <a:cubicBezTo>
                            <a:pt x="23313" y="67123"/>
                            <a:pt x="13326" y="63890"/>
                            <a:pt x="6902" y="57477"/>
                          </a:cubicBezTo>
                          <a:lnTo>
                            <a:pt x="6902" y="57477"/>
                          </a:lnTo>
                          <a:lnTo>
                            <a:pt x="6902" y="57477"/>
                          </a:lnTo>
                          <a:lnTo>
                            <a:pt x="6902" y="57477"/>
                          </a:lnTo>
                          <a:cubicBezTo>
                            <a:pt x="275" y="50861"/>
                            <a:pt x="-1660" y="41917"/>
                            <a:pt x="1445" y="32302"/>
                          </a:cubicBezTo>
                          <a:cubicBezTo>
                            <a:pt x="4051" y="24208"/>
                            <a:pt x="9635" y="17486"/>
                            <a:pt x="13847" y="13274"/>
                          </a:cubicBezTo>
                          <a:cubicBezTo>
                            <a:pt x="19792" y="7318"/>
                            <a:pt x="26769" y="3011"/>
                            <a:pt x="33512" y="1118"/>
                          </a:cubicBezTo>
                          <a:cubicBezTo>
                            <a:pt x="43106" y="-1531"/>
                            <a:pt x="51998" y="554"/>
                            <a:pt x="58528" y="7095"/>
                          </a:cubicBezTo>
                          <a:cubicBezTo>
                            <a:pt x="71121" y="19698"/>
                            <a:pt x="71121" y="45352"/>
                            <a:pt x="58528" y="57945"/>
                          </a:cubicBezTo>
                          <a:cubicBezTo>
                            <a:pt x="52402" y="64071"/>
                            <a:pt x="42851" y="67123"/>
                            <a:pt x="33215" y="67123"/>
                          </a:cubicBezTo>
                          <a:close/>
                          <a:moveTo>
                            <a:pt x="41362" y="21272"/>
                          </a:moveTo>
                          <a:cubicBezTo>
                            <a:pt x="40809" y="21272"/>
                            <a:pt x="40117" y="21368"/>
                            <a:pt x="39245" y="21613"/>
                          </a:cubicBezTo>
                          <a:cubicBezTo>
                            <a:pt x="36065" y="22495"/>
                            <a:pt x="32204" y="24995"/>
                            <a:pt x="28896" y="28313"/>
                          </a:cubicBezTo>
                          <a:cubicBezTo>
                            <a:pt x="25323" y="31887"/>
                            <a:pt x="22696" y="35716"/>
                            <a:pt x="21696" y="38832"/>
                          </a:cubicBezTo>
                          <a:cubicBezTo>
                            <a:pt x="20877" y="41363"/>
                            <a:pt x="21473" y="41959"/>
                            <a:pt x="21941" y="42438"/>
                          </a:cubicBezTo>
                          <a:lnTo>
                            <a:pt x="21941" y="42438"/>
                          </a:lnTo>
                          <a:cubicBezTo>
                            <a:pt x="23504" y="44001"/>
                            <a:pt x="27578" y="45756"/>
                            <a:pt x="32800" y="45884"/>
                          </a:cubicBezTo>
                          <a:cubicBezTo>
                            <a:pt x="37437" y="46160"/>
                            <a:pt x="41564" y="44831"/>
                            <a:pt x="43489" y="42906"/>
                          </a:cubicBezTo>
                          <a:cubicBezTo>
                            <a:pt x="48073" y="38322"/>
                            <a:pt x="47435" y="26080"/>
                            <a:pt x="43489" y="22134"/>
                          </a:cubicBezTo>
                          <a:cubicBezTo>
                            <a:pt x="43149" y="21794"/>
                            <a:pt x="42638" y="21272"/>
                            <a:pt x="41362" y="21272"/>
                          </a:cubicBezTo>
                          <a:close/>
                        </a:path>
                      </a:pathLst>
                    </a:custGeom>
                    <a:solidFill>
                      <a:schemeClr val="accent1"/>
                    </a:solidFill>
                    <a:ln w="1063" cap="flat">
                      <a:noFill/>
                      <a:prstDash val="solid"/>
                      <a:miter/>
                    </a:ln>
                  </p:spPr>
                  <p:txBody>
                    <a:bodyPr rtlCol="0" anchor="ctr"/>
                    <a:lstStyle/>
                    <a:p>
                      <a:endParaRPr lang="en-GB" dirty="0"/>
                    </a:p>
                  </p:txBody>
                </p:sp>
                <p:sp>
                  <p:nvSpPr>
                    <p:cNvPr id="544" name="Freeform: Shape 543">
                      <a:extLst>
                        <a:ext uri="{FF2B5EF4-FFF2-40B4-BE49-F238E27FC236}">
                          <a16:creationId xmlns:a16="http://schemas.microsoft.com/office/drawing/2014/main" id="{6A464E12-8CAD-4A89-87E3-66860F90E64A}"/>
                        </a:ext>
                      </a:extLst>
                    </p:cNvPr>
                    <p:cNvSpPr/>
                    <p:nvPr/>
                  </p:nvSpPr>
                  <p:spPr>
                    <a:xfrm>
                      <a:off x="2395230" y="4354231"/>
                      <a:ext cx="46686" cy="46683"/>
                    </a:xfrm>
                    <a:custGeom>
                      <a:avLst/>
                      <a:gdLst>
                        <a:gd name="connsiteX0" fmla="*/ 36048 w 46686"/>
                        <a:gd name="connsiteY0" fmla="*/ 46684 h 46683"/>
                        <a:gd name="connsiteX1" fmla="*/ 28528 w 46686"/>
                        <a:gd name="connsiteY1" fmla="*/ 43567 h 46683"/>
                        <a:gd name="connsiteX2" fmla="*/ 3119 w 46686"/>
                        <a:gd name="connsiteY2" fmla="*/ 18158 h 46683"/>
                        <a:gd name="connsiteX3" fmla="*/ 3119 w 46686"/>
                        <a:gd name="connsiteY3" fmla="*/ 3119 h 46683"/>
                        <a:gd name="connsiteX4" fmla="*/ 18158 w 46686"/>
                        <a:gd name="connsiteY4" fmla="*/ 3119 h 46683"/>
                        <a:gd name="connsiteX5" fmla="*/ 43567 w 46686"/>
                        <a:gd name="connsiteY5" fmla="*/ 28528 h 46683"/>
                        <a:gd name="connsiteX6" fmla="*/ 43567 w 46686"/>
                        <a:gd name="connsiteY6" fmla="*/ 43567 h 46683"/>
                        <a:gd name="connsiteX7" fmla="*/ 36048 w 46686"/>
                        <a:gd name="connsiteY7" fmla="*/ 46684 h 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86" h="46683">
                          <a:moveTo>
                            <a:pt x="36048" y="46684"/>
                          </a:moveTo>
                          <a:cubicBezTo>
                            <a:pt x="33325" y="46684"/>
                            <a:pt x="30602" y="45641"/>
                            <a:pt x="28528" y="43567"/>
                          </a:cubicBezTo>
                          <a:lnTo>
                            <a:pt x="3119" y="18158"/>
                          </a:lnTo>
                          <a:cubicBezTo>
                            <a:pt x="-1040" y="14000"/>
                            <a:pt x="-1040" y="7277"/>
                            <a:pt x="3119" y="3119"/>
                          </a:cubicBezTo>
                          <a:cubicBezTo>
                            <a:pt x="7278" y="-1040"/>
                            <a:pt x="13999" y="-1040"/>
                            <a:pt x="18158" y="3119"/>
                          </a:cubicBezTo>
                          <a:lnTo>
                            <a:pt x="43567" y="28528"/>
                          </a:lnTo>
                          <a:cubicBezTo>
                            <a:pt x="47726" y="32687"/>
                            <a:pt x="47726" y="39409"/>
                            <a:pt x="43567" y="43567"/>
                          </a:cubicBezTo>
                          <a:cubicBezTo>
                            <a:pt x="41493" y="45641"/>
                            <a:pt x="38770" y="46684"/>
                            <a:pt x="36048" y="46684"/>
                          </a:cubicBezTo>
                          <a:close/>
                        </a:path>
                      </a:pathLst>
                    </a:custGeom>
                    <a:solidFill>
                      <a:schemeClr val="accent1"/>
                    </a:solidFill>
                    <a:ln w="1063" cap="flat">
                      <a:noFill/>
                      <a:prstDash val="solid"/>
                      <a:miter/>
                    </a:ln>
                  </p:spPr>
                  <p:txBody>
                    <a:bodyPr rtlCol="0" anchor="ctr"/>
                    <a:lstStyle/>
                    <a:p>
                      <a:endParaRPr lang="en-GB" dirty="0"/>
                    </a:p>
                  </p:txBody>
                </p:sp>
              </p:grpSp>
            </p:grpSp>
            <p:grpSp>
              <p:nvGrpSpPr>
                <p:cNvPr id="522" name="Graphic 818">
                  <a:extLst>
                    <a:ext uri="{FF2B5EF4-FFF2-40B4-BE49-F238E27FC236}">
                      <a16:creationId xmlns:a16="http://schemas.microsoft.com/office/drawing/2014/main" id="{17E5A903-FD97-4454-BF41-3F3F8BFD2CFD}"/>
                    </a:ext>
                  </a:extLst>
                </p:cNvPr>
                <p:cNvGrpSpPr/>
                <p:nvPr/>
              </p:nvGrpSpPr>
              <p:grpSpPr>
                <a:xfrm>
                  <a:off x="2354839" y="4541050"/>
                  <a:ext cx="314266" cy="132536"/>
                  <a:chOff x="2354839" y="4541050"/>
                  <a:chExt cx="314266" cy="132536"/>
                </a:xfrm>
                <a:solidFill>
                  <a:schemeClr val="accent1"/>
                </a:solidFill>
              </p:grpSpPr>
              <p:grpSp>
                <p:nvGrpSpPr>
                  <p:cNvPr id="531" name="Graphic 818">
                    <a:extLst>
                      <a:ext uri="{FF2B5EF4-FFF2-40B4-BE49-F238E27FC236}">
                        <a16:creationId xmlns:a16="http://schemas.microsoft.com/office/drawing/2014/main" id="{5718A77E-3A89-42CD-9E04-FC00BFC3DF69}"/>
                      </a:ext>
                    </a:extLst>
                  </p:cNvPr>
                  <p:cNvGrpSpPr/>
                  <p:nvPr/>
                </p:nvGrpSpPr>
                <p:grpSpPr>
                  <a:xfrm>
                    <a:off x="2475916" y="4574471"/>
                    <a:ext cx="72132" cy="99115"/>
                    <a:chOff x="2475916" y="4574471"/>
                    <a:chExt cx="72132" cy="99115"/>
                  </a:xfrm>
                  <a:solidFill>
                    <a:schemeClr val="accent1"/>
                  </a:solidFill>
                </p:grpSpPr>
                <p:sp>
                  <p:nvSpPr>
                    <p:cNvPr id="538" name="Freeform: Shape 537">
                      <a:extLst>
                        <a:ext uri="{FF2B5EF4-FFF2-40B4-BE49-F238E27FC236}">
                          <a16:creationId xmlns:a16="http://schemas.microsoft.com/office/drawing/2014/main" id="{A6ABCFDD-B2DF-4CDD-A179-24706242E719}"/>
                        </a:ext>
                      </a:extLst>
                    </p:cNvPr>
                    <p:cNvSpPr/>
                    <p:nvPr/>
                  </p:nvSpPr>
                  <p:spPr>
                    <a:xfrm>
                      <a:off x="2475916" y="4610388"/>
                      <a:ext cx="72132" cy="63198"/>
                    </a:xfrm>
                    <a:custGeom>
                      <a:avLst/>
                      <a:gdLst>
                        <a:gd name="connsiteX0" fmla="*/ 35960 w 72132"/>
                        <a:gd name="connsiteY0" fmla="*/ 63199 h 63198"/>
                        <a:gd name="connsiteX1" fmla="*/ 0 w 72132"/>
                        <a:gd name="connsiteY1" fmla="*/ 35960 h 63198"/>
                        <a:gd name="connsiteX2" fmla="*/ 35960 w 72132"/>
                        <a:gd name="connsiteY2" fmla="*/ 0 h 63198"/>
                        <a:gd name="connsiteX3" fmla="*/ 72132 w 72132"/>
                        <a:gd name="connsiteY3" fmla="*/ 36832 h 63198"/>
                        <a:gd name="connsiteX4" fmla="*/ 35960 w 72132"/>
                        <a:gd name="connsiteY4" fmla="*/ 63199 h 63198"/>
                        <a:gd name="connsiteX5" fmla="*/ 35960 w 72132"/>
                        <a:gd name="connsiteY5" fmla="*/ 21283 h 63198"/>
                        <a:gd name="connsiteX6" fmla="*/ 21272 w 72132"/>
                        <a:gd name="connsiteY6" fmla="*/ 35971 h 63198"/>
                        <a:gd name="connsiteX7" fmla="*/ 35960 w 72132"/>
                        <a:gd name="connsiteY7" fmla="*/ 41937 h 63198"/>
                        <a:gd name="connsiteX8" fmla="*/ 50861 w 72132"/>
                        <a:gd name="connsiteY8" fmla="*/ 36843 h 63198"/>
                        <a:gd name="connsiteX9" fmla="*/ 35960 w 72132"/>
                        <a:gd name="connsiteY9" fmla="*/ 21283 h 6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32" h="63198">
                          <a:moveTo>
                            <a:pt x="35960" y="63199"/>
                          </a:moveTo>
                          <a:cubicBezTo>
                            <a:pt x="14784" y="63199"/>
                            <a:pt x="0" y="51999"/>
                            <a:pt x="0" y="35960"/>
                          </a:cubicBezTo>
                          <a:cubicBezTo>
                            <a:pt x="0" y="18145"/>
                            <a:pt x="18145" y="0"/>
                            <a:pt x="35960" y="0"/>
                          </a:cubicBezTo>
                          <a:cubicBezTo>
                            <a:pt x="53541" y="0"/>
                            <a:pt x="72132" y="18932"/>
                            <a:pt x="72132" y="36832"/>
                          </a:cubicBezTo>
                          <a:cubicBezTo>
                            <a:pt x="72143" y="52860"/>
                            <a:pt x="57944" y="63199"/>
                            <a:pt x="35960" y="63199"/>
                          </a:cubicBezTo>
                          <a:close/>
                          <a:moveTo>
                            <a:pt x="35960" y="21283"/>
                          </a:moveTo>
                          <a:cubicBezTo>
                            <a:pt x="29483" y="21283"/>
                            <a:pt x="21272" y="30387"/>
                            <a:pt x="21272" y="35971"/>
                          </a:cubicBezTo>
                          <a:cubicBezTo>
                            <a:pt x="21272" y="39534"/>
                            <a:pt x="28866" y="41937"/>
                            <a:pt x="35960" y="41937"/>
                          </a:cubicBezTo>
                          <a:cubicBezTo>
                            <a:pt x="43160" y="41937"/>
                            <a:pt x="50861" y="39895"/>
                            <a:pt x="50861" y="36843"/>
                          </a:cubicBezTo>
                          <a:cubicBezTo>
                            <a:pt x="50871" y="31068"/>
                            <a:pt x="42395" y="21283"/>
                            <a:pt x="35960" y="21283"/>
                          </a:cubicBezTo>
                          <a:close/>
                        </a:path>
                      </a:pathLst>
                    </a:custGeom>
                    <a:solidFill>
                      <a:schemeClr val="accent1"/>
                    </a:solidFill>
                    <a:ln w="1063" cap="flat">
                      <a:noFill/>
                      <a:prstDash val="solid"/>
                      <a:miter/>
                    </a:ln>
                  </p:spPr>
                  <p:txBody>
                    <a:bodyPr rtlCol="0" anchor="ctr"/>
                    <a:lstStyle/>
                    <a:p>
                      <a:endParaRPr lang="en-GB" dirty="0"/>
                    </a:p>
                  </p:txBody>
                </p:sp>
                <p:sp>
                  <p:nvSpPr>
                    <p:cNvPr id="539" name="Freeform: Shape 538">
                      <a:extLst>
                        <a:ext uri="{FF2B5EF4-FFF2-40B4-BE49-F238E27FC236}">
                          <a16:creationId xmlns:a16="http://schemas.microsoft.com/office/drawing/2014/main" id="{5A4E2719-7BB6-46B4-A2B5-D146E0DF3F03}"/>
                        </a:ext>
                      </a:extLst>
                    </p:cNvPr>
                    <p:cNvSpPr/>
                    <p:nvPr/>
                  </p:nvSpPr>
                  <p:spPr>
                    <a:xfrm>
                      <a:off x="2501230" y="4574471"/>
                      <a:ext cx="21271" cy="57199"/>
                    </a:xfrm>
                    <a:custGeom>
                      <a:avLst/>
                      <a:gdLst>
                        <a:gd name="connsiteX0" fmla="*/ 10636 w 21271"/>
                        <a:gd name="connsiteY0" fmla="*/ 57199 h 57199"/>
                        <a:gd name="connsiteX1" fmla="*/ 0 w 21271"/>
                        <a:gd name="connsiteY1" fmla="*/ 46564 h 57199"/>
                        <a:gd name="connsiteX2" fmla="*/ 0 w 21271"/>
                        <a:gd name="connsiteY2" fmla="*/ 10636 h 57199"/>
                        <a:gd name="connsiteX3" fmla="*/ 10636 w 21271"/>
                        <a:gd name="connsiteY3" fmla="*/ 0 h 57199"/>
                        <a:gd name="connsiteX4" fmla="*/ 21272 w 21271"/>
                        <a:gd name="connsiteY4" fmla="*/ 10636 h 57199"/>
                        <a:gd name="connsiteX5" fmla="*/ 21272 w 21271"/>
                        <a:gd name="connsiteY5" fmla="*/ 46564 h 57199"/>
                        <a:gd name="connsiteX6" fmla="*/ 10636 w 21271"/>
                        <a:gd name="connsiteY6" fmla="*/ 57199 h 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57199">
                          <a:moveTo>
                            <a:pt x="10636" y="57199"/>
                          </a:moveTo>
                          <a:cubicBezTo>
                            <a:pt x="4765" y="57199"/>
                            <a:pt x="0" y="52445"/>
                            <a:pt x="0" y="46564"/>
                          </a:cubicBezTo>
                          <a:lnTo>
                            <a:pt x="0" y="10636"/>
                          </a:lnTo>
                          <a:cubicBezTo>
                            <a:pt x="0" y="4754"/>
                            <a:pt x="4765" y="0"/>
                            <a:pt x="10636" y="0"/>
                          </a:cubicBezTo>
                          <a:cubicBezTo>
                            <a:pt x="16507" y="0"/>
                            <a:pt x="21272" y="4754"/>
                            <a:pt x="21272" y="10636"/>
                          </a:cubicBezTo>
                          <a:lnTo>
                            <a:pt x="21272" y="46564"/>
                          </a:lnTo>
                          <a:cubicBezTo>
                            <a:pt x="21272" y="52445"/>
                            <a:pt x="16507" y="57199"/>
                            <a:pt x="10636" y="57199"/>
                          </a:cubicBezTo>
                          <a:close/>
                        </a:path>
                      </a:pathLst>
                    </a:custGeom>
                    <a:solidFill>
                      <a:schemeClr val="accent1"/>
                    </a:solidFill>
                    <a:ln w="1063" cap="flat">
                      <a:noFill/>
                      <a:prstDash val="solid"/>
                      <a:miter/>
                    </a:ln>
                  </p:spPr>
                  <p:txBody>
                    <a:bodyPr rtlCol="0" anchor="ctr"/>
                    <a:lstStyle/>
                    <a:p>
                      <a:endParaRPr lang="en-GB" dirty="0"/>
                    </a:p>
                  </p:txBody>
                </p:sp>
              </p:grpSp>
              <p:grpSp>
                <p:nvGrpSpPr>
                  <p:cNvPr id="532" name="Graphic 818">
                    <a:extLst>
                      <a:ext uri="{FF2B5EF4-FFF2-40B4-BE49-F238E27FC236}">
                        <a16:creationId xmlns:a16="http://schemas.microsoft.com/office/drawing/2014/main" id="{5AA480AE-D497-4D4A-9918-6B06A5CB4EBB}"/>
                      </a:ext>
                    </a:extLst>
                  </p:cNvPr>
                  <p:cNvGrpSpPr/>
                  <p:nvPr/>
                </p:nvGrpSpPr>
                <p:grpSpPr>
                  <a:xfrm>
                    <a:off x="2582017" y="4541050"/>
                    <a:ext cx="87088" cy="86408"/>
                    <a:chOff x="2582017" y="4541050"/>
                    <a:chExt cx="87088" cy="86408"/>
                  </a:xfrm>
                  <a:solidFill>
                    <a:schemeClr val="accent1"/>
                  </a:solidFill>
                </p:grpSpPr>
                <p:sp>
                  <p:nvSpPr>
                    <p:cNvPr id="536" name="Freeform: Shape 535">
                      <a:extLst>
                        <a:ext uri="{FF2B5EF4-FFF2-40B4-BE49-F238E27FC236}">
                          <a16:creationId xmlns:a16="http://schemas.microsoft.com/office/drawing/2014/main" id="{B2D780BA-4AE1-493F-8E39-4F9550B9218B}"/>
                        </a:ext>
                      </a:extLst>
                    </p:cNvPr>
                    <p:cNvSpPr/>
                    <p:nvPr/>
                  </p:nvSpPr>
                  <p:spPr>
                    <a:xfrm>
                      <a:off x="2601111" y="4560376"/>
                      <a:ext cx="67994" cy="67082"/>
                    </a:xfrm>
                    <a:custGeom>
                      <a:avLst/>
                      <a:gdLst>
                        <a:gd name="connsiteX0" fmla="*/ 26568 w 67994"/>
                        <a:gd name="connsiteY0" fmla="*/ 67082 h 67082"/>
                        <a:gd name="connsiteX1" fmla="*/ 9445 w 67994"/>
                        <a:gd name="connsiteY1" fmla="*/ 60031 h 67082"/>
                        <a:gd name="connsiteX2" fmla="*/ 9445 w 67994"/>
                        <a:gd name="connsiteY2" fmla="*/ 9181 h 67082"/>
                        <a:gd name="connsiteX3" fmla="*/ 61071 w 67994"/>
                        <a:gd name="connsiteY3" fmla="*/ 9649 h 67082"/>
                        <a:gd name="connsiteX4" fmla="*/ 54126 w 67994"/>
                        <a:gd name="connsiteY4" fmla="*/ 53862 h 67082"/>
                        <a:gd name="connsiteX5" fmla="*/ 26568 w 67994"/>
                        <a:gd name="connsiteY5" fmla="*/ 67082 h 67082"/>
                        <a:gd name="connsiteX6" fmla="*/ 34396 w 67994"/>
                        <a:gd name="connsiteY6" fmla="*/ 21199 h 67082"/>
                        <a:gd name="connsiteX7" fmla="*/ 24484 w 67994"/>
                        <a:gd name="connsiteY7" fmla="*/ 24219 h 67082"/>
                        <a:gd name="connsiteX8" fmla="*/ 24484 w 67994"/>
                        <a:gd name="connsiteY8" fmla="*/ 44992 h 67082"/>
                        <a:gd name="connsiteX9" fmla="*/ 39087 w 67994"/>
                        <a:gd name="connsiteY9" fmla="*/ 38823 h 67082"/>
                        <a:gd name="connsiteX10" fmla="*/ 46287 w 67994"/>
                        <a:gd name="connsiteY10" fmla="*/ 28304 h 67082"/>
                        <a:gd name="connsiteX11" fmla="*/ 46032 w 67994"/>
                        <a:gd name="connsiteY11" fmla="*/ 24688 h 67082"/>
                        <a:gd name="connsiteX12" fmla="*/ 34396 w 67994"/>
                        <a:gd name="connsiteY12" fmla="*/ 21199 h 67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94" h="67082">
                          <a:moveTo>
                            <a:pt x="26568" y="67082"/>
                          </a:moveTo>
                          <a:cubicBezTo>
                            <a:pt x="20144" y="67082"/>
                            <a:pt x="14178" y="64764"/>
                            <a:pt x="9445" y="60031"/>
                          </a:cubicBezTo>
                          <a:cubicBezTo>
                            <a:pt x="-3148" y="47438"/>
                            <a:pt x="-3148" y="21773"/>
                            <a:pt x="9445" y="9181"/>
                          </a:cubicBezTo>
                          <a:cubicBezTo>
                            <a:pt x="21889" y="-3263"/>
                            <a:pt x="48425" y="-3008"/>
                            <a:pt x="61071" y="9649"/>
                          </a:cubicBezTo>
                          <a:cubicBezTo>
                            <a:pt x="72388" y="20965"/>
                            <a:pt x="69665" y="38323"/>
                            <a:pt x="54126" y="53862"/>
                          </a:cubicBezTo>
                          <a:cubicBezTo>
                            <a:pt x="45404" y="62583"/>
                            <a:pt x="35524" y="67082"/>
                            <a:pt x="26568" y="67082"/>
                          </a:cubicBezTo>
                          <a:close/>
                          <a:moveTo>
                            <a:pt x="34396" y="21199"/>
                          </a:moveTo>
                          <a:cubicBezTo>
                            <a:pt x="30440" y="21199"/>
                            <a:pt x="26579" y="22135"/>
                            <a:pt x="24484" y="24219"/>
                          </a:cubicBezTo>
                          <a:cubicBezTo>
                            <a:pt x="19910" y="28804"/>
                            <a:pt x="20538" y="41046"/>
                            <a:pt x="24484" y="44992"/>
                          </a:cubicBezTo>
                          <a:cubicBezTo>
                            <a:pt x="27004" y="47502"/>
                            <a:pt x="34067" y="43832"/>
                            <a:pt x="39087" y="38823"/>
                          </a:cubicBezTo>
                          <a:cubicBezTo>
                            <a:pt x="42650" y="35249"/>
                            <a:pt x="45287" y="31420"/>
                            <a:pt x="46287" y="28304"/>
                          </a:cubicBezTo>
                          <a:cubicBezTo>
                            <a:pt x="47106" y="25762"/>
                            <a:pt x="46511" y="25166"/>
                            <a:pt x="46032" y="24688"/>
                          </a:cubicBezTo>
                          <a:cubicBezTo>
                            <a:pt x="43820" y="22486"/>
                            <a:pt x="39044" y="21199"/>
                            <a:pt x="34396" y="21199"/>
                          </a:cubicBezTo>
                          <a:close/>
                        </a:path>
                      </a:pathLst>
                    </a:custGeom>
                    <a:solidFill>
                      <a:schemeClr val="accent1"/>
                    </a:solidFill>
                    <a:ln w="1063" cap="flat">
                      <a:noFill/>
                      <a:prstDash val="solid"/>
                      <a:miter/>
                    </a:ln>
                  </p:spPr>
                  <p:txBody>
                    <a:bodyPr rtlCol="0" anchor="ctr"/>
                    <a:lstStyle/>
                    <a:p>
                      <a:endParaRPr lang="en-GB" dirty="0"/>
                    </a:p>
                  </p:txBody>
                </p:sp>
                <p:sp>
                  <p:nvSpPr>
                    <p:cNvPr id="537" name="Freeform: Shape 536">
                      <a:extLst>
                        <a:ext uri="{FF2B5EF4-FFF2-40B4-BE49-F238E27FC236}">
                          <a16:creationId xmlns:a16="http://schemas.microsoft.com/office/drawing/2014/main" id="{30629EAE-F2DC-4C07-944A-166161D92B63}"/>
                        </a:ext>
                      </a:extLst>
                    </p:cNvPr>
                    <p:cNvSpPr/>
                    <p:nvPr/>
                  </p:nvSpPr>
                  <p:spPr>
                    <a:xfrm>
                      <a:off x="2582017" y="4541050"/>
                      <a:ext cx="46686" cy="46673"/>
                    </a:xfrm>
                    <a:custGeom>
                      <a:avLst/>
                      <a:gdLst>
                        <a:gd name="connsiteX0" fmla="*/ 36048 w 46686"/>
                        <a:gd name="connsiteY0" fmla="*/ 46673 h 46673"/>
                        <a:gd name="connsiteX1" fmla="*/ 28528 w 46686"/>
                        <a:gd name="connsiteY1" fmla="*/ 43557 h 46673"/>
                        <a:gd name="connsiteX2" fmla="*/ 3119 w 46686"/>
                        <a:gd name="connsiteY2" fmla="*/ 18158 h 46673"/>
                        <a:gd name="connsiteX3" fmla="*/ 3119 w 46686"/>
                        <a:gd name="connsiteY3" fmla="*/ 3119 h 46673"/>
                        <a:gd name="connsiteX4" fmla="*/ 18158 w 46686"/>
                        <a:gd name="connsiteY4" fmla="*/ 3119 h 46673"/>
                        <a:gd name="connsiteX5" fmla="*/ 43567 w 46686"/>
                        <a:gd name="connsiteY5" fmla="*/ 28517 h 46673"/>
                        <a:gd name="connsiteX6" fmla="*/ 43567 w 46686"/>
                        <a:gd name="connsiteY6" fmla="*/ 43557 h 46673"/>
                        <a:gd name="connsiteX7" fmla="*/ 36048 w 46686"/>
                        <a:gd name="connsiteY7" fmla="*/ 46673 h 46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86" h="46673">
                          <a:moveTo>
                            <a:pt x="36048" y="46673"/>
                          </a:moveTo>
                          <a:cubicBezTo>
                            <a:pt x="33325" y="46673"/>
                            <a:pt x="30602" y="45631"/>
                            <a:pt x="28528" y="43557"/>
                          </a:cubicBezTo>
                          <a:lnTo>
                            <a:pt x="3119" y="18158"/>
                          </a:lnTo>
                          <a:cubicBezTo>
                            <a:pt x="-1040" y="14000"/>
                            <a:pt x="-1040" y="7278"/>
                            <a:pt x="3119" y="3119"/>
                          </a:cubicBezTo>
                          <a:cubicBezTo>
                            <a:pt x="7267" y="-1040"/>
                            <a:pt x="13999" y="-1040"/>
                            <a:pt x="18158" y="3119"/>
                          </a:cubicBezTo>
                          <a:lnTo>
                            <a:pt x="43567" y="28517"/>
                          </a:lnTo>
                          <a:cubicBezTo>
                            <a:pt x="47726" y="32676"/>
                            <a:pt x="47726" y="39398"/>
                            <a:pt x="43567" y="43557"/>
                          </a:cubicBezTo>
                          <a:cubicBezTo>
                            <a:pt x="41493" y="45631"/>
                            <a:pt x="38770" y="46673"/>
                            <a:pt x="36048" y="46673"/>
                          </a:cubicBezTo>
                          <a:close/>
                        </a:path>
                      </a:pathLst>
                    </a:custGeom>
                    <a:solidFill>
                      <a:schemeClr val="accent1"/>
                    </a:solidFill>
                    <a:ln w="1063" cap="flat">
                      <a:noFill/>
                      <a:prstDash val="solid"/>
                      <a:miter/>
                    </a:ln>
                  </p:spPr>
                  <p:txBody>
                    <a:bodyPr rtlCol="0" anchor="ctr"/>
                    <a:lstStyle/>
                    <a:p>
                      <a:endParaRPr lang="en-GB" dirty="0"/>
                    </a:p>
                  </p:txBody>
                </p:sp>
              </p:grpSp>
              <p:grpSp>
                <p:nvGrpSpPr>
                  <p:cNvPr id="533" name="Graphic 818">
                    <a:extLst>
                      <a:ext uri="{FF2B5EF4-FFF2-40B4-BE49-F238E27FC236}">
                        <a16:creationId xmlns:a16="http://schemas.microsoft.com/office/drawing/2014/main" id="{CE26F1EA-7067-4FA1-A2BA-B814A73AF2E3}"/>
                      </a:ext>
                    </a:extLst>
                  </p:cNvPr>
                  <p:cNvGrpSpPr/>
                  <p:nvPr/>
                </p:nvGrpSpPr>
                <p:grpSpPr>
                  <a:xfrm>
                    <a:off x="2354839" y="4541316"/>
                    <a:ext cx="87087" cy="86418"/>
                    <a:chOff x="2354839" y="4541316"/>
                    <a:chExt cx="87087" cy="86418"/>
                  </a:xfrm>
                  <a:solidFill>
                    <a:schemeClr val="accent1"/>
                  </a:solidFill>
                </p:grpSpPr>
                <p:sp>
                  <p:nvSpPr>
                    <p:cNvPr id="534" name="Freeform: Shape 533">
                      <a:extLst>
                        <a:ext uri="{FF2B5EF4-FFF2-40B4-BE49-F238E27FC236}">
                          <a16:creationId xmlns:a16="http://schemas.microsoft.com/office/drawing/2014/main" id="{69E80E5B-F4AA-4A19-BD1E-C322C90290BD}"/>
                        </a:ext>
                      </a:extLst>
                    </p:cNvPr>
                    <p:cNvSpPr/>
                    <p:nvPr/>
                  </p:nvSpPr>
                  <p:spPr>
                    <a:xfrm>
                      <a:off x="2354839" y="4560657"/>
                      <a:ext cx="67983" cy="67078"/>
                    </a:xfrm>
                    <a:custGeom>
                      <a:avLst/>
                      <a:gdLst>
                        <a:gd name="connsiteX0" fmla="*/ 41425 w 67983"/>
                        <a:gd name="connsiteY0" fmla="*/ 67078 h 67078"/>
                        <a:gd name="connsiteX1" fmla="*/ 13868 w 67983"/>
                        <a:gd name="connsiteY1" fmla="*/ 53858 h 67078"/>
                        <a:gd name="connsiteX2" fmla="*/ 6912 w 67983"/>
                        <a:gd name="connsiteY2" fmla="*/ 9645 h 67078"/>
                        <a:gd name="connsiteX3" fmla="*/ 6912 w 67983"/>
                        <a:gd name="connsiteY3" fmla="*/ 9645 h 67078"/>
                        <a:gd name="connsiteX4" fmla="*/ 58538 w 67983"/>
                        <a:gd name="connsiteY4" fmla="*/ 9177 h 67078"/>
                        <a:gd name="connsiteX5" fmla="*/ 58538 w 67983"/>
                        <a:gd name="connsiteY5" fmla="*/ 60027 h 67078"/>
                        <a:gd name="connsiteX6" fmla="*/ 41425 w 67983"/>
                        <a:gd name="connsiteY6" fmla="*/ 67078 h 67078"/>
                        <a:gd name="connsiteX7" fmla="*/ 21962 w 67983"/>
                        <a:gd name="connsiteY7" fmla="*/ 24684 h 67078"/>
                        <a:gd name="connsiteX8" fmla="*/ 28918 w 67983"/>
                        <a:gd name="connsiteY8" fmla="*/ 38819 h 67078"/>
                        <a:gd name="connsiteX9" fmla="*/ 43510 w 67983"/>
                        <a:gd name="connsiteY9" fmla="*/ 44987 h 67078"/>
                        <a:gd name="connsiteX10" fmla="*/ 43510 w 67983"/>
                        <a:gd name="connsiteY10" fmla="*/ 24216 h 67078"/>
                        <a:gd name="connsiteX11" fmla="*/ 32821 w 67983"/>
                        <a:gd name="connsiteY11" fmla="*/ 21238 h 67078"/>
                        <a:gd name="connsiteX12" fmla="*/ 21962 w 67983"/>
                        <a:gd name="connsiteY12" fmla="*/ 24684 h 6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83" h="67078">
                          <a:moveTo>
                            <a:pt x="41425" y="67078"/>
                          </a:moveTo>
                          <a:cubicBezTo>
                            <a:pt x="32459" y="67078"/>
                            <a:pt x="22589" y="62569"/>
                            <a:pt x="13868" y="53858"/>
                          </a:cubicBezTo>
                          <a:cubicBezTo>
                            <a:pt x="-1660" y="38308"/>
                            <a:pt x="-4394" y="20951"/>
                            <a:pt x="6912" y="9645"/>
                          </a:cubicBezTo>
                          <a:cubicBezTo>
                            <a:pt x="6912" y="9645"/>
                            <a:pt x="6912" y="9645"/>
                            <a:pt x="6912" y="9645"/>
                          </a:cubicBezTo>
                          <a:cubicBezTo>
                            <a:pt x="19569" y="-3012"/>
                            <a:pt x="46116" y="-3257"/>
                            <a:pt x="58538" y="9177"/>
                          </a:cubicBezTo>
                          <a:cubicBezTo>
                            <a:pt x="71131" y="21780"/>
                            <a:pt x="71131" y="47434"/>
                            <a:pt x="58538" y="60027"/>
                          </a:cubicBezTo>
                          <a:cubicBezTo>
                            <a:pt x="53816" y="64760"/>
                            <a:pt x="47849" y="67078"/>
                            <a:pt x="41425" y="67078"/>
                          </a:cubicBezTo>
                          <a:close/>
                          <a:moveTo>
                            <a:pt x="21962" y="24684"/>
                          </a:moveTo>
                          <a:cubicBezTo>
                            <a:pt x="19824" y="26832"/>
                            <a:pt x="23823" y="33735"/>
                            <a:pt x="28918" y="38819"/>
                          </a:cubicBezTo>
                          <a:cubicBezTo>
                            <a:pt x="33927" y="43839"/>
                            <a:pt x="41000" y="47508"/>
                            <a:pt x="43510" y="44987"/>
                          </a:cubicBezTo>
                          <a:cubicBezTo>
                            <a:pt x="47456" y="41042"/>
                            <a:pt x="48094" y="28800"/>
                            <a:pt x="43510" y="24216"/>
                          </a:cubicBezTo>
                          <a:cubicBezTo>
                            <a:pt x="41574" y="22291"/>
                            <a:pt x="37426" y="21014"/>
                            <a:pt x="32821" y="21238"/>
                          </a:cubicBezTo>
                          <a:cubicBezTo>
                            <a:pt x="27588" y="21365"/>
                            <a:pt x="23536" y="23110"/>
                            <a:pt x="21962" y="24684"/>
                          </a:cubicBezTo>
                          <a:close/>
                        </a:path>
                      </a:pathLst>
                    </a:custGeom>
                    <a:solidFill>
                      <a:schemeClr val="accent1"/>
                    </a:solidFill>
                    <a:ln w="1063" cap="flat">
                      <a:noFill/>
                      <a:prstDash val="solid"/>
                      <a:miter/>
                    </a:ln>
                  </p:spPr>
                  <p:txBody>
                    <a:bodyPr rtlCol="0" anchor="ctr"/>
                    <a:lstStyle/>
                    <a:p>
                      <a:endParaRPr lang="en-GB" dirty="0"/>
                    </a:p>
                  </p:txBody>
                </p:sp>
                <p:sp>
                  <p:nvSpPr>
                    <p:cNvPr id="535" name="Freeform: Shape 534">
                      <a:extLst>
                        <a:ext uri="{FF2B5EF4-FFF2-40B4-BE49-F238E27FC236}">
                          <a16:creationId xmlns:a16="http://schemas.microsoft.com/office/drawing/2014/main" id="{782DF748-20B0-440D-A212-810E9BA739B3}"/>
                        </a:ext>
                      </a:extLst>
                    </p:cNvPr>
                    <p:cNvSpPr/>
                    <p:nvPr/>
                  </p:nvSpPr>
                  <p:spPr>
                    <a:xfrm>
                      <a:off x="2395241" y="4541316"/>
                      <a:ext cx="46686" cy="46683"/>
                    </a:xfrm>
                    <a:custGeom>
                      <a:avLst/>
                      <a:gdLst>
                        <a:gd name="connsiteX0" fmla="*/ 10639 w 46686"/>
                        <a:gd name="connsiteY0" fmla="*/ 46684 h 46683"/>
                        <a:gd name="connsiteX1" fmla="*/ 3119 w 46686"/>
                        <a:gd name="connsiteY1" fmla="*/ 43567 h 46683"/>
                        <a:gd name="connsiteX2" fmla="*/ 3119 w 46686"/>
                        <a:gd name="connsiteY2" fmla="*/ 28528 h 46683"/>
                        <a:gd name="connsiteX3" fmla="*/ 28528 w 46686"/>
                        <a:gd name="connsiteY3" fmla="*/ 3119 h 46683"/>
                        <a:gd name="connsiteX4" fmla="*/ 43567 w 46686"/>
                        <a:gd name="connsiteY4" fmla="*/ 3119 h 46683"/>
                        <a:gd name="connsiteX5" fmla="*/ 43567 w 46686"/>
                        <a:gd name="connsiteY5" fmla="*/ 18158 h 46683"/>
                        <a:gd name="connsiteX6" fmla="*/ 18158 w 46686"/>
                        <a:gd name="connsiteY6" fmla="*/ 43567 h 46683"/>
                        <a:gd name="connsiteX7" fmla="*/ 10639 w 46686"/>
                        <a:gd name="connsiteY7" fmla="*/ 46684 h 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86" h="46683">
                          <a:moveTo>
                            <a:pt x="10639" y="46684"/>
                          </a:moveTo>
                          <a:cubicBezTo>
                            <a:pt x="7916" y="46684"/>
                            <a:pt x="5193" y="45641"/>
                            <a:pt x="3119" y="43567"/>
                          </a:cubicBezTo>
                          <a:cubicBezTo>
                            <a:pt x="-1040" y="39409"/>
                            <a:pt x="-1040" y="32687"/>
                            <a:pt x="3119" y="28528"/>
                          </a:cubicBezTo>
                          <a:lnTo>
                            <a:pt x="28528" y="3119"/>
                          </a:lnTo>
                          <a:cubicBezTo>
                            <a:pt x="32687" y="-1040"/>
                            <a:pt x="39409" y="-1040"/>
                            <a:pt x="43567" y="3119"/>
                          </a:cubicBezTo>
                          <a:cubicBezTo>
                            <a:pt x="47726" y="7278"/>
                            <a:pt x="47726" y="14000"/>
                            <a:pt x="43567" y="18158"/>
                          </a:cubicBezTo>
                          <a:lnTo>
                            <a:pt x="18158" y="43567"/>
                          </a:lnTo>
                          <a:cubicBezTo>
                            <a:pt x="16073" y="45641"/>
                            <a:pt x="13351" y="46684"/>
                            <a:pt x="10639" y="46684"/>
                          </a:cubicBezTo>
                          <a:close/>
                        </a:path>
                      </a:pathLst>
                    </a:custGeom>
                    <a:solidFill>
                      <a:schemeClr val="accent1"/>
                    </a:solidFill>
                    <a:ln w="1063" cap="flat">
                      <a:noFill/>
                      <a:prstDash val="solid"/>
                      <a:miter/>
                    </a:ln>
                  </p:spPr>
                  <p:txBody>
                    <a:bodyPr rtlCol="0" anchor="ctr"/>
                    <a:lstStyle/>
                    <a:p>
                      <a:endParaRPr lang="en-GB" dirty="0"/>
                    </a:p>
                  </p:txBody>
                </p:sp>
              </p:grpSp>
            </p:grpSp>
            <p:sp>
              <p:nvSpPr>
                <p:cNvPr id="523" name="Freeform: Shape 522">
                  <a:extLst>
                    <a:ext uri="{FF2B5EF4-FFF2-40B4-BE49-F238E27FC236}">
                      <a16:creationId xmlns:a16="http://schemas.microsoft.com/office/drawing/2014/main" id="{FDB68591-7B1A-41DE-9350-54C2AE550A2C}"/>
                    </a:ext>
                  </a:extLst>
                </p:cNvPr>
                <p:cNvSpPr/>
                <p:nvPr/>
              </p:nvSpPr>
              <p:spPr>
                <a:xfrm>
                  <a:off x="2548715" y="4564442"/>
                  <a:ext cx="30341" cy="41021"/>
                </a:xfrm>
                <a:custGeom>
                  <a:avLst/>
                  <a:gdLst>
                    <a:gd name="connsiteX0" fmla="*/ 19712 w 30341"/>
                    <a:gd name="connsiteY0" fmla="*/ 41021 h 41021"/>
                    <a:gd name="connsiteX1" fmla="*/ 10044 w 30341"/>
                    <a:gd name="connsiteY1" fmla="*/ 34821 h 41021"/>
                    <a:gd name="connsiteX2" fmla="*/ 972 w 30341"/>
                    <a:gd name="connsiteY2" fmla="*/ 15070 h 41021"/>
                    <a:gd name="connsiteX3" fmla="*/ 6194 w 30341"/>
                    <a:gd name="connsiteY3" fmla="*/ 967 h 41021"/>
                    <a:gd name="connsiteX4" fmla="*/ 20297 w 30341"/>
                    <a:gd name="connsiteY4" fmla="*/ 6200 h 41021"/>
                    <a:gd name="connsiteX5" fmla="*/ 29370 w 30341"/>
                    <a:gd name="connsiteY5" fmla="*/ 25950 h 41021"/>
                    <a:gd name="connsiteX6" fmla="*/ 24147 w 30341"/>
                    <a:gd name="connsiteY6" fmla="*/ 40054 h 41021"/>
                    <a:gd name="connsiteX7" fmla="*/ 19712 w 30341"/>
                    <a:gd name="connsiteY7" fmla="*/ 41021 h 41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41" h="41021">
                      <a:moveTo>
                        <a:pt x="19712" y="41021"/>
                      </a:moveTo>
                      <a:cubicBezTo>
                        <a:pt x="15692" y="41021"/>
                        <a:pt x="11831" y="38724"/>
                        <a:pt x="10044" y="34821"/>
                      </a:cubicBezTo>
                      <a:lnTo>
                        <a:pt x="972" y="15070"/>
                      </a:lnTo>
                      <a:cubicBezTo>
                        <a:pt x="-1474" y="9731"/>
                        <a:pt x="855" y="3413"/>
                        <a:pt x="6194" y="967"/>
                      </a:cubicBezTo>
                      <a:cubicBezTo>
                        <a:pt x="11523" y="-1469"/>
                        <a:pt x="17851" y="850"/>
                        <a:pt x="20297" y="6200"/>
                      </a:cubicBezTo>
                      <a:lnTo>
                        <a:pt x="29370" y="25950"/>
                      </a:lnTo>
                      <a:cubicBezTo>
                        <a:pt x="31816" y="31290"/>
                        <a:pt x="29487" y="37607"/>
                        <a:pt x="24147" y="40054"/>
                      </a:cubicBezTo>
                      <a:cubicBezTo>
                        <a:pt x="22711" y="40713"/>
                        <a:pt x="21201" y="41021"/>
                        <a:pt x="19712" y="41021"/>
                      </a:cubicBezTo>
                      <a:close/>
                    </a:path>
                  </a:pathLst>
                </a:custGeom>
                <a:solidFill>
                  <a:schemeClr val="accent1"/>
                </a:solidFill>
                <a:ln w="1063" cap="flat">
                  <a:noFill/>
                  <a:prstDash val="solid"/>
                  <a:miter/>
                </a:ln>
              </p:spPr>
              <p:txBody>
                <a:bodyPr rtlCol="0" anchor="ctr"/>
                <a:lstStyle/>
                <a:p>
                  <a:endParaRPr lang="en-GB" dirty="0"/>
                </a:p>
              </p:txBody>
            </p:sp>
            <p:sp>
              <p:nvSpPr>
                <p:cNvPr id="524" name="Freeform: Shape 523">
                  <a:extLst>
                    <a:ext uri="{FF2B5EF4-FFF2-40B4-BE49-F238E27FC236}">
                      <a16:creationId xmlns:a16="http://schemas.microsoft.com/office/drawing/2014/main" id="{DE2F90A8-7FBC-424A-8C51-A75EE61B13E4}"/>
                    </a:ext>
                  </a:extLst>
                </p:cNvPr>
                <p:cNvSpPr/>
                <p:nvPr/>
              </p:nvSpPr>
              <p:spPr>
                <a:xfrm>
                  <a:off x="2444005" y="4336441"/>
                  <a:ext cx="30511" cy="41393"/>
                </a:xfrm>
                <a:custGeom>
                  <a:avLst/>
                  <a:gdLst>
                    <a:gd name="connsiteX0" fmla="*/ 19882 w 30511"/>
                    <a:gd name="connsiteY0" fmla="*/ 41394 h 41393"/>
                    <a:gd name="connsiteX1" fmla="*/ 10214 w 30511"/>
                    <a:gd name="connsiteY1" fmla="*/ 35193 h 41393"/>
                    <a:gd name="connsiteX2" fmla="*/ 972 w 30511"/>
                    <a:gd name="connsiteY2" fmla="*/ 15070 h 41393"/>
                    <a:gd name="connsiteX3" fmla="*/ 6194 w 30511"/>
                    <a:gd name="connsiteY3" fmla="*/ 967 h 41393"/>
                    <a:gd name="connsiteX4" fmla="*/ 20297 w 30511"/>
                    <a:gd name="connsiteY4" fmla="*/ 6200 h 41393"/>
                    <a:gd name="connsiteX5" fmla="*/ 29540 w 30511"/>
                    <a:gd name="connsiteY5" fmla="*/ 26323 h 41393"/>
                    <a:gd name="connsiteX6" fmla="*/ 24318 w 30511"/>
                    <a:gd name="connsiteY6" fmla="*/ 40426 h 41393"/>
                    <a:gd name="connsiteX7" fmla="*/ 19882 w 30511"/>
                    <a:gd name="connsiteY7" fmla="*/ 41394 h 41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11" h="41393">
                      <a:moveTo>
                        <a:pt x="19882" y="41394"/>
                      </a:moveTo>
                      <a:cubicBezTo>
                        <a:pt x="15862" y="41394"/>
                        <a:pt x="12001" y="39097"/>
                        <a:pt x="10214" y="35193"/>
                      </a:cubicBezTo>
                      <a:lnTo>
                        <a:pt x="972" y="15070"/>
                      </a:lnTo>
                      <a:cubicBezTo>
                        <a:pt x="-1474" y="9731"/>
                        <a:pt x="855" y="3413"/>
                        <a:pt x="6194" y="967"/>
                      </a:cubicBezTo>
                      <a:cubicBezTo>
                        <a:pt x="11523" y="-1469"/>
                        <a:pt x="17851" y="850"/>
                        <a:pt x="20297" y="6200"/>
                      </a:cubicBezTo>
                      <a:lnTo>
                        <a:pt x="29540" y="26323"/>
                      </a:lnTo>
                      <a:cubicBezTo>
                        <a:pt x="31986" y="31662"/>
                        <a:pt x="29657" y="37980"/>
                        <a:pt x="24318" y="40426"/>
                      </a:cubicBezTo>
                      <a:cubicBezTo>
                        <a:pt x="22871" y="41075"/>
                        <a:pt x="21361" y="41394"/>
                        <a:pt x="19882" y="41394"/>
                      </a:cubicBezTo>
                      <a:close/>
                    </a:path>
                  </a:pathLst>
                </a:custGeom>
                <a:solidFill>
                  <a:schemeClr val="accent1"/>
                </a:solidFill>
                <a:ln w="1063" cap="flat">
                  <a:noFill/>
                  <a:prstDash val="solid"/>
                  <a:miter/>
                </a:ln>
              </p:spPr>
              <p:txBody>
                <a:bodyPr rtlCol="0" anchor="ctr"/>
                <a:lstStyle/>
                <a:p>
                  <a:endParaRPr lang="en-GB" dirty="0"/>
                </a:p>
              </p:txBody>
            </p:sp>
            <p:sp>
              <p:nvSpPr>
                <p:cNvPr id="525" name="Freeform: Shape 524">
                  <a:extLst>
                    <a:ext uri="{FF2B5EF4-FFF2-40B4-BE49-F238E27FC236}">
                      <a16:creationId xmlns:a16="http://schemas.microsoft.com/office/drawing/2014/main" id="{2031EBDC-DE51-4D2D-9B60-54A6BF3BB8C4}"/>
                    </a:ext>
                  </a:extLst>
                </p:cNvPr>
                <p:cNvSpPr/>
                <p:nvPr/>
              </p:nvSpPr>
              <p:spPr>
                <a:xfrm>
                  <a:off x="2606267" y="4508121"/>
                  <a:ext cx="40410" cy="30006"/>
                </a:xfrm>
                <a:custGeom>
                  <a:avLst/>
                  <a:gdLst>
                    <a:gd name="connsiteX0" fmla="*/ 29772 w 40410"/>
                    <a:gd name="connsiteY0" fmla="*/ 30006 h 30006"/>
                    <a:gd name="connsiteX1" fmla="*/ 25358 w 40410"/>
                    <a:gd name="connsiteY1" fmla="*/ 29049 h 30006"/>
                    <a:gd name="connsiteX2" fmla="*/ 6224 w 40410"/>
                    <a:gd name="connsiteY2" fmla="*/ 20328 h 30006"/>
                    <a:gd name="connsiteX3" fmla="*/ 960 w 40410"/>
                    <a:gd name="connsiteY3" fmla="*/ 6236 h 30006"/>
                    <a:gd name="connsiteX4" fmla="*/ 15052 w 40410"/>
                    <a:gd name="connsiteY4" fmla="*/ 971 h 30006"/>
                    <a:gd name="connsiteX5" fmla="*/ 34186 w 40410"/>
                    <a:gd name="connsiteY5" fmla="*/ 9692 h 30006"/>
                    <a:gd name="connsiteX6" fmla="*/ 39451 w 40410"/>
                    <a:gd name="connsiteY6" fmla="*/ 23785 h 30006"/>
                    <a:gd name="connsiteX7" fmla="*/ 29772 w 40410"/>
                    <a:gd name="connsiteY7" fmla="*/ 30006 h 3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10" h="30006">
                      <a:moveTo>
                        <a:pt x="29772" y="30006"/>
                      </a:moveTo>
                      <a:cubicBezTo>
                        <a:pt x="28294" y="30006"/>
                        <a:pt x="26794" y="29709"/>
                        <a:pt x="25358" y="29049"/>
                      </a:cubicBezTo>
                      <a:lnTo>
                        <a:pt x="6224" y="20328"/>
                      </a:lnTo>
                      <a:cubicBezTo>
                        <a:pt x="885" y="17892"/>
                        <a:pt x="-1476" y="11585"/>
                        <a:pt x="960" y="6236"/>
                      </a:cubicBezTo>
                      <a:cubicBezTo>
                        <a:pt x="3395" y="885"/>
                        <a:pt x="9692" y="-1486"/>
                        <a:pt x="15052" y="971"/>
                      </a:cubicBezTo>
                      <a:lnTo>
                        <a:pt x="34186" y="9692"/>
                      </a:lnTo>
                      <a:cubicBezTo>
                        <a:pt x="39525" y="12127"/>
                        <a:pt x="41886" y="18435"/>
                        <a:pt x="39451" y="23785"/>
                      </a:cubicBezTo>
                      <a:cubicBezTo>
                        <a:pt x="37664" y="27698"/>
                        <a:pt x="33803" y="30006"/>
                        <a:pt x="29772" y="30006"/>
                      </a:cubicBezTo>
                      <a:close/>
                    </a:path>
                  </a:pathLst>
                </a:custGeom>
                <a:solidFill>
                  <a:schemeClr val="accent1"/>
                </a:solidFill>
                <a:ln w="1063" cap="flat">
                  <a:noFill/>
                  <a:prstDash val="solid"/>
                  <a:miter/>
                </a:ln>
              </p:spPr>
              <p:txBody>
                <a:bodyPr rtlCol="0" anchor="ctr"/>
                <a:lstStyle/>
                <a:p>
                  <a:endParaRPr lang="en-GB" dirty="0"/>
                </a:p>
              </p:txBody>
            </p:sp>
            <p:sp>
              <p:nvSpPr>
                <p:cNvPr id="526" name="Freeform: Shape 525">
                  <a:extLst>
                    <a:ext uri="{FF2B5EF4-FFF2-40B4-BE49-F238E27FC236}">
                      <a16:creationId xmlns:a16="http://schemas.microsoft.com/office/drawing/2014/main" id="{63BD7F1F-D118-40A5-AF74-53CCEEB78F2B}"/>
                    </a:ext>
                  </a:extLst>
                </p:cNvPr>
                <p:cNvSpPr/>
                <p:nvPr/>
              </p:nvSpPr>
              <p:spPr>
                <a:xfrm>
                  <a:off x="2377322" y="4403764"/>
                  <a:ext cx="40959" cy="30249"/>
                </a:xfrm>
                <a:custGeom>
                  <a:avLst/>
                  <a:gdLst>
                    <a:gd name="connsiteX0" fmla="*/ 30313 w 40959"/>
                    <a:gd name="connsiteY0" fmla="*/ 30249 h 30249"/>
                    <a:gd name="connsiteX1" fmla="*/ 25910 w 40959"/>
                    <a:gd name="connsiteY1" fmla="*/ 29292 h 30249"/>
                    <a:gd name="connsiteX2" fmla="*/ 6233 w 40959"/>
                    <a:gd name="connsiteY2" fmla="*/ 20326 h 30249"/>
                    <a:gd name="connsiteX3" fmla="*/ 958 w 40959"/>
                    <a:gd name="connsiteY3" fmla="*/ 6244 h 30249"/>
                    <a:gd name="connsiteX4" fmla="*/ 15050 w 40959"/>
                    <a:gd name="connsiteY4" fmla="*/ 969 h 30249"/>
                    <a:gd name="connsiteX5" fmla="*/ 34727 w 40959"/>
                    <a:gd name="connsiteY5" fmla="*/ 9935 h 30249"/>
                    <a:gd name="connsiteX6" fmla="*/ 40002 w 40959"/>
                    <a:gd name="connsiteY6" fmla="*/ 24016 h 30249"/>
                    <a:gd name="connsiteX7" fmla="*/ 30313 w 40959"/>
                    <a:gd name="connsiteY7" fmla="*/ 30249 h 30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9" h="30249">
                      <a:moveTo>
                        <a:pt x="30313" y="30249"/>
                      </a:moveTo>
                      <a:cubicBezTo>
                        <a:pt x="28834" y="30249"/>
                        <a:pt x="27335" y="29951"/>
                        <a:pt x="25910" y="29292"/>
                      </a:cubicBezTo>
                      <a:lnTo>
                        <a:pt x="6233" y="20326"/>
                      </a:lnTo>
                      <a:cubicBezTo>
                        <a:pt x="894" y="17890"/>
                        <a:pt x="-1478" y="11583"/>
                        <a:pt x="958" y="6244"/>
                      </a:cubicBezTo>
                      <a:cubicBezTo>
                        <a:pt x="3393" y="894"/>
                        <a:pt x="9711" y="-1488"/>
                        <a:pt x="15050" y="969"/>
                      </a:cubicBezTo>
                      <a:lnTo>
                        <a:pt x="34727" y="9935"/>
                      </a:lnTo>
                      <a:cubicBezTo>
                        <a:pt x="40066" y="12370"/>
                        <a:pt x="42438" y="18677"/>
                        <a:pt x="40002" y="24016"/>
                      </a:cubicBezTo>
                      <a:cubicBezTo>
                        <a:pt x="38215" y="27941"/>
                        <a:pt x="34354" y="30249"/>
                        <a:pt x="30313" y="30249"/>
                      </a:cubicBezTo>
                      <a:close/>
                    </a:path>
                  </a:pathLst>
                </a:custGeom>
                <a:solidFill>
                  <a:schemeClr val="accent1"/>
                </a:solidFill>
                <a:ln w="1063" cap="flat">
                  <a:noFill/>
                  <a:prstDash val="solid"/>
                  <a:miter/>
                </a:ln>
              </p:spPr>
              <p:txBody>
                <a:bodyPr rtlCol="0" anchor="ctr"/>
                <a:lstStyle/>
                <a:p>
                  <a:endParaRPr lang="en-GB" dirty="0"/>
                </a:p>
              </p:txBody>
            </p:sp>
            <p:sp>
              <p:nvSpPr>
                <p:cNvPr id="527" name="Freeform: Shape 526">
                  <a:extLst>
                    <a:ext uri="{FF2B5EF4-FFF2-40B4-BE49-F238E27FC236}">
                      <a16:creationId xmlns:a16="http://schemas.microsoft.com/office/drawing/2014/main" id="{C315CB34-4665-4BAD-B42A-B7212E826EB9}"/>
                    </a:ext>
                  </a:extLst>
                </p:cNvPr>
                <p:cNvSpPr/>
                <p:nvPr/>
              </p:nvSpPr>
              <p:spPr>
                <a:xfrm>
                  <a:off x="2605160" y="4404991"/>
                  <a:ext cx="41698" cy="30352"/>
                </a:xfrm>
                <a:custGeom>
                  <a:avLst/>
                  <a:gdLst>
                    <a:gd name="connsiteX0" fmla="*/ 10650 w 41698"/>
                    <a:gd name="connsiteY0" fmla="*/ 30352 h 30352"/>
                    <a:gd name="connsiteX1" fmla="*/ 918 w 41698"/>
                    <a:gd name="connsiteY1" fmla="*/ 24035 h 30352"/>
                    <a:gd name="connsiteX2" fmla="*/ 6321 w 41698"/>
                    <a:gd name="connsiteY2" fmla="*/ 9995 h 30352"/>
                    <a:gd name="connsiteX3" fmla="*/ 26742 w 41698"/>
                    <a:gd name="connsiteY3" fmla="*/ 922 h 30352"/>
                    <a:gd name="connsiteX4" fmla="*/ 40781 w 41698"/>
                    <a:gd name="connsiteY4" fmla="*/ 6325 h 30352"/>
                    <a:gd name="connsiteX5" fmla="*/ 35378 w 41698"/>
                    <a:gd name="connsiteY5" fmla="*/ 20365 h 30352"/>
                    <a:gd name="connsiteX6" fmla="*/ 14957 w 41698"/>
                    <a:gd name="connsiteY6" fmla="*/ 29437 h 30352"/>
                    <a:gd name="connsiteX7" fmla="*/ 10650 w 41698"/>
                    <a:gd name="connsiteY7" fmla="*/ 30352 h 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98" h="30352">
                      <a:moveTo>
                        <a:pt x="10650" y="30352"/>
                      </a:moveTo>
                      <a:cubicBezTo>
                        <a:pt x="6576" y="30352"/>
                        <a:pt x="2683" y="27991"/>
                        <a:pt x="918" y="24035"/>
                      </a:cubicBezTo>
                      <a:cubicBezTo>
                        <a:pt x="-1465" y="18663"/>
                        <a:pt x="950" y="12377"/>
                        <a:pt x="6321" y="9995"/>
                      </a:cubicBezTo>
                      <a:lnTo>
                        <a:pt x="26742" y="922"/>
                      </a:lnTo>
                      <a:cubicBezTo>
                        <a:pt x="32092" y="-1471"/>
                        <a:pt x="38399" y="955"/>
                        <a:pt x="40781" y="6325"/>
                      </a:cubicBezTo>
                      <a:cubicBezTo>
                        <a:pt x="43164" y="11697"/>
                        <a:pt x="40749" y="17982"/>
                        <a:pt x="35378" y="20365"/>
                      </a:cubicBezTo>
                      <a:lnTo>
                        <a:pt x="14957" y="29437"/>
                      </a:lnTo>
                      <a:cubicBezTo>
                        <a:pt x="13553" y="30065"/>
                        <a:pt x="12096" y="30352"/>
                        <a:pt x="10650" y="30352"/>
                      </a:cubicBezTo>
                      <a:close/>
                    </a:path>
                  </a:pathLst>
                </a:custGeom>
                <a:solidFill>
                  <a:schemeClr val="accent1"/>
                </a:solidFill>
                <a:ln w="1063" cap="flat">
                  <a:noFill/>
                  <a:prstDash val="solid"/>
                  <a:miter/>
                </a:ln>
              </p:spPr>
              <p:txBody>
                <a:bodyPr rtlCol="0" anchor="ctr"/>
                <a:lstStyle/>
                <a:p>
                  <a:endParaRPr lang="en-GB" dirty="0"/>
                </a:p>
              </p:txBody>
            </p:sp>
            <p:sp>
              <p:nvSpPr>
                <p:cNvPr id="528" name="Freeform: Shape 527">
                  <a:extLst>
                    <a:ext uri="{FF2B5EF4-FFF2-40B4-BE49-F238E27FC236}">
                      <a16:creationId xmlns:a16="http://schemas.microsoft.com/office/drawing/2014/main" id="{6FECF8BE-93EE-4986-8CE5-4FEBB43230C2}"/>
                    </a:ext>
                  </a:extLst>
                </p:cNvPr>
                <p:cNvSpPr/>
                <p:nvPr/>
              </p:nvSpPr>
              <p:spPr>
                <a:xfrm>
                  <a:off x="2376404" y="4507063"/>
                  <a:ext cx="40560" cy="29841"/>
                </a:xfrm>
                <a:custGeom>
                  <a:avLst/>
                  <a:gdLst>
                    <a:gd name="connsiteX0" fmla="*/ 10650 w 40560"/>
                    <a:gd name="connsiteY0" fmla="*/ 29841 h 29841"/>
                    <a:gd name="connsiteX1" fmla="*/ 918 w 40560"/>
                    <a:gd name="connsiteY1" fmla="*/ 23524 h 29841"/>
                    <a:gd name="connsiteX2" fmla="*/ 6321 w 40560"/>
                    <a:gd name="connsiteY2" fmla="*/ 9484 h 29841"/>
                    <a:gd name="connsiteX3" fmla="*/ 25604 w 40560"/>
                    <a:gd name="connsiteY3" fmla="*/ 922 h 29841"/>
                    <a:gd name="connsiteX4" fmla="*/ 39643 w 40560"/>
                    <a:gd name="connsiteY4" fmla="*/ 6326 h 29841"/>
                    <a:gd name="connsiteX5" fmla="*/ 34240 w 40560"/>
                    <a:gd name="connsiteY5" fmla="*/ 20365 h 29841"/>
                    <a:gd name="connsiteX6" fmla="*/ 14957 w 40560"/>
                    <a:gd name="connsiteY6" fmla="*/ 28927 h 29841"/>
                    <a:gd name="connsiteX7" fmla="*/ 10650 w 40560"/>
                    <a:gd name="connsiteY7" fmla="*/ 29841 h 29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60" h="29841">
                      <a:moveTo>
                        <a:pt x="10650" y="29841"/>
                      </a:moveTo>
                      <a:cubicBezTo>
                        <a:pt x="6576" y="29841"/>
                        <a:pt x="2683" y="27480"/>
                        <a:pt x="918" y="23524"/>
                      </a:cubicBezTo>
                      <a:cubicBezTo>
                        <a:pt x="-1465" y="18153"/>
                        <a:pt x="950" y="11867"/>
                        <a:pt x="6321" y="9484"/>
                      </a:cubicBezTo>
                      <a:lnTo>
                        <a:pt x="25604" y="922"/>
                      </a:lnTo>
                      <a:cubicBezTo>
                        <a:pt x="30954" y="-1471"/>
                        <a:pt x="37261" y="954"/>
                        <a:pt x="39643" y="6326"/>
                      </a:cubicBezTo>
                      <a:cubicBezTo>
                        <a:pt x="42025" y="11696"/>
                        <a:pt x="39611" y="17982"/>
                        <a:pt x="34240" y="20365"/>
                      </a:cubicBezTo>
                      <a:lnTo>
                        <a:pt x="14957" y="28927"/>
                      </a:lnTo>
                      <a:cubicBezTo>
                        <a:pt x="13553" y="29544"/>
                        <a:pt x="12086" y="29841"/>
                        <a:pt x="10650" y="29841"/>
                      </a:cubicBezTo>
                      <a:close/>
                    </a:path>
                  </a:pathLst>
                </a:custGeom>
                <a:solidFill>
                  <a:schemeClr val="accent1"/>
                </a:solidFill>
                <a:ln w="1063" cap="flat">
                  <a:noFill/>
                  <a:prstDash val="solid"/>
                  <a:miter/>
                </a:ln>
              </p:spPr>
              <p:txBody>
                <a:bodyPr rtlCol="0" anchor="ctr"/>
                <a:lstStyle/>
                <a:p>
                  <a:endParaRPr lang="en-GB" dirty="0"/>
                </a:p>
              </p:txBody>
            </p:sp>
            <p:sp>
              <p:nvSpPr>
                <p:cNvPr id="529" name="Freeform: Shape 528">
                  <a:extLst>
                    <a:ext uri="{FF2B5EF4-FFF2-40B4-BE49-F238E27FC236}">
                      <a16:creationId xmlns:a16="http://schemas.microsoft.com/office/drawing/2014/main" id="{821EEA50-9558-4879-A977-B07353A08B6D}"/>
                    </a:ext>
                  </a:extLst>
                </p:cNvPr>
                <p:cNvSpPr/>
                <p:nvPr/>
              </p:nvSpPr>
              <p:spPr>
                <a:xfrm>
                  <a:off x="2444168" y="4565281"/>
                  <a:ext cx="29972" cy="40225"/>
                </a:xfrm>
                <a:custGeom>
                  <a:avLst/>
                  <a:gdLst>
                    <a:gd name="connsiteX0" fmla="*/ 10636 w 29972"/>
                    <a:gd name="connsiteY0" fmla="*/ 40225 h 40225"/>
                    <a:gd name="connsiteX1" fmla="*/ 6211 w 29972"/>
                    <a:gd name="connsiteY1" fmla="*/ 39257 h 40225"/>
                    <a:gd name="connsiteX2" fmla="*/ 968 w 29972"/>
                    <a:gd name="connsiteY2" fmla="*/ 25154 h 40225"/>
                    <a:gd name="connsiteX3" fmla="*/ 9658 w 29972"/>
                    <a:gd name="connsiteY3" fmla="*/ 6201 h 40225"/>
                    <a:gd name="connsiteX4" fmla="*/ 23761 w 29972"/>
                    <a:gd name="connsiteY4" fmla="*/ 968 h 40225"/>
                    <a:gd name="connsiteX5" fmla="*/ 29004 w 29972"/>
                    <a:gd name="connsiteY5" fmla="*/ 15072 h 40225"/>
                    <a:gd name="connsiteX6" fmla="*/ 20315 w 29972"/>
                    <a:gd name="connsiteY6" fmla="*/ 34024 h 40225"/>
                    <a:gd name="connsiteX7" fmla="*/ 10636 w 29972"/>
                    <a:gd name="connsiteY7" fmla="*/ 40225 h 4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72" h="40225">
                      <a:moveTo>
                        <a:pt x="10636" y="40225"/>
                      </a:moveTo>
                      <a:cubicBezTo>
                        <a:pt x="9147" y="40225"/>
                        <a:pt x="7647" y="39917"/>
                        <a:pt x="6211" y="39257"/>
                      </a:cubicBezTo>
                      <a:cubicBezTo>
                        <a:pt x="872" y="36811"/>
                        <a:pt x="-1478" y="30494"/>
                        <a:pt x="968" y="25154"/>
                      </a:cubicBezTo>
                      <a:lnTo>
                        <a:pt x="9658" y="6201"/>
                      </a:lnTo>
                      <a:cubicBezTo>
                        <a:pt x="12104" y="873"/>
                        <a:pt x="18432" y="-1478"/>
                        <a:pt x="23761" y="968"/>
                      </a:cubicBezTo>
                      <a:cubicBezTo>
                        <a:pt x="29100" y="3415"/>
                        <a:pt x="31450" y="9732"/>
                        <a:pt x="29004" y="15072"/>
                      </a:cubicBezTo>
                      <a:lnTo>
                        <a:pt x="20315" y="34024"/>
                      </a:lnTo>
                      <a:cubicBezTo>
                        <a:pt x="18517" y="37917"/>
                        <a:pt x="14667" y="40225"/>
                        <a:pt x="10636" y="40225"/>
                      </a:cubicBezTo>
                      <a:close/>
                    </a:path>
                  </a:pathLst>
                </a:custGeom>
                <a:solidFill>
                  <a:schemeClr val="accent1"/>
                </a:solidFill>
                <a:ln w="1063" cap="flat">
                  <a:noFill/>
                  <a:prstDash val="solid"/>
                  <a:miter/>
                </a:ln>
              </p:spPr>
              <p:txBody>
                <a:bodyPr rtlCol="0" anchor="ctr"/>
                <a:lstStyle/>
                <a:p>
                  <a:endParaRPr lang="en-GB" dirty="0"/>
                </a:p>
              </p:txBody>
            </p:sp>
            <p:sp>
              <p:nvSpPr>
                <p:cNvPr id="530" name="Freeform: Shape 529">
                  <a:extLst>
                    <a:ext uri="{FF2B5EF4-FFF2-40B4-BE49-F238E27FC236}">
                      <a16:creationId xmlns:a16="http://schemas.microsoft.com/office/drawing/2014/main" id="{DE129994-DB93-4DC3-AF6E-3266EA04D11C}"/>
                    </a:ext>
                  </a:extLst>
                </p:cNvPr>
                <p:cNvSpPr/>
                <p:nvPr/>
              </p:nvSpPr>
              <p:spPr>
                <a:xfrm>
                  <a:off x="2548751" y="4336385"/>
                  <a:ext cx="30280" cy="40907"/>
                </a:xfrm>
                <a:custGeom>
                  <a:avLst/>
                  <a:gdLst>
                    <a:gd name="connsiteX0" fmla="*/ 10636 w 30280"/>
                    <a:gd name="connsiteY0" fmla="*/ 40908 h 40907"/>
                    <a:gd name="connsiteX1" fmla="*/ 6211 w 30280"/>
                    <a:gd name="connsiteY1" fmla="*/ 39940 h 40907"/>
                    <a:gd name="connsiteX2" fmla="*/ 968 w 30280"/>
                    <a:gd name="connsiteY2" fmla="*/ 25837 h 40907"/>
                    <a:gd name="connsiteX3" fmla="*/ 9966 w 30280"/>
                    <a:gd name="connsiteY3" fmla="*/ 6203 h 40907"/>
                    <a:gd name="connsiteX4" fmla="*/ 24069 w 30280"/>
                    <a:gd name="connsiteY4" fmla="*/ 970 h 40907"/>
                    <a:gd name="connsiteX5" fmla="*/ 29313 w 30280"/>
                    <a:gd name="connsiteY5" fmla="*/ 15073 h 40907"/>
                    <a:gd name="connsiteX6" fmla="*/ 20315 w 30280"/>
                    <a:gd name="connsiteY6" fmla="*/ 34707 h 40907"/>
                    <a:gd name="connsiteX7" fmla="*/ 10636 w 30280"/>
                    <a:gd name="connsiteY7" fmla="*/ 40908 h 40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80" h="40907">
                      <a:moveTo>
                        <a:pt x="10636" y="40908"/>
                      </a:moveTo>
                      <a:cubicBezTo>
                        <a:pt x="9147" y="40908"/>
                        <a:pt x="7647" y="40599"/>
                        <a:pt x="6211" y="39940"/>
                      </a:cubicBezTo>
                      <a:cubicBezTo>
                        <a:pt x="872" y="37494"/>
                        <a:pt x="-1478" y="31186"/>
                        <a:pt x="968" y="25837"/>
                      </a:cubicBezTo>
                      <a:lnTo>
                        <a:pt x="9966" y="6203"/>
                      </a:lnTo>
                      <a:cubicBezTo>
                        <a:pt x="12412" y="863"/>
                        <a:pt x="18741" y="-1476"/>
                        <a:pt x="24069" y="970"/>
                      </a:cubicBezTo>
                      <a:cubicBezTo>
                        <a:pt x="29408" y="3416"/>
                        <a:pt x="31759" y="9723"/>
                        <a:pt x="29313" y="15073"/>
                      </a:cubicBezTo>
                      <a:lnTo>
                        <a:pt x="20315" y="34707"/>
                      </a:lnTo>
                      <a:cubicBezTo>
                        <a:pt x="18517" y="38600"/>
                        <a:pt x="14667" y="40908"/>
                        <a:pt x="10636" y="40908"/>
                      </a:cubicBezTo>
                      <a:close/>
                    </a:path>
                  </a:pathLst>
                </a:custGeom>
                <a:solidFill>
                  <a:schemeClr val="accent1"/>
                </a:solidFill>
                <a:ln w="1063" cap="flat">
                  <a:noFill/>
                  <a:prstDash val="solid"/>
                  <a:miter/>
                </a:ln>
              </p:spPr>
              <p:txBody>
                <a:bodyPr rtlCol="0" anchor="ctr"/>
                <a:lstStyle/>
                <a:p>
                  <a:endParaRPr lang="en-GB" dirty="0"/>
                </a:p>
              </p:txBody>
            </p:sp>
          </p:grpSp>
          <p:sp>
            <p:nvSpPr>
              <p:cNvPr id="515" name="Freeform: Shape 514">
                <a:extLst>
                  <a:ext uri="{FF2B5EF4-FFF2-40B4-BE49-F238E27FC236}">
                    <a16:creationId xmlns:a16="http://schemas.microsoft.com/office/drawing/2014/main" id="{D877CFCD-2493-45EE-A470-A1A3ED5229BD}"/>
                  </a:ext>
                </a:extLst>
              </p:cNvPr>
              <p:cNvSpPr/>
              <p:nvPr/>
            </p:nvSpPr>
            <p:spPr>
              <a:xfrm>
                <a:off x="2448885" y="4421070"/>
                <a:ext cx="31036" cy="26578"/>
              </a:xfrm>
              <a:custGeom>
                <a:avLst/>
                <a:gdLst>
                  <a:gd name="connsiteX0" fmla="*/ 10653 w 31036"/>
                  <a:gd name="connsiteY0" fmla="*/ 26578 h 26578"/>
                  <a:gd name="connsiteX1" fmla="*/ 1304 w 31036"/>
                  <a:gd name="connsiteY1" fmla="*/ 21037 h 26578"/>
                  <a:gd name="connsiteX2" fmla="*/ 5547 w 31036"/>
                  <a:gd name="connsiteY2" fmla="*/ 6615 h 26578"/>
                  <a:gd name="connsiteX3" fmla="*/ 15300 w 31036"/>
                  <a:gd name="connsiteY3" fmla="*/ 1297 h 26578"/>
                  <a:gd name="connsiteX4" fmla="*/ 29733 w 31036"/>
                  <a:gd name="connsiteY4" fmla="*/ 5541 h 26578"/>
                  <a:gd name="connsiteX5" fmla="*/ 25490 w 31036"/>
                  <a:gd name="connsiteY5" fmla="*/ 19963 h 26578"/>
                  <a:gd name="connsiteX6" fmla="*/ 15736 w 31036"/>
                  <a:gd name="connsiteY6" fmla="*/ 25281 h 26578"/>
                  <a:gd name="connsiteX7" fmla="*/ 10653 w 31036"/>
                  <a:gd name="connsiteY7" fmla="*/ 26578 h 26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36" h="26578">
                    <a:moveTo>
                      <a:pt x="10653" y="26578"/>
                    </a:moveTo>
                    <a:cubicBezTo>
                      <a:pt x="6887" y="26578"/>
                      <a:pt x="3239" y="24579"/>
                      <a:pt x="1304" y="21037"/>
                    </a:cubicBezTo>
                    <a:cubicBezTo>
                      <a:pt x="-1515" y="15889"/>
                      <a:pt x="389" y="9423"/>
                      <a:pt x="5547" y="6615"/>
                    </a:cubicBezTo>
                    <a:lnTo>
                      <a:pt x="15300" y="1297"/>
                    </a:lnTo>
                    <a:cubicBezTo>
                      <a:pt x="20469" y="-1511"/>
                      <a:pt x="26925" y="393"/>
                      <a:pt x="29733" y="5541"/>
                    </a:cubicBezTo>
                    <a:cubicBezTo>
                      <a:pt x="32552" y="10688"/>
                      <a:pt x="30648" y="17155"/>
                      <a:pt x="25490" y="19963"/>
                    </a:cubicBezTo>
                    <a:lnTo>
                      <a:pt x="15736" y="25281"/>
                    </a:lnTo>
                    <a:cubicBezTo>
                      <a:pt x="14109" y="26163"/>
                      <a:pt x="12365" y="26578"/>
                      <a:pt x="10653" y="26578"/>
                    </a:cubicBezTo>
                    <a:close/>
                  </a:path>
                </a:pathLst>
              </a:custGeom>
              <a:solidFill>
                <a:schemeClr val="accent1"/>
              </a:solidFill>
              <a:ln w="1063" cap="flat">
                <a:noFill/>
                <a:prstDash val="solid"/>
                <a:miter/>
              </a:ln>
            </p:spPr>
            <p:txBody>
              <a:bodyPr rtlCol="0" anchor="ctr"/>
              <a:lstStyle/>
              <a:p>
                <a:endParaRPr lang="en-GB" dirty="0"/>
              </a:p>
            </p:txBody>
          </p:sp>
          <p:sp>
            <p:nvSpPr>
              <p:cNvPr id="516" name="Freeform: Shape 515">
                <a:extLst>
                  <a:ext uri="{FF2B5EF4-FFF2-40B4-BE49-F238E27FC236}">
                    <a16:creationId xmlns:a16="http://schemas.microsoft.com/office/drawing/2014/main" id="{60037411-2355-4293-BBB5-D5BD42DAC694}"/>
                  </a:ext>
                </a:extLst>
              </p:cNvPr>
              <p:cNvSpPr/>
              <p:nvPr/>
            </p:nvSpPr>
            <p:spPr>
              <a:xfrm>
                <a:off x="2498517" y="4499926"/>
                <a:ext cx="30143" cy="27480"/>
              </a:xfrm>
              <a:custGeom>
                <a:avLst/>
                <a:gdLst>
                  <a:gd name="connsiteX0" fmla="*/ 19485 w 30143"/>
                  <a:gd name="connsiteY0" fmla="*/ 27481 h 27480"/>
                  <a:gd name="connsiteX1" fmla="*/ 13402 w 30143"/>
                  <a:gd name="connsiteY1" fmla="*/ 25556 h 27480"/>
                  <a:gd name="connsiteX2" fmla="*/ 4542 w 30143"/>
                  <a:gd name="connsiteY2" fmla="*/ 19355 h 27480"/>
                  <a:gd name="connsiteX3" fmla="*/ 1926 w 30143"/>
                  <a:gd name="connsiteY3" fmla="*/ 4539 h 27480"/>
                  <a:gd name="connsiteX4" fmla="*/ 16741 w 30143"/>
                  <a:gd name="connsiteY4" fmla="*/ 1923 h 27480"/>
                  <a:gd name="connsiteX5" fmla="*/ 25601 w 30143"/>
                  <a:gd name="connsiteY5" fmla="*/ 8124 h 27480"/>
                  <a:gd name="connsiteX6" fmla="*/ 28218 w 30143"/>
                  <a:gd name="connsiteY6" fmla="*/ 22939 h 27480"/>
                  <a:gd name="connsiteX7" fmla="*/ 19485 w 30143"/>
                  <a:gd name="connsiteY7" fmla="*/ 27481 h 2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43" h="27480">
                    <a:moveTo>
                      <a:pt x="19485" y="27481"/>
                    </a:moveTo>
                    <a:cubicBezTo>
                      <a:pt x="17380" y="27481"/>
                      <a:pt x="15252" y="26853"/>
                      <a:pt x="13402" y="25556"/>
                    </a:cubicBezTo>
                    <a:lnTo>
                      <a:pt x="4542" y="19355"/>
                    </a:lnTo>
                    <a:cubicBezTo>
                      <a:pt x="-276" y="15994"/>
                      <a:pt x="-1446" y="9357"/>
                      <a:pt x="1926" y="4539"/>
                    </a:cubicBezTo>
                    <a:cubicBezTo>
                      <a:pt x="5297" y="-268"/>
                      <a:pt x="11934" y="-1449"/>
                      <a:pt x="16741" y="1923"/>
                    </a:cubicBezTo>
                    <a:lnTo>
                      <a:pt x="25601" y="8124"/>
                    </a:lnTo>
                    <a:cubicBezTo>
                      <a:pt x="30419" y="11485"/>
                      <a:pt x="31589" y="18121"/>
                      <a:pt x="28218" y="22939"/>
                    </a:cubicBezTo>
                    <a:cubicBezTo>
                      <a:pt x="26143" y="25906"/>
                      <a:pt x="22846" y="27481"/>
                      <a:pt x="19485" y="27481"/>
                    </a:cubicBezTo>
                    <a:close/>
                  </a:path>
                </a:pathLst>
              </a:custGeom>
              <a:solidFill>
                <a:schemeClr val="accent1"/>
              </a:solidFill>
              <a:ln w="1063" cap="flat">
                <a:noFill/>
                <a:prstDash val="solid"/>
                <a:miter/>
              </a:ln>
            </p:spPr>
            <p:txBody>
              <a:bodyPr rtlCol="0" anchor="ctr"/>
              <a:lstStyle/>
              <a:p>
                <a:endParaRPr lang="en-GB" dirty="0"/>
              </a:p>
            </p:txBody>
          </p:sp>
          <p:sp>
            <p:nvSpPr>
              <p:cNvPr id="517" name="Freeform: Shape 516">
                <a:extLst>
                  <a:ext uri="{FF2B5EF4-FFF2-40B4-BE49-F238E27FC236}">
                    <a16:creationId xmlns:a16="http://schemas.microsoft.com/office/drawing/2014/main" id="{559BC712-03EC-425C-A686-3284061A6762}"/>
                  </a:ext>
                </a:extLst>
              </p:cNvPr>
              <p:cNvSpPr/>
              <p:nvPr/>
            </p:nvSpPr>
            <p:spPr>
              <a:xfrm>
                <a:off x="2557017" y="4440561"/>
                <a:ext cx="26596" cy="31901"/>
              </a:xfrm>
              <a:custGeom>
                <a:avLst/>
                <a:gdLst>
                  <a:gd name="connsiteX0" fmla="*/ 10624 w 26596"/>
                  <a:gd name="connsiteY0" fmla="*/ 31901 h 31901"/>
                  <a:gd name="connsiteX1" fmla="*/ 5880 w 26596"/>
                  <a:gd name="connsiteY1" fmla="*/ 30784 h 31901"/>
                  <a:gd name="connsiteX2" fmla="*/ 1126 w 26596"/>
                  <a:gd name="connsiteY2" fmla="*/ 16511 h 31901"/>
                  <a:gd name="connsiteX3" fmla="*/ 6444 w 26596"/>
                  <a:gd name="connsiteY3" fmla="*/ 5875 h 31901"/>
                  <a:gd name="connsiteX4" fmla="*/ 20717 w 26596"/>
                  <a:gd name="connsiteY4" fmla="*/ 1121 h 31901"/>
                  <a:gd name="connsiteX5" fmla="*/ 25471 w 26596"/>
                  <a:gd name="connsiteY5" fmla="*/ 15394 h 31901"/>
                  <a:gd name="connsiteX6" fmla="*/ 20153 w 26596"/>
                  <a:gd name="connsiteY6" fmla="*/ 26030 h 31901"/>
                  <a:gd name="connsiteX7" fmla="*/ 10624 w 26596"/>
                  <a:gd name="connsiteY7" fmla="*/ 31901 h 31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96" h="31901">
                    <a:moveTo>
                      <a:pt x="10624" y="31901"/>
                    </a:moveTo>
                    <a:cubicBezTo>
                      <a:pt x="9028" y="31901"/>
                      <a:pt x="7401" y="31540"/>
                      <a:pt x="5880" y="30784"/>
                    </a:cubicBezTo>
                    <a:cubicBezTo>
                      <a:pt x="626" y="28157"/>
                      <a:pt x="-1501" y="21765"/>
                      <a:pt x="1126" y="16511"/>
                    </a:cubicBezTo>
                    <a:lnTo>
                      <a:pt x="6444" y="5875"/>
                    </a:lnTo>
                    <a:cubicBezTo>
                      <a:pt x="9071" y="621"/>
                      <a:pt x="15452" y="-1495"/>
                      <a:pt x="20717" y="1121"/>
                    </a:cubicBezTo>
                    <a:cubicBezTo>
                      <a:pt x="25971" y="3748"/>
                      <a:pt x="28098" y="10140"/>
                      <a:pt x="25471" y="15394"/>
                    </a:cubicBezTo>
                    <a:lnTo>
                      <a:pt x="20153" y="26030"/>
                    </a:lnTo>
                    <a:cubicBezTo>
                      <a:pt x="18281" y="29753"/>
                      <a:pt x="14527" y="31901"/>
                      <a:pt x="10624" y="31901"/>
                    </a:cubicBezTo>
                    <a:close/>
                  </a:path>
                </a:pathLst>
              </a:custGeom>
              <a:solidFill>
                <a:schemeClr val="accent1"/>
              </a:solidFill>
              <a:ln w="1063" cap="flat">
                <a:noFill/>
                <a:prstDash val="solid"/>
                <a:miter/>
              </a:ln>
            </p:spPr>
            <p:txBody>
              <a:bodyPr rtlCol="0" anchor="ctr"/>
              <a:lstStyle/>
              <a:p>
                <a:endParaRPr lang="en-GB" dirty="0"/>
              </a:p>
            </p:txBody>
          </p:sp>
        </p:grpSp>
        <p:grpSp>
          <p:nvGrpSpPr>
            <p:cNvPr id="511" name="Group 510">
              <a:extLst>
                <a:ext uri="{FF2B5EF4-FFF2-40B4-BE49-F238E27FC236}">
                  <a16:creationId xmlns:a16="http://schemas.microsoft.com/office/drawing/2014/main" id="{D48C837E-3227-4331-87EE-1CC313DC69C0}"/>
                </a:ext>
              </a:extLst>
            </p:cNvPr>
            <p:cNvGrpSpPr/>
            <p:nvPr/>
          </p:nvGrpSpPr>
          <p:grpSpPr>
            <a:xfrm>
              <a:off x="601977" y="3999969"/>
              <a:ext cx="384147" cy="449806"/>
              <a:chOff x="601977" y="3999969"/>
              <a:chExt cx="384147" cy="449806"/>
            </a:xfrm>
          </p:grpSpPr>
          <p:sp>
            <p:nvSpPr>
              <p:cNvPr id="512" name="Freeform: Shape 511">
                <a:extLst>
                  <a:ext uri="{FF2B5EF4-FFF2-40B4-BE49-F238E27FC236}">
                    <a16:creationId xmlns:a16="http://schemas.microsoft.com/office/drawing/2014/main" id="{C72777E6-2F15-4219-9B82-E338A2DCDEB4}"/>
                  </a:ext>
                </a:extLst>
              </p:cNvPr>
              <p:cNvSpPr/>
              <p:nvPr/>
            </p:nvSpPr>
            <p:spPr>
              <a:xfrm>
                <a:off x="601977" y="4035769"/>
                <a:ext cx="384147" cy="414006"/>
              </a:xfrm>
              <a:custGeom>
                <a:avLst/>
                <a:gdLst>
                  <a:gd name="connsiteX0" fmla="*/ 299583 w 599156"/>
                  <a:gd name="connsiteY0" fmla="*/ 645727 h 645726"/>
                  <a:gd name="connsiteX1" fmla="*/ 296254 w 599156"/>
                  <a:gd name="connsiteY1" fmla="*/ 645195 h 645726"/>
                  <a:gd name="connsiteX2" fmla="*/ 3 w 599156"/>
                  <a:gd name="connsiteY2" fmla="*/ 205381 h 645726"/>
                  <a:gd name="connsiteX3" fmla="*/ 6725 w 599156"/>
                  <a:gd name="connsiteY3" fmla="*/ 195234 h 645726"/>
                  <a:gd name="connsiteX4" fmla="*/ 79421 w 599156"/>
                  <a:gd name="connsiteY4" fmla="*/ 166549 h 645726"/>
                  <a:gd name="connsiteX5" fmla="*/ 96162 w 599156"/>
                  <a:gd name="connsiteY5" fmla="*/ 98937 h 645726"/>
                  <a:gd name="connsiteX6" fmla="*/ 101958 w 599156"/>
                  <a:gd name="connsiteY6" fmla="*/ 91864 h 645726"/>
                  <a:gd name="connsiteX7" fmla="*/ 295052 w 599156"/>
                  <a:gd name="connsiteY7" fmla="*/ 1013 h 645726"/>
                  <a:gd name="connsiteX8" fmla="*/ 304114 w 599156"/>
                  <a:gd name="connsiteY8" fmla="*/ 1013 h 645726"/>
                  <a:gd name="connsiteX9" fmla="*/ 497208 w 599156"/>
                  <a:gd name="connsiteY9" fmla="*/ 91875 h 645726"/>
                  <a:gd name="connsiteX10" fmla="*/ 503005 w 599156"/>
                  <a:gd name="connsiteY10" fmla="*/ 98948 h 645726"/>
                  <a:gd name="connsiteX11" fmla="*/ 519745 w 599156"/>
                  <a:gd name="connsiteY11" fmla="*/ 166549 h 645726"/>
                  <a:gd name="connsiteX12" fmla="*/ 592431 w 599156"/>
                  <a:gd name="connsiteY12" fmla="*/ 195256 h 645726"/>
                  <a:gd name="connsiteX13" fmla="*/ 599153 w 599156"/>
                  <a:gd name="connsiteY13" fmla="*/ 205392 h 645726"/>
                  <a:gd name="connsiteX14" fmla="*/ 302902 w 599156"/>
                  <a:gd name="connsiteY14" fmla="*/ 645195 h 645726"/>
                  <a:gd name="connsiteX15" fmla="*/ 299583 w 599156"/>
                  <a:gd name="connsiteY15" fmla="*/ 645727 h 645726"/>
                  <a:gd name="connsiteX16" fmla="*/ 21668 w 599156"/>
                  <a:gd name="connsiteY16" fmla="*/ 212230 h 645726"/>
                  <a:gd name="connsiteX17" fmla="*/ 299573 w 599156"/>
                  <a:gd name="connsiteY17" fmla="*/ 623881 h 645726"/>
                  <a:gd name="connsiteX18" fmla="*/ 577487 w 599156"/>
                  <a:gd name="connsiteY18" fmla="*/ 212241 h 645726"/>
                  <a:gd name="connsiteX19" fmla="*/ 506812 w 599156"/>
                  <a:gd name="connsiteY19" fmla="*/ 184333 h 645726"/>
                  <a:gd name="connsiteX20" fmla="*/ 500388 w 599156"/>
                  <a:gd name="connsiteY20" fmla="*/ 177005 h 645726"/>
                  <a:gd name="connsiteX21" fmla="*/ 483541 w 599156"/>
                  <a:gd name="connsiteY21" fmla="*/ 108988 h 645726"/>
                  <a:gd name="connsiteX22" fmla="*/ 299562 w 599156"/>
                  <a:gd name="connsiteY22" fmla="*/ 22412 h 645726"/>
                  <a:gd name="connsiteX23" fmla="*/ 115583 w 599156"/>
                  <a:gd name="connsiteY23" fmla="*/ 108978 h 645726"/>
                  <a:gd name="connsiteX24" fmla="*/ 98746 w 599156"/>
                  <a:gd name="connsiteY24" fmla="*/ 177005 h 645726"/>
                  <a:gd name="connsiteX25" fmla="*/ 92322 w 599156"/>
                  <a:gd name="connsiteY25" fmla="*/ 184343 h 645726"/>
                  <a:gd name="connsiteX26" fmla="*/ 21668 w 599156"/>
                  <a:gd name="connsiteY26" fmla="*/ 212230 h 645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99156" h="645726">
                    <a:moveTo>
                      <a:pt x="299583" y="645727"/>
                    </a:moveTo>
                    <a:cubicBezTo>
                      <a:pt x="298466" y="645727"/>
                      <a:pt x="297339" y="645546"/>
                      <a:pt x="296254" y="645195"/>
                    </a:cubicBezTo>
                    <a:cubicBezTo>
                      <a:pt x="11479" y="551333"/>
                      <a:pt x="88" y="208838"/>
                      <a:pt x="3" y="205381"/>
                    </a:cubicBezTo>
                    <a:cubicBezTo>
                      <a:pt x="-103" y="200925"/>
                      <a:pt x="2577" y="196872"/>
                      <a:pt x="6725" y="195234"/>
                    </a:cubicBezTo>
                    <a:lnTo>
                      <a:pt x="79421" y="166549"/>
                    </a:lnTo>
                    <a:lnTo>
                      <a:pt x="96162" y="98937"/>
                    </a:lnTo>
                    <a:cubicBezTo>
                      <a:pt x="96928" y="95832"/>
                      <a:pt x="99055" y="93237"/>
                      <a:pt x="101958" y="91864"/>
                    </a:cubicBezTo>
                    <a:lnTo>
                      <a:pt x="295052" y="1013"/>
                    </a:lnTo>
                    <a:cubicBezTo>
                      <a:pt x="297924" y="-338"/>
                      <a:pt x="301242" y="-338"/>
                      <a:pt x="304114" y="1013"/>
                    </a:cubicBezTo>
                    <a:lnTo>
                      <a:pt x="497208" y="91875"/>
                    </a:lnTo>
                    <a:cubicBezTo>
                      <a:pt x="500101" y="93247"/>
                      <a:pt x="502239" y="95842"/>
                      <a:pt x="503005" y="98948"/>
                    </a:cubicBezTo>
                    <a:lnTo>
                      <a:pt x="519745" y="166549"/>
                    </a:lnTo>
                    <a:lnTo>
                      <a:pt x="592431" y="195256"/>
                    </a:lnTo>
                    <a:cubicBezTo>
                      <a:pt x="596579" y="196883"/>
                      <a:pt x="599270" y="200935"/>
                      <a:pt x="599153" y="205392"/>
                    </a:cubicBezTo>
                    <a:cubicBezTo>
                      <a:pt x="599078" y="208838"/>
                      <a:pt x="587687" y="551323"/>
                      <a:pt x="302902" y="645195"/>
                    </a:cubicBezTo>
                    <a:cubicBezTo>
                      <a:pt x="301827" y="645556"/>
                      <a:pt x="300700" y="645727"/>
                      <a:pt x="299583" y="645727"/>
                    </a:cubicBezTo>
                    <a:close/>
                    <a:moveTo>
                      <a:pt x="21668" y="212230"/>
                    </a:moveTo>
                    <a:cubicBezTo>
                      <a:pt x="25019" y="261209"/>
                      <a:pt x="54927" y="540814"/>
                      <a:pt x="299573" y="623881"/>
                    </a:cubicBezTo>
                    <a:cubicBezTo>
                      <a:pt x="544538" y="540740"/>
                      <a:pt x="574169" y="261209"/>
                      <a:pt x="577487" y="212241"/>
                    </a:cubicBezTo>
                    <a:lnTo>
                      <a:pt x="506812" y="184333"/>
                    </a:lnTo>
                    <a:cubicBezTo>
                      <a:pt x="503611" y="183078"/>
                      <a:pt x="501218" y="180344"/>
                      <a:pt x="500388" y="177005"/>
                    </a:cubicBezTo>
                    <a:lnTo>
                      <a:pt x="483541" y="108988"/>
                    </a:lnTo>
                    <a:lnTo>
                      <a:pt x="299562" y="22412"/>
                    </a:lnTo>
                    <a:lnTo>
                      <a:pt x="115583" y="108978"/>
                    </a:lnTo>
                    <a:lnTo>
                      <a:pt x="98746" y="177005"/>
                    </a:lnTo>
                    <a:cubicBezTo>
                      <a:pt x="97917" y="180344"/>
                      <a:pt x="95524" y="183078"/>
                      <a:pt x="92322" y="184343"/>
                    </a:cubicBezTo>
                    <a:lnTo>
                      <a:pt x="21668" y="212230"/>
                    </a:lnTo>
                    <a:close/>
                  </a:path>
                </a:pathLst>
              </a:custGeom>
              <a:solidFill>
                <a:schemeClr val="tx2"/>
              </a:solidFill>
              <a:ln w="1063" cap="flat">
                <a:noFill/>
                <a:prstDash val="solid"/>
                <a:miter/>
              </a:ln>
            </p:spPr>
            <p:txBody>
              <a:bodyPr rtlCol="0" anchor="ctr"/>
              <a:lstStyle/>
              <a:p>
                <a:endParaRPr lang="en-GB" dirty="0"/>
              </a:p>
            </p:txBody>
          </p:sp>
          <p:sp>
            <p:nvSpPr>
              <p:cNvPr id="513" name="Freeform: Shape 512">
                <a:extLst>
                  <a:ext uri="{FF2B5EF4-FFF2-40B4-BE49-F238E27FC236}">
                    <a16:creationId xmlns:a16="http://schemas.microsoft.com/office/drawing/2014/main" id="{D1C5FCC2-0D3D-4E57-A317-FB3DEB76AA0E}"/>
                  </a:ext>
                </a:extLst>
              </p:cNvPr>
              <p:cNvSpPr/>
              <p:nvPr/>
            </p:nvSpPr>
            <p:spPr>
              <a:xfrm>
                <a:off x="661323" y="3999969"/>
                <a:ext cx="265461" cy="72891"/>
              </a:xfrm>
              <a:custGeom>
                <a:avLst/>
                <a:gdLst>
                  <a:gd name="connsiteX0" fmla="*/ 403390 w 414041"/>
                  <a:gd name="connsiteY0" fmla="*/ 113689 h 113689"/>
                  <a:gd name="connsiteX1" fmla="*/ 398870 w 414041"/>
                  <a:gd name="connsiteY1" fmla="*/ 112679 h 113689"/>
                  <a:gd name="connsiteX2" fmla="*/ 207021 w 414041"/>
                  <a:gd name="connsiteY2" fmla="*/ 22402 h 113689"/>
                  <a:gd name="connsiteX3" fmla="*/ 15171 w 414041"/>
                  <a:gd name="connsiteY3" fmla="*/ 112668 h 113689"/>
                  <a:gd name="connsiteX4" fmla="*/ 1015 w 414041"/>
                  <a:gd name="connsiteY4" fmla="*/ 107574 h 113689"/>
                  <a:gd name="connsiteX5" fmla="*/ 6109 w 414041"/>
                  <a:gd name="connsiteY5" fmla="*/ 93417 h 113689"/>
                  <a:gd name="connsiteX6" fmla="*/ 202490 w 414041"/>
                  <a:gd name="connsiteY6" fmla="*/ 1013 h 113689"/>
                  <a:gd name="connsiteX7" fmla="*/ 211551 w 414041"/>
                  <a:gd name="connsiteY7" fmla="*/ 1013 h 113689"/>
                  <a:gd name="connsiteX8" fmla="*/ 407932 w 414041"/>
                  <a:gd name="connsiteY8" fmla="*/ 93417 h 113689"/>
                  <a:gd name="connsiteX9" fmla="*/ 413026 w 414041"/>
                  <a:gd name="connsiteY9" fmla="*/ 107574 h 113689"/>
                  <a:gd name="connsiteX10" fmla="*/ 403390 w 414041"/>
                  <a:gd name="connsiteY10" fmla="*/ 113689 h 113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4041" h="113689">
                    <a:moveTo>
                      <a:pt x="403390" y="113689"/>
                    </a:moveTo>
                    <a:cubicBezTo>
                      <a:pt x="401869" y="113689"/>
                      <a:pt x="400327" y="113370"/>
                      <a:pt x="398870" y="112679"/>
                    </a:cubicBezTo>
                    <a:lnTo>
                      <a:pt x="207021" y="22402"/>
                    </a:lnTo>
                    <a:lnTo>
                      <a:pt x="15171" y="112668"/>
                    </a:lnTo>
                    <a:cubicBezTo>
                      <a:pt x="9864" y="115146"/>
                      <a:pt x="3525" y="112902"/>
                      <a:pt x="1015" y="107574"/>
                    </a:cubicBezTo>
                    <a:cubicBezTo>
                      <a:pt x="-1485" y="102256"/>
                      <a:pt x="791" y="95917"/>
                      <a:pt x="6109" y="93417"/>
                    </a:cubicBezTo>
                    <a:lnTo>
                      <a:pt x="202490" y="1013"/>
                    </a:lnTo>
                    <a:cubicBezTo>
                      <a:pt x="205361" y="-338"/>
                      <a:pt x="208680" y="-338"/>
                      <a:pt x="211551" y="1013"/>
                    </a:cubicBezTo>
                    <a:lnTo>
                      <a:pt x="407932" y="93417"/>
                    </a:lnTo>
                    <a:cubicBezTo>
                      <a:pt x="413250" y="95917"/>
                      <a:pt x="415526" y="102256"/>
                      <a:pt x="413026" y="107574"/>
                    </a:cubicBezTo>
                    <a:cubicBezTo>
                      <a:pt x="411208" y="111434"/>
                      <a:pt x="407379" y="113689"/>
                      <a:pt x="403390" y="113689"/>
                    </a:cubicBezTo>
                    <a:close/>
                  </a:path>
                </a:pathLst>
              </a:custGeom>
              <a:solidFill>
                <a:schemeClr val="tx2"/>
              </a:solidFill>
              <a:ln w="1063" cap="flat">
                <a:noFill/>
                <a:prstDash val="solid"/>
                <a:miter/>
              </a:ln>
            </p:spPr>
            <p:txBody>
              <a:bodyPr rtlCol="0" anchor="ctr"/>
              <a:lstStyle/>
              <a:p>
                <a:endParaRPr lang="en-GB" dirty="0"/>
              </a:p>
            </p:txBody>
          </p:sp>
        </p:grpSp>
      </p:grpSp>
      <p:grpSp>
        <p:nvGrpSpPr>
          <p:cNvPr id="42" name="Group 41">
            <a:extLst>
              <a:ext uri="{FF2B5EF4-FFF2-40B4-BE49-F238E27FC236}">
                <a16:creationId xmlns:a16="http://schemas.microsoft.com/office/drawing/2014/main" id="{883E73B1-0408-AAB1-98E5-B5245F4A3B46}"/>
              </a:ext>
            </a:extLst>
          </p:cNvPr>
          <p:cNvGrpSpPr/>
          <p:nvPr/>
        </p:nvGrpSpPr>
        <p:grpSpPr>
          <a:xfrm>
            <a:off x="4922336" y="3210024"/>
            <a:ext cx="581865" cy="424676"/>
            <a:chOff x="4921924" y="3210024"/>
            <a:chExt cx="581865" cy="424676"/>
          </a:xfrm>
        </p:grpSpPr>
        <p:grpSp>
          <p:nvGrpSpPr>
            <p:cNvPr id="554" name="Graphic 818">
              <a:extLst>
                <a:ext uri="{FF2B5EF4-FFF2-40B4-BE49-F238E27FC236}">
                  <a16:creationId xmlns:a16="http://schemas.microsoft.com/office/drawing/2014/main" id="{78E4CAEC-B043-415A-B733-DFC7BBC4436F}"/>
                </a:ext>
              </a:extLst>
            </p:cNvPr>
            <p:cNvGrpSpPr/>
            <p:nvPr/>
          </p:nvGrpSpPr>
          <p:grpSpPr>
            <a:xfrm>
              <a:off x="5244143" y="3375075"/>
              <a:ext cx="259646" cy="259625"/>
              <a:chOff x="5343641" y="4378079"/>
              <a:chExt cx="404971" cy="404938"/>
            </a:xfrm>
            <a:solidFill>
              <a:schemeClr val="accent1"/>
            </a:solidFill>
          </p:grpSpPr>
          <p:grpSp>
            <p:nvGrpSpPr>
              <p:cNvPr id="563" name="Graphic 818">
                <a:extLst>
                  <a:ext uri="{FF2B5EF4-FFF2-40B4-BE49-F238E27FC236}">
                    <a16:creationId xmlns:a16="http://schemas.microsoft.com/office/drawing/2014/main" id="{EC45299B-CEA8-4068-B1DE-211FA9F3A34D}"/>
                  </a:ext>
                </a:extLst>
              </p:cNvPr>
              <p:cNvGrpSpPr/>
              <p:nvPr/>
            </p:nvGrpSpPr>
            <p:grpSpPr>
              <a:xfrm>
                <a:off x="5343641" y="4378079"/>
                <a:ext cx="404971" cy="404938"/>
                <a:chOff x="5343641" y="4378079"/>
                <a:chExt cx="404971" cy="404938"/>
              </a:xfrm>
              <a:solidFill>
                <a:schemeClr val="accent1"/>
              </a:solidFill>
            </p:grpSpPr>
            <p:sp>
              <p:nvSpPr>
                <p:cNvPr id="567" name="Freeform: Shape 566">
                  <a:extLst>
                    <a:ext uri="{FF2B5EF4-FFF2-40B4-BE49-F238E27FC236}">
                      <a16:creationId xmlns:a16="http://schemas.microsoft.com/office/drawing/2014/main" id="{BBDE30F9-8FB1-4C25-B690-0FA393FBFE1A}"/>
                    </a:ext>
                  </a:extLst>
                </p:cNvPr>
                <p:cNvSpPr/>
                <p:nvPr/>
              </p:nvSpPr>
              <p:spPr>
                <a:xfrm>
                  <a:off x="5421729" y="4455923"/>
                  <a:ext cx="248804" cy="248794"/>
                </a:xfrm>
                <a:custGeom>
                  <a:avLst/>
                  <a:gdLst>
                    <a:gd name="connsiteX0" fmla="*/ 124397 w 248804"/>
                    <a:gd name="connsiteY0" fmla="*/ 248794 h 248794"/>
                    <a:gd name="connsiteX1" fmla="*/ 0 w 248804"/>
                    <a:gd name="connsiteY1" fmla="*/ 124397 h 248794"/>
                    <a:gd name="connsiteX2" fmla="*/ 124397 w 248804"/>
                    <a:gd name="connsiteY2" fmla="*/ 0 h 248794"/>
                    <a:gd name="connsiteX3" fmla="*/ 248805 w 248804"/>
                    <a:gd name="connsiteY3" fmla="*/ 124397 h 248794"/>
                    <a:gd name="connsiteX4" fmla="*/ 124397 w 248804"/>
                    <a:gd name="connsiteY4" fmla="*/ 248794 h 248794"/>
                    <a:gd name="connsiteX5" fmla="*/ 124397 w 248804"/>
                    <a:gd name="connsiteY5" fmla="*/ 21272 h 248794"/>
                    <a:gd name="connsiteX6" fmla="*/ 21272 w 248804"/>
                    <a:gd name="connsiteY6" fmla="*/ 124397 h 248794"/>
                    <a:gd name="connsiteX7" fmla="*/ 124397 w 248804"/>
                    <a:gd name="connsiteY7" fmla="*/ 227523 h 248794"/>
                    <a:gd name="connsiteX8" fmla="*/ 227533 w 248804"/>
                    <a:gd name="connsiteY8" fmla="*/ 124397 h 248794"/>
                    <a:gd name="connsiteX9" fmla="*/ 124397 w 248804"/>
                    <a:gd name="connsiteY9" fmla="*/ 21272 h 24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804" h="248794">
                      <a:moveTo>
                        <a:pt x="124397" y="248794"/>
                      </a:moveTo>
                      <a:cubicBezTo>
                        <a:pt x="55806" y="248794"/>
                        <a:pt x="0" y="192988"/>
                        <a:pt x="0" y="124397"/>
                      </a:cubicBezTo>
                      <a:cubicBezTo>
                        <a:pt x="0" y="55807"/>
                        <a:pt x="55806" y="0"/>
                        <a:pt x="124397" y="0"/>
                      </a:cubicBezTo>
                      <a:cubicBezTo>
                        <a:pt x="192998" y="0"/>
                        <a:pt x="248805" y="55807"/>
                        <a:pt x="248805" y="124397"/>
                      </a:cubicBezTo>
                      <a:cubicBezTo>
                        <a:pt x="248805" y="192988"/>
                        <a:pt x="192998" y="248794"/>
                        <a:pt x="124397" y="248794"/>
                      </a:cubicBezTo>
                      <a:close/>
                      <a:moveTo>
                        <a:pt x="124397" y="21272"/>
                      </a:moveTo>
                      <a:cubicBezTo>
                        <a:pt x="67527" y="21272"/>
                        <a:pt x="21272" y="67538"/>
                        <a:pt x="21272" y="124397"/>
                      </a:cubicBezTo>
                      <a:cubicBezTo>
                        <a:pt x="21272" y="181257"/>
                        <a:pt x="67538" y="227523"/>
                        <a:pt x="124397" y="227523"/>
                      </a:cubicBezTo>
                      <a:cubicBezTo>
                        <a:pt x="181256" y="227523"/>
                        <a:pt x="227533" y="181257"/>
                        <a:pt x="227533" y="124397"/>
                      </a:cubicBezTo>
                      <a:cubicBezTo>
                        <a:pt x="227533" y="67538"/>
                        <a:pt x="181267" y="21272"/>
                        <a:pt x="124397" y="21272"/>
                      </a:cubicBezTo>
                      <a:close/>
                    </a:path>
                  </a:pathLst>
                </a:custGeom>
                <a:solidFill>
                  <a:schemeClr val="accent1"/>
                </a:solidFill>
                <a:ln w="1063" cap="flat">
                  <a:noFill/>
                  <a:prstDash val="solid"/>
                  <a:miter/>
                </a:ln>
              </p:spPr>
              <p:txBody>
                <a:bodyPr rtlCol="0" anchor="ctr"/>
                <a:lstStyle/>
                <a:p>
                  <a:endParaRPr lang="en-GB" dirty="0"/>
                </a:p>
              </p:txBody>
            </p:sp>
            <p:grpSp>
              <p:nvGrpSpPr>
                <p:cNvPr id="568" name="Graphic 818">
                  <a:extLst>
                    <a:ext uri="{FF2B5EF4-FFF2-40B4-BE49-F238E27FC236}">
                      <a16:creationId xmlns:a16="http://schemas.microsoft.com/office/drawing/2014/main" id="{D716EF2B-9C11-4D83-A2C9-51E2002B577B}"/>
                    </a:ext>
                  </a:extLst>
                </p:cNvPr>
                <p:cNvGrpSpPr/>
                <p:nvPr/>
              </p:nvGrpSpPr>
              <p:grpSpPr>
                <a:xfrm>
                  <a:off x="5343641" y="4544010"/>
                  <a:ext cx="99104" cy="72132"/>
                  <a:chOff x="5343641" y="4544010"/>
                  <a:chExt cx="99104" cy="72132"/>
                </a:xfrm>
                <a:solidFill>
                  <a:schemeClr val="accent1"/>
                </a:solidFill>
              </p:grpSpPr>
              <p:sp>
                <p:nvSpPr>
                  <p:cNvPr id="600" name="Freeform: Shape 599">
                    <a:extLst>
                      <a:ext uri="{FF2B5EF4-FFF2-40B4-BE49-F238E27FC236}">
                        <a16:creationId xmlns:a16="http://schemas.microsoft.com/office/drawing/2014/main" id="{426548EB-D83C-4C19-87B1-A10CBAE5CC21}"/>
                      </a:ext>
                    </a:extLst>
                  </p:cNvPr>
                  <p:cNvSpPr/>
                  <p:nvPr/>
                </p:nvSpPr>
                <p:spPr>
                  <a:xfrm>
                    <a:off x="5343641" y="4544010"/>
                    <a:ext cx="63187" cy="72132"/>
                  </a:xfrm>
                  <a:custGeom>
                    <a:avLst/>
                    <a:gdLst>
                      <a:gd name="connsiteX0" fmla="*/ 27228 w 63187"/>
                      <a:gd name="connsiteY0" fmla="*/ 72132 h 72132"/>
                      <a:gd name="connsiteX1" fmla="*/ 0 w 63187"/>
                      <a:gd name="connsiteY1" fmla="*/ 36172 h 72132"/>
                      <a:gd name="connsiteX2" fmla="*/ 26356 w 63187"/>
                      <a:gd name="connsiteY2" fmla="*/ 0 h 72132"/>
                      <a:gd name="connsiteX3" fmla="*/ 63188 w 63187"/>
                      <a:gd name="connsiteY3" fmla="*/ 36172 h 72132"/>
                      <a:gd name="connsiteX4" fmla="*/ 27228 w 63187"/>
                      <a:gd name="connsiteY4" fmla="*/ 72132 h 72132"/>
                      <a:gd name="connsiteX5" fmla="*/ 26356 w 63187"/>
                      <a:gd name="connsiteY5" fmla="*/ 21272 h 72132"/>
                      <a:gd name="connsiteX6" fmla="*/ 21272 w 63187"/>
                      <a:gd name="connsiteY6" fmla="*/ 36172 h 72132"/>
                      <a:gd name="connsiteX7" fmla="*/ 27228 w 63187"/>
                      <a:gd name="connsiteY7" fmla="*/ 50860 h 72132"/>
                      <a:gd name="connsiteX8" fmla="*/ 41916 w 63187"/>
                      <a:gd name="connsiteY8" fmla="*/ 36172 h 72132"/>
                      <a:gd name="connsiteX9" fmla="*/ 26356 w 63187"/>
                      <a:gd name="connsiteY9" fmla="*/ 21272 h 7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187" h="72132">
                        <a:moveTo>
                          <a:pt x="27228" y="72132"/>
                        </a:moveTo>
                        <a:cubicBezTo>
                          <a:pt x="11200" y="72132"/>
                          <a:pt x="0" y="57338"/>
                          <a:pt x="0" y="36172"/>
                        </a:cubicBezTo>
                        <a:cubicBezTo>
                          <a:pt x="0" y="14199"/>
                          <a:pt x="10349" y="0"/>
                          <a:pt x="26356" y="0"/>
                        </a:cubicBezTo>
                        <a:cubicBezTo>
                          <a:pt x="44256" y="0"/>
                          <a:pt x="63188" y="18591"/>
                          <a:pt x="63188" y="36172"/>
                        </a:cubicBezTo>
                        <a:cubicBezTo>
                          <a:pt x="63177" y="53987"/>
                          <a:pt x="45032" y="72132"/>
                          <a:pt x="27228" y="72132"/>
                        </a:cubicBezTo>
                        <a:close/>
                        <a:moveTo>
                          <a:pt x="26356" y="21272"/>
                        </a:moveTo>
                        <a:cubicBezTo>
                          <a:pt x="23314" y="21272"/>
                          <a:pt x="21272" y="28983"/>
                          <a:pt x="21272" y="36172"/>
                        </a:cubicBezTo>
                        <a:cubicBezTo>
                          <a:pt x="21272" y="43266"/>
                          <a:pt x="23665" y="50860"/>
                          <a:pt x="27228" y="50860"/>
                        </a:cubicBezTo>
                        <a:cubicBezTo>
                          <a:pt x="32801" y="50860"/>
                          <a:pt x="41916" y="42660"/>
                          <a:pt x="41916" y="36172"/>
                        </a:cubicBezTo>
                        <a:cubicBezTo>
                          <a:pt x="41905" y="29748"/>
                          <a:pt x="32120" y="21272"/>
                          <a:pt x="26356" y="21272"/>
                        </a:cubicBezTo>
                        <a:close/>
                      </a:path>
                    </a:pathLst>
                  </a:custGeom>
                  <a:solidFill>
                    <a:schemeClr val="accent1"/>
                  </a:solidFill>
                  <a:ln w="1063" cap="flat">
                    <a:noFill/>
                    <a:prstDash val="solid"/>
                    <a:miter/>
                  </a:ln>
                </p:spPr>
                <p:txBody>
                  <a:bodyPr rtlCol="0" anchor="ctr"/>
                  <a:lstStyle/>
                  <a:p>
                    <a:endParaRPr lang="en-GB" dirty="0"/>
                  </a:p>
                </p:txBody>
              </p:sp>
              <p:sp>
                <p:nvSpPr>
                  <p:cNvPr id="601" name="Freeform: Shape 600">
                    <a:extLst>
                      <a:ext uri="{FF2B5EF4-FFF2-40B4-BE49-F238E27FC236}">
                        <a16:creationId xmlns:a16="http://schemas.microsoft.com/office/drawing/2014/main" id="{2A8EAC60-6986-4EC9-8522-AFD32FA5C27D}"/>
                      </a:ext>
                    </a:extLst>
                  </p:cNvPr>
                  <p:cNvSpPr/>
                  <p:nvPr/>
                </p:nvSpPr>
                <p:spPr>
                  <a:xfrm>
                    <a:off x="5385546" y="4569557"/>
                    <a:ext cx="57199" cy="21271"/>
                  </a:xfrm>
                  <a:custGeom>
                    <a:avLst/>
                    <a:gdLst>
                      <a:gd name="connsiteX0" fmla="*/ 46564 w 57199"/>
                      <a:gd name="connsiteY0" fmla="*/ 21272 h 21271"/>
                      <a:gd name="connsiteX1" fmla="*/ 10636 w 57199"/>
                      <a:gd name="connsiteY1" fmla="*/ 21272 h 21271"/>
                      <a:gd name="connsiteX2" fmla="*/ 0 w 57199"/>
                      <a:gd name="connsiteY2" fmla="*/ 10636 h 21271"/>
                      <a:gd name="connsiteX3" fmla="*/ 10636 w 57199"/>
                      <a:gd name="connsiteY3" fmla="*/ 0 h 21271"/>
                      <a:gd name="connsiteX4" fmla="*/ 46564 w 57199"/>
                      <a:gd name="connsiteY4" fmla="*/ 0 h 21271"/>
                      <a:gd name="connsiteX5" fmla="*/ 57200 w 57199"/>
                      <a:gd name="connsiteY5" fmla="*/ 10636 h 21271"/>
                      <a:gd name="connsiteX6" fmla="*/ 46564 w 57199"/>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199" h="21271">
                        <a:moveTo>
                          <a:pt x="46564" y="21272"/>
                        </a:moveTo>
                        <a:lnTo>
                          <a:pt x="10636" y="21272"/>
                        </a:lnTo>
                        <a:cubicBezTo>
                          <a:pt x="4754" y="21272"/>
                          <a:pt x="0" y="16517"/>
                          <a:pt x="0" y="10636"/>
                        </a:cubicBezTo>
                        <a:cubicBezTo>
                          <a:pt x="0" y="4754"/>
                          <a:pt x="4754" y="0"/>
                          <a:pt x="10636" y="0"/>
                        </a:cubicBezTo>
                        <a:lnTo>
                          <a:pt x="46564" y="0"/>
                        </a:lnTo>
                        <a:cubicBezTo>
                          <a:pt x="52445" y="0"/>
                          <a:pt x="57200" y="4754"/>
                          <a:pt x="57200" y="10636"/>
                        </a:cubicBezTo>
                        <a:cubicBezTo>
                          <a:pt x="57200" y="16517"/>
                          <a:pt x="52445" y="21272"/>
                          <a:pt x="46564" y="21272"/>
                        </a:cubicBezTo>
                        <a:close/>
                      </a:path>
                    </a:pathLst>
                  </a:custGeom>
                  <a:solidFill>
                    <a:schemeClr val="accent1"/>
                  </a:solidFill>
                  <a:ln w="1063" cap="flat">
                    <a:noFill/>
                    <a:prstDash val="solid"/>
                    <a:miter/>
                  </a:ln>
                </p:spPr>
                <p:txBody>
                  <a:bodyPr rtlCol="0" anchor="ctr"/>
                  <a:lstStyle/>
                  <a:p>
                    <a:endParaRPr lang="en-GB" dirty="0"/>
                  </a:p>
                </p:txBody>
              </p:sp>
            </p:grpSp>
            <p:grpSp>
              <p:nvGrpSpPr>
                <p:cNvPr id="569" name="Graphic 818">
                  <a:extLst>
                    <a:ext uri="{FF2B5EF4-FFF2-40B4-BE49-F238E27FC236}">
                      <a16:creationId xmlns:a16="http://schemas.microsoft.com/office/drawing/2014/main" id="{20F63E6F-5E06-401E-8694-7AD60B53FD4F}"/>
                    </a:ext>
                  </a:extLst>
                </p:cNvPr>
                <p:cNvGrpSpPr/>
                <p:nvPr/>
              </p:nvGrpSpPr>
              <p:grpSpPr>
                <a:xfrm>
                  <a:off x="5649517" y="4543893"/>
                  <a:ext cx="99095" cy="72153"/>
                  <a:chOff x="5649517" y="4543893"/>
                  <a:chExt cx="99095" cy="72153"/>
                </a:xfrm>
                <a:solidFill>
                  <a:schemeClr val="accent1"/>
                </a:solidFill>
              </p:grpSpPr>
              <p:sp>
                <p:nvSpPr>
                  <p:cNvPr id="598" name="Freeform: Shape 597">
                    <a:extLst>
                      <a:ext uri="{FF2B5EF4-FFF2-40B4-BE49-F238E27FC236}">
                        <a16:creationId xmlns:a16="http://schemas.microsoft.com/office/drawing/2014/main" id="{A502C646-BA43-40D7-8A7F-5BC128766598}"/>
                      </a:ext>
                    </a:extLst>
                  </p:cNvPr>
                  <p:cNvSpPr/>
                  <p:nvPr/>
                </p:nvSpPr>
                <p:spPr>
                  <a:xfrm>
                    <a:off x="5685435" y="4543893"/>
                    <a:ext cx="63177" cy="72153"/>
                  </a:xfrm>
                  <a:custGeom>
                    <a:avLst/>
                    <a:gdLst>
                      <a:gd name="connsiteX0" fmla="*/ 36013 w 63177"/>
                      <a:gd name="connsiteY0" fmla="*/ 72143 h 72153"/>
                      <a:gd name="connsiteX1" fmla="*/ 11625 w 63177"/>
                      <a:gd name="connsiteY1" fmla="*/ 61156 h 72153"/>
                      <a:gd name="connsiteX2" fmla="*/ 0 w 63177"/>
                      <a:gd name="connsiteY2" fmla="*/ 36343 h 72153"/>
                      <a:gd name="connsiteX3" fmla="*/ 11944 w 63177"/>
                      <a:gd name="connsiteY3" fmla="*/ 11199 h 72153"/>
                      <a:gd name="connsiteX4" fmla="*/ 36651 w 63177"/>
                      <a:gd name="connsiteY4" fmla="*/ 0 h 72153"/>
                      <a:gd name="connsiteX5" fmla="*/ 36779 w 63177"/>
                      <a:gd name="connsiteY5" fmla="*/ 0 h 72153"/>
                      <a:gd name="connsiteX6" fmla="*/ 63177 w 63177"/>
                      <a:gd name="connsiteY6" fmla="*/ 36055 h 72153"/>
                      <a:gd name="connsiteX7" fmla="*/ 36130 w 63177"/>
                      <a:gd name="connsiteY7" fmla="*/ 72153 h 72153"/>
                      <a:gd name="connsiteX8" fmla="*/ 36013 w 63177"/>
                      <a:gd name="connsiteY8" fmla="*/ 72143 h 72153"/>
                      <a:gd name="connsiteX9" fmla="*/ 36768 w 63177"/>
                      <a:gd name="connsiteY9" fmla="*/ 21272 h 72153"/>
                      <a:gd name="connsiteX10" fmla="*/ 36768 w 63177"/>
                      <a:gd name="connsiteY10" fmla="*/ 21272 h 72153"/>
                      <a:gd name="connsiteX11" fmla="*/ 26686 w 63177"/>
                      <a:gd name="connsiteY11" fmla="*/ 26547 h 72153"/>
                      <a:gd name="connsiteX12" fmla="*/ 21282 w 63177"/>
                      <a:gd name="connsiteY12" fmla="*/ 36247 h 72153"/>
                      <a:gd name="connsiteX13" fmla="*/ 26462 w 63177"/>
                      <a:gd name="connsiteY13" fmla="*/ 45904 h 72153"/>
                      <a:gd name="connsiteX14" fmla="*/ 36003 w 63177"/>
                      <a:gd name="connsiteY14" fmla="*/ 50871 h 72153"/>
                      <a:gd name="connsiteX15" fmla="*/ 36024 w 63177"/>
                      <a:gd name="connsiteY15" fmla="*/ 50871 h 72153"/>
                      <a:gd name="connsiteX16" fmla="*/ 41916 w 63177"/>
                      <a:gd name="connsiteY16" fmla="*/ 36151 h 72153"/>
                      <a:gd name="connsiteX17" fmla="*/ 36768 w 63177"/>
                      <a:gd name="connsiteY17" fmla="*/ 21272 h 72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3177" h="72153">
                        <a:moveTo>
                          <a:pt x="36013" y="72143"/>
                        </a:moveTo>
                        <a:cubicBezTo>
                          <a:pt x="27685" y="72143"/>
                          <a:pt x="18804" y="68144"/>
                          <a:pt x="11625" y="61156"/>
                        </a:cubicBezTo>
                        <a:cubicBezTo>
                          <a:pt x="4276" y="54009"/>
                          <a:pt x="43" y="44979"/>
                          <a:pt x="0" y="36343"/>
                        </a:cubicBezTo>
                        <a:cubicBezTo>
                          <a:pt x="-42" y="27695"/>
                          <a:pt x="4308" y="18528"/>
                          <a:pt x="11944" y="11199"/>
                        </a:cubicBezTo>
                        <a:cubicBezTo>
                          <a:pt x="19326" y="4127"/>
                          <a:pt x="28334" y="42"/>
                          <a:pt x="36651" y="0"/>
                        </a:cubicBezTo>
                        <a:cubicBezTo>
                          <a:pt x="36694" y="0"/>
                          <a:pt x="36736" y="0"/>
                          <a:pt x="36779" y="0"/>
                        </a:cubicBezTo>
                        <a:cubicBezTo>
                          <a:pt x="52711" y="0"/>
                          <a:pt x="63071" y="14135"/>
                          <a:pt x="63177" y="36055"/>
                        </a:cubicBezTo>
                        <a:cubicBezTo>
                          <a:pt x="63284" y="57221"/>
                          <a:pt x="52158" y="72068"/>
                          <a:pt x="36130" y="72153"/>
                        </a:cubicBezTo>
                        <a:cubicBezTo>
                          <a:pt x="36098" y="72143"/>
                          <a:pt x="36056" y="72143"/>
                          <a:pt x="36013" y="72143"/>
                        </a:cubicBezTo>
                        <a:close/>
                        <a:moveTo>
                          <a:pt x="36768" y="21272"/>
                        </a:moveTo>
                        <a:lnTo>
                          <a:pt x="36768" y="21272"/>
                        </a:lnTo>
                        <a:cubicBezTo>
                          <a:pt x="34546" y="21282"/>
                          <a:pt x="30451" y="22930"/>
                          <a:pt x="26686" y="26547"/>
                        </a:cubicBezTo>
                        <a:cubicBezTo>
                          <a:pt x="23389" y="29717"/>
                          <a:pt x="21272" y="33513"/>
                          <a:pt x="21282" y="36247"/>
                        </a:cubicBezTo>
                        <a:cubicBezTo>
                          <a:pt x="21293" y="39076"/>
                          <a:pt x="23325" y="42862"/>
                          <a:pt x="26462" y="45904"/>
                        </a:cubicBezTo>
                        <a:cubicBezTo>
                          <a:pt x="29983" y="49339"/>
                          <a:pt x="33790" y="50871"/>
                          <a:pt x="36003" y="50871"/>
                        </a:cubicBezTo>
                        <a:cubicBezTo>
                          <a:pt x="36013" y="50871"/>
                          <a:pt x="36024" y="50871"/>
                          <a:pt x="36024" y="50871"/>
                        </a:cubicBezTo>
                        <a:cubicBezTo>
                          <a:pt x="39587" y="50850"/>
                          <a:pt x="41948" y="43245"/>
                          <a:pt x="41916" y="36151"/>
                        </a:cubicBezTo>
                        <a:cubicBezTo>
                          <a:pt x="41884" y="28972"/>
                          <a:pt x="39810" y="21272"/>
                          <a:pt x="36768" y="21272"/>
                        </a:cubicBezTo>
                        <a:close/>
                      </a:path>
                    </a:pathLst>
                  </a:custGeom>
                  <a:solidFill>
                    <a:schemeClr val="accent1"/>
                  </a:solidFill>
                  <a:ln w="1063" cap="flat">
                    <a:noFill/>
                    <a:prstDash val="solid"/>
                    <a:miter/>
                  </a:ln>
                </p:spPr>
                <p:txBody>
                  <a:bodyPr rtlCol="0" anchor="ctr"/>
                  <a:lstStyle/>
                  <a:p>
                    <a:endParaRPr lang="en-GB" dirty="0"/>
                  </a:p>
                </p:txBody>
              </p:sp>
              <p:sp>
                <p:nvSpPr>
                  <p:cNvPr id="599" name="Freeform: Shape 598">
                    <a:extLst>
                      <a:ext uri="{FF2B5EF4-FFF2-40B4-BE49-F238E27FC236}">
                        <a16:creationId xmlns:a16="http://schemas.microsoft.com/office/drawing/2014/main" id="{EAD2A94F-1935-4B4E-ACB1-7BCD289170E2}"/>
                      </a:ext>
                    </a:extLst>
                  </p:cNvPr>
                  <p:cNvSpPr/>
                  <p:nvPr/>
                </p:nvSpPr>
                <p:spPr>
                  <a:xfrm>
                    <a:off x="5649517" y="4569578"/>
                    <a:ext cx="57199" cy="21441"/>
                  </a:xfrm>
                  <a:custGeom>
                    <a:avLst/>
                    <a:gdLst>
                      <a:gd name="connsiteX0" fmla="*/ 10636 w 57199"/>
                      <a:gd name="connsiteY0" fmla="*/ 21442 h 21441"/>
                      <a:gd name="connsiteX1" fmla="*/ 0 w 57199"/>
                      <a:gd name="connsiteY1" fmla="*/ 10859 h 21441"/>
                      <a:gd name="connsiteX2" fmla="*/ 10583 w 57199"/>
                      <a:gd name="connsiteY2" fmla="*/ 170 h 21441"/>
                      <a:gd name="connsiteX3" fmla="*/ 46511 w 57199"/>
                      <a:gd name="connsiteY3" fmla="*/ 0 h 21441"/>
                      <a:gd name="connsiteX4" fmla="*/ 46564 w 57199"/>
                      <a:gd name="connsiteY4" fmla="*/ 0 h 21441"/>
                      <a:gd name="connsiteX5" fmla="*/ 57200 w 57199"/>
                      <a:gd name="connsiteY5" fmla="*/ 10582 h 21441"/>
                      <a:gd name="connsiteX6" fmla="*/ 46617 w 57199"/>
                      <a:gd name="connsiteY6" fmla="*/ 21272 h 21441"/>
                      <a:gd name="connsiteX7" fmla="*/ 10689 w 57199"/>
                      <a:gd name="connsiteY7" fmla="*/ 21442 h 21441"/>
                      <a:gd name="connsiteX8" fmla="*/ 10636 w 57199"/>
                      <a:gd name="connsiteY8" fmla="*/ 21442 h 21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199" h="21441">
                        <a:moveTo>
                          <a:pt x="10636" y="21442"/>
                        </a:moveTo>
                        <a:cubicBezTo>
                          <a:pt x="4786" y="21442"/>
                          <a:pt x="32" y="16719"/>
                          <a:pt x="0" y="10859"/>
                        </a:cubicBezTo>
                        <a:cubicBezTo>
                          <a:pt x="-32" y="4977"/>
                          <a:pt x="4712" y="202"/>
                          <a:pt x="10583" y="170"/>
                        </a:cubicBezTo>
                        <a:lnTo>
                          <a:pt x="46511" y="0"/>
                        </a:lnTo>
                        <a:cubicBezTo>
                          <a:pt x="46532" y="0"/>
                          <a:pt x="46553" y="0"/>
                          <a:pt x="46564" y="0"/>
                        </a:cubicBezTo>
                        <a:cubicBezTo>
                          <a:pt x="52413" y="0"/>
                          <a:pt x="57168" y="4722"/>
                          <a:pt x="57200" y="10582"/>
                        </a:cubicBezTo>
                        <a:cubicBezTo>
                          <a:pt x="57232" y="16464"/>
                          <a:pt x="52488" y="21240"/>
                          <a:pt x="46617" y="21272"/>
                        </a:cubicBezTo>
                        <a:lnTo>
                          <a:pt x="10689" y="21442"/>
                        </a:lnTo>
                        <a:cubicBezTo>
                          <a:pt x="10668" y="21442"/>
                          <a:pt x="10647" y="21442"/>
                          <a:pt x="10636" y="21442"/>
                        </a:cubicBezTo>
                        <a:close/>
                      </a:path>
                    </a:pathLst>
                  </a:custGeom>
                  <a:solidFill>
                    <a:schemeClr val="accent1"/>
                  </a:solidFill>
                  <a:ln w="1063" cap="flat">
                    <a:noFill/>
                    <a:prstDash val="solid"/>
                    <a:miter/>
                  </a:ln>
                </p:spPr>
                <p:txBody>
                  <a:bodyPr rtlCol="0" anchor="ctr"/>
                  <a:lstStyle/>
                  <a:p>
                    <a:endParaRPr lang="en-GB" dirty="0"/>
                  </a:p>
                </p:txBody>
              </p:sp>
            </p:grpSp>
            <p:grpSp>
              <p:nvGrpSpPr>
                <p:cNvPr id="570" name="Graphic 818">
                  <a:extLst>
                    <a:ext uri="{FF2B5EF4-FFF2-40B4-BE49-F238E27FC236}">
                      <a16:creationId xmlns:a16="http://schemas.microsoft.com/office/drawing/2014/main" id="{2A72BB14-4C88-49B2-A2C2-EDFE8E6651EE}"/>
                    </a:ext>
                  </a:extLst>
                </p:cNvPr>
                <p:cNvGrpSpPr/>
                <p:nvPr/>
              </p:nvGrpSpPr>
              <p:grpSpPr>
                <a:xfrm>
                  <a:off x="5389095" y="4378079"/>
                  <a:ext cx="314265" cy="132533"/>
                  <a:chOff x="5389095" y="4378079"/>
                  <a:chExt cx="314265" cy="132533"/>
                </a:xfrm>
                <a:solidFill>
                  <a:schemeClr val="accent1"/>
                </a:solidFill>
              </p:grpSpPr>
              <p:grpSp>
                <p:nvGrpSpPr>
                  <p:cNvPr id="589" name="Graphic 818">
                    <a:extLst>
                      <a:ext uri="{FF2B5EF4-FFF2-40B4-BE49-F238E27FC236}">
                        <a16:creationId xmlns:a16="http://schemas.microsoft.com/office/drawing/2014/main" id="{777BD829-E394-44A8-9DD5-E92EAFF3E92C}"/>
                      </a:ext>
                    </a:extLst>
                  </p:cNvPr>
                  <p:cNvGrpSpPr/>
                  <p:nvPr/>
                </p:nvGrpSpPr>
                <p:grpSpPr>
                  <a:xfrm>
                    <a:off x="5510188" y="4378079"/>
                    <a:ext cx="72132" cy="99115"/>
                    <a:chOff x="5510188" y="4378079"/>
                    <a:chExt cx="72132" cy="99115"/>
                  </a:xfrm>
                  <a:solidFill>
                    <a:schemeClr val="accent1"/>
                  </a:solidFill>
                </p:grpSpPr>
                <p:sp>
                  <p:nvSpPr>
                    <p:cNvPr id="596" name="Freeform: Shape 595">
                      <a:extLst>
                        <a:ext uri="{FF2B5EF4-FFF2-40B4-BE49-F238E27FC236}">
                          <a16:creationId xmlns:a16="http://schemas.microsoft.com/office/drawing/2014/main" id="{7B2EEF88-C31F-4DD9-9496-C0DB37B659C0}"/>
                        </a:ext>
                      </a:extLst>
                    </p:cNvPr>
                    <p:cNvSpPr/>
                    <p:nvPr/>
                  </p:nvSpPr>
                  <p:spPr>
                    <a:xfrm>
                      <a:off x="5510188" y="4378079"/>
                      <a:ext cx="72132" cy="63187"/>
                    </a:xfrm>
                    <a:custGeom>
                      <a:avLst/>
                      <a:gdLst>
                        <a:gd name="connsiteX0" fmla="*/ 35960 w 72132"/>
                        <a:gd name="connsiteY0" fmla="*/ 63188 h 63187"/>
                        <a:gd name="connsiteX1" fmla="*/ 0 w 72132"/>
                        <a:gd name="connsiteY1" fmla="*/ 27228 h 63187"/>
                        <a:gd name="connsiteX2" fmla="*/ 35960 w 72132"/>
                        <a:gd name="connsiteY2" fmla="*/ 0 h 63187"/>
                        <a:gd name="connsiteX3" fmla="*/ 72132 w 72132"/>
                        <a:gd name="connsiteY3" fmla="*/ 26356 h 63187"/>
                        <a:gd name="connsiteX4" fmla="*/ 35960 w 72132"/>
                        <a:gd name="connsiteY4" fmla="*/ 63188 h 63187"/>
                        <a:gd name="connsiteX5" fmla="*/ 35960 w 72132"/>
                        <a:gd name="connsiteY5" fmla="*/ 21272 h 63187"/>
                        <a:gd name="connsiteX6" fmla="*/ 21272 w 72132"/>
                        <a:gd name="connsiteY6" fmla="*/ 27228 h 63187"/>
                        <a:gd name="connsiteX7" fmla="*/ 35960 w 72132"/>
                        <a:gd name="connsiteY7" fmla="*/ 41916 h 63187"/>
                        <a:gd name="connsiteX8" fmla="*/ 50860 w 72132"/>
                        <a:gd name="connsiteY8" fmla="*/ 26356 h 63187"/>
                        <a:gd name="connsiteX9" fmla="*/ 35960 w 72132"/>
                        <a:gd name="connsiteY9" fmla="*/ 21272 h 63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32" h="63187">
                          <a:moveTo>
                            <a:pt x="35960" y="63188"/>
                          </a:moveTo>
                          <a:cubicBezTo>
                            <a:pt x="18145" y="63188"/>
                            <a:pt x="0" y="45043"/>
                            <a:pt x="0" y="27228"/>
                          </a:cubicBezTo>
                          <a:cubicBezTo>
                            <a:pt x="0" y="11200"/>
                            <a:pt x="14794" y="0"/>
                            <a:pt x="35960" y="0"/>
                          </a:cubicBezTo>
                          <a:cubicBezTo>
                            <a:pt x="57933" y="0"/>
                            <a:pt x="72132" y="10349"/>
                            <a:pt x="72132" y="26356"/>
                          </a:cubicBezTo>
                          <a:cubicBezTo>
                            <a:pt x="72132" y="44245"/>
                            <a:pt x="53541" y="63188"/>
                            <a:pt x="35960" y="63188"/>
                          </a:cubicBezTo>
                          <a:close/>
                          <a:moveTo>
                            <a:pt x="35960" y="21272"/>
                          </a:moveTo>
                          <a:cubicBezTo>
                            <a:pt x="28866" y="21272"/>
                            <a:pt x="21272" y="23665"/>
                            <a:pt x="21272" y="27228"/>
                          </a:cubicBezTo>
                          <a:cubicBezTo>
                            <a:pt x="21272" y="32801"/>
                            <a:pt x="29472" y="41916"/>
                            <a:pt x="35960" y="41916"/>
                          </a:cubicBezTo>
                          <a:cubicBezTo>
                            <a:pt x="42384" y="41916"/>
                            <a:pt x="50860" y="32131"/>
                            <a:pt x="50860" y="26356"/>
                          </a:cubicBezTo>
                          <a:cubicBezTo>
                            <a:pt x="50860" y="23314"/>
                            <a:pt x="43160" y="21272"/>
                            <a:pt x="35960" y="21272"/>
                          </a:cubicBezTo>
                          <a:close/>
                        </a:path>
                      </a:pathLst>
                    </a:custGeom>
                    <a:solidFill>
                      <a:schemeClr val="accent1"/>
                    </a:solidFill>
                    <a:ln w="1063" cap="flat">
                      <a:noFill/>
                      <a:prstDash val="solid"/>
                      <a:miter/>
                    </a:ln>
                  </p:spPr>
                  <p:txBody>
                    <a:bodyPr rtlCol="0" anchor="ctr"/>
                    <a:lstStyle/>
                    <a:p>
                      <a:endParaRPr lang="en-GB" dirty="0"/>
                    </a:p>
                  </p:txBody>
                </p:sp>
                <p:sp>
                  <p:nvSpPr>
                    <p:cNvPr id="597" name="Freeform: Shape 596">
                      <a:extLst>
                        <a:ext uri="{FF2B5EF4-FFF2-40B4-BE49-F238E27FC236}">
                          <a16:creationId xmlns:a16="http://schemas.microsoft.com/office/drawing/2014/main" id="{CD72D704-343E-484D-982B-7AA0A2BA8443}"/>
                        </a:ext>
                      </a:extLst>
                    </p:cNvPr>
                    <p:cNvSpPr/>
                    <p:nvPr/>
                  </p:nvSpPr>
                  <p:spPr>
                    <a:xfrm>
                      <a:off x="5535490" y="4419995"/>
                      <a:ext cx="21271" cy="57199"/>
                    </a:xfrm>
                    <a:custGeom>
                      <a:avLst/>
                      <a:gdLst>
                        <a:gd name="connsiteX0" fmla="*/ 10636 w 21271"/>
                        <a:gd name="connsiteY0" fmla="*/ 57199 h 57199"/>
                        <a:gd name="connsiteX1" fmla="*/ 0 w 21271"/>
                        <a:gd name="connsiteY1" fmla="*/ 46564 h 57199"/>
                        <a:gd name="connsiteX2" fmla="*/ 0 w 21271"/>
                        <a:gd name="connsiteY2" fmla="*/ 10636 h 57199"/>
                        <a:gd name="connsiteX3" fmla="*/ 10636 w 21271"/>
                        <a:gd name="connsiteY3" fmla="*/ 0 h 57199"/>
                        <a:gd name="connsiteX4" fmla="*/ 21272 w 21271"/>
                        <a:gd name="connsiteY4" fmla="*/ 10636 h 57199"/>
                        <a:gd name="connsiteX5" fmla="*/ 21272 w 21271"/>
                        <a:gd name="connsiteY5" fmla="*/ 46564 h 57199"/>
                        <a:gd name="connsiteX6" fmla="*/ 10636 w 21271"/>
                        <a:gd name="connsiteY6" fmla="*/ 57199 h 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57199">
                          <a:moveTo>
                            <a:pt x="10636" y="57199"/>
                          </a:moveTo>
                          <a:cubicBezTo>
                            <a:pt x="4754" y="57199"/>
                            <a:pt x="0" y="52445"/>
                            <a:pt x="0" y="46564"/>
                          </a:cubicBezTo>
                          <a:lnTo>
                            <a:pt x="0" y="10636"/>
                          </a:lnTo>
                          <a:cubicBezTo>
                            <a:pt x="0" y="4754"/>
                            <a:pt x="4754" y="0"/>
                            <a:pt x="10636" y="0"/>
                          </a:cubicBezTo>
                          <a:cubicBezTo>
                            <a:pt x="16518" y="0"/>
                            <a:pt x="21272" y="4754"/>
                            <a:pt x="21272" y="10636"/>
                          </a:cubicBezTo>
                          <a:lnTo>
                            <a:pt x="21272" y="46564"/>
                          </a:lnTo>
                          <a:cubicBezTo>
                            <a:pt x="21272" y="52435"/>
                            <a:pt x="16518" y="57199"/>
                            <a:pt x="10636" y="57199"/>
                          </a:cubicBezTo>
                          <a:close/>
                        </a:path>
                      </a:pathLst>
                    </a:custGeom>
                    <a:solidFill>
                      <a:schemeClr val="accent1"/>
                    </a:solidFill>
                    <a:ln w="1063" cap="flat">
                      <a:noFill/>
                      <a:prstDash val="solid"/>
                      <a:miter/>
                    </a:ln>
                  </p:spPr>
                  <p:txBody>
                    <a:bodyPr rtlCol="0" anchor="ctr"/>
                    <a:lstStyle/>
                    <a:p>
                      <a:endParaRPr lang="en-GB" dirty="0"/>
                    </a:p>
                  </p:txBody>
                </p:sp>
              </p:grpSp>
              <p:grpSp>
                <p:nvGrpSpPr>
                  <p:cNvPr id="590" name="Graphic 818">
                    <a:extLst>
                      <a:ext uri="{FF2B5EF4-FFF2-40B4-BE49-F238E27FC236}">
                        <a16:creationId xmlns:a16="http://schemas.microsoft.com/office/drawing/2014/main" id="{2D0FB3B9-295F-458E-8E61-54543450842F}"/>
                      </a:ext>
                    </a:extLst>
                  </p:cNvPr>
                  <p:cNvGrpSpPr/>
                  <p:nvPr/>
                </p:nvGrpSpPr>
                <p:grpSpPr>
                  <a:xfrm>
                    <a:off x="5616288" y="4424209"/>
                    <a:ext cx="87072" cy="86404"/>
                    <a:chOff x="5616288" y="4424209"/>
                    <a:chExt cx="87072" cy="86404"/>
                  </a:xfrm>
                  <a:solidFill>
                    <a:schemeClr val="accent1"/>
                  </a:solidFill>
                </p:grpSpPr>
                <p:sp>
                  <p:nvSpPr>
                    <p:cNvPr id="594" name="Freeform: Shape 593">
                      <a:extLst>
                        <a:ext uri="{FF2B5EF4-FFF2-40B4-BE49-F238E27FC236}">
                          <a16:creationId xmlns:a16="http://schemas.microsoft.com/office/drawing/2014/main" id="{C9732091-52C8-43D0-B239-718A62A5722E}"/>
                        </a:ext>
                      </a:extLst>
                    </p:cNvPr>
                    <p:cNvSpPr/>
                    <p:nvPr/>
                  </p:nvSpPr>
                  <p:spPr>
                    <a:xfrm>
                      <a:off x="5635364" y="4424209"/>
                      <a:ext cx="67996" cy="67078"/>
                    </a:xfrm>
                    <a:custGeom>
                      <a:avLst/>
                      <a:gdLst>
                        <a:gd name="connsiteX0" fmla="*/ 34766 w 67996"/>
                        <a:gd name="connsiteY0" fmla="*/ 67079 h 67078"/>
                        <a:gd name="connsiteX1" fmla="*/ 9453 w 67996"/>
                        <a:gd name="connsiteY1" fmla="*/ 57900 h 67078"/>
                        <a:gd name="connsiteX2" fmla="*/ 9453 w 67996"/>
                        <a:gd name="connsiteY2" fmla="*/ 7050 h 67078"/>
                        <a:gd name="connsiteX3" fmla="*/ 54123 w 67996"/>
                        <a:gd name="connsiteY3" fmla="*/ 13219 h 67078"/>
                        <a:gd name="connsiteX4" fmla="*/ 61068 w 67996"/>
                        <a:gd name="connsiteY4" fmla="*/ 57432 h 67078"/>
                        <a:gd name="connsiteX5" fmla="*/ 34766 w 67996"/>
                        <a:gd name="connsiteY5" fmla="*/ 67079 h 67078"/>
                        <a:gd name="connsiteX6" fmla="*/ 26778 w 67996"/>
                        <a:gd name="connsiteY6" fmla="*/ 21270 h 67078"/>
                        <a:gd name="connsiteX7" fmla="*/ 24492 w 67996"/>
                        <a:gd name="connsiteY7" fmla="*/ 22079 h 67078"/>
                        <a:gd name="connsiteX8" fmla="*/ 24492 w 67996"/>
                        <a:gd name="connsiteY8" fmla="*/ 42850 h 67078"/>
                        <a:gd name="connsiteX9" fmla="*/ 35181 w 67996"/>
                        <a:gd name="connsiteY9" fmla="*/ 45828 h 67078"/>
                        <a:gd name="connsiteX10" fmla="*/ 46040 w 67996"/>
                        <a:gd name="connsiteY10" fmla="*/ 42382 h 67078"/>
                        <a:gd name="connsiteX11" fmla="*/ 46295 w 67996"/>
                        <a:gd name="connsiteY11" fmla="*/ 38777 h 67078"/>
                        <a:gd name="connsiteX12" fmla="*/ 39084 w 67996"/>
                        <a:gd name="connsiteY12" fmla="*/ 28247 h 67078"/>
                        <a:gd name="connsiteX13" fmla="*/ 26778 w 67996"/>
                        <a:gd name="connsiteY13" fmla="*/ 21270 h 6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996" h="67078">
                          <a:moveTo>
                            <a:pt x="34766" y="67079"/>
                          </a:moveTo>
                          <a:cubicBezTo>
                            <a:pt x="25140" y="67079"/>
                            <a:pt x="15579" y="64026"/>
                            <a:pt x="9453" y="57900"/>
                          </a:cubicBezTo>
                          <a:cubicBezTo>
                            <a:pt x="-3151" y="45296"/>
                            <a:pt x="-3151" y="19643"/>
                            <a:pt x="9453" y="7050"/>
                          </a:cubicBezTo>
                          <a:cubicBezTo>
                            <a:pt x="20801" y="-4299"/>
                            <a:pt x="39169" y="-1735"/>
                            <a:pt x="54123" y="13219"/>
                          </a:cubicBezTo>
                          <a:cubicBezTo>
                            <a:pt x="69662" y="28758"/>
                            <a:pt x="72396" y="46115"/>
                            <a:pt x="61068" y="57432"/>
                          </a:cubicBezTo>
                          <a:cubicBezTo>
                            <a:pt x="54655" y="63846"/>
                            <a:pt x="44679" y="67079"/>
                            <a:pt x="34766" y="67079"/>
                          </a:cubicBezTo>
                          <a:close/>
                          <a:moveTo>
                            <a:pt x="26778" y="21270"/>
                          </a:moveTo>
                          <a:cubicBezTo>
                            <a:pt x="25843" y="21270"/>
                            <a:pt x="25055" y="21515"/>
                            <a:pt x="24492" y="22079"/>
                          </a:cubicBezTo>
                          <a:cubicBezTo>
                            <a:pt x="20546" y="26025"/>
                            <a:pt x="19908" y="38266"/>
                            <a:pt x="24492" y="42850"/>
                          </a:cubicBezTo>
                          <a:cubicBezTo>
                            <a:pt x="26417" y="44775"/>
                            <a:pt x="30650" y="46041"/>
                            <a:pt x="35181" y="45828"/>
                          </a:cubicBezTo>
                          <a:cubicBezTo>
                            <a:pt x="40403" y="45690"/>
                            <a:pt x="44466" y="43946"/>
                            <a:pt x="46040" y="42382"/>
                          </a:cubicBezTo>
                          <a:cubicBezTo>
                            <a:pt x="46519" y="41904"/>
                            <a:pt x="47114" y="41297"/>
                            <a:pt x="46295" y="38777"/>
                          </a:cubicBezTo>
                          <a:cubicBezTo>
                            <a:pt x="45285" y="35661"/>
                            <a:pt x="42658" y="31821"/>
                            <a:pt x="39084" y="28247"/>
                          </a:cubicBezTo>
                          <a:cubicBezTo>
                            <a:pt x="35191" y="24354"/>
                            <a:pt x="30065" y="21270"/>
                            <a:pt x="26778" y="21270"/>
                          </a:cubicBezTo>
                          <a:close/>
                        </a:path>
                      </a:pathLst>
                    </a:custGeom>
                    <a:solidFill>
                      <a:schemeClr val="accent1"/>
                    </a:solidFill>
                    <a:ln w="1063" cap="flat">
                      <a:noFill/>
                      <a:prstDash val="solid"/>
                      <a:miter/>
                    </a:ln>
                  </p:spPr>
                  <p:txBody>
                    <a:bodyPr rtlCol="0" anchor="ctr"/>
                    <a:lstStyle/>
                    <a:p>
                      <a:endParaRPr lang="en-GB" dirty="0"/>
                    </a:p>
                  </p:txBody>
                </p:sp>
                <p:sp>
                  <p:nvSpPr>
                    <p:cNvPr id="595" name="Freeform: Shape 594">
                      <a:extLst>
                        <a:ext uri="{FF2B5EF4-FFF2-40B4-BE49-F238E27FC236}">
                          <a16:creationId xmlns:a16="http://schemas.microsoft.com/office/drawing/2014/main" id="{9CAA9C22-E0B5-4F19-9959-7AF7BB39DF56}"/>
                        </a:ext>
                      </a:extLst>
                    </p:cNvPr>
                    <p:cNvSpPr/>
                    <p:nvPr/>
                  </p:nvSpPr>
                  <p:spPr>
                    <a:xfrm>
                      <a:off x="5616288" y="4463930"/>
                      <a:ext cx="46686" cy="46683"/>
                    </a:xfrm>
                    <a:custGeom>
                      <a:avLst/>
                      <a:gdLst>
                        <a:gd name="connsiteX0" fmla="*/ 10639 w 46686"/>
                        <a:gd name="connsiteY0" fmla="*/ 46684 h 46683"/>
                        <a:gd name="connsiteX1" fmla="*/ 3119 w 46686"/>
                        <a:gd name="connsiteY1" fmla="*/ 43567 h 46683"/>
                        <a:gd name="connsiteX2" fmla="*/ 3119 w 46686"/>
                        <a:gd name="connsiteY2" fmla="*/ 28528 h 46683"/>
                        <a:gd name="connsiteX3" fmla="*/ 28528 w 46686"/>
                        <a:gd name="connsiteY3" fmla="*/ 3119 h 46683"/>
                        <a:gd name="connsiteX4" fmla="*/ 43567 w 46686"/>
                        <a:gd name="connsiteY4" fmla="*/ 3119 h 46683"/>
                        <a:gd name="connsiteX5" fmla="*/ 43567 w 46686"/>
                        <a:gd name="connsiteY5" fmla="*/ 18158 h 46683"/>
                        <a:gd name="connsiteX6" fmla="*/ 18158 w 46686"/>
                        <a:gd name="connsiteY6" fmla="*/ 43567 h 46683"/>
                        <a:gd name="connsiteX7" fmla="*/ 10639 w 46686"/>
                        <a:gd name="connsiteY7" fmla="*/ 46684 h 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86" h="46683">
                          <a:moveTo>
                            <a:pt x="10639" y="46684"/>
                          </a:moveTo>
                          <a:cubicBezTo>
                            <a:pt x="7916" y="46684"/>
                            <a:pt x="5193" y="45641"/>
                            <a:pt x="3119" y="43567"/>
                          </a:cubicBezTo>
                          <a:cubicBezTo>
                            <a:pt x="-1040" y="39408"/>
                            <a:pt x="-1040" y="32687"/>
                            <a:pt x="3119" y="28528"/>
                          </a:cubicBezTo>
                          <a:lnTo>
                            <a:pt x="28528" y="3119"/>
                          </a:lnTo>
                          <a:cubicBezTo>
                            <a:pt x="32687" y="-1040"/>
                            <a:pt x="39408" y="-1040"/>
                            <a:pt x="43567" y="3119"/>
                          </a:cubicBezTo>
                          <a:cubicBezTo>
                            <a:pt x="47726" y="7277"/>
                            <a:pt x="47726" y="14000"/>
                            <a:pt x="43567" y="18158"/>
                          </a:cubicBezTo>
                          <a:lnTo>
                            <a:pt x="18158" y="43567"/>
                          </a:lnTo>
                          <a:cubicBezTo>
                            <a:pt x="16073" y="45641"/>
                            <a:pt x="13361" y="46684"/>
                            <a:pt x="10639" y="46684"/>
                          </a:cubicBezTo>
                          <a:close/>
                        </a:path>
                      </a:pathLst>
                    </a:custGeom>
                    <a:solidFill>
                      <a:schemeClr val="accent1"/>
                    </a:solidFill>
                    <a:ln w="1063" cap="flat">
                      <a:noFill/>
                      <a:prstDash val="solid"/>
                      <a:miter/>
                    </a:ln>
                  </p:spPr>
                  <p:txBody>
                    <a:bodyPr rtlCol="0" anchor="ctr"/>
                    <a:lstStyle/>
                    <a:p>
                      <a:endParaRPr lang="en-GB" dirty="0"/>
                    </a:p>
                  </p:txBody>
                </p:sp>
              </p:grpSp>
              <p:grpSp>
                <p:nvGrpSpPr>
                  <p:cNvPr id="591" name="Graphic 818">
                    <a:extLst>
                      <a:ext uri="{FF2B5EF4-FFF2-40B4-BE49-F238E27FC236}">
                        <a16:creationId xmlns:a16="http://schemas.microsoft.com/office/drawing/2014/main" id="{7BE83ABC-A869-4770-A9FA-37F631FDF90A}"/>
                      </a:ext>
                    </a:extLst>
                  </p:cNvPr>
                  <p:cNvGrpSpPr/>
                  <p:nvPr/>
                </p:nvGrpSpPr>
                <p:grpSpPr>
                  <a:xfrm>
                    <a:off x="5389095" y="4423931"/>
                    <a:ext cx="87092" cy="86416"/>
                    <a:chOff x="5389095" y="4423931"/>
                    <a:chExt cx="87092" cy="86416"/>
                  </a:xfrm>
                  <a:solidFill>
                    <a:schemeClr val="accent1"/>
                  </a:solidFill>
                </p:grpSpPr>
                <p:sp>
                  <p:nvSpPr>
                    <p:cNvPr id="592" name="Freeform: Shape 591">
                      <a:extLst>
                        <a:ext uri="{FF2B5EF4-FFF2-40B4-BE49-F238E27FC236}">
                          <a16:creationId xmlns:a16="http://schemas.microsoft.com/office/drawing/2014/main" id="{5B336742-DCD6-4CD3-A896-6A24E1159D9B}"/>
                        </a:ext>
                      </a:extLst>
                    </p:cNvPr>
                    <p:cNvSpPr/>
                    <p:nvPr/>
                  </p:nvSpPr>
                  <p:spPr>
                    <a:xfrm>
                      <a:off x="5389095" y="4423931"/>
                      <a:ext cx="67995" cy="67079"/>
                    </a:xfrm>
                    <a:custGeom>
                      <a:avLst/>
                      <a:gdLst>
                        <a:gd name="connsiteX0" fmla="*/ 33230 w 67995"/>
                        <a:gd name="connsiteY0" fmla="*/ 67080 h 67079"/>
                        <a:gd name="connsiteX1" fmla="*/ 6928 w 67995"/>
                        <a:gd name="connsiteY1" fmla="*/ 57455 h 67079"/>
                        <a:gd name="connsiteX2" fmla="*/ 6928 w 67995"/>
                        <a:gd name="connsiteY2" fmla="*/ 57444 h 67079"/>
                        <a:gd name="connsiteX3" fmla="*/ 13862 w 67995"/>
                        <a:gd name="connsiteY3" fmla="*/ 13231 h 67079"/>
                        <a:gd name="connsiteX4" fmla="*/ 58543 w 67995"/>
                        <a:gd name="connsiteY4" fmla="*/ 7051 h 67079"/>
                        <a:gd name="connsiteX5" fmla="*/ 58543 w 67995"/>
                        <a:gd name="connsiteY5" fmla="*/ 57901 h 67079"/>
                        <a:gd name="connsiteX6" fmla="*/ 33230 w 67995"/>
                        <a:gd name="connsiteY6" fmla="*/ 67080 h 67079"/>
                        <a:gd name="connsiteX7" fmla="*/ 21977 w 67995"/>
                        <a:gd name="connsiteY7" fmla="*/ 42405 h 67079"/>
                        <a:gd name="connsiteX8" fmla="*/ 43515 w 67995"/>
                        <a:gd name="connsiteY8" fmla="*/ 42862 h 67079"/>
                        <a:gd name="connsiteX9" fmla="*/ 43515 w 67995"/>
                        <a:gd name="connsiteY9" fmla="*/ 22091 h 67079"/>
                        <a:gd name="connsiteX10" fmla="*/ 28912 w 67995"/>
                        <a:gd name="connsiteY10" fmla="*/ 28270 h 67079"/>
                        <a:gd name="connsiteX11" fmla="*/ 21711 w 67995"/>
                        <a:gd name="connsiteY11" fmla="*/ 38789 h 67079"/>
                        <a:gd name="connsiteX12" fmla="*/ 21977 w 67995"/>
                        <a:gd name="connsiteY12" fmla="*/ 42405 h 67079"/>
                        <a:gd name="connsiteX13" fmla="*/ 21977 w 67995"/>
                        <a:gd name="connsiteY13" fmla="*/ 42405 h 67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995" h="67079">
                          <a:moveTo>
                            <a:pt x="33230" y="67080"/>
                          </a:moveTo>
                          <a:cubicBezTo>
                            <a:pt x="23328" y="67080"/>
                            <a:pt x="13352" y="63858"/>
                            <a:pt x="6928" y="57455"/>
                          </a:cubicBezTo>
                          <a:cubicBezTo>
                            <a:pt x="6928" y="57444"/>
                            <a:pt x="6928" y="57444"/>
                            <a:pt x="6928" y="57444"/>
                          </a:cubicBezTo>
                          <a:cubicBezTo>
                            <a:pt x="-4389" y="46127"/>
                            <a:pt x="-1677" y="28770"/>
                            <a:pt x="13862" y="13231"/>
                          </a:cubicBezTo>
                          <a:cubicBezTo>
                            <a:pt x="28837" y="-1756"/>
                            <a:pt x="47205" y="-4287"/>
                            <a:pt x="58543" y="7051"/>
                          </a:cubicBezTo>
                          <a:cubicBezTo>
                            <a:pt x="71147" y="19655"/>
                            <a:pt x="71147" y="45308"/>
                            <a:pt x="58543" y="57901"/>
                          </a:cubicBezTo>
                          <a:cubicBezTo>
                            <a:pt x="52428" y="64027"/>
                            <a:pt x="42877" y="67080"/>
                            <a:pt x="33230" y="67080"/>
                          </a:cubicBezTo>
                          <a:close/>
                          <a:moveTo>
                            <a:pt x="21977" y="42405"/>
                          </a:moveTo>
                          <a:cubicBezTo>
                            <a:pt x="26083" y="46489"/>
                            <a:pt x="38973" y="47404"/>
                            <a:pt x="43515" y="42862"/>
                          </a:cubicBezTo>
                          <a:cubicBezTo>
                            <a:pt x="48099" y="38278"/>
                            <a:pt x="47461" y="26036"/>
                            <a:pt x="43515" y="22091"/>
                          </a:cubicBezTo>
                          <a:cubicBezTo>
                            <a:pt x="40973" y="19548"/>
                            <a:pt x="33932" y="23250"/>
                            <a:pt x="28912" y="28270"/>
                          </a:cubicBezTo>
                          <a:cubicBezTo>
                            <a:pt x="25349" y="31844"/>
                            <a:pt x="22722" y="35673"/>
                            <a:pt x="21711" y="38789"/>
                          </a:cubicBezTo>
                          <a:cubicBezTo>
                            <a:pt x="20892" y="41320"/>
                            <a:pt x="21499" y="41926"/>
                            <a:pt x="21977" y="42405"/>
                          </a:cubicBezTo>
                          <a:lnTo>
                            <a:pt x="21977" y="42405"/>
                          </a:lnTo>
                          <a:close/>
                        </a:path>
                      </a:pathLst>
                    </a:custGeom>
                    <a:solidFill>
                      <a:schemeClr val="accent1"/>
                    </a:solidFill>
                    <a:ln w="1063" cap="flat">
                      <a:noFill/>
                      <a:prstDash val="solid"/>
                      <a:miter/>
                    </a:ln>
                  </p:spPr>
                  <p:txBody>
                    <a:bodyPr rtlCol="0" anchor="ctr"/>
                    <a:lstStyle/>
                    <a:p>
                      <a:endParaRPr lang="en-GB" dirty="0"/>
                    </a:p>
                  </p:txBody>
                </p:sp>
                <p:sp>
                  <p:nvSpPr>
                    <p:cNvPr id="593" name="Freeform: Shape 592">
                      <a:extLst>
                        <a:ext uri="{FF2B5EF4-FFF2-40B4-BE49-F238E27FC236}">
                          <a16:creationId xmlns:a16="http://schemas.microsoft.com/office/drawing/2014/main" id="{1EDCD0B1-837E-46C6-B80E-AC619A95EE2B}"/>
                        </a:ext>
                      </a:extLst>
                    </p:cNvPr>
                    <p:cNvSpPr/>
                    <p:nvPr/>
                  </p:nvSpPr>
                  <p:spPr>
                    <a:xfrm>
                      <a:off x="5429502" y="4463664"/>
                      <a:ext cx="46686" cy="46683"/>
                    </a:xfrm>
                    <a:custGeom>
                      <a:avLst/>
                      <a:gdLst>
                        <a:gd name="connsiteX0" fmla="*/ 36047 w 46686"/>
                        <a:gd name="connsiteY0" fmla="*/ 46684 h 46683"/>
                        <a:gd name="connsiteX1" fmla="*/ 28528 w 46686"/>
                        <a:gd name="connsiteY1" fmla="*/ 43567 h 46683"/>
                        <a:gd name="connsiteX2" fmla="*/ 3119 w 46686"/>
                        <a:gd name="connsiteY2" fmla="*/ 18158 h 46683"/>
                        <a:gd name="connsiteX3" fmla="*/ 3119 w 46686"/>
                        <a:gd name="connsiteY3" fmla="*/ 3119 h 46683"/>
                        <a:gd name="connsiteX4" fmla="*/ 18158 w 46686"/>
                        <a:gd name="connsiteY4" fmla="*/ 3119 h 46683"/>
                        <a:gd name="connsiteX5" fmla="*/ 43567 w 46686"/>
                        <a:gd name="connsiteY5" fmla="*/ 28528 h 46683"/>
                        <a:gd name="connsiteX6" fmla="*/ 43567 w 46686"/>
                        <a:gd name="connsiteY6" fmla="*/ 43567 h 46683"/>
                        <a:gd name="connsiteX7" fmla="*/ 36047 w 46686"/>
                        <a:gd name="connsiteY7" fmla="*/ 46684 h 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86" h="46683">
                          <a:moveTo>
                            <a:pt x="36047" y="46684"/>
                          </a:moveTo>
                          <a:cubicBezTo>
                            <a:pt x="33325" y="46684"/>
                            <a:pt x="30602" y="45641"/>
                            <a:pt x="28528" y="43567"/>
                          </a:cubicBezTo>
                          <a:lnTo>
                            <a:pt x="3119" y="18158"/>
                          </a:lnTo>
                          <a:cubicBezTo>
                            <a:pt x="-1040" y="14000"/>
                            <a:pt x="-1040" y="7277"/>
                            <a:pt x="3119" y="3119"/>
                          </a:cubicBezTo>
                          <a:cubicBezTo>
                            <a:pt x="7278" y="-1040"/>
                            <a:pt x="13999" y="-1040"/>
                            <a:pt x="18158" y="3119"/>
                          </a:cubicBezTo>
                          <a:lnTo>
                            <a:pt x="43567" y="28528"/>
                          </a:lnTo>
                          <a:cubicBezTo>
                            <a:pt x="47726" y="32687"/>
                            <a:pt x="47726" y="39408"/>
                            <a:pt x="43567" y="43567"/>
                          </a:cubicBezTo>
                          <a:cubicBezTo>
                            <a:pt x="41493" y="45641"/>
                            <a:pt x="38770" y="46684"/>
                            <a:pt x="36047" y="46684"/>
                          </a:cubicBezTo>
                          <a:close/>
                        </a:path>
                      </a:pathLst>
                    </a:custGeom>
                    <a:solidFill>
                      <a:schemeClr val="accent1"/>
                    </a:solidFill>
                    <a:ln w="1063" cap="flat">
                      <a:noFill/>
                      <a:prstDash val="solid"/>
                      <a:miter/>
                    </a:ln>
                  </p:spPr>
                  <p:txBody>
                    <a:bodyPr rtlCol="0" anchor="ctr"/>
                    <a:lstStyle/>
                    <a:p>
                      <a:endParaRPr lang="en-GB" dirty="0"/>
                    </a:p>
                  </p:txBody>
                </p:sp>
              </p:grpSp>
            </p:grpSp>
            <p:grpSp>
              <p:nvGrpSpPr>
                <p:cNvPr id="571" name="Graphic 818">
                  <a:extLst>
                    <a:ext uri="{FF2B5EF4-FFF2-40B4-BE49-F238E27FC236}">
                      <a16:creationId xmlns:a16="http://schemas.microsoft.com/office/drawing/2014/main" id="{905BD57A-B9F0-4A12-A190-0566C641C757}"/>
                    </a:ext>
                  </a:extLst>
                </p:cNvPr>
                <p:cNvGrpSpPr/>
                <p:nvPr/>
              </p:nvGrpSpPr>
              <p:grpSpPr>
                <a:xfrm>
                  <a:off x="5389109" y="4650482"/>
                  <a:ext cx="314239" cy="132535"/>
                  <a:chOff x="5389109" y="4650482"/>
                  <a:chExt cx="314239" cy="132535"/>
                </a:xfrm>
                <a:solidFill>
                  <a:schemeClr val="accent1"/>
                </a:solidFill>
              </p:grpSpPr>
              <p:grpSp>
                <p:nvGrpSpPr>
                  <p:cNvPr id="580" name="Graphic 818">
                    <a:extLst>
                      <a:ext uri="{FF2B5EF4-FFF2-40B4-BE49-F238E27FC236}">
                        <a16:creationId xmlns:a16="http://schemas.microsoft.com/office/drawing/2014/main" id="{3622F572-7CE6-4F89-ABBF-96823F3D882D}"/>
                      </a:ext>
                    </a:extLst>
                  </p:cNvPr>
                  <p:cNvGrpSpPr/>
                  <p:nvPr/>
                </p:nvGrpSpPr>
                <p:grpSpPr>
                  <a:xfrm>
                    <a:off x="5510188" y="4683903"/>
                    <a:ext cx="72132" cy="99115"/>
                    <a:chOff x="5510188" y="4683903"/>
                    <a:chExt cx="72132" cy="99115"/>
                  </a:xfrm>
                  <a:solidFill>
                    <a:schemeClr val="accent1"/>
                  </a:solidFill>
                </p:grpSpPr>
                <p:sp>
                  <p:nvSpPr>
                    <p:cNvPr id="587" name="Freeform: Shape 586">
                      <a:extLst>
                        <a:ext uri="{FF2B5EF4-FFF2-40B4-BE49-F238E27FC236}">
                          <a16:creationId xmlns:a16="http://schemas.microsoft.com/office/drawing/2014/main" id="{BA0A016C-C429-4D72-8E22-1C8A7C9F1F3F}"/>
                        </a:ext>
                      </a:extLst>
                    </p:cNvPr>
                    <p:cNvSpPr/>
                    <p:nvPr/>
                  </p:nvSpPr>
                  <p:spPr>
                    <a:xfrm>
                      <a:off x="5510188" y="4719820"/>
                      <a:ext cx="72132" cy="63198"/>
                    </a:xfrm>
                    <a:custGeom>
                      <a:avLst/>
                      <a:gdLst>
                        <a:gd name="connsiteX0" fmla="*/ 35960 w 72132"/>
                        <a:gd name="connsiteY0" fmla="*/ 63198 h 63198"/>
                        <a:gd name="connsiteX1" fmla="*/ 0 w 72132"/>
                        <a:gd name="connsiteY1" fmla="*/ 35960 h 63198"/>
                        <a:gd name="connsiteX2" fmla="*/ 35960 w 72132"/>
                        <a:gd name="connsiteY2" fmla="*/ 0 h 63198"/>
                        <a:gd name="connsiteX3" fmla="*/ 72132 w 72132"/>
                        <a:gd name="connsiteY3" fmla="*/ 36832 h 63198"/>
                        <a:gd name="connsiteX4" fmla="*/ 35960 w 72132"/>
                        <a:gd name="connsiteY4" fmla="*/ 63198 h 63198"/>
                        <a:gd name="connsiteX5" fmla="*/ 35960 w 72132"/>
                        <a:gd name="connsiteY5" fmla="*/ 21283 h 63198"/>
                        <a:gd name="connsiteX6" fmla="*/ 21272 w 72132"/>
                        <a:gd name="connsiteY6" fmla="*/ 35971 h 63198"/>
                        <a:gd name="connsiteX7" fmla="*/ 35960 w 72132"/>
                        <a:gd name="connsiteY7" fmla="*/ 41937 h 63198"/>
                        <a:gd name="connsiteX8" fmla="*/ 50860 w 72132"/>
                        <a:gd name="connsiteY8" fmla="*/ 36843 h 63198"/>
                        <a:gd name="connsiteX9" fmla="*/ 35960 w 72132"/>
                        <a:gd name="connsiteY9" fmla="*/ 21283 h 63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32" h="63198">
                          <a:moveTo>
                            <a:pt x="35960" y="63198"/>
                          </a:moveTo>
                          <a:cubicBezTo>
                            <a:pt x="14794" y="63198"/>
                            <a:pt x="0" y="51999"/>
                            <a:pt x="0" y="35960"/>
                          </a:cubicBezTo>
                          <a:cubicBezTo>
                            <a:pt x="0" y="18145"/>
                            <a:pt x="18145" y="0"/>
                            <a:pt x="35960" y="0"/>
                          </a:cubicBezTo>
                          <a:cubicBezTo>
                            <a:pt x="53541" y="0"/>
                            <a:pt x="72132" y="18932"/>
                            <a:pt x="72132" y="36832"/>
                          </a:cubicBezTo>
                          <a:cubicBezTo>
                            <a:pt x="72132" y="52860"/>
                            <a:pt x="57933" y="63198"/>
                            <a:pt x="35960" y="63198"/>
                          </a:cubicBezTo>
                          <a:close/>
                          <a:moveTo>
                            <a:pt x="35960" y="21283"/>
                          </a:moveTo>
                          <a:cubicBezTo>
                            <a:pt x="29483" y="21283"/>
                            <a:pt x="21272" y="30387"/>
                            <a:pt x="21272" y="35971"/>
                          </a:cubicBezTo>
                          <a:cubicBezTo>
                            <a:pt x="21272" y="39533"/>
                            <a:pt x="28866" y="41937"/>
                            <a:pt x="35960" y="41937"/>
                          </a:cubicBezTo>
                          <a:cubicBezTo>
                            <a:pt x="43160" y="41937"/>
                            <a:pt x="50860" y="39895"/>
                            <a:pt x="50860" y="36843"/>
                          </a:cubicBezTo>
                          <a:cubicBezTo>
                            <a:pt x="50860" y="31067"/>
                            <a:pt x="42394" y="21283"/>
                            <a:pt x="35960" y="21283"/>
                          </a:cubicBezTo>
                          <a:close/>
                        </a:path>
                      </a:pathLst>
                    </a:custGeom>
                    <a:solidFill>
                      <a:schemeClr val="accent1"/>
                    </a:solidFill>
                    <a:ln w="1063" cap="flat">
                      <a:noFill/>
                      <a:prstDash val="solid"/>
                      <a:miter/>
                    </a:ln>
                  </p:spPr>
                  <p:txBody>
                    <a:bodyPr rtlCol="0" anchor="ctr"/>
                    <a:lstStyle/>
                    <a:p>
                      <a:endParaRPr lang="en-GB" dirty="0"/>
                    </a:p>
                  </p:txBody>
                </p:sp>
                <p:sp>
                  <p:nvSpPr>
                    <p:cNvPr id="588" name="Freeform: Shape 587">
                      <a:extLst>
                        <a:ext uri="{FF2B5EF4-FFF2-40B4-BE49-F238E27FC236}">
                          <a16:creationId xmlns:a16="http://schemas.microsoft.com/office/drawing/2014/main" id="{F5B7DD92-DA36-4FB0-9777-B4A772E31EB1}"/>
                        </a:ext>
                      </a:extLst>
                    </p:cNvPr>
                    <p:cNvSpPr/>
                    <p:nvPr/>
                  </p:nvSpPr>
                  <p:spPr>
                    <a:xfrm>
                      <a:off x="5535490" y="4683903"/>
                      <a:ext cx="21271" cy="57199"/>
                    </a:xfrm>
                    <a:custGeom>
                      <a:avLst/>
                      <a:gdLst>
                        <a:gd name="connsiteX0" fmla="*/ 10636 w 21271"/>
                        <a:gd name="connsiteY0" fmla="*/ 57200 h 57199"/>
                        <a:gd name="connsiteX1" fmla="*/ 0 w 21271"/>
                        <a:gd name="connsiteY1" fmla="*/ 46564 h 57199"/>
                        <a:gd name="connsiteX2" fmla="*/ 0 w 21271"/>
                        <a:gd name="connsiteY2" fmla="*/ 10636 h 57199"/>
                        <a:gd name="connsiteX3" fmla="*/ 10636 w 21271"/>
                        <a:gd name="connsiteY3" fmla="*/ 0 h 57199"/>
                        <a:gd name="connsiteX4" fmla="*/ 21272 w 21271"/>
                        <a:gd name="connsiteY4" fmla="*/ 10636 h 57199"/>
                        <a:gd name="connsiteX5" fmla="*/ 21272 w 21271"/>
                        <a:gd name="connsiteY5" fmla="*/ 46564 h 57199"/>
                        <a:gd name="connsiteX6" fmla="*/ 10636 w 21271"/>
                        <a:gd name="connsiteY6" fmla="*/ 57200 h 5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57199">
                          <a:moveTo>
                            <a:pt x="10636" y="57200"/>
                          </a:moveTo>
                          <a:cubicBezTo>
                            <a:pt x="4754" y="57200"/>
                            <a:pt x="0" y="52445"/>
                            <a:pt x="0" y="46564"/>
                          </a:cubicBezTo>
                          <a:lnTo>
                            <a:pt x="0" y="10636"/>
                          </a:lnTo>
                          <a:cubicBezTo>
                            <a:pt x="0" y="4754"/>
                            <a:pt x="4754" y="0"/>
                            <a:pt x="10636" y="0"/>
                          </a:cubicBezTo>
                          <a:cubicBezTo>
                            <a:pt x="16518" y="0"/>
                            <a:pt x="21272" y="4754"/>
                            <a:pt x="21272" y="10636"/>
                          </a:cubicBezTo>
                          <a:lnTo>
                            <a:pt x="21272" y="46564"/>
                          </a:lnTo>
                          <a:cubicBezTo>
                            <a:pt x="21272" y="52445"/>
                            <a:pt x="16518" y="57200"/>
                            <a:pt x="10636" y="57200"/>
                          </a:cubicBezTo>
                          <a:close/>
                        </a:path>
                      </a:pathLst>
                    </a:custGeom>
                    <a:solidFill>
                      <a:schemeClr val="accent1"/>
                    </a:solidFill>
                    <a:ln w="1063" cap="flat">
                      <a:noFill/>
                      <a:prstDash val="solid"/>
                      <a:miter/>
                    </a:ln>
                  </p:spPr>
                  <p:txBody>
                    <a:bodyPr rtlCol="0" anchor="ctr"/>
                    <a:lstStyle/>
                    <a:p>
                      <a:endParaRPr lang="en-GB" dirty="0"/>
                    </a:p>
                  </p:txBody>
                </p:sp>
              </p:grpSp>
              <p:grpSp>
                <p:nvGrpSpPr>
                  <p:cNvPr id="581" name="Graphic 818">
                    <a:extLst>
                      <a:ext uri="{FF2B5EF4-FFF2-40B4-BE49-F238E27FC236}">
                        <a16:creationId xmlns:a16="http://schemas.microsoft.com/office/drawing/2014/main" id="{64424B71-79CE-4AF0-884B-857166BD2CB3}"/>
                      </a:ext>
                    </a:extLst>
                  </p:cNvPr>
                  <p:cNvGrpSpPr/>
                  <p:nvPr/>
                </p:nvGrpSpPr>
                <p:grpSpPr>
                  <a:xfrm>
                    <a:off x="5616278" y="4650482"/>
                    <a:ext cx="87070" cy="86418"/>
                    <a:chOff x="5616278" y="4650482"/>
                    <a:chExt cx="87070" cy="86418"/>
                  </a:xfrm>
                  <a:solidFill>
                    <a:schemeClr val="accent1"/>
                  </a:solidFill>
                </p:grpSpPr>
                <p:sp>
                  <p:nvSpPr>
                    <p:cNvPr id="585" name="Freeform: Shape 584">
                      <a:extLst>
                        <a:ext uri="{FF2B5EF4-FFF2-40B4-BE49-F238E27FC236}">
                          <a16:creationId xmlns:a16="http://schemas.microsoft.com/office/drawing/2014/main" id="{17A9AC42-F236-466E-A09D-4DB4A7E186C4}"/>
                        </a:ext>
                      </a:extLst>
                    </p:cNvPr>
                    <p:cNvSpPr/>
                    <p:nvPr/>
                  </p:nvSpPr>
                  <p:spPr>
                    <a:xfrm>
                      <a:off x="5635381" y="4669823"/>
                      <a:ext cx="67966" cy="67078"/>
                    </a:xfrm>
                    <a:custGeom>
                      <a:avLst/>
                      <a:gdLst>
                        <a:gd name="connsiteX0" fmla="*/ 26570 w 67966"/>
                        <a:gd name="connsiteY0" fmla="*/ 67078 h 67078"/>
                        <a:gd name="connsiteX1" fmla="*/ 9446 w 67966"/>
                        <a:gd name="connsiteY1" fmla="*/ 60027 h 67078"/>
                        <a:gd name="connsiteX2" fmla="*/ 9435 w 67966"/>
                        <a:gd name="connsiteY2" fmla="*/ 9177 h 67078"/>
                        <a:gd name="connsiteX3" fmla="*/ 61062 w 67966"/>
                        <a:gd name="connsiteY3" fmla="*/ 9645 h 67078"/>
                        <a:gd name="connsiteX4" fmla="*/ 66529 w 67966"/>
                        <a:gd name="connsiteY4" fmla="*/ 34820 h 67078"/>
                        <a:gd name="connsiteX5" fmla="*/ 54116 w 67966"/>
                        <a:gd name="connsiteY5" fmla="*/ 53869 h 67078"/>
                        <a:gd name="connsiteX6" fmla="*/ 26570 w 67966"/>
                        <a:gd name="connsiteY6" fmla="*/ 67078 h 67078"/>
                        <a:gd name="connsiteX7" fmla="*/ 34547 w 67966"/>
                        <a:gd name="connsiteY7" fmla="*/ 21216 h 67078"/>
                        <a:gd name="connsiteX8" fmla="*/ 24485 w 67966"/>
                        <a:gd name="connsiteY8" fmla="*/ 24205 h 67078"/>
                        <a:gd name="connsiteX9" fmla="*/ 24485 w 67966"/>
                        <a:gd name="connsiteY9" fmla="*/ 44977 h 67078"/>
                        <a:gd name="connsiteX10" fmla="*/ 39077 w 67966"/>
                        <a:gd name="connsiteY10" fmla="*/ 38808 h 67078"/>
                        <a:gd name="connsiteX11" fmla="*/ 46289 w 67966"/>
                        <a:gd name="connsiteY11" fmla="*/ 28289 h 67078"/>
                        <a:gd name="connsiteX12" fmla="*/ 46033 w 67966"/>
                        <a:gd name="connsiteY12" fmla="*/ 24673 h 67078"/>
                        <a:gd name="connsiteX13" fmla="*/ 35174 w 67966"/>
                        <a:gd name="connsiteY13" fmla="*/ 21227 h 67078"/>
                        <a:gd name="connsiteX14" fmla="*/ 34547 w 67966"/>
                        <a:gd name="connsiteY14" fmla="*/ 21216 h 67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966" h="67078">
                          <a:moveTo>
                            <a:pt x="26570" y="67078"/>
                          </a:moveTo>
                          <a:cubicBezTo>
                            <a:pt x="20146" y="67078"/>
                            <a:pt x="14179" y="64759"/>
                            <a:pt x="9446" y="60027"/>
                          </a:cubicBezTo>
                          <a:cubicBezTo>
                            <a:pt x="-3147" y="47434"/>
                            <a:pt x="-3147" y="21769"/>
                            <a:pt x="9435" y="9177"/>
                          </a:cubicBezTo>
                          <a:cubicBezTo>
                            <a:pt x="21890" y="-3257"/>
                            <a:pt x="48405" y="-3012"/>
                            <a:pt x="61062" y="9645"/>
                          </a:cubicBezTo>
                          <a:cubicBezTo>
                            <a:pt x="67688" y="16271"/>
                            <a:pt x="69624" y="25216"/>
                            <a:pt x="66529" y="34820"/>
                          </a:cubicBezTo>
                          <a:cubicBezTo>
                            <a:pt x="63912" y="42924"/>
                            <a:pt x="58328" y="49657"/>
                            <a:pt x="54116" y="53869"/>
                          </a:cubicBezTo>
                          <a:cubicBezTo>
                            <a:pt x="45395" y="62569"/>
                            <a:pt x="35525" y="67078"/>
                            <a:pt x="26570" y="67078"/>
                          </a:cubicBezTo>
                          <a:close/>
                          <a:moveTo>
                            <a:pt x="34547" y="21216"/>
                          </a:moveTo>
                          <a:cubicBezTo>
                            <a:pt x="30228" y="21216"/>
                            <a:pt x="26325" y="22365"/>
                            <a:pt x="24485" y="24205"/>
                          </a:cubicBezTo>
                          <a:cubicBezTo>
                            <a:pt x="19901" y="28789"/>
                            <a:pt x="20539" y="41031"/>
                            <a:pt x="24485" y="44977"/>
                          </a:cubicBezTo>
                          <a:cubicBezTo>
                            <a:pt x="27016" y="47497"/>
                            <a:pt x="34068" y="43817"/>
                            <a:pt x="39077" y="38808"/>
                          </a:cubicBezTo>
                          <a:cubicBezTo>
                            <a:pt x="42651" y="35234"/>
                            <a:pt x="45278" y="31405"/>
                            <a:pt x="46289" y="28289"/>
                          </a:cubicBezTo>
                          <a:cubicBezTo>
                            <a:pt x="47097" y="25758"/>
                            <a:pt x="46512" y="25152"/>
                            <a:pt x="46033" y="24673"/>
                          </a:cubicBezTo>
                          <a:cubicBezTo>
                            <a:pt x="44470" y="23110"/>
                            <a:pt x="40407" y="21355"/>
                            <a:pt x="35174" y="21227"/>
                          </a:cubicBezTo>
                          <a:cubicBezTo>
                            <a:pt x="34961" y="21216"/>
                            <a:pt x="34749" y="21216"/>
                            <a:pt x="34547" y="21216"/>
                          </a:cubicBezTo>
                          <a:close/>
                        </a:path>
                      </a:pathLst>
                    </a:custGeom>
                    <a:solidFill>
                      <a:schemeClr val="accent1"/>
                    </a:solidFill>
                    <a:ln w="1063" cap="flat">
                      <a:noFill/>
                      <a:prstDash val="solid"/>
                      <a:miter/>
                    </a:ln>
                  </p:spPr>
                  <p:txBody>
                    <a:bodyPr rtlCol="0" anchor="ctr"/>
                    <a:lstStyle/>
                    <a:p>
                      <a:endParaRPr lang="en-GB" dirty="0"/>
                    </a:p>
                  </p:txBody>
                </p:sp>
                <p:sp>
                  <p:nvSpPr>
                    <p:cNvPr id="586" name="Freeform: Shape 585">
                      <a:extLst>
                        <a:ext uri="{FF2B5EF4-FFF2-40B4-BE49-F238E27FC236}">
                          <a16:creationId xmlns:a16="http://schemas.microsoft.com/office/drawing/2014/main" id="{74C6D506-BE95-4A3A-9E77-64134ABC9AE3}"/>
                        </a:ext>
                      </a:extLst>
                    </p:cNvPr>
                    <p:cNvSpPr/>
                    <p:nvPr/>
                  </p:nvSpPr>
                  <p:spPr>
                    <a:xfrm>
                      <a:off x="5616278" y="4650482"/>
                      <a:ext cx="46685" cy="46672"/>
                    </a:xfrm>
                    <a:custGeom>
                      <a:avLst/>
                      <a:gdLst>
                        <a:gd name="connsiteX0" fmla="*/ 36047 w 46685"/>
                        <a:gd name="connsiteY0" fmla="*/ 46673 h 46672"/>
                        <a:gd name="connsiteX1" fmla="*/ 28528 w 46685"/>
                        <a:gd name="connsiteY1" fmla="*/ 43557 h 46672"/>
                        <a:gd name="connsiteX2" fmla="*/ 3119 w 46685"/>
                        <a:gd name="connsiteY2" fmla="*/ 18158 h 46672"/>
                        <a:gd name="connsiteX3" fmla="*/ 3119 w 46685"/>
                        <a:gd name="connsiteY3" fmla="*/ 3119 h 46672"/>
                        <a:gd name="connsiteX4" fmla="*/ 18158 w 46685"/>
                        <a:gd name="connsiteY4" fmla="*/ 3119 h 46672"/>
                        <a:gd name="connsiteX5" fmla="*/ 43567 w 46685"/>
                        <a:gd name="connsiteY5" fmla="*/ 28517 h 46672"/>
                        <a:gd name="connsiteX6" fmla="*/ 43567 w 46685"/>
                        <a:gd name="connsiteY6" fmla="*/ 43557 h 46672"/>
                        <a:gd name="connsiteX7" fmla="*/ 36047 w 46685"/>
                        <a:gd name="connsiteY7" fmla="*/ 46673 h 46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85" h="46672">
                          <a:moveTo>
                            <a:pt x="36047" y="46673"/>
                          </a:moveTo>
                          <a:cubicBezTo>
                            <a:pt x="33325" y="46673"/>
                            <a:pt x="30602" y="45630"/>
                            <a:pt x="28528" y="43557"/>
                          </a:cubicBezTo>
                          <a:lnTo>
                            <a:pt x="3119" y="18158"/>
                          </a:lnTo>
                          <a:cubicBezTo>
                            <a:pt x="-1040" y="14000"/>
                            <a:pt x="-1040" y="7277"/>
                            <a:pt x="3119" y="3119"/>
                          </a:cubicBezTo>
                          <a:cubicBezTo>
                            <a:pt x="7277" y="-1040"/>
                            <a:pt x="13999" y="-1040"/>
                            <a:pt x="18158" y="3119"/>
                          </a:cubicBezTo>
                          <a:lnTo>
                            <a:pt x="43567" y="28517"/>
                          </a:lnTo>
                          <a:cubicBezTo>
                            <a:pt x="47726" y="32676"/>
                            <a:pt x="47726" y="39398"/>
                            <a:pt x="43567" y="43557"/>
                          </a:cubicBezTo>
                          <a:cubicBezTo>
                            <a:pt x="41493" y="45641"/>
                            <a:pt x="38770" y="46673"/>
                            <a:pt x="36047" y="46673"/>
                          </a:cubicBezTo>
                          <a:close/>
                        </a:path>
                      </a:pathLst>
                    </a:custGeom>
                    <a:solidFill>
                      <a:schemeClr val="accent1"/>
                    </a:solidFill>
                    <a:ln w="1063" cap="flat">
                      <a:noFill/>
                      <a:prstDash val="solid"/>
                      <a:miter/>
                    </a:ln>
                  </p:spPr>
                  <p:txBody>
                    <a:bodyPr rtlCol="0" anchor="ctr"/>
                    <a:lstStyle/>
                    <a:p>
                      <a:endParaRPr lang="en-GB" dirty="0"/>
                    </a:p>
                  </p:txBody>
                </p:sp>
              </p:grpSp>
              <p:grpSp>
                <p:nvGrpSpPr>
                  <p:cNvPr id="582" name="Graphic 818">
                    <a:extLst>
                      <a:ext uri="{FF2B5EF4-FFF2-40B4-BE49-F238E27FC236}">
                        <a16:creationId xmlns:a16="http://schemas.microsoft.com/office/drawing/2014/main" id="{7D4794B4-C6FD-41F2-9BFF-420C6C4D4127}"/>
                      </a:ext>
                    </a:extLst>
                  </p:cNvPr>
                  <p:cNvGrpSpPr/>
                  <p:nvPr/>
                </p:nvGrpSpPr>
                <p:grpSpPr>
                  <a:xfrm>
                    <a:off x="5389109" y="4650748"/>
                    <a:ext cx="87078" cy="86408"/>
                    <a:chOff x="5389109" y="4650748"/>
                    <a:chExt cx="87078" cy="86408"/>
                  </a:xfrm>
                  <a:solidFill>
                    <a:schemeClr val="accent1"/>
                  </a:solidFill>
                </p:grpSpPr>
                <p:sp>
                  <p:nvSpPr>
                    <p:cNvPr id="583" name="Freeform: Shape 582">
                      <a:extLst>
                        <a:ext uri="{FF2B5EF4-FFF2-40B4-BE49-F238E27FC236}">
                          <a16:creationId xmlns:a16="http://schemas.microsoft.com/office/drawing/2014/main" id="{52B61579-77B1-4CE8-950C-C2BE77358A49}"/>
                        </a:ext>
                      </a:extLst>
                    </p:cNvPr>
                    <p:cNvSpPr/>
                    <p:nvPr/>
                  </p:nvSpPr>
                  <p:spPr>
                    <a:xfrm>
                      <a:off x="5389109" y="4670085"/>
                      <a:ext cx="68003" cy="67071"/>
                    </a:xfrm>
                    <a:custGeom>
                      <a:avLst/>
                      <a:gdLst>
                        <a:gd name="connsiteX0" fmla="*/ 41427 w 68003"/>
                        <a:gd name="connsiteY0" fmla="*/ 67072 h 67071"/>
                        <a:gd name="connsiteX1" fmla="*/ 13859 w 68003"/>
                        <a:gd name="connsiteY1" fmla="*/ 53873 h 67071"/>
                        <a:gd name="connsiteX2" fmla="*/ 6924 w 68003"/>
                        <a:gd name="connsiteY2" fmla="*/ 9649 h 67071"/>
                        <a:gd name="connsiteX3" fmla="*/ 58551 w 68003"/>
                        <a:gd name="connsiteY3" fmla="*/ 9181 h 67071"/>
                        <a:gd name="connsiteX4" fmla="*/ 58551 w 68003"/>
                        <a:gd name="connsiteY4" fmla="*/ 60031 h 67071"/>
                        <a:gd name="connsiteX5" fmla="*/ 41427 w 68003"/>
                        <a:gd name="connsiteY5" fmla="*/ 67072 h 67071"/>
                        <a:gd name="connsiteX6" fmla="*/ 33599 w 68003"/>
                        <a:gd name="connsiteY6" fmla="*/ 21189 h 67071"/>
                        <a:gd name="connsiteX7" fmla="*/ 21963 w 68003"/>
                        <a:gd name="connsiteY7" fmla="*/ 24677 h 67071"/>
                        <a:gd name="connsiteX8" fmla="*/ 28909 w 68003"/>
                        <a:gd name="connsiteY8" fmla="*/ 38812 h 67071"/>
                        <a:gd name="connsiteX9" fmla="*/ 43501 w 68003"/>
                        <a:gd name="connsiteY9" fmla="*/ 44981 h 67071"/>
                        <a:gd name="connsiteX10" fmla="*/ 43501 w 68003"/>
                        <a:gd name="connsiteY10" fmla="*/ 24209 h 67071"/>
                        <a:gd name="connsiteX11" fmla="*/ 33599 w 68003"/>
                        <a:gd name="connsiteY11" fmla="*/ 21189 h 6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8003" h="67071">
                          <a:moveTo>
                            <a:pt x="41427" y="67072"/>
                          </a:moveTo>
                          <a:cubicBezTo>
                            <a:pt x="32461" y="67072"/>
                            <a:pt x="22591" y="62573"/>
                            <a:pt x="13859" y="53873"/>
                          </a:cubicBezTo>
                          <a:cubicBezTo>
                            <a:pt x="-1669" y="38313"/>
                            <a:pt x="-4392" y="20954"/>
                            <a:pt x="6924" y="9649"/>
                          </a:cubicBezTo>
                          <a:cubicBezTo>
                            <a:pt x="19570" y="-3008"/>
                            <a:pt x="46118" y="-3263"/>
                            <a:pt x="58551" y="9181"/>
                          </a:cubicBezTo>
                          <a:cubicBezTo>
                            <a:pt x="71154" y="21784"/>
                            <a:pt x="71154" y="47438"/>
                            <a:pt x="58551" y="60031"/>
                          </a:cubicBezTo>
                          <a:cubicBezTo>
                            <a:pt x="53818" y="64764"/>
                            <a:pt x="47851" y="67072"/>
                            <a:pt x="41427" y="67072"/>
                          </a:cubicBezTo>
                          <a:close/>
                          <a:moveTo>
                            <a:pt x="33599" y="21189"/>
                          </a:moveTo>
                          <a:cubicBezTo>
                            <a:pt x="28951" y="21189"/>
                            <a:pt x="24165" y="22476"/>
                            <a:pt x="21963" y="24677"/>
                          </a:cubicBezTo>
                          <a:cubicBezTo>
                            <a:pt x="19815" y="26825"/>
                            <a:pt x="23825" y="33728"/>
                            <a:pt x="28909" y="38812"/>
                          </a:cubicBezTo>
                          <a:cubicBezTo>
                            <a:pt x="33918" y="43822"/>
                            <a:pt x="40959" y="47512"/>
                            <a:pt x="43501" y="44981"/>
                          </a:cubicBezTo>
                          <a:cubicBezTo>
                            <a:pt x="47447" y="41035"/>
                            <a:pt x="48085" y="28793"/>
                            <a:pt x="43501" y="24209"/>
                          </a:cubicBezTo>
                          <a:cubicBezTo>
                            <a:pt x="41416" y="22125"/>
                            <a:pt x="37556" y="21189"/>
                            <a:pt x="33599" y="21189"/>
                          </a:cubicBezTo>
                          <a:close/>
                        </a:path>
                      </a:pathLst>
                    </a:custGeom>
                    <a:solidFill>
                      <a:schemeClr val="accent1"/>
                    </a:solidFill>
                    <a:ln w="1063" cap="flat">
                      <a:noFill/>
                      <a:prstDash val="solid"/>
                      <a:miter/>
                    </a:ln>
                  </p:spPr>
                  <p:txBody>
                    <a:bodyPr rtlCol="0" anchor="ctr"/>
                    <a:lstStyle/>
                    <a:p>
                      <a:endParaRPr lang="en-GB" dirty="0"/>
                    </a:p>
                  </p:txBody>
                </p:sp>
                <p:sp>
                  <p:nvSpPr>
                    <p:cNvPr id="584" name="Freeform: Shape 583">
                      <a:extLst>
                        <a:ext uri="{FF2B5EF4-FFF2-40B4-BE49-F238E27FC236}">
                          <a16:creationId xmlns:a16="http://schemas.microsoft.com/office/drawing/2014/main" id="{E39634B8-B2C5-4C83-B66B-94A85B6F9F7D}"/>
                        </a:ext>
                      </a:extLst>
                    </p:cNvPr>
                    <p:cNvSpPr/>
                    <p:nvPr/>
                  </p:nvSpPr>
                  <p:spPr>
                    <a:xfrm>
                      <a:off x="5429502" y="4650748"/>
                      <a:ext cx="46686" cy="46683"/>
                    </a:xfrm>
                    <a:custGeom>
                      <a:avLst/>
                      <a:gdLst>
                        <a:gd name="connsiteX0" fmla="*/ 10639 w 46686"/>
                        <a:gd name="connsiteY0" fmla="*/ 46684 h 46683"/>
                        <a:gd name="connsiteX1" fmla="*/ 3119 w 46686"/>
                        <a:gd name="connsiteY1" fmla="*/ 43567 h 46683"/>
                        <a:gd name="connsiteX2" fmla="*/ 3119 w 46686"/>
                        <a:gd name="connsiteY2" fmla="*/ 28528 h 46683"/>
                        <a:gd name="connsiteX3" fmla="*/ 28528 w 46686"/>
                        <a:gd name="connsiteY3" fmla="*/ 3119 h 46683"/>
                        <a:gd name="connsiteX4" fmla="*/ 43567 w 46686"/>
                        <a:gd name="connsiteY4" fmla="*/ 3119 h 46683"/>
                        <a:gd name="connsiteX5" fmla="*/ 43567 w 46686"/>
                        <a:gd name="connsiteY5" fmla="*/ 18158 h 46683"/>
                        <a:gd name="connsiteX6" fmla="*/ 18158 w 46686"/>
                        <a:gd name="connsiteY6" fmla="*/ 43567 h 46683"/>
                        <a:gd name="connsiteX7" fmla="*/ 10639 w 46686"/>
                        <a:gd name="connsiteY7" fmla="*/ 46684 h 46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686" h="46683">
                          <a:moveTo>
                            <a:pt x="10639" y="46684"/>
                          </a:moveTo>
                          <a:cubicBezTo>
                            <a:pt x="7916" y="46684"/>
                            <a:pt x="5193" y="45641"/>
                            <a:pt x="3119" y="43567"/>
                          </a:cubicBezTo>
                          <a:cubicBezTo>
                            <a:pt x="-1040" y="39408"/>
                            <a:pt x="-1040" y="32687"/>
                            <a:pt x="3119" y="28528"/>
                          </a:cubicBezTo>
                          <a:lnTo>
                            <a:pt x="28528" y="3119"/>
                          </a:lnTo>
                          <a:cubicBezTo>
                            <a:pt x="32687" y="-1040"/>
                            <a:pt x="39409" y="-1040"/>
                            <a:pt x="43567" y="3119"/>
                          </a:cubicBezTo>
                          <a:cubicBezTo>
                            <a:pt x="47726" y="7277"/>
                            <a:pt x="47726" y="14000"/>
                            <a:pt x="43567" y="18158"/>
                          </a:cubicBezTo>
                          <a:lnTo>
                            <a:pt x="18158" y="43567"/>
                          </a:lnTo>
                          <a:cubicBezTo>
                            <a:pt x="16084" y="45641"/>
                            <a:pt x="13361" y="46684"/>
                            <a:pt x="10639" y="46684"/>
                          </a:cubicBezTo>
                          <a:close/>
                        </a:path>
                      </a:pathLst>
                    </a:custGeom>
                    <a:solidFill>
                      <a:schemeClr val="accent1"/>
                    </a:solidFill>
                    <a:ln w="1063" cap="flat">
                      <a:noFill/>
                      <a:prstDash val="solid"/>
                      <a:miter/>
                    </a:ln>
                  </p:spPr>
                  <p:txBody>
                    <a:bodyPr rtlCol="0" anchor="ctr"/>
                    <a:lstStyle/>
                    <a:p>
                      <a:endParaRPr lang="en-GB" dirty="0"/>
                    </a:p>
                  </p:txBody>
                </p:sp>
              </p:grpSp>
            </p:grpSp>
            <p:sp>
              <p:nvSpPr>
                <p:cNvPr id="572" name="Freeform: Shape 571">
                  <a:extLst>
                    <a:ext uri="{FF2B5EF4-FFF2-40B4-BE49-F238E27FC236}">
                      <a16:creationId xmlns:a16="http://schemas.microsoft.com/office/drawing/2014/main" id="{F58B9C00-FCE9-4BE7-A003-C31A11FB656C}"/>
                    </a:ext>
                  </a:extLst>
                </p:cNvPr>
                <p:cNvSpPr/>
                <p:nvPr/>
              </p:nvSpPr>
              <p:spPr>
                <a:xfrm>
                  <a:off x="5582971" y="4673874"/>
                  <a:ext cx="30350" cy="41022"/>
                </a:xfrm>
                <a:custGeom>
                  <a:avLst/>
                  <a:gdLst>
                    <a:gd name="connsiteX0" fmla="*/ 19728 w 30350"/>
                    <a:gd name="connsiteY0" fmla="*/ 41022 h 41022"/>
                    <a:gd name="connsiteX1" fmla="*/ 10060 w 30350"/>
                    <a:gd name="connsiteY1" fmla="*/ 34832 h 41022"/>
                    <a:gd name="connsiteX2" fmla="*/ 977 w 30350"/>
                    <a:gd name="connsiteY2" fmla="*/ 15081 h 41022"/>
                    <a:gd name="connsiteX3" fmla="*/ 6188 w 30350"/>
                    <a:gd name="connsiteY3" fmla="*/ 978 h 41022"/>
                    <a:gd name="connsiteX4" fmla="*/ 20291 w 30350"/>
                    <a:gd name="connsiteY4" fmla="*/ 6190 h 41022"/>
                    <a:gd name="connsiteX5" fmla="*/ 29374 w 30350"/>
                    <a:gd name="connsiteY5" fmla="*/ 25940 h 41022"/>
                    <a:gd name="connsiteX6" fmla="*/ 24163 w 30350"/>
                    <a:gd name="connsiteY6" fmla="*/ 40044 h 41022"/>
                    <a:gd name="connsiteX7" fmla="*/ 19728 w 30350"/>
                    <a:gd name="connsiteY7" fmla="*/ 41022 h 41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50" h="41022">
                      <a:moveTo>
                        <a:pt x="19728" y="41022"/>
                      </a:moveTo>
                      <a:cubicBezTo>
                        <a:pt x="15697" y="41022"/>
                        <a:pt x="11846" y="38725"/>
                        <a:pt x="10060" y="34832"/>
                      </a:cubicBezTo>
                      <a:lnTo>
                        <a:pt x="977" y="15081"/>
                      </a:lnTo>
                      <a:cubicBezTo>
                        <a:pt x="-1480" y="9742"/>
                        <a:pt x="860" y="3424"/>
                        <a:pt x="6188" y="978"/>
                      </a:cubicBezTo>
                      <a:cubicBezTo>
                        <a:pt x="11538" y="-1479"/>
                        <a:pt x="17856" y="851"/>
                        <a:pt x="20291" y="6190"/>
                      </a:cubicBezTo>
                      <a:lnTo>
                        <a:pt x="29374" y="25940"/>
                      </a:lnTo>
                      <a:cubicBezTo>
                        <a:pt x="31831" y="31280"/>
                        <a:pt x="29491" y="37597"/>
                        <a:pt x="24163" y="40044"/>
                      </a:cubicBezTo>
                      <a:cubicBezTo>
                        <a:pt x="22727" y="40714"/>
                        <a:pt x="21217" y="41022"/>
                        <a:pt x="19728" y="41022"/>
                      </a:cubicBezTo>
                      <a:close/>
                    </a:path>
                  </a:pathLst>
                </a:custGeom>
                <a:solidFill>
                  <a:schemeClr val="accent1"/>
                </a:solidFill>
                <a:ln w="1063" cap="flat">
                  <a:noFill/>
                  <a:prstDash val="solid"/>
                  <a:miter/>
                </a:ln>
              </p:spPr>
              <p:txBody>
                <a:bodyPr rtlCol="0" anchor="ctr"/>
                <a:lstStyle/>
                <a:p>
                  <a:endParaRPr lang="en-GB" dirty="0"/>
                </a:p>
              </p:txBody>
            </p:sp>
            <p:sp>
              <p:nvSpPr>
                <p:cNvPr id="573" name="Freeform: Shape 572">
                  <a:extLst>
                    <a:ext uri="{FF2B5EF4-FFF2-40B4-BE49-F238E27FC236}">
                      <a16:creationId xmlns:a16="http://schemas.microsoft.com/office/drawing/2014/main" id="{EE115988-88AC-43F7-90D0-6AD36BFA5A80}"/>
                    </a:ext>
                  </a:extLst>
                </p:cNvPr>
                <p:cNvSpPr/>
                <p:nvPr/>
              </p:nvSpPr>
              <p:spPr>
                <a:xfrm>
                  <a:off x="5478271" y="4445870"/>
                  <a:ext cx="30510" cy="41397"/>
                </a:xfrm>
                <a:custGeom>
                  <a:avLst/>
                  <a:gdLst>
                    <a:gd name="connsiteX0" fmla="*/ 19887 w 30510"/>
                    <a:gd name="connsiteY0" fmla="*/ 41397 h 41397"/>
                    <a:gd name="connsiteX1" fmla="*/ 10219 w 30510"/>
                    <a:gd name="connsiteY1" fmla="*/ 35207 h 41397"/>
                    <a:gd name="connsiteX2" fmla="*/ 977 w 30510"/>
                    <a:gd name="connsiteY2" fmla="*/ 15084 h 41397"/>
                    <a:gd name="connsiteX3" fmla="*/ 6188 w 30510"/>
                    <a:gd name="connsiteY3" fmla="*/ 981 h 41397"/>
                    <a:gd name="connsiteX4" fmla="*/ 20291 w 30510"/>
                    <a:gd name="connsiteY4" fmla="*/ 6193 h 41397"/>
                    <a:gd name="connsiteX5" fmla="*/ 29534 w 30510"/>
                    <a:gd name="connsiteY5" fmla="*/ 26316 h 41397"/>
                    <a:gd name="connsiteX6" fmla="*/ 24322 w 30510"/>
                    <a:gd name="connsiteY6" fmla="*/ 40419 h 41397"/>
                    <a:gd name="connsiteX7" fmla="*/ 19887 w 30510"/>
                    <a:gd name="connsiteY7" fmla="*/ 41397 h 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10" h="41397">
                      <a:moveTo>
                        <a:pt x="19887" y="41397"/>
                      </a:moveTo>
                      <a:cubicBezTo>
                        <a:pt x="15856" y="41397"/>
                        <a:pt x="12006" y="39100"/>
                        <a:pt x="10219" y="35207"/>
                      </a:cubicBezTo>
                      <a:lnTo>
                        <a:pt x="977" y="15084"/>
                      </a:lnTo>
                      <a:cubicBezTo>
                        <a:pt x="-1480" y="9745"/>
                        <a:pt x="860" y="3427"/>
                        <a:pt x="6188" y="981"/>
                      </a:cubicBezTo>
                      <a:cubicBezTo>
                        <a:pt x="11559" y="-1486"/>
                        <a:pt x="17856" y="864"/>
                        <a:pt x="20291" y="6193"/>
                      </a:cubicBezTo>
                      <a:lnTo>
                        <a:pt x="29534" y="26316"/>
                      </a:lnTo>
                      <a:cubicBezTo>
                        <a:pt x="31991" y="31655"/>
                        <a:pt x="29651" y="37972"/>
                        <a:pt x="24322" y="40419"/>
                      </a:cubicBezTo>
                      <a:cubicBezTo>
                        <a:pt x="22887" y="41089"/>
                        <a:pt x="21376" y="41397"/>
                        <a:pt x="19887" y="41397"/>
                      </a:cubicBezTo>
                      <a:close/>
                    </a:path>
                  </a:pathLst>
                </a:custGeom>
                <a:solidFill>
                  <a:schemeClr val="accent1"/>
                </a:solidFill>
                <a:ln w="1063" cap="flat">
                  <a:noFill/>
                  <a:prstDash val="solid"/>
                  <a:miter/>
                </a:ln>
              </p:spPr>
              <p:txBody>
                <a:bodyPr rtlCol="0" anchor="ctr"/>
                <a:lstStyle/>
                <a:p>
                  <a:endParaRPr lang="en-GB" dirty="0"/>
                </a:p>
              </p:txBody>
            </p:sp>
            <p:sp>
              <p:nvSpPr>
                <p:cNvPr id="574" name="Freeform: Shape 573">
                  <a:extLst>
                    <a:ext uri="{FF2B5EF4-FFF2-40B4-BE49-F238E27FC236}">
                      <a16:creationId xmlns:a16="http://schemas.microsoft.com/office/drawing/2014/main" id="{3C679E63-BD64-408A-8779-5238B77B7F73}"/>
                    </a:ext>
                  </a:extLst>
                </p:cNvPr>
                <p:cNvSpPr/>
                <p:nvPr/>
              </p:nvSpPr>
              <p:spPr>
                <a:xfrm>
                  <a:off x="5640538" y="4617554"/>
                  <a:ext cx="40410" cy="30006"/>
                </a:xfrm>
                <a:custGeom>
                  <a:avLst/>
                  <a:gdLst>
                    <a:gd name="connsiteX0" fmla="*/ 29761 w 40410"/>
                    <a:gd name="connsiteY0" fmla="*/ 30006 h 30006"/>
                    <a:gd name="connsiteX1" fmla="*/ 25358 w 40410"/>
                    <a:gd name="connsiteY1" fmla="*/ 29049 h 30006"/>
                    <a:gd name="connsiteX2" fmla="*/ 6224 w 40410"/>
                    <a:gd name="connsiteY2" fmla="*/ 20328 h 30006"/>
                    <a:gd name="connsiteX3" fmla="*/ 960 w 40410"/>
                    <a:gd name="connsiteY3" fmla="*/ 6235 h 30006"/>
                    <a:gd name="connsiteX4" fmla="*/ 15052 w 40410"/>
                    <a:gd name="connsiteY4" fmla="*/ 971 h 30006"/>
                    <a:gd name="connsiteX5" fmla="*/ 34186 w 40410"/>
                    <a:gd name="connsiteY5" fmla="*/ 9692 h 30006"/>
                    <a:gd name="connsiteX6" fmla="*/ 39451 w 40410"/>
                    <a:gd name="connsiteY6" fmla="*/ 23784 h 30006"/>
                    <a:gd name="connsiteX7" fmla="*/ 29761 w 40410"/>
                    <a:gd name="connsiteY7" fmla="*/ 30006 h 3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410" h="30006">
                      <a:moveTo>
                        <a:pt x="29761" y="30006"/>
                      </a:moveTo>
                      <a:cubicBezTo>
                        <a:pt x="28283" y="30006"/>
                        <a:pt x="26794" y="29709"/>
                        <a:pt x="25358" y="29049"/>
                      </a:cubicBezTo>
                      <a:lnTo>
                        <a:pt x="6224" y="20328"/>
                      </a:lnTo>
                      <a:cubicBezTo>
                        <a:pt x="885" y="17892"/>
                        <a:pt x="-1476" y="11585"/>
                        <a:pt x="960" y="6235"/>
                      </a:cubicBezTo>
                      <a:cubicBezTo>
                        <a:pt x="3395" y="885"/>
                        <a:pt x="9692" y="-1486"/>
                        <a:pt x="15052" y="971"/>
                      </a:cubicBezTo>
                      <a:lnTo>
                        <a:pt x="34186" y="9692"/>
                      </a:lnTo>
                      <a:cubicBezTo>
                        <a:pt x="39525" y="12127"/>
                        <a:pt x="41886" y="18435"/>
                        <a:pt x="39451" y="23784"/>
                      </a:cubicBezTo>
                      <a:cubicBezTo>
                        <a:pt x="37664" y="27698"/>
                        <a:pt x="33803" y="30006"/>
                        <a:pt x="29761" y="30006"/>
                      </a:cubicBezTo>
                      <a:close/>
                    </a:path>
                  </a:pathLst>
                </a:custGeom>
                <a:solidFill>
                  <a:schemeClr val="accent1"/>
                </a:solidFill>
                <a:ln w="1063" cap="flat">
                  <a:noFill/>
                  <a:prstDash val="solid"/>
                  <a:miter/>
                </a:ln>
              </p:spPr>
              <p:txBody>
                <a:bodyPr rtlCol="0" anchor="ctr"/>
                <a:lstStyle/>
                <a:p>
                  <a:endParaRPr lang="en-GB" dirty="0"/>
                </a:p>
              </p:txBody>
            </p:sp>
            <p:sp>
              <p:nvSpPr>
                <p:cNvPr id="575" name="Freeform: Shape 574">
                  <a:extLst>
                    <a:ext uri="{FF2B5EF4-FFF2-40B4-BE49-F238E27FC236}">
                      <a16:creationId xmlns:a16="http://schemas.microsoft.com/office/drawing/2014/main" id="{E5E82DA0-8E13-4DDA-ADBA-4F41C4C7FC74}"/>
                    </a:ext>
                  </a:extLst>
                </p:cNvPr>
                <p:cNvSpPr/>
                <p:nvPr/>
              </p:nvSpPr>
              <p:spPr>
                <a:xfrm>
                  <a:off x="5411591" y="4513195"/>
                  <a:ext cx="40952" cy="30250"/>
                </a:xfrm>
                <a:custGeom>
                  <a:avLst/>
                  <a:gdLst>
                    <a:gd name="connsiteX0" fmla="*/ 30304 w 40952"/>
                    <a:gd name="connsiteY0" fmla="*/ 30251 h 30250"/>
                    <a:gd name="connsiteX1" fmla="*/ 25901 w 40952"/>
                    <a:gd name="connsiteY1" fmla="*/ 29294 h 30250"/>
                    <a:gd name="connsiteX2" fmla="*/ 6224 w 40952"/>
                    <a:gd name="connsiteY2" fmla="*/ 20328 h 30250"/>
                    <a:gd name="connsiteX3" fmla="*/ 960 w 40952"/>
                    <a:gd name="connsiteY3" fmla="*/ 6236 h 30250"/>
                    <a:gd name="connsiteX4" fmla="*/ 15052 w 40952"/>
                    <a:gd name="connsiteY4" fmla="*/ 971 h 30250"/>
                    <a:gd name="connsiteX5" fmla="*/ 34729 w 40952"/>
                    <a:gd name="connsiteY5" fmla="*/ 9937 h 30250"/>
                    <a:gd name="connsiteX6" fmla="*/ 39993 w 40952"/>
                    <a:gd name="connsiteY6" fmla="*/ 24029 h 30250"/>
                    <a:gd name="connsiteX7" fmla="*/ 30304 w 40952"/>
                    <a:gd name="connsiteY7" fmla="*/ 30251 h 3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52" h="30250">
                      <a:moveTo>
                        <a:pt x="30304" y="30251"/>
                      </a:moveTo>
                      <a:cubicBezTo>
                        <a:pt x="28826" y="30251"/>
                        <a:pt x="27337" y="29953"/>
                        <a:pt x="25901" y="29294"/>
                      </a:cubicBezTo>
                      <a:lnTo>
                        <a:pt x="6224" y="20328"/>
                      </a:lnTo>
                      <a:cubicBezTo>
                        <a:pt x="885" y="17892"/>
                        <a:pt x="-1476" y="11585"/>
                        <a:pt x="960" y="6236"/>
                      </a:cubicBezTo>
                      <a:cubicBezTo>
                        <a:pt x="3395" y="885"/>
                        <a:pt x="9692" y="-1486"/>
                        <a:pt x="15052" y="971"/>
                      </a:cubicBezTo>
                      <a:lnTo>
                        <a:pt x="34729" y="9937"/>
                      </a:lnTo>
                      <a:cubicBezTo>
                        <a:pt x="40068" y="12372"/>
                        <a:pt x="42429" y="18679"/>
                        <a:pt x="39993" y="24029"/>
                      </a:cubicBezTo>
                      <a:cubicBezTo>
                        <a:pt x="38206" y="27943"/>
                        <a:pt x="34346" y="30251"/>
                        <a:pt x="30304" y="30251"/>
                      </a:cubicBezTo>
                      <a:close/>
                    </a:path>
                  </a:pathLst>
                </a:custGeom>
                <a:solidFill>
                  <a:schemeClr val="accent1"/>
                </a:solidFill>
                <a:ln w="1063" cap="flat">
                  <a:noFill/>
                  <a:prstDash val="solid"/>
                  <a:miter/>
                </a:ln>
              </p:spPr>
              <p:txBody>
                <a:bodyPr rtlCol="0" anchor="ctr"/>
                <a:lstStyle/>
                <a:p>
                  <a:endParaRPr lang="en-GB" dirty="0"/>
                </a:p>
              </p:txBody>
            </p:sp>
            <p:sp>
              <p:nvSpPr>
                <p:cNvPr id="576" name="Freeform: Shape 575">
                  <a:extLst>
                    <a:ext uri="{FF2B5EF4-FFF2-40B4-BE49-F238E27FC236}">
                      <a16:creationId xmlns:a16="http://schemas.microsoft.com/office/drawing/2014/main" id="{87EDC0A1-DAFE-483E-801D-5EFD7BCCF429}"/>
                    </a:ext>
                  </a:extLst>
                </p:cNvPr>
                <p:cNvSpPr/>
                <p:nvPr/>
              </p:nvSpPr>
              <p:spPr>
                <a:xfrm>
                  <a:off x="5639432" y="4514422"/>
                  <a:ext cx="41688" cy="30352"/>
                </a:xfrm>
                <a:custGeom>
                  <a:avLst/>
                  <a:gdLst>
                    <a:gd name="connsiteX0" fmla="*/ 10650 w 41688"/>
                    <a:gd name="connsiteY0" fmla="*/ 30353 h 30352"/>
                    <a:gd name="connsiteX1" fmla="*/ 918 w 41688"/>
                    <a:gd name="connsiteY1" fmla="*/ 24035 h 30352"/>
                    <a:gd name="connsiteX2" fmla="*/ 6321 w 41688"/>
                    <a:gd name="connsiteY2" fmla="*/ 9996 h 30352"/>
                    <a:gd name="connsiteX3" fmla="*/ 26731 w 41688"/>
                    <a:gd name="connsiteY3" fmla="*/ 924 h 30352"/>
                    <a:gd name="connsiteX4" fmla="*/ 40770 w 41688"/>
                    <a:gd name="connsiteY4" fmla="*/ 6327 h 30352"/>
                    <a:gd name="connsiteX5" fmla="*/ 35368 w 41688"/>
                    <a:gd name="connsiteY5" fmla="*/ 20366 h 30352"/>
                    <a:gd name="connsiteX6" fmla="*/ 14957 w 41688"/>
                    <a:gd name="connsiteY6" fmla="*/ 29438 h 30352"/>
                    <a:gd name="connsiteX7" fmla="*/ 10650 w 41688"/>
                    <a:gd name="connsiteY7" fmla="*/ 30353 h 3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88" h="30352">
                      <a:moveTo>
                        <a:pt x="10650" y="30353"/>
                      </a:moveTo>
                      <a:cubicBezTo>
                        <a:pt x="6566" y="30353"/>
                        <a:pt x="2683" y="27992"/>
                        <a:pt x="918" y="24035"/>
                      </a:cubicBezTo>
                      <a:cubicBezTo>
                        <a:pt x="-1465" y="18664"/>
                        <a:pt x="950" y="12378"/>
                        <a:pt x="6321" y="9996"/>
                      </a:cubicBezTo>
                      <a:lnTo>
                        <a:pt x="26731" y="924"/>
                      </a:lnTo>
                      <a:cubicBezTo>
                        <a:pt x="32113" y="-1480"/>
                        <a:pt x="38388" y="977"/>
                        <a:pt x="40770" y="6327"/>
                      </a:cubicBezTo>
                      <a:cubicBezTo>
                        <a:pt x="43153" y="11698"/>
                        <a:pt x="40738" y="17984"/>
                        <a:pt x="35368" y="20366"/>
                      </a:cubicBezTo>
                      <a:lnTo>
                        <a:pt x="14957" y="29438"/>
                      </a:lnTo>
                      <a:cubicBezTo>
                        <a:pt x="13564" y="30066"/>
                        <a:pt x="12086" y="30353"/>
                        <a:pt x="10650" y="30353"/>
                      </a:cubicBezTo>
                      <a:close/>
                    </a:path>
                  </a:pathLst>
                </a:custGeom>
                <a:solidFill>
                  <a:schemeClr val="accent1"/>
                </a:solidFill>
                <a:ln w="1063" cap="flat">
                  <a:noFill/>
                  <a:prstDash val="solid"/>
                  <a:miter/>
                </a:ln>
              </p:spPr>
              <p:txBody>
                <a:bodyPr rtlCol="0" anchor="ctr"/>
                <a:lstStyle/>
                <a:p>
                  <a:endParaRPr lang="en-GB" dirty="0"/>
                </a:p>
              </p:txBody>
            </p:sp>
            <p:sp>
              <p:nvSpPr>
                <p:cNvPr id="577" name="Freeform: Shape 576">
                  <a:extLst>
                    <a:ext uri="{FF2B5EF4-FFF2-40B4-BE49-F238E27FC236}">
                      <a16:creationId xmlns:a16="http://schemas.microsoft.com/office/drawing/2014/main" id="{67FFC94A-D0D6-4334-8B30-DA8C0F6CDA3B}"/>
                    </a:ext>
                  </a:extLst>
                </p:cNvPr>
                <p:cNvSpPr/>
                <p:nvPr/>
              </p:nvSpPr>
              <p:spPr>
                <a:xfrm>
                  <a:off x="5410677" y="4616494"/>
                  <a:ext cx="40557" cy="29842"/>
                </a:xfrm>
                <a:custGeom>
                  <a:avLst/>
                  <a:gdLst>
                    <a:gd name="connsiteX0" fmla="*/ 10648 w 40557"/>
                    <a:gd name="connsiteY0" fmla="*/ 29843 h 29842"/>
                    <a:gd name="connsiteX1" fmla="*/ 916 w 40557"/>
                    <a:gd name="connsiteY1" fmla="*/ 23525 h 29842"/>
                    <a:gd name="connsiteX2" fmla="*/ 6319 w 40557"/>
                    <a:gd name="connsiteY2" fmla="*/ 9486 h 29842"/>
                    <a:gd name="connsiteX3" fmla="*/ 25602 w 40557"/>
                    <a:gd name="connsiteY3" fmla="*/ 924 h 29842"/>
                    <a:gd name="connsiteX4" fmla="*/ 39642 w 40557"/>
                    <a:gd name="connsiteY4" fmla="*/ 6327 h 29842"/>
                    <a:gd name="connsiteX5" fmla="*/ 34238 w 40557"/>
                    <a:gd name="connsiteY5" fmla="*/ 20366 h 29842"/>
                    <a:gd name="connsiteX6" fmla="*/ 14956 w 40557"/>
                    <a:gd name="connsiteY6" fmla="*/ 28928 h 29842"/>
                    <a:gd name="connsiteX7" fmla="*/ 10648 w 40557"/>
                    <a:gd name="connsiteY7" fmla="*/ 29843 h 29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57" h="29842">
                      <a:moveTo>
                        <a:pt x="10648" y="29843"/>
                      </a:moveTo>
                      <a:cubicBezTo>
                        <a:pt x="6564" y="29843"/>
                        <a:pt x="2682" y="27481"/>
                        <a:pt x="916" y="23525"/>
                      </a:cubicBezTo>
                      <a:cubicBezTo>
                        <a:pt x="-1466" y="18154"/>
                        <a:pt x="959" y="11868"/>
                        <a:pt x="6319" y="9486"/>
                      </a:cubicBezTo>
                      <a:lnTo>
                        <a:pt x="25602" y="924"/>
                      </a:lnTo>
                      <a:cubicBezTo>
                        <a:pt x="31037" y="-1480"/>
                        <a:pt x="37259" y="977"/>
                        <a:pt x="39642" y="6327"/>
                      </a:cubicBezTo>
                      <a:cubicBezTo>
                        <a:pt x="42024" y="11698"/>
                        <a:pt x="39599" y="17984"/>
                        <a:pt x="34238" y="20366"/>
                      </a:cubicBezTo>
                      <a:lnTo>
                        <a:pt x="14956" y="28928"/>
                      </a:lnTo>
                      <a:cubicBezTo>
                        <a:pt x="13541" y="29556"/>
                        <a:pt x="12073" y="29843"/>
                        <a:pt x="10648" y="29843"/>
                      </a:cubicBezTo>
                      <a:close/>
                    </a:path>
                  </a:pathLst>
                </a:custGeom>
                <a:solidFill>
                  <a:schemeClr val="accent1"/>
                </a:solidFill>
                <a:ln w="1063" cap="flat">
                  <a:noFill/>
                  <a:prstDash val="solid"/>
                  <a:miter/>
                </a:ln>
              </p:spPr>
              <p:txBody>
                <a:bodyPr rtlCol="0" anchor="ctr"/>
                <a:lstStyle/>
                <a:p>
                  <a:endParaRPr lang="en-GB" dirty="0"/>
                </a:p>
              </p:txBody>
            </p:sp>
            <p:sp>
              <p:nvSpPr>
                <p:cNvPr id="578" name="Freeform: Shape 577">
                  <a:extLst>
                    <a:ext uri="{FF2B5EF4-FFF2-40B4-BE49-F238E27FC236}">
                      <a16:creationId xmlns:a16="http://schemas.microsoft.com/office/drawing/2014/main" id="{84DAFCE3-363E-496E-A2D6-69E8786C2892}"/>
                    </a:ext>
                  </a:extLst>
                </p:cNvPr>
                <p:cNvSpPr/>
                <p:nvPr/>
              </p:nvSpPr>
              <p:spPr>
                <a:xfrm>
                  <a:off x="5478433" y="4674716"/>
                  <a:ext cx="29974" cy="40222"/>
                </a:xfrm>
                <a:custGeom>
                  <a:avLst/>
                  <a:gdLst>
                    <a:gd name="connsiteX0" fmla="*/ 10632 w 29974"/>
                    <a:gd name="connsiteY0" fmla="*/ 40222 h 40222"/>
                    <a:gd name="connsiteX1" fmla="*/ 6207 w 29974"/>
                    <a:gd name="connsiteY1" fmla="*/ 39254 h 40222"/>
                    <a:gd name="connsiteX2" fmla="*/ 974 w 29974"/>
                    <a:gd name="connsiteY2" fmla="*/ 25152 h 40222"/>
                    <a:gd name="connsiteX3" fmla="*/ 9664 w 29974"/>
                    <a:gd name="connsiteY3" fmla="*/ 6198 h 40222"/>
                    <a:gd name="connsiteX4" fmla="*/ 23767 w 29974"/>
                    <a:gd name="connsiteY4" fmla="*/ 965 h 40222"/>
                    <a:gd name="connsiteX5" fmla="*/ 29000 w 29974"/>
                    <a:gd name="connsiteY5" fmla="*/ 15069 h 40222"/>
                    <a:gd name="connsiteX6" fmla="*/ 20311 w 29974"/>
                    <a:gd name="connsiteY6" fmla="*/ 34022 h 40222"/>
                    <a:gd name="connsiteX7" fmla="*/ 10632 w 29974"/>
                    <a:gd name="connsiteY7" fmla="*/ 40222 h 40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974" h="40222">
                      <a:moveTo>
                        <a:pt x="10632" y="40222"/>
                      </a:moveTo>
                      <a:cubicBezTo>
                        <a:pt x="9154" y="40222"/>
                        <a:pt x="7643" y="39914"/>
                        <a:pt x="6207" y="39254"/>
                      </a:cubicBezTo>
                      <a:cubicBezTo>
                        <a:pt x="868" y="36808"/>
                        <a:pt x="-1482" y="30491"/>
                        <a:pt x="974" y="25152"/>
                      </a:cubicBezTo>
                      <a:lnTo>
                        <a:pt x="9664" y="6198"/>
                      </a:lnTo>
                      <a:cubicBezTo>
                        <a:pt x="12121" y="859"/>
                        <a:pt x="18428" y="-1470"/>
                        <a:pt x="23767" y="965"/>
                      </a:cubicBezTo>
                      <a:cubicBezTo>
                        <a:pt x="29106" y="3412"/>
                        <a:pt x="31457" y="9730"/>
                        <a:pt x="29000" y="15069"/>
                      </a:cubicBezTo>
                      <a:lnTo>
                        <a:pt x="20311" y="34022"/>
                      </a:lnTo>
                      <a:cubicBezTo>
                        <a:pt x="18513" y="37925"/>
                        <a:pt x="14663" y="40222"/>
                        <a:pt x="10632" y="40222"/>
                      </a:cubicBezTo>
                      <a:close/>
                    </a:path>
                  </a:pathLst>
                </a:custGeom>
                <a:solidFill>
                  <a:schemeClr val="accent1"/>
                </a:solidFill>
                <a:ln w="1063" cap="flat">
                  <a:noFill/>
                  <a:prstDash val="solid"/>
                  <a:miter/>
                </a:ln>
              </p:spPr>
              <p:txBody>
                <a:bodyPr rtlCol="0" anchor="ctr"/>
                <a:lstStyle/>
                <a:p>
                  <a:endParaRPr lang="en-GB" dirty="0"/>
                </a:p>
              </p:txBody>
            </p:sp>
            <p:sp>
              <p:nvSpPr>
                <p:cNvPr id="579" name="Freeform: Shape 578">
                  <a:extLst>
                    <a:ext uri="{FF2B5EF4-FFF2-40B4-BE49-F238E27FC236}">
                      <a16:creationId xmlns:a16="http://schemas.microsoft.com/office/drawing/2014/main" id="{817436AF-5790-42A7-92D3-76F8AFA277F3}"/>
                    </a:ext>
                  </a:extLst>
                </p:cNvPr>
                <p:cNvSpPr/>
                <p:nvPr/>
              </p:nvSpPr>
              <p:spPr>
                <a:xfrm>
                  <a:off x="5583015" y="4445821"/>
                  <a:ext cx="30282" cy="40904"/>
                </a:xfrm>
                <a:custGeom>
                  <a:avLst/>
                  <a:gdLst>
                    <a:gd name="connsiteX0" fmla="*/ 10632 w 30282"/>
                    <a:gd name="connsiteY0" fmla="*/ 40904 h 40904"/>
                    <a:gd name="connsiteX1" fmla="*/ 6207 w 30282"/>
                    <a:gd name="connsiteY1" fmla="*/ 39936 h 40904"/>
                    <a:gd name="connsiteX2" fmla="*/ 975 w 30282"/>
                    <a:gd name="connsiteY2" fmla="*/ 25833 h 40904"/>
                    <a:gd name="connsiteX3" fmla="*/ 9972 w 30282"/>
                    <a:gd name="connsiteY3" fmla="*/ 6199 h 40904"/>
                    <a:gd name="connsiteX4" fmla="*/ 24076 w 30282"/>
                    <a:gd name="connsiteY4" fmla="*/ 966 h 40904"/>
                    <a:gd name="connsiteX5" fmla="*/ 29308 w 30282"/>
                    <a:gd name="connsiteY5" fmla="*/ 15070 h 40904"/>
                    <a:gd name="connsiteX6" fmla="*/ 20310 w 30282"/>
                    <a:gd name="connsiteY6" fmla="*/ 34704 h 40904"/>
                    <a:gd name="connsiteX7" fmla="*/ 10632 w 30282"/>
                    <a:gd name="connsiteY7" fmla="*/ 40904 h 40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82" h="40904">
                      <a:moveTo>
                        <a:pt x="10632" y="40904"/>
                      </a:moveTo>
                      <a:cubicBezTo>
                        <a:pt x="9153" y="40904"/>
                        <a:pt x="7654" y="40596"/>
                        <a:pt x="6207" y="39936"/>
                      </a:cubicBezTo>
                      <a:cubicBezTo>
                        <a:pt x="868" y="37490"/>
                        <a:pt x="-1482" y="31183"/>
                        <a:pt x="975" y="25833"/>
                      </a:cubicBezTo>
                      <a:lnTo>
                        <a:pt x="9972" y="6199"/>
                      </a:lnTo>
                      <a:cubicBezTo>
                        <a:pt x="12408" y="881"/>
                        <a:pt x="18694" y="-1480"/>
                        <a:pt x="24076" y="966"/>
                      </a:cubicBezTo>
                      <a:cubicBezTo>
                        <a:pt x="29415" y="3413"/>
                        <a:pt x="31765" y="9720"/>
                        <a:pt x="29308" y="15070"/>
                      </a:cubicBezTo>
                      <a:lnTo>
                        <a:pt x="20310" y="34704"/>
                      </a:lnTo>
                      <a:cubicBezTo>
                        <a:pt x="18524" y="38596"/>
                        <a:pt x="14663" y="40904"/>
                        <a:pt x="10632" y="40904"/>
                      </a:cubicBezTo>
                      <a:close/>
                    </a:path>
                  </a:pathLst>
                </a:custGeom>
                <a:solidFill>
                  <a:schemeClr val="accent1"/>
                </a:solidFill>
                <a:ln w="1063" cap="flat">
                  <a:noFill/>
                  <a:prstDash val="solid"/>
                  <a:miter/>
                </a:ln>
              </p:spPr>
              <p:txBody>
                <a:bodyPr rtlCol="0" anchor="ctr"/>
                <a:lstStyle/>
                <a:p>
                  <a:endParaRPr lang="en-GB" dirty="0"/>
                </a:p>
              </p:txBody>
            </p:sp>
          </p:grpSp>
          <p:sp>
            <p:nvSpPr>
              <p:cNvPr id="564" name="Freeform: Shape 563">
                <a:extLst>
                  <a:ext uri="{FF2B5EF4-FFF2-40B4-BE49-F238E27FC236}">
                    <a16:creationId xmlns:a16="http://schemas.microsoft.com/office/drawing/2014/main" id="{3DFB199D-2A2F-4D04-AEB9-8127D40855AF}"/>
                  </a:ext>
                </a:extLst>
              </p:cNvPr>
              <p:cNvSpPr/>
              <p:nvPr/>
            </p:nvSpPr>
            <p:spPr>
              <a:xfrm>
                <a:off x="5483145" y="4530487"/>
                <a:ext cx="31016" cy="26594"/>
              </a:xfrm>
              <a:custGeom>
                <a:avLst/>
                <a:gdLst>
                  <a:gd name="connsiteX0" fmla="*/ 10653 w 31016"/>
                  <a:gd name="connsiteY0" fmla="*/ 26594 h 26594"/>
                  <a:gd name="connsiteX1" fmla="*/ 1304 w 31016"/>
                  <a:gd name="connsiteY1" fmla="*/ 21053 h 26594"/>
                  <a:gd name="connsiteX2" fmla="*/ 5537 w 31016"/>
                  <a:gd name="connsiteY2" fmla="*/ 6620 h 26594"/>
                  <a:gd name="connsiteX3" fmla="*/ 15280 w 31016"/>
                  <a:gd name="connsiteY3" fmla="*/ 1302 h 26594"/>
                  <a:gd name="connsiteX4" fmla="*/ 29713 w 31016"/>
                  <a:gd name="connsiteY4" fmla="*/ 5535 h 26594"/>
                  <a:gd name="connsiteX5" fmla="*/ 25479 w 31016"/>
                  <a:gd name="connsiteY5" fmla="*/ 19968 h 26594"/>
                  <a:gd name="connsiteX6" fmla="*/ 15737 w 31016"/>
                  <a:gd name="connsiteY6" fmla="*/ 25286 h 26594"/>
                  <a:gd name="connsiteX7" fmla="*/ 10653 w 31016"/>
                  <a:gd name="connsiteY7" fmla="*/ 26594 h 26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16" h="26594">
                    <a:moveTo>
                      <a:pt x="10653" y="26594"/>
                    </a:moveTo>
                    <a:cubicBezTo>
                      <a:pt x="6888" y="26594"/>
                      <a:pt x="3240" y="24594"/>
                      <a:pt x="1304" y="21053"/>
                    </a:cubicBezTo>
                    <a:cubicBezTo>
                      <a:pt x="-1514" y="15894"/>
                      <a:pt x="389" y="9428"/>
                      <a:pt x="5537" y="6620"/>
                    </a:cubicBezTo>
                    <a:lnTo>
                      <a:pt x="15280" y="1302"/>
                    </a:lnTo>
                    <a:cubicBezTo>
                      <a:pt x="20448" y="-1517"/>
                      <a:pt x="26904" y="398"/>
                      <a:pt x="29713" y="5535"/>
                    </a:cubicBezTo>
                    <a:cubicBezTo>
                      <a:pt x="32531" y="10693"/>
                      <a:pt x="30627" y="17160"/>
                      <a:pt x="25479" y="19968"/>
                    </a:cubicBezTo>
                    <a:lnTo>
                      <a:pt x="15737" y="25286"/>
                    </a:lnTo>
                    <a:cubicBezTo>
                      <a:pt x="14120" y="26179"/>
                      <a:pt x="12376" y="26594"/>
                      <a:pt x="10653" y="26594"/>
                    </a:cubicBezTo>
                    <a:close/>
                  </a:path>
                </a:pathLst>
              </a:custGeom>
              <a:solidFill>
                <a:schemeClr val="accent1"/>
              </a:solidFill>
              <a:ln w="1063" cap="flat">
                <a:noFill/>
                <a:prstDash val="solid"/>
                <a:miter/>
              </a:ln>
            </p:spPr>
            <p:txBody>
              <a:bodyPr rtlCol="0" anchor="ctr"/>
              <a:lstStyle/>
              <a:p>
                <a:endParaRPr lang="en-GB" dirty="0"/>
              </a:p>
            </p:txBody>
          </p:sp>
          <p:sp>
            <p:nvSpPr>
              <p:cNvPr id="565" name="Freeform: Shape 564">
                <a:extLst>
                  <a:ext uri="{FF2B5EF4-FFF2-40B4-BE49-F238E27FC236}">
                    <a16:creationId xmlns:a16="http://schemas.microsoft.com/office/drawing/2014/main" id="{8F44FFA6-90B7-492D-B860-38A31038CD69}"/>
                  </a:ext>
                </a:extLst>
              </p:cNvPr>
              <p:cNvSpPr/>
              <p:nvPr/>
            </p:nvSpPr>
            <p:spPr>
              <a:xfrm>
                <a:off x="5532781" y="4609360"/>
                <a:ext cx="30137" cy="27478"/>
              </a:xfrm>
              <a:custGeom>
                <a:avLst/>
                <a:gdLst>
                  <a:gd name="connsiteX0" fmla="*/ 19482 w 30137"/>
                  <a:gd name="connsiteY0" fmla="*/ 27479 h 27478"/>
                  <a:gd name="connsiteX1" fmla="*/ 13399 w 30137"/>
                  <a:gd name="connsiteY1" fmla="*/ 25554 h 27478"/>
                  <a:gd name="connsiteX2" fmla="*/ 4539 w 30137"/>
                  <a:gd name="connsiteY2" fmla="*/ 19353 h 27478"/>
                  <a:gd name="connsiteX3" fmla="*/ 1923 w 30137"/>
                  <a:gd name="connsiteY3" fmla="*/ 4538 h 27478"/>
                  <a:gd name="connsiteX4" fmla="*/ 16739 w 30137"/>
                  <a:gd name="connsiteY4" fmla="*/ 1921 h 27478"/>
                  <a:gd name="connsiteX5" fmla="*/ 25598 w 30137"/>
                  <a:gd name="connsiteY5" fmla="*/ 8122 h 27478"/>
                  <a:gd name="connsiteX6" fmla="*/ 28215 w 30137"/>
                  <a:gd name="connsiteY6" fmla="*/ 22937 h 27478"/>
                  <a:gd name="connsiteX7" fmla="*/ 19482 w 30137"/>
                  <a:gd name="connsiteY7" fmla="*/ 27479 h 27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37" h="27478">
                    <a:moveTo>
                      <a:pt x="19482" y="27479"/>
                    </a:moveTo>
                    <a:cubicBezTo>
                      <a:pt x="17377" y="27479"/>
                      <a:pt x="15260" y="26852"/>
                      <a:pt x="13399" y="25554"/>
                    </a:cubicBezTo>
                    <a:lnTo>
                      <a:pt x="4539" y="19353"/>
                    </a:lnTo>
                    <a:cubicBezTo>
                      <a:pt x="-268" y="15992"/>
                      <a:pt x="-1449" y="9355"/>
                      <a:pt x="1923" y="4538"/>
                    </a:cubicBezTo>
                    <a:cubicBezTo>
                      <a:pt x="5284" y="-281"/>
                      <a:pt x="11910" y="-1440"/>
                      <a:pt x="16739" y="1921"/>
                    </a:cubicBezTo>
                    <a:lnTo>
                      <a:pt x="25598" y="8122"/>
                    </a:lnTo>
                    <a:cubicBezTo>
                      <a:pt x="30405" y="11483"/>
                      <a:pt x="31586" y="18120"/>
                      <a:pt x="28215" y="22937"/>
                    </a:cubicBezTo>
                    <a:cubicBezTo>
                      <a:pt x="26141" y="25905"/>
                      <a:pt x="22844" y="27479"/>
                      <a:pt x="19482" y="27479"/>
                    </a:cubicBezTo>
                    <a:close/>
                  </a:path>
                </a:pathLst>
              </a:custGeom>
              <a:solidFill>
                <a:schemeClr val="accent1"/>
              </a:solidFill>
              <a:ln w="1063" cap="flat">
                <a:noFill/>
                <a:prstDash val="solid"/>
                <a:miter/>
              </a:ln>
            </p:spPr>
            <p:txBody>
              <a:bodyPr rtlCol="0" anchor="ctr"/>
              <a:lstStyle/>
              <a:p>
                <a:endParaRPr lang="en-GB" dirty="0"/>
              </a:p>
            </p:txBody>
          </p:sp>
          <p:sp>
            <p:nvSpPr>
              <p:cNvPr id="566" name="Freeform: Shape 565">
                <a:extLst>
                  <a:ext uri="{FF2B5EF4-FFF2-40B4-BE49-F238E27FC236}">
                    <a16:creationId xmlns:a16="http://schemas.microsoft.com/office/drawing/2014/main" id="{8584E811-5191-4E02-9C2F-BD325EF1A158}"/>
                  </a:ext>
                </a:extLst>
              </p:cNvPr>
              <p:cNvSpPr/>
              <p:nvPr/>
            </p:nvSpPr>
            <p:spPr>
              <a:xfrm>
                <a:off x="5591277" y="4549998"/>
                <a:ext cx="26597" cy="31896"/>
              </a:xfrm>
              <a:custGeom>
                <a:avLst/>
                <a:gdLst>
                  <a:gd name="connsiteX0" fmla="*/ 10624 w 26597"/>
                  <a:gd name="connsiteY0" fmla="*/ 31897 h 31896"/>
                  <a:gd name="connsiteX1" fmla="*/ 5880 w 26597"/>
                  <a:gd name="connsiteY1" fmla="*/ 30780 h 31896"/>
                  <a:gd name="connsiteX2" fmla="*/ 1126 w 26597"/>
                  <a:gd name="connsiteY2" fmla="*/ 16507 h 31896"/>
                  <a:gd name="connsiteX3" fmla="*/ 6444 w 26597"/>
                  <a:gd name="connsiteY3" fmla="*/ 5871 h 31896"/>
                  <a:gd name="connsiteX4" fmla="*/ 20717 w 26597"/>
                  <a:gd name="connsiteY4" fmla="*/ 1116 h 31896"/>
                  <a:gd name="connsiteX5" fmla="*/ 25471 w 26597"/>
                  <a:gd name="connsiteY5" fmla="*/ 15390 h 31896"/>
                  <a:gd name="connsiteX6" fmla="*/ 20153 w 26597"/>
                  <a:gd name="connsiteY6" fmla="*/ 26026 h 31896"/>
                  <a:gd name="connsiteX7" fmla="*/ 10624 w 26597"/>
                  <a:gd name="connsiteY7" fmla="*/ 31897 h 31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97" h="31896">
                    <a:moveTo>
                      <a:pt x="10624" y="31897"/>
                    </a:moveTo>
                    <a:cubicBezTo>
                      <a:pt x="9028" y="31897"/>
                      <a:pt x="7401" y="31535"/>
                      <a:pt x="5880" y="30780"/>
                    </a:cubicBezTo>
                    <a:cubicBezTo>
                      <a:pt x="626" y="28153"/>
                      <a:pt x="-1501" y="21761"/>
                      <a:pt x="1126" y="16507"/>
                    </a:cubicBezTo>
                    <a:lnTo>
                      <a:pt x="6444" y="5871"/>
                    </a:lnTo>
                    <a:cubicBezTo>
                      <a:pt x="9081" y="617"/>
                      <a:pt x="15463" y="-1489"/>
                      <a:pt x="20717" y="1116"/>
                    </a:cubicBezTo>
                    <a:cubicBezTo>
                      <a:pt x="25971" y="3744"/>
                      <a:pt x="28098" y="10135"/>
                      <a:pt x="25471" y="15390"/>
                    </a:cubicBezTo>
                    <a:lnTo>
                      <a:pt x="20153" y="26026"/>
                    </a:lnTo>
                    <a:cubicBezTo>
                      <a:pt x="18281" y="29748"/>
                      <a:pt x="14527" y="31897"/>
                      <a:pt x="10624" y="31897"/>
                    </a:cubicBezTo>
                    <a:close/>
                  </a:path>
                </a:pathLst>
              </a:custGeom>
              <a:solidFill>
                <a:schemeClr val="accent1"/>
              </a:solidFill>
              <a:ln w="1063" cap="flat">
                <a:noFill/>
                <a:prstDash val="solid"/>
                <a:miter/>
              </a:ln>
            </p:spPr>
            <p:txBody>
              <a:bodyPr rtlCol="0" anchor="ctr"/>
              <a:lstStyle/>
              <a:p>
                <a:endParaRPr lang="en-GB" dirty="0"/>
              </a:p>
            </p:txBody>
          </p:sp>
        </p:grpSp>
        <p:grpSp>
          <p:nvGrpSpPr>
            <p:cNvPr id="555" name="Group 554">
              <a:extLst>
                <a:ext uri="{FF2B5EF4-FFF2-40B4-BE49-F238E27FC236}">
                  <a16:creationId xmlns:a16="http://schemas.microsoft.com/office/drawing/2014/main" id="{E9A1E3A6-B92F-49F3-8601-4A61374171E2}"/>
                </a:ext>
              </a:extLst>
            </p:cNvPr>
            <p:cNvGrpSpPr/>
            <p:nvPr/>
          </p:nvGrpSpPr>
          <p:grpSpPr>
            <a:xfrm>
              <a:off x="4921924" y="3210024"/>
              <a:ext cx="466942" cy="344367"/>
              <a:chOff x="2589384" y="4018840"/>
              <a:chExt cx="466942" cy="344367"/>
            </a:xfrm>
            <a:solidFill>
              <a:schemeClr val="tx2"/>
            </a:solidFill>
          </p:grpSpPr>
          <p:grpSp>
            <p:nvGrpSpPr>
              <p:cNvPr id="556" name="Graphic 818">
                <a:extLst>
                  <a:ext uri="{FF2B5EF4-FFF2-40B4-BE49-F238E27FC236}">
                    <a16:creationId xmlns:a16="http://schemas.microsoft.com/office/drawing/2014/main" id="{314BA586-3F37-42C7-8D43-7CD37DFE16E9}"/>
                  </a:ext>
                </a:extLst>
              </p:cNvPr>
              <p:cNvGrpSpPr/>
              <p:nvPr/>
            </p:nvGrpSpPr>
            <p:grpSpPr>
              <a:xfrm>
                <a:off x="2627364" y="4018840"/>
                <a:ext cx="428962" cy="344367"/>
                <a:chOff x="4900312" y="4120649"/>
                <a:chExt cx="669053" cy="537110"/>
              </a:xfrm>
              <a:grpFill/>
            </p:grpSpPr>
            <p:sp>
              <p:nvSpPr>
                <p:cNvPr id="561" name="Freeform: Shape 560">
                  <a:extLst>
                    <a:ext uri="{FF2B5EF4-FFF2-40B4-BE49-F238E27FC236}">
                      <a16:creationId xmlns:a16="http://schemas.microsoft.com/office/drawing/2014/main" id="{3DDE2969-6359-4401-8103-000A8C51F74B}"/>
                    </a:ext>
                  </a:extLst>
                </p:cNvPr>
                <p:cNvSpPr/>
                <p:nvPr/>
              </p:nvSpPr>
              <p:spPr>
                <a:xfrm>
                  <a:off x="4915276" y="4223817"/>
                  <a:ext cx="654089" cy="433942"/>
                </a:xfrm>
                <a:custGeom>
                  <a:avLst/>
                  <a:gdLst>
                    <a:gd name="connsiteX0" fmla="*/ 70521 w 654089"/>
                    <a:gd name="connsiteY0" fmla="*/ 433943 h 433942"/>
                    <a:gd name="connsiteX1" fmla="*/ 60002 w 654089"/>
                    <a:gd name="connsiteY1" fmla="*/ 424839 h 433942"/>
                    <a:gd name="connsiteX2" fmla="*/ 112 w 654089"/>
                    <a:gd name="connsiteY2" fmla="*/ 12167 h 433942"/>
                    <a:gd name="connsiteX3" fmla="*/ 2590 w 654089"/>
                    <a:gd name="connsiteY3" fmla="*/ 3680 h 433942"/>
                    <a:gd name="connsiteX4" fmla="*/ 10631 w 654089"/>
                    <a:gd name="connsiteY4" fmla="*/ 0 h 433942"/>
                    <a:gd name="connsiteX5" fmla="*/ 630839 w 654089"/>
                    <a:gd name="connsiteY5" fmla="*/ 0 h 433942"/>
                    <a:gd name="connsiteX6" fmla="*/ 641411 w 654089"/>
                    <a:gd name="connsiteY6" fmla="*/ 9487 h 433942"/>
                    <a:gd name="connsiteX7" fmla="*/ 654025 w 654089"/>
                    <a:gd name="connsiteY7" fmla="*/ 125397 h 433942"/>
                    <a:gd name="connsiteX8" fmla="*/ 644602 w 654089"/>
                    <a:gd name="connsiteY8" fmla="*/ 137128 h 433942"/>
                    <a:gd name="connsiteX9" fmla="*/ 632871 w 654089"/>
                    <a:gd name="connsiteY9" fmla="*/ 127705 h 433942"/>
                    <a:gd name="connsiteX10" fmla="*/ 621288 w 654089"/>
                    <a:gd name="connsiteY10" fmla="*/ 21272 h 433942"/>
                    <a:gd name="connsiteX11" fmla="*/ 22915 w 654089"/>
                    <a:gd name="connsiteY11" fmla="*/ 21272 h 433942"/>
                    <a:gd name="connsiteX12" fmla="*/ 79721 w 654089"/>
                    <a:gd name="connsiteY12" fmla="*/ 412650 h 433942"/>
                    <a:gd name="connsiteX13" fmla="*/ 458932 w 654089"/>
                    <a:gd name="connsiteY13" fmla="*/ 412001 h 433942"/>
                    <a:gd name="connsiteX14" fmla="*/ 458953 w 654089"/>
                    <a:gd name="connsiteY14" fmla="*/ 412001 h 433942"/>
                    <a:gd name="connsiteX15" fmla="*/ 469589 w 654089"/>
                    <a:gd name="connsiteY15" fmla="*/ 422616 h 433942"/>
                    <a:gd name="connsiteX16" fmla="*/ 458975 w 654089"/>
                    <a:gd name="connsiteY16" fmla="*/ 433273 h 433942"/>
                    <a:gd name="connsiteX17" fmla="*/ 70543 w 654089"/>
                    <a:gd name="connsiteY17" fmla="*/ 433943 h 433942"/>
                    <a:gd name="connsiteX18" fmla="*/ 70521 w 654089"/>
                    <a:gd name="connsiteY18" fmla="*/ 433943 h 43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4089" h="433942">
                      <a:moveTo>
                        <a:pt x="70521" y="433943"/>
                      </a:moveTo>
                      <a:cubicBezTo>
                        <a:pt x="65235" y="433943"/>
                        <a:pt x="60757" y="430072"/>
                        <a:pt x="60002" y="424839"/>
                      </a:cubicBezTo>
                      <a:lnTo>
                        <a:pt x="112" y="12167"/>
                      </a:lnTo>
                      <a:cubicBezTo>
                        <a:pt x="-335" y="9115"/>
                        <a:pt x="569" y="6020"/>
                        <a:pt x="2590" y="3680"/>
                      </a:cubicBezTo>
                      <a:cubicBezTo>
                        <a:pt x="4600" y="1340"/>
                        <a:pt x="7546" y="0"/>
                        <a:pt x="10631" y="0"/>
                      </a:cubicBezTo>
                      <a:lnTo>
                        <a:pt x="630839" y="0"/>
                      </a:lnTo>
                      <a:cubicBezTo>
                        <a:pt x="636274" y="0"/>
                        <a:pt x="640816" y="4095"/>
                        <a:pt x="641411" y="9487"/>
                      </a:cubicBezTo>
                      <a:lnTo>
                        <a:pt x="654025" y="125397"/>
                      </a:lnTo>
                      <a:cubicBezTo>
                        <a:pt x="654664" y="131236"/>
                        <a:pt x="650441" y="136490"/>
                        <a:pt x="644602" y="137128"/>
                      </a:cubicBezTo>
                      <a:cubicBezTo>
                        <a:pt x="638678" y="137691"/>
                        <a:pt x="633509" y="133544"/>
                        <a:pt x="632871" y="127705"/>
                      </a:cubicBezTo>
                      <a:lnTo>
                        <a:pt x="621288" y="21272"/>
                      </a:lnTo>
                      <a:lnTo>
                        <a:pt x="22915" y="21272"/>
                      </a:lnTo>
                      <a:lnTo>
                        <a:pt x="79721" y="412650"/>
                      </a:lnTo>
                      <a:lnTo>
                        <a:pt x="458932" y="412001"/>
                      </a:lnTo>
                      <a:cubicBezTo>
                        <a:pt x="458943" y="412001"/>
                        <a:pt x="458943" y="412001"/>
                        <a:pt x="458953" y="412001"/>
                      </a:cubicBezTo>
                      <a:cubicBezTo>
                        <a:pt x="464824" y="412001"/>
                        <a:pt x="469579" y="416745"/>
                        <a:pt x="469589" y="422616"/>
                      </a:cubicBezTo>
                      <a:cubicBezTo>
                        <a:pt x="469600" y="428498"/>
                        <a:pt x="464846" y="433262"/>
                        <a:pt x="458975" y="433273"/>
                      </a:cubicBezTo>
                      <a:lnTo>
                        <a:pt x="70543" y="433943"/>
                      </a:lnTo>
                      <a:cubicBezTo>
                        <a:pt x="70532" y="433943"/>
                        <a:pt x="70532" y="433943"/>
                        <a:pt x="70521" y="433943"/>
                      </a:cubicBezTo>
                      <a:close/>
                    </a:path>
                  </a:pathLst>
                </a:custGeom>
                <a:grpFill/>
                <a:ln w="1063" cap="flat">
                  <a:noFill/>
                  <a:prstDash val="solid"/>
                  <a:miter/>
                </a:ln>
              </p:spPr>
              <p:txBody>
                <a:bodyPr rtlCol="0" anchor="ctr"/>
                <a:lstStyle/>
                <a:p>
                  <a:endParaRPr lang="en-GB" dirty="0"/>
                </a:p>
              </p:txBody>
            </p:sp>
            <p:sp>
              <p:nvSpPr>
                <p:cNvPr id="562" name="Freeform: Shape 561">
                  <a:extLst>
                    <a:ext uri="{FF2B5EF4-FFF2-40B4-BE49-F238E27FC236}">
                      <a16:creationId xmlns:a16="http://schemas.microsoft.com/office/drawing/2014/main" id="{A02AB583-20E1-4BFB-B272-EC5591BD2F82}"/>
                    </a:ext>
                  </a:extLst>
                </p:cNvPr>
                <p:cNvSpPr/>
                <p:nvPr/>
              </p:nvSpPr>
              <p:spPr>
                <a:xfrm>
                  <a:off x="4900312" y="4120649"/>
                  <a:ext cx="656439" cy="124439"/>
                </a:xfrm>
                <a:custGeom>
                  <a:avLst/>
                  <a:gdLst>
                    <a:gd name="connsiteX0" fmla="*/ 645804 w 656439"/>
                    <a:gd name="connsiteY0" fmla="*/ 124440 h 124439"/>
                    <a:gd name="connsiteX1" fmla="*/ 25595 w 656439"/>
                    <a:gd name="connsiteY1" fmla="*/ 124440 h 124439"/>
                    <a:gd name="connsiteX2" fmla="*/ 15077 w 656439"/>
                    <a:gd name="connsiteY2" fmla="*/ 115335 h 124439"/>
                    <a:gd name="connsiteX3" fmla="*/ 112 w 656439"/>
                    <a:gd name="connsiteY3" fmla="*/ 12167 h 124439"/>
                    <a:gd name="connsiteX4" fmla="*/ 2590 w 656439"/>
                    <a:gd name="connsiteY4" fmla="*/ 3680 h 124439"/>
                    <a:gd name="connsiteX5" fmla="*/ 10631 w 656439"/>
                    <a:gd name="connsiteY5" fmla="*/ 0 h 124439"/>
                    <a:gd name="connsiteX6" fmla="*/ 634158 w 656439"/>
                    <a:gd name="connsiteY6" fmla="*/ 0 h 124439"/>
                    <a:gd name="connsiteX7" fmla="*/ 644730 w 656439"/>
                    <a:gd name="connsiteY7" fmla="*/ 9445 h 124439"/>
                    <a:gd name="connsiteX8" fmla="*/ 656376 w 656439"/>
                    <a:gd name="connsiteY8" fmla="*/ 112612 h 124439"/>
                    <a:gd name="connsiteX9" fmla="*/ 653738 w 656439"/>
                    <a:gd name="connsiteY9" fmla="*/ 120887 h 124439"/>
                    <a:gd name="connsiteX10" fmla="*/ 645804 w 656439"/>
                    <a:gd name="connsiteY10" fmla="*/ 124440 h 124439"/>
                    <a:gd name="connsiteX11" fmla="*/ 34806 w 656439"/>
                    <a:gd name="connsiteY11" fmla="*/ 103168 h 124439"/>
                    <a:gd name="connsiteX12" fmla="*/ 633902 w 656439"/>
                    <a:gd name="connsiteY12" fmla="*/ 103168 h 124439"/>
                    <a:gd name="connsiteX13" fmla="*/ 624660 w 656439"/>
                    <a:gd name="connsiteY13" fmla="*/ 21272 h 124439"/>
                    <a:gd name="connsiteX14" fmla="*/ 22926 w 656439"/>
                    <a:gd name="connsiteY14" fmla="*/ 21272 h 124439"/>
                    <a:gd name="connsiteX15" fmla="*/ 34806 w 656439"/>
                    <a:gd name="connsiteY15" fmla="*/ 103168 h 124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56439" h="124439">
                      <a:moveTo>
                        <a:pt x="645804" y="124440"/>
                      </a:moveTo>
                      <a:lnTo>
                        <a:pt x="25595" y="124440"/>
                      </a:lnTo>
                      <a:cubicBezTo>
                        <a:pt x="20309" y="124440"/>
                        <a:pt x="15832" y="120557"/>
                        <a:pt x="15077" y="115335"/>
                      </a:cubicBezTo>
                      <a:lnTo>
                        <a:pt x="112" y="12167"/>
                      </a:lnTo>
                      <a:cubicBezTo>
                        <a:pt x="-335" y="9115"/>
                        <a:pt x="569" y="6020"/>
                        <a:pt x="2590" y="3680"/>
                      </a:cubicBezTo>
                      <a:cubicBezTo>
                        <a:pt x="4600" y="1340"/>
                        <a:pt x="7546" y="0"/>
                        <a:pt x="10631" y="0"/>
                      </a:cubicBezTo>
                      <a:lnTo>
                        <a:pt x="634158" y="0"/>
                      </a:lnTo>
                      <a:cubicBezTo>
                        <a:pt x="639571" y="0"/>
                        <a:pt x="644124" y="4063"/>
                        <a:pt x="644730" y="9445"/>
                      </a:cubicBezTo>
                      <a:lnTo>
                        <a:pt x="656376" y="112612"/>
                      </a:lnTo>
                      <a:cubicBezTo>
                        <a:pt x="656706" y="115622"/>
                        <a:pt x="655749" y="118632"/>
                        <a:pt x="653738" y="120887"/>
                      </a:cubicBezTo>
                      <a:cubicBezTo>
                        <a:pt x="651717" y="123153"/>
                        <a:pt x="648835" y="124440"/>
                        <a:pt x="645804" y="124440"/>
                      </a:cubicBezTo>
                      <a:close/>
                      <a:moveTo>
                        <a:pt x="34806" y="103168"/>
                      </a:moveTo>
                      <a:lnTo>
                        <a:pt x="633902" y="103168"/>
                      </a:lnTo>
                      <a:lnTo>
                        <a:pt x="624660" y="21272"/>
                      </a:lnTo>
                      <a:lnTo>
                        <a:pt x="22926" y="21272"/>
                      </a:lnTo>
                      <a:lnTo>
                        <a:pt x="34806" y="103168"/>
                      </a:lnTo>
                      <a:close/>
                    </a:path>
                  </a:pathLst>
                </a:custGeom>
                <a:grpFill/>
                <a:ln w="1063" cap="flat">
                  <a:noFill/>
                  <a:prstDash val="solid"/>
                  <a:miter/>
                </a:ln>
              </p:spPr>
              <p:txBody>
                <a:bodyPr rtlCol="0" anchor="ctr"/>
                <a:lstStyle/>
                <a:p>
                  <a:endParaRPr lang="en-GB" dirty="0"/>
                </a:p>
              </p:txBody>
            </p:sp>
          </p:grpSp>
          <p:sp>
            <p:nvSpPr>
              <p:cNvPr id="557" name="Freeform: Shape 556">
                <a:extLst>
                  <a:ext uri="{FF2B5EF4-FFF2-40B4-BE49-F238E27FC236}">
                    <a16:creationId xmlns:a16="http://schemas.microsoft.com/office/drawing/2014/main" id="{410CE7E1-2E9A-49FA-85D1-9E9B22668940}"/>
                  </a:ext>
                </a:extLst>
              </p:cNvPr>
              <p:cNvSpPr/>
              <p:nvPr/>
            </p:nvSpPr>
            <p:spPr>
              <a:xfrm>
                <a:off x="2589384" y="4019757"/>
                <a:ext cx="57628" cy="343450"/>
              </a:xfrm>
              <a:custGeom>
                <a:avLst/>
                <a:gdLst>
                  <a:gd name="connsiteX0" fmla="*/ 79248 w 89883"/>
                  <a:gd name="connsiteY0" fmla="*/ 535680 h 535680"/>
                  <a:gd name="connsiteX1" fmla="*/ 79216 w 89883"/>
                  <a:gd name="connsiteY1" fmla="*/ 535680 h 535680"/>
                  <a:gd name="connsiteX2" fmla="*/ 10604 w 89883"/>
                  <a:gd name="connsiteY2" fmla="*/ 535500 h 535680"/>
                  <a:gd name="connsiteX3" fmla="*/ 2702 w 89883"/>
                  <a:gd name="connsiteY3" fmla="*/ 531937 h 535680"/>
                  <a:gd name="connsiteX4" fmla="*/ 64 w 89883"/>
                  <a:gd name="connsiteY4" fmla="*/ 523672 h 535680"/>
                  <a:gd name="connsiteX5" fmla="*/ 57976 w 89883"/>
                  <a:gd name="connsiteY5" fmla="*/ 9440 h 535680"/>
                  <a:gd name="connsiteX6" fmla="*/ 69739 w 89883"/>
                  <a:gd name="connsiteY6" fmla="*/ 59 h 535680"/>
                  <a:gd name="connsiteX7" fmla="*/ 79120 w 89883"/>
                  <a:gd name="connsiteY7" fmla="*/ 11822 h 535680"/>
                  <a:gd name="connsiteX8" fmla="*/ 22527 w 89883"/>
                  <a:gd name="connsiteY8" fmla="*/ 514249 h 535680"/>
                  <a:gd name="connsiteX9" fmla="*/ 79280 w 89883"/>
                  <a:gd name="connsiteY9" fmla="*/ 514398 h 535680"/>
                  <a:gd name="connsiteX10" fmla="*/ 89884 w 89883"/>
                  <a:gd name="connsiteY10" fmla="*/ 525066 h 535680"/>
                  <a:gd name="connsiteX11" fmla="*/ 79248 w 89883"/>
                  <a:gd name="connsiteY11" fmla="*/ 535680 h 53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9883" h="535680">
                    <a:moveTo>
                      <a:pt x="79248" y="535680"/>
                    </a:moveTo>
                    <a:cubicBezTo>
                      <a:pt x="79237" y="535680"/>
                      <a:pt x="79226" y="535680"/>
                      <a:pt x="79216" y="535680"/>
                    </a:cubicBezTo>
                    <a:lnTo>
                      <a:pt x="10604" y="535500"/>
                    </a:lnTo>
                    <a:cubicBezTo>
                      <a:pt x="7584" y="535489"/>
                      <a:pt x="4701" y="534202"/>
                      <a:pt x="2702" y="531937"/>
                    </a:cubicBezTo>
                    <a:cubicBezTo>
                      <a:pt x="691" y="529682"/>
                      <a:pt x="-266" y="526683"/>
                      <a:pt x="64" y="523672"/>
                    </a:cubicBezTo>
                    <a:lnTo>
                      <a:pt x="57976" y="9440"/>
                    </a:lnTo>
                    <a:cubicBezTo>
                      <a:pt x="58636" y="3601"/>
                      <a:pt x="63847" y="-548"/>
                      <a:pt x="69739" y="59"/>
                    </a:cubicBezTo>
                    <a:cubicBezTo>
                      <a:pt x="75578" y="729"/>
                      <a:pt x="79769" y="5994"/>
                      <a:pt x="79120" y="11822"/>
                    </a:cubicBezTo>
                    <a:lnTo>
                      <a:pt x="22527" y="514249"/>
                    </a:lnTo>
                    <a:lnTo>
                      <a:pt x="79280" y="514398"/>
                    </a:lnTo>
                    <a:cubicBezTo>
                      <a:pt x="85151" y="514409"/>
                      <a:pt x="89894" y="519184"/>
                      <a:pt x="89884" y="525066"/>
                    </a:cubicBezTo>
                    <a:cubicBezTo>
                      <a:pt x="89873" y="530937"/>
                      <a:pt x="85108" y="535680"/>
                      <a:pt x="79248" y="535680"/>
                    </a:cubicBezTo>
                    <a:close/>
                  </a:path>
                </a:pathLst>
              </a:custGeom>
              <a:grpFill/>
              <a:ln w="1063" cap="flat">
                <a:noFill/>
                <a:prstDash val="solid"/>
                <a:miter/>
              </a:ln>
            </p:spPr>
            <p:txBody>
              <a:bodyPr rtlCol="0" anchor="ctr"/>
              <a:lstStyle/>
              <a:p>
                <a:endParaRPr lang="en-GB" dirty="0"/>
              </a:p>
            </p:txBody>
          </p:sp>
          <p:grpSp>
            <p:nvGrpSpPr>
              <p:cNvPr id="558" name="Graphic 818">
                <a:extLst>
                  <a:ext uri="{FF2B5EF4-FFF2-40B4-BE49-F238E27FC236}">
                    <a16:creationId xmlns:a16="http://schemas.microsoft.com/office/drawing/2014/main" id="{A1713830-80E2-4A09-8857-7C3B1497640F}"/>
                  </a:ext>
                </a:extLst>
              </p:cNvPr>
              <p:cNvGrpSpPr/>
              <p:nvPr/>
            </p:nvGrpSpPr>
            <p:grpSpPr>
              <a:xfrm>
                <a:off x="2709659" y="4148138"/>
                <a:ext cx="186505" cy="149012"/>
                <a:chOff x="5028668" y="4322315"/>
                <a:chExt cx="290893" cy="232415"/>
              </a:xfrm>
              <a:grpFill/>
            </p:grpSpPr>
            <p:sp>
              <p:nvSpPr>
                <p:cNvPr id="559" name="Freeform: Shape 558">
                  <a:extLst>
                    <a:ext uri="{FF2B5EF4-FFF2-40B4-BE49-F238E27FC236}">
                      <a16:creationId xmlns:a16="http://schemas.microsoft.com/office/drawing/2014/main" id="{71EEAC6B-4A43-4946-999B-82129CBD1C05}"/>
                    </a:ext>
                  </a:extLst>
                </p:cNvPr>
                <p:cNvSpPr/>
                <p:nvPr/>
              </p:nvSpPr>
              <p:spPr>
                <a:xfrm>
                  <a:off x="5028668" y="4322422"/>
                  <a:ext cx="67175" cy="232308"/>
                </a:xfrm>
                <a:custGeom>
                  <a:avLst/>
                  <a:gdLst>
                    <a:gd name="connsiteX0" fmla="*/ 65605 w 67175"/>
                    <a:gd name="connsiteY0" fmla="*/ 5882 h 232308"/>
                    <a:gd name="connsiteX1" fmla="*/ 58766 w 67175"/>
                    <a:gd name="connsiteY1" fmla="*/ 511 h 232308"/>
                    <a:gd name="connsiteX2" fmla="*/ 49407 w 67175"/>
                    <a:gd name="connsiteY2" fmla="*/ 1479 h 232308"/>
                    <a:gd name="connsiteX3" fmla="*/ 6214 w 67175"/>
                    <a:gd name="connsiteY3" fmla="*/ 27728 h 232308"/>
                    <a:gd name="connsiteX4" fmla="*/ 524 w 67175"/>
                    <a:gd name="connsiteY4" fmla="*/ 34312 h 232308"/>
                    <a:gd name="connsiteX5" fmla="*/ 1641 w 67175"/>
                    <a:gd name="connsiteY5" fmla="*/ 43905 h 232308"/>
                    <a:gd name="connsiteX6" fmla="*/ 11851 w 67175"/>
                    <a:gd name="connsiteY6" fmla="*/ 49765 h 232308"/>
                    <a:gd name="connsiteX7" fmla="*/ 17754 w 67175"/>
                    <a:gd name="connsiteY7" fmla="*/ 47904 h 232308"/>
                    <a:gd name="connsiteX8" fmla="*/ 43631 w 67175"/>
                    <a:gd name="connsiteY8" fmla="*/ 32759 h 232308"/>
                    <a:gd name="connsiteX9" fmla="*/ 43631 w 67175"/>
                    <a:gd name="connsiteY9" fmla="*/ 220588 h 232308"/>
                    <a:gd name="connsiteX10" fmla="*/ 55331 w 67175"/>
                    <a:gd name="connsiteY10" fmla="*/ 232309 h 232308"/>
                    <a:gd name="connsiteX11" fmla="*/ 67062 w 67175"/>
                    <a:gd name="connsiteY11" fmla="*/ 220588 h 232308"/>
                    <a:gd name="connsiteX12" fmla="*/ 67009 w 67175"/>
                    <a:gd name="connsiteY12" fmla="*/ 14199 h 232308"/>
                    <a:gd name="connsiteX13" fmla="*/ 65605 w 67175"/>
                    <a:gd name="connsiteY13" fmla="*/ 5882 h 232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175" h="232308">
                      <a:moveTo>
                        <a:pt x="65605" y="5882"/>
                      </a:moveTo>
                      <a:cubicBezTo>
                        <a:pt x="64222" y="3319"/>
                        <a:pt x="61797" y="1404"/>
                        <a:pt x="58766" y="511"/>
                      </a:cubicBezTo>
                      <a:cubicBezTo>
                        <a:pt x="55607" y="-404"/>
                        <a:pt x="52268" y="-95"/>
                        <a:pt x="49407" y="1479"/>
                      </a:cubicBezTo>
                      <a:lnTo>
                        <a:pt x="6214" y="27728"/>
                      </a:lnTo>
                      <a:cubicBezTo>
                        <a:pt x="3449" y="29111"/>
                        <a:pt x="1428" y="31451"/>
                        <a:pt x="524" y="34312"/>
                      </a:cubicBezTo>
                      <a:cubicBezTo>
                        <a:pt x="-444" y="37364"/>
                        <a:pt x="-71" y="40736"/>
                        <a:pt x="1641" y="43905"/>
                      </a:cubicBezTo>
                      <a:cubicBezTo>
                        <a:pt x="3736" y="47521"/>
                        <a:pt x="7650" y="49765"/>
                        <a:pt x="11851" y="49765"/>
                      </a:cubicBezTo>
                      <a:cubicBezTo>
                        <a:pt x="14170" y="49765"/>
                        <a:pt x="16520" y="48734"/>
                        <a:pt x="17754" y="47904"/>
                      </a:cubicBezTo>
                      <a:lnTo>
                        <a:pt x="43631" y="32759"/>
                      </a:lnTo>
                      <a:lnTo>
                        <a:pt x="43631" y="220588"/>
                      </a:lnTo>
                      <a:cubicBezTo>
                        <a:pt x="43631" y="226938"/>
                        <a:pt x="48992" y="232309"/>
                        <a:pt x="55331" y="232309"/>
                      </a:cubicBezTo>
                      <a:cubicBezTo>
                        <a:pt x="61904" y="232309"/>
                        <a:pt x="67062" y="227172"/>
                        <a:pt x="67062" y="220588"/>
                      </a:cubicBezTo>
                      <a:lnTo>
                        <a:pt x="67009" y="14199"/>
                      </a:lnTo>
                      <a:cubicBezTo>
                        <a:pt x="67456" y="11413"/>
                        <a:pt x="67009" y="8637"/>
                        <a:pt x="65605" y="5882"/>
                      </a:cubicBezTo>
                      <a:close/>
                    </a:path>
                  </a:pathLst>
                </a:custGeom>
                <a:grpFill/>
                <a:ln w="1063" cap="flat">
                  <a:noFill/>
                  <a:prstDash val="solid"/>
                  <a:miter/>
                </a:ln>
              </p:spPr>
              <p:txBody>
                <a:bodyPr rtlCol="0" anchor="ctr"/>
                <a:lstStyle/>
                <a:p>
                  <a:endParaRPr lang="en-GB" dirty="0"/>
                </a:p>
              </p:txBody>
            </p:sp>
            <p:sp>
              <p:nvSpPr>
                <p:cNvPr id="560" name="Freeform: Shape 559">
                  <a:extLst>
                    <a:ext uri="{FF2B5EF4-FFF2-40B4-BE49-F238E27FC236}">
                      <a16:creationId xmlns:a16="http://schemas.microsoft.com/office/drawing/2014/main" id="{1E0A41DF-9803-449F-B58B-A166024AD95B}"/>
                    </a:ext>
                  </a:extLst>
                </p:cNvPr>
                <p:cNvSpPr/>
                <p:nvPr/>
              </p:nvSpPr>
              <p:spPr>
                <a:xfrm>
                  <a:off x="5141867" y="4322315"/>
                  <a:ext cx="177694" cy="232404"/>
                </a:xfrm>
                <a:custGeom>
                  <a:avLst/>
                  <a:gdLst>
                    <a:gd name="connsiteX0" fmla="*/ 165623 w 177694"/>
                    <a:gd name="connsiteY0" fmla="*/ 162623 h 232404"/>
                    <a:gd name="connsiteX1" fmla="*/ 154487 w 177694"/>
                    <a:gd name="connsiteY1" fmla="*/ 162623 h 232404"/>
                    <a:gd name="connsiteX2" fmla="*/ 154487 w 177694"/>
                    <a:gd name="connsiteY2" fmla="*/ 11094 h 232404"/>
                    <a:gd name="connsiteX3" fmla="*/ 154178 w 177694"/>
                    <a:gd name="connsiteY3" fmla="*/ 9807 h 232404"/>
                    <a:gd name="connsiteX4" fmla="*/ 153477 w 177694"/>
                    <a:gd name="connsiteY4" fmla="*/ 7435 h 232404"/>
                    <a:gd name="connsiteX5" fmla="*/ 150137 w 177694"/>
                    <a:gd name="connsiteY5" fmla="*/ 2862 h 232404"/>
                    <a:gd name="connsiteX6" fmla="*/ 141362 w 177694"/>
                    <a:gd name="connsiteY6" fmla="*/ 43 h 232404"/>
                    <a:gd name="connsiteX7" fmla="*/ 133247 w 177694"/>
                    <a:gd name="connsiteY7" fmla="*/ 4723 h 232404"/>
                    <a:gd name="connsiteX8" fmla="*/ 3011 w 177694"/>
                    <a:gd name="connsiteY8" fmla="*/ 166814 h 232404"/>
                    <a:gd name="connsiteX9" fmla="*/ 65 w 177694"/>
                    <a:gd name="connsiteY9" fmla="*/ 175801 h 232404"/>
                    <a:gd name="connsiteX10" fmla="*/ 4106 w 177694"/>
                    <a:gd name="connsiteY10" fmla="*/ 183257 h 232404"/>
                    <a:gd name="connsiteX11" fmla="*/ 12732 w 177694"/>
                    <a:gd name="connsiteY11" fmla="*/ 186022 h 232404"/>
                    <a:gd name="connsiteX12" fmla="*/ 130758 w 177694"/>
                    <a:gd name="connsiteY12" fmla="*/ 186022 h 232404"/>
                    <a:gd name="connsiteX13" fmla="*/ 130758 w 177694"/>
                    <a:gd name="connsiteY13" fmla="*/ 220684 h 232404"/>
                    <a:gd name="connsiteX14" fmla="*/ 142479 w 177694"/>
                    <a:gd name="connsiteY14" fmla="*/ 232405 h 232404"/>
                    <a:gd name="connsiteX15" fmla="*/ 154519 w 177694"/>
                    <a:gd name="connsiteY15" fmla="*/ 220684 h 232404"/>
                    <a:gd name="connsiteX16" fmla="*/ 154519 w 177694"/>
                    <a:gd name="connsiteY16" fmla="*/ 186022 h 232404"/>
                    <a:gd name="connsiteX17" fmla="*/ 165655 w 177694"/>
                    <a:gd name="connsiteY17" fmla="*/ 186022 h 232404"/>
                    <a:gd name="connsiteX18" fmla="*/ 177694 w 177694"/>
                    <a:gd name="connsiteY18" fmla="*/ 174323 h 232404"/>
                    <a:gd name="connsiteX19" fmla="*/ 165623 w 177694"/>
                    <a:gd name="connsiteY19" fmla="*/ 162623 h 232404"/>
                    <a:gd name="connsiteX20" fmla="*/ 130726 w 177694"/>
                    <a:gd name="connsiteY20" fmla="*/ 45895 h 232404"/>
                    <a:gd name="connsiteX21" fmla="*/ 130726 w 177694"/>
                    <a:gd name="connsiteY21" fmla="*/ 162623 h 232404"/>
                    <a:gd name="connsiteX22" fmla="*/ 36493 w 177694"/>
                    <a:gd name="connsiteY22" fmla="*/ 162623 h 232404"/>
                    <a:gd name="connsiteX23" fmla="*/ 130726 w 177694"/>
                    <a:gd name="connsiteY23" fmla="*/ 45895 h 23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77694" h="232404">
                      <a:moveTo>
                        <a:pt x="165623" y="162623"/>
                      </a:moveTo>
                      <a:lnTo>
                        <a:pt x="154487" y="162623"/>
                      </a:lnTo>
                      <a:lnTo>
                        <a:pt x="154487" y="11094"/>
                      </a:lnTo>
                      <a:cubicBezTo>
                        <a:pt x="154487" y="10584"/>
                        <a:pt x="154359" y="10286"/>
                        <a:pt x="154178" y="9807"/>
                      </a:cubicBezTo>
                      <a:cubicBezTo>
                        <a:pt x="154178" y="9190"/>
                        <a:pt x="153732" y="7988"/>
                        <a:pt x="153477" y="7435"/>
                      </a:cubicBezTo>
                      <a:cubicBezTo>
                        <a:pt x="152796" y="6053"/>
                        <a:pt x="151860" y="4149"/>
                        <a:pt x="150137" y="2862"/>
                      </a:cubicBezTo>
                      <a:cubicBezTo>
                        <a:pt x="147542" y="735"/>
                        <a:pt x="144393" y="-222"/>
                        <a:pt x="141362" y="43"/>
                      </a:cubicBezTo>
                      <a:cubicBezTo>
                        <a:pt x="138363" y="352"/>
                        <a:pt x="135598" y="1905"/>
                        <a:pt x="133247" y="4723"/>
                      </a:cubicBezTo>
                      <a:lnTo>
                        <a:pt x="3011" y="166814"/>
                      </a:lnTo>
                      <a:cubicBezTo>
                        <a:pt x="799" y="169249"/>
                        <a:pt x="-286" y="172514"/>
                        <a:pt x="65" y="175801"/>
                      </a:cubicBezTo>
                      <a:cubicBezTo>
                        <a:pt x="394" y="178960"/>
                        <a:pt x="2054" y="181832"/>
                        <a:pt x="4106" y="183257"/>
                      </a:cubicBezTo>
                      <a:cubicBezTo>
                        <a:pt x="5946" y="185086"/>
                        <a:pt x="8520" y="186022"/>
                        <a:pt x="12732" y="186022"/>
                      </a:cubicBezTo>
                      <a:lnTo>
                        <a:pt x="130758" y="186022"/>
                      </a:lnTo>
                      <a:lnTo>
                        <a:pt x="130758" y="220684"/>
                      </a:lnTo>
                      <a:cubicBezTo>
                        <a:pt x="130758" y="227034"/>
                        <a:pt x="136129" y="232405"/>
                        <a:pt x="142479" y="232405"/>
                      </a:cubicBezTo>
                      <a:cubicBezTo>
                        <a:pt x="149116" y="232405"/>
                        <a:pt x="154519" y="227151"/>
                        <a:pt x="154519" y="220684"/>
                      </a:cubicBezTo>
                      <a:lnTo>
                        <a:pt x="154519" y="186022"/>
                      </a:lnTo>
                      <a:lnTo>
                        <a:pt x="165655" y="186022"/>
                      </a:lnTo>
                      <a:cubicBezTo>
                        <a:pt x="172291" y="186022"/>
                        <a:pt x="177694" y="180778"/>
                        <a:pt x="177694" y="174323"/>
                      </a:cubicBezTo>
                      <a:cubicBezTo>
                        <a:pt x="177652" y="167877"/>
                        <a:pt x="172259" y="162623"/>
                        <a:pt x="165623" y="162623"/>
                      </a:cubicBezTo>
                      <a:close/>
                      <a:moveTo>
                        <a:pt x="130726" y="45895"/>
                      </a:moveTo>
                      <a:lnTo>
                        <a:pt x="130726" y="162623"/>
                      </a:lnTo>
                      <a:lnTo>
                        <a:pt x="36493" y="162623"/>
                      </a:lnTo>
                      <a:lnTo>
                        <a:pt x="130726" y="45895"/>
                      </a:lnTo>
                      <a:close/>
                    </a:path>
                  </a:pathLst>
                </a:custGeom>
                <a:grpFill/>
                <a:ln w="1063" cap="flat">
                  <a:noFill/>
                  <a:prstDash val="solid"/>
                  <a:miter/>
                </a:ln>
              </p:spPr>
              <p:txBody>
                <a:bodyPr rtlCol="0" anchor="ctr"/>
                <a:lstStyle/>
                <a:p>
                  <a:endParaRPr lang="en-GB" dirty="0"/>
                </a:p>
              </p:txBody>
            </p:sp>
          </p:grpSp>
        </p:grpSp>
      </p:grpSp>
      <p:grpSp>
        <p:nvGrpSpPr>
          <p:cNvPr id="41" name="Group 40">
            <a:extLst>
              <a:ext uri="{FF2B5EF4-FFF2-40B4-BE49-F238E27FC236}">
                <a16:creationId xmlns:a16="http://schemas.microsoft.com/office/drawing/2014/main" id="{FBA37FDA-436F-A936-4337-B3FE02028066}"/>
              </a:ext>
            </a:extLst>
          </p:cNvPr>
          <p:cNvGrpSpPr/>
          <p:nvPr/>
        </p:nvGrpSpPr>
        <p:grpSpPr>
          <a:xfrm>
            <a:off x="6051826" y="3217788"/>
            <a:ext cx="409151" cy="409149"/>
            <a:chOff x="6051414" y="3217788"/>
            <a:chExt cx="409151" cy="409149"/>
          </a:xfrm>
        </p:grpSpPr>
        <p:grpSp>
          <p:nvGrpSpPr>
            <p:cNvPr id="603" name="Group 602">
              <a:extLst>
                <a:ext uri="{FF2B5EF4-FFF2-40B4-BE49-F238E27FC236}">
                  <a16:creationId xmlns:a16="http://schemas.microsoft.com/office/drawing/2014/main" id="{4DCFA89B-5E77-4EB8-B699-8236DC7CC9CA}"/>
                </a:ext>
              </a:extLst>
            </p:cNvPr>
            <p:cNvGrpSpPr/>
            <p:nvPr/>
          </p:nvGrpSpPr>
          <p:grpSpPr>
            <a:xfrm>
              <a:off x="6051414" y="3217788"/>
              <a:ext cx="409151" cy="409149"/>
              <a:chOff x="3718875" y="4020559"/>
              <a:chExt cx="409151" cy="409149"/>
            </a:xfrm>
            <a:solidFill>
              <a:schemeClr val="tx2"/>
            </a:solidFill>
          </p:grpSpPr>
          <p:grpSp>
            <p:nvGrpSpPr>
              <p:cNvPr id="616" name="Graphic 818">
                <a:extLst>
                  <a:ext uri="{FF2B5EF4-FFF2-40B4-BE49-F238E27FC236}">
                    <a16:creationId xmlns:a16="http://schemas.microsoft.com/office/drawing/2014/main" id="{0DDB57DB-3ED4-4E95-9E9F-C55C00B6C441}"/>
                  </a:ext>
                </a:extLst>
              </p:cNvPr>
              <p:cNvGrpSpPr/>
              <p:nvPr/>
            </p:nvGrpSpPr>
            <p:grpSpPr>
              <a:xfrm>
                <a:off x="3718875" y="4191610"/>
                <a:ext cx="93872" cy="66064"/>
                <a:chOff x="6318587" y="4390119"/>
                <a:chExt cx="146413" cy="103040"/>
              </a:xfrm>
              <a:grpFill/>
            </p:grpSpPr>
            <p:sp>
              <p:nvSpPr>
                <p:cNvPr id="648" name="Freeform: Shape 647">
                  <a:extLst>
                    <a:ext uri="{FF2B5EF4-FFF2-40B4-BE49-F238E27FC236}">
                      <a16:creationId xmlns:a16="http://schemas.microsoft.com/office/drawing/2014/main" id="{F89FE0B5-D115-42B3-83AD-AC170B3C555A}"/>
                    </a:ext>
                  </a:extLst>
                </p:cNvPr>
                <p:cNvSpPr/>
                <p:nvPr/>
              </p:nvSpPr>
              <p:spPr>
                <a:xfrm>
                  <a:off x="6318587" y="4390119"/>
                  <a:ext cx="88649" cy="103040"/>
                </a:xfrm>
                <a:custGeom>
                  <a:avLst/>
                  <a:gdLst>
                    <a:gd name="connsiteX0" fmla="*/ 37311 w 88649"/>
                    <a:gd name="connsiteY0" fmla="*/ 103040 h 103040"/>
                    <a:gd name="connsiteX1" fmla="*/ 0 w 88649"/>
                    <a:gd name="connsiteY1" fmla="*/ 51690 h 103040"/>
                    <a:gd name="connsiteX2" fmla="*/ 35896 w 88649"/>
                    <a:gd name="connsiteY2" fmla="*/ 0 h 103040"/>
                    <a:gd name="connsiteX3" fmla="*/ 88650 w 88649"/>
                    <a:gd name="connsiteY3" fmla="*/ 51690 h 103040"/>
                    <a:gd name="connsiteX4" fmla="*/ 37311 w 88649"/>
                    <a:gd name="connsiteY4" fmla="*/ 103040 h 103040"/>
                    <a:gd name="connsiteX5" fmla="*/ 35896 w 88649"/>
                    <a:gd name="connsiteY5" fmla="*/ 21272 h 103040"/>
                    <a:gd name="connsiteX6" fmla="*/ 21272 w 88649"/>
                    <a:gd name="connsiteY6" fmla="*/ 51690 h 103040"/>
                    <a:gd name="connsiteX7" fmla="*/ 37311 w 88649"/>
                    <a:gd name="connsiteY7" fmla="*/ 81768 h 103040"/>
                    <a:gd name="connsiteX8" fmla="*/ 67378 w 88649"/>
                    <a:gd name="connsiteY8" fmla="*/ 51690 h 103040"/>
                    <a:gd name="connsiteX9" fmla="*/ 35896 w 88649"/>
                    <a:gd name="connsiteY9" fmla="*/ 21272 h 10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649" h="103040">
                      <a:moveTo>
                        <a:pt x="37311" y="103040"/>
                      </a:moveTo>
                      <a:cubicBezTo>
                        <a:pt x="14997" y="103040"/>
                        <a:pt x="0" y="82407"/>
                        <a:pt x="0" y="51690"/>
                      </a:cubicBezTo>
                      <a:cubicBezTo>
                        <a:pt x="0" y="20293"/>
                        <a:pt x="14093" y="0"/>
                        <a:pt x="35896" y="0"/>
                      </a:cubicBezTo>
                      <a:cubicBezTo>
                        <a:pt x="61039" y="0"/>
                        <a:pt x="88650" y="27058"/>
                        <a:pt x="88650" y="51690"/>
                      </a:cubicBezTo>
                      <a:cubicBezTo>
                        <a:pt x="88650" y="76652"/>
                        <a:pt x="62262" y="103040"/>
                        <a:pt x="37311" y="103040"/>
                      </a:cubicBezTo>
                      <a:close/>
                      <a:moveTo>
                        <a:pt x="35896" y="21272"/>
                      </a:moveTo>
                      <a:cubicBezTo>
                        <a:pt x="21687" y="21272"/>
                        <a:pt x="21272" y="48574"/>
                        <a:pt x="21272" y="51690"/>
                      </a:cubicBezTo>
                      <a:cubicBezTo>
                        <a:pt x="21272" y="62102"/>
                        <a:pt x="24622" y="81768"/>
                        <a:pt x="37311" y="81768"/>
                      </a:cubicBezTo>
                      <a:cubicBezTo>
                        <a:pt x="50520" y="81768"/>
                        <a:pt x="67378" y="64900"/>
                        <a:pt x="67378" y="51690"/>
                      </a:cubicBezTo>
                      <a:cubicBezTo>
                        <a:pt x="67378" y="37587"/>
                        <a:pt x="48330" y="21272"/>
                        <a:pt x="35896" y="21272"/>
                      </a:cubicBezTo>
                      <a:close/>
                    </a:path>
                  </a:pathLst>
                </a:custGeom>
                <a:grpFill/>
                <a:ln w="1063" cap="flat">
                  <a:noFill/>
                  <a:prstDash val="solid"/>
                  <a:miter/>
                </a:ln>
              </p:spPr>
              <p:txBody>
                <a:bodyPr rtlCol="0" anchor="ctr"/>
                <a:lstStyle/>
                <a:p>
                  <a:endParaRPr lang="en-GB" dirty="0"/>
                </a:p>
              </p:txBody>
            </p:sp>
            <p:sp>
              <p:nvSpPr>
                <p:cNvPr id="649" name="Freeform: Shape 648">
                  <a:extLst>
                    <a:ext uri="{FF2B5EF4-FFF2-40B4-BE49-F238E27FC236}">
                      <a16:creationId xmlns:a16="http://schemas.microsoft.com/office/drawing/2014/main" id="{96D4717D-13FB-4A3B-8F6A-7203A7C3B482}"/>
                    </a:ext>
                  </a:extLst>
                </p:cNvPr>
                <p:cNvSpPr/>
                <p:nvPr/>
              </p:nvSpPr>
              <p:spPr>
                <a:xfrm>
                  <a:off x="6385965" y="4431206"/>
                  <a:ext cx="79035" cy="21271"/>
                </a:xfrm>
                <a:custGeom>
                  <a:avLst/>
                  <a:gdLst>
                    <a:gd name="connsiteX0" fmla="*/ 68399 w 79035"/>
                    <a:gd name="connsiteY0" fmla="*/ 21272 h 21271"/>
                    <a:gd name="connsiteX1" fmla="*/ 10636 w 79035"/>
                    <a:gd name="connsiteY1" fmla="*/ 21272 h 21271"/>
                    <a:gd name="connsiteX2" fmla="*/ 0 w 79035"/>
                    <a:gd name="connsiteY2" fmla="*/ 10636 h 21271"/>
                    <a:gd name="connsiteX3" fmla="*/ 10636 w 79035"/>
                    <a:gd name="connsiteY3" fmla="*/ 0 h 21271"/>
                    <a:gd name="connsiteX4" fmla="*/ 68399 w 79035"/>
                    <a:gd name="connsiteY4" fmla="*/ 0 h 21271"/>
                    <a:gd name="connsiteX5" fmla="*/ 79035 w 79035"/>
                    <a:gd name="connsiteY5" fmla="*/ 10636 h 21271"/>
                    <a:gd name="connsiteX6" fmla="*/ 68399 w 79035"/>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035" h="21271">
                      <a:moveTo>
                        <a:pt x="68399" y="21272"/>
                      </a:moveTo>
                      <a:lnTo>
                        <a:pt x="10636" y="21272"/>
                      </a:lnTo>
                      <a:cubicBezTo>
                        <a:pt x="4754" y="21272"/>
                        <a:pt x="0" y="16517"/>
                        <a:pt x="0" y="10636"/>
                      </a:cubicBezTo>
                      <a:cubicBezTo>
                        <a:pt x="0" y="4754"/>
                        <a:pt x="4754" y="0"/>
                        <a:pt x="10636" y="0"/>
                      </a:cubicBezTo>
                      <a:lnTo>
                        <a:pt x="68399" y="0"/>
                      </a:lnTo>
                      <a:cubicBezTo>
                        <a:pt x="74281" y="0"/>
                        <a:pt x="79035" y="4754"/>
                        <a:pt x="79035" y="10636"/>
                      </a:cubicBezTo>
                      <a:cubicBezTo>
                        <a:pt x="79035" y="16517"/>
                        <a:pt x="74270" y="21272"/>
                        <a:pt x="68399" y="21272"/>
                      </a:cubicBezTo>
                      <a:close/>
                    </a:path>
                  </a:pathLst>
                </a:custGeom>
                <a:grpFill/>
                <a:ln w="1063" cap="flat">
                  <a:noFill/>
                  <a:prstDash val="solid"/>
                  <a:miter/>
                </a:ln>
              </p:spPr>
              <p:txBody>
                <a:bodyPr rtlCol="0" anchor="ctr"/>
                <a:lstStyle/>
                <a:p>
                  <a:endParaRPr lang="en-GB" dirty="0"/>
                </a:p>
              </p:txBody>
            </p:sp>
          </p:grpSp>
          <p:grpSp>
            <p:nvGrpSpPr>
              <p:cNvPr id="617" name="Graphic 818">
                <a:extLst>
                  <a:ext uri="{FF2B5EF4-FFF2-40B4-BE49-F238E27FC236}">
                    <a16:creationId xmlns:a16="http://schemas.microsoft.com/office/drawing/2014/main" id="{AD7D6522-C39B-4C9D-A7D7-B0F653180F2D}"/>
                  </a:ext>
                </a:extLst>
              </p:cNvPr>
              <p:cNvGrpSpPr/>
              <p:nvPr/>
            </p:nvGrpSpPr>
            <p:grpSpPr>
              <a:xfrm>
                <a:off x="4034146" y="4191501"/>
                <a:ext cx="93880" cy="66077"/>
                <a:chOff x="6810315" y="4389949"/>
                <a:chExt cx="146425" cy="103061"/>
              </a:xfrm>
              <a:grpFill/>
            </p:grpSpPr>
            <p:sp>
              <p:nvSpPr>
                <p:cNvPr id="646" name="Freeform: Shape 645">
                  <a:extLst>
                    <a:ext uri="{FF2B5EF4-FFF2-40B4-BE49-F238E27FC236}">
                      <a16:creationId xmlns:a16="http://schemas.microsoft.com/office/drawing/2014/main" id="{5BC373B7-933E-4E7D-9F86-B84FFCBE6243}"/>
                    </a:ext>
                  </a:extLst>
                </p:cNvPr>
                <p:cNvSpPr/>
                <p:nvPr/>
              </p:nvSpPr>
              <p:spPr>
                <a:xfrm>
                  <a:off x="6868078" y="4389949"/>
                  <a:ext cx="88661" cy="103061"/>
                </a:xfrm>
                <a:custGeom>
                  <a:avLst/>
                  <a:gdLst>
                    <a:gd name="connsiteX0" fmla="*/ 51435 w 88661"/>
                    <a:gd name="connsiteY0" fmla="*/ 103051 h 103061"/>
                    <a:gd name="connsiteX1" fmla="*/ 0 w 88661"/>
                    <a:gd name="connsiteY1" fmla="*/ 51945 h 103061"/>
                    <a:gd name="connsiteX2" fmla="*/ 17220 w 88661"/>
                    <a:gd name="connsiteY2" fmla="*/ 16209 h 103061"/>
                    <a:gd name="connsiteX3" fmla="*/ 52499 w 88661"/>
                    <a:gd name="connsiteY3" fmla="*/ 0 h 103061"/>
                    <a:gd name="connsiteX4" fmla="*/ 52499 w 88661"/>
                    <a:gd name="connsiteY4" fmla="*/ 0 h 103061"/>
                    <a:gd name="connsiteX5" fmla="*/ 52680 w 88661"/>
                    <a:gd name="connsiteY5" fmla="*/ 0 h 103061"/>
                    <a:gd name="connsiteX6" fmla="*/ 88661 w 88661"/>
                    <a:gd name="connsiteY6" fmla="*/ 51531 h 103061"/>
                    <a:gd name="connsiteX7" fmla="*/ 51595 w 88661"/>
                    <a:gd name="connsiteY7" fmla="*/ 103061 h 103061"/>
                    <a:gd name="connsiteX8" fmla="*/ 51435 w 88661"/>
                    <a:gd name="connsiteY8" fmla="*/ 103051 h 103061"/>
                    <a:gd name="connsiteX9" fmla="*/ 52605 w 88661"/>
                    <a:gd name="connsiteY9" fmla="*/ 21261 h 103061"/>
                    <a:gd name="connsiteX10" fmla="*/ 31951 w 88661"/>
                    <a:gd name="connsiteY10" fmla="*/ 31546 h 103061"/>
                    <a:gd name="connsiteX11" fmla="*/ 21272 w 88661"/>
                    <a:gd name="connsiteY11" fmla="*/ 51839 h 103061"/>
                    <a:gd name="connsiteX12" fmla="*/ 51425 w 88661"/>
                    <a:gd name="connsiteY12" fmla="*/ 81768 h 103061"/>
                    <a:gd name="connsiteX13" fmla="*/ 51489 w 88661"/>
                    <a:gd name="connsiteY13" fmla="*/ 81768 h 103061"/>
                    <a:gd name="connsiteX14" fmla="*/ 67389 w 88661"/>
                    <a:gd name="connsiteY14" fmla="*/ 51616 h 103061"/>
                    <a:gd name="connsiteX15" fmla="*/ 52658 w 88661"/>
                    <a:gd name="connsiteY15" fmla="*/ 21261 h 103061"/>
                    <a:gd name="connsiteX16" fmla="*/ 52605 w 88661"/>
                    <a:gd name="connsiteY16" fmla="*/ 21261 h 103061"/>
                    <a:gd name="connsiteX17" fmla="*/ 52605 w 88661"/>
                    <a:gd name="connsiteY17" fmla="*/ 21261 h 103061"/>
                    <a:gd name="connsiteX18" fmla="*/ 52552 w 88661"/>
                    <a:gd name="connsiteY18" fmla="*/ 10625 h 103061"/>
                    <a:gd name="connsiteX19" fmla="*/ 52658 w 88661"/>
                    <a:gd name="connsiteY19" fmla="*/ 10625 h 103061"/>
                    <a:gd name="connsiteX20" fmla="*/ 52552 w 88661"/>
                    <a:gd name="connsiteY20" fmla="*/ 10625 h 10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8661" h="103061">
                      <a:moveTo>
                        <a:pt x="51435" y="103051"/>
                      </a:moveTo>
                      <a:cubicBezTo>
                        <a:pt x="26516" y="103051"/>
                        <a:pt x="117" y="76844"/>
                        <a:pt x="0" y="51945"/>
                      </a:cubicBezTo>
                      <a:cubicBezTo>
                        <a:pt x="-63" y="39778"/>
                        <a:pt x="6223" y="26760"/>
                        <a:pt x="17220" y="16209"/>
                      </a:cubicBezTo>
                      <a:cubicBezTo>
                        <a:pt x="27739" y="6116"/>
                        <a:pt x="40927" y="43"/>
                        <a:pt x="52499" y="0"/>
                      </a:cubicBezTo>
                      <a:lnTo>
                        <a:pt x="52499" y="0"/>
                      </a:lnTo>
                      <a:cubicBezTo>
                        <a:pt x="52552" y="0"/>
                        <a:pt x="52616" y="0"/>
                        <a:pt x="52680" y="0"/>
                      </a:cubicBezTo>
                      <a:cubicBezTo>
                        <a:pt x="74377" y="0"/>
                        <a:pt x="88490" y="20198"/>
                        <a:pt x="88661" y="51531"/>
                      </a:cubicBezTo>
                      <a:cubicBezTo>
                        <a:pt x="88810" y="82247"/>
                        <a:pt x="73909" y="102944"/>
                        <a:pt x="51595" y="103061"/>
                      </a:cubicBezTo>
                      <a:cubicBezTo>
                        <a:pt x="51542" y="103051"/>
                        <a:pt x="51489" y="103051"/>
                        <a:pt x="51435" y="103051"/>
                      </a:cubicBezTo>
                      <a:close/>
                      <a:moveTo>
                        <a:pt x="52605" y="21261"/>
                      </a:moveTo>
                      <a:cubicBezTo>
                        <a:pt x="46543" y="21293"/>
                        <a:pt x="38428" y="25324"/>
                        <a:pt x="31951" y="31546"/>
                      </a:cubicBezTo>
                      <a:cubicBezTo>
                        <a:pt x="25335" y="37895"/>
                        <a:pt x="21240" y="45670"/>
                        <a:pt x="21272" y="51839"/>
                      </a:cubicBezTo>
                      <a:cubicBezTo>
                        <a:pt x="21336" y="65017"/>
                        <a:pt x="38226" y="81768"/>
                        <a:pt x="51425" y="81768"/>
                      </a:cubicBezTo>
                      <a:cubicBezTo>
                        <a:pt x="51446" y="81768"/>
                        <a:pt x="51468" y="81768"/>
                        <a:pt x="51489" y="81768"/>
                      </a:cubicBezTo>
                      <a:cubicBezTo>
                        <a:pt x="64177" y="81704"/>
                        <a:pt x="67443" y="62018"/>
                        <a:pt x="67389" y="51616"/>
                      </a:cubicBezTo>
                      <a:cubicBezTo>
                        <a:pt x="67368" y="48510"/>
                        <a:pt x="66815" y="21261"/>
                        <a:pt x="52658" y="21261"/>
                      </a:cubicBezTo>
                      <a:cubicBezTo>
                        <a:pt x="52648" y="21261"/>
                        <a:pt x="52627" y="21261"/>
                        <a:pt x="52605" y="21261"/>
                      </a:cubicBezTo>
                      <a:lnTo>
                        <a:pt x="52605" y="21261"/>
                      </a:lnTo>
                      <a:close/>
                      <a:moveTo>
                        <a:pt x="52552" y="10625"/>
                      </a:moveTo>
                      <a:lnTo>
                        <a:pt x="52658" y="10625"/>
                      </a:lnTo>
                      <a:lnTo>
                        <a:pt x="52552" y="10625"/>
                      </a:lnTo>
                      <a:close/>
                    </a:path>
                  </a:pathLst>
                </a:custGeom>
                <a:grpFill/>
                <a:ln w="1063" cap="flat">
                  <a:noFill/>
                  <a:prstDash val="solid"/>
                  <a:miter/>
                </a:ln>
              </p:spPr>
              <p:txBody>
                <a:bodyPr rtlCol="0" anchor="ctr"/>
                <a:lstStyle/>
                <a:p>
                  <a:endParaRPr lang="en-GB" dirty="0"/>
                </a:p>
              </p:txBody>
            </p:sp>
            <p:sp>
              <p:nvSpPr>
                <p:cNvPr id="647" name="Freeform: Shape 646">
                  <a:extLst>
                    <a:ext uri="{FF2B5EF4-FFF2-40B4-BE49-F238E27FC236}">
                      <a16:creationId xmlns:a16="http://schemas.microsoft.com/office/drawing/2014/main" id="{A5DDE3B9-C79B-40BF-9311-45A1A053FB78}"/>
                    </a:ext>
                  </a:extLst>
                </p:cNvPr>
                <p:cNvSpPr/>
                <p:nvPr/>
              </p:nvSpPr>
              <p:spPr>
                <a:xfrm>
                  <a:off x="6810315" y="4431237"/>
                  <a:ext cx="79035" cy="21548"/>
                </a:xfrm>
                <a:custGeom>
                  <a:avLst/>
                  <a:gdLst>
                    <a:gd name="connsiteX0" fmla="*/ 10636 w 79035"/>
                    <a:gd name="connsiteY0" fmla="*/ 21549 h 21548"/>
                    <a:gd name="connsiteX1" fmla="*/ 0 w 79035"/>
                    <a:gd name="connsiteY1" fmla="*/ 10966 h 21548"/>
                    <a:gd name="connsiteX2" fmla="*/ 10583 w 79035"/>
                    <a:gd name="connsiteY2" fmla="*/ 277 h 21548"/>
                    <a:gd name="connsiteX3" fmla="*/ 68346 w 79035"/>
                    <a:gd name="connsiteY3" fmla="*/ 0 h 21548"/>
                    <a:gd name="connsiteX4" fmla="*/ 68399 w 79035"/>
                    <a:gd name="connsiteY4" fmla="*/ 0 h 21548"/>
                    <a:gd name="connsiteX5" fmla="*/ 79035 w 79035"/>
                    <a:gd name="connsiteY5" fmla="*/ 10583 h 21548"/>
                    <a:gd name="connsiteX6" fmla="*/ 68452 w 79035"/>
                    <a:gd name="connsiteY6" fmla="*/ 21272 h 21548"/>
                    <a:gd name="connsiteX7" fmla="*/ 10689 w 79035"/>
                    <a:gd name="connsiteY7" fmla="*/ 21549 h 21548"/>
                    <a:gd name="connsiteX8" fmla="*/ 10636 w 79035"/>
                    <a:gd name="connsiteY8" fmla="*/ 21549 h 2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035" h="21548">
                      <a:moveTo>
                        <a:pt x="10636" y="21549"/>
                      </a:moveTo>
                      <a:cubicBezTo>
                        <a:pt x="4786" y="21549"/>
                        <a:pt x="32" y="16826"/>
                        <a:pt x="0" y="10966"/>
                      </a:cubicBezTo>
                      <a:cubicBezTo>
                        <a:pt x="-32" y="5084"/>
                        <a:pt x="4701" y="308"/>
                        <a:pt x="10583" y="277"/>
                      </a:cubicBezTo>
                      <a:lnTo>
                        <a:pt x="68346" y="0"/>
                      </a:lnTo>
                      <a:cubicBezTo>
                        <a:pt x="68367" y="0"/>
                        <a:pt x="68378" y="0"/>
                        <a:pt x="68399" y="0"/>
                      </a:cubicBezTo>
                      <a:cubicBezTo>
                        <a:pt x="74249" y="0"/>
                        <a:pt x="79003" y="4722"/>
                        <a:pt x="79035" y="10583"/>
                      </a:cubicBezTo>
                      <a:cubicBezTo>
                        <a:pt x="79067" y="16464"/>
                        <a:pt x="74334" y="21240"/>
                        <a:pt x="68452" y="21272"/>
                      </a:cubicBezTo>
                      <a:lnTo>
                        <a:pt x="10689" y="21549"/>
                      </a:lnTo>
                      <a:cubicBezTo>
                        <a:pt x="10668" y="21549"/>
                        <a:pt x="10657" y="21549"/>
                        <a:pt x="10636" y="21549"/>
                      </a:cubicBezTo>
                      <a:close/>
                    </a:path>
                  </a:pathLst>
                </a:custGeom>
                <a:grpFill/>
                <a:ln w="1063" cap="flat">
                  <a:noFill/>
                  <a:prstDash val="solid"/>
                  <a:miter/>
                </a:ln>
              </p:spPr>
              <p:txBody>
                <a:bodyPr rtlCol="0" anchor="ctr"/>
                <a:lstStyle/>
                <a:p>
                  <a:endParaRPr lang="en-GB" dirty="0"/>
                </a:p>
              </p:txBody>
            </p:sp>
          </p:grpSp>
          <p:grpSp>
            <p:nvGrpSpPr>
              <p:cNvPr id="618" name="Graphic 818">
                <a:extLst>
                  <a:ext uri="{FF2B5EF4-FFF2-40B4-BE49-F238E27FC236}">
                    <a16:creationId xmlns:a16="http://schemas.microsoft.com/office/drawing/2014/main" id="{CB70778A-5624-4107-BAE0-2CAC1B90D9D2}"/>
                  </a:ext>
                </a:extLst>
              </p:cNvPr>
              <p:cNvGrpSpPr/>
              <p:nvPr/>
            </p:nvGrpSpPr>
            <p:grpSpPr>
              <a:xfrm>
                <a:off x="3765803" y="4020559"/>
                <a:ext cx="315505" cy="128336"/>
                <a:chOff x="6391781" y="4123330"/>
                <a:chExt cx="492093" cy="200166"/>
              </a:xfrm>
              <a:grpFill/>
            </p:grpSpPr>
            <p:grpSp>
              <p:nvGrpSpPr>
                <p:cNvPr id="637" name="Graphic 818">
                  <a:extLst>
                    <a:ext uri="{FF2B5EF4-FFF2-40B4-BE49-F238E27FC236}">
                      <a16:creationId xmlns:a16="http://schemas.microsoft.com/office/drawing/2014/main" id="{4F087999-60E5-4AB1-AE25-C7662FCD3367}"/>
                    </a:ext>
                  </a:extLst>
                </p:cNvPr>
                <p:cNvGrpSpPr/>
                <p:nvPr/>
              </p:nvGrpSpPr>
              <p:grpSpPr>
                <a:xfrm>
                  <a:off x="6586335" y="4123330"/>
                  <a:ext cx="103040" cy="146434"/>
                  <a:chOff x="6586335" y="4123330"/>
                  <a:chExt cx="103040" cy="146434"/>
                </a:xfrm>
                <a:grpFill/>
              </p:grpSpPr>
              <p:sp>
                <p:nvSpPr>
                  <p:cNvPr id="644" name="Freeform: Shape 643">
                    <a:extLst>
                      <a:ext uri="{FF2B5EF4-FFF2-40B4-BE49-F238E27FC236}">
                        <a16:creationId xmlns:a16="http://schemas.microsoft.com/office/drawing/2014/main" id="{232FE15C-0A0F-4DD1-823B-AB5D3A5EFB7A}"/>
                      </a:ext>
                    </a:extLst>
                  </p:cNvPr>
                  <p:cNvSpPr/>
                  <p:nvPr/>
                </p:nvSpPr>
                <p:spPr>
                  <a:xfrm>
                    <a:off x="6586335" y="4123330"/>
                    <a:ext cx="103040" cy="88670"/>
                  </a:xfrm>
                  <a:custGeom>
                    <a:avLst/>
                    <a:gdLst>
                      <a:gd name="connsiteX0" fmla="*/ 51350 w 103040"/>
                      <a:gd name="connsiteY0" fmla="*/ 88671 h 88670"/>
                      <a:gd name="connsiteX1" fmla="*/ 0 w 103040"/>
                      <a:gd name="connsiteY1" fmla="*/ 37321 h 88670"/>
                      <a:gd name="connsiteX2" fmla="*/ 51350 w 103040"/>
                      <a:gd name="connsiteY2" fmla="*/ 0 h 88670"/>
                      <a:gd name="connsiteX3" fmla="*/ 103040 w 103040"/>
                      <a:gd name="connsiteY3" fmla="*/ 35907 h 88670"/>
                      <a:gd name="connsiteX4" fmla="*/ 51350 w 103040"/>
                      <a:gd name="connsiteY4" fmla="*/ 88671 h 88670"/>
                      <a:gd name="connsiteX5" fmla="*/ 51350 w 103040"/>
                      <a:gd name="connsiteY5" fmla="*/ 21272 h 88670"/>
                      <a:gd name="connsiteX6" fmla="*/ 21272 w 103040"/>
                      <a:gd name="connsiteY6" fmla="*/ 37321 h 88670"/>
                      <a:gd name="connsiteX7" fmla="*/ 51350 w 103040"/>
                      <a:gd name="connsiteY7" fmla="*/ 67399 h 88670"/>
                      <a:gd name="connsiteX8" fmla="*/ 81768 w 103040"/>
                      <a:gd name="connsiteY8" fmla="*/ 35907 h 88670"/>
                      <a:gd name="connsiteX9" fmla="*/ 51350 w 103040"/>
                      <a:gd name="connsiteY9" fmla="*/ 21272 h 88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040" h="88670">
                        <a:moveTo>
                          <a:pt x="51350" y="88671"/>
                        </a:moveTo>
                        <a:cubicBezTo>
                          <a:pt x="26388" y="88671"/>
                          <a:pt x="0" y="62283"/>
                          <a:pt x="0" y="37321"/>
                        </a:cubicBezTo>
                        <a:cubicBezTo>
                          <a:pt x="0" y="14996"/>
                          <a:pt x="20633" y="0"/>
                          <a:pt x="51350" y="0"/>
                        </a:cubicBezTo>
                        <a:cubicBezTo>
                          <a:pt x="82747" y="0"/>
                          <a:pt x="103040" y="14093"/>
                          <a:pt x="103040" y="35907"/>
                        </a:cubicBezTo>
                        <a:cubicBezTo>
                          <a:pt x="103040" y="61050"/>
                          <a:pt x="75982" y="88671"/>
                          <a:pt x="51350" y="88671"/>
                        </a:cubicBezTo>
                        <a:close/>
                        <a:moveTo>
                          <a:pt x="51350" y="21272"/>
                        </a:moveTo>
                        <a:cubicBezTo>
                          <a:pt x="40937" y="21272"/>
                          <a:pt x="21272" y="24622"/>
                          <a:pt x="21272" y="37321"/>
                        </a:cubicBezTo>
                        <a:cubicBezTo>
                          <a:pt x="21272" y="50531"/>
                          <a:pt x="38140" y="67399"/>
                          <a:pt x="51350" y="67399"/>
                        </a:cubicBezTo>
                        <a:cubicBezTo>
                          <a:pt x="65453" y="67399"/>
                          <a:pt x="81768" y="48340"/>
                          <a:pt x="81768" y="35907"/>
                        </a:cubicBezTo>
                        <a:cubicBezTo>
                          <a:pt x="81768" y="21686"/>
                          <a:pt x="54466" y="21272"/>
                          <a:pt x="51350" y="21272"/>
                        </a:cubicBezTo>
                        <a:close/>
                      </a:path>
                    </a:pathLst>
                  </a:custGeom>
                  <a:grpFill/>
                  <a:ln w="1063" cap="flat">
                    <a:noFill/>
                    <a:prstDash val="solid"/>
                    <a:miter/>
                  </a:ln>
                </p:spPr>
                <p:txBody>
                  <a:bodyPr rtlCol="0" anchor="ctr"/>
                  <a:lstStyle/>
                  <a:p>
                    <a:endParaRPr lang="en-GB" dirty="0"/>
                  </a:p>
                </p:txBody>
              </p:sp>
              <p:sp>
                <p:nvSpPr>
                  <p:cNvPr id="645" name="Freeform: Shape 644">
                    <a:extLst>
                      <a:ext uri="{FF2B5EF4-FFF2-40B4-BE49-F238E27FC236}">
                        <a16:creationId xmlns:a16="http://schemas.microsoft.com/office/drawing/2014/main" id="{7A73F83E-DB04-47BA-865B-FFFEBD461624}"/>
                      </a:ext>
                    </a:extLst>
                  </p:cNvPr>
                  <p:cNvSpPr/>
                  <p:nvPr/>
                </p:nvSpPr>
                <p:spPr>
                  <a:xfrm>
                    <a:off x="6627027" y="4190729"/>
                    <a:ext cx="21271" cy="79035"/>
                  </a:xfrm>
                  <a:custGeom>
                    <a:avLst/>
                    <a:gdLst>
                      <a:gd name="connsiteX0" fmla="*/ 10636 w 21271"/>
                      <a:gd name="connsiteY0" fmla="*/ 79035 h 79035"/>
                      <a:gd name="connsiteX1" fmla="*/ 0 w 21271"/>
                      <a:gd name="connsiteY1" fmla="*/ 68399 h 79035"/>
                      <a:gd name="connsiteX2" fmla="*/ 0 w 21271"/>
                      <a:gd name="connsiteY2" fmla="*/ 10636 h 79035"/>
                      <a:gd name="connsiteX3" fmla="*/ 10636 w 21271"/>
                      <a:gd name="connsiteY3" fmla="*/ 0 h 79035"/>
                      <a:gd name="connsiteX4" fmla="*/ 21272 w 21271"/>
                      <a:gd name="connsiteY4" fmla="*/ 10636 h 79035"/>
                      <a:gd name="connsiteX5" fmla="*/ 21272 w 21271"/>
                      <a:gd name="connsiteY5" fmla="*/ 68399 h 79035"/>
                      <a:gd name="connsiteX6" fmla="*/ 10636 w 21271"/>
                      <a:gd name="connsiteY6" fmla="*/ 79035 h 7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79035">
                        <a:moveTo>
                          <a:pt x="10636" y="79035"/>
                        </a:moveTo>
                        <a:cubicBezTo>
                          <a:pt x="4754" y="79035"/>
                          <a:pt x="0" y="74281"/>
                          <a:pt x="0" y="68399"/>
                        </a:cubicBezTo>
                        <a:lnTo>
                          <a:pt x="0" y="10636"/>
                        </a:lnTo>
                        <a:cubicBezTo>
                          <a:pt x="0" y="4754"/>
                          <a:pt x="4754" y="0"/>
                          <a:pt x="10636" y="0"/>
                        </a:cubicBezTo>
                        <a:cubicBezTo>
                          <a:pt x="16518" y="0"/>
                          <a:pt x="21272" y="4754"/>
                          <a:pt x="21272" y="10636"/>
                        </a:cubicBezTo>
                        <a:lnTo>
                          <a:pt x="21272" y="68399"/>
                        </a:lnTo>
                        <a:cubicBezTo>
                          <a:pt x="21272" y="74270"/>
                          <a:pt x="16518" y="79035"/>
                          <a:pt x="10636" y="79035"/>
                        </a:cubicBezTo>
                        <a:close/>
                      </a:path>
                    </a:pathLst>
                  </a:custGeom>
                  <a:grpFill/>
                  <a:ln w="1063" cap="flat">
                    <a:noFill/>
                    <a:prstDash val="solid"/>
                    <a:miter/>
                  </a:ln>
                </p:spPr>
                <p:txBody>
                  <a:bodyPr rtlCol="0" anchor="ctr"/>
                  <a:lstStyle/>
                  <a:p>
                    <a:endParaRPr lang="en-GB" dirty="0"/>
                  </a:p>
                </p:txBody>
              </p:sp>
            </p:grpSp>
            <p:grpSp>
              <p:nvGrpSpPr>
                <p:cNvPr id="638" name="Graphic 818">
                  <a:extLst>
                    <a:ext uri="{FF2B5EF4-FFF2-40B4-BE49-F238E27FC236}">
                      <a16:creationId xmlns:a16="http://schemas.microsoft.com/office/drawing/2014/main" id="{6FCD5BDF-BD7E-4B87-A793-C5E4C3684B62}"/>
                    </a:ext>
                  </a:extLst>
                </p:cNvPr>
                <p:cNvGrpSpPr/>
                <p:nvPr/>
              </p:nvGrpSpPr>
              <p:grpSpPr>
                <a:xfrm>
                  <a:off x="6756910" y="4197347"/>
                  <a:ext cx="126964" cy="126148"/>
                  <a:chOff x="6756910" y="4197347"/>
                  <a:chExt cx="126964" cy="126148"/>
                </a:xfrm>
                <a:grpFill/>
              </p:grpSpPr>
              <p:sp>
                <p:nvSpPr>
                  <p:cNvPr id="642" name="Freeform: Shape 641">
                    <a:extLst>
                      <a:ext uri="{FF2B5EF4-FFF2-40B4-BE49-F238E27FC236}">
                        <a16:creationId xmlns:a16="http://schemas.microsoft.com/office/drawing/2014/main" id="{32609D01-0D00-495B-B677-4B7D4601E6B7}"/>
                      </a:ext>
                    </a:extLst>
                  </p:cNvPr>
                  <p:cNvSpPr/>
                  <p:nvPr/>
                </p:nvSpPr>
                <p:spPr>
                  <a:xfrm>
                    <a:off x="6787658" y="4197347"/>
                    <a:ext cx="96216" cy="95145"/>
                  </a:xfrm>
                  <a:custGeom>
                    <a:avLst/>
                    <a:gdLst>
                      <a:gd name="connsiteX0" fmla="*/ 48991 w 96216"/>
                      <a:gd name="connsiteY0" fmla="*/ 95146 h 95145"/>
                      <a:gd name="connsiteX1" fmla="*/ 13234 w 96216"/>
                      <a:gd name="connsiteY1" fmla="*/ 82201 h 95145"/>
                      <a:gd name="connsiteX2" fmla="*/ 13234 w 96216"/>
                      <a:gd name="connsiteY2" fmla="*/ 9580 h 95145"/>
                      <a:gd name="connsiteX3" fmla="*/ 75922 w 96216"/>
                      <a:gd name="connsiteY3" fmla="*/ 19514 h 95145"/>
                      <a:gd name="connsiteX4" fmla="*/ 87089 w 96216"/>
                      <a:gd name="connsiteY4" fmla="*/ 81457 h 95145"/>
                      <a:gd name="connsiteX5" fmla="*/ 87089 w 96216"/>
                      <a:gd name="connsiteY5" fmla="*/ 81457 h 95145"/>
                      <a:gd name="connsiteX6" fmla="*/ 87089 w 96216"/>
                      <a:gd name="connsiteY6" fmla="*/ 81457 h 95145"/>
                      <a:gd name="connsiteX7" fmla="*/ 87089 w 96216"/>
                      <a:gd name="connsiteY7" fmla="*/ 81457 h 95145"/>
                      <a:gd name="connsiteX8" fmla="*/ 50747 w 96216"/>
                      <a:gd name="connsiteY8" fmla="*/ 95124 h 95145"/>
                      <a:gd name="connsiteX9" fmla="*/ 48991 w 96216"/>
                      <a:gd name="connsiteY9" fmla="*/ 95146 h 95145"/>
                      <a:gd name="connsiteX10" fmla="*/ 36239 w 96216"/>
                      <a:gd name="connsiteY10" fmla="*/ 21354 h 95145"/>
                      <a:gd name="connsiteX11" fmla="*/ 28273 w 96216"/>
                      <a:gd name="connsiteY11" fmla="*/ 24630 h 95145"/>
                      <a:gd name="connsiteX12" fmla="*/ 28273 w 96216"/>
                      <a:gd name="connsiteY12" fmla="*/ 67173 h 95145"/>
                      <a:gd name="connsiteX13" fmla="*/ 50204 w 96216"/>
                      <a:gd name="connsiteY13" fmla="*/ 73863 h 95145"/>
                      <a:gd name="connsiteX14" fmla="*/ 72050 w 96216"/>
                      <a:gd name="connsiteY14" fmla="*/ 66429 h 95145"/>
                      <a:gd name="connsiteX15" fmla="*/ 72050 w 96216"/>
                      <a:gd name="connsiteY15" fmla="*/ 66429 h 95145"/>
                      <a:gd name="connsiteX16" fmla="*/ 74049 w 96216"/>
                      <a:gd name="connsiteY16" fmla="*/ 54070 h 95145"/>
                      <a:gd name="connsiteX17" fmla="*/ 60893 w 96216"/>
                      <a:gd name="connsiteY17" fmla="*/ 34563 h 95145"/>
                      <a:gd name="connsiteX18" fmla="*/ 41419 w 96216"/>
                      <a:gd name="connsiteY18" fmla="*/ 22141 h 95145"/>
                      <a:gd name="connsiteX19" fmla="*/ 36239 w 96216"/>
                      <a:gd name="connsiteY19" fmla="*/ 21354 h 95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6216" h="95145">
                        <a:moveTo>
                          <a:pt x="48991" y="95146"/>
                        </a:moveTo>
                        <a:cubicBezTo>
                          <a:pt x="34452" y="95146"/>
                          <a:pt x="21498" y="90476"/>
                          <a:pt x="13234" y="82201"/>
                        </a:cubicBezTo>
                        <a:cubicBezTo>
                          <a:pt x="-4411" y="64557"/>
                          <a:pt x="-4411" y="27225"/>
                          <a:pt x="13234" y="9580"/>
                        </a:cubicBezTo>
                        <a:cubicBezTo>
                          <a:pt x="29017" y="-6204"/>
                          <a:pt x="54203" y="-2205"/>
                          <a:pt x="75922" y="19514"/>
                        </a:cubicBezTo>
                        <a:cubicBezTo>
                          <a:pt x="98129" y="41721"/>
                          <a:pt x="102511" y="66035"/>
                          <a:pt x="87089" y="81457"/>
                        </a:cubicBezTo>
                        <a:lnTo>
                          <a:pt x="87089" y="81457"/>
                        </a:lnTo>
                        <a:lnTo>
                          <a:pt x="87089" y="81457"/>
                        </a:lnTo>
                        <a:lnTo>
                          <a:pt x="87089" y="81457"/>
                        </a:lnTo>
                        <a:cubicBezTo>
                          <a:pt x="78910" y="89647"/>
                          <a:pt x="65328" y="94752"/>
                          <a:pt x="50747" y="95124"/>
                        </a:cubicBezTo>
                        <a:cubicBezTo>
                          <a:pt x="50151" y="95135"/>
                          <a:pt x="49577" y="95146"/>
                          <a:pt x="48991" y="95146"/>
                        </a:cubicBezTo>
                        <a:close/>
                        <a:moveTo>
                          <a:pt x="36239" y="21354"/>
                        </a:moveTo>
                        <a:cubicBezTo>
                          <a:pt x="32134" y="21354"/>
                          <a:pt x="29794" y="23109"/>
                          <a:pt x="28273" y="24630"/>
                        </a:cubicBezTo>
                        <a:cubicBezTo>
                          <a:pt x="18935" y="33979"/>
                          <a:pt x="18935" y="57824"/>
                          <a:pt x="28273" y="67173"/>
                        </a:cubicBezTo>
                        <a:cubicBezTo>
                          <a:pt x="32623" y="71523"/>
                          <a:pt x="40930" y="74161"/>
                          <a:pt x="50204" y="73863"/>
                        </a:cubicBezTo>
                        <a:cubicBezTo>
                          <a:pt x="59191" y="73640"/>
                          <a:pt x="67753" y="70715"/>
                          <a:pt x="72050" y="66429"/>
                        </a:cubicBezTo>
                        <a:lnTo>
                          <a:pt x="72050" y="66429"/>
                        </a:lnTo>
                        <a:cubicBezTo>
                          <a:pt x="74156" y="64323"/>
                          <a:pt x="76283" y="61015"/>
                          <a:pt x="74049" y="54070"/>
                        </a:cubicBezTo>
                        <a:cubicBezTo>
                          <a:pt x="72124" y="48114"/>
                          <a:pt x="67328" y="40998"/>
                          <a:pt x="60893" y="34563"/>
                        </a:cubicBezTo>
                        <a:cubicBezTo>
                          <a:pt x="54735" y="28406"/>
                          <a:pt x="47641" y="23885"/>
                          <a:pt x="41419" y="22141"/>
                        </a:cubicBezTo>
                        <a:cubicBezTo>
                          <a:pt x="39430" y="21577"/>
                          <a:pt x="37707" y="21354"/>
                          <a:pt x="36239" y="21354"/>
                        </a:cubicBezTo>
                        <a:close/>
                      </a:path>
                    </a:pathLst>
                  </a:custGeom>
                  <a:grpFill/>
                  <a:ln w="1063" cap="flat">
                    <a:noFill/>
                    <a:prstDash val="solid"/>
                    <a:miter/>
                  </a:ln>
                </p:spPr>
                <p:txBody>
                  <a:bodyPr rtlCol="0" anchor="ctr"/>
                  <a:lstStyle/>
                  <a:p>
                    <a:endParaRPr lang="en-GB" dirty="0"/>
                  </a:p>
                </p:txBody>
              </p:sp>
              <p:sp>
                <p:nvSpPr>
                  <p:cNvPr id="643" name="Freeform: Shape 642">
                    <a:extLst>
                      <a:ext uri="{FF2B5EF4-FFF2-40B4-BE49-F238E27FC236}">
                        <a16:creationId xmlns:a16="http://schemas.microsoft.com/office/drawing/2014/main" id="{4B9F2197-7537-4A56-95BE-00E84AA02A23}"/>
                      </a:ext>
                    </a:extLst>
                  </p:cNvPr>
                  <p:cNvSpPr/>
                  <p:nvPr/>
                </p:nvSpPr>
                <p:spPr>
                  <a:xfrm>
                    <a:off x="6756910" y="4261369"/>
                    <a:ext cx="62118" cy="62126"/>
                  </a:xfrm>
                  <a:custGeom>
                    <a:avLst/>
                    <a:gdLst>
                      <a:gd name="connsiteX0" fmla="*/ 10638 w 62118"/>
                      <a:gd name="connsiteY0" fmla="*/ 62127 h 62126"/>
                      <a:gd name="connsiteX1" fmla="*/ 3119 w 62118"/>
                      <a:gd name="connsiteY1" fmla="*/ 59011 h 62126"/>
                      <a:gd name="connsiteX2" fmla="*/ 3119 w 62118"/>
                      <a:gd name="connsiteY2" fmla="*/ 43971 h 62126"/>
                      <a:gd name="connsiteX3" fmla="*/ 43961 w 62118"/>
                      <a:gd name="connsiteY3" fmla="*/ 3119 h 62126"/>
                      <a:gd name="connsiteX4" fmla="*/ 58999 w 62118"/>
                      <a:gd name="connsiteY4" fmla="*/ 3119 h 62126"/>
                      <a:gd name="connsiteX5" fmla="*/ 58999 w 62118"/>
                      <a:gd name="connsiteY5" fmla="*/ 18158 h 62126"/>
                      <a:gd name="connsiteX6" fmla="*/ 18158 w 62118"/>
                      <a:gd name="connsiteY6" fmla="*/ 59011 h 62126"/>
                      <a:gd name="connsiteX7" fmla="*/ 10638 w 62118"/>
                      <a:gd name="connsiteY7" fmla="*/ 62127 h 62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18" h="62126">
                        <a:moveTo>
                          <a:pt x="10638" y="62127"/>
                        </a:moveTo>
                        <a:cubicBezTo>
                          <a:pt x="7916" y="62127"/>
                          <a:pt x="5193" y="61085"/>
                          <a:pt x="3119" y="59011"/>
                        </a:cubicBezTo>
                        <a:cubicBezTo>
                          <a:pt x="-1040" y="54852"/>
                          <a:pt x="-1040" y="48130"/>
                          <a:pt x="3119" y="43971"/>
                        </a:cubicBezTo>
                        <a:lnTo>
                          <a:pt x="43961" y="3119"/>
                        </a:lnTo>
                        <a:cubicBezTo>
                          <a:pt x="48119" y="-1040"/>
                          <a:pt x="54841" y="-1040"/>
                          <a:pt x="58999" y="3119"/>
                        </a:cubicBezTo>
                        <a:cubicBezTo>
                          <a:pt x="63158" y="7278"/>
                          <a:pt x="63158" y="14000"/>
                          <a:pt x="58999" y="18158"/>
                        </a:cubicBezTo>
                        <a:lnTo>
                          <a:pt x="18158" y="59011"/>
                        </a:lnTo>
                        <a:cubicBezTo>
                          <a:pt x="16084" y="61095"/>
                          <a:pt x="13361" y="62127"/>
                          <a:pt x="10638" y="62127"/>
                        </a:cubicBezTo>
                        <a:close/>
                      </a:path>
                    </a:pathLst>
                  </a:custGeom>
                  <a:grpFill/>
                  <a:ln w="1063" cap="flat">
                    <a:noFill/>
                    <a:prstDash val="solid"/>
                    <a:miter/>
                  </a:ln>
                </p:spPr>
                <p:txBody>
                  <a:bodyPr rtlCol="0" anchor="ctr"/>
                  <a:lstStyle/>
                  <a:p>
                    <a:endParaRPr lang="en-GB" dirty="0"/>
                  </a:p>
                </p:txBody>
              </p:sp>
            </p:grpSp>
            <p:grpSp>
              <p:nvGrpSpPr>
                <p:cNvPr id="639" name="Graphic 818">
                  <a:extLst>
                    <a:ext uri="{FF2B5EF4-FFF2-40B4-BE49-F238E27FC236}">
                      <a16:creationId xmlns:a16="http://schemas.microsoft.com/office/drawing/2014/main" id="{0060A1E0-6484-49CD-903F-035BBB0682F7}"/>
                    </a:ext>
                  </a:extLst>
                </p:cNvPr>
                <p:cNvGrpSpPr/>
                <p:nvPr/>
              </p:nvGrpSpPr>
              <p:grpSpPr>
                <a:xfrm>
                  <a:off x="6391781" y="4196942"/>
                  <a:ext cx="126954" cy="126118"/>
                  <a:chOff x="6391781" y="4196942"/>
                  <a:chExt cx="126954" cy="126118"/>
                </a:xfrm>
                <a:grpFill/>
              </p:grpSpPr>
              <p:sp>
                <p:nvSpPr>
                  <p:cNvPr id="640" name="Freeform: Shape 639">
                    <a:extLst>
                      <a:ext uri="{FF2B5EF4-FFF2-40B4-BE49-F238E27FC236}">
                        <a16:creationId xmlns:a16="http://schemas.microsoft.com/office/drawing/2014/main" id="{EB765B2B-5009-4FFF-8266-ACA6FD6FD26A}"/>
                      </a:ext>
                    </a:extLst>
                  </p:cNvPr>
                  <p:cNvSpPr/>
                  <p:nvPr/>
                </p:nvSpPr>
                <p:spPr>
                  <a:xfrm>
                    <a:off x="6391781" y="4196942"/>
                    <a:ext cx="96223" cy="95019"/>
                  </a:xfrm>
                  <a:custGeom>
                    <a:avLst/>
                    <a:gdLst>
                      <a:gd name="connsiteX0" fmla="*/ 46864 w 96223"/>
                      <a:gd name="connsiteY0" fmla="*/ 95019 h 95019"/>
                      <a:gd name="connsiteX1" fmla="*/ 9128 w 96223"/>
                      <a:gd name="connsiteY1" fmla="*/ 81448 h 95019"/>
                      <a:gd name="connsiteX2" fmla="*/ 9128 w 96223"/>
                      <a:gd name="connsiteY2" fmla="*/ 81448 h 95019"/>
                      <a:gd name="connsiteX3" fmla="*/ 20295 w 96223"/>
                      <a:gd name="connsiteY3" fmla="*/ 19494 h 95019"/>
                      <a:gd name="connsiteX4" fmla="*/ 82994 w 96223"/>
                      <a:gd name="connsiteY4" fmla="*/ 9560 h 95019"/>
                      <a:gd name="connsiteX5" fmla="*/ 82994 w 96223"/>
                      <a:gd name="connsiteY5" fmla="*/ 82182 h 95019"/>
                      <a:gd name="connsiteX6" fmla="*/ 46864 w 96223"/>
                      <a:gd name="connsiteY6" fmla="*/ 95019 h 95019"/>
                      <a:gd name="connsiteX7" fmla="*/ 24167 w 96223"/>
                      <a:gd name="connsiteY7" fmla="*/ 66398 h 95019"/>
                      <a:gd name="connsiteX8" fmla="*/ 67944 w 96223"/>
                      <a:gd name="connsiteY8" fmla="*/ 67132 h 95019"/>
                      <a:gd name="connsiteX9" fmla="*/ 67944 w 96223"/>
                      <a:gd name="connsiteY9" fmla="*/ 24588 h 95019"/>
                      <a:gd name="connsiteX10" fmla="*/ 35334 w 96223"/>
                      <a:gd name="connsiteY10" fmla="*/ 34522 h 95019"/>
                      <a:gd name="connsiteX11" fmla="*/ 24167 w 96223"/>
                      <a:gd name="connsiteY11" fmla="*/ 66398 h 95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6223" h="95019">
                        <a:moveTo>
                          <a:pt x="46864" y="95019"/>
                        </a:moveTo>
                        <a:cubicBezTo>
                          <a:pt x="32580" y="95019"/>
                          <a:pt x="18168" y="90467"/>
                          <a:pt x="9128" y="81448"/>
                        </a:cubicBezTo>
                        <a:lnTo>
                          <a:pt x="9128" y="81448"/>
                        </a:lnTo>
                        <a:cubicBezTo>
                          <a:pt x="-6294" y="66026"/>
                          <a:pt x="-1913" y="41702"/>
                          <a:pt x="20295" y="19494"/>
                        </a:cubicBezTo>
                        <a:cubicBezTo>
                          <a:pt x="42014" y="-2203"/>
                          <a:pt x="67199" y="-6192"/>
                          <a:pt x="82994" y="9560"/>
                        </a:cubicBezTo>
                        <a:cubicBezTo>
                          <a:pt x="100638" y="27216"/>
                          <a:pt x="100628" y="64547"/>
                          <a:pt x="82994" y="82182"/>
                        </a:cubicBezTo>
                        <a:cubicBezTo>
                          <a:pt x="74421" y="90744"/>
                          <a:pt x="60711" y="95019"/>
                          <a:pt x="46864" y="95019"/>
                        </a:cubicBezTo>
                        <a:close/>
                        <a:moveTo>
                          <a:pt x="24167" y="66398"/>
                        </a:moveTo>
                        <a:cubicBezTo>
                          <a:pt x="32962" y="75173"/>
                          <a:pt x="57988" y="77098"/>
                          <a:pt x="67944" y="67132"/>
                        </a:cubicBezTo>
                        <a:cubicBezTo>
                          <a:pt x="77282" y="57794"/>
                          <a:pt x="77282" y="33937"/>
                          <a:pt x="67944" y="24588"/>
                        </a:cubicBezTo>
                        <a:cubicBezTo>
                          <a:pt x="58946" y="15590"/>
                          <a:pt x="42684" y="27152"/>
                          <a:pt x="35334" y="34522"/>
                        </a:cubicBezTo>
                        <a:cubicBezTo>
                          <a:pt x="33133" y="36724"/>
                          <a:pt x="14105" y="56337"/>
                          <a:pt x="24167" y="66398"/>
                        </a:cubicBezTo>
                        <a:close/>
                      </a:path>
                    </a:pathLst>
                  </a:custGeom>
                  <a:grpFill/>
                  <a:ln w="1063" cap="flat">
                    <a:noFill/>
                    <a:prstDash val="solid"/>
                    <a:miter/>
                  </a:ln>
                </p:spPr>
                <p:txBody>
                  <a:bodyPr rtlCol="0" anchor="ctr"/>
                  <a:lstStyle/>
                  <a:p>
                    <a:endParaRPr lang="en-GB" dirty="0"/>
                  </a:p>
                </p:txBody>
              </p:sp>
              <p:sp>
                <p:nvSpPr>
                  <p:cNvPr id="641" name="Freeform: Shape 640">
                    <a:extLst>
                      <a:ext uri="{FF2B5EF4-FFF2-40B4-BE49-F238E27FC236}">
                        <a16:creationId xmlns:a16="http://schemas.microsoft.com/office/drawing/2014/main" id="{8B6CA31B-FC06-45FC-88B9-D139D2705F1A}"/>
                      </a:ext>
                    </a:extLst>
                  </p:cNvPr>
                  <p:cNvSpPr/>
                  <p:nvPr/>
                </p:nvSpPr>
                <p:spPr>
                  <a:xfrm>
                    <a:off x="6456617" y="4260944"/>
                    <a:ext cx="62118" cy="62116"/>
                  </a:xfrm>
                  <a:custGeom>
                    <a:avLst/>
                    <a:gdLst>
                      <a:gd name="connsiteX0" fmla="*/ 51480 w 62118"/>
                      <a:gd name="connsiteY0" fmla="*/ 62116 h 62116"/>
                      <a:gd name="connsiteX1" fmla="*/ 43960 w 62118"/>
                      <a:gd name="connsiteY1" fmla="*/ 59000 h 62116"/>
                      <a:gd name="connsiteX2" fmla="*/ 3119 w 62118"/>
                      <a:gd name="connsiteY2" fmla="*/ 18158 h 62116"/>
                      <a:gd name="connsiteX3" fmla="*/ 3119 w 62118"/>
                      <a:gd name="connsiteY3" fmla="*/ 3119 h 62116"/>
                      <a:gd name="connsiteX4" fmla="*/ 18158 w 62118"/>
                      <a:gd name="connsiteY4" fmla="*/ 3119 h 62116"/>
                      <a:gd name="connsiteX5" fmla="*/ 59000 w 62118"/>
                      <a:gd name="connsiteY5" fmla="*/ 43961 h 62116"/>
                      <a:gd name="connsiteX6" fmla="*/ 59000 w 62118"/>
                      <a:gd name="connsiteY6" fmla="*/ 59000 h 62116"/>
                      <a:gd name="connsiteX7" fmla="*/ 51480 w 62118"/>
                      <a:gd name="connsiteY7" fmla="*/ 62116 h 6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18" h="62116">
                        <a:moveTo>
                          <a:pt x="51480" y="62116"/>
                        </a:moveTo>
                        <a:cubicBezTo>
                          <a:pt x="48757" y="62116"/>
                          <a:pt x="46034" y="61074"/>
                          <a:pt x="43960" y="59000"/>
                        </a:cubicBezTo>
                        <a:lnTo>
                          <a:pt x="3119" y="18158"/>
                        </a:lnTo>
                        <a:cubicBezTo>
                          <a:pt x="-1040" y="14000"/>
                          <a:pt x="-1040" y="7278"/>
                          <a:pt x="3119" y="3119"/>
                        </a:cubicBezTo>
                        <a:cubicBezTo>
                          <a:pt x="7277" y="-1040"/>
                          <a:pt x="13999" y="-1040"/>
                          <a:pt x="18158" y="3119"/>
                        </a:cubicBezTo>
                        <a:lnTo>
                          <a:pt x="59000" y="43961"/>
                        </a:lnTo>
                        <a:cubicBezTo>
                          <a:pt x="63158" y="48119"/>
                          <a:pt x="63158" y="54841"/>
                          <a:pt x="59000" y="59000"/>
                        </a:cubicBezTo>
                        <a:cubicBezTo>
                          <a:pt x="56926" y="61084"/>
                          <a:pt x="54203" y="62116"/>
                          <a:pt x="51480" y="62116"/>
                        </a:cubicBezTo>
                        <a:close/>
                      </a:path>
                    </a:pathLst>
                  </a:custGeom>
                  <a:grpFill/>
                  <a:ln w="1063" cap="flat">
                    <a:noFill/>
                    <a:prstDash val="solid"/>
                    <a:miter/>
                  </a:ln>
                </p:spPr>
                <p:txBody>
                  <a:bodyPr rtlCol="0" anchor="ctr"/>
                  <a:lstStyle/>
                  <a:p>
                    <a:endParaRPr lang="en-GB" dirty="0"/>
                  </a:p>
                </p:txBody>
              </p:sp>
            </p:grpSp>
          </p:grpSp>
          <p:grpSp>
            <p:nvGrpSpPr>
              <p:cNvPr id="619" name="Graphic 818">
                <a:extLst>
                  <a:ext uri="{FF2B5EF4-FFF2-40B4-BE49-F238E27FC236}">
                    <a16:creationId xmlns:a16="http://schemas.microsoft.com/office/drawing/2014/main" id="{56D017BC-1F92-49DC-8E2E-C0C90A42A859}"/>
                  </a:ext>
                </a:extLst>
              </p:cNvPr>
              <p:cNvGrpSpPr/>
              <p:nvPr/>
            </p:nvGrpSpPr>
            <p:grpSpPr>
              <a:xfrm>
                <a:off x="3765803" y="4301377"/>
                <a:ext cx="315497" cy="128331"/>
                <a:chOff x="6391781" y="4561322"/>
                <a:chExt cx="492082" cy="200158"/>
              </a:xfrm>
              <a:grpFill/>
            </p:grpSpPr>
            <p:grpSp>
              <p:nvGrpSpPr>
                <p:cNvPr id="628" name="Graphic 818">
                  <a:extLst>
                    <a:ext uri="{FF2B5EF4-FFF2-40B4-BE49-F238E27FC236}">
                      <a16:creationId xmlns:a16="http://schemas.microsoft.com/office/drawing/2014/main" id="{4D3624FF-BE48-4999-856A-F3D4BDE19671}"/>
                    </a:ext>
                  </a:extLst>
                </p:cNvPr>
                <p:cNvGrpSpPr/>
                <p:nvPr/>
              </p:nvGrpSpPr>
              <p:grpSpPr>
                <a:xfrm>
                  <a:off x="6586335" y="4615057"/>
                  <a:ext cx="103040" cy="146423"/>
                  <a:chOff x="6586335" y="4615057"/>
                  <a:chExt cx="103040" cy="146423"/>
                </a:xfrm>
                <a:grpFill/>
              </p:grpSpPr>
              <p:sp>
                <p:nvSpPr>
                  <p:cNvPr id="635" name="Freeform: Shape 634">
                    <a:extLst>
                      <a:ext uri="{FF2B5EF4-FFF2-40B4-BE49-F238E27FC236}">
                        <a16:creationId xmlns:a16="http://schemas.microsoft.com/office/drawing/2014/main" id="{A89FC187-F0BD-4A0B-A280-960C54097CA2}"/>
                      </a:ext>
                    </a:extLst>
                  </p:cNvPr>
                  <p:cNvSpPr/>
                  <p:nvPr/>
                </p:nvSpPr>
                <p:spPr>
                  <a:xfrm>
                    <a:off x="6586335" y="4672820"/>
                    <a:ext cx="103040" cy="88660"/>
                  </a:xfrm>
                  <a:custGeom>
                    <a:avLst/>
                    <a:gdLst>
                      <a:gd name="connsiteX0" fmla="*/ 51350 w 103040"/>
                      <a:gd name="connsiteY0" fmla="*/ 88660 h 88660"/>
                      <a:gd name="connsiteX1" fmla="*/ 0 w 103040"/>
                      <a:gd name="connsiteY1" fmla="*/ 51350 h 88660"/>
                      <a:gd name="connsiteX2" fmla="*/ 51350 w 103040"/>
                      <a:gd name="connsiteY2" fmla="*/ 0 h 88660"/>
                      <a:gd name="connsiteX3" fmla="*/ 103040 w 103040"/>
                      <a:gd name="connsiteY3" fmla="*/ 52754 h 88660"/>
                      <a:gd name="connsiteX4" fmla="*/ 51350 w 103040"/>
                      <a:gd name="connsiteY4" fmla="*/ 88660 h 88660"/>
                      <a:gd name="connsiteX5" fmla="*/ 51350 w 103040"/>
                      <a:gd name="connsiteY5" fmla="*/ 21272 h 88660"/>
                      <a:gd name="connsiteX6" fmla="*/ 21272 w 103040"/>
                      <a:gd name="connsiteY6" fmla="*/ 51350 h 88660"/>
                      <a:gd name="connsiteX7" fmla="*/ 51350 w 103040"/>
                      <a:gd name="connsiteY7" fmla="*/ 67389 h 88660"/>
                      <a:gd name="connsiteX8" fmla="*/ 81768 w 103040"/>
                      <a:gd name="connsiteY8" fmla="*/ 52754 h 88660"/>
                      <a:gd name="connsiteX9" fmla="*/ 51350 w 103040"/>
                      <a:gd name="connsiteY9" fmla="*/ 21272 h 88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040" h="88660">
                        <a:moveTo>
                          <a:pt x="51350" y="88660"/>
                        </a:moveTo>
                        <a:cubicBezTo>
                          <a:pt x="20633" y="88660"/>
                          <a:pt x="0" y="73664"/>
                          <a:pt x="0" y="51350"/>
                        </a:cubicBezTo>
                        <a:cubicBezTo>
                          <a:pt x="0" y="26388"/>
                          <a:pt x="26388" y="0"/>
                          <a:pt x="51350" y="0"/>
                        </a:cubicBezTo>
                        <a:cubicBezTo>
                          <a:pt x="75982" y="0"/>
                          <a:pt x="103040" y="27611"/>
                          <a:pt x="103040" y="52754"/>
                        </a:cubicBezTo>
                        <a:cubicBezTo>
                          <a:pt x="103040" y="74568"/>
                          <a:pt x="82747" y="88660"/>
                          <a:pt x="51350" y="88660"/>
                        </a:cubicBezTo>
                        <a:close/>
                        <a:moveTo>
                          <a:pt x="51350" y="21272"/>
                        </a:moveTo>
                        <a:cubicBezTo>
                          <a:pt x="38140" y="21272"/>
                          <a:pt x="21272" y="38140"/>
                          <a:pt x="21272" y="51350"/>
                        </a:cubicBezTo>
                        <a:cubicBezTo>
                          <a:pt x="21272" y="64028"/>
                          <a:pt x="40948" y="67389"/>
                          <a:pt x="51350" y="67389"/>
                        </a:cubicBezTo>
                        <a:cubicBezTo>
                          <a:pt x="54466" y="67389"/>
                          <a:pt x="81768" y="66974"/>
                          <a:pt x="81768" y="52754"/>
                        </a:cubicBezTo>
                        <a:cubicBezTo>
                          <a:pt x="81768" y="40321"/>
                          <a:pt x="65453" y="21272"/>
                          <a:pt x="51350" y="21272"/>
                        </a:cubicBezTo>
                        <a:close/>
                      </a:path>
                    </a:pathLst>
                  </a:custGeom>
                  <a:grpFill/>
                  <a:ln w="1063" cap="flat">
                    <a:noFill/>
                    <a:prstDash val="solid"/>
                    <a:miter/>
                  </a:ln>
                </p:spPr>
                <p:txBody>
                  <a:bodyPr rtlCol="0" anchor="ctr"/>
                  <a:lstStyle/>
                  <a:p>
                    <a:endParaRPr lang="en-GB" dirty="0"/>
                  </a:p>
                </p:txBody>
              </p:sp>
              <p:sp>
                <p:nvSpPr>
                  <p:cNvPr id="636" name="Freeform: Shape 635">
                    <a:extLst>
                      <a:ext uri="{FF2B5EF4-FFF2-40B4-BE49-F238E27FC236}">
                        <a16:creationId xmlns:a16="http://schemas.microsoft.com/office/drawing/2014/main" id="{77D3A211-B0A0-4C2A-BA03-FF8FDF4B534E}"/>
                      </a:ext>
                    </a:extLst>
                  </p:cNvPr>
                  <p:cNvSpPr/>
                  <p:nvPr/>
                </p:nvSpPr>
                <p:spPr>
                  <a:xfrm>
                    <a:off x="6627027" y="4615057"/>
                    <a:ext cx="21271" cy="79035"/>
                  </a:xfrm>
                  <a:custGeom>
                    <a:avLst/>
                    <a:gdLst>
                      <a:gd name="connsiteX0" fmla="*/ 10636 w 21271"/>
                      <a:gd name="connsiteY0" fmla="*/ 79035 h 79035"/>
                      <a:gd name="connsiteX1" fmla="*/ 0 w 21271"/>
                      <a:gd name="connsiteY1" fmla="*/ 68399 h 79035"/>
                      <a:gd name="connsiteX2" fmla="*/ 0 w 21271"/>
                      <a:gd name="connsiteY2" fmla="*/ 10636 h 79035"/>
                      <a:gd name="connsiteX3" fmla="*/ 10636 w 21271"/>
                      <a:gd name="connsiteY3" fmla="*/ 0 h 79035"/>
                      <a:gd name="connsiteX4" fmla="*/ 21272 w 21271"/>
                      <a:gd name="connsiteY4" fmla="*/ 10636 h 79035"/>
                      <a:gd name="connsiteX5" fmla="*/ 21272 w 21271"/>
                      <a:gd name="connsiteY5" fmla="*/ 68399 h 79035"/>
                      <a:gd name="connsiteX6" fmla="*/ 10636 w 21271"/>
                      <a:gd name="connsiteY6" fmla="*/ 79035 h 7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79035">
                        <a:moveTo>
                          <a:pt x="10636" y="79035"/>
                        </a:moveTo>
                        <a:cubicBezTo>
                          <a:pt x="4754" y="79035"/>
                          <a:pt x="0" y="74281"/>
                          <a:pt x="0" y="68399"/>
                        </a:cubicBezTo>
                        <a:lnTo>
                          <a:pt x="0" y="10636"/>
                        </a:lnTo>
                        <a:cubicBezTo>
                          <a:pt x="0" y="4754"/>
                          <a:pt x="4754" y="0"/>
                          <a:pt x="10636" y="0"/>
                        </a:cubicBezTo>
                        <a:cubicBezTo>
                          <a:pt x="16518" y="0"/>
                          <a:pt x="21272" y="4754"/>
                          <a:pt x="21272" y="10636"/>
                        </a:cubicBezTo>
                        <a:lnTo>
                          <a:pt x="21272" y="68399"/>
                        </a:lnTo>
                        <a:cubicBezTo>
                          <a:pt x="21272" y="74281"/>
                          <a:pt x="16518" y="79035"/>
                          <a:pt x="10636" y="79035"/>
                        </a:cubicBezTo>
                        <a:close/>
                      </a:path>
                    </a:pathLst>
                  </a:custGeom>
                  <a:grpFill/>
                  <a:ln w="1063" cap="flat">
                    <a:noFill/>
                    <a:prstDash val="solid"/>
                    <a:miter/>
                  </a:ln>
                </p:spPr>
                <p:txBody>
                  <a:bodyPr rtlCol="0" anchor="ctr"/>
                  <a:lstStyle/>
                  <a:p>
                    <a:endParaRPr lang="en-GB" dirty="0"/>
                  </a:p>
                </p:txBody>
              </p:sp>
            </p:grpSp>
            <p:grpSp>
              <p:nvGrpSpPr>
                <p:cNvPr id="629" name="Graphic 818">
                  <a:extLst>
                    <a:ext uri="{FF2B5EF4-FFF2-40B4-BE49-F238E27FC236}">
                      <a16:creationId xmlns:a16="http://schemas.microsoft.com/office/drawing/2014/main" id="{64CB265F-E23F-4773-A03B-E17FBFFE97F3}"/>
                    </a:ext>
                  </a:extLst>
                </p:cNvPr>
                <p:cNvGrpSpPr/>
                <p:nvPr/>
              </p:nvGrpSpPr>
              <p:grpSpPr>
                <a:xfrm>
                  <a:off x="6756910" y="4561322"/>
                  <a:ext cx="126954" cy="126143"/>
                  <a:chOff x="6756910" y="4561322"/>
                  <a:chExt cx="126954" cy="126143"/>
                </a:xfrm>
                <a:grpFill/>
              </p:grpSpPr>
              <p:sp>
                <p:nvSpPr>
                  <p:cNvPr id="633" name="Freeform: Shape 632">
                    <a:extLst>
                      <a:ext uri="{FF2B5EF4-FFF2-40B4-BE49-F238E27FC236}">
                        <a16:creationId xmlns:a16="http://schemas.microsoft.com/office/drawing/2014/main" id="{91A6DC57-197D-4A2F-952A-26B2C7EB145C}"/>
                      </a:ext>
                    </a:extLst>
                  </p:cNvPr>
                  <p:cNvSpPr/>
                  <p:nvPr/>
                </p:nvSpPr>
                <p:spPr>
                  <a:xfrm>
                    <a:off x="6787658" y="4592340"/>
                    <a:ext cx="96205" cy="95125"/>
                  </a:xfrm>
                  <a:custGeom>
                    <a:avLst/>
                    <a:gdLst>
                      <a:gd name="connsiteX0" fmla="*/ 36346 w 96205"/>
                      <a:gd name="connsiteY0" fmla="*/ 95126 h 95125"/>
                      <a:gd name="connsiteX1" fmla="*/ 13234 w 96205"/>
                      <a:gd name="connsiteY1" fmla="*/ 85554 h 95125"/>
                      <a:gd name="connsiteX2" fmla="*/ 13234 w 96205"/>
                      <a:gd name="connsiteY2" fmla="*/ 12932 h 95125"/>
                      <a:gd name="connsiteX3" fmla="*/ 50736 w 96205"/>
                      <a:gd name="connsiteY3" fmla="*/ 9 h 95125"/>
                      <a:gd name="connsiteX4" fmla="*/ 87078 w 96205"/>
                      <a:gd name="connsiteY4" fmla="*/ 13677 h 95125"/>
                      <a:gd name="connsiteX5" fmla="*/ 87078 w 96205"/>
                      <a:gd name="connsiteY5" fmla="*/ 13677 h 95125"/>
                      <a:gd name="connsiteX6" fmla="*/ 87078 w 96205"/>
                      <a:gd name="connsiteY6" fmla="*/ 13677 h 95125"/>
                      <a:gd name="connsiteX7" fmla="*/ 75911 w 96205"/>
                      <a:gd name="connsiteY7" fmla="*/ 75620 h 95125"/>
                      <a:gd name="connsiteX8" fmla="*/ 36346 w 96205"/>
                      <a:gd name="connsiteY8" fmla="*/ 95126 h 95125"/>
                      <a:gd name="connsiteX9" fmla="*/ 49045 w 96205"/>
                      <a:gd name="connsiteY9" fmla="*/ 21260 h 95125"/>
                      <a:gd name="connsiteX10" fmla="*/ 28273 w 96205"/>
                      <a:gd name="connsiteY10" fmla="*/ 27971 h 95125"/>
                      <a:gd name="connsiteX11" fmla="*/ 21211 w 96205"/>
                      <a:gd name="connsiteY11" fmla="*/ 49456 h 95125"/>
                      <a:gd name="connsiteX12" fmla="*/ 28273 w 96205"/>
                      <a:gd name="connsiteY12" fmla="*/ 70514 h 95125"/>
                      <a:gd name="connsiteX13" fmla="*/ 41398 w 96205"/>
                      <a:gd name="connsiteY13" fmla="*/ 73004 h 95125"/>
                      <a:gd name="connsiteX14" fmla="*/ 60872 w 96205"/>
                      <a:gd name="connsiteY14" fmla="*/ 60581 h 95125"/>
                      <a:gd name="connsiteX15" fmla="*/ 72040 w 96205"/>
                      <a:gd name="connsiteY15" fmla="*/ 28716 h 95125"/>
                      <a:gd name="connsiteX16" fmla="*/ 72040 w 96205"/>
                      <a:gd name="connsiteY16" fmla="*/ 28716 h 95125"/>
                      <a:gd name="connsiteX17" fmla="*/ 50194 w 96205"/>
                      <a:gd name="connsiteY17" fmla="*/ 21281 h 95125"/>
                      <a:gd name="connsiteX18" fmla="*/ 49045 w 96205"/>
                      <a:gd name="connsiteY18" fmla="*/ 21260 h 95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6205" h="95125">
                        <a:moveTo>
                          <a:pt x="36346" y="95126"/>
                        </a:moveTo>
                        <a:cubicBezTo>
                          <a:pt x="27667" y="95126"/>
                          <a:pt x="19668" y="91978"/>
                          <a:pt x="13234" y="85554"/>
                        </a:cubicBezTo>
                        <a:cubicBezTo>
                          <a:pt x="-4411" y="67909"/>
                          <a:pt x="-4411" y="30577"/>
                          <a:pt x="13234" y="12932"/>
                        </a:cubicBezTo>
                        <a:cubicBezTo>
                          <a:pt x="21838" y="4328"/>
                          <a:pt x="35633" y="-235"/>
                          <a:pt x="50736" y="9"/>
                        </a:cubicBezTo>
                        <a:cubicBezTo>
                          <a:pt x="65317" y="382"/>
                          <a:pt x="78899" y="5498"/>
                          <a:pt x="87078" y="13677"/>
                        </a:cubicBezTo>
                        <a:lnTo>
                          <a:pt x="87078" y="13677"/>
                        </a:lnTo>
                        <a:lnTo>
                          <a:pt x="87078" y="13677"/>
                        </a:lnTo>
                        <a:cubicBezTo>
                          <a:pt x="102500" y="29099"/>
                          <a:pt x="98119" y="53412"/>
                          <a:pt x="75911" y="75620"/>
                        </a:cubicBezTo>
                        <a:cubicBezTo>
                          <a:pt x="63052" y="88489"/>
                          <a:pt x="48971" y="95126"/>
                          <a:pt x="36346" y="95126"/>
                        </a:cubicBezTo>
                        <a:close/>
                        <a:moveTo>
                          <a:pt x="49045" y="21260"/>
                        </a:moveTo>
                        <a:cubicBezTo>
                          <a:pt x="40334" y="21260"/>
                          <a:pt x="32442" y="23791"/>
                          <a:pt x="28273" y="27971"/>
                        </a:cubicBezTo>
                        <a:cubicBezTo>
                          <a:pt x="23763" y="32481"/>
                          <a:pt x="21126" y="40511"/>
                          <a:pt x="21211" y="49456"/>
                        </a:cubicBezTo>
                        <a:cubicBezTo>
                          <a:pt x="21296" y="58166"/>
                          <a:pt x="23997" y="66239"/>
                          <a:pt x="28273" y="70514"/>
                        </a:cubicBezTo>
                        <a:cubicBezTo>
                          <a:pt x="30326" y="72578"/>
                          <a:pt x="33942" y="75088"/>
                          <a:pt x="41398" y="73004"/>
                        </a:cubicBezTo>
                        <a:cubicBezTo>
                          <a:pt x="47620" y="71259"/>
                          <a:pt x="54714" y="66739"/>
                          <a:pt x="60872" y="60581"/>
                        </a:cubicBezTo>
                        <a:cubicBezTo>
                          <a:pt x="63073" y="58379"/>
                          <a:pt x="82090" y="38777"/>
                          <a:pt x="72040" y="28716"/>
                        </a:cubicBezTo>
                        <a:lnTo>
                          <a:pt x="72040" y="28716"/>
                        </a:lnTo>
                        <a:cubicBezTo>
                          <a:pt x="67753" y="24429"/>
                          <a:pt x="59181" y="21504"/>
                          <a:pt x="50194" y="21281"/>
                        </a:cubicBezTo>
                        <a:cubicBezTo>
                          <a:pt x="49810" y="21271"/>
                          <a:pt x="49417" y="21260"/>
                          <a:pt x="49045" y="21260"/>
                        </a:cubicBezTo>
                        <a:close/>
                      </a:path>
                    </a:pathLst>
                  </a:custGeom>
                  <a:grpFill/>
                  <a:ln w="1063" cap="flat">
                    <a:noFill/>
                    <a:prstDash val="solid"/>
                    <a:miter/>
                  </a:ln>
                </p:spPr>
                <p:txBody>
                  <a:bodyPr rtlCol="0" anchor="ctr"/>
                  <a:lstStyle/>
                  <a:p>
                    <a:endParaRPr lang="en-GB" dirty="0"/>
                  </a:p>
                </p:txBody>
              </p:sp>
              <p:sp>
                <p:nvSpPr>
                  <p:cNvPr id="634" name="Freeform: Shape 633">
                    <a:extLst>
                      <a:ext uri="{FF2B5EF4-FFF2-40B4-BE49-F238E27FC236}">
                        <a16:creationId xmlns:a16="http://schemas.microsoft.com/office/drawing/2014/main" id="{9BC68515-0095-4381-A7A5-AAF92C94E881}"/>
                      </a:ext>
                    </a:extLst>
                  </p:cNvPr>
                  <p:cNvSpPr/>
                  <p:nvPr/>
                </p:nvSpPr>
                <p:spPr>
                  <a:xfrm>
                    <a:off x="6756910" y="4561322"/>
                    <a:ext cx="62118" cy="62126"/>
                  </a:xfrm>
                  <a:custGeom>
                    <a:avLst/>
                    <a:gdLst>
                      <a:gd name="connsiteX0" fmla="*/ 51480 w 62118"/>
                      <a:gd name="connsiteY0" fmla="*/ 62127 h 62126"/>
                      <a:gd name="connsiteX1" fmla="*/ 43961 w 62118"/>
                      <a:gd name="connsiteY1" fmla="*/ 59010 h 62126"/>
                      <a:gd name="connsiteX2" fmla="*/ 3119 w 62118"/>
                      <a:gd name="connsiteY2" fmla="*/ 18158 h 62126"/>
                      <a:gd name="connsiteX3" fmla="*/ 3119 w 62118"/>
                      <a:gd name="connsiteY3" fmla="*/ 3119 h 62126"/>
                      <a:gd name="connsiteX4" fmla="*/ 18158 w 62118"/>
                      <a:gd name="connsiteY4" fmla="*/ 3119 h 62126"/>
                      <a:gd name="connsiteX5" fmla="*/ 58999 w 62118"/>
                      <a:gd name="connsiteY5" fmla="*/ 43972 h 62126"/>
                      <a:gd name="connsiteX6" fmla="*/ 58999 w 62118"/>
                      <a:gd name="connsiteY6" fmla="*/ 59010 h 62126"/>
                      <a:gd name="connsiteX7" fmla="*/ 51480 w 62118"/>
                      <a:gd name="connsiteY7" fmla="*/ 62127 h 62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18" h="62126">
                        <a:moveTo>
                          <a:pt x="51480" y="62127"/>
                        </a:moveTo>
                        <a:cubicBezTo>
                          <a:pt x="48757" y="62127"/>
                          <a:pt x="46034" y="61085"/>
                          <a:pt x="43961" y="59010"/>
                        </a:cubicBezTo>
                        <a:lnTo>
                          <a:pt x="3119" y="18158"/>
                        </a:lnTo>
                        <a:cubicBezTo>
                          <a:pt x="-1040" y="14000"/>
                          <a:pt x="-1040" y="7278"/>
                          <a:pt x="3119" y="3119"/>
                        </a:cubicBezTo>
                        <a:cubicBezTo>
                          <a:pt x="7277" y="-1040"/>
                          <a:pt x="14000" y="-1040"/>
                          <a:pt x="18158" y="3119"/>
                        </a:cubicBezTo>
                        <a:lnTo>
                          <a:pt x="58999" y="43972"/>
                        </a:lnTo>
                        <a:cubicBezTo>
                          <a:pt x="63158" y="48130"/>
                          <a:pt x="63158" y="54852"/>
                          <a:pt x="58999" y="59010"/>
                        </a:cubicBezTo>
                        <a:cubicBezTo>
                          <a:pt x="56915" y="61085"/>
                          <a:pt x="54203" y="62127"/>
                          <a:pt x="51480" y="62127"/>
                        </a:cubicBezTo>
                        <a:close/>
                      </a:path>
                    </a:pathLst>
                  </a:custGeom>
                  <a:grpFill/>
                  <a:ln w="1063" cap="flat">
                    <a:noFill/>
                    <a:prstDash val="solid"/>
                    <a:miter/>
                  </a:ln>
                </p:spPr>
                <p:txBody>
                  <a:bodyPr rtlCol="0" anchor="ctr"/>
                  <a:lstStyle/>
                  <a:p>
                    <a:endParaRPr lang="en-GB" dirty="0"/>
                  </a:p>
                </p:txBody>
              </p:sp>
            </p:grpSp>
            <p:grpSp>
              <p:nvGrpSpPr>
                <p:cNvPr id="630" name="Graphic 818">
                  <a:extLst>
                    <a:ext uri="{FF2B5EF4-FFF2-40B4-BE49-F238E27FC236}">
                      <a16:creationId xmlns:a16="http://schemas.microsoft.com/office/drawing/2014/main" id="{ECC250C7-CF66-4336-9741-5E025E81CEB4}"/>
                    </a:ext>
                  </a:extLst>
                </p:cNvPr>
                <p:cNvGrpSpPr/>
                <p:nvPr/>
              </p:nvGrpSpPr>
              <p:grpSpPr>
                <a:xfrm>
                  <a:off x="6391781" y="4561758"/>
                  <a:ext cx="126964" cy="126058"/>
                  <a:chOff x="6391781" y="4561758"/>
                  <a:chExt cx="126964" cy="126058"/>
                </a:xfrm>
                <a:grpFill/>
              </p:grpSpPr>
              <p:sp>
                <p:nvSpPr>
                  <p:cNvPr id="631" name="Freeform: Shape 630">
                    <a:extLst>
                      <a:ext uri="{FF2B5EF4-FFF2-40B4-BE49-F238E27FC236}">
                        <a16:creationId xmlns:a16="http://schemas.microsoft.com/office/drawing/2014/main" id="{8FBAD400-22AB-4422-BA97-5DE03162DA1F}"/>
                      </a:ext>
                    </a:extLst>
                  </p:cNvPr>
                  <p:cNvSpPr/>
                  <p:nvPr/>
                </p:nvSpPr>
                <p:spPr>
                  <a:xfrm>
                    <a:off x="6391781" y="4592746"/>
                    <a:ext cx="96208" cy="95071"/>
                  </a:xfrm>
                  <a:custGeom>
                    <a:avLst/>
                    <a:gdLst>
                      <a:gd name="connsiteX0" fmla="*/ 59988 w 96208"/>
                      <a:gd name="connsiteY0" fmla="*/ 95071 h 95071"/>
                      <a:gd name="connsiteX1" fmla="*/ 49086 w 96208"/>
                      <a:gd name="connsiteY1" fmla="*/ 93518 h 95071"/>
                      <a:gd name="connsiteX2" fmla="*/ 20295 w 96208"/>
                      <a:gd name="connsiteY2" fmla="*/ 75639 h 95071"/>
                      <a:gd name="connsiteX3" fmla="*/ 9128 w 96208"/>
                      <a:gd name="connsiteY3" fmla="*/ 13696 h 95071"/>
                      <a:gd name="connsiteX4" fmla="*/ 45481 w 96208"/>
                      <a:gd name="connsiteY4" fmla="*/ 40 h 95071"/>
                      <a:gd name="connsiteX5" fmla="*/ 82983 w 96208"/>
                      <a:gd name="connsiteY5" fmla="*/ 12962 h 95071"/>
                      <a:gd name="connsiteX6" fmla="*/ 82983 w 96208"/>
                      <a:gd name="connsiteY6" fmla="*/ 85573 h 95071"/>
                      <a:gd name="connsiteX7" fmla="*/ 59988 w 96208"/>
                      <a:gd name="connsiteY7" fmla="*/ 95071 h 95071"/>
                      <a:gd name="connsiteX8" fmla="*/ 47172 w 96208"/>
                      <a:gd name="connsiteY8" fmla="*/ 21290 h 95071"/>
                      <a:gd name="connsiteX9" fmla="*/ 46023 w 96208"/>
                      <a:gd name="connsiteY9" fmla="*/ 21301 h 95071"/>
                      <a:gd name="connsiteX10" fmla="*/ 24167 w 96208"/>
                      <a:gd name="connsiteY10" fmla="*/ 28735 h 95071"/>
                      <a:gd name="connsiteX11" fmla="*/ 22167 w 96208"/>
                      <a:gd name="connsiteY11" fmla="*/ 41094 h 95071"/>
                      <a:gd name="connsiteX12" fmla="*/ 35324 w 96208"/>
                      <a:gd name="connsiteY12" fmla="*/ 60600 h 95071"/>
                      <a:gd name="connsiteX13" fmla="*/ 54798 w 96208"/>
                      <a:gd name="connsiteY13" fmla="*/ 73023 h 95071"/>
                      <a:gd name="connsiteX14" fmla="*/ 67933 w 96208"/>
                      <a:gd name="connsiteY14" fmla="*/ 70534 h 95071"/>
                      <a:gd name="connsiteX15" fmla="*/ 67933 w 96208"/>
                      <a:gd name="connsiteY15" fmla="*/ 28001 h 95071"/>
                      <a:gd name="connsiteX16" fmla="*/ 47172 w 96208"/>
                      <a:gd name="connsiteY16" fmla="*/ 21290 h 95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208" h="95071">
                        <a:moveTo>
                          <a:pt x="59988" y="95071"/>
                        </a:moveTo>
                        <a:cubicBezTo>
                          <a:pt x="56468" y="95071"/>
                          <a:pt x="52819" y="94550"/>
                          <a:pt x="49086" y="93518"/>
                        </a:cubicBezTo>
                        <a:cubicBezTo>
                          <a:pt x="39301" y="90785"/>
                          <a:pt x="29080" y="84435"/>
                          <a:pt x="20295" y="75639"/>
                        </a:cubicBezTo>
                        <a:cubicBezTo>
                          <a:pt x="-1913" y="53432"/>
                          <a:pt x="-6294" y="29118"/>
                          <a:pt x="9128" y="13696"/>
                        </a:cubicBezTo>
                        <a:cubicBezTo>
                          <a:pt x="17317" y="5507"/>
                          <a:pt x="30899" y="401"/>
                          <a:pt x="45481" y="40"/>
                        </a:cubicBezTo>
                        <a:cubicBezTo>
                          <a:pt x="60818" y="-492"/>
                          <a:pt x="74400" y="4347"/>
                          <a:pt x="82983" y="12962"/>
                        </a:cubicBezTo>
                        <a:cubicBezTo>
                          <a:pt x="100617" y="30596"/>
                          <a:pt x="100617" y="67918"/>
                          <a:pt x="82983" y="85573"/>
                        </a:cubicBezTo>
                        <a:cubicBezTo>
                          <a:pt x="76729" y="91848"/>
                          <a:pt x="68784" y="95071"/>
                          <a:pt x="59988" y="95071"/>
                        </a:cubicBezTo>
                        <a:close/>
                        <a:moveTo>
                          <a:pt x="47172" y="21290"/>
                        </a:moveTo>
                        <a:cubicBezTo>
                          <a:pt x="46789" y="21290"/>
                          <a:pt x="46406" y="21290"/>
                          <a:pt x="46023" y="21301"/>
                        </a:cubicBezTo>
                        <a:cubicBezTo>
                          <a:pt x="37036" y="21524"/>
                          <a:pt x="28463" y="24449"/>
                          <a:pt x="24167" y="28735"/>
                        </a:cubicBezTo>
                        <a:cubicBezTo>
                          <a:pt x="22061" y="30841"/>
                          <a:pt x="19934" y="34149"/>
                          <a:pt x="22167" y="41094"/>
                        </a:cubicBezTo>
                        <a:cubicBezTo>
                          <a:pt x="24092" y="47050"/>
                          <a:pt x="28889" y="54166"/>
                          <a:pt x="35324" y="60600"/>
                        </a:cubicBezTo>
                        <a:cubicBezTo>
                          <a:pt x="41482" y="66758"/>
                          <a:pt x="48576" y="71290"/>
                          <a:pt x="54798" y="73023"/>
                        </a:cubicBezTo>
                        <a:cubicBezTo>
                          <a:pt x="62264" y="75097"/>
                          <a:pt x="65870" y="72598"/>
                          <a:pt x="67933" y="70534"/>
                        </a:cubicBezTo>
                        <a:cubicBezTo>
                          <a:pt x="77272" y="61185"/>
                          <a:pt x="77272" y="37339"/>
                          <a:pt x="67933" y="28001"/>
                        </a:cubicBezTo>
                        <a:cubicBezTo>
                          <a:pt x="63764" y="23811"/>
                          <a:pt x="55882" y="21290"/>
                          <a:pt x="47172" y="21290"/>
                        </a:cubicBezTo>
                        <a:close/>
                      </a:path>
                    </a:pathLst>
                  </a:custGeom>
                  <a:grpFill/>
                  <a:ln w="1063" cap="flat">
                    <a:noFill/>
                    <a:prstDash val="solid"/>
                    <a:miter/>
                  </a:ln>
                </p:spPr>
                <p:txBody>
                  <a:bodyPr rtlCol="0" anchor="ctr"/>
                  <a:lstStyle/>
                  <a:p>
                    <a:endParaRPr lang="en-GB" dirty="0"/>
                  </a:p>
                </p:txBody>
              </p:sp>
              <p:sp>
                <p:nvSpPr>
                  <p:cNvPr id="632" name="Freeform: Shape 631">
                    <a:extLst>
                      <a:ext uri="{FF2B5EF4-FFF2-40B4-BE49-F238E27FC236}">
                        <a16:creationId xmlns:a16="http://schemas.microsoft.com/office/drawing/2014/main" id="{698BC971-F737-49E3-B101-ED32E69D43EC}"/>
                      </a:ext>
                    </a:extLst>
                  </p:cNvPr>
                  <p:cNvSpPr/>
                  <p:nvPr/>
                </p:nvSpPr>
                <p:spPr>
                  <a:xfrm>
                    <a:off x="6456627" y="4561758"/>
                    <a:ext cx="62118" cy="62115"/>
                  </a:xfrm>
                  <a:custGeom>
                    <a:avLst/>
                    <a:gdLst>
                      <a:gd name="connsiteX0" fmla="*/ 10638 w 62118"/>
                      <a:gd name="connsiteY0" fmla="*/ 62116 h 62115"/>
                      <a:gd name="connsiteX1" fmla="*/ 3119 w 62118"/>
                      <a:gd name="connsiteY1" fmla="*/ 58999 h 62115"/>
                      <a:gd name="connsiteX2" fmla="*/ 3119 w 62118"/>
                      <a:gd name="connsiteY2" fmla="*/ 43961 h 62115"/>
                      <a:gd name="connsiteX3" fmla="*/ 43961 w 62118"/>
                      <a:gd name="connsiteY3" fmla="*/ 3119 h 62115"/>
                      <a:gd name="connsiteX4" fmla="*/ 59000 w 62118"/>
                      <a:gd name="connsiteY4" fmla="*/ 3119 h 62115"/>
                      <a:gd name="connsiteX5" fmla="*/ 59000 w 62118"/>
                      <a:gd name="connsiteY5" fmla="*/ 18158 h 62115"/>
                      <a:gd name="connsiteX6" fmla="*/ 18158 w 62118"/>
                      <a:gd name="connsiteY6" fmla="*/ 58999 h 62115"/>
                      <a:gd name="connsiteX7" fmla="*/ 10638 w 62118"/>
                      <a:gd name="connsiteY7" fmla="*/ 62116 h 62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18" h="62115">
                        <a:moveTo>
                          <a:pt x="10638" y="62116"/>
                        </a:moveTo>
                        <a:cubicBezTo>
                          <a:pt x="7916" y="62116"/>
                          <a:pt x="5193" y="61074"/>
                          <a:pt x="3119" y="58999"/>
                        </a:cubicBezTo>
                        <a:cubicBezTo>
                          <a:pt x="-1040" y="54841"/>
                          <a:pt x="-1040" y="48119"/>
                          <a:pt x="3119" y="43961"/>
                        </a:cubicBezTo>
                        <a:lnTo>
                          <a:pt x="43961" y="3119"/>
                        </a:lnTo>
                        <a:cubicBezTo>
                          <a:pt x="48119" y="-1040"/>
                          <a:pt x="54841" y="-1040"/>
                          <a:pt x="59000" y="3119"/>
                        </a:cubicBezTo>
                        <a:cubicBezTo>
                          <a:pt x="63158" y="7277"/>
                          <a:pt x="63158" y="14000"/>
                          <a:pt x="59000" y="18158"/>
                        </a:cubicBezTo>
                        <a:lnTo>
                          <a:pt x="18158" y="58999"/>
                        </a:lnTo>
                        <a:cubicBezTo>
                          <a:pt x="16073" y="61074"/>
                          <a:pt x="13350" y="62116"/>
                          <a:pt x="10638" y="62116"/>
                        </a:cubicBezTo>
                        <a:close/>
                      </a:path>
                    </a:pathLst>
                  </a:custGeom>
                  <a:grpFill/>
                  <a:ln w="1063" cap="flat">
                    <a:noFill/>
                    <a:prstDash val="solid"/>
                    <a:miter/>
                  </a:ln>
                </p:spPr>
                <p:txBody>
                  <a:bodyPr rtlCol="0" anchor="ctr"/>
                  <a:lstStyle/>
                  <a:p>
                    <a:endParaRPr lang="en-GB" dirty="0"/>
                  </a:p>
                </p:txBody>
              </p:sp>
            </p:grpSp>
          </p:grpSp>
          <p:sp>
            <p:nvSpPr>
              <p:cNvPr id="620" name="Freeform: Shape 619">
                <a:extLst>
                  <a:ext uri="{FF2B5EF4-FFF2-40B4-BE49-F238E27FC236}">
                    <a16:creationId xmlns:a16="http://schemas.microsoft.com/office/drawing/2014/main" id="{9D200444-48E6-4E50-80B5-E8661A6BF6D8}"/>
                  </a:ext>
                </a:extLst>
              </p:cNvPr>
              <p:cNvSpPr/>
              <p:nvPr/>
            </p:nvSpPr>
            <p:spPr>
              <a:xfrm>
                <a:off x="3965577" y="4325486"/>
                <a:ext cx="22990" cy="33998"/>
              </a:xfrm>
              <a:custGeom>
                <a:avLst/>
                <a:gdLst>
                  <a:gd name="connsiteX0" fmla="*/ 25230 w 35857"/>
                  <a:gd name="connsiteY0" fmla="*/ 53028 h 53027"/>
                  <a:gd name="connsiteX1" fmla="*/ 15552 w 35857"/>
                  <a:gd name="connsiteY1" fmla="*/ 46827 h 53027"/>
                  <a:gd name="connsiteX2" fmla="*/ 970 w 35857"/>
                  <a:gd name="connsiteY2" fmla="*/ 15068 h 53027"/>
                  <a:gd name="connsiteX3" fmla="*/ 6203 w 35857"/>
                  <a:gd name="connsiteY3" fmla="*/ 965 h 53027"/>
                  <a:gd name="connsiteX4" fmla="*/ 20306 w 35857"/>
                  <a:gd name="connsiteY4" fmla="*/ 6198 h 53027"/>
                  <a:gd name="connsiteX5" fmla="*/ 34888 w 35857"/>
                  <a:gd name="connsiteY5" fmla="*/ 37957 h 53027"/>
                  <a:gd name="connsiteX6" fmla="*/ 29655 w 35857"/>
                  <a:gd name="connsiteY6" fmla="*/ 52060 h 53027"/>
                  <a:gd name="connsiteX7" fmla="*/ 25230 w 35857"/>
                  <a:gd name="connsiteY7" fmla="*/ 53028 h 5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57" h="53027">
                    <a:moveTo>
                      <a:pt x="25230" y="53028"/>
                    </a:moveTo>
                    <a:cubicBezTo>
                      <a:pt x="21199" y="53028"/>
                      <a:pt x="17349" y="50731"/>
                      <a:pt x="15552" y="46827"/>
                    </a:cubicBezTo>
                    <a:lnTo>
                      <a:pt x="970" y="15068"/>
                    </a:lnTo>
                    <a:cubicBezTo>
                      <a:pt x="-1476" y="9729"/>
                      <a:pt x="863" y="3411"/>
                      <a:pt x="6203" y="965"/>
                    </a:cubicBezTo>
                    <a:cubicBezTo>
                      <a:pt x="11531" y="-1470"/>
                      <a:pt x="17849" y="859"/>
                      <a:pt x="20306" y="6198"/>
                    </a:cubicBezTo>
                    <a:lnTo>
                      <a:pt x="34888" y="37957"/>
                    </a:lnTo>
                    <a:cubicBezTo>
                      <a:pt x="37334" y="43296"/>
                      <a:pt x="34994" y="49614"/>
                      <a:pt x="29655" y="52060"/>
                    </a:cubicBezTo>
                    <a:cubicBezTo>
                      <a:pt x="28219" y="52719"/>
                      <a:pt x="26709" y="53028"/>
                      <a:pt x="25230" y="53028"/>
                    </a:cubicBezTo>
                    <a:close/>
                  </a:path>
                </a:pathLst>
              </a:custGeom>
              <a:grpFill/>
              <a:ln w="1063" cap="flat">
                <a:noFill/>
                <a:prstDash val="solid"/>
                <a:miter/>
              </a:ln>
            </p:spPr>
            <p:txBody>
              <a:bodyPr rtlCol="0" anchor="ctr"/>
              <a:lstStyle/>
              <a:p>
                <a:endParaRPr lang="en-GB" dirty="0"/>
              </a:p>
            </p:txBody>
          </p:sp>
          <p:sp>
            <p:nvSpPr>
              <p:cNvPr id="621" name="Freeform: Shape 620">
                <a:extLst>
                  <a:ext uri="{FF2B5EF4-FFF2-40B4-BE49-F238E27FC236}">
                    <a16:creationId xmlns:a16="http://schemas.microsoft.com/office/drawing/2014/main" id="{C4409B7C-AE85-4630-A47A-4BDC3A8BE1E7}"/>
                  </a:ext>
                </a:extLst>
              </p:cNvPr>
              <p:cNvSpPr/>
              <p:nvPr/>
            </p:nvSpPr>
            <p:spPr>
              <a:xfrm>
                <a:off x="3857644" y="4090449"/>
                <a:ext cx="23160" cy="34374"/>
              </a:xfrm>
              <a:custGeom>
                <a:avLst/>
                <a:gdLst>
                  <a:gd name="connsiteX0" fmla="*/ 25496 w 36123"/>
                  <a:gd name="connsiteY0" fmla="*/ 53615 h 53614"/>
                  <a:gd name="connsiteX1" fmla="*/ 15818 w 36123"/>
                  <a:gd name="connsiteY1" fmla="*/ 47414 h 53614"/>
                  <a:gd name="connsiteX2" fmla="*/ 970 w 36123"/>
                  <a:gd name="connsiteY2" fmla="*/ 15070 h 53614"/>
                  <a:gd name="connsiteX3" fmla="*/ 6203 w 36123"/>
                  <a:gd name="connsiteY3" fmla="*/ 967 h 53614"/>
                  <a:gd name="connsiteX4" fmla="*/ 20306 w 36123"/>
                  <a:gd name="connsiteY4" fmla="*/ 6200 h 53614"/>
                  <a:gd name="connsiteX5" fmla="*/ 35154 w 36123"/>
                  <a:gd name="connsiteY5" fmla="*/ 38544 h 53614"/>
                  <a:gd name="connsiteX6" fmla="*/ 29921 w 36123"/>
                  <a:gd name="connsiteY6" fmla="*/ 52647 h 53614"/>
                  <a:gd name="connsiteX7" fmla="*/ 25496 w 36123"/>
                  <a:gd name="connsiteY7" fmla="*/ 53615 h 53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23" h="53614">
                    <a:moveTo>
                      <a:pt x="25496" y="53615"/>
                    </a:moveTo>
                    <a:cubicBezTo>
                      <a:pt x="21465" y="53615"/>
                      <a:pt x="17615" y="51317"/>
                      <a:pt x="15818" y="47414"/>
                    </a:cubicBezTo>
                    <a:lnTo>
                      <a:pt x="970" y="15070"/>
                    </a:lnTo>
                    <a:cubicBezTo>
                      <a:pt x="-1476" y="9731"/>
                      <a:pt x="864" y="3413"/>
                      <a:pt x="6203" y="967"/>
                    </a:cubicBezTo>
                    <a:cubicBezTo>
                      <a:pt x="11521" y="-1469"/>
                      <a:pt x="17849" y="850"/>
                      <a:pt x="20306" y="6200"/>
                    </a:cubicBezTo>
                    <a:lnTo>
                      <a:pt x="35154" y="38544"/>
                    </a:lnTo>
                    <a:cubicBezTo>
                      <a:pt x="37600" y="43883"/>
                      <a:pt x="35260" y="50200"/>
                      <a:pt x="29921" y="52647"/>
                    </a:cubicBezTo>
                    <a:cubicBezTo>
                      <a:pt x="28485" y="53306"/>
                      <a:pt x="26985" y="53615"/>
                      <a:pt x="25496" y="53615"/>
                    </a:cubicBezTo>
                    <a:close/>
                  </a:path>
                </a:pathLst>
              </a:custGeom>
              <a:grpFill/>
              <a:ln w="1063" cap="flat">
                <a:noFill/>
                <a:prstDash val="solid"/>
                <a:miter/>
              </a:ln>
            </p:spPr>
            <p:txBody>
              <a:bodyPr rtlCol="0" anchor="ctr"/>
              <a:lstStyle/>
              <a:p>
                <a:endParaRPr lang="en-GB" dirty="0"/>
              </a:p>
            </p:txBody>
          </p:sp>
          <p:sp>
            <p:nvSpPr>
              <p:cNvPr id="622" name="Freeform: Shape 621">
                <a:extLst>
                  <a:ext uri="{FF2B5EF4-FFF2-40B4-BE49-F238E27FC236}">
                    <a16:creationId xmlns:a16="http://schemas.microsoft.com/office/drawing/2014/main" id="{EC8C64D3-A924-40B1-ACCF-625B85A9D5F2}"/>
                  </a:ext>
                </a:extLst>
              </p:cNvPr>
              <p:cNvSpPr/>
              <p:nvPr/>
            </p:nvSpPr>
            <p:spPr>
              <a:xfrm>
                <a:off x="4024904" y="4267431"/>
                <a:ext cx="33362" cy="22634"/>
              </a:xfrm>
              <a:custGeom>
                <a:avLst/>
                <a:gdLst>
                  <a:gd name="connsiteX0" fmla="*/ 41386 w 52035"/>
                  <a:gd name="connsiteY0" fmla="*/ 35303 h 35303"/>
                  <a:gd name="connsiteX1" fmla="*/ 36984 w 52035"/>
                  <a:gd name="connsiteY1" fmla="*/ 34346 h 35303"/>
                  <a:gd name="connsiteX2" fmla="*/ 6224 w 52035"/>
                  <a:gd name="connsiteY2" fmla="*/ 20328 h 35303"/>
                  <a:gd name="connsiteX3" fmla="*/ 960 w 52035"/>
                  <a:gd name="connsiteY3" fmla="*/ 6235 h 35303"/>
                  <a:gd name="connsiteX4" fmla="*/ 15052 w 52035"/>
                  <a:gd name="connsiteY4" fmla="*/ 970 h 35303"/>
                  <a:gd name="connsiteX5" fmla="*/ 45811 w 52035"/>
                  <a:gd name="connsiteY5" fmla="*/ 14988 h 35303"/>
                  <a:gd name="connsiteX6" fmla="*/ 51076 w 52035"/>
                  <a:gd name="connsiteY6" fmla="*/ 29081 h 35303"/>
                  <a:gd name="connsiteX7" fmla="*/ 41386 w 52035"/>
                  <a:gd name="connsiteY7" fmla="*/ 35303 h 3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35" h="35303">
                    <a:moveTo>
                      <a:pt x="41386" y="35303"/>
                    </a:moveTo>
                    <a:cubicBezTo>
                      <a:pt x="39908" y="35303"/>
                      <a:pt x="38419" y="35005"/>
                      <a:pt x="36984" y="34346"/>
                    </a:cubicBezTo>
                    <a:lnTo>
                      <a:pt x="6224" y="20328"/>
                    </a:lnTo>
                    <a:cubicBezTo>
                      <a:pt x="885" y="17892"/>
                      <a:pt x="-1476" y="11585"/>
                      <a:pt x="960" y="6235"/>
                    </a:cubicBezTo>
                    <a:cubicBezTo>
                      <a:pt x="3395" y="886"/>
                      <a:pt x="9692" y="-1486"/>
                      <a:pt x="15052" y="970"/>
                    </a:cubicBezTo>
                    <a:lnTo>
                      <a:pt x="45811" y="14988"/>
                    </a:lnTo>
                    <a:cubicBezTo>
                      <a:pt x="51150" y="17424"/>
                      <a:pt x="53511" y="23731"/>
                      <a:pt x="51076" y="29081"/>
                    </a:cubicBezTo>
                    <a:cubicBezTo>
                      <a:pt x="49289" y="33006"/>
                      <a:pt x="45417" y="35303"/>
                      <a:pt x="41386" y="35303"/>
                    </a:cubicBezTo>
                    <a:close/>
                  </a:path>
                </a:pathLst>
              </a:custGeom>
              <a:grpFill/>
              <a:ln w="1063" cap="flat">
                <a:noFill/>
                <a:prstDash val="solid"/>
                <a:miter/>
              </a:ln>
            </p:spPr>
            <p:txBody>
              <a:bodyPr rtlCol="0" anchor="ctr"/>
              <a:lstStyle/>
              <a:p>
                <a:endParaRPr lang="en-GB" dirty="0"/>
              </a:p>
            </p:txBody>
          </p:sp>
          <p:sp>
            <p:nvSpPr>
              <p:cNvPr id="623" name="Freeform: Shape 622">
                <a:extLst>
                  <a:ext uri="{FF2B5EF4-FFF2-40B4-BE49-F238E27FC236}">
                    <a16:creationId xmlns:a16="http://schemas.microsoft.com/office/drawing/2014/main" id="{13E2EF2C-7BAE-4CD3-B36F-C09480CF0916}"/>
                  </a:ext>
                </a:extLst>
              </p:cNvPr>
              <p:cNvSpPr/>
              <p:nvPr/>
            </p:nvSpPr>
            <p:spPr>
              <a:xfrm>
                <a:off x="3788913" y="4159859"/>
                <a:ext cx="33921" cy="22886"/>
              </a:xfrm>
              <a:custGeom>
                <a:avLst/>
                <a:gdLst>
                  <a:gd name="connsiteX0" fmla="*/ 42259 w 52907"/>
                  <a:gd name="connsiteY0" fmla="*/ 35697 h 35696"/>
                  <a:gd name="connsiteX1" fmla="*/ 37856 w 52907"/>
                  <a:gd name="connsiteY1" fmla="*/ 34739 h 35696"/>
                  <a:gd name="connsiteX2" fmla="*/ 6224 w 52907"/>
                  <a:gd name="connsiteY2" fmla="*/ 20328 h 35696"/>
                  <a:gd name="connsiteX3" fmla="*/ 960 w 52907"/>
                  <a:gd name="connsiteY3" fmla="*/ 6235 h 35696"/>
                  <a:gd name="connsiteX4" fmla="*/ 15052 w 52907"/>
                  <a:gd name="connsiteY4" fmla="*/ 971 h 35696"/>
                  <a:gd name="connsiteX5" fmla="*/ 46683 w 52907"/>
                  <a:gd name="connsiteY5" fmla="*/ 15382 h 35696"/>
                  <a:gd name="connsiteX6" fmla="*/ 51948 w 52907"/>
                  <a:gd name="connsiteY6" fmla="*/ 29475 h 35696"/>
                  <a:gd name="connsiteX7" fmla="*/ 42259 w 52907"/>
                  <a:gd name="connsiteY7" fmla="*/ 35697 h 35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907" h="35696">
                    <a:moveTo>
                      <a:pt x="42259" y="35697"/>
                    </a:moveTo>
                    <a:cubicBezTo>
                      <a:pt x="40781" y="35697"/>
                      <a:pt x="39291" y="35399"/>
                      <a:pt x="37856" y="34739"/>
                    </a:cubicBezTo>
                    <a:lnTo>
                      <a:pt x="6224" y="20328"/>
                    </a:lnTo>
                    <a:cubicBezTo>
                      <a:pt x="885" y="17892"/>
                      <a:pt x="-1476" y="11585"/>
                      <a:pt x="960" y="6235"/>
                    </a:cubicBezTo>
                    <a:cubicBezTo>
                      <a:pt x="3395" y="885"/>
                      <a:pt x="9692" y="-1486"/>
                      <a:pt x="15052" y="971"/>
                    </a:cubicBezTo>
                    <a:lnTo>
                      <a:pt x="46683" y="15382"/>
                    </a:lnTo>
                    <a:cubicBezTo>
                      <a:pt x="52022" y="17818"/>
                      <a:pt x="54383" y="24125"/>
                      <a:pt x="51948" y="29475"/>
                    </a:cubicBezTo>
                    <a:cubicBezTo>
                      <a:pt x="50161" y="33389"/>
                      <a:pt x="46300" y="35697"/>
                      <a:pt x="42259" y="35697"/>
                    </a:cubicBezTo>
                    <a:close/>
                  </a:path>
                </a:pathLst>
              </a:custGeom>
              <a:grpFill/>
              <a:ln w="1063" cap="flat">
                <a:noFill/>
                <a:prstDash val="solid"/>
                <a:miter/>
              </a:ln>
            </p:spPr>
            <p:txBody>
              <a:bodyPr rtlCol="0" anchor="ctr"/>
              <a:lstStyle/>
              <a:p>
                <a:endParaRPr lang="en-GB" dirty="0"/>
              </a:p>
            </p:txBody>
          </p:sp>
          <p:sp>
            <p:nvSpPr>
              <p:cNvPr id="624" name="Freeform: Shape 623">
                <a:extLst>
                  <a:ext uri="{FF2B5EF4-FFF2-40B4-BE49-F238E27FC236}">
                    <a16:creationId xmlns:a16="http://schemas.microsoft.com/office/drawing/2014/main" id="{EB07B75E-DBAF-4C41-B949-1DBC5A42364A}"/>
                  </a:ext>
                </a:extLst>
              </p:cNvPr>
              <p:cNvSpPr/>
              <p:nvPr/>
            </p:nvSpPr>
            <p:spPr>
              <a:xfrm>
                <a:off x="4023765" y="4161123"/>
                <a:ext cx="34686" cy="22993"/>
              </a:xfrm>
              <a:custGeom>
                <a:avLst/>
                <a:gdLst>
                  <a:gd name="connsiteX0" fmla="*/ 10650 w 54100"/>
                  <a:gd name="connsiteY0" fmla="*/ 35862 h 35862"/>
                  <a:gd name="connsiteX1" fmla="*/ 918 w 54100"/>
                  <a:gd name="connsiteY1" fmla="*/ 29545 h 35862"/>
                  <a:gd name="connsiteX2" fmla="*/ 6321 w 54100"/>
                  <a:gd name="connsiteY2" fmla="*/ 15505 h 35862"/>
                  <a:gd name="connsiteX3" fmla="*/ 39143 w 54100"/>
                  <a:gd name="connsiteY3" fmla="*/ 924 h 35862"/>
                  <a:gd name="connsiteX4" fmla="*/ 53182 w 54100"/>
                  <a:gd name="connsiteY4" fmla="*/ 6327 h 35862"/>
                  <a:gd name="connsiteX5" fmla="*/ 47780 w 54100"/>
                  <a:gd name="connsiteY5" fmla="*/ 20366 h 35862"/>
                  <a:gd name="connsiteX6" fmla="*/ 14957 w 54100"/>
                  <a:gd name="connsiteY6" fmla="*/ 34948 h 35862"/>
                  <a:gd name="connsiteX7" fmla="*/ 10650 w 54100"/>
                  <a:gd name="connsiteY7" fmla="*/ 35862 h 3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00" h="35862">
                    <a:moveTo>
                      <a:pt x="10650" y="35862"/>
                    </a:moveTo>
                    <a:cubicBezTo>
                      <a:pt x="6566" y="35862"/>
                      <a:pt x="2683" y="33502"/>
                      <a:pt x="918" y="29545"/>
                    </a:cubicBezTo>
                    <a:cubicBezTo>
                      <a:pt x="-1465" y="24174"/>
                      <a:pt x="950" y="17888"/>
                      <a:pt x="6321" y="15505"/>
                    </a:cubicBezTo>
                    <a:lnTo>
                      <a:pt x="39143" y="924"/>
                    </a:lnTo>
                    <a:cubicBezTo>
                      <a:pt x="44535" y="-1480"/>
                      <a:pt x="50800" y="977"/>
                      <a:pt x="53182" y="6327"/>
                    </a:cubicBezTo>
                    <a:cubicBezTo>
                      <a:pt x="55565" y="11698"/>
                      <a:pt x="53151" y="17983"/>
                      <a:pt x="47780" y="20366"/>
                    </a:cubicBezTo>
                    <a:lnTo>
                      <a:pt x="14957" y="34948"/>
                    </a:lnTo>
                    <a:cubicBezTo>
                      <a:pt x="13553" y="35575"/>
                      <a:pt x="12086" y="35862"/>
                      <a:pt x="10650" y="35862"/>
                    </a:cubicBezTo>
                    <a:close/>
                  </a:path>
                </a:pathLst>
              </a:custGeom>
              <a:grpFill/>
              <a:ln w="1063" cap="flat">
                <a:noFill/>
                <a:prstDash val="solid"/>
                <a:miter/>
              </a:ln>
            </p:spPr>
            <p:txBody>
              <a:bodyPr rtlCol="0" anchor="ctr"/>
              <a:lstStyle/>
              <a:p>
                <a:endParaRPr lang="en-GB" dirty="0"/>
              </a:p>
            </p:txBody>
          </p:sp>
          <p:sp>
            <p:nvSpPr>
              <p:cNvPr id="625" name="Freeform: Shape 624">
                <a:extLst>
                  <a:ext uri="{FF2B5EF4-FFF2-40B4-BE49-F238E27FC236}">
                    <a16:creationId xmlns:a16="http://schemas.microsoft.com/office/drawing/2014/main" id="{54D878A4-4407-475A-B58E-76F4D5AC7BA5}"/>
                  </a:ext>
                </a:extLst>
              </p:cNvPr>
              <p:cNvSpPr/>
              <p:nvPr/>
            </p:nvSpPr>
            <p:spPr>
              <a:xfrm>
                <a:off x="3787972" y="4266340"/>
                <a:ext cx="33506" cy="22471"/>
              </a:xfrm>
              <a:custGeom>
                <a:avLst/>
                <a:gdLst>
                  <a:gd name="connsiteX0" fmla="*/ 10650 w 52260"/>
                  <a:gd name="connsiteY0" fmla="*/ 35048 h 35048"/>
                  <a:gd name="connsiteX1" fmla="*/ 918 w 52260"/>
                  <a:gd name="connsiteY1" fmla="*/ 28730 h 35048"/>
                  <a:gd name="connsiteX2" fmla="*/ 6321 w 52260"/>
                  <a:gd name="connsiteY2" fmla="*/ 14691 h 35048"/>
                  <a:gd name="connsiteX3" fmla="*/ 37303 w 52260"/>
                  <a:gd name="connsiteY3" fmla="*/ 928 h 35048"/>
                  <a:gd name="connsiteX4" fmla="*/ 51342 w 52260"/>
                  <a:gd name="connsiteY4" fmla="*/ 6331 h 35048"/>
                  <a:gd name="connsiteX5" fmla="*/ 45939 w 52260"/>
                  <a:gd name="connsiteY5" fmla="*/ 20370 h 35048"/>
                  <a:gd name="connsiteX6" fmla="*/ 14957 w 52260"/>
                  <a:gd name="connsiteY6" fmla="*/ 34133 h 35048"/>
                  <a:gd name="connsiteX7" fmla="*/ 10650 w 52260"/>
                  <a:gd name="connsiteY7" fmla="*/ 35048 h 3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60" h="35048">
                    <a:moveTo>
                      <a:pt x="10650" y="35048"/>
                    </a:moveTo>
                    <a:cubicBezTo>
                      <a:pt x="6565" y="35048"/>
                      <a:pt x="2683" y="32687"/>
                      <a:pt x="918" y="28730"/>
                    </a:cubicBezTo>
                    <a:cubicBezTo>
                      <a:pt x="-1465" y="23359"/>
                      <a:pt x="950" y="17073"/>
                      <a:pt x="6321" y="14691"/>
                    </a:cubicBezTo>
                    <a:lnTo>
                      <a:pt x="37303" y="928"/>
                    </a:lnTo>
                    <a:cubicBezTo>
                      <a:pt x="42685" y="-1486"/>
                      <a:pt x="48960" y="981"/>
                      <a:pt x="51342" y="6331"/>
                    </a:cubicBezTo>
                    <a:cubicBezTo>
                      <a:pt x="53725" y="11702"/>
                      <a:pt x="51311" y="17988"/>
                      <a:pt x="45939" y="20370"/>
                    </a:cubicBezTo>
                    <a:lnTo>
                      <a:pt x="14957" y="34133"/>
                    </a:lnTo>
                    <a:cubicBezTo>
                      <a:pt x="13553" y="34761"/>
                      <a:pt x="12086" y="35048"/>
                      <a:pt x="10650" y="35048"/>
                    </a:cubicBezTo>
                    <a:close/>
                  </a:path>
                </a:pathLst>
              </a:custGeom>
              <a:grpFill/>
              <a:ln w="1063" cap="flat">
                <a:noFill/>
                <a:prstDash val="solid"/>
                <a:miter/>
              </a:ln>
            </p:spPr>
            <p:txBody>
              <a:bodyPr rtlCol="0" anchor="ctr"/>
              <a:lstStyle/>
              <a:p>
                <a:endParaRPr lang="en-GB" dirty="0"/>
              </a:p>
            </p:txBody>
          </p:sp>
          <p:sp>
            <p:nvSpPr>
              <p:cNvPr id="626" name="Freeform: Shape 625">
                <a:extLst>
                  <a:ext uri="{FF2B5EF4-FFF2-40B4-BE49-F238E27FC236}">
                    <a16:creationId xmlns:a16="http://schemas.microsoft.com/office/drawing/2014/main" id="{A503E876-B4E2-45F0-9A5E-B432539D2D4A}"/>
                  </a:ext>
                </a:extLst>
              </p:cNvPr>
              <p:cNvSpPr/>
              <p:nvPr/>
            </p:nvSpPr>
            <p:spPr>
              <a:xfrm>
                <a:off x="3857821" y="4326358"/>
                <a:ext cx="22594" cy="33174"/>
              </a:xfrm>
              <a:custGeom>
                <a:avLst/>
                <a:gdLst>
                  <a:gd name="connsiteX0" fmla="*/ 10627 w 35240"/>
                  <a:gd name="connsiteY0" fmla="*/ 51742 h 51742"/>
                  <a:gd name="connsiteX1" fmla="*/ 6213 w 35240"/>
                  <a:gd name="connsiteY1" fmla="*/ 50774 h 51742"/>
                  <a:gd name="connsiteX2" fmla="*/ 970 w 35240"/>
                  <a:gd name="connsiteY2" fmla="*/ 36682 h 51742"/>
                  <a:gd name="connsiteX3" fmla="*/ 14935 w 35240"/>
                  <a:gd name="connsiteY3" fmla="*/ 6210 h 51742"/>
                  <a:gd name="connsiteX4" fmla="*/ 29027 w 35240"/>
                  <a:gd name="connsiteY4" fmla="*/ 966 h 51742"/>
                  <a:gd name="connsiteX5" fmla="*/ 34270 w 35240"/>
                  <a:gd name="connsiteY5" fmla="*/ 15059 h 51742"/>
                  <a:gd name="connsiteX6" fmla="*/ 20306 w 35240"/>
                  <a:gd name="connsiteY6" fmla="*/ 45530 h 51742"/>
                  <a:gd name="connsiteX7" fmla="*/ 10627 w 35240"/>
                  <a:gd name="connsiteY7" fmla="*/ 51742 h 5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40" h="51742">
                    <a:moveTo>
                      <a:pt x="10627" y="51742"/>
                    </a:moveTo>
                    <a:cubicBezTo>
                      <a:pt x="9148" y="51742"/>
                      <a:pt x="7649" y="51434"/>
                      <a:pt x="6213" y="50774"/>
                    </a:cubicBezTo>
                    <a:cubicBezTo>
                      <a:pt x="864" y="48328"/>
                      <a:pt x="-1476" y="42021"/>
                      <a:pt x="970" y="36682"/>
                    </a:cubicBezTo>
                    <a:lnTo>
                      <a:pt x="14935" y="6210"/>
                    </a:lnTo>
                    <a:cubicBezTo>
                      <a:pt x="17370" y="881"/>
                      <a:pt x="23656" y="-1480"/>
                      <a:pt x="29027" y="966"/>
                    </a:cubicBezTo>
                    <a:cubicBezTo>
                      <a:pt x="34377" y="3413"/>
                      <a:pt x="36717" y="9720"/>
                      <a:pt x="34270" y="15059"/>
                    </a:cubicBezTo>
                    <a:lnTo>
                      <a:pt x="20306" y="45530"/>
                    </a:lnTo>
                    <a:cubicBezTo>
                      <a:pt x="18519" y="49434"/>
                      <a:pt x="14669" y="51742"/>
                      <a:pt x="10627" y="51742"/>
                    </a:cubicBezTo>
                    <a:close/>
                  </a:path>
                </a:pathLst>
              </a:custGeom>
              <a:grpFill/>
              <a:ln w="1063" cap="flat">
                <a:noFill/>
                <a:prstDash val="solid"/>
                <a:miter/>
              </a:ln>
            </p:spPr>
            <p:txBody>
              <a:bodyPr rtlCol="0" anchor="ctr"/>
              <a:lstStyle/>
              <a:p>
                <a:endParaRPr lang="en-GB" dirty="0"/>
              </a:p>
            </p:txBody>
          </p:sp>
          <p:sp>
            <p:nvSpPr>
              <p:cNvPr id="627" name="Freeform: Shape 626">
                <a:extLst>
                  <a:ext uri="{FF2B5EF4-FFF2-40B4-BE49-F238E27FC236}">
                    <a16:creationId xmlns:a16="http://schemas.microsoft.com/office/drawing/2014/main" id="{55D49E9B-69D5-401E-A2BC-28F1FC9E09BC}"/>
                  </a:ext>
                </a:extLst>
              </p:cNvPr>
              <p:cNvSpPr/>
              <p:nvPr/>
            </p:nvSpPr>
            <p:spPr>
              <a:xfrm>
                <a:off x="3965615" y="4090403"/>
                <a:ext cx="22920" cy="33867"/>
              </a:xfrm>
              <a:custGeom>
                <a:avLst/>
                <a:gdLst>
                  <a:gd name="connsiteX0" fmla="*/ 10632 w 35749"/>
                  <a:gd name="connsiteY0" fmla="*/ 52824 h 52823"/>
                  <a:gd name="connsiteX1" fmla="*/ 6207 w 35749"/>
                  <a:gd name="connsiteY1" fmla="*/ 51856 h 52823"/>
                  <a:gd name="connsiteX2" fmla="*/ 975 w 35749"/>
                  <a:gd name="connsiteY2" fmla="*/ 37753 h 52823"/>
                  <a:gd name="connsiteX3" fmla="*/ 15439 w 35749"/>
                  <a:gd name="connsiteY3" fmla="*/ 6197 h 52823"/>
                  <a:gd name="connsiteX4" fmla="*/ 29542 w 35749"/>
                  <a:gd name="connsiteY4" fmla="*/ 964 h 52823"/>
                  <a:gd name="connsiteX5" fmla="*/ 34776 w 35749"/>
                  <a:gd name="connsiteY5" fmla="*/ 15067 h 52823"/>
                  <a:gd name="connsiteX6" fmla="*/ 20311 w 35749"/>
                  <a:gd name="connsiteY6" fmla="*/ 46623 h 52823"/>
                  <a:gd name="connsiteX7" fmla="*/ 10632 w 35749"/>
                  <a:gd name="connsiteY7" fmla="*/ 52824 h 52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49" h="52823">
                    <a:moveTo>
                      <a:pt x="10632" y="52824"/>
                    </a:moveTo>
                    <a:cubicBezTo>
                      <a:pt x="9153" y="52824"/>
                      <a:pt x="7654" y="52516"/>
                      <a:pt x="6207" y="51856"/>
                    </a:cubicBezTo>
                    <a:cubicBezTo>
                      <a:pt x="868" y="49410"/>
                      <a:pt x="-1482" y="43092"/>
                      <a:pt x="975" y="37753"/>
                    </a:cubicBezTo>
                    <a:lnTo>
                      <a:pt x="15439" y="6197"/>
                    </a:lnTo>
                    <a:cubicBezTo>
                      <a:pt x="17875" y="868"/>
                      <a:pt x="24171" y="-1472"/>
                      <a:pt x="29542" y="964"/>
                    </a:cubicBezTo>
                    <a:cubicBezTo>
                      <a:pt x="34882" y="3410"/>
                      <a:pt x="37232" y="9727"/>
                      <a:pt x="34776" y="15067"/>
                    </a:cubicBezTo>
                    <a:lnTo>
                      <a:pt x="20311" y="46623"/>
                    </a:lnTo>
                    <a:cubicBezTo>
                      <a:pt x="18524" y="50527"/>
                      <a:pt x="14663" y="52824"/>
                      <a:pt x="10632" y="52824"/>
                    </a:cubicBezTo>
                    <a:close/>
                  </a:path>
                </a:pathLst>
              </a:custGeom>
              <a:grpFill/>
              <a:ln w="1063" cap="flat">
                <a:noFill/>
                <a:prstDash val="solid"/>
                <a:miter/>
              </a:ln>
            </p:spPr>
            <p:txBody>
              <a:bodyPr rtlCol="0" anchor="ctr"/>
              <a:lstStyle/>
              <a:p>
                <a:endParaRPr lang="en-GB" dirty="0"/>
              </a:p>
            </p:txBody>
          </p:sp>
        </p:grpSp>
        <p:grpSp>
          <p:nvGrpSpPr>
            <p:cNvPr id="604" name="Graphic 818">
              <a:extLst>
                <a:ext uri="{FF2B5EF4-FFF2-40B4-BE49-F238E27FC236}">
                  <a16:creationId xmlns:a16="http://schemas.microsoft.com/office/drawing/2014/main" id="{00ACB100-5F6C-426F-8D2B-4EA3B8DD1D8D}"/>
                </a:ext>
              </a:extLst>
            </p:cNvPr>
            <p:cNvGrpSpPr/>
            <p:nvPr/>
          </p:nvGrpSpPr>
          <p:grpSpPr>
            <a:xfrm>
              <a:off x="6131765" y="3298035"/>
              <a:ext cx="248306" cy="248333"/>
              <a:chOff x="6443910" y="4248492"/>
              <a:chExt cx="387283" cy="387325"/>
            </a:xfrm>
            <a:solidFill>
              <a:schemeClr val="accent1"/>
            </a:solidFill>
          </p:grpSpPr>
          <p:sp>
            <p:nvSpPr>
              <p:cNvPr id="605" name="Freeform: Shape 604">
                <a:extLst>
                  <a:ext uri="{FF2B5EF4-FFF2-40B4-BE49-F238E27FC236}">
                    <a16:creationId xmlns:a16="http://schemas.microsoft.com/office/drawing/2014/main" id="{54F9A695-A097-4201-9D85-948ED5AEF666}"/>
                  </a:ext>
                </a:extLst>
              </p:cNvPr>
              <p:cNvSpPr/>
              <p:nvPr/>
            </p:nvSpPr>
            <p:spPr>
              <a:xfrm>
                <a:off x="6446027" y="4431524"/>
                <a:ext cx="383518" cy="21271"/>
              </a:xfrm>
              <a:custGeom>
                <a:avLst/>
                <a:gdLst>
                  <a:gd name="connsiteX0" fmla="*/ 372882 w 383518"/>
                  <a:gd name="connsiteY0" fmla="*/ 21272 h 21271"/>
                  <a:gd name="connsiteX1" fmla="*/ 10636 w 383518"/>
                  <a:gd name="connsiteY1" fmla="*/ 21272 h 21271"/>
                  <a:gd name="connsiteX2" fmla="*/ 0 w 383518"/>
                  <a:gd name="connsiteY2" fmla="*/ 10636 h 21271"/>
                  <a:gd name="connsiteX3" fmla="*/ 10636 w 383518"/>
                  <a:gd name="connsiteY3" fmla="*/ 0 h 21271"/>
                  <a:gd name="connsiteX4" fmla="*/ 372882 w 383518"/>
                  <a:gd name="connsiteY4" fmla="*/ 0 h 21271"/>
                  <a:gd name="connsiteX5" fmla="*/ 383518 w 383518"/>
                  <a:gd name="connsiteY5" fmla="*/ 10636 h 21271"/>
                  <a:gd name="connsiteX6" fmla="*/ 372882 w 383518"/>
                  <a:gd name="connsiteY6" fmla="*/ 21272 h 21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518" h="21271">
                    <a:moveTo>
                      <a:pt x="372882" y="21272"/>
                    </a:moveTo>
                    <a:lnTo>
                      <a:pt x="10636" y="21272"/>
                    </a:lnTo>
                    <a:cubicBezTo>
                      <a:pt x="4754" y="21272"/>
                      <a:pt x="0" y="16518"/>
                      <a:pt x="0" y="10636"/>
                    </a:cubicBezTo>
                    <a:cubicBezTo>
                      <a:pt x="0" y="4754"/>
                      <a:pt x="4754" y="0"/>
                      <a:pt x="10636" y="0"/>
                    </a:cubicBezTo>
                    <a:lnTo>
                      <a:pt x="372882" y="0"/>
                    </a:lnTo>
                    <a:cubicBezTo>
                      <a:pt x="378764" y="0"/>
                      <a:pt x="383518" y="4754"/>
                      <a:pt x="383518" y="10636"/>
                    </a:cubicBezTo>
                    <a:cubicBezTo>
                      <a:pt x="383518" y="16518"/>
                      <a:pt x="378764" y="21272"/>
                      <a:pt x="372882" y="21272"/>
                    </a:cubicBezTo>
                    <a:close/>
                  </a:path>
                </a:pathLst>
              </a:custGeom>
              <a:solidFill>
                <a:schemeClr val="accent1"/>
              </a:solidFill>
              <a:ln w="1063" cap="flat">
                <a:noFill/>
                <a:prstDash val="solid"/>
                <a:miter/>
              </a:ln>
            </p:spPr>
            <p:txBody>
              <a:bodyPr rtlCol="0" anchor="ctr"/>
              <a:lstStyle/>
              <a:p>
                <a:endParaRPr lang="en-GB" dirty="0"/>
              </a:p>
            </p:txBody>
          </p:sp>
          <p:grpSp>
            <p:nvGrpSpPr>
              <p:cNvPr id="606" name="Graphic 818">
                <a:extLst>
                  <a:ext uri="{FF2B5EF4-FFF2-40B4-BE49-F238E27FC236}">
                    <a16:creationId xmlns:a16="http://schemas.microsoft.com/office/drawing/2014/main" id="{86CD1EBC-9F24-4F10-8229-DC9CA52C5DF2}"/>
                  </a:ext>
                </a:extLst>
              </p:cNvPr>
              <p:cNvGrpSpPr/>
              <p:nvPr/>
            </p:nvGrpSpPr>
            <p:grpSpPr>
              <a:xfrm>
                <a:off x="6443910" y="4248492"/>
                <a:ext cx="387283" cy="387325"/>
                <a:chOff x="6443910" y="4248492"/>
                <a:chExt cx="387283" cy="387325"/>
              </a:xfrm>
              <a:solidFill>
                <a:schemeClr val="accent1"/>
              </a:solidFill>
            </p:grpSpPr>
            <p:grpSp>
              <p:nvGrpSpPr>
                <p:cNvPr id="607" name="Graphic 818">
                  <a:extLst>
                    <a:ext uri="{FF2B5EF4-FFF2-40B4-BE49-F238E27FC236}">
                      <a16:creationId xmlns:a16="http://schemas.microsoft.com/office/drawing/2014/main" id="{53060D7C-4865-468E-88DD-CC964A854BE6}"/>
                    </a:ext>
                  </a:extLst>
                </p:cNvPr>
                <p:cNvGrpSpPr/>
                <p:nvPr/>
              </p:nvGrpSpPr>
              <p:grpSpPr>
                <a:xfrm>
                  <a:off x="6536702" y="4257363"/>
                  <a:ext cx="201682" cy="369584"/>
                  <a:chOff x="6536702" y="4257363"/>
                  <a:chExt cx="201682" cy="369584"/>
                </a:xfrm>
                <a:solidFill>
                  <a:schemeClr val="accent1"/>
                </a:solidFill>
              </p:grpSpPr>
              <p:sp>
                <p:nvSpPr>
                  <p:cNvPr id="614" name="Freeform: Shape 613">
                    <a:extLst>
                      <a:ext uri="{FF2B5EF4-FFF2-40B4-BE49-F238E27FC236}">
                        <a16:creationId xmlns:a16="http://schemas.microsoft.com/office/drawing/2014/main" id="{5B41F1F5-ECD2-44E9-B292-E9E65C326923}"/>
                      </a:ext>
                    </a:extLst>
                  </p:cNvPr>
                  <p:cNvSpPr/>
                  <p:nvPr/>
                </p:nvSpPr>
                <p:spPr>
                  <a:xfrm>
                    <a:off x="6536702" y="4257363"/>
                    <a:ext cx="65359" cy="369584"/>
                  </a:xfrm>
                  <a:custGeom>
                    <a:avLst/>
                    <a:gdLst>
                      <a:gd name="connsiteX0" fmla="*/ 54738 w 65359"/>
                      <a:gd name="connsiteY0" fmla="*/ 369585 h 369584"/>
                      <a:gd name="connsiteX1" fmla="*/ 45602 w 65359"/>
                      <a:gd name="connsiteY1" fmla="*/ 364416 h 369584"/>
                      <a:gd name="connsiteX2" fmla="*/ 45421 w 65359"/>
                      <a:gd name="connsiteY2" fmla="*/ 5498 h 369584"/>
                      <a:gd name="connsiteX3" fmla="*/ 59864 w 65359"/>
                      <a:gd name="connsiteY3" fmla="*/ 1329 h 369584"/>
                      <a:gd name="connsiteX4" fmla="*/ 64034 w 65359"/>
                      <a:gd name="connsiteY4" fmla="*/ 15772 h 369584"/>
                      <a:gd name="connsiteX5" fmla="*/ 63852 w 65359"/>
                      <a:gd name="connsiteY5" fmla="*/ 353482 h 369584"/>
                      <a:gd name="connsiteX6" fmla="*/ 60183 w 65359"/>
                      <a:gd name="connsiteY6" fmla="*/ 368075 h 369584"/>
                      <a:gd name="connsiteX7" fmla="*/ 54738 w 65359"/>
                      <a:gd name="connsiteY7" fmla="*/ 369585 h 369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59" h="369584">
                        <a:moveTo>
                          <a:pt x="54738" y="369585"/>
                        </a:moveTo>
                        <a:cubicBezTo>
                          <a:pt x="51122" y="369585"/>
                          <a:pt x="47591" y="367734"/>
                          <a:pt x="45602" y="364416"/>
                        </a:cubicBezTo>
                        <a:cubicBezTo>
                          <a:pt x="44570" y="362693"/>
                          <a:pt x="-56364" y="189860"/>
                          <a:pt x="45421" y="5498"/>
                        </a:cubicBezTo>
                        <a:cubicBezTo>
                          <a:pt x="48250" y="372"/>
                          <a:pt x="54716" y="-1522"/>
                          <a:pt x="59864" y="1329"/>
                        </a:cubicBezTo>
                        <a:cubicBezTo>
                          <a:pt x="65001" y="4169"/>
                          <a:pt x="66873" y="10635"/>
                          <a:pt x="64034" y="15772"/>
                        </a:cubicBezTo>
                        <a:cubicBezTo>
                          <a:pt x="-31902" y="189552"/>
                          <a:pt x="62895" y="351865"/>
                          <a:pt x="63852" y="353482"/>
                        </a:cubicBezTo>
                        <a:cubicBezTo>
                          <a:pt x="66862" y="358534"/>
                          <a:pt x="65224" y="365054"/>
                          <a:pt x="60183" y="368075"/>
                        </a:cubicBezTo>
                        <a:cubicBezTo>
                          <a:pt x="58482" y="369096"/>
                          <a:pt x="56599" y="369585"/>
                          <a:pt x="54738" y="369585"/>
                        </a:cubicBezTo>
                        <a:close/>
                      </a:path>
                    </a:pathLst>
                  </a:custGeom>
                  <a:solidFill>
                    <a:schemeClr val="accent1"/>
                  </a:solidFill>
                  <a:ln w="1063" cap="flat">
                    <a:noFill/>
                    <a:prstDash val="solid"/>
                    <a:miter/>
                  </a:ln>
                </p:spPr>
                <p:txBody>
                  <a:bodyPr rtlCol="0" anchor="ctr"/>
                  <a:lstStyle/>
                  <a:p>
                    <a:endParaRPr lang="en-GB" dirty="0"/>
                  </a:p>
                </p:txBody>
              </p:sp>
              <p:sp>
                <p:nvSpPr>
                  <p:cNvPr id="615" name="Freeform: Shape 614">
                    <a:extLst>
                      <a:ext uri="{FF2B5EF4-FFF2-40B4-BE49-F238E27FC236}">
                        <a16:creationId xmlns:a16="http://schemas.microsoft.com/office/drawing/2014/main" id="{CCF3FDB3-D618-44D0-B6B0-E77147BDF8EA}"/>
                      </a:ext>
                    </a:extLst>
                  </p:cNvPr>
                  <p:cNvSpPr/>
                  <p:nvPr/>
                </p:nvSpPr>
                <p:spPr>
                  <a:xfrm>
                    <a:off x="6673020" y="4257367"/>
                    <a:ext cx="65363" cy="369580"/>
                  </a:xfrm>
                  <a:custGeom>
                    <a:avLst/>
                    <a:gdLst>
                      <a:gd name="connsiteX0" fmla="*/ 10654 w 65363"/>
                      <a:gd name="connsiteY0" fmla="*/ 369581 h 369580"/>
                      <a:gd name="connsiteX1" fmla="*/ 5208 w 65363"/>
                      <a:gd name="connsiteY1" fmla="*/ 368071 h 369580"/>
                      <a:gd name="connsiteX2" fmla="*/ 1517 w 65363"/>
                      <a:gd name="connsiteY2" fmla="*/ 353489 h 369580"/>
                      <a:gd name="connsiteX3" fmla="*/ 1326 w 65363"/>
                      <a:gd name="connsiteY3" fmla="*/ 15768 h 369580"/>
                      <a:gd name="connsiteX4" fmla="*/ 5506 w 65363"/>
                      <a:gd name="connsiteY4" fmla="*/ 1314 h 369580"/>
                      <a:gd name="connsiteX5" fmla="*/ 19960 w 65363"/>
                      <a:gd name="connsiteY5" fmla="*/ 5494 h 369580"/>
                      <a:gd name="connsiteX6" fmla="*/ 19768 w 65363"/>
                      <a:gd name="connsiteY6" fmla="*/ 364412 h 369580"/>
                      <a:gd name="connsiteX7" fmla="*/ 10654 w 65363"/>
                      <a:gd name="connsiteY7" fmla="*/ 369581 h 36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63" h="369580">
                        <a:moveTo>
                          <a:pt x="10654" y="369581"/>
                        </a:moveTo>
                        <a:cubicBezTo>
                          <a:pt x="8792" y="369581"/>
                          <a:pt x="6910" y="369092"/>
                          <a:pt x="5208" y="368071"/>
                        </a:cubicBezTo>
                        <a:cubicBezTo>
                          <a:pt x="156" y="365061"/>
                          <a:pt x="-1482" y="358541"/>
                          <a:pt x="1517" y="353489"/>
                        </a:cubicBezTo>
                        <a:cubicBezTo>
                          <a:pt x="2485" y="351872"/>
                          <a:pt x="97049" y="189186"/>
                          <a:pt x="1326" y="15768"/>
                        </a:cubicBezTo>
                        <a:cubicBezTo>
                          <a:pt x="-1514" y="10631"/>
                          <a:pt x="358" y="4154"/>
                          <a:pt x="5506" y="1314"/>
                        </a:cubicBezTo>
                        <a:cubicBezTo>
                          <a:pt x="10654" y="-1504"/>
                          <a:pt x="17120" y="357"/>
                          <a:pt x="19960" y="5494"/>
                        </a:cubicBezTo>
                        <a:cubicBezTo>
                          <a:pt x="121713" y="189856"/>
                          <a:pt x="20800" y="362689"/>
                          <a:pt x="19768" y="364412"/>
                        </a:cubicBezTo>
                        <a:cubicBezTo>
                          <a:pt x="17790" y="367730"/>
                          <a:pt x="14270" y="369581"/>
                          <a:pt x="10654" y="369581"/>
                        </a:cubicBezTo>
                        <a:close/>
                      </a:path>
                    </a:pathLst>
                  </a:custGeom>
                  <a:solidFill>
                    <a:schemeClr val="accent1"/>
                  </a:solidFill>
                  <a:ln w="1063" cap="flat">
                    <a:noFill/>
                    <a:prstDash val="solid"/>
                    <a:miter/>
                  </a:ln>
                </p:spPr>
                <p:txBody>
                  <a:bodyPr rtlCol="0" anchor="ctr"/>
                  <a:lstStyle/>
                  <a:p>
                    <a:endParaRPr lang="en-GB" dirty="0"/>
                  </a:p>
                </p:txBody>
              </p:sp>
            </p:grpSp>
            <p:grpSp>
              <p:nvGrpSpPr>
                <p:cNvPr id="608" name="Graphic 818">
                  <a:extLst>
                    <a:ext uri="{FF2B5EF4-FFF2-40B4-BE49-F238E27FC236}">
                      <a16:creationId xmlns:a16="http://schemas.microsoft.com/office/drawing/2014/main" id="{20845764-1351-49D8-9BA4-2D2E25A0295E}"/>
                    </a:ext>
                  </a:extLst>
                </p:cNvPr>
                <p:cNvGrpSpPr/>
                <p:nvPr/>
              </p:nvGrpSpPr>
              <p:grpSpPr>
                <a:xfrm>
                  <a:off x="6443910" y="4248492"/>
                  <a:ext cx="387283" cy="387325"/>
                  <a:chOff x="6443910" y="4248492"/>
                  <a:chExt cx="387283" cy="387325"/>
                </a:xfrm>
                <a:solidFill>
                  <a:schemeClr val="accent1"/>
                </a:solidFill>
              </p:grpSpPr>
              <p:grpSp>
                <p:nvGrpSpPr>
                  <p:cNvPr id="609" name="Graphic 818">
                    <a:extLst>
                      <a:ext uri="{FF2B5EF4-FFF2-40B4-BE49-F238E27FC236}">
                        <a16:creationId xmlns:a16="http://schemas.microsoft.com/office/drawing/2014/main" id="{E08CCA3B-C39D-4532-8EAB-C97801F37682}"/>
                      </a:ext>
                    </a:extLst>
                  </p:cNvPr>
                  <p:cNvGrpSpPr/>
                  <p:nvPr/>
                </p:nvGrpSpPr>
                <p:grpSpPr>
                  <a:xfrm>
                    <a:off x="6443910" y="4248492"/>
                    <a:ext cx="387283" cy="387325"/>
                    <a:chOff x="6443910" y="4248492"/>
                    <a:chExt cx="387283" cy="387325"/>
                  </a:xfrm>
                  <a:solidFill>
                    <a:schemeClr val="accent1"/>
                  </a:solidFill>
                </p:grpSpPr>
                <p:sp>
                  <p:nvSpPr>
                    <p:cNvPr id="612" name="Freeform: Shape 611">
                      <a:extLst>
                        <a:ext uri="{FF2B5EF4-FFF2-40B4-BE49-F238E27FC236}">
                          <a16:creationId xmlns:a16="http://schemas.microsoft.com/office/drawing/2014/main" id="{3D738662-422B-43D6-B9F6-EE93BC0AACDA}"/>
                        </a:ext>
                      </a:extLst>
                    </p:cNvPr>
                    <p:cNvSpPr/>
                    <p:nvPr/>
                  </p:nvSpPr>
                  <p:spPr>
                    <a:xfrm>
                      <a:off x="6443910" y="4248492"/>
                      <a:ext cx="387283" cy="387325"/>
                    </a:xfrm>
                    <a:custGeom>
                      <a:avLst/>
                      <a:gdLst>
                        <a:gd name="connsiteX0" fmla="*/ 193636 w 387283"/>
                        <a:gd name="connsiteY0" fmla="*/ 387326 h 387325"/>
                        <a:gd name="connsiteX1" fmla="*/ 0 w 387283"/>
                        <a:gd name="connsiteY1" fmla="*/ 193668 h 387325"/>
                        <a:gd name="connsiteX2" fmla="*/ 193636 w 387283"/>
                        <a:gd name="connsiteY2" fmla="*/ 0 h 387325"/>
                        <a:gd name="connsiteX3" fmla="*/ 387283 w 387283"/>
                        <a:gd name="connsiteY3" fmla="*/ 193668 h 387325"/>
                        <a:gd name="connsiteX4" fmla="*/ 193636 w 387283"/>
                        <a:gd name="connsiteY4" fmla="*/ 387326 h 387325"/>
                        <a:gd name="connsiteX5" fmla="*/ 193636 w 387283"/>
                        <a:gd name="connsiteY5" fmla="*/ 21272 h 387325"/>
                        <a:gd name="connsiteX6" fmla="*/ 21272 w 387283"/>
                        <a:gd name="connsiteY6" fmla="*/ 193668 h 387325"/>
                        <a:gd name="connsiteX7" fmla="*/ 193636 w 387283"/>
                        <a:gd name="connsiteY7" fmla="*/ 366054 h 387325"/>
                        <a:gd name="connsiteX8" fmla="*/ 366012 w 387283"/>
                        <a:gd name="connsiteY8" fmla="*/ 193668 h 387325"/>
                        <a:gd name="connsiteX9" fmla="*/ 193636 w 387283"/>
                        <a:gd name="connsiteY9" fmla="*/ 21272 h 387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7283" h="387325">
                          <a:moveTo>
                            <a:pt x="193636" y="387326"/>
                          </a:moveTo>
                          <a:cubicBezTo>
                            <a:pt x="86863" y="387326"/>
                            <a:pt x="0" y="300453"/>
                            <a:pt x="0" y="193668"/>
                          </a:cubicBezTo>
                          <a:cubicBezTo>
                            <a:pt x="0" y="86884"/>
                            <a:pt x="86863" y="0"/>
                            <a:pt x="193636" y="0"/>
                          </a:cubicBezTo>
                          <a:cubicBezTo>
                            <a:pt x="300410" y="0"/>
                            <a:pt x="387283" y="86884"/>
                            <a:pt x="387283" y="193668"/>
                          </a:cubicBezTo>
                          <a:cubicBezTo>
                            <a:pt x="387283" y="300453"/>
                            <a:pt x="300410" y="387326"/>
                            <a:pt x="193636" y="387326"/>
                          </a:cubicBezTo>
                          <a:close/>
                          <a:moveTo>
                            <a:pt x="193636" y="21272"/>
                          </a:moveTo>
                          <a:cubicBezTo>
                            <a:pt x="98584" y="21272"/>
                            <a:pt x="21272" y="98616"/>
                            <a:pt x="21272" y="193668"/>
                          </a:cubicBezTo>
                          <a:cubicBezTo>
                            <a:pt x="21272" y="288732"/>
                            <a:pt x="98595" y="366054"/>
                            <a:pt x="193636" y="366054"/>
                          </a:cubicBezTo>
                          <a:cubicBezTo>
                            <a:pt x="288678" y="366054"/>
                            <a:pt x="366012" y="288721"/>
                            <a:pt x="366012" y="193668"/>
                          </a:cubicBezTo>
                          <a:cubicBezTo>
                            <a:pt x="366012" y="98605"/>
                            <a:pt x="288689" y="21272"/>
                            <a:pt x="193636" y="21272"/>
                          </a:cubicBezTo>
                          <a:close/>
                        </a:path>
                      </a:pathLst>
                    </a:custGeom>
                    <a:solidFill>
                      <a:schemeClr val="accent1"/>
                    </a:solidFill>
                    <a:ln w="1063" cap="flat">
                      <a:noFill/>
                      <a:prstDash val="solid"/>
                      <a:miter/>
                    </a:ln>
                  </p:spPr>
                  <p:txBody>
                    <a:bodyPr rtlCol="0" anchor="ctr"/>
                    <a:lstStyle/>
                    <a:p>
                      <a:endParaRPr lang="en-GB" dirty="0"/>
                    </a:p>
                  </p:txBody>
                </p:sp>
                <p:sp>
                  <p:nvSpPr>
                    <p:cNvPr id="613" name="Freeform: Shape 612">
                      <a:extLst>
                        <a:ext uri="{FF2B5EF4-FFF2-40B4-BE49-F238E27FC236}">
                          <a16:creationId xmlns:a16="http://schemas.microsoft.com/office/drawing/2014/main" id="{0C84B6E1-CD8A-40B5-AC60-E89550B08CE2}"/>
                        </a:ext>
                      </a:extLst>
                    </p:cNvPr>
                    <p:cNvSpPr/>
                    <p:nvPr/>
                  </p:nvSpPr>
                  <p:spPr>
                    <a:xfrm>
                      <a:off x="6626910" y="4250385"/>
                      <a:ext cx="21271" cy="383539"/>
                    </a:xfrm>
                    <a:custGeom>
                      <a:avLst/>
                      <a:gdLst>
                        <a:gd name="connsiteX0" fmla="*/ 10636 w 21271"/>
                        <a:gd name="connsiteY0" fmla="*/ 383540 h 383539"/>
                        <a:gd name="connsiteX1" fmla="*/ 0 w 21271"/>
                        <a:gd name="connsiteY1" fmla="*/ 372904 h 383539"/>
                        <a:gd name="connsiteX2" fmla="*/ 0 w 21271"/>
                        <a:gd name="connsiteY2" fmla="*/ 10636 h 383539"/>
                        <a:gd name="connsiteX3" fmla="*/ 10636 w 21271"/>
                        <a:gd name="connsiteY3" fmla="*/ 0 h 383539"/>
                        <a:gd name="connsiteX4" fmla="*/ 21272 w 21271"/>
                        <a:gd name="connsiteY4" fmla="*/ 10636 h 383539"/>
                        <a:gd name="connsiteX5" fmla="*/ 21272 w 21271"/>
                        <a:gd name="connsiteY5" fmla="*/ 372904 h 383539"/>
                        <a:gd name="connsiteX6" fmla="*/ 10636 w 21271"/>
                        <a:gd name="connsiteY6" fmla="*/ 383540 h 38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271" h="383539">
                          <a:moveTo>
                            <a:pt x="10636" y="383540"/>
                          </a:moveTo>
                          <a:cubicBezTo>
                            <a:pt x="4754" y="383540"/>
                            <a:pt x="0" y="378785"/>
                            <a:pt x="0" y="372904"/>
                          </a:cubicBezTo>
                          <a:lnTo>
                            <a:pt x="0" y="10636"/>
                          </a:lnTo>
                          <a:cubicBezTo>
                            <a:pt x="0" y="4754"/>
                            <a:pt x="4754" y="0"/>
                            <a:pt x="10636" y="0"/>
                          </a:cubicBezTo>
                          <a:cubicBezTo>
                            <a:pt x="16517" y="0"/>
                            <a:pt x="21272" y="4754"/>
                            <a:pt x="21272" y="10636"/>
                          </a:cubicBezTo>
                          <a:lnTo>
                            <a:pt x="21272" y="372904"/>
                          </a:lnTo>
                          <a:cubicBezTo>
                            <a:pt x="21272" y="378785"/>
                            <a:pt x="16517" y="383540"/>
                            <a:pt x="10636" y="383540"/>
                          </a:cubicBezTo>
                          <a:close/>
                        </a:path>
                      </a:pathLst>
                    </a:custGeom>
                    <a:solidFill>
                      <a:schemeClr val="accent1"/>
                    </a:solidFill>
                    <a:ln w="1063" cap="flat">
                      <a:noFill/>
                      <a:prstDash val="solid"/>
                      <a:miter/>
                    </a:ln>
                  </p:spPr>
                  <p:txBody>
                    <a:bodyPr rtlCol="0" anchor="ctr"/>
                    <a:lstStyle/>
                    <a:p>
                      <a:endParaRPr lang="en-GB" dirty="0"/>
                    </a:p>
                  </p:txBody>
                </p:sp>
              </p:grpSp>
              <p:sp>
                <p:nvSpPr>
                  <p:cNvPr id="610" name="Freeform: Shape 609">
                    <a:extLst>
                      <a:ext uri="{FF2B5EF4-FFF2-40B4-BE49-F238E27FC236}">
                        <a16:creationId xmlns:a16="http://schemas.microsoft.com/office/drawing/2014/main" id="{C896DD0A-0362-45EA-B24D-900861F6C7E1}"/>
                      </a:ext>
                    </a:extLst>
                  </p:cNvPr>
                  <p:cNvSpPr/>
                  <p:nvPr/>
                </p:nvSpPr>
                <p:spPr>
                  <a:xfrm>
                    <a:off x="6483528" y="4318286"/>
                    <a:ext cx="308056" cy="58484"/>
                  </a:xfrm>
                  <a:custGeom>
                    <a:avLst/>
                    <a:gdLst>
                      <a:gd name="connsiteX0" fmla="*/ 158921 w 308056"/>
                      <a:gd name="connsiteY0" fmla="*/ 58485 h 58484"/>
                      <a:gd name="connsiteX1" fmla="*/ 5307 w 308056"/>
                      <a:gd name="connsiteY1" fmla="*/ 19845 h 58484"/>
                      <a:gd name="connsiteX2" fmla="*/ 1436 w 308056"/>
                      <a:gd name="connsiteY2" fmla="*/ 5327 h 58484"/>
                      <a:gd name="connsiteX3" fmla="*/ 15953 w 308056"/>
                      <a:gd name="connsiteY3" fmla="*/ 1434 h 58484"/>
                      <a:gd name="connsiteX4" fmla="*/ 292092 w 308056"/>
                      <a:gd name="connsiteY4" fmla="*/ 1445 h 58484"/>
                      <a:gd name="connsiteX5" fmla="*/ 306621 w 308056"/>
                      <a:gd name="connsiteY5" fmla="*/ 5317 h 58484"/>
                      <a:gd name="connsiteX6" fmla="*/ 302749 w 308056"/>
                      <a:gd name="connsiteY6" fmla="*/ 19845 h 58484"/>
                      <a:gd name="connsiteX7" fmla="*/ 158921 w 308056"/>
                      <a:gd name="connsiteY7" fmla="*/ 58485 h 58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056" h="58484">
                        <a:moveTo>
                          <a:pt x="158921" y="58485"/>
                        </a:moveTo>
                        <a:cubicBezTo>
                          <a:pt x="73483" y="58485"/>
                          <a:pt x="9316" y="22164"/>
                          <a:pt x="5307" y="19845"/>
                        </a:cubicBezTo>
                        <a:cubicBezTo>
                          <a:pt x="223" y="16910"/>
                          <a:pt x="-1511" y="10400"/>
                          <a:pt x="1436" y="5327"/>
                        </a:cubicBezTo>
                        <a:cubicBezTo>
                          <a:pt x="4360" y="254"/>
                          <a:pt x="10859" y="-1522"/>
                          <a:pt x="15953" y="1434"/>
                        </a:cubicBezTo>
                        <a:cubicBezTo>
                          <a:pt x="17347" y="2221"/>
                          <a:pt x="155921" y="80267"/>
                          <a:pt x="292092" y="1445"/>
                        </a:cubicBezTo>
                        <a:cubicBezTo>
                          <a:pt x="297165" y="-1522"/>
                          <a:pt x="303685" y="233"/>
                          <a:pt x="306621" y="5317"/>
                        </a:cubicBezTo>
                        <a:cubicBezTo>
                          <a:pt x="309567" y="10400"/>
                          <a:pt x="307833" y="16910"/>
                          <a:pt x="302749" y="19845"/>
                        </a:cubicBezTo>
                        <a:cubicBezTo>
                          <a:pt x="252718" y="48817"/>
                          <a:pt x="202995" y="58485"/>
                          <a:pt x="158921" y="58485"/>
                        </a:cubicBezTo>
                        <a:close/>
                      </a:path>
                    </a:pathLst>
                  </a:custGeom>
                  <a:solidFill>
                    <a:schemeClr val="accent1"/>
                  </a:solidFill>
                  <a:ln w="1063" cap="flat">
                    <a:noFill/>
                    <a:prstDash val="solid"/>
                    <a:miter/>
                  </a:ln>
                </p:spPr>
                <p:txBody>
                  <a:bodyPr rtlCol="0" anchor="ctr"/>
                  <a:lstStyle/>
                  <a:p>
                    <a:endParaRPr lang="en-GB" dirty="0"/>
                  </a:p>
                </p:txBody>
              </p:sp>
              <p:sp>
                <p:nvSpPr>
                  <p:cNvPr id="611" name="Freeform: Shape 610">
                    <a:extLst>
                      <a:ext uri="{FF2B5EF4-FFF2-40B4-BE49-F238E27FC236}">
                        <a16:creationId xmlns:a16="http://schemas.microsoft.com/office/drawing/2014/main" id="{619658D2-98D9-45BE-B70C-B9ABAA45E94D}"/>
                      </a:ext>
                    </a:extLst>
                  </p:cNvPr>
                  <p:cNvSpPr/>
                  <p:nvPr/>
                </p:nvSpPr>
                <p:spPr>
                  <a:xfrm>
                    <a:off x="6484028" y="4507736"/>
                    <a:ext cx="307054" cy="58268"/>
                  </a:xfrm>
                  <a:custGeom>
                    <a:avLst/>
                    <a:gdLst>
                      <a:gd name="connsiteX0" fmla="*/ 10646 w 307054"/>
                      <a:gd name="connsiteY0" fmla="*/ 58268 h 58268"/>
                      <a:gd name="connsiteX1" fmla="*/ 1435 w 307054"/>
                      <a:gd name="connsiteY1" fmla="*/ 52961 h 58268"/>
                      <a:gd name="connsiteX2" fmla="*/ 5307 w 307054"/>
                      <a:gd name="connsiteY2" fmla="*/ 38432 h 58268"/>
                      <a:gd name="connsiteX3" fmla="*/ 301548 w 307054"/>
                      <a:gd name="connsiteY3" fmla="*/ 37762 h 58268"/>
                      <a:gd name="connsiteX4" fmla="*/ 305738 w 307054"/>
                      <a:gd name="connsiteY4" fmla="*/ 52206 h 58268"/>
                      <a:gd name="connsiteX5" fmla="*/ 291295 w 307054"/>
                      <a:gd name="connsiteY5" fmla="*/ 56397 h 58268"/>
                      <a:gd name="connsiteX6" fmla="*/ 15975 w 307054"/>
                      <a:gd name="connsiteY6" fmla="*/ 56843 h 58268"/>
                      <a:gd name="connsiteX7" fmla="*/ 10646 w 307054"/>
                      <a:gd name="connsiteY7" fmla="*/ 58268 h 58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054" h="58268">
                        <a:moveTo>
                          <a:pt x="10646" y="58268"/>
                        </a:moveTo>
                        <a:cubicBezTo>
                          <a:pt x="6966" y="58268"/>
                          <a:pt x="3403" y="56365"/>
                          <a:pt x="1435" y="52961"/>
                        </a:cubicBezTo>
                        <a:cubicBezTo>
                          <a:pt x="-1511" y="47877"/>
                          <a:pt x="223" y="41368"/>
                          <a:pt x="5307" y="38432"/>
                        </a:cubicBezTo>
                        <a:cubicBezTo>
                          <a:pt x="146232" y="-43176"/>
                          <a:pt x="286051" y="29233"/>
                          <a:pt x="301548" y="37762"/>
                        </a:cubicBezTo>
                        <a:cubicBezTo>
                          <a:pt x="306685" y="40602"/>
                          <a:pt x="308567" y="47069"/>
                          <a:pt x="305738" y="52206"/>
                        </a:cubicBezTo>
                        <a:cubicBezTo>
                          <a:pt x="302888" y="57343"/>
                          <a:pt x="296453" y="59205"/>
                          <a:pt x="291295" y="56397"/>
                        </a:cubicBezTo>
                        <a:cubicBezTo>
                          <a:pt x="276894" y="48473"/>
                          <a:pt x="146828" y="-18895"/>
                          <a:pt x="15975" y="56843"/>
                        </a:cubicBezTo>
                        <a:cubicBezTo>
                          <a:pt x="14284" y="57811"/>
                          <a:pt x="12455" y="58268"/>
                          <a:pt x="10646" y="58268"/>
                        </a:cubicBezTo>
                        <a:close/>
                      </a:path>
                    </a:pathLst>
                  </a:custGeom>
                  <a:solidFill>
                    <a:schemeClr val="accent1"/>
                  </a:solidFill>
                  <a:ln w="1063" cap="flat">
                    <a:noFill/>
                    <a:prstDash val="solid"/>
                    <a:miter/>
                  </a:ln>
                </p:spPr>
                <p:txBody>
                  <a:bodyPr rtlCol="0" anchor="ctr"/>
                  <a:lstStyle/>
                  <a:p>
                    <a:endParaRPr lang="en-GB" dirty="0"/>
                  </a:p>
                </p:txBody>
              </p:sp>
            </p:grpSp>
          </p:grpSp>
        </p:grpSp>
      </p:grpSp>
      <p:grpSp>
        <p:nvGrpSpPr>
          <p:cNvPr id="40" name="Group 39">
            <a:extLst>
              <a:ext uri="{FF2B5EF4-FFF2-40B4-BE49-F238E27FC236}">
                <a16:creationId xmlns:a16="http://schemas.microsoft.com/office/drawing/2014/main" id="{11014703-4EB2-D6B6-EA26-7AFF37FE1FA7}"/>
              </a:ext>
            </a:extLst>
          </p:cNvPr>
          <p:cNvGrpSpPr/>
          <p:nvPr/>
        </p:nvGrpSpPr>
        <p:grpSpPr>
          <a:xfrm>
            <a:off x="7085323" y="3238187"/>
            <a:ext cx="428423" cy="368351"/>
            <a:chOff x="7084911" y="3238187"/>
            <a:chExt cx="428423" cy="368351"/>
          </a:xfrm>
        </p:grpSpPr>
        <p:grpSp>
          <p:nvGrpSpPr>
            <p:cNvPr id="651" name="Group 650">
              <a:extLst>
                <a:ext uri="{FF2B5EF4-FFF2-40B4-BE49-F238E27FC236}">
                  <a16:creationId xmlns:a16="http://schemas.microsoft.com/office/drawing/2014/main" id="{61820106-372D-49E2-A877-DB7197AC3313}"/>
                </a:ext>
              </a:extLst>
            </p:cNvPr>
            <p:cNvGrpSpPr/>
            <p:nvPr/>
          </p:nvGrpSpPr>
          <p:grpSpPr>
            <a:xfrm>
              <a:off x="7084911" y="3238187"/>
              <a:ext cx="428423" cy="368351"/>
              <a:chOff x="4991744" y="1585984"/>
              <a:chExt cx="428423" cy="368351"/>
            </a:xfrm>
            <a:solidFill>
              <a:schemeClr val="tx2"/>
            </a:solidFill>
          </p:grpSpPr>
          <p:grpSp>
            <p:nvGrpSpPr>
              <p:cNvPr id="692" name="Graphic 48">
                <a:extLst>
                  <a:ext uri="{FF2B5EF4-FFF2-40B4-BE49-F238E27FC236}">
                    <a16:creationId xmlns:a16="http://schemas.microsoft.com/office/drawing/2014/main" id="{20336F4D-DC77-4569-9C2B-A3416A1F999D}"/>
                  </a:ext>
                </a:extLst>
              </p:cNvPr>
              <p:cNvGrpSpPr/>
              <p:nvPr/>
            </p:nvGrpSpPr>
            <p:grpSpPr>
              <a:xfrm>
                <a:off x="5319282" y="1585984"/>
                <a:ext cx="100885" cy="368351"/>
                <a:chOff x="2570202" y="48860"/>
                <a:chExt cx="178908" cy="653228"/>
              </a:xfrm>
              <a:grpFill/>
            </p:grpSpPr>
            <p:grpSp>
              <p:nvGrpSpPr>
                <p:cNvPr id="700" name="Graphic 48">
                  <a:extLst>
                    <a:ext uri="{FF2B5EF4-FFF2-40B4-BE49-F238E27FC236}">
                      <a16:creationId xmlns:a16="http://schemas.microsoft.com/office/drawing/2014/main" id="{2160442D-1518-4F76-BBEF-27EAD493C15F}"/>
                    </a:ext>
                  </a:extLst>
                </p:cNvPr>
                <p:cNvGrpSpPr/>
                <p:nvPr/>
              </p:nvGrpSpPr>
              <p:grpSpPr>
                <a:xfrm>
                  <a:off x="2580237" y="48860"/>
                  <a:ext cx="168871" cy="211571"/>
                  <a:chOff x="2580237" y="48860"/>
                  <a:chExt cx="168871" cy="211571"/>
                </a:xfrm>
                <a:grpFill/>
              </p:grpSpPr>
              <p:sp>
                <p:nvSpPr>
                  <p:cNvPr id="704" name="Freeform: Shape 703">
                    <a:extLst>
                      <a:ext uri="{FF2B5EF4-FFF2-40B4-BE49-F238E27FC236}">
                        <a16:creationId xmlns:a16="http://schemas.microsoft.com/office/drawing/2014/main" id="{95407954-9EF9-40D5-960A-62D8A88CBD2F}"/>
                      </a:ext>
                    </a:extLst>
                  </p:cNvPr>
                  <p:cNvSpPr/>
                  <p:nvPr/>
                </p:nvSpPr>
                <p:spPr>
                  <a:xfrm>
                    <a:off x="2584060" y="138044"/>
                    <a:ext cx="124524" cy="122386"/>
                  </a:xfrm>
                  <a:custGeom>
                    <a:avLst/>
                    <a:gdLst>
                      <a:gd name="connsiteX0" fmla="*/ 11463 w 124524"/>
                      <a:gd name="connsiteY0" fmla="*/ 122387 h 122386"/>
                      <a:gd name="connsiteX1" fmla="*/ 3277 w 124524"/>
                      <a:gd name="connsiteY1" fmla="*/ 118947 h 122386"/>
                      <a:gd name="connsiteX2" fmla="*/ 3449 w 124524"/>
                      <a:gd name="connsiteY2" fmla="*/ 102735 h 122386"/>
                      <a:gd name="connsiteX3" fmla="*/ 105035 w 124524"/>
                      <a:gd name="connsiteY3" fmla="*/ 3281 h 122386"/>
                      <a:gd name="connsiteX4" fmla="*/ 121247 w 124524"/>
                      <a:gd name="connsiteY4" fmla="*/ 3453 h 122386"/>
                      <a:gd name="connsiteX5" fmla="*/ 121075 w 124524"/>
                      <a:gd name="connsiteY5" fmla="*/ 19666 h 122386"/>
                      <a:gd name="connsiteX6" fmla="*/ 19489 w 124524"/>
                      <a:gd name="connsiteY6" fmla="*/ 119119 h 122386"/>
                      <a:gd name="connsiteX7" fmla="*/ 11463 w 124524"/>
                      <a:gd name="connsiteY7" fmla="*/ 122387 h 122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524" h="122386">
                        <a:moveTo>
                          <a:pt x="11463" y="122387"/>
                        </a:moveTo>
                        <a:cubicBezTo>
                          <a:pt x="8494" y="122387"/>
                          <a:pt x="5513" y="121229"/>
                          <a:pt x="3277" y="118947"/>
                        </a:cubicBezTo>
                        <a:cubicBezTo>
                          <a:pt x="-1160" y="114418"/>
                          <a:pt x="-1080" y="107160"/>
                          <a:pt x="3449" y="102735"/>
                        </a:cubicBezTo>
                        <a:lnTo>
                          <a:pt x="105035" y="3281"/>
                        </a:lnTo>
                        <a:cubicBezTo>
                          <a:pt x="109564" y="-1167"/>
                          <a:pt x="116810" y="-1076"/>
                          <a:pt x="121247" y="3453"/>
                        </a:cubicBezTo>
                        <a:cubicBezTo>
                          <a:pt x="125684" y="7982"/>
                          <a:pt x="125604" y="15240"/>
                          <a:pt x="121075" y="19666"/>
                        </a:cubicBezTo>
                        <a:lnTo>
                          <a:pt x="19489" y="119119"/>
                        </a:lnTo>
                        <a:cubicBezTo>
                          <a:pt x="17254" y="121309"/>
                          <a:pt x="14353" y="122387"/>
                          <a:pt x="11463" y="122387"/>
                        </a:cubicBezTo>
                        <a:close/>
                      </a:path>
                    </a:pathLst>
                  </a:custGeom>
                  <a:grpFill/>
                  <a:ln w="1145" cap="flat">
                    <a:noFill/>
                    <a:prstDash val="solid"/>
                    <a:miter/>
                  </a:ln>
                </p:spPr>
                <p:txBody>
                  <a:bodyPr rtlCol="0" anchor="ctr"/>
                  <a:lstStyle/>
                  <a:p>
                    <a:endParaRPr lang="en-GB" dirty="0"/>
                  </a:p>
                </p:txBody>
              </p:sp>
              <p:sp>
                <p:nvSpPr>
                  <p:cNvPr id="705" name="Freeform: Shape 704">
                    <a:extLst>
                      <a:ext uri="{FF2B5EF4-FFF2-40B4-BE49-F238E27FC236}">
                        <a16:creationId xmlns:a16="http://schemas.microsoft.com/office/drawing/2014/main" id="{D98395CF-F18E-4681-856F-DAC8B1E23792}"/>
                      </a:ext>
                    </a:extLst>
                  </p:cNvPr>
                  <p:cNvSpPr/>
                  <p:nvPr/>
                </p:nvSpPr>
                <p:spPr>
                  <a:xfrm>
                    <a:off x="2580237" y="48860"/>
                    <a:ext cx="168871" cy="144554"/>
                  </a:xfrm>
                  <a:custGeom>
                    <a:avLst/>
                    <a:gdLst>
                      <a:gd name="connsiteX0" fmla="*/ 149297 w 168871"/>
                      <a:gd name="connsiteY0" fmla="*/ 144554 h 144554"/>
                      <a:gd name="connsiteX1" fmla="*/ 140950 w 168871"/>
                      <a:gd name="connsiteY1" fmla="*/ 140966 h 144554"/>
                      <a:gd name="connsiteX2" fmla="*/ 99215 w 168871"/>
                      <a:gd name="connsiteY2" fmla="*/ 96743 h 144554"/>
                      <a:gd name="connsiteX3" fmla="*/ 99685 w 168871"/>
                      <a:gd name="connsiteY3" fmla="*/ 80530 h 144554"/>
                      <a:gd name="connsiteX4" fmla="*/ 115898 w 168871"/>
                      <a:gd name="connsiteY4" fmla="*/ 81000 h 144554"/>
                      <a:gd name="connsiteX5" fmla="*/ 139597 w 168871"/>
                      <a:gd name="connsiteY5" fmla="*/ 106110 h 144554"/>
                      <a:gd name="connsiteX6" fmla="*/ 145089 w 168871"/>
                      <a:gd name="connsiteY6" fmla="*/ 23786 h 144554"/>
                      <a:gd name="connsiteX7" fmla="*/ 61768 w 168871"/>
                      <a:gd name="connsiteY7" fmla="*/ 29336 h 144554"/>
                      <a:gd name="connsiteX8" fmla="*/ 76330 w 168871"/>
                      <a:gd name="connsiteY8" fmla="*/ 43909 h 144554"/>
                      <a:gd name="connsiteX9" fmla="*/ 79689 w 168871"/>
                      <a:gd name="connsiteY9" fmla="*/ 52015 h 144554"/>
                      <a:gd name="connsiteX10" fmla="*/ 76330 w 168871"/>
                      <a:gd name="connsiteY10" fmla="*/ 60121 h 144554"/>
                      <a:gd name="connsiteX11" fmla="*/ 19575 w 168871"/>
                      <a:gd name="connsiteY11" fmla="*/ 116876 h 144554"/>
                      <a:gd name="connsiteX12" fmla="*/ 3362 w 168871"/>
                      <a:gd name="connsiteY12" fmla="*/ 116876 h 144554"/>
                      <a:gd name="connsiteX13" fmla="*/ 3362 w 168871"/>
                      <a:gd name="connsiteY13" fmla="*/ 100664 h 144554"/>
                      <a:gd name="connsiteX14" fmla="*/ 52011 w 168871"/>
                      <a:gd name="connsiteY14" fmla="*/ 52015 h 144554"/>
                      <a:gd name="connsiteX15" fmla="*/ 27692 w 168871"/>
                      <a:gd name="connsiteY15" fmla="*/ 27685 h 144554"/>
                      <a:gd name="connsiteX16" fmla="*/ 25067 w 168871"/>
                      <a:gd name="connsiteY16" fmla="*/ 15543 h 144554"/>
                      <a:gd name="connsiteX17" fmla="*/ 35042 w 168871"/>
                      <a:gd name="connsiteY17" fmla="*/ 8136 h 144554"/>
                      <a:gd name="connsiteX18" fmla="*/ 156647 w 168871"/>
                      <a:gd name="connsiteY18" fmla="*/ 30 h 144554"/>
                      <a:gd name="connsiteX19" fmla="*/ 165510 w 168871"/>
                      <a:gd name="connsiteY19" fmla="*/ 3366 h 144554"/>
                      <a:gd name="connsiteX20" fmla="*/ 168846 w 168871"/>
                      <a:gd name="connsiteY20" fmla="*/ 12229 h 144554"/>
                      <a:gd name="connsiteX21" fmla="*/ 160740 w 168871"/>
                      <a:gd name="connsiteY21" fmla="*/ 133845 h 144554"/>
                      <a:gd name="connsiteX22" fmla="*/ 153173 w 168871"/>
                      <a:gd name="connsiteY22" fmla="*/ 143878 h 144554"/>
                      <a:gd name="connsiteX23" fmla="*/ 149297 w 168871"/>
                      <a:gd name="connsiteY23" fmla="*/ 144554 h 144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8871" h="144554">
                        <a:moveTo>
                          <a:pt x="149297" y="144554"/>
                        </a:moveTo>
                        <a:cubicBezTo>
                          <a:pt x="146190" y="144554"/>
                          <a:pt x="143163" y="143293"/>
                          <a:pt x="140950" y="140966"/>
                        </a:cubicBezTo>
                        <a:lnTo>
                          <a:pt x="99215" y="96743"/>
                        </a:lnTo>
                        <a:cubicBezTo>
                          <a:pt x="94870" y="92133"/>
                          <a:pt x="95088" y="84876"/>
                          <a:pt x="99685" y="80530"/>
                        </a:cubicBezTo>
                        <a:cubicBezTo>
                          <a:pt x="104295" y="76196"/>
                          <a:pt x="111552" y="76380"/>
                          <a:pt x="115898" y="81000"/>
                        </a:cubicBezTo>
                        <a:lnTo>
                          <a:pt x="139597" y="106110"/>
                        </a:lnTo>
                        <a:lnTo>
                          <a:pt x="145089" y="23786"/>
                        </a:lnTo>
                        <a:lnTo>
                          <a:pt x="61768" y="29336"/>
                        </a:lnTo>
                        <a:lnTo>
                          <a:pt x="76330" y="43909"/>
                        </a:lnTo>
                        <a:cubicBezTo>
                          <a:pt x="78485" y="46064"/>
                          <a:pt x="79689" y="48977"/>
                          <a:pt x="79689" y="52015"/>
                        </a:cubicBezTo>
                        <a:cubicBezTo>
                          <a:pt x="79689" y="55053"/>
                          <a:pt x="78485" y="57977"/>
                          <a:pt x="76330" y="60121"/>
                        </a:cubicBezTo>
                        <a:lnTo>
                          <a:pt x="19575" y="116876"/>
                        </a:lnTo>
                        <a:cubicBezTo>
                          <a:pt x="15092" y="121359"/>
                          <a:pt x="7845" y="121359"/>
                          <a:pt x="3362" y="116876"/>
                        </a:cubicBezTo>
                        <a:cubicBezTo>
                          <a:pt x="-1121" y="112393"/>
                          <a:pt x="-1121" y="105147"/>
                          <a:pt x="3362" y="100664"/>
                        </a:cubicBezTo>
                        <a:lnTo>
                          <a:pt x="52011" y="52015"/>
                        </a:lnTo>
                        <a:lnTo>
                          <a:pt x="27692" y="27685"/>
                        </a:lnTo>
                        <a:cubicBezTo>
                          <a:pt x="24516" y="24509"/>
                          <a:pt x="23485" y="19762"/>
                          <a:pt x="25067" y="15543"/>
                        </a:cubicBezTo>
                        <a:cubicBezTo>
                          <a:pt x="26649" y="11323"/>
                          <a:pt x="30547" y="8434"/>
                          <a:pt x="35042" y="8136"/>
                        </a:cubicBezTo>
                        <a:lnTo>
                          <a:pt x="156647" y="30"/>
                        </a:lnTo>
                        <a:cubicBezTo>
                          <a:pt x="159960" y="-211"/>
                          <a:pt x="163182" y="1027"/>
                          <a:pt x="165510" y="3366"/>
                        </a:cubicBezTo>
                        <a:cubicBezTo>
                          <a:pt x="167849" y="5705"/>
                          <a:pt x="169064" y="8938"/>
                          <a:pt x="168846" y="12229"/>
                        </a:cubicBezTo>
                        <a:lnTo>
                          <a:pt x="160740" y="133845"/>
                        </a:lnTo>
                        <a:cubicBezTo>
                          <a:pt x="160442" y="138397"/>
                          <a:pt x="157472" y="142330"/>
                          <a:pt x="153173" y="143878"/>
                        </a:cubicBezTo>
                        <a:cubicBezTo>
                          <a:pt x="151912" y="144337"/>
                          <a:pt x="150593" y="144554"/>
                          <a:pt x="149297" y="144554"/>
                        </a:cubicBezTo>
                        <a:close/>
                      </a:path>
                    </a:pathLst>
                  </a:custGeom>
                  <a:grpFill/>
                  <a:ln w="1145" cap="flat">
                    <a:noFill/>
                    <a:prstDash val="solid"/>
                    <a:miter/>
                  </a:ln>
                </p:spPr>
                <p:txBody>
                  <a:bodyPr rtlCol="0" anchor="ctr"/>
                  <a:lstStyle/>
                  <a:p>
                    <a:endParaRPr lang="en-GB" dirty="0"/>
                  </a:p>
                </p:txBody>
              </p:sp>
            </p:grpSp>
            <p:grpSp>
              <p:nvGrpSpPr>
                <p:cNvPr id="701" name="Graphic 48">
                  <a:extLst>
                    <a:ext uri="{FF2B5EF4-FFF2-40B4-BE49-F238E27FC236}">
                      <a16:creationId xmlns:a16="http://schemas.microsoft.com/office/drawing/2014/main" id="{85B0A585-AAC5-4325-8D59-6030621BC7CD}"/>
                    </a:ext>
                  </a:extLst>
                </p:cNvPr>
                <p:cNvGrpSpPr/>
                <p:nvPr/>
              </p:nvGrpSpPr>
              <p:grpSpPr>
                <a:xfrm>
                  <a:off x="2570202" y="476971"/>
                  <a:ext cx="178908" cy="225117"/>
                  <a:chOff x="2570202" y="476971"/>
                  <a:chExt cx="178908" cy="225117"/>
                </a:xfrm>
                <a:grpFill/>
              </p:grpSpPr>
              <p:sp>
                <p:nvSpPr>
                  <p:cNvPr id="702" name="Freeform: Shape 701">
                    <a:extLst>
                      <a:ext uri="{FF2B5EF4-FFF2-40B4-BE49-F238E27FC236}">
                        <a16:creationId xmlns:a16="http://schemas.microsoft.com/office/drawing/2014/main" id="{231217B3-4EFE-48C7-AC29-4539811DEC1C}"/>
                      </a:ext>
                    </a:extLst>
                  </p:cNvPr>
                  <p:cNvSpPr/>
                  <p:nvPr/>
                </p:nvSpPr>
                <p:spPr>
                  <a:xfrm>
                    <a:off x="2570202" y="476971"/>
                    <a:ext cx="138354" cy="135937"/>
                  </a:xfrm>
                  <a:custGeom>
                    <a:avLst/>
                    <a:gdLst>
                      <a:gd name="connsiteX0" fmla="*/ 126907 w 138354"/>
                      <a:gd name="connsiteY0" fmla="*/ 135938 h 135937"/>
                      <a:gd name="connsiteX1" fmla="*/ 118881 w 138354"/>
                      <a:gd name="connsiteY1" fmla="*/ 132659 h 135937"/>
                      <a:gd name="connsiteX2" fmla="*/ 3445 w 138354"/>
                      <a:gd name="connsiteY2" fmla="*/ 19653 h 135937"/>
                      <a:gd name="connsiteX3" fmla="*/ 3273 w 138354"/>
                      <a:gd name="connsiteY3" fmla="*/ 3440 h 135937"/>
                      <a:gd name="connsiteX4" fmla="*/ 19485 w 138354"/>
                      <a:gd name="connsiteY4" fmla="*/ 3268 h 135937"/>
                      <a:gd name="connsiteX5" fmla="*/ 134910 w 138354"/>
                      <a:gd name="connsiteY5" fmla="*/ 116274 h 135937"/>
                      <a:gd name="connsiteX6" fmla="*/ 135082 w 138354"/>
                      <a:gd name="connsiteY6" fmla="*/ 132486 h 135937"/>
                      <a:gd name="connsiteX7" fmla="*/ 126907 w 138354"/>
                      <a:gd name="connsiteY7" fmla="*/ 135938 h 13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354" h="135937">
                        <a:moveTo>
                          <a:pt x="126907" y="135938"/>
                        </a:moveTo>
                        <a:cubicBezTo>
                          <a:pt x="124018" y="135938"/>
                          <a:pt x="121117" y="134848"/>
                          <a:pt x="118881" y="132659"/>
                        </a:cubicBezTo>
                        <a:lnTo>
                          <a:pt x="3445" y="19653"/>
                        </a:lnTo>
                        <a:cubicBezTo>
                          <a:pt x="-1084" y="15227"/>
                          <a:pt x="-1153" y="7969"/>
                          <a:pt x="3273" y="3440"/>
                        </a:cubicBezTo>
                        <a:cubicBezTo>
                          <a:pt x="7710" y="-1077"/>
                          <a:pt x="14968" y="-1157"/>
                          <a:pt x="19485" y="3268"/>
                        </a:cubicBezTo>
                        <a:lnTo>
                          <a:pt x="134910" y="116274"/>
                        </a:lnTo>
                        <a:cubicBezTo>
                          <a:pt x="139439" y="120700"/>
                          <a:pt x="139508" y="127958"/>
                          <a:pt x="135082" y="132486"/>
                        </a:cubicBezTo>
                        <a:cubicBezTo>
                          <a:pt x="132846" y="134780"/>
                          <a:pt x="129877" y="135938"/>
                          <a:pt x="126907" y="135938"/>
                        </a:cubicBezTo>
                        <a:close/>
                      </a:path>
                    </a:pathLst>
                  </a:custGeom>
                  <a:grpFill/>
                  <a:ln w="1145" cap="flat">
                    <a:noFill/>
                    <a:prstDash val="solid"/>
                    <a:miter/>
                  </a:ln>
                </p:spPr>
                <p:txBody>
                  <a:bodyPr rtlCol="0" anchor="ctr"/>
                  <a:lstStyle/>
                  <a:p>
                    <a:endParaRPr lang="en-GB" dirty="0"/>
                  </a:p>
                </p:txBody>
              </p:sp>
              <p:sp>
                <p:nvSpPr>
                  <p:cNvPr id="703" name="Freeform: Shape 702">
                    <a:extLst>
                      <a:ext uri="{FF2B5EF4-FFF2-40B4-BE49-F238E27FC236}">
                        <a16:creationId xmlns:a16="http://schemas.microsoft.com/office/drawing/2014/main" id="{237E6C24-8420-487A-B530-E96DA5B7B349}"/>
                      </a:ext>
                    </a:extLst>
                  </p:cNvPr>
                  <p:cNvSpPr/>
                  <p:nvPr/>
                </p:nvSpPr>
                <p:spPr>
                  <a:xfrm>
                    <a:off x="2580237" y="557527"/>
                    <a:ext cx="168873" cy="144561"/>
                  </a:xfrm>
                  <a:custGeom>
                    <a:avLst/>
                    <a:gdLst>
                      <a:gd name="connsiteX0" fmla="*/ 157404 w 168873"/>
                      <a:gd name="connsiteY0" fmla="*/ 144562 h 144561"/>
                      <a:gd name="connsiteX1" fmla="*/ 156647 w 168873"/>
                      <a:gd name="connsiteY1" fmla="*/ 144539 h 144561"/>
                      <a:gd name="connsiteX2" fmla="*/ 35042 w 168873"/>
                      <a:gd name="connsiteY2" fmla="*/ 136421 h 144561"/>
                      <a:gd name="connsiteX3" fmla="*/ 25067 w 168873"/>
                      <a:gd name="connsiteY3" fmla="*/ 129014 h 144561"/>
                      <a:gd name="connsiteX4" fmla="*/ 27692 w 168873"/>
                      <a:gd name="connsiteY4" fmla="*/ 116872 h 144561"/>
                      <a:gd name="connsiteX5" fmla="*/ 52011 w 168873"/>
                      <a:gd name="connsiteY5" fmla="*/ 92553 h 144561"/>
                      <a:gd name="connsiteX6" fmla="*/ 3362 w 168873"/>
                      <a:gd name="connsiteY6" fmla="*/ 43905 h 144561"/>
                      <a:gd name="connsiteX7" fmla="*/ 3362 w 168873"/>
                      <a:gd name="connsiteY7" fmla="*/ 27692 h 144561"/>
                      <a:gd name="connsiteX8" fmla="*/ 19575 w 168873"/>
                      <a:gd name="connsiteY8" fmla="*/ 27692 h 144561"/>
                      <a:gd name="connsiteX9" fmla="*/ 76330 w 168873"/>
                      <a:gd name="connsiteY9" fmla="*/ 84447 h 144561"/>
                      <a:gd name="connsiteX10" fmla="*/ 79689 w 168873"/>
                      <a:gd name="connsiteY10" fmla="*/ 92553 h 144561"/>
                      <a:gd name="connsiteX11" fmla="*/ 76330 w 168873"/>
                      <a:gd name="connsiteY11" fmla="*/ 100660 h 144561"/>
                      <a:gd name="connsiteX12" fmla="*/ 61768 w 168873"/>
                      <a:gd name="connsiteY12" fmla="*/ 115221 h 144561"/>
                      <a:gd name="connsiteX13" fmla="*/ 145089 w 168873"/>
                      <a:gd name="connsiteY13" fmla="*/ 120782 h 144561"/>
                      <a:gd name="connsiteX14" fmla="*/ 139563 w 168873"/>
                      <a:gd name="connsiteY14" fmla="*/ 37816 h 144561"/>
                      <a:gd name="connsiteX15" fmla="*/ 115760 w 168873"/>
                      <a:gd name="connsiteY15" fmla="*/ 62135 h 144561"/>
                      <a:gd name="connsiteX16" fmla="*/ 99536 w 168873"/>
                      <a:gd name="connsiteY16" fmla="*/ 62307 h 144561"/>
                      <a:gd name="connsiteX17" fmla="*/ 99364 w 168873"/>
                      <a:gd name="connsiteY17" fmla="*/ 46083 h 144561"/>
                      <a:gd name="connsiteX18" fmla="*/ 141099 w 168873"/>
                      <a:gd name="connsiteY18" fmla="*/ 3454 h 144561"/>
                      <a:gd name="connsiteX19" fmla="*/ 153276 w 168873"/>
                      <a:gd name="connsiteY19" fmla="*/ 725 h 144561"/>
                      <a:gd name="connsiteX20" fmla="*/ 160740 w 168873"/>
                      <a:gd name="connsiteY20" fmla="*/ 10723 h 144561"/>
                      <a:gd name="connsiteX21" fmla="*/ 168846 w 168873"/>
                      <a:gd name="connsiteY21" fmla="*/ 132339 h 144561"/>
                      <a:gd name="connsiteX22" fmla="*/ 165510 w 168873"/>
                      <a:gd name="connsiteY22" fmla="*/ 141202 h 144561"/>
                      <a:gd name="connsiteX23" fmla="*/ 157404 w 168873"/>
                      <a:gd name="connsiteY23" fmla="*/ 144562 h 14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8873" h="144561">
                        <a:moveTo>
                          <a:pt x="157404" y="144562"/>
                        </a:moveTo>
                        <a:cubicBezTo>
                          <a:pt x="157151" y="144562"/>
                          <a:pt x="156899" y="144550"/>
                          <a:pt x="156647" y="144539"/>
                        </a:cubicBezTo>
                        <a:lnTo>
                          <a:pt x="35042" y="136421"/>
                        </a:lnTo>
                        <a:cubicBezTo>
                          <a:pt x="30547" y="136123"/>
                          <a:pt x="26649" y="133222"/>
                          <a:pt x="25067" y="129014"/>
                        </a:cubicBezTo>
                        <a:cubicBezTo>
                          <a:pt x="23485" y="124806"/>
                          <a:pt x="24516" y="120059"/>
                          <a:pt x="27692" y="116872"/>
                        </a:cubicBezTo>
                        <a:lnTo>
                          <a:pt x="52011" y="92553"/>
                        </a:lnTo>
                        <a:lnTo>
                          <a:pt x="3362" y="43905"/>
                        </a:lnTo>
                        <a:cubicBezTo>
                          <a:pt x="-1121" y="39421"/>
                          <a:pt x="-1121" y="32175"/>
                          <a:pt x="3362" y="27692"/>
                        </a:cubicBezTo>
                        <a:cubicBezTo>
                          <a:pt x="7845" y="23209"/>
                          <a:pt x="15092" y="23209"/>
                          <a:pt x="19575" y="27692"/>
                        </a:cubicBezTo>
                        <a:lnTo>
                          <a:pt x="76330" y="84447"/>
                        </a:lnTo>
                        <a:cubicBezTo>
                          <a:pt x="78485" y="86603"/>
                          <a:pt x="79689" y="89515"/>
                          <a:pt x="79689" y="92553"/>
                        </a:cubicBezTo>
                        <a:cubicBezTo>
                          <a:pt x="79689" y="95592"/>
                          <a:pt x="78485" y="98516"/>
                          <a:pt x="76330" y="100660"/>
                        </a:cubicBezTo>
                        <a:lnTo>
                          <a:pt x="61768" y="115221"/>
                        </a:lnTo>
                        <a:lnTo>
                          <a:pt x="145089" y="120782"/>
                        </a:lnTo>
                        <a:lnTo>
                          <a:pt x="139563" y="37816"/>
                        </a:lnTo>
                        <a:lnTo>
                          <a:pt x="115760" y="62135"/>
                        </a:lnTo>
                        <a:cubicBezTo>
                          <a:pt x="111323" y="66664"/>
                          <a:pt x="104077" y="66733"/>
                          <a:pt x="99536" y="62307"/>
                        </a:cubicBezTo>
                        <a:cubicBezTo>
                          <a:pt x="95007" y="57870"/>
                          <a:pt x="94939" y="50612"/>
                          <a:pt x="99364" y="46083"/>
                        </a:cubicBezTo>
                        <a:lnTo>
                          <a:pt x="141099" y="3454"/>
                        </a:lnTo>
                        <a:cubicBezTo>
                          <a:pt x="144264" y="220"/>
                          <a:pt x="149034" y="-869"/>
                          <a:pt x="153276" y="725"/>
                        </a:cubicBezTo>
                        <a:cubicBezTo>
                          <a:pt x="157518" y="2296"/>
                          <a:pt x="160442" y="6205"/>
                          <a:pt x="160740" y="10723"/>
                        </a:cubicBezTo>
                        <a:lnTo>
                          <a:pt x="168846" y="132339"/>
                        </a:lnTo>
                        <a:cubicBezTo>
                          <a:pt x="169076" y="135641"/>
                          <a:pt x="167860" y="138875"/>
                          <a:pt x="165510" y="141202"/>
                        </a:cubicBezTo>
                        <a:cubicBezTo>
                          <a:pt x="163354" y="143358"/>
                          <a:pt x="160431" y="144562"/>
                          <a:pt x="157404" y="144562"/>
                        </a:cubicBezTo>
                        <a:close/>
                      </a:path>
                    </a:pathLst>
                  </a:custGeom>
                  <a:grpFill/>
                  <a:ln w="1145" cap="flat">
                    <a:noFill/>
                    <a:prstDash val="solid"/>
                    <a:miter/>
                  </a:ln>
                </p:spPr>
                <p:txBody>
                  <a:bodyPr rtlCol="0" anchor="ctr"/>
                  <a:lstStyle/>
                  <a:p>
                    <a:endParaRPr lang="en-GB" dirty="0"/>
                  </a:p>
                </p:txBody>
              </p:sp>
            </p:grpSp>
          </p:grpSp>
          <p:grpSp>
            <p:nvGrpSpPr>
              <p:cNvPr id="693" name="Graphic 48">
                <a:extLst>
                  <a:ext uri="{FF2B5EF4-FFF2-40B4-BE49-F238E27FC236}">
                    <a16:creationId xmlns:a16="http://schemas.microsoft.com/office/drawing/2014/main" id="{0CE1718A-BCF8-49F8-A993-0BEFA6350D54}"/>
                  </a:ext>
                </a:extLst>
              </p:cNvPr>
              <p:cNvGrpSpPr/>
              <p:nvPr/>
            </p:nvGrpSpPr>
            <p:grpSpPr>
              <a:xfrm>
                <a:off x="4991744" y="1585987"/>
                <a:ext cx="95226" cy="368348"/>
                <a:chOff x="1989352" y="48866"/>
                <a:chExt cx="168873" cy="653222"/>
              </a:xfrm>
              <a:grpFill/>
            </p:grpSpPr>
            <p:grpSp>
              <p:nvGrpSpPr>
                <p:cNvPr id="694" name="Graphic 48">
                  <a:extLst>
                    <a:ext uri="{FF2B5EF4-FFF2-40B4-BE49-F238E27FC236}">
                      <a16:creationId xmlns:a16="http://schemas.microsoft.com/office/drawing/2014/main" id="{BBAEA7A2-565F-4FCF-BE3B-77D0D6BFC210}"/>
                    </a:ext>
                  </a:extLst>
                </p:cNvPr>
                <p:cNvGrpSpPr/>
                <p:nvPr/>
              </p:nvGrpSpPr>
              <p:grpSpPr>
                <a:xfrm>
                  <a:off x="1989352" y="48866"/>
                  <a:ext cx="168873" cy="204765"/>
                  <a:chOff x="1989352" y="48866"/>
                  <a:chExt cx="168873" cy="204765"/>
                </a:xfrm>
                <a:grpFill/>
              </p:grpSpPr>
              <p:sp>
                <p:nvSpPr>
                  <p:cNvPr id="698" name="Freeform: Shape 697">
                    <a:extLst>
                      <a:ext uri="{FF2B5EF4-FFF2-40B4-BE49-F238E27FC236}">
                        <a16:creationId xmlns:a16="http://schemas.microsoft.com/office/drawing/2014/main" id="{FC32BB3D-36BC-416C-BF27-E015B411937F}"/>
                      </a:ext>
                    </a:extLst>
                  </p:cNvPr>
                  <p:cNvSpPr/>
                  <p:nvPr/>
                </p:nvSpPr>
                <p:spPr>
                  <a:xfrm>
                    <a:off x="2029905" y="138047"/>
                    <a:ext cx="118704" cy="115584"/>
                  </a:xfrm>
                  <a:custGeom>
                    <a:avLst/>
                    <a:gdLst>
                      <a:gd name="connsiteX0" fmla="*/ 107233 w 118704"/>
                      <a:gd name="connsiteY0" fmla="*/ 115584 h 115584"/>
                      <a:gd name="connsiteX1" fmla="*/ 99264 w 118704"/>
                      <a:gd name="connsiteY1" fmla="*/ 112362 h 115584"/>
                      <a:gd name="connsiteX2" fmla="*/ 3491 w 118704"/>
                      <a:gd name="connsiteY2" fmla="*/ 19708 h 115584"/>
                      <a:gd name="connsiteX3" fmla="*/ 3228 w 118704"/>
                      <a:gd name="connsiteY3" fmla="*/ 3496 h 115584"/>
                      <a:gd name="connsiteX4" fmla="*/ 19440 w 118704"/>
                      <a:gd name="connsiteY4" fmla="*/ 3232 h 115584"/>
                      <a:gd name="connsiteX5" fmla="*/ 115213 w 118704"/>
                      <a:gd name="connsiteY5" fmla="*/ 95886 h 115584"/>
                      <a:gd name="connsiteX6" fmla="*/ 115477 w 118704"/>
                      <a:gd name="connsiteY6" fmla="*/ 112099 h 115584"/>
                      <a:gd name="connsiteX7" fmla="*/ 107233 w 118704"/>
                      <a:gd name="connsiteY7" fmla="*/ 115584 h 1155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704" h="115584">
                        <a:moveTo>
                          <a:pt x="107233" y="115584"/>
                        </a:moveTo>
                        <a:cubicBezTo>
                          <a:pt x="104366" y="115584"/>
                          <a:pt x="101488" y="114518"/>
                          <a:pt x="99264" y="112362"/>
                        </a:cubicBezTo>
                        <a:lnTo>
                          <a:pt x="3491" y="19708"/>
                        </a:lnTo>
                        <a:cubicBezTo>
                          <a:pt x="-1061" y="15305"/>
                          <a:pt x="-1175" y="8048"/>
                          <a:pt x="3228" y="3496"/>
                        </a:cubicBezTo>
                        <a:cubicBezTo>
                          <a:pt x="7630" y="-1056"/>
                          <a:pt x="14888" y="-1182"/>
                          <a:pt x="19440" y="3232"/>
                        </a:cubicBezTo>
                        <a:lnTo>
                          <a:pt x="115213" y="95886"/>
                        </a:lnTo>
                        <a:cubicBezTo>
                          <a:pt x="119765" y="100289"/>
                          <a:pt x="119879" y="107547"/>
                          <a:pt x="115477" y="112099"/>
                        </a:cubicBezTo>
                        <a:cubicBezTo>
                          <a:pt x="113218" y="114415"/>
                          <a:pt x="110225" y="115584"/>
                          <a:pt x="107233" y="115584"/>
                        </a:cubicBezTo>
                        <a:close/>
                      </a:path>
                    </a:pathLst>
                  </a:custGeom>
                  <a:grpFill/>
                  <a:ln w="1145" cap="flat">
                    <a:noFill/>
                    <a:prstDash val="solid"/>
                    <a:miter/>
                  </a:ln>
                </p:spPr>
                <p:txBody>
                  <a:bodyPr rtlCol="0" anchor="ctr"/>
                  <a:lstStyle/>
                  <a:p>
                    <a:endParaRPr lang="en-GB" dirty="0"/>
                  </a:p>
                </p:txBody>
              </p:sp>
              <p:sp>
                <p:nvSpPr>
                  <p:cNvPr id="699" name="Freeform: Shape 698">
                    <a:extLst>
                      <a:ext uri="{FF2B5EF4-FFF2-40B4-BE49-F238E27FC236}">
                        <a16:creationId xmlns:a16="http://schemas.microsoft.com/office/drawing/2014/main" id="{B09176FA-8FDC-4F3D-9247-F46EE789990B}"/>
                      </a:ext>
                    </a:extLst>
                  </p:cNvPr>
                  <p:cNvSpPr/>
                  <p:nvPr/>
                </p:nvSpPr>
                <p:spPr>
                  <a:xfrm>
                    <a:off x="1989352" y="48866"/>
                    <a:ext cx="168873" cy="144547"/>
                  </a:xfrm>
                  <a:custGeom>
                    <a:avLst/>
                    <a:gdLst>
                      <a:gd name="connsiteX0" fmla="*/ 19576 w 168873"/>
                      <a:gd name="connsiteY0" fmla="*/ 144548 h 144547"/>
                      <a:gd name="connsiteX1" fmla="*/ 15586 w 168873"/>
                      <a:gd name="connsiteY1" fmla="*/ 143825 h 144547"/>
                      <a:gd name="connsiteX2" fmla="*/ 8134 w 168873"/>
                      <a:gd name="connsiteY2" fmla="*/ 133839 h 144547"/>
                      <a:gd name="connsiteX3" fmla="*/ 27 w 168873"/>
                      <a:gd name="connsiteY3" fmla="*/ 12234 h 144547"/>
                      <a:gd name="connsiteX4" fmla="*/ 3364 w 168873"/>
                      <a:gd name="connsiteY4" fmla="*/ 3371 h 144547"/>
                      <a:gd name="connsiteX5" fmla="*/ 12227 w 168873"/>
                      <a:gd name="connsiteY5" fmla="*/ 34 h 144547"/>
                      <a:gd name="connsiteX6" fmla="*/ 133832 w 168873"/>
                      <a:gd name="connsiteY6" fmla="*/ 8141 h 144547"/>
                      <a:gd name="connsiteX7" fmla="*/ 143807 w 168873"/>
                      <a:gd name="connsiteY7" fmla="*/ 15548 h 144547"/>
                      <a:gd name="connsiteX8" fmla="*/ 141181 w 168873"/>
                      <a:gd name="connsiteY8" fmla="*/ 27690 h 144547"/>
                      <a:gd name="connsiteX9" fmla="*/ 116863 w 168873"/>
                      <a:gd name="connsiteY9" fmla="*/ 52020 h 144547"/>
                      <a:gd name="connsiteX10" fmla="*/ 165512 w 168873"/>
                      <a:gd name="connsiteY10" fmla="*/ 100669 h 144547"/>
                      <a:gd name="connsiteX11" fmla="*/ 165512 w 168873"/>
                      <a:gd name="connsiteY11" fmla="*/ 116881 h 144547"/>
                      <a:gd name="connsiteX12" fmla="*/ 149299 w 168873"/>
                      <a:gd name="connsiteY12" fmla="*/ 116881 h 144547"/>
                      <a:gd name="connsiteX13" fmla="*/ 92544 w 168873"/>
                      <a:gd name="connsiteY13" fmla="*/ 60126 h 144547"/>
                      <a:gd name="connsiteX14" fmla="*/ 92544 w 168873"/>
                      <a:gd name="connsiteY14" fmla="*/ 43914 h 144547"/>
                      <a:gd name="connsiteX15" fmla="*/ 107105 w 168873"/>
                      <a:gd name="connsiteY15" fmla="*/ 29341 h 144547"/>
                      <a:gd name="connsiteX16" fmla="*/ 23773 w 168873"/>
                      <a:gd name="connsiteY16" fmla="*/ 23791 h 144547"/>
                      <a:gd name="connsiteX17" fmla="*/ 29311 w 168873"/>
                      <a:gd name="connsiteY17" fmla="*/ 106814 h 144547"/>
                      <a:gd name="connsiteX18" fmla="*/ 52013 w 168873"/>
                      <a:gd name="connsiteY18" fmla="*/ 83700 h 144547"/>
                      <a:gd name="connsiteX19" fmla="*/ 68225 w 168873"/>
                      <a:gd name="connsiteY19" fmla="*/ 83550 h 144547"/>
                      <a:gd name="connsiteX20" fmla="*/ 68374 w 168873"/>
                      <a:gd name="connsiteY20" fmla="*/ 99763 h 144547"/>
                      <a:gd name="connsiteX21" fmla="*/ 27751 w 168873"/>
                      <a:gd name="connsiteY21" fmla="*/ 141120 h 144547"/>
                      <a:gd name="connsiteX22" fmla="*/ 19576 w 168873"/>
                      <a:gd name="connsiteY22" fmla="*/ 144548 h 14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8873" h="144547">
                        <a:moveTo>
                          <a:pt x="19576" y="144548"/>
                        </a:moveTo>
                        <a:cubicBezTo>
                          <a:pt x="18235" y="144548"/>
                          <a:pt x="16893" y="144307"/>
                          <a:pt x="15586" y="143825"/>
                        </a:cubicBezTo>
                        <a:cubicBezTo>
                          <a:pt x="11356" y="142255"/>
                          <a:pt x="8432" y="138345"/>
                          <a:pt x="8134" y="133839"/>
                        </a:cubicBezTo>
                        <a:lnTo>
                          <a:pt x="27" y="12234"/>
                        </a:lnTo>
                        <a:cubicBezTo>
                          <a:pt x="-202" y="8932"/>
                          <a:pt x="1014" y="5699"/>
                          <a:pt x="3364" y="3371"/>
                        </a:cubicBezTo>
                        <a:cubicBezTo>
                          <a:pt x="5703" y="1032"/>
                          <a:pt x="8948" y="-229"/>
                          <a:pt x="12227" y="34"/>
                        </a:cubicBezTo>
                        <a:lnTo>
                          <a:pt x="133832" y="8141"/>
                        </a:lnTo>
                        <a:cubicBezTo>
                          <a:pt x="138326" y="8439"/>
                          <a:pt x="142213" y="11328"/>
                          <a:pt x="143807" y="15548"/>
                        </a:cubicBezTo>
                        <a:cubicBezTo>
                          <a:pt x="145389" y="19755"/>
                          <a:pt x="144357" y="24502"/>
                          <a:pt x="141181" y="27690"/>
                        </a:cubicBezTo>
                        <a:lnTo>
                          <a:pt x="116863" y="52020"/>
                        </a:lnTo>
                        <a:lnTo>
                          <a:pt x="165512" y="100669"/>
                        </a:lnTo>
                        <a:cubicBezTo>
                          <a:pt x="169995" y="105152"/>
                          <a:pt x="169995" y="112398"/>
                          <a:pt x="165512" y="116881"/>
                        </a:cubicBezTo>
                        <a:cubicBezTo>
                          <a:pt x="161028" y="121364"/>
                          <a:pt x="153782" y="121364"/>
                          <a:pt x="149299" y="116881"/>
                        </a:cubicBezTo>
                        <a:lnTo>
                          <a:pt x="92544" y="60126"/>
                        </a:lnTo>
                        <a:cubicBezTo>
                          <a:pt x="88061" y="55643"/>
                          <a:pt x="88061" y="48397"/>
                          <a:pt x="92544" y="43914"/>
                        </a:cubicBezTo>
                        <a:lnTo>
                          <a:pt x="107105" y="29341"/>
                        </a:lnTo>
                        <a:lnTo>
                          <a:pt x="23773" y="23791"/>
                        </a:lnTo>
                        <a:lnTo>
                          <a:pt x="29311" y="106814"/>
                        </a:lnTo>
                        <a:lnTo>
                          <a:pt x="52013" y="83700"/>
                        </a:lnTo>
                        <a:cubicBezTo>
                          <a:pt x="56450" y="79182"/>
                          <a:pt x="63708" y="79113"/>
                          <a:pt x="68225" y="83550"/>
                        </a:cubicBezTo>
                        <a:cubicBezTo>
                          <a:pt x="72743" y="87988"/>
                          <a:pt x="72812" y="95245"/>
                          <a:pt x="68374" y="99763"/>
                        </a:cubicBezTo>
                        <a:lnTo>
                          <a:pt x="27751" y="141120"/>
                        </a:lnTo>
                        <a:cubicBezTo>
                          <a:pt x="25562" y="143355"/>
                          <a:pt x="22603" y="144548"/>
                          <a:pt x="19576" y="144548"/>
                        </a:cubicBezTo>
                        <a:close/>
                      </a:path>
                    </a:pathLst>
                  </a:custGeom>
                  <a:grpFill/>
                  <a:ln w="1145" cap="flat">
                    <a:noFill/>
                    <a:prstDash val="solid"/>
                    <a:miter/>
                  </a:ln>
                </p:spPr>
                <p:txBody>
                  <a:bodyPr rtlCol="0" anchor="ctr"/>
                  <a:lstStyle/>
                  <a:p>
                    <a:endParaRPr lang="en-GB" dirty="0"/>
                  </a:p>
                </p:txBody>
              </p:sp>
            </p:grpSp>
            <p:grpSp>
              <p:nvGrpSpPr>
                <p:cNvPr id="695" name="Graphic 48">
                  <a:extLst>
                    <a:ext uri="{FF2B5EF4-FFF2-40B4-BE49-F238E27FC236}">
                      <a16:creationId xmlns:a16="http://schemas.microsoft.com/office/drawing/2014/main" id="{04D4262A-341C-4BC2-ADA7-074EE1582325}"/>
                    </a:ext>
                  </a:extLst>
                </p:cNvPr>
                <p:cNvGrpSpPr/>
                <p:nvPr/>
              </p:nvGrpSpPr>
              <p:grpSpPr>
                <a:xfrm>
                  <a:off x="1989354" y="489233"/>
                  <a:ext cx="168871" cy="212855"/>
                  <a:chOff x="1989354" y="489233"/>
                  <a:chExt cx="168871" cy="212855"/>
                </a:xfrm>
                <a:grpFill/>
              </p:grpSpPr>
              <p:sp>
                <p:nvSpPr>
                  <p:cNvPr id="696" name="Freeform: Shape 695">
                    <a:extLst>
                      <a:ext uri="{FF2B5EF4-FFF2-40B4-BE49-F238E27FC236}">
                        <a16:creationId xmlns:a16="http://schemas.microsoft.com/office/drawing/2014/main" id="{21A817F1-CB6A-4691-8F48-3BA551FE6235}"/>
                      </a:ext>
                    </a:extLst>
                  </p:cNvPr>
                  <p:cNvSpPr/>
                  <p:nvPr/>
                </p:nvSpPr>
                <p:spPr>
                  <a:xfrm>
                    <a:off x="2029899" y="489233"/>
                    <a:ext cx="126534" cy="123675"/>
                  </a:xfrm>
                  <a:custGeom>
                    <a:avLst/>
                    <a:gdLst>
                      <a:gd name="connsiteX0" fmla="*/ 11465 w 126534"/>
                      <a:gd name="connsiteY0" fmla="*/ 123676 h 123675"/>
                      <a:gd name="connsiteX1" fmla="*/ 3245 w 126534"/>
                      <a:gd name="connsiteY1" fmla="*/ 120201 h 123675"/>
                      <a:gd name="connsiteX2" fmla="*/ 3474 w 126534"/>
                      <a:gd name="connsiteY2" fmla="*/ 103989 h 123675"/>
                      <a:gd name="connsiteX3" fmla="*/ 107078 w 126534"/>
                      <a:gd name="connsiteY3" fmla="*/ 3240 h 123675"/>
                      <a:gd name="connsiteX4" fmla="*/ 123290 w 126534"/>
                      <a:gd name="connsiteY4" fmla="*/ 3469 h 123675"/>
                      <a:gd name="connsiteX5" fmla="*/ 123061 w 126534"/>
                      <a:gd name="connsiteY5" fmla="*/ 19682 h 123675"/>
                      <a:gd name="connsiteX6" fmla="*/ 19457 w 126534"/>
                      <a:gd name="connsiteY6" fmla="*/ 120431 h 123675"/>
                      <a:gd name="connsiteX7" fmla="*/ 11465 w 126534"/>
                      <a:gd name="connsiteY7" fmla="*/ 123676 h 12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534" h="123675">
                        <a:moveTo>
                          <a:pt x="11465" y="123676"/>
                        </a:moveTo>
                        <a:cubicBezTo>
                          <a:pt x="8473" y="123676"/>
                          <a:pt x="5492" y="122517"/>
                          <a:pt x="3245" y="120201"/>
                        </a:cubicBezTo>
                        <a:cubicBezTo>
                          <a:pt x="-1170" y="115661"/>
                          <a:pt x="-1067" y="108403"/>
                          <a:pt x="3474" y="103989"/>
                        </a:cubicBezTo>
                        <a:lnTo>
                          <a:pt x="107078" y="3240"/>
                        </a:lnTo>
                        <a:cubicBezTo>
                          <a:pt x="111618" y="-1163"/>
                          <a:pt x="118887" y="-1071"/>
                          <a:pt x="123290" y="3469"/>
                        </a:cubicBezTo>
                        <a:cubicBezTo>
                          <a:pt x="127704" y="8010"/>
                          <a:pt x="127601" y="15268"/>
                          <a:pt x="123061" y="19682"/>
                        </a:cubicBezTo>
                        <a:lnTo>
                          <a:pt x="19457" y="120431"/>
                        </a:lnTo>
                        <a:cubicBezTo>
                          <a:pt x="17233" y="122598"/>
                          <a:pt x="14343" y="123676"/>
                          <a:pt x="11465" y="123676"/>
                        </a:cubicBezTo>
                        <a:close/>
                      </a:path>
                    </a:pathLst>
                  </a:custGeom>
                  <a:grpFill/>
                  <a:ln w="1145" cap="flat">
                    <a:noFill/>
                    <a:prstDash val="solid"/>
                    <a:miter/>
                  </a:ln>
                </p:spPr>
                <p:txBody>
                  <a:bodyPr rtlCol="0" anchor="ctr"/>
                  <a:lstStyle/>
                  <a:p>
                    <a:endParaRPr lang="en-GB" dirty="0"/>
                  </a:p>
                </p:txBody>
              </p:sp>
              <p:sp>
                <p:nvSpPr>
                  <p:cNvPr id="697" name="Freeform: Shape 696">
                    <a:extLst>
                      <a:ext uri="{FF2B5EF4-FFF2-40B4-BE49-F238E27FC236}">
                        <a16:creationId xmlns:a16="http://schemas.microsoft.com/office/drawing/2014/main" id="{6333CACB-4555-40B9-A788-7B59DD633495}"/>
                      </a:ext>
                    </a:extLst>
                  </p:cNvPr>
                  <p:cNvSpPr/>
                  <p:nvPr/>
                </p:nvSpPr>
                <p:spPr>
                  <a:xfrm>
                    <a:off x="1989354" y="557553"/>
                    <a:ext cx="168871" cy="144535"/>
                  </a:xfrm>
                  <a:custGeom>
                    <a:avLst/>
                    <a:gdLst>
                      <a:gd name="connsiteX0" fmla="*/ 11468 w 168871"/>
                      <a:gd name="connsiteY0" fmla="*/ 144535 h 144535"/>
                      <a:gd name="connsiteX1" fmla="*/ 3361 w 168871"/>
                      <a:gd name="connsiteY1" fmla="*/ 141176 h 144535"/>
                      <a:gd name="connsiteX2" fmla="*/ 25 w 168871"/>
                      <a:gd name="connsiteY2" fmla="*/ 132313 h 144535"/>
                      <a:gd name="connsiteX3" fmla="*/ 8131 w 168871"/>
                      <a:gd name="connsiteY3" fmla="*/ 10696 h 144535"/>
                      <a:gd name="connsiteX4" fmla="*/ 15538 w 168871"/>
                      <a:gd name="connsiteY4" fmla="*/ 721 h 144535"/>
                      <a:gd name="connsiteX5" fmla="*/ 27680 w 168871"/>
                      <a:gd name="connsiteY5" fmla="*/ 3358 h 144535"/>
                      <a:gd name="connsiteX6" fmla="*/ 71169 w 168871"/>
                      <a:gd name="connsiteY6" fmla="*/ 46951 h 144535"/>
                      <a:gd name="connsiteX7" fmla="*/ 71147 w 168871"/>
                      <a:gd name="connsiteY7" fmla="*/ 63163 h 144535"/>
                      <a:gd name="connsiteX8" fmla="*/ 54934 w 168871"/>
                      <a:gd name="connsiteY8" fmla="*/ 63140 h 144535"/>
                      <a:gd name="connsiteX9" fmla="*/ 29320 w 168871"/>
                      <a:gd name="connsiteY9" fmla="*/ 37469 h 144535"/>
                      <a:gd name="connsiteX10" fmla="*/ 23770 w 168871"/>
                      <a:gd name="connsiteY10" fmla="*/ 120755 h 144535"/>
                      <a:gd name="connsiteX11" fmla="*/ 107103 w 168871"/>
                      <a:gd name="connsiteY11" fmla="*/ 115195 h 144535"/>
                      <a:gd name="connsiteX12" fmla="*/ 92541 w 168871"/>
                      <a:gd name="connsiteY12" fmla="*/ 100633 h 144535"/>
                      <a:gd name="connsiteX13" fmla="*/ 92541 w 168871"/>
                      <a:gd name="connsiteY13" fmla="*/ 84421 h 144535"/>
                      <a:gd name="connsiteX14" fmla="*/ 149297 w 168871"/>
                      <a:gd name="connsiteY14" fmla="*/ 27666 h 144535"/>
                      <a:gd name="connsiteX15" fmla="*/ 165509 w 168871"/>
                      <a:gd name="connsiteY15" fmla="*/ 27666 h 144535"/>
                      <a:gd name="connsiteX16" fmla="*/ 165509 w 168871"/>
                      <a:gd name="connsiteY16" fmla="*/ 43878 h 144535"/>
                      <a:gd name="connsiteX17" fmla="*/ 116860 w 168871"/>
                      <a:gd name="connsiteY17" fmla="*/ 92527 h 144535"/>
                      <a:gd name="connsiteX18" fmla="*/ 141179 w 168871"/>
                      <a:gd name="connsiteY18" fmla="*/ 116846 h 144535"/>
                      <a:gd name="connsiteX19" fmla="*/ 143805 w 168871"/>
                      <a:gd name="connsiteY19" fmla="*/ 128988 h 144535"/>
                      <a:gd name="connsiteX20" fmla="*/ 133829 w 168871"/>
                      <a:gd name="connsiteY20" fmla="*/ 136395 h 144535"/>
                      <a:gd name="connsiteX21" fmla="*/ 12224 w 168871"/>
                      <a:gd name="connsiteY21" fmla="*/ 144512 h 144535"/>
                      <a:gd name="connsiteX22" fmla="*/ 11468 w 168871"/>
                      <a:gd name="connsiteY22" fmla="*/ 144535 h 144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8871" h="144535">
                        <a:moveTo>
                          <a:pt x="11468" y="144535"/>
                        </a:moveTo>
                        <a:cubicBezTo>
                          <a:pt x="8441" y="144535"/>
                          <a:pt x="5517" y="143331"/>
                          <a:pt x="3361" y="141176"/>
                        </a:cubicBezTo>
                        <a:cubicBezTo>
                          <a:pt x="1022" y="138837"/>
                          <a:pt x="-193" y="135604"/>
                          <a:pt x="25" y="132313"/>
                        </a:cubicBezTo>
                        <a:lnTo>
                          <a:pt x="8131" y="10696"/>
                        </a:lnTo>
                        <a:cubicBezTo>
                          <a:pt x="8429" y="6202"/>
                          <a:pt x="11330" y="2304"/>
                          <a:pt x="15538" y="721"/>
                        </a:cubicBezTo>
                        <a:cubicBezTo>
                          <a:pt x="19746" y="-838"/>
                          <a:pt x="24493" y="171"/>
                          <a:pt x="27680" y="3358"/>
                        </a:cubicBezTo>
                        <a:lnTo>
                          <a:pt x="71169" y="46951"/>
                        </a:lnTo>
                        <a:cubicBezTo>
                          <a:pt x="75641" y="51434"/>
                          <a:pt x="75630" y="58692"/>
                          <a:pt x="71147" y="63163"/>
                        </a:cubicBezTo>
                        <a:cubicBezTo>
                          <a:pt x="66663" y="67635"/>
                          <a:pt x="59406" y="67624"/>
                          <a:pt x="54934" y="63140"/>
                        </a:cubicBezTo>
                        <a:lnTo>
                          <a:pt x="29320" y="37469"/>
                        </a:lnTo>
                        <a:lnTo>
                          <a:pt x="23770" y="120755"/>
                        </a:lnTo>
                        <a:lnTo>
                          <a:pt x="107103" y="115195"/>
                        </a:lnTo>
                        <a:lnTo>
                          <a:pt x="92541" y="100633"/>
                        </a:lnTo>
                        <a:cubicBezTo>
                          <a:pt x="88058" y="96150"/>
                          <a:pt x="88058" y="88904"/>
                          <a:pt x="92541" y="84421"/>
                        </a:cubicBezTo>
                        <a:lnTo>
                          <a:pt x="149297" y="27666"/>
                        </a:lnTo>
                        <a:cubicBezTo>
                          <a:pt x="153780" y="23183"/>
                          <a:pt x="161026" y="23183"/>
                          <a:pt x="165509" y="27666"/>
                        </a:cubicBezTo>
                        <a:cubicBezTo>
                          <a:pt x="169992" y="32149"/>
                          <a:pt x="169992" y="39395"/>
                          <a:pt x="165509" y="43878"/>
                        </a:cubicBezTo>
                        <a:lnTo>
                          <a:pt x="116860" y="92527"/>
                        </a:lnTo>
                        <a:lnTo>
                          <a:pt x="141179" y="116846"/>
                        </a:lnTo>
                        <a:cubicBezTo>
                          <a:pt x="144355" y="120022"/>
                          <a:pt x="145387" y="124768"/>
                          <a:pt x="143805" y="128988"/>
                        </a:cubicBezTo>
                        <a:cubicBezTo>
                          <a:pt x="142222" y="133207"/>
                          <a:pt x="138324" y="136097"/>
                          <a:pt x="133829" y="136395"/>
                        </a:cubicBezTo>
                        <a:lnTo>
                          <a:pt x="12224" y="144512"/>
                        </a:lnTo>
                        <a:cubicBezTo>
                          <a:pt x="11972" y="144524"/>
                          <a:pt x="11720" y="144535"/>
                          <a:pt x="11468" y="144535"/>
                        </a:cubicBezTo>
                        <a:close/>
                      </a:path>
                    </a:pathLst>
                  </a:custGeom>
                  <a:grpFill/>
                  <a:ln w="1145" cap="flat">
                    <a:noFill/>
                    <a:prstDash val="solid"/>
                    <a:miter/>
                  </a:ln>
                </p:spPr>
                <p:txBody>
                  <a:bodyPr rtlCol="0" anchor="ctr"/>
                  <a:lstStyle/>
                  <a:p>
                    <a:endParaRPr lang="en-GB" dirty="0"/>
                  </a:p>
                </p:txBody>
              </p:sp>
            </p:grpSp>
          </p:grpSp>
        </p:grpSp>
        <p:grpSp>
          <p:nvGrpSpPr>
            <p:cNvPr id="652" name="Graphic 48">
              <a:extLst>
                <a:ext uri="{FF2B5EF4-FFF2-40B4-BE49-F238E27FC236}">
                  <a16:creationId xmlns:a16="http://schemas.microsoft.com/office/drawing/2014/main" id="{CE803164-A6E7-41FF-95CB-428FB3C55EDC}"/>
                </a:ext>
              </a:extLst>
            </p:cNvPr>
            <p:cNvGrpSpPr/>
            <p:nvPr/>
          </p:nvGrpSpPr>
          <p:grpSpPr>
            <a:xfrm>
              <a:off x="7158768" y="3286144"/>
              <a:ext cx="282901" cy="282862"/>
              <a:chOff x="2120329" y="133907"/>
              <a:chExt cx="501692" cy="501623"/>
            </a:xfrm>
            <a:solidFill>
              <a:schemeClr val="accent1"/>
            </a:solidFill>
          </p:grpSpPr>
          <p:grpSp>
            <p:nvGrpSpPr>
              <p:cNvPr id="653" name="Graphic 48">
                <a:extLst>
                  <a:ext uri="{FF2B5EF4-FFF2-40B4-BE49-F238E27FC236}">
                    <a16:creationId xmlns:a16="http://schemas.microsoft.com/office/drawing/2014/main" id="{755905A4-FCFE-4CBB-BA32-9035AF55C257}"/>
                  </a:ext>
                </a:extLst>
              </p:cNvPr>
              <p:cNvGrpSpPr/>
              <p:nvPr/>
            </p:nvGrpSpPr>
            <p:grpSpPr>
              <a:xfrm>
                <a:off x="2120329" y="133907"/>
                <a:ext cx="501692" cy="501623"/>
                <a:chOff x="2120329" y="133907"/>
                <a:chExt cx="501692" cy="501623"/>
              </a:xfrm>
              <a:solidFill>
                <a:schemeClr val="accent1"/>
              </a:solidFill>
            </p:grpSpPr>
            <p:sp>
              <p:nvSpPr>
                <p:cNvPr id="657" name="Freeform: Shape 656">
                  <a:extLst>
                    <a:ext uri="{FF2B5EF4-FFF2-40B4-BE49-F238E27FC236}">
                      <a16:creationId xmlns:a16="http://schemas.microsoft.com/office/drawing/2014/main" id="{223F1490-E6EB-46A5-9FDB-8398B6FBE15A}"/>
                    </a:ext>
                  </a:extLst>
                </p:cNvPr>
                <p:cNvSpPr/>
                <p:nvPr/>
              </p:nvSpPr>
              <p:spPr>
                <a:xfrm>
                  <a:off x="2217764" y="231021"/>
                  <a:ext cx="306821" cy="306821"/>
                </a:xfrm>
                <a:custGeom>
                  <a:avLst/>
                  <a:gdLst>
                    <a:gd name="connsiteX0" fmla="*/ 153411 w 306821"/>
                    <a:gd name="connsiteY0" fmla="*/ 306821 h 306821"/>
                    <a:gd name="connsiteX1" fmla="*/ 0 w 306821"/>
                    <a:gd name="connsiteY1" fmla="*/ 153411 h 306821"/>
                    <a:gd name="connsiteX2" fmla="*/ 153411 w 306821"/>
                    <a:gd name="connsiteY2" fmla="*/ 0 h 306821"/>
                    <a:gd name="connsiteX3" fmla="*/ 306821 w 306821"/>
                    <a:gd name="connsiteY3" fmla="*/ 153411 h 306821"/>
                    <a:gd name="connsiteX4" fmla="*/ 153411 w 306821"/>
                    <a:gd name="connsiteY4" fmla="*/ 306821 h 306821"/>
                    <a:gd name="connsiteX5" fmla="*/ 153411 w 306821"/>
                    <a:gd name="connsiteY5" fmla="*/ 22931 h 306821"/>
                    <a:gd name="connsiteX6" fmla="*/ 22931 w 306821"/>
                    <a:gd name="connsiteY6" fmla="*/ 153411 h 306821"/>
                    <a:gd name="connsiteX7" fmla="*/ 153411 w 306821"/>
                    <a:gd name="connsiteY7" fmla="*/ 283890 h 306821"/>
                    <a:gd name="connsiteX8" fmla="*/ 283890 w 306821"/>
                    <a:gd name="connsiteY8" fmla="*/ 153411 h 306821"/>
                    <a:gd name="connsiteX9" fmla="*/ 153411 w 306821"/>
                    <a:gd name="connsiteY9" fmla="*/ 22931 h 306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6821" h="306821">
                      <a:moveTo>
                        <a:pt x="153411" y="306821"/>
                      </a:moveTo>
                      <a:cubicBezTo>
                        <a:pt x="68817" y="306821"/>
                        <a:pt x="0" y="238004"/>
                        <a:pt x="0" y="153411"/>
                      </a:cubicBezTo>
                      <a:cubicBezTo>
                        <a:pt x="0" y="68817"/>
                        <a:pt x="68817" y="0"/>
                        <a:pt x="153411" y="0"/>
                      </a:cubicBezTo>
                      <a:cubicBezTo>
                        <a:pt x="238004" y="0"/>
                        <a:pt x="306821" y="68817"/>
                        <a:pt x="306821" y="153411"/>
                      </a:cubicBezTo>
                      <a:cubicBezTo>
                        <a:pt x="306821" y="238004"/>
                        <a:pt x="238004" y="306821"/>
                        <a:pt x="153411" y="306821"/>
                      </a:cubicBezTo>
                      <a:close/>
                      <a:moveTo>
                        <a:pt x="153411" y="22931"/>
                      </a:moveTo>
                      <a:cubicBezTo>
                        <a:pt x="81464" y="22931"/>
                        <a:pt x="22931" y="81464"/>
                        <a:pt x="22931" y="153411"/>
                      </a:cubicBezTo>
                      <a:cubicBezTo>
                        <a:pt x="22931" y="225358"/>
                        <a:pt x="81464" y="283890"/>
                        <a:pt x="153411" y="283890"/>
                      </a:cubicBezTo>
                      <a:cubicBezTo>
                        <a:pt x="225358" y="283890"/>
                        <a:pt x="283890" y="225358"/>
                        <a:pt x="283890" y="153411"/>
                      </a:cubicBezTo>
                      <a:cubicBezTo>
                        <a:pt x="283890" y="81464"/>
                        <a:pt x="225358" y="22931"/>
                        <a:pt x="153411" y="22931"/>
                      </a:cubicBezTo>
                      <a:close/>
                    </a:path>
                  </a:pathLst>
                </a:custGeom>
                <a:solidFill>
                  <a:schemeClr val="accent1"/>
                </a:solidFill>
                <a:ln w="1145" cap="flat">
                  <a:noFill/>
                  <a:prstDash val="solid"/>
                  <a:miter/>
                </a:ln>
              </p:spPr>
              <p:txBody>
                <a:bodyPr rtlCol="0" anchor="ctr"/>
                <a:lstStyle/>
                <a:p>
                  <a:endParaRPr lang="en-GB" dirty="0"/>
                </a:p>
              </p:txBody>
            </p:sp>
            <p:grpSp>
              <p:nvGrpSpPr>
                <p:cNvPr id="658" name="Graphic 48">
                  <a:extLst>
                    <a:ext uri="{FF2B5EF4-FFF2-40B4-BE49-F238E27FC236}">
                      <a16:creationId xmlns:a16="http://schemas.microsoft.com/office/drawing/2014/main" id="{99BB45DF-504A-4973-A095-FD9FD2EE0BA3}"/>
                    </a:ext>
                  </a:extLst>
                </p:cNvPr>
                <p:cNvGrpSpPr/>
                <p:nvPr/>
              </p:nvGrpSpPr>
              <p:grpSpPr>
                <a:xfrm>
                  <a:off x="2120329" y="340943"/>
                  <a:ext cx="120068" cy="86382"/>
                  <a:chOff x="2120329" y="340943"/>
                  <a:chExt cx="120068" cy="86382"/>
                </a:xfrm>
                <a:solidFill>
                  <a:schemeClr val="accent1"/>
                </a:solidFill>
              </p:grpSpPr>
              <p:sp>
                <p:nvSpPr>
                  <p:cNvPr id="690" name="Freeform: Shape 689">
                    <a:extLst>
                      <a:ext uri="{FF2B5EF4-FFF2-40B4-BE49-F238E27FC236}">
                        <a16:creationId xmlns:a16="http://schemas.microsoft.com/office/drawing/2014/main" id="{2252F6F9-E14E-4AE2-97F1-FD2BDE34AB58}"/>
                      </a:ext>
                    </a:extLst>
                  </p:cNvPr>
                  <p:cNvSpPr/>
                  <p:nvPr/>
                </p:nvSpPr>
                <p:spPr>
                  <a:xfrm>
                    <a:off x="2120329" y="340943"/>
                    <a:ext cx="75226" cy="86382"/>
                  </a:xfrm>
                  <a:custGeom>
                    <a:avLst/>
                    <a:gdLst>
                      <a:gd name="connsiteX0" fmla="*/ 32173 w 75226"/>
                      <a:gd name="connsiteY0" fmla="*/ 86382 h 86382"/>
                      <a:gd name="connsiteX1" fmla="*/ 0 w 75226"/>
                      <a:gd name="connsiteY1" fmla="*/ 43329 h 86382"/>
                      <a:gd name="connsiteX2" fmla="*/ 31072 w 75226"/>
                      <a:gd name="connsiteY2" fmla="*/ 0 h 86382"/>
                      <a:gd name="connsiteX3" fmla="*/ 75226 w 75226"/>
                      <a:gd name="connsiteY3" fmla="*/ 43329 h 86382"/>
                      <a:gd name="connsiteX4" fmla="*/ 32173 w 75226"/>
                      <a:gd name="connsiteY4" fmla="*/ 86382 h 86382"/>
                      <a:gd name="connsiteX5" fmla="*/ 31083 w 75226"/>
                      <a:gd name="connsiteY5" fmla="*/ 22920 h 86382"/>
                      <a:gd name="connsiteX6" fmla="*/ 22943 w 75226"/>
                      <a:gd name="connsiteY6" fmla="*/ 43317 h 86382"/>
                      <a:gd name="connsiteX7" fmla="*/ 32184 w 75226"/>
                      <a:gd name="connsiteY7" fmla="*/ 63440 h 86382"/>
                      <a:gd name="connsiteX8" fmla="*/ 52306 w 75226"/>
                      <a:gd name="connsiteY8" fmla="*/ 43317 h 86382"/>
                      <a:gd name="connsiteX9" fmla="*/ 31083 w 75226"/>
                      <a:gd name="connsiteY9" fmla="*/ 22920 h 86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226" h="86382">
                        <a:moveTo>
                          <a:pt x="32173" y="86382"/>
                        </a:moveTo>
                        <a:cubicBezTo>
                          <a:pt x="13231" y="86382"/>
                          <a:pt x="0" y="68679"/>
                          <a:pt x="0" y="43329"/>
                        </a:cubicBezTo>
                        <a:cubicBezTo>
                          <a:pt x="0" y="17004"/>
                          <a:pt x="12199" y="0"/>
                          <a:pt x="31072" y="0"/>
                        </a:cubicBezTo>
                        <a:cubicBezTo>
                          <a:pt x="52524" y="0"/>
                          <a:pt x="75226" y="22278"/>
                          <a:pt x="75226" y="43329"/>
                        </a:cubicBezTo>
                        <a:cubicBezTo>
                          <a:pt x="75238" y="64655"/>
                          <a:pt x="53510" y="86382"/>
                          <a:pt x="32173" y="86382"/>
                        </a:cubicBezTo>
                        <a:close/>
                        <a:moveTo>
                          <a:pt x="31083" y="22920"/>
                        </a:moveTo>
                        <a:cubicBezTo>
                          <a:pt x="25110" y="22920"/>
                          <a:pt x="22943" y="35119"/>
                          <a:pt x="22943" y="43317"/>
                        </a:cubicBezTo>
                        <a:cubicBezTo>
                          <a:pt x="22943" y="51676"/>
                          <a:pt x="25809" y="63440"/>
                          <a:pt x="32184" y="63440"/>
                        </a:cubicBezTo>
                        <a:cubicBezTo>
                          <a:pt x="40130" y="63440"/>
                          <a:pt x="52306" y="52650"/>
                          <a:pt x="52306" y="43317"/>
                        </a:cubicBezTo>
                        <a:cubicBezTo>
                          <a:pt x="52306" y="34317"/>
                          <a:pt x="39144" y="22920"/>
                          <a:pt x="31083" y="22920"/>
                        </a:cubicBezTo>
                        <a:close/>
                      </a:path>
                    </a:pathLst>
                  </a:custGeom>
                  <a:solidFill>
                    <a:schemeClr val="accent1"/>
                  </a:solidFill>
                  <a:ln w="1145" cap="flat">
                    <a:noFill/>
                    <a:prstDash val="solid"/>
                    <a:miter/>
                  </a:ln>
                </p:spPr>
                <p:txBody>
                  <a:bodyPr rtlCol="0" anchor="ctr"/>
                  <a:lstStyle/>
                  <a:p>
                    <a:endParaRPr lang="en-GB" dirty="0"/>
                  </a:p>
                </p:txBody>
              </p:sp>
              <p:sp>
                <p:nvSpPr>
                  <p:cNvPr id="691" name="Freeform: Shape 690">
                    <a:extLst>
                      <a:ext uri="{FF2B5EF4-FFF2-40B4-BE49-F238E27FC236}">
                        <a16:creationId xmlns:a16="http://schemas.microsoft.com/office/drawing/2014/main" id="{63EE2A7E-A82A-4DD4-BBF0-7F147E19745A}"/>
                      </a:ext>
                    </a:extLst>
                  </p:cNvPr>
                  <p:cNvSpPr/>
                  <p:nvPr/>
                </p:nvSpPr>
                <p:spPr>
                  <a:xfrm>
                    <a:off x="2172635" y="372817"/>
                    <a:ext cx="67762" cy="22931"/>
                  </a:xfrm>
                  <a:custGeom>
                    <a:avLst/>
                    <a:gdLst>
                      <a:gd name="connsiteX0" fmla="*/ 56296 w 67762"/>
                      <a:gd name="connsiteY0" fmla="*/ 22931 h 22931"/>
                      <a:gd name="connsiteX1" fmla="*/ 11466 w 67762"/>
                      <a:gd name="connsiteY1" fmla="*/ 22931 h 22931"/>
                      <a:gd name="connsiteX2" fmla="*/ 0 w 67762"/>
                      <a:gd name="connsiteY2" fmla="*/ 11466 h 22931"/>
                      <a:gd name="connsiteX3" fmla="*/ 11466 w 67762"/>
                      <a:gd name="connsiteY3" fmla="*/ 0 h 22931"/>
                      <a:gd name="connsiteX4" fmla="*/ 56296 w 67762"/>
                      <a:gd name="connsiteY4" fmla="*/ 0 h 22931"/>
                      <a:gd name="connsiteX5" fmla="*/ 67762 w 67762"/>
                      <a:gd name="connsiteY5" fmla="*/ 11466 h 22931"/>
                      <a:gd name="connsiteX6" fmla="*/ 56296 w 67762"/>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762" h="22931">
                        <a:moveTo>
                          <a:pt x="56296" y="22931"/>
                        </a:moveTo>
                        <a:lnTo>
                          <a:pt x="11466" y="22931"/>
                        </a:lnTo>
                        <a:cubicBezTo>
                          <a:pt x="5137" y="22931"/>
                          <a:pt x="0" y="17795"/>
                          <a:pt x="0" y="11466"/>
                        </a:cubicBezTo>
                        <a:cubicBezTo>
                          <a:pt x="0" y="5137"/>
                          <a:pt x="5137" y="0"/>
                          <a:pt x="11466" y="0"/>
                        </a:cubicBezTo>
                        <a:lnTo>
                          <a:pt x="56296" y="0"/>
                        </a:lnTo>
                        <a:cubicBezTo>
                          <a:pt x="62625" y="0"/>
                          <a:pt x="67762" y="5137"/>
                          <a:pt x="67762" y="11466"/>
                        </a:cubicBezTo>
                        <a:cubicBezTo>
                          <a:pt x="67762" y="17795"/>
                          <a:pt x="62625" y="22931"/>
                          <a:pt x="56296"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659" name="Graphic 48">
                  <a:extLst>
                    <a:ext uri="{FF2B5EF4-FFF2-40B4-BE49-F238E27FC236}">
                      <a16:creationId xmlns:a16="http://schemas.microsoft.com/office/drawing/2014/main" id="{BDE852A7-5B4C-47BD-89E7-00D641ACB33B}"/>
                    </a:ext>
                  </a:extLst>
                </p:cNvPr>
                <p:cNvGrpSpPr/>
                <p:nvPr/>
              </p:nvGrpSpPr>
              <p:grpSpPr>
                <a:xfrm>
                  <a:off x="2501975" y="340794"/>
                  <a:ext cx="120046" cy="86405"/>
                  <a:chOff x="2501975" y="340794"/>
                  <a:chExt cx="120046" cy="86405"/>
                </a:xfrm>
                <a:solidFill>
                  <a:schemeClr val="accent1"/>
                </a:solidFill>
              </p:grpSpPr>
              <p:sp>
                <p:nvSpPr>
                  <p:cNvPr id="688" name="Freeform: Shape 687">
                    <a:extLst>
                      <a:ext uri="{FF2B5EF4-FFF2-40B4-BE49-F238E27FC236}">
                        <a16:creationId xmlns:a16="http://schemas.microsoft.com/office/drawing/2014/main" id="{D8A853C1-041E-4F28-A4DD-3D52B766312C}"/>
                      </a:ext>
                    </a:extLst>
                  </p:cNvPr>
                  <p:cNvSpPr/>
                  <p:nvPr/>
                </p:nvSpPr>
                <p:spPr>
                  <a:xfrm>
                    <a:off x="2546794" y="340794"/>
                    <a:ext cx="75227" cy="86405"/>
                  </a:xfrm>
                  <a:custGeom>
                    <a:avLst/>
                    <a:gdLst>
                      <a:gd name="connsiteX0" fmla="*/ 43111 w 75227"/>
                      <a:gd name="connsiteY0" fmla="*/ 86394 h 86405"/>
                      <a:gd name="connsiteX1" fmla="*/ 13954 w 75227"/>
                      <a:gd name="connsiteY1" fmla="*/ 73208 h 86405"/>
                      <a:gd name="connsiteX2" fmla="*/ 0 w 75227"/>
                      <a:gd name="connsiteY2" fmla="*/ 43547 h 86405"/>
                      <a:gd name="connsiteX3" fmla="*/ 14355 w 75227"/>
                      <a:gd name="connsiteY3" fmla="*/ 13472 h 86405"/>
                      <a:gd name="connsiteX4" fmla="*/ 43948 w 75227"/>
                      <a:gd name="connsiteY4" fmla="*/ 0 h 86405"/>
                      <a:gd name="connsiteX5" fmla="*/ 44097 w 75227"/>
                      <a:gd name="connsiteY5" fmla="*/ 0 h 86405"/>
                      <a:gd name="connsiteX6" fmla="*/ 75227 w 75227"/>
                      <a:gd name="connsiteY6" fmla="*/ 43180 h 86405"/>
                      <a:gd name="connsiteX7" fmla="*/ 68943 w 75227"/>
                      <a:gd name="connsiteY7" fmla="*/ 70399 h 86405"/>
                      <a:gd name="connsiteX8" fmla="*/ 43272 w 75227"/>
                      <a:gd name="connsiteY8" fmla="*/ 86405 h 86405"/>
                      <a:gd name="connsiteX9" fmla="*/ 43111 w 75227"/>
                      <a:gd name="connsiteY9" fmla="*/ 86394 h 86405"/>
                      <a:gd name="connsiteX10" fmla="*/ 44063 w 75227"/>
                      <a:gd name="connsiteY10" fmla="*/ 22931 h 86405"/>
                      <a:gd name="connsiteX11" fmla="*/ 44051 w 75227"/>
                      <a:gd name="connsiteY11" fmla="*/ 22931 h 86405"/>
                      <a:gd name="connsiteX12" fmla="*/ 30224 w 75227"/>
                      <a:gd name="connsiteY12" fmla="*/ 30029 h 86405"/>
                      <a:gd name="connsiteX13" fmla="*/ 22932 w 75227"/>
                      <a:gd name="connsiteY13" fmla="*/ 43432 h 86405"/>
                      <a:gd name="connsiteX14" fmla="*/ 29937 w 75227"/>
                      <a:gd name="connsiteY14" fmla="*/ 56767 h 86405"/>
                      <a:gd name="connsiteX15" fmla="*/ 43157 w 75227"/>
                      <a:gd name="connsiteY15" fmla="*/ 63462 h 86405"/>
                      <a:gd name="connsiteX16" fmla="*/ 48913 w 75227"/>
                      <a:gd name="connsiteY16" fmla="*/ 59232 h 86405"/>
                      <a:gd name="connsiteX17" fmla="*/ 52295 w 75227"/>
                      <a:gd name="connsiteY17" fmla="*/ 43294 h 86405"/>
                      <a:gd name="connsiteX18" fmla="*/ 44063 w 75227"/>
                      <a:gd name="connsiteY18" fmla="*/ 22931 h 8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227" h="86405">
                        <a:moveTo>
                          <a:pt x="43111" y="86394"/>
                        </a:moveTo>
                        <a:cubicBezTo>
                          <a:pt x="33205" y="86394"/>
                          <a:pt x="22576" y="81601"/>
                          <a:pt x="13954" y="73208"/>
                        </a:cubicBezTo>
                        <a:cubicBezTo>
                          <a:pt x="5137" y="64632"/>
                          <a:pt x="46" y="53820"/>
                          <a:pt x="0" y="43547"/>
                        </a:cubicBezTo>
                        <a:cubicBezTo>
                          <a:pt x="-46" y="33239"/>
                          <a:pt x="5183" y="22278"/>
                          <a:pt x="14355" y="13472"/>
                        </a:cubicBezTo>
                        <a:cubicBezTo>
                          <a:pt x="23230" y="4953"/>
                          <a:pt x="34019" y="46"/>
                          <a:pt x="43948" y="0"/>
                        </a:cubicBezTo>
                        <a:cubicBezTo>
                          <a:pt x="43994" y="0"/>
                          <a:pt x="44051" y="0"/>
                          <a:pt x="44097" y="0"/>
                        </a:cubicBezTo>
                        <a:cubicBezTo>
                          <a:pt x="62890" y="0"/>
                          <a:pt x="75112" y="16935"/>
                          <a:pt x="75227" y="43180"/>
                        </a:cubicBezTo>
                        <a:cubicBezTo>
                          <a:pt x="75272" y="53373"/>
                          <a:pt x="73048" y="63038"/>
                          <a:pt x="68943" y="70399"/>
                        </a:cubicBezTo>
                        <a:cubicBezTo>
                          <a:pt x="63222" y="80672"/>
                          <a:pt x="54107" y="86348"/>
                          <a:pt x="43272" y="86405"/>
                        </a:cubicBezTo>
                        <a:cubicBezTo>
                          <a:pt x="43214" y="86394"/>
                          <a:pt x="43157" y="86394"/>
                          <a:pt x="43111" y="86394"/>
                        </a:cubicBezTo>
                        <a:close/>
                        <a:moveTo>
                          <a:pt x="44063" y="22931"/>
                        </a:moveTo>
                        <a:cubicBezTo>
                          <a:pt x="44063" y="22931"/>
                          <a:pt x="44051" y="22931"/>
                          <a:pt x="44051" y="22931"/>
                        </a:cubicBezTo>
                        <a:cubicBezTo>
                          <a:pt x="40830" y="22943"/>
                          <a:pt x="35303" y="25144"/>
                          <a:pt x="30224" y="30029"/>
                        </a:cubicBezTo>
                        <a:cubicBezTo>
                          <a:pt x="25706" y="34363"/>
                          <a:pt x="22909" y="39499"/>
                          <a:pt x="22932" y="43432"/>
                        </a:cubicBezTo>
                        <a:cubicBezTo>
                          <a:pt x="22943" y="47479"/>
                          <a:pt x="25638" y="52582"/>
                          <a:pt x="29937" y="56767"/>
                        </a:cubicBezTo>
                        <a:cubicBezTo>
                          <a:pt x="34145" y="60848"/>
                          <a:pt x="38869" y="63543"/>
                          <a:pt x="43157" y="63462"/>
                        </a:cubicBezTo>
                        <a:cubicBezTo>
                          <a:pt x="44269" y="63462"/>
                          <a:pt x="46562" y="63451"/>
                          <a:pt x="48913" y="59232"/>
                        </a:cubicBezTo>
                        <a:cubicBezTo>
                          <a:pt x="51091" y="55322"/>
                          <a:pt x="52318" y="49509"/>
                          <a:pt x="52295" y="43294"/>
                        </a:cubicBezTo>
                        <a:cubicBezTo>
                          <a:pt x="52249" y="35096"/>
                          <a:pt x="50025" y="22931"/>
                          <a:pt x="44063" y="22931"/>
                        </a:cubicBezTo>
                        <a:close/>
                      </a:path>
                    </a:pathLst>
                  </a:custGeom>
                  <a:solidFill>
                    <a:schemeClr val="accent1"/>
                  </a:solidFill>
                  <a:ln w="1145" cap="flat">
                    <a:noFill/>
                    <a:prstDash val="solid"/>
                    <a:miter/>
                  </a:ln>
                </p:spPr>
                <p:txBody>
                  <a:bodyPr rtlCol="0" anchor="ctr"/>
                  <a:lstStyle/>
                  <a:p>
                    <a:endParaRPr lang="en-GB" dirty="0"/>
                  </a:p>
                </p:txBody>
              </p:sp>
              <p:sp>
                <p:nvSpPr>
                  <p:cNvPr id="689" name="Freeform: Shape 688">
                    <a:extLst>
                      <a:ext uri="{FF2B5EF4-FFF2-40B4-BE49-F238E27FC236}">
                        <a16:creationId xmlns:a16="http://schemas.microsoft.com/office/drawing/2014/main" id="{F0DDEECE-5AAF-4F54-A5BC-FE16ADAE0660}"/>
                      </a:ext>
                    </a:extLst>
                  </p:cNvPr>
                  <p:cNvSpPr/>
                  <p:nvPr/>
                </p:nvSpPr>
                <p:spPr>
                  <a:xfrm>
                    <a:off x="2501975" y="372829"/>
                    <a:ext cx="67750" cy="23149"/>
                  </a:xfrm>
                  <a:custGeom>
                    <a:avLst/>
                    <a:gdLst>
                      <a:gd name="connsiteX0" fmla="*/ 11466 w 67750"/>
                      <a:gd name="connsiteY0" fmla="*/ 23149 h 23149"/>
                      <a:gd name="connsiteX1" fmla="*/ 0 w 67750"/>
                      <a:gd name="connsiteY1" fmla="*/ 11741 h 23149"/>
                      <a:gd name="connsiteX2" fmla="*/ 11408 w 67750"/>
                      <a:gd name="connsiteY2" fmla="*/ 218 h 23149"/>
                      <a:gd name="connsiteX3" fmla="*/ 56228 w 67750"/>
                      <a:gd name="connsiteY3" fmla="*/ 0 h 23149"/>
                      <a:gd name="connsiteX4" fmla="*/ 56285 w 67750"/>
                      <a:gd name="connsiteY4" fmla="*/ 0 h 23149"/>
                      <a:gd name="connsiteX5" fmla="*/ 67751 w 67750"/>
                      <a:gd name="connsiteY5" fmla="*/ 11408 h 23149"/>
                      <a:gd name="connsiteX6" fmla="*/ 56342 w 67750"/>
                      <a:gd name="connsiteY6" fmla="*/ 22931 h 23149"/>
                      <a:gd name="connsiteX7" fmla="*/ 11523 w 67750"/>
                      <a:gd name="connsiteY7" fmla="*/ 23149 h 23149"/>
                      <a:gd name="connsiteX8" fmla="*/ 11466 w 67750"/>
                      <a:gd name="connsiteY8" fmla="*/ 23149 h 2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50" h="23149">
                        <a:moveTo>
                          <a:pt x="11466" y="23149"/>
                        </a:moveTo>
                        <a:cubicBezTo>
                          <a:pt x="5160" y="23149"/>
                          <a:pt x="34" y="18058"/>
                          <a:pt x="0" y="11741"/>
                        </a:cubicBezTo>
                        <a:cubicBezTo>
                          <a:pt x="-23" y="5412"/>
                          <a:pt x="5079" y="252"/>
                          <a:pt x="11408" y="218"/>
                        </a:cubicBezTo>
                        <a:lnTo>
                          <a:pt x="56228" y="0"/>
                        </a:lnTo>
                        <a:cubicBezTo>
                          <a:pt x="56239" y="0"/>
                          <a:pt x="56262" y="0"/>
                          <a:pt x="56285" y="0"/>
                        </a:cubicBezTo>
                        <a:cubicBezTo>
                          <a:pt x="62591" y="0"/>
                          <a:pt x="67716" y="5091"/>
                          <a:pt x="67751" y="11408"/>
                        </a:cubicBezTo>
                        <a:cubicBezTo>
                          <a:pt x="67774" y="17737"/>
                          <a:pt x="62671" y="22897"/>
                          <a:pt x="56342" y="22931"/>
                        </a:cubicBezTo>
                        <a:lnTo>
                          <a:pt x="11523" y="23149"/>
                        </a:lnTo>
                        <a:cubicBezTo>
                          <a:pt x="11500" y="23149"/>
                          <a:pt x="11477" y="23149"/>
                          <a:pt x="11466" y="23149"/>
                        </a:cubicBezTo>
                        <a:close/>
                      </a:path>
                    </a:pathLst>
                  </a:custGeom>
                  <a:solidFill>
                    <a:schemeClr val="accent1"/>
                  </a:solidFill>
                  <a:ln w="1145" cap="flat">
                    <a:noFill/>
                    <a:prstDash val="solid"/>
                    <a:miter/>
                  </a:ln>
                </p:spPr>
                <p:txBody>
                  <a:bodyPr rtlCol="0" anchor="ctr"/>
                  <a:lstStyle/>
                  <a:p>
                    <a:endParaRPr lang="en-GB" dirty="0"/>
                  </a:p>
                </p:txBody>
              </p:sp>
            </p:grpSp>
            <p:grpSp>
              <p:nvGrpSpPr>
                <p:cNvPr id="660" name="Graphic 48">
                  <a:extLst>
                    <a:ext uri="{FF2B5EF4-FFF2-40B4-BE49-F238E27FC236}">
                      <a16:creationId xmlns:a16="http://schemas.microsoft.com/office/drawing/2014/main" id="{3D191378-C38F-45E6-9446-98345E38D8E7}"/>
                    </a:ext>
                  </a:extLst>
                </p:cNvPr>
                <p:cNvGrpSpPr/>
                <p:nvPr/>
              </p:nvGrpSpPr>
              <p:grpSpPr>
                <a:xfrm>
                  <a:off x="2177095" y="133907"/>
                  <a:ext cx="388426" cy="161746"/>
                  <a:chOff x="2177095" y="133907"/>
                  <a:chExt cx="388426" cy="161746"/>
                </a:xfrm>
                <a:solidFill>
                  <a:schemeClr val="accent1"/>
                </a:solidFill>
              </p:grpSpPr>
              <p:grpSp>
                <p:nvGrpSpPr>
                  <p:cNvPr id="679" name="Graphic 48">
                    <a:extLst>
                      <a:ext uri="{FF2B5EF4-FFF2-40B4-BE49-F238E27FC236}">
                        <a16:creationId xmlns:a16="http://schemas.microsoft.com/office/drawing/2014/main" id="{87131A2D-EB2E-4EB5-A9B1-C66FFD47EBC5}"/>
                      </a:ext>
                    </a:extLst>
                  </p:cNvPr>
                  <p:cNvGrpSpPr/>
                  <p:nvPr/>
                </p:nvGrpSpPr>
                <p:grpSpPr>
                  <a:xfrm>
                    <a:off x="2328133" y="133907"/>
                    <a:ext cx="86393" cy="120045"/>
                    <a:chOff x="2328133" y="133907"/>
                    <a:chExt cx="86393" cy="120045"/>
                  </a:xfrm>
                  <a:solidFill>
                    <a:schemeClr val="accent1"/>
                  </a:solidFill>
                </p:grpSpPr>
                <p:sp>
                  <p:nvSpPr>
                    <p:cNvPr id="686" name="Freeform: Shape 685">
                      <a:extLst>
                        <a:ext uri="{FF2B5EF4-FFF2-40B4-BE49-F238E27FC236}">
                          <a16:creationId xmlns:a16="http://schemas.microsoft.com/office/drawing/2014/main" id="{82DFD181-7A88-43DA-91A8-C487B05CF966}"/>
                        </a:ext>
                      </a:extLst>
                    </p:cNvPr>
                    <p:cNvSpPr/>
                    <p:nvPr/>
                  </p:nvSpPr>
                  <p:spPr>
                    <a:xfrm>
                      <a:off x="2328133" y="133907"/>
                      <a:ext cx="86393" cy="75226"/>
                    </a:xfrm>
                    <a:custGeom>
                      <a:avLst/>
                      <a:gdLst>
                        <a:gd name="connsiteX0" fmla="*/ 43065 w 86393"/>
                        <a:gd name="connsiteY0" fmla="*/ 75226 h 75226"/>
                        <a:gd name="connsiteX1" fmla="*/ 0 w 86393"/>
                        <a:gd name="connsiteY1" fmla="*/ 32161 h 75226"/>
                        <a:gd name="connsiteX2" fmla="*/ 43065 w 86393"/>
                        <a:gd name="connsiteY2" fmla="*/ 0 h 75226"/>
                        <a:gd name="connsiteX3" fmla="*/ 86394 w 86393"/>
                        <a:gd name="connsiteY3" fmla="*/ 31072 h 75226"/>
                        <a:gd name="connsiteX4" fmla="*/ 43065 w 86393"/>
                        <a:gd name="connsiteY4" fmla="*/ 75226 h 75226"/>
                        <a:gd name="connsiteX5" fmla="*/ 43065 w 86393"/>
                        <a:gd name="connsiteY5" fmla="*/ 22931 h 75226"/>
                        <a:gd name="connsiteX6" fmla="*/ 22931 w 86393"/>
                        <a:gd name="connsiteY6" fmla="*/ 32161 h 75226"/>
                        <a:gd name="connsiteX7" fmla="*/ 43065 w 86393"/>
                        <a:gd name="connsiteY7" fmla="*/ 52295 h 75226"/>
                        <a:gd name="connsiteX8" fmla="*/ 63463 w 86393"/>
                        <a:gd name="connsiteY8" fmla="*/ 31072 h 75226"/>
                        <a:gd name="connsiteX9" fmla="*/ 43065 w 86393"/>
                        <a:gd name="connsiteY9" fmla="*/ 22931 h 75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393" h="75226">
                          <a:moveTo>
                            <a:pt x="43065" y="75226"/>
                          </a:moveTo>
                          <a:cubicBezTo>
                            <a:pt x="21739" y="75226"/>
                            <a:pt x="0" y="53487"/>
                            <a:pt x="0" y="32161"/>
                          </a:cubicBezTo>
                          <a:cubicBezTo>
                            <a:pt x="0" y="13220"/>
                            <a:pt x="17703" y="0"/>
                            <a:pt x="43065" y="0"/>
                          </a:cubicBezTo>
                          <a:cubicBezTo>
                            <a:pt x="69390" y="0"/>
                            <a:pt x="86394" y="12199"/>
                            <a:pt x="86394" y="31072"/>
                          </a:cubicBezTo>
                          <a:cubicBezTo>
                            <a:pt x="86405" y="52536"/>
                            <a:pt x="64127" y="75226"/>
                            <a:pt x="43065" y="75226"/>
                          </a:cubicBezTo>
                          <a:close/>
                          <a:moveTo>
                            <a:pt x="43065" y="22931"/>
                          </a:moveTo>
                          <a:cubicBezTo>
                            <a:pt x="34707" y="22931"/>
                            <a:pt x="22931" y="25798"/>
                            <a:pt x="22931" y="32161"/>
                          </a:cubicBezTo>
                          <a:cubicBezTo>
                            <a:pt x="22931" y="40107"/>
                            <a:pt x="33732" y="52295"/>
                            <a:pt x="43065" y="52295"/>
                          </a:cubicBezTo>
                          <a:cubicBezTo>
                            <a:pt x="52066" y="52295"/>
                            <a:pt x="63463" y="39144"/>
                            <a:pt x="63463" y="31072"/>
                          </a:cubicBezTo>
                          <a:cubicBezTo>
                            <a:pt x="63474" y="25098"/>
                            <a:pt x="51274" y="22931"/>
                            <a:pt x="43065" y="22931"/>
                          </a:cubicBezTo>
                          <a:close/>
                        </a:path>
                      </a:pathLst>
                    </a:custGeom>
                    <a:solidFill>
                      <a:schemeClr val="accent1"/>
                    </a:solidFill>
                    <a:ln w="1145" cap="flat">
                      <a:noFill/>
                      <a:prstDash val="solid"/>
                      <a:miter/>
                    </a:ln>
                  </p:spPr>
                  <p:txBody>
                    <a:bodyPr rtlCol="0" anchor="ctr"/>
                    <a:lstStyle/>
                    <a:p>
                      <a:endParaRPr lang="en-GB" dirty="0"/>
                    </a:p>
                  </p:txBody>
                </p:sp>
                <p:sp>
                  <p:nvSpPr>
                    <p:cNvPr id="687" name="Freeform: Shape 686">
                      <a:extLst>
                        <a:ext uri="{FF2B5EF4-FFF2-40B4-BE49-F238E27FC236}">
                          <a16:creationId xmlns:a16="http://schemas.microsoft.com/office/drawing/2014/main" id="{A9C68E7E-7CF5-4BD5-8EFD-DF1EB13B5334}"/>
                        </a:ext>
                      </a:extLst>
                    </p:cNvPr>
                    <p:cNvSpPr/>
                    <p:nvPr/>
                  </p:nvSpPr>
                  <p:spPr>
                    <a:xfrm>
                      <a:off x="2359709" y="186202"/>
                      <a:ext cx="22931" cy="67750"/>
                    </a:xfrm>
                    <a:custGeom>
                      <a:avLst/>
                      <a:gdLst>
                        <a:gd name="connsiteX0" fmla="*/ 11466 w 22931"/>
                        <a:gd name="connsiteY0" fmla="*/ 67751 h 67750"/>
                        <a:gd name="connsiteX1" fmla="*/ 0 w 22931"/>
                        <a:gd name="connsiteY1" fmla="*/ 56285 h 67750"/>
                        <a:gd name="connsiteX2" fmla="*/ 0 w 22931"/>
                        <a:gd name="connsiteY2" fmla="*/ 11466 h 67750"/>
                        <a:gd name="connsiteX3" fmla="*/ 11466 w 22931"/>
                        <a:gd name="connsiteY3" fmla="*/ 0 h 67750"/>
                        <a:gd name="connsiteX4" fmla="*/ 22931 w 22931"/>
                        <a:gd name="connsiteY4" fmla="*/ 11466 h 67750"/>
                        <a:gd name="connsiteX5" fmla="*/ 22931 w 22931"/>
                        <a:gd name="connsiteY5" fmla="*/ 56285 h 67750"/>
                        <a:gd name="connsiteX6" fmla="*/ 11466 w 22931"/>
                        <a:gd name="connsiteY6" fmla="*/ 67751 h 67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7750">
                          <a:moveTo>
                            <a:pt x="11466" y="67751"/>
                          </a:moveTo>
                          <a:cubicBezTo>
                            <a:pt x="5137" y="67751"/>
                            <a:pt x="0" y="62614"/>
                            <a:pt x="0" y="56285"/>
                          </a:cubicBezTo>
                          <a:lnTo>
                            <a:pt x="0" y="11466"/>
                          </a:lnTo>
                          <a:cubicBezTo>
                            <a:pt x="0" y="5137"/>
                            <a:pt x="5137" y="0"/>
                            <a:pt x="11466" y="0"/>
                          </a:cubicBezTo>
                          <a:cubicBezTo>
                            <a:pt x="17795" y="0"/>
                            <a:pt x="22931" y="5137"/>
                            <a:pt x="22931" y="11466"/>
                          </a:cubicBezTo>
                          <a:lnTo>
                            <a:pt x="22931" y="56285"/>
                          </a:lnTo>
                          <a:cubicBezTo>
                            <a:pt x="22931" y="62626"/>
                            <a:pt x="17806" y="67751"/>
                            <a:pt x="11466" y="67751"/>
                          </a:cubicBezTo>
                          <a:close/>
                        </a:path>
                      </a:pathLst>
                    </a:custGeom>
                    <a:solidFill>
                      <a:schemeClr val="accent1"/>
                    </a:solidFill>
                    <a:ln w="1145" cap="flat">
                      <a:noFill/>
                      <a:prstDash val="solid"/>
                      <a:miter/>
                    </a:ln>
                  </p:spPr>
                  <p:txBody>
                    <a:bodyPr rtlCol="0" anchor="ctr"/>
                    <a:lstStyle/>
                    <a:p>
                      <a:endParaRPr lang="en-GB" dirty="0"/>
                    </a:p>
                  </p:txBody>
                </p:sp>
              </p:grpSp>
              <p:grpSp>
                <p:nvGrpSpPr>
                  <p:cNvPr id="680" name="Graphic 48">
                    <a:extLst>
                      <a:ext uri="{FF2B5EF4-FFF2-40B4-BE49-F238E27FC236}">
                        <a16:creationId xmlns:a16="http://schemas.microsoft.com/office/drawing/2014/main" id="{40DF76E4-1583-4E8A-9C8B-0D0780560A3D}"/>
                      </a:ext>
                    </a:extLst>
                  </p:cNvPr>
                  <p:cNvGrpSpPr/>
                  <p:nvPr/>
                </p:nvGrpSpPr>
                <p:grpSpPr>
                  <a:xfrm>
                    <a:off x="2460512" y="191401"/>
                    <a:ext cx="105009" cy="104252"/>
                    <a:chOff x="2460512" y="191401"/>
                    <a:chExt cx="105009" cy="104252"/>
                  </a:xfrm>
                  <a:solidFill>
                    <a:schemeClr val="accent1"/>
                  </a:solidFill>
                </p:grpSpPr>
                <p:sp>
                  <p:nvSpPr>
                    <p:cNvPr id="684" name="Freeform: Shape 683">
                      <a:extLst>
                        <a:ext uri="{FF2B5EF4-FFF2-40B4-BE49-F238E27FC236}">
                          <a16:creationId xmlns:a16="http://schemas.microsoft.com/office/drawing/2014/main" id="{5B3E4A48-A015-443A-B4EE-6FBE0342E117}"/>
                        </a:ext>
                      </a:extLst>
                    </p:cNvPr>
                    <p:cNvSpPr/>
                    <p:nvPr/>
                  </p:nvSpPr>
                  <p:spPr>
                    <a:xfrm>
                      <a:off x="2484281" y="191401"/>
                      <a:ext cx="81240" cy="80197"/>
                    </a:xfrm>
                    <a:custGeom>
                      <a:avLst/>
                      <a:gdLst>
                        <a:gd name="connsiteX0" fmla="*/ 41623 w 81240"/>
                        <a:gd name="connsiteY0" fmla="*/ 80197 h 80197"/>
                        <a:gd name="connsiteX1" fmla="*/ 11308 w 81240"/>
                        <a:gd name="connsiteY1" fmla="*/ 69213 h 80197"/>
                        <a:gd name="connsiteX2" fmla="*/ 11308 w 81240"/>
                        <a:gd name="connsiteY2" fmla="*/ 8319 h 80197"/>
                        <a:gd name="connsiteX3" fmla="*/ 40752 w 81240"/>
                        <a:gd name="connsiteY3" fmla="*/ 1336 h 80197"/>
                        <a:gd name="connsiteX4" fmla="*/ 64497 w 81240"/>
                        <a:gd name="connsiteY4" fmla="*/ 16024 h 80197"/>
                        <a:gd name="connsiteX5" fmla="*/ 79540 w 81240"/>
                        <a:gd name="connsiteY5" fmla="*/ 39047 h 80197"/>
                        <a:gd name="connsiteX6" fmla="*/ 73165 w 81240"/>
                        <a:gd name="connsiteY6" fmla="*/ 68640 h 80197"/>
                        <a:gd name="connsiteX7" fmla="*/ 41623 w 81240"/>
                        <a:gd name="connsiteY7" fmla="*/ 80197 h 80197"/>
                        <a:gd name="connsiteX8" fmla="*/ 31579 w 81240"/>
                        <a:gd name="connsiteY8" fmla="*/ 23007 h 80197"/>
                        <a:gd name="connsiteX9" fmla="*/ 27520 w 81240"/>
                        <a:gd name="connsiteY9" fmla="*/ 24531 h 80197"/>
                        <a:gd name="connsiteX10" fmla="*/ 27520 w 81240"/>
                        <a:gd name="connsiteY10" fmla="*/ 53001 h 80197"/>
                        <a:gd name="connsiteX11" fmla="*/ 56953 w 81240"/>
                        <a:gd name="connsiteY11" fmla="*/ 52427 h 80197"/>
                        <a:gd name="connsiteX12" fmla="*/ 48285 w 81240"/>
                        <a:gd name="connsiteY12" fmla="*/ 32236 h 80197"/>
                        <a:gd name="connsiteX13" fmla="*/ 31579 w 81240"/>
                        <a:gd name="connsiteY13" fmla="*/ 23007 h 8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240" h="80197">
                          <a:moveTo>
                            <a:pt x="41623" y="80197"/>
                          </a:moveTo>
                          <a:cubicBezTo>
                            <a:pt x="30089" y="80197"/>
                            <a:pt x="18646" y="76551"/>
                            <a:pt x="11308" y="69213"/>
                          </a:cubicBezTo>
                          <a:cubicBezTo>
                            <a:pt x="-3769" y="54136"/>
                            <a:pt x="-3769" y="23396"/>
                            <a:pt x="11308" y="8319"/>
                          </a:cubicBezTo>
                          <a:cubicBezTo>
                            <a:pt x="18967" y="648"/>
                            <a:pt x="29424" y="-1817"/>
                            <a:pt x="40752" y="1336"/>
                          </a:cubicBezTo>
                          <a:cubicBezTo>
                            <a:pt x="48858" y="3595"/>
                            <a:pt x="57297" y="8812"/>
                            <a:pt x="64497" y="16024"/>
                          </a:cubicBezTo>
                          <a:cubicBezTo>
                            <a:pt x="69622" y="21149"/>
                            <a:pt x="76387" y="29301"/>
                            <a:pt x="79540" y="39047"/>
                          </a:cubicBezTo>
                          <a:cubicBezTo>
                            <a:pt x="83186" y="50364"/>
                            <a:pt x="80928" y="60878"/>
                            <a:pt x="73165" y="68640"/>
                          </a:cubicBezTo>
                          <a:cubicBezTo>
                            <a:pt x="65472" y="76333"/>
                            <a:pt x="53502" y="80197"/>
                            <a:pt x="41623" y="80197"/>
                          </a:cubicBezTo>
                          <a:close/>
                          <a:moveTo>
                            <a:pt x="31579" y="23007"/>
                          </a:moveTo>
                          <a:cubicBezTo>
                            <a:pt x="29986" y="23007"/>
                            <a:pt x="28587" y="23465"/>
                            <a:pt x="27520" y="24531"/>
                          </a:cubicBezTo>
                          <a:cubicBezTo>
                            <a:pt x="21902" y="30150"/>
                            <a:pt x="20916" y="46397"/>
                            <a:pt x="27520" y="53001"/>
                          </a:cubicBezTo>
                          <a:cubicBezTo>
                            <a:pt x="33884" y="59364"/>
                            <a:pt x="51254" y="58114"/>
                            <a:pt x="56953" y="52427"/>
                          </a:cubicBezTo>
                          <a:cubicBezTo>
                            <a:pt x="61184" y="48197"/>
                            <a:pt x="54086" y="38038"/>
                            <a:pt x="48285" y="32236"/>
                          </a:cubicBezTo>
                          <a:cubicBezTo>
                            <a:pt x="43779" y="27730"/>
                            <a:pt x="36693" y="23007"/>
                            <a:pt x="31579" y="23007"/>
                          </a:cubicBezTo>
                          <a:close/>
                        </a:path>
                      </a:pathLst>
                    </a:custGeom>
                    <a:solidFill>
                      <a:schemeClr val="accent1"/>
                    </a:solidFill>
                    <a:ln w="1145" cap="flat">
                      <a:noFill/>
                      <a:prstDash val="solid"/>
                      <a:miter/>
                    </a:ln>
                  </p:spPr>
                  <p:txBody>
                    <a:bodyPr rtlCol="0" anchor="ctr"/>
                    <a:lstStyle/>
                    <a:p>
                      <a:endParaRPr lang="en-GB" dirty="0"/>
                    </a:p>
                  </p:txBody>
                </p:sp>
                <p:sp>
                  <p:nvSpPr>
                    <p:cNvPr id="685" name="Freeform: Shape 684">
                      <a:extLst>
                        <a:ext uri="{FF2B5EF4-FFF2-40B4-BE49-F238E27FC236}">
                          <a16:creationId xmlns:a16="http://schemas.microsoft.com/office/drawing/2014/main" id="{5FEED2CA-A070-4CBF-A492-A6B6ECFC28B1}"/>
                        </a:ext>
                      </a:extLst>
                    </p:cNvPr>
                    <p:cNvSpPr/>
                    <p:nvPr/>
                  </p:nvSpPr>
                  <p:spPr>
                    <a:xfrm>
                      <a:off x="2460512" y="241028"/>
                      <a:ext cx="54628" cy="54625"/>
                    </a:xfrm>
                    <a:custGeom>
                      <a:avLst/>
                      <a:gdLst>
                        <a:gd name="connsiteX0" fmla="*/ 11469 w 54628"/>
                        <a:gd name="connsiteY0" fmla="*/ 54625 h 54625"/>
                        <a:gd name="connsiteX1" fmla="*/ 3362 w 54628"/>
                        <a:gd name="connsiteY1" fmla="*/ 51266 h 54625"/>
                        <a:gd name="connsiteX2" fmla="*/ 3362 w 54628"/>
                        <a:gd name="connsiteY2" fmla="*/ 35053 h 54625"/>
                        <a:gd name="connsiteX3" fmla="*/ 35053 w 54628"/>
                        <a:gd name="connsiteY3" fmla="*/ 3362 h 54625"/>
                        <a:gd name="connsiteX4" fmla="*/ 51266 w 54628"/>
                        <a:gd name="connsiteY4" fmla="*/ 3362 h 54625"/>
                        <a:gd name="connsiteX5" fmla="*/ 51266 w 54628"/>
                        <a:gd name="connsiteY5" fmla="*/ 19575 h 54625"/>
                        <a:gd name="connsiteX6" fmla="*/ 19575 w 54628"/>
                        <a:gd name="connsiteY6" fmla="*/ 51266 h 54625"/>
                        <a:gd name="connsiteX7" fmla="*/ 11469 w 54628"/>
                        <a:gd name="connsiteY7" fmla="*/ 54625 h 5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28" h="54625">
                          <a:moveTo>
                            <a:pt x="11469" y="54625"/>
                          </a:moveTo>
                          <a:cubicBezTo>
                            <a:pt x="8533" y="54625"/>
                            <a:pt x="5598" y="53502"/>
                            <a:pt x="3362" y="51266"/>
                          </a:cubicBezTo>
                          <a:cubicBezTo>
                            <a:pt x="-1121" y="46783"/>
                            <a:pt x="-1121" y="39536"/>
                            <a:pt x="3362" y="35053"/>
                          </a:cubicBezTo>
                          <a:lnTo>
                            <a:pt x="35053" y="3362"/>
                          </a:lnTo>
                          <a:cubicBezTo>
                            <a:pt x="39536" y="-1121"/>
                            <a:pt x="46783" y="-1121"/>
                            <a:pt x="51266" y="3362"/>
                          </a:cubicBezTo>
                          <a:cubicBezTo>
                            <a:pt x="55749" y="7845"/>
                            <a:pt x="55749" y="15092"/>
                            <a:pt x="51266" y="19575"/>
                          </a:cubicBezTo>
                          <a:lnTo>
                            <a:pt x="19575" y="51266"/>
                          </a:lnTo>
                          <a:cubicBezTo>
                            <a:pt x="17339" y="53502"/>
                            <a:pt x="14404" y="54625"/>
                            <a:pt x="11469" y="54625"/>
                          </a:cubicBezTo>
                          <a:close/>
                        </a:path>
                      </a:pathLst>
                    </a:custGeom>
                    <a:solidFill>
                      <a:schemeClr val="accent1"/>
                    </a:solidFill>
                    <a:ln w="1145" cap="flat">
                      <a:noFill/>
                      <a:prstDash val="solid"/>
                      <a:miter/>
                    </a:ln>
                  </p:spPr>
                  <p:txBody>
                    <a:bodyPr rtlCol="0" anchor="ctr"/>
                    <a:lstStyle/>
                    <a:p>
                      <a:endParaRPr lang="en-GB" dirty="0"/>
                    </a:p>
                  </p:txBody>
                </p:sp>
              </p:grpSp>
              <p:grpSp>
                <p:nvGrpSpPr>
                  <p:cNvPr id="681" name="Graphic 48">
                    <a:extLst>
                      <a:ext uri="{FF2B5EF4-FFF2-40B4-BE49-F238E27FC236}">
                        <a16:creationId xmlns:a16="http://schemas.microsoft.com/office/drawing/2014/main" id="{87FE7946-F070-4E5F-95D7-58319EE4403C}"/>
                      </a:ext>
                    </a:extLst>
                  </p:cNvPr>
                  <p:cNvGrpSpPr/>
                  <p:nvPr/>
                </p:nvGrpSpPr>
                <p:grpSpPr>
                  <a:xfrm>
                    <a:off x="2177095" y="191134"/>
                    <a:ext cx="105017" cy="104186"/>
                    <a:chOff x="2177095" y="191134"/>
                    <a:chExt cx="105017" cy="104186"/>
                  </a:xfrm>
                  <a:solidFill>
                    <a:schemeClr val="accent1"/>
                  </a:solidFill>
                </p:grpSpPr>
                <p:sp>
                  <p:nvSpPr>
                    <p:cNvPr id="682" name="Freeform: Shape 681">
                      <a:extLst>
                        <a:ext uri="{FF2B5EF4-FFF2-40B4-BE49-F238E27FC236}">
                          <a16:creationId xmlns:a16="http://schemas.microsoft.com/office/drawing/2014/main" id="{614471DC-B6E6-4928-A0BE-1A70B85CF557}"/>
                        </a:ext>
                      </a:extLst>
                    </p:cNvPr>
                    <p:cNvSpPr/>
                    <p:nvPr/>
                  </p:nvSpPr>
                  <p:spPr>
                    <a:xfrm>
                      <a:off x="2177095" y="191134"/>
                      <a:ext cx="81249" cy="80131"/>
                    </a:xfrm>
                    <a:custGeom>
                      <a:avLst/>
                      <a:gdLst>
                        <a:gd name="connsiteX0" fmla="*/ 39626 w 81249"/>
                        <a:gd name="connsiteY0" fmla="*/ 80131 h 80131"/>
                        <a:gd name="connsiteX1" fmla="*/ 8084 w 81249"/>
                        <a:gd name="connsiteY1" fmla="*/ 68563 h 80131"/>
                        <a:gd name="connsiteX2" fmla="*/ 16752 w 81249"/>
                        <a:gd name="connsiteY2" fmla="*/ 15947 h 80131"/>
                        <a:gd name="connsiteX3" fmla="*/ 69941 w 81249"/>
                        <a:gd name="connsiteY3" fmla="*/ 8242 h 80131"/>
                        <a:gd name="connsiteX4" fmla="*/ 69941 w 81249"/>
                        <a:gd name="connsiteY4" fmla="*/ 69136 h 80131"/>
                        <a:gd name="connsiteX5" fmla="*/ 39626 w 81249"/>
                        <a:gd name="connsiteY5" fmla="*/ 80131 h 80131"/>
                        <a:gd name="connsiteX6" fmla="*/ 49658 w 81249"/>
                        <a:gd name="connsiteY6" fmla="*/ 22929 h 80131"/>
                        <a:gd name="connsiteX7" fmla="*/ 32953 w 81249"/>
                        <a:gd name="connsiteY7" fmla="*/ 32159 h 80131"/>
                        <a:gd name="connsiteX8" fmla="*/ 24285 w 81249"/>
                        <a:gd name="connsiteY8" fmla="*/ 52350 h 80131"/>
                        <a:gd name="connsiteX9" fmla="*/ 39052 w 81249"/>
                        <a:gd name="connsiteY9" fmla="*/ 57177 h 80131"/>
                        <a:gd name="connsiteX10" fmla="*/ 53717 w 81249"/>
                        <a:gd name="connsiteY10" fmla="*/ 52923 h 80131"/>
                        <a:gd name="connsiteX11" fmla="*/ 58257 w 81249"/>
                        <a:gd name="connsiteY11" fmla="*/ 38557 h 80131"/>
                        <a:gd name="connsiteX12" fmla="*/ 53717 w 81249"/>
                        <a:gd name="connsiteY12" fmla="*/ 24454 h 80131"/>
                        <a:gd name="connsiteX13" fmla="*/ 49658 w 81249"/>
                        <a:gd name="connsiteY13" fmla="*/ 22929 h 80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249" h="80131">
                          <a:moveTo>
                            <a:pt x="39626" y="80131"/>
                          </a:moveTo>
                          <a:cubicBezTo>
                            <a:pt x="27747" y="80131"/>
                            <a:pt x="15777" y="76267"/>
                            <a:pt x="8084" y="68563"/>
                          </a:cubicBezTo>
                          <a:cubicBezTo>
                            <a:pt x="-5274" y="55217"/>
                            <a:pt x="-1869" y="34567"/>
                            <a:pt x="16752" y="15947"/>
                          </a:cubicBezTo>
                          <a:cubicBezTo>
                            <a:pt x="34673" y="-1986"/>
                            <a:pt x="56561" y="-5139"/>
                            <a:pt x="69941" y="8242"/>
                          </a:cubicBezTo>
                          <a:cubicBezTo>
                            <a:pt x="85018" y="23319"/>
                            <a:pt x="85018" y="54058"/>
                            <a:pt x="69941" y="69136"/>
                          </a:cubicBezTo>
                          <a:cubicBezTo>
                            <a:pt x="62603" y="76485"/>
                            <a:pt x="51160" y="80131"/>
                            <a:pt x="39626" y="80131"/>
                          </a:cubicBezTo>
                          <a:close/>
                          <a:moveTo>
                            <a:pt x="49658" y="22929"/>
                          </a:moveTo>
                          <a:cubicBezTo>
                            <a:pt x="44545" y="22929"/>
                            <a:pt x="37470" y="27653"/>
                            <a:pt x="32953" y="32159"/>
                          </a:cubicBezTo>
                          <a:cubicBezTo>
                            <a:pt x="27151" y="37961"/>
                            <a:pt x="20054" y="48119"/>
                            <a:pt x="24285" y="52350"/>
                          </a:cubicBezTo>
                          <a:cubicBezTo>
                            <a:pt x="26566" y="54620"/>
                            <a:pt x="32013" y="57005"/>
                            <a:pt x="39052" y="57177"/>
                          </a:cubicBezTo>
                          <a:cubicBezTo>
                            <a:pt x="45290" y="57315"/>
                            <a:pt x="50931" y="55710"/>
                            <a:pt x="53717" y="52923"/>
                          </a:cubicBezTo>
                          <a:cubicBezTo>
                            <a:pt x="56572" y="50068"/>
                            <a:pt x="58315" y="44565"/>
                            <a:pt x="58257" y="38557"/>
                          </a:cubicBezTo>
                          <a:cubicBezTo>
                            <a:pt x="58200" y="32698"/>
                            <a:pt x="56423" y="27160"/>
                            <a:pt x="53717" y="24454"/>
                          </a:cubicBezTo>
                          <a:cubicBezTo>
                            <a:pt x="52651" y="23388"/>
                            <a:pt x="51252" y="22929"/>
                            <a:pt x="49658" y="22929"/>
                          </a:cubicBezTo>
                          <a:close/>
                        </a:path>
                      </a:pathLst>
                    </a:custGeom>
                    <a:solidFill>
                      <a:schemeClr val="accent1"/>
                    </a:solidFill>
                    <a:ln w="1145" cap="flat">
                      <a:noFill/>
                      <a:prstDash val="solid"/>
                      <a:miter/>
                    </a:ln>
                  </p:spPr>
                  <p:txBody>
                    <a:bodyPr rtlCol="0" anchor="ctr"/>
                    <a:lstStyle/>
                    <a:p>
                      <a:endParaRPr lang="en-GB" dirty="0"/>
                    </a:p>
                  </p:txBody>
                </p:sp>
                <p:sp>
                  <p:nvSpPr>
                    <p:cNvPr id="683" name="Freeform: Shape 682">
                      <a:extLst>
                        <a:ext uri="{FF2B5EF4-FFF2-40B4-BE49-F238E27FC236}">
                          <a16:creationId xmlns:a16="http://schemas.microsoft.com/office/drawing/2014/main" id="{BC7F442E-D07F-4BEF-A32E-37462F8BCD31}"/>
                        </a:ext>
                      </a:extLst>
                    </p:cNvPr>
                    <p:cNvSpPr/>
                    <p:nvPr/>
                  </p:nvSpPr>
                  <p:spPr>
                    <a:xfrm>
                      <a:off x="2227473" y="240695"/>
                      <a:ext cx="54639" cy="54625"/>
                    </a:xfrm>
                    <a:custGeom>
                      <a:avLst/>
                      <a:gdLst>
                        <a:gd name="connsiteX0" fmla="*/ 43160 w 54639"/>
                        <a:gd name="connsiteY0" fmla="*/ 54625 h 54625"/>
                        <a:gd name="connsiteX1" fmla="*/ 35053 w 54639"/>
                        <a:gd name="connsiteY1" fmla="*/ 51266 h 54625"/>
                        <a:gd name="connsiteX2" fmla="*/ 3362 w 54639"/>
                        <a:gd name="connsiteY2" fmla="*/ 19575 h 54625"/>
                        <a:gd name="connsiteX3" fmla="*/ 3362 w 54639"/>
                        <a:gd name="connsiteY3" fmla="*/ 3362 h 54625"/>
                        <a:gd name="connsiteX4" fmla="*/ 19575 w 54639"/>
                        <a:gd name="connsiteY4" fmla="*/ 3362 h 54625"/>
                        <a:gd name="connsiteX5" fmla="*/ 51277 w 54639"/>
                        <a:gd name="connsiteY5" fmla="*/ 35053 h 54625"/>
                        <a:gd name="connsiteX6" fmla="*/ 51277 w 54639"/>
                        <a:gd name="connsiteY6" fmla="*/ 51266 h 54625"/>
                        <a:gd name="connsiteX7" fmla="*/ 43160 w 54639"/>
                        <a:gd name="connsiteY7" fmla="*/ 54625 h 5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39" h="54625">
                          <a:moveTo>
                            <a:pt x="43160" y="54625"/>
                          </a:moveTo>
                          <a:cubicBezTo>
                            <a:pt x="40224" y="54625"/>
                            <a:pt x="37289" y="53502"/>
                            <a:pt x="35053" y="51266"/>
                          </a:cubicBezTo>
                          <a:lnTo>
                            <a:pt x="3362" y="19575"/>
                          </a:lnTo>
                          <a:cubicBezTo>
                            <a:pt x="-1121" y="15103"/>
                            <a:pt x="-1121" y="7845"/>
                            <a:pt x="3362" y="3362"/>
                          </a:cubicBezTo>
                          <a:cubicBezTo>
                            <a:pt x="7845" y="-1121"/>
                            <a:pt x="15092" y="-1121"/>
                            <a:pt x="19575" y="3362"/>
                          </a:cubicBezTo>
                          <a:lnTo>
                            <a:pt x="51277" y="35053"/>
                          </a:lnTo>
                          <a:cubicBezTo>
                            <a:pt x="55760" y="39525"/>
                            <a:pt x="55760" y="46783"/>
                            <a:pt x="51277" y="51266"/>
                          </a:cubicBezTo>
                          <a:cubicBezTo>
                            <a:pt x="49030" y="53502"/>
                            <a:pt x="46095" y="54625"/>
                            <a:pt x="43160" y="54625"/>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661" name="Graphic 48">
                  <a:extLst>
                    <a:ext uri="{FF2B5EF4-FFF2-40B4-BE49-F238E27FC236}">
                      <a16:creationId xmlns:a16="http://schemas.microsoft.com/office/drawing/2014/main" id="{E7BBF5DD-93AB-464E-8039-1CF357149D0C}"/>
                    </a:ext>
                  </a:extLst>
                </p:cNvPr>
                <p:cNvGrpSpPr/>
                <p:nvPr/>
              </p:nvGrpSpPr>
              <p:grpSpPr>
                <a:xfrm>
                  <a:off x="2177103" y="473770"/>
                  <a:ext cx="388418" cy="161760"/>
                  <a:chOff x="2177103" y="473770"/>
                  <a:chExt cx="388418" cy="161760"/>
                </a:xfrm>
                <a:solidFill>
                  <a:schemeClr val="accent1"/>
                </a:solidFill>
              </p:grpSpPr>
              <p:grpSp>
                <p:nvGrpSpPr>
                  <p:cNvPr id="670" name="Graphic 48">
                    <a:extLst>
                      <a:ext uri="{FF2B5EF4-FFF2-40B4-BE49-F238E27FC236}">
                        <a16:creationId xmlns:a16="http://schemas.microsoft.com/office/drawing/2014/main" id="{C33224F5-3423-4AFE-9283-5292F9C2114E}"/>
                      </a:ext>
                    </a:extLst>
                  </p:cNvPr>
                  <p:cNvGrpSpPr/>
                  <p:nvPr/>
                </p:nvGrpSpPr>
                <p:grpSpPr>
                  <a:xfrm>
                    <a:off x="2328133" y="515473"/>
                    <a:ext cx="86393" cy="120057"/>
                    <a:chOff x="2328133" y="515473"/>
                    <a:chExt cx="86393" cy="120057"/>
                  </a:xfrm>
                  <a:solidFill>
                    <a:schemeClr val="accent1"/>
                  </a:solidFill>
                </p:grpSpPr>
                <p:sp>
                  <p:nvSpPr>
                    <p:cNvPr id="677" name="Freeform: Shape 676">
                      <a:extLst>
                        <a:ext uri="{FF2B5EF4-FFF2-40B4-BE49-F238E27FC236}">
                          <a16:creationId xmlns:a16="http://schemas.microsoft.com/office/drawing/2014/main" id="{17361B80-FB2A-465B-A2B5-C99F9FBE409B}"/>
                        </a:ext>
                      </a:extLst>
                    </p:cNvPr>
                    <p:cNvSpPr/>
                    <p:nvPr/>
                  </p:nvSpPr>
                  <p:spPr>
                    <a:xfrm>
                      <a:off x="2328133" y="560304"/>
                      <a:ext cx="86393" cy="75226"/>
                    </a:xfrm>
                    <a:custGeom>
                      <a:avLst/>
                      <a:gdLst>
                        <a:gd name="connsiteX0" fmla="*/ 43065 w 86393"/>
                        <a:gd name="connsiteY0" fmla="*/ 75226 h 75226"/>
                        <a:gd name="connsiteX1" fmla="*/ 0 w 86393"/>
                        <a:gd name="connsiteY1" fmla="*/ 43054 h 75226"/>
                        <a:gd name="connsiteX2" fmla="*/ 43065 w 86393"/>
                        <a:gd name="connsiteY2" fmla="*/ 0 h 75226"/>
                        <a:gd name="connsiteX3" fmla="*/ 86394 w 86393"/>
                        <a:gd name="connsiteY3" fmla="*/ 44154 h 75226"/>
                        <a:gd name="connsiteX4" fmla="*/ 43065 w 86393"/>
                        <a:gd name="connsiteY4" fmla="*/ 75226 h 75226"/>
                        <a:gd name="connsiteX5" fmla="*/ 43065 w 86393"/>
                        <a:gd name="connsiteY5" fmla="*/ 22931 h 75226"/>
                        <a:gd name="connsiteX6" fmla="*/ 22931 w 86393"/>
                        <a:gd name="connsiteY6" fmla="*/ 43054 h 75226"/>
                        <a:gd name="connsiteX7" fmla="*/ 43065 w 86393"/>
                        <a:gd name="connsiteY7" fmla="*/ 52295 h 75226"/>
                        <a:gd name="connsiteX8" fmla="*/ 63463 w 86393"/>
                        <a:gd name="connsiteY8" fmla="*/ 44154 h 75226"/>
                        <a:gd name="connsiteX9" fmla="*/ 43065 w 86393"/>
                        <a:gd name="connsiteY9" fmla="*/ 22931 h 75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393" h="75226">
                          <a:moveTo>
                            <a:pt x="43065" y="75226"/>
                          </a:moveTo>
                          <a:cubicBezTo>
                            <a:pt x="17714" y="75226"/>
                            <a:pt x="0" y="61995"/>
                            <a:pt x="0" y="43054"/>
                          </a:cubicBezTo>
                          <a:cubicBezTo>
                            <a:pt x="0" y="21727"/>
                            <a:pt x="21739" y="0"/>
                            <a:pt x="43065" y="0"/>
                          </a:cubicBezTo>
                          <a:cubicBezTo>
                            <a:pt x="64116" y="0"/>
                            <a:pt x="86394" y="22691"/>
                            <a:pt x="86394" y="44154"/>
                          </a:cubicBezTo>
                          <a:cubicBezTo>
                            <a:pt x="86405" y="63027"/>
                            <a:pt x="69390" y="75226"/>
                            <a:pt x="43065" y="75226"/>
                          </a:cubicBezTo>
                          <a:close/>
                          <a:moveTo>
                            <a:pt x="43065" y="22931"/>
                          </a:moveTo>
                          <a:cubicBezTo>
                            <a:pt x="33732" y="22931"/>
                            <a:pt x="22931" y="35108"/>
                            <a:pt x="22931" y="43054"/>
                          </a:cubicBezTo>
                          <a:cubicBezTo>
                            <a:pt x="22931" y="49428"/>
                            <a:pt x="34707" y="52295"/>
                            <a:pt x="43065" y="52295"/>
                          </a:cubicBezTo>
                          <a:cubicBezTo>
                            <a:pt x="51263" y="52295"/>
                            <a:pt x="63463" y="50128"/>
                            <a:pt x="63463" y="44154"/>
                          </a:cubicBezTo>
                          <a:cubicBezTo>
                            <a:pt x="63474" y="36094"/>
                            <a:pt x="52066" y="22931"/>
                            <a:pt x="43065" y="22931"/>
                          </a:cubicBezTo>
                          <a:close/>
                        </a:path>
                      </a:pathLst>
                    </a:custGeom>
                    <a:solidFill>
                      <a:schemeClr val="accent1"/>
                    </a:solidFill>
                    <a:ln w="1145" cap="flat">
                      <a:noFill/>
                      <a:prstDash val="solid"/>
                      <a:miter/>
                    </a:ln>
                  </p:spPr>
                  <p:txBody>
                    <a:bodyPr rtlCol="0" anchor="ctr"/>
                    <a:lstStyle/>
                    <a:p>
                      <a:endParaRPr lang="en-GB" dirty="0"/>
                    </a:p>
                  </p:txBody>
                </p:sp>
                <p:sp>
                  <p:nvSpPr>
                    <p:cNvPr id="678" name="Freeform: Shape 677">
                      <a:extLst>
                        <a:ext uri="{FF2B5EF4-FFF2-40B4-BE49-F238E27FC236}">
                          <a16:creationId xmlns:a16="http://schemas.microsoft.com/office/drawing/2014/main" id="{008A379F-1F18-4886-8BF9-EDD0771B5F98}"/>
                        </a:ext>
                      </a:extLst>
                    </p:cNvPr>
                    <p:cNvSpPr/>
                    <p:nvPr/>
                  </p:nvSpPr>
                  <p:spPr>
                    <a:xfrm>
                      <a:off x="2359709" y="515473"/>
                      <a:ext cx="22931" cy="67762"/>
                    </a:xfrm>
                    <a:custGeom>
                      <a:avLst/>
                      <a:gdLst>
                        <a:gd name="connsiteX0" fmla="*/ 11466 w 22931"/>
                        <a:gd name="connsiteY0" fmla="*/ 67762 h 67762"/>
                        <a:gd name="connsiteX1" fmla="*/ 0 w 22931"/>
                        <a:gd name="connsiteY1" fmla="*/ 56296 h 67762"/>
                        <a:gd name="connsiteX2" fmla="*/ 0 w 22931"/>
                        <a:gd name="connsiteY2" fmla="*/ 11466 h 67762"/>
                        <a:gd name="connsiteX3" fmla="*/ 11466 w 22931"/>
                        <a:gd name="connsiteY3" fmla="*/ 0 h 67762"/>
                        <a:gd name="connsiteX4" fmla="*/ 22931 w 22931"/>
                        <a:gd name="connsiteY4" fmla="*/ 11466 h 67762"/>
                        <a:gd name="connsiteX5" fmla="*/ 22931 w 22931"/>
                        <a:gd name="connsiteY5" fmla="*/ 56296 h 67762"/>
                        <a:gd name="connsiteX6" fmla="*/ 11466 w 22931"/>
                        <a:gd name="connsiteY6" fmla="*/ 67762 h 67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7762">
                          <a:moveTo>
                            <a:pt x="11466" y="67762"/>
                          </a:moveTo>
                          <a:cubicBezTo>
                            <a:pt x="5137" y="67762"/>
                            <a:pt x="0" y="62626"/>
                            <a:pt x="0" y="56296"/>
                          </a:cubicBezTo>
                          <a:lnTo>
                            <a:pt x="0" y="11466"/>
                          </a:lnTo>
                          <a:cubicBezTo>
                            <a:pt x="0" y="5137"/>
                            <a:pt x="5137" y="0"/>
                            <a:pt x="11466" y="0"/>
                          </a:cubicBezTo>
                          <a:cubicBezTo>
                            <a:pt x="17795" y="0"/>
                            <a:pt x="22931" y="5137"/>
                            <a:pt x="22931" y="11466"/>
                          </a:cubicBezTo>
                          <a:lnTo>
                            <a:pt x="22931" y="56296"/>
                          </a:lnTo>
                          <a:cubicBezTo>
                            <a:pt x="22931" y="62626"/>
                            <a:pt x="17806" y="67762"/>
                            <a:pt x="11466" y="67762"/>
                          </a:cubicBezTo>
                          <a:close/>
                        </a:path>
                      </a:pathLst>
                    </a:custGeom>
                    <a:solidFill>
                      <a:schemeClr val="accent1"/>
                    </a:solidFill>
                    <a:ln w="1145" cap="flat">
                      <a:noFill/>
                      <a:prstDash val="solid"/>
                      <a:miter/>
                    </a:ln>
                  </p:spPr>
                  <p:txBody>
                    <a:bodyPr rtlCol="0" anchor="ctr"/>
                    <a:lstStyle/>
                    <a:p>
                      <a:endParaRPr lang="en-GB" dirty="0"/>
                    </a:p>
                  </p:txBody>
                </p:sp>
              </p:grpSp>
              <p:grpSp>
                <p:nvGrpSpPr>
                  <p:cNvPr id="671" name="Graphic 48">
                    <a:extLst>
                      <a:ext uri="{FF2B5EF4-FFF2-40B4-BE49-F238E27FC236}">
                        <a16:creationId xmlns:a16="http://schemas.microsoft.com/office/drawing/2014/main" id="{0E80CDA6-6B51-46F9-9EE0-F1BBB1F3DF6D}"/>
                      </a:ext>
                    </a:extLst>
                  </p:cNvPr>
                  <p:cNvGrpSpPr/>
                  <p:nvPr/>
                </p:nvGrpSpPr>
                <p:grpSpPr>
                  <a:xfrm>
                    <a:off x="2460512" y="473770"/>
                    <a:ext cx="105009" cy="104271"/>
                    <a:chOff x="2460512" y="473770"/>
                    <a:chExt cx="105009" cy="104271"/>
                  </a:xfrm>
                  <a:solidFill>
                    <a:schemeClr val="accent1"/>
                  </a:solidFill>
                </p:grpSpPr>
                <p:sp>
                  <p:nvSpPr>
                    <p:cNvPr id="675" name="Freeform: Shape 674">
                      <a:extLst>
                        <a:ext uri="{FF2B5EF4-FFF2-40B4-BE49-F238E27FC236}">
                          <a16:creationId xmlns:a16="http://schemas.microsoft.com/office/drawing/2014/main" id="{9AC1C445-4905-4510-8046-9B54E393CBF2}"/>
                        </a:ext>
                      </a:extLst>
                    </p:cNvPr>
                    <p:cNvSpPr/>
                    <p:nvPr/>
                  </p:nvSpPr>
                  <p:spPr>
                    <a:xfrm>
                      <a:off x="2484281" y="497838"/>
                      <a:ext cx="81240" cy="80203"/>
                    </a:xfrm>
                    <a:custGeom>
                      <a:avLst/>
                      <a:gdLst>
                        <a:gd name="connsiteX0" fmla="*/ 31373 w 81240"/>
                        <a:gd name="connsiteY0" fmla="*/ 80203 h 80203"/>
                        <a:gd name="connsiteX1" fmla="*/ 11308 w 81240"/>
                        <a:gd name="connsiteY1" fmla="*/ 71879 h 80203"/>
                        <a:gd name="connsiteX2" fmla="*/ 11308 w 81240"/>
                        <a:gd name="connsiteY2" fmla="*/ 10985 h 80203"/>
                        <a:gd name="connsiteX3" fmla="*/ 73165 w 81240"/>
                        <a:gd name="connsiteY3" fmla="*/ 11558 h 80203"/>
                        <a:gd name="connsiteX4" fmla="*/ 73165 w 81240"/>
                        <a:gd name="connsiteY4" fmla="*/ 11558 h 80203"/>
                        <a:gd name="connsiteX5" fmla="*/ 79540 w 81240"/>
                        <a:gd name="connsiteY5" fmla="*/ 41151 h 80203"/>
                        <a:gd name="connsiteX6" fmla="*/ 64497 w 81240"/>
                        <a:gd name="connsiteY6" fmla="*/ 64174 h 80203"/>
                        <a:gd name="connsiteX7" fmla="*/ 40752 w 81240"/>
                        <a:gd name="connsiteY7" fmla="*/ 78862 h 80203"/>
                        <a:gd name="connsiteX8" fmla="*/ 31373 w 81240"/>
                        <a:gd name="connsiteY8" fmla="*/ 80203 h 80203"/>
                        <a:gd name="connsiteX9" fmla="*/ 41176 w 81240"/>
                        <a:gd name="connsiteY9" fmla="*/ 22932 h 80203"/>
                        <a:gd name="connsiteX10" fmla="*/ 27520 w 81240"/>
                        <a:gd name="connsiteY10" fmla="*/ 27197 h 80203"/>
                        <a:gd name="connsiteX11" fmla="*/ 22980 w 81240"/>
                        <a:gd name="connsiteY11" fmla="*/ 41564 h 80203"/>
                        <a:gd name="connsiteX12" fmla="*/ 27520 w 81240"/>
                        <a:gd name="connsiteY12" fmla="*/ 55667 h 80203"/>
                        <a:gd name="connsiteX13" fmla="*/ 48285 w 81240"/>
                        <a:gd name="connsiteY13" fmla="*/ 47962 h 80203"/>
                        <a:gd name="connsiteX14" fmla="*/ 57710 w 81240"/>
                        <a:gd name="connsiteY14" fmla="*/ 34111 h 80203"/>
                        <a:gd name="connsiteX15" fmla="*/ 56953 w 81240"/>
                        <a:gd name="connsiteY15" fmla="*/ 27782 h 80203"/>
                        <a:gd name="connsiteX16" fmla="*/ 56953 w 81240"/>
                        <a:gd name="connsiteY16" fmla="*/ 27782 h 80203"/>
                        <a:gd name="connsiteX17" fmla="*/ 41176 w 81240"/>
                        <a:gd name="connsiteY17" fmla="*/ 22932 h 80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240" h="80203">
                          <a:moveTo>
                            <a:pt x="31373" y="80203"/>
                          </a:moveTo>
                          <a:cubicBezTo>
                            <a:pt x="23725" y="80203"/>
                            <a:pt x="16800" y="77371"/>
                            <a:pt x="11308" y="71879"/>
                          </a:cubicBezTo>
                          <a:cubicBezTo>
                            <a:pt x="-3769" y="56802"/>
                            <a:pt x="-3769" y="26062"/>
                            <a:pt x="11308" y="10985"/>
                          </a:cubicBezTo>
                          <a:cubicBezTo>
                            <a:pt x="26190" y="-3897"/>
                            <a:pt x="57996" y="-3611"/>
                            <a:pt x="73165" y="11558"/>
                          </a:cubicBezTo>
                          <a:cubicBezTo>
                            <a:pt x="73165" y="11558"/>
                            <a:pt x="73165" y="11558"/>
                            <a:pt x="73165" y="11558"/>
                          </a:cubicBezTo>
                          <a:cubicBezTo>
                            <a:pt x="80928" y="19321"/>
                            <a:pt x="83186" y="29823"/>
                            <a:pt x="79540" y="41151"/>
                          </a:cubicBezTo>
                          <a:cubicBezTo>
                            <a:pt x="76399" y="50908"/>
                            <a:pt x="69622" y="59061"/>
                            <a:pt x="64497" y="64174"/>
                          </a:cubicBezTo>
                          <a:cubicBezTo>
                            <a:pt x="57297" y="71375"/>
                            <a:pt x="48858" y="76592"/>
                            <a:pt x="40752" y="78862"/>
                          </a:cubicBezTo>
                          <a:cubicBezTo>
                            <a:pt x="37530" y="79756"/>
                            <a:pt x="34400" y="80203"/>
                            <a:pt x="31373" y="80203"/>
                          </a:cubicBezTo>
                          <a:close/>
                          <a:moveTo>
                            <a:pt x="41176" y="22932"/>
                          </a:moveTo>
                          <a:cubicBezTo>
                            <a:pt x="35764" y="22932"/>
                            <a:pt x="30467" y="24251"/>
                            <a:pt x="27520" y="27197"/>
                          </a:cubicBezTo>
                          <a:cubicBezTo>
                            <a:pt x="24666" y="30052"/>
                            <a:pt x="22923" y="35556"/>
                            <a:pt x="22980" y="41564"/>
                          </a:cubicBezTo>
                          <a:cubicBezTo>
                            <a:pt x="23037" y="47423"/>
                            <a:pt x="24815" y="52961"/>
                            <a:pt x="27520" y="55667"/>
                          </a:cubicBezTo>
                          <a:cubicBezTo>
                            <a:pt x="32027" y="60173"/>
                            <a:pt x="42380" y="53867"/>
                            <a:pt x="48285" y="47962"/>
                          </a:cubicBezTo>
                          <a:cubicBezTo>
                            <a:pt x="52940" y="43307"/>
                            <a:pt x="56368" y="38262"/>
                            <a:pt x="57710" y="34111"/>
                          </a:cubicBezTo>
                          <a:cubicBezTo>
                            <a:pt x="59063" y="29903"/>
                            <a:pt x="57790" y="28619"/>
                            <a:pt x="56953" y="27782"/>
                          </a:cubicBezTo>
                          <a:lnTo>
                            <a:pt x="56953" y="27782"/>
                          </a:lnTo>
                          <a:cubicBezTo>
                            <a:pt x="53891" y="24709"/>
                            <a:pt x="47459" y="22932"/>
                            <a:pt x="41176" y="22932"/>
                          </a:cubicBezTo>
                          <a:close/>
                        </a:path>
                      </a:pathLst>
                    </a:custGeom>
                    <a:solidFill>
                      <a:schemeClr val="accent1"/>
                    </a:solidFill>
                    <a:ln w="1145" cap="flat">
                      <a:noFill/>
                      <a:prstDash val="solid"/>
                      <a:miter/>
                    </a:ln>
                  </p:spPr>
                  <p:txBody>
                    <a:bodyPr rtlCol="0" anchor="ctr"/>
                    <a:lstStyle/>
                    <a:p>
                      <a:endParaRPr lang="en-GB" dirty="0"/>
                    </a:p>
                  </p:txBody>
                </p:sp>
                <p:sp>
                  <p:nvSpPr>
                    <p:cNvPr id="676" name="Freeform: Shape 675">
                      <a:extLst>
                        <a:ext uri="{FF2B5EF4-FFF2-40B4-BE49-F238E27FC236}">
                          <a16:creationId xmlns:a16="http://schemas.microsoft.com/office/drawing/2014/main" id="{025D9C91-9A48-4742-8FD7-E0ADE93BE05E}"/>
                        </a:ext>
                      </a:extLst>
                    </p:cNvPr>
                    <p:cNvSpPr/>
                    <p:nvPr/>
                  </p:nvSpPr>
                  <p:spPr>
                    <a:xfrm>
                      <a:off x="2460512" y="473770"/>
                      <a:ext cx="54628" cy="54636"/>
                    </a:xfrm>
                    <a:custGeom>
                      <a:avLst/>
                      <a:gdLst>
                        <a:gd name="connsiteX0" fmla="*/ 43160 w 54628"/>
                        <a:gd name="connsiteY0" fmla="*/ 54637 h 54636"/>
                        <a:gd name="connsiteX1" fmla="*/ 35053 w 54628"/>
                        <a:gd name="connsiteY1" fmla="*/ 51277 h 54636"/>
                        <a:gd name="connsiteX2" fmla="*/ 3362 w 54628"/>
                        <a:gd name="connsiteY2" fmla="*/ 19575 h 54636"/>
                        <a:gd name="connsiteX3" fmla="*/ 3362 w 54628"/>
                        <a:gd name="connsiteY3" fmla="*/ 3362 h 54636"/>
                        <a:gd name="connsiteX4" fmla="*/ 19575 w 54628"/>
                        <a:gd name="connsiteY4" fmla="*/ 3362 h 54636"/>
                        <a:gd name="connsiteX5" fmla="*/ 51266 w 54628"/>
                        <a:gd name="connsiteY5" fmla="*/ 35065 h 54636"/>
                        <a:gd name="connsiteX6" fmla="*/ 51266 w 54628"/>
                        <a:gd name="connsiteY6" fmla="*/ 51277 h 54636"/>
                        <a:gd name="connsiteX7" fmla="*/ 43160 w 54628"/>
                        <a:gd name="connsiteY7" fmla="*/ 54637 h 54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28" h="54636">
                          <a:moveTo>
                            <a:pt x="43160" y="54637"/>
                          </a:moveTo>
                          <a:cubicBezTo>
                            <a:pt x="40224" y="54637"/>
                            <a:pt x="37289" y="53513"/>
                            <a:pt x="35053" y="51277"/>
                          </a:cubicBezTo>
                          <a:lnTo>
                            <a:pt x="3362" y="19575"/>
                          </a:lnTo>
                          <a:cubicBezTo>
                            <a:pt x="-1121" y="15092"/>
                            <a:pt x="-1121" y="7834"/>
                            <a:pt x="3362" y="3362"/>
                          </a:cubicBezTo>
                          <a:cubicBezTo>
                            <a:pt x="7845" y="-1121"/>
                            <a:pt x="15092" y="-1121"/>
                            <a:pt x="19575" y="3362"/>
                          </a:cubicBezTo>
                          <a:lnTo>
                            <a:pt x="51266" y="35065"/>
                          </a:lnTo>
                          <a:cubicBezTo>
                            <a:pt x="55749" y="39548"/>
                            <a:pt x="55749" y="46806"/>
                            <a:pt x="51266" y="51277"/>
                          </a:cubicBezTo>
                          <a:cubicBezTo>
                            <a:pt x="49030" y="53525"/>
                            <a:pt x="46095" y="54637"/>
                            <a:pt x="43160" y="54637"/>
                          </a:cubicBezTo>
                          <a:close/>
                        </a:path>
                      </a:pathLst>
                    </a:custGeom>
                    <a:solidFill>
                      <a:schemeClr val="accent1"/>
                    </a:solidFill>
                    <a:ln w="1145" cap="flat">
                      <a:noFill/>
                      <a:prstDash val="solid"/>
                      <a:miter/>
                    </a:ln>
                  </p:spPr>
                  <p:txBody>
                    <a:bodyPr rtlCol="0" anchor="ctr"/>
                    <a:lstStyle/>
                    <a:p>
                      <a:endParaRPr lang="en-GB" dirty="0"/>
                    </a:p>
                  </p:txBody>
                </p:sp>
              </p:grpSp>
              <p:grpSp>
                <p:nvGrpSpPr>
                  <p:cNvPr id="672" name="Graphic 48">
                    <a:extLst>
                      <a:ext uri="{FF2B5EF4-FFF2-40B4-BE49-F238E27FC236}">
                        <a16:creationId xmlns:a16="http://schemas.microsoft.com/office/drawing/2014/main" id="{B5D1DC4E-6EE3-41DA-9554-72C1A7B886C9}"/>
                      </a:ext>
                    </a:extLst>
                  </p:cNvPr>
                  <p:cNvGrpSpPr/>
                  <p:nvPr/>
                </p:nvGrpSpPr>
                <p:grpSpPr>
                  <a:xfrm>
                    <a:off x="2177103" y="474114"/>
                    <a:ext cx="105009" cy="104260"/>
                    <a:chOff x="2177103" y="474114"/>
                    <a:chExt cx="105009" cy="104260"/>
                  </a:xfrm>
                  <a:solidFill>
                    <a:schemeClr val="accent1"/>
                  </a:solidFill>
                </p:grpSpPr>
                <p:sp>
                  <p:nvSpPr>
                    <p:cNvPr id="673" name="Freeform: Shape 672">
                      <a:extLst>
                        <a:ext uri="{FF2B5EF4-FFF2-40B4-BE49-F238E27FC236}">
                          <a16:creationId xmlns:a16="http://schemas.microsoft.com/office/drawing/2014/main" id="{7B4E022D-49C8-48A9-B142-785ABEAB881D}"/>
                        </a:ext>
                      </a:extLst>
                    </p:cNvPr>
                    <p:cNvSpPr/>
                    <p:nvPr/>
                  </p:nvSpPr>
                  <p:spPr>
                    <a:xfrm>
                      <a:off x="2177103" y="498162"/>
                      <a:ext cx="81240" cy="80211"/>
                    </a:xfrm>
                    <a:custGeom>
                      <a:avLst/>
                      <a:gdLst>
                        <a:gd name="connsiteX0" fmla="*/ 49868 w 81240"/>
                        <a:gd name="connsiteY0" fmla="*/ 80212 h 80211"/>
                        <a:gd name="connsiteX1" fmla="*/ 40489 w 81240"/>
                        <a:gd name="connsiteY1" fmla="*/ 78870 h 80211"/>
                        <a:gd name="connsiteX2" fmla="*/ 16743 w 81240"/>
                        <a:gd name="connsiteY2" fmla="*/ 64183 h 80211"/>
                        <a:gd name="connsiteX3" fmla="*/ 1701 w 81240"/>
                        <a:gd name="connsiteY3" fmla="*/ 41160 h 80211"/>
                        <a:gd name="connsiteX4" fmla="*/ 8075 w 81240"/>
                        <a:gd name="connsiteY4" fmla="*/ 11567 h 80211"/>
                        <a:gd name="connsiteX5" fmla="*/ 69933 w 81240"/>
                        <a:gd name="connsiteY5" fmla="*/ 10994 h 80211"/>
                        <a:gd name="connsiteX6" fmla="*/ 69933 w 81240"/>
                        <a:gd name="connsiteY6" fmla="*/ 71888 h 80211"/>
                        <a:gd name="connsiteX7" fmla="*/ 49868 w 81240"/>
                        <a:gd name="connsiteY7" fmla="*/ 80212 h 80211"/>
                        <a:gd name="connsiteX8" fmla="*/ 40065 w 81240"/>
                        <a:gd name="connsiteY8" fmla="*/ 22952 h 80211"/>
                        <a:gd name="connsiteX9" fmla="*/ 24288 w 81240"/>
                        <a:gd name="connsiteY9" fmla="*/ 27791 h 80211"/>
                        <a:gd name="connsiteX10" fmla="*/ 32956 w 81240"/>
                        <a:gd name="connsiteY10" fmla="*/ 47982 h 80211"/>
                        <a:gd name="connsiteX11" fmla="*/ 53720 w 81240"/>
                        <a:gd name="connsiteY11" fmla="*/ 55687 h 80211"/>
                        <a:gd name="connsiteX12" fmla="*/ 53720 w 81240"/>
                        <a:gd name="connsiteY12" fmla="*/ 27218 h 80211"/>
                        <a:gd name="connsiteX13" fmla="*/ 40065 w 81240"/>
                        <a:gd name="connsiteY13" fmla="*/ 22952 h 8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240" h="80211">
                          <a:moveTo>
                            <a:pt x="49868" y="80212"/>
                          </a:moveTo>
                          <a:cubicBezTo>
                            <a:pt x="46841" y="80212"/>
                            <a:pt x="43699" y="79765"/>
                            <a:pt x="40489" y="78870"/>
                          </a:cubicBezTo>
                          <a:cubicBezTo>
                            <a:pt x="32383" y="76612"/>
                            <a:pt x="23944" y="71395"/>
                            <a:pt x="16743" y="64183"/>
                          </a:cubicBezTo>
                          <a:cubicBezTo>
                            <a:pt x="11618" y="59058"/>
                            <a:pt x="4854" y="50906"/>
                            <a:pt x="1701" y="41160"/>
                          </a:cubicBezTo>
                          <a:cubicBezTo>
                            <a:pt x="-1946" y="29843"/>
                            <a:pt x="313" y="19329"/>
                            <a:pt x="8075" y="11567"/>
                          </a:cubicBezTo>
                          <a:cubicBezTo>
                            <a:pt x="23245" y="-3614"/>
                            <a:pt x="55039" y="-3900"/>
                            <a:pt x="69933" y="10994"/>
                          </a:cubicBezTo>
                          <a:cubicBezTo>
                            <a:pt x="85010" y="26071"/>
                            <a:pt x="85010" y="56810"/>
                            <a:pt x="69933" y="71888"/>
                          </a:cubicBezTo>
                          <a:cubicBezTo>
                            <a:pt x="64441" y="77380"/>
                            <a:pt x="57515" y="80212"/>
                            <a:pt x="49868" y="80212"/>
                          </a:cubicBezTo>
                          <a:close/>
                          <a:moveTo>
                            <a:pt x="40065" y="22952"/>
                          </a:moveTo>
                          <a:cubicBezTo>
                            <a:pt x="33781" y="22952"/>
                            <a:pt x="27349" y="24729"/>
                            <a:pt x="24288" y="27791"/>
                          </a:cubicBezTo>
                          <a:cubicBezTo>
                            <a:pt x="20057" y="32022"/>
                            <a:pt x="27154" y="42180"/>
                            <a:pt x="32956" y="47982"/>
                          </a:cubicBezTo>
                          <a:cubicBezTo>
                            <a:pt x="38861" y="53887"/>
                            <a:pt x="49191" y="60181"/>
                            <a:pt x="53720" y="55687"/>
                          </a:cubicBezTo>
                          <a:cubicBezTo>
                            <a:pt x="59338" y="50069"/>
                            <a:pt x="60324" y="33822"/>
                            <a:pt x="53720" y="27218"/>
                          </a:cubicBezTo>
                          <a:cubicBezTo>
                            <a:pt x="50774" y="24259"/>
                            <a:pt x="45465" y="22952"/>
                            <a:pt x="40065" y="22952"/>
                          </a:cubicBezTo>
                          <a:close/>
                        </a:path>
                      </a:pathLst>
                    </a:custGeom>
                    <a:solidFill>
                      <a:schemeClr val="accent1"/>
                    </a:solidFill>
                    <a:ln w="1145" cap="flat">
                      <a:noFill/>
                      <a:prstDash val="solid"/>
                      <a:miter/>
                    </a:ln>
                  </p:spPr>
                  <p:txBody>
                    <a:bodyPr rtlCol="0" anchor="ctr"/>
                    <a:lstStyle/>
                    <a:p>
                      <a:endParaRPr lang="en-GB" dirty="0"/>
                    </a:p>
                  </p:txBody>
                </p:sp>
                <p:sp>
                  <p:nvSpPr>
                    <p:cNvPr id="674" name="Freeform: Shape 673">
                      <a:extLst>
                        <a:ext uri="{FF2B5EF4-FFF2-40B4-BE49-F238E27FC236}">
                          <a16:creationId xmlns:a16="http://schemas.microsoft.com/office/drawing/2014/main" id="{619C59C3-CBEB-43B4-B2EE-683BF4077814}"/>
                        </a:ext>
                      </a:extLst>
                    </p:cNvPr>
                    <p:cNvSpPr/>
                    <p:nvPr/>
                  </p:nvSpPr>
                  <p:spPr>
                    <a:xfrm>
                      <a:off x="2227473" y="474114"/>
                      <a:ext cx="54639" cy="54625"/>
                    </a:xfrm>
                    <a:custGeom>
                      <a:avLst/>
                      <a:gdLst>
                        <a:gd name="connsiteX0" fmla="*/ 11469 w 54639"/>
                        <a:gd name="connsiteY0" fmla="*/ 54625 h 54625"/>
                        <a:gd name="connsiteX1" fmla="*/ 3362 w 54639"/>
                        <a:gd name="connsiteY1" fmla="*/ 51266 h 54625"/>
                        <a:gd name="connsiteX2" fmla="*/ 3362 w 54639"/>
                        <a:gd name="connsiteY2" fmla="*/ 35053 h 54625"/>
                        <a:gd name="connsiteX3" fmla="*/ 35065 w 54639"/>
                        <a:gd name="connsiteY3" fmla="*/ 3362 h 54625"/>
                        <a:gd name="connsiteX4" fmla="*/ 51277 w 54639"/>
                        <a:gd name="connsiteY4" fmla="*/ 3362 h 54625"/>
                        <a:gd name="connsiteX5" fmla="*/ 51277 w 54639"/>
                        <a:gd name="connsiteY5" fmla="*/ 19575 h 54625"/>
                        <a:gd name="connsiteX6" fmla="*/ 19575 w 54639"/>
                        <a:gd name="connsiteY6" fmla="*/ 51266 h 54625"/>
                        <a:gd name="connsiteX7" fmla="*/ 11469 w 54639"/>
                        <a:gd name="connsiteY7" fmla="*/ 54625 h 54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639" h="54625">
                          <a:moveTo>
                            <a:pt x="11469" y="54625"/>
                          </a:moveTo>
                          <a:cubicBezTo>
                            <a:pt x="8533" y="54625"/>
                            <a:pt x="5598" y="53502"/>
                            <a:pt x="3362" y="51266"/>
                          </a:cubicBezTo>
                          <a:cubicBezTo>
                            <a:pt x="-1121" y="46783"/>
                            <a:pt x="-1121" y="39525"/>
                            <a:pt x="3362" y="35053"/>
                          </a:cubicBezTo>
                          <a:lnTo>
                            <a:pt x="35065" y="3362"/>
                          </a:lnTo>
                          <a:cubicBezTo>
                            <a:pt x="39548" y="-1121"/>
                            <a:pt x="46794" y="-1121"/>
                            <a:pt x="51277" y="3362"/>
                          </a:cubicBezTo>
                          <a:cubicBezTo>
                            <a:pt x="55760" y="7845"/>
                            <a:pt x="55760" y="15103"/>
                            <a:pt x="51277" y="19575"/>
                          </a:cubicBezTo>
                          <a:lnTo>
                            <a:pt x="19575" y="51266"/>
                          </a:lnTo>
                          <a:cubicBezTo>
                            <a:pt x="17328" y="53513"/>
                            <a:pt x="14392" y="54625"/>
                            <a:pt x="11469" y="54625"/>
                          </a:cubicBezTo>
                          <a:close/>
                        </a:path>
                      </a:pathLst>
                    </a:custGeom>
                    <a:solidFill>
                      <a:schemeClr val="accent1"/>
                    </a:solidFill>
                    <a:ln w="1145" cap="flat">
                      <a:noFill/>
                      <a:prstDash val="solid"/>
                      <a:miter/>
                    </a:ln>
                  </p:spPr>
                  <p:txBody>
                    <a:bodyPr rtlCol="0" anchor="ctr"/>
                    <a:lstStyle/>
                    <a:p>
                      <a:endParaRPr lang="en-GB" dirty="0"/>
                    </a:p>
                  </p:txBody>
                </p:sp>
              </p:grpSp>
            </p:grpSp>
            <p:sp>
              <p:nvSpPr>
                <p:cNvPr id="662" name="Freeform: Shape 661">
                  <a:extLst>
                    <a:ext uri="{FF2B5EF4-FFF2-40B4-BE49-F238E27FC236}">
                      <a16:creationId xmlns:a16="http://schemas.microsoft.com/office/drawing/2014/main" id="{24CDA763-713D-46B5-8898-9C21AEF4DEAD}"/>
                    </a:ext>
                  </a:extLst>
                </p:cNvPr>
                <p:cNvSpPr/>
                <p:nvPr/>
              </p:nvSpPr>
              <p:spPr>
                <a:xfrm>
                  <a:off x="2418971" y="502950"/>
                  <a:ext cx="34245" cy="47585"/>
                </a:xfrm>
                <a:custGeom>
                  <a:avLst/>
                  <a:gdLst>
                    <a:gd name="connsiteX0" fmla="*/ 22787 w 34245"/>
                    <a:gd name="connsiteY0" fmla="*/ 47585 h 47585"/>
                    <a:gd name="connsiteX1" fmla="*/ 12364 w 34245"/>
                    <a:gd name="connsiteY1" fmla="*/ 40901 h 47585"/>
                    <a:gd name="connsiteX2" fmla="*/ 1048 w 34245"/>
                    <a:gd name="connsiteY2" fmla="*/ 16261 h 47585"/>
                    <a:gd name="connsiteX3" fmla="*/ 6677 w 34245"/>
                    <a:gd name="connsiteY3" fmla="*/ 1058 h 47585"/>
                    <a:gd name="connsiteX4" fmla="*/ 21881 w 34245"/>
                    <a:gd name="connsiteY4" fmla="*/ 6687 h 47585"/>
                    <a:gd name="connsiteX5" fmla="*/ 33197 w 34245"/>
                    <a:gd name="connsiteY5" fmla="*/ 31327 h 47585"/>
                    <a:gd name="connsiteX6" fmla="*/ 27568 w 34245"/>
                    <a:gd name="connsiteY6" fmla="*/ 46530 h 47585"/>
                    <a:gd name="connsiteX7" fmla="*/ 22787 w 34245"/>
                    <a:gd name="connsiteY7" fmla="*/ 47585 h 47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45" h="47585">
                      <a:moveTo>
                        <a:pt x="22787" y="47585"/>
                      </a:moveTo>
                      <a:cubicBezTo>
                        <a:pt x="18453" y="47585"/>
                        <a:pt x="14290" y="45109"/>
                        <a:pt x="12364" y="40901"/>
                      </a:cubicBezTo>
                      <a:lnTo>
                        <a:pt x="1048" y="16261"/>
                      </a:lnTo>
                      <a:cubicBezTo>
                        <a:pt x="-1589" y="10505"/>
                        <a:pt x="922" y="3695"/>
                        <a:pt x="6677" y="1058"/>
                      </a:cubicBezTo>
                      <a:cubicBezTo>
                        <a:pt x="12410" y="-1602"/>
                        <a:pt x="19232" y="931"/>
                        <a:pt x="21881" y="6687"/>
                      </a:cubicBezTo>
                      <a:lnTo>
                        <a:pt x="33197" y="31327"/>
                      </a:lnTo>
                      <a:cubicBezTo>
                        <a:pt x="35835" y="37083"/>
                        <a:pt x="33324" y="43893"/>
                        <a:pt x="27568" y="46530"/>
                      </a:cubicBezTo>
                      <a:cubicBezTo>
                        <a:pt x="26008" y="47253"/>
                        <a:pt x="24380" y="47585"/>
                        <a:pt x="22787" y="47585"/>
                      </a:cubicBezTo>
                      <a:close/>
                    </a:path>
                  </a:pathLst>
                </a:custGeom>
                <a:solidFill>
                  <a:schemeClr val="accent1"/>
                </a:solidFill>
                <a:ln w="1145" cap="flat">
                  <a:noFill/>
                  <a:prstDash val="solid"/>
                  <a:miter/>
                </a:ln>
              </p:spPr>
              <p:txBody>
                <a:bodyPr rtlCol="0" anchor="ctr"/>
                <a:lstStyle/>
                <a:p>
                  <a:endParaRPr lang="en-GB" dirty="0"/>
                </a:p>
              </p:txBody>
            </p:sp>
            <p:sp>
              <p:nvSpPr>
                <p:cNvPr id="663" name="Freeform: Shape 662">
                  <a:extLst>
                    <a:ext uri="{FF2B5EF4-FFF2-40B4-BE49-F238E27FC236}">
                      <a16:creationId xmlns:a16="http://schemas.microsoft.com/office/drawing/2014/main" id="{224924CD-4924-497B-90B9-B388756BA7AB}"/>
                    </a:ext>
                  </a:extLst>
                </p:cNvPr>
                <p:cNvSpPr/>
                <p:nvPr/>
              </p:nvSpPr>
              <p:spPr>
                <a:xfrm>
                  <a:off x="2288320" y="218485"/>
                  <a:ext cx="34451" cy="48033"/>
                </a:xfrm>
                <a:custGeom>
                  <a:avLst/>
                  <a:gdLst>
                    <a:gd name="connsiteX0" fmla="*/ 22993 w 34451"/>
                    <a:gd name="connsiteY0" fmla="*/ 48034 h 48033"/>
                    <a:gd name="connsiteX1" fmla="*/ 12571 w 34451"/>
                    <a:gd name="connsiteY1" fmla="*/ 41349 h 48033"/>
                    <a:gd name="connsiteX2" fmla="*/ 1048 w 34451"/>
                    <a:gd name="connsiteY2" fmla="*/ 16251 h 48033"/>
                    <a:gd name="connsiteX3" fmla="*/ 6677 w 34451"/>
                    <a:gd name="connsiteY3" fmla="*/ 1048 h 48033"/>
                    <a:gd name="connsiteX4" fmla="*/ 21881 w 34451"/>
                    <a:gd name="connsiteY4" fmla="*/ 6677 h 48033"/>
                    <a:gd name="connsiteX5" fmla="*/ 33404 w 34451"/>
                    <a:gd name="connsiteY5" fmla="*/ 31776 h 48033"/>
                    <a:gd name="connsiteX6" fmla="*/ 27774 w 34451"/>
                    <a:gd name="connsiteY6" fmla="*/ 46979 h 48033"/>
                    <a:gd name="connsiteX7" fmla="*/ 22993 w 34451"/>
                    <a:gd name="connsiteY7" fmla="*/ 48034 h 48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51" h="48033">
                      <a:moveTo>
                        <a:pt x="22993" y="48034"/>
                      </a:moveTo>
                      <a:cubicBezTo>
                        <a:pt x="18659" y="48034"/>
                        <a:pt x="14497" y="45557"/>
                        <a:pt x="12571" y="41349"/>
                      </a:cubicBezTo>
                      <a:lnTo>
                        <a:pt x="1048" y="16251"/>
                      </a:lnTo>
                      <a:cubicBezTo>
                        <a:pt x="-1589" y="10495"/>
                        <a:pt x="922" y="3685"/>
                        <a:pt x="6677" y="1048"/>
                      </a:cubicBezTo>
                      <a:cubicBezTo>
                        <a:pt x="12410" y="-1589"/>
                        <a:pt x="19244" y="922"/>
                        <a:pt x="21881" y="6677"/>
                      </a:cubicBezTo>
                      <a:lnTo>
                        <a:pt x="33404" y="31776"/>
                      </a:lnTo>
                      <a:cubicBezTo>
                        <a:pt x="36041" y="37531"/>
                        <a:pt x="33530" y="44342"/>
                        <a:pt x="27774" y="46979"/>
                      </a:cubicBezTo>
                      <a:cubicBezTo>
                        <a:pt x="26226" y="47701"/>
                        <a:pt x="24598" y="48034"/>
                        <a:pt x="22993" y="48034"/>
                      </a:cubicBezTo>
                      <a:close/>
                    </a:path>
                  </a:pathLst>
                </a:custGeom>
                <a:solidFill>
                  <a:schemeClr val="accent1"/>
                </a:solidFill>
                <a:ln w="1145" cap="flat">
                  <a:noFill/>
                  <a:prstDash val="solid"/>
                  <a:miter/>
                </a:ln>
              </p:spPr>
              <p:txBody>
                <a:bodyPr rtlCol="0" anchor="ctr"/>
                <a:lstStyle/>
                <a:p>
                  <a:endParaRPr lang="en-GB" dirty="0"/>
                </a:p>
              </p:txBody>
            </p:sp>
            <p:sp>
              <p:nvSpPr>
                <p:cNvPr id="664" name="Freeform: Shape 663">
                  <a:extLst>
                    <a:ext uri="{FF2B5EF4-FFF2-40B4-BE49-F238E27FC236}">
                      <a16:creationId xmlns:a16="http://schemas.microsoft.com/office/drawing/2014/main" id="{323D5ED9-5E26-4892-B8C6-1554C0D88C2E}"/>
                    </a:ext>
                  </a:extLst>
                </p:cNvPr>
                <p:cNvSpPr/>
                <p:nvPr/>
              </p:nvSpPr>
              <p:spPr>
                <a:xfrm>
                  <a:off x="2490759" y="432694"/>
                  <a:ext cx="46819" cy="33821"/>
                </a:xfrm>
                <a:custGeom>
                  <a:avLst/>
                  <a:gdLst>
                    <a:gd name="connsiteX0" fmla="*/ 35340 w 46819"/>
                    <a:gd name="connsiteY0" fmla="*/ 33821 h 33821"/>
                    <a:gd name="connsiteX1" fmla="*/ 30593 w 46819"/>
                    <a:gd name="connsiteY1" fmla="*/ 32789 h 33821"/>
                    <a:gd name="connsiteX2" fmla="*/ 6721 w 46819"/>
                    <a:gd name="connsiteY2" fmla="*/ 21908 h 33821"/>
                    <a:gd name="connsiteX3" fmla="*/ 1034 w 46819"/>
                    <a:gd name="connsiteY3" fmla="*/ 6716 h 33821"/>
                    <a:gd name="connsiteX4" fmla="*/ 16226 w 46819"/>
                    <a:gd name="connsiteY4" fmla="*/ 1029 h 33821"/>
                    <a:gd name="connsiteX5" fmla="*/ 40098 w 46819"/>
                    <a:gd name="connsiteY5" fmla="*/ 11910 h 33821"/>
                    <a:gd name="connsiteX6" fmla="*/ 45785 w 46819"/>
                    <a:gd name="connsiteY6" fmla="*/ 27102 h 33821"/>
                    <a:gd name="connsiteX7" fmla="*/ 35340 w 46819"/>
                    <a:gd name="connsiteY7" fmla="*/ 33821 h 33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19" h="33821">
                      <a:moveTo>
                        <a:pt x="35340" y="33821"/>
                      </a:moveTo>
                      <a:cubicBezTo>
                        <a:pt x="33746" y="33821"/>
                        <a:pt x="32129" y="33489"/>
                        <a:pt x="30593" y="32789"/>
                      </a:cubicBezTo>
                      <a:lnTo>
                        <a:pt x="6721" y="21908"/>
                      </a:lnTo>
                      <a:cubicBezTo>
                        <a:pt x="954" y="19283"/>
                        <a:pt x="-1591" y="12484"/>
                        <a:pt x="1034" y="6716"/>
                      </a:cubicBezTo>
                      <a:cubicBezTo>
                        <a:pt x="3660" y="949"/>
                        <a:pt x="10471" y="-1585"/>
                        <a:pt x="16226" y="1029"/>
                      </a:cubicBezTo>
                      <a:lnTo>
                        <a:pt x="40098" y="11910"/>
                      </a:lnTo>
                      <a:cubicBezTo>
                        <a:pt x="45865" y="14536"/>
                        <a:pt x="48411" y="21335"/>
                        <a:pt x="45785" y="27102"/>
                      </a:cubicBezTo>
                      <a:cubicBezTo>
                        <a:pt x="43859" y="31333"/>
                        <a:pt x="39697" y="33821"/>
                        <a:pt x="35340" y="33821"/>
                      </a:cubicBezTo>
                      <a:close/>
                    </a:path>
                  </a:pathLst>
                </a:custGeom>
                <a:solidFill>
                  <a:schemeClr val="accent1"/>
                </a:solidFill>
                <a:ln w="1145" cap="flat">
                  <a:noFill/>
                  <a:prstDash val="solid"/>
                  <a:miter/>
                </a:ln>
              </p:spPr>
              <p:txBody>
                <a:bodyPr rtlCol="0" anchor="ctr"/>
                <a:lstStyle/>
                <a:p>
                  <a:endParaRPr lang="en-GB" dirty="0"/>
                </a:p>
              </p:txBody>
            </p:sp>
            <p:sp>
              <p:nvSpPr>
                <p:cNvPr id="665" name="Freeform: Shape 664">
                  <a:extLst>
                    <a:ext uri="{FF2B5EF4-FFF2-40B4-BE49-F238E27FC236}">
                      <a16:creationId xmlns:a16="http://schemas.microsoft.com/office/drawing/2014/main" id="{900CC411-5E93-436E-8CAE-1D52E080E2CC}"/>
                    </a:ext>
                  </a:extLst>
                </p:cNvPr>
                <p:cNvSpPr/>
                <p:nvPr/>
              </p:nvSpPr>
              <p:spPr>
                <a:xfrm>
                  <a:off x="2205115" y="302489"/>
                  <a:ext cx="47495" cy="34130"/>
                </a:xfrm>
                <a:custGeom>
                  <a:avLst/>
                  <a:gdLst>
                    <a:gd name="connsiteX0" fmla="*/ 36016 w 47495"/>
                    <a:gd name="connsiteY0" fmla="*/ 34131 h 34130"/>
                    <a:gd name="connsiteX1" fmla="*/ 31269 w 47495"/>
                    <a:gd name="connsiteY1" fmla="*/ 33099 h 34130"/>
                    <a:gd name="connsiteX2" fmla="*/ 6721 w 47495"/>
                    <a:gd name="connsiteY2" fmla="*/ 21908 h 34130"/>
                    <a:gd name="connsiteX3" fmla="*/ 1034 w 47495"/>
                    <a:gd name="connsiteY3" fmla="*/ 6716 h 34130"/>
                    <a:gd name="connsiteX4" fmla="*/ 16226 w 47495"/>
                    <a:gd name="connsiteY4" fmla="*/ 1029 h 34130"/>
                    <a:gd name="connsiteX5" fmla="*/ 40774 w 47495"/>
                    <a:gd name="connsiteY5" fmla="*/ 12220 h 34130"/>
                    <a:gd name="connsiteX6" fmla="*/ 46461 w 47495"/>
                    <a:gd name="connsiteY6" fmla="*/ 27412 h 34130"/>
                    <a:gd name="connsiteX7" fmla="*/ 36016 w 47495"/>
                    <a:gd name="connsiteY7" fmla="*/ 34131 h 3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495" h="34130">
                      <a:moveTo>
                        <a:pt x="36016" y="34131"/>
                      </a:moveTo>
                      <a:cubicBezTo>
                        <a:pt x="34422" y="34131"/>
                        <a:pt x="32806" y="33798"/>
                        <a:pt x="31269" y="33099"/>
                      </a:cubicBezTo>
                      <a:lnTo>
                        <a:pt x="6721" y="21908"/>
                      </a:lnTo>
                      <a:cubicBezTo>
                        <a:pt x="954" y="19283"/>
                        <a:pt x="-1591" y="12484"/>
                        <a:pt x="1034" y="6716"/>
                      </a:cubicBezTo>
                      <a:cubicBezTo>
                        <a:pt x="3660" y="949"/>
                        <a:pt x="10482" y="-1585"/>
                        <a:pt x="16226" y="1029"/>
                      </a:cubicBezTo>
                      <a:lnTo>
                        <a:pt x="40774" y="12220"/>
                      </a:lnTo>
                      <a:cubicBezTo>
                        <a:pt x="46542" y="14846"/>
                        <a:pt x="49087" y="21645"/>
                        <a:pt x="46461" y="27412"/>
                      </a:cubicBezTo>
                      <a:cubicBezTo>
                        <a:pt x="44535" y="31643"/>
                        <a:pt x="40362" y="34131"/>
                        <a:pt x="36016" y="34131"/>
                      </a:cubicBezTo>
                      <a:close/>
                    </a:path>
                  </a:pathLst>
                </a:custGeom>
                <a:solidFill>
                  <a:schemeClr val="accent1"/>
                </a:solidFill>
                <a:ln w="1145" cap="flat">
                  <a:noFill/>
                  <a:prstDash val="solid"/>
                  <a:miter/>
                </a:ln>
              </p:spPr>
              <p:txBody>
                <a:bodyPr rtlCol="0" anchor="ctr"/>
                <a:lstStyle/>
                <a:p>
                  <a:endParaRPr lang="en-GB" dirty="0"/>
                </a:p>
              </p:txBody>
            </p:sp>
            <p:sp>
              <p:nvSpPr>
                <p:cNvPr id="666" name="Freeform: Shape 665">
                  <a:extLst>
                    <a:ext uri="{FF2B5EF4-FFF2-40B4-BE49-F238E27FC236}">
                      <a16:creationId xmlns:a16="http://schemas.microsoft.com/office/drawing/2014/main" id="{6A016579-8C44-4C1B-B186-A6F9BF53BDD0}"/>
                    </a:ext>
                  </a:extLst>
                </p:cNvPr>
                <p:cNvSpPr/>
                <p:nvPr/>
              </p:nvSpPr>
              <p:spPr>
                <a:xfrm>
                  <a:off x="2489382" y="304021"/>
                  <a:ext cx="48414" cy="34272"/>
                </a:xfrm>
                <a:custGeom>
                  <a:avLst/>
                  <a:gdLst>
                    <a:gd name="connsiteX0" fmla="*/ 11481 w 48414"/>
                    <a:gd name="connsiteY0" fmla="*/ 34273 h 34272"/>
                    <a:gd name="connsiteX1" fmla="*/ 989 w 48414"/>
                    <a:gd name="connsiteY1" fmla="*/ 27451 h 34272"/>
                    <a:gd name="connsiteX2" fmla="*/ 6814 w 48414"/>
                    <a:gd name="connsiteY2" fmla="*/ 12316 h 34272"/>
                    <a:gd name="connsiteX3" fmla="*/ 32291 w 48414"/>
                    <a:gd name="connsiteY3" fmla="*/ 999 h 34272"/>
                    <a:gd name="connsiteX4" fmla="*/ 47425 w 48414"/>
                    <a:gd name="connsiteY4" fmla="*/ 6824 h 34272"/>
                    <a:gd name="connsiteX5" fmla="*/ 41601 w 48414"/>
                    <a:gd name="connsiteY5" fmla="*/ 21959 h 34272"/>
                    <a:gd name="connsiteX6" fmla="*/ 16124 w 48414"/>
                    <a:gd name="connsiteY6" fmla="*/ 33275 h 34272"/>
                    <a:gd name="connsiteX7" fmla="*/ 11481 w 48414"/>
                    <a:gd name="connsiteY7" fmla="*/ 34273 h 34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14" h="34272">
                      <a:moveTo>
                        <a:pt x="11481" y="34273"/>
                      </a:moveTo>
                      <a:cubicBezTo>
                        <a:pt x="7089" y="34273"/>
                        <a:pt x="2893" y="31727"/>
                        <a:pt x="989" y="27451"/>
                      </a:cubicBezTo>
                      <a:cubicBezTo>
                        <a:pt x="-1579" y="21660"/>
                        <a:pt x="1024" y="14884"/>
                        <a:pt x="6814" y="12316"/>
                      </a:cubicBezTo>
                      <a:lnTo>
                        <a:pt x="32291" y="999"/>
                      </a:lnTo>
                      <a:cubicBezTo>
                        <a:pt x="38047" y="-1592"/>
                        <a:pt x="44846" y="1034"/>
                        <a:pt x="47425" y="6824"/>
                      </a:cubicBezTo>
                      <a:cubicBezTo>
                        <a:pt x="49994" y="12614"/>
                        <a:pt x="47391" y="19390"/>
                        <a:pt x="41601" y="21959"/>
                      </a:cubicBezTo>
                      <a:lnTo>
                        <a:pt x="16124" y="33275"/>
                      </a:lnTo>
                      <a:cubicBezTo>
                        <a:pt x="14622" y="33952"/>
                        <a:pt x="13040" y="34273"/>
                        <a:pt x="11481" y="34273"/>
                      </a:cubicBezTo>
                      <a:close/>
                    </a:path>
                  </a:pathLst>
                </a:custGeom>
                <a:solidFill>
                  <a:schemeClr val="accent1"/>
                </a:solidFill>
                <a:ln w="1145" cap="flat">
                  <a:noFill/>
                  <a:prstDash val="solid"/>
                  <a:miter/>
                </a:ln>
              </p:spPr>
              <p:txBody>
                <a:bodyPr rtlCol="0" anchor="ctr"/>
                <a:lstStyle/>
                <a:p>
                  <a:endParaRPr lang="en-GB" dirty="0"/>
                </a:p>
              </p:txBody>
            </p:sp>
            <p:sp>
              <p:nvSpPr>
                <p:cNvPr id="667" name="Freeform: Shape 666">
                  <a:extLst>
                    <a:ext uri="{FF2B5EF4-FFF2-40B4-BE49-F238E27FC236}">
                      <a16:creationId xmlns:a16="http://schemas.microsoft.com/office/drawing/2014/main" id="{FBB052D6-3DA0-476A-9BA5-B48B19C6F039}"/>
                    </a:ext>
                  </a:extLst>
                </p:cNvPr>
                <p:cNvSpPr/>
                <p:nvPr/>
              </p:nvSpPr>
              <p:spPr>
                <a:xfrm>
                  <a:off x="2203967" y="431371"/>
                  <a:ext cx="46993" cy="33630"/>
                </a:xfrm>
                <a:custGeom>
                  <a:avLst/>
                  <a:gdLst>
                    <a:gd name="connsiteX0" fmla="*/ 11481 w 46993"/>
                    <a:gd name="connsiteY0" fmla="*/ 33631 h 33630"/>
                    <a:gd name="connsiteX1" fmla="*/ 990 w 46993"/>
                    <a:gd name="connsiteY1" fmla="*/ 26809 h 33630"/>
                    <a:gd name="connsiteX2" fmla="*/ 6814 w 46993"/>
                    <a:gd name="connsiteY2" fmla="*/ 11674 h 33630"/>
                    <a:gd name="connsiteX3" fmla="*/ 30869 w 46993"/>
                    <a:gd name="connsiteY3" fmla="*/ 999 h 33630"/>
                    <a:gd name="connsiteX4" fmla="*/ 46004 w 46993"/>
                    <a:gd name="connsiteY4" fmla="*/ 6824 h 33630"/>
                    <a:gd name="connsiteX5" fmla="*/ 40179 w 46993"/>
                    <a:gd name="connsiteY5" fmla="*/ 21959 h 33630"/>
                    <a:gd name="connsiteX6" fmla="*/ 16124 w 46993"/>
                    <a:gd name="connsiteY6" fmla="*/ 32633 h 33630"/>
                    <a:gd name="connsiteX7" fmla="*/ 11481 w 46993"/>
                    <a:gd name="connsiteY7" fmla="*/ 33631 h 33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993" h="33630">
                      <a:moveTo>
                        <a:pt x="11481" y="33631"/>
                      </a:moveTo>
                      <a:cubicBezTo>
                        <a:pt x="7089" y="33631"/>
                        <a:pt x="2893" y="31085"/>
                        <a:pt x="990" y="26809"/>
                      </a:cubicBezTo>
                      <a:cubicBezTo>
                        <a:pt x="-1579" y="21018"/>
                        <a:pt x="1024" y="14242"/>
                        <a:pt x="6814" y="11674"/>
                      </a:cubicBezTo>
                      <a:lnTo>
                        <a:pt x="30869" y="999"/>
                      </a:lnTo>
                      <a:cubicBezTo>
                        <a:pt x="36636" y="-1592"/>
                        <a:pt x="43424" y="1034"/>
                        <a:pt x="46004" y="6824"/>
                      </a:cubicBezTo>
                      <a:cubicBezTo>
                        <a:pt x="48572" y="12614"/>
                        <a:pt x="45969" y="19390"/>
                        <a:pt x="40179" y="21959"/>
                      </a:cubicBezTo>
                      <a:lnTo>
                        <a:pt x="16124" y="32633"/>
                      </a:lnTo>
                      <a:cubicBezTo>
                        <a:pt x="14622" y="33310"/>
                        <a:pt x="13040" y="33631"/>
                        <a:pt x="11481" y="33631"/>
                      </a:cubicBezTo>
                      <a:close/>
                    </a:path>
                  </a:pathLst>
                </a:custGeom>
                <a:solidFill>
                  <a:schemeClr val="accent1"/>
                </a:solidFill>
                <a:ln w="1145" cap="flat">
                  <a:noFill/>
                  <a:prstDash val="solid"/>
                  <a:miter/>
                </a:ln>
              </p:spPr>
              <p:txBody>
                <a:bodyPr rtlCol="0" anchor="ctr"/>
                <a:lstStyle/>
                <a:p>
                  <a:endParaRPr lang="en-GB" dirty="0"/>
                </a:p>
              </p:txBody>
            </p:sp>
            <p:sp>
              <p:nvSpPr>
                <p:cNvPr id="668" name="Freeform: Shape 667">
                  <a:extLst>
                    <a:ext uri="{FF2B5EF4-FFF2-40B4-BE49-F238E27FC236}">
                      <a16:creationId xmlns:a16="http://schemas.microsoft.com/office/drawing/2014/main" id="{CDD94077-80A1-45F8-AAD0-3A23F0F05E42}"/>
                    </a:ext>
                  </a:extLst>
                </p:cNvPr>
                <p:cNvSpPr/>
                <p:nvPr/>
              </p:nvSpPr>
              <p:spPr>
                <a:xfrm>
                  <a:off x="2288519" y="503999"/>
                  <a:ext cx="33778" cy="46593"/>
                </a:xfrm>
                <a:custGeom>
                  <a:avLst/>
                  <a:gdLst>
                    <a:gd name="connsiteX0" fmla="*/ 11466 w 33778"/>
                    <a:gd name="connsiteY0" fmla="*/ 46594 h 46593"/>
                    <a:gd name="connsiteX1" fmla="*/ 6696 w 33778"/>
                    <a:gd name="connsiteY1" fmla="*/ 45550 h 46593"/>
                    <a:gd name="connsiteX2" fmla="*/ 1044 w 33778"/>
                    <a:gd name="connsiteY2" fmla="*/ 30347 h 46593"/>
                    <a:gd name="connsiteX3" fmla="*/ 11879 w 33778"/>
                    <a:gd name="connsiteY3" fmla="*/ 6693 h 46593"/>
                    <a:gd name="connsiteX4" fmla="*/ 27082 w 33778"/>
                    <a:gd name="connsiteY4" fmla="*/ 1040 h 46593"/>
                    <a:gd name="connsiteX5" fmla="*/ 32735 w 33778"/>
                    <a:gd name="connsiteY5" fmla="*/ 16244 h 46593"/>
                    <a:gd name="connsiteX6" fmla="*/ 21900 w 33778"/>
                    <a:gd name="connsiteY6" fmla="*/ 39898 h 46593"/>
                    <a:gd name="connsiteX7" fmla="*/ 11466 w 33778"/>
                    <a:gd name="connsiteY7" fmla="*/ 46594 h 46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78" h="46593">
                      <a:moveTo>
                        <a:pt x="11466" y="46594"/>
                      </a:moveTo>
                      <a:cubicBezTo>
                        <a:pt x="9861" y="46594"/>
                        <a:pt x="8244" y="46261"/>
                        <a:pt x="6696" y="45550"/>
                      </a:cubicBezTo>
                      <a:cubicBezTo>
                        <a:pt x="940" y="42913"/>
                        <a:pt x="-1594" y="36102"/>
                        <a:pt x="1044" y="30347"/>
                      </a:cubicBezTo>
                      <a:lnTo>
                        <a:pt x="11879" y="6693"/>
                      </a:lnTo>
                      <a:cubicBezTo>
                        <a:pt x="14516" y="926"/>
                        <a:pt x="21326" y="-1585"/>
                        <a:pt x="27082" y="1040"/>
                      </a:cubicBezTo>
                      <a:cubicBezTo>
                        <a:pt x="32838" y="3678"/>
                        <a:pt x="35372" y="10488"/>
                        <a:pt x="32735" y="16244"/>
                      </a:cubicBezTo>
                      <a:lnTo>
                        <a:pt x="21900" y="39898"/>
                      </a:lnTo>
                      <a:cubicBezTo>
                        <a:pt x="19962" y="44117"/>
                        <a:pt x="15811" y="46594"/>
                        <a:pt x="11466" y="46594"/>
                      </a:cubicBezTo>
                      <a:close/>
                    </a:path>
                  </a:pathLst>
                </a:custGeom>
                <a:solidFill>
                  <a:schemeClr val="accent1"/>
                </a:solidFill>
                <a:ln w="1145" cap="flat">
                  <a:noFill/>
                  <a:prstDash val="solid"/>
                  <a:miter/>
                </a:ln>
              </p:spPr>
              <p:txBody>
                <a:bodyPr rtlCol="0" anchor="ctr"/>
                <a:lstStyle/>
                <a:p>
                  <a:endParaRPr lang="en-GB" dirty="0"/>
                </a:p>
              </p:txBody>
            </p:sp>
            <p:sp>
              <p:nvSpPr>
                <p:cNvPr id="669" name="Freeform: Shape 668">
                  <a:extLst>
                    <a:ext uri="{FF2B5EF4-FFF2-40B4-BE49-F238E27FC236}">
                      <a16:creationId xmlns:a16="http://schemas.microsoft.com/office/drawing/2014/main" id="{2C9EA152-D5C9-4783-9FED-1CA65E6FAB20}"/>
                    </a:ext>
                  </a:extLst>
                </p:cNvPr>
                <p:cNvSpPr/>
                <p:nvPr/>
              </p:nvSpPr>
              <p:spPr>
                <a:xfrm>
                  <a:off x="2419009" y="218414"/>
                  <a:ext cx="34168" cy="47440"/>
                </a:xfrm>
                <a:custGeom>
                  <a:avLst/>
                  <a:gdLst>
                    <a:gd name="connsiteX0" fmla="*/ 11466 w 34168"/>
                    <a:gd name="connsiteY0" fmla="*/ 47440 h 47440"/>
                    <a:gd name="connsiteX1" fmla="*/ 6696 w 34168"/>
                    <a:gd name="connsiteY1" fmla="*/ 46397 h 47440"/>
                    <a:gd name="connsiteX2" fmla="*/ 1044 w 34168"/>
                    <a:gd name="connsiteY2" fmla="*/ 31194 h 47440"/>
                    <a:gd name="connsiteX3" fmla="*/ 12268 w 34168"/>
                    <a:gd name="connsiteY3" fmla="*/ 6703 h 47440"/>
                    <a:gd name="connsiteX4" fmla="*/ 27472 w 34168"/>
                    <a:gd name="connsiteY4" fmla="*/ 1050 h 47440"/>
                    <a:gd name="connsiteX5" fmla="*/ 33124 w 34168"/>
                    <a:gd name="connsiteY5" fmla="*/ 16254 h 47440"/>
                    <a:gd name="connsiteX6" fmla="*/ 21900 w 34168"/>
                    <a:gd name="connsiteY6" fmla="*/ 40744 h 47440"/>
                    <a:gd name="connsiteX7" fmla="*/ 11466 w 34168"/>
                    <a:gd name="connsiteY7" fmla="*/ 47440 h 4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68" h="47440">
                      <a:moveTo>
                        <a:pt x="11466" y="47440"/>
                      </a:moveTo>
                      <a:cubicBezTo>
                        <a:pt x="9861" y="47440"/>
                        <a:pt x="8244" y="47108"/>
                        <a:pt x="6696" y="46397"/>
                      </a:cubicBezTo>
                      <a:cubicBezTo>
                        <a:pt x="940" y="43760"/>
                        <a:pt x="-1594" y="36949"/>
                        <a:pt x="1044" y="31194"/>
                      </a:cubicBezTo>
                      <a:lnTo>
                        <a:pt x="12268" y="6703"/>
                      </a:lnTo>
                      <a:cubicBezTo>
                        <a:pt x="14906" y="936"/>
                        <a:pt x="21728" y="-1598"/>
                        <a:pt x="27472" y="1050"/>
                      </a:cubicBezTo>
                      <a:cubicBezTo>
                        <a:pt x="33228" y="3687"/>
                        <a:pt x="35762" y="10498"/>
                        <a:pt x="33124" y="16254"/>
                      </a:cubicBezTo>
                      <a:lnTo>
                        <a:pt x="21900" y="40744"/>
                      </a:lnTo>
                      <a:cubicBezTo>
                        <a:pt x="19962" y="44964"/>
                        <a:pt x="15811" y="47440"/>
                        <a:pt x="11466" y="47440"/>
                      </a:cubicBezTo>
                      <a:close/>
                    </a:path>
                  </a:pathLst>
                </a:custGeom>
                <a:solidFill>
                  <a:schemeClr val="accent1"/>
                </a:solidFill>
                <a:ln w="1145" cap="flat">
                  <a:noFill/>
                  <a:prstDash val="solid"/>
                  <a:miter/>
                </a:ln>
              </p:spPr>
              <p:txBody>
                <a:bodyPr rtlCol="0" anchor="ctr"/>
                <a:lstStyle/>
                <a:p>
                  <a:endParaRPr lang="en-GB" dirty="0"/>
                </a:p>
              </p:txBody>
            </p:sp>
          </p:grpSp>
          <p:sp>
            <p:nvSpPr>
              <p:cNvPr id="654" name="Freeform: Shape 653">
                <a:extLst>
                  <a:ext uri="{FF2B5EF4-FFF2-40B4-BE49-F238E27FC236}">
                    <a16:creationId xmlns:a16="http://schemas.microsoft.com/office/drawing/2014/main" id="{455FC3DD-9706-4A46-A779-188DD21C670C}"/>
                  </a:ext>
                </a:extLst>
              </p:cNvPr>
              <p:cNvSpPr/>
              <p:nvPr/>
            </p:nvSpPr>
            <p:spPr>
              <a:xfrm>
                <a:off x="2294395" y="326549"/>
                <a:ext cx="35313" cy="27097"/>
              </a:xfrm>
              <a:custGeom>
                <a:avLst/>
                <a:gdLst>
                  <a:gd name="connsiteX0" fmla="*/ 11471 w 35313"/>
                  <a:gd name="connsiteY0" fmla="*/ 27098 h 27097"/>
                  <a:gd name="connsiteX1" fmla="*/ 602 w 35313"/>
                  <a:gd name="connsiteY1" fmla="*/ 19278 h 27097"/>
                  <a:gd name="connsiteX2" fmla="*/ 7814 w 35313"/>
                  <a:gd name="connsiteY2" fmla="*/ 4763 h 27097"/>
                  <a:gd name="connsiteX3" fmla="*/ 20197 w 35313"/>
                  <a:gd name="connsiteY3" fmla="*/ 601 h 27097"/>
                  <a:gd name="connsiteX4" fmla="*/ 34712 w 35313"/>
                  <a:gd name="connsiteY4" fmla="*/ 7812 h 27097"/>
                  <a:gd name="connsiteX5" fmla="*/ 27500 w 35313"/>
                  <a:gd name="connsiteY5" fmla="*/ 22328 h 27097"/>
                  <a:gd name="connsiteX6" fmla="*/ 15117 w 35313"/>
                  <a:gd name="connsiteY6" fmla="*/ 26490 h 27097"/>
                  <a:gd name="connsiteX7" fmla="*/ 11471 w 35313"/>
                  <a:gd name="connsiteY7" fmla="*/ 27098 h 27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3" h="27097">
                    <a:moveTo>
                      <a:pt x="11471" y="27098"/>
                    </a:moveTo>
                    <a:cubicBezTo>
                      <a:pt x="6678" y="27098"/>
                      <a:pt x="2207" y="24071"/>
                      <a:pt x="602" y="19278"/>
                    </a:cubicBezTo>
                    <a:cubicBezTo>
                      <a:pt x="-1416" y="13282"/>
                      <a:pt x="1806" y="6781"/>
                      <a:pt x="7814" y="4763"/>
                    </a:cubicBezTo>
                    <a:lnTo>
                      <a:pt x="20197" y="601"/>
                    </a:lnTo>
                    <a:cubicBezTo>
                      <a:pt x="26193" y="-1417"/>
                      <a:pt x="32694" y="1816"/>
                      <a:pt x="34712" y="7812"/>
                    </a:cubicBezTo>
                    <a:cubicBezTo>
                      <a:pt x="36730" y="13809"/>
                      <a:pt x="33508" y="20310"/>
                      <a:pt x="27500" y="22328"/>
                    </a:cubicBezTo>
                    <a:lnTo>
                      <a:pt x="15117" y="26490"/>
                    </a:lnTo>
                    <a:cubicBezTo>
                      <a:pt x="13913" y="26903"/>
                      <a:pt x="12686" y="27098"/>
                      <a:pt x="11471" y="27098"/>
                    </a:cubicBezTo>
                    <a:close/>
                  </a:path>
                </a:pathLst>
              </a:custGeom>
              <a:solidFill>
                <a:schemeClr val="accent1"/>
              </a:solidFill>
              <a:ln w="1145" cap="flat">
                <a:noFill/>
                <a:prstDash val="solid"/>
                <a:miter/>
              </a:ln>
            </p:spPr>
            <p:txBody>
              <a:bodyPr rtlCol="0" anchor="ctr"/>
              <a:lstStyle/>
              <a:p>
                <a:endParaRPr lang="en-GB" dirty="0"/>
              </a:p>
            </p:txBody>
          </p:sp>
          <p:sp>
            <p:nvSpPr>
              <p:cNvPr id="655" name="Freeform: Shape 654">
                <a:extLst>
                  <a:ext uri="{FF2B5EF4-FFF2-40B4-BE49-F238E27FC236}">
                    <a16:creationId xmlns:a16="http://schemas.microsoft.com/office/drawing/2014/main" id="{D11B0644-4277-493D-A768-76235EA64BD1}"/>
                  </a:ext>
                </a:extLst>
              </p:cNvPr>
              <p:cNvSpPr/>
              <p:nvPr/>
            </p:nvSpPr>
            <p:spPr>
              <a:xfrm>
                <a:off x="2357991" y="436465"/>
                <a:ext cx="37924" cy="36665"/>
              </a:xfrm>
              <a:custGeom>
                <a:avLst/>
                <a:gdLst>
                  <a:gd name="connsiteX0" fmla="*/ 11475 w 37924"/>
                  <a:gd name="connsiteY0" fmla="*/ 36665 h 36665"/>
                  <a:gd name="connsiteX1" fmla="*/ 3013 w 37924"/>
                  <a:gd name="connsiteY1" fmla="*/ 32950 h 36665"/>
                  <a:gd name="connsiteX2" fmla="*/ 3724 w 37924"/>
                  <a:gd name="connsiteY2" fmla="*/ 16749 h 36665"/>
                  <a:gd name="connsiteX3" fmla="*/ 18710 w 37924"/>
                  <a:gd name="connsiteY3" fmla="*/ 3013 h 36665"/>
                  <a:gd name="connsiteX4" fmla="*/ 34911 w 37924"/>
                  <a:gd name="connsiteY4" fmla="*/ 3724 h 36665"/>
                  <a:gd name="connsiteX5" fmla="*/ 34200 w 37924"/>
                  <a:gd name="connsiteY5" fmla="*/ 19925 h 36665"/>
                  <a:gd name="connsiteX6" fmla="*/ 19214 w 37924"/>
                  <a:gd name="connsiteY6" fmla="*/ 33661 h 36665"/>
                  <a:gd name="connsiteX7" fmla="*/ 11475 w 37924"/>
                  <a:gd name="connsiteY7" fmla="*/ 36665 h 3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24" h="36665">
                    <a:moveTo>
                      <a:pt x="11475" y="36665"/>
                    </a:moveTo>
                    <a:cubicBezTo>
                      <a:pt x="8368" y="36665"/>
                      <a:pt x="5272" y="35415"/>
                      <a:pt x="3013" y="32950"/>
                    </a:cubicBezTo>
                    <a:cubicBezTo>
                      <a:pt x="-1263" y="28284"/>
                      <a:pt x="-954" y="21026"/>
                      <a:pt x="3724" y="16749"/>
                    </a:cubicBezTo>
                    <a:lnTo>
                      <a:pt x="18710" y="3013"/>
                    </a:lnTo>
                    <a:cubicBezTo>
                      <a:pt x="23376" y="-1263"/>
                      <a:pt x="30634" y="-954"/>
                      <a:pt x="34911" y="3724"/>
                    </a:cubicBezTo>
                    <a:cubicBezTo>
                      <a:pt x="39188" y="8402"/>
                      <a:pt x="38878" y="15649"/>
                      <a:pt x="34200" y="19925"/>
                    </a:cubicBezTo>
                    <a:lnTo>
                      <a:pt x="19214" y="33661"/>
                    </a:lnTo>
                    <a:cubicBezTo>
                      <a:pt x="17013" y="35668"/>
                      <a:pt x="14238" y="36665"/>
                      <a:pt x="11475" y="36665"/>
                    </a:cubicBezTo>
                    <a:close/>
                  </a:path>
                </a:pathLst>
              </a:custGeom>
              <a:solidFill>
                <a:schemeClr val="accent1"/>
              </a:solidFill>
              <a:ln w="1145" cap="flat">
                <a:noFill/>
                <a:prstDash val="solid"/>
                <a:miter/>
              </a:ln>
            </p:spPr>
            <p:txBody>
              <a:bodyPr rtlCol="0" anchor="ctr"/>
              <a:lstStyle/>
              <a:p>
                <a:endParaRPr lang="en-GB" dirty="0"/>
              </a:p>
            </p:txBody>
          </p:sp>
          <p:sp>
            <p:nvSpPr>
              <p:cNvPr id="656" name="Freeform: Shape 655">
                <a:extLst>
                  <a:ext uri="{FF2B5EF4-FFF2-40B4-BE49-F238E27FC236}">
                    <a16:creationId xmlns:a16="http://schemas.microsoft.com/office/drawing/2014/main" id="{4DC713F5-3ABF-4E02-B45E-92177A4036E3}"/>
                  </a:ext>
                </a:extLst>
              </p:cNvPr>
              <p:cNvSpPr/>
              <p:nvPr/>
            </p:nvSpPr>
            <p:spPr>
              <a:xfrm>
                <a:off x="2432938" y="368996"/>
                <a:ext cx="32934" cy="44180"/>
              </a:xfrm>
              <a:custGeom>
                <a:avLst/>
                <a:gdLst>
                  <a:gd name="connsiteX0" fmla="*/ 21466 w 32934"/>
                  <a:gd name="connsiteY0" fmla="*/ 44180 h 44180"/>
                  <a:gd name="connsiteX1" fmla="*/ 11090 w 32934"/>
                  <a:gd name="connsiteY1" fmla="*/ 37599 h 44180"/>
                  <a:gd name="connsiteX2" fmla="*/ 1092 w 32934"/>
                  <a:gd name="connsiteY2" fmla="*/ 16365 h 44180"/>
                  <a:gd name="connsiteX3" fmla="*/ 6584 w 32934"/>
                  <a:gd name="connsiteY3" fmla="*/ 1104 h 44180"/>
                  <a:gd name="connsiteX4" fmla="*/ 21845 w 32934"/>
                  <a:gd name="connsiteY4" fmla="*/ 6596 h 44180"/>
                  <a:gd name="connsiteX5" fmla="*/ 31843 w 32934"/>
                  <a:gd name="connsiteY5" fmla="*/ 27830 h 44180"/>
                  <a:gd name="connsiteX6" fmla="*/ 26351 w 32934"/>
                  <a:gd name="connsiteY6" fmla="*/ 43091 h 44180"/>
                  <a:gd name="connsiteX7" fmla="*/ 21466 w 32934"/>
                  <a:gd name="connsiteY7" fmla="*/ 44180 h 4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34" h="44180">
                    <a:moveTo>
                      <a:pt x="21466" y="44180"/>
                    </a:moveTo>
                    <a:cubicBezTo>
                      <a:pt x="17167" y="44180"/>
                      <a:pt x="13039" y="41750"/>
                      <a:pt x="11090" y="37599"/>
                    </a:cubicBezTo>
                    <a:lnTo>
                      <a:pt x="1092" y="16365"/>
                    </a:lnTo>
                    <a:cubicBezTo>
                      <a:pt x="-1603" y="10632"/>
                      <a:pt x="863" y="3810"/>
                      <a:pt x="6584" y="1104"/>
                    </a:cubicBezTo>
                    <a:cubicBezTo>
                      <a:pt x="12317" y="-1614"/>
                      <a:pt x="19150" y="863"/>
                      <a:pt x="21845" y="6596"/>
                    </a:cubicBezTo>
                    <a:lnTo>
                      <a:pt x="31843" y="27830"/>
                    </a:lnTo>
                    <a:cubicBezTo>
                      <a:pt x="34537" y="33563"/>
                      <a:pt x="32072" y="40385"/>
                      <a:pt x="26351" y="43091"/>
                    </a:cubicBezTo>
                    <a:cubicBezTo>
                      <a:pt x="24757" y="43836"/>
                      <a:pt x="23095" y="44180"/>
                      <a:pt x="21466" y="44180"/>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39" name="Group 38">
            <a:extLst>
              <a:ext uri="{FF2B5EF4-FFF2-40B4-BE49-F238E27FC236}">
                <a16:creationId xmlns:a16="http://schemas.microsoft.com/office/drawing/2014/main" id="{EF8C383A-4509-8C87-F717-11CC02ADC41E}"/>
              </a:ext>
            </a:extLst>
          </p:cNvPr>
          <p:cNvGrpSpPr/>
          <p:nvPr/>
        </p:nvGrpSpPr>
        <p:grpSpPr>
          <a:xfrm>
            <a:off x="8129309" y="3209003"/>
            <a:ext cx="426718" cy="426718"/>
            <a:chOff x="8128897" y="3209003"/>
            <a:chExt cx="426718" cy="426718"/>
          </a:xfrm>
        </p:grpSpPr>
        <p:grpSp>
          <p:nvGrpSpPr>
            <p:cNvPr id="707" name="Graphic 48">
              <a:extLst>
                <a:ext uri="{FF2B5EF4-FFF2-40B4-BE49-F238E27FC236}">
                  <a16:creationId xmlns:a16="http://schemas.microsoft.com/office/drawing/2014/main" id="{D206FB0A-63BC-4858-8537-D320D8CD4ACC}"/>
                </a:ext>
              </a:extLst>
            </p:cNvPr>
            <p:cNvGrpSpPr/>
            <p:nvPr/>
          </p:nvGrpSpPr>
          <p:grpSpPr>
            <a:xfrm>
              <a:off x="8180058" y="3260771"/>
              <a:ext cx="322703" cy="322676"/>
              <a:chOff x="3538266" y="96781"/>
              <a:chExt cx="572275" cy="572228"/>
            </a:xfrm>
            <a:solidFill>
              <a:schemeClr val="tx2"/>
            </a:solidFill>
          </p:grpSpPr>
          <p:grpSp>
            <p:nvGrpSpPr>
              <p:cNvPr id="711" name="Graphic 48">
                <a:extLst>
                  <a:ext uri="{FF2B5EF4-FFF2-40B4-BE49-F238E27FC236}">
                    <a16:creationId xmlns:a16="http://schemas.microsoft.com/office/drawing/2014/main" id="{A36CEF65-1576-474F-8482-30B3E53FED11}"/>
                  </a:ext>
                </a:extLst>
              </p:cNvPr>
              <p:cNvGrpSpPr/>
              <p:nvPr/>
            </p:nvGrpSpPr>
            <p:grpSpPr>
              <a:xfrm>
                <a:off x="3538266" y="96781"/>
                <a:ext cx="572275" cy="572228"/>
                <a:chOff x="3538266" y="96781"/>
                <a:chExt cx="572275" cy="572228"/>
              </a:xfrm>
              <a:grpFill/>
            </p:grpSpPr>
            <p:sp>
              <p:nvSpPr>
                <p:cNvPr id="715" name="Freeform: Shape 714">
                  <a:extLst>
                    <a:ext uri="{FF2B5EF4-FFF2-40B4-BE49-F238E27FC236}">
                      <a16:creationId xmlns:a16="http://schemas.microsoft.com/office/drawing/2014/main" id="{7B68765F-9696-4C44-809F-4B4C06526B0E}"/>
                    </a:ext>
                  </a:extLst>
                </p:cNvPr>
                <p:cNvSpPr/>
                <p:nvPr/>
              </p:nvSpPr>
              <p:spPr>
                <a:xfrm>
                  <a:off x="3650067" y="208216"/>
                  <a:ext cx="348682" cy="348693"/>
                </a:xfrm>
                <a:custGeom>
                  <a:avLst/>
                  <a:gdLst>
                    <a:gd name="connsiteX0" fmla="*/ 174335 w 348682"/>
                    <a:gd name="connsiteY0" fmla="*/ 348694 h 348693"/>
                    <a:gd name="connsiteX1" fmla="*/ 0 w 348682"/>
                    <a:gd name="connsiteY1" fmla="*/ 174347 h 348693"/>
                    <a:gd name="connsiteX2" fmla="*/ 174335 w 348682"/>
                    <a:gd name="connsiteY2" fmla="*/ 0 h 348693"/>
                    <a:gd name="connsiteX3" fmla="*/ 348683 w 348682"/>
                    <a:gd name="connsiteY3" fmla="*/ 174347 h 348693"/>
                    <a:gd name="connsiteX4" fmla="*/ 174335 w 348682"/>
                    <a:gd name="connsiteY4" fmla="*/ 348694 h 348693"/>
                    <a:gd name="connsiteX5" fmla="*/ 174335 w 348682"/>
                    <a:gd name="connsiteY5" fmla="*/ 22943 h 348693"/>
                    <a:gd name="connsiteX6" fmla="*/ 22931 w 348682"/>
                    <a:gd name="connsiteY6" fmla="*/ 174358 h 348693"/>
                    <a:gd name="connsiteX7" fmla="*/ 174335 w 348682"/>
                    <a:gd name="connsiteY7" fmla="*/ 325774 h 348693"/>
                    <a:gd name="connsiteX8" fmla="*/ 325751 w 348682"/>
                    <a:gd name="connsiteY8" fmla="*/ 174358 h 348693"/>
                    <a:gd name="connsiteX9" fmla="*/ 174335 w 348682"/>
                    <a:gd name="connsiteY9" fmla="*/ 22943 h 348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8682" h="348693">
                      <a:moveTo>
                        <a:pt x="174335" y="348694"/>
                      </a:moveTo>
                      <a:cubicBezTo>
                        <a:pt x="78207" y="348694"/>
                        <a:pt x="0" y="270487"/>
                        <a:pt x="0" y="174347"/>
                      </a:cubicBezTo>
                      <a:cubicBezTo>
                        <a:pt x="0" y="78207"/>
                        <a:pt x="78207" y="0"/>
                        <a:pt x="174335" y="0"/>
                      </a:cubicBezTo>
                      <a:cubicBezTo>
                        <a:pt x="270464" y="0"/>
                        <a:pt x="348683" y="78207"/>
                        <a:pt x="348683" y="174347"/>
                      </a:cubicBezTo>
                      <a:cubicBezTo>
                        <a:pt x="348683" y="270487"/>
                        <a:pt x="270464" y="348694"/>
                        <a:pt x="174335" y="348694"/>
                      </a:cubicBezTo>
                      <a:close/>
                      <a:moveTo>
                        <a:pt x="174335" y="22943"/>
                      </a:moveTo>
                      <a:cubicBezTo>
                        <a:pt x="90854" y="22943"/>
                        <a:pt x="22931" y="90865"/>
                        <a:pt x="22931" y="174358"/>
                      </a:cubicBezTo>
                      <a:cubicBezTo>
                        <a:pt x="22931" y="257851"/>
                        <a:pt x="90854" y="325774"/>
                        <a:pt x="174335" y="325774"/>
                      </a:cubicBezTo>
                      <a:cubicBezTo>
                        <a:pt x="257829" y="325774"/>
                        <a:pt x="325751" y="257851"/>
                        <a:pt x="325751" y="174358"/>
                      </a:cubicBezTo>
                      <a:cubicBezTo>
                        <a:pt x="325751" y="90865"/>
                        <a:pt x="257829" y="22943"/>
                        <a:pt x="174335" y="22943"/>
                      </a:cubicBezTo>
                      <a:close/>
                    </a:path>
                  </a:pathLst>
                </a:custGeom>
                <a:grpFill/>
                <a:ln w="1145" cap="flat">
                  <a:noFill/>
                  <a:prstDash val="solid"/>
                  <a:miter/>
                </a:ln>
              </p:spPr>
              <p:txBody>
                <a:bodyPr rtlCol="0" anchor="ctr"/>
                <a:lstStyle/>
                <a:p>
                  <a:endParaRPr lang="en-GB" dirty="0"/>
                </a:p>
              </p:txBody>
            </p:sp>
            <p:grpSp>
              <p:nvGrpSpPr>
                <p:cNvPr id="716" name="Graphic 48">
                  <a:extLst>
                    <a:ext uri="{FF2B5EF4-FFF2-40B4-BE49-F238E27FC236}">
                      <a16:creationId xmlns:a16="http://schemas.microsoft.com/office/drawing/2014/main" id="{AD174095-5B9E-45CF-BF05-ED9BC71A4B69}"/>
                    </a:ext>
                  </a:extLst>
                </p:cNvPr>
                <p:cNvGrpSpPr/>
                <p:nvPr/>
              </p:nvGrpSpPr>
              <p:grpSpPr>
                <a:xfrm>
                  <a:off x="3538266" y="334338"/>
                  <a:ext cx="134377" cy="95749"/>
                  <a:chOff x="3538266" y="334338"/>
                  <a:chExt cx="134377" cy="95749"/>
                </a:xfrm>
                <a:grpFill/>
              </p:grpSpPr>
              <p:sp>
                <p:nvSpPr>
                  <p:cNvPr id="748" name="Freeform: Shape 747">
                    <a:extLst>
                      <a:ext uri="{FF2B5EF4-FFF2-40B4-BE49-F238E27FC236}">
                        <a16:creationId xmlns:a16="http://schemas.microsoft.com/office/drawing/2014/main" id="{A76D56D2-1CCA-43D4-9033-50BC18EAADA4}"/>
                      </a:ext>
                    </a:extLst>
                  </p:cNvPr>
                  <p:cNvSpPr/>
                  <p:nvPr/>
                </p:nvSpPr>
                <p:spPr>
                  <a:xfrm>
                    <a:off x="3538266" y="334338"/>
                    <a:ext cx="82942" cy="95749"/>
                  </a:xfrm>
                  <a:custGeom>
                    <a:avLst/>
                    <a:gdLst>
                      <a:gd name="connsiteX0" fmla="*/ 35223 w 82942"/>
                      <a:gd name="connsiteY0" fmla="*/ 95750 h 95749"/>
                      <a:gd name="connsiteX1" fmla="*/ 0 w 82942"/>
                      <a:gd name="connsiteY1" fmla="*/ 48030 h 95749"/>
                      <a:gd name="connsiteX2" fmla="*/ 33973 w 82942"/>
                      <a:gd name="connsiteY2" fmla="*/ 0 h 95749"/>
                      <a:gd name="connsiteX3" fmla="*/ 82943 w 82942"/>
                      <a:gd name="connsiteY3" fmla="*/ 48030 h 95749"/>
                      <a:gd name="connsiteX4" fmla="*/ 35223 w 82942"/>
                      <a:gd name="connsiteY4" fmla="*/ 95750 h 95749"/>
                      <a:gd name="connsiteX5" fmla="*/ 33973 w 82942"/>
                      <a:gd name="connsiteY5" fmla="*/ 22931 h 95749"/>
                      <a:gd name="connsiteX6" fmla="*/ 22931 w 82942"/>
                      <a:gd name="connsiteY6" fmla="*/ 48030 h 95749"/>
                      <a:gd name="connsiteX7" fmla="*/ 35223 w 82942"/>
                      <a:gd name="connsiteY7" fmla="*/ 72818 h 95749"/>
                      <a:gd name="connsiteX8" fmla="*/ 60011 w 82942"/>
                      <a:gd name="connsiteY8" fmla="*/ 48030 h 95749"/>
                      <a:gd name="connsiteX9" fmla="*/ 33973 w 82942"/>
                      <a:gd name="connsiteY9" fmla="*/ 22931 h 95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942" h="95749">
                        <a:moveTo>
                          <a:pt x="35223" y="95750"/>
                        </a:moveTo>
                        <a:cubicBezTo>
                          <a:pt x="14481" y="95750"/>
                          <a:pt x="0" y="76132"/>
                          <a:pt x="0" y="48030"/>
                        </a:cubicBezTo>
                        <a:cubicBezTo>
                          <a:pt x="0" y="18850"/>
                          <a:pt x="13335" y="0"/>
                          <a:pt x="33973" y="0"/>
                        </a:cubicBezTo>
                        <a:cubicBezTo>
                          <a:pt x="57776" y="0"/>
                          <a:pt x="82943" y="24686"/>
                          <a:pt x="82943" y="48030"/>
                        </a:cubicBezTo>
                        <a:cubicBezTo>
                          <a:pt x="82943" y="71672"/>
                          <a:pt x="58853" y="95750"/>
                          <a:pt x="35223" y="95750"/>
                        </a:cubicBezTo>
                        <a:close/>
                        <a:moveTo>
                          <a:pt x="33973" y="22931"/>
                        </a:moveTo>
                        <a:cubicBezTo>
                          <a:pt x="25236" y="22931"/>
                          <a:pt x="22931" y="39350"/>
                          <a:pt x="22931" y="48030"/>
                        </a:cubicBezTo>
                        <a:cubicBezTo>
                          <a:pt x="22931" y="57993"/>
                          <a:pt x="26211" y="72818"/>
                          <a:pt x="35223" y="72818"/>
                        </a:cubicBezTo>
                        <a:cubicBezTo>
                          <a:pt x="45014" y="72818"/>
                          <a:pt x="60011" y="59518"/>
                          <a:pt x="60011" y="48030"/>
                        </a:cubicBezTo>
                        <a:cubicBezTo>
                          <a:pt x="60011" y="36633"/>
                          <a:pt x="44017" y="22931"/>
                          <a:pt x="33973" y="22931"/>
                        </a:cubicBezTo>
                        <a:close/>
                      </a:path>
                    </a:pathLst>
                  </a:custGeom>
                  <a:grpFill/>
                  <a:ln w="1145" cap="flat">
                    <a:noFill/>
                    <a:prstDash val="solid"/>
                    <a:miter/>
                  </a:ln>
                </p:spPr>
                <p:txBody>
                  <a:bodyPr rtlCol="0" anchor="ctr"/>
                  <a:lstStyle/>
                  <a:p>
                    <a:endParaRPr lang="en-GB" dirty="0"/>
                  </a:p>
                </p:txBody>
              </p:sp>
              <p:sp>
                <p:nvSpPr>
                  <p:cNvPr id="749" name="Freeform: Shape 748">
                    <a:extLst>
                      <a:ext uri="{FF2B5EF4-FFF2-40B4-BE49-F238E27FC236}">
                        <a16:creationId xmlns:a16="http://schemas.microsoft.com/office/drawing/2014/main" id="{26180321-72BC-41CC-B5FC-1A1736375C04}"/>
                      </a:ext>
                    </a:extLst>
                  </p:cNvPr>
                  <p:cNvSpPr/>
                  <p:nvPr/>
                </p:nvSpPr>
                <p:spPr>
                  <a:xfrm>
                    <a:off x="3598277" y="370925"/>
                    <a:ext cx="74366" cy="22931"/>
                  </a:xfrm>
                  <a:custGeom>
                    <a:avLst/>
                    <a:gdLst>
                      <a:gd name="connsiteX0" fmla="*/ 62901 w 74366"/>
                      <a:gd name="connsiteY0" fmla="*/ 22931 h 22931"/>
                      <a:gd name="connsiteX1" fmla="*/ 11466 w 74366"/>
                      <a:gd name="connsiteY1" fmla="*/ 22931 h 22931"/>
                      <a:gd name="connsiteX2" fmla="*/ 0 w 74366"/>
                      <a:gd name="connsiteY2" fmla="*/ 11466 h 22931"/>
                      <a:gd name="connsiteX3" fmla="*/ 11466 w 74366"/>
                      <a:gd name="connsiteY3" fmla="*/ 0 h 22931"/>
                      <a:gd name="connsiteX4" fmla="*/ 62901 w 74366"/>
                      <a:gd name="connsiteY4" fmla="*/ 0 h 22931"/>
                      <a:gd name="connsiteX5" fmla="*/ 74366 w 74366"/>
                      <a:gd name="connsiteY5" fmla="*/ 11466 h 22931"/>
                      <a:gd name="connsiteX6" fmla="*/ 62901 w 74366"/>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366" h="22931">
                        <a:moveTo>
                          <a:pt x="62901" y="22931"/>
                        </a:moveTo>
                        <a:lnTo>
                          <a:pt x="11466" y="22931"/>
                        </a:lnTo>
                        <a:cubicBezTo>
                          <a:pt x="5137" y="22931"/>
                          <a:pt x="0" y="17795"/>
                          <a:pt x="0" y="11466"/>
                        </a:cubicBezTo>
                        <a:cubicBezTo>
                          <a:pt x="0" y="5137"/>
                          <a:pt x="5137" y="0"/>
                          <a:pt x="11466" y="0"/>
                        </a:cubicBezTo>
                        <a:lnTo>
                          <a:pt x="62901" y="0"/>
                        </a:lnTo>
                        <a:cubicBezTo>
                          <a:pt x="69230" y="0"/>
                          <a:pt x="74366" y="5137"/>
                          <a:pt x="74366" y="11466"/>
                        </a:cubicBezTo>
                        <a:cubicBezTo>
                          <a:pt x="74366" y="17795"/>
                          <a:pt x="69230" y="22931"/>
                          <a:pt x="62901" y="22931"/>
                        </a:cubicBezTo>
                        <a:close/>
                      </a:path>
                    </a:pathLst>
                  </a:custGeom>
                  <a:grpFill/>
                  <a:ln w="1145" cap="flat">
                    <a:noFill/>
                    <a:prstDash val="solid"/>
                    <a:miter/>
                  </a:ln>
                </p:spPr>
                <p:txBody>
                  <a:bodyPr rtlCol="0" anchor="ctr"/>
                  <a:lstStyle/>
                  <a:p>
                    <a:endParaRPr lang="en-GB" dirty="0"/>
                  </a:p>
                </p:txBody>
              </p:sp>
            </p:grpSp>
            <p:grpSp>
              <p:nvGrpSpPr>
                <p:cNvPr id="717" name="Graphic 48">
                  <a:extLst>
                    <a:ext uri="{FF2B5EF4-FFF2-40B4-BE49-F238E27FC236}">
                      <a16:creationId xmlns:a16="http://schemas.microsoft.com/office/drawing/2014/main" id="{C40B6496-E6E5-4299-8D9F-D962FE95D2B4}"/>
                    </a:ext>
                  </a:extLst>
                </p:cNvPr>
                <p:cNvGrpSpPr/>
                <p:nvPr/>
              </p:nvGrpSpPr>
              <p:grpSpPr>
                <a:xfrm>
                  <a:off x="3976174" y="334178"/>
                  <a:ext cx="134367" cy="95761"/>
                  <a:chOff x="3976174" y="334178"/>
                  <a:chExt cx="134367" cy="95761"/>
                </a:xfrm>
                <a:grpFill/>
              </p:grpSpPr>
              <p:sp>
                <p:nvSpPr>
                  <p:cNvPr id="746" name="Freeform: Shape 745">
                    <a:extLst>
                      <a:ext uri="{FF2B5EF4-FFF2-40B4-BE49-F238E27FC236}">
                        <a16:creationId xmlns:a16="http://schemas.microsoft.com/office/drawing/2014/main" id="{99784C43-6588-42C9-B582-C901C5735121}"/>
                      </a:ext>
                    </a:extLst>
                  </p:cNvPr>
                  <p:cNvSpPr/>
                  <p:nvPr/>
                </p:nvSpPr>
                <p:spPr>
                  <a:xfrm>
                    <a:off x="4027608" y="334178"/>
                    <a:ext cx="82932" cy="95761"/>
                  </a:xfrm>
                  <a:custGeom>
                    <a:avLst/>
                    <a:gdLst>
                      <a:gd name="connsiteX0" fmla="*/ 47789 w 82932"/>
                      <a:gd name="connsiteY0" fmla="*/ 95761 h 95761"/>
                      <a:gd name="connsiteX1" fmla="*/ 0 w 82932"/>
                      <a:gd name="connsiteY1" fmla="*/ 48270 h 95761"/>
                      <a:gd name="connsiteX2" fmla="*/ 48741 w 82932"/>
                      <a:gd name="connsiteY2" fmla="*/ 0 h 95761"/>
                      <a:gd name="connsiteX3" fmla="*/ 48741 w 82932"/>
                      <a:gd name="connsiteY3" fmla="*/ 0 h 95761"/>
                      <a:gd name="connsiteX4" fmla="*/ 48902 w 82932"/>
                      <a:gd name="connsiteY4" fmla="*/ 0 h 95761"/>
                      <a:gd name="connsiteX5" fmla="*/ 82932 w 82932"/>
                      <a:gd name="connsiteY5" fmla="*/ 47869 h 95761"/>
                      <a:gd name="connsiteX6" fmla="*/ 47950 w 82932"/>
                      <a:gd name="connsiteY6" fmla="*/ 95761 h 95761"/>
                      <a:gd name="connsiteX7" fmla="*/ 47789 w 82932"/>
                      <a:gd name="connsiteY7" fmla="*/ 95761 h 95761"/>
                      <a:gd name="connsiteX8" fmla="*/ 48844 w 82932"/>
                      <a:gd name="connsiteY8" fmla="*/ 22931 h 95761"/>
                      <a:gd name="connsiteX9" fmla="*/ 22920 w 82932"/>
                      <a:gd name="connsiteY9" fmla="*/ 48156 h 95761"/>
                      <a:gd name="connsiteX10" fmla="*/ 47778 w 82932"/>
                      <a:gd name="connsiteY10" fmla="*/ 72830 h 95761"/>
                      <a:gd name="connsiteX11" fmla="*/ 47824 w 82932"/>
                      <a:gd name="connsiteY11" fmla="*/ 72830 h 95761"/>
                      <a:gd name="connsiteX12" fmla="*/ 59989 w 82932"/>
                      <a:gd name="connsiteY12" fmla="*/ 47984 h 95761"/>
                      <a:gd name="connsiteX13" fmla="*/ 48867 w 82932"/>
                      <a:gd name="connsiteY13" fmla="*/ 22931 h 95761"/>
                      <a:gd name="connsiteX14" fmla="*/ 48844 w 82932"/>
                      <a:gd name="connsiteY14" fmla="*/ 22931 h 95761"/>
                      <a:gd name="connsiteX15" fmla="*/ 48844 w 82932"/>
                      <a:gd name="connsiteY15" fmla="*/ 22931 h 9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2932" h="95761">
                        <a:moveTo>
                          <a:pt x="47789" y="95761"/>
                        </a:moveTo>
                        <a:cubicBezTo>
                          <a:pt x="24193" y="95761"/>
                          <a:pt x="115" y="71855"/>
                          <a:pt x="0" y="48270"/>
                        </a:cubicBezTo>
                        <a:cubicBezTo>
                          <a:pt x="-114" y="24926"/>
                          <a:pt x="24938" y="126"/>
                          <a:pt x="48741" y="0"/>
                        </a:cubicBezTo>
                        <a:lnTo>
                          <a:pt x="48741" y="0"/>
                        </a:lnTo>
                        <a:cubicBezTo>
                          <a:pt x="48798" y="0"/>
                          <a:pt x="48844" y="0"/>
                          <a:pt x="48902" y="0"/>
                        </a:cubicBezTo>
                        <a:cubicBezTo>
                          <a:pt x="69448" y="0"/>
                          <a:pt x="82794" y="18769"/>
                          <a:pt x="82932" y="47869"/>
                        </a:cubicBezTo>
                        <a:cubicBezTo>
                          <a:pt x="83069" y="75960"/>
                          <a:pt x="68680" y="95647"/>
                          <a:pt x="47950" y="95761"/>
                        </a:cubicBezTo>
                        <a:cubicBezTo>
                          <a:pt x="47893" y="95761"/>
                          <a:pt x="47835" y="95761"/>
                          <a:pt x="47789" y="95761"/>
                        </a:cubicBezTo>
                        <a:close/>
                        <a:moveTo>
                          <a:pt x="48844" y="22931"/>
                        </a:moveTo>
                        <a:cubicBezTo>
                          <a:pt x="38800" y="22977"/>
                          <a:pt x="22863" y="36770"/>
                          <a:pt x="22920" y="48156"/>
                        </a:cubicBezTo>
                        <a:cubicBezTo>
                          <a:pt x="22978" y="59621"/>
                          <a:pt x="37986" y="72830"/>
                          <a:pt x="47778" y="72830"/>
                        </a:cubicBezTo>
                        <a:cubicBezTo>
                          <a:pt x="47789" y="72830"/>
                          <a:pt x="47812" y="72830"/>
                          <a:pt x="47824" y="72830"/>
                        </a:cubicBezTo>
                        <a:cubicBezTo>
                          <a:pt x="56836" y="72784"/>
                          <a:pt x="60035" y="57948"/>
                          <a:pt x="59989" y="47984"/>
                        </a:cubicBezTo>
                        <a:cubicBezTo>
                          <a:pt x="59954" y="39316"/>
                          <a:pt x="57570" y="22931"/>
                          <a:pt x="48867" y="22931"/>
                        </a:cubicBezTo>
                        <a:cubicBezTo>
                          <a:pt x="48867" y="22931"/>
                          <a:pt x="48856" y="22931"/>
                          <a:pt x="48844" y="22931"/>
                        </a:cubicBezTo>
                        <a:lnTo>
                          <a:pt x="48844" y="22931"/>
                        </a:lnTo>
                        <a:close/>
                      </a:path>
                    </a:pathLst>
                  </a:custGeom>
                  <a:grpFill/>
                  <a:ln w="1145" cap="flat">
                    <a:noFill/>
                    <a:prstDash val="solid"/>
                    <a:miter/>
                  </a:ln>
                </p:spPr>
                <p:txBody>
                  <a:bodyPr rtlCol="0" anchor="ctr"/>
                  <a:lstStyle/>
                  <a:p>
                    <a:endParaRPr lang="en-GB" dirty="0"/>
                  </a:p>
                </p:txBody>
              </p:sp>
              <p:sp>
                <p:nvSpPr>
                  <p:cNvPr id="747" name="Freeform: Shape 746">
                    <a:extLst>
                      <a:ext uri="{FF2B5EF4-FFF2-40B4-BE49-F238E27FC236}">
                        <a16:creationId xmlns:a16="http://schemas.microsoft.com/office/drawing/2014/main" id="{3A512300-8110-436C-B87E-578817FB81D8}"/>
                      </a:ext>
                    </a:extLst>
                  </p:cNvPr>
                  <p:cNvSpPr/>
                  <p:nvPr/>
                </p:nvSpPr>
                <p:spPr>
                  <a:xfrm>
                    <a:off x="3976174" y="370960"/>
                    <a:ext cx="74366" cy="23172"/>
                  </a:xfrm>
                  <a:custGeom>
                    <a:avLst/>
                    <a:gdLst>
                      <a:gd name="connsiteX0" fmla="*/ 11466 w 74366"/>
                      <a:gd name="connsiteY0" fmla="*/ 23172 h 23172"/>
                      <a:gd name="connsiteX1" fmla="*/ 0 w 74366"/>
                      <a:gd name="connsiteY1" fmla="*/ 11764 h 23172"/>
                      <a:gd name="connsiteX2" fmla="*/ 11409 w 74366"/>
                      <a:gd name="connsiteY2" fmla="*/ 241 h 23172"/>
                      <a:gd name="connsiteX3" fmla="*/ 62843 w 74366"/>
                      <a:gd name="connsiteY3" fmla="*/ 0 h 23172"/>
                      <a:gd name="connsiteX4" fmla="*/ 74366 w 74366"/>
                      <a:gd name="connsiteY4" fmla="*/ 11408 h 23172"/>
                      <a:gd name="connsiteX5" fmla="*/ 62958 w 74366"/>
                      <a:gd name="connsiteY5" fmla="*/ 22931 h 23172"/>
                      <a:gd name="connsiteX6" fmla="*/ 11523 w 74366"/>
                      <a:gd name="connsiteY6" fmla="*/ 23172 h 23172"/>
                      <a:gd name="connsiteX7" fmla="*/ 11466 w 74366"/>
                      <a:gd name="connsiteY7" fmla="*/ 23172 h 23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4366" h="23172">
                        <a:moveTo>
                          <a:pt x="11466" y="23172"/>
                        </a:moveTo>
                        <a:cubicBezTo>
                          <a:pt x="5160" y="23172"/>
                          <a:pt x="23" y="18081"/>
                          <a:pt x="0" y="11764"/>
                        </a:cubicBezTo>
                        <a:cubicBezTo>
                          <a:pt x="-23" y="5435"/>
                          <a:pt x="5079" y="275"/>
                          <a:pt x="11409" y="241"/>
                        </a:cubicBezTo>
                        <a:lnTo>
                          <a:pt x="62843" y="0"/>
                        </a:lnTo>
                        <a:cubicBezTo>
                          <a:pt x="69230" y="115"/>
                          <a:pt x="74332" y="5079"/>
                          <a:pt x="74366" y="11408"/>
                        </a:cubicBezTo>
                        <a:cubicBezTo>
                          <a:pt x="74389" y="17737"/>
                          <a:pt x="69287" y="22897"/>
                          <a:pt x="62958" y="22931"/>
                        </a:cubicBezTo>
                        <a:lnTo>
                          <a:pt x="11523" y="23172"/>
                        </a:lnTo>
                        <a:cubicBezTo>
                          <a:pt x="11500" y="23172"/>
                          <a:pt x="11477" y="23172"/>
                          <a:pt x="11466" y="23172"/>
                        </a:cubicBezTo>
                        <a:close/>
                      </a:path>
                    </a:pathLst>
                  </a:custGeom>
                  <a:grpFill/>
                  <a:ln w="1145" cap="flat">
                    <a:noFill/>
                    <a:prstDash val="solid"/>
                    <a:miter/>
                  </a:ln>
                </p:spPr>
                <p:txBody>
                  <a:bodyPr rtlCol="0" anchor="ctr"/>
                  <a:lstStyle/>
                  <a:p>
                    <a:endParaRPr lang="en-GB" dirty="0"/>
                  </a:p>
                </p:txBody>
              </p:sp>
            </p:grpSp>
            <p:grpSp>
              <p:nvGrpSpPr>
                <p:cNvPr id="718" name="Graphic 48">
                  <a:extLst>
                    <a:ext uri="{FF2B5EF4-FFF2-40B4-BE49-F238E27FC236}">
                      <a16:creationId xmlns:a16="http://schemas.microsoft.com/office/drawing/2014/main" id="{0AEE1F5D-01FD-43E1-9FE9-59E428568DBE}"/>
                    </a:ext>
                  </a:extLst>
                </p:cNvPr>
                <p:cNvGrpSpPr/>
                <p:nvPr/>
              </p:nvGrpSpPr>
              <p:grpSpPr>
                <a:xfrm>
                  <a:off x="3603401" y="96781"/>
                  <a:ext cx="442281" cy="182223"/>
                  <a:chOff x="3603401" y="96781"/>
                  <a:chExt cx="442281" cy="182223"/>
                </a:xfrm>
                <a:grpFill/>
              </p:grpSpPr>
              <p:grpSp>
                <p:nvGrpSpPr>
                  <p:cNvPr id="737" name="Graphic 48">
                    <a:extLst>
                      <a:ext uri="{FF2B5EF4-FFF2-40B4-BE49-F238E27FC236}">
                        <a16:creationId xmlns:a16="http://schemas.microsoft.com/office/drawing/2014/main" id="{9597604E-E893-4141-93D2-F1B39476F738}"/>
                      </a:ext>
                    </a:extLst>
                  </p:cNvPr>
                  <p:cNvGrpSpPr/>
                  <p:nvPr/>
                </p:nvGrpSpPr>
                <p:grpSpPr>
                  <a:xfrm>
                    <a:off x="3776706" y="96781"/>
                    <a:ext cx="95749" cy="134377"/>
                    <a:chOff x="3776706" y="96781"/>
                    <a:chExt cx="95749" cy="134377"/>
                  </a:xfrm>
                  <a:grpFill/>
                </p:grpSpPr>
                <p:sp>
                  <p:nvSpPr>
                    <p:cNvPr id="744" name="Freeform: Shape 743">
                      <a:extLst>
                        <a:ext uri="{FF2B5EF4-FFF2-40B4-BE49-F238E27FC236}">
                          <a16:creationId xmlns:a16="http://schemas.microsoft.com/office/drawing/2014/main" id="{7A42D6A3-E5E2-4477-9400-3BF9CEB240C1}"/>
                        </a:ext>
                      </a:extLst>
                    </p:cNvPr>
                    <p:cNvSpPr/>
                    <p:nvPr/>
                  </p:nvSpPr>
                  <p:spPr>
                    <a:xfrm>
                      <a:off x="3776706" y="96781"/>
                      <a:ext cx="95749" cy="82942"/>
                    </a:xfrm>
                    <a:custGeom>
                      <a:avLst/>
                      <a:gdLst>
                        <a:gd name="connsiteX0" fmla="*/ 47720 w 95749"/>
                        <a:gd name="connsiteY0" fmla="*/ 82943 h 82942"/>
                        <a:gd name="connsiteX1" fmla="*/ 0 w 95749"/>
                        <a:gd name="connsiteY1" fmla="*/ 35223 h 82942"/>
                        <a:gd name="connsiteX2" fmla="*/ 47720 w 95749"/>
                        <a:gd name="connsiteY2" fmla="*/ 0 h 82942"/>
                        <a:gd name="connsiteX3" fmla="*/ 95750 w 95749"/>
                        <a:gd name="connsiteY3" fmla="*/ 33961 h 82942"/>
                        <a:gd name="connsiteX4" fmla="*/ 47720 w 95749"/>
                        <a:gd name="connsiteY4" fmla="*/ 82943 h 82942"/>
                        <a:gd name="connsiteX5" fmla="*/ 47720 w 95749"/>
                        <a:gd name="connsiteY5" fmla="*/ 22943 h 82942"/>
                        <a:gd name="connsiteX6" fmla="*/ 22931 w 95749"/>
                        <a:gd name="connsiteY6" fmla="*/ 35234 h 82942"/>
                        <a:gd name="connsiteX7" fmla="*/ 47720 w 95749"/>
                        <a:gd name="connsiteY7" fmla="*/ 60023 h 82942"/>
                        <a:gd name="connsiteX8" fmla="*/ 72818 w 95749"/>
                        <a:gd name="connsiteY8" fmla="*/ 33984 h 82942"/>
                        <a:gd name="connsiteX9" fmla="*/ 47720 w 95749"/>
                        <a:gd name="connsiteY9" fmla="*/ 22943 h 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749" h="82942">
                          <a:moveTo>
                            <a:pt x="47720" y="82943"/>
                          </a:moveTo>
                          <a:cubicBezTo>
                            <a:pt x="24078" y="82943"/>
                            <a:pt x="0" y="58865"/>
                            <a:pt x="0" y="35223"/>
                          </a:cubicBezTo>
                          <a:cubicBezTo>
                            <a:pt x="0" y="14481"/>
                            <a:pt x="19618" y="0"/>
                            <a:pt x="47720" y="0"/>
                          </a:cubicBezTo>
                          <a:cubicBezTo>
                            <a:pt x="76900" y="0"/>
                            <a:pt x="95750" y="13335"/>
                            <a:pt x="95750" y="33961"/>
                          </a:cubicBezTo>
                          <a:cubicBezTo>
                            <a:pt x="95750" y="57776"/>
                            <a:pt x="71064" y="82943"/>
                            <a:pt x="47720" y="82943"/>
                          </a:cubicBezTo>
                          <a:close/>
                          <a:moveTo>
                            <a:pt x="47720" y="22943"/>
                          </a:moveTo>
                          <a:cubicBezTo>
                            <a:pt x="37757" y="22943"/>
                            <a:pt x="22931" y="26222"/>
                            <a:pt x="22931" y="35234"/>
                          </a:cubicBezTo>
                          <a:cubicBezTo>
                            <a:pt x="22931" y="45026"/>
                            <a:pt x="36220" y="60023"/>
                            <a:pt x="47720" y="60023"/>
                          </a:cubicBezTo>
                          <a:cubicBezTo>
                            <a:pt x="59117" y="60023"/>
                            <a:pt x="72818" y="44028"/>
                            <a:pt x="72818" y="33984"/>
                          </a:cubicBezTo>
                          <a:cubicBezTo>
                            <a:pt x="72818" y="25247"/>
                            <a:pt x="56400" y="22943"/>
                            <a:pt x="47720" y="22943"/>
                          </a:cubicBezTo>
                          <a:close/>
                        </a:path>
                      </a:pathLst>
                    </a:custGeom>
                    <a:grpFill/>
                    <a:ln w="1145" cap="flat">
                      <a:noFill/>
                      <a:prstDash val="solid"/>
                      <a:miter/>
                    </a:ln>
                  </p:spPr>
                  <p:txBody>
                    <a:bodyPr rtlCol="0" anchor="ctr"/>
                    <a:lstStyle/>
                    <a:p>
                      <a:endParaRPr lang="en-GB" dirty="0"/>
                    </a:p>
                  </p:txBody>
                </p:sp>
                <p:sp>
                  <p:nvSpPr>
                    <p:cNvPr id="745" name="Freeform: Shape 744">
                      <a:extLst>
                        <a:ext uri="{FF2B5EF4-FFF2-40B4-BE49-F238E27FC236}">
                          <a16:creationId xmlns:a16="http://schemas.microsoft.com/office/drawing/2014/main" id="{702BC77D-6615-499D-BC5A-79F609688ACC}"/>
                        </a:ext>
                      </a:extLst>
                    </p:cNvPr>
                    <p:cNvSpPr/>
                    <p:nvPr/>
                  </p:nvSpPr>
                  <p:spPr>
                    <a:xfrm>
                      <a:off x="3812937" y="156793"/>
                      <a:ext cx="22931" cy="74366"/>
                    </a:xfrm>
                    <a:custGeom>
                      <a:avLst/>
                      <a:gdLst>
                        <a:gd name="connsiteX0" fmla="*/ 11466 w 22931"/>
                        <a:gd name="connsiteY0" fmla="*/ 74366 h 74366"/>
                        <a:gd name="connsiteX1" fmla="*/ 0 w 22931"/>
                        <a:gd name="connsiteY1" fmla="*/ 62901 h 74366"/>
                        <a:gd name="connsiteX2" fmla="*/ 0 w 22931"/>
                        <a:gd name="connsiteY2" fmla="*/ 11466 h 74366"/>
                        <a:gd name="connsiteX3" fmla="*/ 11466 w 22931"/>
                        <a:gd name="connsiteY3" fmla="*/ 0 h 74366"/>
                        <a:gd name="connsiteX4" fmla="*/ 22931 w 22931"/>
                        <a:gd name="connsiteY4" fmla="*/ 11466 h 74366"/>
                        <a:gd name="connsiteX5" fmla="*/ 22931 w 22931"/>
                        <a:gd name="connsiteY5" fmla="*/ 62901 h 74366"/>
                        <a:gd name="connsiteX6" fmla="*/ 11466 w 22931"/>
                        <a:gd name="connsiteY6" fmla="*/ 74366 h 7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74366">
                          <a:moveTo>
                            <a:pt x="11466" y="74366"/>
                          </a:moveTo>
                          <a:cubicBezTo>
                            <a:pt x="5137" y="74366"/>
                            <a:pt x="0" y="69230"/>
                            <a:pt x="0" y="62901"/>
                          </a:cubicBezTo>
                          <a:lnTo>
                            <a:pt x="0" y="11466"/>
                          </a:lnTo>
                          <a:cubicBezTo>
                            <a:pt x="0" y="5137"/>
                            <a:pt x="5137" y="0"/>
                            <a:pt x="11466" y="0"/>
                          </a:cubicBezTo>
                          <a:cubicBezTo>
                            <a:pt x="17795" y="0"/>
                            <a:pt x="22931" y="5137"/>
                            <a:pt x="22931" y="11466"/>
                          </a:cubicBezTo>
                          <a:lnTo>
                            <a:pt x="22931" y="62901"/>
                          </a:lnTo>
                          <a:cubicBezTo>
                            <a:pt x="22931" y="69230"/>
                            <a:pt x="17795" y="74366"/>
                            <a:pt x="11466" y="74366"/>
                          </a:cubicBezTo>
                          <a:close/>
                        </a:path>
                      </a:pathLst>
                    </a:custGeom>
                    <a:grpFill/>
                    <a:ln w="1145" cap="flat">
                      <a:noFill/>
                      <a:prstDash val="solid"/>
                      <a:miter/>
                    </a:ln>
                  </p:spPr>
                  <p:txBody>
                    <a:bodyPr rtlCol="0" anchor="ctr"/>
                    <a:lstStyle/>
                    <a:p>
                      <a:endParaRPr lang="en-GB" dirty="0"/>
                    </a:p>
                  </p:txBody>
                </p:sp>
              </p:grpSp>
              <p:grpSp>
                <p:nvGrpSpPr>
                  <p:cNvPr id="738" name="Graphic 48">
                    <a:extLst>
                      <a:ext uri="{FF2B5EF4-FFF2-40B4-BE49-F238E27FC236}">
                        <a16:creationId xmlns:a16="http://schemas.microsoft.com/office/drawing/2014/main" id="{2F9109F4-737A-4739-A17C-491B422376EA}"/>
                      </a:ext>
                    </a:extLst>
                  </p:cNvPr>
                  <p:cNvGrpSpPr/>
                  <p:nvPr/>
                </p:nvGrpSpPr>
                <p:grpSpPr>
                  <a:xfrm>
                    <a:off x="3928600" y="162767"/>
                    <a:ext cx="117083" cy="116238"/>
                    <a:chOff x="3928600" y="162767"/>
                    <a:chExt cx="117083" cy="116238"/>
                  </a:xfrm>
                  <a:grpFill/>
                </p:grpSpPr>
                <p:sp>
                  <p:nvSpPr>
                    <p:cNvPr id="742" name="Freeform: Shape 741">
                      <a:extLst>
                        <a:ext uri="{FF2B5EF4-FFF2-40B4-BE49-F238E27FC236}">
                          <a16:creationId xmlns:a16="http://schemas.microsoft.com/office/drawing/2014/main" id="{A119A2EA-4A0B-4AC2-AA4D-9AFE565F1330}"/>
                        </a:ext>
                      </a:extLst>
                    </p:cNvPr>
                    <p:cNvSpPr/>
                    <p:nvPr/>
                  </p:nvSpPr>
                  <p:spPr>
                    <a:xfrm>
                      <a:off x="3955805" y="162767"/>
                      <a:ext cx="89878" cy="88709"/>
                    </a:xfrm>
                    <a:custGeom>
                      <a:avLst/>
                      <a:gdLst>
                        <a:gd name="connsiteX0" fmla="*/ 46132 w 89878"/>
                        <a:gd name="connsiteY0" fmla="*/ 88709 h 88709"/>
                        <a:gd name="connsiteX1" fmla="*/ 12538 w 89878"/>
                        <a:gd name="connsiteY1" fmla="*/ 76533 h 88709"/>
                        <a:gd name="connsiteX2" fmla="*/ 12538 w 89878"/>
                        <a:gd name="connsiteY2" fmla="*/ 9046 h 88709"/>
                        <a:gd name="connsiteX3" fmla="*/ 44665 w 89878"/>
                        <a:gd name="connsiteY3" fmla="*/ 1467 h 88709"/>
                        <a:gd name="connsiteX4" fmla="*/ 71185 w 89878"/>
                        <a:gd name="connsiteY4" fmla="*/ 17886 h 88709"/>
                        <a:gd name="connsiteX5" fmla="*/ 81137 w 89878"/>
                        <a:gd name="connsiteY5" fmla="*/ 75868 h 88709"/>
                        <a:gd name="connsiteX6" fmla="*/ 46132 w 89878"/>
                        <a:gd name="connsiteY6" fmla="*/ 88709 h 88709"/>
                        <a:gd name="connsiteX7" fmla="*/ 34449 w 89878"/>
                        <a:gd name="connsiteY7" fmla="*/ 22931 h 88709"/>
                        <a:gd name="connsiteX8" fmla="*/ 28762 w 89878"/>
                        <a:gd name="connsiteY8" fmla="*/ 25258 h 88709"/>
                        <a:gd name="connsiteX9" fmla="*/ 28762 w 89878"/>
                        <a:gd name="connsiteY9" fmla="*/ 60320 h 88709"/>
                        <a:gd name="connsiteX10" fmla="*/ 64924 w 89878"/>
                        <a:gd name="connsiteY10" fmla="*/ 59655 h 88709"/>
                        <a:gd name="connsiteX11" fmla="*/ 66208 w 89878"/>
                        <a:gd name="connsiteY11" fmla="*/ 50678 h 88709"/>
                        <a:gd name="connsiteX12" fmla="*/ 54984 w 89878"/>
                        <a:gd name="connsiteY12" fmla="*/ 34098 h 88709"/>
                        <a:gd name="connsiteX13" fmla="*/ 38519 w 89878"/>
                        <a:gd name="connsiteY13" fmla="*/ 23550 h 88709"/>
                        <a:gd name="connsiteX14" fmla="*/ 34449 w 89878"/>
                        <a:gd name="connsiteY14" fmla="*/ 22931 h 8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878" h="88709">
                          <a:moveTo>
                            <a:pt x="46132" y="88709"/>
                          </a:moveTo>
                          <a:cubicBezTo>
                            <a:pt x="33348" y="88709"/>
                            <a:pt x="20667" y="84662"/>
                            <a:pt x="12538" y="76533"/>
                          </a:cubicBezTo>
                          <a:cubicBezTo>
                            <a:pt x="-4179" y="59816"/>
                            <a:pt x="-4179" y="25763"/>
                            <a:pt x="12538" y="9046"/>
                          </a:cubicBezTo>
                          <a:cubicBezTo>
                            <a:pt x="20885" y="699"/>
                            <a:pt x="32293" y="-1984"/>
                            <a:pt x="44665" y="1467"/>
                          </a:cubicBezTo>
                          <a:cubicBezTo>
                            <a:pt x="53699" y="3989"/>
                            <a:pt x="63113" y="9825"/>
                            <a:pt x="71185" y="17886"/>
                          </a:cubicBezTo>
                          <a:cubicBezTo>
                            <a:pt x="91823" y="38524"/>
                            <a:pt x="95721" y="61283"/>
                            <a:pt x="81137" y="75868"/>
                          </a:cubicBezTo>
                          <a:cubicBezTo>
                            <a:pt x="72595" y="84410"/>
                            <a:pt x="59306" y="88709"/>
                            <a:pt x="46132" y="88709"/>
                          </a:cubicBezTo>
                          <a:close/>
                          <a:moveTo>
                            <a:pt x="34449" y="22931"/>
                          </a:moveTo>
                          <a:cubicBezTo>
                            <a:pt x="31089" y="22931"/>
                            <a:pt x="29541" y="24490"/>
                            <a:pt x="28762" y="25258"/>
                          </a:cubicBezTo>
                          <a:cubicBezTo>
                            <a:pt x="21836" y="32183"/>
                            <a:pt x="20644" y="52191"/>
                            <a:pt x="28762" y="60320"/>
                          </a:cubicBezTo>
                          <a:cubicBezTo>
                            <a:pt x="36822" y="68369"/>
                            <a:pt x="57816" y="66752"/>
                            <a:pt x="64924" y="59655"/>
                          </a:cubicBezTo>
                          <a:cubicBezTo>
                            <a:pt x="66025" y="58543"/>
                            <a:pt x="68089" y="56491"/>
                            <a:pt x="66208" y="50678"/>
                          </a:cubicBezTo>
                          <a:cubicBezTo>
                            <a:pt x="64592" y="45656"/>
                            <a:pt x="60499" y="39625"/>
                            <a:pt x="54984" y="34098"/>
                          </a:cubicBezTo>
                          <a:cubicBezTo>
                            <a:pt x="49732" y="28847"/>
                            <a:pt x="43736" y="25017"/>
                            <a:pt x="38519" y="23550"/>
                          </a:cubicBezTo>
                          <a:cubicBezTo>
                            <a:pt x="36925" y="23103"/>
                            <a:pt x="35584" y="22931"/>
                            <a:pt x="34449" y="22931"/>
                          </a:cubicBezTo>
                          <a:close/>
                        </a:path>
                      </a:pathLst>
                    </a:custGeom>
                    <a:grpFill/>
                    <a:ln w="1145" cap="flat">
                      <a:noFill/>
                      <a:prstDash val="solid"/>
                      <a:miter/>
                    </a:ln>
                  </p:spPr>
                  <p:txBody>
                    <a:bodyPr rtlCol="0" anchor="ctr"/>
                    <a:lstStyle/>
                    <a:p>
                      <a:endParaRPr lang="en-GB" dirty="0"/>
                    </a:p>
                  </p:txBody>
                </p:sp>
                <p:sp>
                  <p:nvSpPr>
                    <p:cNvPr id="743" name="Freeform: Shape 742">
                      <a:extLst>
                        <a:ext uri="{FF2B5EF4-FFF2-40B4-BE49-F238E27FC236}">
                          <a16:creationId xmlns:a16="http://schemas.microsoft.com/office/drawing/2014/main" id="{269F5377-1F83-4377-9469-FA25F03928CE}"/>
                        </a:ext>
                      </a:extLst>
                    </p:cNvPr>
                    <p:cNvSpPr/>
                    <p:nvPr/>
                  </p:nvSpPr>
                  <p:spPr>
                    <a:xfrm>
                      <a:off x="3928600" y="219702"/>
                      <a:ext cx="59306" cy="59303"/>
                    </a:xfrm>
                    <a:custGeom>
                      <a:avLst/>
                      <a:gdLst>
                        <a:gd name="connsiteX0" fmla="*/ 11469 w 59306"/>
                        <a:gd name="connsiteY0" fmla="*/ 59303 h 59303"/>
                        <a:gd name="connsiteX1" fmla="*/ 3362 w 59306"/>
                        <a:gd name="connsiteY1" fmla="*/ 55944 h 59303"/>
                        <a:gd name="connsiteX2" fmla="*/ 3362 w 59306"/>
                        <a:gd name="connsiteY2" fmla="*/ 39731 h 59303"/>
                        <a:gd name="connsiteX3" fmla="*/ 39731 w 59306"/>
                        <a:gd name="connsiteY3" fmla="*/ 3362 h 59303"/>
                        <a:gd name="connsiteX4" fmla="*/ 55944 w 59306"/>
                        <a:gd name="connsiteY4" fmla="*/ 3362 h 59303"/>
                        <a:gd name="connsiteX5" fmla="*/ 55944 w 59306"/>
                        <a:gd name="connsiteY5" fmla="*/ 19575 h 59303"/>
                        <a:gd name="connsiteX6" fmla="*/ 19575 w 59306"/>
                        <a:gd name="connsiteY6" fmla="*/ 55944 h 59303"/>
                        <a:gd name="connsiteX7" fmla="*/ 11469 w 59306"/>
                        <a:gd name="connsiteY7" fmla="*/ 59303 h 5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06" h="59303">
                          <a:moveTo>
                            <a:pt x="11469" y="59303"/>
                          </a:moveTo>
                          <a:cubicBezTo>
                            <a:pt x="8533" y="59303"/>
                            <a:pt x="5598" y="58180"/>
                            <a:pt x="3362" y="55944"/>
                          </a:cubicBezTo>
                          <a:cubicBezTo>
                            <a:pt x="-1121" y="51472"/>
                            <a:pt x="-1121" y="44214"/>
                            <a:pt x="3362" y="39731"/>
                          </a:cubicBezTo>
                          <a:lnTo>
                            <a:pt x="39731" y="3362"/>
                          </a:lnTo>
                          <a:cubicBezTo>
                            <a:pt x="44215" y="-1121"/>
                            <a:pt x="51461" y="-1121"/>
                            <a:pt x="55944" y="3362"/>
                          </a:cubicBezTo>
                          <a:cubicBezTo>
                            <a:pt x="60427" y="7834"/>
                            <a:pt x="60427" y="15092"/>
                            <a:pt x="55944" y="19575"/>
                          </a:cubicBezTo>
                          <a:lnTo>
                            <a:pt x="19575" y="55944"/>
                          </a:lnTo>
                          <a:cubicBezTo>
                            <a:pt x="17339" y="58191"/>
                            <a:pt x="14404" y="59303"/>
                            <a:pt x="11469" y="59303"/>
                          </a:cubicBezTo>
                          <a:close/>
                        </a:path>
                      </a:pathLst>
                    </a:custGeom>
                    <a:grpFill/>
                    <a:ln w="1145" cap="flat">
                      <a:noFill/>
                      <a:prstDash val="solid"/>
                      <a:miter/>
                    </a:ln>
                  </p:spPr>
                  <p:txBody>
                    <a:bodyPr rtlCol="0" anchor="ctr"/>
                    <a:lstStyle/>
                    <a:p>
                      <a:endParaRPr lang="en-GB" dirty="0"/>
                    </a:p>
                  </p:txBody>
                </p:sp>
              </p:grpSp>
              <p:grpSp>
                <p:nvGrpSpPr>
                  <p:cNvPr id="739" name="Graphic 48">
                    <a:extLst>
                      <a:ext uri="{FF2B5EF4-FFF2-40B4-BE49-F238E27FC236}">
                        <a16:creationId xmlns:a16="http://schemas.microsoft.com/office/drawing/2014/main" id="{1084A27A-5838-4539-A15C-2AD838150791}"/>
                      </a:ext>
                    </a:extLst>
                  </p:cNvPr>
                  <p:cNvGrpSpPr/>
                  <p:nvPr/>
                </p:nvGrpSpPr>
                <p:grpSpPr>
                  <a:xfrm>
                    <a:off x="3603401" y="162382"/>
                    <a:ext cx="117102" cy="116244"/>
                    <a:chOff x="3603401" y="162382"/>
                    <a:chExt cx="117102" cy="116244"/>
                  </a:xfrm>
                  <a:grpFill/>
                </p:grpSpPr>
                <p:sp>
                  <p:nvSpPr>
                    <p:cNvPr id="740" name="Freeform: Shape 739">
                      <a:extLst>
                        <a:ext uri="{FF2B5EF4-FFF2-40B4-BE49-F238E27FC236}">
                          <a16:creationId xmlns:a16="http://schemas.microsoft.com/office/drawing/2014/main" id="{47940DA6-E529-43D0-A9C3-65973A7CC5EF}"/>
                        </a:ext>
                      </a:extLst>
                    </p:cNvPr>
                    <p:cNvSpPr/>
                    <p:nvPr/>
                  </p:nvSpPr>
                  <p:spPr>
                    <a:xfrm>
                      <a:off x="3603401" y="162382"/>
                      <a:ext cx="89888" cy="88704"/>
                    </a:xfrm>
                    <a:custGeom>
                      <a:avLst/>
                      <a:gdLst>
                        <a:gd name="connsiteX0" fmla="*/ 43765 w 89888"/>
                        <a:gd name="connsiteY0" fmla="*/ 88704 h 88704"/>
                        <a:gd name="connsiteX1" fmla="*/ 8760 w 89888"/>
                        <a:gd name="connsiteY1" fmla="*/ 75863 h 88704"/>
                        <a:gd name="connsiteX2" fmla="*/ 1870 w 89888"/>
                        <a:gd name="connsiteY2" fmla="*/ 43621 h 88704"/>
                        <a:gd name="connsiteX3" fmla="*/ 18713 w 89888"/>
                        <a:gd name="connsiteY3" fmla="*/ 17881 h 88704"/>
                        <a:gd name="connsiteX4" fmla="*/ 45233 w 89888"/>
                        <a:gd name="connsiteY4" fmla="*/ 1462 h 88704"/>
                        <a:gd name="connsiteX5" fmla="*/ 77359 w 89888"/>
                        <a:gd name="connsiteY5" fmla="*/ 9041 h 88704"/>
                        <a:gd name="connsiteX6" fmla="*/ 77359 w 89888"/>
                        <a:gd name="connsiteY6" fmla="*/ 76528 h 88704"/>
                        <a:gd name="connsiteX7" fmla="*/ 43765 w 89888"/>
                        <a:gd name="connsiteY7" fmla="*/ 88704 h 88704"/>
                        <a:gd name="connsiteX8" fmla="*/ 55449 w 89888"/>
                        <a:gd name="connsiteY8" fmla="*/ 22937 h 88704"/>
                        <a:gd name="connsiteX9" fmla="*/ 51390 w 89888"/>
                        <a:gd name="connsiteY9" fmla="*/ 23556 h 88704"/>
                        <a:gd name="connsiteX10" fmla="*/ 34925 w 89888"/>
                        <a:gd name="connsiteY10" fmla="*/ 34105 h 88704"/>
                        <a:gd name="connsiteX11" fmla="*/ 23700 w 89888"/>
                        <a:gd name="connsiteY11" fmla="*/ 50673 h 88704"/>
                        <a:gd name="connsiteX12" fmla="*/ 24984 w 89888"/>
                        <a:gd name="connsiteY12" fmla="*/ 59650 h 88704"/>
                        <a:gd name="connsiteX13" fmla="*/ 61147 w 89888"/>
                        <a:gd name="connsiteY13" fmla="*/ 60315 h 88704"/>
                        <a:gd name="connsiteX14" fmla="*/ 61147 w 89888"/>
                        <a:gd name="connsiteY14" fmla="*/ 25253 h 88704"/>
                        <a:gd name="connsiteX15" fmla="*/ 55449 w 89888"/>
                        <a:gd name="connsiteY15" fmla="*/ 22937 h 8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888" h="88704">
                          <a:moveTo>
                            <a:pt x="43765" y="88704"/>
                          </a:moveTo>
                          <a:cubicBezTo>
                            <a:pt x="30591" y="88704"/>
                            <a:pt x="17302" y="84405"/>
                            <a:pt x="8760" y="75863"/>
                          </a:cubicBezTo>
                          <a:cubicBezTo>
                            <a:pt x="322" y="67435"/>
                            <a:pt x="-2121" y="55981"/>
                            <a:pt x="1870" y="43621"/>
                          </a:cubicBezTo>
                          <a:cubicBezTo>
                            <a:pt x="5378" y="32752"/>
                            <a:pt x="12968" y="23625"/>
                            <a:pt x="18713" y="17881"/>
                          </a:cubicBezTo>
                          <a:cubicBezTo>
                            <a:pt x="26773" y="9809"/>
                            <a:pt x="36186" y="3984"/>
                            <a:pt x="45233" y="1462"/>
                          </a:cubicBezTo>
                          <a:cubicBezTo>
                            <a:pt x="57604" y="-1978"/>
                            <a:pt x="69024" y="694"/>
                            <a:pt x="77359" y="9041"/>
                          </a:cubicBezTo>
                          <a:cubicBezTo>
                            <a:pt x="94065" y="25758"/>
                            <a:pt x="94065" y="59811"/>
                            <a:pt x="77359" y="76528"/>
                          </a:cubicBezTo>
                          <a:cubicBezTo>
                            <a:pt x="69230" y="84657"/>
                            <a:pt x="56549" y="88704"/>
                            <a:pt x="43765" y="88704"/>
                          </a:cubicBezTo>
                          <a:close/>
                          <a:moveTo>
                            <a:pt x="55449" y="22937"/>
                          </a:moveTo>
                          <a:cubicBezTo>
                            <a:pt x="54314" y="22937"/>
                            <a:pt x="52972" y="23121"/>
                            <a:pt x="51390" y="23556"/>
                          </a:cubicBezTo>
                          <a:cubicBezTo>
                            <a:pt x="46173" y="25012"/>
                            <a:pt x="40165" y="28853"/>
                            <a:pt x="34925" y="34105"/>
                          </a:cubicBezTo>
                          <a:cubicBezTo>
                            <a:pt x="29410" y="39620"/>
                            <a:pt x="25317" y="45662"/>
                            <a:pt x="23700" y="50673"/>
                          </a:cubicBezTo>
                          <a:cubicBezTo>
                            <a:pt x="21820" y="56486"/>
                            <a:pt x="23884" y="58549"/>
                            <a:pt x="24984" y="59650"/>
                          </a:cubicBezTo>
                          <a:cubicBezTo>
                            <a:pt x="32093" y="66747"/>
                            <a:pt x="53087" y="68353"/>
                            <a:pt x="61147" y="60315"/>
                          </a:cubicBezTo>
                          <a:cubicBezTo>
                            <a:pt x="69265" y="52186"/>
                            <a:pt x="68061" y="32178"/>
                            <a:pt x="61147" y="25253"/>
                          </a:cubicBezTo>
                          <a:cubicBezTo>
                            <a:pt x="60367" y="24485"/>
                            <a:pt x="58808" y="22937"/>
                            <a:pt x="55449" y="22937"/>
                          </a:cubicBezTo>
                          <a:close/>
                        </a:path>
                      </a:pathLst>
                    </a:custGeom>
                    <a:grpFill/>
                    <a:ln w="1145" cap="flat">
                      <a:noFill/>
                      <a:prstDash val="solid"/>
                      <a:miter/>
                    </a:ln>
                  </p:spPr>
                  <p:txBody>
                    <a:bodyPr rtlCol="0" anchor="ctr"/>
                    <a:lstStyle/>
                    <a:p>
                      <a:endParaRPr lang="en-GB" dirty="0"/>
                    </a:p>
                  </p:txBody>
                </p:sp>
                <p:sp>
                  <p:nvSpPr>
                    <p:cNvPr id="741" name="Freeform: Shape 740">
                      <a:extLst>
                        <a:ext uri="{FF2B5EF4-FFF2-40B4-BE49-F238E27FC236}">
                          <a16:creationId xmlns:a16="http://schemas.microsoft.com/office/drawing/2014/main" id="{AF1FC03B-C6AF-44EA-918F-C72AEE666D54}"/>
                        </a:ext>
                      </a:extLst>
                    </p:cNvPr>
                    <p:cNvSpPr/>
                    <p:nvPr/>
                  </p:nvSpPr>
                  <p:spPr>
                    <a:xfrm>
                      <a:off x="3661198" y="219323"/>
                      <a:ext cx="59306" cy="59303"/>
                    </a:xfrm>
                    <a:custGeom>
                      <a:avLst/>
                      <a:gdLst>
                        <a:gd name="connsiteX0" fmla="*/ 47838 w 59306"/>
                        <a:gd name="connsiteY0" fmla="*/ 59303 h 59303"/>
                        <a:gd name="connsiteX1" fmla="*/ 39731 w 59306"/>
                        <a:gd name="connsiteY1" fmla="*/ 55944 h 59303"/>
                        <a:gd name="connsiteX2" fmla="*/ 3362 w 59306"/>
                        <a:gd name="connsiteY2" fmla="*/ 19575 h 59303"/>
                        <a:gd name="connsiteX3" fmla="*/ 3362 w 59306"/>
                        <a:gd name="connsiteY3" fmla="*/ 3362 h 59303"/>
                        <a:gd name="connsiteX4" fmla="*/ 19575 w 59306"/>
                        <a:gd name="connsiteY4" fmla="*/ 3362 h 59303"/>
                        <a:gd name="connsiteX5" fmla="*/ 55944 w 59306"/>
                        <a:gd name="connsiteY5" fmla="*/ 39731 h 59303"/>
                        <a:gd name="connsiteX6" fmla="*/ 55944 w 59306"/>
                        <a:gd name="connsiteY6" fmla="*/ 55944 h 59303"/>
                        <a:gd name="connsiteX7" fmla="*/ 47838 w 59306"/>
                        <a:gd name="connsiteY7" fmla="*/ 59303 h 5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06" h="59303">
                          <a:moveTo>
                            <a:pt x="47838" y="59303"/>
                          </a:moveTo>
                          <a:cubicBezTo>
                            <a:pt x="44902" y="59303"/>
                            <a:pt x="41967" y="58180"/>
                            <a:pt x="39731" y="55944"/>
                          </a:cubicBezTo>
                          <a:lnTo>
                            <a:pt x="3362" y="19575"/>
                          </a:lnTo>
                          <a:cubicBezTo>
                            <a:pt x="-1121" y="15103"/>
                            <a:pt x="-1121" y="7845"/>
                            <a:pt x="3362" y="3362"/>
                          </a:cubicBezTo>
                          <a:cubicBezTo>
                            <a:pt x="7845" y="-1121"/>
                            <a:pt x="15092" y="-1121"/>
                            <a:pt x="19575" y="3362"/>
                          </a:cubicBezTo>
                          <a:lnTo>
                            <a:pt x="55944" y="39731"/>
                          </a:lnTo>
                          <a:cubicBezTo>
                            <a:pt x="60427" y="44203"/>
                            <a:pt x="60427" y="51461"/>
                            <a:pt x="55944" y="55944"/>
                          </a:cubicBezTo>
                          <a:cubicBezTo>
                            <a:pt x="53708" y="58180"/>
                            <a:pt x="50773" y="59303"/>
                            <a:pt x="47838" y="59303"/>
                          </a:cubicBezTo>
                          <a:close/>
                        </a:path>
                      </a:pathLst>
                    </a:custGeom>
                    <a:grpFill/>
                    <a:ln w="1145" cap="flat">
                      <a:noFill/>
                      <a:prstDash val="solid"/>
                      <a:miter/>
                    </a:ln>
                  </p:spPr>
                  <p:txBody>
                    <a:bodyPr rtlCol="0" anchor="ctr"/>
                    <a:lstStyle/>
                    <a:p>
                      <a:endParaRPr lang="en-GB" dirty="0"/>
                    </a:p>
                  </p:txBody>
                </p:sp>
              </p:grpSp>
            </p:grpSp>
            <p:grpSp>
              <p:nvGrpSpPr>
                <p:cNvPr id="719" name="Graphic 48">
                  <a:extLst>
                    <a:ext uri="{FF2B5EF4-FFF2-40B4-BE49-F238E27FC236}">
                      <a16:creationId xmlns:a16="http://schemas.microsoft.com/office/drawing/2014/main" id="{9DBA8723-8EBB-4907-AC4D-E84BA1DB237F}"/>
                    </a:ext>
                  </a:extLst>
                </p:cNvPr>
                <p:cNvGrpSpPr/>
                <p:nvPr/>
              </p:nvGrpSpPr>
              <p:grpSpPr>
                <a:xfrm>
                  <a:off x="3603409" y="486783"/>
                  <a:ext cx="442293" cy="182226"/>
                  <a:chOff x="3603409" y="486783"/>
                  <a:chExt cx="442293" cy="182226"/>
                </a:xfrm>
                <a:grpFill/>
              </p:grpSpPr>
              <p:grpSp>
                <p:nvGrpSpPr>
                  <p:cNvPr id="728" name="Graphic 48">
                    <a:extLst>
                      <a:ext uri="{FF2B5EF4-FFF2-40B4-BE49-F238E27FC236}">
                        <a16:creationId xmlns:a16="http://schemas.microsoft.com/office/drawing/2014/main" id="{08F1D641-94FE-4982-A6AA-95B36DCA3E34}"/>
                      </a:ext>
                    </a:extLst>
                  </p:cNvPr>
                  <p:cNvGrpSpPr/>
                  <p:nvPr/>
                </p:nvGrpSpPr>
                <p:grpSpPr>
                  <a:xfrm>
                    <a:off x="3776706" y="534632"/>
                    <a:ext cx="95749" cy="134377"/>
                    <a:chOff x="3776706" y="534632"/>
                    <a:chExt cx="95749" cy="134377"/>
                  </a:xfrm>
                  <a:grpFill/>
                </p:grpSpPr>
                <p:sp>
                  <p:nvSpPr>
                    <p:cNvPr id="735" name="Freeform: Shape 734">
                      <a:extLst>
                        <a:ext uri="{FF2B5EF4-FFF2-40B4-BE49-F238E27FC236}">
                          <a16:creationId xmlns:a16="http://schemas.microsoft.com/office/drawing/2014/main" id="{A31AAAAD-AA50-46CB-BA1F-384A59C4890E}"/>
                        </a:ext>
                      </a:extLst>
                    </p:cNvPr>
                    <p:cNvSpPr/>
                    <p:nvPr/>
                  </p:nvSpPr>
                  <p:spPr>
                    <a:xfrm>
                      <a:off x="3776706" y="586067"/>
                      <a:ext cx="95749" cy="82942"/>
                    </a:xfrm>
                    <a:custGeom>
                      <a:avLst/>
                      <a:gdLst>
                        <a:gd name="connsiteX0" fmla="*/ 47720 w 95749"/>
                        <a:gd name="connsiteY0" fmla="*/ 82943 h 82942"/>
                        <a:gd name="connsiteX1" fmla="*/ 0 w 95749"/>
                        <a:gd name="connsiteY1" fmla="*/ 47720 h 82942"/>
                        <a:gd name="connsiteX2" fmla="*/ 47720 w 95749"/>
                        <a:gd name="connsiteY2" fmla="*/ 0 h 82942"/>
                        <a:gd name="connsiteX3" fmla="*/ 95750 w 95749"/>
                        <a:gd name="connsiteY3" fmla="*/ 48970 h 82942"/>
                        <a:gd name="connsiteX4" fmla="*/ 47720 w 95749"/>
                        <a:gd name="connsiteY4" fmla="*/ 82943 h 82942"/>
                        <a:gd name="connsiteX5" fmla="*/ 47720 w 95749"/>
                        <a:gd name="connsiteY5" fmla="*/ 22931 h 82942"/>
                        <a:gd name="connsiteX6" fmla="*/ 22931 w 95749"/>
                        <a:gd name="connsiteY6" fmla="*/ 47720 h 82942"/>
                        <a:gd name="connsiteX7" fmla="*/ 47720 w 95749"/>
                        <a:gd name="connsiteY7" fmla="*/ 60011 h 82942"/>
                        <a:gd name="connsiteX8" fmla="*/ 72818 w 95749"/>
                        <a:gd name="connsiteY8" fmla="*/ 48970 h 82942"/>
                        <a:gd name="connsiteX9" fmla="*/ 47720 w 95749"/>
                        <a:gd name="connsiteY9" fmla="*/ 22931 h 82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749" h="82942">
                          <a:moveTo>
                            <a:pt x="47720" y="82943"/>
                          </a:moveTo>
                          <a:cubicBezTo>
                            <a:pt x="19629" y="82943"/>
                            <a:pt x="0" y="68462"/>
                            <a:pt x="0" y="47720"/>
                          </a:cubicBezTo>
                          <a:cubicBezTo>
                            <a:pt x="0" y="24078"/>
                            <a:pt x="24078" y="0"/>
                            <a:pt x="47720" y="0"/>
                          </a:cubicBezTo>
                          <a:cubicBezTo>
                            <a:pt x="71064" y="0"/>
                            <a:pt x="95750" y="25167"/>
                            <a:pt x="95750" y="48970"/>
                          </a:cubicBezTo>
                          <a:cubicBezTo>
                            <a:pt x="95750" y="69608"/>
                            <a:pt x="76900" y="82943"/>
                            <a:pt x="47720" y="82943"/>
                          </a:cubicBezTo>
                          <a:close/>
                          <a:moveTo>
                            <a:pt x="47720" y="22931"/>
                          </a:moveTo>
                          <a:cubicBezTo>
                            <a:pt x="36231" y="22931"/>
                            <a:pt x="22931" y="37940"/>
                            <a:pt x="22931" y="47720"/>
                          </a:cubicBezTo>
                          <a:cubicBezTo>
                            <a:pt x="22931" y="56732"/>
                            <a:pt x="37745" y="60011"/>
                            <a:pt x="47720" y="60011"/>
                          </a:cubicBezTo>
                          <a:cubicBezTo>
                            <a:pt x="56400" y="60011"/>
                            <a:pt x="72818" y="57707"/>
                            <a:pt x="72818" y="48970"/>
                          </a:cubicBezTo>
                          <a:cubicBezTo>
                            <a:pt x="72818" y="38926"/>
                            <a:pt x="59117" y="22931"/>
                            <a:pt x="47720" y="22931"/>
                          </a:cubicBezTo>
                          <a:close/>
                        </a:path>
                      </a:pathLst>
                    </a:custGeom>
                    <a:grpFill/>
                    <a:ln w="1145" cap="flat">
                      <a:noFill/>
                      <a:prstDash val="solid"/>
                      <a:miter/>
                    </a:ln>
                  </p:spPr>
                  <p:txBody>
                    <a:bodyPr rtlCol="0" anchor="ctr"/>
                    <a:lstStyle/>
                    <a:p>
                      <a:endParaRPr lang="en-GB" dirty="0"/>
                    </a:p>
                  </p:txBody>
                </p:sp>
                <p:sp>
                  <p:nvSpPr>
                    <p:cNvPr id="736" name="Freeform: Shape 735">
                      <a:extLst>
                        <a:ext uri="{FF2B5EF4-FFF2-40B4-BE49-F238E27FC236}">
                          <a16:creationId xmlns:a16="http://schemas.microsoft.com/office/drawing/2014/main" id="{60C6359D-633F-4F35-86DB-DDC6FE557F71}"/>
                        </a:ext>
                      </a:extLst>
                    </p:cNvPr>
                    <p:cNvSpPr/>
                    <p:nvPr/>
                  </p:nvSpPr>
                  <p:spPr>
                    <a:xfrm>
                      <a:off x="3812937" y="534632"/>
                      <a:ext cx="22931" cy="74366"/>
                    </a:xfrm>
                    <a:custGeom>
                      <a:avLst/>
                      <a:gdLst>
                        <a:gd name="connsiteX0" fmla="*/ 11466 w 22931"/>
                        <a:gd name="connsiteY0" fmla="*/ 74366 h 74366"/>
                        <a:gd name="connsiteX1" fmla="*/ 0 w 22931"/>
                        <a:gd name="connsiteY1" fmla="*/ 62901 h 74366"/>
                        <a:gd name="connsiteX2" fmla="*/ 0 w 22931"/>
                        <a:gd name="connsiteY2" fmla="*/ 11466 h 74366"/>
                        <a:gd name="connsiteX3" fmla="*/ 11466 w 22931"/>
                        <a:gd name="connsiteY3" fmla="*/ 0 h 74366"/>
                        <a:gd name="connsiteX4" fmla="*/ 22931 w 22931"/>
                        <a:gd name="connsiteY4" fmla="*/ 11466 h 74366"/>
                        <a:gd name="connsiteX5" fmla="*/ 22931 w 22931"/>
                        <a:gd name="connsiteY5" fmla="*/ 62901 h 74366"/>
                        <a:gd name="connsiteX6" fmla="*/ 11466 w 22931"/>
                        <a:gd name="connsiteY6" fmla="*/ 74366 h 74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74366">
                          <a:moveTo>
                            <a:pt x="11466" y="74366"/>
                          </a:moveTo>
                          <a:cubicBezTo>
                            <a:pt x="5137" y="74366"/>
                            <a:pt x="0" y="69230"/>
                            <a:pt x="0" y="62901"/>
                          </a:cubicBezTo>
                          <a:lnTo>
                            <a:pt x="0" y="11466"/>
                          </a:lnTo>
                          <a:cubicBezTo>
                            <a:pt x="0" y="5137"/>
                            <a:pt x="5137" y="0"/>
                            <a:pt x="11466" y="0"/>
                          </a:cubicBezTo>
                          <a:cubicBezTo>
                            <a:pt x="17795" y="0"/>
                            <a:pt x="22931" y="5137"/>
                            <a:pt x="22931" y="11466"/>
                          </a:cubicBezTo>
                          <a:lnTo>
                            <a:pt x="22931" y="62901"/>
                          </a:lnTo>
                          <a:cubicBezTo>
                            <a:pt x="22931" y="69230"/>
                            <a:pt x="17795" y="74366"/>
                            <a:pt x="11466" y="74366"/>
                          </a:cubicBezTo>
                          <a:close/>
                        </a:path>
                      </a:pathLst>
                    </a:custGeom>
                    <a:grpFill/>
                    <a:ln w="1145" cap="flat">
                      <a:noFill/>
                      <a:prstDash val="solid"/>
                      <a:miter/>
                    </a:ln>
                  </p:spPr>
                  <p:txBody>
                    <a:bodyPr rtlCol="0" anchor="ctr"/>
                    <a:lstStyle/>
                    <a:p>
                      <a:endParaRPr lang="en-GB" dirty="0"/>
                    </a:p>
                  </p:txBody>
                </p:sp>
              </p:grpSp>
              <p:grpSp>
                <p:nvGrpSpPr>
                  <p:cNvPr id="729" name="Graphic 48">
                    <a:extLst>
                      <a:ext uri="{FF2B5EF4-FFF2-40B4-BE49-F238E27FC236}">
                        <a16:creationId xmlns:a16="http://schemas.microsoft.com/office/drawing/2014/main" id="{CF971DC3-3CDB-4AF3-BA74-9733A1D57010}"/>
                      </a:ext>
                    </a:extLst>
                  </p:cNvPr>
                  <p:cNvGrpSpPr/>
                  <p:nvPr/>
                </p:nvGrpSpPr>
                <p:grpSpPr>
                  <a:xfrm>
                    <a:off x="3928600" y="486783"/>
                    <a:ext cx="117102" cy="116241"/>
                    <a:chOff x="3928600" y="486783"/>
                    <a:chExt cx="117102" cy="116241"/>
                  </a:xfrm>
                  <a:grpFill/>
                </p:grpSpPr>
                <p:sp>
                  <p:nvSpPr>
                    <p:cNvPr id="733" name="Freeform: Shape 732">
                      <a:extLst>
                        <a:ext uri="{FF2B5EF4-FFF2-40B4-BE49-F238E27FC236}">
                          <a16:creationId xmlns:a16="http://schemas.microsoft.com/office/drawing/2014/main" id="{64532DAD-5E6F-497C-9C7E-BDEB560E7AD3}"/>
                        </a:ext>
                      </a:extLst>
                    </p:cNvPr>
                    <p:cNvSpPr/>
                    <p:nvPr/>
                  </p:nvSpPr>
                  <p:spPr>
                    <a:xfrm>
                      <a:off x="3955817" y="514322"/>
                      <a:ext cx="89885" cy="88702"/>
                    </a:xfrm>
                    <a:custGeom>
                      <a:avLst/>
                      <a:gdLst>
                        <a:gd name="connsiteX0" fmla="*/ 34391 w 89885"/>
                        <a:gd name="connsiteY0" fmla="*/ 88703 h 88702"/>
                        <a:gd name="connsiteX1" fmla="*/ 12538 w 89885"/>
                        <a:gd name="connsiteY1" fmla="*/ 79656 h 88702"/>
                        <a:gd name="connsiteX2" fmla="*/ 12538 w 89885"/>
                        <a:gd name="connsiteY2" fmla="*/ 12169 h 88702"/>
                        <a:gd name="connsiteX3" fmla="*/ 81125 w 89885"/>
                        <a:gd name="connsiteY3" fmla="*/ 12834 h 88702"/>
                        <a:gd name="connsiteX4" fmla="*/ 88016 w 89885"/>
                        <a:gd name="connsiteY4" fmla="*/ 45076 h 88702"/>
                        <a:gd name="connsiteX5" fmla="*/ 71173 w 89885"/>
                        <a:gd name="connsiteY5" fmla="*/ 70816 h 88702"/>
                        <a:gd name="connsiteX6" fmla="*/ 44653 w 89885"/>
                        <a:gd name="connsiteY6" fmla="*/ 87235 h 88702"/>
                        <a:gd name="connsiteX7" fmla="*/ 34391 w 89885"/>
                        <a:gd name="connsiteY7" fmla="*/ 88703 h 88702"/>
                        <a:gd name="connsiteX8" fmla="*/ 45593 w 89885"/>
                        <a:gd name="connsiteY8" fmla="*/ 23004 h 88702"/>
                        <a:gd name="connsiteX9" fmla="*/ 28750 w 89885"/>
                        <a:gd name="connsiteY9" fmla="*/ 28382 h 88702"/>
                        <a:gd name="connsiteX10" fmla="*/ 28750 w 89885"/>
                        <a:gd name="connsiteY10" fmla="*/ 63444 h 88702"/>
                        <a:gd name="connsiteX11" fmla="*/ 38508 w 89885"/>
                        <a:gd name="connsiteY11" fmla="*/ 65152 h 88702"/>
                        <a:gd name="connsiteX12" fmla="*/ 54972 w 89885"/>
                        <a:gd name="connsiteY12" fmla="*/ 54604 h 88702"/>
                        <a:gd name="connsiteX13" fmla="*/ 66197 w 89885"/>
                        <a:gd name="connsiteY13" fmla="*/ 38036 h 88702"/>
                        <a:gd name="connsiteX14" fmla="*/ 64913 w 89885"/>
                        <a:gd name="connsiteY14" fmla="*/ 29058 h 88702"/>
                        <a:gd name="connsiteX15" fmla="*/ 45593 w 89885"/>
                        <a:gd name="connsiteY15" fmla="*/ 23004 h 8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885" h="88702">
                          <a:moveTo>
                            <a:pt x="34391" y="88703"/>
                          </a:moveTo>
                          <a:cubicBezTo>
                            <a:pt x="26044" y="88703"/>
                            <a:pt x="18500" y="85630"/>
                            <a:pt x="12538" y="79656"/>
                          </a:cubicBezTo>
                          <a:cubicBezTo>
                            <a:pt x="-4179" y="62939"/>
                            <a:pt x="-4179" y="28886"/>
                            <a:pt x="12538" y="12169"/>
                          </a:cubicBezTo>
                          <a:cubicBezTo>
                            <a:pt x="29037" y="-4330"/>
                            <a:pt x="64305" y="-3997"/>
                            <a:pt x="81125" y="12834"/>
                          </a:cubicBezTo>
                          <a:cubicBezTo>
                            <a:pt x="89564" y="21262"/>
                            <a:pt x="92006" y="32716"/>
                            <a:pt x="88016" y="45076"/>
                          </a:cubicBezTo>
                          <a:cubicBezTo>
                            <a:pt x="84508" y="55945"/>
                            <a:pt x="76918" y="65072"/>
                            <a:pt x="71173" y="70816"/>
                          </a:cubicBezTo>
                          <a:cubicBezTo>
                            <a:pt x="63113" y="78888"/>
                            <a:pt x="53700" y="84713"/>
                            <a:pt x="44653" y="87235"/>
                          </a:cubicBezTo>
                          <a:cubicBezTo>
                            <a:pt x="41145" y="88221"/>
                            <a:pt x="37705" y="88703"/>
                            <a:pt x="34391" y="88703"/>
                          </a:cubicBezTo>
                          <a:close/>
                          <a:moveTo>
                            <a:pt x="45593" y="23004"/>
                          </a:moveTo>
                          <a:cubicBezTo>
                            <a:pt x="38978" y="23004"/>
                            <a:pt x="32477" y="24667"/>
                            <a:pt x="28750" y="28382"/>
                          </a:cubicBezTo>
                          <a:cubicBezTo>
                            <a:pt x="20632" y="36511"/>
                            <a:pt x="21825" y="56519"/>
                            <a:pt x="28750" y="63444"/>
                          </a:cubicBezTo>
                          <a:cubicBezTo>
                            <a:pt x="29794" y="64476"/>
                            <a:pt x="32236" y="66906"/>
                            <a:pt x="38508" y="65152"/>
                          </a:cubicBezTo>
                          <a:cubicBezTo>
                            <a:pt x="43724" y="63696"/>
                            <a:pt x="49732" y="59855"/>
                            <a:pt x="54972" y="54604"/>
                          </a:cubicBezTo>
                          <a:cubicBezTo>
                            <a:pt x="60487" y="49089"/>
                            <a:pt x="64580" y="43046"/>
                            <a:pt x="66197" y="38036"/>
                          </a:cubicBezTo>
                          <a:cubicBezTo>
                            <a:pt x="68077" y="32223"/>
                            <a:pt x="66014" y="30159"/>
                            <a:pt x="64913" y="29058"/>
                          </a:cubicBezTo>
                          <a:cubicBezTo>
                            <a:pt x="61095" y="25240"/>
                            <a:pt x="53264" y="23004"/>
                            <a:pt x="45593" y="23004"/>
                          </a:cubicBezTo>
                          <a:close/>
                        </a:path>
                      </a:pathLst>
                    </a:custGeom>
                    <a:grpFill/>
                    <a:ln w="1145" cap="flat">
                      <a:noFill/>
                      <a:prstDash val="solid"/>
                      <a:miter/>
                    </a:ln>
                  </p:spPr>
                  <p:txBody>
                    <a:bodyPr rtlCol="0" anchor="ctr"/>
                    <a:lstStyle/>
                    <a:p>
                      <a:endParaRPr lang="en-GB" dirty="0"/>
                    </a:p>
                  </p:txBody>
                </p:sp>
                <p:sp>
                  <p:nvSpPr>
                    <p:cNvPr id="734" name="Freeform: Shape 733">
                      <a:extLst>
                        <a:ext uri="{FF2B5EF4-FFF2-40B4-BE49-F238E27FC236}">
                          <a16:creationId xmlns:a16="http://schemas.microsoft.com/office/drawing/2014/main" id="{4775EFF7-A5EC-4458-B77D-2290D9D128B6}"/>
                        </a:ext>
                      </a:extLst>
                    </p:cNvPr>
                    <p:cNvSpPr/>
                    <p:nvPr/>
                  </p:nvSpPr>
                  <p:spPr>
                    <a:xfrm>
                      <a:off x="3928600" y="486783"/>
                      <a:ext cx="59306" cy="59303"/>
                    </a:xfrm>
                    <a:custGeom>
                      <a:avLst/>
                      <a:gdLst>
                        <a:gd name="connsiteX0" fmla="*/ 47838 w 59306"/>
                        <a:gd name="connsiteY0" fmla="*/ 59303 h 59303"/>
                        <a:gd name="connsiteX1" fmla="*/ 39731 w 59306"/>
                        <a:gd name="connsiteY1" fmla="*/ 55944 h 59303"/>
                        <a:gd name="connsiteX2" fmla="*/ 3362 w 59306"/>
                        <a:gd name="connsiteY2" fmla="*/ 19575 h 59303"/>
                        <a:gd name="connsiteX3" fmla="*/ 3362 w 59306"/>
                        <a:gd name="connsiteY3" fmla="*/ 3362 h 59303"/>
                        <a:gd name="connsiteX4" fmla="*/ 19575 w 59306"/>
                        <a:gd name="connsiteY4" fmla="*/ 3362 h 59303"/>
                        <a:gd name="connsiteX5" fmla="*/ 55944 w 59306"/>
                        <a:gd name="connsiteY5" fmla="*/ 39731 h 59303"/>
                        <a:gd name="connsiteX6" fmla="*/ 55944 w 59306"/>
                        <a:gd name="connsiteY6" fmla="*/ 55944 h 59303"/>
                        <a:gd name="connsiteX7" fmla="*/ 47838 w 59306"/>
                        <a:gd name="connsiteY7" fmla="*/ 59303 h 5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06" h="59303">
                          <a:moveTo>
                            <a:pt x="47838" y="59303"/>
                          </a:moveTo>
                          <a:cubicBezTo>
                            <a:pt x="44902" y="59303"/>
                            <a:pt x="41967" y="58180"/>
                            <a:pt x="39731" y="55944"/>
                          </a:cubicBezTo>
                          <a:lnTo>
                            <a:pt x="3362" y="19575"/>
                          </a:lnTo>
                          <a:cubicBezTo>
                            <a:pt x="-1121" y="15092"/>
                            <a:pt x="-1121" y="7845"/>
                            <a:pt x="3362" y="3362"/>
                          </a:cubicBezTo>
                          <a:cubicBezTo>
                            <a:pt x="7845" y="-1121"/>
                            <a:pt x="15092" y="-1121"/>
                            <a:pt x="19575" y="3362"/>
                          </a:cubicBezTo>
                          <a:lnTo>
                            <a:pt x="55944" y="39731"/>
                          </a:lnTo>
                          <a:cubicBezTo>
                            <a:pt x="60427" y="44215"/>
                            <a:pt x="60427" y="51461"/>
                            <a:pt x="55944" y="55944"/>
                          </a:cubicBezTo>
                          <a:cubicBezTo>
                            <a:pt x="53708" y="58180"/>
                            <a:pt x="50773" y="59303"/>
                            <a:pt x="47838" y="59303"/>
                          </a:cubicBezTo>
                          <a:close/>
                        </a:path>
                      </a:pathLst>
                    </a:custGeom>
                    <a:grpFill/>
                    <a:ln w="1145" cap="flat">
                      <a:noFill/>
                      <a:prstDash val="solid"/>
                      <a:miter/>
                    </a:ln>
                  </p:spPr>
                  <p:txBody>
                    <a:bodyPr rtlCol="0" anchor="ctr"/>
                    <a:lstStyle/>
                    <a:p>
                      <a:endParaRPr lang="en-GB" dirty="0"/>
                    </a:p>
                  </p:txBody>
                </p:sp>
              </p:grpSp>
              <p:grpSp>
                <p:nvGrpSpPr>
                  <p:cNvPr id="730" name="Graphic 48">
                    <a:extLst>
                      <a:ext uri="{FF2B5EF4-FFF2-40B4-BE49-F238E27FC236}">
                        <a16:creationId xmlns:a16="http://schemas.microsoft.com/office/drawing/2014/main" id="{5EC8B9A1-FD57-456B-914E-6CE98BDC952B}"/>
                      </a:ext>
                    </a:extLst>
                  </p:cNvPr>
                  <p:cNvGrpSpPr/>
                  <p:nvPr/>
                </p:nvGrpSpPr>
                <p:grpSpPr>
                  <a:xfrm>
                    <a:off x="3603409" y="487173"/>
                    <a:ext cx="117094" cy="116241"/>
                    <a:chOff x="3603409" y="487173"/>
                    <a:chExt cx="117094" cy="116241"/>
                  </a:xfrm>
                  <a:grpFill/>
                </p:grpSpPr>
                <p:sp>
                  <p:nvSpPr>
                    <p:cNvPr id="731" name="Freeform: Shape 730">
                      <a:extLst>
                        <a:ext uri="{FF2B5EF4-FFF2-40B4-BE49-F238E27FC236}">
                          <a16:creationId xmlns:a16="http://schemas.microsoft.com/office/drawing/2014/main" id="{B90A5423-1539-4C8E-81DF-00E19094A0B8}"/>
                        </a:ext>
                      </a:extLst>
                    </p:cNvPr>
                    <p:cNvSpPr/>
                    <p:nvPr/>
                  </p:nvSpPr>
                  <p:spPr>
                    <a:xfrm>
                      <a:off x="3603409" y="514716"/>
                      <a:ext cx="89858" cy="88698"/>
                    </a:xfrm>
                    <a:custGeom>
                      <a:avLst/>
                      <a:gdLst>
                        <a:gd name="connsiteX0" fmla="*/ 55487 w 89858"/>
                        <a:gd name="connsiteY0" fmla="*/ 88698 h 88698"/>
                        <a:gd name="connsiteX1" fmla="*/ 45214 w 89858"/>
                        <a:gd name="connsiteY1" fmla="*/ 87231 h 88698"/>
                        <a:gd name="connsiteX2" fmla="*/ 18694 w 89858"/>
                        <a:gd name="connsiteY2" fmla="*/ 70812 h 88698"/>
                        <a:gd name="connsiteX3" fmla="*/ 8741 w 89858"/>
                        <a:gd name="connsiteY3" fmla="*/ 12830 h 88698"/>
                        <a:gd name="connsiteX4" fmla="*/ 77329 w 89858"/>
                        <a:gd name="connsiteY4" fmla="*/ 12165 h 88698"/>
                        <a:gd name="connsiteX5" fmla="*/ 77329 w 89858"/>
                        <a:gd name="connsiteY5" fmla="*/ 79652 h 88698"/>
                        <a:gd name="connsiteX6" fmla="*/ 55487 w 89858"/>
                        <a:gd name="connsiteY6" fmla="*/ 88698 h 88698"/>
                        <a:gd name="connsiteX7" fmla="*/ 44285 w 89858"/>
                        <a:gd name="connsiteY7" fmla="*/ 22989 h 88698"/>
                        <a:gd name="connsiteX8" fmla="*/ 24965 w 89858"/>
                        <a:gd name="connsiteY8" fmla="*/ 29031 h 88698"/>
                        <a:gd name="connsiteX9" fmla="*/ 23681 w 89858"/>
                        <a:gd name="connsiteY9" fmla="*/ 38009 h 88698"/>
                        <a:gd name="connsiteX10" fmla="*/ 34906 w 89858"/>
                        <a:gd name="connsiteY10" fmla="*/ 54588 h 88698"/>
                        <a:gd name="connsiteX11" fmla="*/ 51371 w 89858"/>
                        <a:gd name="connsiteY11" fmla="*/ 65136 h 88698"/>
                        <a:gd name="connsiteX12" fmla="*/ 61128 w 89858"/>
                        <a:gd name="connsiteY12" fmla="*/ 63428 h 88698"/>
                        <a:gd name="connsiteX13" fmla="*/ 61128 w 89858"/>
                        <a:gd name="connsiteY13" fmla="*/ 28366 h 88698"/>
                        <a:gd name="connsiteX14" fmla="*/ 44285 w 89858"/>
                        <a:gd name="connsiteY14" fmla="*/ 22989 h 8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858" h="88698">
                          <a:moveTo>
                            <a:pt x="55487" y="88698"/>
                          </a:moveTo>
                          <a:cubicBezTo>
                            <a:pt x="52173" y="88698"/>
                            <a:pt x="48734" y="88217"/>
                            <a:pt x="45214" y="87231"/>
                          </a:cubicBezTo>
                          <a:cubicBezTo>
                            <a:pt x="36179" y="84708"/>
                            <a:pt x="26765" y="78872"/>
                            <a:pt x="18694" y="70812"/>
                          </a:cubicBezTo>
                          <a:cubicBezTo>
                            <a:pt x="-1945" y="50174"/>
                            <a:pt x="-5843" y="27414"/>
                            <a:pt x="8741" y="12830"/>
                          </a:cubicBezTo>
                          <a:cubicBezTo>
                            <a:pt x="25573" y="-3990"/>
                            <a:pt x="60830" y="-4334"/>
                            <a:pt x="77329" y="12165"/>
                          </a:cubicBezTo>
                          <a:cubicBezTo>
                            <a:pt x="94034" y="28882"/>
                            <a:pt x="94034" y="62935"/>
                            <a:pt x="77329" y="79652"/>
                          </a:cubicBezTo>
                          <a:cubicBezTo>
                            <a:pt x="71378" y="85626"/>
                            <a:pt x="63834" y="88698"/>
                            <a:pt x="55487" y="88698"/>
                          </a:cubicBezTo>
                          <a:close/>
                          <a:moveTo>
                            <a:pt x="44285" y="22989"/>
                          </a:moveTo>
                          <a:cubicBezTo>
                            <a:pt x="36614" y="22989"/>
                            <a:pt x="28783" y="25224"/>
                            <a:pt x="24965" y="29031"/>
                          </a:cubicBezTo>
                          <a:cubicBezTo>
                            <a:pt x="23865" y="30143"/>
                            <a:pt x="21801" y="32196"/>
                            <a:pt x="23681" y="38009"/>
                          </a:cubicBezTo>
                          <a:cubicBezTo>
                            <a:pt x="25298" y="43031"/>
                            <a:pt x="29391" y="49062"/>
                            <a:pt x="34906" y="54588"/>
                          </a:cubicBezTo>
                          <a:cubicBezTo>
                            <a:pt x="40157" y="59839"/>
                            <a:pt x="46154" y="63669"/>
                            <a:pt x="51371" y="65136"/>
                          </a:cubicBezTo>
                          <a:cubicBezTo>
                            <a:pt x="57631" y="66891"/>
                            <a:pt x="60073" y="64460"/>
                            <a:pt x="61128" y="63428"/>
                          </a:cubicBezTo>
                          <a:cubicBezTo>
                            <a:pt x="68042" y="56503"/>
                            <a:pt x="69246" y="36495"/>
                            <a:pt x="61128" y="28366"/>
                          </a:cubicBezTo>
                          <a:cubicBezTo>
                            <a:pt x="57402" y="24651"/>
                            <a:pt x="50901" y="22989"/>
                            <a:pt x="44285" y="22989"/>
                          </a:cubicBezTo>
                          <a:close/>
                        </a:path>
                      </a:pathLst>
                    </a:custGeom>
                    <a:grpFill/>
                    <a:ln w="1145" cap="flat">
                      <a:noFill/>
                      <a:prstDash val="solid"/>
                      <a:miter/>
                    </a:ln>
                  </p:spPr>
                  <p:txBody>
                    <a:bodyPr rtlCol="0" anchor="ctr"/>
                    <a:lstStyle/>
                    <a:p>
                      <a:endParaRPr lang="en-GB" dirty="0"/>
                    </a:p>
                  </p:txBody>
                </p:sp>
                <p:sp>
                  <p:nvSpPr>
                    <p:cNvPr id="732" name="Freeform: Shape 731">
                      <a:extLst>
                        <a:ext uri="{FF2B5EF4-FFF2-40B4-BE49-F238E27FC236}">
                          <a16:creationId xmlns:a16="http://schemas.microsoft.com/office/drawing/2014/main" id="{CE45D433-6B2A-4F44-BF4B-10DD3FB8ABAA}"/>
                        </a:ext>
                      </a:extLst>
                    </p:cNvPr>
                    <p:cNvSpPr/>
                    <p:nvPr/>
                  </p:nvSpPr>
                  <p:spPr>
                    <a:xfrm>
                      <a:off x="3661198" y="487173"/>
                      <a:ext cx="59306" cy="59303"/>
                    </a:xfrm>
                    <a:custGeom>
                      <a:avLst/>
                      <a:gdLst>
                        <a:gd name="connsiteX0" fmla="*/ 11469 w 59306"/>
                        <a:gd name="connsiteY0" fmla="*/ 59303 h 59303"/>
                        <a:gd name="connsiteX1" fmla="*/ 3362 w 59306"/>
                        <a:gd name="connsiteY1" fmla="*/ 55944 h 59303"/>
                        <a:gd name="connsiteX2" fmla="*/ 3362 w 59306"/>
                        <a:gd name="connsiteY2" fmla="*/ 39731 h 59303"/>
                        <a:gd name="connsiteX3" fmla="*/ 39731 w 59306"/>
                        <a:gd name="connsiteY3" fmla="*/ 3362 h 59303"/>
                        <a:gd name="connsiteX4" fmla="*/ 55944 w 59306"/>
                        <a:gd name="connsiteY4" fmla="*/ 3362 h 59303"/>
                        <a:gd name="connsiteX5" fmla="*/ 55944 w 59306"/>
                        <a:gd name="connsiteY5" fmla="*/ 19575 h 59303"/>
                        <a:gd name="connsiteX6" fmla="*/ 19575 w 59306"/>
                        <a:gd name="connsiteY6" fmla="*/ 55944 h 59303"/>
                        <a:gd name="connsiteX7" fmla="*/ 11469 w 59306"/>
                        <a:gd name="connsiteY7" fmla="*/ 59303 h 59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06" h="59303">
                          <a:moveTo>
                            <a:pt x="11469" y="59303"/>
                          </a:moveTo>
                          <a:cubicBezTo>
                            <a:pt x="8533" y="59303"/>
                            <a:pt x="5598" y="58180"/>
                            <a:pt x="3362" y="55944"/>
                          </a:cubicBezTo>
                          <a:cubicBezTo>
                            <a:pt x="-1121" y="51461"/>
                            <a:pt x="-1121" y="44214"/>
                            <a:pt x="3362" y="39731"/>
                          </a:cubicBezTo>
                          <a:lnTo>
                            <a:pt x="39731" y="3362"/>
                          </a:lnTo>
                          <a:cubicBezTo>
                            <a:pt x="44214" y="-1121"/>
                            <a:pt x="51461" y="-1121"/>
                            <a:pt x="55944" y="3362"/>
                          </a:cubicBezTo>
                          <a:cubicBezTo>
                            <a:pt x="60427" y="7845"/>
                            <a:pt x="60427" y="15092"/>
                            <a:pt x="55944" y="19575"/>
                          </a:cubicBezTo>
                          <a:lnTo>
                            <a:pt x="19575" y="55944"/>
                          </a:lnTo>
                          <a:cubicBezTo>
                            <a:pt x="17327" y="58180"/>
                            <a:pt x="14392" y="59303"/>
                            <a:pt x="11469" y="59303"/>
                          </a:cubicBezTo>
                          <a:close/>
                        </a:path>
                      </a:pathLst>
                    </a:custGeom>
                    <a:grpFill/>
                    <a:ln w="1145" cap="flat">
                      <a:noFill/>
                      <a:prstDash val="solid"/>
                      <a:miter/>
                    </a:ln>
                  </p:spPr>
                  <p:txBody>
                    <a:bodyPr rtlCol="0" anchor="ctr"/>
                    <a:lstStyle/>
                    <a:p>
                      <a:endParaRPr lang="en-GB" dirty="0"/>
                    </a:p>
                  </p:txBody>
                </p:sp>
              </p:grpSp>
            </p:grpSp>
            <p:sp>
              <p:nvSpPr>
                <p:cNvPr id="720" name="Freeform: Shape 719">
                  <a:extLst>
                    <a:ext uri="{FF2B5EF4-FFF2-40B4-BE49-F238E27FC236}">
                      <a16:creationId xmlns:a16="http://schemas.microsoft.com/office/drawing/2014/main" id="{583977DB-DABF-40AE-BCF7-4B99489C66D7}"/>
                    </a:ext>
                  </a:extLst>
                </p:cNvPr>
                <p:cNvSpPr/>
                <p:nvPr/>
              </p:nvSpPr>
              <p:spPr>
                <a:xfrm>
                  <a:off x="3880924" y="520271"/>
                  <a:ext cx="35919" cy="51211"/>
                </a:xfrm>
                <a:custGeom>
                  <a:avLst/>
                  <a:gdLst>
                    <a:gd name="connsiteX0" fmla="*/ 24460 w 35919"/>
                    <a:gd name="connsiteY0" fmla="*/ 51212 h 51211"/>
                    <a:gd name="connsiteX1" fmla="*/ 14038 w 35919"/>
                    <a:gd name="connsiteY1" fmla="*/ 44527 h 51211"/>
                    <a:gd name="connsiteX2" fmla="*/ 1048 w 35919"/>
                    <a:gd name="connsiteY2" fmla="*/ 16253 h 51211"/>
                    <a:gd name="connsiteX3" fmla="*/ 6677 w 35919"/>
                    <a:gd name="connsiteY3" fmla="*/ 1049 h 51211"/>
                    <a:gd name="connsiteX4" fmla="*/ 21881 w 35919"/>
                    <a:gd name="connsiteY4" fmla="*/ 6679 h 51211"/>
                    <a:gd name="connsiteX5" fmla="*/ 34871 w 35919"/>
                    <a:gd name="connsiteY5" fmla="*/ 34953 h 51211"/>
                    <a:gd name="connsiteX6" fmla="*/ 29242 w 35919"/>
                    <a:gd name="connsiteY6" fmla="*/ 50157 h 51211"/>
                    <a:gd name="connsiteX7" fmla="*/ 24460 w 35919"/>
                    <a:gd name="connsiteY7" fmla="*/ 51212 h 51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919" h="51211">
                      <a:moveTo>
                        <a:pt x="24460" y="51212"/>
                      </a:moveTo>
                      <a:cubicBezTo>
                        <a:pt x="20126" y="51212"/>
                        <a:pt x="15964" y="48735"/>
                        <a:pt x="14038" y="44527"/>
                      </a:cubicBezTo>
                      <a:lnTo>
                        <a:pt x="1048" y="16253"/>
                      </a:lnTo>
                      <a:cubicBezTo>
                        <a:pt x="-1589" y="10497"/>
                        <a:pt x="921" y="3687"/>
                        <a:pt x="6677" y="1049"/>
                      </a:cubicBezTo>
                      <a:cubicBezTo>
                        <a:pt x="12433" y="-1588"/>
                        <a:pt x="19232" y="912"/>
                        <a:pt x="21881" y="6679"/>
                      </a:cubicBezTo>
                      <a:lnTo>
                        <a:pt x="34871" y="34953"/>
                      </a:lnTo>
                      <a:cubicBezTo>
                        <a:pt x="37508" y="40709"/>
                        <a:pt x="34998" y="47520"/>
                        <a:pt x="29242" y="50157"/>
                      </a:cubicBezTo>
                      <a:cubicBezTo>
                        <a:pt x="27694" y="50868"/>
                        <a:pt x="26066" y="51212"/>
                        <a:pt x="24460" y="51212"/>
                      </a:cubicBezTo>
                      <a:close/>
                    </a:path>
                  </a:pathLst>
                </a:custGeom>
                <a:grpFill/>
                <a:ln w="1145" cap="flat">
                  <a:noFill/>
                  <a:prstDash val="solid"/>
                  <a:miter/>
                </a:ln>
              </p:spPr>
              <p:txBody>
                <a:bodyPr rtlCol="0" anchor="ctr"/>
                <a:lstStyle/>
                <a:p>
                  <a:endParaRPr lang="en-GB" dirty="0"/>
                </a:p>
              </p:txBody>
            </p:sp>
            <p:sp>
              <p:nvSpPr>
                <p:cNvPr id="721" name="Freeform: Shape 720">
                  <a:extLst>
                    <a:ext uri="{FF2B5EF4-FFF2-40B4-BE49-F238E27FC236}">
                      <a16:creationId xmlns:a16="http://schemas.microsoft.com/office/drawing/2014/main" id="{65872FA1-E095-4F7B-8F3A-9461F3212480}"/>
                    </a:ext>
                  </a:extLst>
                </p:cNvPr>
                <p:cNvSpPr/>
                <p:nvPr/>
              </p:nvSpPr>
              <p:spPr>
                <a:xfrm>
                  <a:off x="3731011" y="193840"/>
                  <a:ext cx="36159" cy="51742"/>
                </a:xfrm>
                <a:custGeom>
                  <a:avLst/>
                  <a:gdLst>
                    <a:gd name="connsiteX0" fmla="*/ 24701 w 36159"/>
                    <a:gd name="connsiteY0" fmla="*/ 51742 h 51742"/>
                    <a:gd name="connsiteX1" fmla="*/ 14279 w 36159"/>
                    <a:gd name="connsiteY1" fmla="*/ 45058 h 51742"/>
                    <a:gd name="connsiteX2" fmla="*/ 1048 w 36159"/>
                    <a:gd name="connsiteY2" fmla="*/ 16256 h 51742"/>
                    <a:gd name="connsiteX3" fmla="*/ 6677 w 36159"/>
                    <a:gd name="connsiteY3" fmla="*/ 1053 h 51742"/>
                    <a:gd name="connsiteX4" fmla="*/ 21881 w 36159"/>
                    <a:gd name="connsiteY4" fmla="*/ 6682 h 51742"/>
                    <a:gd name="connsiteX5" fmla="*/ 35112 w 36159"/>
                    <a:gd name="connsiteY5" fmla="*/ 35484 h 51742"/>
                    <a:gd name="connsiteX6" fmla="*/ 29482 w 36159"/>
                    <a:gd name="connsiteY6" fmla="*/ 50687 h 51742"/>
                    <a:gd name="connsiteX7" fmla="*/ 24701 w 36159"/>
                    <a:gd name="connsiteY7" fmla="*/ 51742 h 51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59" h="51742">
                      <a:moveTo>
                        <a:pt x="24701" y="51742"/>
                      </a:moveTo>
                      <a:cubicBezTo>
                        <a:pt x="20367" y="51742"/>
                        <a:pt x="16205" y="49266"/>
                        <a:pt x="14279" y="45058"/>
                      </a:cubicBezTo>
                      <a:lnTo>
                        <a:pt x="1048" y="16256"/>
                      </a:lnTo>
                      <a:cubicBezTo>
                        <a:pt x="-1589" y="10500"/>
                        <a:pt x="921" y="3690"/>
                        <a:pt x="6677" y="1053"/>
                      </a:cubicBezTo>
                      <a:cubicBezTo>
                        <a:pt x="12422" y="-1596"/>
                        <a:pt x="19232" y="926"/>
                        <a:pt x="21881" y="6682"/>
                      </a:cubicBezTo>
                      <a:lnTo>
                        <a:pt x="35112" y="35484"/>
                      </a:lnTo>
                      <a:cubicBezTo>
                        <a:pt x="37749" y="41240"/>
                        <a:pt x="35238" y="48050"/>
                        <a:pt x="29482" y="50687"/>
                      </a:cubicBezTo>
                      <a:cubicBezTo>
                        <a:pt x="27935" y="51410"/>
                        <a:pt x="26306" y="51742"/>
                        <a:pt x="24701" y="51742"/>
                      </a:cubicBezTo>
                      <a:close/>
                    </a:path>
                  </a:pathLst>
                </a:custGeom>
                <a:grpFill/>
                <a:ln w="1145" cap="flat">
                  <a:noFill/>
                  <a:prstDash val="solid"/>
                  <a:miter/>
                </a:ln>
              </p:spPr>
              <p:txBody>
                <a:bodyPr rtlCol="0" anchor="ctr"/>
                <a:lstStyle/>
                <a:p>
                  <a:endParaRPr lang="en-GB" dirty="0"/>
                </a:p>
              </p:txBody>
            </p:sp>
            <p:sp>
              <p:nvSpPr>
                <p:cNvPr id="722" name="Freeform: Shape 721">
                  <a:extLst>
                    <a:ext uri="{FF2B5EF4-FFF2-40B4-BE49-F238E27FC236}">
                      <a16:creationId xmlns:a16="http://schemas.microsoft.com/office/drawing/2014/main" id="{3673E9EB-E609-4715-ABDB-05FE1C6F81C9}"/>
                    </a:ext>
                  </a:extLst>
                </p:cNvPr>
                <p:cNvSpPr/>
                <p:nvPr/>
              </p:nvSpPr>
              <p:spPr>
                <a:xfrm>
                  <a:off x="3963318" y="439653"/>
                  <a:ext cx="50339" cy="35426"/>
                </a:xfrm>
                <a:custGeom>
                  <a:avLst/>
                  <a:gdLst>
                    <a:gd name="connsiteX0" fmla="*/ 38860 w 50339"/>
                    <a:gd name="connsiteY0" fmla="*/ 35426 h 35426"/>
                    <a:gd name="connsiteX1" fmla="*/ 34113 w 50339"/>
                    <a:gd name="connsiteY1" fmla="*/ 34395 h 35426"/>
                    <a:gd name="connsiteX2" fmla="*/ 6721 w 50339"/>
                    <a:gd name="connsiteY2" fmla="*/ 21908 h 35426"/>
                    <a:gd name="connsiteX3" fmla="*/ 1034 w 50339"/>
                    <a:gd name="connsiteY3" fmla="*/ 6716 h 35426"/>
                    <a:gd name="connsiteX4" fmla="*/ 16226 w 50339"/>
                    <a:gd name="connsiteY4" fmla="*/ 1029 h 35426"/>
                    <a:gd name="connsiteX5" fmla="*/ 43618 w 50339"/>
                    <a:gd name="connsiteY5" fmla="*/ 13515 h 35426"/>
                    <a:gd name="connsiteX6" fmla="*/ 49305 w 50339"/>
                    <a:gd name="connsiteY6" fmla="*/ 28708 h 35426"/>
                    <a:gd name="connsiteX7" fmla="*/ 38860 w 50339"/>
                    <a:gd name="connsiteY7" fmla="*/ 35426 h 35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39" h="35426">
                      <a:moveTo>
                        <a:pt x="38860" y="35426"/>
                      </a:moveTo>
                      <a:cubicBezTo>
                        <a:pt x="37266" y="35426"/>
                        <a:pt x="35649" y="35094"/>
                        <a:pt x="34113" y="34395"/>
                      </a:cubicBezTo>
                      <a:lnTo>
                        <a:pt x="6721" y="21908"/>
                      </a:lnTo>
                      <a:cubicBezTo>
                        <a:pt x="954" y="19283"/>
                        <a:pt x="-1591" y="12484"/>
                        <a:pt x="1034" y="6716"/>
                      </a:cubicBezTo>
                      <a:cubicBezTo>
                        <a:pt x="3660" y="949"/>
                        <a:pt x="10471" y="-1585"/>
                        <a:pt x="16226" y="1029"/>
                      </a:cubicBezTo>
                      <a:lnTo>
                        <a:pt x="43618" y="13515"/>
                      </a:lnTo>
                      <a:cubicBezTo>
                        <a:pt x="49385" y="16141"/>
                        <a:pt x="51930" y="22940"/>
                        <a:pt x="49305" y="28708"/>
                      </a:cubicBezTo>
                      <a:cubicBezTo>
                        <a:pt x="47367" y="32927"/>
                        <a:pt x="43205" y="35426"/>
                        <a:pt x="38860" y="35426"/>
                      </a:cubicBezTo>
                      <a:close/>
                    </a:path>
                  </a:pathLst>
                </a:custGeom>
                <a:grpFill/>
                <a:ln w="1145" cap="flat">
                  <a:noFill/>
                  <a:prstDash val="solid"/>
                  <a:miter/>
                </a:ln>
              </p:spPr>
              <p:txBody>
                <a:bodyPr rtlCol="0" anchor="ctr"/>
                <a:lstStyle/>
                <a:p>
                  <a:endParaRPr lang="en-GB" dirty="0"/>
                </a:p>
              </p:txBody>
            </p:sp>
            <p:sp>
              <p:nvSpPr>
                <p:cNvPr id="723" name="Freeform: Shape 722">
                  <a:extLst>
                    <a:ext uri="{FF2B5EF4-FFF2-40B4-BE49-F238E27FC236}">
                      <a16:creationId xmlns:a16="http://schemas.microsoft.com/office/drawing/2014/main" id="{97743C14-B42B-46ED-8BE2-0AE1DF1F9725}"/>
                    </a:ext>
                  </a:extLst>
                </p:cNvPr>
                <p:cNvSpPr/>
                <p:nvPr/>
              </p:nvSpPr>
              <p:spPr>
                <a:xfrm>
                  <a:off x="3635538" y="290246"/>
                  <a:ext cx="51118" cy="35780"/>
                </a:xfrm>
                <a:custGeom>
                  <a:avLst/>
                  <a:gdLst>
                    <a:gd name="connsiteX0" fmla="*/ 39639 w 51118"/>
                    <a:gd name="connsiteY0" fmla="*/ 35780 h 35780"/>
                    <a:gd name="connsiteX1" fmla="*/ 34893 w 51118"/>
                    <a:gd name="connsiteY1" fmla="*/ 34748 h 35780"/>
                    <a:gd name="connsiteX2" fmla="*/ 6721 w 51118"/>
                    <a:gd name="connsiteY2" fmla="*/ 21907 h 35780"/>
                    <a:gd name="connsiteX3" fmla="*/ 1034 w 51118"/>
                    <a:gd name="connsiteY3" fmla="*/ 6715 h 35780"/>
                    <a:gd name="connsiteX4" fmla="*/ 16226 w 51118"/>
                    <a:gd name="connsiteY4" fmla="*/ 1028 h 35780"/>
                    <a:gd name="connsiteX5" fmla="*/ 44397 w 51118"/>
                    <a:gd name="connsiteY5" fmla="*/ 13869 h 35780"/>
                    <a:gd name="connsiteX6" fmla="*/ 50085 w 51118"/>
                    <a:gd name="connsiteY6" fmla="*/ 29061 h 35780"/>
                    <a:gd name="connsiteX7" fmla="*/ 39639 w 51118"/>
                    <a:gd name="connsiteY7" fmla="*/ 35780 h 35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118" h="35780">
                      <a:moveTo>
                        <a:pt x="39639" y="35780"/>
                      </a:moveTo>
                      <a:cubicBezTo>
                        <a:pt x="38046" y="35780"/>
                        <a:pt x="36429" y="35448"/>
                        <a:pt x="34893" y="34748"/>
                      </a:cubicBezTo>
                      <a:lnTo>
                        <a:pt x="6721" y="21907"/>
                      </a:lnTo>
                      <a:cubicBezTo>
                        <a:pt x="954" y="19281"/>
                        <a:pt x="-1591" y="12482"/>
                        <a:pt x="1034" y="6715"/>
                      </a:cubicBezTo>
                      <a:cubicBezTo>
                        <a:pt x="3660" y="959"/>
                        <a:pt x="10482" y="-1587"/>
                        <a:pt x="16226" y="1028"/>
                      </a:cubicBezTo>
                      <a:lnTo>
                        <a:pt x="44397" y="13869"/>
                      </a:lnTo>
                      <a:cubicBezTo>
                        <a:pt x="50165" y="16495"/>
                        <a:pt x="52710" y="23294"/>
                        <a:pt x="50085" y="29061"/>
                      </a:cubicBezTo>
                      <a:cubicBezTo>
                        <a:pt x="48158" y="33281"/>
                        <a:pt x="43996" y="35780"/>
                        <a:pt x="39639" y="35780"/>
                      </a:cubicBezTo>
                      <a:close/>
                    </a:path>
                  </a:pathLst>
                </a:custGeom>
                <a:grpFill/>
                <a:ln w="1145" cap="flat">
                  <a:noFill/>
                  <a:prstDash val="solid"/>
                  <a:miter/>
                </a:ln>
              </p:spPr>
              <p:txBody>
                <a:bodyPr rtlCol="0" anchor="ctr"/>
                <a:lstStyle/>
                <a:p>
                  <a:endParaRPr lang="en-GB" dirty="0"/>
                </a:p>
              </p:txBody>
            </p:sp>
            <p:sp>
              <p:nvSpPr>
                <p:cNvPr id="724" name="Freeform: Shape 723">
                  <a:extLst>
                    <a:ext uri="{FF2B5EF4-FFF2-40B4-BE49-F238E27FC236}">
                      <a16:creationId xmlns:a16="http://schemas.microsoft.com/office/drawing/2014/main" id="{D5FC4014-C0A1-4C95-942B-61D3BAB627C9}"/>
                    </a:ext>
                  </a:extLst>
                </p:cNvPr>
                <p:cNvSpPr/>
                <p:nvPr/>
              </p:nvSpPr>
              <p:spPr>
                <a:xfrm>
                  <a:off x="3961735" y="291997"/>
                  <a:ext cx="52175" cy="35932"/>
                </a:xfrm>
                <a:custGeom>
                  <a:avLst/>
                  <a:gdLst>
                    <a:gd name="connsiteX0" fmla="*/ 11481 w 52175"/>
                    <a:gd name="connsiteY0" fmla="*/ 35932 h 35932"/>
                    <a:gd name="connsiteX1" fmla="*/ 989 w 52175"/>
                    <a:gd name="connsiteY1" fmla="*/ 29110 h 35932"/>
                    <a:gd name="connsiteX2" fmla="*/ 6814 w 52175"/>
                    <a:gd name="connsiteY2" fmla="*/ 13975 h 35932"/>
                    <a:gd name="connsiteX3" fmla="*/ 36051 w 52175"/>
                    <a:gd name="connsiteY3" fmla="*/ 996 h 35932"/>
                    <a:gd name="connsiteX4" fmla="*/ 51186 w 52175"/>
                    <a:gd name="connsiteY4" fmla="*/ 6821 h 35932"/>
                    <a:gd name="connsiteX5" fmla="*/ 45362 w 52175"/>
                    <a:gd name="connsiteY5" fmla="*/ 21955 h 35932"/>
                    <a:gd name="connsiteX6" fmla="*/ 16124 w 52175"/>
                    <a:gd name="connsiteY6" fmla="*/ 34935 h 35932"/>
                    <a:gd name="connsiteX7" fmla="*/ 11481 w 52175"/>
                    <a:gd name="connsiteY7" fmla="*/ 35932 h 35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175" h="35932">
                      <a:moveTo>
                        <a:pt x="11481" y="35932"/>
                      </a:moveTo>
                      <a:cubicBezTo>
                        <a:pt x="7089" y="35932"/>
                        <a:pt x="2893" y="33387"/>
                        <a:pt x="989" y="29110"/>
                      </a:cubicBezTo>
                      <a:cubicBezTo>
                        <a:pt x="-1579" y="23320"/>
                        <a:pt x="1024" y="16544"/>
                        <a:pt x="6814" y="13975"/>
                      </a:cubicBezTo>
                      <a:lnTo>
                        <a:pt x="36051" y="996"/>
                      </a:lnTo>
                      <a:cubicBezTo>
                        <a:pt x="41807" y="-1584"/>
                        <a:pt x="48606" y="1019"/>
                        <a:pt x="51186" y="6821"/>
                      </a:cubicBezTo>
                      <a:cubicBezTo>
                        <a:pt x="53755" y="12611"/>
                        <a:pt x="51152" y="19387"/>
                        <a:pt x="45362" y="21955"/>
                      </a:cubicBezTo>
                      <a:lnTo>
                        <a:pt x="16124" y="34935"/>
                      </a:lnTo>
                      <a:cubicBezTo>
                        <a:pt x="14611" y="35611"/>
                        <a:pt x="13040" y="35932"/>
                        <a:pt x="11481" y="35932"/>
                      </a:cubicBezTo>
                      <a:close/>
                    </a:path>
                  </a:pathLst>
                </a:custGeom>
                <a:grpFill/>
                <a:ln w="1145" cap="flat">
                  <a:noFill/>
                  <a:prstDash val="solid"/>
                  <a:miter/>
                </a:ln>
              </p:spPr>
              <p:txBody>
                <a:bodyPr rtlCol="0" anchor="ctr"/>
                <a:lstStyle/>
                <a:p>
                  <a:endParaRPr lang="en-GB" dirty="0"/>
                </a:p>
              </p:txBody>
            </p:sp>
            <p:sp>
              <p:nvSpPr>
                <p:cNvPr id="725" name="Freeform: Shape 724">
                  <a:extLst>
                    <a:ext uri="{FF2B5EF4-FFF2-40B4-BE49-F238E27FC236}">
                      <a16:creationId xmlns:a16="http://schemas.microsoft.com/office/drawing/2014/main" id="{3E9BDA75-DCD5-4410-85BA-8BF86C456796}"/>
                    </a:ext>
                  </a:extLst>
                </p:cNvPr>
                <p:cNvSpPr/>
                <p:nvPr/>
              </p:nvSpPr>
              <p:spPr>
                <a:xfrm>
                  <a:off x="3634230" y="438129"/>
                  <a:ext cx="50536" cy="35196"/>
                </a:xfrm>
                <a:custGeom>
                  <a:avLst/>
                  <a:gdLst>
                    <a:gd name="connsiteX0" fmla="*/ 11481 w 50536"/>
                    <a:gd name="connsiteY0" fmla="*/ 35197 h 35196"/>
                    <a:gd name="connsiteX1" fmla="*/ 989 w 50536"/>
                    <a:gd name="connsiteY1" fmla="*/ 28374 h 35196"/>
                    <a:gd name="connsiteX2" fmla="*/ 6814 w 50536"/>
                    <a:gd name="connsiteY2" fmla="*/ 13240 h 35196"/>
                    <a:gd name="connsiteX3" fmla="*/ 34412 w 50536"/>
                    <a:gd name="connsiteY3" fmla="*/ 994 h 35196"/>
                    <a:gd name="connsiteX4" fmla="*/ 49547 w 50536"/>
                    <a:gd name="connsiteY4" fmla="*/ 6819 h 35196"/>
                    <a:gd name="connsiteX5" fmla="*/ 43722 w 50536"/>
                    <a:gd name="connsiteY5" fmla="*/ 21954 h 35196"/>
                    <a:gd name="connsiteX6" fmla="*/ 16124 w 50536"/>
                    <a:gd name="connsiteY6" fmla="*/ 34199 h 35196"/>
                    <a:gd name="connsiteX7" fmla="*/ 11481 w 50536"/>
                    <a:gd name="connsiteY7" fmla="*/ 35197 h 35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536" h="35196">
                      <a:moveTo>
                        <a:pt x="11481" y="35197"/>
                      </a:moveTo>
                      <a:cubicBezTo>
                        <a:pt x="7089" y="35197"/>
                        <a:pt x="2893" y="32651"/>
                        <a:pt x="989" y="28374"/>
                      </a:cubicBezTo>
                      <a:cubicBezTo>
                        <a:pt x="-1579" y="22584"/>
                        <a:pt x="1024" y="15808"/>
                        <a:pt x="6814" y="13240"/>
                      </a:cubicBezTo>
                      <a:lnTo>
                        <a:pt x="34412" y="994"/>
                      </a:lnTo>
                      <a:cubicBezTo>
                        <a:pt x="40179" y="-1585"/>
                        <a:pt x="46967" y="1029"/>
                        <a:pt x="49547" y="6819"/>
                      </a:cubicBezTo>
                      <a:cubicBezTo>
                        <a:pt x="52115" y="12609"/>
                        <a:pt x="49512" y="19385"/>
                        <a:pt x="43722" y="21954"/>
                      </a:cubicBezTo>
                      <a:lnTo>
                        <a:pt x="16124" y="34199"/>
                      </a:lnTo>
                      <a:cubicBezTo>
                        <a:pt x="14611" y="34875"/>
                        <a:pt x="13040" y="35197"/>
                        <a:pt x="11481" y="35197"/>
                      </a:cubicBezTo>
                      <a:close/>
                    </a:path>
                  </a:pathLst>
                </a:custGeom>
                <a:grpFill/>
                <a:ln w="1145" cap="flat">
                  <a:noFill/>
                  <a:prstDash val="solid"/>
                  <a:miter/>
                </a:ln>
              </p:spPr>
              <p:txBody>
                <a:bodyPr rtlCol="0" anchor="ctr"/>
                <a:lstStyle/>
                <a:p>
                  <a:endParaRPr lang="en-GB" dirty="0"/>
                </a:p>
              </p:txBody>
            </p:sp>
            <p:sp>
              <p:nvSpPr>
                <p:cNvPr id="726" name="Freeform: Shape 725">
                  <a:extLst>
                    <a:ext uri="{FF2B5EF4-FFF2-40B4-BE49-F238E27FC236}">
                      <a16:creationId xmlns:a16="http://schemas.microsoft.com/office/drawing/2014/main" id="{CF99331E-0C9F-4539-8155-72C9C3284B3E}"/>
                    </a:ext>
                  </a:extLst>
                </p:cNvPr>
                <p:cNvSpPr/>
                <p:nvPr/>
              </p:nvSpPr>
              <p:spPr>
                <a:xfrm>
                  <a:off x="3731244" y="521474"/>
                  <a:ext cx="35383" cy="50077"/>
                </a:xfrm>
                <a:custGeom>
                  <a:avLst/>
                  <a:gdLst>
                    <a:gd name="connsiteX0" fmla="*/ 11466 w 35383"/>
                    <a:gd name="connsiteY0" fmla="*/ 50077 h 50077"/>
                    <a:gd name="connsiteX1" fmla="*/ 6696 w 35383"/>
                    <a:gd name="connsiteY1" fmla="*/ 49034 h 50077"/>
                    <a:gd name="connsiteX2" fmla="*/ 1044 w 35383"/>
                    <a:gd name="connsiteY2" fmla="*/ 33830 h 50077"/>
                    <a:gd name="connsiteX3" fmla="*/ 13484 w 35383"/>
                    <a:gd name="connsiteY3" fmla="*/ 6691 h 50077"/>
                    <a:gd name="connsiteX4" fmla="*/ 28687 w 35383"/>
                    <a:gd name="connsiteY4" fmla="*/ 1039 h 50077"/>
                    <a:gd name="connsiteX5" fmla="*/ 34340 w 35383"/>
                    <a:gd name="connsiteY5" fmla="*/ 16242 h 50077"/>
                    <a:gd name="connsiteX6" fmla="*/ 21900 w 35383"/>
                    <a:gd name="connsiteY6" fmla="*/ 43381 h 50077"/>
                    <a:gd name="connsiteX7" fmla="*/ 11466 w 35383"/>
                    <a:gd name="connsiteY7" fmla="*/ 50077 h 50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83" h="50077">
                      <a:moveTo>
                        <a:pt x="11466" y="50077"/>
                      </a:moveTo>
                      <a:cubicBezTo>
                        <a:pt x="9861" y="50077"/>
                        <a:pt x="8244" y="49733"/>
                        <a:pt x="6696" y="49034"/>
                      </a:cubicBezTo>
                      <a:cubicBezTo>
                        <a:pt x="940" y="46397"/>
                        <a:pt x="-1594" y="39586"/>
                        <a:pt x="1044" y="33830"/>
                      </a:cubicBezTo>
                      <a:lnTo>
                        <a:pt x="13484" y="6691"/>
                      </a:lnTo>
                      <a:cubicBezTo>
                        <a:pt x="16121" y="935"/>
                        <a:pt x="22943" y="-1587"/>
                        <a:pt x="28687" y="1039"/>
                      </a:cubicBezTo>
                      <a:cubicBezTo>
                        <a:pt x="34443" y="3676"/>
                        <a:pt x="36977" y="10486"/>
                        <a:pt x="34340" y="16242"/>
                      </a:cubicBezTo>
                      <a:lnTo>
                        <a:pt x="21900" y="43381"/>
                      </a:lnTo>
                      <a:cubicBezTo>
                        <a:pt x="19973" y="47589"/>
                        <a:pt x="15811" y="50077"/>
                        <a:pt x="11466" y="50077"/>
                      </a:cubicBezTo>
                      <a:close/>
                    </a:path>
                  </a:pathLst>
                </a:custGeom>
                <a:grpFill/>
                <a:ln w="1145" cap="flat">
                  <a:noFill/>
                  <a:prstDash val="solid"/>
                  <a:miter/>
                </a:ln>
              </p:spPr>
              <p:txBody>
                <a:bodyPr rtlCol="0" anchor="ctr"/>
                <a:lstStyle/>
                <a:p>
                  <a:endParaRPr lang="en-GB" dirty="0"/>
                </a:p>
              </p:txBody>
            </p:sp>
            <p:sp>
              <p:nvSpPr>
                <p:cNvPr id="727" name="Freeform: Shape 726">
                  <a:extLst>
                    <a:ext uri="{FF2B5EF4-FFF2-40B4-BE49-F238E27FC236}">
                      <a16:creationId xmlns:a16="http://schemas.microsoft.com/office/drawing/2014/main" id="{A76CFE77-020C-4B6D-8EDB-54B7B4913C69}"/>
                    </a:ext>
                  </a:extLst>
                </p:cNvPr>
                <p:cNvSpPr/>
                <p:nvPr/>
              </p:nvSpPr>
              <p:spPr>
                <a:xfrm>
                  <a:off x="3880974" y="193762"/>
                  <a:ext cx="35819" cy="51052"/>
                </a:xfrm>
                <a:custGeom>
                  <a:avLst/>
                  <a:gdLst>
                    <a:gd name="connsiteX0" fmla="*/ 11466 w 35819"/>
                    <a:gd name="connsiteY0" fmla="*/ 51052 h 51052"/>
                    <a:gd name="connsiteX1" fmla="*/ 6696 w 35819"/>
                    <a:gd name="connsiteY1" fmla="*/ 50009 h 51052"/>
                    <a:gd name="connsiteX2" fmla="*/ 1044 w 35819"/>
                    <a:gd name="connsiteY2" fmla="*/ 34805 h 51052"/>
                    <a:gd name="connsiteX3" fmla="*/ 13919 w 35819"/>
                    <a:gd name="connsiteY3" fmla="*/ 6703 h 51052"/>
                    <a:gd name="connsiteX4" fmla="*/ 29123 w 35819"/>
                    <a:gd name="connsiteY4" fmla="*/ 1050 h 51052"/>
                    <a:gd name="connsiteX5" fmla="*/ 34776 w 35819"/>
                    <a:gd name="connsiteY5" fmla="*/ 16254 h 51052"/>
                    <a:gd name="connsiteX6" fmla="*/ 21900 w 35819"/>
                    <a:gd name="connsiteY6" fmla="*/ 44356 h 51052"/>
                    <a:gd name="connsiteX7" fmla="*/ 11466 w 35819"/>
                    <a:gd name="connsiteY7" fmla="*/ 51052 h 51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19" h="51052">
                      <a:moveTo>
                        <a:pt x="11466" y="51052"/>
                      </a:moveTo>
                      <a:cubicBezTo>
                        <a:pt x="9861" y="51052"/>
                        <a:pt x="8244" y="50720"/>
                        <a:pt x="6696" y="50009"/>
                      </a:cubicBezTo>
                      <a:cubicBezTo>
                        <a:pt x="940" y="47372"/>
                        <a:pt x="-1594" y="40561"/>
                        <a:pt x="1044" y="34805"/>
                      </a:cubicBezTo>
                      <a:lnTo>
                        <a:pt x="13919" y="6703"/>
                      </a:lnTo>
                      <a:cubicBezTo>
                        <a:pt x="16557" y="936"/>
                        <a:pt x="23367" y="-1598"/>
                        <a:pt x="29123" y="1050"/>
                      </a:cubicBezTo>
                      <a:cubicBezTo>
                        <a:pt x="34879" y="3687"/>
                        <a:pt x="37413" y="10498"/>
                        <a:pt x="34776" y="16254"/>
                      </a:cubicBezTo>
                      <a:lnTo>
                        <a:pt x="21900" y="44356"/>
                      </a:lnTo>
                      <a:cubicBezTo>
                        <a:pt x="19973" y="48576"/>
                        <a:pt x="15811" y="51052"/>
                        <a:pt x="11466" y="51052"/>
                      </a:cubicBezTo>
                      <a:close/>
                    </a:path>
                  </a:pathLst>
                </a:custGeom>
                <a:grpFill/>
                <a:ln w="1145" cap="flat">
                  <a:noFill/>
                  <a:prstDash val="solid"/>
                  <a:miter/>
                </a:ln>
              </p:spPr>
              <p:txBody>
                <a:bodyPr rtlCol="0" anchor="ctr"/>
                <a:lstStyle/>
                <a:p>
                  <a:endParaRPr lang="en-GB" dirty="0"/>
                </a:p>
              </p:txBody>
            </p:sp>
          </p:grpSp>
          <p:sp>
            <p:nvSpPr>
              <p:cNvPr id="712" name="Freeform: Shape 711">
                <a:extLst>
                  <a:ext uri="{FF2B5EF4-FFF2-40B4-BE49-F238E27FC236}">
                    <a16:creationId xmlns:a16="http://schemas.microsoft.com/office/drawing/2014/main" id="{7B7B5224-2627-41F2-994D-B452F819F08E}"/>
                  </a:ext>
                </a:extLst>
              </p:cNvPr>
              <p:cNvSpPr/>
              <p:nvPr/>
            </p:nvSpPr>
            <p:spPr>
              <a:xfrm>
                <a:off x="3737992" y="317819"/>
                <a:ext cx="37148" cy="27732"/>
              </a:xfrm>
              <a:custGeom>
                <a:avLst/>
                <a:gdLst>
                  <a:gd name="connsiteX0" fmla="*/ 11471 w 37148"/>
                  <a:gd name="connsiteY0" fmla="*/ 27733 h 27732"/>
                  <a:gd name="connsiteX1" fmla="*/ 602 w 37148"/>
                  <a:gd name="connsiteY1" fmla="*/ 19913 h 27732"/>
                  <a:gd name="connsiteX2" fmla="*/ 7814 w 37148"/>
                  <a:gd name="connsiteY2" fmla="*/ 5386 h 27732"/>
                  <a:gd name="connsiteX3" fmla="*/ 22020 w 37148"/>
                  <a:gd name="connsiteY3" fmla="*/ 605 h 27732"/>
                  <a:gd name="connsiteX4" fmla="*/ 36547 w 37148"/>
                  <a:gd name="connsiteY4" fmla="*/ 7817 h 27732"/>
                  <a:gd name="connsiteX5" fmla="*/ 29335 w 37148"/>
                  <a:gd name="connsiteY5" fmla="*/ 22344 h 27732"/>
                  <a:gd name="connsiteX6" fmla="*/ 15129 w 37148"/>
                  <a:gd name="connsiteY6" fmla="*/ 27125 h 27732"/>
                  <a:gd name="connsiteX7" fmla="*/ 11471 w 37148"/>
                  <a:gd name="connsiteY7" fmla="*/ 27733 h 2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148" h="27732">
                    <a:moveTo>
                      <a:pt x="11471" y="27733"/>
                    </a:moveTo>
                    <a:cubicBezTo>
                      <a:pt x="6679" y="27733"/>
                      <a:pt x="2207" y="24706"/>
                      <a:pt x="602" y="19913"/>
                    </a:cubicBezTo>
                    <a:cubicBezTo>
                      <a:pt x="-1416" y="13917"/>
                      <a:pt x="1806" y="7404"/>
                      <a:pt x="7814" y="5386"/>
                    </a:cubicBezTo>
                    <a:lnTo>
                      <a:pt x="22020" y="605"/>
                    </a:lnTo>
                    <a:cubicBezTo>
                      <a:pt x="28062" y="-1424"/>
                      <a:pt x="34529" y="1820"/>
                      <a:pt x="36547" y="7817"/>
                    </a:cubicBezTo>
                    <a:cubicBezTo>
                      <a:pt x="38565" y="13813"/>
                      <a:pt x="35343" y="20326"/>
                      <a:pt x="29335" y="22344"/>
                    </a:cubicBezTo>
                    <a:lnTo>
                      <a:pt x="15129" y="27125"/>
                    </a:lnTo>
                    <a:cubicBezTo>
                      <a:pt x="13913" y="27538"/>
                      <a:pt x="12687" y="27733"/>
                      <a:pt x="11471" y="27733"/>
                    </a:cubicBezTo>
                    <a:close/>
                  </a:path>
                </a:pathLst>
              </a:custGeom>
              <a:grpFill/>
              <a:ln w="1145" cap="flat">
                <a:noFill/>
                <a:prstDash val="solid"/>
                <a:miter/>
              </a:ln>
            </p:spPr>
            <p:txBody>
              <a:bodyPr rtlCol="0" anchor="ctr"/>
              <a:lstStyle/>
              <a:p>
                <a:endParaRPr lang="en-GB" dirty="0"/>
              </a:p>
            </p:txBody>
          </p:sp>
          <p:sp>
            <p:nvSpPr>
              <p:cNvPr id="713" name="Freeform: Shape 712">
                <a:extLst>
                  <a:ext uri="{FF2B5EF4-FFF2-40B4-BE49-F238E27FC236}">
                    <a16:creationId xmlns:a16="http://schemas.microsoft.com/office/drawing/2014/main" id="{13353264-D6EA-4210-8E87-356903A50C9D}"/>
                  </a:ext>
                </a:extLst>
              </p:cNvPr>
              <p:cNvSpPr/>
              <p:nvPr/>
            </p:nvSpPr>
            <p:spPr>
              <a:xfrm>
                <a:off x="3810956" y="443959"/>
                <a:ext cx="40137" cy="38699"/>
              </a:xfrm>
              <a:custGeom>
                <a:avLst/>
                <a:gdLst>
                  <a:gd name="connsiteX0" fmla="*/ 11475 w 40137"/>
                  <a:gd name="connsiteY0" fmla="*/ 38699 h 38699"/>
                  <a:gd name="connsiteX1" fmla="*/ 3013 w 40137"/>
                  <a:gd name="connsiteY1" fmla="*/ 34984 h 38699"/>
                  <a:gd name="connsiteX2" fmla="*/ 3724 w 40137"/>
                  <a:gd name="connsiteY2" fmla="*/ 18783 h 38699"/>
                  <a:gd name="connsiteX3" fmla="*/ 20923 w 40137"/>
                  <a:gd name="connsiteY3" fmla="*/ 3018 h 38699"/>
                  <a:gd name="connsiteX4" fmla="*/ 37124 w 40137"/>
                  <a:gd name="connsiteY4" fmla="*/ 3729 h 38699"/>
                  <a:gd name="connsiteX5" fmla="*/ 36413 w 40137"/>
                  <a:gd name="connsiteY5" fmla="*/ 19930 h 38699"/>
                  <a:gd name="connsiteX6" fmla="*/ 19214 w 40137"/>
                  <a:gd name="connsiteY6" fmla="*/ 35695 h 38699"/>
                  <a:gd name="connsiteX7" fmla="*/ 11475 w 40137"/>
                  <a:gd name="connsiteY7" fmla="*/ 38699 h 38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37" h="38699">
                    <a:moveTo>
                      <a:pt x="11475" y="38699"/>
                    </a:moveTo>
                    <a:cubicBezTo>
                      <a:pt x="8368" y="38699"/>
                      <a:pt x="5272" y="37449"/>
                      <a:pt x="3013" y="34984"/>
                    </a:cubicBezTo>
                    <a:cubicBezTo>
                      <a:pt x="-1263" y="30318"/>
                      <a:pt x="-954" y="23060"/>
                      <a:pt x="3724" y="18783"/>
                    </a:cubicBezTo>
                    <a:lnTo>
                      <a:pt x="20923" y="3018"/>
                    </a:lnTo>
                    <a:cubicBezTo>
                      <a:pt x="25589" y="-1270"/>
                      <a:pt x="32859" y="-949"/>
                      <a:pt x="37124" y="3729"/>
                    </a:cubicBezTo>
                    <a:cubicBezTo>
                      <a:pt x="41400" y="8395"/>
                      <a:pt x="41091" y="15653"/>
                      <a:pt x="36413" y="19930"/>
                    </a:cubicBezTo>
                    <a:lnTo>
                      <a:pt x="19214" y="35695"/>
                    </a:lnTo>
                    <a:cubicBezTo>
                      <a:pt x="17024" y="37702"/>
                      <a:pt x="14250" y="38699"/>
                      <a:pt x="11475" y="38699"/>
                    </a:cubicBezTo>
                    <a:close/>
                  </a:path>
                </a:pathLst>
              </a:custGeom>
              <a:grpFill/>
              <a:ln w="1145" cap="flat">
                <a:noFill/>
                <a:prstDash val="solid"/>
                <a:miter/>
              </a:ln>
            </p:spPr>
            <p:txBody>
              <a:bodyPr rtlCol="0" anchor="ctr"/>
              <a:lstStyle/>
              <a:p>
                <a:endParaRPr lang="en-GB" dirty="0"/>
              </a:p>
            </p:txBody>
          </p:sp>
          <p:sp>
            <p:nvSpPr>
              <p:cNvPr id="714" name="Freeform: Shape 713">
                <a:extLst>
                  <a:ext uri="{FF2B5EF4-FFF2-40B4-BE49-F238E27FC236}">
                    <a16:creationId xmlns:a16="http://schemas.microsoft.com/office/drawing/2014/main" id="{20AC8C6E-5C09-424E-AB5C-9FC6491D81D9}"/>
                  </a:ext>
                </a:extLst>
              </p:cNvPr>
              <p:cNvSpPr/>
              <p:nvPr/>
            </p:nvSpPr>
            <p:spPr>
              <a:xfrm>
                <a:off x="3896953" y="366559"/>
                <a:ext cx="34406" cy="47305"/>
              </a:xfrm>
              <a:custGeom>
                <a:avLst/>
                <a:gdLst>
                  <a:gd name="connsiteX0" fmla="*/ 22936 w 34406"/>
                  <a:gd name="connsiteY0" fmla="*/ 47305 h 47305"/>
                  <a:gd name="connsiteX1" fmla="*/ 12559 w 34406"/>
                  <a:gd name="connsiteY1" fmla="*/ 40724 h 47305"/>
                  <a:gd name="connsiteX2" fmla="*/ 1094 w 34406"/>
                  <a:gd name="connsiteY2" fmla="*/ 16360 h 47305"/>
                  <a:gd name="connsiteX3" fmla="*/ 6586 w 34406"/>
                  <a:gd name="connsiteY3" fmla="*/ 1099 h 47305"/>
                  <a:gd name="connsiteX4" fmla="*/ 21847 w 34406"/>
                  <a:gd name="connsiteY4" fmla="*/ 6591 h 47305"/>
                  <a:gd name="connsiteX5" fmla="*/ 33312 w 34406"/>
                  <a:gd name="connsiteY5" fmla="*/ 30955 h 47305"/>
                  <a:gd name="connsiteX6" fmla="*/ 27820 w 34406"/>
                  <a:gd name="connsiteY6" fmla="*/ 46216 h 47305"/>
                  <a:gd name="connsiteX7" fmla="*/ 22936 w 34406"/>
                  <a:gd name="connsiteY7" fmla="*/ 47305 h 47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6" h="47305">
                    <a:moveTo>
                      <a:pt x="22936" y="47305"/>
                    </a:moveTo>
                    <a:cubicBezTo>
                      <a:pt x="18636" y="47305"/>
                      <a:pt x="14509" y="44875"/>
                      <a:pt x="12559" y="40724"/>
                    </a:cubicBezTo>
                    <a:lnTo>
                      <a:pt x="1094" y="16360"/>
                    </a:lnTo>
                    <a:cubicBezTo>
                      <a:pt x="-1601" y="10627"/>
                      <a:pt x="853" y="3805"/>
                      <a:pt x="6586" y="1099"/>
                    </a:cubicBezTo>
                    <a:cubicBezTo>
                      <a:pt x="12319" y="-1607"/>
                      <a:pt x="19141" y="858"/>
                      <a:pt x="21847" y="6591"/>
                    </a:cubicBezTo>
                    <a:lnTo>
                      <a:pt x="33312" y="30955"/>
                    </a:lnTo>
                    <a:cubicBezTo>
                      <a:pt x="36007" y="36688"/>
                      <a:pt x="33553" y="43510"/>
                      <a:pt x="27820" y="46216"/>
                    </a:cubicBezTo>
                    <a:cubicBezTo>
                      <a:pt x="26238" y="46950"/>
                      <a:pt x="24576" y="47305"/>
                      <a:pt x="22936" y="47305"/>
                    </a:cubicBezTo>
                    <a:close/>
                  </a:path>
                </a:pathLst>
              </a:custGeom>
              <a:grpFill/>
              <a:ln w="1145" cap="flat">
                <a:noFill/>
                <a:prstDash val="solid"/>
                <a:miter/>
              </a:ln>
            </p:spPr>
            <p:txBody>
              <a:bodyPr rtlCol="0" anchor="ctr"/>
              <a:lstStyle/>
              <a:p>
                <a:endParaRPr lang="en-GB" dirty="0"/>
              </a:p>
            </p:txBody>
          </p:sp>
        </p:grpSp>
        <p:grpSp>
          <p:nvGrpSpPr>
            <p:cNvPr id="708" name="Graphic 48">
              <a:extLst>
                <a:ext uri="{FF2B5EF4-FFF2-40B4-BE49-F238E27FC236}">
                  <a16:creationId xmlns:a16="http://schemas.microsoft.com/office/drawing/2014/main" id="{5C66F972-DD0E-4171-87C6-7AB649D4CF86}"/>
                </a:ext>
              </a:extLst>
            </p:cNvPr>
            <p:cNvGrpSpPr/>
            <p:nvPr/>
          </p:nvGrpSpPr>
          <p:grpSpPr>
            <a:xfrm>
              <a:off x="8128897" y="3209003"/>
              <a:ext cx="426718" cy="426718"/>
              <a:chOff x="3447538" y="4976"/>
              <a:chExt cx="756734" cy="756734"/>
            </a:xfrm>
            <a:solidFill>
              <a:schemeClr val="accent1"/>
            </a:solidFill>
          </p:grpSpPr>
          <p:sp>
            <p:nvSpPr>
              <p:cNvPr id="709" name="Freeform: Shape 708">
                <a:extLst>
                  <a:ext uri="{FF2B5EF4-FFF2-40B4-BE49-F238E27FC236}">
                    <a16:creationId xmlns:a16="http://schemas.microsoft.com/office/drawing/2014/main" id="{3C759D80-5CE7-4F4E-812F-4A01DD060475}"/>
                  </a:ext>
                </a:extLst>
              </p:cNvPr>
              <p:cNvSpPr/>
              <p:nvPr/>
            </p:nvSpPr>
            <p:spPr>
              <a:xfrm>
                <a:off x="3447538" y="4976"/>
                <a:ext cx="756734" cy="756734"/>
              </a:xfrm>
              <a:custGeom>
                <a:avLst/>
                <a:gdLst>
                  <a:gd name="connsiteX0" fmla="*/ 378367 w 756734"/>
                  <a:gd name="connsiteY0" fmla="*/ 756734 h 756734"/>
                  <a:gd name="connsiteX1" fmla="*/ 0 w 756734"/>
                  <a:gd name="connsiteY1" fmla="*/ 378367 h 756734"/>
                  <a:gd name="connsiteX2" fmla="*/ 378367 w 756734"/>
                  <a:gd name="connsiteY2" fmla="*/ 0 h 756734"/>
                  <a:gd name="connsiteX3" fmla="*/ 756734 w 756734"/>
                  <a:gd name="connsiteY3" fmla="*/ 378367 h 756734"/>
                  <a:gd name="connsiteX4" fmla="*/ 378367 w 756734"/>
                  <a:gd name="connsiteY4" fmla="*/ 756734 h 756734"/>
                  <a:gd name="connsiteX5" fmla="*/ 378367 w 756734"/>
                  <a:gd name="connsiteY5" fmla="*/ 22931 h 756734"/>
                  <a:gd name="connsiteX6" fmla="*/ 22931 w 756734"/>
                  <a:gd name="connsiteY6" fmla="*/ 378367 h 756734"/>
                  <a:gd name="connsiteX7" fmla="*/ 378367 w 756734"/>
                  <a:gd name="connsiteY7" fmla="*/ 733803 h 756734"/>
                  <a:gd name="connsiteX8" fmla="*/ 733803 w 756734"/>
                  <a:gd name="connsiteY8" fmla="*/ 378367 h 756734"/>
                  <a:gd name="connsiteX9" fmla="*/ 378367 w 756734"/>
                  <a:gd name="connsiteY9" fmla="*/ 22931 h 75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6734" h="756734">
                    <a:moveTo>
                      <a:pt x="378367" y="756734"/>
                    </a:moveTo>
                    <a:cubicBezTo>
                      <a:pt x="169738" y="756734"/>
                      <a:pt x="0" y="586997"/>
                      <a:pt x="0" y="378367"/>
                    </a:cubicBezTo>
                    <a:cubicBezTo>
                      <a:pt x="0" y="169738"/>
                      <a:pt x="169738" y="0"/>
                      <a:pt x="378367" y="0"/>
                    </a:cubicBezTo>
                    <a:cubicBezTo>
                      <a:pt x="586997" y="0"/>
                      <a:pt x="756734" y="169738"/>
                      <a:pt x="756734" y="378367"/>
                    </a:cubicBezTo>
                    <a:cubicBezTo>
                      <a:pt x="756734" y="586997"/>
                      <a:pt x="587008" y="756734"/>
                      <a:pt x="378367" y="756734"/>
                    </a:cubicBezTo>
                    <a:close/>
                    <a:moveTo>
                      <a:pt x="378367" y="22931"/>
                    </a:moveTo>
                    <a:cubicBezTo>
                      <a:pt x="182384" y="22931"/>
                      <a:pt x="22931" y="182384"/>
                      <a:pt x="22931" y="378367"/>
                    </a:cubicBezTo>
                    <a:cubicBezTo>
                      <a:pt x="22931" y="574350"/>
                      <a:pt x="182384" y="733803"/>
                      <a:pt x="378367" y="733803"/>
                    </a:cubicBezTo>
                    <a:cubicBezTo>
                      <a:pt x="574350" y="733803"/>
                      <a:pt x="733803" y="574350"/>
                      <a:pt x="733803" y="378367"/>
                    </a:cubicBezTo>
                    <a:cubicBezTo>
                      <a:pt x="733803" y="182384"/>
                      <a:pt x="574350" y="22931"/>
                      <a:pt x="378367" y="22931"/>
                    </a:cubicBezTo>
                    <a:close/>
                  </a:path>
                </a:pathLst>
              </a:custGeom>
              <a:solidFill>
                <a:schemeClr val="accent1"/>
              </a:solidFill>
              <a:ln w="1145" cap="flat">
                <a:noFill/>
                <a:prstDash val="solid"/>
                <a:miter/>
              </a:ln>
            </p:spPr>
            <p:txBody>
              <a:bodyPr rtlCol="0" anchor="ctr"/>
              <a:lstStyle/>
              <a:p>
                <a:endParaRPr lang="en-GB" dirty="0"/>
              </a:p>
            </p:txBody>
          </p:sp>
          <p:sp>
            <p:nvSpPr>
              <p:cNvPr id="710" name="Freeform: Shape 709">
                <a:extLst>
                  <a:ext uri="{FF2B5EF4-FFF2-40B4-BE49-F238E27FC236}">
                    <a16:creationId xmlns:a16="http://schemas.microsoft.com/office/drawing/2014/main" id="{6A4C501E-9269-4200-B6BD-D472B5605821}"/>
                  </a:ext>
                </a:extLst>
              </p:cNvPr>
              <p:cNvSpPr/>
              <p:nvPr/>
            </p:nvSpPr>
            <p:spPr>
              <a:xfrm>
                <a:off x="3554783" y="112469"/>
                <a:ext cx="541509" cy="541990"/>
              </a:xfrm>
              <a:custGeom>
                <a:avLst/>
                <a:gdLst>
                  <a:gd name="connsiteX0" fmla="*/ 11470 w 541509"/>
                  <a:gd name="connsiteY0" fmla="*/ 541991 h 541990"/>
                  <a:gd name="connsiteX1" fmla="*/ 3364 w 541509"/>
                  <a:gd name="connsiteY1" fmla="*/ 538643 h 541990"/>
                  <a:gd name="connsiteX2" fmla="*/ 3352 w 541509"/>
                  <a:gd name="connsiteY2" fmla="*/ 522430 h 541990"/>
                  <a:gd name="connsiteX3" fmla="*/ 521933 w 541509"/>
                  <a:gd name="connsiteY3" fmla="*/ 3368 h 541990"/>
                  <a:gd name="connsiteX4" fmla="*/ 538146 w 541509"/>
                  <a:gd name="connsiteY4" fmla="*/ 3357 h 541990"/>
                  <a:gd name="connsiteX5" fmla="*/ 538157 w 541509"/>
                  <a:gd name="connsiteY5" fmla="*/ 19569 h 541990"/>
                  <a:gd name="connsiteX6" fmla="*/ 19588 w 541509"/>
                  <a:gd name="connsiteY6" fmla="*/ 538620 h 541990"/>
                  <a:gd name="connsiteX7" fmla="*/ 11470 w 541509"/>
                  <a:gd name="connsiteY7" fmla="*/ 541991 h 541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1509" h="541990">
                    <a:moveTo>
                      <a:pt x="11470" y="541991"/>
                    </a:moveTo>
                    <a:cubicBezTo>
                      <a:pt x="8535" y="541991"/>
                      <a:pt x="5600" y="540867"/>
                      <a:pt x="3364" y="538643"/>
                    </a:cubicBezTo>
                    <a:cubicBezTo>
                      <a:pt x="-1119" y="534160"/>
                      <a:pt x="-1119" y="526914"/>
                      <a:pt x="3352" y="522430"/>
                    </a:cubicBezTo>
                    <a:lnTo>
                      <a:pt x="521933" y="3368"/>
                    </a:lnTo>
                    <a:cubicBezTo>
                      <a:pt x="526416" y="-1127"/>
                      <a:pt x="533674" y="-1115"/>
                      <a:pt x="538146" y="3357"/>
                    </a:cubicBezTo>
                    <a:cubicBezTo>
                      <a:pt x="542629" y="7840"/>
                      <a:pt x="542629" y="15086"/>
                      <a:pt x="538157" y="19569"/>
                    </a:cubicBezTo>
                    <a:lnTo>
                      <a:pt x="19588" y="538620"/>
                    </a:lnTo>
                    <a:cubicBezTo>
                      <a:pt x="17340" y="540867"/>
                      <a:pt x="14405" y="541991"/>
                      <a:pt x="11470" y="541991"/>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36" name="Group 35">
            <a:extLst>
              <a:ext uri="{FF2B5EF4-FFF2-40B4-BE49-F238E27FC236}">
                <a16:creationId xmlns:a16="http://schemas.microsoft.com/office/drawing/2014/main" id="{22680242-BDD6-8279-5D4C-67A7EE8FBB8C}"/>
              </a:ext>
            </a:extLst>
          </p:cNvPr>
          <p:cNvGrpSpPr/>
          <p:nvPr/>
        </p:nvGrpSpPr>
        <p:grpSpPr>
          <a:xfrm>
            <a:off x="4986436" y="4078297"/>
            <a:ext cx="453660" cy="391636"/>
            <a:chOff x="4986024" y="4078297"/>
            <a:chExt cx="453660" cy="391636"/>
          </a:xfrm>
        </p:grpSpPr>
        <p:grpSp>
          <p:nvGrpSpPr>
            <p:cNvPr id="751" name="Graphic 48">
              <a:extLst>
                <a:ext uri="{FF2B5EF4-FFF2-40B4-BE49-F238E27FC236}">
                  <a16:creationId xmlns:a16="http://schemas.microsoft.com/office/drawing/2014/main" id="{0EF58EDB-36EF-42D4-A022-1DDEBBBC22B8}"/>
                </a:ext>
              </a:extLst>
            </p:cNvPr>
            <p:cNvGrpSpPr/>
            <p:nvPr/>
          </p:nvGrpSpPr>
          <p:grpSpPr>
            <a:xfrm>
              <a:off x="4986024" y="4078297"/>
              <a:ext cx="453660" cy="391636"/>
              <a:chOff x="4820460" y="0"/>
              <a:chExt cx="921037" cy="795116"/>
            </a:xfrm>
            <a:solidFill>
              <a:schemeClr val="tx2"/>
            </a:solidFill>
          </p:grpSpPr>
          <p:sp>
            <p:nvSpPr>
              <p:cNvPr id="792" name="Freeform: Shape 791">
                <a:extLst>
                  <a:ext uri="{FF2B5EF4-FFF2-40B4-BE49-F238E27FC236}">
                    <a16:creationId xmlns:a16="http://schemas.microsoft.com/office/drawing/2014/main" id="{B2A42767-89DB-42BF-8350-11A9BC4F36FC}"/>
                  </a:ext>
                </a:extLst>
              </p:cNvPr>
              <p:cNvSpPr/>
              <p:nvPr/>
            </p:nvSpPr>
            <p:spPr>
              <a:xfrm>
                <a:off x="4820460" y="23951"/>
                <a:ext cx="665008" cy="515955"/>
              </a:xfrm>
              <a:custGeom>
                <a:avLst/>
                <a:gdLst>
                  <a:gd name="connsiteX0" fmla="*/ 475332 w 665008"/>
                  <a:gd name="connsiteY0" fmla="*/ 515955 h 515955"/>
                  <a:gd name="connsiteX1" fmla="*/ 68794 w 665008"/>
                  <a:gd name="connsiteY1" fmla="*/ 515955 h 515955"/>
                  <a:gd name="connsiteX2" fmla="*/ 0 w 665008"/>
                  <a:gd name="connsiteY2" fmla="*/ 447161 h 515955"/>
                  <a:gd name="connsiteX3" fmla="*/ 0 w 665008"/>
                  <a:gd name="connsiteY3" fmla="*/ 68794 h 515955"/>
                  <a:gd name="connsiteX4" fmla="*/ 68794 w 665008"/>
                  <a:gd name="connsiteY4" fmla="*/ 0 h 515955"/>
                  <a:gd name="connsiteX5" fmla="*/ 653543 w 665008"/>
                  <a:gd name="connsiteY5" fmla="*/ 0 h 515955"/>
                  <a:gd name="connsiteX6" fmla="*/ 665009 w 665008"/>
                  <a:gd name="connsiteY6" fmla="*/ 11466 h 515955"/>
                  <a:gd name="connsiteX7" fmla="*/ 653543 w 665008"/>
                  <a:gd name="connsiteY7" fmla="*/ 22931 h 515955"/>
                  <a:gd name="connsiteX8" fmla="*/ 68794 w 665008"/>
                  <a:gd name="connsiteY8" fmla="*/ 22931 h 515955"/>
                  <a:gd name="connsiteX9" fmla="*/ 22931 w 665008"/>
                  <a:gd name="connsiteY9" fmla="*/ 68794 h 515955"/>
                  <a:gd name="connsiteX10" fmla="*/ 22931 w 665008"/>
                  <a:gd name="connsiteY10" fmla="*/ 447161 h 515955"/>
                  <a:gd name="connsiteX11" fmla="*/ 68794 w 665008"/>
                  <a:gd name="connsiteY11" fmla="*/ 493024 h 515955"/>
                  <a:gd name="connsiteX12" fmla="*/ 475332 w 665008"/>
                  <a:gd name="connsiteY12" fmla="*/ 493024 h 515955"/>
                  <a:gd name="connsiteX13" fmla="*/ 486798 w 665008"/>
                  <a:gd name="connsiteY13" fmla="*/ 504490 h 515955"/>
                  <a:gd name="connsiteX14" fmla="*/ 475332 w 665008"/>
                  <a:gd name="connsiteY14" fmla="*/ 515955 h 515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65008" h="515955">
                    <a:moveTo>
                      <a:pt x="475332" y="515955"/>
                    </a:moveTo>
                    <a:lnTo>
                      <a:pt x="68794" y="515955"/>
                    </a:lnTo>
                    <a:cubicBezTo>
                      <a:pt x="30854" y="515955"/>
                      <a:pt x="0" y="485101"/>
                      <a:pt x="0" y="447161"/>
                    </a:cubicBezTo>
                    <a:lnTo>
                      <a:pt x="0" y="68794"/>
                    </a:lnTo>
                    <a:cubicBezTo>
                      <a:pt x="0" y="30854"/>
                      <a:pt x="30854" y="0"/>
                      <a:pt x="68794" y="0"/>
                    </a:cubicBezTo>
                    <a:lnTo>
                      <a:pt x="653543" y="0"/>
                    </a:lnTo>
                    <a:cubicBezTo>
                      <a:pt x="659884" y="0"/>
                      <a:pt x="665009" y="5137"/>
                      <a:pt x="665009" y="11466"/>
                    </a:cubicBezTo>
                    <a:cubicBezTo>
                      <a:pt x="665009" y="17795"/>
                      <a:pt x="659884" y="22931"/>
                      <a:pt x="653543" y="22931"/>
                    </a:cubicBezTo>
                    <a:lnTo>
                      <a:pt x="68794" y="22931"/>
                    </a:lnTo>
                    <a:cubicBezTo>
                      <a:pt x="43501" y="22931"/>
                      <a:pt x="22931" y="43501"/>
                      <a:pt x="22931" y="68794"/>
                    </a:cubicBezTo>
                    <a:lnTo>
                      <a:pt x="22931" y="447161"/>
                    </a:lnTo>
                    <a:cubicBezTo>
                      <a:pt x="22931" y="472454"/>
                      <a:pt x="43501" y="493024"/>
                      <a:pt x="68794" y="493024"/>
                    </a:cubicBezTo>
                    <a:lnTo>
                      <a:pt x="475332" y="493024"/>
                    </a:lnTo>
                    <a:cubicBezTo>
                      <a:pt x="481673" y="493024"/>
                      <a:pt x="486798" y="498160"/>
                      <a:pt x="486798" y="504490"/>
                    </a:cubicBezTo>
                    <a:cubicBezTo>
                      <a:pt x="486798" y="510819"/>
                      <a:pt x="481673" y="515955"/>
                      <a:pt x="475332" y="515955"/>
                    </a:cubicBezTo>
                    <a:close/>
                  </a:path>
                </a:pathLst>
              </a:custGeom>
              <a:grpFill/>
              <a:ln w="1145" cap="flat">
                <a:noFill/>
                <a:prstDash val="solid"/>
                <a:miter/>
              </a:ln>
            </p:spPr>
            <p:txBody>
              <a:bodyPr rtlCol="0" anchor="ctr"/>
              <a:lstStyle/>
              <a:p>
                <a:endParaRPr lang="en-GB" dirty="0"/>
              </a:p>
            </p:txBody>
          </p:sp>
          <p:grpSp>
            <p:nvGrpSpPr>
              <p:cNvPr id="793" name="Graphic 48">
                <a:extLst>
                  <a:ext uri="{FF2B5EF4-FFF2-40B4-BE49-F238E27FC236}">
                    <a16:creationId xmlns:a16="http://schemas.microsoft.com/office/drawing/2014/main" id="{835745EA-7B6F-466C-9963-CC036279A77A}"/>
                  </a:ext>
                </a:extLst>
              </p:cNvPr>
              <p:cNvGrpSpPr/>
              <p:nvPr/>
            </p:nvGrpSpPr>
            <p:grpSpPr>
              <a:xfrm>
                <a:off x="5278445" y="0"/>
                <a:ext cx="463052" cy="795116"/>
                <a:chOff x="5278445" y="0"/>
                <a:chExt cx="463052" cy="795116"/>
              </a:xfrm>
              <a:grpFill/>
            </p:grpSpPr>
            <p:grpSp>
              <p:nvGrpSpPr>
                <p:cNvPr id="794" name="Graphic 48">
                  <a:extLst>
                    <a:ext uri="{FF2B5EF4-FFF2-40B4-BE49-F238E27FC236}">
                      <a16:creationId xmlns:a16="http://schemas.microsoft.com/office/drawing/2014/main" id="{C3AFC55F-386C-4C1D-9EF9-77DE74492F45}"/>
                    </a:ext>
                  </a:extLst>
                </p:cNvPr>
                <p:cNvGrpSpPr/>
                <p:nvPr/>
              </p:nvGrpSpPr>
              <p:grpSpPr>
                <a:xfrm>
                  <a:off x="5278445" y="305892"/>
                  <a:ext cx="229313" cy="229313"/>
                  <a:chOff x="5278445" y="305892"/>
                  <a:chExt cx="229313" cy="229313"/>
                </a:xfrm>
                <a:grpFill/>
              </p:grpSpPr>
              <p:grpSp>
                <p:nvGrpSpPr>
                  <p:cNvPr id="803" name="Graphic 48">
                    <a:extLst>
                      <a:ext uri="{FF2B5EF4-FFF2-40B4-BE49-F238E27FC236}">
                        <a16:creationId xmlns:a16="http://schemas.microsoft.com/office/drawing/2014/main" id="{A63F6CBA-E184-497C-83D0-87AA858C1AD8}"/>
                      </a:ext>
                    </a:extLst>
                  </p:cNvPr>
                  <p:cNvGrpSpPr/>
                  <p:nvPr/>
                </p:nvGrpSpPr>
                <p:grpSpPr>
                  <a:xfrm>
                    <a:off x="5278445" y="305892"/>
                    <a:ext cx="229313" cy="229313"/>
                    <a:chOff x="5278445" y="305892"/>
                    <a:chExt cx="229313" cy="229313"/>
                  </a:xfrm>
                  <a:grpFill/>
                </p:grpSpPr>
                <p:sp>
                  <p:nvSpPr>
                    <p:cNvPr id="805" name="Freeform: Shape 804">
                      <a:extLst>
                        <a:ext uri="{FF2B5EF4-FFF2-40B4-BE49-F238E27FC236}">
                          <a16:creationId xmlns:a16="http://schemas.microsoft.com/office/drawing/2014/main" id="{515B8B9E-FF73-40E5-A0D4-2D9CC75D0649}"/>
                        </a:ext>
                      </a:extLst>
                    </p:cNvPr>
                    <p:cNvSpPr/>
                    <p:nvPr/>
                  </p:nvSpPr>
                  <p:spPr>
                    <a:xfrm>
                      <a:off x="5324307" y="351755"/>
                      <a:ext cx="22931" cy="57328"/>
                    </a:xfrm>
                    <a:custGeom>
                      <a:avLst/>
                      <a:gdLst>
                        <a:gd name="connsiteX0" fmla="*/ 11466 w 22931"/>
                        <a:gd name="connsiteY0" fmla="*/ 57328 h 57328"/>
                        <a:gd name="connsiteX1" fmla="*/ 0 w 22931"/>
                        <a:gd name="connsiteY1" fmla="*/ 45863 h 57328"/>
                        <a:gd name="connsiteX2" fmla="*/ 0 w 22931"/>
                        <a:gd name="connsiteY2" fmla="*/ 11466 h 57328"/>
                        <a:gd name="connsiteX3" fmla="*/ 11466 w 22931"/>
                        <a:gd name="connsiteY3" fmla="*/ 0 h 57328"/>
                        <a:gd name="connsiteX4" fmla="*/ 22931 w 22931"/>
                        <a:gd name="connsiteY4" fmla="*/ 11466 h 57328"/>
                        <a:gd name="connsiteX5" fmla="*/ 22931 w 22931"/>
                        <a:gd name="connsiteY5" fmla="*/ 45863 h 57328"/>
                        <a:gd name="connsiteX6" fmla="*/ 11466 w 22931"/>
                        <a:gd name="connsiteY6" fmla="*/ 57328 h 57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57328">
                          <a:moveTo>
                            <a:pt x="11466" y="57328"/>
                          </a:moveTo>
                          <a:cubicBezTo>
                            <a:pt x="5125" y="57328"/>
                            <a:pt x="0" y="52192"/>
                            <a:pt x="0" y="45863"/>
                          </a:cubicBezTo>
                          <a:lnTo>
                            <a:pt x="0" y="11466"/>
                          </a:lnTo>
                          <a:cubicBezTo>
                            <a:pt x="0" y="5137"/>
                            <a:pt x="5125" y="0"/>
                            <a:pt x="11466" y="0"/>
                          </a:cubicBezTo>
                          <a:cubicBezTo>
                            <a:pt x="17806" y="0"/>
                            <a:pt x="22931" y="5137"/>
                            <a:pt x="22931" y="11466"/>
                          </a:cubicBezTo>
                          <a:lnTo>
                            <a:pt x="22931" y="45863"/>
                          </a:lnTo>
                          <a:cubicBezTo>
                            <a:pt x="22931" y="52192"/>
                            <a:pt x="17806" y="57328"/>
                            <a:pt x="11466" y="57328"/>
                          </a:cubicBezTo>
                          <a:close/>
                        </a:path>
                      </a:pathLst>
                    </a:custGeom>
                    <a:grpFill/>
                    <a:ln w="1145" cap="flat">
                      <a:noFill/>
                      <a:prstDash val="solid"/>
                      <a:miter/>
                    </a:ln>
                  </p:spPr>
                  <p:txBody>
                    <a:bodyPr rtlCol="0" anchor="ctr"/>
                    <a:lstStyle/>
                    <a:p>
                      <a:endParaRPr lang="en-GB" dirty="0"/>
                    </a:p>
                  </p:txBody>
                </p:sp>
                <p:sp>
                  <p:nvSpPr>
                    <p:cNvPr id="806" name="Freeform: Shape 805">
                      <a:extLst>
                        <a:ext uri="{FF2B5EF4-FFF2-40B4-BE49-F238E27FC236}">
                          <a16:creationId xmlns:a16="http://schemas.microsoft.com/office/drawing/2014/main" id="{1CE8B7B6-5BE8-4959-936F-19534418EF3A}"/>
                        </a:ext>
                      </a:extLst>
                    </p:cNvPr>
                    <p:cNvSpPr/>
                    <p:nvPr/>
                  </p:nvSpPr>
                  <p:spPr>
                    <a:xfrm>
                      <a:off x="5324307" y="305892"/>
                      <a:ext cx="183450" cy="229313"/>
                    </a:xfrm>
                    <a:custGeom>
                      <a:avLst/>
                      <a:gdLst>
                        <a:gd name="connsiteX0" fmla="*/ 171985 w 183450"/>
                        <a:gd name="connsiteY0" fmla="*/ 229313 h 229313"/>
                        <a:gd name="connsiteX1" fmla="*/ 11466 w 183450"/>
                        <a:gd name="connsiteY1" fmla="*/ 229313 h 229313"/>
                        <a:gd name="connsiteX2" fmla="*/ 0 w 183450"/>
                        <a:gd name="connsiteY2" fmla="*/ 217848 h 229313"/>
                        <a:gd name="connsiteX3" fmla="*/ 0 w 183450"/>
                        <a:gd name="connsiteY3" fmla="*/ 171985 h 229313"/>
                        <a:gd name="connsiteX4" fmla="*/ 11466 w 183450"/>
                        <a:gd name="connsiteY4" fmla="*/ 160519 h 229313"/>
                        <a:gd name="connsiteX5" fmla="*/ 22931 w 183450"/>
                        <a:gd name="connsiteY5" fmla="*/ 171985 h 229313"/>
                        <a:gd name="connsiteX6" fmla="*/ 22931 w 183450"/>
                        <a:gd name="connsiteY6" fmla="*/ 206382 h 229313"/>
                        <a:gd name="connsiteX7" fmla="*/ 160519 w 183450"/>
                        <a:gd name="connsiteY7" fmla="*/ 206382 h 229313"/>
                        <a:gd name="connsiteX8" fmla="*/ 160519 w 183450"/>
                        <a:gd name="connsiteY8" fmla="*/ 34397 h 229313"/>
                        <a:gd name="connsiteX9" fmla="*/ 149054 w 183450"/>
                        <a:gd name="connsiteY9" fmla="*/ 22931 h 229313"/>
                        <a:gd name="connsiteX10" fmla="*/ 126122 w 183450"/>
                        <a:gd name="connsiteY10" fmla="*/ 22931 h 229313"/>
                        <a:gd name="connsiteX11" fmla="*/ 114657 w 183450"/>
                        <a:gd name="connsiteY11" fmla="*/ 11466 h 229313"/>
                        <a:gd name="connsiteX12" fmla="*/ 126122 w 183450"/>
                        <a:gd name="connsiteY12" fmla="*/ 0 h 229313"/>
                        <a:gd name="connsiteX13" fmla="*/ 149054 w 183450"/>
                        <a:gd name="connsiteY13" fmla="*/ 0 h 229313"/>
                        <a:gd name="connsiteX14" fmla="*/ 183451 w 183450"/>
                        <a:gd name="connsiteY14" fmla="*/ 34397 h 229313"/>
                        <a:gd name="connsiteX15" fmla="*/ 183451 w 183450"/>
                        <a:gd name="connsiteY15" fmla="*/ 217848 h 229313"/>
                        <a:gd name="connsiteX16" fmla="*/ 171985 w 183450"/>
                        <a:gd name="connsiteY16" fmla="*/ 229313 h 229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450" h="229313">
                          <a:moveTo>
                            <a:pt x="171985" y="229313"/>
                          </a:moveTo>
                          <a:lnTo>
                            <a:pt x="11466" y="229313"/>
                          </a:lnTo>
                          <a:cubicBezTo>
                            <a:pt x="5125" y="229313"/>
                            <a:pt x="0" y="224177"/>
                            <a:pt x="0" y="217848"/>
                          </a:cubicBezTo>
                          <a:lnTo>
                            <a:pt x="0" y="171985"/>
                          </a:lnTo>
                          <a:cubicBezTo>
                            <a:pt x="0" y="165656"/>
                            <a:pt x="5125" y="160519"/>
                            <a:pt x="11466" y="160519"/>
                          </a:cubicBezTo>
                          <a:cubicBezTo>
                            <a:pt x="17806" y="160519"/>
                            <a:pt x="22931" y="165656"/>
                            <a:pt x="22931" y="171985"/>
                          </a:cubicBezTo>
                          <a:lnTo>
                            <a:pt x="22931" y="206382"/>
                          </a:lnTo>
                          <a:lnTo>
                            <a:pt x="160519" y="206382"/>
                          </a:lnTo>
                          <a:lnTo>
                            <a:pt x="160519" y="34397"/>
                          </a:lnTo>
                          <a:cubicBezTo>
                            <a:pt x="160519" y="28079"/>
                            <a:pt x="155383" y="22931"/>
                            <a:pt x="149054" y="22931"/>
                          </a:cubicBezTo>
                          <a:lnTo>
                            <a:pt x="126122" y="22931"/>
                          </a:lnTo>
                          <a:cubicBezTo>
                            <a:pt x="119782" y="22931"/>
                            <a:pt x="114657" y="17795"/>
                            <a:pt x="114657" y="11466"/>
                          </a:cubicBezTo>
                          <a:cubicBezTo>
                            <a:pt x="114657" y="5137"/>
                            <a:pt x="119782" y="0"/>
                            <a:pt x="126122" y="0"/>
                          </a:cubicBezTo>
                          <a:lnTo>
                            <a:pt x="149054" y="0"/>
                          </a:lnTo>
                          <a:cubicBezTo>
                            <a:pt x="168018" y="0"/>
                            <a:pt x="183451" y="15433"/>
                            <a:pt x="183451" y="34397"/>
                          </a:cubicBezTo>
                          <a:lnTo>
                            <a:pt x="183451" y="217848"/>
                          </a:lnTo>
                          <a:cubicBezTo>
                            <a:pt x="183451" y="224177"/>
                            <a:pt x="178326" y="229313"/>
                            <a:pt x="171985" y="229313"/>
                          </a:cubicBezTo>
                          <a:close/>
                        </a:path>
                      </a:pathLst>
                    </a:custGeom>
                    <a:grpFill/>
                    <a:ln w="1145" cap="flat">
                      <a:noFill/>
                      <a:prstDash val="solid"/>
                      <a:miter/>
                    </a:ln>
                  </p:spPr>
                  <p:txBody>
                    <a:bodyPr rtlCol="0" anchor="ctr"/>
                    <a:lstStyle/>
                    <a:p>
                      <a:endParaRPr lang="en-GB" dirty="0"/>
                    </a:p>
                  </p:txBody>
                </p:sp>
                <p:sp>
                  <p:nvSpPr>
                    <p:cNvPr id="807" name="Freeform: Shape 806">
                      <a:extLst>
                        <a:ext uri="{FF2B5EF4-FFF2-40B4-BE49-F238E27FC236}">
                          <a16:creationId xmlns:a16="http://schemas.microsoft.com/office/drawing/2014/main" id="{FFB99DC5-1FC5-48D3-A565-867E7725D302}"/>
                        </a:ext>
                      </a:extLst>
                    </p:cNvPr>
                    <p:cNvSpPr/>
                    <p:nvPr/>
                  </p:nvSpPr>
                  <p:spPr>
                    <a:xfrm>
                      <a:off x="5278445" y="305892"/>
                      <a:ext cx="206382" cy="68794"/>
                    </a:xfrm>
                    <a:custGeom>
                      <a:avLst/>
                      <a:gdLst>
                        <a:gd name="connsiteX0" fmla="*/ 171985 w 206382"/>
                        <a:gd name="connsiteY0" fmla="*/ 68794 h 68794"/>
                        <a:gd name="connsiteX1" fmla="*/ 11466 w 206382"/>
                        <a:gd name="connsiteY1" fmla="*/ 68794 h 68794"/>
                        <a:gd name="connsiteX2" fmla="*/ 0 w 206382"/>
                        <a:gd name="connsiteY2" fmla="*/ 57328 h 68794"/>
                        <a:gd name="connsiteX3" fmla="*/ 0 w 206382"/>
                        <a:gd name="connsiteY3" fmla="*/ 34397 h 68794"/>
                        <a:gd name="connsiteX4" fmla="*/ 34397 w 206382"/>
                        <a:gd name="connsiteY4" fmla="*/ 0 h 68794"/>
                        <a:gd name="connsiteX5" fmla="*/ 194916 w 206382"/>
                        <a:gd name="connsiteY5" fmla="*/ 0 h 68794"/>
                        <a:gd name="connsiteX6" fmla="*/ 206382 w 206382"/>
                        <a:gd name="connsiteY6" fmla="*/ 11466 h 68794"/>
                        <a:gd name="connsiteX7" fmla="*/ 194916 w 206382"/>
                        <a:gd name="connsiteY7" fmla="*/ 22931 h 68794"/>
                        <a:gd name="connsiteX8" fmla="*/ 183451 w 206382"/>
                        <a:gd name="connsiteY8" fmla="*/ 34397 h 68794"/>
                        <a:gd name="connsiteX9" fmla="*/ 183451 w 206382"/>
                        <a:gd name="connsiteY9" fmla="*/ 57328 h 68794"/>
                        <a:gd name="connsiteX10" fmla="*/ 171985 w 206382"/>
                        <a:gd name="connsiteY10" fmla="*/ 68794 h 68794"/>
                        <a:gd name="connsiteX11" fmla="*/ 22931 w 206382"/>
                        <a:gd name="connsiteY11" fmla="*/ 45863 h 68794"/>
                        <a:gd name="connsiteX12" fmla="*/ 160519 w 206382"/>
                        <a:gd name="connsiteY12" fmla="*/ 45863 h 68794"/>
                        <a:gd name="connsiteX13" fmla="*/ 160519 w 206382"/>
                        <a:gd name="connsiteY13" fmla="*/ 34397 h 68794"/>
                        <a:gd name="connsiteX14" fmla="*/ 162480 w 206382"/>
                        <a:gd name="connsiteY14" fmla="*/ 22931 h 68794"/>
                        <a:gd name="connsiteX15" fmla="*/ 34397 w 206382"/>
                        <a:gd name="connsiteY15" fmla="*/ 22931 h 68794"/>
                        <a:gd name="connsiteX16" fmla="*/ 22931 w 206382"/>
                        <a:gd name="connsiteY16" fmla="*/ 34397 h 68794"/>
                        <a:gd name="connsiteX17" fmla="*/ 22931 w 206382"/>
                        <a:gd name="connsiteY17" fmla="*/ 45863 h 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6382" h="68794">
                          <a:moveTo>
                            <a:pt x="171985" y="68794"/>
                          </a:moveTo>
                          <a:lnTo>
                            <a:pt x="11466" y="68794"/>
                          </a:lnTo>
                          <a:cubicBezTo>
                            <a:pt x="5125" y="68794"/>
                            <a:pt x="0" y="63657"/>
                            <a:pt x="0" y="57328"/>
                          </a:cubicBezTo>
                          <a:lnTo>
                            <a:pt x="0" y="34397"/>
                          </a:lnTo>
                          <a:cubicBezTo>
                            <a:pt x="0" y="15433"/>
                            <a:pt x="15433" y="0"/>
                            <a:pt x="34397" y="0"/>
                          </a:cubicBezTo>
                          <a:lnTo>
                            <a:pt x="194916" y="0"/>
                          </a:lnTo>
                          <a:cubicBezTo>
                            <a:pt x="201257" y="0"/>
                            <a:pt x="206382" y="5137"/>
                            <a:pt x="206382" y="11466"/>
                          </a:cubicBezTo>
                          <a:cubicBezTo>
                            <a:pt x="206382" y="17795"/>
                            <a:pt x="201257" y="22931"/>
                            <a:pt x="194916" y="22931"/>
                          </a:cubicBezTo>
                          <a:cubicBezTo>
                            <a:pt x="188588" y="22931"/>
                            <a:pt x="183451" y="28079"/>
                            <a:pt x="183451" y="34397"/>
                          </a:cubicBezTo>
                          <a:lnTo>
                            <a:pt x="183451" y="57328"/>
                          </a:lnTo>
                          <a:cubicBezTo>
                            <a:pt x="183451" y="63657"/>
                            <a:pt x="178326" y="68794"/>
                            <a:pt x="171985" y="68794"/>
                          </a:cubicBezTo>
                          <a:close/>
                          <a:moveTo>
                            <a:pt x="22931" y="45863"/>
                          </a:moveTo>
                          <a:lnTo>
                            <a:pt x="160519" y="45863"/>
                          </a:lnTo>
                          <a:lnTo>
                            <a:pt x="160519" y="34397"/>
                          </a:lnTo>
                          <a:cubicBezTo>
                            <a:pt x="160519" y="30373"/>
                            <a:pt x="161219" y="26520"/>
                            <a:pt x="162480" y="22931"/>
                          </a:cubicBezTo>
                          <a:lnTo>
                            <a:pt x="34397" y="22931"/>
                          </a:lnTo>
                          <a:cubicBezTo>
                            <a:pt x="28068" y="22931"/>
                            <a:pt x="22931" y="28079"/>
                            <a:pt x="22931" y="34397"/>
                          </a:cubicBezTo>
                          <a:lnTo>
                            <a:pt x="22931" y="45863"/>
                          </a:lnTo>
                          <a:close/>
                        </a:path>
                      </a:pathLst>
                    </a:custGeom>
                    <a:grpFill/>
                    <a:ln w="1145" cap="flat">
                      <a:noFill/>
                      <a:prstDash val="solid"/>
                      <a:miter/>
                    </a:ln>
                  </p:spPr>
                  <p:txBody>
                    <a:bodyPr rtlCol="0" anchor="ctr"/>
                    <a:lstStyle/>
                    <a:p>
                      <a:endParaRPr lang="en-GB" dirty="0"/>
                    </a:p>
                  </p:txBody>
                </p:sp>
              </p:grpSp>
              <p:sp>
                <p:nvSpPr>
                  <p:cNvPr id="804" name="Freeform: Shape 803">
                    <a:extLst>
                      <a:ext uri="{FF2B5EF4-FFF2-40B4-BE49-F238E27FC236}">
                        <a16:creationId xmlns:a16="http://schemas.microsoft.com/office/drawing/2014/main" id="{506E839F-81C7-47A5-AAD7-337617C34250}"/>
                      </a:ext>
                    </a:extLst>
                  </p:cNvPr>
                  <p:cNvSpPr/>
                  <p:nvPr/>
                </p:nvSpPr>
                <p:spPr>
                  <a:xfrm>
                    <a:off x="5301388" y="397618"/>
                    <a:ext cx="68782" cy="91725"/>
                  </a:xfrm>
                  <a:custGeom>
                    <a:avLst/>
                    <a:gdLst>
                      <a:gd name="connsiteX0" fmla="*/ 44097 w 68782"/>
                      <a:gd name="connsiteY0" fmla="*/ 91725 h 91725"/>
                      <a:gd name="connsiteX1" fmla="*/ 24686 w 68782"/>
                      <a:gd name="connsiteY1" fmla="*/ 91725 h 91725"/>
                      <a:gd name="connsiteX2" fmla="*/ 0 w 68782"/>
                      <a:gd name="connsiteY2" fmla="*/ 67040 h 91725"/>
                      <a:gd name="connsiteX3" fmla="*/ 0 w 68782"/>
                      <a:gd name="connsiteY3" fmla="*/ 24686 h 91725"/>
                      <a:gd name="connsiteX4" fmla="*/ 24686 w 68782"/>
                      <a:gd name="connsiteY4" fmla="*/ 0 h 91725"/>
                      <a:gd name="connsiteX5" fmla="*/ 44097 w 68782"/>
                      <a:gd name="connsiteY5" fmla="*/ 0 h 91725"/>
                      <a:gd name="connsiteX6" fmla="*/ 68783 w 68782"/>
                      <a:gd name="connsiteY6" fmla="*/ 24686 h 91725"/>
                      <a:gd name="connsiteX7" fmla="*/ 68783 w 68782"/>
                      <a:gd name="connsiteY7" fmla="*/ 67040 h 91725"/>
                      <a:gd name="connsiteX8" fmla="*/ 44097 w 68782"/>
                      <a:gd name="connsiteY8" fmla="*/ 91725 h 91725"/>
                      <a:gd name="connsiteX9" fmla="*/ 24686 w 68782"/>
                      <a:gd name="connsiteY9" fmla="*/ 22931 h 91725"/>
                      <a:gd name="connsiteX10" fmla="*/ 22931 w 68782"/>
                      <a:gd name="connsiteY10" fmla="*/ 24686 h 91725"/>
                      <a:gd name="connsiteX11" fmla="*/ 22931 w 68782"/>
                      <a:gd name="connsiteY11" fmla="*/ 67040 h 91725"/>
                      <a:gd name="connsiteX12" fmla="*/ 24686 w 68782"/>
                      <a:gd name="connsiteY12" fmla="*/ 68794 h 91725"/>
                      <a:gd name="connsiteX13" fmla="*/ 44097 w 68782"/>
                      <a:gd name="connsiteY13" fmla="*/ 68794 h 91725"/>
                      <a:gd name="connsiteX14" fmla="*/ 45851 w 68782"/>
                      <a:gd name="connsiteY14" fmla="*/ 67040 h 91725"/>
                      <a:gd name="connsiteX15" fmla="*/ 45851 w 68782"/>
                      <a:gd name="connsiteY15" fmla="*/ 24686 h 91725"/>
                      <a:gd name="connsiteX16" fmla="*/ 44097 w 68782"/>
                      <a:gd name="connsiteY16" fmla="*/ 22931 h 91725"/>
                      <a:gd name="connsiteX17" fmla="*/ 24686 w 68782"/>
                      <a:gd name="connsiteY17" fmla="*/ 22931 h 91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782" h="91725">
                        <a:moveTo>
                          <a:pt x="44097" y="91725"/>
                        </a:moveTo>
                        <a:lnTo>
                          <a:pt x="24686" y="91725"/>
                        </a:lnTo>
                        <a:cubicBezTo>
                          <a:pt x="11065" y="91725"/>
                          <a:pt x="0" y="80650"/>
                          <a:pt x="0" y="67040"/>
                        </a:cubicBezTo>
                        <a:lnTo>
                          <a:pt x="0" y="24686"/>
                        </a:lnTo>
                        <a:cubicBezTo>
                          <a:pt x="0" y="11076"/>
                          <a:pt x="11076" y="0"/>
                          <a:pt x="24686" y="0"/>
                        </a:cubicBezTo>
                        <a:lnTo>
                          <a:pt x="44097" y="0"/>
                        </a:lnTo>
                        <a:cubicBezTo>
                          <a:pt x="57718" y="0"/>
                          <a:pt x="68783" y="11076"/>
                          <a:pt x="68783" y="24686"/>
                        </a:cubicBezTo>
                        <a:lnTo>
                          <a:pt x="68783" y="67040"/>
                        </a:lnTo>
                        <a:cubicBezTo>
                          <a:pt x="68783" y="80650"/>
                          <a:pt x="57707" y="91725"/>
                          <a:pt x="44097" y="91725"/>
                        </a:cubicBezTo>
                        <a:close/>
                        <a:moveTo>
                          <a:pt x="24686" y="22931"/>
                        </a:moveTo>
                        <a:cubicBezTo>
                          <a:pt x="23711" y="22931"/>
                          <a:pt x="22931" y="23711"/>
                          <a:pt x="22931" y="24686"/>
                        </a:cubicBezTo>
                        <a:lnTo>
                          <a:pt x="22931" y="67040"/>
                        </a:lnTo>
                        <a:cubicBezTo>
                          <a:pt x="22931" y="68003"/>
                          <a:pt x="23711" y="68794"/>
                          <a:pt x="24686" y="68794"/>
                        </a:cubicBezTo>
                        <a:lnTo>
                          <a:pt x="44097" y="68794"/>
                        </a:lnTo>
                        <a:cubicBezTo>
                          <a:pt x="45072" y="68794"/>
                          <a:pt x="45851" y="68003"/>
                          <a:pt x="45851" y="67040"/>
                        </a:cubicBezTo>
                        <a:lnTo>
                          <a:pt x="45851" y="24686"/>
                        </a:lnTo>
                        <a:cubicBezTo>
                          <a:pt x="45851" y="23722"/>
                          <a:pt x="45072" y="22931"/>
                          <a:pt x="44097" y="22931"/>
                        </a:cubicBezTo>
                        <a:lnTo>
                          <a:pt x="24686" y="22931"/>
                        </a:lnTo>
                        <a:close/>
                      </a:path>
                    </a:pathLst>
                  </a:custGeom>
                  <a:grpFill/>
                  <a:ln w="1145" cap="flat">
                    <a:noFill/>
                    <a:prstDash val="solid"/>
                    <a:miter/>
                  </a:ln>
                </p:spPr>
                <p:txBody>
                  <a:bodyPr rtlCol="0" anchor="ctr"/>
                  <a:lstStyle/>
                  <a:p>
                    <a:endParaRPr lang="en-GB" dirty="0"/>
                  </a:p>
                </p:txBody>
              </p:sp>
            </p:grpSp>
            <p:grpSp>
              <p:nvGrpSpPr>
                <p:cNvPr id="795" name="Graphic 48">
                  <a:extLst>
                    <a:ext uri="{FF2B5EF4-FFF2-40B4-BE49-F238E27FC236}">
                      <a16:creationId xmlns:a16="http://schemas.microsoft.com/office/drawing/2014/main" id="{F9962E6C-CE58-42D5-A55C-6F03474DC821}"/>
                    </a:ext>
                  </a:extLst>
                </p:cNvPr>
                <p:cNvGrpSpPr/>
                <p:nvPr/>
              </p:nvGrpSpPr>
              <p:grpSpPr>
                <a:xfrm>
                  <a:off x="5397516" y="0"/>
                  <a:ext cx="343981" cy="795116"/>
                  <a:chOff x="5397516" y="0"/>
                  <a:chExt cx="343981" cy="795116"/>
                </a:xfrm>
                <a:grpFill/>
              </p:grpSpPr>
              <p:sp>
                <p:nvSpPr>
                  <p:cNvPr id="796" name="Freeform: Shape 795">
                    <a:extLst>
                      <a:ext uri="{FF2B5EF4-FFF2-40B4-BE49-F238E27FC236}">
                        <a16:creationId xmlns:a16="http://schemas.microsoft.com/office/drawing/2014/main" id="{C10F349C-DAB2-44D6-8C9B-8F155BEC1EDA}"/>
                      </a:ext>
                    </a:extLst>
                  </p:cNvPr>
                  <p:cNvSpPr/>
                  <p:nvPr/>
                </p:nvSpPr>
                <p:spPr>
                  <a:xfrm>
                    <a:off x="5489253" y="0"/>
                    <a:ext cx="160519" cy="183450"/>
                  </a:xfrm>
                  <a:custGeom>
                    <a:avLst/>
                    <a:gdLst>
                      <a:gd name="connsiteX0" fmla="*/ 80260 w 160519"/>
                      <a:gd name="connsiteY0" fmla="*/ 183451 h 183450"/>
                      <a:gd name="connsiteX1" fmla="*/ 0 w 160519"/>
                      <a:gd name="connsiteY1" fmla="*/ 91725 h 183450"/>
                      <a:gd name="connsiteX2" fmla="*/ 80260 w 160519"/>
                      <a:gd name="connsiteY2" fmla="*/ 0 h 183450"/>
                      <a:gd name="connsiteX3" fmla="*/ 160519 w 160519"/>
                      <a:gd name="connsiteY3" fmla="*/ 91725 h 183450"/>
                      <a:gd name="connsiteX4" fmla="*/ 80260 w 160519"/>
                      <a:gd name="connsiteY4" fmla="*/ 183451 h 183450"/>
                      <a:gd name="connsiteX5" fmla="*/ 80260 w 160519"/>
                      <a:gd name="connsiteY5" fmla="*/ 22931 h 183450"/>
                      <a:gd name="connsiteX6" fmla="*/ 22931 w 160519"/>
                      <a:gd name="connsiteY6" fmla="*/ 91725 h 183450"/>
                      <a:gd name="connsiteX7" fmla="*/ 80260 w 160519"/>
                      <a:gd name="connsiteY7" fmla="*/ 160519 h 183450"/>
                      <a:gd name="connsiteX8" fmla="*/ 137588 w 160519"/>
                      <a:gd name="connsiteY8" fmla="*/ 91725 h 183450"/>
                      <a:gd name="connsiteX9" fmla="*/ 80260 w 160519"/>
                      <a:gd name="connsiteY9" fmla="*/ 22931 h 18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19" h="183450">
                        <a:moveTo>
                          <a:pt x="80260" y="183451"/>
                        </a:moveTo>
                        <a:cubicBezTo>
                          <a:pt x="32253" y="183451"/>
                          <a:pt x="0" y="146589"/>
                          <a:pt x="0" y="91725"/>
                        </a:cubicBezTo>
                        <a:cubicBezTo>
                          <a:pt x="0" y="36862"/>
                          <a:pt x="32253" y="0"/>
                          <a:pt x="80260" y="0"/>
                        </a:cubicBezTo>
                        <a:cubicBezTo>
                          <a:pt x="128267" y="0"/>
                          <a:pt x="160519" y="36862"/>
                          <a:pt x="160519" y="91725"/>
                        </a:cubicBezTo>
                        <a:cubicBezTo>
                          <a:pt x="160519" y="146589"/>
                          <a:pt x="128267" y="183451"/>
                          <a:pt x="80260" y="183451"/>
                        </a:cubicBezTo>
                        <a:close/>
                        <a:moveTo>
                          <a:pt x="80260" y="22931"/>
                        </a:moveTo>
                        <a:cubicBezTo>
                          <a:pt x="37951" y="22931"/>
                          <a:pt x="22931" y="59988"/>
                          <a:pt x="22931" y="91725"/>
                        </a:cubicBezTo>
                        <a:cubicBezTo>
                          <a:pt x="22931" y="123462"/>
                          <a:pt x="37951" y="160519"/>
                          <a:pt x="80260" y="160519"/>
                        </a:cubicBezTo>
                        <a:cubicBezTo>
                          <a:pt x="122568" y="160519"/>
                          <a:pt x="137588" y="123462"/>
                          <a:pt x="137588" y="91725"/>
                        </a:cubicBezTo>
                        <a:cubicBezTo>
                          <a:pt x="137588" y="59988"/>
                          <a:pt x="122568" y="22931"/>
                          <a:pt x="80260" y="22931"/>
                        </a:cubicBezTo>
                        <a:close/>
                      </a:path>
                    </a:pathLst>
                  </a:custGeom>
                  <a:grpFill/>
                  <a:ln w="1145" cap="flat">
                    <a:noFill/>
                    <a:prstDash val="solid"/>
                    <a:miter/>
                  </a:ln>
                </p:spPr>
                <p:txBody>
                  <a:bodyPr rtlCol="0" anchor="ctr"/>
                  <a:lstStyle/>
                  <a:p>
                    <a:endParaRPr lang="en-GB" dirty="0"/>
                  </a:p>
                </p:txBody>
              </p:sp>
              <p:sp>
                <p:nvSpPr>
                  <p:cNvPr id="797" name="Freeform: Shape 796">
                    <a:extLst>
                      <a:ext uri="{FF2B5EF4-FFF2-40B4-BE49-F238E27FC236}">
                        <a16:creationId xmlns:a16="http://schemas.microsoft.com/office/drawing/2014/main" id="{35E52662-11F0-4C7B-8CC9-A9EA3BB47006}"/>
                      </a:ext>
                    </a:extLst>
                  </p:cNvPr>
                  <p:cNvSpPr/>
                  <p:nvPr/>
                </p:nvSpPr>
                <p:spPr>
                  <a:xfrm>
                    <a:off x="5660791" y="343970"/>
                    <a:ext cx="23378" cy="450165"/>
                  </a:xfrm>
                  <a:custGeom>
                    <a:avLst/>
                    <a:gdLst>
                      <a:gd name="connsiteX0" fmla="*/ 11466 w 23378"/>
                      <a:gd name="connsiteY0" fmla="*/ 450165 h 450165"/>
                      <a:gd name="connsiteX1" fmla="*/ 11466 w 23378"/>
                      <a:gd name="connsiteY1" fmla="*/ 450165 h 450165"/>
                      <a:gd name="connsiteX2" fmla="*/ 0 w 23378"/>
                      <a:gd name="connsiteY2" fmla="*/ 438688 h 450165"/>
                      <a:gd name="connsiteX3" fmla="*/ 447 w 23378"/>
                      <a:gd name="connsiteY3" fmla="*/ 11454 h 450165"/>
                      <a:gd name="connsiteX4" fmla="*/ 11913 w 23378"/>
                      <a:gd name="connsiteY4" fmla="*/ 0 h 450165"/>
                      <a:gd name="connsiteX5" fmla="*/ 11924 w 23378"/>
                      <a:gd name="connsiteY5" fmla="*/ 0 h 450165"/>
                      <a:gd name="connsiteX6" fmla="*/ 23378 w 23378"/>
                      <a:gd name="connsiteY6" fmla="*/ 11477 h 450165"/>
                      <a:gd name="connsiteX7" fmla="*/ 22931 w 23378"/>
                      <a:gd name="connsiteY7" fmla="*/ 438711 h 450165"/>
                      <a:gd name="connsiteX8" fmla="*/ 11466 w 23378"/>
                      <a:gd name="connsiteY8" fmla="*/ 450165 h 450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78" h="450165">
                        <a:moveTo>
                          <a:pt x="11466" y="450165"/>
                        </a:moveTo>
                        <a:lnTo>
                          <a:pt x="11466" y="450165"/>
                        </a:lnTo>
                        <a:cubicBezTo>
                          <a:pt x="5114" y="450165"/>
                          <a:pt x="-11" y="445017"/>
                          <a:pt x="0" y="438688"/>
                        </a:cubicBezTo>
                        <a:lnTo>
                          <a:pt x="447" y="11454"/>
                        </a:lnTo>
                        <a:cubicBezTo>
                          <a:pt x="459" y="5125"/>
                          <a:pt x="5584" y="0"/>
                          <a:pt x="11913" y="0"/>
                        </a:cubicBezTo>
                        <a:lnTo>
                          <a:pt x="11924" y="0"/>
                        </a:lnTo>
                        <a:cubicBezTo>
                          <a:pt x="18265" y="0"/>
                          <a:pt x="23390" y="5148"/>
                          <a:pt x="23378" y="11477"/>
                        </a:cubicBezTo>
                        <a:lnTo>
                          <a:pt x="22931" y="438711"/>
                        </a:lnTo>
                        <a:cubicBezTo>
                          <a:pt x="22920" y="445040"/>
                          <a:pt x="17794" y="450165"/>
                          <a:pt x="11466" y="450165"/>
                        </a:cubicBezTo>
                        <a:close/>
                      </a:path>
                    </a:pathLst>
                  </a:custGeom>
                  <a:grpFill/>
                  <a:ln w="1145" cap="flat">
                    <a:noFill/>
                    <a:prstDash val="solid"/>
                    <a:miter/>
                  </a:ln>
                </p:spPr>
                <p:txBody>
                  <a:bodyPr rtlCol="0" anchor="ctr"/>
                  <a:lstStyle/>
                  <a:p>
                    <a:endParaRPr lang="en-GB" dirty="0"/>
                  </a:p>
                </p:txBody>
              </p:sp>
              <p:sp>
                <p:nvSpPr>
                  <p:cNvPr id="798" name="Freeform: Shape 797">
                    <a:extLst>
                      <a:ext uri="{FF2B5EF4-FFF2-40B4-BE49-F238E27FC236}">
                        <a16:creationId xmlns:a16="http://schemas.microsoft.com/office/drawing/2014/main" id="{4EF1CF9D-B836-4385-B25A-6FDF730C80D3}"/>
                      </a:ext>
                    </a:extLst>
                  </p:cNvPr>
                  <p:cNvSpPr/>
                  <p:nvPr/>
                </p:nvSpPr>
                <p:spPr>
                  <a:xfrm>
                    <a:off x="5528456" y="561817"/>
                    <a:ext cx="81687" cy="233298"/>
                  </a:xfrm>
                  <a:custGeom>
                    <a:avLst/>
                    <a:gdLst>
                      <a:gd name="connsiteX0" fmla="*/ 11475 w 81687"/>
                      <a:gd name="connsiteY0" fmla="*/ 233281 h 233298"/>
                      <a:gd name="connsiteX1" fmla="*/ 10478 w 81687"/>
                      <a:gd name="connsiteY1" fmla="*/ 233235 h 233298"/>
                      <a:gd name="connsiteX2" fmla="*/ 44 w 81687"/>
                      <a:gd name="connsiteY2" fmla="*/ 220829 h 233298"/>
                      <a:gd name="connsiteX3" fmla="*/ 18171 w 81687"/>
                      <a:gd name="connsiteY3" fmla="*/ 10480 h 233298"/>
                      <a:gd name="connsiteX4" fmla="*/ 29591 w 81687"/>
                      <a:gd name="connsiteY4" fmla="*/ 0 h 233298"/>
                      <a:gd name="connsiteX5" fmla="*/ 52522 w 81687"/>
                      <a:gd name="connsiteY5" fmla="*/ 0 h 233298"/>
                      <a:gd name="connsiteX6" fmla="*/ 63942 w 81687"/>
                      <a:gd name="connsiteY6" fmla="*/ 10503 h 233298"/>
                      <a:gd name="connsiteX7" fmla="*/ 81645 w 81687"/>
                      <a:gd name="connsiteY7" fmla="*/ 220852 h 233298"/>
                      <a:gd name="connsiteX8" fmla="*/ 71189 w 81687"/>
                      <a:gd name="connsiteY8" fmla="*/ 233246 h 233298"/>
                      <a:gd name="connsiteX9" fmla="*/ 58806 w 81687"/>
                      <a:gd name="connsiteY9" fmla="*/ 222778 h 233298"/>
                      <a:gd name="connsiteX10" fmla="*/ 41986 w 81687"/>
                      <a:gd name="connsiteY10" fmla="*/ 22931 h 233298"/>
                      <a:gd name="connsiteX11" fmla="*/ 40116 w 81687"/>
                      <a:gd name="connsiteY11" fmla="*/ 22931 h 233298"/>
                      <a:gd name="connsiteX12" fmla="*/ 22884 w 81687"/>
                      <a:gd name="connsiteY12" fmla="*/ 222801 h 233298"/>
                      <a:gd name="connsiteX13" fmla="*/ 11475 w 81687"/>
                      <a:gd name="connsiteY13" fmla="*/ 233281 h 233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1687" h="233298">
                        <a:moveTo>
                          <a:pt x="11475" y="233281"/>
                        </a:moveTo>
                        <a:cubicBezTo>
                          <a:pt x="11154" y="233281"/>
                          <a:pt x="10810" y="233269"/>
                          <a:pt x="10478" y="233235"/>
                        </a:cubicBezTo>
                        <a:cubicBezTo>
                          <a:pt x="4172" y="232696"/>
                          <a:pt x="-506" y="227135"/>
                          <a:pt x="44" y="220829"/>
                        </a:cubicBezTo>
                        <a:lnTo>
                          <a:pt x="18171" y="10480"/>
                        </a:lnTo>
                        <a:cubicBezTo>
                          <a:pt x="18676" y="4552"/>
                          <a:pt x="23652" y="0"/>
                          <a:pt x="29591" y="0"/>
                        </a:cubicBezTo>
                        <a:lnTo>
                          <a:pt x="52522" y="0"/>
                        </a:lnTo>
                        <a:cubicBezTo>
                          <a:pt x="58484" y="0"/>
                          <a:pt x="63449" y="4563"/>
                          <a:pt x="63942" y="10503"/>
                        </a:cubicBezTo>
                        <a:lnTo>
                          <a:pt x="81645" y="220852"/>
                        </a:lnTo>
                        <a:cubicBezTo>
                          <a:pt x="82184" y="227158"/>
                          <a:pt x="77495" y="232707"/>
                          <a:pt x="71189" y="233246"/>
                        </a:cubicBezTo>
                        <a:cubicBezTo>
                          <a:pt x="65020" y="233854"/>
                          <a:pt x="59344" y="229096"/>
                          <a:pt x="58806" y="222778"/>
                        </a:cubicBezTo>
                        <a:lnTo>
                          <a:pt x="41986" y="22931"/>
                        </a:lnTo>
                        <a:lnTo>
                          <a:pt x="40116" y="22931"/>
                        </a:lnTo>
                        <a:lnTo>
                          <a:pt x="22884" y="222801"/>
                        </a:lnTo>
                        <a:cubicBezTo>
                          <a:pt x="22368" y="228775"/>
                          <a:pt x="17369" y="233281"/>
                          <a:pt x="11475" y="233281"/>
                        </a:cubicBezTo>
                        <a:close/>
                      </a:path>
                    </a:pathLst>
                  </a:custGeom>
                  <a:grpFill/>
                  <a:ln w="1145" cap="flat">
                    <a:noFill/>
                    <a:prstDash val="solid"/>
                    <a:miter/>
                  </a:ln>
                </p:spPr>
                <p:txBody>
                  <a:bodyPr rtlCol="0" anchor="ctr"/>
                  <a:lstStyle/>
                  <a:p>
                    <a:endParaRPr lang="en-GB" dirty="0"/>
                  </a:p>
                </p:txBody>
              </p:sp>
              <p:sp>
                <p:nvSpPr>
                  <p:cNvPr id="799" name="Freeform: Shape 798">
                    <a:extLst>
                      <a:ext uri="{FF2B5EF4-FFF2-40B4-BE49-F238E27FC236}">
                        <a16:creationId xmlns:a16="http://schemas.microsoft.com/office/drawing/2014/main" id="{2B4CE989-6442-4FDD-A06F-5CE3D8E1266C}"/>
                      </a:ext>
                    </a:extLst>
                  </p:cNvPr>
                  <p:cNvSpPr/>
                  <p:nvPr/>
                </p:nvSpPr>
                <p:spPr>
                  <a:xfrm>
                    <a:off x="5453927" y="512733"/>
                    <a:ext cx="24215" cy="280931"/>
                  </a:xfrm>
                  <a:custGeom>
                    <a:avLst/>
                    <a:gdLst>
                      <a:gd name="connsiteX0" fmla="*/ 11466 w 24215"/>
                      <a:gd name="connsiteY0" fmla="*/ 280932 h 280931"/>
                      <a:gd name="connsiteX1" fmla="*/ 11408 w 24215"/>
                      <a:gd name="connsiteY1" fmla="*/ 280932 h 280931"/>
                      <a:gd name="connsiteX2" fmla="*/ 0 w 24215"/>
                      <a:gd name="connsiteY2" fmla="*/ 269409 h 280931"/>
                      <a:gd name="connsiteX3" fmla="*/ 1284 w 24215"/>
                      <a:gd name="connsiteY3" fmla="*/ 11408 h 280931"/>
                      <a:gd name="connsiteX4" fmla="*/ 12750 w 24215"/>
                      <a:gd name="connsiteY4" fmla="*/ 0 h 280931"/>
                      <a:gd name="connsiteX5" fmla="*/ 12808 w 24215"/>
                      <a:gd name="connsiteY5" fmla="*/ 0 h 280931"/>
                      <a:gd name="connsiteX6" fmla="*/ 24216 w 24215"/>
                      <a:gd name="connsiteY6" fmla="*/ 11523 h 280931"/>
                      <a:gd name="connsiteX7" fmla="*/ 22932 w 24215"/>
                      <a:gd name="connsiteY7" fmla="*/ 269524 h 280931"/>
                      <a:gd name="connsiteX8" fmla="*/ 11466 w 24215"/>
                      <a:gd name="connsiteY8" fmla="*/ 280932 h 28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215" h="280931">
                        <a:moveTo>
                          <a:pt x="11466" y="280932"/>
                        </a:moveTo>
                        <a:cubicBezTo>
                          <a:pt x="11443" y="280932"/>
                          <a:pt x="11431" y="280932"/>
                          <a:pt x="11408" y="280932"/>
                        </a:cubicBezTo>
                        <a:cubicBezTo>
                          <a:pt x="5068" y="280897"/>
                          <a:pt x="-34" y="275738"/>
                          <a:pt x="0" y="269409"/>
                        </a:cubicBezTo>
                        <a:lnTo>
                          <a:pt x="1284" y="11408"/>
                        </a:lnTo>
                        <a:cubicBezTo>
                          <a:pt x="1319" y="5091"/>
                          <a:pt x="6444" y="0"/>
                          <a:pt x="12750" y="0"/>
                        </a:cubicBezTo>
                        <a:cubicBezTo>
                          <a:pt x="12773" y="0"/>
                          <a:pt x="12785" y="0"/>
                          <a:pt x="12808" y="0"/>
                        </a:cubicBezTo>
                        <a:cubicBezTo>
                          <a:pt x="19148" y="34"/>
                          <a:pt x="24250" y="5194"/>
                          <a:pt x="24216" y="11523"/>
                        </a:cubicBezTo>
                        <a:lnTo>
                          <a:pt x="22932" y="269524"/>
                        </a:lnTo>
                        <a:cubicBezTo>
                          <a:pt x="22897" y="275830"/>
                          <a:pt x="17772" y="280932"/>
                          <a:pt x="11466" y="280932"/>
                        </a:cubicBezTo>
                        <a:close/>
                      </a:path>
                    </a:pathLst>
                  </a:custGeom>
                  <a:grpFill/>
                  <a:ln w="1145" cap="flat">
                    <a:noFill/>
                    <a:prstDash val="solid"/>
                    <a:miter/>
                  </a:ln>
                </p:spPr>
                <p:txBody>
                  <a:bodyPr rtlCol="0" anchor="ctr"/>
                  <a:lstStyle/>
                  <a:p>
                    <a:endParaRPr lang="en-GB" dirty="0"/>
                  </a:p>
                </p:txBody>
              </p:sp>
              <p:sp>
                <p:nvSpPr>
                  <p:cNvPr id="800" name="Freeform: Shape 799">
                    <a:extLst>
                      <a:ext uri="{FF2B5EF4-FFF2-40B4-BE49-F238E27FC236}">
                        <a16:creationId xmlns:a16="http://schemas.microsoft.com/office/drawing/2014/main" id="{BA3D2250-8FD8-4D25-9D17-6332DCECDB9D}"/>
                      </a:ext>
                    </a:extLst>
                  </p:cNvPr>
                  <p:cNvSpPr/>
                  <p:nvPr/>
                </p:nvSpPr>
                <p:spPr>
                  <a:xfrm>
                    <a:off x="5397516" y="206370"/>
                    <a:ext cx="343981" cy="389844"/>
                  </a:xfrm>
                  <a:custGeom>
                    <a:avLst/>
                    <a:gdLst>
                      <a:gd name="connsiteX0" fmla="*/ 315295 w 343981"/>
                      <a:gd name="connsiteY0" fmla="*/ 389844 h 389844"/>
                      <a:gd name="connsiteX1" fmla="*/ 309585 w 343981"/>
                      <a:gd name="connsiteY1" fmla="*/ 389844 h 389844"/>
                      <a:gd name="connsiteX2" fmla="*/ 298119 w 343981"/>
                      <a:gd name="connsiteY2" fmla="*/ 378379 h 389844"/>
                      <a:gd name="connsiteX3" fmla="*/ 309585 w 343981"/>
                      <a:gd name="connsiteY3" fmla="*/ 366913 h 389844"/>
                      <a:gd name="connsiteX4" fmla="*/ 315295 w 343981"/>
                      <a:gd name="connsiteY4" fmla="*/ 366913 h 389844"/>
                      <a:gd name="connsiteX5" fmla="*/ 321050 w 343981"/>
                      <a:gd name="connsiteY5" fmla="*/ 361157 h 389844"/>
                      <a:gd name="connsiteX6" fmla="*/ 321050 w 343981"/>
                      <a:gd name="connsiteY6" fmla="*/ 102446 h 389844"/>
                      <a:gd name="connsiteX7" fmla="*/ 247750 w 343981"/>
                      <a:gd name="connsiteY7" fmla="*/ 23184 h 389844"/>
                      <a:gd name="connsiteX8" fmla="*/ 182247 w 343981"/>
                      <a:gd name="connsiteY8" fmla="*/ 154190 h 389844"/>
                      <a:gd name="connsiteX9" fmla="*/ 161735 w 343981"/>
                      <a:gd name="connsiteY9" fmla="*/ 154190 h 389844"/>
                      <a:gd name="connsiteX10" fmla="*/ 96254 w 343981"/>
                      <a:gd name="connsiteY10" fmla="*/ 23229 h 389844"/>
                      <a:gd name="connsiteX11" fmla="*/ 22931 w 343981"/>
                      <a:gd name="connsiteY11" fmla="*/ 102434 h 389844"/>
                      <a:gd name="connsiteX12" fmla="*/ 11466 w 343981"/>
                      <a:gd name="connsiteY12" fmla="*/ 113900 h 389844"/>
                      <a:gd name="connsiteX13" fmla="*/ 0 w 343981"/>
                      <a:gd name="connsiteY13" fmla="*/ 102434 h 389844"/>
                      <a:gd name="connsiteX14" fmla="*/ 102434 w 343981"/>
                      <a:gd name="connsiteY14" fmla="*/ 0 h 389844"/>
                      <a:gd name="connsiteX15" fmla="*/ 113453 w 343981"/>
                      <a:gd name="connsiteY15" fmla="*/ 6341 h 389844"/>
                      <a:gd name="connsiteX16" fmla="*/ 171997 w 343981"/>
                      <a:gd name="connsiteY16" fmla="*/ 123428 h 389844"/>
                      <a:gd name="connsiteX17" fmla="*/ 230529 w 343981"/>
                      <a:gd name="connsiteY17" fmla="*/ 6352 h 389844"/>
                      <a:gd name="connsiteX18" fmla="*/ 240791 w 343981"/>
                      <a:gd name="connsiteY18" fmla="*/ 11 h 389844"/>
                      <a:gd name="connsiteX19" fmla="*/ 343982 w 343981"/>
                      <a:gd name="connsiteY19" fmla="*/ 102446 h 389844"/>
                      <a:gd name="connsiteX20" fmla="*/ 343982 w 343981"/>
                      <a:gd name="connsiteY20" fmla="*/ 361157 h 389844"/>
                      <a:gd name="connsiteX21" fmla="*/ 315295 w 343981"/>
                      <a:gd name="connsiteY21" fmla="*/ 389844 h 389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43981" h="389844">
                        <a:moveTo>
                          <a:pt x="315295" y="389844"/>
                        </a:moveTo>
                        <a:lnTo>
                          <a:pt x="309585" y="389844"/>
                        </a:lnTo>
                        <a:cubicBezTo>
                          <a:pt x="303244" y="389844"/>
                          <a:pt x="298119" y="384708"/>
                          <a:pt x="298119" y="378379"/>
                        </a:cubicBezTo>
                        <a:cubicBezTo>
                          <a:pt x="298119" y="372050"/>
                          <a:pt x="303244" y="366913"/>
                          <a:pt x="309585" y="366913"/>
                        </a:cubicBezTo>
                        <a:lnTo>
                          <a:pt x="315295" y="366913"/>
                        </a:lnTo>
                        <a:cubicBezTo>
                          <a:pt x="318459" y="366913"/>
                          <a:pt x="321050" y="364333"/>
                          <a:pt x="321050" y="361157"/>
                        </a:cubicBezTo>
                        <a:lnTo>
                          <a:pt x="321050" y="102446"/>
                        </a:lnTo>
                        <a:cubicBezTo>
                          <a:pt x="321050" y="60699"/>
                          <a:pt x="288706" y="26360"/>
                          <a:pt x="247750" y="23184"/>
                        </a:cubicBezTo>
                        <a:lnTo>
                          <a:pt x="182247" y="154190"/>
                        </a:lnTo>
                        <a:cubicBezTo>
                          <a:pt x="178349" y="161964"/>
                          <a:pt x="165633" y="161964"/>
                          <a:pt x="161735" y="154190"/>
                        </a:cubicBezTo>
                        <a:lnTo>
                          <a:pt x="96254" y="23229"/>
                        </a:lnTo>
                        <a:cubicBezTo>
                          <a:pt x="54943" y="26704"/>
                          <a:pt x="22931" y="60906"/>
                          <a:pt x="22931" y="102434"/>
                        </a:cubicBezTo>
                        <a:cubicBezTo>
                          <a:pt x="22931" y="108763"/>
                          <a:pt x="17806" y="113900"/>
                          <a:pt x="11466" y="113900"/>
                        </a:cubicBezTo>
                        <a:cubicBezTo>
                          <a:pt x="5125" y="113900"/>
                          <a:pt x="0" y="108763"/>
                          <a:pt x="0" y="102434"/>
                        </a:cubicBezTo>
                        <a:cubicBezTo>
                          <a:pt x="0" y="45954"/>
                          <a:pt x="45955" y="0"/>
                          <a:pt x="102434" y="0"/>
                        </a:cubicBezTo>
                        <a:cubicBezTo>
                          <a:pt x="106780" y="0"/>
                          <a:pt x="111504" y="2454"/>
                          <a:pt x="113453" y="6341"/>
                        </a:cubicBezTo>
                        <a:lnTo>
                          <a:pt x="171997" y="123428"/>
                        </a:lnTo>
                        <a:lnTo>
                          <a:pt x="230529" y="6352"/>
                        </a:lnTo>
                        <a:cubicBezTo>
                          <a:pt x="232478" y="2465"/>
                          <a:pt x="236445" y="11"/>
                          <a:pt x="240791" y="11"/>
                        </a:cubicBezTo>
                        <a:cubicBezTo>
                          <a:pt x="298027" y="11"/>
                          <a:pt x="343982" y="45966"/>
                          <a:pt x="343982" y="102446"/>
                        </a:cubicBezTo>
                        <a:lnTo>
                          <a:pt x="343982" y="361157"/>
                        </a:lnTo>
                        <a:cubicBezTo>
                          <a:pt x="343982" y="376968"/>
                          <a:pt x="331117" y="389844"/>
                          <a:pt x="315295" y="389844"/>
                        </a:cubicBezTo>
                        <a:close/>
                      </a:path>
                    </a:pathLst>
                  </a:custGeom>
                  <a:grpFill/>
                  <a:ln w="1145" cap="flat">
                    <a:noFill/>
                    <a:prstDash val="solid"/>
                    <a:miter/>
                  </a:ln>
                </p:spPr>
                <p:txBody>
                  <a:bodyPr rtlCol="0" anchor="ctr"/>
                  <a:lstStyle/>
                  <a:p>
                    <a:endParaRPr lang="en-GB" dirty="0"/>
                  </a:p>
                </p:txBody>
              </p:sp>
              <p:sp>
                <p:nvSpPr>
                  <p:cNvPr id="801" name="Freeform: Shape 800">
                    <a:extLst>
                      <a:ext uri="{FF2B5EF4-FFF2-40B4-BE49-F238E27FC236}">
                        <a16:creationId xmlns:a16="http://schemas.microsoft.com/office/drawing/2014/main" id="{F64BB07C-D9A5-4F88-97B3-693F3474F4CC}"/>
                      </a:ext>
                    </a:extLst>
                  </p:cNvPr>
                  <p:cNvSpPr/>
                  <p:nvPr/>
                </p:nvSpPr>
                <p:spPr>
                  <a:xfrm>
                    <a:off x="5546581" y="206382"/>
                    <a:ext cx="45862" cy="22931"/>
                  </a:xfrm>
                  <a:custGeom>
                    <a:avLst/>
                    <a:gdLst>
                      <a:gd name="connsiteX0" fmla="*/ 34397 w 45862"/>
                      <a:gd name="connsiteY0" fmla="*/ 22931 h 22931"/>
                      <a:gd name="connsiteX1" fmla="*/ 11466 w 45862"/>
                      <a:gd name="connsiteY1" fmla="*/ 22931 h 22931"/>
                      <a:gd name="connsiteX2" fmla="*/ 0 w 45862"/>
                      <a:gd name="connsiteY2" fmla="*/ 11466 h 22931"/>
                      <a:gd name="connsiteX3" fmla="*/ 11466 w 45862"/>
                      <a:gd name="connsiteY3" fmla="*/ 0 h 22931"/>
                      <a:gd name="connsiteX4" fmla="*/ 34397 w 45862"/>
                      <a:gd name="connsiteY4" fmla="*/ 0 h 22931"/>
                      <a:gd name="connsiteX5" fmla="*/ 45863 w 45862"/>
                      <a:gd name="connsiteY5" fmla="*/ 11466 h 22931"/>
                      <a:gd name="connsiteX6" fmla="*/ 34397 w 45862"/>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62" h="22931">
                        <a:moveTo>
                          <a:pt x="34397" y="22931"/>
                        </a:moveTo>
                        <a:lnTo>
                          <a:pt x="11466" y="22931"/>
                        </a:lnTo>
                        <a:cubicBezTo>
                          <a:pt x="5125" y="22931"/>
                          <a:pt x="0" y="17795"/>
                          <a:pt x="0" y="11466"/>
                        </a:cubicBezTo>
                        <a:cubicBezTo>
                          <a:pt x="0" y="5137"/>
                          <a:pt x="5125" y="0"/>
                          <a:pt x="11466" y="0"/>
                        </a:cubicBezTo>
                        <a:lnTo>
                          <a:pt x="34397" y="0"/>
                        </a:lnTo>
                        <a:cubicBezTo>
                          <a:pt x="40738" y="0"/>
                          <a:pt x="45863" y="5137"/>
                          <a:pt x="45863" y="11466"/>
                        </a:cubicBezTo>
                        <a:cubicBezTo>
                          <a:pt x="45863" y="17795"/>
                          <a:pt x="40738" y="22931"/>
                          <a:pt x="34397" y="22931"/>
                        </a:cubicBezTo>
                        <a:close/>
                      </a:path>
                    </a:pathLst>
                  </a:custGeom>
                  <a:grpFill/>
                  <a:ln w="1145" cap="flat">
                    <a:noFill/>
                    <a:prstDash val="solid"/>
                    <a:miter/>
                  </a:ln>
                </p:spPr>
                <p:txBody>
                  <a:bodyPr rtlCol="0" anchor="ctr"/>
                  <a:lstStyle/>
                  <a:p>
                    <a:endParaRPr lang="en-GB" dirty="0"/>
                  </a:p>
                </p:txBody>
              </p:sp>
              <p:sp>
                <p:nvSpPr>
                  <p:cNvPr id="802" name="Freeform: Shape 801">
                    <a:extLst>
                      <a:ext uri="{FF2B5EF4-FFF2-40B4-BE49-F238E27FC236}">
                        <a16:creationId xmlns:a16="http://schemas.microsoft.com/office/drawing/2014/main" id="{6A74ABD7-3A76-4989-9548-40F5A98F5A29}"/>
                      </a:ext>
                    </a:extLst>
                  </p:cNvPr>
                  <p:cNvSpPr/>
                  <p:nvPr/>
                </p:nvSpPr>
                <p:spPr>
                  <a:xfrm>
                    <a:off x="5558047" y="206382"/>
                    <a:ext cx="22931" cy="149053"/>
                  </a:xfrm>
                  <a:custGeom>
                    <a:avLst/>
                    <a:gdLst>
                      <a:gd name="connsiteX0" fmla="*/ 11466 w 22931"/>
                      <a:gd name="connsiteY0" fmla="*/ 149054 h 149053"/>
                      <a:gd name="connsiteX1" fmla="*/ 0 w 22931"/>
                      <a:gd name="connsiteY1" fmla="*/ 137588 h 149053"/>
                      <a:gd name="connsiteX2" fmla="*/ 0 w 22931"/>
                      <a:gd name="connsiteY2" fmla="*/ 11466 h 149053"/>
                      <a:gd name="connsiteX3" fmla="*/ 11466 w 22931"/>
                      <a:gd name="connsiteY3" fmla="*/ 0 h 149053"/>
                      <a:gd name="connsiteX4" fmla="*/ 22931 w 22931"/>
                      <a:gd name="connsiteY4" fmla="*/ 11466 h 149053"/>
                      <a:gd name="connsiteX5" fmla="*/ 22931 w 22931"/>
                      <a:gd name="connsiteY5" fmla="*/ 137588 h 149053"/>
                      <a:gd name="connsiteX6" fmla="*/ 11466 w 22931"/>
                      <a:gd name="connsiteY6" fmla="*/ 149054 h 14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149053">
                        <a:moveTo>
                          <a:pt x="11466" y="149054"/>
                        </a:moveTo>
                        <a:cubicBezTo>
                          <a:pt x="5125" y="149054"/>
                          <a:pt x="0" y="143917"/>
                          <a:pt x="0" y="137588"/>
                        </a:cubicBezTo>
                        <a:lnTo>
                          <a:pt x="0" y="11466"/>
                        </a:lnTo>
                        <a:cubicBezTo>
                          <a:pt x="0" y="5137"/>
                          <a:pt x="5125" y="0"/>
                          <a:pt x="11466" y="0"/>
                        </a:cubicBezTo>
                        <a:cubicBezTo>
                          <a:pt x="17806" y="0"/>
                          <a:pt x="22931" y="5137"/>
                          <a:pt x="22931" y="11466"/>
                        </a:cubicBezTo>
                        <a:lnTo>
                          <a:pt x="22931" y="137588"/>
                        </a:lnTo>
                        <a:cubicBezTo>
                          <a:pt x="22931" y="143917"/>
                          <a:pt x="17806" y="149054"/>
                          <a:pt x="11466" y="149054"/>
                        </a:cubicBezTo>
                        <a:close/>
                      </a:path>
                    </a:pathLst>
                  </a:custGeom>
                  <a:grpFill/>
                  <a:ln w="1145" cap="flat">
                    <a:noFill/>
                    <a:prstDash val="solid"/>
                    <a:miter/>
                  </a:ln>
                </p:spPr>
                <p:txBody>
                  <a:bodyPr rtlCol="0" anchor="ctr"/>
                  <a:lstStyle/>
                  <a:p>
                    <a:endParaRPr lang="en-GB" dirty="0"/>
                  </a:p>
                </p:txBody>
              </p:sp>
            </p:grpSp>
          </p:grpSp>
        </p:grpSp>
        <p:grpSp>
          <p:nvGrpSpPr>
            <p:cNvPr id="752" name="Graphic 48">
              <a:extLst>
                <a:ext uri="{FF2B5EF4-FFF2-40B4-BE49-F238E27FC236}">
                  <a16:creationId xmlns:a16="http://schemas.microsoft.com/office/drawing/2014/main" id="{B9E11257-2B58-4A60-9E5F-050CB241412F}"/>
                </a:ext>
              </a:extLst>
            </p:cNvPr>
            <p:cNvGrpSpPr/>
            <p:nvPr/>
          </p:nvGrpSpPr>
          <p:grpSpPr>
            <a:xfrm>
              <a:off x="5016985" y="4124108"/>
              <a:ext cx="191839" cy="191810"/>
              <a:chOff x="4883292" y="93009"/>
              <a:chExt cx="389477" cy="389420"/>
            </a:xfrm>
            <a:solidFill>
              <a:schemeClr val="accent1"/>
            </a:solidFill>
          </p:grpSpPr>
          <p:grpSp>
            <p:nvGrpSpPr>
              <p:cNvPr id="753" name="Graphic 48">
                <a:extLst>
                  <a:ext uri="{FF2B5EF4-FFF2-40B4-BE49-F238E27FC236}">
                    <a16:creationId xmlns:a16="http://schemas.microsoft.com/office/drawing/2014/main" id="{9AF861BB-535B-41E4-A317-5C1F54F64C68}"/>
                  </a:ext>
                </a:extLst>
              </p:cNvPr>
              <p:cNvGrpSpPr/>
              <p:nvPr/>
            </p:nvGrpSpPr>
            <p:grpSpPr>
              <a:xfrm>
                <a:off x="4883292" y="93009"/>
                <a:ext cx="389477" cy="389420"/>
                <a:chOff x="4883292" y="93009"/>
                <a:chExt cx="389477" cy="389420"/>
              </a:xfrm>
              <a:solidFill>
                <a:schemeClr val="accent1"/>
              </a:solidFill>
            </p:grpSpPr>
            <p:sp>
              <p:nvSpPr>
                <p:cNvPr id="757" name="Freeform: Shape 756">
                  <a:extLst>
                    <a:ext uri="{FF2B5EF4-FFF2-40B4-BE49-F238E27FC236}">
                      <a16:creationId xmlns:a16="http://schemas.microsoft.com/office/drawing/2014/main" id="{C355050C-FED6-40ED-9707-D46DF8AA7A15}"/>
                    </a:ext>
                  </a:extLst>
                </p:cNvPr>
                <p:cNvSpPr/>
                <p:nvPr/>
              </p:nvSpPr>
              <p:spPr>
                <a:xfrm>
                  <a:off x="4957888" y="167364"/>
                  <a:ext cx="240297" cy="240274"/>
                </a:xfrm>
                <a:custGeom>
                  <a:avLst/>
                  <a:gdLst>
                    <a:gd name="connsiteX0" fmla="*/ 120149 w 240297"/>
                    <a:gd name="connsiteY0" fmla="*/ 240275 h 240274"/>
                    <a:gd name="connsiteX1" fmla="*/ 0 w 240297"/>
                    <a:gd name="connsiteY1" fmla="*/ 120137 h 240274"/>
                    <a:gd name="connsiteX2" fmla="*/ 120149 w 240297"/>
                    <a:gd name="connsiteY2" fmla="*/ 0 h 240274"/>
                    <a:gd name="connsiteX3" fmla="*/ 240297 w 240297"/>
                    <a:gd name="connsiteY3" fmla="*/ 120137 h 240274"/>
                    <a:gd name="connsiteX4" fmla="*/ 120149 w 240297"/>
                    <a:gd name="connsiteY4" fmla="*/ 240275 h 240274"/>
                    <a:gd name="connsiteX5" fmla="*/ 120149 w 240297"/>
                    <a:gd name="connsiteY5" fmla="*/ 22931 h 240274"/>
                    <a:gd name="connsiteX6" fmla="*/ 22931 w 240297"/>
                    <a:gd name="connsiteY6" fmla="*/ 120137 h 240274"/>
                    <a:gd name="connsiteX7" fmla="*/ 120149 w 240297"/>
                    <a:gd name="connsiteY7" fmla="*/ 217343 h 240274"/>
                    <a:gd name="connsiteX8" fmla="*/ 217366 w 240297"/>
                    <a:gd name="connsiteY8" fmla="*/ 120137 h 240274"/>
                    <a:gd name="connsiteX9" fmla="*/ 120149 w 240297"/>
                    <a:gd name="connsiteY9" fmla="*/ 22931 h 240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297" h="240274">
                      <a:moveTo>
                        <a:pt x="120149" y="240275"/>
                      </a:moveTo>
                      <a:cubicBezTo>
                        <a:pt x="53900" y="240275"/>
                        <a:pt x="0" y="186386"/>
                        <a:pt x="0" y="120137"/>
                      </a:cubicBezTo>
                      <a:cubicBezTo>
                        <a:pt x="0" y="53889"/>
                        <a:pt x="53889" y="0"/>
                        <a:pt x="120149" y="0"/>
                      </a:cubicBezTo>
                      <a:cubicBezTo>
                        <a:pt x="186409" y="0"/>
                        <a:pt x="240297" y="53889"/>
                        <a:pt x="240297" y="120137"/>
                      </a:cubicBezTo>
                      <a:cubicBezTo>
                        <a:pt x="240297" y="186386"/>
                        <a:pt x="186397" y="240275"/>
                        <a:pt x="120149" y="240275"/>
                      </a:cubicBezTo>
                      <a:close/>
                      <a:moveTo>
                        <a:pt x="120149" y="22931"/>
                      </a:moveTo>
                      <a:cubicBezTo>
                        <a:pt x="66547" y="22931"/>
                        <a:pt x="22931" y="66535"/>
                        <a:pt x="22931" y="120137"/>
                      </a:cubicBezTo>
                      <a:cubicBezTo>
                        <a:pt x="22931" y="173739"/>
                        <a:pt x="66547" y="217343"/>
                        <a:pt x="120149" y="217343"/>
                      </a:cubicBezTo>
                      <a:cubicBezTo>
                        <a:pt x="173751" y="217343"/>
                        <a:pt x="217366" y="173739"/>
                        <a:pt x="217366" y="120137"/>
                      </a:cubicBezTo>
                      <a:cubicBezTo>
                        <a:pt x="217355" y="66535"/>
                        <a:pt x="173751" y="22931"/>
                        <a:pt x="120149" y="22931"/>
                      </a:cubicBezTo>
                      <a:close/>
                    </a:path>
                  </a:pathLst>
                </a:custGeom>
                <a:solidFill>
                  <a:schemeClr val="accent1"/>
                </a:solidFill>
                <a:ln w="1145" cap="flat">
                  <a:noFill/>
                  <a:prstDash val="solid"/>
                  <a:miter/>
                </a:ln>
              </p:spPr>
              <p:txBody>
                <a:bodyPr rtlCol="0" anchor="ctr"/>
                <a:lstStyle/>
                <a:p>
                  <a:endParaRPr lang="en-GB" dirty="0"/>
                </a:p>
              </p:txBody>
            </p:sp>
            <p:grpSp>
              <p:nvGrpSpPr>
                <p:cNvPr id="758" name="Graphic 48">
                  <a:extLst>
                    <a:ext uri="{FF2B5EF4-FFF2-40B4-BE49-F238E27FC236}">
                      <a16:creationId xmlns:a16="http://schemas.microsoft.com/office/drawing/2014/main" id="{644F746B-CF71-4FA9-B169-CB4701801DFA}"/>
                    </a:ext>
                  </a:extLst>
                </p:cNvPr>
                <p:cNvGrpSpPr/>
                <p:nvPr/>
              </p:nvGrpSpPr>
              <p:grpSpPr>
                <a:xfrm>
                  <a:off x="4883292" y="251499"/>
                  <a:ext cx="97297" cy="71522"/>
                  <a:chOff x="4883292" y="251499"/>
                  <a:chExt cx="97297" cy="71522"/>
                </a:xfrm>
                <a:solidFill>
                  <a:schemeClr val="accent1"/>
                </a:solidFill>
              </p:grpSpPr>
              <p:sp>
                <p:nvSpPr>
                  <p:cNvPr id="790" name="Freeform: Shape 789">
                    <a:extLst>
                      <a:ext uri="{FF2B5EF4-FFF2-40B4-BE49-F238E27FC236}">
                        <a16:creationId xmlns:a16="http://schemas.microsoft.com/office/drawing/2014/main" id="{634AFBD3-CF43-4409-B403-DD02DADCFC8F}"/>
                      </a:ext>
                    </a:extLst>
                  </p:cNvPr>
                  <p:cNvSpPr/>
                  <p:nvPr/>
                </p:nvSpPr>
                <p:spPr>
                  <a:xfrm>
                    <a:off x="4883292" y="251499"/>
                    <a:ext cx="62980" cy="71522"/>
                  </a:xfrm>
                  <a:custGeom>
                    <a:avLst/>
                    <a:gdLst>
                      <a:gd name="connsiteX0" fmla="*/ 27323 w 62980"/>
                      <a:gd name="connsiteY0" fmla="*/ 71523 h 71522"/>
                      <a:gd name="connsiteX1" fmla="*/ 0 w 62980"/>
                      <a:gd name="connsiteY1" fmla="*/ 35865 h 71522"/>
                      <a:gd name="connsiteX2" fmla="*/ 26486 w 62980"/>
                      <a:gd name="connsiteY2" fmla="*/ 0 h 71522"/>
                      <a:gd name="connsiteX3" fmla="*/ 62981 w 62980"/>
                      <a:gd name="connsiteY3" fmla="*/ 35865 h 71522"/>
                      <a:gd name="connsiteX4" fmla="*/ 27323 w 62980"/>
                      <a:gd name="connsiteY4" fmla="*/ 71523 h 71522"/>
                      <a:gd name="connsiteX5" fmla="*/ 26486 w 62980"/>
                      <a:gd name="connsiteY5" fmla="*/ 22943 h 71522"/>
                      <a:gd name="connsiteX6" fmla="*/ 26130 w 62980"/>
                      <a:gd name="connsiteY6" fmla="*/ 22977 h 71522"/>
                      <a:gd name="connsiteX7" fmla="*/ 22943 w 62980"/>
                      <a:gd name="connsiteY7" fmla="*/ 35876 h 71522"/>
                      <a:gd name="connsiteX8" fmla="*/ 27334 w 62980"/>
                      <a:gd name="connsiteY8" fmla="*/ 48603 h 71522"/>
                      <a:gd name="connsiteX9" fmla="*/ 40050 w 62980"/>
                      <a:gd name="connsiteY9" fmla="*/ 35876 h 71522"/>
                      <a:gd name="connsiteX10" fmla="*/ 26486 w 62980"/>
                      <a:gd name="connsiteY10" fmla="*/ 22943 h 7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980" h="71522">
                        <a:moveTo>
                          <a:pt x="27323" y="71523"/>
                        </a:moveTo>
                        <a:cubicBezTo>
                          <a:pt x="11236" y="71523"/>
                          <a:pt x="0" y="56858"/>
                          <a:pt x="0" y="35865"/>
                        </a:cubicBezTo>
                        <a:cubicBezTo>
                          <a:pt x="0" y="14080"/>
                          <a:pt x="10388" y="0"/>
                          <a:pt x="26486" y="0"/>
                        </a:cubicBezTo>
                        <a:cubicBezTo>
                          <a:pt x="44223" y="0"/>
                          <a:pt x="62981" y="18437"/>
                          <a:pt x="62981" y="35865"/>
                        </a:cubicBezTo>
                        <a:cubicBezTo>
                          <a:pt x="62981" y="53533"/>
                          <a:pt x="44980" y="71523"/>
                          <a:pt x="27323" y="71523"/>
                        </a:cubicBezTo>
                        <a:close/>
                        <a:moveTo>
                          <a:pt x="26486" y="22943"/>
                        </a:moveTo>
                        <a:cubicBezTo>
                          <a:pt x="26268" y="22943"/>
                          <a:pt x="26153" y="22966"/>
                          <a:pt x="26130" y="22977"/>
                        </a:cubicBezTo>
                        <a:cubicBezTo>
                          <a:pt x="25328" y="23436"/>
                          <a:pt x="22943" y="27506"/>
                          <a:pt x="22943" y="35876"/>
                        </a:cubicBezTo>
                        <a:cubicBezTo>
                          <a:pt x="22943" y="42927"/>
                          <a:pt x="25339" y="48603"/>
                          <a:pt x="27334" y="48603"/>
                        </a:cubicBezTo>
                        <a:cubicBezTo>
                          <a:pt x="32046" y="48603"/>
                          <a:pt x="40050" y="41368"/>
                          <a:pt x="40050" y="35876"/>
                        </a:cubicBezTo>
                        <a:cubicBezTo>
                          <a:pt x="40050" y="30911"/>
                          <a:pt x="31680" y="22943"/>
                          <a:pt x="26486" y="22943"/>
                        </a:cubicBezTo>
                        <a:close/>
                      </a:path>
                    </a:pathLst>
                  </a:custGeom>
                  <a:solidFill>
                    <a:schemeClr val="accent1"/>
                  </a:solidFill>
                  <a:ln w="1145" cap="flat">
                    <a:noFill/>
                    <a:prstDash val="solid"/>
                    <a:miter/>
                  </a:ln>
                </p:spPr>
                <p:txBody>
                  <a:bodyPr rtlCol="0" anchor="ctr"/>
                  <a:lstStyle/>
                  <a:p>
                    <a:endParaRPr lang="en-GB" dirty="0"/>
                  </a:p>
                </p:txBody>
              </p:sp>
              <p:sp>
                <p:nvSpPr>
                  <p:cNvPr id="791" name="Freeform: Shape 790">
                    <a:extLst>
                      <a:ext uri="{FF2B5EF4-FFF2-40B4-BE49-F238E27FC236}">
                        <a16:creationId xmlns:a16="http://schemas.microsoft.com/office/drawing/2014/main" id="{35CC9593-E626-44B3-B8BD-7CD1B112D69C}"/>
                      </a:ext>
                    </a:extLst>
                  </p:cNvPr>
                  <p:cNvSpPr/>
                  <p:nvPr/>
                </p:nvSpPr>
                <p:spPr>
                  <a:xfrm>
                    <a:off x="4923341" y="275921"/>
                    <a:ext cx="57248" cy="22931"/>
                  </a:xfrm>
                  <a:custGeom>
                    <a:avLst/>
                    <a:gdLst>
                      <a:gd name="connsiteX0" fmla="*/ 45783 w 57248"/>
                      <a:gd name="connsiteY0" fmla="*/ 22931 h 22931"/>
                      <a:gd name="connsiteX1" fmla="*/ 11466 w 57248"/>
                      <a:gd name="connsiteY1" fmla="*/ 22931 h 22931"/>
                      <a:gd name="connsiteX2" fmla="*/ 0 w 57248"/>
                      <a:gd name="connsiteY2" fmla="*/ 11466 h 22931"/>
                      <a:gd name="connsiteX3" fmla="*/ 11466 w 57248"/>
                      <a:gd name="connsiteY3" fmla="*/ 0 h 22931"/>
                      <a:gd name="connsiteX4" fmla="*/ 45783 w 57248"/>
                      <a:gd name="connsiteY4" fmla="*/ 0 h 22931"/>
                      <a:gd name="connsiteX5" fmla="*/ 57248 w 57248"/>
                      <a:gd name="connsiteY5" fmla="*/ 11466 h 22931"/>
                      <a:gd name="connsiteX6" fmla="*/ 45783 w 57248"/>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48" h="22931">
                        <a:moveTo>
                          <a:pt x="45783" y="22931"/>
                        </a:moveTo>
                        <a:lnTo>
                          <a:pt x="11466" y="22931"/>
                        </a:lnTo>
                        <a:cubicBezTo>
                          <a:pt x="5125" y="22931"/>
                          <a:pt x="0" y="17795"/>
                          <a:pt x="0" y="11466"/>
                        </a:cubicBezTo>
                        <a:cubicBezTo>
                          <a:pt x="0" y="5137"/>
                          <a:pt x="5125" y="0"/>
                          <a:pt x="11466" y="0"/>
                        </a:cubicBezTo>
                        <a:lnTo>
                          <a:pt x="45783" y="0"/>
                        </a:lnTo>
                        <a:cubicBezTo>
                          <a:pt x="52123" y="0"/>
                          <a:pt x="57248" y="5137"/>
                          <a:pt x="57248" y="11466"/>
                        </a:cubicBezTo>
                        <a:cubicBezTo>
                          <a:pt x="57248" y="17795"/>
                          <a:pt x="52111" y="22931"/>
                          <a:pt x="45783"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759" name="Graphic 48">
                  <a:extLst>
                    <a:ext uri="{FF2B5EF4-FFF2-40B4-BE49-F238E27FC236}">
                      <a16:creationId xmlns:a16="http://schemas.microsoft.com/office/drawing/2014/main" id="{30A618AD-A1DF-48E2-AE0E-EE6B19898AF3}"/>
                    </a:ext>
                  </a:extLst>
                </p:cNvPr>
                <p:cNvGrpSpPr/>
                <p:nvPr/>
              </p:nvGrpSpPr>
              <p:grpSpPr>
                <a:xfrm>
                  <a:off x="5175483" y="251378"/>
                  <a:ext cx="97286" cy="71540"/>
                  <a:chOff x="5175483" y="251378"/>
                  <a:chExt cx="97286" cy="71540"/>
                </a:xfrm>
                <a:solidFill>
                  <a:schemeClr val="accent1"/>
                </a:solidFill>
              </p:grpSpPr>
              <p:sp>
                <p:nvSpPr>
                  <p:cNvPr id="788" name="Freeform: Shape 787">
                    <a:extLst>
                      <a:ext uri="{FF2B5EF4-FFF2-40B4-BE49-F238E27FC236}">
                        <a16:creationId xmlns:a16="http://schemas.microsoft.com/office/drawing/2014/main" id="{8D8E7479-487E-418A-9694-848E611F6252}"/>
                      </a:ext>
                    </a:extLst>
                  </p:cNvPr>
                  <p:cNvSpPr/>
                  <p:nvPr/>
                </p:nvSpPr>
                <p:spPr>
                  <a:xfrm>
                    <a:off x="5209800" y="251378"/>
                    <a:ext cx="62970" cy="71540"/>
                  </a:xfrm>
                  <a:custGeom>
                    <a:avLst/>
                    <a:gdLst>
                      <a:gd name="connsiteX0" fmla="*/ 35693 w 62970"/>
                      <a:gd name="connsiteY0" fmla="*/ 71541 h 71540"/>
                      <a:gd name="connsiteX1" fmla="*/ 11500 w 62970"/>
                      <a:gd name="connsiteY1" fmla="*/ 60683 h 71540"/>
                      <a:gd name="connsiteX2" fmla="*/ 0 w 62970"/>
                      <a:gd name="connsiteY2" fmla="*/ 36054 h 71540"/>
                      <a:gd name="connsiteX3" fmla="*/ 36312 w 62970"/>
                      <a:gd name="connsiteY3" fmla="*/ 18 h 71540"/>
                      <a:gd name="connsiteX4" fmla="*/ 36312 w 62970"/>
                      <a:gd name="connsiteY4" fmla="*/ 18 h 71540"/>
                      <a:gd name="connsiteX5" fmla="*/ 62970 w 62970"/>
                      <a:gd name="connsiteY5" fmla="*/ 35756 h 71540"/>
                      <a:gd name="connsiteX6" fmla="*/ 57822 w 62970"/>
                      <a:gd name="connsiteY6" fmla="*/ 57919 h 71540"/>
                      <a:gd name="connsiteX7" fmla="*/ 35830 w 62970"/>
                      <a:gd name="connsiteY7" fmla="*/ 71541 h 71540"/>
                      <a:gd name="connsiteX8" fmla="*/ 35693 w 62970"/>
                      <a:gd name="connsiteY8" fmla="*/ 71541 h 71540"/>
                      <a:gd name="connsiteX9" fmla="*/ 36369 w 62970"/>
                      <a:gd name="connsiteY9" fmla="*/ 11483 h 71540"/>
                      <a:gd name="connsiteX10" fmla="*/ 36427 w 62970"/>
                      <a:gd name="connsiteY10" fmla="*/ 22949 h 71540"/>
                      <a:gd name="connsiteX11" fmla="*/ 22932 w 62970"/>
                      <a:gd name="connsiteY11" fmla="*/ 35940 h 71540"/>
                      <a:gd name="connsiteX12" fmla="*/ 27483 w 62970"/>
                      <a:gd name="connsiteY12" fmla="*/ 44241 h 71540"/>
                      <a:gd name="connsiteX13" fmla="*/ 35716 w 62970"/>
                      <a:gd name="connsiteY13" fmla="*/ 48609 h 71540"/>
                      <a:gd name="connsiteX14" fmla="*/ 37791 w 62970"/>
                      <a:gd name="connsiteY14" fmla="*/ 46752 h 71540"/>
                      <a:gd name="connsiteX15" fmla="*/ 40038 w 62970"/>
                      <a:gd name="connsiteY15" fmla="*/ 35871 h 71540"/>
                      <a:gd name="connsiteX16" fmla="*/ 36771 w 62970"/>
                      <a:gd name="connsiteY16" fmla="*/ 22983 h 71540"/>
                      <a:gd name="connsiteX17" fmla="*/ 36369 w 62970"/>
                      <a:gd name="connsiteY17" fmla="*/ 11483 h 71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970" h="71540">
                        <a:moveTo>
                          <a:pt x="35693" y="71541"/>
                        </a:moveTo>
                        <a:cubicBezTo>
                          <a:pt x="27403" y="71541"/>
                          <a:pt x="18598" y="67585"/>
                          <a:pt x="11500" y="60683"/>
                        </a:cubicBezTo>
                        <a:cubicBezTo>
                          <a:pt x="4231" y="53620"/>
                          <a:pt x="46" y="44642"/>
                          <a:pt x="0" y="36054"/>
                        </a:cubicBezTo>
                        <a:cubicBezTo>
                          <a:pt x="-80" y="18626"/>
                          <a:pt x="18575" y="109"/>
                          <a:pt x="36312" y="18"/>
                        </a:cubicBezTo>
                        <a:lnTo>
                          <a:pt x="36312" y="18"/>
                        </a:lnTo>
                        <a:cubicBezTo>
                          <a:pt x="52456" y="-579"/>
                          <a:pt x="62855" y="13960"/>
                          <a:pt x="62970" y="35756"/>
                        </a:cubicBezTo>
                        <a:cubicBezTo>
                          <a:pt x="63004" y="44011"/>
                          <a:pt x="61181" y="51888"/>
                          <a:pt x="57822" y="57919"/>
                        </a:cubicBezTo>
                        <a:cubicBezTo>
                          <a:pt x="53018" y="66530"/>
                          <a:pt x="45003" y="71506"/>
                          <a:pt x="35830" y="71541"/>
                        </a:cubicBezTo>
                        <a:cubicBezTo>
                          <a:pt x="35785" y="71541"/>
                          <a:pt x="35739" y="71541"/>
                          <a:pt x="35693" y="71541"/>
                        </a:cubicBezTo>
                        <a:close/>
                        <a:moveTo>
                          <a:pt x="36369" y="11483"/>
                        </a:moveTo>
                        <a:lnTo>
                          <a:pt x="36427" y="22949"/>
                        </a:lnTo>
                        <a:cubicBezTo>
                          <a:pt x="31233" y="22972"/>
                          <a:pt x="22909" y="30986"/>
                          <a:pt x="22932" y="35940"/>
                        </a:cubicBezTo>
                        <a:cubicBezTo>
                          <a:pt x="22943" y="38302"/>
                          <a:pt x="24732" y="41558"/>
                          <a:pt x="27483" y="44241"/>
                        </a:cubicBezTo>
                        <a:cubicBezTo>
                          <a:pt x="30591" y="47268"/>
                          <a:pt x="33858" y="48219"/>
                          <a:pt x="35716" y="48609"/>
                        </a:cubicBezTo>
                        <a:cubicBezTo>
                          <a:pt x="36129" y="48609"/>
                          <a:pt x="36759" y="48609"/>
                          <a:pt x="37791" y="46752"/>
                        </a:cubicBezTo>
                        <a:cubicBezTo>
                          <a:pt x="39224" y="44183"/>
                          <a:pt x="40061" y="40113"/>
                          <a:pt x="40038" y="35871"/>
                        </a:cubicBezTo>
                        <a:cubicBezTo>
                          <a:pt x="39992" y="27489"/>
                          <a:pt x="37596" y="23442"/>
                          <a:pt x="36771" y="22983"/>
                        </a:cubicBezTo>
                        <a:lnTo>
                          <a:pt x="36369" y="11483"/>
                        </a:lnTo>
                        <a:close/>
                      </a:path>
                    </a:pathLst>
                  </a:custGeom>
                  <a:solidFill>
                    <a:schemeClr val="accent1"/>
                  </a:solidFill>
                  <a:ln w="1145" cap="flat">
                    <a:noFill/>
                    <a:prstDash val="solid"/>
                    <a:miter/>
                  </a:ln>
                </p:spPr>
                <p:txBody>
                  <a:bodyPr rtlCol="0" anchor="ctr"/>
                  <a:lstStyle/>
                  <a:p>
                    <a:endParaRPr lang="en-GB" dirty="0"/>
                  </a:p>
                </p:txBody>
              </p:sp>
              <p:sp>
                <p:nvSpPr>
                  <p:cNvPr id="789" name="Freeform: Shape 788">
                    <a:extLst>
                      <a:ext uri="{FF2B5EF4-FFF2-40B4-BE49-F238E27FC236}">
                        <a16:creationId xmlns:a16="http://schemas.microsoft.com/office/drawing/2014/main" id="{F58AA53C-4A1C-4F80-9532-AAECF3FF9EE3}"/>
                      </a:ext>
                    </a:extLst>
                  </p:cNvPr>
                  <p:cNvSpPr/>
                  <p:nvPr/>
                </p:nvSpPr>
                <p:spPr>
                  <a:xfrm>
                    <a:off x="5175483" y="275921"/>
                    <a:ext cx="57248" cy="23102"/>
                  </a:xfrm>
                  <a:custGeom>
                    <a:avLst/>
                    <a:gdLst>
                      <a:gd name="connsiteX0" fmla="*/ 11466 w 57248"/>
                      <a:gd name="connsiteY0" fmla="*/ 23103 h 23102"/>
                      <a:gd name="connsiteX1" fmla="*/ 0 w 57248"/>
                      <a:gd name="connsiteY1" fmla="*/ 11695 h 23102"/>
                      <a:gd name="connsiteX2" fmla="*/ 11408 w 57248"/>
                      <a:gd name="connsiteY2" fmla="*/ 172 h 23102"/>
                      <a:gd name="connsiteX3" fmla="*/ 45725 w 57248"/>
                      <a:gd name="connsiteY3" fmla="*/ 11 h 23102"/>
                      <a:gd name="connsiteX4" fmla="*/ 57248 w 57248"/>
                      <a:gd name="connsiteY4" fmla="*/ 11419 h 23102"/>
                      <a:gd name="connsiteX5" fmla="*/ 45840 w 57248"/>
                      <a:gd name="connsiteY5" fmla="*/ 22942 h 23102"/>
                      <a:gd name="connsiteX6" fmla="*/ 11523 w 57248"/>
                      <a:gd name="connsiteY6" fmla="*/ 23103 h 23102"/>
                      <a:gd name="connsiteX7" fmla="*/ 11466 w 57248"/>
                      <a:gd name="connsiteY7" fmla="*/ 23103 h 2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7248" h="23102">
                        <a:moveTo>
                          <a:pt x="11466" y="23103"/>
                        </a:moveTo>
                        <a:cubicBezTo>
                          <a:pt x="5160" y="23103"/>
                          <a:pt x="35" y="18012"/>
                          <a:pt x="0" y="11695"/>
                        </a:cubicBezTo>
                        <a:cubicBezTo>
                          <a:pt x="-34" y="5365"/>
                          <a:pt x="5079" y="206"/>
                          <a:pt x="11408" y="172"/>
                        </a:cubicBezTo>
                        <a:lnTo>
                          <a:pt x="45725" y="11"/>
                        </a:lnTo>
                        <a:cubicBezTo>
                          <a:pt x="51882" y="-276"/>
                          <a:pt x="57202" y="5079"/>
                          <a:pt x="57248" y="11419"/>
                        </a:cubicBezTo>
                        <a:cubicBezTo>
                          <a:pt x="57283" y="17748"/>
                          <a:pt x="52169" y="22908"/>
                          <a:pt x="45840" y="22942"/>
                        </a:cubicBezTo>
                        <a:lnTo>
                          <a:pt x="11523" y="23103"/>
                        </a:lnTo>
                        <a:cubicBezTo>
                          <a:pt x="11500" y="23103"/>
                          <a:pt x="11489" y="23103"/>
                          <a:pt x="11466" y="23103"/>
                        </a:cubicBezTo>
                        <a:close/>
                      </a:path>
                    </a:pathLst>
                  </a:custGeom>
                  <a:solidFill>
                    <a:schemeClr val="accent1"/>
                  </a:solidFill>
                  <a:ln w="1145" cap="flat">
                    <a:noFill/>
                    <a:prstDash val="solid"/>
                    <a:miter/>
                  </a:ln>
                </p:spPr>
                <p:txBody>
                  <a:bodyPr rtlCol="0" anchor="ctr"/>
                  <a:lstStyle/>
                  <a:p>
                    <a:endParaRPr lang="en-GB" dirty="0"/>
                  </a:p>
                </p:txBody>
              </p:sp>
            </p:grpSp>
            <p:grpSp>
              <p:nvGrpSpPr>
                <p:cNvPr id="760" name="Graphic 48">
                  <a:extLst>
                    <a:ext uri="{FF2B5EF4-FFF2-40B4-BE49-F238E27FC236}">
                      <a16:creationId xmlns:a16="http://schemas.microsoft.com/office/drawing/2014/main" id="{86FDEE1F-3D8F-4E59-A0C8-33C2062A889B}"/>
                    </a:ext>
                  </a:extLst>
                </p:cNvPr>
                <p:cNvGrpSpPr/>
                <p:nvPr/>
              </p:nvGrpSpPr>
              <p:grpSpPr>
                <a:xfrm>
                  <a:off x="4926781" y="93009"/>
                  <a:ext cx="302768" cy="129206"/>
                  <a:chOff x="4926781" y="93009"/>
                  <a:chExt cx="302768" cy="129206"/>
                </a:xfrm>
                <a:solidFill>
                  <a:schemeClr val="accent1"/>
                </a:solidFill>
              </p:grpSpPr>
              <p:grpSp>
                <p:nvGrpSpPr>
                  <p:cNvPr id="779" name="Graphic 48">
                    <a:extLst>
                      <a:ext uri="{FF2B5EF4-FFF2-40B4-BE49-F238E27FC236}">
                        <a16:creationId xmlns:a16="http://schemas.microsoft.com/office/drawing/2014/main" id="{D69531FE-3C37-430F-B288-25DC9350EDAF}"/>
                      </a:ext>
                    </a:extLst>
                  </p:cNvPr>
                  <p:cNvGrpSpPr/>
                  <p:nvPr/>
                </p:nvGrpSpPr>
                <p:grpSpPr>
                  <a:xfrm>
                    <a:off x="5042401" y="93009"/>
                    <a:ext cx="71511" cy="97286"/>
                    <a:chOff x="5042401" y="93009"/>
                    <a:chExt cx="71511" cy="97286"/>
                  </a:xfrm>
                  <a:solidFill>
                    <a:schemeClr val="accent1"/>
                  </a:solidFill>
                </p:grpSpPr>
                <p:sp>
                  <p:nvSpPr>
                    <p:cNvPr id="786" name="Freeform: Shape 785">
                      <a:extLst>
                        <a:ext uri="{FF2B5EF4-FFF2-40B4-BE49-F238E27FC236}">
                          <a16:creationId xmlns:a16="http://schemas.microsoft.com/office/drawing/2014/main" id="{F1490D58-6229-47EC-BE84-2E940CD370ED}"/>
                        </a:ext>
                      </a:extLst>
                    </p:cNvPr>
                    <p:cNvSpPr/>
                    <p:nvPr/>
                  </p:nvSpPr>
                  <p:spPr>
                    <a:xfrm>
                      <a:off x="5042401" y="93009"/>
                      <a:ext cx="71511" cy="62969"/>
                    </a:xfrm>
                    <a:custGeom>
                      <a:avLst/>
                      <a:gdLst>
                        <a:gd name="connsiteX0" fmla="*/ 35647 w 71511"/>
                        <a:gd name="connsiteY0" fmla="*/ 62969 h 62969"/>
                        <a:gd name="connsiteX1" fmla="*/ 0 w 71511"/>
                        <a:gd name="connsiteY1" fmla="*/ 27311 h 62969"/>
                        <a:gd name="connsiteX2" fmla="*/ 35647 w 71511"/>
                        <a:gd name="connsiteY2" fmla="*/ 0 h 62969"/>
                        <a:gd name="connsiteX3" fmla="*/ 71511 w 71511"/>
                        <a:gd name="connsiteY3" fmla="*/ 26486 h 62969"/>
                        <a:gd name="connsiteX4" fmla="*/ 35647 w 71511"/>
                        <a:gd name="connsiteY4" fmla="*/ 62969 h 62969"/>
                        <a:gd name="connsiteX5" fmla="*/ 35647 w 71511"/>
                        <a:gd name="connsiteY5" fmla="*/ 22931 h 62969"/>
                        <a:gd name="connsiteX6" fmla="*/ 22931 w 71511"/>
                        <a:gd name="connsiteY6" fmla="*/ 27311 h 62969"/>
                        <a:gd name="connsiteX7" fmla="*/ 35647 w 71511"/>
                        <a:gd name="connsiteY7" fmla="*/ 40038 h 62969"/>
                        <a:gd name="connsiteX8" fmla="*/ 48580 w 71511"/>
                        <a:gd name="connsiteY8" fmla="*/ 26474 h 62969"/>
                        <a:gd name="connsiteX9" fmla="*/ 48546 w 71511"/>
                        <a:gd name="connsiteY9" fmla="*/ 26107 h 62969"/>
                        <a:gd name="connsiteX10" fmla="*/ 35647 w 71511"/>
                        <a:gd name="connsiteY10" fmla="*/ 22931 h 6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511" h="62969">
                          <a:moveTo>
                            <a:pt x="35647" y="62969"/>
                          </a:moveTo>
                          <a:cubicBezTo>
                            <a:pt x="17990" y="62969"/>
                            <a:pt x="0" y="44980"/>
                            <a:pt x="0" y="27311"/>
                          </a:cubicBezTo>
                          <a:cubicBezTo>
                            <a:pt x="0" y="11225"/>
                            <a:pt x="14653" y="0"/>
                            <a:pt x="35647" y="0"/>
                          </a:cubicBezTo>
                          <a:cubicBezTo>
                            <a:pt x="57432" y="0"/>
                            <a:pt x="71511" y="10399"/>
                            <a:pt x="71511" y="26486"/>
                          </a:cubicBezTo>
                          <a:cubicBezTo>
                            <a:pt x="71511" y="44212"/>
                            <a:pt x="53075" y="62969"/>
                            <a:pt x="35647" y="62969"/>
                          </a:cubicBezTo>
                          <a:close/>
                          <a:moveTo>
                            <a:pt x="35647" y="22931"/>
                          </a:moveTo>
                          <a:cubicBezTo>
                            <a:pt x="28607" y="22931"/>
                            <a:pt x="22931" y="25328"/>
                            <a:pt x="22931" y="27311"/>
                          </a:cubicBezTo>
                          <a:cubicBezTo>
                            <a:pt x="22931" y="32035"/>
                            <a:pt x="30166" y="40038"/>
                            <a:pt x="35647" y="40038"/>
                          </a:cubicBezTo>
                          <a:cubicBezTo>
                            <a:pt x="40611" y="40038"/>
                            <a:pt x="48580" y="31680"/>
                            <a:pt x="48580" y="26474"/>
                          </a:cubicBezTo>
                          <a:cubicBezTo>
                            <a:pt x="48580" y="26256"/>
                            <a:pt x="48557" y="26142"/>
                            <a:pt x="48546" y="26107"/>
                          </a:cubicBezTo>
                          <a:cubicBezTo>
                            <a:pt x="48087" y="25305"/>
                            <a:pt x="44017" y="22931"/>
                            <a:pt x="35647" y="22931"/>
                          </a:cubicBezTo>
                          <a:close/>
                        </a:path>
                      </a:pathLst>
                    </a:custGeom>
                    <a:solidFill>
                      <a:schemeClr val="accent1"/>
                    </a:solidFill>
                    <a:ln w="1145" cap="flat">
                      <a:noFill/>
                      <a:prstDash val="solid"/>
                      <a:miter/>
                    </a:ln>
                  </p:spPr>
                  <p:txBody>
                    <a:bodyPr rtlCol="0" anchor="ctr"/>
                    <a:lstStyle/>
                    <a:p>
                      <a:endParaRPr lang="en-GB" dirty="0"/>
                    </a:p>
                  </p:txBody>
                </p:sp>
                <p:sp>
                  <p:nvSpPr>
                    <p:cNvPr id="787" name="Freeform: Shape 786">
                      <a:extLst>
                        <a:ext uri="{FF2B5EF4-FFF2-40B4-BE49-F238E27FC236}">
                          <a16:creationId xmlns:a16="http://schemas.microsoft.com/office/drawing/2014/main" id="{45558DF1-59EF-4C42-85B0-28F7F9AA8131}"/>
                        </a:ext>
                      </a:extLst>
                    </p:cNvPr>
                    <p:cNvSpPr/>
                    <p:nvPr/>
                  </p:nvSpPr>
                  <p:spPr>
                    <a:xfrm>
                      <a:off x="5066571" y="133047"/>
                      <a:ext cx="22931" cy="57248"/>
                    </a:xfrm>
                    <a:custGeom>
                      <a:avLst/>
                      <a:gdLst>
                        <a:gd name="connsiteX0" fmla="*/ 11466 w 22931"/>
                        <a:gd name="connsiteY0" fmla="*/ 57248 h 57248"/>
                        <a:gd name="connsiteX1" fmla="*/ 0 w 22931"/>
                        <a:gd name="connsiteY1" fmla="*/ 45782 h 57248"/>
                        <a:gd name="connsiteX2" fmla="*/ 0 w 22931"/>
                        <a:gd name="connsiteY2" fmla="*/ 11466 h 57248"/>
                        <a:gd name="connsiteX3" fmla="*/ 11466 w 22931"/>
                        <a:gd name="connsiteY3" fmla="*/ 0 h 57248"/>
                        <a:gd name="connsiteX4" fmla="*/ 22931 w 22931"/>
                        <a:gd name="connsiteY4" fmla="*/ 11466 h 57248"/>
                        <a:gd name="connsiteX5" fmla="*/ 22931 w 22931"/>
                        <a:gd name="connsiteY5" fmla="*/ 45782 h 57248"/>
                        <a:gd name="connsiteX6" fmla="*/ 11466 w 22931"/>
                        <a:gd name="connsiteY6" fmla="*/ 57248 h 5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57248">
                          <a:moveTo>
                            <a:pt x="11466" y="57248"/>
                          </a:moveTo>
                          <a:cubicBezTo>
                            <a:pt x="5125" y="57248"/>
                            <a:pt x="0" y="52111"/>
                            <a:pt x="0" y="45782"/>
                          </a:cubicBezTo>
                          <a:lnTo>
                            <a:pt x="0" y="11466"/>
                          </a:lnTo>
                          <a:cubicBezTo>
                            <a:pt x="0" y="5137"/>
                            <a:pt x="5125" y="0"/>
                            <a:pt x="11466" y="0"/>
                          </a:cubicBezTo>
                          <a:cubicBezTo>
                            <a:pt x="17806" y="0"/>
                            <a:pt x="22931" y="5137"/>
                            <a:pt x="22931" y="11466"/>
                          </a:cubicBezTo>
                          <a:lnTo>
                            <a:pt x="22931" y="45782"/>
                          </a:lnTo>
                          <a:cubicBezTo>
                            <a:pt x="22931" y="52111"/>
                            <a:pt x="17806" y="57248"/>
                            <a:pt x="11466" y="57248"/>
                          </a:cubicBezTo>
                          <a:close/>
                        </a:path>
                      </a:pathLst>
                    </a:custGeom>
                    <a:solidFill>
                      <a:schemeClr val="accent1"/>
                    </a:solidFill>
                    <a:ln w="1145" cap="flat">
                      <a:noFill/>
                      <a:prstDash val="solid"/>
                      <a:miter/>
                    </a:ln>
                  </p:spPr>
                  <p:txBody>
                    <a:bodyPr rtlCol="0" anchor="ctr"/>
                    <a:lstStyle/>
                    <a:p>
                      <a:endParaRPr lang="en-GB" dirty="0"/>
                    </a:p>
                  </p:txBody>
                </p:sp>
              </p:grpSp>
              <p:grpSp>
                <p:nvGrpSpPr>
                  <p:cNvPr id="780" name="Graphic 48">
                    <a:extLst>
                      <a:ext uri="{FF2B5EF4-FFF2-40B4-BE49-F238E27FC236}">
                        <a16:creationId xmlns:a16="http://schemas.microsoft.com/office/drawing/2014/main" id="{0E63126A-4386-4638-973F-D03D2BD03EE8}"/>
                      </a:ext>
                    </a:extLst>
                  </p:cNvPr>
                  <p:cNvGrpSpPr/>
                  <p:nvPr/>
                </p:nvGrpSpPr>
                <p:grpSpPr>
                  <a:xfrm>
                    <a:off x="5143743" y="137059"/>
                    <a:ext cx="85806" cy="85156"/>
                    <a:chOff x="5143743" y="137059"/>
                    <a:chExt cx="85806" cy="85156"/>
                  </a:xfrm>
                  <a:solidFill>
                    <a:schemeClr val="accent1"/>
                  </a:solidFill>
                </p:grpSpPr>
                <p:sp>
                  <p:nvSpPr>
                    <p:cNvPr id="784" name="Freeform: Shape 783">
                      <a:extLst>
                        <a:ext uri="{FF2B5EF4-FFF2-40B4-BE49-F238E27FC236}">
                          <a16:creationId xmlns:a16="http://schemas.microsoft.com/office/drawing/2014/main" id="{8DE0D1F9-464C-4060-903C-0EA58E040016}"/>
                        </a:ext>
                      </a:extLst>
                    </p:cNvPr>
                    <p:cNvSpPr/>
                    <p:nvPr/>
                  </p:nvSpPr>
                  <p:spPr>
                    <a:xfrm>
                      <a:off x="5161975" y="137059"/>
                      <a:ext cx="67574" cy="66742"/>
                    </a:xfrm>
                    <a:custGeom>
                      <a:avLst/>
                      <a:gdLst>
                        <a:gd name="connsiteX0" fmla="*/ 34307 w 67574"/>
                        <a:gd name="connsiteY0" fmla="*/ 66743 h 66742"/>
                        <a:gd name="connsiteX1" fmla="*/ 9404 w 67574"/>
                        <a:gd name="connsiteY1" fmla="*/ 57547 h 66742"/>
                        <a:gd name="connsiteX2" fmla="*/ 2 w 67574"/>
                        <a:gd name="connsiteY2" fmla="*/ 32048 h 66742"/>
                        <a:gd name="connsiteX3" fmla="*/ 9404 w 67574"/>
                        <a:gd name="connsiteY3" fmla="*/ 7133 h 66742"/>
                        <a:gd name="connsiteX4" fmla="*/ 34559 w 67574"/>
                        <a:gd name="connsiteY4" fmla="*/ 1102 h 66742"/>
                        <a:gd name="connsiteX5" fmla="*/ 53913 w 67574"/>
                        <a:gd name="connsiteY5" fmla="*/ 13026 h 66742"/>
                        <a:gd name="connsiteX6" fmla="*/ 60552 w 67574"/>
                        <a:gd name="connsiteY6" fmla="*/ 57112 h 66742"/>
                        <a:gd name="connsiteX7" fmla="*/ 35454 w 67574"/>
                        <a:gd name="connsiteY7" fmla="*/ 66731 h 66742"/>
                        <a:gd name="connsiteX8" fmla="*/ 34307 w 67574"/>
                        <a:gd name="connsiteY8" fmla="*/ 66743 h 66742"/>
                        <a:gd name="connsiteX9" fmla="*/ 26762 w 67574"/>
                        <a:gd name="connsiteY9" fmla="*/ 22898 h 66742"/>
                        <a:gd name="connsiteX10" fmla="*/ 25616 w 67574"/>
                        <a:gd name="connsiteY10" fmla="*/ 23345 h 66742"/>
                        <a:gd name="connsiteX11" fmla="*/ 22933 w 67574"/>
                        <a:gd name="connsiteY11" fmla="*/ 32265 h 66742"/>
                        <a:gd name="connsiteX12" fmla="*/ 25616 w 67574"/>
                        <a:gd name="connsiteY12" fmla="*/ 41335 h 66742"/>
                        <a:gd name="connsiteX13" fmla="*/ 34880 w 67574"/>
                        <a:gd name="connsiteY13" fmla="*/ 43811 h 66742"/>
                        <a:gd name="connsiteX14" fmla="*/ 44351 w 67574"/>
                        <a:gd name="connsiteY14" fmla="*/ 40899 h 66742"/>
                        <a:gd name="connsiteX15" fmla="*/ 44351 w 67574"/>
                        <a:gd name="connsiteY15" fmla="*/ 40899 h 66742"/>
                        <a:gd name="connsiteX16" fmla="*/ 44592 w 67574"/>
                        <a:gd name="connsiteY16" fmla="*/ 40624 h 66742"/>
                        <a:gd name="connsiteX17" fmla="*/ 37712 w 67574"/>
                        <a:gd name="connsiteY17" fmla="*/ 29250 h 66742"/>
                        <a:gd name="connsiteX18" fmla="*/ 28391 w 67574"/>
                        <a:gd name="connsiteY18" fmla="*/ 23196 h 66742"/>
                        <a:gd name="connsiteX19" fmla="*/ 26762 w 67574"/>
                        <a:gd name="connsiteY19" fmla="*/ 22898 h 66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574" h="66742">
                          <a:moveTo>
                            <a:pt x="34307" y="66743"/>
                          </a:moveTo>
                          <a:cubicBezTo>
                            <a:pt x="24309" y="66743"/>
                            <a:pt x="15285" y="63418"/>
                            <a:pt x="9404" y="57547"/>
                          </a:cubicBezTo>
                          <a:cubicBezTo>
                            <a:pt x="3338" y="51482"/>
                            <a:pt x="-90" y="42183"/>
                            <a:pt x="2" y="32048"/>
                          </a:cubicBezTo>
                          <a:cubicBezTo>
                            <a:pt x="93" y="22095"/>
                            <a:pt x="3533" y="13015"/>
                            <a:pt x="9404" y="7133"/>
                          </a:cubicBezTo>
                          <a:cubicBezTo>
                            <a:pt x="15882" y="655"/>
                            <a:pt x="25054" y="-1558"/>
                            <a:pt x="34559" y="1102"/>
                          </a:cubicBezTo>
                          <a:cubicBezTo>
                            <a:pt x="41198" y="2959"/>
                            <a:pt x="48077" y="7190"/>
                            <a:pt x="53913" y="13026"/>
                          </a:cubicBezTo>
                          <a:cubicBezTo>
                            <a:pt x="69323" y="28436"/>
                            <a:pt x="71926" y="45749"/>
                            <a:pt x="60552" y="57112"/>
                          </a:cubicBezTo>
                          <a:cubicBezTo>
                            <a:pt x="54693" y="62971"/>
                            <a:pt x="45543" y="66479"/>
                            <a:pt x="35454" y="66731"/>
                          </a:cubicBezTo>
                          <a:cubicBezTo>
                            <a:pt x="35087" y="66731"/>
                            <a:pt x="34685" y="66743"/>
                            <a:pt x="34307" y="66743"/>
                          </a:cubicBezTo>
                          <a:close/>
                          <a:moveTo>
                            <a:pt x="26762" y="22898"/>
                          </a:moveTo>
                          <a:cubicBezTo>
                            <a:pt x="26052" y="22898"/>
                            <a:pt x="25811" y="23150"/>
                            <a:pt x="25616" y="23345"/>
                          </a:cubicBezTo>
                          <a:cubicBezTo>
                            <a:pt x="24355" y="24606"/>
                            <a:pt x="22979" y="27943"/>
                            <a:pt x="22933" y="32265"/>
                          </a:cubicBezTo>
                          <a:cubicBezTo>
                            <a:pt x="22899" y="36106"/>
                            <a:pt x="23953" y="39672"/>
                            <a:pt x="25616" y="41335"/>
                          </a:cubicBezTo>
                          <a:cubicBezTo>
                            <a:pt x="26923" y="42653"/>
                            <a:pt x="30191" y="43788"/>
                            <a:pt x="34880" y="43811"/>
                          </a:cubicBezTo>
                          <a:cubicBezTo>
                            <a:pt x="39306" y="43697"/>
                            <a:pt x="42987" y="42263"/>
                            <a:pt x="44351" y="40899"/>
                          </a:cubicBezTo>
                          <a:lnTo>
                            <a:pt x="44351" y="40899"/>
                          </a:lnTo>
                          <a:cubicBezTo>
                            <a:pt x="44511" y="40750"/>
                            <a:pt x="44569" y="40647"/>
                            <a:pt x="44592" y="40624"/>
                          </a:cubicBezTo>
                          <a:cubicBezTo>
                            <a:pt x="44832" y="39730"/>
                            <a:pt x="43629" y="35166"/>
                            <a:pt x="37712" y="29250"/>
                          </a:cubicBezTo>
                          <a:cubicBezTo>
                            <a:pt x="34708" y="26246"/>
                            <a:pt x="31223" y="23987"/>
                            <a:pt x="28391" y="23196"/>
                          </a:cubicBezTo>
                          <a:cubicBezTo>
                            <a:pt x="27668" y="22978"/>
                            <a:pt x="27152" y="22898"/>
                            <a:pt x="26762" y="22898"/>
                          </a:cubicBezTo>
                          <a:close/>
                        </a:path>
                      </a:pathLst>
                    </a:custGeom>
                    <a:solidFill>
                      <a:schemeClr val="accent1"/>
                    </a:solidFill>
                    <a:ln w="1145" cap="flat">
                      <a:noFill/>
                      <a:prstDash val="solid"/>
                      <a:miter/>
                    </a:ln>
                  </p:spPr>
                  <p:txBody>
                    <a:bodyPr rtlCol="0" anchor="ctr"/>
                    <a:lstStyle/>
                    <a:p>
                      <a:endParaRPr lang="en-GB" dirty="0"/>
                    </a:p>
                  </p:txBody>
                </p:sp>
                <p:sp>
                  <p:nvSpPr>
                    <p:cNvPr id="785" name="Freeform: Shape 784">
                      <a:extLst>
                        <a:ext uri="{FF2B5EF4-FFF2-40B4-BE49-F238E27FC236}">
                          <a16:creationId xmlns:a16="http://schemas.microsoft.com/office/drawing/2014/main" id="{548E48F2-F003-447B-95B7-7C0E1894782D}"/>
                        </a:ext>
                      </a:extLst>
                    </p:cNvPr>
                    <p:cNvSpPr/>
                    <p:nvPr/>
                  </p:nvSpPr>
                  <p:spPr>
                    <a:xfrm>
                      <a:off x="5143743" y="175009"/>
                      <a:ext cx="47198" cy="47207"/>
                    </a:xfrm>
                    <a:custGeom>
                      <a:avLst/>
                      <a:gdLst>
                        <a:gd name="connsiteX0" fmla="*/ 11468 w 47198"/>
                        <a:gd name="connsiteY0" fmla="*/ 47207 h 47207"/>
                        <a:gd name="connsiteX1" fmla="*/ 3362 w 47198"/>
                        <a:gd name="connsiteY1" fmla="*/ 43848 h 47207"/>
                        <a:gd name="connsiteX2" fmla="*/ 3362 w 47198"/>
                        <a:gd name="connsiteY2" fmla="*/ 27635 h 47207"/>
                        <a:gd name="connsiteX3" fmla="*/ 27624 w 47198"/>
                        <a:gd name="connsiteY3" fmla="*/ 3362 h 47207"/>
                        <a:gd name="connsiteX4" fmla="*/ 43836 w 47198"/>
                        <a:gd name="connsiteY4" fmla="*/ 3362 h 47207"/>
                        <a:gd name="connsiteX5" fmla="*/ 43836 w 47198"/>
                        <a:gd name="connsiteY5" fmla="*/ 19575 h 47207"/>
                        <a:gd name="connsiteX6" fmla="*/ 19575 w 47198"/>
                        <a:gd name="connsiteY6" fmla="*/ 43848 h 47207"/>
                        <a:gd name="connsiteX7" fmla="*/ 11468 w 47198"/>
                        <a:gd name="connsiteY7" fmla="*/ 47207 h 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98" h="47207">
                          <a:moveTo>
                            <a:pt x="11468" y="47207"/>
                          </a:moveTo>
                          <a:cubicBezTo>
                            <a:pt x="8533" y="47207"/>
                            <a:pt x="5598" y="46083"/>
                            <a:pt x="3362" y="43848"/>
                          </a:cubicBezTo>
                          <a:cubicBezTo>
                            <a:pt x="-1121" y="39376"/>
                            <a:pt x="-1121" y="32118"/>
                            <a:pt x="3362" y="27635"/>
                          </a:cubicBezTo>
                          <a:lnTo>
                            <a:pt x="27624" y="3362"/>
                          </a:lnTo>
                          <a:cubicBezTo>
                            <a:pt x="32107" y="-1121"/>
                            <a:pt x="39353" y="-1121"/>
                            <a:pt x="43836" y="3362"/>
                          </a:cubicBezTo>
                          <a:cubicBezTo>
                            <a:pt x="48319" y="7834"/>
                            <a:pt x="48319" y="15092"/>
                            <a:pt x="43836" y="19575"/>
                          </a:cubicBezTo>
                          <a:lnTo>
                            <a:pt x="19575" y="43848"/>
                          </a:lnTo>
                          <a:cubicBezTo>
                            <a:pt x="17339" y="46095"/>
                            <a:pt x="14404" y="47207"/>
                            <a:pt x="11468" y="47207"/>
                          </a:cubicBezTo>
                          <a:close/>
                        </a:path>
                      </a:pathLst>
                    </a:custGeom>
                    <a:solidFill>
                      <a:schemeClr val="accent1"/>
                    </a:solidFill>
                    <a:ln w="1145" cap="flat">
                      <a:noFill/>
                      <a:prstDash val="solid"/>
                      <a:miter/>
                    </a:ln>
                  </p:spPr>
                  <p:txBody>
                    <a:bodyPr rtlCol="0" anchor="ctr"/>
                    <a:lstStyle/>
                    <a:p>
                      <a:endParaRPr lang="en-GB" dirty="0"/>
                    </a:p>
                  </p:txBody>
                </p:sp>
              </p:grpSp>
              <p:grpSp>
                <p:nvGrpSpPr>
                  <p:cNvPr id="781" name="Graphic 48">
                    <a:extLst>
                      <a:ext uri="{FF2B5EF4-FFF2-40B4-BE49-F238E27FC236}">
                        <a16:creationId xmlns:a16="http://schemas.microsoft.com/office/drawing/2014/main" id="{2E7A39DC-34CA-4516-971C-A3D288A14011}"/>
                      </a:ext>
                    </a:extLst>
                  </p:cNvPr>
                  <p:cNvGrpSpPr/>
                  <p:nvPr/>
                </p:nvGrpSpPr>
                <p:grpSpPr>
                  <a:xfrm>
                    <a:off x="4926781" y="136815"/>
                    <a:ext cx="85743" cy="85148"/>
                    <a:chOff x="4926781" y="136815"/>
                    <a:chExt cx="85743" cy="85148"/>
                  </a:xfrm>
                  <a:solidFill>
                    <a:schemeClr val="accent1"/>
                  </a:solidFill>
                </p:grpSpPr>
                <p:sp>
                  <p:nvSpPr>
                    <p:cNvPr id="782" name="Freeform: Shape 781">
                      <a:extLst>
                        <a:ext uri="{FF2B5EF4-FFF2-40B4-BE49-F238E27FC236}">
                          <a16:creationId xmlns:a16="http://schemas.microsoft.com/office/drawing/2014/main" id="{7B9A67C6-B0A7-44B8-951F-79A9C2BF2757}"/>
                        </a:ext>
                      </a:extLst>
                    </p:cNvPr>
                    <p:cNvSpPr/>
                    <p:nvPr/>
                  </p:nvSpPr>
                  <p:spPr>
                    <a:xfrm>
                      <a:off x="4926781" y="136815"/>
                      <a:ext cx="67484" cy="66642"/>
                    </a:xfrm>
                    <a:custGeom>
                      <a:avLst/>
                      <a:gdLst>
                        <a:gd name="connsiteX0" fmla="*/ 32987 w 67484"/>
                        <a:gd name="connsiteY0" fmla="*/ 66643 h 66642"/>
                        <a:gd name="connsiteX1" fmla="*/ 6949 w 67484"/>
                        <a:gd name="connsiteY1" fmla="*/ 57103 h 66642"/>
                        <a:gd name="connsiteX2" fmla="*/ 6949 w 67484"/>
                        <a:gd name="connsiteY2" fmla="*/ 57103 h 66642"/>
                        <a:gd name="connsiteX3" fmla="*/ 6949 w 67484"/>
                        <a:gd name="connsiteY3" fmla="*/ 57103 h 66642"/>
                        <a:gd name="connsiteX4" fmla="*/ 6949 w 67484"/>
                        <a:gd name="connsiteY4" fmla="*/ 57103 h 66642"/>
                        <a:gd name="connsiteX5" fmla="*/ 1411 w 67484"/>
                        <a:gd name="connsiteY5" fmla="*/ 31730 h 66642"/>
                        <a:gd name="connsiteX6" fmla="*/ 13587 w 67484"/>
                        <a:gd name="connsiteY6" fmla="*/ 13018 h 66642"/>
                        <a:gd name="connsiteX7" fmla="*/ 58120 w 67484"/>
                        <a:gd name="connsiteY7" fmla="*/ 7125 h 66642"/>
                        <a:gd name="connsiteX8" fmla="*/ 58120 w 67484"/>
                        <a:gd name="connsiteY8" fmla="*/ 57551 h 66642"/>
                        <a:gd name="connsiteX9" fmla="*/ 32987 w 67484"/>
                        <a:gd name="connsiteY9" fmla="*/ 66643 h 66642"/>
                        <a:gd name="connsiteX10" fmla="*/ 40749 w 67484"/>
                        <a:gd name="connsiteY10" fmla="*/ 22890 h 66642"/>
                        <a:gd name="connsiteX11" fmla="*/ 39098 w 67484"/>
                        <a:gd name="connsiteY11" fmla="*/ 23165 h 66642"/>
                        <a:gd name="connsiteX12" fmla="*/ 29777 w 67484"/>
                        <a:gd name="connsiteY12" fmla="*/ 29219 h 66642"/>
                        <a:gd name="connsiteX13" fmla="*/ 22909 w 67484"/>
                        <a:gd name="connsiteY13" fmla="*/ 40604 h 66642"/>
                        <a:gd name="connsiteX14" fmla="*/ 23150 w 67484"/>
                        <a:gd name="connsiteY14" fmla="*/ 40868 h 66642"/>
                        <a:gd name="connsiteX15" fmla="*/ 41884 w 67484"/>
                        <a:gd name="connsiteY15" fmla="*/ 41304 h 66642"/>
                        <a:gd name="connsiteX16" fmla="*/ 41884 w 67484"/>
                        <a:gd name="connsiteY16" fmla="*/ 23314 h 66642"/>
                        <a:gd name="connsiteX17" fmla="*/ 40749 w 67484"/>
                        <a:gd name="connsiteY17" fmla="*/ 22890 h 66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484" h="66642">
                          <a:moveTo>
                            <a:pt x="32987" y="66643"/>
                          </a:moveTo>
                          <a:cubicBezTo>
                            <a:pt x="23184" y="66643"/>
                            <a:pt x="13301" y="63455"/>
                            <a:pt x="6949" y="57103"/>
                          </a:cubicBezTo>
                          <a:lnTo>
                            <a:pt x="6949" y="57103"/>
                          </a:lnTo>
                          <a:lnTo>
                            <a:pt x="6949" y="57103"/>
                          </a:lnTo>
                          <a:lnTo>
                            <a:pt x="6949" y="57103"/>
                          </a:lnTo>
                          <a:cubicBezTo>
                            <a:pt x="356" y="50511"/>
                            <a:pt x="-1674" y="41258"/>
                            <a:pt x="1411" y="31730"/>
                          </a:cubicBezTo>
                          <a:cubicBezTo>
                            <a:pt x="3990" y="23750"/>
                            <a:pt x="9448" y="17157"/>
                            <a:pt x="13587" y="13018"/>
                          </a:cubicBezTo>
                          <a:cubicBezTo>
                            <a:pt x="28435" y="-1819"/>
                            <a:pt x="46769" y="-4238"/>
                            <a:pt x="58120" y="7125"/>
                          </a:cubicBezTo>
                          <a:cubicBezTo>
                            <a:pt x="70606" y="19622"/>
                            <a:pt x="70606" y="45064"/>
                            <a:pt x="58120" y="57551"/>
                          </a:cubicBezTo>
                          <a:cubicBezTo>
                            <a:pt x="52020" y="63616"/>
                            <a:pt x="42538" y="66643"/>
                            <a:pt x="32987" y="66643"/>
                          </a:cubicBezTo>
                          <a:close/>
                          <a:moveTo>
                            <a:pt x="40749" y="22890"/>
                          </a:moveTo>
                          <a:cubicBezTo>
                            <a:pt x="40359" y="22890"/>
                            <a:pt x="39832" y="22959"/>
                            <a:pt x="39098" y="23165"/>
                          </a:cubicBezTo>
                          <a:cubicBezTo>
                            <a:pt x="36278" y="23956"/>
                            <a:pt x="32781" y="26215"/>
                            <a:pt x="29777" y="29219"/>
                          </a:cubicBezTo>
                          <a:cubicBezTo>
                            <a:pt x="23849" y="35135"/>
                            <a:pt x="22668" y="39699"/>
                            <a:pt x="22909" y="40604"/>
                          </a:cubicBezTo>
                          <a:lnTo>
                            <a:pt x="23150" y="40868"/>
                          </a:lnTo>
                          <a:cubicBezTo>
                            <a:pt x="26819" y="44537"/>
                            <a:pt x="38364" y="44812"/>
                            <a:pt x="41884" y="41304"/>
                          </a:cubicBezTo>
                          <a:cubicBezTo>
                            <a:pt x="45772" y="37428"/>
                            <a:pt x="45221" y="26651"/>
                            <a:pt x="41884" y="23314"/>
                          </a:cubicBezTo>
                          <a:cubicBezTo>
                            <a:pt x="41701" y="23131"/>
                            <a:pt x="41460" y="22890"/>
                            <a:pt x="40749" y="22890"/>
                          </a:cubicBezTo>
                          <a:close/>
                        </a:path>
                      </a:pathLst>
                    </a:custGeom>
                    <a:solidFill>
                      <a:schemeClr val="accent1"/>
                    </a:solidFill>
                    <a:ln w="1145" cap="flat">
                      <a:noFill/>
                      <a:prstDash val="solid"/>
                      <a:miter/>
                    </a:ln>
                  </p:spPr>
                  <p:txBody>
                    <a:bodyPr rtlCol="0" anchor="ctr"/>
                    <a:lstStyle/>
                    <a:p>
                      <a:endParaRPr lang="en-GB" dirty="0"/>
                    </a:p>
                  </p:txBody>
                </p:sp>
                <p:sp>
                  <p:nvSpPr>
                    <p:cNvPr id="783" name="Freeform: Shape 782">
                      <a:extLst>
                        <a:ext uri="{FF2B5EF4-FFF2-40B4-BE49-F238E27FC236}">
                          <a16:creationId xmlns:a16="http://schemas.microsoft.com/office/drawing/2014/main" id="{168CC7A1-EB6A-494A-AEFA-579CB4D65E3F}"/>
                        </a:ext>
                      </a:extLst>
                    </p:cNvPr>
                    <p:cNvSpPr/>
                    <p:nvPr/>
                  </p:nvSpPr>
                  <p:spPr>
                    <a:xfrm>
                      <a:off x="4965326" y="174768"/>
                      <a:ext cx="47198" cy="47195"/>
                    </a:xfrm>
                    <a:custGeom>
                      <a:avLst/>
                      <a:gdLst>
                        <a:gd name="connsiteX0" fmla="*/ 35730 w 47198"/>
                        <a:gd name="connsiteY0" fmla="*/ 47196 h 47195"/>
                        <a:gd name="connsiteX1" fmla="*/ 27623 w 47198"/>
                        <a:gd name="connsiteY1" fmla="*/ 43836 h 47195"/>
                        <a:gd name="connsiteX2" fmla="*/ 3362 w 47198"/>
                        <a:gd name="connsiteY2" fmla="*/ 19575 h 47195"/>
                        <a:gd name="connsiteX3" fmla="*/ 3362 w 47198"/>
                        <a:gd name="connsiteY3" fmla="*/ 3362 h 47195"/>
                        <a:gd name="connsiteX4" fmla="*/ 19575 w 47198"/>
                        <a:gd name="connsiteY4" fmla="*/ 3362 h 47195"/>
                        <a:gd name="connsiteX5" fmla="*/ 43836 w 47198"/>
                        <a:gd name="connsiteY5" fmla="*/ 27624 h 47195"/>
                        <a:gd name="connsiteX6" fmla="*/ 43836 w 47198"/>
                        <a:gd name="connsiteY6" fmla="*/ 43836 h 47195"/>
                        <a:gd name="connsiteX7" fmla="*/ 35730 w 47198"/>
                        <a:gd name="connsiteY7" fmla="*/ 47196 h 4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98" h="47195">
                          <a:moveTo>
                            <a:pt x="35730" y="47196"/>
                          </a:moveTo>
                          <a:cubicBezTo>
                            <a:pt x="32795" y="47196"/>
                            <a:pt x="29860" y="46072"/>
                            <a:pt x="27623" y="43836"/>
                          </a:cubicBezTo>
                          <a:lnTo>
                            <a:pt x="3362" y="19575"/>
                          </a:lnTo>
                          <a:cubicBezTo>
                            <a:pt x="-1121" y="15092"/>
                            <a:pt x="-1121" y="7845"/>
                            <a:pt x="3362" y="3362"/>
                          </a:cubicBezTo>
                          <a:cubicBezTo>
                            <a:pt x="7845" y="-1121"/>
                            <a:pt x="15092" y="-1121"/>
                            <a:pt x="19575" y="3362"/>
                          </a:cubicBezTo>
                          <a:lnTo>
                            <a:pt x="43836" y="27624"/>
                          </a:lnTo>
                          <a:cubicBezTo>
                            <a:pt x="48319" y="32107"/>
                            <a:pt x="48319" y="39353"/>
                            <a:pt x="43836" y="43836"/>
                          </a:cubicBezTo>
                          <a:cubicBezTo>
                            <a:pt x="41600" y="46072"/>
                            <a:pt x="38665" y="47196"/>
                            <a:pt x="35730" y="47196"/>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761" name="Graphic 48">
                  <a:extLst>
                    <a:ext uri="{FF2B5EF4-FFF2-40B4-BE49-F238E27FC236}">
                      <a16:creationId xmlns:a16="http://schemas.microsoft.com/office/drawing/2014/main" id="{F2876D3F-8C56-4FF1-AEF0-EBD6BAFFACD2}"/>
                    </a:ext>
                  </a:extLst>
                </p:cNvPr>
                <p:cNvGrpSpPr/>
                <p:nvPr/>
              </p:nvGrpSpPr>
              <p:grpSpPr>
                <a:xfrm>
                  <a:off x="4926769" y="353220"/>
                  <a:ext cx="302791" cy="129209"/>
                  <a:chOff x="4926769" y="353220"/>
                  <a:chExt cx="302791" cy="129209"/>
                </a:xfrm>
                <a:solidFill>
                  <a:schemeClr val="accent1"/>
                </a:solidFill>
              </p:grpSpPr>
              <p:grpSp>
                <p:nvGrpSpPr>
                  <p:cNvPr id="770" name="Graphic 48">
                    <a:extLst>
                      <a:ext uri="{FF2B5EF4-FFF2-40B4-BE49-F238E27FC236}">
                        <a16:creationId xmlns:a16="http://schemas.microsoft.com/office/drawing/2014/main" id="{651CED35-9614-4343-B322-42A55BFB872C}"/>
                      </a:ext>
                    </a:extLst>
                  </p:cNvPr>
                  <p:cNvGrpSpPr/>
                  <p:nvPr/>
                </p:nvGrpSpPr>
                <p:grpSpPr>
                  <a:xfrm>
                    <a:off x="5042401" y="385143"/>
                    <a:ext cx="71511" cy="97286"/>
                    <a:chOff x="5042401" y="385143"/>
                    <a:chExt cx="71511" cy="97286"/>
                  </a:xfrm>
                  <a:solidFill>
                    <a:schemeClr val="accent1"/>
                  </a:solidFill>
                </p:grpSpPr>
                <p:sp>
                  <p:nvSpPr>
                    <p:cNvPr id="777" name="Freeform: Shape 776">
                      <a:extLst>
                        <a:ext uri="{FF2B5EF4-FFF2-40B4-BE49-F238E27FC236}">
                          <a16:creationId xmlns:a16="http://schemas.microsoft.com/office/drawing/2014/main" id="{2BF3DBE1-21EC-47C9-A470-F6023280D37E}"/>
                        </a:ext>
                      </a:extLst>
                    </p:cNvPr>
                    <p:cNvSpPr/>
                    <p:nvPr/>
                  </p:nvSpPr>
                  <p:spPr>
                    <a:xfrm>
                      <a:off x="5042401" y="419460"/>
                      <a:ext cx="71511" cy="62969"/>
                    </a:xfrm>
                    <a:custGeom>
                      <a:avLst/>
                      <a:gdLst>
                        <a:gd name="connsiteX0" fmla="*/ 35647 w 71511"/>
                        <a:gd name="connsiteY0" fmla="*/ 62969 h 62969"/>
                        <a:gd name="connsiteX1" fmla="*/ 0 w 71511"/>
                        <a:gd name="connsiteY1" fmla="*/ 35658 h 62969"/>
                        <a:gd name="connsiteX2" fmla="*/ 35647 w 71511"/>
                        <a:gd name="connsiteY2" fmla="*/ 0 h 62969"/>
                        <a:gd name="connsiteX3" fmla="*/ 71511 w 71511"/>
                        <a:gd name="connsiteY3" fmla="*/ 36495 h 62969"/>
                        <a:gd name="connsiteX4" fmla="*/ 35647 w 71511"/>
                        <a:gd name="connsiteY4" fmla="*/ 62969 h 62969"/>
                        <a:gd name="connsiteX5" fmla="*/ 35647 w 71511"/>
                        <a:gd name="connsiteY5" fmla="*/ 22931 h 62969"/>
                        <a:gd name="connsiteX6" fmla="*/ 22931 w 71511"/>
                        <a:gd name="connsiteY6" fmla="*/ 35658 h 62969"/>
                        <a:gd name="connsiteX7" fmla="*/ 35647 w 71511"/>
                        <a:gd name="connsiteY7" fmla="*/ 40038 h 62969"/>
                        <a:gd name="connsiteX8" fmla="*/ 48557 w 71511"/>
                        <a:gd name="connsiteY8" fmla="*/ 36839 h 62969"/>
                        <a:gd name="connsiteX9" fmla="*/ 48580 w 71511"/>
                        <a:gd name="connsiteY9" fmla="*/ 36495 h 62969"/>
                        <a:gd name="connsiteX10" fmla="*/ 35647 w 71511"/>
                        <a:gd name="connsiteY10" fmla="*/ 22931 h 6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511" h="62969">
                          <a:moveTo>
                            <a:pt x="35647" y="62969"/>
                          </a:moveTo>
                          <a:cubicBezTo>
                            <a:pt x="14653" y="62969"/>
                            <a:pt x="0" y="51745"/>
                            <a:pt x="0" y="35658"/>
                          </a:cubicBezTo>
                          <a:cubicBezTo>
                            <a:pt x="0" y="17990"/>
                            <a:pt x="17990" y="0"/>
                            <a:pt x="35647" y="0"/>
                          </a:cubicBezTo>
                          <a:cubicBezTo>
                            <a:pt x="53086" y="0"/>
                            <a:pt x="71511" y="18758"/>
                            <a:pt x="71511" y="36495"/>
                          </a:cubicBezTo>
                          <a:cubicBezTo>
                            <a:pt x="71511" y="52582"/>
                            <a:pt x="57432" y="62969"/>
                            <a:pt x="35647" y="62969"/>
                          </a:cubicBezTo>
                          <a:close/>
                          <a:moveTo>
                            <a:pt x="35647" y="22931"/>
                          </a:moveTo>
                          <a:cubicBezTo>
                            <a:pt x="30155" y="22931"/>
                            <a:pt x="22931" y="30934"/>
                            <a:pt x="22931" y="35658"/>
                          </a:cubicBezTo>
                          <a:cubicBezTo>
                            <a:pt x="22931" y="37642"/>
                            <a:pt x="28607" y="40038"/>
                            <a:pt x="35647" y="40038"/>
                          </a:cubicBezTo>
                          <a:cubicBezTo>
                            <a:pt x="44005" y="40038"/>
                            <a:pt x="48087" y="37653"/>
                            <a:pt x="48557" y="36839"/>
                          </a:cubicBezTo>
                          <a:lnTo>
                            <a:pt x="48580" y="36495"/>
                          </a:lnTo>
                          <a:cubicBezTo>
                            <a:pt x="48580" y="31301"/>
                            <a:pt x="40600" y="22931"/>
                            <a:pt x="35647" y="22931"/>
                          </a:cubicBezTo>
                          <a:close/>
                        </a:path>
                      </a:pathLst>
                    </a:custGeom>
                    <a:solidFill>
                      <a:schemeClr val="accent1"/>
                    </a:solidFill>
                    <a:ln w="1145" cap="flat">
                      <a:noFill/>
                      <a:prstDash val="solid"/>
                      <a:miter/>
                    </a:ln>
                  </p:spPr>
                  <p:txBody>
                    <a:bodyPr rtlCol="0" anchor="ctr"/>
                    <a:lstStyle/>
                    <a:p>
                      <a:endParaRPr lang="en-GB" dirty="0"/>
                    </a:p>
                  </p:txBody>
                </p:sp>
                <p:sp>
                  <p:nvSpPr>
                    <p:cNvPr id="778" name="Freeform: Shape 777">
                      <a:extLst>
                        <a:ext uri="{FF2B5EF4-FFF2-40B4-BE49-F238E27FC236}">
                          <a16:creationId xmlns:a16="http://schemas.microsoft.com/office/drawing/2014/main" id="{52F19FFE-5203-4F08-9C07-ABB8F54A857E}"/>
                        </a:ext>
                      </a:extLst>
                    </p:cNvPr>
                    <p:cNvSpPr/>
                    <p:nvPr/>
                  </p:nvSpPr>
                  <p:spPr>
                    <a:xfrm>
                      <a:off x="5066571" y="385143"/>
                      <a:ext cx="22931" cy="57248"/>
                    </a:xfrm>
                    <a:custGeom>
                      <a:avLst/>
                      <a:gdLst>
                        <a:gd name="connsiteX0" fmla="*/ 11466 w 22931"/>
                        <a:gd name="connsiteY0" fmla="*/ 57248 h 57248"/>
                        <a:gd name="connsiteX1" fmla="*/ 0 w 22931"/>
                        <a:gd name="connsiteY1" fmla="*/ 45782 h 57248"/>
                        <a:gd name="connsiteX2" fmla="*/ 0 w 22931"/>
                        <a:gd name="connsiteY2" fmla="*/ 11466 h 57248"/>
                        <a:gd name="connsiteX3" fmla="*/ 11466 w 22931"/>
                        <a:gd name="connsiteY3" fmla="*/ 0 h 57248"/>
                        <a:gd name="connsiteX4" fmla="*/ 22931 w 22931"/>
                        <a:gd name="connsiteY4" fmla="*/ 11466 h 57248"/>
                        <a:gd name="connsiteX5" fmla="*/ 22931 w 22931"/>
                        <a:gd name="connsiteY5" fmla="*/ 45782 h 57248"/>
                        <a:gd name="connsiteX6" fmla="*/ 11466 w 22931"/>
                        <a:gd name="connsiteY6" fmla="*/ 57248 h 5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57248">
                          <a:moveTo>
                            <a:pt x="11466" y="57248"/>
                          </a:moveTo>
                          <a:cubicBezTo>
                            <a:pt x="5125" y="57248"/>
                            <a:pt x="0" y="52111"/>
                            <a:pt x="0" y="45782"/>
                          </a:cubicBezTo>
                          <a:lnTo>
                            <a:pt x="0" y="11466"/>
                          </a:lnTo>
                          <a:cubicBezTo>
                            <a:pt x="0" y="5137"/>
                            <a:pt x="5125" y="0"/>
                            <a:pt x="11466" y="0"/>
                          </a:cubicBezTo>
                          <a:cubicBezTo>
                            <a:pt x="17806" y="0"/>
                            <a:pt x="22931" y="5137"/>
                            <a:pt x="22931" y="11466"/>
                          </a:cubicBezTo>
                          <a:lnTo>
                            <a:pt x="22931" y="45782"/>
                          </a:lnTo>
                          <a:cubicBezTo>
                            <a:pt x="22931" y="52123"/>
                            <a:pt x="17806" y="57248"/>
                            <a:pt x="11466" y="57248"/>
                          </a:cubicBezTo>
                          <a:close/>
                        </a:path>
                      </a:pathLst>
                    </a:custGeom>
                    <a:solidFill>
                      <a:schemeClr val="accent1"/>
                    </a:solidFill>
                    <a:ln w="1145" cap="flat">
                      <a:noFill/>
                      <a:prstDash val="solid"/>
                      <a:miter/>
                    </a:ln>
                  </p:spPr>
                  <p:txBody>
                    <a:bodyPr rtlCol="0" anchor="ctr"/>
                    <a:lstStyle/>
                    <a:p>
                      <a:endParaRPr lang="en-GB" dirty="0"/>
                    </a:p>
                  </p:txBody>
                </p:sp>
              </p:grpSp>
              <p:grpSp>
                <p:nvGrpSpPr>
                  <p:cNvPr id="771" name="Graphic 48">
                    <a:extLst>
                      <a:ext uri="{FF2B5EF4-FFF2-40B4-BE49-F238E27FC236}">
                        <a16:creationId xmlns:a16="http://schemas.microsoft.com/office/drawing/2014/main" id="{C9EAD710-AA08-4FFB-855C-48FB6407408D}"/>
                      </a:ext>
                    </a:extLst>
                  </p:cNvPr>
                  <p:cNvGrpSpPr/>
                  <p:nvPr/>
                </p:nvGrpSpPr>
                <p:grpSpPr>
                  <a:xfrm>
                    <a:off x="5143743" y="353220"/>
                    <a:ext cx="85817" cy="85169"/>
                    <a:chOff x="5143743" y="353220"/>
                    <a:chExt cx="85817" cy="85169"/>
                  </a:xfrm>
                  <a:solidFill>
                    <a:schemeClr val="accent1"/>
                  </a:solidFill>
                </p:grpSpPr>
                <p:sp>
                  <p:nvSpPr>
                    <p:cNvPr id="775" name="Freeform: Shape 774">
                      <a:extLst>
                        <a:ext uri="{FF2B5EF4-FFF2-40B4-BE49-F238E27FC236}">
                          <a16:creationId xmlns:a16="http://schemas.microsoft.com/office/drawing/2014/main" id="{B010E871-DE66-4C92-BC04-43B3CFAC1095}"/>
                        </a:ext>
                      </a:extLst>
                    </p:cNvPr>
                    <p:cNvSpPr/>
                    <p:nvPr/>
                  </p:nvSpPr>
                  <p:spPr>
                    <a:xfrm>
                      <a:off x="5162014" y="371728"/>
                      <a:ext cx="67547" cy="66661"/>
                    </a:xfrm>
                    <a:custGeom>
                      <a:avLst/>
                      <a:gdLst>
                        <a:gd name="connsiteX0" fmla="*/ 26632 w 67547"/>
                        <a:gd name="connsiteY0" fmla="*/ 66662 h 66661"/>
                        <a:gd name="connsiteX1" fmla="*/ 9364 w 67547"/>
                        <a:gd name="connsiteY1" fmla="*/ 59530 h 66661"/>
                        <a:gd name="connsiteX2" fmla="*/ 9364 w 67547"/>
                        <a:gd name="connsiteY2" fmla="*/ 9104 h 66661"/>
                        <a:gd name="connsiteX3" fmla="*/ 60524 w 67547"/>
                        <a:gd name="connsiteY3" fmla="*/ 9551 h 66661"/>
                        <a:gd name="connsiteX4" fmla="*/ 60524 w 67547"/>
                        <a:gd name="connsiteY4" fmla="*/ 9551 h 66661"/>
                        <a:gd name="connsiteX5" fmla="*/ 53886 w 67547"/>
                        <a:gd name="connsiteY5" fmla="*/ 53637 h 66661"/>
                        <a:gd name="connsiteX6" fmla="*/ 26632 w 67547"/>
                        <a:gd name="connsiteY6" fmla="*/ 66662 h 66661"/>
                        <a:gd name="connsiteX7" fmla="*/ 34325 w 67547"/>
                        <a:gd name="connsiteY7" fmla="*/ 22851 h 66661"/>
                        <a:gd name="connsiteX8" fmla="*/ 25577 w 67547"/>
                        <a:gd name="connsiteY8" fmla="*/ 25328 h 66661"/>
                        <a:gd name="connsiteX9" fmla="*/ 25577 w 67547"/>
                        <a:gd name="connsiteY9" fmla="*/ 43318 h 66661"/>
                        <a:gd name="connsiteX10" fmla="*/ 28352 w 67547"/>
                        <a:gd name="connsiteY10" fmla="*/ 43478 h 66661"/>
                        <a:gd name="connsiteX11" fmla="*/ 37673 w 67547"/>
                        <a:gd name="connsiteY11" fmla="*/ 37413 h 66661"/>
                        <a:gd name="connsiteX12" fmla="*/ 44541 w 67547"/>
                        <a:gd name="connsiteY12" fmla="*/ 26016 h 66661"/>
                        <a:gd name="connsiteX13" fmla="*/ 52430 w 67547"/>
                        <a:gd name="connsiteY13" fmla="*/ 17646 h 66661"/>
                        <a:gd name="connsiteX14" fmla="*/ 44323 w 67547"/>
                        <a:gd name="connsiteY14" fmla="*/ 25752 h 66661"/>
                        <a:gd name="connsiteX15" fmla="*/ 34325 w 67547"/>
                        <a:gd name="connsiteY15" fmla="*/ 22851 h 66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7547" h="66661">
                          <a:moveTo>
                            <a:pt x="26632" y="66662"/>
                          </a:moveTo>
                          <a:cubicBezTo>
                            <a:pt x="20165" y="66662"/>
                            <a:pt x="14146" y="64323"/>
                            <a:pt x="9364" y="59530"/>
                          </a:cubicBezTo>
                          <a:cubicBezTo>
                            <a:pt x="-3121" y="47032"/>
                            <a:pt x="-3121" y="21590"/>
                            <a:pt x="9364" y="9104"/>
                          </a:cubicBezTo>
                          <a:cubicBezTo>
                            <a:pt x="21690" y="-3222"/>
                            <a:pt x="47992" y="-2992"/>
                            <a:pt x="60524" y="9551"/>
                          </a:cubicBezTo>
                          <a:lnTo>
                            <a:pt x="60524" y="9551"/>
                          </a:lnTo>
                          <a:cubicBezTo>
                            <a:pt x="71898" y="20925"/>
                            <a:pt x="69296" y="38227"/>
                            <a:pt x="53886" y="53637"/>
                          </a:cubicBezTo>
                          <a:cubicBezTo>
                            <a:pt x="45287" y="62225"/>
                            <a:pt x="35541" y="66662"/>
                            <a:pt x="26632" y="66662"/>
                          </a:cubicBezTo>
                          <a:close/>
                          <a:moveTo>
                            <a:pt x="34325" y="22851"/>
                          </a:moveTo>
                          <a:cubicBezTo>
                            <a:pt x="30736" y="22851"/>
                            <a:pt x="27251" y="23665"/>
                            <a:pt x="25577" y="25328"/>
                          </a:cubicBezTo>
                          <a:cubicBezTo>
                            <a:pt x="21690" y="29203"/>
                            <a:pt x="22240" y="39981"/>
                            <a:pt x="25577" y="43318"/>
                          </a:cubicBezTo>
                          <a:cubicBezTo>
                            <a:pt x="25875" y="43616"/>
                            <a:pt x="26311" y="44051"/>
                            <a:pt x="28352" y="43478"/>
                          </a:cubicBezTo>
                          <a:cubicBezTo>
                            <a:pt x="31172" y="42687"/>
                            <a:pt x="34658" y="40417"/>
                            <a:pt x="37673" y="37413"/>
                          </a:cubicBezTo>
                          <a:cubicBezTo>
                            <a:pt x="43601" y="31485"/>
                            <a:pt x="44793" y="26922"/>
                            <a:pt x="44541" y="26016"/>
                          </a:cubicBezTo>
                          <a:lnTo>
                            <a:pt x="52430" y="17646"/>
                          </a:lnTo>
                          <a:lnTo>
                            <a:pt x="44323" y="25752"/>
                          </a:lnTo>
                          <a:cubicBezTo>
                            <a:pt x="42386" y="23837"/>
                            <a:pt x="38292" y="22851"/>
                            <a:pt x="34325" y="22851"/>
                          </a:cubicBezTo>
                          <a:close/>
                        </a:path>
                      </a:pathLst>
                    </a:custGeom>
                    <a:solidFill>
                      <a:schemeClr val="accent1"/>
                    </a:solidFill>
                    <a:ln w="1145" cap="flat">
                      <a:noFill/>
                      <a:prstDash val="solid"/>
                      <a:miter/>
                    </a:ln>
                  </p:spPr>
                  <p:txBody>
                    <a:bodyPr rtlCol="0" anchor="ctr"/>
                    <a:lstStyle/>
                    <a:p>
                      <a:endParaRPr lang="en-GB" dirty="0"/>
                    </a:p>
                  </p:txBody>
                </p:sp>
                <p:sp>
                  <p:nvSpPr>
                    <p:cNvPr id="776" name="Freeform: Shape 775">
                      <a:extLst>
                        <a:ext uri="{FF2B5EF4-FFF2-40B4-BE49-F238E27FC236}">
                          <a16:creationId xmlns:a16="http://schemas.microsoft.com/office/drawing/2014/main" id="{9B94D440-7427-483F-9EED-3066291DC537}"/>
                        </a:ext>
                      </a:extLst>
                    </p:cNvPr>
                    <p:cNvSpPr/>
                    <p:nvPr/>
                  </p:nvSpPr>
                  <p:spPr>
                    <a:xfrm>
                      <a:off x="5143743" y="353220"/>
                      <a:ext cx="47198" cy="47195"/>
                    </a:xfrm>
                    <a:custGeom>
                      <a:avLst/>
                      <a:gdLst>
                        <a:gd name="connsiteX0" fmla="*/ 35730 w 47198"/>
                        <a:gd name="connsiteY0" fmla="*/ 47196 h 47195"/>
                        <a:gd name="connsiteX1" fmla="*/ 27624 w 47198"/>
                        <a:gd name="connsiteY1" fmla="*/ 43836 h 47195"/>
                        <a:gd name="connsiteX2" fmla="*/ 3362 w 47198"/>
                        <a:gd name="connsiteY2" fmla="*/ 19575 h 47195"/>
                        <a:gd name="connsiteX3" fmla="*/ 3362 w 47198"/>
                        <a:gd name="connsiteY3" fmla="*/ 3362 h 47195"/>
                        <a:gd name="connsiteX4" fmla="*/ 19575 w 47198"/>
                        <a:gd name="connsiteY4" fmla="*/ 3362 h 47195"/>
                        <a:gd name="connsiteX5" fmla="*/ 43836 w 47198"/>
                        <a:gd name="connsiteY5" fmla="*/ 27624 h 47195"/>
                        <a:gd name="connsiteX6" fmla="*/ 43836 w 47198"/>
                        <a:gd name="connsiteY6" fmla="*/ 43836 h 47195"/>
                        <a:gd name="connsiteX7" fmla="*/ 35730 w 47198"/>
                        <a:gd name="connsiteY7" fmla="*/ 47196 h 4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98" h="47195">
                          <a:moveTo>
                            <a:pt x="35730" y="47196"/>
                          </a:moveTo>
                          <a:cubicBezTo>
                            <a:pt x="32795" y="47196"/>
                            <a:pt x="29859" y="46072"/>
                            <a:pt x="27624" y="43836"/>
                          </a:cubicBezTo>
                          <a:lnTo>
                            <a:pt x="3362" y="19575"/>
                          </a:lnTo>
                          <a:cubicBezTo>
                            <a:pt x="-1121" y="15092"/>
                            <a:pt x="-1121" y="7845"/>
                            <a:pt x="3362" y="3362"/>
                          </a:cubicBezTo>
                          <a:cubicBezTo>
                            <a:pt x="7845" y="-1121"/>
                            <a:pt x="15092" y="-1121"/>
                            <a:pt x="19575" y="3362"/>
                          </a:cubicBezTo>
                          <a:lnTo>
                            <a:pt x="43836" y="27624"/>
                          </a:lnTo>
                          <a:cubicBezTo>
                            <a:pt x="48319" y="32107"/>
                            <a:pt x="48319" y="39353"/>
                            <a:pt x="43836" y="43836"/>
                          </a:cubicBezTo>
                          <a:cubicBezTo>
                            <a:pt x="41600" y="46083"/>
                            <a:pt x="38665" y="47196"/>
                            <a:pt x="35730" y="47196"/>
                          </a:cubicBezTo>
                          <a:close/>
                        </a:path>
                      </a:pathLst>
                    </a:custGeom>
                    <a:solidFill>
                      <a:schemeClr val="accent1"/>
                    </a:solidFill>
                    <a:ln w="1145" cap="flat">
                      <a:noFill/>
                      <a:prstDash val="solid"/>
                      <a:miter/>
                    </a:ln>
                  </p:spPr>
                  <p:txBody>
                    <a:bodyPr rtlCol="0" anchor="ctr"/>
                    <a:lstStyle/>
                    <a:p>
                      <a:endParaRPr lang="en-GB" dirty="0"/>
                    </a:p>
                  </p:txBody>
                </p:sp>
              </p:grpSp>
              <p:grpSp>
                <p:nvGrpSpPr>
                  <p:cNvPr id="772" name="Graphic 48">
                    <a:extLst>
                      <a:ext uri="{FF2B5EF4-FFF2-40B4-BE49-F238E27FC236}">
                        <a16:creationId xmlns:a16="http://schemas.microsoft.com/office/drawing/2014/main" id="{CB790804-BAA6-464F-A49A-C15C5EBAB88E}"/>
                      </a:ext>
                    </a:extLst>
                  </p:cNvPr>
                  <p:cNvGrpSpPr/>
                  <p:nvPr/>
                </p:nvGrpSpPr>
                <p:grpSpPr>
                  <a:xfrm>
                    <a:off x="4926769" y="353472"/>
                    <a:ext cx="85755" cy="85181"/>
                    <a:chOff x="4926769" y="353472"/>
                    <a:chExt cx="85755" cy="85181"/>
                  </a:xfrm>
                  <a:solidFill>
                    <a:schemeClr val="accent1"/>
                  </a:solidFill>
                </p:grpSpPr>
                <p:sp>
                  <p:nvSpPr>
                    <p:cNvPr id="773" name="Freeform: Shape 772">
                      <a:extLst>
                        <a:ext uri="{FF2B5EF4-FFF2-40B4-BE49-F238E27FC236}">
                          <a16:creationId xmlns:a16="http://schemas.microsoft.com/office/drawing/2014/main" id="{499ABFCB-80E6-4185-912E-028095756416}"/>
                        </a:ext>
                      </a:extLst>
                    </p:cNvPr>
                    <p:cNvSpPr/>
                    <p:nvPr/>
                  </p:nvSpPr>
                  <p:spPr>
                    <a:xfrm>
                      <a:off x="4926769" y="371888"/>
                      <a:ext cx="67461" cy="66764"/>
                    </a:xfrm>
                    <a:custGeom>
                      <a:avLst/>
                      <a:gdLst>
                        <a:gd name="connsiteX0" fmla="*/ 40749 w 67461"/>
                        <a:gd name="connsiteY0" fmla="*/ 66765 h 66764"/>
                        <a:gd name="connsiteX1" fmla="*/ 32953 w 67461"/>
                        <a:gd name="connsiteY1" fmla="*/ 65664 h 66764"/>
                        <a:gd name="connsiteX2" fmla="*/ 13587 w 67461"/>
                        <a:gd name="connsiteY2" fmla="*/ 53728 h 66764"/>
                        <a:gd name="connsiteX3" fmla="*/ 1411 w 67461"/>
                        <a:gd name="connsiteY3" fmla="*/ 35028 h 66764"/>
                        <a:gd name="connsiteX4" fmla="*/ 6949 w 67461"/>
                        <a:gd name="connsiteY4" fmla="*/ 9654 h 66764"/>
                        <a:gd name="connsiteX5" fmla="*/ 6949 w 67461"/>
                        <a:gd name="connsiteY5" fmla="*/ 9654 h 66764"/>
                        <a:gd name="connsiteX6" fmla="*/ 32047 w 67461"/>
                        <a:gd name="connsiteY6" fmla="*/ 35 h 66764"/>
                        <a:gd name="connsiteX7" fmla="*/ 58097 w 67461"/>
                        <a:gd name="connsiteY7" fmla="*/ 9219 h 66764"/>
                        <a:gd name="connsiteX8" fmla="*/ 58097 w 67461"/>
                        <a:gd name="connsiteY8" fmla="*/ 59633 h 66764"/>
                        <a:gd name="connsiteX9" fmla="*/ 40749 w 67461"/>
                        <a:gd name="connsiteY9" fmla="*/ 66765 h 66764"/>
                        <a:gd name="connsiteX10" fmla="*/ 33171 w 67461"/>
                        <a:gd name="connsiteY10" fmla="*/ 22943 h 66764"/>
                        <a:gd name="connsiteX11" fmla="*/ 23172 w 67461"/>
                        <a:gd name="connsiteY11" fmla="*/ 25855 h 66764"/>
                        <a:gd name="connsiteX12" fmla="*/ 23172 w 67461"/>
                        <a:gd name="connsiteY12" fmla="*/ 25855 h 66764"/>
                        <a:gd name="connsiteX13" fmla="*/ 22932 w 67461"/>
                        <a:gd name="connsiteY13" fmla="*/ 26131 h 66764"/>
                        <a:gd name="connsiteX14" fmla="*/ 29800 w 67461"/>
                        <a:gd name="connsiteY14" fmla="*/ 37504 h 66764"/>
                        <a:gd name="connsiteX15" fmla="*/ 39121 w 67461"/>
                        <a:gd name="connsiteY15" fmla="*/ 43558 h 66764"/>
                        <a:gd name="connsiteX16" fmla="*/ 41907 w 67461"/>
                        <a:gd name="connsiteY16" fmla="*/ 43398 h 66764"/>
                        <a:gd name="connsiteX17" fmla="*/ 41907 w 67461"/>
                        <a:gd name="connsiteY17" fmla="*/ 25408 h 66764"/>
                        <a:gd name="connsiteX18" fmla="*/ 33171 w 67461"/>
                        <a:gd name="connsiteY18" fmla="*/ 22943 h 66764"/>
                        <a:gd name="connsiteX19" fmla="*/ 15066 w 67461"/>
                        <a:gd name="connsiteY19" fmla="*/ 17749 h 66764"/>
                        <a:gd name="connsiteX20" fmla="*/ 15181 w 67461"/>
                        <a:gd name="connsiteY20" fmla="*/ 17749 h 66764"/>
                        <a:gd name="connsiteX21" fmla="*/ 15066 w 67461"/>
                        <a:gd name="connsiteY21" fmla="*/ 17749 h 66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7461" h="66764">
                          <a:moveTo>
                            <a:pt x="40749" y="66765"/>
                          </a:moveTo>
                          <a:cubicBezTo>
                            <a:pt x="38204" y="66765"/>
                            <a:pt x="35601" y="66398"/>
                            <a:pt x="32953" y="65664"/>
                          </a:cubicBezTo>
                          <a:cubicBezTo>
                            <a:pt x="26303" y="63807"/>
                            <a:pt x="19412" y="59564"/>
                            <a:pt x="13587" y="53728"/>
                          </a:cubicBezTo>
                          <a:cubicBezTo>
                            <a:pt x="9460" y="49601"/>
                            <a:pt x="3990" y="42997"/>
                            <a:pt x="1411" y="35028"/>
                          </a:cubicBezTo>
                          <a:cubicBezTo>
                            <a:pt x="-1674" y="25488"/>
                            <a:pt x="356" y="16236"/>
                            <a:pt x="6949" y="9654"/>
                          </a:cubicBezTo>
                          <a:lnTo>
                            <a:pt x="6949" y="9654"/>
                          </a:lnTo>
                          <a:cubicBezTo>
                            <a:pt x="12808" y="3795"/>
                            <a:pt x="21957" y="287"/>
                            <a:pt x="32047" y="35"/>
                          </a:cubicBezTo>
                          <a:cubicBezTo>
                            <a:pt x="42343" y="-390"/>
                            <a:pt x="51986" y="3107"/>
                            <a:pt x="58097" y="9219"/>
                          </a:cubicBezTo>
                          <a:cubicBezTo>
                            <a:pt x="70583" y="21705"/>
                            <a:pt x="70583" y="47159"/>
                            <a:pt x="58097" y="59633"/>
                          </a:cubicBezTo>
                          <a:cubicBezTo>
                            <a:pt x="53442" y="64311"/>
                            <a:pt x="47342" y="66765"/>
                            <a:pt x="40749" y="66765"/>
                          </a:cubicBezTo>
                          <a:close/>
                          <a:moveTo>
                            <a:pt x="33171" y="22943"/>
                          </a:moveTo>
                          <a:cubicBezTo>
                            <a:pt x="29192" y="22943"/>
                            <a:pt x="25099" y="23929"/>
                            <a:pt x="23172" y="25855"/>
                          </a:cubicBezTo>
                          <a:lnTo>
                            <a:pt x="23172" y="25855"/>
                          </a:lnTo>
                          <a:cubicBezTo>
                            <a:pt x="23012" y="26016"/>
                            <a:pt x="22943" y="26108"/>
                            <a:pt x="22932" y="26131"/>
                          </a:cubicBezTo>
                          <a:cubicBezTo>
                            <a:pt x="22691" y="27025"/>
                            <a:pt x="23883" y="31588"/>
                            <a:pt x="29800" y="37504"/>
                          </a:cubicBezTo>
                          <a:cubicBezTo>
                            <a:pt x="32804" y="40508"/>
                            <a:pt x="36289" y="42767"/>
                            <a:pt x="39121" y="43558"/>
                          </a:cubicBezTo>
                          <a:cubicBezTo>
                            <a:pt x="41220" y="44143"/>
                            <a:pt x="41621" y="43696"/>
                            <a:pt x="41907" y="43398"/>
                          </a:cubicBezTo>
                          <a:cubicBezTo>
                            <a:pt x="45244" y="40061"/>
                            <a:pt x="45794" y="29295"/>
                            <a:pt x="41907" y="25408"/>
                          </a:cubicBezTo>
                          <a:cubicBezTo>
                            <a:pt x="40233" y="23757"/>
                            <a:pt x="36748" y="22943"/>
                            <a:pt x="33171" y="22943"/>
                          </a:cubicBezTo>
                          <a:close/>
                          <a:moveTo>
                            <a:pt x="15066" y="17749"/>
                          </a:moveTo>
                          <a:lnTo>
                            <a:pt x="15181" y="17749"/>
                          </a:lnTo>
                          <a:lnTo>
                            <a:pt x="15066" y="17749"/>
                          </a:lnTo>
                          <a:close/>
                        </a:path>
                      </a:pathLst>
                    </a:custGeom>
                    <a:solidFill>
                      <a:schemeClr val="accent1"/>
                    </a:solidFill>
                    <a:ln w="1145" cap="flat">
                      <a:noFill/>
                      <a:prstDash val="solid"/>
                      <a:miter/>
                    </a:ln>
                  </p:spPr>
                  <p:txBody>
                    <a:bodyPr rtlCol="0" anchor="ctr"/>
                    <a:lstStyle/>
                    <a:p>
                      <a:endParaRPr lang="en-GB" dirty="0"/>
                    </a:p>
                  </p:txBody>
                </p:sp>
                <p:sp>
                  <p:nvSpPr>
                    <p:cNvPr id="774" name="Freeform: Shape 773">
                      <a:extLst>
                        <a:ext uri="{FF2B5EF4-FFF2-40B4-BE49-F238E27FC236}">
                          <a16:creationId xmlns:a16="http://schemas.microsoft.com/office/drawing/2014/main" id="{9D928C00-608F-4857-B2C4-B222F536F66B}"/>
                        </a:ext>
                      </a:extLst>
                    </p:cNvPr>
                    <p:cNvSpPr/>
                    <p:nvPr/>
                  </p:nvSpPr>
                  <p:spPr>
                    <a:xfrm>
                      <a:off x="4965326" y="353472"/>
                      <a:ext cx="47198" cy="47207"/>
                    </a:xfrm>
                    <a:custGeom>
                      <a:avLst/>
                      <a:gdLst>
                        <a:gd name="connsiteX0" fmla="*/ 11469 w 47198"/>
                        <a:gd name="connsiteY0" fmla="*/ 47207 h 47207"/>
                        <a:gd name="connsiteX1" fmla="*/ 3362 w 47198"/>
                        <a:gd name="connsiteY1" fmla="*/ 43848 h 47207"/>
                        <a:gd name="connsiteX2" fmla="*/ 3362 w 47198"/>
                        <a:gd name="connsiteY2" fmla="*/ 27635 h 47207"/>
                        <a:gd name="connsiteX3" fmla="*/ 27623 w 47198"/>
                        <a:gd name="connsiteY3" fmla="*/ 3362 h 47207"/>
                        <a:gd name="connsiteX4" fmla="*/ 43836 w 47198"/>
                        <a:gd name="connsiteY4" fmla="*/ 3362 h 47207"/>
                        <a:gd name="connsiteX5" fmla="*/ 43836 w 47198"/>
                        <a:gd name="connsiteY5" fmla="*/ 19575 h 47207"/>
                        <a:gd name="connsiteX6" fmla="*/ 19575 w 47198"/>
                        <a:gd name="connsiteY6" fmla="*/ 43848 h 47207"/>
                        <a:gd name="connsiteX7" fmla="*/ 11469 w 47198"/>
                        <a:gd name="connsiteY7" fmla="*/ 47207 h 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98" h="47207">
                          <a:moveTo>
                            <a:pt x="11469" y="47207"/>
                          </a:moveTo>
                          <a:cubicBezTo>
                            <a:pt x="8533" y="47207"/>
                            <a:pt x="5598" y="46083"/>
                            <a:pt x="3362" y="43848"/>
                          </a:cubicBezTo>
                          <a:cubicBezTo>
                            <a:pt x="-1121" y="39376"/>
                            <a:pt x="-1121" y="32118"/>
                            <a:pt x="3362" y="27635"/>
                          </a:cubicBezTo>
                          <a:lnTo>
                            <a:pt x="27623" y="3362"/>
                          </a:lnTo>
                          <a:cubicBezTo>
                            <a:pt x="32107" y="-1121"/>
                            <a:pt x="39353" y="-1121"/>
                            <a:pt x="43836" y="3362"/>
                          </a:cubicBezTo>
                          <a:cubicBezTo>
                            <a:pt x="48319" y="7834"/>
                            <a:pt x="48319" y="15092"/>
                            <a:pt x="43836" y="19575"/>
                          </a:cubicBezTo>
                          <a:lnTo>
                            <a:pt x="19575" y="43848"/>
                          </a:lnTo>
                          <a:cubicBezTo>
                            <a:pt x="17327" y="46083"/>
                            <a:pt x="14404" y="47207"/>
                            <a:pt x="11469" y="47207"/>
                          </a:cubicBezTo>
                          <a:close/>
                        </a:path>
                      </a:pathLst>
                    </a:custGeom>
                    <a:solidFill>
                      <a:schemeClr val="accent1"/>
                    </a:solidFill>
                    <a:ln w="1145" cap="flat">
                      <a:noFill/>
                      <a:prstDash val="solid"/>
                      <a:miter/>
                    </a:ln>
                  </p:spPr>
                  <p:txBody>
                    <a:bodyPr rtlCol="0" anchor="ctr"/>
                    <a:lstStyle/>
                    <a:p>
                      <a:endParaRPr lang="en-GB" dirty="0"/>
                    </a:p>
                  </p:txBody>
                </p:sp>
              </p:grpSp>
            </p:grpSp>
            <p:sp>
              <p:nvSpPr>
                <p:cNvPr id="762" name="Freeform: Shape 761">
                  <a:extLst>
                    <a:ext uri="{FF2B5EF4-FFF2-40B4-BE49-F238E27FC236}">
                      <a16:creationId xmlns:a16="http://schemas.microsoft.com/office/drawing/2014/main" id="{A81CBB24-28C9-4F73-B328-8B2C573C119E}"/>
                    </a:ext>
                  </a:extLst>
                </p:cNvPr>
                <p:cNvSpPr/>
                <p:nvPr/>
              </p:nvSpPr>
              <p:spPr>
                <a:xfrm>
                  <a:off x="5111927" y="375550"/>
                  <a:ext cx="31603" cy="41811"/>
                </a:xfrm>
                <a:custGeom>
                  <a:avLst/>
                  <a:gdLst>
                    <a:gd name="connsiteX0" fmla="*/ 20147 w 31603"/>
                    <a:gd name="connsiteY0" fmla="*/ 41811 h 41811"/>
                    <a:gd name="connsiteX1" fmla="*/ 9713 w 31603"/>
                    <a:gd name="connsiteY1" fmla="*/ 35127 h 41811"/>
                    <a:gd name="connsiteX2" fmla="*/ 1046 w 31603"/>
                    <a:gd name="connsiteY2" fmla="*/ 16254 h 41811"/>
                    <a:gd name="connsiteX3" fmla="*/ 6687 w 31603"/>
                    <a:gd name="connsiteY3" fmla="*/ 1051 h 41811"/>
                    <a:gd name="connsiteX4" fmla="*/ 21890 w 31603"/>
                    <a:gd name="connsiteY4" fmla="*/ 6680 h 41811"/>
                    <a:gd name="connsiteX5" fmla="*/ 30558 w 31603"/>
                    <a:gd name="connsiteY5" fmla="*/ 25553 h 41811"/>
                    <a:gd name="connsiteX6" fmla="*/ 24917 w 31603"/>
                    <a:gd name="connsiteY6" fmla="*/ 40756 h 41811"/>
                    <a:gd name="connsiteX7" fmla="*/ 20147 w 31603"/>
                    <a:gd name="connsiteY7" fmla="*/ 41811 h 41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603" h="41811">
                      <a:moveTo>
                        <a:pt x="20147" y="41811"/>
                      </a:moveTo>
                      <a:cubicBezTo>
                        <a:pt x="15802" y="41811"/>
                        <a:pt x="11651" y="39335"/>
                        <a:pt x="9713" y="35127"/>
                      </a:cubicBezTo>
                      <a:lnTo>
                        <a:pt x="1046" y="16254"/>
                      </a:lnTo>
                      <a:cubicBezTo>
                        <a:pt x="-1592" y="10498"/>
                        <a:pt x="931" y="3688"/>
                        <a:pt x="6687" y="1051"/>
                      </a:cubicBezTo>
                      <a:cubicBezTo>
                        <a:pt x="12419" y="-1598"/>
                        <a:pt x="19253" y="936"/>
                        <a:pt x="21890" y="6680"/>
                      </a:cubicBezTo>
                      <a:lnTo>
                        <a:pt x="30558" y="25553"/>
                      </a:lnTo>
                      <a:cubicBezTo>
                        <a:pt x="33195" y="31309"/>
                        <a:pt x="30673" y="38119"/>
                        <a:pt x="24917" y="40756"/>
                      </a:cubicBezTo>
                      <a:cubicBezTo>
                        <a:pt x="23369" y="41479"/>
                        <a:pt x="21741" y="41811"/>
                        <a:pt x="20147" y="41811"/>
                      </a:cubicBezTo>
                      <a:close/>
                    </a:path>
                  </a:pathLst>
                </a:custGeom>
                <a:solidFill>
                  <a:schemeClr val="accent1"/>
                </a:solidFill>
                <a:ln w="1145" cap="flat">
                  <a:noFill/>
                  <a:prstDash val="solid"/>
                  <a:miter/>
                </a:ln>
              </p:spPr>
              <p:txBody>
                <a:bodyPr rtlCol="0" anchor="ctr"/>
                <a:lstStyle/>
                <a:p>
                  <a:endParaRPr lang="en-GB" dirty="0"/>
                </a:p>
              </p:txBody>
            </p:sp>
            <p:sp>
              <p:nvSpPr>
                <p:cNvPr id="763" name="Freeform: Shape 762">
                  <a:extLst>
                    <a:ext uri="{FF2B5EF4-FFF2-40B4-BE49-F238E27FC236}">
                      <a16:creationId xmlns:a16="http://schemas.microsoft.com/office/drawing/2014/main" id="{55DD017B-182C-413B-B968-6F01D03643AB}"/>
                    </a:ext>
                  </a:extLst>
                </p:cNvPr>
                <p:cNvSpPr/>
                <p:nvPr/>
              </p:nvSpPr>
              <p:spPr>
                <a:xfrm>
                  <a:off x="5011900" y="157763"/>
                  <a:ext cx="31764" cy="42151"/>
                </a:xfrm>
                <a:custGeom>
                  <a:avLst/>
                  <a:gdLst>
                    <a:gd name="connsiteX0" fmla="*/ 20308 w 31764"/>
                    <a:gd name="connsiteY0" fmla="*/ 42152 h 42151"/>
                    <a:gd name="connsiteX1" fmla="*/ 9874 w 31764"/>
                    <a:gd name="connsiteY1" fmla="*/ 35467 h 42151"/>
                    <a:gd name="connsiteX2" fmla="*/ 1046 w 31764"/>
                    <a:gd name="connsiteY2" fmla="*/ 16251 h 42151"/>
                    <a:gd name="connsiteX3" fmla="*/ 6687 w 31764"/>
                    <a:gd name="connsiteY3" fmla="*/ 1047 h 42151"/>
                    <a:gd name="connsiteX4" fmla="*/ 21890 w 31764"/>
                    <a:gd name="connsiteY4" fmla="*/ 6689 h 42151"/>
                    <a:gd name="connsiteX5" fmla="*/ 30719 w 31764"/>
                    <a:gd name="connsiteY5" fmla="*/ 25905 h 42151"/>
                    <a:gd name="connsiteX6" fmla="*/ 25078 w 31764"/>
                    <a:gd name="connsiteY6" fmla="*/ 41108 h 42151"/>
                    <a:gd name="connsiteX7" fmla="*/ 20308 w 31764"/>
                    <a:gd name="connsiteY7" fmla="*/ 42152 h 42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64" h="42151">
                      <a:moveTo>
                        <a:pt x="20308" y="42152"/>
                      </a:moveTo>
                      <a:cubicBezTo>
                        <a:pt x="15962" y="42152"/>
                        <a:pt x="11812" y="39675"/>
                        <a:pt x="9874" y="35467"/>
                      </a:cubicBezTo>
                      <a:lnTo>
                        <a:pt x="1046" y="16251"/>
                      </a:lnTo>
                      <a:cubicBezTo>
                        <a:pt x="-1592" y="10507"/>
                        <a:pt x="931" y="3696"/>
                        <a:pt x="6687" y="1047"/>
                      </a:cubicBezTo>
                      <a:cubicBezTo>
                        <a:pt x="12431" y="-1590"/>
                        <a:pt x="19242" y="921"/>
                        <a:pt x="21890" y="6689"/>
                      </a:cubicBezTo>
                      <a:lnTo>
                        <a:pt x="30719" y="25905"/>
                      </a:lnTo>
                      <a:cubicBezTo>
                        <a:pt x="33356" y="31649"/>
                        <a:pt x="30833" y="38460"/>
                        <a:pt x="25078" y="41108"/>
                      </a:cubicBezTo>
                      <a:cubicBezTo>
                        <a:pt x="23530" y="41819"/>
                        <a:pt x="21902" y="42152"/>
                        <a:pt x="20308" y="42152"/>
                      </a:cubicBezTo>
                      <a:close/>
                    </a:path>
                  </a:pathLst>
                </a:custGeom>
                <a:solidFill>
                  <a:schemeClr val="accent1"/>
                </a:solidFill>
                <a:ln w="1145" cap="flat">
                  <a:noFill/>
                  <a:prstDash val="solid"/>
                  <a:miter/>
                </a:ln>
              </p:spPr>
              <p:txBody>
                <a:bodyPr rtlCol="0" anchor="ctr"/>
                <a:lstStyle/>
                <a:p>
                  <a:endParaRPr lang="en-GB" dirty="0"/>
                </a:p>
              </p:txBody>
            </p:sp>
            <p:sp>
              <p:nvSpPr>
                <p:cNvPr id="764" name="Freeform: Shape 763">
                  <a:extLst>
                    <a:ext uri="{FF2B5EF4-FFF2-40B4-BE49-F238E27FC236}">
                      <a16:creationId xmlns:a16="http://schemas.microsoft.com/office/drawing/2014/main" id="{9C187F54-B97E-4F39-B629-FCD4FFD854C8}"/>
                    </a:ext>
                  </a:extLst>
                </p:cNvPr>
                <p:cNvSpPr/>
                <p:nvPr/>
              </p:nvSpPr>
              <p:spPr>
                <a:xfrm>
                  <a:off x="5166904" y="321765"/>
                  <a:ext cx="41212" cy="31274"/>
                </a:xfrm>
                <a:custGeom>
                  <a:avLst/>
                  <a:gdLst>
                    <a:gd name="connsiteX0" fmla="*/ 29733 w 41212"/>
                    <a:gd name="connsiteY0" fmla="*/ 31274 h 31274"/>
                    <a:gd name="connsiteX1" fmla="*/ 24986 w 41212"/>
                    <a:gd name="connsiteY1" fmla="*/ 30243 h 31274"/>
                    <a:gd name="connsiteX2" fmla="*/ 6710 w 41212"/>
                    <a:gd name="connsiteY2" fmla="*/ 21907 h 31274"/>
                    <a:gd name="connsiteX3" fmla="*/ 1035 w 41212"/>
                    <a:gd name="connsiteY3" fmla="*/ 6715 h 31274"/>
                    <a:gd name="connsiteX4" fmla="*/ 16227 w 41212"/>
                    <a:gd name="connsiteY4" fmla="*/ 1039 h 31274"/>
                    <a:gd name="connsiteX5" fmla="*/ 34503 w 41212"/>
                    <a:gd name="connsiteY5" fmla="*/ 9375 h 31274"/>
                    <a:gd name="connsiteX6" fmla="*/ 40178 w 41212"/>
                    <a:gd name="connsiteY6" fmla="*/ 24567 h 31274"/>
                    <a:gd name="connsiteX7" fmla="*/ 29733 w 41212"/>
                    <a:gd name="connsiteY7" fmla="*/ 31274 h 31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12" h="31274">
                      <a:moveTo>
                        <a:pt x="29733" y="31274"/>
                      </a:moveTo>
                      <a:cubicBezTo>
                        <a:pt x="28139" y="31274"/>
                        <a:pt x="26534" y="30942"/>
                        <a:pt x="24986" y="30243"/>
                      </a:cubicBezTo>
                      <a:lnTo>
                        <a:pt x="6710" y="21907"/>
                      </a:lnTo>
                      <a:cubicBezTo>
                        <a:pt x="954" y="19281"/>
                        <a:pt x="-1591" y="12482"/>
                        <a:pt x="1035" y="6715"/>
                      </a:cubicBezTo>
                      <a:cubicBezTo>
                        <a:pt x="3660" y="959"/>
                        <a:pt x="10448" y="-1598"/>
                        <a:pt x="16227" y="1039"/>
                      </a:cubicBezTo>
                      <a:lnTo>
                        <a:pt x="34503" y="9375"/>
                      </a:lnTo>
                      <a:cubicBezTo>
                        <a:pt x="40259" y="12001"/>
                        <a:pt x="42804" y="18800"/>
                        <a:pt x="40178" y="24567"/>
                      </a:cubicBezTo>
                      <a:cubicBezTo>
                        <a:pt x="38264" y="28786"/>
                        <a:pt x="34090" y="31274"/>
                        <a:pt x="29733" y="31274"/>
                      </a:cubicBezTo>
                      <a:close/>
                    </a:path>
                  </a:pathLst>
                </a:custGeom>
                <a:solidFill>
                  <a:schemeClr val="accent1"/>
                </a:solidFill>
                <a:ln w="1145" cap="flat">
                  <a:noFill/>
                  <a:prstDash val="solid"/>
                  <a:miter/>
                </a:ln>
              </p:spPr>
              <p:txBody>
                <a:bodyPr rtlCol="0" anchor="ctr"/>
                <a:lstStyle/>
                <a:p>
                  <a:endParaRPr lang="en-GB" dirty="0"/>
                </a:p>
              </p:txBody>
            </p:sp>
            <p:sp>
              <p:nvSpPr>
                <p:cNvPr id="765" name="Freeform: Shape 764">
                  <a:extLst>
                    <a:ext uri="{FF2B5EF4-FFF2-40B4-BE49-F238E27FC236}">
                      <a16:creationId xmlns:a16="http://schemas.microsoft.com/office/drawing/2014/main" id="{0DFFF502-D639-4E96-BC7E-7F3305407255}"/>
                    </a:ext>
                  </a:extLst>
                </p:cNvPr>
                <p:cNvSpPr/>
                <p:nvPr/>
              </p:nvSpPr>
              <p:spPr>
                <a:xfrm>
                  <a:off x="4948208" y="222089"/>
                  <a:ext cx="41728" cy="31508"/>
                </a:xfrm>
                <a:custGeom>
                  <a:avLst/>
                  <a:gdLst>
                    <a:gd name="connsiteX0" fmla="*/ 30249 w 41728"/>
                    <a:gd name="connsiteY0" fmla="*/ 31508 h 31508"/>
                    <a:gd name="connsiteX1" fmla="*/ 25502 w 41728"/>
                    <a:gd name="connsiteY1" fmla="*/ 30465 h 31508"/>
                    <a:gd name="connsiteX2" fmla="*/ 6710 w 41728"/>
                    <a:gd name="connsiteY2" fmla="*/ 21900 h 31508"/>
                    <a:gd name="connsiteX3" fmla="*/ 1035 w 41728"/>
                    <a:gd name="connsiteY3" fmla="*/ 6708 h 31508"/>
                    <a:gd name="connsiteX4" fmla="*/ 16227 w 41728"/>
                    <a:gd name="connsiteY4" fmla="*/ 1033 h 31508"/>
                    <a:gd name="connsiteX5" fmla="*/ 35019 w 41728"/>
                    <a:gd name="connsiteY5" fmla="*/ 9598 h 31508"/>
                    <a:gd name="connsiteX6" fmla="*/ 40694 w 41728"/>
                    <a:gd name="connsiteY6" fmla="*/ 24790 h 31508"/>
                    <a:gd name="connsiteX7" fmla="*/ 30249 w 41728"/>
                    <a:gd name="connsiteY7" fmla="*/ 31508 h 3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28" h="31508">
                      <a:moveTo>
                        <a:pt x="30249" y="31508"/>
                      </a:moveTo>
                      <a:cubicBezTo>
                        <a:pt x="28655" y="31508"/>
                        <a:pt x="27050" y="31176"/>
                        <a:pt x="25502" y="30465"/>
                      </a:cubicBezTo>
                      <a:lnTo>
                        <a:pt x="6710" y="21900"/>
                      </a:lnTo>
                      <a:cubicBezTo>
                        <a:pt x="954" y="19275"/>
                        <a:pt x="-1591" y="12475"/>
                        <a:pt x="1035" y="6708"/>
                      </a:cubicBezTo>
                      <a:cubicBezTo>
                        <a:pt x="3660" y="964"/>
                        <a:pt x="10436" y="-1593"/>
                        <a:pt x="16227" y="1033"/>
                      </a:cubicBezTo>
                      <a:lnTo>
                        <a:pt x="35019" y="9598"/>
                      </a:lnTo>
                      <a:cubicBezTo>
                        <a:pt x="40775" y="12223"/>
                        <a:pt x="43320" y="19022"/>
                        <a:pt x="40694" y="24790"/>
                      </a:cubicBezTo>
                      <a:cubicBezTo>
                        <a:pt x="38768" y="29009"/>
                        <a:pt x="34606" y="31508"/>
                        <a:pt x="30249" y="31508"/>
                      </a:cubicBezTo>
                      <a:close/>
                    </a:path>
                  </a:pathLst>
                </a:custGeom>
                <a:solidFill>
                  <a:schemeClr val="accent1"/>
                </a:solidFill>
                <a:ln w="1145" cap="flat">
                  <a:noFill/>
                  <a:prstDash val="solid"/>
                  <a:miter/>
                </a:ln>
              </p:spPr>
              <p:txBody>
                <a:bodyPr rtlCol="0" anchor="ctr"/>
                <a:lstStyle/>
                <a:p>
                  <a:endParaRPr lang="en-GB" dirty="0"/>
                </a:p>
              </p:txBody>
            </p:sp>
            <p:sp>
              <p:nvSpPr>
                <p:cNvPr id="766" name="Freeform: Shape 765">
                  <a:extLst>
                    <a:ext uri="{FF2B5EF4-FFF2-40B4-BE49-F238E27FC236}">
                      <a16:creationId xmlns:a16="http://schemas.microsoft.com/office/drawing/2014/main" id="{574381B1-BC14-4A35-B065-A587DCE72D3D}"/>
                    </a:ext>
                  </a:extLst>
                </p:cNvPr>
                <p:cNvSpPr/>
                <p:nvPr/>
              </p:nvSpPr>
              <p:spPr>
                <a:xfrm>
                  <a:off x="5165850" y="223254"/>
                  <a:ext cx="42437" cy="31615"/>
                </a:xfrm>
                <a:custGeom>
                  <a:avLst/>
                  <a:gdLst>
                    <a:gd name="connsiteX0" fmla="*/ 11479 w 42437"/>
                    <a:gd name="connsiteY0" fmla="*/ 31616 h 31615"/>
                    <a:gd name="connsiteX1" fmla="*/ 988 w 42437"/>
                    <a:gd name="connsiteY1" fmla="*/ 24794 h 31615"/>
                    <a:gd name="connsiteX2" fmla="*/ 6812 w 42437"/>
                    <a:gd name="connsiteY2" fmla="*/ 9659 h 31615"/>
                    <a:gd name="connsiteX3" fmla="*/ 26315 w 42437"/>
                    <a:gd name="connsiteY3" fmla="*/ 1002 h 31615"/>
                    <a:gd name="connsiteX4" fmla="*/ 41450 w 42437"/>
                    <a:gd name="connsiteY4" fmla="*/ 6827 h 31615"/>
                    <a:gd name="connsiteX5" fmla="*/ 35626 w 42437"/>
                    <a:gd name="connsiteY5" fmla="*/ 21962 h 31615"/>
                    <a:gd name="connsiteX6" fmla="*/ 16122 w 42437"/>
                    <a:gd name="connsiteY6" fmla="*/ 30618 h 31615"/>
                    <a:gd name="connsiteX7" fmla="*/ 11479 w 42437"/>
                    <a:gd name="connsiteY7" fmla="*/ 31616 h 3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437" h="31615">
                      <a:moveTo>
                        <a:pt x="11479" y="31616"/>
                      </a:moveTo>
                      <a:cubicBezTo>
                        <a:pt x="7076" y="31616"/>
                        <a:pt x="2891" y="29070"/>
                        <a:pt x="988" y="24794"/>
                      </a:cubicBezTo>
                      <a:cubicBezTo>
                        <a:pt x="-1581" y="19004"/>
                        <a:pt x="1034" y="12227"/>
                        <a:pt x="6812" y="9659"/>
                      </a:cubicBezTo>
                      <a:lnTo>
                        <a:pt x="26315" y="1002"/>
                      </a:lnTo>
                      <a:cubicBezTo>
                        <a:pt x="32128" y="-1600"/>
                        <a:pt x="38882" y="1048"/>
                        <a:pt x="41450" y="6827"/>
                      </a:cubicBezTo>
                      <a:cubicBezTo>
                        <a:pt x="44018" y="12617"/>
                        <a:pt x="41404" y="19393"/>
                        <a:pt x="35626" y="21962"/>
                      </a:cubicBezTo>
                      <a:lnTo>
                        <a:pt x="16122" y="30618"/>
                      </a:lnTo>
                      <a:cubicBezTo>
                        <a:pt x="14609" y="31295"/>
                        <a:pt x="13027" y="31616"/>
                        <a:pt x="11479" y="31616"/>
                      </a:cubicBezTo>
                      <a:close/>
                    </a:path>
                  </a:pathLst>
                </a:custGeom>
                <a:solidFill>
                  <a:schemeClr val="accent1"/>
                </a:solidFill>
                <a:ln w="1145" cap="flat">
                  <a:noFill/>
                  <a:prstDash val="solid"/>
                  <a:miter/>
                </a:ln>
              </p:spPr>
              <p:txBody>
                <a:bodyPr rtlCol="0" anchor="ctr"/>
                <a:lstStyle/>
                <a:p>
                  <a:endParaRPr lang="en-GB" dirty="0"/>
                </a:p>
              </p:txBody>
            </p:sp>
            <p:sp>
              <p:nvSpPr>
                <p:cNvPr id="767" name="Freeform: Shape 766">
                  <a:extLst>
                    <a:ext uri="{FF2B5EF4-FFF2-40B4-BE49-F238E27FC236}">
                      <a16:creationId xmlns:a16="http://schemas.microsoft.com/office/drawing/2014/main" id="{B3D7AB9E-418D-4E00-9C7B-2900A5AF6DA4}"/>
                    </a:ext>
                  </a:extLst>
                </p:cNvPr>
                <p:cNvSpPr/>
                <p:nvPr/>
              </p:nvSpPr>
              <p:spPr>
                <a:xfrm>
                  <a:off x="4947326" y="320735"/>
                  <a:ext cx="41348" cy="31134"/>
                </a:xfrm>
                <a:custGeom>
                  <a:avLst/>
                  <a:gdLst>
                    <a:gd name="connsiteX0" fmla="*/ 11479 w 41348"/>
                    <a:gd name="connsiteY0" fmla="*/ 31134 h 31134"/>
                    <a:gd name="connsiteX1" fmla="*/ 988 w 41348"/>
                    <a:gd name="connsiteY1" fmla="*/ 24312 h 31134"/>
                    <a:gd name="connsiteX2" fmla="*/ 6824 w 41348"/>
                    <a:gd name="connsiteY2" fmla="*/ 9177 h 31134"/>
                    <a:gd name="connsiteX3" fmla="*/ 25238 w 41348"/>
                    <a:gd name="connsiteY3" fmla="*/ 1002 h 31134"/>
                    <a:gd name="connsiteX4" fmla="*/ 40361 w 41348"/>
                    <a:gd name="connsiteY4" fmla="*/ 6827 h 31134"/>
                    <a:gd name="connsiteX5" fmla="*/ 34525 w 41348"/>
                    <a:gd name="connsiteY5" fmla="*/ 21962 h 31134"/>
                    <a:gd name="connsiteX6" fmla="*/ 16111 w 41348"/>
                    <a:gd name="connsiteY6" fmla="*/ 30137 h 31134"/>
                    <a:gd name="connsiteX7" fmla="*/ 11479 w 41348"/>
                    <a:gd name="connsiteY7" fmla="*/ 31134 h 3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48" h="31134">
                      <a:moveTo>
                        <a:pt x="11479" y="31134"/>
                      </a:moveTo>
                      <a:cubicBezTo>
                        <a:pt x="7076" y="31134"/>
                        <a:pt x="2891" y="28589"/>
                        <a:pt x="988" y="24312"/>
                      </a:cubicBezTo>
                      <a:cubicBezTo>
                        <a:pt x="-1581" y="18522"/>
                        <a:pt x="1033" y="11746"/>
                        <a:pt x="6824" y="9177"/>
                      </a:cubicBezTo>
                      <a:lnTo>
                        <a:pt x="25238" y="1002"/>
                      </a:lnTo>
                      <a:cubicBezTo>
                        <a:pt x="31039" y="-1600"/>
                        <a:pt x="37792" y="1048"/>
                        <a:pt x="40361" y="6827"/>
                      </a:cubicBezTo>
                      <a:cubicBezTo>
                        <a:pt x="42929" y="12617"/>
                        <a:pt x="40315" y="19393"/>
                        <a:pt x="34525" y="21962"/>
                      </a:cubicBezTo>
                      <a:lnTo>
                        <a:pt x="16111" y="30137"/>
                      </a:lnTo>
                      <a:cubicBezTo>
                        <a:pt x="14609" y="30825"/>
                        <a:pt x="13026" y="31134"/>
                        <a:pt x="11479" y="31134"/>
                      </a:cubicBezTo>
                      <a:close/>
                    </a:path>
                  </a:pathLst>
                </a:custGeom>
                <a:solidFill>
                  <a:schemeClr val="accent1"/>
                </a:solidFill>
                <a:ln w="1145" cap="flat">
                  <a:noFill/>
                  <a:prstDash val="solid"/>
                  <a:miter/>
                </a:ln>
              </p:spPr>
              <p:txBody>
                <a:bodyPr rtlCol="0" anchor="ctr"/>
                <a:lstStyle/>
                <a:p>
                  <a:endParaRPr lang="en-GB" dirty="0"/>
                </a:p>
              </p:txBody>
            </p:sp>
            <p:sp>
              <p:nvSpPr>
                <p:cNvPr id="768" name="Freeform: Shape 767">
                  <a:extLst>
                    <a:ext uri="{FF2B5EF4-FFF2-40B4-BE49-F238E27FC236}">
                      <a16:creationId xmlns:a16="http://schemas.microsoft.com/office/drawing/2014/main" id="{5998DC3E-B470-4ADA-B7C0-98D911C13F49}"/>
                    </a:ext>
                  </a:extLst>
                </p:cNvPr>
                <p:cNvSpPr/>
                <p:nvPr/>
              </p:nvSpPr>
              <p:spPr>
                <a:xfrm>
                  <a:off x="5012056" y="376353"/>
                  <a:ext cx="31258" cy="41054"/>
                </a:xfrm>
                <a:custGeom>
                  <a:avLst/>
                  <a:gdLst>
                    <a:gd name="connsiteX0" fmla="*/ 11461 w 31258"/>
                    <a:gd name="connsiteY0" fmla="*/ 41054 h 41054"/>
                    <a:gd name="connsiteX1" fmla="*/ 6692 w 31258"/>
                    <a:gd name="connsiteY1" fmla="*/ 39999 h 41054"/>
                    <a:gd name="connsiteX2" fmla="*/ 1051 w 31258"/>
                    <a:gd name="connsiteY2" fmla="*/ 24796 h 41054"/>
                    <a:gd name="connsiteX3" fmla="*/ 9363 w 31258"/>
                    <a:gd name="connsiteY3" fmla="*/ 6692 h 41054"/>
                    <a:gd name="connsiteX4" fmla="*/ 24567 w 31258"/>
                    <a:gd name="connsiteY4" fmla="*/ 1051 h 41054"/>
                    <a:gd name="connsiteX5" fmla="*/ 30208 w 31258"/>
                    <a:gd name="connsiteY5" fmla="*/ 16254 h 41054"/>
                    <a:gd name="connsiteX6" fmla="*/ 21895 w 31258"/>
                    <a:gd name="connsiteY6" fmla="*/ 34358 h 41054"/>
                    <a:gd name="connsiteX7" fmla="*/ 11461 w 31258"/>
                    <a:gd name="connsiteY7" fmla="*/ 41054 h 41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58" h="41054">
                      <a:moveTo>
                        <a:pt x="11461" y="41054"/>
                      </a:moveTo>
                      <a:cubicBezTo>
                        <a:pt x="9856" y="41054"/>
                        <a:pt x="8240" y="40710"/>
                        <a:pt x="6692" y="39999"/>
                      </a:cubicBezTo>
                      <a:cubicBezTo>
                        <a:pt x="936" y="37362"/>
                        <a:pt x="-1598" y="30552"/>
                        <a:pt x="1051" y="24796"/>
                      </a:cubicBezTo>
                      <a:lnTo>
                        <a:pt x="9363" y="6692"/>
                      </a:lnTo>
                      <a:cubicBezTo>
                        <a:pt x="12000" y="936"/>
                        <a:pt x="18822" y="-1598"/>
                        <a:pt x="24567" y="1051"/>
                      </a:cubicBezTo>
                      <a:cubicBezTo>
                        <a:pt x="30322" y="3688"/>
                        <a:pt x="32856" y="10498"/>
                        <a:pt x="30208" y="16254"/>
                      </a:cubicBezTo>
                      <a:lnTo>
                        <a:pt x="21895" y="34358"/>
                      </a:lnTo>
                      <a:cubicBezTo>
                        <a:pt x="19957" y="38566"/>
                        <a:pt x="15807" y="41054"/>
                        <a:pt x="11461" y="41054"/>
                      </a:cubicBezTo>
                      <a:close/>
                    </a:path>
                  </a:pathLst>
                </a:custGeom>
                <a:solidFill>
                  <a:schemeClr val="accent1"/>
                </a:solidFill>
                <a:ln w="1145" cap="flat">
                  <a:noFill/>
                  <a:prstDash val="solid"/>
                  <a:miter/>
                </a:ln>
              </p:spPr>
              <p:txBody>
                <a:bodyPr rtlCol="0" anchor="ctr"/>
                <a:lstStyle/>
                <a:p>
                  <a:endParaRPr lang="en-GB" dirty="0"/>
                </a:p>
              </p:txBody>
            </p:sp>
            <p:sp>
              <p:nvSpPr>
                <p:cNvPr id="769" name="Freeform: Shape 768">
                  <a:extLst>
                    <a:ext uri="{FF2B5EF4-FFF2-40B4-BE49-F238E27FC236}">
                      <a16:creationId xmlns:a16="http://schemas.microsoft.com/office/drawing/2014/main" id="{21DD6EB2-5FB4-4117-A419-0B246BDA7F8C}"/>
                    </a:ext>
                  </a:extLst>
                </p:cNvPr>
                <p:cNvSpPr/>
                <p:nvPr/>
              </p:nvSpPr>
              <p:spPr>
                <a:xfrm>
                  <a:off x="5111973" y="157702"/>
                  <a:ext cx="31523" cy="41708"/>
                </a:xfrm>
                <a:custGeom>
                  <a:avLst/>
                  <a:gdLst>
                    <a:gd name="connsiteX0" fmla="*/ 11456 w 31523"/>
                    <a:gd name="connsiteY0" fmla="*/ 41709 h 41708"/>
                    <a:gd name="connsiteX1" fmla="*/ 6698 w 31523"/>
                    <a:gd name="connsiteY1" fmla="*/ 40666 h 41708"/>
                    <a:gd name="connsiteX2" fmla="*/ 1045 w 31523"/>
                    <a:gd name="connsiteY2" fmla="*/ 25462 h 41708"/>
                    <a:gd name="connsiteX3" fmla="*/ 9633 w 31523"/>
                    <a:gd name="connsiteY3" fmla="*/ 6704 h 41708"/>
                    <a:gd name="connsiteX4" fmla="*/ 24825 w 31523"/>
                    <a:gd name="connsiteY4" fmla="*/ 1052 h 41708"/>
                    <a:gd name="connsiteX5" fmla="*/ 30478 w 31523"/>
                    <a:gd name="connsiteY5" fmla="*/ 16255 h 41708"/>
                    <a:gd name="connsiteX6" fmla="*/ 21890 w 31523"/>
                    <a:gd name="connsiteY6" fmla="*/ 35013 h 41708"/>
                    <a:gd name="connsiteX7" fmla="*/ 11456 w 31523"/>
                    <a:gd name="connsiteY7" fmla="*/ 41709 h 41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23" h="41708">
                      <a:moveTo>
                        <a:pt x="11456" y="41709"/>
                      </a:moveTo>
                      <a:cubicBezTo>
                        <a:pt x="9862" y="41709"/>
                        <a:pt x="8246" y="41376"/>
                        <a:pt x="6698" y="40666"/>
                      </a:cubicBezTo>
                      <a:cubicBezTo>
                        <a:pt x="931" y="38028"/>
                        <a:pt x="-1592" y="31229"/>
                        <a:pt x="1045" y="25462"/>
                      </a:cubicBezTo>
                      <a:lnTo>
                        <a:pt x="9633" y="6704"/>
                      </a:lnTo>
                      <a:cubicBezTo>
                        <a:pt x="12259" y="960"/>
                        <a:pt x="19046" y="-1608"/>
                        <a:pt x="24825" y="1052"/>
                      </a:cubicBezTo>
                      <a:cubicBezTo>
                        <a:pt x="30592" y="3689"/>
                        <a:pt x="33115" y="10488"/>
                        <a:pt x="30478" y="16255"/>
                      </a:cubicBezTo>
                      <a:lnTo>
                        <a:pt x="21890" y="35013"/>
                      </a:lnTo>
                      <a:cubicBezTo>
                        <a:pt x="19964" y="39221"/>
                        <a:pt x="15813" y="41709"/>
                        <a:pt x="11456" y="41709"/>
                      </a:cubicBezTo>
                      <a:close/>
                    </a:path>
                  </a:pathLst>
                </a:custGeom>
                <a:solidFill>
                  <a:schemeClr val="accent1"/>
                </a:solidFill>
                <a:ln w="1145" cap="flat">
                  <a:noFill/>
                  <a:prstDash val="solid"/>
                  <a:miter/>
                </a:ln>
              </p:spPr>
              <p:txBody>
                <a:bodyPr rtlCol="0" anchor="ctr"/>
                <a:lstStyle/>
                <a:p>
                  <a:endParaRPr lang="en-GB" dirty="0"/>
                </a:p>
              </p:txBody>
            </p:sp>
          </p:grpSp>
          <p:sp>
            <p:nvSpPr>
              <p:cNvPr id="754" name="Freeform: Shape 753">
                <a:extLst>
                  <a:ext uri="{FF2B5EF4-FFF2-40B4-BE49-F238E27FC236}">
                    <a16:creationId xmlns:a16="http://schemas.microsoft.com/office/drawing/2014/main" id="{44252EF7-D25C-4269-BB51-2DB2D0DC3F3C}"/>
                  </a:ext>
                </a:extLst>
              </p:cNvPr>
              <p:cNvSpPr/>
              <p:nvPr/>
            </p:nvSpPr>
            <p:spPr>
              <a:xfrm>
                <a:off x="5016553" y="240492"/>
                <a:ext cx="32433" cy="26118"/>
              </a:xfrm>
              <a:custGeom>
                <a:avLst/>
                <a:gdLst>
                  <a:gd name="connsiteX0" fmla="*/ 11470 w 32433"/>
                  <a:gd name="connsiteY0" fmla="*/ 26119 h 26118"/>
                  <a:gd name="connsiteX1" fmla="*/ 600 w 32433"/>
                  <a:gd name="connsiteY1" fmla="*/ 18299 h 26118"/>
                  <a:gd name="connsiteX2" fmla="*/ 7824 w 32433"/>
                  <a:gd name="connsiteY2" fmla="*/ 3784 h 26118"/>
                  <a:gd name="connsiteX3" fmla="*/ 17306 w 32433"/>
                  <a:gd name="connsiteY3" fmla="*/ 596 h 26118"/>
                  <a:gd name="connsiteX4" fmla="*/ 31833 w 32433"/>
                  <a:gd name="connsiteY4" fmla="*/ 7808 h 26118"/>
                  <a:gd name="connsiteX5" fmla="*/ 24610 w 32433"/>
                  <a:gd name="connsiteY5" fmla="*/ 22324 h 26118"/>
                  <a:gd name="connsiteX6" fmla="*/ 15127 w 32433"/>
                  <a:gd name="connsiteY6" fmla="*/ 25511 h 26118"/>
                  <a:gd name="connsiteX7" fmla="*/ 11470 w 32433"/>
                  <a:gd name="connsiteY7" fmla="*/ 26119 h 26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33" h="26118">
                    <a:moveTo>
                      <a:pt x="11470" y="26119"/>
                    </a:moveTo>
                    <a:cubicBezTo>
                      <a:pt x="6677" y="26119"/>
                      <a:pt x="2206" y="23092"/>
                      <a:pt x="600" y="18299"/>
                    </a:cubicBezTo>
                    <a:cubicBezTo>
                      <a:pt x="-1417" y="12303"/>
                      <a:pt x="1816" y="5802"/>
                      <a:pt x="7824" y="3784"/>
                    </a:cubicBezTo>
                    <a:lnTo>
                      <a:pt x="17306" y="596"/>
                    </a:lnTo>
                    <a:cubicBezTo>
                      <a:pt x="23303" y="-1410"/>
                      <a:pt x="29815" y="1812"/>
                      <a:pt x="31833" y="7808"/>
                    </a:cubicBezTo>
                    <a:cubicBezTo>
                      <a:pt x="33851" y="13805"/>
                      <a:pt x="30618" y="20306"/>
                      <a:pt x="24610" y="22324"/>
                    </a:cubicBezTo>
                    <a:lnTo>
                      <a:pt x="15127" y="25511"/>
                    </a:lnTo>
                    <a:cubicBezTo>
                      <a:pt x="13912" y="25924"/>
                      <a:pt x="12685" y="26119"/>
                      <a:pt x="11470" y="26119"/>
                    </a:cubicBezTo>
                    <a:close/>
                  </a:path>
                </a:pathLst>
              </a:custGeom>
              <a:solidFill>
                <a:schemeClr val="accent1"/>
              </a:solidFill>
              <a:ln w="1145" cap="flat">
                <a:noFill/>
                <a:prstDash val="solid"/>
                <a:miter/>
              </a:ln>
            </p:spPr>
            <p:txBody>
              <a:bodyPr rtlCol="0" anchor="ctr"/>
              <a:lstStyle/>
              <a:p>
                <a:endParaRPr lang="en-GB" dirty="0"/>
              </a:p>
            </p:txBody>
          </p:sp>
          <p:sp>
            <p:nvSpPr>
              <p:cNvPr id="755" name="Freeform: Shape 754">
                <a:extLst>
                  <a:ext uri="{FF2B5EF4-FFF2-40B4-BE49-F238E27FC236}">
                    <a16:creationId xmlns:a16="http://schemas.microsoft.com/office/drawing/2014/main" id="{A1CFE733-E37F-48D1-AC62-A563358BF729}"/>
                  </a:ext>
                </a:extLst>
              </p:cNvPr>
              <p:cNvSpPr/>
              <p:nvPr/>
            </p:nvSpPr>
            <p:spPr>
              <a:xfrm>
                <a:off x="5042093" y="314977"/>
                <a:ext cx="30104" cy="32959"/>
              </a:xfrm>
              <a:custGeom>
                <a:avLst/>
                <a:gdLst>
                  <a:gd name="connsiteX0" fmla="*/ 11452 w 30104"/>
                  <a:gd name="connsiteY0" fmla="*/ 32959 h 32959"/>
                  <a:gd name="connsiteX1" fmla="*/ 4802 w 30104"/>
                  <a:gd name="connsiteY1" fmla="*/ 30827 h 32959"/>
                  <a:gd name="connsiteX2" fmla="*/ 2142 w 30104"/>
                  <a:gd name="connsiteY2" fmla="*/ 14832 h 32959"/>
                  <a:gd name="connsiteX3" fmla="*/ 9308 w 30104"/>
                  <a:gd name="connsiteY3" fmla="*/ 4800 h 32959"/>
                  <a:gd name="connsiteX4" fmla="*/ 25303 w 30104"/>
                  <a:gd name="connsiteY4" fmla="*/ 2128 h 32959"/>
                  <a:gd name="connsiteX5" fmla="*/ 27963 w 30104"/>
                  <a:gd name="connsiteY5" fmla="*/ 18123 h 32959"/>
                  <a:gd name="connsiteX6" fmla="*/ 20797 w 30104"/>
                  <a:gd name="connsiteY6" fmla="*/ 28155 h 32959"/>
                  <a:gd name="connsiteX7" fmla="*/ 11452 w 30104"/>
                  <a:gd name="connsiteY7" fmla="*/ 32959 h 32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04" h="32959">
                    <a:moveTo>
                      <a:pt x="11452" y="32959"/>
                    </a:moveTo>
                    <a:cubicBezTo>
                      <a:pt x="9148" y="32959"/>
                      <a:pt x="6820" y="32260"/>
                      <a:pt x="4802" y="30827"/>
                    </a:cubicBezTo>
                    <a:cubicBezTo>
                      <a:pt x="-346" y="27146"/>
                      <a:pt x="-1550" y="19980"/>
                      <a:pt x="2142" y="14832"/>
                    </a:cubicBezTo>
                    <a:lnTo>
                      <a:pt x="9308" y="4800"/>
                    </a:lnTo>
                    <a:cubicBezTo>
                      <a:pt x="12989" y="-348"/>
                      <a:pt x="20155" y="-1541"/>
                      <a:pt x="25303" y="2128"/>
                    </a:cubicBezTo>
                    <a:cubicBezTo>
                      <a:pt x="30451" y="5809"/>
                      <a:pt x="31655" y="12975"/>
                      <a:pt x="27963" y="18123"/>
                    </a:cubicBezTo>
                    <a:lnTo>
                      <a:pt x="20797" y="28155"/>
                    </a:lnTo>
                    <a:cubicBezTo>
                      <a:pt x="18549" y="31285"/>
                      <a:pt x="15041" y="32959"/>
                      <a:pt x="11452" y="32959"/>
                    </a:cubicBezTo>
                    <a:close/>
                  </a:path>
                </a:pathLst>
              </a:custGeom>
              <a:solidFill>
                <a:schemeClr val="accent1"/>
              </a:solidFill>
              <a:ln w="1145" cap="flat">
                <a:noFill/>
                <a:prstDash val="solid"/>
                <a:miter/>
              </a:ln>
            </p:spPr>
            <p:txBody>
              <a:bodyPr rtlCol="0" anchor="ctr"/>
              <a:lstStyle/>
              <a:p>
                <a:endParaRPr lang="en-GB" dirty="0"/>
              </a:p>
            </p:txBody>
          </p:sp>
          <p:sp>
            <p:nvSpPr>
              <p:cNvPr id="756" name="Freeform: Shape 755">
                <a:extLst>
                  <a:ext uri="{FF2B5EF4-FFF2-40B4-BE49-F238E27FC236}">
                    <a16:creationId xmlns:a16="http://schemas.microsoft.com/office/drawing/2014/main" id="{117F5413-B46A-4C12-A836-E5089EC748F2}"/>
                  </a:ext>
                </a:extLst>
              </p:cNvPr>
              <p:cNvSpPr/>
              <p:nvPr/>
            </p:nvSpPr>
            <p:spPr>
              <a:xfrm>
                <a:off x="5122627" y="273006"/>
                <a:ext cx="30578" cy="39192"/>
              </a:xfrm>
              <a:custGeom>
                <a:avLst/>
                <a:gdLst>
                  <a:gd name="connsiteX0" fmla="*/ 19124 w 30578"/>
                  <a:gd name="connsiteY0" fmla="*/ 39193 h 39192"/>
                  <a:gd name="connsiteX1" fmla="*/ 8737 w 30578"/>
                  <a:gd name="connsiteY1" fmla="*/ 32611 h 39192"/>
                  <a:gd name="connsiteX2" fmla="*/ 1089 w 30578"/>
                  <a:gd name="connsiteY2" fmla="*/ 16365 h 39192"/>
                  <a:gd name="connsiteX3" fmla="*/ 6581 w 30578"/>
                  <a:gd name="connsiteY3" fmla="*/ 1104 h 39192"/>
                  <a:gd name="connsiteX4" fmla="*/ 21842 w 30578"/>
                  <a:gd name="connsiteY4" fmla="*/ 6596 h 39192"/>
                  <a:gd name="connsiteX5" fmla="*/ 29489 w 30578"/>
                  <a:gd name="connsiteY5" fmla="*/ 22843 h 39192"/>
                  <a:gd name="connsiteX6" fmla="*/ 23997 w 30578"/>
                  <a:gd name="connsiteY6" fmla="*/ 38103 h 39192"/>
                  <a:gd name="connsiteX7" fmla="*/ 19124 w 30578"/>
                  <a:gd name="connsiteY7" fmla="*/ 39193 h 3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578" h="39192">
                    <a:moveTo>
                      <a:pt x="19124" y="39193"/>
                    </a:moveTo>
                    <a:cubicBezTo>
                      <a:pt x="14813" y="39193"/>
                      <a:pt x="10697" y="36762"/>
                      <a:pt x="8737" y="32611"/>
                    </a:cubicBezTo>
                    <a:lnTo>
                      <a:pt x="1089" y="16365"/>
                    </a:lnTo>
                    <a:cubicBezTo>
                      <a:pt x="-1594" y="10632"/>
                      <a:pt x="848" y="3798"/>
                      <a:pt x="6581" y="1104"/>
                    </a:cubicBezTo>
                    <a:cubicBezTo>
                      <a:pt x="12314" y="-1614"/>
                      <a:pt x="19136" y="863"/>
                      <a:pt x="21842" y="6596"/>
                    </a:cubicBezTo>
                    <a:lnTo>
                      <a:pt x="29489" y="22843"/>
                    </a:lnTo>
                    <a:cubicBezTo>
                      <a:pt x="32172" y="28576"/>
                      <a:pt x="29730" y="35409"/>
                      <a:pt x="23997" y="38103"/>
                    </a:cubicBezTo>
                    <a:cubicBezTo>
                      <a:pt x="22415" y="38837"/>
                      <a:pt x="20764" y="39193"/>
                      <a:pt x="19124" y="39193"/>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37" name="Group 36">
            <a:extLst>
              <a:ext uri="{FF2B5EF4-FFF2-40B4-BE49-F238E27FC236}">
                <a16:creationId xmlns:a16="http://schemas.microsoft.com/office/drawing/2014/main" id="{9EA9C733-39F3-CCAB-A536-664A228E7646}"/>
              </a:ext>
            </a:extLst>
          </p:cNvPr>
          <p:cNvGrpSpPr/>
          <p:nvPr/>
        </p:nvGrpSpPr>
        <p:grpSpPr>
          <a:xfrm>
            <a:off x="6001189" y="4086136"/>
            <a:ext cx="510424" cy="375958"/>
            <a:chOff x="6000777" y="4086136"/>
            <a:chExt cx="510424" cy="375958"/>
          </a:xfrm>
        </p:grpSpPr>
        <p:grpSp>
          <p:nvGrpSpPr>
            <p:cNvPr id="809" name="Graphic 48">
              <a:extLst>
                <a:ext uri="{FF2B5EF4-FFF2-40B4-BE49-F238E27FC236}">
                  <a16:creationId xmlns:a16="http://schemas.microsoft.com/office/drawing/2014/main" id="{2891792B-E295-4549-A989-53E256C06DB0}"/>
                </a:ext>
              </a:extLst>
            </p:cNvPr>
            <p:cNvGrpSpPr/>
            <p:nvPr/>
          </p:nvGrpSpPr>
          <p:grpSpPr>
            <a:xfrm>
              <a:off x="6000777" y="4086136"/>
              <a:ext cx="510424" cy="375958"/>
              <a:chOff x="6207222" y="343"/>
              <a:chExt cx="1036278" cy="763281"/>
            </a:xfrm>
            <a:solidFill>
              <a:schemeClr val="tx2"/>
            </a:solidFill>
          </p:grpSpPr>
          <p:grpSp>
            <p:nvGrpSpPr>
              <p:cNvPr id="850" name="Graphic 48">
                <a:extLst>
                  <a:ext uri="{FF2B5EF4-FFF2-40B4-BE49-F238E27FC236}">
                    <a16:creationId xmlns:a16="http://schemas.microsoft.com/office/drawing/2014/main" id="{F8AEC869-0A52-4A55-B066-536CD2E6A777}"/>
                  </a:ext>
                </a:extLst>
              </p:cNvPr>
              <p:cNvGrpSpPr/>
              <p:nvPr/>
            </p:nvGrpSpPr>
            <p:grpSpPr>
              <a:xfrm>
                <a:off x="6207222" y="343"/>
                <a:ext cx="319484" cy="763281"/>
                <a:chOff x="6207222" y="343"/>
                <a:chExt cx="319484" cy="763281"/>
              </a:xfrm>
              <a:grpFill/>
            </p:grpSpPr>
            <p:grpSp>
              <p:nvGrpSpPr>
                <p:cNvPr id="859" name="Graphic 48">
                  <a:extLst>
                    <a:ext uri="{FF2B5EF4-FFF2-40B4-BE49-F238E27FC236}">
                      <a16:creationId xmlns:a16="http://schemas.microsoft.com/office/drawing/2014/main" id="{44E78852-0E33-4AA3-B57B-3241F584EC35}"/>
                    </a:ext>
                  </a:extLst>
                </p:cNvPr>
                <p:cNvGrpSpPr/>
                <p:nvPr/>
              </p:nvGrpSpPr>
              <p:grpSpPr>
                <a:xfrm>
                  <a:off x="6207222" y="313540"/>
                  <a:ext cx="217847" cy="114656"/>
                  <a:chOff x="6207222" y="313540"/>
                  <a:chExt cx="217847" cy="114656"/>
                </a:xfrm>
                <a:grpFill/>
              </p:grpSpPr>
              <p:sp>
                <p:nvSpPr>
                  <p:cNvPr id="864" name="Freeform: Shape 863">
                    <a:extLst>
                      <a:ext uri="{FF2B5EF4-FFF2-40B4-BE49-F238E27FC236}">
                        <a16:creationId xmlns:a16="http://schemas.microsoft.com/office/drawing/2014/main" id="{1BFEEA17-5448-4604-BA00-D94C590132CF}"/>
                      </a:ext>
                    </a:extLst>
                  </p:cNvPr>
                  <p:cNvSpPr/>
                  <p:nvPr/>
                </p:nvSpPr>
                <p:spPr>
                  <a:xfrm>
                    <a:off x="6298947" y="359402"/>
                    <a:ext cx="126122" cy="22931"/>
                  </a:xfrm>
                  <a:custGeom>
                    <a:avLst/>
                    <a:gdLst>
                      <a:gd name="connsiteX0" fmla="*/ 114657 w 126122"/>
                      <a:gd name="connsiteY0" fmla="*/ 22931 h 22931"/>
                      <a:gd name="connsiteX1" fmla="*/ 11466 w 126122"/>
                      <a:gd name="connsiteY1" fmla="*/ 22931 h 22931"/>
                      <a:gd name="connsiteX2" fmla="*/ 0 w 126122"/>
                      <a:gd name="connsiteY2" fmla="*/ 11466 h 22931"/>
                      <a:gd name="connsiteX3" fmla="*/ 11466 w 126122"/>
                      <a:gd name="connsiteY3" fmla="*/ 0 h 22931"/>
                      <a:gd name="connsiteX4" fmla="*/ 114657 w 126122"/>
                      <a:gd name="connsiteY4" fmla="*/ 0 h 22931"/>
                      <a:gd name="connsiteX5" fmla="*/ 126122 w 126122"/>
                      <a:gd name="connsiteY5" fmla="*/ 11466 h 22931"/>
                      <a:gd name="connsiteX6" fmla="*/ 114657 w 126122"/>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22" h="22931">
                        <a:moveTo>
                          <a:pt x="114657" y="22931"/>
                        </a:moveTo>
                        <a:lnTo>
                          <a:pt x="11466" y="22931"/>
                        </a:lnTo>
                        <a:cubicBezTo>
                          <a:pt x="5125" y="22931"/>
                          <a:pt x="0" y="17795"/>
                          <a:pt x="0" y="11466"/>
                        </a:cubicBezTo>
                        <a:cubicBezTo>
                          <a:pt x="0" y="5137"/>
                          <a:pt x="5125" y="0"/>
                          <a:pt x="11466" y="0"/>
                        </a:cubicBezTo>
                        <a:lnTo>
                          <a:pt x="114657" y="0"/>
                        </a:lnTo>
                        <a:cubicBezTo>
                          <a:pt x="120997" y="0"/>
                          <a:pt x="126122" y="5137"/>
                          <a:pt x="126122" y="11466"/>
                        </a:cubicBezTo>
                        <a:cubicBezTo>
                          <a:pt x="126122" y="17795"/>
                          <a:pt x="120997" y="22931"/>
                          <a:pt x="114657" y="22931"/>
                        </a:cubicBezTo>
                        <a:close/>
                      </a:path>
                    </a:pathLst>
                  </a:custGeom>
                  <a:grpFill/>
                  <a:ln w="1145" cap="flat">
                    <a:noFill/>
                    <a:prstDash val="solid"/>
                    <a:miter/>
                  </a:ln>
                </p:spPr>
                <p:txBody>
                  <a:bodyPr rtlCol="0" anchor="ctr"/>
                  <a:lstStyle/>
                  <a:p>
                    <a:endParaRPr lang="en-GB" dirty="0"/>
                  </a:p>
                </p:txBody>
              </p:sp>
              <p:sp>
                <p:nvSpPr>
                  <p:cNvPr id="865" name="Freeform: Shape 864">
                    <a:extLst>
                      <a:ext uri="{FF2B5EF4-FFF2-40B4-BE49-F238E27FC236}">
                        <a16:creationId xmlns:a16="http://schemas.microsoft.com/office/drawing/2014/main" id="{D01DC0E3-1B58-4968-B14E-764A7D028727}"/>
                      </a:ext>
                    </a:extLst>
                  </p:cNvPr>
                  <p:cNvSpPr/>
                  <p:nvPr/>
                </p:nvSpPr>
                <p:spPr>
                  <a:xfrm>
                    <a:off x="6207222" y="313540"/>
                    <a:ext cx="114656" cy="114656"/>
                  </a:xfrm>
                  <a:custGeom>
                    <a:avLst/>
                    <a:gdLst>
                      <a:gd name="connsiteX0" fmla="*/ 57328 w 114656"/>
                      <a:gd name="connsiteY0" fmla="*/ 114657 h 114656"/>
                      <a:gd name="connsiteX1" fmla="*/ 0 w 114656"/>
                      <a:gd name="connsiteY1" fmla="*/ 57328 h 114656"/>
                      <a:gd name="connsiteX2" fmla="*/ 57328 w 114656"/>
                      <a:gd name="connsiteY2" fmla="*/ 0 h 114656"/>
                      <a:gd name="connsiteX3" fmla="*/ 114657 w 114656"/>
                      <a:gd name="connsiteY3" fmla="*/ 57328 h 114656"/>
                      <a:gd name="connsiteX4" fmla="*/ 57328 w 114656"/>
                      <a:gd name="connsiteY4" fmla="*/ 114657 h 114656"/>
                      <a:gd name="connsiteX5" fmla="*/ 57328 w 114656"/>
                      <a:gd name="connsiteY5" fmla="*/ 22931 h 114656"/>
                      <a:gd name="connsiteX6" fmla="*/ 22931 w 114656"/>
                      <a:gd name="connsiteY6" fmla="*/ 57328 h 114656"/>
                      <a:gd name="connsiteX7" fmla="*/ 57328 w 114656"/>
                      <a:gd name="connsiteY7" fmla="*/ 91725 h 114656"/>
                      <a:gd name="connsiteX8" fmla="*/ 91725 w 114656"/>
                      <a:gd name="connsiteY8" fmla="*/ 57328 h 114656"/>
                      <a:gd name="connsiteX9" fmla="*/ 57328 w 114656"/>
                      <a:gd name="connsiteY9" fmla="*/ 22931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656" h="114656">
                        <a:moveTo>
                          <a:pt x="57328" y="114657"/>
                        </a:moveTo>
                        <a:cubicBezTo>
                          <a:pt x="25718" y="114657"/>
                          <a:pt x="0" y="88939"/>
                          <a:pt x="0" y="57328"/>
                        </a:cubicBezTo>
                        <a:cubicBezTo>
                          <a:pt x="0" y="25718"/>
                          <a:pt x="25718" y="0"/>
                          <a:pt x="57328" y="0"/>
                        </a:cubicBezTo>
                        <a:cubicBezTo>
                          <a:pt x="88939" y="0"/>
                          <a:pt x="114657" y="25718"/>
                          <a:pt x="114657" y="57328"/>
                        </a:cubicBezTo>
                        <a:cubicBezTo>
                          <a:pt x="114657" y="88939"/>
                          <a:pt x="88939" y="114657"/>
                          <a:pt x="57328" y="114657"/>
                        </a:cubicBezTo>
                        <a:close/>
                        <a:moveTo>
                          <a:pt x="57328" y="22931"/>
                        </a:moveTo>
                        <a:cubicBezTo>
                          <a:pt x="38364" y="22931"/>
                          <a:pt x="22931" y="38364"/>
                          <a:pt x="22931" y="57328"/>
                        </a:cubicBezTo>
                        <a:cubicBezTo>
                          <a:pt x="22931" y="76293"/>
                          <a:pt x="38364" y="91725"/>
                          <a:pt x="57328" y="91725"/>
                        </a:cubicBezTo>
                        <a:cubicBezTo>
                          <a:pt x="76293" y="91725"/>
                          <a:pt x="91725" y="76293"/>
                          <a:pt x="91725" y="57328"/>
                        </a:cubicBezTo>
                        <a:cubicBezTo>
                          <a:pt x="91725" y="38364"/>
                          <a:pt x="76293" y="22931"/>
                          <a:pt x="57328" y="22931"/>
                        </a:cubicBezTo>
                        <a:close/>
                      </a:path>
                    </a:pathLst>
                  </a:custGeom>
                  <a:grpFill/>
                  <a:ln w="1145" cap="flat">
                    <a:noFill/>
                    <a:prstDash val="solid"/>
                    <a:miter/>
                  </a:ln>
                </p:spPr>
                <p:txBody>
                  <a:bodyPr rtlCol="0" anchor="ctr"/>
                  <a:lstStyle/>
                  <a:p>
                    <a:endParaRPr lang="en-GB" dirty="0"/>
                  </a:p>
                </p:txBody>
              </p:sp>
            </p:grpSp>
            <p:sp>
              <p:nvSpPr>
                <p:cNvPr id="860" name="Freeform: Shape 859">
                  <a:extLst>
                    <a:ext uri="{FF2B5EF4-FFF2-40B4-BE49-F238E27FC236}">
                      <a16:creationId xmlns:a16="http://schemas.microsoft.com/office/drawing/2014/main" id="{9B8B1F35-132F-4271-A247-4F7E25A4CF6A}"/>
                    </a:ext>
                  </a:extLst>
                </p:cNvPr>
                <p:cNvSpPr/>
                <p:nvPr/>
              </p:nvSpPr>
              <p:spPr>
                <a:xfrm>
                  <a:off x="6352747" y="648979"/>
                  <a:ext cx="114582" cy="114645"/>
                </a:xfrm>
                <a:custGeom>
                  <a:avLst/>
                  <a:gdLst>
                    <a:gd name="connsiteX0" fmla="*/ 57291 w 114582"/>
                    <a:gd name="connsiteY0" fmla="*/ 114645 h 114645"/>
                    <a:gd name="connsiteX1" fmla="*/ 16760 w 114582"/>
                    <a:gd name="connsiteY1" fmla="*/ 97859 h 114645"/>
                    <a:gd name="connsiteX2" fmla="*/ 16760 w 114582"/>
                    <a:gd name="connsiteY2" fmla="*/ 16786 h 114645"/>
                    <a:gd name="connsiteX3" fmla="*/ 57291 w 114582"/>
                    <a:gd name="connsiteY3" fmla="*/ 0 h 114645"/>
                    <a:gd name="connsiteX4" fmla="*/ 97822 w 114582"/>
                    <a:gd name="connsiteY4" fmla="*/ 16786 h 114645"/>
                    <a:gd name="connsiteX5" fmla="*/ 97822 w 114582"/>
                    <a:gd name="connsiteY5" fmla="*/ 16786 h 114645"/>
                    <a:gd name="connsiteX6" fmla="*/ 97822 w 114582"/>
                    <a:gd name="connsiteY6" fmla="*/ 16786 h 114645"/>
                    <a:gd name="connsiteX7" fmla="*/ 97822 w 114582"/>
                    <a:gd name="connsiteY7" fmla="*/ 97859 h 114645"/>
                    <a:gd name="connsiteX8" fmla="*/ 57291 w 114582"/>
                    <a:gd name="connsiteY8" fmla="*/ 114645 h 114645"/>
                    <a:gd name="connsiteX9" fmla="*/ 57291 w 114582"/>
                    <a:gd name="connsiteY9" fmla="*/ 22920 h 114645"/>
                    <a:gd name="connsiteX10" fmla="*/ 32973 w 114582"/>
                    <a:gd name="connsiteY10" fmla="*/ 32987 h 114645"/>
                    <a:gd name="connsiteX11" fmla="*/ 32973 w 114582"/>
                    <a:gd name="connsiteY11" fmla="*/ 81636 h 114645"/>
                    <a:gd name="connsiteX12" fmla="*/ 81610 w 114582"/>
                    <a:gd name="connsiteY12" fmla="*/ 81636 h 114645"/>
                    <a:gd name="connsiteX13" fmla="*/ 81610 w 114582"/>
                    <a:gd name="connsiteY13" fmla="*/ 32987 h 114645"/>
                    <a:gd name="connsiteX14" fmla="*/ 81610 w 114582"/>
                    <a:gd name="connsiteY14" fmla="*/ 32987 h 114645"/>
                    <a:gd name="connsiteX15" fmla="*/ 57291 w 114582"/>
                    <a:gd name="connsiteY15" fmla="*/ 22920 h 11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582" h="114645">
                      <a:moveTo>
                        <a:pt x="57291" y="114645"/>
                      </a:moveTo>
                      <a:cubicBezTo>
                        <a:pt x="41973" y="114645"/>
                        <a:pt x="27583" y="108683"/>
                        <a:pt x="16760" y="97859"/>
                      </a:cubicBezTo>
                      <a:cubicBezTo>
                        <a:pt x="-5587" y="75501"/>
                        <a:pt x="-5587" y="39132"/>
                        <a:pt x="16760" y="16786"/>
                      </a:cubicBezTo>
                      <a:cubicBezTo>
                        <a:pt x="27583" y="5962"/>
                        <a:pt x="41973" y="0"/>
                        <a:pt x="57291" y="0"/>
                      </a:cubicBezTo>
                      <a:cubicBezTo>
                        <a:pt x="72609" y="0"/>
                        <a:pt x="86999" y="5962"/>
                        <a:pt x="97822" y="16786"/>
                      </a:cubicBezTo>
                      <a:lnTo>
                        <a:pt x="97822" y="16786"/>
                      </a:lnTo>
                      <a:lnTo>
                        <a:pt x="97822" y="16786"/>
                      </a:lnTo>
                      <a:cubicBezTo>
                        <a:pt x="120169" y="39144"/>
                        <a:pt x="120169" y="75513"/>
                        <a:pt x="97822" y="97859"/>
                      </a:cubicBezTo>
                      <a:cubicBezTo>
                        <a:pt x="86987" y="108683"/>
                        <a:pt x="72609" y="114645"/>
                        <a:pt x="57291" y="114645"/>
                      </a:cubicBezTo>
                      <a:close/>
                      <a:moveTo>
                        <a:pt x="57291" y="22920"/>
                      </a:moveTo>
                      <a:cubicBezTo>
                        <a:pt x="48096" y="22920"/>
                        <a:pt x="39462" y="26497"/>
                        <a:pt x="32973" y="32987"/>
                      </a:cubicBezTo>
                      <a:cubicBezTo>
                        <a:pt x="19557" y="46402"/>
                        <a:pt x="19557" y="68221"/>
                        <a:pt x="32973" y="81636"/>
                      </a:cubicBezTo>
                      <a:cubicBezTo>
                        <a:pt x="45963" y="94626"/>
                        <a:pt x="68619" y="94626"/>
                        <a:pt x="81610" y="81636"/>
                      </a:cubicBezTo>
                      <a:cubicBezTo>
                        <a:pt x="95025" y="68221"/>
                        <a:pt x="95025" y="46402"/>
                        <a:pt x="81610" y="32987"/>
                      </a:cubicBezTo>
                      <a:lnTo>
                        <a:pt x="81610" y="32987"/>
                      </a:lnTo>
                      <a:cubicBezTo>
                        <a:pt x="75109" y="26497"/>
                        <a:pt x="66475" y="22920"/>
                        <a:pt x="57291" y="22920"/>
                      </a:cubicBezTo>
                      <a:close/>
                    </a:path>
                  </a:pathLst>
                </a:custGeom>
                <a:grpFill/>
                <a:ln w="1145" cap="flat">
                  <a:noFill/>
                  <a:prstDash val="solid"/>
                  <a:miter/>
                </a:ln>
              </p:spPr>
              <p:txBody>
                <a:bodyPr rtlCol="0" anchor="ctr"/>
                <a:lstStyle/>
                <a:p>
                  <a:endParaRPr lang="en-GB" dirty="0"/>
                </a:p>
              </p:txBody>
            </p:sp>
            <p:grpSp>
              <p:nvGrpSpPr>
                <p:cNvPr id="861" name="Graphic 48">
                  <a:extLst>
                    <a:ext uri="{FF2B5EF4-FFF2-40B4-BE49-F238E27FC236}">
                      <a16:creationId xmlns:a16="http://schemas.microsoft.com/office/drawing/2014/main" id="{FB5A7AC7-9781-48C1-A02C-618214F910B7}"/>
                    </a:ext>
                  </a:extLst>
                </p:cNvPr>
                <p:cNvGrpSpPr/>
                <p:nvPr/>
              </p:nvGrpSpPr>
              <p:grpSpPr>
                <a:xfrm>
                  <a:off x="6331019" y="343"/>
                  <a:ext cx="195686" cy="684982"/>
                  <a:chOff x="6331019" y="343"/>
                  <a:chExt cx="195686" cy="684982"/>
                </a:xfrm>
                <a:grpFill/>
              </p:grpSpPr>
              <p:sp>
                <p:nvSpPr>
                  <p:cNvPr id="862" name="Freeform: Shape 861">
                    <a:extLst>
                      <a:ext uri="{FF2B5EF4-FFF2-40B4-BE49-F238E27FC236}">
                        <a16:creationId xmlns:a16="http://schemas.microsoft.com/office/drawing/2014/main" id="{40585785-37DD-403C-A004-F1B50A3F871F}"/>
                      </a:ext>
                    </a:extLst>
                  </p:cNvPr>
                  <p:cNvSpPr/>
                  <p:nvPr/>
                </p:nvSpPr>
                <p:spPr>
                  <a:xfrm>
                    <a:off x="6402138" y="78617"/>
                    <a:ext cx="124567" cy="606708"/>
                  </a:xfrm>
                  <a:custGeom>
                    <a:avLst/>
                    <a:gdLst>
                      <a:gd name="connsiteX0" fmla="*/ 40325 w 124567"/>
                      <a:gd name="connsiteY0" fmla="*/ 606709 h 606708"/>
                      <a:gd name="connsiteX1" fmla="*/ 32219 w 124567"/>
                      <a:gd name="connsiteY1" fmla="*/ 603349 h 606708"/>
                      <a:gd name="connsiteX2" fmla="*/ 32219 w 124567"/>
                      <a:gd name="connsiteY2" fmla="*/ 587137 h 606708"/>
                      <a:gd name="connsiteX3" fmla="*/ 97092 w 124567"/>
                      <a:gd name="connsiteY3" fmla="*/ 522264 h 606708"/>
                      <a:gd name="connsiteX4" fmla="*/ 0 w 124567"/>
                      <a:gd name="connsiteY4" fmla="*/ 292240 h 606708"/>
                      <a:gd name="connsiteX5" fmla="*/ 75880 w 124567"/>
                      <a:gd name="connsiteY5" fmla="*/ 84963 h 606708"/>
                      <a:gd name="connsiteX6" fmla="*/ 10491 w 124567"/>
                      <a:gd name="connsiteY6" fmla="*/ 19575 h 606708"/>
                      <a:gd name="connsiteX7" fmla="*/ 10491 w 124567"/>
                      <a:gd name="connsiteY7" fmla="*/ 3362 h 606708"/>
                      <a:gd name="connsiteX8" fmla="*/ 26704 w 124567"/>
                      <a:gd name="connsiteY8" fmla="*/ 3362 h 606708"/>
                      <a:gd name="connsiteX9" fmla="*/ 98582 w 124567"/>
                      <a:gd name="connsiteY9" fmla="*/ 75229 h 606708"/>
                      <a:gd name="connsiteX10" fmla="*/ 99476 w 124567"/>
                      <a:gd name="connsiteY10" fmla="*/ 75974 h 606708"/>
                      <a:gd name="connsiteX11" fmla="*/ 100199 w 124567"/>
                      <a:gd name="connsiteY11" fmla="*/ 91980 h 606708"/>
                      <a:gd name="connsiteX12" fmla="*/ 22931 w 124567"/>
                      <a:gd name="connsiteY12" fmla="*/ 292228 h 606708"/>
                      <a:gd name="connsiteX13" fmla="*/ 120768 w 124567"/>
                      <a:gd name="connsiteY13" fmla="*/ 513046 h 606708"/>
                      <a:gd name="connsiteX14" fmla="*/ 124001 w 124567"/>
                      <a:gd name="connsiteY14" fmla="*/ 518114 h 606708"/>
                      <a:gd name="connsiteX15" fmla="*/ 121387 w 124567"/>
                      <a:gd name="connsiteY15" fmla="*/ 530359 h 606708"/>
                      <a:gd name="connsiteX16" fmla="*/ 48420 w 124567"/>
                      <a:gd name="connsiteY16" fmla="*/ 603327 h 606708"/>
                      <a:gd name="connsiteX17" fmla="*/ 40325 w 124567"/>
                      <a:gd name="connsiteY17" fmla="*/ 606709 h 60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4567" h="606708">
                        <a:moveTo>
                          <a:pt x="40325" y="606709"/>
                        </a:moveTo>
                        <a:cubicBezTo>
                          <a:pt x="37390" y="606709"/>
                          <a:pt x="34454" y="605585"/>
                          <a:pt x="32219" y="603349"/>
                        </a:cubicBezTo>
                        <a:cubicBezTo>
                          <a:pt x="27735" y="598866"/>
                          <a:pt x="27735" y="591620"/>
                          <a:pt x="32219" y="587137"/>
                        </a:cubicBezTo>
                        <a:lnTo>
                          <a:pt x="97092" y="522264"/>
                        </a:lnTo>
                        <a:cubicBezTo>
                          <a:pt x="35245" y="462012"/>
                          <a:pt x="0" y="378829"/>
                          <a:pt x="0" y="292240"/>
                        </a:cubicBezTo>
                        <a:cubicBezTo>
                          <a:pt x="0" y="216039"/>
                          <a:pt x="26864" y="142877"/>
                          <a:pt x="75880" y="84963"/>
                        </a:cubicBezTo>
                        <a:lnTo>
                          <a:pt x="10491" y="19575"/>
                        </a:lnTo>
                        <a:cubicBezTo>
                          <a:pt x="6008" y="15092"/>
                          <a:pt x="6008" y="7845"/>
                          <a:pt x="10491" y="3362"/>
                        </a:cubicBezTo>
                        <a:cubicBezTo>
                          <a:pt x="14974" y="-1121"/>
                          <a:pt x="22221" y="-1121"/>
                          <a:pt x="26704" y="3362"/>
                        </a:cubicBezTo>
                        <a:lnTo>
                          <a:pt x="98582" y="75229"/>
                        </a:lnTo>
                        <a:cubicBezTo>
                          <a:pt x="98891" y="75470"/>
                          <a:pt x="99190" y="75711"/>
                          <a:pt x="99476" y="75974"/>
                        </a:cubicBezTo>
                        <a:cubicBezTo>
                          <a:pt x="104051" y="80263"/>
                          <a:pt x="104418" y="87337"/>
                          <a:pt x="100199" y="91980"/>
                        </a:cubicBezTo>
                        <a:cubicBezTo>
                          <a:pt x="50369" y="146901"/>
                          <a:pt x="22931" y="218023"/>
                          <a:pt x="22931" y="292228"/>
                        </a:cubicBezTo>
                        <a:cubicBezTo>
                          <a:pt x="22931" y="376146"/>
                          <a:pt x="58590" y="456623"/>
                          <a:pt x="120768" y="513046"/>
                        </a:cubicBezTo>
                        <a:cubicBezTo>
                          <a:pt x="122282" y="514422"/>
                          <a:pt x="123394" y="516164"/>
                          <a:pt x="124001" y="518114"/>
                        </a:cubicBezTo>
                        <a:cubicBezTo>
                          <a:pt x="125274" y="522184"/>
                          <a:pt x="124403" y="527344"/>
                          <a:pt x="121387" y="530359"/>
                        </a:cubicBezTo>
                        <a:lnTo>
                          <a:pt x="48420" y="603327"/>
                        </a:lnTo>
                        <a:cubicBezTo>
                          <a:pt x="46184" y="605585"/>
                          <a:pt x="43260" y="606709"/>
                          <a:pt x="40325" y="606709"/>
                        </a:cubicBezTo>
                        <a:close/>
                      </a:path>
                    </a:pathLst>
                  </a:custGeom>
                  <a:grpFill/>
                  <a:ln w="1145" cap="flat">
                    <a:noFill/>
                    <a:prstDash val="solid"/>
                    <a:miter/>
                  </a:ln>
                </p:spPr>
                <p:txBody>
                  <a:bodyPr rtlCol="0" anchor="ctr"/>
                  <a:lstStyle/>
                  <a:p>
                    <a:endParaRPr lang="en-GB" dirty="0"/>
                  </a:p>
                </p:txBody>
              </p:sp>
              <p:sp>
                <p:nvSpPr>
                  <p:cNvPr id="863" name="Freeform: Shape 862">
                    <a:extLst>
                      <a:ext uri="{FF2B5EF4-FFF2-40B4-BE49-F238E27FC236}">
                        <a16:creationId xmlns:a16="http://schemas.microsoft.com/office/drawing/2014/main" id="{EDE93F7E-11D5-4ADE-9175-43366F1E8724}"/>
                      </a:ext>
                    </a:extLst>
                  </p:cNvPr>
                  <p:cNvSpPr/>
                  <p:nvPr/>
                </p:nvSpPr>
                <p:spPr>
                  <a:xfrm>
                    <a:off x="6331019" y="343"/>
                    <a:ext cx="114582" cy="114645"/>
                  </a:xfrm>
                  <a:custGeom>
                    <a:avLst/>
                    <a:gdLst>
                      <a:gd name="connsiteX0" fmla="*/ 57291 w 114582"/>
                      <a:gd name="connsiteY0" fmla="*/ 114645 h 114645"/>
                      <a:gd name="connsiteX1" fmla="*/ 16760 w 114582"/>
                      <a:gd name="connsiteY1" fmla="*/ 97860 h 114645"/>
                      <a:gd name="connsiteX2" fmla="*/ 16760 w 114582"/>
                      <a:gd name="connsiteY2" fmla="*/ 16786 h 114645"/>
                      <a:gd name="connsiteX3" fmla="*/ 57291 w 114582"/>
                      <a:gd name="connsiteY3" fmla="*/ 0 h 114645"/>
                      <a:gd name="connsiteX4" fmla="*/ 97822 w 114582"/>
                      <a:gd name="connsiteY4" fmla="*/ 16786 h 114645"/>
                      <a:gd name="connsiteX5" fmla="*/ 97822 w 114582"/>
                      <a:gd name="connsiteY5" fmla="*/ 97860 h 114645"/>
                      <a:gd name="connsiteX6" fmla="*/ 97822 w 114582"/>
                      <a:gd name="connsiteY6" fmla="*/ 97860 h 114645"/>
                      <a:gd name="connsiteX7" fmla="*/ 97822 w 114582"/>
                      <a:gd name="connsiteY7" fmla="*/ 97860 h 114645"/>
                      <a:gd name="connsiteX8" fmla="*/ 57291 w 114582"/>
                      <a:gd name="connsiteY8" fmla="*/ 114645 h 114645"/>
                      <a:gd name="connsiteX9" fmla="*/ 57291 w 114582"/>
                      <a:gd name="connsiteY9" fmla="*/ 22920 h 114645"/>
                      <a:gd name="connsiteX10" fmla="*/ 32972 w 114582"/>
                      <a:gd name="connsiteY10" fmla="*/ 32987 h 114645"/>
                      <a:gd name="connsiteX11" fmla="*/ 32972 w 114582"/>
                      <a:gd name="connsiteY11" fmla="*/ 81636 h 114645"/>
                      <a:gd name="connsiteX12" fmla="*/ 81610 w 114582"/>
                      <a:gd name="connsiteY12" fmla="*/ 81636 h 114645"/>
                      <a:gd name="connsiteX13" fmla="*/ 81610 w 114582"/>
                      <a:gd name="connsiteY13" fmla="*/ 81636 h 114645"/>
                      <a:gd name="connsiteX14" fmla="*/ 81610 w 114582"/>
                      <a:gd name="connsiteY14" fmla="*/ 32987 h 114645"/>
                      <a:gd name="connsiteX15" fmla="*/ 57291 w 114582"/>
                      <a:gd name="connsiteY15" fmla="*/ 22920 h 11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582" h="114645">
                        <a:moveTo>
                          <a:pt x="57291" y="114645"/>
                        </a:moveTo>
                        <a:cubicBezTo>
                          <a:pt x="41973" y="114645"/>
                          <a:pt x="27583" y="108683"/>
                          <a:pt x="16760" y="97860"/>
                        </a:cubicBezTo>
                        <a:cubicBezTo>
                          <a:pt x="-5587" y="75501"/>
                          <a:pt x="-5587" y="39132"/>
                          <a:pt x="16760" y="16786"/>
                        </a:cubicBezTo>
                        <a:cubicBezTo>
                          <a:pt x="27583" y="5962"/>
                          <a:pt x="41973" y="0"/>
                          <a:pt x="57291" y="0"/>
                        </a:cubicBezTo>
                        <a:cubicBezTo>
                          <a:pt x="72609" y="0"/>
                          <a:pt x="86999" y="5962"/>
                          <a:pt x="97822" y="16786"/>
                        </a:cubicBezTo>
                        <a:cubicBezTo>
                          <a:pt x="120169" y="39144"/>
                          <a:pt x="120169" y="75513"/>
                          <a:pt x="97822" y="97860"/>
                        </a:cubicBezTo>
                        <a:lnTo>
                          <a:pt x="97822" y="97860"/>
                        </a:lnTo>
                        <a:lnTo>
                          <a:pt x="97822" y="97860"/>
                        </a:lnTo>
                        <a:cubicBezTo>
                          <a:pt x="86999" y="108683"/>
                          <a:pt x="72609" y="114645"/>
                          <a:pt x="57291" y="114645"/>
                        </a:cubicBezTo>
                        <a:close/>
                        <a:moveTo>
                          <a:pt x="57291" y="22920"/>
                        </a:moveTo>
                        <a:cubicBezTo>
                          <a:pt x="48096" y="22920"/>
                          <a:pt x="39462" y="26497"/>
                          <a:pt x="32972" y="32987"/>
                        </a:cubicBezTo>
                        <a:cubicBezTo>
                          <a:pt x="19557" y="46402"/>
                          <a:pt x="19557" y="68221"/>
                          <a:pt x="32972" y="81636"/>
                        </a:cubicBezTo>
                        <a:cubicBezTo>
                          <a:pt x="45963" y="94626"/>
                          <a:pt x="68619" y="94626"/>
                          <a:pt x="81610" y="81636"/>
                        </a:cubicBezTo>
                        <a:lnTo>
                          <a:pt x="81610" y="81636"/>
                        </a:lnTo>
                        <a:cubicBezTo>
                          <a:pt x="95025" y="68221"/>
                          <a:pt x="95025" y="46402"/>
                          <a:pt x="81610" y="32987"/>
                        </a:cubicBezTo>
                        <a:cubicBezTo>
                          <a:pt x="75120" y="26497"/>
                          <a:pt x="66486" y="22920"/>
                          <a:pt x="57291" y="22920"/>
                        </a:cubicBezTo>
                        <a:close/>
                      </a:path>
                    </a:pathLst>
                  </a:custGeom>
                  <a:grpFill/>
                  <a:ln w="1145" cap="flat">
                    <a:noFill/>
                    <a:prstDash val="solid"/>
                    <a:miter/>
                  </a:ln>
                </p:spPr>
                <p:txBody>
                  <a:bodyPr rtlCol="0" anchor="ctr"/>
                  <a:lstStyle/>
                  <a:p>
                    <a:endParaRPr lang="en-GB" dirty="0"/>
                  </a:p>
                </p:txBody>
              </p:sp>
            </p:grpSp>
          </p:grpSp>
          <p:grpSp>
            <p:nvGrpSpPr>
              <p:cNvPr id="851" name="Graphic 48">
                <a:extLst>
                  <a:ext uri="{FF2B5EF4-FFF2-40B4-BE49-F238E27FC236}">
                    <a16:creationId xmlns:a16="http://schemas.microsoft.com/office/drawing/2014/main" id="{649F4E41-EDA1-4C8D-A55B-76168ECCBF15}"/>
                  </a:ext>
                </a:extLst>
              </p:cNvPr>
              <p:cNvGrpSpPr/>
              <p:nvPr/>
            </p:nvGrpSpPr>
            <p:grpSpPr>
              <a:xfrm>
                <a:off x="6923830" y="343"/>
                <a:ext cx="319670" cy="763281"/>
                <a:chOff x="6923830" y="343"/>
                <a:chExt cx="319670" cy="763281"/>
              </a:xfrm>
              <a:grpFill/>
            </p:grpSpPr>
            <p:grpSp>
              <p:nvGrpSpPr>
                <p:cNvPr id="852" name="Graphic 48">
                  <a:extLst>
                    <a:ext uri="{FF2B5EF4-FFF2-40B4-BE49-F238E27FC236}">
                      <a16:creationId xmlns:a16="http://schemas.microsoft.com/office/drawing/2014/main" id="{7BA51AB7-BDBC-4FA5-868B-AE68D4979113}"/>
                    </a:ext>
                  </a:extLst>
                </p:cNvPr>
                <p:cNvGrpSpPr/>
                <p:nvPr/>
              </p:nvGrpSpPr>
              <p:grpSpPr>
                <a:xfrm>
                  <a:off x="7025653" y="313540"/>
                  <a:ext cx="217847" cy="114656"/>
                  <a:chOff x="7025653" y="313540"/>
                  <a:chExt cx="217847" cy="114656"/>
                </a:xfrm>
                <a:grpFill/>
              </p:grpSpPr>
              <p:sp>
                <p:nvSpPr>
                  <p:cNvPr id="857" name="Freeform: Shape 856">
                    <a:extLst>
                      <a:ext uri="{FF2B5EF4-FFF2-40B4-BE49-F238E27FC236}">
                        <a16:creationId xmlns:a16="http://schemas.microsoft.com/office/drawing/2014/main" id="{02F80F49-9D82-49F6-A39D-67CBE7F940E1}"/>
                      </a:ext>
                    </a:extLst>
                  </p:cNvPr>
                  <p:cNvSpPr/>
                  <p:nvPr/>
                </p:nvSpPr>
                <p:spPr>
                  <a:xfrm>
                    <a:off x="7025653" y="359402"/>
                    <a:ext cx="126122" cy="22931"/>
                  </a:xfrm>
                  <a:custGeom>
                    <a:avLst/>
                    <a:gdLst>
                      <a:gd name="connsiteX0" fmla="*/ 114657 w 126122"/>
                      <a:gd name="connsiteY0" fmla="*/ 22931 h 22931"/>
                      <a:gd name="connsiteX1" fmla="*/ 11466 w 126122"/>
                      <a:gd name="connsiteY1" fmla="*/ 22931 h 22931"/>
                      <a:gd name="connsiteX2" fmla="*/ 0 w 126122"/>
                      <a:gd name="connsiteY2" fmla="*/ 11466 h 22931"/>
                      <a:gd name="connsiteX3" fmla="*/ 11466 w 126122"/>
                      <a:gd name="connsiteY3" fmla="*/ 0 h 22931"/>
                      <a:gd name="connsiteX4" fmla="*/ 114657 w 126122"/>
                      <a:gd name="connsiteY4" fmla="*/ 0 h 22931"/>
                      <a:gd name="connsiteX5" fmla="*/ 126122 w 126122"/>
                      <a:gd name="connsiteY5" fmla="*/ 11466 h 22931"/>
                      <a:gd name="connsiteX6" fmla="*/ 114657 w 126122"/>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122" h="22931">
                        <a:moveTo>
                          <a:pt x="114657" y="22931"/>
                        </a:moveTo>
                        <a:lnTo>
                          <a:pt x="11466" y="22931"/>
                        </a:lnTo>
                        <a:cubicBezTo>
                          <a:pt x="5125" y="22931"/>
                          <a:pt x="0" y="17795"/>
                          <a:pt x="0" y="11466"/>
                        </a:cubicBezTo>
                        <a:cubicBezTo>
                          <a:pt x="0" y="5137"/>
                          <a:pt x="5125" y="0"/>
                          <a:pt x="11466" y="0"/>
                        </a:cubicBezTo>
                        <a:lnTo>
                          <a:pt x="114657" y="0"/>
                        </a:lnTo>
                        <a:cubicBezTo>
                          <a:pt x="120997" y="0"/>
                          <a:pt x="126122" y="5137"/>
                          <a:pt x="126122" y="11466"/>
                        </a:cubicBezTo>
                        <a:cubicBezTo>
                          <a:pt x="126122" y="17795"/>
                          <a:pt x="120997" y="22931"/>
                          <a:pt x="114657" y="22931"/>
                        </a:cubicBezTo>
                        <a:close/>
                      </a:path>
                    </a:pathLst>
                  </a:custGeom>
                  <a:grpFill/>
                  <a:ln w="1145" cap="flat">
                    <a:noFill/>
                    <a:prstDash val="solid"/>
                    <a:miter/>
                  </a:ln>
                </p:spPr>
                <p:txBody>
                  <a:bodyPr rtlCol="0" anchor="ctr"/>
                  <a:lstStyle/>
                  <a:p>
                    <a:endParaRPr lang="en-GB" dirty="0"/>
                  </a:p>
                </p:txBody>
              </p:sp>
              <p:sp>
                <p:nvSpPr>
                  <p:cNvPr id="858" name="Freeform: Shape 857">
                    <a:extLst>
                      <a:ext uri="{FF2B5EF4-FFF2-40B4-BE49-F238E27FC236}">
                        <a16:creationId xmlns:a16="http://schemas.microsoft.com/office/drawing/2014/main" id="{C8BFB447-27E7-47F5-9E88-4BD33F0C0AA2}"/>
                      </a:ext>
                    </a:extLst>
                  </p:cNvPr>
                  <p:cNvSpPr/>
                  <p:nvPr/>
                </p:nvSpPr>
                <p:spPr>
                  <a:xfrm>
                    <a:off x="7128844" y="313540"/>
                    <a:ext cx="114656" cy="114656"/>
                  </a:xfrm>
                  <a:custGeom>
                    <a:avLst/>
                    <a:gdLst>
                      <a:gd name="connsiteX0" fmla="*/ 57328 w 114656"/>
                      <a:gd name="connsiteY0" fmla="*/ 114657 h 114656"/>
                      <a:gd name="connsiteX1" fmla="*/ 0 w 114656"/>
                      <a:gd name="connsiteY1" fmla="*/ 57328 h 114656"/>
                      <a:gd name="connsiteX2" fmla="*/ 57328 w 114656"/>
                      <a:gd name="connsiteY2" fmla="*/ 0 h 114656"/>
                      <a:gd name="connsiteX3" fmla="*/ 114657 w 114656"/>
                      <a:gd name="connsiteY3" fmla="*/ 57328 h 114656"/>
                      <a:gd name="connsiteX4" fmla="*/ 57328 w 114656"/>
                      <a:gd name="connsiteY4" fmla="*/ 114657 h 114656"/>
                      <a:gd name="connsiteX5" fmla="*/ 57328 w 114656"/>
                      <a:gd name="connsiteY5" fmla="*/ 22931 h 114656"/>
                      <a:gd name="connsiteX6" fmla="*/ 22931 w 114656"/>
                      <a:gd name="connsiteY6" fmla="*/ 57328 h 114656"/>
                      <a:gd name="connsiteX7" fmla="*/ 57328 w 114656"/>
                      <a:gd name="connsiteY7" fmla="*/ 91725 h 114656"/>
                      <a:gd name="connsiteX8" fmla="*/ 91725 w 114656"/>
                      <a:gd name="connsiteY8" fmla="*/ 57328 h 114656"/>
                      <a:gd name="connsiteX9" fmla="*/ 57328 w 114656"/>
                      <a:gd name="connsiteY9" fmla="*/ 22931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656" h="114656">
                        <a:moveTo>
                          <a:pt x="57328" y="114657"/>
                        </a:moveTo>
                        <a:cubicBezTo>
                          <a:pt x="25718" y="114657"/>
                          <a:pt x="0" y="88939"/>
                          <a:pt x="0" y="57328"/>
                        </a:cubicBezTo>
                        <a:cubicBezTo>
                          <a:pt x="0" y="25718"/>
                          <a:pt x="25718" y="0"/>
                          <a:pt x="57328" y="0"/>
                        </a:cubicBezTo>
                        <a:cubicBezTo>
                          <a:pt x="88939" y="0"/>
                          <a:pt x="114657" y="25718"/>
                          <a:pt x="114657" y="57328"/>
                        </a:cubicBezTo>
                        <a:cubicBezTo>
                          <a:pt x="114657" y="88939"/>
                          <a:pt x="88939" y="114657"/>
                          <a:pt x="57328" y="114657"/>
                        </a:cubicBezTo>
                        <a:close/>
                        <a:moveTo>
                          <a:pt x="57328" y="22931"/>
                        </a:moveTo>
                        <a:cubicBezTo>
                          <a:pt x="38364" y="22931"/>
                          <a:pt x="22931" y="38364"/>
                          <a:pt x="22931" y="57328"/>
                        </a:cubicBezTo>
                        <a:cubicBezTo>
                          <a:pt x="22931" y="76293"/>
                          <a:pt x="38364" y="91725"/>
                          <a:pt x="57328" y="91725"/>
                        </a:cubicBezTo>
                        <a:cubicBezTo>
                          <a:pt x="76293" y="91725"/>
                          <a:pt x="91725" y="76293"/>
                          <a:pt x="91725" y="57328"/>
                        </a:cubicBezTo>
                        <a:cubicBezTo>
                          <a:pt x="91725" y="38364"/>
                          <a:pt x="76293" y="22931"/>
                          <a:pt x="57328" y="22931"/>
                        </a:cubicBezTo>
                        <a:close/>
                      </a:path>
                    </a:pathLst>
                  </a:custGeom>
                  <a:grpFill/>
                  <a:ln w="1145" cap="flat">
                    <a:noFill/>
                    <a:prstDash val="solid"/>
                    <a:miter/>
                  </a:ln>
                </p:spPr>
                <p:txBody>
                  <a:bodyPr rtlCol="0" anchor="ctr"/>
                  <a:lstStyle/>
                  <a:p>
                    <a:endParaRPr lang="en-GB" dirty="0"/>
                  </a:p>
                </p:txBody>
              </p:sp>
            </p:grpSp>
            <p:sp>
              <p:nvSpPr>
                <p:cNvPr id="853" name="Freeform: Shape 852">
                  <a:extLst>
                    <a:ext uri="{FF2B5EF4-FFF2-40B4-BE49-F238E27FC236}">
                      <a16:creationId xmlns:a16="http://schemas.microsoft.com/office/drawing/2014/main" id="{96EADAAE-AB57-44BD-988A-02F7B20C5655}"/>
                    </a:ext>
                  </a:extLst>
                </p:cNvPr>
                <p:cNvSpPr/>
                <p:nvPr/>
              </p:nvSpPr>
              <p:spPr>
                <a:xfrm>
                  <a:off x="6983404" y="648979"/>
                  <a:ext cx="114582" cy="114645"/>
                </a:xfrm>
                <a:custGeom>
                  <a:avLst/>
                  <a:gdLst>
                    <a:gd name="connsiteX0" fmla="*/ 57291 w 114582"/>
                    <a:gd name="connsiteY0" fmla="*/ 114645 h 114645"/>
                    <a:gd name="connsiteX1" fmla="*/ 16760 w 114582"/>
                    <a:gd name="connsiteY1" fmla="*/ 97859 h 114645"/>
                    <a:gd name="connsiteX2" fmla="*/ 16760 w 114582"/>
                    <a:gd name="connsiteY2" fmla="*/ 16786 h 114645"/>
                    <a:gd name="connsiteX3" fmla="*/ 16760 w 114582"/>
                    <a:gd name="connsiteY3" fmla="*/ 16786 h 114645"/>
                    <a:gd name="connsiteX4" fmla="*/ 16760 w 114582"/>
                    <a:gd name="connsiteY4" fmla="*/ 16786 h 114645"/>
                    <a:gd name="connsiteX5" fmla="*/ 57291 w 114582"/>
                    <a:gd name="connsiteY5" fmla="*/ 0 h 114645"/>
                    <a:gd name="connsiteX6" fmla="*/ 97823 w 114582"/>
                    <a:gd name="connsiteY6" fmla="*/ 16786 h 114645"/>
                    <a:gd name="connsiteX7" fmla="*/ 97823 w 114582"/>
                    <a:gd name="connsiteY7" fmla="*/ 97859 h 114645"/>
                    <a:gd name="connsiteX8" fmla="*/ 57291 w 114582"/>
                    <a:gd name="connsiteY8" fmla="*/ 114645 h 114645"/>
                    <a:gd name="connsiteX9" fmla="*/ 57291 w 114582"/>
                    <a:gd name="connsiteY9" fmla="*/ 22920 h 114645"/>
                    <a:gd name="connsiteX10" fmla="*/ 32973 w 114582"/>
                    <a:gd name="connsiteY10" fmla="*/ 32987 h 114645"/>
                    <a:gd name="connsiteX11" fmla="*/ 32973 w 114582"/>
                    <a:gd name="connsiteY11" fmla="*/ 32987 h 114645"/>
                    <a:gd name="connsiteX12" fmla="*/ 32973 w 114582"/>
                    <a:gd name="connsiteY12" fmla="*/ 81636 h 114645"/>
                    <a:gd name="connsiteX13" fmla="*/ 81610 w 114582"/>
                    <a:gd name="connsiteY13" fmla="*/ 81636 h 114645"/>
                    <a:gd name="connsiteX14" fmla="*/ 81610 w 114582"/>
                    <a:gd name="connsiteY14" fmla="*/ 32987 h 114645"/>
                    <a:gd name="connsiteX15" fmla="*/ 57291 w 114582"/>
                    <a:gd name="connsiteY15" fmla="*/ 22920 h 114645"/>
                    <a:gd name="connsiteX16" fmla="*/ 24855 w 114582"/>
                    <a:gd name="connsiteY16" fmla="*/ 24880 h 114645"/>
                    <a:gd name="connsiteX17" fmla="*/ 24970 w 114582"/>
                    <a:gd name="connsiteY17" fmla="*/ 24880 h 114645"/>
                    <a:gd name="connsiteX18" fmla="*/ 24855 w 114582"/>
                    <a:gd name="connsiteY18" fmla="*/ 24880 h 11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4582" h="114645">
                      <a:moveTo>
                        <a:pt x="57291" y="114645"/>
                      </a:moveTo>
                      <a:cubicBezTo>
                        <a:pt x="41973" y="114645"/>
                        <a:pt x="27584" y="108683"/>
                        <a:pt x="16760" y="97859"/>
                      </a:cubicBezTo>
                      <a:cubicBezTo>
                        <a:pt x="-5587" y="75501"/>
                        <a:pt x="-5587" y="39132"/>
                        <a:pt x="16760" y="16786"/>
                      </a:cubicBezTo>
                      <a:lnTo>
                        <a:pt x="16760" y="16786"/>
                      </a:lnTo>
                      <a:lnTo>
                        <a:pt x="16760" y="16786"/>
                      </a:lnTo>
                      <a:cubicBezTo>
                        <a:pt x="27584" y="5962"/>
                        <a:pt x="41973" y="0"/>
                        <a:pt x="57291" y="0"/>
                      </a:cubicBezTo>
                      <a:cubicBezTo>
                        <a:pt x="72609" y="0"/>
                        <a:pt x="86999" y="5962"/>
                        <a:pt x="97823" y="16786"/>
                      </a:cubicBezTo>
                      <a:cubicBezTo>
                        <a:pt x="120169" y="39144"/>
                        <a:pt x="120169" y="75513"/>
                        <a:pt x="97823" y="97859"/>
                      </a:cubicBezTo>
                      <a:cubicBezTo>
                        <a:pt x="86987" y="108683"/>
                        <a:pt x="72598" y="114645"/>
                        <a:pt x="57291" y="114645"/>
                      </a:cubicBezTo>
                      <a:close/>
                      <a:moveTo>
                        <a:pt x="57291" y="22920"/>
                      </a:moveTo>
                      <a:cubicBezTo>
                        <a:pt x="48096" y="22920"/>
                        <a:pt x="39462" y="26497"/>
                        <a:pt x="32973" y="32987"/>
                      </a:cubicBezTo>
                      <a:lnTo>
                        <a:pt x="32973" y="32987"/>
                      </a:lnTo>
                      <a:cubicBezTo>
                        <a:pt x="19558" y="46402"/>
                        <a:pt x="19558" y="68221"/>
                        <a:pt x="32973" y="81636"/>
                      </a:cubicBezTo>
                      <a:cubicBezTo>
                        <a:pt x="45963" y="94626"/>
                        <a:pt x="68619" y="94626"/>
                        <a:pt x="81610" y="81636"/>
                      </a:cubicBezTo>
                      <a:cubicBezTo>
                        <a:pt x="95025" y="68221"/>
                        <a:pt x="95025" y="46402"/>
                        <a:pt x="81610" y="32987"/>
                      </a:cubicBezTo>
                      <a:cubicBezTo>
                        <a:pt x="75109" y="26497"/>
                        <a:pt x="66475" y="22920"/>
                        <a:pt x="57291" y="22920"/>
                      </a:cubicBezTo>
                      <a:close/>
                      <a:moveTo>
                        <a:pt x="24855" y="24880"/>
                      </a:moveTo>
                      <a:lnTo>
                        <a:pt x="24970" y="24880"/>
                      </a:lnTo>
                      <a:lnTo>
                        <a:pt x="24855" y="24880"/>
                      </a:lnTo>
                      <a:close/>
                    </a:path>
                  </a:pathLst>
                </a:custGeom>
                <a:grpFill/>
                <a:ln w="1145" cap="flat">
                  <a:noFill/>
                  <a:prstDash val="solid"/>
                  <a:miter/>
                </a:ln>
              </p:spPr>
              <p:txBody>
                <a:bodyPr rtlCol="0" anchor="ctr"/>
                <a:lstStyle/>
                <a:p>
                  <a:endParaRPr lang="en-GB" dirty="0"/>
                </a:p>
              </p:txBody>
            </p:sp>
            <p:grpSp>
              <p:nvGrpSpPr>
                <p:cNvPr id="854" name="Graphic 48">
                  <a:extLst>
                    <a:ext uri="{FF2B5EF4-FFF2-40B4-BE49-F238E27FC236}">
                      <a16:creationId xmlns:a16="http://schemas.microsoft.com/office/drawing/2014/main" id="{D1AF7627-13CC-4932-9602-3F37AE04D232}"/>
                    </a:ext>
                  </a:extLst>
                </p:cNvPr>
                <p:cNvGrpSpPr/>
                <p:nvPr/>
              </p:nvGrpSpPr>
              <p:grpSpPr>
                <a:xfrm>
                  <a:off x="6923830" y="343"/>
                  <a:ext cx="195872" cy="684982"/>
                  <a:chOff x="6923830" y="343"/>
                  <a:chExt cx="195872" cy="684982"/>
                </a:xfrm>
                <a:grpFill/>
              </p:grpSpPr>
              <p:sp>
                <p:nvSpPr>
                  <p:cNvPr id="855" name="Freeform: Shape 854">
                    <a:extLst>
                      <a:ext uri="{FF2B5EF4-FFF2-40B4-BE49-F238E27FC236}">
                        <a16:creationId xmlns:a16="http://schemas.microsoft.com/office/drawing/2014/main" id="{B111744A-6352-4C31-9843-C7EDBC65E6D5}"/>
                      </a:ext>
                    </a:extLst>
                  </p:cNvPr>
                  <p:cNvSpPr/>
                  <p:nvPr/>
                </p:nvSpPr>
                <p:spPr>
                  <a:xfrm>
                    <a:off x="6923830" y="78628"/>
                    <a:ext cx="124764" cy="606697"/>
                  </a:xfrm>
                  <a:custGeom>
                    <a:avLst/>
                    <a:gdLst>
                      <a:gd name="connsiteX0" fmla="*/ 84429 w 124764"/>
                      <a:gd name="connsiteY0" fmla="*/ 606697 h 606697"/>
                      <a:gd name="connsiteX1" fmla="*/ 76322 w 124764"/>
                      <a:gd name="connsiteY1" fmla="*/ 603338 h 606697"/>
                      <a:gd name="connsiteX2" fmla="*/ 3355 w 124764"/>
                      <a:gd name="connsiteY2" fmla="*/ 530370 h 606697"/>
                      <a:gd name="connsiteX3" fmla="*/ 523 w 124764"/>
                      <a:gd name="connsiteY3" fmla="*/ 518847 h 606697"/>
                      <a:gd name="connsiteX4" fmla="*/ 3986 w 124764"/>
                      <a:gd name="connsiteY4" fmla="*/ 513057 h 606697"/>
                      <a:gd name="connsiteX5" fmla="*/ 101822 w 124764"/>
                      <a:gd name="connsiteY5" fmla="*/ 292240 h 606697"/>
                      <a:gd name="connsiteX6" fmla="*/ 24555 w 124764"/>
                      <a:gd name="connsiteY6" fmla="*/ 91992 h 606697"/>
                      <a:gd name="connsiteX7" fmla="*/ 25220 w 124764"/>
                      <a:gd name="connsiteY7" fmla="*/ 75917 h 606697"/>
                      <a:gd name="connsiteX8" fmla="*/ 26642 w 124764"/>
                      <a:gd name="connsiteY8" fmla="*/ 74782 h 606697"/>
                      <a:gd name="connsiteX9" fmla="*/ 98062 w 124764"/>
                      <a:gd name="connsiteY9" fmla="*/ 3362 h 606697"/>
                      <a:gd name="connsiteX10" fmla="*/ 114274 w 124764"/>
                      <a:gd name="connsiteY10" fmla="*/ 3362 h 606697"/>
                      <a:gd name="connsiteX11" fmla="*/ 114274 w 124764"/>
                      <a:gd name="connsiteY11" fmla="*/ 19575 h 606697"/>
                      <a:gd name="connsiteX12" fmla="*/ 48885 w 124764"/>
                      <a:gd name="connsiteY12" fmla="*/ 84963 h 606697"/>
                      <a:gd name="connsiteX13" fmla="*/ 124765 w 124764"/>
                      <a:gd name="connsiteY13" fmla="*/ 292240 h 606697"/>
                      <a:gd name="connsiteX14" fmla="*/ 27674 w 124764"/>
                      <a:gd name="connsiteY14" fmla="*/ 522264 h 606697"/>
                      <a:gd name="connsiteX15" fmla="*/ 92547 w 124764"/>
                      <a:gd name="connsiteY15" fmla="*/ 587137 h 606697"/>
                      <a:gd name="connsiteX16" fmla="*/ 92547 w 124764"/>
                      <a:gd name="connsiteY16" fmla="*/ 603349 h 606697"/>
                      <a:gd name="connsiteX17" fmla="*/ 84429 w 124764"/>
                      <a:gd name="connsiteY17" fmla="*/ 606697 h 606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4764" h="606697">
                        <a:moveTo>
                          <a:pt x="84429" y="606697"/>
                        </a:moveTo>
                        <a:cubicBezTo>
                          <a:pt x="81494" y="606697"/>
                          <a:pt x="78558" y="605574"/>
                          <a:pt x="76322" y="603338"/>
                        </a:cubicBezTo>
                        <a:lnTo>
                          <a:pt x="3355" y="530370"/>
                        </a:lnTo>
                        <a:cubicBezTo>
                          <a:pt x="340" y="527355"/>
                          <a:pt x="-749" y="522918"/>
                          <a:pt x="523" y="518847"/>
                        </a:cubicBezTo>
                        <a:cubicBezTo>
                          <a:pt x="1131" y="516898"/>
                          <a:pt x="2472" y="514433"/>
                          <a:pt x="3986" y="513057"/>
                        </a:cubicBezTo>
                        <a:cubicBezTo>
                          <a:pt x="66164" y="456635"/>
                          <a:pt x="101822" y="376157"/>
                          <a:pt x="101822" y="292240"/>
                        </a:cubicBezTo>
                        <a:cubicBezTo>
                          <a:pt x="101822" y="218011"/>
                          <a:pt x="74374" y="146901"/>
                          <a:pt x="24555" y="91992"/>
                        </a:cubicBezTo>
                        <a:cubicBezTo>
                          <a:pt x="20347" y="87348"/>
                          <a:pt x="20634" y="80194"/>
                          <a:pt x="25220" y="75917"/>
                        </a:cubicBezTo>
                        <a:cubicBezTo>
                          <a:pt x="25667" y="75493"/>
                          <a:pt x="26138" y="75114"/>
                          <a:pt x="26642" y="74782"/>
                        </a:cubicBezTo>
                        <a:lnTo>
                          <a:pt x="98062" y="3362"/>
                        </a:lnTo>
                        <a:cubicBezTo>
                          <a:pt x="102545" y="-1121"/>
                          <a:pt x="109791" y="-1121"/>
                          <a:pt x="114274" y="3362"/>
                        </a:cubicBezTo>
                        <a:cubicBezTo>
                          <a:pt x="118757" y="7845"/>
                          <a:pt x="118757" y="15092"/>
                          <a:pt x="114274" y="19575"/>
                        </a:cubicBezTo>
                        <a:lnTo>
                          <a:pt x="48885" y="84963"/>
                        </a:lnTo>
                        <a:cubicBezTo>
                          <a:pt x="97889" y="142865"/>
                          <a:pt x="124765" y="216039"/>
                          <a:pt x="124765" y="292240"/>
                        </a:cubicBezTo>
                        <a:cubicBezTo>
                          <a:pt x="124765" y="378817"/>
                          <a:pt x="89520" y="462001"/>
                          <a:pt x="27674" y="522264"/>
                        </a:cubicBezTo>
                        <a:lnTo>
                          <a:pt x="92547" y="587137"/>
                        </a:lnTo>
                        <a:cubicBezTo>
                          <a:pt x="97030" y="591620"/>
                          <a:pt x="97030" y="598866"/>
                          <a:pt x="92547" y="603349"/>
                        </a:cubicBezTo>
                        <a:cubicBezTo>
                          <a:pt x="90300" y="605574"/>
                          <a:pt x="87364" y="606697"/>
                          <a:pt x="84429" y="606697"/>
                        </a:cubicBezTo>
                        <a:close/>
                      </a:path>
                    </a:pathLst>
                  </a:custGeom>
                  <a:grpFill/>
                  <a:ln w="1145" cap="flat">
                    <a:noFill/>
                    <a:prstDash val="solid"/>
                    <a:miter/>
                  </a:ln>
                </p:spPr>
                <p:txBody>
                  <a:bodyPr rtlCol="0" anchor="ctr"/>
                  <a:lstStyle/>
                  <a:p>
                    <a:endParaRPr lang="en-GB" dirty="0"/>
                  </a:p>
                </p:txBody>
              </p:sp>
              <p:sp>
                <p:nvSpPr>
                  <p:cNvPr id="856" name="Freeform: Shape 855">
                    <a:extLst>
                      <a:ext uri="{FF2B5EF4-FFF2-40B4-BE49-F238E27FC236}">
                        <a16:creationId xmlns:a16="http://schemas.microsoft.com/office/drawing/2014/main" id="{4867E456-E278-4007-B1D2-5CF9ACC45DAC}"/>
                      </a:ext>
                    </a:extLst>
                  </p:cNvPr>
                  <p:cNvSpPr/>
                  <p:nvPr/>
                </p:nvSpPr>
                <p:spPr>
                  <a:xfrm>
                    <a:off x="7005121" y="343"/>
                    <a:ext cx="114581" cy="114645"/>
                  </a:xfrm>
                  <a:custGeom>
                    <a:avLst/>
                    <a:gdLst>
                      <a:gd name="connsiteX0" fmla="*/ 57291 w 114581"/>
                      <a:gd name="connsiteY0" fmla="*/ 114645 h 114645"/>
                      <a:gd name="connsiteX1" fmla="*/ 16760 w 114581"/>
                      <a:gd name="connsiteY1" fmla="*/ 97860 h 114645"/>
                      <a:gd name="connsiteX2" fmla="*/ 16760 w 114581"/>
                      <a:gd name="connsiteY2" fmla="*/ 97860 h 114645"/>
                      <a:gd name="connsiteX3" fmla="*/ 16760 w 114581"/>
                      <a:gd name="connsiteY3" fmla="*/ 97860 h 114645"/>
                      <a:gd name="connsiteX4" fmla="*/ 16760 w 114581"/>
                      <a:gd name="connsiteY4" fmla="*/ 16786 h 114645"/>
                      <a:gd name="connsiteX5" fmla="*/ 57291 w 114581"/>
                      <a:gd name="connsiteY5" fmla="*/ 0 h 114645"/>
                      <a:gd name="connsiteX6" fmla="*/ 97822 w 114581"/>
                      <a:gd name="connsiteY6" fmla="*/ 16786 h 114645"/>
                      <a:gd name="connsiteX7" fmla="*/ 97822 w 114581"/>
                      <a:gd name="connsiteY7" fmla="*/ 97860 h 114645"/>
                      <a:gd name="connsiteX8" fmla="*/ 57291 w 114581"/>
                      <a:gd name="connsiteY8" fmla="*/ 114645 h 114645"/>
                      <a:gd name="connsiteX9" fmla="*/ 57291 w 114581"/>
                      <a:gd name="connsiteY9" fmla="*/ 22920 h 114645"/>
                      <a:gd name="connsiteX10" fmla="*/ 32972 w 114581"/>
                      <a:gd name="connsiteY10" fmla="*/ 32987 h 114645"/>
                      <a:gd name="connsiteX11" fmla="*/ 32972 w 114581"/>
                      <a:gd name="connsiteY11" fmla="*/ 81636 h 114645"/>
                      <a:gd name="connsiteX12" fmla="*/ 32972 w 114581"/>
                      <a:gd name="connsiteY12" fmla="*/ 81636 h 114645"/>
                      <a:gd name="connsiteX13" fmla="*/ 81610 w 114581"/>
                      <a:gd name="connsiteY13" fmla="*/ 81636 h 114645"/>
                      <a:gd name="connsiteX14" fmla="*/ 81610 w 114581"/>
                      <a:gd name="connsiteY14" fmla="*/ 32987 h 114645"/>
                      <a:gd name="connsiteX15" fmla="*/ 57291 w 114581"/>
                      <a:gd name="connsiteY15" fmla="*/ 22920 h 11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4581" h="114645">
                        <a:moveTo>
                          <a:pt x="57291" y="114645"/>
                        </a:moveTo>
                        <a:cubicBezTo>
                          <a:pt x="41973" y="114645"/>
                          <a:pt x="27583" y="108683"/>
                          <a:pt x="16760" y="97860"/>
                        </a:cubicBezTo>
                        <a:lnTo>
                          <a:pt x="16760" y="97860"/>
                        </a:lnTo>
                        <a:lnTo>
                          <a:pt x="16760" y="97860"/>
                        </a:lnTo>
                        <a:cubicBezTo>
                          <a:pt x="-5587" y="75501"/>
                          <a:pt x="-5587" y="39132"/>
                          <a:pt x="16760" y="16786"/>
                        </a:cubicBezTo>
                        <a:cubicBezTo>
                          <a:pt x="27583" y="5962"/>
                          <a:pt x="41973" y="0"/>
                          <a:pt x="57291" y="0"/>
                        </a:cubicBezTo>
                        <a:cubicBezTo>
                          <a:pt x="72609" y="0"/>
                          <a:pt x="86999" y="5962"/>
                          <a:pt x="97822" y="16786"/>
                        </a:cubicBezTo>
                        <a:cubicBezTo>
                          <a:pt x="120169" y="39144"/>
                          <a:pt x="120169" y="75513"/>
                          <a:pt x="97822" y="97860"/>
                        </a:cubicBezTo>
                        <a:cubicBezTo>
                          <a:pt x="86999" y="108683"/>
                          <a:pt x="72609" y="114645"/>
                          <a:pt x="57291" y="114645"/>
                        </a:cubicBezTo>
                        <a:close/>
                        <a:moveTo>
                          <a:pt x="57291" y="22920"/>
                        </a:moveTo>
                        <a:cubicBezTo>
                          <a:pt x="48095" y="22920"/>
                          <a:pt x="39462" y="26497"/>
                          <a:pt x="32972" y="32987"/>
                        </a:cubicBezTo>
                        <a:cubicBezTo>
                          <a:pt x="19557" y="46402"/>
                          <a:pt x="19557" y="68221"/>
                          <a:pt x="32972" y="81636"/>
                        </a:cubicBezTo>
                        <a:lnTo>
                          <a:pt x="32972" y="81636"/>
                        </a:lnTo>
                        <a:cubicBezTo>
                          <a:pt x="45963" y="94626"/>
                          <a:pt x="68619" y="94626"/>
                          <a:pt x="81610" y="81636"/>
                        </a:cubicBezTo>
                        <a:cubicBezTo>
                          <a:pt x="95025" y="68221"/>
                          <a:pt x="95025" y="46402"/>
                          <a:pt x="81610" y="32987"/>
                        </a:cubicBezTo>
                        <a:cubicBezTo>
                          <a:pt x="75120" y="26497"/>
                          <a:pt x="66486" y="22920"/>
                          <a:pt x="57291" y="22920"/>
                        </a:cubicBezTo>
                        <a:close/>
                      </a:path>
                    </a:pathLst>
                  </a:custGeom>
                  <a:grpFill/>
                  <a:ln w="1145" cap="flat">
                    <a:noFill/>
                    <a:prstDash val="solid"/>
                    <a:miter/>
                  </a:ln>
                </p:spPr>
                <p:txBody>
                  <a:bodyPr rtlCol="0" anchor="ctr"/>
                  <a:lstStyle/>
                  <a:p>
                    <a:endParaRPr lang="en-GB" dirty="0"/>
                  </a:p>
                </p:txBody>
              </p:sp>
            </p:grpSp>
          </p:grpSp>
        </p:grpSp>
        <p:grpSp>
          <p:nvGrpSpPr>
            <p:cNvPr id="810" name="Graphic 48">
              <a:extLst>
                <a:ext uri="{FF2B5EF4-FFF2-40B4-BE49-F238E27FC236}">
                  <a16:creationId xmlns:a16="http://schemas.microsoft.com/office/drawing/2014/main" id="{53C187C8-ADED-4E5A-BB32-F2FC412CDD10}"/>
                </a:ext>
              </a:extLst>
            </p:cNvPr>
            <p:cNvGrpSpPr/>
            <p:nvPr/>
          </p:nvGrpSpPr>
          <p:grpSpPr>
            <a:xfrm>
              <a:off x="6132933" y="4150747"/>
              <a:ext cx="247817" cy="247788"/>
              <a:chOff x="6475507" y="131511"/>
              <a:chExt cx="503126" cy="503067"/>
            </a:xfrm>
            <a:solidFill>
              <a:schemeClr val="accent1"/>
            </a:solidFill>
          </p:grpSpPr>
          <p:grpSp>
            <p:nvGrpSpPr>
              <p:cNvPr id="811" name="Graphic 48">
                <a:extLst>
                  <a:ext uri="{FF2B5EF4-FFF2-40B4-BE49-F238E27FC236}">
                    <a16:creationId xmlns:a16="http://schemas.microsoft.com/office/drawing/2014/main" id="{F20F4616-76FA-463B-8148-D1D2C56B2E95}"/>
                  </a:ext>
                </a:extLst>
              </p:cNvPr>
              <p:cNvGrpSpPr/>
              <p:nvPr/>
            </p:nvGrpSpPr>
            <p:grpSpPr>
              <a:xfrm>
                <a:off x="6475507" y="131511"/>
                <a:ext cx="503126" cy="503067"/>
                <a:chOff x="6475507" y="131511"/>
                <a:chExt cx="503126" cy="503067"/>
              </a:xfrm>
              <a:solidFill>
                <a:schemeClr val="accent1"/>
              </a:solidFill>
            </p:grpSpPr>
            <p:sp>
              <p:nvSpPr>
                <p:cNvPr id="815" name="Freeform: Shape 814">
                  <a:extLst>
                    <a:ext uri="{FF2B5EF4-FFF2-40B4-BE49-F238E27FC236}">
                      <a16:creationId xmlns:a16="http://schemas.microsoft.com/office/drawing/2014/main" id="{9F6F0544-F426-4160-A81C-8035AD971CE2}"/>
                    </a:ext>
                  </a:extLst>
                </p:cNvPr>
                <p:cNvSpPr/>
                <p:nvPr/>
              </p:nvSpPr>
              <p:spPr>
                <a:xfrm>
                  <a:off x="6573229" y="228923"/>
                  <a:ext cx="307669" cy="307669"/>
                </a:xfrm>
                <a:custGeom>
                  <a:avLst/>
                  <a:gdLst>
                    <a:gd name="connsiteX0" fmla="*/ 153835 w 307669"/>
                    <a:gd name="connsiteY0" fmla="*/ 307670 h 307669"/>
                    <a:gd name="connsiteX1" fmla="*/ 0 w 307669"/>
                    <a:gd name="connsiteY1" fmla="*/ 153835 h 307669"/>
                    <a:gd name="connsiteX2" fmla="*/ 153835 w 307669"/>
                    <a:gd name="connsiteY2" fmla="*/ 0 h 307669"/>
                    <a:gd name="connsiteX3" fmla="*/ 307670 w 307669"/>
                    <a:gd name="connsiteY3" fmla="*/ 153835 h 307669"/>
                    <a:gd name="connsiteX4" fmla="*/ 153835 w 307669"/>
                    <a:gd name="connsiteY4" fmla="*/ 307670 h 307669"/>
                    <a:gd name="connsiteX5" fmla="*/ 153835 w 307669"/>
                    <a:gd name="connsiteY5" fmla="*/ 22931 h 307669"/>
                    <a:gd name="connsiteX6" fmla="*/ 22931 w 307669"/>
                    <a:gd name="connsiteY6" fmla="*/ 153835 h 307669"/>
                    <a:gd name="connsiteX7" fmla="*/ 153835 w 307669"/>
                    <a:gd name="connsiteY7" fmla="*/ 284738 h 307669"/>
                    <a:gd name="connsiteX8" fmla="*/ 284739 w 307669"/>
                    <a:gd name="connsiteY8" fmla="*/ 153835 h 307669"/>
                    <a:gd name="connsiteX9" fmla="*/ 153835 w 307669"/>
                    <a:gd name="connsiteY9" fmla="*/ 22931 h 30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7669" h="307669">
                      <a:moveTo>
                        <a:pt x="153835" y="307670"/>
                      </a:moveTo>
                      <a:cubicBezTo>
                        <a:pt x="69012" y="307670"/>
                        <a:pt x="0" y="238658"/>
                        <a:pt x="0" y="153835"/>
                      </a:cubicBezTo>
                      <a:cubicBezTo>
                        <a:pt x="0" y="69012"/>
                        <a:pt x="69012" y="0"/>
                        <a:pt x="153835" y="0"/>
                      </a:cubicBezTo>
                      <a:cubicBezTo>
                        <a:pt x="238658" y="0"/>
                        <a:pt x="307670" y="69012"/>
                        <a:pt x="307670" y="153835"/>
                      </a:cubicBezTo>
                      <a:cubicBezTo>
                        <a:pt x="307670" y="238658"/>
                        <a:pt x="238658" y="307670"/>
                        <a:pt x="153835" y="307670"/>
                      </a:cubicBezTo>
                      <a:close/>
                      <a:moveTo>
                        <a:pt x="153835" y="22931"/>
                      </a:moveTo>
                      <a:cubicBezTo>
                        <a:pt x="81658" y="22931"/>
                        <a:pt x="22931" y="81659"/>
                        <a:pt x="22931" y="153835"/>
                      </a:cubicBezTo>
                      <a:cubicBezTo>
                        <a:pt x="22931" y="226011"/>
                        <a:pt x="81658" y="284738"/>
                        <a:pt x="153835" y="284738"/>
                      </a:cubicBezTo>
                      <a:cubicBezTo>
                        <a:pt x="226011" y="284738"/>
                        <a:pt x="284739" y="226011"/>
                        <a:pt x="284739" y="153835"/>
                      </a:cubicBezTo>
                      <a:cubicBezTo>
                        <a:pt x="284739" y="81659"/>
                        <a:pt x="226011" y="22931"/>
                        <a:pt x="153835" y="22931"/>
                      </a:cubicBezTo>
                      <a:close/>
                    </a:path>
                  </a:pathLst>
                </a:custGeom>
                <a:solidFill>
                  <a:schemeClr val="accent1"/>
                </a:solidFill>
                <a:ln w="1145" cap="flat">
                  <a:noFill/>
                  <a:prstDash val="solid"/>
                  <a:miter/>
                </a:ln>
              </p:spPr>
              <p:txBody>
                <a:bodyPr rtlCol="0" anchor="ctr"/>
                <a:lstStyle/>
                <a:p>
                  <a:endParaRPr lang="en-GB" dirty="0"/>
                </a:p>
              </p:txBody>
            </p:sp>
            <p:grpSp>
              <p:nvGrpSpPr>
                <p:cNvPr id="816" name="Graphic 48">
                  <a:extLst>
                    <a:ext uri="{FF2B5EF4-FFF2-40B4-BE49-F238E27FC236}">
                      <a16:creationId xmlns:a16="http://schemas.microsoft.com/office/drawing/2014/main" id="{E6AE49AF-45B9-4732-9D88-B53AC21AC1E0}"/>
                    </a:ext>
                  </a:extLst>
                </p:cNvPr>
                <p:cNvGrpSpPr/>
                <p:nvPr/>
              </p:nvGrpSpPr>
              <p:grpSpPr>
                <a:xfrm>
                  <a:off x="6475507" y="339154"/>
                  <a:ext cx="120355" cy="86588"/>
                  <a:chOff x="6475507" y="339154"/>
                  <a:chExt cx="120355" cy="86588"/>
                </a:xfrm>
                <a:solidFill>
                  <a:schemeClr val="accent1"/>
                </a:solidFill>
              </p:grpSpPr>
              <p:sp>
                <p:nvSpPr>
                  <p:cNvPr id="848" name="Freeform: Shape 847">
                    <a:extLst>
                      <a:ext uri="{FF2B5EF4-FFF2-40B4-BE49-F238E27FC236}">
                        <a16:creationId xmlns:a16="http://schemas.microsoft.com/office/drawing/2014/main" id="{410CDBCC-04A7-4340-87AE-1E6D4C5FE2B9}"/>
                      </a:ext>
                    </a:extLst>
                  </p:cNvPr>
                  <p:cNvSpPr/>
                  <p:nvPr/>
                </p:nvSpPr>
                <p:spPr>
                  <a:xfrm>
                    <a:off x="6475507" y="339154"/>
                    <a:ext cx="75375" cy="86588"/>
                  </a:xfrm>
                  <a:custGeom>
                    <a:avLst/>
                    <a:gdLst>
                      <a:gd name="connsiteX0" fmla="*/ 32230 w 75375"/>
                      <a:gd name="connsiteY0" fmla="*/ 86589 h 86588"/>
                      <a:gd name="connsiteX1" fmla="*/ 0 w 75375"/>
                      <a:gd name="connsiteY1" fmla="*/ 43432 h 86588"/>
                      <a:gd name="connsiteX2" fmla="*/ 31141 w 75375"/>
                      <a:gd name="connsiteY2" fmla="*/ 0 h 86588"/>
                      <a:gd name="connsiteX3" fmla="*/ 75375 w 75375"/>
                      <a:gd name="connsiteY3" fmla="*/ 43432 h 86588"/>
                      <a:gd name="connsiteX4" fmla="*/ 32230 w 75375"/>
                      <a:gd name="connsiteY4" fmla="*/ 86589 h 86588"/>
                      <a:gd name="connsiteX5" fmla="*/ 31141 w 75375"/>
                      <a:gd name="connsiteY5" fmla="*/ 22943 h 86588"/>
                      <a:gd name="connsiteX6" fmla="*/ 22931 w 75375"/>
                      <a:gd name="connsiteY6" fmla="*/ 43443 h 86588"/>
                      <a:gd name="connsiteX7" fmla="*/ 32230 w 75375"/>
                      <a:gd name="connsiteY7" fmla="*/ 63669 h 86588"/>
                      <a:gd name="connsiteX8" fmla="*/ 52455 w 75375"/>
                      <a:gd name="connsiteY8" fmla="*/ 43443 h 86588"/>
                      <a:gd name="connsiteX9" fmla="*/ 31141 w 75375"/>
                      <a:gd name="connsiteY9" fmla="*/ 22943 h 8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375" h="86588">
                        <a:moveTo>
                          <a:pt x="32230" y="86589"/>
                        </a:moveTo>
                        <a:cubicBezTo>
                          <a:pt x="13254" y="86589"/>
                          <a:pt x="0" y="68840"/>
                          <a:pt x="0" y="43432"/>
                        </a:cubicBezTo>
                        <a:cubicBezTo>
                          <a:pt x="0" y="17049"/>
                          <a:pt x="12223" y="0"/>
                          <a:pt x="31141" y="0"/>
                        </a:cubicBezTo>
                        <a:cubicBezTo>
                          <a:pt x="52639" y="0"/>
                          <a:pt x="75375" y="22324"/>
                          <a:pt x="75375" y="43432"/>
                        </a:cubicBezTo>
                        <a:cubicBezTo>
                          <a:pt x="75387" y="64804"/>
                          <a:pt x="53602" y="86589"/>
                          <a:pt x="32230" y="86589"/>
                        </a:cubicBezTo>
                        <a:close/>
                        <a:moveTo>
                          <a:pt x="31141" y="22943"/>
                        </a:moveTo>
                        <a:cubicBezTo>
                          <a:pt x="25121" y="22943"/>
                          <a:pt x="22931" y="35200"/>
                          <a:pt x="22931" y="43443"/>
                        </a:cubicBezTo>
                        <a:cubicBezTo>
                          <a:pt x="22931" y="51836"/>
                          <a:pt x="25821" y="63669"/>
                          <a:pt x="32230" y="63669"/>
                        </a:cubicBezTo>
                        <a:cubicBezTo>
                          <a:pt x="40210" y="63669"/>
                          <a:pt x="52455" y="52822"/>
                          <a:pt x="52455" y="43443"/>
                        </a:cubicBezTo>
                        <a:cubicBezTo>
                          <a:pt x="52455" y="34386"/>
                          <a:pt x="39235" y="22943"/>
                          <a:pt x="31141" y="22943"/>
                        </a:cubicBezTo>
                        <a:close/>
                      </a:path>
                    </a:pathLst>
                  </a:custGeom>
                  <a:solidFill>
                    <a:schemeClr val="accent1"/>
                  </a:solidFill>
                  <a:ln w="1145" cap="flat">
                    <a:noFill/>
                    <a:prstDash val="solid"/>
                    <a:miter/>
                  </a:ln>
                </p:spPr>
                <p:txBody>
                  <a:bodyPr rtlCol="0" anchor="ctr"/>
                  <a:lstStyle/>
                  <a:p>
                    <a:endParaRPr lang="en-GB" dirty="0"/>
                  </a:p>
                </p:txBody>
              </p:sp>
              <p:sp>
                <p:nvSpPr>
                  <p:cNvPr id="849" name="Freeform: Shape 848">
                    <a:extLst>
                      <a:ext uri="{FF2B5EF4-FFF2-40B4-BE49-F238E27FC236}">
                        <a16:creationId xmlns:a16="http://schemas.microsoft.com/office/drawing/2014/main" id="{10264668-AFD3-4992-B130-DCDE84060230}"/>
                      </a:ext>
                    </a:extLst>
                  </p:cNvPr>
                  <p:cNvSpPr/>
                  <p:nvPr/>
                </p:nvSpPr>
                <p:spPr>
                  <a:xfrm>
                    <a:off x="6527962" y="371143"/>
                    <a:ext cx="67899" cy="22931"/>
                  </a:xfrm>
                  <a:custGeom>
                    <a:avLst/>
                    <a:gdLst>
                      <a:gd name="connsiteX0" fmla="*/ 56434 w 67899"/>
                      <a:gd name="connsiteY0" fmla="*/ 22931 h 22931"/>
                      <a:gd name="connsiteX1" fmla="*/ 11466 w 67899"/>
                      <a:gd name="connsiteY1" fmla="*/ 22931 h 22931"/>
                      <a:gd name="connsiteX2" fmla="*/ 0 w 67899"/>
                      <a:gd name="connsiteY2" fmla="*/ 11466 h 22931"/>
                      <a:gd name="connsiteX3" fmla="*/ 11466 w 67899"/>
                      <a:gd name="connsiteY3" fmla="*/ 0 h 22931"/>
                      <a:gd name="connsiteX4" fmla="*/ 56434 w 67899"/>
                      <a:gd name="connsiteY4" fmla="*/ 0 h 22931"/>
                      <a:gd name="connsiteX5" fmla="*/ 67900 w 67899"/>
                      <a:gd name="connsiteY5" fmla="*/ 11466 h 22931"/>
                      <a:gd name="connsiteX6" fmla="*/ 56434 w 67899"/>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899" h="22931">
                        <a:moveTo>
                          <a:pt x="56434" y="22931"/>
                        </a:moveTo>
                        <a:lnTo>
                          <a:pt x="11466" y="22931"/>
                        </a:lnTo>
                        <a:cubicBezTo>
                          <a:pt x="5125" y="22931"/>
                          <a:pt x="0" y="17795"/>
                          <a:pt x="0" y="11466"/>
                        </a:cubicBezTo>
                        <a:cubicBezTo>
                          <a:pt x="0" y="5137"/>
                          <a:pt x="5125" y="0"/>
                          <a:pt x="11466" y="0"/>
                        </a:cubicBezTo>
                        <a:lnTo>
                          <a:pt x="56434" y="0"/>
                        </a:lnTo>
                        <a:cubicBezTo>
                          <a:pt x="62775" y="0"/>
                          <a:pt x="67900" y="5137"/>
                          <a:pt x="67900" y="11466"/>
                        </a:cubicBezTo>
                        <a:cubicBezTo>
                          <a:pt x="67900" y="17795"/>
                          <a:pt x="62763" y="22931"/>
                          <a:pt x="56434"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817" name="Graphic 48">
                  <a:extLst>
                    <a:ext uri="{FF2B5EF4-FFF2-40B4-BE49-F238E27FC236}">
                      <a16:creationId xmlns:a16="http://schemas.microsoft.com/office/drawing/2014/main" id="{35E1842E-9A24-4E15-A987-E40A50756A90}"/>
                    </a:ext>
                  </a:extLst>
                </p:cNvPr>
                <p:cNvGrpSpPr/>
                <p:nvPr/>
              </p:nvGrpSpPr>
              <p:grpSpPr>
                <a:xfrm>
                  <a:off x="6858277" y="339016"/>
                  <a:ext cx="120356" cy="86588"/>
                  <a:chOff x="6858277" y="339016"/>
                  <a:chExt cx="120356" cy="86588"/>
                </a:xfrm>
                <a:solidFill>
                  <a:schemeClr val="accent1"/>
                </a:solidFill>
              </p:grpSpPr>
              <p:sp>
                <p:nvSpPr>
                  <p:cNvPr id="846" name="Freeform: Shape 845">
                    <a:extLst>
                      <a:ext uri="{FF2B5EF4-FFF2-40B4-BE49-F238E27FC236}">
                        <a16:creationId xmlns:a16="http://schemas.microsoft.com/office/drawing/2014/main" id="{9B94CE8C-E4EC-4CC6-90AA-29B70F25CD89}"/>
                      </a:ext>
                    </a:extLst>
                  </p:cNvPr>
                  <p:cNvSpPr/>
                  <p:nvPr/>
                </p:nvSpPr>
                <p:spPr>
                  <a:xfrm>
                    <a:off x="6903233" y="339016"/>
                    <a:ext cx="75399" cy="86588"/>
                  </a:xfrm>
                  <a:custGeom>
                    <a:avLst/>
                    <a:gdLst>
                      <a:gd name="connsiteX0" fmla="*/ 43214 w 75399"/>
                      <a:gd name="connsiteY0" fmla="*/ 86589 h 86588"/>
                      <a:gd name="connsiteX1" fmla="*/ 0 w 75399"/>
                      <a:gd name="connsiteY1" fmla="*/ 43638 h 86588"/>
                      <a:gd name="connsiteX2" fmla="*/ 44051 w 75399"/>
                      <a:gd name="connsiteY2" fmla="*/ 0 h 86588"/>
                      <a:gd name="connsiteX3" fmla="*/ 44051 w 75399"/>
                      <a:gd name="connsiteY3" fmla="*/ 0 h 86588"/>
                      <a:gd name="connsiteX4" fmla="*/ 44200 w 75399"/>
                      <a:gd name="connsiteY4" fmla="*/ 0 h 86588"/>
                      <a:gd name="connsiteX5" fmla="*/ 75399 w 75399"/>
                      <a:gd name="connsiteY5" fmla="*/ 43271 h 86588"/>
                      <a:gd name="connsiteX6" fmla="*/ 43375 w 75399"/>
                      <a:gd name="connsiteY6" fmla="*/ 86577 h 86588"/>
                      <a:gd name="connsiteX7" fmla="*/ 43214 w 75399"/>
                      <a:gd name="connsiteY7" fmla="*/ 86589 h 86588"/>
                      <a:gd name="connsiteX8" fmla="*/ 44189 w 75399"/>
                      <a:gd name="connsiteY8" fmla="*/ 22931 h 86588"/>
                      <a:gd name="connsiteX9" fmla="*/ 44166 w 75399"/>
                      <a:gd name="connsiteY9" fmla="*/ 22931 h 86588"/>
                      <a:gd name="connsiteX10" fmla="*/ 22932 w 75399"/>
                      <a:gd name="connsiteY10" fmla="*/ 43535 h 86588"/>
                      <a:gd name="connsiteX11" fmla="*/ 43214 w 75399"/>
                      <a:gd name="connsiteY11" fmla="*/ 63657 h 86588"/>
                      <a:gd name="connsiteX12" fmla="*/ 43260 w 75399"/>
                      <a:gd name="connsiteY12" fmla="*/ 63657 h 86588"/>
                      <a:gd name="connsiteX13" fmla="*/ 52467 w 75399"/>
                      <a:gd name="connsiteY13" fmla="*/ 43386 h 86588"/>
                      <a:gd name="connsiteX14" fmla="*/ 44189 w 75399"/>
                      <a:gd name="connsiteY14" fmla="*/ 22931 h 86588"/>
                      <a:gd name="connsiteX15" fmla="*/ 44109 w 75399"/>
                      <a:gd name="connsiteY15" fmla="*/ 11466 h 86588"/>
                      <a:gd name="connsiteX16" fmla="*/ 44223 w 75399"/>
                      <a:gd name="connsiteY16" fmla="*/ 11466 h 86588"/>
                      <a:gd name="connsiteX17" fmla="*/ 44109 w 75399"/>
                      <a:gd name="connsiteY17" fmla="*/ 11466 h 86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399" h="86588">
                        <a:moveTo>
                          <a:pt x="43214" y="86589"/>
                        </a:moveTo>
                        <a:cubicBezTo>
                          <a:pt x="21900" y="86589"/>
                          <a:pt x="115" y="64976"/>
                          <a:pt x="0" y="43638"/>
                        </a:cubicBezTo>
                        <a:cubicBezTo>
                          <a:pt x="-92" y="22530"/>
                          <a:pt x="22553" y="103"/>
                          <a:pt x="44051" y="0"/>
                        </a:cubicBezTo>
                        <a:lnTo>
                          <a:pt x="44051" y="0"/>
                        </a:lnTo>
                        <a:cubicBezTo>
                          <a:pt x="44109" y="0"/>
                          <a:pt x="44155" y="0"/>
                          <a:pt x="44200" y="0"/>
                        </a:cubicBezTo>
                        <a:cubicBezTo>
                          <a:pt x="63027" y="0"/>
                          <a:pt x="75261" y="16958"/>
                          <a:pt x="75399" y="43271"/>
                        </a:cubicBezTo>
                        <a:cubicBezTo>
                          <a:pt x="75513" y="68691"/>
                          <a:pt x="62339" y="86497"/>
                          <a:pt x="43375" y="86577"/>
                        </a:cubicBezTo>
                        <a:cubicBezTo>
                          <a:pt x="43317" y="86589"/>
                          <a:pt x="43260" y="86589"/>
                          <a:pt x="43214" y="86589"/>
                        </a:cubicBezTo>
                        <a:close/>
                        <a:moveTo>
                          <a:pt x="44189" y="22931"/>
                        </a:moveTo>
                        <a:cubicBezTo>
                          <a:pt x="44177" y="22931"/>
                          <a:pt x="44166" y="22931"/>
                          <a:pt x="44166" y="22931"/>
                        </a:cubicBezTo>
                        <a:cubicBezTo>
                          <a:pt x="36060" y="22966"/>
                          <a:pt x="22897" y="34489"/>
                          <a:pt x="22932" y="43535"/>
                        </a:cubicBezTo>
                        <a:cubicBezTo>
                          <a:pt x="22978" y="52891"/>
                          <a:pt x="35223" y="63657"/>
                          <a:pt x="43214" y="63657"/>
                        </a:cubicBezTo>
                        <a:cubicBezTo>
                          <a:pt x="43226" y="63657"/>
                          <a:pt x="43249" y="63657"/>
                          <a:pt x="43260" y="63657"/>
                        </a:cubicBezTo>
                        <a:cubicBezTo>
                          <a:pt x="50037" y="63623"/>
                          <a:pt x="52502" y="51206"/>
                          <a:pt x="52467" y="43386"/>
                        </a:cubicBezTo>
                        <a:cubicBezTo>
                          <a:pt x="52422" y="35165"/>
                          <a:pt x="50174" y="22931"/>
                          <a:pt x="44189" y="22931"/>
                        </a:cubicBezTo>
                        <a:close/>
                        <a:moveTo>
                          <a:pt x="44109" y="11466"/>
                        </a:moveTo>
                        <a:lnTo>
                          <a:pt x="44223" y="11466"/>
                        </a:lnTo>
                        <a:lnTo>
                          <a:pt x="44109" y="11466"/>
                        </a:lnTo>
                        <a:close/>
                      </a:path>
                    </a:pathLst>
                  </a:custGeom>
                  <a:solidFill>
                    <a:schemeClr val="accent1"/>
                  </a:solidFill>
                  <a:ln w="1145" cap="flat">
                    <a:noFill/>
                    <a:prstDash val="solid"/>
                    <a:miter/>
                  </a:ln>
                </p:spPr>
                <p:txBody>
                  <a:bodyPr rtlCol="0" anchor="ctr"/>
                  <a:lstStyle/>
                  <a:p>
                    <a:endParaRPr lang="en-GB" dirty="0"/>
                  </a:p>
                </p:txBody>
              </p:sp>
              <p:sp>
                <p:nvSpPr>
                  <p:cNvPr id="847" name="Freeform: Shape 846">
                    <a:extLst>
                      <a:ext uri="{FF2B5EF4-FFF2-40B4-BE49-F238E27FC236}">
                        <a16:creationId xmlns:a16="http://schemas.microsoft.com/office/drawing/2014/main" id="{3C8C66D3-2942-462B-8D92-C5EC18D4EDE6}"/>
                      </a:ext>
                    </a:extLst>
                  </p:cNvPr>
                  <p:cNvSpPr/>
                  <p:nvPr/>
                </p:nvSpPr>
                <p:spPr>
                  <a:xfrm>
                    <a:off x="6858277" y="371155"/>
                    <a:ext cx="67888" cy="23149"/>
                  </a:xfrm>
                  <a:custGeom>
                    <a:avLst/>
                    <a:gdLst>
                      <a:gd name="connsiteX0" fmla="*/ 11466 w 67888"/>
                      <a:gd name="connsiteY0" fmla="*/ 23149 h 23149"/>
                      <a:gd name="connsiteX1" fmla="*/ 0 w 67888"/>
                      <a:gd name="connsiteY1" fmla="*/ 11741 h 23149"/>
                      <a:gd name="connsiteX2" fmla="*/ 11409 w 67888"/>
                      <a:gd name="connsiteY2" fmla="*/ 218 h 23149"/>
                      <a:gd name="connsiteX3" fmla="*/ 56366 w 67888"/>
                      <a:gd name="connsiteY3" fmla="*/ 0 h 23149"/>
                      <a:gd name="connsiteX4" fmla="*/ 56423 w 67888"/>
                      <a:gd name="connsiteY4" fmla="*/ 0 h 23149"/>
                      <a:gd name="connsiteX5" fmla="*/ 67888 w 67888"/>
                      <a:gd name="connsiteY5" fmla="*/ 11408 h 23149"/>
                      <a:gd name="connsiteX6" fmla="*/ 56480 w 67888"/>
                      <a:gd name="connsiteY6" fmla="*/ 22931 h 23149"/>
                      <a:gd name="connsiteX7" fmla="*/ 11523 w 67888"/>
                      <a:gd name="connsiteY7" fmla="*/ 23149 h 23149"/>
                      <a:gd name="connsiteX8" fmla="*/ 11466 w 67888"/>
                      <a:gd name="connsiteY8" fmla="*/ 23149 h 2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888" h="23149">
                        <a:moveTo>
                          <a:pt x="11466" y="23149"/>
                        </a:moveTo>
                        <a:cubicBezTo>
                          <a:pt x="5160" y="23149"/>
                          <a:pt x="34" y="18058"/>
                          <a:pt x="0" y="11741"/>
                        </a:cubicBezTo>
                        <a:cubicBezTo>
                          <a:pt x="-34" y="5412"/>
                          <a:pt x="5068" y="252"/>
                          <a:pt x="11409" y="218"/>
                        </a:cubicBezTo>
                        <a:lnTo>
                          <a:pt x="56366" y="0"/>
                        </a:lnTo>
                        <a:cubicBezTo>
                          <a:pt x="56389" y="0"/>
                          <a:pt x="56400" y="0"/>
                          <a:pt x="56423" y="0"/>
                        </a:cubicBezTo>
                        <a:cubicBezTo>
                          <a:pt x="62729" y="0"/>
                          <a:pt x="67854" y="5091"/>
                          <a:pt x="67888" y="11408"/>
                        </a:cubicBezTo>
                        <a:cubicBezTo>
                          <a:pt x="67923" y="17737"/>
                          <a:pt x="62821" y="22897"/>
                          <a:pt x="56480" y="22931"/>
                        </a:cubicBezTo>
                        <a:lnTo>
                          <a:pt x="11523" y="23149"/>
                        </a:lnTo>
                        <a:cubicBezTo>
                          <a:pt x="11500" y="23149"/>
                          <a:pt x="11489" y="23149"/>
                          <a:pt x="11466" y="23149"/>
                        </a:cubicBezTo>
                        <a:close/>
                      </a:path>
                    </a:pathLst>
                  </a:custGeom>
                  <a:solidFill>
                    <a:schemeClr val="accent1"/>
                  </a:solidFill>
                  <a:ln w="1145" cap="flat">
                    <a:noFill/>
                    <a:prstDash val="solid"/>
                    <a:miter/>
                  </a:ln>
                </p:spPr>
                <p:txBody>
                  <a:bodyPr rtlCol="0" anchor="ctr"/>
                  <a:lstStyle/>
                  <a:p>
                    <a:endParaRPr lang="en-GB" dirty="0"/>
                  </a:p>
                </p:txBody>
              </p:sp>
            </p:grpSp>
            <p:grpSp>
              <p:nvGrpSpPr>
                <p:cNvPr id="818" name="Graphic 48">
                  <a:extLst>
                    <a:ext uri="{FF2B5EF4-FFF2-40B4-BE49-F238E27FC236}">
                      <a16:creationId xmlns:a16="http://schemas.microsoft.com/office/drawing/2014/main" id="{A88D3347-E348-47C7-B721-518025606A0E}"/>
                    </a:ext>
                  </a:extLst>
                </p:cNvPr>
                <p:cNvGrpSpPr/>
                <p:nvPr/>
              </p:nvGrpSpPr>
              <p:grpSpPr>
                <a:xfrm>
                  <a:off x="6532449" y="131511"/>
                  <a:ext cx="389494" cy="162170"/>
                  <a:chOff x="6532449" y="131511"/>
                  <a:chExt cx="389494" cy="162170"/>
                </a:xfrm>
                <a:solidFill>
                  <a:schemeClr val="accent1"/>
                </a:solidFill>
              </p:grpSpPr>
              <p:grpSp>
                <p:nvGrpSpPr>
                  <p:cNvPr id="837" name="Graphic 48">
                    <a:extLst>
                      <a:ext uri="{FF2B5EF4-FFF2-40B4-BE49-F238E27FC236}">
                        <a16:creationId xmlns:a16="http://schemas.microsoft.com/office/drawing/2014/main" id="{E065EAB2-403D-4780-8046-CDC2AC99774B}"/>
                      </a:ext>
                    </a:extLst>
                  </p:cNvPr>
                  <p:cNvGrpSpPr/>
                  <p:nvPr/>
                </p:nvGrpSpPr>
                <p:grpSpPr>
                  <a:xfrm>
                    <a:off x="6683930" y="131511"/>
                    <a:ext cx="86588" cy="120343"/>
                    <a:chOff x="6683930" y="131511"/>
                    <a:chExt cx="86588" cy="120343"/>
                  </a:xfrm>
                  <a:solidFill>
                    <a:schemeClr val="accent1"/>
                  </a:solidFill>
                </p:grpSpPr>
                <p:sp>
                  <p:nvSpPr>
                    <p:cNvPr id="844" name="Freeform: Shape 843">
                      <a:extLst>
                        <a:ext uri="{FF2B5EF4-FFF2-40B4-BE49-F238E27FC236}">
                          <a16:creationId xmlns:a16="http://schemas.microsoft.com/office/drawing/2014/main" id="{674A7368-6258-4C83-8F7F-6E5F6D6C7DA4}"/>
                        </a:ext>
                      </a:extLst>
                    </p:cNvPr>
                    <p:cNvSpPr/>
                    <p:nvPr/>
                  </p:nvSpPr>
                  <p:spPr>
                    <a:xfrm>
                      <a:off x="6683930" y="131511"/>
                      <a:ext cx="86588" cy="75386"/>
                    </a:xfrm>
                    <a:custGeom>
                      <a:avLst/>
                      <a:gdLst>
                        <a:gd name="connsiteX0" fmla="*/ 43157 w 86588"/>
                        <a:gd name="connsiteY0" fmla="*/ 75387 h 75386"/>
                        <a:gd name="connsiteX1" fmla="*/ 0 w 86588"/>
                        <a:gd name="connsiteY1" fmla="*/ 32230 h 75386"/>
                        <a:gd name="connsiteX2" fmla="*/ 43157 w 86588"/>
                        <a:gd name="connsiteY2" fmla="*/ 0 h 75386"/>
                        <a:gd name="connsiteX3" fmla="*/ 86589 w 86588"/>
                        <a:gd name="connsiteY3" fmla="*/ 31129 h 75386"/>
                        <a:gd name="connsiteX4" fmla="*/ 43157 w 86588"/>
                        <a:gd name="connsiteY4" fmla="*/ 75387 h 75386"/>
                        <a:gd name="connsiteX5" fmla="*/ 43157 w 86588"/>
                        <a:gd name="connsiteY5" fmla="*/ 22943 h 75386"/>
                        <a:gd name="connsiteX6" fmla="*/ 22931 w 86588"/>
                        <a:gd name="connsiteY6" fmla="*/ 32241 h 75386"/>
                        <a:gd name="connsiteX7" fmla="*/ 43157 w 86588"/>
                        <a:gd name="connsiteY7" fmla="*/ 52467 h 75386"/>
                        <a:gd name="connsiteX8" fmla="*/ 63657 w 86588"/>
                        <a:gd name="connsiteY8" fmla="*/ 31152 h 75386"/>
                        <a:gd name="connsiteX9" fmla="*/ 43157 w 86588"/>
                        <a:gd name="connsiteY9" fmla="*/ 22943 h 7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88" h="75386">
                          <a:moveTo>
                            <a:pt x="43157" y="75387"/>
                          </a:moveTo>
                          <a:cubicBezTo>
                            <a:pt x="21785" y="75387"/>
                            <a:pt x="0" y="53613"/>
                            <a:pt x="0" y="32230"/>
                          </a:cubicBezTo>
                          <a:cubicBezTo>
                            <a:pt x="0" y="13254"/>
                            <a:pt x="17749" y="0"/>
                            <a:pt x="43157" y="0"/>
                          </a:cubicBezTo>
                          <a:cubicBezTo>
                            <a:pt x="69539" y="0"/>
                            <a:pt x="86589" y="12222"/>
                            <a:pt x="86589" y="31129"/>
                          </a:cubicBezTo>
                          <a:cubicBezTo>
                            <a:pt x="86589" y="52650"/>
                            <a:pt x="64265" y="75387"/>
                            <a:pt x="43157" y="75387"/>
                          </a:cubicBezTo>
                          <a:close/>
                          <a:moveTo>
                            <a:pt x="43157" y="22943"/>
                          </a:moveTo>
                          <a:cubicBezTo>
                            <a:pt x="35337" y="22943"/>
                            <a:pt x="22931" y="25465"/>
                            <a:pt x="22931" y="32241"/>
                          </a:cubicBezTo>
                          <a:cubicBezTo>
                            <a:pt x="22931" y="40222"/>
                            <a:pt x="33778" y="52467"/>
                            <a:pt x="43157" y="52467"/>
                          </a:cubicBezTo>
                          <a:cubicBezTo>
                            <a:pt x="52204" y="52467"/>
                            <a:pt x="63657" y="39247"/>
                            <a:pt x="63657" y="31152"/>
                          </a:cubicBezTo>
                          <a:cubicBezTo>
                            <a:pt x="63657" y="25121"/>
                            <a:pt x="51401" y="22943"/>
                            <a:pt x="43157" y="22943"/>
                          </a:cubicBezTo>
                          <a:close/>
                        </a:path>
                      </a:pathLst>
                    </a:custGeom>
                    <a:solidFill>
                      <a:schemeClr val="accent1"/>
                    </a:solidFill>
                    <a:ln w="1145" cap="flat">
                      <a:noFill/>
                      <a:prstDash val="solid"/>
                      <a:miter/>
                    </a:ln>
                  </p:spPr>
                  <p:txBody>
                    <a:bodyPr rtlCol="0" anchor="ctr"/>
                    <a:lstStyle/>
                    <a:p>
                      <a:endParaRPr lang="en-GB" dirty="0"/>
                    </a:p>
                  </p:txBody>
                </p:sp>
                <p:sp>
                  <p:nvSpPr>
                    <p:cNvPr id="845" name="Freeform: Shape 844">
                      <a:extLst>
                        <a:ext uri="{FF2B5EF4-FFF2-40B4-BE49-F238E27FC236}">
                          <a16:creationId xmlns:a16="http://schemas.microsoft.com/office/drawing/2014/main" id="{DD486651-8399-4911-B809-B0109201DE07}"/>
                        </a:ext>
                      </a:extLst>
                    </p:cNvPr>
                    <p:cNvSpPr/>
                    <p:nvPr/>
                  </p:nvSpPr>
                  <p:spPr>
                    <a:xfrm>
                      <a:off x="6715598" y="183966"/>
                      <a:ext cx="22931" cy="67888"/>
                    </a:xfrm>
                    <a:custGeom>
                      <a:avLst/>
                      <a:gdLst>
                        <a:gd name="connsiteX0" fmla="*/ 11466 w 22931"/>
                        <a:gd name="connsiteY0" fmla="*/ 67888 h 67888"/>
                        <a:gd name="connsiteX1" fmla="*/ 0 w 22931"/>
                        <a:gd name="connsiteY1" fmla="*/ 56423 h 67888"/>
                        <a:gd name="connsiteX2" fmla="*/ 0 w 22931"/>
                        <a:gd name="connsiteY2" fmla="*/ 11466 h 67888"/>
                        <a:gd name="connsiteX3" fmla="*/ 11466 w 22931"/>
                        <a:gd name="connsiteY3" fmla="*/ 0 h 67888"/>
                        <a:gd name="connsiteX4" fmla="*/ 22931 w 22931"/>
                        <a:gd name="connsiteY4" fmla="*/ 11466 h 67888"/>
                        <a:gd name="connsiteX5" fmla="*/ 22931 w 22931"/>
                        <a:gd name="connsiteY5" fmla="*/ 56423 h 67888"/>
                        <a:gd name="connsiteX6" fmla="*/ 11466 w 22931"/>
                        <a:gd name="connsiteY6" fmla="*/ 67888 h 6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7888">
                          <a:moveTo>
                            <a:pt x="11466" y="67888"/>
                          </a:moveTo>
                          <a:cubicBezTo>
                            <a:pt x="5125" y="67888"/>
                            <a:pt x="0" y="62752"/>
                            <a:pt x="0" y="56423"/>
                          </a:cubicBezTo>
                          <a:lnTo>
                            <a:pt x="0" y="11466"/>
                          </a:lnTo>
                          <a:cubicBezTo>
                            <a:pt x="0" y="5137"/>
                            <a:pt x="5125" y="0"/>
                            <a:pt x="11466" y="0"/>
                          </a:cubicBezTo>
                          <a:cubicBezTo>
                            <a:pt x="17806" y="0"/>
                            <a:pt x="22931" y="5137"/>
                            <a:pt x="22931" y="11466"/>
                          </a:cubicBezTo>
                          <a:lnTo>
                            <a:pt x="22931" y="56423"/>
                          </a:lnTo>
                          <a:cubicBezTo>
                            <a:pt x="22931" y="62763"/>
                            <a:pt x="17806" y="67888"/>
                            <a:pt x="11466" y="67888"/>
                          </a:cubicBezTo>
                          <a:close/>
                        </a:path>
                      </a:pathLst>
                    </a:custGeom>
                    <a:solidFill>
                      <a:schemeClr val="accent1"/>
                    </a:solidFill>
                    <a:ln w="1145" cap="flat">
                      <a:noFill/>
                      <a:prstDash val="solid"/>
                      <a:miter/>
                    </a:ln>
                  </p:spPr>
                  <p:txBody>
                    <a:bodyPr rtlCol="0" anchor="ctr"/>
                    <a:lstStyle/>
                    <a:p>
                      <a:endParaRPr lang="en-GB" dirty="0"/>
                    </a:p>
                  </p:txBody>
                </p:sp>
              </p:grpSp>
              <p:grpSp>
                <p:nvGrpSpPr>
                  <p:cNvPr id="838" name="Graphic 48">
                    <a:extLst>
                      <a:ext uri="{FF2B5EF4-FFF2-40B4-BE49-F238E27FC236}">
                        <a16:creationId xmlns:a16="http://schemas.microsoft.com/office/drawing/2014/main" id="{139A2C78-E1B6-40C1-8504-F671FF353720}"/>
                      </a:ext>
                    </a:extLst>
                  </p:cNvPr>
                  <p:cNvGrpSpPr/>
                  <p:nvPr/>
                </p:nvGrpSpPr>
                <p:grpSpPr>
                  <a:xfrm>
                    <a:off x="6816699" y="189185"/>
                    <a:ext cx="105243" cy="104495"/>
                    <a:chOff x="6816699" y="189185"/>
                    <a:chExt cx="105243" cy="104495"/>
                  </a:xfrm>
                  <a:solidFill>
                    <a:schemeClr val="accent1"/>
                  </a:solidFill>
                </p:grpSpPr>
                <p:sp>
                  <p:nvSpPr>
                    <p:cNvPr id="842" name="Freeform: Shape 841">
                      <a:extLst>
                        <a:ext uri="{FF2B5EF4-FFF2-40B4-BE49-F238E27FC236}">
                          <a16:creationId xmlns:a16="http://schemas.microsoft.com/office/drawing/2014/main" id="{D3883C9E-8D9E-41BC-93CE-FEC93F153ACF}"/>
                        </a:ext>
                      </a:extLst>
                    </p:cNvPr>
                    <p:cNvSpPr/>
                    <p:nvPr/>
                  </p:nvSpPr>
                  <p:spPr>
                    <a:xfrm>
                      <a:off x="6840595" y="189185"/>
                      <a:ext cx="81348" cy="80360"/>
                    </a:xfrm>
                    <a:custGeom>
                      <a:avLst/>
                      <a:gdLst>
                        <a:gd name="connsiteX0" fmla="*/ 41371 w 81348"/>
                        <a:gd name="connsiteY0" fmla="*/ 80361 h 80360"/>
                        <a:gd name="connsiteX1" fmla="*/ 11284 w 81348"/>
                        <a:gd name="connsiteY1" fmla="*/ 69365 h 80360"/>
                        <a:gd name="connsiteX2" fmla="*/ 2 w 81348"/>
                        <a:gd name="connsiteY2" fmla="*/ 38499 h 80360"/>
                        <a:gd name="connsiteX3" fmla="*/ 11284 w 81348"/>
                        <a:gd name="connsiteY3" fmla="*/ 8333 h 80360"/>
                        <a:gd name="connsiteX4" fmla="*/ 40774 w 81348"/>
                        <a:gd name="connsiteY4" fmla="*/ 1339 h 80360"/>
                        <a:gd name="connsiteX5" fmla="*/ 64577 w 81348"/>
                        <a:gd name="connsiteY5" fmla="*/ 16061 h 80360"/>
                        <a:gd name="connsiteX6" fmla="*/ 79643 w 81348"/>
                        <a:gd name="connsiteY6" fmla="*/ 39142 h 80360"/>
                        <a:gd name="connsiteX7" fmla="*/ 73257 w 81348"/>
                        <a:gd name="connsiteY7" fmla="*/ 68769 h 80360"/>
                        <a:gd name="connsiteX8" fmla="*/ 73257 w 81348"/>
                        <a:gd name="connsiteY8" fmla="*/ 68769 h 80360"/>
                        <a:gd name="connsiteX9" fmla="*/ 73257 w 81348"/>
                        <a:gd name="connsiteY9" fmla="*/ 68769 h 80360"/>
                        <a:gd name="connsiteX10" fmla="*/ 73257 w 81348"/>
                        <a:gd name="connsiteY10" fmla="*/ 68769 h 80360"/>
                        <a:gd name="connsiteX11" fmla="*/ 42792 w 81348"/>
                        <a:gd name="connsiteY11" fmla="*/ 80326 h 80360"/>
                        <a:gd name="connsiteX12" fmla="*/ 41371 w 81348"/>
                        <a:gd name="connsiteY12" fmla="*/ 80361 h 80360"/>
                        <a:gd name="connsiteX13" fmla="*/ 31464 w 81348"/>
                        <a:gd name="connsiteY13" fmla="*/ 22929 h 80360"/>
                        <a:gd name="connsiteX14" fmla="*/ 27497 w 81348"/>
                        <a:gd name="connsiteY14" fmla="*/ 24534 h 80360"/>
                        <a:gd name="connsiteX15" fmla="*/ 22934 w 81348"/>
                        <a:gd name="connsiteY15" fmla="*/ 38706 h 80360"/>
                        <a:gd name="connsiteX16" fmla="*/ 27497 w 81348"/>
                        <a:gd name="connsiteY16" fmla="*/ 53141 h 80360"/>
                        <a:gd name="connsiteX17" fmla="*/ 42219 w 81348"/>
                        <a:gd name="connsiteY17" fmla="*/ 57418 h 80360"/>
                        <a:gd name="connsiteX18" fmla="*/ 57055 w 81348"/>
                        <a:gd name="connsiteY18" fmla="*/ 52568 h 80360"/>
                        <a:gd name="connsiteX19" fmla="*/ 57055 w 81348"/>
                        <a:gd name="connsiteY19" fmla="*/ 52556 h 80360"/>
                        <a:gd name="connsiteX20" fmla="*/ 57823 w 81348"/>
                        <a:gd name="connsiteY20" fmla="*/ 46170 h 80360"/>
                        <a:gd name="connsiteX21" fmla="*/ 48364 w 81348"/>
                        <a:gd name="connsiteY21" fmla="*/ 32262 h 80360"/>
                        <a:gd name="connsiteX22" fmla="*/ 34605 w 81348"/>
                        <a:gd name="connsiteY22" fmla="*/ 23411 h 80360"/>
                        <a:gd name="connsiteX23" fmla="*/ 31464 w 81348"/>
                        <a:gd name="connsiteY23" fmla="*/ 22929 h 8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1348" h="80360">
                          <a:moveTo>
                            <a:pt x="41371" y="80361"/>
                          </a:moveTo>
                          <a:cubicBezTo>
                            <a:pt x="29205" y="80361"/>
                            <a:pt x="18302" y="76394"/>
                            <a:pt x="11284" y="69365"/>
                          </a:cubicBezTo>
                          <a:cubicBezTo>
                            <a:pt x="3992" y="62084"/>
                            <a:pt x="-112" y="50837"/>
                            <a:pt x="2" y="38499"/>
                          </a:cubicBezTo>
                          <a:cubicBezTo>
                            <a:pt x="128" y="26380"/>
                            <a:pt x="4233" y="15385"/>
                            <a:pt x="11284" y="8333"/>
                          </a:cubicBezTo>
                          <a:cubicBezTo>
                            <a:pt x="18955" y="663"/>
                            <a:pt x="29389" y="-1825"/>
                            <a:pt x="40774" y="1339"/>
                          </a:cubicBezTo>
                          <a:cubicBezTo>
                            <a:pt x="48903" y="3609"/>
                            <a:pt x="57354" y="8838"/>
                            <a:pt x="64577" y="16061"/>
                          </a:cubicBezTo>
                          <a:cubicBezTo>
                            <a:pt x="69713" y="21198"/>
                            <a:pt x="76501" y="29373"/>
                            <a:pt x="79643" y="39142"/>
                          </a:cubicBezTo>
                          <a:cubicBezTo>
                            <a:pt x="83300" y="50481"/>
                            <a:pt x="81030" y="61007"/>
                            <a:pt x="73257" y="68769"/>
                          </a:cubicBezTo>
                          <a:lnTo>
                            <a:pt x="73257" y="68769"/>
                          </a:lnTo>
                          <a:cubicBezTo>
                            <a:pt x="73257" y="68769"/>
                            <a:pt x="73257" y="68769"/>
                            <a:pt x="73257" y="68769"/>
                          </a:cubicBezTo>
                          <a:cubicBezTo>
                            <a:pt x="73257" y="68769"/>
                            <a:pt x="73257" y="68769"/>
                            <a:pt x="73257" y="68769"/>
                          </a:cubicBezTo>
                          <a:cubicBezTo>
                            <a:pt x="66228" y="75797"/>
                            <a:pt x="55118" y="80017"/>
                            <a:pt x="42792" y="80326"/>
                          </a:cubicBezTo>
                          <a:cubicBezTo>
                            <a:pt x="42334" y="80361"/>
                            <a:pt x="41852" y="80361"/>
                            <a:pt x="41371" y="80361"/>
                          </a:cubicBezTo>
                          <a:close/>
                          <a:moveTo>
                            <a:pt x="31464" y="22929"/>
                          </a:moveTo>
                          <a:cubicBezTo>
                            <a:pt x="29114" y="22929"/>
                            <a:pt x="28081" y="23961"/>
                            <a:pt x="27497" y="24534"/>
                          </a:cubicBezTo>
                          <a:cubicBezTo>
                            <a:pt x="24780" y="27263"/>
                            <a:pt x="22980" y="32824"/>
                            <a:pt x="22934" y="38706"/>
                          </a:cubicBezTo>
                          <a:cubicBezTo>
                            <a:pt x="22876" y="44737"/>
                            <a:pt x="24631" y="50275"/>
                            <a:pt x="27497" y="53141"/>
                          </a:cubicBezTo>
                          <a:cubicBezTo>
                            <a:pt x="30295" y="55939"/>
                            <a:pt x="35913" y="57452"/>
                            <a:pt x="42219" y="57418"/>
                          </a:cubicBezTo>
                          <a:cubicBezTo>
                            <a:pt x="49293" y="57234"/>
                            <a:pt x="54774" y="54849"/>
                            <a:pt x="57055" y="52568"/>
                          </a:cubicBezTo>
                          <a:cubicBezTo>
                            <a:pt x="57055" y="52568"/>
                            <a:pt x="57055" y="52568"/>
                            <a:pt x="57055" y="52556"/>
                          </a:cubicBezTo>
                          <a:cubicBezTo>
                            <a:pt x="57858" y="51765"/>
                            <a:pt x="59199" y="50412"/>
                            <a:pt x="57823" y="46170"/>
                          </a:cubicBezTo>
                          <a:cubicBezTo>
                            <a:pt x="56482" y="42008"/>
                            <a:pt x="53031" y="36929"/>
                            <a:pt x="48364" y="32262"/>
                          </a:cubicBezTo>
                          <a:cubicBezTo>
                            <a:pt x="43950" y="27848"/>
                            <a:pt x="38940" y="24615"/>
                            <a:pt x="34605" y="23411"/>
                          </a:cubicBezTo>
                          <a:cubicBezTo>
                            <a:pt x="33356" y="23078"/>
                            <a:pt x="32312" y="22929"/>
                            <a:pt x="31464" y="22929"/>
                          </a:cubicBezTo>
                          <a:close/>
                        </a:path>
                      </a:pathLst>
                    </a:custGeom>
                    <a:solidFill>
                      <a:schemeClr val="accent1"/>
                    </a:solidFill>
                    <a:ln w="1145" cap="flat">
                      <a:noFill/>
                      <a:prstDash val="solid"/>
                      <a:miter/>
                    </a:ln>
                  </p:spPr>
                  <p:txBody>
                    <a:bodyPr rtlCol="0" anchor="ctr"/>
                    <a:lstStyle/>
                    <a:p>
                      <a:endParaRPr lang="en-GB" dirty="0"/>
                    </a:p>
                  </p:txBody>
                </p:sp>
                <p:sp>
                  <p:nvSpPr>
                    <p:cNvPr id="843" name="Freeform: Shape 842">
                      <a:extLst>
                        <a:ext uri="{FF2B5EF4-FFF2-40B4-BE49-F238E27FC236}">
                          <a16:creationId xmlns:a16="http://schemas.microsoft.com/office/drawing/2014/main" id="{9B0996D7-10C5-4E74-ABE2-3DC50C983C11}"/>
                        </a:ext>
                      </a:extLst>
                    </p:cNvPr>
                    <p:cNvSpPr/>
                    <p:nvPr/>
                  </p:nvSpPr>
                  <p:spPr>
                    <a:xfrm>
                      <a:off x="6816699" y="238953"/>
                      <a:ext cx="54720" cy="54728"/>
                    </a:xfrm>
                    <a:custGeom>
                      <a:avLst/>
                      <a:gdLst>
                        <a:gd name="connsiteX0" fmla="*/ 11468 w 54720"/>
                        <a:gd name="connsiteY0" fmla="*/ 54729 h 54728"/>
                        <a:gd name="connsiteX1" fmla="*/ 3362 w 54720"/>
                        <a:gd name="connsiteY1" fmla="*/ 51369 h 54728"/>
                        <a:gd name="connsiteX2" fmla="*/ 3362 w 54720"/>
                        <a:gd name="connsiteY2" fmla="*/ 35157 h 54728"/>
                        <a:gd name="connsiteX3" fmla="*/ 35146 w 54720"/>
                        <a:gd name="connsiteY3" fmla="*/ 3362 h 54728"/>
                        <a:gd name="connsiteX4" fmla="*/ 51358 w 54720"/>
                        <a:gd name="connsiteY4" fmla="*/ 3362 h 54728"/>
                        <a:gd name="connsiteX5" fmla="*/ 51358 w 54720"/>
                        <a:gd name="connsiteY5" fmla="*/ 19575 h 54728"/>
                        <a:gd name="connsiteX6" fmla="*/ 19575 w 54720"/>
                        <a:gd name="connsiteY6" fmla="*/ 51369 h 54728"/>
                        <a:gd name="connsiteX7" fmla="*/ 11468 w 54720"/>
                        <a:gd name="connsiteY7" fmla="*/ 54729 h 5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20" h="54728">
                          <a:moveTo>
                            <a:pt x="11468" y="54729"/>
                          </a:moveTo>
                          <a:cubicBezTo>
                            <a:pt x="8534" y="54729"/>
                            <a:pt x="5598" y="53605"/>
                            <a:pt x="3362" y="51369"/>
                          </a:cubicBezTo>
                          <a:cubicBezTo>
                            <a:pt x="-1121" y="46897"/>
                            <a:pt x="-1121" y="39640"/>
                            <a:pt x="3362" y="35157"/>
                          </a:cubicBezTo>
                          <a:lnTo>
                            <a:pt x="35146" y="3362"/>
                          </a:lnTo>
                          <a:cubicBezTo>
                            <a:pt x="39628" y="-1121"/>
                            <a:pt x="46875" y="-1121"/>
                            <a:pt x="51358" y="3362"/>
                          </a:cubicBezTo>
                          <a:cubicBezTo>
                            <a:pt x="55841" y="7834"/>
                            <a:pt x="55841" y="15092"/>
                            <a:pt x="51358" y="19575"/>
                          </a:cubicBezTo>
                          <a:lnTo>
                            <a:pt x="19575" y="51369"/>
                          </a:lnTo>
                          <a:cubicBezTo>
                            <a:pt x="17339" y="53616"/>
                            <a:pt x="14404" y="54729"/>
                            <a:pt x="11468" y="54729"/>
                          </a:cubicBezTo>
                          <a:close/>
                        </a:path>
                      </a:pathLst>
                    </a:custGeom>
                    <a:solidFill>
                      <a:schemeClr val="accent1"/>
                    </a:solidFill>
                    <a:ln w="1145" cap="flat">
                      <a:noFill/>
                      <a:prstDash val="solid"/>
                      <a:miter/>
                    </a:ln>
                  </p:spPr>
                  <p:txBody>
                    <a:bodyPr rtlCol="0" anchor="ctr"/>
                    <a:lstStyle/>
                    <a:p>
                      <a:endParaRPr lang="en-GB" dirty="0"/>
                    </a:p>
                  </p:txBody>
                </p:sp>
              </p:grpSp>
              <p:grpSp>
                <p:nvGrpSpPr>
                  <p:cNvPr id="839" name="Graphic 48">
                    <a:extLst>
                      <a:ext uri="{FF2B5EF4-FFF2-40B4-BE49-F238E27FC236}">
                        <a16:creationId xmlns:a16="http://schemas.microsoft.com/office/drawing/2014/main" id="{4329344C-ED2A-4821-8398-C6A3794E1D4C}"/>
                      </a:ext>
                    </a:extLst>
                  </p:cNvPr>
                  <p:cNvGrpSpPr/>
                  <p:nvPr/>
                </p:nvGrpSpPr>
                <p:grpSpPr>
                  <a:xfrm>
                    <a:off x="6532449" y="188863"/>
                    <a:ext cx="105243" cy="104486"/>
                    <a:chOff x="6532449" y="188863"/>
                    <a:chExt cx="105243" cy="104486"/>
                  </a:xfrm>
                  <a:solidFill>
                    <a:schemeClr val="accent1"/>
                  </a:solidFill>
                </p:grpSpPr>
                <p:sp>
                  <p:nvSpPr>
                    <p:cNvPr id="840" name="Freeform: Shape 839">
                      <a:extLst>
                        <a:ext uri="{FF2B5EF4-FFF2-40B4-BE49-F238E27FC236}">
                          <a16:creationId xmlns:a16="http://schemas.microsoft.com/office/drawing/2014/main" id="{99A9ACD6-72E9-433D-9DBC-83937935DF03}"/>
                        </a:ext>
                      </a:extLst>
                    </p:cNvPr>
                    <p:cNvSpPr/>
                    <p:nvPr/>
                  </p:nvSpPr>
                  <p:spPr>
                    <a:xfrm>
                      <a:off x="6532449" y="188863"/>
                      <a:ext cx="81348" cy="80350"/>
                    </a:xfrm>
                    <a:custGeom>
                      <a:avLst/>
                      <a:gdLst>
                        <a:gd name="connsiteX0" fmla="*/ 39966 w 81348"/>
                        <a:gd name="connsiteY0" fmla="*/ 80351 h 80350"/>
                        <a:gd name="connsiteX1" fmla="*/ 39966 w 81348"/>
                        <a:gd name="connsiteY1" fmla="*/ 80351 h 80350"/>
                        <a:gd name="connsiteX2" fmla="*/ 8092 w 81348"/>
                        <a:gd name="connsiteY2" fmla="*/ 68771 h 80350"/>
                        <a:gd name="connsiteX3" fmla="*/ 8092 w 81348"/>
                        <a:gd name="connsiteY3" fmla="*/ 68771 h 80350"/>
                        <a:gd name="connsiteX4" fmla="*/ 8092 w 81348"/>
                        <a:gd name="connsiteY4" fmla="*/ 68771 h 80350"/>
                        <a:gd name="connsiteX5" fmla="*/ 8092 w 81348"/>
                        <a:gd name="connsiteY5" fmla="*/ 68771 h 80350"/>
                        <a:gd name="connsiteX6" fmla="*/ 1705 w 81348"/>
                        <a:gd name="connsiteY6" fmla="*/ 39143 h 80350"/>
                        <a:gd name="connsiteX7" fmla="*/ 16771 w 81348"/>
                        <a:gd name="connsiteY7" fmla="*/ 16063 h 80350"/>
                        <a:gd name="connsiteX8" fmla="*/ 40574 w 81348"/>
                        <a:gd name="connsiteY8" fmla="*/ 1341 h 80350"/>
                        <a:gd name="connsiteX9" fmla="*/ 70064 w 81348"/>
                        <a:gd name="connsiteY9" fmla="*/ 8346 h 80350"/>
                        <a:gd name="connsiteX10" fmla="*/ 81346 w 81348"/>
                        <a:gd name="connsiteY10" fmla="*/ 38501 h 80350"/>
                        <a:gd name="connsiteX11" fmla="*/ 70064 w 81348"/>
                        <a:gd name="connsiteY11" fmla="*/ 69367 h 80350"/>
                        <a:gd name="connsiteX12" fmla="*/ 39966 w 81348"/>
                        <a:gd name="connsiteY12" fmla="*/ 80351 h 80350"/>
                        <a:gd name="connsiteX13" fmla="*/ 49896 w 81348"/>
                        <a:gd name="connsiteY13" fmla="*/ 22919 h 80350"/>
                        <a:gd name="connsiteX14" fmla="*/ 46754 w 81348"/>
                        <a:gd name="connsiteY14" fmla="*/ 23401 h 80350"/>
                        <a:gd name="connsiteX15" fmla="*/ 32995 w 81348"/>
                        <a:gd name="connsiteY15" fmla="*/ 32252 h 80350"/>
                        <a:gd name="connsiteX16" fmla="*/ 23536 w 81348"/>
                        <a:gd name="connsiteY16" fmla="*/ 46160 h 80350"/>
                        <a:gd name="connsiteX17" fmla="*/ 24304 w 81348"/>
                        <a:gd name="connsiteY17" fmla="*/ 52547 h 80350"/>
                        <a:gd name="connsiteX18" fmla="*/ 24304 w 81348"/>
                        <a:gd name="connsiteY18" fmla="*/ 52558 h 80350"/>
                        <a:gd name="connsiteX19" fmla="*/ 39966 w 81348"/>
                        <a:gd name="connsiteY19" fmla="*/ 57420 h 80350"/>
                        <a:gd name="connsiteX20" fmla="*/ 53863 w 81348"/>
                        <a:gd name="connsiteY20" fmla="*/ 53131 h 80350"/>
                        <a:gd name="connsiteX21" fmla="*/ 58426 w 81348"/>
                        <a:gd name="connsiteY21" fmla="*/ 38685 h 80350"/>
                        <a:gd name="connsiteX22" fmla="*/ 53863 w 81348"/>
                        <a:gd name="connsiteY22" fmla="*/ 24525 h 80350"/>
                        <a:gd name="connsiteX23" fmla="*/ 49896 w 81348"/>
                        <a:gd name="connsiteY23" fmla="*/ 22919 h 8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1348" h="80350">
                          <a:moveTo>
                            <a:pt x="39966" y="80351"/>
                          </a:moveTo>
                          <a:lnTo>
                            <a:pt x="39966" y="80351"/>
                          </a:lnTo>
                          <a:cubicBezTo>
                            <a:pt x="27262" y="80351"/>
                            <a:pt x="15349" y="76017"/>
                            <a:pt x="8092" y="68771"/>
                          </a:cubicBezTo>
                          <a:lnTo>
                            <a:pt x="8092" y="68771"/>
                          </a:lnTo>
                          <a:cubicBezTo>
                            <a:pt x="8092" y="68771"/>
                            <a:pt x="8092" y="68771"/>
                            <a:pt x="8092" y="68771"/>
                          </a:cubicBezTo>
                          <a:cubicBezTo>
                            <a:pt x="8092" y="68771"/>
                            <a:pt x="8092" y="68771"/>
                            <a:pt x="8092" y="68771"/>
                          </a:cubicBezTo>
                          <a:cubicBezTo>
                            <a:pt x="318" y="60997"/>
                            <a:pt x="-1952" y="50471"/>
                            <a:pt x="1705" y="39143"/>
                          </a:cubicBezTo>
                          <a:cubicBezTo>
                            <a:pt x="4847" y="29363"/>
                            <a:pt x="11635" y="21199"/>
                            <a:pt x="16771" y="16063"/>
                          </a:cubicBezTo>
                          <a:cubicBezTo>
                            <a:pt x="23995" y="8839"/>
                            <a:pt x="32445" y="3611"/>
                            <a:pt x="40574" y="1341"/>
                          </a:cubicBezTo>
                          <a:cubicBezTo>
                            <a:pt x="51902" y="-1824"/>
                            <a:pt x="62393" y="653"/>
                            <a:pt x="70064" y="8346"/>
                          </a:cubicBezTo>
                          <a:cubicBezTo>
                            <a:pt x="77115" y="15386"/>
                            <a:pt x="81231" y="26393"/>
                            <a:pt x="81346" y="38501"/>
                          </a:cubicBezTo>
                          <a:cubicBezTo>
                            <a:pt x="81461" y="50838"/>
                            <a:pt x="77344" y="62086"/>
                            <a:pt x="70064" y="69367"/>
                          </a:cubicBezTo>
                          <a:cubicBezTo>
                            <a:pt x="63081" y="76338"/>
                            <a:pt x="52108" y="80351"/>
                            <a:pt x="39966" y="80351"/>
                          </a:cubicBezTo>
                          <a:close/>
                          <a:moveTo>
                            <a:pt x="49896" y="22919"/>
                          </a:moveTo>
                          <a:cubicBezTo>
                            <a:pt x="49047" y="22919"/>
                            <a:pt x="48004" y="23057"/>
                            <a:pt x="46754" y="23401"/>
                          </a:cubicBezTo>
                          <a:cubicBezTo>
                            <a:pt x="42420" y="24605"/>
                            <a:pt x="37409" y="27838"/>
                            <a:pt x="32995" y="32252"/>
                          </a:cubicBezTo>
                          <a:cubicBezTo>
                            <a:pt x="28329" y="36919"/>
                            <a:pt x="24877" y="41998"/>
                            <a:pt x="23536" y="46160"/>
                          </a:cubicBezTo>
                          <a:cubicBezTo>
                            <a:pt x="22171" y="50403"/>
                            <a:pt x="23502" y="51744"/>
                            <a:pt x="24304" y="52547"/>
                          </a:cubicBezTo>
                          <a:cubicBezTo>
                            <a:pt x="24304" y="52547"/>
                            <a:pt x="24304" y="52547"/>
                            <a:pt x="24304" y="52558"/>
                          </a:cubicBezTo>
                          <a:cubicBezTo>
                            <a:pt x="26735" y="54977"/>
                            <a:pt x="32513" y="57420"/>
                            <a:pt x="39966" y="57420"/>
                          </a:cubicBezTo>
                          <a:cubicBezTo>
                            <a:pt x="45894" y="57420"/>
                            <a:pt x="51214" y="55780"/>
                            <a:pt x="53863" y="53131"/>
                          </a:cubicBezTo>
                          <a:cubicBezTo>
                            <a:pt x="56729" y="50253"/>
                            <a:pt x="58483" y="44727"/>
                            <a:pt x="58426" y="38685"/>
                          </a:cubicBezTo>
                          <a:cubicBezTo>
                            <a:pt x="58369" y="32803"/>
                            <a:pt x="56580" y="27242"/>
                            <a:pt x="53863" y="24525"/>
                          </a:cubicBezTo>
                          <a:cubicBezTo>
                            <a:pt x="53278" y="23963"/>
                            <a:pt x="52246" y="22919"/>
                            <a:pt x="49896" y="22919"/>
                          </a:cubicBezTo>
                          <a:close/>
                        </a:path>
                      </a:pathLst>
                    </a:custGeom>
                    <a:solidFill>
                      <a:schemeClr val="accent1"/>
                    </a:solidFill>
                    <a:ln w="1145" cap="flat">
                      <a:noFill/>
                      <a:prstDash val="solid"/>
                      <a:miter/>
                    </a:ln>
                  </p:spPr>
                  <p:txBody>
                    <a:bodyPr rtlCol="0" anchor="ctr"/>
                    <a:lstStyle/>
                    <a:p>
                      <a:endParaRPr lang="en-GB" dirty="0"/>
                    </a:p>
                  </p:txBody>
                </p:sp>
                <p:sp>
                  <p:nvSpPr>
                    <p:cNvPr id="841" name="Freeform: Shape 840">
                      <a:extLst>
                        <a:ext uri="{FF2B5EF4-FFF2-40B4-BE49-F238E27FC236}">
                          <a16:creationId xmlns:a16="http://schemas.microsoft.com/office/drawing/2014/main" id="{177269AC-97A2-404A-BA2B-44EA4A1C9A9E}"/>
                        </a:ext>
                      </a:extLst>
                    </p:cNvPr>
                    <p:cNvSpPr/>
                    <p:nvPr/>
                  </p:nvSpPr>
                  <p:spPr>
                    <a:xfrm>
                      <a:off x="6582972" y="238620"/>
                      <a:ext cx="54719" cy="54728"/>
                    </a:xfrm>
                    <a:custGeom>
                      <a:avLst/>
                      <a:gdLst>
                        <a:gd name="connsiteX0" fmla="*/ 43251 w 54719"/>
                        <a:gd name="connsiteY0" fmla="*/ 54729 h 54728"/>
                        <a:gd name="connsiteX1" fmla="*/ 35145 w 54719"/>
                        <a:gd name="connsiteY1" fmla="*/ 51369 h 54728"/>
                        <a:gd name="connsiteX2" fmla="*/ 3362 w 54719"/>
                        <a:gd name="connsiteY2" fmla="*/ 19575 h 54728"/>
                        <a:gd name="connsiteX3" fmla="*/ 3362 w 54719"/>
                        <a:gd name="connsiteY3" fmla="*/ 3362 h 54728"/>
                        <a:gd name="connsiteX4" fmla="*/ 19575 w 54719"/>
                        <a:gd name="connsiteY4" fmla="*/ 3362 h 54728"/>
                        <a:gd name="connsiteX5" fmla="*/ 51358 w 54719"/>
                        <a:gd name="connsiteY5" fmla="*/ 35157 h 54728"/>
                        <a:gd name="connsiteX6" fmla="*/ 51358 w 54719"/>
                        <a:gd name="connsiteY6" fmla="*/ 51369 h 54728"/>
                        <a:gd name="connsiteX7" fmla="*/ 43251 w 54719"/>
                        <a:gd name="connsiteY7" fmla="*/ 54729 h 5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19" h="54728">
                          <a:moveTo>
                            <a:pt x="43251" y="54729"/>
                          </a:moveTo>
                          <a:cubicBezTo>
                            <a:pt x="40316" y="54729"/>
                            <a:pt x="37381" y="53605"/>
                            <a:pt x="35145" y="51369"/>
                          </a:cubicBezTo>
                          <a:lnTo>
                            <a:pt x="3362" y="19575"/>
                          </a:lnTo>
                          <a:cubicBezTo>
                            <a:pt x="-1121" y="15092"/>
                            <a:pt x="-1121" y="7834"/>
                            <a:pt x="3362" y="3362"/>
                          </a:cubicBezTo>
                          <a:cubicBezTo>
                            <a:pt x="7845" y="-1121"/>
                            <a:pt x="15092" y="-1121"/>
                            <a:pt x="19575" y="3362"/>
                          </a:cubicBezTo>
                          <a:lnTo>
                            <a:pt x="51358" y="35157"/>
                          </a:lnTo>
                          <a:cubicBezTo>
                            <a:pt x="55841" y="39640"/>
                            <a:pt x="55841" y="46897"/>
                            <a:pt x="51358" y="51369"/>
                          </a:cubicBezTo>
                          <a:cubicBezTo>
                            <a:pt x="49122" y="53605"/>
                            <a:pt x="46187" y="54729"/>
                            <a:pt x="43251" y="54729"/>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819" name="Graphic 48">
                  <a:extLst>
                    <a:ext uri="{FF2B5EF4-FFF2-40B4-BE49-F238E27FC236}">
                      <a16:creationId xmlns:a16="http://schemas.microsoft.com/office/drawing/2014/main" id="{C605A544-27AF-4DDA-86A7-3221EC7DF015}"/>
                    </a:ext>
                  </a:extLst>
                </p:cNvPr>
                <p:cNvGrpSpPr/>
                <p:nvPr/>
              </p:nvGrpSpPr>
              <p:grpSpPr>
                <a:xfrm>
                  <a:off x="6532460" y="472405"/>
                  <a:ext cx="389493" cy="162173"/>
                  <a:chOff x="6532460" y="472405"/>
                  <a:chExt cx="389493" cy="162173"/>
                </a:xfrm>
                <a:solidFill>
                  <a:schemeClr val="accent1"/>
                </a:solidFill>
              </p:grpSpPr>
              <p:grpSp>
                <p:nvGrpSpPr>
                  <p:cNvPr id="828" name="Graphic 48">
                    <a:extLst>
                      <a:ext uri="{FF2B5EF4-FFF2-40B4-BE49-F238E27FC236}">
                        <a16:creationId xmlns:a16="http://schemas.microsoft.com/office/drawing/2014/main" id="{6D0C0A5B-EEF9-489C-9E47-61D4D9F2CAC1}"/>
                      </a:ext>
                    </a:extLst>
                  </p:cNvPr>
                  <p:cNvGrpSpPr/>
                  <p:nvPr/>
                </p:nvGrpSpPr>
                <p:grpSpPr>
                  <a:xfrm>
                    <a:off x="6683930" y="514235"/>
                    <a:ext cx="86588" cy="120343"/>
                    <a:chOff x="6683930" y="514235"/>
                    <a:chExt cx="86588" cy="120343"/>
                  </a:xfrm>
                  <a:solidFill>
                    <a:schemeClr val="accent1"/>
                  </a:solidFill>
                </p:grpSpPr>
                <p:sp>
                  <p:nvSpPr>
                    <p:cNvPr id="835" name="Freeform: Shape 834">
                      <a:extLst>
                        <a:ext uri="{FF2B5EF4-FFF2-40B4-BE49-F238E27FC236}">
                          <a16:creationId xmlns:a16="http://schemas.microsoft.com/office/drawing/2014/main" id="{22CB94D4-F982-4686-9C3D-2EEE4897FB15}"/>
                        </a:ext>
                      </a:extLst>
                    </p:cNvPr>
                    <p:cNvSpPr/>
                    <p:nvPr/>
                  </p:nvSpPr>
                  <p:spPr>
                    <a:xfrm>
                      <a:off x="6683930" y="559192"/>
                      <a:ext cx="86588" cy="75386"/>
                    </a:xfrm>
                    <a:custGeom>
                      <a:avLst/>
                      <a:gdLst>
                        <a:gd name="connsiteX0" fmla="*/ 43157 w 86588"/>
                        <a:gd name="connsiteY0" fmla="*/ 75387 h 75386"/>
                        <a:gd name="connsiteX1" fmla="*/ 0 w 86588"/>
                        <a:gd name="connsiteY1" fmla="*/ 43157 h 75386"/>
                        <a:gd name="connsiteX2" fmla="*/ 43157 w 86588"/>
                        <a:gd name="connsiteY2" fmla="*/ 0 h 75386"/>
                        <a:gd name="connsiteX3" fmla="*/ 86589 w 86588"/>
                        <a:gd name="connsiteY3" fmla="*/ 44246 h 75386"/>
                        <a:gd name="connsiteX4" fmla="*/ 43157 w 86588"/>
                        <a:gd name="connsiteY4" fmla="*/ 75387 h 75386"/>
                        <a:gd name="connsiteX5" fmla="*/ 43157 w 86588"/>
                        <a:gd name="connsiteY5" fmla="*/ 22931 h 75386"/>
                        <a:gd name="connsiteX6" fmla="*/ 22931 w 86588"/>
                        <a:gd name="connsiteY6" fmla="*/ 43157 h 75386"/>
                        <a:gd name="connsiteX7" fmla="*/ 43157 w 86588"/>
                        <a:gd name="connsiteY7" fmla="*/ 52455 h 75386"/>
                        <a:gd name="connsiteX8" fmla="*/ 63657 w 86588"/>
                        <a:gd name="connsiteY8" fmla="*/ 44257 h 75386"/>
                        <a:gd name="connsiteX9" fmla="*/ 43157 w 86588"/>
                        <a:gd name="connsiteY9" fmla="*/ 22931 h 75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588" h="75386">
                          <a:moveTo>
                            <a:pt x="43157" y="75387"/>
                          </a:moveTo>
                          <a:cubicBezTo>
                            <a:pt x="17749" y="75387"/>
                            <a:pt x="0" y="62133"/>
                            <a:pt x="0" y="43157"/>
                          </a:cubicBezTo>
                          <a:cubicBezTo>
                            <a:pt x="0" y="21785"/>
                            <a:pt x="21774" y="0"/>
                            <a:pt x="43157" y="0"/>
                          </a:cubicBezTo>
                          <a:cubicBezTo>
                            <a:pt x="64265" y="0"/>
                            <a:pt x="86589" y="22748"/>
                            <a:pt x="86589" y="44246"/>
                          </a:cubicBezTo>
                          <a:cubicBezTo>
                            <a:pt x="86589" y="63164"/>
                            <a:pt x="69539" y="75387"/>
                            <a:pt x="43157" y="75387"/>
                          </a:cubicBezTo>
                          <a:close/>
                          <a:moveTo>
                            <a:pt x="43157" y="22931"/>
                          </a:moveTo>
                          <a:cubicBezTo>
                            <a:pt x="33790" y="22931"/>
                            <a:pt x="22931" y="35165"/>
                            <a:pt x="22931" y="43157"/>
                          </a:cubicBezTo>
                          <a:cubicBezTo>
                            <a:pt x="22931" y="49933"/>
                            <a:pt x="35337" y="52455"/>
                            <a:pt x="43157" y="52455"/>
                          </a:cubicBezTo>
                          <a:cubicBezTo>
                            <a:pt x="51401" y="52455"/>
                            <a:pt x="63657" y="50277"/>
                            <a:pt x="63657" y="44257"/>
                          </a:cubicBezTo>
                          <a:cubicBezTo>
                            <a:pt x="63657" y="36151"/>
                            <a:pt x="52204" y="22931"/>
                            <a:pt x="43157" y="22931"/>
                          </a:cubicBezTo>
                          <a:close/>
                        </a:path>
                      </a:pathLst>
                    </a:custGeom>
                    <a:solidFill>
                      <a:schemeClr val="accent1"/>
                    </a:solidFill>
                    <a:ln w="1145" cap="flat">
                      <a:noFill/>
                      <a:prstDash val="solid"/>
                      <a:miter/>
                    </a:ln>
                  </p:spPr>
                  <p:txBody>
                    <a:bodyPr rtlCol="0" anchor="ctr"/>
                    <a:lstStyle/>
                    <a:p>
                      <a:endParaRPr lang="en-GB" dirty="0"/>
                    </a:p>
                  </p:txBody>
                </p:sp>
                <p:sp>
                  <p:nvSpPr>
                    <p:cNvPr id="836" name="Freeform: Shape 835">
                      <a:extLst>
                        <a:ext uri="{FF2B5EF4-FFF2-40B4-BE49-F238E27FC236}">
                          <a16:creationId xmlns:a16="http://schemas.microsoft.com/office/drawing/2014/main" id="{CD69FD2B-CCD8-4412-A2B1-F0BAAD5E96B1}"/>
                        </a:ext>
                      </a:extLst>
                    </p:cNvPr>
                    <p:cNvSpPr/>
                    <p:nvPr/>
                  </p:nvSpPr>
                  <p:spPr>
                    <a:xfrm>
                      <a:off x="6715598" y="514235"/>
                      <a:ext cx="22931" cy="67888"/>
                    </a:xfrm>
                    <a:custGeom>
                      <a:avLst/>
                      <a:gdLst>
                        <a:gd name="connsiteX0" fmla="*/ 11466 w 22931"/>
                        <a:gd name="connsiteY0" fmla="*/ 67888 h 67888"/>
                        <a:gd name="connsiteX1" fmla="*/ 0 w 22931"/>
                        <a:gd name="connsiteY1" fmla="*/ 56423 h 67888"/>
                        <a:gd name="connsiteX2" fmla="*/ 0 w 22931"/>
                        <a:gd name="connsiteY2" fmla="*/ 11466 h 67888"/>
                        <a:gd name="connsiteX3" fmla="*/ 11466 w 22931"/>
                        <a:gd name="connsiteY3" fmla="*/ 0 h 67888"/>
                        <a:gd name="connsiteX4" fmla="*/ 22931 w 22931"/>
                        <a:gd name="connsiteY4" fmla="*/ 11466 h 67888"/>
                        <a:gd name="connsiteX5" fmla="*/ 22931 w 22931"/>
                        <a:gd name="connsiteY5" fmla="*/ 56423 h 67888"/>
                        <a:gd name="connsiteX6" fmla="*/ 11466 w 22931"/>
                        <a:gd name="connsiteY6" fmla="*/ 67888 h 6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7888">
                          <a:moveTo>
                            <a:pt x="11466" y="67888"/>
                          </a:moveTo>
                          <a:cubicBezTo>
                            <a:pt x="5125" y="67888"/>
                            <a:pt x="0" y="62752"/>
                            <a:pt x="0" y="56423"/>
                          </a:cubicBezTo>
                          <a:lnTo>
                            <a:pt x="0" y="11466"/>
                          </a:lnTo>
                          <a:cubicBezTo>
                            <a:pt x="0" y="5137"/>
                            <a:pt x="5125" y="0"/>
                            <a:pt x="11466" y="0"/>
                          </a:cubicBezTo>
                          <a:cubicBezTo>
                            <a:pt x="17806" y="0"/>
                            <a:pt x="22931" y="5137"/>
                            <a:pt x="22931" y="11466"/>
                          </a:cubicBezTo>
                          <a:lnTo>
                            <a:pt x="22931" y="56423"/>
                          </a:lnTo>
                          <a:cubicBezTo>
                            <a:pt x="22931" y="62752"/>
                            <a:pt x="17806" y="67888"/>
                            <a:pt x="11466" y="67888"/>
                          </a:cubicBezTo>
                          <a:close/>
                        </a:path>
                      </a:pathLst>
                    </a:custGeom>
                    <a:solidFill>
                      <a:schemeClr val="accent1"/>
                    </a:solidFill>
                    <a:ln w="1145" cap="flat">
                      <a:noFill/>
                      <a:prstDash val="solid"/>
                      <a:miter/>
                    </a:ln>
                  </p:spPr>
                  <p:txBody>
                    <a:bodyPr rtlCol="0" anchor="ctr"/>
                    <a:lstStyle/>
                    <a:p>
                      <a:endParaRPr lang="en-GB" dirty="0"/>
                    </a:p>
                  </p:txBody>
                </p:sp>
              </p:grpSp>
              <p:grpSp>
                <p:nvGrpSpPr>
                  <p:cNvPr id="829" name="Graphic 48">
                    <a:extLst>
                      <a:ext uri="{FF2B5EF4-FFF2-40B4-BE49-F238E27FC236}">
                        <a16:creationId xmlns:a16="http://schemas.microsoft.com/office/drawing/2014/main" id="{E3174D0F-C634-4752-B3AC-D518292BD537}"/>
                      </a:ext>
                    </a:extLst>
                  </p:cNvPr>
                  <p:cNvGrpSpPr/>
                  <p:nvPr/>
                </p:nvGrpSpPr>
                <p:grpSpPr>
                  <a:xfrm>
                    <a:off x="6816711" y="472405"/>
                    <a:ext cx="105242" cy="104500"/>
                    <a:chOff x="6816711" y="472405"/>
                    <a:chExt cx="105242" cy="104500"/>
                  </a:xfrm>
                  <a:solidFill>
                    <a:schemeClr val="accent1"/>
                  </a:solidFill>
                </p:grpSpPr>
                <p:sp>
                  <p:nvSpPr>
                    <p:cNvPr id="833" name="Freeform: Shape 832">
                      <a:extLst>
                        <a:ext uri="{FF2B5EF4-FFF2-40B4-BE49-F238E27FC236}">
                          <a16:creationId xmlns:a16="http://schemas.microsoft.com/office/drawing/2014/main" id="{8AB64454-DB47-4D27-849F-73910343D285}"/>
                        </a:ext>
                      </a:extLst>
                    </p:cNvPr>
                    <p:cNvSpPr/>
                    <p:nvPr/>
                  </p:nvSpPr>
                  <p:spPr>
                    <a:xfrm>
                      <a:off x="6840595" y="496534"/>
                      <a:ext cx="81359" cy="80371"/>
                    </a:xfrm>
                    <a:custGeom>
                      <a:avLst/>
                      <a:gdLst>
                        <a:gd name="connsiteX0" fmla="*/ 31384 w 81359"/>
                        <a:gd name="connsiteY0" fmla="*/ 80372 h 80371"/>
                        <a:gd name="connsiteX1" fmla="*/ 11284 w 81359"/>
                        <a:gd name="connsiteY1" fmla="*/ 72025 h 80371"/>
                        <a:gd name="connsiteX2" fmla="*/ 2 w 81359"/>
                        <a:gd name="connsiteY2" fmla="*/ 41870 h 80371"/>
                        <a:gd name="connsiteX3" fmla="*/ 11284 w 81359"/>
                        <a:gd name="connsiteY3" fmla="*/ 11005 h 80371"/>
                        <a:gd name="connsiteX4" fmla="*/ 42804 w 81359"/>
                        <a:gd name="connsiteY4" fmla="*/ 20 h 80371"/>
                        <a:gd name="connsiteX5" fmla="*/ 73268 w 81359"/>
                        <a:gd name="connsiteY5" fmla="*/ 11578 h 80371"/>
                        <a:gd name="connsiteX6" fmla="*/ 73268 w 81359"/>
                        <a:gd name="connsiteY6" fmla="*/ 11578 h 80371"/>
                        <a:gd name="connsiteX7" fmla="*/ 73268 w 81359"/>
                        <a:gd name="connsiteY7" fmla="*/ 11578 h 80371"/>
                        <a:gd name="connsiteX8" fmla="*/ 73268 w 81359"/>
                        <a:gd name="connsiteY8" fmla="*/ 11578 h 80371"/>
                        <a:gd name="connsiteX9" fmla="*/ 79654 w 81359"/>
                        <a:gd name="connsiteY9" fmla="*/ 41205 h 80371"/>
                        <a:gd name="connsiteX10" fmla="*/ 64589 w 81359"/>
                        <a:gd name="connsiteY10" fmla="*/ 64286 h 80371"/>
                        <a:gd name="connsiteX11" fmla="*/ 40786 w 81359"/>
                        <a:gd name="connsiteY11" fmla="*/ 79007 h 80371"/>
                        <a:gd name="connsiteX12" fmla="*/ 31384 w 81359"/>
                        <a:gd name="connsiteY12" fmla="*/ 80372 h 80371"/>
                        <a:gd name="connsiteX13" fmla="*/ 41382 w 81359"/>
                        <a:gd name="connsiteY13" fmla="*/ 22940 h 80371"/>
                        <a:gd name="connsiteX14" fmla="*/ 27497 w 81359"/>
                        <a:gd name="connsiteY14" fmla="*/ 27228 h 80371"/>
                        <a:gd name="connsiteX15" fmla="*/ 22934 w 81359"/>
                        <a:gd name="connsiteY15" fmla="*/ 41664 h 80371"/>
                        <a:gd name="connsiteX16" fmla="*/ 27497 w 81359"/>
                        <a:gd name="connsiteY16" fmla="*/ 55824 h 80371"/>
                        <a:gd name="connsiteX17" fmla="*/ 34605 w 81359"/>
                        <a:gd name="connsiteY17" fmla="*/ 56959 h 80371"/>
                        <a:gd name="connsiteX18" fmla="*/ 48364 w 81359"/>
                        <a:gd name="connsiteY18" fmla="*/ 48107 h 80371"/>
                        <a:gd name="connsiteX19" fmla="*/ 57823 w 81359"/>
                        <a:gd name="connsiteY19" fmla="*/ 34200 h 80371"/>
                        <a:gd name="connsiteX20" fmla="*/ 57055 w 81359"/>
                        <a:gd name="connsiteY20" fmla="*/ 27813 h 80371"/>
                        <a:gd name="connsiteX21" fmla="*/ 57055 w 81359"/>
                        <a:gd name="connsiteY21" fmla="*/ 27802 h 80371"/>
                        <a:gd name="connsiteX22" fmla="*/ 42219 w 81359"/>
                        <a:gd name="connsiteY22" fmla="*/ 22952 h 80371"/>
                        <a:gd name="connsiteX23" fmla="*/ 41382 w 81359"/>
                        <a:gd name="connsiteY23" fmla="*/ 22940 h 803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1359" h="80371">
                          <a:moveTo>
                            <a:pt x="31384" y="80372"/>
                          </a:moveTo>
                          <a:cubicBezTo>
                            <a:pt x="23713" y="80372"/>
                            <a:pt x="16788" y="77540"/>
                            <a:pt x="11284" y="72025"/>
                          </a:cubicBezTo>
                          <a:cubicBezTo>
                            <a:pt x="4233" y="64985"/>
                            <a:pt x="117" y="53978"/>
                            <a:pt x="2" y="41870"/>
                          </a:cubicBezTo>
                          <a:cubicBezTo>
                            <a:pt x="-112" y="29533"/>
                            <a:pt x="4004" y="18285"/>
                            <a:pt x="11284" y="11005"/>
                          </a:cubicBezTo>
                          <a:cubicBezTo>
                            <a:pt x="18588" y="3689"/>
                            <a:pt x="30512" y="-324"/>
                            <a:pt x="42804" y="20"/>
                          </a:cubicBezTo>
                          <a:cubicBezTo>
                            <a:pt x="55129" y="330"/>
                            <a:pt x="66240" y="4549"/>
                            <a:pt x="73268" y="11578"/>
                          </a:cubicBezTo>
                          <a:lnTo>
                            <a:pt x="73268" y="11578"/>
                          </a:lnTo>
                          <a:cubicBezTo>
                            <a:pt x="73268" y="11578"/>
                            <a:pt x="73268" y="11578"/>
                            <a:pt x="73268" y="11578"/>
                          </a:cubicBezTo>
                          <a:cubicBezTo>
                            <a:pt x="73268" y="11578"/>
                            <a:pt x="73268" y="11578"/>
                            <a:pt x="73268" y="11578"/>
                          </a:cubicBezTo>
                          <a:cubicBezTo>
                            <a:pt x="81041" y="19352"/>
                            <a:pt x="83312" y="29877"/>
                            <a:pt x="79654" y="41205"/>
                          </a:cubicBezTo>
                          <a:cubicBezTo>
                            <a:pt x="76513" y="50985"/>
                            <a:pt x="69725" y="59149"/>
                            <a:pt x="64589" y="64286"/>
                          </a:cubicBezTo>
                          <a:cubicBezTo>
                            <a:pt x="57365" y="71509"/>
                            <a:pt x="48915" y="76737"/>
                            <a:pt x="40786" y="79007"/>
                          </a:cubicBezTo>
                          <a:cubicBezTo>
                            <a:pt x="37564" y="79936"/>
                            <a:pt x="34411" y="80372"/>
                            <a:pt x="31384" y="80372"/>
                          </a:cubicBezTo>
                          <a:close/>
                          <a:moveTo>
                            <a:pt x="41382" y="22940"/>
                          </a:moveTo>
                          <a:cubicBezTo>
                            <a:pt x="35431" y="22940"/>
                            <a:pt x="30169" y="24557"/>
                            <a:pt x="27497" y="27228"/>
                          </a:cubicBezTo>
                          <a:cubicBezTo>
                            <a:pt x="24631" y="30095"/>
                            <a:pt x="22876" y="35633"/>
                            <a:pt x="22934" y="41664"/>
                          </a:cubicBezTo>
                          <a:cubicBezTo>
                            <a:pt x="22991" y="47546"/>
                            <a:pt x="24779" y="53107"/>
                            <a:pt x="27497" y="55824"/>
                          </a:cubicBezTo>
                          <a:cubicBezTo>
                            <a:pt x="28288" y="56615"/>
                            <a:pt x="29893" y="58255"/>
                            <a:pt x="34605" y="56959"/>
                          </a:cubicBezTo>
                          <a:cubicBezTo>
                            <a:pt x="38940" y="55755"/>
                            <a:pt x="43950" y="52522"/>
                            <a:pt x="48364" y="48107"/>
                          </a:cubicBezTo>
                          <a:cubicBezTo>
                            <a:pt x="53031" y="43441"/>
                            <a:pt x="56482" y="38362"/>
                            <a:pt x="57823" y="34200"/>
                          </a:cubicBezTo>
                          <a:cubicBezTo>
                            <a:pt x="59188" y="29957"/>
                            <a:pt x="57858" y="28616"/>
                            <a:pt x="57055" y="27813"/>
                          </a:cubicBezTo>
                          <a:cubicBezTo>
                            <a:pt x="57055" y="27813"/>
                            <a:pt x="57055" y="27813"/>
                            <a:pt x="57055" y="27802"/>
                          </a:cubicBezTo>
                          <a:cubicBezTo>
                            <a:pt x="54774" y="25520"/>
                            <a:pt x="49293" y="23135"/>
                            <a:pt x="42219" y="22952"/>
                          </a:cubicBezTo>
                          <a:cubicBezTo>
                            <a:pt x="41944" y="22940"/>
                            <a:pt x="41657" y="22940"/>
                            <a:pt x="41382" y="22940"/>
                          </a:cubicBezTo>
                          <a:close/>
                        </a:path>
                      </a:pathLst>
                    </a:custGeom>
                    <a:solidFill>
                      <a:schemeClr val="accent1"/>
                    </a:solidFill>
                    <a:ln w="1145" cap="flat">
                      <a:noFill/>
                      <a:prstDash val="solid"/>
                      <a:miter/>
                    </a:ln>
                  </p:spPr>
                  <p:txBody>
                    <a:bodyPr rtlCol="0" anchor="ctr"/>
                    <a:lstStyle/>
                    <a:p>
                      <a:endParaRPr lang="en-GB" dirty="0"/>
                    </a:p>
                  </p:txBody>
                </p:sp>
                <p:sp>
                  <p:nvSpPr>
                    <p:cNvPr id="834" name="Freeform: Shape 833">
                      <a:extLst>
                        <a:ext uri="{FF2B5EF4-FFF2-40B4-BE49-F238E27FC236}">
                          <a16:creationId xmlns:a16="http://schemas.microsoft.com/office/drawing/2014/main" id="{7E201677-1321-441F-BD74-9D136E15CF64}"/>
                        </a:ext>
                      </a:extLst>
                    </p:cNvPr>
                    <p:cNvSpPr/>
                    <p:nvPr/>
                  </p:nvSpPr>
                  <p:spPr>
                    <a:xfrm>
                      <a:off x="6816711" y="472405"/>
                      <a:ext cx="54720" cy="54728"/>
                    </a:xfrm>
                    <a:custGeom>
                      <a:avLst/>
                      <a:gdLst>
                        <a:gd name="connsiteX0" fmla="*/ 43252 w 54720"/>
                        <a:gd name="connsiteY0" fmla="*/ 54729 h 54728"/>
                        <a:gd name="connsiteX1" fmla="*/ 35145 w 54720"/>
                        <a:gd name="connsiteY1" fmla="*/ 51369 h 54728"/>
                        <a:gd name="connsiteX2" fmla="*/ 3362 w 54720"/>
                        <a:gd name="connsiteY2" fmla="*/ 19575 h 54728"/>
                        <a:gd name="connsiteX3" fmla="*/ 3362 w 54720"/>
                        <a:gd name="connsiteY3" fmla="*/ 3362 h 54728"/>
                        <a:gd name="connsiteX4" fmla="*/ 19575 w 54720"/>
                        <a:gd name="connsiteY4" fmla="*/ 3362 h 54728"/>
                        <a:gd name="connsiteX5" fmla="*/ 51358 w 54720"/>
                        <a:gd name="connsiteY5" fmla="*/ 35157 h 54728"/>
                        <a:gd name="connsiteX6" fmla="*/ 51358 w 54720"/>
                        <a:gd name="connsiteY6" fmla="*/ 51369 h 54728"/>
                        <a:gd name="connsiteX7" fmla="*/ 43252 w 54720"/>
                        <a:gd name="connsiteY7" fmla="*/ 54729 h 5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20" h="54728">
                          <a:moveTo>
                            <a:pt x="43252" y="54729"/>
                          </a:moveTo>
                          <a:cubicBezTo>
                            <a:pt x="40316" y="54729"/>
                            <a:pt x="37381" y="53605"/>
                            <a:pt x="35145" y="51369"/>
                          </a:cubicBezTo>
                          <a:lnTo>
                            <a:pt x="3362" y="19575"/>
                          </a:lnTo>
                          <a:cubicBezTo>
                            <a:pt x="-1121" y="15092"/>
                            <a:pt x="-1121" y="7834"/>
                            <a:pt x="3362" y="3362"/>
                          </a:cubicBezTo>
                          <a:cubicBezTo>
                            <a:pt x="7845" y="-1121"/>
                            <a:pt x="15092" y="-1121"/>
                            <a:pt x="19575" y="3362"/>
                          </a:cubicBezTo>
                          <a:lnTo>
                            <a:pt x="51358" y="35157"/>
                          </a:lnTo>
                          <a:cubicBezTo>
                            <a:pt x="55841" y="39640"/>
                            <a:pt x="55841" y="46897"/>
                            <a:pt x="51358" y="51369"/>
                          </a:cubicBezTo>
                          <a:cubicBezTo>
                            <a:pt x="49122" y="53605"/>
                            <a:pt x="46186" y="54729"/>
                            <a:pt x="43252" y="54729"/>
                          </a:cubicBezTo>
                          <a:close/>
                        </a:path>
                      </a:pathLst>
                    </a:custGeom>
                    <a:solidFill>
                      <a:schemeClr val="accent1"/>
                    </a:solidFill>
                    <a:ln w="1145" cap="flat">
                      <a:noFill/>
                      <a:prstDash val="solid"/>
                      <a:miter/>
                    </a:ln>
                  </p:spPr>
                  <p:txBody>
                    <a:bodyPr rtlCol="0" anchor="ctr"/>
                    <a:lstStyle/>
                    <a:p>
                      <a:endParaRPr lang="en-GB" dirty="0"/>
                    </a:p>
                  </p:txBody>
                </p:sp>
              </p:grpSp>
              <p:grpSp>
                <p:nvGrpSpPr>
                  <p:cNvPr id="830" name="Graphic 48">
                    <a:extLst>
                      <a:ext uri="{FF2B5EF4-FFF2-40B4-BE49-F238E27FC236}">
                        <a16:creationId xmlns:a16="http://schemas.microsoft.com/office/drawing/2014/main" id="{57BBF67F-F38A-412A-9439-6C25113A55B8}"/>
                      </a:ext>
                    </a:extLst>
                  </p:cNvPr>
                  <p:cNvGrpSpPr/>
                  <p:nvPr/>
                </p:nvGrpSpPr>
                <p:grpSpPr>
                  <a:xfrm>
                    <a:off x="6532460" y="472738"/>
                    <a:ext cx="105231" cy="104512"/>
                    <a:chOff x="6532460" y="472738"/>
                    <a:chExt cx="105231" cy="104512"/>
                  </a:xfrm>
                  <a:solidFill>
                    <a:schemeClr val="accent1"/>
                  </a:solidFill>
                </p:grpSpPr>
                <p:sp>
                  <p:nvSpPr>
                    <p:cNvPr id="831" name="Freeform: Shape 830">
                      <a:extLst>
                        <a:ext uri="{FF2B5EF4-FFF2-40B4-BE49-F238E27FC236}">
                          <a16:creationId xmlns:a16="http://schemas.microsoft.com/office/drawing/2014/main" id="{539D2341-984B-4105-8BBA-866A68D4F7EE}"/>
                        </a:ext>
                      </a:extLst>
                    </p:cNvPr>
                    <p:cNvSpPr/>
                    <p:nvPr/>
                  </p:nvSpPr>
                  <p:spPr>
                    <a:xfrm>
                      <a:off x="6532460" y="496899"/>
                      <a:ext cx="81359" cy="80351"/>
                    </a:xfrm>
                    <a:custGeom>
                      <a:avLst/>
                      <a:gdLst>
                        <a:gd name="connsiteX0" fmla="*/ 49964 w 81359"/>
                        <a:gd name="connsiteY0" fmla="*/ 80351 h 80351"/>
                        <a:gd name="connsiteX1" fmla="*/ 40574 w 81359"/>
                        <a:gd name="connsiteY1" fmla="*/ 79010 h 80351"/>
                        <a:gd name="connsiteX2" fmla="*/ 16771 w 81359"/>
                        <a:gd name="connsiteY2" fmla="*/ 64288 h 80351"/>
                        <a:gd name="connsiteX3" fmla="*/ 1705 w 81359"/>
                        <a:gd name="connsiteY3" fmla="*/ 41208 h 80351"/>
                        <a:gd name="connsiteX4" fmla="*/ 8092 w 81359"/>
                        <a:gd name="connsiteY4" fmla="*/ 11580 h 80351"/>
                        <a:gd name="connsiteX5" fmla="*/ 8092 w 81359"/>
                        <a:gd name="connsiteY5" fmla="*/ 11580 h 80351"/>
                        <a:gd name="connsiteX6" fmla="*/ 8092 w 81359"/>
                        <a:gd name="connsiteY6" fmla="*/ 11580 h 80351"/>
                        <a:gd name="connsiteX7" fmla="*/ 8092 w 81359"/>
                        <a:gd name="connsiteY7" fmla="*/ 11580 h 80351"/>
                        <a:gd name="connsiteX8" fmla="*/ 39966 w 81359"/>
                        <a:gd name="connsiteY8" fmla="*/ 0 h 80351"/>
                        <a:gd name="connsiteX9" fmla="*/ 70075 w 81359"/>
                        <a:gd name="connsiteY9" fmla="*/ 11007 h 80351"/>
                        <a:gd name="connsiteX10" fmla="*/ 81357 w 81359"/>
                        <a:gd name="connsiteY10" fmla="*/ 41861 h 80351"/>
                        <a:gd name="connsiteX11" fmla="*/ 70075 w 81359"/>
                        <a:gd name="connsiteY11" fmla="*/ 72027 h 80351"/>
                        <a:gd name="connsiteX12" fmla="*/ 49964 w 81359"/>
                        <a:gd name="connsiteY12" fmla="*/ 80351 h 80351"/>
                        <a:gd name="connsiteX13" fmla="*/ 39955 w 81359"/>
                        <a:gd name="connsiteY13" fmla="*/ 22908 h 80351"/>
                        <a:gd name="connsiteX14" fmla="*/ 24293 w 81359"/>
                        <a:gd name="connsiteY14" fmla="*/ 27770 h 80351"/>
                        <a:gd name="connsiteX15" fmla="*/ 24293 w 81359"/>
                        <a:gd name="connsiteY15" fmla="*/ 27781 h 80351"/>
                        <a:gd name="connsiteX16" fmla="*/ 23525 w 81359"/>
                        <a:gd name="connsiteY16" fmla="*/ 34168 h 80351"/>
                        <a:gd name="connsiteX17" fmla="*/ 32984 w 81359"/>
                        <a:gd name="connsiteY17" fmla="*/ 48076 h 80351"/>
                        <a:gd name="connsiteX18" fmla="*/ 46743 w 81359"/>
                        <a:gd name="connsiteY18" fmla="*/ 56927 h 80351"/>
                        <a:gd name="connsiteX19" fmla="*/ 53851 w 81359"/>
                        <a:gd name="connsiteY19" fmla="*/ 55803 h 80351"/>
                        <a:gd name="connsiteX20" fmla="*/ 58415 w 81359"/>
                        <a:gd name="connsiteY20" fmla="*/ 41632 h 80351"/>
                        <a:gd name="connsiteX21" fmla="*/ 53851 w 81359"/>
                        <a:gd name="connsiteY21" fmla="*/ 27197 h 80351"/>
                        <a:gd name="connsiteX22" fmla="*/ 39955 w 81359"/>
                        <a:gd name="connsiteY22" fmla="*/ 22908 h 80351"/>
                        <a:gd name="connsiteX23" fmla="*/ 16175 w 81359"/>
                        <a:gd name="connsiteY23" fmla="*/ 19675 h 80351"/>
                        <a:gd name="connsiteX24" fmla="*/ 16290 w 81359"/>
                        <a:gd name="connsiteY24" fmla="*/ 19675 h 80351"/>
                        <a:gd name="connsiteX25" fmla="*/ 16175 w 81359"/>
                        <a:gd name="connsiteY25" fmla="*/ 19675 h 8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1359" h="80351">
                          <a:moveTo>
                            <a:pt x="49964" y="80351"/>
                          </a:moveTo>
                          <a:cubicBezTo>
                            <a:pt x="46926" y="80351"/>
                            <a:pt x="43796" y="79904"/>
                            <a:pt x="40574" y="79010"/>
                          </a:cubicBezTo>
                          <a:cubicBezTo>
                            <a:pt x="32445" y="76740"/>
                            <a:pt x="23995" y="71511"/>
                            <a:pt x="16771" y="64288"/>
                          </a:cubicBezTo>
                          <a:cubicBezTo>
                            <a:pt x="11635" y="59151"/>
                            <a:pt x="4847" y="50976"/>
                            <a:pt x="1705" y="41208"/>
                          </a:cubicBezTo>
                          <a:cubicBezTo>
                            <a:pt x="-1952" y="29868"/>
                            <a:pt x="318" y="19343"/>
                            <a:pt x="8092" y="11580"/>
                          </a:cubicBezTo>
                          <a:lnTo>
                            <a:pt x="8092" y="11580"/>
                          </a:lnTo>
                          <a:cubicBezTo>
                            <a:pt x="8092" y="11580"/>
                            <a:pt x="8092" y="11580"/>
                            <a:pt x="8092" y="11580"/>
                          </a:cubicBezTo>
                          <a:cubicBezTo>
                            <a:pt x="8092" y="11580"/>
                            <a:pt x="8092" y="11580"/>
                            <a:pt x="8092" y="11580"/>
                          </a:cubicBezTo>
                          <a:cubicBezTo>
                            <a:pt x="15349" y="4334"/>
                            <a:pt x="27262" y="0"/>
                            <a:pt x="39966" y="0"/>
                          </a:cubicBezTo>
                          <a:cubicBezTo>
                            <a:pt x="52120" y="0"/>
                            <a:pt x="63092" y="4013"/>
                            <a:pt x="70075" y="11007"/>
                          </a:cubicBezTo>
                          <a:cubicBezTo>
                            <a:pt x="77367" y="18288"/>
                            <a:pt x="81472" y="29536"/>
                            <a:pt x="81357" y="41861"/>
                          </a:cubicBezTo>
                          <a:cubicBezTo>
                            <a:pt x="81231" y="53980"/>
                            <a:pt x="77127" y="64976"/>
                            <a:pt x="70075" y="72027"/>
                          </a:cubicBezTo>
                          <a:cubicBezTo>
                            <a:pt x="64560" y="77519"/>
                            <a:pt x="57635" y="80351"/>
                            <a:pt x="49964" y="80351"/>
                          </a:cubicBezTo>
                          <a:close/>
                          <a:moveTo>
                            <a:pt x="39955" y="22908"/>
                          </a:moveTo>
                          <a:cubicBezTo>
                            <a:pt x="32502" y="22908"/>
                            <a:pt x="26723" y="25351"/>
                            <a:pt x="24293" y="27770"/>
                          </a:cubicBezTo>
                          <a:cubicBezTo>
                            <a:pt x="24293" y="27770"/>
                            <a:pt x="24293" y="27770"/>
                            <a:pt x="24293" y="27781"/>
                          </a:cubicBezTo>
                          <a:cubicBezTo>
                            <a:pt x="23490" y="28572"/>
                            <a:pt x="22149" y="29925"/>
                            <a:pt x="23525" y="34168"/>
                          </a:cubicBezTo>
                          <a:cubicBezTo>
                            <a:pt x="24866" y="38330"/>
                            <a:pt x="28317" y="43409"/>
                            <a:pt x="32984" y="48076"/>
                          </a:cubicBezTo>
                          <a:cubicBezTo>
                            <a:pt x="37398" y="52490"/>
                            <a:pt x="42409" y="55723"/>
                            <a:pt x="46743" y="56927"/>
                          </a:cubicBezTo>
                          <a:cubicBezTo>
                            <a:pt x="51455" y="58223"/>
                            <a:pt x="53060" y="56595"/>
                            <a:pt x="53851" y="55803"/>
                          </a:cubicBezTo>
                          <a:cubicBezTo>
                            <a:pt x="56568" y="53075"/>
                            <a:pt x="58369" y="47514"/>
                            <a:pt x="58415" y="41632"/>
                          </a:cubicBezTo>
                          <a:cubicBezTo>
                            <a:pt x="58472" y="35601"/>
                            <a:pt x="56718" y="30063"/>
                            <a:pt x="53851" y="27197"/>
                          </a:cubicBezTo>
                          <a:cubicBezTo>
                            <a:pt x="51203" y="24548"/>
                            <a:pt x="45871" y="22908"/>
                            <a:pt x="39955" y="22908"/>
                          </a:cubicBezTo>
                          <a:close/>
                          <a:moveTo>
                            <a:pt x="16175" y="19675"/>
                          </a:moveTo>
                          <a:lnTo>
                            <a:pt x="16290" y="19675"/>
                          </a:lnTo>
                          <a:lnTo>
                            <a:pt x="16175" y="19675"/>
                          </a:lnTo>
                          <a:close/>
                        </a:path>
                      </a:pathLst>
                    </a:custGeom>
                    <a:solidFill>
                      <a:schemeClr val="accent1"/>
                    </a:solidFill>
                    <a:ln w="1145" cap="flat">
                      <a:noFill/>
                      <a:prstDash val="solid"/>
                      <a:miter/>
                    </a:ln>
                  </p:spPr>
                  <p:txBody>
                    <a:bodyPr rtlCol="0" anchor="ctr"/>
                    <a:lstStyle/>
                    <a:p>
                      <a:endParaRPr lang="en-GB" dirty="0"/>
                    </a:p>
                  </p:txBody>
                </p:sp>
                <p:sp>
                  <p:nvSpPr>
                    <p:cNvPr id="832" name="Freeform: Shape 831">
                      <a:extLst>
                        <a:ext uri="{FF2B5EF4-FFF2-40B4-BE49-F238E27FC236}">
                          <a16:creationId xmlns:a16="http://schemas.microsoft.com/office/drawing/2014/main" id="{3DF6F9E3-005D-4C6C-BF52-05F452174477}"/>
                        </a:ext>
                      </a:extLst>
                    </p:cNvPr>
                    <p:cNvSpPr/>
                    <p:nvPr/>
                  </p:nvSpPr>
                  <p:spPr>
                    <a:xfrm>
                      <a:off x="6582972" y="472738"/>
                      <a:ext cx="54719" cy="54728"/>
                    </a:xfrm>
                    <a:custGeom>
                      <a:avLst/>
                      <a:gdLst>
                        <a:gd name="connsiteX0" fmla="*/ 11468 w 54719"/>
                        <a:gd name="connsiteY0" fmla="*/ 54729 h 54728"/>
                        <a:gd name="connsiteX1" fmla="*/ 3362 w 54719"/>
                        <a:gd name="connsiteY1" fmla="*/ 51369 h 54728"/>
                        <a:gd name="connsiteX2" fmla="*/ 3362 w 54719"/>
                        <a:gd name="connsiteY2" fmla="*/ 35157 h 54728"/>
                        <a:gd name="connsiteX3" fmla="*/ 35145 w 54719"/>
                        <a:gd name="connsiteY3" fmla="*/ 3362 h 54728"/>
                        <a:gd name="connsiteX4" fmla="*/ 51358 w 54719"/>
                        <a:gd name="connsiteY4" fmla="*/ 3362 h 54728"/>
                        <a:gd name="connsiteX5" fmla="*/ 51358 w 54719"/>
                        <a:gd name="connsiteY5" fmla="*/ 19575 h 54728"/>
                        <a:gd name="connsiteX6" fmla="*/ 19575 w 54719"/>
                        <a:gd name="connsiteY6" fmla="*/ 51369 h 54728"/>
                        <a:gd name="connsiteX7" fmla="*/ 11468 w 54719"/>
                        <a:gd name="connsiteY7" fmla="*/ 54729 h 54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719" h="54728">
                          <a:moveTo>
                            <a:pt x="11468" y="54729"/>
                          </a:moveTo>
                          <a:cubicBezTo>
                            <a:pt x="8533" y="54729"/>
                            <a:pt x="5598" y="53605"/>
                            <a:pt x="3362" y="51369"/>
                          </a:cubicBezTo>
                          <a:cubicBezTo>
                            <a:pt x="-1121" y="46897"/>
                            <a:pt x="-1121" y="39640"/>
                            <a:pt x="3362" y="35157"/>
                          </a:cubicBezTo>
                          <a:lnTo>
                            <a:pt x="35145" y="3362"/>
                          </a:lnTo>
                          <a:cubicBezTo>
                            <a:pt x="39629" y="-1121"/>
                            <a:pt x="46875" y="-1121"/>
                            <a:pt x="51358" y="3362"/>
                          </a:cubicBezTo>
                          <a:cubicBezTo>
                            <a:pt x="55841" y="7834"/>
                            <a:pt x="55841" y="15092"/>
                            <a:pt x="51358" y="19575"/>
                          </a:cubicBezTo>
                          <a:lnTo>
                            <a:pt x="19575" y="51369"/>
                          </a:lnTo>
                          <a:cubicBezTo>
                            <a:pt x="17328" y="53616"/>
                            <a:pt x="14392" y="54729"/>
                            <a:pt x="11468" y="54729"/>
                          </a:cubicBezTo>
                          <a:close/>
                        </a:path>
                      </a:pathLst>
                    </a:custGeom>
                    <a:solidFill>
                      <a:schemeClr val="accent1"/>
                    </a:solidFill>
                    <a:ln w="1145" cap="flat">
                      <a:noFill/>
                      <a:prstDash val="solid"/>
                      <a:miter/>
                    </a:ln>
                  </p:spPr>
                  <p:txBody>
                    <a:bodyPr rtlCol="0" anchor="ctr"/>
                    <a:lstStyle/>
                    <a:p>
                      <a:endParaRPr lang="en-GB" dirty="0"/>
                    </a:p>
                  </p:txBody>
                </p:sp>
              </p:grpSp>
            </p:grpSp>
            <p:sp>
              <p:nvSpPr>
                <p:cNvPr id="820" name="Freeform: Shape 819">
                  <a:extLst>
                    <a:ext uri="{FF2B5EF4-FFF2-40B4-BE49-F238E27FC236}">
                      <a16:creationId xmlns:a16="http://schemas.microsoft.com/office/drawing/2014/main" id="{8B10F49B-A572-4CB9-851C-D04DD4061BB0}"/>
                    </a:ext>
                  </a:extLst>
                </p:cNvPr>
                <p:cNvSpPr/>
                <p:nvPr/>
              </p:nvSpPr>
              <p:spPr>
                <a:xfrm>
                  <a:off x="6775034" y="501677"/>
                  <a:ext cx="34286" cy="47653"/>
                </a:xfrm>
                <a:custGeom>
                  <a:avLst/>
                  <a:gdLst>
                    <a:gd name="connsiteX0" fmla="*/ 22831 w 34286"/>
                    <a:gd name="connsiteY0" fmla="*/ 47654 h 47653"/>
                    <a:gd name="connsiteX1" fmla="*/ 12397 w 34286"/>
                    <a:gd name="connsiteY1" fmla="*/ 40969 h 47653"/>
                    <a:gd name="connsiteX2" fmla="*/ 1046 w 34286"/>
                    <a:gd name="connsiteY2" fmla="*/ 16249 h 47653"/>
                    <a:gd name="connsiteX3" fmla="*/ 6687 w 34286"/>
                    <a:gd name="connsiteY3" fmla="*/ 1046 h 47653"/>
                    <a:gd name="connsiteX4" fmla="*/ 21890 w 34286"/>
                    <a:gd name="connsiteY4" fmla="*/ 6675 h 47653"/>
                    <a:gd name="connsiteX5" fmla="*/ 33241 w 34286"/>
                    <a:gd name="connsiteY5" fmla="*/ 31395 h 47653"/>
                    <a:gd name="connsiteX6" fmla="*/ 27600 w 34286"/>
                    <a:gd name="connsiteY6" fmla="*/ 46599 h 47653"/>
                    <a:gd name="connsiteX7" fmla="*/ 22831 w 34286"/>
                    <a:gd name="connsiteY7" fmla="*/ 47654 h 4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86" h="47653">
                      <a:moveTo>
                        <a:pt x="22831" y="47654"/>
                      </a:moveTo>
                      <a:cubicBezTo>
                        <a:pt x="18485" y="47654"/>
                        <a:pt x="14334" y="45177"/>
                        <a:pt x="12397" y="40969"/>
                      </a:cubicBezTo>
                      <a:lnTo>
                        <a:pt x="1046" y="16249"/>
                      </a:lnTo>
                      <a:cubicBezTo>
                        <a:pt x="-1592" y="10494"/>
                        <a:pt x="931" y="3683"/>
                        <a:pt x="6687" y="1046"/>
                      </a:cubicBezTo>
                      <a:cubicBezTo>
                        <a:pt x="12431" y="-1591"/>
                        <a:pt x="19242" y="931"/>
                        <a:pt x="21890" y="6675"/>
                      </a:cubicBezTo>
                      <a:lnTo>
                        <a:pt x="33241" y="31395"/>
                      </a:lnTo>
                      <a:cubicBezTo>
                        <a:pt x="35878" y="37151"/>
                        <a:pt x="33356" y="43962"/>
                        <a:pt x="27600" y="46599"/>
                      </a:cubicBezTo>
                      <a:cubicBezTo>
                        <a:pt x="26052" y="47310"/>
                        <a:pt x="24424" y="47654"/>
                        <a:pt x="22831" y="47654"/>
                      </a:cubicBezTo>
                      <a:close/>
                    </a:path>
                  </a:pathLst>
                </a:custGeom>
                <a:solidFill>
                  <a:schemeClr val="accent1"/>
                </a:solidFill>
                <a:ln w="1145" cap="flat">
                  <a:noFill/>
                  <a:prstDash val="solid"/>
                  <a:miter/>
                </a:ln>
              </p:spPr>
              <p:txBody>
                <a:bodyPr rtlCol="0" anchor="ctr"/>
                <a:lstStyle/>
                <a:p>
                  <a:endParaRPr lang="en-GB" dirty="0"/>
                </a:p>
              </p:txBody>
            </p:sp>
            <p:sp>
              <p:nvSpPr>
                <p:cNvPr id="821" name="Freeform: Shape 820">
                  <a:extLst>
                    <a:ext uri="{FF2B5EF4-FFF2-40B4-BE49-F238E27FC236}">
                      <a16:creationId xmlns:a16="http://schemas.microsoft.com/office/drawing/2014/main" id="{CFACFD9C-B9FA-4A3C-BEE5-09793A8664A9}"/>
                    </a:ext>
                  </a:extLst>
                </p:cNvPr>
                <p:cNvSpPr/>
                <p:nvPr/>
              </p:nvSpPr>
              <p:spPr>
                <a:xfrm>
                  <a:off x="6643993" y="216359"/>
                  <a:ext cx="34492" cy="48107"/>
                </a:xfrm>
                <a:custGeom>
                  <a:avLst/>
                  <a:gdLst>
                    <a:gd name="connsiteX0" fmla="*/ 23037 w 34492"/>
                    <a:gd name="connsiteY0" fmla="*/ 48107 h 48107"/>
                    <a:gd name="connsiteX1" fmla="*/ 12603 w 34492"/>
                    <a:gd name="connsiteY1" fmla="*/ 41423 h 48107"/>
                    <a:gd name="connsiteX2" fmla="*/ 1046 w 34492"/>
                    <a:gd name="connsiteY2" fmla="*/ 16256 h 48107"/>
                    <a:gd name="connsiteX3" fmla="*/ 6687 w 34492"/>
                    <a:gd name="connsiteY3" fmla="*/ 1052 h 48107"/>
                    <a:gd name="connsiteX4" fmla="*/ 21890 w 34492"/>
                    <a:gd name="connsiteY4" fmla="*/ 6693 h 48107"/>
                    <a:gd name="connsiteX5" fmla="*/ 33447 w 34492"/>
                    <a:gd name="connsiteY5" fmla="*/ 31861 h 48107"/>
                    <a:gd name="connsiteX6" fmla="*/ 27806 w 34492"/>
                    <a:gd name="connsiteY6" fmla="*/ 47064 h 48107"/>
                    <a:gd name="connsiteX7" fmla="*/ 23037 w 34492"/>
                    <a:gd name="connsiteY7" fmla="*/ 48107 h 48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92" h="48107">
                      <a:moveTo>
                        <a:pt x="23037" y="48107"/>
                      </a:moveTo>
                      <a:cubicBezTo>
                        <a:pt x="18691" y="48107"/>
                        <a:pt x="14541" y="45631"/>
                        <a:pt x="12603" y="41423"/>
                      </a:cubicBezTo>
                      <a:lnTo>
                        <a:pt x="1046" y="16256"/>
                      </a:lnTo>
                      <a:cubicBezTo>
                        <a:pt x="-1591" y="10512"/>
                        <a:pt x="931" y="3701"/>
                        <a:pt x="6687" y="1052"/>
                      </a:cubicBezTo>
                      <a:cubicBezTo>
                        <a:pt x="12419" y="-1596"/>
                        <a:pt x="19242" y="926"/>
                        <a:pt x="21890" y="6693"/>
                      </a:cubicBezTo>
                      <a:lnTo>
                        <a:pt x="33447" y="31861"/>
                      </a:lnTo>
                      <a:cubicBezTo>
                        <a:pt x="36085" y="37605"/>
                        <a:pt x="33562" y="44416"/>
                        <a:pt x="27806" y="47064"/>
                      </a:cubicBezTo>
                      <a:cubicBezTo>
                        <a:pt x="26258" y="47764"/>
                        <a:pt x="24630" y="48107"/>
                        <a:pt x="23037" y="48107"/>
                      </a:cubicBezTo>
                      <a:close/>
                    </a:path>
                  </a:pathLst>
                </a:custGeom>
                <a:solidFill>
                  <a:schemeClr val="accent1"/>
                </a:solidFill>
                <a:ln w="1145" cap="flat">
                  <a:noFill/>
                  <a:prstDash val="solid"/>
                  <a:miter/>
                </a:ln>
              </p:spPr>
              <p:txBody>
                <a:bodyPr rtlCol="0" anchor="ctr"/>
                <a:lstStyle/>
                <a:p>
                  <a:endParaRPr lang="en-GB" dirty="0"/>
                </a:p>
              </p:txBody>
            </p:sp>
            <p:sp>
              <p:nvSpPr>
                <p:cNvPr id="822" name="Freeform: Shape 821">
                  <a:extLst>
                    <a:ext uri="{FF2B5EF4-FFF2-40B4-BE49-F238E27FC236}">
                      <a16:creationId xmlns:a16="http://schemas.microsoft.com/office/drawing/2014/main" id="{2B9A8457-3A73-4E8C-8785-A4D4B7A849B6}"/>
                    </a:ext>
                  </a:extLst>
                </p:cNvPr>
                <p:cNvSpPr/>
                <p:nvPr/>
              </p:nvSpPr>
              <p:spPr>
                <a:xfrm>
                  <a:off x="6847061" y="431211"/>
                  <a:ext cx="46876" cy="33858"/>
                </a:xfrm>
                <a:custGeom>
                  <a:avLst/>
                  <a:gdLst>
                    <a:gd name="connsiteX0" fmla="*/ 35397 w 46876"/>
                    <a:gd name="connsiteY0" fmla="*/ 33859 h 33858"/>
                    <a:gd name="connsiteX1" fmla="*/ 30651 w 46876"/>
                    <a:gd name="connsiteY1" fmla="*/ 32827 h 33858"/>
                    <a:gd name="connsiteX2" fmla="*/ 6710 w 46876"/>
                    <a:gd name="connsiteY2" fmla="*/ 21912 h 33858"/>
                    <a:gd name="connsiteX3" fmla="*/ 1035 w 46876"/>
                    <a:gd name="connsiteY3" fmla="*/ 6720 h 33858"/>
                    <a:gd name="connsiteX4" fmla="*/ 16227 w 46876"/>
                    <a:gd name="connsiteY4" fmla="*/ 1033 h 33858"/>
                    <a:gd name="connsiteX5" fmla="*/ 40167 w 46876"/>
                    <a:gd name="connsiteY5" fmla="*/ 11948 h 33858"/>
                    <a:gd name="connsiteX6" fmla="*/ 45843 w 46876"/>
                    <a:gd name="connsiteY6" fmla="*/ 27140 h 33858"/>
                    <a:gd name="connsiteX7" fmla="*/ 35397 w 46876"/>
                    <a:gd name="connsiteY7" fmla="*/ 33859 h 33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876" h="33858">
                      <a:moveTo>
                        <a:pt x="35397" y="33859"/>
                      </a:moveTo>
                      <a:cubicBezTo>
                        <a:pt x="33804" y="33859"/>
                        <a:pt x="32198" y="33526"/>
                        <a:pt x="30651" y="32827"/>
                      </a:cubicBezTo>
                      <a:lnTo>
                        <a:pt x="6710" y="21912"/>
                      </a:lnTo>
                      <a:cubicBezTo>
                        <a:pt x="954" y="19286"/>
                        <a:pt x="-1591" y="12487"/>
                        <a:pt x="1035" y="6720"/>
                      </a:cubicBezTo>
                      <a:cubicBezTo>
                        <a:pt x="3660" y="964"/>
                        <a:pt x="10459" y="-1593"/>
                        <a:pt x="16227" y="1033"/>
                      </a:cubicBezTo>
                      <a:lnTo>
                        <a:pt x="40167" y="11948"/>
                      </a:lnTo>
                      <a:cubicBezTo>
                        <a:pt x="45923" y="14573"/>
                        <a:pt x="48468" y="21373"/>
                        <a:pt x="45843" y="27140"/>
                      </a:cubicBezTo>
                      <a:cubicBezTo>
                        <a:pt x="43916" y="31359"/>
                        <a:pt x="39754" y="33859"/>
                        <a:pt x="35397" y="33859"/>
                      </a:cubicBezTo>
                      <a:close/>
                    </a:path>
                  </a:pathLst>
                </a:custGeom>
                <a:solidFill>
                  <a:schemeClr val="accent1"/>
                </a:solidFill>
                <a:ln w="1145" cap="flat">
                  <a:noFill/>
                  <a:prstDash val="solid"/>
                  <a:miter/>
                </a:ln>
              </p:spPr>
              <p:txBody>
                <a:bodyPr rtlCol="0" anchor="ctr"/>
                <a:lstStyle/>
                <a:p>
                  <a:endParaRPr lang="en-GB" dirty="0"/>
                </a:p>
              </p:txBody>
            </p:sp>
            <p:sp>
              <p:nvSpPr>
                <p:cNvPr id="823" name="Freeform: Shape 822">
                  <a:extLst>
                    <a:ext uri="{FF2B5EF4-FFF2-40B4-BE49-F238E27FC236}">
                      <a16:creationId xmlns:a16="http://schemas.microsoft.com/office/drawing/2014/main" id="{F147957A-EFF6-41FB-8997-D6B32FDB9A90}"/>
                    </a:ext>
                  </a:extLst>
                </p:cNvPr>
                <p:cNvSpPr/>
                <p:nvPr/>
              </p:nvSpPr>
              <p:spPr>
                <a:xfrm>
                  <a:off x="6560557" y="300617"/>
                  <a:ext cx="47553" cy="34157"/>
                </a:xfrm>
                <a:custGeom>
                  <a:avLst/>
                  <a:gdLst>
                    <a:gd name="connsiteX0" fmla="*/ 36074 w 47553"/>
                    <a:gd name="connsiteY0" fmla="*/ 34157 h 34157"/>
                    <a:gd name="connsiteX1" fmla="*/ 31327 w 47553"/>
                    <a:gd name="connsiteY1" fmla="*/ 33125 h 34157"/>
                    <a:gd name="connsiteX2" fmla="*/ 6710 w 47553"/>
                    <a:gd name="connsiteY2" fmla="*/ 21900 h 34157"/>
                    <a:gd name="connsiteX3" fmla="*/ 1035 w 47553"/>
                    <a:gd name="connsiteY3" fmla="*/ 6708 h 34157"/>
                    <a:gd name="connsiteX4" fmla="*/ 16227 w 47553"/>
                    <a:gd name="connsiteY4" fmla="*/ 1033 h 34157"/>
                    <a:gd name="connsiteX5" fmla="*/ 40843 w 47553"/>
                    <a:gd name="connsiteY5" fmla="*/ 12258 h 34157"/>
                    <a:gd name="connsiteX6" fmla="*/ 46519 w 47553"/>
                    <a:gd name="connsiteY6" fmla="*/ 27450 h 34157"/>
                    <a:gd name="connsiteX7" fmla="*/ 36074 w 47553"/>
                    <a:gd name="connsiteY7" fmla="*/ 34157 h 3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53" h="34157">
                      <a:moveTo>
                        <a:pt x="36074" y="34157"/>
                      </a:moveTo>
                      <a:cubicBezTo>
                        <a:pt x="34480" y="34157"/>
                        <a:pt x="32875" y="33825"/>
                        <a:pt x="31327" y="33125"/>
                      </a:cubicBezTo>
                      <a:lnTo>
                        <a:pt x="6710" y="21900"/>
                      </a:lnTo>
                      <a:cubicBezTo>
                        <a:pt x="954" y="19275"/>
                        <a:pt x="-1591" y="12476"/>
                        <a:pt x="1035" y="6708"/>
                      </a:cubicBezTo>
                      <a:cubicBezTo>
                        <a:pt x="3660" y="964"/>
                        <a:pt x="10448" y="-1593"/>
                        <a:pt x="16227" y="1033"/>
                      </a:cubicBezTo>
                      <a:lnTo>
                        <a:pt x="40843" y="12258"/>
                      </a:lnTo>
                      <a:cubicBezTo>
                        <a:pt x="46599" y="14883"/>
                        <a:pt x="49145" y="21682"/>
                        <a:pt x="46519" y="27450"/>
                      </a:cubicBezTo>
                      <a:cubicBezTo>
                        <a:pt x="44593" y="31669"/>
                        <a:pt x="40431" y="34157"/>
                        <a:pt x="36074" y="34157"/>
                      </a:cubicBezTo>
                      <a:close/>
                    </a:path>
                  </a:pathLst>
                </a:custGeom>
                <a:solidFill>
                  <a:schemeClr val="accent1"/>
                </a:solidFill>
                <a:ln w="1145" cap="flat">
                  <a:noFill/>
                  <a:prstDash val="solid"/>
                  <a:miter/>
                </a:ln>
              </p:spPr>
              <p:txBody>
                <a:bodyPr rtlCol="0" anchor="ctr"/>
                <a:lstStyle/>
                <a:p>
                  <a:endParaRPr lang="en-GB" dirty="0"/>
                </a:p>
              </p:txBody>
            </p:sp>
            <p:sp>
              <p:nvSpPr>
                <p:cNvPr id="824" name="Freeform: Shape 823">
                  <a:extLst>
                    <a:ext uri="{FF2B5EF4-FFF2-40B4-BE49-F238E27FC236}">
                      <a16:creationId xmlns:a16="http://schemas.microsoft.com/office/drawing/2014/main" id="{1F930A7D-4721-49ED-81A8-31CB0B7C2433}"/>
                    </a:ext>
                  </a:extLst>
                </p:cNvPr>
                <p:cNvSpPr/>
                <p:nvPr/>
              </p:nvSpPr>
              <p:spPr>
                <a:xfrm>
                  <a:off x="6845675" y="302154"/>
                  <a:ext cx="48491" cy="34293"/>
                </a:xfrm>
                <a:custGeom>
                  <a:avLst/>
                  <a:gdLst>
                    <a:gd name="connsiteX0" fmla="*/ 11479 w 48491"/>
                    <a:gd name="connsiteY0" fmla="*/ 34294 h 34293"/>
                    <a:gd name="connsiteX1" fmla="*/ 988 w 48491"/>
                    <a:gd name="connsiteY1" fmla="*/ 27472 h 34293"/>
                    <a:gd name="connsiteX2" fmla="*/ 6824 w 48491"/>
                    <a:gd name="connsiteY2" fmla="*/ 12337 h 34293"/>
                    <a:gd name="connsiteX3" fmla="*/ 32381 w 48491"/>
                    <a:gd name="connsiteY3" fmla="*/ 998 h 34293"/>
                    <a:gd name="connsiteX4" fmla="*/ 47504 w 48491"/>
                    <a:gd name="connsiteY4" fmla="*/ 6822 h 34293"/>
                    <a:gd name="connsiteX5" fmla="*/ 41668 w 48491"/>
                    <a:gd name="connsiteY5" fmla="*/ 21957 h 34293"/>
                    <a:gd name="connsiteX6" fmla="*/ 16111 w 48491"/>
                    <a:gd name="connsiteY6" fmla="*/ 33296 h 34293"/>
                    <a:gd name="connsiteX7" fmla="*/ 11479 w 48491"/>
                    <a:gd name="connsiteY7" fmla="*/ 34294 h 34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91" h="34293">
                      <a:moveTo>
                        <a:pt x="11479" y="34294"/>
                      </a:moveTo>
                      <a:cubicBezTo>
                        <a:pt x="7076" y="34294"/>
                        <a:pt x="2891" y="31748"/>
                        <a:pt x="988" y="27472"/>
                      </a:cubicBezTo>
                      <a:cubicBezTo>
                        <a:pt x="-1581" y="21682"/>
                        <a:pt x="1034" y="14905"/>
                        <a:pt x="6824" y="12337"/>
                      </a:cubicBezTo>
                      <a:lnTo>
                        <a:pt x="32381" y="998"/>
                      </a:lnTo>
                      <a:cubicBezTo>
                        <a:pt x="38182" y="-1594"/>
                        <a:pt x="44936" y="1043"/>
                        <a:pt x="47504" y="6822"/>
                      </a:cubicBezTo>
                      <a:cubicBezTo>
                        <a:pt x="50072" y="12612"/>
                        <a:pt x="47458" y="19389"/>
                        <a:pt x="41668" y="21957"/>
                      </a:cubicBezTo>
                      <a:lnTo>
                        <a:pt x="16111" y="33296"/>
                      </a:lnTo>
                      <a:cubicBezTo>
                        <a:pt x="14597" y="33973"/>
                        <a:pt x="13015" y="34294"/>
                        <a:pt x="11479" y="34294"/>
                      </a:cubicBezTo>
                      <a:close/>
                    </a:path>
                  </a:pathLst>
                </a:custGeom>
                <a:solidFill>
                  <a:schemeClr val="accent1"/>
                </a:solidFill>
                <a:ln w="1145" cap="flat">
                  <a:noFill/>
                  <a:prstDash val="solid"/>
                  <a:miter/>
                </a:ln>
              </p:spPr>
              <p:txBody>
                <a:bodyPr rtlCol="0" anchor="ctr"/>
                <a:lstStyle/>
                <a:p>
                  <a:endParaRPr lang="en-GB" dirty="0"/>
                </a:p>
              </p:txBody>
            </p:sp>
            <p:sp>
              <p:nvSpPr>
                <p:cNvPr id="825" name="Freeform: Shape 824">
                  <a:extLst>
                    <a:ext uri="{FF2B5EF4-FFF2-40B4-BE49-F238E27FC236}">
                      <a16:creationId xmlns:a16="http://schemas.microsoft.com/office/drawing/2014/main" id="{943D528A-CC63-422E-8BD6-12BA7854FAAE}"/>
                    </a:ext>
                  </a:extLst>
                </p:cNvPr>
                <p:cNvSpPr/>
                <p:nvPr/>
              </p:nvSpPr>
              <p:spPr>
                <a:xfrm>
                  <a:off x="6559399" y="429870"/>
                  <a:ext cx="47058" cy="33663"/>
                </a:xfrm>
                <a:custGeom>
                  <a:avLst/>
                  <a:gdLst>
                    <a:gd name="connsiteX0" fmla="*/ 11479 w 47058"/>
                    <a:gd name="connsiteY0" fmla="*/ 33663 h 33663"/>
                    <a:gd name="connsiteX1" fmla="*/ 988 w 47058"/>
                    <a:gd name="connsiteY1" fmla="*/ 26841 h 33663"/>
                    <a:gd name="connsiteX2" fmla="*/ 6812 w 47058"/>
                    <a:gd name="connsiteY2" fmla="*/ 11707 h 33663"/>
                    <a:gd name="connsiteX3" fmla="*/ 30936 w 47058"/>
                    <a:gd name="connsiteY3" fmla="*/ 998 h 33663"/>
                    <a:gd name="connsiteX4" fmla="*/ 46071 w 47058"/>
                    <a:gd name="connsiteY4" fmla="*/ 6822 h 33663"/>
                    <a:gd name="connsiteX5" fmla="*/ 40246 w 47058"/>
                    <a:gd name="connsiteY5" fmla="*/ 21957 h 33663"/>
                    <a:gd name="connsiteX6" fmla="*/ 16122 w 47058"/>
                    <a:gd name="connsiteY6" fmla="*/ 32666 h 33663"/>
                    <a:gd name="connsiteX7" fmla="*/ 11479 w 47058"/>
                    <a:gd name="connsiteY7" fmla="*/ 33663 h 33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58" h="33663">
                      <a:moveTo>
                        <a:pt x="11479" y="33663"/>
                      </a:moveTo>
                      <a:cubicBezTo>
                        <a:pt x="7076" y="33663"/>
                        <a:pt x="2891" y="31118"/>
                        <a:pt x="988" y="26841"/>
                      </a:cubicBezTo>
                      <a:cubicBezTo>
                        <a:pt x="-1581" y="21051"/>
                        <a:pt x="1034" y="14275"/>
                        <a:pt x="6812" y="11707"/>
                      </a:cubicBezTo>
                      <a:lnTo>
                        <a:pt x="30936" y="998"/>
                      </a:lnTo>
                      <a:cubicBezTo>
                        <a:pt x="36738" y="-1594"/>
                        <a:pt x="43503" y="1043"/>
                        <a:pt x="46071" y="6822"/>
                      </a:cubicBezTo>
                      <a:cubicBezTo>
                        <a:pt x="48639" y="12612"/>
                        <a:pt x="46025" y="19388"/>
                        <a:pt x="40246" y="21957"/>
                      </a:cubicBezTo>
                      <a:lnTo>
                        <a:pt x="16122" y="32666"/>
                      </a:lnTo>
                      <a:cubicBezTo>
                        <a:pt x="14609" y="33342"/>
                        <a:pt x="13027" y="33663"/>
                        <a:pt x="11479" y="33663"/>
                      </a:cubicBezTo>
                      <a:close/>
                    </a:path>
                  </a:pathLst>
                </a:custGeom>
                <a:solidFill>
                  <a:schemeClr val="accent1"/>
                </a:solidFill>
                <a:ln w="1145" cap="flat">
                  <a:noFill/>
                  <a:prstDash val="solid"/>
                  <a:miter/>
                </a:ln>
              </p:spPr>
              <p:txBody>
                <a:bodyPr rtlCol="0" anchor="ctr"/>
                <a:lstStyle/>
                <a:p>
                  <a:endParaRPr lang="en-GB" dirty="0"/>
                </a:p>
              </p:txBody>
            </p:sp>
            <p:sp>
              <p:nvSpPr>
                <p:cNvPr id="826" name="Freeform: Shape 825">
                  <a:extLst>
                    <a:ext uri="{FF2B5EF4-FFF2-40B4-BE49-F238E27FC236}">
                      <a16:creationId xmlns:a16="http://schemas.microsoft.com/office/drawing/2014/main" id="{212BDEFF-9EBB-453D-A6DD-2D5CFB7C00E3}"/>
                    </a:ext>
                  </a:extLst>
                </p:cNvPr>
                <p:cNvSpPr/>
                <p:nvPr/>
              </p:nvSpPr>
              <p:spPr>
                <a:xfrm>
                  <a:off x="6644194" y="502735"/>
                  <a:ext cx="33814" cy="46653"/>
                </a:xfrm>
                <a:custGeom>
                  <a:avLst/>
                  <a:gdLst>
                    <a:gd name="connsiteX0" fmla="*/ 11461 w 33814"/>
                    <a:gd name="connsiteY0" fmla="*/ 46654 h 46653"/>
                    <a:gd name="connsiteX1" fmla="*/ 6692 w 33814"/>
                    <a:gd name="connsiteY1" fmla="*/ 45610 h 46653"/>
                    <a:gd name="connsiteX2" fmla="*/ 1051 w 33814"/>
                    <a:gd name="connsiteY2" fmla="*/ 30407 h 46653"/>
                    <a:gd name="connsiteX3" fmla="*/ 11920 w 33814"/>
                    <a:gd name="connsiteY3" fmla="*/ 6684 h 46653"/>
                    <a:gd name="connsiteX4" fmla="*/ 27123 w 33814"/>
                    <a:gd name="connsiteY4" fmla="*/ 1032 h 46653"/>
                    <a:gd name="connsiteX5" fmla="*/ 32764 w 33814"/>
                    <a:gd name="connsiteY5" fmla="*/ 16235 h 46653"/>
                    <a:gd name="connsiteX6" fmla="*/ 21895 w 33814"/>
                    <a:gd name="connsiteY6" fmla="*/ 39958 h 46653"/>
                    <a:gd name="connsiteX7" fmla="*/ 11461 w 33814"/>
                    <a:gd name="connsiteY7" fmla="*/ 46654 h 4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14" h="46653">
                      <a:moveTo>
                        <a:pt x="11461" y="46654"/>
                      </a:moveTo>
                      <a:cubicBezTo>
                        <a:pt x="9868" y="46654"/>
                        <a:pt x="8251" y="46310"/>
                        <a:pt x="6692" y="45610"/>
                      </a:cubicBezTo>
                      <a:cubicBezTo>
                        <a:pt x="936" y="42973"/>
                        <a:pt x="-1598" y="36163"/>
                        <a:pt x="1051" y="30407"/>
                      </a:cubicBezTo>
                      <a:lnTo>
                        <a:pt x="11920" y="6684"/>
                      </a:lnTo>
                      <a:cubicBezTo>
                        <a:pt x="14546" y="940"/>
                        <a:pt x="21333" y="-1582"/>
                        <a:pt x="27123" y="1032"/>
                      </a:cubicBezTo>
                      <a:cubicBezTo>
                        <a:pt x="32879" y="3669"/>
                        <a:pt x="35413" y="10480"/>
                        <a:pt x="32764" y="16235"/>
                      </a:cubicBezTo>
                      <a:lnTo>
                        <a:pt x="21895" y="39958"/>
                      </a:lnTo>
                      <a:cubicBezTo>
                        <a:pt x="19980" y="44166"/>
                        <a:pt x="15806" y="46654"/>
                        <a:pt x="11461" y="46654"/>
                      </a:cubicBezTo>
                      <a:close/>
                    </a:path>
                  </a:pathLst>
                </a:custGeom>
                <a:solidFill>
                  <a:schemeClr val="accent1"/>
                </a:solidFill>
                <a:ln w="1145" cap="flat">
                  <a:noFill/>
                  <a:prstDash val="solid"/>
                  <a:miter/>
                </a:ln>
              </p:spPr>
              <p:txBody>
                <a:bodyPr rtlCol="0" anchor="ctr"/>
                <a:lstStyle/>
                <a:p>
                  <a:endParaRPr lang="en-GB" dirty="0"/>
                </a:p>
              </p:txBody>
            </p:sp>
            <p:sp>
              <p:nvSpPr>
                <p:cNvPr id="827" name="Freeform: Shape 826">
                  <a:extLst>
                    <a:ext uri="{FF2B5EF4-FFF2-40B4-BE49-F238E27FC236}">
                      <a16:creationId xmlns:a16="http://schemas.microsoft.com/office/drawing/2014/main" id="{5F571A75-8A90-49E8-BDB4-187A2D85111D}"/>
                    </a:ext>
                  </a:extLst>
                </p:cNvPr>
                <p:cNvSpPr/>
                <p:nvPr/>
              </p:nvSpPr>
              <p:spPr>
                <a:xfrm>
                  <a:off x="6775075" y="216292"/>
                  <a:ext cx="34205" cy="47497"/>
                </a:xfrm>
                <a:custGeom>
                  <a:avLst/>
                  <a:gdLst>
                    <a:gd name="connsiteX0" fmla="*/ 11462 w 34205"/>
                    <a:gd name="connsiteY0" fmla="*/ 47498 h 47497"/>
                    <a:gd name="connsiteX1" fmla="*/ 6692 w 34205"/>
                    <a:gd name="connsiteY1" fmla="*/ 46454 h 47497"/>
                    <a:gd name="connsiteX2" fmla="*/ 1051 w 34205"/>
                    <a:gd name="connsiteY2" fmla="*/ 31251 h 47497"/>
                    <a:gd name="connsiteX3" fmla="*/ 12310 w 34205"/>
                    <a:gd name="connsiteY3" fmla="*/ 6680 h 47497"/>
                    <a:gd name="connsiteX4" fmla="*/ 27513 w 34205"/>
                    <a:gd name="connsiteY4" fmla="*/ 1039 h 47497"/>
                    <a:gd name="connsiteX5" fmla="*/ 33154 w 34205"/>
                    <a:gd name="connsiteY5" fmla="*/ 16242 h 47497"/>
                    <a:gd name="connsiteX6" fmla="*/ 21895 w 34205"/>
                    <a:gd name="connsiteY6" fmla="*/ 40813 h 47497"/>
                    <a:gd name="connsiteX7" fmla="*/ 11462 w 34205"/>
                    <a:gd name="connsiteY7" fmla="*/ 47498 h 47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05" h="47497">
                      <a:moveTo>
                        <a:pt x="11462" y="47498"/>
                      </a:moveTo>
                      <a:cubicBezTo>
                        <a:pt x="9868" y="47498"/>
                        <a:pt x="8251" y="47165"/>
                        <a:pt x="6692" y="46454"/>
                      </a:cubicBezTo>
                      <a:cubicBezTo>
                        <a:pt x="936" y="43817"/>
                        <a:pt x="-1598" y="37007"/>
                        <a:pt x="1051" y="31251"/>
                      </a:cubicBezTo>
                      <a:lnTo>
                        <a:pt x="12310" y="6680"/>
                      </a:lnTo>
                      <a:cubicBezTo>
                        <a:pt x="14935" y="936"/>
                        <a:pt x="21700" y="-1587"/>
                        <a:pt x="27513" y="1039"/>
                      </a:cubicBezTo>
                      <a:cubicBezTo>
                        <a:pt x="33269" y="3676"/>
                        <a:pt x="35803" y="10487"/>
                        <a:pt x="33154" y="16242"/>
                      </a:cubicBezTo>
                      <a:lnTo>
                        <a:pt x="21895" y="40813"/>
                      </a:lnTo>
                      <a:cubicBezTo>
                        <a:pt x="19969" y="45021"/>
                        <a:pt x="15795" y="47498"/>
                        <a:pt x="11462" y="47498"/>
                      </a:cubicBezTo>
                      <a:close/>
                    </a:path>
                  </a:pathLst>
                </a:custGeom>
                <a:solidFill>
                  <a:schemeClr val="accent1"/>
                </a:solidFill>
                <a:ln w="1145" cap="flat">
                  <a:noFill/>
                  <a:prstDash val="solid"/>
                  <a:miter/>
                </a:ln>
              </p:spPr>
              <p:txBody>
                <a:bodyPr rtlCol="0" anchor="ctr"/>
                <a:lstStyle/>
                <a:p>
                  <a:endParaRPr lang="en-GB" dirty="0"/>
                </a:p>
              </p:txBody>
            </p:sp>
          </p:grpSp>
          <p:sp>
            <p:nvSpPr>
              <p:cNvPr id="812" name="Freeform: Shape 811">
                <a:extLst>
                  <a:ext uri="{FF2B5EF4-FFF2-40B4-BE49-F238E27FC236}">
                    <a16:creationId xmlns:a16="http://schemas.microsoft.com/office/drawing/2014/main" id="{D52CEA80-F260-4ABD-93D4-5206EA62B0A7}"/>
                  </a:ext>
                </a:extLst>
              </p:cNvPr>
              <p:cNvSpPr/>
              <p:nvPr/>
            </p:nvSpPr>
            <p:spPr>
              <a:xfrm>
                <a:off x="6650090" y="324742"/>
                <a:ext cx="35368" cy="27104"/>
              </a:xfrm>
              <a:custGeom>
                <a:avLst/>
                <a:gdLst>
                  <a:gd name="connsiteX0" fmla="*/ 11470 w 35368"/>
                  <a:gd name="connsiteY0" fmla="*/ 27105 h 27104"/>
                  <a:gd name="connsiteX1" fmla="*/ 601 w 35368"/>
                  <a:gd name="connsiteY1" fmla="*/ 19285 h 27104"/>
                  <a:gd name="connsiteX2" fmla="*/ 7824 w 35368"/>
                  <a:gd name="connsiteY2" fmla="*/ 4770 h 27104"/>
                  <a:gd name="connsiteX3" fmla="*/ 20241 w 35368"/>
                  <a:gd name="connsiteY3" fmla="*/ 596 h 27104"/>
                  <a:gd name="connsiteX4" fmla="*/ 34768 w 35368"/>
                  <a:gd name="connsiteY4" fmla="*/ 7808 h 27104"/>
                  <a:gd name="connsiteX5" fmla="*/ 27545 w 35368"/>
                  <a:gd name="connsiteY5" fmla="*/ 22324 h 27104"/>
                  <a:gd name="connsiteX6" fmla="*/ 15128 w 35368"/>
                  <a:gd name="connsiteY6" fmla="*/ 26497 h 27104"/>
                  <a:gd name="connsiteX7" fmla="*/ 11470 w 35368"/>
                  <a:gd name="connsiteY7" fmla="*/ 27105 h 27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68" h="27104">
                    <a:moveTo>
                      <a:pt x="11470" y="27105"/>
                    </a:moveTo>
                    <a:cubicBezTo>
                      <a:pt x="6677" y="27105"/>
                      <a:pt x="2206" y="24078"/>
                      <a:pt x="601" y="19285"/>
                    </a:cubicBezTo>
                    <a:cubicBezTo>
                      <a:pt x="-1418" y="13289"/>
                      <a:pt x="1816" y="6788"/>
                      <a:pt x="7824" y="4770"/>
                    </a:cubicBezTo>
                    <a:lnTo>
                      <a:pt x="20241" y="596"/>
                    </a:lnTo>
                    <a:cubicBezTo>
                      <a:pt x="26249" y="-1410"/>
                      <a:pt x="32750" y="1812"/>
                      <a:pt x="34768" y="7808"/>
                    </a:cubicBezTo>
                    <a:cubicBezTo>
                      <a:pt x="36786" y="13805"/>
                      <a:pt x="33553" y="20306"/>
                      <a:pt x="27545" y="22324"/>
                    </a:cubicBezTo>
                    <a:lnTo>
                      <a:pt x="15128" y="26497"/>
                    </a:lnTo>
                    <a:cubicBezTo>
                      <a:pt x="13912" y="26898"/>
                      <a:pt x="12685" y="27105"/>
                      <a:pt x="11470" y="27105"/>
                    </a:cubicBezTo>
                    <a:close/>
                  </a:path>
                </a:pathLst>
              </a:custGeom>
              <a:solidFill>
                <a:schemeClr val="accent1"/>
              </a:solidFill>
              <a:ln w="1145" cap="flat">
                <a:noFill/>
                <a:prstDash val="solid"/>
                <a:miter/>
              </a:ln>
            </p:spPr>
            <p:txBody>
              <a:bodyPr rtlCol="0" anchor="ctr"/>
              <a:lstStyle/>
              <a:p>
                <a:endParaRPr lang="en-GB" dirty="0"/>
              </a:p>
            </p:txBody>
          </p:sp>
          <p:sp>
            <p:nvSpPr>
              <p:cNvPr id="813" name="Freeform: Shape 812">
                <a:extLst>
                  <a:ext uri="{FF2B5EF4-FFF2-40B4-BE49-F238E27FC236}">
                    <a16:creationId xmlns:a16="http://schemas.microsoft.com/office/drawing/2014/main" id="{1FB0DD7A-06ED-474A-AADC-A1511CE500CE}"/>
                  </a:ext>
                </a:extLst>
              </p:cNvPr>
              <p:cNvSpPr/>
              <p:nvPr/>
            </p:nvSpPr>
            <p:spPr>
              <a:xfrm>
                <a:off x="6713880" y="434979"/>
                <a:ext cx="37981" cy="36707"/>
              </a:xfrm>
              <a:custGeom>
                <a:avLst/>
                <a:gdLst>
                  <a:gd name="connsiteX0" fmla="*/ 11464 w 37981"/>
                  <a:gd name="connsiteY0" fmla="*/ 36707 h 36707"/>
                  <a:gd name="connsiteX1" fmla="*/ 3013 w 37981"/>
                  <a:gd name="connsiteY1" fmla="*/ 32992 h 36707"/>
                  <a:gd name="connsiteX2" fmla="*/ 3724 w 37981"/>
                  <a:gd name="connsiteY2" fmla="*/ 16791 h 36707"/>
                  <a:gd name="connsiteX3" fmla="*/ 18768 w 37981"/>
                  <a:gd name="connsiteY3" fmla="*/ 3009 h 36707"/>
                  <a:gd name="connsiteX4" fmla="*/ 34968 w 37981"/>
                  <a:gd name="connsiteY4" fmla="*/ 3720 h 36707"/>
                  <a:gd name="connsiteX5" fmla="*/ 34257 w 37981"/>
                  <a:gd name="connsiteY5" fmla="*/ 19921 h 36707"/>
                  <a:gd name="connsiteX6" fmla="*/ 19214 w 37981"/>
                  <a:gd name="connsiteY6" fmla="*/ 33703 h 36707"/>
                  <a:gd name="connsiteX7" fmla="*/ 11464 w 37981"/>
                  <a:gd name="connsiteY7" fmla="*/ 36707 h 3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81" h="36707">
                    <a:moveTo>
                      <a:pt x="11464" y="36707"/>
                    </a:moveTo>
                    <a:cubicBezTo>
                      <a:pt x="8357" y="36707"/>
                      <a:pt x="5272" y="35457"/>
                      <a:pt x="3013" y="32992"/>
                    </a:cubicBezTo>
                    <a:cubicBezTo>
                      <a:pt x="-1263" y="28326"/>
                      <a:pt x="-954" y="21068"/>
                      <a:pt x="3724" y="16791"/>
                    </a:cubicBezTo>
                    <a:lnTo>
                      <a:pt x="18768" y="3009"/>
                    </a:lnTo>
                    <a:cubicBezTo>
                      <a:pt x="23445" y="-1267"/>
                      <a:pt x="30692" y="-946"/>
                      <a:pt x="34968" y="3720"/>
                    </a:cubicBezTo>
                    <a:cubicBezTo>
                      <a:pt x="39245" y="8387"/>
                      <a:pt x="38935" y="15645"/>
                      <a:pt x="34257" y="19921"/>
                    </a:cubicBezTo>
                    <a:lnTo>
                      <a:pt x="19214" y="33703"/>
                    </a:lnTo>
                    <a:cubicBezTo>
                      <a:pt x="17002" y="35710"/>
                      <a:pt x="14227" y="36707"/>
                      <a:pt x="11464" y="36707"/>
                    </a:cubicBezTo>
                    <a:close/>
                  </a:path>
                </a:pathLst>
              </a:custGeom>
              <a:solidFill>
                <a:schemeClr val="accent1"/>
              </a:solidFill>
              <a:ln w="1145" cap="flat">
                <a:noFill/>
                <a:prstDash val="solid"/>
                <a:miter/>
              </a:ln>
            </p:spPr>
            <p:txBody>
              <a:bodyPr rtlCol="0" anchor="ctr"/>
              <a:lstStyle/>
              <a:p>
                <a:endParaRPr lang="en-GB" dirty="0"/>
              </a:p>
            </p:txBody>
          </p:sp>
          <p:sp>
            <p:nvSpPr>
              <p:cNvPr id="814" name="Freeform: Shape 813">
                <a:extLst>
                  <a:ext uri="{FF2B5EF4-FFF2-40B4-BE49-F238E27FC236}">
                    <a16:creationId xmlns:a16="http://schemas.microsoft.com/office/drawing/2014/main" id="{33298DFC-E3D5-4233-88F9-ACCE6B9FD25A}"/>
                  </a:ext>
                </a:extLst>
              </p:cNvPr>
              <p:cNvSpPr/>
              <p:nvPr/>
            </p:nvSpPr>
            <p:spPr>
              <a:xfrm>
                <a:off x="6789036" y="367322"/>
                <a:ext cx="32951" cy="44237"/>
              </a:xfrm>
              <a:custGeom>
                <a:avLst/>
                <a:gdLst>
                  <a:gd name="connsiteX0" fmla="*/ 21497 w 32951"/>
                  <a:gd name="connsiteY0" fmla="*/ 44238 h 44237"/>
                  <a:gd name="connsiteX1" fmla="*/ 11109 w 32951"/>
                  <a:gd name="connsiteY1" fmla="*/ 37656 h 44237"/>
                  <a:gd name="connsiteX2" fmla="*/ 1089 w 32951"/>
                  <a:gd name="connsiteY2" fmla="*/ 16365 h 44237"/>
                  <a:gd name="connsiteX3" fmla="*/ 6581 w 32951"/>
                  <a:gd name="connsiteY3" fmla="*/ 1104 h 44237"/>
                  <a:gd name="connsiteX4" fmla="*/ 21842 w 32951"/>
                  <a:gd name="connsiteY4" fmla="*/ 6596 h 44237"/>
                  <a:gd name="connsiteX5" fmla="*/ 31862 w 32951"/>
                  <a:gd name="connsiteY5" fmla="*/ 27888 h 44237"/>
                  <a:gd name="connsiteX6" fmla="*/ 26370 w 32951"/>
                  <a:gd name="connsiteY6" fmla="*/ 43148 h 44237"/>
                  <a:gd name="connsiteX7" fmla="*/ 21497 w 32951"/>
                  <a:gd name="connsiteY7" fmla="*/ 44238 h 4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951" h="44237">
                    <a:moveTo>
                      <a:pt x="21497" y="44238"/>
                    </a:moveTo>
                    <a:cubicBezTo>
                      <a:pt x="17187" y="44238"/>
                      <a:pt x="13070" y="41807"/>
                      <a:pt x="11109" y="37656"/>
                    </a:cubicBezTo>
                    <a:lnTo>
                      <a:pt x="1089" y="16365"/>
                    </a:lnTo>
                    <a:cubicBezTo>
                      <a:pt x="-1594" y="10632"/>
                      <a:pt x="848" y="3798"/>
                      <a:pt x="6581" y="1104"/>
                    </a:cubicBezTo>
                    <a:cubicBezTo>
                      <a:pt x="12314" y="-1614"/>
                      <a:pt x="19135" y="863"/>
                      <a:pt x="21842" y="6596"/>
                    </a:cubicBezTo>
                    <a:lnTo>
                      <a:pt x="31862" y="27888"/>
                    </a:lnTo>
                    <a:cubicBezTo>
                      <a:pt x="34545" y="33620"/>
                      <a:pt x="32103" y="40454"/>
                      <a:pt x="26370" y="43148"/>
                    </a:cubicBezTo>
                    <a:cubicBezTo>
                      <a:pt x="24788" y="43882"/>
                      <a:pt x="23137" y="44238"/>
                      <a:pt x="21497" y="44238"/>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38" name="Group 37">
            <a:extLst>
              <a:ext uri="{FF2B5EF4-FFF2-40B4-BE49-F238E27FC236}">
                <a16:creationId xmlns:a16="http://schemas.microsoft.com/office/drawing/2014/main" id="{A7B04EF5-00A1-8330-3FF2-5C4CA1C8352D}"/>
              </a:ext>
            </a:extLst>
          </p:cNvPr>
          <p:cNvGrpSpPr/>
          <p:nvPr/>
        </p:nvGrpSpPr>
        <p:grpSpPr>
          <a:xfrm>
            <a:off x="7067099" y="4064875"/>
            <a:ext cx="464872" cy="418478"/>
            <a:chOff x="7066687" y="4064875"/>
            <a:chExt cx="464872" cy="418478"/>
          </a:xfrm>
        </p:grpSpPr>
        <p:grpSp>
          <p:nvGrpSpPr>
            <p:cNvPr id="867" name="Graphic 48">
              <a:extLst>
                <a:ext uri="{FF2B5EF4-FFF2-40B4-BE49-F238E27FC236}">
                  <a16:creationId xmlns:a16="http://schemas.microsoft.com/office/drawing/2014/main" id="{57E11B36-D5ED-4433-9235-CEA236017D6C}"/>
                </a:ext>
              </a:extLst>
            </p:cNvPr>
            <p:cNvGrpSpPr/>
            <p:nvPr/>
          </p:nvGrpSpPr>
          <p:grpSpPr>
            <a:xfrm>
              <a:off x="7066687" y="4064875"/>
              <a:ext cx="464872" cy="418478"/>
              <a:chOff x="1900498" y="1414817"/>
              <a:chExt cx="943795" cy="849606"/>
            </a:xfrm>
            <a:solidFill>
              <a:schemeClr val="tx2"/>
            </a:solidFill>
          </p:grpSpPr>
          <p:grpSp>
            <p:nvGrpSpPr>
              <p:cNvPr id="911" name="Graphic 48">
                <a:extLst>
                  <a:ext uri="{FF2B5EF4-FFF2-40B4-BE49-F238E27FC236}">
                    <a16:creationId xmlns:a16="http://schemas.microsoft.com/office/drawing/2014/main" id="{F0446AB4-84AC-49E5-9A1A-811C530E98F8}"/>
                  </a:ext>
                </a:extLst>
              </p:cNvPr>
              <p:cNvGrpSpPr/>
              <p:nvPr/>
            </p:nvGrpSpPr>
            <p:grpSpPr>
              <a:xfrm>
                <a:off x="2103716" y="1461036"/>
                <a:ext cx="740577" cy="803388"/>
                <a:chOff x="2103716" y="1461036"/>
                <a:chExt cx="740577" cy="803388"/>
              </a:xfrm>
              <a:grpFill/>
            </p:grpSpPr>
            <p:sp>
              <p:nvSpPr>
                <p:cNvPr id="913" name="Freeform: Shape 912">
                  <a:extLst>
                    <a:ext uri="{FF2B5EF4-FFF2-40B4-BE49-F238E27FC236}">
                      <a16:creationId xmlns:a16="http://schemas.microsoft.com/office/drawing/2014/main" id="{10176316-CB8D-481F-8BD5-0BB0A2DFB6DC}"/>
                    </a:ext>
                  </a:extLst>
                </p:cNvPr>
                <p:cNvSpPr/>
                <p:nvPr/>
              </p:nvSpPr>
              <p:spPr>
                <a:xfrm>
                  <a:off x="2715059" y="1678509"/>
                  <a:ext cx="127928" cy="249821"/>
                </a:xfrm>
                <a:custGeom>
                  <a:avLst/>
                  <a:gdLst>
                    <a:gd name="connsiteX0" fmla="*/ 116452 w 127928"/>
                    <a:gd name="connsiteY0" fmla="*/ 249810 h 249821"/>
                    <a:gd name="connsiteX1" fmla="*/ 104986 w 127928"/>
                    <a:gd name="connsiteY1" fmla="*/ 238368 h 249821"/>
                    <a:gd name="connsiteX2" fmla="*/ 104688 w 127928"/>
                    <a:gd name="connsiteY2" fmla="*/ 89108 h 249821"/>
                    <a:gd name="connsiteX3" fmla="*/ 86538 w 127928"/>
                    <a:gd name="connsiteY3" fmla="*/ 39530 h 249821"/>
                    <a:gd name="connsiteX4" fmla="*/ 12263 w 127928"/>
                    <a:gd name="connsiteY4" fmla="*/ 23524 h 249821"/>
                    <a:gd name="connsiteX5" fmla="*/ 29 w 127928"/>
                    <a:gd name="connsiteY5" fmla="*/ 12884 h 249821"/>
                    <a:gd name="connsiteX6" fmla="*/ 10669 w 127928"/>
                    <a:gd name="connsiteY6" fmla="*/ 650 h 249821"/>
                    <a:gd name="connsiteX7" fmla="*/ 101982 w 127928"/>
                    <a:gd name="connsiteY7" fmla="*/ 22572 h 249821"/>
                    <a:gd name="connsiteX8" fmla="*/ 127619 w 127928"/>
                    <a:gd name="connsiteY8" fmla="*/ 88821 h 249821"/>
                    <a:gd name="connsiteX9" fmla="*/ 127929 w 127928"/>
                    <a:gd name="connsiteY9" fmla="*/ 238333 h 249821"/>
                    <a:gd name="connsiteX10" fmla="*/ 116486 w 127928"/>
                    <a:gd name="connsiteY10" fmla="*/ 249822 h 249821"/>
                    <a:gd name="connsiteX11" fmla="*/ 116452 w 127928"/>
                    <a:gd name="connsiteY11" fmla="*/ 249810 h 24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928" h="249821">
                      <a:moveTo>
                        <a:pt x="116452" y="249810"/>
                      </a:moveTo>
                      <a:cubicBezTo>
                        <a:pt x="110134" y="249810"/>
                        <a:pt x="104997" y="244697"/>
                        <a:pt x="104986" y="238368"/>
                      </a:cubicBezTo>
                      <a:lnTo>
                        <a:pt x="104688" y="89108"/>
                      </a:lnTo>
                      <a:cubicBezTo>
                        <a:pt x="104160" y="66463"/>
                        <a:pt x="98221" y="50170"/>
                        <a:pt x="86538" y="39530"/>
                      </a:cubicBezTo>
                      <a:cubicBezTo>
                        <a:pt x="71965" y="26264"/>
                        <a:pt x="47669" y="21024"/>
                        <a:pt x="12263" y="23524"/>
                      </a:cubicBezTo>
                      <a:cubicBezTo>
                        <a:pt x="6014" y="23891"/>
                        <a:pt x="465" y="19213"/>
                        <a:pt x="29" y="12884"/>
                      </a:cubicBezTo>
                      <a:cubicBezTo>
                        <a:pt x="-418" y="6566"/>
                        <a:pt x="4340" y="1086"/>
                        <a:pt x="10669" y="650"/>
                      </a:cubicBezTo>
                      <a:cubicBezTo>
                        <a:pt x="52611" y="-2320"/>
                        <a:pt x="82536" y="4869"/>
                        <a:pt x="101982" y="22572"/>
                      </a:cubicBezTo>
                      <a:cubicBezTo>
                        <a:pt x="118309" y="37443"/>
                        <a:pt x="126943" y="59733"/>
                        <a:pt x="127619" y="88821"/>
                      </a:cubicBezTo>
                      <a:lnTo>
                        <a:pt x="127929" y="238333"/>
                      </a:lnTo>
                      <a:cubicBezTo>
                        <a:pt x="127940" y="244662"/>
                        <a:pt x="122815" y="249810"/>
                        <a:pt x="116486" y="249822"/>
                      </a:cubicBezTo>
                      <a:cubicBezTo>
                        <a:pt x="116474" y="249810"/>
                        <a:pt x="116463" y="249810"/>
                        <a:pt x="116452" y="249810"/>
                      </a:cubicBezTo>
                      <a:close/>
                    </a:path>
                  </a:pathLst>
                </a:custGeom>
                <a:grpFill/>
                <a:ln w="1145" cap="flat">
                  <a:noFill/>
                  <a:prstDash val="solid"/>
                  <a:miter/>
                </a:ln>
              </p:spPr>
              <p:txBody>
                <a:bodyPr rtlCol="0" anchor="ctr"/>
                <a:lstStyle/>
                <a:p>
                  <a:endParaRPr lang="en-GB" dirty="0"/>
                </a:p>
              </p:txBody>
            </p:sp>
            <p:sp>
              <p:nvSpPr>
                <p:cNvPr id="914" name="Freeform: Shape 913">
                  <a:extLst>
                    <a:ext uri="{FF2B5EF4-FFF2-40B4-BE49-F238E27FC236}">
                      <a16:creationId xmlns:a16="http://schemas.microsoft.com/office/drawing/2014/main" id="{8C35F48F-C9FE-40AC-A36F-C9C80E051189}"/>
                    </a:ext>
                  </a:extLst>
                </p:cNvPr>
                <p:cNvSpPr/>
                <p:nvPr/>
              </p:nvSpPr>
              <p:spPr>
                <a:xfrm>
                  <a:off x="2431392" y="2148276"/>
                  <a:ext cx="23401" cy="111847"/>
                </a:xfrm>
                <a:custGeom>
                  <a:avLst/>
                  <a:gdLst>
                    <a:gd name="connsiteX0" fmla="*/ 11936 w 23401"/>
                    <a:gd name="connsiteY0" fmla="*/ 111848 h 111847"/>
                    <a:gd name="connsiteX1" fmla="*/ 470 w 23401"/>
                    <a:gd name="connsiteY1" fmla="*/ 100439 h 111847"/>
                    <a:gd name="connsiteX2" fmla="*/ 0 w 23401"/>
                    <a:gd name="connsiteY2" fmla="*/ 11523 h 111847"/>
                    <a:gd name="connsiteX3" fmla="*/ 11409 w 23401"/>
                    <a:gd name="connsiteY3" fmla="*/ 0 h 111847"/>
                    <a:gd name="connsiteX4" fmla="*/ 11466 w 23401"/>
                    <a:gd name="connsiteY4" fmla="*/ 0 h 111847"/>
                    <a:gd name="connsiteX5" fmla="*/ 22932 w 23401"/>
                    <a:gd name="connsiteY5" fmla="*/ 11408 h 111847"/>
                    <a:gd name="connsiteX6" fmla="*/ 23402 w 23401"/>
                    <a:gd name="connsiteY6" fmla="*/ 100325 h 111847"/>
                    <a:gd name="connsiteX7" fmla="*/ 11993 w 23401"/>
                    <a:gd name="connsiteY7" fmla="*/ 111848 h 111847"/>
                    <a:gd name="connsiteX8" fmla="*/ 11936 w 23401"/>
                    <a:gd name="connsiteY8" fmla="*/ 111848 h 111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01" h="111847">
                      <a:moveTo>
                        <a:pt x="11936" y="111848"/>
                      </a:moveTo>
                      <a:cubicBezTo>
                        <a:pt x="5630" y="111848"/>
                        <a:pt x="505" y="106757"/>
                        <a:pt x="470" y="100439"/>
                      </a:cubicBezTo>
                      <a:lnTo>
                        <a:pt x="0" y="11523"/>
                      </a:lnTo>
                      <a:cubicBezTo>
                        <a:pt x="-34" y="5194"/>
                        <a:pt x="5068" y="34"/>
                        <a:pt x="11409" y="0"/>
                      </a:cubicBezTo>
                      <a:cubicBezTo>
                        <a:pt x="11431" y="0"/>
                        <a:pt x="11454" y="0"/>
                        <a:pt x="11466" y="0"/>
                      </a:cubicBezTo>
                      <a:cubicBezTo>
                        <a:pt x="17772" y="0"/>
                        <a:pt x="22897" y="5091"/>
                        <a:pt x="22932" y="11408"/>
                      </a:cubicBezTo>
                      <a:lnTo>
                        <a:pt x="23402" y="100325"/>
                      </a:lnTo>
                      <a:cubicBezTo>
                        <a:pt x="23436" y="106654"/>
                        <a:pt x="18334" y="111813"/>
                        <a:pt x="11993" y="111848"/>
                      </a:cubicBezTo>
                      <a:cubicBezTo>
                        <a:pt x="11970" y="111848"/>
                        <a:pt x="11947" y="111848"/>
                        <a:pt x="11936" y="111848"/>
                      </a:cubicBezTo>
                      <a:close/>
                    </a:path>
                  </a:pathLst>
                </a:custGeom>
                <a:grpFill/>
                <a:ln w="1145" cap="flat">
                  <a:noFill/>
                  <a:prstDash val="solid"/>
                  <a:miter/>
                </a:ln>
              </p:spPr>
              <p:txBody>
                <a:bodyPr rtlCol="0" anchor="ctr"/>
                <a:lstStyle/>
                <a:p>
                  <a:endParaRPr lang="en-GB" dirty="0"/>
                </a:p>
              </p:txBody>
            </p:sp>
            <p:sp>
              <p:nvSpPr>
                <p:cNvPr id="915" name="Freeform: Shape 914">
                  <a:extLst>
                    <a:ext uri="{FF2B5EF4-FFF2-40B4-BE49-F238E27FC236}">
                      <a16:creationId xmlns:a16="http://schemas.microsoft.com/office/drawing/2014/main" id="{D262858C-E5EA-4288-B35D-10A9813F129C}"/>
                    </a:ext>
                  </a:extLst>
                </p:cNvPr>
                <p:cNvSpPr/>
                <p:nvPr/>
              </p:nvSpPr>
              <p:spPr>
                <a:xfrm>
                  <a:off x="2222591" y="1901753"/>
                  <a:ext cx="152803" cy="141211"/>
                </a:xfrm>
                <a:custGeom>
                  <a:avLst/>
                  <a:gdLst>
                    <a:gd name="connsiteX0" fmla="*/ 11523 w 152803"/>
                    <a:gd name="connsiteY0" fmla="*/ 141211 h 141211"/>
                    <a:gd name="connsiteX1" fmla="*/ 58 w 152803"/>
                    <a:gd name="connsiteY1" fmla="*/ 129768 h 141211"/>
                    <a:gd name="connsiteX2" fmla="*/ 0 w 152803"/>
                    <a:gd name="connsiteY2" fmla="*/ 102950 h 141211"/>
                    <a:gd name="connsiteX3" fmla="*/ 102343 w 152803"/>
                    <a:gd name="connsiteY3" fmla="*/ 0 h 141211"/>
                    <a:gd name="connsiteX4" fmla="*/ 141338 w 152803"/>
                    <a:gd name="connsiteY4" fmla="*/ 0 h 141211"/>
                    <a:gd name="connsiteX5" fmla="*/ 152803 w 152803"/>
                    <a:gd name="connsiteY5" fmla="*/ 11466 h 141211"/>
                    <a:gd name="connsiteX6" fmla="*/ 141338 w 152803"/>
                    <a:gd name="connsiteY6" fmla="*/ 22931 h 141211"/>
                    <a:gd name="connsiteX7" fmla="*/ 141338 w 152803"/>
                    <a:gd name="connsiteY7" fmla="*/ 22931 h 141211"/>
                    <a:gd name="connsiteX8" fmla="*/ 102366 w 152803"/>
                    <a:gd name="connsiteY8" fmla="*/ 22931 h 141211"/>
                    <a:gd name="connsiteX9" fmla="*/ 22932 w 152803"/>
                    <a:gd name="connsiteY9" fmla="*/ 102904 h 141211"/>
                    <a:gd name="connsiteX10" fmla="*/ 22989 w 152803"/>
                    <a:gd name="connsiteY10" fmla="*/ 129723 h 141211"/>
                    <a:gd name="connsiteX11" fmla="*/ 11546 w 152803"/>
                    <a:gd name="connsiteY11" fmla="*/ 141211 h 141211"/>
                    <a:gd name="connsiteX12" fmla="*/ 11523 w 152803"/>
                    <a:gd name="connsiteY12" fmla="*/ 141211 h 141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2803" h="141211">
                      <a:moveTo>
                        <a:pt x="11523" y="141211"/>
                      </a:moveTo>
                      <a:cubicBezTo>
                        <a:pt x="5206" y="141211"/>
                        <a:pt x="69" y="136097"/>
                        <a:pt x="58" y="129768"/>
                      </a:cubicBezTo>
                      <a:lnTo>
                        <a:pt x="0" y="102950"/>
                      </a:lnTo>
                      <a:cubicBezTo>
                        <a:pt x="-114" y="46310"/>
                        <a:pt x="45794" y="115"/>
                        <a:pt x="102343" y="0"/>
                      </a:cubicBezTo>
                      <a:lnTo>
                        <a:pt x="141338" y="0"/>
                      </a:lnTo>
                      <a:cubicBezTo>
                        <a:pt x="147667" y="0"/>
                        <a:pt x="152803" y="5137"/>
                        <a:pt x="152803" y="11466"/>
                      </a:cubicBezTo>
                      <a:cubicBezTo>
                        <a:pt x="152803" y="17795"/>
                        <a:pt x="147667" y="22931"/>
                        <a:pt x="141338" y="22931"/>
                      </a:cubicBezTo>
                      <a:lnTo>
                        <a:pt x="141338" y="22931"/>
                      </a:lnTo>
                      <a:lnTo>
                        <a:pt x="102366" y="22931"/>
                      </a:lnTo>
                      <a:cubicBezTo>
                        <a:pt x="58487" y="23023"/>
                        <a:pt x="22840" y="58899"/>
                        <a:pt x="22932" y="102904"/>
                      </a:cubicBezTo>
                      <a:lnTo>
                        <a:pt x="22989" y="129723"/>
                      </a:lnTo>
                      <a:cubicBezTo>
                        <a:pt x="23000" y="136052"/>
                        <a:pt x="17875" y="141200"/>
                        <a:pt x="11546" y="141211"/>
                      </a:cubicBezTo>
                      <a:cubicBezTo>
                        <a:pt x="11535" y="141211"/>
                        <a:pt x="11523" y="141211"/>
                        <a:pt x="11523" y="141211"/>
                      </a:cubicBezTo>
                      <a:close/>
                    </a:path>
                  </a:pathLst>
                </a:custGeom>
                <a:grpFill/>
                <a:ln w="1145" cap="flat">
                  <a:noFill/>
                  <a:prstDash val="solid"/>
                  <a:miter/>
                </a:ln>
              </p:spPr>
              <p:txBody>
                <a:bodyPr rtlCol="0" anchor="ctr"/>
                <a:lstStyle/>
                <a:p>
                  <a:endParaRPr lang="en-GB" dirty="0"/>
                </a:p>
              </p:txBody>
            </p:sp>
            <p:grpSp>
              <p:nvGrpSpPr>
                <p:cNvPr id="916" name="Graphic 48">
                  <a:extLst>
                    <a:ext uri="{FF2B5EF4-FFF2-40B4-BE49-F238E27FC236}">
                      <a16:creationId xmlns:a16="http://schemas.microsoft.com/office/drawing/2014/main" id="{0144BBE0-B3A4-4FAE-B441-FF5CB2A68736}"/>
                    </a:ext>
                  </a:extLst>
                </p:cNvPr>
                <p:cNvGrpSpPr/>
                <p:nvPr/>
              </p:nvGrpSpPr>
              <p:grpSpPr>
                <a:xfrm>
                  <a:off x="2103716" y="1900343"/>
                  <a:ext cx="740577" cy="364080"/>
                  <a:chOff x="2103716" y="1900343"/>
                  <a:chExt cx="740577" cy="364080"/>
                </a:xfrm>
                <a:grpFill/>
              </p:grpSpPr>
              <p:sp>
                <p:nvSpPr>
                  <p:cNvPr id="926" name="Freeform: Shape 925">
                    <a:extLst>
                      <a:ext uri="{FF2B5EF4-FFF2-40B4-BE49-F238E27FC236}">
                        <a16:creationId xmlns:a16="http://schemas.microsoft.com/office/drawing/2014/main" id="{62744C69-417F-4410-A16C-C2FD0D887958}"/>
                      </a:ext>
                    </a:extLst>
                  </p:cNvPr>
                  <p:cNvSpPr/>
                  <p:nvPr/>
                </p:nvSpPr>
                <p:spPr>
                  <a:xfrm>
                    <a:off x="2439900" y="1900343"/>
                    <a:ext cx="404393" cy="268422"/>
                  </a:xfrm>
                  <a:custGeom>
                    <a:avLst/>
                    <a:gdLst>
                      <a:gd name="connsiteX0" fmla="*/ 79503 w 404393"/>
                      <a:gd name="connsiteY0" fmla="*/ 268423 h 268422"/>
                      <a:gd name="connsiteX1" fmla="*/ 77107 w 404393"/>
                      <a:gd name="connsiteY1" fmla="*/ 268171 h 268422"/>
                      <a:gd name="connsiteX2" fmla="*/ 11500 w 404393"/>
                      <a:gd name="connsiteY2" fmla="*/ 268388 h 268422"/>
                      <a:gd name="connsiteX3" fmla="*/ 11466 w 404393"/>
                      <a:gd name="connsiteY3" fmla="*/ 268388 h 268422"/>
                      <a:gd name="connsiteX4" fmla="*/ 0 w 404393"/>
                      <a:gd name="connsiteY4" fmla="*/ 256957 h 268422"/>
                      <a:gd name="connsiteX5" fmla="*/ 11431 w 404393"/>
                      <a:gd name="connsiteY5" fmla="*/ 245457 h 268422"/>
                      <a:gd name="connsiteX6" fmla="*/ 84181 w 404393"/>
                      <a:gd name="connsiteY6" fmla="*/ 245216 h 268422"/>
                      <a:gd name="connsiteX7" fmla="*/ 131225 w 404393"/>
                      <a:gd name="connsiteY7" fmla="*/ 191052 h 268422"/>
                      <a:gd name="connsiteX8" fmla="*/ 129264 w 404393"/>
                      <a:gd name="connsiteY8" fmla="*/ 73506 h 268422"/>
                      <a:gd name="connsiteX9" fmla="*/ 202174 w 404393"/>
                      <a:gd name="connsiteY9" fmla="*/ 0 h 268422"/>
                      <a:gd name="connsiteX10" fmla="*/ 391232 w 404393"/>
                      <a:gd name="connsiteY10" fmla="*/ 0 h 268422"/>
                      <a:gd name="connsiteX11" fmla="*/ 402606 w 404393"/>
                      <a:gd name="connsiteY11" fmla="*/ 10021 h 268422"/>
                      <a:gd name="connsiteX12" fmla="*/ 352696 w 404393"/>
                      <a:gd name="connsiteY12" fmla="*/ 210017 h 268422"/>
                      <a:gd name="connsiteX13" fmla="*/ 216438 w 404393"/>
                      <a:gd name="connsiteY13" fmla="*/ 267700 h 268422"/>
                      <a:gd name="connsiteX14" fmla="*/ 85316 w 404393"/>
                      <a:gd name="connsiteY14" fmla="*/ 268136 h 268422"/>
                      <a:gd name="connsiteX15" fmla="*/ 79537 w 404393"/>
                      <a:gd name="connsiteY15" fmla="*/ 268411 h 268422"/>
                      <a:gd name="connsiteX16" fmla="*/ 79503 w 404393"/>
                      <a:gd name="connsiteY16" fmla="*/ 268423 h 268422"/>
                      <a:gd name="connsiteX17" fmla="*/ 202186 w 404393"/>
                      <a:gd name="connsiteY17" fmla="*/ 22931 h 268422"/>
                      <a:gd name="connsiteX18" fmla="*/ 152184 w 404393"/>
                      <a:gd name="connsiteY18" fmla="*/ 73288 h 268422"/>
                      <a:gd name="connsiteX19" fmla="*/ 154122 w 404393"/>
                      <a:gd name="connsiteY19" fmla="*/ 191431 h 268422"/>
                      <a:gd name="connsiteX20" fmla="*/ 132945 w 404393"/>
                      <a:gd name="connsiteY20" fmla="*/ 245056 h 268422"/>
                      <a:gd name="connsiteX21" fmla="*/ 216174 w 404393"/>
                      <a:gd name="connsiteY21" fmla="*/ 244781 h 268422"/>
                      <a:gd name="connsiteX22" fmla="*/ 335337 w 404393"/>
                      <a:gd name="connsiteY22" fmla="*/ 195020 h 268422"/>
                      <a:gd name="connsiteX23" fmla="*/ 380695 w 404393"/>
                      <a:gd name="connsiteY23" fmla="*/ 22931 h 268422"/>
                      <a:gd name="connsiteX24" fmla="*/ 202186 w 404393"/>
                      <a:gd name="connsiteY24" fmla="*/ 22931 h 2684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4393" h="268422">
                        <a:moveTo>
                          <a:pt x="79503" y="268423"/>
                        </a:moveTo>
                        <a:cubicBezTo>
                          <a:pt x="78678" y="268423"/>
                          <a:pt x="77875" y="268342"/>
                          <a:pt x="77107" y="268171"/>
                        </a:cubicBezTo>
                        <a:lnTo>
                          <a:pt x="11500" y="268388"/>
                        </a:lnTo>
                        <a:cubicBezTo>
                          <a:pt x="11489" y="268388"/>
                          <a:pt x="11477" y="268388"/>
                          <a:pt x="11466" y="268388"/>
                        </a:cubicBezTo>
                        <a:cubicBezTo>
                          <a:pt x="5148" y="268388"/>
                          <a:pt x="23" y="263286"/>
                          <a:pt x="0" y="256957"/>
                        </a:cubicBezTo>
                        <a:cubicBezTo>
                          <a:pt x="-23" y="250628"/>
                          <a:pt x="5091" y="245480"/>
                          <a:pt x="11431" y="245457"/>
                        </a:cubicBezTo>
                        <a:lnTo>
                          <a:pt x="84181" y="245216"/>
                        </a:lnTo>
                        <a:cubicBezTo>
                          <a:pt x="101838" y="243256"/>
                          <a:pt x="129276" y="230345"/>
                          <a:pt x="131225" y="191052"/>
                        </a:cubicBezTo>
                        <a:lnTo>
                          <a:pt x="129264" y="73506"/>
                        </a:lnTo>
                        <a:cubicBezTo>
                          <a:pt x="129184" y="32987"/>
                          <a:pt x="161895" y="92"/>
                          <a:pt x="202174" y="0"/>
                        </a:cubicBezTo>
                        <a:lnTo>
                          <a:pt x="391232" y="0"/>
                        </a:lnTo>
                        <a:cubicBezTo>
                          <a:pt x="396999" y="0"/>
                          <a:pt x="401883" y="4300"/>
                          <a:pt x="402606" y="10021"/>
                        </a:cubicBezTo>
                        <a:cubicBezTo>
                          <a:pt x="403248" y="15089"/>
                          <a:pt x="417626" y="134939"/>
                          <a:pt x="352696" y="210017"/>
                        </a:cubicBezTo>
                        <a:cubicBezTo>
                          <a:pt x="320511" y="247234"/>
                          <a:pt x="274660" y="266634"/>
                          <a:pt x="216438" y="267700"/>
                        </a:cubicBezTo>
                        <a:lnTo>
                          <a:pt x="85316" y="268136"/>
                        </a:lnTo>
                        <a:cubicBezTo>
                          <a:pt x="83333" y="268320"/>
                          <a:pt x="81406" y="268411"/>
                          <a:pt x="79537" y="268411"/>
                        </a:cubicBezTo>
                        <a:cubicBezTo>
                          <a:pt x="79514" y="268423"/>
                          <a:pt x="79503" y="268423"/>
                          <a:pt x="79503" y="268423"/>
                        </a:cubicBezTo>
                        <a:close/>
                        <a:moveTo>
                          <a:pt x="202186" y="22931"/>
                        </a:moveTo>
                        <a:cubicBezTo>
                          <a:pt x="174576" y="22989"/>
                          <a:pt x="152127" y="45588"/>
                          <a:pt x="152184" y="73288"/>
                        </a:cubicBezTo>
                        <a:lnTo>
                          <a:pt x="154122" y="191431"/>
                        </a:lnTo>
                        <a:cubicBezTo>
                          <a:pt x="152941" y="215406"/>
                          <a:pt x="144479" y="232879"/>
                          <a:pt x="132945" y="245056"/>
                        </a:cubicBezTo>
                        <a:lnTo>
                          <a:pt x="216174" y="244781"/>
                        </a:lnTo>
                        <a:cubicBezTo>
                          <a:pt x="267448" y="243840"/>
                          <a:pt x="307590" y="227100"/>
                          <a:pt x="335337" y="195020"/>
                        </a:cubicBezTo>
                        <a:cubicBezTo>
                          <a:pt x="383469" y="139365"/>
                          <a:pt x="382564" y="52272"/>
                          <a:pt x="380695" y="22931"/>
                        </a:cubicBezTo>
                        <a:lnTo>
                          <a:pt x="202186" y="22931"/>
                        </a:lnTo>
                        <a:close/>
                      </a:path>
                    </a:pathLst>
                  </a:custGeom>
                  <a:grpFill/>
                  <a:ln w="1145" cap="flat">
                    <a:noFill/>
                    <a:prstDash val="solid"/>
                    <a:miter/>
                  </a:ln>
                </p:spPr>
                <p:txBody>
                  <a:bodyPr rtlCol="0" anchor="ctr"/>
                  <a:lstStyle/>
                  <a:p>
                    <a:endParaRPr lang="en-GB" dirty="0"/>
                  </a:p>
                </p:txBody>
              </p:sp>
              <p:sp>
                <p:nvSpPr>
                  <p:cNvPr id="927" name="Freeform: Shape 926">
                    <a:extLst>
                      <a:ext uri="{FF2B5EF4-FFF2-40B4-BE49-F238E27FC236}">
                        <a16:creationId xmlns:a16="http://schemas.microsoft.com/office/drawing/2014/main" id="{CC34145A-ADE7-4F5F-814E-045F0FD5B346}"/>
                      </a:ext>
                    </a:extLst>
                  </p:cNvPr>
                  <p:cNvSpPr/>
                  <p:nvPr/>
                </p:nvSpPr>
                <p:spPr>
                  <a:xfrm>
                    <a:off x="2201056" y="2118328"/>
                    <a:ext cx="161083" cy="146026"/>
                  </a:xfrm>
                  <a:custGeom>
                    <a:avLst/>
                    <a:gdLst>
                      <a:gd name="connsiteX0" fmla="*/ 11456 w 161083"/>
                      <a:gd name="connsiteY0" fmla="*/ 146027 h 146026"/>
                      <a:gd name="connsiteX1" fmla="*/ 5655 w 161083"/>
                      <a:gd name="connsiteY1" fmla="*/ 144445 h 146026"/>
                      <a:gd name="connsiteX2" fmla="*/ 1584 w 161083"/>
                      <a:gd name="connsiteY2" fmla="*/ 128748 h 146026"/>
                      <a:gd name="connsiteX3" fmla="*/ 73921 w 161083"/>
                      <a:gd name="connsiteY3" fmla="*/ 5790 h 146026"/>
                      <a:gd name="connsiteX4" fmla="*/ 83782 w 161083"/>
                      <a:gd name="connsiteY4" fmla="*/ 138 h 146026"/>
                      <a:gd name="connsiteX5" fmla="*/ 149595 w 161083"/>
                      <a:gd name="connsiteY5" fmla="*/ 0 h 146026"/>
                      <a:gd name="connsiteX6" fmla="*/ 149618 w 161083"/>
                      <a:gd name="connsiteY6" fmla="*/ 0 h 146026"/>
                      <a:gd name="connsiteX7" fmla="*/ 161083 w 161083"/>
                      <a:gd name="connsiteY7" fmla="*/ 11443 h 146026"/>
                      <a:gd name="connsiteX8" fmla="*/ 149641 w 161083"/>
                      <a:gd name="connsiteY8" fmla="*/ 22931 h 146026"/>
                      <a:gd name="connsiteX9" fmla="*/ 90375 w 161083"/>
                      <a:gd name="connsiteY9" fmla="*/ 23057 h 146026"/>
                      <a:gd name="connsiteX10" fmla="*/ 21351 w 161083"/>
                      <a:gd name="connsiteY10" fmla="*/ 140374 h 146026"/>
                      <a:gd name="connsiteX11" fmla="*/ 11456 w 161083"/>
                      <a:gd name="connsiteY11" fmla="*/ 146027 h 146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083" h="146026">
                        <a:moveTo>
                          <a:pt x="11456" y="146027"/>
                        </a:moveTo>
                        <a:cubicBezTo>
                          <a:pt x="9484" y="146027"/>
                          <a:pt x="7478" y="145522"/>
                          <a:pt x="5655" y="144445"/>
                        </a:cubicBezTo>
                        <a:cubicBezTo>
                          <a:pt x="197" y="141234"/>
                          <a:pt x="-1626" y="134206"/>
                          <a:pt x="1584" y="128748"/>
                        </a:cubicBezTo>
                        <a:lnTo>
                          <a:pt x="73921" y="5790"/>
                        </a:lnTo>
                        <a:cubicBezTo>
                          <a:pt x="75974" y="2293"/>
                          <a:pt x="79723" y="138"/>
                          <a:pt x="83782" y="138"/>
                        </a:cubicBezTo>
                        <a:lnTo>
                          <a:pt x="149595" y="0"/>
                        </a:lnTo>
                        <a:cubicBezTo>
                          <a:pt x="149595" y="0"/>
                          <a:pt x="149606" y="0"/>
                          <a:pt x="149618" y="0"/>
                        </a:cubicBezTo>
                        <a:cubicBezTo>
                          <a:pt x="155935" y="0"/>
                          <a:pt x="161072" y="5114"/>
                          <a:pt x="161083" y="11443"/>
                        </a:cubicBezTo>
                        <a:cubicBezTo>
                          <a:pt x="161095" y="17772"/>
                          <a:pt x="155970" y="22920"/>
                          <a:pt x="149641" y="22931"/>
                        </a:cubicBezTo>
                        <a:lnTo>
                          <a:pt x="90375" y="23057"/>
                        </a:lnTo>
                        <a:lnTo>
                          <a:pt x="21351" y="140374"/>
                        </a:lnTo>
                        <a:cubicBezTo>
                          <a:pt x="19219" y="143997"/>
                          <a:pt x="15389" y="146027"/>
                          <a:pt x="11456" y="146027"/>
                        </a:cubicBezTo>
                        <a:close/>
                      </a:path>
                    </a:pathLst>
                  </a:custGeom>
                  <a:grpFill/>
                  <a:ln w="1145" cap="flat">
                    <a:noFill/>
                    <a:prstDash val="solid"/>
                    <a:miter/>
                  </a:ln>
                </p:spPr>
                <p:txBody>
                  <a:bodyPr rtlCol="0" anchor="ctr"/>
                  <a:lstStyle/>
                  <a:p>
                    <a:endParaRPr lang="en-GB" dirty="0"/>
                  </a:p>
                </p:txBody>
              </p:sp>
              <p:sp>
                <p:nvSpPr>
                  <p:cNvPr id="928" name="Freeform: Shape 927">
                    <a:extLst>
                      <a:ext uri="{FF2B5EF4-FFF2-40B4-BE49-F238E27FC236}">
                        <a16:creationId xmlns:a16="http://schemas.microsoft.com/office/drawing/2014/main" id="{DFBF1030-375C-4D4A-8C4C-BAD90E3CFEBD}"/>
                      </a:ext>
                    </a:extLst>
                  </p:cNvPr>
                  <p:cNvSpPr/>
                  <p:nvPr/>
                </p:nvSpPr>
                <p:spPr>
                  <a:xfrm>
                    <a:off x="2103716" y="2012202"/>
                    <a:ext cx="414196" cy="252221"/>
                  </a:xfrm>
                  <a:custGeom>
                    <a:avLst/>
                    <a:gdLst>
                      <a:gd name="connsiteX0" fmla="*/ 11453 w 414196"/>
                      <a:gd name="connsiteY0" fmla="*/ 252222 h 252221"/>
                      <a:gd name="connsiteX1" fmla="*/ 6316 w 414196"/>
                      <a:gd name="connsiteY1" fmla="*/ 251007 h 252221"/>
                      <a:gd name="connsiteX2" fmla="*/ 1226 w 414196"/>
                      <a:gd name="connsiteY2" fmla="*/ 235608 h 252221"/>
                      <a:gd name="connsiteX3" fmla="*/ 98856 w 414196"/>
                      <a:gd name="connsiteY3" fmla="*/ 41483 h 252221"/>
                      <a:gd name="connsiteX4" fmla="*/ 168751 w 414196"/>
                      <a:gd name="connsiteY4" fmla="*/ 482 h 252221"/>
                      <a:gd name="connsiteX5" fmla="*/ 402708 w 414196"/>
                      <a:gd name="connsiteY5" fmla="*/ 0 h 252221"/>
                      <a:gd name="connsiteX6" fmla="*/ 402731 w 414196"/>
                      <a:gd name="connsiteY6" fmla="*/ 0 h 252221"/>
                      <a:gd name="connsiteX7" fmla="*/ 414196 w 414196"/>
                      <a:gd name="connsiteY7" fmla="*/ 11443 h 252221"/>
                      <a:gd name="connsiteX8" fmla="*/ 402754 w 414196"/>
                      <a:gd name="connsiteY8" fmla="*/ 22931 h 252221"/>
                      <a:gd name="connsiteX9" fmla="*/ 168796 w 414196"/>
                      <a:gd name="connsiteY9" fmla="*/ 23413 h 252221"/>
                      <a:gd name="connsiteX10" fmla="*/ 119058 w 414196"/>
                      <a:gd name="connsiteY10" fmla="*/ 52341 h 252221"/>
                      <a:gd name="connsiteX11" fmla="*/ 21726 w 414196"/>
                      <a:gd name="connsiteY11" fmla="*/ 245916 h 252221"/>
                      <a:gd name="connsiteX12" fmla="*/ 11453 w 414196"/>
                      <a:gd name="connsiteY12" fmla="*/ 252222 h 25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4196" h="252221">
                        <a:moveTo>
                          <a:pt x="11453" y="252222"/>
                        </a:moveTo>
                        <a:cubicBezTo>
                          <a:pt x="9722" y="252222"/>
                          <a:pt x="7967" y="251832"/>
                          <a:pt x="6316" y="251007"/>
                        </a:cubicBezTo>
                        <a:cubicBezTo>
                          <a:pt x="652" y="248152"/>
                          <a:pt x="-1618" y="241261"/>
                          <a:pt x="1226" y="235608"/>
                        </a:cubicBezTo>
                        <a:lnTo>
                          <a:pt x="98856" y="41483"/>
                        </a:lnTo>
                        <a:cubicBezTo>
                          <a:pt x="113429" y="16040"/>
                          <a:pt x="140098" y="539"/>
                          <a:pt x="168751" y="482"/>
                        </a:cubicBezTo>
                        <a:lnTo>
                          <a:pt x="402708" y="0"/>
                        </a:lnTo>
                        <a:cubicBezTo>
                          <a:pt x="402708" y="0"/>
                          <a:pt x="402719" y="0"/>
                          <a:pt x="402731" y="0"/>
                        </a:cubicBezTo>
                        <a:cubicBezTo>
                          <a:pt x="409048" y="0"/>
                          <a:pt x="414185" y="5114"/>
                          <a:pt x="414196" y="11443"/>
                        </a:cubicBezTo>
                        <a:cubicBezTo>
                          <a:pt x="414208" y="17772"/>
                          <a:pt x="409083" y="22920"/>
                          <a:pt x="402754" y="22931"/>
                        </a:cubicBezTo>
                        <a:lnTo>
                          <a:pt x="168796" y="23413"/>
                        </a:lnTo>
                        <a:cubicBezTo>
                          <a:pt x="148319" y="23447"/>
                          <a:pt x="129263" y="34535"/>
                          <a:pt x="119058" y="52341"/>
                        </a:cubicBezTo>
                        <a:lnTo>
                          <a:pt x="21726" y="245916"/>
                        </a:lnTo>
                        <a:cubicBezTo>
                          <a:pt x="19685" y="249906"/>
                          <a:pt x="15649" y="252222"/>
                          <a:pt x="11453" y="252222"/>
                        </a:cubicBezTo>
                        <a:close/>
                      </a:path>
                    </a:pathLst>
                  </a:custGeom>
                  <a:grpFill/>
                  <a:ln w="1145" cap="flat">
                    <a:noFill/>
                    <a:prstDash val="solid"/>
                    <a:miter/>
                  </a:ln>
                </p:spPr>
                <p:txBody>
                  <a:bodyPr rtlCol="0" anchor="ctr"/>
                  <a:lstStyle/>
                  <a:p>
                    <a:endParaRPr lang="en-GB" dirty="0"/>
                  </a:p>
                </p:txBody>
              </p:sp>
              <p:sp>
                <p:nvSpPr>
                  <p:cNvPr id="929" name="Freeform: Shape 928">
                    <a:extLst>
                      <a:ext uri="{FF2B5EF4-FFF2-40B4-BE49-F238E27FC236}">
                        <a16:creationId xmlns:a16="http://schemas.microsoft.com/office/drawing/2014/main" id="{9EA40875-45D7-4098-941B-C10350FC84F0}"/>
                      </a:ext>
                    </a:extLst>
                  </p:cNvPr>
                  <p:cNvSpPr/>
                  <p:nvPr/>
                </p:nvSpPr>
                <p:spPr>
                  <a:xfrm>
                    <a:off x="2281021" y="2012145"/>
                    <a:ext cx="265624" cy="252049"/>
                  </a:xfrm>
                  <a:custGeom>
                    <a:avLst/>
                    <a:gdLst>
                      <a:gd name="connsiteX0" fmla="*/ 11453 w 265624"/>
                      <a:gd name="connsiteY0" fmla="*/ 252050 h 252049"/>
                      <a:gd name="connsiteX1" fmla="*/ 6316 w 265624"/>
                      <a:gd name="connsiteY1" fmla="*/ 250834 h 252049"/>
                      <a:gd name="connsiteX2" fmla="*/ 1226 w 265624"/>
                      <a:gd name="connsiteY2" fmla="*/ 235436 h 252049"/>
                      <a:gd name="connsiteX3" fmla="*/ 98936 w 265624"/>
                      <a:gd name="connsiteY3" fmla="*/ 41185 h 252049"/>
                      <a:gd name="connsiteX4" fmla="*/ 168831 w 265624"/>
                      <a:gd name="connsiteY4" fmla="*/ 172 h 252049"/>
                      <a:gd name="connsiteX5" fmla="*/ 254135 w 265624"/>
                      <a:gd name="connsiteY5" fmla="*/ 0 h 252049"/>
                      <a:gd name="connsiteX6" fmla="*/ 254158 w 265624"/>
                      <a:gd name="connsiteY6" fmla="*/ 0 h 252049"/>
                      <a:gd name="connsiteX7" fmla="*/ 265624 w 265624"/>
                      <a:gd name="connsiteY7" fmla="*/ 11443 h 252049"/>
                      <a:gd name="connsiteX8" fmla="*/ 254181 w 265624"/>
                      <a:gd name="connsiteY8" fmla="*/ 22931 h 252049"/>
                      <a:gd name="connsiteX9" fmla="*/ 168877 w 265624"/>
                      <a:gd name="connsiteY9" fmla="*/ 23103 h 252049"/>
                      <a:gd name="connsiteX10" fmla="*/ 119127 w 265624"/>
                      <a:gd name="connsiteY10" fmla="*/ 52031 h 252049"/>
                      <a:gd name="connsiteX11" fmla="*/ 21715 w 265624"/>
                      <a:gd name="connsiteY11" fmla="*/ 245744 h 252049"/>
                      <a:gd name="connsiteX12" fmla="*/ 11453 w 265624"/>
                      <a:gd name="connsiteY12" fmla="*/ 252050 h 252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5624" h="252049">
                        <a:moveTo>
                          <a:pt x="11453" y="252050"/>
                        </a:moveTo>
                        <a:cubicBezTo>
                          <a:pt x="9722" y="252050"/>
                          <a:pt x="7967" y="251660"/>
                          <a:pt x="6316" y="250834"/>
                        </a:cubicBezTo>
                        <a:cubicBezTo>
                          <a:pt x="652" y="247979"/>
                          <a:pt x="-1618" y="241089"/>
                          <a:pt x="1226" y="235436"/>
                        </a:cubicBezTo>
                        <a:lnTo>
                          <a:pt x="98936" y="41185"/>
                        </a:lnTo>
                        <a:cubicBezTo>
                          <a:pt x="113509" y="15742"/>
                          <a:pt x="140178" y="229"/>
                          <a:pt x="168831" y="172"/>
                        </a:cubicBezTo>
                        <a:lnTo>
                          <a:pt x="254135" y="0"/>
                        </a:lnTo>
                        <a:cubicBezTo>
                          <a:pt x="254135" y="0"/>
                          <a:pt x="254147" y="0"/>
                          <a:pt x="254158" y="0"/>
                        </a:cubicBezTo>
                        <a:cubicBezTo>
                          <a:pt x="260476" y="0"/>
                          <a:pt x="265613" y="5114"/>
                          <a:pt x="265624" y="11443"/>
                        </a:cubicBezTo>
                        <a:cubicBezTo>
                          <a:pt x="265636" y="17772"/>
                          <a:pt x="260510" y="22920"/>
                          <a:pt x="254181" y="22931"/>
                        </a:cubicBezTo>
                        <a:lnTo>
                          <a:pt x="168877" y="23103"/>
                        </a:lnTo>
                        <a:cubicBezTo>
                          <a:pt x="148399" y="23138"/>
                          <a:pt x="129332" y="34236"/>
                          <a:pt x="119127" y="52031"/>
                        </a:cubicBezTo>
                        <a:lnTo>
                          <a:pt x="21715" y="245744"/>
                        </a:lnTo>
                        <a:cubicBezTo>
                          <a:pt x="19697" y="249745"/>
                          <a:pt x="15649" y="252050"/>
                          <a:pt x="11453" y="252050"/>
                        </a:cubicBezTo>
                        <a:close/>
                      </a:path>
                    </a:pathLst>
                  </a:custGeom>
                  <a:grpFill/>
                  <a:ln w="1145" cap="flat">
                    <a:noFill/>
                    <a:prstDash val="solid"/>
                    <a:miter/>
                  </a:ln>
                </p:spPr>
                <p:txBody>
                  <a:bodyPr rtlCol="0" anchor="ctr"/>
                  <a:lstStyle/>
                  <a:p>
                    <a:endParaRPr lang="en-GB" dirty="0"/>
                  </a:p>
                </p:txBody>
              </p:sp>
              <p:sp>
                <p:nvSpPr>
                  <p:cNvPr id="930" name="Freeform: Shape 929">
                    <a:extLst>
                      <a:ext uri="{FF2B5EF4-FFF2-40B4-BE49-F238E27FC236}">
                        <a16:creationId xmlns:a16="http://schemas.microsoft.com/office/drawing/2014/main" id="{CE03ECEC-ED24-48A9-96D7-38F855ADCC1D}"/>
                      </a:ext>
                    </a:extLst>
                  </p:cNvPr>
                  <p:cNvSpPr/>
                  <p:nvPr/>
                </p:nvSpPr>
                <p:spPr>
                  <a:xfrm>
                    <a:off x="2376172" y="2118117"/>
                    <a:ext cx="91420" cy="144162"/>
                  </a:xfrm>
                  <a:custGeom>
                    <a:avLst/>
                    <a:gdLst>
                      <a:gd name="connsiteX0" fmla="*/ 11456 w 91420"/>
                      <a:gd name="connsiteY0" fmla="*/ 144163 h 144162"/>
                      <a:gd name="connsiteX1" fmla="*/ 5827 w 91420"/>
                      <a:gd name="connsiteY1" fmla="*/ 142684 h 144162"/>
                      <a:gd name="connsiteX2" fmla="*/ 1481 w 91420"/>
                      <a:gd name="connsiteY2" fmla="*/ 127068 h 144162"/>
                      <a:gd name="connsiteX3" fmla="*/ 69977 w 91420"/>
                      <a:gd name="connsiteY3" fmla="*/ 5829 h 144162"/>
                      <a:gd name="connsiteX4" fmla="*/ 85593 w 91420"/>
                      <a:gd name="connsiteY4" fmla="*/ 1484 h 144162"/>
                      <a:gd name="connsiteX5" fmla="*/ 89939 w 91420"/>
                      <a:gd name="connsiteY5" fmla="*/ 17100 h 144162"/>
                      <a:gd name="connsiteX6" fmla="*/ 21455 w 91420"/>
                      <a:gd name="connsiteY6" fmla="*/ 138327 h 144162"/>
                      <a:gd name="connsiteX7" fmla="*/ 11456 w 91420"/>
                      <a:gd name="connsiteY7" fmla="*/ 144163 h 144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20" h="144162">
                        <a:moveTo>
                          <a:pt x="11456" y="144163"/>
                        </a:moveTo>
                        <a:cubicBezTo>
                          <a:pt x="9542" y="144163"/>
                          <a:pt x="7615" y="143681"/>
                          <a:pt x="5827" y="142684"/>
                        </a:cubicBezTo>
                        <a:cubicBezTo>
                          <a:pt x="312" y="139576"/>
                          <a:pt x="-1626" y="132571"/>
                          <a:pt x="1481" y="127068"/>
                        </a:cubicBezTo>
                        <a:lnTo>
                          <a:pt x="69977" y="5829"/>
                        </a:lnTo>
                        <a:cubicBezTo>
                          <a:pt x="73096" y="326"/>
                          <a:pt x="80090" y="-1635"/>
                          <a:pt x="85593" y="1484"/>
                        </a:cubicBezTo>
                        <a:cubicBezTo>
                          <a:pt x="91108" y="4591"/>
                          <a:pt x="93046" y="11597"/>
                          <a:pt x="89939" y="17100"/>
                        </a:cubicBezTo>
                        <a:lnTo>
                          <a:pt x="21455" y="138327"/>
                        </a:lnTo>
                        <a:cubicBezTo>
                          <a:pt x="19345" y="142065"/>
                          <a:pt x="15458" y="144163"/>
                          <a:pt x="11456" y="144163"/>
                        </a:cubicBezTo>
                        <a:close/>
                      </a:path>
                    </a:pathLst>
                  </a:custGeom>
                  <a:grpFill/>
                  <a:ln w="1145" cap="flat">
                    <a:noFill/>
                    <a:prstDash val="solid"/>
                    <a:miter/>
                  </a:ln>
                </p:spPr>
                <p:txBody>
                  <a:bodyPr rtlCol="0" anchor="ctr"/>
                  <a:lstStyle/>
                  <a:p>
                    <a:endParaRPr lang="en-GB" dirty="0"/>
                  </a:p>
                </p:txBody>
              </p:sp>
            </p:grpSp>
            <p:sp>
              <p:nvSpPr>
                <p:cNvPr id="917" name="Freeform: Shape 916">
                  <a:extLst>
                    <a:ext uri="{FF2B5EF4-FFF2-40B4-BE49-F238E27FC236}">
                      <a16:creationId xmlns:a16="http://schemas.microsoft.com/office/drawing/2014/main" id="{8C9F8CC7-B9FA-4773-9D8A-B37B92DD9A02}"/>
                    </a:ext>
                  </a:extLst>
                </p:cNvPr>
                <p:cNvSpPr/>
                <p:nvPr/>
              </p:nvSpPr>
              <p:spPr>
                <a:xfrm>
                  <a:off x="2671600" y="1759489"/>
                  <a:ext cx="67323" cy="92858"/>
                </a:xfrm>
                <a:custGeom>
                  <a:avLst/>
                  <a:gdLst>
                    <a:gd name="connsiteX0" fmla="*/ 55859 w 67323"/>
                    <a:gd name="connsiteY0" fmla="*/ 92859 h 92858"/>
                    <a:gd name="connsiteX1" fmla="*/ 46171 w 67323"/>
                    <a:gd name="connsiteY1" fmla="*/ 87539 h 92858"/>
                    <a:gd name="connsiteX2" fmla="*/ 1787 w 67323"/>
                    <a:gd name="connsiteY2" fmla="*/ 17610 h 92858"/>
                    <a:gd name="connsiteX3" fmla="*/ 5330 w 67323"/>
                    <a:gd name="connsiteY3" fmla="*/ 1787 h 92858"/>
                    <a:gd name="connsiteX4" fmla="*/ 21152 w 67323"/>
                    <a:gd name="connsiteY4" fmla="*/ 5330 h 92858"/>
                    <a:gd name="connsiteX5" fmla="*/ 65536 w 67323"/>
                    <a:gd name="connsiteY5" fmla="*/ 75259 h 92858"/>
                    <a:gd name="connsiteX6" fmla="*/ 61993 w 67323"/>
                    <a:gd name="connsiteY6" fmla="*/ 91082 h 92858"/>
                    <a:gd name="connsiteX7" fmla="*/ 55859 w 67323"/>
                    <a:gd name="connsiteY7" fmla="*/ 92859 h 9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323" h="92858">
                      <a:moveTo>
                        <a:pt x="55859" y="92859"/>
                      </a:moveTo>
                      <a:cubicBezTo>
                        <a:pt x="52064" y="92859"/>
                        <a:pt x="48349" y="90978"/>
                        <a:pt x="46171" y="87539"/>
                      </a:cubicBezTo>
                      <a:lnTo>
                        <a:pt x="1787" y="17610"/>
                      </a:lnTo>
                      <a:cubicBezTo>
                        <a:pt x="-1607" y="12267"/>
                        <a:pt x="-25" y="5181"/>
                        <a:pt x="5330" y="1787"/>
                      </a:cubicBezTo>
                      <a:cubicBezTo>
                        <a:pt x="10673" y="-1607"/>
                        <a:pt x="17747" y="-25"/>
                        <a:pt x="21152" y="5330"/>
                      </a:cubicBezTo>
                      <a:lnTo>
                        <a:pt x="65536" y="75259"/>
                      </a:lnTo>
                      <a:cubicBezTo>
                        <a:pt x="68930" y="80602"/>
                        <a:pt x="67348" y="87688"/>
                        <a:pt x="61993" y="91082"/>
                      </a:cubicBezTo>
                      <a:cubicBezTo>
                        <a:pt x="60078" y="92286"/>
                        <a:pt x="57957" y="92859"/>
                        <a:pt x="55859" y="92859"/>
                      </a:cubicBezTo>
                      <a:close/>
                    </a:path>
                  </a:pathLst>
                </a:custGeom>
                <a:grpFill/>
                <a:ln w="1145" cap="flat">
                  <a:noFill/>
                  <a:prstDash val="solid"/>
                  <a:miter/>
                </a:ln>
              </p:spPr>
              <p:txBody>
                <a:bodyPr rtlCol="0" anchor="ctr"/>
                <a:lstStyle/>
                <a:p>
                  <a:endParaRPr lang="en-GB" dirty="0"/>
                </a:p>
              </p:txBody>
            </p:sp>
            <p:sp>
              <p:nvSpPr>
                <p:cNvPr id="918" name="Freeform: Shape 917">
                  <a:extLst>
                    <a:ext uri="{FF2B5EF4-FFF2-40B4-BE49-F238E27FC236}">
                      <a16:creationId xmlns:a16="http://schemas.microsoft.com/office/drawing/2014/main" id="{15C611B5-87F8-4D32-8ED1-0262B569E971}"/>
                    </a:ext>
                  </a:extLst>
                </p:cNvPr>
                <p:cNvSpPr/>
                <p:nvPr/>
              </p:nvSpPr>
              <p:spPr>
                <a:xfrm>
                  <a:off x="2497425" y="1667326"/>
                  <a:ext cx="344704" cy="256108"/>
                </a:xfrm>
                <a:custGeom>
                  <a:avLst/>
                  <a:gdLst>
                    <a:gd name="connsiteX0" fmla="*/ 138687 w 344704"/>
                    <a:gd name="connsiteY0" fmla="*/ 256109 h 256108"/>
                    <a:gd name="connsiteX1" fmla="*/ 106491 w 344704"/>
                    <a:gd name="connsiteY1" fmla="*/ 221551 h 256108"/>
                    <a:gd name="connsiteX2" fmla="*/ 138710 w 344704"/>
                    <a:gd name="connsiteY2" fmla="*/ 177168 h 256108"/>
                    <a:gd name="connsiteX3" fmla="*/ 240628 w 344704"/>
                    <a:gd name="connsiteY3" fmla="*/ 163707 h 256108"/>
                    <a:gd name="connsiteX4" fmla="*/ 253493 w 344704"/>
                    <a:gd name="connsiteY4" fmla="*/ 173567 h 256108"/>
                    <a:gd name="connsiteX5" fmla="*/ 243632 w 344704"/>
                    <a:gd name="connsiteY5" fmla="*/ 186432 h 256108"/>
                    <a:gd name="connsiteX6" fmla="*/ 141794 w 344704"/>
                    <a:gd name="connsiteY6" fmla="*/ 199893 h 256108"/>
                    <a:gd name="connsiteX7" fmla="*/ 129285 w 344704"/>
                    <a:gd name="connsiteY7" fmla="*/ 218949 h 256108"/>
                    <a:gd name="connsiteX8" fmla="*/ 138962 w 344704"/>
                    <a:gd name="connsiteY8" fmla="*/ 233177 h 256108"/>
                    <a:gd name="connsiteX9" fmla="*/ 299906 w 344704"/>
                    <a:gd name="connsiteY9" fmla="*/ 232340 h 256108"/>
                    <a:gd name="connsiteX10" fmla="*/ 318732 w 344704"/>
                    <a:gd name="connsiteY10" fmla="*/ 214649 h 256108"/>
                    <a:gd name="connsiteX11" fmla="*/ 319065 w 344704"/>
                    <a:gd name="connsiteY11" fmla="*/ 188370 h 256108"/>
                    <a:gd name="connsiteX12" fmla="*/ 239424 w 344704"/>
                    <a:gd name="connsiteY12" fmla="*/ 54863 h 256108"/>
                    <a:gd name="connsiteX13" fmla="*/ 163625 w 344704"/>
                    <a:gd name="connsiteY13" fmla="*/ 22931 h 256108"/>
                    <a:gd name="connsiteX14" fmla="*/ 161733 w 344704"/>
                    <a:gd name="connsiteY14" fmla="*/ 22931 h 256108"/>
                    <a:gd name="connsiteX15" fmla="*/ 81473 w 344704"/>
                    <a:gd name="connsiteY15" fmla="*/ 23092 h 256108"/>
                    <a:gd name="connsiteX16" fmla="*/ 21726 w 344704"/>
                    <a:gd name="connsiteY16" fmla="*/ 62488 h 256108"/>
                    <a:gd name="connsiteX17" fmla="*/ 6339 w 344704"/>
                    <a:gd name="connsiteY17" fmla="*/ 67613 h 256108"/>
                    <a:gd name="connsiteX18" fmla="*/ 1214 w 344704"/>
                    <a:gd name="connsiteY18" fmla="*/ 52226 h 256108"/>
                    <a:gd name="connsiteX19" fmla="*/ 81439 w 344704"/>
                    <a:gd name="connsiteY19" fmla="*/ 161 h 256108"/>
                    <a:gd name="connsiteX20" fmla="*/ 161699 w 344704"/>
                    <a:gd name="connsiteY20" fmla="*/ 0 h 256108"/>
                    <a:gd name="connsiteX21" fmla="*/ 258893 w 344704"/>
                    <a:gd name="connsiteY21" fmla="*/ 42756 h 256108"/>
                    <a:gd name="connsiteX22" fmla="*/ 338579 w 344704"/>
                    <a:gd name="connsiteY22" fmla="*/ 176354 h 256108"/>
                    <a:gd name="connsiteX23" fmla="*/ 339864 w 344704"/>
                    <a:gd name="connsiteY23" fmla="*/ 223523 h 256108"/>
                    <a:gd name="connsiteX24" fmla="*/ 303655 w 344704"/>
                    <a:gd name="connsiteY24" fmla="*/ 255020 h 256108"/>
                    <a:gd name="connsiteX25" fmla="*/ 301305 w 344704"/>
                    <a:gd name="connsiteY25" fmla="*/ 255272 h 256108"/>
                    <a:gd name="connsiteX26" fmla="*/ 138687 w 344704"/>
                    <a:gd name="connsiteY26" fmla="*/ 256109 h 256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4704" h="256108">
                      <a:moveTo>
                        <a:pt x="138687" y="256109"/>
                      </a:moveTo>
                      <a:cubicBezTo>
                        <a:pt x="121832" y="255627"/>
                        <a:pt x="108750" y="241410"/>
                        <a:pt x="106491" y="221551"/>
                      </a:cubicBezTo>
                      <a:cubicBezTo>
                        <a:pt x="104336" y="202633"/>
                        <a:pt x="113497" y="180676"/>
                        <a:pt x="138710" y="177168"/>
                      </a:cubicBezTo>
                      <a:lnTo>
                        <a:pt x="240628" y="163707"/>
                      </a:lnTo>
                      <a:cubicBezTo>
                        <a:pt x="246911" y="162950"/>
                        <a:pt x="252667" y="167296"/>
                        <a:pt x="253493" y="173567"/>
                      </a:cubicBezTo>
                      <a:cubicBezTo>
                        <a:pt x="254330" y="179839"/>
                        <a:pt x="249904" y="185606"/>
                        <a:pt x="243632" y="186432"/>
                      </a:cubicBezTo>
                      <a:lnTo>
                        <a:pt x="141794" y="199893"/>
                      </a:lnTo>
                      <a:cubicBezTo>
                        <a:pt x="128391" y="201762"/>
                        <a:pt x="128826" y="214947"/>
                        <a:pt x="129285" y="218949"/>
                      </a:cubicBezTo>
                      <a:cubicBezTo>
                        <a:pt x="130065" y="225828"/>
                        <a:pt x="133906" y="233040"/>
                        <a:pt x="138962" y="233177"/>
                      </a:cubicBezTo>
                      <a:lnTo>
                        <a:pt x="299906" y="232340"/>
                      </a:lnTo>
                      <a:cubicBezTo>
                        <a:pt x="310993" y="229474"/>
                        <a:pt x="316439" y="220095"/>
                        <a:pt x="318732" y="214649"/>
                      </a:cubicBezTo>
                      <a:cubicBezTo>
                        <a:pt x="322654" y="205304"/>
                        <a:pt x="322803" y="194251"/>
                        <a:pt x="319065" y="188370"/>
                      </a:cubicBezTo>
                      <a:lnTo>
                        <a:pt x="239424" y="54863"/>
                      </a:lnTo>
                      <a:cubicBezTo>
                        <a:pt x="220632" y="25913"/>
                        <a:pt x="204374" y="22931"/>
                        <a:pt x="163625" y="22931"/>
                      </a:cubicBezTo>
                      <a:cubicBezTo>
                        <a:pt x="163006" y="22931"/>
                        <a:pt x="162375" y="22931"/>
                        <a:pt x="161733" y="22931"/>
                      </a:cubicBezTo>
                      <a:lnTo>
                        <a:pt x="81473" y="23092"/>
                      </a:lnTo>
                      <a:cubicBezTo>
                        <a:pt x="62165" y="23126"/>
                        <a:pt x="35221" y="35475"/>
                        <a:pt x="21726" y="62488"/>
                      </a:cubicBezTo>
                      <a:cubicBezTo>
                        <a:pt x="18894" y="68152"/>
                        <a:pt x="12026" y="70457"/>
                        <a:pt x="6339" y="67613"/>
                      </a:cubicBezTo>
                      <a:cubicBezTo>
                        <a:pt x="675" y="64781"/>
                        <a:pt x="-1618" y="57890"/>
                        <a:pt x="1214" y="52226"/>
                      </a:cubicBezTo>
                      <a:cubicBezTo>
                        <a:pt x="19157" y="16339"/>
                        <a:pt x="54437" y="218"/>
                        <a:pt x="81439" y="161"/>
                      </a:cubicBezTo>
                      <a:lnTo>
                        <a:pt x="161699" y="0"/>
                      </a:lnTo>
                      <a:cubicBezTo>
                        <a:pt x="204752" y="23"/>
                        <a:pt x="232407" y="1926"/>
                        <a:pt x="258893" y="42756"/>
                      </a:cubicBezTo>
                      <a:lnTo>
                        <a:pt x="338579" y="176354"/>
                      </a:lnTo>
                      <a:cubicBezTo>
                        <a:pt x="346216" y="188381"/>
                        <a:pt x="346789" y="207001"/>
                        <a:pt x="339864" y="223523"/>
                      </a:cubicBezTo>
                      <a:cubicBezTo>
                        <a:pt x="332915" y="240103"/>
                        <a:pt x="319707" y="251580"/>
                        <a:pt x="303655" y="255020"/>
                      </a:cubicBezTo>
                      <a:cubicBezTo>
                        <a:pt x="302887" y="255180"/>
                        <a:pt x="302096" y="255260"/>
                        <a:pt x="301305" y="255272"/>
                      </a:cubicBezTo>
                      <a:lnTo>
                        <a:pt x="138687" y="256109"/>
                      </a:lnTo>
                      <a:close/>
                    </a:path>
                  </a:pathLst>
                </a:custGeom>
                <a:grpFill/>
                <a:ln w="1145" cap="flat">
                  <a:noFill/>
                  <a:prstDash val="solid"/>
                  <a:miter/>
                </a:ln>
              </p:spPr>
              <p:txBody>
                <a:bodyPr rtlCol="0" anchor="ctr"/>
                <a:lstStyle/>
                <a:p>
                  <a:endParaRPr lang="en-GB" dirty="0"/>
                </a:p>
              </p:txBody>
            </p:sp>
            <p:sp>
              <p:nvSpPr>
                <p:cNvPr id="919" name="Freeform: Shape 918">
                  <a:extLst>
                    <a:ext uri="{FF2B5EF4-FFF2-40B4-BE49-F238E27FC236}">
                      <a16:creationId xmlns:a16="http://schemas.microsoft.com/office/drawing/2014/main" id="{7E56C048-0EC9-4509-A107-4CBEDB1B39C5}"/>
                    </a:ext>
                  </a:extLst>
                </p:cNvPr>
                <p:cNvSpPr/>
                <p:nvPr/>
              </p:nvSpPr>
              <p:spPr>
                <a:xfrm>
                  <a:off x="2487666" y="1952718"/>
                  <a:ext cx="23114" cy="81830"/>
                </a:xfrm>
                <a:custGeom>
                  <a:avLst/>
                  <a:gdLst>
                    <a:gd name="connsiteX0" fmla="*/ 11649 w 23114"/>
                    <a:gd name="connsiteY0" fmla="*/ 81830 h 81830"/>
                    <a:gd name="connsiteX1" fmla="*/ 184 w 23114"/>
                    <a:gd name="connsiteY1" fmla="*/ 70399 h 81830"/>
                    <a:gd name="connsiteX2" fmla="*/ 0 w 23114"/>
                    <a:gd name="connsiteY2" fmla="*/ 11489 h 81830"/>
                    <a:gd name="connsiteX3" fmla="*/ 11443 w 23114"/>
                    <a:gd name="connsiteY3" fmla="*/ 0 h 81830"/>
                    <a:gd name="connsiteX4" fmla="*/ 11466 w 23114"/>
                    <a:gd name="connsiteY4" fmla="*/ 0 h 81830"/>
                    <a:gd name="connsiteX5" fmla="*/ 22931 w 23114"/>
                    <a:gd name="connsiteY5" fmla="*/ 11443 h 81830"/>
                    <a:gd name="connsiteX6" fmla="*/ 23115 w 23114"/>
                    <a:gd name="connsiteY6" fmla="*/ 70330 h 81830"/>
                    <a:gd name="connsiteX7" fmla="*/ 11684 w 23114"/>
                    <a:gd name="connsiteY7" fmla="*/ 81830 h 81830"/>
                    <a:gd name="connsiteX8" fmla="*/ 11649 w 23114"/>
                    <a:gd name="connsiteY8" fmla="*/ 81830 h 8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14" h="81830">
                      <a:moveTo>
                        <a:pt x="11649" y="81830"/>
                      </a:moveTo>
                      <a:cubicBezTo>
                        <a:pt x="5332" y="81830"/>
                        <a:pt x="206" y="76728"/>
                        <a:pt x="184" y="70399"/>
                      </a:cubicBezTo>
                      <a:lnTo>
                        <a:pt x="0" y="11489"/>
                      </a:lnTo>
                      <a:cubicBezTo>
                        <a:pt x="-11" y="5160"/>
                        <a:pt x="5102" y="11"/>
                        <a:pt x="11443" y="0"/>
                      </a:cubicBezTo>
                      <a:cubicBezTo>
                        <a:pt x="11454" y="0"/>
                        <a:pt x="11466" y="0"/>
                        <a:pt x="11466" y="0"/>
                      </a:cubicBezTo>
                      <a:cubicBezTo>
                        <a:pt x="17783" y="0"/>
                        <a:pt x="22920" y="5114"/>
                        <a:pt x="22931" y="11443"/>
                      </a:cubicBezTo>
                      <a:lnTo>
                        <a:pt x="23115" y="70330"/>
                      </a:lnTo>
                      <a:cubicBezTo>
                        <a:pt x="23138" y="76659"/>
                        <a:pt x="18024" y="81808"/>
                        <a:pt x="11684" y="81830"/>
                      </a:cubicBezTo>
                      <a:cubicBezTo>
                        <a:pt x="11672" y="81830"/>
                        <a:pt x="11661" y="81830"/>
                        <a:pt x="11649" y="81830"/>
                      </a:cubicBezTo>
                      <a:close/>
                    </a:path>
                  </a:pathLst>
                </a:custGeom>
                <a:grpFill/>
                <a:ln w="1145" cap="flat">
                  <a:noFill/>
                  <a:prstDash val="solid"/>
                  <a:miter/>
                </a:ln>
              </p:spPr>
              <p:txBody>
                <a:bodyPr rtlCol="0" anchor="ctr"/>
                <a:lstStyle/>
                <a:p>
                  <a:endParaRPr lang="en-GB" dirty="0"/>
                </a:p>
              </p:txBody>
            </p:sp>
            <p:sp>
              <p:nvSpPr>
                <p:cNvPr id="920" name="Freeform: Shape 919">
                  <a:extLst>
                    <a:ext uri="{FF2B5EF4-FFF2-40B4-BE49-F238E27FC236}">
                      <a16:creationId xmlns:a16="http://schemas.microsoft.com/office/drawing/2014/main" id="{3F66B854-8AAF-4F81-84AB-3133AE5BC97D}"/>
                    </a:ext>
                  </a:extLst>
                </p:cNvPr>
                <p:cNvSpPr/>
                <p:nvPr/>
              </p:nvSpPr>
              <p:spPr>
                <a:xfrm>
                  <a:off x="2687937" y="2141649"/>
                  <a:ext cx="23401" cy="117947"/>
                </a:xfrm>
                <a:custGeom>
                  <a:avLst/>
                  <a:gdLst>
                    <a:gd name="connsiteX0" fmla="*/ 11936 w 23401"/>
                    <a:gd name="connsiteY0" fmla="*/ 117947 h 117947"/>
                    <a:gd name="connsiteX1" fmla="*/ 470 w 23401"/>
                    <a:gd name="connsiteY1" fmla="*/ 106539 h 117947"/>
                    <a:gd name="connsiteX2" fmla="*/ 0 w 23401"/>
                    <a:gd name="connsiteY2" fmla="*/ 11523 h 117947"/>
                    <a:gd name="connsiteX3" fmla="*/ 11408 w 23401"/>
                    <a:gd name="connsiteY3" fmla="*/ 0 h 117947"/>
                    <a:gd name="connsiteX4" fmla="*/ 11466 w 23401"/>
                    <a:gd name="connsiteY4" fmla="*/ 0 h 117947"/>
                    <a:gd name="connsiteX5" fmla="*/ 22932 w 23401"/>
                    <a:gd name="connsiteY5" fmla="*/ 11408 h 117947"/>
                    <a:gd name="connsiteX6" fmla="*/ 23402 w 23401"/>
                    <a:gd name="connsiteY6" fmla="*/ 106424 h 117947"/>
                    <a:gd name="connsiteX7" fmla="*/ 11993 w 23401"/>
                    <a:gd name="connsiteY7" fmla="*/ 117947 h 117947"/>
                    <a:gd name="connsiteX8" fmla="*/ 11936 w 23401"/>
                    <a:gd name="connsiteY8" fmla="*/ 117947 h 11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01" h="117947">
                      <a:moveTo>
                        <a:pt x="11936" y="117947"/>
                      </a:moveTo>
                      <a:cubicBezTo>
                        <a:pt x="5630" y="117947"/>
                        <a:pt x="505" y="112857"/>
                        <a:pt x="470" y="106539"/>
                      </a:cubicBezTo>
                      <a:lnTo>
                        <a:pt x="0" y="11523"/>
                      </a:lnTo>
                      <a:cubicBezTo>
                        <a:pt x="-34" y="5194"/>
                        <a:pt x="5079" y="34"/>
                        <a:pt x="11408" y="0"/>
                      </a:cubicBezTo>
                      <a:cubicBezTo>
                        <a:pt x="11420" y="0"/>
                        <a:pt x="11443" y="0"/>
                        <a:pt x="11466" y="0"/>
                      </a:cubicBezTo>
                      <a:cubicBezTo>
                        <a:pt x="17772" y="0"/>
                        <a:pt x="22897" y="5091"/>
                        <a:pt x="22932" y="11408"/>
                      </a:cubicBezTo>
                      <a:lnTo>
                        <a:pt x="23402" y="106424"/>
                      </a:lnTo>
                      <a:cubicBezTo>
                        <a:pt x="23436" y="112753"/>
                        <a:pt x="18322" y="117913"/>
                        <a:pt x="11993" y="117947"/>
                      </a:cubicBezTo>
                      <a:cubicBezTo>
                        <a:pt x="11970" y="117947"/>
                        <a:pt x="11947" y="117947"/>
                        <a:pt x="11936" y="117947"/>
                      </a:cubicBezTo>
                      <a:close/>
                    </a:path>
                  </a:pathLst>
                </a:custGeom>
                <a:grpFill/>
                <a:ln w="1145" cap="flat">
                  <a:noFill/>
                  <a:prstDash val="solid"/>
                  <a:miter/>
                </a:ln>
              </p:spPr>
              <p:txBody>
                <a:bodyPr rtlCol="0" anchor="ctr"/>
                <a:lstStyle/>
                <a:p>
                  <a:endParaRPr lang="en-GB" dirty="0"/>
                </a:p>
              </p:txBody>
            </p:sp>
            <p:sp>
              <p:nvSpPr>
                <p:cNvPr id="921" name="Freeform: Shape 920">
                  <a:extLst>
                    <a:ext uri="{FF2B5EF4-FFF2-40B4-BE49-F238E27FC236}">
                      <a16:creationId xmlns:a16="http://schemas.microsoft.com/office/drawing/2014/main" id="{929CF21A-B2D2-449F-A3C5-9898DD15EDEA}"/>
                    </a:ext>
                  </a:extLst>
                </p:cNvPr>
                <p:cNvSpPr/>
                <p:nvPr/>
              </p:nvSpPr>
              <p:spPr>
                <a:xfrm>
                  <a:off x="2602426" y="2146580"/>
                  <a:ext cx="23401" cy="113189"/>
                </a:xfrm>
                <a:custGeom>
                  <a:avLst/>
                  <a:gdLst>
                    <a:gd name="connsiteX0" fmla="*/ 11936 w 23401"/>
                    <a:gd name="connsiteY0" fmla="*/ 113189 h 113189"/>
                    <a:gd name="connsiteX1" fmla="*/ 470 w 23401"/>
                    <a:gd name="connsiteY1" fmla="*/ 101781 h 113189"/>
                    <a:gd name="connsiteX2" fmla="*/ 0 w 23401"/>
                    <a:gd name="connsiteY2" fmla="*/ 11523 h 113189"/>
                    <a:gd name="connsiteX3" fmla="*/ 11409 w 23401"/>
                    <a:gd name="connsiteY3" fmla="*/ 0 h 113189"/>
                    <a:gd name="connsiteX4" fmla="*/ 11466 w 23401"/>
                    <a:gd name="connsiteY4" fmla="*/ 0 h 113189"/>
                    <a:gd name="connsiteX5" fmla="*/ 22932 w 23401"/>
                    <a:gd name="connsiteY5" fmla="*/ 11408 h 113189"/>
                    <a:gd name="connsiteX6" fmla="*/ 23402 w 23401"/>
                    <a:gd name="connsiteY6" fmla="*/ 101666 h 113189"/>
                    <a:gd name="connsiteX7" fmla="*/ 11993 w 23401"/>
                    <a:gd name="connsiteY7" fmla="*/ 113189 h 113189"/>
                    <a:gd name="connsiteX8" fmla="*/ 11936 w 23401"/>
                    <a:gd name="connsiteY8" fmla="*/ 113189 h 113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401" h="113189">
                      <a:moveTo>
                        <a:pt x="11936" y="113189"/>
                      </a:moveTo>
                      <a:cubicBezTo>
                        <a:pt x="5630" y="113189"/>
                        <a:pt x="505" y="108098"/>
                        <a:pt x="470" y="101781"/>
                      </a:cubicBezTo>
                      <a:lnTo>
                        <a:pt x="0" y="11523"/>
                      </a:lnTo>
                      <a:cubicBezTo>
                        <a:pt x="-34" y="5182"/>
                        <a:pt x="5068" y="34"/>
                        <a:pt x="11409" y="0"/>
                      </a:cubicBezTo>
                      <a:cubicBezTo>
                        <a:pt x="11431" y="0"/>
                        <a:pt x="11454" y="0"/>
                        <a:pt x="11466" y="0"/>
                      </a:cubicBezTo>
                      <a:cubicBezTo>
                        <a:pt x="17772" y="0"/>
                        <a:pt x="22897" y="5091"/>
                        <a:pt x="22932" y="11408"/>
                      </a:cubicBezTo>
                      <a:lnTo>
                        <a:pt x="23402" y="101666"/>
                      </a:lnTo>
                      <a:cubicBezTo>
                        <a:pt x="23436" y="108007"/>
                        <a:pt x="18334" y="113155"/>
                        <a:pt x="11993" y="113189"/>
                      </a:cubicBezTo>
                      <a:cubicBezTo>
                        <a:pt x="11970" y="113189"/>
                        <a:pt x="11947" y="113189"/>
                        <a:pt x="11936" y="113189"/>
                      </a:cubicBezTo>
                      <a:close/>
                    </a:path>
                  </a:pathLst>
                </a:custGeom>
                <a:grpFill/>
                <a:ln w="1145" cap="flat">
                  <a:noFill/>
                  <a:prstDash val="solid"/>
                  <a:miter/>
                </a:ln>
              </p:spPr>
              <p:txBody>
                <a:bodyPr rtlCol="0" anchor="ctr"/>
                <a:lstStyle/>
                <a:p>
                  <a:endParaRPr lang="en-GB" dirty="0"/>
                </a:p>
              </p:txBody>
            </p:sp>
            <p:sp>
              <p:nvSpPr>
                <p:cNvPr id="922" name="Freeform: Shape 921">
                  <a:extLst>
                    <a:ext uri="{FF2B5EF4-FFF2-40B4-BE49-F238E27FC236}">
                      <a16:creationId xmlns:a16="http://schemas.microsoft.com/office/drawing/2014/main" id="{22D0AC52-58A1-43BE-A453-70DC64B40A49}"/>
                    </a:ext>
                  </a:extLst>
                </p:cNvPr>
                <p:cNvSpPr/>
                <p:nvPr/>
              </p:nvSpPr>
              <p:spPr>
                <a:xfrm>
                  <a:off x="2532760" y="1461036"/>
                  <a:ext cx="160531" cy="183450"/>
                </a:xfrm>
                <a:custGeom>
                  <a:avLst/>
                  <a:gdLst>
                    <a:gd name="connsiteX0" fmla="*/ 80260 w 160531"/>
                    <a:gd name="connsiteY0" fmla="*/ 183451 h 183450"/>
                    <a:gd name="connsiteX1" fmla="*/ 0 w 160531"/>
                    <a:gd name="connsiteY1" fmla="*/ 91886 h 183450"/>
                    <a:gd name="connsiteX2" fmla="*/ 0 w 160531"/>
                    <a:gd name="connsiteY2" fmla="*/ 91886 h 183450"/>
                    <a:gd name="connsiteX3" fmla="*/ 80077 w 160531"/>
                    <a:gd name="connsiteY3" fmla="*/ 0 h 183450"/>
                    <a:gd name="connsiteX4" fmla="*/ 80271 w 160531"/>
                    <a:gd name="connsiteY4" fmla="*/ 0 h 183450"/>
                    <a:gd name="connsiteX5" fmla="*/ 160531 w 160531"/>
                    <a:gd name="connsiteY5" fmla="*/ 91565 h 183450"/>
                    <a:gd name="connsiteX6" fmla="*/ 140363 w 160531"/>
                    <a:gd name="connsiteY6" fmla="*/ 155532 h 183450"/>
                    <a:gd name="connsiteX7" fmla="*/ 80455 w 160531"/>
                    <a:gd name="connsiteY7" fmla="*/ 183451 h 183450"/>
                    <a:gd name="connsiteX8" fmla="*/ 80260 w 160531"/>
                    <a:gd name="connsiteY8" fmla="*/ 183451 h 183450"/>
                    <a:gd name="connsiteX9" fmla="*/ 22932 w 160531"/>
                    <a:gd name="connsiteY9" fmla="*/ 91840 h 183450"/>
                    <a:gd name="connsiteX10" fmla="*/ 80260 w 160531"/>
                    <a:gd name="connsiteY10" fmla="*/ 160519 h 183450"/>
                    <a:gd name="connsiteX11" fmla="*/ 80409 w 160531"/>
                    <a:gd name="connsiteY11" fmla="*/ 160519 h 183450"/>
                    <a:gd name="connsiteX12" fmla="*/ 122442 w 160531"/>
                    <a:gd name="connsiteY12" fmla="*/ 141211 h 183450"/>
                    <a:gd name="connsiteX13" fmla="*/ 137588 w 160531"/>
                    <a:gd name="connsiteY13" fmla="*/ 91599 h 183450"/>
                    <a:gd name="connsiteX14" fmla="*/ 122236 w 160531"/>
                    <a:gd name="connsiteY14" fmla="*/ 42056 h 183450"/>
                    <a:gd name="connsiteX15" fmla="*/ 80260 w 160531"/>
                    <a:gd name="connsiteY15" fmla="*/ 22931 h 183450"/>
                    <a:gd name="connsiteX16" fmla="*/ 80122 w 160531"/>
                    <a:gd name="connsiteY16" fmla="*/ 22931 h 183450"/>
                    <a:gd name="connsiteX17" fmla="*/ 22932 w 160531"/>
                    <a:gd name="connsiteY17" fmla="*/ 91840 h 183450"/>
                    <a:gd name="connsiteX18" fmla="*/ 22932 w 160531"/>
                    <a:gd name="connsiteY18" fmla="*/ 91840 h 18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0531" h="183450">
                      <a:moveTo>
                        <a:pt x="80260" y="183451"/>
                      </a:moveTo>
                      <a:cubicBezTo>
                        <a:pt x="32356" y="183451"/>
                        <a:pt x="115" y="146680"/>
                        <a:pt x="0" y="91886"/>
                      </a:cubicBezTo>
                      <a:lnTo>
                        <a:pt x="0" y="91886"/>
                      </a:lnTo>
                      <a:cubicBezTo>
                        <a:pt x="-114" y="37023"/>
                        <a:pt x="32070" y="92"/>
                        <a:pt x="80077" y="0"/>
                      </a:cubicBezTo>
                      <a:cubicBezTo>
                        <a:pt x="80134" y="0"/>
                        <a:pt x="80203" y="0"/>
                        <a:pt x="80271" y="0"/>
                      </a:cubicBezTo>
                      <a:cubicBezTo>
                        <a:pt x="128175" y="0"/>
                        <a:pt x="160416" y="36770"/>
                        <a:pt x="160531" y="91565"/>
                      </a:cubicBezTo>
                      <a:cubicBezTo>
                        <a:pt x="160589" y="116480"/>
                        <a:pt x="153422" y="139193"/>
                        <a:pt x="140363" y="155532"/>
                      </a:cubicBezTo>
                      <a:cubicBezTo>
                        <a:pt x="125802" y="173751"/>
                        <a:pt x="105095" y="183405"/>
                        <a:pt x="80455" y="183451"/>
                      </a:cubicBezTo>
                      <a:cubicBezTo>
                        <a:pt x="80386" y="183451"/>
                        <a:pt x="80317" y="183451"/>
                        <a:pt x="80260" y="183451"/>
                      </a:cubicBezTo>
                      <a:close/>
                      <a:moveTo>
                        <a:pt x="22932" y="91840"/>
                      </a:moveTo>
                      <a:cubicBezTo>
                        <a:pt x="23000" y="123543"/>
                        <a:pt x="38055" y="160519"/>
                        <a:pt x="80260" y="160519"/>
                      </a:cubicBezTo>
                      <a:cubicBezTo>
                        <a:pt x="80306" y="160519"/>
                        <a:pt x="80352" y="160519"/>
                        <a:pt x="80409" y="160519"/>
                      </a:cubicBezTo>
                      <a:cubicBezTo>
                        <a:pt x="97848" y="160485"/>
                        <a:pt x="112375" y="153812"/>
                        <a:pt x="122442" y="141211"/>
                      </a:cubicBezTo>
                      <a:cubicBezTo>
                        <a:pt x="132257" y="128931"/>
                        <a:pt x="137634" y="111320"/>
                        <a:pt x="137588" y="91599"/>
                      </a:cubicBezTo>
                      <a:cubicBezTo>
                        <a:pt x="137554" y="71878"/>
                        <a:pt x="132096" y="54290"/>
                        <a:pt x="122236" y="42056"/>
                      </a:cubicBezTo>
                      <a:cubicBezTo>
                        <a:pt x="112146" y="29536"/>
                        <a:pt x="97631" y="22931"/>
                        <a:pt x="80260" y="22931"/>
                      </a:cubicBezTo>
                      <a:cubicBezTo>
                        <a:pt x="80214" y="22931"/>
                        <a:pt x="80168" y="22931"/>
                        <a:pt x="80122" y="22931"/>
                      </a:cubicBezTo>
                      <a:cubicBezTo>
                        <a:pt x="37803" y="23012"/>
                        <a:pt x="22863" y="60103"/>
                        <a:pt x="22932" y="91840"/>
                      </a:cubicBezTo>
                      <a:lnTo>
                        <a:pt x="22932" y="91840"/>
                      </a:lnTo>
                      <a:close/>
                    </a:path>
                  </a:pathLst>
                </a:custGeom>
                <a:grpFill/>
                <a:ln w="1145" cap="flat">
                  <a:noFill/>
                  <a:prstDash val="solid"/>
                  <a:miter/>
                </a:ln>
              </p:spPr>
              <p:txBody>
                <a:bodyPr rtlCol="0" anchor="ctr"/>
                <a:lstStyle/>
                <a:p>
                  <a:endParaRPr lang="en-GB" dirty="0"/>
                </a:p>
              </p:txBody>
            </p:sp>
            <p:grpSp>
              <p:nvGrpSpPr>
                <p:cNvPr id="923" name="Graphic 48">
                  <a:extLst>
                    <a:ext uri="{FF2B5EF4-FFF2-40B4-BE49-F238E27FC236}">
                      <a16:creationId xmlns:a16="http://schemas.microsoft.com/office/drawing/2014/main" id="{5C2776E8-A54A-4930-AC67-8654FB4CC175}"/>
                    </a:ext>
                  </a:extLst>
                </p:cNvPr>
                <p:cNvGrpSpPr/>
                <p:nvPr/>
              </p:nvGrpSpPr>
              <p:grpSpPr>
                <a:xfrm>
                  <a:off x="2321372" y="1712982"/>
                  <a:ext cx="229269" cy="255500"/>
                  <a:chOff x="2321372" y="1712982"/>
                  <a:chExt cx="229269" cy="255500"/>
                </a:xfrm>
                <a:grpFill/>
              </p:grpSpPr>
              <p:sp>
                <p:nvSpPr>
                  <p:cNvPr id="924" name="Freeform: Shape 923">
                    <a:extLst>
                      <a:ext uri="{FF2B5EF4-FFF2-40B4-BE49-F238E27FC236}">
                        <a16:creationId xmlns:a16="http://schemas.microsoft.com/office/drawing/2014/main" id="{FC603911-8688-45C9-A885-5F2EDE48C427}"/>
                      </a:ext>
                    </a:extLst>
                  </p:cNvPr>
                  <p:cNvSpPr/>
                  <p:nvPr/>
                </p:nvSpPr>
                <p:spPr>
                  <a:xfrm>
                    <a:off x="2333951" y="1712982"/>
                    <a:ext cx="216690" cy="255500"/>
                  </a:xfrm>
                  <a:custGeom>
                    <a:avLst/>
                    <a:gdLst>
                      <a:gd name="connsiteX0" fmla="*/ 54285 w 216690"/>
                      <a:gd name="connsiteY0" fmla="*/ 255501 h 255500"/>
                      <a:gd name="connsiteX1" fmla="*/ 24634 w 216690"/>
                      <a:gd name="connsiteY1" fmla="*/ 229440 h 255500"/>
                      <a:gd name="connsiteX2" fmla="*/ 18420 w 216690"/>
                      <a:gd name="connsiteY2" fmla="*/ 181456 h 255500"/>
                      <a:gd name="connsiteX3" fmla="*/ 28315 w 216690"/>
                      <a:gd name="connsiteY3" fmla="*/ 168614 h 255500"/>
                      <a:gd name="connsiteX4" fmla="*/ 41156 w 216690"/>
                      <a:gd name="connsiteY4" fmla="*/ 178509 h 255500"/>
                      <a:gd name="connsiteX5" fmla="*/ 47371 w 216690"/>
                      <a:gd name="connsiteY5" fmla="*/ 226493 h 255500"/>
                      <a:gd name="connsiteX6" fmla="*/ 54285 w 216690"/>
                      <a:gd name="connsiteY6" fmla="*/ 232570 h 255500"/>
                      <a:gd name="connsiteX7" fmla="*/ 54296 w 216690"/>
                      <a:gd name="connsiteY7" fmla="*/ 232570 h 255500"/>
                      <a:gd name="connsiteX8" fmla="*/ 186828 w 216690"/>
                      <a:gd name="connsiteY8" fmla="*/ 232306 h 255500"/>
                      <a:gd name="connsiteX9" fmla="*/ 192045 w 216690"/>
                      <a:gd name="connsiteY9" fmla="*/ 229933 h 255500"/>
                      <a:gd name="connsiteX10" fmla="*/ 193719 w 216690"/>
                      <a:gd name="connsiteY10" fmla="*/ 224418 h 255500"/>
                      <a:gd name="connsiteX11" fmla="*/ 169354 w 216690"/>
                      <a:gd name="connsiteY11" fmla="*/ 28951 h 255500"/>
                      <a:gd name="connsiteX12" fmla="*/ 162440 w 216690"/>
                      <a:gd name="connsiteY12" fmla="*/ 22931 h 255500"/>
                      <a:gd name="connsiteX13" fmla="*/ 162429 w 216690"/>
                      <a:gd name="connsiteY13" fmla="*/ 22931 h 255500"/>
                      <a:gd name="connsiteX14" fmla="*/ 29897 w 216690"/>
                      <a:gd name="connsiteY14" fmla="*/ 23195 h 255500"/>
                      <a:gd name="connsiteX15" fmla="*/ 24680 w 216690"/>
                      <a:gd name="connsiteY15" fmla="*/ 25569 h 255500"/>
                      <a:gd name="connsiteX16" fmla="*/ 23006 w 216690"/>
                      <a:gd name="connsiteY16" fmla="*/ 31072 h 255500"/>
                      <a:gd name="connsiteX17" fmla="*/ 32053 w 216690"/>
                      <a:gd name="connsiteY17" fmla="*/ 105255 h 255500"/>
                      <a:gd name="connsiteX18" fmla="*/ 22055 w 216690"/>
                      <a:gd name="connsiteY18" fmla="*/ 118028 h 255500"/>
                      <a:gd name="connsiteX19" fmla="*/ 9282 w 216690"/>
                      <a:gd name="connsiteY19" fmla="*/ 108030 h 255500"/>
                      <a:gd name="connsiteX20" fmla="*/ 247 w 216690"/>
                      <a:gd name="connsiteY20" fmla="*/ 33938 h 255500"/>
                      <a:gd name="connsiteX21" fmla="*/ 7424 w 216690"/>
                      <a:gd name="connsiteY21" fmla="*/ 10457 h 255500"/>
                      <a:gd name="connsiteX22" fmla="*/ 29840 w 216690"/>
                      <a:gd name="connsiteY22" fmla="*/ 264 h 255500"/>
                      <a:gd name="connsiteX23" fmla="*/ 162371 w 216690"/>
                      <a:gd name="connsiteY23" fmla="*/ 0 h 255500"/>
                      <a:gd name="connsiteX24" fmla="*/ 162429 w 216690"/>
                      <a:gd name="connsiteY24" fmla="*/ 0 h 255500"/>
                      <a:gd name="connsiteX25" fmla="*/ 192079 w 216690"/>
                      <a:gd name="connsiteY25" fmla="*/ 26061 h 255500"/>
                      <a:gd name="connsiteX26" fmla="*/ 216444 w 216690"/>
                      <a:gd name="connsiteY26" fmla="*/ 221528 h 255500"/>
                      <a:gd name="connsiteX27" fmla="*/ 209266 w 216690"/>
                      <a:gd name="connsiteY27" fmla="*/ 245044 h 255500"/>
                      <a:gd name="connsiteX28" fmla="*/ 186851 w 216690"/>
                      <a:gd name="connsiteY28" fmla="*/ 255226 h 255500"/>
                      <a:gd name="connsiteX29" fmla="*/ 54319 w 216690"/>
                      <a:gd name="connsiteY29" fmla="*/ 255490 h 255500"/>
                      <a:gd name="connsiteX30" fmla="*/ 54285 w 216690"/>
                      <a:gd name="connsiteY30" fmla="*/ 255501 h 25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16690" h="255500">
                        <a:moveTo>
                          <a:pt x="54285" y="255501"/>
                        </a:moveTo>
                        <a:cubicBezTo>
                          <a:pt x="39299" y="255501"/>
                          <a:pt x="26561" y="244299"/>
                          <a:pt x="24634" y="229440"/>
                        </a:cubicBezTo>
                        <a:lnTo>
                          <a:pt x="18420" y="181456"/>
                        </a:lnTo>
                        <a:cubicBezTo>
                          <a:pt x="17606" y="175184"/>
                          <a:pt x="22032" y="169428"/>
                          <a:pt x="28315" y="168614"/>
                        </a:cubicBezTo>
                        <a:cubicBezTo>
                          <a:pt x="34529" y="167777"/>
                          <a:pt x="40342" y="172226"/>
                          <a:pt x="41156" y="178509"/>
                        </a:cubicBezTo>
                        <a:lnTo>
                          <a:pt x="47371" y="226493"/>
                        </a:lnTo>
                        <a:cubicBezTo>
                          <a:pt x="47818" y="229967"/>
                          <a:pt x="50787" y="232570"/>
                          <a:pt x="54285" y="232570"/>
                        </a:cubicBezTo>
                        <a:cubicBezTo>
                          <a:pt x="54285" y="232570"/>
                          <a:pt x="54296" y="232570"/>
                          <a:pt x="54296" y="232570"/>
                        </a:cubicBezTo>
                        <a:lnTo>
                          <a:pt x="186828" y="232306"/>
                        </a:lnTo>
                        <a:cubicBezTo>
                          <a:pt x="189557" y="232306"/>
                          <a:pt x="191265" y="230815"/>
                          <a:pt x="192045" y="229933"/>
                        </a:cubicBezTo>
                        <a:cubicBezTo>
                          <a:pt x="192813" y="229038"/>
                          <a:pt x="194074" y="227146"/>
                          <a:pt x="193719" y="224418"/>
                        </a:cubicBezTo>
                        <a:lnTo>
                          <a:pt x="169354" y="28951"/>
                        </a:lnTo>
                        <a:cubicBezTo>
                          <a:pt x="168907" y="25546"/>
                          <a:pt x="165937" y="22931"/>
                          <a:pt x="162440" y="22931"/>
                        </a:cubicBezTo>
                        <a:cubicBezTo>
                          <a:pt x="162440" y="22931"/>
                          <a:pt x="162429" y="22931"/>
                          <a:pt x="162429" y="22931"/>
                        </a:cubicBezTo>
                        <a:lnTo>
                          <a:pt x="29897" y="23195"/>
                        </a:lnTo>
                        <a:cubicBezTo>
                          <a:pt x="27157" y="23207"/>
                          <a:pt x="25448" y="24686"/>
                          <a:pt x="24680" y="25569"/>
                        </a:cubicBezTo>
                        <a:cubicBezTo>
                          <a:pt x="23901" y="26451"/>
                          <a:pt x="22651" y="28343"/>
                          <a:pt x="23006" y="31072"/>
                        </a:cubicBezTo>
                        <a:lnTo>
                          <a:pt x="32053" y="105255"/>
                        </a:lnTo>
                        <a:cubicBezTo>
                          <a:pt x="32821" y="111538"/>
                          <a:pt x="28349" y="117259"/>
                          <a:pt x="22055" y="118028"/>
                        </a:cubicBezTo>
                        <a:cubicBezTo>
                          <a:pt x="15806" y="118796"/>
                          <a:pt x="10061" y="114324"/>
                          <a:pt x="9282" y="108030"/>
                        </a:cubicBezTo>
                        <a:lnTo>
                          <a:pt x="247" y="33938"/>
                        </a:lnTo>
                        <a:cubicBezTo>
                          <a:pt x="-854" y="25511"/>
                          <a:pt x="1760" y="16912"/>
                          <a:pt x="7424" y="10457"/>
                        </a:cubicBezTo>
                        <a:cubicBezTo>
                          <a:pt x="13088" y="4002"/>
                          <a:pt x="21252" y="287"/>
                          <a:pt x="29840" y="264"/>
                        </a:cubicBezTo>
                        <a:lnTo>
                          <a:pt x="162371" y="0"/>
                        </a:lnTo>
                        <a:cubicBezTo>
                          <a:pt x="162383" y="0"/>
                          <a:pt x="162406" y="0"/>
                          <a:pt x="162429" y="0"/>
                        </a:cubicBezTo>
                        <a:cubicBezTo>
                          <a:pt x="177414" y="0"/>
                          <a:pt x="190153" y="11202"/>
                          <a:pt x="192079" y="26061"/>
                        </a:cubicBezTo>
                        <a:lnTo>
                          <a:pt x="216444" y="221528"/>
                        </a:lnTo>
                        <a:cubicBezTo>
                          <a:pt x="217544" y="230001"/>
                          <a:pt x="214930" y="238589"/>
                          <a:pt x="209266" y="245044"/>
                        </a:cubicBezTo>
                        <a:cubicBezTo>
                          <a:pt x="203602" y="251499"/>
                          <a:pt x="195438" y="255214"/>
                          <a:pt x="186851" y="255226"/>
                        </a:cubicBezTo>
                        <a:lnTo>
                          <a:pt x="54319" y="255490"/>
                        </a:lnTo>
                        <a:cubicBezTo>
                          <a:pt x="54319" y="255501"/>
                          <a:pt x="54307" y="255501"/>
                          <a:pt x="54285" y="255501"/>
                        </a:cubicBezTo>
                        <a:close/>
                      </a:path>
                    </a:pathLst>
                  </a:custGeom>
                  <a:grpFill/>
                  <a:ln w="1145" cap="flat">
                    <a:noFill/>
                    <a:prstDash val="solid"/>
                    <a:miter/>
                  </a:ln>
                </p:spPr>
                <p:txBody>
                  <a:bodyPr rtlCol="0" anchor="ctr"/>
                  <a:lstStyle/>
                  <a:p>
                    <a:endParaRPr lang="en-GB" dirty="0"/>
                  </a:p>
                </p:txBody>
              </p:sp>
              <p:sp>
                <p:nvSpPr>
                  <p:cNvPr id="925" name="Freeform: Shape 924">
                    <a:extLst>
                      <a:ext uri="{FF2B5EF4-FFF2-40B4-BE49-F238E27FC236}">
                        <a16:creationId xmlns:a16="http://schemas.microsoft.com/office/drawing/2014/main" id="{DFCA0D7C-BD88-4BF9-9549-2A64C7C0C984}"/>
                      </a:ext>
                    </a:extLst>
                  </p:cNvPr>
                  <p:cNvSpPr/>
                  <p:nvPr/>
                </p:nvSpPr>
                <p:spPr>
                  <a:xfrm>
                    <a:off x="2321372" y="1810916"/>
                    <a:ext cx="93139" cy="91868"/>
                  </a:xfrm>
                  <a:custGeom>
                    <a:avLst/>
                    <a:gdLst>
                      <a:gd name="connsiteX0" fmla="*/ 69570 w 93139"/>
                      <a:gd name="connsiteY0" fmla="*/ 91869 h 91868"/>
                      <a:gd name="connsiteX1" fmla="*/ 66325 w 93139"/>
                      <a:gd name="connsiteY1" fmla="*/ 91639 h 91868"/>
                      <a:gd name="connsiteX2" fmla="*/ 24578 w 93139"/>
                      <a:gd name="connsiteY2" fmla="*/ 85941 h 91868"/>
                      <a:gd name="connsiteX3" fmla="*/ 4273 w 93139"/>
                      <a:gd name="connsiteY3" fmla="*/ 65016 h 91868"/>
                      <a:gd name="connsiteX4" fmla="*/ 134 w 93139"/>
                      <a:gd name="connsiteY4" fmla="*/ 26147 h 91868"/>
                      <a:gd name="connsiteX5" fmla="*/ 7185 w 93139"/>
                      <a:gd name="connsiteY5" fmla="*/ 6679 h 91868"/>
                      <a:gd name="connsiteX6" fmla="*/ 26826 w 93139"/>
                      <a:gd name="connsiteY6" fmla="*/ 224 h 91868"/>
                      <a:gd name="connsiteX7" fmla="*/ 68572 w 93139"/>
                      <a:gd name="connsiteY7" fmla="*/ 5922 h 91868"/>
                      <a:gd name="connsiteX8" fmla="*/ 88866 w 93139"/>
                      <a:gd name="connsiteY8" fmla="*/ 26835 h 91868"/>
                      <a:gd name="connsiteX9" fmla="*/ 93006 w 93139"/>
                      <a:gd name="connsiteY9" fmla="*/ 65716 h 91868"/>
                      <a:gd name="connsiteX10" fmla="*/ 85954 w 93139"/>
                      <a:gd name="connsiteY10" fmla="*/ 85184 h 91868"/>
                      <a:gd name="connsiteX11" fmla="*/ 69570 w 93139"/>
                      <a:gd name="connsiteY11" fmla="*/ 91869 h 91868"/>
                      <a:gd name="connsiteX12" fmla="*/ 23604 w 93139"/>
                      <a:gd name="connsiteY12" fmla="*/ 22937 h 91868"/>
                      <a:gd name="connsiteX13" fmla="*/ 23145 w 93139"/>
                      <a:gd name="connsiteY13" fmla="*/ 23143 h 91868"/>
                      <a:gd name="connsiteX14" fmla="*/ 27067 w 93139"/>
                      <a:gd name="connsiteY14" fmla="*/ 62597 h 91868"/>
                      <a:gd name="connsiteX15" fmla="*/ 69409 w 93139"/>
                      <a:gd name="connsiteY15" fmla="*/ 68914 h 91868"/>
                      <a:gd name="connsiteX16" fmla="*/ 66061 w 93139"/>
                      <a:gd name="connsiteY16" fmla="*/ 29266 h 91868"/>
                      <a:gd name="connsiteX17" fmla="*/ 23719 w 93139"/>
                      <a:gd name="connsiteY17" fmla="*/ 22937 h 91868"/>
                      <a:gd name="connsiteX18" fmla="*/ 23719 w 93139"/>
                      <a:gd name="connsiteY18" fmla="*/ 22937 h 91868"/>
                      <a:gd name="connsiteX19" fmla="*/ 23604 w 93139"/>
                      <a:gd name="connsiteY19" fmla="*/ 22937 h 91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3139" h="91868">
                        <a:moveTo>
                          <a:pt x="69570" y="91869"/>
                        </a:moveTo>
                        <a:cubicBezTo>
                          <a:pt x="68492" y="91869"/>
                          <a:pt x="67414" y="91800"/>
                          <a:pt x="66325" y="91639"/>
                        </a:cubicBezTo>
                        <a:lnTo>
                          <a:pt x="24578" y="85941"/>
                        </a:lnTo>
                        <a:cubicBezTo>
                          <a:pt x="13778" y="84473"/>
                          <a:pt x="5431" y="75863"/>
                          <a:pt x="4273" y="65016"/>
                        </a:cubicBezTo>
                        <a:lnTo>
                          <a:pt x="134" y="26147"/>
                        </a:lnTo>
                        <a:cubicBezTo>
                          <a:pt x="-635" y="18867"/>
                          <a:pt x="1934" y="11781"/>
                          <a:pt x="7185" y="6679"/>
                        </a:cubicBezTo>
                        <a:cubicBezTo>
                          <a:pt x="12436" y="1599"/>
                          <a:pt x="19591" y="-774"/>
                          <a:pt x="26826" y="224"/>
                        </a:cubicBezTo>
                        <a:lnTo>
                          <a:pt x="68572" y="5922"/>
                        </a:lnTo>
                        <a:cubicBezTo>
                          <a:pt x="79361" y="7390"/>
                          <a:pt x="87708" y="15989"/>
                          <a:pt x="88866" y="26835"/>
                        </a:cubicBezTo>
                        <a:lnTo>
                          <a:pt x="93006" y="65716"/>
                        </a:lnTo>
                        <a:cubicBezTo>
                          <a:pt x="93774" y="72996"/>
                          <a:pt x="91205" y="80082"/>
                          <a:pt x="85954" y="85184"/>
                        </a:cubicBezTo>
                        <a:cubicBezTo>
                          <a:pt x="81506" y="89518"/>
                          <a:pt x="75670" y="91869"/>
                          <a:pt x="69570" y="91869"/>
                        </a:cubicBezTo>
                        <a:close/>
                        <a:moveTo>
                          <a:pt x="23604" y="22937"/>
                        </a:moveTo>
                        <a:cubicBezTo>
                          <a:pt x="23489" y="22937"/>
                          <a:pt x="23329" y="22971"/>
                          <a:pt x="23145" y="23143"/>
                        </a:cubicBezTo>
                        <a:lnTo>
                          <a:pt x="27067" y="62597"/>
                        </a:lnTo>
                        <a:lnTo>
                          <a:pt x="69409" y="68914"/>
                        </a:lnTo>
                        <a:lnTo>
                          <a:pt x="66061" y="29266"/>
                        </a:lnTo>
                        <a:lnTo>
                          <a:pt x="23719" y="22937"/>
                        </a:lnTo>
                        <a:lnTo>
                          <a:pt x="23719" y="22937"/>
                        </a:lnTo>
                        <a:cubicBezTo>
                          <a:pt x="23696" y="22948"/>
                          <a:pt x="23661" y="22937"/>
                          <a:pt x="23604" y="22937"/>
                        </a:cubicBezTo>
                        <a:close/>
                      </a:path>
                    </a:pathLst>
                  </a:custGeom>
                  <a:grpFill/>
                  <a:ln w="1145" cap="flat">
                    <a:noFill/>
                    <a:prstDash val="solid"/>
                    <a:miter/>
                  </a:ln>
                </p:spPr>
                <p:txBody>
                  <a:bodyPr rtlCol="0" anchor="ctr"/>
                  <a:lstStyle/>
                  <a:p>
                    <a:endParaRPr lang="en-GB" dirty="0"/>
                  </a:p>
                </p:txBody>
              </p:sp>
            </p:grpSp>
          </p:grpSp>
          <p:sp>
            <p:nvSpPr>
              <p:cNvPr id="912" name="Freeform: Shape 911">
                <a:extLst>
                  <a:ext uri="{FF2B5EF4-FFF2-40B4-BE49-F238E27FC236}">
                    <a16:creationId xmlns:a16="http://schemas.microsoft.com/office/drawing/2014/main" id="{5D140D62-E555-427D-B80A-798FB563B308}"/>
                  </a:ext>
                </a:extLst>
              </p:cNvPr>
              <p:cNvSpPr/>
              <p:nvPr/>
            </p:nvSpPr>
            <p:spPr>
              <a:xfrm>
                <a:off x="1900498" y="1414817"/>
                <a:ext cx="712453" cy="470092"/>
              </a:xfrm>
              <a:custGeom>
                <a:avLst/>
                <a:gdLst>
                  <a:gd name="connsiteX0" fmla="*/ 425801 w 712453"/>
                  <a:gd name="connsiteY0" fmla="*/ 470093 h 470092"/>
                  <a:gd name="connsiteX1" fmla="*/ 34397 w 712453"/>
                  <a:gd name="connsiteY1" fmla="*/ 470093 h 470092"/>
                  <a:gd name="connsiteX2" fmla="*/ 0 w 712453"/>
                  <a:gd name="connsiteY2" fmla="*/ 435696 h 470092"/>
                  <a:gd name="connsiteX3" fmla="*/ 0 w 712453"/>
                  <a:gd name="connsiteY3" fmla="*/ 34397 h 470092"/>
                  <a:gd name="connsiteX4" fmla="*/ 34397 w 712453"/>
                  <a:gd name="connsiteY4" fmla="*/ 0 h 470092"/>
                  <a:gd name="connsiteX5" fmla="*/ 678057 w 712453"/>
                  <a:gd name="connsiteY5" fmla="*/ 0 h 470092"/>
                  <a:gd name="connsiteX6" fmla="*/ 712454 w 712453"/>
                  <a:gd name="connsiteY6" fmla="*/ 34397 h 470092"/>
                  <a:gd name="connsiteX7" fmla="*/ 712454 w 712453"/>
                  <a:gd name="connsiteY7" fmla="*/ 57328 h 470092"/>
                  <a:gd name="connsiteX8" fmla="*/ 700988 w 712453"/>
                  <a:gd name="connsiteY8" fmla="*/ 68794 h 470092"/>
                  <a:gd name="connsiteX9" fmla="*/ 689523 w 712453"/>
                  <a:gd name="connsiteY9" fmla="*/ 57328 h 470092"/>
                  <a:gd name="connsiteX10" fmla="*/ 689523 w 712453"/>
                  <a:gd name="connsiteY10" fmla="*/ 34397 h 470092"/>
                  <a:gd name="connsiteX11" fmla="*/ 678057 w 712453"/>
                  <a:gd name="connsiteY11" fmla="*/ 22931 h 470092"/>
                  <a:gd name="connsiteX12" fmla="*/ 34397 w 712453"/>
                  <a:gd name="connsiteY12" fmla="*/ 22931 h 470092"/>
                  <a:gd name="connsiteX13" fmla="*/ 22931 w 712453"/>
                  <a:gd name="connsiteY13" fmla="*/ 34397 h 470092"/>
                  <a:gd name="connsiteX14" fmla="*/ 22931 w 712453"/>
                  <a:gd name="connsiteY14" fmla="*/ 435696 h 470092"/>
                  <a:gd name="connsiteX15" fmla="*/ 34397 w 712453"/>
                  <a:gd name="connsiteY15" fmla="*/ 447161 h 470092"/>
                  <a:gd name="connsiteX16" fmla="*/ 425801 w 712453"/>
                  <a:gd name="connsiteY16" fmla="*/ 447161 h 470092"/>
                  <a:gd name="connsiteX17" fmla="*/ 437266 w 712453"/>
                  <a:gd name="connsiteY17" fmla="*/ 458627 h 470092"/>
                  <a:gd name="connsiteX18" fmla="*/ 425801 w 712453"/>
                  <a:gd name="connsiteY18" fmla="*/ 470093 h 470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12453" h="470092">
                    <a:moveTo>
                      <a:pt x="425801" y="470093"/>
                    </a:moveTo>
                    <a:lnTo>
                      <a:pt x="34397" y="470093"/>
                    </a:lnTo>
                    <a:cubicBezTo>
                      <a:pt x="15433" y="470093"/>
                      <a:pt x="0" y="454660"/>
                      <a:pt x="0" y="435696"/>
                    </a:cubicBezTo>
                    <a:lnTo>
                      <a:pt x="0" y="34397"/>
                    </a:lnTo>
                    <a:cubicBezTo>
                      <a:pt x="0" y="15433"/>
                      <a:pt x="15433" y="0"/>
                      <a:pt x="34397" y="0"/>
                    </a:cubicBezTo>
                    <a:lnTo>
                      <a:pt x="678057" y="0"/>
                    </a:lnTo>
                    <a:cubicBezTo>
                      <a:pt x="697021" y="0"/>
                      <a:pt x="712454" y="15433"/>
                      <a:pt x="712454" y="34397"/>
                    </a:cubicBezTo>
                    <a:lnTo>
                      <a:pt x="712454" y="57328"/>
                    </a:lnTo>
                    <a:cubicBezTo>
                      <a:pt x="712454" y="63657"/>
                      <a:pt x="707317" y="68794"/>
                      <a:pt x="700988" y="68794"/>
                    </a:cubicBezTo>
                    <a:cubicBezTo>
                      <a:pt x="694659" y="68794"/>
                      <a:pt x="689523" y="63657"/>
                      <a:pt x="689523" y="57328"/>
                    </a:cubicBezTo>
                    <a:lnTo>
                      <a:pt x="689523" y="34397"/>
                    </a:lnTo>
                    <a:cubicBezTo>
                      <a:pt x="689523" y="28079"/>
                      <a:pt x="684375" y="22931"/>
                      <a:pt x="678057" y="22931"/>
                    </a:cubicBezTo>
                    <a:lnTo>
                      <a:pt x="34397" y="22931"/>
                    </a:lnTo>
                    <a:cubicBezTo>
                      <a:pt x="28079" y="22931"/>
                      <a:pt x="22931" y="28079"/>
                      <a:pt x="22931" y="34397"/>
                    </a:cubicBezTo>
                    <a:lnTo>
                      <a:pt x="22931" y="435696"/>
                    </a:lnTo>
                    <a:cubicBezTo>
                      <a:pt x="22931" y="442013"/>
                      <a:pt x="28079" y="447161"/>
                      <a:pt x="34397" y="447161"/>
                    </a:cubicBezTo>
                    <a:lnTo>
                      <a:pt x="425801" y="447161"/>
                    </a:lnTo>
                    <a:cubicBezTo>
                      <a:pt x="432130" y="447161"/>
                      <a:pt x="437266" y="452298"/>
                      <a:pt x="437266" y="458627"/>
                    </a:cubicBezTo>
                    <a:cubicBezTo>
                      <a:pt x="437266" y="464956"/>
                      <a:pt x="432130" y="470093"/>
                      <a:pt x="425801" y="470093"/>
                    </a:cubicBezTo>
                    <a:close/>
                  </a:path>
                </a:pathLst>
              </a:custGeom>
              <a:grpFill/>
              <a:ln w="1145" cap="flat">
                <a:noFill/>
                <a:prstDash val="solid"/>
                <a:miter/>
              </a:ln>
            </p:spPr>
            <p:txBody>
              <a:bodyPr rtlCol="0" anchor="ctr"/>
              <a:lstStyle/>
              <a:p>
                <a:endParaRPr lang="en-GB" dirty="0"/>
              </a:p>
            </p:txBody>
          </p:sp>
        </p:grpSp>
        <p:grpSp>
          <p:nvGrpSpPr>
            <p:cNvPr id="868" name="Group 867">
              <a:extLst>
                <a:ext uri="{FF2B5EF4-FFF2-40B4-BE49-F238E27FC236}">
                  <a16:creationId xmlns:a16="http://schemas.microsoft.com/office/drawing/2014/main" id="{32ED1BEA-00B1-4B24-A624-E5129892F3EB}"/>
                </a:ext>
              </a:extLst>
            </p:cNvPr>
            <p:cNvGrpSpPr/>
            <p:nvPr/>
          </p:nvGrpSpPr>
          <p:grpSpPr>
            <a:xfrm>
              <a:off x="7093225" y="4098472"/>
              <a:ext cx="261490" cy="165465"/>
              <a:chOff x="4970229" y="2425571"/>
              <a:chExt cx="299362" cy="189430"/>
            </a:xfrm>
            <a:solidFill>
              <a:schemeClr val="accent1"/>
            </a:solidFill>
          </p:grpSpPr>
          <p:sp>
            <p:nvSpPr>
              <p:cNvPr id="869" name="Freeform: Shape 868">
                <a:extLst>
                  <a:ext uri="{FF2B5EF4-FFF2-40B4-BE49-F238E27FC236}">
                    <a16:creationId xmlns:a16="http://schemas.microsoft.com/office/drawing/2014/main" id="{909D0861-F12E-4AE5-BEC5-E84C35C9EDD7}"/>
                  </a:ext>
                </a:extLst>
              </p:cNvPr>
              <p:cNvSpPr/>
              <p:nvPr/>
            </p:nvSpPr>
            <p:spPr>
              <a:xfrm>
                <a:off x="5043624" y="2496699"/>
                <a:ext cx="17503" cy="14959"/>
              </a:xfrm>
              <a:custGeom>
                <a:avLst/>
                <a:gdLst>
                  <a:gd name="connsiteX0" fmla="*/ 19574 w 31040"/>
                  <a:gd name="connsiteY0" fmla="*/ 26528 h 26528"/>
                  <a:gd name="connsiteX1" fmla="*/ 14919 w 31040"/>
                  <a:gd name="connsiteY1" fmla="*/ 25542 h 26528"/>
                  <a:gd name="connsiteX2" fmla="*/ 6812 w 31040"/>
                  <a:gd name="connsiteY2" fmla="*/ 21942 h 26528"/>
                  <a:gd name="connsiteX3" fmla="*/ 988 w 31040"/>
                  <a:gd name="connsiteY3" fmla="*/ 6807 h 26528"/>
                  <a:gd name="connsiteX4" fmla="*/ 16122 w 31040"/>
                  <a:gd name="connsiteY4" fmla="*/ 983 h 26528"/>
                  <a:gd name="connsiteX5" fmla="*/ 24229 w 31040"/>
                  <a:gd name="connsiteY5" fmla="*/ 4583 h 26528"/>
                  <a:gd name="connsiteX6" fmla="*/ 30053 w 31040"/>
                  <a:gd name="connsiteY6" fmla="*/ 19718 h 26528"/>
                  <a:gd name="connsiteX7" fmla="*/ 19574 w 31040"/>
                  <a:gd name="connsiteY7" fmla="*/ 26528 h 26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40" h="26528">
                    <a:moveTo>
                      <a:pt x="19574" y="26528"/>
                    </a:moveTo>
                    <a:cubicBezTo>
                      <a:pt x="18014" y="26528"/>
                      <a:pt x="16443" y="26207"/>
                      <a:pt x="14919" y="25542"/>
                    </a:cubicBezTo>
                    <a:lnTo>
                      <a:pt x="6812" y="21942"/>
                    </a:lnTo>
                    <a:cubicBezTo>
                      <a:pt x="1034" y="19362"/>
                      <a:pt x="-1581" y="12598"/>
                      <a:pt x="988" y="6807"/>
                    </a:cubicBezTo>
                    <a:cubicBezTo>
                      <a:pt x="3568" y="1029"/>
                      <a:pt x="10344" y="-1574"/>
                      <a:pt x="16122" y="983"/>
                    </a:cubicBezTo>
                    <a:lnTo>
                      <a:pt x="24229" y="4583"/>
                    </a:lnTo>
                    <a:cubicBezTo>
                      <a:pt x="30007" y="7163"/>
                      <a:pt x="32622" y="13928"/>
                      <a:pt x="30053" y="19718"/>
                    </a:cubicBezTo>
                    <a:cubicBezTo>
                      <a:pt x="28150" y="23983"/>
                      <a:pt x="23965" y="26528"/>
                      <a:pt x="19574" y="26528"/>
                    </a:cubicBezTo>
                    <a:close/>
                  </a:path>
                </a:pathLst>
              </a:custGeom>
              <a:solidFill>
                <a:schemeClr val="accent1"/>
              </a:solidFill>
              <a:ln w="1145" cap="flat">
                <a:noFill/>
                <a:prstDash val="solid"/>
                <a:miter/>
              </a:ln>
            </p:spPr>
            <p:txBody>
              <a:bodyPr rtlCol="0" anchor="ctr"/>
              <a:lstStyle/>
              <a:p>
                <a:endParaRPr lang="en-GB" dirty="0"/>
              </a:p>
            </p:txBody>
          </p:sp>
          <p:sp>
            <p:nvSpPr>
              <p:cNvPr id="870" name="Freeform: Shape 869">
                <a:extLst>
                  <a:ext uri="{FF2B5EF4-FFF2-40B4-BE49-F238E27FC236}">
                    <a16:creationId xmlns:a16="http://schemas.microsoft.com/office/drawing/2014/main" id="{997BE4FD-4818-47AF-9F77-83CCAF175593}"/>
                  </a:ext>
                </a:extLst>
              </p:cNvPr>
              <p:cNvSpPr/>
              <p:nvPr/>
            </p:nvSpPr>
            <p:spPr>
              <a:xfrm>
                <a:off x="5074011" y="2529198"/>
                <a:ext cx="18094" cy="17606"/>
              </a:xfrm>
              <a:custGeom>
                <a:avLst/>
                <a:gdLst>
                  <a:gd name="connsiteX0" fmla="*/ 11469 w 32087"/>
                  <a:gd name="connsiteY0" fmla="*/ 31224 h 31223"/>
                  <a:gd name="connsiteX1" fmla="*/ 2962 w 32087"/>
                  <a:gd name="connsiteY1" fmla="*/ 27440 h 31223"/>
                  <a:gd name="connsiteX2" fmla="*/ 3776 w 32087"/>
                  <a:gd name="connsiteY2" fmla="*/ 11251 h 31223"/>
                  <a:gd name="connsiteX3" fmla="*/ 12937 w 32087"/>
                  <a:gd name="connsiteY3" fmla="*/ 2961 h 31223"/>
                  <a:gd name="connsiteX4" fmla="*/ 29126 w 32087"/>
                  <a:gd name="connsiteY4" fmla="*/ 3775 h 31223"/>
                  <a:gd name="connsiteX5" fmla="*/ 28312 w 32087"/>
                  <a:gd name="connsiteY5" fmla="*/ 19965 h 31223"/>
                  <a:gd name="connsiteX6" fmla="*/ 19151 w 32087"/>
                  <a:gd name="connsiteY6" fmla="*/ 28254 h 31223"/>
                  <a:gd name="connsiteX7" fmla="*/ 11469 w 32087"/>
                  <a:gd name="connsiteY7" fmla="*/ 31224 h 31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087" h="31223">
                    <a:moveTo>
                      <a:pt x="11469" y="31224"/>
                    </a:moveTo>
                    <a:cubicBezTo>
                      <a:pt x="8339" y="31224"/>
                      <a:pt x="5220" y="29951"/>
                      <a:pt x="2962" y="27440"/>
                    </a:cubicBezTo>
                    <a:cubicBezTo>
                      <a:pt x="-1292" y="22739"/>
                      <a:pt x="-914" y="15493"/>
                      <a:pt x="3776" y="11251"/>
                    </a:cubicBezTo>
                    <a:lnTo>
                      <a:pt x="12937" y="2961"/>
                    </a:lnTo>
                    <a:cubicBezTo>
                      <a:pt x="17638" y="-1281"/>
                      <a:pt x="24884" y="-926"/>
                      <a:pt x="29126" y="3775"/>
                    </a:cubicBezTo>
                    <a:cubicBezTo>
                      <a:pt x="33380" y="8476"/>
                      <a:pt x="33002" y="15722"/>
                      <a:pt x="28312" y="19965"/>
                    </a:cubicBezTo>
                    <a:lnTo>
                      <a:pt x="19151" y="28254"/>
                    </a:lnTo>
                    <a:cubicBezTo>
                      <a:pt x="16961" y="30238"/>
                      <a:pt x="14209" y="31224"/>
                      <a:pt x="11469" y="31224"/>
                    </a:cubicBezTo>
                    <a:close/>
                  </a:path>
                </a:pathLst>
              </a:custGeom>
              <a:solidFill>
                <a:schemeClr val="accent1"/>
              </a:solidFill>
              <a:ln w="1145" cap="flat">
                <a:noFill/>
                <a:prstDash val="solid"/>
                <a:miter/>
              </a:ln>
            </p:spPr>
            <p:txBody>
              <a:bodyPr rtlCol="0" anchor="ctr"/>
              <a:lstStyle/>
              <a:p>
                <a:endParaRPr lang="en-GB" dirty="0"/>
              </a:p>
            </p:txBody>
          </p:sp>
          <p:grpSp>
            <p:nvGrpSpPr>
              <p:cNvPr id="871" name="Graphic 48">
                <a:extLst>
                  <a:ext uri="{FF2B5EF4-FFF2-40B4-BE49-F238E27FC236}">
                    <a16:creationId xmlns:a16="http://schemas.microsoft.com/office/drawing/2014/main" id="{728D0C94-5C31-4622-BF82-B8C6050241CF}"/>
                  </a:ext>
                </a:extLst>
              </p:cNvPr>
              <p:cNvGrpSpPr/>
              <p:nvPr/>
            </p:nvGrpSpPr>
            <p:grpSpPr>
              <a:xfrm>
                <a:off x="4970229" y="2425571"/>
                <a:ext cx="299362" cy="189430"/>
                <a:chOff x="1954363" y="1483027"/>
                <a:chExt cx="530883" cy="335932"/>
              </a:xfrm>
              <a:solidFill>
                <a:schemeClr val="accent1"/>
              </a:solidFill>
            </p:grpSpPr>
            <p:grpSp>
              <p:nvGrpSpPr>
                <p:cNvPr id="872" name="Graphic 48">
                  <a:extLst>
                    <a:ext uri="{FF2B5EF4-FFF2-40B4-BE49-F238E27FC236}">
                      <a16:creationId xmlns:a16="http://schemas.microsoft.com/office/drawing/2014/main" id="{E3E40E12-C42C-4330-B297-60F77902EA84}"/>
                    </a:ext>
                  </a:extLst>
                </p:cNvPr>
                <p:cNvGrpSpPr/>
                <p:nvPr/>
              </p:nvGrpSpPr>
              <p:grpSpPr>
                <a:xfrm>
                  <a:off x="1954363" y="1483027"/>
                  <a:ext cx="335979" cy="335932"/>
                  <a:chOff x="1954363" y="1483027"/>
                  <a:chExt cx="335979" cy="335932"/>
                </a:xfrm>
                <a:solidFill>
                  <a:schemeClr val="accent1"/>
                </a:solidFill>
              </p:grpSpPr>
              <p:sp>
                <p:nvSpPr>
                  <p:cNvPr id="876" name="Freeform: Shape 875">
                    <a:extLst>
                      <a:ext uri="{FF2B5EF4-FFF2-40B4-BE49-F238E27FC236}">
                        <a16:creationId xmlns:a16="http://schemas.microsoft.com/office/drawing/2014/main" id="{C6E42EDB-428B-49CD-A7E7-711477741CE0}"/>
                      </a:ext>
                    </a:extLst>
                  </p:cNvPr>
                  <p:cNvSpPr/>
                  <p:nvPr/>
                </p:nvSpPr>
                <p:spPr>
                  <a:xfrm>
                    <a:off x="2018066" y="1546535"/>
                    <a:ext cx="208560" cy="208549"/>
                  </a:xfrm>
                  <a:custGeom>
                    <a:avLst/>
                    <a:gdLst>
                      <a:gd name="connsiteX0" fmla="*/ 104280 w 208560"/>
                      <a:gd name="connsiteY0" fmla="*/ 208549 h 208549"/>
                      <a:gd name="connsiteX1" fmla="*/ 0 w 208560"/>
                      <a:gd name="connsiteY1" fmla="*/ 104269 h 208549"/>
                      <a:gd name="connsiteX2" fmla="*/ 104280 w 208560"/>
                      <a:gd name="connsiteY2" fmla="*/ 0 h 208549"/>
                      <a:gd name="connsiteX3" fmla="*/ 208561 w 208560"/>
                      <a:gd name="connsiteY3" fmla="*/ 104269 h 208549"/>
                      <a:gd name="connsiteX4" fmla="*/ 104280 w 208560"/>
                      <a:gd name="connsiteY4" fmla="*/ 208549 h 208549"/>
                      <a:gd name="connsiteX5" fmla="*/ 104280 w 208560"/>
                      <a:gd name="connsiteY5" fmla="*/ 22931 h 208549"/>
                      <a:gd name="connsiteX6" fmla="*/ 22931 w 208560"/>
                      <a:gd name="connsiteY6" fmla="*/ 104269 h 208549"/>
                      <a:gd name="connsiteX7" fmla="*/ 104280 w 208560"/>
                      <a:gd name="connsiteY7" fmla="*/ 185618 h 208549"/>
                      <a:gd name="connsiteX8" fmla="*/ 185629 w 208560"/>
                      <a:gd name="connsiteY8" fmla="*/ 104269 h 208549"/>
                      <a:gd name="connsiteX9" fmla="*/ 104280 w 208560"/>
                      <a:gd name="connsiteY9" fmla="*/ 22931 h 208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8560" h="208549">
                        <a:moveTo>
                          <a:pt x="104280" y="208549"/>
                        </a:moveTo>
                        <a:cubicBezTo>
                          <a:pt x="46780" y="208549"/>
                          <a:pt x="0" y="161769"/>
                          <a:pt x="0" y="104269"/>
                        </a:cubicBezTo>
                        <a:cubicBezTo>
                          <a:pt x="0" y="46769"/>
                          <a:pt x="46780" y="0"/>
                          <a:pt x="104280" y="0"/>
                        </a:cubicBezTo>
                        <a:cubicBezTo>
                          <a:pt x="161781" y="0"/>
                          <a:pt x="208561" y="46780"/>
                          <a:pt x="208561" y="104269"/>
                        </a:cubicBezTo>
                        <a:cubicBezTo>
                          <a:pt x="208561" y="161758"/>
                          <a:pt x="161781" y="208549"/>
                          <a:pt x="104280" y="208549"/>
                        </a:cubicBezTo>
                        <a:close/>
                        <a:moveTo>
                          <a:pt x="104280" y="22931"/>
                        </a:moveTo>
                        <a:cubicBezTo>
                          <a:pt x="59427" y="22931"/>
                          <a:pt x="22931" y="59427"/>
                          <a:pt x="22931" y="104269"/>
                        </a:cubicBezTo>
                        <a:cubicBezTo>
                          <a:pt x="22931" y="149123"/>
                          <a:pt x="59427" y="185618"/>
                          <a:pt x="104280" y="185618"/>
                        </a:cubicBezTo>
                        <a:cubicBezTo>
                          <a:pt x="149134" y="185618"/>
                          <a:pt x="185629" y="149123"/>
                          <a:pt x="185629" y="104269"/>
                        </a:cubicBezTo>
                        <a:cubicBezTo>
                          <a:pt x="185629" y="59427"/>
                          <a:pt x="149134" y="22931"/>
                          <a:pt x="104280" y="22931"/>
                        </a:cubicBezTo>
                        <a:close/>
                      </a:path>
                    </a:pathLst>
                  </a:custGeom>
                  <a:solidFill>
                    <a:schemeClr val="accent1"/>
                  </a:solidFill>
                  <a:ln w="1145" cap="flat">
                    <a:noFill/>
                    <a:prstDash val="solid"/>
                    <a:miter/>
                  </a:ln>
                </p:spPr>
                <p:txBody>
                  <a:bodyPr rtlCol="0" anchor="ctr"/>
                  <a:lstStyle/>
                  <a:p>
                    <a:endParaRPr lang="en-GB" dirty="0"/>
                  </a:p>
                </p:txBody>
              </p:sp>
              <p:grpSp>
                <p:nvGrpSpPr>
                  <p:cNvPr id="877" name="Graphic 48">
                    <a:extLst>
                      <a:ext uri="{FF2B5EF4-FFF2-40B4-BE49-F238E27FC236}">
                        <a16:creationId xmlns:a16="http://schemas.microsoft.com/office/drawing/2014/main" id="{AD046E1D-9605-4290-AEE2-B4666B72A8F5}"/>
                      </a:ext>
                    </a:extLst>
                  </p:cNvPr>
                  <p:cNvGrpSpPr/>
                  <p:nvPr/>
                </p:nvGrpSpPr>
                <p:grpSpPr>
                  <a:xfrm>
                    <a:off x="1954363" y="1618390"/>
                    <a:ext cx="86439" cy="64425"/>
                    <a:chOff x="1954363" y="1618390"/>
                    <a:chExt cx="86439" cy="64425"/>
                  </a:xfrm>
                  <a:solidFill>
                    <a:schemeClr val="accent1"/>
                  </a:solidFill>
                </p:grpSpPr>
                <p:sp>
                  <p:nvSpPr>
                    <p:cNvPr id="909" name="Freeform: Shape 908">
                      <a:extLst>
                        <a:ext uri="{FF2B5EF4-FFF2-40B4-BE49-F238E27FC236}">
                          <a16:creationId xmlns:a16="http://schemas.microsoft.com/office/drawing/2014/main" id="{7B09D2B0-00E8-4F02-AD43-218D5FEB4161}"/>
                        </a:ext>
                      </a:extLst>
                    </p:cNvPr>
                    <p:cNvSpPr/>
                    <p:nvPr/>
                  </p:nvSpPr>
                  <p:spPr>
                    <a:xfrm>
                      <a:off x="1954363" y="1618390"/>
                      <a:ext cx="57133" cy="64425"/>
                    </a:xfrm>
                    <a:custGeom>
                      <a:avLst/>
                      <a:gdLst>
                        <a:gd name="connsiteX0" fmla="*/ 25007 w 57133"/>
                        <a:gd name="connsiteY0" fmla="*/ 64426 h 64425"/>
                        <a:gd name="connsiteX1" fmla="*/ 0 w 57133"/>
                        <a:gd name="connsiteY1" fmla="*/ 32299 h 64425"/>
                        <a:gd name="connsiteX2" fmla="*/ 24296 w 57133"/>
                        <a:gd name="connsiteY2" fmla="*/ 0 h 64425"/>
                        <a:gd name="connsiteX3" fmla="*/ 57133 w 57133"/>
                        <a:gd name="connsiteY3" fmla="*/ 32299 h 64425"/>
                        <a:gd name="connsiteX4" fmla="*/ 25007 w 57133"/>
                        <a:gd name="connsiteY4" fmla="*/ 64426 h 64425"/>
                        <a:gd name="connsiteX5" fmla="*/ 24296 w 57133"/>
                        <a:gd name="connsiteY5" fmla="*/ 11466 h 64425"/>
                        <a:gd name="connsiteX6" fmla="*/ 24273 w 57133"/>
                        <a:gd name="connsiteY6" fmla="*/ 22931 h 64425"/>
                        <a:gd name="connsiteX7" fmla="*/ 22943 w 57133"/>
                        <a:gd name="connsiteY7" fmla="*/ 32299 h 64425"/>
                        <a:gd name="connsiteX8" fmla="*/ 25328 w 57133"/>
                        <a:gd name="connsiteY8" fmla="*/ 41643 h 64425"/>
                        <a:gd name="connsiteX9" fmla="*/ 34202 w 57133"/>
                        <a:gd name="connsiteY9" fmla="*/ 32299 h 64425"/>
                        <a:gd name="connsiteX10" fmla="*/ 24296 w 57133"/>
                        <a:gd name="connsiteY10" fmla="*/ 22931 h 64425"/>
                        <a:gd name="connsiteX11" fmla="*/ 24296 w 57133"/>
                        <a:gd name="connsiteY11" fmla="*/ 11466 h 6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133" h="64425">
                          <a:moveTo>
                            <a:pt x="25007" y="64426"/>
                          </a:moveTo>
                          <a:cubicBezTo>
                            <a:pt x="10285" y="64426"/>
                            <a:pt x="0" y="51217"/>
                            <a:pt x="0" y="32299"/>
                          </a:cubicBezTo>
                          <a:cubicBezTo>
                            <a:pt x="0" y="12979"/>
                            <a:pt x="9769" y="0"/>
                            <a:pt x="24296" y="0"/>
                          </a:cubicBezTo>
                          <a:cubicBezTo>
                            <a:pt x="40554" y="0"/>
                            <a:pt x="57133" y="16304"/>
                            <a:pt x="57133" y="32299"/>
                          </a:cubicBezTo>
                          <a:cubicBezTo>
                            <a:pt x="57133" y="48523"/>
                            <a:pt x="41219" y="64426"/>
                            <a:pt x="25007" y="64426"/>
                          </a:cubicBezTo>
                          <a:close/>
                          <a:moveTo>
                            <a:pt x="24296" y="11466"/>
                          </a:moveTo>
                          <a:lnTo>
                            <a:pt x="24273" y="22931"/>
                          </a:lnTo>
                          <a:cubicBezTo>
                            <a:pt x="24376" y="23229"/>
                            <a:pt x="22943" y="26555"/>
                            <a:pt x="22943" y="32299"/>
                          </a:cubicBezTo>
                          <a:cubicBezTo>
                            <a:pt x="22943" y="37527"/>
                            <a:pt x="24525" y="41013"/>
                            <a:pt x="25328" y="41643"/>
                          </a:cubicBezTo>
                          <a:cubicBezTo>
                            <a:pt x="28171" y="41494"/>
                            <a:pt x="34202" y="35991"/>
                            <a:pt x="34202" y="32299"/>
                          </a:cubicBezTo>
                          <a:cubicBezTo>
                            <a:pt x="34202" y="28974"/>
                            <a:pt x="27816" y="22931"/>
                            <a:pt x="24296" y="22931"/>
                          </a:cubicBezTo>
                          <a:lnTo>
                            <a:pt x="24296" y="11466"/>
                          </a:lnTo>
                          <a:close/>
                        </a:path>
                      </a:pathLst>
                    </a:custGeom>
                    <a:solidFill>
                      <a:schemeClr val="accent1"/>
                    </a:solidFill>
                    <a:ln w="1145" cap="flat">
                      <a:noFill/>
                      <a:prstDash val="solid"/>
                      <a:miter/>
                    </a:ln>
                  </p:spPr>
                  <p:txBody>
                    <a:bodyPr rtlCol="0" anchor="ctr"/>
                    <a:lstStyle/>
                    <a:p>
                      <a:endParaRPr lang="en-GB" dirty="0"/>
                    </a:p>
                  </p:txBody>
                </p:sp>
                <p:sp>
                  <p:nvSpPr>
                    <p:cNvPr id="910" name="Freeform: Shape 909">
                      <a:extLst>
                        <a:ext uri="{FF2B5EF4-FFF2-40B4-BE49-F238E27FC236}">
                          <a16:creationId xmlns:a16="http://schemas.microsoft.com/office/drawing/2014/main" id="{EF4C6E91-8FE2-4AF1-B225-3984884A0A05}"/>
                        </a:ext>
                      </a:extLst>
                    </p:cNvPr>
                    <p:cNvSpPr/>
                    <p:nvPr/>
                  </p:nvSpPr>
                  <p:spPr>
                    <a:xfrm>
                      <a:off x="1988565" y="1639246"/>
                      <a:ext cx="52237" cy="22931"/>
                    </a:xfrm>
                    <a:custGeom>
                      <a:avLst/>
                      <a:gdLst>
                        <a:gd name="connsiteX0" fmla="*/ 40772 w 52237"/>
                        <a:gd name="connsiteY0" fmla="*/ 22931 h 22931"/>
                        <a:gd name="connsiteX1" fmla="*/ 11466 w 52237"/>
                        <a:gd name="connsiteY1" fmla="*/ 22931 h 22931"/>
                        <a:gd name="connsiteX2" fmla="*/ 0 w 52237"/>
                        <a:gd name="connsiteY2" fmla="*/ 11466 h 22931"/>
                        <a:gd name="connsiteX3" fmla="*/ 11466 w 52237"/>
                        <a:gd name="connsiteY3" fmla="*/ 0 h 22931"/>
                        <a:gd name="connsiteX4" fmla="*/ 40772 w 52237"/>
                        <a:gd name="connsiteY4" fmla="*/ 0 h 22931"/>
                        <a:gd name="connsiteX5" fmla="*/ 52238 w 52237"/>
                        <a:gd name="connsiteY5" fmla="*/ 11466 h 22931"/>
                        <a:gd name="connsiteX6" fmla="*/ 40772 w 52237"/>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237" h="22931">
                          <a:moveTo>
                            <a:pt x="40772" y="22931"/>
                          </a:moveTo>
                          <a:lnTo>
                            <a:pt x="11466" y="22931"/>
                          </a:lnTo>
                          <a:cubicBezTo>
                            <a:pt x="5137" y="22931"/>
                            <a:pt x="0" y="17795"/>
                            <a:pt x="0" y="11466"/>
                          </a:cubicBezTo>
                          <a:cubicBezTo>
                            <a:pt x="0" y="5137"/>
                            <a:pt x="5137" y="0"/>
                            <a:pt x="11466" y="0"/>
                          </a:cubicBezTo>
                          <a:lnTo>
                            <a:pt x="40772" y="0"/>
                          </a:lnTo>
                          <a:cubicBezTo>
                            <a:pt x="47101" y="0"/>
                            <a:pt x="52238" y="5137"/>
                            <a:pt x="52238" y="11466"/>
                          </a:cubicBezTo>
                          <a:cubicBezTo>
                            <a:pt x="52238" y="17795"/>
                            <a:pt x="47101" y="22931"/>
                            <a:pt x="40772"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878" name="Graphic 48">
                    <a:extLst>
                      <a:ext uri="{FF2B5EF4-FFF2-40B4-BE49-F238E27FC236}">
                        <a16:creationId xmlns:a16="http://schemas.microsoft.com/office/drawing/2014/main" id="{5AB90701-CECC-4812-8E2B-AC8B6BD3E6CA}"/>
                      </a:ext>
                    </a:extLst>
                  </p:cNvPr>
                  <p:cNvGrpSpPr/>
                  <p:nvPr/>
                </p:nvGrpSpPr>
                <p:grpSpPr>
                  <a:xfrm>
                    <a:off x="2203891" y="1618310"/>
                    <a:ext cx="86451" cy="64425"/>
                    <a:chOff x="2203891" y="1618310"/>
                    <a:chExt cx="86451" cy="64425"/>
                  </a:xfrm>
                  <a:solidFill>
                    <a:schemeClr val="accent1"/>
                  </a:solidFill>
                </p:grpSpPr>
                <p:sp>
                  <p:nvSpPr>
                    <p:cNvPr id="907" name="Freeform: Shape 906">
                      <a:extLst>
                        <a:ext uri="{FF2B5EF4-FFF2-40B4-BE49-F238E27FC236}">
                          <a16:creationId xmlns:a16="http://schemas.microsoft.com/office/drawing/2014/main" id="{94BEC0F4-310E-414A-8E5E-846E1D35F2DE}"/>
                        </a:ext>
                      </a:extLst>
                    </p:cNvPr>
                    <p:cNvSpPr/>
                    <p:nvPr/>
                  </p:nvSpPr>
                  <p:spPr>
                    <a:xfrm>
                      <a:off x="2233208" y="1618310"/>
                      <a:ext cx="57134" cy="64425"/>
                    </a:xfrm>
                    <a:custGeom>
                      <a:avLst/>
                      <a:gdLst>
                        <a:gd name="connsiteX0" fmla="*/ 32161 w 57134"/>
                        <a:gd name="connsiteY0" fmla="*/ 64426 h 64425"/>
                        <a:gd name="connsiteX1" fmla="*/ 0 w 57134"/>
                        <a:gd name="connsiteY1" fmla="*/ 32459 h 64425"/>
                        <a:gd name="connsiteX2" fmla="*/ 32689 w 57134"/>
                        <a:gd name="connsiteY2" fmla="*/ 0 h 64425"/>
                        <a:gd name="connsiteX3" fmla="*/ 32689 w 57134"/>
                        <a:gd name="connsiteY3" fmla="*/ 0 h 64425"/>
                        <a:gd name="connsiteX4" fmla="*/ 32804 w 57134"/>
                        <a:gd name="connsiteY4" fmla="*/ 0 h 64425"/>
                        <a:gd name="connsiteX5" fmla="*/ 57134 w 57134"/>
                        <a:gd name="connsiteY5" fmla="*/ 32184 h 64425"/>
                        <a:gd name="connsiteX6" fmla="*/ 32288 w 57134"/>
                        <a:gd name="connsiteY6" fmla="*/ 64426 h 64425"/>
                        <a:gd name="connsiteX7" fmla="*/ 32161 w 57134"/>
                        <a:gd name="connsiteY7" fmla="*/ 64426 h 64425"/>
                        <a:gd name="connsiteX8" fmla="*/ 32333 w 57134"/>
                        <a:gd name="connsiteY8" fmla="*/ 22954 h 64425"/>
                        <a:gd name="connsiteX9" fmla="*/ 22932 w 57134"/>
                        <a:gd name="connsiteY9" fmla="*/ 32345 h 64425"/>
                        <a:gd name="connsiteX10" fmla="*/ 32161 w 57134"/>
                        <a:gd name="connsiteY10" fmla="*/ 41483 h 64425"/>
                        <a:gd name="connsiteX11" fmla="*/ 32173 w 57134"/>
                        <a:gd name="connsiteY11" fmla="*/ 41483 h 64425"/>
                        <a:gd name="connsiteX12" fmla="*/ 34202 w 57134"/>
                        <a:gd name="connsiteY12" fmla="*/ 32276 h 64425"/>
                        <a:gd name="connsiteX13" fmla="*/ 32333 w 57134"/>
                        <a:gd name="connsiteY13" fmla="*/ 22954 h 64425"/>
                        <a:gd name="connsiteX14" fmla="*/ 32735 w 57134"/>
                        <a:gd name="connsiteY14" fmla="*/ 11466 h 64425"/>
                        <a:gd name="connsiteX15" fmla="*/ 32849 w 57134"/>
                        <a:gd name="connsiteY15" fmla="*/ 11466 h 64425"/>
                        <a:gd name="connsiteX16" fmla="*/ 32735 w 57134"/>
                        <a:gd name="connsiteY16" fmla="*/ 11466 h 64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7134" h="64425">
                          <a:moveTo>
                            <a:pt x="32161" y="64426"/>
                          </a:moveTo>
                          <a:cubicBezTo>
                            <a:pt x="15995" y="64426"/>
                            <a:pt x="80" y="48637"/>
                            <a:pt x="0" y="32459"/>
                          </a:cubicBezTo>
                          <a:cubicBezTo>
                            <a:pt x="-69" y="16453"/>
                            <a:pt x="16431" y="80"/>
                            <a:pt x="32689" y="0"/>
                          </a:cubicBezTo>
                          <a:lnTo>
                            <a:pt x="32689" y="0"/>
                          </a:lnTo>
                          <a:cubicBezTo>
                            <a:pt x="32723" y="0"/>
                            <a:pt x="32769" y="0"/>
                            <a:pt x="32804" y="0"/>
                          </a:cubicBezTo>
                          <a:cubicBezTo>
                            <a:pt x="47262" y="0"/>
                            <a:pt x="57030" y="12910"/>
                            <a:pt x="57134" y="32184"/>
                          </a:cubicBezTo>
                          <a:cubicBezTo>
                            <a:pt x="57214" y="51103"/>
                            <a:pt x="46998" y="64357"/>
                            <a:pt x="32288" y="64426"/>
                          </a:cubicBezTo>
                          <a:cubicBezTo>
                            <a:pt x="32242" y="64426"/>
                            <a:pt x="32196" y="64426"/>
                            <a:pt x="32161" y="64426"/>
                          </a:cubicBezTo>
                          <a:close/>
                          <a:moveTo>
                            <a:pt x="32333" y="22954"/>
                          </a:moveTo>
                          <a:cubicBezTo>
                            <a:pt x="28745" y="23436"/>
                            <a:pt x="22909" y="29157"/>
                            <a:pt x="22932" y="32345"/>
                          </a:cubicBezTo>
                          <a:cubicBezTo>
                            <a:pt x="22943" y="36025"/>
                            <a:pt x="28985" y="41483"/>
                            <a:pt x="32161" y="41483"/>
                          </a:cubicBezTo>
                          <a:cubicBezTo>
                            <a:pt x="32161" y="41483"/>
                            <a:pt x="32161" y="41483"/>
                            <a:pt x="32173" y="41483"/>
                          </a:cubicBezTo>
                          <a:cubicBezTo>
                            <a:pt x="32654" y="41001"/>
                            <a:pt x="34225" y="37504"/>
                            <a:pt x="34202" y="32276"/>
                          </a:cubicBezTo>
                          <a:cubicBezTo>
                            <a:pt x="34168" y="27277"/>
                            <a:pt x="33056" y="24112"/>
                            <a:pt x="32333" y="22954"/>
                          </a:cubicBezTo>
                          <a:close/>
                          <a:moveTo>
                            <a:pt x="32735" y="11466"/>
                          </a:moveTo>
                          <a:lnTo>
                            <a:pt x="32849" y="11466"/>
                          </a:lnTo>
                          <a:lnTo>
                            <a:pt x="32735" y="11466"/>
                          </a:lnTo>
                          <a:close/>
                        </a:path>
                      </a:pathLst>
                    </a:custGeom>
                    <a:solidFill>
                      <a:schemeClr val="accent1"/>
                    </a:solidFill>
                    <a:ln w="1145" cap="flat">
                      <a:noFill/>
                      <a:prstDash val="solid"/>
                      <a:miter/>
                    </a:ln>
                  </p:spPr>
                  <p:txBody>
                    <a:bodyPr rtlCol="0" anchor="ctr"/>
                    <a:lstStyle/>
                    <a:p>
                      <a:endParaRPr lang="en-GB" dirty="0"/>
                    </a:p>
                  </p:txBody>
                </p:sp>
                <p:sp>
                  <p:nvSpPr>
                    <p:cNvPr id="908" name="Freeform: Shape 907">
                      <a:extLst>
                        <a:ext uri="{FF2B5EF4-FFF2-40B4-BE49-F238E27FC236}">
                          <a16:creationId xmlns:a16="http://schemas.microsoft.com/office/drawing/2014/main" id="{717095FA-3BB3-4F9F-9D2D-CB492F557795}"/>
                        </a:ext>
                      </a:extLst>
                    </p:cNvPr>
                    <p:cNvSpPr/>
                    <p:nvPr/>
                  </p:nvSpPr>
                  <p:spPr>
                    <a:xfrm>
                      <a:off x="2203891" y="1639258"/>
                      <a:ext cx="52237" cy="23068"/>
                    </a:xfrm>
                    <a:custGeom>
                      <a:avLst/>
                      <a:gdLst>
                        <a:gd name="connsiteX0" fmla="*/ 11466 w 52237"/>
                        <a:gd name="connsiteY0" fmla="*/ 23069 h 23068"/>
                        <a:gd name="connsiteX1" fmla="*/ 0 w 52237"/>
                        <a:gd name="connsiteY1" fmla="*/ 11661 h 23068"/>
                        <a:gd name="connsiteX2" fmla="*/ 11408 w 52237"/>
                        <a:gd name="connsiteY2" fmla="*/ 138 h 23068"/>
                        <a:gd name="connsiteX3" fmla="*/ 40715 w 52237"/>
                        <a:gd name="connsiteY3" fmla="*/ 0 h 23068"/>
                        <a:gd name="connsiteX4" fmla="*/ 40772 w 52237"/>
                        <a:gd name="connsiteY4" fmla="*/ 0 h 23068"/>
                        <a:gd name="connsiteX5" fmla="*/ 52238 w 52237"/>
                        <a:gd name="connsiteY5" fmla="*/ 11408 h 23068"/>
                        <a:gd name="connsiteX6" fmla="*/ 40829 w 52237"/>
                        <a:gd name="connsiteY6" fmla="*/ 22931 h 23068"/>
                        <a:gd name="connsiteX7" fmla="*/ 11523 w 52237"/>
                        <a:gd name="connsiteY7" fmla="*/ 23069 h 23068"/>
                        <a:gd name="connsiteX8" fmla="*/ 11466 w 52237"/>
                        <a:gd name="connsiteY8" fmla="*/ 23069 h 23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2237" h="23068">
                          <a:moveTo>
                            <a:pt x="11466" y="23069"/>
                          </a:moveTo>
                          <a:cubicBezTo>
                            <a:pt x="5160" y="23069"/>
                            <a:pt x="23" y="17978"/>
                            <a:pt x="0" y="11661"/>
                          </a:cubicBezTo>
                          <a:cubicBezTo>
                            <a:pt x="-23" y="5332"/>
                            <a:pt x="5079" y="172"/>
                            <a:pt x="11408" y="138"/>
                          </a:cubicBezTo>
                          <a:lnTo>
                            <a:pt x="40715" y="0"/>
                          </a:lnTo>
                          <a:cubicBezTo>
                            <a:pt x="40738" y="0"/>
                            <a:pt x="40749" y="0"/>
                            <a:pt x="40772" y="0"/>
                          </a:cubicBezTo>
                          <a:cubicBezTo>
                            <a:pt x="47078" y="0"/>
                            <a:pt x="52215" y="5091"/>
                            <a:pt x="52238" y="11408"/>
                          </a:cubicBezTo>
                          <a:cubicBezTo>
                            <a:pt x="52261" y="17738"/>
                            <a:pt x="47158" y="22897"/>
                            <a:pt x="40829" y="22931"/>
                          </a:cubicBezTo>
                          <a:lnTo>
                            <a:pt x="11523" y="23069"/>
                          </a:lnTo>
                          <a:cubicBezTo>
                            <a:pt x="11500" y="23069"/>
                            <a:pt x="11489" y="23069"/>
                            <a:pt x="11466" y="23069"/>
                          </a:cubicBezTo>
                          <a:close/>
                        </a:path>
                      </a:pathLst>
                    </a:custGeom>
                    <a:solidFill>
                      <a:schemeClr val="accent1"/>
                    </a:solidFill>
                    <a:ln w="1145" cap="flat">
                      <a:noFill/>
                      <a:prstDash val="solid"/>
                      <a:miter/>
                    </a:ln>
                  </p:spPr>
                  <p:txBody>
                    <a:bodyPr rtlCol="0" anchor="ctr"/>
                    <a:lstStyle/>
                    <a:p>
                      <a:endParaRPr lang="en-GB" dirty="0"/>
                    </a:p>
                  </p:txBody>
                </p:sp>
              </p:grpSp>
              <p:grpSp>
                <p:nvGrpSpPr>
                  <p:cNvPr id="879" name="Graphic 48">
                    <a:extLst>
                      <a:ext uri="{FF2B5EF4-FFF2-40B4-BE49-F238E27FC236}">
                        <a16:creationId xmlns:a16="http://schemas.microsoft.com/office/drawing/2014/main" id="{4728F694-47ED-4A8C-87DE-DE7ED3016584}"/>
                      </a:ext>
                    </a:extLst>
                  </p:cNvPr>
                  <p:cNvGrpSpPr/>
                  <p:nvPr/>
                </p:nvGrpSpPr>
                <p:grpSpPr>
                  <a:xfrm>
                    <a:off x="1991539" y="1483027"/>
                    <a:ext cx="261804" cy="113705"/>
                    <a:chOff x="1991539" y="1483027"/>
                    <a:chExt cx="261804" cy="113705"/>
                  </a:xfrm>
                  <a:solidFill>
                    <a:schemeClr val="accent1"/>
                  </a:solidFill>
                </p:grpSpPr>
                <p:grpSp>
                  <p:nvGrpSpPr>
                    <p:cNvPr id="898" name="Graphic 48">
                      <a:extLst>
                        <a:ext uri="{FF2B5EF4-FFF2-40B4-BE49-F238E27FC236}">
                          <a16:creationId xmlns:a16="http://schemas.microsoft.com/office/drawing/2014/main" id="{90F39F63-E82C-4BFC-A30D-D4A8BBAB7747}"/>
                        </a:ext>
                      </a:extLst>
                    </p:cNvPr>
                    <p:cNvGrpSpPr/>
                    <p:nvPr/>
                  </p:nvGrpSpPr>
                  <p:grpSpPr>
                    <a:xfrm>
                      <a:off x="2090231" y="1483027"/>
                      <a:ext cx="64425" cy="86439"/>
                      <a:chOff x="2090231" y="1483027"/>
                      <a:chExt cx="64425" cy="86439"/>
                    </a:xfrm>
                    <a:solidFill>
                      <a:schemeClr val="accent1"/>
                    </a:solidFill>
                  </p:grpSpPr>
                  <p:sp>
                    <p:nvSpPr>
                      <p:cNvPr id="905" name="Freeform: Shape 904">
                        <a:extLst>
                          <a:ext uri="{FF2B5EF4-FFF2-40B4-BE49-F238E27FC236}">
                            <a16:creationId xmlns:a16="http://schemas.microsoft.com/office/drawing/2014/main" id="{330C1857-5EF1-4324-A257-812305B0F1B8}"/>
                          </a:ext>
                        </a:extLst>
                      </p:cNvPr>
                      <p:cNvSpPr/>
                      <p:nvPr/>
                    </p:nvSpPr>
                    <p:spPr>
                      <a:xfrm>
                        <a:off x="2090231" y="1483027"/>
                        <a:ext cx="64425" cy="57133"/>
                      </a:xfrm>
                      <a:custGeom>
                        <a:avLst/>
                        <a:gdLst>
                          <a:gd name="connsiteX0" fmla="*/ 32127 w 64425"/>
                          <a:gd name="connsiteY0" fmla="*/ 57134 h 57133"/>
                          <a:gd name="connsiteX1" fmla="*/ 0 w 64425"/>
                          <a:gd name="connsiteY1" fmla="*/ 25007 h 57133"/>
                          <a:gd name="connsiteX2" fmla="*/ 32127 w 64425"/>
                          <a:gd name="connsiteY2" fmla="*/ 0 h 57133"/>
                          <a:gd name="connsiteX3" fmla="*/ 64426 w 64425"/>
                          <a:gd name="connsiteY3" fmla="*/ 24284 h 57133"/>
                          <a:gd name="connsiteX4" fmla="*/ 32127 w 64425"/>
                          <a:gd name="connsiteY4" fmla="*/ 57134 h 57133"/>
                          <a:gd name="connsiteX5" fmla="*/ 32127 w 64425"/>
                          <a:gd name="connsiteY5" fmla="*/ 22943 h 57133"/>
                          <a:gd name="connsiteX6" fmla="*/ 22782 w 64425"/>
                          <a:gd name="connsiteY6" fmla="*/ 25328 h 57133"/>
                          <a:gd name="connsiteX7" fmla="*/ 32127 w 64425"/>
                          <a:gd name="connsiteY7" fmla="*/ 34202 h 57133"/>
                          <a:gd name="connsiteX8" fmla="*/ 41494 w 64425"/>
                          <a:gd name="connsiteY8" fmla="*/ 24296 h 57133"/>
                          <a:gd name="connsiteX9" fmla="*/ 52960 w 64425"/>
                          <a:gd name="connsiteY9" fmla="*/ 24296 h 57133"/>
                          <a:gd name="connsiteX10" fmla="*/ 41494 w 64425"/>
                          <a:gd name="connsiteY10" fmla="*/ 24273 h 57133"/>
                          <a:gd name="connsiteX11" fmla="*/ 32127 w 64425"/>
                          <a:gd name="connsiteY11" fmla="*/ 22943 h 57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425" h="57133">
                            <a:moveTo>
                              <a:pt x="32127" y="57134"/>
                            </a:moveTo>
                            <a:cubicBezTo>
                              <a:pt x="15914" y="57134"/>
                              <a:pt x="0" y="41219"/>
                              <a:pt x="0" y="25007"/>
                            </a:cubicBezTo>
                            <a:cubicBezTo>
                              <a:pt x="0" y="10285"/>
                              <a:pt x="13208" y="0"/>
                              <a:pt x="32127" y="0"/>
                            </a:cubicBezTo>
                            <a:cubicBezTo>
                              <a:pt x="51446" y="0"/>
                              <a:pt x="64426" y="9757"/>
                              <a:pt x="64426" y="24284"/>
                            </a:cubicBezTo>
                            <a:cubicBezTo>
                              <a:pt x="64426" y="40566"/>
                              <a:pt x="48133" y="57134"/>
                              <a:pt x="32127" y="57134"/>
                            </a:cubicBezTo>
                            <a:close/>
                            <a:moveTo>
                              <a:pt x="32127" y="22943"/>
                            </a:moveTo>
                            <a:cubicBezTo>
                              <a:pt x="26898" y="22943"/>
                              <a:pt x="23413" y="24525"/>
                              <a:pt x="22782" y="25328"/>
                            </a:cubicBezTo>
                            <a:cubicBezTo>
                              <a:pt x="22931" y="28171"/>
                              <a:pt x="28435" y="34202"/>
                              <a:pt x="32127" y="34202"/>
                            </a:cubicBezTo>
                            <a:cubicBezTo>
                              <a:pt x="35452" y="34202"/>
                              <a:pt x="41494" y="27816"/>
                              <a:pt x="41494" y="24296"/>
                            </a:cubicBezTo>
                            <a:lnTo>
                              <a:pt x="52960" y="24296"/>
                            </a:lnTo>
                            <a:lnTo>
                              <a:pt x="41494" y="24273"/>
                            </a:lnTo>
                            <a:cubicBezTo>
                              <a:pt x="41173" y="24353"/>
                              <a:pt x="37894" y="22943"/>
                              <a:pt x="32127" y="22943"/>
                            </a:cubicBezTo>
                            <a:close/>
                          </a:path>
                        </a:pathLst>
                      </a:custGeom>
                      <a:solidFill>
                        <a:schemeClr val="accent1"/>
                      </a:solidFill>
                      <a:ln w="1145" cap="flat">
                        <a:noFill/>
                        <a:prstDash val="solid"/>
                        <a:miter/>
                      </a:ln>
                    </p:spPr>
                    <p:txBody>
                      <a:bodyPr rtlCol="0" anchor="ctr"/>
                      <a:lstStyle/>
                      <a:p>
                        <a:endParaRPr lang="en-GB" dirty="0"/>
                      </a:p>
                    </p:txBody>
                  </p:sp>
                  <p:sp>
                    <p:nvSpPr>
                      <p:cNvPr id="906" name="Freeform: Shape 905">
                        <a:extLst>
                          <a:ext uri="{FF2B5EF4-FFF2-40B4-BE49-F238E27FC236}">
                            <a16:creationId xmlns:a16="http://schemas.microsoft.com/office/drawing/2014/main" id="{0F83F5F3-2499-407F-9C8A-F839A5F2FE74}"/>
                          </a:ext>
                        </a:extLst>
                      </p:cNvPr>
                      <p:cNvSpPr/>
                      <p:nvPr/>
                    </p:nvSpPr>
                    <p:spPr>
                      <a:xfrm>
                        <a:off x="2110881" y="1517229"/>
                        <a:ext cx="22931" cy="52237"/>
                      </a:xfrm>
                      <a:custGeom>
                        <a:avLst/>
                        <a:gdLst>
                          <a:gd name="connsiteX0" fmla="*/ 11466 w 22931"/>
                          <a:gd name="connsiteY0" fmla="*/ 52238 h 52237"/>
                          <a:gd name="connsiteX1" fmla="*/ 0 w 22931"/>
                          <a:gd name="connsiteY1" fmla="*/ 40772 h 52237"/>
                          <a:gd name="connsiteX2" fmla="*/ 0 w 22931"/>
                          <a:gd name="connsiteY2" fmla="*/ 11466 h 52237"/>
                          <a:gd name="connsiteX3" fmla="*/ 11466 w 22931"/>
                          <a:gd name="connsiteY3" fmla="*/ 0 h 52237"/>
                          <a:gd name="connsiteX4" fmla="*/ 22931 w 22931"/>
                          <a:gd name="connsiteY4" fmla="*/ 11466 h 52237"/>
                          <a:gd name="connsiteX5" fmla="*/ 22931 w 22931"/>
                          <a:gd name="connsiteY5" fmla="*/ 40772 h 52237"/>
                          <a:gd name="connsiteX6" fmla="*/ 11466 w 22931"/>
                          <a:gd name="connsiteY6" fmla="*/ 52238 h 52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52237">
                            <a:moveTo>
                              <a:pt x="11466" y="52238"/>
                            </a:moveTo>
                            <a:cubicBezTo>
                              <a:pt x="5137" y="52238"/>
                              <a:pt x="0" y="47101"/>
                              <a:pt x="0" y="40772"/>
                            </a:cubicBezTo>
                            <a:lnTo>
                              <a:pt x="0" y="11466"/>
                            </a:lnTo>
                            <a:cubicBezTo>
                              <a:pt x="0" y="5137"/>
                              <a:pt x="5137" y="0"/>
                              <a:pt x="11466" y="0"/>
                            </a:cubicBezTo>
                            <a:cubicBezTo>
                              <a:pt x="17795" y="0"/>
                              <a:pt x="22931" y="5137"/>
                              <a:pt x="22931" y="11466"/>
                            </a:cubicBezTo>
                            <a:lnTo>
                              <a:pt x="22931" y="40772"/>
                            </a:lnTo>
                            <a:cubicBezTo>
                              <a:pt x="22931" y="47112"/>
                              <a:pt x="17795" y="52238"/>
                              <a:pt x="11466" y="52238"/>
                            </a:cubicBezTo>
                            <a:close/>
                          </a:path>
                        </a:pathLst>
                      </a:custGeom>
                      <a:solidFill>
                        <a:schemeClr val="accent1"/>
                      </a:solidFill>
                      <a:ln w="1145" cap="flat">
                        <a:noFill/>
                        <a:prstDash val="solid"/>
                        <a:miter/>
                      </a:ln>
                    </p:spPr>
                    <p:txBody>
                      <a:bodyPr rtlCol="0" anchor="ctr"/>
                      <a:lstStyle/>
                      <a:p>
                        <a:endParaRPr lang="en-GB" dirty="0"/>
                      </a:p>
                    </p:txBody>
                  </p:sp>
                </p:grpSp>
                <p:grpSp>
                  <p:nvGrpSpPr>
                    <p:cNvPr id="899" name="Graphic 48">
                      <a:extLst>
                        <a:ext uri="{FF2B5EF4-FFF2-40B4-BE49-F238E27FC236}">
                          <a16:creationId xmlns:a16="http://schemas.microsoft.com/office/drawing/2014/main" id="{A12E6EDF-6713-4179-A02F-6A13AD9AA0B1}"/>
                        </a:ext>
                      </a:extLst>
                    </p:cNvPr>
                    <p:cNvGrpSpPr/>
                    <p:nvPr/>
                  </p:nvGrpSpPr>
                  <p:grpSpPr>
                    <a:xfrm>
                      <a:off x="2176794" y="1520639"/>
                      <a:ext cx="76549" cy="76092"/>
                      <a:chOff x="2176794" y="1520639"/>
                      <a:chExt cx="76549" cy="76092"/>
                    </a:xfrm>
                    <a:solidFill>
                      <a:schemeClr val="accent1"/>
                    </a:solidFill>
                  </p:grpSpPr>
                  <p:sp>
                    <p:nvSpPr>
                      <p:cNvPr id="903" name="Freeform: Shape 902">
                        <a:extLst>
                          <a:ext uri="{FF2B5EF4-FFF2-40B4-BE49-F238E27FC236}">
                            <a16:creationId xmlns:a16="http://schemas.microsoft.com/office/drawing/2014/main" id="{D6CD6219-EA39-4F48-8E7E-2D2FD1E66F03}"/>
                          </a:ext>
                        </a:extLst>
                      </p:cNvPr>
                      <p:cNvSpPr/>
                      <p:nvPr/>
                    </p:nvSpPr>
                    <p:spPr>
                      <a:xfrm>
                        <a:off x="2192366" y="1520639"/>
                        <a:ext cx="60977" cy="60361"/>
                      </a:xfrm>
                      <a:custGeom>
                        <a:avLst/>
                        <a:gdLst>
                          <a:gd name="connsiteX0" fmla="*/ 30970 w 60977"/>
                          <a:gd name="connsiteY0" fmla="*/ 60362 h 60361"/>
                          <a:gd name="connsiteX1" fmla="*/ 8521 w 60977"/>
                          <a:gd name="connsiteY1" fmla="*/ 52015 h 60361"/>
                          <a:gd name="connsiteX2" fmla="*/ 2 w 60977"/>
                          <a:gd name="connsiteY2" fmla="*/ 29037 h 60361"/>
                          <a:gd name="connsiteX3" fmla="*/ 8532 w 60977"/>
                          <a:gd name="connsiteY3" fmla="*/ 6588 h 60361"/>
                          <a:gd name="connsiteX4" fmla="*/ 31658 w 60977"/>
                          <a:gd name="connsiteY4" fmla="*/ 1004 h 60361"/>
                          <a:gd name="connsiteX5" fmla="*/ 48926 w 60977"/>
                          <a:gd name="connsiteY5" fmla="*/ 11621 h 60361"/>
                          <a:gd name="connsiteX6" fmla="*/ 54590 w 60977"/>
                          <a:gd name="connsiteY6" fmla="*/ 51636 h 60361"/>
                          <a:gd name="connsiteX7" fmla="*/ 32014 w 60977"/>
                          <a:gd name="connsiteY7" fmla="*/ 60339 h 60361"/>
                          <a:gd name="connsiteX8" fmla="*/ 30970 w 60977"/>
                          <a:gd name="connsiteY8" fmla="*/ 60362 h 60361"/>
                          <a:gd name="connsiteX9" fmla="*/ 38366 w 60977"/>
                          <a:gd name="connsiteY9" fmla="*/ 35424 h 60361"/>
                          <a:gd name="connsiteX10" fmla="*/ 46472 w 60977"/>
                          <a:gd name="connsiteY10" fmla="*/ 43530 h 60361"/>
                          <a:gd name="connsiteX11" fmla="*/ 38389 w 60977"/>
                          <a:gd name="connsiteY11" fmla="*/ 35401 h 60361"/>
                          <a:gd name="connsiteX12" fmla="*/ 32702 w 60977"/>
                          <a:gd name="connsiteY12" fmla="*/ 27834 h 60361"/>
                          <a:gd name="connsiteX13" fmla="*/ 24400 w 60977"/>
                          <a:gd name="connsiteY13" fmla="*/ 22915 h 60361"/>
                          <a:gd name="connsiteX14" fmla="*/ 22933 w 60977"/>
                          <a:gd name="connsiteY14" fmla="*/ 29244 h 60361"/>
                          <a:gd name="connsiteX15" fmla="*/ 24744 w 60977"/>
                          <a:gd name="connsiteY15" fmla="*/ 35779 h 60361"/>
                          <a:gd name="connsiteX16" fmla="*/ 31429 w 60977"/>
                          <a:gd name="connsiteY16" fmla="*/ 37407 h 60361"/>
                          <a:gd name="connsiteX17" fmla="*/ 38366 w 60977"/>
                          <a:gd name="connsiteY17" fmla="*/ 35424 h 60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977" h="60361">
                            <a:moveTo>
                              <a:pt x="30970" y="60362"/>
                            </a:moveTo>
                            <a:cubicBezTo>
                              <a:pt x="21981" y="60362"/>
                              <a:pt x="13852" y="57346"/>
                              <a:pt x="8521" y="52015"/>
                            </a:cubicBezTo>
                            <a:cubicBezTo>
                              <a:pt x="3028" y="46523"/>
                              <a:pt x="-79" y="38141"/>
                              <a:pt x="2" y="29037"/>
                            </a:cubicBezTo>
                            <a:cubicBezTo>
                              <a:pt x="82" y="20106"/>
                              <a:pt x="3189" y="11919"/>
                              <a:pt x="8532" y="6588"/>
                            </a:cubicBezTo>
                            <a:cubicBezTo>
                              <a:pt x="14506" y="603"/>
                              <a:pt x="22933" y="-1427"/>
                              <a:pt x="31658" y="1004"/>
                            </a:cubicBezTo>
                            <a:cubicBezTo>
                              <a:pt x="37609" y="2666"/>
                              <a:pt x="43743" y="6439"/>
                              <a:pt x="48926" y="11621"/>
                            </a:cubicBezTo>
                            <a:cubicBezTo>
                              <a:pt x="62581" y="25277"/>
                              <a:pt x="64863" y="41363"/>
                              <a:pt x="54590" y="51636"/>
                            </a:cubicBezTo>
                            <a:cubicBezTo>
                              <a:pt x="49292" y="56934"/>
                              <a:pt x="41060" y="60110"/>
                              <a:pt x="32014" y="60339"/>
                            </a:cubicBezTo>
                            <a:cubicBezTo>
                              <a:pt x="31658" y="60362"/>
                              <a:pt x="31314" y="60362"/>
                              <a:pt x="30970" y="60362"/>
                            </a:cubicBezTo>
                            <a:close/>
                            <a:moveTo>
                              <a:pt x="38366" y="35424"/>
                            </a:moveTo>
                            <a:lnTo>
                              <a:pt x="46472" y="43530"/>
                            </a:lnTo>
                            <a:lnTo>
                              <a:pt x="38389" y="35401"/>
                            </a:lnTo>
                            <a:cubicBezTo>
                              <a:pt x="38102" y="35275"/>
                              <a:pt x="36760" y="31892"/>
                              <a:pt x="32702" y="27834"/>
                            </a:cubicBezTo>
                            <a:cubicBezTo>
                              <a:pt x="28998" y="24130"/>
                              <a:pt x="25444" y="22846"/>
                              <a:pt x="24400" y="22915"/>
                            </a:cubicBezTo>
                            <a:cubicBezTo>
                              <a:pt x="24057" y="23477"/>
                              <a:pt x="22967" y="25827"/>
                              <a:pt x="22933" y="29244"/>
                            </a:cubicBezTo>
                            <a:cubicBezTo>
                              <a:pt x="22910" y="32466"/>
                              <a:pt x="23850" y="34896"/>
                              <a:pt x="24744" y="35779"/>
                            </a:cubicBezTo>
                            <a:cubicBezTo>
                              <a:pt x="25421" y="36467"/>
                              <a:pt x="27852" y="37407"/>
                              <a:pt x="31429" y="37407"/>
                            </a:cubicBezTo>
                            <a:cubicBezTo>
                              <a:pt x="34915" y="37339"/>
                              <a:pt x="37586" y="36204"/>
                              <a:pt x="38366" y="35424"/>
                            </a:cubicBezTo>
                            <a:close/>
                          </a:path>
                        </a:pathLst>
                      </a:custGeom>
                      <a:solidFill>
                        <a:schemeClr val="accent1"/>
                      </a:solidFill>
                      <a:ln w="1145" cap="flat">
                        <a:noFill/>
                        <a:prstDash val="solid"/>
                        <a:miter/>
                      </a:ln>
                    </p:spPr>
                    <p:txBody>
                      <a:bodyPr rtlCol="0" anchor="ctr"/>
                      <a:lstStyle/>
                      <a:p>
                        <a:endParaRPr lang="en-GB" dirty="0"/>
                      </a:p>
                    </p:txBody>
                  </p:sp>
                  <p:sp>
                    <p:nvSpPr>
                      <p:cNvPr id="904" name="Freeform: Shape 903">
                        <a:extLst>
                          <a:ext uri="{FF2B5EF4-FFF2-40B4-BE49-F238E27FC236}">
                            <a16:creationId xmlns:a16="http://schemas.microsoft.com/office/drawing/2014/main" id="{56C5E768-142E-4F16-9500-226AD2F933E5}"/>
                          </a:ext>
                        </a:extLst>
                      </p:cNvPr>
                      <p:cNvSpPr/>
                      <p:nvPr/>
                    </p:nvSpPr>
                    <p:spPr>
                      <a:xfrm>
                        <a:off x="2176794" y="1553068"/>
                        <a:ext cx="43667" cy="43664"/>
                      </a:xfrm>
                      <a:custGeom>
                        <a:avLst/>
                        <a:gdLst>
                          <a:gd name="connsiteX0" fmla="*/ 11469 w 43667"/>
                          <a:gd name="connsiteY0" fmla="*/ 43664 h 43664"/>
                          <a:gd name="connsiteX1" fmla="*/ 3362 w 43667"/>
                          <a:gd name="connsiteY1" fmla="*/ 40305 h 43664"/>
                          <a:gd name="connsiteX2" fmla="*/ 3362 w 43667"/>
                          <a:gd name="connsiteY2" fmla="*/ 24092 h 43664"/>
                          <a:gd name="connsiteX3" fmla="*/ 24092 w 43667"/>
                          <a:gd name="connsiteY3" fmla="*/ 3362 h 43664"/>
                          <a:gd name="connsiteX4" fmla="*/ 40305 w 43667"/>
                          <a:gd name="connsiteY4" fmla="*/ 3362 h 43664"/>
                          <a:gd name="connsiteX5" fmla="*/ 40305 w 43667"/>
                          <a:gd name="connsiteY5" fmla="*/ 19575 h 43664"/>
                          <a:gd name="connsiteX6" fmla="*/ 19575 w 43667"/>
                          <a:gd name="connsiteY6" fmla="*/ 40305 h 43664"/>
                          <a:gd name="connsiteX7" fmla="*/ 11469 w 43667"/>
                          <a:gd name="connsiteY7" fmla="*/ 43664 h 4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67" h="43664">
                            <a:moveTo>
                              <a:pt x="11469" y="43664"/>
                            </a:moveTo>
                            <a:cubicBezTo>
                              <a:pt x="8533" y="43664"/>
                              <a:pt x="5598" y="42540"/>
                              <a:pt x="3362" y="40305"/>
                            </a:cubicBezTo>
                            <a:cubicBezTo>
                              <a:pt x="-1121" y="35822"/>
                              <a:pt x="-1121" y="28575"/>
                              <a:pt x="3362" y="24092"/>
                            </a:cubicBezTo>
                            <a:lnTo>
                              <a:pt x="24092" y="3362"/>
                            </a:lnTo>
                            <a:cubicBezTo>
                              <a:pt x="28575" y="-1121"/>
                              <a:pt x="35822" y="-1121"/>
                              <a:pt x="40305" y="3362"/>
                            </a:cubicBezTo>
                            <a:cubicBezTo>
                              <a:pt x="44788" y="7845"/>
                              <a:pt x="44788" y="15092"/>
                              <a:pt x="40305" y="19575"/>
                            </a:cubicBezTo>
                            <a:lnTo>
                              <a:pt x="19575" y="40305"/>
                            </a:lnTo>
                            <a:cubicBezTo>
                              <a:pt x="17327" y="42552"/>
                              <a:pt x="14404" y="43664"/>
                              <a:pt x="11469" y="43664"/>
                            </a:cubicBezTo>
                            <a:close/>
                          </a:path>
                        </a:pathLst>
                      </a:custGeom>
                      <a:solidFill>
                        <a:schemeClr val="accent1"/>
                      </a:solidFill>
                      <a:ln w="1145" cap="flat">
                        <a:noFill/>
                        <a:prstDash val="solid"/>
                        <a:miter/>
                      </a:ln>
                    </p:spPr>
                    <p:txBody>
                      <a:bodyPr rtlCol="0" anchor="ctr"/>
                      <a:lstStyle/>
                      <a:p>
                        <a:endParaRPr lang="en-GB" dirty="0"/>
                      </a:p>
                    </p:txBody>
                  </p:sp>
                </p:grpSp>
                <p:grpSp>
                  <p:nvGrpSpPr>
                    <p:cNvPr id="900" name="Graphic 48">
                      <a:extLst>
                        <a:ext uri="{FF2B5EF4-FFF2-40B4-BE49-F238E27FC236}">
                          <a16:creationId xmlns:a16="http://schemas.microsoft.com/office/drawing/2014/main" id="{5088AFF2-0FE1-4CF3-AF31-7A44A6E30242}"/>
                        </a:ext>
                      </a:extLst>
                    </p:cNvPr>
                    <p:cNvGrpSpPr/>
                    <p:nvPr/>
                  </p:nvGrpSpPr>
                  <p:grpSpPr>
                    <a:xfrm>
                      <a:off x="1991539" y="1520433"/>
                      <a:ext cx="76532" cy="76081"/>
                      <a:chOff x="1991539" y="1520433"/>
                      <a:chExt cx="76532" cy="76081"/>
                    </a:xfrm>
                    <a:solidFill>
                      <a:schemeClr val="accent1"/>
                    </a:solidFill>
                  </p:grpSpPr>
                  <p:sp>
                    <p:nvSpPr>
                      <p:cNvPr id="901" name="Freeform: Shape 900">
                        <a:extLst>
                          <a:ext uri="{FF2B5EF4-FFF2-40B4-BE49-F238E27FC236}">
                            <a16:creationId xmlns:a16="http://schemas.microsoft.com/office/drawing/2014/main" id="{F4789DBA-A6BE-4A15-BF12-FE3AC720A8FE}"/>
                          </a:ext>
                        </a:extLst>
                      </p:cNvPr>
                      <p:cNvSpPr/>
                      <p:nvPr/>
                    </p:nvSpPr>
                    <p:spPr>
                      <a:xfrm>
                        <a:off x="1991539" y="1520433"/>
                        <a:ext cx="60971" cy="60373"/>
                      </a:xfrm>
                      <a:custGeom>
                        <a:avLst/>
                        <a:gdLst>
                          <a:gd name="connsiteX0" fmla="*/ 29807 w 60971"/>
                          <a:gd name="connsiteY0" fmla="*/ 60373 h 60373"/>
                          <a:gd name="connsiteX1" fmla="*/ 6382 w 60971"/>
                          <a:gd name="connsiteY1" fmla="*/ 51636 h 60373"/>
                          <a:gd name="connsiteX2" fmla="*/ 6382 w 60971"/>
                          <a:gd name="connsiteY2" fmla="*/ 51636 h 60373"/>
                          <a:gd name="connsiteX3" fmla="*/ 12058 w 60971"/>
                          <a:gd name="connsiteY3" fmla="*/ 11621 h 60373"/>
                          <a:gd name="connsiteX4" fmla="*/ 29325 w 60971"/>
                          <a:gd name="connsiteY4" fmla="*/ 1004 h 60373"/>
                          <a:gd name="connsiteX5" fmla="*/ 52451 w 60971"/>
                          <a:gd name="connsiteY5" fmla="*/ 6588 h 60373"/>
                          <a:gd name="connsiteX6" fmla="*/ 60970 w 60971"/>
                          <a:gd name="connsiteY6" fmla="*/ 29038 h 60373"/>
                          <a:gd name="connsiteX7" fmla="*/ 52451 w 60971"/>
                          <a:gd name="connsiteY7" fmla="*/ 52015 h 60373"/>
                          <a:gd name="connsiteX8" fmla="*/ 29807 w 60971"/>
                          <a:gd name="connsiteY8" fmla="*/ 60373 h 60373"/>
                          <a:gd name="connsiteX9" fmla="*/ 22939 w 60971"/>
                          <a:gd name="connsiteY9" fmla="*/ 35722 h 60373"/>
                          <a:gd name="connsiteX10" fmla="*/ 36227 w 60971"/>
                          <a:gd name="connsiteY10" fmla="*/ 35791 h 60373"/>
                          <a:gd name="connsiteX11" fmla="*/ 38039 w 60971"/>
                          <a:gd name="connsiteY11" fmla="*/ 29244 h 60373"/>
                          <a:gd name="connsiteX12" fmla="*/ 36227 w 60971"/>
                          <a:gd name="connsiteY12" fmla="*/ 22800 h 60373"/>
                          <a:gd name="connsiteX13" fmla="*/ 36227 w 60971"/>
                          <a:gd name="connsiteY13" fmla="*/ 22800 h 60373"/>
                          <a:gd name="connsiteX14" fmla="*/ 28270 w 60971"/>
                          <a:gd name="connsiteY14" fmla="*/ 27834 h 60373"/>
                          <a:gd name="connsiteX15" fmla="*/ 22939 w 60971"/>
                          <a:gd name="connsiteY15" fmla="*/ 35722 h 60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971" h="60373">
                            <a:moveTo>
                              <a:pt x="29807" y="60373"/>
                            </a:moveTo>
                            <a:cubicBezTo>
                              <a:pt x="21035" y="60373"/>
                              <a:pt x="12207" y="57450"/>
                              <a:pt x="6382" y="51636"/>
                            </a:cubicBezTo>
                            <a:cubicBezTo>
                              <a:pt x="6382" y="51636"/>
                              <a:pt x="6382" y="51636"/>
                              <a:pt x="6382" y="51636"/>
                            </a:cubicBezTo>
                            <a:cubicBezTo>
                              <a:pt x="-3880" y="41363"/>
                              <a:pt x="-1609" y="25277"/>
                              <a:pt x="12058" y="11621"/>
                            </a:cubicBezTo>
                            <a:cubicBezTo>
                              <a:pt x="17252" y="6427"/>
                              <a:pt x="23386" y="2667"/>
                              <a:pt x="29325" y="1004"/>
                            </a:cubicBezTo>
                            <a:cubicBezTo>
                              <a:pt x="38039" y="-1427"/>
                              <a:pt x="46466" y="603"/>
                              <a:pt x="52451" y="6588"/>
                            </a:cubicBezTo>
                            <a:cubicBezTo>
                              <a:pt x="57783" y="11908"/>
                              <a:pt x="60890" y="20094"/>
                              <a:pt x="60970" y="29038"/>
                            </a:cubicBezTo>
                            <a:cubicBezTo>
                              <a:pt x="61051" y="38141"/>
                              <a:pt x="57955" y="46511"/>
                              <a:pt x="52451" y="52015"/>
                            </a:cubicBezTo>
                            <a:cubicBezTo>
                              <a:pt x="46856" y="57587"/>
                              <a:pt x="38360" y="60373"/>
                              <a:pt x="29807" y="60373"/>
                            </a:cubicBezTo>
                            <a:close/>
                            <a:moveTo>
                              <a:pt x="22939" y="35722"/>
                            </a:moveTo>
                            <a:cubicBezTo>
                              <a:pt x="25805" y="37924"/>
                              <a:pt x="33969" y="38050"/>
                              <a:pt x="36227" y="35791"/>
                            </a:cubicBezTo>
                            <a:cubicBezTo>
                              <a:pt x="37122" y="34897"/>
                              <a:pt x="38062" y="32466"/>
                              <a:pt x="38039" y="29244"/>
                            </a:cubicBezTo>
                            <a:cubicBezTo>
                              <a:pt x="38005" y="25827"/>
                              <a:pt x="36915" y="23477"/>
                              <a:pt x="36227" y="22800"/>
                            </a:cubicBezTo>
                            <a:cubicBezTo>
                              <a:pt x="36227" y="22800"/>
                              <a:pt x="36227" y="22800"/>
                              <a:pt x="36227" y="22800"/>
                            </a:cubicBezTo>
                            <a:cubicBezTo>
                              <a:pt x="35528" y="22800"/>
                              <a:pt x="31951" y="24153"/>
                              <a:pt x="28270" y="27834"/>
                            </a:cubicBezTo>
                            <a:cubicBezTo>
                              <a:pt x="24716" y="31377"/>
                              <a:pt x="23248" y="34392"/>
                              <a:pt x="22939" y="35722"/>
                            </a:cubicBezTo>
                            <a:close/>
                          </a:path>
                        </a:pathLst>
                      </a:custGeom>
                      <a:solidFill>
                        <a:schemeClr val="accent1"/>
                      </a:solidFill>
                      <a:ln w="1145" cap="flat">
                        <a:noFill/>
                        <a:prstDash val="solid"/>
                        <a:miter/>
                      </a:ln>
                    </p:spPr>
                    <p:txBody>
                      <a:bodyPr rtlCol="0" anchor="ctr"/>
                      <a:lstStyle/>
                      <a:p>
                        <a:endParaRPr lang="en-GB" dirty="0"/>
                      </a:p>
                    </p:txBody>
                  </p:sp>
                  <p:sp>
                    <p:nvSpPr>
                      <p:cNvPr id="902" name="Freeform: Shape 901">
                        <a:extLst>
                          <a:ext uri="{FF2B5EF4-FFF2-40B4-BE49-F238E27FC236}">
                            <a16:creationId xmlns:a16="http://schemas.microsoft.com/office/drawing/2014/main" id="{4EA3EF9F-DB7A-4B23-AEE9-93E5F115B539}"/>
                          </a:ext>
                        </a:extLst>
                      </p:cNvPr>
                      <p:cNvSpPr/>
                      <p:nvPr/>
                    </p:nvSpPr>
                    <p:spPr>
                      <a:xfrm>
                        <a:off x="2024416" y="1552861"/>
                        <a:ext cx="43655" cy="43652"/>
                      </a:xfrm>
                      <a:custGeom>
                        <a:avLst/>
                        <a:gdLst>
                          <a:gd name="connsiteX0" fmla="*/ 32187 w 43655"/>
                          <a:gd name="connsiteY0" fmla="*/ 43653 h 43652"/>
                          <a:gd name="connsiteX1" fmla="*/ 24081 w 43655"/>
                          <a:gd name="connsiteY1" fmla="*/ 40293 h 43652"/>
                          <a:gd name="connsiteX2" fmla="*/ 3362 w 43655"/>
                          <a:gd name="connsiteY2" fmla="*/ 19575 h 43652"/>
                          <a:gd name="connsiteX3" fmla="*/ 3362 w 43655"/>
                          <a:gd name="connsiteY3" fmla="*/ 3362 h 43652"/>
                          <a:gd name="connsiteX4" fmla="*/ 19575 w 43655"/>
                          <a:gd name="connsiteY4" fmla="*/ 3362 h 43652"/>
                          <a:gd name="connsiteX5" fmla="*/ 40293 w 43655"/>
                          <a:gd name="connsiteY5" fmla="*/ 24081 h 43652"/>
                          <a:gd name="connsiteX6" fmla="*/ 40293 w 43655"/>
                          <a:gd name="connsiteY6" fmla="*/ 40293 h 43652"/>
                          <a:gd name="connsiteX7" fmla="*/ 32187 w 43655"/>
                          <a:gd name="connsiteY7" fmla="*/ 43653 h 4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55" h="43652">
                            <a:moveTo>
                              <a:pt x="32187" y="43653"/>
                            </a:moveTo>
                            <a:cubicBezTo>
                              <a:pt x="29252" y="43653"/>
                              <a:pt x="26317" y="42529"/>
                              <a:pt x="24081" y="40293"/>
                            </a:cubicBezTo>
                            <a:lnTo>
                              <a:pt x="3362" y="19575"/>
                            </a:lnTo>
                            <a:cubicBezTo>
                              <a:pt x="-1121" y="15092"/>
                              <a:pt x="-1121" y="7845"/>
                              <a:pt x="3362" y="3362"/>
                            </a:cubicBezTo>
                            <a:cubicBezTo>
                              <a:pt x="7845" y="-1121"/>
                              <a:pt x="15092" y="-1121"/>
                              <a:pt x="19575" y="3362"/>
                            </a:cubicBezTo>
                            <a:lnTo>
                              <a:pt x="40293" y="24081"/>
                            </a:lnTo>
                            <a:cubicBezTo>
                              <a:pt x="44776" y="28564"/>
                              <a:pt x="44776" y="35810"/>
                              <a:pt x="40293" y="40293"/>
                            </a:cubicBezTo>
                            <a:cubicBezTo>
                              <a:pt x="38057" y="42529"/>
                              <a:pt x="35122" y="43653"/>
                              <a:pt x="32187" y="43653"/>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880" name="Graphic 48">
                    <a:extLst>
                      <a:ext uri="{FF2B5EF4-FFF2-40B4-BE49-F238E27FC236}">
                        <a16:creationId xmlns:a16="http://schemas.microsoft.com/office/drawing/2014/main" id="{074F4CE9-98FE-4461-BFB4-12C55D93EA89}"/>
                      </a:ext>
                    </a:extLst>
                  </p:cNvPr>
                  <p:cNvGrpSpPr/>
                  <p:nvPr/>
                </p:nvGrpSpPr>
                <p:grpSpPr>
                  <a:xfrm>
                    <a:off x="1991531" y="1705252"/>
                    <a:ext cx="261801" cy="113707"/>
                    <a:chOff x="1991531" y="1705252"/>
                    <a:chExt cx="261801" cy="113707"/>
                  </a:xfrm>
                  <a:solidFill>
                    <a:schemeClr val="accent1"/>
                  </a:solidFill>
                </p:grpSpPr>
                <p:grpSp>
                  <p:nvGrpSpPr>
                    <p:cNvPr id="889" name="Graphic 48">
                      <a:extLst>
                        <a:ext uri="{FF2B5EF4-FFF2-40B4-BE49-F238E27FC236}">
                          <a16:creationId xmlns:a16="http://schemas.microsoft.com/office/drawing/2014/main" id="{492E16FF-F5CC-411D-8F1F-C0788A182672}"/>
                        </a:ext>
                      </a:extLst>
                    </p:cNvPr>
                    <p:cNvGrpSpPr/>
                    <p:nvPr/>
                  </p:nvGrpSpPr>
                  <p:grpSpPr>
                    <a:xfrm>
                      <a:off x="2090231" y="1732531"/>
                      <a:ext cx="64425" cy="86428"/>
                      <a:chOff x="2090231" y="1732531"/>
                      <a:chExt cx="64425" cy="86428"/>
                    </a:xfrm>
                    <a:solidFill>
                      <a:schemeClr val="accent1"/>
                    </a:solidFill>
                  </p:grpSpPr>
                  <p:sp>
                    <p:nvSpPr>
                      <p:cNvPr id="896" name="Freeform: Shape 895">
                        <a:extLst>
                          <a:ext uri="{FF2B5EF4-FFF2-40B4-BE49-F238E27FC236}">
                            <a16:creationId xmlns:a16="http://schemas.microsoft.com/office/drawing/2014/main" id="{AE94A1BE-C78E-4A5F-BE9C-06A322409E05}"/>
                          </a:ext>
                        </a:extLst>
                      </p:cNvPr>
                      <p:cNvSpPr/>
                      <p:nvPr/>
                    </p:nvSpPr>
                    <p:spPr>
                      <a:xfrm>
                        <a:off x="2090231" y="1761826"/>
                        <a:ext cx="64425" cy="57133"/>
                      </a:xfrm>
                      <a:custGeom>
                        <a:avLst/>
                        <a:gdLst>
                          <a:gd name="connsiteX0" fmla="*/ 32127 w 64425"/>
                          <a:gd name="connsiteY0" fmla="*/ 57133 h 57133"/>
                          <a:gd name="connsiteX1" fmla="*/ 0 w 64425"/>
                          <a:gd name="connsiteY1" fmla="*/ 32127 h 57133"/>
                          <a:gd name="connsiteX2" fmla="*/ 32127 w 64425"/>
                          <a:gd name="connsiteY2" fmla="*/ 0 h 57133"/>
                          <a:gd name="connsiteX3" fmla="*/ 64426 w 64425"/>
                          <a:gd name="connsiteY3" fmla="*/ 32838 h 57133"/>
                          <a:gd name="connsiteX4" fmla="*/ 32127 w 64425"/>
                          <a:gd name="connsiteY4" fmla="*/ 57133 h 57133"/>
                          <a:gd name="connsiteX5" fmla="*/ 32127 w 64425"/>
                          <a:gd name="connsiteY5" fmla="*/ 22943 h 57133"/>
                          <a:gd name="connsiteX6" fmla="*/ 22931 w 64425"/>
                          <a:gd name="connsiteY6" fmla="*/ 32138 h 57133"/>
                          <a:gd name="connsiteX7" fmla="*/ 32127 w 64425"/>
                          <a:gd name="connsiteY7" fmla="*/ 34214 h 57133"/>
                          <a:gd name="connsiteX8" fmla="*/ 41460 w 64425"/>
                          <a:gd name="connsiteY8" fmla="*/ 32402 h 57133"/>
                          <a:gd name="connsiteX9" fmla="*/ 32127 w 64425"/>
                          <a:gd name="connsiteY9" fmla="*/ 22943 h 57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425" h="57133">
                            <a:moveTo>
                              <a:pt x="32127" y="57133"/>
                            </a:moveTo>
                            <a:cubicBezTo>
                              <a:pt x="13220" y="57133"/>
                              <a:pt x="0" y="46860"/>
                              <a:pt x="0" y="32127"/>
                            </a:cubicBezTo>
                            <a:cubicBezTo>
                              <a:pt x="0" y="15914"/>
                              <a:pt x="15914" y="0"/>
                              <a:pt x="32127" y="0"/>
                            </a:cubicBezTo>
                            <a:cubicBezTo>
                              <a:pt x="48133" y="0"/>
                              <a:pt x="64426" y="16568"/>
                              <a:pt x="64426" y="32838"/>
                            </a:cubicBezTo>
                            <a:cubicBezTo>
                              <a:pt x="64426" y="47376"/>
                              <a:pt x="51446" y="57133"/>
                              <a:pt x="32127" y="57133"/>
                            </a:cubicBezTo>
                            <a:close/>
                            <a:moveTo>
                              <a:pt x="32127" y="22943"/>
                            </a:moveTo>
                            <a:cubicBezTo>
                              <a:pt x="28435" y="22943"/>
                              <a:pt x="22931" y="28974"/>
                              <a:pt x="22931" y="32138"/>
                            </a:cubicBezTo>
                            <a:cubicBezTo>
                              <a:pt x="23413" y="32620"/>
                              <a:pt x="26898" y="34214"/>
                              <a:pt x="32127" y="34214"/>
                            </a:cubicBezTo>
                            <a:cubicBezTo>
                              <a:pt x="37137" y="34214"/>
                              <a:pt x="40313" y="33113"/>
                              <a:pt x="41460" y="32402"/>
                            </a:cubicBezTo>
                            <a:cubicBezTo>
                              <a:pt x="41001" y="28802"/>
                              <a:pt x="35314" y="22943"/>
                              <a:pt x="32127" y="22943"/>
                            </a:cubicBezTo>
                            <a:close/>
                          </a:path>
                        </a:pathLst>
                      </a:custGeom>
                      <a:solidFill>
                        <a:schemeClr val="accent1"/>
                      </a:solidFill>
                      <a:ln w="1145" cap="flat">
                        <a:noFill/>
                        <a:prstDash val="solid"/>
                        <a:miter/>
                      </a:ln>
                    </p:spPr>
                    <p:txBody>
                      <a:bodyPr rtlCol="0" anchor="ctr"/>
                      <a:lstStyle/>
                      <a:p>
                        <a:endParaRPr lang="en-GB" dirty="0"/>
                      </a:p>
                    </p:txBody>
                  </p:sp>
                  <p:sp>
                    <p:nvSpPr>
                      <p:cNvPr id="897" name="Freeform: Shape 896">
                        <a:extLst>
                          <a:ext uri="{FF2B5EF4-FFF2-40B4-BE49-F238E27FC236}">
                            <a16:creationId xmlns:a16="http://schemas.microsoft.com/office/drawing/2014/main" id="{B27F400B-94F3-48B1-8132-2EE543103A56}"/>
                          </a:ext>
                        </a:extLst>
                      </p:cNvPr>
                      <p:cNvSpPr/>
                      <p:nvPr/>
                    </p:nvSpPr>
                    <p:spPr>
                      <a:xfrm>
                        <a:off x="2110881" y="1732531"/>
                        <a:ext cx="22931" cy="52237"/>
                      </a:xfrm>
                      <a:custGeom>
                        <a:avLst/>
                        <a:gdLst>
                          <a:gd name="connsiteX0" fmla="*/ 11466 w 22931"/>
                          <a:gd name="connsiteY0" fmla="*/ 52238 h 52237"/>
                          <a:gd name="connsiteX1" fmla="*/ 0 w 22931"/>
                          <a:gd name="connsiteY1" fmla="*/ 40772 h 52237"/>
                          <a:gd name="connsiteX2" fmla="*/ 0 w 22931"/>
                          <a:gd name="connsiteY2" fmla="*/ 11466 h 52237"/>
                          <a:gd name="connsiteX3" fmla="*/ 11466 w 22931"/>
                          <a:gd name="connsiteY3" fmla="*/ 0 h 52237"/>
                          <a:gd name="connsiteX4" fmla="*/ 22931 w 22931"/>
                          <a:gd name="connsiteY4" fmla="*/ 11466 h 52237"/>
                          <a:gd name="connsiteX5" fmla="*/ 22931 w 22931"/>
                          <a:gd name="connsiteY5" fmla="*/ 40772 h 52237"/>
                          <a:gd name="connsiteX6" fmla="*/ 11466 w 22931"/>
                          <a:gd name="connsiteY6" fmla="*/ 52238 h 52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52237">
                            <a:moveTo>
                              <a:pt x="11466" y="52238"/>
                            </a:moveTo>
                            <a:cubicBezTo>
                              <a:pt x="5137" y="52238"/>
                              <a:pt x="0" y="47101"/>
                              <a:pt x="0" y="40772"/>
                            </a:cubicBezTo>
                            <a:lnTo>
                              <a:pt x="0" y="11466"/>
                            </a:lnTo>
                            <a:cubicBezTo>
                              <a:pt x="0" y="5137"/>
                              <a:pt x="5137" y="0"/>
                              <a:pt x="11466" y="0"/>
                            </a:cubicBezTo>
                            <a:cubicBezTo>
                              <a:pt x="17795" y="0"/>
                              <a:pt x="22931" y="5137"/>
                              <a:pt x="22931" y="11466"/>
                            </a:cubicBezTo>
                            <a:lnTo>
                              <a:pt x="22931" y="40772"/>
                            </a:lnTo>
                            <a:cubicBezTo>
                              <a:pt x="22931" y="47101"/>
                              <a:pt x="17795" y="52238"/>
                              <a:pt x="11466" y="52238"/>
                            </a:cubicBezTo>
                            <a:close/>
                          </a:path>
                        </a:pathLst>
                      </a:custGeom>
                      <a:solidFill>
                        <a:schemeClr val="accent1"/>
                      </a:solidFill>
                      <a:ln w="1145" cap="flat">
                        <a:noFill/>
                        <a:prstDash val="solid"/>
                        <a:miter/>
                      </a:ln>
                    </p:spPr>
                    <p:txBody>
                      <a:bodyPr rtlCol="0" anchor="ctr"/>
                      <a:lstStyle/>
                      <a:p>
                        <a:endParaRPr lang="en-GB" dirty="0"/>
                      </a:p>
                    </p:txBody>
                  </p:sp>
                </p:grpSp>
                <p:grpSp>
                  <p:nvGrpSpPr>
                    <p:cNvPr id="890" name="Graphic 48">
                      <a:extLst>
                        <a:ext uri="{FF2B5EF4-FFF2-40B4-BE49-F238E27FC236}">
                          <a16:creationId xmlns:a16="http://schemas.microsoft.com/office/drawing/2014/main" id="{AA0AE417-1EB3-4D5A-9969-03CFA1F16E6E}"/>
                        </a:ext>
                      </a:extLst>
                    </p:cNvPr>
                    <p:cNvGrpSpPr/>
                    <p:nvPr/>
                  </p:nvGrpSpPr>
                  <p:grpSpPr>
                    <a:xfrm>
                      <a:off x="2176783" y="1705252"/>
                      <a:ext cx="76549" cy="76100"/>
                      <a:chOff x="2176783" y="1705252"/>
                      <a:chExt cx="76549" cy="76100"/>
                    </a:xfrm>
                    <a:solidFill>
                      <a:schemeClr val="accent1"/>
                    </a:solidFill>
                  </p:grpSpPr>
                  <p:sp>
                    <p:nvSpPr>
                      <p:cNvPr id="894" name="Freeform: Shape 893">
                        <a:extLst>
                          <a:ext uri="{FF2B5EF4-FFF2-40B4-BE49-F238E27FC236}">
                            <a16:creationId xmlns:a16="http://schemas.microsoft.com/office/drawing/2014/main" id="{3EDBFDF5-0ABA-4A1F-87BB-CDB098856FA9}"/>
                          </a:ext>
                        </a:extLst>
                      </p:cNvPr>
                      <p:cNvSpPr/>
                      <p:nvPr/>
                    </p:nvSpPr>
                    <p:spPr>
                      <a:xfrm>
                        <a:off x="2192355" y="1720977"/>
                        <a:ext cx="60977" cy="60375"/>
                      </a:xfrm>
                      <a:custGeom>
                        <a:avLst/>
                        <a:gdLst>
                          <a:gd name="connsiteX0" fmla="*/ 24527 w 60977"/>
                          <a:gd name="connsiteY0" fmla="*/ 60375 h 60375"/>
                          <a:gd name="connsiteX1" fmla="*/ 8521 w 60977"/>
                          <a:gd name="connsiteY1" fmla="*/ 53782 h 60375"/>
                          <a:gd name="connsiteX2" fmla="*/ 2 w 60977"/>
                          <a:gd name="connsiteY2" fmla="*/ 31333 h 60375"/>
                          <a:gd name="connsiteX3" fmla="*/ 8532 w 60977"/>
                          <a:gd name="connsiteY3" fmla="*/ 8355 h 60375"/>
                          <a:gd name="connsiteX4" fmla="*/ 54590 w 60977"/>
                          <a:gd name="connsiteY4" fmla="*/ 8734 h 60375"/>
                          <a:gd name="connsiteX5" fmla="*/ 48926 w 60977"/>
                          <a:gd name="connsiteY5" fmla="*/ 48749 h 60375"/>
                          <a:gd name="connsiteX6" fmla="*/ 31658 w 60977"/>
                          <a:gd name="connsiteY6" fmla="*/ 59366 h 60375"/>
                          <a:gd name="connsiteX7" fmla="*/ 24527 w 60977"/>
                          <a:gd name="connsiteY7" fmla="*/ 60375 h 60375"/>
                          <a:gd name="connsiteX8" fmla="*/ 30982 w 60977"/>
                          <a:gd name="connsiteY8" fmla="*/ 22940 h 60375"/>
                          <a:gd name="connsiteX9" fmla="*/ 24756 w 60977"/>
                          <a:gd name="connsiteY9" fmla="*/ 24579 h 60375"/>
                          <a:gd name="connsiteX10" fmla="*/ 22944 w 60977"/>
                          <a:gd name="connsiteY10" fmla="*/ 31126 h 60375"/>
                          <a:gd name="connsiteX11" fmla="*/ 24756 w 60977"/>
                          <a:gd name="connsiteY11" fmla="*/ 37570 h 60375"/>
                          <a:gd name="connsiteX12" fmla="*/ 24756 w 60977"/>
                          <a:gd name="connsiteY12" fmla="*/ 37570 h 60375"/>
                          <a:gd name="connsiteX13" fmla="*/ 32713 w 60977"/>
                          <a:gd name="connsiteY13" fmla="*/ 32537 h 60375"/>
                          <a:gd name="connsiteX14" fmla="*/ 38033 w 60977"/>
                          <a:gd name="connsiteY14" fmla="*/ 24648 h 60375"/>
                          <a:gd name="connsiteX15" fmla="*/ 30982 w 60977"/>
                          <a:gd name="connsiteY15" fmla="*/ 22940 h 60375"/>
                          <a:gd name="connsiteX16" fmla="*/ 38377 w 60977"/>
                          <a:gd name="connsiteY16" fmla="*/ 24946 h 60375"/>
                          <a:gd name="connsiteX17" fmla="*/ 38492 w 60977"/>
                          <a:gd name="connsiteY17" fmla="*/ 24946 h 60375"/>
                          <a:gd name="connsiteX18" fmla="*/ 38377 w 60977"/>
                          <a:gd name="connsiteY18" fmla="*/ 24946 h 60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77" h="60375">
                            <a:moveTo>
                              <a:pt x="24527" y="60375"/>
                            </a:moveTo>
                            <a:cubicBezTo>
                              <a:pt x="18461" y="60375"/>
                              <a:pt x="12855" y="58117"/>
                              <a:pt x="8521" y="53782"/>
                            </a:cubicBezTo>
                            <a:cubicBezTo>
                              <a:pt x="3189" y="48462"/>
                              <a:pt x="82" y="40276"/>
                              <a:pt x="2" y="31333"/>
                            </a:cubicBezTo>
                            <a:cubicBezTo>
                              <a:pt x="-79" y="22229"/>
                              <a:pt x="3028" y="13859"/>
                              <a:pt x="8532" y="8355"/>
                            </a:cubicBezTo>
                            <a:cubicBezTo>
                              <a:pt x="19849" y="-2938"/>
                              <a:pt x="43090" y="-2755"/>
                              <a:pt x="54590" y="8734"/>
                            </a:cubicBezTo>
                            <a:cubicBezTo>
                              <a:pt x="64863" y="19007"/>
                              <a:pt x="62581" y="35082"/>
                              <a:pt x="48926" y="48749"/>
                            </a:cubicBezTo>
                            <a:cubicBezTo>
                              <a:pt x="43743" y="53932"/>
                              <a:pt x="37609" y="57704"/>
                              <a:pt x="31658" y="59366"/>
                            </a:cubicBezTo>
                            <a:cubicBezTo>
                              <a:pt x="29239" y="60043"/>
                              <a:pt x="26854" y="60375"/>
                              <a:pt x="24527" y="60375"/>
                            </a:cubicBezTo>
                            <a:close/>
                            <a:moveTo>
                              <a:pt x="30982" y="22940"/>
                            </a:moveTo>
                            <a:cubicBezTo>
                              <a:pt x="28368" y="22940"/>
                              <a:pt x="25857" y="23467"/>
                              <a:pt x="24756" y="24579"/>
                            </a:cubicBezTo>
                            <a:cubicBezTo>
                              <a:pt x="23862" y="25474"/>
                              <a:pt x="22921" y="27904"/>
                              <a:pt x="22944" y="31126"/>
                            </a:cubicBezTo>
                            <a:cubicBezTo>
                              <a:pt x="22979" y="34543"/>
                              <a:pt x="24068" y="36894"/>
                              <a:pt x="24756" y="37570"/>
                            </a:cubicBezTo>
                            <a:cubicBezTo>
                              <a:pt x="24756" y="37570"/>
                              <a:pt x="24756" y="37570"/>
                              <a:pt x="24756" y="37570"/>
                            </a:cubicBezTo>
                            <a:cubicBezTo>
                              <a:pt x="25455" y="37570"/>
                              <a:pt x="29033" y="36217"/>
                              <a:pt x="32713" y="32537"/>
                            </a:cubicBezTo>
                            <a:cubicBezTo>
                              <a:pt x="36256" y="28994"/>
                              <a:pt x="37724" y="25967"/>
                              <a:pt x="38033" y="24648"/>
                            </a:cubicBezTo>
                            <a:cubicBezTo>
                              <a:pt x="36566" y="23525"/>
                              <a:pt x="33722" y="22940"/>
                              <a:pt x="30982" y="22940"/>
                            </a:cubicBezTo>
                            <a:close/>
                            <a:moveTo>
                              <a:pt x="38377" y="24946"/>
                            </a:moveTo>
                            <a:lnTo>
                              <a:pt x="38492" y="24946"/>
                            </a:lnTo>
                            <a:lnTo>
                              <a:pt x="38377" y="24946"/>
                            </a:lnTo>
                            <a:close/>
                          </a:path>
                        </a:pathLst>
                      </a:custGeom>
                      <a:solidFill>
                        <a:schemeClr val="accent1"/>
                      </a:solidFill>
                      <a:ln w="1145" cap="flat">
                        <a:noFill/>
                        <a:prstDash val="solid"/>
                        <a:miter/>
                      </a:ln>
                    </p:spPr>
                    <p:txBody>
                      <a:bodyPr rtlCol="0" anchor="ctr"/>
                      <a:lstStyle/>
                      <a:p>
                        <a:endParaRPr lang="en-GB" dirty="0"/>
                      </a:p>
                    </p:txBody>
                  </p:sp>
                  <p:sp>
                    <p:nvSpPr>
                      <p:cNvPr id="895" name="Freeform: Shape 894">
                        <a:extLst>
                          <a:ext uri="{FF2B5EF4-FFF2-40B4-BE49-F238E27FC236}">
                            <a16:creationId xmlns:a16="http://schemas.microsoft.com/office/drawing/2014/main" id="{BA2E3F50-32E1-4257-B1AE-3281D20AC71D}"/>
                          </a:ext>
                        </a:extLst>
                      </p:cNvPr>
                      <p:cNvSpPr/>
                      <p:nvPr/>
                    </p:nvSpPr>
                    <p:spPr>
                      <a:xfrm>
                        <a:off x="2176783" y="1705252"/>
                        <a:ext cx="43667" cy="43664"/>
                      </a:xfrm>
                      <a:custGeom>
                        <a:avLst/>
                        <a:gdLst>
                          <a:gd name="connsiteX0" fmla="*/ 32198 w 43667"/>
                          <a:gd name="connsiteY0" fmla="*/ 43664 h 43664"/>
                          <a:gd name="connsiteX1" fmla="*/ 24092 w 43667"/>
                          <a:gd name="connsiteY1" fmla="*/ 40305 h 43664"/>
                          <a:gd name="connsiteX2" fmla="*/ 3362 w 43667"/>
                          <a:gd name="connsiteY2" fmla="*/ 19575 h 43664"/>
                          <a:gd name="connsiteX3" fmla="*/ 3362 w 43667"/>
                          <a:gd name="connsiteY3" fmla="*/ 3362 h 43664"/>
                          <a:gd name="connsiteX4" fmla="*/ 19575 w 43667"/>
                          <a:gd name="connsiteY4" fmla="*/ 3362 h 43664"/>
                          <a:gd name="connsiteX5" fmla="*/ 40305 w 43667"/>
                          <a:gd name="connsiteY5" fmla="*/ 24092 h 43664"/>
                          <a:gd name="connsiteX6" fmla="*/ 40305 w 43667"/>
                          <a:gd name="connsiteY6" fmla="*/ 40305 h 43664"/>
                          <a:gd name="connsiteX7" fmla="*/ 32198 w 43667"/>
                          <a:gd name="connsiteY7" fmla="*/ 43664 h 4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67" h="43664">
                            <a:moveTo>
                              <a:pt x="32198" y="43664"/>
                            </a:moveTo>
                            <a:cubicBezTo>
                              <a:pt x="29263" y="43664"/>
                              <a:pt x="26328" y="42540"/>
                              <a:pt x="24092" y="40305"/>
                            </a:cubicBezTo>
                            <a:lnTo>
                              <a:pt x="3362" y="19575"/>
                            </a:lnTo>
                            <a:cubicBezTo>
                              <a:pt x="-1121" y="15092"/>
                              <a:pt x="-1121" y="7845"/>
                              <a:pt x="3362" y="3362"/>
                            </a:cubicBezTo>
                            <a:cubicBezTo>
                              <a:pt x="7845" y="-1121"/>
                              <a:pt x="15092" y="-1121"/>
                              <a:pt x="19575" y="3362"/>
                            </a:cubicBezTo>
                            <a:lnTo>
                              <a:pt x="40305" y="24092"/>
                            </a:lnTo>
                            <a:cubicBezTo>
                              <a:pt x="44788" y="28575"/>
                              <a:pt x="44788" y="35822"/>
                              <a:pt x="40305" y="40305"/>
                            </a:cubicBezTo>
                            <a:cubicBezTo>
                              <a:pt x="38069" y="42552"/>
                              <a:pt x="35134" y="43664"/>
                              <a:pt x="32198" y="43664"/>
                            </a:cubicBezTo>
                            <a:close/>
                          </a:path>
                        </a:pathLst>
                      </a:custGeom>
                      <a:solidFill>
                        <a:schemeClr val="accent1"/>
                      </a:solidFill>
                      <a:ln w="1145" cap="flat">
                        <a:noFill/>
                        <a:prstDash val="solid"/>
                        <a:miter/>
                      </a:ln>
                    </p:spPr>
                    <p:txBody>
                      <a:bodyPr rtlCol="0" anchor="ctr"/>
                      <a:lstStyle/>
                      <a:p>
                        <a:endParaRPr lang="en-GB" dirty="0"/>
                      </a:p>
                    </p:txBody>
                  </p:sp>
                </p:grpSp>
                <p:grpSp>
                  <p:nvGrpSpPr>
                    <p:cNvPr id="891" name="Graphic 48">
                      <a:extLst>
                        <a:ext uri="{FF2B5EF4-FFF2-40B4-BE49-F238E27FC236}">
                          <a16:creationId xmlns:a16="http://schemas.microsoft.com/office/drawing/2014/main" id="{0F7707F0-D37E-4565-A4AD-27723B013138}"/>
                        </a:ext>
                      </a:extLst>
                    </p:cNvPr>
                    <p:cNvGrpSpPr/>
                    <p:nvPr/>
                  </p:nvGrpSpPr>
                  <p:grpSpPr>
                    <a:xfrm>
                      <a:off x="1991531" y="1705481"/>
                      <a:ext cx="76540" cy="76089"/>
                      <a:chOff x="1991531" y="1705481"/>
                      <a:chExt cx="76540" cy="76089"/>
                    </a:xfrm>
                    <a:solidFill>
                      <a:schemeClr val="accent1"/>
                    </a:solidFill>
                  </p:grpSpPr>
                  <p:sp>
                    <p:nvSpPr>
                      <p:cNvPr id="892" name="Freeform: Shape 891">
                        <a:extLst>
                          <a:ext uri="{FF2B5EF4-FFF2-40B4-BE49-F238E27FC236}">
                            <a16:creationId xmlns:a16="http://schemas.microsoft.com/office/drawing/2014/main" id="{7170E0C1-7F3C-45D0-88C0-9EBE39FD736D}"/>
                          </a:ext>
                        </a:extLst>
                      </p:cNvPr>
                      <p:cNvSpPr/>
                      <p:nvPr/>
                    </p:nvSpPr>
                    <p:spPr>
                      <a:xfrm>
                        <a:off x="1991531" y="1721180"/>
                        <a:ext cx="60956" cy="60389"/>
                      </a:xfrm>
                      <a:custGeom>
                        <a:avLst/>
                        <a:gdLst>
                          <a:gd name="connsiteX0" fmla="*/ 36453 w 60956"/>
                          <a:gd name="connsiteY0" fmla="*/ 60390 h 60389"/>
                          <a:gd name="connsiteX1" fmla="*/ 29322 w 60956"/>
                          <a:gd name="connsiteY1" fmla="*/ 59381 h 60389"/>
                          <a:gd name="connsiteX2" fmla="*/ 12054 w 60956"/>
                          <a:gd name="connsiteY2" fmla="*/ 48763 h 60389"/>
                          <a:gd name="connsiteX3" fmla="*/ 6379 w 60956"/>
                          <a:gd name="connsiteY3" fmla="*/ 8748 h 60389"/>
                          <a:gd name="connsiteX4" fmla="*/ 6379 w 60956"/>
                          <a:gd name="connsiteY4" fmla="*/ 8737 h 60389"/>
                          <a:gd name="connsiteX5" fmla="*/ 52436 w 60956"/>
                          <a:gd name="connsiteY5" fmla="*/ 8370 h 60389"/>
                          <a:gd name="connsiteX6" fmla="*/ 60955 w 60956"/>
                          <a:gd name="connsiteY6" fmla="*/ 31347 h 60389"/>
                          <a:gd name="connsiteX7" fmla="*/ 52436 w 60956"/>
                          <a:gd name="connsiteY7" fmla="*/ 53797 h 60389"/>
                          <a:gd name="connsiteX8" fmla="*/ 36453 w 60956"/>
                          <a:gd name="connsiteY8" fmla="*/ 60390 h 60389"/>
                          <a:gd name="connsiteX9" fmla="*/ 14496 w 60956"/>
                          <a:gd name="connsiteY9" fmla="*/ 16854 h 60389"/>
                          <a:gd name="connsiteX10" fmla="*/ 22591 w 60956"/>
                          <a:gd name="connsiteY10" fmla="*/ 24972 h 60389"/>
                          <a:gd name="connsiteX11" fmla="*/ 28278 w 60956"/>
                          <a:gd name="connsiteY11" fmla="*/ 32539 h 60389"/>
                          <a:gd name="connsiteX12" fmla="*/ 36579 w 60956"/>
                          <a:gd name="connsiteY12" fmla="*/ 37458 h 60389"/>
                          <a:gd name="connsiteX13" fmla="*/ 38058 w 60956"/>
                          <a:gd name="connsiteY13" fmla="*/ 31129 h 60389"/>
                          <a:gd name="connsiteX14" fmla="*/ 36247 w 60956"/>
                          <a:gd name="connsiteY14" fmla="*/ 24582 h 60389"/>
                          <a:gd name="connsiteX15" fmla="*/ 22614 w 60956"/>
                          <a:gd name="connsiteY15" fmla="*/ 24961 h 60389"/>
                          <a:gd name="connsiteX16" fmla="*/ 14496 w 60956"/>
                          <a:gd name="connsiteY16" fmla="*/ 16854 h 60389"/>
                          <a:gd name="connsiteX17" fmla="*/ 22614 w 60956"/>
                          <a:gd name="connsiteY17" fmla="*/ 24961 h 60389"/>
                          <a:gd name="connsiteX18" fmla="*/ 14496 w 60956"/>
                          <a:gd name="connsiteY18" fmla="*/ 16854 h 60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56" h="60389">
                            <a:moveTo>
                              <a:pt x="36453" y="60390"/>
                            </a:moveTo>
                            <a:cubicBezTo>
                              <a:pt x="34126" y="60390"/>
                              <a:pt x="31741" y="60057"/>
                              <a:pt x="29322" y="59381"/>
                            </a:cubicBezTo>
                            <a:cubicBezTo>
                              <a:pt x="23371" y="57718"/>
                              <a:pt x="17237" y="53946"/>
                              <a:pt x="12054" y="48763"/>
                            </a:cubicBezTo>
                            <a:cubicBezTo>
                              <a:pt x="-1601" y="35108"/>
                              <a:pt x="-3883" y="19033"/>
                              <a:pt x="6379" y="8748"/>
                            </a:cubicBezTo>
                            <a:cubicBezTo>
                              <a:pt x="6379" y="8748"/>
                              <a:pt x="6379" y="8748"/>
                              <a:pt x="6379" y="8737"/>
                            </a:cubicBezTo>
                            <a:cubicBezTo>
                              <a:pt x="17890" y="-2752"/>
                              <a:pt x="41131" y="-2947"/>
                              <a:pt x="52436" y="8370"/>
                            </a:cubicBezTo>
                            <a:cubicBezTo>
                              <a:pt x="57940" y="13862"/>
                              <a:pt x="61036" y="22243"/>
                              <a:pt x="60955" y="31347"/>
                            </a:cubicBezTo>
                            <a:cubicBezTo>
                              <a:pt x="60875" y="40290"/>
                              <a:pt x="57768" y="48477"/>
                              <a:pt x="52436" y="53797"/>
                            </a:cubicBezTo>
                            <a:cubicBezTo>
                              <a:pt x="48125" y="58131"/>
                              <a:pt x="42519" y="60390"/>
                              <a:pt x="36453" y="60390"/>
                            </a:cubicBezTo>
                            <a:close/>
                            <a:moveTo>
                              <a:pt x="14496" y="16854"/>
                            </a:moveTo>
                            <a:lnTo>
                              <a:pt x="22591" y="24972"/>
                            </a:lnTo>
                            <a:cubicBezTo>
                              <a:pt x="22878" y="25110"/>
                              <a:pt x="24219" y="28481"/>
                              <a:pt x="28278" y="32539"/>
                            </a:cubicBezTo>
                            <a:cubicBezTo>
                              <a:pt x="31970" y="36231"/>
                              <a:pt x="35708" y="37561"/>
                              <a:pt x="36579" y="37458"/>
                            </a:cubicBezTo>
                            <a:cubicBezTo>
                              <a:pt x="36935" y="36896"/>
                              <a:pt x="38024" y="34546"/>
                              <a:pt x="38058" y="31129"/>
                            </a:cubicBezTo>
                            <a:cubicBezTo>
                              <a:pt x="38081" y="27896"/>
                              <a:pt x="37141" y="25465"/>
                              <a:pt x="36247" y="24582"/>
                            </a:cubicBezTo>
                            <a:cubicBezTo>
                              <a:pt x="33885" y="22232"/>
                              <a:pt x="25102" y="22473"/>
                              <a:pt x="22614" y="24961"/>
                            </a:cubicBezTo>
                            <a:lnTo>
                              <a:pt x="14496" y="16854"/>
                            </a:lnTo>
                            <a:lnTo>
                              <a:pt x="22614" y="24961"/>
                            </a:lnTo>
                            <a:lnTo>
                              <a:pt x="14496" y="16854"/>
                            </a:lnTo>
                            <a:close/>
                          </a:path>
                        </a:pathLst>
                      </a:custGeom>
                      <a:solidFill>
                        <a:schemeClr val="accent1"/>
                      </a:solidFill>
                      <a:ln w="1145" cap="flat">
                        <a:noFill/>
                        <a:prstDash val="solid"/>
                        <a:miter/>
                      </a:ln>
                    </p:spPr>
                    <p:txBody>
                      <a:bodyPr rtlCol="0" anchor="ctr"/>
                      <a:lstStyle/>
                      <a:p>
                        <a:endParaRPr lang="en-GB" dirty="0"/>
                      </a:p>
                    </p:txBody>
                  </p:sp>
                  <p:sp>
                    <p:nvSpPr>
                      <p:cNvPr id="893" name="Freeform: Shape 892">
                        <a:extLst>
                          <a:ext uri="{FF2B5EF4-FFF2-40B4-BE49-F238E27FC236}">
                            <a16:creationId xmlns:a16="http://schemas.microsoft.com/office/drawing/2014/main" id="{22EFA51C-E829-4B05-B9DA-A45918DBADA4}"/>
                          </a:ext>
                        </a:extLst>
                      </p:cNvPr>
                      <p:cNvSpPr/>
                      <p:nvPr/>
                    </p:nvSpPr>
                    <p:spPr>
                      <a:xfrm>
                        <a:off x="2024416" y="1705481"/>
                        <a:ext cx="43655" cy="43652"/>
                      </a:xfrm>
                      <a:custGeom>
                        <a:avLst/>
                        <a:gdLst>
                          <a:gd name="connsiteX0" fmla="*/ 11469 w 43655"/>
                          <a:gd name="connsiteY0" fmla="*/ 43653 h 43652"/>
                          <a:gd name="connsiteX1" fmla="*/ 3362 w 43655"/>
                          <a:gd name="connsiteY1" fmla="*/ 40293 h 43652"/>
                          <a:gd name="connsiteX2" fmla="*/ 3362 w 43655"/>
                          <a:gd name="connsiteY2" fmla="*/ 24081 h 43652"/>
                          <a:gd name="connsiteX3" fmla="*/ 24081 w 43655"/>
                          <a:gd name="connsiteY3" fmla="*/ 3362 h 43652"/>
                          <a:gd name="connsiteX4" fmla="*/ 40293 w 43655"/>
                          <a:gd name="connsiteY4" fmla="*/ 3362 h 43652"/>
                          <a:gd name="connsiteX5" fmla="*/ 40293 w 43655"/>
                          <a:gd name="connsiteY5" fmla="*/ 19575 h 43652"/>
                          <a:gd name="connsiteX6" fmla="*/ 19575 w 43655"/>
                          <a:gd name="connsiteY6" fmla="*/ 40293 h 43652"/>
                          <a:gd name="connsiteX7" fmla="*/ 11469 w 43655"/>
                          <a:gd name="connsiteY7" fmla="*/ 43653 h 4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55" h="43652">
                            <a:moveTo>
                              <a:pt x="11469" y="43653"/>
                            </a:moveTo>
                            <a:cubicBezTo>
                              <a:pt x="8533" y="43653"/>
                              <a:pt x="5598" y="42529"/>
                              <a:pt x="3362" y="40293"/>
                            </a:cubicBezTo>
                            <a:cubicBezTo>
                              <a:pt x="-1121" y="35810"/>
                              <a:pt x="-1121" y="28564"/>
                              <a:pt x="3362" y="24081"/>
                            </a:cubicBezTo>
                            <a:lnTo>
                              <a:pt x="24081" y="3362"/>
                            </a:lnTo>
                            <a:cubicBezTo>
                              <a:pt x="28564" y="-1121"/>
                              <a:pt x="35810" y="-1121"/>
                              <a:pt x="40293" y="3362"/>
                            </a:cubicBezTo>
                            <a:cubicBezTo>
                              <a:pt x="44776" y="7845"/>
                              <a:pt x="44776" y="15092"/>
                              <a:pt x="40293" y="19575"/>
                            </a:cubicBezTo>
                            <a:lnTo>
                              <a:pt x="19575" y="40293"/>
                            </a:lnTo>
                            <a:cubicBezTo>
                              <a:pt x="17339" y="42540"/>
                              <a:pt x="14404" y="43653"/>
                              <a:pt x="11469" y="43653"/>
                            </a:cubicBezTo>
                            <a:close/>
                          </a:path>
                        </a:pathLst>
                      </a:custGeom>
                      <a:solidFill>
                        <a:schemeClr val="accent1"/>
                      </a:solidFill>
                      <a:ln w="1145" cap="flat">
                        <a:noFill/>
                        <a:prstDash val="solid"/>
                        <a:miter/>
                      </a:ln>
                    </p:spPr>
                    <p:txBody>
                      <a:bodyPr rtlCol="0" anchor="ctr"/>
                      <a:lstStyle/>
                      <a:p>
                        <a:endParaRPr lang="en-GB" dirty="0"/>
                      </a:p>
                    </p:txBody>
                  </p:sp>
                </p:grpSp>
              </p:grpSp>
              <p:sp>
                <p:nvSpPr>
                  <p:cNvPr id="881" name="Freeform: Shape 880">
                    <a:extLst>
                      <a:ext uri="{FF2B5EF4-FFF2-40B4-BE49-F238E27FC236}">
                        <a16:creationId xmlns:a16="http://schemas.microsoft.com/office/drawing/2014/main" id="{696ACA40-0B19-49EA-A996-21B85134C689}"/>
                      </a:ext>
                    </a:extLst>
                  </p:cNvPr>
                  <p:cNvSpPr/>
                  <p:nvPr/>
                </p:nvSpPr>
                <p:spPr>
                  <a:xfrm>
                    <a:off x="2149619" y="1724339"/>
                    <a:ext cx="30335" cy="39046"/>
                  </a:xfrm>
                  <a:custGeom>
                    <a:avLst/>
                    <a:gdLst>
                      <a:gd name="connsiteX0" fmla="*/ 18877 w 30335"/>
                      <a:gd name="connsiteY0" fmla="*/ 39047 h 39046"/>
                      <a:gd name="connsiteX1" fmla="*/ 8454 w 30335"/>
                      <a:gd name="connsiteY1" fmla="*/ 32362 h 39046"/>
                      <a:gd name="connsiteX2" fmla="*/ 1048 w 30335"/>
                      <a:gd name="connsiteY2" fmla="*/ 16253 h 39046"/>
                      <a:gd name="connsiteX3" fmla="*/ 6677 w 30335"/>
                      <a:gd name="connsiteY3" fmla="*/ 1049 h 39046"/>
                      <a:gd name="connsiteX4" fmla="*/ 21881 w 30335"/>
                      <a:gd name="connsiteY4" fmla="*/ 6679 h 39046"/>
                      <a:gd name="connsiteX5" fmla="*/ 29288 w 30335"/>
                      <a:gd name="connsiteY5" fmla="*/ 22788 h 39046"/>
                      <a:gd name="connsiteX6" fmla="*/ 23658 w 30335"/>
                      <a:gd name="connsiteY6" fmla="*/ 37992 h 39046"/>
                      <a:gd name="connsiteX7" fmla="*/ 18877 w 30335"/>
                      <a:gd name="connsiteY7" fmla="*/ 39047 h 39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35" h="39046">
                        <a:moveTo>
                          <a:pt x="18877" y="39047"/>
                        </a:moveTo>
                        <a:cubicBezTo>
                          <a:pt x="14543" y="39047"/>
                          <a:pt x="10381" y="36570"/>
                          <a:pt x="8454" y="32362"/>
                        </a:cubicBezTo>
                        <a:lnTo>
                          <a:pt x="1048" y="16253"/>
                        </a:lnTo>
                        <a:cubicBezTo>
                          <a:pt x="-1589" y="10497"/>
                          <a:pt x="922" y="3687"/>
                          <a:pt x="6677" y="1049"/>
                        </a:cubicBezTo>
                        <a:cubicBezTo>
                          <a:pt x="12410" y="-1588"/>
                          <a:pt x="19232" y="912"/>
                          <a:pt x="21881" y="6679"/>
                        </a:cubicBezTo>
                        <a:lnTo>
                          <a:pt x="29288" y="22788"/>
                        </a:lnTo>
                        <a:cubicBezTo>
                          <a:pt x="31925" y="28544"/>
                          <a:pt x="29414" y="35355"/>
                          <a:pt x="23658" y="37992"/>
                        </a:cubicBezTo>
                        <a:cubicBezTo>
                          <a:pt x="22110" y="38714"/>
                          <a:pt x="20482" y="39047"/>
                          <a:pt x="18877" y="39047"/>
                        </a:cubicBezTo>
                        <a:close/>
                      </a:path>
                    </a:pathLst>
                  </a:custGeom>
                  <a:solidFill>
                    <a:schemeClr val="accent1"/>
                  </a:solidFill>
                  <a:ln w="1145" cap="flat">
                    <a:noFill/>
                    <a:prstDash val="solid"/>
                    <a:miter/>
                  </a:ln>
                </p:spPr>
                <p:txBody>
                  <a:bodyPr rtlCol="0" anchor="ctr"/>
                  <a:lstStyle/>
                  <a:p>
                    <a:endParaRPr lang="en-GB" dirty="0"/>
                  </a:p>
                </p:txBody>
              </p:sp>
              <p:sp>
                <p:nvSpPr>
                  <p:cNvPr id="882" name="Freeform: Shape 881">
                    <a:extLst>
                      <a:ext uri="{FF2B5EF4-FFF2-40B4-BE49-F238E27FC236}">
                        <a16:creationId xmlns:a16="http://schemas.microsoft.com/office/drawing/2014/main" id="{5BEA28E9-86F8-4B6E-BF87-DF960F6938BD}"/>
                      </a:ext>
                    </a:extLst>
                  </p:cNvPr>
                  <p:cNvSpPr/>
                  <p:nvPr/>
                </p:nvSpPr>
                <p:spPr>
                  <a:xfrm>
                    <a:off x="2064212" y="1538339"/>
                    <a:ext cx="30461" cy="39347"/>
                  </a:xfrm>
                  <a:custGeom>
                    <a:avLst/>
                    <a:gdLst>
                      <a:gd name="connsiteX0" fmla="*/ 19003 w 30461"/>
                      <a:gd name="connsiteY0" fmla="*/ 39348 h 39347"/>
                      <a:gd name="connsiteX1" fmla="*/ 8581 w 30461"/>
                      <a:gd name="connsiteY1" fmla="*/ 32663 h 39347"/>
                      <a:gd name="connsiteX2" fmla="*/ 1048 w 30461"/>
                      <a:gd name="connsiteY2" fmla="*/ 16256 h 39347"/>
                      <a:gd name="connsiteX3" fmla="*/ 6677 w 30461"/>
                      <a:gd name="connsiteY3" fmla="*/ 1053 h 39347"/>
                      <a:gd name="connsiteX4" fmla="*/ 21881 w 30461"/>
                      <a:gd name="connsiteY4" fmla="*/ 6682 h 39347"/>
                      <a:gd name="connsiteX5" fmla="*/ 29414 w 30461"/>
                      <a:gd name="connsiteY5" fmla="*/ 23090 h 39347"/>
                      <a:gd name="connsiteX6" fmla="*/ 23784 w 30461"/>
                      <a:gd name="connsiteY6" fmla="*/ 38293 h 39347"/>
                      <a:gd name="connsiteX7" fmla="*/ 19003 w 30461"/>
                      <a:gd name="connsiteY7" fmla="*/ 39348 h 3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461" h="39347">
                        <a:moveTo>
                          <a:pt x="19003" y="39348"/>
                        </a:moveTo>
                        <a:cubicBezTo>
                          <a:pt x="14669" y="39348"/>
                          <a:pt x="10507" y="36871"/>
                          <a:pt x="8581" y="32663"/>
                        </a:cubicBezTo>
                        <a:lnTo>
                          <a:pt x="1048" y="16256"/>
                        </a:lnTo>
                        <a:cubicBezTo>
                          <a:pt x="-1589" y="10500"/>
                          <a:pt x="922" y="3690"/>
                          <a:pt x="6677" y="1053"/>
                        </a:cubicBezTo>
                        <a:cubicBezTo>
                          <a:pt x="12410" y="-1596"/>
                          <a:pt x="19232" y="926"/>
                          <a:pt x="21881" y="6682"/>
                        </a:cubicBezTo>
                        <a:lnTo>
                          <a:pt x="29414" y="23090"/>
                        </a:lnTo>
                        <a:cubicBezTo>
                          <a:pt x="32051" y="28845"/>
                          <a:pt x="29540" y="35656"/>
                          <a:pt x="23784" y="38293"/>
                        </a:cubicBezTo>
                        <a:cubicBezTo>
                          <a:pt x="22225" y="39004"/>
                          <a:pt x="20597" y="39348"/>
                          <a:pt x="19003" y="39348"/>
                        </a:cubicBezTo>
                        <a:close/>
                      </a:path>
                    </a:pathLst>
                  </a:custGeom>
                  <a:solidFill>
                    <a:schemeClr val="accent1"/>
                  </a:solidFill>
                  <a:ln w="1145" cap="flat">
                    <a:noFill/>
                    <a:prstDash val="solid"/>
                    <a:miter/>
                  </a:ln>
                </p:spPr>
                <p:txBody>
                  <a:bodyPr rtlCol="0" anchor="ctr"/>
                  <a:lstStyle/>
                  <a:p>
                    <a:endParaRPr lang="en-GB" dirty="0"/>
                  </a:p>
                </p:txBody>
              </p:sp>
              <p:sp>
                <p:nvSpPr>
                  <p:cNvPr id="883" name="Freeform: Shape 882">
                    <a:extLst>
                      <a:ext uri="{FF2B5EF4-FFF2-40B4-BE49-F238E27FC236}">
                        <a16:creationId xmlns:a16="http://schemas.microsoft.com/office/drawing/2014/main" id="{ADF5B30A-858B-4714-92F9-F4C2F86B5E32}"/>
                      </a:ext>
                    </a:extLst>
                  </p:cNvPr>
                  <p:cNvSpPr/>
                  <p:nvPr/>
                </p:nvSpPr>
                <p:spPr>
                  <a:xfrm>
                    <a:off x="2196575" y="1678411"/>
                    <a:ext cx="38548" cy="30042"/>
                  </a:xfrm>
                  <a:custGeom>
                    <a:avLst/>
                    <a:gdLst>
                      <a:gd name="connsiteX0" fmla="*/ 27071 w 38548"/>
                      <a:gd name="connsiteY0" fmla="*/ 30042 h 30042"/>
                      <a:gd name="connsiteX1" fmla="*/ 22324 w 38548"/>
                      <a:gd name="connsiteY1" fmla="*/ 29010 h 30042"/>
                      <a:gd name="connsiteX2" fmla="*/ 6719 w 38548"/>
                      <a:gd name="connsiteY2" fmla="*/ 21902 h 30042"/>
                      <a:gd name="connsiteX3" fmla="*/ 1033 w 38548"/>
                      <a:gd name="connsiteY3" fmla="*/ 6710 h 30042"/>
                      <a:gd name="connsiteX4" fmla="*/ 16225 w 38548"/>
                      <a:gd name="connsiteY4" fmla="*/ 1023 h 30042"/>
                      <a:gd name="connsiteX5" fmla="*/ 31829 w 38548"/>
                      <a:gd name="connsiteY5" fmla="*/ 8131 h 30042"/>
                      <a:gd name="connsiteX6" fmla="*/ 37516 w 38548"/>
                      <a:gd name="connsiteY6" fmla="*/ 23323 h 30042"/>
                      <a:gd name="connsiteX7" fmla="*/ 27071 w 38548"/>
                      <a:gd name="connsiteY7" fmla="*/ 30042 h 3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48" h="30042">
                        <a:moveTo>
                          <a:pt x="27071" y="30042"/>
                        </a:moveTo>
                        <a:cubicBezTo>
                          <a:pt x="25477" y="30042"/>
                          <a:pt x="23861" y="29710"/>
                          <a:pt x="22324" y="29010"/>
                        </a:cubicBezTo>
                        <a:lnTo>
                          <a:pt x="6719" y="21902"/>
                        </a:lnTo>
                        <a:cubicBezTo>
                          <a:pt x="964" y="19276"/>
                          <a:pt x="-1593" y="12477"/>
                          <a:pt x="1033" y="6710"/>
                        </a:cubicBezTo>
                        <a:cubicBezTo>
                          <a:pt x="3658" y="954"/>
                          <a:pt x="10469" y="-1580"/>
                          <a:pt x="16225" y="1023"/>
                        </a:cubicBezTo>
                        <a:lnTo>
                          <a:pt x="31829" y="8131"/>
                        </a:lnTo>
                        <a:cubicBezTo>
                          <a:pt x="37585" y="10757"/>
                          <a:pt x="40142" y="17556"/>
                          <a:pt x="37516" y="23323"/>
                        </a:cubicBezTo>
                        <a:cubicBezTo>
                          <a:pt x="35590" y="27554"/>
                          <a:pt x="31428" y="30042"/>
                          <a:pt x="27071" y="30042"/>
                        </a:cubicBezTo>
                        <a:close/>
                      </a:path>
                    </a:pathLst>
                  </a:custGeom>
                  <a:solidFill>
                    <a:schemeClr val="accent1"/>
                  </a:solidFill>
                  <a:ln w="1145" cap="flat">
                    <a:noFill/>
                    <a:prstDash val="solid"/>
                    <a:miter/>
                  </a:ln>
                </p:spPr>
                <p:txBody>
                  <a:bodyPr rtlCol="0" anchor="ctr"/>
                  <a:lstStyle/>
                  <a:p>
                    <a:endParaRPr lang="en-GB" dirty="0"/>
                  </a:p>
                </p:txBody>
              </p:sp>
              <p:sp>
                <p:nvSpPr>
                  <p:cNvPr id="884" name="Freeform: Shape 883">
                    <a:extLst>
                      <a:ext uri="{FF2B5EF4-FFF2-40B4-BE49-F238E27FC236}">
                        <a16:creationId xmlns:a16="http://schemas.microsoft.com/office/drawing/2014/main" id="{022C3C43-3F19-4971-933E-6B4E2A5089A1}"/>
                      </a:ext>
                    </a:extLst>
                  </p:cNvPr>
                  <p:cNvSpPr/>
                  <p:nvPr/>
                </p:nvSpPr>
                <p:spPr>
                  <a:xfrm>
                    <a:off x="2009799" y="1593273"/>
                    <a:ext cx="38995" cy="30253"/>
                  </a:xfrm>
                  <a:custGeom>
                    <a:avLst/>
                    <a:gdLst>
                      <a:gd name="connsiteX0" fmla="*/ 27518 w 38995"/>
                      <a:gd name="connsiteY0" fmla="*/ 30254 h 30253"/>
                      <a:gd name="connsiteX1" fmla="*/ 22771 w 38995"/>
                      <a:gd name="connsiteY1" fmla="*/ 29222 h 30253"/>
                      <a:gd name="connsiteX2" fmla="*/ 6720 w 38995"/>
                      <a:gd name="connsiteY2" fmla="*/ 21907 h 30253"/>
                      <a:gd name="connsiteX3" fmla="*/ 1033 w 38995"/>
                      <a:gd name="connsiteY3" fmla="*/ 6715 h 30253"/>
                      <a:gd name="connsiteX4" fmla="*/ 16225 w 38995"/>
                      <a:gd name="connsiteY4" fmla="*/ 1028 h 30253"/>
                      <a:gd name="connsiteX5" fmla="*/ 32276 w 38995"/>
                      <a:gd name="connsiteY5" fmla="*/ 8343 h 30253"/>
                      <a:gd name="connsiteX6" fmla="*/ 37963 w 38995"/>
                      <a:gd name="connsiteY6" fmla="*/ 23535 h 30253"/>
                      <a:gd name="connsiteX7" fmla="*/ 27518 w 38995"/>
                      <a:gd name="connsiteY7" fmla="*/ 30254 h 3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95" h="30253">
                        <a:moveTo>
                          <a:pt x="27518" y="30254"/>
                        </a:moveTo>
                        <a:cubicBezTo>
                          <a:pt x="25925" y="30254"/>
                          <a:pt x="24308" y="29921"/>
                          <a:pt x="22771" y="29222"/>
                        </a:cubicBezTo>
                        <a:lnTo>
                          <a:pt x="6720" y="21907"/>
                        </a:lnTo>
                        <a:cubicBezTo>
                          <a:pt x="964" y="19281"/>
                          <a:pt x="-1593" y="12482"/>
                          <a:pt x="1033" y="6715"/>
                        </a:cubicBezTo>
                        <a:cubicBezTo>
                          <a:pt x="3658" y="959"/>
                          <a:pt x="10457" y="-1587"/>
                          <a:pt x="16225" y="1028"/>
                        </a:cubicBezTo>
                        <a:lnTo>
                          <a:pt x="32276" y="8343"/>
                        </a:lnTo>
                        <a:cubicBezTo>
                          <a:pt x="38032" y="10968"/>
                          <a:pt x="40589" y="17767"/>
                          <a:pt x="37963" y="23535"/>
                        </a:cubicBezTo>
                        <a:cubicBezTo>
                          <a:pt x="36037" y="27754"/>
                          <a:pt x="31875" y="30254"/>
                          <a:pt x="27518" y="30254"/>
                        </a:cubicBezTo>
                        <a:close/>
                      </a:path>
                    </a:pathLst>
                  </a:custGeom>
                  <a:solidFill>
                    <a:schemeClr val="accent1"/>
                  </a:solidFill>
                  <a:ln w="1145" cap="flat">
                    <a:noFill/>
                    <a:prstDash val="solid"/>
                    <a:miter/>
                  </a:ln>
                </p:spPr>
                <p:txBody>
                  <a:bodyPr rtlCol="0" anchor="ctr"/>
                  <a:lstStyle/>
                  <a:p>
                    <a:endParaRPr lang="en-GB" dirty="0"/>
                  </a:p>
                </p:txBody>
              </p:sp>
              <p:sp>
                <p:nvSpPr>
                  <p:cNvPr id="885" name="Freeform: Shape 884">
                    <a:extLst>
                      <a:ext uri="{FF2B5EF4-FFF2-40B4-BE49-F238E27FC236}">
                        <a16:creationId xmlns:a16="http://schemas.microsoft.com/office/drawing/2014/main" id="{536FD05E-B6BF-4990-BA65-0349D4F564A7}"/>
                      </a:ext>
                    </a:extLst>
                  </p:cNvPr>
                  <p:cNvSpPr/>
                  <p:nvPr/>
                </p:nvSpPr>
                <p:spPr>
                  <a:xfrm>
                    <a:off x="2195666" y="1594258"/>
                    <a:ext cx="39597" cy="30346"/>
                  </a:xfrm>
                  <a:custGeom>
                    <a:avLst/>
                    <a:gdLst>
                      <a:gd name="connsiteX0" fmla="*/ 11481 w 39597"/>
                      <a:gd name="connsiteY0" fmla="*/ 30347 h 30346"/>
                      <a:gd name="connsiteX1" fmla="*/ 989 w 39597"/>
                      <a:gd name="connsiteY1" fmla="*/ 23524 h 30346"/>
                      <a:gd name="connsiteX2" fmla="*/ 6814 w 39597"/>
                      <a:gd name="connsiteY2" fmla="*/ 8390 h 30346"/>
                      <a:gd name="connsiteX3" fmla="*/ 23474 w 39597"/>
                      <a:gd name="connsiteY3" fmla="*/ 994 h 30346"/>
                      <a:gd name="connsiteX4" fmla="*/ 38608 w 39597"/>
                      <a:gd name="connsiteY4" fmla="*/ 6819 h 30346"/>
                      <a:gd name="connsiteX5" fmla="*/ 32784 w 39597"/>
                      <a:gd name="connsiteY5" fmla="*/ 21954 h 30346"/>
                      <a:gd name="connsiteX6" fmla="*/ 16124 w 39597"/>
                      <a:gd name="connsiteY6" fmla="*/ 29349 h 30346"/>
                      <a:gd name="connsiteX7" fmla="*/ 11481 w 39597"/>
                      <a:gd name="connsiteY7" fmla="*/ 30347 h 3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97" h="30346">
                        <a:moveTo>
                          <a:pt x="11481" y="30347"/>
                        </a:moveTo>
                        <a:cubicBezTo>
                          <a:pt x="7089" y="30347"/>
                          <a:pt x="2893" y="27801"/>
                          <a:pt x="989" y="23524"/>
                        </a:cubicBezTo>
                        <a:cubicBezTo>
                          <a:pt x="-1579" y="17734"/>
                          <a:pt x="1024" y="10958"/>
                          <a:pt x="6814" y="8390"/>
                        </a:cubicBezTo>
                        <a:lnTo>
                          <a:pt x="23474" y="994"/>
                        </a:lnTo>
                        <a:cubicBezTo>
                          <a:pt x="29252" y="-1585"/>
                          <a:pt x="36029" y="1029"/>
                          <a:pt x="38608" y="6819"/>
                        </a:cubicBezTo>
                        <a:cubicBezTo>
                          <a:pt x="41177" y="12609"/>
                          <a:pt x="38574" y="19385"/>
                          <a:pt x="32784" y="21954"/>
                        </a:cubicBezTo>
                        <a:lnTo>
                          <a:pt x="16124" y="29349"/>
                        </a:lnTo>
                        <a:cubicBezTo>
                          <a:pt x="14622" y="30037"/>
                          <a:pt x="13040" y="30347"/>
                          <a:pt x="11481" y="30347"/>
                        </a:cubicBezTo>
                        <a:close/>
                      </a:path>
                    </a:pathLst>
                  </a:custGeom>
                  <a:solidFill>
                    <a:schemeClr val="accent1"/>
                  </a:solidFill>
                  <a:ln w="1145" cap="flat">
                    <a:noFill/>
                    <a:prstDash val="solid"/>
                    <a:miter/>
                  </a:ln>
                </p:spPr>
                <p:txBody>
                  <a:bodyPr rtlCol="0" anchor="ctr"/>
                  <a:lstStyle/>
                  <a:p>
                    <a:endParaRPr lang="en-GB" dirty="0"/>
                  </a:p>
                </p:txBody>
              </p:sp>
              <p:sp>
                <p:nvSpPr>
                  <p:cNvPr id="886" name="Freeform: Shape 885">
                    <a:extLst>
                      <a:ext uri="{FF2B5EF4-FFF2-40B4-BE49-F238E27FC236}">
                        <a16:creationId xmlns:a16="http://schemas.microsoft.com/office/drawing/2014/main" id="{7DB2B677-9244-4D00-B26F-F6EE52ACF2E6}"/>
                      </a:ext>
                    </a:extLst>
                  </p:cNvPr>
                  <p:cNvSpPr/>
                  <p:nvPr/>
                </p:nvSpPr>
                <p:spPr>
                  <a:xfrm>
                    <a:off x="2009051" y="1677517"/>
                    <a:ext cx="38669" cy="29938"/>
                  </a:xfrm>
                  <a:custGeom>
                    <a:avLst/>
                    <a:gdLst>
                      <a:gd name="connsiteX0" fmla="*/ 11481 w 38669"/>
                      <a:gd name="connsiteY0" fmla="*/ 29939 h 29938"/>
                      <a:gd name="connsiteX1" fmla="*/ 989 w 38669"/>
                      <a:gd name="connsiteY1" fmla="*/ 23117 h 29938"/>
                      <a:gd name="connsiteX2" fmla="*/ 6814 w 38669"/>
                      <a:gd name="connsiteY2" fmla="*/ 7982 h 29938"/>
                      <a:gd name="connsiteX3" fmla="*/ 22545 w 38669"/>
                      <a:gd name="connsiteY3" fmla="*/ 999 h 29938"/>
                      <a:gd name="connsiteX4" fmla="*/ 37680 w 38669"/>
                      <a:gd name="connsiteY4" fmla="*/ 6824 h 29938"/>
                      <a:gd name="connsiteX5" fmla="*/ 31855 w 38669"/>
                      <a:gd name="connsiteY5" fmla="*/ 21959 h 29938"/>
                      <a:gd name="connsiteX6" fmla="*/ 16124 w 38669"/>
                      <a:gd name="connsiteY6" fmla="*/ 28941 h 29938"/>
                      <a:gd name="connsiteX7" fmla="*/ 11481 w 38669"/>
                      <a:gd name="connsiteY7" fmla="*/ 29939 h 29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69" h="29938">
                        <a:moveTo>
                          <a:pt x="11481" y="29939"/>
                        </a:moveTo>
                        <a:cubicBezTo>
                          <a:pt x="7089" y="29939"/>
                          <a:pt x="2893" y="27393"/>
                          <a:pt x="989" y="23117"/>
                        </a:cubicBezTo>
                        <a:cubicBezTo>
                          <a:pt x="-1579" y="17326"/>
                          <a:pt x="1024" y="10550"/>
                          <a:pt x="6814" y="7982"/>
                        </a:cubicBezTo>
                        <a:lnTo>
                          <a:pt x="22545" y="999"/>
                        </a:lnTo>
                        <a:cubicBezTo>
                          <a:pt x="28324" y="-1592"/>
                          <a:pt x="35100" y="1034"/>
                          <a:pt x="37680" y="6824"/>
                        </a:cubicBezTo>
                        <a:cubicBezTo>
                          <a:pt x="40248" y="12614"/>
                          <a:pt x="37645" y="19390"/>
                          <a:pt x="31855" y="21959"/>
                        </a:cubicBezTo>
                        <a:lnTo>
                          <a:pt x="16124" y="28941"/>
                        </a:lnTo>
                        <a:cubicBezTo>
                          <a:pt x="14611" y="29629"/>
                          <a:pt x="13028" y="29939"/>
                          <a:pt x="11481" y="29939"/>
                        </a:cubicBezTo>
                        <a:close/>
                      </a:path>
                    </a:pathLst>
                  </a:custGeom>
                  <a:solidFill>
                    <a:schemeClr val="accent1"/>
                  </a:solidFill>
                  <a:ln w="1145" cap="flat">
                    <a:noFill/>
                    <a:prstDash val="solid"/>
                    <a:miter/>
                  </a:ln>
                </p:spPr>
                <p:txBody>
                  <a:bodyPr rtlCol="0" anchor="ctr"/>
                  <a:lstStyle/>
                  <a:p>
                    <a:endParaRPr lang="en-GB" dirty="0"/>
                  </a:p>
                </p:txBody>
              </p:sp>
              <p:sp>
                <p:nvSpPr>
                  <p:cNvPr id="887" name="Freeform: Shape 886">
                    <a:extLst>
                      <a:ext uri="{FF2B5EF4-FFF2-40B4-BE49-F238E27FC236}">
                        <a16:creationId xmlns:a16="http://schemas.microsoft.com/office/drawing/2014/main" id="{C40B755D-79E0-4488-815A-0D58EF763F77}"/>
                      </a:ext>
                    </a:extLst>
                  </p:cNvPr>
                  <p:cNvSpPr/>
                  <p:nvPr/>
                </p:nvSpPr>
                <p:spPr>
                  <a:xfrm>
                    <a:off x="2064330" y="1725019"/>
                    <a:ext cx="30028" cy="38411"/>
                  </a:xfrm>
                  <a:custGeom>
                    <a:avLst/>
                    <a:gdLst>
                      <a:gd name="connsiteX0" fmla="*/ 11466 w 30028"/>
                      <a:gd name="connsiteY0" fmla="*/ 38412 h 38411"/>
                      <a:gd name="connsiteX1" fmla="*/ 6696 w 30028"/>
                      <a:gd name="connsiteY1" fmla="*/ 37369 h 38411"/>
                      <a:gd name="connsiteX2" fmla="*/ 1044 w 30028"/>
                      <a:gd name="connsiteY2" fmla="*/ 22165 h 38411"/>
                      <a:gd name="connsiteX3" fmla="*/ 8129 w 30028"/>
                      <a:gd name="connsiteY3" fmla="*/ 6698 h 38411"/>
                      <a:gd name="connsiteX4" fmla="*/ 23333 w 30028"/>
                      <a:gd name="connsiteY4" fmla="*/ 1045 h 38411"/>
                      <a:gd name="connsiteX5" fmla="*/ 28985 w 30028"/>
                      <a:gd name="connsiteY5" fmla="*/ 16249 h 38411"/>
                      <a:gd name="connsiteX6" fmla="*/ 21900 w 30028"/>
                      <a:gd name="connsiteY6" fmla="*/ 31716 h 38411"/>
                      <a:gd name="connsiteX7" fmla="*/ 11466 w 30028"/>
                      <a:gd name="connsiteY7" fmla="*/ 38412 h 3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028" h="38411">
                        <a:moveTo>
                          <a:pt x="11466" y="38412"/>
                        </a:moveTo>
                        <a:cubicBezTo>
                          <a:pt x="9861" y="38412"/>
                          <a:pt x="8244" y="38079"/>
                          <a:pt x="6696" y="37369"/>
                        </a:cubicBezTo>
                        <a:cubicBezTo>
                          <a:pt x="940" y="34732"/>
                          <a:pt x="-1594" y="27921"/>
                          <a:pt x="1044" y="22165"/>
                        </a:cubicBezTo>
                        <a:lnTo>
                          <a:pt x="8129" y="6698"/>
                        </a:lnTo>
                        <a:cubicBezTo>
                          <a:pt x="10766" y="931"/>
                          <a:pt x="17589" y="-1592"/>
                          <a:pt x="23333" y="1045"/>
                        </a:cubicBezTo>
                        <a:cubicBezTo>
                          <a:pt x="29089" y="3682"/>
                          <a:pt x="31622" y="10493"/>
                          <a:pt x="28985" y="16249"/>
                        </a:cubicBezTo>
                        <a:lnTo>
                          <a:pt x="21900" y="31716"/>
                        </a:lnTo>
                        <a:cubicBezTo>
                          <a:pt x="19962" y="35924"/>
                          <a:pt x="15811" y="38412"/>
                          <a:pt x="11466" y="38412"/>
                        </a:cubicBezTo>
                        <a:close/>
                      </a:path>
                    </a:pathLst>
                  </a:custGeom>
                  <a:solidFill>
                    <a:schemeClr val="accent1"/>
                  </a:solidFill>
                  <a:ln w="1145" cap="flat">
                    <a:noFill/>
                    <a:prstDash val="solid"/>
                    <a:miter/>
                  </a:ln>
                </p:spPr>
                <p:txBody>
                  <a:bodyPr rtlCol="0" anchor="ctr"/>
                  <a:lstStyle/>
                  <a:p>
                    <a:endParaRPr lang="en-GB" dirty="0"/>
                  </a:p>
                </p:txBody>
              </p:sp>
              <p:sp>
                <p:nvSpPr>
                  <p:cNvPr id="888" name="Freeform: Shape 887">
                    <a:extLst>
                      <a:ext uri="{FF2B5EF4-FFF2-40B4-BE49-F238E27FC236}">
                        <a16:creationId xmlns:a16="http://schemas.microsoft.com/office/drawing/2014/main" id="{BE94A34F-5BD5-471C-8160-638C1D849832}"/>
                      </a:ext>
                    </a:extLst>
                  </p:cNvPr>
                  <p:cNvSpPr/>
                  <p:nvPr/>
                </p:nvSpPr>
                <p:spPr>
                  <a:xfrm>
                    <a:off x="2149646" y="1538293"/>
                    <a:ext cx="30281" cy="38958"/>
                  </a:xfrm>
                  <a:custGeom>
                    <a:avLst/>
                    <a:gdLst>
                      <a:gd name="connsiteX0" fmla="*/ 11466 w 30281"/>
                      <a:gd name="connsiteY0" fmla="*/ 38959 h 38958"/>
                      <a:gd name="connsiteX1" fmla="*/ 6696 w 30281"/>
                      <a:gd name="connsiteY1" fmla="*/ 37916 h 38958"/>
                      <a:gd name="connsiteX2" fmla="*/ 1044 w 30281"/>
                      <a:gd name="connsiteY2" fmla="*/ 22712 h 38958"/>
                      <a:gd name="connsiteX3" fmla="*/ 8382 w 30281"/>
                      <a:gd name="connsiteY3" fmla="*/ 6706 h 38958"/>
                      <a:gd name="connsiteX4" fmla="*/ 23585 w 30281"/>
                      <a:gd name="connsiteY4" fmla="*/ 1053 h 38958"/>
                      <a:gd name="connsiteX5" fmla="*/ 29238 w 30281"/>
                      <a:gd name="connsiteY5" fmla="*/ 16257 h 38958"/>
                      <a:gd name="connsiteX6" fmla="*/ 21900 w 30281"/>
                      <a:gd name="connsiteY6" fmla="*/ 32263 h 38958"/>
                      <a:gd name="connsiteX7" fmla="*/ 11466 w 30281"/>
                      <a:gd name="connsiteY7" fmla="*/ 38959 h 3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281" h="38958">
                        <a:moveTo>
                          <a:pt x="11466" y="38959"/>
                        </a:moveTo>
                        <a:cubicBezTo>
                          <a:pt x="9861" y="38959"/>
                          <a:pt x="8244" y="38626"/>
                          <a:pt x="6696" y="37916"/>
                        </a:cubicBezTo>
                        <a:cubicBezTo>
                          <a:pt x="940" y="35279"/>
                          <a:pt x="-1594" y="28468"/>
                          <a:pt x="1044" y="22712"/>
                        </a:cubicBezTo>
                        <a:lnTo>
                          <a:pt x="8382" y="6706"/>
                        </a:lnTo>
                        <a:cubicBezTo>
                          <a:pt x="11019" y="950"/>
                          <a:pt x="17829" y="-1607"/>
                          <a:pt x="23585" y="1053"/>
                        </a:cubicBezTo>
                        <a:cubicBezTo>
                          <a:pt x="29341" y="3691"/>
                          <a:pt x="31875" y="10501"/>
                          <a:pt x="29238" y="16257"/>
                        </a:cubicBezTo>
                        <a:lnTo>
                          <a:pt x="21900" y="32263"/>
                        </a:lnTo>
                        <a:cubicBezTo>
                          <a:pt x="19973" y="36471"/>
                          <a:pt x="15811" y="38959"/>
                          <a:pt x="11466" y="38959"/>
                        </a:cubicBezTo>
                        <a:close/>
                      </a:path>
                    </a:pathLst>
                  </a:custGeom>
                  <a:solidFill>
                    <a:schemeClr val="accent1"/>
                  </a:solidFill>
                  <a:ln w="1145" cap="flat">
                    <a:noFill/>
                    <a:prstDash val="solid"/>
                    <a:miter/>
                  </a:ln>
                </p:spPr>
                <p:txBody>
                  <a:bodyPr rtlCol="0" anchor="ctr"/>
                  <a:lstStyle/>
                  <a:p>
                    <a:endParaRPr lang="en-GB" dirty="0"/>
                  </a:p>
                </p:txBody>
              </p:sp>
            </p:grpSp>
            <p:sp>
              <p:nvSpPr>
                <p:cNvPr id="873" name="Freeform: Shape 872">
                  <a:extLst>
                    <a:ext uri="{FF2B5EF4-FFF2-40B4-BE49-F238E27FC236}">
                      <a16:creationId xmlns:a16="http://schemas.microsoft.com/office/drawing/2014/main" id="{E238B6F2-949C-445C-9F92-33C2CA8A3630}"/>
                    </a:ext>
                  </a:extLst>
                </p:cNvPr>
                <p:cNvSpPr/>
                <p:nvPr/>
              </p:nvSpPr>
              <p:spPr>
                <a:xfrm>
                  <a:off x="2347659" y="1597695"/>
                  <a:ext cx="22931" cy="68794"/>
                </a:xfrm>
                <a:custGeom>
                  <a:avLst/>
                  <a:gdLst>
                    <a:gd name="connsiteX0" fmla="*/ 11466 w 22931"/>
                    <a:gd name="connsiteY0" fmla="*/ 68794 h 68794"/>
                    <a:gd name="connsiteX1" fmla="*/ 0 w 22931"/>
                    <a:gd name="connsiteY1" fmla="*/ 57328 h 68794"/>
                    <a:gd name="connsiteX2" fmla="*/ 0 w 22931"/>
                    <a:gd name="connsiteY2" fmla="*/ 11466 h 68794"/>
                    <a:gd name="connsiteX3" fmla="*/ 11466 w 22931"/>
                    <a:gd name="connsiteY3" fmla="*/ 0 h 68794"/>
                    <a:gd name="connsiteX4" fmla="*/ 22931 w 22931"/>
                    <a:gd name="connsiteY4" fmla="*/ 11466 h 68794"/>
                    <a:gd name="connsiteX5" fmla="*/ 22931 w 22931"/>
                    <a:gd name="connsiteY5" fmla="*/ 57328 h 68794"/>
                    <a:gd name="connsiteX6" fmla="*/ 11466 w 22931"/>
                    <a:gd name="connsiteY6" fmla="*/ 68794 h 68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8794">
                      <a:moveTo>
                        <a:pt x="11466" y="68794"/>
                      </a:moveTo>
                      <a:cubicBezTo>
                        <a:pt x="5137" y="68794"/>
                        <a:pt x="0" y="63657"/>
                        <a:pt x="0" y="57328"/>
                      </a:cubicBezTo>
                      <a:lnTo>
                        <a:pt x="0" y="11466"/>
                      </a:lnTo>
                      <a:cubicBezTo>
                        <a:pt x="0" y="5137"/>
                        <a:pt x="5137" y="0"/>
                        <a:pt x="11466" y="0"/>
                      </a:cubicBezTo>
                      <a:cubicBezTo>
                        <a:pt x="17795" y="0"/>
                        <a:pt x="22931" y="5137"/>
                        <a:pt x="22931" y="11466"/>
                      </a:cubicBezTo>
                      <a:lnTo>
                        <a:pt x="22931" y="57328"/>
                      </a:lnTo>
                      <a:cubicBezTo>
                        <a:pt x="22931" y="63657"/>
                        <a:pt x="17795" y="68794"/>
                        <a:pt x="11466" y="68794"/>
                      </a:cubicBezTo>
                      <a:close/>
                    </a:path>
                  </a:pathLst>
                </a:custGeom>
                <a:solidFill>
                  <a:schemeClr val="accent1"/>
                </a:solidFill>
                <a:ln w="1145" cap="flat">
                  <a:noFill/>
                  <a:prstDash val="solid"/>
                  <a:miter/>
                </a:ln>
              </p:spPr>
              <p:txBody>
                <a:bodyPr rtlCol="0" anchor="ctr"/>
                <a:lstStyle/>
                <a:p>
                  <a:endParaRPr lang="en-GB" dirty="0"/>
                </a:p>
              </p:txBody>
            </p:sp>
            <p:sp>
              <p:nvSpPr>
                <p:cNvPr id="874" name="Freeform: Shape 873">
                  <a:extLst>
                    <a:ext uri="{FF2B5EF4-FFF2-40B4-BE49-F238E27FC236}">
                      <a16:creationId xmlns:a16="http://schemas.microsoft.com/office/drawing/2014/main" id="{B5990AAF-2753-4734-884A-464BE72161D5}"/>
                    </a:ext>
                  </a:extLst>
                </p:cNvPr>
                <p:cNvSpPr/>
                <p:nvPr/>
              </p:nvSpPr>
              <p:spPr>
                <a:xfrm>
                  <a:off x="2404987" y="1540366"/>
                  <a:ext cx="22931" cy="126122"/>
                </a:xfrm>
                <a:custGeom>
                  <a:avLst/>
                  <a:gdLst>
                    <a:gd name="connsiteX0" fmla="*/ 11466 w 22931"/>
                    <a:gd name="connsiteY0" fmla="*/ 126122 h 126122"/>
                    <a:gd name="connsiteX1" fmla="*/ 0 w 22931"/>
                    <a:gd name="connsiteY1" fmla="*/ 114657 h 126122"/>
                    <a:gd name="connsiteX2" fmla="*/ 0 w 22931"/>
                    <a:gd name="connsiteY2" fmla="*/ 11466 h 126122"/>
                    <a:gd name="connsiteX3" fmla="*/ 11466 w 22931"/>
                    <a:gd name="connsiteY3" fmla="*/ 0 h 126122"/>
                    <a:gd name="connsiteX4" fmla="*/ 22931 w 22931"/>
                    <a:gd name="connsiteY4" fmla="*/ 11466 h 126122"/>
                    <a:gd name="connsiteX5" fmla="*/ 22931 w 22931"/>
                    <a:gd name="connsiteY5" fmla="*/ 114657 h 126122"/>
                    <a:gd name="connsiteX6" fmla="*/ 11466 w 22931"/>
                    <a:gd name="connsiteY6" fmla="*/ 126122 h 12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126122">
                      <a:moveTo>
                        <a:pt x="11466" y="126122"/>
                      </a:moveTo>
                      <a:cubicBezTo>
                        <a:pt x="5137" y="126122"/>
                        <a:pt x="0" y="120986"/>
                        <a:pt x="0" y="114657"/>
                      </a:cubicBezTo>
                      <a:lnTo>
                        <a:pt x="0" y="11466"/>
                      </a:lnTo>
                      <a:cubicBezTo>
                        <a:pt x="0" y="5137"/>
                        <a:pt x="5137" y="0"/>
                        <a:pt x="11466" y="0"/>
                      </a:cubicBezTo>
                      <a:cubicBezTo>
                        <a:pt x="17795" y="0"/>
                        <a:pt x="22931" y="5137"/>
                        <a:pt x="22931" y="11466"/>
                      </a:cubicBezTo>
                      <a:lnTo>
                        <a:pt x="22931" y="114657"/>
                      </a:lnTo>
                      <a:cubicBezTo>
                        <a:pt x="22931" y="120986"/>
                        <a:pt x="17795" y="126122"/>
                        <a:pt x="11466" y="126122"/>
                      </a:cubicBezTo>
                      <a:close/>
                    </a:path>
                  </a:pathLst>
                </a:custGeom>
                <a:solidFill>
                  <a:schemeClr val="accent1"/>
                </a:solidFill>
                <a:ln w="1145" cap="flat">
                  <a:noFill/>
                  <a:prstDash val="solid"/>
                  <a:miter/>
                </a:ln>
              </p:spPr>
              <p:txBody>
                <a:bodyPr rtlCol="0" anchor="ctr"/>
                <a:lstStyle/>
                <a:p>
                  <a:endParaRPr lang="en-GB" dirty="0"/>
                </a:p>
              </p:txBody>
            </p:sp>
            <p:sp>
              <p:nvSpPr>
                <p:cNvPr id="875" name="Freeform: Shape 874">
                  <a:extLst>
                    <a:ext uri="{FF2B5EF4-FFF2-40B4-BE49-F238E27FC236}">
                      <a16:creationId xmlns:a16="http://schemas.microsoft.com/office/drawing/2014/main" id="{5030B648-B043-4B73-83A4-E4A755E239DD}"/>
                    </a:ext>
                  </a:extLst>
                </p:cNvPr>
                <p:cNvSpPr/>
                <p:nvPr/>
              </p:nvSpPr>
              <p:spPr>
                <a:xfrm>
                  <a:off x="2462315" y="1483038"/>
                  <a:ext cx="22931" cy="183450"/>
                </a:xfrm>
                <a:custGeom>
                  <a:avLst/>
                  <a:gdLst>
                    <a:gd name="connsiteX0" fmla="*/ 11466 w 22931"/>
                    <a:gd name="connsiteY0" fmla="*/ 183451 h 183450"/>
                    <a:gd name="connsiteX1" fmla="*/ 0 w 22931"/>
                    <a:gd name="connsiteY1" fmla="*/ 171985 h 183450"/>
                    <a:gd name="connsiteX2" fmla="*/ 0 w 22931"/>
                    <a:gd name="connsiteY2" fmla="*/ 11466 h 183450"/>
                    <a:gd name="connsiteX3" fmla="*/ 11466 w 22931"/>
                    <a:gd name="connsiteY3" fmla="*/ 0 h 183450"/>
                    <a:gd name="connsiteX4" fmla="*/ 22931 w 22931"/>
                    <a:gd name="connsiteY4" fmla="*/ 11466 h 183450"/>
                    <a:gd name="connsiteX5" fmla="*/ 22931 w 22931"/>
                    <a:gd name="connsiteY5" fmla="*/ 171985 h 183450"/>
                    <a:gd name="connsiteX6" fmla="*/ 11466 w 22931"/>
                    <a:gd name="connsiteY6" fmla="*/ 183451 h 18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183450">
                      <a:moveTo>
                        <a:pt x="11466" y="183451"/>
                      </a:moveTo>
                      <a:cubicBezTo>
                        <a:pt x="5137" y="183451"/>
                        <a:pt x="0" y="178314"/>
                        <a:pt x="0" y="171985"/>
                      </a:cubicBezTo>
                      <a:lnTo>
                        <a:pt x="0" y="11466"/>
                      </a:lnTo>
                      <a:cubicBezTo>
                        <a:pt x="0" y="5137"/>
                        <a:pt x="5137" y="0"/>
                        <a:pt x="11466" y="0"/>
                      </a:cubicBezTo>
                      <a:cubicBezTo>
                        <a:pt x="17795" y="0"/>
                        <a:pt x="22931" y="5137"/>
                        <a:pt x="22931" y="11466"/>
                      </a:cubicBezTo>
                      <a:lnTo>
                        <a:pt x="22931" y="171985"/>
                      </a:lnTo>
                      <a:cubicBezTo>
                        <a:pt x="22931" y="178314"/>
                        <a:pt x="17795" y="183451"/>
                        <a:pt x="11466" y="183451"/>
                      </a:cubicBezTo>
                      <a:close/>
                    </a:path>
                  </a:pathLst>
                </a:custGeom>
                <a:solidFill>
                  <a:schemeClr val="accent1"/>
                </a:solidFill>
                <a:ln w="1145" cap="flat">
                  <a:noFill/>
                  <a:prstDash val="solid"/>
                  <a:miter/>
                </a:ln>
              </p:spPr>
              <p:txBody>
                <a:bodyPr rtlCol="0" anchor="ctr"/>
                <a:lstStyle/>
                <a:p>
                  <a:endParaRPr lang="en-GB" dirty="0"/>
                </a:p>
              </p:txBody>
            </p:sp>
          </p:grpSp>
        </p:grpSp>
      </p:grpSp>
      <p:grpSp>
        <p:nvGrpSpPr>
          <p:cNvPr id="931" name="Group 930">
            <a:extLst>
              <a:ext uri="{FF2B5EF4-FFF2-40B4-BE49-F238E27FC236}">
                <a16:creationId xmlns:a16="http://schemas.microsoft.com/office/drawing/2014/main" id="{B3597366-1A7B-4C45-865B-2D147A4C0EE6}"/>
              </a:ext>
            </a:extLst>
          </p:cNvPr>
          <p:cNvGrpSpPr/>
          <p:nvPr/>
        </p:nvGrpSpPr>
        <p:grpSpPr>
          <a:xfrm>
            <a:off x="8164783" y="4036957"/>
            <a:ext cx="355786" cy="474314"/>
            <a:chOff x="6047741" y="2361014"/>
            <a:chExt cx="407315" cy="543011"/>
          </a:xfrm>
        </p:grpSpPr>
        <p:grpSp>
          <p:nvGrpSpPr>
            <p:cNvPr id="932" name="Group 931">
              <a:extLst>
                <a:ext uri="{FF2B5EF4-FFF2-40B4-BE49-F238E27FC236}">
                  <a16:creationId xmlns:a16="http://schemas.microsoft.com/office/drawing/2014/main" id="{DEBB3B34-60AF-489E-BDFD-F3768768E509}"/>
                </a:ext>
              </a:extLst>
            </p:cNvPr>
            <p:cNvGrpSpPr/>
            <p:nvPr/>
          </p:nvGrpSpPr>
          <p:grpSpPr>
            <a:xfrm>
              <a:off x="6047741" y="2424185"/>
              <a:ext cx="407315" cy="479840"/>
              <a:chOff x="6047732" y="2424181"/>
              <a:chExt cx="407315" cy="479839"/>
            </a:xfrm>
            <a:solidFill>
              <a:schemeClr val="accent1"/>
            </a:solidFill>
          </p:grpSpPr>
          <p:grpSp>
            <p:nvGrpSpPr>
              <p:cNvPr id="934" name="Graphic 48">
                <a:extLst>
                  <a:ext uri="{FF2B5EF4-FFF2-40B4-BE49-F238E27FC236}">
                    <a16:creationId xmlns:a16="http://schemas.microsoft.com/office/drawing/2014/main" id="{78B021C9-899C-4ECE-AEDC-EDCCFA2CED50}"/>
                  </a:ext>
                </a:extLst>
              </p:cNvPr>
              <p:cNvGrpSpPr/>
              <p:nvPr/>
            </p:nvGrpSpPr>
            <p:grpSpPr>
              <a:xfrm>
                <a:off x="6110065" y="2424181"/>
                <a:ext cx="285338" cy="285338"/>
                <a:chOff x="3574325" y="1480562"/>
                <a:chExt cx="506014" cy="506014"/>
              </a:xfrm>
              <a:solidFill>
                <a:schemeClr val="accent1"/>
              </a:solidFill>
            </p:grpSpPr>
            <p:grpSp>
              <p:nvGrpSpPr>
                <p:cNvPr id="937" name="Graphic 48">
                  <a:extLst>
                    <a:ext uri="{FF2B5EF4-FFF2-40B4-BE49-F238E27FC236}">
                      <a16:creationId xmlns:a16="http://schemas.microsoft.com/office/drawing/2014/main" id="{74E1C809-E2BB-4F5C-93AA-EA02DE8907BC}"/>
                    </a:ext>
                  </a:extLst>
                </p:cNvPr>
                <p:cNvGrpSpPr/>
                <p:nvPr/>
              </p:nvGrpSpPr>
              <p:grpSpPr>
                <a:xfrm>
                  <a:off x="3574325" y="1480562"/>
                  <a:ext cx="506014" cy="506014"/>
                  <a:chOff x="3574325" y="1480562"/>
                  <a:chExt cx="506014" cy="506014"/>
                </a:xfrm>
                <a:solidFill>
                  <a:schemeClr val="accent1"/>
                </a:solidFill>
              </p:grpSpPr>
              <p:sp>
                <p:nvSpPr>
                  <p:cNvPr id="941" name="Freeform: Shape 940">
                    <a:extLst>
                      <a:ext uri="{FF2B5EF4-FFF2-40B4-BE49-F238E27FC236}">
                        <a16:creationId xmlns:a16="http://schemas.microsoft.com/office/drawing/2014/main" id="{D621AE31-8D42-454E-A944-86CE1F52351B}"/>
                      </a:ext>
                    </a:extLst>
                  </p:cNvPr>
                  <p:cNvSpPr/>
                  <p:nvPr/>
                </p:nvSpPr>
                <p:spPr>
                  <a:xfrm>
                    <a:off x="3673020" y="1578788"/>
                    <a:ext cx="309150" cy="309148"/>
                  </a:xfrm>
                  <a:custGeom>
                    <a:avLst/>
                    <a:gdLst>
                      <a:gd name="connsiteX0" fmla="*/ 154536 w 309150"/>
                      <a:gd name="connsiteY0" fmla="*/ 309149 h 309148"/>
                      <a:gd name="connsiteX1" fmla="*/ 45211 w 309150"/>
                      <a:gd name="connsiteY1" fmla="*/ 263940 h 309148"/>
                      <a:gd name="connsiteX2" fmla="*/ 45211 w 309150"/>
                      <a:gd name="connsiteY2" fmla="*/ 45289 h 309148"/>
                      <a:gd name="connsiteX3" fmla="*/ 154536 w 309150"/>
                      <a:gd name="connsiteY3" fmla="*/ 0 h 309148"/>
                      <a:gd name="connsiteX4" fmla="*/ 263861 w 309150"/>
                      <a:gd name="connsiteY4" fmla="*/ 45289 h 309148"/>
                      <a:gd name="connsiteX5" fmla="*/ 309150 w 309150"/>
                      <a:gd name="connsiteY5" fmla="*/ 154615 h 309148"/>
                      <a:gd name="connsiteX6" fmla="*/ 263861 w 309150"/>
                      <a:gd name="connsiteY6" fmla="*/ 263940 h 309148"/>
                      <a:gd name="connsiteX7" fmla="*/ 154536 w 309150"/>
                      <a:gd name="connsiteY7" fmla="*/ 309149 h 309148"/>
                      <a:gd name="connsiteX8" fmla="*/ 154536 w 309150"/>
                      <a:gd name="connsiteY8" fmla="*/ 22920 h 309148"/>
                      <a:gd name="connsiteX9" fmla="*/ 61423 w 309150"/>
                      <a:gd name="connsiteY9" fmla="*/ 61490 h 309148"/>
                      <a:gd name="connsiteX10" fmla="*/ 61423 w 309150"/>
                      <a:gd name="connsiteY10" fmla="*/ 247716 h 309148"/>
                      <a:gd name="connsiteX11" fmla="*/ 247649 w 309150"/>
                      <a:gd name="connsiteY11" fmla="*/ 247716 h 309148"/>
                      <a:gd name="connsiteX12" fmla="*/ 286219 w 309150"/>
                      <a:gd name="connsiteY12" fmla="*/ 154603 h 309148"/>
                      <a:gd name="connsiteX13" fmla="*/ 247649 w 309150"/>
                      <a:gd name="connsiteY13" fmla="*/ 61490 h 309148"/>
                      <a:gd name="connsiteX14" fmla="*/ 154536 w 309150"/>
                      <a:gd name="connsiteY14" fmla="*/ 22920 h 309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9150" h="309148">
                        <a:moveTo>
                          <a:pt x="154536" y="309149"/>
                        </a:moveTo>
                        <a:cubicBezTo>
                          <a:pt x="114945" y="309149"/>
                          <a:pt x="75354" y="294083"/>
                          <a:pt x="45211" y="263940"/>
                        </a:cubicBezTo>
                        <a:cubicBezTo>
                          <a:pt x="-15076" y="203653"/>
                          <a:pt x="-15064" y="105565"/>
                          <a:pt x="45211" y="45289"/>
                        </a:cubicBezTo>
                        <a:cubicBezTo>
                          <a:pt x="74414" y="16086"/>
                          <a:pt x="113248" y="0"/>
                          <a:pt x="154536" y="0"/>
                        </a:cubicBezTo>
                        <a:cubicBezTo>
                          <a:pt x="195835" y="0"/>
                          <a:pt x="234658" y="16086"/>
                          <a:pt x="263861" y="45289"/>
                        </a:cubicBezTo>
                        <a:cubicBezTo>
                          <a:pt x="293064" y="74492"/>
                          <a:pt x="309150" y="113315"/>
                          <a:pt x="309150" y="154615"/>
                        </a:cubicBezTo>
                        <a:cubicBezTo>
                          <a:pt x="309150" y="195914"/>
                          <a:pt x="293064" y="234737"/>
                          <a:pt x="263861" y="263940"/>
                        </a:cubicBezTo>
                        <a:cubicBezTo>
                          <a:pt x="233729" y="294083"/>
                          <a:pt x="194127" y="309149"/>
                          <a:pt x="154536" y="309149"/>
                        </a:cubicBezTo>
                        <a:close/>
                        <a:moveTo>
                          <a:pt x="154536" y="22920"/>
                        </a:moveTo>
                        <a:cubicBezTo>
                          <a:pt x="119371" y="22920"/>
                          <a:pt x="86292" y="36621"/>
                          <a:pt x="61423" y="61490"/>
                        </a:cubicBezTo>
                        <a:cubicBezTo>
                          <a:pt x="10080" y="112834"/>
                          <a:pt x="10080" y="196373"/>
                          <a:pt x="61423" y="247716"/>
                        </a:cubicBezTo>
                        <a:cubicBezTo>
                          <a:pt x="112766" y="299048"/>
                          <a:pt x="196305" y="299059"/>
                          <a:pt x="247649" y="247716"/>
                        </a:cubicBezTo>
                        <a:cubicBezTo>
                          <a:pt x="272517" y="222847"/>
                          <a:pt x="286219" y="189768"/>
                          <a:pt x="286219" y="154603"/>
                        </a:cubicBezTo>
                        <a:cubicBezTo>
                          <a:pt x="286219" y="119426"/>
                          <a:pt x="272517" y="86360"/>
                          <a:pt x="247649" y="61490"/>
                        </a:cubicBezTo>
                        <a:cubicBezTo>
                          <a:pt x="222779" y="36621"/>
                          <a:pt x="189712" y="22920"/>
                          <a:pt x="154536" y="22920"/>
                        </a:cubicBezTo>
                        <a:close/>
                      </a:path>
                    </a:pathLst>
                  </a:custGeom>
                  <a:solidFill>
                    <a:schemeClr val="accent1"/>
                  </a:solidFill>
                  <a:ln w="1145" cap="flat">
                    <a:noFill/>
                    <a:prstDash val="solid"/>
                    <a:miter/>
                  </a:ln>
                </p:spPr>
                <p:txBody>
                  <a:bodyPr rtlCol="0" anchor="ctr"/>
                  <a:lstStyle/>
                  <a:p>
                    <a:endParaRPr lang="en-GB" dirty="0"/>
                  </a:p>
                </p:txBody>
              </p:sp>
              <p:grpSp>
                <p:nvGrpSpPr>
                  <p:cNvPr id="942" name="Graphic 48">
                    <a:extLst>
                      <a:ext uri="{FF2B5EF4-FFF2-40B4-BE49-F238E27FC236}">
                        <a16:creationId xmlns:a16="http://schemas.microsoft.com/office/drawing/2014/main" id="{B63E6FF3-423B-42B3-A8D1-88F103A810C7}"/>
                      </a:ext>
                    </a:extLst>
                  </p:cNvPr>
                  <p:cNvGrpSpPr/>
                  <p:nvPr/>
                </p:nvGrpSpPr>
                <p:grpSpPr>
                  <a:xfrm>
                    <a:off x="3632756" y="1537613"/>
                    <a:ext cx="104946" cy="105692"/>
                    <a:chOff x="3632756" y="1537613"/>
                    <a:chExt cx="104946" cy="105692"/>
                  </a:xfrm>
                  <a:solidFill>
                    <a:schemeClr val="accent1"/>
                  </a:solidFill>
                </p:grpSpPr>
                <p:sp>
                  <p:nvSpPr>
                    <p:cNvPr id="974" name="Freeform: Shape 973">
                      <a:extLst>
                        <a:ext uri="{FF2B5EF4-FFF2-40B4-BE49-F238E27FC236}">
                          <a16:creationId xmlns:a16="http://schemas.microsoft.com/office/drawing/2014/main" id="{2D8C6A9D-B9D6-46E7-9D2F-17C963B4F435}"/>
                        </a:ext>
                      </a:extLst>
                    </p:cNvPr>
                    <p:cNvSpPr/>
                    <p:nvPr/>
                  </p:nvSpPr>
                  <p:spPr>
                    <a:xfrm>
                      <a:off x="3632756" y="1537613"/>
                      <a:ext cx="80699" cy="81683"/>
                    </a:xfrm>
                    <a:custGeom>
                      <a:avLst/>
                      <a:gdLst>
                        <a:gd name="connsiteX0" fmla="*/ 39153 w 80699"/>
                        <a:gd name="connsiteY0" fmla="*/ 81683 h 81683"/>
                        <a:gd name="connsiteX1" fmla="*/ 38649 w 80699"/>
                        <a:gd name="connsiteY1" fmla="*/ 81683 h 81683"/>
                        <a:gd name="connsiteX2" fmla="*/ 8356 w 80699"/>
                        <a:gd name="connsiteY2" fmla="*/ 70355 h 81683"/>
                        <a:gd name="connsiteX3" fmla="*/ 1351 w 80699"/>
                        <a:gd name="connsiteY3" fmla="*/ 40762 h 81683"/>
                        <a:gd name="connsiteX4" fmla="*/ 16142 w 80699"/>
                        <a:gd name="connsiteY4" fmla="*/ 16856 h 81683"/>
                        <a:gd name="connsiteX5" fmla="*/ 69067 w 80699"/>
                        <a:gd name="connsiteY5" fmla="*/ 8108 h 81683"/>
                        <a:gd name="connsiteX6" fmla="*/ 69067 w 80699"/>
                        <a:gd name="connsiteY6" fmla="*/ 8108 h 81683"/>
                        <a:gd name="connsiteX7" fmla="*/ 80682 w 80699"/>
                        <a:gd name="connsiteY7" fmla="*/ 38699 h 81683"/>
                        <a:gd name="connsiteX8" fmla="*/ 69652 w 80699"/>
                        <a:gd name="connsiteY8" fmla="*/ 70355 h 81683"/>
                        <a:gd name="connsiteX9" fmla="*/ 39153 w 80699"/>
                        <a:gd name="connsiteY9" fmla="*/ 81683 h 81683"/>
                        <a:gd name="connsiteX10" fmla="*/ 49369 w 80699"/>
                        <a:gd name="connsiteY10" fmla="*/ 23014 h 81683"/>
                        <a:gd name="connsiteX11" fmla="*/ 32343 w 80699"/>
                        <a:gd name="connsiteY11" fmla="*/ 33057 h 81683"/>
                        <a:gd name="connsiteX12" fmla="*/ 24569 w 80699"/>
                        <a:gd name="connsiteY12" fmla="*/ 54131 h 81683"/>
                        <a:gd name="connsiteX13" fmla="*/ 38855 w 80699"/>
                        <a:gd name="connsiteY13" fmla="*/ 58741 h 81683"/>
                        <a:gd name="connsiteX14" fmla="*/ 53417 w 80699"/>
                        <a:gd name="connsiteY14" fmla="*/ 54131 h 81683"/>
                        <a:gd name="connsiteX15" fmla="*/ 57728 w 80699"/>
                        <a:gd name="connsiteY15" fmla="*/ 39272 h 81683"/>
                        <a:gd name="connsiteX16" fmla="*/ 52832 w 80699"/>
                        <a:gd name="connsiteY16" fmla="*/ 24309 h 81683"/>
                        <a:gd name="connsiteX17" fmla="*/ 49369 w 80699"/>
                        <a:gd name="connsiteY17" fmla="*/ 23014 h 81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699" h="81683">
                          <a:moveTo>
                            <a:pt x="39153" y="81683"/>
                          </a:moveTo>
                          <a:cubicBezTo>
                            <a:pt x="38981" y="81683"/>
                            <a:pt x="38821" y="81683"/>
                            <a:pt x="38649" y="81683"/>
                          </a:cubicBezTo>
                          <a:cubicBezTo>
                            <a:pt x="26472" y="81569"/>
                            <a:pt x="15442" y="77441"/>
                            <a:pt x="8356" y="70355"/>
                          </a:cubicBezTo>
                          <a:cubicBezTo>
                            <a:pt x="663" y="62650"/>
                            <a:pt x="-1837" y="52148"/>
                            <a:pt x="1351" y="40762"/>
                          </a:cubicBezTo>
                          <a:cubicBezTo>
                            <a:pt x="3633" y="32599"/>
                            <a:pt x="8884" y="24103"/>
                            <a:pt x="16142" y="16856"/>
                          </a:cubicBezTo>
                          <a:cubicBezTo>
                            <a:pt x="34865" y="-1878"/>
                            <a:pt x="55641" y="-5295"/>
                            <a:pt x="69067" y="8108"/>
                          </a:cubicBezTo>
                          <a:cubicBezTo>
                            <a:pt x="69067" y="8108"/>
                            <a:pt x="69067" y="8108"/>
                            <a:pt x="69067" y="8108"/>
                          </a:cubicBezTo>
                          <a:cubicBezTo>
                            <a:pt x="76130" y="15171"/>
                            <a:pt x="80361" y="26316"/>
                            <a:pt x="80682" y="38699"/>
                          </a:cubicBezTo>
                          <a:cubicBezTo>
                            <a:pt x="81003" y="51483"/>
                            <a:pt x="76990" y="63017"/>
                            <a:pt x="69652" y="70355"/>
                          </a:cubicBezTo>
                          <a:cubicBezTo>
                            <a:pt x="62417" y="77579"/>
                            <a:pt x="51330" y="81683"/>
                            <a:pt x="39153" y="81683"/>
                          </a:cubicBezTo>
                          <a:close/>
                          <a:moveTo>
                            <a:pt x="49369" y="23014"/>
                          </a:moveTo>
                          <a:cubicBezTo>
                            <a:pt x="44336" y="23014"/>
                            <a:pt x="36963" y="28437"/>
                            <a:pt x="32343" y="33057"/>
                          </a:cubicBezTo>
                          <a:cubicBezTo>
                            <a:pt x="26770" y="38630"/>
                            <a:pt x="19719" y="49293"/>
                            <a:pt x="24569" y="54131"/>
                          </a:cubicBezTo>
                          <a:cubicBezTo>
                            <a:pt x="27309" y="56872"/>
                            <a:pt x="32927" y="58683"/>
                            <a:pt x="38855" y="58741"/>
                          </a:cubicBezTo>
                          <a:cubicBezTo>
                            <a:pt x="44955" y="58786"/>
                            <a:pt x="50516" y="57032"/>
                            <a:pt x="53417" y="54131"/>
                          </a:cubicBezTo>
                          <a:cubicBezTo>
                            <a:pt x="56237" y="51299"/>
                            <a:pt x="57900" y="45612"/>
                            <a:pt x="57728" y="39272"/>
                          </a:cubicBezTo>
                          <a:cubicBezTo>
                            <a:pt x="57567" y="33092"/>
                            <a:pt x="55595" y="27084"/>
                            <a:pt x="52832" y="24309"/>
                          </a:cubicBezTo>
                          <a:cubicBezTo>
                            <a:pt x="51915" y="23403"/>
                            <a:pt x="50722" y="23014"/>
                            <a:pt x="49369" y="23014"/>
                          </a:cubicBezTo>
                          <a:close/>
                        </a:path>
                      </a:pathLst>
                    </a:custGeom>
                    <a:solidFill>
                      <a:schemeClr val="accent1"/>
                    </a:solidFill>
                    <a:ln w="1145" cap="flat">
                      <a:noFill/>
                      <a:prstDash val="solid"/>
                      <a:miter/>
                    </a:ln>
                  </p:spPr>
                  <p:txBody>
                    <a:bodyPr rtlCol="0" anchor="ctr"/>
                    <a:lstStyle/>
                    <a:p>
                      <a:endParaRPr lang="en-GB" dirty="0"/>
                    </a:p>
                  </p:txBody>
                </p:sp>
                <p:sp>
                  <p:nvSpPr>
                    <p:cNvPr id="975" name="Freeform: Shape 974">
                      <a:extLst>
                        <a:ext uri="{FF2B5EF4-FFF2-40B4-BE49-F238E27FC236}">
                          <a16:creationId xmlns:a16="http://schemas.microsoft.com/office/drawing/2014/main" id="{FDEE1E66-E0BE-49FC-B176-CE7CA56AF742}"/>
                        </a:ext>
                      </a:extLst>
                    </p:cNvPr>
                    <p:cNvSpPr/>
                    <p:nvPr/>
                  </p:nvSpPr>
                  <p:spPr>
                    <a:xfrm>
                      <a:off x="3682799" y="1588405"/>
                      <a:ext cx="54903" cy="54900"/>
                    </a:xfrm>
                    <a:custGeom>
                      <a:avLst/>
                      <a:gdLst>
                        <a:gd name="connsiteX0" fmla="*/ 43435 w 54903"/>
                        <a:gd name="connsiteY0" fmla="*/ 54900 h 54900"/>
                        <a:gd name="connsiteX1" fmla="*/ 35329 w 54903"/>
                        <a:gd name="connsiteY1" fmla="*/ 51541 h 54900"/>
                        <a:gd name="connsiteX2" fmla="*/ 3362 w 54903"/>
                        <a:gd name="connsiteY2" fmla="*/ 19575 h 54900"/>
                        <a:gd name="connsiteX3" fmla="*/ 3362 w 54903"/>
                        <a:gd name="connsiteY3" fmla="*/ 3362 h 54900"/>
                        <a:gd name="connsiteX4" fmla="*/ 19575 w 54903"/>
                        <a:gd name="connsiteY4" fmla="*/ 3362 h 54900"/>
                        <a:gd name="connsiteX5" fmla="*/ 51541 w 54903"/>
                        <a:gd name="connsiteY5" fmla="*/ 35329 h 54900"/>
                        <a:gd name="connsiteX6" fmla="*/ 51541 w 54903"/>
                        <a:gd name="connsiteY6" fmla="*/ 51541 h 54900"/>
                        <a:gd name="connsiteX7" fmla="*/ 43435 w 54903"/>
                        <a:gd name="connsiteY7" fmla="*/ 54900 h 5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03" h="54900">
                          <a:moveTo>
                            <a:pt x="43435" y="54900"/>
                          </a:moveTo>
                          <a:cubicBezTo>
                            <a:pt x="40500" y="54900"/>
                            <a:pt x="37564" y="53777"/>
                            <a:pt x="35329" y="51541"/>
                          </a:cubicBezTo>
                          <a:lnTo>
                            <a:pt x="3362" y="19575"/>
                          </a:lnTo>
                          <a:cubicBezTo>
                            <a:pt x="-1121" y="15103"/>
                            <a:pt x="-1121" y="7845"/>
                            <a:pt x="3362" y="3362"/>
                          </a:cubicBezTo>
                          <a:cubicBezTo>
                            <a:pt x="7845" y="-1121"/>
                            <a:pt x="15092" y="-1121"/>
                            <a:pt x="19575" y="3362"/>
                          </a:cubicBezTo>
                          <a:lnTo>
                            <a:pt x="51541" y="35329"/>
                          </a:lnTo>
                          <a:cubicBezTo>
                            <a:pt x="56024" y="39800"/>
                            <a:pt x="56024" y="47058"/>
                            <a:pt x="51541" y="51541"/>
                          </a:cubicBezTo>
                          <a:cubicBezTo>
                            <a:pt x="49305" y="53788"/>
                            <a:pt x="46370" y="54900"/>
                            <a:pt x="43435" y="54900"/>
                          </a:cubicBezTo>
                          <a:close/>
                        </a:path>
                      </a:pathLst>
                    </a:custGeom>
                    <a:solidFill>
                      <a:schemeClr val="accent1"/>
                    </a:solidFill>
                    <a:ln w="1145" cap="flat">
                      <a:noFill/>
                      <a:prstDash val="solid"/>
                      <a:miter/>
                    </a:ln>
                  </p:spPr>
                  <p:txBody>
                    <a:bodyPr rtlCol="0" anchor="ctr"/>
                    <a:lstStyle/>
                    <a:p>
                      <a:endParaRPr lang="en-GB" dirty="0"/>
                    </a:p>
                  </p:txBody>
                </p:sp>
              </p:grpSp>
              <p:grpSp>
                <p:nvGrpSpPr>
                  <p:cNvPr id="943" name="Graphic 48">
                    <a:extLst>
                      <a:ext uri="{FF2B5EF4-FFF2-40B4-BE49-F238E27FC236}">
                        <a16:creationId xmlns:a16="http://schemas.microsoft.com/office/drawing/2014/main" id="{DA5BF549-3C97-4E0F-8E30-4FE720C8ACB9}"/>
                      </a:ext>
                    </a:extLst>
                  </p:cNvPr>
                  <p:cNvGrpSpPr/>
                  <p:nvPr/>
                </p:nvGrpSpPr>
                <p:grpSpPr>
                  <a:xfrm>
                    <a:off x="3917472" y="1823422"/>
                    <a:ext cx="105901" cy="104736"/>
                    <a:chOff x="3917472" y="1823422"/>
                    <a:chExt cx="105901" cy="104736"/>
                  </a:xfrm>
                  <a:solidFill>
                    <a:schemeClr val="accent1"/>
                  </a:solidFill>
                </p:grpSpPr>
                <p:sp>
                  <p:nvSpPr>
                    <p:cNvPr id="972" name="Freeform: Shape 971">
                      <a:extLst>
                        <a:ext uri="{FF2B5EF4-FFF2-40B4-BE49-F238E27FC236}">
                          <a16:creationId xmlns:a16="http://schemas.microsoft.com/office/drawing/2014/main" id="{262A1CD8-3C85-4D3D-AD85-366F14639854}"/>
                        </a:ext>
                      </a:extLst>
                    </p:cNvPr>
                    <p:cNvSpPr/>
                    <p:nvPr/>
                  </p:nvSpPr>
                  <p:spPr>
                    <a:xfrm>
                      <a:off x="3941749" y="1847426"/>
                      <a:ext cx="81625" cy="80732"/>
                    </a:xfrm>
                    <a:custGeom>
                      <a:avLst/>
                      <a:gdLst>
                        <a:gd name="connsiteX0" fmla="*/ 31536 w 81625"/>
                        <a:gd name="connsiteY0" fmla="*/ 80732 h 80732"/>
                        <a:gd name="connsiteX1" fmla="*/ 11471 w 81625"/>
                        <a:gd name="connsiteY1" fmla="*/ 72466 h 80732"/>
                        <a:gd name="connsiteX2" fmla="*/ 5 w 81625"/>
                        <a:gd name="connsiteY2" fmla="*/ 42231 h 80732"/>
                        <a:gd name="connsiteX3" fmla="*/ 11184 w 81625"/>
                        <a:gd name="connsiteY3" fmla="*/ 11193 h 80732"/>
                        <a:gd name="connsiteX4" fmla="*/ 42784 w 81625"/>
                        <a:gd name="connsiteY4" fmla="*/ 14 h 80732"/>
                        <a:gd name="connsiteX5" fmla="*/ 73420 w 81625"/>
                        <a:gd name="connsiteY5" fmla="*/ 11480 h 80732"/>
                        <a:gd name="connsiteX6" fmla="*/ 73420 w 81625"/>
                        <a:gd name="connsiteY6" fmla="*/ 11480 h 80732"/>
                        <a:gd name="connsiteX7" fmla="*/ 79955 w 81625"/>
                        <a:gd name="connsiteY7" fmla="*/ 41187 h 80732"/>
                        <a:gd name="connsiteX8" fmla="*/ 64924 w 81625"/>
                        <a:gd name="connsiteY8" fmla="*/ 64440 h 80732"/>
                        <a:gd name="connsiteX9" fmla="*/ 41087 w 81625"/>
                        <a:gd name="connsiteY9" fmla="*/ 79345 h 80732"/>
                        <a:gd name="connsiteX10" fmla="*/ 31536 w 81625"/>
                        <a:gd name="connsiteY10" fmla="*/ 80732 h 80732"/>
                        <a:gd name="connsiteX11" fmla="*/ 41626 w 81625"/>
                        <a:gd name="connsiteY11" fmla="*/ 22934 h 80732"/>
                        <a:gd name="connsiteX12" fmla="*/ 27489 w 81625"/>
                        <a:gd name="connsiteY12" fmla="*/ 27325 h 80732"/>
                        <a:gd name="connsiteX13" fmla="*/ 22948 w 81625"/>
                        <a:gd name="connsiteY13" fmla="*/ 41898 h 80732"/>
                        <a:gd name="connsiteX14" fmla="*/ 27626 w 81625"/>
                        <a:gd name="connsiteY14" fmla="*/ 56161 h 80732"/>
                        <a:gd name="connsiteX15" fmla="*/ 34849 w 81625"/>
                        <a:gd name="connsiteY15" fmla="*/ 57274 h 80732"/>
                        <a:gd name="connsiteX16" fmla="*/ 48666 w 81625"/>
                        <a:gd name="connsiteY16" fmla="*/ 48296 h 80732"/>
                        <a:gd name="connsiteX17" fmla="*/ 58125 w 81625"/>
                        <a:gd name="connsiteY17" fmla="*/ 34239 h 80732"/>
                        <a:gd name="connsiteX18" fmla="*/ 57311 w 81625"/>
                        <a:gd name="connsiteY18" fmla="*/ 27761 h 80732"/>
                        <a:gd name="connsiteX19" fmla="*/ 57311 w 81625"/>
                        <a:gd name="connsiteY19" fmla="*/ 27761 h 80732"/>
                        <a:gd name="connsiteX20" fmla="*/ 42325 w 81625"/>
                        <a:gd name="connsiteY20" fmla="*/ 22934 h 80732"/>
                        <a:gd name="connsiteX21" fmla="*/ 41626 w 81625"/>
                        <a:gd name="connsiteY21" fmla="*/ 22934 h 80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625" h="80732">
                          <a:moveTo>
                            <a:pt x="31536" y="80732"/>
                          </a:moveTo>
                          <a:cubicBezTo>
                            <a:pt x="23900" y="80732"/>
                            <a:pt x="16986" y="77923"/>
                            <a:pt x="11471" y="72466"/>
                          </a:cubicBezTo>
                          <a:cubicBezTo>
                            <a:pt x="4351" y="65426"/>
                            <a:pt x="177" y="54396"/>
                            <a:pt x="5" y="42231"/>
                          </a:cubicBezTo>
                          <a:cubicBezTo>
                            <a:pt x="-167" y="29848"/>
                            <a:pt x="3904" y="18531"/>
                            <a:pt x="11184" y="11193"/>
                          </a:cubicBezTo>
                          <a:cubicBezTo>
                            <a:pt x="18488" y="3821"/>
                            <a:pt x="30103" y="-273"/>
                            <a:pt x="42784" y="14"/>
                          </a:cubicBezTo>
                          <a:cubicBezTo>
                            <a:pt x="55167" y="266"/>
                            <a:pt x="66334" y="4451"/>
                            <a:pt x="73420" y="11480"/>
                          </a:cubicBezTo>
                          <a:lnTo>
                            <a:pt x="73420" y="11480"/>
                          </a:lnTo>
                          <a:cubicBezTo>
                            <a:pt x="81262" y="19242"/>
                            <a:pt x="83579" y="29790"/>
                            <a:pt x="79955" y="41187"/>
                          </a:cubicBezTo>
                          <a:cubicBezTo>
                            <a:pt x="76837" y="51013"/>
                            <a:pt x="70061" y="59257"/>
                            <a:pt x="64924" y="64440"/>
                          </a:cubicBezTo>
                          <a:cubicBezTo>
                            <a:pt x="57712" y="71732"/>
                            <a:pt x="49239" y="77017"/>
                            <a:pt x="41087" y="79345"/>
                          </a:cubicBezTo>
                          <a:cubicBezTo>
                            <a:pt x="37831" y="80274"/>
                            <a:pt x="34632" y="80732"/>
                            <a:pt x="31536" y="80732"/>
                          </a:cubicBezTo>
                          <a:close/>
                          <a:moveTo>
                            <a:pt x="41626" y="22934"/>
                          </a:moveTo>
                          <a:cubicBezTo>
                            <a:pt x="35572" y="22934"/>
                            <a:pt x="30194" y="24596"/>
                            <a:pt x="27489" y="27325"/>
                          </a:cubicBezTo>
                          <a:cubicBezTo>
                            <a:pt x="24611" y="30238"/>
                            <a:pt x="22868" y="35821"/>
                            <a:pt x="22948" y="41898"/>
                          </a:cubicBezTo>
                          <a:cubicBezTo>
                            <a:pt x="23028" y="47837"/>
                            <a:pt x="24863" y="53433"/>
                            <a:pt x="27626" y="56161"/>
                          </a:cubicBezTo>
                          <a:cubicBezTo>
                            <a:pt x="28440" y="56964"/>
                            <a:pt x="30103" y="58604"/>
                            <a:pt x="34849" y="57274"/>
                          </a:cubicBezTo>
                          <a:cubicBezTo>
                            <a:pt x="39206" y="56035"/>
                            <a:pt x="44240" y="52756"/>
                            <a:pt x="48666" y="48296"/>
                          </a:cubicBezTo>
                          <a:cubicBezTo>
                            <a:pt x="53344" y="43572"/>
                            <a:pt x="56795" y="38447"/>
                            <a:pt x="58125" y="34239"/>
                          </a:cubicBezTo>
                          <a:cubicBezTo>
                            <a:pt x="59501" y="29928"/>
                            <a:pt x="58125" y="28575"/>
                            <a:pt x="57311" y="27761"/>
                          </a:cubicBezTo>
                          <a:lnTo>
                            <a:pt x="57311" y="27761"/>
                          </a:lnTo>
                          <a:cubicBezTo>
                            <a:pt x="54525" y="24998"/>
                            <a:pt x="48494" y="23060"/>
                            <a:pt x="42325" y="22934"/>
                          </a:cubicBezTo>
                          <a:cubicBezTo>
                            <a:pt x="42084" y="22934"/>
                            <a:pt x="41855" y="22934"/>
                            <a:pt x="41626" y="22934"/>
                          </a:cubicBezTo>
                          <a:close/>
                        </a:path>
                      </a:pathLst>
                    </a:custGeom>
                    <a:solidFill>
                      <a:schemeClr val="accent1"/>
                    </a:solidFill>
                    <a:ln w="1145" cap="flat">
                      <a:noFill/>
                      <a:prstDash val="solid"/>
                      <a:miter/>
                    </a:ln>
                  </p:spPr>
                  <p:txBody>
                    <a:bodyPr rtlCol="0" anchor="ctr"/>
                    <a:lstStyle/>
                    <a:p>
                      <a:endParaRPr lang="en-GB" dirty="0"/>
                    </a:p>
                  </p:txBody>
                </p:sp>
                <p:sp>
                  <p:nvSpPr>
                    <p:cNvPr id="973" name="Freeform: Shape 972">
                      <a:extLst>
                        <a:ext uri="{FF2B5EF4-FFF2-40B4-BE49-F238E27FC236}">
                          <a16:creationId xmlns:a16="http://schemas.microsoft.com/office/drawing/2014/main" id="{BE914B8C-9FAC-4830-A2AC-48CEF59AB460}"/>
                        </a:ext>
                      </a:extLst>
                    </p:cNvPr>
                    <p:cNvSpPr/>
                    <p:nvPr/>
                  </p:nvSpPr>
                  <p:spPr>
                    <a:xfrm>
                      <a:off x="3917472" y="1823422"/>
                      <a:ext cx="55052" cy="54745"/>
                    </a:xfrm>
                    <a:custGeom>
                      <a:avLst/>
                      <a:gdLst>
                        <a:gd name="connsiteX0" fmla="*/ 43590 w 55052"/>
                        <a:gd name="connsiteY0" fmla="*/ 54746 h 54745"/>
                        <a:gd name="connsiteX1" fmla="*/ 35518 w 55052"/>
                        <a:gd name="connsiteY1" fmla="*/ 51421 h 54745"/>
                        <a:gd name="connsiteX2" fmla="*/ 3403 w 55052"/>
                        <a:gd name="connsiteY2" fmla="*/ 19615 h 54745"/>
                        <a:gd name="connsiteX3" fmla="*/ 3322 w 55052"/>
                        <a:gd name="connsiteY3" fmla="*/ 3403 h 54745"/>
                        <a:gd name="connsiteX4" fmla="*/ 19535 w 55052"/>
                        <a:gd name="connsiteY4" fmla="*/ 3322 h 54745"/>
                        <a:gd name="connsiteX5" fmla="*/ 51650 w 55052"/>
                        <a:gd name="connsiteY5" fmla="*/ 35128 h 54745"/>
                        <a:gd name="connsiteX6" fmla="*/ 51730 w 55052"/>
                        <a:gd name="connsiteY6" fmla="*/ 51341 h 54745"/>
                        <a:gd name="connsiteX7" fmla="*/ 43590 w 55052"/>
                        <a:gd name="connsiteY7" fmla="*/ 54746 h 54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052" h="54745">
                          <a:moveTo>
                            <a:pt x="43590" y="54746"/>
                          </a:moveTo>
                          <a:cubicBezTo>
                            <a:pt x="40677" y="54746"/>
                            <a:pt x="37754" y="53645"/>
                            <a:pt x="35518" y="51421"/>
                          </a:cubicBezTo>
                          <a:lnTo>
                            <a:pt x="3403" y="19615"/>
                          </a:lnTo>
                          <a:cubicBezTo>
                            <a:pt x="-1103" y="15155"/>
                            <a:pt x="-1138" y="7897"/>
                            <a:pt x="3322" y="3403"/>
                          </a:cubicBezTo>
                          <a:cubicBezTo>
                            <a:pt x="7771" y="-1103"/>
                            <a:pt x="15040" y="-1138"/>
                            <a:pt x="19535" y="3322"/>
                          </a:cubicBezTo>
                          <a:lnTo>
                            <a:pt x="51650" y="35128"/>
                          </a:lnTo>
                          <a:cubicBezTo>
                            <a:pt x="56156" y="39588"/>
                            <a:pt x="56191" y="46846"/>
                            <a:pt x="51730" y="51341"/>
                          </a:cubicBezTo>
                          <a:cubicBezTo>
                            <a:pt x="49495" y="53611"/>
                            <a:pt x="46548" y="54746"/>
                            <a:pt x="43590" y="54746"/>
                          </a:cubicBezTo>
                          <a:close/>
                        </a:path>
                      </a:pathLst>
                    </a:custGeom>
                    <a:solidFill>
                      <a:schemeClr val="accent1"/>
                    </a:solidFill>
                    <a:ln w="1145" cap="flat">
                      <a:noFill/>
                      <a:prstDash val="solid"/>
                      <a:miter/>
                    </a:ln>
                  </p:spPr>
                  <p:txBody>
                    <a:bodyPr rtlCol="0" anchor="ctr"/>
                    <a:lstStyle/>
                    <a:p>
                      <a:endParaRPr lang="en-GB" dirty="0"/>
                    </a:p>
                  </p:txBody>
                </p:sp>
              </p:grpSp>
              <p:grpSp>
                <p:nvGrpSpPr>
                  <p:cNvPr id="944" name="Graphic 48">
                    <a:extLst>
                      <a:ext uri="{FF2B5EF4-FFF2-40B4-BE49-F238E27FC236}">
                        <a16:creationId xmlns:a16="http://schemas.microsoft.com/office/drawing/2014/main" id="{721D1DB8-4B8D-42B7-8DCB-3E564343DF04}"/>
                      </a:ext>
                    </a:extLst>
                  </p:cNvPr>
                  <p:cNvGrpSpPr/>
                  <p:nvPr/>
                </p:nvGrpSpPr>
                <p:grpSpPr>
                  <a:xfrm>
                    <a:off x="3783963" y="1480562"/>
                    <a:ext cx="296376" cy="296857"/>
                    <a:chOff x="3783963" y="1480562"/>
                    <a:chExt cx="296376" cy="296857"/>
                  </a:xfrm>
                  <a:solidFill>
                    <a:schemeClr val="accent1"/>
                  </a:solidFill>
                </p:grpSpPr>
                <p:grpSp>
                  <p:nvGrpSpPr>
                    <p:cNvPr id="963" name="Graphic 48">
                      <a:extLst>
                        <a:ext uri="{FF2B5EF4-FFF2-40B4-BE49-F238E27FC236}">
                          <a16:creationId xmlns:a16="http://schemas.microsoft.com/office/drawing/2014/main" id="{5D774379-845C-44FB-9FE1-5069EB7DB108}"/>
                        </a:ext>
                      </a:extLst>
                    </p:cNvPr>
                    <p:cNvGrpSpPr/>
                    <p:nvPr/>
                  </p:nvGrpSpPr>
                  <p:grpSpPr>
                    <a:xfrm>
                      <a:off x="3917306" y="1538695"/>
                      <a:ext cx="105719" cy="104954"/>
                      <a:chOff x="3917306" y="1538695"/>
                      <a:chExt cx="105719" cy="104954"/>
                    </a:xfrm>
                    <a:solidFill>
                      <a:schemeClr val="accent1"/>
                    </a:solidFill>
                  </p:grpSpPr>
                  <p:sp>
                    <p:nvSpPr>
                      <p:cNvPr id="970" name="Freeform: Shape 969">
                        <a:extLst>
                          <a:ext uri="{FF2B5EF4-FFF2-40B4-BE49-F238E27FC236}">
                            <a16:creationId xmlns:a16="http://schemas.microsoft.com/office/drawing/2014/main" id="{B71C511A-FF1C-4972-9FF3-B86F345FCB6B}"/>
                          </a:ext>
                        </a:extLst>
                      </p:cNvPr>
                      <p:cNvSpPr/>
                      <p:nvPr/>
                    </p:nvSpPr>
                    <p:spPr>
                      <a:xfrm>
                        <a:off x="3941281" y="1538695"/>
                        <a:ext cx="81745" cy="80693"/>
                      </a:xfrm>
                      <a:custGeom>
                        <a:avLst/>
                        <a:gdLst>
                          <a:gd name="connsiteX0" fmla="*/ 41876 w 81745"/>
                          <a:gd name="connsiteY0" fmla="*/ 80693 h 80693"/>
                          <a:gd name="connsiteX1" fmla="*/ 11377 w 81745"/>
                          <a:gd name="connsiteY1" fmla="*/ 69652 h 80693"/>
                          <a:gd name="connsiteX2" fmla="*/ 11377 w 81745"/>
                          <a:gd name="connsiteY2" fmla="*/ 8368 h 80693"/>
                          <a:gd name="connsiteX3" fmla="*/ 40981 w 81745"/>
                          <a:gd name="connsiteY3" fmla="*/ 1351 h 80693"/>
                          <a:gd name="connsiteX4" fmla="*/ 64887 w 81745"/>
                          <a:gd name="connsiteY4" fmla="*/ 16141 h 80693"/>
                          <a:gd name="connsiteX5" fmla="*/ 73635 w 81745"/>
                          <a:gd name="connsiteY5" fmla="*/ 69067 h 80693"/>
                          <a:gd name="connsiteX6" fmla="*/ 73635 w 81745"/>
                          <a:gd name="connsiteY6" fmla="*/ 69067 h 80693"/>
                          <a:gd name="connsiteX7" fmla="*/ 41876 w 81745"/>
                          <a:gd name="connsiteY7" fmla="*/ 80693 h 80693"/>
                          <a:gd name="connsiteX8" fmla="*/ 65518 w 81745"/>
                          <a:gd name="connsiteY8" fmla="*/ 60949 h 80693"/>
                          <a:gd name="connsiteX9" fmla="*/ 65632 w 81745"/>
                          <a:gd name="connsiteY9" fmla="*/ 60949 h 80693"/>
                          <a:gd name="connsiteX10" fmla="*/ 65518 w 81745"/>
                          <a:gd name="connsiteY10" fmla="*/ 60949 h 80693"/>
                          <a:gd name="connsiteX11" fmla="*/ 31614 w 81745"/>
                          <a:gd name="connsiteY11" fmla="*/ 22941 h 80693"/>
                          <a:gd name="connsiteX12" fmla="*/ 27578 w 81745"/>
                          <a:gd name="connsiteY12" fmla="*/ 24580 h 80693"/>
                          <a:gd name="connsiteX13" fmla="*/ 27578 w 81745"/>
                          <a:gd name="connsiteY13" fmla="*/ 53428 h 80693"/>
                          <a:gd name="connsiteX14" fmla="*/ 57400 w 81745"/>
                          <a:gd name="connsiteY14" fmla="*/ 52843 h 80693"/>
                          <a:gd name="connsiteX15" fmla="*/ 48652 w 81745"/>
                          <a:gd name="connsiteY15" fmla="*/ 32354 h 80693"/>
                          <a:gd name="connsiteX16" fmla="*/ 34790 w 81745"/>
                          <a:gd name="connsiteY16" fmla="*/ 23433 h 80693"/>
                          <a:gd name="connsiteX17" fmla="*/ 31614 w 81745"/>
                          <a:gd name="connsiteY17" fmla="*/ 22941 h 8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745" h="80693">
                            <a:moveTo>
                              <a:pt x="41876" y="80693"/>
                            </a:moveTo>
                            <a:cubicBezTo>
                              <a:pt x="30272" y="80693"/>
                              <a:pt x="18761" y="77024"/>
                              <a:pt x="11377" y="69652"/>
                            </a:cubicBezTo>
                            <a:cubicBezTo>
                              <a:pt x="-3792" y="54471"/>
                              <a:pt x="-3792" y="23548"/>
                              <a:pt x="11377" y="8368"/>
                            </a:cubicBezTo>
                            <a:cubicBezTo>
                              <a:pt x="19082" y="663"/>
                              <a:pt x="29573" y="-1837"/>
                              <a:pt x="40981" y="1351"/>
                            </a:cubicBezTo>
                            <a:cubicBezTo>
                              <a:pt x="49145" y="3632"/>
                              <a:pt x="57641" y="8884"/>
                              <a:pt x="64887" y="16141"/>
                            </a:cubicBezTo>
                            <a:cubicBezTo>
                              <a:pt x="83611" y="34865"/>
                              <a:pt x="87050" y="55641"/>
                              <a:pt x="73635" y="69067"/>
                            </a:cubicBezTo>
                            <a:cubicBezTo>
                              <a:pt x="73635" y="69067"/>
                              <a:pt x="73635" y="69067"/>
                              <a:pt x="73635" y="69067"/>
                            </a:cubicBezTo>
                            <a:cubicBezTo>
                              <a:pt x="65873" y="76795"/>
                              <a:pt x="53823" y="80693"/>
                              <a:pt x="41876" y="80693"/>
                            </a:cubicBezTo>
                            <a:close/>
                            <a:moveTo>
                              <a:pt x="65518" y="60949"/>
                            </a:moveTo>
                            <a:lnTo>
                              <a:pt x="65632" y="60949"/>
                            </a:lnTo>
                            <a:lnTo>
                              <a:pt x="65518" y="60949"/>
                            </a:lnTo>
                            <a:close/>
                            <a:moveTo>
                              <a:pt x="31614" y="22941"/>
                            </a:moveTo>
                            <a:cubicBezTo>
                              <a:pt x="29229" y="22941"/>
                              <a:pt x="28174" y="23995"/>
                              <a:pt x="27578" y="24580"/>
                            </a:cubicBezTo>
                            <a:cubicBezTo>
                              <a:pt x="21879" y="30279"/>
                              <a:pt x="20893" y="46743"/>
                              <a:pt x="27578" y="53428"/>
                            </a:cubicBezTo>
                            <a:cubicBezTo>
                              <a:pt x="34033" y="59883"/>
                              <a:pt x="51633" y="58622"/>
                              <a:pt x="57400" y="52843"/>
                            </a:cubicBezTo>
                            <a:cubicBezTo>
                              <a:pt x="61700" y="48532"/>
                              <a:pt x="54534" y="38224"/>
                              <a:pt x="48652" y="32354"/>
                            </a:cubicBezTo>
                            <a:cubicBezTo>
                              <a:pt x="44203" y="27894"/>
                              <a:pt x="39147" y="24649"/>
                              <a:pt x="34790" y="23433"/>
                            </a:cubicBezTo>
                            <a:cubicBezTo>
                              <a:pt x="33529" y="23078"/>
                              <a:pt x="32485" y="22941"/>
                              <a:pt x="31614" y="22941"/>
                            </a:cubicBezTo>
                            <a:close/>
                          </a:path>
                        </a:pathLst>
                      </a:custGeom>
                      <a:solidFill>
                        <a:schemeClr val="accent1"/>
                      </a:solidFill>
                      <a:ln w="1145" cap="flat">
                        <a:noFill/>
                        <a:prstDash val="solid"/>
                        <a:miter/>
                      </a:ln>
                    </p:spPr>
                    <p:txBody>
                      <a:bodyPr rtlCol="0" anchor="ctr"/>
                      <a:lstStyle/>
                      <a:p>
                        <a:endParaRPr lang="en-GB" dirty="0"/>
                      </a:p>
                    </p:txBody>
                  </p:sp>
                  <p:sp>
                    <p:nvSpPr>
                      <p:cNvPr id="971" name="Freeform: Shape 970">
                        <a:extLst>
                          <a:ext uri="{FF2B5EF4-FFF2-40B4-BE49-F238E27FC236}">
                            <a16:creationId xmlns:a16="http://schemas.microsoft.com/office/drawing/2014/main" id="{19934993-25D0-4A78-9D84-382DB2C0632F}"/>
                          </a:ext>
                        </a:extLst>
                      </p:cNvPr>
                      <p:cNvSpPr/>
                      <p:nvPr/>
                    </p:nvSpPr>
                    <p:spPr>
                      <a:xfrm>
                        <a:off x="3917306" y="1588749"/>
                        <a:ext cx="54903" cy="54900"/>
                      </a:xfrm>
                      <a:custGeom>
                        <a:avLst/>
                        <a:gdLst>
                          <a:gd name="connsiteX0" fmla="*/ 11469 w 54903"/>
                          <a:gd name="connsiteY0" fmla="*/ 54901 h 54900"/>
                          <a:gd name="connsiteX1" fmla="*/ 3362 w 54903"/>
                          <a:gd name="connsiteY1" fmla="*/ 51541 h 54900"/>
                          <a:gd name="connsiteX2" fmla="*/ 3362 w 54903"/>
                          <a:gd name="connsiteY2" fmla="*/ 35329 h 54900"/>
                          <a:gd name="connsiteX3" fmla="*/ 35329 w 54903"/>
                          <a:gd name="connsiteY3" fmla="*/ 3362 h 54900"/>
                          <a:gd name="connsiteX4" fmla="*/ 51541 w 54903"/>
                          <a:gd name="connsiteY4" fmla="*/ 3362 h 54900"/>
                          <a:gd name="connsiteX5" fmla="*/ 51541 w 54903"/>
                          <a:gd name="connsiteY5" fmla="*/ 19575 h 54900"/>
                          <a:gd name="connsiteX6" fmla="*/ 19575 w 54903"/>
                          <a:gd name="connsiteY6" fmla="*/ 51541 h 54900"/>
                          <a:gd name="connsiteX7" fmla="*/ 11469 w 54903"/>
                          <a:gd name="connsiteY7" fmla="*/ 54901 h 5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03" h="54900">
                            <a:moveTo>
                              <a:pt x="11469" y="54901"/>
                            </a:moveTo>
                            <a:cubicBezTo>
                              <a:pt x="8533" y="54901"/>
                              <a:pt x="5598" y="53777"/>
                              <a:pt x="3362" y="51541"/>
                            </a:cubicBezTo>
                            <a:cubicBezTo>
                              <a:pt x="-1121" y="47058"/>
                              <a:pt x="-1121" y="39812"/>
                              <a:pt x="3362" y="35329"/>
                            </a:cubicBezTo>
                            <a:lnTo>
                              <a:pt x="35329" y="3362"/>
                            </a:lnTo>
                            <a:cubicBezTo>
                              <a:pt x="39812" y="-1121"/>
                              <a:pt x="47058" y="-1121"/>
                              <a:pt x="51541" y="3362"/>
                            </a:cubicBezTo>
                            <a:cubicBezTo>
                              <a:pt x="56024" y="7845"/>
                              <a:pt x="56024" y="15092"/>
                              <a:pt x="51541" y="19575"/>
                            </a:cubicBezTo>
                            <a:lnTo>
                              <a:pt x="19575" y="51541"/>
                            </a:lnTo>
                            <a:cubicBezTo>
                              <a:pt x="17339" y="53777"/>
                              <a:pt x="14404" y="54901"/>
                              <a:pt x="11469" y="54901"/>
                            </a:cubicBezTo>
                            <a:close/>
                          </a:path>
                        </a:pathLst>
                      </a:custGeom>
                      <a:solidFill>
                        <a:schemeClr val="accent1"/>
                      </a:solidFill>
                      <a:ln w="1145" cap="flat">
                        <a:noFill/>
                        <a:prstDash val="solid"/>
                        <a:miter/>
                      </a:ln>
                    </p:spPr>
                    <p:txBody>
                      <a:bodyPr rtlCol="0" anchor="ctr"/>
                      <a:lstStyle/>
                      <a:p>
                        <a:endParaRPr lang="en-GB" dirty="0"/>
                      </a:p>
                    </p:txBody>
                  </p:sp>
                </p:grpSp>
                <p:grpSp>
                  <p:nvGrpSpPr>
                    <p:cNvPr id="964" name="Graphic 48">
                      <a:extLst>
                        <a:ext uri="{FF2B5EF4-FFF2-40B4-BE49-F238E27FC236}">
                          <a16:creationId xmlns:a16="http://schemas.microsoft.com/office/drawing/2014/main" id="{C4F93484-4318-41D1-B091-34AFB6A7A6E0}"/>
                        </a:ext>
                      </a:extLst>
                    </p:cNvPr>
                    <p:cNvGrpSpPr/>
                    <p:nvPr/>
                  </p:nvGrpSpPr>
                  <p:grpSpPr>
                    <a:xfrm>
                      <a:off x="3959468" y="1690487"/>
                      <a:ext cx="120871" cy="86932"/>
                      <a:chOff x="3959468" y="1690487"/>
                      <a:chExt cx="120871" cy="86932"/>
                    </a:xfrm>
                    <a:solidFill>
                      <a:schemeClr val="accent1"/>
                    </a:solidFill>
                  </p:grpSpPr>
                  <p:sp>
                    <p:nvSpPr>
                      <p:cNvPr id="968" name="Freeform: Shape 967">
                        <a:extLst>
                          <a:ext uri="{FF2B5EF4-FFF2-40B4-BE49-F238E27FC236}">
                            <a16:creationId xmlns:a16="http://schemas.microsoft.com/office/drawing/2014/main" id="{685BA0CA-1539-49F7-9090-12A612EF6F2A}"/>
                          </a:ext>
                        </a:extLst>
                      </p:cNvPr>
                      <p:cNvSpPr/>
                      <p:nvPr/>
                    </p:nvSpPr>
                    <p:spPr>
                      <a:xfrm>
                        <a:off x="4004666" y="1690487"/>
                        <a:ext cx="75673" cy="86932"/>
                      </a:xfrm>
                      <a:custGeom>
                        <a:avLst/>
                        <a:gdLst>
                          <a:gd name="connsiteX0" fmla="*/ 44429 w 75673"/>
                          <a:gd name="connsiteY0" fmla="*/ 86933 h 86932"/>
                          <a:gd name="connsiteX1" fmla="*/ 0 w 75673"/>
                          <a:gd name="connsiteY1" fmla="*/ 43329 h 86932"/>
                          <a:gd name="connsiteX2" fmla="*/ 43329 w 75673"/>
                          <a:gd name="connsiteY2" fmla="*/ 0 h 86932"/>
                          <a:gd name="connsiteX3" fmla="*/ 75673 w 75673"/>
                          <a:gd name="connsiteY3" fmla="*/ 43329 h 86932"/>
                          <a:gd name="connsiteX4" fmla="*/ 44429 w 75673"/>
                          <a:gd name="connsiteY4" fmla="*/ 86933 h 86932"/>
                          <a:gd name="connsiteX5" fmla="*/ 43329 w 75673"/>
                          <a:gd name="connsiteY5" fmla="*/ 22931 h 86932"/>
                          <a:gd name="connsiteX6" fmla="*/ 22931 w 75673"/>
                          <a:gd name="connsiteY6" fmla="*/ 43329 h 86932"/>
                          <a:gd name="connsiteX7" fmla="*/ 44429 w 75673"/>
                          <a:gd name="connsiteY7" fmla="*/ 64001 h 86932"/>
                          <a:gd name="connsiteX8" fmla="*/ 52742 w 75673"/>
                          <a:gd name="connsiteY8" fmla="*/ 43329 h 86932"/>
                          <a:gd name="connsiteX9" fmla="*/ 43329 w 75673"/>
                          <a:gd name="connsiteY9" fmla="*/ 22931 h 8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673" h="86932">
                            <a:moveTo>
                              <a:pt x="44429" y="86933"/>
                            </a:moveTo>
                            <a:cubicBezTo>
                              <a:pt x="22840" y="86933"/>
                              <a:pt x="0" y="64517"/>
                              <a:pt x="0" y="43329"/>
                            </a:cubicBezTo>
                            <a:cubicBezTo>
                              <a:pt x="0" y="21865"/>
                              <a:pt x="21865" y="0"/>
                              <a:pt x="43329" y="0"/>
                            </a:cubicBezTo>
                            <a:cubicBezTo>
                              <a:pt x="62373" y="0"/>
                              <a:pt x="75673" y="17818"/>
                              <a:pt x="75673" y="43329"/>
                            </a:cubicBezTo>
                            <a:cubicBezTo>
                              <a:pt x="75673" y="69814"/>
                              <a:pt x="63405" y="86933"/>
                              <a:pt x="44429" y="86933"/>
                            </a:cubicBezTo>
                            <a:close/>
                            <a:moveTo>
                              <a:pt x="43329" y="22931"/>
                            </a:moveTo>
                            <a:cubicBezTo>
                              <a:pt x="35268" y="22931"/>
                              <a:pt x="22931" y="33870"/>
                              <a:pt x="22931" y="43329"/>
                            </a:cubicBezTo>
                            <a:cubicBezTo>
                              <a:pt x="22931" y="52455"/>
                              <a:pt x="36266" y="64001"/>
                              <a:pt x="44429" y="64001"/>
                            </a:cubicBezTo>
                            <a:cubicBezTo>
                              <a:pt x="50529" y="64001"/>
                              <a:pt x="52742" y="51630"/>
                              <a:pt x="52742" y="43329"/>
                            </a:cubicBezTo>
                            <a:cubicBezTo>
                              <a:pt x="52742" y="35440"/>
                              <a:pt x="50185" y="22931"/>
                              <a:pt x="43329" y="22931"/>
                            </a:cubicBezTo>
                            <a:close/>
                          </a:path>
                        </a:pathLst>
                      </a:custGeom>
                      <a:solidFill>
                        <a:schemeClr val="accent1"/>
                      </a:solidFill>
                      <a:ln w="1145" cap="flat">
                        <a:noFill/>
                        <a:prstDash val="solid"/>
                        <a:miter/>
                      </a:ln>
                    </p:spPr>
                    <p:txBody>
                      <a:bodyPr rtlCol="0" anchor="ctr"/>
                      <a:lstStyle/>
                      <a:p>
                        <a:endParaRPr lang="en-GB" dirty="0"/>
                      </a:p>
                    </p:txBody>
                  </p:sp>
                  <p:sp>
                    <p:nvSpPr>
                      <p:cNvPr id="969" name="Freeform: Shape 968">
                        <a:extLst>
                          <a:ext uri="{FF2B5EF4-FFF2-40B4-BE49-F238E27FC236}">
                            <a16:creationId xmlns:a16="http://schemas.microsoft.com/office/drawing/2014/main" id="{2E9EEF07-B0DA-4D62-9CB9-37D89517D497}"/>
                          </a:ext>
                        </a:extLst>
                      </p:cNvPr>
                      <p:cNvSpPr/>
                      <p:nvPr/>
                    </p:nvSpPr>
                    <p:spPr>
                      <a:xfrm>
                        <a:off x="3959468" y="1722327"/>
                        <a:ext cx="68128" cy="22931"/>
                      </a:xfrm>
                      <a:custGeom>
                        <a:avLst/>
                        <a:gdLst>
                          <a:gd name="connsiteX0" fmla="*/ 56663 w 68128"/>
                          <a:gd name="connsiteY0" fmla="*/ 22931 h 22931"/>
                          <a:gd name="connsiteX1" fmla="*/ 11466 w 68128"/>
                          <a:gd name="connsiteY1" fmla="*/ 22931 h 22931"/>
                          <a:gd name="connsiteX2" fmla="*/ 0 w 68128"/>
                          <a:gd name="connsiteY2" fmla="*/ 11466 h 22931"/>
                          <a:gd name="connsiteX3" fmla="*/ 11466 w 68128"/>
                          <a:gd name="connsiteY3" fmla="*/ 0 h 22931"/>
                          <a:gd name="connsiteX4" fmla="*/ 56663 w 68128"/>
                          <a:gd name="connsiteY4" fmla="*/ 0 h 22931"/>
                          <a:gd name="connsiteX5" fmla="*/ 68129 w 68128"/>
                          <a:gd name="connsiteY5" fmla="*/ 11466 h 22931"/>
                          <a:gd name="connsiteX6" fmla="*/ 56663 w 68128"/>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28" h="22931">
                            <a:moveTo>
                              <a:pt x="56663" y="22931"/>
                            </a:moveTo>
                            <a:lnTo>
                              <a:pt x="11466" y="22931"/>
                            </a:lnTo>
                            <a:cubicBezTo>
                              <a:pt x="5137" y="22931"/>
                              <a:pt x="0" y="17795"/>
                              <a:pt x="0" y="11466"/>
                            </a:cubicBezTo>
                            <a:cubicBezTo>
                              <a:pt x="0" y="5137"/>
                              <a:pt x="5137" y="0"/>
                              <a:pt x="11466" y="0"/>
                            </a:cubicBezTo>
                            <a:lnTo>
                              <a:pt x="56663" y="0"/>
                            </a:lnTo>
                            <a:cubicBezTo>
                              <a:pt x="62992" y="0"/>
                              <a:pt x="68129" y="5137"/>
                              <a:pt x="68129" y="11466"/>
                            </a:cubicBezTo>
                            <a:cubicBezTo>
                              <a:pt x="68129" y="17795"/>
                              <a:pt x="62992" y="22931"/>
                              <a:pt x="56663"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965" name="Graphic 48">
                      <a:extLst>
                        <a:ext uri="{FF2B5EF4-FFF2-40B4-BE49-F238E27FC236}">
                          <a16:creationId xmlns:a16="http://schemas.microsoft.com/office/drawing/2014/main" id="{0B387575-32B3-49DD-B539-02B7F82FF897}"/>
                        </a:ext>
                      </a:extLst>
                    </p:cNvPr>
                    <p:cNvGrpSpPr/>
                    <p:nvPr/>
                  </p:nvGrpSpPr>
                  <p:grpSpPr>
                    <a:xfrm>
                      <a:off x="3783963" y="1480562"/>
                      <a:ext cx="86932" cy="120871"/>
                      <a:chOff x="3783963" y="1480562"/>
                      <a:chExt cx="86932" cy="120871"/>
                    </a:xfrm>
                    <a:solidFill>
                      <a:schemeClr val="accent1"/>
                    </a:solidFill>
                  </p:grpSpPr>
                  <p:sp>
                    <p:nvSpPr>
                      <p:cNvPr id="966" name="Freeform: Shape 965">
                        <a:extLst>
                          <a:ext uri="{FF2B5EF4-FFF2-40B4-BE49-F238E27FC236}">
                            <a16:creationId xmlns:a16="http://schemas.microsoft.com/office/drawing/2014/main" id="{1F859970-C4DF-4967-BA4E-25849C4AE924}"/>
                          </a:ext>
                        </a:extLst>
                      </p:cNvPr>
                      <p:cNvSpPr/>
                      <p:nvPr/>
                    </p:nvSpPr>
                    <p:spPr>
                      <a:xfrm>
                        <a:off x="3783963" y="1480562"/>
                        <a:ext cx="86932" cy="75673"/>
                      </a:xfrm>
                      <a:custGeom>
                        <a:avLst/>
                        <a:gdLst>
                          <a:gd name="connsiteX0" fmla="*/ 43604 w 86932"/>
                          <a:gd name="connsiteY0" fmla="*/ 75673 h 75673"/>
                          <a:gd name="connsiteX1" fmla="*/ 0 w 86932"/>
                          <a:gd name="connsiteY1" fmla="*/ 31244 h 75673"/>
                          <a:gd name="connsiteX2" fmla="*/ 43604 w 86932"/>
                          <a:gd name="connsiteY2" fmla="*/ 0 h 75673"/>
                          <a:gd name="connsiteX3" fmla="*/ 86933 w 86932"/>
                          <a:gd name="connsiteY3" fmla="*/ 32345 h 75673"/>
                          <a:gd name="connsiteX4" fmla="*/ 43604 w 86932"/>
                          <a:gd name="connsiteY4" fmla="*/ 75673 h 75673"/>
                          <a:gd name="connsiteX5" fmla="*/ 43604 w 86932"/>
                          <a:gd name="connsiteY5" fmla="*/ 22931 h 75673"/>
                          <a:gd name="connsiteX6" fmla="*/ 22931 w 86932"/>
                          <a:gd name="connsiteY6" fmla="*/ 31244 h 75673"/>
                          <a:gd name="connsiteX7" fmla="*/ 43604 w 86932"/>
                          <a:gd name="connsiteY7" fmla="*/ 52742 h 75673"/>
                          <a:gd name="connsiteX8" fmla="*/ 64001 w 86932"/>
                          <a:gd name="connsiteY8" fmla="*/ 32345 h 75673"/>
                          <a:gd name="connsiteX9" fmla="*/ 43604 w 86932"/>
                          <a:gd name="connsiteY9" fmla="*/ 22931 h 7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932" h="75673">
                            <a:moveTo>
                              <a:pt x="43604" y="75673"/>
                            </a:moveTo>
                            <a:cubicBezTo>
                              <a:pt x="22415" y="75673"/>
                              <a:pt x="0" y="52834"/>
                              <a:pt x="0" y="31244"/>
                            </a:cubicBezTo>
                            <a:cubicBezTo>
                              <a:pt x="0" y="12268"/>
                              <a:pt x="17118" y="0"/>
                              <a:pt x="43604" y="0"/>
                            </a:cubicBezTo>
                            <a:cubicBezTo>
                              <a:pt x="69115" y="0"/>
                              <a:pt x="86933" y="13300"/>
                              <a:pt x="86933" y="32345"/>
                            </a:cubicBezTo>
                            <a:cubicBezTo>
                              <a:pt x="86933" y="53808"/>
                              <a:pt x="65068" y="75673"/>
                              <a:pt x="43604" y="75673"/>
                            </a:cubicBezTo>
                            <a:close/>
                            <a:moveTo>
                              <a:pt x="43604" y="22931"/>
                            </a:moveTo>
                            <a:cubicBezTo>
                              <a:pt x="35291" y="22931"/>
                              <a:pt x="22931" y="25144"/>
                              <a:pt x="22931" y="31244"/>
                            </a:cubicBezTo>
                            <a:cubicBezTo>
                              <a:pt x="22931" y="39408"/>
                              <a:pt x="34477" y="52742"/>
                              <a:pt x="43604" y="52742"/>
                            </a:cubicBezTo>
                            <a:cubicBezTo>
                              <a:pt x="53063" y="52742"/>
                              <a:pt x="64001" y="40394"/>
                              <a:pt x="64001" y="32345"/>
                            </a:cubicBezTo>
                            <a:cubicBezTo>
                              <a:pt x="64001" y="25488"/>
                              <a:pt x="51492" y="22931"/>
                              <a:pt x="43604" y="22931"/>
                            </a:cubicBezTo>
                            <a:close/>
                          </a:path>
                        </a:pathLst>
                      </a:custGeom>
                      <a:solidFill>
                        <a:schemeClr val="accent1"/>
                      </a:solidFill>
                      <a:ln w="1145" cap="flat">
                        <a:noFill/>
                        <a:prstDash val="solid"/>
                        <a:miter/>
                      </a:ln>
                    </p:spPr>
                    <p:txBody>
                      <a:bodyPr rtlCol="0" anchor="ctr"/>
                      <a:lstStyle/>
                      <a:p>
                        <a:endParaRPr lang="en-GB" dirty="0"/>
                      </a:p>
                    </p:txBody>
                  </p:sp>
                  <p:sp>
                    <p:nvSpPr>
                      <p:cNvPr id="967" name="Freeform: Shape 966">
                        <a:extLst>
                          <a:ext uri="{FF2B5EF4-FFF2-40B4-BE49-F238E27FC236}">
                            <a16:creationId xmlns:a16="http://schemas.microsoft.com/office/drawing/2014/main" id="{D3720AC5-720B-4FC2-B741-EE8B130DFA59}"/>
                          </a:ext>
                        </a:extLst>
                      </p:cNvPr>
                      <p:cNvSpPr/>
                      <p:nvPr/>
                    </p:nvSpPr>
                    <p:spPr>
                      <a:xfrm>
                        <a:off x="3816125" y="1533304"/>
                        <a:ext cx="22931" cy="68128"/>
                      </a:xfrm>
                      <a:custGeom>
                        <a:avLst/>
                        <a:gdLst>
                          <a:gd name="connsiteX0" fmla="*/ 11466 w 22931"/>
                          <a:gd name="connsiteY0" fmla="*/ 68129 h 68128"/>
                          <a:gd name="connsiteX1" fmla="*/ 0 w 22931"/>
                          <a:gd name="connsiteY1" fmla="*/ 56663 h 68128"/>
                          <a:gd name="connsiteX2" fmla="*/ 0 w 22931"/>
                          <a:gd name="connsiteY2" fmla="*/ 11466 h 68128"/>
                          <a:gd name="connsiteX3" fmla="*/ 11466 w 22931"/>
                          <a:gd name="connsiteY3" fmla="*/ 0 h 68128"/>
                          <a:gd name="connsiteX4" fmla="*/ 22931 w 22931"/>
                          <a:gd name="connsiteY4" fmla="*/ 11466 h 68128"/>
                          <a:gd name="connsiteX5" fmla="*/ 22931 w 22931"/>
                          <a:gd name="connsiteY5" fmla="*/ 56663 h 68128"/>
                          <a:gd name="connsiteX6" fmla="*/ 11466 w 22931"/>
                          <a:gd name="connsiteY6" fmla="*/ 68129 h 6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8128">
                            <a:moveTo>
                              <a:pt x="11466" y="68129"/>
                            </a:moveTo>
                            <a:cubicBezTo>
                              <a:pt x="5137" y="68129"/>
                              <a:pt x="0" y="62992"/>
                              <a:pt x="0" y="56663"/>
                            </a:cubicBezTo>
                            <a:lnTo>
                              <a:pt x="0" y="11466"/>
                            </a:lnTo>
                            <a:cubicBezTo>
                              <a:pt x="0" y="5137"/>
                              <a:pt x="5137" y="0"/>
                              <a:pt x="11466" y="0"/>
                            </a:cubicBezTo>
                            <a:cubicBezTo>
                              <a:pt x="17795" y="0"/>
                              <a:pt x="22931" y="5137"/>
                              <a:pt x="22931" y="11466"/>
                            </a:cubicBezTo>
                            <a:lnTo>
                              <a:pt x="22931" y="56663"/>
                            </a:lnTo>
                            <a:cubicBezTo>
                              <a:pt x="22931" y="63004"/>
                              <a:pt x="17795" y="68129"/>
                              <a:pt x="11466" y="68129"/>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945" name="Graphic 48">
                    <a:extLst>
                      <a:ext uri="{FF2B5EF4-FFF2-40B4-BE49-F238E27FC236}">
                        <a16:creationId xmlns:a16="http://schemas.microsoft.com/office/drawing/2014/main" id="{8A848B75-9ED4-4919-8589-E5F896328B6E}"/>
                      </a:ext>
                    </a:extLst>
                  </p:cNvPr>
                  <p:cNvGrpSpPr/>
                  <p:nvPr/>
                </p:nvGrpSpPr>
                <p:grpSpPr>
                  <a:xfrm>
                    <a:off x="3574325" y="1690200"/>
                    <a:ext cx="296857" cy="296376"/>
                    <a:chOff x="3574325" y="1690200"/>
                    <a:chExt cx="296857" cy="296376"/>
                  </a:xfrm>
                  <a:solidFill>
                    <a:schemeClr val="accent1"/>
                  </a:solidFill>
                </p:grpSpPr>
                <p:grpSp>
                  <p:nvGrpSpPr>
                    <p:cNvPr id="954" name="Graphic 48">
                      <a:extLst>
                        <a:ext uri="{FF2B5EF4-FFF2-40B4-BE49-F238E27FC236}">
                          <a16:creationId xmlns:a16="http://schemas.microsoft.com/office/drawing/2014/main" id="{B8892D8B-3520-441D-9454-BC55A13D6AD5}"/>
                        </a:ext>
                      </a:extLst>
                    </p:cNvPr>
                    <p:cNvGrpSpPr/>
                    <p:nvPr/>
                  </p:nvGrpSpPr>
                  <p:grpSpPr>
                    <a:xfrm>
                      <a:off x="3632533" y="1823554"/>
                      <a:ext cx="104871" cy="105704"/>
                      <a:chOff x="3632533" y="1823554"/>
                      <a:chExt cx="104871" cy="105704"/>
                    </a:xfrm>
                    <a:solidFill>
                      <a:schemeClr val="accent1"/>
                    </a:solidFill>
                  </p:grpSpPr>
                  <p:sp>
                    <p:nvSpPr>
                      <p:cNvPr id="961" name="Freeform: Shape 960">
                        <a:extLst>
                          <a:ext uri="{FF2B5EF4-FFF2-40B4-BE49-F238E27FC236}">
                            <a16:creationId xmlns:a16="http://schemas.microsoft.com/office/drawing/2014/main" id="{510861C6-DCD6-4410-94EB-14485E3B1A02}"/>
                          </a:ext>
                        </a:extLst>
                      </p:cNvPr>
                      <p:cNvSpPr/>
                      <p:nvPr/>
                    </p:nvSpPr>
                    <p:spPr>
                      <a:xfrm>
                        <a:off x="3632533" y="1847566"/>
                        <a:ext cx="80603" cy="81692"/>
                      </a:xfrm>
                      <a:custGeom>
                        <a:avLst/>
                        <a:gdLst>
                          <a:gd name="connsiteX0" fmla="*/ 49638 w 80603"/>
                          <a:gd name="connsiteY0" fmla="*/ 81693 h 81692"/>
                          <a:gd name="connsiteX1" fmla="*/ 16055 w 80603"/>
                          <a:gd name="connsiteY1" fmla="*/ 64838 h 81692"/>
                          <a:gd name="connsiteX2" fmla="*/ 8281 w 80603"/>
                          <a:gd name="connsiteY2" fmla="*/ 11328 h 81692"/>
                          <a:gd name="connsiteX3" fmla="*/ 38574 w 80603"/>
                          <a:gd name="connsiteY3" fmla="*/ 0 h 81692"/>
                          <a:gd name="connsiteX4" fmla="*/ 69565 w 80603"/>
                          <a:gd name="connsiteY4" fmla="*/ 11328 h 81692"/>
                          <a:gd name="connsiteX5" fmla="*/ 80584 w 80603"/>
                          <a:gd name="connsiteY5" fmla="*/ 42985 h 81692"/>
                          <a:gd name="connsiteX6" fmla="*/ 68969 w 80603"/>
                          <a:gd name="connsiteY6" fmla="*/ 73575 h 81692"/>
                          <a:gd name="connsiteX7" fmla="*/ 68969 w 80603"/>
                          <a:gd name="connsiteY7" fmla="*/ 73575 h 81692"/>
                          <a:gd name="connsiteX8" fmla="*/ 68969 w 80603"/>
                          <a:gd name="connsiteY8" fmla="*/ 73575 h 81692"/>
                          <a:gd name="connsiteX9" fmla="*/ 49638 w 80603"/>
                          <a:gd name="connsiteY9" fmla="*/ 81693 h 81692"/>
                          <a:gd name="connsiteX10" fmla="*/ 39078 w 80603"/>
                          <a:gd name="connsiteY10" fmla="*/ 22931 h 81692"/>
                          <a:gd name="connsiteX11" fmla="*/ 38792 w 80603"/>
                          <a:gd name="connsiteY11" fmla="*/ 22931 h 81692"/>
                          <a:gd name="connsiteX12" fmla="*/ 24494 w 80603"/>
                          <a:gd name="connsiteY12" fmla="*/ 27541 h 81692"/>
                          <a:gd name="connsiteX13" fmla="*/ 32268 w 80603"/>
                          <a:gd name="connsiteY13" fmla="*/ 48614 h 81692"/>
                          <a:gd name="connsiteX14" fmla="*/ 52757 w 80603"/>
                          <a:gd name="connsiteY14" fmla="*/ 57351 h 81692"/>
                          <a:gd name="connsiteX15" fmla="*/ 52757 w 80603"/>
                          <a:gd name="connsiteY15" fmla="*/ 57351 h 81692"/>
                          <a:gd name="connsiteX16" fmla="*/ 57664 w 80603"/>
                          <a:gd name="connsiteY16" fmla="*/ 42400 h 81692"/>
                          <a:gd name="connsiteX17" fmla="*/ 53342 w 80603"/>
                          <a:gd name="connsiteY17" fmla="*/ 27552 h 81692"/>
                          <a:gd name="connsiteX18" fmla="*/ 39078 w 80603"/>
                          <a:gd name="connsiteY18" fmla="*/ 22931 h 81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0603" h="81692">
                            <a:moveTo>
                              <a:pt x="49638" y="81693"/>
                            </a:moveTo>
                            <a:cubicBezTo>
                              <a:pt x="39032" y="81693"/>
                              <a:pt x="27188" y="75960"/>
                              <a:pt x="16055" y="64838"/>
                            </a:cubicBezTo>
                            <a:cubicBezTo>
                              <a:pt x="-1980" y="46791"/>
                              <a:pt x="-5179" y="24789"/>
                              <a:pt x="8281" y="11328"/>
                            </a:cubicBezTo>
                            <a:cubicBezTo>
                              <a:pt x="15367" y="4242"/>
                              <a:pt x="26409" y="115"/>
                              <a:pt x="38574" y="0"/>
                            </a:cubicBezTo>
                            <a:cubicBezTo>
                              <a:pt x="50739" y="115"/>
                              <a:pt x="62239" y="4024"/>
                              <a:pt x="69565" y="11328"/>
                            </a:cubicBezTo>
                            <a:cubicBezTo>
                              <a:pt x="76892" y="18666"/>
                              <a:pt x="80916" y="30201"/>
                              <a:pt x="80584" y="42985"/>
                            </a:cubicBezTo>
                            <a:cubicBezTo>
                              <a:pt x="80274" y="55368"/>
                              <a:pt x="76043" y="66512"/>
                              <a:pt x="68969" y="73575"/>
                            </a:cubicBezTo>
                            <a:lnTo>
                              <a:pt x="68969" y="73575"/>
                            </a:lnTo>
                            <a:cubicBezTo>
                              <a:pt x="68969" y="73575"/>
                              <a:pt x="68969" y="73575"/>
                              <a:pt x="68969" y="73575"/>
                            </a:cubicBezTo>
                            <a:cubicBezTo>
                              <a:pt x="63535" y="79021"/>
                              <a:pt x="56873" y="81693"/>
                              <a:pt x="49638" y="81693"/>
                            </a:cubicBezTo>
                            <a:close/>
                            <a:moveTo>
                              <a:pt x="39078" y="22931"/>
                            </a:moveTo>
                            <a:cubicBezTo>
                              <a:pt x="38986" y="22931"/>
                              <a:pt x="38883" y="22931"/>
                              <a:pt x="38792" y="22931"/>
                            </a:cubicBezTo>
                            <a:cubicBezTo>
                              <a:pt x="32852" y="22989"/>
                              <a:pt x="27246" y="24800"/>
                              <a:pt x="24494" y="27541"/>
                            </a:cubicBezTo>
                            <a:cubicBezTo>
                              <a:pt x="19655" y="32379"/>
                              <a:pt x="26695" y="43042"/>
                              <a:pt x="32268" y="48614"/>
                            </a:cubicBezTo>
                            <a:cubicBezTo>
                              <a:pt x="38138" y="54485"/>
                              <a:pt x="48446" y="61685"/>
                              <a:pt x="52757" y="57351"/>
                            </a:cubicBezTo>
                            <a:cubicBezTo>
                              <a:pt x="52757" y="57351"/>
                              <a:pt x="52757" y="57351"/>
                              <a:pt x="52757" y="57351"/>
                            </a:cubicBezTo>
                            <a:cubicBezTo>
                              <a:pt x="55531" y="54577"/>
                              <a:pt x="57504" y="48569"/>
                              <a:pt x="57664" y="42400"/>
                            </a:cubicBezTo>
                            <a:cubicBezTo>
                              <a:pt x="57825" y="36059"/>
                              <a:pt x="56174" y="30373"/>
                              <a:pt x="53342" y="27552"/>
                            </a:cubicBezTo>
                            <a:cubicBezTo>
                              <a:pt x="50487" y="24686"/>
                              <a:pt x="45040" y="22931"/>
                              <a:pt x="39078" y="22931"/>
                            </a:cubicBezTo>
                            <a:close/>
                          </a:path>
                        </a:pathLst>
                      </a:custGeom>
                      <a:solidFill>
                        <a:schemeClr val="accent1"/>
                      </a:solidFill>
                      <a:ln w="1145" cap="flat">
                        <a:noFill/>
                        <a:prstDash val="solid"/>
                        <a:miter/>
                      </a:ln>
                    </p:spPr>
                    <p:txBody>
                      <a:bodyPr rtlCol="0" anchor="ctr"/>
                      <a:lstStyle/>
                      <a:p>
                        <a:endParaRPr lang="en-GB" dirty="0"/>
                      </a:p>
                    </p:txBody>
                  </p:sp>
                  <p:sp>
                    <p:nvSpPr>
                      <p:cNvPr id="962" name="Freeform: Shape 961">
                        <a:extLst>
                          <a:ext uri="{FF2B5EF4-FFF2-40B4-BE49-F238E27FC236}">
                            <a16:creationId xmlns:a16="http://schemas.microsoft.com/office/drawing/2014/main" id="{B172E940-4074-4420-9D39-579A08EA5942}"/>
                          </a:ext>
                        </a:extLst>
                      </p:cNvPr>
                      <p:cNvSpPr/>
                      <p:nvPr/>
                    </p:nvSpPr>
                    <p:spPr>
                      <a:xfrm>
                        <a:off x="3682501" y="1823554"/>
                        <a:ext cx="54903" cy="54900"/>
                      </a:xfrm>
                      <a:custGeom>
                        <a:avLst/>
                        <a:gdLst>
                          <a:gd name="connsiteX0" fmla="*/ 11469 w 54903"/>
                          <a:gd name="connsiteY0" fmla="*/ 54900 h 54900"/>
                          <a:gd name="connsiteX1" fmla="*/ 3362 w 54903"/>
                          <a:gd name="connsiteY1" fmla="*/ 51541 h 54900"/>
                          <a:gd name="connsiteX2" fmla="*/ 3362 w 54903"/>
                          <a:gd name="connsiteY2" fmla="*/ 35329 h 54900"/>
                          <a:gd name="connsiteX3" fmla="*/ 35329 w 54903"/>
                          <a:gd name="connsiteY3" fmla="*/ 3362 h 54900"/>
                          <a:gd name="connsiteX4" fmla="*/ 51541 w 54903"/>
                          <a:gd name="connsiteY4" fmla="*/ 3362 h 54900"/>
                          <a:gd name="connsiteX5" fmla="*/ 51541 w 54903"/>
                          <a:gd name="connsiteY5" fmla="*/ 19575 h 54900"/>
                          <a:gd name="connsiteX6" fmla="*/ 19575 w 54903"/>
                          <a:gd name="connsiteY6" fmla="*/ 51541 h 54900"/>
                          <a:gd name="connsiteX7" fmla="*/ 11469 w 54903"/>
                          <a:gd name="connsiteY7" fmla="*/ 54900 h 5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903" h="54900">
                            <a:moveTo>
                              <a:pt x="11469" y="54900"/>
                            </a:moveTo>
                            <a:cubicBezTo>
                              <a:pt x="8533" y="54900"/>
                              <a:pt x="5598" y="53777"/>
                              <a:pt x="3362" y="51541"/>
                            </a:cubicBezTo>
                            <a:cubicBezTo>
                              <a:pt x="-1121" y="47058"/>
                              <a:pt x="-1121" y="39812"/>
                              <a:pt x="3362" y="35329"/>
                            </a:cubicBezTo>
                            <a:lnTo>
                              <a:pt x="35329" y="3362"/>
                            </a:lnTo>
                            <a:cubicBezTo>
                              <a:pt x="39812" y="-1121"/>
                              <a:pt x="47058" y="-1121"/>
                              <a:pt x="51541" y="3362"/>
                            </a:cubicBezTo>
                            <a:cubicBezTo>
                              <a:pt x="56024" y="7845"/>
                              <a:pt x="56024" y="15092"/>
                              <a:pt x="51541" y="19575"/>
                            </a:cubicBezTo>
                            <a:lnTo>
                              <a:pt x="19575" y="51541"/>
                            </a:lnTo>
                            <a:cubicBezTo>
                              <a:pt x="17339" y="53777"/>
                              <a:pt x="14404" y="54900"/>
                              <a:pt x="11469" y="54900"/>
                            </a:cubicBezTo>
                            <a:close/>
                          </a:path>
                        </a:pathLst>
                      </a:custGeom>
                      <a:solidFill>
                        <a:schemeClr val="accent1"/>
                      </a:solidFill>
                      <a:ln w="1145" cap="flat">
                        <a:noFill/>
                        <a:prstDash val="solid"/>
                        <a:miter/>
                      </a:ln>
                    </p:spPr>
                    <p:txBody>
                      <a:bodyPr rtlCol="0" anchor="ctr"/>
                      <a:lstStyle/>
                      <a:p>
                        <a:endParaRPr lang="en-GB" dirty="0"/>
                      </a:p>
                    </p:txBody>
                  </p:sp>
                </p:grpSp>
                <p:grpSp>
                  <p:nvGrpSpPr>
                    <p:cNvPr id="955" name="Graphic 48">
                      <a:extLst>
                        <a:ext uri="{FF2B5EF4-FFF2-40B4-BE49-F238E27FC236}">
                          <a16:creationId xmlns:a16="http://schemas.microsoft.com/office/drawing/2014/main" id="{597D24DC-82C0-42AC-8D12-BB8DD7FA64AC}"/>
                        </a:ext>
                      </a:extLst>
                    </p:cNvPr>
                    <p:cNvGrpSpPr/>
                    <p:nvPr/>
                  </p:nvGrpSpPr>
                  <p:grpSpPr>
                    <a:xfrm>
                      <a:off x="3784250" y="1865705"/>
                      <a:ext cx="86932" cy="120871"/>
                      <a:chOff x="3784250" y="1865705"/>
                      <a:chExt cx="86932" cy="120871"/>
                    </a:xfrm>
                    <a:solidFill>
                      <a:schemeClr val="accent1"/>
                    </a:solidFill>
                  </p:grpSpPr>
                  <p:sp>
                    <p:nvSpPr>
                      <p:cNvPr id="959" name="Freeform: Shape 958">
                        <a:extLst>
                          <a:ext uri="{FF2B5EF4-FFF2-40B4-BE49-F238E27FC236}">
                            <a16:creationId xmlns:a16="http://schemas.microsoft.com/office/drawing/2014/main" id="{8182F92D-DBDC-4002-BD90-B30A1FC6D739}"/>
                          </a:ext>
                        </a:extLst>
                      </p:cNvPr>
                      <p:cNvSpPr/>
                      <p:nvPr/>
                    </p:nvSpPr>
                    <p:spPr>
                      <a:xfrm>
                        <a:off x="3784250" y="1910903"/>
                        <a:ext cx="86932" cy="75673"/>
                      </a:xfrm>
                      <a:custGeom>
                        <a:avLst/>
                        <a:gdLst>
                          <a:gd name="connsiteX0" fmla="*/ 43329 w 86932"/>
                          <a:gd name="connsiteY0" fmla="*/ 75673 h 75673"/>
                          <a:gd name="connsiteX1" fmla="*/ 0 w 86932"/>
                          <a:gd name="connsiteY1" fmla="*/ 43329 h 75673"/>
                          <a:gd name="connsiteX2" fmla="*/ 43329 w 86932"/>
                          <a:gd name="connsiteY2" fmla="*/ 0 h 75673"/>
                          <a:gd name="connsiteX3" fmla="*/ 86933 w 86932"/>
                          <a:gd name="connsiteY3" fmla="*/ 44429 h 75673"/>
                          <a:gd name="connsiteX4" fmla="*/ 43329 w 86932"/>
                          <a:gd name="connsiteY4" fmla="*/ 75673 h 75673"/>
                          <a:gd name="connsiteX5" fmla="*/ 43329 w 86932"/>
                          <a:gd name="connsiteY5" fmla="*/ 22943 h 75673"/>
                          <a:gd name="connsiteX6" fmla="*/ 22931 w 86932"/>
                          <a:gd name="connsiteY6" fmla="*/ 43340 h 75673"/>
                          <a:gd name="connsiteX7" fmla="*/ 43329 w 86932"/>
                          <a:gd name="connsiteY7" fmla="*/ 52754 h 75673"/>
                          <a:gd name="connsiteX8" fmla="*/ 64001 w 86932"/>
                          <a:gd name="connsiteY8" fmla="*/ 44441 h 75673"/>
                          <a:gd name="connsiteX9" fmla="*/ 43329 w 86932"/>
                          <a:gd name="connsiteY9" fmla="*/ 22943 h 75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932" h="75673">
                            <a:moveTo>
                              <a:pt x="43329" y="75673"/>
                            </a:moveTo>
                            <a:cubicBezTo>
                              <a:pt x="17818" y="75673"/>
                              <a:pt x="0" y="62373"/>
                              <a:pt x="0" y="43329"/>
                            </a:cubicBezTo>
                            <a:cubicBezTo>
                              <a:pt x="0" y="21865"/>
                              <a:pt x="21865" y="0"/>
                              <a:pt x="43329" y="0"/>
                            </a:cubicBezTo>
                            <a:cubicBezTo>
                              <a:pt x="64517" y="0"/>
                              <a:pt x="86933" y="22840"/>
                              <a:pt x="86933" y="44429"/>
                            </a:cubicBezTo>
                            <a:cubicBezTo>
                              <a:pt x="86921" y="63405"/>
                              <a:pt x="69814" y="75673"/>
                              <a:pt x="43329" y="75673"/>
                            </a:cubicBezTo>
                            <a:close/>
                            <a:moveTo>
                              <a:pt x="43329" y="22943"/>
                            </a:moveTo>
                            <a:cubicBezTo>
                              <a:pt x="33870" y="22943"/>
                              <a:pt x="22931" y="35291"/>
                              <a:pt x="22931" y="43340"/>
                            </a:cubicBezTo>
                            <a:cubicBezTo>
                              <a:pt x="22931" y="50197"/>
                              <a:pt x="35440" y="52754"/>
                              <a:pt x="43329" y="52754"/>
                            </a:cubicBezTo>
                            <a:cubicBezTo>
                              <a:pt x="51641" y="52754"/>
                              <a:pt x="64001" y="50541"/>
                              <a:pt x="64001" y="44441"/>
                            </a:cubicBezTo>
                            <a:cubicBezTo>
                              <a:pt x="63990" y="36266"/>
                              <a:pt x="52444" y="22943"/>
                              <a:pt x="43329" y="22943"/>
                            </a:cubicBezTo>
                            <a:close/>
                          </a:path>
                        </a:pathLst>
                      </a:custGeom>
                      <a:solidFill>
                        <a:schemeClr val="accent1"/>
                      </a:solidFill>
                      <a:ln w="1145" cap="flat">
                        <a:noFill/>
                        <a:prstDash val="solid"/>
                        <a:miter/>
                      </a:ln>
                    </p:spPr>
                    <p:txBody>
                      <a:bodyPr rtlCol="0" anchor="ctr"/>
                      <a:lstStyle/>
                      <a:p>
                        <a:endParaRPr lang="en-GB" dirty="0"/>
                      </a:p>
                    </p:txBody>
                  </p:sp>
                  <p:sp>
                    <p:nvSpPr>
                      <p:cNvPr id="960" name="Freeform: Shape 959">
                        <a:extLst>
                          <a:ext uri="{FF2B5EF4-FFF2-40B4-BE49-F238E27FC236}">
                            <a16:creationId xmlns:a16="http://schemas.microsoft.com/office/drawing/2014/main" id="{368188EE-50EC-4CE3-A95E-CB1484D4F861}"/>
                          </a:ext>
                        </a:extLst>
                      </p:cNvPr>
                      <p:cNvSpPr/>
                      <p:nvPr/>
                    </p:nvSpPr>
                    <p:spPr>
                      <a:xfrm>
                        <a:off x="3816090" y="1865705"/>
                        <a:ext cx="22931" cy="68140"/>
                      </a:xfrm>
                      <a:custGeom>
                        <a:avLst/>
                        <a:gdLst>
                          <a:gd name="connsiteX0" fmla="*/ 11466 w 22931"/>
                          <a:gd name="connsiteY0" fmla="*/ 68141 h 68140"/>
                          <a:gd name="connsiteX1" fmla="*/ 0 w 22931"/>
                          <a:gd name="connsiteY1" fmla="*/ 56675 h 68140"/>
                          <a:gd name="connsiteX2" fmla="*/ 0 w 22931"/>
                          <a:gd name="connsiteY2" fmla="*/ 11466 h 68140"/>
                          <a:gd name="connsiteX3" fmla="*/ 11466 w 22931"/>
                          <a:gd name="connsiteY3" fmla="*/ 0 h 68140"/>
                          <a:gd name="connsiteX4" fmla="*/ 22931 w 22931"/>
                          <a:gd name="connsiteY4" fmla="*/ 11466 h 68140"/>
                          <a:gd name="connsiteX5" fmla="*/ 22931 w 22931"/>
                          <a:gd name="connsiteY5" fmla="*/ 56675 h 68140"/>
                          <a:gd name="connsiteX6" fmla="*/ 11466 w 22931"/>
                          <a:gd name="connsiteY6" fmla="*/ 68141 h 6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8140">
                            <a:moveTo>
                              <a:pt x="11466" y="68141"/>
                            </a:moveTo>
                            <a:cubicBezTo>
                              <a:pt x="5137" y="68141"/>
                              <a:pt x="0" y="63004"/>
                              <a:pt x="0" y="56675"/>
                            </a:cubicBezTo>
                            <a:lnTo>
                              <a:pt x="0" y="11466"/>
                            </a:lnTo>
                            <a:cubicBezTo>
                              <a:pt x="0" y="5137"/>
                              <a:pt x="5137" y="0"/>
                              <a:pt x="11466" y="0"/>
                            </a:cubicBezTo>
                            <a:cubicBezTo>
                              <a:pt x="17795" y="0"/>
                              <a:pt x="22931" y="5137"/>
                              <a:pt x="22931" y="11466"/>
                            </a:cubicBezTo>
                            <a:lnTo>
                              <a:pt x="22931" y="56675"/>
                            </a:lnTo>
                            <a:cubicBezTo>
                              <a:pt x="22931" y="63004"/>
                              <a:pt x="17795" y="68141"/>
                              <a:pt x="11466" y="68141"/>
                            </a:cubicBezTo>
                            <a:close/>
                          </a:path>
                        </a:pathLst>
                      </a:custGeom>
                      <a:solidFill>
                        <a:schemeClr val="accent1"/>
                      </a:solidFill>
                      <a:ln w="1145" cap="flat">
                        <a:noFill/>
                        <a:prstDash val="solid"/>
                        <a:miter/>
                      </a:ln>
                    </p:spPr>
                    <p:txBody>
                      <a:bodyPr rtlCol="0" anchor="ctr"/>
                      <a:lstStyle/>
                      <a:p>
                        <a:endParaRPr lang="en-GB" dirty="0"/>
                      </a:p>
                    </p:txBody>
                  </p:sp>
                </p:grpSp>
                <p:grpSp>
                  <p:nvGrpSpPr>
                    <p:cNvPr id="956" name="Graphic 48">
                      <a:extLst>
                        <a:ext uri="{FF2B5EF4-FFF2-40B4-BE49-F238E27FC236}">
                          <a16:creationId xmlns:a16="http://schemas.microsoft.com/office/drawing/2014/main" id="{B641B41A-B6F9-4E7D-B559-F930CBAF1FAC}"/>
                        </a:ext>
                      </a:extLst>
                    </p:cNvPr>
                    <p:cNvGrpSpPr/>
                    <p:nvPr/>
                  </p:nvGrpSpPr>
                  <p:grpSpPr>
                    <a:xfrm>
                      <a:off x="3574325" y="1690200"/>
                      <a:ext cx="120871" cy="86932"/>
                      <a:chOff x="3574325" y="1690200"/>
                      <a:chExt cx="120871" cy="86932"/>
                    </a:xfrm>
                    <a:solidFill>
                      <a:schemeClr val="accent1"/>
                    </a:solidFill>
                  </p:grpSpPr>
                  <p:sp>
                    <p:nvSpPr>
                      <p:cNvPr id="957" name="Freeform: Shape 956">
                        <a:extLst>
                          <a:ext uri="{FF2B5EF4-FFF2-40B4-BE49-F238E27FC236}">
                            <a16:creationId xmlns:a16="http://schemas.microsoft.com/office/drawing/2014/main" id="{7446737F-00B1-42C2-B6B1-187B89B16ABA}"/>
                          </a:ext>
                        </a:extLst>
                      </p:cNvPr>
                      <p:cNvSpPr/>
                      <p:nvPr/>
                    </p:nvSpPr>
                    <p:spPr>
                      <a:xfrm>
                        <a:off x="3574325" y="1690200"/>
                        <a:ext cx="75673" cy="86932"/>
                      </a:xfrm>
                      <a:custGeom>
                        <a:avLst/>
                        <a:gdLst>
                          <a:gd name="connsiteX0" fmla="*/ 32345 w 75673"/>
                          <a:gd name="connsiteY0" fmla="*/ 86933 h 86932"/>
                          <a:gd name="connsiteX1" fmla="*/ 0 w 75673"/>
                          <a:gd name="connsiteY1" fmla="*/ 43604 h 86932"/>
                          <a:gd name="connsiteX2" fmla="*/ 31244 w 75673"/>
                          <a:gd name="connsiteY2" fmla="*/ 0 h 86932"/>
                          <a:gd name="connsiteX3" fmla="*/ 75673 w 75673"/>
                          <a:gd name="connsiteY3" fmla="*/ 43604 h 86932"/>
                          <a:gd name="connsiteX4" fmla="*/ 32345 w 75673"/>
                          <a:gd name="connsiteY4" fmla="*/ 86933 h 86932"/>
                          <a:gd name="connsiteX5" fmla="*/ 31244 w 75673"/>
                          <a:gd name="connsiteY5" fmla="*/ 22943 h 86932"/>
                          <a:gd name="connsiteX6" fmla="*/ 22931 w 75673"/>
                          <a:gd name="connsiteY6" fmla="*/ 43615 h 86932"/>
                          <a:gd name="connsiteX7" fmla="*/ 32345 w 75673"/>
                          <a:gd name="connsiteY7" fmla="*/ 64013 h 86932"/>
                          <a:gd name="connsiteX8" fmla="*/ 52742 w 75673"/>
                          <a:gd name="connsiteY8" fmla="*/ 43615 h 86932"/>
                          <a:gd name="connsiteX9" fmla="*/ 31244 w 75673"/>
                          <a:gd name="connsiteY9" fmla="*/ 22943 h 86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5673" h="86932">
                            <a:moveTo>
                              <a:pt x="32345" y="86933"/>
                            </a:moveTo>
                            <a:cubicBezTo>
                              <a:pt x="13300" y="86933"/>
                              <a:pt x="0" y="69115"/>
                              <a:pt x="0" y="43604"/>
                            </a:cubicBezTo>
                            <a:cubicBezTo>
                              <a:pt x="0" y="17118"/>
                              <a:pt x="12268" y="0"/>
                              <a:pt x="31244" y="0"/>
                            </a:cubicBezTo>
                            <a:cubicBezTo>
                              <a:pt x="52834" y="0"/>
                              <a:pt x="75673" y="22415"/>
                              <a:pt x="75673" y="43604"/>
                            </a:cubicBezTo>
                            <a:cubicBezTo>
                              <a:pt x="75673" y="65068"/>
                              <a:pt x="53808" y="86933"/>
                              <a:pt x="32345" y="86933"/>
                            </a:cubicBezTo>
                            <a:close/>
                            <a:moveTo>
                              <a:pt x="31244" y="22943"/>
                            </a:moveTo>
                            <a:cubicBezTo>
                              <a:pt x="25144" y="22943"/>
                              <a:pt x="22931" y="35303"/>
                              <a:pt x="22931" y="43615"/>
                            </a:cubicBezTo>
                            <a:cubicBezTo>
                              <a:pt x="22931" y="51504"/>
                              <a:pt x="25488" y="64013"/>
                              <a:pt x="32345" y="64013"/>
                            </a:cubicBezTo>
                            <a:cubicBezTo>
                              <a:pt x="40405" y="64013"/>
                              <a:pt x="52742" y="53075"/>
                              <a:pt x="52742" y="43615"/>
                            </a:cubicBezTo>
                            <a:cubicBezTo>
                              <a:pt x="52742" y="34489"/>
                              <a:pt x="39408" y="22943"/>
                              <a:pt x="31244" y="22943"/>
                            </a:cubicBezTo>
                            <a:close/>
                          </a:path>
                        </a:pathLst>
                      </a:custGeom>
                      <a:solidFill>
                        <a:schemeClr val="accent1"/>
                      </a:solidFill>
                      <a:ln w="1145" cap="flat">
                        <a:noFill/>
                        <a:prstDash val="solid"/>
                        <a:miter/>
                      </a:ln>
                    </p:spPr>
                    <p:txBody>
                      <a:bodyPr rtlCol="0" anchor="ctr"/>
                      <a:lstStyle/>
                      <a:p>
                        <a:endParaRPr lang="en-GB" dirty="0"/>
                      </a:p>
                    </p:txBody>
                  </p:sp>
                  <p:sp>
                    <p:nvSpPr>
                      <p:cNvPr id="958" name="Freeform: Shape 957">
                        <a:extLst>
                          <a:ext uri="{FF2B5EF4-FFF2-40B4-BE49-F238E27FC236}">
                            <a16:creationId xmlns:a16="http://schemas.microsoft.com/office/drawing/2014/main" id="{A5692383-A580-400E-BCBD-2E914056BEB8}"/>
                          </a:ext>
                        </a:extLst>
                      </p:cNvPr>
                      <p:cNvSpPr/>
                      <p:nvPr/>
                    </p:nvSpPr>
                    <p:spPr>
                      <a:xfrm>
                        <a:off x="3627067" y="1722361"/>
                        <a:ext cx="68129" cy="22931"/>
                      </a:xfrm>
                      <a:custGeom>
                        <a:avLst/>
                        <a:gdLst>
                          <a:gd name="connsiteX0" fmla="*/ 56663 w 68129"/>
                          <a:gd name="connsiteY0" fmla="*/ 22931 h 22931"/>
                          <a:gd name="connsiteX1" fmla="*/ 11466 w 68129"/>
                          <a:gd name="connsiteY1" fmla="*/ 22931 h 22931"/>
                          <a:gd name="connsiteX2" fmla="*/ 0 w 68129"/>
                          <a:gd name="connsiteY2" fmla="*/ 11466 h 22931"/>
                          <a:gd name="connsiteX3" fmla="*/ 11466 w 68129"/>
                          <a:gd name="connsiteY3" fmla="*/ 0 h 22931"/>
                          <a:gd name="connsiteX4" fmla="*/ 56663 w 68129"/>
                          <a:gd name="connsiteY4" fmla="*/ 0 h 22931"/>
                          <a:gd name="connsiteX5" fmla="*/ 68129 w 68129"/>
                          <a:gd name="connsiteY5" fmla="*/ 11466 h 22931"/>
                          <a:gd name="connsiteX6" fmla="*/ 56663 w 68129"/>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29" h="22931">
                            <a:moveTo>
                              <a:pt x="56663" y="22931"/>
                            </a:moveTo>
                            <a:lnTo>
                              <a:pt x="11466" y="22931"/>
                            </a:lnTo>
                            <a:cubicBezTo>
                              <a:pt x="5137" y="22931"/>
                              <a:pt x="0" y="17795"/>
                              <a:pt x="0" y="11466"/>
                            </a:cubicBezTo>
                            <a:cubicBezTo>
                              <a:pt x="0" y="5137"/>
                              <a:pt x="5137" y="0"/>
                              <a:pt x="11466" y="0"/>
                            </a:cubicBezTo>
                            <a:lnTo>
                              <a:pt x="56663" y="0"/>
                            </a:lnTo>
                            <a:cubicBezTo>
                              <a:pt x="62992" y="0"/>
                              <a:pt x="68129" y="5137"/>
                              <a:pt x="68129" y="11466"/>
                            </a:cubicBezTo>
                            <a:cubicBezTo>
                              <a:pt x="68129" y="17795"/>
                              <a:pt x="63004" y="22931"/>
                              <a:pt x="56663" y="22931"/>
                            </a:cubicBezTo>
                            <a:close/>
                          </a:path>
                        </a:pathLst>
                      </a:custGeom>
                      <a:solidFill>
                        <a:schemeClr val="accent1"/>
                      </a:solidFill>
                      <a:ln w="1145" cap="flat">
                        <a:noFill/>
                        <a:prstDash val="solid"/>
                        <a:miter/>
                      </a:ln>
                    </p:spPr>
                    <p:txBody>
                      <a:bodyPr rtlCol="0" anchor="ctr"/>
                      <a:lstStyle/>
                      <a:p>
                        <a:endParaRPr lang="en-GB" dirty="0"/>
                      </a:p>
                    </p:txBody>
                  </p:sp>
                </p:grpSp>
              </p:grpSp>
              <p:sp>
                <p:nvSpPr>
                  <p:cNvPr id="946" name="Freeform: Shape 945">
                    <a:extLst>
                      <a:ext uri="{FF2B5EF4-FFF2-40B4-BE49-F238E27FC236}">
                        <a16:creationId xmlns:a16="http://schemas.microsoft.com/office/drawing/2014/main" id="{3C529E5C-2B15-4455-B351-6266A71B9D0C}"/>
                      </a:ext>
                    </a:extLst>
                  </p:cNvPr>
                  <p:cNvSpPr/>
                  <p:nvPr/>
                </p:nvSpPr>
                <p:spPr>
                  <a:xfrm>
                    <a:off x="3756140" y="1856869"/>
                    <a:ext cx="32440" cy="48587"/>
                  </a:xfrm>
                  <a:custGeom>
                    <a:avLst/>
                    <a:gdLst>
                      <a:gd name="connsiteX0" fmla="*/ 11473 w 32440"/>
                      <a:gd name="connsiteY0" fmla="*/ 48588 h 48587"/>
                      <a:gd name="connsiteX1" fmla="*/ 7483 w 32440"/>
                      <a:gd name="connsiteY1" fmla="*/ 47865 h 48587"/>
                      <a:gd name="connsiteX2" fmla="*/ 718 w 32440"/>
                      <a:gd name="connsiteY2" fmla="*/ 33132 h 48587"/>
                      <a:gd name="connsiteX3" fmla="*/ 10223 w 32440"/>
                      <a:gd name="connsiteY3" fmla="*/ 7483 h 48587"/>
                      <a:gd name="connsiteX4" fmla="*/ 24957 w 32440"/>
                      <a:gd name="connsiteY4" fmla="*/ 718 h 48587"/>
                      <a:gd name="connsiteX5" fmla="*/ 31722 w 32440"/>
                      <a:gd name="connsiteY5" fmla="*/ 15452 h 48587"/>
                      <a:gd name="connsiteX6" fmla="*/ 22217 w 32440"/>
                      <a:gd name="connsiteY6" fmla="*/ 41101 h 48587"/>
                      <a:gd name="connsiteX7" fmla="*/ 11473 w 32440"/>
                      <a:gd name="connsiteY7" fmla="*/ 48588 h 4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40" h="48587">
                        <a:moveTo>
                          <a:pt x="11473" y="48588"/>
                        </a:moveTo>
                        <a:cubicBezTo>
                          <a:pt x="10143" y="48588"/>
                          <a:pt x="8802" y="48347"/>
                          <a:pt x="7483" y="47865"/>
                        </a:cubicBezTo>
                        <a:cubicBezTo>
                          <a:pt x="1544" y="45664"/>
                          <a:pt x="-1483" y="39071"/>
                          <a:pt x="718" y="33132"/>
                        </a:cubicBezTo>
                        <a:lnTo>
                          <a:pt x="10223" y="7483"/>
                        </a:lnTo>
                        <a:cubicBezTo>
                          <a:pt x="12425" y="1544"/>
                          <a:pt x="19018" y="-1483"/>
                          <a:pt x="24957" y="718"/>
                        </a:cubicBezTo>
                        <a:cubicBezTo>
                          <a:pt x="30896" y="2920"/>
                          <a:pt x="33923" y="9513"/>
                          <a:pt x="31722" y="15452"/>
                        </a:cubicBezTo>
                        <a:lnTo>
                          <a:pt x="22217" y="41101"/>
                        </a:lnTo>
                        <a:cubicBezTo>
                          <a:pt x="20508" y="45733"/>
                          <a:pt x="16128" y="48588"/>
                          <a:pt x="11473" y="48588"/>
                        </a:cubicBezTo>
                        <a:close/>
                      </a:path>
                    </a:pathLst>
                  </a:custGeom>
                  <a:solidFill>
                    <a:schemeClr val="accent1"/>
                  </a:solidFill>
                  <a:ln w="1145" cap="flat">
                    <a:noFill/>
                    <a:prstDash val="solid"/>
                    <a:miter/>
                  </a:ln>
                </p:spPr>
                <p:txBody>
                  <a:bodyPr rtlCol="0" anchor="ctr"/>
                  <a:lstStyle/>
                  <a:p>
                    <a:endParaRPr lang="en-GB" dirty="0"/>
                  </a:p>
                </p:txBody>
              </p:sp>
              <p:sp>
                <p:nvSpPr>
                  <p:cNvPr id="947" name="Freeform: Shape 946">
                    <a:extLst>
                      <a:ext uri="{FF2B5EF4-FFF2-40B4-BE49-F238E27FC236}">
                        <a16:creationId xmlns:a16="http://schemas.microsoft.com/office/drawing/2014/main" id="{49E236C5-456B-47E7-B7BF-4223FA83464C}"/>
                      </a:ext>
                    </a:extLst>
                  </p:cNvPr>
                  <p:cNvSpPr/>
                  <p:nvPr/>
                </p:nvSpPr>
                <p:spPr>
                  <a:xfrm>
                    <a:off x="3865660" y="1560863"/>
                    <a:ext cx="32612" cy="49054"/>
                  </a:xfrm>
                  <a:custGeom>
                    <a:avLst/>
                    <a:gdLst>
                      <a:gd name="connsiteX0" fmla="*/ 11473 w 32612"/>
                      <a:gd name="connsiteY0" fmla="*/ 49054 h 49054"/>
                      <a:gd name="connsiteX1" fmla="*/ 7483 w 32612"/>
                      <a:gd name="connsiteY1" fmla="*/ 48332 h 49054"/>
                      <a:gd name="connsiteX2" fmla="*/ 718 w 32612"/>
                      <a:gd name="connsiteY2" fmla="*/ 33599 h 49054"/>
                      <a:gd name="connsiteX3" fmla="*/ 10396 w 32612"/>
                      <a:gd name="connsiteY3" fmla="*/ 7480 h 49054"/>
                      <a:gd name="connsiteX4" fmla="*/ 25129 w 32612"/>
                      <a:gd name="connsiteY4" fmla="*/ 715 h 49054"/>
                      <a:gd name="connsiteX5" fmla="*/ 31894 w 32612"/>
                      <a:gd name="connsiteY5" fmla="*/ 15449 h 49054"/>
                      <a:gd name="connsiteX6" fmla="*/ 22217 w 32612"/>
                      <a:gd name="connsiteY6" fmla="*/ 41567 h 49054"/>
                      <a:gd name="connsiteX7" fmla="*/ 11473 w 32612"/>
                      <a:gd name="connsiteY7" fmla="*/ 49054 h 490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612" h="49054">
                        <a:moveTo>
                          <a:pt x="11473" y="49054"/>
                        </a:moveTo>
                        <a:cubicBezTo>
                          <a:pt x="10143" y="49054"/>
                          <a:pt x="8802" y="48814"/>
                          <a:pt x="7483" y="48332"/>
                        </a:cubicBezTo>
                        <a:cubicBezTo>
                          <a:pt x="1544" y="46131"/>
                          <a:pt x="-1483" y="39538"/>
                          <a:pt x="718" y="33599"/>
                        </a:cubicBezTo>
                        <a:lnTo>
                          <a:pt x="10396" y="7480"/>
                        </a:lnTo>
                        <a:cubicBezTo>
                          <a:pt x="12597" y="1529"/>
                          <a:pt x="19201" y="-1475"/>
                          <a:pt x="25129" y="715"/>
                        </a:cubicBezTo>
                        <a:cubicBezTo>
                          <a:pt x="31068" y="2917"/>
                          <a:pt x="34095" y="9509"/>
                          <a:pt x="31894" y="15449"/>
                        </a:cubicBezTo>
                        <a:lnTo>
                          <a:pt x="22217" y="41567"/>
                        </a:lnTo>
                        <a:cubicBezTo>
                          <a:pt x="20508" y="46188"/>
                          <a:pt x="16128" y="49054"/>
                          <a:pt x="11473" y="49054"/>
                        </a:cubicBezTo>
                        <a:close/>
                      </a:path>
                    </a:pathLst>
                  </a:custGeom>
                  <a:solidFill>
                    <a:schemeClr val="accent1"/>
                  </a:solidFill>
                  <a:ln w="1145" cap="flat">
                    <a:noFill/>
                    <a:prstDash val="solid"/>
                    <a:miter/>
                  </a:ln>
                </p:spPr>
                <p:txBody>
                  <a:bodyPr rtlCol="0" anchor="ctr"/>
                  <a:lstStyle/>
                  <a:p>
                    <a:endParaRPr lang="en-GB" dirty="0"/>
                  </a:p>
                </p:txBody>
              </p:sp>
              <p:sp>
                <p:nvSpPr>
                  <p:cNvPr id="948" name="Freeform: Shape 947">
                    <a:extLst>
                      <a:ext uri="{FF2B5EF4-FFF2-40B4-BE49-F238E27FC236}">
                        <a16:creationId xmlns:a16="http://schemas.microsoft.com/office/drawing/2014/main" id="{41EFB162-5C28-4B44-AED1-A1FC491AB3EB}"/>
                      </a:ext>
                    </a:extLst>
                  </p:cNvPr>
                  <p:cNvSpPr/>
                  <p:nvPr/>
                </p:nvSpPr>
                <p:spPr>
                  <a:xfrm>
                    <a:off x="3866947" y="1857990"/>
                    <a:ext cx="32194" cy="47718"/>
                  </a:xfrm>
                  <a:custGeom>
                    <a:avLst/>
                    <a:gdLst>
                      <a:gd name="connsiteX0" fmla="*/ 20735 w 32194"/>
                      <a:gd name="connsiteY0" fmla="*/ 47718 h 47718"/>
                      <a:gd name="connsiteX1" fmla="*/ 9992 w 32194"/>
                      <a:gd name="connsiteY1" fmla="*/ 40266 h 47718"/>
                      <a:gd name="connsiteX2" fmla="*/ 728 w 32194"/>
                      <a:gd name="connsiteY2" fmla="*/ 15488 h 47718"/>
                      <a:gd name="connsiteX3" fmla="*/ 7446 w 32194"/>
                      <a:gd name="connsiteY3" fmla="*/ 732 h 47718"/>
                      <a:gd name="connsiteX4" fmla="*/ 22203 w 32194"/>
                      <a:gd name="connsiteY4" fmla="*/ 7451 h 47718"/>
                      <a:gd name="connsiteX5" fmla="*/ 31467 w 32194"/>
                      <a:gd name="connsiteY5" fmla="*/ 32228 h 47718"/>
                      <a:gd name="connsiteX6" fmla="*/ 24748 w 32194"/>
                      <a:gd name="connsiteY6" fmla="*/ 46985 h 47718"/>
                      <a:gd name="connsiteX7" fmla="*/ 20735 w 32194"/>
                      <a:gd name="connsiteY7" fmla="*/ 47718 h 4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194" h="47718">
                        <a:moveTo>
                          <a:pt x="20735" y="47718"/>
                        </a:moveTo>
                        <a:cubicBezTo>
                          <a:pt x="16092" y="47718"/>
                          <a:pt x="11712" y="44864"/>
                          <a:pt x="9992" y="40266"/>
                        </a:cubicBezTo>
                        <a:lnTo>
                          <a:pt x="728" y="15488"/>
                        </a:lnTo>
                        <a:cubicBezTo>
                          <a:pt x="-1485" y="9549"/>
                          <a:pt x="1519" y="2957"/>
                          <a:pt x="7446" y="732"/>
                        </a:cubicBezTo>
                        <a:cubicBezTo>
                          <a:pt x="13386" y="-1492"/>
                          <a:pt x="19990" y="1523"/>
                          <a:pt x="22203" y="7451"/>
                        </a:cubicBezTo>
                        <a:lnTo>
                          <a:pt x="31467" y="32228"/>
                        </a:lnTo>
                        <a:cubicBezTo>
                          <a:pt x="33680" y="38168"/>
                          <a:pt x="30676" y="44760"/>
                          <a:pt x="24748" y="46985"/>
                        </a:cubicBezTo>
                        <a:cubicBezTo>
                          <a:pt x="23430" y="47478"/>
                          <a:pt x="22065" y="47718"/>
                          <a:pt x="20735" y="47718"/>
                        </a:cubicBezTo>
                        <a:close/>
                      </a:path>
                    </a:pathLst>
                  </a:custGeom>
                  <a:solidFill>
                    <a:schemeClr val="accent1"/>
                  </a:solidFill>
                  <a:ln w="1145" cap="flat">
                    <a:noFill/>
                    <a:prstDash val="solid"/>
                    <a:miter/>
                  </a:ln>
                </p:spPr>
                <p:txBody>
                  <a:bodyPr rtlCol="0" anchor="ctr"/>
                  <a:lstStyle/>
                  <a:p>
                    <a:endParaRPr lang="en-GB" dirty="0"/>
                  </a:p>
                </p:txBody>
              </p:sp>
              <p:sp>
                <p:nvSpPr>
                  <p:cNvPr id="949" name="Freeform: Shape 948">
                    <a:extLst>
                      <a:ext uri="{FF2B5EF4-FFF2-40B4-BE49-F238E27FC236}">
                        <a16:creationId xmlns:a16="http://schemas.microsoft.com/office/drawing/2014/main" id="{5959A89E-B668-4B62-B96E-92AD601FE309}"/>
                      </a:ext>
                    </a:extLst>
                  </p:cNvPr>
                  <p:cNvSpPr/>
                  <p:nvPr/>
                </p:nvSpPr>
                <p:spPr>
                  <a:xfrm>
                    <a:off x="3756097" y="1561442"/>
                    <a:ext cx="32458" cy="48429"/>
                  </a:xfrm>
                  <a:custGeom>
                    <a:avLst/>
                    <a:gdLst>
                      <a:gd name="connsiteX0" fmla="*/ 20999 w 32458"/>
                      <a:gd name="connsiteY0" fmla="*/ 48429 h 48429"/>
                      <a:gd name="connsiteX1" fmla="*/ 10255 w 32458"/>
                      <a:gd name="connsiteY1" fmla="*/ 40977 h 48429"/>
                      <a:gd name="connsiteX2" fmla="*/ 728 w 32458"/>
                      <a:gd name="connsiteY2" fmla="*/ 15488 h 48429"/>
                      <a:gd name="connsiteX3" fmla="*/ 7446 w 32458"/>
                      <a:gd name="connsiteY3" fmla="*/ 732 h 48429"/>
                      <a:gd name="connsiteX4" fmla="*/ 22203 w 32458"/>
                      <a:gd name="connsiteY4" fmla="*/ 7451 h 48429"/>
                      <a:gd name="connsiteX5" fmla="*/ 31731 w 32458"/>
                      <a:gd name="connsiteY5" fmla="*/ 32939 h 48429"/>
                      <a:gd name="connsiteX6" fmla="*/ 25012 w 32458"/>
                      <a:gd name="connsiteY6" fmla="*/ 47695 h 48429"/>
                      <a:gd name="connsiteX7" fmla="*/ 20999 w 32458"/>
                      <a:gd name="connsiteY7" fmla="*/ 48429 h 4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58" h="48429">
                        <a:moveTo>
                          <a:pt x="20999" y="48429"/>
                        </a:moveTo>
                        <a:cubicBezTo>
                          <a:pt x="16355" y="48429"/>
                          <a:pt x="11975" y="45574"/>
                          <a:pt x="10255" y="40977"/>
                        </a:cubicBezTo>
                        <a:lnTo>
                          <a:pt x="728" y="15488"/>
                        </a:lnTo>
                        <a:cubicBezTo>
                          <a:pt x="-1485" y="9549"/>
                          <a:pt x="1519" y="2945"/>
                          <a:pt x="7446" y="732"/>
                        </a:cubicBezTo>
                        <a:cubicBezTo>
                          <a:pt x="13386" y="-1492"/>
                          <a:pt x="19990" y="1523"/>
                          <a:pt x="22203" y="7451"/>
                        </a:cubicBezTo>
                        <a:lnTo>
                          <a:pt x="31731" y="32939"/>
                        </a:lnTo>
                        <a:cubicBezTo>
                          <a:pt x="33944" y="38878"/>
                          <a:pt x="30940" y="45483"/>
                          <a:pt x="25012" y="47695"/>
                        </a:cubicBezTo>
                        <a:cubicBezTo>
                          <a:pt x="23693" y="48189"/>
                          <a:pt x="22340" y="48429"/>
                          <a:pt x="20999" y="48429"/>
                        </a:cubicBezTo>
                        <a:close/>
                      </a:path>
                    </a:pathLst>
                  </a:custGeom>
                  <a:solidFill>
                    <a:schemeClr val="accent1"/>
                  </a:solidFill>
                  <a:ln w="1145" cap="flat">
                    <a:noFill/>
                    <a:prstDash val="solid"/>
                    <a:miter/>
                  </a:ln>
                </p:spPr>
                <p:txBody>
                  <a:bodyPr rtlCol="0" anchor="ctr"/>
                  <a:lstStyle/>
                  <a:p>
                    <a:endParaRPr lang="en-GB" dirty="0"/>
                  </a:p>
                </p:txBody>
              </p:sp>
              <p:sp>
                <p:nvSpPr>
                  <p:cNvPr id="950" name="Freeform: Shape 949">
                    <a:extLst>
                      <a:ext uri="{FF2B5EF4-FFF2-40B4-BE49-F238E27FC236}">
                        <a16:creationId xmlns:a16="http://schemas.microsoft.com/office/drawing/2014/main" id="{347E41AF-4AF6-4CF6-AA95-CAEA93871A5A}"/>
                      </a:ext>
                    </a:extLst>
                  </p:cNvPr>
                  <p:cNvSpPr/>
                  <p:nvPr/>
                </p:nvSpPr>
                <p:spPr>
                  <a:xfrm>
                    <a:off x="3949656" y="1773333"/>
                    <a:ext cx="49160" cy="33025"/>
                  </a:xfrm>
                  <a:custGeom>
                    <a:avLst/>
                    <a:gdLst>
                      <a:gd name="connsiteX0" fmla="*/ 37697 w 49160"/>
                      <a:gd name="connsiteY0" fmla="*/ 33026 h 33025"/>
                      <a:gd name="connsiteX1" fmla="*/ 33581 w 49160"/>
                      <a:gd name="connsiteY1" fmla="*/ 32258 h 33025"/>
                      <a:gd name="connsiteX2" fmla="*/ 7347 w 49160"/>
                      <a:gd name="connsiteY2" fmla="*/ 22156 h 33025"/>
                      <a:gd name="connsiteX3" fmla="*/ 766 w 49160"/>
                      <a:gd name="connsiteY3" fmla="*/ 7343 h 33025"/>
                      <a:gd name="connsiteX4" fmla="*/ 15580 w 49160"/>
                      <a:gd name="connsiteY4" fmla="*/ 761 h 33025"/>
                      <a:gd name="connsiteX5" fmla="*/ 41813 w 49160"/>
                      <a:gd name="connsiteY5" fmla="*/ 10863 h 33025"/>
                      <a:gd name="connsiteX6" fmla="*/ 48394 w 49160"/>
                      <a:gd name="connsiteY6" fmla="*/ 25676 h 33025"/>
                      <a:gd name="connsiteX7" fmla="*/ 37697 w 49160"/>
                      <a:gd name="connsiteY7" fmla="*/ 33026 h 3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160" h="33025">
                        <a:moveTo>
                          <a:pt x="37697" y="33026"/>
                        </a:moveTo>
                        <a:cubicBezTo>
                          <a:pt x="36321" y="33026"/>
                          <a:pt x="34934" y="32773"/>
                          <a:pt x="33581" y="32258"/>
                        </a:cubicBezTo>
                        <a:lnTo>
                          <a:pt x="7347" y="22156"/>
                        </a:lnTo>
                        <a:cubicBezTo>
                          <a:pt x="1442" y="19886"/>
                          <a:pt x="-1504" y="13247"/>
                          <a:pt x="766" y="7343"/>
                        </a:cubicBezTo>
                        <a:cubicBezTo>
                          <a:pt x="3036" y="1438"/>
                          <a:pt x="9686" y="-1497"/>
                          <a:pt x="15580" y="761"/>
                        </a:cubicBezTo>
                        <a:lnTo>
                          <a:pt x="41813" y="10863"/>
                        </a:lnTo>
                        <a:cubicBezTo>
                          <a:pt x="47718" y="13133"/>
                          <a:pt x="50665" y="19771"/>
                          <a:pt x="48394" y="25676"/>
                        </a:cubicBezTo>
                        <a:cubicBezTo>
                          <a:pt x="46652" y="30228"/>
                          <a:pt x="42306" y="33026"/>
                          <a:pt x="37697" y="33026"/>
                        </a:cubicBezTo>
                        <a:close/>
                      </a:path>
                    </a:pathLst>
                  </a:custGeom>
                  <a:solidFill>
                    <a:schemeClr val="accent1"/>
                  </a:solidFill>
                  <a:ln w="1145" cap="flat">
                    <a:noFill/>
                    <a:prstDash val="solid"/>
                    <a:miter/>
                  </a:ln>
                </p:spPr>
                <p:txBody>
                  <a:bodyPr rtlCol="0" anchor="ctr"/>
                  <a:lstStyle/>
                  <a:p>
                    <a:endParaRPr lang="en-GB" dirty="0"/>
                  </a:p>
                </p:txBody>
              </p:sp>
              <p:sp>
                <p:nvSpPr>
                  <p:cNvPr id="951" name="Freeform: Shape 950">
                    <a:extLst>
                      <a:ext uri="{FF2B5EF4-FFF2-40B4-BE49-F238E27FC236}">
                        <a16:creationId xmlns:a16="http://schemas.microsoft.com/office/drawing/2014/main" id="{ACEB1568-8584-4F96-8833-6B555A71EDE1}"/>
                      </a:ext>
                    </a:extLst>
                  </p:cNvPr>
                  <p:cNvSpPr/>
                  <p:nvPr/>
                </p:nvSpPr>
                <p:spPr>
                  <a:xfrm>
                    <a:off x="3655768" y="1660155"/>
                    <a:ext cx="47692" cy="32463"/>
                  </a:xfrm>
                  <a:custGeom>
                    <a:avLst/>
                    <a:gdLst>
                      <a:gd name="connsiteX0" fmla="*/ 36229 w 47692"/>
                      <a:gd name="connsiteY0" fmla="*/ 32464 h 32463"/>
                      <a:gd name="connsiteX1" fmla="*/ 32113 w 47692"/>
                      <a:gd name="connsiteY1" fmla="*/ 31696 h 32463"/>
                      <a:gd name="connsiteX2" fmla="*/ 7347 w 47692"/>
                      <a:gd name="connsiteY2" fmla="*/ 22156 h 32463"/>
                      <a:gd name="connsiteX3" fmla="*/ 766 w 47692"/>
                      <a:gd name="connsiteY3" fmla="*/ 7343 h 32463"/>
                      <a:gd name="connsiteX4" fmla="*/ 15580 w 47692"/>
                      <a:gd name="connsiteY4" fmla="*/ 761 h 32463"/>
                      <a:gd name="connsiteX5" fmla="*/ 40345 w 47692"/>
                      <a:gd name="connsiteY5" fmla="*/ 10301 h 32463"/>
                      <a:gd name="connsiteX6" fmla="*/ 46927 w 47692"/>
                      <a:gd name="connsiteY6" fmla="*/ 25114 h 32463"/>
                      <a:gd name="connsiteX7" fmla="*/ 36229 w 47692"/>
                      <a:gd name="connsiteY7" fmla="*/ 32464 h 32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92" h="32463">
                        <a:moveTo>
                          <a:pt x="36229" y="32464"/>
                        </a:moveTo>
                        <a:cubicBezTo>
                          <a:pt x="34853" y="32464"/>
                          <a:pt x="33466" y="32212"/>
                          <a:pt x="32113" y="31696"/>
                        </a:cubicBezTo>
                        <a:lnTo>
                          <a:pt x="7347" y="22156"/>
                        </a:lnTo>
                        <a:cubicBezTo>
                          <a:pt x="1443" y="19886"/>
                          <a:pt x="-1504" y="13247"/>
                          <a:pt x="766" y="7343"/>
                        </a:cubicBezTo>
                        <a:cubicBezTo>
                          <a:pt x="3048" y="1438"/>
                          <a:pt x="9686" y="-1497"/>
                          <a:pt x="15580" y="761"/>
                        </a:cubicBezTo>
                        <a:lnTo>
                          <a:pt x="40345" y="10301"/>
                        </a:lnTo>
                        <a:cubicBezTo>
                          <a:pt x="46250" y="12571"/>
                          <a:pt x="49197" y="19210"/>
                          <a:pt x="46927" y="25114"/>
                        </a:cubicBezTo>
                        <a:cubicBezTo>
                          <a:pt x="45173" y="29666"/>
                          <a:pt x="40827" y="32464"/>
                          <a:pt x="36229" y="32464"/>
                        </a:cubicBezTo>
                        <a:close/>
                      </a:path>
                    </a:pathLst>
                  </a:custGeom>
                  <a:solidFill>
                    <a:schemeClr val="accent1"/>
                  </a:solidFill>
                  <a:ln w="1145" cap="flat">
                    <a:noFill/>
                    <a:prstDash val="solid"/>
                    <a:miter/>
                  </a:ln>
                </p:spPr>
                <p:txBody>
                  <a:bodyPr rtlCol="0" anchor="ctr"/>
                  <a:lstStyle/>
                  <a:p>
                    <a:endParaRPr lang="en-GB" dirty="0"/>
                  </a:p>
                </p:txBody>
              </p:sp>
              <p:sp>
                <p:nvSpPr>
                  <p:cNvPr id="952" name="Freeform: Shape 951">
                    <a:extLst>
                      <a:ext uri="{FF2B5EF4-FFF2-40B4-BE49-F238E27FC236}">
                        <a16:creationId xmlns:a16="http://schemas.microsoft.com/office/drawing/2014/main" id="{6B82DB0B-3688-4F7C-9331-AF51F07EB708}"/>
                      </a:ext>
                    </a:extLst>
                  </p:cNvPr>
                  <p:cNvSpPr/>
                  <p:nvPr/>
                </p:nvSpPr>
                <p:spPr>
                  <a:xfrm>
                    <a:off x="3655013" y="1772347"/>
                    <a:ext cx="47529" cy="32073"/>
                  </a:xfrm>
                  <a:custGeom>
                    <a:avLst/>
                    <a:gdLst>
                      <a:gd name="connsiteX0" fmla="*/ 11473 w 47529"/>
                      <a:gd name="connsiteY0" fmla="*/ 32074 h 32073"/>
                      <a:gd name="connsiteX1" fmla="*/ 719 w 47529"/>
                      <a:gd name="connsiteY1" fmla="*/ 24598 h 32073"/>
                      <a:gd name="connsiteX2" fmla="*/ 7472 w 47529"/>
                      <a:gd name="connsiteY2" fmla="*/ 9853 h 32073"/>
                      <a:gd name="connsiteX3" fmla="*/ 32066 w 47529"/>
                      <a:gd name="connsiteY3" fmla="*/ 715 h 32073"/>
                      <a:gd name="connsiteX4" fmla="*/ 46811 w 47529"/>
                      <a:gd name="connsiteY4" fmla="*/ 7469 h 32073"/>
                      <a:gd name="connsiteX5" fmla="*/ 40057 w 47529"/>
                      <a:gd name="connsiteY5" fmla="*/ 22213 h 32073"/>
                      <a:gd name="connsiteX6" fmla="*/ 15463 w 47529"/>
                      <a:gd name="connsiteY6" fmla="*/ 31352 h 32073"/>
                      <a:gd name="connsiteX7" fmla="*/ 11473 w 47529"/>
                      <a:gd name="connsiteY7" fmla="*/ 32074 h 32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9" h="32073">
                        <a:moveTo>
                          <a:pt x="11473" y="32074"/>
                        </a:moveTo>
                        <a:cubicBezTo>
                          <a:pt x="6818" y="32074"/>
                          <a:pt x="2438" y="29207"/>
                          <a:pt x="719" y="24598"/>
                        </a:cubicBezTo>
                        <a:cubicBezTo>
                          <a:pt x="-1483" y="18659"/>
                          <a:pt x="1544" y="12066"/>
                          <a:pt x="7472" y="9853"/>
                        </a:cubicBezTo>
                        <a:lnTo>
                          <a:pt x="32066" y="715"/>
                        </a:lnTo>
                        <a:cubicBezTo>
                          <a:pt x="38005" y="-1475"/>
                          <a:pt x="44598" y="1529"/>
                          <a:pt x="46811" y="7469"/>
                        </a:cubicBezTo>
                        <a:cubicBezTo>
                          <a:pt x="49012" y="13408"/>
                          <a:pt x="45985" y="20001"/>
                          <a:pt x="40057" y="22213"/>
                        </a:cubicBezTo>
                        <a:lnTo>
                          <a:pt x="15463" y="31352"/>
                        </a:lnTo>
                        <a:cubicBezTo>
                          <a:pt x="14145" y="31833"/>
                          <a:pt x="12803" y="32074"/>
                          <a:pt x="11473" y="32074"/>
                        </a:cubicBezTo>
                        <a:close/>
                      </a:path>
                    </a:pathLst>
                  </a:custGeom>
                  <a:solidFill>
                    <a:schemeClr val="accent1"/>
                  </a:solidFill>
                  <a:ln w="1145" cap="flat">
                    <a:noFill/>
                    <a:prstDash val="solid"/>
                    <a:miter/>
                  </a:ln>
                </p:spPr>
                <p:txBody>
                  <a:bodyPr rtlCol="0" anchor="ctr"/>
                  <a:lstStyle/>
                  <a:p>
                    <a:endParaRPr lang="en-GB" dirty="0"/>
                  </a:p>
                </p:txBody>
              </p:sp>
              <p:sp>
                <p:nvSpPr>
                  <p:cNvPr id="953" name="Freeform: Shape 952">
                    <a:extLst>
                      <a:ext uri="{FF2B5EF4-FFF2-40B4-BE49-F238E27FC236}">
                        <a16:creationId xmlns:a16="http://schemas.microsoft.com/office/drawing/2014/main" id="{831FE05E-A97A-43C9-8531-B688ADA0F897}"/>
                      </a:ext>
                    </a:extLst>
                  </p:cNvPr>
                  <p:cNvSpPr/>
                  <p:nvPr/>
                </p:nvSpPr>
                <p:spPr>
                  <a:xfrm>
                    <a:off x="3951112" y="1662029"/>
                    <a:ext cx="48403" cy="32390"/>
                  </a:xfrm>
                  <a:custGeom>
                    <a:avLst/>
                    <a:gdLst>
                      <a:gd name="connsiteX0" fmla="*/ 11475 w 48403"/>
                      <a:gd name="connsiteY0" fmla="*/ 32390 h 32390"/>
                      <a:gd name="connsiteX1" fmla="*/ 720 w 48403"/>
                      <a:gd name="connsiteY1" fmla="*/ 24915 h 32390"/>
                      <a:gd name="connsiteX2" fmla="*/ 7473 w 48403"/>
                      <a:gd name="connsiteY2" fmla="*/ 10170 h 32390"/>
                      <a:gd name="connsiteX3" fmla="*/ 32938 w 48403"/>
                      <a:gd name="connsiteY3" fmla="*/ 711 h 32390"/>
                      <a:gd name="connsiteX4" fmla="*/ 47683 w 48403"/>
                      <a:gd name="connsiteY4" fmla="*/ 7464 h 32390"/>
                      <a:gd name="connsiteX5" fmla="*/ 40930 w 48403"/>
                      <a:gd name="connsiteY5" fmla="*/ 22209 h 32390"/>
                      <a:gd name="connsiteX6" fmla="*/ 15465 w 48403"/>
                      <a:gd name="connsiteY6" fmla="*/ 31668 h 32390"/>
                      <a:gd name="connsiteX7" fmla="*/ 11475 w 48403"/>
                      <a:gd name="connsiteY7" fmla="*/ 32390 h 3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403" h="32390">
                        <a:moveTo>
                          <a:pt x="11475" y="32390"/>
                        </a:moveTo>
                        <a:cubicBezTo>
                          <a:pt x="6820" y="32390"/>
                          <a:pt x="2440" y="29524"/>
                          <a:pt x="720" y="24915"/>
                        </a:cubicBezTo>
                        <a:cubicBezTo>
                          <a:pt x="-1482" y="18975"/>
                          <a:pt x="1534" y="12383"/>
                          <a:pt x="7473" y="10170"/>
                        </a:cubicBezTo>
                        <a:lnTo>
                          <a:pt x="32938" y="711"/>
                        </a:lnTo>
                        <a:cubicBezTo>
                          <a:pt x="38866" y="-1468"/>
                          <a:pt x="45470" y="1525"/>
                          <a:pt x="47683" y="7464"/>
                        </a:cubicBezTo>
                        <a:cubicBezTo>
                          <a:pt x="49885" y="13403"/>
                          <a:pt x="46869" y="19996"/>
                          <a:pt x="40930" y="22209"/>
                        </a:cubicBezTo>
                        <a:lnTo>
                          <a:pt x="15465" y="31668"/>
                        </a:lnTo>
                        <a:cubicBezTo>
                          <a:pt x="14146" y="32150"/>
                          <a:pt x="12793" y="32390"/>
                          <a:pt x="11475" y="32390"/>
                        </a:cubicBezTo>
                        <a:close/>
                      </a:path>
                    </a:pathLst>
                  </a:custGeom>
                  <a:solidFill>
                    <a:schemeClr val="accent1"/>
                  </a:solidFill>
                  <a:ln w="1145" cap="flat">
                    <a:noFill/>
                    <a:prstDash val="solid"/>
                    <a:miter/>
                  </a:ln>
                </p:spPr>
                <p:txBody>
                  <a:bodyPr rtlCol="0" anchor="ctr"/>
                  <a:lstStyle/>
                  <a:p>
                    <a:endParaRPr lang="en-GB" dirty="0"/>
                  </a:p>
                </p:txBody>
              </p:sp>
            </p:grpSp>
            <p:sp>
              <p:nvSpPr>
                <p:cNvPr id="938" name="Freeform: Shape 937">
                  <a:extLst>
                    <a:ext uri="{FF2B5EF4-FFF2-40B4-BE49-F238E27FC236}">
                      <a16:creationId xmlns:a16="http://schemas.microsoft.com/office/drawing/2014/main" id="{3FE95ADA-55EE-42C5-94C2-1D1C40A25F05}"/>
                    </a:ext>
                  </a:extLst>
                </p:cNvPr>
                <p:cNvSpPr/>
                <p:nvPr/>
              </p:nvSpPr>
              <p:spPr>
                <a:xfrm>
                  <a:off x="3799652" y="1645217"/>
                  <a:ext cx="33185" cy="34743"/>
                </a:xfrm>
                <a:custGeom>
                  <a:avLst/>
                  <a:gdLst>
                    <a:gd name="connsiteX0" fmla="*/ 21723 w 33185"/>
                    <a:gd name="connsiteY0" fmla="*/ 34744 h 34743"/>
                    <a:gd name="connsiteX1" fmla="*/ 13055 w 33185"/>
                    <a:gd name="connsiteY1" fmla="*/ 30788 h 34743"/>
                    <a:gd name="connsiteX2" fmla="*/ 2805 w 33185"/>
                    <a:gd name="connsiteY2" fmla="*/ 18978 h 34743"/>
                    <a:gd name="connsiteX3" fmla="*/ 3952 w 33185"/>
                    <a:gd name="connsiteY3" fmla="*/ 2800 h 34743"/>
                    <a:gd name="connsiteX4" fmla="*/ 20130 w 33185"/>
                    <a:gd name="connsiteY4" fmla="*/ 3947 h 34743"/>
                    <a:gd name="connsiteX5" fmla="*/ 30380 w 33185"/>
                    <a:gd name="connsiteY5" fmla="*/ 15757 h 34743"/>
                    <a:gd name="connsiteX6" fmla="*/ 29233 w 33185"/>
                    <a:gd name="connsiteY6" fmla="*/ 31935 h 34743"/>
                    <a:gd name="connsiteX7" fmla="*/ 21723 w 33185"/>
                    <a:gd name="connsiteY7" fmla="*/ 34744 h 34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85" h="34743">
                      <a:moveTo>
                        <a:pt x="21723" y="34744"/>
                      </a:moveTo>
                      <a:cubicBezTo>
                        <a:pt x="18513" y="34744"/>
                        <a:pt x="15326" y="33402"/>
                        <a:pt x="13055" y="30788"/>
                      </a:cubicBezTo>
                      <a:lnTo>
                        <a:pt x="2805" y="18978"/>
                      </a:lnTo>
                      <a:cubicBezTo>
                        <a:pt x="-1346" y="14197"/>
                        <a:pt x="-829" y="6951"/>
                        <a:pt x="3952" y="2800"/>
                      </a:cubicBezTo>
                      <a:cubicBezTo>
                        <a:pt x="8721" y="-1339"/>
                        <a:pt x="15979" y="-834"/>
                        <a:pt x="20130" y="3947"/>
                      </a:cubicBezTo>
                      <a:lnTo>
                        <a:pt x="30380" y="15757"/>
                      </a:lnTo>
                      <a:cubicBezTo>
                        <a:pt x="34531" y="20538"/>
                        <a:pt x="34015" y="27784"/>
                        <a:pt x="29233" y="31935"/>
                      </a:cubicBezTo>
                      <a:cubicBezTo>
                        <a:pt x="27066" y="33815"/>
                        <a:pt x="24395" y="34744"/>
                        <a:pt x="21723" y="34744"/>
                      </a:cubicBezTo>
                      <a:close/>
                    </a:path>
                  </a:pathLst>
                </a:custGeom>
                <a:solidFill>
                  <a:schemeClr val="accent1"/>
                </a:solidFill>
                <a:ln w="1145" cap="flat">
                  <a:noFill/>
                  <a:prstDash val="solid"/>
                  <a:miter/>
                </a:ln>
              </p:spPr>
              <p:txBody>
                <a:bodyPr rtlCol="0" anchor="ctr"/>
                <a:lstStyle/>
                <a:p>
                  <a:endParaRPr lang="en-GB" dirty="0"/>
                </a:p>
              </p:txBody>
            </p:sp>
            <p:sp>
              <p:nvSpPr>
                <p:cNvPr id="939" name="Freeform: Shape 938">
                  <a:extLst>
                    <a:ext uri="{FF2B5EF4-FFF2-40B4-BE49-F238E27FC236}">
                      <a16:creationId xmlns:a16="http://schemas.microsoft.com/office/drawing/2014/main" id="{397DB497-FAAE-46FD-A445-57B9317315CC}"/>
                    </a:ext>
                  </a:extLst>
                </p:cNvPr>
                <p:cNvSpPr/>
                <p:nvPr/>
              </p:nvSpPr>
              <p:spPr>
                <a:xfrm>
                  <a:off x="3765856" y="1774503"/>
                  <a:ext cx="37360" cy="25102"/>
                </a:xfrm>
                <a:custGeom>
                  <a:avLst/>
                  <a:gdLst>
                    <a:gd name="connsiteX0" fmla="*/ 25915 w 37360"/>
                    <a:gd name="connsiteY0" fmla="*/ 25103 h 25102"/>
                    <a:gd name="connsiteX1" fmla="*/ 24195 w 37360"/>
                    <a:gd name="connsiteY1" fmla="*/ 24977 h 25102"/>
                    <a:gd name="connsiteX2" fmla="*/ 9760 w 37360"/>
                    <a:gd name="connsiteY2" fmla="*/ 22810 h 25102"/>
                    <a:gd name="connsiteX3" fmla="*/ 129 w 37360"/>
                    <a:gd name="connsiteY3" fmla="*/ 9773 h 25102"/>
                    <a:gd name="connsiteX4" fmla="*/ 13165 w 37360"/>
                    <a:gd name="connsiteY4" fmla="*/ 142 h 25102"/>
                    <a:gd name="connsiteX5" fmla="*/ 27600 w 37360"/>
                    <a:gd name="connsiteY5" fmla="*/ 2309 h 25102"/>
                    <a:gd name="connsiteX6" fmla="*/ 37232 w 37360"/>
                    <a:gd name="connsiteY6" fmla="*/ 15345 h 25102"/>
                    <a:gd name="connsiteX7" fmla="*/ 25915 w 37360"/>
                    <a:gd name="connsiteY7" fmla="*/ 25103 h 25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60" h="25102">
                      <a:moveTo>
                        <a:pt x="25915" y="25103"/>
                      </a:moveTo>
                      <a:cubicBezTo>
                        <a:pt x="25342" y="25103"/>
                        <a:pt x="24768" y="25068"/>
                        <a:pt x="24195" y="24977"/>
                      </a:cubicBezTo>
                      <a:lnTo>
                        <a:pt x="9760" y="22810"/>
                      </a:lnTo>
                      <a:cubicBezTo>
                        <a:pt x="3500" y="21869"/>
                        <a:pt x="-812" y="16033"/>
                        <a:pt x="129" y="9773"/>
                      </a:cubicBezTo>
                      <a:cubicBezTo>
                        <a:pt x="1069" y="3513"/>
                        <a:pt x="6939" y="-856"/>
                        <a:pt x="13165" y="142"/>
                      </a:cubicBezTo>
                      <a:lnTo>
                        <a:pt x="27600" y="2309"/>
                      </a:lnTo>
                      <a:cubicBezTo>
                        <a:pt x="33861" y="3249"/>
                        <a:pt x="38172" y="9085"/>
                        <a:pt x="37232" y="15345"/>
                      </a:cubicBezTo>
                      <a:cubicBezTo>
                        <a:pt x="36383" y="21021"/>
                        <a:pt x="31487" y="25103"/>
                        <a:pt x="25915" y="25103"/>
                      </a:cubicBezTo>
                      <a:close/>
                    </a:path>
                  </a:pathLst>
                </a:custGeom>
                <a:solidFill>
                  <a:schemeClr val="accent1"/>
                </a:solidFill>
                <a:ln w="1145" cap="flat">
                  <a:noFill/>
                  <a:prstDash val="solid"/>
                  <a:miter/>
                </a:ln>
              </p:spPr>
              <p:txBody>
                <a:bodyPr rtlCol="0" anchor="ctr"/>
                <a:lstStyle/>
                <a:p>
                  <a:endParaRPr lang="en-GB" dirty="0"/>
                </a:p>
              </p:txBody>
            </p:sp>
            <p:sp>
              <p:nvSpPr>
                <p:cNvPr id="940" name="Freeform: Shape 939">
                  <a:extLst>
                    <a:ext uri="{FF2B5EF4-FFF2-40B4-BE49-F238E27FC236}">
                      <a16:creationId xmlns:a16="http://schemas.microsoft.com/office/drawing/2014/main" id="{392F2D5A-FBC0-4F96-AEE6-5C4BEDF06A26}"/>
                    </a:ext>
                  </a:extLst>
                </p:cNvPr>
                <p:cNvSpPr/>
                <p:nvPr/>
              </p:nvSpPr>
              <p:spPr>
                <a:xfrm>
                  <a:off x="3867969" y="1747801"/>
                  <a:ext cx="34288" cy="34285"/>
                </a:xfrm>
                <a:custGeom>
                  <a:avLst/>
                  <a:gdLst>
                    <a:gd name="connsiteX0" fmla="*/ 11469 w 34288"/>
                    <a:gd name="connsiteY0" fmla="*/ 34285 h 34285"/>
                    <a:gd name="connsiteX1" fmla="*/ 3362 w 34288"/>
                    <a:gd name="connsiteY1" fmla="*/ 30926 h 34285"/>
                    <a:gd name="connsiteX2" fmla="*/ 3362 w 34288"/>
                    <a:gd name="connsiteY2" fmla="*/ 14713 h 34285"/>
                    <a:gd name="connsiteX3" fmla="*/ 14713 w 34288"/>
                    <a:gd name="connsiteY3" fmla="*/ 3362 h 34285"/>
                    <a:gd name="connsiteX4" fmla="*/ 30926 w 34288"/>
                    <a:gd name="connsiteY4" fmla="*/ 3362 h 34285"/>
                    <a:gd name="connsiteX5" fmla="*/ 30926 w 34288"/>
                    <a:gd name="connsiteY5" fmla="*/ 19575 h 34285"/>
                    <a:gd name="connsiteX6" fmla="*/ 19575 w 34288"/>
                    <a:gd name="connsiteY6" fmla="*/ 30926 h 34285"/>
                    <a:gd name="connsiteX7" fmla="*/ 11469 w 34288"/>
                    <a:gd name="connsiteY7" fmla="*/ 34285 h 3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88" h="34285">
                      <a:moveTo>
                        <a:pt x="11469" y="34285"/>
                      </a:moveTo>
                      <a:cubicBezTo>
                        <a:pt x="8533" y="34285"/>
                        <a:pt x="5598" y="33162"/>
                        <a:pt x="3362" y="30926"/>
                      </a:cubicBezTo>
                      <a:cubicBezTo>
                        <a:pt x="-1121" y="26443"/>
                        <a:pt x="-1121" y="19196"/>
                        <a:pt x="3362" y="14713"/>
                      </a:cubicBezTo>
                      <a:lnTo>
                        <a:pt x="14713" y="3362"/>
                      </a:lnTo>
                      <a:cubicBezTo>
                        <a:pt x="19196" y="-1121"/>
                        <a:pt x="26443" y="-1121"/>
                        <a:pt x="30926" y="3362"/>
                      </a:cubicBezTo>
                      <a:cubicBezTo>
                        <a:pt x="35409" y="7845"/>
                        <a:pt x="35409" y="15092"/>
                        <a:pt x="30926" y="19575"/>
                      </a:cubicBezTo>
                      <a:lnTo>
                        <a:pt x="19575" y="30926"/>
                      </a:lnTo>
                      <a:cubicBezTo>
                        <a:pt x="17339" y="33162"/>
                        <a:pt x="14404" y="34285"/>
                        <a:pt x="11469" y="34285"/>
                      </a:cubicBezTo>
                      <a:close/>
                    </a:path>
                  </a:pathLst>
                </a:custGeom>
                <a:solidFill>
                  <a:schemeClr val="accent1"/>
                </a:solidFill>
                <a:ln w="1145" cap="flat">
                  <a:noFill/>
                  <a:prstDash val="solid"/>
                  <a:miter/>
                </a:ln>
              </p:spPr>
              <p:txBody>
                <a:bodyPr rtlCol="0" anchor="ctr"/>
                <a:lstStyle/>
                <a:p>
                  <a:endParaRPr lang="en-GB" dirty="0"/>
                </a:p>
              </p:txBody>
            </p:sp>
          </p:grpSp>
          <p:sp>
            <p:nvSpPr>
              <p:cNvPr id="935" name="Freeform: Shape 934">
                <a:extLst>
                  <a:ext uri="{FF2B5EF4-FFF2-40B4-BE49-F238E27FC236}">
                    <a16:creationId xmlns:a16="http://schemas.microsoft.com/office/drawing/2014/main" id="{5F37CC1D-F9AF-4081-8900-5F4A2C1BBE0F}"/>
                  </a:ext>
                </a:extLst>
              </p:cNvPr>
              <p:cNvSpPr/>
              <p:nvPr/>
            </p:nvSpPr>
            <p:spPr>
              <a:xfrm>
                <a:off x="6118031" y="2812693"/>
                <a:ext cx="266731" cy="56975"/>
              </a:xfrm>
              <a:custGeom>
                <a:avLst/>
                <a:gdLst>
                  <a:gd name="connsiteX0" fmla="*/ 236502 w 473016"/>
                  <a:gd name="connsiteY0" fmla="*/ 101040 h 101039"/>
                  <a:gd name="connsiteX1" fmla="*/ 0 w 473016"/>
                  <a:gd name="connsiteY1" fmla="*/ 49100 h 101039"/>
                  <a:gd name="connsiteX2" fmla="*/ 152963 w 473016"/>
                  <a:gd name="connsiteY2" fmla="*/ 16 h 101039"/>
                  <a:gd name="connsiteX3" fmla="*/ 165209 w 473016"/>
                  <a:gd name="connsiteY3" fmla="*/ 10644 h 101039"/>
                  <a:gd name="connsiteX4" fmla="*/ 154580 w 473016"/>
                  <a:gd name="connsiteY4" fmla="*/ 22890 h 101039"/>
                  <a:gd name="connsiteX5" fmla="*/ 23952 w 473016"/>
                  <a:gd name="connsiteY5" fmla="*/ 49146 h 101039"/>
                  <a:gd name="connsiteX6" fmla="*/ 236491 w 473016"/>
                  <a:gd name="connsiteY6" fmla="*/ 78097 h 101039"/>
                  <a:gd name="connsiteX7" fmla="*/ 449041 w 473016"/>
                  <a:gd name="connsiteY7" fmla="*/ 49146 h 101039"/>
                  <a:gd name="connsiteX8" fmla="*/ 323229 w 473016"/>
                  <a:gd name="connsiteY8" fmla="*/ 23245 h 101039"/>
                  <a:gd name="connsiteX9" fmla="*/ 312669 w 473016"/>
                  <a:gd name="connsiteY9" fmla="*/ 10943 h 101039"/>
                  <a:gd name="connsiteX10" fmla="*/ 324971 w 473016"/>
                  <a:gd name="connsiteY10" fmla="*/ 383 h 101039"/>
                  <a:gd name="connsiteX11" fmla="*/ 473016 w 473016"/>
                  <a:gd name="connsiteY11" fmla="*/ 49100 h 101039"/>
                  <a:gd name="connsiteX12" fmla="*/ 236502 w 473016"/>
                  <a:gd name="connsiteY12" fmla="*/ 101040 h 101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3016" h="101039">
                    <a:moveTo>
                      <a:pt x="236502" y="101040"/>
                    </a:moveTo>
                    <a:cubicBezTo>
                      <a:pt x="212298" y="101040"/>
                      <a:pt x="0" y="99584"/>
                      <a:pt x="0" y="49100"/>
                    </a:cubicBezTo>
                    <a:cubicBezTo>
                      <a:pt x="0" y="23750"/>
                      <a:pt x="51458" y="7239"/>
                      <a:pt x="152963" y="16"/>
                    </a:cubicBezTo>
                    <a:cubicBezTo>
                      <a:pt x="159201" y="-305"/>
                      <a:pt x="164762" y="4327"/>
                      <a:pt x="165209" y="10644"/>
                    </a:cubicBezTo>
                    <a:cubicBezTo>
                      <a:pt x="165656" y="16962"/>
                      <a:pt x="160909" y="22443"/>
                      <a:pt x="154580" y="22890"/>
                    </a:cubicBezTo>
                    <a:cubicBezTo>
                      <a:pt x="64529" y="29299"/>
                      <a:pt x="31210" y="43069"/>
                      <a:pt x="23952" y="49146"/>
                    </a:cubicBezTo>
                    <a:cubicBezTo>
                      <a:pt x="35865" y="59798"/>
                      <a:pt x="106665" y="78097"/>
                      <a:pt x="236491" y="78097"/>
                    </a:cubicBezTo>
                    <a:cubicBezTo>
                      <a:pt x="366305" y="78097"/>
                      <a:pt x="437117" y="59798"/>
                      <a:pt x="449041" y="49146"/>
                    </a:cubicBezTo>
                    <a:cubicBezTo>
                      <a:pt x="441933" y="43218"/>
                      <a:pt x="409749" y="29815"/>
                      <a:pt x="323229" y="23245"/>
                    </a:cubicBezTo>
                    <a:cubicBezTo>
                      <a:pt x="316911" y="22764"/>
                      <a:pt x="312187" y="17260"/>
                      <a:pt x="312669" y="10943"/>
                    </a:cubicBezTo>
                    <a:cubicBezTo>
                      <a:pt x="313150" y="4625"/>
                      <a:pt x="318631" y="-87"/>
                      <a:pt x="324971" y="383"/>
                    </a:cubicBezTo>
                    <a:cubicBezTo>
                      <a:pt x="423209" y="7847"/>
                      <a:pt x="473016" y="24243"/>
                      <a:pt x="473016" y="49100"/>
                    </a:cubicBezTo>
                    <a:cubicBezTo>
                      <a:pt x="473016" y="99584"/>
                      <a:pt x="260706" y="101040"/>
                      <a:pt x="236502" y="101040"/>
                    </a:cubicBezTo>
                    <a:close/>
                  </a:path>
                </a:pathLst>
              </a:custGeom>
              <a:solidFill>
                <a:schemeClr val="accent1"/>
              </a:solidFill>
              <a:ln w="1145" cap="flat">
                <a:noFill/>
                <a:prstDash val="solid"/>
                <a:miter/>
              </a:ln>
            </p:spPr>
            <p:txBody>
              <a:bodyPr rtlCol="0" anchor="ctr"/>
              <a:lstStyle/>
              <a:p>
                <a:endParaRPr lang="en-GB" dirty="0"/>
              </a:p>
            </p:txBody>
          </p:sp>
          <p:sp>
            <p:nvSpPr>
              <p:cNvPr id="936" name="Freeform: Shape 935">
                <a:extLst>
                  <a:ext uri="{FF2B5EF4-FFF2-40B4-BE49-F238E27FC236}">
                    <a16:creationId xmlns:a16="http://schemas.microsoft.com/office/drawing/2014/main" id="{9B0B83F6-E718-4AB5-8E3B-D7B5D885BBDC}"/>
                  </a:ext>
                </a:extLst>
              </p:cNvPr>
              <p:cNvSpPr/>
              <p:nvPr/>
            </p:nvSpPr>
            <p:spPr>
              <a:xfrm>
                <a:off x="6047732" y="2792021"/>
                <a:ext cx="407315" cy="111999"/>
              </a:xfrm>
              <a:custGeom>
                <a:avLst/>
                <a:gdLst>
                  <a:gd name="connsiteX0" fmla="*/ 361169 w 722325"/>
                  <a:gd name="connsiteY0" fmla="*/ 198617 h 198617"/>
                  <a:gd name="connsiteX1" fmla="*/ 0 w 722325"/>
                  <a:gd name="connsiteY1" fmla="*/ 95426 h 198617"/>
                  <a:gd name="connsiteX2" fmla="*/ 216506 w 722325"/>
                  <a:gd name="connsiteY2" fmla="*/ 353 h 198617"/>
                  <a:gd name="connsiteX3" fmla="*/ 229233 w 722325"/>
                  <a:gd name="connsiteY3" fmla="*/ 10397 h 198617"/>
                  <a:gd name="connsiteX4" fmla="*/ 219189 w 722325"/>
                  <a:gd name="connsiteY4" fmla="*/ 23124 h 198617"/>
                  <a:gd name="connsiteX5" fmla="*/ 22931 w 722325"/>
                  <a:gd name="connsiteY5" fmla="*/ 95426 h 198617"/>
                  <a:gd name="connsiteX6" fmla="*/ 361169 w 722325"/>
                  <a:gd name="connsiteY6" fmla="*/ 175686 h 198617"/>
                  <a:gd name="connsiteX7" fmla="*/ 699406 w 722325"/>
                  <a:gd name="connsiteY7" fmla="*/ 95426 h 198617"/>
                  <a:gd name="connsiteX8" fmla="*/ 500981 w 722325"/>
                  <a:gd name="connsiteY8" fmla="*/ 22860 h 198617"/>
                  <a:gd name="connsiteX9" fmla="*/ 490914 w 722325"/>
                  <a:gd name="connsiteY9" fmla="*/ 10156 h 198617"/>
                  <a:gd name="connsiteX10" fmla="*/ 503618 w 722325"/>
                  <a:gd name="connsiteY10" fmla="*/ 89 h 198617"/>
                  <a:gd name="connsiteX11" fmla="*/ 722326 w 722325"/>
                  <a:gd name="connsiteY11" fmla="*/ 95426 h 198617"/>
                  <a:gd name="connsiteX12" fmla="*/ 361169 w 722325"/>
                  <a:gd name="connsiteY12" fmla="*/ 198617 h 198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22325" h="198617">
                    <a:moveTo>
                      <a:pt x="361169" y="198617"/>
                    </a:moveTo>
                    <a:cubicBezTo>
                      <a:pt x="186076" y="198617"/>
                      <a:pt x="0" y="162454"/>
                      <a:pt x="0" y="95426"/>
                    </a:cubicBezTo>
                    <a:cubicBezTo>
                      <a:pt x="0" y="30909"/>
                      <a:pt x="165713" y="6338"/>
                      <a:pt x="216506" y="353"/>
                    </a:cubicBezTo>
                    <a:cubicBezTo>
                      <a:pt x="222778" y="-416"/>
                      <a:pt x="228499" y="4113"/>
                      <a:pt x="229233" y="10397"/>
                    </a:cubicBezTo>
                    <a:cubicBezTo>
                      <a:pt x="229967" y="16680"/>
                      <a:pt x="225472" y="22378"/>
                      <a:pt x="219189" y="23124"/>
                    </a:cubicBezTo>
                    <a:cubicBezTo>
                      <a:pt x="90338" y="38327"/>
                      <a:pt x="22931" y="71004"/>
                      <a:pt x="22931" y="95426"/>
                    </a:cubicBezTo>
                    <a:cubicBezTo>
                      <a:pt x="22931" y="128940"/>
                      <a:pt x="151611" y="175686"/>
                      <a:pt x="361169" y="175686"/>
                    </a:cubicBezTo>
                    <a:cubicBezTo>
                      <a:pt x="570727" y="175686"/>
                      <a:pt x="699406" y="128940"/>
                      <a:pt x="699406" y="95426"/>
                    </a:cubicBezTo>
                    <a:cubicBezTo>
                      <a:pt x="699406" y="70798"/>
                      <a:pt x="631254" y="37960"/>
                      <a:pt x="500981" y="22860"/>
                    </a:cubicBezTo>
                    <a:cubicBezTo>
                      <a:pt x="494698" y="22137"/>
                      <a:pt x="490180" y="16439"/>
                      <a:pt x="490914" y="10156"/>
                    </a:cubicBezTo>
                    <a:cubicBezTo>
                      <a:pt x="491637" y="3873"/>
                      <a:pt x="497392" y="-702"/>
                      <a:pt x="503618" y="89"/>
                    </a:cubicBezTo>
                    <a:cubicBezTo>
                      <a:pt x="554927" y="6028"/>
                      <a:pt x="722326" y="30473"/>
                      <a:pt x="722326" y="95426"/>
                    </a:cubicBezTo>
                    <a:cubicBezTo>
                      <a:pt x="722337" y="162443"/>
                      <a:pt x="536250" y="198617"/>
                      <a:pt x="361169" y="198617"/>
                    </a:cubicBezTo>
                    <a:close/>
                  </a:path>
                </a:pathLst>
              </a:custGeom>
              <a:solidFill>
                <a:schemeClr val="accent1"/>
              </a:solidFill>
              <a:ln w="1145" cap="flat">
                <a:noFill/>
                <a:prstDash val="solid"/>
                <a:miter/>
              </a:ln>
            </p:spPr>
            <p:txBody>
              <a:bodyPr rtlCol="0" anchor="ctr"/>
              <a:lstStyle/>
              <a:p>
                <a:endParaRPr lang="en-GB" dirty="0"/>
              </a:p>
            </p:txBody>
          </p:sp>
        </p:grpSp>
        <p:sp>
          <p:nvSpPr>
            <p:cNvPr id="933" name="Freeform: Shape 932">
              <a:extLst>
                <a:ext uri="{FF2B5EF4-FFF2-40B4-BE49-F238E27FC236}">
                  <a16:creationId xmlns:a16="http://schemas.microsoft.com/office/drawing/2014/main" id="{9557F09E-1821-48B6-B39A-02C3676CFDB1}"/>
                </a:ext>
              </a:extLst>
            </p:cNvPr>
            <p:cNvSpPr/>
            <p:nvPr/>
          </p:nvSpPr>
          <p:spPr>
            <a:xfrm>
              <a:off x="6054949" y="2361014"/>
              <a:ext cx="395954" cy="478441"/>
            </a:xfrm>
            <a:custGeom>
              <a:avLst/>
              <a:gdLst>
                <a:gd name="connsiteX0" fmla="*/ 351087 w 702177"/>
                <a:gd name="connsiteY0" fmla="*/ 848460 h 848459"/>
                <a:gd name="connsiteX1" fmla="*/ 342958 w 702177"/>
                <a:gd name="connsiteY1" fmla="*/ 845077 h 848459"/>
                <a:gd name="connsiteX2" fmla="*/ 102684 w 702177"/>
                <a:gd name="connsiteY2" fmla="*/ 603289 h 848459"/>
                <a:gd name="connsiteX3" fmla="*/ 102684 w 702177"/>
                <a:gd name="connsiteY3" fmla="*/ 103535 h 848459"/>
                <a:gd name="connsiteX4" fmla="*/ 351087 w 702177"/>
                <a:gd name="connsiteY4" fmla="*/ 0 h 848459"/>
                <a:gd name="connsiteX5" fmla="*/ 599503 w 702177"/>
                <a:gd name="connsiteY5" fmla="*/ 103535 h 848459"/>
                <a:gd name="connsiteX6" fmla="*/ 599503 w 702177"/>
                <a:gd name="connsiteY6" fmla="*/ 603289 h 848459"/>
                <a:gd name="connsiteX7" fmla="*/ 359228 w 702177"/>
                <a:gd name="connsiteY7" fmla="*/ 845077 h 848459"/>
                <a:gd name="connsiteX8" fmla="*/ 351087 w 702177"/>
                <a:gd name="connsiteY8" fmla="*/ 848460 h 848459"/>
                <a:gd name="connsiteX9" fmla="*/ 351087 w 702177"/>
                <a:gd name="connsiteY9" fmla="*/ 22931 h 848459"/>
                <a:gd name="connsiteX10" fmla="*/ 118953 w 702177"/>
                <a:gd name="connsiteY10" fmla="*/ 119702 h 848459"/>
                <a:gd name="connsiteX11" fmla="*/ 118953 w 702177"/>
                <a:gd name="connsiteY11" fmla="*/ 587123 h 848459"/>
                <a:gd name="connsiteX12" fmla="*/ 351087 w 702177"/>
                <a:gd name="connsiteY12" fmla="*/ 820736 h 848459"/>
                <a:gd name="connsiteX13" fmla="*/ 583233 w 702177"/>
                <a:gd name="connsiteY13" fmla="*/ 587123 h 848459"/>
                <a:gd name="connsiteX14" fmla="*/ 583233 w 702177"/>
                <a:gd name="connsiteY14" fmla="*/ 119702 h 848459"/>
                <a:gd name="connsiteX15" fmla="*/ 351087 w 702177"/>
                <a:gd name="connsiteY15" fmla="*/ 22931 h 848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02177" h="848459">
                  <a:moveTo>
                    <a:pt x="351087" y="848460"/>
                  </a:moveTo>
                  <a:cubicBezTo>
                    <a:pt x="348038" y="848460"/>
                    <a:pt x="345114" y="847244"/>
                    <a:pt x="342958" y="845077"/>
                  </a:cubicBezTo>
                  <a:lnTo>
                    <a:pt x="102684" y="603289"/>
                  </a:lnTo>
                  <a:cubicBezTo>
                    <a:pt x="-34228" y="465506"/>
                    <a:pt x="-34228" y="241318"/>
                    <a:pt x="102684" y="103535"/>
                  </a:cubicBezTo>
                  <a:cubicBezTo>
                    <a:pt x="169036" y="36770"/>
                    <a:pt x="257241" y="0"/>
                    <a:pt x="351087" y="0"/>
                  </a:cubicBezTo>
                  <a:cubicBezTo>
                    <a:pt x="444934" y="0"/>
                    <a:pt x="533151" y="36770"/>
                    <a:pt x="599503" y="103535"/>
                  </a:cubicBezTo>
                  <a:cubicBezTo>
                    <a:pt x="736403" y="241318"/>
                    <a:pt x="736403" y="465506"/>
                    <a:pt x="599503" y="603289"/>
                  </a:cubicBezTo>
                  <a:lnTo>
                    <a:pt x="359228" y="845077"/>
                  </a:lnTo>
                  <a:cubicBezTo>
                    <a:pt x="357073" y="847233"/>
                    <a:pt x="354137" y="848460"/>
                    <a:pt x="351087" y="848460"/>
                  </a:cubicBezTo>
                  <a:close/>
                  <a:moveTo>
                    <a:pt x="351087" y="22931"/>
                  </a:moveTo>
                  <a:cubicBezTo>
                    <a:pt x="263398" y="22931"/>
                    <a:pt x="180960" y="57305"/>
                    <a:pt x="118953" y="119702"/>
                  </a:cubicBezTo>
                  <a:cubicBezTo>
                    <a:pt x="-9107" y="248564"/>
                    <a:pt x="-9107" y="458249"/>
                    <a:pt x="118953" y="587123"/>
                  </a:cubicBezTo>
                  <a:lnTo>
                    <a:pt x="351087" y="820736"/>
                  </a:lnTo>
                  <a:lnTo>
                    <a:pt x="583233" y="587123"/>
                  </a:lnTo>
                  <a:cubicBezTo>
                    <a:pt x="711282" y="458260"/>
                    <a:pt x="711282" y="248576"/>
                    <a:pt x="583233" y="119702"/>
                  </a:cubicBezTo>
                  <a:cubicBezTo>
                    <a:pt x="521215" y="57294"/>
                    <a:pt x="438765" y="22931"/>
                    <a:pt x="351087" y="22931"/>
                  </a:cubicBezTo>
                  <a:close/>
                </a:path>
              </a:pathLst>
            </a:custGeom>
            <a:solidFill>
              <a:schemeClr val="tx2"/>
            </a:solidFill>
            <a:ln w="1145" cap="flat">
              <a:noFill/>
              <a:prstDash val="solid"/>
              <a:miter/>
            </a:ln>
          </p:spPr>
          <p:txBody>
            <a:bodyPr rtlCol="0" anchor="ctr"/>
            <a:lstStyle/>
            <a:p>
              <a:endParaRPr lang="en-GB" dirty="0"/>
            </a:p>
          </p:txBody>
        </p:sp>
      </p:grpSp>
      <p:sp>
        <p:nvSpPr>
          <p:cNvPr id="976" name="TextBox 42">
            <a:extLst>
              <a:ext uri="{FF2B5EF4-FFF2-40B4-BE49-F238E27FC236}">
                <a16:creationId xmlns:a16="http://schemas.microsoft.com/office/drawing/2014/main" id="{B42839A1-3E6C-4EE1-BBCA-579552DA61B0}"/>
              </a:ext>
            </a:extLst>
          </p:cNvPr>
          <p:cNvSpPr txBox="1"/>
          <p:nvPr/>
        </p:nvSpPr>
        <p:spPr>
          <a:xfrm>
            <a:off x="8007638"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No Virus</a:t>
            </a:r>
          </a:p>
        </p:txBody>
      </p:sp>
      <p:sp>
        <p:nvSpPr>
          <p:cNvPr id="977" name="TextBox 43">
            <a:extLst>
              <a:ext uri="{FF2B5EF4-FFF2-40B4-BE49-F238E27FC236}">
                <a16:creationId xmlns:a16="http://schemas.microsoft.com/office/drawing/2014/main" id="{25FD99DF-328B-4D1B-BA77-A34A730B9E92}"/>
              </a:ext>
            </a:extLst>
          </p:cNvPr>
          <p:cNvSpPr txBox="1"/>
          <p:nvPr/>
        </p:nvSpPr>
        <p:spPr>
          <a:xfrm>
            <a:off x="6962205"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Movement of Virus</a:t>
            </a:r>
          </a:p>
        </p:txBody>
      </p:sp>
      <p:sp>
        <p:nvSpPr>
          <p:cNvPr id="978" name="TextBox 45">
            <a:extLst>
              <a:ext uri="{FF2B5EF4-FFF2-40B4-BE49-F238E27FC236}">
                <a16:creationId xmlns:a16="http://schemas.microsoft.com/office/drawing/2014/main" id="{0CDAD5ED-8DA6-4C23-84FB-D1ECED0D0915}"/>
              </a:ext>
            </a:extLst>
          </p:cNvPr>
          <p:cNvSpPr txBox="1"/>
          <p:nvPr/>
        </p:nvSpPr>
        <p:spPr>
          <a:xfrm>
            <a:off x="487133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News Virus</a:t>
            </a:r>
          </a:p>
        </p:txBody>
      </p:sp>
      <p:sp>
        <p:nvSpPr>
          <p:cNvPr id="979" name="TextBox 46">
            <a:extLst>
              <a:ext uri="{FF2B5EF4-FFF2-40B4-BE49-F238E27FC236}">
                <a16:creationId xmlns:a16="http://schemas.microsoft.com/office/drawing/2014/main" id="{ACA7B34D-ECB0-4F2D-AD57-AF7156C8752D}"/>
              </a:ext>
            </a:extLst>
          </p:cNvPr>
          <p:cNvSpPr txBox="1"/>
          <p:nvPr/>
        </p:nvSpPr>
        <p:spPr>
          <a:xfrm>
            <a:off x="8007638"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Virus Hotspots/ locations</a:t>
            </a:r>
          </a:p>
        </p:txBody>
      </p:sp>
      <p:sp>
        <p:nvSpPr>
          <p:cNvPr id="980" name="TextBox 47">
            <a:extLst>
              <a:ext uri="{FF2B5EF4-FFF2-40B4-BE49-F238E27FC236}">
                <a16:creationId xmlns:a16="http://schemas.microsoft.com/office/drawing/2014/main" id="{C741BB5C-2D5D-4175-A707-473509CC0871}"/>
              </a:ext>
            </a:extLst>
          </p:cNvPr>
          <p:cNvSpPr txBox="1"/>
          <p:nvPr/>
        </p:nvSpPr>
        <p:spPr>
          <a:xfrm>
            <a:off x="6962205"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formation Virus</a:t>
            </a:r>
          </a:p>
        </p:txBody>
      </p:sp>
      <p:sp>
        <p:nvSpPr>
          <p:cNvPr id="981" name="TextBox 48">
            <a:extLst>
              <a:ext uri="{FF2B5EF4-FFF2-40B4-BE49-F238E27FC236}">
                <a16:creationId xmlns:a16="http://schemas.microsoft.com/office/drawing/2014/main" id="{C9D7D793-842C-4C15-944E-485CE6764D88}"/>
              </a:ext>
            </a:extLst>
          </p:cNvPr>
          <p:cNvSpPr txBox="1"/>
          <p:nvPr/>
        </p:nvSpPr>
        <p:spPr>
          <a:xfrm>
            <a:off x="5916771"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rus network</a:t>
            </a:r>
          </a:p>
        </p:txBody>
      </p:sp>
    </p:spTree>
    <p:extLst>
      <p:ext uri="{BB962C8B-B14F-4D97-AF65-F5344CB8AC3E}">
        <p14:creationId xmlns:p14="http://schemas.microsoft.com/office/powerpoint/2010/main" val="3223382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8C5B19F-4428-4352-8500-998878759953}"/>
              </a:ext>
            </a:extLst>
          </p:cNvPr>
          <p:cNvGraphicFramePr>
            <a:graphicFrameLocks noChangeAspect="1"/>
          </p:cNvGraphicFramePr>
          <p:nvPr>
            <p:custDataLst>
              <p:tags r:id="rId1"/>
            </p:custDataLst>
            <p:extLst>
              <p:ext uri="{D42A27DB-BD31-4B8C-83A1-F6EECF244321}">
                <p14:modId xmlns:p14="http://schemas.microsoft.com/office/powerpoint/2010/main" val="2453905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 name="Objekt 4" hidden="1">
                        <a:extLst>
                          <a:ext uri="{FF2B5EF4-FFF2-40B4-BE49-F238E27FC236}">
                            <a16:creationId xmlns:a16="http://schemas.microsoft.com/office/drawing/2014/main" id="{D8C5B19F-4428-4352-8500-99887875995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BEDE55A8-7B5D-49C4-B710-26AD8FF70450}"/>
              </a:ext>
            </a:extLst>
          </p:cNvPr>
          <p:cNvSpPr>
            <a:spLocks noGrp="1"/>
          </p:cNvSpPr>
          <p:nvPr>
            <p:ph type="sldNum" sz="quarter" idx="11"/>
          </p:nvPr>
        </p:nvSpPr>
        <p:spPr/>
        <p:txBody>
          <a:bodyPr/>
          <a:lstStyle/>
          <a:p>
            <a:fld id="{D56DB8AA-803C-49D2-90AA-1140CE72DCD7}" type="slidenum">
              <a:rPr lang="en-GB" smtClean="0"/>
              <a:pPr/>
              <a:t>34</a:t>
            </a:fld>
            <a:endParaRPr lang="en-GB" dirty="0"/>
          </a:p>
        </p:txBody>
      </p:sp>
      <p:sp>
        <p:nvSpPr>
          <p:cNvPr id="3" name="Title 2">
            <a:extLst>
              <a:ext uri="{FF2B5EF4-FFF2-40B4-BE49-F238E27FC236}">
                <a16:creationId xmlns:a16="http://schemas.microsoft.com/office/drawing/2014/main" id="{DC2CEDAC-868D-48EC-8BD1-C6B5F2C0B95C}"/>
              </a:ext>
            </a:extLst>
          </p:cNvPr>
          <p:cNvSpPr>
            <a:spLocks noGrp="1"/>
          </p:cNvSpPr>
          <p:nvPr>
            <p:ph type="title"/>
          </p:nvPr>
        </p:nvSpPr>
        <p:spPr>
          <a:xfrm>
            <a:off x="252000" y="252000"/>
            <a:ext cx="6748875" cy="576000"/>
          </a:xfrm>
        </p:spPr>
        <p:txBody>
          <a:bodyPr/>
          <a:lstStyle/>
          <a:p>
            <a:r>
              <a:rPr lang="en-US" dirty="0"/>
              <a:t>Medical 2/2</a:t>
            </a:r>
            <a:br>
              <a:rPr lang="en-US" dirty="0"/>
            </a:br>
            <a:endParaRPr lang="en-US" dirty="0"/>
          </a:p>
        </p:txBody>
      </p:sp>
      <p:grpSp>
        <p:nvGrpSpPr>
          <p:cNvPr id="20" name="Group 19">
            <a:extLst>
              <a:ext uri="{FF2B5EF4-FFF2-40B4-BE49-F238E27FC236}">
                <a16:creationId xmlns:a16="http://schemas.microsoft.com/office/drawing/2014/main" id="{63487FE3-81B4-283B-15CD-15CB2DE525A7}"/>
              </a:ext>
            </a:extLst>
          </p:cNvPr>
          <p:cNvGrpSpPr/>
          <p:nvPr/>
        </p:nvGrpSpPr>
        <p:grpSpPr>
          <a:xfrm>
            <a:off x="595984" y="4002611"/>
            <a:ext cx="396133" cy="422293"/>
            <a:chOff x="595984" y="4002611"/>
            <a:chExt cx="396133" cy="422293"/>
          </a:xfrm>
        </p:grpSpPr>
        <p:grpSp>
          <p:nvGrpSpPr>
            <p:cNvPr id="665" name="Group 664">
              <a:extLst>
                <a:ext uri="{FF2B5EF4-FFF2-40B4-BE49-F238E27FC236}">
                  <a16:creationId xmlns:a16="http://schemas.microsoft.com/office/drawing/2014/main" id="{065C87A0-0D80-4DD6-8D59-58CD9C2AE870}"/>
                </a:ext>
              </a:extLst>
            </p:cNvPr>
            <p:cNvGrpSpPr/>
            <p:nvPr/>
          </p:nvGrpSpPr>
          <p:grpSpPr>
            <a:xfrm>
              <a:off x="595984" y="4027389"/>
              <a:ext cx="395954" cy="397515"/>
              <a:chOff x="2686852" y="1621067"/>
              <a:chExt cx="395954" cy="397515"/>
            </a:xfrm>
            <a:solidFill>
              <a:schemeClr val="tx2"/>
            </a:solidFill>
          </p:grpSpPr>
          <p:sp>
            <p:nvSpPr>
              <p:cNvPr id="677" name="Freeform: Shape 676">
                <a:extLst>
                  <a:ext uri="{FF2B5EF4-FFF2-40B4-BE49-F238E27FC236}">
                    <a16:creationId xmlns:a16="http://schemas.microsoft.com/office/drawing/2014/main" id="{410CAD67-DE11-4A0D-841B-946646C46559}"/>
                  </a:ext>
                </a:extLst>
              </p:cNvPr>
              <p:cNvSpPr/>
              <p:nvPr/>
            </p:nvSpPr>
            <p:spPr>
              <a:xfrm>
                <a:off x="2848276" y="1621067"/>
                <a:ext cx="159260" cy="106565"/>
              </a:xfrm>
              <a:custGeom>
                <a:avLst/>
                <a:gdLst>
                  <a:gd name="connsiteX0" fmla="*/ 126205 w 159260"/>
                  <a:gd name="connsiteY0" fmla="*/ 106566 h 106565"/>
                  <a:gd name="connsiteX1" fmla="*/ 99024 w 159260"/>
                  <a:gd name="connsiteY1" fmla="*/ 95667 h 106565"/>
                  <a:gd name="connsiteX2" fmla="*/ 73253 w 159260"/>
                  <a:gd name="connsiteY2" fmla="*/ 75151 h 106565"/>
                  <a:gd name="connsiteX3" fmla="*/ 72239 w 159260"/>
                  <a:gd name="connsiteY3" fmla="*/ 66190 h 106565"/>
                  <a:gd name="connsiteX4" fmla="*/ 81199 w 159260"/>
                  <a:gd name="connsiteY4" fmla="*/ 65183 h 106565"/>
                  <a:gd name="connsiteX5" fmla="*/ 107410 w 159260"/>
                  <a:gd name="connsiteY5" fmla="*/ 86081 h 106565"/>
                  <a:gd name="connsiteX6" fmla="*/ 142907 w 159260"/>
                  <a:gd name="connsiteY6" fmla="*/ 87893 h 106565"/>
                  <a:gd name="connsiteX7" fmla="*/ 146351 w 159260"/>
                  <a:gd name="connsiteY7" fmla="*/ 85087 h 106565"/>
                  <a:gd name="connsiteX8" fmla="*/ 83349 w 159260"/>
                  <a:gd name="connsiteY8" fmla="*/ 19788 h 106565"/>
                  <a:gd name="connsiteX9" fmla="*/ 53152 w 159260"/>
                  <a:gd name="connsiteY9" fmla="*/ 16912 h 106565"/>
                  <a:gd name="connsiteX10" fmla="*/ 17891 w 159260"/>
                  <a:gd name="connsiteY10" fmla="*/ 55419 h 106565"/>
                  <a:gd name="connsiteX11" fmla="*/ 12566 w 159260"/>
                  <a:gd name="connsiteY11" fmla="*/ 65329 h 106565"/>
                  <a:gd name="connsiteX12" fmla="*/ 4837 w 159260"/>
                  <a:gd name="connsiteY12" fmla="*/ 69972 h 106565"/>
                  <a:gd name="connsiteX13" fmla="*/ 187 w 159260"/>
                  <a:gd name="connsiteY13" fmla="*/ 62243 h 106565"/>
                  <a:gd name="connsiteX14" fmla="*/ 8478 w 159260"/>
                  <a:gd name="connsiteY14" fmla="*/ 46809 h 106565"/>
                  <a:gd name="connsiteX15" fmla="*/ 44198 w 159260"/>
                  <a:gd name="connsiteY15" fmla="*/ 7812 h 106565"/>
                  <a:gd name="connsiteX16" fmla="*/ 45129 w 159260"/>
                  <a:gd name="connsiteY16" fmla="*/ 6983 h 106565"/>
                  <a:gd name="connsiteX17" fmla="*/ 92494 w 159260"/>
                  <a:gd name="connsiteY17" fmla="*/ 10892 h 106565"/>
                  <a:gd name="connsiteX18" fmla="*/ 155528 w 159260"/>
                  <a:gd name="connsiteY18" fmla="*/ 75603 h 106565"/>
                  <a:gd name="connsiteX19" fmla="*/ 159240 w 159260"/>
                  <a:gd name="connsiteY19" fmla="*/ 85546 h 106565"/>
                  <a:gd name="connsiteX20" fmla="*/ 154406 w 159260"/>
                  <a:gd name="connsiteY20" fmla="*/ 94991 h 106565"/>
                  <a:gd name="connsiteX21" fmla="*/ 150962 w 159260"/>
                  <a:gd name="connsiteY21" fmla="*/ 97790 h 106565"/>
                  <a:gd name="connsiteX22" fmla="*/ 126205 w 159260"/>
                  <a:gd name="connsiteY22" fmla="*/ 106566 h 10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9260" h="106565">
                    <a:moveTo>
                      <a:pt x="126205" y="106566"/>
                    </a:moveTo>
                    <a:cubicBezTo>
                      <a:pt x="116377" y="106566"/>
                      <a:pt x="106575" y="102899"/>
                      <a:pt x="99024" y="95667"/>
                    </a:cubicBezTo>
                    <a:lnTo>
                      <a:pt x="73253" y="75151"/>
                    </a:lnTo>
                    <a:cubicBezTo>
                      <a:pt x="70492" y="72957"/>
                      <a:pt x="70045" y="68945"/>
                      <a:pt x="72239" y="66190"/>
                    </a:cubicBezTo>
                    <a:cubicBezTo>
                      <a:pt x="74439" y="63442"/>
                      <a:pt x="78451" y="62983"/>
                      <a:pt x="81199" y="65183"/>
                    </a:cubicBezTo>
                    <a:lnTo>
                      <a:pt x="107410" y="86081"/>
                    </a:lnTo>
                    <a:cubicBezTo>
                      <a:pt x="117480" y="95699"/>
                      <a:pt x="132538" y="96317"/>
                      <a:pt x="142907" y="87893"/>
                    </a:cubicBezTo>
                    <a:lnTo>
                      <a:pt x="146351" y="85087"/>
                    </a:lnTo>
                    <a:lnTo>
                      <a:pt x="83349" y="19788"/>
                    </a:lnTo>
                    <a:cubicBezTo>
                      <a:pt x="75364" y="11600"/>
                      <a:pt x="62495" y="10407"/>
                      <a:pt x="53152" y="16912"/>
                    </a:cubicBezTo>
                    <a:lnTo>
                      <a:pt x="17891" y="55419"/>
                    </a:lnTo>
                    <a:cubicBezTo>
                      <a:pt x="15334" y="58219"/>
                      <a:pt x="13491" y="61650"/>
                      <a:pt x="12566" y="65329"/>
                    </a:cubicBezTo>
                    <a:cubicBezTo>
                      <a:pt x="11711" y="68748"/>
                      <a:pt x="8236" y="70833"/>
                      <a:pt x="4837" y="69972"/>
                    </a:cubicBezTo>
                    <a:cubicBezTo>
                      <a:pt x="1418" y="69118"/>
                      <a:pt x="-654" y="65655"/>
                      <a:pt x="187" y="62243"/>
                    </a:cubicBezTo>
                    <a:cubicBezTo>
                      <a:pt x="1622" y="56509"/>
                      <a:pt x="4492" y="51172"/>
                      <a:pt x="8478" y="46809"/>
                    </a:cubicBezTo>
                    <a:lnTo>
                      <a:pt x="44198" y="7812"/>
                    </a:lnTo>
                    <a:cubicBezTo>
                      <a:pt x="44478" y="7506"/>
                      <a:pt x="44791" y="7225"/>
                      <a:pt x="45129" y="6983"/>
                    </a:cubicBezTo>
                    <a:cubicBezTo>
                      <a:pt x="59586" y="-3655"/>
                      <a:pt x="79956" y="-1971"/>
                      <a:pt x="92494" y="10892"/>
                    </a:cubicBezTo>
                    <a:lnTo>
                      <a:pt x="155528" y="75603"/>
                    </a:lnTo>
                    <a:cubicBezTo>
                      <a:pt x="158098" y="78244"/>
                      <a:pt x="159450" y="81866"/>
                      <a:pt x="159240" y="85546"/>
                    </a:cubicBezTo>
                    <a:cubicBezTo>
                      <a:pt x="159029" y="89225"/>
                      <a:pt x="157263" y="92663"/>
                      <a:pt x="154406" y="94991"/>
                    </a:cubicBezTo>
                    <a:lnTo>
                      <a:pt x="150962" y="97790"/>
                    </a:lnTo>
                    <a:cubicBezTo>
                      <a:pt x="143736" y="103658"/>
                      <a:pt x="134961" y="106566"/>
                      <a:pt x="126205" y="106566"/>
                    </a:cubicBezTo>
                    <a:close/>
                  </a:path>
                </a:pathLst>
              </a:custGeom>
              <a:solidFill>
                <a:schemeClr val="accent1"/>
              </a:solidFill>
              <a:ln w="637" cap="flat">
                <a:noFill/>
                <a:prstDash val="solid"/>
                <a:miter/>
              </a:ln>
            </p:spPr>
            <p:txBody>
              <a:bodyPr rtlCol="0" anchor="ctr"/>
              <a:lstStyle/>
              <a:p>
                <a:endParaRPr lang="en-GB" dirty="0"/>
              </a:p>
            </p:txBody>
          </p:sp>
          <p:grpSp>
            <p:nvGrpSpPr>
              <p:cNvPr id="678" name="Group 677">
                <a:extLst>
                  <a:ext uri="{FF2B5EF4-FFF2-40B4-BE49-F238E27FC236}">
                    <a16:creationId xmlns:a16="http://schemas.microsoft.com/office/drawing/2014/main" id="{1D56B619-3145-4699-8C0E-AE78E14BDF6C}"/>
                  </a:ext>
                </a:extLst>
              </p:cNvPr>
              <p:cNvGrpSpPr/>
              <p:nvPr/>
            </p:nvGrpSpPr>
            <p:grpSpPr>
              <a:xfrm>
                <a:off x="2686852" y="1640773"/>
                <a:ext cx="395954" cy="377809"/>
                <a:chOff x="2686852" y="1640773"/>
                <a:chExt cx="395954" cy="377809"/>
              </a:xfrm>
              <a:grpFill/>
            </p:grpSpPr>
            <p:grpSp>
              <p:nvGrpSpPr>
                <p:cNvPr id="679" name="Graphic 32">
                  <a:extLst>
                    <a:ext uri="{FF2B5EF4-FFF2-40B4-BE49-F238E27FC236}">
                      <a16:creationId xmlns:a16="http://schemas.microsoft.com/office/drawing/2014/main" id="{0F85687F-BD2B-4FAA-ADAD-5F902747F45D}"/>
                    </a:ext>
                  </a:extLst>
                </p:cNvPr>
                <p:cNvGrpSpPr/>
                <p:nvPr/>
              </p:nvGrpSpPr>
              <p:grpSpPr>
                <a:xfrm>
                  <a:off x="2686852" y="1640773"/>
                  <a:ext cx="216323" cy="236760"/>
                  <a:chOff x="6684041" y="1663862"/>
                  <a:chExt cx="216323" cy="236760"/>
                </a:xfrm>
                <a:grpFill/>
              </p:grpSpPr>
              <p:sp>
                <p:nvSpPr>
                  <p:cNvPr id="691" name="Freeform: Shape 690">
                    <a:extLst>
                      <a:ext uri="{FF2B5EF4-FFF2-40B4-BE49-F238E27FC236}">
                        <a16:creationId xmlns:a16="http://schemas.microsoft.com/office/drawing/2014/main" id="{C4209D9F-598F-444F-839E-8F985A2DB4F0}"/>
                      </a:ext>
                    </a:extLst>
                  </p:cNvPr>
                  <p:cNvSpPr/>
                  <p:nvPr/>
                </p:nvSpPr>
                <p:spPr>
                  <a:xfrm>
                    <a:off x="6750340" y="1807607"/>
                    <a:ext cx="111033" cy="79183"/>
                  </a:xfrm>
                  <a:custGeom>
                    <a:avLst/>
                    <a:gdLst>
                      <a:gd name="connsiteX0" fmla="*/ 6379 w 111033"/>
                      <a:gd name="connsiteY0" fmla="*/ 79183 h 79183"/>
                      <a:gd name="connsiteX1" fmla="*/ 1870 w 111033"/>
                      <a:gd name="connsiteY1" fmla="*/ 77315 h 79183"/>
                      <a:gd name="connsiteX2" fmla="*/ 1870 w 111033"/>
                      <a:gd name="connsiteY2" fmla="*/ 68297 h 79183"/>
                      <a:gd name="connsiteX3" fmla="*/ 31978 w 111033"/>
                      <a:gd name="connsiteY3" fmla="*/ 38189 h 79183"/>
                      <a:gd name="connsiteX4" fmla="*/ 35728 w 111033"/>
                      <a:gd name="connsiteY4" fmla="*/ 36365 h 79183"/>
                      <a:gd name="connsiteX5" fmla="*/ 69719 w 111033"/>
                      <a:gd name="connsiteY5" fmla="*/ 32290 h 79183"/>
                      <a:gd name="connsiteX6" fmla="*/ 100146 w 111033"/>
                      <a:gd name="connsiteY6" fmla="*/ 1870 h 79183"/>
                      <a:gd name="connsiteX7" fmla="*/ 109163 w 111033"/>
                      <a:gd name="connsiteY7" fmla="*/ 1870 h 79183"/>
                      <a:gd name="connsiteX8" fmla="*/ 109163 w 111033"/>
                      <a:gd name="connsiteY8" fmla="*/ 10888 h 79183"/>
                      <a:gd name="connsiteX9" fmla="*/ 77181 w 111033"/>
                      <a:gd name="connsiteY9" fmla="*/ 42870 h 79183"/>
                      <a:gd name="connsiteX10" fmla="*/ 73431 w 111033"/>
                      <a:gd name="connsiteY10" fmla="*/ 44694 h 79183"/>
                      <a:gd name="connsiteX11" fmla="*/ 39439 w 111033"/>
                      <a:gd name="connsiteY11" fmla="*/ 48770 h 79183"/>
                      <a:gd name="connsiteX12" fmla="*/ 10888 w 111033"/>
                      <a:gd name="connsiteY12" fmla="*/ 77321 h 79183"/>
                      <a:gd name="connsiteX13" fmla="*/ 6379 w 111033"/>
                      <a:gd name="connsiteY13" fmla="*/ 79183 h 79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033" h="79183">
                        <a:moveTo>
                          <a:pt x="6379" y="79183"/>
                        </a:moveTo>
                        <a:cubicBezTo>
                          <a:pt x="4746" y="79183"/>
                          <a:pt x="3114" y="78558"/>
                          <a:pt x="1870" y="77315"/>
                        </a:cubicBezTo>
                        <a:cubicBezTo>
                          <a:pt x="-623" y="74821"/>
                          <a:pt x="-623" y="70791"/>
                          <a:pt x="1870" y="68297"/>
                        </a:cubicBezTo>
                        <a:lnTo>
                          <a:pt x="31978" y="38189"/>
                        </a:lnTo>
                        <a:cubicBezTo>
                          <a:pt x="32985" y="37175"/>
                          <a:pt x="34306" y="36538"/>
                          <a:pt x="35728" y="36365"/>
                        </a:cubicBezTo>
                        <a:lnTo>
                          <a:pt x="69719" y="32290"/>
                        </a:lnTo>
                        <a:lnTo>
                          <a:pt x="100146" y="1870"/>
                        </a:lnTo>
                        <a:cubicBezTo>
                          <a:pt x="102639" y="-623"/>
                          <a:pt x="106670" y="-623"/>
                          <a:pt x="109163" y="1870"/>
                        </a:cubicBezTo>
                        <a:cubicBezTo>
                          <a:pt x="111657" y="4364"/>
                          <a:pt x="111657" y="8394"/>
                          <a:pt x="109163" y="10888"/>
                        </a:cubicBezTo>
                        <a:lnTo>
                          <a:pt x="77181" y="42870"/>
                        </a:lnTo>
                        <a:cubicBezTo>
                          <a:pt x="76173" y="43884"/>
                          <a:pt x="74853" y="44522"/>
                          <a:pt x="73431" y="44694"/>
                        </a:cubicBezTo>
                        <a:lnTo>
                          <a:pt x="39439" y="48770"/>
                        </a:lnTo>
                        <a:lnTo>
                          <a:pt x="10888" y="77321"/>
                        </a:lnTo>
                        <a:cubicBezTo>
                          <a:pt x="9644" y="78558"/>
                          <a:pt x="8011" y="79183"/>
                          <a:pt x="6379" y="79183"/>
                        </a:cubicBezTo>
                        <a:close/>
                      </a:path>
                    </a:pathLst>
                  </a:custGeom>
                  <a:grpFill/>
                  <a:ln w="637" cap="flat">
                    <a:noFill/>
                    <a:prstDash val="solid"/>
                    <a:miter/>
                  </a:ln>
                </p:spPr>
                <p:txBody>
                  <a:bodyPr rtlCol="0" anchor="ctr"/>
                  <a:lstStyle/>
                  <a:p>
                    <a:endParaRPr lang="en-GB" dirty="0"/>
                  </a:p>
                </p:txBody>
              </p:sp>
              <p:sp>
                <p:nvSpPr>
                  <p:cNvPr id="692" name="Freeform: Shape 691">
                    <a:extLst>
                      <a:ext uri="{FF2B5EF4-FFF2-40B4-BE49-F238E27FC236}">
                        <a16:creationId xmlns:a16="http://schemas.microsoft.com/office/drawing/2014/main" id="{8E6A7399-630A-4563-B1A7-94A52B0842FF}"/>
                      </a:ext>
                    </a:extLst>
                  </p:cNvPr>
                  <p:cNvSpPr/>
                  <p:nvPr/>
                </p:nvSpPr>
                <p:spPr>
                  <a:xfrm>
                    <a:off x="6684041" y="1683188"/>
                    <a:ext cx="157562" cy="139579"/>
                  </a:xfrm>
                  <a:custGeom>
                    <a:avLst/>
                    <a:gdLst>
                      <a:gd name="connsiteX0" fmla="*/ 6379 w 157562"/>
                      <a:gd name="connsiteY0" fmla="*/ 139580 h 139579"/>
                      <a:gd name="connsiteX1" fmla="*/ 1870 w 157562"/>
                      <a:gd name="connsiteY1" fmla="*/ 137711 h 139579"/>
                      <a:gd name="connsiteX2" fmla="*/ 1870 w 157562"/>
                      <a:gd name="connsiteY2" fmla="*/ 128694 h 139579"/>
                      <a:gd name="connsiteX3" fmla="*/ 30103 w 157562"/>
                      <a:gd name="connsiteY3" fmla="*/ 100455 h 139579"/>
                      <a:gd name="connsiteX4" fmla="*/ 30039 w 157562"/>
                      <a:gd name="connsiteY4" fmla="*/ 56642 h 139579"/>
                      <a:gd name="connsiteX5" fmla="*/ 37686 w 157562"/>
                      <a:gd name="connsiteY5" fmla="*/ 36910 h 139579"/>
                      <a:gd name="connsiteX6" fmla="*/ 65504 w 157562"/>
                      <a:gd name="connsiteY6" fmla="*/ 6541 h 139579"/>
                      <a:gd name="connsiteX7" fmla="*/ 66429 w 157562"/>
                      <a:gd name="connsiteY7" fmla="*/ 5712 h 139579"/>
                      <a:gd name="connsiteX8" fmla="*/ 105165 w 157562"/>
                      <a:gd name="connsiteY8" fmla="*/ 8907 h 139579"/>
                      <a:gd name="connsiteX9" fmla="*/ 154252 w 157562"/>
                      <a:gd name="connsiteY9" fmla="*/ 59301 h 139579"/>
                      <a:gd name="connsiteX10" fmla="*/ 157542 w 157562"/>
                      <a:gd name="connsiteY10" fmla="*/ 68115 h 139579"/>
                      <a:gd name="connsiteX11" fmla="*/ 153263 w 157562"/>
                      <a:gd name="connsiteY11" fmla="*/ 76476 h 139579"/>
                      <a:gd name="connsiteX12" fmla="*/ 150578 w 157562"/>
                      <a:gd name="connsiteY12" fmla="*/ 78657 h 139579"/>
                      <a:gd name="connsiteX13" fmla="*/ 108264 w 157562"/>
                      <a:gd name="connsiteY13" fmla="*/ 76935 h 139579"/>
                      <a:gd name="connsiteX14" fmla="*/ 88290 w 157562"/>
                      <a:gd name="connsiteY14" fmla="*/ 61042 h 139579"/>
                      <a:gd name="connsiteX15" fmla="*/ 87276 w 157562"/>
                      <a:gd name="connsiteY15" fmla="*/ 52082 h 139579"/>
                      <a:gd name="connsiteX16" fmla="*/ 96237 w 157562"/>
                      <a:gd name="connsiteY16" fmla="*/ 51074 h 139579"/>
                      <a:gd name="connsiteX17" fmla="*/ 116651 w 157562"/>
                      <a:gd name="connsiteY17" fmla="*/ 67350 h 139579"/>
                      <a:gd name="connsiteX18" fmla="*/ 142530 w 157562"/>
                      <a:gd name="connsiteY18" fmla="*/ 68765 h 139579"/>
                      <a:gd name="connsiteX19" fmla="*/ 144278 w 157562"/>
                      <a:gd name="connsiteY19" fmla="*/ 67337 h 139579"/>
                      <a:gd name="connsiteX20" fmla="*/ 96026 w 157562"/>
                      <a:gd name="connsiteY20" fmla="*/ 17797 h 139579"/>
                      <a:gd name="connsiteX21" fmla="*/ 74451 w 157562"/>
                      <a:gd name="connsiteY21" fmla="*/ 15648 h 139579"/>
                      <a:gd name="connsiteX22" fmla="*/ 47092 w 157562"/>
                      <a:gd name="connsiteY22" fmla="*/ 45520 h 139579"/>
                      <a:gd name="connsiteX23" fmla="*/ 42788 w 157562"/>
                      <a:gd name="connsiteY23" fmla="*/ 56623 h 139579"/>
                      <a:gd name="connsiteX24" fmla="*/ 42858 w 157562"/>
                      <a:gd name="connsiteY24" fmla="*/ 103076 h 139579"/>
                      <a:gd name="connsiteX25" fmla="*/ 40989 w 157562"/>
                      <a:gd name="connsiteY25" fmla="*/ 107597 h 139579"/>
                      <a:gd name="connsiteX26" fmla="*/ 10881 w 157562"/>
                      <a:gd name="connsiteY26" fmla="*/ 137705 h 139579"/>
                      <a:gd name="connsiteX27" fmla="*/ 6379 w 157562"/>
                      <a:gd name="connsiteY27" fmla="*/ 139580 h 139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57562" h="139579">
                        <a:moveTo>
                          <a:pt x="6379" y="139580"/>
                        </a:moveTo>
                        <a:cubicBezTo>
                          <a:pt x="4746" y="139580"/>
                          <a:pt x="3114" y="138955"/>
                          <a:pt x="1870" y="137711"/>
                        </a:cubicBezTo>
                        <a:cubicBezTo>
                          <a:pt x="-623" y="135218"/>
                          <a:pt x="-623" y="131187"/>
                          <a:pt x="1870" y="128694"/>
                        </a:cubicBezTo>
                        <a:lnTo>
                          <a:pt x="30103" y="100455"/>
                        </a:lnTo>
                        <a:lnTo>
                          <a:pt x="30039" y="56642"/>
                        </a:lnTo>
                        <a:cubicBezTo>
                          <a:pt x="30033" y="49327"/>
                          <a:pt x="32750" y="42318"/>
                          <a:pt x="37686" y="36910"/>
                        </a:cubicBezTo>
                        <a:lnTo>
                          <a:pt x="65504" y="6541"/>
                        </a:lnTo>
                        <a:cubicBezTo>
                          <a:pt x="65784" y="6235"/>
                          <a:pt x="66097" y="5954"/>
                          <a:pt x="66429" y="5712"/>
                        </a:cubicBezTo>
                        <a:cubicBezTo>
                          <a:pt x="78265" y="-2987"/>
                          <a:pt x="94910" y="-1616"/>
                          <a:pt x="105165" y="8907"/>
                        </a:cubicBezTo>
                        <a:lnTo>
                          <a:pt x="154252" y="59301"/>
                        </a:lnTo>
                        <a:cubicBezTo>
                          <a:pt x="156535" y="61648"/>
                          <a:pt x="157734" y="64862"/>
                          <a:pt x="157542" y="68115"/>
                        </a:cubicBezTo>
                        <a:cubicBezTo>
                          <a:pt x="157358" y="71374"/>
                          <a:pt x="155795" y="74416"/>
                          <a:pt x="153263" y="76476"/>
                        </a:cubicBezTo>
                        <a:lnTo>
                          <a:pt x="150578" y="78657"/>
                        </a:lnTo>
                        <a:cubicBezTo>
                          <a:pt x="138098" y="88816"/>
                          <a:pt x="119903" y="88089"/>
                          <a:pt x="108264" y="76935"/>
                        </a:cubicBezTo>
                        <a:lnTo>
                          <a:pt x="88290" y="61042"/>
                        </a:lnTo>
                        <a:cubicBezTo>
                          <a:pt x="85529" y="58848"/>
                          <a:pt x="85082" y="54837"/>
                          <a:pt x="87276" y="52082"/>
                        </a:cubicBezTo>
                        <a:cubicBezTo>
                          <a:pt x="89476" y="49333"/>
                          <a:pt x="93488" y="48868"/>
                          <a:pt x="96237" y="51074"/>
                        </a:cubicBezTo>
                        <a:lnTo>
                          <a:pt x="116651" y="67350"/>
                        </a:lnTo>
                        <a:cubicBezTo>
                          <a:pt x="124087" y="74422"/>
                          <a:pt x="135011" y="74881"/>
                          <a:pt x="142530" y="68765"/>
                        </a:cubicBezTo>
                        <a:lnTo>
                          <a:pt x="144278" y="67337"/>
                        </a:lnTo>
                        <a:lnTo>
                          <a:pt x="96026" y="17797"/>
                        </a:lnTo>
                        <a:cubicBezTo>
                          <a:pt x="90312" y="11943"/>
                          <a:pt x="81148" y="11069"/>
                          <a:pt x="74451" y="15648"/>
                        </a:cubicBezTo>
                        <a:lnTo>
                          <a:pt x="47092" y="45520"/>
                        </a:lnTo>
                        <a:cubicBezTo>
                          <a:pt x="44312" y="48562"/>
                          <a:pt x="42781" y="52503"/>
                          <a:pt x="42788" y="56623"/>
                        </a:cubicBezTo>
                        <a:lnTo>
                          <a:pt x="42858" y="103076"/>
                        </a:lnTo>
                        <a:cubicBezTo>
                          <a:pt x="42858" y="104772"/>
                          <a:pt x="42195" y="106398"/>
                          <a:pt x="40989" y="107597"/>
                        </a:cubicBezTo>
                        <a:lnTo>
                          <a:pt x="10881" y="137705"/>
                        </a:lnTo>
                        <a:cubicBezTo>
                          <a:pt x="9638" y="138955"/>
                          <a:pt x="8012" y="139580"/>
                          <a:pt x="6379" y="139580"/>
                        </a:cubicBezTo>
                        <a:close/>
                      </a:path>
                    </a:pathLst>
                  </a:custGeom>
                  <a:grpFill/>
                  <a:ln w="637" cap="flat">
                    <a:noFill/>
                    <a:prstDash val="solid"/>
                    <a:miter/>
                  </a:ln>
                </p:spPr>
                <p:txBody>
                  <a:bodyPr rtlCol="0" anchor="ctr"/>
                  <a:lstStyle/>
                  <a:p>
                    <a:endParaRPr lang="en-GB" dirty="0"/>
                  </a:p>
                </p:txBody>
              </p:sp>
              <p:grpSp>
                <p:nvGrpSpPr>
                  <p:cNvPr id="693" name="Graphic 32">
                    <a:extLst>
                      <a:ext uri="{FF2B5EF4-FFF2-40B4-BE49-F238E27FC236}">
                        <a16:creationId xmlns:a16="http://schemas.microsoft.com/office/drawing/2014/main" id="{28E672A0-F423-4288-BE8D-16D3CA2EBE8E}"/>
                      </a:ext>
                    </a:extLst>
                  </p:cNvPr>
                  <p:cNvGrpSpPr/>
                  <p:nvPr/>
                </p:nvGrpSpPr>
                <p:grpSpPr>
                  <a:xfrm>
                    <a:off x="6770291" y="1663862"/>
                    <a:ext cx="130072" cy="155079"/>
                    <a:chOff x="6770291" y="1663862"/>
                    <a:chExt cx="130072" cy="155079"/>
                  </a:xfrm>
                  <a:grpFill/>
                </p:grpSpPr>
                <p:sp>
                  <p:nvSpPr>
                    <p:cNvPr id="698" name="Freeform: Shape 697">
                      <a:extLst>
                        <a:ext uri="{FF2B5EF4-FFF2-40B4-BE49-F238E27FC236}">
                          <a16:creationId xmlns:a16="http://schemas.microsoft.com/office/drawing/2014/main" id="{371EC2F5-5B85-487A-9D02-7F2801620F9F}"/>
                        </a:ext>
                      </a:extLst>
                    </p:cNvPr>
                    <p:cNvSpPr/>
                    <p:nvPr/>
                  </p:nvSpPr>
                  <p:spPr>
                    <a:xfrm>
                      <a:off x="6829626" y="1748382"/>
                      <a:ext cx="70737" cy="70559"/>
                    </a:xfrm>
                    <a:custGeom>
                      <a:avLst/>
                      <a:gdLst>
                        <a:gd name="connsiteX0" fmla="*/ 25158 w 70737"/>
                        <a:gd name="connsiteY0" fmla="*/ 70559 h 70559"/>
                        <a:gd name="connsiteX1" fmla="*/ 25082 w 70737"/>
                        <a:gd name="connsiteY1" fmla="*/ 70559 h 70559"/>
                        <a:gd name="connsiteX2" fmla="*/ 12799 w 70737"/>
                        <a:gd name="connsiteY2" fmla="*/ 65413 h 70559"/>
                        <a:gd name="connsiteX3" fmla="*/ 5038 w 70737"/>
                        <a:gd name="connsiteY3" fmla="*/ 57588 h 70559"/>
                        <a:gd name="connsiteX4" fmla="*/ 5038 w 70737"/>
                        <a:gd name="connsiteY4" fmla="*/ 57588 h 70559"/>
                        <a:gd name="connsiteX5" fmla="*/ 5146 w 70737"/>
                        <a:gd name="connsiteY5" fmla="*/ 32984 h 70559"/>
                        <a:gd name="connsiteX6" fmla="*/ 33321 w 70737"/>
                        <a:gd name="connsiteY6" fmla="*/ 5045 h 70559"/>
                        <a:gd name="connsiteX7" fmla="*/ 45572 w 70737"/>
                        <a:gd name="connsiteY7" fmla="*/ 0 h 70559"/>
                        <a:gd name="connsiteX8" fmla="*/ 45642 w 70737"/>
                        <a:gd name="connsiteY8" fmla="*/ 0 h 70559"/>
                        <a:gd name="connsiteX9" fmla="*/ 57925 w 70737"/>
                        <a:gd name="connsiteY9" fmla="*/ 5147 h 70559"/>
                        <a:gd name="connsiteX10" fmla="*/ 65686 w 70737"/>
                        <a:gd name="connsiteY10" fmla="*/ 12972 h 70559"/>
                        <a:gd name="connsiteX11" fmla="*/ 70737 w 70737"/>
                        <a:gd name="connsiteY11" fmla="*/ 25299 h 70559"/>
                        <a:gd name="connsiteX12" fmla="*/ 65585 w 70737"/>
                        <a:gd name="connsiteY12" fmla="*/ 37582 h 70559"/>
                        <a:gd name="connsiteX13" fmla="*/ 37409 w 70737"/>
                        <a:gd name="connsiteY13" fmla="*/ 65521 h 70559"/>
                        <a:gd name="connsiteX14" fmla="*/ 25158 w 70737"/>
                        <a:gd name="connsiteY14" fmla="*/ 70559 h 70559"/>
                        <a:gd name="connsiteX15" fmla="*/ 14100 w 70737"/>
                        <a:gd name="connsiteY15" fmla="*/ 48602 h 70559"/>
                        <a:gd name="connsiteX16" fmla="*/ 21861 w 70737"/>
                        <a:gd name="connsiteY16" fmla="*/ 56427 h 70559"/>
                        <a:gd name="connsiteX17" fmla="*/ 25145 w 70737"/>
                        <a:gd name="connsiteY17" fmla="*/ 57805 h 70559"/>
                        <a:gd name="connsiteX18" fmla="*/ 28436 w 70737"/>
                        <a:gd name="connsiteY18" fmla="*/ 56459 h 70559"/>
                        <a:gd name="connsiteX19" fmla="*/ 56611 w 70737"/>
                        <a:gd name="connsiteY19" fmla="*/ 28520 h 70559"/>
                        <a:gd name="connsiteX20" fmla="*/ 57989 w 70737"/>
                        <a:gd name="connsiteY20" fmla="*/ 25242 h 70559"/>
                        <a:gd name="connsiteX21" fmla="*/ 56637 w 70737"/>
                        <a:gd name="connsiteY21" fmla="*/ 21951 h 70559"/>
                        <a:gd name="connsiteX22" fmla="*/ 48876 w 70737"/>
                        <a:gd name="connsiteY22" fmla="*/ 14120 h 70559"/>
                        <a:gd name="connsiteX23" fmla="*/ 45579 w 70737"/>
                        <a:gd name="connsiteY23" fmla="*/ 12748 h 70559"/>
                        <a:gd name="connsiteX24" fmla="*/ 42307 w 70737"/>
                        <a:gd name="connsiteY24" fmla="*/ 14094 h 70559"/>
                        <a:gd name="connsiteX25" fmla="*/ 14132 w 70737"/>
                        <a:gd name="connsiteY25" fmla="*/ 42033 h 70559"/>
                        <a:gd name="connsiteX26" fmla="*/ 12754 w 70737"/>
                        <a:gd name="connsiteY26" fmla="*/ 45311 h 70559"/>
                        <a:gd name="connsiteX27" fmla="*/ 14100 w 70737"/>
                        <a:gd name="connsiteY27" fmla="*/ 48602 h 70559"/>
                        <a:gd name="connsiteX28" fmla="*/ 14100 w 70737"/>
                        <a:gd name="connsiteY28" fmla="*/ 48602 h 7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0737" h="70559">
                          <a:moveTo>
                            <a:pt x="25158" y="70559"/>
                          </a:moveTo>
                          <a:cubicBezTo>
                            <a:pt x="25133" y="70559"/>
                            <a:pt x="25107" y="70559"/>
                            <a:pt x="25082" y="70559"/>
                          </a:cubicBezTo>
                          <a:cubicBezTo>
                            <a:pt x="20433" y="70540"/>
                            <a:pt x="16070" y="68710"/>
                            <a:pt x="12799" y="65413"/>
                          </a:cubicBezTo>
                          <a:lnTo>
                            <a:pt x="5038" y="57588"/>
                          </a:lnTo>
                          <a:lnTo>
                            <a:pt x="5038" y="57588"/>
                          </a:lnTo>
                          <a:cubicBezTo>
                            <a:pt x="-1723" y="50777"/>
                            <a:pt x="-1671" y="39738"/>
                            <a:pt x="5146" y="32984"/>
                          </a:cubicBezTo>
                          <a:lnTo>
                            <a:pt x="33321" y="5045"/>
                          </a:lnTo>
                          <a:cubicBezTo>
                            <a:pt x="36606" y="1792"/>
                            <a:pt x="40949" y="0"/>
                            <a:pt x="45572" y="0"/>
                          </a:cubicBezTo>
                          <a:cubicBezTo>
                            <a:pt x="45598" y="0"/>
                            <a:pt x="45623" y="0"/>
                            <a:pt x="45642" y="0"/>
                          </a:cubicBezTo>
                          <a:cubicBezTo>
                            <a:pt x="50292" y="19"/>
                            <a:pt x="54654" y="1849"/>
                            <a:pt x="57925" y="5147"/>
                          </a:cubicBezTo>
                          <a:lnTo>
                            <a:pt x="65686" y="12972"/>
                          </a:lnTo>
                          <a:cubicBezTo>
                            <a:pt x="68965" y="16269"/>
                            <a:pt x="70757" y="20650"/>
                            <a:pt x="70737" y="25299"/>
                          </a:cubicBezTo>
                          <a:cubicBezTo>
                            <a:pt x="70718" y="29948"/>
                            <a:pt x="68888" y="34310"/>
                            <a:pt x="65585" y="37582"/>
                          </a:cubicBezTo>
                          <a:lnTo>
                            <a:pt x="37409" y="65521"/>
                          </a:lnTo>
                          <a:cubicBezTo>
                            <a:pt x="34125" y="68767"/>
                            <a:pt x="29782" y="70559"/>
                            <a:pt x="25158" y="70559"/>
                          </a:cubicBezTo>
                          <a:close/>
                          <a:moveTo>
                            <a:pt x="14100" y="48602"/>
                          </a:moveTo>
                          <a:lnTo>
                            <a:pt x="21861" y="56427"/>
                          </a:lnTo>
                          <a:cubicBezTo>
                            <a:pt x="22735" y="57307"/>
                            <a:pt x="23896" y="57798"/>
                            <a:pt x="25145" y="57805"/>
                          </a:cubicBezTo>
                          <a:cubicBezTo>
                            <a:pt x="26497" y="57747"/>
                            <a:pt x="27556" y="57333"/>
                            <a:pt x="28436" y="56459"/>
                          </a:cubicBezTo>
                          <a:lnTo>
                            <a:pt x="56611" y="28520"/>
                          </a:lnTo>
                          <a:cubicBezTo>
                            <a:pt x="57492" y="27646"/>
                            <a:pt x="57983" y="26479"/>
                            <a:pt x="57989" y="25242"/>
                          </a:cubicBezTo>
                          <a:cubicBezTo>
                            <a:pt x="57989" y="24005"/>
                            <a:pt x="57517" y="22837"/>
                            <a:pt x="56637" y="21951"/>
                          </a:cubicBezTo>
                          <a:lnTo>
                            <a:pt x="48876" y="14120"/>
                          </a:lnTo>
                          <a:cubicBezTo>
                            <a:pt x="47996" y="13233"/>
                            <a:pt x="46727" y="12500"/>
                            <a:pt x="45579" y="12748"/>
                          </a:cubicBezTo>
                          <a:cubicBezTo>
                            <a:pt x="44348" y="12748"/>
                            <a:pt x="43187" y="13227"/>
                            <a:pt x="42307" y="14094"/>
                          </a:cubicBezTo>
                          <a:lnTo>
                            <a:pt x="14132" y="42033"/>
                          </a:lnTo>
                          <a:cubicBezTo>
                            <a:pt x="13245" y="42907"/>
                            <a:pt x="12760" y="44074"/>
                            <a:pt x="12754" y="45311"/>
                          </a:cubicBezTo>
                          <a:cubicBezTo>
                            <a:pt x="12748" y="46549"/>
                            <a:pt x="13226" y="47716"/>
                            <a:pt x="14100" y="48602"/>
                          </a:cubicBezTo>
                          <a:lnTo>
                            <a:pt x="14100" y="48602"/>
                          </a:lnTo>
                          <a:close/>
                        </a:path>
                      </a:pathLst>
                    </a:custGeom>
                    <a:grpFill/>
                    <a:ln w="637" cap="flat">
                      <a:noFill/>
                      <a:prstDash val="solid"/>
                      <a:miter/>
                    </a:ln>
                  </p:spPr>
                  <p:txBody>
                    <a:bodyPr rtlCol="0" anchor="ctr"/>
                    <a:lstStyle/>
                    <a:p>
                      <a:endParaRPr lang="en-GB" dirty="0"/>
                    </a:p>
                  </p:txBody>
                </p:sp>
                <p:sp>
                  <p:nvSpPr>
                    <p:cNvPr id="699" name="Freeform: Shape 698">
                      <a:extLst>
                        <a:ext uri="{FF2B5EF4-FFF2-40B4-BE49-F238E27FC236}">
                          <a16:creationId xmlns:a16="http://schemas.microsoft.com/office/drawing/2014/main" id="{DB6DFF67-71F7-464C-A2EC-1583D666BBBB}"/>
                        </a:ext>
                      </a:extLst>
                    </p:cNvPr>
                    <p:cNvSpPr/>
                    <p:nvPr/>
                  </p:nvSpPr>
                  <p:spPr>
                    <a:xfrm>
                      <a:off x="6803239" y="1717119"/>
                      <a:ext cx="78535" cy="78334"/>
                    </a:xfrm>
                    <a:custGeom>
                      <a:avLst/>
                      <a:gdLst>
                        <a:gd name="connsiteX0" fmla="*/ 28268 w 78535"/>
                        <a:gd name="connsiteY0" fmla="*/ 78334 h 78334"/>
                        <a:gd name="connsiteX1" fmla="*/ 15909 w 78535"/>
                        <a:gd name="connsiteY1" fmla="*/ 73194 h 78334"/>
                        <a:gd name="connsiteX2" fmla="*/ 5042 w 78535"/>
                        <a:gd name="connsiteY2" fmla="*/ 62238 h 78334"/>
                        <a:gd name="connsiteX3" fmla="*/ 1713 w 78535"/>
                        <a:gd name="connsiteY3" fmla="*/ 42455 h 78334"/>
                        <a:gd name="connsiteX4" fmla="*/ 10227 w 78535"/>
                        <a:gd name="connsiteY4" fmla="*/ 39471 h 78334"/>
                        <a:gd name="connsiteX5" fmla="*/ 13211 w 78535"/>
                        <a:gd name="connsiteY5" fmla="*/ 47978 h 78334"/>
                        <a:gd name="connsiteX6" fmla="*/ 14104 w 78535"/>
                        <a:gd name="connsiteY6" fmla="*/ 53259 h 78334"/>
                        <a:gd name="connsiteX7" fmla="*/ 24971 w 78535"/>
                        <a:gd name="connsiteY7" fmla="*/ 64215 h 78334"/>
                        <a:gd name="connsiteX8" fmla="*/ 28249 w 78535"/>
                        <a:gd name="connsiteY8" fmla="*/ 65586 h 78334"/>
                        <a:gd name="connsiteX9" fmla="*/ 28275 w 78535"/>
                        <a:gd name="connsiteY9" fmla="*/ 65586 h 78334"/>
                        <a:gd name="connsiteX10" fmla="*/ 31546 w 78535"/>
                        <a:gd name="connsiteY10" fmla="*/ 64240 h 78334"/>
                        <a:gd name="connsiteX11" fmla="*/ 64415 w 78535"/>
                        <a:gd name="connsiteY11" fmla="*/ 31646 h 78334"/>
                        <a:gd name="connsiteX12" fmla="*/ 64441 w 78535"/>
                        <a:gd name="connsiteY12" fmla="*/ 25077 h 78334"/>
                        <a:gd name="connsiteX13" fmla="*/ 53580 w 78535"/>
                        <a:gd name="connsiteY13" fmla="*/ 14120 h 78334"/>
                        <a:gd name="connsiteX14" fmla="*/ 47011 w 78535"/>
                        <a:gd name="connsiteY14" fmla="*/ 14089 h 78334"/>
                        <a:gd name="connsiteX15" fmla="*/ 33415 w 78535"/>
                        <a:gd name="connsiteY15" fmla="*/ 27570 h 78334"/>
                        <a:gd name="connsiteX16" fmla="*/ 24397 w 78535"/>
                        <a:gd name="connsiteY16" fmla="*/ 27532 h 78334"/>
                        <a:gd name="connsiteX17" fmla="*/ 24435 w 78535"/>
                        <a:gd name="connsiteY17" fmla="*/ 18515 h 78334"/>
                        <a:gd name="connsiteX18" fmla="*/ 38032 w 78535"/>
                        <a:gd name="connsiteY18" fmla="*/ 5033 h 78334"/>
                        <a:gd name="connsiteX19" fmla="*/ 62636 w 78535"/>
                        <a:gd name="connsiteY19" fmla="*/ 5141 h 78334"/>
                        <a:gd name="connsiteX20" fmla="*/ 73497 w 78535"/>
                        <a:gd name="connsiteY20" fmla="*/ 16097 h 78334"/>
                        <a:gd name="connsiteX21" fmla="*/ 73395 w 78535"/>
                        <a:gd name="connsiteY21" fmla="*/ 40701 h 78334"/>
                        <a:gd name="connsiteX22" fmla="*/ 40526 w 78535"/>
                        <a:gd name="connsiteY22" fmla="*/ 73296 h 78334"/>
                        <a:gd name="connsiteX23" fmla="*/ 28268 w 78535"/>
                        <a:gd name="connsiteY23" fmla="*/ 78334 h 78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8535" h="78334">
                          <a:moveTo>
                            <a:pt x="28268" y="78334"/>
                          </a:moveTo>
                          <a:cubicBezTo>
                            <a:pt x="23785" y="78334"/>
                            <a:pt x="19308" y="76619"/>
                            <a:pt x="15909" y="73194"/>
                          </a:cubicBezTo>
                          <a:lnTo>
                            <a:pt x="5042" y="62238"/>
                          </a:lnTo>
                          <a:cubicBezTo>
                            <a:pt x="-137" y="57021"/>
                            <a:pt x="-1470" y="49069"/>
                            <a:pt x="1713" y="42455"/>
                          </a:cubicBezTo>
                          <a:cubicBezTo>
                            <a:pt x="3231" y="39286"/>
                            <a:pt x="7038" y="37940"/>
                            <a:pt x="10227" y="39471"/>
                          </a:cubicBezTo>
                          <a:cubicBezTo>
                            <a:pt x="13396" y="40995"/>
                            <a:pt x="14735" y="44809"/>
                            <a:pt x="13211" y="47978"/>
                          </a:cubicBezTo>
                          <a:cubicBezTo>
                            <a:pt x="12363" y="49738"/>
                            <a:pt x="12726" y="51862"/>
                            <a:pt x="14104" y="53259"/>
                          </a:cubicBezTo>
                          <a:lnTo>
                            <a:pt x="24971" y="64215"/>
                          </a:lnTo>
                          <a:cubicBezTo>
                            <a:pt x="25845" y="65095"/>
                            <a:pt x="27006" y="65580"/>
                            <a:pt x="28249" y="65586"/>
                          </a:cubicBezTo>
                          <a:cubicBezTo>
                            <a:pt x="28262" y="65586"/>
                            <a:pt x="28268" y="65586"/>
                            <a:pt x="28275" y="65586"/>
                          </a:cubicBezTo>
                          <a:cubicBezTo>
                            <a:pt x="29505" y="65586"/>
                            <a:pt x="30666" y="65108"/>
                            <a:pt x="31546" y="64240"/>
                          </a:cubicBezTo>
                          <a:lnTo>
                            <a:pt x="64415" y="31646"/>
                          </a:lnTo>
                          <a:cubicBezTo>
                            <a:pt x="66233" y="29841"/>
                            <a:pt x="66239" y="26894"/>
                            <a:pt x="64441" y="25077"/>
                          </a:cubicBezTo>
                          <a:lnTo>
                            <a:pt x="53580" y="14120"/>
                          </a:lnTo>
                          <a:cubicBezTo>
                            <a:pt x="51769" y="12297"/>
                            <a:pt x="48823" y="12290"/>
                            <a:pt x="47011" y="14089"/>
                          </a:cubicBezTo>
                          <a:lnTo>
                            <a:pt x="33415" y="27570"/>
                          </a:lnTo>
                          <a:cubicBezTo>
                            <a:pt x="30908" y="30045"/>
                            <a:pt x="26878" y="30038"/>
                            <a:pt x="24397" y="27532"/>
                          </a:cubicBezTo>
                          <a:cubicBezTo>
                            <a:pt x="21916" y="25032"/>
                            <a:pt x="21929" y="20995"/>
                            <a:pt x="24435" y="18515"/>
                          </a:cubicBezTo>
                          <a:lnTo>
                            <a:pt x="38032" y="5033"/>
                          </a:lnTo>
                          <a:cubicBezTo>
                            <a:pt x="44843" y="-1715"/>
                            <a:pt x="55876" y="-1676"/>
                            <a:pt x="62636" y="5141"/>
                          </a:cubicBezTo>
                          <a:lnTo>
                            <a:pt x="73497" y="16097"/>
                          </a:lnTo>
                          <a:cubicBezTo>
                            <a:pt x="80257" y="22909"/>
                            <a:pt x="80206" y="33948"/>
                            <a:pt x="73395" y="40701"/>
                          </a:cubicBezTo>
                          <a:lnTo>
                            <a:pt x="40526" y="73296"/>
                          </a:lnTo>
                          <a:cubicBezTo>
                            <a:pt x="37126" y="76657"/>
                            <a:pt x="32694" y="78334"/>
                            <a:pt x="28268" y="78334"/>
                          </a:cubicBezTo>
                          <a:close/>
                        </a:path>
                      </a:pathLst>
                    </a:custGeom>
                    <a:grpFill/>
                    <a:ln w="637" cap="flat">
                      <a:noFill/>
                      <a:prstDash val="solid"/>
                      <a:miter/>
                    </a:ln>
                  </p:spPr>
                  <p:txBody>
                    <a:bodyPr rtlCol="0" anchor="ctr"/>
                    <a:lstStyle/>
                    <a:p>
                      <a:endParaRPr lang="en-GB" dirty="0"/>
                    </a:p>
                  </p:txBody>
                </p:sp>
                <p:sp>
                  <p:nvSpPr>
                    <p:cNvPr id="700" name="Freeform: Shape 699">
                      <a:extLst>
                        <a:ext uri="{FF2B5EF4-FFF2-40B4-BE49-F238E27FC236}">
                          <a16:creationId xmlns:a16="http://schemas.microsoft.com/office/drawing/2014/main" id="{235740DA-82B3-491A-91C9-426255EE8CB9}"/>
                        </a:ext>
                      </a:extLst>
                    </p:cNvPr>
                    <p:cNvSpPr/>
                    <p:nvPr/>
                  </p:nvSpPr>
                  <p:spPr>
                    <a:xfrm>
                      <a:off x="6798651" y="1685802"/>
                      <a:ext cx="61504" cy="62808"/>
                    </a:xfrm>
                    <a:custGeom>
                      <a:avLst/>
                      <a:gdLst>
                        <a:gd name="connsiteX0" fmla="*/ 31453 w 61504"/>
                        <a:gd name="connsiteY0" fmla="*/ 62809 h 62808"/>
                        <a:gd name="connsiteX1" fmla="*/ 26931 w 61504"/>
                        <a:gd name="connsiteY1" fmla="*/ 60928 h 62808"/>
                        <a:gd name="connsiteX2" fmla="*/ 26957 w 61504"/>
                        <a:gd name="connsiteY2" fmla="*/ 51910 h 62808"/>
                        <a:gd name="connsiteX3" fmla="*/ 47530 w 61504"/>
                        <a:gd name="connsiteY3" fmla="*/ 31477 h 62808"/>
                        <a:gd name="connsiteX4" fmla="*/ 48748 w 61504"/>
                        <a:gd name="connsiteY4" fmla="*/ 28454 h 62808"/>
                        <a:gd name="connsiteX5" fmla="*/ 47326 w 61504"/>
                        <a:gd name="connsiteY5" fmla="*/ 25138 h 62808"/>
                        <a:gd name="connsiteX6" fmla="*/ 36465 w 61504"/>
                        <a:gd name="connsiteY6" fmla="*/ 14175 h 62808"/>
                        <a:gd name="connsiteX7" fmla="*/ 30126 w 61504"/>
                        <a:gd name="connsiteY7" fmla="*/ 13920 h 62808"/>
                        <a:gd name="connsiteX8" fmla="*/ 10930 w 61504"/>
                        <a:gd name="connsiteY8" fmla="*/ 33505 h 62808"/>
                        <a:gd name="connsiteX9" fmla="*/ 1913 w 61504"/>
                        <a:gd name="connsiteY9" fmla="*/ 33601 h 62808"/>
                        <a:gd name="connsiteX10" fmla="*/ 1823 w 61504"/>
                        <a:gd name="connsiteY10" fmla="*/ 24583 h 62808"/>
                        <a:gd name="connsiteX11" fmla="*/ 21083 w 61504"/>
                        <a:gd name="connsiteY11" fmla="*/ 4928 h 62808"/>
                        <a:gd name="connsiteX12" fmla="*/ 45521 w 61504"/>
                        <a:gd name="connsiteY12" fmla="*/ 5196 h 62808"/>
                        <a:gd name="connsiteX13" fmla="*/ 56382 w 61504"/>
                        <a:gd name="connsiteY13" fmla="*/ 16152 h 62808"/>
                        <a:gd name="connsiteX14" fmla="*/ 61503 w 61504"/>
                        <a:gd name="connsiteY14" fmla="*/ 28314 h 62808"/>
                        <a:gd name="connsiteX15" fmla="*/ 56516 w 61504"/>
                        <a:gd name="connsiteY15" fmla="*/ 40533 h 62808"/>
                        <a:gd name="connsiteX16" fmla="*/ 35949 w 61504"/>
                        <a:gd name="connsiteY16" fmla="*/ 60960 h 62808"/>
                        <a:gd name="connsiteX17" fmla="*/ 31453 w 61504"/>
                        <a:gd name="connsiteY17" fmla="*/ 62809 h 62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504" h="62808">
                          <a:moveTo>
                            <a:pt x="31453" y="62809"/>
                          </a:moveTo>
                          <a:cubicBezTo>
                            <a:pt x="29814" y="62809"/>
                            <a:pt x="28175" y="62178"/>
                            <a:pt x="26931" y="60928"/>
                          </a:cubicBezTo>
                          <a:cubicBezTo>
                            <a:pt x="24444" y="58428"/>
                            <a:pt x="24457" y="54391"/>
                            <a:pt x="26957" y="51910"/>
                          </a:cubicBezTo>
                          <a:lnTo>
                            <a:pt x="47530" y="31477"/>
                          </a:lnTo>
                          <a:cubicBezTo>
                            <a:pt x="48334" y="30686"/>
                            <a:pt x="48761" y="29615"/>
                            <a:pt x="48748" y="28454"/>
                          </a:cubicBezTo>
                          <a:cubicBezTo>
                            <a:pt x="48735" y="27223"/>
                            <a:pt x="48232" y="26043"/>
                            <a:pt x="47326" y="25138"/>
                          </a:cubicBezTo>
                          <a:lnTo>
                            <a:pt x="36465" y="14175"/>
                          </a:lnTo>
                          <a:cubicBezTo>
                            <a:pt x="34661" y="12351"/>
                            <a:pt x="31816" y="12243"/>
                            <a:pt x="30126" y="13920"/>
                          </a:cubicBezTo>
                          <a:lnTo>
                            <a:pt x="10930" y="33505"/>
                          </a:lnTo>
                          <a:cubicBezTo>
                            <a:pt x="8469" y="36030"/>
                            <a:pt x="4425" y="36049"/>
                            <a:pt x="1913" y="33601"/>
                          </a:cubicBezTo>
                          <a:cubicBezTo>
                            <a:pt x="-606" y="31132"/>
                            <a:pt x="-638" y="27096"/>
                            <a:pt x="1823" y="24583"/>
                          </a:cubicBezTo>
                          <a:lnTo>
                            <a:pt x="21083" y="4928"/>
                          </a:lnTo>
                          <a:cubicBezTo>
                            <a:pt x="27850" y="-1762"/>
                            <a:pt x="38774" y="-1609"/>
                            <a:pt x="45521" y="5196"/>
                          </a:cubicBezTo>
                          <a:lnTo>
                            <a:pt x="56382" y="16152"/>
                          </a:lnTo>
                          <a:cubicBezTo>
                            <a:pt x="59635" y="19424"/>
                            <a:pt x="61452" y="23741"/>
                            <a:pt x="61503" y="28314"/>
                          </a:cubicBezTo>
                          <a:cubicBezTo>
                            <a:pt x="61554" y="32956"/>
                            <a:pt x="59775" y="37293"/>
                            <a:pt x="56516" y="40533"/>
                          </a:cubicBezTo>
                          <a:lnTo>
                            <a:pt x="35949" y="60960"/>
                          </a:lnTo>
                          <a:cubicBezTo>
                            <a:pt x="34705" y="62190"/>
                            <a:pt x="33079" y="62809"/>
                            <a:pt x="31453" y="62809"/>
                          </a:cubicBezTo>
                          <a:close/>
                        </a:path>
                      </a:pathLst>
                    </a:custGeom>
                    <a:grpFill/>
                    <a:ln w="637" cap="flat">
                      <a:noFill/>
                      <a:prstDash val="solid"/>
                      <a:miter/>
                    </a:ln>
                  </p:spPr>
                  <p:txBody>
                    <a:bodyPr rtlCol="0" anchor="ctr"/>
                    <a:lstStyle/>
                    <a:p>
                      <a:endParaRPr lang="en-GB" dirty="0"/>
                    </a:p>
                  </p:txBody>
                </p:sp>
                <p:sp>
                  <p:nvSpPr>
                    <p:cNvPr id="701" name="Freeform: Shape 700">
                      <a:extLst>
                        <a:ext uri="{FF2B5EF4-FFF2-40B4-BE49-F238E27FC236}">
                          <a16:creationId xmlns:a16="http://schemas.microsoft.com/office/drawing/2014/main" id="{04B8C9C5-FBA7-46D1-B366-1C99F06CF4B0}"/>
                        </a:ext>
                      </a:extLst>
                    </p:cNvPr>
                    <p:cNvSpPr/>
                    <p:nvPr/>
                  </p:nvSpPr>
                  <p:spPr>
                    <a:xfrm>
                      <a:off x="6770291" y="1663862"/>
                      <a:ext cx="58702" cy="58149"/>
                    </a:xfrm>
                    <a:custGeom>
                      <a:avLst/>
                      <a:gdLst>
                        <a:gd name="connsiteX0" fmla="*/ 33653 w 58702"/>
                        <a:gd name="connsiteY0" fmla="*/ 58149 h 58149"/>
                        <a:gd name="connsiteX1" fmla="*/ 29163 w 58702"/>
                        <a:gd name="connsiteY1" fmla="*/ 56300 h 58149"/>
                        <a:gd name="connsiteX2" fmla="*/ 29118 w 58702"/>
                        <a:gd name="connsiteY2" fmla="*/ 47282 h 58149"/>
                        <a:gd name="connsiteX3" fmla="*/ 44533 w 58702"/>
                        <a:gd name="connsiteY3" fmla="*/ 31721 h 58149"/>
                        <a:gd name="connsiteX4" fmla="*/ 45955 w 58702"/>
                        <a:gd name="connsiteY4" fmla="*/ 28399 h 58149"/>
                        <a:gd name="connsiteX5" fmla="*/ 44609 w 58702"/>
                        <a:gd name="connsiteY5" fmla="*/ 25108 h 58149"/>
                        <a:gd name="connsiteX6" fmla="*/ 33742 w 58702"/>
                        <a:gd name="connsiteY6" fmla="*/ 14151 h 58149"/>
                        <a:gd name="connsiteX7" fmla="*/ 30464 w 58702"/>
                        <a:gd name="connsiteY7" fmla="*/ 12780 h 58149"/>
                        <a:gd name="connsiteX8" fmla="*/ 30445 w 58702"/>
                        <a:gd name="connsiteY8" fmla="*/ 12780 h 58149"/>
                        <a:gd name="connsiteX9" fmla="*/ 27173 w 58702"/>
                        <a:gd name="connsiteY9" fmla="*/ 14126 h 58149"/>
                        <a:gd name="connsiteX10" fmla="*/ 10892 w 58702"/>
                        <a:gd name="connsiteY10" fmla="*/ 30458 h 58149"/>
                        <a:gd name="connsiteX11" fmla="*/ 1874 w 58702"/>
                        <a:gd name="connsiteY11" fmla="*/ 30471 h 58149"/>
                        <a:gd name="connsiteX12" fmla="*/ 1861 w 58702"/>
                        <a:gd name="connsiteY12" fmla="*/ 21454 h 58149"/>
                        <a:gd name="connsiteX13" fmla="*/ 18168 w 58702"/>
                        <a:gd name="connsiteY13" fmla="*/ 5096 h 58149"/>
                        <a:gd name="connsiteX14" fmla="*/ 30515 w 58702"/>
                        <a:gd name="connsiteY14" fmla="*/ 26 h 58149"/>
                        <a:gd name="connsiteX15" fmla="*/ 42798 w 58702"/>
                        <a:gd name="connsiteY15" fmla="*/ 5172 h 58149"/>
                        <a:gd name="connsiteX16" fmla="*/ 53665 w 58702"/>
                        <a:gd name="connsiteY16" fmla="*/ 16128 h 58149"/>
                        <a:gd name="connsiteX17" fmla="*/ 53557 w 58702"/>
                        <a:gd name="connsiteY17" fmla="*/ 40732 h 58149"/>
                        <a:gd name="connsiteX18" fmla="*/ 38187 w 58702"/>
                        <a:gd name="connsiteY18" fmla="*/ 56255 h 58149"/>
                        <a:gd name="connsiteX19" fmla="*/ 33653 w 58702"/>
                        <a:gd name="connsiteY19" fmla="*/ 58149 h 58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702" h="58149">
                          <a:moveTo>
                            <a:pt x="33653" y="58149"/>
                          </a:moveTo>
                          <a:cubicBezTo>
                            <a:pt x="32033" y="58149"/>
                            <a:pt x="30407" y="57537"/>
                            <a:pt x="29163" y="56300"/>
                          </a:cubicBezTo>
                          <a:cubicBezTo>
                            <a:pt x="26663" y="53819"/>
                            <a:pt x="26638" y="49782"/>
                            <a:pt x="29118" y="47282"/>
                          </a:cubicBezTo>
                          <a:lnTo>
                            <a:pt x="44533" y="31721"/>
                          </a:lnTo>
                          <a:cubicBezTo>
                            <a:pt x="45464" y="30803"/>
                            <a:pt x="45948" y="29642"/>
                            <a:pt x="45955" y="28399"/>
                          </a:cubicBezTo>
                          <a:cubicBezTo>
                            <a:pt x="45961" y="27155"/>
                            <a:pt x="45483" y="25994"/>
                            <a:pt x="44609" y="25108"/>
                          </a:cubicBezTo>
                          <a:lnTo>
                            <a:pt x="33742" y="14151"/>
                          </a:lnTo>
                          <a:cubicBezTo>
                            <a:pt x="32868" y="13271"/>
                            <a:pt x="31708" y="12787"/>
                            <a:pt x="30464" y="12780"/>
                          </a:cubicBezTo>
                          <a:cubicBezTo>
                            <a:pt x="30458" y="12780"/>
                            <a:pt x="30451" y="12780"/>
                            <a:pt x="30445" y="12780"/>
                          </a:cubicBezTo>
                          <a:cubicBezTo>
                            <a:pt x="29214" y="12780"/>
                            <a:pt x="28053" y="13259"/>
                            <a:pt x="27173" y="14126"/>
                          </a:cubicBezTo>
                          <a:lnTo>
                            <a:pt x="10892" y="30458"/>
                          </a:lnTo>
                          <a:cubicBezTo>
                            <a:pt x="8405" y="32958"/>
                            <a:pt x="4374" y="32965"/>
                            <a:pt x="1874" y="30471"/>
                          </a:cubicBezTo>
                          <a:cubicBezTo>
                            <a:pt x="-619" y="27984"/>
                            <a:pt x="-626" y="23947"/>
                            <a:pt x="1861" y="21454"/>
                          </a:cubicBezTo>
                          <a:lnTo>
                            <a:pt x="18168" y="5096"/>
                          </a:lnTo>
                          <a:cubicBezTo>
                            <a:pt x="21491" y="1798"/>
                            <a:pt x="25738" y="-255"/>
                            <a:pt x="30515" y="26"/>
                          </a:cubicBezTo>
                          <a:cubicBezTo>
                            <a:pt x="35164" y="45"/>
                            <a:pt x="39526" y="1875"/>
                            <a:pt x="42798" y="5172"/>
                          </a:cubicBezTo>
                          <a:lnTo>
                            <a:pt x="53665" y="16128"/>
                          </a:lnTo>
                          <a:cubicBezTo>
                            <a:pt x="60425" y="22940"/>
                            <a:pt x="60374" y="33979"/>
                            <a:pt x="53557" y="40732"/>
                          </a:cubicBezTo>
                          <a:lnTo>
                            <a:pt x="38187" y="56255"/>
                          </a:lnTo>
                          <a:cubicBezTo>
                            <a:pt x="36937" y="57518"/>
                            <a:pt x="35298" y="58149"/>
                            <a:pt x="33653" y="58149"/>
                          </a:cubicBezTo>
                          <a:close/>
                        </a:path>
                      </a:pathLst>
                    </a:custGeom>
                    <a:grpFill/>
                    <a:ln w="637" cap="flat">
                      <a:noFill/>
                      <a:prstDash val="solid"/>
                      <a:miter/>
                    </a:ln>
                  </p:spPr>
                  <p:txBody>
                    <a:bodyPr rtlCol="0" anchor="ctr"/>
                    <a:lstStyle/>
                    <a:p>
                      <a:endParaRPr lang="en-GB" dirty="0"/>
                    </a:p>
                  </p:txBody>
                </p:sp>
              </p:grpSp>
              <p:sp>
                <p:nvSpPr>
                  <p:cNvPr id="694" name="Freeform: Shape 693">
                    <a:extLst>
                      <a:ext uri="{FF2B5EF4-FFF2-40B4-BE49-F238E27FC236}">
                        <a16:creationId xmlns:a16="http://schemas.microsoft.com/office/drawing/2014/main" id="{884BB898-738D-4F0D-A1F9-7480EB27B469}"/>
                      </a:ext>
                    </a:extLst>
                  </p:cNvPr>
                  <p:cNvSpPr/>
                  <p:nvPr/>
                </p:nvSpPr>
                <p:spPr>
                  <a:xfrm>
                    <a:off x="6768040" y="1727758"/>
                    <a:ext cx="23722" cy="88543"/>
                  </a:xfrm>
                  <a:custGeom>
                    <a:avLst/>
                    <a:gdLst>
                      <a:gd name="connsiteX0" fmla="*/ 9891 w 23722"/>
                      <a:gd name="connsiteY0" fmla="*/ 88543 h 88543"/>
                      <a:gd name="connsiteX1" fmla="*/ 5918 w 23722"/>
                      <a:gd name="connsiteY1" fmla="*/ 87153 h 88543"/>
                      <a:gd name="connsiteX2" fmla="*/ 4916 w 23722"/>
                      <a:gd name="connsiteY2" fmla="*/ 78193 h 88543"/>
                      <a:gd name="connsiteX3" fmla="*/ 510 w 23722"/>
                      <a:gd name="connsiteY3" fmla="*/ 8877 h 88543"/>
                      <a:gd name="connsiteX4" fmla="*/ 3877 w 23722"/>
                      <a:gd name="connsiteY4" fmla="*/ 510 h 88543"/>
                      <a:gd name="connsiteX5" fmla="*/ 12244 w 23722"/>
                      <a:gd name="connsiteY5" fmla="*/ 3877 h 88543"/>
                      <a:gd name="connsiteX6" fmla="*/ 14884 w 23722"/>
                      <a:gd name="connsiteY6" fmla="*/ 86145 h 88543"/>
                      <a:gd name="connsiteX7" fmla="*/ 9891 w 23722"/>
                      <a:gd name="connsiteY7" fmla="*/ 88543 h 88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22" h="88543">
                        <a:moveTo>
                          <a:pt x="9891" y="88543"/>
                        </a:moveTo>
                        <a:cubicBezTo>
                          <a:pt x="8494" y="88543"/>
                          <a:pt x="7097" y="88090"/>
                          <a:pt x="5918" y="87153"/>
                        </a:cubicBezTo>
                        <a:cubicBezTo>
                          <a:pt x="3163" y="84953"/>
                          <a:pt x="2716" y="80941"/>
                          <a:pt x="4916" y="78193"/>
                        </a:cubicBezTo>
                        <a:cubicBezTo>
                          <a:pt x="18322" y="61388"/>
                          <a:pt x="6275" y="22461"/>
                          <a:pt x="510" y="8877"/>
                        </a:cubicBezTo>
                        <a:cubicBezTo>
                          <a:pt x="-868" y="5637"/>
                          <a:pt x="644" y="1894"/>
                          <a:pt x="3877" y="510"/>
                        </a:cubicBezTo>
                        <a:cubicBezTo>
                          <a:pt x="7117" y="-868"/>
                          <a:pt x="10860" y="644"/>
                          <a:pt x="12244" y="3877"/>
                        </a:cubicBezTo>
                        <a:cubicBezTo>
                          <a:pt x="13213" y="6154"/>
                          <a:pt x="35770" y="59966"/>
                          <a:pt x="14884" y="86145"/>
                        </a:cubicBezTo>
                        <a:cubicBezTo>
                          <a:pt x="13622" y="87727"/>
                          <a:pt x="11766" y="88543"/>
                          <a:pt x="9891" y="88543"/>
                        </a:cubicBezTo>
                        <a:close/>
                      </a:path>
                    </a:pathLst>
                  </a:custGeom>
                  <a:grpFill/>
                  <a:ln w="637" cap="flat">
                    <a:noFill/>
                    <a:prstDash val="solid"/>
                    <a:miter/>
                  </a:ln>
                </p:spPr>
                <p:txBody>
                  <a:bodyPr rtlCol="0" anchor="ctr"/>
                  <a:lstStyle/>
                  <a:p>
                    <a:endParaRPr lang="en-GB" dirty="0"/>
                  </a:p>
                </p:txBody>
              </p:sp>
              <p:sp>
                <p:nvSpPr>
                  <p:cNvPr id="695" name="Freeform: Shape 694">
                    <a:extLst>
                      <a:ext uri="{FF2B5EF4-FFF2-40B4-BE49-F238E27FC236}">
                        <a16:creationId xmlns:a16="http://schemas.microsoft.com/office/drawing/2014/main" id="{B4AEEF1B-42BA-4E28-B26F-2E0008152100}"/>
                      </a:ext>
                    </a:extLst>
                  </p:cNvPr>
                  <p:cNvSpPr/>
                  <p:nvPr/>
                </p:nvSpPr>
                <p:spPr>
                  <a:xfrm>
                    <a:off x="6694525" y="1843846"/>
                    <a:ext cx="36858" cy="37071"/>
                  </a:xfrm>
                  <a:custGeom>
                    <a:avLst/>
                    <a:gdLst>
                      <a:gd name="connsiteX0" fmla="*/ 6379 w 36858"/>
                      <a:gd name="connsiteY0" fmla="*/ 37071 h 37071"/>
                      <a:gd name="connsiteX1" fmla="*/ 1889 w 36858"/>
                      <a:gd name="connsiteY1" fmla="*/ 35222 h 37071"/>
                      <a:gd name="connsiteX2" fmla="*/ 1851 w 36858"/>
                      <a:gd name="connsiteY2" fmla="*/ 26204 h 37071"/>
                      <a:gd name="connsiteX3" fmla="*/ 25951 w 36858"/>
                      <a:gd name="connsiteY3" fmla="*/ 1887 h 37071"/>
                      <a:gd name="connsiteX4" fmla="*/ 34969 w 36858"/>
                      <a:gd name="connsiteY4" fmla="*/ 1849 h 37071"/>
                      <a:gd name="connsiteX5" fmla="*/ 35007 w 36858"/>
                      <a:gd name="connsiteY5" fmla="*/ 10866 h 37071"/>
                      <a:gd name="connsiteX6" fmla="*/ 10907 w 36858"/>
                      <a:gd name="connsiteY6" fmla="*/ 35183 h 37071"/>
                      <a:gd name="connsiteX7" fmla="*/ 6379 w 36858"/>
                      <a:gd name="connsiteY7" fmla="*/ 37071 h 3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8" h="37071">
                        <a:moveTo>
                          <a:pt x="6379" y="37071"/>
                        </a:moveTo>
                        <a:cubicBezTo>
                          <a:pt x="4753" y="37071"/>
                          <a:pt x="3133" y="36452"/>
                          <a:pt x="1889" y="35222"/>
                        </a:cubicBezTo>
                        <a:cubicBezTo>
                          <a:pt x="-617" y="32741"/>
                          <a:pt x="-630" y="28704"/>
                          <a:pt x="1851" y="26204"/>
                        </a:cubicBezTo>
                        <a:lnTo>
                          <a:pt x="25951" y="1887"/>
                        </a:lnTo>
                        <a:cubicBezTo>
                          <a:pt x="28432" y="-613"/>
                          <a:pt x="32463" y="-632"/>
                          <a:pt x="34969" y="1849"/>
                        </a:cubicBezTo>
                        <a:cubicBezTo>
                          <a:pt x="37475" y="4330"/>
                          <a:pt x="37488" y="8366"/>
                          <a:pt x="35007" y="10866"/>
                        </a:cubicBezTo>
                        <a:lnTo>
                          <a:pt x="10907" y="35183"/>
                        </a:lnTo>
                        <a:cubicBezTo>
                          <a:pt x="9663" y="36446"/>
                          <a:pt x="8024" y="37071"/>
                          <a:pt x="6379" y="37071"/>
                        </a:cubicBezTo>
                        <a:close/>
                      </a:path>
                    </a:pathLst>
                  </a:custGeom>
                  <a:grpFill/>
                  <a:ln w="637" cap="flat">
                    <a:noFill/>
                    <a:prstDash val="solid"/>
                    <a:miter/>
                  </a:ln>
                </p:spPr>
                <p:txBody>
                  <a:bodyPr rtlCol="0" anchor="ctr"/>
                  <a:lstStyle/>
                  <a:p>
                    <a:endParaRPr lang="en-GB" dirty="0"/>
                  </a:p>
                </p:txBody>
              </p:sp>
              <p:sp>
                <p:nvSpPr>
                  <p:cNvPr id="696" name="Freeform: Shape 695">
                    <a:extLst>
                      <a:ext uri="{FF2B5EF4-FFF2-40B4-BE49-F238E27FC236}">
                        <a16:creationId xmlns:a16="http://schemas.microsoft.com/office/drawing/2014/main" id="{D0B9C15E-E8CF-4F15-ABE0-CDEE8DF027CB}"/>
                      </a:ext>
                    </a:extLst>
                  </p:cNvPr>
                  <p:cNvSpPr/>
                  <p:nvPr/>
                </p:nvSpPr>
                <p:spPr>
                  <a:xfrm>
                    <a:off x="6714038" y="1879560"/>
                    <a:ext cx="20765" cy="21062"/>
                  </a:xfrm>
                  <a:custGeom>
                    <a:avLst/>
                    <a:gdLst>
                      <a:gd name="connsiteX0" fmla="*/ 6374 w 20765"/>
                      <a:gd name="connsiteY0" fmla="*/ 21062 h 21062"/>
                      <a:gd name="connsiteX1" fmla="*/ 1948 w 20765"/>
                      <a:gd name="connsiteY1" fmla="*/ 19277 h 21062"/>
                      <a:gd name="connsiteX2" fmla="*/ 1789 w 20765"/>
                      <a:gd name="connsiteY2" fmla="*/ 10259 h 21062"/>
                      <a:gd name="connsiteX3" fmla="*/ 9799 w 20765"/>
                      <a:gd name="connsiteY3" fmla="*/ 1949 h 21062"/>
                      <a:gd name="connsiteX4" fmla="*/ 18817 w 20765"/>
                      <a:gd name="connsiteY4" fmla="*/ 1784 h 21062"/>
                      <a:gd name="connsiteX5" fmla="*/ 18976 w 20765"/>
                      <a:gd name="connsiteY5" fmla="*/ 10801 h 21062"/>
                      <a:gd name="connsiteX6" fmla="*/ 10966 w 20765"/>
                      <a:gd name="connsiteY6" fmla="*/ 19111 h 21062"/>
                      <a:gd name="connsiteX7" fmla="*/ 6374 w 20765"/>
                      <a:gd name="connsiteY7" fmla="*/ 21062 h 21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5" h="21062">
                        <a:moveTo>
                          <a:pt x="6374" y="21062"/>
                        </a:moveTo>
                        <a:cubicBezTo>
                          <a:pt x="4780" y="21062"/>
                          <a:pt x="3186" y="20469"/>
                          <a:pt x="1948" y="19277"/>
                        </a:cubicBezTo>
                        <a:cubicBezTo>
                          <a:pt x="-583" y="16834"/>
                          <a:pt x="-660" y="12797"/>
                          <a:pt x="1789" y="10259"/>
                        </a:cubicBezTo>
                        <a:lnTo>
                          <a:pt x="9799" y="1949"/>
                        </a:lnTo>
                        <a:cubicBezTo>
                          <a:pt x="12254" y="-582"/>
                          <a:pt x="16285" y="-659"/>
                          <a:pt x="18817" y="1784"/>
                        </a:cubicBezTo>
                        <a:cubicBezTo>
                          <a:pt x="21349" y="4226"/>
                          <a:pt x="21425" y="8263"/>
                          <a:pt x="18976" y="10801"/>
                        </a:cubicBezTo>
                        <a:lnTo>
                          <a:pt x="10966" y="19111"/>
                        </a:lnTo>
                        <a:cubicBezTo>
                          <a:pt x="9710" y="20412"/>
                          <a:pt x="8039" y="21062"/>
                          <a:pt x="6374" y="21062"/>
                        </a:cubicBezTo>
                        <a:close/>
                      </a:path>
                    </a:pathLst>
                  </a:custGeom>
                  <a:grpFill/>
                  <a:ln w="637" cap="flat">
                    <a:noFill/>
                    <a:prstDash val="solid"/>
                    <a:miter/>
                  </a:ln>
                </p:spPr>
                <p:txBody>
                  <a:bodyPr rtlCol="0" anchor="ctr"/>
                  <a:lstStyle/>
                  <a:p>
                    <a:endParaRPr lang="en-GB" dirty="0"/>
                  </a:p>
                </p:txBody>
              </p:sp>
              <p:sp>
                <p:nvSpPr>
                  <p:cNvPr id="697" name="Freeform: Shape 696">
                    <a:extLst>
                      <a:ext uri="{FF2B5EF4-FFF2-40B4-BE49-F238E27FC236}">
                        <a16:creationId xmlns:a16="http://schemas.microsoft.com/office/drawing/2014/main" id="{52B321BE-554B-4AFE-AFB9-5A34487FDACA}"/>
                      </a:ext>
                    </a:extLst>
                  </p:cNvPr>
                  <p:cNvSpPr/>
                  <p:nvPr/>
                </p:nvSpPr>
                <p:spPr>
                  <a:xfrm>
                    <a:off x="6689034" y="1828525"/>
                    <a:ext cx="19205" cy="19203"/>
                  </a:xfrm>
                  <a:custGeom>
                    <a:avLst/>
                    <a:gdLst>
                      <a:gd name="connsiteX0" fmla="*/ 6379 w 19205"/>
                      <a:gd name="connsiteY0" fmla="*/ 19204 h 19203"/>
                      <a:gd name="connsiteX1" fmla="*/ 1870 w 19205"/>
                      <a:gd name="connsiteY1" fmla="*/ 17335 h 19203"/>
                      <a:gd name="connsiteX2" fmla="*/ 1870 w 19205"/>
                      <a:gd name="connsiteY2" fmla="*/ 8318 h 19203"/>
                      <a:gd name="connsiteX3" fmla="*/ 8318 w 19205"/>
                      <a:gd name="connsiteY3" fmla="*/ 1870 h 19203"/>
                      <a:gd name="connsiteX4" fmla="*/ 17335 w 19205"/>
                      <a:gd name="connsiteY4" fmla="*/ 1870 h 19203"/>
                      <a:gd name="connsiteX5" fmla="*/ 17335 w 19205"/>
                      <a:gd name="connsiteY5" fmla="*/ 10888 h 19203"/>
                      <a:gd name="connsiteX6" fmla="*/ 10888 w 19205"/>
                      <a:gd name="connsiteY6" fmla="*/ 17335 h 19203"/>
                      <a:gd name="connsiteX7" fmla="*/ 6379 w 19205"/>
                      <a:gd name="connsiteY7" fmla="*/ 19204 h 19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05" h="19203">
                        <a:moveTo>
                          <a:pt x="6379" y="19204"/>
                        </a:moveTo>
                        <a:cubicBezTo>
                          <a:pt x="4746" y="19204"/>
                          <a:pt x="3114" y="18579"/>
                          <a:pt x="1870" y="17335"/>
                        </a:cubicBezTo>
                        <a:cubicBezTo>
                          <a:pt x="-623" y="14842"/>
                          <a:pt x="-623" y="10811"/>
                          <a:pt x="1870" y="8318"/>
                        </a:cubicBezTo>
                        <a:lnTo>
                          <a:pt x="8318" y="1870"/>
                        </a:lnTo>
                        <a:cubicBezTo>
                          <a:pt x="10811" y="-623"/>
                          <a:pt x="14842" y="-623"/>
                          <a:pt x="17335" y="1870"/>
                        </a:cubicBezTo>
                        <a:cubicBezTo>
                          <a:pt x="19829" y="4364"/>
                          <a:pt x="19829" y="8394"/>
                          <a:pt x="17335" y="10888"/>
                        </a:cubicBezTo>
                        <a:lnTo>
                          <a:pt x="10888" y="17335"/>
                        </a:lnTo>
                        <a:cubicBezTo>
                          <a:pt x="9644" y="18585"/>
                          <a:pt x="8012" y="19204"/>
                          <a:pt x="6379" y="19204"/>
                        </a:cubicBezTo>
                        <a:close/>
                      </a:path>
                    </a:pathLst>
                  </a:custGeom>
                  <a:grpFill/>
                  <a:ln w="637" cap="flat">
                    <a:noFill/>
                    <a:prstDash val="solid"/>
                    <a:miter/>
                  </a:ln>
                </p:spPr>
                <p:txBody>
                  <a:bodyPr rtlCol="0" anchor="ctr"/>
                  <a:lstStyle/>
                  <a:p>
                    <a:endParaRPr lang="en-GB" dirty="0"/>
                  </a:p>
                </p:txBody>
              </p:sp>
            </p:grpSp>
            <p:sp>
              <p:nvSpPr>
                <p:cNvPr id="680" name="Freeform: Shape 679">
                  <a:extLst>
                    <a:ext uri="{FF2B5EF4-FFF2-40B4-BE49-F238E27FC236}">
                      <a16:creationId xmlns:a16="http://schemas.microsoft.com/office/drawing/2014/main" id="{A6464436-D188-47E9-BE8F-50FF93AC0AB8}"/>
                    </a:ext>
                  </a:extLst>
                </p:cNvPr>
                <p:cNvSpPr/>
                <p:nvPr/>
              </p:nvSpPr>
              <p:spPr>
                <a:xfrm>
                  <a:off x="2932790" y="1920446"/>
                  <a:ext cx="111033" cy="79176"/>
                </a:xfrm>
                <a:custGeom>
                  <a:avLst/>
                  <a:gdLst>
                    <a:gd name="connsiteX0" fmla="*/ 6379 w 111033"/>
                    <a:gd name="connsiteY0" fmla="*/ 79177 h 79176"/>
                    <a:gd name="connsiteX1" fmla="*/ 1870 w 111033"/>
                    <a:gd name="connsiteY1" fmla="*/ 77308 h 79176"/>
                    <a:gd name="connsiteX2" fmla="*/ 1870 w 111033"/>
                    <a:gd name="connsiteY2" fmla="*/ 68291 h 79176"/>
                    <a:gd name="connsiteX3" fmla="*/ 31978 w 111033"/>
                    <a:gd name="connsiteY3" fmla="*/ 38183 h 79176"/>
                    <a:gd name="connsiteX4" fmla="*/ 35728 w 111033"/>
                    <a:gd name="connsiteY4" fmla="*/ 36359 h 79176"/>
                    <a:gd name="connsiteX5" fmla="*/ 69726 w 111033"/>
                    <a:gd name="connsiteY5" fmla="*/ 32290 h 79176"/>
                    <a:gd name="connsiteX6" fmla="*/ 100146 w 111033"/>
                    <a:gd name="connsiteY6" fmla="*/ 1870 h 79176"/>
                    <a:gd name="connsiteX7" fmla="*/ 109163 w 111033"/>
                    <a:gd name="connsiteY7" fmla="*/ 1870 h 79176"/>
                    <a:gd name="connsiteX8" fmla="*/ 109163 w 111033"/>
                    <a:gd name="connsiteY8" fmla="*/ 10888 h 79176"/>
                    <a:gd name="connsiteX9" fmla="*/ 77187 w 111033"/>
                    <a:gd name="connsiteY9" fmla="*/ 42870 h 79176"/>
                    <a:gd name="connsiteX10" fmla="*/ 73437 w 111033"/>
                    <a:gd name="connsiteY10" fmla="*/ 44694 h 79176"/>
                    <a:gd name="connsiteX11" fmla="*/ 39439 w 111033"/>
                    <a:gd name="connsiteY11" fmla="*/ 48763 h 79176"/>
                    <a:gd name="connsiteX12" fmla="*/ 10888 w 111033"/>
                    <a:gd name="connsiteY12" fmla="*/ 77315 h 79176"/>
                    <a:gd name="connsiteX13" fmla="*/ 6379 w 111033"/>
                    <a:gd name="connsiteY13" fmla="*/ 79177 h 79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033" h="79176">
                      <a:moveTo>
                        <a:pt x="6379" y="79177"/>
                      </a:moveTo>
                      <a:cubicBezTo>
                        <a:pt x="4746" y="79177"/>
                        <a:pt x="3114" y="78552"/>
                        <a:pt x="1870" y="77308"/>
                      </a:cubicBezTo>
                      <a:cubicBezTo>
                        <a:pt x="-623" y="74815"/>
                        <a:pt x="-623" y="70784"/>
                        <a:pt x="1870" y="68291"/>
                      </a:cubicBezTo>
                      <a:lnTo>
                        <a:pt x="31978" y="38183"/>
                      </a:lnTo>
                      <a:cubicBezTo>
                        <a:pt x="32985" y="37169"/>
                        <a:pt x="34306" y="36531"/>
                        <a:pt x="35728" y="36359"/>
                      </a:cubicBezTo>
                      <a:lnTo>
                        <a:pt x="69726" y="32290"/>
                      </a:lnTo>
                      <a:lnTo>
                        <a:pt x="100146" y="1870"/>
                      </a:lnTo>
                      <a:cubicBezTo>
                        <a:pt x="102639" y="-623"/>
                        <a:pt x="106670" y="-623"/>
                        <a:pt x="109163" y="1870"/>
                      </a:cubicBezTo>
                      <a:cubicBezTo>
                        <a:pt x="111657" y="4357"/>
                        <a:pt x="111657" y="8394"/>
                        <a:pt x="109163" y="10888"/>
                      </a:cubicBezTo>
                      <a:lnTo>
                        <a:pt x="77187" y="42870"/>
                      </a:lnTo>
                      <a:cubicBezTo>
                        <a:pt x="76180" y="43884"/>
                        <a:pt x="74859" y="44522"/>
                        <a:pt x="73437" y="44694"/>
                      </a:cubicBezTo>
                      <a:lnTo>
                        <a:pt x="39439" y="48763"/>
                      </a:lnTo>
                      <a:lnTo>
                        <a:pt x="10888" y="77315"/>
                      </a:lnTo>
                      <a:cubicBezTo>
                        <a:pt x="9644" y="78552"/>
                        <a:pt x="8012" y="79177"/>
                        <a:pt x="6379" y="79177"/>
                      </a:cubicBezTo>
                      <a:close/>
                    </a:path>
                  </a:pathLst>
                </a:custGeom>
                <a:grpFill/>
                <a:ln w="637" cap="flat">
                  <a:noFill/>
                  <a:prstDash val="solid"/>
                  <a:miter/>
                </a:ln>
              </p:spPr>
              <p:txBody>
                <a:bodyPr rtlCol="0" anchor="ctr"/>
                <a:lstStyle/>
                <a:p>
                  <a:endParaRPr lang="en-GB" dirty="0"/>
                </a:p>
              </p:txBody>
            </p:sp>
            <p:sp>
              <p:nvSpPr>
                <p:cNvPr id="681" name="Freeform: Shape 680">
                  <a:extLst>
                    <a:ext uri="{FF2B5EF4-FFF2-40B4-BE49-F238E27FC236}">
                      <a16:creationId xmlns:a16="http://schemas.microsoft.com/office/drawing/2014/main" id="{4A251C99-CD2B-421D-A180-CBF4B5094ED2}"/>
                    </a:ext>
                  </a:extLst>
                </p:cNvPr>
                <p:cNvSpPr/>
                <p:nvPr/>
              </p:nvSpPr>
              <p:spPr>
                <a:xfrm>
                  <a:off x="2952382" y="1821859"/>
                  <a:ext cx="71676" cy="59979"/>
                </a:xfrm>
                <a:custGeom>
                  <a:avLst/>
                  <a:gdLst>
                    <a:gd name="connsiteX0" fmla="*/ 44522 w 71676"/>
                    <a:gd name="connsiteY0" fmla="*/ 59979 h 59979"/>
                    <a:gd name="connsiteX1" fmla="*/ 22373 w 71676"/>
                    <a:gd name="connsiteY1" fmla="*/ 51096 h 59979"/>
                    <a:gd name="connsiteX2" fmla="*/ 2405 w 71676"/>
                    <a:gd name="connsiteY2" fmla="*/ 35203 h 59979"/>
                    <a:gd name="connsiteX3" fmla="*/ 1391 w 71676"/>
                    <a:gd name="connsiteY3" fmla="*/ 26243 h 59979"/>
                    <a:gd name="connsiteX4" fmla="*/ 10352 w 71676"/>
                    <a:gd name="connsiteY4" fmla="*/ 25235 h 59979"/>
                    <a:gd name="connsiteX5" fmla="*/ 30759 w 71676"/>
                    <a:gd name="connsiteY5" fmla="*/ 41510 h 59979"/>
                    <a:gd name="connsiteX6" fmla="*/ 56645 w 71676"/>
                    <a:gd name="connsiteY6" fmla="*/ 42926 h 59979"/>
                    <a:gd name="connsiteX7" fmla="*/ 58386 w 71676"/>
                    <a:gd name="connsiteY7" fmla="*/ 41498 h 59979"/>
                    <a:gd name="connsiteX8" fmla="*/ 28534 w 71676"/>
                    <a:gd name="connsiteY8" fmla="*/ 10822 h 59979"/>
                    <a:gd name="connsiteX9" fmla="*/ 28661 w 71676"/>
                    <a:gd name="connsiteY9" fmla="*/ 1805 h 59979"/>
                    <a:gd name="connsiteX10" fmla="*/ 37679 w 71676"/>
                    <a:gd name="connsiteY10" fmla="*/ 1932 h 59979"/>
                    <a:gd name="connsiteX11" fmla="*/ 68367 w 71676"/>
                    <a:gd name="connsiteY11" fmla="*/ 33462 h 59979"/>
                    <a:gd name="connsiteX12" fmla="*/ 71658 w 71676"/>
                    <a:gd name="connsiteY12" fmla="*/ 42256 h 59979"/>
                    <a:gd name="connsiteX13" fmla="*/ 67378 w 71676"/>
                    <a:gd name="connsiteY13" fmla="*/ 50630 h 59979"/>
                    <a:gd name="connsiteX14" fmla="*/ 64693 w 71676"/>
                    <a:gd name="connsiteY14" fmla="*/ 52811 h 59979"/>
                    <a:gd name="connsiteX15" fmla="*/ 44522 w 71676"/>
                    <a:gd name="connsiteY15" fmla="*/ 59979 h 5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676" h="59979">
                      <a:moveTo>
                        <a:pt x="44522" y="59979"/>
                      </a:moveTo>
                      <a:cubicBezTo>
                        <a:pt x="36512" y="59979"/>
                        <a:pt x="28527" y="56995"/>
                        <a:pt x="22373" y="51096"/>
                      </a:cubicBezTo>
                      <a:lnTo>
                        <a:pt x="2405" y="35203"/>
                      </a:lnTo>
                      <a:cubicBezTo>
                        <a:pt x="-356" y="33009"/>
                        <a:pt x="-802" y="28991"/>
                        <a:pt x="1391" y="26243"/>
                      </a:cubicBezTo>
                      <a:cubicBezTo>
                        <a:pt x="3598" y="23494"/>
                        <a:pt x="7616" y="23041"/>
                        <a:pt x="10352" y="25235"/>
                      </a:cubicBezTo>
                      <a:lnTo>
                        <a:pt x="30759" y="41510"/>
                      </a:lnTo>
                      <a:cubicBezTo>
                        <a:pt x="38202" y="48602"/>
                        <a:pt x="49126" y="49029"/>
                        <a:pt x="56645" y="42926"/>
                      </a:cubicBezTo>
                      <a:lnTo>
                        <a:pt x="58386" y="41498"/>
                      </a:lnTo>
                      <a:lnTo>
                        <a:pt x="28534" y="10822"/>
                      </a:lnTo>
                      <a:cubicBezTo>
                        <a:pt x="26078" y="8297"/>
                        <a:pt x="26136" y="4260"/>
                        <a:pt x="28661" y="1805"/>
                      </a:cubicBezTo>
                      <a:cubicBezTo>
                        <a:pt x="31187" y="-651"/>
                        <a:pt x="35224" y="-593"/>
                        <a:pt x="37679" y="1932"/>
                      </a:cubicBezTo>
                      <a:lnTo>
                        <a:pt x="68367" y="33462"/>
                      </a:lnTo>
                      <a:cubicBezTo>
                        <a:pt x="70637" y="35796"/>
                        <a:pt x="71843" y="39004"/>
                        <a:pt x="71658" y="42256"/>
                      </a:cubicBezTo>
                      <a:cubicBezTo>
                        <a:pt x="71473" y="45515"/>
                        <a:pt x="69910" y="48570"/>
                        <a:pt x="67378" y="50630"/>
                      </a:cubicBezTo>
                      <a:lnTo>
                        <a:pt x="64693" y="52811"/>
                      </a:lnTo>
                      <a:cubicBezTo>
                        <a:pt x="58807" y="57613"/>
                        <a:pt x="51652" y="59979"/>
                        <a:pt x="44522" y="59979"/>
                      </a:cubicBezTo>
                      <a:close/>
                    </a:path>
                  </a:pathLst>
                </a:custGeom>
                <a:grpFill/>
                <a:ln w="637" cap="flat">
                  <a:noFill/>
                  <a:prstDash val="solid"/>
                  <a:miter/>
                </a:ln>
              </p:spPr>
              <p:txBody>
                <a:bodyPr rtlCol="0" anchor="ctr"/>
                <a:lstStyle/>
                <a:p>
                  <a:endParaRPr lang="en-GB" dirty="0"/>
                </a:p>
              </p:txBody>
            </p:sp>
            <p:grpSp>
              <p:nvGrpSpPr>
                <p:cNvPr id="682" name="Graphic 32">
                  <a:extLst>
                    <a:ext uri="{FF2B5EF4-FFF2-40B4-BE49-F238E27FC236}">
                      <a16:creationId xmlns:a16="http://schemas.microsoft.com/office/drawing/2014/main" id="{EDFA7232-F73E-4BD8-B927-E42B3459B40A}"/>
                    </a:ext>
                  </a:extLst>
                </p:cNvPr>
                <p:cNvGrpSpPr/>
                <p:nvPr/>
              </p:nvGrpSpPr>
              <p:grpSpPr>
                <a:xfrm>
                  <a:off x="2980929" y="1798626"/>
                  <a:ext cx="101877" cy="133147"/>
                  <a:chOff x="6978118" y="1821715"/>
                  <a:chExt cx="101877" cy="133147"/>
                </a:xfrm>
                <a:grpFill/>
              </p:grpSpPr>
              <p:sp>
                <p:nvSpPr>
                  <p:cNvPr id="688" name="Freeform: Shape 687">
                    <a:extLst>
                      <a:ext uri="{FF2B5EF4-FFF2-40B4-BE49-F238E27FC236}">
                        <a16:creationId xmlns:a16="http://schemas.microsoft.com/office/drawing/2014/main" id="{0B4D5BAD-2590-4E48-BD54-16930735AE84}"/>
                      </a:ext>
                    </a:extLst>
                  </p:cNvPr>
                  <p:cNvSpPr/>
                  <p:nvPr/>
                </p:nvSpPr>
                <p:spPr>
                  <a:xfrm>
                    <a:off x="7009265" y="1884297"/>
                    <a:ext cx="70730" cy="70565"/>
                  </a:xfrm>
                  <a:custGeom>
                    <a:avLst/>
                    <a:gdLst>
                      <a:gd name="connsiteX0" fmla="*/ 25158 w 70730"/>
                      <a:gd name="connsiteY0" fmla="*/ 70566 h 70565"/>
                      <a:gd name="connsiteX1" fmla="*/ 25088 w 70730"/>
                      <a:gd name="connsiteY1" fmla="*/ 70566 h 70565"/>
                      <a:gd name="connsiteX2" fmla="*/ 12805 w 70730"/>
                      <a:gd name="connsiteY2" fmla="*/ 65419 h 70565"/>
                      <a:gd name="connsiteX3" fmla="*/ 5037 w 70730"/>
                      <a:gd name="connsiteY3" fmla="*/ 57588 h 70565"/>
                      <a:gd name="connsiteX4" fmla="*/ 5037 w 70730"/>
                      <a:gd name="connsiteY4" fmla="*/ 57588 h 70565"/>
                      <a:gd name="connsiteX5" fmla="*/ 5146 w 70730"/>
                      <a:gd name="connsiteY5" fmla="*/ 32984 h 70565"/>
                      <a:gd name="connsiteX6" fmla="*/ 33321 w 70730"/>
                      <a:gd name="connsiteY6" fmla="*/ 5045 h 70565"/>
                      <a:gd name="connsiteX7" fmla="*/ 45649 w 70730"/>
                      <a:gd name="connsiteY7" fmla="*/ 0 h 70565"/>
                      <a:gd name="connsiteX8" fmla="*/ 57932 w 70730"/>
                      <a:gd name="connsiteY8" fmla="*/ 5147 h 70565"/>
                      <a:gd name="connsiteX9" fmla="*/ 65693 w 70730"/>
                      <a:gd name="connsiteY9" fmla="*/ 12978 h 70565"/>
                      <a:gd name="connsiteX10" fmla="*/ 65584 w 70730"/>
                      <a:gd name="connsiteY10" fmla="*/ 37582 h 70565"/>
                      <a:gd name="connsiteX11" fmla="*/ 37409 w 70730"/>
                      <a:gd name="connsiteY11" fmla="*/ 65521 h 70565"/>
                      <a:gd name="connsiteX12" fmla="*/ 25158 w 70730"/>
                      <a:gd name="connsiteY12" fmla="*/ 70566 h 70565"/>
                      <a:gd name="connsiteX13" fmla="*/ 14100 w 70730"/>
                      <a:gd name="connsiteY13" fmla="*/ 48609 h 70565"/>
                      <a:gd name="connsiteX14" fmla="*/ 21868 w 70730"/>
                      <a:gd name="connsiteY14" fmla="*/ 56440 h 70565"/>
                      <a:gd name="connsiteX15" fmla="*/ 25165 w 70730"/>
                      <a:gd name="connsiteY15" fmla="*/ 57811 h 70565"/>
                      <a:gd name="connsiteX16" fmla="*/ 28436 w 70730"/>
                      <a:gd name="connsiteY16" fmla="*/ 56465 h 70565"/>
                      <a:gd name="connsiteX17" fmla="*/ 56612 w 70730"/>
                      <a:gd name="connsiteY17" fmla="*/ 28526 h 70565"/>
                      <a:gd name="connsiteX18" fmla="*/ 57989 w 70730"/>
                      <a:gd name="connsiteY18" fmla="*/ 25248 h 70565"/>
                      <a:gd name="connsiteX19" fmla="*/ 56643 w 70730"/>
                      <a:gd name="connsiteY19" fmla="*/ 21957 h 70565"/>
                      <a:gd name="connsiteX20" fmla="*/ 48882 w 70730"/>
                      <a:gd name="connsiteY20" fmla="*/ 14126 h 70565"/>
                      <a:gd name="connsiteX21" fmla="*/ 45604 w 70730"/>
                      <a:gd name="connsiteY21" fmla="*/ 12755 h 70565"/>
                      <a:gd name="connsiteX22" fmla="*/ 45579 w 70730"/>
                      <a:gd name="connsiteY22" fmla="*/ 12755 h 70565"/>
                      <a:gd name="connsiteX23" fmla="*/ 42307 w 70730"/>
                      <a:gd name="connsiteY23" fmla="*/ 14100 h 70565"/>
                      <a:gd name="connsiteX24" fmla="*/ 14132 w 70730"/>
                      <a:gd name="connsiteY24" fmla="*/ 42040 h 70565"/>
                      <a:gd name="connsiteX25" fmla="*/ 12754 w 70730"/>
                      <a:gd name="connsiteY25" fmla="*/ 45318 h 70565"/>
                      <a:gd name="connsiteX26" fmla="*/ 14100 w 70730"/>
                      <a:gd name="connsiteY26" fmla="*/ 48609 h 70565"/>
                      <a:gd name="connsiteX27" fmla="*/ 14100 w 70730"/>
                      <a:gd name="connsiteY27" fmla="*/ 48609 h 70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70730" h="70565">
                        <a:moveTo>
                          <a:pt x="25158" y="70566"/>
                        </a:moveTo>
                        <a:cubicBezTo>
                          <a:pt x="25133" y="70566"/>
                          <a:pt x="25107" y="70566"/>
                          <a:pt x="25088" y="70566"/>
                        </a:cubicBezTo>
                        <a:cubicBezTo>
                          <a:pt x="20439" y="70547"/>
                          <a:pt x="16077" y="68716"/>
                          <a:pt x="12805" y="65419"/>
                        </a:cubicBezTo>
                        <a:lnTo>
                          <a:pt x="5037" y="57588"/>
                        </a:lnTo>
                        <a:lnTo>
                          <a:pt x="5037" y="57588"/>
                        </a:lnTo>
                        <a:cubicBezTo>
                          <a:pt x="-1722" y="50777"/>
                          <a:pt x="-1672" y="39738"/>
                          <a:pt x="5146" y="32984"/>
                        </a:cubicBezTo>
                        <a:lnTo>
                          <a:pt x="33321" y="5045"/>
                        </a:lnTo>
                        <a:cubicBezTo>
                          <a:pt x="36625" y="1773"/>
                          <a:pt x="41140" y="-6"/>
                          <a:pt x="45649" y="0"/>
                        </a:cubicBezTo>
                        <a:cubicBezTo>
                          <a:pt x="50298" y="19"/>
                          <a:pt x="54660" y="1849"/>
                          <a:pt x="57932" y="5147"/>
                        </a:cubicBezTo>
                        <a:lnTo>
                          <a:pt x="65693" y="12978"/>
                        </a:lnTo>
                        <a:cubicBezTo>
                          <a:pt x="72453" y="19789"/>
                          <a:pt x="72402" y="30828"/>
                          <a:pt x="65584" y="37582"/>
                        </a:cubicBezTo>
                        <a:lnTo>
                          <a:pt x="37409" y="65521"/>
                        </a:lnTo>
                        <a:cubicBezTo>
                          <a:pt x="34125" y="68774"/>
                          <a:pt x="29782" y="70566"/>
                          <a:pt x="25158" y="70566"/>
                        </a:cubicBezTo>
                        <a:close/>
                        <a:moveTo>
                          <a:pt x="14100" y="48609"/>
                        </a:moveTo>
                        <a:lnTo>
                          <a:pt x="21868" y="56440"/>
                        </a:lnTo>
                        <a:cubicBezTo>
                          <a:pt x="22748" y="57326"/>
                          <a:pt x="24036" y="57830"/>
                          <a:pt x="25165" y="57811"/>
                        </a:cubicBezTo>
                        <a:cubicBezTo>
                          <a:pt x="26395" y="57811"/>
                          <a:pt x="27556" y="57333"/>
                          <a:pt x="28436" y="56465"/>
                        </a:cubicBezTo>
                        <a:lnTo>
                          <a:pt x="56612" y="28526"/>
                        </a:lnTo>
                        <a:cubicBezTo>
                          <a:pt x="57498" y="27652"/>
                          <a:pt x="57983" y="26485"/>
                          <a:pt x="57989" y="25248"/>
                        </a:cubicBezTo>
                        <a:cubicBezTo>
                          <a:pt x="57995" y="24011"/>
                          <a:pt x="57517" y="22844"/>
                          <a:pt x="56643" y="21957"/>
                        </a:cubicBezTo>
                        <a:lnTo>
                          <a:pt x="48882" y="14126"/>
                        </a:lnTo>
                        <a:cubicBezTo>
                          <a:pt x="48008" y="13246"/>
                          <a:pt x="46848" y="12761"/>
                          <a:pt x="45604" y="12755"/>
                        </a:cubicBezTo>
                        <a:cubicBezTo>
                          <a:pt x="45591" y="12755"/>
                          <a:pt x="45585" y="12755"/>
                          <a:pt x="45579" y="12755"/>
                        </a:cubicBezTo>
                        <a:cubicBezTo>
                          <a:pt x="44348" y="12755"/>
                          <a:pt x="43187" y="13233"/>
                          <a:pt x="42307" y="14100"/>
                        </a:cubicBezTo>
                        <a:lnTo>
                          <a:pt x="14132" y="42040"/>
                        </a:lnTo>
                        <a:cubicBezTo>
                          <a:pt x="13245" y="42913"/>
                          <a:pt x="12761" y="44081"/>
                          <a:pt x="12754" y="45318"/>
                        </a:cubicBezTo>
                        <a:cubicBezTo>
                          <a:pt x="12748" y="46555"/>
                          <a:pt x="13226" y="47722"/>
                          <a:pt x="14100" y="48609"/>
                        </a:cubicBezTo>
                        <a:lnTo>
                          <a:pt x="14100" y="48609"/>
                        </a:lnTo>
                        <a:close/>
                      </a:path>
                    </a:pathLst>
                  </a:custGeom>
                  <a:grpFill/>
                  <a:ln w="637" cap="flat">
                    <a:noFill/>
                    <a:prstDash val="solid"/>
                    <a:miter/>
                  </a:ln>
                </p:spPr>
                <p:txBody>
                  <a:bodyPr rtlCol="0" anchor="ctr"/>
                  <a:lstStyle/>
                  <a:p>
                    <a:endParaRPr lang="en-GB" dirty="0"/>
                  </a:p>
                </p:txBody>
              </p:sp>
              <p:sp>
                <p:nvSpPr>
                  <p:cNvPr id="689" name="Freeform: Shape 688">
                    <a:extLst>
                      <a:ext uri="{FF2B5EF4-FFF2-40B4-BE49-F238E27FC236}">
                        <a16:creationId xmlns:a16="http://schemas.microsoft.com/office/drawing/2014/main" id="{3A2C1EEB-9E72-444C-9F6E-66F7CB0CAF71}"/>
                      </a:ext>
                    </a:extLst>
                  </p:cNvPr>
                  <p:cNvSpPr/>
                  <p:nvPr/>
                </p:nvSpPr>
                <p:spPr>
                  <a:xfrm>
                    <a:off x="6982885" y="1853024"/>
                    <a:ext cx="78526" cy="78343"/>
                  </a:xfrm>
                  <a:custGeom>
                    <a:avLst/>
                    <a:gdLst>
                      <a:gd name="connsiteX0" fmla="*/ 28260 w 78526"/>
                      <a:gd name="connsiteY0" fmla="*/ 78344 h 78343"/>
                      <a:gd name="connsiteX1" fmla="*/ 15901 w 78526"/>
                      <a:gd name="connsiteY1" fmla="*/ 73210 h 78343"/>
                      <a:gd name="connsiteX2" fmla="*/ 5040 w 78526"/>
                      <a:gd name="connsiteY2" fmla="*/ 62247 h 78343"/>
                      <a:gd name="connsiteX3" fmla="*/ 1711 w 78526"/>
                      <a:gd name="connsiteY3" fmla="*/ 42465 h 78343"/>
                      <a:gd name="connsiteX4" fmla="*/ 10219 w 78526"/>
                      <a:gd name="connsiteY4" fmla="*/ 39480 h 78343"/>
                      <a:gd name="connsiteX5" fmla="*/ 13210 w 78526"/>
                      <a:gd name="connsiteY5" fmla="*/ 47987 h 78343"/>
                      <a:gd name="connsiteX6" fmla="*/ 14102 w 78526"/>
                      <a:gd name="connsiteY6" fmla="*/ 53262 h 78343"/>
                      <a:gd name="connsiteX7" fmla="*/ 24963 w 78526"/>
                      <a:gd name="connsiteY7" fmla="*/ 64224 h 78343"/>
                      <a:gd name="connsiteX8" fmla="*/ 31532 w 78526"/>
                      <a:gd name="connsiteY8" fmla="*/ 64250 h 78343"/>
                      <a:gd name="connsiteX9" fmla="*/ 64401 w 78526"/>
                      <a:gd name="connsiteY9" fmla="*/ 31655 h 78343"/>
                      <a:gd name="connsiteX10" fmla="*/ 64433 w 78526"/>
                      <a:gd name="connsiteY10" fmla="*/ 25080 h 78343"/>
                      <a:gd name="connsiteX11" fmla="*/ 53566 w 78526"/>
                      <a:gd name="connsiteY11" fmla="*/ 14130 h 78343"/>
                      <a:gd name="connsiteX12" fmla="*/ 50281 w 78526"/>
                      <a:gd name="connsiteY12" fmla="*/ 12759 h 78343"/>
                      <a:gd name="connsiteX13" fmla="*/ 50262 w 78526"/>
                      <a:gd name="connsiteY13" fmla="*/ 12759 h 78343"/>
                      <a:gd name="connsiteX14" fmla="*/ 46991 w 78526"/>
                      <a:gd name="connsiteY14" fmla="*/ 14104 h 78343"/>
                      <a:gd name="connsiteX15" fmla="*/ 33394 w 78526"/>
                      <a:gd name="connsiteY15" fmla="*/ 27586 h 78343"/>
                      <a:gd name="connsiteX16" fmla="*/ 24376 w 78526"/>
                      <a:gd name="connsiteY16" fmla="*/ 27548 h 78343"/>
                      <a:gd name="connsiteX17" fmla="*/ 24415 w 78526"/>
                      <a:gd name="connsiteY17" fmla="*/ 18530 h 78343"/>
                      <a:gd name="connsiteX18" fmla="*/ 38011 w 78526"/>
                      <a:gd name="connsiteY18" fmla="*/ 5048 h 78343"/>
                      <a:gd name="connsiteX19" fmla="*/ 50339 w 78526"/>
                      <a:gd name="connsiteY19" fmla="*/ 4 h 78343"/>
                      <a:gd name="connsiteX20" fmla="*/ 62622 w 78526"/>
                      <a:gd name="connsiteY20" fmla="*/ 5151 h 78343"/>
                      <a:gd name="connsiteX21" fmla="*/ 73489 w 78526"/>
                      <a:gd name="connsiteY21" fmla="*/ 16107 h 78343"/>
                      <a:gd name="connsiteX22" fmla="*/ 73380 w 78526"/>
                      <a:gd name="connsiteY22" fmla="*/ 40711 h 78343"/>
                      <a:gd name="connsiteX23" fmla="*/ 40511 w 78526"/>
                      <a:gd name="connsiteY23" fmla="*/ 73306 h 78343"/>
                      <a:gd name="connsiteX24" fmla="*/ 28260 w 78526"/>
                      <a:gd name="connsiteY24" fmla="*/ 78344 h 78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8526" h="78343">
                        <a:moveTo>
                          <a:pt x="28260" y="78344"/>
                        </a:moveTo>
                        <a:cubicBezTo>
                          <a:pt x="23783" y="78344"/>
                          <a:pt x="19306" y="76628"/>
                          <a:pt x="15901" y="73210"/>
                        </a:cubicBezTo>
                        <a:lnTo>
                          <a:pt x="5040" y="62247"/>
                        </a:lnTo>
                        <a:cubicBezTo>
                          <a:pt x="-132" y="57037"/>
                          <a:pt x="-1471" y="49091"/>
                          <a:pt x="1711" y="42465"/>
                        </a:cubicBezTo>
                        <a:cubicBezTo>
                          <a:pt x="3229" y="39301"/>
                          <a:pt x="7030" y="37949"/>
                          <a:pt x="10219" y="39480"/>
                        </a:cubicBezTo>
                        <a:cubicBezTo>
                          <a:pt x="13395" y="41004"/>
                          <a:pt x="14734" y="44812"/>
                          <a:pt x="13210" y="47987"/>
                        </a:cubicBezTo>
                        <a:cubicBezTo>
                          <a:pt x="12361" y="49754"/>
                          <a:pt x="12718" y="51871"/>
                          <a:pt x="14102" y="53262"/>
                        </a:cubicBezTo>
                        <a:lnTo>
                          <a:pt x="24963" y="64224"/>
                        </a:lnTo>
                        <a:cubicBezTo>
                          <a:pt x="26768" y="66035"/>
                          <a:pt x="29714" y="66048"/>
                          <a:pt x="31532" y="64250"/>
                        </a:cubicBezTo>
                        <a:lnTo>
                          <a:pt x="64401" y="31655"/>
                        </a:lnTo>
                        <a:cubicBezTo>
                          <a:pt x="66219" y="29850"/>
                          <a:pt x="66231" y="26904"/>
                          <a:pt x="64433" y="25080"/>
                        </a:cubicBezTo>
                        <a:lnTo>
                          <a:pt x="53566" y="14130"/>
                        </a:lnTo>
                        <a:cubicBezTo>
                          <a:pt x="52692" y="13250"/>
                          <a:pt x="51531" y="12759"/>
                          <a:pt x="50281" y="12759"/>
                        </a:cubicBezTo>
                        <a:cubicBezTo>
                          <a:pt x="50275" y="12759"/>
                          <a:pt x="50269" y="12759"/>
                          <a:pt x="50262" y="12759"/>
                        </a:cubicBezTo>
                        <a:cubicBezTo>
                          <a:pt x="49031" y="12759"/>
                          <a:pt x="47871" y="13237"/>
                          <a:pt x="46991" y="14104"/>
                        </a:cubicBezTo>
                        <a:lnTo>
                          <a:pt x="33394" y="27586"/>
                        </a:lnTo>
                        <a:cubicBezTo>
                          <a:pt x="30888" y="30067"/>
                          <a:pt x="26857" y="30048"/>
                          <a:pt x="24376" y="27548"/>
                        </a:cubicBezTo>
                        <a:cubicBezTo>
                          <a:pt x="21896" y="25048"/>
                          <a:pt x="21908" y="21011"/>
                          <a:pt x="24415" y="18530"/>
                        </a:cubicBezTo>
                        <a:lnTo>
                          <a:pt x="38011" y="5048"/>
                        </a:lnTo>
                        <a:cubicBezTo>
                          <a:pt x="41308" y="1777"/>
                          <a:pt x="45447" y="-98"/>
                          <a:pt x="50339" y="4"/>
                        </a:cubicBezTo>
                        <a:cubicBezTo>
                          <a:pt x="54988" y="23"/>
                          <a:pt x="59350" y="1853"/>
                          <a:pt x="62622" y="5151"/>
                        </a:cubicBezTo>
                        <a:lnTo>
                          <a:pt x="73489" y="16107"/>
                        </a:lnTo>
                        <a:cubicBezTo>
                          <a:pt x="80249" y="22924"/>
                          <a:pt x="80198" y="33964"/>
                          <a:pt x="73380" y="40711"/>
                        </a:cubicBezTo>
                        <a:lnTo>
                          <a:pt x="40511" y="73306"/>
                        </a:lnTo>
                        <a:cubicBezTo>
                          <a:pt x="37118" y="76667"/>
                          <a:pt x="32693" y="78344"/>
                          <a:pt x="28260" y="78344"/>
                        </a:cubicBezTo>
                        <a:close/>
                      </a:path>
                    </a:pathLst>
                  </a:custGeom>
                  <a:grpFill/>
                  <a:ln w="637" cap="flat">
                    <a:noFill/>
                    <a:prstDash val="solid"/>
                    <a:miter/>
                  </a:ln>
                </p:spPr>
                <p:txBody>
                  <a:bodyPr rtlCol="0" anchor="ctr"/>
                  <a:lstStyle/>
                  <a:p>
                    <a:endParaRPr lang="en-GB" dirty="0"/>
                  </a:p>
                </p:txBody>
              </p:sp>
              <p:sp>
                <p:nvSpPr>
                  <p:cNvPr id="690" name="Freeform: Shape 689">
                    <a:extLst>
                      <a:ext uri="{FF2B5EF4-FFF2-40B4-BE49-F238E27FC236}">
                        <a16:creationId xmlns:a16="http://schemas.microsoft.com/office/drawing/2014/main" id="{B4783B1A-BF52-454F-ABA2-9496951F0EC3}"/>
                      </a:ext>
                    </a:extLst>
                  </p:cNvPr>
                  <p:cNvSpPr/>
                  <p:nvPr/>
                </p:nvSpPr>
                <p:spPr>
                  <a:xfrm>
                    <a:off x="6978118" y="1821715"/>
                    <a:ext cx="61653" cy="63002"/>
                  </a:xfrm>
                  <a:custGeom>
                    <a:avLst/>
                    <a:gdLst>
                      <a:gd name="connsiteX0" fmla="*/ 31440 w 61653"/>
                      <a:gd name="connsiteY0" fmla="*/ 63002 h 63002"/>
                      <a:gd name="connsiteX1" fmla="*/ 26918 w 61653"/>
                      <a:gd name="connsiteY1" fmla="*/ 61121 h 63002"/>
                      <a:gd name="connsiteX2" fmla="*/ 26944 w 61653"/>
                      <a:gd name="connsiteY2" fmla="*/ 52103 h 63002"/>
                      <a:gd name="connsiteX3" fmla="*/ 47651 w 61653"/>
                      <a:gd name="connsiteY3" fmla="*/ 31530 h 63002"/>
                      <a:gd name="connsiteX4" fmla="*/ 47511 w 61653"/>
                      <a:gd name="connsiteY4" fmla="*/ 25140 h 63002"/>
                      <a:gd name="connsiteX5" fmla="*/ 36644 w 61653"/>
                      <a:gd name="connsiteY5" fmla="*/ 14183 h 63002"/>
                      <a:gd name="connsiteX6" fmla="*/ 33347 w 61653"/>
                      <a:gd name="connsiteY6" fmla="*/ 12755 h 63002"/>
                      <a:gd name="connsiteX7" fmla="*/ 30260 w 61653"/>
                      <a:gd name="connsiteY7" fmla="*/ 13973 h 63002"/>
                      <a:gd name="connsiteX8" fmla="*/ 10930 w 61653"/>
                      <a:gd name="connsiteY8" fmla="*/ 33692 h 63002"/>
                      <a:gd name="connsiteX9" fmla="*/ 1913 w 61653"/>
                      <a:gd name="connsiteY9" fmla="*/ 33781 h 63002"/>
                      <a:gd name="connsiteX10" fmla="*/ 1823 w 61653"/>
                      <a:gd name="connsiteY10" fmla="*/ 24763 h 63002"/>
                      <a:gd name="connsiteX11" fmla="*/ 21217 w 61653"/>
                      <a:gd name="connsiteY11" fmla="*/ 4981 h 63002"/>
                      <a:gd name="connsiteX12" fmla="*/ 33551 w 61653"/>
                      <a:gd name="connsiteY12" fmla="*/ 0 h 63002"/>
                      <a:gd name="connsiteX13" fmla="*/ 45700 w 61653"/>
                      <a:gd name="connsiteY13" fmla="*/ 5198 h 63002"/>
                      <a:gd name="connsiteX14" fmla="*/ 56567 w 61653"/>
                      <a:gd name="connsiteY14" fmla="*/ 16154 h 63002"/>
                      <a:gd name="connsiteX15" fmla="*/ 56644 w 61653"/>
                      <a:gd name="connsiteY15" fmla="*/ 40579 h 63002"/>
                      <a:gd name="connsiteX16" fmla="*/ 35943 w 61653"/>
                      <a:gd name="connsiteY16" fmla="*/ 61146 h 63002"/>
                      <a:gd name="connsiteX17" fmla="*/ 31440 w 61653"/>
                      <a:gd name="connsiteY17" fmla="*/ 63002 h 63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1653" h="63002">
                        <a:moveTo>
                          <a:pt x="31440" y="63002"/>
                        </a:moveTo>
                        <a:cubicBezTo>
                          <a:pt x="29801" y="63002"/>
                          <a:pt x="28162" y="62371"/>
                          <a:pt x="26918" y="61121"/>
                        </a:cubicBezTo>
                        <a:cubicBezTo>
                          <a:pt x="24431" y="58621"/>
                          <a:pt x="24444" y="54584"/>
                          <a:pt x="26944" y="52103"/>
                        </a:cubicBezTo>
                        <a:lnTo>
                          <a:pt x="47651" y="31530"/>
                        </a:lnTo>
                        <a:cubicBezTo>
                          <a:pt x="49380" y="29821"/>
                          <a:pt x="49310" y="26957"/>
                          <a:pt x="47511" y="25140"/>
                        </a:cubicBezTo>
                        <a:lnTo>
                          <a:pt x="36644" y="14183"/>
                        </a:lnTo>
                        <a:cubicBezTo>
                          <a:pt x="35745" y="13284"/>
                          <a:pt x="34584" y="12774"/>
                          <a:pt x="33347" y="12755"/>
                        </a:cubicBezTo>
                        <a:cubicBezTo>
                          <a:pt x="32046" y="12768"/>
                          <a:pt x="31076" y="13169"/>
                          <a:pt x="30260" y="13973"/>
                        </a:cubicBezTo>
                        <a:lnTo>
                          <a:pt x="10930" y="33692"/>
                        </a:lnTo>
                        <a:cubicBezTo>
                          <a:pt x="8462" y="36204"/>
                          <a:pt x="4419" y="36236"/>
                          <a:pt x="1913" y="33781"/>
                        </a:cubicBezTo>
                        <a:cubicBezTo>
                          <a:pt x="-606" y="31319"/>
                          <a:pt x="-638" y="27276"/>
                          <a:pt x="1823" y="24763"/>
                        </a:cubicBezTo>
                        <a:lnTo>
                          <a:pt x="21217" y="4981"/>
                        </a:lnTo>
                        <a:cubicBezTo>
                          <a:pt x="24546" y="1671"/>
                          <a:pt x="28908" y="-6"/>
                          <a:pt x="33551" y="0"/>
                        </a:cubicBezTo>
                        <a:cubicBezTo>
                          <a:pt x="38136" y="77"/>
                          <a:pt x="42454" y="1920"/>
                          <a:pt x="45700" y="5198"/>
                        </a:cubicBezTo>
                        <a:lnTo>
                          <a:pt x="56567" y="16154"/>
                        </a:lnTo>
                        <a:cubicBezTo>
                          <a:pt x="63321" y="22965"/>
                          <a:pt x="63353" y="33921"/>
                          <a:pt x="56644" y="40579"/>
                        </a:cubicBezTo>
                        <a:lnTo>
                          <a:pt x="35943" y="61146"/>
                        </a:lnTo>
                        <a:cubicBezTo>
                          <a:pt x="34686" y="62384"/>
                          <a:pt x="33066" y="63002"/>
                          <a:pt x="31440" y="63002"/>
                        </a:cubicBezTo>
                        <a:close/>
                      </a:path>
                    </a:pathLst>
                  </a:custGeom>
                  <a:grpFill/>
                  <a:ln w="637" cap="flat">
                    <a:noFill/>
                    <a:prstDash val="solid"/>
                    <a:miter/>
                  </a:ln>
                </p:spPr>
                <p:txBody>
                  <a:bodyPr rtlCol="0" anchor="ctr"/>
                  <a:lstStyle/>
                  <a:p>
                    <a:endParaRPr lang="en-GB" dirty="0"/>
                  </a:p>
                </p:txBody>
              </p:sp>
            </p:grpSp>
            <p:sp>
              <p:nvSpPr>
                <p:cNvPr id="683" name="Freeform: Shape 682">
                  <a:extLst>
                    <a:ext uri="{FF2B5EF4-FFF2-40B4-BE49-F238E27FC236}">
                      <a16:creationId xmlns:a16="http://schemas.microsoft.com/office/drawing/2014/main" id="{0E3402C9-BFDB-43F4-A4CE-17E64149A087}"/>
                    </a:ext>
                  </a:extLst>
                </p:cNvPr>
                <p:cNvSpPr/>
                <p:nvPr/>
              </p:nvSpPr>
              <p:spPr>
                <a:xfrm>
                  <a:off x="2952383" y="1845709"/>
                  <a:ext cx="22273" cy="83431"/>
                </a:xfrm>
                <a:custGeom>
                  <a:avLst/>
                  <a:gdLst>
                    <a:gd name="connsiteX0" fmla="*/ 7997 w 22273"/>
                    <a:gd name="connsiteY0" fmla="*/ 83431 h 83431"/>
                    <a:gd name="connsiteX1" fmla="*/ 4024 w 22273"/>
                    <a:gd name="connsiteY1" fmla="*/ 82041 h 83431"/>
                    <a:gd name="connsiteX2" fmla="*/ 3023 w 22273"/>
                    <a:gd name="connsiteY2" fmla="*/ 73081 h 83431"/>
                    <a:gd name="connsiteX3" fmla="*/ 523 w 22273"/>
                    <a:gd name="connsiteY3" fmla="*/ 8905 h 83431"/>
                    <a:gd name="connsiteX4" fmla="*/ 3852 w 22273"/>
                    <a:gd name="connsiteY4" fmla="*/ 525 h 83431"/>
                    <a:gd name="connsiteX5" fmla="*/ 12225 w 22273"/>
                    <a:gd name="connsiteY5" fmla="*/ 3848 h 83431"/>
                    <a:gd name="connsiteX6" fmla="*/ 12978 w 22273"/>
                    <a:gd name="connsiteY6" fmla="*/ 81033 h 83431"/>
                    <a:gd name="connsiteX7" fmla="*/ 7997 w 22273"/>
                    <a:gd name="connsiteY7" fmla="*/ 83431 h 83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73" h="83431">
                      <a:moveTo>
                        <a:pt x="7997" y="83431"/>
                      </a:moveTo>
                      <a:cubicBezTo>
                        <a:pt x="6601" y="83431"/>
                        <a:pt x="5204" y="82978"/>
                        <a:pt x="4024" y="82041"/>
                      </a:cubicBezTo>
                      <a:cubicBezTo>
                        <a:pt x="1269" y="79841"/>
                        <a:pt x="823" y="75829"/>
                        <a:pt x="3023" y="73081"/>
                      </a:cubicBezTo>
                      <a:cubicBezTo>
                        <a:pt x="16415" y="56302"/>
                        <a:pt x="5759" y="21060"/>
                        <a:pt x="523" y="8905"/>
                      </a:cubicBezTo>
                      <a:cubicBezTo>
                        <a:pt x="-874" y="5671"/>
                        <a:pt x="625" y="1922"/>
                        <a:pt x="3852" y="525"/>
                      </a:cubicBezTo>
                      <a:cubicBezTo>
                        <a:pt x="7079" y="-872"/>
                        <a:pt x="10835" y="614"/>
                        <a:pt x="12225" y="3848"/>
                      </a:cubicBezTo>
                      <a:cubicBezTo>
                        <a:pt x="13125" y="5914"/>
                        <a:pt x="33883" y="54835"/>
                        <a:pt x="12978" y="81033"/>
                      </a:cubicBezTo>
                      <a:cubicBezTo>
                        <a:pt x="11728" y="82608"/>
                        <a:pt x="9872" y="83431"/>
                        <a:pt x="7997" y="83431"/>
                      </a:cubicBezTo>
                      <a:close/>
                    </a:path>
                  </a:pathLst>
                </a:custGeom>
                <a:grpFill/>
                <a:ln w="637" cap="flat">
                  <a:noFill/>
                  <a:prstDash val="solid"/>
                  <a:miter/>
                </a:ln>
              </p:spPr>
              <p:txBody>
                <a:bodyPr rtlCol="0" anchor="ctr"/>
                <a:lstStyle/>
                <a:p>
                  <a:endParaRPr lang="en-GB" dirty="0"/>
                </a:p>
              </p:txBody>
            </p:sp>
            <p:sp>
              <p:nvSpPr>
                <p:cNvPr id="684" name="Freeform: Shape 683">
                  <a:extLst>
                    <a:ext uri="{FF2B5EF4-FFF2-40B4-BE49-F238E27FC236}">
                      <a16:creationId xmlns:a16="http://schemas.microsoft.com/office/drawing/2014/main" id="{7A0C57F2-AF76-4006-AADB-356220F7940B}"/>
                    </a:ext>
                  </a:extLst>
                </p:cNvPr>
                <p:cNvSpPr/>
                <p:nvPr/>
              </p:nvSpPr>
              <p:spPr>
                <a:xfrm>
                  <a:off x="2852148" y="1956675"/>
                  <a:ext cx="61691" cy="61907"/>
                </a:xfrm>
                <a:custGeom>
                  <a:avLst/>
                  <a:gdLst>
                    <a:gd name="connsiteX0" fmla="*/ 6379 w 61691"/>
                    <a:gd name="connsiteY0" fmla="*/ 61908 h 61907"/>
                    <a:gd name="connsiteX1" fmla="*/ 1883 w 61691"/>
                    <a:gd name="connsiteY1" fmla="*/ 60046 h 61907"/>
                    <a:gd name="connsiteX2" fmla="*/ 1857 w 61691"/>
                    <a:gd name="connsiteY2" fmla="*/ 51028 h 61907"/>
                    <a:gd name="connsiteX3" fmla="*/ 50791 w 61691"/>
                    <a:gd name="connsiteY3" fmla="*/ 1877 h 61907"/>
                    <a:gd name="connsiteX4" fmla="*/ 59809 w 61691"/>
                    <a:gd name="connsiteY4" fmla="*/ 1858 h 61907"/>
                    <a:gd name="connsiteX5" fmla="*/ 59834 w 61691"/>
                    <a:gd name="connsiteY5" fmla="*/ 10876 h 61907"/>
                    <a:gd name="connsiteX6" fmla="*/ 10900 w 61691"/>
                    <a:gd name="connsiteY6" fmla="*/ 60026 h 61907"/>
                    <a:gd name="connsiteX7" fmla="*/ 6379 w 61691"/>
                    <a:gd name="connsiteY7" fmla="*/ 61908 h 6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91" h="61907">
                      <a:moveTo>
                        <a:pt x="6379" y="61908"/>
                      </a:moveTo>
                      <a:cubicBezTo>
                        <a:pt x="4753" y="61908"/>
                        <a:pt x="3120" y="61289"/>
                        <a:pt x="1883" y="60046"/>
                      </a:cubicBezTo>
                      <a:cubicBezTo>
                        <a:pt x="-617" y="57558"/>
                        <a:pt x="-630" y="53528"/>
                        <a:pt x="1857" y="51028"/>
                      </a:cubicBezTo>
                      <a:lnTo>
                        <a:pt x="50791" y="1877"/>
                      </a:lnTo>
                      <a:cubicBezTo>
                        <a:pt x="53278" y="-616"/>
                        <a:pt x="57322" y="-629"/>
                        <a:pt x="59809" y="1858"/>
                      </a:cubicBezTo>
                      <a:cubicBezTo>
                        <a:pt x="62309" y="4345"/>
                        <a:pt x="62322" y="8376"/>
                        <a:pt x="59834" y="10876"/>
                      </a:cubicBezTo>
                      <a:lnTo>
                        <a:pt x="10900" y="60026"/>
                      </a:lnTo>
                      <a:cubicBezTo>
                        <a:pt x="9651" y="61283"/>
                        <a:pt x="8012" y="61908"/>
                        <a:pt x="6379" y="61908"/>
                      </a:cubicBezTo>
                      <a:close/>
                    </a:path>
                  </a:pathLst>
                </a:custGeom>
                <a:grpFill/>
                <a:ln w="637" cap="flat">
                  <a:noFill/>
                  <a:prstDash val="solid"/>
                  <a:miter/>
                </a:ln>
              </p:spPr>
              <p:txBody>
                <a:bodyPr rtlCol="0" anchor="ctr"/>
                <a:lstStyle/>
                <a:p>
                  <a:endParaRPr lang="en-GB" dirty="0"/>
                </a:p>
              </p:txBody>
            </p:sp>
            <p:sp>
              <p:nvSpPr>
                <p:cNvPr id="685" name="Freeform: Shape 684">
                  <a:extLst>
                    <a:ext uri="{FF2B5EF4-FFF2-40B4-BE49-F238E27FC236}">
                      <a16:creationId xmlns:a16="http://schemas.microsoft.com/office/drawing/2014/main" id="{D59A3852-1E57-420D-AC58-18B061851FD8}"/>
                    </a:ext>
                  </a:extLst>
                </p:cNvPr>
                <p:cNvSpPr/>
                <p:nvPr/>
              </p:nvSpPr>
              <p:spPr>
                <a:xfrm>
                  <a:off x="2896494" y="1992390"/>
                  <a:ext cx="20765" cy="21064"/>
                </a:xfrm>
                <a:custGeom>
                  <a:avLst/>
                  <a:gdLst>
                    <a:gd name="connsiteX0" fmla="*/ 6375 w 20765"/>
                    <a:gd name="connsiteY0" fmla="*/ 21065 h 21064"/>
                    <a:gd name="connsiteX1" fmla="*/ 1948 w 20765"/>
                    <a:gd name="connsiteY1" fmla="*/ 19279 h 21064"/>
                    <a:gd name="connsiteX2" fmla="*/ 1789 w 20765"/>
                    <a:gd name="connsiteY2" fmla="*/ 10261 h 21064"/>
                    <a:gd name="connsiteX3" fmla="*/ 9799 w 20765"/>
                    <a:gd name="connsiteY3" fmla="*/ 1952 h 21064"/>
                    <a:gd name="connsiteX4" fmla="*/ 18817 w 20765"/>
                    <a:gd name="connsiteY4" fmla="*/ 1786 h 21064"/>
                    <a:gd name="connsiteX5" fmla="*/ 18976 w 20765"/>
                    <a:gd name="connsiteY5" fmla="*/ 10804 h 21064"/>
                    <a:gd name="connsiteX6" fmla="*/ 10966 w 20765"/>
                    <a:gd name="connsiteY6" fmla="*/ 19113 h 21064"/>
                    <a:gd name="connsiteX7" fmla="*/ 6375 w 20765"/>
                    <a:gd name="connsiteY7" fmla="*/ 21065 h 2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5" h="21064">
                      <a:moveTo>
                        <a:pt x="6375" y="21065"/>
                      </a:moveTo>
                      <a:cubicBezTo>
                        <a:pt x="4780" y="21065"/>
                        <a:pt x="3186" y="20472"/>
                        <a:pt x="1948" y="19279"/>
                      </a:cubicBezTo>
                      <a:cubicBezTo>
                        <a:pt x="-583" y="16837"/>
                        <a:pt x="-660" y="12800"/>
                        <a:pt x="1789" y="10261"/>
                      </a:cubicBezTo>
                      <a:lnTo>
                        <a:pt x="9799" y="1952"/>
                      </a:lnTo>
                      <a:cubicBezTo>
                        <a:pt x="12254" y="-586"/>
                        <a:pt x="16285" y="-657"/>
                        <a:pt x="18817" y="1786"/>
                      </a:cubicBezTo>
                      <a:cubicBezTo>
                        <a:pt x="21349" y="4228"/>
                        <a:pt x="21425" y="8265"/>
                        <a:pt x="18976" y="10804"/>
                      </a:cubicBezTo>
                      <a:lnTo>
                        <a:pt x="10966" y="19113"/>
                      </a:lnTo>
                      <a:cubicBezTo>
                        <a:pt x="9710" y="20414"/>
                        <a:pt x="8039" y="21065"/>
                        <a:pt x="6375" y="21065"/>
                      </a:cubicBezTo>
                      <a:close/>
                    </a:path>
                  </a:pathLst>
                </a:custGeom>
                <a:grpFill/>
                <a:ln w="637" cap="flat">
                  <a:noFill/>
                  <a:prstDash val="solid"/>
                  <a:miter/>
                </a:ln>
              </p:spPr>
              <p:txBody>
                <a:bodyPr rtlCol="0" anchor="ctr"/>
                <a:lstStyle/>
                <a:p>
                  <a:endParaRPr lang="en-GB" dirty="0"/>
                </a:p>
              </p:txBody>
            </p:sp>
            <p:sp>
              <p:nvSpPr>
                <p:cNvPr id="686" name="Freeform: Shape 685">
                  <a:extLst>
                    <a:ext uri="{FF2B5EF4-FFF2-40B4-BE49-F238E27FC236}">
                      <a16:creationId xmlns:a16="http://schemas.microsoft.com/office/drawing/2014/main" id="{088C38CF-0D60-42FB-BCDE-620FD180D0B9}"/>
                    </a:ext>
                  </a:extLst>
                </p:cNvPr>
                <p:cNvSpPr/>
                <p:nvPr/>
              </p:nvSpPr>
              <p:spPr>
                <a:xfrm>
                  <a:off x="2871484" y="1941360"/>
                  <a:ext cx="19211" cy="19200"/>
                </a:xfrm>
                <a:custGeom>
                  <a:avLst/>
                  <a:gdLst>
                    <a:gd name="connsiteX0" fmla="*/ 6379 w 19211"/>
                    <a:gd name="connsiteY0" fmla="*/ 19201 h 19200"/>
                    <a:gd name="connsiteX1" fmla="*/ 1870 w 19211"/>
                    <a:gd name="connsiteY1" fmla="*/ 17332 h 19200"/>
                    <a:gd name="connsiteX2" fmla="*/ 1870 w 19211"/>
                    <a:gd name="connsiteY2" fmla="*/ 8315 h 19200"/>
                    <a:gd name="connsiteX3" fmla="*/ 8324 w 19211"/>
                    <a:gd name="connsiteY3" fmla="*/ 1867 h 19200"/>
                    <a:gd name="connsiteX4" fmla="*/ 17342 w 19211"/>
                    <a:gd name="connsiteY4" fmla="*/ 1873 h 19200"/>
                    <a:gd name="connsiteX5" fmla="*/ 17342 w 19211"/>
                    <a:gd name="connsiteY5" fmla="*/ 10891 h 19200"/>
                    <a:gd name="connsiteX6" fmla="*/ 10888 w 19211"/>
                    <a:gd name="connsiteY6" fmla="*/ 17339 h 19200"/>
                    <a:gd name="connsiteX7" fmla="*/ 6379 w 19211"/>
                    <a:gd name="connsiteY7" fmla="*/ 19201 h 1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11" h="19200">
                      <a:moveTo>
                        <a:pt x="6379" y="19201"/>
                      </a:moveTo>
                      <a:cubicBezTo>
                        <a:pt x="4746" y="19201"/>
                        <a:pt x="3114" y="18576"/>
                        <a:pt x="1870" y="17332"/>
                      </a:cubicBezTo>
                      <a:cubicBezTo>
                        <a:pt x="-623" y="14839"/>
                        <a:pt x="-623" y="10808"/>
                        <a:pt x="1870" y="8315"/>
                      </a:cubicBezTo>
                      <a:lnTo>
                        <a:pt x="8324" y="1867"/>
                      </a:lnTo>
                      <a:cubicBezTo>
                        <a:pt x="10818" y="-620"/>
                        <a:pt x="14848" y="-627"/>
                        <a:pt x="17342" y="1873"/>
                      </a:cubicBezTo>
                      <a:cubicBezTo>
                        <a:pt x="19835" y="4367"/>
                        <a:pt x="19835" y="8397"/>
                        <a:pt x="17342" y="10891"/>
                      </a:cubicBezTo>
                      <a:lnTo>
                        <a:pt x="10888" y="17339"/>
                      </a:lnTo>
                      <a:cubicBezTo>
                        <a:pt x="9644" y="18582"/>
                        <a:pt x="8012" y="19201"/>
                        <a:pt x="6379" y="19201"/>
                      </a:cubicBezTo>
                      <a:close/>
                    </a:path>
                  </a:pathLst>
                </a:custGeom>
                <a:grpFill/>
                <a:ln w="637" cap="flat">
                  <a:noFill/>
                  <a:prstDash val="solid"/>
                  <a:miter/>
                </a:ln>
              </p:spPr>
              <p:txBody>
                <a:bodyPr rtlCol="0" anchor="ctr"/>
                <a:lstStyle/>
                <a:p>
                  <a:endParaRPr lang="en-GB" dirty="0"/>
                </a:p>
              </p:txBody>
            </p:sp>
            <p:sp>
              <p:nvSpPr>
                <p:cNvPr id="687" name="Freeform: Shape 686">
                  <a:extLst>
                    <a:ext uri="{FF2B5EF4-FFF2-40B4-BE49-F238E27FC236}">
                      <a16:creationId xmlns:a16="http://schemas.microsoft.com/office/drawing/2014/main" id="{A0ABDE4E-E2D5-4952-8B45-7369B8CE755F}"/>
                    </a:ext>
                  </a:extLst>
                </p:cNvPr>
                <p:cNvSpPr/>
                <p:nvPr/>
              </p:nvSpPr>
              <p:spPr>
                <a:xfrm>
                  <a:off x="2845700" y="1960706"/>
                  <a:ext cx="25646" cy="25645"/>
                </a:xfrm>
                <a:custGeom>
                  <a:avLst/>
                  <a:gdLst>
                    <a:gd name="connsiteX0" fmla="*/ 6379 w 25646"/>
                    <a:gd name="connsiteY0" fmla="*/ 25645 h 25645"/>
                    <a:gd name="connsiteX1" fmla="*/ 1870 w 25646"/>
                    <a:gd name="connsiteY1" fmla="*/ 23777 h 25645"/>
                    <a:gd name="connsiteX2" fmla="*/ 1870 w 25646"/>
                    <a:gd name="connsiteY2" fmla="*/ 14759 h 25645"/>
                    <a:gd name="connsiteX3" fmla="*/ 14759 w 25646"/>
                    <a:gd name="connsiteY3" fmla="*/ 1870 h 25645"/>
                    <a:gd name="connsiteX4" fmla="*/ 23777 w 25646"/>
                    <a:gd name="connsiteY4" fmla="*/ 1870 h 25645"/>
                    <a:gd name="connsiteX5" fmla="*/ 23777 w 25646"/>
                    <a:gd name="connsiteY5" fmla="*/ 10888 h 25645"/>
                    <a:gd name="connsiteX6" fmla="*/ 10888 w 25646"/>
                    <a:gd name="connsiteY6" fmla="*/ 23777 h 25645"/>
                    <a:gd name="connsiteX7" fmla="*/ 6379 w 25646"/>
                    <a:gd name="connsiteY7" fmla="*/ 25645 h 2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646" h="25645">
                      <a:moveTo>
                        <a:pt x="6379" y="25645"/>
                      </a:moveTo>
                      <a:cubicBezTo>
                        <a:pt x="4746" y="25645"/>
                        <a:pt x="3114" y="25020"/>
                        <a:pt x="1870" y="23777"/>
                      </a:cubicBezTo>
                      <a:cubicBezTo>
                        <a:pt x="-623" y="21283"/>
                        <a:pt x="-623" y="17252"/>
                        <a:pt x="1870" y="14759"/>
                      </a:cubicBezTo>
                      <a:lnTo>
                        <a:pt x="14759" y="1870"/>
                      </a:lnTo>
                      <a:cubicBezTo>
                        <a:pt x="17252" y="-623"/>
                        <a:pt x="21283" y="-623"/>
                        <a:pt x="23777" y="1870"/>
                      </a:cubicBezTo>
                      <a:cubicBezTo>
                        <a:pt x="26270" y="4364"/>
                        <a:pt x="26270" y="8394"/>
                        <a:pt x="23777" y="10888"/>
                      </a:cubicBezTo>
                      <a:lnTo>
                        <a:pt x="10888" y="23777"/>
                      </a:lnTo>
                      <a:cubicBezTo>
                        <a:pt x="9644" y="25020"/>
                        <a:pt x="8012" y="25645"/>
                        <a:pt x="6379" y="25645"/>
                      </a:cubicBezTo>
                      <a:close/>
                    </a:path>
                  </a:pathLst>
                </a:custGeom>
                <a:grpFill/>
                <a:ln w="637" cap="flat">
                  <a:noFill/>
                  <a:prstDash val="solid"/>
                  <a:miter/>
                </a:ln>
              </p:spPr>
              <p:txBody>
                <a:bodyPr rtlCol="0" anchor="ctr"/>
                <a:lstStyle/>
                <a:p>
                  <a:endParaRPr lang="en-GB" dirty="0"/>
                </a:p>
              </p:txBody>
            </p:sp>
          </p:grpSp>
        </p:grpSp>
        <p:grpSp>
          <p:nvGrpSpPr>
            <p:cNvPr id="666" name="Group 665">
              <a:extLst>
                <a:ext uri="{FF2B5EF4-FFF2-40B4-BE49-F238E27FC236}">
                  <a16:creationId xmlns:a16="http://schemas.microsoft.com/office/drawing/2014/main" id="{941EA1B6-892F-4F6B-A4D7-C2F19574706B}"/>
                </a:ext>
              </a:extLst>
            </p:cNvPr>
            <p:cNvGrpSpPr/>
            <p:nvPr/>
          </p:nvGrpSpPr>
          <p:grpSpPr>
            <a:xfrm>
              <a:off x="687142" y="4002611"/>
              <a:ext cx="304975" cy="339310"/>
              <a:chOff x="2778010" y="1596289"/>
              <a:chExt cx="304975" cy="339310"/>
            </a:xfrm>
            <a:solidFill>
              <a:schemeClr val="accent1"/>
            </a:solidFill>
          </p:grpSpPr>
          <p:sp>
            <p:nvSpPr>
              <p:cNvPr id="667" name="Freeform: Shape 666">
                <a:extLst>
                  <a:ext uri="{FF2B5EF4-FFF2-40B4-BE49-F238E27FC236}">
                    <a16:creationId xmlns:a16="http://schemas.microsoft.com/office/drawing/2014/main" id="{D52E823A-ABC4-4235-9AA3-44EF9AE6EFAE}"/>
                  </a:ext>
                </a:extLst>
              </p:cNvPr>
              <p:cNvSpPr/>
              <p:nvPr/>
            </p:nvSpPr>
            <p:spPr>
              <a:xfrm>
                <a:off x="2916698" y="1678282"/>
                <a:ext cx="26878" cy="110076"/>
              </a:xfrm>
              <a:custGeom>
                <a:avLst/>
                <a:gdLst>
                  <a:gd name="connsiteX0" fmla="*/ 10896 w 26878"/>
                  <a:gd name="connsiteY0" fmla="*/ 110077 h 110076"/>
                  <a:gd name="connsiteX1" fmla="*/ 6923 w 26878"/>
                  <a:gd name="connsiteY1" fmla="*/ 108687 h 110076"/>
                  <a:gd name="connsiteX2" fmla="*/ 5921 w 26878"/>
                  <a:gd name="connsiteY2" fmla="*/ 99726 h 110076"/>
                  <a:gd name="connsiteX3" fmla="*/ 513 w 26878"/>
                  <a:gd name="connsiteY3" fmla="*/ 8880 h 110076"/>
                  <a:gd name="connsiteX4" fmla="*/ 3881 w 26878"/>
                  <a:gd name="connsiteY4" fmla="*/ 513 h 110076"/>
                  <a:gd name="connsiteX5" fmla="*/ 12248 w 26878"/>
                  <a:gd name="connsiteY5" fmla="*/ 3881 h 110076"/>
                  <a:gd name="connsiteX6" fmla="*/ 15883 w 26878"/>
                  <a:gd name="connsiteY6" fmla="*/ 107679 h 110076"/>
                  <a:gd name="connsiteX7" fmla="*/ 10896 w 26878"/>
                  <a:gd name="connsiteY7" fmla="*/ 110077 h 11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78" h="110076">
                    <a:moveTo>
                      <a:pt x="10896" y="110077"/>
                    </a:moveTo>
                    <a:cubicBezTo>
                      <a:pt x="9499" y="110077"/>
                      <a:pt x="8102" y="109624"/>
                      <a:pt x="6923" y="108687"/>
                    </a:cubicBezTo>
                    <a:cubicBezTo>
                      <a:pt x="4168" y="106486"/>
                      <a:pt x="3721" y="102475"/>
                      <a:pt x="5921" y="99726"/>
                    </a:cubicBezTo>
                    <a:cubicBezTo>
                      <a:pt x="23727" y="77406"/>
                      <a:pt x="8058" y="26584"/>
                      <a:pt x="513" y="8880"/>
                    </a:cubicBezTo>
                    <a:cubicBezTo>
                      <a:pt x="-871" y="5641"/>
                      <a:pt x="641" y="1891"/>
                      <a:pt x="3881" y="513"/>
                    </a:cubicBezTo>
                    <a:cubicBezTo>
                      <a:pt x="7127" y="-871"/>
                      <a:pt x="10864" y="641"/>
                      <a:pt x="12248" y="3881"/>
                    </a:cubicBezTo>
                    <a:cubicBezTo>
                      <a:pt x="13472" y="6763"/>
                      <a:pt x="42043" y="74899"/>
                      <a:pt x="15883" y="107679"/>
                    </a:cubicBezTo>
                    <a:cubicBezTo>
                      <a:pt x="14626" y="109254"/>
                      <a:pt x="12771" y="110077"/>
                      <a:pt x="10896" y="110077"/>
                    </a:cubicBezTo>
                    <a:close/>
                  </a:path>
                </a:pathLst>
              </a:custGeom>
              <a:grpFill/>
              <a:ln w="637" cap="flat">
                <a:noFill/>
                <a:prstDash val="solid"/>
                <a:miter/>
              </a:ln>
            </p:spPr>
            <p:txBody>
              <a:bodyPr rtlCol="0" anchor="ctr"/>
              <a:lstStyle/>
              <a:p>
                <a:endParaRPr lang="en-GB" dirty="0"/>
              </a:p>
            </p:txBody>
          </p:sp>
          <p:grpSp>
            <p:nvGrpSpPr>
              <p:cNvPr id="668" name="Graphic 32">
                <a:extLst>
                  <a:ext uri="{FF2B5EF4-FFF2-40B4-BE49-F238E27FC236}">
                    <a16:creationId xmlns:a16="http://schemas.microsoft.com/office/drawing/2014/main" id="{0F9FDA4E-15B1-493E-9C2D-8A5A28AA01F8}"/>
                  </a:ext>
                </a:extLst>
              </p:cNvPr>
              <p:cNvGrpSpPr/>
              <p:nvPr/>
            </p:nvGrpSpPr>
            <p:grpSpPr>
              <a:xfrm>
                <a:off x="2919601" y="1596289"/>
                <a:ext cx="163384" cy="195443"/>
                <a:chOff x="6916790" y="1619378"/>
                <a:chExt cx="163384" cy="195443"/>
              </a:xfrm>
              <a:grpFill/>
            </p:grpSpPr>
            <p:sp>
              <p:nvSpPr>
                <p:cNvPr id="673" name="Freeform: Shape 672">
                  <a:extLst>
                    <a:ext uri="{FF2B5EF4-FFF2-40B4-BE49-F238E27FC236}">
                      <a16:creationId xmlns:a16="http://schemas.microsoft.com/office/drawing/2014/main" id="{6B18806F-A9FC-4893-A7E4-7F68F30905F0}"/>
                    </a:ext>
                  </a:extLst>
                </p:cNvPr>
                <p:cNvSpPr/>
                <p:nvPr/>
              </p:nvSpPr>
              <p:spPr>
                <a:xfrm>
                  <a:off x="6992976" y="1727853"/>
                  <a:ext cx="87198" cy="86968"/>
                </a:xfrm>
                <a:custGeom>
                  <a:avLst/>
                  <a:gdLst>
                    <a:gd name="connsiteX0" fmla="*/ 30484 w 87198"/>
                    <a:gd name="connsiteY0" fmla="*/ 86968 h 86968"/>
                    <a:gd name="connsiteX1" fmla="*/ 15905 w 87198"/>
                    <a:gd name="connsiteY1" fmla="*/ 80904 h 86968"/>
                    <a:gd name="connsiteX2" fmla="*/ 5938 w 87198"/>
                    <a:gd name="connsiteY2" fmla="*/ 70853 h 86968"/>
                    <a:gd name="connsiteX3" fmla="*/ 5931 w 87198"/>
                    <a:gd name="connsiteY3" fmla="*/ 70853 h 86968"/>
                    <a:gd name="connsiteX4" fmla="*/ 6065 w 87198"/>
                    <a:gd name="connsiteY4" fmla="*/ 41823 h 86968"/>
                    <a:gd name="connsiteX5" fmla="*/ 42244 w 87198"/>
                    <a:gd name="connsiteY5" fmla="*/ 5950 h 86968"/>
                    <a:gd name="connsiteX6" fmla="*/ 56695 w 87198"/>
                    <a:gd name="connsiteY6" fmla="*/ 0 h 86968"/>
                    <a:gd name="connsiteX7" fmla="*/ 56791 w 87198"/>
                    <a:gd name="connsiteY7" fmla="*/ 0 h 86968"/>
                    <a:gd name="connsiteX8" fmla="*/ 71280 w 87198"/>
                    <a:gd name="connsiteY8" fmla="*/ 6078 h 86968"/>
                    <a:gd name="connsiteX9" fmla="*/ 81242 w 87198"/>
                    <a:gd name="connsiteY9" fmla="*/ 16122 h 86968"/>
                    <a:gd name="connsiteX10" fmla="*/ 87198 w 87198"/>
                    <a:gd name="connsiteY10" fmla="*/ 30663 h 86968"/>
                    <a:gd name="connsiteX11" fmla="*/ 81127 w 87198"/>
                    <a:gd name="connsiteY11" fmla="*/ 45152 h 86968"/>
                    <a:gd name="connsiteX12" fmla="*/ 44948 w 87198"/>
                    <a:gd name="connsiteY12" fmla="*/ 81025 h 86968"/>
                    <a:gd name="connsiteX13" fmla="*/ 30484 w 87198"/>
                    <a:gd name="connsiteY13" fmla="*/ 86968 h 86968"/>
                    <a:gd name="connsiteX14" fmla="*/ 15000 w 87198"/>
                    <a:gd name="connsiteY14" fmla="*/ 61873 h 86968"/>
                    <a:gd name="connsiteX15" fmla="*/ 24968 w 87198"/>
                    <a:gd name="connsiteY15" fmla="*/ 71924 h 86968"/>
                    <a:gd name="connsiteX16" fmla="*/ 35969 w 87198"/>
                    <a:gd name="connsiteY16" fmla="*/ 71969 h 86968"/>
                    <a:gd name="connsiteX17" fmla="*/ 72148 w 87198"/>
                    <a:gd name="connsiteY17" fmla="*/ 36096 h 86968"/>
                    <a:gd name="connsiteX18" fmla="*/ 74444 w 87198"/>
                    <a:gd name="connsiteY18" fmla="*/ 30611 h 86968"/>
                    <a:gd name="connsiteX19" fmla="*/ 72186 w 87198"/>
                    <a:gd name="connsiteY19" fmla="*/ 25101 h 86968"/>
                    <a:gd name="connsiteX20" fmla="*/ 62218 w 87198"/>
                    <a:gd name="connsiteY20" fmla="*/ 15051 h 86968"/>
                    <a:gd name="connsiteX21" fmla="*/ 56733 w 87198"/>
                    <a:gd name="connsiteY21" fmla="*/ 12748 h 86968"/>
                    <a:gd name="connsiteX22" fmla="*/ 56702 w 87198"/>
                    <a:gd name="connsiteY22" fmla="*/ 12748 h 86968"/>
                    <a:gd name="connsiteX23" fmla="*/ 51230 w 87198"/>
                    <a:gd name="connsiteY23" fmla="*/ 15000 h 86968"/>
                    <a:gd name="connsiteX24" fmla="*/ 15051 w 87198"/>
                    <a:gd name="connsiteY24" fmla="*/ 50872 h 86968"/>
                    <a:gd name="connsiteX25" fmla="*/ 15000 w 87198"/>
                    <a:gd name="connsiteY25" fmla="*/ 61873 h 86968"/>
                    <a:gd name="connsiteX26" fmla="*/ 15000 w 87198"/>
                    <a:gd name="connsiteY26" fmla="*/ 61873 h 86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7198" h="86968">
                      <a:moveTo>
                        <a:pt x="30484" y="86968"/>
                      </a:moveTo>
                      <a:cubicBezTo>
                        <a:pt x="25197" y="86968"/>
                        <a:pt x="19917" y="84947"/>
                        <a:pt x="15905" y="80904"/>
                      </a:cubicBezTo>
                      <a:lnTo>
                        <a:pt x="5938" y="70853"/>
                      </a:lnTo>
                      <a:cubicBezTo>
                        <a:pt x="5938" y="70853"/>
                        <a:pt x="5938" y="70853"/>
                        <a:pt x="5931" y="70853"/>
                      </a:cubicBezTo>
                      <a:cubicBezTo>
                        <a:pt x="-2028" y="62817"/>
                        <a:pt x="-1970" y="49788"/>
                        <a:pt x="6065" y="41823"/>
                      </a:cubicBezTo>
                      <a:lnTo>
                        <a:pt x="42244" y="5950"/>
                      </a:lnTo>
                      <a:cubicBezTo>
                        <a:pt x="46115" y="2111"/>
                        <a:pt x="51242" y="0"/>
                        <a:pt x="56695" y="0"/>
                      </a:cubicBezTo>
                      <a:cubicBezTo>
                        <a:pt x="56727" y="0"/>
                        <a:pt x="56759" y="0"/>
                        <a:pt x="56791" y="0"/>
                      </a:cubicBezTo>
                      <a:cubicBezTo>
                        <a:pt x="62275" y="19"/>
                        <a:pt x="67422" y="2181"/>
                        <a:pt x="71280" y="6078"/>
                      </a:cubicBezTo>
                      <a:lnTo>
                        <a:pt x="81242" y="16122"/>
                      </a:lnTo>
                      <a:cubicBezTo>
                        <a:pt x="85100" y="20012"/>
                        <a:pt x="87224" y="25178"/>
                        <a:pt x="87198" y="30663"/>
                      </a:cubicBezTo>
                      <a:cubicBezTo>
                        <a:pt x="87179" y="36147"/>
                        <a:pt x="85017" y="41294"/>
                        <a:pt x="81127" y="45152"/>
                      </a:cubicBezTo>
                      <a:lnTo>
                        <a:pt x="44948" y="81025"/>
                      </a:lnTo>
                      <a:cubicBezTo>
                        <a:pt x="40943" y="84985"/>
                        <a:pt x="35720" y="86968"/>
                        <a:pt x="30484" y="86968"/>
                      </a:cubicBezTo>
                      <a:close/>
                      <a:moveTo>
                        <a:pt x="15000" y="61873"/>
                      </a:moveTo>
                      <a:lnTo>
                        <a:pt x="24968" y="71924"/>
                      </a:lnTo>
                      <a:cubicBezTo>
                        <a:pt x="27984" y="74960"/>
                        <a:pt x="32914" y="74985"/>
                        <a:pt x="35969" y="71969"/>
                      </a:cubicBezTo>
                      <a:lnTo>
                        <a:pt x="72148" y="36096"/>
                      </a:lnTo>
                      <a:cubicBezTo>
                        <a:pt x="73621" y="34636"/>
                        <a:pt x="74437" y="32684"/>
                        <a:pt x="74444" y="30611"/>
                      </a:cubicBezTo>
                      <a:cubicBezTo>
                        <a:pt x="74450" y="28532"/>
                        <a:pt x="73653" y="26581"/>
                        <a:pt x="72186" y="25101"/>
                      </a:cubicBezTo>
                      <a:lnTo>
                        <a:pt x="62218" y="15051"/>
                      </a:lnTo>
                      <a:cubicBezTo>
                        <a:pt x="60758" y="13577"/>
                        <a:pt x="58806" y="12761"/>
                        <a:pt x="56733" y="12748"/>
                      </a:cubicBezTo>
                      <a:cubicBezTo>
                        <a:pt x="56721" y="12748"/>
                        <a:pt x="56708" y="12748"/>
                        <a:pt x="56702" y="12748"/>
                      </a:cubicBezTo>
                      <a:cubicBezTo>
                        <a:pt x="54635" y="12748"/>
                        <a:pt x="52690" y="13546"/>
                        <a:pt x="51230" y="15000"/>
                      </a:cubicBezTo>
                      <a:lnTo>
                        <a:pt x="15051" y="50872"/>
                      </a:lnTo>
                      <a:cubicBezTo>
                        <a:pt x="12009" y="53889"/>
                        <a:pt x="11983" y="58825"/>
                        <a:pt x="15000" y="61873"/>
                      </a:cubicBezTo>
                      <a:lnTo>
                        <a:pt x="15000" y="61873"/>
                      </a:lnTo>
                      <a:close/>
                    </a:path>
                  </a:pathLst>
                </a:custGeom>
                <a:grpFill/>
                <a:ln w="637" cap="flat">
                  <a:noFill/>
                  <a:prstDash val="solid"/>
                  <a:miter/>
                </a:ln>
              </p:spPr>
              <p:txBody>
                <a:bodyPr rtlCol="0" anchor="ctr"/>
                <a:lstStyle/>
                <a:p>
                  <a:endParaRPr lang="en-GB" dirty="0"/>
                </a:p>
              </p:txBody>
            </p:sp>
            <p:sp>
              <p:nvSpPr>
                <p:cNvPr id="674" name="Freeform: Shape 673">
                  <a:extLst>
                    <a:ext uri="{FF2B5EF4-FFF2-40B4-BE49-F238E27FC236}">
                      <a16:creationId xmlns:a16="http://schemas.microsoft.com/office/drawing/2014/main" id="{3F186F0E-E286-4CE9-9C41-62DA1ECE93C4}"/>
                    </a:ext>
                  </a:extLst>
                </p:cNvPr>
                <p:cNvSpPr/>
                <p:nvPr/>
              </p:nvSpPr>
              <p:spPr>
                <a:xfrm>
                  <a:off x="6959093" y="1687700"/>
                  <a:ext cx="97197" cy="96981"/>
                </a:xfrm>
                <a:custGeom>
                  <a:avLst/>
                  <a:gdLst>
                    <a:gd name="connsiteX0" fmla="*/ 34476 w 97197"/>
                    <a:gd name="connsiteY0" fmla="*/ 96982 h 96981"/>
                    <a:gd name="connsiteX1" fmla="*/ 34387 w 97197"/>
                    <a:gd name="connsiteY1" fmla="*/ 96982 h 96981"/>
                    <a:gd name="connsiteX2" fmla="*/ 19897 w 97197"/>
                    <a:gd name="connsiteY2" fmla="*/ 90904 h 96981"/>
                    <a:gd name="connsiteX3" fmla="*/ 5944 w 97197"/>
                    <a:gd name="connsiteY3" fmla="*/ 76836 h 96981"/>
                    <a:gd name="connsiteX4" fmla="*/ 2015 w 97197"/>
                    <a:gd name="connsiteY4" fmla="*/ 53495 h 96981"/>
                    <a:gd name="connsiteX5" fmla="*/ 10523 w 97197"/>
                    <a:gd name="connsiteY5" fmla="*/ 50504 h 96981"/>
                    <a:gd name="connsiteX6" fmla="*/ 13514 w 97197"/>
                    <a:gd name="connsiteY6" fmla="*/ 59011 h 96981"/>
                    <a:gd name="connsiteX7" fmla="*/ 14999 w 97197"/>
                    <a:gd name="connsiteY7" fmla="*/ 67850 h 96981"/>
                    <a:gd name="connsiteX8" fmla="*/ 28953 w 97197"/>
                    <a:gd name="connsiteY8" fmla="*/ 81919 h 96981"/>
                    <a:gd name="connsiteX9" fmla="*/ 34444 w 97197"/>
                    <a:gd name="connsiteY9" fmla="*/ 84221 h 96981"/>
                    <a:gd name="connsiteX10" fmla="*/ 34476 w 97197"/>
                    <a:gd name="connsiteY10" fmla="*/ 84221 h 96981"/>
                    <a:gd name="connsiteX11" fmla="*/ 39948 w 97197"/>
                    <a:gd name="connsiteY11" fmla="*/ 81963 h 96981"/>
                    <a:gd name="connsiteX12" fmla="*/ 82153 w 97197"/>
                    <a:gd name="connsiteY12" fmla="*/ 40115 h 96981"/>
                    <a:gd name="connsiteX13" fmla="*/ 82198 w 97197"/>
                    <a:gd name="connsiteY13" fmla="*/ 29114 h 96981"/>
                    <a:gd name="connsiteX14" fmla="*/ 68251 w 97197"/>
                    <a:gd name="connsiteY14" fmla="*/ 15045 h 96981"/>
                    <a:gd name="connsiteX15" fmla="*/ 57250 w 97197"/>
                    <a:gd name="connsiteY15" fmla="*/ 15001 h 96981"/>
                    <a:gd name="connsiteX16" fmla="*/ 39795 w 97197"/>
                    <a:gd name="connsiteY16" fmla="*/ 32309 h 96981"/>
                    <a:gd name="connsiteX17" fmla="*/ 30777 w 97197"/>
                    <a:gd name="connsiteY17" fmla="*/ 32271 h 96981"/>
                    <a:gd name="connsiteX18" fmla="*/ 30815 w 97197"/>
                    <a:gd name="connsiteY18" fmla="*/ 23253 h 96981"/>
                    <a:gd name="connsiteX19" fmla="*/ 48270 w 97197"/>
                    <a:gd name="connsiteY19" fmla="*/ 5945 h 96981"/>
                    <a:gd name="connsiteX20" fmla="*/ 77307 w 97197"/>
                    <a:gd name="connsiteY20" fmla="*/ 6066 h 96981"/>
                    <a:gd name="connsiteX21" fmla="*/ 91260 w 97197"/>
                    <a:gd name="connsiteY21" fmla="*/ 20147 h 96981"/>
                    <a:gd name="connsiteX22" fmla="*/ 91133 w 97197"/>
                    <a:gd name="connsiteY22" fmla="*/ 49177 h 96981"/>
                    <a:gd name="connsiteX23" fmla="*/ 48927 w 97197"/>
                    <a:gd name="connsiteY23" fmla="*/ 91032 h 96981"/>
                    <a:gd name="connsiteX24" fmla="*/ 34476 w 97197"/>
                    <a:gd name="connsiteY24" fmla="*/ 96982 h 96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7197" h="96981">
                      <a:moveTo>
                        <a:pt x="34476" y="96982"/>
                      </a:moveTo>
                      <a:cubicBezTo>
                        <a:pt x="34444" y="96982"/>
                        <a:pt x="34419" y="96982"/>
                        <a:pt x="34387" y="96982"/>
                      </a:cubicBezTo>
                      <a:cubicBezTo>
                        <a:pt x="28902" y="96963"/>
                        <a:pt x="23756" y="94801"/>
                        <a:pt x="19897" y="90904"/>
                      </a:cubicBezTo>
                      <a:lnTo>
                        <a:pt x="5944" y="76836"/>
                      </a:lnTo>
                      <a:cubicBezTo>
                        <a:pt x="-153" y="70688"/>
                        <a:pt x="-1735" y="61307"/>
                        <a:pt x="2015" y="53495"/>
                      </a:cubicBezTo>
                      <a:cubicBezTo>
                        <a:pt x="3533" y="50325"/>
                        <a:pt x="7334" y="48967"/>
                        <a:pt x="10523" y="50504"/>
                      </a:cubicBezTo>
                      <a:cubicBezTo>
                        <a:pt x="13698" y="52028"/>
                        <a:pt x="15038" y="55835"/>
                        <a:pt x="13514" y="59011"/>
                      </a:cubicBezTo>
                      <a:cubicBezTo>
                        <a:pt x="12092" y="61970"/>
                        <a:pt x="12691" y="65522"/>
                        <a:pt x="14999" y="67850"/>
                      </a:cubicBezTo>
                      <a:lnTo>
                        <a:pt x="28953" y="81919"/>
                      </a:lnTo>
                      <a:cubicBezTo>
                        <a:pt x="30414" y="83392"/>
                        <a:pt x="32365" y="84208"/>
                        <a:pt x="34444" y="84221"/>
                      </a:cubicBezTo>
                      <a:cubicBezTo>
                        <a:pt x="34451" y="84221"/>
                        <a:pt x="34463" y="84221"/>
                        <a:pt x="34476" y="84221"/>
                      </a:cubicBezTo>
                      <a:cubicBezTo>
                        <a:pt x="36536" y="84221"/>
                        <a:pt x="38481" y="83424"/>
                        <a:pt x="39948" y="81963"/>
                      </a:cubicBezTo>
                      <a:lnTo>
                        <a:pt x="82153" y="40115"/>
                      </a:lnTo>
                      <a:cubicBezTo>
                        <a:pt x="85202" y="37098"/>
                        <a:pt x="85215" y="32162"/>
                        <a:pt x="82198" y="29114"/>
                      </a:cubicBezTo>
                      <a:lnTo>
                        <a:pt x="68251" y="15045"/>
                      </a:lnTo>
                      <a:cubicBezTo>
                        <a:pt x="65228" y="12003"/>
                        <a:pt x="60298" y="11978"/>
                        <a:pt x="57250" y="15001"/>
                      </a:cubicBezTo>
                      <a:lnTo>
                        <a:pt x="39795" y="32309"/>
                      </a:lnTo>
                      <a:cubicBezTo>
                        <a:pt x="37289" y="34790"/>
                        <a:pt x="33258" y="34777"/>
                        <a:pt x="30777" y="32271"/>
                      </a:cubicBezTo>
                      <a:cubicBezTo>
                        <a:pt x="28296" y="29771"/>
                        <a:pt x="28309" y="25734"/>
                        <a:pt x="30815" y="23253"/>
                      </a:cubicBezTo>
                      <a:lnTo>
                        <a:pt x="48270" y="5945"/>
                      </a:lnTo>
                      <a:cubicBezTo>
                        <a:pt x="56306" y="-2027"/>
                        <a:pt x="69322" y="-1976"/>
                        <a:pt x="77307" y="6066"/>
                      </a:cubicBezTo>
                      <a:lnTo>
                        <a:pt x="91260" y="20147"/>
                      </a:lnTo>
                      <a:cubicBezTo>
                        <a:pt x="99226" y="28189"/>
                        <a:pt x="99168" y="41212"/>
                        <a:pt x="91133" y="49177"/>
                      </a:cubicBezTo>
                      <a:lnTo>
                        <a:pt x="48927" y="91032"/>
                      </a:lnTo>
                      <a:cubicBezTo>
                        <a:pt x="45056" y="94871"/>
                        <a:pt x="39929" y="96982"/>
                        <a:pt x="34476" y="96982"/>
                      </a:cubicBezTo>
                      <a:close/>
                    </a:path>
                  </a:pathLst>
                </a:custGeom>
                <a:grpFill/>
                <a:ln w="637" cap="flat">
                  <a:noFill/>
                  <a:prstDash val="solid"/>
                  <a:miter/>
                </a:ln>
              </p:spPr>
              <p:txBody>
                <a:bodyPr rtlCol="0" anchor="ctr"/>
                <a:lstStyle/>
                <a:p>
                  <a:endParaRPr lang="en-GB" dirty="0"/>
                </a:p>
              </p:txBody>
            </p:sp>
            <p:sp>
              <p:nvSpPr>
                <p:cNvPr id="675" name="Freeform: Shape 674">
                  <a:extLst>
                    <a:ext uri="{FF2B5EF4-FFF2-40B4-BE49-F238E27FC236}">
                      <a16:creationId xmlns:a16="http://schemas.microsoft.com/office/drawing/2014/main" id="{4F043E7C-9C4A-4617-AC44-1EAE6259B2E8}"/>
                    </a:ext>
                  </a:extLst>
                </p:cNvPr>
                <p:cNvSpPr/>
                <p:nvPr/>
              </p:nvSpPr>
              <p:spPr>
                <a:xfrm>
                  <a:off x="6952142" y="1647561"/>
                  <a:ext cx="76300" cy="75961"/>
                </a:xfrm>
                <a:custGeom>
                  <a:avLst/>
                  <a:gdLst>
                    <a:gd name="connsiteX0" fmla="*/ 40623 w 76300"/>
                    <a:gd name="connsiteY0" fmla="*/ 75961 h 75961"/>
                    <a:gd name="connsiteX1" fmla="*/ 36096 w 76300"/>
                    <a:gd name="connsiteY1" fmla="*/ 74080 h 75961"/>
                    <a:gd name="connsiteX2" fmla="*/ 36134 w 76300"/>
                    <a:gd name="connsiteY2" fmla="*/ 65062 h 75961"/>
                    <a:gd name="connsiteX3" fmla="*/ 61254 w 76300"/>
                    <a:gd name="connsiteY3" fmla="*/ 40120 h 75961"/>
                    <a:gd name="connsiteX4" fmla="*/ 61305 w 76300"/>
                    <a:gd name="connsiteY4" fmla="*/ 29119 h 75961"/>
                    <a:gd name="connsiteX5" fmla="*/ 47352 w 76300"/>
                    <a:gd name="connsiteY5" fmla="*/ 15051 h 75961"/>
                    <a:gd name="connsiteX6" fmla="*/ 41861 w 76300"/>
                    <a:gd name="connsiteY6" fmla="*/ 12748 h 75961"/>
                    <a:gd name="connsiteX7" fmla="*/ 41829 w 76300"/>
                    <a:gd name="connsiteY7" fmla="*/ 12748 h 75961"/>
                    <a:gd name="connsiteX8" fmla="*/ 36357 w 76300"/>
                    <a:gd name="connsiteY8" fmla="*/ 15006 h 75961"/>
                    <a:gd name="connsiteX9" fmla="*/ 10930 w 76300"/>
                    <a:gd name="connsiteY9" fmla="*/ 40936 h 75961"/>
                    <a:gd name="connsiteX10" fmla="*/ 1913 w 76300"/>
                    <a:gd name="connsiteY10" fmla="*/ 41026 h 75961"/>
                    <a:gd name="connsiteX11" fmla="*/ 1823 w 76300"/>
                    <a:gd name="connsiteY11" fmla="*/ 32008 h 75961"/>
                    <a:gd name="connsiteX12" fmla="*/ 27314 w 76300"/>
                    <a:gd name="connsiteY12" fmla="*/ 6014 h 75961"/>
                    <a:gd name="connsiteX13" fmla="*/ 41829 w 76300"/>
                    <a:gd name="connsiteY13" fmla="*/ 0 h 75961"/>
                    <a:gd name="connsiteX14" fmla="*/ 41918 w 76300"/>
                    <a:gd name="connsiteY14" fmla="*/ 0 h 75961"/>
                    <a:gd name="connsiteX15" fmla="*/ 56407 w 76300"/>
                    <a:gd name="connsiteY15" fmla="*/ 6078 h 75961"/>
                    <a:gd name="connsiteX16" fmla="*/ 70361 w 76300"/>
                    <a:gd name="connsiteY16" fmla="*/ 20146 h 75961"/>
                    <a:gd name="connsiteX17" fmla="*/ 70234 w 76300"/>
                    <a:gd name="connsiteY17" fmla="*/ 49176 h 75961"/>
                    <a:gd name="connsiteX18" fmla="*/ 45113 w 76300"/>
                    <a:gd name="connsiteY18" fmla="*/ 74118 h 75961"/>
                    <a:gd name="connsiteX19" fmla="*/ 40623 w 76300"/>
                    <a:gd name="connsiteY19" fmla="*/ 75961 h 75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6300" h="75961">
                      <a:moveTo>
                        <a:pt x="40623" y="75961"/>
                      </a:moveTo>
                      <a:cubicBezTo>
                        <a:pt x="38984" y="75961"/>
                        <a:pt x="37339" y="75330"/>
                        <a:pt x="36096" y="74080"/>
                      </a:cubicBezTo>
                      <a:cubicBezTo>
                        <a:pt x="33615" y="71580"/>
                        <a:pt x="33627" y="67543"/>
                        <a:pt x="36134" y="65062"/>
                      </a:cubicBezTo>
                      <a:lnTo>
                        <a:pt x="61254" y="40120"/>
                      </a:lnTo>
                      <a:cubicBezTo>
                        <a:pt x="64303" y="37097"/>
                        <a:pt x="64316" y="32161"/>
                        <a:pt x="61305" y="29119"/>
                      </a:cubicBezTo>
                      <a:lnTo>
                        <a:pt x="47352" y="15051"/>
                      </a:lnTo>
                      <a:cubicBezTo>
                        <a:pt x="45891" y="13577"/>
                        <a:pt x="43940" y="12761"/>
                        <a:pt x="41861" y="12748"/>
                      </a:cubicBezTo>
                      <a:cubicBezTo>
                        <a:pt x="41854" y="12748"/>
                        <a:pt x="41842" y="12748"/>
                        <a:pt x="41829" y="12748"/>
                      </a:cubicBezTo>
                      <a:cubicBezTo>
                        <a:pt x="39763" y="12748"/>
                        <a:pt x="37824" y="13546"/>
                        <a:pt x="36357" y="15006"/>
                      </a:cubicBezTo>
                      <a:lnTo>
                        <a:pt x="10930" y="40936"/>
                      </a:lnTo>
                      <a:cubicBezTo>
                        <a:pt x="8456" y="43456"/>
                        <a:pt x="4419" y="43481"/>
                        <a:pt x="1913" y="41026"/>
                      </a:cubicBezTo>
                      <a:cubicBezTo>
                        <a:pt x="-606" y="38558"/>
                        <a:pt x="-638" y="34521"/>
                        <a:pt x="1823" y="32008"/>
                      </a:cubicBezTo>
                      <a:lnTo>
                        <a:pt x="27314" y="6014"/>
                      </a:lnTo>
                      <a:cubicBezTo>
                        <a:pt x="31249" y="2111"/>
                        <a:pt x="36376" y="0"/>
                        <a:pt x="41829" y="0"/>
                      </a:cubicBezTo>
                      <a:cubicBezTo>
                        <a:pt x="41854" y="0"/>
                        <a:pt x="41886" y="0"/>
                        <a:pt x="41918" y="0"/>
                      </a:cubicBezTo>
                      <a:cubicBezTo>
                        <a:pt x="47403" y="19"/>
                        <a:pt x="52549" y="2181"/>
                        <a:pt x="56407" y="6078"/>
                      </a:cubicBezTo>
                      <a:lnTo>
                        <a:pt x="70361" y="20146"/>
                      </a:lnTo>
                      <a:cubicBezTo>
                        <a:pt x="78333" y="28188"/>
                        <a:pt x="78269" y="41211"/>
                        <a:pt x="70234" y="49176"/>
                      </a:cubicBezTo>
                      <a:lnTo>
                        <a:pt x="45113" y="74118"/>
                      </a:lnTo>
                      <a:cubicBezTo>
                        <a:pt x="43876" y="75343"/>
                        <a:pt x="42250" y="75961"/>
                        <a:pt x="40623" y="75961"/>
                      </a:cubicBezTo>
                      <a:close/>
                    </a:path>
                  </a:pathLst>
                </a:custGeom>
                <a:grpFill/>
                <a:ln w="637" cap="flat">
                  <a:noFill/>
                  <a:prstDash val="solid"/>
                  <a:miter/>
                </a:ln>
              </p:spPr>
              <p:txBody>
                <a:bodyPr rtlCol="0" anchor="ctr"/>
                <a:lstStyle/>
                <a:p>
                  <a:endParaRPr lang="en-GB" dirty="0"/>
                </a:p>
              </p:txBody>
            </p:sp>
            <p:sp>
              <p:nvSpPr>
                <p:cNvPr id="676" name="Freeform: Shape 675">
                  <a:extLst>
                    <a:ext uri="{FF2B5EF4-FFF2-40B4-BE49-F238E27FC236}">
                      <a16:creationId xmlns:a16="http://schemas.microsoft.com/office/drawing/2014/main" id="{052D8EA5-28D5-4FFE-8394-F027F55DCC42}"/>
                    </a:ext>
                  </a:extLst>
                </p:cNvPr>
                <p:cNvSpPr/>
                <p:nvPr/>
              </p:nvSpPr>
              <p:spPr>
                <a:xfrm>
                  <a:off x="6916790" y="1619378"/>
                  <a:ext cx="71746" cy="70892"/>
                </a:xfrm>
                <a:custGeom>
                  <a:avLst/>
                  <a:gdLst>
                    <a:gd name="connsiteX0" fmla="*/ 41506 w 71746"/>
                    <a:gd name="connsiteY0" fmla="*/ 70893 h 70892"/>
                    <a:gd name="connsiteX1" fmla="*/ 37016 w 71746"/>
                    <a:gd name="connsiteY1" fmla="*/ 69043 h 70892"/>
                    <a:gd name="connsiteX2" fmla="*/ 36971 w 71746"/>
                    <a:gd name="connsiteY2" fmla="*/ 60026 h 70892"/>
                    <a:gd name="connsiteX3" fmla="*/ 56658 w 71746"/>
                    <a:gd name="connsiteY3" fmla="*/ 40147 h 70892"/>
                    <a:gd name="connsiteX4" fmla="*/ 56748 w 71746"/>
                    <a:gd name="connsiteY4" fmla="*/ 29108 h 70892"/>
                    <a:gd name="connsiteX5" fmla="*/ 42800 w 71746"/>
                    <a:gd name="connsiteY5" fmla="*/ 15040 h 70892"/>
                    <a:gd name="connsiteX6" fmla="*/ 31799 w 71746"/>
                    <a:gd name="connsiteY6" fmla="*/ 14995 h 70892"/>
                    <a:gd name="connsiteX7" fmla="*/ 10894 w 71746"/>
                    <a:gd name="connsiteY7" fmla="*/ 35977 h 70892"/>
                    <a:gd name="connsiteX8" fmla="*/ 1877 w 71746"/>
                    <a:gd name="connsiteY8" fmla="*/ 35989 h 70892"/>
                    <a:gd name="connsiteX9" fmla="*/ 1864 w 71746"/>
                    <a:gd name="connsiteY9" fmla="*/ 26965 h 70892"/>
                    <a:gd name="connsiteX10" fmla="*/ 22794 w 71746"/>
                    <a:gd name="connsiteY10" fmla="*/ 5965 h 70892"/>
                    <a:gd name="connsiteX11" fmla="*/ 51856 w 71746"/>
                    <a:gd name="connsiteY11" fmla="*/ 6060 h 70892"/>
                    <a:gd name="connsiteX12" fmla="*/ 65810 w 71746"/>
                    <a:gd name="connsiteY12" fmla="*/ 20129 h 70892"/>
                    <a:gd name="connsiteX13" fmla="*/ 65682 w 71746"/>
                    <a:gd name="connsiteY13" fmla="*/ 49165 h 70892"/>
                    <a:gd name="connsiteX14" fmla="*/ 46040 w 71746"/>
                    <a:gd name="connsiteY14" fmla="*/ 68999 h 70892"/>
                    <a:gd name="connsiteX15" fmla="*/ 41506 w 71746"/>
                    <a:gd name="connsiteY15" fmla="*/ 70893 h 70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746" h="70892">
                      <a:moveTo>
                        <a:pt x="41506" y="70893"/>
                      </a:moveTo>
                      <a:cubicBezTo>
                        <a:pt x="39886" y="70893"/>
                        <a:pt x="38260" y="70281"/>
                        <a:pt x="37016" y="69043"/>
                      </a:cubicBezTo>
                      <a:cubicBezTo>
                        <a:pt x="34516" y="66563"/>
                        <a:pt x="34490" y="62526"/>
                        <a:pt x="36971" y="60026"/>
                      </a:cubicBezTo>
                      <a:lnTo>
                        <a:pt x="56658" y="40147"/>
                      </a:lnTo>
                      <a:cubicBezTo>
                        <a:pt x="59745" y="37086"/>
                        <a:pt x="59764" y="32157"/>
                        <a:pt x="56748" y="29108"/>
                      </a:cubicBezTo>
                      <a:lnTo>
                        <a:pt x="42800" y="15040"/>
                      </a:lnTo>
                      <a:cubicBezTo>
                        <a:pt x="39777" y="11998"/>
                        <a:pt x="34848" y="11972"/>
                        <a:pt x="31799" y="14995"/>
                      </a:cubicBezTo>
                      <a:lnTo>
                        <a:pt x="10894" y="35977"/>
                      </a:lnTo>
                      <a:cubicBezTo>
                        <a:pt x="8407" y="38470"/>
                        <a:pt x="4376" y="38483"/>
                        <a:pt x="1877" y="35989"/>
                      </a:cubicBezTo>
                      <a:cubicBezTo>
                        <a:pt x="-617" y="33502"/>
                        <a:pt x="-630" y="29465"/>
                        <a:pt x="1864" y="26965"/>
                      </a:cubicBezTo>
                      <a:lnTo>
                        <a:pt x="22794" y="5965"/>
                      </a:lnTo>
                      <a:cubicBezTo>
                        <a:pt x="30855" y="-2026"/>
                        <a:pt x="43884" y="-1982"/>
                        <a:pt x="51856" y="6060"/>
                      </a:cubicBezTo>
                      <a:lnTo>
                        <a:pt x="65810" y="20129"/>
                      </a:lnTo>
                      <a:cubicBezTo>
                        <a:pt x="73775" y="28171"/>
                        <a:pt x="73718" y="41193"/>
                        <a:pt x="65682" y="49165"/>
                      </a:cubicBezTo>
                      <a:lnTo>
                        <a:pt x="46040" y="68999"/>
                      </a:lnTo>
                      <a:cubicBezTo>
                        <a:pt x="44784" y="70261"/>
                        <a:pt x="43145" y="70893"/>
                        <a:pt x="41506" y="70893"/>
                      </a:cubicBezTo>
                      <a:close/>
                    </a:path>
                  </a:pathLst>
                </a:custGeom>
                <a:grpFill/>
                <a:ln w="637" cap="flat">
                  <a:noFill/>
                  <a:prstDash val="solid"/>
                  <a:miter/>
                </a:ln>
              </p:spPr>
              <p:txBody>
                <a:bodyPr rtlCol="0" anchor="ctr"/>
                <a:lstStyle/>
                <a:p>
                  <a:endParaRPr lang="en-GB" dirty="0"/>
                </a:p>
              </p:txBody>
            </p:sp>
          </p:grpSp>
          <p:sp>
            <p:nvSpPr>
              <p:cNvPr id="669" name="Freeform: Shape 668">
                <a:extLst>
                  <a:ext uri="{FF2B5EF4-FFF2-40B4-BE49-F238E27FC236}">
                    <a16:creationId xmlns:a16="http://schemas.microsoft.com/office/drawing/2014/main" id="{2BD03EB6-FB3C-4827-B9A2-40D8BD5C2744}"/>
                  </a:ext>
                </a:extLst>
              </p:cNvPr>
              <p:cNvSpPr/>
              <p:nvPr/>
            </p:nvSpPr>
            <p:spPr>
              <a:xfrm>
                <a:off x="2778010" y="1856323"/>
                <a:ext cx="59032" cy="59302"/>
              </a:xfrm>
              <a:custGeom>
                <a:avLst/>
                <a:gdLst>
                  <a:gd name="connsiteX0" fmla="*/ 6379 w 59032"/>
                  <a:gd name="connsiteY0" fmla="*/ 59303 h 59302"/>
                  <a:gd name="connsiteX1" fmla="*/ 1883 w 59032"/>
                  <a:gd name="connsiteY1" fmla="*/ 57447 h 59302"/>
                  <a:gd name="connsiteX2" fmla="*/ 1857 w 59032"/>
                  <a:gd name="connsiteY2" fmla="*/ 48429 h 59302"/>
                  <a:gd name="connsiteX3" fmla="*/ 48132 w 59032"/>
                  <a:gd name="connsiteY3" fmla="*/ 1881 h 59302"/>
                  <a:gd name="connsiteX4" fmla="*/ 57149 w 59032"/>
                  <a:gd name="connsiteY4" fmla="*/ 1855 h 59302"/>
                  <a:gd name="connsiteX5" fmla="*/ 57175 w 59032"/>
                  <a:gd name="connsiteY5" fmla="*/ 10873 h 59302"/>
                  <a:gd name="connsiteX6" fmla="*/ 10900 w 59032"/>
                  <a:gd name="connsiteY6" fmla="*/ 57421 h 59302"/>
                  <a:gd name="connsiteX7" fmla="*/ 6379 w 59032"/>
                  <a:gd name="connsiteY7" fmla="*/ 59303 h 59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032" h="59302">
                    <a:moveTo>
                      <a:pt x="6379" y="59303"/>
                    </a:moveTo>
                    <a:cubicBezTo>
                      <a:pt x="4753" y="59303"/>
                      <a:pt x="3126" y="58684"/>
                      <a:pt x="1883" y="57447"/>
                    </a:cubicBezTo>
                    <a:cubicBezTo>
                      <a:pt x="-617" y="54966"/>
                      <a:pt x="-630" y="50929"/>
                      <a:pt x="1857" y="48429"/>
                    </a:cubicBezTo>
                    <a:lnTo>
                      <a:pt x="48132" y="1881"/>
                    </a:lnTo>
                    <a:cubicBezTo>
                      <a:pt x="50619" y="-613"/>
                      <a:pt x="54649" y="-632"/>
                      <a:pt x="57149" y="1855"/>
                    </a:cubicBezTo>
                    <a:cubicBezTo>
                      <a:pt x="59649" y="4336"/>
                      <a:pt x="59662" y="8373"/>
                      <a:pt x="57175" y="10873"/>
                    </a:cubicBezTo>
                    <a:lnTo>
                      <a:pt x="10900" y="57421"/>
                    </a:lnTo>
                    <a:cubicBezTo>
                      <a:pt x="9651" y="58678"/>
                      <a:pt x="8012" y="59303"/>
                      <a:pt x="6379" y="59303"/>
                    </a:cubicBezTo>
                    <a:close/>
                  </a:path>
                </a:pathLst>
              </a:custGeom>
              <a:grpFill/>
              <a:ln w="637" cap="flat">
                <a:noFill/>
                <a:prstDash val="solid"/>
                <a:miter/>
              </a:ln>
            </p:spPr>
            <p:txBody>
              <a:bodyPr rtlCol="0" anchor="ctr"/>
              <a:lstStyle/>
              <a:p>
                <a:endParaRPr lang="en-GB" dirty="0"/>
              </a:p>
            </p:txBody>
          </p:sp>
          <p:sp>
            <p:nvSpPr>
              <p:cNvPr id="670" name="Freeform: Shape 669">
                <a:extLst>
                  <a:ext uri="{FF2B5EF4-FFF2-40B4-BE49-F238E27FC236}">
                    <a16:creationId xmlns:a16="http://schemas.microsoft.com/office/drawing/2014/main" id="{C36D35BE-FDF9-4588-880E-3D7B6B93D531}"/>
                  </a:ext>
                </a:extLst>
              </p:cNvPr>
              <p:cNvSpPr/>
              <p:nvPr/>
            </p:nvSpPr>
            <p:spPr>
              <a:xfrm>
                <a:off x="2831417" y="1873204"/>
                <a:ext cx="38977" cy="39366"/>
              </a:xfrm>
              <a:custGeom>
                <a:avLst/>
                <a:gdLst>
                  <a:gd name="connsiteX0" fmla="*/ 6377 w 38977"/>
                  <a:gd name="connsiteY0" fmla="*/ 39367 h 39366"/>
                  <a:gd name="connsiteX1" fmla="*/ 1900 w 38977"/>
                  <a:gd name="connsiteY1" fmla="*/ 37530 h 39366"/>
                  <a:gd name="connsiteX2" fmla="*/ 1836 w 38977"/>
                  <a:gd name="connsiteY2" fmla="*/ 28506 h 39366"/>
                  <a:gd name="connsiteX3" fmla="*/ 28060 w 38977"/>
                  <a:gd name="connsiteY3" fmla="*/ 1900 h 39366"/>
                  <a:gd name="connsiteX4" fmla="*/ 37077 w 38977"/>
                  <a:gd name="connsiteY4" fmla="*/ 1836 h 39366"/>
                  <a:gd name="connsiteX5" fmla="*/ 37141 w 38977"/>
                  <a:gd name="connsiteY5" fmla="*/ 10860 h 39366"/>
                  <a:gd name="connsiteX6" fmla="*/ 10917 w 38977"/>
                  <a:gd name="connsiteY6" fmla="*/ 37467 h 39366"/>
                  <a:gd name="connsiteX7" fmla="*/ 6377 w 38977"/>
                  <a:gd name="connsiteY7" fmla="*/ 39367 h 3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77" h="39366">
                    <a:moveTo>
                      <a:pt x="6377" y="39367"/>
                    </a:moveTo>
                    <a:cubicBezTo>
                      <a:pt x="4757" y="39367"/>
                      <a:pt x="3143" y="38755"/>
                      <a:pt x="1900" y="37530"/>
                    </a:cubicBezTo>
                    <a:cubicBezTo>
                      <a:pt x="-613" y="35056"/>
                      <a:pt x="-632" y="31019"/>
                      <a:pt x="1836" y="28506"/>
                    </a:cubicBezTo>
                    <a:lnTo>
                      <a:pt x="28060" y="1900"/>
                    </a:lnTo>
                    <a:cubicBezTo>
                      <a:pt x="30534" y="-613"/>
                      <a:pt x="34571" y="-632"/>
                      <a:pt x="37077" y="1836"/>
                    </a:cubicBezTo>
                    <a:cubicBezTo>
                      <a:pt x="39590" y="4310"/>
                      <a:pt x="39609" y="8347"/>
                      <a:pt x="37141" y="10860"/>
                    </a:cubicBezTo>
                    <a:lnTo>
                      <a:pt x="10917" y="37467"/>
                    </a:lnTo>
                    <a:cubicBezTo>
                      <a:pt x="9667" y="38729"/>
                      <a:pt x="8016" y="39367"/>
                      <a:pt x="6377" y="39367"/>
                    </a:cubicBezTo>
                    <a:close/>
                  </a:path>
                </a:pathLst>
              </a:custGeom>
              <a:grpFill/>
              <a:ln w="637" cap="flat">
                <a:noFill/>
                <a:prstDash val="solid"/>
                <a:miter/>
              </a:ln>
            </p:spPr>
            <p:txBody>
              <a:bodyPr rtlCol="0" anchor="ctr"/>
              <a:lstStyle/>
              <a:p>
                <a:endParaRPr lang="en-GB" dirty="0"/>
              </a:p>
            </p:txBody>
          </p:sp>
          <p:sp>
            <p:nvSpPr>
              <p:cNvPr id="671" name="Freeform: Shape 670">
                <a:extLst>
                  <a:ext uri="{FF2B5EF4-FFF2-40B4-BE49-F238E27FC236}">
                    <a16:creationId xmlns:a16="http://schemas.microsoft.com/office/drawing/2014/main" id="{D9B02413-3E02-4481-B37B-0F779918899E}"/>
                  </a:ext>
                </a:extLst>
              </p:cNvPr>
              <p:cNvSpPr/>
              <p:nvPr/>
            </p:nvSpPr>
            <p:spPr>
              <a:xfrm>
                <a:off x="2778011" y="1853209"/>
                <a:ext cx="21035" cy="21034"/>
              </a:xfrm>
              <a:custGeom>
                <a:avLst/>
                <a:gdLst>
                  <a:gd name="connsiteX0" fmla="*/ 6379 w 21035"/>
                  <a:gd name="connsiteY0" fmla="*/ 21034 h 21034"/>
                  <a:gd name="connsiteX1" fmla="*/ 1870 w 21035"/>
                  <a:gd name="connsiteY1" fmla="*/ 19166 h 21034"/>
                  <a:gd name="connsiteX2" fmla="*/ 1870 w 21035"/>
                  <a:gd name="connsiteY2" fmla="*/ 10148 h 21034"/>
                  <a:gd name="connsiteX3" fmla="*/ 10148 w 21035"/>
                  <a:gd name="connsiteY3" fmla="*/ 1870 h 21034"/>
                  <a:gd name="connsiteX4" fmla="*/ 19166 w 21035"/>
                  <a:gd name="connsiteY4" fmla="*/ 1870 h 21034"/>
                  <a:gd name="connsiteX5" fmla="*/ 19166 w 21035"/>
                  <a:gd name="connsiteY5" fmla="*/ 10888 h 21034"/>
                  <a:gd name="connsiteX6" fmla="*/ 10888 w 21035"/>
                  <a:gd name="connsiteY6" fmla="*/ 19166 h 21034"/>
                  <a:gd name="connsiteX7" fmla="*/ 6379 w 21035"/>
                  <a:gd name="connsiteY7" fmla="*/ 21034 h 21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035" h="21034">
                    <a:moveTo>
                      <a:pt x="6379" y="21034"/>
                    </a:moveTo>
                    <a:cubicBezTo>
                      <a:pt x="4746" y="21034"/>
                      <a:pt x="3114" y="20409"/>
                      <a:pt x="1870" y="19166"/>
                    </a:cubicBezTo>
                    <a:cubicBezTo>
                      <a:pt x="-623" y="16678"/>
                      <a:pt x="-623" y="12642"/>
                      <a:pt x="1870" y="10148"/>
                    </a:cubicBezTo>
                    <a:lnTo>
                      <a:pt x="10148" y="1870"/>
                    </a:lnTo>
                    <a:cubicBezTo>
                      <a:pt x="12642" y="-623"/>
                      <a:pt x="16672" y="-623"/>
                      <a:pt x="19166" y="1870"/>
                    </a:cubicBezTo>
                    <a:cubicBezTo>
                      <a:pt x="21659" y="4357"/>
                      <a:pt x="21659" y="8394"/>
                      <a:pt x="19166" y="10888"/>
                    </a:cubicBezTo>
                    <a:lnTo>
                      <a:pt x="10888" y="19166"/>
                    </a:lnTo>
                    <a:cubicBezTo>
                      <a:pt x="9638" y="20409"/>
                      <a:pt x="8005" y="21034"/>
                      <a:pt x="6379" y="21034"/>
                    </a:cubicBezTo>
                    <a:close/>
                  </a:path>
                </a:pathLst>
              </a:custGeom>
              <a:grpFill/>
              <a:ln w="637" cap="flat">
                <a:noFill/>
                <a:prstDash val="solid"/>
                <a:miter/>
              </a:ln>
            </p:spPr>
            <p:txBody>
              <a:bodyPr rtlCol="0" anchor="ctr"/>
              <a:lstStyle/>
              <a:p>
                <a:endParaRPr lang="en-GB" dirty="0"/>
              </a:p>
            </p:txBody>
          </p:sp>
          <p:sp>
            <p:nvSpPr>
              <p:cNvPr id="672" name="Freeform: Shape 671">
                <a:extLst>
                  <a:ext uri="{FF2B5EF4-FFF2-40B4-BE49-F238E27FC236}">
                    <a16:creationId xmlns:a16="http://schemas.microsoft.com/office/drawing/2014/main" id="{F3AC8F15-99E6-4C2F-81AE-1E3D0D61FDF8}"/>
                  </a:ext>
                </a:extLst>
              </p:cNvPr>
              <p:cNvSpPr/>
              <p:nvPr/>
            </p:nvSpPr>
            <p:spPr>
              <a:xfrm>
                <a:off x="2866490" y="1780819"/>
                <a:ext cx="166427" cy="154780"/>
              </a:xfrm>
              <a:custGeom>
                <a:avLst/>
                <a:gdLst>
                  <a:gd name="connsiteX0" fmla="*/ 6379 w 166427"/>
                  <a:gd name="connsiteY0" fmla="*/ 154781 h 154780"/>
                  <a:gd name="connsiteX1" fmla="*/ 1870 w 166427"/>
                  <a:gd name="connsiteY1" fmla="*/ 152912 h 154780"/>
                  <a:gd name="connsiteX2" fmla="*/ 1870 w 166427"/>
                  <a:gd name="connsiteY2" fmla="*/ 143895 h 154780"/>
                  <a:gd name="connsiteX3" fmla="*/ 30058 w 166427"/>
                  <a:gd name="connsiteY3" fmla="*/ 115707 h 154780"/>
                  <a:gd name="connsiteX4" fmla="*/ 29567 w 166427"/>
                  <a:gd name="connsiteY4" fmla="*/ 89578 h 154780"/>
                  <a:gd name="connsiteX5" fmla="*/ 31442 w 166427"/>
                  <a:gd name="connsiteY5" fmla="*/ 84942 h 154780"/>
                  <a:gd name="connsiteX6" fmla="*/ 68023 w 166427"/>
                  <a:gd name="connsiteY6" fmla="*/ 48489 h 154780"/>
                  <a:gd name="connsiteX7" fmla="*/ 71766 w 166427"/>
                  <a:gd name="connsiteY7" fmla="*/ 46678 h 154780"/>
                  <a:gd name="connsiteX8" fmla="*/ 116032 w 166427"/>
                  <a:gd name="connsiteY8" fmla="*/ 41372 h 154780"/>
                  <a:gd name="connsiteX9" fmla="*/ 155540 w 166427"/>
                  <a:gd name="connsiteY9" fmla="*/ 1870 h 154780"/>
                  <a:gd name="connsiteX10" fmla="*/ 164558 w 166427"/>
                  <a:gd name="connsiteY10" fmla="*/ 1870 h 154780"/>
                  <a:gd name="connsiteX11" fmla="*/ 164558 w 166427"/>
                  <a:gd name="connsiteY11" fmla="*/ 10888 h 154780"/>
                  <a:gd name="connsiteX12" fmla="*/ 123493 w 166427"/>
                  <a:gd name="connsiteY12" fmla="*/ 51952 h 154780"/>
                  <a:gd name="connsiteX13" fmla="*/ 119744 w 166427"/>
                  <a:gd name="connsiteY13" fmla="*/ 53776 h 154780"/>
                  <a:gd name="connsiteX14" fmla="*/ 75472 w 166427"/>
                  <a:gd name="connsiteY14" fmla="*/ 59082 h 154780"/>
                  <a:gd name="connsiteX15" fmla="*/ 42373 w 166427"/>
                  <a:gd name="connsiteY15" fmla="*/ 92059 h 154780"/>
                  <a:gd name="connsiteX16" fmla="*/ 42864 w 166427"/>
                  <a:gd name="connsiteY16" fmla="*/ 118181 h 154780"/>
                  <a:gd name="connsiteX17" fmla="*/ 40996 w 166427"/>
                  <a:gd name="connsiteY17" fmla="*/ 122811 h 154780"/>
                  <a:gd name="connsiteX18" fmla="*/ 10888 w 166427"/>
                  <a:gd name="connsiteY18" fmla="*/ 152919 h 154780"/>
                  <a:gd name="connsiteX19" fmla="*/ 6379 w 166427"/>
                  <a:gd name="connsiteY19" fmla="*/ 154781 h 15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66427" h="154780">
                    <a:moveTo>
                      <a:pt x="6379" y="154781"/>
                    </a:moveTo>
                    <a:cubicBezTo>
                      <a:pt x="4746" y="154781"/>
                      <a:pt x="3114" y="154156"/>
                      <a:pt x="1870" y="152912"/>
                    </a:cubicBezTo>
                    <a:cubicBezTo>
                      <a:pt x="-623" y="150419"/>
                      <a:pt x="-623" y="146388"/>
                      <a:pt x="1870" y="143895"/>
                    </a:cubicBezTo>
                    <a:lnTo>
                      <a:pt x="30058" y="115707"/>
                    </a:lnTo>
                    <a:lnTo>
                      <a:pt x="29567" y="89578"/>
                    </a:lnTo>
                    <a:cubicBezTo>
                      <a:pt x="29535" y="87844"/>
                      <a:pt x="30218" y="86167"/>
                      <a:pt x="31442" y="84942"/>
                    </a:cubicBezTo>
                    <a:lnTo>
                      <a:pt x="68023" y="48489"/>
                    </a:lnTo>
                    <a:cubicBezTo>
                      <a:pt x="69031" y="47481"/>
                      <a:pt x="70351" y="46844"/>
                      <a:pt x="71766" y="46678"/>
                    </a:cubicBezTo>
                    <a:lnTo>
                      <a:pt x="116032" y="41372"/>
                    </a:lnTo>
                    <a:lnTo>
                      <a:pt x="155540" y="1870"/>
                    </a:lnTo>
                    <a:cubicBezTo>
                      <a:pt x="158033" y="-623"/>
                      <a:pt x="162064" y="-623"/>
                      <a:pt x="164558" y="1870"/>
                    </a:cubicBezTo>
                    <a:cubicBezTo>
                      <a:pt x="167051" y="4364"/>
                      <a:pt x="167051" y="8394"/>
                      <a:pt x="164558" y="10888"/>
                    </a:cubicBezTo>
                    <a:lnTo>
                      <a:pt x="123493" y="51952"/>
                    </a:lnTo>
                    <a:cubicBezTo>
                      <a:pt x="122486" y="52966"/>
                      <a:pt x="121166" y="53604"/>
                      <a:pt x="119744" y="53776"/>
                    </a:cubicBezTo>
                    <a:lnTo>
                      <a:pt x="75472" y="59082"/>
                    </a:lnTo>
                    <a:lnTo>
                      <a:pt x="42373" y="92059"/>
                    </a:lnTo>
                    <a:lnTo>
                      <a:pt x="42864" y="118181"/>
                    </a:lnTo>
                    <a:cubicBezTo>
                      <a:pt x="42896" y="119909"/>
                      <a:pt x="42220" y="121587"/>
                      <a:pt x="40996" y="122811"/>
                    </a:cubicBezTo>
                    <a:lnTo>
                      <a:pt x="10888" y="152919"/>
                    </a:lnTo>
                    <a:cubicBezTo>
                      <a:pt x="9638" y="154156"/>
                      <a:pt x="8005" y="154781"/>
                      <a:pt x="6379" y="154781"/>
                    </a:cubicBezTo>
                    <a:close/>
                  </a:path>
                </a:pathLst>
              </a:custGeom>
              <a:grpFill/>
              <a:ln w="637" cap="flat">
                <a:noFill/>
                <a:prstDash val="solid"/>
                <a:miter/>
              </a:ln>
            </p:spPr>
            <p:txBody>
              <a:bodyPr rtlCol="0" anchor="ctr"/>
              <a:lstStyle/>
              <a:p>
                <a:endParaRPr lang="en-GB" dirty="0"/>
              </a:p>
            </p:txBody>
          </p:sp>
        </p:grpSp>
      </p:grpSp>
      <p:grpSp>
        <p:nvGrpSpPr>
          <p:cNvPr id="19" name="Group 18">
            <a:extLst>
              <a:ext uri="{FF2B5EF4-FFF2-40B4-BE49-F238E27FC236}">
                <a16:creationId xmlns:a16="http://schemas.microsoft.com/office/drawing/2014/main" id="{7FA649D8-0B40-6C10-05B8-83A6FA41DF4E}"/>
              </a:ext>
            </a:extLst>
          </p:cNvPr>
          <p:cNvGrpSpPr/>
          <p:nvPr/>
        </p:nvGrpSpPr>
        <p:grpSpPr>
          <a:xfrm>
            <a:off x="1628759" y="4003061"/>
            <a:ext cx="421450" cy="421392"/>
            <a:chOff x="1628759" y="4003061"/>
            <a:chExt cx="421450" cy="421392"/>
          </a:xfrm>
        </p:grpSpPr>
        <p:grpSp>
          <p:nvGrpSpPr>
            <p:cNvPr id="703" name="Group 702">
              <a:extLst>
                <a:ext uri="{FF2B5EF4-FFF2-40B4-BE49-F238E27FC236}">
                  <a16:creationId xmlns:a16="http://schemas.microsoft.com/office/drawing/2014/main" id="{EF3693AE-262C-4D85-91BD-D775A629D630}"/>
                </a:ext>
              </a:extLst>
            </p:cNvPr>
            <p:cNvGrpSpPr/>
            <p:nvPr/>
          </p:nvGrpSpPr>
          <p:grpSpPr>
            <a:xfrm>
              <a:off x="1628759" y="4003061"/>
              <a:ext cx="421450" cy="421392"/>
              <a:chOff x="3719626" y="1596739"/>
              <a:chExt cx="421450" cy="421392"/>
            </a:xfrm>
            <a:solidFill>
              <a:schemeClr val="tx2"/>
            </a:solidFill>
          </p:grpSpPr>
          <p:grpSp>
            <p:nvGrpSpPr>
              <p:cNvPr id="708" name="Graphic 32">
                <a:extLst>
                  <a:ext uri="{FF2B5EF4-FFF2-40B4-BE49-F238E27FC236}">
                    <a16:creationId xmlns:a16="http://schemas.microsoft.com/office/drawing/2014/main" id="{A83CF294-EEB9-4049-AA7F-A4FC4BE528BA}"/>
                  </a:ext>
                </a:extLst>
              </p:cNvPr>
              <p:cNvGrpSpPr/>
              <p:nvPr/>
            </p:nvGrpSpPr>
            <p:grpSpPr>
              <a:xfrm>
                <a:off x="3719626" y="1596739"/>
                <a:ext cx="421450" cy="421392"/>
                <a:chOff x="7472818" y="1624667"/>
                <a:chExt cx="421450" cy="421392"/>
              </a:xfrm>
              <a:grpFill/>
            </p:grpSpPr>
            <p:grpSp>
              <p:nvGrpSpPr>
                <p:cNvPr id="712" name="Graphic 32">
                  <a:extLst>
                    <a:ext uri="{FF2B5EF4-FFF2-40B4-BE49-F238E27FC236}">
                      <a16:creationId xmlns:a16="http://schemas.microsoft.com/office/drawing/2014/main" id="{420F0A61-BA9B-4522-8FCD-3DE1019A2092}"/>
                    </a:ext>
                  </a:extLst>
                </p:cNvPr>
                <p:cNvGrpSpPr/>
                <p:nvPr/>
              </p:nvGrpSpPr>
              <p:grpSpPr>
                <a:xfrm>
                  <a:off x="7472818" y="1801390"/>
                  <a:ext cx="95660" cy="66930"/>
                  <a:chOff x="7472818" y="1801390"/>
                  <a:chExt cx="95660" cy="66930"/>
                </a:xfrm>
                <a:grpFill/>
              </p:grpSpPr>
              <p:sp>
                <p:nvSpPr>
                  <p:cNvPr id="740" name="Freeform: Shape 739">
                    <a:extLst>
                      <a:ext uri="{FF2B5EF4-FFF2-40B4-BE49-F238E27FC236}">
                        <a16:creationId xmlns:a16="http://schemas.microsoft.com/office/drawing/2014/main" id="{D3C53351-D7B0-4E26-9BB0-D3E1725FC5FA}"/>
                      </a:ext>
                    </a:extLst>
                  </p:cNvPr>
                  <p:cNvSpPr/>
                  <p:nvPr/>
                </p:nvSpPr>
                <p:spPr>
                  <a:xfrm>
                    <a:off x="7472818" y="1801390"/>
                    <a:ext cx="57396" cy="66930"/>
                  </a:xfrm>
                  <a:custGeom>
                    <a:avLst/>
                    <a:gdLst>
                      <a:gd name="connsiteX0" fmla="*/ 24049 w 57396"/>
                      <a:gd name="connsiteY0" fmla="*/ 66931 h 66930"/>
                      <a:gd name="connsiteX1" fmla="*/ 0 w 57396"/>
                      <a:gd name="connsiteY1" fmla="*/ 33583 h 66930"/>
                      <a:gd name="connsiteX2" fmla="*/ 23118 w 57396"/>
                      <a:gd name="connsiteY2" fmla="*/ 0 h 66930"/>
                      <a:gd name="connsiteX3" fmla="*/ 57397 w 57396"/>
                      <a:gd name="connsiteY3" fmla="*/ 33583 h 66930"/>
                      <a:gd name="connsiteX4" fmla="*/ 24049 w 57396"/>
                      <a:gd name="connsiteY4" fmla="*/ 66931 h 66930"/>
                      <a:gd name="connsiteX5" fmla="*/ 23118 w 57396"/>
                      <a:gd name="connsiteY5" fmla="*/ 12755 h 66930"/>
                      <a:gd name="connsiteX6" fmla="*/ 12755 w 57396"/>
                      <a:gd name="connsiteY6" fmla="*/ 33583 h 66930"/>
                      <a:gd name="connsiteX7" fmla="*/ 24049 w 57396"/>
                      <a:gd name="connsiteY7" fmla="*/ 54176 h 66930"/>
                      <a:gd name="connsiteX8" fmla="*/ 44642 w 57396"/>
                      <a:gd name="connsiteY8" fmla="*/ 33583 h 66930"/>
                      <a:gd name="connsiteX9" fmla="*/ 23118 w 57396"/>
                      <a:gd name="connsiteY9" fmla="*/ 12755 h 6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96" h="66930">
                        <a:moveTo>
                          <a:pt x="24049" y="66931"/>
                        </a:moveTo>
                        <a:cubicBezTo>
                          <a:pt x="7443" y="66931"/>
                          <a:pt x="0" y="50184"/>
                          <a:pt x="0" y="33583"/>
                        </a:cubicBezTo>
                        <a:cubicBezTo>
                          <a:pt x="0" y="13182"/>
                          <a:pt x="9075" y="0"/>
                          <a:pt x="23118" y="0"/>
                        </a:cubicBezTo>
                        <a:cubicBezTo>
                          <a:pt x="39457" y="0"/>
                          <a:pt x="57397" y="17576"/>
                          <a:pt x="57397" y="33583"/>
                        </a:cubicBezTo>
                        <a:cubicBezTo>
                          <a:pt x="57397" y="49788"/>
                          <a:pt x="40254" y="66931"/>
                          <a:pt x="24049" y="66931"/>
                        </a:cubicBezTo>
                        <a:close/>
                        <a:moveTo>
                          <a:pt x="23118" y="12755"/>
                        </a:moveTo>
                        <a:cubicBezTo>
                          <a:pt x="13048" y="12755"/>
                          <a:pt x="12755" y="31447"/>
                          <a:pt x="12755" y="33583"/>
                        </a:cubicBezTo>
                        <a:cubicBezTo>
                          <a:pt x="12755" y="40707"/>
                          <a:pt x="15114" y="54176"/>
                          <a:pt x="24049" y="54176"/>
                        </a:cubicBezTo>
                        <a:cubicBezTo>
                          <a:pt x="33290" y="54176"/>
                          <a:pt x="44642" y="42818"/>
                          <a:pt x="44642" y="33583"/>
                        </a:cubicBezTo>
                        <a:cubicBezTo>
                          <a:pt x="44642" y="23922"/>
                          <a:pt x="31619" y="12755"/>
                          <a:pt x="23118" y="12755"/>
                        </a:cubicBezTo>
                        <a:close/>
                      </a:path>
                    </a:pathLst>
                  </a:custGeom>
                  <a:grpFill/>
                  <a:ln w="637" cap="flat">
                    <a:noFill/>
                    <a:prstDash val="solid"/>
                    <a:miter/>
                  </a:ln>
                </p:spPr>
                <p:txBody>
                  <a:bodyPr rtlCol="0" anchor="ctr"/>
                  <a:lstStyle/>
                  <a:p>
                    <a:endParaRPr lang="en-GB" dirty="0"/>
                  </a:p>
                </p:txBody>
              </p:sp>
              <p:sp>
                <p:nvSpPr>
                  <p:cNvPr id="741" name="Freeform: Shape 740">
                    <a:extLst>
                      <a:ext uri="{FF2B5EF4-FFF2-40B4-BE49-F238E27FC236}">
                        <a16:creationId xmlns:a16="http://schemas.microsoft.com/office/drawing/2014/main" id="{EE237634-6A37-453C-9C0E-9CC2C010A782}"/>
                      </a:ext>
                    </a:extLst>
                  </p:cNvPr>
                  <p:cNvSpPr/>
                  <p:nvPr/>
                </p:nvSpPr>
                <p:spPr>
                  <a:xfrm>
                    <a:off x="7517460" y="1828609"/>
                    <a:ext cx="51019" cy="12754"/>
                  </a:xfrm>
                  <a:custGeom>
                    <a:avLst/>
                    <a:gdLst>
                      <a:gd name="connsiteX0" fmla="*/ 44642 w 51019"/>
                      <a:gd name="connsiteY0" fmla="*/ 12755 h 12754"/>
                      <a:gd name="connsiteX1" fmla="*/ 6377 w 51019"/>
                      <a:gd name="connsiteY1" fmla="*/ 12755 h 12754"/>
                      <a:gd name="connsiteX2" fmla="*/ 0 w 51019"/>
                      <a:gd name="connsiteY2" fmla="*/ 6377 h 12754"/>
                      <a:gd name="connsiteX3" fmla="*/ 6377 w 51019"/>
                      <a:gd name="connsiteY3" fmla="*/ 0 h 12754"/>
                      <a:gd name="connsiteX4" fmla="*/ 44642 w 51019"/>
                      <a:gd name="connsiteY4" fmla="*/ 0 h 12754"/>
                      <a:gd name="connsiteX5" fmla="*/ 51019 w 51019"/>
                      <a:gd name="connsiteY5" fmla="*/ 6377 h 12754"/>
                      <a:gd name="connsiteX6" fmla="*/ 44642 w 51019"/>
                      <a:gd name="connsiteY6" fmla="*/ 12755 h 1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19" h="12754">
                        <a:moveTo>
                          <a:pt x="44642" y="12755"/>
                        </a:moveTo>
                        <a:lnTo>
                          <a:pt x="6377" y="12755"/>
                        </a:lnTo>
                        <a:cubicBezTo>
                          <a:pt x="2851" y="12755"/>
                          <a:pt x="0" y="9898"/>
                          <a:pt x="0" y="6377"/>
                        </a:cubicBezTo>
                        <a:cubicBezTo>
                          <a:pt x="0" y="2857"/>
                          <a:pt x="2851" y="0"/>
                          <a:pt x="6377" y="0"/>
                        </a:cubicBezTo>
                        <a:lnTo>
                          <a:pt x="44642" y="0"/>
                        </a:lnTo>
                        <a:cubicBezTo>
                          <a:pt x="48168" y="0"/>
                          <a:pt x="51019" y="2857"/>
                          <a:pt x="51019" y="6377"/>
                        </a:cubicBezTo>
                        <a:cubicBezTo>
                          <a:pt x="51019" y="9898"/>
                          <a:pt x="48168" y="12755"/>
                          <a:pt x="44642" y="12755"/>
                        </a:cubicBezTo>
                        <a:close/>
                      </a:path>
                    </a:pathLst>
                  </a:custGeom>
                  <a:grpFill/>
                  <a:ln w="637" cap="flat">
                    <a:noFill/>
                    <a:prstDash val="solid"/>
                    <a:miter/>
                  </a:ln>
                </p:spPr>
                <p:txBody>
                  <a:bodyPr rtlCol="0" anchor="ctr"/>
                  <a:lstStyle/>
                  <a:p>
                    <a:endParaRPr lang="en-GB" dirty="0"/>
                  </a:p>
                </p:txBody>
              </p:sp>
            </p:grpSp>
            <p:grpSp>
              <p:nvGrpSpPr>
                <p:cNvPr id="713" name="Graphic 32">
                  <a:extLst>
                    <a:ext uri="{FF2B5EF4-FFF2-40B4-BE49-F238E27FC236}">
                      <a16:creationId xmlns:a16="http://schemas.microsoft.com/office/drawing/2014/main" id="{BF973AFD-E4BE-4A81-B9ED-5DDA65B34953}"/>
                    </a:ext>
                  </a:extLst>
                </p:cNvPr>
                <p:cNvGrpSpPr/>
                <p:nvPr/>
              </p:nvGrpSpPr>
              <p:grpSpPr>
                <a:xfrm>
                  <a:off x="7798594" y="1801276"/>
                  <a:ext cx="95674" cy="66937"/>
                  <a:chOff x="7798594" y="1801276"/>
                  <a:chExt cx="95674" cy="66937"/>
                </a:xfrm>
                <a:grpFill/>
              </p:grpSpPr>
              <p:sp>
                <p:nvSpPr>
                  <p:cNvPr id="738" name="Freeform: Shape 737">
                    <a:extLst>
                      <a:ext uri="{FF2B5EF4-FFF2-40B4-BE49-F238E27FC236}">
                        <a16:creationId xmlns:a16="http://schemas.microsoft.com/office/drawing/2014/main" id="{87478E6B-0DEB-49F8-A4A1-36B089F4A068}"/>
                      </a:ext>
                    </a:extLst>
                  </p:cNvPr>
                  <p:cNvSpPr/>
                  <p:nvPr/>
                </p:nvSpPr>
                <p:spPr>
                  <a:xfrm>
                    <a:off x="7836865" y="1801276"/>
                    <a:ext cx="57404" cy="66937"/>
                  </a:xfrm>
                  <a:custGeom>
                    <a:avLst/>
                    <a:gdLst>
                      <a:gd name="connsiteX0" fmla="*/ 33393 w 57404"/>
                      <a:gd name="connsiteY0" fmla="*/ 66931 h 66937"/>
                      <a:gd name="connsiteX1" fmla="*/ 10880 w 57404"/>
                      <a:gd name="connsiteY1" fmla="*/ 56638 h 66937"/>
                      <a:gd name="connsiteX2" fmla="*/ 0 w 57404"/>
                      <a:gd name="connsiteY2" fmla="*/ 33743 h 66937"/>
                      <a:gd name="connsiteX3" fmla="*/ 34119 w 57404"/>
                      <a:gd name="connsiteY3" fmla="*/ 0 h 66937"/>
                      <a:gd name="connsiteX4" fmla="*/ 34228 w 57404"/>
                      <a:gd name="connsiteY4" fmla="*/ 0 h 66937"/>
                      <a:gd name="connsiteX5" fmla="*/ 52850 w 57404"/>
                      <a:gd name="connsiteY5" fmla="*/ 12072 h 66937"/>
                      <a:gd name="connsiteX6" fmla="*/ 57403 w 57404"/>
                      <a:gd name="connsiteY6" fmla="*/ 33475 h 66937"/>
                      <a:gd name="connsiteX7" fmla="*/ 33514 w 57404"/>
                      <a:gd name="connsiteY7" fmla="*/ 66937 h 66937"/>
                      <a:gd name="connsiteX8" fmla="*/ 33393 w 57404"/>
                      <a:gd name="connsiteY8" fmla="*/ 66931 h 66937"/>
                      <a:gd name="connsiteX9" fmla="*/ 34228 w 57404"/>
                      <a:gd name="connsiteY9" fmla="*/ 12748 h 66937"/>
                      <a:gd name="connsiteX10" fmla="*/ 34170 w 57404"/>
                      <a:gd name="connsiteY10" fmla="*/ 12748 h 66937"/>
                      <a:gd name="connsiteX11" fmla="*/ 12749 w 57404"/>
                      <a:gd name="connsiteY11" fmla="*/ 33679 h 66937"/>
                      <a:gd name="connsiteX12" fmla="*/ 19770 w 57404"/>
                      <a:gd name="connsiteY12" fmla="*/ 47492 h 66937"/>
                      <a:gd name="connsiteX13" fmla="*/ 33393 w 57404"/>
                      <a:gd name="connsiteY13" fmla="*/ 54176 h 66937"/>
                      <a:gd name="connsiteX14" fmla="*/ 33444 w 57404"/>
                      <a:gd name="connsiteY14" fmla="*/ 54176 h 66937"/>
                      <a:gd name="connsiteX15" fmla="*/ 44642 w 57404"/>
                      <a:gd name="connsiteY15" fmla="*/ 33532 h 66937"/>
                      <a:gd name="connsiteX16" fmla="*/ 41524 w 57404"/>
                      <a:gd name="connsiteY16" fmla="*/ 17940 h 66937"/>
                      <a:gd name="connsiteX17" fmla="*/ 34228 w 57404"/>
                      <a:gd name="connsiteY17" fmla="*/ 12748 h 6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404" h="66937">
                        <a:moveTo>
                          <a:pt x="33393" y="66931"/>
                        </a:moveTo>
                        <a:cubicBezTo>
                          <a:pt x="25816" y="66931"/>
                          <a:pt x="17608" y="63187"/>
                          <a:pt x="10880" y="56638"/>
                        </a:cubicBezTo>
                        <a:cubicBezTo>
                          <a:pt x="4005" y="49948"/>
                          <a:pt x="39" y="41606"/>
                          <a:pt x="0" y="33743"/>
                        </a:cubicBezTo>
                        <a:cubicBezTo>
                          <a:pt x="-76" y="17736"/>
                          <a:pt x="17781" y="77"/>
                          <a:pt x="34119" y="0"/>
                        </a:cubicBezTo>
                        <a:cubicBezTo>
                          <a:pt x="34158" y="0"/>
                          <a:pt x="34196" y="0"/>
                          <a:pt x="34228" y="0"/>
                        </a:cubicBezTo>
                        <a:cubicBezTo>
                          <a:pt x="42206" y="0"/>
                          <a:pt x="48813" y="4279"/>
                          <a:pt x="52850" y="12072"/>
                        </a:cubicBezTo>
                        <a:cubicBezTo>
                          <a:pt x="56562" y="19241"/>
                          <a:pt x="57378" y="27665"/>
                          <a:pt x="57403" y="33475"/>
                        </a:cubicBezTo>
                        <a:cubicBezTo>
                          <a:pt x="57486" y="50075"/>
                          <a:pt x="50120" y="66854"/>
                          <a:pt x="33514" y="66937"/>
                        </a:cubicBezTo>
                        <a:cubicBezTo>
                          <a:pt x="33463" y="66931"/>
                          <a:pt x="33424" y="66931"/>
                          <a:pt x="33393" y="66931"/>
                        </a:cubicBezTo>
                        <a:close/>
                        <a:moveTo>
                          <a:pt x="34228" y="12748"/>
                        </a:moveTo>
                        <a:cubicBezTo>
                          <a:pt x="34209" y="12748"/>
                          <a:pt x="34190" y="12748"/>
                          <a:pt x="34170" y="12748"/>
                        </a:cubicBezTo>
                        <a:cubicBezTo>
                          <a:pt x="25669" y="12787"/>
                          <a:pt x="12704" y="24024"/>
                          <a:pt x="12749" y="33679"/>
                        </a:cubicBezTo>
                        <a:cubicBezTo>
                          <a:pt x="12768" y="38073"/>
                          <a:pt x="15395" y="43239"/>
                          <a:pt x="19770" y="47492"/>
                        </a:cubicBezTo>
                        <a:cubicBezTo>
                          <a:pt x="24011" y="51619"/>
                          <a:pt x="29228" y="54176"/>
                          <a:pt x="33393" y="54176"/>
                        </a:cubicBezTo>
                        <a:cubicBezTo>
                          <a:pt x="33412" y="54176"/>
                          <a:pt x="33424" y="54176"/>
                          <a:pt x="33444" y="54176"/>
                        </a:cubicBezTo>
                        <a:cubicBezTo>
                          <a:pt x="42378" y="54131"/>
                          <a:pt x="44674" y="40649"/>
                          <a:pt x="44642" y="33532"/>
                        </a:cubicBezTo>
                        <a:cubicBezTo>
                          <a:pt x="44610" y="27302"/>
                          <a:pt x="43501" y="21766"/>
                          <a:pt x="41524" y="17940"/>
                        </a:cubicBezTo>
                        <a:cubicBezTo>
                          <a:pt x="39145" y="13361"/>
                          <a:pt x="36383" y="12748"/>
                          <a:pt x="34228" y="12748"/>
                        </a:cubicBezTo>
                        <a:close/>
                      </a:path>
                    </a:pathLst>
                  </a:custGeom>
                  <a:grpFill/>
                  <a:ln w="637" cap="flat">
                    <a:noFill/>
                    <a:prstDash val="solid"/>
                    <a:miter/>
                  </a:ln>
                </p:spPr>
                <p:txBody>
                  <a:bodyPr rtlCol="0" anchor="ctr"/>
                  <a:lstStyle/>
                  <a:p>
                    <a:endParaRPr lang="en-GB" dirty="0"/>
                  </a:p>
                </p:txBody>
              </p:sp>
              <p:sp>
                <p:nvSpPr>
                  <p:cNvPr id="739" name="Freeform: Shape 738">
                    <a:extLst>
                      <a:ext uri="{FF2B5EF4-FFF2-40B4-BE49-F238E27FC236}">
                        <a16:creationId xmlns:a16="http://schemas.microsoft.com/office/drawing/2014/main" id="{44BAA2F1-962E-4C89-BE74-93CB50072283}"/>
                      </a:ext>
                    </a:extLst>
                  </p:cNvPr>
                  <p:cNvSpPr/>
                  <p:nvPr/>
                </p:nvSpPr>
                <p:spPr>
                  <a:xfrm>
                    <a:off x="7798594" y="1828622"/>
                    <a:ext cx="51019" cy="12939"/>
                  </a:xfrm>
                  <a:custGeom>
                    <a:avLst/>
                    <a:gdLst>
                      <a:gd name="connsiteX0" fmla="*/ 6377 w 51019"/>
                      <a:gd name="connsiteY0" fmla="*/ 12940 h 12939"/>
                      <a:gd name="connsiteX1" fmla="*/ 0 w 51019"/>
                      <a:gd name="connsiteY1" fmla="*/ 6594 h 12939"/>
                      <a:gd name="connsiteX2" fmla="*/ 6346 w 51019"/>
                      <a:gd name="connsiteY2" fmla="*/ 185 h 12939"/>
                      <a:gd name="connsiteX3" fmla="*/ 44610 w 51019"/>
                      <a:gd name="connsiteY3" fmla="*/ 0 h 12939"/>
                      <a:gd name="connsiteX4" fmla="*/ 44642 w 51019"/>
                      <a:gd name="connsiteY4" fmla="*/ 0 h 12939"/>
                      <a:gd name="connsiteX5" fmla="*/ 51019 w 51019"/>
                      <a:gd name="connsiteY5" fmla="*/ 6345 h 12939"/>
                      <a:gd name="connsiteX6" fmla="*/ 44674 w 51019"/>
                      <a:gd name="connsiteY6" fmla="*/ 12755 h 12939"/>
                      <a:gd name="connsiteX7" fmla="*/ 6409 w 51019"/>
                      <a:gd name="connsiteY7" fmla="*/ 12940 h 12939"/>
                      <a:gd name="connsiteX8" fmla="*/ 6377 w 51019"/>
                      <a:gd name="connsiteY8" fmla="*/ 12940 h 12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019" h="12939">
                        <a:moveTo>
                          <a:pt x="6377" y="12940"/>
                        </a:moveTo>
                        <a:cubicBezTo>
                          <a:pt x="2870" y="12940"/>
                          <a:pt x="19" y="10108"/>
                          <a:pt x="0" y="6594"/>
                        </a:cubicBezTo>
                        <a:cubicBezTo>
                          <a:pt x="-19" y="3074"/>
                          <a:pt x="2825" y="204"/>
                          <a:pt x="6346" y="185"/>
                        </a:cubicBezTo>
                        <a:lnTo>
                          <a:pt x="44610" y="0"/>
                        </a:lnTo>
                        <a:cubicBezTo>
                          <a:pt x="44623" y="0"/>
                          <a:pt x="44629" y="0"/>
                          <a:pt x="44642" y="0"/>
                        </a:cubicBezTo>
                        <a:cubicBezTo>
                          <a:pt x="48149" y="0"/>
                          <a:pt x="51000" y="2832"/>
                          <a:pt x="51019" y="6345"/>
                        </a:cubicBezTo>
                        <a:cubicBezTo>
                          <a:pt x="51038" y="9866"/>
                          <a:pt x="48194" y="12736"/>
                          <a:pt x="44674" y="12755"/>
                        </a:cubicBezTo>
                        <a:lnTo>
                          <a:pt x="6409" y="12940"/>
                        </a:lnTo>
                        <a:cubicBezTo>
                          <a:pt x="6396" y="12940"/>
                          <a:pt x="6390" y="12940"/>
                          <a:pt x="6377" y="12940"/>
                        </a:cubicBezTo>
                        <a:close/>
                      </a:path>
                    </a:pathLst>
                  </a:custGeom>
                  <a:grpFill/>
                  <a:ln w="637" cap="flat">
                    <a:noFill/>
                    <a:prstDash val="solid"/>
                    <a:miter/>
                  </a:ln>
                </p:spPr>
                <p:txBody>
                  <a:bodyPr rtlCol="0" anchor="ctr"/>
                  <a:lstStyle/>
                  <a:p>
                    <a:endParaRPr lang="en-GB" dirty="0"/>
                  </a:p>
                </p:txBody>
              </p:sp>
            </p:grpSp>
            <p:grpSp>
              <p:nvGrpSpPr>
                <p:cNvPr id="714" name="Graphic 32">
                  <a:extLst>
                    <a:ext uri="{FF2B5EF4-FFF2-40B4-BE49-F238E27FC236}">
                      <a16:creationId xmlns:a16="http://schemas.microsoft.com/office/drawing/2014/main" id="{2B9EAA25-8E92-4AF0-8F9D-4CDCF911E8D3}"/>
                    </a:ext>
                  </a:extLst>
                </p:cNvPr>
                <p:cNvGrpSpPr/>
                <p:nvPr/>
              </p:nvGrpSpPr>
              <p:grpSpPr>
                <a:xfrm>
                  <a:off x="7521282" y="1624667"/>
                  <a:ext cx="324723" cy="131253"/>
                  <a:chOff x="7521282" y="1624667"/>
                  <a:chExt cx="324723" cy="131253"/>
                </a:xfrm>
                <a:grpFill/>
              </p:grpSpPr>
              <p:grpSp>
                <p:nvGrpSpPr>
                  <p:cNvPr id="729" name="Graphic 32">
                    <a:extLst>
                      <a:ext uri="{FF2B5EF4-FFF2-40B4-BE49-F238E27FC236}">
                        <a16:creationId xmlns:a16="http://schemas.microsoft.com/office/drawing/2014/main" id="{EED6622C-788B-444C-AB19-71E5202100B3}"/>
                      </a:ext>
                    </a:extLst>
                  </p:cNvPr>
                  <p:cNvGrpSpPr/>
                  <p:nvPr/>
                </p:nvGrpSpPr>
                <p:grpSpPr>
                  <a:xfrm>
                    <a:off x="7650205" y="1624667"/>
                    <a:ext cx="66930" cy="95660"/>
                    <a:chOff x="7650205" y="1624667"/>
                    <a:chExt cx="66930" cy="95660"/>
                  </a:xfrm>
                  <a:grpFill/>
                </p:grpSpPr>
                <p:sp>
                  <p:nvSpPr>
                    <p:cNvPr id="736" name="Freeform: Shape 735">
                      <a:extLst>
                        <a:ext uri="{FF2B5EF4-FFF2-40B4-BE49-F238E27FC236}">
                          <a16:creationId xmlns:a16="http://schemas.microsoft.com/office/drawing/2014/main" id="{8870EB58-C85A-4203-8A46-8FB953A54ED4}"/>
                        </a:ext>
                      </a:extLst>
                    </p:cNvPr>
                    <p:cNvSpPr/>
                    <p:nvPr/>
                  </p:nvSpPr>
                  <p:spPr>
                    <a:xfrm>
                      <a:off x="7650205" y="1624667"/>
                      <a:ext cx="66930" cy="57396"/>
                    </a:xfrm>
                    <a:custGeom>
                      <a:avLst/>
                      <a:gdLst>
                        <a:gd name="connsiteX0" fmla="*/ 33347 w 66930"/>
                        <a:gd name="connsiteY0" fmla="*/ 57397 h 57396"/>
                        <a:gd name="connsiteX1" fmla="*/ 0 w 66930"/>
                        <a:gd name="connsiteY1" fmla="*/ 24049 h 57396"/>
                        <a:gd name="connsiteX2" fmla="*/ 33347 w 66930"/>
                        <a:gd name="connsiteY2" fmla="*/ 0 h 57396"/>
                        <a:gd name="connsiteX3" fmla="*/ 66931 w 66930"/>
                        <a:gd name="connsiteY3" fmla="*/ 23118 h 57396"/>
                        <a:gd name="connsiteX4" fmla="*/ 33347 w 66930"/>
                        <a:gd name="connsiteY4" fmla="*/ 57397 h 57396"/>
                        <a:gd name="connsiteX5" fmla="*/ 33347 w 66930"/>
                        <a:gd name="connsiteY5" fmla="*/ 12755 h 57396"/>
                        <a:gd name="connsiteX6" fmla="*/ 12755 w 66930"/>
                        <a:gd name="connsiteY6" fmla="*/ 24049 h 57396"/>
                        <a:gd name="connsiteX7" fmla="*/ 33347 w 66930"/>
                        <a:gd name="connsiteY7" fmla="*/ 44642 h 57396"/>
                        <a:gd name="connsiteX8" fmla="*/ 54176 w 66930"/>
                        <a:gd name="connsiteY8" fmla="*/ 23118 h 57396"/>
                        <a:gd name="connsiteX9" fmla="*/ 33347 w 66930"/>
                        <a:gd name="connsiteY9" fmla="*/ 12755 h 5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930" h="57396">
                          <a:moveTo>
                            <a:pt x="33347" y="57397"/>
                          </a:moveTo>
                          <a:cubicBezTo>
                            <a:pt x="17143" y="57397"/>
                            <a:pt x="0" y="40254"/>
                            <a:pt x="0" y="24049"/>
                          </a:cubicBezTo>
                          <a:cubicBezTo>
                            <a:pt x="0" y="7436"/>
                            <a:pt x="16753" y="0"/>
                            <a:pt x="33347" y="0"/>
                          </a:cubicBezTo>
                          <a:cubicBezTo>
                            <a:pt x="53749" y="0"/>
                            <a:pt x="66931" y="9075"/>
                            <a:pt x="66931" y="23118"/>
                          </a:cubicBezTo>
                          <a:cubicBezTo>
                            <a:pt x="66931" y="39457"/>
                            <a:pt x="49355" y="57397"/>
                            <a:pt x="33347" y="57397"/>
                          </a:cubicBezTo>
                          <a:close/>
                          <a:moveTo>
                            <a:pt x="33347" y="12755"/>
                          </a:moveTo>
                          <a:cubicBezTo>
                            <a:pt x="26224" y="12755"/>
                            <a:pt x="12755" y="15114"/>
                            <a:pt x="12755" y="24049"/>
                          </a:cubicBezTo>
                          <a:cubicBezTo>
                            <a:pt x="12755" y="33290"/>
                            <a:pt x="24107" y="44642"/>
                            <a:pt x="33347" y="44642"/>
                          </a:cubicBezTo>
                          <a:cubicBezTo>
                            <a:pt x="43003" y="44642"/>
                            <a:pt x="54176" y="31619"/>
                            <a:pt x="54176" y="23118"/>
                          </a:cubicBezTo>
                          <a:cubicBezTo>
                            <a:pt x="54176" y="13042"/>
                            <a:pt x="35478" y="12755"/>
                            <a:pt x="33347" y="12755"/>
                          </a:cubicBezTo>
                          <a:close/>
                        </a:path>
                      </a:pathLst>
                    </a:custGeom>
                    <a:grpFill/>
                    <a:ln w="637" cap="flat">
                      <a:noFill/>
                      <a:prstDash val="solid"/>
                      <a:miter/>
                    </a:ln>
                  </p:spPr>
                  <p:txBody>
                    <a:bodyPr rtlCol="0" anchor="ctr"/>
                    <a:lstStyle/>
                    <a:p>
                      <a:endParaRPr lang="en-GB" dirty="0"/>
                    </a:p>
                  </p:txBody>
                </p:sp>
                <p:sp>
                  <p:nvSpPr>
                    <p:cNvPr id="737" name="Freeform: Shape 736">
                      <a:extLst>
                        <a:ext uri="{FF2B5EF4-FFF2-40B4-BE49-F238E27FC236}">
                          <a16:creationId xmlns:a16="http://schemas.microsoft.com/office/drawing/2014/main" id="{D373DB83-91DE-4187-A0CD-4077800F0B31}"/>
                        </a:ext>
                      </a:extLst>
                    </p:cNvPr>
                    <p:cNvSpPr/>
                    <p:nvPr/>
                  </p:nvSpPr>
                  <p:spPr>
                    <a:xfrm>
                      <a:off x="7677156" y="1669308"/>
                      <a:ext cx="12754" cy="51019"/>
                    </a:xfrm>
                    <a:custGeom>
                      <a:avLst/>
                      <a:gdLst>
                        <a:gd name="connsiteX0" fmla="*/ 6377 w 12754"/>
                        <a:gd name="connsiteY0" fmla="*/ 51019 h 51019"/>
                        <a:gd name="connsiteX1" fmla="*/ 0 w 12754"/>
                        <a:gd name="connsiteY1" fmla="*/ 44642 h 51019"/>
                        <a:gd name="connsiteX2" fmla="*/ 0 w 12754"/>
                        <a:gd name="connsiteY2" fmla="*/ 6377 h 51019"/>
                        <a:gd name="connsiteX3" fmla="*/ 6377 w 12754"/>
                        <a:gd name="connsiteY3" fmla="*/ 0 h 51019"/>
                        <a:gd name="connsiteX4" fmla="*/ 12755 w 12754"/>
                        <a:gd name="connsiteY4" fmla="*/ 6377 h 51019"/>
                        <a:gd name="connsiteX5" fmla="*/ 12755 w 12754"/>
                        <a:gd name="connsiteY5" fmla="*/ 44642 h 51019"/>
                        <a:gd name="connsiteX6" fmla="*/ 6377 w 12754"/>
                        <a:gd name="connsiteY6" fmla="*/ 51019 h 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51019">
                          <a:moveTo>
                            <a:pt x="6377" y="51019"/>
                          </a:moveTo>
                          <a:cubicBezTo>
                            <a:pt x="2851" y="51019"/>
                            <a:pt x="0" y="48162"/>
                            <a:pt x="0" y="44642"/>
                          </a:cubicBezTo>
                          <a:lnTo>
                            <a:pt x="0" y="6377"/>
                          </a:lnTo>
                          <a:cubicBezTo>
                            <a:pt x="0" y="2857"/>
                            <a:pt x="2851" y="0"/>
                            <a:pt x="6377" y="0"/>
                          </a:cubicBezTo>
                          <a:cubicBezTo>
                            <a:pt x="9904" y="0"/>
                            <a:pt x="12755" y="2857"/>
                            <a:pt x="12755" y="6377"/>
                          </a:cubicBezTo>
                          <a:lnTo>
                            <a:pt x="12755" y="44642"/>
                          </a:lnTo>
                          <a:cubicBezTo>
                            <a:pt x="12755" y="48162"/>
                            <a:pt x="9904" y="51019"/>
                            <a:pt x="6377" y="51019"/>
                          </a:cubicBezTo>
                          <a:close/>
                        </a:path>
                      </a:pathLst>
                    </a:custGeom>
                    <a:grpFill/>
                    <a:ln w="637" cap="flat">
                      <a:noFill/>
                      <a:prstDash val="solid"/>
                      <a:miter/>
                    </a:ln>
                  </p:spPr>
                  <p:txBody>
                    <a:bodyPr rtlCol="0" anchor="ctr"/>
                    <a:lstStyle/>
                    <a:p>
                      <a:endParaRPr lang="en-GB" dirty="0"/>
                    </a:p>
                  </p:txBody>
                </p:sp>
              </p:grpSp>
              <p:grpSp>
                <p:nvGrpSpPr>
                  <p:cNvPr id="730" name="Graphic 32">
                    <a:extLst>
                      <a:ext uri="{FF2B5EF4-FFF2-40B4-BE49-F238E27FC236}">
                        <a16:creationId xmlns:a16="http://schemas.microsoft.com/office/drawing/2014/main" id="{7F3D16DF-0CF9-4F63-8ABD-ABBBA2DF7735}"/>
                      </a:ext>
                    </a:extLst>
                  </p:cNvPr>
                  <p:cNvGrpSpPr/>
                  <p:nvPr/>
                </p:nvGrpSpPr>
                <p:grpSpPr>
                  <a:xfrm>
                    <a:off x="7763205" y="1673757"/>
                    <a:ext cx="82800" cy="82162"/>
                    <a:chOff x="7763205" y="1673757"/>
                    <a:chExt cx="82800" cy="82162"/>
                  </a:xfrm>
                  <a:grpFill/>
                </p:grpSpPr>
                <p:sp>
                  <p:nvSpPr>
                    <p:cNvPr id="734" name="Freeform: Shape 733">
                      <a:extLst>
                        <a:ext uri="{FF2B5EF4-FFF2-40B4-BE49-F238E27FC236}">
                          <a16:creationId xmlns:a16="http://schemas.microsoft.com/office/drawing/2014/main" id="{ECF2959D-FE5E-43FF-A825-488E26E58A63}"/>
                        </a:ext>
                      </a:extLst>
                    </p:cNvPr>
                    <p:cNvSpPr/>
                    <p:nvPr/>
                  </p:nvSpPr>
                  <p:spPr>
                    <a:xfrm>
                      <a:off x="7783529" y="1673757"/>
                      <a:ext cx="62475" cy="61627"/>
                    </a:xfrm>
                    <a:custGeom>
                      <a:avLst/>
                      <a:gdLst>
                        <a:gd name="connsiteX0" fmla="*/ 31838 w 62475"/>
                        <a:gd name="connsiteY0" fmla="*/ 61628 h 61627"/>
                        <a:gd name="connsiteX1" fmla="*/ 8618 w 62475"/>
                        <a:gd name="connsiteY1" fmla="*/ 53254 h 61627"/>
                        <a:gd name="connsiteX2" fmla="*/ 2 w 62475"/>
                        <a:gd name="connsiteY2" fmla="*/ 29409 h 61627"/>
                        <a:gd name="connsiteX3" fmla="*/ 8618 w 62475"/>
                        <a:gd name="connsiteY3" fmla="*/ 6093 h 61627"/>
                        <a:gd name="connsiteX4" fmla="*/ 30415 w 62475"/>
                        <a:gd name="connsiteY4" fmla="*/ 1010 h 61627"/>
                        <a:gd name="connsiteX5" fmla="*/ 49197 w 62475"/>
                        <a:gd name="connsiteY5" fmla="*/ 12675 h 61627"/>
                        <a:gd name="connsiteX6" fmla="*/ 61199 w 62475"/>
                        <a:gd name="connsiteY6" fmla="*/ 30965 h 61627"/>
                        <a:gd name="connsiteX7" fmla="*/ 56595 w 62475"/>
                        <a:gd name="connsiteY7" fmla="*/ 52763 h 61627"/>
                        <a:gd name="connsiteX8" fmla="*/ 56595 w 62475"/>
                        <a:gd name="connsiteY8" fmla="*/ 52763 h 61627"/>
                        <a:gd name="connsiteX9" fmla="*/ 56595 w 62475"/>
                        <a:gd name="connsiteY9" fmla="*/ 52763 h 61627"/>
                        <a:gd name="connsiteX10" fmla="*/ 56595 w 62475"/>
                        <a:gd name="connsiteY10" fmla="*/ 52763 h 61627"/>
                        <a:gd name="connsiteX11" fmla="*/ 32973 w 62475"/>
                        <a:gd name="connsiteY11" fmla="*/ 61621 h 61627"/>
                        <a:gd name="connsiteX12" fmla="*/ 31838 w 62475"/>
                        <a:gd name="connsiteY12" fmla="*/ 61628 h 61627"/>
                        <a:gd name="connsiteX13" fmla="*/ 23362 w 62475"/>
                        <a:gd name="connsiteY13" fmla="*/ 12738 h 61627"/>
                        <a:gd name="connsiteX14" fmla="*/ 17642 w 62475"/>
                        <a:gd name="connsiteY14" fmla="*/ 15104 h 61627"/>
                        <a:gd name="connsiteX15" fmla="*/ 12763 w 62475"/>
                        <a:gd name="connsiteY15" fmla="*/ 29524 h 61627"/>
                        <a:gd name="connsiteX16" fmla="*/ 17642 w 62475"/>
                        <a:gd name="connsiteY16" fmla="*/ 44230 h 61627"/>
                        <a:gd name="connsiteX17" fmla="*/ 32654 w 62475"/>
                        <a:gd name="connsiteY17" fmla="*/ 48860 h 61627"/>
                        <a:gd name="connsiteX18" fmla="*/ 47583 w 62475"/>
                        <a:gd name="connsiteY18" fmla="*/ 43739 h 61627"/>
                        <a:gd name="connsiteX19" fmla="*/ 47583 w 62475"/>
                        <a:gd name="connsiteY19" fmla="*/ 43739 h 61627"/>
                        <a:gd name="connsiteX20" fmla="*/ 49063 w 62475"/>
                        <a:gd name="connsiteY20" fmla="*/ 34874 h 61627"/>
                        <a:gd name="connsiteX21" fmla="*/ 40179 w 62475"/>
                        <a:gd name="connsiteY21" fmla="*/ 21686 h 61627"/>
                        <a:gd name="connsiteX22" fmla="*/ 26991 w 62475"/>
                        <a:gd name="connsiteY22" fmla="*/ 13293 h 61627"/>
                        <a:gd name="connsiteX23" fmla="*/ 23362 w 62475"/>
                        <a:gd name="connsiteY23" fmla="*/ 12738 h 6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475" h="61627">
                          <a:moveTo>
                            <a:pt x="31838" y="61628"/>
                          </a:moveTo>
                          <a:cubicBezTo>
                            <a:pt x="22386" y="61628"/>
                            <a:pt x="13968" y="58605"/>
                            <a:pt x="8618" y="53254"/>
                          </a:cubicBezTo>
                          <a:cubicBezTo>
                            <a:pt x="3056" y="47693"/>
                            <a:pt x="-81" y="39001"/>
                            <a:pt x="2" y="29409"/>
                          </a:cubicBezTo>
                          <a:cubicBezTo>
                            <a:pt x="97" y="19977"/>
                            <a:pt x="3229" y="11469"/>
                            <a:pt x="8618" y="6093"/>
                          </a:cubicBezTo>
                          <a:cubicBezTo>
                            <a:pt x="14249" y="456"/>
                            <a:pt x="21997" y="-1349"/>
                            <a:pt x="30415" y="1010"/>
                          </a:cubicBezTo>
                          <a:cubicBezTo>
                            <a:pt x="36787" y="2790"/>
                            <a:pt x="43457" y="6929"/>
                            <a:pt x="49197" y="12675"/>
                          </a:cubicBezTo>
                          <a:cubicBezTo>
                            <a:pt x="53310" y="16782"/>
                            <a:pt x="58718" y="23293"/>
                            <a:pt x="61199" y="30965"/>
                          </a:cubicBezTo>
                          <a:cubicBezTo>
                            <a:pt x="63909" y="39345"/>
                            <a:pt x="62271" y="47087"/>
                            <a:pt x="56595" y="52763"/>
                          </a:cubicBezTo>
                          <a:lnTo>
                            <a:pt x="56595" y="52763"/>
                          </a:lnTo>
                          <a:lnTo>
                            <a:pt x="56595" y="52763"/>
                          </a:lnTo>
                          <a:lnTo>
                            <a:pt x="56595" y="52763"/>
                          </a:lnTo>
                          <a:cubicBezTo>
                            <a:pt x="51295" y="58069"/>
                            <a:pt x="42462" y="61379"/>
                            <a:pt x="32973" y="61621"/>
                          </a:cubicBezTo>
                          <a:cubicBezTo>
                            <a:pt x="32596" y="61621"/>
                            <a:pt x="32220" y="61628"/>
                            <a:pt x="31838" y="61628"/>
                          </a:cubicBezTo>
                          <a:close/>
                          <a:moveTo>
                            <a:pt x="23362" y="12738"/>
                          </a:moveTo>
                          <a:cubicBezTo>
                            <a:pt x="20429" y="12738"/>
                            <a:pt x="18732" y="14008"/>
                            <a:pt x="17642" y="15104"/>
                          </a:cubicBezTo>
                          <a:cubicBezTo>
                            <a:pt x="14689" y="18057"/>
                            <a:pt x="12820" y="23580"/>
                            <a:pt x="12763" y="29524"/>
                          </a:cubicBezTo>
                          <a:cubicBezTo>
                            <a:pt x="12705" y="35627"/>
                            <a:pt x="14529" y="41118"/>
                            <a:pt x="17642" y="44230"/>
                          </a:cubicBezTo>
                          <a:cubicBezTo>
                            <a:pt x="20696" y="47291"/>
                            <a:pt x="26270" y="49090"/>
                            <a:pt x="32654" y="48860"/>
                          </a:cubicBezTo>
                          <a:cubicBezTo>
                            <a:pt x="38865" y="48701"/>
                            <a:pt x="44580" y="46736"/>
                            <a:pt x="47583" y="43739"/>
                          </a:cubicBezTo>
                          <a:lnTo>
                            <a:pt x="47583" y="43739"/>
                          </a:lnTo>
                          <a:cubicBezTo>
                            <a:pt x="49114" y="42208"/>
                            <a:pt x="50657" y="39823"/>
                            <a:pt x="49063" y="34874"/>
                          </a:cubicBezTo>
                          <a:cubicBezTo>
                            <a:pt x="47743" y="30774"/>
                            <a:pt x="44586" y="26086"/>
                            <a:pt x="40179" y="21686"/>
                          </a:cubicBezTo>
                          <a:cubicBezTo>
                            <a:pt x="36028" y="17534"/>
                            <a:pt x="31219" y="14473"/>
                            <a:pt x="26991" y="13293"/>
                          </a:cubicBezTo>
                          <a:cubicBezTo>
                            <a:pt x="25607" y="12898"/>
                            <a:pt x="24408" y="12738"/>
                            <a:pt x="23362" y="12738"/>
                          </a:cubicBezTo>
                          <a:close/>
                        </a:path>
                      </a:pathLst>
                    </a:custGeom>
                    <a:grpFill/>
                    <a:ln w="637" cap="flat">
                      <a:noFill/>
                      <a:prstDash val="solid"/>
                      <a:miter/>
                    </a:ln>
                  </p:spPr>
                  <p:txBody>
                    <a:bodyPr rtlCol="0" anchor="ctr"/>
                    <a:lstStyle/>
                    <a:p>
                      <a:endParaRPr lang="en-GB" dirty="0"/>
                    </a:p>
                  </p:txBody>
                </p:sp>
                <p:sp>
                  <p:nvSpPr>
                    <p:cNvPr id="735" name="Freeform: Shape 734">
                      <a:extLst>
                        <a:ext uri="{FF2B5EF4-FFF2-40B4-BE49-F238E27FC236}">
                          <a16:creationId xmlns:a16="http://schemas.microsoft.com/office/drawing/2014/main" id="{F8815977-B7A8-42C7-9E96-7BA325DC6BF0}"/>
                        </a:ext>
                      </a:extLst>
                    </p:cNvPr>
                    <p:cNvSpPr/>
                    <p:nvPr/>
                  </p:nvSpPr>
                  <p:spPr>
                    <a:xfrm>
                      <a:off x="7763205" y="1716104"/>
                      <a:ext cx="39817" cy="39815"/>
                    </a:xfrm>
                    <a:custGeom>
                      <a:avLst/>
                      <a:gdLst>
                        <a:gd name="connsiteX0" fmla="*/ 6379 w 39817"/>
                        <a:gd name="connsiteY0" fmla="*/ 39816 h 39815"/>
                        <a:gd name="connsiteX1" fmla="*/ 1870 w 39817"/>
                        <a:gd name="connsiteY1" fmla="*/ 37947 h 39815"/>
                        <a:gd name="connsiteX2" fmla="*/ 1870 w 39817"/>
                        <a:gd name="connsiteY2" fmla="*/ 28929 h 39815"/>
                        <a:gd name="connsiteX3" fmla="*/ 28930 w 39817"/>
                        <a:gd name="connsiteY3" fmla="*/ 1870 h 39815"/>
                        <a:gd name="connsiteX4" fmla="*/ 37947 w 39817"/>
                        <a:gd name="connsiteY4" fmla="*/ 1870 h 39815"/>
                        <a:gd name="connsiteX5" fmla="*/ 37947 w 39817"/>
                        <a:gd name="connsiteY5" fmla="*/ 10888 h 39815"/>
                        <a:gd name="connsiteX6" fmla="*/ 10888 w 39817"/>
                        <a:gd name="connsiteY6" fmla="*/ 37947 h 39815"/>
                        <a:gd name="connsiteX7" fmla="*/ 6379 w 39817"/>
                        <a:gd name="connsiteY7" fmla="*/ 39816 h 3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7" h="39815">
                          <a:moveTo>
                            <a:pt x="6379" y="39816"/>
                          </a:moveTo>
                          <a:cubicBezTo>
                            <a:pt x="4747" y="39816"/>
                            <a:pt x="3114" y="39191"/>
                            <a:pt x="1870" y="37947"/>
                          </a:cubicBezTo>
                          <a:cubicBezTo>
                            <a:pt x="-623" y="35454"/>
                            <a:pt x="-623" y="31423"/>
                            <a:pt x="1870" y="28929"/>
                          </a:cubicBezTo>
                          <a:lnTo>
                            <a:pt x="28930" y="1870"/>
                          </a:lnTo>
                          <a:cubicBezTo>
                            <a:pt x="31423" y="-623"/>
                            <a:pt x="35454" y="-623"/>
                            <a:pt x="37947" y="1870"/>
                          </a:cubicBezTo>
                          <a:cubicBezTo>
                            <a:pt x="40441" y="4364"/>
                            <a:pt x="40441" y="8394"/>
                            <a:pt x="37947" y="10888"/>
                          </a:cubicBezTo>
                          <a:lnTo>
                            <a:pt x="10888" y="37947"/>
                          </a:lnTo>
                          <a:cubicBezTo>
                            <a:pt x="9644" y="39197"/>
                            <a:pt x="8012" y="39816"/>
                            <a:pt x="6379" y="39816"/>
                          </a:cubicBezTo>
                          <a:close/>
                        </a:path>
                      </a:pathLst>
                    </a:custGeom>
                    <a:grpFill/>
                    <a:ln w="637" cap="flat">
                      <a:noFill/>
                      <a:prstDash val="solid"/>
                      <a:miter/>
                    </a:ln>
                  </p:spPr>
                  <p:txBody>
                    <a:bodyPr rtlCol="0" anchor="ctr"/>
                    <a:lstStyle/>
                    <a:p>
                      <a:endParaRPr lang="en-GB" dirty="0"/>
                    </a:p>
                  </p:txBody>
                </p:sp>
              </p:grpSp>
              <p:grpSp>
                <p:nvGrpSpPr>
                  <p:cNvPr id="731" name="Graphic 32">
                    <a:extLst>
                      <a:ext uri="{FF2B5EF4-FFF2-40B4-BE49-F238E27FC236}">
                        <a16:creationId xmlns:a16="http://schemas.microsoft.com/office/drawing/2014/main" id="{F210009F-48F5-4F60-9152-F8EEAC75DBF8}"/>
                      </a:ext>
                    </a:extLst>
                  </p:cNvPr>
                  <p:cNvGrpSpPr/>
                  <p:nvPr/>
                </p:nvGrpSpPr>
                <p:grpSpPr>
                  <a:xfrm>
                    <a:off x="7521282" y="1673466"/>
                    <a:ext cx="82803" cy="82166"/>
                    <a:chOff x="7521282" y="1673466"/>
                    <a:chExt cx="82803" cy="82166"/>
                  </a:xfrm>
                  <a:grpFill/>
                </p:grpSpPr>
                <p:sp>
                  <p:nvSpPr>
                    <p:cNvPr id="732" name="Freeform: Shape 731">
                      <a:extLst>
                        <a:ext uri="{FF2B5EF4-FFF2-40B4-BE49-F238E27FC236}">
                          <a16:creationId xmlns:a16="http://schemas.microsoft.com/office/drawing/2014/main" id="{B830C565-6F0C-4EA5-A611-A95B932510B0}"/>
                        </a:ext>
                      </a:extLst>
                    </p:cNvPr>
                    <p:cNvSpPr/>
                    <p:nvPr/>
                  </p:nvSpPr>
                  <p:spPr>
                    <a:xfrm>
                      <a:off x="7521282" y="1673466"/>
                      <a:ext cx="62472" cy="61587"/>
                    </a:xfrm>
                    <a:custGeom>
                      <a:avLst/>
                      <a:gdLst>
                        <a:gd name="connsiteX0" fmla="*/ 30406 w 62472"/>
                        <a:gd name="connsiteY0" fmla="*/ 61587 h 61587"/>
                        <a:gd name="connsiteX1" fmla="*/ 5878 w 62472"/>
                        <a:gd name="connsiteY1" fmla="*/ 52761 h 61587"/>
                        <a:gd name="connsiteX2" fmla="*/ 1274 w 62472"/>
                        <a:gd name="connsiteY2" fmla="*/ 30963 h 61587"/>
                        <a:gd name="connsiteX3" fmla="*/ 13276 w 62472"/>
                        <a:gd name="connsiteY3" fmla="*/ 12672 h 61587"/>
                        <a:gd name="connsiteX4" fmla="*/ 32057 w 62472"/>
                        <a:gd name="connsiteY4" fmla="*/ 1008 h 61587"/>
                        <a:gd name="connsiteX5" fmla="*/ 53855 w 62472"/>
                        <a:gd name="connsiteY5" fmla="*/ 6091 h 61587"/>
                        <a:gd name="connsiteX6" fmla="*/ 62471 w 62472"/>
                        <a:gd name="connsiteY6" fmla="*/ 29407 h 61587"/>
                        <a:gd name="connsiteX7" fmla="*/ 53855 w 62472"/>
                        <a:gd name="connsiteY7" fmla="*/ 53252 h 61587"/>
                        <a:gd name="connsiteX8" fmla="*/ 30406 w 62472"/>
                        <a:gd name="connsiteY8" fmla="*/ 61587 h 61587"/>
                        <a:gd name="connsiteX9" fmla="*/ 39123 w 62472"/>
                        <a:gd name="connsiteY9" fmla="*/ 12749 h 61587"/>
                        <a:gd name="connsiteX10" fmla="*/ 35495 w 62472"/>
                        <a:gd name="connsiteY10" fmla="*/ 13297 h 61587"/>
                        <a:gd name="connsiteX11" fmla="*/ 22306 w 62472"/>
                        <a:gd name="connsiteY11" fmla="*/ 21690 h 61587"/>
                        <a:gd name="connsiteX12" fmla="*/ 13423 w 62472"/>
                        <a:gd name="connsiteY12" fmla="*/ 34879 h 61587"/>
                        <a:gd name="connsiteX13" fmla="*/ 14902 w 62472"/>
                        <a:gd name="connsiteY13" fmla="*/ 43743 h 61587"/>
                        <a:gd name="connsiteX14" fmla="*/ 44844 w 62472"/>
                        <a:gd name="connsiteY14" fmla="*/ 44234 h 61587"/>
                        <a:gd name="connsiteX15" fmla="*/ 49723 w 62472"/>
                        <a:gd name="connsiteY15" fmla="*/ 29528 h 61587"/>
                        <a:gd name="connsiteX16" fmla="*/ 44844 w 62472"/>
                        <a:gd name="connsiteY16" fmla="*/ 15109 h 61587"/>
                        <a:gd name="connsiteX17" fmla="*/ 39123 w 62472"/>
                        <a:gd name="connsiteY17" fmla="*/ 12749 h 6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2472" h="61587">
                          <a:moveTo>
                            <a:pt x="30406" y="61587"/>
                          </a:moveTo>
                          <a:cubicBezTo>
                            <a:pt x="21126" y="61587"/>
                            <a:pt x="11752" y="58634"/>
                            <a:pt x="5878" y="52761"/>
                          </a:cubicBezTo>
                          <a:cubicBezTo>
                            <a:pt x="202" y="47091"/>
                            <a:pt x="-1430" y="39343"/>
                            <a:pt x="1274" y="30963"/>
                          </a:cubicBezTo>
                          <a:cubicBezTo>
                            <a:pt x="3754" y="23284"/>
                            <a:pt x="9162" y="16779"/>
                            <a:pt x="13276" y="12672"/>
                          </a:cubicBezTo>
                          <a:cubicBezTo>
                            <a:pt x="19016" y="6933"/>
                            <a:pt x="25686" y="2787"/>
                            <a:pt x="32057" y="1008"/>
                          </a:cubicBezTo>
                          <a:cubicBezTo>
                            <a:pt x="40475" y="-1351"/>
                            <a:pt x="48224" y="466"/>
                            <a:pt x="53855" y="6091"/>
                          </a:cubicBezTo>
                          <a:cubicBezTo>
                            <a:pt x="59244" y="11473"/>
                            <a:pt x="62375" y="19975"/>
                            <a:pt x="62471" y="29407"/>
                          </a:cubicBezTo>
                          <a:cubicBezTo>
                            <a:pt x="62560" y="38998"/>
                            <a:pt x="59416" y="47691"/>
                            <a:pt x="53855" y="53252"/>
                          </a:cubicBezTo>
                          <a:cubicBezTo>
                            <a:pt x="48300" y="58819"/>
                            <a:pt x="39398" y="61587"/>
                            <a:pt x="30406" y="61587"/>
                          </a:cubicBezTo>
                          <a:close/>
                          <a:moveTo>
                            <a:pt x="39123" y="12749"/>
                          </a:moveTo>
                          <a:cubicBezTo>
                            <a:pt x="38077" y="12749"/>
                            <a:pt x="36879" y="12908"/>
                            <a:pt x="35495" y="13297"/>
                          </a:cubicBezTo>
                          <a:cubicBezTo>
                            <a:pt x="31266" y="14477"/>
                            <a:pt x="26458" y="17538"/>
                            <a:pt x="22306" y="21690"/>
                          </a:cubicBezTo>
                          <a:cubicBezTo>
                            <a:pt x="17906" y="26090"/>
                            <a:pt x="14743" y="30778"/>
                            <a:pt x="13423" y="34879"/>
                          </a:cubicBezTo>
                          <a:cubicBezTo>
                            <a:pt x="11828" y="39827"/>
                            <a:pt x="13371" y="42213"/>
                            <a:pt x="14902" y="43743"/>
                          </a:cubicBezTo>
                          <a:cubicBezTo>
                            <a:pt x="21043" y="49878"/>
                            <a:pt x="37880" y="51198"/>
                            <a:pt x="44844" y="44234"/>
                          </a:cubicBezTo>
                          <a:cubicBezTo>
                            <a:pt x="47950" y="41122"/>
                            <a:pt x="49774" y="35625"/>
                            <a:pt x="49723" y="29528"/>
                          </a:cubicBezTo>
                          <a:cubicBezTo>
                            <a:pt x="49665" y="23584"/>
                            <a:pt x="47797" y="18061"/>
                            <a:pt x="44844" y="15109"/>
                          </a:cubicBezTo>
                          <a:cubicBezTo>
                            <a:pt x="43747" y="14018"/>
                            <a:pt x="42057" y="12749"/>
                            <a:pt x="39123" y="12749"/>
                          </a:cubicBezTo>
                          <a:close/>
                        </a:path>
                      </a:pathLst>
                    </a:custGeom>
                    <a:grpFill/>
                    <a:ln w="637" cap="flat">
                      <a:noFill/>
                      <a:prstDash val="solid"/>
                      <a:miter/>
                    </a:ln>
                  </p:spPr>
                  <p:txBody>
                    <a:bodyPr rtlCol="0" anchor="ctr"/>
                    <a:lstStyle/>
                    <a:p>
                      <a:endParaRPr lang="en-GB" dirty="0"/>
                    </a:p>
                  </p:txBody>
                </p:sp>
                <p:sp>
                  <p:nvSpPr>
                    <p:cNvPr id="733" name="Freeform: Shape 732">
                      <a:extLst>
                        <a:ext uri="{FF2B5EF4-FFF2-40B4-BE49-F238E27FC236}">
                          <a16:creationId xmlns:a16="http://schemas.microsoft.com/office/drawing/2014/main" id="{E119E91A-C073-49DA-8581-FD7B821C6B61}"/>
                        </a:ext>
                      </a:extLst>
                    </p:cNvPr>
                    <p:cNvSpPr/>
                    <p:nvPr/>
                  </p:nvSpPr>
                  <p:spPr>
                    <a:xfrm>
                      <a:off x="7564268" y="1715817"/>
                      <a:ext cx="39817" cy="39815"/>
                    </a:xfrm>
                    <a:custGeom>
                      <a:avLst/>
                      <a:gdLst>
                        <a:gd name="connsiteX0" fmla="*/ 33438 w 39817"/>
                        <a:gd name="connsiteY0" fmla="*/ 39816 h 39815"/>
                        <a:gd name="connsiteX1" fmla="*/ 28929 w 39817"/>
                        <a:gd name="connsiteY1" fmla="*/ 37947 h 39815"/>
                        <a:gd name="connsiteX2" fmla="*/ 1870 w 39817"/>
                        <a:gd name="connsiteY2" fmla="*/ 10888 h 39815"/>
                        <a:gd name="connsiteX3" fmla="*/ 1870 w 39817"/>
                        <a:gd name="connsiteY3" fmla="*/ 1870 h 39815"/>
                        <a:gd name="connsiteX4" fmla="*/ 10888 w 39817"/>
                        <a:gd name="connsiteY4" fmla="*/ 1870 h 39815"/>
                        <a:gd name="connsiteX5" fmla="*/ 37947 w 39817"/>
                        <a:gd name="connsiteY5" fmla="*/ 28929 h 39815"/>
                        <a:gd name="connsiteX6" fmla="*/ 37947 w 39817"/>
                        <a:gd name="connsiteY6" fmla="*/ 37947 h 39815"/>
                        <a:gd name="connsiteX7" fmla="*/ 33438 w 39817"/>
                        <a:gd name="connsiteY7" fmla="*/ 39816 h 3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7" h="39815">
                          <a:moveTo>
                            <a:pt x="33438" y="39816"/>
                          </a:moveTo>
                          <a:cubicBezTo>
                            <a:pt x="31806" y="39816"/>
                            <a:pt x="30173" y="39191"/>
                            <a:pt x="28929" y="37947"/>
                          </a:cubicBezTo>
                          <a:lnTo>
                            <a:pt x="1870" y="10888"/>
                          </a:lnTo>
                          <a:cubicBezTo>
                            <a:pt x="-623" y="8394"/>
                            <a:pt x="-623" y="4364"/>
                            <a:pt x="1870" y="1870"/>
                          </a:cubicBezTo>
                          <a:cubicBezTo>
                            <a:pt x="4364" y="-623"/>
                            <a:pt x="8394" y="-623"/>
                            <a:pt x="10888" y="1870"/>
                          </a:cubicBezTo>
                          <a:lnTo>
                            <a:pt x="37947" y="28929"/>
                          </a:lnTo>
                          <a:cubicBezTo>
                            <a:pt x="40441" y="31423"/>
                            <a:pt x="40441" y="35454"/>
                            <a:pt x="37947" y="37947"/>
                          </a:cubicBezTo>
                          <a:cubicBezTo>
                            <a:pt x="36703" y="39197"/>
                            <a:pt x="35071" y="39816"/>
                            <a:pt x="33438" y="39816"/>
                          </a:cubicBezTo>
                          <a:close/>
                        </a:path>
                      </a:pathLst>
                    </a:custGeom>
                    <a:grpFill/>
                    <a:ln w="637" cap="flat">
                      <a:noFill/>
                      <a:prstDash val="solid"/>
                      <a:miter/>
                    </a:ln>
                  </p:spPr>
                  <p:txBody>
                    <a:bodyPr rtlCol="0" anchor="ctr"/>
                    <a:lstStyle/>
                    <a:p>
                      <a:endParaRPr lang="en-GB" dirty="0"/>
                    </a:p>
                  </p:txBody>
                </p:sp>
              </p:grpSp>
            </p:grpSp>
            <p:grpSp>
              <p:nvGrpSpPr>
                <p:cNvPr id="715" name="Graphic 32">
                  <a:extLst>
                    <a:ext uri="{FF2B5EF4-FFF2-40B4-BE49-F238E27FC236}">
                      <a16:creationId xmlns:a16="http://schemas.microsoft.com/office/drawing/2014/main" id="{8EE1EC16-BB1E-44EC-8B5D-0720E2FEA997}"/>
                    </a:ext>
                  </a:extLst>
                </p:cNvPr>
                <p:cNvGrpSpPr/>
                <p:nvPr/>
              </p:nvGrpSpPr>
              <p:grpSpPr>
                <a:xfrm>
                  <a:off x="7650205" y="1914798"/>
                  <a:ext cx="195769" cy="131261"/>
                  <a:chOff x="7650205" y="1914798"/>
                  <a:chExt cx="195769" cy="131261"/>
                </a:xfrm>
                <a:grpFill/>
              </p:grpSpPr>
              <p:grpSp>
                <p:nvGrpSpPr>
                  <p:cNvPr id="723" name="Graphic 32">
                    <a:extLst>
                      <a:ext uri="{FF2B5EF4-FFF2-40B4-BE49-F238E27FC236}">
                        <a16:creationId xmlns:a16="http://schemas.microsoft.com/office/drawing/2014/main" id="{17229A88-3F51-49B6-972C-2CDDBF20F957}"/>
                      </a:ext>
                    </a:extLst>
                  </p:cNvPr>
                  <p:cNvGrpSpPr/>
                  <p:nvPr/>
                </p:nvGrpSpPr>
                <p:grpSpPr>
                  <a:xfrm>
                    <a:off x="7650205" y="1950398"/>
                    <a:ext cx="66930" cy="95660"/>
                    <a:chOff x="7650205" y="1950398"/>
                    <a:chExt cx="66930" cy="95660"/>
                  </a:xfrm>
                  <a:grpFill/>
                </p:grpSpPr>
                <p:sp>
                  <p:nvSpPr>
                    <p:cNvPr id="727" name="Freeform: Shape 726">
                      <a:extLst>
                        <a:ext uri="{FF2B5EF4-FFF2-40B4-BE49-F238E27FC236}">
                          <a16:creationId xmlns:a16="http://schemas.microsoft.com/office/drawing/2014/main" id="{FA9DC564-06F0-41A4-938A-A90A279EA2BF}"/>
                        </a:ext>
                      </a:extLst>
                    </p:cNvPr>
                    <p:cNvSpPr/>
                    <p:nvPr/>
                  </p:nvSpPr>
                  <p:spPr>
                    <a:xfrm>
                      <a:off x="7650205" y="1988663"/>
                      <a:ext cx="66930" cy="57396"/>
                    </a:xfrm>
                    <a:custGeom>
                      <a:avLst/>
                      <a:gdLst>
                        <a:gd name="connsiteX0" fmla="*/ 33347 w 66930"/>
                        <a:gd name="connsiteY0" fmla="*/ 57397 h 57396"/>
                        <a:gd name="connsiteX1" fmla="*/ 0 w 66930"/>
                        <a:gd name="connsiteY1" fmla="*/ 33347 h 57396"/>
                        <a:gd name="connsiteX2" fmla="*/ 33347 w 66930"/>
                        <a:gd name="connsiteY2" fmla="*/ 0 h 57396"/>
                        <a:gd name="connsiteX3" fmla="*/ 66931 w 66930"/>
                        <a:gd name="connsiteY3" fmla="*/ 34278 h 57396"/>
                        <a:gd name="connsiteX4" fmla="*/ 33347 w 66930"/>
                        <a:gd name="connsiteY4" fmla="*/ 57397 h 57396"/>
                        <a:gd name="connsiteX5" fmla="*/ 33347 w 66930"/>
                        <a:gd name="connsiteY5" fmla="*/ 12755 h 57396"/>
                        <a:gd name="connsiteX6" fmla="*/ 12755 w 66930"/>
                        <a:gd name="connsiteY6" fmla="*/ 33347 h 57396"/>
                        <a:gd name="connsiteX7" fmla="*/ 33347 w 66930"/>
                        <a:gd name="connsiteY7" fmla="*/ 44642 h 57396"/>
                        <a:gd name="connsiteX8" fmla="*/ 54176 w 66930"/>
                        <a:gd name="connsiteY8" fmla="*/ 34278 h 57396"/>
                        <a:gd name="connsiteX9" fmla="*/ 33347 w 66930"/>
                        <a:gd name="connsiteY9" fmla="*/ 12755 h 5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930" h="57396">
                          <a:moveTo>
                            <a:pt x="33347" y="57397"/>
                          </a:moveTo>
                          <a:cubicBezTo>
                            <a:pt x="16747" y="57397"/>
                            <a:pt x="0" y="49960"/>
                            <a:pt x="0" y="33347"/>
                          </a:cubicBezTo>
                          <a:cubicBezTo>
                            <a:pt x="0" y="17142"/>
                            <a:pt x="17143" y="0"/>
                            <a:pt x="33347" y="0"/>
                          </a:cubicBezTo>
                          <a:cubicBezTo>
                            <a:pt x="49355" y="0"/>
                            <a:pt x="66931" y="17940"/>
                            <a:pt x="66931" y="34278"/>
                          </a:cubicBezTo>
                          <a:cubicBezTo>
                            <a:pt x="66931" y="48321"/>
                            <a:pt x="53749" y="57397"/>
                            <a:pt x="33347" y="57397"/>
                          </a:cubicBezTo>
                          <a:close/>
                          <a:moveTo>
                            <a:pt x="33347" y="12755"/>
                          </a:moveTo>
                          <a:cubicBezTo>
                            <a:pt x="24107" y="12755"/>
                            <a:pt x="12755" y="24107"/>
                            <a:pt x="12755" y="33347"/>
                          </a:cubicBezTo>
                          <a:cubicBezTo>
                            <a:pt x="12755" y="42282"/>
                            <a:pt x="26224" y="44642"/>
                            <a:pt x="33347" y="44642"/>
                          </a:cubicBezTo>
                          <a:cubicBezTo>
                            <a:pt x="35478" y="44642"/>
                            <a:pt x="54176" y="44355"/>
                            <a:pt x="54176" y="34278"/>
                          </a:cubicBezTo>
                          <a:cubicBezTo>
                            <a:pt x="54176" y="25777"/>
                            <a:pt x="43003" y="12755"/>
                            <a:pt x="33347" y="12755"/>
                          </a:cubicBezTo>
                          <a:close/>
                        </a:path>
                      </a:pathLst>
                    </a:custGeom>
                    <a:grpFill/>
                    <a:ln w="637" cap="flat">
                      <a:noFill/>
                      <a:prstDash val="solid"/>
                      <a:miter/>
                    </a:ln>
                  </p:spPr>
                  <p:txBody>
                    <a:bodyPr rtlCol="0" anchor="ctr"/>
                    <a:lstStyle/>
                    <a:p>
                      <a:endParaRPr lang="en-GB" dirty="0"/>
                    </a:p>
                  </p:txBody>
                </p:sp>
                <p:sp>
                  <p:nvSpPr>
                    <p:cNvPr id="728" name="Freeform: Shape 727">
                      <a:extLst>
                        <a:ext uri="{FF2B5EF4-FFF2-40B4-BE49-F238E27FC236}">
                          <a16:creationId xmlns:a16="http://schemas.microsoft.com/office/drawing/2014/main" id="{D4384BA2-5097-42C2-B0B1-E4399095300E}"/>
                        </a:ext>
                      </a:extLst>
                    </p:cNvPr>
                    <p:cNvSpPr/>
                    <p:nvPr/>
                  </p:nvSpPr>
                  <p:spPr>
                    <a:xfrm>
                      <a:off x="7677156" y="1950398"/>
                      <a:ext cx="12754" cy="51019"/>
                    </a:xfrm>
                    <a:custGeom>
                      <a:avLst/>
                      <a:gdLst>
                        <a:gd name="connsiteX0" fmla="*/ 6377 w 12754"/>
                        <a:gd name="connsiteY0" fmla="*/ 51019 h 51019"/>
                        <a:gd name="connsiteX1" fmla="*/ 0 w 12754"/>
                        <a:gd name="connsiteY1" fmla="*/ 44642 h 51019"/>
                        <a:gd name="connsiteX2" fmla="*/ 0 w 12754"/>
                        <a:gd name="connsiteY2" fmla="*/ 6377 h 51019"/>
                        <a:gd name="connsiteX3" fmla="*/ 6377 w 12754"/>
                        <a:gd name="connsiteY3" fmla="*/ 0 h 51019"/>
                        <a:gd name="connsiteX4" fmla="*/ 12755 w 12754"/>
                        <a:gd name="connsiteY4" fmla="*/ 6377 h 51019"/>
                        <a:gd name="connsiteX5" fmla="*/ 12755 w 12754"/>
                        <a:gd name="connsiteY5" fmla="*/ 44642 h 51019"/>
                        <a:gd name="connsiteX6" fmla="*/ 6377 w 12754"/>
                        <a:gd name="connsiteY6" fmla="*/ 51019 h 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51019">
                          <a:moveTo>
                            <a:pt x="6377" y="51019"/>
                          </a:moveTo>
                          <a:cubicBezTo>
                            <a:pt x="2851" y="51019"/>
                            <a:pt x="0" y="48162"/>
                            <a:pt x="0" y="44642"/>
                          </a:cubicBezTo>
                          <a:lnTo>
                            <a:pt x="0" y="6377"/>
                          </a:lnTo>
                          <a:cubicBezTo>
                            <a:pt x="0" y="2857"/>
                            <a:pt x="2851" y="0"/>
                            <a:pt x="6377" y="0"/>
                          </a:cubicBezTo>
                          <a:cubicBezTo>
                            <a:pt x="9904" y="0"/>
                            <a:pt x="12755" y="2857"/>
                            <a:pt x="12755" y="6377"/>
                          </a:cubicBezTo>
                          <a:lnTo>
                            <a:pt x="12755" y="44642"/>
                          </a:lnTo>
                          <a:cubicBezTo>
                            <a:pt x="12755" y="48162"/>
                            <a:pt x="9904" y="51019"/>
                            <a:pt x="6377" y="51019"/>
                          </a:cubicBezTo>
                          <a:close/>
                        </a:path>
                      </a:pathLst>
                    </a:custGeom>
                    <a:grpFill/>
                    <a:ln w="637" cap="flat">
                      <a:noFill/>
                      <a:prstDash val="solid"/>
                      <a:miter/>
                    </a:ln>
                  </p:spPr>
                  <p:txBody>
                    <a:bodyPr rtlCol="0" anchor="ctr"/>
                    <a:lstStyle/>
                    <a:p>
                      <a:endParaRPr lang="en-GB" dirty="0"/>
                    </a:p>
                  </p:txBody>
                </p:sp>
              </p:grpSp>
              <p:grpSp>
                <p:nvGrpSpPr>
                  <p:cNvPr id="724" name="Graphic 32">
                    <a:extLst>
                      <a:ext uri="{FF2B5EF4-FFF2-40B4-BE49-F238E27FC236}">
                        <a16:creationId xmlns:a16="http://schemas.microsoft.com/office/drawing/2014/main" id="{AF35E066-780B-42DC-89C4-847C772B3FE5}"/>
                      </a:ext>
                    </a:extLst>
                  </p:cNvPr>
                  <p:cNvGrpSpPr/>
                  <p:nvPr/>
                </p:nvGrpSpPr>
                <p:grpSpPr>
                  <a:xfrm>
                    <a:off x="7763211" y="1914798"/>
                    <a:ext cx="82763" cy="82174"/>
                    <a:chOff x="7763211" y="1914798"/>
                    <a:chExt cx="82763" cy="82174"/>
                  </a:xfrm>
                  <a:grpFill/>
                </p:grpSpPr>
                <p:sp>
                  <p:nvSpPr>
                    <p:cNvPr id="725" name="Freeform: Shape 724">
                      <a:extLst>
                        <a:ext uri="{FF2B5EF4-FFF2-40B4-BE49-F238E27FC236}">
                          <a16:creationId xmlns:a16="http://schemas.microsoft.com/office/drawing/2014/main" id="{2A51E0C8-B02D-410E-8251-2854667AE6B3}"/>
                        </a:ext>
                      </a:extLst>
                    </p:cNvPr>
                    <p:cNvSpPr/>
                    <p:nvPr/>
                  </p:nvSpPr>
                  <p:spPr>
                    <a:xfrm>
                      <a:off x="7783536" y="1935339"/>
                      <a:ext cx="62438" cy="61633"/>
                    </a:xfrm>
                    <a:custGeom>
                      <a:avLst/>
                      <a:gdLst>
                        <a:gd name="connsiteX0" fmla="*/ 23381 w 62438"/>
                        <a:gd name="connsiteY0" fmla="*/ 61633 h 61633"/>
                        <a:gd name="connsiteX1" fmla="*/ 8618 w 62438"/>
                        <a:gd name="connsiteY1" fmla="*/ 55536 h 61633"/>
                        <a:gd name="connsiteX2" fmla="*/ 2 w 62438"/>
                        <a:gd name="connsiteY2" fmla="*/ 32221 h 61633"/>
                        <a:gd name="connsiteX3" fmla="*/ 8618 w 62438"/>
                        <a:gd name="connsiteY3" fmla="*/ 8376 h 61633"/>
                        <a:gd name="connsiteX4" fmla="*/ 32973 w 62438"/>
                        <a:gd name="connsiteY4" fmla="*/ 15 h 61633"/>
                        <a:gd name="connsiteX5" fmla="*/ 56595 w 62438"/>
                        <a:gd name="connsiteY5" fmla="*/ 8867 h 61633"/>
                        <a:gd name="connsiteX6" fmla="*/ 56595 w 62438"/>
                        <a:gd name="connsiteY6" fmla="*/ 8867 h 61633"/>
                        <a:gd name="connsiteX7" fmla="*/ 56595 w 62438"/>
                        <a:gd name="connsiteY7" fmla="*/ 8867 h 61633"/>
                        <a:gd name="connsiteX8" fmla="*/ 49197 w 62438"/>
                        <a:gd name="connsiteY8" fmla="*/ 48961 h 61633"/>
                        <a:gd name="connsiteX9" fmla="*/ 30416 w 62438"/>
                        <a:gd name="connsiteY9" fmla="*/ 60626 h 61633"/>
                        <a:gd name="connsiteX10" fmla="*/ 23381 w 62438"/>
                        <a:gd name="connsiteY10" fmla="*/ 61633 h 61633"/>
                        <a:gd name="connsiteX11" fmla="*/ 31831 w 62438"/>
                        <a:gd name="connsiteY11" fmla="*/ 12750 h 61633"/>
                        <a:gd name="connsiteX12" fmla="*/ 17629 w 62438"/>
                        <a:gd name="connsiteY12" fmla="*/ 17393 h 61633"/>
                        <a:gd name="connsiteX13" fmla="*/ 12750 w 62438"/>
                        <a:gd name="connsiteY13" fmla="*/ 32099 h 61633"/>
                        <a:gd name="connsiteX14" fmla="*/ 17629 w 62438"/>
                        <a:gd name="connsiteY14" fmla="*/ 46519 h 61633"/>
                        <a:gd name="connsiteX15" fmla="*/ 26985 w 62438"/>
                        <a:gd name="connsiteY15" fmla="*/ 48336 h 61633"/>
                        <a:gd name="connsiteX16" fmla="*/ 40173 w 62438"/>
                        <a:gd name="connsiteY16" fmla="*/ 39944 h 61633"/>
                        <a:gd name="connsiteX17" fmla="*/ 47571 w 62438"/>
                        <a:gd name="connsiteY17" fmla="*/ 17884 h 61633"/>
                        <a:gd name="connsiteX18" fmla="*/ 47571 w 62438"/>
                        <a:gd name="connsiteY18" fmla="*/ 17884 h 61633"/>
                        <a:gd name="connsiteX19" fmla="*/ 32641 w 62438"/>
                        <a:gd name="connsiteY19" fmla="*/ 12763 h 61633"/>
                        <a:gd name="connsiteX20" fmla="*/ 31831 w 62438"/>
                        <a:gd name="connsiteY20" fmla="*/ 12750 h 6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438" h="61633">
                          <a:moveTo>
                            <a:pt x="23381" y="61633"/>
                          </a:moveTo>
                          <a:cubicBezTo>
                            <a:pt x="17731" y="61633"/>
                            <a:pt x="12629" y="59561"/>
                            <a:pt x="8618" y="55536"/>
                          </a:cubicBezTo>
                          <a:cubicBezTo>
                            <a:pt x="3229" y="50154"/>
                            <a:pt x="97" y="41653"/>
                            <a:pt x="2" y="32221"/>
                          </a:cubicBezTo>
                          <a:cubicBezTo>
                            <a:pt x="-88" y="22629"/>
                            <a:pt x="3057" y="13937"/>
                            <a:pt x="8618" y="8376"/>
                          </a:cubicBezTo>
                          <a:cubicBezTo>
                            <a:pt x="14179" y="2808"/>
                            <a:pt x="23133" y="-240"/>
                            <a:pt x="32973" y="15"/>
                          </a:cubicBezTo>
                          <a:cubicBezTo>
                            <a:pt x="42463" y="257"/>
                            <a:pt x="51295" y="3567"/>
                            <a:pt x="56595" y="8867"/>
                          </a:cubicBezTo>
                          <a:lnTo>
                            <a:pt x="56595" y="8867"/>
                          </a:lnTo>
                          <a:lnTo>
                            <a:pt x="56595" y="8867"/>
                          </a:lnTo>
                          <a:cubicBezTo>
                            <a:pt x="66531" y="18796"/>
                            <a:pt x="63623" y="34536"/>
                            <a:pt x="49197" y="48961"/>
                          </a:cubicBezTo>
                          <a:cubicBezTo>
                            <a:pt x="43457" y="54701"/>
                            <a:pt x="36786" y="58846"/>
                            <a:pt x="30416" y="60626"/>
                          </a:cubicBezTo>
                          <a:cubicBezTo>
                            <a:pt x="28005" y="61295"/>
                            <a:pt x="25645" y="61633"/>
                            <a:pt x="23381" y="61633"/>
                          </a:cubicBezTo>
                          <a:close/>
                          <a:moveTo>
                            <a:pt x="31831" y="12750"/>
                          </a:moveTo>
                          <a:cubicBezTo>
                            <a:pt x="25830" y="12750"/>
                            <a:pt x="20556" y="14466"/>
                            <a:pt x="17629" y="17393"/>
                          </a:cubicBezTo>
                          <a:cubicBezTo>
                            <a:pt x="14523" y="20505"/>
                            <a:pt x="12699" y="26003"/>
                            <a:pt x="12750" y="32099"/>
                          </a:cubicBezTo>
                          <a:cubicBezTo>
                            <a:pt x="12808" y="38043"/>
                            <a:pt x="14676" y="43566"/>
                            <a:pt x="17629" y="46519"/>
                          </a:cubicBezTo>
                          <a:cubicBezTo>
                            <a:pt x="19115" y="48005"/>
                            <a:pt x="21704" y="49816"/>
                            <a:pt x="26985" y="48336"/>
                          </a:cubicBezTo>
                          <a:cubicBezTo>
                            <a:pt x="31213" y="47156"/>
                            <a:pt x="36021" y="44095"/>
                            <a:pt x="40173" y="39944"/>
                          </a:cubicBezTo>
                          <a:cubicBezTo>
                            <a:pt x="41678" y="38439"/>
                            <a:pt x="54694" y="25008"/>
                            <a:pt x="47571" y="17884"/>
                          </a:cubicBezTo>
                          <a:lnTo>
                            <a:pt x="47571" y="17884"/>
                          </a:lnTo>
                          <a:cubicBezTo>
                            <a:pt x="44567" y="14881"/>
                            <a:pt x="38853" y="12923"/>
                            <a:pt x="32641" y="12763"/>
                          </a:cubicBezTo>
                          <a:cubicBezTo>
                            <a:pt x="32373" y="12757"/>
                            <a:pt x="32099" y="12750"/>
                            <a:pt x="31831" y="12750"/>
                          </a:cubicBezTo>
                          <a:close/>
                        </a:path>
                      </a:pathLst>
                    </a:custGeom>
                    <a:grpFill/>
                    <a:ln w="637" cap="flat">
                      <a:noFill/>
                      <a:prstDash val="solid"/>
                      <a:miter/>
                    </a:ln>
                  </p:spPr>
                  <p:txBody>
                    <a:bodyPr rtlCol="0" anchor="ctr"/>
                    <a:lstStyle/>
                    <a:p>
                      <a:endParaRPr lang="en-GB" dirty="0"/>
                    </a:p>
                  </p:txBody>
                </p:sp>
                <p:sp>
                  <p:nvSpPr>
                    <p:cNvPr id="726" name="Freeform: Shape 725">
                      <a:extLst>
                        <a:ext uri="{FF2B5EF4-FFF2-40B4-BE49-F238E27FC236}">
                          <a16:creationId xmlns:a16="http://schemas.microsoft.com/office/drawing/2014/main" id="{A0B0454E-C0E9-4848-9661-3E0CA15AAB74}"/>
                        </a:ext>
                      </a:extLst>
                    </p:cNvPr>
                    <p:cNvSpPr/>
                    <p:nvPr/>
                  </p:nvSpPr>
                  <p:spPr>
                    <a:xfrm>
                      <a:off x="7763211" y="1914798"/>
                      <a:ext cx="39817" cy="39815"/>
                    </a:xfrm>
                    <a:custGeom>
                      <a:avLst/>
                      <a:gdLst>
                        <a:gd name="connsiteX0" fmla="*/ 33438 w 39817"/>
                        <a:gd name="connsiteY0" fmla="*/ 39816 h 39815"/>
                        <a:gd name="connsiteX1" fmla="*/ 28929 w 39817"/>
                        <a:gd name="connsiteY1" fmla="*/ 37947 h 39815"/>
                        <a:gd name="connsiteX2" fmla="*/ 1870 w 39817"/>
                        <a:gd name="connsiteY2" fmla="*/ 10888 h 39815"/>
                        <a:gd name="connsiteX3" fmla="*/ 1870 w 39817"/>
                        <a:gd name="connsiteY3" fmla="*/ 1870 h 39815"/>
                        <a:gd name="connsiteX4" fmla="*/ 10888 w 39817"/>
                        <a:gd name="connsiteY4" fmla="*/ 1870 h 39815"/>
                        <a:gd name="connsiteX5" fmla="*/ 37947 w 39817"/>
                        <a:gd name="connsiteY5" fmla="*/ 28929 h 39815"/>
                        <a:gd name="connsiteX6" fmla="*/ 37947 w 39817"/>
                        <a:gd name="connsiteY6" fmla="*/ 37947 h 39815"/>
                        <a:gd name="connsiteX7" fmla="*/ 33438 w 39817"/>
                        <a:gd name="connsiteY7" fmla="*/ 39816 h 3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7" h="39815">
                          <a:moveTo>
                            <a:pt x="33438" y="39816"/>
                          </a:moveTo>
                          <a:cubicBezTo>
                            <a:pt x="31806" y="39816"/>
                            <a:pt x="30173" y="39191"/>
                            <a:pt x="28929" y="37947"/>
                          </a:cubicBezTo>
                          <a:lnTo>
                            <a:pt x="1870" y="10888"/>
                          </a:lnTo>
                          <a:cubicBezTo>
                            <a:pt x="-623" y="8394"/>
                            <a:pt x="-623" y="4364"/>
                            <a:pt x="1870" y="1870"/>
                          </a:cubicBezTo>
                          <a:cubicBezTo>
                            <a:pt x="4364" y="-623"/>
                            <a:pt x="8394" y="-623"/>
                            <a:pt x="10888" y="1870"/>
                          </a:cubicBezTo>
                          <a:lnTo>
                            <a:pt x="37947" y="28929"/>
                          </a:lnTo>
                          <a:cubicBezTo>
                            <a:pt x="40441" y="31423"/>
                            <a:pt x="40441" y="35454"/>
                            <a:pt x="37947" y="37947"/>
                          </a:cubicBezTo>
                          <a:cubicBezTo>
                            <a:pt x="36697" y="39191"/>
                            <a:pt x="35064" y="39816"/>
                            <a:pt x="33438" y="39816"/>
                          </a:cubicBezTo>
                          <a:close/>
                        </a:path>
                      </a:pathLst>
                    </a:custGeom>
                    <a:grpFill/>
                    <a:ln w="637" cap="flat">
                      <a:noFill/>
                      <a:prstDash val="solid"/>
                      <a:miter/>
                    </a:ln>
                  </p:spPr>
                  <p:txBody>
                    <a:bodyPr rtlCol="0" anchor="ctr"/>
                    <a:lstStyle/>
                    <a:p>
                      <a:endParaRPr lang="en-GB" dirty="0"/>
                    </a:p>
                  </p:txBody>
                </p:sp>
              </p:grpSp>
            </p:grpSp>
            <p:sp>
              <p:nvSpPr>
                <p:cNvPr id="716" name="Freeform: Shape 715">
                  <a:extLst>
                    <a:ext uri="{FF2B5EF4-FFF2-40B4-BE49-F238E27FC236}">
                      <a16:creationId xmlns:a16="http://schemas.microsoft.com/office/drawing/2014/main" id="{AAC2FCE8-030B-4ED8-B8CE-B554E9FB09A1}"/>
                    </a:ext>
                  </a:extLst>
                </p:cNvPr>
                <p:cNvSpPr/>
                <p:nvPr/>
              </p:nvSpPr>
              <p:spPr>
                <a:xfrm>
                  <a:off x="7727734" y="1939711"/>
                  <a:ext cx="22425" cy="33792"/>
                </a:xfrm>
                <a:custGeom>
                  <a:avLst/>
                  <a:gdLst>
                    <a:gd name="connsiteX0" fmla="*/ 16053 w 22425"/>
                    <a:gd name="connsiteY0" fmla="*/ 33792 h 33792"/>
                    <a:gd name="connsiteX1" fmla="*/ 10250 w 22425"/>
                    <a:gd name="connsiteY1" fmla="*/ 30074 h 33792"/>
                    <a:gd name="connsiteX2" fmla="*/ 581 w 22425"/>
                    <a:gd name="connsiteY2" fmla="*/ 9035 h 33792"/>
                    <a:gd name="connsiteX3" fmla="*/ 3719 w 22425"/>
                    <a:gd name="connsiteY3" fmla="*/ 579 h 33792"/>
                    <a:gd name="connsiteX4" fmla="*/ 12176 w 22425"/>
                    <a:gd name="connsiteY4" fmla="*/ 3710 h 33792"/>
                    <a:gd name="connsiteX5" fmla="*/ 21844 w 22425"/>
                    <a:gd name="connsiteY5" fmla="*/ 24749 h 33792"/>
                    <a:gd name="connsiteX6" fmla="*/ 18706 w 22425"/>
                    <a:gd name="connsiteY6" fmla="*/ 33206 h 33792"/>
                    <a:gd name="connsiteX7" fmla="*/ 16053 w 22425"/>
                    <a:gd name="connsiteY7" fmla="*/ 33792 h 33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25" h="33792">
                      <a:moveTo>
                        <a:pt x="16053" y="33792"/>
                      </a:moveTo>
                      <a:cubicBezTo>
                        <a:pt x="13636" y="33792"/>
                        <a:pt x="11327" y="32415"/>
                        <a:pt x="10250" y="30074"/>
                      </a:cubicBezTo>
                      <a:lnTo>
                        <a:pt x="581" y="9035"/>
                      </a:lnTo>
                      <a:cubicBezTo>
                        <a:pt x="-885" y="5834"/>
                        <a:pt x="518" y="2046"/>
                        <a:pt x="3719" y="579"/>
                      </a:cubicBezTo>
                      <a:cubicBezTo>
                        <a:pt x="6908" y="-881"/>
                        <a:pt x="10702" y="515"/>
                        <a:pt x="12176" y="3710"/>
                      </a:cubicBezTo>
                      <a:lnTo>
                        <a:pt x="21844" y="24749"/>
                      </a:lnTo>
                      <a:cubicBezTo>
                        <a:pt x="23311" y="27951"/>
                        <a:pt x="21907" y="31739"/>
                        <a:pt x="18706" y="33206"/>
                      </a:cubicBezTo>
                      <a:cubicBezTo>
                        <a:pt x="17845" y="33607"/>
                        <a:pt x="16940" y="33792"/>
                        <a:pt x="16053" y="33792"/>
                      </a:cubicBezTo>
                      <a:close/>
                    </a:path>
                  </a:pathLst>
                </a:custGeom>
                <a:grpFill/>
                <a:ln w="637" cap="flat">
                  <a:noFill/>
                  <a:prstDash val="solid"/>
                  <a:miter/>
                </a:ln>
              </p:spPr>
              <p:txBody>
                <a:bodyPr rtlCol="0" anchor="ctr"/>
                <a:lstStyle/>
                <a:p>
                  <a:endParaRPr lang="en-GB" dirty="0"/>
                </a:p>
              </p:txBody>
            </p:sp>
            <p:sp>
              <p:nvSpPr>
                <p:cNvPr id="717" name="Freeform: Shape 716">
                  <a:extLst>
                    <a:ext uri="{FF2B5EF4-FFF2-40B4-BE49-F238E27FC236}">
                      <a16:creationId xmlns:a16="http://schemas.microsoft.com/office/drawing/2014/main" id="{FB6D4818-6808-420B-855B-73D0C0E9A841}"/>
                    </a:ext>
                  </a:extLst>
                </p:cNvPr>
                <p:cNvSpPr/>
                <p:nvPr/>
              </p:nvSpPr>
              <p:spPr>
                <a:xfrm>
                  <a:off x="7616212" y="1696867"/>
                  <a:ext cx="22597" cy="34186"/>
                </a:xfrm>
                <a:custGeom>
                  <a:avLst/>
                  <a:gdLst>
                    <a:gd name="connsiteX0" fmla="*/ 16225 w 22597"/>
                    <a:gd name="connsiteY0" fmla="*/ 34187 h 34186"/>
                    <a:gd name="connsiteX1" fmla="*/ 10422 w 22597"/>
                    <a:gd name="connsiteY1" fmla="*/ 30469 h 34186"/>
                    <a:gd name="connsiteX2" fmla="*/ 582 w 22597"/>
                    <a:gd name="connsiteY2" fmla="*/ 9041 h 34186"/>
                    <a:gd name="connsiteX3" fmla="*/ 3719 w 22597"/>
                    <a:gd name="connsiteY3" fmla="*/ 584 h 34186"/>
                    <a:gd name="connsiteX4" fmla="*/ 12176 w 22597"/>
                    <a:gd name="connsiteY4" fmla="*/ 3716 h 34186"/>
                    <a:gd name="connsiteX5" fmla="*/ 22016 w 22597"/>
                    <a:gd name="connsiteY5" fmla="*/ 25144 h 34186"/>
                    <a:gd name="connsiteX6" fmla="*/ 18878 w 22597"/>
                    <a:gd name="connsiteY6" fmla="*/ 33600 h 34186"/>
                    <a:gd name="connsiteX7" fmla="*/ 16225 w 22597"/>
                    <a:gd name="connsiteY7" fmla="*/ 34187 h 3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97" h="34186">
                      <a:moveTo>
                        <a:pt x="16225" y="34187"/>
                      </a:moveTo>
                      <a:cubicBezTo>
                        <a:pt x="13808" y="34187"/>
                        <a:pt x="11500" y="32809"/>
                        <a:pt x="10422" y="30469"/>
                      </a:cubicBezTo>
                      <a:lnTo>
                        <a:pt x="582" y="9041"/>
                      </a:lnTo>
                      <a:cubicBezTo>
                        <a:pt x="-885" y="5839"/>
                        <a:pt x="518" y="2051"/>
                        <a:pt x="3719" y="584"/>
                      </a:cubicBezTo>
                      <a:cubicBezTo>
                        <a:pt x="6908" y="-889"/>
                        <a:pt x="10703" y="521"/>
                        <a:pt x="12176" y="3716"/>
                      </a:cubicBezTo>
                      <a:lnTo>
                        <a:pt x="22016" y="25144"/>
                      </a:lnTo>
                      <a:cubicBezTo>
                        <a:pt x="23483" y="28345"/>
                        <a:pt x="22080" y="32133"/>
                        <a:pt x="18878" y="33600"/>
                      </a:cubicBezTo>
                      <a:cubicBezTo>
                        <a:pt x="18017" y="33996"/>
                        <a:pt x="17112" y="34187"/>
                        <a:pt x="16225" y="34187"/>
                      </a:cubicBezTo>
                      <a:close/>
                    </a:path>
                  </a:pathLst>
                </a:custGeom>
                <a:grpFill/>
                <a:ln w="637" cap="flat">
                  <a:noFill/>
                  <a:prstDash val="solid"/>
                  <a:miter/>
                </a:ln>
              </p:spPr>
              <p:txBody>
                <a:bodyPr rtlCol="0" anchor="ctr"/>
                <a:lstStyle/>
                <a:p>
                  <a:endParaRPr lang="en-GB" dirty="0"/>
                </a:p>
              </p:txBody>
            </p:sp>
            <p:sp>
              <p:nvSpPr>
                <p:cNvPr id="718" name="Freeform: Shape 717">
                  <a:extLst>
                    <a:ext uri="{FF2B5EF4-FFF2-40B4-BE49-F238E27FC236}">
                      <a16:creationId xmlns:a16="http://schemas.microsoft.com/office/drawing/2014/main" id="{266D2247-1F8D-4C01-923C-2DD95F9064B3}"/>
                    </a:ext>
                  </a:extLst>
                </p:cNvPr>
                <p:cNvSpPr/>
                <p:nvPr/>
              </p:nvSpPr>
              <p:spPr>
                <a:xfrm>
                  <a:off x="7789046" y="1879739"/>
                  <a:ext cx="33126" cy="22044"/>
                </a:xfrm>
                <a:custGeom>
                  <a:avLst/>
                  <a:gdLst>
                    <a:gd name="connsiteX0" fmla="*/ 26742 w 33126"/>
                    <a:gd name="connsiteY0" fmla="*/ 22044 h 22044"/>
                    <a:gd name="connsiteX1" fmla="*/ 24101 w 33126"/>
                    <a:gd name="connsiteY1" fmla="*/ 21470 h 22044"/>
                    <a:gd name="connsiteX2" fmla="*/ 3732 w 33126"/>
                    <a:gd name="connsiteY2" fmla="*/ 12185 h 22044"/>
                    <a:gd name="connsiteX3" fmla="*/ 575 w 33126"/>
                    <a:gd name="connsiteY3" fmla="*/ 3735 h 22044"/>
                    <a:gd name="connsiteX4" fmla="*/ 9026 w 33126"/>
                    <a:gd name="connsiteY4" fmla="*/ 572 h 22044"/>
                    <a:gd name="connsiteX5" fmla="*/ 29395 w 33126"/>
                    <a:gd name="connsiteY5" fmla="*/ 9857 h 22044"/>
                    <a:gd name="connsiteX6" fmla="*/ 32552 w 33126"/>
                    <a:gd name="connsiteY6" fmla="*/ 18307 h 22044"/>
                    <a:gd name="connsiteX7" fmla="*/ 26742 w 33126"/>
                    <a:gd name="connsiteY7" fmla="*/ 22044 h 2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26" h="22044">
                      <a:moveTo>
                        <a:pt x="26742" y="22044"/>
                      </a:moveTo>
                      <a:cubicBezTo>
                        <a:pt x="25855" y="22044"/>
                        <a:pt x="24962" y="21859"/>
                        <a:pt x="24101" y="21470"/>
                      </a:cubicBezTo>
                      <a:lnTo>
                        <a:pt x="3732" y="12185"/>
                      </a:lnTo>
                      <a:cubicBezTo>
                        <a:pt x="531" y="10724"/>
                        <a:pt x="-885" y="6943"/>
                        <a:pt x="575" y="3735"/>
                      </a:cubicBezTo>
                      <a:cubicBezTo>
                        <a:pt x="2036" y="533"/>
                        <a:pt x="5811" y="-882"/>
                        <a:pt x="9026" y="572"/>
                      </a:cubicBezTo>
                      <a:lnTo>
                        <a:pt x="29395" y="9857"/>
                      </a:lnTo>
                      <a:cubicBezTo>
                        <a:pt x="32596" y="11317"/>
                        <a:pt x="34012" y="15099"/>
                        <a:pt x="32552" y="18307"/>
                      </a:cubicBezTo>
                      <a:cubicBezTo>
                        <a:pt x="31480" y="20654"/>
                        <a:pt x="29159" y="22044"/>
                        <a:pt x="26742" y="22044"/>
                      </a:cubicBezTo>
                      <a:close/>
                    </a:path>
                  </a:pathLst>
                </a:custGeom>
                <a:grpFill/>
                <a:ln w="637" cap="flat">
                  <a:noFill/>
                  <a:prstDash val="solid"/>
                  <a:miter/>
                </a:ln>
              </p:spPr>
              <p:txBody>
                <a:bodyPr rtlCol="0" anchor="ctr"/>
                <a:lstStyle/>
                <a:p>
                  <a:endParaRPr lang="en-GB" dirty="0"/>
                </a:p>
              </p:txBody>
            </p:sp>
            <p:sp>
              <p:nvSpPr>
                <p:cNvPr id="719" name="Freeform: Shape 718">
                  <a:extLst>
                    <a:ext uri="{FF2B5EF4-FFF2-40B4-BE49-F238E27FC236}">
                      <a16:creationId xmlns:a16="http://schemas.microsoft.com/office/drawing/2014/main" id="{EADF2851-CEF6-4592-8E22-92724400FE34}"/>
                    </a:ext>
                  </a:extLst>
                </p:cNvPr>
                <p:cNvSpPr/>
                <p:nvPr/>
              </p:nvSpPr>
              <p:spPr>
                <a:xfrm>
                  <a:off x="7545194" y="1768578"/>
                  <a:ext cx="33713" cy="22314"/>
                </a:xfrm>
                <a:custGeom>
                  <a:avLst/>
                  <a:gdLst>
                    <a:gd name="connsiteX0" fmla="*/ 27329 w 33713"/>
                    <a:gd name="connsiteY0" fmla="*/ 22315 h 22314"/>
                    <a:gd name="connsiteX1" fmla="*/ 24688 w 33713"/>
                    <a:gd name="connsiteY1" fmla="*/ 21741 h 22314"/>
                    <a:gd name="connsiteX2" fmla="*/ 3732 w 33713"/>
                    <a:gd name="connsiteY2" fmla="*/ 12188 h 22314"/>
                    <a:gd name="connsiteX3" fmla="*/ 575 w 33713"/>
                    <a:gd name="connsiteY3" fmla="*/ 3737 h 22314"/>
                    <a:gd name="connsiteX4" fmla="*/ 9025 w 33713"/>
                    <a:gd name="connsiteY4" fmla="*/ 574 h 22314"/>
                    <a:gd name="connsiteX5" fmla="*/ 29982 w 33713"/>
                    <a:gd name="connsiteY5" fmla="*/ 10128 h 22314"/>
                    <a:gd name="connsiteX6" fmla="*/ 33138 w 33713"/>
                    <a:gd name="connsiteY6" fmla="*/ 18578 h 22314"/>
                    <a:gd name="connsiteX7" fmla="*/ 27329 w 33713"/>
                    <a:gd name="connsiteY7" fmla="*/ 22315 h 22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13" h="22314">
                      <a:moveTo>
                        <a:pt x="27329" y="22315"/>
                      </a:moveTo>
                      <a:cubicBezTo>
                        <a:pt x="26442" y="22315"/>
                        <a:pt x="25549" y="22130"/>
                        <a:pt x="24688" y="21741"/>
                      </a:cubicBezTo>
                      <a:lnTo>
                        <a:pt x="3732" y="12188"/>
                      </a:lnTo>
                      <a:cubicBezTo>
                        <a:pt x="531" y="10727"/>
                        <a:pt x="-885" y="6945"/>
                        <a:pt x="575" y="3737"/>
                      </a:cubicBezTo>
                      <a:cubicBezTo>
                        <a:pt x="2036" y="536"/>
                        <a:pt x="5811" y="-886"/>
                        <a:pt x="9025" y="574"/>
                      </a:cubicBezTo>
                      <a:lnTo>
                        <a:pt x="29982" y="10128"/>
                      </a:lnTo>
                      <a:cubicBezTo>
                        <a:pt x="33183" y="11588"/>
                        <a:pt x="34599" y="15370"/>
                        <a:pt x="33138" y="18578"/>
                      </a:cubicBezTo>
                      <a:cubicBezTo>
                        <a:pt x="32067" y="20931"/>
                        <a:pt x="29752" y="22315"/>
                        <a:pt x="27329" y="22315"/>
                      </a:cubicBezTo>
                      <a:close/>
                    </a:path>
                  </a:pathLst>
                </a:custGeom>
                <a:grpFill/>
                <a:ln w="637" cap="flat">
                  <a:noFill/>
                  <a:prstDash val="solid"/>
                  <a:miter/>
                </a:ln>
              </p:spPr>
              <p:txBody>
                <a:bodyPr rtlCol="0" anchor="ctr"/>
                <a:lstStyle/>
                <a:p>
                  <a:endParaRPr lang="en-GB" dirty="0"/>
                </a:p>
              </p:txBody>
            </p:sp>
            <p:sp>
              <p:nvSpPr>
                <p:cNvPr id="720" name="Freeform: Shape 719">
                  <a:extLst>
                    <a:ext uri="{FF2B5EF4-FFF2-40B4-BE49-F238E27FC236}">
                      <a16:creationId xmlns:a16="http://schemas.microsoft.com/office/drawing/2014/main" id="{7CCB38B8-537B-4D44-A47F-3226AD51421F}"/>
                    </a:ext>
                  </a:extLst>
                </p:cNvPr>
                <p:cNvSpPr/>
                <p:nvPr/>
              </p:nvSpPr>
              <p:spPr>
                <a:xfrm>
                  <a:off x="7787867" y="1769890"/>
                  <a:ext cx="34503" cy="22425"/>
                </a:xfrm>
                <a:custGeom>
                  <a:avLst/>
                  <a:gdLst>
                    <a:gd name="connsiteX0" fmla="*/ 6385 w 34503"/>
                    <a:gd name="connsiteY0" fmla="*/ 22426 h 22425"/>
                    <a:gd name="connsiteX1" fmla="*/ 549 w 34503"/>
                    <a:gd name="connsiteY1" fmla="*/ 18631 h 22425"/>
                    <a:gd name="connsiteX2" fmla="*/ 3795 w 34503"/>
                    <a:gd name="connsiteY2" fmla="*/ 10213 h 22425"/>
                    <a:gd name="connsiteX3" fmla="*/ 25542 w 34503"/>
                    <a:gd name="connsiteY3" fmla="*/ 558 h 22425"/>
                    <a:gd name="connsiteX4" fmla="*/ 33954 w 34503"/>
                    <a:gd name="connsiteY4" fmla="*/ 3797 h 22425"/>
                    <a:gd name="connsiteX5" fmla="*/ 30708 w 34503"/>
                    <a:gd name="connsiteY5" fmla="*/ 12215 h 22425"/>
                    <a:gd name="connsiteX6" fmla="*/ 8961 w 34503"/>
                    <a:gd name="connsiteY6" fmla="*/ 21871 h 22425"/>
                    <a:gd name="connsiteX7" fmla="*/ 6385 w 34503"/>
                    <a:gd name="connsiteY7" fmla="*/ 22426 h 2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03" h="22425">
                      <a:moveTo>
                        <a:pt x="6385" y="22426"/>
                      </a:moveTo>
                      <a:cubicBezTo>
                        <a:pt x="3936" y="22426"/>
                        <a:pt x="1608" y="21010"/>
                        <a:pt x="549" y="18631"/>
                      </a:cubicBezTo>
                      <a:cubicBezTo>
                        <a:pt x="-879" y="15411"/>
                        <a:pt x="575" y="11641"/>
                        <a:pt x="3795" y="10213"/>
                      </a:cubicBezTo>
                      <a:lnTo>
                        <a:pt x="25542" y="558"/>
                      </a:lnTo>
                      <a:cubicBezTo>
                        <a:pt x="28769" y="-890"/>
                        <a:pt x="32526" y="583"/>
                        <a:pt x="33954" y="3797"/>
                      </a:cubicBezTo>
                      <a:cubicBezTo>
                        <a:pt x="35383" y="7018"/>
                        <a:pt x="33929" y="10787"/>
                        <a:pt x="30708" y="12215"/>
                      </a:cubicBezTo>
                      <a:lnTo>
                        <a:pt x="8961" y="21871"/>
                      </a:lnTo>
                      <a:cubicBezTo>
                        <a:pt x="8119" y="22247"/>
                        <a:pt x="7239" y="22426"/>
                        <a:pt x="6385" y="22426"/>
                      </a:cubicBezTo>
                      <a:close/>
                    </a:path>
                  </a:pathLst>
                </a:custGeom>
                <a:grpFill/>
                <a:ln w="637" cap="flat">
                  <a:noFill/>
                  <a:prstDash val="solid"/>
                  <a:miter/>
                </a:ln>
              </p:spPr>
              <p:txBody>
                <a:bodyPr rtlCol="0" anchor="ctr"/>
                <a:lstStyle/>
                <a:p>
                  <a:endParaRPr lang="en-GB" dirty="0"/>
                </a:p>
              </p:txBody>
            </p:sp>
            <p:sp>
              <p:nvSpPr>
                <p:cNvPr id="721" name="Freeform: Shape 720">
                  <a:extLst>
                    <a:ext uri="{FF2B5EF4-FFF2-40B4-BE49-F238E27FC236}">
                      <a16:creationId xmlns:a16="http://schemas.microsoft.com/office/drawing/2014/main" id="{11AD6FA8-54AF-42CF-B71F-A33B1ED64328}"/>
                    </a:ext>
                  </a:extLst>
                </p:cNvPr>
                <p:cNvSpPr/>
                <p:nvPr/>
              </p:nvSpPr>
              <p:spPr>
                <a:xfrm>
                  <a:off x="7616388" y="1940601"/>
                  <a:ext cx="22016" cy="32953"/>
                </a:xfrm>
                <a:custGeom>
                  <a:avLst/>
                  <a:gdLst>
                    <a:gd name="connsiteX0" fmla="*/ 6375 w 22016"/>
                    <a:gd name="connsiteY0" fmla="*/ 32954 h 32953"/>
                    <a:gd name="connsiteX1" fmla="*/ 3722 w 22016"/>
                    <a:gd name="connsiteY1" fmla="*/ 32373 h 32953"/>
                    <a:gd name="connsiteX2" fmla="*/ 584 w 22016"/>
                    <a:gd name="connsiteY2" fmla="*/ 23917 h 32953"/>
                    <a:gd name="connsiteX3" fmla="*/ 9838 w 22016"/>
                    <a:gd name="connsiteY3" fmla="*/ 3726 h 32953"/>
                    <a:gd name="connsiteX4" fmla="*/ 18294 w 22016"/>
                    <a:gd name="connsiteY4" fmla="*/ 582 h 32953"/>
                    <a:gd name="connsiteX5" fmla="*/ 21432 w 22016"/>
                    <a:gd name="connsiteY5" fmla="*/ 9039 h 32953"/>
                    <a:gd name="connsiteX6" fmla="*/ 12178 w 22016"/>
                    <a:gd name="connsiteY6" fmla="*/ 29229 h 32953"/>
                    <a:gd name="connsiteX7" fmla="*/ 6375 w 22016"/>
                    <a:gd name="connsiteY7" fmla="*/ 32954 h 3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16" h="32953">
                      <a:moveTo>
                        <a:pt x="6375" y="32954"/>
                      </a:moveTo>
                      <a:cubicBezTo>
                        <a:pt x="5489" y="32954"/>
                        <a:pt x="4589" y="32769"/>
                        <a:pt x="3722" y="32373"/>
                      </a:cubicBezTo>
                      <a:cubicBezTo>
                        <a:pt x="521" y="30907"/>
                        <a:pt x="-889" y="27118"/>
                        <a:pt x="584" y="23917"/>
                      </a:cubicBezTo>
                      <a:lnTo>
                        <a:pt x="9838" y="3726"/>
                      </a:lnTo>
                      <a:cubicBezTo>
                        <a:pt x="11298" y="531"/>
                        <a:pt x="15067" y="-891"/>
                        <a:pt x="18294" y="582"/>
                      </a:cubicBezTo>
                      <a:cubicBezTo>
                        <a:pt x="21496" y="2049"/>
                        <a:pt x="22905" y="5837"/>
                        <a:pt x="21432" y="9039"/>
                      </a:cubicBezTo>
                      <a:lnTo>
                        <a:pt x="12178" y="29229"/>
                      </a:lnTo>
                      <a:cubicBezTo>
                        <a:pt x="11107" y="31570"/>
                        <a:pt x="8792" y="32954"/>
                        <a:pt x="6375" y="32954"/>
                      </a:cubicBezTo>
                      <a:close/>
                    </a:path>
                  </a:pathLst>
                </a:custGeom>
                <a:grpFill/>
                <a:ln w="637" cap="flat">
                  <a:noFill/>
                  <a:prstDash val="solid"/>
                  <a:miter/>
                </a:ln>
              </p:spPr>
              <p:txBody>
                <a:bodyPr rtlCol="0" anchor="ctr"/>
                <a:lstStyle/>
                <a:p>
                  <a:endParaRPr lang="en-GB" dirty="0"/>
                </a:p>
              </p:txBody>
            </p:sp>
            <p:sp>
              <p:nvSpPr>
                <p:cNvPr id="722" name="Freeform: Shape 721">
                  <a:extLst>
                    <a:ext uri="{FF2B5EF4-FFF2-40B4-BE49-F238E27FC236}">
                      <a16:creationId xmlns:a16="http://schemas.microsoft.com/office/drawing/2014/main" id="{C69AC016-BD39-4C5D-B8CD-48E64593545A}"/>
                    </a:ext>
                  </a:extLst>
                </p:cNvPr>
                <p:cNvSpPr/>
                <p:nvPr/>
              </p:nvSpPr>
              <p:spPr>
                <a:xfrm>
                  <a:off x="7727782" y="1696812"/>
                  <a:ext cx="22341" cy="33668"/>
                </a:xfrm>
                <a:custGeom>
                  <a:avLst/>
                  <a:gdLst>
                    <a:gd name="connsiteX0" fmla="*/ 6375 w 22341"/>
                    <a:gd name="connsiteY0" fmla="*/ 33668 h 33668"/>
                    <a:gd name="connsiteX1" fmla="*/ 3722 w 22341"/>
                    <a:gd name="connsiteY1" fmla="*/ 33088 h 33668"/>
                    <a:gd name="connsiteX2" fmla="*/ 584 w 22341"/>
                    <a:gd name="connsiteY2" fmla="*/ 24631 h 33668"/>
                    <a:gd name="connsiteX3" fmla="*/ 10163 w 22341"/>
                    <a:gd name="connsiteY3" fmla="*/ 3726 h 33668"/>
                    <a:gd name="connsiteX4" fmla="*/ 18620 w 22341"/>
                    <a:gd name="connsiteY4" fmla="*/ 582 h 33668"/>
                    <a:gd name="connsiteX5" fmla="*/ 21757 w 22341"/>
                    <a:gd name="connsiteY5" fmla="*/ 9039 h 33668"/>
                    <a:gd name="connsiteX6" fmla="*/ 12179 w 22341"/>
                    <a:gd name="connsiteY6" fmla="*/ 29944 h 33668"/>
                    <a:gd name="connsiteX7" fmla="*/ 6375 w 22341"/>
                    <a:gd name="connsiteY7" fmla="*/ 33668 h 33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1" h="33668">
                      <a:moveTo>
                        <a:pt x="6375" y="33668"/>
                      </a:moveTo>
                      <a:cubicBezTo>
                        <a:pt x="5489" y="33668"/>
                        <a:pt x="4590" y="33483"/>
                        <a:pt x="3722" y="33088"/>
                      </a:cubicBezTo>
                      <a:cubicBezTo>
                        <a:pt x="521" y="31621"/>
                        <a:pt x="-889" y="27833"/>
                        <a:pt x="584" y="24631"/>
                      </a:cubicBezTo>
                      <a:lnTo>
                        <a:pt x="10163" y="3726"/>
                      </a:lnTo>
                      <a:cubicBezTo>
                        <a:pt x="11624" y="531"/>
                        <a:pt x="15386" y="-891"/>
                        <a:pt x="18620" y="582"/>
                      </a:cubicBezTo>
                      <a:cubicBezTo>
                        <a:pt x="21821" y="2049"/>
                        <a:pt x="23231" y="5837"/>
                        <a:pt x="21757" y="9039"/>
                      </a:cubicBezTo>
                      <a:lnTo>
                        <a:pt x="12179" y="29944"/>
                      </a:lnTo>
                      <a:cubicBezTo>
                        <a:pt x="11107" y="32291"/>
                        <a:pt x="8792" y="33668"/>
                        <a:pt x="6375" y="33668"/>
                      </a:cubicBezTo>
                      <a:close/>
                    </a:path>
                  </a:pathLst>
                </a:custGeom>
                <a:grpFill/>
                <a:ln w="637" cap="flat">
                  <a:noFill/>
                  <a:prstDash val="solid"/>
                  <a:miter/>
                </a:ln>
              </p:spPr>
              <p:txBody>
                <a:bodyPr rtlCol="0" anchor="ctr"/>
                <a:lstStyle/>
                <a:p>
                  <a:endParaRPr lang="en-GB" dirty="0"/>
                </a:p>
              </p:txBody>
            </p:sp>
          </p:grpSp>
          <p:sp>
            <p:nvSpPr>
              <p:cNvPr id="709" name="Freeform: Shape 708">
                <a:extLst>
                  <a:ext uri="{FF2B5EF4-FFF2-40B4-BE49-F238E27FC236}">
                    <a16:creationId xmlns:a16="http://schemas.microsoft.com/office/drawing/2014/main" id="{BE5B7CB8-6C6F-406D-A636-073801057846}"/>
                  </a:ext>
                </a:extLst>
              </p:cNvPr>
              <p:cNvSpPr/>
              <p:nvPr/>
            </p:nvSpPr>
            <p:spPr>
              <a:xfrm>
                <a:off x="3803406" y="1680263"/>
                <a:ext cx="253692" cy="253692"/>
              </a:xfrm>
              <a:custGeom>
                <a:avLst/>
                <a:gdLst>
                  <a:gd name="connsiteX0" fmla="*/ 126853 w 253692"/>
                  <a:gd name="connsiteY0" fmla="*/ 253693 h 253692"/>
                  <a:gd name="connsiteX1" fmla="*/ 28252 w 253692"/>
                  <a:gd name="connsiteY1" fmla="*/ 206659 h 253692"/>
                  <a:gd name="connsiteX2" fmla="*/ 29189 w 253692"/>
                  <a:gd name="connsiteY2" fmla="*/ 197686 h 253692"/>
                  <a:gd name="connsiteX3" fmla="*/ 38156 w 253692"/>
                  <a:gd name="connsiteY3" fmla="*/ 198624 h 253692"/>
                  <a:gd name="connsiteX4" fmla="*/ 126846 w 253692"/>
                  <a:gd name="connsiteY4" fmla="*/ 240938 h 253692"/>
                  <a:gd name="connsiteX5" fmla="*/ 240938 w 253692"/>
                  <a:gd name="connsiteY5" fmla="*/ 126846 h 253692"/>
                  <a:gd name="connsiteX6" fmla="*/ 126846 w 253692"/>
                  <a:gd name="connsiteY6" fmla="*/ 12755 h 253692"/>
                  <a:gd name="connsiteX7" fmla="*/ 12755 w 253692"/>
                  <a:gd name="connsiteY7" fmla="*/ 126846 h 253692"/>
                  <a:gd name="connsiteX8" fmla="*/ 27863 w 253692"/>
                  <a:gd name="connsiteY8" fmla="*/ 183631 h 253692"/>
                  <a:gd name="connsiteX9" fmla="*/ 25510 w 253692"/>
                  <a:gd name="connsiteY9" fmla="*/ 192336 h 253692"/>
                  <a:gd name="connsiteX10" fmla="*/ 16804 w 253692"/>
                  <a:gd name="connsiteY10" fmla="*/ 189989 h 253692"/>
                  <a:gd name="connsiteX11" fmla="*/ 0 w 253692"/>
                  <a:gd name="connsiteY11" fmla="*/ 126846 h 253692"/>
                  <a:gd name="connsiteX12" fmla="*/ 126846 w 253692"/>
                  <a:gd name="connsiteY12" fmla="*/ 0 h 253692"/>
                  <a:gd name="connsiteX13" fmla="*/ 253693 w 253692"/>
                  <a:gd name="connsiteY13" fmla="*/ 126846 h 253692"/>
                  <a:gd name="connsiteX14" fmla="*/ 126853 w 253692"/>
                  <a:gd name="connsiteY14" fmla="*/ 253693 h 253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3692" h="253692">
                    <a:moveTo>
                      <a:pt x="126853" y="253693"/>
                    </a:moveTo>
                    <a:cubicBezTo>
                      <a:pt x="88423" y="253693"/>
                      <a:pt x="52486" y="236550"/>
                      <a:pt x="28252" y="206659"/>
                    </a:cubicBezTo>
                    <a:cubicBezTo>
                      <a:pt x="26032" y="203923"/>
                      <a:pt x="26460" y="199906"/>
                      <a:pt x="29189" y="197686"/>
                    </a:cubicBezTo>
                    <a:cubicBezTo>
                      <a:pt x="31938" y="195467"/>
                      <a:pt x="35949" y="195894"/>
                      <a:pt x="38156" y="198624"/>
                    </a:cubicBezTo>
                    <a:cubicBezTo>
                      <a:pt x="59954" y="225517"/>
                      <a:pt x="92281" y="240938"/>
                      <a:pt x="126846" y="240938"/>
                    </a:cubicBezTo>
                    <a:cubicBezTo>
                      <a:pt x="189753" y="240938"/>
                      <a:pt x="240938" y="189759"/>
                      <a:pt x="240938" y="126846"/>
                    </a:cubicBezTo>
                    <a:cubicBezTo>
                      <a:pt x="240938" y="63933"/>
                      <a:pt x="189759" y="12755"/>
                      <a:pt x="126846" y="12755"/>
                    </a:cubicBezTo>
                    <a:cubicBezTo>
                      <a:pt x="63933" y="12755"/>
                      <a:pt x="12755" y="63933"/>
                      <a:pt x="12755" y="126846"/>
                    </a:cubicBezTo>
                    <a:cubicBezTo>
                      <a:pt x="12755" y="146801"/>
                      <a:pt x="17978" y="166437"/>
                      <a:pt x="27863" y="183631"/>
                    </a:cubicBezTo>
                    <a:cubicBezTo>
                      <a:pt x="29617" y="186685"/>
                      <a:pt x="28564" y="190582"/>
                      <a:pt x="25510" y="192336"/>
                    </a:cubicBezTo>
                    <a:cubicBezTo>
                      <a:pt x="22468" y="194090"/>
                      <a:pt x="18558" y="193037"/>
                      <a:pt x="16804" y="189989"/>
                    </a:cubicBezTo>
                    <a:cubicBezTo>
                      <a:pt x="5810" y="170863"/>
                      <a:pt x="0" y="149033"/>
                      <a:pt x="0" y="126846"/>
                    </a:cubicBezTo>
                    <a:cubicBezTo>
                      <a:pt x="0" y="56905"/>
                      <a:pt x="56905" y="0"/>
                      <a:pt x="126846" y="0"/>
                    </a:cubicBezTo>
                    <a:cubicBezTo>
                      <a:pt x="196787" y="0"/>
                      <a:pt x="253693" y="56899"/>
                      <a:pt x="253693" y="126846"/>
                    </a:cubicBezTo>
                    <a:cubicBezTo>
                      <a:pt x="253693" y="196787"/>
                      <a:pt x="196787" y="253693"/>
                      <a:pt x="126853" y="253693"/>
                    </a:cubicBezTo>
                    <a:close/>
                  </a:path>
                </a:pathLst>
              </a:custGeom>
              <a:grpFill/>
              <a:ln w="637" cap="flat">
                <a:noFill/>
                <a:prstDash val="solid"/>
                <a:miter/>
              </a:ln>
            </p:spPr>
            <p:txBody>
              <a:bodyPr rtlCol="0" anchor="ctr"/>
              <a:lstStyle/>
              <a:p>
                <a:endParaRPr lang="en-GB" dirty="0"/>
              </a:p>
            </p:txBody>
          </p:sp>
          <p:sp>
            <p:nvSpPr>
              <p:cNvPr id="710" name="Freeform: Shape 709">
                <a:extLst>
                  <a:ext uri="{FF2B5EF4-FFF2-40B4-BE49-F238E27FC236}">
                    <a16:creationId xmlns:a16="http://schemas.microsoft.com/office/drawing/2014/main" id="{E7B197D3-722C-40A6-B53C-0579E3B671B3}"/>
                  </a:ext>
                </a:extLst>
              </p:cNvPr>
              <p:cNvSpPr/>
              <p:nvPr/>
            </p:nvSpPr>
            <p:spPr>
              <a:xfrm>
                <a:off x="3885330" y="1762187"/>
                <a:ext cx="89851" cy="89851"/>
              </a:xfrm>
              <a:custGeom>
                <a:avLst/>
                <a:gdLst>
                  <a:gd name="connsiteX0" fmla="*/ 44929 w 89851"/>
                  <a:gd name="connsiteY0" fmla="*/ 89851 h 89851"/>
                  <a:gd name="connsiteX1" fmla="*/ 21626 w 89851"/>
                  <a:gd name="connsiteY1" fmla="*/ 83340 h 89851"/>
                  <a:gd name="connsiteX2" fmla="*/ 19489 w 89851"/>
                  <a:gd name="connsiteY2" fmla="*/ 74577 h 89851"/>
                  <a:gd name="connsiteX3" fmla="*/ 28252 w 89851"/>
                  <a:gd name="connsiteY3" fmla="*/ 72441 h 89851"/>
                  <a:gd name="connsiteX4" fmla="*/ 44929 w 89851"/>
                  <a:gd name="connsiteY4" fmla="*/ 77096 h 89851"/>
                  <a:gd name="connsiteX5" fmla="*/ 77096 w 89851"/>
                  <a:gd name="connsiteY5" fmla="*/ 44922 h 89851"/>
                  <a:gd name="connsiteX6" fmla="*/ 44929 w 89851"/>
                  <a:gd name="connsiteY6" fmla="*/ 12755 h 89851"/>
                  <a:gd name="connsiteX7" fmla="*/ 12755 w 89851"/>
                  <a:gd name="connsiteY7" fmla="*/ 44922 h 89851"/>
                  <a:gd name="connsiteX8" fmla="*/ 16632 w 89851"/>
                  <a:gd name="connsiteY8" fmla="*/ 60254 h 89851"/>
                  <a:gd name="connsiteX9" fmla="*/ 14069 w 89851"/>
                  <a:gd name="connsiteY9" fmla="*/ 68901 h 89851"/>
                  <a:gd name="connsiteX10" fmla="*/ 5427 w 89851"/>
                  <a:gd name="connsiteY10" fmla="*/ 66338 h 89851"/>
                  <a:gd name="connsiteX11" fmla="*/ 0 w 89851"/>
                  <a:gd name="connsiteY11" fmla="*/ 44922 h 89851"/>
                  <a:gd name="connsiteX12" fmla="*/ 44929 w 89851"/>
                  <a:gd name="connsiteY12" fmla="*/ 0 h 89851"/>
                  <a:gd name="connsiteX13" fmla="*/ 89851 w 89851"/>
                  <a:gd name="connsiteY13" fmla="*/ 44922 h 89851"/>
                  <a:gd name="connsiteX14" fmla="*/ 44929 w 89851"/>
                  <a:gd name="connsiteY14" fmla="*/ 89851 h 89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9851" h="89851">
                    <a:moveTo>
                      <a:pt x="44929" y="89851"/>
                    </a:moveTo>
                    <a:cubicBezTo>
                      <a:pt x="36689" y="89851"/>
                      <a:pt x="28628" y="87600"/>
                      <a:pt x="21626" y="83340"/>
                    </a:cubicBezTo>
                    <a:cubicBezTo>
                      <a:pt x="18616" y="81509"/>
                      <a:pt x="17659" y="77587"/>
                      <a:pt x="19489" y="74577"/>
                    </a:cubicBezTo>
                    <a:cubicBezTo>
                      <a:pt x="21320" y="71573"/>
                      <a:pt x="25235" y="70610"/>
                      <a:pt x="28252" y="72441"/>
                    </a:cubicBezTo>
                    <a:cubicBezTo>
                      <a:pt x="33258" y="75489"/>
                      <a:pt x="39023" y="77096"/>
                      <a:pt x="44929" y="77096"/>
                    </a:cubicBezTo>
                    <a:cubicBezTo>
                      <a:pt x="62664" y="77096"/>
                      <a:pt x="77096" y="62664"/>
                      <a:pt x="77096" y="44922"/>
                    </a:cubicBezTo>
                    <a:cubicBezTo>
                      <a:pt x="77096" y="27180"/>
                      <a:pt x="62664" y="12755"/>
                      <a:pt x="44929" y="12755"/>
                    </a:cubicBezTo>
                    <a:cubicBezTo>
                      <a:pt x="27187" y="12755"/>
                      <a:pt x="12755" y="27187"/>
                      <a:pt x="12755" y="44922"/>
                    </a:cubicBezTo>
                    <a:cubicBezTo>
                      <a:pt x="12755" y="50279"/>
                      <a:pt x="14094" y="55579"/>
                      <a:pt x="16632" y="60254"/>
                    </a:cubicBezTo>
                    <a:cubicBezTo>
                      <a:pt x="18316" y="63347"/>
                      <a:pt x="17168" y="67218"/>
                      <a:pt x="14069" y="68901"/>
                    </a:cubicBezTo>
                    <a:cubicBezTo>
                      <a:pt x="10988" y="70572"/>
                      <a:pt x="7111" y="69437"/>
                      <a:pt x="5427" y="66338"/>
                    </a:cubicBezTo>
                    <a:cubicBezTo>
                      <a:pt x="1875" y="59801"/>
                      <a:pt x="0" y="52390"/>
                      <a:pt x="0" y="44922"/>
                    </a:cubicBezTo>
                    <a:cubicBezTo>
                      <a:pt x="0" y="20153"/>
                      <a:pt x="20153" y="0"/>
                      <a:pt x="44929" y="0"/>
                    </a:cubicBezTo>
                    <a:cubicBezTo>
                      <a:pt x="69699" y="0"/>
                      <a:pt x="89851" y="20153"/>
                      <a:pt x="89851" y="44922"/>
                    </a:cubicBezTo>
                    <a:cubicBezTo>
                      <a:pt x="89851" y="69699"/>
                      <a:pt x="69692" y="89851"/>
                      <a:pt x="44929" y="89851"/>
                    </a:cubicBezTo>
                    <a:close/>
                  </a:path>
                </a:pathLst>
              </a:custGeom>
              <a:grpFill/>
              <a:ln w="637" cap="flat">
                <a:noFill/>
                <a:prstDash val="solid"/>
                <a:miter/>
              </a:ln>
            </p:spPr>
            <p:txBody>
              <a:bodyPr rtlCol="0" anchor="ctr"/>
              <a:lstStyle/>
              <a:p>
                <a:endParaRPr lang="en-GB" dirty="0"/>
              </a:p>
            </p:txBody>
          </p:sp>
          <p:sp>
            <p:nvSpPr>
              <p:cNvPr id="711" name="Freeform: Shape 710">
                <a:extLst>
                  <a:ext uri="{FF2B5EF4-FFF2-40B4-BE49-F238E27FC236}">
                    <a16:creationId xmlns:a16="http://schemas.microsoft.com/office/drawing/2014/main" id="{0A99AB4F-4C10-4C94-8A22-4D03CF6B22E3}"/>
                  </a:ext>
                </a:extLst>
              </p:cNvPr>
              <p:cNvSpPr/>
              <p:nvPr/>
            </p:nvSpPr>
            <p:spPr>
              <a:xfrm>
                <a:off x="3841963" y="1718815"/>
                <a:ext cx="176596" cy="176589"/>
              </a:xfrm>
              <a:custGeom>
                <a:avLst/>
                <a:gdLst>
                  <a:gd name="connsiteX0" fmla="*/ 88295 w 176596"/>
                  <a:gd name="connsiteY0" fmla="*/ 176590 h 176589"/>
                  <a:gd name="connsiteX1" fmla="*/ 24240 w 176596"/>
                  <a:gd name="connsiteY1" fmla="*/ 149072 h 176589"/>
                  <a:gd name="connsiteX2" fmla="*/ 24476 w 176596"/>
                  <a:gd name="connsiteY2" fmla="*/ 140054 h 176589"/>
                  <a:gd name="connsiteX3" fmla="*/ 33494 w 176596"/>
                  <a:gd name="connsiteY3" fmla="*/ 140290 h 176589"/>
                  <a:gd name="connsiteX4" fmla="*/ 88295 w 176596"/>
                  <a:gd name="connsiteY4" fmla="*/ 163835 h 176589"/>
                  <a:gd name="connsiteX5" fmla="*/ 163835 w 176596"/>
                  <a:gd name="connsiteY5" fmla="*/ 88295 h 176589"/>
                  <a:gd name="connsiteX6" fmla="*/ 88295 w 176596"/>
                  <a:gd name="connsiteY6" fmla="*/ 12755 h 176589"/>
                  <a:gd name="connsiteX7" fmla="*/ 12748 w 176596"/>
                  <a:gd name="connsiteY7" fmla="*/ 88295 h 176589"/>
                  <a:gd name="connsiteX8" fmla="*/ 22901 w 176596"/>
                  <a:gd name="connsiteY8" fmla="*/ 126138 h 176589"/>
                  <a:gd name="connsiteX9" fmla="*/ 20586 w 176596"/>
                  <a:gd name="connsiteY9" fmla="*/ 134856 h 176589"/>
                  <a:gd name="connsiteX10" fmla="*/ 11868 w 176596"/>
                  <a:gd name="connsiteY10" fmla="*/ 132541 h 176589"/>
                  <a:gd name="connsiteX11" fmla="*/ 0 w 176596"/>
                  <a:gd name="connsiteY11" fmla="*/ 88295 h 176589"/>
                  <a:gd name="connsiteX12" fmla="*/ 88301 w 176596"/>
                  <a:gd name="connsiteY12" fmla="*/ 0 h 176589"/>
                  <a:gd name="connsiteX13" fmla="*/ 176597 w 176596"/>
                  <a:gd name="connsiteY13" fmla="*/ 88295 h 176589"/>
                  <a:gd name="connsiteX14" fmla="*/ 88295 w 176596"/>
                  <a:gd name="connsiteY14" fmla="*/ 176590 h 17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6596" h="176589">
                    <a:moveTo>
                      <a:pt x="88295" y="176590"/>
                    </a:moveTo>
                    <a:cubicBezTo>
                      <a:pt x="63831" y="176590"/>
                      <a:pt x="41090" y="166813"/>
                      <a:pt x="24240" y="149072"/>
                    </a:cubicBezTo>
                    <a:cubicBezTo>
                      <a:pt x="21817" y="146514"/>
                      <a:pt x="21925" y="142477"/>
                      <a:pt x="24476" y="140054"/>
                    </a:cubicBezTo>
                    <a:cubicBezTo>
                      <a:pt x="27027" y="137630"/>
                      <a:pt x="31064" y="137739"/>
                      <a:pt x="33494" y="140290"/>
                    </a:cubicBezTo>
                    <a:cubicBezTo>
                      <a:pt x="47907" y="155474"/>
                      <a:pt x="67371" y="163835"/>
                      <a:pt x="88295" y="163835"/>
                    </a:cubicBezTo>
                    <a:cubicBezTo>
                      <a:pt x="129946" y="163835"/>
                      <a:pt x="163835" y="129952"/>
                      <a:pt x="163835" y="88295"/>
                    </a:cubicBezTo>
                    <a:cubicBezTo>
                      <a:pt x="163835" y="46638"/>
                      <a:pt x="129952" y="12755"/>
                      <a:pt x="88295" y="12755"/>
                    </a:cubicBezTo>
                    <a:cubicBezTo>
                      <a:pt x="46638" y="12755"/>
                      <a:pt x="12748" y="46638"/>
                      <a:pt x="12748" y="88295"/>
                    </a:cubicBezTo>
                    <a:cubicBezTo>
                      <a:pt x="12748" y="101605"/>
                      <a:pt x="16262" y="114691"/>
                      <a:pt x="22901" y="126138"/>
                    </a:cubicBezTo>
                    <a:cubicBezTo>
                      <a:pt x="24668" y="129187"/>
                      <a:pt x="23628" y="133090"/>
                      <a:pt x="20586" y="134856"/>
                    </a:cubicBezTo>
                    <a:cubicBezTo>
                      <a:pt x="17531" y="136636"/>
                      <a:pt x="13635" y="135590"/>
                      <a:pt x="11868" y="132541"/>
                    </a:cubicBezTo>
                    <a:cubicBezTo>
                      <a:pt x="4101" y="119149"/>
                      <a:pt x="0" y="103849"/>
                      <a:pt x="0" y="88295"/>
                    </a:cubicBezTo>
                    <a:cubicBezTo>
                      <a:pt x="0" y="39610"/>
                      <a:pt x="39610" y="0"/>
                      <a:pt x="88301" y="0"/>
                    </a:cubicBezTo>
                    <a:cubicBezTo>
                      <a:pt x="136986" y="0"/>
                      <a:pt x="176597" y="39610"/>
                      <a:pt x="176597" y="88295"/>
                    </a:cubicBezTo>
                    <a:cubicBezTo>
                      <a:pt x="176597" y="136980"/>
                      <a:pt x="136974" y="176590"/>
                      <a:pt x="88295" y="176590"/>
                    </a:cubicBezTo>
                    <a:close/>
                  </a:path>
                </a:pathLst>
              </a:custGeom>
              <a:grpFill/>
              <a:ln w="637" cap="flat">
                <a:noFill/>
                <a:prstDash val="solid"/>
                <a:miter/>
              </a:ln>
            </p:spPr>
            <p:txBody>
              <a:bodyPr rtlCol="0" anchor="ctr"/>
              <a:lstStyle/>
              <a:p>
                <a:endParaRPr lang="en-GB" dirty="0"/>
              </a:p>
            </p:txBody>
          </p:sp>
        </p:grpSp>
        <p:grpSp>
          <p:nvGrpSpPr>
            <p:cNvPr id="704" name="Graphic 32">
              <a:extLst>
                <a:ext uri="{FF2B5EF4-FFF2-40B4-BE49-F238E27FC236}">
                  <a16:creationId xmlns:a16="http://schemas.microsoft.com/office/drawing/2014/main" id="{D273768C-71F8-4ECB-96E6-8448EE79AF57}"/>
                </a:ext>
              </a:extLst>
            </p:cNvPr>
            <p:cNvGrpSpPr/>
            <p:nvPr/>
          </p:nvGrpSpPr>
          <p:grpSpPr>
            <a:xfrm>
              <a:off x="1662323" y="4207073"/>
              <a:ext cx="183382" cy="125175"/>
              <a:chOff x="7506382" y="1828679"/>
              <a:chExt cx="183382" cy="125175"/>
            </a:xfrm>
            <a:solidFill>
              <a:schemeClr val="accent1"/>
            </a:solidFill>
          </p:grpSpPr>
          <p:sp>
            <p:nvSpPr>
              <p:cNvPr id="705" name="Freeform: Shape 704">
                <a:extLst>
                  <a:ext uri="{FF2B5EF4-FFF2-40B4-BE49-F238E27FC236}">
                    <a16:creationId xmlns:a16="http://schemas.microsoft.com/office/drawing/2014/main" id="{12D67385-B02D-48F0-B3D6-F4A59811D75E}"/>
                  </a:ext>
                </a:extLst>
              </p:cNvPr>
              <p:cNvSpPr/>
              <p:nvPr/>
            </p:nvSpPr>
            <p:spPr>
              <a:xfrm>
                <a:off x="7506382" y="1882496"/>
                <a:ext cx="66535" cy="43266"/>
              </a:xfrm>
              <a:custGeom>
                <a:avLst/>
                <a:gdLst>
                  <a:gd name="connsiteX0" fmla="*/ 30943 w 66535"/>
                  <a:gd name="connsiteY0" fmla="*/ 43267 h 43266"/>
                  <a:gd name="connsiteX1" fmla="*/ 27850 w 66535"/>
                  <a:gd name="connsiteY1" fmla="*/ 42463 h 43266"/>
                  <a:gd name="connsiteX2" fmla="*/ 3285 w 66535"/>
                  <a:gd name="connsiteY2" fmla="*/ 28822 h 43266"/>
                  <a:gd name="connsiteX3" fmla="*/ 0 w 66535"/>
                  <a:gd name="connsiteY3" fmla="*/ 23299 h 43266"/>
                  <a:gd name="connsiteX4" fmla="*/ 3189 w 66535"/>
                  <a:gd name="connsiteY4" fmla="*/ 17719 h 43266"/>
                  <a:gd name="connsiteX5" fmla="*/ 32397 w 66535"/>
                  <a:gd name="connsiteY5" fmla="*/ 851 h 43266"/>
                  <a:gd name="connsiteX6" fmla="*/ 38679 w 66535"/>
                  <a:gd name="connsiteY6" fmla="*/ 800 h 43266"/>
                  <a:gd name="connsiteX7" fmla="*/ 63251 w 66535"/>
                  <a:gd name="connsiteY7" fmla="*/ 14441 h 43266"/>
                  <a:gd name="connsiteX8" fmla="*/ 66535 w 66535"/>
                  <a:gd name="connsiteY8" fmla="*/ 19964 h 43266"/>
                  <a:gd name="connsiteX9" fmla="*/ 63347 w 66535"/>
                  <a:gd name="connsiteY9" fmla="*/ 25544 h 43266"/>
                  <a:gd name="connsiteX10" fmla="*/ 34132 w 66535"/>
                  <a:gd name="connsiteY10" fmla="*/ 42412 h 43266"/>
                  <a:gd name="connsiteX11" fmla="*/ 30943 w 66535"/>
                  <a:gd name="connsiteY11" fmla="*/ 43267 h 43266"/>
                  <a:gd name="connsiteX12" fmla="*/ 19324 w 66535"/>
                  <a:gd name="connsiteY12" fmla="*/ 23140 h 43266"/>
                  <a:gd name="connsiteX13" fmla="*/ 30886 w 66535"/>
                  <a:gd name="connsiteY13" fmla="*/ 29562 h 43266"/>
                  <a:gd name="connsiteX14" fmla="*/ 47225 w 66535"/>
                  <a:gd name="connsiteY14" fmla="*/ 20130 h 43266"/>
                  <a:gd name="connsiteX15" fmla="*/ 35663 w 66535"/>
                  <a:gd name="connsiteY15" fmla="*/ 13708 h 43266"/>
                  <a:gd name="connsiteX16" fmla="*/ 19324 w 66535"/>
                  <a:gd name="connsiteY16" fmla="*/ 23140 h 43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6535" h="43266">
                    <a:moveTo>
                      <a:pt x="30943" y="43267"/>
                    </a:moveTo>
                    <a:cubicBezTo>
                      <a:pt x="29878" y="43267"/>
                      <a:pt x="28813" y="42999"/>
                      <a:pt x="27850" y="42463"/>
                    </a:cubicBezTo>
                    <a:lnTo>
                      <a:pt x="3285" y="28822"/>
                    </a:lnTo>
                    <a:cubicBezTo>
                      <a:pt x="1276" y="27706"/>
                      <a:pt x="19" y="25601"/>
                      <a:pt x="0" y="23299"/>
                    </a:cubicBezTo>
                    <a:cubicBezTo>
                      <a:pt x="-19" y="21003"/>
                      <a:pt x="1199" y="18873"/>
                      <a:pt x="3189" y="17719"/>
                    </a:cubicBezTo>
                    <a:lnTo>
                      <a:pt x="32397" y="851"/>
                    </a:lnTo>
                    <a:cubicBezTo>
                      <a:pt x="34336" y="-265"/>
                      <a:pt x="36721" y="-284"/>
                      <a:pt x="38679" y="800"/>
                    </a:cubicBezTo>
                    <a:lnTo>
                      <a:pt x="63251" y="14441"/>
                    </a:lnTo>
                    <a:cubicBezTo>
                      <a:pt x="65260" y="15557"/>
                      <a:pt x="66516" y="17668"/>
                      <a:pt x="66535" y="19964"/>
                    </a:cubicBezTo>
                    <a:cubicBezTo>
                      <a:pt x="66555" y="22260"/>
                      <a:pt x="65337" y="24390"/>
                      <a:pt x="63347" y="25544"/>
                    </a:cubicBezTo>
                    <a:lnTo>
                      <a:pt x="34132" y="42412"/>
                    </a:lnTo>
                    <a:cubicBezTo>
                      <a:pt x="33150" y="42980"/>
                      <a:pt x="32047" y="43267"/>
                      <a:pt x="30943" y="43267"/>
                    </a:cubicBezTo>
                    <a:close/>
                    <a:moveTo>
                      <a:pt x="19324" y="23140"/>
                    </a:moveTo>
                    <a:lnTo>
                      <a:pt x="30886" y="29562"/>
                    </a:lnTo>
                    <a:lnTo>
                      <a:pt x="47225" y="20130"/>
                    </a:lnTo>
                    <a:lnTo>
                      <a:pt x="35663" y="13708"/>
                    </a:lnTo>
                    <a:lnTo>
                      <a:pt x="19324" y="23140"/>
                    </a:lnTo>
                    <a:close/>
                  </a:path>
                </a:pathLst>
              </a:custGeom>
              <a:solidFill>
                <a:schemeClr val="accent1"/>
              </a:solidFill>
              <a:ln w="637" cap="flat">
                <a:noFill/>
                <a:prstDash val="solid"/>
                <a:miter/>
              </a:ln>
            </p:spPr>
            <p:txBody>
              <a:bodyPr rtlCol="0" anchor="ctr"/>
              <a:lstStyle/>
              <a:p>
                <a:endParaRPr lang="en-GB" dirty="0"/>
              </a:p>
            </p:txBody>
          </p:sp>
          <p:sp>
            <p:nvSpPr>
              <p:cNvPr id="706" name="Freeform: Shape 705">
                <a:extLst>
                  <a:ext uri="{FF2B5EF4-FFF2-40B4-BE49-F238E27FC236}">
                    <a16:creationId xmlns:a16="http://schemas.microsoft.com/office/drawing/2014/main" id="{209BB615-1A34-4C31-92FF-4545F643A8B6}"/>
                  </a:ext>
                </a:extLst>
              </p:cNvPr>
              <p:cNvSpPr/>
              <p:nvPr/>
            </p:nvSpPr>
            <p:spPr>
              <a:xfrm>
                <a:off x="7530475" y="1896141"/>
                <a:ext cx="42443" cy="57713"/>
              </a:xfrm>
              <a:custGeom>
                <a:avLst/>
                <a:gdLst>
                  <a:gd name="connsiteX0" fmla="*/ 6378 w 42443"/>
                  <a:gd name="connsiteY0" fmla="*/ 57714 h 57713"/>
                  <a:gd name="connsiteX1" fmla="*/ 3145 w 42443"/>
                  <a:gd name="connsiteY1" fmla="*/ 56834 h 57713"/>
                  <a:gd name="connsiteX2" fmla="*/ 1 w 42443"/>
                  <a:gd name="connsiteY2" fmla="*/ 51234 h 57713"/>
                  <a:gd name="connsiteX3" fmla="*/ 473 w 42443"/>
                  <a:gd name="connsiteY3" fmla="*/ 23136 h 57713"/>
                  <a:gd name="connsiteX4" fmla="*/ 3662 w 42443"/>
                  <a:gd name="connsiteY4" fmla="*/ 17721 h 57713"/>
                  <a:gd name="connsiteX5" fmla="*/ 32876 w 42443"/>
                  <a:gd name="connsiteY5" fmla="*/ 853 h 57713"/>
                  <a:gd name="connsiteX6" fmla="*/ 39298 w 42443"/>
                  <a:gd name="connsiteY6" fmla="*/ 879 h 57713"/>
                  <a:gd name="connsiteX7" fmla="*/ 42442 w 42443"/>
                  <a:gd name="connsiteY7" fmla="*/ 6478 h 57713"/>
                  <a:gd name="connsiteX8" fmla="*/ 41970 w 42443"/>
                  <a:gd name="connsiteY8" fmla="*/ 34577 h 57713"/>
                  <a:gd name="connsiteX9" fmla="*/ 38782 w 42443"/>
                  <a:gd name="connsiteY9" fmla="*/ 39991 h 57713"/>
                  <a:gd name="connsiteX10" fmla="*/ 9567 w 42443"/>
                  <a:gd name="connsiteY10" fmla="*/ 56859 h 57713"/>
                  <a:gd name="connsiteX11" fmla="*/ 6378 w 42443"/>
                  <a:gd name="connsiteY11" fmla="*/ 57714 h 57713"/>
                  <a:gd name="connsiteX12" fmla="*/ 13170 w 42443"/>
                  <a:gd name="connsiteY12" fmla="*/ 26962 h 57713"/>
                  <a:gd name="connsiteX13" fmla="*/ 12947 w 42443"/>
                  <a:gd name="connsiteY13" fmla="*/ 40182 h 57713"/>
                  <a:gd name="connsiteX14" fmla="*/ 29286 w 42443"/>
                  <a:gd name="connsiteY14" fmla="*/ 30750 h 57713"/>
                  <a:gd name="connsiteX15" fmla="*/ 29509 w 42443"/>
                  <a:gd name="connsiteY15" fmla="*/ 17530 h 57713"/>
                  <a:gd name="connsiteX16" fmla="*/ 13170 w 42443"/>
                  <a:gd name="connsiteY16" fmla="*/ 26962 h 5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43" h="57713">
                    <a:moveTo>
                      <a:pt x="6378" y="57714"/>
                    </a:moveTo>
                    <a:cubicBezTo>
                      <a:pt x="5256" y="57714"/>
                      <a:pt x="4140" y="57420"/>
                      <a:pt x="3145" y="56834"/>
                    </a:cubicBezTo>
                    <a:cubicBezTo>
                      <a:pt x="1161" y="55667"/>
                      <a:pt x="-37" y="53524"/>
                      <a:pt x="1" y="51234"/>
                    </a:cubicBezTo>
                    <a:lnTo>
                      <a:pt x="473" y="23136"/>
                    </a:lnTo>
                    <a:cubicBezTo>
                      <a:pt x="511" y="20897"/>
                      <a:pt x="1723" y="18844"/>
                      <a:pt x="3662" y="17721"/>
                    </a:cubicBezTo>
                    <a:lnTo>
                      <a:pt x="32876" y="853"/>
                    </a:lnTo>
                    <a:cubicBezTo>
                      <a:pt x="34866" y="-295"/>
                      <a:pt x="37321" y="-282"/>
                      <a:pt x="39298" y="879"/>
                    </a:cubicBezTo>
                    <a:cubicBezTo>
                      <a:pt x="41282" y="2046"/>
                      <a:pt x="42481" y="4188"/>
                      <a:pt x="42442" y="6478"/>
                    </a:cubicBezTo>
                    <a:lnTo>
                      <a:pt x="41970" y="34577"/>
                    </a:lnTo>
                    <a:cubicBezTo>
                      <a:pt x="41932" y="36815"/>
                      <a:pt x="40720" y="38869"/>
                      <a:pt x="38782" y="39991"/>
                    </a:cubicBezTo>
                    <a:lnTo>
                      <a:pt x="9567" y="56859"/>
                    </a:lnTo>
                    <a:cubicBezTo>
                      <a:pt x="8585" y="57427"/>
                      <a:pt x="7482" y="57714"/>
                      <a:pt x="6378" y="57714"/>
                    </a:cubicBezTo>
                    <a:close/>
                    <a:moveTo>
                      <a:pt x="13170" y="26962"/>
                    </a:moveTo>
                    <a:lnTo>
                      <a:pt x="12947" y="40182"/>
                    </a:lnTo>
                    <a:lnTo>
                      <a:pt x="29286" y="30750"/>
                    </a:lnTo>
                    <a:lnTo>
                      <a:pt x="29509" y="17530"/>
                    </a:lnTo>
                    <a:lnTo>
                      <a:pt x="13170" y="26962"/>
                    </a:lnTo>
                    <a:close/>
                  </a:path>
                </a:pathLst>
              </a:custGeom>
              <a:solidFill>
                <a:schemeClr val="accent1"/>
              </a:solidFill>
              <a:ln w="637" cap="flat">
                <a:noFill/>
                <a:prstDash val="solid"/>
                <a:miter/>
              </a:ln>
            </p:spPr>
            <p:txBody>
              <a:bodyPr rtlCol="0" anchor="ctr"/>
              <a:lstStyle/>
              <a:p>
                <a:endParaRPr lang="en-GB" dirty="0"/>
              </a:p>
            </p:txBody>
          </p:sp>
          <p:sp>
            <p:nvSpPr>
              <p:cNvPr id="707" name="Freeform: Shape 706">
                <a:extLst>
                  <a:ext uri="{FF2B5EF4-FFF2-40B4-BE49-F238E27FC236}">
                    <a16:creationId xmlns:a16="http://schemas.microsoft.com/office/drawing/2014/main" id="{0BFE0DC0-5683-4CBF-AAA0-924FBB110B56}"/>
                  </a:ext>
                </a:extLst>
              </p:cNvPr>
              <p:cNvSpPr/>
              <p:nvPr/>
            </p:nvSpPr>
            <p:spPr>
              <a:xfrm>
                <a:off x="7518435" y="1828679"/>
                <a:ext cx="171328" cy="104308"/>
              </a:xfrm>
              <a:custGeom>
                <a:avLst/>
                <a:gdLst>
                  <a:gd name="connsiteX0" fmla="*/ 6384 w 171328"/>
                  <a:gd name="connsiteY0" fmla="*/ 104309 h 104308"/>
                  <a:gd name="connsiteX1" fmla="*/ 855 w 171328"/>
                  <a:gd name="connsiteY1" fmla="*/ 101120 h 104308"/>
                  <a:gd name="connsiteX2" fmla="*/ 3189 w 171328"/>
                  <a:gd name="connsiteY2" fmla="*/ 92409 h 104308"/>
                  <a:gd name="connsiteX3" fmla="*/ 161763 w 171328"/>
                  <a:gd name="connsiteY3" fmla="*/ 855 h 104308"/>
                  <a:gd name="connsiteX4" fmla="*/ 170474 w 171328"/>
                  <a:gd name="connsiteY4" fmla="*/ 3189 h 104308"/>
                  <a:gd name="connsiteX5" fmla="*/ 168140 w 171328"/>
                  <a:gd name="connsiteY5" fmla="*/ 11900 h 104308"/>
                  <a:gd name="connsiteX6" fmla="*/ 9566 w 171328"/>
                  <a:gd name="connsiteY6" fmla="*/ 103454 h 104308"/>
                  <a:gd name="connsiteX7" fmla="*/ 6384 w 171328"/>
                  <a:gd name="connsiteY7" fmla="*/ 104309 h 104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328" h="104308">
                    <a:moveTo>
                      <a:pt x="6384" y="104309"/>
                    </a:moveTo>
                    <a:cubicBezTo>
                      <a:pt x="4177" y="104309"/>
                      <a:pt x="2034" y="103167"/>
                      <a:pt x="855" y="101120"/>
                    </a:cubicBezTo>
                    <a:cubicBezTo>
                      <a:pt x="-905" y="98065"/>
                      <a:pt x="140" y="94169"/>
                      <a:pt x="3189" y="92409"/>
                    </a:cubicBezTo>
                    <a:lnTo>
                      <a:pt x="161763" y="855"/>
                    </a:lnTo>
                    <a:cubicBezTo>
                      <a:pt x="164798" y="-905"/>
                      <a:pt x="168708" y="140"/>
                      <a:pt x="170474" y="3189"/>
                    </a:cubicBezTo>
                    <a:cubicBezTo>
                      <a:pt x="172234" y="6244"/>
                      <a:pt x="171188" y="10140"/>
                      <a:pt x="168140" y="11900"/>
                    </a:cubicBezTo>
                    <a:lnTo>
                      <a:pt x="9566" y="103454"/>
                    </a:lnTo>
                    <a:cubicBezTo>
                      <a:pt x="8559" y="104035"/>
                      <a:pt x="7462" y="104309"/>
                      <a:pt x="6384" y="104309"/>
                    </a:cubicBezTo>
                    <a:close/>
                  </a:path>
                </a:pathLst>
              </a:custGeom>
              <a:solidFill>
                <a:schemeClr val="accent1"/>
              </a:solidFill>
              <a:ln w="637" cap="flat">
                <a:noFill/>
                <a:prstDash val="solid"/>
                <a:miter/>
              </a:ln>
            </p:spPr>
            <p:txBody>
              <a:bodyPr rtlCol="0" anchor="ctr"/>
              <a:lstStyle/>
              <a:p>
                <a:endParaRPr lang="en-GB" dirty="0"/>
              </a:p>
            </p:txBody>
          </p:sp>
        </p:grpSp>
      </p:grpSp>
      <p:grpSp>
        <p:nvGrpSpPr>
          <p:cNvPr id="21" name="Group 20">
            <a:extLst>
              <a:ext uri="{FF2B5EF4-FFF2-40B4-BE49-F238E27FC236}">
                <a16:creationId xmlns:a16="http://schemas.microsoft.com/office/drawing/2014/main" id="{6EE5540F-3FB9-0DD7-0731-28B3C39E457D}"/>
              </a:ext>
            </a:extLst>
          </p:cNvPr>
          <p:cNvGrpSpPr/>
          <p:nvPr/>
        </p:nvGrpSpPr>
        <p:grpSpPr>
          <a:xfrm>
            <a:off x="3719629" y="4003061"/>
            <a:ext cx="421444" cy="421392"/>
            <a:chOff x="3719629" y="4003061"/>
            <a:chExt cx="421444" cy="421392"/>
          </a:xfrm>
        </p:grpSpPr>
        <p:grpSp>
          <p:nvGrpSpPr>
            <p:cNvPr id="743" name="Group 742">
              <a:extLst>
                <a:ext uri="{FF2B5EF4-FFF2-40B4-BE49-F238E27FC236}">
                  <a16:creationId xmlns:a16="http://schemas.microsoft.com/office/drawing/2014/main" id="{C84979DD-A180-44F3-A138-3D0429BE1F22}"/>
                </a:ext>
              </a:extLst>
            </p:cNvPr>
            <p:cNvGrpSpPr/>
            <p:nvPr/>
          </p:nvGrpSpPr>
          <p:grpSpPr>
            <a:xfrm>
              <a:off x="3719629" y="4003061"/>
              <a:ext cx="421444" cy="421392"/>
              <a:chOff x="1628762" y="2441261"/>
              <a:chExt cx="421444" cy="421392"/>
            </a:xfrm>
            <a:solidFill>
              <a:schemeClr val="tx2"/>
            </a:solidFill>
          </p:grpSpPr>
          <p:sp>
            <p:nvSpPr>
              <p:cNvPr id="749" name="Freeform: Shape 748">
                <a:extLst>
                  <a:ext uri="{FF2B5EF4-FFF2-40B4-BE49-F238E27FC236}">
                    <a16:creationId xmlns:a16="http://schemas.microsoft.com/office/drawing/2014/main" id="{B908FE1E-E1F5-485D-B7C8-9CE49EFEF512}"/>
                  </a:ext>
                </a:extLst>
              </p:cNvPr>
              <p:cNvSpPr/>
              <p:nvPr/>
            </p:nvSpPr>
            <p:spPr>
              <a:xfrm>
                <a:off x="1711936" y="2524167"/>
                <a:ext cx="255095" cy="255095"/>
              </a:xfrm>
              <a:custGeom>
                <a:avLst/>
                <a:gdLst>
                  <a:gd name="connsiteX0" fmla="*/ 127548 w 255095"/>
                  <a:gd name="connsiteY0" fmla="*/ 255096 h 255095"/>
                  <a:gd name="connsiteX1" fmla="*/ 0 w 255095"/>
                  <a:gd name="connsiteY1" fmla="*/ 127548 h 255095"/>
                  <a:gd name="connsiteX2" fmla="*/ 127548 w 255095"/>
                  <a:gd name="connsiteY2" fmla="*/ 0 h 255095"/>
                  <a:gd name="connsiteX3" fmla="*/ 255096 w 255095"/>
                  <a:gd name="connsiteY3" fmla="*/ 127548 h 255095"/>
                  <a:gd name="connsiteX4" fmla="*/ 127548 w 255095"/>
                  <a:gd name="connsiteY4" fmla="*/ 255096 h 255095"/>
                  <a:gd name="connsiteX5" fmla="*/ 127548 w 255095"/>
                  <a:gd name="connsiteY5" fmla="*/ 12755 h 255095"/>
                  <a:gd name="connsiteX6" fmla="*/ 12755 w 255095"/>
                  <a:gd name="connsiteY6" fmla="*/ 127548 h 255095"/>
                  <a:gd name="connsiteX7" fmla="*/ 127548 w 255095"/>
                  <a:gd name="connsiteY7" fmla="*/ 242341 h 255095"/>
                  <a:gd name="connsiteX8" fmla="*/ 242341 w 255095"/>
                  <a:gd name="connsiteY8" fmla="*/ 127548 h 255095"/>
                  <a:gd name="connsiteX9" fmla="*/ 127548 w 255095"/>
                  <a:gd name="connsiteY9" fmla="*/ 12755 h 255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5095" h="255095">
                    <a:moveTo>
                      <a:pt x="127548" y="255096"/>
                    </a:moveTo>
                    <a:cubicBezTo>
                      <a:pt x="57218" y="255096"/>
                      <a:pt x="0" y="197878"/>
                      <a:pt x="0" y="127548"/>
                    </a:cubicBezTo>
                    <a:cubicBezTo>
                      <a:pt x="0" y="57218"/>
                      <a:pt x="57218" y="0"/>
                      <a:pt x="127548" y="0"/>
                    </a:cubicBezTo>
                    <a:cubicBezTo>
                      <a:pt x="197878" y="0"/>
                      <a:pt x="255096" y="57218"/>
                      <a:pt x="255096" y="127548"/>
                    </a:cubicBezTo>
                    <a:cubicBezTo>
                      <a:pt x="255096" y="197878"/>
                      <a:pt x="197878" y="255096"/>
                      <a:pt x="127548" y="255096"/>
                    </a:cubicBezTo>
                    <a:close/>
                    <a:moveTo>
                      <a:pt x="127548" y="12755"/>
                    </a:moveTo>
                    <a:cubicBezTo>
                      <a:pt x="64252" y="12755"/>
                      <a:pt x="12755" y="64252"/>
                      <a:pt x="12755" y="127548"/>
                    </a:cubicBezTo>
                    <a:cubicBezTo>
                      <a:pt x="12755" y="190843"/>
                      <a:pt x="64252" y="242341"/>
                      <a:pt x="127548" y="242341"/>
                    </a:cubicBezTo>
                    <a:cubicBezTo>
                      <a:pt x="190844" y="242341"/>
                      <a:pt x="242341" y="190843"/>
                      <a:pt x="242341" y="127548"/>
                    </a:cubicBezTo>
                    <a:cubicBezTo>
                      <a:pt x="242341" y="64252"/>
                      <a:pt x="190850" y="12755"/>
                      <a:pt x="127548" y="12755"/>
                    </a:cubicBezTo>
                    <a:close/>
                  </a:path>
                </a:pathLst>
              </a:custGeom>
              <a:grpFill/>
              <a:ln w="637" cap="flat">
                <a:noFill/>
                <a:prstDash val="solid"/>
                <a:miter/>
              </a:ln>
            </p:spPr>
            <p:txBody>
              <a:bodyPr rtlCol="0" anchor="ctr"/>
              <a:lstStyle/>
              <a:p>
                <a:endParaRPr lang="en-GB" dirty="0"/>
              </a:p>
            </p:txBody>
          </p:sp>
          <p:grpSp>
            <p:nvGrpSpPr>
              <p:cNvPr id="750" name="Graphic 32">
                <a:extLst>
                  <a:ext uri="{FF2B5EF4-FFF2-40B4-BE49-F238E27FC236}">
                    <a16:creationId xmlns:a16="http://schemas.microsoft.com/office/drawing/2014/main" id="{C60224C5-FAD7-4C56-99CD-35AF42BAD2AE}"/>
                  </a:ext>
                </a:extLst>
              </p:cNvPr>
              <p:cNvGrpSpPr/>
              <p:nvPr/>
            </p:nvGrpSpPr>
            <p:grpSpPr>
              <a:xfrm>
                <a:off x="1628762" y="2617985"/>
                <a:ext cx="95660" cy="66930"/>
                <a:chOff x="5859069" y="2610490"/>
                <a:chExt cx="95660" cy="66930"/>
              </a:xfrm>
              <a:grpFill/>
            </p:grpSpPr>
            <p:sp>
              <p:nvSpPr>
                <p:cNvPr id="782" name="Freeform: Shape 781">
                  <a:extLst>
                    <a:ext uri="{FF2B5EF4-FFF2-40B4-BE49-F238E27FC236}">
                      <a16:creationId xmlns:a16="http://schemas.microsoft.com/office/drawing/2014/main" id="{1EF7C3D2-63DB-4825-9E98-526F160F423B}"/>
                    </a:ext>
                  </a:extLst>
                </p:cNvPr>
                <p:cNvSpPr/>
                <p:nvPr/>
              </p:nvSpPr>
              <p:spPr>
                <a:xfrm>
                  <a:off x="5859069" y="2610490"/>
                  <a:ext cx="57396" cy="66930"/>
                </a:xfrm>
                <a:custGeom>
                  <a:avLst/>
                  <a:gdLst>
                    <a:gd name="connsiteX0" fmla="*/ 24049 w 57396"/>
                    <a:gd name="connsiteY0" fmla="*/ 66931 h 66930"/>
                    <a:gd name="connsiteX1" fmla="*/ 0 w 57396"/>
                    <a:gd name="connsiteY1" fmla="*/ 33583 h 66930"/>
                    <a:gd name="connsiteX2" fmla="*/ 23118 w 57396"/>
                    <a:gd name="connsiteY2" fmla="*/ 0 h 66930"/>
                    <a:gd name="connsiteX3" fmla="*/ 57397 w 57396"/>
                    <a:gd name="connsiteY3" fmla="*/ 33583 h 66930"/>
                    <a:gd name="connsiteX4" fmla="*/ 24049 w 57396"/>
                    <a:gd name="connsiteY4" fmla="*/ 66931 h 66930"/>
                    <a:gd name="connsiteX5" fmla="*/ 23118 w 57396"/>
                    <a:gd name="connsiteY5" fmla="*/ 12755 h 66930"/>
                    <a:gd name="connsiteX6" fmla="*/ 12755 w 57396"/>
                    <a:gd name="connsiteY6" fmla="*/ 33583 h 66930"/>
                    <a:gd name="connsiteX7" fmla="*/ 24049 w 57396"/>
                    <a:gd name="connsiteY7" fmla="*/ 54176 h 66930"/>
                    <a:gd name="connsiteX8" fmla="*/ 44642 w 57396"/>
                    <a:gd name="connsiteY8" fmla="*/ 33583 h 66930"/>
                    <a:gd name="connsiteX9" fmla="*/ 23118 w 57396"/>
                    <a:gd name="connsiteY9" fmla="*/ 12755 h 6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396" h="66930">
                      <a:moveTo>
                        <a:pt x="24049" y="66931"/>
                      </a:moveTo>
                      <a:cubicBezTo>
                        <a:pt x="7436" y="66931"/>
                        <a:pt x="0" y="50184"/>
                        <a:pt x="0" y="33583"/>
                      </a:cubicBezTo>
                      <a:cubicBezTo>
                        <a:pt x="0" y="13182"/>
                        <a:pt x="9075" y="0"/>
                        <a:pt x="23118" y="0"/>
                      </a:cubicBezTo>
                      <a:cubicBezTo>
                        <a:pt x="39457" y="0"/>
                        <a:pt x="57397" y="17576"/>
                        <a:pt x="57397" y="33583"/>
                      </a:cubicBezTo>
                      <a:cubicBezTo>
                        <a:pt x="57397" y="49788"/>
                        <a:pt x="40254" y="66931"/>
                        <a:pt x="24049" y="66931"/>
                      </a:cubicBezTo>
                      <a:close/>
                      <a:moveTo>
                        <a:pt x="23118" y="12755"/>
                      </a:moveTo>
                      <a:cubicBezTo>
                        <a:pt x="13042" y="12755"/>
                        <a:pt x="12755" y="31447"/>
                        <a:pt x="12755" y="33583"/>
                      </a:cubicBezTo>
                      <a:cubicBezTo>
                        <a:pt x="12755" y="40707"/>
                        <a:pt x="15114" y="54176"/>
                        <a:pt x="24049" y="54176"/>
                      </a:cubicBezTo>
                      <a:cubicBezTo>
                        <a:pt x="33290" y="54176"/>
                        <a:pt x="44642" y="42818"/>
                        <a:pt x="44642" y="33583"/>
                      </a:cubicBezTo>
                      <a:cubicBezTo>
                        <a:pt x="44642" y="23928"/>
                        <a:pt x="31619" y="12755"/>
                        <a:pt x="23118" y="12755"/>
                      </a:cubicBezTo>
                      <a:close/>
                    </a:path>
                  </a:pathLst>
                </a:custGeom>
                <a:grpFill/>
                <a:ln w="637" cap="flat">
                  <a:noFill/>
                  <a:prstDash val="solid"/>
                  <a:miter/>
                </a:ln>
              </p:spPr>
              <p:txBody>
                <a:bodyPr rtlCol="0" anchor="ctr"/>
                <a:lstStyle/>
                <a:p>
                  <a:endParaRPr lang="en-GB" dirty="0"/>
                </a:p>
              </p:txBody>
            </p:sp>
            <p:sp>
              <p:nvSpPr>
                <p:cNvPr id="783" name="Freeform: Shape 782">
                  <a:extLst>
                    <a:ext uri="{FF2B5EF4-FFF2-40B4-BE49-F238E27FC236}">
                      <a16:creationId xmlns:a16="http://schemas.microsoft.com/office/drawing/2014/main" id="{C6660604-3BF1-44F8-A7E4-EC30AA4AB765}"/>
                    </a:ext>
                  </a:extLst>
                </p:cNvPr>
                <p:cNvSpPr/>
                <p:nvPr/>
              </p:nvSpPr>
              <p:spPr>
                <a:xfrm>
                  <a:off x="5903711" y="2637715"/>
                  <a:ext cx="51019" cy="12754"/>
                </a:xfrm>
                <a:custGeom>
                  <a:avLst/>
                  <a:gdLst>
                    <a:gd name="connsiteX0" fmla="*/ 44642 w 51019"/>
                    <a:gd name="connsiteY0" fmla="*/ 12755 h 12754"/>
                    <a:gd name="connsiteX1" fmla="*/ 6377 w 51019"/>
                    <a:gd name="connsiteY1" fmla="*/ 12755 h 12754"/>
                    <a:gd name="connsiteX2" fmla="*/ 0 w 51019"/>
                    <a:gd name="connsiteY2" fmla="*/ 6377 h 12754"/>
                    <a:gd name="connsiteX3" fmla="*/ 6377 w 51019"/>
                    <a:gd name="connsiteY3" fmla="*/ 0 h 12754"/>
                    <a:gd name="connsiteX4" fmla="*/ 44642 w 51019"/>
                    <a:gd name="connsiteY4" fmla="*/ 0 h 12754"/>
                    <a:gd name="connsiteX5" fmla="*/ 51019 w 51019"/>
                    <a:gd name="connsiteY5" fmla="*/ 6377 h 12754"/>
                    <a:gd name="connsiteX6" fmla="*/ 44642 w 51019"/>
                    <a:gd name="connsiteY6" fmla="*/ 12755 h 1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019" h="12754">
                      <a:moveTo>
                        <a:pt x="44642" y="12755"/>
                      </a:moveTo>
                      <a:lnTo>
                        <a:pt x="6377" y="12755"/>
                      </a:lnTo>
                      <a:cubicBezTo>
                        <a:pt x="2857" y="12755"/>
                        <a:pt x="0" y="9898"/>
                        <a:pt x="0" y="6377"/>
                      </a:cubicBezTo>
                      <a:cubicBezTo>
                        <a:pt x="0" y="2857"/>
                        <a:pt x="2857" y="0"/>
                        <a:pt x="6377" y="0"/>
                      </a:cubicBezTo>
                      <a:lnTo>
                        <a:pt x="44642" y="0"/>
                      </a:lnTo>
                      <a:cubicBezTo>
                        <a:pt x="48162" y="0"/>
                        <a:pt x="51019" y="2857"/>
                        <a:pt x="51019" y="6377"/>
                      </a:cubicBezTo>
                      <a:cubicBezTo>
                        <a:pt x="51019" y="9898"/>
                        <a:pt x="48168" y="12755"/>
                        <a:pt x="44642" y="12755"/>
                      </a:cubicBezTo>
                      <a:close/>
                    </a:path>
                  </a:pathLst>
                </a:custGeom>
                <a:grpFill/>
                <a:ln w="637" cap="flat">
                  <a:noFill/>
                  <a:prstDash val="solid"/>
                  <a:miter/>
                </a:ln>
              </p:spPr>
              <p:txBody>
                <a:bodyPr rtlCol="0" anchor="ctr"/>
                <a:lstStyle/>
                <a:p>
                  <a:endParaRPr lang="en-GB" dirty="0"/>
                </a:p>
              </p:txBody>
            </p:sp>
          </p:grpSp>
          <p:grpSp>
            <p:nvGrpSpPr>
              <p:cNvPr id="751" name="Graphic 32">
                <a:extLst>
                  <a:ext uri="{FF2B5EF4-FFF2-40B4-BE49-F238E27FC236}">
                    <a16:creationId xmlns:a16="http://schemas.microsoft.com/office/drawing/2014/main" id="{4EF4D5A6-528E-415F-B2C2-288D4749537E}"/>
                  </a:ext>
                </a:extLst>
              </p:cNvPr>
              <p:cNvGrpSpPr/>
              <p:nvPr/>
            </p:nvGrpSpPr>
            <p:grpSpPr>
              <a:xfrm>
                <a:off x="1954545" y="2617870"/>
                <a:ext cx="95661" cy="66930"/>
                <a:chOff x="6184852" y="2610375"/>
                <a:chExt cx="95661" cy="66930"/>
              </a:xfrm>
              <a:grpFill/>
            </p:grpSpPr>
            <p:sp>
              <p:nvSpPr>
                <p:cNvPr id="780" name="Freeform: Shape 779">
                  <a:extLst>
                    <a:ext uri="{FF2B5EF4-FFF2-40B4-BE49-F238E27FC236}">
                      <a16:creationId xmlns:a16="http://schemas.microsoft.com/office/drawing/2014/main" id="{2ED3DE66-4D08-4EED-9A54-65D947B2B35C}"/>
                    </a:ext>
                  </a:extLst>
                </p:cNvPr>
                <p:cNvSpPr/>
                <p:nvPr/>
              </p:nvSpPr>
              <p:spPr>
                <a:xfrm>
                  <a:off x="6223116" y="2610375"/>
                  <a:ext cx="57397" cy="66930"/>
                </a:xfrm>
                <a:custGeom>
                  <a:avLst/>
                  <a:gdLst>
                    <a:gd name="connsiteX0" fmla="*/ 33399 w 57397"/>
                    <a:gd name="connsiteY0" fmla="*/ 66931 h 66930"/>
                    <a:gd name="connsiteX1" fmla="*/ 10887 w 57397"/>
                    <a:gd name="connsiteY1" fmla="*/ 56638 h 66930"/>
                    <a:gd name="connsiteX2" fmla="*/ 0 w 57397"/>
                    <a:gd name="connsiteY2" fmla="*/ 33743 h 66930"/>
                    <a:gd name="connsiteX3" fmla="*/ 34119 w 57397"/>
                    <a:gd name="connsiteY3" fmla="*/ 0 h 66930"/>
                    <a:gd name="connsiteX4" fmla="*/ 34228 w 57397"/>
                    <a:gd name="connsiteY4" fmla="*/ 0 h 66930"/>
                    <a:gd name="connsiteX5" fmla="*/ 52850 w 57397"/>
                    <a:gd name="connsiteY5" fmla="*/ 12072 h 66930"/>
                    <a:gd name="connsiteX6" fmla="*/ 57397 w 57397"/>
                    <a:gd name="connsiteY6" fmla="*/ 33469 h 66930"/>
                    <a:gd name="connsiteX7" fmla="*/ 33507 w 57397"/>
                    <a:gd name="connsiteY7" fmla="*/ 66931 h 66930"/>
                    <a:gd name="connsiteX8" fmla="*/ 33399 w 57397"/>
                    <a:gd name="connsiteY8" fmla="*/ 66931 h 66930"/>
                    <a:gd name="connsiteX9" fmla="*/ 34145 w 57397"/>
                    <a:gd name="connsiteY9" fmla="*/ 6377 h 66930"/>
                    <a:gd name="connsiteX10" fmla="*/ 34177 w 57397"/>
                    <a:gd name="connsiteY10" fmla="*/ 12755 h 66930"/>
                    <a:gd name="connsiteX11" fmla="*/ 12755 w 57397"/>
                    <a:gd name="connsiteY11" fmla="*/ 33679 h 66930"/>
                    <a:gd name="connsiteX12" fmla="*/ 19777 w 57397"/>
                    <a:gd name="connsiteY12" fmla="*/ 47493 h 66930"/>
                    <a:gd name="connsiteX13" fmla="*/ 33450 w 57397"/>
                    <a:gd name="connsiteY13" fmla="*/ 54176 h 66930"/>
                    <a:gd name="connsiteX14" fmla="*/ 44642 w 57397"/>
                    <a:gd name="connsiteY14" fmla="*/ 33532 h 66930"/>
                    <a:gd name="connsiteX15" fmla="*/ 41523 w 57397"/>
                    <a:gd name="connsiteY15" fmla="*/ 17940 h 66930"/>
                    <a:gd name="connsiteX16" fmla="*/ 34183 w 57397"/>
                    <a:gd name="connsiteY16" fmla="*/ 12755 h 66930"/>
                    <a:gd name="connsiteX17" fmla="*/ 34145 w 57397"/>
                    <a:gd name="connsiteY17" fmla="*/ 6377 h 66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397" h="66930">
                      <a:moveTo>
                        <a:pt x="33399" y="66931"/>
                      </a:moveTo>
                      <a:cubicBezTo>
                        <a:pt x="25816" y="66931"/>
                        <a:pt x="17615" y="63187"/>
                        <a:pt x="10887" y="56638"/>
                      </a:cubicBezTo>
                      <a:cubicBezTo>
                        <a:pt x="4005" y="49948"/>
                        <a:pt x="39" y="41606"/>
                        <a:pt x="0" y="33743"/>
                      </a:cubicBezTo>
                      <a:cubicBezTo>
                        <a:pt x="-76" y="17736"/>
                        <a:pt x="17780" y="77"/>
                        <a:pt x="34119" y="0"/>
                      </a:cubicBezTo>
                      <a:cubicBezTo>
                        <a:pt x="34151" y="0"/>
                        <a:pt x="34189" y="0"/>
                        <a:pt x="34228" y="0"/>
                      </a:cubicBezTo>
                      <a:cubicBezTo>
                        <a:pt x="42199" y="0"/>
                        <a:pt x="48813" y="4279"/>
                        <a:pt x="52850" y="12072"/>
                      </a:cubicBezTo>
                      <a:cubicBezTo>
                        <a:pt x="56561" y="19234"/>
                        <a:pt x="57371" y="27665"/>
                        <a:pt x="57397" y="33469"/>
                      </a:cubicBezTo>
                      <a:cubicBezTo>
                        <a:pt x="57473" y="50069"/>
                        <a:pt x="50120" y="66848"/>
                        <a:pt x="33507" y="66931"/>
                      </a:cubicBezTo>
                      <a:cubicBezTo>
                        <a:pt x="33469" y="66931"/>
                        <a:pt x="33431" y="66931"/>
                        <a:pt x="33399" y="66931"/>
                      </a:cubicBezTo>
                      <a:close/>
                      <a:moveTo>
                        <a:pt x="34145" y="6377"/>
                      </a:moveTo>
                      <a:lnTo>
                        <a:pt x="34177" y="12755"/>
                      </a:lnTo>
                      <a:cubicBezTo>
                        <a:pt x="25676" y="12793"/>
                        <a:pt x="12704" y="24030"/>
                        <a:pt x="12755" y="33679"/>
                      </a:cubicBezTo>
                      <a:cubicBezTo>
                        <a:pt x="12774" y="38073"/>
                        <a:pt x="15402" y="43239"/>
                        <a:pt x="19777" y="47493"/>
                      </a:cubicBezTo>
                      <a:cubicBezTo>
                        <a:pt x="24037" y="51631"/>
                        <a:pt x="29126" y="54055"/>
                        <a:pt x="33450" y="54176"/>
                      </a:cubicBezTo>
                      <a:cubicBezTo>
                        <a:pt x="42384" y="54131"/>
                        <a:pt x="44680" y="40649"/>
                        <a:pt x="44642" y="33532"/>
                      </a:cubicBezTo>
                      <a:cubicBezTo>
                        <a:pt x="44616" y="27302"/>
                        <a:pt x="43507" y="21766"/>
                        <a:pt x="41523" y="17940"/>
                      </a:cubicBezTo>
                      <a:cubicBezTo>
                        <a:pt x="39132" y="13322"/>
                        <a:pt x="36377" y="12685"/>
                        <a:pt x="34183" y="12755"/>
                      </a:cubicBezTo>
                      <a:lnTo>
                        <a:pt x="34145" y="6377"/>
                      </a:lnTo>
                      <a:close/>
                    </a:path>
                  </a:pathLst>
                </a:custGeom>
                <a:grpFill/>
                <a:ln w="637" cap="flat">
                  <a:noFill/>
                  <a:prstDash val="solid"/>
                  <a:miter/>
                </a:ln>
              </p:spPr>
              <p:txBody>
                <a:bodyPr rtlCol="0" anchor="ctr"/>
                <a:lstStyle/>
                <a:p>
                  <a:endParaRPr lang="en-GB" dirty="0"/>
                </a:p>
              </p:txBody>
            </p:sp>
            <p:sp>
              <p:nvSpPr>
                <p:cNvPr id="781" name="Freeform: Shape 780">
                  <a:extLst>
                    <a:ext uri="{FF2B5EF4-FFF2-40B4-BE49-F238E27FC236}">
                      <a16:creationId xmlns:a16="http://schemas.microsoft.com/office/drawing/2014/main" id="{D502DF3A-1DA2-4545-BC05-B16B52A5CAF9}"/>
                    </a:ext>
                  </a:extLst>
                </p:cNvPr>
                <p:cNvSpPr/>
                <p:nvPr/>
              </p:nvSpPr>
              <p:spPr>
                <a:xfrm>
                  <a:off x="6184852" y="2637734"/>
                  <a:ext cx="51019" cy="12933"/>
                </a:xfrm>
                <a:custGeom>
                  <a:avLst/>
                  <a:gdLst>
                    <a:gd name="connsiteX0" fmla="*/ 6377 w 51019"/>
                    <a:gd name="connsiteY0" fmla="*/ 12933 h 12933"/>
                    <a:gd name="connsiteX1" fmla="*/ 0 w 51019"/>
                    <a:gd name="connsiteY1" fmla="*/ 6588 h 12933"/>
                    <a:gd name="connsiteX2" fmla="*/ 6346 w 51019"/>
                    <a:gd name="connsiteY2" fmla="*/ 179 h 12933"/>
                    <a:gd name="connsiteX3" fmla="*/ 44610 w 51019"/>
                    <a:gd name="connsiteY3" fmla="*/ 0 h 12933"/>
                    <a:gd name="connsiteX4" fmla="*/ 44642 w 51019"/>
                    <a:gd name="connsiteY4" fmla="*/ 0 h 12933"/>
                    <a:gd name="connsiteX5" fmla="*/ 51019 w 51019"/>
                    <a:gd name="connsiteY5" fmla="*/ 6346 h 12933"/>
                    <a:gd name="connsiteX6" fmla="*/ 44674 w 51019"/>
                    <a:gd name="connsiteY6" fmla="*/ 12755 h 12933"/>
                    <a:gd name="connsiteX7" fmla="*/ 6409 w 51019"/>
                    <a:gd name="connsiteY7" fmla="*/ 12933 h 12933"/>
                    <a:gd name="connsiteX8" fmla="*/ 6377 w 51019"/>
                    <a:gd name="connsiteY8" fmla="*/ 12933 h 1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019" h="12933">
                      <a:moveTo>
                        <a:pt x="6377" y="12933"/>
                      </a:moveTo>
                      <a:cubicBezTo>
                        <a:pt x="2870" y="12933"/>
                        <a:pt x="13" y="10095"/>
                        <a:pt x="0" y="6588"/>
                      </a:cubicBezTo>
                      <a:cubicBezTo>
                        <a:pt x="-13" y="3068"/>
                        <a:pt x="2825" y="198"/>
                        <a:pt x="6346" y="179"/>
                      </a:cubicBezTo>
                      <a:lnTo>
                        <a:pt x="44610" y="0"/>
                      </a:lnTo>
                      <a:cubicBezTo>
                        <a:pt x="44623" y="0"/>
                        <a:pt x="44629" y="0"/>
                        <a:pt x="44642" y="0"/>
                      </a:cubicBezTo>
                      <a:cubicBezTo>
                        <a:pt x="48149" y="0"/>
                        <a:pt x="51006" y="2838"/>
                        <a:pt x="51019" y="6346"/>
                      </a:cubicBezTo>
                      <a:cubicBezTo>
                        <a:pt x="51032" y="9866"/>
                        <a:pt x="48194" y="12736"/>
                        <a:pt x="44674" y="12755"/>
                      </a:cubicBezTo>
                      <a:lnTo>
                        <a:pt x="6409" y="12933"/>
                      </a:lnTo>
                      <a:cubicBezTo>
                        <a:pt x="6397" y="12933"/>
                        <a:pt x="6384" y="12933"/>
                        <a:pt x="6377" y="12933"/>
                      </a:cubicBezTo>
                      <a:close/>
                    </a:path>
                  </a:pathLst>
                </a:custGeom>
                <a:grpFill/>
                <a:ln w="637" cap="flat">
                  <a:noFill/>
                  <a:prstDash val="solid"/>
                  <a:miter/>
                </a:ln>
              </p:spPr>
              <p:txBody>
                <a:bodyPr rtlCol="0" anchor="ctr"/>
                <a:lstStyle/>
                <a:p>
                  <a:endParaRPr lang="en-GB" dirty="0"/>
                </a:p>
              </p:txBody>
            </p:sp>
          </p:grpSp>
          <p:grpSp>
            <p:nvGrpSpPr>
              <p:cNvPr id="752" name="Graphic 32">
                <a:extLst>
                  <a:ext uri="{FF2B5EF4-FFF2-40B4-BE49-F238E27FC236}">
                    <a16:creationId xmlns:a16="http://schemas.microsoft.com/office/drawing/2014/main" id="{304C2739-DB4E-4290-8E7E-4764233198CE}"/>
                  </a:ext>
                </a:extLst>
              </p:cNvPr>
              <p:cNvGrpSpPr/>
              <p:nvPr/>
            </p:nvGrpSpPr>
            <p:grpSpPr>
              <a:xfrm>
                <a:off x="1677269" y="2441261"/>
                <a:ext cx="324646" cy="131259"/>
                <a:chOff x="5907576" y="2433766"/>
                <a:chExt cx="324646" cy="131259"/>
              </a:xfrm>
              <a:grpFill/>
            </p:grpSpPr>
            <p:grpSp>
              <p:nvGrpSpPr>
                <p:cNvPr id="771" name="Graphic 32">
                  <a:extLst>
                    <a:ext uri="{FF2B5EF4-FFF2-40B4-BE49-F238E27FC236}">
                      <a16:creationId xmlns:a16="http://schemas.microsoft.com/office/drawing/2014/main" id="{AA4364F2-080F-4B7A-9981-0C199CA46E0E}"/>
                    </a:ext>
                  </a:extLst>
                </p:cNvPr>
                <p:cNvGrpSpPr/>
                <p:nvPr/>
              </p:nvGrpSpPr>
              <p:grpSpPr>
                <a:xfrm>
                  <a:off x="6036463" y="2433766"/>
                  <a:ext cx="66930" cy="95660"/>
                  <a:chOff x="6036463" y="2433766"/>
                  <a:chExt cx="66930" cy="95660"/>
                </a:xfrm>
                <a:grpFill/>
              </p:grpSpPr>
              <p:sp>
                <p:nvSpPr>
                  <p:cNvPr id="778" name="Freeform: Shape 777">
                    <a:extLst>
                      <a:ext uri="{FF2B5EF4-FFF2-40B4-BE49-F238E27FC236}">
                        <a16:creationId xmlns:a16="http://schemas.microsoft.com/office/drawing/2014/main" id="{70349B9E-5567-4D29-9B4D-BA9925090404}"/>
                      </a:ext>
                    </a:extLst>
                  </p:cNvPr>
                  <p:cNvSpPr/>
                  <p:nvPr/>
                </p:nvSpPr>
                <p:spPr>
                  <a:xfrm>
                    <a:off x="6036463" y="2433766"/>
                    <a:ext cx="66930" cy="57396"/>
                  </a:xfrm>
                  <a:custGeom>
                    <a:avLst/>
                    <a:gdLst>
                      <a:gd name="connsiteX0" fmla="*/ 33347 w 66930"/>
                      <a:gd name="connsiteY0" fmla="*/ 57397 h 57396"/>
                      <a:gd name="connsiteX1" fmla="*/ 0 w 66930"/>
                      <a:gd name="connsiteY1" fmla="*/ 24049 h 57396"/>
                      <a:gd name="connsiteX2" fmla="*/ 33347 w 66930"/>
                      <a:gd name="connsiteY2" fmla="*/ 0 h 57396"/>
                      <a:gd name="connsiteX3" fmla="*/ 66931 w 66930"/>
                      <a:gd name="connsiteY3" fmla="*/ 23118 h 57396"/>
                      <a:gd name="connsiteX4" fmla="*/ 33347 w 66930"/>
                      <a:gd name="connsiteY4" fmla="*/ 57397 h 57396"/>
                      <a:gd name="connsiteX5" fmla="*/ 33347 w 66930"/>
                      <a:gd name="connsiteY5" fmla="*/ 12755 h 57396"/>
                      <a:gd name="connsiteX6" fmla="*/ 12755 w 66930"/>
                      <a:gd name="connsiteY6" fmla="*/ 24049 h 57396"/>
                      <a:gd name="connsiteX7" fmla="*/ 33347 w 66930"/>
                      <a:gd name="connsiteY7" fmla="*/ 44642 h 57396"/>
                      <a:gd name="connsiteX8" fmla="*/ 54176 w 66930"/>
                      <a:gd name="connsiteY8" fmla="*/ 23118 h 57396"/>
                      <a:gd name="connsiteX9" fmla="*/ 33347 w 66930"/>
                      <a:gd name="connsiteY9" fmla="*/ 12755 h 5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930" h="57396">
                        <a:moveTo>
                          <a:pt x="33347" y="57397"/>
                        </a:moveTo>
                        <a:cubicBezTo>
                          <a:pt x="17142" y="57397"/>
                          <a:pt x="0" y="40254"/>
                          <a:pt x="0" y="24049"/>
                        </a:cubicBezTo>
                        <a:cubicBezTo>
                          <a:pt x="0" y="7436"/>
                          <a:pt x="16747" y="0"/>
                          <a:pt x="33347" y="0"/>
                        </a:cubicBezTo>
                        <a:cubicBezTo>
                          <a:pt x="53749" y="0"/>
                          <a:pt x="66931" y="9075"/>
                          <a:pt x="66931" y="23118"/>
                        </a:cubicBezTo>
                        <a:cubicBezTo>
                          <a:pt x="66924" y="39457"/>
                          <a:pt x="49348" y="57397"/>
                          <a:pt x="33347" y="57397"/>
                        </a:cubicBezTo>
                        <a:close/>
                        <a:moveTo>
                          <a:pt x="33347" y="12755"/>
                        </a:moveTo>
                        <a:cubicBezTo>
                          <a:pt x="26224" y="12755"/>
                          <a:pt x="12755" y="15114"/>
                          <a:pt x="12755" y="24049"/>
                        </a:cubicBezTo>
                        <a:cubicBezTo>
                          <a:pt x="12755" y="33290"/>
                          <a:pt x="24107" y="44642"/>
                          <a:pt x="33347" y="44642"/>
                        </a:cubicBezTo>
                        <a:cubicBezTo>
                          <a:pt x="43003" y="44642"/>
                          <a:pt x="54176" y="31619"/>
                          <a:pt x="54176" y="23118"/>
                        </a:cubicBezTo>
                        <a:cubicBezTo>
                          <a:pt x="54170" y="13048"/>
                          <a:pt x="35477" y="12755"/>
                          <a:pt x="33347" y="12755"/>
                        </a:cubicBezTo>
                        <a:close/>
                      </a:path>
                    </a:pathLst>
                  </a:custGeom>
                  <a:grpFill/>
                  <a:ln w="637" cap="flat">
                    <a:noFill/>
                    <a:prstDash val="solid"/>
                    <a:miter/>
                  </a:ln>
                </p:spPr>
                <p:txBody>
                  <a:bodyPr rtlCol="0" anchor="ctr"/>
                  <a:lstStyle/>
                  <a:p>
                    <a:endParaRPr lang="en-GB" dirty="0"/>
                  </a:p>
                </p:txBody>
              </p:sp>
              <p:sp>
                <p:nvSpPr>
                  <p:cNvPr id="779" name="Freeform: Shape 778">
                    <a:extLst>
                      <a:ext uri="{FF2B5EF4-FFF2-40B4-BE49-F238E27FC236}">
                        <a16:creationId xmlns:a16="http://schemas.microsoft.com/office/drawing/2014/main" id="{5755DF81-078A-4DEB-A373-8C2A20D65972}"/>
                      </a:ext>
                    </a:extLst>
                  </p:cNvPr>
                  <p:cNvSpPr/>
                  <p:nvPr/>
                </p:nvSpPr>
                <p:spPr>
                  <a:xfrm>
                    <a:off x="6063414" y="2478408"/>
                    <a:ext cx="12754" cy="51019"/>
                  </a:xfrm>
                  <a:custGeom>
                    <a:avLst/>
                    <a:gdLst>
                      <a:gd name="connsiteX0" fmla="*/ 6377 w 12754"/>
                      <a:gd name="connsiteY0" fmla="*/ 51019 h 51019"/>
                      <a:gd name="connsiteX1" fmla="*/ 0 w 12754"/>
                      <a:gd name="connsiteY1" fmla="*/ 44642 h 51019"/>
                      <a:gd name="connsiteX2" fmla="*/ 0 w 12754"/>
                      <a:gd name="connsiteY2" fmla="*/ 6377 h 51019"/>
                      <a:gd name="connsiteX3" fmla="*/ 6377 w 12754"/>
                      <a:gd name="connsiteY3" fmla="*/ 0 h 51019"/>
                      <a:gd name="connsiteX4" fmla="*/ 12755 w 12754"/>
                      <a:gd name="connsiteY4" fmla="*/ 6377 h 51019"/>
                      <a:gd name="connsiteX5" fmla="*/ 12755 w 12754"/>
                      <a:gd name="connsiteY5" fmla="*/ 44642 h 51019"/>
                      <a:gd name="connsiteX6" fmla="*/ 6377 w 12754"/>
                      <a:gd name="connsiteY6" fmla="*/ 51019 h 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51019">
                        <a:moveTo>
                          <a:pt x="6377" y="51019"/>
                        </a:moveTo>
                        <a:cubicBezTo>
                          <a:pt x="2857" y="51019"/>
                          <a:pt x="0" y="48162"/>
                          <a:pt x="0" y="44642"/>
                        </a:cubicBezTo>
                        <a:lnTo>
                          <a:pt x="0" y="6377"/>
                        </a:lnTo>
                        <a:cubicBezTo>
                          <a:pt x="0" y="2857"/>
                          <a:pt x="2857" y="0"/>
                          <a:pt x="6377" y="0"/>
                        </a:cubicBezTo>
                        <a:cubicBezTo>
                          <a:pt x="9898" y="0"/>
                          <a:pt x="12755" y="2857"/>
                          <a:pt x="12755" y="6377"/>
                        </a:cubicBezTo>
                        <a:lnTo>
                          <a:pt x="12755" y="44642"/>
                        </a:lnTo>
                        <a:cubicBezTo>
                          <a:pt x="12755" y="48162"/>
                          <a:pt x="9898" y="51019"/>
                          <a:pt x="6377" y="51019"/>
                        </a:cubicBezTo>
                        <a:close/>
                      </a:path>
                    </a:pathLst>
                  </a:custGeom>
                  <a:grpFill/>
                  <a:ln w="637" cap="flat">
                    <a:noFill/>
                    <a:prstDash val="solid"/>
                    <a:miter/>
                  </a:ln>
                </p:spPr>
                <p:txBody>
                  <a:bodyPr rtlCol="0" anchor="ctr"/>
                  <a:lstStyle/>
                  <a:p>
                    <a:endParaRPr lang="en-GB" dirty="0"/>
                  </a:p>
                </p:txBody>
              </p:sp>
            </p:grpSp>
            <p:grpSp>
              <p:nvGrpSpPr>
                <p:cNvPr id="772" name="Graphic 32">
                  <a:extLst>
                    <a:ext uri="{FF2B5EF4-FFF2-40B4-BE49-F238E27FC236}">
                      <a16:creationId xmlns:a16="http://schemas.microsoft.com/office/drawing/2014/main" id="{A51927B1-D3A3-4A6A-8ABB-11BAEB017B25}"/>
                    </a:ext>
                  </a:extLst>
                </p:cNvPr>
                <p:cNvGrpSpPr/>
                <p:nvPr/>
              </p:nvGrpSpPr>
              <p:grpSpPr>
                <a:xfrm>
                  <a:off x="6149462" y="2482776"/>
                  <a:ext cx="82760" cy="82250"/>
                  <a:chOff x="6149462" y="2482776"/>
                  <a:chExt cx="82760" cy="82250"/>
                </a:xfrm>
                <a:grpFill/>
              </p:grpSpPr>
              <p:sp>
                <p:nvSpPr>
                  <p:cNvPr id="776" name="Freeform: Shape 775">
                    <a:extLst>
                      <a:ext uri="{FF2B5EF4-FFF2-40B4-BE49-F238E27FC236}">
                        <a16:creationId xmlns:a16="http://schemas.microsoft.com/office/drawing/2014/main" id="{04CAF1C0-0E99-41EC-A71C-F23BAEB01C06}"/>
                      </a:ext>
                    </a:extLst>
                  </p:cNvPr>
                  <p:cNvSpPr/>
                  <p:nvPr/>
                </p:nvSpPr>
                <p:spPr>
                  <a:xfrm>
                    <a:off x="6169803" y="2482776"/>
                    <a:ext cx="62419" cy="61670"/>
                  </a:xfrm>
                  <a:custGeom>
                    <a:avLst/>
                    <a:gdLst>
                      <a:gd name="connsiteX0" fmla="*/ 32051 w 62419"/>
                      <a:gd name="connsiteY0" fmla="*/ 61670 h 61670"/>
                      <a:gd name="connsiteX1" fmla="*/ 8595 w 62419"/>
                      <a:gd name="connsiteY1" fmla="*/ 53335 h 61670"/>
                      <a:gd name="connsiteX2" fmla="*/ 8595 w 62419"/>
                      <a:gd name="connsiteY2" fmla="*/ 6174 h 61670"/>
                      <a:gd name="connsiteX3" fmla="*/ 49181 w 62419"/>
                      <a:gd name="connsiteY3" fmla="*/ 12749 h 61670"/>
                      <a:gd name="connsiteX4" fmla="*/ 56579 w 62419"/>
                      <a:gd name="connsiteY4" fmla="*/ 52844 h 61670"/>
                      <a:gd name="connsiteX5" fmla="*/ 32051 w 62419"/>
                      <a:gd name="connsiteY5" fmla="*/ 61670 h 61670"/>
                      <a:gd name="connsiteX6" fmla="*/ 23461 w 62419"/>
                      <a:gd name="connsiteY6" fmla="*/ 12839 h 61670"/>
                      <a:gd name="connsiteX7" fmla="*/ 17619 w 62419"/>
                      <a:gd name="connsiteY7" fmla="*/ 15192 h 61670"/>
                      <a:gd name="connsiteX8" fmla="*/ 17619 w 62419"/>
                      <a:gd name="connsiteY8" fmla="*/ 44318 h 61670"/>
                      <a:gd name="connsiteX9" fmla="*/ 47567 w 62419"/>
                      <a:gd name="connsiteY9" fmla="*/ 43826 h 61670"/>
                      <a:gd name="connsiteX10" fmla="*/ 40170 w 62419"/>
                      <a:gd name="connsiteY10" fmla="*/ 21773 h 61670"/>
                      <a:gd name="connsiteX11" fmla="*/ 23461 w 62419"/>
                      <a:gd name="connsiteY11" fmla="*/ 12839 h 61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419" h="61670">
                        <a:moveTo>
                          <a:pt x="32051" y="61670"/>
                        </a:moveTo>
                        <a:cubicBezTo>
                          <a:pt x="23065" y="61670"/>
                          <a:pt x="14163" y="58903"/>
                          <a:pt x="8595" y="53335"/>
                        </a:cubicBezTo>
                        <a:cubicBezTo>
                          <a:pt x="-2865" y="41875"/>
                          <a:pt x="-2865" y="17635"/>
                          <a:pt x="8595" y="6174"/>
                        </a:cubicBezTo>
                        <a:cubicBezTo>
                          <a:pt x="20342" y="-5566"/>
                          <a:pt x="37440" y="1015"/>
                          <a:pt x="49181" y="12749"/>
                        </a:cubicBezTo>
                        <a:cubicBezTo>
                          <a:pt x="63607" y="27175"/>
                          <a:pt x="66508" y="42908"/>
                          <a:pt x="56579" y="52844"/>
                        </a:cubicBezTo>
                        <a:cubicBezTo>
                          <a:pt x="50711" y="58711"/>
                          <a:pt x="41337" y="61670"/>
                          <a:pt x="32051" y="61670"/>
                        </a:cubicBezTo>
                        <a:close/>
                        <a:moveTo>
                          <a:pt x="23461" y="12839"/>
                        </a:moveTo>
                        <a:cubicBezTo>
                          <a:pt x="21312" y="12839"/>
                          <a:pt x="19290" y="13515"/>
                          <a:pt x="17619" y="15192"/>
                        </a:cubicBezTo>
                        <a:cubicBezTo>
                          <a:pt x="11089" y="21723"/>
                          <a:pt x="11089" y="37781"/>
                          <a:pt x="17619" y="44318"/>
                        </a:cubicBezTo>
                        <a:cubicBezTo>
                          <a:pt x="24449" y="51148"/>
                          <a:pt x="41560" y="49840"/>
                          <a:pt x="47567" y="43826"/>
                        </a:cubicBezTo>
                        <a:cubicBezTo>
                          <a:pt x="54691" y="36703"/>
                          <a:pt x="41681" y="23279"/>
                          <a:pt x="40170" y="21773"/>
                        </a:cubicBezTo>
                        <a:cubicBezTo>
                          <a:pt x="36464" y="18068"/>
                          <a:pt x="29436" y="12839"/>
                          <a:pt x="23461" y="12839"/>
                        </a:cubicBezTo>
                        <a:close/>
                      </a:path>
                    </a:pathLst>
                  </a:custGeom>
                  <a:grpFill/>
                  <a:ln w="637" cap="flat">
                    <a:noFill/>
                    <a:prstDash val="solid"/>
                    <a:miter/>
                  </a:ln>
                </p:spPr>
                <p:txBody>
                  <a:bodyPr rtlCol="0" anchor="ctr"/>
                  <a:lstStyle/>
                  <a:p>
                    <a:endParaRPr lang="en-GB" dirty="0"/>
                  </a:p>
                </p:txBody>
              </p:sp>
              <p:sp>
                <p:nvSpPr>
                  <p:cNvPr id="777" name="Freeform: Shape 776">
                    <a:extLst>
                      <a:ext uri="{FF2B5EF4-FFF2-40B4-BE49-F238E27FC236}">
                        <a16:creationId xmlns:a16="http://schemas.microsoft.com/office/drawing/2014/main" id="{6EBC5396-0FD2-4199-AE0B-5797F9F0F74D}"/>
                      </a:ext>
                    </a:extLst>
                  </p:cNvPr>
                  <p:cNvSpPr/>
                  <p:nvPr/>
                </p:nvSpPr>
                <p:spPr>
                  <a:xfrm>
                    <a:off x="6149462" y="2525210"/>
                    <a:ext cx="39817" cy="39815"/>
                  </a:xfrm>
                  <a:custGeom>
                    <a:avLst/>
                    <a:gdLst>
                      <a:gd name="connsiteX0" fmla="*/ 6379 w 39817"/>
                      <a:gd name="connsiteY0" fmla="*/ 39816 h 39815"/>
                      <a:gd name="connsiteX1" fmla="*/ 1870 w 39817"/>
                      <a:gd name="connsiteY1" fmla="*/ 37947 h 39815"/>
                      <a:gd name="connsiteX2" fmla="*/ 1870 w 39817"/>
                      <a:gd name="connsiteY2" fmla="*/ 28929 h 39815"/>
                      <a:gd name="connsiteX3" fmla="*/ 28929 w 39817"/>
                      <a:gd name="connsiteY3" fmla="*/ 1870 h 39815"/>
                      <a:gd name="connsiteX4" fmla="*/ 37947 w 39817"/>
                      <a:gd name="connsiteY4" fmla="*/ 1870 h 39815"/>
                      <a:gd name="connsiteX5" fmla="*/ 37947 w 39817"/>
                      <a:gd name="connsiteY5" fmla="*/ 10888 h 39815"/>
                      <a:gd name="connsiteX6" fmla="*/ 10888 w 39817"/>
                      <a:gd name="connsiteY6" fmla="*/ 37947 h 39815"/>
                      <a:gd name="connsiteX7" fmla="*/ 6379 w 39817"/>
                      <a:gd name="connsiteY7" fmla="*/ 39816 h 3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7" h="39815">
                        <a:moveTo>
                          <a:pt x="6379" y="39816"/>
                        </a:moveTo>
                        <a:cubicBezTo>
                          <a:pt x="4746" y="39816"/>
                          <a:pt x="3114" y="39191"/>
                          <a:pt x="1870" y="37947"/>
                        </a:cubicBezTo>
                        <a:cubicBezTo>
                          <a:pt x="-623" y="35453"/>
                          <a:pt x="-623" y="31423"/>
                          <a:pt x="1870" y="28929"/>
                        </a:cubicBezTo>
                        <a:lnTo>
                          <a:pt x="28929" y="1870"/>
                        </a:lnTo>
                        <a:cubicBezTo>
                          <a:pt x="31423" y="-623"/>
                          <a:pt x="35453" y="-623"/>
                          <a:pt x="37947" y="1870"/>
                        </a:cubicBezTo>
                        <a:cubicBezTo>
                          <a:pt x="40441" y="4364"/>
                          <a:pt x="40441" y="8394"/>
                          <a:pt x="37947" y="10888"/>
                        </a:cubicBezTo>
                        <a:lnTo>
                          <a:pt x="10888" y="37947"/>
                        </a:lnTo>
                        <a:cubicBezTo>
                          <a:pt x="9644" y="39191"/>
                          <a:pt x="8012" y="39816"/>
                          <a:pt x="6379" y="39816"/>
                        </a:cubicBezTo>
                        <a:close/>
                      </a:path>
                    </a:pathLst>
                  </a:custGeom>
                  <a:grpFill/>
                  <a:ln w="637" cap="flat">
                    <a:noFill/>
                    <a:prstDash val="solid"/>
                    <a:miter/>
                  </a:ln>
                </p:spPr>
                <p:txBody>
                  <a:bodyPr rtlCol="0" anchor="ctr"/>
                  <a:lstStyle/>
                  <a:p>
                    <a:endParaRPr lang="en-GB" dirty="0"/>
                  </a:p>
                </p:txBody>
              </p:sp>
            </p:grpSp>
            <p:grpSp>
              <p:nvGrpSpPr>
                <p:cNvPr id="773" name="Graphic 32">
                  <a:extLst>
                    <a:ext uri="{FF2B5EF4-FFF2-40B4-BE49-F238E27FC236}">
                      <a16:creationId xmlns:a16="http://schemas.microsoft.com/office/drawing/2014/main" id="{60CAF2FC-2E21-40D8-8403-6AE77D6C1F27}"/>
                    </a:ext>
                  </a:extLst>
                </p:cNvPr>
                <p:cNvGrpSpPr/>
                <p:nvPr/>
              </p:nvGrpSpPr>
              <p:grpSpPr>
                <a:xfrm>
                  <a:off x="5907576" y="2482562"/>
                  <a:ext cx="82766" cy="82177"/>
                  <a:chOff x="5907576" y="2482562"/>
                  <a:chExt cx="82766" cy="82177"/>
                </a:xfrm>
                <a:grpFill/>
              </p:grpSpPr>
              <p:sp>
                <p:nvSpPr>
                  <p:cNvPr id="774" name="Freeform: Shape 773">
                    <a:extLst>
                      <a:ext uri="{FF2B5EF4-FFF2-40B4-BE49-F238E27FC236}">
                        <a16:creationId xmlns:a16="http://schemas.microsoft.com/office/drawing/2014/main" id="{FEAF5D70-89A2-4B9C-8E8C-DBD9B3B8DF87}"/>
                      </a:ext>
                    </a:extLst>
                  </p:cNvPr>
                  <p:cNvSpPr/>
                  <p:nvPr/>
                </p:nvSpPr>
                <p:spPr>
                  <a:xfrm>
                    <a:off x="5907576" y="2482562"/>
                    <a:ext cx="62419" cy="61641"/>
                  </a:xfrm>
                  <a:custGeom>
                    <a:avLst/>
                    <a:gdLst>
                      <a:gd name="connsiteX0" fmla="*/ 30611 w 62419"/>
                      <a:gd name="connsiteY0" fmla="*/ 61642 h 61641"/>
                      <a:gd name="connsiteX1" fmla="*/ 29469 w 62419"/>
                      <a:gd name="connsiteY1" fmla="*/ 61629 h 61641"/>
                      <a:gd name="connsiteX2" fmla="*/ 5841 w 62419"/>
                      <a:gd name="connsiteY2" fmla="*/ 52771 h 61641"/>
                      <a:gd name="connsiteX3" fmla="*/ 13239 w 62419"/>
                      <a:gd name="connsiteY3" fmla="*/ 12676 h 61641"/>
                      <a:gd name="connsiteX4" fmla="*/ 32020 w 62419"/>
                      <a:gd name="connsiteY4" fmla="*/ 1012 h 61641"/>
                      <a:gd name="connsiteX5" fmla="*/ 53825 w 62419"/>
                      <a:gd name="connsiteY5" fmla="*/ 6095 h 61641"/>
                      <a:gd name="connsiteX6" fmla="*/ 53825 w 62419"/>
                      <a:gd name="connsiteY6" fmla="*/ 53256 h 61641"/>
                      <a:gd name="connsiteX7" fmla="*/ 30611 w 62419"/>
                      <a:gd name="connsiteY7" fmla="*/ 61642 h 61641"/>
                      <a:gd name="connsiteX8" fmla="*/ 38965 w 62419"/>
                      <a:gd name="connsiteY8" fmla="*/ 12772 h 61641"/>
                      <a:gd name="connsiteX9" fmla="*/ 22257 w 62419"/>
                      <a:gd name="connsiteY9" fmla="*/ 21700 h 61641"/>
                      <a:gd name="connsiteX10" fmla="*/ 14859 w 62419"/>
                      <a:gd name="connsiteY10" fmla="*/ 43753 h 61641"/>
                      <a:gd name="connsiteX11" fmla="*/ 29788 w 62419"/>
                      <a:gd name="connsiteY11" fmla="*/ 48874 h 61641"/>
                      <a:gd name="connsiteX12" fmla="*/ 44807 w 62419"/>
                      <a:gd name="connsiteY12" fmla="*/ 44244 h 61641"/>
                      <a:gd name="connsiteX13" fmla="*/ 44807 w 62419"/>
                      <a:gd name="connsiteY13" fmla="*/ 15119 h 61641"/>
                      <a:gd name="connsiteX14" fmla="*/ 38965 w 62419"/>
                      <a:gd name="connsiteY14" fmla="*/ 12772 h 61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19" h="61641">
                        <a:moveTo>
                          <a:pt x="30611" y="61642"/>
                        </a:moveTo>
                        <a:cubicBezTo>
                          <a:pt x="30228" y="61642"/>
                          <a:pt x="29852" y="61642"/>
                          <a:pt x="29469" y="61629"/>
                        </a:cubicBezTo>
                        <a:cubicBezTo>
                          <a:pt x="19980" y="61387"/>
                          <a:pt x="11141" y="58077"/>
                          <a:pt x="5841" y="52771"/>
                        </a:cubicBezTo>
                        <a:cubicBezTo>
                          <a:pt x="-4088" y="42841"/>
                          <a:pt x="-1187" y="27108"/>
                          <a:pt x="13239" y="12676"/>
                        </a:cubicBezTo>
                        <a:cubicBezTo>
                          <a:pt x="18979" y="6937"/>
                          <a:pt x="25649" y="2791"/>
                          <a:pt x="32020" y="1012"/>
                        </a:cubicBezTo>
                        <a:cubicBezTo>
                          <a:pt x="40445" y="-1354"/>
                          <a:pt x="48193" y="464"/>
                          <a:pt x="53825" y="6095"/>
                        </a:cubicBezTo>
                        <a:cubicBezTo>
                          <a:pt x="65285" y="17555"/>
                          <a:pt x="65285" y="41802"/>
                          <a:pt x="53825" y="53256"/>
                        </a:cubicBezTo>
                        <a:cubicBezTo>
                          <a:pt x="48474" y="58619"/>
                          <a:pt x="40062" y="61642"/>
                          <a:pt x="30611" y="61642"/>
                        </a:cubicBezTo>
                        <a:close/>
                        <a:moveTo>
                          <a:pt x="38965" y="12772"/>
                        </a:moveTo>
                        <a:cubicBezTo>
                          <a:pt x="32990" y="12772"/>
                          <a:pt x="25962" y="17995"/>
                          <a:pt x="22257" y="21700"/>
                        </a:cubicBezTo>
                        <a:cubicBezTo>
                          <a:pt x="20751" y="23205"/>
                          <a:pt x="7742" y="36636"/>
                          <a:pt x="14859" y="43753"/>
                        </a:cubicBezTo>
                        <a:cubicBezTo>
                          <a:pt x="17862" y="46757"/>
                          <a:pt x="23583" y="48715"/>
                          <a:pt x="29788" y="48874"/>
                        </a:cubicBezTo>
                        <a:cubicBezTo>
                          <a:pt x="36159" y="49034"/>
                          <a:pt x="41740" y="47306"/>
                          <a:pt x="44807" y="44244"/>
                        </a:cubicBezTo>
                        <a:cubicBezTo>
                          <a:pt x="51337" y="37714"/>
                          <a:pt x="51337" y="21656"/>
                          <a:pt x="44807" y="15119"/>
                        </a:cubicBezTo>
                        <a:cubicBezTo>
                          <a:pt x="43130" y="13448"/>
                          <a:pt x="41115" y="12772"/>
                          <a:pt x="38965" y="12772"/>
                        </a:cubicBezTo>
                        <a:close/>
                      </a:path>
                    </a:pathLst>
                  </a:custGeom>
                  <a:grpFill/>
                  <a:ln w="637" cap="flat">
                    <a:noFill/>
                    <a:prstDash val="solid"/>
                    <a:miter/>
                  </a:ln>
                </p:spPr>
                <p:txBody>
                  <a:bodyPr rtlCol="0" anchor="ctr"/>
                  <a:lstStyle/>
                  <a:p>
                    <a:endParaRPr lang="en-GB" dirty="0"/>
                  </a:p>
                </p:txBody>
              </p:sp>
              <p:sp>
                <p:nvSpPr>
                  <p:cNvPr id="775" name="Freeform: Shape 774">
                    <a:extLst>
                      <a:ext uri="{FF2B5EF4-FFF2-40B4-BE49-F238E27FC236}">
                        <a16:creationId xmlns:a16="http://schemas.microsoft.com/office/drawing/2014/main" id="{A49A7018-BA4E-45B9-89D8-084339E2864F}"/>
                      </a:ext>
                    </a:extLst>
                  </p:cNvPr>
                  <p:cNvSpPr/>
                  <p:nvPr/>
                </p:nvSpPr>
                <p:spPr>
                  <a:xfrm>
                    <a:off x="5950526" y="2524923"/>
                    <a:ext cx="39817" cy="39815"/>
                  </a:xfrm>
                  <a:custGeom>
                    <a:avLst/>
                    <a:gdLst>
                      <a:gd name="connsiteX0" fmla="*/ 33438 w 39817"/>
                      <a:gd name="connsiteY0" fmla="*/ 39816 h 39815"/>
                      <a:gd name="connsiteX1" fmla="*/ 28930 w 39817"/>
                      <a:gd name="connsiteY1" fmla="*/ 37947 h 39815"/>
                      <a:gd name="connsiteX2" fmla="*/ 1870 w 39817"/>
                      <a:gd name="connsiteY2" fmla="*/ 10888 h 39815"/>
                      <a:gd name="connsiteX3" fmla="*/ 1870 w 39817"/>
                      <a:gd name="connsiteY3" fmla="*/ 1870 h 39815"/>
                      <a:gd name="connsiteX4" fmla="*/ 10888 w 39817"/>
                      <a:gd name="connsiteY4" fmla="*/ 1870 h 39815"/>
                      <a:gd name="connsiteX5" fmla="*/ 37947 w 39817"/>
                      <a:gd name="connsiteY5" fmla="*/ 28929 h 39815"/>
                      <a:gd name="connsiteX6" fmla="*/ 37947 w 39817"/>
                      <a:gd name="connsiteY6" fmla="*/ 37947 h 39815"/>
                      <a:gd name="connsiteX7" fmla="*/ 33438 w 39817"/>
                      <a:gd name="connsiteY7" fmla="*/ 39816 h 3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7" h="39815">
                        <a:moveTo>
                          <a:pt x="33438" y="39816"/>
                        </a:moveTo>
                        <a:cubicBezTo>
                          <a:pt x="31806" y="39816"/>
                          <a:pt x="30173" y="39191"/>
                          <a:pt x="28930" y="37947"/>
                        </a:cubicBezTo>
                        <a:lnTo>
                          <a:pt x="1870" y="10888"/>
                        </a:lnTo>
                        <a:cubicBezTo>
                          <a:pt x="-623" y="8394"/>
                          <a:pt x="-623" y="4364"/>
                          <a:pt x="1870" y="1870"/>
                        </a:cubicBezTo>
                        <a:cubicBezTo>
                          <a:pt x="4364" y="-623"/>
                          <a:pt x="8394" y="-623"/>
                          <a:pt x="10888" y="1870"/>
                        </a:cubicBezTo>
                        <a:lnTo>
                          <a:pt x="37947" y="28929"/>
                        </a:lnTo>
                        <a:cubicBezTo>
                          <a:pt x="40441" y="31423"/>
                          <a:pt x="40441" y="35454"/>
                          <a:pt x="37947" y="37947"/>
                        </a:cubicBezTo>
                        <a:cubicBezTo>
                          <a:pt x="36697" y="39197"/>
                          <a:pt x="35071" y="39816"/>
                          <a:pt x="33438" y="39816"/>
                        </a:cubicBezTo>
                        <a:close/>
                      </a:path>
                    </a:pathLst>
                  </a:custGeom>
                  <a:grpFill/>
                  <a:ln w="637" cap="flat">
                    <a:noFill/>
                    <a:prstDash val="solid"/>
                    <a:miter/>
                  </a:ln>
                </p:spPr>
                <p:txBody>
                  <a:bodyPr rtlCol="0" anchor="ctr"/>
                  <a:lstStyle/>
                  <a:p>
                    <a:endParaRPr lang="en-GB" dirty="0"/>
                  </a:p>
                </p:txBody>
              </p:sp>
            </p:grpSp>
          </p:grpSp>
          <p:grpSp>
            <p:nvGrpSpPr>
              <p:cNvPr id="753" name="Graphic 32">
                <a:extLst>
                  <a:ext uri="{FF2B5EF4-FFF2-40B4-BE49-F238E27FC236}">
                    <a16:creationId xmlns:a16="http://schemas.microsoft.com/office/drawing/2014/main" id="{58B3C0B4-7878-437B-9467-E9C8429037B6}"/>
                  </a:ext>
                </a:extLst>
              </p:cNvPr>
              <p:cNvGrpSpPr/>
              <p:nvPr/>
            </p:nvGrpSpPr>
            <p:grpSpPr>
              <a:xfrm>
                <a:off x="1677269" y="2731399"/>
                <a:ext cx="324689" cy="131254"/>
                <a:chOff x="5907576" y="2723904"/>
                <a:chExt cx="324689" cy="131254"/>
              </a:xfrm>
              <a:grpFill/>
            </p:grpSpPr>
            <p:grpSp>
              <p:nvGrpSpPr>
                <p:cNvPr id="762" name="Graphic 32">
                  <a:extLst>
                    <a:ext uri="{FF2B5EF4-FFF2-40B4-BE49-F238E27FC236}">
                      <a16:creationId xmlns:a16="http://schemas.microsoft.com/office/drawing/2014/main" id="{596C1172-E8CA-478D-9ECD-38E4C36DE002}"/>
                    </a:ext>
                  </a:extLst>
                </p:cNvPr>
                <p:cNvGrpSpPr/>
                <p:nvPr/>
              </p:nvGrpSpPr>
              <p:grpSpPr>
                <a:xfrm>
                  <a:off x="6036463" y="2759498"/>
                  <a:ext cx="66930" cy="95660"/>
                  <a:chOff x="6036463" y="2759498"/>
                  <a:chExt cx="66930" cy="95660"/>
                </a:xfrm>
                <a:grpFill/>
              </p:grpSpPr>
              <p:sp>
                <p:nvSpPr>
                  <p:cNvPr id="769" name="Freeform: Shape 768">
                    <a:extLst>
                      <a:ext uri="{FF2B5EF4-FFF2-40B4-BE49-F238E27FC236}">
                        <a16:creationId xmlns:a16="http://schemas.microsoft.com/office/drawing/2014/main" id="{A303C736-4E3D-4DCB-99AE-800AFF7235C0}"/>
                      </a:ext>
                    </a:extLst>
                  </p:cNvPr>
                  <p:cNvSpPr/>
                  <p:nvPr/>
                </p:nvSpPr>
                <p:spPr>
                  <a:xfrm>
                    <a:off x="6036463" y="2797762"/>
                    <a:ext cx="66930" cy="57396"/>
                  </a:xfrm>
                  <a:custGeom>
                    <a:avLst/>
                    <a:gdLst>
                      <a:gd name="connsiteX0" fmla="*/ 33347 w 66930"/>
                      <a:gd name="connsiteY0" fmla="*/ 57397 h 57396"/>
                      <a:gd name="connsiteX1" fmla="*/ 0 w 66930"/>
                      <a:gd name="connsiteY1" fmla="*/ 33347 h 57396"/>
                      <a:gd name="connsiteX2" fmla="*/ 33347 w 66930"/>
                      <a:gd name="connsiteY2" fmla="*/ 0 h 57396"/>
                      <a:gd name="connsiteX3" fmla="*/ 66931 w 66930"/>
                      <a:gd name="connsiteY3" fmla="*/ 34278 h 57396"/>
                      <a:gd name="connsiteX4" fmla="*/ 33347 w 66930"/>
                      <a:gd name="connsiteY4" fmla="*/ 57397 h 57396"/>
                      <a:gd name="connsiteX5" fmla="*/ 33347 w 66930"/>
                      <a:gd name="connsiteY5" fmla="*/ 12755 h 57396"/>
                      <a:gd name="connsiteX6" fmla="*/ 12755 w 66930"/>
                      <a:gd name="connsiteY6" fmla="*/ 33347 h 57396"/>
                      <a:gd name="connsiteX7" fmla="*/ 33347 w 66930"/>
                      <a:gd name="connsiteY7" fmla="*/ 44642 h 57396"/>
                      <a:gd name="connsiteX8" fmla="*/ 54176 w 66930"/>
                      <a:gd name="connsiteY8" fmla="*/ 34278 h 57396"/>
                      <a:gd name="connsiteX9" fmla="*/ 33347 w 66930"/>
                      <a:gd name="connsiteY9" fmla="*/ 12755 h 5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930" h="57396">
                        <a:moveTo>
                          <a:pt x="33347" y="57397"/>
                        </a:moveTo>
                        <a:cubicBezTo>
                          <a:pt x="16747" y="57397"/>
                          <a:pt x="0" y="49960"/>
                          <a:pt x="0" y="33347"/>
                        </a:cubicBezTo>
                        <a:cubicBezTo>
                          <a:pt x="0" y="17142"/>
                          <a:pt x="17142" y="0"/>
                          <a:pt x="33347" y="0"/>
                        </a:cubicBezTo>
                        <a:cubicBezTo>
                          <a:pt x="49355" y="0"/>
                          <a:pt x="66931" y="17940"/>
                          <a:pt x="66931" y="34278"/>
                        </a:cubicBezTo>
                        <a:cubicBezTo>
                          <a:pt x="66924" y="48328"/>
                          <a:pt x="53742" y="57397"/>
                          <a:pt x="33347" y="57397"/>
                        </a:cubicBezTo>
                        <a:close/>
                        <a:moveTo>
                          <a:pt x="33347" y="12755"/>
                        </a:moveTo>
                        <a:cubicBezTo>
                          <a:pt x="24107" y="12755"/>
                          <a:pt x="12755" y="24106"/>
                          <a:pt x="12755" y="33347"/>
                        </a:cubicBezTo>
                        <a:cubicBezTo>
                          <a:pt x="12755" y="42282"/>
                          <a:pt x="26224" y="44642"/>
                          <a:pt x="33347" y="44642"/>
                        </a:cubicBezTo>
                        <a:cubicBezTo>
                          <a:pt x="35477" y="44642"/>
                          <a:pt x="54176" y="44355"/>
                          <a:pt x="54176" y="34278"/>
                        </a:cubicBezTo>
                        <a:cubicBezTo>
                          <a:pt x="54170" y="25784"/>
                          <a:pt x="43003" y="12755"/>
                          <a:pt x="33347" y="12755"/>
                        </a:cubicBezTo>
                        <a:close/>
                      </a:path>
                    </a:pathLst>
                  </a:custGeom>
                  <a:grpFill/>
                  <a:ln w="637" cap="flat">
                    <a:noFill/>
                    <a:prstDash val="solid"/>
                    <a:miter/>
                  </a:ln>
                </p:spPr>
                <p:txBody>
                  <a:bodyPr rtlCol="0" anchor="ctr"/>
                  <a:lstStyle/>
                  <a:p>
                    <a:endParaRPr lang="en-GB" dirty="0"/>
                  </a:p>
                </p:txBody>
              </p:sp>
              <p:sp>
                <p:nvSpPr>
                  <p:cNvPr id="770" name="Freeform: Shape 769">
                    <a:extLst>
                      <a:ext uri="{FF2B5EF4-FFF2-40B4-BE49-F238E27FC236}">
                        <a16:creationId xmlns:a16="http://schemas.microsoft.com/office/drawing/2014/main" id="{D8877873-7CA6-4A43-95B4-2B8C25C15AC9}"/>
                      </a:ext>
                    </a:extLst>
                  </p:cNvPr>
                  <p:cNvSpPr/>
                  <p:nvPr/>
                </p:nvSpPr>
                <p:spPr>
                  <a:xfrm>
                    <a:off x="6063414" y="2759498"/>
                    <a:ext cx="12754" cy="51019"/>
                  </a:xfrm>
                  <a:custGeom>
                    <a:avLst/>
                    <a:gdLst>
                      <a:gd name="connsiteX0" fmla="*/ 6377 w 12754"/>
                      <a:gd name="connsiteY0" fmla="*/ 51019 h 51019"/>
                      <a:gd name="connsiteX1" fmla="*/ 0 w 12754"/>
                      <a:gd name="connsiteY1" fmla="*/ 44642 h 51019"/>
                      <a:gd name="connsiteX2" fmla="*/ 0 w 12754"/>
                      <a:gd name="connsiteY2" fmla="*/ 6377 h 51019"/>
                      <a:gd name="connsiteX3" fmla="*/ 6377 w 12754"/>
                      <a:gd name="connsiteY3" fmla="*/ 0 h 51019"/>
                      <a:gd name="connsiteX4" fmla="*/ 12755 w 12754"/>
                      <a:gd name="connsiteY4" fmla="*/ 6377 h 51019"/>
                      <a:gd name="connsiteX5" fmla="*/ 12755 w 12754"/>
                      <a:gd name="connsiteY5" fmla="*/ 44642 h 51019"/>
                      <a:gd name="connsiteX6" fmla="*/ 6377 w 12754"/>
                      <a:gd name="connsiteY6" fmla="*/ 51019 h 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51019">
                        <a:moveTo>
                          <a:pt x="6377" y="51019"/>
                        </a:moveTo>
                        <a:cubicBezTo>
                          <a:pt x="2857" y="51019"/>
                          <a:pt x="0" y="48162"/>
                          <a:pt x="0" y="44642"/>
                        </a:cubicBezTo>
                        <a:lnTo>
                          <a:pt x="0" y="6377"/>
                        </a:lnTo>
                        <a:cubicBezTo>
                          <a:pt x="0" y="2857"/>
                          <a:pt x="2857" y="0"/>
                          <a:pt x="6377" y="0"/>
                        </a:cubicBezTo>
                        <a:cubicBezTo>
                          <a:pt x="9898" y="0"/>
                          <a:pt x="12755" y="2857"/>
                          <a:pt x="12755" y="6377"/>
                        </a:cubicBezTo>
                        <a:lnTo>
                          <a:pt x="12755" y="44642"/>
                        </a:lnTo>
                        <a:cubicBezTo>
                          <a:pt x="12755" y="48168"/>
                          <a:pt x="9898" y="51019"/>
                          <a:pt x="6377" y="51019"/>
                        </a:cubicBezTo>
                        <a:close/>
                      </a:path>
                    </a:pathLst>
                  </a:custGeom>
                  <a:grpFill/>
                  <a:ln w="637" cap="flat">
                    <a:noFill/>
                    <a:prstDash val="solid"/>
                    <a:miter/>
                  </a:ln>
                </p:spPr>
                <p:txBody>
                  <a:bodyPr rtlCol="0" anchor="ctr"/>
                  <a:lstStyle/>
                  <a:p>
                    <a:endParaRPr lang="en-GB" dirty="0"/>
                  </a:p>
                </p:txBody>
              </p:sp>
            </p:grpSp>
            <p:grpSp>
              <p:nvGrpSpPr>
                <p:cNvPr id="763" name="Graphic 32">
                  <a:extLst>
                    <a:ext uri="{FF2B5EF4-FFF2-40B4-BE49-F238E27FC236}">
                      <a16:creationId xmlns:a16="http://schemas.microsoft.com/office/drawing/2014/main" id="{2A22A9A4-FEBB-457A-8167-277013AA229B}"/>
                    </a:ext>
                  </a:extLst>
                </p:cNvPr>
                <p:cNvGrpSpPr/>
                <p:nvPr/>
              </p:nvGrpSpPr>
              <p:grpSpPr>
                <a:xfrm>
                  <a:off x="6149462" y="2723904"/>
                  <a:ext cx="82803" cy="82167"/>
                  <a:chOff x="6149462" y="2723904"/>
                  <a:chExt cx="82803" cy="82167"/>
                </a:xfrm>
                <a:grpFill/>
              </p:grpSpPr>
              <p:sp>
                <p:nvSpPr>
                  <p:cNvPr id="767" name="Freeform: Shape 766">
                    <a:extLst>
                      <a:ext uri="{FF2B5EF4-FFF2-40B4-BE49-F238E27FC236}">
                        <a16:creationId xmlns:a16="http://schemas.microsoft.com/office/drawing/2014/main" id="{415537FD-A72D-4569-B553-29358CF4817D}"/>
                      </a:ext>
                    </a:extLst>
                  </p:cNvPr>
                  <p:cNvSpPr/>
                  <p:nvPr/>
                </p:nvSpPr>
                <p:spPr>
                  <a:xfrm>
                    <a:off x="6169809" y="2744438"/>
                    <a:ext cx="62456" cy="61633"/>
                  </a:xfrm>
                  <a:custGeom>
                    <a:avLst/>
                    <a:gdLst>
                      <a:gd name="connsiteX0" fmla="*/ 23365 w 62456"/>
                      <a:gd name="connsiteY0" fmla="*/ 61634 h 61633"/>
                      <a:gd name="connsiteX1" fmla="*/ 8595 w 62456"/>
                      <a:gd name="connsiteY1" fmla="*/ 55537 h 61633"/>
                      <a:gd name="connsiteX2" fmla="*/ 8595 w 62456"/>
                      <a:gd name="connsiteY2" fmla="*/ 8376 h 61633"/>
                      <a:gd name="connsiteX3" fmla="*/ 32957 w 62456"/>
                      <a:gd name="connsiteY3" fmla="*/ 16 h 61633"/>
                      <a:gd name="connsiteX4" fmla="*/ 56579 w 62456"/>
                      <a:gd name="connsiteY4" fmla="*/ 8874 h 61633"/>
                      <a:gd name="connsiteX5" fmla="*/ 56579 w 62456"/>
                      <a:gd name="connsiteY5" fmla="*/ 8874 h 61633"/>
                      <a:gd name="connsiteX6" fmla="*/ 56579 w 62456"/>
                      <a:gd name="connsiteY6" fmla="*/ 8874 h 61633"/>
                      <a:gd name="connsiteX7" fmla="*/ 56579 w 62456"/>
                      <a:gd name="connsiteY7" fmla="*/ 8874 h 61633"/>
                      <a:gd name="connsiteX8" fmla="*/ 61183 w 62456"/>
                      <a:gd name="connsiteY8" fmla="*/ 30672 h 61633"/>
                      <a:gd name="connsiteX9" fmla="*/ 49181 w 62456"/>
                      <a:gd name="connsiteY9" fmla="*/ 48962 h 61633"/>
                      <a:gd name="connsiteX10" fmla="*/ 30399 w 62456"/>
                      <a:gd name="connsiteY10" fmla="*/ 60626 h 61633"/>
                      <a:gd name="connsiteX11" fmla="*/ 23365 w 62456"/>
                      <a:gd name="connsiteY11" fmla="*/ 61634 h 61633"/>
                      <a:gd name="connsiteX12" fmla="*/ 31809 w 62456"/>
                      <a:gd name="connsiteY12" fmla="*/ 12758 h 61633"/>
                      <a:gd name="connsiteX13" fmla="*/ 17606 w 62456"/>
                      <a:gd name="connsiteY13" fmla="*/ 17400 h 61633"/>
                      <a:gd name="connsiteX14" fmla="*/ 17606 w 62456"/>
                      <a:gd name="connsiteY14" fmla="*/ 46526 h 61633"/>
                      <a:gd name="connsiteX15" fmla="*/ 40157 w 62456"/>
                      <a:gd name="connsiteY15" fmla="*/ 39951 h 61633"/>
                      <a:gd name="connsiteX16" fmla="*/ 49041 w 62456"/>
                      <a:gd name="connsiteY16" fmla="*/ 26762 h 61633"/>
                      <a:gd name="connsiteX17" fmla="*/ 47555 w 62456"/>
                      <a:gd name="connsiteY17" fmla="*/ 17898 h 61633"/>
                      <a:gd name="connsiteX18" fmla="*/ 47555 w 62456"/>
                      <a:gd name="connsiteY18" fmla="*/ 17898 h 61633"/>
                      <a:gd name="connsiteX19" fmla="*/ 32625 w 62456"/>
                      <a:gd name="connsiteY19" fmla="*/ 12777 h 61633"/>
                      <a:gd name="connsiteX20" fmla="*/ 31809 w 62456"/>
                      <a:gd name="connsiteY20" fmla="*/ 12758 h 61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456" h="61633">
                        <a:moveTo>
                          <a:pt x="23365" y="61634"/>
                        </a:moveTo>
                        <a:cubicBezTo>
                          <a:pt x="17715" y="61634"/>
                          <a:pt x="12613" y="59561"/>
                          <a:pt x="8595" y="55537"/>
                        </a:cubicBezTo>
                        <a:cubicBezTo>
                          <a:pt x="-2865" y="44083"/>
                          <a:pt x="-2865" y="19837"/>
                          <a:pt x="8595" y="8376"/>
                        </a:cubicBezTo>
                        <a:cubicBezTo>
                          <a:pt x="14163" y="2803"/>
                          <a:pt x="23027" y="-246"/>
                          <a:pt x="32957" y="16"/>
                        </a:cubicBezTo>
                        <a:cubicBezTo>
                          <a:pt x="42446" y="258"/>
                          <a:pt x="51279" y="3568"/>
                          <a:pt x="56579" y="8874"/>
                        </a:cubicBezTo>
                        <a:lnTo>
                          <a:pt x="56579" y="8874"/>
                        </a:lnTo>
                        <a:lnTo>
                          <a:pt x="56579" y="8874"/>
                        </a:lnTo>
                        <a:lnTo>
                          <a:pt x="56579" y="8874"/>
                        </a:lnTo>
                        <a:cubicBezTo>
                          <a:pt x="62255" y="14550"/>
                          <a:pt x="63887" y="22292"/>
                          <a:pt x="61183" y="30672"/>
                        </a:cubicBezTo>
                        <a:cubicBezTo>
                          <a:pt x="58702" y="38350"/>
                          <a:pt x="53288" y="44855"/>
                          <a:pt x="49181" y="48962"/>
                        </a:cubicBezTo>
                        <a:cubicBezTo>
                          <a:pt x="43441" y="54708"/>
                          <a:pt x="36764" y="58847"/>
                          <a:pt x="30399" y="60626"/>
                        </a:cubicBezTo>
                        <a:cubicBezTo>
                          <a:pt x="27989" y="61302"/>
                          <a:pt x="25629" y="61634"/>
                          <a:pt x="23365" y="61634"/>
                        </a:cubicBezTo>
                        <a:close/>
                        <a:moveTo>
                          <a:pt x="31809" y="12758"/>
                        </a:moveTo>
                        <a:cubicBezTo>
                          <a:pt x="25808" y="12758"/>
                          <a:pt x="20540" y="14473"/>
                          <a:pt x="17606" y="17400"/>
                        </a:cubicBezTo>
                        <a:cubicBezTo>
                          <a:pt x="11076" y="23931"/>
                          <a:pt x="11076" y="39989"/>
                          <a:pt x="17606" y="46526"/>
                        </a:cubicBezTo>
                        <a:cubicBezTo>
                          <a:pt x="23933" y="52840"/>
                          <a:pt x="35119" y="44983"/>
                          <a:pt x="40157" y="39951"/>
                        </a:cubicBezTo>
                        <a:cubicBezTo>
                          <a:pt x="44557" y="35550"/>
                          <a:pt x="47714" y="30863"/>
                          <a:pt x="49041" y="26762"/>
                        </a:cubicBezTo>
                        <a:cubicBezTo>
                          <a:pt x="50635" y="21813"/>
                          <a:pt x="49085" y="19428"/>
                          <a:pt x="47555" y="17898"/>
                        </a:cubicBezTo>
                        <a:lnTo>
                          <a:pt x="47555" y="17898"/>
                        </a:lnTo>
                        <a:cubicBezTo>
                          <a:pt x="44551" y="14894"/>
                          <a:pt x="38830" y="12936"/>
                          <a:pt x="32625" y="12777"/>
                        </a:cubicBezTo>
                        <a:cubicBezTo>
                          <a:pt x="32357" y="12764"/>
                          <a:pt x="32083" y="12758"/>
                          <a:pt x="31809" y="12758"/>
                        </a:cubicBezTo>
                        <a:close/>
                      </a:path>
                    </a:pathLst>
                  </a:custGeom>
                  <a:grpFill/>
                  <a:ln w="637" cap="flat">
                    <a:noFill/>
                    <a:prstDash val="solid"/>
                    <a:miter/>
                  </a:ln>
                </p:spPr>
                <p:txBody>
                  <a:bodyPr rtlCol="0" anchor="ctr"/>
                  <a:lstStyle/>
                  <a:p>
                    <a:endParaRPr lang="en-GB" dirty="0"/>
                  </a:p>
                </p:txBody>
              </p:sp>
              <p:sp>
                <p:nvSpPr>
                  <p:cNvPr id="768" name="Freeform: Shape 767">
                    <a:extLst>
                      <a:ext uri="{FF2B5EF4-FFF2-40B4-BE49-F238E27FC236}">
                        <a16:creationId xmlns:a16="http://schemas.microsoft.com/office/drawing/2014/main" id="{F816BD84-0711-4A47-83C1-6AEFF1E9EF55}"/>
                      </a:ext>
                    </a:extLst>
                  </p:cNvPr>
                  <p:cNvSpPr/>
                  <p:nvPr/>
                </p:nvSpPr>
                <p:spPr>
                  <a:xfrm>
                    <a:off x="6149462" y="2723904"/>
                    <a:ext cx="39817" cy="39815"/>
                  </a:xfrm>
                  <a:custGeom>
                    <a:avLst/>
                    <a:gdLst>
                      <a:gd name="connsiteX0" fmla="*/ 33438 w 39817"/>
                      <a:gd name="connsiteY0" fmla="*/ 39816 h 39815"/>
                      <a:gd name="connsiteX1" fmla="*/ 28929 w 39817"/>
                      <a:gd name="connsiteY1" fmla="*/ 37947 h 39815"/>
                      <a:gd name="connsiteX2" fmla="*/ 1870 w 39817"/>
                      <a:gd name="connsiteY2" fmla="*/ 10888 h 39815"/>
                      <a:gd name="connsiteX3" fmla="*/ 1870 w 39817"/>
                      <a:gd name="connsiteY3" fmla="*/ 1870 h 39815"/>
                      <a:gd name="connsiteX4" fmla="*/ 10888 w 39817"/>
                      <a:gd name="connsiteY4" fmla="*/ 1870 h 39815"/>
                      <a:gd name="connsiteX5" fmla="*/ 37947 w 39817"/>
                      <a:gd name="connsiteY5" fmla="*/ 28929 h 39815"/>
                      <a:gd name="connsiteX6" fmla="*/ 37947 w 39817"/>
                      <a:gd name="connsiteY6" fmla="*/ 37947 h 39815"/>
                      <a:gd name="connsiteX7" fmla="*/ 33438 w 39817"/>
                      <a:gd name="connsiteY7" fmla="*/ 39816 h 3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7" h="39815">
                        <a:moveTo>
                          <a:pt x="33438" y="39816"/>
                        </a:moveTo>
                        <a:cubicBezTo>
                          <a:pt x="31806" y="39816"/>
                          <a:pt x="30173" y="39191"/>
                          <a:pt x="28929" y="37947"/>
                        </a:cubicBezTo>
                        <a:lnTo>
                          <a:pt x="1870" y="10888"/>
                        </a:lnTo>
                        <a:cubicBezTo>
                          <a:pt x="-623" y="8394"/>
                          <a:pt x="-623" y="4364"/>
                          <a:pt x="1870" y="1870"/>
                        </a:cubicBezTo>
                        <a:cubicBezTo>
                          <a:pt x="4364" y="-623"/>
                          <a:pt x="8394" y="-623"/>
                          <a:pt x="10888" y="1870"/>
                        </a:cubicBezTo>
                        <a:lnTo>
                          <a:pt x="37947" y="28929"/>
                        </a:lnTo>
                        <a:cubicBezTo>
                          <a:pt x="40441" y="31423"/>
                          <a:pt x="40441" y="35454"/>
                          <a:pt x="37947" y="37947"/>
                        </a:cubicBezTo>
                        <a:cubicBezTo>
                          <a:pt x="36704" y="39191"/>
                          <a:pt x="35071" y="39816"/>
                          <a:pt x="33438" y="39816"/>
                        </a:cubicBezTo>
                        <a:close/>
                      </a:path>
                    </a:pathLst>
                  </a:custGeom>
                  <a:grpFill/>
                  <a:ln w="637" cap="flat">
                    <a:noFill/>
                    <a:prstDash val="solid"/>
                    <a:miter/>
                  </a:ln>
                </p:spPr>
                <p:txBody>
                  <a:bodyPr rtlCol="0" anchor="ctr"/>
                  <a:lstStyle/>
                  <a:p>
                    <a:endParaRPr lang="en-GB" dirty="0"/>
                  </a:p>
                </p:txBody>
              </p:sp>
            </p:grpSp>
            <p:grpSp>
              <p:nvGrpSpPr>
                <p:cNvPr id="764" name="Graphic 32">
                  <a:extLst>
                    <a:ext uri="{FF2B5EF4-FFF2-40B4-BE49-F238E27FC236}">
                      <a16:creationId xmlns:a16="http://schemas.microsoft.com/office/drawing/2014/main" id="{B5057236-1EAB-437D-9D43-1BA3BE32F87B}"/>
                    </a:ext>
                  </a:extLst>
                </p:cNvPr>
                <p:cNvGrpSpPr/>
                <p:nvPr/>
              </p:nvGrpSpPr>
              <p:grpSpPr>
                <a:xfrm>
                  <a:off x="5907576" y="2724185"/>
                  <a:ext cx="82766" cy="82174"/>
                  <a:chOff x="5907576" y="2724185"/>
                  <a:chExt cx="82766" cy="82174"/>
                </a:xfrm>
                <a:grpFill/>
              </p:grpSpPr>
              <p:sp>
                <p:nvSpPr>
                  <p:cNvPr id="765" name="Freeform: Shape 764">
                    <a:extLst>
                      <a:ext uri="{FF2B5EF4-FFF2-40B4-BE49-F238E27FC236}">
                        <a16:creationId xmlns:a16="http://schemas.microsoft.com/office/drawing/2014/main" id="{289F0A65-DCB3-4683-A475-954944D3B960}"/>
                      </a:ext>
                    </a:extLst>
                  </p:cNvPr>
                  <p:cNvSpPr/>
                  <p:nvPr/>
                </p:nvSpPr>
                <p:spPr>
                  <a:xfrm>
                    <a:off x="5907576" y="2744766"/>
                    <a:ext cx="62419" cy="61592"/>
                  </a:xfrm>
                  <a:custGeom>
                    <a:avLst/>
                    <a:gdLst>
                      <a:gd name="connsiteX0" fmla="*/ 39055 w 62419"/>
                      <a:gd name="connsiteY0" fmla="*/ 61593 h 61592"/>
                      <a:gd name="connsiteX1" fmla="*/ 32020 w 62419"/>
                      <a:gd name="connsiteY1" fmla="*/ 60585 h 61592"/>
                      <a:gd name="connsiteX2" fmla="*/ 13239 w 62419"/>
                      <a:gd name="connsiteY2" fmla="*/ 48921 h 61592"/>
                      <a:gd name="connsiteX3" fmla="*/ 5841 w 62419"/>
                      <a:gd name="connsiteY3" fmla="*/ 8826 h 61592"/>
                      <a:gd name="connsiteX4" fmla="*/ 5841 w 62419"/>
                      <a:gd name="connsiteY4" fmla="*/ 8826 h 61592"/>
                      <a:gd name="connsiteX5" fmla="*/ 53825 w 62419"/>
                      <a:gd name="connsiteY5" fmla="*/ 8335 h 61592"/>
                      <a:gd name="connsiteX6" fmla="*/ 53825 w 62419"/>
                      <a:gd name="connsiteY6" fmla="*/ 55496 h 61592"/>
                      <a:gd name="connsiteX7" fmla="*/ 39055 w 62419"/>
                      <a:gd name="connsiteY7" fmla="*/ 61593 h 61592"/>
                      <a:gd name="connsiteX8" fmla="*/ 14859 w 62419"/>
                      <a:gd name="connsiteY8" fmla="*/ 17850 h 61592"/>
                      <a:gd name="connsiteX9" fmla="*/ 22257 w 62419"/>
                      <a:gd name="connsiteY9" fmla="*/ 39903 h 61592"/>
                      <a:gd name="connsiteX10" fmla="*/ 44807 w 62419"/>
                      <a:gd name="connsiteY10" fmla="*/ 46478 h 61592"/>
                      <a:gd name="connsiteX11" fmla="*/ 44807 w 62419"/>
                      <a:gd name="connsiteY11" fmla="*/ 17353 h 61592"/>
                      <a:gd name="connsiteX12" fmla="*/ 14859 w 62419"/>
                      <a:gd name="connsiteY12" fmla="*/ 17850 h 61592"/>
                      <a:gd name="connsiteX13" fmla="*/ 14859 w 62419"/>
                      <a:gd name="connsiteY13" fmla="*/ 17850 h 61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419" h="61592">
                        <a:moveTo>
                          <a:pt x="39055" y="61593"/>
                        </a:moveTo>
                        <a:cubicBezTo>
                          <a:pt x="36791" y="61593"/>
                          <a:pt x="34431" y="61261"/>
                          <a:pt x="32020" y="60585"/>
                        </a:cubicBezTo>
                        <a:cubicBezTo>
                          <a:pt x="25649" y="58806"/>
                          <a:pt x="18985" y="54667"/>
                          <a:pt x="13239" y="48921"/>
                        </a:cubicBezTo>
                        <a:cubicBezTo>
                          <a:pt x="-1187" y="34495"/>
                          <a:pt x="-4088" y="18762"/>
                          <a:pt x="5841" y="8826"/>
                        </a:cubicBezTo>
                        <a:lnTo>
                          <a:pt x="5841" y="8826"/>
                        </a:lnTo>
                        <a:cubicBezTo>
                          <a:pt x="17397" y="-2730"/>
                          <a:pt x="42511" y="-2985"/>
                          <a:pt x="53825" y="8335"/>
                        </a:cubicBezTo>
                        <a:cubicBezTo>
                          <a:pt x="65285" y="19795"/>
                          <a:pt x="65285" y="44036"/>
                          <a:pt x="53825" y="55496"/>
                        </a:cubicBezTo>
                        <a:cubicBezTo>
                          <a:pt x="49807" y="59520"/>
                          <a:pt x="44705" y="61593"/>
                          <a:pt x="39055" y="61593"/>
                        </a:cubicBezTo>
                        <a:close/>
                        <a:moveTo>
                          <a:pt x="14859" y="17850"/>
                        </a:moveTo>
                        <a:cubicBezTo>
                          <a:pt x="7735" y="24974"/>
                          <a:pt x="20751" y="38398"/>
                          <a:pt x="22257" y="39903"/>
                        </a:cubicBezTo>
                        <a:cubicBezTo>
                          <a:pt x="27295" y="44948"/>
                          <a:pt x="38481" y="52792"/>
                          <a:pt x="44807" y="46478"/>
                        </a:cubicBezTo>
                        <a:cubicBezTo>
                          <a:pt x="51337" y="39948"/>
                          <a:pt x="51337" y="23890"/>
                          <a:pt x="44807" y="17353"/>
                        </a:cubicBezTo>
                        <a:cubicBezTo>
                          <a:pt x="37977" y="10523"/>
                          <a:pt x="20873" y="11836"/>
                          <a:pt x="14859" y="17850"/>
                        </a:cubicBezTo>
                        <a:lnTo>
                          <a:pt x="14859" y="17850"/>
                        </a:lnTo>
                        <a:close/>
                      </a:path>
                    </a:pathLst>
                  </a:custGeom>
                  <a:grpFill/>
                  <a:ln w="637" cap="flat">
                    <a:noFill/>
                    <a:prstDash val="solid"/>
                    <a:miter/>
                  </a:ln>
                </p:spPr>
                <p:txBody>
                  <a:bodyPr rtlCol="0" anchor="ctr"/>
                  <a:lstStyle/>
                  <a:p>
                    <a:endParaRPr lang="en-GB" dirty="0"/>
                  </a:p>
                </p:txBody>
              </p:sp>
              <p:sp>
                <p:nvSpPr>
                  <p:cNvPr id="766" name="Freeform: Shape 765">
                    <a:extLst>
                      <a:ext uri="{FF2B5EF4-FFF2-40B4-BE49-F238E27FC236}">
                        <a16:creationId xmlns:a16="http://schemas.microsoft.com/office/drawing/2014/main" id="{3A2DE5DF-7816-400B-9FDE-E132732E0862}"/>
                      </a:ext>
                    </a:extLst>
                  </p:cNvPr>
                  <p:cNvSpPr/>
                  <p:nvPr/>
                </p:nvSpPr>
                <p:spPr>
                  <a:xfrm>
                    <a:off x="5950526" y="2724185"/>
                    <a:ext cx="39817" cy="39815"/>
                  </a:xfrm>
                  <a:custGeom>
                    <a:avLst/>
                    <a:gdLst>
                      <a:gd name="connsiteX0" fmla="*/ 6379 w 39817"/>
                      <a:gd name="connsiteY0" fmla="*/ 39816 h 39815"/>
                      <a:gd name="connsiteX1" fmla="*/ 1870 w 39817"/>
                      <a:gd name="connsiteY1" fmla="*/ 37947 h 39815"/>
                      <a:gd name="connsiteX2" fmla="*/ 1870 w 39817"/>
                      <a:gd name="connsiteY2" fmla="*/ 28929 h 39815"/>
                      <a:gd name="connsiteX3" fmla="*/ 28930 w 39817"/>
                      <a:gd name="connsiteY3" fmla="*/ 1870 h 39815"/>
                      <a:gd name="connsiteX4" fmla="*/ 37947 w 39817"/>
                      <a:gd name="connsiteY4" fmla="*/ 1870 h 39815"/>
                      <a:gd name="connsiteX5" fmla="*/ 37947 w 39817"/>
                      <a:gd name="connsiteY5" fmla="*/ 10888 h 39815"/>
                      <a:gd name="connsiteX6" fmla="*/ 10888 w 39817"/>
                      <a:gd name="connsiteY6" fmla="*/ 37947 h 39815"/>
                      <a:gd name="connsiteX7" fmla="*/ 6379 w 39817"/>
                      <a:gd name="connsiteY7" fmla="*/ 39816 h 3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17" h="39815">
                        <a:moveTo>
                          <a:pt x="6379" y="39816"/>
                        </a:moveTo>
                        <a:cubicBezTo>
                          <a:pt x="4746" y="39816"/>
                          <a:pt x="3114" y="39191"/>
                          <a:pt x="1870" y="37947"/>
                        </a:cubicBezTo>
                        <a:cubicBezTo>
                          <a:pt x="-623" y="35453"/>
                          <a:pt x="-623" y="31423"/>
                          <a:pt x="1870" y="28929"/>
                        </a:cubicBezTo>
                        <a:lnTo>
                          <a:pt x="28930" y="1870"/>
                        </a:lnTo>
                        <a:cubicBezTo>
                          <a:pt x="31423" y="-623"/>
                          <a:pt x="35454" y="-623"/>
                          <a:pt x="37947" y="1870"/>
                        </a:cubicBezTo>
                        <a:cubicBezTo>
                          <a:pt x="40441" y="4364"/>
                          <a:pt x="40441" y="8394"/>
                          <a:pt x="37947" y="10888"/>
                        </a:cubicBezTo>
                        <a:lnTo>
                          <a:pt x="10888" y="37947"/>
                        </a:lnTo>
                        <a:cubicBezTo>
                          <a:pt x="9644" y="39197"/>
                          <a:pt x="8012" y="39816"/>
                          <a:pt x="6379" y="39816"/>
                        </a:cubicBezTo>
                        <a:close/>
                      </a:path>
                    </a:pathLst>
                  </a:custGeom>
                  <a:grpFill/>
                  <a:ln w="637" cap="flat">
                    <a:noFill/>
                    <a:prstDash val="solid"/>
                    <a:miter/>
                  </a:ln>
                </p:spPr>
                <p:txBody>
                  <a:bodyPr rtlCol="0" anchor="ctr"/>
                  <a:lstStyle/>
                  <a:p>
                    <a:endParaRPr lang="en-GB" dirty="0"/>
                  </a:p>
                </p:txBody>
              </p:sp>
            </p:grpSp>
          </p:grpSp>
          <p:sp>
            <p:nvSpPr>
              <p:cNvPr id="754" name="Freeform: Shape 753">
                <a:extLst>
                  <a:ext uri="{FF2B5EF4-FFF2-40B4-BE49-F238E27FC236}">
                    <a16:creationId xmlns:a16="http://schemas.microsoft.com/office/drawing/2014/main" id="{7AF9DD92-0E6A-4679-BD44-4409517FD5BC}"/>
                  </a:ext>
                </a:extLst>
              </p:cNvPr>
              <p:cNvSpPr/>
              <p:nvPr/>
            </p:nvSpPr>
            <p:spPr>
              <a:xfrm>
                <a:off x="1883690" y="2756299"/>
                <a:ext cx="22414" cy="33798"/>
              </a:xfrm>
              <a:custGeom>
                <a:avLst/>
                <a:gdLst>
                  <a:gd name="connsiteX0" fmla="*/ 16042 w 22414"/>
                  <a:gd name="connsiteY0" fmla="*/ 33799 h 33798"/>
                  <a:gd name="connsiteX1" fmla="*/ 10244 w 22414"/>
                  <a:gd name="connsiteY1" fmla="*/ 30081 h 33798"/>
                  <a:gd name="connsiteX2" fmla="*/ 583 w 22414"/>
                  <a:gd name="connsiteY2" fmla="*/ 9042 h 33798"/>
                  <a:gd name="connsiteX3" fmla="*/ 3714 w 22414"/>
                  <a:gd name="connsiteY3" fmla="*/ 585 h 33798"/>
                  <a:gd name="connsiteX4" fmla="*/ 12170 w 22414"/>
                  <a:gd name="connsiteY4" fmla="*/ 3717 h 33798"/>
                  <a:gd name="connsiteX5" fmla="*/ 21832 w 22414"/>
                  <a:gd name="connsiteY5" fmla="*/ 24756 h 33798"/>
                  <a:gd name="connsiteX6" fmla="*/ 18701 w 22414"/>
                  <a:gd name="connsiteY6" fmla="*/ 33212 h 33798"/>
                  <a:gd name="connsiteX7" fmla="*/ 16042 w 22414"/>
                  <a:gd name="connsiteY7" fmla="*/ 33799 h 3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14" h="33798">
                    <a:moveTo>
                      <a:pt x="16042" y="33799"/>
                    </a:moveTo>
                    <a:cubicBezTo>
                      <a:pt x="13631" y="33799"/>
                      <a:pt x="11316" y="32421"/>
                      <a:pt x="10244" y="30081"/>
                    </a:cubicBezTo>
                    <a:lnTo>
                      <a:pt x="583" y="9042"/>
                    </a:lnTo>
                    <a:cubicBezTo>
                      <a:pt x="-884" y="5840"/>
                      <a:pt x="513" y="2052"/>
                      <a:pt x="3714" y="585"/>
                    </a:cubicBezTo>
                    <a:cubicBezTo>
                      <a:pt x="6903" y="-888"/>
                      <a:pt x="10697" y="515"/>
                      <a:pt x="12170" y="3717"/>
                    </a:cubicBezTo>
                    <a:lnTo>
                      <a:pt x="21832" y="24756"/>
                    </a:lnTo>
                    <a:cubicBezTo>
                      <a:pt x="23299" y="27957"/>
                      <a:pt x="21902" y="31745"/>
                      <a:pt x="18701" y="33212"/>
                    </a:cubicBezTo>
                    <a:cubicBezTo>
                      <a:pt x="17834" y="33614"/>
                      <a:pt x="16928" y="33799"/>
                      <a:pt x="16042" y="33799"/>
                    </a:cubicBezTo>
                    <a:close/>
                  </a:path>
                </a:pathLst>
              </a:custGeom>
              <a:grpFill/>
              <a:ln w="637" cap="flat">
                <a:noFill/>
                <a:prstDash val="solid"/>
                <a:miter/>
              </a:ln>
            </p:spPr>
            <p:txBody>
              <a:bodyPr rtlCol="0" anchor="ctr"/>
              <a:lstStyle/>
              <a:p>
                <a:endParaRPr lang="en-GB" dirty="0"/>
              </a:p>
            </p:txBody>
          </p:sp>
          <p:sp>
            <p:nvSpPr>
              <p:cNvPr id="755" name="Freeform: Shape 754">
                <a:extLst>
                  <a:ext uri="{FF2B5EF4-FFF2-40B4-BE49-F238E27FC236}">
                    <a16:creationId xmlns:a16="http://schemas.microsoft.com/office/drawing/2014/main" id="{75507F17-DCD5-478E-B042-4AA91F51976C}"/>
                  </a:ext>
                </a:extLst>
              </p:cNvPr>
              <p:cNvSpPr/>
              <p:nvPr/>
            </p:nvSpPr>
            <p:spPr>
              <a:xfrm>
                <a:off x="1772162" y="2513469"/>
                <a:ext cx="22593" cy="34186"/>
              </a:xfrm>
              <a:custGeom>
                <a:avLst/>
                <a:gdLst>
                  <a:gd name="connsiteX0" fmla="*/ 16220 w 22593"/>
                  <a:gd name="connsiteY0" fmla="*/ 34186 h 34186"/>
                  <a:gd name="connsiteX1" fmla="*/ 10423 w 22593"/>
                  <a:gd name="connsiteY1" fmla="*/ 30468 h 34186"/>
                  <a:gd name="connsiteX2" fmla="*/ 583 w 22593"/>
                  <a:gd name="connsiteY2" fmla="*/ 9040 h 34186"/>
                  <a:gd name="connsiteX3" fmla="*/ 3714 w 22593"/>
                  <a:gd name="connsiteY3" fmla="*/ 584 h 34186"/>
                  <a:gd name="connsiteX4" fmla="*/ 12170 w 22593"/>
                  <a:gd name="connsiteY4" fmla="*/ 3715 h 34186"/>
                  <a:gd name="connsiteX5" fmla="*/ 22011 w 22593"/>
                  <a:gd name="connsiteY5" fmla="*/ 25143 h 34186"/>
                  <a:gd name="connsiteX6" fmla="*/ 18879 w 22593"/>
                  <a:gd name="connsiteY6" fmla="*/ 33600 h 34186"/>
                  <a:gd name="connsiteX7" fmla="*/ 16220 w 22593"/>
                  <a:gd name="connsiteY7" fmla="*/ 34186 h 34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93" h="34186">
                    <a:moveTo>
                      <a:pt x="16220" y="34186"/>
                    </a:moveTo>
                    <a:cubicBezTo>
                      <a:pt x="13809" y="34186"/>
                      <a:pt x="11494" y="32809"/>
                      <a:pt x="10423" y="30468"/>
                    </a:cubicBezTo>
                    <a:lnTo>
                      <a:pt x="583" y="9040"/>
                    </a:lnTo>
                    <a:cubicBezTo>
                      <a:pt x="-884" y="5839"/>
                      <a:pt x="513" y="2050"/>
                      <a:pt x="3714" y="584"/>
                    </a:cubicBezTo>
                    <a:cubicBezTo>
                      <a:pt x="6909" y="-883"/>
                      <a:pt x="10697" y="507"/>
                      <a:pt x="12170" y="3715"/>
                    </a:cubicBezTo>
                    <a:lnTo>
                      <a:pt x="22011" y="25143"/>
                    </a:lnTo>
                    <a:cubicBezTo>
                      <a:pt x="23478" y="28344"/>
                      <a:pt x="22081" y="32133"/>
                      <a:pt x="18879" y="33600"/>
                    </a:cubicBezTo>
                    <a:cubicBezTo>
                      <a:pt x="18012" y="33995"/>
                      <a:pt x="17106" y="34186"/>
                      <a:pt x="16220" y="34186"/>
                    </a:cubicBezTo>
                    <a:close/>
                  </a:path>
                </a:pathLst>
              </a:custGeom>
              <a:grpFill/>
              <a:ln w="637" cap="flat">
                <a:noFill/>
                <a:prstDash val="solid"/>
                <a:miter/>
              </a:ln>
            </p:spPr>
            <p:txBody>
              <a:bodyPr rtlCol="0" anchor="ctr"/>
              <a:lstStyle/>
              <a:p>
                <a:endParaRPr lang="en-GB" dirty="0"/>
              </a:p>
            </p:txBody>
          </p:sp>
          <p:sp>
            <p:nvSpPr>
              <p:cNvPr id="756" name="Freeform: Shape 755">
                <a:extLst>
                  <a:ext uri="{FF2B5EF4-FFF2-40B4-BE49-F238E27FC236}">
                    <a16:creationId xmlns:a16="http://schemas.microsoft.com/office/drawing/2014/main" id="{AFC032D6-3A77-44AB-928A-54785417B6CD}"/>
                  </a:ext>
                </a:extLst>
              </p:cNvPr>
              <p:cNvSpPr/>
              <p:nvPr/>
            </p:nvSpPr>
            <p:spPr>
              <a:xfrm>
                <a:off x="1944984" y="2696328"/>
                <a:ext cx="33133" cy="22056"/>
              </a:xfrm>
              <a:custGeom>
                <a:avLst/>
                <a:gdLst>
                  <a:gd name="connsiteX0" fmla="*/ 26755 w 33133"/>
                  <a:gd name="connsiteY0" fmla="*/ 22056 h 22056"/>
                  <a:gd name="connsiteX1" fmla="*/ 24108 w 33133"/>
                  <a:gd name="connsiteY1" fmla="*/ 21476 h 22056"/>
                  <a:gd name="connsiteX2" fmla="*/ 3732 w 33133"/>
                  <a:gd name="connsiteY2" fmla="*/ 12184 h 22056"/>
                  <a:gd name="connsiteX3" fmla="*/ 575 w 33133"/>
                  <a:gd name="connsiteY3" fmla="*/ 3734 h 22056"/>
                  <a:gd name="connsiteX4" fmla="*/ 9025 w 33133"/>
                  <a:gd name="connsiteY4" fmla="*/ 577 h 22056"/>
                  <a:gd name="connsiteX5" fmla="*/ 29401 w 33133"/>
                  <a:gd name="connsiteY5" fmla="*/ 9869 h 22056"/>
                  <a:gd name="connsiteX6" fmla="*/ 32558 w 33133"/>
                  <a:gd name="connsiteY6" fmla="*/ 18319 h 22056"/>
                  <a:gd name="connsiteX7" fmla="*/ 26755 w 33133"/>
                  <a:gd name="connsiteY7" fmla="*/ 22056 h 22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133" h="22056">
                    <a:moveTo>
                      <a:pt x="26755" y="22056"/>
                    </a:moveTo>
                    <a:cubicBezTo>
                      <a:pt x="25868" y="22056"/>
                      <a:pt x="24969" y="21871"/>
                      <a:pt x="24108" y="21476"/>
                    </a:cubicBezTo>
                    <a:lnTo>
                      <a:pt x="3732" y="12184"/>
                    </a:lnTo>
                    <a:cubicBezTo>
                      <a:pt x="531" y="10724"/>
                      <a:pt x="-885" y="6942"/>
                      <a:pt x="575" y="3734"/>
                    </a:cubicBezTo>
                    <a:cubicBezTo>
                      <a:pt x="2036" y="539"/>
                      <a:pt x="5811" y="-890"/>
                      <a:pt x="9025" y="577"/>
                    </a:cubicBezTo>
                    <a:lnTo>
                      <a:pt x="29401" y="9869"/>
                    </a:lnTo>
                    <a:cubicBezTo>
                      <a:pt x="32603" y="11329"/>
                      <a:pt x="34018" y="15111"/>
                      <a:pt x="32558" y="18319"/>
                    </a:cubicBezTo>
                    <a:cubicBezTo>
                      <a:pt x="31493" y="20672"/>
                      <a:pt x="29172" y="22056"/>
                      <a:pt x="26755" y="22056"/>
                    </a:cubicBezTo>
                    <a:close/>
                  </a:path>
                </a:pathLst>
              </a:custGeom>
              <a:grpFill/>
              <a:ln w="637" cap="flat">
                <a:noFill/>
                <a:prstDash val="solid"/>
                <a:miter/>
              </a:ln>
            </p:spPr>
            <p:txBody>
              <a:bodyPr rtlCol="0" anchor="ctr"/>
              <a:lstStyle/>
              <a:p>
                <a:endParaRPr lang="en-GB" dirty="0"/>
              </a:p>
            </p:txBody>
          </p:sp>
          <p:sp>
            <p:nvSpPr>
              <p:cNvPr id="757" name="Freeform: Shape 756">
                <a:extLst>
                  <a:ext uri="{FF2B5EF4-FFF2-40B4-BE49-F238E27FC236}">
                    <a16:creationId xmlns:a16="http://schemas.microsoft.com/office/drawing/2014/main" id="{FC2F5CBA-254C-43FE-AD49-A300614A7A83}"/>
                  </a:ext>
                </a:extLst>
              </p:cNvPr>
              <p:cNvSpPr/>
              <p:nvPr/>
            </p:nvSpPr>
            <p:spPr>
              <a:xfrm>
                <a:off x="1701138" y="2585185"/>
                <a:ext cx="33713" cy="22309"/>
              </a:xfrm>
              <a:custGeom>
                <a:avLst/>
                <a:gdLst>
                  <a:gd name="connsiteX0" fmla="*/ 27335 w 33713"/>
                  <a:gd name="connsiteY0" fmla="*/ 22310 h 22309"/>
                  <a:gd name="connsiteX1" fmla="*/ 24688 w 33713"/>
                  <a:gd name="connsiteY1" fmla="*/ 21736 h 22309"/>
                  <a:gd name="connsiteX2" fmla="*/ 3732 w 33713"/>
                  <a:gd name="connsiteY2" fmla="*/ 12182 h 22309"/>
                  <a:gd name="connsiteX3" fmla="*/ 575 w 33713"/>
                  <a:gd name="connsiteY3" fmla="*/ 3732 h 22309"/>
                  <a:gd name="connsiteX4" fmla="*/ 9025 w 33713"/>
                  <a:gd name="connsiteY4" fmla="*/ 575 h 22309"/>
                  <a:gd name="connsiteX5" fmla="*/ 29982 w 33713"/>
                  <a:gd name="connsiteY5" fmla="*/ 10129 h 22309"/>
                  <a:gd name="connsiteX6" fmla="*/ 33138 w 33713"/>
                  <a:gd name="connsiteY6" fmla="*/ 18579 h 22309"/>
                  <a:gd name="connsiteX7" fmla="*/ 27335 w 33713"/>
                  <a:gd name="connsiteY7" fmla="*/ 22310 h 22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13" h="22309">
                    <a:moveTo>
                      <a:pt x="27335" y="22310"/>
                    </a:moveTo>
                    <a:cubicBezTo>
                      <a:pt x="26449" y="22310"/>
                      <a:pt x="25549" y="22125"/>
                      <a:pt x="24688" y="21736"/>
                    </a:cubicBezTo>
                    <a:lnTo>
                      <a:pt x="3732" y="12182"/>
                    </a:lnTo>
                    <a:cubicBezTo>
                      <a:pt x="531" y="10722"/>
                      <a:pt x="-885" y="6940"/>
                      <a:pt x="575" y="3732"/>
                    </a:cubicBezTo>
                    <a:cubicBezTo>
                      <a:pt x="2036" y="531"/>
                      <a:pt x="5818" y="-885"/>
                      <a:pt x="9025" y="575"/>
                    </a:cubicBezTo>
                    <a:lnTo>
                      <a:pt x="29982" y="10129"/>
                    </a:lnTo>
                    <a:cubicBezTo>
                      <a:pt x="33183" y="11589"/>
                      <a:pt x="34599" y="15371"/>
                      <a:pt x="33138" y="18579"/>
                    </a:cubicBezTo>
                    <a:cubicBezTo>
                      <a:pt x="32073" y="20926"/>
                      <a:pt x="29752" y="22310"/>
                      <a:pt x="27335" y="22310"/>
                    </a:cubicBezTo>
                    <a:close/>
                  </a:path>
                </a:pathLst>
              </a:custGeom>
              <a:grpFill/>
              <a:ln w="637" cap="flat">
                <a:noFill/>
                <a:prstDash val="solid"/>
                <a:miter/>
              </a:ln>
            </p:spPr>
            <p:txBody>
              <a:bodyPr rtlCol="0" anchor="ctr"/>
              <a:lstStyle/>
              <a:p>
                <a:endParaRPr lang="en-GB" dirty="0"/>
              </a:p>
            </p:txBody>
          </p:sp>
          <p:sp>
            <p:nvSpPr>
              <p:cNvPr id="758" name="Freeform: Shape 757">
                <a:extLst>
                  <a:ext uri="{FF2B5EF4-FFF2-40B4-BE49-F238E27FC236}">
                    <a16:creationId xmlns:a16="http://schemas.microsoft.com/office/drawing/2014/main" id="{93DFE15D-00E4-4346-9570-82E13A06EC8F}"/>
                  </a:ext>
                </a:extLst>
              </p:cNvPr>
              <p:cNvSpPr/>
              <p:nvPr/>
            </p:nvSpPr>
            <p:spPr>
              <a:xfrm>
                <a:off x="1943810" y="2586493"/>
                <a:ext cx="34505" cy="22423"/>
              </a:xfrm>
              <a:custGeom>
                <a:avLst/>
                <a:gdLst>
                  <a:gd name="connsiteX0" fmla="*/ 6386 w 34505"/>
                  <a:gd name="connsiteY0" fmla="*/ 22424 h 22423"/>
                  <a:gd name="connsiteX1" fmla="*/ 550 w 34505"/>
                  <a:gd name="connsiteY1" fmla="*/ 18629 h 22423"/>
                  <a:gd name="connsiteX2" fmla="*/ 3790 w 34505"/>
                  <a:gd name="connsiteY2" fmla="*/ 10211 h 22423"/>
                  <a:gd name="connsiteX3" fmla="*/ 25537 w 34505"/>
                  <a:gd name="connsiteY3" fmla="*/ 556 h 22423"/>
                  <a:gd name="connsiteX4" fmla="*/ 33955 w 34505"/>
                  <a:gd name="connsiteY4" fmla="*/ 3796 h 22423"/>
                  <a:gd name="connsiteX5" fmla="*/ 30715 w 34505"/>
                  <a:gd name="connsiteY5" fmla="*/ 12214 h 22423"/>
                  <a:gd name="connsiteX6" fmla="*/ 8968 w 34505"/>
                  <a:gd name="connsiteY6" fmla="*/ 21869 h 22423"/>
                  <a:gd name="connsiteX7" fmla="*/ 6386 w 34505"/>
                  <a:gd name="connsiteY7" fmla="*/ 22424 h 22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05" h="22423">
                    <a:moveTo>
                      <a:pt x="6386" y="22424"/>
                    </a:moveTo>
                    <a:cubicBezTo>
                      <a:pt x="3943" y="22424"/>
                      <a:pt x="1609" y="21008"/>
                      <a:pt x="550" y="18629"/>
                    </a:cubicBezTo>
                    <a:cubicBezTo>
                      <a:pt x="-878" y="15409"/>
                      <a:pt x="570" y="11640"/>
                      <a:pt x="3790" y="10211"/>
                    </a:cubicBezTo>
                    <a:lnTo>
                      <a:pt x="25537" y="556"/>
                    </a:lnTo>
                    <a:cubicBezTo>
                      <a:pt x="28751" y="-885"/>
                      <a:pt x="32520" y="575"/>
                      <a:pt x="33955" y="3796"/>
                    </a:cubicBezTo>
                    <a:cubicBezTo>
                      <a:pt x="35384" y="7016"/>
                      <a:pt x="33936" y="10785"/>
                      <a:pt x="30715" y="12214"/>
                    </a:cubicBezTo>
                    <a:lnTo>
                      <a:pt x="8968" y="21869"/>
                    </a:lnTo>
                    <a:cubicBezTo>
                      <a:pt x="8127" y="22245"/>
                      <a:pt x="7247" y="22424"/>
                      <a:pt x="6386" y="22424"/>
                    </a:cubicBezTo>
                    <a:close/>
                  </a:path>
                </a:pathLst>
              </a:custGeom>
              <a:grpFill/>
              <a:ln w="637" cap="flat">
                <a:noFill/>
                <a:prstDash val="solid"/>
                <a:miter/>
              </a:ln>
            </p:spPr>
            <p:txBody>
              <a:bodyPr rtlCol="0" anchor="ctr"/>
              <a:lstStyle/>
              <a:p>
                <a:endParaRPr lang="en-GB" dirty="0"/>
              </a:p>
            </p:txBody>
          </p:sp>
          <p:sp>
            <p:nvSpPr>
              <p:cNvPr id="759" name="Freeform: Shape 758">
                <a:extLst>
                  <a:ext uri="{FF2B5EF4-FFF2-40B4-BE49-F238E27FC236}">
                    <a16:creationId xmlns:a16="http://schemas.microsoft.com/office/drawing/2014/main" id="{C8CECF9D-DF41-4D9A-8355-4DEDD24A513F}"/>
                  </a:ext>
                </a:extLst>
              </p:cNvPr>
              <p:cNvSpPr/>
              <p:nvPr/>
            </p:nvSpPr>
            <p:spPr>
              <a:xfrm>
                <a:off x="1700162" y="2695204"/>
                <a:ext cx="33287" cy="21879"/>
              </a:xfrm>
              <a:custGeom>
                <a:avLst/>
                <a:gdLst>
                  <a:gd name="connsiteX0" fmla="*/ 6386 w 33287"/>
                  <a:gd name="connsiteY0" fmla="*/ 21879 h 21879"/>
                  <a:gd name="connsiteX1" fmla="*/ 550 w 33287"/>
                  <a:gd name="connsiteY1" fmla="*/ 18085 h 21879"/>
                  <a:gd name="connsiteX2" fmla="*/ 3790 w 33287"/>
                  <a:gd name="connsiteY2" fmla="*/ 9666 h 21879"/>
                  <a:gd name="connsiteX3" fmla="*/ 24319 w 33287"/>
                  <a:gd name="connsiteY3" fmla="*/ 553 h 21879"/>
                  <a:gd name="connsiteX4" fmla="*/ 32737 w 33287"/>
                  <a:gd name="connsiteY4" fmla="*/ 3793 h 21879"/>
                  <a:gd name="connsiteX5" fmla="*/ 29497 w 33287"/>
                  <a:gd name="connsiteY5" fmla="*/ 12211 h 21879"/>
                  <a:gd name="connsiteX6" fmla="*/ 8969 w 33287"/>
                  <a:gd name="connsiteY6" fmla="*/ 21324 h 21879"/>
                  <a:gd name="connsiteX7" fmla="*/ 6386 w 33287"/>
                  <a:gd name="connsiteY7" fmla="*/ 21879 h 2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87" h="21879">
                    <a:moveTo>
                      <a:pt x="6386" y="21879"/>
                    </a:moveTo>
                    <a:cubicBezTo>
                      <a:pt x="3943" y="21879"/>
                      <a:pt x="1609" y="20463"/>
                      <a:pt x="550" y="18085"/>
                    </a:cubicBezTo>
                    <a:cubicBezTo>
                      <a:pt x="-878" y="14864"/>
                      <a:pt x="570" y="11095"/>
                      <a:pt x="3790" y="9666"/>
                    </a:cubicBezTo>
                    <a:lnTo>
                      <a:pt x="24319" y="553"/>
                    </a:lnTo>
                    <a:cubicBezTo>
                      <a:pt x="27527" y="-882"/>
                      <a:pt x="31302" y="572"/>
                      <a:pt x="32737" y="3793"/>
                    </a:cubicBezTo>
                    <a:cubicBezTo>
                      <a:pt x="34166" y="7013"/>
                      <a:pt x="32718" y="10782"/>
                      <a:pt x="29497" y="12211"/>
                    </a:cubicBezTo>
                    <a:lnTo>
                      <a:pt x="8969" y="21324"/>
                    </a:lnTo>
                    <a:cubicBezTo>
                      <a:pt x="8127" y="21701"/>
                      <a:pt x="7247" y="21879"/>
                      <a:pt x="6386" y="21879"/>
                    </a:cubicBezTo>
                    <a:close/>
                  </a:path>
                </a:pathLst>
              </a:custGeom>
              <a:grpFill/>
              <a:ln w="637" cap="flat">
                <a:noFill/>
                <a:prstDash val="solid"/>
                <a:miter/>
              </a:ln>
            </p:spPr>
            <p:txBody>
              <a:bodyPr rtlCol="0" anchor="ctr"/>
              <a:lstStyle/>
              <a:p>
                <a:endParaRPr lang="en-GB" dirty="0"/>
              </a:p>
            </p:txBody>
          </p:sp>
          <p:sp>
            <p:nvSpPr>
              <p:cNvPr id="760" name="Freeform: Shape 759">
                <a:extLst>
                  <a:ext uri="{FF2B5EF4-FFF2-40B4-BE49-F238E27FC236}">
                    <a16:creationId xmlns:a16="http://schemas.microsoft.com/office/drawing/2014/main" id="{19D56856-6078-456A-8C5B-74F4FEB46295}"/>
                  </a:ext>
                </a:extLst>
              </p:cNvPr>
              <p:cNvSpPr/>
              <p:nvPr/>
            </p:nvSpPr>
            <p:spPr>
              <a:xfrm>
                <a:off x="1772336" y="2757196"/>
                <a:ext cx="22014" cy="32953"/>
              </a:xfrm>
              <a:custGeom>
                <a:avLst/>
                <a:gdLst>
                  <a:gd name="connsiteX0" fmla="*/ 6377 w 22014"/>
                  <a:gd name="connsiteY0" fmla="*/ 32953 h 32953"/>
                  <a:gd name="connsiteX1" fmla="*/ 3724 w 22014"/>
                  <a:gd name="connsiteY1" fmla="*/ 32373 h 32953"/>
                  <a:gd name="connsiteX2" fmla="*/ 580 w 22014"/>
                  <a:gd name="connsiteY2" fmla="*/ 23916 h 32953"/>
                  <a:gd name="connsiteX3" fmla="*/ 9834 w 22014"/>
                  <a:gd name="connsiteY3" fmla="*/ 3726 h 32953"/>
                  <a:gd name="connsiteX4" fmla="*/ 18290 w 22014"/>
                  <a:gd name="connsiteY4" fmla="*/ 581 h 32953"/>
                  <a:gd name="connsiteX5" fmla="*/ 21435 w 22014"/>
                  <a:gd name="connsiteY5" fmla="*/ 9038 h 32953"/>
                  <a:gd name="connsiteX6" fmla="*/ 12181 w 22014"/>
                  <a:gd name="connsiteY6" fmla="*/ 29229 h 32953"/>
                  <a:gd name="connsiteX7" fmla="*/ 6377 w 22014"/>
                  <a:gd name="connsiteY7" fmla="*/ 32953 h 3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14" h="32953">
                    <a:moveTo>
                      <a:pt x="6377" y="32953"/>
                    </a:moveTo>
                    <a:cubicBezTo>
                      <a:pt x="5485" y="32953"/>
                      <a:pt x="4585" y="32768"/>
                      <a:pt x="3724" y="32373"/>
                    </a:cubicBezTo>
                    <a:cubicBezTo>
                      <a:pt x="523" y="30906"/>
                      <a:pt x="-886" y="27118"/>
                      <a:pt x="580" y="23916"/>
                    </a:cubicBezTo>
                    <a:lnTo>
                      <a:pt x="9834" y="3726"/>
                    </a:lnTo>
                    <a:cubicBezTo>
                      <a:pt x="11301" y="518"/>
                      <a:pt x="15089" y="-885"/>
                      <a:pt x="18290" y="581"/>
                    </a:cubicBezTo>
                    <a:cubicBezTo>
                      <a:pt x="21492" y="2048"/>
                      <a:pt x="22901" y="5836"/>
                      <a:pt x="21435" y="9038"/>
                    </a:cubicBezTo>
                    <a:lnTo>
                      <a:pt x="12181" y="29229"/>
                    </a:lnTo>
                    <a:cubicBezTo>
                      <a:pt x="11103" y="31576"/>
                      <a:pt x="8794" y="32953"/>
                      <a:pt x="6377" y="32953"/>
                    </a:cubicBezTo>
                    <a:close/>
                  </a:path>
                </a:pathLst>
              </a:custGeom>
              <a:grpFill/>
              <a:ln w="637" cap="flat">
                <a:noFill/>
                <a:prstDash val="solid"/>
                <a:miter/>
              </a:ln>
            </p:spPr>
            <p:txBody>
              <a:bodyPr rtlCol="0" anchor="ctr"/>
              <a:lstStyle/>
              <a:p>
                <a:endParaRPr lang="en-GB" dirty="0"/>
              </a:p>
            </p:txBody>
          </p:sp>
          <p:sp>
            <p:nvSpPr>
              <p:cNvPr id="761" name="Freeform: Shape 760">
                <a:extLst>
                  <a:ext uri="{FF2B5EF4-FFF2-40B4-BE49-F238E27FC236}">
                    <a16:creationId xmlns:a16="http://schemas.microsoft.com/office/drawing/2014/main" id="{EBC962BF-0D67-4C9E-BCB4-F8B31778F9B1}"/>
                  </a:ext>
                </a:extLst>
              </p:cNvPr>
              <p:cNvSpPr/>
              <p:nvPr/>
            </p:nvSpPr>
            <p:spPr>
              <a:xfrm>
                <a:off x="1883724" y="2513412"/>
                <a:ext cx="22340" cy="33669"/>
              </a:xfrm>
              <a:custGeom>
                <a:avLst/>
                <a:gdLst>
                  <a:gd name="connsiteX0" fmla="*/ 6378 w 22340"/>
                  <a:gd name="connsiteY0" fmla="*/ 33669 h 33669"/>
                  <a:gd name="connsiteX1" fmla="*/ 3725 w 22340"/>
                  <a:gd name="connsiteY1" fmla="*/ 33089 h 33669"/>
                  <a:gd name="connsiteX2" fmla="*/ 580 w 22340"/>
                  <a:gd name="connsiteY2" fmla="*/ 24632 h 33669"/>
                  <a:gd name="connsiteX3" fmla="*/ 10159 w 22340"/>
                  <a:gd name="connsiteY3" fmla="*/ 3727 h 33669"/>
                  <a:gd name="connsiteX4" fmla="*/ 18616 w 22340"/>
                  <a:gd name="connsiteY4" fmla="*/ 583 h 33669"/>
                  <a:gd name="connsiteX5" fmla="*/ 21760 w 22340"/>
                  <a:gd name="connsiteY5" fmla="*/ 9040 h 33669"/>
                  <a:gd name="connsiteX6" fmla="*/ 12181 w 22340"/>
                  <a:gd name="connsiteY6" fmla="*/ 29945 h 33669"/>
                  <a:gd name="connsiteX7" fmla="*/ 6378 w 22340"/>
                  <a:gd name="connsiteY7" fmla="*/ 33669 h 33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0" h="33669">
                    <a:moveTo>
                      <a:pt x="6378" y="33669"/>
                    </a:moveTo>
                    <a:cubicBezTo>
                      <a:pt x="5485" y="33669"/>
                      <a:pt x="4585" y="33484"/>
                      <a:pt x="3725" y="33089"/>
                    </a:cubicBezTo>
                    <a:cubicBezTo>
                      <a:pt x="523" y="31622"/>
                      <a:pt x="-886" y="27834"/>
                      <a:pt x="580" y="24632"/>
                    </a:cubicBezTo>
                    <a:lnTo>
                      <a:pt x="10159" y="3727"/>
                    </a:lnTo>
                    <a:cubicBezTo>
                      <a:pt x="11626" y="526"/>
                      <a:pt x="15414" y="-890"/>
                      <a:pt x="18616" y="583"/>
                    </a:cubicBezTo>
                    <a:cubicBezTo>
                      <a:pt x="21817" y="2050"/>
                      <a:pt x="23227" y="5838"/>
                      <a:pt x="21760" y="9040"/>
                    </a:cubicBezTo>
                    <a:lnTo>
                      <a:pt x="12181" y="29945"/>
                    </a:lnTo>
                    <a:cubicBezTo>
                      <a:pt x="11103" y="32292"/>
                      <a:pt x="8795" y="33669"/>
                      <a:pt x="6378" y="33669"/>
                    </a:cubicBezTo>
                    <a:close/>
                  </a:path>
                </a:pathLst>
              </a:custGeom>
              <a:grpFill/>
              <a:ln w="637" cap="flat">
                <a:noFill/>
                <a:prstDash val="solid"/>
                <a:miter/>
              </a:ln>
            </p:spPr>
            <p:txBody>
              <a:bodyPr rtlCol="0" anchor="ctr"/>
              <a:lstStyle/>
              <a:p>
                <a:endParaRPr lang="en-GB" dirty="0"/>
              </a:p>
            </p:txBody>
          </p:sp>
        </p:grpSp>
        <p:grpSp>
          <p:nvGrpSpPr>
            <p:cNvPr id="744" name="Group 743">
              <a:extLst>
                <a:ext uri="{FF2B5EF4-FFF2-40B4-BE49-F238E27FC236}">
                  <a16:creationId xmlns:a16="http://schemas.microsoft.com/office/drawing/2014/main" id="{667D58A6-DBC9-4AE2-8078-74A1A4A45703}"/>
                </a:ext>
              </a:extLst>
            </p:cNvPr>
            <p:cNvGrpSpPr/>
            <p:nvPr/>
          </p:nvGrpSpPr>
          <p:grpSpPr>
            <a:xfrm>
              <a:off x="3861534" y="4168299"/>
              <a:ext cx="135760" cy="103090"/>
              <a:chOff x="1770667" y="2606499"/>
              <a:chExt cx="135760" cy="103090"/>
            </a:xfrm>
          </p:grpSpPr>
          <p:grpSp>
            <p:nvGrpSpPr>
              <p:cNvPr id="745" name="Graphic 32">
                <a:extLst>
                  <a:ext uri="{FF2B5EF4-FFF2-40B4-BE49-F238E27FC236}">
                    <a16:creationId xmlns:a16="http://schemas.microsoft.com/office/drawing/2014/main" id="{906EF7CF-2C39-4A62-A426-C3DC78AF3BE0}"/>
                  </a:ext>
                </a:extLst>
              </p:cNvPr>
              <p:cNvGrpSpPr/>
              <p:nvPr/>
            </p:nvGrpSpPr>
            <p:grpSpPr>
              <a:xfrm>
                <a:off x="1770667" y="2606499"/>
                <a:ext cx="135760" cy="20018"/>
                <a:chOff x="6000974" y="2599004"/>
                <a:chExt cx="135760" cy="20018"/>
              </a:xfrm>
              <a:solidFill>
                <a:schemeClr val="accent1"/>
              </a:solidFill>
            </p:grpSpPr>
            <p:sp>
              <p:nvSpPr>
                <p:cNvPr id="747" name="Freeform: Shape 746">
                  <a:extLst>
                    <a:ext uri="{FF2B5EF4-FFF2-40B4-BE49-F238E27FC236}">
                      <a16:creationId xmlns:a16="http://schemas.microsoft.com/office/drawing/2014/main" id="{653705C0-6D5B-4200-A3C8-09254508766D}"/>
                    </a:ext>
                  </a:extLst>
                </p:cNvPr>
                <p:cNvSpPr/>
                <p:nvPr/>
              </p:nvSpPr>
              <p:spPr>
                <a:xfrm>
                  <a:off x="6103942" y="2599004"/>
                  <a:ext cx="32791" cy="20018"/>
                </a:xfrm>
                <a:custGeom>
                  <a:avLst/>
                  <a:gdLst>
                    <a:gd name="connsiteX0" fmla="*/ 18909 w 32791"/>
                    <a:gd name="connsiteY0" fmla="*/ 19662 h 20018"/>
                    <a:gd name="connsiteX1" fmla="*/ 32703 w 32791"/>
                    <a:gd name="connsiteY1" fmla="*/ 5785 h 20018"/>
                    <a:gd name="connsiteX2" fmla="*/ 26626 w 32791"/>
                    <a:gd name="connsiteY2" fmla="*/ 103 h 20018"/>
                    <a:gd name="connsiteX3" fmla="*/ 4171 w 32791"/>
                    <a:gd name="connsiteY3" fmla="*/ 4663 h 20018"/>
                    <a:gd name="connsiteX4" fmla="*/ 791 w 32791"/>
                    <a:gd name="connsiteY4" fmla="*/ 12264 h 20018"/>
                    <a:gd name="connsiteX5" fmla="*/ 18909 w 32791"/>
                    <a:gd name="connsiteY5" fmla="*/ 19662 h 2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1" h="20018">
                      <a:moveTo>
                        <a:pt x="18909" y="19662"/>
                      </a:moveTo>
                      <a:cubicBezTo>
                        <a:pt x="26096" y="18202"/>
                        <a:pt x="31371" y="12558"/>
                        <a:pt x="32703" y="5785"/>
                      </a:cubicBezTo>
                      <a:cubicBezTo>
                        <a:pt x="33379" y="2341"/>
                        <a:pt x="30063" y="-592"/>
                        <a:pt x="26626" y="103"/>
                      </a:cubicBezTo>
                      <a:lnTo>
                        <a:pt x="4171" y="4663"/>
                      </a:lnTo>
                      <a:cubicBezTo>
                        <a:pt x="734" y="5358"/>
                        <a:pt x="-1173" y="9356"/>
                        <a:pt x="791" y="12264"/>
                      </a:cubicBezTo>
                      <a:cubicBezTo>
                        <a:pt x="4662" y="17979"/>
                        <a:pt x="11715" y="21123"/>
                        <a:pt x="18909" y="19662"/>
                      </a:cubicBezTo>
                      <a:close/>
                    </a:path>
                  </a:pathLst>
                </a:custGeom>
                <a:solidFill>
                  <a:schemeClr val="accent1"/>
                </a:solidFill>
                <a:ln w="637" cap="flat">
                  <a:noFill/>
                  <a:prstDash val="solid"/>
                  <a:miter/>
                </a:ln>
              </p:spPr>
              <p:txBody>
                <a:bodyPr rtlCol="0" anchor="ctr"/>
                <a:lstStyle/>
                <a:p>
                  <a:endParaRPr lang="en-GB" dirty="0"/>
                </a:p>
              </p:txBody>
            </p:sp>
            <p:sp>
              <p:nvSpPr>
                <p:cNvPr id="748" name="Freeform: Shape 747">
                  <a:extLst>
                    <a:ext uri="{FF2B5EF4-FFF2-40B4-BE49-F238E27FC236}">
                      <a16:creationId xmlns:a16="http://schemas.microsoft.com/office/drawing/2014/main" id="{A8B1B05F-C749-4DB1-9DC0-B7EB62CD7B1B}"/>
                    </a:ext>
                  </a:extLst>
                </p:cNvPr>
                <p:cNvSpPr/>
                <p:nvPr/>
              </p:nvSpPr>
              <p:spPr>
                <a:xfrm>
                  <a:off x="6000974" y="2599004"/>
                  <a:ext cx="32791" cy="20018"/>
                </a:xfrm>
                <a:custGeom>
                  <a:avLst/>
                  <a:gdLst>
                    <a:gd name="connsiteX0" fmla="*/ 13883 w 32791"/>
                    <a:gd name="connsiteY0" fmla="*/ 19662 h 20018"/>
                    <a:gd name="connsiteX1" fmla="*/ 88 w 32791"/>
                    <a:gd name="connsiteY1" fmla="*/ 5785 h 20018"/>
                    <a:gd name="connsiteX2" fmla="*/ 6166 w 32791"/>
                    <a:gd name="connsiteY2" fmla="*/ 103 h 20018"/>
                    <a:gd name="connsiteX3" fmla="*/ 28621 w 32791"/>
                    <a:gd name="connsiteY3" fmla="*/ 4663 h 20018"/>
                    <a:gd name="connsiteX4" fmla="*/ 32001 w 32791"/>
                    <a:gd name="connsiteY4" fmla="*/ 12264 h 20018"/>
                    <a:gd name="connsiteX5" fmla="*/ 13883 w 32791"/>
                    <a:gd name="connsiteY5" fmla="*/ 19662 h 20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91" h="20018">
                      <a:moveTo>
                        <a:pt x="13883" y="19662"/>
                      </a:moveTo>
                      <a:cubicBezTo>
                        <a:pt x="6695" y="18202"/>
                        <a:pt x="1421" y="12558"/>
                        <a:pt x="88" y="5785"/>
                      </a:cubicBezTo>
                      <a:cubicBezTo>
                        <a:pt x="-588" y="2341"/>
                        <a:pt x="2729" y="-592"/>
                        <a:pt x="6166" y="103"/>
                      </a:cubicBezTo>
                      <a:lnTo>
                        <a:pt x="28621" y="4663"/>
                      </a:lnTo>
                      <a:cubicBezTo>
                        <a:pt x="32058" y="5358"/>
                        <a:pt x="33965" y="9356"/>
                        <a:pt x="32001" y="12264"/>
                      </a:cubicBezTo>
                      <a:cubicBezTo>
                        <a:pt x="28123" y="17979"/>
                        <a:pt x="21070" y="21123"/>
                        <a:pt x="13883" y="19662"/>
                      </a:cubicBezTo>
                      <a:close/>
                    </a:path>
                  </a:pathLst>
                </a:custGeom>
                <a:solidFill>
                  <a:schemeClr val="accent1"/>
                </a:solidFill>
                <a:ln w="637" cap="flat">
                  <a:noFill/>
                  <a:prstDash val="solid"/>
                  <a:miter/>
                </a:ln>
              </p:spPr>
              <p:txBody>
                <a:bodyPr rtlCol="0" anchor="ctr"/>
                <a:lstStyle/>
                <a:p>
                  <a:endParaRPr lang="en-GB" dirty="0"/>
                </a:p>
              </p:txBody>
            </p:sp>
          </p:grpSp>
          <p:sp>
            <p:nvSpPr>
              <p:cNvPr id="746" name="Freeform: Shape 745">
                <a:extLst>
                  <a:ext uri="{FF2B5EF4-FFF2-40B4-BE49-F238E27FC236}">
                    <a16:creationId xmlns:a16="http://schemas.microsoft.com/office/drawing/2014/main" id="{B7D48F5F-BBBB-4F71-8A1F-1BD03C4E153B}"/>
                  </a:ext>
                </a:extLst>
              </p:cNvPr>
              <p:cNvSpPr/>
              <p:nvPr/>
            </p:nvSpPr>
            <p:spPr>
              <a:xfrm>
                <a:off x="1782353" y="2668143"/>
                <a:ext cx="114878" cy="41446"/>
              </a:xfrm>
              <a:custGeom>
                <a:avLst/>
                <a:gdLst>
                  <a:gd name="connsiteX0" fmla="*/ 108507 w 114878"/>
                  <a:gd name="connsiteY0" fmla="*/ 41447 h 41446"/>
                  <a:gd name="connsiteX1" fmla="*/ 103074 w 114878"/>
                  <a:gd name="connsiteY1" fmla="*/ 38417 h 41446"/>
                  <a:gd name="connsiteX2" fmla="*/ 57131 w 114878"/>
                  <a:gd name="connsiteY2" fmla="*/ 12755 h 41446"/>
                  <a:gd name="connsiteX3" fmla="*/ 11737 w 114878"/>
                  <a:gd name="connsiteY3" fmla="*/ 37544 h 41446"/>
                  <a:gd name="connsiteX4" fmla="*/ 2923 w 114878"/>
                  <a:gd name="connsiteY4" fmla="*/ 39451 h 41446"/>
                  <a:gd name="connsiteX5" fmla="*/ 1016 w 114878"/>
                  <a:gd name="connsiteY5" fmla="*/ 30637 h 41446"/>
                  <a:gd name="connsiteX6" fmla="*/ 57131 w 114878"/>
                  <a:gd name="connsiteY6" fmla="*/ 0 h 41446"/>
                  <a:gd name="connsiteX7" fmla="*/ 113928 w 114878"/>
                  <a:gd name="connsiteY7" fmla="*/ 31721 h 41446"/>
                  <a:gd name="connsiteX8" fmla="*/ 111849 w 114878"/>
                  <a:gd name="connsiteY8" fmla="*/ 40496 h 41446"/>
                  <a:gd name="connsiteX9" fmla="*/ 108507 w 114878"/>
                  <a:gd name="connsiteY9" fmla="*/ 41447 h 4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878" h="41446">
                    <a:moveTo>
                      <a:pt x="108507" y="41447"/>
                    </a:moveTo>
                    <a:cubicBezTo>
                      <a:pt x="106371" y="41447"/>
                      <a:pt x="104279" y="40375"/>
                      <a:pt x="103074" y="38417"/>
                    </a:cubicBezTo>
                    <a:cubicBezTo>
                      <a:pt x="93157" y="22346"/>
                      <a:pt x="75983" y="12755"/>
                      <a:pt x="57131" y="12755"/>
                    </a:cubicBezTo>
                    <a:cubicBezTo>
                      <a:pt x="38700" y="12755"/>
                      <a:pt x="21730" y="22021"/>
                      <a:pt x="11737" y="37544"/>
                    </a:cubicBezTo>
                    <a:cubicBezTo>
                      <a:pt x="9830" y="40503"/>
                      <a:pt x="5876" y="41357"/>
                      <a:pt x="2923" y="39451"/>
                    </a:cubicBezTo>
                    <a:cubicBezTo>
                      <a:pt x="-36" y="37544"/>
                      <a:pt x="-890" y="33596"/>
                      <a:pt x="1016" y="30637"/>
                    </a:cubicBezTo>
                    <a:cubicBezTo>
                      <a:pt x="13369" y="11454"/>
                      <a:pt x="34345" y="0"/>
                      <a:pt x="57131" y="0"/>
                    </a:cubicBezTo>
                    <a:cubicBezTo>
                      <a:pt x="80440" y="0"/>
                      <a:pt x="101677" y="11856"/>
                      <a:pt x="113928" y="31721"/>
                    </a:cubicBezTo>
                    <a:cubicBezTo>
                      <a:pt x="115778" y="34718"/>
                      <a:pt x="114847" y="38647"/>
                      <a:pt x="111849" y="40496"/>
                    </a:cubicBezTo>
                    <a:cubicBezTo>
                      <a:pt x="110810" y="41147"/>
                      <a:pt x="109655" y="41447"/>
                      <a:pt x="108507" y="41447"/>
                    </a:cubicBezTo>
                    <a:close/>
                  </a:path>
                </a:pathLst>
              </a:custGeom>
              <a:solidFill>
                <a:schemeClr val="accent1"/>
              </a:solidFill>
              <a:ln w="637" cap="flat">
                <a:noFill/>
                <a:prstDash val="solid"/>
                <a:miter/>
              </a:ln>
            </p:spPr>
            <p:txBody>
              <a:bodyPr rtlCol="0" anchor="ctr"/>
              <a:lstStyle/>
              <a:p>
                <a:endParaRPr lang="en-GB" dirty="0"/>
              </a:p>
            </p:txBody>
          </p:sp>
        </p:grpSp>
      </p:grpSp>
      <p:grpSp>
        <p:nvGrpSpPr>
          <p:cNvPr id="18" name="Group 17">
            <a:extLst>
              <a:ext uri="{FF2B5EF4-FFF2-40B4-BE49-F238E27FC236}">
                <a16:creationId xmlns:a16="http://schemas.microsoft.com/office/drawing/2014/main" id="{81CE66BE-24C0-C55F-6F6C-DA217D6E5799}"/>
              </a:ext>
            </a:extLst>
          </p:cNvPr>
          <p:cNvGrpSpPr/>
          <p:nvPr/>
        </p:nvGrpSpPr>
        <p:grpSpPr>
          <a:xfrm>
            <a:off x="2655201" y="4032795"/>
            <a:ext cx="459434" cy="361925"/>
            <a:chOff x="2655201" y="4032795"/>
            <a:chExt cx="459434" cy="361925"/>
          </a:xfrm>
        </p:grpSpPr>
        <p:grpSp>
          <p:nvGrpSpPr>
            <p:cNvPr id="785" name="Graphic 32">
              <a:extLst>
                <a:ext uri="{FF2B5EF4-FFF2-40B4-BE49-F238E27FC236}">
                  <a16:creationId xmlns:a16="http://schemas.microsoft.com/office/drawing/2014/main" id="{07A923E3-E0E6-48A5-8143-4270EF7176A9}"/>
                </a:ext>
              </a:extLst>
            </p:cNvPr>
            <p:cNvGrpSpPr/>
            <p:nvPr/>
          </p:nvGrpSpPr>
          <p:grpSpPr>
            <a:xfrm>
              <a:off x="2655201" y="4032795"/>
              <a:ext cx="446762" cy="323489"/>
              <a:chOff x="5029944" y="2453374"/>
              <a:chExt cx="446762" cy="323489"/>
            </a:xfrm>
            <a:solidFill>
              <a:schemeClr val="tx2"/>
            </a:solidFill>
          </p:grpSpPr>
          <p:grpSp>
            <p:nvGrpSpPr>
              <p:cNvPr id="791" name="Graphic 32">
                <a:extLst>
                  <a:ext uri="{FF2B5EF4-FFF2-40B4-BE49-F238E27FC236}">
                    <a16:creationId xmlns:a16="http://schemas.microsoft.com/office/drawing/2014/main" id="{32B6AD7E-D067-44CC-AD96-2B829E008730}"/>
                  </a:ext>
                </a:extLst>
              </p:cNvPr>
              <p:cNvGrpSpPr/>
              <p:nvPr/>
            </p:nvGrpSpPr>
            <p:grpSpPr>
              <a:xfrm>
                <a:off x="5029944" y="2454308"/>
                <a:ext cx="322588" cy="322555"/>
                <a:chOff x="5029944" y="2454308"/>
                <a:chExt cx="322588" cy="322555"/>
              </a:xfrm>
              <a:grpFill/>
            </p:grpSpPr>
            <p:grpSp>
              <p:nvGrpSpPr>
                <p:cNvPr id="818" name="Graphic 32">
                  <a:extLst>
                    <a:ext uri="{FF2B5EF4-FFF2-40B4-BE49-F238E27FC236}">
                      <a16:creationId xmlns:a16="http://schemas.microsoft.com/office/drawing/2014/main" id="{2DB64FFC-54B7-4EDC-A847-0CD6738C730D}"/>
                    </a:ext>
                  </a:extLst>
                </p:cNvPr>
                <p:cNvGrpSpPr/>
                <p:nvPr/>
              </p:nvGrpSpPr>
              <p:grpSpPr>
                <a:xfrm>
                  <a:off x="5029944" y="2454308"/>
                  <a:ext cx="322588" cy="322555"/>
                  <a:chOff x="5029944" y="2454308"/>
                  <a:chExt cx="322588" cy="322555"/>
                </a:xfrm>
                <a:grpFill/>
              </p:grpSpPr>
              <p:sp>
                <p:nvSpPr>
                  <p:cNvPr id="822" name="Freeform: Shape 821">
                    <a:extLst>
                      <a:ext uri="{FF2B5EF4-FFF2-40B4-BE49-F238E27FC236}">
                        <a16:creationId xmlns:a16="http://schemas.microsoft.com/office/drawing/2014/main" id="{885E23F0-3AA2-4541-A410-B4D587E5F2C5}"/>
                      </a:ext>
                    </a:extLst>
                  </p:cNvPr>
                  <p:cNvSpPr/>
                  <p:nvPr/>
                </p:nvSpPr>
                <p:spPr>
                  <a:xfrm>
                    <a:off x="5092997" y="2517164"/>
                    <a:ext cx="196474" cy="196481"/>
                  </a:xfrm>
                  <a:custGeom>
                    <a:avLst/>
                    <a:gdLst>
                      <a:gd name="connsiteX0" fmla="*/ 98237 w 196474"/>
                      <a:gd name="connsiteY0" fmla="*/ 196481 h 196481"/>
                      <a:gd name="connsiteX1" fmla="*/ 0 w 196474"/>
                      <a:gd name="connsiteY1" fmla="*/ 98237 h 196481"/>
                      <a:gd name="connsiteX2" fmla="*/ 98237 w 196474"/>
                      <a:gd name="connsiteY2" fmla="*/ 0 h 196481"/>
                      <a:gd name="connsiteX3" fmla="*/ 196475 w 196474"/>
                      <a:gd name="connsiteY3" fmla="*/ 98237 h 196481"/>
                      <a:gd name="connsiteX4" fmla="*/ 98237 w 196474"/>
                      <a:gd name="connsiteY4" fmla="*/ 196481 h 196481"/>
                      <a:gd name="connsiteX5" fmla="*/ 98237 w 196474"/>
                      <a:gd name="connsiteY5" fmla="*/ 12748 h 196481"/>
                      <a:gd name="connsiteX6" fmla="*/ 12755 w 196474"/>
                      <a:gd name="connsiteY6" fmla="*/ 98231 h 196481"/>
                      <a:gd name="connsiteX7" fmla="*/ 98237 w 196474"/>
                      <a:gd name="connsiteY7" fmla="*/ 183720 h 196481"/>
                      <a:gd name="connsiteX8" fmla="*/ 183720 w 196474"/>
                      <a:gd name="connsiteY8" fmla="*/ 98231 h 196481"/>
                      <a:gd name="connsiteX9" fmla="*/ 98237 w 196474"/>
                      <a:gd name="connsiteY9" fmla="*/ 12748 h 196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6474" h="196481">
                        <a:moveTo>
                          <a:pt x="98237" y="196481"/>
                        </a:moveTo>
                        <a:cubicBezTo>
                          <a:pt x="44068" y="196481"/>
                          <a:pt x="0" y="152407"/>
                          <a:pt x="0" y="98237"/>
                        </a:cubicBezTo>
                        <a:cubicBezTo>
                          <a:pt x="0" y="44068"/>
                          <a:pt x="44068" y="0"/>
                          <a:pt x="98237" y="0"/>
                        </a:cubicBezTo>
                        <a:cubicBezTo>
                          <a:pt x="152407" y="0"/>
                          <a:pt x="196475" y="44068"/>
                          <a:pt x="196475" y="98237"/>
                        </a:cubicBezTo>
                        <a:cubicBezTo>
                          <a:pt x="196475" y="152407"/>
                          <a:pt x="152413" y="196481"/>
                          <a:pt x="98237" y="196481"/>
                        </a:cubicBezTo>
                        <a:close/>
                        <a:moveTo>
                          <a:pt x="98237" y="12748"/>
                        </a:moveTo>
                        <a:cubicBezTo>
                          <a:pt x="51102" y="12748"/>
                          <a:pt x="12755" y="51096"/>
                          <a:pt x="12755" y="98231"/>
                        </a:cubicBezTo>
                        <a:cubicBezTo>
                          <a:pt x="12755" y="145373"/>
                          <a:pt x="51102" y="183720"/>
                          <a:pt x="98237" y="183720"/>
                        </a:cubicBezTo>
                        <a:cubicBezTo>
                          <a:pt x="145373" y="183720"/>
                          <a:pt x="183720" y="145373"/>
                          <a:pt x="183720" y="98231"/>
                        </a:cubicBezTo>
                        <a:cubicBezTo>
                          <a:pt x="183726" y="51102"/>
                          <a:pt x="145379" y="12748"/>
                          <a:pt x="98237" y="12748"/>
                        </a:cubicBezTo>
                        <a:close/>
                      </a:path>
                    </a:pathLst>
                  </a:custGeom>
                  <a:grpFill/>
                  <a:ln w="637" cap="flat">
                    <a:noFill/>
                    <a:prstDash val="solid"/>
                    <a:miter/>
                  </a:ln>
                </p:spPr>
                <p:txBody>
                  <a:bodyPr rtlCol="0" anchor="ctr"/>
                  <a:lstStyle/>
                  <a:p>
                    <a:endParaRPr lang="en-GB" dirty="0"/>
                  </a:p>
                </p:txBody>
              </p:sp>
              <p:grpSp>
                <p:nvGrpSpPr>
                  <p:cNvPr id="823" name="Graphic 32">
                    <a:extLst>
                      <a:ext uri="{FF2B5EF4-FFF2-40B4-BE49-F238E27FC236}">
                        <a16:creationId xmlns:a16="http://schemas.microsoft.com/office/drawing/2014/main" id="{2E42713F-DDD0-4274-B21A-434371B2302D}"/>
                      </a:ext>
                    </a:extLst>
                  </p:cNvPr>
                  <p:cNvGrpSpPr/>
                  <p:nvPr/>
                </p:nvGrpSpPr>
                <p:grpSpPr>
                  <a:xfrm>
                    <a:off x="5029944" y="2588284"/>
                    <a:ext cx="75610" cy="53825"/>
                    <a:chOff x="5029944" y="2588284"/>
                    <a:chExt cx="75610" cy="53825"/>
                  </a:xfrm>
                  <a:grpFill/>
                </p:grpSpPr>
                <p:sp>
                  <p:nvSpPr>
                    <p:cNvPr id="855" name="Freeform: Shape 854">
                      <a:extLst>
                        <a:ext uri="{FF2B5EF4-FFF2-40B4-BE49-F238E27FC236}">
                          <a16:creationId xmlns:a16="http://schemas.microsoft.com/office/drawing/2014/main" id="{0F35F7F1-27BA-46AD-9974-58A6BE27B09B}"/>
                        </a:ext>
                      </a:extLst>
                    </p:cNvPr>
                    <p:cNvSpPr/>
                    <p:nvPr/>
                  </p:nvSpPr>
                  <p:spPr>
                    <a:xfrm>
                      <a:off x="5029944" y="2588284"/>
                      <a:ext cx="46599" cy="53825"/>
                    </a:xfrm>
                    <a:custGeom>
                      <a:avLst/>
                      <a:gdLst>
                        <a:gd name="connsiteX0" fmla="*/ 19776 w 46599"/>
                        <a:gd name="connsiteY0" fmla="*/ 53825 h 53825"/>
                        <a:gd name="connsiteX1" fmla="*/ 0 w 46599"/>
                        <a:gd name="connsiteY1" fmla="*/ 27002 h 53825"/>
                        <a:gd name="connsiteX2" fmla="*/ 19068 w 46599"/>
                        <a:gd name="connsiteY2" fmla="*/ 0 h 53825"/>
                        <a:gd name="connsiteX3" fmla="*/ 46600 w 46599"/>
                        <a:gd name="connsiteY3" fmla="*/ 27002 h 53825"/>
                        <a:gd name="connsiteX4" fmla="*/ 19776 w 46599"/>
                        <a:gd name="connsiteY4" fmla="*/ 53825 h 53825"/>
                        <a:gd name="connsiteX5" fmla="*/ 19068 w 46599"/>
                        <a:gd name="connsiteY5" fmla="*/ 12755 h 53825"/>
                        <a:gd name="connsiteX6" fmla="*/ 12755 w 46599"/>
                        <a:gd name="connsiteY6" fmla="*/ 27002 h 53825"/>
                        <a:gd name="connsiteX7" fmla="*/ 19776 w 46599"/>
                        <a:gd name="connsiteY7" fmla="*/ 41070 h 53825"/>
                        <a:gd name="connsiteX8" fmla="*/ 33845 w 46599"/>
                        <a:gd name="connsiteY8" fmla="*/ 27002 h 53825"/>
                        <a:gd name="connsiteX9" fmla="*/ 19068 w 46599"/>
                        <a:gd name="connsiteY9" fmla="*/ 12755 h 5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599" h="53825">
                          <a:moveTo>
                            <a:pt x="19776" y="53825"/>
                          </a:moveTo>
                          <a:cubicBezTo>
                            <a:pt x="8131" y="53825"/>
                            <a:pt x="0" y="42799"/>
                            <a:pt x="0" y="27002"/>
                          </a:cubicBezTo>
                          <a:cubicBezTo>
                            <a:pt x="0" y="10599"/>
                            <a:pt x="7481" y="0"/>
                            <a:pt x="19068" y="0"/>
                          </a:cubicBezTo>
                          <a:cubicBezTo>
                            <a:pt x="32448" y="0"/>
                            <a:pt x="46600" y="13877"/>
                            <a:pt x="46600" y="27002"/>
                          </a:cubicBezTo>
                          <a:cubicBezTo>
                            <a:pt x="46600" y="40292"/>
                            <a:pt x="33060" y="53825"/>
                            <a:pt x="19776" y="53825"/>
                          </a:cubicBezTo>
                          <a:close/>
                          <a:moveTo>
                            <a:pt x="19068" y="12755"/>
                          </a:moveTo>
                          <a:cubicBezTo>
                            <a:pt x="14088" y="12755"/>
                            <a:pt x="12755" y="21709"/>
                            <a:pt x="12755" y="27002"/>
                          </a:cubicBezTo>
                          <a:cubicBezTo>
                            <a:pt x="12755" y="32659"/>
                            <a:pt x="14623" y="41070"/>
                            <a:pt x="19776" y="41070"/>
                          </a:cubicBezTo>
                          <a:cubicBezTo>
                            <a:pt x="25459" y="41070"/>
                            <a:pt x="33845" y="33660"/>
                            <a:pt x="33845" y="27002"/>
                          </a:cubicBezTo>
                          <a:cubicBezTo>
                            <a:pt x="33845" y="20535"/>
                            <a:pt x="24770" y="12755"/>
                            <a:pt x="19068" y="12755"/>
                          </a:cubicBezTo>
                          <a:close/>
                        </a:path>
                      </a:pathLst>
                    </a:custGeom>
                    <a:grpFill/>
                    <a:ln w="637" cap="flat">
                      <a:noFill/>
                      <a:prstDash val="solid"/>
                      <a:miter/>
                    </a:ln>
                  </p:spPr>
                  <p:txBody>
                    <a:bodyPr rtlCol="0" anchor="ctr"/>
                    <a:lstStyle/>
                    <a:p>
                      <a:endParaRPr lang="en-GB" dirty="0"/>
                    </a:p>
                  </p:txBody>
                </p:sp>
                <p:sp>
                  <p:nvSpPr>
                    <p:cNvPr id="856" name="Freeform: Shape 855">
                      <a:extLst>
                        <a:ext uri="{FF2B5EF4-FFF2-40B4-BE49-F238E27FC236}">
                          <a16:creationId xmlns:a16="http://schemas.microsoft.com/office/drawing/2014/main" id="{7296A49E-6602-404E-94AC-5368BCEB91CF}"/>
                        </a:ext>
                      </a:extLst>
                    </p:cNvPr>
                    <p:cNvSpPr/>
                    <p:nvPr/>
                  </p:nvSpPr>
                  <p:spPr>
                    <a:xfrm>
                      <a:off x="5063789" y="2608921"/>
                      <a:ext cx="41765" cy="12754"/>
                    </a:xfrm>
                    <a:custGeom>
                      <a:avLst/>
                      <a:gdLst>
                        <a:gd name="connsiteX0" fmla="*/ 35382 w 41765"/>
                        <a:gd name="connsiteY0" fmla="*/ 12755 h 12754"/>
                        <a:gd name="connsiteX1" fmla="*/ 6377 w 41765"/>
                        <a:gd name="connsiteY1" fmla="*/ 12755 h 12754"/>
                        <a:gd name="connsiteX2" fmla="*/ 0 w 41765"/>
                        <a:gd name="connsiteY2" fmla="*/ 6377 h 12754"/>
                        <a:gd name="connsiteX3" fmla="*/ 6377 w 41765"/>
                        <a:gd name="connsiteY3" fmla="*/ 0 h 12754"/>
                        <a:gd name="connsiteX4" fmla="*/ 35388 w 41765"/>
                        <a:gd name="connsiteY4" fmla="*/ 0 h 12754"/>
                        <a:gd name="connsiteX5" fmla="*/ 41766 w 41765"/>
                        <a:gd name="connsiteY5" fmla="*/ 6377 h 12754"/>
                        <a:gd name="connsiteX6" fmla="*/ 35382 w 41765"/>
                        <a:gd name="connsiteY6" fmla="*/ 12755 h 1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765" h="12754">
                          <a:moveTo>
                            <a:pt x="35382" y="12755"/>
                          </a:moveTo>
                          <a:lnTo>
                            <a:pt x="6377" y="12755"/>
                          </a:lnTo>
                          <a:cubicBezTo>
                            <a:pt x="2857" y="12755"/>
                            <a:pt x="0" y="9898"/>
                            <a:pt x="0" y="6377"/>
                          </a:cubicBezTo>
                          <a:cubicBezTo>
                            <a:pt x="0" y="2857"/>
                            <a:pt x="2857" y="0"/>
                            <a:pt x="6377" y="0"/>
                          </a:cubicBezTo>
                          <a:lnTo>
                            <a:pt x="35388" y="0"/>
                          </a:lnTo>
                          <a:cubicBezTo>
                            <a:pt x="38908" y="0"/>
                            <a:pt x="41766" y="2857"/>
                            <a:pt x="41766" y="6377"/>
                          </a:cubicBezTo>
                          <a:cubicBezTo>
                            <a:pt x="41766" y="9898"/>
                            <a:pt x="38908" y="12755"/>
                            <a:pt x="35382" y="12755"/>
                          </a:cubicBezTo>
                          <a:close/>
                        </a:path>
                      </a:pathLst>
                    </a:custGeom>
                    <a:grpFill/>
                    <a:ln w="637" cap="flat">
                      <a:noFill/>
                      <a:prstDash val="solid"/>
                      <a:miter/>
                    </a:ln>
                  </p:spPr>
                  <p:txBody>
                    <a:bodyPr rtlCol="0" anchor="ctr"/>
                    <a:lstStyle/>
                    <a:p>
                      <a:endParaRPr lang="en-GB" dirty="0"/>
                    </a:p>
                  </p:txBody>
                </p:sp>
              </p:grpSp>
              <p:grpSp>
                <p:nvGrpSpPr>
                  <p:cNvPr id="824" name="Graphic 32">
                    <a:extLst>
                      <a:ext uri="{FF2B5EF4-FFF2-40B4-BE49-F238E27FC236}">
                        <a16:creationId xmlns:a16="http://schemas.microsoft.com/office/drawing/2014/main" id="{47598B17-E46C-41FC-94C8-E2FF5E10F230}"/>
                      </a:ext>
                    </a:extLst>
                  </p:cNvPr>
                  <p:cNvGrpSpPr/>
                  <p:nvPr/>
                </p:nvGrpSpPr>
                <p:grpSpPr>
                  <a:xfrm>
                    <a:off x="5276928" y="2588195"/>
                    <a:ext cx="75604" cy="53831"/>
                    <a:chOff x="5276928" y="2588195"/>
                    <a:chExt cx="75604" cy="53831"/>
                  </a:xfrm>
                  <a:grpFill/>
                </p:grpSpPr>
                <p:sp>
                  <p:nvSpPr>
                    <p:cNvPr id="853" name="Freeform: Shape 852">
                      <a:extLst>
                        <a:ext uri="{FF2B5EF4-FFF2-40B4-BE49-F238E27FC236}">
                          <a16:creationId xmlns:a16="http://schemas.microsoft.com/office/drawing/2014/main" id="{637D1E09-81F4-40AD-9871-51E265413FC9}"/>
                        </a:ext>
                      </a:extLst>
                    </p:cNvPr>
                    <p:cNvSpPr/>
                    <p:nvPr/>
                  </p:nvSpPr>
                  <p:spPr>
                    <a:xfrm>
                      <a:off x="5305938" y="2588195"/>
                      <a:ext cx="46593" cy="53831"/>
                    </a:xfrm>
                    <a:custGeom>
                      <a:avLst/>
                      <a:gdLst>
                        <a:gd name="connsiteX0" fmla="*/ 26862 w 46593"/>
                        <a:gd name="connsiteY0" fmla="*/ 53832 h 53831"/>
                        <a:gd name="connsiteX1" fmla="*/ 0 w 46593"/>
                        <a:gd name="connsiteY1" fmla="*/ 27136 h 53831"/>
                        <a:gd name="connsiteX2" fmla="*/ 27397 w 46593"/>
                        <a:gd name="connsiteY2" fmla="*/ 0 h 53831"/>
                        <a:gd name="connsiteX3" fmla="*/ 27397 w 46593"/>
                        <a:gd name="connsiteY3" fmla="*/ 0 h 53831"/>
                        <a:gd name="connsiteX4" fmla="*/ 27487 w 46593"/>
                        <a:gd name="connsiteY4" fmla="*/ 0 h 53831"/>
                        <a:gd name="connsiteX5" fmla="*/ 46593 w 46593"/>
                        <a:gd name="connsiteY5" fmla="*/ 26913 h 53831"/>
                        <a:gd name="connsiteX6" fmla="*/ 42659 w 46593"/>
                        <a:gd name="connsiteY6" fmla="*/ 44010 h 53831"/>
                        <a:gd name="connsiteX7" fmla="*/ 26951 w 46593"/>
                        <a:gd name="connsiteY7" fmla="*/ 53832 h 53831"/>
                        <a:gd name="connsiteX8" fmla="*/ 26862 w 46593"/>
                        <a:gd name="connsiteY8" fmla="*/ 53832 h 53831"/>
                        <a:gd name="connsiteX9" fmla="*/ 27461 w 46593"/>
                        <a:gd name="connsiteY9" fmla="*/ 12755 h 53831"/>
                        <a:gd name="connsiteX10" fmla="*/ 12755 w 46593"/>
                        <a:gd name="connsiteY10" fmla="*/ 27072 h 53831"/>
                        <a:gd name="connsiteX11" fmla="*/ 26862 w 46593"/>
                        <a:gd name="connsiteY11" fmla="*/ 41077 h 53831"/>
                        <a:gd name="connsiteX12" fmla="*/ 31517 w 46593"/>
                        <a:gd name="connsiteY12" fmla="*/ 37799 h 53831"/>
                        <a:gd name="connsiteX13" fmla="*/ 33839 w 46593"/>
                        <a:gd name="connsiteY13" fmla="*/ 26970 h 53831"/>
                        <a:gd name="connsiteX14" fmla="*/ 27461 w 46593"/>
                        <a:gd name="connsiteY14" fmla="*/ 12755 h 53831"/>
                        <a:gd name="connsiteX15" fmla="*/ 27461 w 46593"/>
                        <a:gd name="connsiteY15" fmla="*/ 12755 h 5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593" h="53831">
                          <a:moveTo>
                            <a:pt x="26862" y="53832"/>
                          </a:moveTo>
                          <a:cubicBezTo>
                            <a:pt x="13597" y="53832"/>
                            <a:pt x="58" y="40394"/>
                            <a:pt x="0" y="27136"/>
                          </a:cubicBezTo>
                          <a:cubicBezTo>
                            <a:pt x="-64" y="14011"/>
                            <a:pt x="14024" y="64"/>
                            <a:pt x="27397" y="0"/>
                          </a:cubicBezTo>
                          <a:lnTo>
                            <a:pt x="27397" y="0"/>
                          </a:lnTo>
                          <a:cubicBezTo>
                            <a:pt x="27429" y="0"/>
                            <a:pt x="27461" y="0"/>
                            <a:pt x="27487" y="0"/>
                          </a:cubicBezTo>
                          <a:cubicBezTo>
                            <a:pt x="39023" y="0"/>
                            <a:pt x="46517" y="10548"/>
                            <a:pt x="46593" y="26913"/>
                          </a:cubicBezTo>
                          <a:cubicBezTo>
                            <a:pt x="46625" y="33328"/>
                            <a:pt x="45229" y="39399"/>
                            <a:pt x="42659" y="44010"/>
                          </a:cubicBezTo>
                          <a:cubicBezTo>
                            <a:pt x="39151" y="50311"/>
                            <a:pt x="33571" y="53800"/>
                            <a:pt x="26951" y="53832"/>
                          </a:cubicBezTo>
                          <a:cubicBezTo>
                            <a:pt x="26926" y="53832"/>
                            <a:pt x="26894" y="53832"/>
                            <a:pt x="26862" y="53832"/>
                          </a:cubicBezTo>
                          <a:close/>
                          <a:moveTo>
                            <a:pt x="27461" y="12755"/>
                          </a:moveTo>
                          <a:cubicBezTo>
                            <a:pt x="21760" y="12787"/>
                            <a:pt x="12723" y="20605"/>
                            <a:pt x="12755" y="27072"/>
                          </a:cubicBezTo>
                          <a:cubicBezTo>
                            <a:pt x="12787" y="33717"/>
                            <a:pt x="21180" y="41077"/>
                            <a:pt x="26862" y="41077"/>
                          </a:cubicBezTo>
                          <a:cubicBezTo>
                            <a:pt x="27748" y="41230"/>
                            <a:pt x="29687" y="41102"/>
                            <a:pt x="31517" y="37799"/>
                          </a:cubicBezTo>
                          <a:cubicBezTo>
                            <a:pt x="33010" y="35114"/>
                            <a:pt x="33858" y="31166"/>
                            <a:pt x="33839" y="26970"/>
                          </a:cubicBezTo>
                          <a:cubicBezTo>
                            <a:pt x="33813" y="21683"/>
                            <a:pt x="32748" y="12819"/>
                            <a:pt x="27461" y="12755"/>
                          </a:cubicBezTo>
                          <a:lnTo>
                            <a:pt x="27461" y="12755"/>
                          </a:lnTo>
                          <a:close/>
                        </a:path>
                      </a:pathLst>
                    </a:custGeom>
                    <a:grpFill/>
                    <a:ln w="637" cap="flat">
                      <a:noFill/>
                      <a:prstDash val="solid"/>
                      <a:miter/>
                    </a:ln>
                  </p:spPr>
                  <p:txBody>
                    <a:bodyPr rtlCol="0" anchor="ctr"/>
                    <a:lstStyle/>
                    <a:p>
                      <a:endParaRPr lang="en-GB" dirty="0"/>
                    </a:p>
                  </p:txBody>
                </p:sp>
                <p:sp>
                  <p:nvSpPr>
                    <p:cNvPr id="854" name="Freeform: Shape 853">
                      <a:extLst>
                        <a:ext uri="{FF2B5EF4-FFF2-40B4-BE49-F238E27FC236}">
                          <a16:creationId xmlns:a16="http://schemas.microsoft.com/office/drawing/2014/main" id="{83968E33-0FC5-4093-B6A3-08902348A5B1}"/>
                        </a:ext>
                      </a:extLst>
                    </p:cNvPr>
                    <p:cNvSpPr/>
                    <p:nvPr/>
                  </p:nvSpPr>
                  <p:spPr>
                    <a:xfrm>
                      <a:off x="5276928" y="2608941"/>
                      <a:ext cx="41765" cy="12888"/>
                    </a:xfrm>
                    <a:custGeom>
                      <a:avLst/>
                      <a:gdLst>
                        <a:gd name="connsiteX0" fmla="*/ 6377 w 41765"/>
                        <a:gd name="connsiteY0" fmla="*/ 12889 h 12888"/>
                        <a:gd name="connsiteX1" fmla="*/ 0 w 41765"/>
                        <a:gd name="connsiteY1" fmla="*/ 6543 h 12888"/>
                        <a:gd name="connsiteX2" fmla="*/ 6346 w 41765"/>
                        <a:gd name="connsiteY2" fmla="*/ 134 h 12888"/>
                        <a:gd name="connsiteX3" fmla="*/ 35356 w 41765"/>
                        <a:gd name="connsiteY3" fmla="*/ 0 h 12888"/>
                        <a:gd name="connsiteX4" fmla="*/ 35388 w 41765"/>
                        <a:gd name="connsiteY4" fmla="*/ 0 h 12888"/>
                        <a:gd name="connsiteX5" fmla="*/ 41766 w 41765"/>
                        <a:gd name="connsiteY5" fmla="*/ 6346 h 12888"/>
                        <a:gd name="connsiteX6" fmla="*/ 35420 w 41765"/>
                        <a:gd name="connsiteY6" fmla="*/ 12755 h 12888"/>
                        <a:gd name="connsiteX7" fmla="*/ 6409 w 41765"/>
                        <a:gd name="connsiteY7" fmla="*/ 12889 h 12888"/>
                        <a:gd name="connsiteX8" fmla="*/ 6377 w 41765"/>
                        <a:gd name="connsiteY8" fmla="*/ 12889 h 12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765" h="12888">
                          <a:moveTo>
                            <a:pt x="6377" y="12889"/>
                          </a:moveTo>
                          <a:cubicBezTo>
                            <a:pt x="2870" y="12889"/>
                            <a:pt x="13" y="10051"/>
                            <a:pt x="0" y="6543"/>
                          </a:cubicBezTo>
                          <a:cubicBezTo>
                            <a:pt x="-13" y="3023"/>
                            <a:pt x="2825" y="153"/>
                            <a:pt x="6346" y="134"/>
                          </a:cubicBezTo>
                          <a:lnTo>
                            <a:pt x="35356" y="0"/>
                          </a:lnTo>
                          <a:cubicBezTo>
                            <a:pt x="35369" y="0"/>
                            <a:pt x="35375" y="0"/>
                            <a:pt x="35388" y="0"/>
                          </a:cubicBezTo>
                          <a:cubicBezTo>
                            <a:pt x="38896" y="0"/>
                            <a:pt x="41753" y="2838"/>
                            <a:pt x="41766" y="6346"/>
                          </a:cubicBezTo>
                          <a:cubicBezTo>
                            <a:pt x="41778" y="9866"/>
                            <a:pt x="38940" y="12736"/>
                            <a:pt x="35420" y="12755"/>
                          </a:cubicBezTo>
                          <a:lnTo>
                            <a:pt x="6409" y="12889"/>
                          </a:lnTo>
                          <a:cubicBezTo>
                            <a:pt x="6390" y="12889"/>
                            <a:pt x="6384" y="12889"/>
                            <a:pt x="6377" y="12889"/>
                          </a:cubicBezTo>
                          <a:close/>
                        </a:path>
                      </a:pathLst>
                    </a:custGeom>
                    <a:grpFill/>
                    <a:ln w="637" cap="flat">
                      <a:noFill/>
                      <a:prstDash val="solid"/>
                      <a:miter/>
                    </a:ln>
                  </p:spPr>
                  <p:txBody>
                    <a:bodyPr rtlCol="0" anchor="ctr"/>
                    <a:lstStyle/>
                    <a:p>
                      <a:endParaRPr lang="en-GB" dirty="0"/>
                    </a:p>
                  </p:txBody>
                </p:sp>
              </p:grpSp>
              <p:grpSp>
                <p:nvGrpSpPr>
                  <p:cNvPr id="825" name="Graphic 32">
                    <a:extLst>
                      <a:ext uri="{FF2B5EF4-FFF2-40B4-BE49-F238E27FC236}">
                        <a16:creationId xmlns:a16="http://schemas.microsoft.com/office/drawing/2014/main" id="{D210F76F-0D59-4B60-9E4C-E7A2AF7112F9}"/>
                      </a:ext>
                    </a:extLst>
                  </p:cNvPr>
                  <p:cNvGrpSpPr/>
                  <p:nvPr/>
                </p:nvGrpSpPr>
                <p:grpSpPr>
                  <a:xfrm>
                    <a:off x="5066695" y="2454308"/>
                    <a:ext cx="249251" cy="102593"/>
                    <a:chOff x="5066695" y="2454308"/>
                    <a:chExt cx="249251" cy="102593"/>
                  </a:xfrm>
                  <a:grpFill/>
                </p:grpSpPr>
                <p:grpSp>
                  <p:nvGrpSpPr>
                    <p:cNvPr id="844" name="Graphic 32">
                      <a:extLst>
                        <a:ext uri="{FF2B5EF4-FFF2-40B4-BE49-F238E27FC236}">
                          <a16:creationId xmlns:a16="http://schemas.microsoft.com/office/drawing/2014/main" id="{388BA88A-3BD1-473C-ABAD-D98870811F61}"/>
                        </a:ext>
                      </a:extLst>
                    </p:cNvPr>
                    <p:cNvGrpSpPr/>
                    <p:nvPr/>
                  </p:nvGrpSpPr>
                  <p:grpSpPr>
                    <a:xfrm>
                      <a:off x="5164424" y="2454308"/>
                      <a:ext cx="53825" cy="75604"/>
                      <a:chOff x="5164424" y="2454308"/>
                      <a:chExt cx="53825" cy="75604"/>
                    </a:xfrm>
                    <a:grpFill/>
                  </p:grpSpPr>
                  <p:sp>
                    <p:nvSpPr>
                      <p:cNvPr id="851" name="Freeform: Shape 850">
                        <a:extLst>
                          <a:ext uri="{FF2B5EF4-FFF2-40B4-BE49-F238E27FC236}">
                            <a16:creationId xmlns:a16="http://schemas.microsoft.com/office/drawing/2014/main" id="{10E62D56-B8CC-4F60-97B4-5321CCED637A}"/>
                          </a:ext>
                        </a:extLst>
                      </p:cNvPr>
                      <p:cNvSpPr/>
                      <p:nvPr/>
                    </p:nvSpPr>
                    <p:spPr>
                      <a:xfrm>
                        <a:off x="5164424" y="2454308"/>
                        <a:ext cx="53825" cy="46599"/>
                      </a:xfrm>
                      <a:custGeom>
                        <a:avLst/>
                        <a:gdLst>
                          <a:gd name="connsiteX0" fmla="*/ 26823 w 53825"/>
                          <a:gd name="connsiteY0" fmla="*/ 46600 h 46599"/>
                          <a:gd name="connsiteX1" fmla="*/ 0 w 53825"/>
                          <a:gd name="connsiteY1" fmla="*/ 19776 h 46599"/>
                          <a:gd name="connsiteX2" fmla="*/ 26823 w 53825"/>
                          <a:gd name="connsiteY2" fmla="*/ 0 h 46599"/>
                          <a:gd name="connsiteX3" fmla="*/ 53825 w 53825"/>
                          <a:gd name="connsiteY3" fmla="*/ 19068 h 46599"/>
                          <a:gd name="connsiteX4" fmla="*/ 26823 w 53825"/>
                          <a:gd name="connsiteY4" fmla="*/ 46600 h 46599"/>
                          <a:gd name="connsiteX5" fmla="*/ 26823 w 53825"/>
                          <a:gd name="connsiteY5" fmla="*/ 12755 h 46599"/>
                          <a:gd name="connsiteX6" fmla="*/ 12755 w 53825"/>
                          <a:gd name="connsiteY6" fmla="*/ 19776 h 46599"/>
                          <a:gd name="connsiteX7" fmla="*/ 26823 w 53825"/>
                          <a:gd name="connsiteY7" fmla="*/ 33845 h 46599"/>
                          <a:gd name="connsiteX8" fmla="*/ 41070 w 53825"/>
                          <a:gd name="connsiteY8" fmla="*/ 19068 h 46599"/>
                          <a:gd name="connsiteX9" fmla="*/ 26823 w 53825"/>
                          <a:gd name="connsiteY9" fmla="*/ 12755 h 4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25" h="46599">
                            <a:moveTo>
                              <a:pt x="26823" y="46600"/>
                            </a:moveTo>
                            <a:cubicBezTo>
                              <a:pt x="13539" y="46600"/>
                              <a:pt x="0" y="33060"/>
                              <a:pt x="0" y="19776"/>
                            </a:cubicBezTo>
                            <a:cubicBezTo>
                              <a:pt x="0" y="8131"/>
                              <a:pt x="11027" y="0"/>
                              <a:pt x="26823" y="0"/>
                            </a:cubicBezTo>
                            <a:cubicBezTo>
                              <a:pt x="43226" y="0"/>
                              <a:pt x="53825" y="7481"/>
                              <a:pt x="53825" y="19068"/>
                            </a:cubicBezTo>
                            <a:cubicBezTo>
                              <a:pt x="53825" y="32448"/>
                              <a:pt x="39948" y="46600"/>
                              <a:pt x="26823" y="46600"/>
                            </a:cubicBezTo>
                            <a:close/>
                            <a:moveTo>
                              <a:pt x="26823" y="12755"/>
                            </a:moveTo>
                            <a:cubicBezTo>
                              <a:pt x="21167" y="12755"/>
                              <a:pt x="12755" y="14623"/>
                              <a:pt x="12755" y="19776"/>
                            </a:cubicBezTo>
                            <a:cubicBezTo>
                              <a:pt x="12755" y="25459"/>
                              <a:pt x="20165" y="33845"/>
                              <a:pt x="26823" y="33845"/>
                            </a:cubicBezTo>
                            <a:cubicBezTo>
                              <a:pt x="33290" y="33845"/>
                              <a:pt x="41070" y="24770"/>
                              <a:pt x="41070" y="19068"/>
                            </a:cubicBezTo>
                            <a:cubicBezTo>
                              <a:pt x="41070" y="14081"/>
                              <a:pt x="32117" y="12755"/>
                              <a:pt x="26823" y="12755"/>
                            </a:cubicBezTo>
                            <a:close/>
                          </a:path>
                        </a:pathLst>
                      </a:custGeom>
                      <a:grpFill/>
                      <a:ln w="637" cap="flat">
                        <a:noFill/>
                        <a:prstDash val="solid"/>
                        <a:miter/>
                      </a:ln>
                    </p:spPr>
                    <p:txBody>
                      <a:bodyPr rtlCol="0" anchor="ctr"/>
                      <a:lstStyle/>
                      <a:p>
                        <a:endParaRPr lang="en-GB" dirty="0"/>
                      </a:p>
                    </p:txBody>
                  </p:sp>
                  <p:sp>
                    <p:nvSpPr>
                      <p:cNvPr id="852" name="Freeform: Shape 851">
                        <a:extLst>
                          <a:ext uri="{FF2B5EF4-FFF2-40B4-BE49-F238E27FC236}">
                            <a16:creationId xmlns:a16="http://schemas.microsoft.com/office/drawing/2014/main" id="{1D8B374D-5505-4C7F-9E14-968D579E6CBA}"/>
                          </a:ext>
                        </a:extLst>
                      </p:cNvPr>
                      <p:cNvSpPr/>
                      <p:nvPr/>
                    </p:nvSpPr>
                    <p:spPr>
                      <a:xfrm>
                        <a:off x="5184857" y="2488146"/>
                        <a:ext cx="12754" cy="41765"/>
                      </a:xfrm>
                      <a:custGeom>
                        <a:avLst/>
                        <a:gdLst>
                          <a:gd name="connsiteX0" fmla="*/ 6377 w 12754"/>
                          <a:gd name="connsiteY0" fmla="*/ 41766 h 41765"/>
                          <a:gd name="connsiteX1" fmla="*/ 0 w 12754"/>
                          <a:gd name="connsiteY1" fmla="*/ 35388 h 41765"/>
                          <a:gd name="connsiteX2" fmla="*/ 0 w 12754"/>
                          <a:gd name="connsiteY2" fmla="*/ 6377 h 41765"/>
                          <a:gd name="connsiteX3" fmla="*/ 6377 w 12754"/>
                          <a:gd name="connsiteY3" fmla="*/ 0 h 41765"/>
                          <a:gd name="connsiteX4" fmla="*/ 12755 w 12754"/>
                          <a:gd name="connsiteY4" fmla="*/ 6377 h 41765"/>
                          <a:gd name="connsiteX5" fmla="*/ 12755 w 12754"/>
                          <a:gd name="connsiteY5" fmla="*/ 35388 h 41765"/>
                          <a:gd name="connsiteX6" fmla="*/ 6377 w 12754"/>
                          <a:gd name="connsiteY6" fmla="*/ 41766 h 4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41765">
                            <a:moveTo>
                              <a:pt x="6377" y="41766"/>
                            </a:moveTo>
                            <a:cubicBezTo>
                              <a:pt x="2857" y="41766"/>
                              <a:pt x="0" y="38908"/>
                              <a:pt x="0" y="35388"/>
                            </a:cubicBezTo>
                            <a:lnTo>
                              <a:pt x="0" y="6377"/>
                            </a:lnTo>
                            <a:cubicBezTo>
                              <a:pt x="0" y="2857"/>
                              <a:pt x="2857" y="0"/>
                              <a:pt x="6377" y="0"/>
                            </a:cubicBezTo>
                            <a:cubicBezTo>
                              <a:pt x="9898" y="0"/>
                              <a:pt x="12755" y="2857"/>
                              <a:pt x="12755" y="6377"/>
                            </a:cubicBezTo>
                            <a:lnTo>
                              <a:pt x="12755" y="35388"/>
                            </a:lnTo>
                            <a:cubicBezTo>
                              <a:pt x="12755" y="38915"/>
                              <a:pt x="9904" y="41766"/>
                              <a:pt x="6377" y="41766"/>
                            </a:cubicBezTo>
                            <a:close/>
                          </a:path>
                        </a:pathLst>
                      </a:custGeom>
                      <a:grpFill/>
                      <a:ln w="637" cap="flat">
                        <a:noFill/>
                        <a:prstDash val="solid"/>
                        <a:miter/>
                      </a:ln>
                    </p:spPr>
                    <p:txBody>
                      <a:bodyPr rtlCol="0" anchor="ctr"/>
                      <a:lstStyle/>
                      <a:p>
                        <a:endParaRPr lang="en-GB" dirty="0"/>
                      </a:p>
                    </p:txBody>
                  </p:sp>
                </p:grpSp>
                <p:grpSp>
                  <p:nvGrpSpPr>
                    <p:cNvPr id="845" name="Graphic 32">
                      <a:extLst>
                        <a:ext uri="{FF2B5EF4-FFF2-40B4-BE49-F238E27FC236}">
                          <a16:creationId xmlns:a16="http://schemas.microsoft.com/office/drawing/2014/main" id="{F5C72FCA-0E8B-44CE-A2D2-C7DC7AD007AA}"/>
                        </a:ext>
                      </a:extLst>
                    </p:cNvPr>
                    <p:cNvGrpSpPr/>
                    <p:nvPr/>
                  </p:nvGrpSpPr>
                  <p:grpSpPr>
                    <a:xfrm>
                      <a:off x="5250097" y="2491575"/>
                      <a:ext cx="65850" cy="65326"/>
                      <a:chOff x="5250097" y="2491575"/>
                      <a:chExt cx="65850" cy="65326"/>
                    </a:xfrm>
                    <a:grpFill/>
                  </p:grpSpPr>
                  <p:sp>
                    <p:nvSpPr>
                      <p:cNvPr id="849" name="Freeform: Shape 848">
                        <a:extLst>
                          <a:ext uri="{FF2B5EF4-FFF2-40B4-BE49-F238E27FC236}">
                            <a16:creationId xmlns:a16="http://schemas.microsoft.com/office/drawing/2014/main" id="{3C3EC7CA-2022-46B7-9B9D-9D2B9AC04F25}"/>
                          </a:ext>
                        </a:extLst>
                      </p:cNvPr>
                      <p:cNvSpPr/>
                      <p:nvPr/>
                    </p:nvSpPr>
                    <p:spPr>
                      <a:xfrm>
                        <a:off x="5265571" y="2491575"/>
                        <a:ext cx="50375" cy="49752"/>
                      </a:xfrm>
                      <a:custGeom>
                        <a:avLst/>
                        <a:gdLst>
                          <a:gd name="connsiteX0" fmla="*/ 25610 w 50375"/>
                          <a:gd name="connsiteY0" fmla="*/ 49753 h 49752"/>
                          <a:gd name="connsiteX1" fmla="*/ 6912 w 50375"/>
                          <a:gd name="connsiteY1" fmla="*/ 42955 h 49752"/>
                          <a:gd name="connsiteX2" fmla="*/ 6912 w 50375"/>
                          <a:gd name="connsiteY2" fmla="*/ 5016 h 49752"/>
                          <a:gd name="connsiteX3" fmla="*/ 39863 w 50375"/>
                          <a:gd name="connsiteY3" fmla="*/ 10003 h 49752"/>
                          <a:gd name="connsiteX4" fmla="*/ 45469 w 50375"/>
                          <a:gd name="connsiteY4" fmla="*/ 42578 h 49752"/>
                          <a:gd name="connsiteX5" fmla="*/ 45469 w 50375"/>
                          <a:gd name="connsiteY5" fmla="*/ 42578 h 49752"/>
                          <a:gd name="connsiteX6" fmla="*/ 45469 w 50375"/>
                          <a:gd name="connsiteY6" fmla="*/ 42578 h 49752"/>
                          <a:gd name="connsiteX7" fmla="*/ 45469 w 50375"/>
                          <a:gd name="connsiteY7" fmla="*/ 42578 h 49752"/>
                          <a:gd name="connsiteX8" fmla="*/ 26509 w 50375"/>
                          <a:gd name="connsiteY8" fmla="*/ 49747 h 49752"/>
                          <a:gd name="connsiteX9" fmla="*/ 25610 w 50375"/>
                          <a:gd name="connsiteY9" fmla="*/ 49753 h 49752"/>
                          <a:gd name="connsiteX10" fmla="*/ 19316 w 50375"/>
                          <a:gd name="connsiteY10" fmla="*/ 12719 h 49752"/>
                          <a:gd name="connsiteX11" fmla="*/ 15936 w 50375"/>
                          <a:gd name="connsiteY11" fmla="*/ 14040 h 49752"/>
                          <a:gd name="connsiteX12" fmla="*/ 15936 w 50375"/>
                          <a:gd name="connsiteY12" fmla="*/ 33937 h 49752"/>
                          <a:gd name="connsiteX13" fmla="*/ 26190 w 50375"/>
                          <a:gd name="connsiteY13" fmla="*/ 36992 h 49752"/>
                          <a:gd name="connsiteX14" fmla="*/ 36458 w 50375"/>
                          <a:gd name="connsiteY14" fmla="*/ 33554 h 49752"/>
                          <a:gd name="connsiteX15" fmla="*/ 36458 w 50375"/>
                          <a:gd name="connsiteY15" fmla="*/ 33554 h 49752"/>
                          <a:gd name="connsiteX16" fmla="*/ 30852 w 50375"/>
                          <a:gd name="connsiteY16" fmla="*/ 19014 h 49752"/>
                          <a:gd name="connsiteX17" fmla="*/ 19316 w 50375"/>
                          <a:gd name="connsiteY17" fmla="*/ 12719 h 4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375" h="49752">
                            <a:moveTo>
                              <a:pt x="25610" y="49753"/>
                            </a:moveTo>
                            <a:cubicBezTo>
                              <a:pt x="18034" y="49753"/>
                              <a:pt x="11261" y="47298"/>
                              <a:pt x="6912" y="42955"/>
                            </a:cubicBezTo>
                            <a:cubicBezTo>
                              <a:pt x="-2304" y="33733"/>
                              <a:pt x="-2304" y="14237"/>
                              <a:pt x="6912" y="5016"/>
                            </a:cubicBezTo>
                            <a:cubicBezTo>
                              <a:pt x="15151" y="-3211"/>
                              <a:pt x="28703" y="-1158"/>
                              <a:pt x="39863" y="10003"/>
                            </a:cubicBezTo>
                            <a:cubicBezTo>
                              <a:pt x="51458" y="21603"/>
                              <a:pt x="53664" y="34390"/>
                              <a:pt x="45469" y="42578"/>
                            </a:cubicBezTo>
                            <a:lnTo>
                              <a:pt x="45469" y="42578"/>
                            </a:lnTo>
                            <a:cubicBezTo>
                              <a:pt x="45469" y="42578"/>
                              <a:pt x="45469" y="42578"/>
                              <a:pt x="45469" y="42578"/>
                            </a:cubicBezTo>
                            <a:lnTo>
                              <a:pt x="45469" y="42578"/>
                            </a:lnTo>
                            <a:cubicBezTo>
                              <a:pt x="41113" y="46934"/>
                              <a:pt x="34200" y="49549"/>
                              <a:pt x="26509" y="49747"/>
                            </a:cubicBezTo>
                            <a:cubicBezTo>
                              <a:pt x="26216" y="49753"/>
                              <a:pt x="25910" y="49753"/>
                              <a:pt x="25610" y="49753"/>
                            </a:cubicBezTo>
                            <a:close/>
                            <a:moveTo>
                              <a:pt x="19316" y="12719"/>
                            </a:moveTo>
                            <a:cubicBezTo>
                              <a:pt x="18027" y="12719"/>
                              <a:pt x="16860" y="13108"/>
                              <a:pt x="15936" y="14040"/>
                            </a:cubicBezTo>
                            <a:cubicBezTo>
                              <a:pt x="11918" y="18057"/>
                              <a:pt x="11229" y="29230"/>
                              <a:pt x="15936" y="33937"/>
                            </a:cubicBezTo>
                            <a:cubicBezTo>
                              <a:pt x="17932" y="35933"/>
                              <a:pt x="21898" y="37049"/>
                              <a:pt x="26190" y="36992"/>
                            </a:cubicBezTo>
                            <a:cubicBezTo>
                              <a:pt x="30450" y="36883"/>
                              <a:pt x="34481" y="35531"/>
                              <a:pt x="36458" y="33554"/>
                            </a:cubicBezTo>
                            <a:lnTo>
                              <a:pt x="36458" y="33554"/>
                            </a:lnTo>
                            <a:cubicBezTo>
                              <a:pt x="39978" y="30034"/>
                              <a:pt x="34589" y="22757"/>
                              <a:pt x="30852" y="19014"/>
                            </a:cubicBezTo>
                            <a:cubicBezTo>
                              <a:pt x="27868" y="16042"/>
                              <a:pt x="23072" y="12719"/>
                              <a:pt x="19316" y="12719"/>
                            </a:cubicBezTo>
                            <a:close/>
                          </a:path>
                        </a:pathLst>
                      </a:custGeom>
                      <a:grpFill/>
                      <a:ln w="637" cap="flat">
                        <a:noFill/>
                        <a:prstDash val="solid"/>
                        <a:miter/>
                      </a:ln>
                    </p:spPr>
                    <p:txBody>
                      <a:bodyPr rtlCol="0" anchor="ctr"/>
                      <a:lstStyle/>
                      <a:p>
                        <a:endParaRPr lang="en-GB" dirty="0"/>
                      </a:p>
                    </p:txBody>
                  </p:sp>
                  <p:sp>
                    <p:nvSpPr>
                      <p:cNvPr id="850" name="Freeform: Shape 849">
                        <a:extLst>
                          <a:ext uri="{FF2B5EF4-FFF2-40B4-BE49-F238E27FC236}">
                            <a16:creationId xmlns:a16="http://schemas.microsoft.com/office/drawing/2014/main" id="{86D59650-7253-4335-9C96-1E2D624A065A}"/>
                          </a:ext>
                        </a:extLst>
                      </p:cNvPr>
                      <p:cNvSpPr/>
                      <p:nvPr/>
                    </p:nvSpPr>
                    <p:spPr>
                      <a:xfrm>
                        <a:off x="5250097" y="2523635"/>
                        <a:ext cx="33274" cy="33266"/>
                      </a:xfrm>
                      <a:custGeom>
                        <a:avLst/>
                        <a:gdLst>
                          <a:gd name="connsiteX0" fmla="*/ 6379 w 33274"/>
                          <a:gd name="connsiteY0" fmla="*/ 33266 h 33266"/>
                          <a:gd name="connsiteX1" fmla="*/ 1870 w 33274"/>
                          <a:gd name="connsiteY1" fmla="*/ 31398 h 33266"/>
                          <a:gd name="connsiteX2" fmla="*/ 1870 w 33274"/>
                          <a:gd name="connsiteY2" fmla="*/ 22380 h 33266"/>
                          <a:gd name="connsiteX3" fmla="*/ 22386 w 33274"/>
                          <a:gd name="connsiteY3" fmla="*/ 1870 h 33266"/>
                          <a:gd name="connsiteX4" fmla="*/ 31404 w 33274"/>
                          <a:gd name="connsiteY4" fmla="*/ 1870 h 33266"/>
                          <a:gd name="connsiteX5" fmla="*/ 31404 w 33274"/>
                          <a:gd name="connsiteY5" fmla="*/ 10888 h 33266"/>
                          <a:gd name="connsiteX6" fmla="*/ 10888 w 33274"/>
                          <a:gd name="connsiteY6" fmla="*/ 31398 h 33266"/>
                          <a:gd name="connsiteX7" fmla="*/ 6379 w 33274"/>
                          <a:gd name="connsiteY7" fmla="*/ 33266 h 33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74" h="33266">
                            <a:moveTo>
                              <a:pt x="6379" y="33266"/>
                            </a:moveTo>
                            <a:cubicBezTo>
                              <a:pt x="4746" y="33266"/>
                              <a:pt x="3114" y="32641"/>
                              <a:pt x="1870" y="31398"/>
                            </a:cubicBezTo>
                            <a:cubicBezTo>
                              <a:pt x="-623" y="28904"/>
                              <a:pt x="-623" y="24867"/>
                              <a:pt x="1870" y="22380"/>
                            </a:cubicBezTo>
                            <a:lnTo>
                              <a:pt x="22386" y="1870"/>
                            </a:lnTo>
                            <a:cubicBezTo>
                              <a:pt x="24880" y="-623"/>
                              <a:pt x="28910" y="-623"/>
                              <a:pt x="31404" y="1870"/>
                            </a:cubicBezTo>
                            <a:cubicBezTo>
                              <a:pt x="33897" y="4364"/>
                              <a:pt x="33897" y="8401"/>
                              <a:pt x="31404" y="10888"/>
                            </a:cubicBezTo>
                            <a:lnTo>
                              <a:pt x="10888" y="31398"/>
                            </a:lnTo>
                            <a:cubicBezTo>
                              <a:pt x="9644" y="32641"/>
                              <a:pt x="8012" y="33266"/>
                              <a:pt x="6379" y="33266"/>
                            </a:cubicBezTo>
                            <a:close/>
                          </a:path>
                        </a:pathLst>
                      </a:custGeom>
                      <a:grpFill/>
                      <a:ln w="637" cap="flat">
                        <a:noFill/>
                        <a:prstDash val="solid"/>
                        <a:miter/>
                      </a:ln>
                    </p:spPr>
                    <p:txBody>
                      <a:bodyPr rtlCol="0" anchor="ctr"/>
                      <a:lstStyle/>
                      <a:p>
                        <a:endParaRPr lang="en-GB" dirty="0"/>
                      </a:p>
                    </p:txBody>
                  </p:sp>
                </p:grpSp>
                <p:grpSp>
                  <p:nvGrpSpPr>
                    <p:cNvPr id="846" name="Graphic 32">
                      <a:extLst>
                        <a:ext uri="{FF2B5EF4-FFF2-40B4-BE49-F238E27FC236}">
                          <a16:creationId xmlns:a16="http://schemas.microsoft.com/office/drawing/2014/main" id="{6FE8F482-D04F-4C7B-817F-44CE980D1928}"/>
                        </a:ext>
                      </a:extLst>
                    </p:cNvPr>
                    <p:cNvGrpSpPr/>
                    <p:nvPr/>
                  </p:nvGrpSpPr>
                  <p:grpSpPr>
                    <a:xfrm>
                      <a:off x="5066695" y="2491359"/>
                      <a:ext cx="65850" cy="65324"/>
                      <a:chOff x="5066695" y="2491359"/>
                      <a:chExt cx="65850" cy="65324"/>
                    </a:xfrm>
                    <a:grpFill/>
                  </p:grpSpPr>
                  <p:sp>
                    <p:nvSpPr>
                      <p:cNvPr id="847" name="Freeform: Shape 846">
                        <a:extLst>
                          <a:ext uri="{FF2B5EF4-FFF2-40B4-BE49-F238E27FC236}">
                            <a16:creationId xmlns:a16="http://schemas.microsoft.com/office/drawing/2014/main" id="{17D572DB-3404-4278-AEA0-E91B5C59883F}"/>
                          </a:ext>
                        </a:extLst>
                      </p:cNvPr>
                      <p:cNvSpPr/>
                      <p:nvPr/>
                    </p:nvSpPr>
                    <p:spPr>
                      <a:xfrm>
                        <a:off x="5066695" y="2491359"/>
                        <a:ext cx="50509" cy="49795"/>
                      </a:xfrm>
                      <a:custGeom>
                        <a:avLst/>
                        <a:gdLst>
                          <a:gd name="connsiteX0" fmla="*/ 24580 w 50509"/>
                          <a:gd name="connsiteY0" fmla="*/ 49796 h 49795"/>
                          <a:gd name="connsiteX1" fmla="*/ 4906 w 50509"/>
                          <a:gd name="connsiteY1" fmla="*/ 42583 h 49795"/>
                          <a:gd name="connsiteX2" fmla="*/ 10512 w 50509"/>
                          <a:gd name="connsiteY2" fmla="*/ 10007 h 49795"/>
                          <a:gd name="connsiteX3" fmla="*/ 43464 w 50509"/>
                          <a:gd name="connsiteY3" fmla="*/ 5020 h 49795"/>
                          <a:gd name="connsiteX4" fmla="*/ 43464 w 50509"/>
                          <a:gd name="connsiteY4" fmla="*/ 42953 h 49795"/>
                          <a:gd name="connsiteX5" fmla="*/ 24580 w 50509"/>
                          <a:gd name="connsiteY5" fmla="*/ 49796 h 49795"/>
                          <a:gd name="connsiteX6" fmla="*/ 31060 w 50509"/>
                          <a:gd name="connsiteY6" fmla="*/ 12718 h 49795"/>
                          <a:gd name="connsiteX7" fmla="*/ 19530 w 50509"/>
                          <a:gd name="connsiteY7" fmla="*/ 19025 h 49795"/>
                          <a:gd name="connsiteX8" fmla="*/ 13924 w 50509"/>
                          <a:gd name="connsiteY8" fmla="*/ 33565 h 49795"/>
                          <a:gd name="connsiteX9" fmla="*/ 34446 w 50509"/>
                          <a:gd name="connsiteY9" fmla="*/ 33942 h 49795"/>
                          <a:gd name="connsiteX10" fmla="*/ 34446 w 50509"/>
                          <a:gd name="connsiteY10" fmla="*/ 14044 h 49795"/>
                          <a:gd name="connsiteX11" fmla="*/ 31060 w 50509"/>
                          <a:gd name="connsiteY11" fmla="*/ 12718 h 49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509" h="49795">
                            <a:moveTo>
                              <a:pt x="24580" y="49796"/>
                            </a:moveTo>
                            <a:cubicBezTo>
                              <a:pt x="17176" y="49796"/>
                              <a:pt x="9702" y="47385"/>
                              <a:pt x="4906" y="42583"/>
                            </a:cubicBezTo>
                            <a:cubicBezTo>
                              <a:pt x="-3289" y="34394"/>
                              <a:pt x="-1082" y="21601"/>
                              <a:pt x="10512" y="10007"/>
                            </a:cubicBezTo>
                            <a:cubicBezTo>
                              <a:pt x="21672" y="-1160"/>
                              <a:pt x="35224" y="-3213"/>
                              <a:pt x="43464" y="5020"/>
                            </a:cubicBezTo>
                            <a:cubicBezTo>
                              <a:pt x="52858" y="14414"/>
                              <a:pt x="52858" y="33559"/>
                              <a:pt x="43464" y="42953"/>
                            </a:cubicBezTo>
                            <a:cubicBezTo>
                              <a:pt x="38891" y="47519"/>
                              <a:pt x="31768" y="49796"/>
                              <a:pt x="24580" y="49796"/>
                            </a:cubicBezTo>
                            <a:close/>
                            <a:moveTo>
                              <a:pt x="31060" y="12718"/>
                            </a:moveTo>
                            <a:cubicBezTo>
                              <a:pt x="27304" y="12718"/>
                              <a:pt x="22508" y="16047"/>
                              <a:pt x="19530" y="19025"/>
                            </a:cubicBezTo>
                            <a:cubicBezTo>
                              <a:pt x="15792" y="22768"/>
                              <a:pt x="10397" y="30039"/>
                              <a:pt x="13924" y="33565"/>
                            </a:cubicBezTo>
                            <a:cubicBezTo>
                              <a:pt x="17954" y="37596"/>
                              <a:pt x="29874" y="38508"/>
                              <a:pt x="34446" y="33942"/>
                            </a:cubicBezTo>
                            <a:cubicBezTo>
                              <a:pt x="39153" y="29235"/>
                              <a:pt x="38464" y="18062"/>
                              <a:pt x="34446" y="14044"/>
                            </a:cubicBezTo>
                            <a:cubicBezTo>
                              <a:pt x="33515" y="13107"/>
                              <a:pt x="32348" y="12718"/>
                              <a:pt x="31060" y="12718"/>
                            </a:cubicBezTo>
                            <a:close/>
                          </a:path>
                        </a:pathLst>
                      </a:custGeom>
                      <a:grpFill/>
                      <a:ln w="637" cap="flat">
                        <a:noFill/>
                        <a:prstDash val="solid"/>
                        <a:miter/>
                      </a:ln>
                    </p:spPr>
                    <p:txBody>
                      <a:bodyPr rtlCol="0" anchor="ctr"/>
                      <a:lstStyle/>
                      <a:p>
                        <a:endParaRPr lang="en-GB" dirty="0"/>
                      </a:p>
                    </p:txBody>
                  </p:sp>
                  <p:sp>
                    <p:nvSpPr>
                      <p:cNvPr id="848" name="Freeform: Shape 847">
                        <a:extLst>
                          <a:ext uri="{FF2B5EF4-FFF2-40B4-BE49-F238E27FC236}">
                            <a16:creationId xmlns:a16="http://schemas.microsoft.com/office/drawing/2014/main" id="{39C18D96-B5A2-43E6-854B-964DD15C835C}"/>
                          </a:ext>
                        </a:extLst>
                      </p:cNvPr>
                      <p:cNvSpPr/>
                      <p:nvPr/>
                    </p:nvSpPr>
                    <p:spPr>
                      <a:xfrm>
                        <a:off x="5099271" y="2523412"/>
                        <a:ext cx="33274" cy="33272"/>
                      </a:xfrm>
                      <a:custGeom>
                        <a:avLst/>
                        <a:gdLst>
                          <a:gd name="connsiteX0" fmla="*/ 26895 w 33274"/>
                          <a:gd name="connsiteY0" fmla="*/ 33272 h 33272"/>
                          <a:gd name="connsiteX1" fmla="*/ 22386 w 33274"/>
                          <a:gd name="connsiteY1" fmla="*/ 31404 h 33272"/>
                          <a:gd name="connsiteX2" fmla="*/ 1870 w 33274"/>
                          <a:gd name="connsiteY2" fmla="*/ 10888 h 33272"/>
                          <a:gd name="connsiteX3" fmla="*/ 1870 w 33274"/>
                          <a:gd name="connsiteY3" fmla="*/ 1870 h 33272"/>
                          <a:gd name="connsiteX4" fmla="*/ 10888 w 33274"/>
                          <a:gd name="connsiteY4" fmla="*/ 1870 h 33272"/>
                          <a:gd name="connsiteX5" fmla="*/ 31404 w 33274"/>
                          <a:gd name="connsiteY5" fmla="*/ 22386 h 33272"/>
                          <a:gd name="connsiteX6" fmla="*/ 31404 w 33274"/>
                          <a:gd name="connsiteY6" fmla="*/ 31404 h 33272"/>
                          <a:gd name="connsiteX7" fmla="*/ 26895 w 33274"/>
                          <a:gd name="connsiteY7" fmla="*/ 33272 h 3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74" h="33272">
                            <a:moveTo>
                              <a:pt x="26895" y="33272"/>
                            </a:moveTo>
                            <a:cubicBezTo>
                              <a:pt x="25262" y="33272"/>
                              <a:pt x="23630" y="32647"/>
                              <a:pt x="22386" y="31404"/>
                            </a:cubicBezTo>
                            <a:lnTo>
                              <a:pt x="1870" y="10888"/>
                            </a:lnTo>
                            <a:cubicBezTo>
                              <a:pt x="-623" y="8394"/>
                              <a:pt x="-623" y="4364"/>
                              <a:pt x="1870" y="1870"/>
                            </a:cubicBezTo>
                            <a:cubicBezTo>
                              <a:pt x="4364" y="-623"/>
                              <a:pt x="8394" y="-623"/>
                              <a:pt x="10888" y="1870"/>
                            </a:cubicBezTo>
                            <a:lnTo>
                              <a:pt x="31404" y="22386"/>
                            </a:lnTo>
                            <a:cubicBezTo>
                              <a:pt x="33897" y="24880"/>
                              <a:pt x="33897" y="28910"/>
                              <a:pt x="31404" y="31404"/>
                            </a:cubicBezTo>
                            <a:cubicBezTo>
                              <a:pt x="30160" y="32654"/>
                              <a:pt x="28528" y="33272"/>
                              <a:pt x="26895" y="33272"/>
                            </a:cubicBezTo>
                            <a:close/>
                          </a:path>
                        </a:pathLst>
                      </a:custGeom>
                      <a:grpFill/>
                      <a:ln w="637" cap="flat">
                        <a:noFill/>
                        <a:prstDash val="solid"/>
                        <a:miter/>
                      </a:ln>
                    </p:spPr>
                    <p:txBody>
                      <a:bodyPr rtlCol="0" anchor="ctr"/>
                      <a:lstStyle/>
                      <a:p>
                        <a:endParaRPr lang="en-GB" dirty="0"/>
                      </a:p>
                    </p:txBody>
                  </p:sp>
                </p:grpSp>
              </p:grpSp>
              <p:grpSp>
                <p:nvGrpSpPr>
                  <p:cNvPr id="826" name="Graphic 32">
                    <a:extLst>
                      <a:ext uri="{FF2B5EF4-FFF2-40B4-BE49-F238E27FC236}">
                        <a16:creationId xmlns:a16="http://schemas.microsoft.com/office/drawing/2014/main" id="{D9F81E5C-CEA0-42A9-90E8-48E93E7CC687}"/>
                      </a:ext>
                    </a:extLst>
                  </p:cNvPr>
                  <p:cNvGrpSpPr/>
                  <p:nvPr/>
                </p:nvGrpSpPr>
                <p:grpSpPr>
                  <a:xfrm>
                    <a:off x="5066695" y="2674263"/>
                    <a:ext cx="249255" cy="102601"/>
                    <a:chOff x="5066695" y="2674263"/>
                    <a:chExt cx="249255" cy="102601"/>
                  </a:xfrm>
                  <a:grpFill/>
                </p:grpSpPr>
                <p:grpSp>
                  <p:nvGrpSpPr>
                    <p:cNvPr id="835" name="Graphic 32">
                      <a:extLst>
                        <a:ext uri="{FF2B5EF4-FFF2-40B4-BE49-F238E27FC236}">
                          <a16:creationId xmlns:a16="http://schemas.microsoft.com/office/drawing/2014/main" id="{0C115B5C-9393-481E-865D-2876F8AD783D}"/>
                        </a:ext>
                      </a:extLst>
                    </p:cNvPr>
                    <p:cNvGrpSpPr/>
                    <p:nvPr/>
                  </p:nvGrpSpPr>
                  <p:grpSpPr>
                    <a:xfrm>
                      <a:off x="5164424" y="2701247"/>
                      <a:ext cx="53825" cy="75616"/>
                      <a:chOff x="5164424" y="2701247"/>
                      <a:chExt cx="53825" cy="75616"/>
                    </a:xfrm>
                    <a:grpFill/>
                  </p:grpSpPr>
                  <p:sp>
                    <p:nvSpPr>
                      <p:cNvPr id="842" name="Freeform: Shape 841">
                        <a:extLst>
                          <a:ext uri="{FF2B5EF4-FFF2-40B4-BE49-F238E27FC236}">
                            <a16:creationId xmlns:a16="http://schemas.microsoft.com/office/drawing/2014/main" id="{5DC3636D-D621-45D5-BF15-2083FBDA0115}"/>
                          </a:ext>
                        </a:extLst>
                      </p:cNvPr>
                      <p:cNvSpPr/>
                      <p:nvPr/>
                    </p:nvSpPr>
                    <p:spPr>
                      <a:xfrm>
                        <a:off x="5164424" y="2730258"/>
                        <a:ext cx="53825" cy="46605"/>
                      </a:xfrm>
                      <a:custGeom>
                        <a:avLst/>
                        <a:gdLst>
                          <a:gd name="connsiteX0" fmla="*/ 26823 w 53825"/>
                          <a:gd name="connsiteY0" fmla="*/ 46606 h 46605"/>
                          <a:gd name="connsiteX1" fmla="*/ 0 w 53825"/>
                          <a:gd name="connsiteY1" fmla="*/ 26830 h 46605"/>
                          <a:gd name="connsiteX2" fmla="*/ 26823 w 53825"/>
                          <a:gd name="connsiteY2" fmla="*/ 0 h 46605"/>
                          <a:gd name="connsiteX3" fmla="*/ 53825 w 53825"/>
                          <a:gd name="connsiteY3" fmla="*/ 27531 h 46605"/>
                          <a:gd name="connsiteX4" fmla="*/ 26823 w 53825"/>
                          <a:gd name="connsiteY4" fmla="*/ 46606 h 46605"/>
                          <a:gd name="connsiteX5" fmla="*/ 26823 w 53825"/>
                          <a:gd name="connsiteY5" fmla="*/ 12755 h 46605"/>
                          <a:gd name="connsiteX6" fmla="*/ 12755 w 53825"/>
                          <a:gd name="connsiteY6" fmla="*/ 26830 h 46605"/>
                          <a:gd name="connsiteX7" fmla="*/ 26823 w 53825"/>
                          <a:gd name="connsiteY7" fmla="*/ 33851 h 46605"/>
                          <a:gd name="connsiteX8" fmla="*/ 41070 w 53825"/>
                          <a:gd name="connsiteY8" fmla="*/ 27538 h 46605"/>
                          <a:gd name="connsiteX9" fmla="*/ 26823 w 53825"/>
                          <a:gd name="connsiteY9" fmla="*/ 12755 h 4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25" h="46605">
                            <a:moveTo>
                              <a:pt x="26823" y="46606"/>
                            </a:moveTo>
                            <a:cubicBezTo>
                              <a:pt x="11027" y="46606"/>
                              <a:pt x="0" y="38475"/>
                              <a:pt x="0" y="26830"/>
                            </a:cubicBezTo>
                            <a:cubicBezTo>
                              <a:pt x="0" y="13546"/>
                              <a:pt x="13539" y="0"/>
                              <a:pt x="26823" y="0"/>
                            </a:cubicBezTo>
                            <a:cubicBezTo>
                              <a:pt x="39948" y="0"/>
                              <a:pt x="53825" y="14151"/>
                              <a:pt x="53825" y="27531"/>
                            </a:cubicBezTo>
                            <a:cubicBezTo>
                              <a:pt x="53825" y="39119"/>
                              <a:pt x="43226" y="46606"/>
                              <a:pt x="26823" y="46606"/>
                            </a:cubicBezTo>
                            <a:close/>
                            <a:moveTo>
                              <a:pt x="26823" y="12755"/>
                            </a:moveTo>
                            <a:cubicBezTo>
                              <a:pt x="20165" y="12755"/>
                              <a:pt x="12755" y="21141"/>
                              <a:pt x="12755" y="26830"/>
                            </a:cubicBezTo>
                            <a:cubicBezTo>
                              <a:pt x="12755" y="31983"/>
                              <a:pt x="21167" y="33851"/>
                              <a:pt x="26823" y="33851"/>
                            </a:cubicBezTo>
                            <a:cubicBezTo>
                              <a:pt x="32117" y="33851"/>
                              <a:pt x="41070" y="32525"/>
                              <a:pt x="41070" y="27538"/>
                            </a:cubicBezTo>
                            <a:cubicBezTo>
                              <a:pt x="41070" y="21830"/>
                              <a:pt x="33296" y="12755"/>
                              <a:pt x="26823" y="12755"/>
                            </a:cubicBezTo>
                            <a:close/>
                          </a:path>
                        </a:pathLst>
                      </a:custGeom>
                      <a:grpFill/>
                      <a:ln w="637" cap="flat">
                        <a:noFill/>
                        <a:prstDash val="solid"/>
                        <a:miter/>
                      </a:ln>
                    </p:spPr>
                    <p:txBody>
                      <a:bodyPr rtlCol="0" anchor="ctr"/>
                      <a:lstStyle/>
                      <a:p>
                        <a:endParaRPr lang="en-GB" dirty="0"/>
                      </a:p>
                    </p:txBody>
                  </p:sp>
                  <p:sp>
                    <p:nvSpPr>
                      <p:cNvPr id="843" name="Freeform: Shape 842">
                        <a:extLst>
                          <a:ext uri="{FF2B5EF4-FFF2-40B4-BE49-F238E27FC236}">
                            <a16:creationId xmlns:a16="http://schemas.microsoft.com/office/drawing/2014/main" id="{252F79A8-2495-4B9C-A63B-F4F3A0F09F0A}"/>
                          </a:ext>
                        </a:extLst>
                      </p:cNvPr>
                      <p:cNvSpPr/>
                      <p:nvPr/>
                    </p:nvSpPr>
                    <p:spPr>
                      <a:xfrm>
                        <a:off x="5184857" y="2701247"/>
                        <a:ext cx="12754" cy="41765"/>
                      </a:xfrm>
                      <a:custGeom>
                        <a:avLst/>
                        <a:gdLst>
                          <a:gd name="connsiteX0" fmla="*/ 6377 w 12754"/>
                          <a:gd name="connsiteY0" fmla="*/ 41766 h 41765"/>
                          <a:gd name="connsiteX1" fmla="*/ 0 w 12754"/>
                          <a:gd name="connsiteY1" fmla="*/ 35388 h 41765"/>
                          <a:gd name="connsiteX2" fmla="*/ 0 w 12754"/>
                          <a:gd name="connsiteY2" fmla="*/ 6377 h 41765"/>
                          <a:gd name="connsiteX3" fmla="*/ 6377 w 12754"/>
                          <a:gd name="connsiteY3" fmla="*/ 0 h 41765"/>
                          <a:gd name="connsiteX4" fmla="*/ 12755 w 12754"/>
                          <a:gd name="connsiteY4" fmla="*/ 6377 h 41765"/>
                          <a:gd name="connsiteX5" fmla="*/ 12755 w 12754"/>
                          <a:gd name="connsiteY5" fmla="*/ 35388 h 41765"/>
                          <a:gd name="connsiteX6" fmla="*/ 6377 w 12754"/>
                          <a:gd name="connsiteY6" fmla="*/ 41766 h 4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41765">
                            <a:moveTo>
                              <a:pt x="6377" y="41766"/>
                            </a:moveTo>
                            <a:cubicBezTo>
                              <a:pt x="2857" y="41766"/>
                              <a:pt x="0" y="38908"/>
                              <a:pt x="0" y="35388"/>
                            </a:cubicBezTo>
                            <a:lnTo>
                              <a:pt x="0" y="6377"/>
                            </a:lnTo>
                            <a:cubicBezTo>
                              <a:pt x="0" y="2857"/>
                              <a:pt x="2857" y="0"/>
                              <a:pt x="6377" y="0"/>
                            </a:cubicBezTo>
                            <a:cubicBezTo>
                              <a:pt x="9898" y="0"/>
                              <a:pt x="12755" y="2857"/>
                              <a:pt x="12755" y="6377"/>
                            </a:cubicBezTo>
                            <a:lnTo>
                              <a:pt x="12755" y="35388"/>
                            </a:lnTo>
                            <a:cubicBezTo>
                              <a:pt x="12755" y="38915"/>
                              <a:pt x="9904" y="41766"/>
                              <a:pt x="6377" y="41766"/>
                            </a:cubicBezTo>
                            <a:close/>
                          </a:path>
                        </a:pathLst>
                      </a:custGeom>
                      <a:grpFill/>
                      <a:ln w="637" cap="flat">
                        <a:noFill/>
                        <a:prstDash val="solid"/>
                        <a:miter/>
                      </a:ln>
                    </p:spPr>
                    <p:txBody>
                      <a:bodyPr rtlCol="0" anchor="ctr"/>
                      <a:lstStyle/>
                      <a:p>
                        <a:endParaRPr lang="en-GB" dirty="0"/>
                      </a:p>
                    </p:txBody>
                  </p:sp>
                </p:grpSp>
                <p:grpSp>
                  <p:nvGrpSpPr>
                    <p:cNvPr id="836" name="Graphic 32">
                      <a:extLst>
                        <a:ext uri="{FF2B5EF4-FFF2-40B4-BE49-F238E27FC236}">
                          <a16:creationId xmlns:a16="http://schemas.microsoft.com/office/drawing/2014/main" id="{E929274B-7EEE-4A82-BC72-CE4442389859}"/>
                        </a:ext>
                      </a:extLst>
                    </p:cNvPr>
                    <p:cNvGrpSpPr/>
                    <p:nvPr/>
                  </p:nvGrpSpPr>
                  <p:grpSpPr>
                    <a:xfrm>
                      <a:off x="5250097" y="2674263"/>
                      <a:ext cx="65853" cy="65331"/>
                      <a:chOff x="5250097" y="2674263"/>
                      <a:chExt cx="65853" cy="65331"/>
                    </a:xfrm>
                    <a:grpFill/>
                  </p:grpSpPr>
                  <p:sp>
                    <p:nvSpPr>
                      <p:cNvPr id="840" name="Freeform: Shape 839">
                        <a:extLst>
                          <a:ext uri="{FF2B5EF4-FFF2-40B4-BE49-F238E27FC236}">
                            <a16:creationId xmlns:a16="http://schemas.microsoft.com/office/drawing/2014/main" id="{A944F9A3-2EA5-487F-8ADC-CFE053656965}"/>
                          </a:ext>
                        </a:extLst>
                      </p:cNvPr>
                      <p:cNvSpPr/>
                      <p:nvPr/>
                    </p:nvSpPr>
                    <p:spPr>
                      <a:xfrm>
                        <a:off x="5265444" y="2689803"/>
                        <a:ext cx="50506" cy="49791"/>
                      </a:xfrm>
                      <a:custGeom>
                        <a:avLst/>
                        <a:gdLst>
                          <a:gd name="connsiteX0" fmla="*/ 19316 w 50506"/>
                          <a:gd name="connsiteY0" fmla="*/ 49791 h 49791"/>
                          <a:gd name="connsiteX1" fmla="*/ 7045 w 50506"/>
                          <a:gd name="connsiteY1" fmla="*/ 44772 h 49791"/>
                          <a:gd name="connsiteX2" fmla="*/ 7045 w 50506"/>
                          <a:gd name="connsiteY2" fmla="*/ 6840 h 49791"/>
                          <a:gd name="connsiteX3" fmla="*/ 45603 w 50506"/>
                          <a:gd name="connsiteY3" fmla="*/ 7216 h 49791"/>
                          <a:gd name="connsiteX4" fmla="*/ 39997 w 50506"/>
                          <a:gd name="connsiteY4" fmla="*/ 39792 h 49791"/>
                          <a:gd name="connsiteX5" fmla="*/ 19316 w 50506"/>
                          <a:gd name="connsiteY5" fmla="*/ 49791 h 49791"/>
                          <a:gd name="connsiteX6" fmla="*/ 25623 w 50506"/>
                          <a:gd name="connsiteY6" fmla="*/ 12796 h 49791"/>
                          <a:gd name="connsiteX7" fmla="*/ 16057 w 50506"/>
                          <a:gd name="connsiteY7" fmla="*/ 15851 h 49791"/>
                          <a:gd name="connsiteX8" fmla="*/ 16057 w 50506"/>
                          <a:gd name="connsiteY8" fmla="*/ 35748 h 49791"/>
                          <a:gd name="connsiteX9" fmla="*/ 30973 w 50506"/>
                          <a:gd name="connsiteY9" fmla="*/ 30761 h 49791"/>
                          <a:gd name="connsiteX10" fmla="*/ 36579 w 50506"/>
                          <a:gd name="connsiteY10" fmla="*/ 16221 h 49791"/>
                          <a:gd name="connsiteX11" fmla="*/ 25623 w 50506"/>
                          <a:gd name="connsiteY11" fmla="*/ 12796 h 49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506" h="49791">
                            <a:moveTo>
                              <a:pt x="19316" y="49791"/>
                            </a:moveTo>
                            <a:cubicBezTo>
                              <a:pt x="14686" y="49791"/>
                              <a:pt x="10419" y="48146"/>
                              <a:pt x="7045" y="44772"/>
                            </a:cubicBezTo>
                            <a:cubicBezTo>
                              <a:pt x="-2348" y="35379"/>
                              <a:pt x="-2348" y="16234"/>
                              <a:pt x="7045" y="6840"/>
                            </a:cubicBezTo>
                            <a:cubicBezTo>
                              <a:pt x="16318" y="-2433"/>
                              <a:pt x="36145" y="-2248"/>
                              <a:pt x="45603" y="7216"/>
                            </a:cubicBezTo>
                            <a:cubicBezTo>
                              <a:pt x="53792" y="15405"/>
                              <a:pt x="51592" y="28191"/>
                              <a:pt x="39997" y="39792"/>
                            </a:cubicBezTo>
                            <a:cubicBezTo>
                              <a:pt x="33410" y="46380"/>
                              <a:pt x="25980" y="49791"/>
                              <a:pt x="19316" y="49791"/>
                            </a:cubicBezTo>
                            <a:close/>
                            <a:moveTo>
                              <a:pt x="25623" y="12796"/>
                            </a:moveTo>
                            <a:cubicBezTo>
                              <a:pt x="21866" y="12796"/>
                              <a:pt x="18180" y="13734"/>
                              <a:pt x="16057" y="15851"/>
                            </a:cubicBezTo>
                            <a:cubicBezTo>
                              <a:pt x="11350" y="20557"/>
                              <a:pt x="12039" y="31731"/>
                              <a:pt x="16057" y="35748"/>
                            </a:cubicBezTo>
                            <a:cubicBezTo>
                              <a:pt x="19698" y="39377"/>
                              <a:pt x="26968" y="34760"/>
                              <a:pt x="30973" y="30761"/>
                            </a:cubicBezTo>
                            <a:cubicBezTo>
                              <a:pt x="34711" y="27018"/>
                              <a:pt x="40106" y="19741"/>
                              <a:pt x="36579" y="16221"/>
                            </a:cubicBezTo>
                            <a:cubicBezTo>
                              <a:pt x="34424" y="14065"/>
                              <a:pt x="29979" y="12796"/>
                              <a:pt x="25623" y="12796"/>
                            </a:cubicBezTo>
                            <a:close/>
                          </a:path>
                        </a:pathLst>
                      </a:custGeom>
                      <a:grpFill/>
                      <a:ln w="637" cap="flat">
                        <a:noFill/>
                        <a:prstDash val="solid"/>
                        <a:miter/>
                      </a:ln>
                    </p:spPr>
                    <p:txBody>
                      <a:bodyPr rtlCol="0" anchor="ctr"/>
                      <a:lstStyle/>
                      <a:p>
                        <a:endParaRPr lang="en-GB" dirty="0"/>
                      </a:p>
                    </p:txBody>
                  </p:sp>
                  <p:sp>
                    <p:nvSpPr>
                      <p:cNvPr id="841" name="Freeform: Shape 840">
                        <a:extLst>
                          <a:ext uri="{FF2B5EF4-FFF2-40B4-BE49-F238E27FC236}">
                            <a16:creationId xmlns:a16="http://schemas.microsoft.com/office/drawing/2014/main" id="{1058C28C-F069-4223-B9F4-7A33E30D64AB}"/>
                          </a:ext>
                        </a:extLst>
                      </p:cNvPr>
                      <p:cNvSpPr/>
                      <p:nvPr/>
                    </p:nvSpPr>
                    <p:spPr>
                      <a:xfrm>
                        <a:off x="5250097" y="2674263"/>
                        <a:ext cx="33274" cy="33272"/>
                      </a:xfrm>
                      <a:custGeom>
                        <a:avLst/>
                        <a:gdLst>
                          <a:gd name="connsiteX0" fmla="*/ 26895 w 33274"/>
                          <a:gd name="connsiteY0" fmla="*/ 33272 h 33272"/>
                          <a:gd name="connsiteX1" fmla="*/ 22386 w 33274"/>
                          <a:gd name="connsiteY1" fmla="*/ 31404 h 33272"/>
                          <a:gd name="connsiteX2" fmla="*/ 1870 w 33274"/>
                          <a:gd name="connsiteY2" fmla="*/ 10888 h 33272"/>
                          <a:gd name="connsiteX3" fmla="*/ 1870 w 33274"/>
                          <a:gd name="connsiteY3" fmla="*/ 1870 h 33272"/>
                          <a:gd name="connsiteX4" fmla="*/ 10888 w 33274"/>
                          <a:gd name="connsiteY4" fmla="*/ 1870 h 33272"/>
                          <a:gd name="connsiteX5" fmla="*/ 31404 w 33274"/>
                          <a:gd name="connsiteY5" fmla="*/ 22386 h 33272"/>
                          <a:gd name="connsiteX6" fmla="*/ 31404 w 33274"/>
                          <a:gd name="connsiteY6" fmla="*/ 31404 h 33272"/>
                          <a:gd name="connsiteX7" fmla="*/ 26895 w 33274"/>
                          <a:gd name="connsiteY7" fmla="*/ 33272 h 33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74" h="33272">
                            <a:moveTo>
                              <a:pt x="26895" y="33272"/>
                            </a:moveTo>
                            <a:cubicBezTo>
                              <a:pt x="25262" y="33272"/>
                              <a:pt x="23630" y="32647"/>
                              <a:pt x="22386" y="31404"/>
                            </a:cubicBezTo>
                            <a:lnTo>
                              <a:pt x="1870" y="10888"/>
                            </a:lnTo>
                            <a:cubicBezTo>
                              <a:pt x="-623" y="8394"/>
                              <a:pt x="-623" y="4364"/>
                              <a:pt x="1870" y="1870"/>
                            </a:cubicBezTo>
                            <a:cubicBezTo>
                              <a:pt x="4364" y="-623"/>
                              <a:pt x="8394" y="-623"/>
                              <a:pt x="10888" y="1870"/>
                            </a:cubicBezTo>
                            <a:lnTo>
                              <a:pt x="31404" y="22386"/>
                            </a:lnTo>
                            <a:cubicBezTo>
                              <a:pt x="33897" y="24880"/>
                              <a:pt x="33897" y="28910"/>
                              <a:pt x="31404" y="31404"/>
                            </a:cubicBezTo>
                            <a:cubicBezTo>
                              <a:pt x="30160" y="32647"/>
                              <a:pt x="28528" y="33272"/>
                              <a:pt x="26895" y="33272"/>
                            </a:cubicBezTo>
                            <a:close/>
                          </a:path>
                        </a:pathLst>
                      </a:custGeom>
                      <a:grpFill/>
                      <a:ln w="637" cap="flat">
                        <a:noFill/>
                        <a:prstDash val="solid"/>
                        <a:miter/>
                      </a:ln>
                    </p:spPr>
                    <p:txBody>
                      <a:bodyPr rtlCol="0" anchor="ctr"/>
                      <a:lstStyle/>
                      <a:p>
                        <a:endParaRPr lang="en-GB" dirty="0"/>
                      </a:p>
                    </p:txBody>
                  </p:sp>
                </p:grpSp>
                <p:grpSp>
                  <p:nvGrpSpPr>
                    <p:cNvPr id="837" name="Graphic 32">
                      <a:extLst>
                        <a:ext uri="{FF2B5EF4-FFF2-40B4-BE49-F238E27FC236}">
                          <a16:creationId xmlns:a16="http://schemas.microsoft.com/office/drawing/2014/main" id="{6FD0B58C-8E91-4E08-958D-B51369C29E06}"/>
                        </a:ext>
                      </a:extLst>
                    </p:cNvPr>
                    <p:cNvGrpSpPr/>
                    <p:nvPr/>
                  </p:nvGrpSpPr>
                  <p:grpSpPr>
                    <a:xfrm>
                      <a:off x="5066695" y="2674486"/>
                      <a:ext cx="65856" cy="65325"/>
                      <a:chOff x="5066695" y="2674486"/>
                      <a:chExt cx="65856" cy="65325"/>
                    </a:xfrm>
                    <a:grpFill/>
                  </p:grpSpPr>
                  <p:sp>
                    <p:nvSpPr>
                      <p:cNvPr id="838" name="Freeform: Shape 837">
                        <a:extLst>
                          <a:ext uri="{FF2B5EF4-FFF2-40B4-BE49-F238E27FC236}">
                            <a16:creationId xmlns:a16="http://schemas.microsoft.com/office/drawing/2014/main" id="{61C53C62-B7C4-42F4-A1BF-2A52BB5E0DAB}"/>
                          </a:ext>
                        </a:extLst>
                      </p:cNvPr>
                      <p:cNvSpPr/>
                      <p:nvPr/>
                    </p:nvSpPr>
                    <p:spPr>
                      <a:xfrm>
                        <a:off x="5066695" y="2690034"/>
                        <a:ext cx="50375" cy="49777"/>
                      </a:xfrm>
                      <a:custGeom>
                        <a:avLst/>
                        <a:gdLst>
                          <a:gd name="connsiteX0" fmla="*/ 31194 w 50375"/>
                          <a:gd name="connsiteY0" fmla="*/ 49777 h 49777"/>
                          <a:gd name="connsiteX1" fmla="*/ 10512 w 50375"/>
                          <a:gd name="connsiteY1" fmla="*/ 39771 h 49777"/>
                          <a:gd name="connsiteX2" fmla="*/ 4906 w 50375"/>
                          <a:gd name="connsiteY2" fmla="*/ 7196 h 49777"/>
                          <a:gd name="connsiteX3" fmla="*/ 4906 w 50375"/>
                          <a:gd name="connsiteY3" fmla="*/ 7196 h 49777"/>
                          <a:gd name="connsiteX4" fmla="*/ 4906 w 50375"/>
                          <a:gd name="connsiteY4" fmla="*/ 7196 h 49777"/>
                          <a:gd name="connsiteX5" fmla="*/ 4906 w 50375"/>
                          <a:gd name="connsiteY5" fmla="*/ 7196 h 49777"/>
                          <a:gd name="connsiteX6" fmla="*/ 23866 w 50375"/>
                          <a:gd name="connsiteY6" fmla="*/ 27 h 49777"/>
                          <a:gd name="connsiteX7" fmla="*/ 43464 w 50375"/>
                          <a:gd name="connsiteY7" fmla="*/ 6813 h 49777"/>
                          <a:gd name="connsiteX8" fmla="*/ 43464 w 50375"/>
                          <a:gd name="connsiteY8" fmla="*/ 44752 h 49777"/>
                          <a:gd name="connsiteX9" fmla="*/ 31194 w 50375"/>
                          <a:gd name="connsiteY9" fmla="*/ 49777 h 49777"/>
                          <a:gd name="connsiteX10" fmla="*/ 24753 w 50375"/>
                          <a:gd name="connsiteY10" fmla="*/ 12776 h 49777"/>
                          <a:gd name="connsiteX11" fmla="*/ 24191 w 50375"/>
                          <a:gd name="connsiteY11" fmla="*/ 12782 h 49777"/>
                          <a:gd name="connsiteX12" fmla="*/ 13924 w 50375"/>
                          <a:gd name="connsiteY12" fmla="*/ 16220 h 49777"/>
                          <a:gd name="connsiteX13" fmla="*/ 13924 w 50375"/>
                          <a:gd name="connsiteY13" fmla="*/ 16220 h 49777"/>
                          <a:gd name="connsiteX14" fmla="*/ 19530 w 50375"/>
                          <a:gd name="connsiteY14" fmla="*/ 30760 h 49777"/>
                          <a:gd name="connsiteX15" fmla="*/ 34446 w 50375"/>
                          <a:gd name="connsiteY15" fmla="*/ 35741 h 49777"/>
                          <a:gd name="connsiteX16" fmla="*/ 34446 w 50375"/>
                          <a:gd name="connsiteY16" fmla="*/ 15843 h 49777"/>
                          <a:gd name="connsiteX17" fmla="*/ 24753 w 50375"/>
                          <a:gd name="connsiteY17" fmla="*/ 12776 h 49777"/>
                          <a:gd name="connsiteX18" fmla="*/ 9409 w 50375"/>
                          <a:gd name="connsiteY18" fmla="*/ 11704 h 49777"/>
                          <a:gd name="connsiteX19" fmla="*/ 9472 w 50375"/>
                          <a:gd name="connsiteY19" fmla="*/ 11704 h 49777"/>
                          <a:gd name="connsiteX20" fmla="*/ 9409 w 50375"/>
                          <a:gd name="connsiteY20" fmla="*/ 11704 h 49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0375" h="49777">
                            <a:moveTo>
                              <a:pt x="31194" y="49777"/>
                            </a:moveTo>
                            <a:cubicBezTo>
                              <a:pt x="24523" y="49777"/>
                              <a:pt x="17106" y="46359"/>
                              <a:pt x="10512" y="39771"/>
                            </a:cubicBezTo>
                            <a:cubicBezTo>
                              <a:pt x="-1082" y="28177"/>
                              <a:pt x="-3289" y="15391"/>
                              <a:pt x="4906" y="7196"/>
                            </a:cubicBezTo>
                            <a:lnTo>
                              <a:pt x="4906" y="7196"/>
                            </a:lnTo>
                            <a:cubicBezTo>
                              <a:pt x="4906" y="7196"/>
                              <a:pt x="4906" y="7196"/>
                              <a:pt x="4906" y="7196"/>
                            </a:cubicBezTo>
                            <a:lnTo>
                              <a:pt x="4906" y="7196"/>
                            </a:lnTo>
                            <a:cubicBezTo>
                              <a:pt x="9262" y="2840"/>
                              <a:pt x="16175" y="225"/>
                              <a:pt x="23866" y="27"/>
                            </a:cubicBezTo>
                            <a:cubicBezTo>
                              <a:pt x="31806" y="-298"/>
                              <a:pt x="38949" y="2291"/>
                              <a:pt x="43464" y="6813"/>
                            </a:cubicBezTo>
                            <a:cubicBezTo>
                              <a:pt x="52679" y="16035"/>
                              <a:pt x="52679" y="35530"/>
                              <a:pt x="43464" y="44752"/>
                            </a:cubicBezTo>
                            <a:cubicBezTo>
                              <a:pt x="40090" y="48132"/>
                              <a:pt x="35817" y="49777"/>
                              <a:pt x="31194" y="49777"/>
                            </a:cubicBezTo>
                            <a:close/>
                            <a:moveTo>
                              <a:pt x="24753" y="12776"/>
                            </a:moveTo>
                            <a:cubicBezTo>
                              <a:pt x="24568" y="12776"/>
                              <a:pt x="24376" y="12776"/>
                              <a:pt x="24191" y="12782"/>
                            </a:cubicBezTo>
                            <a:cubicBezTo>
                              <a:pt x="19931" y="12891"/>
                              <a:pt x="15901" y="14243"/>
                              <a:pt x="13924" y="16220"/>
                            </a:cubicBezTo>
                            <a:lnTo>
                              <a:pt x="13924" y="16220"/>
                            </a:lnTo>
                            <a:cubicBezTo>
                              <a:pt x="10397" y="19746"/>
                              <a:pt x="15792" y="27016"/>
                              <a:pt x="19530" y="30760"/>
                            </a:cubicBezTo>
                            <a:cubicBezTo>
                              <a:pt x="23528" y="34759"/>
                              <a:pt x="30805" y="39389"/>
                              <a:pt x="34446" y="35741"/>
                            </a:cubicBezTo>
                            <a:cubicBezTo>
                              <a:pt x="38464" y="31723"/>
                              <a:pt x="39153" y="20550"/>
                              <a:pt x="34446" y="15843"/>
                            </a:cubicBezTo>
                            <a:cubicBezTo>
                              <a:pt x="32533" y="13930"/>
                              <a:pt x="28853" y="12776"/>
                              <a:pt x="24753" y="12776"/>
                            </a:cubicBezTo>
                            <a:close/>
                            <a:moveTo>
                              <a:pt x="9409" y="11704"/>
                            </a:moveTo>
                            <a:lnTo>
                              <a:pt x="9472" y="11704"/>
                            </a:lnTo>
                            <a:lnTo>
                              <a:pt x="9409" y="11704"/>
                            </a:lnTo>
                            <a:close/>
                          </a:path>
                        </a:pathLst>
                      </a:custGeom>
                      <a:grpFill/>
                      <a:ln w="637" cap="flat">
                        <a:noFill/>
                        <a:prstDash val="solid"/>
                        <a:miter/>
                      </a:ln>
                    </p:spPr>
                    <p:txBody>
                      <a:bodyPr rtlCol="0" anchor="ctr"/>
                      <a:lstStyle/>
                      <a:p>
                        <a:endParaRPr lang="en-GB" dirty="0"/>
                      </a:p>
                    </p:txBody>
                  </p:sp>
                  <p:sp>
                    <p:nvSpPr>
                      <p:cNvPr id="839" name="Freeform: Shape 838">
                        <a:extLst>
                          <a:ext uri="{FF2B5EF4-FFF2-40B4-BE49-F238E27FC236}">
                            <a16:creationId xmlns:a16="http://schemas.microsoft.com/office/drawing/2014/main" id="{E2F5BA2F-1F09-4E63-A132-CFF78F0C9029}"/>
                          </a:ext>
                        </a:extLst>
                      </p:cNvPr>
                      <p:cNvSpPr/>
                      <p:nvPr/>
                    </p:nvSpPr>
                    <p:spPr>
                      <a:xfrm>
                        <a:off x="5099278" y="2674486"/>
                        <a:ext cx="33274" cy="33266"/>
                      </a:xfrm>
                      <a:custGeom>
                        <a:avLst/>
                        <a:gdLst>
                          <a:gd name="connsiteX0" fmla="*/ 6379 w 33274"/>
                          <a:gd name="connsiteY0" fmla="*/ 33266 h 33266"/>
                          <a:gd name="connsiteX1" fmla="*/ 1870 w 33274"/>
                          <a:gd name="connsiteY1" fmla="*/ 31397 h 33266"/>
                          <a:gd name="connsiteX2" fmla="*/ 1870 w 33274"/>
                          <a:gd name="connsiteY2" fmla="*/ 22380 h 33266"/>
                          <a:gd name="connsiteX3" fmla="*/ 22386 w 33274"/>
                          <a:gd name="connsiteY3" fmla="*/ 1870 h 33266"/>
                          <a:gd name="connsiteX4" fmla="*/ 31404 w 33274"/>
                          <a:gd name="connsiteY4" fmla="*/ 1870 h 33266"/>
                          <a:gd name="connsiteX5" fmla="*/ 31404 w 33274"/>
                          <a:gd name="connsiteY5" fmla="*/ 10888 h 33266"/>
                          <a:gd name="connsiteX6" fmla="*/ 10888 w 33274"/>
                          <a:gd name="connsiteY6" fmla="*/ 31397 h 33266"/>
                          <a:gd name="connsiteX7" fmla="*/ 6379 w 33274"/>
                          <a:gd name="connsiteY7" fmla="*/ 33266 h 33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274" h="33266">
                            <a:moveTo>
                              <a:pt x="6379" y="33266"/>
                            </a:moveTo>
                            <a:cubicBezTo>
                              <a:pt x="4746" y="33266"/>
                              <a:pt x="3114" y="32641"/>
                              <a:pt x="1870" y="31397"/>
                            </a:cubicBezTo>
                            <a:cubicBezTo>
                              <a:pt x="-623" y="28904"/>
                              <a:pt x="-623" y="24867"/>
                              <a:pt x="1870" y="22380"/>
                            </a:cubicBezTo>
                            <a:lnTo>
                              <a:pt x="22386" y="1870"/>
                            </a:lnTo>
                            <a:cubicBezTo>
                              <a:pt x="24880" y="-623"/>
                              <a:pt x="28910" y="-623"/>
                              <a:pt x="31404" y="1870"/>
                            </a:cubicBezTo>
                            <a:cubicBezTo>
                              <a:pt x="33897" y="4364"/>
                              <a:pt x="33897" y="8401"/>
                              <a:pt x="31404" y="10888"/>
                            </a:cubicBezTo>
                            <a:lnTo>
                              <a:pt x="10888" y="31397"/>
                            </a:lnTo>
                            <a:cubicBezTo>
                              <a:pt x="9638" y="32641"/>
                              <a:pt x="8005" y="33266"/>
                              <a:pt x="6379" y="33266"/>
                            </a:cubicBezTo>
                            <a:close/>
                          </a:path>
                        </a:pathLst>
                      </a:custGeom>
                      <a:grpFill/>
                      <a:ln w="637" cap="flat">
                        <a:noFill/>
                        <a:prstDash val="solid"/>
                        <a:miter/>
                      </a:ln>
                    </p:spPr>
                    <p:txBody>
                      <a:bodyPr rtlCol="0" anchor="ctr"/>
                      <a:lstStyle/>
                      <a:p>
                        <a:endParaRPr lang="en-GB" dirty="0"/>
                      </a:p>
                    </p:txBody>
                  </p:sp>
                </p:grpSp>
              </p:grpSp>
              <p:sp>
                <p:nvSpPr>
                  <p:cNvPr id="827" name="Freeform: Shape 826">
                    <a:extLst>
                      <a:ext uri="{FF2B5EF4-FFF2-40B4-BE49-F238E27FC236}">
                        <a16:creationId xmlns:a16="http://schemas.microsoft.com/office/drawing/2014/main" id="{6D18FFDB-8CCD-4FDF-A91A-CDCC6FAF5DC1}"/>
                      </a:ext>
                    </a:extLst>
                  </p:cNvPr>
                  <p:cNvSpPr/>
                  <p:nvPr/>
                </p:nvSpPr>
                <p:spPr>
                  <a:xfrm>
                    <a:off x="5223209" y="2693149"/>
                    <a:ext cx="20074" cy="28709"/>
                  </a:xfrm>
                  <a:custGeom>
                    <a:avLst/>
                    <a:gdLst>
                      <a:gd name="connsiteX0" fmla="*/ 13701 w 20074"/>
                      <a:gd name="connsiteY0" fmla="*/ 28710 h 28709"/>
                      <a:gd name="connsiteX1" fmla="*/ 7904 w 20074"/>
                      <a:gd name="connsiteY1" fmla="*/ 24992 h 28709"/>
                      <a:gd name="connsiteX2" fmla="*/ 583 w 20074"/>
                      <a:gd name="connsiteY2" fmla="*/ 9042 h 28709"/>
                      <a:gd name="connsiteX3" fmla="*/ 3714 w 20074"/>
                      <a:gd name="connsiteY3" fmla="*/ 585 h 28709"/>
                      <a:gd name="connsiteX4" fmla="*/ 12170 w 20074"/>
                      <a:gd name="connsiteY4" fmla="*/ 3717 h 28709"/>
                      <a:gd name="connsiteX5" fmla="*/ 19492 w 20074"/>
                      <a:gd name="connsiteY5" fmla="*/ 19667 h 28709"/>
                      <a:gd name="connsiteX6" fmla="*/ 16360 w 20074"/>
                      <a:gd name="connsiteY6" fmla="*/ 28123 h 28709"/>
                      <a:gd name="connsiteX7" fmla="*/ 13701 w 20074"/>
                      <a:gd name="connsiteY7" fmla="*/ 28710 h 28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74" h="28709">
                        <a:moveTo>
                          <a:pt x="13701" y="28710"/>
                        </a:moveTo>
                        <a:cubicBezTo>
                          <a:pt x="11290" y="28710"/>
                          <a:pt x="8975" y="27332"/>
                          <a:pt x="7904" y="24992"/>
                        </a:cubicBezTo>
                        <a:lnTo>
                          <a:pt x="583" y="9042"/>
                        </a:lnTo>
                        <a:cubicBezTo>
                          <a:pt x="-884" y="5840"/>
                          <a:pt x="513" y="2052"/>
                          <a:pt x="3714" y="585"/>
                        </a:cubicBezTo>
                        <a:cubicBezTo>
                          <a:pt x="6903" y="-888"/>
                          <a:pt x="10697" y="515"/>
                          <a:pt x="12170" y="3717"/>
                        </a:cubicBezTo>
                        <a:lnTo>
                          <a:pt x="19492" y="19667"/>
                        </a:lnTo>
                        <a:cubicBezTo>
                          <a:pt x="20958" y="22868"/>
                          <a:pt x="19562" y="26656"/>
                          <a:pt x="16360" y="28123"/>
                        </a:cubicBezTo>
                        <a:cubicBezTo>
                          <a:pt x="15499" y="28518"/>
                          <a:pt x="14594" y="28710"/>
                          <a:pt x="13701" y="28710"/>
                        </a:cubicBezTo>
                        <a:close/>
                      </a:path>
                    </a:pathLst>
                  </a:custGeom>
                  <a:grpFill/>
                  <a:ln w="637" cap="flat">
                    <a:noFill/>
                    <a:prstDash val="solid"/>
                    <a:miter/>
                  </a:ln>
                </p:spPr>
                <p:txBody>
                  <a:bodyPr rtlCol="0" anchor="ctr"/>
                  <a:lstStyle/>
                  <a:p>
                    <a:endParaRPr lang="en-GB" dirty="0"/>
                  </a:p>
                </p:txBody>
              </p:sp>
              <p:sp>
                <p:nvSpPr>
                  <p:cNvPr id="828" name="Freeform: Shape 827">
                    <a:extLst>
                      <a:ext uri="{FF2B5EF4-FFF2-40B4-BE49-F238E27FC236}">
                        <a16:creationId xmlns:a16="http://schemas.microsoft.com/office/drawing/2014/main" id="{1D370612-D3A8-4ABA-B022-20529CE46E00}"/>
                      </a:ext>
                    </a:extLst>
                  </p:cNvPr>
                  <p:cNvSpPr/>
                  <p:nvPr/>
                </p:nvSpPr>
                <p:spPr>
                  <a:xfrm>
                    <a:off x="5138658" y="2509043"/>
                    <a:ext cx="20206" cy="29000"/>
                  </a:xfrm>
                  <a:custGeom>
                    <a:avLst/>
                    <a:gdLst>
                      <a:gd name="connsiteX0" fmla="*/ 13834 w 20206"/>
                      <a:gd name="connsiteY0" fmla="*/ 29000 h 29000"/>
                      <a:gd name="connsiteX1" fmla="*/ 8037 w 20206"/>
                      <a:gd name="connsiteY1" fmla="*/ 25282 h 29000"/>
                      <a:gd name="connsiteX2" fmla="*/ 582 w 20206"/>
                      <a:gd name="connsiteY2" fmla="*/ 9039 h 29000"/>
                      <a:gd name="connsiteX3" fmla="*/ 3713 w 20206"/>
                      <a:gd name="connsiteY3" fmla="*/ 583 h 29000"/>
                      <a:gd name="connsiteX4" fmla="*/ 12169 w 20206"/>
                      <a:gd name="connsiteY4" fmla="*/ 3714 h 29000"/>
                      <a:gd name="connsiteX5" fmla="*/ 19625 w 20206"/>
                      <a:gd name="connsiteY5" fmla="*/ 19957 h 29000"/>
                      <a:gd name="connsiteX6" fmla="*/ 16493 w 20206"/>
                      <a:gd name="connsiteY6" fmla="*/ 28414 h 29000"/>
                      <a:gd name="connsiteX7" fmla="*/ 13834 w 20206"/>
                      <a:gd name="connsiteY7" fmla="*/ 29000 h 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206" h="29000">
                        <a:moveTo>
                          <a:pt x="13834" y="29000"/>
                        </a:moveTo>
                        <a:cubicBezTo>
                          <a:pt x="11423" y="29000"/>
                          <a:pt x="9108" y="27623"/>
                          <a:pt x="8037" y="25282"/>
                        </a:cubicBezTo>
                        <a:lnTo>
                          <a:pt x="582" y="9039"/>
                        </a:lnTo>
                        <a:cubicBezTo>
                          <a:pt x="-885" y="5838"/>
                          <a:pt x="518" y="2050"/>
                          <a:pt x="3713" y="583"/>
                        </a:cubicBezTo>
                        <a:cubicBezTo>
                          <a:pt x="6902" y="-884"/>
                          <a:pt x="10696" y="513"/>
                          <a:pt x="12169" y="3714"/>
                        </a:cubicBezTo>
                        <a:lnTo>
                          <a:pt x="19625" y="19957"/>
                        </a:lnTo>
                        <a:cubicBezTo>
                          <a:pt x="21091" y="23159"/>
                          <a:pt x="19688" y="26947"/>
                          <a:pt x="16493" y="28414"/>
                        </a:cubicBezTo>
                        <a:cubicBezTo>
                          <a:pt x="15632" y="28815"/>
                          <a:pt x="14727" y="29000"/>
                          <a:pt x="13834" y="29000"/>
                        </a:cubicBezTo>
                        <a:close/>
                      </a:path>
                    </a:pathLst>
                  </a:custGeom>
                  <a:grpFill/>
                  <a:ln w="637" cap="flat">
                    <a:noFill/>
                    <a:prstDash val="solid"/>
                    <a:miter/>
                  </a:ln>
                </p:spPr>
                <p:txBody>
                  <a:bodyPr rtlCol="0" anchor="ctr"/>
                  <a:lstStyle/>
                  <a:p>
                    <a:endParaRPr lang="en-GB" dirty="0"/>
                  </a:p>
                </p:txBody>
              </p:sp>
              <p:sp>
                <p:nvSpPr>
                  <p:cNvPr id="829" name="Freeform: Shape 828">
                    <a:extLst>
                      <a:ext uri="{FF2B5EF4-FFF2-40B4-BE49-F238E27FC236}">
                        <a16:creationId xmlns:a16="http://schemas.microsoft.com/office/drawing/2014/main" id="{661EEE6D-11B1-4B97-AA0B-CD8714B76E93}"/>
                      </a:ext>
                    </a:extLst>
                  </p:cNvPr>
                  <p:cNvSpPr/>
                  <p:nvPr/>
                </p:nvSpPr>
                <p:spPr>
                  <a:xfrm>
                    <a:off x="5269675" y="2647685"/>
                    <a:ext cx="28209" cy="19800"/>
                  </a:xfrm>
                  <a:custGeom>
                    <a:avLst/>
                    <a:gdLst>
                      <a:gd name="connsiteX0" fmla="*/ 21825 w 28209"/>
                      <a:gd name="connsiteY0" fmla="*/ 19800 h 19800"/>
                      <a:gd name="connsiteX1" fmla="*/ 19185 w 28209"/>
                      <a:gd name="connsiteY1" fmla="*/ 19226 h 19800"/>
                      <a:gd name="connsiteX2" fmla="*/ 3738 w 28209"/>
                      <a:gd name="connsiteY2" fmla="*/ 12186 h 19800"/>
                      <a:gd name="connsiteX3" fmla="*/ 575 w 28209"/>
                      <a:gd name="connsiteY3" fmla="*/ 3736 h 19800"/>
                      <a:gd name="connsiteX4" fmla="*/ 9025 w 28209"/>
                      <a:gd name="connsiteY4" fmla="*/ 573 h 19800"/>
                      <a:gd name="connsiteX5" fmla="*/ 24471 w 28209"/>
                      <a:gd name="connsiteY5" fmla="*/ 7613 h 19800"/>
                      <a:gd name="connsiteX6" fmla="*/ 27635 w 28209"/>
                      <a:gd name="connsiteY6" fmla="*/ 16063 h 19800"/>
                      <a:gd name="connsiteX7" fmla="*/ 21825 w 28209"/>
                      <a:gd name="connsiteY7" fmla="*/ 19800 h 1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09" h="19800">
                        <a:moveTo>
                          <a:pt x="21825" y="19800"/>
                        </a:moveTo>
                        <a:cubicBezTo>
                          <a:pt x="20938" y="19800"/>
                          <a:pt x="20039" y="19615"/>
                          <a:pt x="19185" y="19226"/>
                        </a:cubicBezTo>
                        <a:lnTo>
                          <a:pt x="3738" y="12186"/>
                        </a:lnTo>
                        <a:cubicBezTo>
                          <a:pt x="531" y="10725"/>
                          <a:pt x="-885" y="6944"/>
                          <a:pt x="575" y="3736"/>
                        </a:cubicBezTo>
                        <a:cubicBezTo>
                          <a:pt x="2036" y="528"/>
                          <a:pt x="5830" y="-881"/>
                          <a:pt x="9025" y="573"/>
                        </a:cubicBezTo>
                        <a:lnTo>
                          <a:pt x="24471" y="7613"/>
                        </a:lnTo>
                        <a:cubicBezTo>
                          <a:pt x="27679" y="9074"/>
                          <a:pt x="29095" y="12855"/>
                          <a:pt x="27635" y="16063"/>
                        </a:cubicBezTo>
                        <a:cubicBezTo>
                          <a:pt x="26563" y="18410"/>
                          <a:pt x="24248" y="19800"/>
                          <a:pt x="21825" y="19800"/>
                        </a:cubicBezTo>
                        <a:close/>
                      </a:path>
                    </a:pathLst>
                  </a:custGeom>
                  <a:grpFill/>
                  <a:ln w="637" cap="flat">
                    <a:noFill/>
                    <a:prstDash val="solid"/>
                    <a:miter/>
                  </a:ln>
                </p:spPr>
                <p:txBody>
                  <a:bodyPr rtlCol="0" anchor="ctr"/>
                  <a:lstStyle/>
                  <a:p>
                    <a:endParaRPr lang="en-GB" dirty="0"/>
                  </a:p>
                </p:txBody>
              </p:sp>
              <p:sp>
                <p:nvSpPr>
                  <p:cNvPr id="830" name="Freeform: Shape 829">
                    <a:extLst>
                      <a:ext uri="{FF2B5EF4-FFF2-40B4-BE49-F238E27FC236}">
                        <a16:creationId xmlns:a16="http://schemas.microsoft.com/office/drawing/2014/main" id="{27C827E5-5926-4DAA-A664-02096B9D60B4}"/>
                      </a:ext>
                    </a:extLst>
                  </p:cNvPr>
                  <p:cNvSpPr/>
                  <p:nvPr/>
                </p:nvSpPr>
                <p:spPr>
                  <a:xfrm>
                    <a:off x="5084814" y="2563417"/>
                    <a:ext cx="28643" cy="20000"/>
                  </a:xfrm>
                  <a:custGeom>
                    <a:avLst/>
                    <a:gdLst>
                      <a:gd name="connsiteX0" fmla="*/ 22265 w 28643"/>
                      <a:gd name="connsiteY0" fmla="*/ 20001 h 20000"/>
                      <a:gd name="connsiteX1" fmla="*/ 19618 w 28643"/>
                      <a:gd name="connsiteY1" fmla="*/ 19427 h 20000"/>
                      <a:gd name="connsiteX2" fmla="*/ 3732 w 28643"/>
                      <a:gd name="connsiteY2" fmla="*/ 12182 h 20000"/>
                      <a:gd name="connsiteX3" fmla="*/ 575 w 28643"/>
                      <a:gd name="connsiteY3" fmla="*/ 3732 h 20000"/>
                      <a:gd name="connsiteX4" fmla="*/ 9025 w 28643"/>
                      <a:gd name="connsiteY4" fmla="*/ 575 h 20000"/>
                      <a:gd name="connsiteX5" fmla="*/ 24912 w 28643"/>
                      <a:gd name="connsiteY5" fmla="*/ 7820 h 20000"/>
                      <a:gd name="connsiteX6" fmla="*/ 28068 w 28643"/>
                      <a:gd name="connsiteY6" fmla="*/ 16270 h 20000"/>
                      <a:gd name="connsiteX7" fmla="*/ 22265 w 28643"/>
                      <a:gd name="connsiteY7" fmla="*/ 20001 h 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43" h="20000">
                        <a:moveTo>
                          <a:pt x="22265" y="20001"/>
                        </a:moveTo>
                        <a:cubicBezTo>
                          <a:pt x="21378" y="20001"/>
                          <a:pt x="20479" y="19816"/>
                          <a:pt x="19618" y="19427"/>
                        </a:cubicBezTo>
                        <a:lnTo>
                          <a:pt x="3732" y="12182"/>
                        </a:lnTo>
                        <a:cubicBezTo>
                          <a:pt x="531" y="10722"/>
                          <a:pt x="-885" y="6940"/>
                          <a:pt x="575" y="3732"/>
                        </a:cubicBezTo>
                        <a:cubicBezTo>
                          <a:pt x="2036" y="531"/>
                          <a:pt x="5811" y="-885"/>
                          <a:pt x="9025" y="575"/>
                        </a:cubicBezTo>
                        <a:lnTo>
                          <a:pt x="24912" y="7820"/>
                        </a:lnTo>
                        <a:cubicBezTo>
                          <a:pt x="28113" y="9281"/>
                          <a:pt x="29529" y="13062"/>
                          <a:pt x="28068" y="16270"/>
                        </a:cubicBezTo>
                        <a:cubicBezTo>
                          <a:pt x="26997" y="18611"/>
                          <a:pt x="24682" y="20001"/>
                          <a:pt x="22265" y="20001"/>
                        </a:cubicBezTo>
                        <a:close/>
                      </a:path>
                    </a:pathLst>
                  </a:custGeom>
                  <a:grpFill/>
                  <a:ln w="637" cap="flat">
                    <a:noFill/>
                    <a:prstDash val="solid"/>
                    <a:miter/>
                  </a:ln>
                </p:spPr>
                <p:txBody>
                  <a:bodyPr rtlCol="0" anchor="ctr"/>
                  <a:lstStyle/>
                  <a:p>
                    <a:endParaRPr lang="en-GB" dirty="0"/>
                  </a:p>
                </p:txBody>
              </p:sp>
              <p:sp>
                <p:nvSpPr>
                  <p:cNvPr id="831" name="Freeform: Shape 830">
                    <a:extLst>
                      <a:ext uri="{FF2B5EF4-FFF2-40B4-BE49-F238E27FC236}">
                        <a16:creationId xmlns:a16="http://schemas.microsoft.com/office/drawing/2014/main" id="{8FDDE54B-7A2A-429D-8312-43DEAC0CABC6}"/>
                      </a:ext>
                    </a:extLst>
                  </p:cNvPr>
                  <p:cNvSpPr/>
                  <p:nvPr/>
                </p:nvSpPr>
                <p:spPr>
                  <a:xfrm>
                    <a:off x="5268782" y="2564409"/>
                    <a:ext cx="29244" cy="20087"/>
                  </a:xfrm>
                  <a:custGeom>
                    <a:avLst/>
                    <a:gdLst>
                      <a:gd name="connsiteX0" fmla="*/ 6386 w 29244"/>
                      <a:gd name="connsiteY0" fmla="*/ 20087 h 20087"/>
                      <a:gd name="connsiteX1" fmla="*/ 550 w 29244"/>
                      <a:gd name="connsiteY1" fmla="*/ 16293 h 20087"/>
                      <a:gd name="connsiteX2" fmla="*/ 3790 w 29244"/>
                      <a:gd name="connsiteY2" fmla="*/ 7874 h 20087"/>
                      <a:gd name="connsiteX3" fmla="*/ 20276 w 29244"/>
                      <a:gd name="connsiteY3" fmla="*/ 553 h 20087"/>
                      <a:gd name="connsiteX4" fmla="*/ 28694 w 29244"/>
                      <a:gd name="connsiteY4" fmla="*/ 3793 h 20087"/>
                      <a:gd name="connsiteX5" fmla="*/ 25454 w 29244"/>
                      <a:gd name="connsiteY5" fmla="*/ 12211 h 20087"/>
                      <a:gd name="connsiteX6" fmla="*/ 8969 w 29244"/>
                      <a:gd name="connsiteY6" fmla="*/ 19532 h 20087"/>
                      <a:gd name="connsiteX7" fmla="*/ 6386 w 29244"/>
                      <a:gd name="connsiteY7" fmla="*/ 20087 h 20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244" h="20087">
                        <a:moveTo>
                          <a:pt x="6386" y="20087"/>
                        </a:moveTo>
                        <a:cubicBezTo>
                          <a:pt x="3943" y="20087"/>
                          <a:pt x="1609" y="18671"/>
                          <a:pt x="550" y="16293"/>
                        </a:cubicBezTo>
                        <a:cubicBezTo>
                          <a:pt x="-878" y="13072"/>
                          <a:pt x="570" y="9303"/>
                          <a:pt x="3790" y="7874"/>
                        </a:cubicBezTo>
                        <a:lnTo>
                          <a:pt x="20276" y="553"/>
                        </a:lnTo>
                        <a:cubicBezTo>
                          <a:pt x="23490" y="-882"/>
                          <a:pt x="27259" y="572"/>
                          <a:pt x="28694" y="3793"/>
                        </a:cubicBezTo>
                        <a:cubicBezTo>
                          <a:pt x="30122" y="7013"/>
                          <a:pt x="28675" y="10782"/>
                          <a:pt x="25454" y="12211"/>
                        </a:cubicBezTo>
                        <a:lnTo>
                          <a:pt x="8969" y="19532"/>
                        </a:lnTo>
                        <a:cubicBezTo>
                          <a:pt x="8133" y="19908"/>
                          <a:pt x="7253" y="20087"/>
                          <a:pt x="6386" y="20087"/>
                        </a:cubicBezTo>
                        <a:close/>
                      </a:path>
                    </a:pathLst>
                  </a:custGeom>
                  <a:grpFill/>
                  <a:ln w="637" cap="flat">
                    <a:noFill/>
                    <a:prstDash val="solid"/>
                    <a:miter/>
                  </a:ln>
                </p:spPr>
                <p:txBody>
                  <a:bodyPr rtlCol="0" anchor="ctr"/>
                  <a:lstStyle/>
                  <a:p>
                    <a:endParaRPr lang="en-GB" dirty="0"/>
                  </a:p>
                </p:txBody>
              </p:sp>
              <p:sp>
                <p:nvSpPr>
                  <p:cNvPr id="832" name="Freeform: Shape 831">
                    <a:extLst>
                      <a:ext uri="{FF2B5EF4-FFF2-40B4-BE49-F238E27FC236}">
                        <a16:creationId xmlns:a16="http://schemas.microsoft.com/office/drawing/2014/main" id="{D679F6A1-5C99-48CE-A5C7-1154F7727AB2}"/>
                      </a:ext>
                    </a:extLst>
                  </p:cNvPr>
                  <p:cNvSpPr/>
                  <p:nvPr/>
                </p:nvSpPr>
                <p:spPr>
                  <a:xfrm>
                    <a:off x="5084067" y="2646826"/>
                    <a:ext cx="28325" cy="19670"/>
                  </a:xfrm>
                  <a:custGeom>
                    <a:avLst/>
                    <a:gdLst>
                      <a:gd name="connsiteX0" fmla="*/ 6386 w 28325"/>
                      <a:gd name="connsiteY0" fmla="*/ 19671 h 19670"/>
                      <a:gd name="connsiteX1" fmla="*/ 550 w 28325"/>
                      <a:gd name="connsiteY1" fmla="*/ 15876 h 19670"/>
                      <a:gd name="connsiteX2" fmla="*/ 3790 w 28325"/>
                      <a:gd name="connsiteY2" fmla="*/ 7458 h 19670"/>
                      <a:gd name="connsiteX3" fmla="*/ 19357 w 28325"/>
                      <a:gd name="connsiteY3" fmla="*/ 551 h 19670"/>
                      <a:gd name="connsiteX4" fmla="*/ 27775 w 28325"/>
                      <a:gd name="connsiteY4" fmla="*/ 3791 h 19670"/>
                      <a:gd name="connsiteX5" fmla="*/ 24536 w 28325"/>
                      <a:gd name="connsiteY5" fmla="*/ 12209 h 19670"/>
                      <a:gd name="connsiteX6" fmla="*/ 8969 w 28325"/>
                      <a:gd name="connsiteY6" fmla="*/ 19116 h 19670"/>
                      <a:gd name="connsiteX7" fmla="*/ 6386 w 28325"/>
                      <a:gd name="connsiteY7" fmla="*/ 19671 h 19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25" h="19670">
                        <a:moveTo>
                          <a:pt x="6386" y="19671"/>
                        </a:moveTo>
                        <a:cubicBezTo>
                          <a:pt x="3943" y="19671"/>
                          <a:pt x="1609" y="18255"/>
                          <a:pt x="550" y="15876"/>
                        </a:cubicBezTo>
                        <a:cubicBezTo>
                          <a:pt x="-878" y="12656"/>
                          <a:pt x="570" y="8887"/>
                          <a:pt x="3790" y="7458"/>
                        </a:cubicBezTo>
                        <a:lnTo>
                          <a:pt x="19357" y="551"/>
                        </a:lnTo>
                        <a:cubicBezTo>
                          <a:pt x="22565" y="-877"/>
                          <a:pt x="26341" y="564"/>
                          <a:pt x="27775" y="3791"/>
                        </a:cubicBezTo>
                        <a:cubicBezTo>
                          <a:pt x="29204" y="7012"/>
                          <a:pt x="27756" y="10781"/>
                          <a:pt x="24536" y="12209"/>
                        </a:cubicBezTo>
                        <a:lnTo>
                          <a:pt x="8969" y="19116"/>
                        </a:lnTo>
                        <a:cubicBezTo>
                          <a:pt x="8127" y="19499"/>
                          <a:pt x="7253" y="19671"/>
                          <a:pt x="6386" y="19671"/>
                        </a:cubicBezTo>
                        <a:close/>
                      </a:path>
                    </a:pathLst>
                  </a:custGeom>
                  <a:grpFill/>
                  <a:ln w="637" cap="flat">
                    <a:noFill/>
                    <a:prstDash val="solid"/>
                    <a:miter/>
                  </a:ln>
                </p:spPr>
                <p:txBody>
                  <a:bodyPr rtlCol="0" anchor="ctr"/>
                  <a:lstStyle/>
                  <a:p>
                    <a:endParaRPr lang="en-GB" dirty="0"/>
                  </a:p>
                </p:txBody>
              </p:sp>
              <p:sp>
                <p:nvSpPr>
                  <p:cNvPr id="833" name="Freeform: Shape 832">
                    <a:extLst>
                      <a:ext uri="{FF2B5EF4-FFF2-40B4-BE49-F238E27FC236}">
                        <a16:creationId xmlns:a16="http://schemas.microsoft.com/office/drawing/2014/main" id="{0193B756-5B65-41BA-A64D-172AFC202842}"/>
                      </a:ext>
                    </a:extLst>
                  </p:cNvPr>
                  <p:cNvSpPr/>
                  <p:nvPr/>
                </p:nvSpPr>
                <p:spPr>
                  <a:xfrm>
                    <a:off x="5138787" y="2693826"/>
                    <a:ext cx="19776" cy="28070"/>
                  </a:xfrm>
                  <a:custGeom>
                    <a:avLst/>
                    <a:gdLst>
                      <a:gd name="connsiteX0" fmla="*/ 6377 w 19776"/>
                      <a:gd name="connsiteY0" fmla="*/ 28071 h 28070"/>
                      <a:gd name="connsiteX1" fmla="*/ 3724 w 19776"/>
                      <a:gd name="connsiteY1" fmla="*/ 27490 h 28070"/>
                      <a:gd name="connsiteX2" fmla="*/ 580 w 19776"/>
                      <a:gd name="connsiteY2" fmla="*/ 19034 h 28070"/>
                      <a:gd name="connsiteX3" fmla="*/ 7596 w 19776"/>
                      <a:gd name="connsiteY3" fmla="*/ 3728 h 28070"/>
                      <a:gd name="connsiteX4" fmla="*/ 16052 w 19776"/>
                      <a:gd name="connsiteY4" fmla="*/ 584 h 28070"/>
                      <a:gd name="connsiteX5" fmla="*/ 19196 w 19776"/>
                      <a:gd name="connsiteY5" fmla="*/ 9041 h 28070"/>
                      <a:gd name="connsiteX6" fmla="*/ 12181 w 19776"/>
                      <a:gd name="connsiteY6" fmla="*/ 24346 h 28070"/>
                      <a:gd name="connsiteX7" fmla="*/ 6377 w 19776"/>
                      <a:gd name="connsiteY7" fmla="*/ 28071 h 28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76" h="28070">
                        <a:moveTo>
                          <a:pt x="6377" y="28071"/>
                        </a:moveTo>
                        <a:cubicBezTo>
                          <a:pt x="5485" y="28071"/>
                          <a:pt x="4585" y="27886"/>
                          <a:pt x="3724" y="27490"/>
                        </a:cubicBezTo>
                        <a:cubicBezTo>
                          <a:pt x="523" y="26024"/>
                          <a:pt x="-886" y="22235"/>
                          <a:pt x="580" y="19034"/>
                        </a:cubicBezTo>
                        <a:lnTo>
                          <a:pt x="7596" y="3728"/>
                        </a:lnTo>
                        <a:cubicBezTo>
                          <a:pt x="9062" y="520"/>
                          <a:pt x="12851" y="-889"/>
                          <a:pt x="16052" y="584"/>
                        </a:cubicBezTo>
                        <a:cubicBezTo>
                          <a:pt x="19253" y="2051"/>
                          <a:pt x="20663" y="5839"/>
                          <a:pt x="19196" y="9041"/>
                        </a:cubicBezTo>
                        <a:lnTo>
                          <a:pt x="12181" y="24346"/>
                        </a:lnTo>
                        <a:cubicBezTo>
                          <a:pt x="11110" y="26687"/>
                          <a:pt x="8795" y="28071"/>
                          <a:pt x="6377" y="28071"/>
                        </a:cubicBezTo>
                        <a:close/>
                      </a:path>
                    </a:pathLst>
                  </a:custGeom>
                  <a:grpFill/>
                  <a:ln w="637" cap="flat">
                    <a:noFill/>
                    <a:prstDash val="solid"/>
                    <a:miter/>
                  </a:ln>
                </p:spPr>
                <p:txBody>
                  <a:bodyPr rtlCol="0" anchor="ctr"/>
                  <a:lstStyle/>
                  <a:p>
                    <a:endParaRPr lang="en-GB" dirty="0"/>
                  </a:p>
                </p:txBody>
              </p:sp>
              <p:sp>
                <p:nvSpPr>
                  <p:cNvPr id="834" name="Freeform: Shape 833">
                    <a:extLst>
                      <a:ext uri="{FF2B5EF4-FFF2-40B4-BE49-F238E27FC236}">
                        <a16:creationId xmlns:a16="http://schemas.microsoft.com/office/drawing/2014/main" id="{E337122B-A2DA-4B58-8C0F-B2B99F63902E}"/>
                      </a:ext>
                    </a:extLst>
                  </p:cNvPr>
                  <p:cNvSpPr/>
                  <p:nvPr/>
                </p:nvSpPr>
                <p:spPr>
                  <a:xfrm>
                    <a:off x="5223236" y="2509004"/>
                    <a:ext cx="20025" cy="28611"/>
                  </a:xfrm>
                  <a:custGeom>
                    <a:avLst/>
                    <a:gdLst>
                      <a:gd name="connsiteX0" fmla="*/ 6377 w 20025"/>
                      <a:gd name="connsiteY0" fmla="*/ 28612 h 28611"/>
                      <a:gd name="connsiteX1" fmla="*/ 3724 w 20025"/>
                      <a:gd name="connsiteY1" fmla="*/ 28031 h 28611"/>
                      <a:gd name="connsiteX2" fmla="*/ 580 w 20025"/>
                      <a:gd name="connsiteY2" fmla="*/ 19575 h 28611"/>
                      <a:gd name="connsiteX3" fmla="*/ 7844 w 20025"/>
                      <a:gd name="connsiteY3" fmla="*/ 3727 h 28611"/>
                      <a:gd name="connsiteX4" fmla="*/ 16301 w 20025"/>
                      <a:gd name="connsiteY4" fmla="*/ 583 h 28611"/>
                      <a:gd name="connsiteX5" fmla="*/ 19445 w 20025"/>
                      <a:gd name="connsiteY5" fmla="*/ 9040 h 28611"/>
                      <a:gd name="connsiteX6" fmla="*/ 12181 w 20025"/>
                      <a:gd name="connsiteY6" fmla="*/ 24887 h 28611"/>
                      <a:gd name="connsiteX7" fmla="*/ 6377 w 20025"/>
                      <a:gd name="connsiteY7" fmla="*/ 28612 h 28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025" h="28611">
                        <a:moveTo>
                          <a:pt x="6377" y="28612"/>
                        </a:moveTo>
                        <a:cubicBezTo>
                          <a:pt x="5485" y="28612"/>
                          <a:pt x="4585" y="28427"/>
                          <a:pt x="3724" y="28031"/>
                        </a:cubicBezTo>
                        <a:cubicBezTo>
                          <a:pt x="523" y="26565"/>
                          <a:pt x="-886" y="22776"/>
                          <a:pt x="580" y="19575"/>
                        </a:cubicBezTo>
                        <a:lnTo>
                          <a:pt x="7844" y="3727"/>
                        </a:lnTo>
                        <a:cubicBezTo>
                          <a:pt x="9311" y="526"/>
                          <a:pt x="13099" y="-890"/>
                          <a:pt x="16301" y="583"/>
                        </a:cubicBezTo>
                        <a:cubicBezTo>
                          <a:pt x="19502" y="2050"/>
                          <a:pt x="20912" y="5838"/>
                          <a:pt x="19445" y="9040"/>
                        </a:cubicBezTo>
                        <a:lnTo>
                          <a:pt x="12181" y="24887"/>
                        </a:lnTo>
                        <a:cubicBezTo>
                          <a:pt x="11103" y="27234"/>
                          <a:pt x="8795" y="28612"/>
                          <a:pt x="6377" y="28612"/>
                        </a:cubicBezTo>
                        <a:close/>
                      </a:path>
                    </a:pathLst>
                  </a:custGeom>
                  <a:grpFill/>
                  <a:ln w="637" cap="flat">
                    <a:noFill/>
                    <a:prstDash val="solid"/>
                    <a:miter/>
                  </a:ln>
                </p:spPr>
                <p:txBody>
                  <a:bodyPr rtlCol="0" anchor="ctr"/>
                  <a:lstStyle/>
                  <a:p>
                    <a:endParaRPr lang="en-GB" dirty="0"/>
                  </a:p>
                </p:txBody>
              </p:sp>
            </p:grpSp>
            <p:sp>
              <p:nvSpPr>
                <p:cNvPr id="819" name="Freeform: Shape 818">
                  <a:extLst>
                    <a:ext uri="{FF2B5EF4-FFF2-40B4-BE49-F238E27FC236}">
                      <a16:creationId xmlns:a16="http://schemas.microsoft.com/office/drawing/2014/main" id="{D3073FD7-AA78-4870-A440-57C1D8427FD1}"/>
                    </a:ext>
                  </a:extLst>
                </p:cNvPr>
                <p:cNvSpPr/>
                <p:nvPr/>
              </p:nvSpPr>
              <p:spPr>
                <a:xfrm>
                  <a:off x="5138630" y="2629264"/>
                  <a:ext cx="37532" cy="37538"/>
                </a:xfrm>
                <a:custGeom>
                  <a:avLst/>
                  <a:gdLst>
                    <a:gd name="connsiteX0" fmla="*/ 18792 w 37532"/>
                    <a:gd name="connsiteY0" fmla="*/ 37539 h 37538"/>
                    <a:gd name="connsiteX1" fmla="*/ 1541 w 37532"/>
                    <a:gd name="connsiteY1" fmla="*/ 26225 h 37538"/>
                    <a:gd name="connsiteX2" fmla="*/ 11317 w 37532"/>
                    <a:gd name="connsiteY2" fmla="*/ 1551 h 37538"/>
                    <a:gd name="connsiteX3" fmla="*/ 25679 w 37532"/>
                    <a:gd name="connsiteY3" fmla="*/ 1328 h 37538"/>
                    <a:gd name="connsiteX4" fmla="*/ 35992 w 37532"/>
                    <a:gd name="connsiteY4" fmla="*/ 11328 h 37538"/>
                    <a:gd name="connsiteX5" fmla="*/ 26215 w 37532"/>
                    <a:gd name="connsiteY5" fmla="*/ 36002 h 37538"/>
                    <a:gd name="connsiteX6" fmla="*/ 18792 w 37532"/>
                    <a:gd name="connsiteY6" fmla="*/ 37539 h 37538"/>
                    <a:gd name="connsiteX7" fmla="*/ 18760 w 37532"/>
                    <a:gd name="connsiteY7" fmla="*/ 12756 h 37538"/>
                    <a:gd name="connsiteX8" fmla="*/ 16375 w 37532"/>
                    <a:gd name="connsiteY8" fmla="*/ 13254 h 37538"/>
                    <a:gd name="connsiteX9" fmla="*/ 13243 w 37532"/>
                    <a:gd name="connsiteY9" fmla="*/ 21155 h 37538"/>
                    <a:gd name="connsiteX10" fmla="*/ 21145 w 37532"/>
                    <a:gd name="connsiteY10" fmla="*/ 24287 h 37538"/>
                    <a:gd name="connsiteX11" fmla="*/ 24276 w 37532"/>
                    <a:gd name="connsiteY11" fmla="*/ 16385 h 37538"/>
                    <a:gd name="connsiteX12" fmla="*/ 20973 w 37532"/>
                    <a:gd name="connsiteY12" fmla="*/ 13183 h 37538"/>
                    <a:gd name="connsiteX13" fmla="*/ 18760 w 37532"/>
                    <a:gd name="connsiteY13" fmla="*/ 12756 h 3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7532" h="37538">
                      <a:moveTo>
                        <a:pt x="18792" y="37539"/>
                      </a:moveTo>
                      <a:cubicBezTo>
                        <a:pt x="11528" y="37539"/>
                        <a:pt x="4602" y="33298"/>
                        <a:pt x="1541" y="26225"/>
                      </a:cubicBezTo>
                      <a:cubicBezTo>
                        <a:pt x="-2566" y="16723"/>
                        <a:pt x="1822" y="5658"/>
                        <a:pt x="11317" y="1551"/>
                      </a:cubicBezTo>
                      <a:cubicBezTo>
                        <a:pt x="15922" y="-439"/>
                        <a:pt x="21018" y="-515"/>
                        <a:pt x="25679" y="1328"/>
                      </a:cubicBezTo>
                      <a:cubicBezTo>
                        <a:pt x="30341" y="3171"/>
                        <a:pt x="34002" y="6730"/>
                        <a:pt x="35992" y="11328"/>
                      </a:cubicBezTo>
                      <a:cubicBezTo>
                        <a:pt x="40099" y="20830"/>
                        <a:pt x="35711" y="31895"/>
                        <a:pt x="26215" y="36002"/>
                      </a:cubicBezTo>
                      <a:cubicBezTo>
                        <a:pt x="23792" y="37041"/>
                        <a:pt x="21273" y="37539"/>
                        <a:pt x="18792" y="37539"/>
                      </a:cubicBezTo>
                      <a:close/>
                      <a:moveTo>
                        <a:pt x="18760" y="12756"/>
                      </a:moveTo>
                      <a:cubicBezTo>
                        <a:pt x="17950" y="12756"/>
                        <a:pt x="17146" y="12922"/>
                        <a:pt x="16375" y="13254"/>
                      </a:cubicBezTo>
                      <a:cubicBezTo>
                        <a:pt x="13333" y="14567"/>
                        <a:pt x="11923" y="18113"/>
                        <a:pt x="13243" y="21155"/>
                      </a:cubicBezTo>
                      <a:cubicBezTo>
                        <a:pt x="14564" y="24197"/>
                        <a:pt x="18122" y="25607"/>
                        <a:pt x="21145" y="24287"/>
                      </a:cubicBezTo>
                      <a:cubicBezTo>
                        <a:pt x="24187" y="22973"/>
                        <a:pt x="25596" y="19427"/>
                        <a:pt x="24276" y="16385"/>
                      </a:cubicBezTo>
                      <a:cubicBezTo>
                        <a:pt x="23639" y="14912"/>
                        <a:pt x="22465" y="13770"/>
                        <a:pt x="20973" y="13183"/>
                      </a:cubicBezTo>
                      <a:cubicBezTo>
                        <a:pt x="20259" y="12897"/>
                        <a:pt x="19512" y="12756"/>
                        <a:pt x="18760" y="12756"/>
                      </a:cubicBezTo>
                      <a:close/>
                    </a:path>
                  </a:pathLst>
                </a:custGeom>
                <a:grpFill/>
                <a:ln w="637" cap="flat">
                  <a:noFill/>
                  <a:prstDash val="solid"/>
                  <a:miter/>
                </a:ln>
              </p:spPr>
              <p:txBody>
                <a:bodyPr rtlCol="0" anchor="ctr"/>
                <a:lstStyle/>
                <a:p>
                  <a:endParaRPr lang="en-GB" dirty="0"/>
                </a:p>
              </p:txBody>
            </p:sp>
            <p:sp>
              <p:nvSpPr>
                <p:cNvPr id="820" name="Freeform: Shape 819">
                  <a:extLst>
                    <a:ext uri="{FF2B5EF4-FFF2-40B4-BE49-F238E27FC236}">
                      <a16:creationId xmlns:a16="http://schemas.microsoft.com/office/drawing/2014/main" id="{D81E9623-C792-4FBE-A792-ABC433570571}"/>
                    </a:ext>
                  </a:extLst>
                </p:cNvPr>
                <p:cNvSpPr/>
                <p:nvPr/>
              </p:nvSpPr>
              <p:spPr>
                <a:xfrm>
                  <a:off x="5154035" y="2551614"/>
                  <a:ext cx="37530" cy="37530"/>
                </a:xfrm>
                <a:custGeom>
                  <a:avLst/>
                  <a:gdLst>
                    <a:gd name="connsiteX0" fmla="*/ 18769 w 37530"/>
                    <a:gd name="connsiteY0" fmla="*/ 37531 h 37530"/>
                    <a:gd name="connsiteX1" fmla="*/ 0 w 37530"/>
                    <a:gd name="connsiteY1" fmla="*/ 18762 h 37530"/>
                    <a:gd name="connsiteX2" fmla="*/ 18769 w 37530"/>
                    <a:gd name="connsiteY2" fmla="*/ 0 h 37530"/>
                    <a:gd name="connsiteX3" fmla="*/ 37531 w 37530"/>
                    <a:gd name="connsiteY3" fmla="*/ 18762 h 37530"/>
                    <a:gd name="connsiteX4" fmla="*/ 18769 w 37530"/>
                    <a:gd name="connsiteY4" fmla="*/ 37531 h 37530"/>
                    <a:gd name="connsiteX5" fmla="*/ 18769 w 37530"/>
                    <a:gd name="connsiteY5" fmla="*/ 12748 h 37530"/>
                    <a:gd name="connsiteX6" fmla="*/ 12755 w 37530"/>
                    <a:gd name="connsiteY6" fmla="*/ 18756 h 37530"/>
                    <a:gd name="connsiteX7" fmla="*/ 18769 w 37530"/>
                    <a:gd name="connsiteY7" fmla="*/ 24770 h 37530"/>
                    <a:gd name="connsiteX8" fmla="*/ 24776 w 37530"/>
                    <a:gd name="connsiteY8" fmla="*/ 18756 h 37530"/>
                    <a:gd name="connsiteX9" fmla="*/ 18769 w 37530"/>
                    <a:gd name="connsiteY9" fmla="*/ 12748 h 37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530" h="37530">
                      <a:moveTo>
                        <a:pt x="18769" y="37531"/>
                      </a:moveTo>
                      <a:cubicBezTo>
                        <a:pt x="8418" y="37531"/>
                        <a:pt x="0" y="29113"/>
                        <a:pt x="0" y="18762"/>
                      </a:cubicBezTo>
                      <a:cubicBezTo>
                        <a:pt x="0" y="8412"/>
                        <a:pt x="8418" y="0"/>
                        <a:pt x="18769" y="0"/>
                      </a:cubicBezTo>
                      <a:cubicBezTo>
                        <a:pt x="29119" y="0"/>
                        <a:pt x="37531" y="8418"/>
                        <a:pt x="37531" y="18762"/>
                      </a:cubicBezTo>
                      <a:cubicBezTo>
                        <a:pt x="37531" y="29106"/>
                        <a:pt x="29119" y="37531"/>
                        <a:pt x="18769" y="37531"/>
                      </a:cubicBezTo>
                      <a:close/>
                      <a:moveTo>
                        <a:pt x="18769" y="12748"/>
                      </a:moveTo>
                      <a:cubicBezTo>
                        <a:pt x="15452" y="12748"/>
                        <a:pt x="12755" y="15446"/>
                        <a:pt x="12755" y="18756"/>
                      </a:cubicBezTo>
                      <a:cubicBezTo>
                        <a:pt x="12755" y="22072"/>
                        <a:pt x="15452" y="24770"/>
                        <a:pt x="18769" y="24770"/>
                      </a:cubicBezTo>
                      <a:cubicBezTo>
                        <a:pt x="22085" y="24770"/>
                        <a:pt x="24776" y="22072"/>
                        <a:pt x="24776" y="18756"/>
                      </a:cubicBezTo>
                      <a:cubicBezTo>
                        <a:pt x="24783" y="15446"/>
                        <a:pt x="22085" y="12748"/>
                        <a:pt x="18769" y="12748"/>
                      </a:cubicBezTo>
                      <a:close/>
                    </a:path>
                  </a:pathLst>
                </a:custGeom>
                <a:grpFill/>
                <a:ln w="637" cap="flat">
                  <a:noFill/>
                  <a:prstDash val="solid"/>
                  <a:miter/>
                </a:ln>
              </p:spPr>
              <p:txBody>
                <a:bodyPr rtlCol="0" anchor="ctr"/>
                <a:lstStyle/>
                <a:p>
                  <a:endParaRPr lang="en-GB" dirty="0"/>
                </a:p>
              </p:txBody>
            </p:sp>
            <p:sp>
              <p:nvSpPr>
                <p:cNvPr id="821" name="Freeform: Shape 820">
                  <a:extLst>
                    <a:ext uri="{FF2B5EF4-FFF2-40B4-BE49-F238E27FC236}">
                      <a16:creationId xmlns:a16="http://schemas.microsoft.com/office/drawing/2014/main" id="{7F9529E7-C6A7-4A6C-8852-926A735E3F27}"/>
                    </a:ext>
                  </a:extLst>
                </p:cNvPr>
                <p:cNvSpPr/>
                <p:nvPr/>
              </p:nvSpPr>
              <p:spPr>
                <a:xfrm>
                  <a:off x="5210526" y="2615044"/>
                  <a:ext cx="43595" cy="43595"/>
                </a:xfrm>
                <a:custGeom>
                  <a:avLst/>
                  <a:gdLst>
                    <a:gd name="connsiteX0" fmla="*/ 21798 w 43595"/>
                    <a:gd name="connsiteY0" fmla="*/ 43596 h 43595"/>
                    <a:gd name="connsiteX1" fmla="*/ 0 w 43595"/>
                    <a:gd name="connsiteY1" fmla="*/ 21798 h 43595"/>
                    <a:gd name="connsiteX2" fmla="*/ 21798 w 43595"/>
                    <a:gd name="connsiteY2" fmla="*/ 0 h 43595"/>
                    <a:gd name="connsiteX3" fmla="*/ 43596 w 43595"/>
                    <a:gd name="connsiteY3" fmla="*/ 21798 h 43595"/>
                    <a:gd name="connsiteX4" fmla="*/ 21798 w 43595"/>
                    <a:gd name="connsiteY4" fmla="*/ 43596 h 43595"/>
                    <a:gd name="connsiteX5" fmla="*/ 21798 w 43595"/>
                    <a:gd name="connsiteY5" fmla="*/ 12755 h 43595"/>
                    <a:gd name="connsiteX6" fmla="*/ 12755 w 43595"/>
                    <a:gd name="connsiteY6" fmla="*/ 21798 h 43595"/>
                    <a:gd name="connsiteX7" fmla="*/ 21798 w 43595"/>
                    <a:gd name="connsiteY7" fmla="*/ 30841 h 43595"/>
                    <a:gd name="connsiteX8" fmla="*/ 30841 w 43595"/>
                    <a:gd name="connsiteY8" fmla="*/ 21798 h 43595"/>
                    <a:gd name="connsiteX9" fmla="*/ 21798 w 43595"/>
                    <a:gd name="connsiteY9" fmla="*/ 12755 h 4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595" h="43595">
                      <a:moveTo>
                        <a:pt x="21798" y="43596"/>
                      </a:moveTo>
                      <a:cubicBezTo>
                        <a:pt x="9777" y="43596"/>
                        <a:pt x="0" y="33819"/>
                        <a:pt x="0" y="21798"/>
                      </a:cubicBezTo>
                      <a:cubicBezTo>
                        <a:pt x="0" y="9777"/>
                        <a:pt x="9777" y="0"/>
                        <a:pt x="21798" y="0"/>
                      </a:cubicBezTo>
                      <a:cubicBezTo>
                        <a:pt x="33819" y="0"/>
                        <a:pt x="43596" y="9783"/>
                        <a:pt x="43596" y="21798"/>
                      </a:cubicBezTo>
                      <a:cubicBezTo>
                        <a:pt x="43596" y="33819"/>
                        <a:pt x="33819" y="43596"/>
                        <a:pt x="21798" y="43596"/>
                      </a:cubicBezTo>
                      <a:close/>
                      <a:moveTo>
                        <a:pt x="21798" y="12755"/>
                      </a:moveTo>
                      <a:cubicBezTo>
                        <a:pt x="16811" y="12755"/>
                        <a:pt x="12755" y="16811"/>
                        <a:pt x="12755" y="21798"/>
                      </a:cubicBezTo>
                      <a:cubicBezTo>
                        <a:pt x="12755" y="26785"/>
                        <a:pt x="16811" y="30841"/>
                        <a:pt x="21798" y="30841"/>
                      </a:cubicBezTo>
                      <a:cubicBezTo>
                        <a:pt x="26785" y="30841"/>
                        <a:pt x="30841" y="26785"/>
                        <a:pt x="30841" y="21798"/>
                      </a:cubicBezTo>
                      <a:cubicBezTo>
                        <a:pt x="30841" y="16811"/>
                        <a:pt x="26785" y="12755"/>
                        <a:pt x="21798" y="12755"/>
                      </a:cubicBezTo>
                      <a:close/>
                    </a:path>
                  </a:pathLst>
                </a:custGeom>
                <a:grpFill/>
                <a:ln w="637" cap="flat">
                  <a:noFill/>
                  <a:prstDash val="solid"/>
                  <a:miter/>
                </a:ln>
              </p:spPr>
              <p:txBody>
                <a:bodyPr rtlCol="0" anchor="ctr"/>
                <a:lstStyle/>
                <a:p>
                  <a:endParaRPr lang="en-GB" dirty="0"/>
                </a:p>
              </p:txBody>
            </p:sp>
          </p:grpSp>
          <p:grpSp>
            <p:nvGrpSpPr>
              <p:cNvPr id="792" name="Graphic 32">
                <a:extLst>
                  <a:ext uri="{FF2B5EF4-FFF2-40B4-BE49-F238E27FC236}">
                    <a16:creationId xmlns:a16="http://schemas.microsoft.com/office/drawing/2014/main" id="{85F39E63-D118-425F-A7DF-B3F3C594EB92}"/>
                  </a:ext>
                </a:extLst>
              </p:cNvPr>
              <p:cNvGrpSpPr/>
              <p:nvPr/>
            </p:nvGrpSpPr>
            <p:grpSpPr>
              <a:xfrm>
                <a:off x="5303154" y="2453374"/>
                <a:ext cx="173552" cy="213588"/>
                <a:chOff x="5303154" y="2453374"/>
                <a:chExt cx="173552" cy="213588"/>
              </a:xfrm>
              <a:grpFill/>
            </p:grpSpPr>
            <p:sp>
              <p:nvSpPr>
                <p:cNvPr id="795" name="Freeform: Shape 794">
                  <a:extLst>
                    <a:ext uri="{FF2B5EF4-FFF2-40B4-BE49-F238E27FC236}">
                      <a16:creationId xmlns:a16="http://schemas.microsoft.com/office/drawing/2014/main" id="{701790AE-06A4-43D5-8FAB-B8BEE4E06B74}"/>
                    </a:ext>
                  </a:extLst>
                </p:cNvPr>
                <p:cNvSpPr/>
                <p:nvPr/>
              </p:nvSpPr>
              <p:spPr>
                <a:xfrm>
                  <a:off x="5303154" y="2493264"/>
                  <a:ext cx="133639" cy="133667"/>
                </a:xfrm>
                <a:custGeom>
                  <a:avLst/>
                  <a:gdLst>
                    <a:gd name="connsiteX0" fmla="*/ 66763 w 133639"/>
                    <a:gd name="connsiteY0" fmla="*/ 133667 h 133667"/>
                    <a:gd name="connsiteX1" fmla="*/ 65315 w 133639"/>
                    <a:gd name="connsiteY1" fmla="*/ 133655 h 133667"/>
                    <a:gd name="connsiteX2" fmla="*/ 59078 w 133639"/>
                    <a:gd name="connsiteY2" fmla="*/ 127137 h 133667"/>
                    <a:gd name="connsiteX3" fmla="*/ 65595 w 133639"/>
                    <a:gd name="connsiteY3" fmla="*/ 120900 h 133667"/>
                    <a:gd name="connsiteX4" fmla="*/ 77489 w 133639"/>
                    <a:gd name="connsiteY4" fmla="*/ 119835 h 133667"/>
                    <a:gd name="connsiteX5" fmla="*/ 119810 w 133639"/>
                    <a:gd name="connsiteY5" fmla="*/ 56144 h 133667"/>
                    <a:gd name="connsiteX6" fmla="*/ 56125 w 133639"/>
                    <a:gd name="connsiteY6" fmla="*/ 13830 h 133667"/>
                    <a:gd name="connsiteX7" fmla="*/ 34117 w 133639"/>
                    <a:gd name="connsiteY7" fmla="*/ 23747 h 133667"/>
                    <a:gd name="connsiteX8" fmla="*/ 13805 w 133639"/>
                    <a:gd name="connsiteY8" fmla="*/ 77521 h 133667"/>
                    <a:gd name="connsiteX9" fmla="*/ 8811 w 133639"/>
                    <a:gd name="connsiteY9" fmla="*/ 85033 h 133667"/>
                    <a:gd name="connsiteX10" fmla="*/ 1299 w 133639"/>
                    <a:gd name="connsiteY10" fmla="*/ 80040 h 133667"/>
                    <a:gd name="connsiteX11" fmla="*/ 26400 w 133639"/>
                    <a:gd name="connsiteY11" fmla="*/ 13594 h 133667"/>
                    <a:gd name="connsiteX12" fmla="*/ 53600 w 133639"/>
                    <a:gd name="connsiteY12" fmla="*/ 1324 h 133667"/>
                    <a:gd name="connsiteX13" fmla="*/ 132316 w 133639"/>
                    <a:gd name="connsiteY13" fmla="*/ 53625 h 133667"/>
                    <a:gd name="connsiteX14" fmla="*/ 80015 w 133639"/>
                    <a:gd name="connsiteY14" fmla="*/ 132341 h 133667"/>
                    <a:gd name="connsiteX15" fmla="*/ 66763 w 133639"/>
                    <a:gd name="connsiteY15" fmla="*/ 133667 h 133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3639" h="133667">
                      <a:moveTo>
                        <a:pt x="66763" y="133667"/>
                      </a:moveTo>
                      <a:cubicBezTo>
                        <a:pt x="66278" y="133667"/>
                        <a:pt x="65800" y="133661"/>
                        <a:pt x="65315" y="133655"/>
                      </a:cubicBezTo>
                      <a:cubicBezTo>
                        <a:pt x="61795" y="133578"/>
                        <a:pt x="59001" y="130657"/>
                        <a:pt x="59078" y="127137"/>
                      </a:cubicBezTo>
                      <a:cubicBezTo>
                        <a:pt x="59154" y="123617"/>
                        <a:pt x="62037" y="120855"/>
                        <a:pt x="65595" y="120900"/>
                      </a:cubicBezTo>
                      <a:cubicBezTo>
                        <a:pt x="69549" y="120996"/>
                        <a:pt x="73561" y="120632"/>
                        <a:pt x="77489" y="119835"/>
                      </a:cubicBezTo>
                      <a:cubicBezTo>
                        <a:pt x="106717" y="113942"/>
                        <a:pt x="125702" y="85372"/>
                        <a:pt x="119810" y="56144"/>
                      </a:cubicBezTo>
                      <a:cubicBezTo>
                        <a:pt x="113923" y="26916"/>
                        <a:pt x="85327" y="7937"/>
                        <a:pt x="56125" y="13830"/>
                      </a:cubicBezTo>
                      <a:cubicBezTo>
                        <a:pt x="48032" y="15463"/>
                        <a:pt x="40628" y="18798"/>
                        <a:pt x="34117" y="23747"/>
                      </a:cubicBezTo>
                      <a:cubicBezTo>
                        <a:pt x="17708" y="36221"/>
                        <a:pt x="9736" y="57330"/>
                        <a:pt x="13805" y="77521"/>
                      </a:cubicBezTo>
                      <a:cubicBezTo>
                        <a:pt x="14500" y="80977"/>
                        <a:pt x="12268" y="84338"/>
                        <a:pt x="8811" y="85033"/>
                      </a:cubicBezTo>
                      <a:cubicBezTo>
                        <a:pt x="5348" y="85703"/>
                        <a:pt x="1994" y="83497"/>
                        <a:pt x="1299" y="80040"/>
                      </a:cubicBezTo>
                      <a:cubicBezTo>
                        <a:pt x="-3733" y="55085"/>
                        <a:pt x="6114" y="29008"/>
                        <a:pt x="26400" y="13594"/>
                      </a:cubicBezTo>
                      <a:cubicBezTo>
                        <a:pt x="34455" y="7472"/>
                        <a:pt x="43606" y="3345"/>
                        <a:pt x="53600" y="1324"/>
                      </a:cubicBezTo>
                      <a:cubicBezTo>
                        <a:pt x="89702" y="-5953"/>
                        <a:pt x="125026" y="17503"/>
                        <a:pt x="132316" y="53625"/>
                      </a:cubicBezTo>
                      <a:cubicBezTo>
                        <a:pt x="139592" y="89746"/>
                        <a:pt x="116130" y="125058"/>
                        <a:pt x="80015" y="132341"/>
                      </a:cubicBezTo>
                      <a:cubicBezTo>
                        <a:pt x="75640" y="133221"/>
                        <a:pt x="71188" y="133667"/>
                        <a:pt x="66763" y="133667"/>
                      </a:cubicBezTo>
                      <a:close/>
                    </a:path>
                  </a:pathLst>
                </a:custGeom>
                <a:grpFill/>
                <a:ln w="637" cap="flat">
                  <a:noFill/>
                  <a:prstDash val="solid"/>
                  <a:miter/>
                </a:ln>
              </p:spPr>
              <p:txBody>
                <a:bodyPr rtlCol="0" anchor="ctr"/>
                <a:lstStyle/>
                <a:p>
                  <a:endParaRPr lang="en-GB" dirty="0"/>
                </a:p>
              </p:txBody>
            </p:sp>
            <p:grpSp>
              <p:nvGrpSpPr>
                <p:cNvPr id="796" name="Graphic 32">
                  <a:extLst>
                    <a:ext uri="{FF2B5EF4-FFF2-40B4-BE49-F238E27FC236}">
                      <a16:creationId xmlns:a16="http://schemas.microsoft.com/office/drawing/2014/main" id="{C7600C78-8391-403C-8D3F-2221A3ECFC2C}"/>
                    </a:ext>
                  </a:extLst>
                </p:cNvPr>
                <p:cNvGrpSpPr/>
                <p:nvPr/>
              </p:nvGrpSpPr>
              <p:grpSpPr>
                <a:xfrm>
                  <a:off x="5422966" y="2521643"/>
                  <a:ext cx="53740" cy="39652"/>
                  <a:chOff x="5422966" y="2521643"/>
                  <a:chExt cx="53740" cy="39652"/>
                </a:xfrm>
                <a:grpFill/>
              </p:grpSpPr>
              <p:sp>
                <p:nvSpPr>
                  <p:cNvPr id="816" name="Freeform: Shape 815">
                    <a:extLst>
                      <a:ext uri="{FF2B5EF4-FFF2-40B4-BE49-F238E27FC236}">
                        <a16:creationId xmlns:a16="http://schemas.microsoft.com/office/drawing/2014/main" id="{7D08F271-DE6B-4703-8BC3-0E534737A8BA}"/>
                      </a:ext>
                    </a:extLst>
                  </p:cNvPr>
                  <p:cNvSpPr/>
                  <p:nvPr/>
                </p:nvSpPr>
                <p:spPr>
                  <a:xfrm>
                    <a:off x="5441482" y="2521643"/>
                    <a:ext cx="35224" cy="39652"/>
                  </a:xfrm>
                  <a:custGeom>
                    <a:avLst/>
                    <a:gdLst>
                      <a:gd name="connsiteX0" fmla="*/ 20594 w 35224"/>
                      <a:gd name="connsiteY0" fmla="*/ 39652 h 39652"/>
                      <a:gd name="connsiteX1" fmla="*/ 9287 w 35224"/>
                      <a:gd name="connsiteY1" fmla="*/ 36094 h 39652"/>
                      <a:gd name="connsiteX2" fmla="*/ 308 w 35224"/>
                      <a:gd name="connsiteY2" fmla="*/ 23932 h 39652"/>
                      <a:gd name="connsiteX3" fmla="*/ 16149 w 35224"/>
                      <a:gd name="connsiteY3" fmla="*/ 285 h 39652"/>
                      <a:gd name="connsiteX4" fmla="*/ 29637 w 35224"/>
                      <a:gd name="connsiteY4" fmla="*/ 5470 h 39652"/>
                      <a:gd name="connsiteX5" fmla="*/ 34612 w 35224"/>
                      <a:gd name="connsiteY5" fmla="*/ 16840 h 39652"/>
                      <a:gd name="connsiteX6" fmla="*/ 34235 w 35224"/>
                      <a:gd name="connsiteY6" fmla="*/ 29487 h 39652"/>
                      <a:gd name="connsiteX7" fmla="*/ 23738 w 35224"/>
                      <a:gd name="connsiteY7" fmla="*/ 39340 h 39652"/>
                      <a:gd name="connsiteX8" fmla="*/ 20594 w 35224"/>
                      <a:gd name="connsiteY8" fmla="*/ 39652 h 39652"/>
                      <a:gd name="connsiteX9" fmla="*/ 18923 w 35224"/>
                      <a:gd name="connsiteY9" fmla="*/ 12753 h 39652"/>
                      <a:gd name="connsiteX10" fmla="*/ 18732 w 35224"/>
                      <a:gd name="connsiteY10" fmla="*/ 12778 h 39652"/>
                      <a:gd name="connsiteX11" fmla="*/ 12801 w 35224"/>
                      <a:gd name="connsiteY11" fmla="*/ 21349 h 39652"/>
                      <a:gd name="connsiteX12" fmla="*/ 16194 w 35224"/>
                      <a:gd name="connsiteY12" fmla="*/ 25367 h 39652"/>
                      <a:gd name="connsiteX13" fmla="*/ 21162 w 35224"/>
                      <a:gd name="connsiteY13" fmla="*/ 26840 h 39652"/>
                      <a:gd name="connsiteX14" fmla="*/ 22086 w 35224"/>
                      <a:gd name="connsiteY14" fmla="*/ 25603 h 39652"/>
                      <a:gd name="connsiteX15" fmla="*/ 22118 w 35224"/>
                      <a:gd name="connsiteY15" fmla="*/ 19417 h 39652"/>
                      <a:gd name="connsiteX16" fmla="*/ 18923 w 35224"/>
                      <a:gd name="connsiteY16" fmla="*/ 12753 h 39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224" h="39652">
                        <a:moveTo>
                          <a:pt x="20594" y="39652"/>
                        </a:moveTo>
                        <a:cubicBezTo>
                          <a:pt x="16876" y="39652"/>
                          <a:pt x="12897" y="38422"/>
                          <a:pt x="9287" y="36094"/>
                        </a:cubicBezTo>
                        <a:cubicBezTo>
                          <a:pt x="4549" y="33039"/>
                          <a:pt x="1277" y="28607"/>
                          <a:pt x="308" y="23932"/>
                        </a:cubicBezTo>
                        <a:cubicBezTo>
                          <a:pt x="-1688" y="14251"/>
                          <a:pt x="6309" y="2325"/>
                          <a:pt x="16149" y="285"/>
                        </a:cubicBezTo>
                        <a:cubicBezTo>
                          <a:pt x="21232" y="-768"/>
                          <a:pt x="26142" y="1127"/>
                          <a:pt x="29637" y="5470"/>
                        </a:cubicBezTo>
                        <a:cubicBezTo>
                          <a:pt x="32558" y="9098"/>
                          <a:pt x="33955" y="13658"/>
                          <a:pt x="34612" y="16840"/>
                        </a:cubicBezTo>
                        <a:cubicBezTo>
                          <a:pt x="35543" y="21343"/>
                          <a:pt x="35409" y="25833"/>
                          <a:pt x="34235" y="29487"/>
                        </a:cubicBezTo>
                        <a:cubicBezTo>
                          <a:pt x="32565" y="34716"/>
                          <a:pt x="28738" y="38307"/>
                          <a:pt x="23738" y="39340"/>
                        </a:cubicBezTo>
                        <a:cubicBezTo>
                          <a:pt x="22724" y="39550"/>
                          <a:pt x="21672" y="39652"/>
                          <a:pt x="20594" y="39652"/>
                        </a:cubicBezTo>
                        <a:close/>
                        <a:moveTo>
                          <a:pt x="18923" y="12753"/>
                        </a:moveTo>
                        <a:lnTo>
                          <a:pt x="18732" y="12778"/>
                        </a:lnTo>
                        <a:cubicBezTo>
                          <a:pt x="15900" y="13365"/>
                          <a:pt x="12240" y="18645"/>
                          <a:pt x="12801" y="21349"/>
                        </a:cubicBezTo>
                        <a:cubicBezTo>
                          <a:pt x="13069" y="22631"/>
                          <a:pt x="14395" y="24213"/>
                          <a:pt x="16194" y="25367"/>
                        </a:cubicBezTo>
                        <a:cubicBezTo>
                          <a:pt x="18209" y="26674"/>
                          <a:pt x="20186" y="27063"/>
                          <a:pt x="21162" y="26840"/>
                        </a:cubicBezTo>
                        <a:cubicBezTo>
                          <a:pt x="21391" y="26796"/>
                          <a:pt x="21729" y="26725"/>
                          <a:pt x="22086" y="25603"/>
                        </a:cubicBezTo>
                        <a:cubicBezTo>
                          <a:pt x="22584" y="24047"/>
                          <a:pt x="22597" y="21738"/>
                          <a:pt x="22118" y="19417"/>
                        </a:cubicBezTo>
                        <a:cubicBezTo>
                          <a:pt x="21181" y="14870"/>
                          <a:pt x="19421" y="12912"/>
                          <a:pt x="18923" y="12753"/>
                        </a:cubicBezTo>
                        <a:close/>
                      </a:path>
                    </a:pathLst>
                  </a:custGeom>
                  <a:grpFill/>
                  <a:ln w="637" cap="flat">
                    <a:noFill/>
                    <a:prstDash val="solid"/>
                    <a:miter/>
                  </a:ln>
                </p:spPr>
                <p:txBody>
                  <a:bodyPr rtlCol="0" anchor="ctr"/>
                  <a:lstStyle/>
                  <a:p>
                    <a:endParaRPr lang="en-GB" dirty="0"/>
                  </a:p>
                </p:txBody>
              </p:sp>
              <p:sp>
                <p:nvSpPr>
                  <p:cNvPr id="817" name="Freeform: Shape 816">
                    <a:extLst>
                      <a:ext uri="{FF2B5EF4-FFF2-40B4-BE49-F238E27FC236}">
                        <a16:creationId xmlns:a16="http://schemas.microsoft.com/office/drawing/2014/main" id="{48475F18-3B67-4DE2-A25D-0C3F222A0F49}"/>
                      </a:ext>
                    </a:extLst>
                  </p:cNvPr>
                  <p:cNvSpPr/>
                  <p:nvPr/>
                </p:nvSpPr>
                <p:spPr>
                  <a:xfrm>
                    <a:off x="5422966" y="2537904"/>
                    <a:ext cx="31449" cy="16624"/>
                  </a:xfrm>
                  <a:custGeom>
                    <a:avLst/>
                    <a:gdLst>
                      <a:gd name="connsiteX0" fmla="*/ 6375 w 31449"/>
                      <a:gd name="connsiteY0" fmla="*/ 16625 h 16624"/>
                      <a:gd name="connsiteX1" fmla="*/ 132 w 31449"/>
                      <a:gd name="connsiteY1" fmla="*/ 11536 h 16624"/>
                      <a:gd name="connsiteX2" fmla="*/ 5087 w 31449"/>
                      <a:gd name="connsiteY2" fmla="*/ 3998 h 16624"/>
                      <a:gd name="connsiteX3" fmla="*/ 23779 w 31449"/>
                      <a:gd name="connsiteY3" fmla="*/ 139 h 16624"/>
                      <a:gd name="connsiteX4" fmla="*/ 31317 w 31449"/>
                      <a:gd name="connsiteY4" fmla="*/ 5094 h 16624"/>
                      <a:gd name="connsiteX5" fmla="*/ 26362 w 31449"/>
                      <a:gd name="connsiteY5" fmla="*/ 12633 h 16624"/>
                      <a:gd name="connsiteX6" fmla="*/ 7670 w 31449"/>
                      <a:gd name="connsiteY6" fmla="*/ 16491 h 16624"/>
                      <a:gd name="connsiteX7" fmla="*/ 6375 w 31449"/>
                      <a:gd name="connsiteY7" fmla="*/ 16625 h 1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49" h="16624">
                        <a:moveTo>
                          <a:pt x="6375" y="16625"/>
                        </a:moveTo>
                        <a:cubicBezTo>
                          <a:pt x="3416" y="16625"/>
                          <a:pt x="757" y="14552"/>
                          <a:pt x="132" y="11536"/>
                        </a:cubicBezTo>
                        <a:cubicBezTo>
                          <a:pt x="-576" y="8085"/>
                          <a:pt x="1637" y="4712"/>
                          <a:pt x="5087" y="3998"/>
                        </a:cubicBezTo>
                        <a:lnTo>
                          <a:pt x="23779" y="139"/>
                        </a:lnTo>
                        <a:cubicBezTo>
                          <a:pt x="27204" y="-594"/>
                          <a:pt x="30603" y="1644"/>
                          <a:pt x="31317" y="5094"/>
                        </a:cubicBezTo>
                        <a:cubicBezTo>
                          <a:pt x="32025" y="8545"/>
                          <a:pt x="29812" y="11918"/>
                          <a:pt x="26362" y="12633"/>
                        </a:cubicBezTo>
                        <a:lnTo>
                          <a:pt x="7670" y="16491"/>
                        </a:lnTo>
                        <a:cubicBezTo>
                          <a:pt x="7236" y="16586"/>
                          <a:pt x="6803" y="16625"/>
                          <a:pt x="6375" y="16625"/>
                        </a:cubicBezTo>
                        <a:close/>
                      </a:path>
                    </a:pathLst>
                  </a:custGeom>
                  <a:grpFill/>
                  <a:ln w="637" cap="flat">
                    <a:noFill/>
                    <a:prstDash val="solid"/>
                    <a:miter/>
                  </a:ln>
                </p:spPr>
                <p:txBody>
                  <a:bodyPr rtlCol="0" anchor="ctr"/>
                  <a:lstStyle/>
                  <a:p>
                    <a:endParaRPr lang="en-GB" dirty="0"/>
                  </a:p>
                </p:txBody>
              </p:sp>
            </p:grpSp>
            <p:grpSp>
              <p:nvGrpSpPr>
                <p:cNvPr id="797" name="Graphic 32">
                  <a:extLst>
                    <a:ext uri="{FF2B5EF4-FFF2-40B4-BE49-F238E27FC236}">
                      <a16:creationId xmlns:a16="http://schemas.microsoft.com/office/drawing/2014/main" id="{6466E9CA-A8EC-4EC2-AFD2-FA85F6D6AAB4}"/>
                    </a:ext>
                  </a:extLst>
                </p:cNvPr>
                <p:cNvGrpSpPr/>
                <p:nvPr/>
              </p:nvGrpSpPr>
              <p:grpSpPr>
                <a:xfrm>
                  <a:off x="5331864" y="2453374"/>
                  <a:ext cx="108838" cy="62769"/>
                  <a:chOff x="5331864" y="2453374"/>
                  <a:chExt cx="108838" cy="62769"/>
                </a:xfrm>
                <a:grpFill/>
              </p:grpSpPr>
              <p:grpSp>
                <p:nvGrpSpPr>
                  <p:cNvPr id="810" name="Graphic 32">
                    <a:extLst>
                      <a:ext uri="{FF2B5EF4-FFF2-40B4-BE49-F238E27FC236}">
                        <a16:creationId xmlns:a16="http://schemas.microsoft.com/office/drawing/2014/main" id="{BFF1FE63-F03B-4B33-AE56-3B7803C0869B}"/>
                      </a:ext>
                    </a:extLst>
                  </p:cNvPr>
                  <p:cNvGrpSpPr/>
                  <p:nvPr/>
                </p:nvGrpSpPr>
                <p:grpSpPr>
                  <a:xfrm>
                    <a:off x="5331864" y="2453374"/>
                    <a:ext cx="39486" cy="53840"/>
                    <a:chOff x="5331864" y="2453374"/>
                    <a:chExt cx="39486" cy="53840"/>
                  </a:xfrm>
                  <a:grpFill/>
                </p:grpSpPr>
                <p:sp>
                  <p:nvSpPr>
                    <p:cNvPr id="814" name="Freeform: Shape 813">
                      <a:extLst>
                        <a:ext uri="{FF2B5EF4-FFF2-40B4-BE49-F238E27FC236}">
                          <a16:creationId xmlns:a16="http://schemas.microsoft.com/office/drawing/2014/main" id="{58F4B20A-ECEE-4A28-B32C-14EA2A848954}"/>
                        </a:ext>
                      </a:extLst>
                    </p:cNvPr>
                    <p:cNvSpPr/>
                    <p:nvPr/>
                  </p:nvSpPr>
                  <p:spPr>
                    <a:xfrm>
                      <a:off x="5331864" y="2453374"/>
                      <a:ext cx="39486" cy="35308"/>
                    </a:xfrm>
                    <a:custGeom>
                      <a:avLst/>
                      <a:gdLst>
                        <a:gd name="connsiteX0" fmla="*/ 20521 w 39486"/>
                        <a:gd name="connsiteY0" fmla="*/ 35308 h 35308"/>
                        <a:gd name="connsiteX1" fmla="*/ 8933 w 39486"/>
                        <a:gd name="connsiteY1" fmla="*/ 31514 h 35308"/>
                        <a:gd name="connsiteX2" fmla="*/ 279 w 39486"/>
                        <a:gd name="connsiteY2" fmla="*/ 19479 h 35308"/>
                        <a:gd name="connsiteX3" fmla="*/ 16720 w 39486"/>
                        <a:gd name="connsiteY3" fmla="*/ 666 h 35308"/>
                        <a:gd name="connsiteX4" fmla="*/ 39187 w 39486"/>
                        <a:gd name="connsiteY4" fmla="*/ 11163 h 35308"/>
                        <a:gd name="connsiteX5" fmla="*/ 35916 w 39486"/>
                        <a:gd name="connsiteY5" fmla="*/ 25755 h 35308"/>
                        <a:gd name="connsiteX6" fmla="*/ 23646 w 39486"/>
                        <a:gd name="connsiteY6" fmla="*/ 35002 h 35308"/>
                        <a:gd name="connsiteX7" fmla="*/ 20521 w 39486"/>
                        <a:gd name="connsiteY7" fmla="*/ 35308 h 35308"/>
                        <a:gd name="connsiteX8" fmla="*/ 23046 w 39486"/>
                        <a:gd name="connsiteY8" fmla="*/ 12764 h 35308"/>
                        <a:gd name="connsiteX9" fmla="*/ 19233 w 39486"/>
                        <a:gd name="connsiteY9" fmla="*/ 13172 h 35308"/>
                        <a:gd name="connsiteX10" fmla="*/ 12779 w 39486"/>
                        <a:gd name="connsiteY10" fmla="*/ 16960 h 35308"/>
                        <a:gd name="connsiteX11" fmla="*/ 16082 w 39486"/>
                        <a:gd name="connsiteY11" fmla="*/ 20953 h 35308"/>
                        <a:gd name="connsiteX12" fmla="*/ 21114 w 39486"/>
                        <a:gd name="connsiteY12" fmla="*/ 22496 h 35308"/>
                        <a:gd name="connsiteX13" fmla="*/ 25106 w 39486"/>
                        <a:gd name="connsiteY13" fmla="*/ 18969 h 35308"/>
                        <a:gd name="connsiteX14" fmla="*/ 26675 w 39486"/>
                        <a:gd name="connsiteY14" fmla="*/ 13682 h 35308"/>
                        <a:gd name="connsiteX15" fmla="*/ 26675 w 39486"/>
                        <a:gd name="connsiteY15" fmla="*/ 13682 h 35308"/>
                        <a:gd name="connsiteX16" fmla="*/ 26618 w 39486"/>
                        <a:gd name="connsiteY16" fmla="*/ 13491 h 35308"/>
                        <a:gd name="connsiteX17" fmla="*/ 23046 w 39486"/>
                        <a:gd name="connsiteY17" fmla="*/ 12764 h 35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486" h="35308">
                          <a:moveTo>
                            <a:pt x="20521" y="35308"/>
                          </a:moveTo>
                          <a:cubicBezTo>
                            <a:pt x="16669" y="35308"/>
                            <a:pt x="12587" y="33988"/>
                            <a:pt x="8933" y="31514"/>
                          </a:cubicBezTo>
                          <a:cubicBezTo>
                            <a:pt x="4348" y="28408"/>
                            <a:pt x="1197" y="24020"/>
                            <a:pt x="279" y="19479"/>
                          </a:cubicBezTo>
                          <a:cubicBezTo>
                            <a:pt x="-1488" y="10710"/>
                            <a:pt x="5272" y="2981"/>
                            <a:pt x="16720" y="666"/>
                          </a:cubicBezTo>
                          <a:cubicBezTo>
                            <a:pt x="28595" y="-1713"/>
                            <a:pt x="37414" y="2394"/>
                            <a:pt x="39187" y="11163"/>
                          </a:cubicBezTo>
                          <a:cubicBezTo>
                            <a:pt x="40099" y="15678"/>
                            <a:pt x="38907" y="20997"/>
                            <a:pt x="35916" y="25755"/>
                          </a:cubicBezTo>
                          <a:cubicBezTo>
                            <a:pt x="32823" y="30678"/>
                            <a:pt x="28346" y="34052"/>
                            <a:pt x="23646" y="35002"/>
                          </a:cubicBezTo>
                          <a:cubicBezTo>
                            <a:pt x="22632" y="35206"/>
                            <a:pt x="21586" y="35308"/>
                            <a:pt x="20521" y="35308"/>
                          </a:cubicBezTo>
                          <a:close/>
                          <a:moveTo>
                            <a:pt x="23046" y="12764"/>
                          </a:moveTo>
                          <a:cubicBezTo>
                            <a:pt x="22000" y="12764"/>
                            <a:pt x="20731" y="12872"/>
                            <a:pt x="19233" y="13172"/>
                          </a:cubicBezTo>
                          <a:cubicBezTo>
                            <a:pt x="15393" y="13950"/>
                            <a:pt x="12562" y="15876"/>
                            <a:pt x="12779" y="16960"/>
                          </a:cubicBezTo>
                          <a:cubicBezTo>
                            <a:pt x="12976" y="17936"/>
                            <a:pt x="14092" y="19601"/>
                            <a:pt x="16082" y="20953"/>
                          </a:cubicBezTo>
                          <a:cubicBezTo>
                            <a:pt x="17849" y="22151"/>
                            <a:pt x="19845" y="22757"/>
                            <a:pt x="21114" y="22496"/>
                          </a:cubicBezTo>
                          <a:cubicBezTo>
                            <a:pt x="22128" y="22292"/>
                            <a:pt x="23754" y="21125"/>
                            <a:pt x="25106" y="18969"/>
                          </a:cubicBezTo>
                          <a:cubicBezTo>
                            <a:pt x="26413" y="16884"/>
                            <a:pt x="26885" y="14735"/>
                            <a:pt x="26675" y="13682"/>
                          </a:cubicBezTo>
                          <a:cubicBezTo>
                            <a:pt x="26675" y="13682"/>
                            <a:pt x="26675" y="13682"/>
                            <a:pt x="26675" y="13682"/>
                          </a:cubicBezTo>
                          <a:cubicBezTo>
                            <a:pt x="26656" y="13568"/>
                            <a:pt x="26624" y="13504"/>
                            <a:pt x="26618" y="13491"/>
                          </a:cubicBezTo>
                          <a:cubicBezTo>
                            <a:pt x="26394" y="13230"/>
                            <a:pt x="25195" y="12764"/>
                            <a:pt x="23046" y="12764"/>
                          </a:cubicBezTo>
                          <a:close/>
                        </a:path>
                      </a:pathLst>
                    </a:custGeom>
                    <a:grpFill/>
                    <a:ln w="637" cap="flat">
                      <a:noFill/>
                      <a:prstDash val="solid"/>
                      <a:miter/>
                    </a:ln>
                  </p:spPr>
                  <p:txBody>
                    <a:bodyPr rtlCol="0" anchor="ctr"/>
                    <a:lstStyle/>
                    <a:p>
                      <a:endParaRPr lang="en-GB" dirty="0"/>
                    </a:p>
                  </p:txBody>
                </p:sp>
                <p:sp>
                  <p:nvSpPr>
                    <p:cNvPr id="815" name="Freeform: Shape 814">
                      <a:extLst>
                        <a:ext uri="{FF2B5EF4-FFF2-40B4-BE49-F238E27FC236}">
                          <a16:creationId xmlns:a16="http://schemas.microsoft.com/office/drawing/2014/main" id="{04D5FCC1-944A-4C86-B432-D5ED3891B9C0}"/>
                        </a:ext>
                      </a:extLst>
                    </p:cNvPr>
                    <p:cNvSpPr/>
                    <p:nvPr/>
                  </p:nvSpPr>
                  <p:spPr>
                    <a:xfrm>
                      <a:off x="5347858" y="2475749"/>
                      <a:ext cx="16535" cy="31465"/>
                    </a:xfrm>
                    <a:custGeom>
                      <a:avLst/>
                      <a:gdLst>
                        <a:gd name="connsiteX0" fmla="*/ 10146 w 16535"/>
                        <a:gd name="connsiteY0" fmla="*/ 31465 h 31465"/>
                        <a:gd name="connsiteX1" fmla="*/ 3902 w 16535"/>
                        <a:gd name="connsiteY1" fmla="*/ 26351 h 31465"/>
                        <a:gd name="connsiteX2" fmla="*/ 127 w 16535"/>
                        <a:gd name="connsiteY2" fmla="*/ 7639 h 31465"/>
                        <a:gd name="connsiteX3" fmla="*/ 5120 w 16535"/>
                        <a:gd name="connsiteY3" fmla="*/ 127 h 31465"/>
                        <a:gd name="connsiteX4" fmla="*/ 12633 w 16535"/>
                        <a:gd name="connsiteY4" fmla="*/ 5120 h 31465"/>
                        <a:gd name="connsiteX5" fmla="*/ 16408 w 16535"/>
                        <a:gd name="connsiteY5" fmla="*/ 23832 h 31465"/>
                        <a:gd name="connsiteX6" fmla="*/ 11415 w 16535"/>
                        <a:gd name="connsiteY6" fmla="*/ 31344 h 31465"/>
                        <a:gd name="connsiteX7" fmla="*/ 10146 w 16535"/>
                        <a:gd name="connsiteY7" fmla="*/ 31465 h 31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35" h="31465">
                          <a:moveTo>
                            <a:pt x="10146" y="31465"/>
                          </a:moveTo>
                          <a:cubicBezTo>
                            <a:pt x="7174" y="31465"/>
                            <a:pt x="4508" y="29374"/>
                            <a:pt x="3902" y="26351"/>
                          </a:cubicBezTo>
                          <a:lnTo>
                            <a:pt x="127" y="7639"/>
                          </a:lnTo>
                          <a:cubicBezTo>
                            <a:pt x="-568" y="4183"/>
                            <a:pt x="1664" y="822"/>
                            <a:pt x="5120" y="127"/>
                          </a:cubicBezTo>
                          <a:cubicBezTo>
                            <a:pt x="8577" y="-568"/>
                            <a:pt x="11938" y="1664"/>
                            <a:pt x="12633" y="5120"/>
                          </a:cubicBezTo>
                          <a:lnTo>
                            <a:pt x="16408" y="23832"/>
                          </a:lnTo>
                          <a:cubicBezTo>
                            <a:pt x="17103" y="27288"/>
                            <a:pt x="14871" y="30649"/>
                            <a:pt x="11415" y="31344"/>
                          </a:cubicBezTo>
                          <a:cubicBezTo>
                            <a:pt x="10988" y="31427"/>
                            <a:pt x="10560" y="31465"/>
                            <a:pt x="10146" y="31465"/>
                          </a:cubicBezTo>
                          <a:close/>
                        </a:path>
                      </a:pathLst>
                    </a:custGeom>
                    <a:grpFill/>
                    <a:ln w="637" cap="flat">
                      <a:noFill/>
                      <a:prstDash val="solid"/>
                      <a:miter/>
                    </a:ln>
                  </p:spPr>
                  <p:txBody>
                    <a:bodyPr rtlCol="0" anchor="ctr"/>
                    <a:lstStyle/>
                    <a:p>
                      <a:endParaRPr lang="en-GB" dirty="0"/>
                    </a:p>
                  </p:txBody>
                </p:sp>
              </p:grpSp>
              <p:grpSp>
                <p:nvGrpSpPr>
                  <p:cNvPr id="811" name="Graphic 32">
                    <a:extLst>
                      <a:ext uri="{FF2B5EF4-FFF2-40B4-BE49-F238E27FC236}">
                        <a16:creationId xmlns:a16="http://schemas.microsoft.com/office/drawing/2014/main" id="{3F031378-D59C-4AB3-9AFD-8A6FB244BE4E}"/>
                      </a:ext>
                    </a:extLst>
                  </p:cNvPr>
                  <p:cNvGrpSpPr/>
                  <p:nvPr/>
                </p:nvGrpSpPr>
                <p:grpSpPr>
                  <a:xfrm>
                    <a:off x="5397220" y="2465597"/>
                    <a:ext cx="43482" cy="50546"/>
                    <a:chOff x="5397220" y="2465597"/>
                    <a:chExt cx="43482" cy="50546"/>
                  </a:xfrm>
                  <a:grpFill/>
                </p:grpSpPr>
                <p:sp>
                  <p:nvSpPr>
                    <p:cNvPr id="812" name="Freeform: Shape 811">
                      <a:extLst>
                        <a:ext uri="{FF2B5EF4-FFF2-40B4-BE49-F238E27FC236}">
                          <a16:creationId xmlns:a16="http://schemas.microsoft.com/office/drawing/2014/main" id="{0FA30502-E20E-4EFD-85C1-90EE1F0EAA51}"/>
                        </a:ext>
                      </a:extLst>
                    </p:cNvPr>
                    <p:cNvSpPr/>
                    <p:nvPr/>
                  </p:nvSpPr>
                  <p:spPr>
                    <a:xfrm>
                      <a:off x="5402271" y="2465597"/>
                      <a:ext cx="38431" cy="36337"/>
                    </a:xfrm>
                    <a:custGeom>
                      <a:avLst/>
                      <a:gdLst>
                        <a:gd name="connsiteX0" fmla="*/ 18276 w 38431"/>
                        <a:gd name="connsiteY0" fmla="*/ 36338 h 36337"/>
                        <a:gd name="connsiteX1" fmla="*/ 8366 w 38431"/>
                        <a:gd name="connsiteY1" fmla="*/ 33583 h 36337"/>
                        <a:gd name="connsiteX2" fmla="*/ 432 w 38431"/>
                        <a:gd name="connsiteY2" fmla="*/ 20713 h 36337"/>
                        <a:gd name="connsiteX3" fmla="*/ 2824 w 38431"/>
                        <a:gd name="connsiteY3" fmla="*/ 6090 h 36337"/>
                        <a:gd name="connsiteX4" fmla="*/ 27753 w 38431"/>
                        <a:gd name="connsiteY4" fmla="*/ 4412 h 36337"/>
                        <a:gd name="connsiteX5" fmla="*/ 36445 w 38431"/>
                        <a:gd name="connsiteY5" fmla="*/ 13271 h 36337"/>
                        <a:gd name="connsiteX6" fmla="*/ 36216 w 38431"/>
                        <a:gd name="connsiteY6" fmla="*/ 27715 h 36337"/>
                        <a:gd name="connsiteX7" fmla="*/ 23588 w 38431"/>
                        <a:gd name="connsiteY7" fmla="*/ 35725 h 36337"/>
                        <a:gd name="connsiteX8" fmla="*/ 18276 w 38431"/>
                        <a:gd name="connsiteY8" fmla="*/ 36338 h 36337"/>
                        <a:gd name="connsiteX9" fmla="*/ 14641 w 38431"/>
                        <a:gd name="connsiteY9" fmla="*/ 12741 h 36337"/>
                        <a:gd name="connsiteX10" fmla="*/ 13442 w 38431"/>
                        <a:gd name="connsiteY10" fmla="*/ 13149 h 36337"/>
                        <a:gd name="connsiteX11" fmla="*/ 12957 w 38431"/>
                        <a:gd name="connsiteY11" fmla="*/ 18309 h 36337"/>
                        <a:gd name="connsiteX12" fmla="*/ 15419 w 38431"/>
                        <a:gd name="connsiteY12" fmla="*/ 22958 h 36337"/>
                        <a:gd name="connsiteX13" fmla="*/ 20738 w 38431"/>
                        <a:gd name="connsiteY13" fmla="*/ 23289 h 36337"/>
                        <a:gd name="connsiteX14" fmla="*/ 25585 w 38431"/>
                        <a:gd name="connsiteY14" fmla="*/ 20656 h 36337"/>
                        <a:gd name="connsiteX15" fmla="*/ 25680 w 38431"/>
                        <a:gd name="connsiteY15" fmla="*/ 20477 h 36337"/>
                        <a:gd name="connsiteX16" fmla="*/ 20687 w 38431"/>
                        <a:gd name="connsiteY16" fmla="*/ 15031 h 36337"/>
                        <a:gd name="connsiteX17" fmla="*/ 14641 w 38431"/>
                        <a:gd name="connsiteY17" fmla="*/ 12741 h 3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431" h="36337">
                          <a:moveTo>
                            <a:pt x="18276" y="36338"/>
                          </a:moveTo>
                          <a:cubicBezTo>
                            <a:pt x="14552" y="36338"/>
                            <a:pt x="11102" y="35400"/>
                            <a:pt x="8366" y="33583"/>
                          </a:cubicBezTo>
                          <a:cubicBezTo>
                            <a:pt x="4386" y="30942"/>
                            <a:pt x="1497" y="26255"/>
                            <a:pt x="432" y="20713"/>
                          </a:cubicBezTo>
                          <a:cubicBezTo>
                            <a:pt x="-614" y="15273"/>
                            <a:pt x="260" y="9948"/>
                            <a:pt x="2824" y="6090"/>
                          </a:cubicBezTo>
                          <a:cubicBezTo>
                            <a:pt x="7779" y="-1359"/>
                            <a:pt x="18027" y="-2042"/>
                            <a:pt x="27753" y="4412"/>
                          </a:cubicBezTo>
                          <a:cubicBezTo>
                            <a:pt x="30457" y="6211"/>
                            <a:pt x="34162" y="9208"/>
                            <a:pt x="36445" y="13271"/>
                          </a:cubicBezTo>
                          <a:cubicBezTo>
                            <a:pt x="39168" y="18130"/>
                            <a:pt x="39092" y="23398"/>
                            <a:pt x="36216" y="27715"/>
                          </a:cubicBezTo>
                          <a:cubicBezTo>
                            <a:pt x="33665" y="31555"/>
                            <a:pt x="29060" y="34475"/>
                            <a:pt x="23588" y="35725"/>
                          </a:cubicBezTo>
                          <a:cubicBezTo>
                            <a:pt x="21790" y="36134"/>
                            <a:pt x="20004" y="36338"/>
                            <a:pt x="18276" y="36338"/>
                          </a:cubicBezTo>
                          <a:close/>
                          <a:moveTo>
                            <a:pt x="14641" y="12741"/>
                          </a:moveTo>
                          <a:cubicBezTo>
                            <a:pt x="14048" y="12741"/>
                            <a:pt x="13627" y="12875"/>
                            <a:pt x="13442" y="13149"/>
                          </a:cubicBezTo>
                          <a:cubicBezTo>
                            <a:pt x="12894" y="13978"/>
                            <a:pt x="12505" y="15943"/>
                            <a:pt x="12957" y="18309"/>
                          </a:cubicBezTo>
                          <a:cubicBezTo>
                            <a:pt x="13359" y="20407"/>
                            <a:pt x="14329" y="22237"/>
                            <a:pt x="15419" y="22958"/>
                          </a:cubicBezTo>
                          <a:cubicBezTo>
                            <a:pt x="16286" y="23532"/>
                            <a:pt x="18251" y="23857"/>
                            <a:pt x="20738" y="23289"/>
                          </a:cubicBezTo>
                          <a:cubicBezTo>
                            <a:pt x="23136" y="22741"/>
                            <a:pt x="24991" y="21548"/>
                            <a:pt x="25585" y="20656"/>
                          </a:cubicBezTo>
                          <a:cubicBezTo>
                            <a:pt x="25655" y="20554"/>
                            <a:pt x="25680" y="20490"/>
                            <a:pt x="25680" y="20477"/>
                          </a:cubicBezTo>
                          <a:cubicBezTo>
                            <a:pt x="25719" y="19967"/>
                            <a:pt x="24564" y="17607"/>
                            <a:pt x="20687" y="15031"/>
                          </a:cubicBezTo>
                          <a:cubicBezTo>
                            <a:pt x="18397" y="13507"/>
                            <a:pt x="16044" y="12741"/>
                            <a:pt x="14641" y="12741"/>
                          </a:cubicBezTo>
                          <a:close/>
                        </a:path>
                      </a:pathLst>
                    </a:custGeom>
                    <a:grpFill/>
                    <a:ln w="637" cap="flat">
                      <a:noFill/>
                      <a:prstDash val="solid"/>
                      <a:miter/>
                    </a:ln>
                  </p:spPr>
                  <p:txBody>
                    <a:bodyPr rtlCol="0" anchor="ctr"/>
                    <a:lstStyle/>
                    <a:p>
                      <a:endParaRPr lang="en-GB" dirty="0"/>
                    </a:p>
                  </p:txBody>
                </p:sp>
                <p:sp>
                  <p:nvSpPr>
                    <p:cNvPr id="813" name="Freeform: Shape 812">
                      <a:extLst>
                        <a:ext uri="{FF2B5EF4-FFF2-40B4-BE49-F238E27FC236}">
                          <a16:creationId xmlns:a16="http://schemas.microsoft.com/office/drawing/2014/main" id="{9602193C-519E-473A-9371-664D023FFCCD}"/>
                        </a:ext>
                      </a:extLst>
                    </p:cNvPr>
                    <p:cNvSpPr/>
                    <p:nvPr/>
                  </p:nvSpPr>
                  <p:spPr>
                    <a:xfrm>
                      <a:off x="5397220" y="2487491"/>
                      <a:ext cx="23312" cy="28652"/>
                    </a:xfrm>
                    <a:custGeom>
                      <a:avLst/>
                      <a:gdLst>
                        <a:gd name="connsiteX0" fmla="*/ 6369 w 23312"/>
                        <a:gd name="connsiteY0" fmla="*/ 28652 h 28652"/>
                        <a:gd name="connsiteX1" fmla="*/ 2849 w 23312"/>
                        <a:gd name="connsiteY1" fmla="*/ 27587 h 28652"/>
                        <a:gd name="connsiteX2" fmla="*/ 1063 w 23312"/>
                        <a:gd name="connsiteY2" fmla="*/ 18748 h 28652"/>
                        <a:gd name="connsiteX3" fmla="*/ 11624 w 23312"/>
                        <a:gd name="connsiteY3" fmla="*/ 2849 h 28652"/>
                        <a:gd name="connsiteX4" fmla="*/ 20464 w 23312"/>
                        <a:gd name="connsiteY4" fmla="*/ 1064 h 28652"/>
                        <a:gd name="connsiteX5" fmla="*/ 22249 w 23312"/>
                        <a:gd name="connsiteY5" fmla="*/ 9903 h 28652"/>
                        <a:gd name="connsiteX6" fmla="*/ 11688 w 23312"/>
                        <a:gd name="connsiteY6" fmla="*/ 25801 h 28652"/>
                        <a:gd name="connsiteX7" fmla="*/ 6369 w 23312"/>
                        <a:gd name="connsiteY7" fmla="*/ 28652 h 28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12" h="28652">
                          <a:moveTo>
                            <a:pt x="6369" y="28652"/>
                          </a:moveTo>
                          <a:cubicBezTo>
                            <a:pt x="5158" y="28652"/>
                            <a:pt x="3933" y="28308"/>
                            <a:pt x="2849" y="27587"/>
                          </a:cubicBezTo>
                          <a:cubicBezTo>
                            <a:pt x="-84" y="25636"/>
                            <a:pt x="-882" y="21682"/>
                            <a:pt x="1063" y="18748"/>
                          </a:cubicBezTo>
                          <a:lnTo>
                            <a:pt x="11624" y="2849"/>
                          </a:lnTo>
                          <a:cubicBezTo>
                            <a:pt x="13570" y="-84"/>
                            <a:pt x="17530" y="-882"/>
                            <a:pt x="20464" y="1064"/>
                          </a:cubicBezTo>
                          <a:cubicBezTo>
                            <a:pt x="23397" y="3015"/>
                            <a:pt x="24194" y="6969"/>
                            <a:pt x="22249" y="9903"/>
                          </a:cubicBezTo>
                          <a:lnTo>
                            <a:pt x="11688" y="25801"/>
                          </a:lnTo>
                          <a:cubicBezTo>
                            <a:pt x="10464" y="27651"/>
                            <a:pt x="8436" y="28652"/>
                            <a:pt x="6369" y="28652"/>
                          </a:cubicBezTo>
                          <a:close/>
                        </a:path>
                      </a:pathLst>
                    </a:custGeom>
                    <a:grpFill/>
                    <a:ln w="637" cap="flat">
                      <a:noFill/>
                      <a:prstDash val="solid"/>
                      <a:miter/>
                    </a:ln>
                  </p:spPr>
                  <p:txBody>
                    <a:bodyPr rtlCol="0" anchor="ctr"/>
                    <a:lstStyle/>
                    <a:p>
                      <a:endParaRPr lang="en-GB" dirty="0"/>
                    </a:p>
                  </p:txBody>
                </p:sp>
              </p:grpSp>
            </p:grpSp>
            <p:grpSp>
              <p:nvGrpSpPr>
                <p:cNvPr id="798" name="Graphic 32">
                  <a:extLst>
                    <a:ext uri="{FF2B5EF4-FFF2-40B4-BE49-F238E27FC236}">
                      <a16:creationId xmlns:a16="http://schemas.microsoft.com/office/drawing/2014/main" id="{B8C1BE93-AC23-4326-B6DE-61D308CFC2BB}"/>
                    </a:ext>
                  </a:extLst>
                </p:cNvPr>
                <p:cNvGrpSpPr/>
                <p:nvPr/>
              </p:nvGrpSpPr>
              <p:grpSpPr>
                <a:xfrm>
                  <a:off x="5368647" y="2587321"/>
                  <a:ext cx="96348" cy="79641"/>
                  <a:chOff x="5368647" y="2587321"/>
                  <a:chExt cx="96348" cy="79641"/>
                </a:xfrm>
                <a:grpFill/>
              </p:grpSpPr>
              <p:grpSp>
                <p:nvGrpSpPr>
                  <p:cNvPr id="804" name="Graphic 32">
                    <a:extLst>
                      <a:ext uri="{FF2B5EF4-FFF2-40B4-BE49-F238E27FC236}">
                        <a16:creationId xmlns:a16="http://schemas.microsoft.com/office/drawing/2014/main" id="{36A6362C-958A-4C0F-93A9-0896B75D11A7}"/>
                      </a:ext>
                    </a:extLst>
                  </p:cNvPr>
                  <p:cNvGrpSpPr/>
                  <p:nvPr/>
                </p:nvGrpSpPr>
                <p:grpSpPr>
                  <a:xfrm>
                    <a:off x="5368647" y="2613212"/>
                    <a:ext cx="39664" cy="53750"/>
                    <a:chOff x="5368647" y="2613212"/>
                    <a:chExt cx="39664" cy="53750"/>
                  </a:xfrm>
                  <a:grpFill/>
                </p:grpSpPr>
                <p:sp>
                  <p:nvSpPr>
                    <p:cNvPr id="808" name="Freeform: Shape 807">
                      <a:extLst>
                        <a:ext uri="{FF2B5EF4-FFF2-40B4-BE49-F238E27FC236}">
                          <a16:creationId xmlns:a16="http://schemas.microsoft.com/office/drawing/2014/main" id="{BDC3A65A-51CF-4F14-880A-02A8BDD31CEC}"/>
                        </a:ext>
                      </a:extLst>
                    </p:cNvPr>
                    <p:cNvSpPr/>
                    <p:nvPr/>
                  </p:nvSpPr>
                  <p:spPr>
                    <a:xfrm>
                      <a:off x="5368647" y="2631757"/>
                      <a:ext cx="39664" cy="35205"/>
                    </a:xfrm>
                    <a:custGeom>
                      <a:avLst/>
                      <a:gdLst>
                        <a:gd name="connsiteX0" fmla="*/ 17009 w 39664"/>
                        <a:gd name="connsiteY0" fmla="*/ 35205 h 35205"/>
                        <a:gd name="connsiteX1" fmla="*/ 10102 w 39664"/>
                        <a:gd name="connsiteY1" fmla="*/ 34191 h 35205"/>
                        <a:gd name="connsiteX2" fmla="*/ 300 w 39664"/>
                        <a:gd name="connsiteY2" fmla="*/ 23649 h 35205"/>
                        <a:gd name="connsiteX3" fmla="*/ 3616 w 39664"/>
                        <a:gd name="connsiteY3" fmla="*/ 9211 h 35205"/>
                        <a:gd name="connsiteX4" fmla="*/ 15829 w 39664"/>
                        <a:gd name="connsiteY4" fmla="*/ 295 h 35205"/>
                        <a:gd name="connsiteX5" fmla="*/ 39394 w 39664"/>
                        <a:gd name="connsiteY5" fmla="*/ 16245 h 35205"/>
                        <a:gd name="connsiteX6" fmla="*/ 39394 w 39664"/>
                        <a:gd name="connsiteY6" fmla="*/ 16252 h 35205"/>
                        <a:gd name="connsiteX7" fmla="*/ 34145 w 39664"/>
                        <a:gd name="connsiteY7" fmla="*/ 29708 h 35205"/>
                        <a:gd name="connsiteX8" fmla="*/ 22749 w 39664"/>
                        <a:gd name="connsiteY8" fmla="*/ 34625 h 35205"/>
                        <a:gd name="connsiteX9" fmla="*/ 17009 w 39664"/>
                        <a:gd name="connsiteY9" fmla="*/ 35205 h 35205"/>
                        <a:gd name="connsiteX10" fmla="*/ 18922 w 39664"/>
                        <a:gd name="connsiteY10" fmla="*/ 12738 h 35205"/>
                        <a:gd name="connsiteX11" fmla="*/ 18348 w 39664"/>
                        <a:gd name="connsiteY11" fmla="*/ 12795 h 35205"/>
                        <a:gd name="connsiteX12" fmla="*/ 14311 w 39664"/>
                        <a:gd name="connsiteY12" fmla="*/ 16169 h 35205"/>
                        <a:gd name="connsiteX13" fmla="*/ 12813 w 39664"/>
                        <a:gd name="connsiteY13" fmla="*/ 21130 h 35205"/>
                        <a:gd name="connsiteX14" fmla="*/ 14050 w 39664"/>
                        <a:gd name="connsiteY14" fmla="*/ 22061 h 35205"/>
                        <a:gd name="connsiteX15" fmla="*/ 20230 w 39664"/>
                        <a:gd name="connsiteY15" fmla="*/ 22119 h 35205"/>
                        <a:gd name="connsiteX16" fmla="*/ 26913 w 39664"/>
                        <a:gd name="connsiteY16" fmla="*/ 18956 h 35205"/>
                        <a:gd name="connsiteX17" fmla="*/ 33144 w 39664"/>
                        <a:gd name="connsiteY17" fmla="*/ 17502 h 35205"/>
                        <a:gd name="connsiteX18" fmla="*/ 26894 w 39664"/>
                        <a:gd name="connsiteY18" fmla="*/ 18764 h 35205"/>
                        <a:gd name="connsiteX19" fmla="*/ 18922 w 39664"/>
                        <a:gd name="connsiteY19" fmla="*/ 12738 h 35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9664" h="35205">
                          <a:moveTo>
                            <a:pt x="17009" y="35205"/>
                          </a:moveTo>
                          <a:cubicBezTo>
                            <a:pt x="14535" y="35205"/>
                            <a:pt x="12188" y="34867"/>
                            <a:pt x="10102" y="34191"/>
                          </a:cubicBezTo>
                          <a:cubicBezTo>
                            <a:pt x="4886" y="32495"/>
                            <a:pt x="1314" y="28649"/>
                            <a:pt x="300" y="23649"/>
                          </a:cubicBezTo>
                          <a:cubicBezTo>
                            <a:pt x="-618" y="19115"/>
                            <a:pt x="594" y="13854"/>
                            <a:pt x="3616" y="9211"/>
                          </a:cubicBezTo>
                          <a:cubicBezTo>
                            <a:pt x="6690" y="4485"/>
                            <a:pt x="11142" y="1239"/>
                            <a:pt x="15829" y="295"/>
                          </a:cubicBezTo>
                          <a:cubicBezTo>
                            <a:pt x="25523" y="-1663"/>
                            <a:pt x="37404" y="6392"/>
                            <a:pt x="39394" y="16245"/>
                          </a:cubicBezTo>
                          <a:cubicBezTo>
                            <a:pt x="39394" y="16245"/>
                            <a:pt x="39394" y="16245"/>
                            <a:pt x="39394" y="16252"/>
                          </a:cubicBezTo>
                          <a:cubicBezTo>
                            <a:pt x="40420" y="21334"/>
                            <a:pt x="38501" y="26239"/>
                            <a:pt x="34145" y="29708"/>
                          </a:cubicBezTo>
                          <a:cubicBezTo>
                            <a:pt x="30497" y="32616"/>
                            <a:pt x="25931" y="33987"/>
                            <a:pt x="22749" y="34625"/>
                          </a:cubicBezTo>
                          <a:cubicBezTo>
                            <a:pt x="20810" y="35007"/>
                            <a:pt x="18878" y="35205"/>
                            <a:pt x="17009" y="35205"/>
                          </a:cubicBezTo>
                          <a:close/>
                          <a:moveTo>
                            <a:pt x="18922" y="12738"/>
                          </a:moveTo>
                          <a:cubicBezTo>
                            <a:pt x="18718" y="12738"/>
                            <a:pt x="18527" y="12757"/>
                            <a:pt x="18348" y="12795"/>
                          </a:cubicBezTo>
                          <a:cubicBezTo>
                            <a:pt x="17060" y="13056"/>
                            <a:pt x="15472" y="14377"/>
                            <a:pt x="14311" y="16169"/>
                          </a:cubicBezTo>
                          <a:cubicBezTo>
                            <a:pt x="12998" y="18184"/>
                            <a:pt x="12615" y="20155"/>
                            <a:pt x="12813" y="21130"/>
                          </a:cubicBezTo>
                          <a:cubicBezTo>
                            <a:pt x="12857" y="21360"/>
                            <a:pt x="12927" y="21698"/>
                            <a:pt x="14050" y="22061"/>
                          </a:cubicBezTo>
                          <a:cubicBezTo>
                            <a:pt x="15606" y="22572"/>
                            <a:pt x="17915" y="22591"/>
                            <a:pt x="20230" y="22119"/>
                          </a:cubicBezTo>
                          <a:cubicBezTo>
                            <a:pt x="24796" y="21200"/>
                            <a:pt x="26754" y="19453"/>
                            <a:pt x="26913" y="18956"/>
                          </a:cubicBezTo>
                          <a:lnTo>
                            <a:pt x="33144" y="17502"/>
                          </a:lnTo>
                          <a:lnTo>
                            <a:pt x="26894" y="18764"/>
                          </a:lnTo>
                          <a:cubicBezTo>
                            <a:pt x="26352" y="16118"/>
                            <a:pt x="21735" y="12738"/>
                            <a:pt x="18922" y="12738"/>
                          </a:cubicBezTo>
                          <a:close/>
                        </a:path>
                      </a:pathLst>
                    </a:custGeom>
                    <a:grpFill/>
                    <a:ln w="637" cap="flat">
                      <a:noFill/>
                      <a:prstDash val="solid"/>
                      <a:miter/>
                    </a:ln>
                  </p:spPr>
                  <p:txBody>
                    <a:bodyPr rtlCol="0" anchor="ctr"/>
                    <a:lstStyle/>
                    <a:p>
                      <a:endParaRPr lang="en-GB" dirty="0"/>
                    </a:p>
                  </p:txBody>
                </p:sp>
                <p:sp>
                  <p:nvSpPr>
                    <p:cNvPr id="809" name="Freeform: Shape 808">
                      <a:extLst>
                        <a:ext uri="{FF2B5EF4-FFF2-40B4-BE49-F238E27FC236}">
                          <a16:creationId xmlns:a16="http://schemas.microsoft.com/office/drawing/2014/main" id="{2B60F977-AF66-4FFE-8305-1E88EF1BF208}"/>
                        </a:ext>
                      </a:extLst>
                    </p:cNvPr>
                    <p:cNvSpPr/>
                    <p:nvPr/>
                  </p:nvSpPr>
                  <p:spPr>
                    <a:xfrm>
                      <a:off x="5375574" y="2613212"/>
                      <a:ext cx="16528" cy="31461"/>
                    </a:xfrm>
                    <a:custGeom>
                      <a:avLst/>
                      <a:gdLst>
                        <a:gd name="connsiteX0" fmla="*/ 10139 w 16528"/>
                        <a:gd name="connsiteY0" fmla="*/ 31461 h 31461"/>
                        <a:gd name="connsiteX1" fmla="*/ 3896 w 16528"/>
                        <a:gd name="connsiteY1" fmla="*/ 26347 h 31461"/>
                        <a:gd name="connsiteX2" fmla="*/ 127 w 16528"/>
                        <a:gd name="connsiteY2" fmla="*/ 7636 h 31461"/>
                        <a:gd name="connsiteX3" fmla="*/ 5120 w 16528"/>
                        <a:gd name="connsiteY3" fmla="*/ 123 h 31461"/>
                        <a:gd name="connsiteX4" fmla="*/ 12633 w 16528"/>
                        <a:gd name="connsiteY4" fmla="*/ 5116 h 31461"/>
                        <a:gd name="connsiteX5" fmla="*/ 16402 w 16528"/>
                        <a:gd name="connsiteY5" fmla="*/ 23828 h 31461"/>
                        <a:gd name="connsiteX6" fmla="*/ 11408 w 16528"/>
                        <a:gd name="connsiteY6" fmla="*/ 31340 h 31461"/>
                        <a:gd name="connsiteX7" fmla="*/ 10139 w 16528"/>
                        <a:gd name="connsiteY7" fmla="*/ 31461 h 31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528" h="31461">
                          <a:moveTo>
                            <a:pt x="10139" y="31461"/>
                          </a:moveTo>
                          <a:cubicBezTo>
                            <a:pt x="7167" y="31461"/>
                            <a:pt x="4501" y="29370"/>
                            <a:pt x="3896" y="26347"/>
                          </a:cubicBezTo>
                          <a:lnTo>
                            <a:pt x="127" y="7636"/>
                          </a:lnTo>
                          <a:cubicBezTo>
                            <a:pt x="-569" y="4179"/>
                            <a:pt x="1670" y="818"/>
                            <a:pt x="5120" y="123"/>
                          </a:cubicBezTo>
                          <a:cubicBezTo>
                            <a:pt x="8577" y="-559"/>
                            <a:pt x="11937" y="1666"/>
                            <a:pt x="12633" y="5116"/>
                          </a:cubicBezTo>
                          <a:lnTo>
                            <a:pt x="16402" y="23828"/>
                          </a:lnTo>
                          <a:cubicBezTo>
                            <a:pt x="17097" y="27284"/>
                            <a:pt x="14858" y="30645"/>
                            <a:pt x="11408" y="31340"/>
                          </a:cubicBezTo>
                          <a:cubicBezTo>
                            <a:pt x="10981" y="31423"/>
                            <a:pt x="10560" y="31461"/>
                            <a:pt x="10139" y="31461"/>
                          </a:cubicBezTo>
                          <a:close/>
                        </a:path>
                      </a:pathLst>
                    </a:custGeom>
                    <a:grpFill/>
                    <a:ln w="637" cap="flat">
                      <a:noFill/>
                      <a:prstDash val="solid"/>
                      <a:miter/>
                    </a:ln>
                  </p:spPr>
                  <p:txBody>
                    <a:bodyPr rtlCol="0" anchor="ctr"/>
                    <a:lstStyle/>
                    <a:p>
                      <a:endParaRPr lang="en-GB" dirty="0"/>
                    </a:p>
                  </p:txBody>
                </p:sp>
              </p:grpSp>
              <p:grpSp>
                <p:nvGrpSpPr>
                  <p:cNvPr id="805" name="Graphic 32">
                    <a:extLst>
                      <a:ext uri="{FF2B5EF4-FFF2-40B4-BE49-F238E27FC236}">
                        <a16:creationId xmlns:a16="http://schemas.microsoft.com/office/drawing/2014/main" id="{11650A0A-967D-48BE-A25A-F905D3E1440F}"/>
                      </a:ext>
                    </a:extLst>
                  </p:cNvPr>
                  <p:cNvGrpSpPr/>
                  <p:nvPr/>
                </p:nvGrpSpPr>
                <p:grpSpPr>
                  <a:xfrm>
                    <a:off x="5414145" y="2587321"/>
                    <a:ext cx="50849" cy="43162"/>
                    <a:chOff x="5414145" y="2587321"/>
                    <a:chExt cx="50849" cy="43162"/>
                  </a:xfrm>
                  <a:grpFill/>
                </p:grpSpPr>
                <p:sp>
                  <p:nvSpPr>
                    <p:cNvPr id="806" name="Freeform: Shape 805">
                      <a:extLst>
                        <a:ext uri="{FF2B5EF4-FFF2-40B4-BE49-F238E27FC236}">
                          <a16:creationId xmlns:a16="http://schemas.microsoft.com/office/drawing/2014/main" id="{C8419650-5CF8-4856-A576-256087EC6881}"/>
                        </a:ext>
                      </a:extLst>
                    </p:cNvPr>
                    <p:cNvSpPr/>
                    <p:nvPr/>
                  </p:nvSpPr>
                  <p:spPr>
                    <a:xfrm>
                      <a:off x="5428274" y="2592470"/>
                      <a:ext cx="36721" cy="38012"/>
                    </a:xfrm>
                    <a:custGeom>
                      <a:avLst/>
                      <a:gdLst>
                        <a:gd name="connsiteX0" fmla="*/ 15793 w 36721"/>
                        <a:gd name="connsiteY0" fmla="*/ 38013 h 38012"/>
                        <a:gd name="connsiteX1" fmla="*/ 8382 w 36721"/>
                        <a:gd name="connsiteY1" fmla="*/ 35743 h 38012"/>
                        <a:gd name="connsiteX2" fmla="*/ 512 w 36721"/>
                        <a:gd name="connsiteY2" fmla="*/ 23185 h 38012"/>
                        <a:gd name="connsiteX3" fmla="*/ 2840 w 36721"/>
                        <a:gd name="connsiteY3" fmla="*/ 8243 h 38012"/>
                        <a:gd name="connsiteX4" fmla="*/ 16035 w 36721"/>
                        <a:gd name="connsiteY4" fmla="*/ 374 h 38012"/>
                        <a:gd name="connsiteX5" fmla="*/ 30779 w 36721"/>
                        <a:gd name="connsiteY5" fmla="*/ 2861 h 38012"/>
                        <a:gd name="connsiteX6" fmla="*/ 32010 w 36721"/>
                        <a:gd name="connsiteY6" fmla="*/ 27624 h 38012"/>
                        <a:gd name="connsiteX7" fmla="*/ 15793 w 36721"/>
                        <a:gd name="connsiteY7" fmla="*/ 38013 h 38012"/>
                        <a:gd name="connsiteX8" fmla="*/ 20301 w 36721"/>
                        <a:gd name="connsiteY8" fmla="*/ 12765 h 38012"/>
                        <a:gd name="connsiteX9" fmla="*/ 18241 w 36721"/>
                        <a:gd name="connsiteY9" fmla="*/ 12943 h 38012"/>
                        <a:gd name="connsiteX10" fmla="*/ 13465 w 36721"/>
                        <a:gd name="connsiteY10" fmla="*/ 15309 h 38012"/>
                        <a:gd name="connsiteX11" fmla="*/ 12993 w 36721"/>
                        <a:gd name="connsiteY11" fmla="*/ 20552 h 38012"/>
                        <a:gd name="connsiteX12" fmla="*/ 15435 w 36721"/>
                        <a:gd name="connsiteY12" fmla="*/ 25118 h 38012"/>
                        <a:gd name="connsiteX13" fmla="*/ 21385 w 36721"/>
                        <a:gd name="connsiteY13" fmla="*/ 20571 h 38012"/>
                        <a:gd name="connsiteX14" fmla="*/ 23879 w 36721"/>
                        <a:gd name="connsiteY14" fmla="*/ 13607 h 38012"/>
                        <a:gd name="connsiteX15" fmla="*/ 23726 w 36721"/>
                        <a:gd name="connsiteY15" fmla="*/ 13485 h 38012"/>
                        <a:gd name="connsiteX16" fmla="*/ 20301 w 36721"/>
                        <a:gd name="connsiteY16" fmla="*/ 12765 h 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721" h="38012">
                          <a:moveTo>
                            <a:pt x="15793" y="38013"/>
                          </a:moveTo>
                          <a:cubicBezTo>
                            <a:pt x="13216" y="38013"/>
                            <a:pt x="10691" y="37273"/>
                            <a:pt x="8382" y="35743"/>
                          </a:cubicBezTo>
                          <a:cubicBezTo>
                            <a:pt x="4530" y="33179"/>
                            <a:pt x="1660" y="28606"/>
                            <a:pt x="512" y="23185"/>
                          </a:cubicBezTo>
                          <a:cubicBezTo>
                            <a:pt x="-655" y="17669"/>
                            <a:pt x="193" y="12223"/>
                            <a:pt x="2840" y="8243"/>
                          </a:cubicBezTo>
                          <a:cubicBezTo>
                            <a:pt x="5499" y="4251"/>
                            <a:pt x="10308" y="1381"/>
                            <a:pt x="16035" y="374"/>
                          </a:cubicBezTo>
                          <a:cubicBezTo>
                            <a:pt x="21570" y="-583"/>
                            <a:pt x="26947" y="316"/>
                            <a:pt x="30779" y="2861"/>
                          </a:cubicBezTo>
                          <a:cubicBezTo>
                            <a:pt x="38228" y="7810"/>
                            <a:pt x="38713" y="17535"/>
                            <a:pt x="32010" y="27624"/>
                          </a:cubicBezTo>
                          <a:cubicBezTo>
                            <a:pt x="27546" y="34346"/>
                            <a:pt x="21532" y="38013"/>
                            <a:pt x="15793" y="38013"/>
                          </a:cubicBezTo>
                          <a:close/>
                          <a:moveTo>
                            <a:pt x="20301" y="12765"/>
                          </a:moveTo>
                          <a:cubicBezTo>
                            <a:pt x="19651" y="12765"/>
                            <a:pt x="18956" y="12822"/>
                            <a:pt x="18241" y="12943"/>
                          </a:cubicBezTo>
                          <a:cubicBezTo>
                            <a:pt x="15735" y="13383"/>
                            <a:pt x="14039" y="14448"/>
                            <a:pt x="13465" y="15309"/>
                          </a:cubicBezTo>
                          <a:cubicBezTo>
                            <a:pt x="12738" y="16406"/>
                            <a:pt x="12553" y="18466"/>
                            <a:pt x="12993" y="20552"/>
                          </a:cubicBezTo>
                          <a:cubicBezTo>
                            <a:pt x="13490" y="22905"/>
                            <a:pt x="14606" y="24569"/>
                            <a:pt x="15435" y="25118"/>
                          </a:cubicBezTo>
                          <a:cubicBezTo>
                            <a:pt x="16354" y="25730"/>
                            <a:pt x="19211" y="23836"/>
                            <a:pt x="21385" y="20571"/>
                          </a:cubicBezTo>
                          <a:cubicBezTo>
                            <a:pt x="23962" y="16693"/>
                            <a:pt x="24115" y="14072"/>
                            <a:pt x="23879" y="13607"/>
                          </a:cubicBezTo>
                          <a:lnTo>
                            <a:pt x="23726" y="13485"/>
                          </a:lnTo>
                          <a:cubicBezTo>
                            <a:pt x="23095" y="13077"/>
                            <a:pt x="21832" y="12765"/>
                            <a:pt x="20301" y="12765"/>
                          </a:cubicBezTo>
                          <a:close/>
                        </a:path>
                      </a:pathLst>
                    </a:custGeom>
                    <a:grpFill/>
                    <a:ln w="637" cap="flat">
                      <a:noFill/>
                      <a:prstDash val="solid"/>
                      <a:miter/>
                    </a:ln>
                  </p:spPr>
                  <p:txBody>
                    <a:bodyPr rtlCol="0" anchor="ctr"/>
                    <a:lstStyle/>
                    <a:p>
                      <a:endParaRPr lang="en-GB" dirty="0"/>
                    </a:p>
                  </p:txBody>
                </p:sp>
                <p:sp>
                  <p:nvSpPr>
                    <p:cNvPr id="807" name="Freeform: Shape 806">
                      <a:extLst>
                        <a:ext uri="{FF2B5EF4-FFF2-40B4-BE49-F238E27FC236}">
                          <a16:creationId xmlns:a16="http://schemas.microsoft.com/office/drawing/2014/main" id="{529C23F0-E9ED-426E-8C68-AA27BA328CC0}"/>
                        </a:ext>
                      </a:extLst>
                    </p:cNvPr>
                    <p:cNvSpPr/>
                    <p:nvPr/>
                  </p:nvSpPr>
                  <p:spPr>
                    <a:xfrm>
                      <a:off x="5414145" y="2587321"/>
                      <a:ext cx="28650" cy="23315"/>
                    </a:xfrm>
                    <a:custGeom>
                      <a:avLst/>
                      <a:gdLst>
                        <a:gd name="connsiteX0" fmla="*/ 22268 w 28650"/>
                        <a:gd name="connsiteY0" fmla="*/ 23316 h 23315"/>
                        <a:gd name="connsiteX1" fmla="*/ 18748 w 28650"/>
                        <a:gd name="connsiteY1" fmla="*/ 22251 h 23315"/>
                        <a:gd name="connsiteX2" fmla="*/ 2849 w 28650"/>
                        <a:gd name="connsiteY2" fmla="*/ 11690 h 23315"/>
                        <a:gd name="connsiteX3" fmla="*/ 1064 w 28650"/>
                        <a:gd name="connsiteY3" fmla="*/ 2851 h 23315"/>
                        <a:gd name="connsiteX4" fmla="*/ 9903 w 28650"/>
                        <a:gd name="connsiteY4" fmla="*/ 1065 h 23315"/>
                        <a:gd name="connsiteX5" fmla="*/ 25801 w 28650"/>
                        <a:gd name="connsiteY5" fmla="*/ 11626 h 23315"/>
                        <a:gd name="connsiteX6" fmla="*/ 27587 w 28650"/>
                        <a:gd name="connsiteY6" fmla="*/ 20465 h 23315"/>
                        <a:gd name="connsiteX7" fmla="*/ 22268 w 28650"/>
                        <a:gd name="connsiteY7" fmla="*/ 23316 h 23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650" h="23315">
                          <a:moveTo>
                            <a:pt x="22268" y="23316"/>
                          </a:moveTo>
                          <a:cubicBezTo>
                            <a:pt x="21057" y="23316"/>
                            <a:pt x="19832" y="22971"/>
                            <a:pt x="18748" y="22251"/>
                          </a:cubicBezTo>
                          <a:lnTo>
                            <a:pt x="2849" y="11690"/>
                          </a:lnTo>
                          <a:cubicBezTo>
                            <a:pt x="-84" y="9738"/>
                            <a:pt x="-882" y="5784"/>
                            <a:pt x="1064" y="2851"/>
                          </a:cubicBezTo>
                          <a:cubicBezTo>
                            <a:pt x="3009" y="-89"/>
                            <a:pt x="6963" y="-880"/>
                            <a:pt x="9903" y="1065"/>
                          </a:cubicBezTo>
                          <a:lnTo>
                            <a:pt x="25801" y="11626"/>
                          </a:lnTo>
                          <a:cubicBezTo>
                            <a:pt x="28735" y="13578"/>
                            <a:pt x="29532" y="17532"/>
                            <a:pt x="27587" y="20465"/>
                          </a:cubicBezTo>
                          <a:cubicBezTo>
                            <a:pt x="26356" y="22315"/>
                            <a:pt x="24335" y="23316"/>
                            <a:pt x="22268" y="23316"/>
                          </a:cubicBezTo>
                          <a:close/>
                        </a:path>
                      </a:pathLst>
                    </a:custGeom>
                    <a:grpFill/>
                    <a:ln w="637" cap="flat">
                      <a:noFill/>
                      <a:prstDash val="solid"/>
                      <a:miter/>
                    </a:ln>
                  </p:spPr>
                  <p:txBody>
                    <a:bodyPr rtlCol="0" anchor="ctr"/>
                    <a:lstStyle/>
                    <a:p>
                      <a:endParaRPr lang="en-GB" dirty="0"/>
                    </a:p>
                  </p:txBody>
                </p:sp>
              </p:grpSp>
            </p:grpSp>
            <p:sp>
              <p:nvSpPr>
                <p:cNvPr id="799" name="Freeform: Shape 798">
                  <a:extLst>
                    <a:ext uri="{FF2B5EF4-FFF2-40B4-BE49-F238E27FC236}">
                      <a16:creationId xmlns:a16="http://schemas.microsoft.com/office/drawing/2014/main" id="{3DA2CD57-7507-430E-837E-9039A918B786}"/>
                    </a:ext>
                  </a:extLst>
                </p:cNvPr>
                <p:cNvSpPr/>
                <p:nvPr/>
              </p:nvSpPr>
              <p:spPr>
                <a:xfrm>
                  <a:off x="5399254" y="2602992"/>
                  <a:ext cx="19550" cy="22089"/>
                </a:xfrm>
                <a:custGeom>
                  <a:avLst/>
                  <a:gdLst>
                    <a:gd name="connsiteX0" fmla="*/ 13181 w 19550"/>
                    <a:gd name="connsiteY0" fmla="*/ 22090 h 22089"/>
                    <a:gd name="connsiteX1" fmla="*/ 8021 w 19550"/>
                    <a:gd name="connsiteY1" fmla="*/ 19469 h 22089"/>
                    <a:gd name="connsiteX2" fmla="*/ 1223 w 19550"/>
                    <a:gd name="connsiteY2" fmla="*/ 10132 h 22089"/>
                    <a:gd name="connsiteX3" fmla="*/ 2620 w 19550"/>
                    <a:gd name="connsiteY3" fmla="*/ 1223 h 22089"/>
                    <a:gd name="connsiteX4" fmla="*/ 11529 w 19550"/>
                    <a:gd name="connsiteY4" fmla="*/ 2620 h 22089"/>
                    <a:gd name="connsiteX5" fmla="*/ 18327 w 19550"/>
                    <a:gd name="connsiteY5" fmla="*/ 11956 h 22089"/>
                    <a:gd name="connsiteX6" fmla="*/ 16930 w 19550"/>
                    <a:gd name="connsiteY6" fmla="*/ 20865 h 22089"/>
                    <a:gd name="connsiteX7" fmla="*/ 13181 w 19550"/>
                    <a:gd name="connsiteY7" fmla="*/ 22090 h 22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50" h="22089">
                      <a:moveTo>
                        <a:pt x="13181" y="22090"/>
                      </a:moveTo>
                      <a:cubicBezTo>
                        <a:pt x="11210" y="22090"/>
                        <a:pt x="9271" y="21178"/>
                        <a:pt x="8021" y="19469"/>
                      </a:cubicBezTo>
                      <a:lnTo>
                        <a:pt x="1223" y="10132"/>
                      </a:lnTo>
                      <a:cubicBezTo>
                        <a:pt x="-850" y="7288"/>
                        <a:pt x="-225" y="3296"/>
                        <a:pt x="2620" y="1223"/>
                      </a:cubicBezTo>
                      <a:cubicBezTo>
                        <a:pt x="5470" y="-850"/>
                        <a:pt x="9456" y="-225"/>
                        <a:pt x="11529" y="2620"/>
                      </a:cubicBezTo>
                      <a:lnTo>
                        <a:pt x="18327" y="11956"/>
                      </a:lnTo>
                      <a:cubicBezTo>
                        <a:pt x="20400" y="14800"/>
                        <a:pt x="19775" y="18793"/>
                        <a:pt x="16930" y="20865"/>
                      </a:cubicBezTo>
                      <a:cubicBezTo>
                        <a:pt x="15795" y="21694"/>
                        <a:pt x="14482" y="22090"/>
                        <a:pt x="13181" y="22090"/>
                      </a:cubicBezTo>
                      <a:close/>
                    </a:path>
                  </a:pathLst>
                </a:custGeom>
                <a:grpFill/>
                <a:ln w="637" cap="flat">
                  <a:noFill/>
                  <a:prstDash val="solid"/>
                  <a:miter/>
                </a:ln>
              </p:spPr>
              <p:txBody>
                <a:bodyPr rtlCol="0" anchor="ctr"/>
                <a:lstStyle/>
                <a:p>
                  <a:endParaRPr lang="en-GB" dirty="0"/>
                </a:p>
              </p:txBody>
            </p:sp>
            <p:sp>
              <p:nvSpPr>
                <p:cNvPr id="800" name="Freeform: Shape 799">
                  <a:extLst>
                    <a:ext uri="{FF2B5EF4-FFF2-40B4-BE49-F238E27FC236}">
                      <a16:creationId xmlns:a16="http://schemas.microsoft.com/office/drawing/2014/main" id="{298888FF-B650-47D9-B6EE-27F157F928B3}"/>
                    </a:ext>
                  </a:extLst>
                </p:cNvPr>
                <p:cNvSpPr/>
                <p:nvPr/>
              </p:nvSpPr>
              <p:spPr>
                <a:xfrm>
                  <a:off x="5320768" y="2495242"/>
                  <a:ext cx="19676" cy="22259"/>
                </a:xfrm>
                <a:custGeom>
                  <a:avLst/>
                  <a:gdLst>
                    <a:gd name="connsiteX0" fmla="*/ 13308 w 19676"/>
                    <a:gd name="connsiteY0" fmla="*/ 22260 h 22259"/>
                    <a:gd name="connsiteX1" fmla="*/ 8142 w 19676"/>
                    <a:gd name="connsiteY1" fmla="*/ 19639 h 22259"/>
                    <a:gd name="connsiteX2" fmla="*/ 1223 w 19676"/>
                    <a:gd name="connsiteY2" fmla="*/ 10130 h 22259"/>
                    <a:gd name="connsiteX3" fmla="*/ 2626 w 19676"/>
                    <a:gd name="connsiteY3" fmla="*/ 1221 h 22259"/>
                    <a:gd name="connsiteX4" fmla="*/ 11535 w 19676"/>
                    <a:gd name="connsiteY4" fmla="*/ 2624 h 22259"/>
                    <a:gd name="connsiteX5" fmla="*/ 18454 w 19676"/>
                    <a:gd name="connsiteY5" fmla="*/ 12132 h 22259"/>
                    <a:gd name="connsiteX6" fmla="*/ 17051 w 19676"/>
                    <a:gd name="connsiteY6" fmla="*/ 21042 h 22259"/>
                    <a:gd name="connsiteX7" fmla="*/ 13308 w 19676"/>
                    <a:gd name="connsiteY7" fmla="*/ 22260 h 2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676" h="22259">
                      <a:moveTo>
                        <a:pt x="13308" y="22260"/>
                      </a:moveTo>
                      <a:cubicBezTo>
                        <a:pt x="11337" y="22260"/>
                        <a:pt x="9392" y="21348"/>
                        <a:pt x="8142" y="19639"/>
                      </a:cubicBezTo>
                      <a:lnTo>
                        <a:pt x="1223" y="10130"/>
                      </a:lnTo>
                      <a:cubicBezTo>
                        <a:pt x="-850" y="7279"/>
                        <a:pt x="-225" y="3293"/>
                        <a:pt x="2626" y="1221"/>
                      </a:cubicBezTo>
                      <a:cubicBezTo>
                        <a:pt x="5476" y="-852"/>
                        <a:pt x="9462" y="-221"/>
                        <a:pt x="11535" y="2624"/>
                      </a:cubicBezTo>
                      <a:lnTo>
                        <a:pt x="18454" y="12132"/>
                      </a:lnTo>
                      <a:cubicBezTo>
                        <a:pt x="20527" y="14983"/>
                        <a:pt x="19902" y="18969"/>
                        <a:pt x="17051" y="21042"/>
                      </a:cubicBezTo>
                      <a:cubicBezTo>
                        <a:pt x="15929" y="21864"/>
                        <a:pt x="14615" y="22260"/>
                        <a:pt x="13308" y="22260"/>
                      </a:cubicBezTo>
                      <a:close/>
                    </a:path>
                  </a:pathLst>
                </a:custGeom>
                <a:grpFill/>
                <a:ln w="637" cap="flat">
                  <a:noFill/>
                  <a:prstDash val="solid"/>
                  <a:miter/>
                </a:ln>
              </p:spPr>
              <p:txBody>
                <a:bodyPr rtlCol="0" anchor="ctr"/>
                <a:lstStyle/>
                <a:p>
                  <a:endParaRPr lang="en-GB" dirty="0"/>
                </a:p>
              </p:txBody>
            </p:sp>
            <p:sp>
              <p:nvSpPr>
                <p:cNvPr id="801" name="Freeform: Shape 800">
                  <a:extLst>
                    <a:ext uri="{FF2B5EF4-FFF2-40B4-BE49-F238E27FC236}">
                      <a16:creationId xmlns:a16="http://schemas.microsoft.com/office/drawing/2014/main" id="{2108EE48-EBEF-418A-A1E5-9B64220D63CF}"/>
                    </a:ext>
                  </a:extLst>
                </p:cNvPr>
                <p:cNvSpPr/>
                <p:nvPr/>
              </p:nvSpPr>
              <p:spPr>
                <a:xfrm>
                  <a:off x="5423313" y="2567628"/>
                  <a:ext cx="23637" cy="15285"/>
                </a:xfrm>
                <a:custGeom>
                  <a:avLst/>
                  <a:gdLst>
                    <a:gd name="connsiteX0" fmla="*/ 17265 w 23637"/>
                    <a:gd name="connsiteY0" fmla="*/ 15286 h 15285"/>
                    <a:gd name="connsiteX1" fmla="*/ 15811 w 23637"/>
                    <a:gd name="connsiteY1" fmla="*/ 15120 h 15285"/>
                    <a:gd name="connsiteX2" fmla="*/ 4931 w 23637"/>
                    <a:gd name="connsiteY2" fmla="*/ 12588 h 15285"/>
                    <a:gd name="connsiteX3" fmla="*/ 167 w 23637"/>
                    <a:gd name="connsiteY3" fmla="*/ 4929 h 15285"/>
                    <a:gd name="connsiteX4" fmla="*/ 7826 w 23637"/>
                    <a:gd name="connsiteY4" fmla="*/ 165 h 15285"/>
                    <a:gd name="connsiteX5" fmla="*/ 18706 w 23637"/>
                    <a:gd name="connsiteY5" fmla="*/ 2697 h 15285"/>
                    <a:gd name="connsiteX6" fmla="*/ 23470 w 23637"/>
                    <a:gd name="connsiteY6" fmla="*/ 10356 h 15285"/>
                    <a:gd name="connsiteX7" fmla="*/ 17265 w 23637"/>
                    <a:gd name="connsiteY7" fmla="*/ 15286 h 15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37" h="15285">
                      <a:moveTo>
                        <a:pt x="17265" y="15286"/>
                      </a:moveTo>
                      <a:cubicBezTo>
                        <a:pt x="16787" y="15286"/>
                        <a:pt x="16302" y="15235"/>
                        <a:pt x="15811" y="15120"/>
                      </a:cubicBezTo>
                      <a:lnTo>
                        <a:pt x="4931" y="12588"/>
                      </a:lnTo>
                      <a:cubicBezTo>
                        <a:pt x="1500" y="11791"/>
                        <a:pt x="-630" y="8360"/>
                        <a:pt x="167" y="4929"/>
                      </a:cubicBezTo>
                      <a:cubicBezTo>
                        <a:pt x="971" y="1498"/>
                        <a:pt x="4395" y="-626"/>
                        <a:pt x="7826" y="165"/>
                      </a:cubicBezTo>
                      <a:lnTo>
                        <a:pt x="18706" y="2697"/>
                      </a:lnTo>
                      <a:cubicBezTo>
                        <a:pt x="22137" y="3494"/>
                        <a:pt x="24267" y="6925"/>
                        <a:pt x="23470" y="10356"/>
                      </a:cubicBezTo>
                      <a:cubicBezTo>
                        <a:pt x="22781" y="13296"/>
                        <a:pt x="20160" y="15286"/>
                        <a:pt x="17265" y="15286"/>
                      </a:cubicBezTo>
                      <a:close/>
                    </a:path>
                  </a:pathLst>
                </a:custGeom>
                <a:grpFill/>
                <a:ln w="637" cap="flat">
                  <a:noFill/>
                  <a:prstDash val="solid"/>
                  <a:miter/>
                </a:ln>
              </p:spPr>
              <p:txBody>
                <a:bodyPr rtlCol="0" anchor="ctr"/>
                <a:lstStyle/>
                <a:p>
                  <a:endParaRPr lang="en-GB" dirty="0"/>
                </a:p>
              </p:txBody>
            </p:sp>
            <p:sp>
              <p:nvSpPr>
                <p:cNvPr id="802" name="Freeform: Shape 801">
                  <a:extLst>
                    <a:ext uri="{FF2B5EF4-FFF2-40B4-BE49-F238E27FC236}">
                      <a16:creationId xmlns:a16="http://schemas.microsoft.com/office/drawing/2014/main" id="{EE59949B-2F3C-4333-B141-6447F00D14C3}"/>
                    </a:ext>
                  </a:extLst>
                </p:cNvPr>
                <p:cNvSpPr/>
                <p:nvPr/>
              </p:nvSpPr>
              <p:spPr>
                <a:xfrm>
                  <a:off x="5412861" y="2511882"/>
                  <a:ext cx="22437" cy="19623"/>
                </a:xfrm>
                <a:custGeom>
                  <a:avLst/>
                  <a:gdLst>
                    <a:gd name="connsiteX0" fmla="*/ 6384 w 22437"/>
                    <a:gd name="connsiteY0" fmla="*/ 19624 h 19623"/>
                    <a:gd name="connsiteX1" fmla="*/ 1174 w 22437"/>
                    <a:gd name="connsiteY1" fmla="*/ 16939 h 19623"/>
                    <a:gd name="connsiteX2" fmla="*/ 2686 w 22437"/>
                    <a:gd name="connsiteY2" fmla="*/ 8043 h 19623"/>
                    <a:gd name="connsiteX3" fmla="*/ 12366 w 22437"/>
                    <a:gd name="connsiteY3" fmla="*/ 1174 h 19623"/>
                    <a:gd name="connsiteX4" fmla="*/ 21263 w 22437"/>
                    <a:gd name="connsiteY4" fmla="*/ 2686 h 19623"/>
                    <a:gd name="connsiteX5" fmla="*/ 19751 w 22437"/>
                    <a:gd name="connsiteY5" fmla="*/ 11582 h 19623"/>
                    <a:gd name="connsiteX6" fmla="*/ 10071 w 22437"/>
                    <a:gd name="connsiteY6" fmla="*/ 18450 h 19623"/>
                    <a:gd name="connsiteX7" fmla="*/ 6384 w 22437"/>
                    <a:gd name="connsiteY7" fmla="*/ 19624 h 19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37" h="19623">
                      <a:moveTo>
                        <a:pt x="6384" y="19624"/>
                      </a:moveTo>
                      <a:cubicBezTo>
                        <a:pt x="4388" y="19624"/>
                        <a:pt x="2418" y="18693"/>
                        <a:pt x="1174" y="16939"/>
                      </a:cubicBezTo>
                      <a:cubicBezTo>
                        <a:pt x="-860" y="14063"/>
                        <a:pt x="-184" y="10083"/>
                        <a:pt x="2686" y="8043"/>
                      </a:cubicBezTo>
                      <a:lnTo>
                        <a:pt x="12366" y="1174"/>
                      </a:lnTo>
                      <a:cubicBezTo>
                        <a:pt x="15249" y="-860"/>
                        <a:pt x="19222" y="-184"/>
                        <a:pt x="21263" y="2686"/>
                      </a:cubicBezTo>
                      <a:cubicBezTo>
                        <a:pt x="23297" y="5562"/>
                        <a:pt x="22621" y="9541"/>
                        <a:pt x="19751" y="11582"/>
                      </a:cubicBezTo>
                      <a:lnTo>
                        <a:pt x="10071" y="18450"/>
                      </a:lnTo>
                      <a:cubicBezTo>
                        <a:pt x="8948" y="19241"/>
                        <a:pt x="7660" y="19624"/>
                        <a:pt x="6384" y="19624"/>
                      </a:cubicBezTo>
                      <a:close/>
                    </a:path>
                  </a:pathLst>
                </a:custGeom>
                <a:grpFill/>
                <a:ln w="637" cap="flat">
                  <a:noFill/>
                  <a:prstDash val="solid"/>
                  <a:miter/>
                </a:ln>
              </p:spPr>
              <p:txBody>
                <a:bodyPr rtlCol="0" anchor="ctr"/>
                <a:lstStyle/>
                <a:p>
                  <a:endParaRPr lang="en-GB" dirty="0"/>
                </a:p>
              </p:txBody>
            </p:sp>
            <p:sp>
              <p:nvSpPr>
                <p:cNvPr id="803" name="Freeform: Shape 802">
                  <a:extLst>
                    <a:ext uri="{FF2B5EF4-FFF2-40B4-BE49-F238E27FC236}">
                      <a16:creationId xmlns:a16="http://schemas.microsoft.com/office/drawing/2014/main" id="{0BC4054E-8BE4-4AB1-80CE-EA5DDE65E7DE}"/>
                    </a:ext>
                  </a:extLst>
                </p:cNvPr>
                <p:cNvSpPr/>
                <p:nvPr/>
              </p:nvSpPr>
              <p:spPr>
                <a:xfrm>
                  <a:off x="5377387" y="2483270"/>
                  <a:ext cx="15377" cy="23919"/>
                </a:xfrm>
                <a:custGeom>
                  <a:avLst/>
                  <a:gdLst>
                    <a:gd name="connsiteX0" fmla="*/ 6381 w 15377"/>
                    <a:gd name="connsiteY0" fmla="*/ 23919 h 23919"/>
                    <a:gd name="connsiteX1" fmla="*/ 4921 w 15377"/>
                    <a:gd name="connsiteY1" fmla="*/ 23753 h 23919"/>
                    <a:gd name="connsiteX2" fmla="*/ 170 w 15377"/>
                    <a:gd name="connsiteY2" fmla="*/ 16088 h 23919"/>
                    <a:gd name="connsiteX3" fmla="*/ 2791 w 15377"/>
                    <a:gd name="connsiteY3" fmla="*/ 4921 h 23919"/>
                    <a:gd name="connsiteX4" fmla="*/ 10457 w 15377"/>
                    <a:gd name="connsiteY4" fmla="*/ 170 h 23919"/>
                    <a:gd name="connsiteX5" fmla="*/ 15208 w 15377"/>
                    <a:gd name="connsiteY5" fmla="*/ 7836 h 23919"/>
                    <a:gd name="connsiteX6" fmla="*/ 12587 w 15377"/>
                    <a:gd name="connsiteY6" fmla="*/ 19002 h 23919"/>
                    <a:gd name="connsiteX7" fmla="*/ 6381 w 15377"/>
                    <a:gd name="connsiteY7" fmla="*/ 23919 h 2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77" h="23919">
                      <a:moveTo>
                        <a:pt x="6381" y="23919"/>
                      </a:moveTo>
                      <a:cubicBezTo>
                        <a:pt x="5897" y="23919"/>
                        <a:pt x="5406" y="23868"/>
                        <a:pt x="4921" y="23753"/>
                      </a:cubicBezTo>
                      <a:cubicBezTo>
                        <a:pt x="1490" y="22950"/>
                        <a:pt x="-634" y="19512"/>
                        <a:pt x="170" y="16088"/>
                      </a:cubicBezTo>
                      <a:lnTo>
                        <a:pt x="2791" y="4921"/>
                      </a:lnTo>
                      <a:cubicBezTo>
                        <a:pt x="3595" y="1490"/>
                        <a:pt x="7038" y="-634"/>
                        <a:pt x="10457" y="170"/>
                      </a:cubicBezTo>
                      <a:cubicBezTo>
                        <a:pt x="13888" y="973"/>
                        <a:pt x="16011" y="4411"/>
                        <a:pt x="15208" y="7836"/>
                      </a:cubicBezTo>
                      <a:lnTo>
                        <a:pt x="12587" y="19002"/>
                      </a:lnTo>
                      <a:cubicBezTo>
                        <a:pt x="11898" y="21942"/>
                        <a:pt x="9277" y="23919"/>
                        <a:pt x="6381" y="23919"/>
                      </a:cubicBezTo>
                      <a:close/>
                    </a:path>
                  </a:pathLst>
                </a:custGeom>
                <a:grpFill/>
                <a:ln w="637" cap="flat">
                  <a:noFill/>
                  <a:prstDash val="solid"/>
                  <a:miter/>
                </a:ln>
              </p:spPr>
              <p:txBody>
                <a:bodyPr rtlCol="0" anchor="ctr"/>
                <a:lstStyle/>
                <a:p>
                  <a:endParaRPr lang="en-GB" dirty="0"/>
                </a:p>
              </p:txBody>
            </p:sp>
          </p:grpSp>
          <p:sp>
            <p:nvSpPr>
              <p:cNvPr id="793" name="Freeform: Shape 792">
                <a:extLst>
                  <a:ext uri="{FF2B5EF4-FFF2-40B4-BE49-F238E27FC236}">
                    <a16:creationId xmlns:a16="http://schemas.microsoft.com/office/drawing/2014/main" id="{481D3028-C7FA-4B5C-913F-088FC47FD94C}"/>
                  </a:ext>
                </a:extLst>
              </p:cNvPr>
              <p:cNvSpPr/>
              <p:nvPr/>
            </p:nvSpPr>
            <p:spPr>
              <a:xfrm>
                <a:off x="5337542" y="2539134"/>
                <a:ext cx="18028" cy="14527"/>
              </a:xfrm>
              <a:custGeom>
                <a:avLst/>
                <a:gdLst>
                  <a:gd name="connsiteX0" fmla="*/ 6380 w 18028"/>
                  <a:gd name="connsiteY0" fmla="*/ 14528 h 14527"/>
                  <a:gd name="connsiteX1" fmla="*/ 335 w 18028"/>
                  <a:gd name="connsiteY1" fmla="*/ 10178 h 14527"/>
                  <a:gd name="connsiteX2" fmla="*/ 4346 w 18028"/>
                  <a:gd name="connsiteY2" fmla="*/ 2105 h 14527"/>
                  <a:gd name="connsiteX3" fmla="*/ 9620 w 18028"/>
                  <a:gd name="connsiteY3" fmla="*/ 332 h 14527"/>
                  <a:gd name="connsiteX4" fmla="*/ 17694 w 18028"/>
                  <a:gd name="connsiteY4" fmla="*/ 4343 h 14527"/>
                  <a:gd name="connsiteX5" fmla="*/ 13683 w 18028"/>
                  <a:gd name="connsiteY5" fmla="*/ 12417 h 14527"/>
                  <a:gd name="connsiteX6" fmla="*/ 8408 w 18028"/>
                  <a:gd name="connsiteY6" fmla="*/ 14190 h 14527"/>
                  <a:gd name="connsiteX7" fmla="*/ 6380 w 18028"/>
                  <a:gd name="connsiteY7" fmla="*/ 14528 h 14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28" h="14527">
                    <a:moveTo>
                      <a:pt x="6380" y="14528"/>
                    </a:moveTo>
                    <a:cubicBezTo>
                      <a:pt x="3715" y="14528"/>
                      <a:pt x="1228" y="12844"/>
                      <a:pt x="335" y="10178"/>
                    </a:cubicBezTo>
                    <a:cubicBezTo>
                      <a:pt x="-788" y="6843"/>
                      <a:pt x="1004" y="3227"/>
                      <a:pt x="4346" y="2105"/>
                    </a:cubicBezTo>
                    <a:lnTo>
                      <a:pt x="9620" y="332"/>
                    </a:lnTo>
                    <a:cubicBezTo>
                      <a:pt x="12962" y="-784"/>
                      <a:pt x="16578" y="1008"/>
                      <a:pt x="17694" y="4343"/>
                    </a:cubicBezTo>
                    <a:cubicBezTo>
                      <a:pt x="18816" y="7678"/>
                      <a:pt x="17024" y="11294"/>
                      <a:pt x="13683" y="12417"/>
                    </a:cubicBezTo>
                    <a:lnTo>
                      <a:pt x="8408" y="14190"/>
                    </a:lnTo>
                    <a:cubicBezTo>
                      <a:pt x="7739" y="14413"/>
                      <a:pt x="7050" y="14528"/>
                      <a:pt x="6380" y="14528"/>
                    </a:cubicBezTo>
                    <a:close/>
                  </a:path>
                </a:pathLst>
              </a:custGeom>
              <a:grpFill/>
              <a:ln w="637" cap="flat">
                <a:noFill/>
                <a:prstDash val="solid"/>
                <a:miter/>
              </a:ln>
            </p:spPr>
            <p:txBody>
              <a:bodyPr rtlCol="0" anchor="ctr"/>
              <a:lstStyle/>
              <a:p>
                <a:endParaRPr lang="en-GB" dirty="0"/>
              </a:p>
            </p:txBody>
          </p:sp>
          <p:sp>
            <p:nvSpPr>
              <p:cNvPr id="794" name="Freeform: Shape 793">
                <a:extLst>
                  <a:ext uri="{FF2B5EF4-FFF2-40B4-BE49-F238E27FC236}">
                    <a16:creationId xmlns:a16="http://schemas.microsoft.com/office/drawing/2014/main" id="{87D918CF-FF16-4345-9F18-AB76904B05F9}"/>
                  </a:ext>
                </a:extLst>
              </p:cNvPr>
              <p:cNvSpPr/>
              <p:nvPr/>
            </p:nvSpPr>
            <p:spPr>
              <a:xfrm>
                <a:off x="5387740" y="2562991"/>
                <a:ext cx="15550" cy="19936"/>
              </a:xfrm>
              <a:custGeom>
                <a:avLst/>
                <a:gdLst>
                  <a:gd name="connsiteX0" fmla="*/ 9172 w 15550"/>
                  <a:gd name="connsiteY0" fmla="*/ 19936 h 19936"/>
                  <a:gd name="connsiteX1" fmla="*/ 3228 w 15550"/>
                  <a:gd name="connsiteY1" fmla="*/ 15868 h 19936"/>
                  <a:gd name="connsiteX2" fmla="*/ 435 w 15550"/>
                  <a:gd name="connsiteY2" fmla="*/ 8693 h 19936"/>
                  <a:gd name="connsiteX3" fmla="*/ 4070 w 15550"/>
                  <a:gd name="connsiteY3" fmla="*/ 441 h 19936"/>
                  <a:gd name="connsiteX4" fmla="*/ 12322 w 15550"/>
                  <a:gd name="connsiteY4" fmla="*/ 4076 h 19936"/>
                  <a:gd name="connsiteX5" fmla="*/ 15115 w 15550"/>
                  <a:gd name="connsiteY5" fmla="*/ 11250 h 19936"/>
                  <a:gd name="connsiteX6" fmla="*/ 11480 w 15550"/>
                  <a:gd name="connsiteY6" fmla="*/ 19503 h 19936"/>
                  <a:gd name="connsiteX7" fmla="*/ 9172 w 15550"/>
                  <a:gd name="connsiteY7" fmla="*/ 19936 h 19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550" h="19936">
                    <a:moveTo>
                      <a:pt x="9172" y="19936"/>
                    </a:moveTo>
                    <a:cubicBezTo>
                      <a:pt x="6621" y="19936"/>
                      <a:pt x="4210" y="18393"/>
                      <a:pt x="3228" y="15868"/>
                    </a:cubicBezTo>
                    <a:lnTo>
                      <a:pt x="435" y="8693"/>
                    </a:lnTo>
                    <a:cubicBezTo>
                      <a:pt x="-841" y="5409"/>
                      <a:pt x="785" y="1716"/>
                      <a:pt x="4070" y="441"/>
                    </a:cubicBezTo>
                    <a:cubicBezTo>
                      <a:pt x="7341" y="-848"/>
                      <a:pt x="11047" y="785"/>
                      <a:pt x="12322" y="4076"/>
                    </a:cubicBezTo>
                    <a:lnTo>
                      <a:pt x="15115" y="11250"/>
                    </a:lnTo>
                    <a:cubicBezTo>
                      <a:pt x="16391" y="14535"/>
                      <a:pt x="14765" y="18227"/>
                      <a:pt x="11480" y="19503"/>
                    </a:cubicBezTo>
                    <a:cubicBezTo>
                      <a:pt x="10721" y="19796"/>
                      <a:pt x="9937" y="19936"/>
                      <a:pt x="9172" y="19936"/>
                    </a:cubicBezTo>
                    <a:close/>
                  </a:path>
                </a:pathLst>
              </a:custGeom>
              <a:grpFill/>
              <a:ln w="637" cap="flat">
                <a:noFill/>
                <a:prstDash val="solid"/>
                <a:miter/>
              </a:ln>
            </p:spPr>
            <p:txBody>
              <a:bodyPr rtlCol="0" anchor="ctr"/>
              <a:lstStyle/>
              <a:p>
                <a:endParaRPr lang="en-GB" dirty="0"/>
              </a:p>
            </p:txBody>
          </p:sp>
        </p:grpSp>
        <p:grpSp>
          <p:nvGrpSpPr>
            <p:cNvPr id="786" name="Graphic 32">
              <a:extLst>
                <a:ext uri="{FF2B5EF4-FFF2-40B4-BE49-F238E27FC236}">
                  <a16:creationId xmlns:a16="http://schemas.microsoft.com/office/drawing/2014/main" id="{AEB93494-AF7A-44AD-8161-F356855965A4}"/>
                </a:ext>
              </a:extLst>
            </p:cNvPr>
            <p:cNvGrpSpPr/>
            <p:nvPr/>
          </p:nvGrpSpPr>
          <p:grpSpPr>
            <a:xfrm>
              <a:off x="2925322" y="4262084"/>
              <a:ext cx="189313" cy="132636"/>
              <a:chOff x="5300065" y="2682663"/>
              <a:chExt cx="189313" cy="132636"/>
            </a:xfrm>
            <a:solidFill>
              <a:schemeClr val="accent1"/>
            </a:solidFill>
          </p:grpSpPr>
          <p:sp>
            <p:nvSpPr>
              <p:cNvPr id="787" name="Freeform: Shape 786">
                <a:extLst>
                  <a:ext uri="{FF2B5EF4-FFF2-40B4-BE49-F238E27FC236}">
                    <a16:creationId xmlns:a16="http://schemas.microsoft.com/office/drawing/2014/main" id="{C961A454-2DE9-49AF-9D0D-595B9AD01C5F}"/>
                  </a:ext>
                </a:extLst>
              </p:cNvPr>
              <p:cNvSpPr/>
              <p:nvPr/>
            </p:nvSpPr>
            <p:spPr>
              <a:xfrm>
                <a:off x="5300065" y="2682663"/>
                <a:ext cx="189313" cy="132636"/>
              </a:xfrm>
              <a:custGeom>
                <a:avLst/>
                <a:gdLst>
                  <a:gd name="connsiteX0" fmla="*/ 170162 w 189313"/>
                  <a:gd name="connsiteY0" fmla="*/ 132637 h 132636"/>
                  <a:gd name="connsiteX1" fmla="*/ 19158 w 189313"/>
                  <a:gd name="connsiteY1" fmla="*/ 132637 h 132636"/>
                  <a:gd name="connsiteX2" fmla="*/ 1913 w 189313"/>
                  <a:gd name="connsiteY2" fmla="*/ 121795 h 132636"/>
                  <a:gd name="connsiteX3" fmla="*/ 4216 w 189313"/>
                  <a:gd name="connsiteY3" fmla="*/ 101554 h 132636"/>
                  <a:gd name="connsiteX4" fmla="*/ 79718 w 189313"/>
                  <a:gd name="connsiteY4" fmla="*/ 7181 h 132636"/>
                  <a:gd name="connsiteX5" fmla="*/ 94654 w 189313"/>
                  <a:gd name="connsiteY5" fmla="*/ 0 h 132636"/>
                  <a:gd name="connsiteX6" fmla="*/ 109596 w 189313"/>
                  <a:gd name="connsiteY6" fmla="*/ 7181 h 132636"/>
                  <a:gd name="connsiteX7" fmla="*/ 185098 w 189313"/>
                  <a:gd name="connsiteY7" fmla="*/ 101554 h 132636"/>
                  <a:gd name="connsiteX8" fmla="*/ 187400 w 189313"/>
                  <a:gd name="connsiteY8" fmla="*/ 121795 h 132636"/>
                  <a:gd name="connsiteX9" fmla="*/ 170162 w 189313"/>
                  <a:gd name="connsiteY9" fmla="*/ 132637 h 132636"/>
                  <a:gd name="connsiteX10" fmla="*/ 89679 w 189313"/>
                  <a:gd name="connsiteY10" fmla="*/ 15146 h 132636"/>
                  <a:gd name="connsiteX11" fmla="*/ 14177 w 189313"/>
                  <a:gd name="connsiteY11" fmla="*/ 109519 h 132636"/>
                  <a:gd name="connsiteX12" fmla="*/ 13412 w 189313"/>
                  <a:gd name="connsiteY12" fmla="*/ 116266 h 132636"/>
                  <a:gd name="connsiteX13" fmla="*/ 19158 w 189313"/>
                  <a:gd name="connsiteY13" fmla="*/ 119882 h 132636"/>
                  <a:gd name="connsiteX14" fmla="*/ 170162 w 189313"/>
                  <a:gd name="connsiteY14" fmla="*/ 119882 h 132636"/>
                  <a:gd name="connsiteX15" fmla="*/ 175908 w 189313"/>
                  <a:gd name="connsiteY15" fmla="*/ 116266 h 132636"/>
                  <a:gd name="connsiteX16" fmla="*/ 175143 w 189313"/>
                  <a:gd name="connsiteY16" fmla="*/ 109519 h 132636"/>
                  <a:gd name="connsiteX17" fmla="*/ 99641 w 189313"/>
                  <a:gd name="connsiteY17" fmla="*/ 15146 h 132636"/>
                  <a:gd name="connsiteX18" fmla="*/ 89679 w 189313"/>
                  <a:gd name="connsiteY18" fmla="*/ 15146 h 132636"/>
                  <a:gd name="connsiteX19" fmla="*/ 89679 w 189313"/>
                  <a:gd name="connsiteY19" fmla="*/ 15146 h 132636"/>
                  <a:gd name="connsiteX20" fmla="*/ 84698 w 189313"/>
                  <a:gd name="connsiteY20" fmla="*/ 11167 h 132636"/>
                  <a:gd name="connsiteX21" fmla="*/ 84762 w 189313"/>
                  <a:gd name="connsiteY21" fmla="*/ 11167 h 132636"/>
                  <a:gd name="connsiteX22" fmla="*/ 84698 w 189313"/>
                  <a:gd name="connsiteY22" fmla="*/ 11167 h 132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9313" h="132636">
                    <a:moveTo>
                      <a:pt x="170162" y="132637"/>
                    </a:moveTo>
                    <a:lnTo>
                      <a:pt x="19158" y="132637"/>
                    </a:lnTo>
                    <a:cubicBezTo>
                      <a:pt x="11735" y="132637"/>
                      <a:pt x="5128" y="128485"/>
                      <a:pt x="1913" y="121795"/>
                    </a:cubicBezTo>
                    <a:cubicBezTo>
                      <a:pt x="-1301" y="115106"/>
                      <a:pt x="-421" y="107351"/>
                      <a:pt x="4216" y="101554"/>
                    </a:cubicBezTo>
                    <a:lnTo>
                      <a:pt x="79718" y="7181"/>
                    </a:lnTo>
                    <a:cubicBezTo>
                      <a:pt x="83366" y="2615"/>
                      <a:pt x="88812" y="0"/>
                      <a:pt x="94654" y="0"/>
                    </a:cubicBezTo>
                    <a:cubicBezTo>
                      <a:pt x="100502" y="0"/>
                      <a:pt x="105948" y="2621"/>
                      <a:pt x="109596" y="7181"/>
                    </a:cubicBezTo>
                    <a:lnTo>
                      <a:pt x="185098" y="101554"/>
                    </a:lnTo>
                    <a:cubicBezTo>
                      <a:pt x="189734" y="107351"/>
                      <a:pt x="190614" y="115106"/>
                      <a:pt x="187400" y="121795"/>
                    </a:cubicBezTo>
                    <a:cubicBezTo>
                      <a:pt x="184186" y="128485"/>
                      <a:pt x="177579" y="132637"/>
                      <a:pt x="170162" y="132637"/>
                    </a:cubicBezTo>
                    <a:close/>
                    <a:moveTo>
                      <a:pt x="89679" y="15146"/>
                    </a:moveTo>
                    <a:lnTo>
                      <a:pt x="14177" y="109519"/>
                    </a:lnTo>
                    <a:cubicBezTo>
                      <a:pt x="12608" y="111483"/>
                      <a:pt x="12321" y="114002"/>
                      <a:pt x="13412" y="116266"/>
                    </a:cubicBezTo>
                    <a:cubicBezTo>
                      <a:pt x="14496" y="118530"/>
                      <a:pt x="16645" y="119882"/>
                      <a:pt x="19158" y="119882"/>
                    </a:cubicBezTo>
                    <a:lnTo>
                      <a:pt x="170162" y="119882"/>
                    </a:lnTo>
                    <a:cubicBezTo>
                      <a:pt x="172675" y="119882"/>
                      <a:pt x="174824" y="118530"/>
                      <a:pt x="175908" y="116266"/>
                    </a:cubicBezTo>
                    <a:cubicBezTo>
                      <a:pt x="176998" y="114002"/>
                      <a:pt x="176705" y="111483"/>
                      <a:pt x="175143" y="109519"/>
                    </a:cubicBezTo>
                    <a:lnTo>
                      <a:pt x="99641" y="15146"/>
                    </a:lnTo>
                    <a:cubicBezTo>
                      <a:pt x="97211" y="12111"/>
                      <a:pt x="92115" y="12111"/>
                      <a:pt x="89679" y="15146"/>
                    </a:cubicBezTo>
                    <a:lnTo>
                      <a:pt x="89679" y="15146"/>
                    </a:lnTo>
                    <a:close/>
                    <a:moveTo>
                      <a:pt x="84698" y="11167"/>
                    </a:moveTo>
                    <a:lnTo>
                      <a:pt x="84762" y="11167"/>
                    </a:lnTo>
                    <a:lnTo>
                      <a:pt x="84698" y="11167"/>
                    </a:lnTo>
                    <a:close/>
                  </a:path>
                </a:pathLst>
              </a:custGeom>
              <a:solidFill>
                <a:schemeClr val="accent1"/>
              </a:solidFill>
              <a:ln w="637" cap="flat">
                <a:noFill/>
                <a:prstDash val="solid"/>
                <a:miter/>
              </a:ln>
            </p:spPr>
            <p:txBody>
              <a:bodyPr rtlCol="0" anchor="ctr"/>
              <a:lstStyle/>
              <a:p>
                <a:endParaRPr lang="en-GB" dirty="0"/>
              </a:p>
            </p:txBody>
          </p:sp>
          <p:grpSp>
            <p:nvGrpSpPr>
              <p:cNvPr id="788" name="Graphic 32">
                <a:extLst>
                  <a:ext uri="{FF2B5EF4-FFF2-40B4-BE49-F238E27FC236}">
                    <a16:creationId xmlns:a16="http://schemas.microsoft.com/office/drawing/2014/main" id="{81A7898A-A494-47BC-9BAB-D6D369010442}"/>
                  </a:ext>
                </a:extLst>
              </p:cNvPr>
              <p:cNvGrpSpPr/>
              <p:nvPr/>
            </p:nvGrpSpPr>
            <p:grpSpPr>
              <a:xfrm>
                <a:off x="5387448" y="2717114"/>
                <a:ext cx="12754" cy="75406"/>
                <a:chOff x="5387448" y="2717114"/>
                <a:chExt cx="12754" cy="75406"/>
              </a:xfrm>
              <a:solidFill>
                <a:schemeClr val="accent1"/>
              </a:solidFill>
            </p:grpSpPr>
            <p:sp>
              <p:nvSpPr>
                <p:cNvPr id="789" name="Freeform: Shape 788">
                  <a:extLst>
                    <a:ext uri="{FF2B5EF4-FFF2-40B4-BE49-F238E27FC236}">
                      <a16:creationId xmlns:a16="http://schemas.microsoft.com/office/drawing/2014/main" id="{4A4FAA44-228C-4750-86A6-4C5354F2A835}"/>
                    </a:ext>
                  </a:extLst>
                </p:cNvPr>
                <p:cNvSpPr/>
                <p:nvPr/>
              </p:nvSpPr>
              <p:spPr>
                <a:xfrm>
                  <a:off x="5387448" y="2774070"/>
                  <a:ext cx="12754" cy="18449"/>
                </a:xfrm>
                <a:custGeom>
                  <a:avLst/>
                  <a:gdLst>
                    <a:gd name="connsiteX0" fmla="*/ 6377 w 12754"/>
                    <a:gd name="connsiteY0" fmla="*/ 18450 h 18449"/>
                    <a:gd name="connsiteX1" fmla="*/ 0 w 12754"/>
                    <a:gd name="connsiteY1" fmla="*/ 12072 h 18449"/>
                    <a:gd name="connsiteX2" fmla="*/ 0 w 12754"/>
                    <a:gd name="connsiteY2" fmla="*/ 6377 h 18449"/>
                    <a:gd name="connsiteX3" fmla="*/ 6377 w 12754"/>
                    <a:gd name="connsiteY3" fmla="*/ 0 h 18449"/>
                    <a:gd name="connsiteX4" fmla="*/ 12755 w 12754"/>
                    <a:gd name="connsiteY4" fmla="*/ 6377 h 18449"/>
                    <a:gd name="connsiteX5" fmla="*/ 12755 w 12754"/>
                    <a:gd name="connsiteY5" fmla="*/ 12072 h 18449"/>
                    <a:gd name="connsiteX6" fmla="*/ 6377 w 12754"/>
                    <a:gd name="connsiteY6" fmla="*/ 18450 h 18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18449">
                      <a:moveTo>
                        <a:pt x="6377" y="18450"/>
                      </a:moveTo>
                      <a:cubicBezTo>
                        <a:pt x="2857" y="18450"/>
                        <a:pt x="0" y="15593"/>
                        <a:pt x="0" y="12072"/>
                      </a:cubicBezTo>
                      <a:lnTo>
                        <a:pt x="0" y="6377"/>
                      </a:lnTo>
                      <a:cubicBezTo>
                        <a:pt x="0" y="2857"/>
                        <a:pt x="2857" y="0"/>
                        <a:pt x="6377" y="0"/>
                      </a:cubicBezTo>
                      <a:cubicBezTo>
                        <a:pt x="9898" y="0"/>
                        <a:pt x="12755" y="2857"/>
                        <a:pt x="12755" y="6377"/>
                      </a:cubicBezTo>
                      <a:lnTo>
                        <a:pt x="12755" y="12072"/>
                      </a:lnTo>
                      <a:cubicBezTo>
                        <a:pt x="12755" y="15593"/>
                        <a:pt x="9898" y="18450"/>
                        <a:pt x="6377" y="18450"/>
                      </a:cubicBezTo>
                      <a:close/>
                    </a:path>
                  </a:pathLst>
                </a:custGeom>
                <a:solidFill>
                  <a:schemeClr val="accent1"/>
                </a:solidFill>
                <a:ln w="637" cap="flat">
                  <a:noFill/>
                  <a:prstDash val="solid"/>
                  <a:miter/>
                </a:ln>
              </p:spPr>
              <p:txBody>
                <a:bodyPr rtlCol="0" anchor="ctr"/>
                <a:lstStyle/>
                <a:p>
                  <a:endParaRPr lang="en-GB" dirty="0"/>
                </a:p>
              </p:txBody>
            </p:sp>
            <p:sp>
              <p:nvSpPr>
                <p:cNvPr id="790" name="Freeform: Shape 789">
                  <a:extLst>
                    <a:ext uri="{FF2B5EF4-FFF2-40B4-BE49-F238E27FC236}">
                      <a16:creationId xmlns:a16="http://schemas.microsoft.com/office/drawing/2014/main" id="{1601722A-B3F0-4452-83EC-48102A45E736}"/>
                    </a:ext>
                  </a:extLst>
                </p:cNvPr>
                <p:cNvSpPr/>
                <p:nvPr/>
              </p:nvSpPr>
              <p:spPr>
                <a:xfrm>
                  <a:off x="5387448" y="2717114"/>
                  <a:ext cx="12754" cy="46924"/>
                </a:xfrm>
                <a:custGeom>
                  <a:avLst/>
                  <a:gdLst>
                    <a:gd name="connsiteX0" fmla="*/ 6377 w 12754"/>
                    <a:gd name="connsiteY0" fmla="*/ 46925 h 46924"/>
                    <a:gd name="connsiteX1" fmla="*/ 0 w 12754"/>
                    <a:gd name="connsiteY1" fmla="*/ 40548 h 46924"/>
                    <a:gd name="connsiteX2" fmla="*/ 0 w 12754"/>
                    <a:gd name="connsiteY2" fmla="*/ 6377 h 46924"/>
                    <a:gd name="connsiteX3" fmla="*/ 6377 w 12754"/>
                    <a:gd name="connsiteY3" fmla="*/ 0 h 46924"/>
                    <a:gd name="connsiteX4" fmla="*/ 12755 w 12754"/>
                    <a:gd name="connsiteY4" fmla="*/ 6377 h 46924"/>
                    <a:gd name="connsiteX5" fmla="*/ 12755 w 12754"/>
                    <a:gd name="connsiteY5" fmla="*/ 40548 h 46924"/>
                    <a:gd name="connsiteX6" fmla="*/ 6377 w 12754"/>
                    <a:gd name="connsiteY6" fmla="*/ 46925 h 4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46924">
                      <a:moveTo>
                        <a:pt x="6377" y="46925"/>
                      </a:moveTo>
                      <a:cubicBezTo>
                        <a:pt x="2857" y="46925"/>
                        <a:pt x="0" y="44068"/>
                        <a:pt x="0" y="40548"/>
                      </a:cubicBezTo>
                      <a:lnTo>
                        <a:pt x="0" y="6377"/>
                      </a:lnTo>
                      <a:cubicBezTo>
                        <a:pt x="0" y="2857"/>
                        <a:pt x="2857" y="0"/>
                        <a:pt x="6377" y="0"/>
                      </a:cubicBezTo>
                      <a:cubicBezTo>
                        <a:pt x="9898" y="0"/>
                        <a:pt x="12755" y="2857"/>
                        <a:pt x="12755" y="6377"/>
                      </a:cubicBezTo>
                      <a:lnTo>
                        <a:pt x="12755" y="40548"/>
                      </a:lnTo>
                      <a:cubicBezTo>
                        <a:pt x="12755" y="44074"/>
                        <a:pt x="9898" y="46925"/>
                        <a:pt x="6377" y="46925"/>
                      </a:cubicBezTo>
                      <a:close/>
                    </a:path>
                  </a:pathLst>
                </a:custGeom>
                <a:solidFill>
                  <a:schemeClr val="accent1"/>
                </a:solidFill>
                <a:ln w="637" cap="flat">
                  <a:noFill/>
                  <a:prstDash val="solid"/>
                  <a:miter/>
                </a:ln>
              </p:spPr>
              <p:txBody>
                <a:bodyPr rtlCol="0" anchor="ctr"/>
                <a:lstStyle/>
                <a:p>
                  <a:endParaRPr lang="en-GB" dirty="0"/>
                </a:p>
              </p:txBody>
            </p:sp>
          </p:grpSp>
        </p:grpSp>
      </p:grpSp>
      <p:grpSp>
        <p:nvGrpSpPr>
          <p:cNvPr id="7" name="Group 6">
            <a:extLst>
              <a:ext uri="{FF2B5EF4-FFF2-40B4-BE49-F238E27FC236}">
                <a16:creationId xmlns:a16="http://schemas.microsoft.com/office/drawing/2014/main" id="{DB77326C-A2CA-0F10-137B-73E3F2ECCDAE}"/>
              </a:ext>
            </a:extLst>
          </p:cNvPr>
          <p:cNvGrpSpPr/>
          <p:nvPr/>
        </p:nvGrpSpPr>
        <p:grpSpPr>
          <a:xfrm>
            <a:off x="1600263" y="1660336"/>
            <a:ext cx="478442" cy="381460"/>
            <a:chOff x="1600263" y="1660336"/>
            <a:chExt cx="478442" cy="381460"/>
          </a:xfrm>
        </p:grpSpPr>
        <p:grpSp>
          <p:nvGrpSpPr>
            <p:cNvPr id="51" name="Graphic 48">
              <a:extLst>
                <a:ext uri="{FF2B5EF4-FFF2-40B4-BE49-F238E27FC236}">
                  <a16:creationId xmlns:a16="http://schemas.microsoft.com/office/drawing/2014/main" id="{32ED8FC6-6688-4F84-B79C-19F3ACDCC10A}"/>
                </a:ext>
              </a:extLst>
            </p:cNvPr>
            <p:cNvGrpSpPr/>
            <p:nvPr/>
          </p:nvGrpSpPr>
          <p:grpSpPr>
            <a:xfrm>
              <a:off x="1755434" y="1821972"/>
              <a:ext cx="168107" cy="219824"/>
              <a:chOff x="6578492" y="1781146"/>
              <a:chExt cx="298118" cy="389832"/>
            </a:xfrm>
            <a:solidFill>
              <a:schemeClr val="accent1"/>
            </a:solidFill>
          </p:grpSpPr>
          <p:sp>
            <p:nvSpPr>
              <p:cNvPr id="71" name="Freeform: Shape 70">
                <a:extLst>
                  <a:ext uri="{FF2B5EF4-FFF2-40B4-BE49-F238E27FC236}">
                    <a16:creationId xmlns:a16="http://schemas.microsoft.com/office/drawing/2014/main" id="{DB6DB652-742F-4324-ADD0-D56401B6D4F6}"/>
                  </a:ext>
                </a:extLst>
              </p:cNvPr>
              <p:cNvSpPr/>
              <p:nvPr/>
            </p:nvSpPr>
            <p:spPr>
              <a:xfrm>
                <a:off x="6578492" y="2036741"/>
                <a:ext cx="298118" cy="134237"/>
              </a:xfrm>
              <a:custGeom>
                <a:avLst/>
                <a:gdLst>
                  <a:gd name="connsiteX0" fmla="*/ 286642 w 298118"/>
                  <a:gd name="connsiteY0" fmla="*/ 134238 h 134237"/>
                  <a:gd name="connsiteX1" fmla="*/ 11466 w 298118"/>
                  <a:gd name="connsiteY1" fmla="*/ 134238 h 134237"/>
                  <a:gd name="connsiteX2" fmla="*/ 0 w 298118"/>
                  <a:gd name="connsiteY2" fmla="*/ 122772 h 134237"/>
                  <a:gd name="connsiteX3" fmla="*/ 0 w 298118"/>
                  <a:gd name="connsiteY3" fmla="*/ 65444 h 134237"/>
                  <a:gd name="connsiteX4" fmla="*/ 17233 w 298118"/>
                  <a:gd name="connsiteY4" fmla="*/ 5547 h 134237"/>
                  <a:gd name="connsiteX5" fmla="*/ 33147 w 298118"/>
                  <a:gd name="connsiteY5" fmla="*/ 2428 h 134237"/>
                  <a:gd name="connsiteX6" fmla="*/ 36266 w 298118"/>
                  <a:gd name="connsiteY6" fmla="*/ 18343 h 134237"/>
                  <a:gd name="connsiteX7" fmla="*/ 22931 w 298118"/>
                  <a:gd name="connsiteY7" fmla="*/ 65455 h 134237"/>
                  <a:gd name="connsiteX8" fmla="*/ 22931 w 298118"/>
                  <a:gd name="connsiteY8" fmla="*/ 111318 h 134237"/>
                  <a:gd name="connsiteX9" fmla="*/ 275176 w 298118"/>
                  <a:gd name="connsiteY9" fmla="*/ 111318 h 134237"/>
                  <a:gd name="connsiteX10" fmla="*/ 275176 w 298118"/>
                  <a:gd name="connsiteY10" fmla="*/ 65455 h 134237"/>
                  <a:gd name="connsiteX11" fmla="*/ 261062 w 298118"/>
                  <a:gd name="connsiteY11" fmla="*/ 18113 h 134237"/>
                  <a:gd name="connsiteX12" fmla="*/ 263756 w 298118"/>
                  <a:gd name="connsiteY12" fmla="*/ 2119 h 134237"/>
                  <a:gd name="connsiteX13" fmla="*/ 279751 w 298118"/>
                  <a:gd name="connsiteY13" fmla="*/ 4813 h 134237"/>
                  <a:gd name="connsiteX14" fmla="*/ 298119 w 298118"/>
                  <a:gd name="connsiteY14" fmla="*/ 65444 h 134237"/>
                  <a:gd name="connsiteX15" fmla="*/ 298119 w 298118"/>
                  <a:gd name="connsiteY15" fmla="*/ 122772 h 134237"/>
                  <a:gd name="connsiteX16" fmla="*/ 286642 w 298118"/>
                  <a:gd name="connsiteY16" fmla="*/ 134238 h 134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8118" h="134237">
                    <a:moveTo>
                      <a:pt x="286642" y="134238"/>
                    </a:moveTo>
                    <a:lnTo>
                      <a:pt x="11466" y="134238"/>
                    </a:lnTo>
                    <a:cubicBezTo>
                      <a:pt x="5125" y="134238"/>
                      <a:pt x="0" y="129101"/>
                      <a:pt x="0" y="122772"/>
                    </a:cubicBezTo>
                    <a:lnTo>
                      <a:pt x="0" y="65444"/>
                    </a:lnTo>
                    <a:cubicBezTo>
                      <a:pt x="0" y="41446"/>
                      <a:pt x="5148" y="23537"/>
                      <a:pt x="17233" y="5547"/>
                    </a:cubicBezTo>
                    <a:cubicBezTo>
                      <a:pt x="20753" y="307"/>
                      <a:pt x="27884" y="-1126"/>
                      <a:pt x="33147" y="2428"/>
                    </a:cubicBezTo>
                    <a:cubicBezTo>
                      <a:pt x="38399" y="5960"/>
                      <a:pt x="39797" y="13080"/>
                      <a:pt x="36266" y="18343"/>
                    </a:cubicBezTo>
                    <a:cubicBezTo>
                      <a:pt x="26795" y="32445"/>
                      <a:pt x="22931" y="46101"/>
                      <a:pt x="22931" y="65455"/>
                    </a:cubicBezTo>
                    <a:lnTo>
                      <a:pt x="22931" y="111318"/>
                    </a:lnTo>
                    <a:lnTo>
                      <a:pt x="275176" y="111318"/>
                    </a:lnTo>
                    <a:lnTo>
                      <a:pt x="275176" y="65455"/>
                    </a:lnTo>
                    <a:cubicBezTo>
                      <a:pt x="275176" y="45161"/>
                      <a:pt x="271484" y="32778"/>
                      <a:pt x="261062" y="18113"/>
                    </a:cubicBezTo>
                    <a:cubicBezTo>
                      <a:pt x="257393" y="12954"/>
                      <a:pt x="258597" y="5799"/>
                      <a:pt x="263756" y="2119"/>
                    </a:cubicBezTo>
                    <a:cubicBezTo>
                      <a:pt x="268916" y="-1539"/>
                      <a:pt x="276070" y="-346"/>
                      <a:pt x="279751" y="4813"/>
                    </a:cubicBezTo>
                    <a:cubicBezTo>
                      <a:pt x="292959" y="23399"/>
                      <a:pt x="298119" y="40403"/>
                      <a:pt x="298119" y="65444"/>
                    </a:cubicBezTo>
                    <a:lnTo>
                      <a:pt x="298119" y="122772"/>
                    </a:lnTo>
                    <a:cubicBezTo>
                      <a:pt x="298107" y="129101"/>
                      <a:pt x="292982" y="134238"/>
                      <a:pt x="286642" y="134238"/>
                    </a:cubicBezTo>
                    <a:close/>
                  </a:path>
                </a:pathLst>
              </a:custGeom>
              <a:solidFill>
                <a:schemeClr val="accent1"/>
              </a:solidFill>
              <a:ln w="1145" cap="flat">
                <a:noFill/>
                <a:prstDash val="solid"/>
                <a:miter/>
              </a:ln>
            </p:spPr>
            <p:txBody>
              <a:bodyPr rtlCol="0" anchor="ctr"/>
              <a:lstStyle/>
              <a:p>
                <a:endParaRPr lang="en-GB" dirty="0"/>
              </a:p>
            </p:txBody>
          </p:sp>
          <p:sp>
            <p:nvSpPr>
              <p:cNvPr id="72" name="Freeform: Shape 71">
                <a:extLst>
                  <a:ext uri="{FF2B5EF4-FFF2-40B4-BE49-F238E27FC236}">
                    <a16:creationId xmlns:a16="http://schemas.microsoft.com/office/drawing/2014/main" id="{2A024424-EB9B-41D9-A5E7-67D4DE76C1DA}"/>
                  </a:ext>
                </a:extLst>
              </p:cNvPr>
              <p:cNvSpPr/>
              <p:nvPr/>
            </p:nvSpPr>
            <p:spPr>
              <a:xfrm>
                <a:off x="6624982" y="1987528"/>
                <a:ext cx="203888" cy="39889"/>
              </a:xfrm>
              <a:custGeom>
                <a:avLst/>
                <a:gdLst>
                  <a:gd name="connsiteX0" fmla="*/ 11480 w 203888"/>
                  <a:gd name="connsiteY0" fmla="*/ 39889 h 39889"/>
                  <a:gd name="connsiteX1" fmla="*/ 1895 w 203888"/>
                  <a:gd name="connsiteY1" fmla="*/ 34730 h 39889"/>
                  <a:gd name="connsiteX2" fmla="*/ 5163 w 203888"/>
                  <a:gd name="connsiteY2" fmla="*/ 18850 h 39889"/>
                  <a:gd name="connsiteX3" fmla="*/ 68167 w 203888"/>
                  <a:gd name="connsiteY3" fmla="*/ 0 h 39889"/>
                  <a:gd name="connsiteX4" fmla="*/ 136961 w 203888"/>
                  <a:gd name="connsiteY4" fmla="*/ 0 h 39889"/>
                  <a:gd name="connsiteX5" fmla="*/ 198589 w 203888"/>
                  <a:gd name="connsiteY5" fmla="*/ 17944 h 39889"/>
                  <a:gd name="connsiteX6" fmla="*/ 202085 w 203888"/>
                  <a:gd name="connsiteY6" fmla="*/ 33778 h 39889"/>
                  <a:gd name="connsiteX7" fmla="*/ 186252 w 203888"/>
                  <a:gd name="connsiteY7" fmla="*/ 37275 h 39889"/>
                  <a:gd name="connsiteX8" fmla="*/ 136961 w 203888"/>
                  <a:gd name="connsiteY8" fmla="*/ 22920 h 39889"/>
                  <a:gd name="connsiteX9" fmla="*/ 68167 w 203888"/>
                  <a:gd name="connsiteY9" fmla="*/ 22920 h 39889"/>
                  <a:gd name="connsiteX10" fmla="*/ 17764 w 203888"/>
                  <a:gd name="connsiteY10" fmla="*/ 37986 h 39889"/>
                  <a:gd name="connsiteX11" fmla="*/ 11480 w 203888"/>
                  <a:gd name="connsiteY11" fmla="*/ 39889 h 39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3888" h="39889">
                    <a:moveTo>
                      <a:pt x="11480" y="39889"/>
                    </a:moveTo>
                    <a:cubicBezTo>
                      <a:pt x="7754" y="39889"/>
                      <a:pt x="4097" y="38078"/>
                      <a:pt x="1895" y="34730"/>
                    </a:cubicBezTo>
                    <a:cubicBezTo>
                      <a:pt x="-1590" y="29444"/>
                      <a:pt x="-134" y="22324"/>
                      <a:pt x="5163" y="18850"/>
                    </a:cubicBezTo>
                    <a:cubicBezTo>
                      <a:pt x="23875" y="6513"/>
                      <a:pt x="45660" y="0"/>
                      <a:pt x="68167" y="0"/>
                    </a:cubicBezTo>
                    <a:lnTo>
                      <a:pt x="136961" y="0"/>
                    </a:lnTo>
                    <a:cubicBezTo>
                      <a:pt x="158871" y="0"/>
                      <a:pt x="180186" y="6203"/>
                      <a:pt x="198589" y="17944"/>
                    </a:cubicBezTo>
                    <a:cubicBezTo>
                      <a:pt x="203932" y="21349"/>
                      <a:pt x="205491" y="28446"/>
                      <a:pt x="202085" y="33778"/>
                    </a:cubicBezTo>
                    <a:cubicBezTo>
                      <a:pt x="198692" y="39121"/>
                      <a:pt x="191617" y="40680"/>
                      <a:pt x="186252" y="37275"/>
                    </a:cubicBezTo>
                    <a:cubicBezTo>
                      <a:pt x="171541" y="27885"/>
                      <a:pt x="154492" y="22920"/>
                      <a:pt x="136961" y="22920"/>
                    </a:cubicBezTo>
                    <a:lnTo>
                      <a:pt x="68167" y="22920"/>
                    </a:lnTo>
                    <a:cubicBezTo>
                      <a:pt x="50165" y="22920"/>
                      <a:pt x="32726" y="28137"/>
                      <a:pt x="17764" y="37986"/>
                    </a:cubicBezTo>
                    <a:cubicBezTo>
                      <a:pt x="15837" y="39270"/>
                      <a:pt x="13636" y="39889"/>
                      <a:pt x="11480" y="39889"/>
                    </a:cubicBezTo>
                    <a:close/>
                  </a:path>
                </a:pathLst>
              </a:custGeom>
              <a:solidFill>
                <a:schemeClr val="accent1"/>
              </a:solidFill>
              <a:ln w="1145" cap="flat">
                <a:noFill/>
                <a:prstDash val="solid"/>
                <a:miter/>
              </a:ln>
            </p:spPr>
            <p:txBody>
              <a:bodyPr rtlCol="0" anchor="ctr"/>
              <a:lstStyle/>
              <a:p>
                <a:endParaRPr lang="en-GB" dirty="0"/>
              </a:p>
            </p:txBody>
          </p:sp>
          <p:sp>
            <p:nvSpPr>
              <p:cNvPr id="73" name="Freeform: Shape 72">
                <a:extLst>
                  <a:ext uri="{FF2B5EF4-FFF2-40B4-BE49-F238E27FC236}">
                    <a16:creationId xmlns:a16="http://schemas.microsoft.com/office/drawing/2014/main" id="{E84C47CA-90ED-45D3-9D22-BAF75AC390E2}"/>
                  </a:ext>
                </a:extLst>
              </p:cNvPr>
              <p:cNvSpPr/>
              <p:nvPr/>
            </p:nvSpPr>
            <p:spPr>
              <a:xfrm>
                <a:off x="6647286" y="1781146"/>
                <a:ext cx="160519" cy="183450"/>
              </a:xfrm>
              <a:custGeom>
                <a:avLst/>
                <a:gdLst>
                  <a:gd name="connsiteX0" fmla="*/ 80260 w 160519"/>
                  <a:gd name="connsiteY0" fmla="*/ 183451 h 183450"/>
                  <a:gd name="connsiteX1" fmla="*/ 0 w 160519"/>
                  <a:gd name="connsiteY1" fmla="*/ 91725 h 183450"/>
                  <a:gd name="connsiteX2" fmla="*/ 80260 w 160519"/>
                  <a:gd name="connsiteY2" fmla="*/ 0 h 183450"/>
                  <a:gd name="connsiteX3" fmla="*/ 160519 w 160519"/>
                  <a:gd name="connsiteY3" fmla="*/ 91725 h 183450"/>
                  <a:gd name="connsiteX4" fmla="*/ 80260 w 160519"/>
                  <a:gd name="connsiteY4" fmla="*/ 183451 h 183450"/>
                  <a:gd name="connsiteX5" fmla="*/ 80260 w 160519"/>
                  <a:gd name="connsiteY5" fmla="*/ 22931 h 183450"/>
                  <a:gd name="connsiteX6" fmla="*/ 22931 w 160519"/>
                  <a:gd name="connsiteY6" fmla="*/ 91725 h 183450"/>
                  <a:gd name="connsiteX7" fmla="*/ 80260 w 160519"/>
                  <a:gd name="connsiteY7" fmla="*/ 160519 h 183450"/>
                  <a:gd name="connsiteX8" fmla="*/ 137588 w 160519"/>
                  <a:gd name="connsiteY8" fmla="*/ 91725 h 183450"/>
                  <a:gd name="connsiteX9" fmla="*/ 80260 w 160519"/>
                  <a:gd name="connsiteY9" fmla="*/ 22931 h 18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19" h="183450">
                    <a:moveTo>
                      <a:pt x="80260" y="183451"/>
                    </a:moveTo>
                    <a:cubicBezTo>
                      <a:pt x="32253" y="183451"/>
                      <a:pt x="0" y="146589"/>
                      <a:pt x="0" y="91725"/>
                    </a:cubicBezTo>
                    <a:cubicBezTo>
                      <a:pt x="0" y="36862"/>
                      <a:pt x="32253" y="0"/>
                      <a:pt x="80260" y="0"/>
                    </a:cubicBezTo>
                    <a:cubicBezTo>
                      <a:pt x="128267" y="0"/>
                      <a:pt x="160519" y="36862"/>
                      <a:pt x="160519" y="91725"/>
                    </a:cubicBezTo>
                    <a:cubicBezTo>
                      <a:pt x="160519" y="146589"/>
                      <a:pt x="128267" y="183451"/>
                      <a:pt x="80260" y="183451"/>
                    </a:cubicBezTo>
                    <a:close/>
                    <a:moveTo>
                      <a:pt x="80260" y="22931"/>
                    </a:moveTo>
                    <a:cubicBezTo>
                      <a:pt x="37951" y="22931"/>
                      <a:pt x="22931" y="59988"/>
                      <a:pt x="22931" y="91725"/>
                    </a:cubicBezTo>
                    <a:cubicBezTo>
                      <a:pt x="22931" y="123462"/>
                      <a:pt x="37951" y="160519"/>
                      <a:pt x="80260" y="160519"/>
                    </a:cubicBezTo>
                    <a:cubicBezTo>
                      <a:pt x="122568" y="160519"/>
                      <a:pt x="137588" y="123462"/>
                      <a:pt x="137588" y="91725"/>
                    </a:cubicBezTo>
                    <a:cubicBezTo>
                      <a:pt x="137588" y="59988"/>
                      <a:pt x="122568" y="22931"/>
                      <a:pt x="80260"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52" name="Group 51">
              <a:extLst>
                <a:ext uri="{FF2B5EF4-FFF2-40B4-BE49-F238E27FC236}">
                  <a16:creationId xmlns:a16="http://schemas.microsoft.com/office/drawing/2014/main" id="{5B4A3AE9-D831-4C14-B7E2-9F09CD8EF75D}"/>
                </a:ext>
              </a:extLst>
            </p:cNvPr>
            <p:cNvGrpSpPr/>
            <p:nvPr/>
          </p:nvGrpSpPr>
          <p:grpSpPr>
            <a:xfrm>
              <a:off x="1600263" y="1660336"/>
              <a:ext cx="478442" cy="381460"/>
              <a:chOff x="8103036" y="2432043"/>
              <a:chExt cx="478442" cy="381460"/>
            </a:xfrm>
            <a:solidFill>
              <a:schemeClr val="tx2"/>
            </a:solidFill>
          </p:grpSpPr>
          <p:grpSp>
            <p:nvGrpSpPr>
              <p:cNvPr id="53" name="Graphic 48">
                <a:extLst>
                  <a:ext uri="{FF2B5EF4-FFF2-40B4-BE49-F238E27FC236}">
                    <a16:creationId xmlns:a16="http://schemas.microsoft.com/office/drawing/2014/main" id="{6C259412-D9FF-4FB7-800A-6FC7F53F9AF4}"/>
                  </a:ext>
                </a:extLst>
              </p:cNvPr>
              <p:cNvGrpSpPr/>
              <p:nvPr/>
            </p:nvGrpSpPr>
            <p:grpSpPr>
              <a:xfrm>
                <a:off x="8413377" y="2626006"/>
                <a:ext cx="168101" cy="187497"/>
                <a:chOff x="6853668" y="1838474"/>
                <a:chExt cx="298107" cy="332504"/>
              </a:xfrm>
              <a:grpFill/>
            </p:grpSpPr>
            <p:sp>
              <p:nvSpPr>
                <p:cNvPr id="69" name="Freeform: Shape 68">
                  <a:extLst>
                    <a:ext uri="{FF2B5EF4-FFF2-40B4-BE49-F238E27FC236}">
                      <a16:creationId xmlns:a16="http://schemas.microsoft.com/office/drawing/2014/main" id="{67EF06D4-7DD8-40EF-AAA9-3A13DE5C1A81}"/>
                    </a:ext>
                  </a:extLst>
                </p:cNvPr>
                <p:cNvSpPr/>
                <p:nvPr/>
              </p:nvSpPr>
              <p:spPr>
                <a:xfrm>
                  <a:off x="6853668" y="2044856"/>
                  <a:ext cx="298107" cy="126122"/>
                </a:xfrm>
                <a:custGeom>
                  <a:avLst/>
                  <a:gdLst>
                    <a:gd name="connsiteX0" fmla="*/ 286642 w 298107"/>
                    <a:gd name="connsiteY0" fmla="*/ 126122 h 126122"/>
                    <a:gd name="connsiteX1" fmla="*/ 11466 w 298107"/>
                    <a:gd name="connsiteY1" fmla="*/ 126122 h 126122"/>
                    <a:gd name="connsiteX2" fmla="*/ 0 w 298107"/>
                    <a:gd name="connsiteY2" fmla="*/ 114657 h 126122"/>
                    <a:gd name="connsiteX3" fmla="*/ 114657 w 298107"/>
                    <a:gd name="connsiteY3" fmla="*/ 0 h 126122"/>
                    <a:gd name="connsiteX4" fmla="*/ 183451 w 298107"/>
                    <a:gd name="connsiteY4" fmla="*/ 0 h 126122"/>
                    <a:gd name="connsiteX5" fmla="*/ 298107 w 298107"/>
                    <a:gd name="connsiteY5" fmla="*/ 114657 h 126122"/>
                    <a:gd name="connsiteX6" fmla="*/ 286642 w 298107"/>
                    <a:gd name="connsiteY6" fmla="*/ 126122 h 126122"/>
                    <a:gd name="connsiteX7" fmla="*/ 23654 w 298107"/>
                    <a:gd name="connsiteY7" fmla="*/ 103191 h 126122"/>
                    <a:gd name="connsiteX8" fmla="*/ 274465 w 298107"/>
                    <a:gd name="connsiteY8" fmla="*/ 103191 h 126122"/>
                    <a:gd name="connsiteX9" fmla="*/ 183451 w 298107"/>
                    <a:gd name="connsiteY9" fmla="*/ 22931 h 126122"/>
                    <a:gd name="connsiteX10" fmla="*/ 114657 w 298107"/>
                    <a:gd name="connsiteY10" fmla="*/ 22931 h 126122"/>
                    <a:gd name="connsiteX11" fmla="*/ 23654 w 298107"/>
                    <a:gd name="connsiteY11" fmla="*/ 103191 h 12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107" h="126122">
                      <a:moveTo>
                        <a:pt x="286642" y="126122"/>
                      </a:moveTo>
                      <a:lnTo>
                        <a:pt x="11466" y="126122"/>
                      </a:lnTo>
                      <a:cubicBezTo>
                        <a:pt x="5125" y="126122"/>
                        <a:pt x="0" y="120986"/>
                        <a:pt x="0" y="114657"/>
                      </a:cubicBezTo>
                      <a:cubicBezTo>
                        <a:pt x="0" y="51435"/>
                        <a:pt x="51435" y="0"/>
                        <a:pt x="114657" y="0"/>
                      </a:cubicBezTo>
                      <a:lnTo>
                        <a:pt x="183451" y="0"/>
                      </a:lnTo>
                      <a:cubicBezTo>
                        <a:pt x="246673" y="0"/>
                        <a:pt x="298107" y="51435"/>
                        <a:pt x="298107" y="114657"/>
                      </a:cubicBezTo>
                      <a:cubicBezTo>
                        <a:pt x="298107" y="120986"/>
                        <a:pt x="292982" y="126122"/>
                        <a:pt x="286642" y="126122"/>
                      </a:cubicBezTo>
                      <a:close/>
                      <a:moveTo>
                        <a:pt x="23654" y="103191"/>
                      </a:moveTo>
                      <a:lnTo>
                        <a:pt x="274465" y="103191"/>
                      </a:lnTo>
                      <a:cubicBezTo>
                        <a:pt x="268813" y="58005"/>
                        <a:pt x="230150" y="22931"/>
                        <a:pt x="183451" y="22931"/>
                      </a:cubicBezTo>
                      <a:lnTo>
                        <a:pt x="114657" y="22931"/>
                      </a:lnTo>
                      <a:cubicBezTo>
                        <a:pt x="67968" y="22931"/>
                        <a:pt x="29306" y="58005"/>
                        <a:pt x="23654" y="103191"/>
                      </a:cubicBezTo>
                      <a:close/>
                    </a:path>
                  </a:pathLst>
                </a:custGeom>
                <a:grpFill/>
                <a:ln w="1145" cap="flat">
                  <a:noFill/>
                  <a:prstDash val="solid"/>
                  <a:miter/>
                </a:ln>
              </p:spPr>
              <p:txBody>
                <a:bodyPr rtlCol="0" anchor="ctr"/>
                <a:lstStyle/>
                <a:p>
                  <a:endParaRPr lang="en-GB" dirty="0"/>
                </a:p>
              </p:txBody>
            </p:sp>
            <p:sp>
              <p:nvSpPr>
                <p:cNvPr id="70" name="Freeform: Shape 69">
                  <a:extLst>
                    <a:ext uri="{FF2B5EF4-FFF2-40B4-BE49-F238E27FC236}">
                      <a16:creationId xmlns:a16="http://schemas.microsoft.com/office/drawing/2014/main" id="{06EA7071-2934-45FA-A723-34530A0D94DD}"/>
                    </a:ext>
                  </a:extLst>
                </p:cNvPr>
                <p:cNvSpPr/>
                <p:nvPr/>
              </p:nvSpPr>
              <p:spPr>
                <a:xfrm>
                  <a:off x="6922462" y="1838474"/>
                  <a:ext cx="160519" cy="183450"/>
                </a:xfrm>
                <a:custGeom>
                  <a:avLst/>
                  <a:gdLst>
                    <a:gd name="connsiteX0" fmla="*/ 80260 w 160519"/>
                    <a:gd name="connsiteY0" fmla="*/ 183451 h 183450"/>
                    <a:gd name="connsiteX1" fmla="*/ 0 w 160519"/>
                    <a:gd name="connsiteY1" fmla="*/ 91725 h 183450"/>
                    <a:gd name="connsiteX2" fmla="*/ 80260 w 160519"/>
                    <a:gd name="connsiteY2" fmla="*/ 0 h 183450"/>
                    <a:gd name="connsiteX3" fmla="*/ 160519 w 160519"/>
                    <a:gd name="connsiteY3" fmla="*/ 91725 h 183450"/>
                    <a:gd name="connsiteX4" fmla="*/ 80260 w 160519"/>
                    <a:gd name="connsiteY4" fmla="*/ 183451 h 183450"/>
                    <a:gd name="connsiteX5" fmla="*/ 80260 w 160519"/>
                    <a:gd name="connsiteY5" fmla="*/ 22931 h 183450"/>
                    <a:gd name="connsiteX6" fmla="*/ 22931 w 160519"/>
                    <a:gd name="connsiteY6" fmla="*/ 91725 h 183450"/>
                    <a:gd name="connsiteX7" fmla="*/ 80260 w 160519"/>
                    <a:gd name="connsiteY7" fmla="*/ 160519 h 183450"/>
                    <a:gd name="connsiteX8" fmla="*/ 137588 w 160519"/>
                    <a:gd name="connsiteY8" fmla="*/ 91725 h 183450"/>
                    <a:gd name="connsiteX9" fmla="*/ 80260 w 160519"/>
                    <a:gd name="connsiteY9" fmla="*/ 22931 h 18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19" h="183450">
                      <a:moveTo>
                        <a:pt x="80260" y="183451"/>
                      </a:moveTo>
                      <a:cubicBezTo>
                        <a:pt x="32253" y="183451"/>
                        <a:pt x="0" y="146589"/>
                        <a:pt x="0" y="91725"/>
                      </a:cubicBezTo>
                      <a:cubicBezTo>
                        <a:pt x="0" y="36862"/>
                        <a:pt x="32253" y="0"/>
                        <a:pt x="80260" y="0"/>
                      </a:cubicBezTo>
                      <a:cubicBezTo>
                        <a:pt x="128267" y="0"/>
                        <a:pt x="160519" y="36862"/>
                        <a:pt x="160519" y="91725"/>
                      </a:cubicBezTo>
                      <a:cubicBezTo>
                        <a:pt x="160519" y="146589"/>
                        <a:pt x="128267" y="183451"/>
                        <a:pt x="80260" y="183451"/>
                      </a:cubicBezTo>
                      <a:close/>
                      <a:moveTo>
                        <a:pt x="80260" y="22931"/>
                      </a:moveTo>
                      <a:cubicBezTo>
                        <a:pt x="37951" y="22931"/>
                        <a:pt x="22931" y="59988"/>
                        <a:pt x="22931" y="91725"/>
                      </a:cubicBezTo>
                      <a:cubicBezTo>
                        <a:pt x="22931" y="123462"/>
                        <a:pt x="37951" y="160519"/>
                        <a:pt x="80260" y="160519"/>
                      </a:cubicBezTo>
                      <a:cubicBezTo>
                        <a:pt x="122568" y="160519"/>
                        <a:pt x="137588" y="123462"/>
                        <a:pt x="137588" y="91725"/>
                      </a:cubicBezTo>
                      <a:cubicBezTo>
                        <a:pt x="137588" y="59988"/>
                        <a:pt x="122568" y="22931"/>
                        <a:pt x="80260" y="22931"/>
                      </a:cubicBezTo>
                      <a:close/>
                    </a:path>
                  </a:pathLst>
                </a:custGeom>
                <a:grpFill/>
                <a:ln w="1145" cap="flat">
                  <a:noFill/>
                  <a:prstDash val="solid"/>
                  <a:miter/>
                </a:ln>
              </p:spPr>
              <p:txBody>
                <a:bodyPr rtlCol="0" anchor="ctr"/>
                <a:lstStyle/>
                <a:p>
                  <a:endParaRPr lang="en-GB" dirty="0"/>
                </a:p>
              </p:txBody>
            </p:sp>
          </p:grpSp>
          <p:grpSp>
            <p:nvGrpSpPr>
              <p:cNvPr id="54" name="Graphic 48">
                <a:extLst>
                  <a:ext uri="{FF2B5EF4-FFF2-40B4-BE49-F238E27FC236}">
                    <a16:creationId xmlns:a16="http://schemas.microsoft.com/office/drawing/2014/main" id="{883E8F8C-AF7F-40C2-B840-8726DE6B8D2E}"/>
                  </a:ext>
                </a:extLst>
              </p:cNvPr>
              <p:cNvGrpSpPr/>
              <p:nvPr/>
            </p:nvGrpSpPr>
            <p:grpSpPr>
              <a:xfrm>
                <a:off x="8400446" y="2432043"/>
                <a:ext cx="129308" cy="187497"/>
                <a:chOff x="6830736" y="1494504"/>
                <a:chExt cx="229313" cy="332504"/>
              </a:xfrm>
              <a:grpFill/>
            </p:grpSpPr>
            <p:sp>
              <p:nvSpPr>
                <p:cNvPr id="67" name="Freeform: Shape 66">
                  <a:extLst>
                    <a:ext uri="{FF2B5EF4-FFF2-40B4-BE49-F238E27FC236}">
                      <a16:creationId xmlns:a16="http://schemas.microsoft.com/office/drawing/2014/main" id="{D12FCF79-4601-4836-B499-B10D5CF5F375}"/>
                    </a:ext>
                  </a:extLst>
                </p:cNvPr>
                <p:cNvSpPr/>
                <p:nvPr/>
              </p:nvSpPr>
              <p:spPr>
                <a:xfrm>
                  <a:off x="6865133" y="1700886"/>
                  <a:ext cx="194916" cy="126122"/>
                </a:xfrm>
                <a:custGeom>
                  <a:avLst/>
                  <a:gdLst>
                    <a:gd name="connsiteX0" fmla="*/ 183451 w 194916"/>
                    <a:gd name="connsiteY0" fmla="*/ 126122 h 126122"/>
                    <a:gd name="connsiteX1" fmla="*/ 171985 w 194916"/>
                    <a:gd name="connsiteY1" fmla="*/ 114657 h 126122"/>
                    <a:gd name="connsiteX2" fmla="*/ 80260 w 194916"/>
                    <a:gd name="connsiteY2" fmla="*/ 22931 h 126122"/>
                    <a:gd name="connsiteX3" fmla="*/ 11466 w 194916"/>
                    <a:gd name="connsiteY3" fmla="*/ 22931 h 126122"/>
                    <a:gd name="connsiteX4" fmla="*/ 0 w 194916"/>
                    <a:gd name="connsiteY4" fmla="*/ 11466 h 126122"/>
                    <a:gd name="connsiteX5" fmla="*/ 11466 w 194916"/>
                    <a:gd name="connsiteY5" fmla="*/ 0 h 126122"/>
                    <a:gd name="connsiteX6" fmla="*/ 80260 w 194916"/>
                    <a:gd name="connsiteY6" fmla="*/ 0 h 126122"/>
                    <a:gd name="connsiteX7" fmla="*/ 194916 w 194916"/>
                    <a:gd name="connsiteY7" fmla="*/ 114657 h 126122"/>
                    <a:gd name="connsiteX8" fmla="*/ 183451 w 194916"/>
                    <a:gd name="connsiteY8" fmla="*/ 126122 h 12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916" h="126122">
                      <a:moveTo>
                        <a:pt x="183451" y="126122"/>
                      </a:moveTo>
                      <a:cubicBezTo>
                        <a:pt x="177110" y="126122"/>
                        <a:pt x="171985" y="120986"/>
                        <a:pt x="171985" y="114657"/>
                      </a:cubicBezTo>
                      <a:cubicBezTo>
                        <a:pt x="171985" y="64082"/>
                        <a:pt x="130835" y="22931"/>
                        <a:pt x="80260" y="22931"/>
                      </a:cubicBezTo>
                      <a:lnTo>
                        <a:pt x="11466" y="22931"/>
                      </a:lnTo>
                      <a:cubicBezTo>
                        <a:pt x="5125" y="22931"/>
                        <a:pt x="0" y="17795"/>
                        <a:pt x="0" y="11466"/>
                      </a:cubicBezTo>
                      <a:cubicBezTo>
                        <a:pt x="0" y="5137"/>
                        <a:pt x="5125" y="0"/>
                        <a:pt x="11466" y="0"/>
                      </a:cubicBezTo>
                      <a:lnTo>
                        <a:pt x="80260" y="0"/>
                      </a:lnTo>
                      <a:cubicBezTo>
                        <a:pt x="143482" y="0"/>
                        <a:pt x="194916" y="51435"/>
                        <a:pt x="194916" y="114657"/>
                      </a:cubicBezTo>
                      <a:cubicBezTo>
                        <a:pt x="194916" y="120986"/>
                        <a:pt x="189791" y="126122"/>
                        <a:pt x="183451" y="126122"/>
                      </a:cubicBezTo>
                      <a:close/>
                    </a:path>
                  </a:pathLst>
                </a:custGeom>
                <a:grpFill/>
                <a:ln w="1145" cap="flat">
                  <a:noFill/>
                  <a:prstDash val="solid"/>
                  <a:miter/>
                </a:ln>
              </p:spPr>
              <p:txBody>
                <a:bodyPr rtlCol="0" anchor="ctr"/>
                <a:lstStyle/>
                <a:p>
                  <a:endParaRPr lang="en-GB" dirty="0"/>
                </a:p>
              </p:txBody>
            </p:sp>
            <p:sp>
              <p:nvSpPr>
                <p:cNvPr id="68" name="Freeform: Shape 67">
                  <a:extLst>
                    <a:ext uri="{FF2B5EF4-FFF2-40B4-BE49-F238E27FC236}">
                      <a16:creationId xmlns:a16="http://schemas.microsoft.com/office/drawing/2014/main" id="{8640E5F8-7DA1-4E7A-836B-1769C05C0D11}"/>
                    </a:ext>
                  </a:extLst>
                </p:cNvPr>
                <p:cNvSpPr/>
                <p:nvPr/>
              </p:nvSpPr>
              <p:spPr>
                <a:xfrm>
                  <a:off x="6830736" y="1494504"/>
                  <a:ext cx="160519" cy="183450"/>
                </a:xfrm>
                <a:custGeom>
                  <a:avLst/>
                  <a:gdLst>
                    <a:gd name="connsiteX0" fmla="*/ 80260 w 160519"/>
                    <a:gd name="connsiteY0" fmla="*/ 183451 h 183450"/>
                    <a:gd name="connsiteX1" fmla="*/ 0 w 160519"/>
                    <a:gd name="connsiteY1" fmla="*/ 91725 h 183450"/>
                    <a:gd name="connsiteX2" fmla="*/ 80260 w 160519"/>
                    <a:gd name="connsiteY2" fmla="*/ 0 h 183450"/>
                    <a:gd name="connsiteX3" fmla="*/ 160519 w 160519"/>
                    <a:gd name="connsiteY3" fmla="*/ 91725 h 183450"/>
                    <a:gd name="connsiteX4" fmla="*/ 80260 w 160519"/>
                    <a:gd name="connsiteY4" fmla="*/ 183451 h 183450"/>
                    <a:gd name="connsiteX5" fmla="*/ 80260 w 160519"/>
                    <a:gd name="connsiteY5" fmla="*/ 22931 h 183450"/>
                    <a:gd name="connsiteX6" fmla="*/ 22931 w 160519"/>
                    <a:gd name="connsiteY6" fmla="*/ 91725 h 183450"/>
                    <a:gd name="connsiteX7" fmla="*/ 80260 w 160519"/>
                    <a:gd name="connsiteY7" fmla="*/ 160519 h 183450"/>
                    <a:gd name="connsiteX8" fmla="*/ 137588 w 160519"/>
                    <a:gd name="connsiteY8" fmla="*/ 91725 h 183450"/>
                    <a:gd name="connsiteX9" fmla="*/ 80260 w 160519"/>
                    <a:gd name="connsiteY9" fmla="*/ 22931 h 18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19" h="183450">
                      <a:moveTo>
                        <a:pt x="80260" y="183451"/>
                      </a:moveTo>
                      <a:cubicBezTo>
                        <a:pt x="32253" y="183451"/>
                        <a:pt x="0" y="146589"/>
                        <a:pt x="0" y="91725"/>
                      </a:cubicBezTo>
                      <a:cubicBezTo>
                        <a:pt x="0" y="36862"/>
                        <a:pt x="32253" y="0"/>
                        <a:pt x="80260" y="0"/>
                      </a:cubicBezTo>
                      <a:cubicBezTo>
                        <a:pt x="128267" y="0"/>
                        <a:pt x="160519" y="36862"/>
                        <a:pt x="160519" y="91725"/>
                      </a:cubicBezTo>
                      <a:cubicBezTo>
                        <a:pt x="160519" y="146589"/>
                        <a:pt x="128267" y="183451"/>
                        <a:pt x="80260" y="183451"/>
                      </a:cubicBezTo>
                      <a:close/>
                      <a:moveTo>
                        <a:pt x="80260" y="22931"/>
                      </a:moveTo>
                      <a:cubicBezTo>
                        <a:pt x="37951" y="22931"/>
                        <a:pt x="22931" y="59988"/>
                        <a:pt x="22931" y="91725"/>
                      </a:cubicBezTo>
                      <a:cubicBezTo>
                        <a:pt x="22931" y="123462"/>
                        <a:pt x="37951" y="160519"/>
                        <a:pt x="80260" y="160519"/>
                      </a:cubicBezTo>
                      <a:cubicBezTo>
                        <a:pt x="122568" y="160519"/>
                        <a:pt x="137588" y="123462"/>
                        <a:pt x="137588" y="91725"/>
                      </a:cubicBezTo>
                      <a:cubicBezTo>
                        <a:pt x="137588" y="59988"/>
                        <a:pt x="122568" y="22931"/>
                        <a:pt x="80260" y="22931"/>
                      </a:cubicBezTo>
                      <a:close/>
                    </a:path>
                  </a:pathLst>
                </a:custGeom>
                <a:grpFill/>
                <a:ln w="1145" cap="flat">
                  <a:noFill/>
                  <a:prstDash val="solid"/>
                  <a:miter/>
                </a:ln>
              </p:spPr>
              <p:txBody>
                <a:bodyPr rtlCol="0" anchor="ctr"/>
                <a:lstStyle/>
                <a:p>
                  <a:endParaRPr lang="en-GB" dirty="0"/>
                </a:p>
              </p:txBody>
            </p:sp>
          </p:grpSp>
          <p:grpSp>
            <p:nvGrpSpPr>
              <p:cNvPr id="55" name="Graphic 48">
                <a:extLst>
                  <a:ext uri="{FF2B5EF4-FFF2-40B4-BE49-F238E27FC236}">
                    <a16:creationId xmlns:a16="http://schemas.microsoft.com/office/drawing/2014/main" id="{C64F1205-ECE8-41FB-A4BF-29BD73B5BF95}"/>
                  </a:ext>
                </a:extLst>
              </p:cNvPr>
              <p:cNvGrpSpPr/>
              <p:nvPr/>
            </p:nvGrpSpPr>
            <p:grpSpPr>
              <a:xfrm>
                <a:off x="8154760" y="2432043"/>
                <a:ext cx="129308" cy="187497"/>
                <a:chOff x="6395041" y="1494504"/>
                <a:chExt cx="229313" cy="332504"/>
              </a:xfrm>
              <a:grpFill/>
            </p:grpSpPr>
            <p:sp>
              <p:nvSpPr>
                <p:cNvPr id="65" name="Freeform: Shape 64">
                  <a:extLst>
                    <a:ext uri="{FF2B5EF4-FFF2-40B4-BE49-F238E27FC236}">
                      <a16:creationId xmlns:a16="http://schemas.microsoft.com/office/drawing/2014/main" id="{854B2763-47B9-4822-A816-2EF90B6575EC}"/>
                    </a:ext>
                  </a:extLst>
                </p:cNvPr>
                <p:cNvSpPr/>
                <p:nvPr/>
              </p:nvSpPr>
              <p:spPr>
                <a:xfrm>
                  <a:off x="6395041" y="1700886"/>
                  <a:ext cx="194916" cy="126122"/>
                </a:xfrm>
                <a:custGeom>
                  <a:avLst/>
                  <a:gdLst>
                    <a:gd name="connsiteX0" fmla="*/ 11466 w 194916"/>
                    <a:gd name="connsiteY0" fmla="*/ 126122 h 126122"/>
                    <a:gd name="connsiteX1" fmla="*/ 0 w 194916"/>
                    <a:gd name="connsiteY1" fmla="*/ 114657 h 126122"/>
                    <a:gd name="connsiteX2" fmla="*/ 114657 w 194916"/>
                    <a:gd name="connsiteY2" fmla="*/ 0 h 126122"/>
                    <a:gd name="connsiteX3" fmla="*/ 183451 w 194916"/>
                    <a:gd name="connsiteY3" fmla="*/ 0 h 126122"/>
                    <a:gd name="connsiteX4" fmla="*/ 194916 w 194916"/>
                    <a:gd name="connsiteY4" fmla="*/ 11466 h 126122"/>
                    <a:gd name="connsiteX5" fmla="*/ 183451 w 194916"/>
                    <a:gd name="connsiteY5" fmla="*/ 22931 h 126122"/>
                    <a:gd name="connsiteX6" fmla="*/ 114657 w 194916"/>
                    <a:gd name="connsiteY6" fmla="*/ 22931 h 126122"/>
                    <a:gd name="connsiteX7" fmla="*/ 22931 w 194916"/>
                    <a:gd name="connsiteY7" fmla="*/ 114657 h 126122"/>
                    <a:gd name="connsiteX8" fmla="*/ 11466 w 194916"/>
                    <a:gd name="connsiteY8" fmla="*/ 126122 h 12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916" h="126122">
                      <a:moveTo>
                        <a:pt x="11466" y="126122"/>
                      </a:moveTo>
                      <a:cubicBezTo>
                        <a:pt x="5125" y="126122"/>
                        <a:pt x="0" y="120986"/>
                        <a:pt x="0" y="114657"/>
                      </a:cubicBezTo>
                      <a:cubicBezTo>
                        <a:pt x="0" y="51435"/>
                        <a:pt x="51435" y="0"/>
                        <a:pt x="114657" y="0"/>
                      </a:cubicBezTo>
                      <a:lnTo>
                        <a:pt x="183451" y="0"/>
                      </a:lnTo>
                      <a:cubicBezTo>
                        <a:pt x="189791" y="0"/>
                        <a:pt x="194916" y="5137"/>
                        <a:pt x="194916" y="11466"/>
                      </a:cubicBezTo>
                      <a:cubicBezTo>
                        <a:pt x="194916" y="17795"/>
                        <a:pt x="189791" y="22931"/>
                        <a:pt x="183451" y="22931"/>
                      </a:cubicBezTo>
                      <a:lnTo>
                        <a:pt x="114657" y="22931"/>
                      </a:lnTo>
                      <a:cubicBezTo>
                        <a:pt x="64082" y="22931"/>
                        <a:pt x="22931" y="64082"/>
                        <a:pt x="22931" y="114657"/>
                      </a:cubicBezTo>
                      <a:cubicBezTo>
                        <a:pt x="22931" y="120986"/>
                        <a:pt x="17806" y="126122"/>
                        <a:pt x="11466" y="126122"/>
                      </a:cubicBezTo>
                      <a:close/>
                    </a:path>
                  </a:pathLst>
                </a:custGeom>
                <a:grpFill/>
                <a:ln w="1145" cap="flat">
                  <a:noFill/>
                  <a:prstDash val="solid"/>
                  <a:miter/>
                </a:ln>
              </p:spPr>
              <p:txBody>
                <a:bodyPr rtlCol="0" anchor="ctr"/>
                <a:lstStyle/>
                <a:p>
                  <a:endParaRPr lang="en-GB" dirty="0"/>
                </a:p>
              </p:txBody>
            </p:sp>
            <p:sp>
              <p:nvSpPr>
                <p:cNvPr id="66" name="Freeform: Shape 65">
                  <a:extLst>
                    <a:ext uri="{FF2B5EF4-FFF2-40B4-BE49-F238E27FC236}">
                      <a16:creationId xmlns:a16="http://schemas.microsoft.com/office/drawing/2014/main" id="{F305E868-31AB-4514-B04C-0651DF20E2A8}"/>
                    </a:ext>
                  </a:extLst>
                </p:cNvPr>
                <p:cNvSpPr/>
                <p:nvPr/>
              </p:nvSpPr>
              <p:spPr>
                <a:xfrm>
                  <a:off x="6463835" y="1494504"/>
                  <a:ext cx="160519" cy="183450"/>
                </a:xfrm>
                <a:custGeom>
                  <a:avLst/>
                  <a:gdLst>
                    <a:gd name="connsiteX0" fmla="*/ 80260 w 160519"/>
                    <a:gd name="connsiteY0" fmla="*/ 183451 h 183450"/>
                    <a:gd name="connsiteX1" fmla="*/ 0 w 160519"/>
                    <a:gd name="connsiteY1" fmla="*/ 91725 h 183450"/>
                    <a:gd name="connsiteX2" fmla="*/ 80260 w 160519"/>
                    <a:gd name="connsiteY2" fmla="*/ 0 h 183450"/>
                    <a:gd name="connsiteX3" fmla="*/ 160519 w 160519"/>
                    <a:gd name="connsiteY3" fmla="*/ 91725 h 183450"/>
                    <a:gd name="connsiteX4" fmla="*/ 80260 w 160519"/>
                    <a:gd name="connsiteY4" fmla="*/ 183451 h 183450"/>
                    <a:gd name="connsiteX5" fmla="*/ 80260 w 160519"/>
                    <a:gd name="connsiteY5" fmla="*/ 22931 h 183450"/>
                    <a:gd name="connsiteX6" fmla="*/ 22931 w 160519"/>
                    <a:gd name="connsiteY6" fmla="*/ 91725 h 183450"/>
                    <a:gd name="connsiteX7" fmla="*/ 80260 w 160519"/>
                    <a:gd name="connsiteY7" fmla="*/ 160519 h 183450"/>
                    <a:gd name="connsiteX8" fmla="*/ 137588 w 160519"/>
                    <a:gd name="connsiteY8" fmla="*/ 91725 h 183450"/>
                    <a:gd name="connsiteX9" fmla="*/ 80260 w 160519"/>
                    <a:gd name="connsiteY9" fmla="*/ 22931 h 18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19" h="183450">
                      <a:moveTo>
                        <a:pt x="80260" y="183451"/>
                      </a:moveTo>
                      <a:cubicBezTo>
                        <a:pt x="32253" y="183451"/>
                        <a:pt x="0" y="146589"/>
                        <a:pt x="0" y="91725"/>
                      </a:cubicBezTo>
                      <a:cubicBezTo>
                        <a:pt x="0" y="36862"/>
                        <a:pt x="32253" y="0"/>
                        <a:pt x="80260" y="0"/>
                      </a:cubicBezTo>
                      <a:cubicBezTo>
                        <a:pt x="128267" y="0"/>
                        <a:pt x="160519" y="36862"/>
                        <a:pt x="160519" y="91725"/>
                      </a:cubicBezTo>
                      <a:cubicBezTo>
                        <a:pt x="160519" y="146589"/>
                        <a:pt x="128267" y="183451"/>
                        <a:pt x="80260" y="183451"/>
                      </a:cubicBezTo>
                      <a:close/>
                      <a:moveTo>
                        <a:pt x="80260" y="22931"/>
                      </a:moveTo>
                      <a:cubicBezTo>
                        <a:pt x="37951" y="22931"/>
                        <a:pt x="22931" y="59988"/>
                        <a:pt x="22931" y="91725"/>
                      </a:cubicBezTo>
                      <a:cubicBezTo>
                        <a:pt x="22931" y="123462"/>
                        <a:pt x="37951" y="160519"/>
                        <a:pt x="80260" y="160519"/>
                      </a:cubicBezTo>
                      <a:cubicBezTo>
                        <a:pt x="122568" y="160519"/>
                        <a:pt x="137588" y="123462"/>
                        <a:pt x="137588" y="91725"/>
                      </a:cubicBezTo>
                      <a:cubicBezTo>
                        <a:pt x="137588" y="59988"/>
                        <a:pt x="122568" y="22931"/>
                        <a:pt x="80260" y="22931"/>
                      </a:cubicBezTo>
                      <a:close/>
                    </a:path>
                  </a:pathLst>
                </a:custGeom>
                <a:grpFill/>
                <a:ln w="1145" cap="flat">
                  <a:noFill/>
                  <a:prstDash val="solid"/>
                  <a:miter/>
                </a:ln>
              </p:spPr>
              <p:txBody>
                <a:bodyPr rtlCol="0" anchor="ctr"/>
                <a:lstStyle/>
                <a:p>
                  <a:endParaRPr lang="en-GB" dirty="0"/>
                </a:p>
              </p:txBody>
            </p:sp>
          </p:grpSp>
          <p:grpSp>
            <p:nvGrpSpPr>
              <p:cNvPr id="56" name="Graphic 48">
                <a:extLst>
                  <a:ext uri="{FF2B5EF4-FFF2-40B4-BE49-F238E27FC236}">
                    <a16:creationId xmlns:a16="http://schemas.microsoft.com/office/drawing/2014/main" id="{C0C451C2-EE91-4BB4-BC9B-D8C4C49AC12F}"/>
                  </a:ext>
                </a:extLst>
              </p:cNvPr>
              <p:cNvGrpSpPr/>
              <p:nvPr/>
            </p:nvGrpSpPr>
            <p:grpSpPr>
              <a:xfrm>
                <a:off x="8103036" y="2626006"/>
                <a:ext cx="168101" cy="187497"/>
                <a:chOff x="6303315" y="1838474"/>
                <a:chExt cx="298107" cy="332504"/>
              </a:xfrm>
              <a:grpFill/>
            </p:grpSpPr>
            <p:sp>
              <p:nvSpPr>
                <p:cNvPr id="63" name="Freeform: Shape 62">
                  <a:extLst>
                    <a:ext uri="{FF2B5EF4-FFF2-40B4-BE49-F238E27FC236}">
                      <a16:creationId xmlns:a16="http://schemas.microsoft.com/office/drawing/2014/main" id="{C926C9D4-1AC2-4058-BCEF-C649B3E59239}"/>
                    </a:ext>
                  </a:extLst>
                </p:cNvPr>
                <p:cNvSpPr/>
                <p:nvPr/>
              </p:nvSpPr>
              <p:spPr>
                <a:xfrm>
                  <a:off x="6303315" y="2044856"/>
                  <a:ext cx="298107" cy="126122"/>
                </a:xfrm>
                <a:custGeom>
                  <a:avLst/>
                  <a:gdLst>
                    <a:gd name="connsiteX0" fmla="*/ 286642 w 298107"/>
                    <a:gd name="connsiteY0" fmla="*/ 126122 h 126122"/>
                    <a:gd name="connsiteX1" fmla="*/ 11466 w 298107"/>
                    <a:gd name="connsiteY1" fmla="*/ 126122 h 126122"/>
                    <a:gd name="connsiteX2" fmla="*/ 0 w 298107"/>
                    <a:gd name="connsiteY2" fmla="*/ 114657 h 126122"/>
                    <a:gd name="connsiteX3" fmla="*/ 114657 w 298107"/>
                    <a:gd name="connsiteY3" fmla="*/ 0 h 126122"/>
                    <a:gd name="connsiteX4" fmla="*/ 183451 w 298107"/>
                    <a:gd name="connsiteY4" fmla="*/ 0 h 126122"/>
                    <a:gd name="connsiteX5" fmla="*/ 298107 w 298107"/>
                    <a:gd name="connsiteY5" fmla="*/ 114657 h 126122"/>
                    <a:gd name="connsiteX6" fmla="*/ 286642 w 298107"/>
                    <a:gd name="connsiteY6" fmla="*/ 126122 h 126122"/>
                    <a:gd name="connsiteX7" fmla="*/ 23654 w 298107"/>
                    <a:gd name="connsiteY7" fmla="*/ 103191 h 126122"/>
                    <a:gd name="connsiteX8" fmla="*/ 274465 w 298107"/>
                    <a:gd name="connsiteY8" fmla="*/ 103191 h 126122"/>
                    <a:gd name="connsiteX9" fmla="*/ 183451 w 298107"/>
                    <a:gd name="connsiteY9" fmla="*/ 22931 h 126122"/>
                    <a:gd name="connsiteX10" fmla="*/ 114657 w 298107"/>
                    <a:gd name="connsiteY10" fmla="*/ 22931 h 126122"/>
                    <a:gd name="connsiteX11" fmla="*/ 23654 w 298107"/>
                    <a:gd name="connsiteY11" fmla="*/ 103191 h 12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107" h="126122">
                      <a:moveTo>
                        <a:pt x="286642" y="126122"/>
                      </a:moveTo>
                      <a:lnTo>
                        <a:pt x="11466" y="126122"/>
                      </a:lnTo>
                      <a:cubicBezTo>
                        <a:pt x="5125" y="126122"/>
                        <a:pt x="0" y="120986"/>
                        <a:pt x="0" y="114657"/>
                      </a:cubicBezTo>
                      <a:cubicBezTo>
                        <a:pt x="0" y="51435"/>
                        <a:pt x="51435" y="0"/>
                        <a:pt x="114657" y="0"/>
                      </a:cubicBezTo>
                      <a:lnTo>
                        <a:pt x="183451" y="0"/>
                      </a:lnTo>
                      <a:cubicBezTo>
                        <a:pt x="246672" y="0"/>
                        <a:pt x="298107" y="51435"/>
                        <a:pt x="298107" y="114657"/>
                      </a:cubicBezTo>
                      <a:cubicBezTo>
                        <a:pt x="298107" y="120986"/>
                        <a:pt x="292982" y="126122"/>
                        <a:pt x="286642" y="126122"/>
                      </a:cubicBezTo>
                      <a:close/>
                      <a:moveTo>
                        <a:pt x="23654" y="103191"/>
                      </a:moveTo>
                      <a:lnTo>
                        <a:pt x="274465" y="103191"/>
                      </a:lnTo>
                      <a:cubicBezTo>
                        <a:pt x="268813" y="58005"/>
                        <a:pt x="230150" y="22931"/>
                        <a:pt x="183451" y="22931"/>
                      </a:cubicBezTo>
                      <a:lnTo>
                        <a:pt x="114657" y="22931"/>
                      </a:lnTo>
                      <a:cubicBezTo>
                        <a:pt x="67969" y="22931"/>
                        <a:pt x="29306" y="58005"/>
                        <a:pt x="23654" y="103191"/>
                      </a:cubicBezTo>
                      <a:close/>
                    </a:path>
                  </a:pathLst>
                </a:custGeom>
                <a:grpFill/>
                <a:ln w="1145" cap="flat">
                  <a:noFill/>
                  <a:prstDash val="solid"/>
                  <a:miter/>
                </a:ln>
              </p:spPr>
              <p:txBody>
                <a:bodyPr rtlCol="0" anchor="ctr"/>
                <a:lstStyle/>
                <a:p>
                  <a:endParaRPr lang="en-GB" dirty="0"/>
                </a:p>
              </p:txBody>
            </p:sp>
            <p:sp>
              <p:nvSpPr>
                <p:cNvPr id="64" name="Freeform: Shape 63">
                  <a:extLst>
                    <a:ext uri="{FF2B5EF4-FFF2-40B4-BE49-F238E27FC236}">
                      <a16:creationId xmlns:a16="http://schemas.microsoft.com/office/drawing/2014/main" id="{143EAE74-2EC8-4B29-963E-311B4919BAB8}"/>
                    </a:ext>
                  </a:extLst>
                </p:cNvPr>
                <p:cNvSpPr/>
                <p:nvPr/>
              </p:nvSpPr>
              <p:spPr>
                <a:xfrm>
                  <a:off x="6372109" y="1838474"/>
                  <a:ext cx="160519" cy="183450"/>
                </a:xfrm>
                <a:custGeom>
                  <a:avLst/>
                  <a:gdLst>
                    <a:gd name="connsiteX0" fmla="*/ 80260 w 160519"/>
                    <a:gd name="connsiteY0" fmla="*/ 183451 h 183450"/>
                    <a:gd name="connsiteX1" fmla="*/ 0 w 160519"/>
                    <a:gd name="connsiteY1" fmla="*/ 91725 h 183450"/>
                    <a:gd name="connsiteX2" fmla="*/ 80260 w 160519"/>
                    <a:gd name="connsiteY2" fmla="*/ 0 h 183450"/>
                    <a:gd name="connsiteX3" fmla="*/ 160519 w 160519"/>
                    <a:gd name="connsiteY3" fmla="*/ 91725 h 183450"/>
                    <a:gd name="connsiteX4" fmla="*/ 80260 w 160519"/>
                    <a:gd name="connsiteY4" fmla="*/ 183451 h 183450"/>
                    <a:gd name="connsiteX5" fmla="*/ 80260 w 160519"/>
                    <a:gd name="connsiteY5" fmla="*/ 22931 h 183450"/>
                    <a:gd name="connsiteX6" fmla="*/ 22931 w 160519"/>
                    <a:gd name="connsiteY6" fmla="*/ 91725 h 183450"/>
                    <a:gd name="connsiteX7" fmla="*/ 80260 w 160519"/>
                    <a:gd name="connsiteY7" fmla="*/ 160519 h 183450"/>
                    <a:gd name="connsiteX8" fmla="*/ 137588 w 160519"/>
                    <a:gd name="connsiteY8" fmla="*/ 91725 h 183450"/>
                    <a:gd name="connsiteX9" fmla="*/ 80260 w 160519"/>
                    <a:gd name="connsiteY9" fmla="*/ 22931 h 183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519" h="183450">
                      <a:moveTo>
                        <a:pt x="80260" y="183451"/>
                      </a:moveTo>
                      <a:cubicBezTo>
                        <a:pt x="32253" y="183451"/>
                        <a:pt x="0" y="146589"/>
                        <a:pt x="0" y="91725"/>
                      </a:cubicBezTo>
                      <a:cubicBezTo>
                        <a:pt x="0" y="36862"/>
                        <a:pt x="32253" y="0"/>
                        <a:pt x="80260" y="0"/>
                      </a:cubicBezTo>
                      <a:cubicBezTo>
                        <a:pt x="128267" y="0"/>
                        <a:pt x="160519" y="36862"/>
                        <a:pt x="160519" y="91725"/>
                      </a:cubicBezTo>
                      <a:cubicBezTo>
                        <a:pt x="160519" y="146589"/>
                        <a:pt x="128267" y="183451"/>
                        <a:pt x="80260" y="183451"/>
                      </a:cubicBezTo>
                      <a:close/>
                      <a:moveTo>
                        <a:pt x="80260" y="22931"/>
                      </a:moveTo>
                      <a:cubicBezTo>
                        <a:pt x="37951" y="22931"/>
                        <a:pt x="22931" y="59988"/>
                        <a:pt x="22931" y="91725"/>
                      </a:cubicBezTo>
                      <a:cubicBezTo>
                        <a:pt x="22931" y="123462"/>
                        <a:pt x="37951" y="160519"/>
                        <a:pt x="80260" y="160519"/>
                      </a:cubicBezTo>
                      <a:cubicBezTo>
                        <a:pt x="122568" y="160519"/>
                        <a:pt x="137588" y="123462"/>
                        <a:pt x="137588" y="91725"/>
                      </a:cubicBezTo>
                      <a:cubicBezTo>
                        <a:pt x="137588" y="59988"/>
                        <a:pt x="122568" y="22931"/>
                        <a:pt x="80260" y="22931"/>
                      </a:cubicBezTo>
                      <a:close/>
                    </a:path>
                  </a:pathLst>
                </a:custGeom>
                <a:grpFill/>
                <a:ln w="1145" cap="flat">
                  <a:noFill/>
                  <a:prstDash val="solid"/>
                  <a:miter/>
                </a:ln>
              </p:spPr>
              <p:txBody>
                <a:bodyPr rtlCol="0" anchor="ctr"/>
                <a:lstStyle/>
                <a:p>
                  <a:endParaRPr lang="en-GB" dirty="0"/>
                </a:p>
              </p:txBody>
            </p:sp>
          </p:grpSp>
          <p:grpSp>
            <p:nvGrpSpPr>
              <p:cNvPr id="57" name="Graphic 48">
                <a:extLst>
                  <a:ext uri="{FF2B5EF4-FFF2-40B4-BE49-F238E27FC236}">
                    <a16:creationId xmlns:a16="http://schemas.microsoft.com/office/drawing/2014/main" id="{F971E964-ED5C-401B-8A27-4FA1DB2B047A}"/>
                  </a:ext>
                </a:extLst>
              </p:cNvPr>
              <p:cNvGrpSpPr/>
              <p:nvPr/>
            </p:nvGrpSpPr>
            <p:grpSpPr>
              <a:xfrm>
                <a:off x="8238810" y="2548421"/>
                <a:ext cx="206893" cy="206893"/>
                <a:chOff x="6544095" y="1700886"/>
                <a:chExt cx="366901" cy="366901"/>
              </a:xfrm>
              <a:grpFill/>
            </p:grpSpPr>
            <p:sp>
              <p:nvSpPr>
                <p:cNvPr id="58" name="Freeform: Shape 57">
                  <a:extLst>
                    <a:ext uri="{FF2B5EF4-FFF2-40B4-BE49-F238E27FC236}">
                      <a16:creationId xmlns:a16="http://schemas.microsoft.com/office/drawing/2014/main" id="{342D7A3E-C841-40ED-9CEA-3F98EE63404C}"/>
                    </a:ext>
                  </a:extLst>
                </p:cNvPr>
                <p:cNvSpPr/>
                <p:nvPr/>
              </p:nvSpPr>
              <p:spPr>
                <a:xfrm>
                  <a:off x="6555560" y="1712352"/>
                  <a:ext cx="343970" cy="343970"/>
                </a:xfrm>
                <a:custGeom>
                  <a:avLst/>
                  <a:gdLst>
                    <a:gd name="connsiteX0" fmla="*/ 171985 w 343970"/>
                    <a:gd name="connsiteY0" fmla="*/ 343970 h 343970"/>
                    <a:gd name="connsiteX1" fmla="*/ 0 w 343970"/>
                    <a:gd name="connsiteY1" fmla="*/ 171985 h 343970"/>
                    <a:gd name="connsiteX2" fmla="*/ 171985 w 343970"/>
                    <a:gd name="connsiteY2" fmla="*/ 0 h 343970"/>
                    <a:gd name="connsiteX3" fmla="*/ 343970 w 343970"/>
                    <a:gd name="connsiteY3" fmla="*/ 171985 h 343970"/>
                    <a:gd name="connsiteX4" fmla="*/ 171985 w 343970"/>
                    <a:gd name="connsiteY4" fmla="*/ 343970 h 343970"/>
                    <a:gd name="connsiteX5" fmla="*/ 171985 w 343970"/>
                    <a:gd name="connsiteY5" fmla="*/ 22931 h 343970"/>
                    <a:gd name="connsiteX6" fmla="*/ 22931 w 343970"/>
                    <a:gd name="connsiteY6" fmla="*/ 171985 h 343970"/>
                    <a:gd name="connsiteX7" fmla="*/ 171985 w 343970"/>
                    <a:gd name="connsiteY7" fmla="*/ 321039 h 343970"/>
                    <a:gd name="connsiteX8" fmla="*/ 321039 w 343970"/>
                    <a:gd name="connsiteY8" fmla="*/ 171985 h 343970"/>
                    <a:gd name="connsiteX9" fmla="*/ 171985 w 343970"/>
                    <a:gd name="connsiteY9" fmla="*/ 22931 h 343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3970" h="343970">
                      <a:moveTo>
                        <a:pt x="171985" y="343970"/>
                      </a:moveTo>
                      <a:cubicBezTo>
                        <a:pt x="77153" y="343970"/>
                        <a:pt x="0" y="266818"/>
                        <a:pt x="0" y="171985"/>
                      </a:cubicBezTo>
                      <a:cubicBezTo>
                        <a:pt x="0" y="77153"/>
                        <a:pt x="77153" y="0"/>
                        <a:pt x="171985" y="0"/>
                      </a:cubicBezTo>
                      <a:cubicBezTo>
                        <a:pt x="266818" y="0"/>
                        <a:pt x="343970" y="77153"/>
                        <a:pt x="343970" y="171985"/>
                      </a:cubicBezTo>
                      <a:cubicBezTo>
                        <a:pt x="343970" y="266818"/>
                        <a:pt x="266818" y="343970"/>
                        <a:pt x="171985" y="343970"/>
                      </a:cubicBezTo>
                      <a:close/>
                      <a:moveTo>
                        <a:pt x="171985" y="22931"/>
                      </a:moveTo>
                      <a:cubicBezTo>
                        <a:pt x="89799" y="22931"/>
                        <a:pt x="22931" y="89799"/>
                        <a:pt x="22931" y="171985"/>
                      </a:cubicBezTo>
                      <a:cubicBezTo>
                        <a:pt x="22931" y="254171"/>
                        <a:pt x="89799" y="321039"/>
                        <a:pt x="171985" y="321039"/>
                      </a:cubicBezTo>
                      <a:cubicBezTo>
                        <a:pt x="254171" y="321039"/>
                        <a:pt x="321039" y="254171"/>
                        <a:pt x="321039" y="171985"/>
                      </a:cubicBezTo>
                      <a:cubicBezTo>
                        <a:pt x="321039" y="89799"/>
                        <a:pt x="254171" y="22931"/>
                        <a:pt x="171985" y="22931"/>
                      </a:cubicBezTo>
                      <a:close/>
                    </a:path>
                  </a:pathLst>
                </a:custGeom>
                <a:grpFill/>
                <a:ln w="1145" cap="flat">
                  <a:noFill/>
                  <a:prstDash val="solid"/>
                  <a:miter/>
                </a:ln>
              </p:spPr>
              <p:txBody>
                <a:bodyPr rtlCol="0" anchor="ctr"/>
                <a:lstStyle/>
                <a:p>
                  <a:endParaRPr lang="en-GB" dirty="0"/>
                </a:p>
              </p:txBody>
            </p:sp>
            <p:sp>
              <p:nvSpPr>
                <p:cNvPr id="59" name="Freeform: Shape 58">
                  <a:extLst>
                    <a:ext uri="{FF2B5EF4-FFF2-40B4-BE49-F238E27FC236}">
                      <a16:creationId xmlns:a16="http://schemas.microsoft.com/office/drawing/2014/main" id="{29F78BAB-5EBF-4956-AF9A-5E6783F040F7}"/>
                    </a:ext>
                  </a:extLst>
                </p:cNvPr>
                <p:cNvSpPr/>
                <p:nvPr/>
              </p:nvSpPr>
              <p:spPr>
                <a:xfrm>
                  <a:off x="6716080" y="2021925"/>
                  <a:ext cx="22931" cy="45862"/>
                </a:xfrm>
                <a:custGeom>
                  <a:avLst/>
                  <a:gdLst>
                    <a:gd name="connsiteX0" fmla="*/ 11466 w 22931"/>
                    <a:gd name="connsiteY0" fmla="*/ 45863 h 45862"/>
                    <a:gd name="connsiteX1" fmla="*/ 0 w 22931"/>
                    <a:gd name="connsiteY1" fmla="*/ 34397 h 45862"/>
                    <a:gd name="connsiteX2" fmla="*/ 0 w 22931"/>
                    <a:gd name="connsiteY2" fmla="*/ 11466 h 45862"/>
                    <a:gd name="connsiteX3" fmla="*/ 11466 w 22931"/>
                    <a:gd name="connsiteY3" fmla="*/ 0 h 45862"/>
                    <a:gd name="connsiteX4" fmla="*/ 22931 w 22931"/>
                    <a:gd name="connsiteY4" fmla="*/ 11466 h 45862"/>
                    <a:gd name="connsiteX5" fmla="*/ 22931 w 22931"/>
                    <a:gd name="connsiteY5" fmla="*/ 34397 h 45862"/>
                    <a:gd name="connsiteX6" fmla="*/ 11466 w 22931"/>
                    <a:gd name="connsiteY6" fmla="*/ 45863 h 4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45862">
                      <a:moveTo>
                        <a:pt x="11466" y="45863"/>
                      </a:moveTo>
                      <a:cubicBezTo>
                        <a:pt x="5125" y="45863"/>
                        <a:pt x="0" y="40726"/>
                        <a:pt x="0" y="34397"/>
                      </a:cubicBezTo>
                      <a:lnTo>
                        <a:pt x="0" y="11466"/>
                      </a:lnTo>
                      <a:cubicBezTo>
                        <a:pt x="0" y="5137"/>
                        <a:pt x="5125" y="0"/>
                        <a:pt x="11466" y="0"/>
                      </a:cubicBezTo>
                      <a:cubicBezTo>
                        <a:pt x="17806" y="0"/>
                        <a:pt x="22931" y="5137"/>
                        <a:pt x="22931" y="11466"/>
                      </a:cubicBezTo>
                      <a:lnTo>
                        <a:pt x="22931" y="34397"/>
                      </a:lnTo>
                      <a:cubicBezTo>
                        <a:pt x="22931" y="40726"/>
                        <a:pt x="17806" y="45863"/>
                        <a:pt x="11466" y="45863"/>
                      </a:cubicBezTo>
                      <a:close/>
                    </a:path>
                  </a:pathLst>
                </a:custGeom>
                <a:grpFill/>
                <a:ln w="1145" cap="flat">
                  <a:noFill/>
                  <a:prstDash val="solid"/>
                  <a:miter/>
                </a:ln>
              </p:spPr>
              <p:txBody>
                <a:bodyPr rtlCol="0" anchor="ctr"/>
                <a:lstStyle/>
                <a:p>
                  <a:endParaRPr lang="en-GB" dirty="0"/>
                </a:p>
              </p:txBody>
            </p:sp>
            <p:sp>
              <p:nvSpPr>
                <p:cNvPr id="60" name="Freeform: Shape 59">
                  <a:extLst>
                    <a:ext uri="{FF2B5EF4-FFF2-40B4-BE49-F238E27FC236}">
                      <a16:creationId xmlns:a16="http://schemas.microsoft.com/office/drawing/2014/main" id="{C8A4304A-4276-4D17-BAFB-BFDAA966641A}"/>
                    </a:ext>
                  </a:extLst>
                </p:cNvPr>
                <p:cNvSpPr/>
                <p:nvPr/>
              </p:nvSpPr>
              <p:spPr>
                <a:xfrm>
                  <a:off x="6716080" y="1700886"/>
                  <a:ext cx="22931" cy="45862"/>
                </a:xfrm>
                <a:custGeom>
                  <a:avLst/>
                  <a:gdLst>
                    <a:gd name="connsiteX0" fmla="*/ 11466 w 22931"/>
                    <a:gd name="connsiteY0" fmla="*/ 45863 h 45862"/>
                    <a:gd name="connsiteX1" fmla="*/ 0 w 22931"/>
                    <a:gd name="connsiteY1" fmla="*/ 34397 h 45862"/>
                    <a:gd name="connsiteX2" fmla="*/ 0 w 22931"/>
                    <a:gd name="connsiteY2" fmla="*/ 11466 h 45862"/>
                    <a:gd name="connsiteX3" fmla="*/ 11466 w 22931"/>
                    <a:gd name="connsiteY3" fmla="*/ 0 h 45862"/>
                    <a:gd name="connsiteX4" fmla="*/ 22931 w 22931"/>
                    <a:gd name="connsiteY4" fmla="*/ 11466 h 45862"/>
                    <a:gd name="connsiteX5" fmla="*/ 22931 w 22931"/>
                    <a:gd name="connsiteY5" fmla="*/ 34397 h 45862"/>
                    <a:gd name="connsiteX6" fmla="*/ 11466 w 22931"/>
                    <a:gd name="connsiteY6" fmla="*/ 45863 h 4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45862">
                      <a:moveTo>
                        <a:pt x="11466" y="45863"/>
                      </a:moveTo>
                      <a:cubicBezTo>
                        <a:pt x="5125" y="45863"/>
                        <a:pt x="0" y="40726"/>
                        <a:pt x="0" y="34397"/>
                      </a:cubicBezTo>
                      <a:lnTo>
                        <a:pt x="0" y="11466"/>
                      </a:lnTo>
                      <a:cubicBezTo>
                        <a:pt x="0" y="5137"/>
                        <a:pt x="5125" y="0"/>
                        <a:pt x="11466" y="0"/>
                      </a:cubicBezTo>
                      <a:cubicBezTo>
                        <a:pt x="17806" y="0"/>
                        <a:pt x="22931" y="5137"/>
                        <a:pt x="22931" y="11466"/>
                      </a:cubicBezTo>
                      <a:lnTo>
                        <a:pt x="22931" y="34397"/>
                      </a:lnTo>
                      <a:cubicBezTo>
                        <a:pt x="22931" y="40726"/>
                        <a:pt x="17806" y="45863"/>
                        <a:pt x="11466" y="45863"/>
                      </a:cubicBezTo>
                      <a:close/>
                    </a:path>
                  </a:pathLst>
                </a:custGeom>
                <a:grpFill/>
                <a:ln w="1145" cap="flat">
                  <a:noFill/>
                  <a:prstDash val="solid"/>
                  <a:miter/>
                </a:ln>
              </p:spPr>
              <p:txBody>
                <a:bodyPr rtlCol="0" anchor="ctr"/>
                <a:lstStyle/>
                <a:p>
                  <a:endParaRPr lang="en-GB" dirty="0"/>
                </a:p>
              </p:txBody>
            </p:sp>
            <p:sp>
              <p:nvSpPr>
                <p:cNvPr id="61" name="Freeform: Shape 60">
                  <a:extLst>
                    <a:ext uri="{FF2B5EF4-FFF2-40B4-BE49-F238E27FC236}">
                      <a16:creationId xmlns:a16="http://schemas.microsoft.com/office/drawing/2014/main" id="{33E78445-9AC6-47EF-BAEA-B0B10CA08625}"/>
                    </a:ext>
                  </a:extLst>
                </p:cNvPr>
                <p:cNvSpPr/>
                <p:nvPr/>
              </p:nvSpPr>
              <p:spPr>
                <a:xfrm>
                  <a:off x="6865133" y="1872871"/>
                  <a:ext cx="45862" cy="22931"/>
                </a:xfrm>
                <a:custGeom>
                  <a:avLst/>
                  <a:gdLst>
                    <a:gd name="connsiteX0" fmla="*/ 34397 w 45862"/>
                    <a:gd name="connsiteY0" fmla="*/ 22931 h 22931"/>
                    <a:gd name="connsiteX1" fmla="*/ 11466 w 45862"/>
                    <a:gd name="connsiteY1" fmla="*/ 22931 h 22931"/>
                    <a:gd name="connsiteX2" fmla="*/ 0 w 45862"/>
                    <a:gd name="connsiteY2" fmla="*/ 11466 h 22931"/>
                    <a:gd name="connsiteX3" fmla="*/ 11466 w 45862"/>
                    <a:gd name="connsiteY3" fmla="*/ 0 h 22931"/>
                    <a:gd name="connsiteX4" fmla="*/ 34397 w 45862"/>
                    <a:gd name="connsiteY4" fmla="*/ 0 h 22931"/>
                    <a:gd name="connsiteX5" fmla="*/ 45863 w 45862"/>
                    <a:gd name="connsiteY5" fmla="*/ 11466 h 22931"/>
                    <a:gd name="connsiteX6" fmla="*/ 34397 w 45862"/>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62" h="22931">
                      <a:moveTo>
                        <a:pt x="34397" y="22931"/>
                      </a:moveTo>
                      <a:lnTo>
                        <a:pt x="11466" y="22931"/>
                      </a:lnTo>
                      <a:cubicBezTo>
                        <a:pt x="5125" y="22931"/>
                        <a:pt x="0" y="17795"/>
                        <a:pt x="0" y="11466"/>
                      </a:cubicBezTo>
                      <a:cubicBezTo>
                        <a:pt x="0" y="5137"/>
                        <a:pt x="5125" y="0"/>
                        <a:pt x="11466" y="0"/>
                      </a:cubicBezTo>
                      <a:lnTo>
                        <a:pt x="34397" y="0"/>
                      </a:lnTo>
                      <a:cubicBezTo>
                        <a:pt x="40737" y="0"/>
                        <a:pt x="45863" y="5137"/>
                        <a:pt x="45863" y="11466"/>
                      </a:cubicBezTo>
                      <a:cubicBezTo>
                        <a:pt x="45863" y="17795"/>
                        <a:pt x="40737" y="22931"/>
                        <a:pt x="34397" y="22931"/>
                      </a:cubicBezTo>
                      <a:close/>
                    </a:path>
                  </a:pathLst>
                </a:custGeom>
                <a:grpFill/>
                <a:ln w="1145" cap="flat">
                  <a:noFill/>
                  <a:prstDash val="solid"/>
                  <a:miter/>
                </a:ln>
              </p:spPr>
              <p:txBody>
                <a:bodyPr rtlCol="0" anchor="ctr"/>
                <a:lstStyle/>
                <a:p>
                  <a:endParaRPr lang="en-GB" dirty="0"/>
                </a:p>
              </p:txBody>
            </p:sp>
            <p:sp>
              <p:nvSpPr>
                <p:cNvPr id="62" name="Freeform: Shape 61">
                  <a:extLst>
                    <a:ext uri="{FF2B5EF4-FFF2-40B4-BE49-F238E27FC236}">
                      <a16:creationId xmlns:a16="http://schemas.microsoft.com/office/drawing/2014/main" id="{7E953EB5-D7D7-4DD6-BE64-39B3E6F5670C}"/>
                    </a:ext>
                  </a:extLst>
                </p:cNvPr>
                <p:cNvSpPr/>
                <p:nvPr/>
              </p:nvSpPr>
              <p:spPr>
                <a:xfrm>
                  <a:off x="6544095" y="1872871"/>
                  <a:ext cx="45862" cy="22931"/>
                </a:xfrm>
                <a:custGeom>
                  <a:avLst/>
                  <a:gdLst>
                    <a:gd name="connsiteX0" fmla="*/ 34397 w 45862"/>
                    <a:gd name="connsiteY0" fmla="*/ 22931 h 22931"/>
                    <a:gd name="connsiteX1" fmla="*/ 11466 w 45862"/>
                    <a:gd name="connsiteY1" fmla="*/ 22931 h 22931"/>
                    <a:gd name="connsiteX2" fmla="*/ 0 w 45862"/>
                    <a:gd name="connsiteY2" fmla="*/ 11466 h 22931"/>
                    <a:gd name="connsiteX3" fmla="*/ 11466 w 45862"/>
                    <a:gd name="connsiteY3" fmla="*/ 0 h 22931"/>
                    <a:gd name="connsiteX4" fmla="*/ 34397 w 45862"/>
                    <a:gd name="connsiteY4" fmla="*/ 0 h 22931"/>
                    <a:gd name="connsiteX5" fmla="*/ 45863 w 45862"/>
                    <a:gd name="connsiteY5" fmla="*/ 11466 h 22931"/>
                    <a:gd name="connsiteX6" fmla="*/ 34397 w 45862"/>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62" h="22931">
                      <a:moveTo>
                        <a:pt x="34397" y="22931"/>
                      </a:moveTo>
                      <a:lnTo>
                        <a:pt x="11466" y="22931"/>
                      </a:lnTo>
                      <a:cubicBezTo>
                        <a:pt x="5125" y="22931"/>
                        <a:pt x="0" y="17795"/>
                        <a:pt x="0" y="11466"/>
                      </a:cubicBezTo>
                      <a:cubicBezTo>
                        <a:pt x="0" y="5137"/>
                        <a:pt x="5125" y="0"/>
                        <a:pt x="11466" y="0"/>
                      </a:cubicBezTo>
                      <a:lnTo>
                        <a:pt x="34397" y="0"/>
                      </a:lnTo>
                      <a:cubicBezTo>
                        <a:pt x="40738" y="0"/>
                        <a:pt x="45863" y="5137"/>
                        <a:pt x="45863" y="11466"/>
                      </a:cubicBezTo>
                      <a:cubicBezTo>
                        <a:pt x="45863" y="17795"/>
                        <a:pt x="40738" y="22931"/>
                        <a:pt x="34397" y="22931"/>
                      </a:cubicBezTo>
                      <a:close/>
                    </a:path>
                  </a:pathLst>
                </a:custGeom>
                <a:grpFill/>
                <a:ln w="1145" cap="flat">
                  <a:noFill/>
                  <a:prstDash val="solid"/>
                  <a:miter/>
                </a:ln>
              </p:spPr>
              <p:txBody>
                <a:bodyPr rtlCol="0" anchor="ctr"/>
                <a:lstStyle/>
                <a:p>
                  <a:endParaRPr lang="en-GB" dirty="0"/>
                </a:p>
              </p:txBody>
            </p:sp>
          </p:grpSp>
        </p:grpSp>
      </p:grpSp>
      <p:grpSp>
        <p:nvGrpSpPr>
          <p:cNvPr id="4" name="Group 3">
            <a:extLst>
              <a:ext uri="{FF2B5EF4-FFF2-40B4-BE49-F238E27FC236}">
                <a16:creationId xmlns:a16="http://schemas.microsoft.com/office/drawing/2014/main" id="{01A77738-4E42-5FC8-E9C8-F7DDF63F0A78}"/>
              </a:ext>
            </a:extLst>
          </p:cNvPr>
          <p:cNvGrpSpPr/>
          <p:nvPr/>
        </p:nvGrpSpPr>
        <p:grpSpPr>
          <a:xfrm>
            <a:off x="524436" y="1637526"/>
            <a:ext cx="539229" cy="427080"/>
            <a:chOff x="524436" y="1637526"/>
            <a:chExt cx="539229" cy="427080"/>
          </a:xfrm>
        </p:grpSpPr>
        <p:grpSp>
          <p:nvGrpSpPr>
            <p:cNvPr id="75" name="Group 74">
              <a:extLst>
                <a:ext uri="{FF2B5EF4-FFF2-40B4-BE49-F238E27FC236}">
                  <a16:creationId xmlns:a16="http://schemas.microsoft.com/office/drawing/2014/main" id="{136F4CCE-1AC4-4EC6-9388-4708F0E75712}"/>
                </a:ext>
              </a:extLst>
            </p:cNvPr>
            <p:cNvGrpSpPr/>
            <p:nvPr/>
          </p:nvGrpSpPr>
          <p:grpSpPr>
            <a:xfrm>
              <a:off x="524436" y="1637526"/>
              <a:ext cx="539229" cy="427080"/>
              <a:chOff x="7027209" y="2412653"/>
              <a:chExt cx="539229" cy="427080"/>
            </a:xfrm>
            <a:solidFill>
              <a:schemeClr val="tx2"/>
            </a:solidFill>
          </p:grpSpPr>
          <p:grpSp>
            <p:nvGrpSpPr>
              <p:cNvPr id="116" name="Graphic 48">
                <a:extLst>
                  <a:ext uri="{FF2B5EF4-FFF2-40B4-BE49-F238E27FC236}">
                    <a16:creationId xmlns:a16="http://schemas.microsoft.com/office/drawing/2014/main" id="{D5D65A77-140C-4666-8561-239D1F97CFA0}"/>
                  </a:ext>
                </a:extLst>
              </p:cNvPr>
              <p:cNvGrpSpPr/>
              <p:nvPr/>
            </p:nvGrpSpPr>
            <p:grpSpPr>
              <a:xfrm>
                <a:off x="7441998" y="2468301"/>
                <a:ext cx="119429" cy="130000"/>
                <a:chOff x="5543749" y="1558803"/>
                <a:chExt cx="211793" cy="230540"/>
              </a:xfrm>
              <a:grpFill/>
            </p:grpSpPr>
            <p:sp>
              <p:nvSpPr>
                <p:cNvPr id="129" name="Freeform: Shape 128">
                  <a:extLst>
                    <a:ext uri="{FF2B5EF4-FFF2-40B4-BE49-F238E27FC236}">
                      <a16:creationId xmlns:a16="http://schemas.microsoft.com/office/drawing/2014/main" id="{87AB7CDA-E1E4-4887-B619-7272AF2843E1}"/>
                    </a:ext>
                  </a:extLst>
                </p:cNvPr>
                <p:cNvSpPr/>
                <p:nvPr/>
              </p:nvSpPr>
              <p:spPr>
                <a:xfrm>
                  <a:off x="5543749" y="1693559"/>
                  <a:ext cx="211793" cy="95784"/>
                </a:xfrm>
                <a:custGeom>
                  <a:avLst/>
                  <a:gdLst>
                    <a:gd name="connsiteX0" fmla="*/ 200328 w 211793"/>
                    <a:gd name="connsiteY0" fmla="*/ 95784 h 95784"/>
                    <a:gd name="connsiteX1" fmla="*/ 11466 w 211793"/>
                    <a:gd name="connsiteY1" fmla="*/ 95784 h 95784"/>
                    <a:gd name="connsiteX2" fmla="*/ 0 w 211793"/>
                    <a:gd name="connsiteY2" fmla="*/ 84319 h 95784"/>
                    <a:gd name="connsiteX3" fmla="*/ 79377 w 211793"/>
                    <a:gd name="connsiteY3" fmla="*/ 0 h 95784"/>
                    <a:gd name="connsiteX4" fmla="*/ 132417 w 211793"/>
                    <a:gd name="connsiteY4" fmla="*/ 0 h 95784"/>
                    <a:gd name="connsiteX5" fmla="*/ 211794 w 211793"/>
                    <a:gd name="connsiteY5" fmla="*/ 84319 h 95784"/>
                    <a:gd name="connsiteX6" fmla="*/ 200328 w 211793"/>
                    <a:gd name="connsiteY6" fmla="*/ 95784 h 95784"/>
                    <a:gd name="connsiteX7" fmla="*/ 23608 w 211793"/>
                    <a:gd name="connsiteY7" fmla="*/ 72853 h 95784"/>
                    <a:gd name="connsiteX8" fmla="*/ 188186 w 211793"/>
                    <a:gd name="connsiteY8" fmla="*/ 72853 h 95784"/>
                    <a:gd name="connsiteX9" fmla="*/ 132417 w 211793"/>
                    <a:gd name="connsiteY9" fmla="*/ 22931 h 95784"/>
                    <a:gd name="connsiteX10" fmla="*/ 79377 w 211793"/>
                    <a:gd name="connsiteY10" fmla="*/ 22931 h 95784"/>
                    <a:gd name="connsiteX11" fmla="*/ 23608 w 211793"/>
                    <a:gd name="connsiteY11" fmla="*/ 72853 h 95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793" h="95784">
                      <a:moveTo>
                        <a:pt x="200328" y="95784"/>
                      </a:moveTo>
                      <a:lnTo>
                        <a:pt x="11466" y="95784"/>
                      </a:lnTo>
                      <a:cubicBezTo>
                        <a:pt x="5125" y="95784"/>
                        <a:pt x="0" y="90648"/>
                        <a:pt x="0" y="84319"/>
                      </a:cubicBezTo>
                      <a:cubicBezTo>
                        <a:pt x="0" y="33090"/>
                        <a:pt x="31164" y="0"/>
                        <a:pt x="79377" y="0"/>
                      </a:cubicBezTo>
                      <a:lnTo>
                        <a:pt x="132417" y="0"/>
                      </a:lnTo>
                      <a:cubicBezTo>
                        <a:pt x="180630" y="0"/>
                        <a:pt x="211794" y="33101"/>
                        <a:pt x="211794" y="84319"/>
                      </a:cubicBezTo>
                      <a:cubicBezTo>
                        <a:pt x="211794" y="90648"/>
                        <a:pt x="206657" y="95784"/>
                        <a:pt x="200328" y="95784"/>
                      </a:cubicBezTo>
                      <a:close/>
                      <a:moveTo>
                        <a:pt x="23608" y="72853"/>
                      </a:moveTo>
                      <a:lnTo>
                        <a:pt x="188186" y="72853"/>
                      </a:lnTo>
                      <a:cubicBezTo>
                        <a:pt x="184322" y="41357"/>
                        <a:pt x="164085" y="22931"/>
                        <a:pt x="132417" y="22931"/>
                      </a:cubicBezTo>
                      <a:lnTo>
                        <a:pt x="79377" y="22931"/>
                      </a:lnTo>
                      <a:cubicBezTo>
                        <a:pt x="47697" y="22920"/>
                        <a:pt x="27460" y="41345"/>
                        <a:pt x="23608" y="72853"/>
                      </a:cubicBezTo>
                      <a:close/>
                    </a:path>
                  </a:pathLst>
                </a:custGeom>
                <a:grpFill/>
                <a:ln w="1145" cap="flat">
                  <a:noFill/>
                  <a:prstDash val="solid"/>
                  <a:miter/>
                </a:ln>
              </p:spPr>
              <p:txBody>
                <a:bodyPr rtlCol="0" anchor="ctr"/>
                <a:lstStyle/>
                <a:p>
                  <a:endParaRPr lang="en-GB" dirty="0"/>
                </a:p>
              </p:txBody>
            </p:sp>
            <p:sp>
              <p:nvSpPr>
                <p:cNvPr id="130" name="Freeform: Shape 129">
                  <a:extLst>
                    <a:ext uri="{FF2B5EF4-FFF2-40B4-BE49-F238E27FC236}">
                      <a16:creationId xmlns:a16="http://schemas.microsoft.com/office/drawing/2014/main" id="{EB0F0232-3593-4EF9-902C-1BA93465B8ED}"/>
                    </a:ext>
                  </a:extLst>
                </p:cNvPr>
                <p:cNvSpPr/>
                <p:nvPr/>
              </p:nvSpPr>
              <p:spPr>
                <a:xfrm>
                  <a:off x="5599919" y="1558803"/>
                  <a:ext cx="99843" cy="115390"/>
                </a:xfrm>
                <a:custGeom>
                  <a:avLst/>
                  <a:gdLst>
                    <a:gd name="connsiteX0" fmla="*/ 49922 w 99843"/>
                    <a:gd name="connsiteY0" fmla="*/ 115391 h 115390"/>
                    <a:gd name="connsiteX1" fmla="*/ 0 w 99843"/>
                    <a:gd name="connsiteY1" fmla="*/ 57695 h 115390"/>
                    <a:gd name="connsiteX2" fmla="*/ 49922 w 99843"/>
                    <a:gd name="connsiteY2" fmla="*/ 0 h 115390"/>
                    <a:gd name="connsiteX3" fmla="*/ 99843 w 99843"/>
                    <a:gd name="connsiteY3" fmla="*/ 57695 h 115390"/>
                    <a:gd name="connsiteX4" fmla="*/ 49922 w 99843"/>
                    <a:gd name="connsiteY4" fmla="*/ 115391 h 115390"/>
                    <a:gd name="connsiteX5" fmla="*/ 49922 w 99843"/>
                    <a:gd name="connsiteY5" fmla="*/ 22943 h 115390"/>
                    <a:gd name="connsiteX6" fmla="*/ 22931 w 99843"/>
                    <a:gd name="connsiteY6" fmla="*/ 57707 h 115390"/>
                    <a:gd name="connsiteX7" fmla="*/ 49922 w 99843"/>
                    <a:gd name="connsiteY7" fmla="*/ 92471 h 115390"/>
                    <a:gd name="connsiteX8" fmla="*/ 76912 w 99843"/>
                    <a:gd name="connsiteY8" fmla="*/ 57707 h 115390"/>
                    <a:gd name="connsiteX9" fmla="*/ 49922 w 99843"/>
                    <a:gd name="connsiteY9" fmla="*/ 22943 h 115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843" h="115390">
                      <a:moveTo>
                        <a:pt x="49922" y="115391"/>
                      </a:moveTo>
                      <a:cubicBezTo>
                        <a:pt x="20065" y="115391"/>
                        <a:pt x="0" y="92207"/>
                        <a:pt x="0" y="57695"/>
                      </a:cubicBezTo>
                      <a:cubicBezTo>
                        <a:pt x="0" y="23184"/>
                        <a:pt x="20065" y="0"/>
                        <a:pt x="49922" y="0"/>
                      </a:cubicBezTo>
                      <a:cubicBezTo>
                        <a:pt x="79778" y="0"/>
                        <a:pt x="99843" y="23184"/>
                        <a:pt x="99843" y="57695"/>
                      </a:cubicBezTo>
                      <a:cubicBezTo>
                        <a:pt x="99843" y="92207"/>
                        <a:pt x="79778" y="115391"/>
                        <a:pt x="49922" y="115391"/>
                      </a:cubicBezTo>
                      <a:close/>
                      <a:moveTo>
                        <a:pt x="49922" y="22943"/>
                      </a:moveTo>
                      <a:cubicBezTo>
                        <a:pt x="24880" y="22943"/>
                        <a:pt x="22931" y="49543"/>
                        <a:pt x="22931" y="57707"/>
                      </a:cubicBezTo>
                      <a:cubicBezTo>
                        <a:pt x="22931" y="65859"/>
                        <a:pt x="24880" y="92471"/>
                        <a:pt x="49922" y="92471"/>
                      </a:cubicBezTo>
                      <a:cubicBezTo>
                        <a:pt x="74974" y="92471"/>
                        <a:pt x="76912" y="65870"/>
                        <a:pt x="76912" y="57707"/>
                      </a:cubicBezTo>
                      <a:cubicBezTo>
                        <a:pt x="76912" y="49543"/>
                        <a:pt x="74962" y="22943"/>
                        <a:pt x="49922" y="22943"/>
                      </a:cubicBezTo>
                      <a:close/>
                    </a:path>
                  </a:pathLst>
                </a:custGeom>
                <a:grpFill/>
                <a:ln w="1145" cap="flat">
                  <a:noFill/>
                  <a:prstDash val="solid"/>
                  <a:miter/>
                </a:ln>
              </p:spPr>
              <p:txBody>
                <a:bodyPr rtlCol="0" anchor="ctr"/>
                <a:lstStyle/>
                <a:p>
                  <a:endParaRPr lang="en-GB" dirty="0"/>
                </a:p>
              </p:txBody>
            </p:sp>
          </p:grpSp>
          <p:grpSp>
            <p:nvGrpSpPr>
              <p:cNvPr id="117" name="Graphic 48">
                <a:extLst>
                  <a:ext uri="{FF2B5EF4-FFF2-40B4-BE49-F238E27FC236}">
                    <a16:creationId xmlns:a16="http://schemas.microsoft.com/office/drawing/2014/main" id="{18608321-192A-4E67-96D2-A589CAE4181F}"/>
                  </a:ext>
                </a:extLst>
              </p:cNvPr>
              <p:cNvGrpSpPr/>
              <p:nvPr/>
            </p:nvGrpSpPr>
            <p:grpSpPr>
              <a:xfrm>
                <a:off x="7027209" y="2468301"/>
                <a:ext cx="119436" cy="130000"/>
                <a:chOff x="4808169" y="1558803"/>
                <a:chExt cx="211805" cy="230540"/>
              </a:xfrm>
              <a:grpFill/>
            </p:grpSpPr>
            <p:sp>
              <p:nvSpPr>
                <p:cNvPr id="127" name="Freeform: Shape 126">
                  <a:extLst>
                    <a:ext uri="{FF2B5EF4-FFF2-40B4-BE49-F238E27FC236}">
                      <a16:creationId xmlns:a16="http://schemas.microsoft.com/office/drawing/2014/main" id="{40F38E65-0723-4B04-BE78-EA727E7939E3}"/>
                    </a:ext>
                  </a:extLst>
                </p:cNvPr>
                <p:cNvSpPr/>
                <p:nvPr/>
              </p:nvSpPr>
              <p:spPr>
                <a:xfrm>
                  <a:off x="4808169" y="1693559"/>
                  <a:ext cx="211805" cy="95784"/>
                </a:xfrm>
                <a:custGeom>
                  <a:avLst/>
                  <a:gdLst>
                    <a:gd name="connsiteX0" fmla="*/ 200340 w 211805"/>
                    <a:gd name="connsiteY0" fmla="*/ 95784 h 95784"/>
                    <a:gd name="connsiteX1" fmla="*/ 11466 w 211805"/>
                    <a:gd name="connsiteY1" fmla="*/ 95784 h 95784"/>
                    <a:gd name="connsiteX2" fmla="*/ 0 w 211805"/>
                    <a:gd name="connsiteY2" fmla="*/ 84319 h 95784"/>
                    <a:gd name="connsiteX3" fmla="*/ 79388 w 211805"/>
                    <a:gd name="connsiteY3" fmla="*/ 0 h 95784"/>
                    <a:gd name="connsiteX4" fmla="*/ 132429 w 211805"/>
                    <a:gd name="connsiteY4" fmla="*/ 0 h 95784"/>
                    <a:gd name="connsiteX5" fmla="*/ 211805 w 211805"/>
                    <a:gd name="connsiteY5" fmla="*/ 84319 h 95784"/>
                    <a:gd name="connsiteX6" fmla="*/ 200340 w 211805"/>
                    <a:gd name="connsiteY6" fmla="*/ 95784 h 95784"/>
                    <a:gd name="connsiteX7" fmla="*/ 23608 w 211805"/>
                    <a:gd name="connsiteY7" fmla="*/ 72853 h 95784"/>
                    <a:gd name="connsiteX8" fmla="*/ 188198 w 211805"/>
                    <a:gd name="connsiteY8" fmla="*/ 72853 h 95784"/>
                    <a:gd name="connsiteX9" fmla="*/ 132429 w 211805"/>
                    <a:gd name="connsiteY9" fmla="*/ 22931 h 95784"/>
                    <a:gd name="connsiteX10" fmla="*/ 79388 w 211805"/>
                    <a:gd name="connsiteY10" fmla="*/ 22931 h 95784"/>
                    <a:gd name="connsiteX11" fmla="*/ 23608 w 211805"/>
                    <a:gd name="connsiteY11" fmla="*/ 72853 h 95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1805" h="95784">
                      <a:moveTo>
                        <a:pt x="200340" y="95784"/>
                      </a:moveTo>
                      <a:lnTo>
                        <a:pt x="11466" y="95784"/>
                      </a:lnTo>
                      <a:cubicBezTo>
                        <a:pt x="5125" y="95784"/>
                        <a:pt x="0" y="90648"/>
                        <a:pt x="0" y="84319"/>
                      </a:cubicBezTo>
                      <a:cubicBezTo>
                        <a:pt x="0" y="33090"/>
                        <a:pt x="31164" y="0"/>
                        <a:pt x="79388" y="0"/>
                      </a:cubicBezTo>
                      <a:lnTo>
                        <a:pt x="132429" y="0"/>
                      </a:lnTo>
                      <a:cubicBezTo>
                        <a:pt x="180642" y="0"/>
                        <a:pt x="211805" y="33101"/>
                        <a:pt x="211805" y="84319"/>
                      </a:cubicBezTo>
                      <a:cubicBezTo>
                        <a:pt x="211805" y="90648"/>
                        <a:pt x="206680" y="95784"/>
                        <a:pt x="200340" y="95784"/>
                      </a:cubicBezTo>
                      <a:close/>
                      <a:moveTo>
                        <a:pt x="23608" y="72853"/>
                      </a:moveTo>
                      <a:lnTo>
                        <a:pt x="188198" y="72853"/>
                      </a:lnTo>
                      <a:cubicBezTo>
                        <a:pt x="184334" y="41357"/>
                        <a:pt x="164097" y="22931"/>
                        <a:pt x="132429" y="22931"/>
                      </a:cubicBezTo>
                      <a:lnTo>
                        <a:pt x="79388" y="22931"/>
                      </a:lnTo>
                      <a:cubicBezTo>
                        <a:pt x="47720" y="22920"/>
                        <a:pt x="27472" y="41345"/>
                        <a:pt x="23608" y="72853"/>
                      </a:cubicBezTo>
                      <a:close/>
                    </a:path>
                  </a:pathLst>
                </a:custGeom>
                <a:grpFill/>
                <a:ln w="1145" cap="flat">
                  <a:noFill/>
                  <a:prstDash val="solid"/>
                  <a:miter/>
                </a:ln>
              </p:spPr>
              <p:txBody>
                <a:bodyPr rtlCol="0" anchor="ctr"/>
                <a:lstStyle/>
                <a:p>
                  <a:endParaRPr lang="en-GB" dirty="0"/>
                </a:p>
              </p:txBody>
            </p:sp>
            <p:sp>
              <p:nvSpPr>
                <p:cNvPr id="128" name="Freeform: Shape 127">
                  <a:extLst>
                    <a:ext uri="{FF2B5EF4-FFF2-40B4-BE49-F238E27FC236}">
                      <a16:creationId xmlns:a16="http://schemas.microsoft.com/office/drawing/2014/main" id="{5A189078-7003-4AF0-8D0E-17F66CE5179B}"/>
                    </a:ext>
                  </a:extLst>
                </p:cNvPr>
                <p:cNvSpPr/>
                <p:nvPr/>
              </p:nvSpPr>
              <p:spPr>
                <a:xfrm>
                  <a:off x="4864362" y="1558803"/>
                  <a:ext cx="99843" cy="115390"/>
                </a:xfrm>
                <a:custGeom>
                  <a:avLst/>
                  <a:gdLst>
                    <a:gd name="connsiteX0" fmla="*/ 49922 w 99843"/>
                    <a:gd name="connsiteY0" fmla="*/ 115391 h 115390"/>
                    <a:gd name="connsiteX1" fmla="*/ 0 w 99843"/>
                    <a:gd name="connsiteY1" fmla="*/ 57695 h 115390"/>
                    <a:gd name="connsiteX2" fmla="*/ 49922 w 99843"/>
                    <a:gd name="connsiteY2" fmla="*/ 0 h 115390"/>
                    <a:gd name="connsiteX3" fmla="*/ 99843 w 99843"/>
                    <a:gd name="connsiteY3" fmla="*/ 57695 h 115390"/>
                    <a:gd name="connsiteX4" fmla="*/ 49922 w 99843"/>
                    <a:gd name="connsiteY4" fmla="*/ 115391 h 115390"/>
                    <a:gd name="connsiteX5" fmla="*/ 49922 w 99843"/>
                    <a:gd name="connsiteY5" fmla="*/ 22943 h 115390"/>
                    <a:gd name="connsiteX6" fmla="*/ 22931 w 99843"/>
                    <a:gd name="connsiteY6" fmla="*/ 57707 h 115390"/>
                    <a:gd name="connsiteX7" fmla="*/ 49922 w 99843"/>
                    <a:gd name="connsiteY7" fmla="*/ 92471 h 115390"/>
                    <a:gd name="connsiteX8" fmla="*/ 76912 w 99843"/>
                    <a:gd name="connsiteY8" fmla="*/ 57707 h 115390"/>
                    <a:gd name="connsiteX9" fmla="*/ 49922 w 99843"/>
                    <a:gd name="connsiteY9" fmla="*/ 22943 h 115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843" h="115390">
                      <a:moveTo>
                        <a:pt x="49922" y="115391"/>
                      </a:moveTo>
                      <a:cubicBezTo>
                        <a:pt x="20065" y="115391"/>
                        <a:pt x="0" y="92207"/>
                        <a:pt x="0" y="57695"/>
                      </a:cubicBezTo>
                      <a:cubicBezTo>
                        <a:pt x="0" y="23184"/>
                        <a:pt x="20065" y="0"/>
                        <a:pt x="49922" y="0"/>
                      </a:cubicBezTo>
                      <a:cubicBezTo>
                        <a:pt x="79778" y="0"/>
                        <a:pt x="99843" y="23184"/>
                        <a:pt x="99843" y="57695"/>
                      </a:cubicBezTo>
                      <a:cubicBezTo>
                        <a:pt x="99843" y="92207"/>
                        <a:pt x="79778" y="115391"/>
                        <a:pt x="49922" y="115391"/>
                      </a:cubicBezTo>
                      <a:close/>
                      <a:moveTo>
                        <a:pt x="49922" y="22943"/>
                      </a:moveTo>
                      <a:cubicBezTo>
                        <a:pt x="24880" y="22943"/>
                        <a:pt x="22931" y="49543"/>
                        <a:pt x="22931" y="57707"/>
                      </a:cubicBezTo>
                      <a:cubicBezTo>
                        <a:pt x="22931" y="65859"/>
                        <a:pt x="24880" y="92471"/>
                        <a:pt x="49922" y="92471"/>
                      </a:cubicBezTo>
                      <a:cubicBezTo>
                        <a:pt x="74974" y="92471"/>
                        <a:pt x="76912" y="65870"/>
                        <a:pt x="76912" y="57707"/>
                      </a:cubicBezTo>
                      <a:cubicBezTo>
                        <a:pt x="76912" y="49543"/>
                        <a:pt x="74963" y="22943"/>
                        <a:pt x="49922" y="22943"/>
                      </a:cubicBezTo>
                      <a:close/>
                    </a:path>
                  </a:pathLst>
                </a:custGeom>
                <a:grpFill/>
                <a:ln w="1145" cap="flat">
                  <a:noFill/>
                  <a:prstDash val="solid"/>
                  <a:miter/>
                </a:ln>
              </p:spPr>
              <p:txBody>
                <a:bodyPr rtlCol="0" anchor="ctr"/>
                <a:lstStyle/>
                <a:p>
                  <a:endParaRPr lang="en-GB" dirty="0"/>
                </a:p>
              </p:txBody>
            </p:sp>
          </p:grpSp>
          <p:grpSp>
            <p:nvGrpSpPr>
              <p:cNvPr id="118" name="Graphic 48">
                <a:extLst>
                  <a:ext uri="{FF2B5EF4-FFF2-40B4-BE49-F238E27FC236}">
                    <a16:creationId xmlns:a16="http://schemas.microsoft.com/office/drawing/2014/main" id="{63F3F9C8-11C3-4298-8B06-02C716DD7687}"/>
                  </a:ext>
                </a:extLst>
              </p:cNvPr>
              <p:cNvGrpSpPr/>
              <p:nvPr/>
            </p:nvGrpSpPr>
            <p:grpSpPr>
              <a:xfrm>
                <a:off x="7158785" y="2412653"/>
                <a:ext cx="407653" cy="427080"/>
                <a:chOff x="5041503" y="1460118"/>
                <a:chExt cx="722926" cy="757376"/>
              </a:xfrm>
              <a:grpFill/>
            </p:grpSpPr>
            <p:sp>
              <p:nvSpPr>
                <p:cNvPr id="119" name="Freeform: Shape 118">
                  <a:extLst>
                    <a:ext uri="{FF2B5EF4-FFF2-40B4-BE49-F238E27FC236}">
                      <a16:creationId xmlns:a16="http://schemas.microsoft.com/office/drawing/2014/main" id="{47E22F84-154C-4381-8C6E-33D231047D1B}"/>
                    </a:ext>
                  </a:extLst>
                </p:cNvPr>
                <p:cNvSpPr/>
                <p:nvPr/>
              </p:nvSpPr>
              <p:spPr>
                <a:xfrm>
                  <a:off x="5403513" y="1827627"/>
                  <a:ext cx="139491" cy="138632"/>
                </a:xfrm>
                <a:custGeom>
                  <a:avLst/>
                  <a:gdLst>
                    <a:gd name="connsiteX0" fmla="*/ 71316 w 139491"/>
                    <a:gd name="connsiteY0" fmla="*/ 138632 h 138632"/>
                    <a:gd name="connsiteX1" fmla="*/ 63313 w 139491"/>
                    <a:gd name="connsiteY1" fmla="*/ 135376 h 138632"/>
                    <a:gd name="connsiteX2" fmla="*/ 3462 w 139491"/>
                    <a:gd name="connsiteY2" fmla="*/ 77050 h 138632"/>
                    <a:gd name="connsiteX3" fmla="*/ 3256 w 139491"/>
                    <a:gd name="connsiteY3" fmla="*/ 60838 h 138632"/>
                    <a:gd name="connsiteX4" fmla="*/ 19468 w 139491"/>
                    <a:gd name="connsiteY4" fmla="*/ 60620 h 138632"/>
                    <a:gd name="connsiteX5" fmla="*/ 71167 w 139491"/>
                    <a:gd name="connsiteY5" fmla="*/ 111011 h 138632"/>
                    <a:gd name="connsiteX6" fmla="*/ 111755 w 139491"/>
                    <a:gd name="connsiteY6" fmla="*/ 69942 h 138632"/>
                    <a:gd name="connsiteX7" fmla="*/ 60171 w 139491"/>
                    <a:gd name="connsiteY7" fmla="*/ 19676 h 138632"/>
                    <a:gd name="connsiteX8" fmla="*/ 59965 w 139491"/>
                    <a:gd name="connsiteY8" fmla="*/ 3464 h 138632"/>
                    <a:gd name="connsiteX9" fmla="*/ 76177 w 139491"/>
                    <a:gd name="connsiteY9" fmla="*/ 3246 h 138632"/>
                    <a:gd name="connsiteX10" fmla="*/ 136028 w 139491"/>
                    <a:gd name="connsiteY10" fmla="*/ 61572 h 138632"/>
                    <a:gd name="connsiteX11" fmla="*/ 139491 w 139491"/>
                    <a:gd name="connsiteY11" fmla="*/ 69678 h 138632"/>
                    <a:gd name="connsiteX12" fmla="*/ 136177 w 139491"/>
                    <a:gd name="connsiteY12" fmla="*/ 77841 h 138632"/>
                    <a:gd name="connsiteX13" fmla="*/ 79468 w 139491"/>
                    <a:gd name="connsiteY13" fmla="*/ 135216 h 138632"/>
                    <a:gd name="connsiteX14" fmla="*/ 71316 w 139491"/>
                    <a:gd name="connsiteY14" fmla="*/ 138632 h 138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9491" h="138632">
                      <a:moveTo>
                        <a:pt x="71316" y="138632"/>
                      </a:moveTo>
                      <a:cubicBezTo>
                        <a:pt x="68426" y="138632"/>
                        <a:pt x="65537" y="137555"/>
                        <a:pt x="63313" y="135376"/>
                      </a:cubicBezTo>
                      <a:lnTo>
                        <a:pt x="3462" y="77050"/>
                      </a:lnTo>
                      <a:cubicBezTo>
                        <a:pt x="-1078" y="72624"/>
                        <a:pt x="-1159" y="65367"/>
                        <a:pt x="3256" y="60838"/>
                      </a:cubicBezTo>
                      <a:cubicBezTo>
                        <a:pt x="7670" y="56297"/>
                        <a:pt x="14951" y="56217"/>
                        <a:pt x="19468" y="60620"/>
                      </a:cubicBezTo>
                      <a:lnTo>
                        <a:pt x="71167" y="111011"/>
                      </a:lnTo>
                      <a:lnTo>
                        <a:pt x="111755" y="69942"/>
                      </a:lnTo>
                      <a:lnTo>
                        <a:pt x="60171" y="19676"/>
                      </a:lnTo>
                      <a:cubicBezTo>
                        <a:pt x="55631" y="15250"/>
                        <a:pt x="55551" y="7992"/>
                        <a:pt x="59965" y="3464"/>
                      </a:cubicBezTo>
                      <a:cubicBezTo>
                        <a:pt x="64379" y="-1077"/>
                        <a:pt x="71671" y="-1157"/>
                        <a:pt x="76177" y="3246"/>
                      </a:cubicBezTo>
                      <a:lnTo>
                        <a:pt x="136028" y="61572"/>
                      </a:lnTo>
                      <a:cubicBezTo>
                        <a:pt x="138207" y="63704"/>
                        <a:pt x="139457" y="66616"/>
                        <a:pt x="139491" y="69678"/>
                      </a:cubicBezTo>
                      <a:cubicBezTo>
                        <a:pt x="139525" y="72739"/>
                        <a:pt x="138321" y="75674"/>
                        <a:pt x="136177" y="77841"/>
                      </a:cubicBezTo>
                      <a:lnTo>
                        <a:pt x="79468" y="135216"/>
                      </a:lnTo>
                      <a:cubicBezTo>
                        <a:pt x="77232" y="137497"/>
                        <a:pt x="74274" y="138632"/>
                        <a:pt x="71316" y="138632"/>
                      </a:cubicBezTo>
                      <a:close/>
                    </a:path>
                  </a:pathLst>
                </a:custGeom>
                <a:grpFill/>
                <a:ln w="1145" cap="flat">
                  <a:noFill/>
                  <a:prstDash val="solid"/>
                  <a:miter/>
                </a:ln>
              </p:spPr>
              <p:txBody>
                <a:bodyPr rtlCol="0" anchor="ctr"/>
                <a:lstStyle/>
                <a:p>
                  <a:endParaRPr lang="en-GB" dirty="0"/>
                </a:p>
              </p:txBody>
            </p:sp>
            <p:grpSp>
              <p:nvGrpSpPr>
                <p:cNvPr id="120" name="Graphic 48">
                  <a:extLst>
                    <a:ext uri="{FF2B5EF4-FFF2-40B4-BE49-F238E27FC236}">
                      <a16:creationId xmlns:a16="http://schemas.microsoft.com/office/drawing/2014/main" id="{589D496E-9F63-417A-987B-A4B3241CD50E}"/>
                    </a:ext>
                  </a:extLst>
                </p:cNvPr>
                <p:cNvGrpSpPr/>
                <p:nvPr/>
              </p:nvGrpSpPr>
              <p:grpSpPr>
                <a:xfrm>
                  <a:off x="5361543" y="1834913"/>
                  <a:ext cx="402886" cy="382581"/>
                  <a:chOff x="5361543" y="1834913"/>
                  <a:chExt cx="402886" cy="382581"/>
                </a:xfrm>
                <a:grpFill/>
              </p:grpSpPr>
              <p:sp>
                <p:nvSpPr>
                  <p:cNvPr id="122" name="Freeform: Shape 121">
                    <a:extLst>
                      <a:ext uri="{FF2B5EF4-FFF2-40B4-BE49-F238E27FC236}">
                        <a16:creationId xmlns:a16="http://schemas.microsoft.com/office/drawing/2014/main" id="{2BE5A9CC-7386-44B9-BD88-A9247820F444}"/>
                      </a:ext>
                    </a:extLst>
                  </p:cNvPr>
                  <p:cNvSpPr/>
                  <p:nvPr/>
                </p:nvSpPr>
                <p:spPr>
                  <a:xfrm>
                    <a:off x="5537468" y="1962461"/>
                    <a:ext cx="226961" cy="255033"/>
                  </a:xfrm>
                  <a:custGeom>
                    <a:avLst/>
                    <a:gdLst>
                      <a:gd name="connsiteX0" fmla="*/ 11464 w 226961"/>
                      <a:gd name="connsiteY0" fmla="*/ 255034 h 255033"/>
                      <a:gd name="connsiteX1" fmla="*/ 2967 w 226961"/>
                      <a:gd name="connsiteY1" fmla="*/ 251273 h 255033"/>
                      <a:gd name="connsiteX2" fmla="*/ 3759 w 226961"/>
                      <a:gd name="connsiteY2" fmla="*/ 235072 h 255033"/>
                      <a:gd name="connsiteX3" fmla="*/ 28444 w 226961"/>
                      <a:gd name="connsiteY3" fmla="*/ 212691 h 255033"/>
                      <a:gd name="connsiteX4" fmla="*/ 32824 w 226961"/>
                      <a:gd name="connsiteY4" fmla="*/ 210214 h 255033"/>
                      <a:gd name="connsiteX5" fmla="*/ 63162 w 226961"/>
                      <a:gd name="connsiteY5" fmla="*/ 191915 h 255033"/>
                      <a:gd name="connsiteX6" fmla="*/ 200051 w 226961"/>
                      <a:gd name="connsiteY6" fmla="*/ 53421 h 255033"/>
                      <a:gd name="connsiteX7" fmla="*/ 204029 w 226961"/>
                      <a:gd name="connsiteY7" fmla="*/ 43675 h 255033"/>
                      <a:gd name="connsiteX8" fmla="*/ 199971 w 226961"/>
                      <a:gd name="connsiteY8" fmla="*/ 33998 h 255033"/>
                      <a:gd name="connsiteX9" fmla="*/ 192804 w 226961"/>
                      <a:gd name="connsiteY9" fmla="*/ 26924 h 255033"/>
                      <a:gd name="connsiteX10" fmla="*/ 183173 w 226961"/>
                      <a:gd name="connsiteY10" fmla="*/ 22968 h 255033"/>
                      <a:gd name="connsiteX11" fmla="*/ 183082 w 226961"/>
                      <a:gd name="connsiteY11" fmla="*/ 22968 h 255033"/>
                      <a:gd name="connsiteX12" fmla="*/ 173382 w 226961"/>
                      <a:gd name="connsiteY12" fmla="*/ 27050 h 255033"/>
                      <a:gd name="connsiteX13" fmla="*/ 155656 w 226961"/>
                      <a:gd name="connsiteY13" fmla="*/ 44982 h 255033"/>
                      <a:gd name="connsiteX14" fmla="*/ 139443 w 226961"/>
                      <a:gd name="connsiteY14" fmla="*/ 45074 h 255033"/>
                      <a:gd name="connsiteX15" fmla="*/ 139352 w 226961"/>
                      <a:gd name="connsiteY15" fmla="*/ 28850 h 255033"/>
                      <a:gd name="connsiteX16" fmla="*/ 157078 w 226961"/>
                      <a:gd name="connsiteY16" fmla="*/ 10918 h 255033"/>
                      <a:gd name="connsiteX17" fmla="*/ 182933 w 226961"/>
                      <a:gd name="connsiteY17" fmla="*/ 26 h 255033"/>
                      <a:gd name="connsiteX18" fmla="*/ 208925 w 226961"/>
                      <a:gd name="connsiteY18" fmla="*/ 10608 h 255033"/>
                      <a:gd name="connsiteX19" fmla="*/ 216091 w 226961"/>
                      <a:gd name="connsiteY19" fmla="*/ 17683 h 255033"/>
                      <a:gd name="connsiteX20" fmla="*/ 226961 w 226961"/>
                      <a:gd name="connsiteY20" fmla="*/ 43549 h 255033"/>
                      <a:gd name="connsiteX21" fmla="*/ 216355 w 226961"/>
                      <a:gd name="connsiteY21" fmla="*/ 69531 h 255033"/>
                      <a:gd name="connsiteX22" fmla="*/ 79466 w 226961"/>
                      <a:gd name="connsiteY22" fmla="*/ 208024 h 255033"/>
                      <a:gd name="connsiteX23" fmla="*/ 42008 w 226961"/>
                      <a:gd name="connsiteY23" fmla="*/ 231346 h 255033"/>
                      <a:gd name="connsiteX24" fmla="*/ 19168 w 226961"/>
                      <a:gd name="connsiteY24" fmla="*/ 252053 h 255033"/>
                      <a:gd name="connsiteX25" fmla="*/ 11464 w 226961"/>
                      <a:gd name="connsiteY25" fmla="*/ 255034 h 255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26961" h="255033">
                        <a:moveTo>
                          <a:pt x="11464" y="255034"/>
                        </a:moveTo>
                        <a:cubicBezTo>
                          <a:pt x="8345" y="255034"/>
                          <a:pt x="5226" y="253761"/>
                          <a:pt x="2967" y="251273"/>
                        </a:cubicBezTo>
                        <a:cubicBezTo>
                          <a:pt x="-1275" y="246583"/>
                          <a:pt x="-931" y="239326"/>
                          <a:pt x="3759" y="235072"/>
                        </a:cubicBezTo>
                        <a:lnTo>
                          <a:pt x="28444" y="212691"/>
                        </a:lnTo>
                        <a:cubicBezTo>
                          <a:pt x="29705" y="211544"/>
                          <a:pt x="31196" y="210707"/>
                          <a:pt x="32824" y="210214"/>
                        </a:cubicBezTo>
                        <a:cubicBezTo>
                          <a:pt x="44244" y="206752"/>
                          <a:pt x="54735" y="200423"/>
                          <a:pt x="63162" y="191915"/>
                        </a:cubicBezTo>
                        <a:lnTo>
                          <a:pt x="200051" y="53421"/>
                        </a:lnTo>
                        <a:cubicBezTo>
                          <a:pt x="202631" y="50807"/>
                          <a:pt x="204052" y="47356"/>
                          <a:pt x="204029" y="43675"/>
                        </a:cubicBezTo>
                        <a:cubicBezTo>
                          <a:pt x="204006" y="40006"/>
                          <a:pt x="202562" y="36578"/>
                          <a:pt x="199971" y="33998"/>
                        </a:cubicBezTo>
                        <a:lnTo>
                          <a:pt x="192804" y="26924"/>
                        </a:lnTo>
                        <a:cubicBezTo>
                          <a:pt x="190213" y="24367"/>
                          <a:pt x="186808" y="22968"/>
                          <a:pt x="183173" y="22968"/>
                        </a:cubicBezTo>
                        <a:cubicBezTo>
                          <a:pt x="183150" y="22968"/>
                          <a:pt x="183116" y="22968"/>
                          <a:pt x="183082" y="22968"/>
                        </a:cubicBezTo>
                        <a:cubicBezTo>
                          <a:pt x="179413" y="22991"/>
                          <a:pt x="175973" y="24436"/>
                          <a:pt x="173382" y="27050"/>
                        </a:cubicBezTo>
                        <a:lnTo>
                          <a:pt x="155656" y="44982"/>
                        </a:lnTo>
                        <a:cubicBezTo>
                          <a:pt x="151207" y="49489"/>
                          <a:pt x="143949" y="49523"/>
                          <a:pt x="139443" y="45074"/>
                        </a:cubicBezTo>
                        <a:cubicBezTo>
                          <a:pt x="134937" y="40614"/>
                          <a:pt x="134903" y="33368"/>
                          <a:pt x="139352" y="28850"/>
                        </a:cubicBezTo>
                        <a:lnTo>
                          <a:pt x="157078" y="10918"/>
                        </a:lnTo>
                        <a:cubicBezTo>
                          <a:pt x="163968" y="3958"/>
                          <a:pt x="173141" y="83"/>
                          <a:pt x="182933" y="26"/>
                        </a:cubicBezTo>
                        <a:cubicBezTo>
                          <a:pt x="192289" y="-364"/>
                          <a:pt x="201966" y="3718"/>
                          <a:pt x="208925" y="10608"/>
                        </a:cubicBezTo>
                        <a:lnTo>
                          <a:pt x="216091" y="17683"/>
                        </a:lnTo>
                        <a:cubicBezTo>
                          <a:pt x="223051" y="24574"/>
                          <a:pt x="226903" y="33758"/>
                          <a:pt x="226961" y="43549"/>
                        </a:cubicBezTo>
                        <a:cubicBezTo>
                          <a:pt x="227007" y="53341"/>
                          <a:pt x="223246" y="62559"/>
                          <a:pt x="216355" y="69531"/>
                        </a:cubicBezTo>
                        <a:lnTo>
                          <a:pt x="79466" y="208024"/>
                        </a:lnTo>
                        <a:cubicBezTo>
                          <a:pt x="68998" y="218607"/>
                          <a:pt x="56099" y="226633"/>
                          <a:pt x="42008" y="231346"/>
                        </a:cubicBezTo>
                        <a:lnTo>
                          <a:pt x="19168" y="252053"/>
                        </a:lnTo>
                        <a:cubicBezTo>
                          <a:pt x="16979" y="254048"/>
                          <a:pt x="14215" y="255034"/>
                          <a:pt x="11464" y="255034"/>
                        </a:cubicBezTo>
                        <a:close/>
                      </a:path>
                    </a:pathLst>
                  </a:custGeom>
                  <a:grpFill/>
                  <a:ln w="1145" cap="flat">
                    <a:noFill/>
                    <a:prstDash val="solid"/>
                    <a:miter/>
                  </a:ln>
                </p:spPr>
                <p:txBody>
                  <a:bodyPr rtlCol="0" anchor="ctr"/>
                  <a:lstStyle/>
                  <a:p>
                    <a:endParaRPr lang="en-GB" dirty="0"/>
                  </a:p>
                </p:txBody>
              </p:sp>
              <p:sp>
                <p:nvSpPr>
                  <p:cNvPr id="123" name="Freeform: Shape 122">
                    <a:extLst>
                      <a:ext uri="{FF2B5EF4-FFF2-40B4-BE49-F238E27FC236}">
                        <a16:creationId xmlns:a16="http://schemas.microsoft.com/office/drawing/2014/main" id="{DCEE87C5-0505-4C76-BD13-BDB6D656F8AD}"/>
                      </a:ext>
                    </a:extLst>
                  </p:cNvPr>
                  <p:cNvSpPr/>
                  <p:nvPr/>
                </p:nvSpPr>
                <p:spPr>
                  <a:xfrm>
                    <a:off x="5361543" y="1917348"/>
                    <a:ext cx="92612" cy="166996"/>
                  </a:xfrm>
                  <a:custGeom>
                    <a:avLst/>
                    <a:gdLst>
                      <a:gd name="connsiteX0" fmla="*/ 11471 w 92612"/>
                      <a:gd name="connsiteY0" fmla="*/ 166996 h 166996"/>
                      <a:gd name="connsiteX1" fmla="*/ 3743 w 92612"/>
                      <a:gd name="connsiteY1" fmla="*/ 164004 h 166996"/>
                      <a:gd name="connsiteX2" fmla="*/ 2998 w 92612"/>
                      <a:gd name="connsiteY2" fmla="*/ 147803 h 166996"/>
                      <a:gd name="connsiteX3" fmla="*/ 19612 w 92612"/>
                      <a:gd name="connsiteY3" fmla="*/ 129595 h 166996"/>
                      <a:gd name="connsiteX4" fmla="*/ 38278 w 92612"/>
                      <a:gd name="connsiteY4" fmla="*/ 38535 h 166996"/>
                      <a:gd name="connsiteX5" fmla="*/ 72996 w 92612"/>
                      <a:gd name="connsiteY5" fmla="*/ 3404 h 166996"/>
                      <a:gd name="connsiteX6" fmla="*/ 89208 w 92612"/>
                      <a:gd name="connsiteY6" fmla="*/ 3312 h 166996"/>
                      <a:gd name="connsiteX7" fmla="*/ 89300 w 92612"/>
                      <a:gd name="connsiteY7" fmla="*/ 19536 h 166996"/>
                      <a:gd name="connsiteX8" fmla="*/ 54582 w 92612"/>
                      <a:gd name="connsiteY8" fmla="*/ 54667 h 166996"/>
                      <a:gd name="connsiteX9" fmla="*/ 43426 w 92612"/>
                      <a:gd name="connsiteY9" fmla="*/ 125995 h 166996"/>
                      <a:gd name="connsiteX10" fmla="*/ 41855 w 92612"/>
                      <a:gd name="connsiteY10" fmla="*/ 139249 h 166996"/>
                      <a:gd name="connsiteX11" fmla="*/ 19944 w 92612"/>
                      <a:gd name="connsiteY11" fmla="*/ 163281 h 166996"/>
                      <a:gd name="connsiteX12" fmla="*/ 11471 w 92612"/>
                      <a:gd name="connsiteY12" fmla="*/ 166996 h 16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2612" h="166996">
                        <a:moveTo>
                          <a:pt x="11471" y="166996"/>
                        </a:moveTo>
                        <a:cubicBezTo>
                          <a:pt x="8708" y="166996"/>
                          <a:pt x="5945" y="166010"/>
                          <a:pt x="3743" y="164004"/>
                        </a:cubicBezTo>
                        <a:cubicBezTo>
                          <a:pt x="-935" y="159738"/>
                          <a:pt x="-1279" y="152492"/>
                          <a:pt x="2998" y="147803"/>
                        </a:cubicBezTo>
                        <a:lnTo>
                          <a:pt x="19612" y="129595"/>
                        </a:lnTo>
                        <a:cubicBezTo>
                          <a:pt x="4924" y="97170"/>
                          <a:pt x="11287" y="65835"/>
                          <a:pt x="38278" y="38535"/>
                        </a:cubicBezTo>
                        <a:lnTo>
                          <a:pt x="72996" y="3404"/>
                        </a:lnTo>
                        <a:cubicBezTo>
                          <a:pt x="77444" y="-1102"/>
                          <a:pt x="84702" y="-1136"/>
                          <a:pt x="89208" y="3312"/>
                        </a:cubicBezTo>
                        <a:cubicBezTo>
                          <a:pt x="93714" y="7772"/>
                          <a:pt x="93748" y="15019"/>
                          <a:pt x="89300" y="19536"/>
                        </a:cubicBezTo>
                        <a:lnTo>
                          <a:pt x="54582" y="54667"/>
                        </a:lnTo>
                        <a:cubicBezTo>
                          <a:pt x="32499" y="77002"/>
                          <a:pt x="28967" y="99670"/>
                          <a:pt x="43426" y="125995"/>
                        </a:cubicBezTo>
                        <a:cubicBezTo>
                          <a:pt x="45788" y="130295"/>
                          <a:pt x="45157" y="135626"/>
                          <a:pt x="41855" y="139249"/>
                        </a:cubicBezTo>
                        <a:lnTo>
                          <a:pt x="19944" y="163281"/>
                        </a:lnTo>
                        <a:cubicBezTo>
                          <a:pt x="17685" y="165735"/>
                          <a:pt x="14590" y="166996"/>
                          <a:pt x="11471" y="166996"/>
                        </a:cubicBezTo>
                        <a:close/>
                      </a:path>
                    </a:pathLst>
                  </a:custGeom>
                  <a:grpFill/>
                  <a:ln w="1145" cap="flat">
                    <a:noFill/>
                    <a:prstDash val="solid"/>
                    <a:miter/>
                  </a:ln>
                </p:spPr>
                <p:txBody>
                  <a:bodyPr rtlCol="0" anchor="ctr"/>
                  <a:lstStyle/>
                  <a:p>
                    <a:endParaRPr lang="en-GB" dirty="0"/>
                  </a:p>
                </p:txBody>
              </p:sp>
              <p:sp>
                <p:nvSpPr>
                  <p:cNvPr id="124" name="Freeform: Shape 123">
                    <a:extLst>
                      <a:ext uri="{FF2B5EF4-FFF2-40B4-BE49-F238E27FC236}">
                        <a16:creationId xmlns:a16="http://schemas.microsoft.com/office/drawing/2014/main" id="{8EA60772-B34E-4593-91F4-8F386F64D3AC}"/>
                      </a:ext>
                    </a:extLst>
                  </p:cNvPr>
                  <p:cNvSpPr/>
                  <p:nvPr/>
                </p:nvSpPr>
                <p:spPr>
                  <a:xfrm>
                    <a:off x="5630465" y="1919983"/>
                    <a:ext cx="90896" cy="90819"/>
                  </a:xfrm>
                  <a:custGeom>
                    <a:avLst/>
                    <a:gdLst>
                      <a:gd name="connsiteX0" fmla="*/ 54449 w 90896"/>
                      <a:gd name="connsiteY0" fmla="*/ 90820 h 90819"/>
                      <a:gd name="connsiteX1" fmla="*/ 46389 w 90896"/>
                      <a:gd name="connsiteY1" fmla="*/ 87506 h 90819"/>
                      <a:gd name="connsiteX2" fmla="*/ 46297 w 90896"/>
                      <a:gd name="connsiteY2" fmla="*/ 71293 h 90819"/>
                      <a:gd name="connsiteX3" fmla="*/ 64023 w 90896"/>
                      <a:gd name="connsiteY3" fmla="*/ 53373 h 90819"/>
                      <a:gd name="connsiteX4" fmla="*/ 63931 w 90896"/>
                      <a:gd name="connsiteY4" fmla="*/ 33961 h 90819"/>
                      <a:gd name="connsiteX5" fmla="*/ 56765 w 90896"/>
                      <a:gd name="connsiteY5" fmla="*/ 26887 h 90819"/>
                      <a:gd name="connsiteX6" fmla="*/ 47134 w 90896"/>
                      <a:gd name="connsiteY6" fmla="*/ 22931 h 90819"/>
                      <a:gd name="connsiteX7" fmla="*/ 47042 w 90896"/>
                      <a:gd name="connsiteY7" fmla="*/ 22931 h 90819"/>
                      <a:gd name="connsiteX8" fmla="*/ 37342 w 90896"/>
                      <a:gd name="connsiteY8" fmla="*/ 27013 h 90819"/>
                      <a:gd name="connsiteX9" fmla="*/ 19617 w 90896"/>
                      <a:gd name="connsiteY9" fmla="*/ 44945 h 90819"/>
                      <a:gd name="connsiteX10" fmla="*/ 3404 w 90896"/>
                      <a:gd name="connsiteY10" fmla="*/ 45037 h 90819"/>
                      <a:gd name="connsiteX11" fmla="*/ 3312 w 90896"/>
                      <a:gd name="connsiteY11" fmla="*/ 28825 h 90819"/>
                      <a:gd name="connsiteX12" fmla="*/ 21038 w 90896"/>
                      <a:gd name="connsiteY12" fmla="*/ 10904 h 90819"/>
                      <a:gd name="connsiteX13" fmla="*/ 46893 w 90896"/>
                      <a:gd name="connsiteY13" fmla="*/ 0 h 90819"/>
                      <a:gd name="connsiteX14" fmla="*/ 47134 w 90896"/>
                      <a:gd name="connsiteY14" fmla="*/ 0 h 90819"/>
                      <a:gd name="connsiteX15" fmla="*/ 72875 w 90896"/>
                      <a:gd name="connsiteY15" fmla="*/ 10583 h 90819"/>
                      <a:gd name="connsiteX16" fmla="*/ 80041 w 90896"/>
                      <a:gd name="connsiteY16" fmla="*/ 17657 h 90819"/>
                      <a:gd name="connsiteX17" fmla="*/ 80304 w 90896"/>
                      <a:gd name="connsiteY17" fmla="*/ 69493 h 90819"/>
                      <a:gd name="connsiteX18" fmla="*/ 62578 w 90896"/>
                      <a:gd name="connsiteY18" fmla="*/ 87426 h 90819"/>
                      <a:gd name="connsiteX19" fmla="*/ 54449 w 90896"/>
                      <a:gd name="connsiteY19" fmla="*/ 90820 h 90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0896" h="90819">
                        <a:moveTo>
                          <a:pt x="54449" y="90820"/>
                        </a:moveTo>
                        <a:cubicBezTo>
                          <a:pt x="51537" y="90820"/>
                          <a:pt x="48625" y="89719"/>
                          <a:pt x="46389" y="87506"/>
                        </a:cubicBezTo>
                        <a:cubicBezTo>
                          <a:pt x="41883" y="83057"/>
                          <a:pt x="41848" y="75800"/>
                          <a:pt x="46297" y="71293"/>
                        </a:cubicBezTo>
                        <a:lnTo>
                          <a:pt x="64023" y="53373"/>
                        </a:lnTo>
                        <a:cubicBezTo>
                          <a:pt x="69343" y="47984"/>
                          <a:pt x="69309" y="39281"/>
                          <a:pt x="63931" y="33961"/>
                        </a:cubicBezTo>
                        <a:lnTo>
                          <a:pt x="56765" y="26887"/>
                        </a:lnTo>
                        <a:cubicBezTo>
                          <a:pt x="54185" y="24330"/>
                          <a:pt x="50769" y="22931"/>
                          <a:pt x="47134" y="22931"/>
                        </a:cubicBezTo>
                        <a:cubicBezTo>
                          <a:pt x="47111" y="22931"/>
                          <a:pt x="47077" y="22931"/>
                          <a:pt x="47042" y="22931"/>
                        </a:cubicBezTo>
                        <a:cubicBezTo>
                          <a:pt x="43373" y="22954"/>
                          <a:pt x="39934" y="24410"/>
                          <a:pt x="37342" y="27013"/>
                        </a:cubicBezTo>
                        <a:lnTo>
                          <a:pt x="19617" y="44945"/>
                        </a:lnTo>
                        <a:cubicBezTo>
                          <a:pt x="15168" y="49451"/>
                          <a:pt x="7910" y="49486"/>
                          <a:pt x="3404" y="45037"/>
                        </a:cubicBezTo>
                        <a:cubicBezTo>
                          <a:pt x="-1102" y="40588"/>
                          <a:pt x="-1136" y="33331"/>
                          <a:pt x="3312" y="28825"/>
                        </a:cubicBezTo>
                        <a:lnTo>
                          <a:pt x="21038" y="10904"/>
                        </a:lnTo>
                        <a:cubicBezTo>
                          <a:pt x="27918" y="3944"/>
                          <a:pt x="37102" y="69"/>
                          <a:pt x="46893" y="0"/>
                        </a:cubicBezTo>
                        <a:cubicBezTo>
                          <a:pt x="46974" y="0"/>
                          <a:pt x="47054" y="0"/>
                          <a:pt x="47134" y="0"/>
                        </a:cubicBezTo>
                        <a:cubicBezTo>
                          <a:pt x="56834" y="0"/>
                          <a:pt x="65972" y="3749"/>
                          <a:pt x="72875" y="10583"/>
                        </a:cubicBezTo>
                        <a:lnTo>
                          <a:pt x="80041" y="17657"/>
                        </a:lnTo>
                        <a:cubicBezTo>
                          <a:pt x="94407" y="31863"/>
                          <a:pt x="94533" y="55115"/>
                          <a:pt x="80304" y="69493"/>
                        </a:cubicBezTo>
                        <a:lnTo>
                          <a:pt x="62578" y="87426"/>
                        </a:lnTo>
                        <a:cubicBezTo>
                          <a:pt x="60366" y="89684"/>
                          <a:pt x="57407" y="90820"/>
                          <a:pt x="54449" y="90820"/>
                        </a:cubicBezTo>
                        <a:close/>
                      </a:path>
                    </a:pathLst>
                  </a:custGeom>
                  <a:grpFill/>
                  <a:ln w="1145" cap="flat">
                    <a:noFill/>
                    <a:prstDash val="solid"/>
                    <a:miter/>
                  </a:ln>
                </p:spPr>
                <p:txBody>
                  <a:bodyPr rtlCol="0" anchor="ctr"/>
                  <a:lstStyle/>
                  <a:p>
                    <a:endParaRPr lang="en-GB" dirty="0"/>
                  </a:p>
                </p:txBody>
              </p:sp>
              <p:sp>
                <p:nvSpPr>
                  <p:cNvPr id="125" name="Freeform: Shape 124">
                    <a:extLst>
                      <a:ext uri="{FF2B5EF4-FFF2-40B4-BE49-F238E27FC236}">
                        <a16:creationId xmlns:a16="http://schemas.microsoft.com/office/drawing/2014/main" id="{38A48266-F863-4981-804C-F03E16D8740C}"/>
                      </a:ext>
                    </a:extLst>
                  </p:cNvPr>
                  <p:cNvSpPr/>
                  <p:nvPr/>
                </p:nvSpPr>
                <p:spPr>
                  <a:xfrm>
                    <a:off x="5587467" y="1877454"/>
                    <a:ext cx="90900" cy="90811"/>
                  </a:xfrm>
                  <a:custGeom>
                    <a:avLst/>
                    <a:gdLst>
                      <a:gd name="connsiteX0" fmla="*/ 54428 w 90900"/>
                      <a:gd name="connsiteY0" fmla="*/ 90812 h 90811"/>
                      <a:gd name="connsiteX1" fmla="*/ 46368 w 90900"/>
                      <a:gd name="connsiteY1" fmla="*/ 87498 h 90811"/>
                      <a:gd name="connsiteX2" fmla="*/ 46276 w 90900"/>
                      <a:gd name="connsiteY2" fmla="*/ 71286 h 90811"/>
                      <a:gd name="connsiteX3" fmla="*/ 63990 w 90900"/>
                      <a:gd name="connsiteY3" fmla="*/ 53365 h 90811"/>
                      <a:gd name="connsiteX4" fmla="*/ 67969 w 90900"/>
                      <a:gd name="connsiteY4" fmla="*/ 43619 h 90811"/>
                      <a:gd name="connsiteX5" fmla="*/ 63910 w 90900"/>
                      <a:gd name="connsiteY5" fmla="*/ 33942 h 90811"/>
                      <a:gd name="connsiteX6" fmla="*/ 56744 w 90900"/>
                      <a:gd name="connsiteY6" fmla="*/ 26868 h 90811"/>
                      <a:gd name="connsiteX7" fmla="*/ 37332 w 90900"/>
                      <a:gd name="connsiteY7" fmla="*/ 27005 h 90811"/>
                      <a:gd name="connsiteX8" fmla="*/ 19618 w 90900"/>
                      <a:gd name="connsiteY8" fmla="*/ 44926 h 90811"/>
                      <a:gd name="connsiteX9" fmla="*/ 3405 w 90900"/>
                      <a:gd name="connsiteY9" fmla="*/ 45029 h 90811"/>
                      <a:gd name="connsiteX10" fmla="*/ 3302 w 90900"/>
                      <a:gd name="connsiteY10" fmla="*/ 28817 h 90811"/>
                      <a:gd name="connsiteX11" fmla="*/ 21017 w 90900"/>
                      <a:gd name="connsiteY11" fmla="*/ 10884 h 90811"/>
                      <a:gd name="connsiteX12" fmla="*/ 72865 w 90900"/>
                      <a:gd name="connsiteY12" fmla="*/ 10563 h 90811"/>
                      <a:gd name="connsiteX13" fmla="*/ 80031 w 90900"/>
                      <a:gd name="connsiteY13" fmla="*/ 17638 h 90811"/>
                      <a:gd name="connsiteX14" fmla="*/ 90900 w 90900"/>
                      <a:gd name="connsiteY14" fmla="*/ 43504 h 90811"/>
                      <a:gd name="connsiteX15" fmla="*/ 80294 w 90900"/>
                      <a:gd name="connsiteY15" fmla="*/ 69486 h 90811"/>
                      <a:gd name="connsiteX16" fmla="*/ 62580 w 90900"/>
                      <a:gd name="connsiteY16" fmla="*/ 87406 h 90811"/>
                      <a:gd name="connsiteX17" fmla="*/ 54428 w 90900"/>
                      <a:gd name="connsiteY17" fmla="*/ 90812 h 9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900" h="90811">
                        <a:moveTo>
                          <a:pt x="54428" y="90812"/>
                        </a:moveTo>
                        <a:cubicBezTo>
                          <a:pt x="51516" y="90812"/>
                          <a:pt x="48603" y="89711"/>
                          <a:pt x="46368" y="87498"/>
                        </a:cubicBezTo>
                        <a:cubicBezTo>
                          <a:pt x="41861" y="83049"/>
                          <a:pt x="41827" y="75792"/>
                          <a:pt x="46276" y="71286"/>
                        </a:cubicBezTo>
                        <a:lnTo>
                          <a:pt x="63990" y="53365"/>
                        </a:lnTo>
                        <a:cubicBezTo>
                          <a:pt x="66581" y="50739"/>
                          <a:pt x="67992" y="47288"/>
                          <a:pt x="67969" y="43619"/>
                        </a:cubicBezTo>
                        <a:cubicBezTo>
                          <a:pt x="67957" y="39961"/>
                          <a:pt x="66513" y="36522"/>
                          <a:pt x="63910" y="33942"/>
                        </a:cubicBezTo>
                        <a:lnTo>
                          <a:pt x="56744" y="26868"/>
                        </a:lnTo>
                        <a:cubicBezTo>
                          <a:pt x="51378" y="21559"/>
                          <a:pt x="42653" y="21616"/>
                          <a:pt x="37332" y="27005"/>
                        </a:cubicBezTo>
                        <a:lnTo>
                          <a:pt x="19618" y="44926"/>
                        </a:lnTo>
                        <a:cubicBezTo>
                          <a:pt x="15169" y="49443"/>
                          <a:pt x="7923" y="49466"/>
                          <a:pt x="3405" y="45029"/>
                        </a:cubicBezTo>
                        <a:cubicBezTo>
                          <a:pt x="-1100" y="40581"/>
                          <a:pt x="-1135" y="33323"/>
                          <a:pt x="3302" y="28817"/>
                        </a:cubicBezTo>
                        <a:lnTo>
                          <a:pt x="21017" y="10884"/>
                        </a:lnTo>
                        <a:cubicBezTo>
                          <a:pt x="35269" y="-3505"/>
                          <a:pt x="58521" y="-3643"/>
                          <a:pt x="72865" y="10563"/>
                        </a:cubicBezTo>
                        <a:lnTo>
                          <a:pt x="80031" y="17638"/>
                        </a:lnTo>
                        <a:cubicBezTo>
                          <a:pt x="86990" y="24529"/>
                          <a:pt x="90854" y="33713"/>
                          <a:pt x="90900" y="43504"/>
                        </a:cubicBezTo>
                        <a:cubicBezTo>
                          <a:pt x="90957" y="53296"/>
                          <a:pt x="87185" y="62526"/>
                          <a:pt x="80294" y="69486"/>
                        </a:cubicBezTo>
                        <a:lnTo>
                          <a:pt x="62580" y="87406"/>
                        </a:lnTo>
                        <a:cubicBezTo>
                          <a:pt x="60344" y="89677"/>
                          <a:pt x="57386" y="90812"/>
                          <a:pt x="54428" y="90812"/>
                        </a:cubicBezTo>
                        <a:close/>
                      </a:path>
                    </a:pathLst>
                  </a:custGeom>
                  <a:grpFill/>
                  <a:ln w="1145" cap="flat">
                    <a:noFill/>
                    <a:prstDash val="solid"/>
                    <a:miter/>
                  </a:ln>
                </p:spPr>
                <p:txBody>
                  <a:bodyPr rtlCol="0" anchor="ctr"/>
                  <a:lstStyle/>
                  <a:p>
                    <a:endParaRPr lang="en-GB" dirty="0"/>
                  </a:p>
                </p:txBody>
              </p:sp>
              <p:sp>
                <p:nvSpPr>
                  <p:cNvPr id="126" name="Freeform: Shape 125">
                    <a:extLst>
                      <a:ext uri="{FF2B5EF4-FFF2-40B4-BE49-F238E27FC236}">
                        <a16:creationId xmlns:a16="http://schemas.microsoft.com/office/drawing/2014/main" id="{06189035-6147-4E14-A1BC-42094F6EEB47}"/>
                      </a:ext>
                    </a:extLst>
                  </p:cNvPr>
                  <p:cNvSpPr/>
                  <p:nvPr/>
                </p:nvSpPr>
                <p:spPr>
                  <a:xfrm>
                    <a:off x="5442205" y="1834913"/>
                    <a:ext cx="193108" cy="151525"/>
                  </a:xfrm>
                  <a:custGeom>
                    <a:avLst/>
                    <a:gdLst>
                      <a:gd name="connsiteX0" fmla="*/ 11470 w 193108"/>
                      <a:gd name="connsiteY0" fmla="*/ 151525 h 151525"/>
                      <a:gd name="connsiteX1" fmla="*/ 3398 w 193108"/>
                      <a:gd name="connsiteY1" fmla="*/ 148200 h 151525"/>
                      <a:gd name="connsiteX2" fmla="*/ 3318 w 193108"/>
                      <a:gd name="connsiteY2" fmla="*/ 131988 h 151525"/>
                      <a:gd name="connsiteX3" fmla="*/ 123260 w 193108"/>
                      <a:gd name="connsiteY3" fmla="*/ 10876 h 151525"/>
                      <a:gd name="connsiteX4" fmla="*/ 175097 w 193108"/>
                      <a:gd name="connsiteY4" fmla="*/ 10555 h 151525"/>
                      <a:gd name="connsiteX5" fmla="*/ 182251 w 193108"/>
                      <a:gd name="connsiteY5" fmla="*/ 17641 h 151525"/>
                      <a:gd name="connsiteX6" fmla="*/ 182526 w 193108"/>
                      <a:gd name="connsiteY6" fmla="*/ 69477 h 151525"/>
                      <a:gd name="connsiteX7" fmla="*/ 164801 w 193108"/>
                      <a:gd name="connsiteY7" fmla="*/ 87409 h 151525"/>
                      <a:gd name="connsiteX8" fmla="*/ 148588 w 193108"/>
                      <a:gd name="connsiteY8" fmla="*/ 87501 h 151525"/>
                      <a:gd name="connsiteX9" fmla="*/ 148496 w 193108"/>
                      <a:gd name="connsiteY9" fmla="*/ 71289 h 151525"/>
                      <a:gd name="connsiteX10" fmla="*/ 166222 w 193108"/>
                      <a:gd name="connsiteY10" fmla="*/ 53368 h 151525"/>
                      <a:gd name="connsiteX11" fmla="*/ 166119 w 193108"/>
                      <a:gd name="connsiteY11" fmla="*/ 33956 h 151525"/>
                      <a:gd name="connsiteX12" fmla="*/ 158965 w 193108"/>
                      <a:gd name="connsiteY12" fmla="*/ 26871 h 151525"/>
                      <a:gd name="connsiteX13" fmla="*/ 139553 w 193108"/>
                      <a:gd name="connsiteY13" fmla="*/ 27008 h 151525"/>
                      <a:gd name="connsiteX14" fmla="*/ 19611 w 193108"/>
                      <a:gd name="connsiteY14" fmla="*/ 148132 h 151525"/>
                      <a:gd name="connsiteX15" fmla="*/ 11470 w 193108"/>
                      <a:gd name="connsiteY15" fmla="*/ 151525 h 15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3108" h="151525">
                        <a:moveTo>
                          <a:pt x="11470" y="151525"/>
                        </a:moveTo>
                        <a:cubicBezTo>
                          <a:pt x="8558" y="151525"/>
                          <a:pt x="5634" y="150425"/>
                          <a:pt x="3398" y="148200"/>
                        </a:cubicBezTo>
                        <a:cubicBezTo>
                          <a:pt x="-1096" y="143740"/>
                          <a:pt x="-1142" y="136494"/>
                          <a:pt x="3318" y="131988"/>
                        </a:cubicBezTo>
                        <a:lnTo>
                          <a:pt x="123260" y="10876"/>
                        </a:lnTo>
                        <a:cubicBezTo>
                          <a:pt x="137478" y="-3491"/>
                          <a:pt x="160730" y="-3651"/>
                          <a:pt x="175097" y="10555"/>
                        </a:cubicBezTo>
                        <a:lnTo>
                          <a:pt x="182251" y="17641"/>
                        </a:lnTo>
                        <a:cubicBezTo>
                          <a:pt x="196618" y="31847"/>
                          <a:pt x="196744" y="55099"/>
                          <a:pt x="182526" y="69477"/>
                        </a:cubicBezTo>
                        <a:lnTo>
                          <a:pt x="164801" y="87409"/>
                        </a:lnTo>
                        <a:cubicBezTo>
                          <a:pt x="160352" y="91904"/>
                          <a:pt x="153094" y="91950"/>
                          <a:pt x="148588" y="87501"/>
                        </a:cubicBezTo>
                        <a:cubicBezTo>
                          <a:pt x="144082" y="83052"/>
                          <a:pt x="144048" y="75794"/>
                          <a:pt x="148496" y="71289"/>
                        </a:cubicBezTo>
                        <a:lnTo>
                          <a:pt x="166222" y="53368"/>
                        </a:lnTo>
                        <a:cubicBezTo>
                          <a:pt x="171542" y="47979"/>
                          <a:pt x="171497" y="39276"/>
                          <a:pt x="166119" y="33956"/>
                        </a:cubicBezTo>
                        <a:lnTo>
                          <a:pt x="158965" y="26871"/>
                        </a:lnTo>
                        <a:cubicBezTo>
                          <a:pt x="153576" y="21562"/>
                          <a:pt x="144873" y="21619"/>
                          <a:pt x="139553" y="27008"/>
                        </a:cubicBezTo>
                        <a:lnTo>
                          <a:pt x="19611" y="148132"/>
                        </a:lnTo>
                        <a:cubicBezTo>
                          <a:pt x="17375" y="150390"/>
                          <a:pt x="14428" y="151525"/>
                          <a:pt x="11470" y="151525"/>
                        </a:cubicBezTo>
                        <a:close/>
                      </a:path>
                    </a:pathLst>
                  </a:custGeom>
                  <a:grpFill/>
                  <a:ln w="1145" cap="flat">
                    <a:noFill/>
                    <a:prstDash val="solid"/>
                    <a:miter/>
                  </a:ln>
                </p:spPr>
                <p:txBody>
                  <a:bodyPr rtlCol="0" anchor="ctr"/>
                  <a:lstStyle/>
                  <a:p>
                    <a:endParaRPr lang="en-GB" dirty="0"/>
                  </a:p>
                </p:txBody>
              </p:sp>
            </p:grpSp>
            <p:sp>
              <p:nvSpPr>
                <p:cNvPr id="121" name="Freeform: Shape 120">
                  <a:extLst>
                    <a:ext uri="{FF2B5EF4-FFF2-40B4-BE49-F238E27FC236}">
                      <a16:creationId xmlns:a16="http://schemas.microsoft.com/office/drawing/2014/main" id="{24F51F18-8738-4FDC-8AF2-C69254ACA1B7}"/>
                    </a:ext>
                  </a:extLst>
                </p:cNvPr>
                <p:cNvSpPr/>
                <p:nvPr/>
              </p:nvSpPr>
              <p:spPr>
                <a:xfrm>
                  <a:off x="5041503" y="1460118"/>
                  <a:ext cx="483802" cy="483805"/>
                </a:xfrm>
                <a:custGeom>
                  <a:avLst/>
                  <a:gdLst>
                    <a:gd name="connsiteX0" fmla="*/ 241861 w 483802"/>
                    <a:gd name="connsiteY0" fmla="*/ 483794 h 483805"/>
                    <a:gd name="connsiteX1" fmla="*/ 71837 w 483802"/>
                    <a:gd name="connsiteY1" fmla="*/ 413922 h 483805"/>
                    <a:gd name="connsiteX2" fmla="*/ 4 w 483802"/>
                    <a:gd name="connsiteY2" fmla="*/ 243290 h 483805"/>
                    <a:gd name="connsiteX3" fmla="*/ 69865 w 483802"/>
                    <a:gd name="connsiteY3" fmla="*/ 71832 h 483805"/>
                    <a:gd name="connsiteX4" fmla="*/ 240508 w 483802"/>
                    <a:gd name="connsiteY4" fmla="*/ 0 h 483805"/>
                    <a:gd name="connsiteX5" fmla="*/ 241941 w 483802"/>
                    <a:gd name="connsiteY5" fmla="*/ 0 h 483805"/>
                    <a:gd name="connsiteX6" fmla="*/ 411966 w 483802"/>
                    <a:gd name="connsiteY6" fmla="*/ 69872 h 483805"/>
                    <a:gd name="connsiteX7" fmla="*/ 483798 w 483802"/>
                    <a:gd name="connsiteY7" fmla="*/ 240504 h 483805"/>
                    <a:gd name="connsiteX8" fmla="*/ 483798 w 483802"/>
                    <a:gd name="connsiteY8" fmla="*/ 240504 h 483805"/>
                    <a:gd name="connsiteX9" fmla="*/ 413938 w 483802"/>
                    <a:gd name="connsiteY9" fmla="*/ 411962 h 483805"/>
                    <a:gd name="connsiteX10" fmla="*/ 243294 w 483802"/>
                    <a:gd name="connsiteY10" fmla="*/ 483806 h 483805"/>
                    <a:gd name="connsiteX11" fmla="*/ 241861 w 483802"/>
                    <a:gd name="connsiteY11" fmla="*/ 483794 h 483805"/>
                    <a:gd name="connsiteX12" fmla="*/ 241941 w 483802"/>
                    <a:gd name="connsiteY12" fmla="*/ 22920 h 483805"/>
                    <a:gd name="connsiteX13" fmla="*/ 240646 w 483802"/>
                    <a:gd name="connsiteY13" fmla="*/ 22920 h 483805"/>
                    <a:gd name="connsiteX14" fmla="*/ 86180 w 483802"/>
                    <a:gd name="connsiteY14" fmla="*/ 87942 h 483805"/>
                    <a:gd name="connsiteX15" fmla="*/ 22936 w 483802"/>
                    <a:gd name="connsiteY15" fmla="*/ 243141 h 483805"/>
                    <a:gd name="connsiteX16" fmla="*/ 87957 w 483802"/>
                    <a:gd name="connsiteY16" fmla="*/ 397607 h 483805"/>
                    <a:gd name="connsiteX17" fmla="*/ 241861 w 483802"/>
                    <a:gd name="connsiteY17" fmla="*/ 460851 h 483805"/>
                    <a:gd name="connsiteX18" fmla="*/ 243157 w 483802"/>
                    <a:gd name="connsiteY18" fmla="*/ 460851 h 483805"/>
                    <a:gd name="connsiteX19" fmla="*/ 397622 w 483802"/>
                    <a:gd name="connsiteY19" fmla="*/ 395818 h 483805"/>
                    <a:gd name="connsiteX20" fmla="*/ 460867 w 483802"/>
                    <a:gd name="connsiteY20" fmla="*/ 240619 h 483805"/>
                    <a:gd name="connsiteX21" fmla="*/ 460867 w 483802"/>
                    <a:gd name="connsiteY21" fmla="*/ 240619 h 483805"/>
                    <a:gd name="connsiteX22" fmla="*/ 395845 w 483802"/>
                    <a:gd name="connsiteY22" fmla="*/ 86153 h 483805"/>
                    <a:gd name="connsiteX23" fmla="*/ 241941 w 483802"/>
                    <a:gd name="connsiteY23" fmla="*/ 22920 h 483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3802" h="483805">
                      <a:moveTo>
                        <a:pt x="241861" y="483794"/>
                      </a:moveTo>
                      <a:cubicBezTo>
                        <a:pt x="177780" y="483794"/>
                        <a:pt x="117447" y="459017"/>
                        <a:pt x="71837" y="413922"/>
                      </a:cubicBezTo>
                      <a:cubicBezTo>
                        <a:pt x="25882" y="368495"/>
                        <a:pt x="383" y="307899"/>
                        <a:pt x="4" y="243290"/>
                      </a:cubicBezTo>
                      <a:cubicBezTo>
                        <a:pt x="-374" y="178681"/>
                        <a:pt x="24438" y="117787"/>
                        <a:pt x="69865" y="71832"/>
                      </a:cubicBezTo>
                      <a:cubicBezTo>
                        <a:pt x="115292" y="25878"/>
                        <a:pt x="175888" y="378"/>
                        <a:pt x="240508" y="0"/>
                      </a:cubicBezTo>
                      <a:cubicBezTo>
                        <a:pt x="240990" y="0"/>
                        <a:pt x="241471" y="0"/>
                        <a:pt x="241941" y="0"/>
                      </a:cubicBezTo>
                      <a:cubicBezTo>
                        <a:pt x="306023" y="0"/>
                        <a:pt x="366355" y="24777"/>
                        <a:pt x="411966" y="69872"/>
                      </a:cubicBezTo>
                      <a:cubicBezTo>
                        <a:pt x="457920" y="115299"/>
                        <a:pt x="483420" y="175895"/>
                        <a:pt x="483798" y="240504"/>
                      </a:cubicBezTo>
                      <a:lnTo>
                        <a:pt x="483798" y="240504"/>
                      </a:lnTo>
                      <a:cubicBezTo>
                        <a:pt x="484165" y="305113"/>
                        <a:pt x="459365" y="366007"/>
                        <a:pt x="413938" y="411962"/>
                      </a:cubicBezTo>
                      <a:cubicBezTo>
                        <a:pt x="368511" y="457916"/>
                        <a:pt x="307915" y="483427"/>
                        <a:pt x="243294" y="483806"/>
                      </a:cubicBezTo>
                      <a:cubicBezTo>
                        <a:pt x="242813" y="483783"/>
                        <a:pt x="242331" y="483794"/>
                        <a:pt x="241861" y="483794"/>
                      </a:cubicBezTo>
                      <a:close/>
                      <a:moveTo>
                        <a:pt x="241941" y="22920"/>
                      </a:moveTo>
                      <a:cubicBezTo>
                        <a:pt x="241506" y="22920"/>
                        <a:pt x="241081" y="22920"/>
                        <a:pt x="240646" y="22920"/>
                      </a:cubicBezTo>
                      <a:cubicBezTo>
                        <a:pt x="182148" y="23252"/>
                        <a:pt x="127296" y="46344"/>
                        <a:pt x="86180" y="87942"/>
                      </a:cubicBezTo>
                      <a:cubicBezTo>
                        <a:pt x="45053" y="129539"/>
                        <a:pt x="22603" y="184655"/>
                        <a:pt x="22936" y="243141"/>
                      </a:cubicBezTo>
                      <a:cubicBezTo>
                        <a:pt x="23268" y="301628"/>
                        <a:pt x="46360" y="356479"/>
                        <a:pt x="87957" y="397607"/>
                      </a:cubicBezTo>
                      <a:cubicBezTo>
                        <a:pt x="129245" y="438424"/>
                        <a:pt x="183856" y="460851"/>
                        <a:pt x="241861" y="460851"/>
                      </a:cubicBezTo>
                      <a:cubicBezTo>
                        <a:pt x="242297" y="460851"/>
                        <a:pt x="242721" y="460851"/>
                        <a:pt x="243157" y="460851"/>
                      </a:cubicBezTo>
                      <a:cubicBezTo>
                        <a:pt x="301655" y="460507"/>
                        <a:pt x="356506" y="437415"/>
                        <a:pt x="397622" y="395818"/>
                      </a:cubicBezTo>
                      <a:cubicBezTo>
                        <a:pt x="438750" y="354221"/>
                        <a:pt x="461199" y="299105"/>
                        <a:pt x="460867" y="240619"/>
                      </a:cubicBezTo>
                      <a:lnTo>
                        <a:pt x="460867" y="240619"/>
                      </a:lnTo>
                      <a:cubicBezTo>
                        <a:pt x="460534" y="182132"/>
                        <a:pt x="437443" y="127269"/>
                        <a:pt x="395845" y="86153"/>
                      </a:cubicBezTo>
                      <a:cubicBezTo>
                        <a:pt x="354557" y="45347"/>
                        <a:pt x="299935" y="22920"/>
                        <a:pt x="241941" y="22920"/>
                      </a:cubicBezTo>
                      <a:close/>
                    </a:path>
                  </a:pathLst>
                </a:custGeom>
                <a:grpFill/>
                <a:ln w="1145" cap="flat">
                  <a:noFill/>
                  <a:prstDash val="solid"/>
                  <a:miter/>
                </a:ln>
              </p:spPr>
              <p:txBody>
                <a:bodyPr rtlCol="0" anchor="ctr"/>
                <a:lstStyle/>
                <a:p>
                  <a:endParaRPr lang="en-GB" dirty="0"/>
                </a:p>
              </p:txBody>
            </p:sp>
          </p:grpSp>
        </p:grpSp>
        <p:grpSp>
          <p:nvGrpSpPr>
            <p:cNvPr id="76" name="Graphic 48">
              <a:extLst>
                <a:ext uri="{FF2B5EF4-FFF2-40B4-BE49-F238E27FC236}">
                  <a16:creationId xmlns:a16="http://schemas.microsoft.com/office/drawing/2014/main" id="{82CD33AF-0B80-4D6B-B972-C1FC1E0C01CD}"/>
                </a:ext>
              </a:extLst>
            </p:cNvPr>
            <p:cNvGrpSpPr/>
            <p:nvPr/>
          </p:nvGrpSpPr>
          <p:grpSpPr>
            <a:xfrm>
              <a:off x="682412" y="1663614"/>
              <a:ext cx="219617" cy="219592"/>
              <a:chOff x="5088321" y="1506382"/>
              <a:chExt cx="389466" cy="389420"/>
            </a:xfrm>
            <a:solidFill>
              <a:schemeClr val="accent1"/>
            </a:solidFill>
          </p:grpSpPr>
          <p:grpSp>
            <p:nvGrpSpPr>
              <p:cNvPr id="77" name="Graphic 48">
                <a:extLst>
                  <a:ext uri="{FF2B5EF4-FFF2-40B4-BE49-F238E27FC236}">
                    <a16:creationId xmlns:a16="http://schemas.microsoft.com/office/drawing/2014/main" id="{99A46AB8-9142-450C-8E75-2F09618D9929}"/>
                  </a:ext>
                </a:extLst>
              </p:cNvPr>
              <p:cNvGrpSpPr/>
              <p:nvPr/>
            </p:nvGrpSpPr>
            <p:grpSpPr>
              <a:xfrm>
                <a:off x="5088321" y="1506382"/>
                <a:ext cx="389466" cy="389420"/>
                <a:chOff x="5088321" y="1506382"/>
                <a:chExt cx="389466" cy="389420"/>
              </a:xfrm>
              <a:solidFill>
                <a:schemeClr val="accent1"/>
              </a:solidFill>
            </p:grpSpPr>
            <p:sp>
              <p:nvSpPr>
                <p:cNvPr id="81" name="Freeform: Shape 80">
                  <a:extLst>
                    <a:ext uri="{FF2B5EF4-FFF2-40B4-BE49-F238E27FC236}">
                      <a16:creationId xmlns:a16="http://schemas.microsoft.com/office/drawing/2014/main" id="{9E9C3B41-4FBC-4324-9084-EC41E2250187}"/>
                    </a:ext>
                  </a:extLst>
                </p:cNvPr>
                <p:cNvSpPr/>
                <p:nvPr/>
              </p:nvSpPr>
              <p:spPr>
                <a:xfrm>
                  <a:off x="5162917" y="1580726"/>
                  <a:ext cx="240286" cy="240286"/>
                </a:xfrm>
                <a:custGeom>
                  <a:avLst/>
                  <a:gdLst>
                    <a:gd name="connsiteX0" fmla="*/ 120137 w 240286"/>
                    <a:gd name="connsiteY0" fmla="*/ 240286 h 240286"/>
                    <a:gd name="connsiteX1" fmla="*/ 0 w 240286"/>
                    <a:gd name="connsiteY1" fmla="*/ 120149 h 240286"/>
                    <a:gd name="connsiteX2" fmla="*/ 120137 w 240286"/>
                    <a:gd name="connsiteY2" fmla="*/ 0 h 240286"/>
                    <a:gd name="connsiteX3" fmla="*/ 240286 w 240286"/>
                    <a:gd name="connsiteY3" fmla="*/ 120149 h 240286"/>
                    <a:gd name="connsiteX4" fmla="*/ 120137 w 240286"/>
                    <a:gd name="connsiteY4" fmla="*/ 240286 h 240286"/>
                    <a:gd name="connsiteX5" fmla="*/ 120137 w 240286"/>
                    <a:gd name="connsiteY5" fmla="*/ 22931 h 240286"/>
                    <a:gd name="connsiteX6" fmla="*/ 22931 w 240286"/>
                    <a:gd name="connsiteY6" fmla="*/ 120149 h 240286"/>
                    <a:gd name="connsiteX7" fmla="*/ 120137 w 240286"/>
                    <a:gd name="connsiteY7" fmla="*/ 217355 h 240286"/>
                    <a:gd name="connsiteX8" fmla="*/ 217355 w 240286"/>
                    <a:gd name="connsiteY8" fmla="*/ 120149 h 240286"/>
                    <a:gd name="connsiteX9" fmla="*/ 120137 w 240286"/>
                    <a:gd name="connsiteY9" fmla="*/ 22931 h 24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286" h="240286">
                      <a:moveTo>
                        <a:pt x="120137" y="240286"/>
                      </a:moveTo>
                      <a:cubicBezTo>
                        <a:pt x="53900" y="240286"/>
                        <a:pt x="0" y="186397"/>
                        <a:pt x="0" y="120149"/>
                      </a:cubicBezTo>
                      <a:cubicBezTo>
                        <a:pt x="0" y="53900"/>
                        <a:pt x="53889" y="0"/>
                        <a:pt x="120137" y="0"/>
                      </a:cubicBezTo>
                      <a:cubicBezTo>
                        <a:pt x="186386" y="0"/>
                        <a:pt x="240286" y="53900"/>
                        <a:pt x="240286" y="120149"/>
                      </a:cubicBezTo>
                      <a:cubicBezTo>
                        <a:pt x="240286" y="186397"/>
                        <a:pt x="186386" y="240286"/>
                        <a:pt x="120137" y="240286"/>
                      </a:cubicBezTo>
                      <a:close/>
                      <a:moveTo>
                        <a:pt x="120137" y="22931"/>
                      </a:moveTo>
                      <a:cubicBezTo>
                        <a:pt x="66535" y="22931"/>
                        <a:pt x="22931" y="66535"/>
                        <a:pt x="22931" y="120149"/>
                      </a:cubicBezTo>
                      <a:cubicBezTo>
                        <a:pt x="22931" y="173751"/>
                        <a:pt x="66535" y="217355"/>
                        <a:pt x="120137" y="217355"/>
                      </a:cubicBezTo>
                      <a:cubicBezTo>
                        <a:pt x="173739" y="217355"/>
                        <a:pt x="217355" y="173751"/>
                        <a:pt x="217355" y="120149"/>
                      </a:cubicBezTo>
                      <a:cubicBezTo>
                        <a:pt x="217343" y="66535"/>
                        <a:pt x="173728" y="22931"/>
                        <a:pt x="120137" y="22931"/>
                      </a:cubicBezTo>
                      <a:close/>
                    </a:path>
                  </a:pathLst>
                </a:custGeom>
                <a:solidFill>
                  <a:schemeClr val="accent1"/>
                </a:solidFill>
                <a:ln w="1145" cap="flat">
                  <a:noFill/>
                  <a:prstDash val="solid"/>
                  <a:miter/>
                </a:ln>
              </p:spPr>
              <p:txBody>
                <a:bodyPr rtlCol="0" anchor="ctr"/>
                <a:lstStyle/>
                <a:p>
                  <a:endParaRPr lang="en-GB" dirty="0"/>
                </a:p>
              </p:txBody>
            </p:sp>
            <p:grpSp>
              <p:nvGrpSpPr>
                <p:cNvPr id="82" name="Graphic 48">
                  <a:extLst>
                    <a:ext uri="{FF2B5EF4-FFF2-40B4-BE49-F238E27FC236}">
                      <a16:creationId xmlns:a16="http://schemas.microsoft.com/office/drawing/2014/main" id="{6599599C-96EC-46AC-A4CF-F465C8877630}"/>
                    </a:ext>
                  </a:extLst>
                </p:cNvPr>
                <p:cNvGrpSpPr/>
                <p:nvPr/>
              </p:nvGrpSpPr>
              <p:grpSpPr>
                <a:xfrm>
                  <a:off x="5088321" y="1664872"/>
                  <a:ext cx="97286" cy="71511"/>
                  <a:chOff x="5088321" y="1664872"/>
                  <a:chExt cx="97286" cy="71511"/>
                </a:xfrm>
                <a:solidFill>
                  <a:schemeClr val="accent1"/>
                </a:solidFill>
              </p:grpSpPr>
              <p:sp>
                <p:nvSpPr>
                  <p:cNvPr id="114" name="Freeform: Shape 113">
                    <a:extLst>
                      <a:ext uri="{FF2B5EF4-FFF2-40B4-BE49-F238E27FC236}">
                        <a16:creationId xmlns:a16="http://schemas.microsoft.com/office/drawing/2014/main" id="{A7AB0FB7-99D9-4B77-BD74-E02D0E742C14}"/>
                      </a:ext>
                    </a:extLst>
                  </p:cNvPr>
                  <p:cNvSpPr/>
                  <p:nvPr/>
                </p:nvSpPr>
                <p:spPr>
                  <a:xfrm>
                    <a:off x="5088321" y="1664872"/>
                    <a:ext cx="62969" cy="71511"/>
                  </a:xfrm>
                  <a:custGeom>
                    <a:avLst/>
                    <a:gdLst>
                      <a:gd name="connsiteX0" fmla="*/ 27311 w 62969"/>
                      <a:gd name="connsiteY0" fmla="*/ 71511 h 71511"/>
                      <a:gd name="connsiteX1" fmla="*/ 0 w 62969"/>
                      <a:gd name="connsiteY1" fmla="*/ 35865 h 71511"/>
                      <a:gd name="connsiteX2" fmla="*/ 26474 w 62969"/>
                      <a:gd name="connsiteY2" fmla="*/ 0 h 71511"/>
                      <a:gd name="connsiteX3" fmla="*/ 62969 w 62969"/>
                      <a:gd name="connsiteY3" fmla="*/ 35865 h 71511"/>
                      <a:gd name="connsiteX4" fmla="*/ 27311 w 62969"/>
                      <a:gd name="connsiteY4" fmla="*/ 71511 h 71511"/>
                      <a:gd name="connsiteX5" fmla="*/ 26474 w 62969"/>
                      <a:gd name="connsiteY5" fmla="*/ 22931 h 71511"/>
                      <a:gd name="connsiteX6" fmla="*/ 26119 w 62969"/>
                      <a:gd name="connsiteY6" fmla="*/ 22966 h 71511"/>
                      <a:gd name="connsiteX7" fmla="*/ 22943 w 62969"/>
                      <a:gd name="connsiteY7" fmla="*/ 35865 h 71511"/>
                      <a:gd name="connsiteX8" fmla="*/ 27323 w 62969"/>
                      <a:gd name="connsiteY8" fmla="*/ 48580 h 71511"/>
                      <a:gd name="connsiteX9" fmla="*/ 40038 w 62969"/>
                      <a:gd name="connsiteY9" fmla="*/ 35865 h 71511"/>
                      <a:gd name="connsiteX10" fmla="*/ 26474 w 62969"/>
                      <a:gd name="connsiteY10" fmla="*/ 22931 h 71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969" h="71511">
                        <a:moveTo>
                          <a:pt x="27311" y="71511"/>
                        </a:moveTo>
                        <a:cubicBezTo>
                          <a:pt x="11236" y="71511"/>
                          <a:pt x="0" y="56847"/>
                          <a:pt x="0" y="35865"/>
                        </a:cubicBezTo>
                        <a:cubicBezTo>
                          <a:pt x="0" y="14080"/>
                          <a:pt x="10388" y="0"/>
                          <a:pt x="26474" y="0"/>
                        </a:cubicBezTo>
                        <a:cubicBezTo>
                          <a:pt x="44544" y="0"/>
                          <a:pt x="62969" y="18104"/>
                          <a:pt x="62969" y="35865"/>
                        </a:cubicBezTo>
                        <a:cubicBezTo>
                          <a:pt x="62958" y="53522"/>
                          <a:pt x="44968" y="71511"/>
                          <a:pt x="27311" y="71511"/>
                        </a:cubicBezTo>
                        <a:close/>
                        <a:moveTo>
                          <a:pt x="26474" y="22931"/>
                        </a:moveTo>
                        <a:cubicBezTo>
                          <a:pt x="26256" y="22931"/>
                          <a:pt x="26142" y="22954"/>
                          <a:pt x="26119" y="22966"/>
                        </a:cubicBezTo>
                        <a:cubicBezTo>
                          <a:pt x="25316" y="23424"/>
                          <a:pt x="22943" y="27506"/>
                          <a:pt x="22943" y="35865"/>
                        </a:cubicBezTo>
                        <a:cubicBezTo>
                          <a:pt x="22943" y="42916"/>
                          <a:pt x="25339" y="48580"/>
                          <a:pt x="27323" y="48580"/>
                        </a:cubicBezTo>
                        <a:cubicBezTo>
                          <a:pt x="32035" y="48580"/>
                          <a:pt x="40038" y="41357"/>
                          <a:pt x="40038" y="35865"/>
                        </a:cubicBezTo>
                        <a:cubicBezTo>
                          <a:pt x="40027" y="30911"/>
                          <a:pt x="31668" y="22931"/>
                          <a:pt x="26474" y="22931"/>
                        </a:cubicBezTo>
                        <a:close/>
                      </a:path>
                    </a:pathLst>
                  </a:custGeom>
                  <a:solidFill>
                    <a:schemeClr val="accent1"/>
                  </a:solidFill>
                  <a:ln w="1145" cap="flat">
                    <a:noFill/>
                    <a:prstDash val="solid"/>
                    <a:miter/>
                  </a:ln>
                </p:spPr>
                <p:txBody>
                  <a:bodyPr rtlCol="0" anchor="ctr"/>
                  <a:lstStyle/>
                  <a:p>
                    <a:endParaRPr lang="en-GB" dirty="0"/>
                  </a:p>
                </p:txBody>
              </p:sp>
              <p:sp>
                <p:nvSpPr>
                  <p:cNvPr id="115" name="Freeform: Shape 114">
                    <a:extLst>
                      <a:ext uri="{FF2B5EF4-FFF2-40B4-BE49-F238E27FC236}">
                        <a16:creationId xmlns:a16="http://schemas.microsoft.com/office/drawing/2014/main" id="{3C97038D-CAF1-4AD6-B9BC-A56FF28B0C76}"/>
                      </a:ext>
                    </a:extLst>
                  </p:cNvPr>
                  <p:cNvSpPr/>
                  <p:nvPr/>
                </p:nvSpPr>
                <p:spPr>
                  <a:xfrm>
                    <a:off x="5128359" y="1689283"/>
                    <a:ext cx="57248" cy="22931"/>
                  </a:xfrm>
                  <a:custGeom>
                    <a:avLst/>
                    <a:gdLst>
                      <a:gd name="connsiteX0" fmla="*/ 45782 w 57248"/>
                      <a:gd name="connsiteY0" fmla="*/ 22931 h 22931"/>
                      <a:gd name="connsiteX1" fmla="*/ 11466 w 57248"/>
                      <a:gd name="connsiteY1" fmla="*/ 22931 h 22931"/>
                      <a:gd name="connsiteX2" fmla="*/ 0 w 57248"/>
                      <a:gd name="connsiteY2" fmla="*/ 11466 h 22931"/>
                      <a:gd name="connsiteX3" fmla="*/ 11466 w 57248"/>
                      <a:gd name="connsiteY3" fmla="*/ 0 h 22931"/>
                      <a:gd name="connsiteX4" fmla="*/ 45782 w 57248"/>
                      <a:gd name="connsiteY4" fmla="*/ 0 h 22931"/>
                      <a:gd name="connsiteX5" fmla="*/ 57248 w 57248"/>
                      <a:gd name="connsiteY5" fmla="*/ 11466 h 22931"/>
                      <a:gd name="connsiteX6" fmla="*/ 45782 w 57248"/>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248" h="22931">
                        <a:moveTo>
                          <a:pt x="45782" y="22931"/>
                        </a:moveTo>
                        <a:lnTo>
                          <a:pt x="11466" y="22931"/>
                        </a:lnTo>
                        <a:cubicBezTo>
                          <a:pt x="5125" y="22931"/>
                          <a:pt x="0" y="17795"/>
                          <a:pt x="0" y="11466"/>
                        </a:cubicBezTo>
                        <a:cubicBezTo>
                          <a:pt x="0" y="5137"/>
                          <a:pt x="5125" y="0"/>
                          <a:pt x="11466" y="0"/>
                        </a:cubicBezTo>
                        <a:lnTo>
                          <a:pt x="45782" y="0"/>
                        </a:lnTo>
                        <a:cubicBezTo>
                          <a:pt x="52123" y="0"/>
                          <a:pt x="57248" y="5137"/>
                          <a:pt x="57248" y="11466"/>
                        </a:cubicBezTo>
                        <a:cubicBezTo>
                          <a:pt x="57248" y="17795"/>
                          <a:pt x="52111" y="22931"/>
                          <a:pt x="45782"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83" name="Graphic 48">
                  <a:extLst>
                    <a:ext uri="{FF2B5EF4-FFF2-40B4-BE49-F238E27FC236}">
                      <a16:creationId xmlns:a16="http://schemas.microsoft.com/office/drawing/2014/main" id="{D02FA88E-C818-4E6F-BDE8-1B1D34CD9B85}"/>
                    </a:ext>
                  </a:extLst>
                </p:cNvPr>
                <p:cNvGrpSpPr/>
                <p:nvPr/>
              </p:nvGrpSpPr>
              <p:grpSpPr>
                <a:xfrm>
                  <a:off x="5380501" y="1664769"/>
                  <a:ext cx="97286" cy="71522"/>
                  <a:chOff x="5380501" y="1664769"/>
                  <a:chExt cx="97286" cy="71522"/>
                </a:xfrm>
                <a:solidFill>
                  <a:schemeClr val="accent1"/>
                </a:solidFill>
              </p:grpSpPr>
              <p:sp>
                <p:nvSpPr>
                  <p:cNvPr id="112" name="Freeform: Shape 111">
                    <a:extLst>
                      <a:ext uri="{FF2B5EF4-FFF2-40B4-BE49-F238E27FC236}">
                        <a16:creationId xmlns:a16="http://schemas.microsoft.com/office/drawing/2014/main" id="{CC53FAE7-2FCB-49B5-993D-27DE8A338259}"/>
                      </a:ext>
                    </a:extLst>
                  </p:cNvPr>
                  <p:cNvSpPr/>
                  <p:nvPr/>
                </p:nvSpPr>
                <p:spPr>
                  <a:xfrm>
                    <a:off x="5414817" y="1664769"/>
                    <a:ext cx="62970" cy="71522"/>
                  </a:xfrm>
                  <a:custGeom>
                    <a:avLst/>
                    <a:gdLst>
                      <a:gd name="connsiteX0" fmla="*/ 35693 w 62970"/>
                      <a:gd name="connsiteY0" fmla="*/ 71523 h 71522"/>
                      <a:gd name="connsiteX1" fmla="*/ 11500 w 62970"/>
                      <a:gd name="connsiteY1" fmla="*/ 60665 h 71522"/>
                      <a:gd name="connsiteX2" fmla="*/ 0 w 62970"/>
                      <a:gd name="connsiteY2" fmla="*/ 36037 h 71522"/>
                      <a:gd name="connsiteX3" fmla="*/ 11810 w 62970"/>
                      <a:gd name="connsiteY3" fmla="*/ 11064 h 71522"/>
                      <a:gd name="connsiteX4" fmla="*/ 36324 w 62970"/>
                      <a:gd name="connsiteY4" fmla="*/ 0 h 71522"/>
                      <a:gd name="connsiteX5" fmla="*/ 36324 w 62970"/>
                      <a:gd name="connsiteY5" fmla="*/ 0 h 71522"/>
                      <a:gd name="connsiteX6" fmla="*/ 36450 w 62970"/>
                      <a:gd name="connsiteY6" fmla="*/ 0 h 71522"/>
                      <a:gd name="connsiteX7" fmla="*/ 58246 w 62970"/>
                      <a:gd name="connsiteY7" fmla="*/ 13931 h 71522"/>
                      <a:gd name="connsiteX8" fmla="*/ 62970 w 62970"/>
                      <a:gd name="connsiteY8" fmla="*/ 35739 h 71522"/>
                      <a:gd name="connsiteX9" fmla="*/ 57822 w 62970"/>
                      <a:gd name="connsiteY9" fmla="*/ 57890 h 71522"/>
                      <a:gd name="connsiteX10" fmla="*/ 35831 w 62970"/>
                      <a:gd name="connsiteY10" fmla="*/ 71523 h 71522"/>
                      <a:gd name="connsiteX11" fmla="*/ 35693 w 62970"/>
                      <a:gd name="connsiteY11" fmla="*/ 71523 h 71522"/>
                      <a:gd name="connsiteX12" fmla="*/ 36438 w 62970"/>
                      <a:gd name="connsiteY12" fmla="*/ 22931 h 71522"/>
                      <a:gd name="connsiteX13" fmla="*/ 27690 w 62970"/>
                      <a:gd name="connsiteY13" fmla="*/ 27609 h 71522"/>
                      <a:gd name="connsiteX14" fmla="*/ 22932 w 62970"/>
                      <a:gd name="connsiteY14" fmla="*/ 35922 h 71522"/>
                      <a:gd name="connsiteX15" fmla="*/ 27484 w 62970"/>
                      <a:gd name="connsiteY15" fmla="*/ 44223 h 71522"/>
                      <a:gd name="connsiteX16" fmla="*/ 35693 w 62970"/>
                      <a:gd name="connsiteY16" fmla="*/ 48592 h 71522"/>
                      <a:gd name="connsiteX17" fmla="*/ 37791 w 62970"/>
                      <a:gd name="connsiteY17" fmla="*/ 46723 h 71522"/>
                      <a:gd name="connsiteX18" fmla="*/ 40038 w 62970"/>
                      <a:gd name="connsiteY18" fmla="*/ 35842 h 71522"/>
                      <a:gd name="connsiteX19" fmla="*/ 36782 w 62970"/>
                      <a:gd name="connsiteY19" fmla="*/ 22943 h 71522"/>
                      <a:gd name="connsiteX20" fmla="*/ 36438 w 62970"/>
                      <a:gd name="connsiteY20" fmla="*/ 22931 h 71522"/>
                      <a:gd name="connsiteX21" fmla="*/ 36381 w 62970"/>
                      <a:gd name="connsiteY21" fmla="*/ 11466 h 71522"/>
                      <a:gd name="connsiteX22" fmla="*/ 36495 w 62970"/>
                      <a:gd name="connsiteY22" fmla="*/ 11466 h 71522"/>
                      <a:gd name="connsiteX23" fmla="*/ 36381 w 62970"/>
                      <a:gd name="connsiteY23" fmla="*/ 11466 h 7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970" h="71522">
                        <a:moveTo>
                          <a:pt x="35693" y="71523"/>
                        </a:moveTo>
                        <a:cubicBezTo>
                          <a:pt x="27403" y="71523"/>
                          <a:pt x="18598" y="67567"/>
                          <a:pt x="11500" y="60665"/>
                        </a:cubicBezTo>
                        <a:cubicBezTo>
                          <a:pt x="4231" y="53602"/>
                          <a:pt x="46" y="44624"/>
                          <a:pt x="0" y="36037"/>
                        </a:cubicBezTo>
                        <a:cubicBezTo>
                          <a:pt x="-46" y="27414"/>
                          <a:pt x="4266" y="18311"/>
                          <a:pt x="11810" y="11064"/>
                        </a:cubicBezTo>
                        <a:cubicBezTo>
                          <a:pt x="19102" y="4070"/>
                          <a:pt x="28034" y="46"/>
                          <a:pt x="36324" y="0"/>
                        </a:cubicBezTo>
                        <a:lnTo>
                          <a:pt x="36324" y="0"/>
                        </a:lnTo>
                        <a:cubicBezTo>
                          <a:pt x="36369" y="0"/>
                          <a:pt x="36415" y="0"/>
                          <a:pt x="36450" y="0"/>
                        </a:cubicBezTo>
                        <a:cubicBezTo>
                          <a:pt x="45725" y="0"/>
                          <a:pt x="53659" y="5068"/>
                          <a:pt x="58246" y="13931"/>
                        </a:cubicBezTo>
                        <a:cubicBezTo>
                          <a:pt x="62098" y="21372"/>
                          <a:pt x="62935" y="29903"/>
                          <a:pt x="62970" y="35739"/>
                        </a:cubicBezTo>
                        <a:cubicBezTo>
                          <a:pt x="63004" y="43994"/>
                          <a:pt x="61181" y="51859"/>
                          <a:pt x="57822" y="57890"/>
                        </a:cubicBezTo>
                        <a:cubicBezTo>
                          <a:pt x="53018" y="66512"/>
                          <a:pt x="45003" y="71489"/>
                          <a:pt x="35831" y="71523"/>
                        </a:cubicBezTo>
                        <a:cubicBezTo>
                          <a:pt x="35785" y="71523"/>
                          <a:pt x="35739" y="71523"/>
                          <a:pt x="35693" y="71523"/>
                        </a:cubicBezTo>
                        <a:close/>
                        <a:moveTo>
                          <a:pt x="36438" y="22931"/>
                        </a:moveTo>
                        <a:cubicBezTo>
                          <a:pt x="34500" y="22943"/>
                          <a:pt x="30889" y="24548"/>
                          <a:pt x="27690" y="27609"/>
                        </a:cubicBezTo>
                        <a:cubicBezTo>
                          <a:pt x="24388" y="30774"/>
                          <a:pt x="22920" y="34065"/>
                          <a:pt x="22932" y="35922"/>
                        </a:cubicBezTo>
                        <a:cubicBezTo>
                          <a:pt x="22943" y="38284"/>
                          <a:pt x="24732" y="41540"/>
                          <a:pt x="27484" y="44223"/>
                        </a:cubicBezTo>
                        <a:cubicBezTo>
                          <a:pt x="30579" y="47227"/>
                          <a:pt x="33904" y="48592"/>
                          <a:pt x="35693" y="48592"/>
                        </a:cubicBezTo>
                        <a:cubicBezTo>
                          <a:pt x="36106" y="48718"/>
                          <a:pt x="36736" y="48637"/>
                          <a:pt x="37791" y="46723"/>
                        </a:cubicBezTo>
                        <a:cubicBezTo>
                          <a:pt x="39224" y="44154"/>
                          <a:pt x="40061" y="40096"/>
                          <a:pt x="40038" y="35842"/>
                        </a:cubicBezTo>
                        <a:cubicBezTo>
                          <a:pt x="39992" y="27483"/>
                          <a:pt x="37596" y="23413"/>
                          <a:pt x="36782" y="22943"/>
                        </a:cubicBezTo>
                        <a:cubicBezTo>
                          <a:pt x="36771" y="22954"/>
                          <a:pt x="36438" y="22931"/>
                          <a:pt x="36438" y="22931"/>
                        </a:cubicBezTo>
                        <a:close/>
                        <a:moveTo>
                          <a:pt x="36381" y="11466"/>
                        </a:moveTo>
                        <a:lnTo>
                          <a:pt x="36495" y="11466"/>
                        </a:lnTo>
                        <a:lnTo>
                          <a:pt x="36381" y="11466"/>
                        </a:lnTo>
                        <a:close/>
                      </a:path>
                    </a:pathLst>
                  </a:custGeom>
                  <a:solidFill>
                    <a:schemeClr val="accent1"/>
                  </a:solidFill>
                  <a:ln w="1145" cap="flat">
                    <a:noFill/>
                    <a:prstDash val="solid"/>
                    <a:miter/>
                  </a:ln>
                </p:spPr>
                <p:txBody>
                  <a:bodyPr rtlCol="0" anchor="ctr"/>
                  <a:lstStyle/>
                  <a:p>
                    <a:endParaRPr lang="en-GB" dirty="0"/>
                  </a:p>
                </p:txBody>
              </p:sp>
              <p:sp>
                <p:nvSpPr>
                  <p:cNvPr id="113" name="Freeform: Shape 112">
                    <a:extLst>
                      <a:ext uri="{FF2B5EF4-FFF2-40B4-BE49-F238E27FC236}">
                        <a16:creationId xmlns:a16="http://schemas.microsoft.com/office/drawing/2014/main" id="{61866FE5-616F-46BD-AFE3-DC0379D48FEF}"/>
                      </a:ext>
                    </a:extLst>
                  </p:cNvPr>
                  <p:cNvSpPr/>
                  <p:nvPr/>
                </p:nvSpPr>
                <p:spPr>
                  <a:xfrm>
                    <a:off x="5380501" y="1689306"/>
                    <a:ext cx="57248" cy="23091"/>
                  </a:xfrm>
                  <a:custGeom>
                    <a:avLst/>
                    <a:gdLst>
                      <a:gd name="connsiteX0" fmla="*/ 11466 w 57248"/>
                      <a:gd name="connsiteY0" fmla="*/ 23092 h 23091"/>
                      <a:gd name="connsiteX1" fmla="*/ 0 w 57248"/>
                      <a:gd name="connsiteY1" fmla="*/ 11684 h 23091"/>
                      <a:gd name="connsiteX2" fmla="*/ 11409 w 57248"/>
                      <a:gd name="connsiteY2" fmla="*/ 161 h 23091"/>
                      <a:gd name="connsiteX3" fmla="*/ 45725 w 57248"/>
                      <a:gd name="connsiteY3" fmla="*/ 0 h 23091"/>
                      <a:gd name="connsiteX4" fmla="*/ 45783 w 57248"/>
                      <a:gd name="connsiteY4" fmla="*/ 0 h 23091"/>
                      <a:gd name="connsiteX5" fmla="*/ 57248 w 57248"/>
                      <a:gd name="connsiteY5" fmla="*/ 11408 h 23091"/>
                      <a:gd name="connsiteX6" fmla="*/ 45840 w 57248"/>
                      <a:gd name="connsiteY6" fmla="*/ 22931 h 23091"/>
                      <a:gd name="connsiteX7" fmla="*/ 11523 w 57248"/>
                      <a:gd name="connsiteY7" fmla="*/ 23092 h 23091"/>
                      <a:gd name="connsiteX8" fmla="*/ 11466 w 57248"/>
                      <a:gd name="connsiteY8" fmla="*/ 23092 h 23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248" h="23091">
                        <a:moveTo>
                          <a:pt x="11466" y="23092"/>
                        </a:moveTo>
                        <a:cubicBezTo>
                          <a:pt x="5160" y="23092"/>
                          <a:pt x="35" y="18001"/>
                          <a:pt x="0" y="11684"/>
                        </a:cubicBezTo>
                        <a:cubicBezTo>
                          <a:pt x="-34" y="5355"/>
                          <a:pt x="5080" y="195"/>
                          <a:pt x="11409" y="161"/>
                        </a:cubicBezTo>
                        <a:lnTo>
                          <a:pt x="45725" y="0"/>
                        </a:lnTo>
                        <a:cubicBezTo>
                          <a:pt x="45748" y="0"/>
                          <a:pt x="45760" y="0"/>
                          <a:pt x="45783" y="0"/>
                        </a:cubicBezTo>
                        <a:cubicBezTo>
                          <a:pt x="52089" y="0"/>
                          <a:pt x="57214" y="5091"/>
                          <a:pt x="57248" y="11408"/>
                        </a:cubicBezTo>
                        <a:cubicBezTo>
                          <a:pt x="57283" y="17737"/>
                          <a:pt x="52169" y="22897"/>
                          <a:pt x="45840" y="22931"/>
                        </a:cubicBezTo>
                        <a:lnTo>
                          <a:pt x="11523" y="23092"/>
                        </a:lnTo>
                        <a:cubicBezTo>
                          <a:pt x="11500" y="23092"/>
                          <a:pt x="11489" y="23092"/>
                          <a:pt x="11466" y="23092"/>
                        </a:cubicBezTo>
                        <a:close/>
                      </a:path>
                    </a:pathLst>
                  </a:custGeom>
                  <a:solidFill>
                    <a:schemeClr val="accent1"/>
                  </a:solidFill>
                  <a:ln w="1145" cap="flat">
                    <a:noFill/>
                    <a:prstDash val="solid"/>
                    <a:miter/>
                  </a:ln>
                </p:spPr>
                <p:txBody>
                  <a:bodyPr rtlCol="0" anchor="ctr"/>
                  <a:lstStyle/>
                  <a:p>
                    <a:endParaRPr lang="en-GB" dirty="0"/>
                  </a:p>
                </p:txBody>
              </p:sp>
            </p:grpSp>
            <p:grpSp>
              <p:nvGrpSpPr>
                <p:cNvPr id="84" name="Graphic 48">
                  <a:extLst>
                    <a:ext uri="{FF2B5EF4-FFF2-40B4-BE49-F238E27FC236}">
                      <a16:creationId xmlns:a16="http://schemas.microsoft.com/office/drawing/2014/main" id="{D485C658-A249-443B-B769-201CF9E85E36}"/>
                    </a:ext>
                  </a:extLst>
                </p:cNvPr>
                <p:cNvGrpSpPr/>
                <p:nvPr/>
              </p:nvGrpSpPr>
              <p:grpSpPr>
                <a:xfrm>
                  <a:off x="5131724" y="1506382"/>
                  <a:ext cx="302861" cy="129206"/>
                  <a:chOff x="5131724" y="1506382"/>
                  <a:chExt cx="302861" cy="129206"/>
                </a:xfrm>
                <a:solidFill>
                  <a:schemeClr val="accent1"/>
                </a:solidFill>
              </p:grpSpPr>
              <p:grpSp>
                <p:nvGrpSpPr>
                  <p:cNvPr id="103" name="Graphic 48">
                    <a:extLst>
                      <a:ext uri="{FF2B5EF4-FFF2-40B4-BE49-F238E27FC236}">
                        <a16:creationId xmlns:a16="http://schemas.microsoft.com/office/drawing/2014/main" id="{6F5131CC-7661-4A84-8255-26DDC06E7E82}"/>
                      </a:ext>
                    </a:extLst>
                  </p:cNvPr>
                  <p:cNvGrpSpPr/>
                  <p:nvPr/>
                </p:nvGrpSpPr>
                <p:grpSpPr>
                  <a:xfrm>
                    <a:off x="5247419" y="1506382"/>
                    <a:ext cx="71522" cy="97274"/>
                    <a:chOff x="5247419" y="1506382"/>
                    <a:chExt cx="71522" cy="97274"/>
                  </a:xfrm>
                  <a:solidFill>
                    <a:schemeClr val="accent1"/>
                  </a:solidFill>
                </p:grpSpPr>
                <p:sp>
                  <p:nvSpPr>
                    <p:cNvPr id="110" name="Freeform: Shape 109">
                      <a:extLst>
                        <a:ext uri="{FF2B5EF4-FFF2-40B4-BE49-F238E27FC236}">
                          <a16:creationId xmlns:a16="http://schemas.microsoft.com/office/drawing/2014/main" id="{58342B4D-D59F-4D9B-A027-484D007236CD}"/>
                        </a:ext>
                      </a:extLst>
                    </p:cNvPr>
                    <p:cNvSpPr/>
                    <p:nvPr/>
                  </p:nvSpPr>
                  <p:spPr>
                    <a:xfrm>
                      <a:off x="5247419" y="1506382"/>
                      <a:ext cx="71522" cy="62958"/>
                    </a:xfrm>
                    <a:custGeom>
                      <a:avLst/>
                      <a:gdLst>
                        <a:gd name="connsiteX0" fmla="*/ 35658 w 71522"/>
                        <a:gd name="connsiteY0" fmla="*/ 62958 h 62958"/>
                        <a:gd name="connsiteX1" fmla="*/ 0 w 71522"/>
                        <a:gd name="connsiteY1" fmla="*/ 27311 h 62958"/>
                        <a:gd name="connsiteX2" fmla="*/ 35658 w 71522"/>
                        <a:gd name="connsiteY2" fmla="*/ 0 h 62958"/>
                        <a:gd name="connsiteX3" fmla="*/ 71523 w 71522"/>
                        <a:gd name="connsiteY3" fmla="*/ 26486 h 62958"/>
                        <a:gd name="connsiteX4" fmla="*/ 35658 w 71522"/>
                        <a:gd name="connsiteY4" fmla="*/ 62958 h 62958"/>
                        <a:gd name="connsiteX5" fmla="*/ 35658 w 71522"/>
                        <a:gd name="connsiteY5" fmla="*/ 22920 h 62958"/>
                        <a:gd name="connsiteX6" fmla="*/ 22931 w 71522"/>
                        <a:gd name="connsiteY6" fmla="*/ 27300 h 62958"/>
                        <a:gd name="connsiteX7" fmla="*/ 35658 w 71522"/>
                        <a:gd name="connsiteY7" fmla="*/ 40015 h 62958"/>
                        <a:gd name="connsiteX8" fmla="*/ 48591 w 71522"/>
                        <a:gd name="connsiteY8" fmla="*/ 26463 h 62958"/>
                        <a:gd name="connsiteX9" fmla="*/ 48557 w 71522"/>
                        <a:gd name="connsiteY9" fmla="*/ 26096 h 62958"/>
                        <a:gd name="connsiteX10" fmla="*/ 35658 w 71522"/>
                        <a:gd name="connsiteY10" fmla="*/ 22920 h 62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522" h="62958">
                          <a:moveTo>
                            <a:pt x="35658" y="62958"/>
                          </a:moveTo>
                          <a:cubicBezTo>
                            <a:pt x="17990" y="62958"/>
                            <a:pt x="0" y="44968"/>
                            <a:pt x="0" y="27311"/>
                          </a:cubicBezTo>
                          <a:cubicBezTo>
                            <a:pt x="0" y="11225"/>
                            <a:pt x="14665" y="0"/>
                            <a:pt x="35658" y="0"/>
                          </a:cubicBezTo>
                          <a:cubicBezTo>
                            <a:pt x="57443" y="0"/>
                            <a:pt x="71523" y="10399"/>
                            <a:pt x="71523" y="26486"/>
                          </a:cubicBezTo>
                          <a:cubicBezTo>
                            <a:pt x="71523" y="44200"/>
                            <a:pt x="53086" y="62958"/>
                            <a:pt x="35658" y="62958"/>
                          </a:cubicBezTo>
                          <a:close/>
                          <a:moveTo>
                            <a:pt x="35658" y="22920"/>
                          </a:moveTo>
                          <a:cubicBezTo>
                            <a:pt x="28607" y="22920"/>
                            <a:pt x="22931" y="25316"/>
                            <a:pt x="22931" y="27300"/>
                          </a:cubicBezTo>
                          <a:cubicBezTo>
                            <a:pt x="22931" y="32024"/>
                            <a:pt x="30166" y="40015"/>
                            <a:pt x="35658" y="40015"/>
                          </a:cubicBezTo>
                          <a:cubicBezTo>
                            <a:pt x="40623" y="40015"/>
                            <a:pt x="48591" y="31657"/>
                            <a:pt x="48591" y="26463"/>
                          </a:cubicBezTo>
                          <a:cubicBezTo>
                            <a:pt x="48591" y="26245"/>
                            <a:pt x="48568" y="26130"/>
                            <a:pt x="48557" y="26096"/>
                          </a:cubicBezTo>
                          <a:cubicBezTo>
                            <a:pt x="48098" y="25305"/>
                            <a:pt x="44028" y="22920"/>
                            <a:pt x="35658" y="22920"/>
                          </a:cubicBezTo>
                          <a:close/>
                        </a:path>
                      </a:pathLst>
                    </a:custGeom>
                    <a:solidFill>
                      <a:schemeClr val="accent1"/>
                    </a:solidFill>
                    <a:ln w="1145" cap="flat">
                      <a:noFill/>
                      <a:prstDash val="solid"/>
                      <a:miter/>
                    </a:ln>
                  </p:spPr>
                  <p:txBody>
                    <a:bodyPr rtlCol="0" anchor="ctr"/>
                    <a:lstStyle/>
                    <a:p>
                      <a:endParaRPr lang="en-GB" dirty="0"/>
                    </a:p>
                  </p:txBody>
                </p:sp>
                <p:sp>
                  <p:nvSpPr>
                    <p:cNvPr id="111" name="Freeform: Shape 110">
                      <a:extLst>
                        <a:ext uri="{FF2B5EF4-FFF2-40B4-BE49-F238E27FC236}">
                          <a16:creationId xmlns:a16="http://schemas.microsoft.com/office/drawing/2014/main" id="{9A104533-8ACB-4ED0-B029-3C9BA8438485}"/>
                        </a:ext>
                      </a:extLst>
                    </p:cNvPr>
                    <p:cNvSpPr/>
                    <p:nvPr/>
                  </p:nvSpPr>
                  <p:spPr>
                    <a:xfrm>
                      <a:off x="5271588" y="1546409"/>
                      <a:ext cx="22931" cy="57248"/>
                    </a:xfrm>
                    <a:custGeom>
                      <a:avLst/>
                      <a:gdLst>
                        <a:gd name="connsiteX0" fmla="*/ 11466 w 22931"/>
                        <a:gd name="connsiteY0" fmla="*/ 57248 h 57248"/>
                        <a:gd name="connsiteX1" fmla="*/ 0 w 22931"/>
                        <a:gd name="connsiteY1" fmla="*/ 45782 h 57248"/>
                        <a:gd name="connsiteX2" fmla="*/ 0 w 22931"/>
                        <a:gd name="connsiteY2" fmla="*/ 11466 h 57248"/>
                        <a:gd name="connsiteX3" fmla="*/ 11466 w 22931"/>
                        <a:gd name="connsiteY3" fmla="*/ 0 h 57248"/>
                        <a:gd name="connsiteX4" fmla="*/ 22931 w 22931"/>
                        <a:gd name="connsiteY4" fmla="*/ 11466 h 57248"/>
                        <a:gd name="connsiteX5" fmla="*/ 22931 w 22931"/>
                        <a:gd name="connsiteY5" fmla="*/ 45782 h 57248"/>
                        <a:gd name="connsiteX6" fmla="*/ 11466 w 22931"/>
                        <a:gd name="connsiteY6" fmla="*/ 57248 h 5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57248">
                          <a:moveTo>
                            <a:pt x="11466" y="57248"/>
                          </a:moveTo>
                          <a:cubicBezTo>
                            <a:pt x="5125" y="57248"/>
                            <a:pt x="0" y="52112"/>
                            <a:pt x="0" y="45782"/>
                          </a:cubicBezTo>
                          <a:lnTo>
                            <a:pt x="0" y="11466"/>
                          </a:lnTo>
                          <a:cubicBezTo>
                            <a:pt x="0" y="5137"/>
                            <a:pt x="5125" y="0"/>
                            <a:pt x="11466" y="0"/>
                          </a:cubicBezTo>
                          <a:cubicBezTo>
                            <a:pt x="17806" y="0"/>
                            <a:pt x="22931" y="5137"/>
                            <a:pt x="22931" y="11466"/>
                          </a:cubicBezTo>
                          <a:lnTo>
                            <a:pt x="22931" y="45782"/>
                          </a:lnTo>
                          <a:cubicBezTo>
                            <a:pt x="22931" y="52112"/>
                            <a:pt x="17795" y="57248"/>
                            <a:pt x="11466" y="57248"/>
                          </a:cubicBezTo>
                          <a:close/>
                        </a:path>
                      </a:pathLst>
                    </a:custGeom>
                    <a:solidFill>
                      <a:schemeClr val="accent1"/>
                    </a:solidFill>
                    <a:ln w="1145" cap="flat">
                      <a:noFill/>
                      <a:prstDash val="solid"/>
                      <a:miter/>
                    </a:ln>
                  </p:spPr>
                  <p:txBody>
                    <a:bodyPr rtlCol="0" anchor="ctr"/>
                    <a:lstStyle/>
                    <a:p>
                      <a:endParaRPr lang="en-GB" dirty="0"/>
                    </a:p>
                  </p:txBody>
                </p:sp>
              </p:grpSp>
              <p:grpSp>
                <p:nvGrpSpPr>
                  <p:cNvPr id="104" name="Graphic 48">
                    <a:extLst>
                      <a:ext uri="{FF2B5EF4-FFF2-40B4-BE49-F238E27FC236}">
                        <a16:creationId xmlns:a16="http://schemas.microsoft.com/office/drawing/2014/main" id="{179FDDB4-28D6-45DF-A683-066AEC88A41E}"/>
                      </a:ext>
                    </a:extLst>
                  </p:cNvPr>
                  <p:cNvGrpSpPr/>
                  <p:nvPr/>
                </p:nvGrpSpPr>
                <p:grpSpPr>
                  <a:xfrm>
                    <a:off x="5348761" y="1550418"/>
                    <a:ext cx="85825" cy="85170"/>
                    <a:chOff x="5348761" y="1550418"/>
                    <a:chExt cx="85825" cy="85170"/>
                  </a:xfrm>
                  <a:solidFill>
                    <a:schemeClr val="accent1"/>
                  </a:solidFill>
                </p:grpSpPr>
                <p:sp>
                  <p:nvSpPr>
                    <p:cNvPr id="108" name="Freeform: Shape 107">
                      <a:extLst>
                        <a:ext uri="{FF2B5EF4-FFF2-40B4-BE49-F238E27FC236}">
                          <a16:creationId xmlns:a16="http://schemas.microsoft.com/office/drawing/2014/main" id="{A321059D-2A86-4F8C-A8EC-091B705F9716}"/>
                        </a:ext>
                      </a:extLst>
                    </p:cNvPr>
                    <p:cNvSpPr/>
                    <p:nvPr/>
                  </p:nvSpPr>
                  <p:spPr>
                    <a:xfrm>
                      <a:off x="5367043" y="1550418"/>
                      <a:ext cx="67543" cy="66653"/>
                    </a:xfrm>
                    <a:custGeom>
                      <a:avLst/>
                      <a:gdLst>
                        <a:gd name="connsiteX0" fmla="*/ 34463 w 67543"/>
                        <a:gd name="connsiteY0" fmla="*/ 66653 h 66653"/>
                        <a:gd name="connsiteX1" fmla="*/ 9365 w 67543"/>
                        <a:gd name="connsiteY1" fmla="*/ 57550 h 66653"/>
                        <a:gd name="connsiteX2" fmla="*/ 9365 w 67543"/>
                        <a:gd name="connsiteY2" fmla="*/ 7124 h 66653"/>
                        <a:gd name="connsiteX3" fmla="*/ 53897 w 67543"/>
                        <a:gd name="connsiteY3" fmla="*/ 13028 h 66653"/>
                        <a:gd name="connsiteX4" fmla="*/ 60524 w 67543"/>
                        <a:gd name="connsiteY4" fmla="*/ 57114 h 66653"/>
                        <a:gd name="connsiteX5" fmla="*/ 60524 w 67543"/>
                        <a:gd name="connsiteY5" fmla="*/ 57114 h 66653"/>
                        <a:gd name="connsiteX6" fmla="*/ 34463 w 67543"/>
                        <a:gd name="connsiteY6" fmla="*/ 66653 h 66653"/>
                        <a:gd name="connsiteX7" fmla="*/ 52407 w 67543"/>
                        <a:gd name="connsiteY7" fmla="*/ 49008 h 66653"/>
                        <a:gd name="connsiteX8" fmla="*/ 52521 w 67543"/>
                        <a:gd name="connsiteY8" fmla="*/ 49008 h 66653"/>
                        <a:gd name="connsiteX9" fmla="*/ 52407 w 67543"/>
                        <a:gd name="connsiteY9" fmla="*/ 49008 h 66653"/>
                        <a:gd name="connsiteX10" fmla="*/ 26712 w 67543"/>
                        <a:gd name="connsiteY10" fmla="*/ 22900 h 66653"/>
                        <a:gd name="connsiteX11" fmla="*/ 25566 w 67543"/>
                        <a:gd name="connsiteY11" fmla="*/ 23336 h 66653"/>
                        <a:gd name="connsiteX12" fmla="*/ 25566 w 67543"/>
                        <a:gd name="connsiteY12" fmla="*/ 41337 h 66653"/>
                        <a:gd name="connsiteX13" fmla="*/ 44301 w 67543"/>
                        <a:gd name="connsiteY13" fmla="*/ 40890 h 66653"/>
                        <a:gd name="connsiteX14" fmla="*/ 44541 w 67543"/>
                        <a:gd name="connsiteY14" fmla="*/ 40615 h 66653"/>
                        <a:gd name="connsiteX15" fmla="*/ 37662 w 67543"/>
                        <a:gd name="connsiteY15" fmla="*/ 29229 h 66653"/>
                        <a:gd name="connsiteX16" fmla="*/ 28352 w 67543"/>
                        <a:gd name="connsiteY16" fmla="*/ 23176 h 66653"/>
                        <a:gd name="connsiteX17" fmla="*/ 26712 w 67543"/>
                        <a:gd name="connsiteY17" fmla="*/ 22900 h 66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543" h="66653">
                          <a:moveTo>
                            <a:pt x="34463" y="66653"/>
                          </a:moveTo>
                          <a:cubicBezTo>
                            <a:pt x="24912" y="66653"/>
                            <a:pt x="15441" y="63626"/>
                            <a:pt x="9365" y="57550"/>
                          </a:cubicBezTo>
                          <a:cubicBezTo>
                            <a:pt x="-3122" y="45064"/>
                            <a:pt x="-3122" y="19621"/>
                            <a:pt x="9365" y="7124"/>
                          </a:cubicBezTo>
                          <a:cubicBezTo>
                            <a:pt x="20727" y="-4239"/>
                            <a:pt x="39049" y="-1820"/>
                            <a:pt x="53897" y="13028"/>
                          </a:cubicBezTo>
                          <a:cubicBezTo>
                            <a:pt x="69296" y="28438"/>
                            <a:pt x="71887" y="45740"/>
                            <a:pt x="60524" y="57114"/>
                          </a:cubicBezTo>
                          <a:lnTo>
                            <a:pt x="60524" y="57114"/>
                          </a:lnTo>
                          <a:cubicBezTo>
                            <a:pt x="54161" y="63466"/>
                            <a:pt x="44278" y="66653"/>
                            <a:pt x="34463" y="66653"/>
                          </a:cubicBezTo>
                          <a:close/>
                          <a:moveTo>
                            <a:pt x="52407" y="49008"/>
                          </a:moveTo>
                          <a:lnTo>
                            <a:pt x="52521" y="49008"/>
                          </a:lnTo>
                          <a:lnTo>
                            <a:pt x="52407" y="49008"/>
                          </a:lnTo>
                          <a:close/>
                          <a:moveTo>
                            <a:pt x="26712" y="22900"/>
                          </a:moveTo>
                          <a:cubicBezTo>
                            <a:pt x="26001" y="22900"/>
                            <a:pt x="25760" y="23153"/>
                            <a:pt x="25566" y="23336"/>
                          </a:cubicBezTo>
                          <a:cubicBezTo>
                            <a:pt x="22229" y="26673"/>
                            <a:pt x="21679" y="37450"/>
                            <a:pt x="25566" y="41337"/>
                          </a:cubicBezTo>
                          <a:cubicBezTo>
                            <a:pt x="29097" y="44846"/>
                            <a:pt x="40632" y="44559"/>
                            <a:pt x="44301" y="40890"/>
                          </a:cubicBezTo>
                          <a:cubicBezTo>
                            <a:pt x="44484" y="40707"/>
                            <a:pt x="44541" y="40615"/>
                            <a:pt x="44541" y="40615"/>
                          </a:cubicBezTo>
                          <a:cubicBezTo>
                            <a:pt x="44782" y="39721"/>
                            <a:pt x="43590" y="35157"/>
                            <a:pt x="37662" y="29229"/>
                          </a:cubicBezTo>
                          <a:cubicBezTo>
                            <a:pt x="34669" y="26225"/>
                            <a:pt x="31184" y="23967"/>
                            <a:pt x="28352" y="23176"/>
                          </a:cubicBezTo>
                          <a:cubicBezTo>
                            <a:pt x="27629" y="22981"/>
                            <a:pt x="27102" y="22900"/>
                            <a:pt x="26712" y="22900"/>
                          </a:cubicBezTo>
                          <a:close/>
                        </a:path>
                      </a:pathLst>
                    </a:custGeom>
                    <a:solidFill>
                      <a:schemeClr val="accent1"/>
                    </a:solidFill>
                    <a:ln w="1145" cap="flat">
                      <a:noFill/>
                      <a:prstDash val="solid"/>
                      <a:miter/>
                    </a:ln>
                  </p:spPr>
                  <p:txBody>
                    <a:bodyPr rtlCol="0" anchor="ctr"/>
                    <a:lstStyle/>
                    <a:p>
                      <a:endParaRPr lang="en-GB" dirty="0"/>
                    </a:p>
                  </p:txBody>
                </p:sp>
                <p:sp>
                  <p:nvSpPr>
                    <p:cNvPr id="109" name="Freeform: Shape 108">
                      <a:extLst>
                        <a:ext uri="{FF2B5EF4-FFF2-40B4-BE49-F238E27FC236}">
                          <a16:creationId xmlns:a16="http://schemas.microsoft.com/office/drawing/2014/main" id="{9A57AAA8-B26B-4295-BE5E-14801D908A42}"/>
                        </a:ext>
                      </a:extLst>
                    </p:cNvPr>
                    <p:cNvSpPr/>
                    <p:nvPr/>
                  </p:nvSpPr>
                  <p:spPr>
                    <a:xfrm>
                      <a:off x="5348761" y="1588382"/>
                      <a:ext cx="47198" cy="47207"/>
                    </a:xfrm>
                    <a:custGeom>
                      <a:avLst/>
                      <a:gdLst>
                        <a:gd name="connsiteX0" fmla="*/ 11469 w 47198"/>
                        <a:gd name="connsiteY0" fmla="*/ 47207 h 47207"/>
                        <a:gd name="connsiteX1" fmla="*/ 3362 w 47198"/>
                        <a:gd name="connsiteY1" fmla="*/ 43848 h 47207"/>
                        <a:gd name="connsiteX2" fmla="*/ 3362 w 47198"/>
                        <a:gd name="connsiteY2" fmla="*/ 27635 h 47207"/>
                        <a:gd name="connsiteX3" fmla="*/ 27624 w 47198"/>
                        <a:gd name="connsiteY3" fmla="*/ 3362 h 47207"/>
                        <a:gd name="connsiteX4" fmla="*/ 43836 w 47198"/>
                        <a:gd name="connsiteY4" fmla="*/ 3362 h 47207"/>
                        <a:gd name="connsiteX5" fmla="*/ 43836 w 47198"/>
                        <a:gd name="connsiteY5" fmla="*/ 19575 h 47207"/>
                        <a:gd name="connsiteX6" fmla="*/ 19575 w 47198"/>
                        <a:gd name="connsiteY6" fmla="*/ 43848 h 47207"/>
                        <a:gd name="connsiteX7" fmla="*/ 11469 w 47198"/>
                        <a:gd name="connsiteY7" fmla="*/ 47207 h 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98" h="47207">
                          <a:moveTo>
                            <a:pt x="11469" y="47207"/>
                          </a:moveTo>
                          <a:cubicBezTo>
                            <a:pt x="8533" y="47207"/>
                            <a:pt x="5598" y="46083"/>
                            <a:pt x="3362" y="43848"/>
                          </a:cubicBezTo>
                          <a:cubicBezTo>
                            <a:pt x="-1121" y="39376"/>
                            <a:pt x="-1121" y="32118"/>
                            <a:pt x="3362" y="27635"/>
                          </a:cubicBezTo>
                          <a:lnTo>
                            <a:pt x="27624" y="3362"/>
                          </a:lnTo>
                          <a:cubicBezTo>
                            <a:pt x="32107" y="-1121"/>
                            <a:pt x="39353" y="-1121"/>
                            <a:pt x="43836" y="3362"/>
                          </a:cubicBezTo>
                          <a:cubicBezTo>
                            <a:pt x="48319" y="7834"/>
                            <a:pt x="48319" y="15092"/>
                            <a:pt x="43836" y="19575"/>
                          </a:cubicBezTo>
                          <a:lnTo>
                            <a:pt x="19575" y="43848"/>
                          </a:lnTo>
                          <a:cubicBezTo>
                            <a:pt x="17339" y="46083"/>
                            <a:pt x="14404" y="47207"/>
                            <a:pt x="11469" y="47207"/>
                          </a:cubicBezTo>
                          <a:close/>
                        </a:path>
                      </a:pathLst>
                    </a:custGeom>
                    <a:solidFill>
                      <a:schemeClr val="accent1"/>
                    </a:solidFill>
                    <a:ln w="1145" cap="flat">
                      <a:noFill/>
                      <a:prstDash val="solid"/>
                      <a:miter/>
                    </a:ln>
                  </p:spPr>
                  <p:txBody>
                    <a:bodyPr rtlCol="0" anchor="ctr"/>
                    <a:lstStyle/>
                    <a:p>
                      <a:endParaRPr lang="en-GB" dirty="0"/>
                    </a:p>
                  </p:txBody>
                </p:sp>
              </p:grpSp>
              <p:grpSp>
                <p:nvGrpSpPr>
                  <p:cNvPr id="105" name="Graphic 48">
                    <a:extLst>
                      <a:ext uri="{FF2B5EF4-FFF2-40B4-BE49-F238E27FC236}">
                        <a16:creationId xmlns:a16="http://schemas.microsoft.com/office/drawing/2014/main" id="{55CCA869-2176-4017-BC09-E9CC1375F9B9}"/>
                      </a:ext>
                    </a:extLst>
                  </p:cNvPr>
                  <p:cNvGrpSpPr/>
                  <p:nvPr/>
                </p:nvGrpSpPr>
                <p:grpSpPr>
                  <a:xfrm>
                    <a:off x="5131724" y="1550152"/>
                    <a:ext cx="85817" cy="85173"/>
                    <a:chOff x="5131724" y="1550152"/>
                    <a:chExt cx="85817" cy="85173"/>
                  </a:xfrm>
                  <a:solidFill>
                    <a:schemeClr val="accent1"/>
                  </a:solidFill>
                </p:grpSpPr>
                <p:sp>
                  <p:nvSpPr>
                    <p:cNvPr id="106" name="Freeform: Shape 105">
                      <a:extLst>
                        <a:ext uri="{FF2B5EF4-FFF2-40B4-BE49-F238E27FC236}">
                          <a16:creationId xmlns:a16="http://schemas.microsoft.com/office/drawing/2014/main" id="{AE2E723A-6E6A-4626-B074-5479914849EA}"/>
                        </a:ext>
                      </a:extLst>
                    </p:cNvPr>
                    <p:cNvSpPr/>
                    <p:nvPr/>
                  </p:nvSpPr>
                  <p:spPr>
                    <a:xfrm>
                      <a:off x="5131724" y="1550152"/>
                      <a:ext cx="67535" cy="66759"/>
                    </a:xfrm>
                    <a:custGeom>
                      <a:avLst/>
                      <a:gdLst>
                        <a:gd name="connsiteX0" fmla="*/ 33279 w 67535"/>
                        <a:gd name="connsiteY0" fmla="*/ 66759 h 66759"/>
                        <a:gd name="connsiteX1" fmla="*/ 32121 w 67535"/>
                        <a:gd name="connsiteY1" fmla="*/ 66748 h 66759"/>
                        <a:gd name="connsiteX2" fmla="*/ 7023 w 67535"/>
                        <a:gd name="connsiteY2" fmla="*/ 57128 h 66759"/>
                        <a:gd name="connsiteX3" fmla="*/ 7023 w 67535"/>
                        <a:gd name="connsiteY3" fmla="*/ 57128 h 66759"/>
                        <a:gd name="connsiteX4" fmla="*/ 13662 w 67535"/>
                        <a:gd name="connsiteY4" fmla="*/ 13043 h 66759"/>
                        <a:gd name="connsiteX5" fmla="*/ 33016 w 67535"/>
                        <a:gd name="connsiteY5" fmla="*/ 1107 h 66759"/>
                        <a:gd name="connsiteX6" fmla="*/ 58171 w 67535"/>
                        <a:gd name="connsiteY6" fmla="*/ 7138 h 66759"/>
                        <a:gd name="connsiteX7" fmla="*/ 58171 w 67535"/>
                        <a:gd name="connsiteY7" fmla="*/ 57552 h 66759"/>
                        <a:gd name="connsiteX8" fmla="*/ 33279 w 67535"/>
                        <a:gd name="connsiteY8" fmla="*/ 66759 h 66759"/>
                        <a:gd name="connsiteX9" fmla="*/ 40824 w 67535"/>
                        <a:gd name="connsiteY9" fmla="*/ 22914 h 66759"/>
                        <a:gd name="connsiteX10" fmla="*/ 39184 w 67535"/>
                        <a:gd name="connsiteY10" fmla="*/ 23190 h 66759"/>
                        <a:gd name="connsiteX11" fmla="*/ 29862 w 67535"/>
                        <a:gd name="connsiteY11" fmla="*/ 29255 h 66759"/>
                        <a:gd name="connsiteX12" fmla="*/ 22995 w 67535"/>
                        <a:gd name="connsiteY12" fmla="*/ 40640 h 66759"/>
                        <a:gd name="connsiteX13" fmla="*/ 23224 w 67535"/>
                        <a:gd name="connsiteY13" fmla="*/ 40904 h 66759"/>
                        <a:gd name="connsiteX14" fmla="*/ 32694 w 67535"/>
                        <a:gd name="connsiteY14" fmla="*/ 43816 h 66759"/>
                        <a:gd name="connsiteX15" fmla="*/ 41959 w 67535"/>
                        <a:gd name="connsiteY15" fmla="*/ 41340 h 66759"/>
                        <a:gd name="connsiteX16" fmla="*/ 41959 w 67535"/>
                        <a:gd name="connsiteY16" fmla="*/ 23350 h 66759"/>
                        <a:gd name="connsiteX17" fmla="*/ 40824 w 67535"/>
                        <a:gd name="connsiteY17" fmla="*/ 22914 h 66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535" h="66759">
                          <a:moveTo>
                            <a:pt x="33279" y="66759"/>
                          </a:moveTo>
                          <a:cubicBezTo>
                            <a:pt x="32901" y="66759"/>
                            <a:pt x="32523" y="66759"/>
                            <a:pt x="32121" y="66748"/>
                          </a:cubicBezTo>
                          <a:cubicBezTo>
                            <a:pt x="22020" y="66495"/>
                            <a:pt x="12870" y="62987"/>
                            <a:pt x="7023" y="57128"/>
                          </a:cubicBezTo>
                          <a:lnTo>
                            <a:pt x="7023" y="57128"/>
                          </a:lnTo>
                          <a:cubicBezTo>
                            <a:pt x="-4351" y="45754"/>
                            <a:pt x="-1748" y="28452"/>
                            <a:pt x="13662" y="13043"/>
                          </a:cubicBezTo>
                          <a:cubicBezTo>
                            <a:pt x="19509" y="7207"/>
                            <a:pt x="26377" y="2964"/>
                            <a:pt x="33016" y="1107"/>
                          </a:cubicBezTo>
                          <a:cubicBezTo>
                            <a:pt x="42567" y="-1565"/>
                            <a:pt x="51705" y="660"/>
                            <a:pt x="58171" y="7138"/>
                          </a:cubicBezTo>
                          <a:cubicBezTo>
                            <a:pt x="70657" y="19624"/>
                            <a:pt x="70657" y="45078"/>
                            <a:pt x="58171" y="57552"/>
                          </a:cubicBezTo>
                          <a:cubicBezTo>
                            <a:pt x="52301" y="63434"/>
                            <a:pt x="43277" y="66759"/>
                            <a:pt x="33279" y="66759"/>
                          </a:cubicBezTo>
                          <a:close/>
                          <a:moveTo>
                            <a:pt x="40824" y="22914"/>
                          </a:moveTo>
                          <a:cubicBezTo>
                            <a:pt x="40434" y="22914"/>
                            <a:pt x="39918" y="22995"/>
                            <a:pt x="39184" y="23190"/>
                          </a:cubicBezTo>
                          <a:cubicBezTo>
                            <a:pt x="36363" y="23981"/>
                            <a:pt x="32867" y="26251"/>
                            <a:pt x="29862" y="29255"/>
                          </a:cubicBezTo>
                          <a:cubicBezTo>
                            <a:pt x="23946" y="35171"/>
                            <a:pt x="22742" y="39735"/>
                            <a:pt x="22995" y="40640"/>
                          </a:cubicBezTo>
                          <a:lnTo>
                            <a:pt x="23224" y="40904"/>
                          </a:lnTo>
                          <a:cubicBezTo>
                            <a:pt x="24588" y="42268"/>
                            <a:pt x="28269" y="43702"/>
                            <a:pt x="32694" y="43816"/>
                          </a:cubicBezTo>
                          <a:cubicBezTo>
                            <a:pt x="37476" y="43908"/>
                            <a:pt x="40640" y="42658"/>
                            <a:pt x="41959" y="41340"/>
                          </a:cubicBezTo>
                          <a:cubicBezTo>
                            <a:pt x="45846" y="37453"/>
                            <a:pt x="45295" y="26687"/>
                            <a:pt x="41959" y="23350"/>
                          </a:cubicBezTo>
                          <a:cubicBezTo>
                            <a:pt x="41775" y="23167"/>
                            <a:pt x="41523" y="22914"/>
                            <a:pt x="40824" y="22914"/>
                          </a:cubicBezTo>
                          <a:close/>
                        </a:path>
                      </a:pathLst>
                    </a:custGeom>
                    <a:solidFill>
                      <a:schemeClr val="accent1"/>
                    </a:solidFill>
                    <a:ln w="1145" cap="flat">
                      <a:noFill/>
                      <a:prstDash val="solid"/>
                      <a:miter/>
                    </a:ln>
                  </p:spPr>
                  <p:txBody>
                    <a:bodyPr rtlCol="0" anchor="ctr"/>
                    <a:lstStyle/>
                    <a:p>
                      <a:endParaRPr lang="en-GB" dirty="0"/>
                    </a:p>
                  </p:txBody>
                </p:sp>
                <p:sp>
                  <p:nvSpPr>
                    <p:cNvPr id="107" name="Freeform: Shape 106">
                      <a:extLst>
                        <a:ext uri="{FF2B5EF4-FFF2-40B4-BE49-F238E27FC236}">
                          <a16:creationId xmlns:a16="http://schemas.microsoft.com/office/drawing/2014/main" id="{CE9E1F02-91BF-40DA-8FD9-8036515E6FA7}"/>
                        </a:ext>
                      </a:extLst>
                    </p:cNvPr>
                    <p:cNvSpPr/>
                    <p:nvPr/>
                  </p:nvSpPr>
                  <p:spPr>
                    <a:xfrm>
                      <a:off x="5170344" y="1588118"/>
                      <a:ext cx="47198" cy="47207"/>
                    </a:xfrm>
                    <a:custGeom>
                      <a:avLst/>
                      <a:gdLst>
                        <a:gd name="connsiteX0" fmla="*/ 35730 w 47198"/>
                        <a:gd name="connsiteY0" fmla="*/ 47207 h 47207"/>
                        <a:gd name="connsiteX1" fmla="*/ 27624 w 47198"/>
                        <a:gd name="connsiteY1" fmla="*/ 43848 h 47207"/>
                        <a:gd name="connsiteX2" fmla="*/ 3362 w 47198"/>
                        <a:gd name="connsiteY2" fmla="*/ 19575 h 47207"/>
                        <a:gd name="connsiteX3" fmla="*/ 3362 w 47198"/>
                        <a:gd name="connsiteY3" fmla="*/ 3362 h 47207"/>
                        <a:gd name="connsiteX4" fmla="*/ 19575 w 47198"/>
                        <a:gd name="connsiteY4" fmla="*/ 3362 h 47207"/>
                        <a:gd name="connsiteX5" fmla="*/ 43836 w 47198"/>
                        <a:gd name="connsiteY5" fmla="*/ 27635 h 47207"/>
                        <a:gd name="connsiteX6" fmla="*/ 43836 w 47198"/>
                        <a:gd name="connsiteY6" fmla="*/ 43848 h 47207"/>
                        <a:gd name="connsiteX7" fmla="*/ 35730 w 47198"/>
                        <a:gd name="connsiteY7" fmla="*/ 47207 h 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98" h="47207">
                          <a:moveTo>
                            <a:pt x="35730" y="47207"/>
                          </a:moveTo>
                          <a:cubicBezTo>
                            <a:pt x="32795" y="47207"/>
                            <a:pt x="29859" y="46083"/>
                            <a:pt x="27624" y="43848"/>
                          </a:cubicBezTo>
                          <a:lnTo>
                            <a:pt x="3362" y="19575"/>
                          </a:lnTo>
                          <a:cubicBezTo>
                            <a:pt x="-1121" y="15092"/>
                            <a:pt x="-1121" y="7834"/>
                            <a:pt x="3362" y="3362"/>
                          </a:cubicBezTo>
                          <a:cubicBezTo>
                            <a:pt x="7845" y="-1121"/>
                            <a:pt x="15092" y="-1121"/>
                            <a:pt x="19575" y="3362"/>
                          </a:cubicBezTo>
                          <a:lnTo>
                            <a:pt x="43836" y="27635"/>
                          </a:lnTo>
                          <a:cubicBezTo>
                            <a:pt x="48319" y="32118"/>
                            <a:pt x="48319" y="39376"/>
                            <a:pt x="43836" y="43848"/>
                          </a:cubicBezTo>
                          <a:cubicBezTo>
                            <a:pt x="41589" y="46095"/>
                            <a:pt x="38665" y="47207"/>
                            <a:pt x="35730" y="47207"/>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85" name="Graphic 48">
                  <a:extLst>
                    <a:ext uri="{FF2B5EF4-FFF2-40B4-BE49-F238E27FC236}">
                      <a16:creationId xmlns:a16="http://schemas.microsoft.com/office/drawing/2014/main" id="{7F3D69D4-4FD3-4AA5-B7FC-928BABAD16B3}"/>
                    </a:ext>
                  </a:extLst>
                </p:cNvPr>
                <p:cNvGrpSpPr/>
                <p:nvPr/>
              </p:nvGrpSpPr>
              <p:grpSpPr>
                <a:xfrm>
                  <a:off x="5131796" y="1766581"/>
                  <a:ext cx="302768" cy="129220"/>
                  <a:chOff x="5131796" y="1766581"/>
                  <a:chExt cx="302768" cy="129220"/>
                </a:xfrm>
                <a:solidFill>
                  <a:schemeClr val="accent1"/>
                </a:solidFill>
              </p:grpSpPr>
              <p:grpSp>
                <p:nvGrpSpPr>
                  <p:cNvPr id="94" name="Graphic 48">
                    <a:extLst>
                      <a:ext uri="{FF2B5EF4-FFF2-40B4-BE49-F238E27FC236}">
                        <a16:creationId xmlns:a16="http://schemas.microsoft.com/office/drawing/2014/main" id="{E35DFB93-4BD1-4B37-B570-B626BD9C41B7}"/>
                      </a:ext>
                    </a:extLst>
                  </p:cNvPr>
                  <p:cNvGrpSpPr/>
                  <p:nvPr/>
                </p:nvGrpSpPr>
                <p:grpSpPr>
                  <a:xfrm>
                    <a:off x="5247419" y="1798516"/>
                    <a:ext cx="71522" cy="97286"/>
                    <a:chOff x="5247419" y="1798516"/>
                    <a:chExt cx="71522" cy="97286"/>
                  </a:xfrm>
                  <a:solidFill>
                    <a:schemeClr val="accent1"/>
                  </a:solidFill>
                </p:grpSpPr>
                <p:sp>
                  <p:nvSpPr>
                    <p:cNvPr id="101" name="Freeform: Shape 100">
                      <a:extLst>
                        <a:ext uri="{FF2B5EF4-FFF2-40B4-BE49-F238E27FC236}">
                          <a16:creationId xmlns:a16="http://schemas.microsoft.com/office/drawing/2014/main" id="{04F33DB0-7010-411D-ADC3-75F1FA153A09}"/>
                        </a:ext>
                      </a:extLst>
                    </p:cNvPr>
                    <p:cNvSpPr/>
                    <p:nvPr/>
                  </p:nvSpPr>
                  <p:spPr>
                    <a:xfrm>
                      <a:off x="5247419" y="1832833"/>
                      <a:ext cx="71522" cy="62969"/>
                    </a:xfrm>
                    <a:custGeom>
                      <a:avLst/>
                      <a:gdLst>
                        <a:gd name="connsiteX0" fmla="*/ 35658 w 71522"/>
                        <a:gd name="connsiteY0" fmla="*/ 62969 h 62969"/>
                        <a:gd name="connsiteX1" fmla="*/ 0 w 71522"/>
                        <a:gd name="connsiteY1" fmla="*/ 35658 h 62969"/>
                        <a:gd name="connsiteX2" fmla="*/ 35658 w 71522"/>
                        <a:gd name="connsiteY2" fmla="*/ 0 h 62969"/>
                        <a:gd name="connsiteX3" fmla="*/ 71523 w 71522"/>
                        <a:gd name="connsiteY3" fmla="*/ 36495 h 62969"/>
                        <a:gd name="connsiteX4" fmla="*/ 35658 w 71522"/>
                        <a:gd name="connsiteY4" fmla="*/ 62969 h 62969"/>
                        <a:gd name="connsiteX5" fmla="*/ 35658 w 71522"/>
                        <a:gd name="connsiteY5" fmla="*/ 22931 h 62969"/>
                        <a:gd name="connsiteX6" fmla="*/ 22931 w 71522"/>
                        <a:gd name="connsiteY6" fmla="*/ 35658 h 62969"/>
                        <a:gd name="connsiteX7" fmla="*/ 35658 w 71522"/>
                        <a:gd name="connsiteY7" fmla="*/ 40038 h 62969"/>
                        <a:gd name="connsiteX8" fmla="*/ 48568 w 71522"/>
                        <a:gd name="connsiteY8" fmla="*/ 36839 h 62969"/>
                        <a:gd name="connsiteX9" fmla="*/ 48591 w 71522"/>
                        <a:gd name="connsiteY9" fmla="*/ 36495 h 62969"/>
                        <a:gd name="connsiteX10" fmla="*/ 35658 w 71522"/>
                        <a:gd name="connsiteY10" fmla="*/ 22931 h 62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522" h="62969">
                          <a:moveTo>
                            <a:pt x="35658" y="62969"/>
                          </a:moveTo>
                          <a:cubicBezTo>
                            <a:pt x="14665" y="62969"/>
                            <a:pt x="0" y="51745"/>
                            <a:pt x="0" y="35658"/>
                          </a:cubicBezTo>
                          <a:cubicBezTo>
                            <a:pt x="0" y="17990"/>
                            <a:pt x="17990" y="0"/>
                            <a:pt x="35658" y="0"/>
                          </a:cubicBezTo>
                          <a:cubicBezTo>
                            <a:pt x="53097" y="0"/>
                            <a:pt x="71523" y="18758"/>
                            <a:pt x="71523" y="36495"/>
                          </a:cubicBezTo>
                          <a:cubicBezTo>
                            <a:pt x="71523" y="52570"/>
                            <a:pt x="57443" y="62969"/>
                            <a:pt x="35658" y="62969"/>
                          </a:cubicBezTo>
                          <a:close/>
                          <a:moveTo>
                            <a:pt x="35658" y="22931"/>
                          </a:moveTo>
                          <a:cubicBezTo>
                            <a:pt x="30166" y="22931"/>
                            <a:pt x="22931" y="30934"/>
                            <a:pt x="22931" y="35658"/>
                          </a:cubicBezTo>
                          <a:cubicBezTo>
                            <a:pt x="22931" y="37642"/>
                            <a:pt x="28607" y="40038"/>
                            <a:pt x="35658" y="40038"/>
                          </a:cubicBezTo>
                          <a:cubicBezTo>
                            <a:pt x="44028" y="40038"/>
                            <a:pt x="48098" y="37653"/>
                            <a:pt x="48568" y="36839"/>
                          </a:cubicBezTo>
                          <a:lnTo>
                            <a:pt x="48591" y="36495"/>
                          </a:lnTo>
                          <a:cubicBezTo>
                            <a:pt x="48591" y="31290"/>
                            <a:pt x="40611" y="22931"/>
                            <a:pt x="35658" y="22931"/>
                          </a:cubicBezTo>
                          <a:close/>
                        </a:path>
                      </a:pathLst>
                    </a:custGeom>
                    <a:solidFill>
                      <a:schemeClr val="accent1"/>
                    </a:solidFill>
                    <a:ln w="1145" cap="flat">
                      <a:noFill/>
                      <a:prstDash val="solid"/>
                      <a:miter/>
                    </a:ln>
                  </p:spPr>
                  <p:txBody>
                    <a:bodyPr rtlCol="0" anchor="ctr"/>
                    <a:lstStyle/>
                    <a:p>
                      <a:endParaRPr lang="en-GB" dirty="0"/>
                    </a:p>
                  </p:txBody>
                </p:sp>
                <p:sp>
                  <p:nvSpPr>
                    <p:cNvPr id="102" name="Freeform: Shape 101">
                      <a:extLst>
                        <a:ext uri="{FF2B5EF4-FFF2-40B4-BE49-F238E27FC236}">
                          <a16:creationId xmlns:a16="http://schemas.microsoft.com/office/drawing/2014/main" id="{386F1281-3BCC-4727-B990-672301765B93}"/>
                        </a:ext>
                      </a:extLst>
                    </p:cNvPr>
                    <p:cNvSpPr/>
                    <p:nvPr/>
                  </p:nvSpPr>
                  <p:spPr>
                    <a:xfrm>
                      <a:off x="5271588" y="1798516"/>
                      <a:ext cx="22931" cy="57248"/>
                    </a:xfrm>
                    <a:custGeom>
                      <a:avLst/>
                      <a:gdLst>
                        <a:gd name="connsiteX0" fmla="*/ 11466 w 22931"/>
                        <a:gd name="connsiteY0" fmla="*/ 57248 h 57248"/>
                        <a:gd name="connsiteX1" fmla="*/ 0 w 22931"/>
                        <a:gd name="connsiteY1" fmla="*/ 45782 h 57248"/>
                        <a:gd name="connsiteX2" fmla="*/ 0 w 22931"/>
                        <a:gd name="connsiteY2" fmla="*/ 11466 h 57248"/>
                        <a:gd name="connsiteX3" fmla="*/ 11466 w 22931"/>
                        <a:gd name="connsiteY3" fmla="*/ 0 h 57248"/>
                        <a:gd name="connsiteX4" fmla="*/ 22931 w 22931"/>
                        <a:gd name="connsiteY4" fmla="*/ 11466 h 57248"/>
                        <a:gd name="connsiteX5" fmla="*/ 22931 w 22931"/>
                        <a:gd name="connsiteY5" fmla="*/ 45782 h 57248"/>
                        <a:gd name="connsiteX6" fmla="*/ 11466 w 22931"/>
                        <a:gd name="connsiteY6" fmla="*/ 57248 h 5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57248">
                          <a:moveTo>
                            <a:pt x="11466" y="57248"/>
                          </a:moveTo>
                          <a:cubicBezTo>
                            <a:pt x="5125" y="57248"/>
                            <a:pt x="0" y="52112"/>
                            <a:pt x="0" y="45782"/>
                          </a:cubicBezTo>
                          <a:lnTo>
                            <a:pt x="0" y="11466"/>
                          </a:lnTo>
                          <a:cubicBezTo>
                            <a:pt x="0" y="5137"/>
                            <a:pt x="5125" y="0"/>
                            <a:pt x="11466" y="0"/>
                          </a:cubicBezTo>
                          <a:cubicBezTo>
                            <a:pt x="17806" y="0"/>
                            <a:pt x="22931" y="5137"/>
                            <a:pt x="22931" y="11466"/>
                          </a:cubicBezTo>
                          <a:lnTo>
                            <a:pt x="22931" y="45782"/>
                          </a:lnTo>
                          <a:cubicBezTo>
                            <a:pt x="22931" y="52112"/>
                            <a:pt x="17795" y="57248"/>
                            <a:pt x="11466" y="57248"/>
                          </a:cubicBezTo>
                          <a:close/>
                        </a:path>
                      </a:pathLst>
                    </a:custGeom>
                    <a:solidFill>
                      <a:schemeClr val="accent1"/>
                    </a:solidFill>
                    <a:ln w="1145" cap="flat">
                      <a:noFill/>
                      <a:prstDash val="solid"/>
                      <a:miter/>
                    </a:ln>
                  </p:spPr>
                  <p:txBody>
                    <a:bodyPr rtlCol="0" anchor="ctr"/>
                    <a:lstStyle/>
                    <a:p>
                      <a:endParaRPr lang="en-GB" dirty="0"/>
                    </a:p>
                  </p:txBody>
                </p:sp>
              </p:grpSp>
              <p:grpSp>
                <p:nvGrpSpPr>
                  <p:cNvPr id="95" name="Graphic 48">
                    <a:extLst>
                      <a:ext uri="{FF2B5EF4-FFF2-40B4-BE49-F238E27FC236}">
                        <a16:creationId xmlns:a16="http://schemas.microsoft.com/office/drawing/2014/main" id="{A31A7F0D-0DBD-4CA4-8975-0F851DDDE8C0}"/>
                      </a:ext>
                    </a:extLst>
                  </p:cNvPr>
                  <p:cNvGrpSpPr/>
                  <p:nvPr/>
                </p:nvGrpSpPr>
                <p:grpSpPr>
                  <a:xfrm>
                    <a:off x="5348761" y="1766581"/>
                    <a:ext cx="85803" cy="85181"/>
                    <a:chOff x="5348761" y="1766581"/>
                    <a:chExt cx="85803" cy="85181"/>
                  </a:xfrm>
                  <a:solidFill>
                    <a:schemeClr val="accent1"/>
                  </a:solidFill>
                </p:grpSpPr>
                <p:sp>
                  <p:nvSpPr>
                    <p:cNvPr id="99" name="Freeform: Shape 98">
                      <a:extLst>
                        <a:ext uri="{FF2B5EF4-FFF2-40B4-BE49-F238E27FC236}">
                          <a16:creationId xmlns:a16="http://schemas.microsoft.com/office/drawing/2014/main" id="{5FA193C4-A6DF-45BA-92B3-56FBD5AF7104}"/>
                        </a:ext>
                      </a:extLst>
                    </p:cNvPr>
                    <p:cNvSpPr/>
                    <p:nvPr/>
                  </p:nvSpPr>
                  <p:spPr>
                    <a:xfrm>
                      <a:off x="5367032" y="1785001"/>
                      <a:ext cx="67532" cy="66761"/>
                    </a:xfrm>
                    <a:custGeom>
                      <a:avLst/>
                      <a:gdLst>
                        <a:gd name="connsiteX0" fmla="*/ 26735 w 67532"/>
                        <a:gd name="connsiteY0" fmla="*/ 66761 h 66761"/>
                        <a:gd name="connsiteX1" fmla="*/ 9365 w 67532"/>
                        <a:gd name="connsiteY1" fmla="*/ 59618 h 66761"/>
                        <a:gd name="connsiteX2" fmla="*/ 9365 w 67532"/>
                        <a:gd name="connsiteY2" fmla="*/ 9203 h 66761"/>
                        <a:gd name="connsiteX3" fmla="*/ 35415 w 67532"/>
                        <a:gd name="connsiteY3" fmla="*/ 19 h 66761"/>
                        <a:gd name="connsiteX4" fmla="*/ 60513 w 67532"/>
                        <a:gd name="connsiteY4" fmla="*/ 9639 h 66761"/>
                        <a:gd name="connsiteX5" fmla="*/ 60513 w 67532"/>
                        <a:gd name="connsiteY5" fmla="*/ 9639 h 66761"/>
                        <a:gd name="connsiteX6" fmla="*/ 53897 w 67532"/>
                        <a:gd name="connsiteY6" fmla="*/ 53713 h 66761"/>
                        <a:gd name="connsiteX7" fmla="*/ 34520 w 67532"/>
                        <a:gd name="connsiteY7" fmla="*/ 65649 h 66761"/>
                        <a:gd name="connsiteX8" fmla="*/ 26735 w 67532"/>
                        <a:gd name="connsiteY8" fmla="*/ 66761 h 66761"/>
                        <a:gd name="connsiteX9" fmla="*/ 34257 w 67532"/>
                        <a:gd name="connsiteY9" fmla="*/ 22939 h 66761"/>
                        <a:gd name="connsiteX10" fmla="*/ 25577 w 67532"/>
                        <a:gd name="connsiteY10" fmla="*/ 25416 h 66761"/>
                        <a:gd name="connsiteX11" fmla="*/ 25577 w 67532"/>
                        <a:gd name="connsiteY11" fmla="*/ 43406 h 66761"/>
                        <a:gd name="connsiteX12" fmla="*/ 28363 w 67532"/>
                        <a:gd name="connsiteY12" fmla="*/ 43566 h 66761"/>
                        <a:gd name="connsiteX13" fmla="*/ 37685 w 67532"/>
                        <a:gd name="connsiteY13" fmla="*/ 37501 h 66761"/>
                        <a:gd name="connsiteX14" fmla="*/ 44541 w 67532"/>
                        <a:gd name="connsiteY14" fmla="*/ 26115 h 66761"/>
                        <a:gd name="connsiteX15" fmla="*/ 44312 w 67532"/>
                        <a:gd name="connsiteY15" fmla="*/ 25852 h 66761"/>
                        <a:gd name="connsiteX16" fmla="*/ 34841 w 67532"/>
                        <a:gd name="connsiteY16" fmla="*/ 22939 h 66761"/>
                        <a:gd name="connsiteX17" fmla="*/ 34257 w 67532"/>
                        <a:gd name="connsiteY17" fmla="*/ 22939 h 6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7532" h="66761">
                          <a:moveTo>
                            <a:pt x="26735" y="66761"/>
                          </a:moveTo>
                          <a:cubicBezTo>
                            <a:pt x="20131" y="66761"/>
                            <a:pt x="14054" y="64308"/>
                            <a:pt x="9365" y="59618"/>
                          </a:cubicBezTo>
                          <a:cubicBezTo>
                            <a:pt x="-3122" y="47132"/>
                            <a:pt x="-3122" y="21678"/>
                            <a:pt x="9365" y="9203"/>
                          </a:cubicBezTo>
                          <a:cubicBezTo>
                            <a:pt x="15464" y="3104"/>
                            <a:pt x="24832" y="-290"/>
                            <a:pt x="35415" y="19"/>
                          </a:cubicBezTo>
                          <a:cubicBezTo>
                            <a:pt x="45516" y="272"/>
                            <a:pt x="54666" y="3780"/>
                            <a:pt x="60513" y="9639"/>
                          </a:cubicBezTo>
                          <a:lnTo>
                            <a:pt x="60513" y="9639"/>
                          </a:lnTo>
                          <a:cubicBezTo>
                            <a:pt x="71876" y="21002"/>
                            <a:pt x="69284" y="38315"/>
                            <a:pt x="53897" y="53713"/>
                          </a:cubicBezTo>
                          <a:cubicBezTo>
                            <a:pt x="48038" y="59561"/>
                            <a:pt x="41170" y="63792"/>
                            <a:pt x="34520" y="65649"/>
                          </a:cubicBezTo>
                          <a:cubicBezTo>
                            <a:pt x="31883" y="66394"/>
                            <a:pt x="29280" y="66761"/>
                            <a:pt x="26735" y="66761"/>
                          </a:cubicBezTo>
                          <a:close/>
                          <a:moveTo>
                            <a:pt x="34257" y="22939"/>
                          </a:moveTo>
                          <a:cubicBezTo>
                            <a:pt x="29980" y="22939"/>
                            <a:pt x="26838" y="24155"/>
                            <a:pt x="25577" y="25416"/>
                          </a:cubicBezTo>
                          <a:cubicBezTo>
                            <a:pt x="21690" y="29303"/>
                            <a:pt x="22241" y="40069"/>
                            <a:pt x="25577" y="43406"/>
                          </a:cubicBezTo>
                          <a:cubicBezTo>
                            <a:pt x="25875" y="43704"/>
                            <a:pt x="26334" y="44139"/>
                            <a:pt x="28363" y="43566"/>
                          </a:cubicBezTo>
                          <a:cubicBezTo>
                            <a:pt x="31184" y="42775"/>
                            <a:pt x="34681" y="40505"/>
                            <a:pt x="37685" y="37501"/>
                          </a:cubicBezTo>
                          <a:cubicBezTo>
                            <a:pt x="43601" y="31585"/>
                            <a:pt x="44794" y="27021"/>
                            <a:pt x="44541" y="26115"/>
                          </a:cubicBezTo>
                          <a:lnTo>
                            <a:pt x="44312" y="25852"/>
                          </a:lnTo>
                          <a:cubicBezTo>
                            <a:pt x="42948" y="24487"/>
                            <a:pt x="39267" y="23054"/>
                            <a:pt x="34841" y="22939"/>
                          </a:cubicBezTo>
                          <a:cubicBezTo>
                            <a:pt x="34635" y="22939"/>
                            <a:pt x="34451" y="22939"/>
                            <a:pt x="34257" y="22939"/>
                          </a:cubicBezTo>
                          <a:close/>
                        </a:path>
                      </a:pathLst>
                    </a:custGeom>
                    <a:solidFill>
                      <a:schemeClr val="accent1"/>
                    </a:solidFill>
                    <a:ln w="1145" cap="flat">
                      <a:noFill/>
                      <a:prstDash val="solid"/>
                      <a:miter/>
                    </a:ln>
                  </p:spPr>
                  <p:txBody>
                    <a:bodyPr rtlCol="0" anchor="ctr"/>
                    <a:lstStyle/>
                    <a:p>
                      <a:endParaRPr lang="en-GB" dirty="0"/>
                    </a:p>
                  </p:txBody>
                </p:sp>
                <p:sp>
                  <p:nvSpPr>
                    <p:cNvPr id="100" name="Freeform: Shape 99">
                      <a:extLst>
                        <a:ext uri="{FF2B5EF4-FFF2-40B4-BE49-F238E27FC236}">
                          <a16:creationId xmlns:a16="http://schemas.microsoft.com/office/drawing/2014/main" id="{BDE15882-13F4-4109-ABC2-B972B5035B65}"/>
                        </a:ext>
                      </a:extLst>
                    </p:cNvPr>
                    <p:cNvSpPr/>
                    <p:nvPr/>
                  </p:nvSpPr>
                  <p:spPr>
                    <a:xfrm>
                      <a:off x="5348761" y="1766581"/>
                      <a:ext cx="47198" cy="47207"/>
                    </a:xfrm>
                    <a:custGeom>
                      <a:avLst/>
                      <a:gdLst>
                        <a:gd name="connsiteX0" fmla="*/ 35730 w 47198"/>
                        <a:gd name="connsiteY0" fmla="*/ 47207 h 47207"/>
                        <a:gd name="connsiteX1" fmla="*/ 27624 w 47198"/>
                        <a:gd name="connsiteY1" fmla="*/ 43848 h 47207"/>
                        <a:gd name="connsiteX2" fmla="*/ 3362 w 47198"/>
                        <a:gd name="connsiteY2" fmla="*/ 19575 h 47207"/>
                        <a:gd name="connsiteX3" fmla="*/ 3362 w 47198"/>
                        <a:gd name="connsiteY3" fmla="*/ 3362 h 47207"/>
                        <a:gd name="connsiteX4" fmla="*/ 19575 w 47198"/>
                        <a:gd name="connsiteY4" fmla="*/ 3362 h 47207"/>
                        <a:gd name="connsiteX5" fmla="*/ 43836 w 47198"/>
                        <a:gd name="connsiteY5" fmla="*/ 27635 h 47207"/>
                        <a:gd name="connsiteX6" fmla="*/ 43836 w 47198"/>
                        <a:gd name="connsiteY6" fmla="*/ 43848 h 47207"/>
                        <a:gd name="connsiteX7" fmla="*/ 35730 w 47198"/>
                        <a:gd name="connsiteY7" fmla="*/ 47207 h 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98" h="47207">
                          <a:moveTo>
                            <a:pt x="35730" y="47207"/>
                          </a:moveTo>
                          <a:cubicBezTo>
                            <a:pt x="32795" y="47207"/>
                            <a:pt x="29860" y="46083"/>
                            <a:pt x="27624" y="43848"/>
                          </a:cubicBezTo>
                          <a:lnTo>
                            <a:pt x="3362" y="19575"/>
                          </a:lnTo>
                          <a:cubicBezTo>
                            <a:pt x="-1121" y="15092"/>
                            <a:pt x="-1121" y="7834"/>
                            <a:pt x="3362" y="3362"/>
                          </a:cubicBezTo>
                          <a:cubicBezTo>
                            <a:pt x="7845" y="-1121"/>
                            <a:pt x="15092" y="-1121"/>
                            <a:pt x="19575" y="3362"/>
                          </a:cubicBezTo>
                          <a:lnTo>
                            <a:pt x="43836" y="27635"/>
                          </a:lnTo>
                          <a:cubicBezTo>
                            <a:pt x="48319" y="32118"/>
                            <a:pt x="48319" y="39376"/>
                            <a:pt x="43836" y="43848"/>
                          </a:cubicBezTo>
                          <a:cubicBezTo>
                            <a:pt x="41600" y="46083"/>
                            <a:pt x="38665" y="47207"/>
                            <a:pt x="35730" y="47207"/>
                          </a:cubicBezTo>
                          <a:close/>
                        </a:path>
                      </a:pathLst>
                    </a:custGeom>
                    <a:solidFill>
                      <a:schemeClr val="accent1"/>
                    </a:solidFill>
                    <a:ln w="1145" cap="flat">
                      <a:noFill/>
                      <a:prstDash val="solid"/>
                      <a:miter/>
                    </a:ln>
                  </p:spPr>
                  <p:txBody>
                    <a:bodyPr rtlCol="0" anchor="ctr"/>
                    <a:lstStyle/>
                    <a:p>
                      <a:endParaRPr lang="en-GB" dirty="0"/>
                    </a:p>
                  </p:txBody>
                </p:sp>
              </p:grpSp>
              <p:grpSp>
                <p:nvGrpSpPr>
                  <p:cNvPr id="96" name="Graphic 48">
                    <a:extLst>
                      <a:ext uri="{FF2B5EF4-FFF2-40B4-BE49-F238E27FC236}">
                        <a16:creationId xmlns:a16="http://schemas.microsoft.com/office/drawing/2014/main" id="{F09B8C8E-E8EF-4C30-9C32-1BAD8053E01C}"/>
                      </a:ext>
                    </a:extLst>
                  </p:cNvPr>
                  <p:cNvGrpSpPr/>
                  <p:nvPr/>
                </p:nvGrpSpPr>
                <p:grpSpPr>
                  <a:xfrm>
                    <a:off x="5131796" y="1766845"/>
                    <a:ext cx="85746" cy="85158"/>
                    <a:chOff x="5131796" y="1766845"/>
                    <a:chExt cx="85746" cy="85158"/>
                  </a:xfrm>
                  <a:solidFill>
                    <a:schemeClr val="accent1"/>
                  </a:solidFill>
                </p:grpSpPr>
                <p:sp>
                  <p:nvSpPr>
                    <p:cNvPr id="97" name="Freeform: Shape 96">
                      <a:extLst>
                        <a:ext uri="{FF2B5EF4-FFF2-40B4-BE49-F238E27FC236}">
                          <a16:creationId xmlns:a16="http://schemas.microsoft.com/office/drawing/2014/main" id="{211DBF46-5C1E-438B-ACE1-A35869359D7B}"/>
                        </a:ext>
                      </a:extLst>
                    </p:cNvPr>
                    <p:cNvSpPr/>
                    <p:nvPr/>
                  </p:nvSpPr>
                  <p:spPr>
                    <a:xfrm>
                      <a:off x="5131796" y="1785272"/>
                      <a:ext cx="67491" cy="66731"/>
                    </a:xfrm>
                    <a:custGeom>
                      <a:avLst/>
                      <a:gdLst>
                        <a:gd name="connsiteX0" fmla="*/ 40844 w 67491"/>
                        <a:gd name="connsiteY0" fmla="*/ 66731 h 66731"/>
                        <a:gd name="connsiteX1" fmla="*/ 13590 w 67491"/>
                        <a:gd name="connsiteY1" fmla="*/ 53706 h 66731"/>
                        <a:gd name="connsiteX2" fmla="*/ 1413 w 67491"/>
                        <a:gd name="connsiteY2" fmla="*/ 35005 h 66731"/>
                        <a:gd name="connsiteX3" fmla="*/ 6940 w 67491"/>
                        <a:gd name="connsiteY3" fmla="*/ 9632 h 66731"/>
                        <a:gd name="connsiteX4" fmla="*/ 32038 w 67491"/>
                        <a:gd name="connsiteY4" fmla="*/ 12 h 66731"/>
                        <a:gd name="connsiteX5" fmla="*/ 58088 w 67491"/>
                        <a:gd name="connsiteY5" fmla="*/ 9196 h 66731"/>
                        <a:gd name="connsiteX6" fmla="*/ 67490 w 67491"/>
                        <a:gd name="connsiteY6" fmla="*/ 34696 h 66731"/>
                        <a:gd name="connsiteX7" fmla="*/ 58088 w 67491"/>
                        <a:gd name="connsiteY7" fmla="*/ 59611 h 66731"/>
                        <a:gd name="connsiteX8" fmla="*/ 40844 w 67491"/>
                        <a:gd name="connsiteY8" fmla="*/ 66731 h 66731"/>
                        <a:gd name="connsiteX9" fmla="*/ 33219 w 67491"/>
                        <a:gd name="connsiteY9" fmla="*/ 22921 h 66731"/>
                        <a:gd name="connsiteX10" fmla="*/ 32634 w 67491"/>
                        <a:gd name="connsiteY10" fmla="*/ 22932 h 66731"/>
                        <a:gd name="connsiteX11" fmla="*/ 23164 w 67491"/>
                        <a:gd name="connsiteY11" fmla="*/ 25844 h 66731"/>
                        <a:gd name="connsiteX12" fmla="*/ 23164 w 67491"/>
                        <a:gd name="connsiteY12" fmla="*/ 25844 h 66731"/>
                        <a:gd name="connsiteX13" fmla="*/ 22923 w 67491"/>
                        <a:gd name="connsiteY13" fmla="*/ 26120 h 66731"/>
                        <a:gd name="connsiteX14" fmla="*/ 29802 w 67491"/>
                        <a:gd name="connsiteY14" fmla="*/ 37482 h 66731"/>
                        <a:gd name="connsiteX15" fmla="*/ 39124 w 67491"/>
                        <a:gd name="connsiteY15" fmla="*/ 43547 h 66731"/>
                        <a:gd name="connsiteX16" fmla="*/ 41899 w 67491"/>
                        <a:gd name="connsiteY16" fmla="*/ 43387 h 66731"/>
                        <a:gd name="connsiteX17" fmla="*/ 44582 w 67491"/>
                        <a:gd name="connsiteY17" fmla="*/ 34467 h 66731"/>
                        <a:gd name="connsiteX18" fmla="*/ 41899 w 67491"/>
                        <a:gd name="connsiteY18" fmla="*/ 25397 h 66731"/>
                        <a:gd name="connsiteX19" fmla="*/ 33219 w 67491"/>
                        <a:gd name="connsiteY19" fmla="*/ 22921 h 66731"/>
                        <a:gd name="connsiteX20" fmla="*/ 15058 w 67491"/>
                        <a:gd name="connsiteY20" fmla="*/ 17738 h 66731"/>
                        <a:gd name="connsiteX21" fmla="*/ 15172 w 67491"/>
                        <a:gd name="connsiteY21" fmla="*/ 17738 h 66731"/>
                        <a:gd name="connsiteX22" fmla="*/ 15058 w 67491"/>
                        <a:gd name="connsiteY22" fmla="*/ 17738 h 66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7491" h="66731">
                          <a:moveTo>
                            <a:pt x="40844" y="66731"/>
                          </a:moveTo>
                          <a:cubicBezTo>
                            <a:pt x="31946" y="66731"/>
                            <a:pt x="22189" y="62305"/>
                            <a:pt x="13590" y="53706"/>
                          </a:cubicBezTo>
                          <a:cubicBezTo>
                            <a:pt x="9462" y="49578"/>
                            <a:pt x="3993" y="42986"/>
                            <a:pt x="1413" y="35005"/>
                          </a:cubicBezTo>
                          <a:cubicBezTo>
                            <a:pt x="-1671" y="25466"/>
                            <a:pt x="347" y="16213"/>
                            <a:pt x="6940" y="9632"/>
                          </a:cubicBezTo>
                          <a:cubicBezTo>
                            <a:pt x="12799" y="3773"/>
                            <a:pt x="21948" y="265"/>
                            <a:pt x="32038" y="12"/>
                          </a:cubicBezTo>
                          <a:cubicBezTo>
                            <a:pt x="42564" y="-229"/>
                            <a:pt x="51988" y="3097"/>
                            <a:pt x="58088" y="9196"/>
                          </a:cubicBezTo>
                          <a:cubicBezTo>
                            <a:pt x="64153" y="15262"/>
                            <a:pt x="67582" y="24560"/>
                            <a:pt x="67490" y="34696"/>
                          </a:cubicBezTo>
                          <a:cubicBezTo>
                            <a:pt x="67398" y="44648"/>
                            <a:pt x="63958" y="53729"/>
                            <a:pt x="58088" y="59611"/>
                          </a:cubicBezTo>
                          <a:cubicBezTo>
                            <a:pt x="53330" y="64392"/>
                            <a:pt x="47299" y="66731"/>
                            <a:pt x="40844" y="66731"/>
                          </a:cubicBezTo>
                          <a:close/>
                          <a:moveTo>
                            <a:pt x="33219" y="22921"/>
                          </a:moveTo>
                          <a:cubicBezTo>
                            <a:pt x="33024" y="22921"/>
                            <a:pt x="32840" y="22932"/>
                            <a:pt x="32634" y="22932"/>
                          </a:cubicBezTo>
                          <a:cubicBezTo>
                            <a:pt x="28209" y="23047"/>
                            <a:pt x="24528" y="24480"/>
                            <a:pt x="23164" y="25844"/>
                          </a:cubicBezTo>
                          <a:lnTo>
                            <a:pt x="23164" y="25844"/>
                          </a:lnTo>
                          <a:cubicBezTo>
                            <a:pt x="23003" y="25993"/>
                            <a:pt x="22946" y="26097"/>
                            <a:pt x="22923" y="26120"/>
                          </a:cubicBezTo>
                          <a:cubicBezTo>
                            <a:pt x="22682" y="27014"/>
                            <a:pt x="23886" y="31577"/>
                            <a:pt x="29802" y="37482"/>
                          </a:cubicBezTo>
                          <a:cubicBezTo>
                            <a:pt x="32818" y="40498"/>
                            <a:pt x="36292" y="42756"/>
                            <a:pt x="39124" y="43547"/>
                          </a:cubicBezTo>
                          <a:cubicBezTo>
                            <a:pt x="41165" y="44109"/>
                            <a:pt x="41612" y="43674"/>
                            <a:pt x="41899" y="43387"/>
                          </a:cubicBezTo>
                          <a:cubicBezTo>
                            <a:pt x="43160" y="42126"/>
                            <a:pt x="44536" y="38789"/>
                            <a:pt x="44582" y="34467"/>
                          </a:cubicBezTo>
                          <a:cubicBezTo>
                            <a:pt x="44616" y="30626"/>
                            <a:pt x="43561" y="27060"/>
                            <a:pt x="41899" y="25397"/>
                          </a:cubicBezTo>
                          <a:cubicBezTo>
                            <a:pt x="40637" y="24148"/>
                            <a:pt x="37496" y="22921"/>
                            <a:pt x="33219" y="22921"/>
                          </a:cubicBezTo>
                          <a:close/>
                          <a:moveTo>
                            <a:pt x="15058" y="17738"/>
                          </a:moveTo>
                          <a:lnTo>
                            <a:pt x="15172" y="17738"/>
                          </a:lnTo>
                          <a:lnTo>
                            <a:pt x="15058" y="17738"/>
                          </a:lnTo>
                          <a:close/>
                        </a:path>
                      </a:pathLst>
                    </a:custGeom>
                    <a:solidFill>
                      <a:schemeClr val="accent1"/>
                    </a:solidFill>
                    <a:ln w="1145" cap="flat">
                      <a:noFill/>
                      <a:prstDash val="solid"/>
                      <a:miter/>
                    </a:ln>
                  </p:spPr>
                  <p:txBody>
                    <a:bodyPr rtlCol="0" anchor="ctr"/>
                    <a:lstStyle/>
                    <a:p>
                      <a:endParaRPr lang="en-GB" dirty="0"/>
                    </a:p>
                  </p:txBody>
                </p:sp>
                <p:sp>
                  <p:nvSpPr>
                    <p:cNvPr id="98" name="Freeform: Shape 97">
                      <a:extLst>
                        <a:ext uri="{FF2B5EF4-FFF2-40B4-BE49-F238E27FC236}">
                          <a16:creationId xmlns:a16="http://schemas.microsoft.com/office/drawing/2014/main" id="{1D7140DD-A35F-4766-B524-094D8E4B2A0F}"/>
                        </a:ext>
                      </a:extLst>
                    </p:cNvPr>
                    <p:cNvSpPr/>
                    <p:nvPr/>
                  </p:nvSpPr>
                  <p:spPr>
                    <a:xfrm>
                      <a:off x="5170344" y="1766845"/>
                      <a:ext cx="47198" cy="47195"/>
                    </a:xfrm>
                    <a:custGeom>
                      <a:avLst/>
                      <a:gdLst>
                        <a:gd name="connsiteX0" fmla="*/ 11469 w 47198"/>
                        <a:gd name="connsiteY0" fmla="*/ 47196 h 47195"/>
                        <a:gd name="connsiteX1" fmla="*/ 3362 w 47198"/>
                        <a:gd name="connsiteY1" fmla="*/ 43836 h 47195"/>
                        <a:gd name="connsiteX2" fmla="*/ 3362 w 47198"/>
                        <a:gd name="connsiteY2" fmla="*/ 27624 h 47195"/>
                        <a:gd name="connsiteX3" fmla="*/ 27624 w 47198"/>
                        <a:gd name="connsiteY3" fmla="*/ 3362 h 47195"/>
                        <a:gd name="connsiteX4" fmla="*/ 43836 w 47198"/>
                        <a:gd name="connsiteY4" fmla="*/ 3362 h 47195"/>
                        <a:gd name="connsiteX5" fmla="*/ 43836 w 47198"/>
                        <a:gd name="connsiteY5" fmla="*/ 19575 h 47195"/>
                        <a:gd name="connsiteX6" fmla="*/ 19575 w 47198"/>
                        <a:gd name="connsiteY6" fmla="*/ 43836 h 47195"/>
                        <a:gd name="connsiteX7" fmla="*/ 11469 w 47198"/>
                        <a:gd name="connsiteY7" fmla="*/ 47196 h 47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198" h="47195">
                          <a:moveTo>
                            <a:pt x="11469" y="47196"/>
                          </a:moveTo>
                          <a:cubicBezTo>
                            <a:pt x="8533" y="47196"/>
                            <a:pt x="5598" y="46072"/>
                            <a:pt x="3362" y="43836"/>
                          </a:cubicBezTo>
                          <a:cubicBezTo>
                            <a:pt x="-1121" y="39353"/>
                            <a:pt x="-1121" y="32107"/>
                            <a:pt x="3362" y="27624"/>
                          </a:cubicBezTo>
                          <a:lnTo>
                            <a:pt x="27624" y="3362"/>
                          </a:lnTo>
                          <a:cubicBezTo>
                            <a:pt x="32107" y="-1121"/>
                            <a:pt x="39353" y="-1121"/>
                            <a:pt x="43836" y="3362"/>
                          </a:cubicBezTo>
                          <a:cubicBezTo>
                            <a:pt x="48319" y="7845"/>
                            <a:pt x="48319" y="15092"/>
                            <a:pt x="43836" y="19575"/>
                          </a:cubicBezTo>
                          <a:lnTo>
                            <a:pt x="19575" y="43836"/>
                          </a:lnTo>
                          <a:cubicBezTo>
                            <a:pt x="17328" y="46072"/>
                            <a:pt x="14392" y="47196"/>
                            <a:pt x="11469" y="47196"/>
                          </a:cubicBezTo>
                          <a:close/>
                        </a:path>
                      </a:pathLst>
                    </a:custGeom>
                    <a:solidFill>
                      <a:schemeClr val="accent1"/>
                    </a:solidFill>
                    <a:ln w="1145" cap="flat">
                      <a:noFill/>
                      <a:prstDash val="solid"/>
                      <a:miter/>
                    </a:ln>
                  </p:spPr>
                  <p:txBody>
                    <a:bodyPr rtlCol="0" anchor="ctr"/>
                    <a:lstStyle/>
                    <a:p>
                      <a:endParaRPr lang="en-GB" dirty="0"/>
                    </a:p>
                  </p:txBody>
                </p:sp>
              </p:grpSp>
            </p:grpSp>
            <p:sp>
              <p:nvSpPr>
                <p:cNvPr id="86" name="Freeform: Shape 85">
                  <a:extLst>
                    <a:ext uri="{FF2B5EF4-FFF2-40B4-BE49-F238E27FC236}">
                      <a16:creationId xmlns:a16="http://schemas.microsoft.com/office/drawing/2014/main" id="{03303D9E-819E-4736-8924-4A48A40EEC0A}"/>
                    </a:ext>
                  </a:extLst>
                </p:cNvPr>
                <p:cNvSpPr/>
                <p:nvPr/>
              </p:nvSpPr>
              <p:spPr>
                <a:xfrm>
                  <a:off x="5316956" y="1788931"/>
                  <a:ext cx="31592" cy="41792"/>
                </a:xfrm>
                <a:custGeom>
                  <a:avLst/>
                  <a:gdLst>
                    <a:gd name="connsiteX0" fmla="*/ 20136 w 31592"/>
                    <a:gd name="connsiteY0" fmla="*/ 41792 h 41792"/>
                    <a:gd name="connsiteX1" fmla="*/ 9702 w 31592"/>
                    <a:gd name="connsiteY1" fmla="*/ 35108 h 41792"/>
                    <a:gd name="connsiteX2" fmla="*/ 1045 w 31592"/>
                    <a:gd name="connsiteY2" fmla="*/ 16236 h 41792"/>
                    <a:gd name="connsiteX3" fmla="*/ 6687 w 31592"/>
                    <a:gd name="connsiteY3" fmla="*/ 1032 h 41792"/>
                    <a:gd name="connsiteX4" fmla="*/ 21890 w 31592"/>
                    <a:gd name="connsiteY4" fmla="*/ 6673 h 41792"/>
                    <a:gd name="connsiteX5" fmla="*/ 30547 w 31592"/>
                    <a:gd name="connsiteY5" fmla="*/ 25546 h 41792"/>
                    <a:gd name="connsiteX6" fmla="*/ 24906 w 31592"/>
                    <a:gd name="connsiteY6" fmla="*/ 40749 h 41792"/>
                    <a:gd name="connsiteX7" fmla="*/ 20136 w 31592"/>
                    <a:gd name="connsiteY7" fmla="*/ 41792 h 4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92" h="41792">
                      <a:moveTo>
                        <a:pt x="20136" y="41792"/>
                      </a:moveTo>
                      <a:cubicBezTo>
                        <a:pt x="15790" y="41792"/>
                        <a:pt x="11640" y="39316"/>
                        <a:pt x="9702" y="35108"/>
                      </a:cubicBezTo>
                      <a:lnTo>
                        <a:pt x="1045" y="16236"/>
                      </a:lnTo>
                      <a:cubicBezTo>
                        <a:pt x="-1591" y="10480"/>
                        <a:pt x="931" y="3669"/>
                        <a:pt x="6687" y="1032"/>
                      </a:cubicBezTo>
                      <a:cubicBezTo>
                        <a:pt x="12477" y="-1582"/>
                        <a:pt x="19253" y="940"/>
                        <a:pt x="21890" y="6673"/>
                      </a:cubicBezTo>
                      <a:lnTo>
                        <a:pt x="30547" y="25546"/>
                      </a:lnTo>
                      <a:cubicBezTo>
                        <a:pt x="33184" y="31302"/>
                        <a:pt x="30661" y="38112"/>
                        <a:pt x="24906" y="40749"/>
                      </a:cubicBezTo>
                      <a:cubicBezTo>
                        <a:pt x="23358" y="41460"/>
                        <a:pt x="21718" y="41792"/>
                        <a:pt x="20136" y="41792"/>
                      </a:cubicBezTo>
                      <a:close/>
                    </a:path>
                  </a:pathLst>
                </a:custGeom>
                <a:solidFill>
                  <a:schemeClr val="accent1"/>
                </a:solidFill>
                <a:ln w="1145" cap="flat">
                  <a:noFill/>
                  <a:prstDash val="solid"/>
                  <a:miter/>
                </a:ln>
              </p:spPr>
              <p:txBody>
                <a:bodyPr rtlCol="0" anchor="ctr"/>
                <a:lstStyle/>
                <a:p>
                  <a:endParaRPr lang="en-GB" dirty="0"/>
                </a:p>
              </p:txBody>
            </p:sp>
            <p:sp>
              <p:nvSpPr>
                <p:cNvPr id="87" name="Freeform: Shape 86">
                  <a:extLst>
                    <a:ext uri="{FF2B5EF4-FFF2-40B4-BE49-F238E27FC236}">
                      <a16:creationId xmlns:a16="http://schemas.microsoft.com/office/drawing/2014/main" id="{99BFB8BD-7C3A-4077-A761-DF3A8BDA6F8F}"/>
                    </a:ext>
                  </a:extLst>
                </p:cNvPr>
                <p:cNvSpPr/>
                <p:nvPr/>
              </p:nvSpPr>
              <p:spPr>
                <a:xfrm>
                  <a:off x="5216920" y="1571125"/>
                  <a:ext cx="31770" cy="42152"/>
                </a:xfrm>
                <a:custGeom>
                  <a:avLst/>
                  <a:gdLst>
                    <a:gd name="connsiteX0" fmla="*/ 20317 w 31770"/>
                    <a:gd name="connsiteY0" fmla="*/ 42152 h 42152"/>
                    <a:gd name="connsiteX1" fmla="*/ 9895 w 31770"/>
                    <a:gd name="connsiteY1" fmla="*/ 35479 h 42152"/>
                    <a:gd name="connsiteX2" fmla="*/ 1055 w 31770"/>
                    <a:gd name="connsiteY2" fmla="*/ 16263 h 42152"/>
                    <a:gd name="connsiteX3" fmla="*/ 6673 w 31770"/>
                    <a:gd name="connsiteY3" fmla="*/ 1048 h 42152"/>
                    <a:gd name="connsiteX4" fmla="*/ 21876 w 31770"/>
                    <a:gd name="connsiteY4" fmla="*/ 6677 h 42152"/>
                    <a:gd name="connsiteX5" fmla="*/ 30716 w 31770"/>
                    <a:gd name="connsiteY5" fmla="*/ 25894 h 42152"/>
                    <a:gd name="connsiteX6" fmla="*/ 25098 w 31770"/>
                    <a:gd name="connsiteY6" fmla="*/ 41109 h 42152"/>
                    <a:gd name="connsiteX7" fmla="*/ 20317 w 31770"/>
                    <a:gd name="connsiteY7" fmla="*/ 42152 h 42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70" h="42152">
                      <a:moveTo>
                        <a:pt x="20317" y="42152"/>
                      </a:moveTo>
                      <a:cubicBezTo>
                        <a:pt x="15971" y="42152"/>
                        <a:pt x="11821" y="39676"/>
                        <a:pt x="9895" y="35479"/>
                      </a:cubicBezTo>
                      <a:lnTo>
                        <a:pt x="1055" y="16263"/>
                      </a:lnTo>
                      <a:cubicBezTo>
                        <a:pt x="-1594" y="10507"/>
                        <a:pt x="917" y="3696"/>
                        <a:pt x="6673" y="1048"/>
                      </a:cubicBezTo>
                      <a:cubicBezTo>
                        <a:pt x="12452" y="-1589"/>
                        <a:pt x="19251" y="921"/>
                        <a:pt x="21876" y="6677"/>
                      </a:cubicBezTo>
                      <a:lnTo>
                        <a:pt x="30716" y="25894"/>
                      </a:lnTo>
                      <a:cubicBezTo>
                        <a:pt x="33365" y="31650"/>
                        <a:pt x="30854" y="38460"/>
                        <a:pt x="25098" y="41109"/>
                      </a:cubicBezTo>
                      <a:cubicBezTo>
                        <a:pt x="23539" y="41820"/>
                        <a:pt x="21911" y="42152"/>
                        <a:pt x="20317" y="42152"/>
                      </a:cubicBezTo>
                      <a:close/>
                    </a:path>
                  </a:pathLst>
                </a:custGeom>
                <a:solidFill>
                  <a:schemeClr val="accent1"/>
                </a:solidFill>
                <a:ln w="1145" cap="flat">
                  <a:noFill/>
                  <a:prstDash val="solid"/>
                  <a:miter/>
                </a:ln>
              </p:spPr>
              <p:txBody>
                <a:bodyPr rtlCol="0" anchor="ctr"/>
                <a:lstStyle/>
                <a:p>
                  <a:endParaRPr lang="en-GB" dirty="0"/>
                </a:p>
              </p:txBody>
            </p:sp>
            <p:sp>
              <p:nvSpPr>
                <p:cNvPr id="88" name="Freeform: Shape 87">
                  <a:extLst>
                    <a:ext uri="{FF2B5EF4-FFF2-40B4-BE49-F238E27FC236}">
                      <a16:creationId xmlns:a16="http://schemas.microsoft.com/office/drawing/2014/main" id="{4CE46D95-C9EB-4B8F-8A27-14C65C2B6E7B}"/>
                    </a:ext>
                  </a:extLst>
                </p:cNvPr>
                <p:cNvSpPr/>
                <p:nvPr/>
              </p:nvSpPr>
              <p:spPr>
                <a:xfrm>
                  <a:off x="5371922" y="1735150"/>
                  <a:ext cx="41212" cy="31262"/>
                </a:xfrm>
                <a:custGeom>
                  <a:avLst/>
                  <a:gdLst>
                    <a:gd name="connsiteX0" fmla="*/ 29733 w 41212"/>
                    <a:gd name="connsiteY0" fmla="*/ 31263 h 31262"/>
                    <a:gd name="connsiteX1" fmla="*/ 24986 w 41212"/>
                    <a:gd name="connsiteY1" fmla="*/ 30231 h 31262"/>
                    <a:gd name="connsiteX2" fmla="*/ 6710 w 41212"/>
                    <a:gd name="connsiteY2" fmla="*/ 21907 h 31262"/>
                    <a:gd name="connsiteX3" fmla="*/ 1035 w 41212"/>
                    <a:gd name="connsiteY3" fmla="*/ 6715 h 31262"/>
                    <a:gd name="connsiteX4" fmla="*/ 16227 w 41212"/>
                    <a:gd name="connsiteY4" fmla="*/ 1028 h 31262"/>
                    <a:gd name="connsiteX5" fmla="*/ 34503 w 41212"/>
                    <a:gd name="connsiteY5" fmla="*/ 9352 h 31262"/>
                    <a:gd name="connsiteX6" fmla="*/ 40178 w 41212"/>
                    <a:gd name="connsiteY6" fmla="*/ 24544 h 31262"/>
                    <a:gd name="connsiteX7" fmla="*/ 29733 w 41212"/>
                    <a:gd name="connsiteY7" fmla="*/ 31263 h 3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12" h="31262">
                      <a:moveTo>
                        <a:pt x="29733" y="31263"/>
                      </a:moveTo>
                      <a:cubicBezTo>
                        <a:pt x="28139" y="31263"/>
                        <a:pt x="26534" y="30930"/>
                        <a:pt x="24986" y="30231"/>
                      </a:cubicBezTo>
                      <a:lnTo>
                        <a:pt x="6710" y="21907"/>
                      </a:lnTo>
                      <a:cubicBezTo>
                        <a:pt x="954" y="19281"/>
                        <a:pt x="-1591" y="12482"/>
                        <a:pt x="1035" y="6715"/>
                      </a:cubicBezTo>
                      <a:cubicBezTo>
                        <a:pt x="3660" y="959"/>
                        <a:pt x="10459" y="-1587"/>
                        <a:pt x="16227" y="1028"/>
                      </a:cubicBezTo>
                      <a:lnTo>
                        <a:pt x="34503" y="9352"/>
                      </a:lnTo>
                      <a:cubicBezTo>
                        <a:pt x="40259" y="11977"/>
                        <a:pt x="42804" y="18776"/>
                        <a:pt x="40178" y="24544"/>
                      </a:cubicBezTo>
                      <a:cubicBezTo>
                        <a:pt x="38264" y="28763"/>
                        <a:pt x="34090" y="31263"/>
                        <a:pt x="29733" y="31263"/>
                      </a:cubicBezTo>
                      <a:close/>
                    </a:path>
                  </a:pathLst>
                </a:custGeom>
                <a:solidFill>
                  <a:schemeClr val="accent1"/>
                </a:solidFill>
                <a:ln w="1145" cap="flat">
                  <a:noFill/>
                  <a:prstDash val="solid"/>
                  <a:miter/>
                </a:ln>
              </p:spPr>
              <p:txBody>
                <a:bodyPr rtlCol="0" anchor="ctr"/>
                <a:lstStyle/>
                <a:p>
                  <a:endParaRPr lang="en-GB" dirty="0"/>
                </a:p>
              </p:txBody>
            </p:sp>
            <p:sp>
              <p:nvSpPr>
                <p:cNvPr id="89" name="Freeform: Shape 88">
                  <a:extLst>
                    <a:ext uri="{FF2B5EF4-FFF2-40B4-BE49-F238E27FC236}">
                      <a16:creationId xmlns:a16="http://schemas.microsoft.com/office/drawing/2014/main" id="{F7C51721-DB74-4896-8B15-A4993FE2AA99}"/>
                    </a:ext>
                  </a:extLst>
                </p:cNvPr>
                <p:cNvSpPr/>
                <p:nvPr/>
              </p:nvSpPr>
              <p:spPr>
                <a:xfrm>
                  <a:off x="5153226" y="1635456"/>
                  <a:ext cx="41740" cy="31503"/>
                </a:xfrm>
                <a:custGeom>
                  <a:avLst/>
                  <a:gdLst>
                    <a:gd name="connsiteX0" fmla="*/ 30261 w 41740"/>
                    <a:gd name="connsiteY0" fmla="*/ 31503 h 31503"/>
                    <a:gd name="connsiteX1" fmla="*/ 25514 w 41740"/>
                    <a:gd name="connsiteY1" fmla="*/ 30471 h 31503"/>
                    <a:gd name="connsiteX2" fmla="*/ 6710 w 41740"/>
                    <a:gd name="connsiteY2" fmla="*/ 21907 h 31503"/>
                    <a:gd name="connsiteX3" fmla="*/ 1035 w 41740"/>
                    <a:gd name="connsiteY3" fmla="*/ 6715 h 31503"/>
                    <a:gd name="connsiteX4" fmla="*/ 16227 w 41740"/>
                    <a:gd name="connsiteY4" fmla="*/ 1028 h 31503"/>
                    <a:gd name="connsiteX5" fmla="*/ 35030 w 41740"/>
                    <a:gd name="connsiteY5" fmla="*/ 9592 h 31503"/>
                    <a:gd name="connsiteX6" fmla="*/ 40706 w 41740"/>
                    <a:gd name="connsiteY6" fmla="*/ 24784 h 31503"/>
                    <a:gd name="connsiteX7" fmla="*/ 30261 w 41740"/>
                    <a:gd name="connsiteY7" fmla="*/ 31503 h 31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40" h="31503">
                      <a:moveTo>
                        <a:pt x="30261" y="31503"/>
                      </a:moveTo>
                      <a:cubicBezTo>
                        <a:pt x="28667" y="31503"/>
                        <a:pt x="27062" y="31171"/>
                        <a:pt x="25514" y="30471"/>
                      </a:cubicBezTo>
                      <a:lnTo>
                        <a:pt x="6710" y="21907"/>
                      </a:lnTo>
                      <a:cubicBezTo>
                        <a:pt x="954" y="19281"/>
                        <a:pt x="-1591" y="12482"/>
                        <a:pt x="1035" y="6715"/>
                      </a:cubicBezTo>
                      <a:cubicBezTo>
                        <a:pt x="3660" y="959"/>
                        <a:pt x="10448" y="-1587"/>
                        <a:pt x="16227" y="1028"/>
                      </a:cubicBezTo>
                      <a:lnTo>
                        <a:pt x="35030" y="9592"/>
                      </a:lnTo>
                      <a:cubicBezTo>
                        <a:pt x="40786" y="12218"/>
                        <a:pt x="43331" y="19017"/>
                        <a:pt x="40706" y="24784"/>
                      </a:cubicBezTo>
                      <a:cubicBezTo>
                        <a:pt x="38779" y="29004"/>
                        <a:pt x="34618" y="31503"/>
                        <a:pt x="30261" y="31503"/>
                      </a:cubicBezTo>
                      <a:close/>
                    </a:path>
                  </a:pathLst>
                </a:custGeom>
                <a:solidFill>
                  <a:schemeClr val="accent1"/>
                </a:solidFill>
                <a:ln w="1145" cap="flat">
                  <a:noFill/>
                  <a:prstDash val="solid"/>
                  <a:miter/>
                </a:ln>
              </p:spPr>
              <p:txBody>
                <a:bodyPr rtlCol="0" anchor="ctr"/>
                <a:lstStyle/>
                <a:p>
                  <a:endParaRPr lang="en-GB" dirty="0"/>
                </a:p>
              </p:txBody>
            </p:sp>
            <p:sp>
              <p:nvSpPr>
                <p:cNvPr id="90" name="Freeform: Shape 89">
                  <a:extLst>
                    <a:ext uri="{FF2B5EF4-FFF2-40B4-BE49-F238E27FC236}">
                      <a16:creationId xmlns:a16="http://schemas.microsoft.com/office/drawing/2014/main" id="{8E023A4E-24F1-4402-B39A-8C3F95464E4D}"/>
                    </a:ext>
                  </a:extLst>
                </p:cNvPr>
                <p:cNvSpPr/>
                <p:nvPr/>
              </p:nvSpPr>
              <p:spPr>
                <a:xfrm>
                  <a:off x="5370880" y="1636616"/>
                  <a:ext cx="42437" cy="31615"/>
                </a:xfrm>
                <a:custGeom>
                  <a:avLst/>
                  <a:gdLst>
                    <a:gd name="connsiteX0" fmla="*/ 11479 w 42437"/>
                    <a:gd name="connsiteY0" fmla="*/ 31616 h 31615"/>
                    <a:gd name="connsiteX1" fmla="*/ 988 w 42437"/>
                    <a:gd name="connsiteY1" fmla="*/ 24794 h 31615"/>
                    <a:gd name="connsiteX2" fmla="*/ 6824 w 42437"/>
                    <a:gd name="connsiteY2" fmla="*/ 9659 h 31615"/>
                    <a:gd name="connsiteX3" fmla="*/ 26327 w 42437"/>
                    <a:gd name="connsiteY3" fmla="*/ 1002 h 31615"/>
                    <a:gd name="connsiteX4" fmla="*/ 41450 w 42437"/>
                    <a:gd name="connsiteY4" fmla="*/ 6827 h 31615"/>
                    <a:gd name="connsiteX5" fmla="*/ 35614 w 42437"/>
                    <a:gd name="connsiteY5" fmla="*/ 21962 h 31615"/>
                    <a:gd name="connsiteX6" fmla="*/ 16111 w 42437"/>
                    <a:gd name="connsiteY6" fmla="*/ 30618 h 31615"/>
                    <a:gd name="connsiteX7" fmla="*/ 11479 w 42437"/>
                    <a:gd name="connsiteY7" fmla="*/ 31616 h 3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437" h="31615">
                      <a:moveTo>
                        <a:pt x="11479" y="31616"/>
                      </a:moveTo>
                      <a:cubicBezTo>
                        <a:pt x="7076" y="31616"/>
                        <a:pt x="2891" y="29070"/>
                        <a:pt x="988" y="24794"/>
                      </a:cubicBezTo>
                      <a:cubicBezTo>
                        <a:pt x="-1581" y="19004"/>
                        <a:pt x="1033" y="12227"/>
                        <a:pt x="6824" y="9659"/>
                      </a:cubicBezTo>
                      <a:lnTo>
                        <a:pt x="26327" y="1002"/>
                      </a:lnTo>
                      <a:cubicBezTo>
                        <a:pt x="32128" y="-1600"/>
                        <a:pt x="38882" y="1048"/>
                        <a:pt x="41450" y="6827"/>
                      </a:cubicBezTo>
                      <a:cubicBezTo>
                        <a:pt x="44018" y="12617"/>
                        <a:pt x="41404" y="19393"/>
                        <a:pt x="35614" y="21962"/>
                      </a:cubicBezTo>
                      <a:lnTo>
                        <a:pt x="16111" y="30618"/>
                      </a:lnTo>
                      <a:cubicBezTo>
                        <a:pt x="14597" y="31295"/>
                        <a:pt x="13027" y="31616"/>
                        <a:pt x="11479" y="31616"/>
                      </a:cubicBezTo>
                      <a:close/>
                    </a:path>
                  </a:pathLst>
                </a:custGeom>
                <a:solidFill>
                  <a:schemeClr val="accent1"/>
                </a:solidFill>
                <a:ln w="1145" cap="flat">
                  <a:noFill/>
                  <a:prstDash val="solid"/>
                  <a:miter/>
                </a:ln>
              </p:spPr>
              <p:txBody>
                <a:bodyPr rtlCol="0" anchor="ctr"/>
                <a:lstStyle/>
                <a:p>
                  <a:endParaRPr lang="en-GB" dirty="0"/>
                </a:p>
              </p:txBody>
            </p:sp>
            <p:sp>
              <p:nvSpPr>
                <p:cNvPr id="91" name="Freeform: Shape 90">
                  <a:extLst>
                    <a:ext uri="{FF2B5EF4-FFF2-40B4-BE49-F238E27FC236}">
                      <a16:creationId xmlns:a16="http://schemas.microsoft.com/office/drawing/2014/main" id="{33A85405-6A97-4739-B0F4-8FDB2C7BD937}"/>
                    </a:ext>
                  </a:extLst>
                </p:cNvPr>
                <p:cNvSpPr/>
                <p:nvPr/>
              </p:nvSpPr>
              <p:spPr>
                <a:xfrm>
                  <a:off x="5152355" y="1734109"/>
                  <a:ext cx="41337" cy="31134"/>
                </a:xfrm>
                <a:custGeom>
                  <a:avLst/>
                  <a:gdLst>
                    <a:gd name="connsiteX0" fmla="*/ 11479 w 41337"/>
                    <a:gd name="connsiteY0" fmla="*/ 31134 h 31134"/>
                    <a:gd name="connsiteX1" fmla="*/ 988 w 41337"/>
                    <a:gd name="connsiteY1" fmla="*/ 24312 h 31134"/>
                    <a:gd name="connsiteX2" fmla="*/ 6812 w 41337"/>
                    <a:gd name="connsiteY2" fmla="*/ 9177 h 31134"/>
                    <a:gd name="connsiteX3" fmla="*/ 25215 w 41337"/>
                    <a:gd name="connsiteY3" fmla="*/ 1002 h 31134"/>
                    <a:gd name="connsiteX4" fmla="*/ 40349 w 41337"/>
                    <a:gd name="connsiteY4" fmla="*/ 6827 h 31134"/>
                    <a:gd name="connsiteX5" fmla="*/ 34525 w 41337"/>
                    <a:gd name="connsiteY5" fmla="*/ 21962 h 31134"/>
                    <a:gd name="connsiteX6" fmla="*/ 16122 w 41337"/>
                    <a:gd name="connsiteY6" fmla="*/ 30137 h 31134"/>
                    <a:gd name="connsiteX7" fmla="*/ 11479 w 41337"/>
                    <a:gd name="connsiteY7" fmla="*/ 31134 h 31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337" h="31134">
                      <a:moveTo>
                        <a:pt x="11479" y="31134"/>
                      </a:moveTo>
                      <a:cubicBezTo>
                        <a:pt x="7076" y="31134"/>
                        <a:pt x="2891" y="28589"/>
                        <a:pt x="988" y="24312"/>
                      </a:cubicBezTo>
                      <a:cubicBezTo>
                        <a:pt x="-1581" y="18522"/>
                        <a:pt x="1034" y="11746"/>
                        <a:pt x="6812" y="9177"/>
                      </a:cubicBezTo>
                      <a:lnTo>
                        <a:pt x="25215" y="1002"/>
                      </a:lnTo>
                      <a:cubicBezTo>
                        <a:pt x="31028" y="-1600"/>
                        <a:pt x="37781" y="1048"/>
                        <a:pt x="40349" y="6827"/>
                      </a:cubicBezTo>
                      <a:cubicBezTo>
                        <a:pt x="42918" y="12617"/>
                        <a:pt x="40304" y="19393"/>
                        <a:pt x="34525" y="21962"/>
                      </a:cubicBezTo>
                      <a:lnTo>
                        <a:pt x="16122" y="30137"/>
                      </a:lnTo>
                      <a:cubicBezTo>
                        <a:pt x="14620" y="30813"/>
                        <a:pt x="13027" y="31134"/>
                        <a:pt x="11479" y="31134"/>
                      </a:cubicBezTo>
                      <a:close/>
                    </a:path>
                  </a:pathLst>
                </a:custGeom>
                <a:solidFill>
                  <a:schemeClr val="accent1"/>
                </a:solidFill>
                <a:ln w="1145" cap="flat">
                  <a:noFill/>
                  <a:prstDash val="solid"/>
                  <a:miter/>
                </a:ln>
              </p:spPr>
              <p:txBody>
                <a:bodyPr rtlCol="0" anchor="ctr"/>
                <a:lstStyle/>
                <a:p>
                  <a:endParaRPr lang="en-GB" dirty="0"/>
                </a:p>
              </p:txBody>
            </p:sp>
            <p:sp>
              <p:nvSpPr>
                <p:cNvPr id="92" name="Freeform: Shape 91">
                  <a:extLst>
                    <a:ext uri="{FF2B5EF4-FFF2-40B4-BE49-F238E27FC236}">
                      <a16:creationId xmlns:a16="http://schemas.microsoft.com/office/drawing/2014/main" id="{A608A117-140D-42C1-9E9F-123F12B6B1BB}"/>
                    </a:ext>
                  </a:extLst>
                </p:cNvPr>
                <p:cNvSpPr/>
                <p:nvPr/>
              </p:nvSpPr>
              <p:spPr>
                <a:xfrm>
                  <a:off x="5217085" y="1789707"/>
                  <a:ext cx="31246" cy="41061"/>
                </a:xfrm>
                <a:custGeom>
                  <a:avLst/>
                  <a:gdLst>
                    <a:gd name="connsiteX0" fmla="*/ 11461 w 31246"/>
                    <a:gd name="connsiteY0" fmla="*/ 41062 h 41061"/>
                    <a:gd name="connsiteX1" fmla="*/ 6703 w 31246"/>
                    <a:gd name="connsiteY1" fmla="*/ 40018 h 41061"/>
                    <a:gd name="connsiteX2" fmla="*/ 1050 w 31246"/>
                    <a:gd name="connsiteY2" fmla="*/ 24815 h 41061"/>
                    <a:gd name="connsiteX3" fmla="*/ 9351 w 31246"/>
                    <a:gd name="connsiteY3" fmla="*/ 6699 h 41061"/>
                    <a:gd name="connsiteX4" fmla="*/ 24544 w 31246"/>
                    <a:gd name="connsiteY4" fmla="*/ 1047 h 41061"/>
                    <a:gd name="connsiteX5" fmla="*/ 30196 w 31246"/>
                    <a:gd name="connsiteY5" fmla="*/ 16250 h 41061"/>
                    <a:gd name="connsiteX6" fmla="*/ 21895 w 31246"/>
                    <a:gd name="connsiteY6" fmla="*/ 34366 h 41061"/>
                    <a:gd name="connsiteX7" fmla="*/ 11461 w 31246"/>
                    <a:gd name="connsiteY7" fmla="*/ 41062 h 41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46" h="41061">
                      <a:moveTo>
                        <a:pt x="11461" y="41062"/>
                      </a:moveTo>
                      <a:cubicBezTo>
                        <a:pt x="9867" y="41062"/>
                        <a:pt x="8251" y="40729"/>
                        <a:pt x="6703" y="40018"/>
                      </a:cubicBezTo>
                      <a:cubicBezTo>
                        <a:pt x="936" y="37381"/>
                        <a:pt x="-1598" y="30571"/>
                        <a:pt x="1050" y="24815"/>
                      </a:cubicBezTo>
                      <a:lnTo>
                        <a:pt x="9351" y="6699"/>
                      </a:lnTo>
                      <a:cubicBezTo>
                        <a:pt x="11977" y="955"/>
                        <a:pt x="18799" y="-1602"/>
                        <a:pt x="24544" y="1047"/>
                      </a:cubicBezTo>
                      <a:cubicBezTo>
                        <a:pt x="30311" y="3684"/>
                        <a:pt x="32845" y="10494"/>
                        <a:pt x="30196" y="16250"/>
                      </a:cubicBezTo>
                      <a:lnTo>
                        <a:pt x="21895" y="34366"/>
                      </a:lnTo>
                      <a:cubicBezTo>
                        <a:pt x="19969" y="38585"/>
                        <a:pt x="15807" y="41062"/>
                        <a:pt x="11461" y="41062"/>
                      </a:cubicBezTo>
                      <a:close/>
                    </a:path>
                  </a:pathLst>
                </a:custGeom>
                <a:solidFill>
                  <a:schemeClr val="accent1"/>
                </a:solidFill>
                <a:ln w="1145" cap="flat">
                  <a:noFill/>
                  <a:prstDash val="solid"/>
                  <a:miter/>
                </a:ln>
              </p:spPr>
              <p:txBody>
                <a:bodyPr rtlCol="0" anchor="ctr"/>
                <a:lstStyle/>
                <a:p>
                  <a:endParaRPr lang="en-GB" dirty="0"/>
                </a:p>
              </p:txBody>
            </p:sp>
            <p:sp>
              <p:nvSpPr>
                <p:cNvPr id="93" name="Freeform: Shape 92">
                  <a:extLst>
                    <a:ext uri="{FF2B5EF4-FFF2-40B4-BE49-F238E27FC236}">
                      <a16:creationId xmlns:a16="http://schemas.microsoft.com/office/drawing/2014/main" id="{30D2326E-D140-47A1-9A07-1E665CA08F09}"/>
                    </a:ext>
                  </a:extLst>
                </p:cNvPr>
                <p:cNvSpPr/>
                <p:nvPr/>
              </p:nvSpPr>
              <p:spPr>
                <a:xfrm>
                  <a:off x="5316985" y="1571106"/>
                  <a:ext cx="31544" cy="41666"/>
                </a:xfrm>
                <a:custGeom>
                  <a:avLst/>
                  <a:gdLst>
                    <a:gd name="connsiteX0" fmla="*/ 11461 w 31544"/>
                    <a:gd name="connsiteY0" fmla="*/ 41666 h 41666"/>
                    <a:gd name="connsiteX1" fmla="*/ 6692 w 31544"/>
                    <a:gd name="connsiteY1" fmla="*/ 40623 h 41666"/>
                    <a:gd name="connsiteX2" fmla="*/ 1050 w 31544"/>
                    <a:gd name="connsiteY2" fmla="*/ 25419 h 41666"/>
                    <a:gd name="connsiteX3" fmla="*/ 9650 w 31544"/>
                    <a:gd name="connsiteY3" fmla="*/ 6673 h 41666"/>
                    <a:gd name="connsiteX4" fmla="*/ 24853 w 31544"/>
                    <a:gd name="connsiteY4" fmla="*/ 1032 h 41666"/>
                    <a:gd name="connsiteX5" fmla="*/ 30494 w 31544"/>
                    <a:gd name="connsiteY5" fmla="*/ 16236 h 41666"/>
                    <a:gd name="connsiteX6" fmla="*/ 21895 w 31544"/>
                    <a:gd name="connsiteY6" fmla="*/ 34982 h 41666"/>
                    <a:gd name="connsiteX7" fmla="*/ 11461 w 31544"/>
                    <a:gd name="connsiteY7" fmla="*/ 41666 h 4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44" h="41666">
                      <a:moveTo>
                        <a:pt x="11461" y="41666"/>
                      </a:moveTo>
                      <a:cubicBezTo>
                        <a:pt x="9868" y="41666"/>
                        <a:pt x="8239" y="41334"/>
                        <a:pt x="6692" y="40623"/>
                      </a:cubicBezTo>
                      <a:cubicBezTo>
                        <a:pt x="936" y="37986"/>
                        <a:pt x="-1598" y="31175"/>
                        <a:pt x="1050" y="25419"/>
                      </a:cubicBezTo>
                      <a:lnTo>
                        <a:pt x="9650" y="6673"/>
                      </a:lnTo>
                      <a:cubicBezTo>
                        <a:pt x="12298" y="940"/>
                        <a:pt x="19086" y="-1582"/>
                        <a:pt x="24853" y="1032"/>
                      </a:cubicBezTo>
                      <a:cubicBezTo>
                        <a:pt x="30609" y="3669"/>
                        <a:pt x="33143" y="10480"/>
                        <a:pt x="30494" y="16236"/>
                      </a:cubicBezTo>
                      <a:lnTo>
                        <a:pt x="21895" y="34982"/>
                      </a:lnTo>
                      <a:cubicBezTo>
                        <a:pt x="19957" y="39178"/>
                        <a:pt x="15807" y="41666"/>
                        <a:pt x="11461" y="41666"/>
                      </a:cubicBezTo>
                      <a:close/>
                    </a:path>
                  </a:pathLst>
                </a:custGeom>
                <a:solidFill>
                  <a:schemeClr val="accent1"/>
                </a:solidFill>
                <a:ln w="1145" cap="flat">
                  <a:noFill/>
                  <a:prstDash val="solid"/>
                  <a:miter/>
                </a:ln>
              </p:spPr>
              <p:txBody>
                <a:bodyPr rtlCol="0" anchor="ctr"/>
                <a:lstStyle/>
                <a:p>
                  <a:endParaRPr lang="en-GB" dirty="0"/>
                </a:p>
              </p:txBody>
            </p:sp>
          </p:grpSp>
          <p:sp>
            <p:nvSpPr>
              <p:cNvPr id="78" name="Freeform: Shape 77">
                <a:extLst>
                  <a:ext uri="{FF2B5EF4-FFF2-40B4-BE49-F238E27FC236}">
                    <a16:creationId xmlns:a16="http://schemas.microsoft.com/office/drawing/2014/main" id="{5AADE9D9-034B-4076-9C89-6E16093EE63C}"/>
                  </a:ext>
                </a:extLst>
              </p:cNvPr>
              <p:cNvSpPr/>
              <p:nvPr/>
            </p:nvSpPr>
            <p:spPr>
              <a:xfrm>
                <a:off x="5221592" y="1657063"/>
                <a:ext cx="34753" cy="23757"/>
              </a:xfrm>
              <a:custGeom>
                <a:avLst/>
                <a:gdLst>
                  <a:gd name="connsiteX0" fmla="*/ 23304 w 34753"/>
                  <a:gd name="connsiteY0" fmla="*/ 23758 h 23757"/>
                  <a:gd name="connsiteX1" fmla="*/ 22490 w 34753"/>
                  <a:gd name="connsiteY1" fmla="*/ 23735 h 23757"/>
                  <a:gd name="connsiteX2" fmla="*/ 10658 w 34753"/>
                  <a:gd name="connsiteY2" fmla="*/ 22898 h 23757"/>
                  <a:gd name="connsiteX3" fmla="*/ 29 w 34753"/>
                  <a:gd name="connsiteY3" fmla="*/ 10652 h 23757"/>
                  <a:gd name="connsiteX4" fmla="*/ 12263 w 34753"/>
                  <a:gd name="connsiteY4" fmla="*/ 24 h 23757"/>
                  <a:gd name="connsiteX5" fmla="*/ 24096 w 34753"/>
                  <a:gd name="connsiteY5" fmla="*/ 861 h 23757"/>
                  <a:gd name="connsiteX6" fmla="*/ 34724 w 34753"/>
                  <a:gd name="connsiteY6" fmla="*/ 13106 h 23757"/>
                  <a:gd name="connsiteX7" fmla="*/ 23304 w 34753"/>
                  <a:gd name="connsiteY7" fmla="*/ 23758 h 23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53" h="23757">
                    <a:moveTo>
                      <a:pt x="23304" y="23758"/>
                    </a:moveTo>
                    <a:cubicBezTo>
                      <a:pt x="23041" y="23758"/>
                      <a:pt x="22754" y="23746"/>
                      <a:pt x="22490" y="23735"/>
                    </a:cubicBezTo>
                    <a:lnTo>
                      <a:pt x="10658" y="22898"/>
                    </a:lnTo>
                    <a:cubicBezTo>
                      <a:pt x="4329" y="22451"/>
                      <a:pt x="-418" y="16959"/>
                      <a:pt x="29" y="10652"/>
                    </a:cubicBezTo>
                    <a:cubicBezTo>
                      <a:pt x="476" y="4346"/>
                      <a:pt x="6003" y="-377"/>
                      <a:pt x="12263" y="24"/>
                    </a:cubicBezTo>
                    <a:lnTo>
                      <a:pt x="24096" y="861"/>
                    </a:lnTo>
                    <a:cubicBezTo>
                      <a:pt x="30425" y="1308"/>
                      <a:pt x="35171" y="6800"/>
                      <a:pt x="34724" y="13106"/>
                    </a:cubicBezTo>
                    <a:cubicBezTo>
                      <a:pt x="34300" y="19137"/>
                      <a:pt x="29278" y="23758"/>
                      <a:pt x="23304" y="23758"/>
                    </a:cubicBezTo>
                    <a:close/>
                  </a:path>
                </a:pathLst>
              </a:custGeom>
              <a:solidFill>
                <a:schemeClr val="accent1"/>
              </a:solidFill>
              <a:ln w="1145" cap="flat">
                <a:noFill/>
                <a:prstDash val="solid"/>
                <a:miter/>
              </a:ln>
            </p:spPr>
            <p:txBody>
              <a:bodyPr rtlCol="0" anchor="ctr"/>
              <a:lstStyle/>
              <a:p>
                <a:endParaRPr lang="en-GB" dirty="0"/>
              </a:p>
            </p:txBody>
          </p:sp>
          <p:sp>
            <p:nvSpPr>
              <p:cNvPr id="79" name="Freeform: Shape 78">
                <a:extLst>
                  <a:ext uri="{FF2B5EF4-FFF2-40B4-BE49-F238E27FC236}">
                    <a16:creationId xmlns:a16="http://schemas.microsoft.com/office/drawing/2014/main" id="{663101CA-1E67-433E-8405-AF5FFC238E61}"/>
                  </a:ext>
                </a:extLst>
              </p:cNvPr>
              <p:cNvSpPr/>
              <p:nvPr/>
            </p:nvSpPr>
            <p:spPr>
              <a:xfrm>
                <a:off x="5272835" y="1738014"/>
                <a:ext cx="31835" cy="29510"/>
              </a:xfrm>
              <a:custGeom>
                <a:avLst/>
                <a:gdLst>
                  <a:gd name="connsiteX0" fmla="*/ 11481 w 31835"/>
                  <a:gd name="connsiteY0" fmla="*/ 29510 h 29510"/>
                  <a:gd name="connsiteX1" fmla="*/ 2239 w 31835"/>
                  <a:gd name="connsiteY1" fmla="*/ 24855 h 29510"/>
                  <a:gd name="connsiteX2" fmla="*/ 4659 w 31835"/>
                  <a:gd name="connsiteY2" fmla="*/ 8826 h 29510"/>
                  <a:gd name="connsiteX3" fmla="*/ 13567 w 31835"/>
                  <a:gd name="connsiteY3" fmla="*/ 2245 h 29510"/>
                  <a:gd name="connsiteX4" fmla="*/ 29596 w 31835"/>
                  <a:gd name="connsiteY4" fmla="*/ 4653 h 29510"/>
                  <a:gd name="connsiteX5" fmla="*/ 27177 w 31835"/>
                  <a:gd name="connsiteY5" fmla="*/ 20682 h 29510"/>
                  <a:gd name="connsiteX6" fmla="*/ 18268 w 31835"/>
                  <a:gd name="connsiteY6" fmla="*/ 27263 h 29510"/>
                  <a:gd name="connsiteX7" fmla="*/ 11481 w 31835"/>
                  <a:gd name="connsiteY7" fmla="*/ 29510 h 2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835" h="29510">
                    <a:moveTo>
                      <a:pt x="11481" y="29510"/>
                    </a:moveTo>
                    <a:cubicBezTo>
                      <a:pt x="7961" y="29510"/>
                      <a:pt x="4498" y="27905"/>
                      <a:pt x="2239" y="24855"/>
                    </a:cubicBezTo>
                    <a:cubicBezTo>
                      <a:pt x="-1522" y="19764"/>
                      <a:pt x="-432" y="12587"/>
                      <a:pt x="4659" y="8826"/>
                    </a:cubicBezTo>
                    <a:lnTo>
                      <a:pt x="13567" y="2245"/>
                    </a:lnTo>
                    <a:cubicBezTo>
                      <a:pt x="18658" y="-1527"/>
                      <a:pt x="25824" y="-427"/>
                      <a:pt x="29596" y="4653"/>
                    </a:cubicBezTo>
                    <a:cubicBezTo>
                      <a:pt x="33357" y="9743"/>
                      <a:pt x="32268" y="16921"/>
                      <a:pt x="27177" y="20682"/>
                    </a:cubicBezTo>
                    <a:lnTo>
                      <a:pt x="18268" y="27263"/>
                    </a:lnTo>
                    <a:cubicBezTo>
                      <a:pt x="16227" y="28788"/>
                      <a:pt x="13843" y="29510"/>
                      <a:pt x="11481" y="29510"/>
                    </a:cubicBezTo>
                    <a:close/>
                  </a:path>
                </a:pathLst>
              </a:custGeom>
              <a:solidFill>
                <a:schemeClr val="accent1"/>
              </a:solidFill>
              <a:ln w="1145" cap="flat">
                <a:noFill/>
                <a:prstDash val="solid"/>
                <a:miter/>
              </a:ln>
            </p:spPr>
            <p:txBody>
              <a:bodyPr rtlCol="0" anchor="ctr"/>
              <a:lstStyle/>
              <a:p>
                <a:endParaRPr lang="en-GB" dirty="0"/>
              </a:p>
            </p:txBody>
          </p:sp>
          <p:sp>
            <p:nvSpPr>
              <p:cNvPr id="80" name="Freeform: Shape 79">
                <a:extLst>
                  <a:ext uri="{FF2B5EF4-FFF2-40B4-BE49-F238E27FC236}">
                    <a16:creationId xmlns:a16="http://schemas.microsoft.com/office/drawing/2014/main" id="{AEE08425-1310-467F-BE4F-83D9BAE3C2DE}"/>
                  </a:ext>
                </a:extLst>
              </p:cNvPr>
              <p:cNvSpPr/>
              <p:nvPr/>
            </p:nvSpPr>
            <p:spPr>
              <a:xfrm>
                <a:off x="5319423" y="1669344"/>
                <a:ext cx="22931" cy="35119"/>
              </a:xfrm>
              <a:custGeom>
                <a:avLst/>
                <a:gdLst>
                  <a:gd name="connsiteX0" fmla="*/ 11466 w 22931"/>
                  <a:gd name="connsiteY0" fmla="*/ 35119 h 35119"/>
                  <a:gd name="connsiteX1" fmla="*/ 0 w 22931"/>
                  <a:gd name="connsiteY1" fmla="*/ 23654 h 35119"/>
                  <a:gd name="connsiteX2" fmla="*/ 0 w 22931"/>
                  <a:gd name="connsiteY2" fmla="*/ 11466 h 35119"/>
                  <a:gd name="connsiteX3" fmla="*/ 11466 w 22931"/>
                  <a:gd name="connsiteY3" fmla="*/ 0 h 35119"/>
                  <a:gd name="connsiteX4" fmla="*/ 22931 w 22931"/>
                  <a:gd name="connsiteY4" fmla="*/ 11466 h 35119"/>
                  <a:gd name="connsiteX5" fmla="*/ 22931 w 22931"/>
                  <a:gd name="connsiteY5" fmla="*/ 23654 h 35119"/>
                  <a:gd name="connsiteX6" fmla="*/ 11466 w 22931"/>
                  <a:gd name="connsiteY6" fmla="*/ 35119 h 35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35119">
                    <a:moveTo>
                      <a:pt x="11466" y="35119"/>
                    </a:moveTo>
                    <a:cubicBezTo>
                      <a:pt x="5125" y="35119"/>
                      <a:pt x="0" y="29983"/>
                      <a:pt x="0" y="23654"/>
                    </a:cubicBezTo>
                    <a:lnTo>
                      <a:pt x="0" y="11466"/>
                    </a:lnTo>
                    <a:cubicBezTo>
                      <a:pt x="0" y="5137"/>
                      <a:pt x="5125" y="0"/>
                      <a:pt x="11466" y="0"/>
                    </a:cubicBezTo>
                    <a:cubicBezTo>
                      <a:pt x="17806" y="0"/>
                      <a:pt x="22931" y="5137"/>
                      <a:pt x="22931" y="11466"/>
                    </a:cubicBezTo>
                    <a:lnTo>
                      <a:pt x="22931" y="23654"/>
                    </a:lnTo>
                    <a:cubicBezTo>
                      <a:pt x="22931" y="29983"/>
                      <a:pt x="17795" y="35119"/>
                      <a:pt x="11466" y="35119"/>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9" name="Group 8">
            <a:extLst>
              <a:ext uri="{FF2B5EF4-FFF2-40B4-BE49-F238E27FC236}">
                <a16:creationId xmlns:a16="http://schemas.microsoft.com/office/drawing/2014/main" id="{358F28E9-C295-5413-6ABA-DEACC3A37D5E}"/>
              </a:ext>
            </a:extLst>
          </p:cNvPr>
          <p:cNvGrpSpPr/>
          <p:nvPr/>
        </p:nvGrpSpPr>
        <p:grpSpPr>
          <a:xfrm>
            <a:off x="3734862" y="1628429"/>
            <a:ext cx="390974" cy="445276"/>
            <a:chOff x="3734862" y="1628429"/>
            <a:chExt cx="390974" cy="445276"/>
          </a:xfrm>
        </p:grpSpPr>
        <p:grpSp>
          <p:nvGrpSpPr>
            <p:cNvPr id="132" name="Graphic 48">
              <a:extLst>
                <a:ext uri="{FF2B5EF4-FFF2-40B4-BE49-F238E27FC236}">
                  <a16:creationId xmlns:a16="http://schemas.microsoft.com/office/drawing/2014/main" id="{4F26D02E-0263-4C55-96EC-AE0EF9D21795}"/>
                </a:ext>
              </a:extLst>
            </p:cNvPr>
            <p:cNvGrpSpPr/>
            <p:nvPr/>
          </p:nvGrpSpPr>
          <p:grpSpPr>
            <a:xfrm>
              <a:off x="3734862" y="1628429"/>
              <a:ext cx="390974" cy="445276"/>
              <a:chOff x="3412051" y="2824522"/>
              <a:chExt cx="825528" cy="940185"/>
            </a:xfrm>
            <a:solidFill>
              <a:schemeClr val="tx2"/>
            </a:solidFill>
          </p:grpSpPr>
          <p:sp>
            <p:nvSpPr>
              <p:cNvPr id="173" name="Freeform: Shape 172">
                <a:extLst>
                  <a:ext uri="{FF2B5EF4-FFF2-40B4-BE49-F238E27FC236}">
                    <a16:creationId xmlns:a16="http://schemas.microsoft.com/office/drawing/2014/main" id="{3C4CD127-8C59-48B7-AFA5-480116D02A64}"/>
                  </a:ext>
                </a:extLst>
              </p:cNvPr>
              <p:cNvSpPr/>
              <p:nvPr/>
            </p:nvSpPr>
            <p:spPr>
              <a:xfrm>
                <a:off x="3500200" y="3515511"/>
                <a:ext cx="296169" cy="181261"/>
              </a:xfrm>
              <a:custGeom>
                <a:avLst/>
                <a:gdLst>
                  <a:gd name="connsiteX0" fmla="*/ 284681 w 296169"/>
                  <a:gd name="connsiteY0" fmla="*/ 181262 h 181261"/>
                  <a:gd name="connsiteX1" fmla="*/ 278948 w 296169"/>
                  <a:gd name="connsiteY1" fmla="*/ 179714 h 181261"/>
                  <a:gd name="connsiteX2" fmla="*/ 5721 w 296169"/>
                  <a:gd name="connsiteY2" fmla="*/ 21396 h 181261"/>
                  <a:gd name="connsiteX3" fmla="*/ 1548 w 296169"/>
                  <a:gd name="connsiteY3" fmla="*/ 5734 h 181261"/>
                  <a:gd name="connsiteX4" fmla="*/ 17221 w 296169"/>
                  <a:gd name="connsiteY4" fmla="*/ 1560 h 181261"/>
                  <a:gd name="connsiteX5" fmla="*/ 290448 w 296169"/>
                  <a:gd name="connsiteY5" fmla="*/ 159878 h 181261"/>
                  <a:gd name="connsiteX6" fmla="*/ 294622 w 296169"/>
                  <a:gd name="connsiteY6" fmla="*/ 175540 h 181261"/>
                  <a:gd name="connsiteX7" fmla="*/ 284681 w 296169"/>
                  <a:gd name="connsiteY7" fmla="*/ 181262 h 181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6169" h="181261">
                    <a:moveTo>
                      <a:pt x="284681" y="181262"/>
                    </a:moveTo>
                    <a:cubicBezTo>
                      <a:pt x="282732" y="181262"/>
                      <a:pt x="280760" y="180769"/>
                      <a:pt x="278948" y="179714"/>
                    </a:cubicBezTo>
                    <a:lnTo>
                      <a:pt x="5721" y="21396"/>
                    </a:lnTo>
                    <a:cubicBezTo>
                      <a:pt x="240" y="18220"/>
                      <a:pt x="-1628" y="11203"/>
                      <a:pt x="1548" y="5734"/>
                    </a:cubicBezTo>
                    <a:cubicBezTo>
                      <a:pt x="4723" y="242"/>
                      <a:pt x="11718" y="-1639"/>
                      <a:pt x="17221" y="1560"/>
                    </a:cubicBezTo>
                    <a:lnTo>
                      <a:pt x="290448" y="159878"/>
                    </a:lnTo>
                    <a:cubicBezTo>
                      <a:pt x="295929" y="163054"/>
                      <a:pt x="297797" y="170071"/>
                      <a:pt x="294622" y="175540"/>
                    </a:cubicBezTo>
                    <a:cubicBezTo>
                      <a:pt x="292478" y="179209"/>
                      <a:pt x="288636" y="181262"/>
                      <a:pt x="284681" y="181262"/>
                    </a:cubicBezTo>
                    <a:close/>
                  </a:path>
                </a:pathLst>
              </a:custGeom>
              <a:grpFill/>
              <a:ln w="1145" cap="flat">
                <a:noFill/>
                <a:prstDash val="solid"/>
                <a:miter/>
              </a:ln>
            </p:spPr>
            <p:txBody>
              <a:bodyPr rtlCol="0" anchor="ctr"/>
              <a:lstStyle/>
              <a:p>
                <a:endParaRPr lang="en-GB" dirty="0"/>
              </a:p>
            </p:txBody>
          </p:sp>
          <p:sp>
            <p:nvSpPr>
              <p:cNvPr id="174" name="Freeform: Shape 173">
                <a:extLst>
                  <a:ext uri="{FF2B5EF4-FFF2-40B4-BE49-F238E27FC236}">
                    <a16:creationId xmlns:a16="http://schemas.microsoft.com/office/drawing/2014/main" id="{A3115DEE-0157-4189-A9EF-C399BF836243}"/>
                  </a:ext>
                </a:extLst>
              </p:cNvPr>
              <p:cNvSpPr/>
              <p:nvPr/>
            </p:nvSpPr>
            <p:spPr>
              <a:xfrm>
                <a:off x="3857066" y="3516234"/>
                <a:ext cx="290946" cy="178440"/>
              </a:xfrm>
              <a:custGeom>
                <a:avLst/>
                <a:gdLst>
                  <a:gd name="connsiteX0" fmla="*/ 11480 w 290946"/>
                  <a:gd name="connsiteY0" fmla="*/ 178440 h 178440"/>
                  <a:gd name="connsiteX1" fmla="*/ 1551 w 290946"/>
                  <a:gd name="connsiteY1" fmla="*/ 172730 h 178440"/>
                  <a:gd name="connsiteX2" fmla="*/ 5712 w 290946"/>
                  <a:gd name="connsiteY2" fmla="*/ 157057 h 178440"/>
                  <a:gd name="connsiteX3" fmla="*/ 273723 w 290946"/>
                  <a:gd name="connsiteY3" fmla="*/ 1548 h 178440"/>
                  <a:gd name="connsiteX4" fmla="*/ 289396 w 290946"/>
                  <a:gd name="connsiteY4" fmla="*/ 5710 h 178440"/>
                  <a:gd name="connsiteX5" fmla="*/ 285234 w 290946"/>
                  <a:gd name="connsiteY5" fmla="*/ 21383 h 178440"/>
                  <a:gd name="connsiteX6" fmla="*/ 17224 w 290946"/>
                  <a:gd name="connsiteY6" fmla="*/ 176892 h 178440"/>
                  <a:gd name="connsiteX7" fmla="*/ 11480 w 290946"/>
                  <a:gd name="connsiteY7" fmla="*/ 178440 h 17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946" h="178440">
                    <a:moveTo>
                      <a:pt x="11480" y="178440"/>
                    </a:moveTo>
                    <a:cubicBezTo>
                      <a:pt x="7524" y="178440"/>
                      <a:pt x="3683" y="176388"/>
                      <a:pt x="1551" y="172730"/>
                    </a:cubicBezTo>
                    <a:cubicBezTo>
                      <a:pt x="-1625" y="167250"/>
                      <a:pt x="232" y="160233"/>
                      <a:pt x="5712" y="157057"/>
                    </a:cubicBezTo>
                    <a:lnTo>
                      <a:pt x="273723" y="1548"/>
                    </a:lnTo>
                    <a:cubicBezTo>
                      <a:pt x="279203" y="-1628"/>
                      <a:pt x="286209" y="241"/>
                      <a:pt x="289396" y="5710"/>
                    </a:cubicBezTo>
                    <a:cubicBezTo>
                      <a:pt x="292572" y="11191"/>
                      <a:pt x="290715" y="18207"/>
                      <a:pt x="285234" y="21383"/>
                    </a:cubicBezTo>
                    <a:lnTo>
                      <a:pt x="17224" y="176892"/>
                    </a:lnTo>
                    <a:cubicBezTo>
                      <a:pt x="15412" y="177947"/>
                      <a:pt x="13429" y="178440"/>
                      <a:pt x="11480" y="178440"/>
                    </a:cubicBezTo>
                    <a:close/>
                  </a:path>
                </a:pathLst>
              </a:custGeom>
              <a:grpFill/>
              <a:ln w="1145" cap="flat">
                <a:noFill/>
                <a:prstDash val="solid"/>
                <a:miter/>
              </a:ln>
            </p:spPr>
            <p:txBody>
              <a:bodyPr rtlCol="0" anchor="ctr"/>
              <a:lstStyle/>
              <a:p>
                <a:endParaRPr lang="en-GB" dirty="0"/>
              </a:p>
            </p:txBody>
          </p:sp>
          <p:sp>
            <p:nvSpPr>
              <p:cNvPr id="175" name="Freeform: Shape 174">
                <a:extLst>
                  <a:ext uri="{FF2B5EF4-FFF2-40B4-BE49-F238E27FC236}">
                    <a16:creationId xmlns:a16="http://schemas.microsoft.com/office/drawing/2014/main" id="{96EDF1E8-96A8-4920-9514-792516B49BF9}"/>
                  </a:ext>
                </a:extLst>
              </p:cNvPr>
              <p:cNvSpPr/>
              <p:nvPr/>
            </p:nvSpPr>
            <p:spPr>
              <a:xfrm>
                <a:off x="4168786" y="3122629"/>
                <a:ext cx="22931" cy="343970"/>
              </a:xfrm>
              <a:custGeom>
                <a:avLst/>
                <a:gdLst>
                  <a:gd name="connsiteX0" fmla="*/ 11466 w 22931"/>
                  <a:gd name="connsiteY0" fmla="*/ 343970 h 343970"/>
                  <a:gd name="connsiteX1" fmla="*/ 0 w 22931"/>
                  <a:gd name="connsiteY1" fmla="*/ 332504 h 343970"/>
                  <a:gd name="connsiteX2" fmla="*/ 0 w 22931"/>
                  <a:gd name="connsiteY2" fmla="*/ 11466 h 343970"/>
                  <a:gd name="connsiteX3" fmla="*/ 11466 w 22931"/>
                  <a:gd name="connsiteY3" fmla="*/ 0 h 343970"/>
                  <a:gd name="connsiteX4" fmla="*/ 22931 w 22931"/>
                  <a:gd name="connsiteY4" fmla="*/ 11466 h 343970"/>
                  <a:gd name="connsiteX5" fmla="*/ 22931 w 22931"/>
                  <a:gd name="connsiteY5" fmla="*/ 332504 h 343970"/>
                  <a:gd name="connsiteX6" fmla="*/ 11466 w 22931"/>
                  <a:gd name="connsiteY6" fmla="*/ 343970 h 343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343970">
                    <a:moveTo>
                      <a:pt x="11466" y="343970"/>
                    </a:moveTo>
                    <a:cubicBezTo>
                      <a:pt x="5137" y="343970"/>
                      <a:pt x="0" y="338845"/>
                      <a:pt x="0" y="332504"/>
                    </a:cubicBezTo>
                    <a:lnTo>
                      <a:pt x="0" y="11466"/>
                    </a:lnTo>
                    <a:cubicBezTo>
                      <a:pt x="0" y="5125"/>
                      <a:pt x="5137" y="0"/>
                      <a:pt x="11466" y="0"/>
                    </a:cubicBezTo>
                    <a:cubicBezTo>
                      <a:pt x="17795" y="0"/>
                      <a:pt x="22931" y="5125"/>
                      <a:pt x="22931" y="11466"/>
                    </a:cubicBezTo>
                    <a:lnTo>
                      <a:pt x="22931" y="332504"/>
                    </a:lnTo>
                    <a:cubicBezTo>
                      <a:pt x="22931" y="338834"/>
                      <a:pt x="17806" y="343970"/>
                      <a:pt x="11466" y="343970"/>
                    </a:cubicBezTo>
                    <a:close/>
                  </a:path>
                </a:pathLst>
              </a:custGeom>
              <a:grpFill/>
              <a:ln w="1145" cap="flat">
                <a:noFill/>
                <a:prstDash val="solid"/>
                <a:miter/>
              </a:ln>
            </p:spPr>
            <p:txBody>
              <a:bodyPr rtlCol="0" anchor="ctr"/>
              <a:lstStyle/>
              <a:p>
                <a:endParaRPr lang="en-GB" dirty="0"/>
              </a:p>
            </p:txBody>
          </p:sp>
          <p:sp>
            <p:nvSpPr>
              <p:cNvPr id="176" name="Freeform: Shape 175">
                <a:extLst>
                  <a:ext uri="{FF2B5EF4-FFF2-40B4-BE49-F238E27FC236}">
                    <a16:creationId xmlns:a16="http://schemas.microsoft.com/office/drawing/2014/main" id="{7E17440F-AFD1-4633-8F14-6227FC06D166}"/>
                  </a:ext>
                </a:extLst>
              </p:cNvPr>
              <p:cNvSpPr/>
              <p:nvPr/>
            </p:nvSpPr>
            <p:spPr>
              <a:xfrm>
                <a:off x="3856358" y="2896183"/>
                <a:ext cx="293898" cy="180549"/>
              </a:xfrm>
              <a:custGeom>
                <a:avLst/>
                <a:gdLst>
                  <a:gd name="connsiteX0" fmla="*/ 282422 w 293898"/>
                  <a:gd name="connsiteY0" fmla="*/ 180549 h 180549"/>
                  <a:gd name="connsiteX1" fmla="*/ 276666 w 293898"/>
                  <a:gd name="connsiteY1" fmla="*/ 178990 h 180549"/>
                  <a:gd name="connsiteX2" fmla="*/ 5698 w 293898"/>
                  <a:gd name="connsiteY2" fmla="*/ 21372 h 180549"/>
                  <a:gd name="connsiteX3" fmla="*/ 1559 w 293898"/>
                  <a:gd name="connsiteY3" fmla="*/ 5698 h 180549"/>
                  <a:gd name="connsiteX4" fmla="*/ 17233 w 293898"/>
                  <a:gd name="connsiteY4" fmla="*/ 1559 h 180549"/>
                  <a:gd name="connsiteX5" fmla="*/ 288201 w 293898"/>
                  <a:gd name="connsiteY5" fmla="*/ 159178 h 180549"/>
                  <a:gd name="connsiteX6" fmla="*/ 292340 w 293898"/>
                  <a:gd name="connsiteY6" fmla="*/ 174851 h 180549"/>
                  <a:gd name="connsiteX7" fmla="*/ 282422 w 293898"/>
                  <a:gd name="connsiteY7" fmla="*/ 180549 h 180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898" h="180549">
                    <a:moveTo>
                      <a:pt x="282422" y="180549"/>
                    </a:moveTo>
                    <a:cubicBezTo>
                      <a:pt x="280461" y="180549"/>
                      <a:pt x="278478" y="180045"/>
                      <a:pt x="276666" y="178990"/>
                    </a:cubicBezTo>
                    <a:lnTo>
                      <a:pt x="5698" y="21372"/>
                    </a:lnTo>
                    <a:cubicBezTo>
                      <a:pt x="229" y="18196"/>
                      <a:pt x="-1628" y="11167"/>
                      <a:pt x="1559" y="5698"/>
                    </a:cubicBezTo>
                    <a:cubicBezTo>
                      <a:pt x="4746" y="229"/>
                      <a:pt x="11752" y="-1628"/>
                      <a:pt x="17233" y="1559"/>
                    </a:cubicBezTo>
                    <a:lnTo>
                      <a:pt x="288201" y="159178"/>
                    </a:lnTo>
                    <a:cubicBezTo>
                      <a:pt x="293670" y="162354"/>
                      <a:pt x="295527" y="169382"/>
                      <a:pt x="292340" y="174851"/>
                    </a:cubicBezTo>
                    <a:cubicBezTo>
                      <a:pt x="290219" y="178509"/>
                      <a:pt x="286378" y="180549"/>
                      <a:pt x="282422" y="180549"/>
                    </a:cubicBezTo>
                    <a:close/>
                  </a:path>
                </a:pathLst>
              </a:custGeom>
              <a:grpFill/>
              <a:ln w="1145" cap="flat">
                <a:noFill/>
                <a:prstDash val="solid"/>
                <a:miter/>
              </a:ln>
            </p:spPr>
            <p:txBody>
              <a:bodyPr rtlCol="0" anchor="ctr"/>
              <a:lstStyle/>
              <a:p>
                <a:endParaRPr lang="en-GB" dirty="0"/>
              </a:p>
            </p:txBody>
          </p:sp>
          <p:sp>
            <p:nvSpPr>
              <p:cNvPr id="177" name="Freeform: Shape 176">
                <a:extLst>
                  <a:ext uri="{FF2B5EF4-FFF2-40B4-BE49-F238E27FC236}">
                    <a16:creationId xmlns:a16="http://schemas.microsoft.com/office/drawing/2014/main" id="{188A0FDD-6D44-4426-A46A-E02955C99045}"/>
                  </a:ext>
                </a:extLst>
              </p:cNvPr>
              <p:cNvSpPr/>
              <p:nvPr/>
            </p:nvSpPr>
            <p:spPr>
              <a:xfrm>
                <a:off x="3499325" y="2897129"/>
                <a:ext cx="293951" cy="179637"/>
              </a:xfrm>
              <a:custGeom>
                <a:avLst/>
                <a:gdLst>
                  <a:gd name="connsiteX0" fmla="*/ 11480 w 293951"/>
                  <a:gd name="connsiteY0" fmla="*/ 179637 h 179637"/>
                  <a:gd name="connsiteX1" fmla="*/ 1540 w 293951"/>
                  <a:gd name="connsiteY1" fmla="*/ 173916 h 179637"/>
                  <a:gd name="connsiteX2" fmla="*/ 5724 w 293951"/>
                  <a:gd name="connsiteY2" fmla="*/ 158254 h 179637"/>
                  <a:gd name="connsiteX3" fmla="*/ 276750 w 293951"/>
                  <a:gd name="connsiteY3" fmla="*/ 1553 h 179637"/>
                  <a:gd name="connsiteX4" fmla="*/ 292412 w 293951"/>
                  <a:gd name="connsiteY4" fmla="*/ 5726 h 179637"/>
                  <a:gd name="connsiteX5" fmla="*/ 288227 w 293951"/>
                  <a:gd name="connsiteY5" fmla="*/ 21388 h 179637"/>
                  <a:gd name="connsiteX6" fmla="*/ 17202 w 293951"/>
                  <a:gd name="connsiteY6" fmla="*/ 178090 h 179637"/>
                  <a:gd name="connsiteX7" fmla="*/ 11480 w 293951"/>
                  <a:gd name="connsiteY7" fmla="*/ 179637 h 179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3951" h="179637">
                    <a:moveTo>
                      <a:pt x="11480" y="179637"/>
                    </a:moveTo>
                    <a:cubicBezTo>
                      <a:pt x="7525" y="179637"/>
                      <a:pt x="3672" y="177585"/>
                      <a:pt x="1540" y="173916"/>
                    </a:cubicBezTo>
                    <a:cubicBezTo>
                      <a:pt x="-1625" y="168424"/>
                      <a:pt x="244" y="161419"/>
                      <a:pt x="5724" y="158254"/>
                    </a:cubicBezTo>
                    <a:lnTo>
                      <a:pt x="276750" y="1553"/>
                    </a:lnTo>
                    <a:cubicBezTo>
                      <a:pt x="282231" y="-1635"/>
                      <a:pt x="289236" y="246"/>
                      <a:pt x="292412" y="5726"/>
                    </a:cubicBezTo>
                    <a:cubicBezTo>
                      <a:pt x="295577" y="11218"/>
                      <a:pt x="293708" y="18224"/>
                      <a:pt x="288227" y="21388"/>
                    </a:cubicBezTo>
                    <a:lnTo>
                      <a:pt x="17202" y="178090"/>
                    </a:lnTo>
                    <a:cubicBezTo>
                      <a:pt x="15402" y="179144"/>
                      <a:pt x="13429" y="179637"/>
                      <a:pt x="11480" y="179637"/>
                    </a:cubicBezTo>
                    <a:close/>
                  </a:path>
                </a:pathLst>
              </a:custGeom>
              <a:grpFill/>
              <a:ln w="1145" cap="flat">
                <a:noFill/>
                <a:prstDash val="solid"/>
                <a:miter/>
              </a:ln>
            </p:spPr>
            <p:txBody>
              <a:bodyPr rtlCol="0" anchor="ctr"/>
              <a:lstStyle/>
              <a:p>
                <a:endParaRPr lang="en-GB" dirty="0"/>
              </a:p>
            </p:txBody>
          </p:sp>
          <p:sp>
            <p:nvSpPr>
              <p:cNvPr id="178" name="Freeform: Shape 177">
                <a:extLst>
                  <a:ext uri="{FF2B5EF4-FFF2-40B4-BE49-F238E27FC236}">
                    <a16:creationId xmlns:a16="http://schemas.microsoft.com/office/drawing/2014/main" id="{0D4974F2-8A7C-40EF-B58C-15A0D3F199D3}"/>
                  </a:ext>
                </a:extLst>
              </p:cNvPr>
              <p:cNvSpPr/>
              <p:nvPr/>
            </p:nvSpPr>
            <p:spPr>
              <a:xfrm>
                <a:off x="3457914" y="3122629"/>
                <a:ext cx="22931" cy="343970"/>
              </a:xfrm>
              <a:custGeom>
                <a:avLst/>
                <a:gdLst>
                  <a:gd name="connsiteX0" fmla="*/ 11466 w 22931"/>
                  <a:gd name="connsiteY0" fmla="*/ 343970 h 343970"/>
                  <a:gd name="connsiteX1" fmla="*/ 0 w 22931"/>
                  <a:gd name="connsiteY1" fmla="*/ 332504 h 343970"/>
                  <a:gd name="connsiteX2" fmla="*/ 0 w 22931"/>
                  <a:gd name="connsiteY2" fmla="*/ 11466 h 343970"/>
                  <a:gd name="connsiteX3" fmla="*/ 11466 w 22931"/>
                  <a:gd name="connsiteY3" fmla="*/ 0 h 343970"/>
                  <a:gd name="connsiteX4" fmla="*/ 22931 w 22931"/>
                  <a:gd name="connsiteY4" fmla="*/ 11466 h 343970"/>
                  <a:gd name="connsiteX5" fmla="*/ 22931 w 22931"/>
                  <a:gd name="connsiteY5" fmla="*/ 332504 h 343970"/>
                  <a:gd name="connsiteX6" fmla="*/ 11466 w 22931"/>
                  <a:gd name="connsiteY6" fmla="*/ 343970 h 343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343970">
                    <a:moveTo>
                      <a:pt x="11466" y="343970"/>
                    </a:moveTo>
                    <a:cubicBezTo>
                      <a:pt x="5137" y="343970"/>
                      <a:pt x="0" y="338845"/>
                      <a:pt x="0" y="332504"/>
                    </a:cubicBezTo>
                    <a:lnTo>
                      <a:pt x="0" y="11466"/>
                    </a:lnTo>
                    <a:cubicBezTo>
                      <a:pt x="0" y="5125"/>
                      <a:pt x="5137" y="0"/>
                      <a:pt x="11466" y="0"/>
                    </a:cubicBezTo>
                    <a:cubicBezTo>
                      <a:pt x="17795" y="0"/>
                      <a:pt x="22931" y="5125"/>
                      <a:pt x="22931" y="11466"/>
                    </a:cubicBezTo>
                    <a:lnTo>
                      <a:pt x="22931" y="332504"/>
                    </a:lnTo>
                    <a:cubicBezTo>
                      <a:pt x="22931" y="338834"/>
                      <a:pt x="17806" y="343970"/>
                      <a:pt x="11466" y="343970"/>
                    </a:cubicBezTo>
                    <a:close/>
                  </a:path>
                </a:pathLst>
              </a:custGeom>
              <a:grpFill/>
              <a:ln w="1145" cap="flat">
                <a:noFill/>
                <a:prstDash val="solid"/>
                <a:miter/>
              </a:ln>
            </p:spPr>
            <p:txBody>
              <a:bodyPr rtlCol="0" anchor="ctr"/>
              <a:lstStyle/>
              <a:p>
                <a:endParaRPr lang="en-GB" dirty="0"/>
              </a:p>
            </p:txBody>
          </p:sp>
          <p:sp>
            <p:nvSpPr>
              <p:cNvPr id="179" name="Freeform: Shape 178">
                <a:extLst>
                  <a:ext uri="{FF2B5EF4-FFF2-40B4-BE49-F238E27FC236}">
                    <a16:creationId xmlns:a16="http://schemas.microsoft.com/office/drawing/2014/main" id="{0CB6286E-711B-4CFC-A308-6F3FBBB89C3E}"/>
                  </a:ext>
                </a:extLst>
              </p:cNvPr>
              <p:cNvSpPr/>
              <p:nvPr/>
            </p:nvSpPr>
            <p:spPr>
              <a:xfrm>
                <a:off x="3813350" y="2924835"/>
                <a:ext cx="22931" cy="106068"/>
              </a:xfrm>
              <a:custGeom>
                <a:avLst/>
                <a:gdLst>
                  <a:gd name="connsiteX0" fmla="*/ 11466 w 22931"/>
                  <a:gd name="connsiteY0" fmla="*/ 106069 h 106068"/>
                  <a:gd name="connsiteX1" fmla="*/ 0 w 22931"/>
                  <a:gd name="connsiteY1" fmla="*/ 94603 h 106068"/>
                  <a:gd name="connsiteX2" fmla="*/ 0 w 22931"/>
                  <a:gd name="connsiteY2" fmla="*/ 11466 h 106068"/>
                  <a:gd name="connsiteX3" fmla="*/ 11466 w 22931"/>
                  <a:gd name="connsiteY3" fmla="*/ 0 h 106068"/>
                  <a:gd name="connsiteX4" fmla="*/ 22931 w 22931"/>
                  <a:gd name="connsiteY4" fmla="*/ 11466 h 106068"/>
                  <a:gd name="connsiteX5" fmla="*/ 22931 w 22931"/>
                  <a:gd name="connsiteY5" fmla="*/ 94603 h 106068"/>
                  <a:gd name="connsiteX6" fmla="*/ 11466 w 22931"/>
                  <a:gd name="connsiteY6" fmla="*/ 106069 h 106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106068">
                    <a:moveTo>
                      <a:pt x="11466" y="106069"/>
                    </a:moveTo>
                    <a:cubicBezTo>
                      <a:pt x="5137" y="106069"/>
                      <a:pt x="0" y="100944"/>
                      <a:pt x="0" y="94603"/>
                    </a:cubicBezTo>
                    <a:lnTo>
                      <a:pt x="0" y="11466"/>
                    </a:lnTo>
                    <a:cubicBezTo>
                      <a:pt x="0" y="5125"/>
                      <a:pt x="5137" y="0"/>
                      <a:pt x="11466" y="0"/>
                    </a:cubicBezTo>
                    <a:cubicBezTo>
                      <a:pt x="17795" y="0"/>
                      <a:pt x="22931" y="5125"/>
                      <a:pt x="22931" y="11466"/>
                    </a:cubicBezTo>
                    <a:lnTo>
                      <a:pt x="22931" y="94603"/>
                    </a:lnTo>
                    <a:cubicBezTo>
                      <a:pt x="22931" y="100932"/>
                      <a:pt x="17806" y="106069"/>
                      <a:pt x="11466" y="106069"/>
                    </a:cubicBezTo>
                    <a:close/>
                  </a:path>
                </a:pathLst>
              </a:custGeom>
              <a:grpFill/>
              <a:ln w="1145" cap="flat">
                <a:noFill/>
                <a:prstDash val="solid"/>
                <a:miter/>
              </a:ln>
            </p:spPr>
            <p:txBody>
              <a:bodyPr rtlCol="0" anchor="ctr"/>
              <a:lstStyle/>
              <a:p>
                <a:endParaRPr lang="en-GB" dirty="0"/>
              </a:p>
            </p:txBody>
          </p:sp>
          <p:sp>
            <p:nvSpPr>
              <p:cNvPr id="180" name="Freeform: Shape 179">
                <a:extLst>
                  <a:ext uri="{FF2B5EF4-FFF2-40B4-BE49-F238E27FC236}">
                    <a16:creationId xmlns:a16="http://schemas.microsoft.com/office/drawing/2014/main" id="{FED9A245-566E-4D5B-BB60-4088B18AB736}"/>
                  </a:ext>
                </a:extLst>
              </p:cNvPr>
              <p:cNvSpPr/>
              <p:nvPr/>
            </p:nvSpPr>
            <p:spPr>
              <a:xfrm>
                <a:off x="3813350" y="3569790"/>
                <a:ext cx="22931" cy="103191"/>
              </a:xfrm>
              <a:custGeom>
                <a:avLst/>
                <a:gdLst>
                  <a:gd name="connsiteX0" fmla="*/ 11466 w 22931"/>
                  <a:gd name="connsiteY0" fmla="*/ 103191 h 103191"/>
                  <a:gd name="connsiteX1" fmla="*/ 0 w 22931"/>
                  <a:gd name="connsiteY1" fmla="*/ 91725 h 103191"/>
                  <a:gd name="connsiteX2" fmla="*/ 0 w 22931"/>
                  <a:gd name="connsiteY2" fmla="*/ 11466 h 103191"/>
                  <a:gd name="connsiteX3" fmla="*/ 11466 w 22931"/>
                  <a:gd name="connsiteY3" fmla="*/ 0 h 103191"/>
                  <a:gd name="connsiteX4" fmla="*/ 22931 w 22931"/>
                  <a:gd name="connsiteY4" fmla="*/ 11466 h 103191"/>
                  <a:gd name="connsiteX5" fmla="*/ 22931 w 22931"/>
                  <a:gd name="connsiteY5" fmla="*/ 91725 h 103191"/>
                  <a:gd name="connsiteX6" fmla="*/ 11466 w 22931"/>
                  <a:gd name="connsiteY6" fmla="*/ 103191 h 10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103191">
                    <a:moveTo>
                      <a:pt x="11466" y="103191"/>
                    </a:moveTo>
                    <a:cubicBezTo>
                      <a:pt x="5137" y="103191"/>
                      <a:pt x="0" y="98066"/>
                      <a:pt x="0" y="91725"/>
                    </a:cubicBezTo>
                    <a:lnTo>
                      <a:pt x="0" y="11466"/>
                    </a:lnTo>
                    <a:cubicBezTo>
                      <a:pt x="0" y="5125"/>
                      <a:pt x="5137" y="0"/>
                      <a:pt x="11466" y="0"/>
                    </a:cubicBezTo>
                    <a:cubicBezTo>
                      <a:pt x="17795" y="0"/>
                      <a:pt x="22931" y="5125"/>
                      <a:pt x="22931" y="11466"/>
                    </a:cubicBezTo>
                    <a:lnTo>
                      <a:pt x="22931" y="91725"/>
                    </a:lnTo>
                    <a:cubicBezTo>
                      <a:pt x="22931" y="98054"/>
                      <a:pt x="17806" y="103191"/>
                      <a:pt x="11466" y="103191"/>
                    </a:cubicBezTo>
                    <a:close/>
                  </a:path>
                </a:pathLst>
              </a:custGeom>
              <a:grpFill/>
              <a:ln w="1145" cap="flat">
                <a:noFill/>
                <a:prstDash val="solid"/>
                <a:miter/>
              </a:ln>
            </p:spPr>
            <p:txBody>
              <a:bodyPr rtlCol="0" anchor="ctr"/>
              <a:lstStyle/>
              <a:p>
                <a:endParaRPr lang="en-GB" dirty="0"/>
              </a:p>
            </p:txBody>
          </p:sp>
          <p:sp>
            <p:nvSpPr>
              <p:cNvPr id="181" name="Freeform: Shape 180">
                <a:extLst>
                  <a:ext uri="{FF2B5EF4-FFF2-40B4-BE49-F238E27FC236}">
                    <a16:creationId xmlns:a16="http://schemas.microsoft.com/office/drawing/2014/main" id="{9C1E7CE7-754C-4028-A264-F001733F9A79}"/>
                  </a:ext>
                </a:extLst>
              </p:cNvPr>
              <p:cNvSpPr/>
              <p:nvPr/>
            </p:nvSpPr>
            <p:spPr>
              <a:xfrm>
                <a:off x="3495690" y="3425942"/>
                <a:ext cx="83327" cy="58050"/>
              </a:xfrm>
              <a:custGeom>
                <a:avLst/>
                <a:gdLst>
                  <a:gd name="connsiteX0" fmla="*/ 11480 w 83327"/>
                  <a:gd name="connsiteY0" fmla="*/ 58050 h 58050"/>
                  <a:gd name="connsiteX1" fmla="*/ 1551 w 83327"/>
                  <a:gd name="connsiteY1" fmla="*/ 52352 h 58050"/>
                  <a:gd name="connsiteX2" fmla="*/ 5701 w 83327"/>
                  <a:gd name="connsiteY2" fmla="*/ 36678 h 58050"/>
                  <a:gd name="connsiteX3" fmla="*/ 66103 w 83327"/>
                  <a:gd name="connsiteY3" fmla="*/ 1559 h 58050"/>
                  <a:gd name="connsiteX4" fmla="*/ 81776 w 83327"/>
                  <a:gd name="connsiteY4" fmla="*/ 5698 h 58050"/>
                  <a:gd name="connsiteX5" fmla="*/ 77626 w 83327"/>
                  <a:gd name="connsiteY5" fmla="*/ 21371 h 58050"/>
                  <a:gd name="connsiteX6" fmla="*/ 17225 w 83327"/>
                  <a:gd name="connsiteY6" fmla="*/ 56491 h 58050"/>
                  <a:gd name="connsiteX7" fmla="*/ 11480 w 83327"/>
                  <a:gd name="connsiteY7" fmla="*/ 58050 h 58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327" h="58050">
                    <a:moveTo>
                      <a:pt x="11480" y="58050"/>
                    </a:moveTo>
                    <a:cubicBezTo>
                      <a:pt x="7525" y="58050"/>
                      <a:pt x="3684" y="56009"/>
                      <a:pt x="1551" y="52352"/>
                    </a:cubicBezTo>
                    <a:cubicBezTo>
                      <a:pt x="-1625" y="46871"/>
                      <a:pt x="232" y="39854"/>
                      <a:pt x="5701" y="36678"/>
                    </a:cubicBezTo>
                    <a:lnTo>
                      <a:pt x="66103" y="1559"/>
                    </a:lnTo>
                    <a:cubicBezTo>
                      <a:pt x="71560" y="-1628"/>
                      <a:pt x="78589" y="229"/>
                      <a:pt x="81776" y="5698"/>
                    </a:cubicBezTo>
                    <a:cubicBezTo>
                      <a:pt x="84952" y="11179"/>
                      <a:pt x="83095" y="18196"/>
                      <a:pt x="77626" y="21371"/>
                    </a:cubicBezTo>
                    <a:lnTo>
                      <a:pt x="17225" y="56491"/>
                    </a:lnTo>
                    <a:cubicBezTo>
                      <a:pt x="15424" y="57546"/>
                      <a:pt x="13441" y="58050"/>
                      <a:pt x="11480" y="58050"/>
                    </a:cubicBezTo>
                    <a:close/>
                  </a:path>
                </a:pathLst>
              </a:custGeom>
              <a:grpFill/>
              <a:ln w="1145" cap="flat">
                <a:noFill/>
                <a:prstDash val="solid"/>
                <a:miter/>
              </a:ln>
            </p:spPr>
            <p:txBody>
              <a:bodyPr rtlCol="0" anchor="ctr"/>
              <a:lstStyle/>
              <a:p>
                <a:endParaRPr lang="en-GB" dirty="0"/>
              </a:p>
            </p:txBody>
          </p:sp>
          <p:sp>
            <p:nvSpPr>
              <p:cNvPr id="182" name="Freeform: Shape 181">
                <a:extLst>
                  <a:ext uri="{FF2B5EF4-FFF2-40B4-BE49-F238E27FC236}">
                    <a16:creationId xmlns:a16="http://schemas.microsoft.com/office/drawing/2014/main" id="{AA5EFFC7-2EAB-4404-BAB1-FB7FF7D74B46}"/>
                  </a:ext>
                </a:extLst>
              </p:cNvPr>
              <p:cNvSpPr/>
              <p:nvPr/>
            </p:nvSpPr>
            <p:spPr>
              <a:xfrm>
                <a:off x="4063451" y="3101401"/>
                <a:ext cx="86164" cy="59408"/>
              </a:xfrm>
              <a:custGeom>
                <a:avLst/>
                <a:gdLst>
                  <a:gd name="connsiteX0" fmla="*/ 11477 w 86164"/>
                  <a:gd name="connsiteY0" fmla="*/ 59409 h 59408"/>
                  <a:gd name="connsiteX1" fmla="*/ 1536 w 86164"/>
                  <a:gd name="connsiteY1" fmla="*/ 53676 h 59408"/>
                  <a:gd name="connsiteX2" fmla="*/ 5744 w 86164"/>
                  <a:gd name="connsiteY2" fmla="*/ 38014 h 59408"/>
                  <a:gd name="connsiteX3" fmla="*/ 68966 w 86164"/>
                  <a:gd name="connsiteY3" fmla="*/ 1542 h 59408"/>
                  <a:gd name="connsiteX4" fmla="*/ 84628 w 86164"/>
                  <a:gd name="connsiteY4" fmla="*/ 5738 h 59408"/>
                  <a:gd name="connsiteX5" fmla="*/ 80420 w 86164"/>
                  <a:gd name="connsiteY5" fmla="*/ 21400 h 59408"/>
                  <a:gd name="connsiteX6" fmla="*/ 17198 w 86164"/>
                  <a:gd name="connsiteY6" fmla="*/ 57872 h 59408"/>
                  <a:gd name="connsiteX7" fmla="*/ 11477 w 86164"/>
                  <a:gd name="connsiteY7" fmla="*/ 59409 h 59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164" h="59408">
                    <a:moveTo>
                      <a:pt x="11477" y="59409"/>
                    </a:moveTo>
                    <a:cubicBezTo>
                      <a:pt x="7510" y="59409"/>
                      <a:pt x="3657" y="57345"/>
                      <a:pt x="1536" y="53676"/>
                    </a:cubicBezTo>
                    <a:cubicBezTo>
                      <a:pt x="-1628" y="48184"/>
                      <a:pt x="252" y="41179"/>
                      <a:pt x="5744" y="38014"/>
                    </a:cubicBezTo>
                    <a:lnTo>
                      <a:pt x="68966" y="1542"/>
                    </a:lnTo>
                    <a:cubicBezTo>
                      <a:pt x="74446" y="-1634"/>
                      <a:pt x="81463" y="257"/>
                      <a:pt x="84628" y="5738"/>
                    </a:cubicBezTo>
                    <a:cubicBezTo>
                      <a:pt x="87792" y="11219"/>
                      <a:pt x="85912" y="18236"/>
                      <a:pt x="80420" y="21400"/>
                    </a:cubicBezTo>
                    <a:lnTo>
                      <a:pt x="17198" y="57872"/>
                    </a:lnTo>
                    <a:cubicBezTo>
                      <a:pt x="15387" y="58916"/>
                      <a:pt x="13415" y="59409"/>
                      <a:pt x="11477" y="59409"/>
                    </a:cubicBezTo>
                    <a:close/>
                  </a:path>
                </a:pathLst>
              </a:custGeom>
              <a:grpFill/>
              <a:ln w="1145" cap="flat">
                <a:noFill/>
                <a:prstDash val="solid"/>
                <a:miter/>
              </a:ln>
            </p:spPr>
            <p:txBody>
              <a:bodyPr rtlCol="0" anchor="ctr"/>
              <a:lstStyle/>
              <a:p>
                <a:endParaRPr lang="en-GB" dirty="0"/>
              </a:p>
            </p:txBody>
          </p:sp>
          <p:sp>
            <p:nvSpPr>
              <p:cNvPr id="183" name="Freeform: Shape 182">
                <a:extLst>
                  <a:ext uri="{FF2B5EF4-FFF2-40B4-BE49-F238E27FC236}">
                    <a16:creationId xmlns:a16="http://schemas.microsoft.com/office/drawing/2014/main" id="{D198F910-E0CC-4BA3-9A6A-73642F62B8C1}"/>
                  </a:ext>
                </a:extLst>
              </p:cNvPr>
              <p:cNvSpPr/>
              <p:nvPr/>
            </p:nvSpPr>
            <p:spPr>
              <a:xfrm>
                <a:off x="3499965" y="3104467"/>
                <a:ext cx="85520" cy="59919"/>
              </a:xfrm>
              <a:custGeom>
                <a:avLst/>
                <a:gdLst>
                  <a:gd name="connsiteX0" fmla="*/ 74039 w 85520"/>
                  <a:gd name="connsiteY0" fmla="*/ 59920 h 59919"/>
                  <a:gd name="connsiteX1" fmla="*/ 68214 w 85520"/>
                  <a:gd name="connsiteY1" fmla="*/ 58326 h 59919"/>
                  <a:gd name="connsiteX2" fmla="*/ 5634 w 85520"/>
                  <a:gd name="connsiteY2" fmla="*/ 21338 h 59919"/>
                  <a:gd name="connsiteX3" fmla="*/ 1599 w 85520"/>
                  <a:gd name="connsiteY3" fmla="*/ 5630 h 59919"/>
                  <a:gd name="connsiteX4" fmla="*/ 17306 w 85520"/>
                  <a:gd name="connsiteY4" fmla="*/ 1583 h 59919"/>
                  <a:gd name="connsiteX5" fmla="*/ 79886 w 85520"/>
                  <a:gd name="connsiteY5" fmla="*/ 38571 h 59919"/>
                  <a:gd name="connsiteX6" fmla="*/ 83922 w 85520"/>
                  <a:gd name="connsiteY6" fmla="*/ 54279 h 59919"/>
                  <a:gd name="connsiteX7" fmla="*/ 74039 w 85520"/>
                  <a:gd name="connsiteY7" fmla="*/ 59920 h 59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520" h="59919">
                    <a:moveTo>
                      <a:pt x="74039" y="59920"/>
                    </a:moveTo>
                    <a:cubicBezTo>
                      <a:pt x="72055" y="59920"/>
                      <a:pt x="70049" y="59404"/>
                      <a:pt x="68214" y="58326"/>
                    </a:cubicBezTo>
                    <a:lnTo>
                      <a:pt x="5634" y="21338"/>
                    </a:lnTo>
                    <a:cubicBezTo>
                      <a:pt x="177" y="18116"/>
                      <a:pt x="-1623" y="11076"/>
                      <a:pt x="1599" y="5630"/>
                    </a:cubicBezTo>
                    <a:cubicBezTo>
                      <a:pt x="4820" y="184"/>
                      <a:pt x="11849" y="-1616"/>
                      <a:pt x="17306" y="1583"/>
                    </a:cubicBezTo>
                    <a:lnTo>
                      <a:pt x="79886" y="38571"/>
                    </a:lnTo>
                    <a:cubicBezTo>
                      <a:pt x="85344" y="41793"/>
                      <a:pt x="87144" y="48833"/>
                      <a:pt x="83922" y="54279"/>
                    </a:cubicBezTo>
                    <a:cubicBezTo>
                      <a:pt x="81778" y="57913"/>
                      <a:pt x="77960" y="59920"/>
                      <a:pt x="74039" y="59920"/>
                    </a:cubicBezTo>
                    <a:close/>
                  </a:path>
                </a:pathLst>
              </a:custGeom>
              <a:grpFill/>
              <a:ln w="1145" cap="flat">
                <a:noFill/>
                <a:prstDash val="solid"/>
                <a:miter/>
              </a:ln>
            </p:spPr>
            <p:txBody>
              <a:bodyPr rtlCol="0" anchor="ctr"/>
              <a:lstStyle/>
              <a:p>
                <a:endParaRPr lang="en-GB" dirty="0"/>
              </a:p>
            </p:txBody>
          </p:sp>
          <p:sp>
            <p:nvSpPr>
              <p:cNvPr id="184" name="Freeform: Shape 183">
                <a:extLst>
                  <a:ext uri="{FF2B5EF4-FFF2-40B4-BE49-F238E27FC236}">
                    <a16:creationId xmlns:a16="http://schemas.microsoft.com/office/drawing/2014/main" id="{6135F60A-8833-4DFC-B163-018F672660BB}"/>
                  </a:ext>
                </a:extLst>
              </p:cNvPr>
              <p:cNvSpPr/>
              <p:nvPr/>
            </p:nvSpPr>
            <p:spPr>
              <a:xfrm>
                <a:off x="4067020" y="3438122"/>
                <a:ext cx="78119" cy="56063"/>
              </a:xfrm>
              <a:custGeom>
                <a:avLst/>
                <a:gdLst>
                  <a:gd name="connsiteX0" fmla="*/ 66646 w 78119"/>
                  <a:gd name="connsiteY0" fmla="*/ 56064 h 56063"/>
                  <a:gd name="connsiteX1" fmla="*/ 60753 w 78119"/>
                  <a:gd name="connsiteY1" fmla="*/ 54424 h 56063"/>
                  <a:gd name="connsiteX2" fmla="*/ 5569 w 78119"/>
                  <a:gd name="connsiteY2" fmla="*/ 21300 h 56063"/>
                  <a:gd name="connsiteX3" fmla="*/ 1636 w 78119"/>
                  <a:gd name="connsiteY3" fmla="*/ 5569 h 56063"/>
                  <a:gd name="connsiteX4" fmla="*/ 17367 w 78119"/>
                  <a:gd name="connsiteY4" fmla="*/ 1636 h 56063"/>
                  <a:gd name="connsiteX5" fmla="*/ 72551 w 78119"/>
                  <a:gd name="connsiteY5" fmla="*/ 34760 h 56063"/>
                  <a:gd name="connsiteX6" fmla="*/ 76484 w 78119"/>
                  <a:gd name="connsiteY6" fmla="*/ 50491 h 56063"/>
                  <a:gd name="connsiteX7" fmla="*/ 66646 w 78119"/>
                  <a:gd name="connsiteY7" fmla="*/ 56064 h 5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119" h="56063">
                    <a:moveTo>
                      <a:pt x="66646" y="56064"/>
                    </a:moveTo>
                    <a:cubicBezTo>
                      <a:pt x="64640" y="56064"/>
                      <a:pt x="62599" y="55536"/>
                      <a:pt x="60753" y="54424"/>
                    </a:cubicBezTo>
                    <a:lnTo>
                      <a:pt x="5569" y="21300"/>
                    </a:lnTo>
                    <a:cubicBezTo>
                      <a:pt x="134" y="18044"/>
                      <a:pt x="-1620" y="11003"/>
                      <a:pt x="1636" y="5569"/>
                    </a:cubicBezTo>
                    <a:cubicBezTo>
                      <a:pt x="4892" y="134"/>
                      <a:pt x="11932" y="-1620"/>
                      <a:pt x="17367" y="1636"/>
                    </a:cubicBezTo>
                    <a:lnTo>
                      <a:pt x="72551" y="34760"/>
                    </a:lnTo>
                    <a:cubicBezTo>
                      <a:pt x="77986" y="38017"/>
                      <a:pt x="79740" y="45056"/>
                      <a:pt x="76484" y="50491"/>
                    </a:cubicBezTo>
                    <a:cubicBezTo>
                      <a:pt x="74340" y="54080"/>
                      <a:pt x="70545" y="56064"/>
                      <a:pt x="66646" y="56064"/>
                    </a:cubicBezTo>
                    <a:close/>
                  </a:path>
                </a:pathLst>
              </a:custGeom>
              <a:grpFill/>
              <a:ln w="1145" cap="flat">
                <a:noFill/>
                <a:prstDash val="solid"/>
                <a:miter/>
              </a:ln>
            </p:spPr>
            <p:txBody>
              <a:bodyPr rtlCol="0" anchor="ctr"/>
              <a:lstStyle/>
              <a:p>
                <a:endParaRPr lang="en-GB" dirty="0"/>
              </a:p>
            </p:txBody>
          </p:sp>
          <p:sp>
            <p:nvSpPr>
              <p:cNvPr id="185" name="Freeform: Shape 184">
                <a:extLst>
                  <a:ext uri="{FF2B5EF4-FFF2-40B4-BE49-F238E27FC236}">
                    <a16:creationId xmlns:a16="http://schemas.microsoft.com/office/drawing/2014/main" id="{F36BE2AB-B7DD-4B81-A293-67891120182F}"/>
                  </a:ext>
                </a:extLst>
              </p:cNvPr>
              <p:cNvSpPr/>
              <p:nvPr/>
            </p:nvSpPr>
            <p:spPr>
              <a:xfrm>
                <a:off x="3767487" y="3650050"/>
                <a:ext cx="114656" cy="114656"/>
              </a:xfrm>
              <a:custGeom>
                <a:avLst/>
                <a:gdLst>
                  <a:gd name="connsiteX0" fmla="*/ 57328 w 114656"/>
                  <a:gd name="connsiteY0" fmla="*/ 114657 h 114656"/>
                  <a:gd name="connsiteX1" fmla="*/ 0 w 114656"/>
                  <a:gd name="connsiteY1" fmla="*/ 57328 h 114656"/>
                  <a:gd name="connsiteX2" fmla="*/ 57328 w 114656"/>
                  <a:gd name="connsiteY2" fmla="*/ 0 h 114656"/>
                  <a:gd name="connsiteX3" fmla="*/ 114657 w 114656"/>
                  <a:gd name="connsiteY3" fmla="*/ 57328 h 114656"/>
                  <a:gd name="connsiteX4" fmla="*/ 57328 w 114656"/>
                  <a:gd name="connsiteY4" fmla="*/ 114657 h 114656"/>
                  <a:gd name="connsiteX5" fmla="*/ 57328 w 114656"/>
                  <a:gd name="connsiteY5" fmla="*/ 22931 h 114656"/>
                  <a:gd name="connsiteX6" fmla="*/ 22931 w 114656"/>
                  <a:gd name="connsiteY6" fmla="*/ 57328 h 114656"/>
                  <a:gd name="connsiteX7" fmla="*/ 57328 w 114656"/>
                  <a:gd name="connsiteY7" fmla="*/ 91725 h 114656"/>
                  <a:gd name="connsiteX8" fmla="*/ 91725 w 114656"/>
                  <a:gd name="connsiteY8" fmla="*/ 57328 h 114656"/>
                  <a:gd name="connsiteX9" fmla="*/ 57328 w 114656"/>
                  <a:gd name="connsiteY9" fmla="*/ 22931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656" h="114656">
                    <a:moveTo>
                      <a:pt x="57328" y="114657"/>
                    </a:moveTo>
                    <a:cubicBezTo>
                      <a:pt x="25718" y="114657"/>
                      <a:pt x="0" y="88939"/>
                      <a:pt x="0" y="57328"/>
                    </a:cubicBezTo>
                    <a:cubicBezTo>
                      <a:pt x="0" y="25717"/>
                      <a:pt x="25718" y="0"/>
                      <a:pt x="57328" y="0"/>
                    </a:cubicBezTo>
                    <a:cubicBezTo>
                      <a:pt x="88939" y="0"/>
                      <a:pt x="114657" y="25717"/>
                      <a:pt x="114657" y="57328"/>
                    </a:cubicBezTo>
                    <a:cubicBezTo>
                      <a:pt x="114657" y="88939"/>
                      <a:pt x="88939" y="114657"/>
                      <a:pt x="57328" y="114657"/>
                    </a:cubicBezTo>
                    <a:close/>
                    <a:moveTo>
                      <a:pt x="57328" y="22931"/>
                    </a:moveTo>
                    <a:cubicBezTo>
                      <a:pt x="38364" y="22931"/>
                      <a:pt x="22931" y="38364"/>
                      <a:pt x="22931" y="57328"/>
                    </a:cubicBezTo>
                    <a:cubicBezTo>
                      <a:pt x="22931" y="76293"/>
                      <a:pt x="38364" y="91725"/>
                      <a:pt x="57328" y="91725"/>
                    </a:cubicBezTo>
                    <a:cubicBezTo>
                      <a:pt x="76293" y="91725"/>
                      <a:pt x="91725" y="76293"/>
                      <a:pt x="91725" y="57328"/>
                    </a:cubicBezTo>
                    <a:cubicBezTo>
                      <a:pt x="91725" y="38364"/>
                      <a:pt x="76304" y="22931"/>
                      <a:pt x="57328" y="22931"/>
                    </a:cubicBezTo>
                    <a:close/>
                  </a:path>
                </a:pathLst>
              </a:custGeom>
              <a:grpFill/>
              <a:ln w="1145" cap="flat">
                <a:noFill/>
                <a:prstDash val="solid"/>
                <a:miter/>
              </a:ln>
            </p:spPr>
            <p:txBody>
              <a:bodyPr rtlCol="0" anchor="ctr"/>
              <a:lstStyle/>
              <a:p>
                <a:endParaRPr lang="en-GB" dirty="0"/>
              </a:p>
            </p:txBody>
          </p:sp>
          <p:sp>
            <p:nvSpPr>
              <p:cNvPr id="186" name="Freeform: Shape 185">
                <a:extLst>
                  <a:ext uri="{FF2B5EF4-FFF2-40B4-BE49-F238E27FC236}">
                    <a16:creationId xmlns:a16="http://schemas.microsoft.com/office/drawing/2014/main" id="{0C86676E-0E6C-4864-B39F-5C2A89610C30}"/>
                  </a:ext>
                </a:extLst>
              </p:cNvPr>
              <p:cNvSpPr/>
              <p:nvPr/>
            </p:nvSpPr>
            <p:spPr>
              <a:xfrm>
                <a:off x="4122923" y="3030904"/>
                <a:ext cx="114656" cy="114656"/>
              </a:xfrm>
              <a:custGeom>
                <a:avLst/>
                <a:gdLst>
                  <a:gd name="connsiteX0" fmla="*/ 57328 w 114656"/>
                  <a:gd name="connsiteY0" fmla="*/ 114657 h 114656"/>
                  <a:gd name="connsiteX1" fmla="*/ 0 w 114656"/>
                  <a:gd name="connsiteY1" fmla="*/ 57328 h 114656"/>
                  <a:gd name="connsiteX2" fmla="*/ 57328 w 114656"/>
                  <a:gd name="connsiteY2" fmla="*/ 0 h 114656"/>
                  <a:gd name="connsiteX3" fmla="*/ 114657 w 114656"/>
                  <a:gd name="connsiteY3" fmla="*/ 57328 h 114656"/>
                  <a:gd name="connsiteX4" fmla="*/ 57328 w 114656"/>
                  <a:gd name="connsiteY4" fmla="*/ 114657 h 114656"/>
                  <a:gd name="connsiteX5" fmla="*/ 57328 w 114656"/>
                  <a:gd name="connsiteY5" fmla="*/ 22931 h 114656"/>
                  <a:gd name="connsiteX6" fmla="*/ 22931 w 114656"/>
                  <a:gd name="connsiteY6" fmla="*/ 57328 h 114656"/>
                  <a:gd name="connsiteX7" fmla="*/ 57328 w 114656"/>
                  <a:gd name="connsiteY7" fmla="*/ 91725 h 114656"/>
                  <a:gd name="connsiteX8" fmla="*/ 91725 w 114656"/>
                  <a:gd name="connsiteY8" fmla="*/ 57328 h 114656"/>
                  <a:gd name="connsiteX9" fmla="*/ 57328 w 114656"/>
                  <a:gd name="connsiteY9" fmla="*/ 22931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656" h="114656">
                    <a:moveTo>
                      <a:pt x="57328" y="114657"/>
                    </a:moveTo>
                    <a:cubicBezTo>
                      <a:pt x="25718" y="114657"/>
                      <a:pt x="0" y="88939"/>
                      <a:pt x="0" y="57328"/>
                    </a:cubicBezTo>
                    <a:cubicBezTo>
                      <a:pt x="0" y="25717"/>
                      <a:pt x="25718" y="0"/>
                      <a:pt x="57328" y="0"/>
                    </a:cubicBezTo>
                    <a:cubicBezTo>
                      <a:pt x="88939" y="0"/>
                      <a:pt x="114657" y="25717"/>
                      <a:pt x="114657" y="57328"/>
                    </a:cubicBezTo>
                    <a:cubicBezTo>
                      <a:pt x="114657" y="88939"/>
                      <a:pt x="88939" y="114657"/>
                      <a:pt x="57328" y="114657"/>
                    </a:cubicBezTo>
                    <a:close/>
                    <a:moveTo>
                      <a:pt x="57328" y="22931"/>
                    </a:moveTo>
                    <a:cubicBezTo>
                      <a:pt x="38364" y="22931"/>
                      <a:pt x="22931" y="38364"/>
                      <a:pt x="22931" y="57328"/>
                    </a:cubicBezTo>
                    <a:cubicBezTo>
                      <a:pt x="22931" y="76293"/>
                      <a:pt x="38364" y="91725"/>
                      <a:pt x="57328" y="91725"/>
                    </a:cubicBezTo>
                    <a:cubicBezTo>
                      <a:pt x="76293" y="91725"/>
                      <a:pt x="91725" y="76293"/>
                      <a:pt x="91725" y="57328"/>
                    </a:cubicBezTo>
                    <a:cubicBezTo>
                      <a:pt x="91725" y="38364"/>
                      <a:pt x="76304" y="22931"/>
                      <a:pt x="57328" y="22931"/>
                    </a:cubicBezTo>
                    <a:close/>
                  </a:path>
                </a:pathLst>
              </a:custGeom>
              <a:grpFill/>
              <a:ln w="1145" cap="flat">
                <a:noFill/>
                <a:prstDash val="solid"/>
                <a:miter/>
              </a:ln>
            </p:spPr>
            <p:txBody>
              <a:bodyPr rtlCol="0" anchor="ctr"/>
              <a:lstStyle/>
              <a:p>
                <a:endParaRPr lang="en-GB" dirty="0"/>
              </a:p>
            </p:txBody>
          </p:sp>
          <p:sp>
            <p:nvSpPr>
              <p:cNvPr id="187" name="Freeform: Shape 186">
                <a:extLst>
                  <a:ext uri="{FF2B5EF4-FFF2-40B4-BE49-F238E27FC236}">
                    <a16:creationId xmlns:a16="http://schemas.microsoft.com/office/drawing/2014/main" id="{23CE719D-5322-42D3-951D-A00FC92D0299}"/>
                  </a:ext>
                </a:extLst>
              </p:cNvPr>
              <p:cNvSpPr/>
              <p:nvPr/>
            </p:nvSpPr>
            <p:spPr>
              <a:xfrm>
                <a:off x="4122923" y="3443668"/>
                <a:ext cx="114656" cy="114656"/>
              </a:xfrm>
              <a:custGeom>
                <a:avLst/>
                <a:gdLst>
                  <a:gd name="connsiteX0" fmla="*/ 57328 w 114656"/>
                  <a:gd name="connsiteY0" fmla="*/ 114657 h 114656"/>
                  <a:gd name="connsiteX1" fmla="*/ 0 w 114656"/>
                  <a:gd name="connsiteY1" fmla="*/ 57328 h 114656"/>
                  <a:gd name="connsiteX2" fmla="*/ 57328 w 114656"/>
                  <a:gd name="connsiteY2" fmla="*/ 0 h 114656"/>
                  <a:gd name="connsiteX3" fmla="*/ 114657 w 114656"/>
                  <a:gd name="connsiteY3" fmla="*/ 57328 h 114656"/>
                  <a:gd name="connsiteX4" fmla="*/ 57328 w 114656"/>
                  <a:gd name="connsiteY4" fmla="*/ 114657 h 114656"/>
                  <a:gd name="connsiteX5" fmla="*/ 57328 w 114656"/>
                  <a:gd name="connsiteY5" fmla="*/ 22931 h 114656"/>
                  <a:gd name="connsiteX6" fmla="*/ 22931 w 114656"/>
                  <a:gd name="connsiteY6" fmla="*/ 57328 h 114656"/>
                  <a:gd name="connsiteX7" fmla="*/ 57328 w 114656"/>
                  <a:gd name="connsiteY7" fmla="*/ 91725 h 114656"/>
                  <a:gd name="connsiteX8" fmla="*/ 91725 w 114656"/>
                  <a:gd name="connsiteY8" fmla="*/ 57328 h 114656"/>
                  <a:gd name="connsiteX9" fmla="*/ 57328 w 114656"/>
                  <a:gd name="connsiteY9" fmla="*/ 22931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656" h="114656">
                    <a:moveTo>
                      <a:pt x="57328" y="114657"/>
                    </a:moveTo>
                    <a:cubicBezTo>
                      <a:pt x="25718" y="114657"/>
                      <a:pt x="0" y="88939"/>
                      <a:pt x="0" y="57328"/>
                    </a:cubicBezTo>
                    <a:cubicBezTo>
                      <a:pt x="0" y="25717"/>
                      <a:pt x="25718" y="0"/>
                      <a:pt x="57328" y="0"/>
                    </a:cubicBezTo>
                    <a:cubicBezTo>
                      <a:pt x="88939" y="0"/>
                      <a:pt x="114657" y="25717"/>
                      <a:pt x="114657" y="57328"/>
                    </a:cubicBezTo>
                    <a:cubicBezTo>
                      <a:pt x="114657" y="88939"/>
                      <a:pt x="88939" y="114657"/>
                      <a:pt x="57328" y="114657"/>
                    </a:cubicBezTo>
                    <a:close/>
                    <a:moveTo>
                      <a:pt x="57328" y="22931"/>
                    </a:moveTo>
                    <a:cubicBezTo>
                      <a:pt x="38364" y="22931"/>
                      <a:pt x="22931" y="38364"/>
                      <a:pt x="22931" y="57328"/>
                    </a:cubicBezTo>
                    <a:cubicBezTo>
                      <a:pt x="22931" y="76293"/>
                      <a:pt x="38364" y="91725"/>
                      <a:pt x="57328" y="91725"/>
                    </a:cubicBezTo>
                    <a:cubicBezTo>
                      <a:pt x="76293" y="91725"/>
                      <a:pt x="91725" y="76293"/>
                      <a:pt x="91725" y="57328"/>
                    </a:cubicBezTo>
                    <a:cubicBezTo>
                      <a:pt x="91725" y="38364"/>
                      <a:pt x="76304" y="22931"/>
                      <a:pt x="57328" y="22931"/>
                    </a:cubicBezTo>
                    <a:close/>
                  </a:path>
                </a:pathLst>
              </a:custGeom>
              <a:grpFill/>
              <a:ln w="1145" cap="flat">
                <a:noFill/>
                <a:prstDash val="solid"/>
                <a:miter/>
              </a:ln>
            </p:spPr>
            <p:txBody>
              <a:bodyPr rtlCol="0" anchor="ctr"/>
              <a:lstStyle/>
              <a:p>
                <a:endParaRPr lang="en-GB" dirty="0"/>
              </a:p>
            </p:txBody>
          </p:sp>
          <p:sp>
            <p:nvSpPr>
              <p:cNvPr id="188" name="Freeform: Shape 187">
                <a:extLst>
                  <a:ext uri="{FF2B5EF4-FFF2-40B4-BE49-F238E27FC236}">
                    <a16:creationId xmlns:a16="http://schemas.microsoft.com/office/drawing/2014/main" id="{E16C7733-D9B7-4985-9650-9334AF6007E1}"/>
                  </a:ext>
                </a:extLst>
              </p:cNvPr>
              <p:cNvSpPr/>
              <p:nvPr/>
            </p:nvSpPr>
            <p:spPr>
              <a:xfrm>
                <a:off x="3412051" y="3443668"/>
                <a:ext cx="114656" cy="114656"/>
              </a:xfrm>
              <a:custGeom>
                <a:avLst/>
                <a:gdLst>
                  <a:gd name="connsiteX0" fmla="*/ 57328 w 114656"/>
                  <a:gd name="connsiteY0" fmla="*/ 114657 h 114656"/>
                  <a:gd name="connsiteX1" fmla="*/ 0 w 114656"/>
                  <a:gd name="connsiteY1" fmla="*/ 57328 h 114656"/>
                  <a:gd name="connsiteX2" fmla="*/ 57328 w 114656"/>
                  <a:gd name="connsiteY2" fmla="*/ 0 h 114656"/>
                  <a:gd name="connsiteX3" fmla="*/ 114657 w 114656"/>
                  <a:gd name="connsiteY3" fmla="*/ 57328 h 114656"/>
                  <a:gd name="connsiteX4" fmla="*/ 57328 w 114656"/>
                  <a:gd name="connsiteY4" fmla="*/ 114657 h 114656"/>
                  <a:gd name="connsiteX5" fmla="*/ 57328 w 114656"/>
                  <a:gd name="connsiteY5" fmla="*/ 22931 h 114656"/>
                  <a:gd name="connsiteX6" fmla="*/ 22931 w 114656"/>
                  <a:gd name="connsiteY6" fmla="*/ 57328 h 114656"/>
                  <a:gd name="connsiteX7" fmla="*/ 57328 w 114656"/>
                  <a:gd name="connsiteY7" fmla="*/ 91725 h 114656"/>
                  <a:gd name="connsiteX8" fmla="*/ 91725 w 114656"/>
                  <a:gd name="connsiteY8" fmla="*/ 57328 h 114656"/>
                  <a:gd name="connsiteX9" fmla="*/ 57328 w 114656"/>
                  <a:gd name="connsiteY9" fmla="*/ 22931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656" h="114656">
                    <a:moveTo>
                      <a:pt x="57328" y="114657"/>
                    </a:moveTo>
                    <a:cubicBezTo>
                      <a:pt x="25718" y="114657"/>
                      <a:pt x="0" y="88939"/>
                      <a:pt x="0" y="57328"/>
                    </a:cubicBezTo>
                    <a:cubicBezTo>
                      <a:pt x="0" y="25717"/>
                      <a:pt x="25718" y="0"/>
                      <a:pt x="57328" y="0"/>
                    </a:cubicBezTo>
                    <a:cubicBezTo>
                      <a:pt x="88939" y="0"/>
                      <a:pt x="114657" y="25717"/>
                      <a:pt x="114657" y="57328"/>
                    </a:cubicBezTo>
                    <a:cubicBezTo>
                      <a:pt x="114657" y="88939"/>
                      <a:pt x="88939" y="114657"/>
                      <a:pt x="57328" y="114657"/>
                    </a:cubicBezTo>
                    <a:close/>
                    <a:moveTo>
                      <a:pt x="57328" y="22931"/>
                    </a:moveTo>
                    <a:cubicBezTo>
                      <a:pt x="38364" y="22931"/>
                      <a:pt x="22931" y="38364"/>
                      <a:pt x="22931" y="57328"/>
                    </a:cubicBezTo>
                    <a:cubicBezTo>
                      <a:pt x="22931" y="76293"/>
                      <a:pt x="38364" y="91725"/>
                      <a:pt x="57328" y="91725"/>
                    </a:cubicBezTo>
                    <a:cubicBezTo>
                      <a:pt x="76293" y="91725"/>
                      <a:pt x="91725" y="76293"/>
                      <a:pt x="91725" y="57328"/>
                    </a:cubicBezTo>
                    <a:cubicBezTo>
                      <a:pt x="91725" y="38364"/>
                      <a:pt x="76304" y="22931"/>
                      <a:pt x="57328" y="22931"/>
                    </a:cubicBezTo>
                    <a:close/>
                  </a:path>
                </a:pathLst>
              </a:custGeom>
              <a:grpFill/>
              <a:ln w="1145" cap="flat">
                <a:noFill/>
                <a:prstDash val="solid"/>
                <a:miter/>
              </a:ln>
            </p:spPr>
            <p:txBody>
              <a:bodyPr rtlCol="0" anchor="ctr"/>
              <a:lstStyle/>
              <a:p>
                <a:endParaRPr lang="en-GB" dirty="0"/>
              </a:p>
            </p:txBody>
          </p:sp>
          <p:sp>
            <p:nvSpPr>
              <p:cNvPr id="189" name="Freeform: Shape 188">
                <a:extLst>
                  <a:ext uri="{FF2B5EF4-FFF2-40B4-BE49-F238E27FC236}">
                    <a16:creationId xmlns:a16="http://schemas.microsoft.com/office/drawing/2014/main" id="{3C7EDBA8-44B9-4FAC-9AB5-EC312236E453}"/>
                  </a:ext>
                </a:extLst>
              </p:cNvPr>
              <p:cNvSpPr/>
              <p:nvPr/>
            </p:nvSpPr>
            <p:spPr>
              <a:xfrm>
                <a:off x="3412051" y="3030904"/>
                <a:ext cx="114656" cy="114656"/>
              </a:xfrm>
              <a:custGeom>
                <a:avLst/>
                <a:gdLst>
                  <a:gd name="connsiteX0" fmla="*/ 57328 w 114656"/>
                  <a:gd name="connsiteY0" fmla="*/ 114657 h 114656"/>
                  <a:gd name="connsiteX1" fmla="*/ 0 w 114656"/>
                  <a:gd name="connsiteY1" fmla="*/ 57328 h 114656"/>
                  <a:gd name="connsiteX2" fmla="*/ 57328 w 114656"/>
                  <a:gd name="connsiteY2" fmla="*/ 0 h 114656"/>
                  <a:gd name="connsiteX3" fmla="*/ 114657 w 114656"/>
                  <a:gd name="connsiteY3" fmla="*/ 57328 h 114656"/>
                  <a:gd name="connsiteX4" fmla="*/ 57328 w 114656"/>
                  <a:gd name="connsiteY4" fmla="*/ 114657 h 114656"/>
                  <a:gd name="connsiteX5" fmla="*/ 57328 w 114656"/>
                  <a:gd name="connsiteY5" fmla="*/ 22931 h 114656"/>
                  <a:gd name="connsiteX6" fmla="*/ 22931 w 114656"/>
                  <a:gd name="connsiteY6" fmla="*/ 57328 h 114656"/>
                  <a:gd name="connsiteX7" fmla="*/ 57328 w 114656"/>
                  <a:gd name="connsiteY7" fmla="*/ 91725 h 114656"/>
                  <a:gd name="connsiteX8" fmla="*/ 91725 w 114656"/>
                  <a:gd name="connsiteY8" fmla="*/ 57328 h 114656"/>
                  <a:gd name="connsiteX9" fmla="*/ 57328 w 114656"/>
                  <a:gd name="connsiteY9" fmla="*/ 22931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656" h="114656">
                    <a:moveTo>
                      <a:pt x="57328" y="114657"/>
                    </a:moveTo>
                    <a:cubicBezTo>
                      <a:pt x="25718" y="114657"/>
                      <a:pt x="0" y="88939"/>
                      <a:pt x="0" y="57328"/>
                    </a:cubicBezTo>
                    <a:cubicBezTo>
                      <a:pt x="0" y="25717"/>
                      <a:pt x="25718" y="0"/>
                      <a:pt x="57328" y="0"/>
                    </a:cubicBezTo>
                    <a:cubicBezTo>
                      <a:pt x="88939" y="0"/>
                      <a:pt x="114657" y="25717"/>
                      <a:pt x="114657" y="57328"/>
                    </a:cubicBezTo>
                    <a:cubicBezTo>
                      <a:pt x="114657" y="88939"/>
                      <a:pt x="88939" y="114657"/>
                      <a:pt x="57328" y="114657"/>
                    </a:cubicBezTo>
                    <a:close/>
                    <a:moveTo>
                      <a:pt x="57328" y="22931"/>
                    </a:moveTo>
                    <a:cubicBezTo>
                      <a:pt x="38364" y="22931"/>
                      <a:pt x="22931" y="38364"/>
                      <a:pt x="22931" y="57328"/>
                    </a:cubicBezTo>
                    <a:cubicBezTo>
                      <a:pt x="22931" y="76293"/>
                      <a:pt x="38364" y="91725"/>
                      <a:pt x="57328" y="91725"/>
                    </a:cubicBezTo>
                    <a:cubicBezTo>
                      <a:pt x="76293" y="91725"/>
                      <a:pt x="91725" y="76293"/>
                      <a:pt x="91725" y="57328"/>
                    </a:cubicBezTo>
                    <a:cubicBezTo>
                      <a:pt x="91725" y="38364"/>
                      <a:pt x="76304" y="22931"/>
                      <a:pt x="57328" y="22931"/>
                    </a:cubicBezTo>
                    <a:close/>
                  </a:path>
                </a:pathLst>
              </a:custGeom>
              <a:grpFill/>
              <a:ln w="1145" cap="flat">
                <a:noFill/>
                <a:prstDash val="solid"/>
                <a:miter/>
              </a:ln>
            </p:spPr>
            <p:txBody>
              <a:bodyPr rtlCol="0" anchor="ctr"/>
              <a:lstStyle/>
              <a:p>
                <a:endParaRPr lang="en-GB" dirty="0"/>
              </a:p>
            </p:txBody>
          </p:sp>
          <p:sp>
            <p:nvSpPr>
              <p:cNvPr id="190" name="Freeform: Shape 189">
                <a:extLst>
                  <a:ext uri="{FF2B5EF4-FFF2-40B4-BE49-F238E27FC236}">
                    <a16:creationId xmlns:a16="http://schemas.microsoft.com/office/drawing/2014/main" id="{EF96FC68-A0A8-46AE-A123-88603777EAE9}"/>
                  </a:ext>
                </a:extLst>
              </p:cNvPr>
              <p:cNvSpPr/>
              <p:nvPr/>
            </p:nvSpPr>
            <p:spPr>
              <a:xfrm>
                <a:off x="3767487" y="2824522"/>
                <a:ext cx="114656" cy="114656"/>
              </a:xfrm>
              <a:custGeom>
                <a:avLst/>
                <a:gdLst>
                  <a:gd name="connsiteX0" fmla="*/ 57328 w 114656"/>
                  <a:gd name="connsiteY0" fmla="*/ 114657 h 114656"/>
                  <a:gd name="connsiteX1" fmla="*/ 0 w 114656"/>
                  <a:gd name="connsiteY1" fmla="*/ 57328 h 114656"/>
                  <a:gd name="connsiteX2" fmla="*/ 57328 w 114656"/>
                  <a:gd name="connsiteY2" fmla="*/ 0 h 114656"/>
                  <a:gd name="connsiteX3" fmla="*/ 114657 w 114656"/>
                  <a:gd name="connsiteY3" fmla="*/ 57328 h 114656"/>
                  <a:gd name="connsiteX4" fmla="*/ 57328 w 114656"/>
                  <a:gd name="connsiteY4" fmla="*/ 114657 h 114656"/>
                  <a:gd name="connsiteX5" fmla="*/ 57328 w 114656"/>
                  <a:gd name="connsiteY5" fmla="*/ 22931 h 114656"/>
                  <a:gd name="connsiteX6" fmla="*/ 22931 w 114656"/>
                  <a:gd name="connsiteY6" fmla="*/ 57328 h 114656"/>
                  <a:gd name="connsiteX7" fmla="*/ 57328 w 114656"/>
                  <a:gd name="connsiteY7" fmla="*/ 91725 h 114656"/>
                  <a:gd name="connsiteX8" fmla="*/ 91725 w 114656"/>
                  <a:gd name="connsiteY8" fmla="*/ 57328 h 114656"/>
                  <a:gd name="connsiteX9" fmla="*/ 57328 w 114656"/>
                  <a:gd name="connsiteY9" fmla="*/ 22931 h 114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656" h="114656">
                    <a:moveTo>
                      <a:pt x="57328" y="114657"/>
                    </a:moveTo>
                    <a:cubicBezTo>
                      <a:pt x="25718" y="114657"/>
                      <a:pt x="0" y="88939"/>
                      <a:pt x="0" y="57328"/>
                    </a:cubicBezTo>
                    <a:cubicBezTo>
                      <a:pt x="0" y="25717"/>
                      <a:pt x="25718" y="0"/>
                      <a:pt x="57328" y="0"/>
                    </a:cubicBezTo>
                    <a:cubicBezTo>
                      <a:pt x="88939" y="0"/>
                      <a:pt x="114657" y="25717"/>
                      <a:pt x="114657" y="57328"/>
                    </a:cubicBezTo>
                    <a:cubicBezTo>
                      <a:pt x="114657" y="88939"/>
                      <a:pt x="88939" y="114657"/>
                      <a:pt x="57328" y="114657"/>
                    </a:cubicBezTo>
                    <a:close/>
                    <a:moveTo>
                      <a:pt x="57328" y="22931"/>
                    </a:moveTo>
                    <a:cubicBezTo>
                      <a:pt x="38364" y="22931"/>
                      <a:pt x="22931" y="38364"/>
                      <a:pt x="22931" y="57328"/>
                    </a:cubicBezTo>
                    <a:cubicBezTo>
                      <a:pt x="22931" y="76293"/>
                      <a:pt x="38364" y="91725"/>
                      <a:pt x="57328" y="91725"/>
                    </a:cubicBezTo>
                    <a:cubicBezTo>
                      <a:pt x="76293" y="91725"/>
                      <a:pt x="91725" y="76293"/>
                      <a:pt x="91725" y="57328"/>
                    </a:cubicBezTo>
                    <a:cubicBezTo>
                      <a:pt x="91725" y="38364"/>
                      <a:pt x="76304" y="22931"/>
                      <a:pt x="57328" y="22931"/>
                    </a:cubicBezTo>
                    <a:close/>
                  </a:path>
                </a:pathLst>
              </a:custGeom>
              <a:grpFill/>
              <a:ln w="1145" cap="flat">
                <a:noFill/>
                <a:prstDash val="solid"/>
                <a:miter/>
              </a:ln>
            </p:spPr>
            <p:txBody>
              <a:bodyPr rtlCol="0" anchor="ctr"/>
              <a:lstStyle/>
              <a:p>
                <a:endParaRPr lang="en-GB" dirty="0"/>
              </a:p>
            </p:txBody>
          </p:sp>
        </p:grpSp>
        <p:grpSp>
          <p:nvGrpSpPr>
            <p:cNvPr id="133" name="Graphic 48">
              <a:extLst>
                <a:ext uri="{FF2B5EF4-FFF2-40B4-BE49-F238E27FC236}">
                  <a16:creationId xmlns:a16="http://schemas.microsoft.com/office/drawing/2014/main" id="{8F06A232-EBA5-41CA-B4FA-75A3BC52592D}"/>
                </a:ext>
              </a:extLst>
            </p:cNvPr>
            <p:cNvGrpSpPr/>
            <p:nvPr/>
          </p:nvGrpSpPr>
          <p:grpSpPr>
            <a:xfrm>
              <a:off x="3814954" y="1735859"/>
              <a:ext cx="230805" cy="230784"/>
              <a:chOff x="3581159" y="3051347"/>
              <a:chExt cx="487337" cy="487291"/>
            </a:xfrm>
            <a:solidFill>
              <a:schemeClr val="accent1"/>
            </a:solidFill>
          </p:grpSpPr>
          <p:grpSp>
            <p:nvGrpSpPr>
              <p:cNvPr id="134" name="Graphic 48">
                <a:extLst>
                  <a:ext uri="{FF2B5EF4-FFF2-40B4-BE49-F238E27FC236}">
                    <a16:creationId xmlns:a16="http://schemas.microsoft.com/office/drawing/2014/main" id="{1EBAE3F8-2E92-4F8F-8800-6108284122CB}"/>
                  </a:ext>
                </a:extLst>
              </p:cNvPr>
              <p:cNvGrpSpPr/>
              <p:nvPr/>
            </p:nvGrpSpPr>
            <p:grpSpPr>
              <a:xfrm>
                <a:off x="3581159" y="3051347"/>
                <a:ext cx="487337" cy="487291"/>
                <a:chOff x="3581159" y="3051347"/>
                <a:chExt cx="487337" cy="487291"/>
              </a:xfrm>
              <a:solidFill>
                <a:schemeClr val="accent1"/>
              </a:solidFill>
            </p:grpSpPr>
            <p:sp>
              <p:nvSpPr>
                <p:cNvPr id="138" name="Freeform: Shape 137">
                  <a:extLst>
                    <a:ext uri="{FF2B5EF4-FFF2-40B4-BE49-F238E27FC236}">
                      <a16:creationId xmlns:a16="http://schemas.microsoft.com/office/drawing/2014/main" id="{5F36509E-81EA-4A1D-AE85-C7DA1F1FADAF}"/>
                    </a:ext>
                  </a:extLst>
                </p:cNvPr>
                <p:cNvSpPr/>
                <p:nvPr/>
              </p:nvSpPr>
              <p:spPr>
                <a:xfrm>
                  <a:off x="3675659" y="3145549"/>
                  <a:ext cx="298313" cy="298325"/>
                </a:xfrm>
                <a:custGeom>
                  <a:avLst/>
                  <a:gdLst>
                    <a:gd name="connsiteX0" fmla="*/ 149157 w 298313"/>
                    <a:gd name="connsiteY0" fmla="*/ 298325 h 298325"/>
                    <a:gd name="connsiteX1" fmla="*/ 0 w 298313"/>
                    <a:gd name="connsiteY1" fmla="*/ 149157 h 298325"/>
                    <a:gd name="connsiteX2" fmla="*/ 149157 w 298313"/>
                    <a:gd name="connsiteY2" fmla="*/ 0 h 298325"/>
                    <a:gd name="connsiteX3" fmla="*/ 298314 w 298313"/>
                    <a:gd name="connsiteY3" fmla="*/ 149157 h 298325"/>
                    <a:gd name="connsiteX4" fmla="*/ 149157 w 298313"/>
                    <a:gd name="connsiteY4" fmla="*/ 298325 h 298325"/>
                    <a:gd name="connsiteX5" fmla="*/ 149157 w 298313"/>
                    <a:gd name="connsiteY5" fmla="*/ 22943 h 298325"/>
                    <a:gd name="connsiteX6" fmla="*/ 22931 w 298313"/>
                    <a:gd name="connsiteY6" fmla="*/ 149168 h 298325"/>
                    <a:gd name="connsiteX7" fmla="*/ 149157 w 298313"/>
                    <a:gd name="connsiteY7" fmla="*/ 275405 h 298325"/>
                    <a:gd name="connsiteX8" fmla="*/ 275383 w 298313"/>
                    <a:gd name="connsiteY8" fmla="*/ 149168 h 298325"/>
                    <a:gd name="connsiteX9" fmla="*/ 149157 w 298313"/>
                    <a:gd name="connsiteY9" fmla="*/ 22943 h 29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313" h="298325">
                      <a:moveTo>
                        <a:pt x="149157" y="298325"/>
                      </a:moveTo>
                      <a:cubicBezTo>
                        <a:pt x="66914" y="298325"/>
                        <a:pt x="0" y="231412"/>
                        <a:pt x="0" y="149157"/>
                      </a:cubicBezTo>
                      <a:cubicBezTo>
                        <a:pt x="0" y="66914"/>
                        <a:pt x="66914" y="0"/>
                        <a:pt x="149157" y="0"/>
                      </a:cubicBezTo>
                      <a:cubicBezTo>
                        <a:pt x="231400" y="0"/>
                        <a:pt x="298314" y="66914"/>
                        <a:pt x="298314" y="149157"/>
                      </a:cubicBezTo>
                      <a:cubicBezTo>
                        <a:pt x="298314" y="231412"/>
                        <a:pt x="231400" y="298325"/>
                        <a:pt x="149157" y="298325"/>
                      </a:cubicBezTo>
                      <a:close/>
                      <a:moveTo>
                        <a:pt x="149157" y="22943"/>
                      </a:moveTo>
                      <a:cubicBezTo>
                        <a:pt x="79560" y="22943"/>
                        <a:pt x="22931" y="79560"/>
                        <a:pt x="22931" y="149168"/>
                      </a:cubicBezTo>
                      <a:cubicBezTo>
                        <a:pt x="22931" y="218777"/>
                        <a:pt x="79560" y="275405"/>
                        <a:pt x="149157" y="275405"/>
                      </a:cubicBezTo>
                      <a:cubicBezTo>
                        <a:pt x="218754" y="275405"/>
                        <a:pt x="275383" y="218788"/>
                        <a:pt x="275383" y="149168"/>
                      </a:cubicBezTo>
                      <a:cubicBezTo>
                        <a:pt x="275383" y="79560"/>
                        <a:pt x="218765" y="22943"/>
                        <a:pt x="149157" y="22943"/>
                      </a:cubicBezTo>
                      <a:close/>
                    </a:path>
                  </a:pathLst>
                </a:custGeom>
                <a:solidFill>
                  <a:schemeClr val="accent1"/>
                </a:solidFill>
                <a:ln w="1145" cap="flat">
                  <a:noFill/>
                  <a:prstDash val="solid"/>
                  <a:miter/>
                </a:ln>
              </p:spPr>
              <p:txBody>
                <a:bodyPr rtlCol="0" anchor="ctr"/>
                <a:lstStyle/>
                <a:p>
                  <a:endParaRPr lang="en-GB" dirty="0"/>
                </a:p>
              </p:txBody>
            </p:sp>
            <p:grpSp>
              <p:nvGrpSpPr>
                <p:cNvPr id="139" name="Graphic 48">
                  <a:extLst>
                    <a:ext uri="{FF2B5EF4-FFF2-40B4-BE49-F238E27FC236}">
                      <a16:creationId xmlns:a16="http://schemas.microsoft.com/office/drawing/2014/main" id="{696808C1-D723-4148-AEF8-78514727DA96}"/>
                    </a:ext>
                  </a:extLst>
                </p:cNvPr>
                <p:cNvGrpSpPr/>
                <p:nvPr/>
              </p:nvGrpSpPr>
              <p:grpSpPr>
                <a:xfrm>
                  <a:off x="3581159" y="3252168"/>
                  <a:ext cx="117133" cy="84490"/>
                  <a:chOff x="3581159" y="3252168"/>
                  <a:chExt cx="117133" cy="84490"/>
                </a:xfrm>
                <a:solidFill>
                  <a:schemeClr val="accent1"/>
                </a:solidFill>
              </p:grpSpPr>
              <p:sp>
                <p:nvSpPr>
                  <p:cNvPr id="171" name="Freeform: Shape 170">
                    <a:extLst>
                      <a:ext uri="{FF2B5EF4-FFF2-40B4-BE49-F238E27FC236}">
                        <a16:creationId xmlns:a16="http://schemas.microsoft.com/office/drawing/2014/main" id="{680574D9-6E5B-4141-B9BD-DD70232BE046}"/>
                      </a:ext>
                    </a:extLst>
                  </p:cNvPr>
                  <p:cNvSpPr/>
                  <p:nvPr/>
                </p:nvSpPr>
                <p:spPr>
                  <a:xfrm>
                    <a:off x="3581159" y="3252168"/>
                    <a:ext cx="73655" cy="84490"/>
                  </a:xfrm>
                  <a:custGeom>
                    <a:avLst/>
                    <a:gdLst>
                      <a:gd name="connsiteX0" fmla="*/ 31542 w 73655"/>
                      <a:gd name="connsiteY0" fmla="*/ 84490 h 84490"/>
                      <a:gd name="connsiteX1" fmla="*/ 0 w 73655"/>
                      <a:gd name="connsiteY1" fmla="*/ 42377 h 84490"/>
                      <a:gd name="connsiteX2" fmla="*/ 30487 w 73655"/>
                      <a:gd name="connsiteY2" fmla="*/ 0 h 84490"/>
                      <a:gd name="connsiteX3" fmla="*/ 73656 w 73655"/>
                      <a:gd name="connsiteY3" fmla="*/ 42377 h 84490"/>
                      <a:gd name="connsiteX4" fmla="*/ 31542 w 73655"/>
                      <a:gd name="connsiteY4" fmla="*/ 84490 h 84490"/>
                      <a:gd name="connsiteX5" fmla="*/ 30476 w 73655"/>
                      <a:gd name="connsiteY5" fmla="*/ 22931 h 84490"/>
                      <a:gd name="connsiteX6" fmla="*/ 22920 w 73655"/>
                      <a:gd name="connsiteY6" fmla="*/ 42377 h 84490"/>
                      <a:gd name="connsiteX7" fmla="*/ 31531 w 73655"/>
                      <a:gd name="connsiteY7" fmla="*/ 61559 h 84490"/>
                      <a:gd name="connsiteX8" fmla="*/ 50713 w 73655"/>
                      <a:gd name="connsiteY8" fmla="*/ 42377 h 84490"/>
                      <a:gd name="connsiteX9" fmla="*/ 30476 w 73655"/>
                      <a:gd name="connsiteY9" fmla="*/ 22931 h 8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655" h="84490">
                        <a:moveTo>
                          <a:pt x="31542" y="84490"/>
                        </a:moveTo>
                        <a:cubicBezTo>
                          <a:pt x="12968" y="84490"/>
                          <a:pt x="0" y="67166"/>
                          <a:pt x="0" y="42377"/>
                        </a:cubicBezTo>
                        <a:cubicBezTo>
                          <a:pt x="0" y="16637"/>
                          <a:pt x="11970" y="0"/>
                          <a:pt x="30487" y="0"/>
                        </a:cubicBezTo>
                        <a:cubicBezTo>
                          <a:pt x="51469" y="0"/>
                          <a:pt x="73656" y="21785"/>
                          <a:pt x="73656" y="42377"/>
                        </a:cubicBezTo>
                        <a:cubicBezTo>
                          <a:pt x="73644" y="63233"/>
                          <a:pt x="52398" y="84490"/>
                          <a:pt x="31542" y="84490"/>
                        </a:cubicBezTo>
                        <a:close/>
                        <a:moveTo>
                          <a:pt x="30476" y="22931"/>
                        </a:moveTo>
                        <a:cubicBezTo>
                          <a:pt x="24972" y="22931"/>
                          <a:pt x="22920" y="34856"/>
                          <a:pt x="22920" y="42377"/>
                        </a:cubicBezTo>
                        <a:cubicBezTo>
                          <a:pt x="22920" y="50334"/>
                          <a:pt x="25591" y="61559"/>
                          <a:pt x="31531" y="61559"/>
                        </a:cubicBezTo>
                        <a:cubicBezTo>
                          <a:pt x="38938" y="61559"/>
                          <a:pt x="50713" y="51091"/>
                          <a:pt x="50713" y="42377"/>
                        </a:cubicBezTo>
                        <a:cubicBezTo>
                          <a:pt x="50713" y="33789"/>
                          <a:pt x="38169" y="22931"/>
                          <a:pt x="30476" y="22931"/>
                        </a:cubicBezTo>
                        <a:close/>
                      </a:path>
                    </a:pathLst>
                  </a:custGeom>
                  <a:solidFill>
                    <a:schemeClr val="accent1"/>
                  </a:solidFill>
                  <a:ln w="1145" cap="flat">
                    <a:noFill/>
                    <a:prstDash val="solid"/>
                    <a:miter/>
                  </a:ln>
                </p:spPr>
                <p:txBody>
                  <a:bodyPr rtlCol="0" anchor="ctr"/>
                  <a:lstStyle/>
                  <a:p>
                    <a:endParaRPr lang="en-GB" dirty="0"/>
                  </a:p>
                </p:txBody>
              </p:sp>
              <p:sp>
                <p:nvSpPr>
                  <p:cNvPr id="172" name="Freeform: Shape 171">
                    <a:extLst>
                      <a:ext uri="{FF2B5EF4-FFF2-40B4-BE49-F238E27FC236}">
                        <a16:creationId xmlns:a16="http://schemas.microsoft.com/office/drawing/2014/main" id="{BD6E92EE-0294-4A58-940B-25EB58E1FD16}"/>
                      </a:ext>
                    </a:extLst>
                  </p:cNvPr>
                  <p:cNvSpPr/>
                  <p:nvPr/>
                </p:nvSpPr>
                <p:spPr>
                  <a:xfrm>
                    <a:off x="3631883" y="3283103"/>
                    <a:ext cx="66409" cy="22931"/>
                  </a:xfrm>
                  <a:custGeom>
                    <a:avLst/>
                    <a:gdLst>
                      <a:gd name="connsiteX0" fmla="*/ 54943 w 66409"/>
                      <a:gd name="connsiteY0" fmla="*/ 22931 h 22931"/>
                      <a:gd name="connsiteX1" fmla="*/ 11466 w 66409"/>
                      <a:gd name="connsiteY1" fmla="*/ 22931 h 22931"/>
                      <a:gd name="connsiteX2" fmla="*/ 0 w 66409"/>
                      <a:gd name="connsiteY2" fmla="*/ 11466 h 22931"/>
                      <a:gd name="connsiteX3" fmla="*/ 11466 w 66409"/>
                      <a:gd name="connsiteY3" fmla="*/ 0 h 22931"/>
                      <a:gd name="connsiteX4" fmla="*/ 54943 w 66409"/>
                      <a:gd name="connsiteY4" fmla="*/ 0 h 22931"/>
                      <a:gd name="connsiteX5" fmla="*/ 66409 w 66409"/>
                      <a:gd name="connsiteY5" fmla="*/ 11466 h 22931"/>
                      <a:gd name="connsiteX6" fmla="*/ 54943 w 66409"/>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09" h="22931">
                        <a:moveTo>
                          <a:pt x="54943" y="22931"/>
                        </a:moveTo>
                        <a:lnTo>
                          <a:pt x="11466" y="22931"/>
                        </a:lnTo>
                        <a:cubicBezTo>
                          <a:pt x="5137" y="22931"/>
                          <a:pt x="0" y="17806"/>
                          <a:pt x="0" y="11466"/>
                        </a:cubicBezTo>
                        <a:cubicBezTo>
                          <a:pt x="0" y="5125"/>
                          <a:pt x="5137" y="0"/>
                          <a:pt x="11466" y="0"/>
                        </a:cubicBezTo>
                        <a:lnTo>
                          <a:pt x="54943" y="0"/>
                        </a:lnTo>
                        <a:cubicBezTo>
                          <a:pt x="61272" y="0"/>
                          <a:pt x="66409" y="5125"/>
                          <a:pt x="66409" y="11466"/>
                        </a:cubicBezTo>
                        <a:cubicBezTo>
                          <a:pt x="66409" y="17806"/>
                          <a:pt x="61272" y="22931"/>
                          <a:pt x="54943"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140" name="Graphic 48">
                  <a:extLst>
                    <a:ext uri="{FF2B5EF4-FFF2-40B4-BE49-F238E27FC236}">
                      <a16:creationId xmlns:a16="http://schemas.microsoft.com/office/drawing/2014/main" id="{2F6F765D-F95B-4B93-9594-045CA7CA37DC}"/>
                    </a:ext>
                  </a:extLst>
                </p:cNvPr>
                <p:cNvGrpSpPr/>
                <p:nvPr/>
              </p:nvGrpSpPr>
              <p:grpSpPr>
                <a:xfrm>
                  <a:off x="3951350" y="3252031"/>
                  <a:ext cx="117145" cy="84501"/>
                  <a:chOff x="3951350" y="3252031"/>
                  <a:chExt cx="117145" cy="84501"/>
                </a:xfrm>
                <a:solidFill>
                  <a:schemeClr val="accent1"/>
                </a:solidFill>
              </p:grpSpPr>
              <p:sp>
                <p:nvSpPr>
                  <p:cNvPr id="169" name="Freeform: Shape 168">
                    <a:extLst>
                      <a:ext uri="{FF2B5EF4-FFF2-40B4-BE49-F238E27FC236}">
                        <a16:creationId xmlns:a16="http://schemas.microsoft.com/office/drawing/2014/main" id="{F25230F1-3AE8-4C14-920F-5F2A53043BCF}"/>
                      </a:ext>
                    </a:extLst>
                  </p:cNvPr>
                  <p:cNvSpPr/>
                  <p:nvPr/>
                </p:nvSpPr>
                <p:spPr>
                  <a:xfrm>
                    <a:off x="3994828" y="3252031"/>
                    <a:ext cx="73667" cy="84501"/>
                  </a:xfrm>
                  <a:custGeom>
                    <a:avLst/>
                    <a:gdLst>
                      <a:gd name="connsiteX0" fmla="*/ 42171 w 73667"/>
                      <a:gd name="connsiteY0" fmla="*/ 84502 h 84501"/>
                      <a:gd name="connsiteX1" fmla="*/ 0 w 73667"/>
                      <a:gd name="connsiteY1" fmla="*/ 42595 h 84501"/>
                      <a:gd name="connsiteX2" fmla="*/ 42974 w 73667"/>
                      <a:gd name="connsiteY2" fmla="*/ 0 h 84501"/>
                      <a:gd name="connsiteX3" fmla="*/ 43123 w 73667"/>
                      <a:gd name="connsiteY3" fmla="*/ 0 h 84501"/>
                      <a:gd name="connsiteX4" fmla="*/ 68026 w 73667"/>
                      <a:gd name="connsiteY4" fmla="*/ 16006 h 84501"/>
                      <a:gd name="connsiteX5" fmla="*/ 73667 w 73667"/>
                      <a:gd name="connsiteY5" fmla="*/ 42239 h 84501"/>
                      <a:gd name="connsiteX6" fmla="*/ 67533 w 73667"/>
                      <a:gd name="connsiteY6" fmla="*/ 68794 h 84501"/>
                      <a:gd name="connsiteX7" fmla="*/ 42332 w 73667"/>
                      <a:gd name="connsiteY7" fmla="*/ 84502 h 84501"/>
                      <a:gd name="connsiteX8" fmla="*/ 42171 w 73667"/>
                      <a:gd name="connsiteY8" fmla="*/ 84502 h 84501"/>
                      <a:gd name="connsiteX9" fmla="*/ 43203 w 73667"/>
                      <a:gd name="connsiteY9" fmla="*/ 22931 h 84501"/>
                      <a:gd name="connsiteX10" fmla="*/ 43077 w 73667"/>
                      <a:gd name="connsiteY10" fmla="*/ 22931 h 84501"/>
                      <a:gd name="connsiteX11" fmla="*/ 22932 w 73667"/>
                      <a:gd name="connsiteY11" fmla="*/ 42480 h 84501"/>
                      <a:gd name="connsiteX12" fmla="*/ 42171 w 73667"/>
                      <a:gd name="connsiteY12" fmla="*/ 61571 h 84501"/>
                      <a:gd name="connsiteX13" fmla="*/ 42205 w 73667"/>
                      <a:gd name="connsiteY13" fmla="*/ 61571 h 84501"/>
                      <a:gd name="connsiteX14" fmla="*/ 47491 w 73667"/>
                      <a:gd name="connsiteY14" fmla="*/ 57638 h 84501"/>
                      <a:gd name="connsiteX15" fmla="*/ 50724 w 73667"/>
                      <a:gd name="connsiteY15" fmla="*/ 42343 h 84501"/>
                      <a:gd name="connsiteX16" fmla="*/ 47652 w 73667"/>
                      <a:gd name="connsiteY16" fmla="*/ 26543 h 84501"/>
                      <a:gd name="connsiteX17" fmla="*/ 43203 w 73667"/>
                      <a:gd name="connsiteY17" fmla="*/ 22931 h 84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667" h="84501">
                        <a:moveTo>
                          <a:pt x="42171" y="84502"/>
                        </a:moveTo>
                        <a:cubicBezTo>
                          <a:pt x="21361" y="84502"/>
                          <a:pt x="103" y="63405"/>
                          <a:pt x="0" y="42595"/>
                        </a:cubicBezTo>
                        <a:cubicBezTo>
                          <a:pt x="-91" y="21991"/>
                          <a:pt x="21992" y="103"/>
                          <a:pt x="42974" y="0"/>
                        </a:cubicBezTo>
                        <a:cubicBezTo>
                          <a:pt x="43020" y="0"/>
                          <a:pt x="43077" y="0"/>
                          <a:pt x="43123" y="0"/>
                        </a:cubicBezTo>
                        <a:cubicBezTo>
                          <a:pt x="53843" y="0"/>
                          <a:pt x="62683" y="5675"/>
                          <a:pt x="68026" y="16006"/>
                        </a:cubicBezTo>
                        <a:cubicBezTo>
                          <a:pt x="72635" y="24892"/>
                          <a:pt x="73633" y="35177"/>
                          <a:pt x="73667" y="42239"/>
                        </a:cubicBezTo>
                        <a:cubicBezTo>
                          <a:pt x="73713" y="52180"/>
                          <a:pt x="71535" y="61605"/>
                          <a:pt x="67533" y="68794"/>
                        </a:cubicBezTo>
                        <a:cubicBezTo>
                          <a:pt x="61926" y="78872"/>
                          <a:pt x="52972" y="84445"/>
                          <a:pt x="42332" y="84502"/>
                        </a:cubicBezTo>
                        <a:cubicBezTo>
                          <a:pt x="42274" y="84502"/>
                          <a:pt x="42217" y="84502"/>
                          <a:pt x="42171" y="84502"/>
                        </a:cubicBezTo>
                        <a:close/>
                        <a:moveTo>
                          <a:pt x="43203" y="22931"/>
                        </a:moveTo>
                        <a:cubicBezTo>
                          <a:pt x="43169" y="22931"/>
                          <a:pt x="43123" y="22931"/>
                          <a:pt x="43077" y="22931"/>
                        </a:cubicBezTo>
                        <a:cubicBezTo>
                          <a:pt x="35383" y="22966"/>
                          <a:pt x="22886" y="33892"/>
                          <a:pt x="22932" y="42480"/>
                        </a:cubicBezTo>
                        <a:cubicBezTo>
                          <a:pt x="22978" y="51171"/>
                          <a:pt x="34764" y="61571"/>
                          <a:pt x="42171" y="61571"/>
                        </a:cubicBezTo>
                        <a:cubicBezTo>
                          <a:pt x="42183" y="61571"/>
                          <a:pt x="42194" y="61571"/>
                          <a:pt x="42205" y="61571"/>
                        </a:cubicBezTo>
                        <a:cubicBezTo>
                          <a:pt x="43295" y="61571"/>
                          <a:pt x="45313" y="61559"/>
                          <a:pt x="47491" y="57638"/>
                        </a:cubicBezTo>
                        <a:cubicBezTo>
                          <a:pt x="49578" y="53889"/>
                          <a:pt x="50759" y="48316"/>
                          <a:pt x="50724" y="42343"/>
                        </a:cubicBezTo>
                        <a:cubicBezTo>
                          <a:pt x="50701" y="36014"/>
                          <a:pt x="49578" y="30258"/>
                          <a:pt x="47652" y="26543"/>
                        </a:cubicBezTo>
                        <a:cubicBezTo>
                          <a:pt x="45851" y="23057"/>
                          <a:pt x="44281" y="22931"/>
                          <a:pt x="43203" y="22931"/>
                        </a:cubicBezTo>
                        <a:close/>
                      </a:path>
                    </a:pathLst>
                  </a:custGeom>
                  <a:solidFill>
                    <a:schemeClr val="accent1"/>
                  </a:solidFill>
                  <a:ln w="1145" cap="flat">
                    <a:noFill/>
                    <a:prstDash val="solid"/>
                    <a:miter/>
                  </a:ln>
                </p:spPr>
                <p:txBody>
                  <a:bodyPr rtlCol="0" anchor="ctr"/>
                  <a:lstStyle/>
                  <a:p>
                    <a:endParaRPr lang="en-GB" dirty="0"/>
                  </a:p>
                </p:txBody>
              </p:sp>
              <p:sp>
                <p:nvSpPr>
                  <p:cNvPr id="170" name="Freeform: Shape 169">
                    <a:extLst>
                      <a:ext uri="{FF2B5EF4-FFF2-40B4-BE49-F238E27FC236}">
                        <a16:creationId xmlns:a16="http://schemas.microsoft.com/office/drawing/2014/main" id="{C57AC9DF-95A2-4D92-A6E2-47858682D1A0}"/>
                      </a:ext>
                    </a:extLst>
                  </p:cNvPr>
                  <p:cNvSpPr/>
                  <p:nvPr/>
                </p:nvSpPr>
                <p:spPr>
                  <a:xfrm>
                    <a:off x="3951350" y="3283103"/>
                    <a:ext cx="66409" cy="23149"/>
                  </a:xfrm>
                  <a:custGeom>
                    <a:avLst/>
                    <a:gdLst>
                      <a:gd name="connsiteX0" fmla="*/ 11466 w 66409"/>
                      <a:gd name="connsiteY0" fmla="*/ 23149 h 23149"/>
                      <a:gd name="connsiteX1" fmla="*/ 0 w 66409"/>
                      <a:gd name="connsiteY1" fmla="*/ 11741 h 23149"/>
                      <a:gd name="connsiteX2" fmla="*/ 11409 w 66409"/>
                      <a:gd name="connsiteY2" fmla="*/ 218 h 23149"/>
                      <a:gd name="connsiteX3" fmla="*/ 54886 w 66409"/>
                      <a:gd name="connsiteY3" fmla="*/ 0 h 23149"/>
                      <a:gd name="connsiteX4" fmla="*/ 54944 w 66409"/>
                      <a:gd name="connsiteY4" fmla="*/ 0 h 23149"/>
                      <a:gd name="connsiteX5" fmla="*/ 66409 w 66409"/>
                      <a:gd name="connsiteY5" fmla="*/ 11409 h 23149"/>
                      <a:gd name="connsiteX6" fmla="*/ 55001 w 66409"/>
                      <a:gd name="connsiteY6" fmla="*/ 22931 h 23149"/>
                      <a:gd name="connsiteX7" fmla="*/ 11523 w 66409"/>
                      <a:gd name="connsiteY7" fmla="*/ 23149 h 23149"/>
                      <a:gd name="connsiteX8" fmla="*/ 11466 w 66409"/>
                      <a:gd name="connsiteY8" fmla="*/ 23149 h 2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09" h="23149">
                        <a:moveTo>
                          <a:pt x="11466" y="23149"/>
                        </a:moveTo>
                        <a:cubicBezTo>
                          <a:pt x="5160" y="23149"/>
                          <a:pt x="35" y="18058"/>
                          <a:pt x="0" y="11741"/>
                        </a:cubicBezTo>
                        <a:cubicBezTo>
                          <a:pt x="-34" y="5400"/>
                          <a:pt x="5080" y="252"/>
                          <a:pt x="11409" y="218"/>
                        </a:cubicBezTo>
                        <a:lnTo>
                          <a:pt x="54886" y="0"/>
                        </a:lnTo>
                        <a:cubicBezTo>
                          <a:pt x="54898" y="0"/>
                          <a:pt x="54921" y="0"/>
                          <a:pt x="54944" y="0"/>
                        </a:cubicBezTo>
                        <a:cubicBezTo>
                          <a:pt x="61250" y="0"/>
                          <a:pt x="66375" y="5091"/>
                          <a:pt x="66409" y="11409"/>
                        </a:cubicBezTo>
                        <a:cubicBezTo>
                          <a:pt x="66444" y="17749"/>
                          <a:pt x="61330" y="22897"/>
                          <a:pt x="55001" y="22931"/>
                        </a:cubicBezTo>
                        <a:lnTo>
                          <a:pt x="11523" y="23149"/>
                        </a:lnTo>
                        <a:cubicBezTo>
                          <a:pt x="11512" y="23149"/>
                          <a:pt x="11489" y="23149"/>
                          <a:pt x="11466" y="23149"/>
                        </a:cubicBezTo>
                        <a:close/>
                      </a:path>
                    </a:pathLst>
                  </a:custGeom>
                  <a:solidFill>
                    <a:schemeClr val="accent1"/>
                  </a:solidFill>
                  <a:ln w="1145" cap="flat">
                    <a:noFill/>
                    <a:prstDash val="solid"/>
                    <a:miter/>
                  </a:ln>
                </p:spPr>
                <p:txBody>
                  <a:bodyPr rtlCol="0" anchor="ctr"/>
                  <a:lstStyle/>
                  <a:p>
                    <a:endParaRPr lang="en-GB" dirty="0"/>
                  </a:p>
                </p:txBody>
              </p:sp>
            </p:grpSp>
            <p:grpSp>
              <p:nvGrpSpPr>
                <p:cNvPr id="141" name="Graphic 48">
                  <a:extLst>
                    <a:ext uri="{FF2B5EF4-FFF2-40B4-BE49-F238E27FC236}">
                      <a16:creationId xmlns:a16="http://schemas.microsoft.com/office/drawing/2014/main" id="{B15CA61E-8729-45A7-ABE8-F784C51B9908}"/>
                    </a:ext>
                  </a:extLst>
                </p:cNvPr>
                <p:cNvGrpSpPr/>
                <p:nvPr/>
              </p:nvGrpSpPr>
              <p:grpSpPr>
                <a:xfrm>
                  <a:off x="3636205" y="3051347"/>
                  <a:ext cx="377483" cy="157584"/>
                  <a:chOff x="3636205" y="3051347"/>
                  <a:chExt cx="377483" cy="157584"/>
                </a:xfrm>
                <a:solidFill>
                  <a:schemeClr val="accent1"/>
                </a:solidFill>
              </p:grpSpPr>
              <p:grpSp>
                <p:nvGrpSpPr>
                  <p:cNvPr id="160" name="Graphic 48">
                    <a:extLst>
                      <a:ext uri="{FF2B5EF4-FFF2-40B4-BE49-F238E27FC236}">
                        <a16:creationId xmlns:a16="http://schemas.microsoft.com/office/drawing/2014/main" id="{E27755E2-0F24-477A-B527-0F3CAEE7B1C7}"/>
                      </a:ext>
                    </a:extLst>
                  </p:cNvPr>
                  <p:cNvGrpSpPr/>
                  <p:nvPr/>
                </p:nvGrpSpPr>
                <p:grpSpPr>
                  <a:xfrm>
                    <a:off x="3782725" y="3051347"/>
                    <a:ext cx="84490" cy="117144"/>
                    <a:chOff x="3782725" y="3051347"/>
                    <a:chExt cx="84490" cy="117144"/>
                  </a:xfrm>
                  <a:solidFill>
                    <a:schemeClr val="accent1"/>
                  </a:solidFill>
                </p:grpSpPr>
                <p:sp>
                  <p:nvSpPr>
                    <p:cNvPr id="167" name="Freeform: Shape 166">
                      <a:extLst>
                        <a:ext uri="{FF2B5EF4-FFF2-40B4-BE49-F238E27FC236}">
                          <a16:creationId xmlns:a16="http://schemas.microsoft.com/office/drawing/2014/main" id="{37380753-6E59-4ACE-9228-B3DF2719EAFB}"/>
                        </a:ext>
                      </a:extLst>
                    </p:cNvPr>
                    <p:cNvSpPr/>
                    <p:nvPr/>
                  </p:nvSpPr>
                  <p:spPr>
                    <a:xfrm>
                      <a:off x="3782725" y="3051347"/>
                      <a:ext cx="84490" cy="73666"/>
                    </a:xfrm>
                    <a:custGeom>
                      <a:avLst/>
                      <a:gdLst>
                        <a:gd name="connsiteX0" fmla="*/ 42113 w 84490"/>
                        <a:gd name="connsiteY0" fmla="*/ 73667 h 73666"/>
                        <a:gd name="connsiteX1" fmla="*/ 0 w 84490"/>
                        <a:gd name="connsiteY1" fmla="*/ 31542 h 73666"/>
                        <a:gd name="connsiteX2" fmla="*/ 42113 w 84490"/>
                        <a:gd name="connsiteY2" fmla="*/ 0 h 73666"/>
                        <a:gd name="connsiteX3" fmla="*/ 84491 w 84490"/>
                        <a:gd name="connsiteY3" fmla="*/ 30487 h 73666"/>
                        <a:gd name="connsiteX4" fmla="*/ 42113 w 84490"/>
                        <a:gd name="connsiteY4" fmla="*/ 73667 h 73666"/>
                        <a:gd name="connsiteX5" fmla="*/ 42113 w 84490"/>
                        <a:gd name="connsiteY5" fmla="*/ 22931 h 73666"/>
                        <a:gd name="connsiteX6" fmla="*/ 22931 w 84490"/>
                        <a:gd name="connsiteY6" fmla="*/ 31542 h 73666"/>
                        <a:gd name="connsiteX7" fmla="*/ 42113 w 84490"/>
                        <a:gd name="connsiteY7" fmla="*/ 50736 h 73666"/>
                        <a:gd name="connsiteX8" fmla="*/ 61559 w 84490"/>
                        <a:gd name="connsiteY8" fmla="*/ 30487 h 73666"/>
                        <a:gd name="connsiteX9" fmla="*/ 42113 w 84490"/>
                        <a:gd name="connsiteY9" fmla="*/ 22931 h 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490" h="73666">
                          <a:moveTo>
                            <a:pt x="42113" y="73667"/>
                          </a:moveTo>
                          <a:cubicBezTo>
                            <a:pt x="21257" y="73667"/>
                            <a:pt x="0" y="52410"/>
                            <a:pt x="0" y="31542"/>
                          </a:cubicBezTo>
                          <a:cubicBezTo>
                            <a:pt x="0" y="12968"/>
                            <a:pt x="17313" y="0"/>
                            <a:pt x="42113" y="0"/>
                          </a:cubicBezTo>
                          <a:cubicBezTo>
                            <a:pt x="67865" y="0"/>
                            <a:pt x="84491" y="11970"/>
                            <a:pt x="84491" y="30487"/>
                          </a:cubicBezTo>
                          <a:cubicBezTo>
                            <a:pt x="84491" y="51469"/>
                            <a:pt x="62706" y="73667"/>
                            <a:pt x="42113" y="73667"/>
                          </a:cubicBezTo>
                          <a:close/>
                          <a:moveTo>
                            <a:pt x="42113" y="22931"/>
                          </a:moveTo>
                          <a:cubicBezTo>
                            <a:pt x="34145" y="22931"/>
                            <a:pt x="22931" y="25603"/>
                            <a:pt x="22931" y="31542"/>
                          </a:cubicBezTo>
                          <a:cubicBezTo>
                            <a:pt x="22931" y="38949"/>
                            <a:pt x="33411" y="50736"/>
                            <a:pt x="42113" y="50736"/>
                          </a:cubicBezTo>
                          <a:cubicBezTo>
                            <a:pt x="50701" y="50736"/>
                            <a:pt x="61559" y="38181"/>
                            <a:pt x="61559" y="30487"/>
                          </a:cubicBezTo>
                          <a:cubicBezTo>
                            <a:pt x="61559" y="24984"/>
                            <a:pt x="49635" y="22931"/>
                            <a:pt x="42113" y="22931"/>
                          </a:cubicBezTo>
                          <a:close/>
                        </a:path>
                      </a:pathLst>
                    </a:custGeom>
                    <a:solidFill>
                      <a:schemeClr val="accent1"/>
                    </a:solidFill>
                    <a:ln w="1145" cap="flat">
                      <a:noFill/>
                      <a:prstDash val="solid"/>
                      <a:miter/>
                    </a:ln>
                  </p:spPr>
                  <p:txBody>
                    <a:bodyPr rtlCol="0" anchor="ctr"/>
                    <a:lstStyle/>
                    <a:p>
                      <a:endParaRPr lang="en-GB" dirty="0"/>
                    </a:p>
                  </p:txBody>
                </p:sp>
                <p:sp>
                  <p:nvSpPr>
                    <p:cNvPr id="168" name="Freeform: Shape 167">
                      <a:extLst>
                        <a:ext uri="{FF2B5EF4-FFF2-40B4-BE49-F238E27FC236}">
                          <a16:creationId xmlns:a16="http://schemas.microsoft.com/office/drawing/2014/main" id="{31A6E8C0-DF5D-4388-9B6B-73D6D8E0E65B}"/>
                        </a:ext>
                      </a:extLst>
                    </p:cNvPr>
                    <p:cNvSpPr/>
                    <p:nvPr/>
                  </p:nvSpPr>
                  <p:spPr>
                    <a:xfrm>
                      <a:off x="3813350" y="3102083"/>
                      <a:ext cx="22931" cy="66409"/>
                    </a:xfrm>
                    <a:custGeom>
                      <a:avLst/>
                      <a:gdLst>
                        <a:gd name="connsiteX0" fmla="*/ 11466 w 22931"/>
                        <a:gd name="connsiteY0" fmla="*/ 66409 h 66409"/>
                        <a:gd name="connsiteX1" fmla="*/ 0 w 22931"/>
                        <a:gd name="connsiteY1" fmla="*/ 54943 h 66409"/>
                        <a:gd name="connsiteX2" fmla="*/ 0 w 22931"/>
                        <a:gd name="connsiteY2" fmla="*/ 11466 h 66409"/>
                        <a:gd name="connsiteX3" fmla="*/ 11466 w 22931"/>
                        <a:gd name="connsiteY3" fmla="*/ 0 h 66409"/>
                        <a:gd name="connsiteX4" fmla="*/ 22931 w 22931"/>
                        <a:gd name="connsiteY4" fmla="*/ 11466 h 66409"/>
                        <a:gd name="connsiteX5" fmla="*/ 22931 w 22931"/>
                        <a:gd name="connsiteY5" fmla="*/ 54943 h 66409"/>
                        <a:gd name="connsiteX6" fmla="*/ 11466 w 22931"/>
                        <a:gd name="connsiteY6" fmla="*/ 66409 h 66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6409">
                          <a:moveTo>
                            <a:pt x="11466" y="66409"/>
                          </a:moveTo>
                          <a:cubicBezTo>
                            <a:pt x="5137" y="66409"/>
                            <a:pt x="0" y="61284"/>
                            <a:pt x="0" y="54943"/>
                          </a:cubicBezTo>
                          <a:lnTo>
                            <a:pt x="0" y="11466"/>
                          </a:lnTo>
                          <a:cubicBezTo>
                            <a:pt x="0" y="5125"/>
                            <a:pt x="5137" y="0"/>
                            <a:pt x="11466" y="0"/>
                          </a:cubicBezTo>
                          <a:cubicBezTo>
                            <a:pt x="17795" y="0"/>
                            <a:pt x="22931" y="5125"/>
                            <a:pt x="22931" y="11466"/>
                          </a:cubicBezTo>
                          <a:lnTo>
                            <a:pt x="22931" y="54943"/>
                          </a:lnTo>
                          <a:cubicBezTo>
                            <a:pt x="22931" y="61272"/>
                            <a:pt x="17806" y="66409"/>
                            <a:pt x="11466" y="66409"/>
                          </a:cubicBezTo>
                          <a:close/>
                        </a:path>
                      </a:pathLst>
                    </a:custGeom>
                    <a:solidFill>
                      <a:schemeClr val="accent1"/>
                    </a:solidFill>
                    <a:ln w="1145" cap="flat">
                      <a:noFill/>
                      <a:prstDash val="solid"/>
                      <a:miter/>
                    </a:ln>
                  </p:spPr>
                  <p:txBody>
                    <a:bodyPr rtlCol="0" anchor="ctr"/>
                    <a:lstStyle/>
                    <a:p>
                      <a:endParaRPr lang="en-GB" dirty="0"/>
                    </a:p>
                  </p:txBody>
                </p:sp>
              </p:grpSp>
              <p:grpSp>
                <p:nvGrpSpPr>
                  <p:cNvPr id="161" name="Graphic 48">
                    <a:extLst>
                      <a:ext uri="{FF2B5EF4-FFF2-40B4-BE49-F238E27FC236}">
                        <a16:creationId xmlns:a16="http://schemas.microsoft.com/office/drawing/2014/main" id="{279ED8C8-ED71-453E-B5AE-18561EA40809}"/>
                      </a:ext>
                    </a:extLst>
                  </p:cNvPr>
                  <p:cNvGrpSpPr/>
                  <p:nvPr/>
                </p:nvGrpSpPr>
                <p:grpSpPr>
                  <a:xfrm>
                    <a:off x="3911138" y="3107183"/>
                    <a:ext cx="102550" cy="101747"/>
                    <a:chOff x="3911138" y="3107183"/>
                    <a:chExt cx="102550" cy="101747"/>
                  </a:xfrm>
                  <a:solidFill>
                    <a:schemeClr val="accent1"/>
                  </a:solidFill>
                </p:grpSpPr>
                <p:sp>
                  <p:nvSpPr>
                    <p:cNvPr id="165" name="Freeform: Shape 164">
                      <a:extLst>
                        <a:ext uri="{FF2B5EF4-FFF2-40B4-BE49-F238E27FC236}">
                          <a16:creationId xmlns:a16="http://schemas.microsoft.com/office/drawing/2014/main" id="{4F6C1F35-404D-49E2-A402-CC86AB886CBE}"/>
                        </a:ext>
                      </a:extLst>
                    </p:cNvPr>
                    <p:cNvSpPr/>
                    <p:nvPr/>
                  </p:nvSpPr>
                  <p:spPr>
                    <a:xfrm>
                      <a:off x="3934230" y="3107183"/>
                      <a:ext cx="79458" cy="78414"/>
                    </a:xfrm>
                    <a:custGeom>
                      <a:avLst/>
                      <a:gdLst>
                        <a:gd name="connsiteX0" fmla="*/ 40671 w 79458"/>
                        <a:gd name="connsiteY0" fmla="*/ 78415 h 78414"/>
                        <a:gd name="connsiteX1" fmla="*/ 11021 w 79458"/>
                        <a:gd name="connsiteY1" fmla="*/ 67660 h 78414"/>
                        <a:gd name="connsiteX2" fmla="*/ 2 w 79458"/>
                        <a:gd name="connsiteY2" fmla="*/ 37540 h 78414"/>
                        <a:gd name="connsiteX3" fmla="*/ 11021 w 79458"/>
                        <a:gd name="connsiteY3" fmla="*/ 8108 h 78414"/>
                        <a:gd name="connsiteX4" fmla="*/ 63109 w 79458"/>
                        <a:gd name="connsiteY4" fmla="*/ 15572 h 78414"/>
                        <a:gd name="connsiteX5" fmla="*/ 71514 w 79458"/>
                        <a:gd name="connsiteY5" fmla="*/ 67099 h 78414"/>
                        <a:gd name="connsiteX6" fmla="*/ 71514 w 79458"/>
                        <a:gd name="connsiteY6" fmla="*/ 67099 h 78414"/>
                        <a:gd name="connsiteX7" fmla="*/ 40671 w 79458"/>
                        <a:gd name="connsiteY7" fmla="*/ 78415 h 78414"/>
                        <a:gd name="connsiteX8" fmla="*/ 63408 w 79458"/>
                        <a:gd name="connsiteY8" fmla="*/ 59004 h 78414"/>
                        <a:gd name="connsiteX9" fmla="*/ 63522 w 79458"/>
                        <a:gd name="connsiteY9" fmla="*/ 59004 h 78414"/>
                        <a:gd name="connsiteX10" fmla="*/ 63408 w 79458"/>
                        <a:gd name="connsiteY10" fmla="*/ 59004 h 78414"/>
                        <a:gd name="connsiteX11" fmla="*/ 30983 w 79458"/>
                        <a:gd name="connsiteY11" fmla="*/ 22921 h 78414"/>
                        <a:gd name="connsiteX12" fmla="*/ 27245 w 79458"/>
                        <a:gd name="connsiteY12" fmla="*/ 24320 h 78414"/>
                        <a:gd name="connsiteX13" fmla="*/ 22945 w 79458"/>
                        <a:gd name="connsiteY13" fmla="*/ 37758 h 78414"/>
                        <a:gd name="connsiteX14" fmla="*/ 27245 w 79458"/>
                        <a:gd name="connsiteY14" fmla="*/ 51448 h 78414"/>
                        <a:gd name="connsiteX15" fmla="*/ 55301 w 79458"/>
                        <a:gd name="connsiteY15" fmla="*/ 50886 h 78414"/>
                        <a:gd name="connsiteX16" fmla="*/ 46897 w 79458"/>
                        <a:gd name="connsiteY16" fmla="*/ 31784 h 78414"/>
                        <a:gd name="connsiteX17" fmla="*/ 30983 w 79458"/>
                        <a:gd name="connsiteY17" fmla="*/ 22921 h 78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458" h="78414">
                          <a:moveTo>
                            <a:pt x="40671" y="78415"/>
                          </a:moveTo>
                          <a:cubicBezTo>
                            <a:pt x="29389" y="78415"/>
                            <a:pt x="18198" y="74838"/>
                            <a:pt x="11021" y="67660"/>
                          </a:cubicBezTo>
                          <a:cubicBezTo>
                            <a:pt x="3901" y="60540"/>
                            <a:pt x="-112" y="49567"/>
                            <a:pt x="2" y="37540"/>
                          </a:cubicBezTo>
                          <a:cubicBezTo>
                            <a:pt x="117" y="25719"/>
                            <a:pt x="4130" y="14987"/>
                            <a:pt x="11021" y="8108"/>
                          </a:cubicBezTo>
                          <a:cubicBezTo>
                            <a:pt x="24172" y="-5032"/>
                            <a:pt x="45578" y="-1959"/>
                            <a:pt x="63109" y="15572"/>
                          </a:cubicBezTo>
                          <a:cubicBezTo>
                            <a:pt x="81317" y="33779"/>
                            <a:pt x="84608" y="54005"/>
                            <a:pt x="71514" y="67099"/>
                          </a:cubicBezTo>
                          <a:lnTo>
                            <a:pt x="71514" y="67099"/>
                          </a:lnTo>
                          <a:cubicBezTo>
                            <a:pt x="63992" y="74632"/>
                            <a:pt x="52286" y="78415"/>
                            <a:pt x="40671" y="78415"/>
                          </a:cubicBezTo>
                          <a:close/>
                          <a:moveTo>
                            <a:pt x="63408" y="59004"/>
                          </a:moveTo>
                          <a:lnTo>
                            <a:pt x="63522" y="59004"/>
                          </a:lnTo>
                          <a:lnTo>
                            <a:pt x="63408" y="59004"/>
                          </a:lnTo>
                          <a:close/>
                          <a:moveTo>
                            <a:pt x="30983" y="22921"/>
                          </a:moveTo>
                          <a:cubicBezTo>
                            <a:pt x="29515" y="22921"/>
                            <a:pt x="28231" y="23334"/>
                            <a:pt x="27245" y="24320"/>
                          </a:cubicBezTo>
                          <a:cubicBezTo>
                            <a:pt x="24688" y="26888"/>
                            <a:pt x="22991" y="32163"/>
                            <a:pt x="22945" y="37758"/>
                          </a:cubicBezTo>
                          <a:cubicBezTo>
                            <a:pt x="22888" y="43502"/>
                            <a:pt x="24539" y="48742"/>
                            <a:pt x="27245" y="51448"/>
                          </a:cubicBezTo>
                          <a:cubicBezTo>
                            <a:pt x="33299" y="57490"/>
                            <a:pt x="49855" y="56309"/>
                            <a:pt x="55301" y="50886"/>
                          </a:cubicBezTo>
                          <a:cubicBezTo>
                            <a:pt x="59200" y="46988"/>
                            <a:pt x="52206" y="37104"/>
                            <a:pt x="46897" y="31784"/>
                          </a:cubicBezTo>
                          <a:cubicBezTo>
                            <a:pt x="42586" y="27485"/>
                            <a:pt x="35810" y="22921"/>
                            <a:pt x="30983" y="22921"/>
                          </a:cubicBezTo>
                          <a:close/>
                        </a:path>
                      </a:pathLst>
                    </a:custGeom>
                    <a:solidFill>
                      <a:schemeClr val="accent1"/>
                    </a:solidFill>
                    <a:ln w="1145" cap="flat">
                      <a:noFill/>
                      <a:prstDash val="solid"/>
                      <a:miter/>
                    </a:ln>
                  </p:spPr>
                  <p:txBody>
                    <a:bodyPr rtlCol="0" anchor="ctr"/>
                    <a:lstStyle/>
                    <a:p>
                      <a:endParaRPr lang="en-GB" dirty="0"/>
                    </a:p>
                  </p:txBody>
                </p:sp>
                <p:sp>
                  <p:nvSpPr>
                    <p:cNvPr id="166" name="Freeform: Shape 165">
                      <a:extLst>
                        <a:ext uri="{FF2B5EF4-FFF2-40B4-BE49-F238E27FC236}">
                          <a16:creationId xmlns:a16="http://schemas.microsoft.com/office/drawing/2014/main" id="{1ECF65D9-1C8A-482C-B4F2-625C19984722}"/>
                        </a:ext>
                      </a:extLst>
                    </p:cNvPr>
                    <p:cNvSpPr/>
                    <p:nvPr/>
                  </p:nvSpPr>
                  <p:spPr>
                    <a:xfrm>
                      <a:off x="3911138" y="3155258"/>
                      <a:ext cx="53688" cy="53673"/>
                    </a:xfrm>
                    <a:custGeom>
                      <a:avLst/>
                      <a:gdLst>
                        <a:gd name="connsiteX0" fmla="*/ 11469 w 53688"/>
                        <a:gd name="connsiteY0" fmla="*/ 53674 h 53673"/>
                        <a:gd name="connsiteX1" fmla="*/ 3362 w 53688"/>
                        <a:gd name="connsiteY1" fmla="*/ 50314 h 53673"/>
                        <a:gd name="connsiteX2" fmla="*/ 3362 w 53688"/>
                        <a:gd name="connsiteY2" fmla="*/ 34102 h 53673"/>
                        <a:gd name="connsiteX3" fmla="*/ 34113 w 53688"/>
                        <a:gd name="connsiteY3" fmla="*/ 3362 h 53673"/>
                        <a:gd name="connsiteX4" fmla="*/ 50326 w 53688"/>
                        <a:gd name="connsiteY4" fmla="*/ 3362 h 53673"/>
                        <a:gd name="connsiteX5" fmla="*/ 50326 w 53688"/>
                        <a:gd name="connsiteY5" fmla="*/ 19575 h 53673"/>
                        <a:gd name="connsiteX6" fmla="*/ 19575 w 53688"/>
                        <a:gd name="connsiteY6" fmla="*/ 50314 h 53673"/>
                        <a:gd name="connsiteX7" fmla="*/ 11469 w 53688"/>
                        <a:gd name="connsiteY7" fmla="*/ 53674 h 53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8" h="53673">
                          <a:moveTo>
                            <a:pt x="11469" y="53674"/>
                          </a:moveTo>
                          <a:cubicBezTo>
                            <a:pt x="8533" y="53674"/>
                            <a:pt x="5598" y="52550"/>
                            <a:pt x="3362" y="50314"/>
                          </a:cubicBezTo>
                          <a:cubicBezTo>
                            <a:pt x="-1121" y="45831"/>
                            <a:pt x="-1121" y="38585"/>
                            <a:pt x="3362" y="34102"/>
                          </a:cubicBezTo>
                          <a:lnTo>
                            <a:pt x="34113" y="3362"/>
                          </a:lnTo>
                          <a:cubicBezTo>
                            <a:pt x="38596" y="-1121"/>
                            <a:pt x="45843" y="-1121"/>
                            <a:pt x="50326" y="3362"/>
                          </a:cubicBezTo>
                          <a:cubicBezTo>
                            <a:pt x="54809" y="7845"/>
                            <a:pt x="54809" y="15092"/>
                            <a:pt x="50326" y="19575"/>
                          </a:cubicBezTo>
                          <a:lnTo>
                            <a:pt x="19575" y="50314"/>
                          </a:lnTo>
                          <a:cubicBezTo>
                            <a:pt x="17339" y="52550"/>
                            <a:pt x="14404" y="53674"/>
                            <a:pt x="11469" y="53674"/>
                          </a:cubicBezTo>
                          <a:close/>
                        </a:path>
                      </a:pathLst>
                    </a:custGeom>
                    <a:solidFill>
                      <a:schemeClr val="accent1"/>
                    </a:solidFill>
                    <a:ln w="1145" cap="flat">
                      <a:noFill/>
                      <a:prstDash val="solid"/>
                      <a:miter/>
                    </a:ln>
                  </p:spPr>
                  <p:txBody>
                    <a:bodyPr rtlCol="0" anchor="ctr"/>
                    <a:lstStyle/>
                    <a:p>
                      <a:endParaRPr lang="en-GB" dirty="0"/>
                    </a:p>
                  </p:txBody>
                </p:sp>
              </p:grpSp>
              <p:grpSp>
                <p:nvGrpSpPr>
                  <p:cNvPr id="162" name="Graphic 48">
                    <a:extLst>
                      <a:ext uri="{FF2B5EF4-FFF2-40B4-BE49-F238E27FC236}">
                        <a16:creationId xmlns:a16="http://schemas.microsoft.com/office/drawing/2014/main" id="{B7549B9A-8BF7-4721-B571-3B2640D66E79}"/>
                      </a:ext>
                    </a:extLst>
                  </p:cNvPr>
                  <p:cNvGrpSpPr/>
                  <p:nvPr/>
                </p:nvGrpSpPr>
                <p:grpSpPr>
                  <a:xfrm>
                    <a:off x="3636205" y="3106799"/>
                    <a:ext cx="102551" cy="101823"/>
                    <a:chOff x="3636205" y="3106799"/>
                    <a:chExt cx="102551" cy="101823"/>
                  </a:xfrm>
                  <a:solidFill>
                    <a:schemeClr val="accent1"/>
                  </a:solidFill>
                </p:grpSpPr>
                <p:sp>
                  <p:nvSpPr>
                    <p:cNvPr id="163" name="Freeform: Shape 162">
                      <a:extLst>
                        <a:ext uri="{FF2B5EF4-FFF2-40B4-BE49-F238E27FC236}">
                          <a16:creationId xmlns:a16="http://schemas.microsoft.com/office/drawing/2014/main" id="{684C6E72-01E3-456B-B2BD-546AF4E49FCE}"/>
                        </a:ext>
                      </a:extLst>
                    </p:cNvPr>
                    <p:cNvSpPr/>
                    <p:nvPr/>
                  </p:nvSpPr>
                  <p:spPr>
                    <a:xfrm>
                      <a:off x="3636205" y="3106799"/>
                      <a:ext cx="79448" cy="78479"/>
                    </a:xfrm>
                    <a:custGeom>
                      <a:avLst/>
                      <a:gdLst>
                        <a:gd name="connsiteX0" fmla="*/ 38789 w 79448"/>
                        <a:gd name="connsiteY0" fmla="*/ 78479 h 78479"/>
                        <a:gd name="connsiteX1" fmla="*/ 7946 w 79448"/>
                        <a:gd name="connsiteY1" fmla="*/ 67174 h 78479"/>
                        <a:gd name="connsiteX2" fmla="*/ 7946 w 79448"/>
                        <a:gd name="connsiteY2" fmla="*/ 67174 h 78479"/>
                        <a:gd name="connsiteX3" fmla="*/ 16350 w 79448"/>
                        <a:gd name="connsiteY3" fmla="*/ 15647 h 78479"/>
                        <a:gd name="connsiteX4" fmla="*/ 39534 w 79448"/>
                        <a:gd name="connsiteY4" fmla="*/ 1315 h 78479"/>
                        <a:gd name="connsiteX5" fmla="*/ 68427 w 79448"/>
                        <a:gd name="connsiteY5" fmla="*/ 8183 h 78479"/>
                        <a:gd name="connsiteX6" fmla="*/ 79446 w 79448"/>
                        <a:gd name="connsiteY6" fmla="*/ 37615 h 78479"/>
                        <a:gd name="connsiteX7" fmla="*/ 68427 w 79448"/>
                        <a:gd name="connsiteY7" fmla="*/ 67736 h 78479"/>
                        <a:gd name="connsiteX8" fmla="*/ 38789 w 79448"/>
                        <a:gd name="connsiteY8" fmla="*/ 78479 h 78479"/>
                        <a:gd name="connsiteX9" fmla="*/ 24147 w 79448"/>
                        <a:gd name="connsiteY9" fmla="*/ 50950 h 78479"/>
                        <a:gd name="connsiteX10" fmla="*/ 52215 w 79448"/>
                        <a:gd name="connsiteY10" fmla="*/ 51512 h 78479"/>
                        <a:gd name="connsiteX11" fmla="*/ 56514 w 79448"/>
                        <a:gd name="connsiteY11" fmla="*/ 37822 h 78479"/>
                        <a:gd name="connsiteX12" fmla="*/ 52215 w 79448"/>
                        <a:gd name="connsiteY12" fmla="*/ 24384 h 78479"/>
                        <a:gd name="connsiteX13" fmla="*/ 45702 w 79448"/>
                        <a:gd name="connsiteY13" fmla="*/ 23386 h 78479"/>
                        <a:gd name="connsiteX14" fmla="*/ 32563 w 79448"/>
                        <a:gd name="connsiteY14" fmla="*/ 31848 h 78479"/>
                        <a:gd name="connsiteX15" fmla="*/ 24147 w 79448"/>
                        <a:gd name="connsiteY15" fmla="*/ 50950 h 7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448" h="78479">
                          <a:moveTo>
                            <a:pt x="38789" y="78479"/>
                          </a:moveTo>
                          <a:cubicBezTo>
                            <a:pt x="27174" y="78479"/>
                            <a:pt x="15467" y="74695"/>
                            <a:pt x="7946" y="67174"/>
                          </a:cubicBezTo>
                          <a:lnTo>
                            <a:pt x="7946" y="67174"/>
                          </a:lnTo>
                          <a:cubicBezTo>
                            <a:pt x="-5159" y="54069"/>
                            <a:pt x="-1846" y="33855"/>
                            <a:pt x="16350" y="15647"/>
                          </a:cubicBezTo>
                          <a:cubicBezTo>
                            <a:pt x="23379" y="8619"/>
                            <a:pt x="31611" y="3516"/>
                            <a:pt x="39534" y="1315"/>
                          </a:cubicBezTo>
                          <a:cubicBezTo>
                            <a:pt x="50633" y="-1792"/>
                            <a:pt x="60906" y="650"/>
                            <a:pt x="68427" y="8183"/>
                          </a:cubicBezTo>
                          <a:cubicBezTo>
                            <a:pt x="75318" y="15074"/>
                            <a:pt x="79331" y="25794"/>
                            <a:pt x="79446" y="37615"/>
                          </a:cubicBezTo>
                          <a:cubicBezTo>
                            <a:pt x="79560" y="49643"/>
                            <a:pt x="75547" y="60627"/>
                            <a:pt x="68427" y="67736"/>
                          </a:cubicBezTo>
                          <a:cubicBezTo>
                            <a:pt x="61261" y="74902"/>
                            <a:pt x="50071" y="78479"/>
                            <a:pt x="38789" y="78479"/>
                          </a:cubicBezTo>
                          <a:close/>
                          <a:moveTo>
                            <a:pt x="24147" y="50950"/>
                          </a:moveTo>
                          <a:cubicBezTo>
                            <a:pt x="29593" y="56396"/>
                            <a:pt x="46149" y="57566"/>
                            <a:pt x="52215" y="51512"/>
                          </a:cubicBezTo>
                          <a:cubicBezTo>
                            <a:pt x="54921" y="48806"/>
                            <a:pt x="56572" y="43566"/>
                            <a:pt x="56514" y="37822"/>
                          </a:cubicBezTo>
                          <a:cubicBezTo>
                            <a:pt x="56469" y="32226"/>
                            <a:pt x="54783" y="26952"/>
                            <a:pt x="52215" y="24384"/>
                          </a:cubicBezTo>
                          <a:cubicBezTo>
                            <a:pt x="51458" y="23627"/>
                            <a:pt x="50025" y="22228"/>
                            <a:pt x="45702" y="23386"/>
                          </a:cubicBezTo>
                          <a:cubicBezTo>
                            <a:pt x="41575" y="24545"/>
                            <a:pt x="36794" y="27629"/>
                            <a:pt x="32563" y="31848"/>
                          </a:cubicBezTo>
                          <a:cubicBezTo>
                            <a:pt x="27243" y="37168"/>
                            <a:pt x="20260" y="47052"/>
                            <a:pt x="24147" y="50950"/>
                          </a:cubicBezTo>
                          <a:close/>
                        </a:path>
                      </a:pathLst>
                    </a:custGeom>
                    <a:solidFill>
                      <a:schemeClr val="accent1"/>
                    </a:solidFill>
                    <a:ln w="1145" cap="flat">
                      <a:noFill/>
                      <a:prstDash val="solid"/>
                      <a:miter/>
                    </a:ln>
                  </p:spPr>
                  <p:txBody>
                    <a:bodyPr rtlCol="0" anchor="ctr"/>
                    <a:lstStyle/>
                    <a:p>
                      <a:endParaRPr lang="en-GB" dirty="0"/>
                    </a:p>
                  </p:txBody>
                </p:sp>
                <p:sp>
                  <p:nvSpPr>
                    <p:cNvPr id="164" name="Freeform: Shape 163">
                      <a:extLst>
                        <a:ext uri="{FF2B5EF4-FFF2-40B4-BE49-F238E27FC236}">
                          <a16:creationId xmlns:a16="http://schemas.microsoft.com/office/drawing/2014/main" id="{05BD602D-1B58-4B5D-BFE5-04CDF8643284}"/>
                        </a:ext>
                      </a:extLst>
                    </p:cNvPr>
                    <p:cNvSpPr/>
                    <p:nvPr/>
                  </p:nvSpPr>
                  <p:spPr>
                    <a:xfrm>
                      <a:off x="3685069" y="3154936"/>
                      <a:ext cx="53688" cy="53685"/>
                    </a:xfrm>
                    <a:custGeom>
                      <a:avLst/>
                      <a:gdLst>
                        <a:gd name="connsiteX0" fmla="*/ 42220 w 53688"/>
                        <a:gd name="connsiteY0" fmla="*/ 53685 h 53685"/>
                        <a:gd name="connsiteX1" fmla="*/ 34113 w 53688"/>
                        <a:gd name="connsiteY1" fmla="*/ 50326 h 53685"/>
                        <a:gd name="connsiteX2" fmla="*/ 3362 w 53688"/>
                        <a:gd name="connsiteY2" fmla="*/ 19575 h 53685"/>
                        <a:gd name="connsiteX3" fmla="*/ 3362 w 53688"/>
                        <a:gd name="connsiteY3" fmla="*/ 3362 h 53685"/>
                        <a:gd name="connsiteX4" fmla="*/ 19575 w 53688"/>
                        <a:gd name="connsiteY4" fmla="*/ 3362 h 53685"/>
                        <a:gd name="connsiteX5" fmla="*/ 50326 w 53688"/>
                        <a:gd name="connsiteY5" fmla="*/ 34113 h 53685"/>
                        <a:gd name="connsiteX6" fmla="*/ 50326 w 53688"/>
                        <a:gd name="connsiteY6" fmla="*/ 50326 h 53685"/>
                        <a:gd name="connsiteX7" fmla="*/ 42220 w 53688"/>
                        <a:gd name="connsiteY7" fmla="*/ 53685 h 5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8" h="53685">
                          <a:moveTo>
                            <a:pt x="42220" y="53685"/>
                          </a:moveTo>
                          <a:cubicBezTo>
                            <a:pt x="39284" y="53685"/>
                            <a:pt x="36349" y="52562"/>
                            <a:pt x="34113" y="50326"/>
                          </a:cubicBezTo>
                          <a:lnTo>
                            <a:pt x="3362" y="19575"/>
                          </a:lnTo>
                          <a:cubicBezTo>
                            <a:pt x="-1121" y="15092"/>
                            <a:pt x="-1121" y="7845"/>
                            <a:pt x="3362" y="3362"/>
                          </a:cubicBezTo>
                          <a:cubicBezTo>
                            <a:pt x="7845" y="-1121"/>
                            <a:pt x="15092" y="-1121"/>
                            <a:pt x="19575" y="3362"/>
                          </a:cubicBezTo>
                          <a:lnTo>
                            <a:pt x="50326" y="34113"/>
                          </a:lnTo>
                          <a:cubicBezTo>
                            <a:pt x="54809" y="38596"/>
                            <a:pt x="54809" y="45843"/>
                            <a:pt x="50326" y="50326"/>
                          </a:cubicBezTo>
                          <a:cubicBezTo>
                            <a:pt x="48078" y="52562"/>
                            <a:pt x="45155" y="53685"/>
                            <a:pt x="42220" y="53685"/>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142" name="Graphic 48">
                  <a:extLst>
                    <a:ext uri="{FF2B5EF4-FFF2-40B4-BE49-F238E27FC236}">
                      <a16:creationId xmlns:a16="http://schemas.microsoft.com/office/drawing/2014/main" id="{59AC862E-5CFA-48C3-8315-AF252EF7B3BA}"/>
                    </a:ext>
                  </a:extLst>
                </p:cNvPr>
                <p:cNvGrpSpPr/>
                <p:nvPr/>
              </p:nvGrpSpPr>
              <p:grpSpPr>
                <a:xfrm>
                  <a:off x="3636199" y="3381028"/>
                  <a:ext cx="377494" cy="157609"/>
                  <a:chOff x="3636199" y="3381028"/>
                  <a:chExt cx="377494" cy="157609"/>
                </a:xfrm>
                <a:solidFill>
                  <a:schemeClr val="accent1"/>
                </a:solidFill>
              </p:grpSpPr>
              <p:grpSp>
                <p:nvGrpSpPr>
                  <p:cNvPr id="151" name="Graphic 48">
                    <a:extLst>
                      <a:ext uri="{FF2B5EF4-FFF2-40B4-BE49-F238E27FC236}">
                        <a16:creationId xmlns:a16="http://schemas.microsoft.com/office/drawing/2014/main" id="{B7BD964C-968B-4281-BE52-E234E0D213DF}"/>
                      </a:ext>
                    </a:extLst>
                  </p:cNvPr>
                  <p:cNvGrpSpPr/>
                  <p:nvPr/>
                </p:nvGrpSpPr>
                <p:grpSpPr>
                  <a:xfrm>
                    <a:off x="3782725" y="3421493"/>
                    <a:ext cx="84490" cy="117144"/>
                    <a:chOff x="3782725" y="3421493"/>
                    <a:chExt cx="84490" cy="117144"/>
                  </a:xfrm>
                  <a:solidFill>
                    <a:schemeClr val="accent1"/>
                  </a:solidFill>
                </p:grpSpPr>
                <p:sp>
                  <p:nvSpPr>
                    <p:cNvPr id="158" name="Freeform: Shape 157">
                      <a:extLst>
                        <a:ext uri="{FF2B5EF4-FFF2-40B4-BE49-F238E27FC236}">
                          <a16:creationId xmlns:a16="http://schemas.microsoft.com/office/drawing/2014/main" id="{924B2986-F1E7-4AE8-9EDC-0D0F453E0BE6}"/>
                        </a:ext>
                      </a:extLst>
                    </p:cNvPr>
                    <p:cNvSpPr/>
                    <p:nvPr/>
                  </p:nvSpPr>
                  <p:spPr>
                    <a:xfrm>
                      <a:off x="3782725" y="3464971"/>
                      <a:ext cx="84490" cy="73666"/>
                    </a:xfrm>
                    <a:custGeom>
                      <a:avLst/>
                      <a:gdLst>
                        <a:gd name="connsiteX0" fmla="*/ 42113 w 84490"/>
                        <a:gd name="connsiteY0" fmla="*/ 73667 h 73666"/>
                        <a:gd name="connsiteX1" fmla="*/ 0 w 84490"/>
                        <a:gd name="connsiteY1" fmla="*/ 42125 h 73666"/>
                        <a:gd name="connsiteX2" fmla="*/ 42113 w 84490"/>
                        <a:gd name="connsiteY2" fmla="*/ 0 h 73666"/>
                        <a:gd name="connsiteX3" fmla="*/ 84491 w 84490"/>
                        <a:gd name="connsiteY3" fmla="*/ 43180 h 73666"/>
                        <a:gd name="connsiteX4" fmla="*/ 42113 w 84490"/>
                        <a:gd name="connsiteY4" fmla="*/ 73667 h 73666"/>
                        <a:gd name="connsiteX5" fmla="*/ 42113 w 84490"/>
                        <a:gd name="connsiteY5" fmla="*/ 22931 h 73666"/>
                        <a:gd name="connsiteX6" fmla="*/ 22931 w 84490"/>
                        <a:gd name="connsiteY6" fmla="*/ 42125 h 73666"/>
                        <a:gd name="connsiteX7" fmla="*/ 42113 w 84490"/>
                        <a:gd name="connsiteY7" fmla="*/ 50736 h 73666"/>
                        <a:gd name="connsiteX8" fmla="*/ 61559 w 84490"/>
                        <a:gd name="connsiteY8" fmla="*/ 43180 h 73666"/>
                        <a:gd name="connsiteX9" fmla="*/ 42113 w 84490"/>
                        <a:gd name="connsiteY9" fmla="*/ 22931 h 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490" h="73666">
                          <a:moveTo>
                            <a:pt x="42113" y="73667"/>
                          </a:moveTo>
                          <a:cubicBezTo>
                            <a:pt x="17313" y="73667"/>
                            <a:pt x="0" y="60699"/>
                            <a:pt x="0" y="42125"/>
                          </a:cubicBezTo>
                          <a:cubicBezTo>
                            <a:pt x="0" y="21269"/>
                            <a:pt x="21257" y="0"/>
                            <a:pt x="42113" y="0"/>
                          </a:cubicBezTo>
                          <a:cubicBezTo>
                            <a:pt x="62706" y="0"/>
                            <a:pt x="84491" y="22197"/>
                            <a:pt x="84491" y="43180"/>
                          </a:cubicBezTo>
                          <a:cubicBezTo>
                            <a:pt x="84491" y="61697"/>
                            <a:pt x="67865" y="73667"/>
                            <a:pt x="42113" y="73667"/>
                          </a:cubicBezTo>
                          <a:close/>
                          <a:moveTo>
                            <a:pt x="42113" y="22931"/>
                          </a:moveTo>
                          <a:cubicBezTo>
                            <a:pt x="33411" y="22931"/>
                            <a:pt x="22931" y="34718"/>
                            <a:pt x="22931" y="42125"/>
                          </a:cubicBezTo>
                          <a:cubicBezTo>
                            <a:pt x="22931" y="48064"/>
                            <a:pt x="34145" y="50736"/>
                            <a:pt x="42113" y="50736"/>
                          </a:cubicBezTo>
                          <a:cubicBezTo>
                            <a:pt x="49635" y="50736"/>
                            <a:pt x="61559" y="48683"/>
                            <a:pt x="61559" y="43180"/>
                          </a:cubicBezTo>
                          <a:cubicBezTo>
                            <a:pt x="61559" y="35486"/>
                            <a:pt x="50690" y="22931"/>
                            <a:pt x="42113" y="22931"/>
                          </a:cubicBezTo>
                          <a:close/>
                        </a:path>
                      </a:pathLst>
                    </a:custGeom>
                    <a:solidFill>
                      <a:schemeClr val="accent1"/>
                    </a:solidFill>
                    <a:ln w="1145" cap="flat">
                      <a:noFill/>
                      <a:prstDash val="solid"/>
                      <a:miter/>
                    </a:ln>
                  </p:spPr>
                  <p:txBody>
                    <a:bodyPr rtlCol="0" anchor="ctr"/>
                    <a:lstStyle/>
                    <a:p>
                      <a:endParaRPr lang="en-GB" dirty="0"/>
                    </a:p>
                  </p:txBody>
                </p:sp>
                <p:sp>
                  <p:nvSpPr>
                    <p:cNvPr id="159" name="Freeform: Shape 158">
                      <a:extLst>
                        <a:ext uri="{FF2B5EF4-FFF2-40B4-BE49-F238E27FC236}">
                          <a16:creationId xmlns:a16="http://schemas.microsoft.com/office/drawing/2014/main" id="{E16282E9-0424-4DE9-9C45-CC8FC6933FDA}"/>
                        </a:ext>
                      </a:extLst>
                    </p:cNvPr>
                    <p:cNvSpPr/>
                    <p:nvPr/>
                  </p:nvSpPr>
                  <p:spPr>
                    <a:xfrm>
                      <a:off x="3813350" y="3421493"/>
                      <a:ext cx="22931" cy="66409"/>
                    </a:xfrm>
                    <a:custGeom>
                      <a:avLst/>
                      <a:gdLst>
                        <a:gd name="connsiteX0" fmla="*/ 11466 w 22931"/>
                        <a:gd name="connsiteY0" fmla="*/ 66409 h 66409"/>
                        <a:gd name="connsiteX1" fmla="*/ 0 w 22931"/>
                        <a:gd name="connsiteY1" fmla="*/ 54943 h 66409"/>
                        <a:gd name="connsiteX2" fmla="*/ 0 w 22931"/>
                        <a:gd name="connsiteY2" fmla="*/ 11466 h 66409"/>
                        <a:gd name="connsiteX3" fmla="*/ 11466 w 22931"/>
                        <a:gd name="connsiteY3" fmla="*/ 0 h 66409"/>
                        <a:gd name="connsiteX4" fmla="*/ 22931 w 22931"/>
                        <a:gd name="connsiteY4" fmla="*/ 11466 h 66409"/>
                        <a:gd name="connsiteX5" fmla="*/ 22931 w 22931"/>
                        <a:gd name="connsiteY5" fmla="*/ 54943 h 66409"/>
                        <a:gd name="connsiteX6" fmla="*/ 11466 w 22931"/>
                        <a:gd name="connsiteY6" fmla="*/ 66409 h 66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6409">
                          <a:moveTo>
                            <a:pt x="11466" y="66409"/>
                          </a:moveTo>
                          <a:cubicBezTo>
                            <a:pt x="5137" y="66409"/>
                            <a:pt x="0" y="61284"/>
                            <a:pt x="0" y="54943"/>
                          </a:cubicBezTo>
                          <a:lnTo>
                            <a:pt x="0" y="11466"/>
                          </a:lnTo>
                          <a:cubicBezTo>
                            <a:pt x="0" y="5125"/>
                            <a:pt x="5137" y="0"/>
                            <a:pt x="11466" y="0"/>
                          </a:cubicBezTo>
                          <a:cubicBezTo>
                            <a:pt x="17795" y="0"/>
                            <a:pt x="22931" y="5125"/>
                            <a:pt x="22931" y="11466"/>
                          </a:cubicBezTo>
                          <a:lnTo>
                            <a:pt x="22931" y="54943"/>
                          </a:lnTo>
                          <a:cubicBezTo>
                            <a:pt x="22931" y="61284"/>
                            <a:pt x="17806" y="66409"/>
                            <a:pt x="11466" y="66409"/>
                          </a:cubicBezTo>
                          <a:close/>
                        </a:path>
                      </a:pathLst>
                    </a:custGeom>
                    <a:solidFill>
                      <a:schemeClr val="accent1"/>
                    </a:solidFill>
                    <a:ln w="1145" cap="flat">
                      <a:noFill/>
                      <a:prstDash val="solid"/>
                      <a:miter/>
                    </a:ln>
                  </p:spPr>
                  <p:txBody>
                    <a:bodyPr rtlCol="0" anchor="ctr"/>
                    <a:lstStyle/>
                    <a:p>
                      <a:endParaRPr lang="en-GB" dirty="0"/>
                    </a:p>
                  </p:txBody>
                </p:sp>
              </p:grpSp>
              <p:grpSp>
                <p:nvGrpSpPr>
                  <p:cNvPr id="152" name="Graphic 48">
                    <a:extLst>
                      <a:ext uri="{FF2B5EF4-FFF2-40B4-BE49-F238E27FC236}">
                        <a16:creationId xmlns:a16="http://schemas.microsoft.com/office/drawing/2014/main" id="{872FC858-2069-4D9B-BD53-C598A0D0C52B}"/>
                      </a:ext>
                    </a:extLst>
                  </p:cNvPr>
                  <p:cNvGrpSpPr/>
                  <p:nvPr/>
                </p:nvGrpSpPr>
                <p:grpSpPr>
                  <a:xfrm>
                    <a:off x="3911126" y="3381028"/>
                    <a:ext cx="102566" cy="101772"/>
                    <a:chOff x="3911126" y="3381028"/>
                    <a:chExt cx="102566" cy="101772"/>
                  </a:xfrm>
                  <a:solidFill>
                    <a:schemeClr val="accent1"/>
                  </a:solidFill>
                </p:grpSpPr>
                <p:sp>
                  <p:nvSpPr>
                    <p:cNvPr id="156" name="Freeform: Shape 155">
                      <a:extLst>
                        <a:ext uri="{FF2B5EF4-FFF2-40B4-BE49-F238E27FC236}">
                          <a16:creationId xmlns:a16="http://schemas.microsoft.com/office/drawing/2014/main" id="{C15C57E0-FAAD-4F66-9F1B-E2748C367735}"/>
                        </a:ext>
                      </a:extLst>
                    </p:cNvPr>
                    <p:cNvSpPr/>
                    <p:nvPr/>
                  </p:nvSpPr>
                  <p:spPr>
                    <a:xfrm>
                      <a:off x="3934242" y="3404387"/>
                      <a:ext cx="79451" cy="78413"/>
                    </a:xfrm>
                    <a:custGeom>
                      <a:avLst/>
                      <a:gdLst>
                        <a:gd name="connsiteX0" fmla="*/ 30753 w 79451"/>
                        <a:gd name="connsiteY0" fmla="*/ 78413 h 78413"/>
                        <a:gd name="connsiteX1" fmla="*/ 11021 w 79451"/>
                        <a:gd name="connsiteY1" fmla="*/ 70307 h 78413"/>
                        <a:gd name="connsiteX2" fmla="*/ 2 w 79451"/>
                        <a:gd name="connsiteY2" fmla="*/ 40875 h 78413"/>
                        <a:gd name="connsiteX3" fmla="*/ 11009 w 79451"/>
                        <a:gd name="connsiteY3" fmla="*/ 10754 h 78413"/>
                        <a:gd name="connsiteX4" fmla="*/ 71502 w 79451"/>
                        <a:gd name="connsiteY4" fmla="*/ 11316 h 78413"/>
                        <a:gd name="connsiteX5" fmla="*/ 71502 w 79451"/>
                        <a:gd name="connsiteY5" fmla="*/ 11316 h 78413"/>
                        <a:gd name="connsiteX6" fmla="*/ 63098 w 79451"/>
                        <a:gd name="connsiteY6" fmla="*/ 62843 h 78413"/>
                        <a:gd name="connsiteX7" fmla="*/ 30753 w 79451"/>
                        <a:gd name="connsiteY7" fmla="*/ 78413 h 78413"/>
                        <a:gd name="connsiteX8" fmla="*/ 40235 w 79451"/>
                        <a:gd name="connsiteY8" fmla="*/ 22908 h 78413"/>
                        <a:gd name="connsiteX9" fmla="*/ 27233 w 79451"/>
                        <a:gd name="connsiteY9" fmla="*/ 26967 h 78413"/>
                        <a:gd name="connsiteX10" fmla="*/ 22934 w 79451"/>
                        <a:gd name="connsiteY10" fmla="*/ 40656 h 78413"/>
                        <a:gd name="connsiteX11" fmla="*/ 27233 w 79451"/>
                        <a:gd name="connsiteY11" fmla="*/ 54094 h 78413"/>
                        <a:gd name="connsiteX12" fmla="*/ 46897 w 79451"/>
                        <a:gd name="connsiteY12" fmla="*/ 46630 h 78413"/>
                        <a:gd name="connsiteX13" fmla="*/ 55301 w 79451"/>
                        <a:gd name="connsiteY13" fmla="*/ 27528 h 78413"/>
                        <a:gd name="connsiteX14" fmla="*/ 40235 w 79451"/>
                        <a:gd name="connsiteY14" fmla="*/ 22908 h 78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451" h="78413">
                          <a:moveTo>
                            <a:pt x="30753" y="78413"/>
                          </a:moveTo>
                          <a:cubicBezTo>
                            <a:pt x="23335" y="78413"/>
                            <a:pt x="16467" y="75753"/>
                            <a:pt x="11021" y="70307"/>
                          </a:cubicBezTo>
                          <a:cubicBezTo>
                            <a:pt x="4130" y="63416"/>
                            <a:pt x="117" y="52695"/>
                            <a:pt x="2" y="40875"/>
                          </a:cubicBezTo>
                          <a:cubicBezTo>
                            <a:pt x="-112" y="28847"/>
                            <a:pt x="3901" y="17874"/>
                            <a:pt x="11009" y="10754"/>
                          </a:cubicBezTo>
                          <a:cubicBezTo>
                            <a:pt x="25571" y="-3819"/>
                            <a:pt x="56643" y="-3532"/>
                            <a:pt x="71502" y="11316"/>
                          </a:cubicBezTo>
                          <a:lnTo>
                            <a:pt x="71502" y="11316"/>
                          </a:lnTo>
                          <a:cubicBezTo>
                            <a:pt x="84608" y="24421"/>
                            <a:pt x="81306" y="44635"/>
                            <a:pt x="63098" y="62843"/>
                          </a:cubicBezTo>
                          <a:cubicBezTo>
                            <a:pt x="52836" y="73104"/>
                            <a:pt x="41244" y="78413"/>
                            <a:pt x="30753" y="78413"/>
                          </a:cubicBezTo>
                          <a:close/>
                          <a:moveTo>
                            <a:pt x="40235" y="22908"/>
                          </a:moveTo>
                          <a:cubicBezTo>
                            <a:pt x="35076" y="22908"/>
                            <a:pt x="30031" y="24157"/>
                            <a:pt x="27233" y="26967"/>
                          </a:cubicBezTo>
                          <a:cubicBezTo>
                            <a:pt x="24527" y="29673"/>
                            <a:pt x="22876" y="34912"/>
                            <a:pt x="22934" y="40656"/>
                          </a:cubicBezTo>
                          <a:cubicBezTo>
                            <a:pt x="22980" y="46252"/>
                            <a:pt x="24677" y="51526"/>
                            <a:pt x="27233" y="54094"/>
                          </a:cubicBezTo>
                          <a:cubicBezTo>
                            <a:pt x="31441" y="58302"/>
                            <a:pt x="41267" y="52248"/>
                            <a:pt x="46897" y="46630"/>
                          </a:cubicBezTo>
                          <a:cubicBezTo>
                            <a:pt x="52206" y="41310"/>
                            <a:pt x="59200" y="31427"/>
                            <a:pt x="55301" y="27528"/>
                          </a:cubicBezTo>
                          <a:cubicBezTo>
                            <a:pt x="52366" y="24593"/>
                            <a:pt x="46232" y="22908"/>
                            <a:pt x="40235" y="22908"/>
                          </a:cubicBezTo>
                          <a:close/>
                        </a:path>
                      </a:pathLst>
                    </a:custGeom>
                    <a:solidFill>
                      <a:schemeClr val="accent1"/>
                    </a:solidFill>
                    <a:ln w="1145" cap="flat">
                      <a:noFill/>
                      <a:prstDash val="solid"/>
                      <a:miter/>
                    </a:ln>
                  </p:spPr>
                  <p:txBody>
                    <a:bodyPr rtlCol="0" anchor="ctr"/>
                    <a:lstStyle/>
                    <a:p>
                      <a:endParaRPr lang="en-GB" dirty="0"/>
                    </a:p>
                  </p:txBody>
                </p:sp>
                <p:sp>
                  <p:nvSpPr>
                    <p:cNvPr id="157" name="Freeform: Shape 156">
                      <a:extLst>
                        <a:ext uri="{FF2B5EF4-FFF2-40B4-BE49-F238E27FC236}">
                          <a16:creationId xmlns:a16="http://schemas.microsoft.com/office/drawing/2014/main" id="{801FB358-787F-45EF-B247-DE6F50841525}"/>
                        </a:ext>
                      </a:extLst>
                    </p:cNvPr>
                    <p:cNvSpPr/>
                    <p:nvPr/>
                  </p:nvSpPr>
                  <p:spPr>
                    <a:xfrm>
                      <a:off x="3911126" y="3381028"/>
                      <a:ext cx="53688" cy="53684"/>
                    </a:xfrm>
                    <a:custGeom>
                      <a:avLst/>
                      <a:gdLst>
                        <a:gd name="connsiteX0" fmla="*/ 42220 w 53688"/>
                        <a:gd name="connsiteY0" fmla="*/ 53685 h 53684"/>
                        <a:gd name="connsiteX1" fmla="*/ 34113 w 53688"/>
                        <a:gd name="connsiteY1" fmla="*/ 50326 h 53684"/>
                        <a:gd name="connsiteX2" fmla="*/ 3362 w 53688"/>
                        <a:gd name="connsiteY2" fmla="*/ 19575 h 53684"/>
                        <a:gd name="connsiteX3" fmla="*/ 3362 w 53688"/>
                        <a:gd name="connsiteY3" fmla="*/ 3362 h 53684"/>
                        <a:gd name="connsiteX4" fmla="*/ 19575 w 53688"/>
                        <a:gd name="connsiteY4" fmla="*/ 3362 h 53684"/>
                        <a:gd name="connsiteX5" fmla="*/ 50326 w 53688"/>
                        <a:gd name="connsiteY5" fmla="*/ 34113 h 53684"/>
                        <a:gd name="connsiteX6" fmla="*/ 50326 w 53688"/>
                        <a:gd name="connsiteY6" fmla="*/ 50326 h 53684"/>
                        <a:gd name="connsiteX7" fmla="*/ 42220 w 53688"/>
                        <a:gd name="connsiteY7" fmla="*/ 53685 h 5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8" h="53684">
                          <a:moveTo>
                            <a:pt x="42220" y="53685"/>
                          </a:moveTo>
                          <a:cubicBezTo>
                            <a:pt x="39284" y="53685"/>
                            <a:pt x="36349" y="52561"/>
                            <a:pt x="34113" y="50326"/>
                          </a:cubicBezTo>
                          <a:lnTo>
                            <a:pt x="3362" y="19575"/>
                          </a:lnTo>
                          <a:cubicBezTo>
                            <a:pt x="-1121" y="15092"/>
                            <a:pt x="-1121" y="7845"/>
                            <a:pt x="3362" y="3362"/>
                          </a:cubicBezTo>
                          <a:cubicBezTo>
                            <a:pt x="7845" y="-1121"/>
                            <a:pt x="15092" y="-1121"/>
                            <a:pt x="19575" y="3362"/>
                          </a:cubicBezTo>
                          <a:lnTo>
                            <a:pt x="50326" y="34113"/>
                          </a:lnTo>
                          <a:cubicBezTo>
                            <a:pt x="54809" y="38596"/>
                            <a:pt x="54809" y="45843"/>
                            <a:pt x="50326" y="50326"/>
                          </a:cubicBezTo>
                          <a:cubicBezTo>
                            <a:pt x="48090" y="52573"/>
                            <a:pt x="45155" y="53685"/>
                            <a:pt x="42220" y="53685"/>
                          </a:cubicBezTo>
                          <a:close/>
                        </a:path>
                      </a:pathLst>
                    </a:custGeom>
                    <a:solidFill>
                      <a:schemeClr val="accent1"/>
                    </a:solidFill>
                    <a:ln w="1145" cap="flat">
                      <a:noFill/>
                      <a:prstDash val="solid"/>
                      <a:miter/>
                    </a:ln>
                  </p:spPr>
                  <p:txBody>
                    <a:bodyPr rtlCol="0" anchor="ctr"/>
                    <a:lstStyle/>
                    <a:p>
                      <a:endParaRPr lang="en-GB" dirty="0"/>
                    </a:p>
                  </p:txBody>
                </p:sp>
              </p:grpSp>
              <p:grpSp>
                <p:nvGrpSpPr>
                  <p:cNvPr id="153" name="Graphic 48">
                    <a:extLst>
                      <a:ext uri="{FF2B5EF4-FFF2-40B4-BE49-F238E27FC236}">
                        <a16:creationId xmlns:a16="http://schemas.microsoft.com/office/drawing/2014/main" id="{C7FF4923-C83E-4D7A-99BF-B7609689797B}"/>
                      </a:ext>
                    </a:extLst>
                  </p:cNvPr>
                  <p:cNvGrpSpPr/>
                  <p:nvPr/>
                </p:nvGrpSpPr>
                <p:grpSpPr>
                  <a:xfrm>
                    <a:off x="3636199" y="3381361"/>
                    <a:ext cx="102558" cy="101829"/>
                    <a:chOff x="3636199" y="3381361"/>
                    <a:chExt cx="102558" cy="101829"/>
                  </a:xfrm>
                  <a:solidFill>
                    <a:schemeClr val="accent1"/>
                  </a:solidFill>
                </p:grpSpPr>
                <p:sp>
                  <p:nvSpPr>
                    <p:cNvPr id="154" name="Freeform: Shape 153">
                      <a:extLst>
                        <a:ext uri="{FF2B5EF4-FFF2-40B4-BE49-F238E27FC236}">
                          <a16:creationId xmlns:a16="http://schemas.microsoft.com/office/drawing/2014/main" id="{5449CB63-D875-41D3-AD90-5975582FEA8A}"/>
                        </a:ext>
                      </a:extLst>
                    </p:cNvPr>
                    <p:cNvSpPr/>
                    <p:nvPr/>
                  </p:nvSpPr>
                  <p:spPr>
                    <a:xfrm>
                      <a:off x="3636199" y="3404717"/>
                      <a:ext cx="79454" cy="78473"/>
                    </a:xfrm>
                    <a:custGeom>
                      <a:avLst/>
                      <a:gdLst>
                        <a:gd name="connsiteX0" fmla="*/ 48724 w 79454"/>
                        <a:gd name="connsiteY0" fmla="*/ 78473 h 78473"/>
                        <a:gd name="connsiteX1" fmla="*/ 39540 w 79454"/>
                        <a:gd name="connsiteY1" fmla="*/ 77166 h 78473"/>
                        <a:gd name="connsiteX2" fmla="*/ 16345 w 79454"/>
                        <a:gd name="connsiteY2" fmla="*/ 62834 h 78473"/>
                        <a:gd name="connsiteX3" fmla="*/ 7941 w 79454"/>
                        <a:gd name="connsiteY3" fmla="*/ 11307 h 78473"/>
                        <a:gd name="connsiteX4" fmla="*/ 7941 w 79454"/>
                        <a:gd name="connsiteY4" fmla="*/ 11307 h 78473"/>
                        <a:gd name="connsiteX5" fmla="*/ 68434 w 79454"/>
                        <a:gd name="connsiteY5" fmla="*/ 10746 h 78473"/>
                        <a:gd name="connsiteX6" fmla="*/ 79452 w 79454"/>
                        <a:gd name="connsiteY6" fmla="*/ 40866 h 78473"/>
                        <a:gd name="connsiteX7" fmla="*/ 68434 w 79454"/>
                        <a:gd name="connsiteY7" fmla="*/ 70298 h 78473"/>
                        <a:gd name="connsiteX8" fmla="*/ 48724 w 79454"/>
                        <a:gd name="connsiteY8" fmla="*/ 78473 h 78473"/>
                        <a:gd name="connsiteX9" fmla="*/ 24153 w 79454"/>
                        <a:gd name="connsiteY9" fmla="*/ 27520 h 78473"/>
                        <a:gd name="connsiteX10" fmla="*/ 32558 w 79454"/>
                        <a:gd name="connsiteY10" fmla="*/ 46622 h 78473"/>
                        <a:gd name="connsiteX11" fmla="*/ 45697 w 79454"/>
                        <a:gd name="connsiteY11" fmla="*/ 55083 h 78473"/>
                        <a:gd name="connsiteX12" fmla="*/ 52210 w 79454"/>
                        <a:gd name="connsiteY12" fmla="*/ 54086 h 78473"/>
                        <a:gd name="connsiteX13" fmla="*/ 56510 w 79454"/>
                        <a:gd name="connsiteY13" fmla="*/ 40648 h 78473"/>
                        <a:gd name="connsiteX14" fmla="*/ 52210 w 79454"/>
                        <a:gd name="connsiteY14" fmla="*/ 26958 h 78473"/>
                        <a:gd name="connsiteX15" fmla="*/ 24153 w 79454"/>
                        <a:gd name="connsiteY15" fmla="*/ 27520 h 78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454" h="78473">
                          <a:moveTo>
                            <a:pt x="48724" y="78473"/>
                          </a:moveTo>
                          <a:cubicBezTo>
                            <a:pt x="45755" y="78473"/>
                            <a:pt x="42682" y="78049"/>
                            <a:pt x="39540" y="77166"/>
                          </a:cubicBezTo>
                          <a:cubicBezTo>
                            <a:pt x="31618" y="74965"/>
                            <a:pt x="23374" y="69862"/>
                            <a:pt x="16345" y="62834"/>
                          </a:cubicBezTo>
                          <a:cubicBezTo>
                            <a:pt x="-1851" y="44627"/>
                            <a:pt x="-5153" y="24401"/>
                            <a:pt x="7941" y="11307"/>
                          </a:cubicBezTo>
                          <a:lnTo>
                            <a:pt x="7941" y="11307"/>
                          </a:lnTo>
                          <a:cubicBezTo>
                            <a:pt x="22777" y="-3541"/>
                            <a:pt x="53872" y="-3804"/>
                            <a:pt x="68434" y="10746"/>
                          </a:cubicBezTo>
                          <a:cubicBezTo>
                            <a:pt x="75554" y="17854"/>
                            <a:pt x="79567" y="28838"/>
                            <a:pt x="79452" y="40866"/>
                          </a:cubicBezTo>
                          <a:cubicBezTo>
                            <a:pt x="79338" y="52687"/>
                            <a:pt x="75325" y="63419"/>
                            <a:pt x="68434" y="70298"/>
                          </a:cubicBezTo>
                          <a:cubicBezTo>
                            <a:pt x="63034" y="75699"/>
                            <a:pt x="56234" y="78473"/>
                            <a:pt x="48724" y="78473"/>
                          </a:cubicBezTo>
                          <a:close/>
                          <a:moveTo>
                            <a:pt x="24153" y="27520"/>
                          </a:moveTo>
                          <a:cubicBezTo>
                            <a:pt x="20267" y="31418"/>
                            <a:pt x="27249" y="41302"/>
                            <a:pt x="32558" y="46622"/>
                          </a:cubicBezTo>
                          <a:cubicBezTo>
                            <a:pt x="36789" y="50841"/>
                            <a:pt x="41570" y="53937"/>
                            <a:pt x="45697" y="55083"/>
                          </a:cubicBezTo>
                          <a:cubicBezTo>
                            <a:pt x="50020" y="56264"/>
                            <a:pt x="51453" y="54854"/>
                            <a:pt x="52210" y="54086"/>
                          </a:cubicBezTo>
                          <a:cubicBezTo>
                            <a:pt x="54778" y="51517"/>
                            <a:pt x="56464" y="46243"/>
                            <a:pt x="56510" y="40648"/>
                          </a:cubicBezTo>
                          <a:cubicBezTo>
                            <a:pt x="56567" y="34904"/>
                            <a:pt x="54916" y="29664"/>
                            <a:pt x="52210" y="26958"/>
                          </a:cubicBezTo>
                          <a:cubicBezTo>
                            <a:pt x="46144" y="20893"/>
                            <a:pt x="29588" y="22074"/>
                            <a:pt x="24153" y="27520"/>
                          </a:cubicBezTo>
                          <a:close/>
                        </a:path>
                      </a:pathLst>
                    </a:custGeom>
                    <a:solidFill>
                      <a:schemeClr val="accent1"/>
                    </a:solidFill>
                    <a:ln w="1145" cap="flat">
                      <a:noFill/>
                      <a:prstDash val="solid"/>
                      <a:miter/>
                    </a:ln>
                  </p:spPr>
                  <p:txBody>
                    <a:bodyPr rtlCol="0" anchor="ctr"/>
                    <a:lstStyle/>
                    <a:p>
                      <a:endParaRPr lang="en-GB" dirty="0"/>
                    </a:p>
                  </p:txBody>
                </p:sp>
                <p:sp>
                  <p:nvSpPr>
                    <p:cNvPr id="155" name="Freeform: Shape 154">
                      <a:extLst>
                        <a:ext uri="{FF2B5EF4-FFF2-40B4-BE49-F238E27FC236}">
                          <a16:creationId xmlns:a16="http://schemas.microsoft.com/office/drawing/2014/main" id="{BB17B648-CBB3-48AE-B58C-EF2AE43F144E}"/>
                        </a:ext>
                      </a:extLst>
                    </p:cNvPr>
                    <p:cNvSpPr/>
                    <p:nvPr/>
                  </p:nvSpPr>
                  <p:spPr>
                    <a:xfrm>
                      <a:off x="3685069" y="3381361"/>
                      <a:ext cx="53688" cy="53685"/>
                    </a:xfrm>
                    <a:custGeom>
                      <a:avLst/>
                      <a:gdLst>
                        <a:gd name="connsiteX0" fmla="*/ 11469 w 53688"/>
                        <a:gd name="connsiteY0" fmla="*/ 53685 h 53685"/>
                        <a:gd name="connsiteX1" fmla="*/ 3362 w 53688"/>
                        <a:gd name="connsiteY1" fmla="*/ 50326 h 53685"/>
                        <a:gd name="connsiteX2" fmla="*/ 3362 w 53688"/>
                        <a:gd name="connsiteY2" fmla="*/ 34113 h 53685"/>
                        <a:gd name="connsiteX3" fmla="*/ 34113 w 53688"/>
                        <a:gd name="connsiteY3" fmla="*/ 3362 h 53685"/>
                        <a:gd name="connsiteX4" fmla="*/ 50326 w 53688"/>
                        <a:gd name="connsiteY4" fmla="*/ 3362 h 53685"/>
                        <a:gd name="connsiteX5" fmla="*/ 50326 w 53688"/>
                        <a:gd name="connsiteY5" fmla="*/ 19575 h 53685"/>
                        <a:gd name="connsiteX6" fmla="*/ 19575 w 53688"/>
                        <a:gd name="connsiteY6" fmla="*/ 50326 h 53685"/>
                        <a:gd name="connsiteX7" fmla="*/ 11469 w 53688"/>
                        <a:gd name="connsiteY7" fmla="*/ 53685 h 5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8" h="53685">
                          <a:moveTo>
                            <a:pt x="11469" y="53685"/>
                          </a:moveTo>
                          <a:cubicBezTo>
                            <a:pt x="8533" y="53685"/>
                            <a:pt x="5598" y="52562"/>
                            <a:pt x="3362" y="50326"/>
                          </a:cubicBezTo>
                          <a:cubicBezTo>
                            <a:pt x="-1121" y="45843"/>
                            <a:pt x="-1121" y="38596"/>
                            <a:pt x="3362" y="34113"/>
                          </a:cubicBezTo>
                          <a:lnTo>
                            <a:pt x="34113" y="3362"/>
                          </a:lnTo>
                          <a:cubicBezTo>
                            <a:pt x="38596" y="-1121"/>
                            <a:pt x="45843" y="-1121"/>
                            <a:pt x="50326" y="3362"/>
                          </a:cubicBezTo>
                          <a:cubicBezTo>
                            <a:pt x="54809" y="7845"/>
                            <a:pt x="54809" y="15092"/>
                            <a:pt x="50326" y="19575"/>
                          </a:cubicBezTo>
                          <a:lnTo>
                            <a:pt x="19575" y="50326"/>
                          </a:lnTo>
                          <a:cubicBezTo>
                            <a:pt x="17339" y="52562"/>
                            <a:pt x="14404" y="53685"/>
                            <a:pt x="11469" y="53685"/>
                          </a:cubicBezTo>
                          <a:close/>
                        </a:path>
                      </a:pathLst>
                    </a:custGeom>
                    <a:solidFill>
                      <a:schemeClr val="accent1"/>
                    </a:solidFill>
                    <a:ln w="1145" cap="flat">
                      <a:noFill/>
                      <a:prstDash val="solid"/>
                      <a:miter/>
                    </a:ln>
                  </p:spPr>
                  <p:txBody>
                    <a:bodyPr rtlCol="0" anchor="ctr"/>
                    <a:lstStyle/>
                    <a:p>
                      <a:endParaRPr lang="en-GB" dirty="0"/>
                    </a:p>
                  </p:txBody>
                </p:sp>
              </p:grpSp>
            </p:grpSp>
            <p:sp>
              <p:nvSpPr>
                <p:cNvPr id="143" name="Freeform: Shape 142">
                  <a:extLst>
                    <a:ext uri="{FF2B5EF4-FFF2-40B4-BE49-F238E27FC236}">
                      <a16:creationId xmlns:a16="http://schemas.microsoft.com/office/drawing/2014/main" id="{EC9B2D63-73B2-4883-8B7D-AAC5EC2D2D9F}"/>
                    </a:ext>
                  </a:extLst>
                </p:cNvPr>
                <p:cNvSpPr/>
                <p:nvPr/>
              </p:nvSpPr>
              <p:spPr>
                <a:xfrm>
                  <a:off x="3870823" y="3409352"/>
                  <a:ext cx="33912" cy="46836"/>
                </a:xfrm>
                <a:custGeom>
                  <a:avLst/>
                  <a:gdLst>
                    <a:gd name="connsiteX0" fmla="*/ 22454 w 33912"/>
                    <a:gd name="connsiteY0" fmla="*/ 46836 h 46836"/>
                    <a:gd name="connsiteX1" fmla="*/ 12032 w 33912"/>
                    <a:gd name="connsiteY1" fmla="*/ 40152 h 46836"/>
                    <a:gd name="connsiteX2" fmla="*/ 1048 w 33912"/>
                    <a:gd name="connsiteY2" fmla="*/ 16246 h 46836"/>
                    <a:gd name="connsiteX3" fmla="*/ 6677 w 33912"/>
                    <a:gd name="connsiteY3" fmla="*/ 1042 h 46836"/>
                    <a:gd name="connsiteX4" fmla="*/ 21881 w 33912"/>
                    <a:gd name="connsiteY4" fmla="*/ 6684 h 46836"/>
                    <a:gd name="connsiteX5" fmla="*/ 32865 w 33912"/>
                    <a:gd name="connsiteY5" fmla="*/ 30590 h 46836"/>
                    <a:gd name="connsiteX6" fmla="*/ 27235 w 33912"/>
                    <a:gd name="connsiteY6" fmla="*/ 45793 h 46836"/>
                    <a:gd name="connsiteX7" fmla="*/ 22454 w 33912"/>
                    <a:gd name="connsiteY7" fmla="*/ 46836 h 4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2" h="46836">
                      <a:moveTo>
                        <a:pt x="22454" y="46836"/>
                      </a:moveTo>
                      <a:cubicBezTo>
                        <a:pt x="18120" y="46836"/>
                        <a:pt x="13958" y="44360"/>
                        <a:pt x="12032" y="40152"/>
                      </a:cubicBezTo>
                      <a:lnTo>
                        <a:pt x="1048" y="16246"/>
                      </a:lnTo>
                      <a:cubicBezTo>
                        <a:pt x="-1590" y="10490"/>
                        <a:pt x="922" y="3680"/>
                        <a:pt x="6677" y="1042"/>
                      </a:cubicBezTo>
                      <a:cubicBezTo>
                        <a:pt x="12433" y="-1583"/>
                        <a:pt x="19232" y="916"/>
                        <a:pt x="21881" y="6684"/>
                      </a:cubicBezTo>
                      <a:lnTo>
                        <a:pt x="32865" y="30590"/>
                      </a:lnTo>
                      <a:cubicBezTo>
                        <a:pt x="35502" y="36345"/>
                        <a:pt x="32991" y="43156"/>
                        <a:pt x="27235" y="45793"/>
                      </a:cubicBezTo>
                      <a:cubicBezTo>
                        <a:pt x="25687" y="46493"/>
                        <a:pt x="24059" y="46836"/>
                        <a:pt x="22454" y="46836"/>
                      </a:cubicBezTo>
                      <a:close/>
                    </a:path>
                  </a:pathLst>
                </a:custGeom>
                <a:solidFill>
                  <a:schemeClr val="accent1"/>
                </a:solidFill>
                <a:ln w="1145" cap="flat">
                  <a:noFill/>
                  <a:prstDash val="solid"/>
                  <a:miter/>
                </a:ln>
              </p:spPr>
              <p:txBody>
                <a:bodyPr rtlCol="0" anchor="ctr"/>
                <a:lstStyle/>
                <a:p>
                  <a:endParaRPr lang="en-GB" dirty="0"/>
                </a:p>
              </p:txBody>
            </p:sp>
            <p:sp>
              <p:nvSpPr>
                <p:cNvPr id="144" name="Freeform: Shape 143">
                  <a:extLst>
                    <a:ext uri="{FF2B5EF4-FFF2-40B4-BE49-F238E27FC236}">
                      <a16:creationId xmlns:a16="http://schemas.microsoft.com/office/drawing/2014/main" id="{8FA7FBD4-FFE7-4ACA-B023-CB84E424334F}"/>
                    </a:ext>
                  </a:extLst>
                </p:cNvPr>
                <p:cNvSpPr/>
                <p:nvPr/>
              </p:nvSpPr>
              <p:spPr>
                <a:xfrm>
                  <a:off x="3744107" y="3133396"/>
                  <a:ext cx="34114" cy="47283"/>
                </a:xfrm>
                <a:custGeom>
                  <a:avLst/>
                  <a:gdLst>
                    <a:gd name="connsiteX0" fmla="*/ 22647 w 34114"/>
                    <a:gd name="connsiteY0" fmla="*/ 47284 h 47283"/>
                    <a:gd name="connsiteX1" fmla="*/ 12225 w 34114"/>
                    <a:gd name="connsiteY1" fmla="*/ 40599 h 47283"/>
                    <a:gd name="connsiteX2" fmla="*/ 1046 w 34114"/>
                    <a:gd name="connsiteY2" fmla="*/ 16246 h 47283"/>
                    <a:gd name="connsiteX3" fmla="*/ 6687 w 34114"/>
                    <a:gd name="connsiteY3" fmla="*/ 1043 h 47283"/>
                    <a:gd name="connsiteX4" fmla="*/ 21890 w 34114"/>
                    <a:gd name="connsiteY4" fmla="*/ 6684 h 47283"/>
                    <a:gd name="connsiteX5" fmla="*/ 33069 w 34114"/>
                    <a:gd name="connsiteY5" fmla="*/ 31037 h 47283"/>
                    <a:gd name="connsiteX6" fmla="*/ 27428 w 34114"/>
                    <a:gd name="connsiteY6" fmla="*/ 46240 h 47283"/>
                    <a:gd name="connsiteX7" fmla="*/ 22647 w 34114"/>
                    <a:gd name="connsiteY7" fmla="*/ 47284 h 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14" h="47283">
                      <a:moveTo>
                        <a:pt x="22647" y="47284"/>
                      </a:moveTo>
                      <a:cubicBezTo>
                        <a:pt x="18313" y="47284"/>
                        <a:pt x="14151" y="44807"/>
                        <a:pt x="12225" y="40599"/>
                      </a:cubicBezTo>
                      <a:lnTo>
                        <a:pt x="1046" y="16246"/>
                      </a:lnTo>
                      <a:cubicBezTo>
                        <a:pt x="-1591" y="10490"/>
                        <a:pt x="931" y="3680"/>
                        <a:pt x="6687" y="1043"/>
                      </a:cubicBezTo>
                      <a:cubicBezTo>
                        <a:pt x="12420" y="-1583"/>
                        <a:pt x="19242" y="916"/>
                        <a:pt x="21890" y="6684"/>
                      </a:cubicBezTo>
                      <a:lnTo>
                        <a:pt x="33069" y="31037"/>
                      </a:lnTo>
                      <a:cubicBezTo>
                        <a:pt x="35706" y="36792"/>
                        <a:pt x="33184" y="43603"/>
                        <a:pt x="27428" y="46240"/>
                      </a:cubicBezTo>
                      <a:cubicBezTo>
                        <a:pt x="25869" y="46951"/>
                        <a:pt x="24241" y="47284"/>
                        <a:pt x="22647" y="47284"/>
                      </a:cubicBezTo>
                      <a:close/>
                    </a:path>
                  </a:pathLst>
                </a:custGeom>
                <a:solidFill>
                  <a:schemeClr val="accent1"/>
                </a:solidFill>
                <a:ln w="1145" cap="flat">
                  <a:noFill/>
                  <a:prstDash val="solid"/>
                  <a:miter/>
                </a:ln>
              </p:spPr>
              <p:txBody>
                <a:bodyPr rtlCol="0" anchor="ctr"/>
                <a:lstStyle/>
                <a:p>
                  <a:endParaRPr lang="en-GB" dirty="0"/>
                </a:p>
              </p:txBody>
            </p:sp>
            <p:sp>
              <p:nvSpPr>
                <p:cNvPr id="145" name="Freeform: Shape 144">
                  <a:extLst>
                    <a:ext uri="{FF2B5EF4-FFF2-40B4-BE49-F238E27FC236}">
                      <a16:creationId xmlns:a16="http://schemas.microsoft.com/office/drawing/2014/main" id="{DFE4E57E-A72B-41E6-A6EB-7B109A592C1F}"/>
                    </a:ext>
                  </a:extLst>
                </p:cNvPr>
                <p:cNvSpPr/>
                <p:nvPr/>
              </p:nvSpPr>
              <p:spPr>
                <a:xfrm>
                  <a:off x="3940479" y="3341190"/>
                  <a:ext cx="46097" cy="33500"/>
                </a:xfrm>
                <a:custGeom>
                  <a:avLst/>
                  <a:gdLst>
                    <a:gd name="connsiteX0" fmla="*/ 34629 w 46097"/>
                    <a:gd name="connsiteY0" fmla="*/ 33501 h 33500"/>
                    <a:gd name="connsiteX1" fmla="*/ 29871 w 46097"/>
                    <a:gd name="connsiteY1" fmla="*/ 32469 h 33500"/>
                    <a:gd name="connsiteX2" fmla="*/ 6710 w 46097"/>
                    <a:gd name="connsiteY2" fmla="*/ 21909 h 33500"/>
                    <a:gd name="connsiteX3" fmla="*/ 1035 w 46097"/>
                    <a:gd name="connsiteY3" fmla="*/ 6717 h 33500"/>
                    <a:gd name="connsiteX4" fmla="*/ 16227 w 46097"/>
                    <a:gd name="connsiteY4" fmla="*/ 1041 h 33500"/>
                    <a:gd name="connsiteX5" fmla="*/ 39387 w 46097"/>
                    <a:gd name="connsiteY5" fmla="*/ 11601 h 33500"/>
                    <a:gd name="connsiteX6" fmla="*/ 45063 w 46097"/>
                    <a:gd name="connsiteY6" fmla="*/ 26793 h 33500"/>
                    <a:gd name="connsiteX7" fmla="*/ 34629 w 46097"/>
                    <a:gd name="connsiteY7" fmla="*/ 33501 h 3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97" h="33500">
                      <a:moveTo>
                        <a:pt x="34629" y="33501"/>
                      </a:moveTo>
                      <a:cubicBezTo>
                        <a:pt x="33035" y="33501"/>
                        <a:pt x="31419" y="33180"/>
                        <a:pt x="29871" y="32469"/>
                      </a:cubicBezTo>
                      <a:lnTo>
                        <a:pt x="6710" y="21909"/>
                      </a:lnTo>
                      <a:cubicBezTo>
                        <a:pt x="954" y="19283"/>
                        <a:pt x="-1591" y="12484"/>
                        <a:pt x="1035" y="6717"/>
                      </a:cubicBezTo>
                      <a:cubicBezTo>
                        <a:pt x="3649" y="950"/>
                        <a:pt x="10459" y="-1596"/>
                        <a:pt x="16227" y="1041"/>
                      </a:cubicBezTo>
                      <a:lnTo>
                        <a:pt x="39387" y="11601"/>
                      </a:lnTo>
                      <a:cubicBezTo>
                        <a:pt x="45143" y="14227"/>
                        <a:pt x="47688" y="21026"/>
                        <a:pt x="45063" y="26793"/>
                      </a:cubicBezTo>
                      <a:cubicBezTo>
                        <a:pt x="43148" y="31012"/>
                        <a:pt x="38974" y="33501"/>
                        <a:pt x="34629" y="33501"/>
                      </a:cubicBezTo>
                      <a:close/>
                    </a:path>
                  </a:pathLst>
                </a:custGeom>
                <a:solidFill>
                  <a:schemeClr val="accent1"/>
                </a:solidFill>
                <a:ln w="1145" cap="flat">
                  <a:noFill/>
                  <a:prstDash val="solid"/>
                  <a:miter/>
                </a:ln>
              </p:spPr>
              <p:txBody>
                <a:bodyPr rtlCol="0" anchor="ctr"/>
                <a:lstStyle/>
                <a:p>
                  <a:endParaRPr lang="en-GB" dirty="0"/>
                </a:p>
              </p:txBody>
            </p:sp>
            <p:sp>
              <p:nvSpPr>
                <p:cNvPr id="146" name="Freeform: Shape 145">
                  <a:extLst>
                    <a:ext uri="{FF2B5EF4-FFF2-40B4-BE49-F238E27FC236}">
                      <a16:creationId xmlns:a16="http://schemas.microsoft.com/office/drawing/2014/main" id="{33EBF49D-CABB-440D-8584-643B9BDD672B}"/>
                    </a:ext>
                  </a:extLst>
                </p:cNvPr>
                <p:cNvSpPr/>
                <p:nvPr/>
              </p:nvSpPr>
              <p:spPr>
                <a:xfrm>
                  <a:off x="3663390" y="3214896"/>
                  <a:ext cx="46758" cy="33787"/>
                </a:xfrm>
                <a:custGeom>
                  <a:avLst/>
                  <a:gdLst>
                    <a:gd name="connsiteX0" fmla="*/ 35281 w 46758"/>
                    <a:gd name="connsiteY0" fmla="*/ 33787 h 33787"/>
                    <a:gd name="connsiteX1" fmla="*/ 30534 w 46758"/>
                    <a:gd name="connsiteY1" fmla="*/ 32755 h 33787"/>
                    <a:gd name="connsiteX2" fmla="*/ 6720 w 46758"/>
                    <a:gd name="connsiteY2" fmla="*/ 21909 h 33787"/>
                    <a:gd name="connsiteX3" fmla="*/ 1032 w 46758"/>
                    <a:gd name="connsiteY3" fmla="*/ 6717 h 33787"/>
                    <a:gd name="connsiteX4" fmla="*/ 16224 w 46758"/>
                    <a:gd name="connsiteY4" fmla="*/ 1041 h 33787"/>
                    <a:gd name="connsiteX5" fmla="*/ 40039 w 46758"/>
                    <a:gd name="connsiteY5" fmla="*/ 11888 h 33787"/>
                    <a:gd name="connsiteX6" fmla="*/ 45726 w 46758"/>
                    <a:gd name="connsiteY6" fmla="*/ 27080 h 33787"/>
                    <a:gd name="connsiteX7" fmla="*/ 35281 w 46758"/>
                    <a:gd name="connsiteY7" fmla="*/ 33787 h 3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58" h="33787">
                      <a:moveTo>
                        <a:pt x="35281" y="33787"/>
                      </a:moveTo>
                      <a:cubicBezTo>
                        <a:pt x="33687" y="33787"/>
                        <a:pt x="32070" y="33466"/>
                        <a:pt x="30534" y="32755"/>
                      </a:cubicBezTo>
                      <a:lnTo>
                        <a:pt x="6720" y="21909"/>
                      </a:lnTo>
                      <a:cubicBezTo>
                        <a:pt x="964" y="19283"/>
                        <a:pt x="-1593" y="12484"/>
                        <a:pt x="1032" y="6717"/>
                      </a:cubicBezTo>
                      <a:cubicBezTo>
                        <a:pt x="3658" y="950"/>
                        <a:pt x="10457" y="-1596"/>
                        <a:pt x="16224" y="1041"/>
                      </a:cubicBezTo>
                      <a:lnTo>
                        <a:pt x="40039" y="11888"/>
                      </a:lnTo>
                      <a:cubicBezTo>
                        <a:pt x="45795" y="14513"/>
                        <a:pt x="48351" y="21313"/>
                        <a:pt x="45726" y="27080"/>
                      </a:cubicBezTo>
                      <a:cubicBezTo>
                        <a:pt x="43788" y="31299"/>
                        <a:pt x="39626" y="33787"/>
                        <a:pt x="35281" y="33787"/>
                      </a:cubicBezTo>
                      <a:close/>
                    </a:path>
                  </a:pathLst>
                </a:custGeom>
                <a:solidFill>
                  <a:schemeClr val="accent1"/>
                </a:solidFill>
                <a:ln w="1145" cap="flat">
                  <a:noFill/>
                  <a:prstDash val="solid"/>
                  <a:miter/>
                </a:ln>
              </p:spPr>
              <p:txBody>
                <a:bodyPr rtlCol="0" anchor="ctr"/>
                <a:lstStyle/>
                <a:p>
                  <a:endParaRPr lang="en-GB" dirty="0"/>
                </a:p>
              </p:txBody>
            </p:sp>
            <p:sp>
              <p:nvSpPr>
                <p:cNvPr id="147" name="Freeform: Shape 146">
                  <a:extLst>
                    <a:ext uri="{FF2B5EF4-FFF2-40B4-BE49-F238E27FC236}">
                      <a16:creationId xmlns:a16="http://schemas.microsoft.com/office/drawing/2014/main" id="{937A87B6-20FB-4A19-AF1A-1D9657F5DDAE}"/>
                    </a:ext>
                  </a:extLst>
                </p:cNvPr>
                <p:cNvSpPr/>
                <p:nvPr/>
              </p:nvSpPr>
              <p:spPr>
                <a:xfrm>
                  <a:off x="3939148" y="3216372"/>
                  <a:ext cx="47646" cy="33915"/>
                </a:xfrm>
                <a:custGeom>
                  <a:avLst/>
                  <a:gdLst>
                    <a:gd name="connsiteX0" fmla="*/ 11481 w 47646"/>
                    <a:gd name="connsiteY0" fmla="*/ 33916 h 33915"/>
                    <a:gd name="connsiteX1" fmla="*/ 990 w 47646"/>
                    <a:gd name="connsiteY1" fmla="*/ 27105 h 33915"/>
                    <a:gd name="connsiteX2" fmla="*/ 6814 w 47646"/>
                    <a:gd name="connsiteY2" fmla="*/ 11970 h 33915"/>
                    <a:gd name="connsiteX3" fmla="*/ 31523 w 47646"/>
                    <a:gd name="connsiteY3" fmla="*/ 998 h 33915"/>
                    <a:gd name="connsiteX4" fmla="*/ 46657 w 47646"/>
                    <a:gd name="connsiteY4" fmla="*/ 6822 h 33915"/>
                    <a:gd name="connsiteX5" fmla="*/ 40833 w 47646"/>
                    <a:gd name="connsiteY5" fmla="*/ 21957 h 33915"/>
                    <a:gd name="connsiteX6" fmla="*/ 16124 w 47646"/>
                    <a:gd name="connsiteY6" fmla="*/ 32929 h 33915"/>
                    <a:gd name="connsiteX7" fmla="*/ 11481 w 47646"/>
                    <a:gd name="connsiteY7" fmla="*/ 33916 h 33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46" h="33915">
                      <a:moveTo>
                        <a:pt x="11481" y="33916"/>
                      </a:moveTo>
                      <a:cubicBezTo>
                        <a:pt x="7089" y="33916"/>
                        <a:pt x="2893" y="31370"/>
                        <a:pt x="990" y="27105"/>
                      </a:cubicBezTo>
                      <a:cubicBezTo>
                        <a:pt x="-1579" y="21315"/>
                        <a:pt x="1024" y="14538"/>
                        <a:pt x="6814" y="11970"/>
                      </a:cubicBezTo>
                      <a:lnTo>
                        <a:pt x="31523" y="998"/>
                      </a:lnTo>
                      <a:cubicBezTo>
                        <a:pt x="37290" y="-1594"/>
                        <a:pt x="44089" y="1043"/>
                        <a:pt x="46657" y="6822"/>
                      </a:cubicBezTo>
                      <a:cubicBezTo>
                        <a:pt x="49226" y="12612"/>
                        <a:pt x="46623" y="19388"/>
                        <a:pt x="40833" y="21957"/>
                      </a:cubicBezTo>
                      <a:lnTo>
                        <a:pt x="16124" y="32929"/>
                      </a:lnTo>
                      <a:cubicBezTo>
                        <a:pt x="14611" y="33606"/>
                        <a:pt x="13028" y="33916"/>
                        <a:pt x="11481" y="33916"/>
                      </a:cubicBezTo>
                      <a:close/>
                    </a:path>
                  </a:pathLst>
                </a:custGeom>
                <a:solidFill>
                  <a:schemeClr val="accent1"/>
                </a:solidFill>
                <a:ln w="1145" cap="flat">
                  <a:noFill/>
                  <a:prstDash val="solid"/>
                  <a:miter/>
                </a:ln>
              </p:spPr>
              <p:txBody>
                <a:bodyPr rtlCol="0" anchor="ctr"/>
                <a:lstStyle/>
                <a:p>
                  <a:endParaRPr lang="en-GB" dirty="0"/>
                </a:p>
              </p:txBody>
            </p:sp>
            <p:sp>
              <p:nvSpPr>
                <p:cNvPr id="148" name="Freeform: Shape 147">
                  <a:extLst>
                    <a:ext uri="{FF2B5EF4-FFF2-40B4-BE49-F238E27FC236}">
                      <a16:creationId xmlns:a16="http://schemas.microsoft.com/office/drawing/2014/main" id="{A088E1DB-D105-4030-805E-82EC526A29F4}"/>
                    </a:ext>
                  </a:extLst>
                </p:cNvPr>
                <p:cNvSpPr/>
                <p:nvPr/>
              </p:nvSpPr>
              <p:spPr>
                <a:xfrm>
                  <a:off x="3662275" y="3339915"/>
                  <a:ext cx="46270" cy="33296"/>
                </a:xfrm>
                <a:custGeom>
                  <a:avLst/>
                  <a:gdLst>
                    <a:gd name="connsiteX0" fmla="*/ 11481 w 46270"/>
                    <a:gd name="connsiteY0" fmla="*/ 33296 h 33296"/>
                    <a:gd name="connsiteX1" fmla="*/ 990 w 46270"/>
                    <a:gd name="connsiteY1" fmla="*/ 26486 h 33296"/>
                    <a:gd name="connsiteX2" fmla="*/ 6814 w 46270"/>
                    <a:gd name="connsiteY2" fmla="*/ 11351 h 33296"/>
                    <a:gd name="connsiteX3" fmla="*/ 30147 w 46270"/>
                    <a:gd name="connsiteY3" fmla="*/ 998 h 33296"/>
                    <a:gd name="connsiteX4" fmla="*/ 45281 w 46270"/>
                    <a:gd name="connsiteY4" fmla="*/ 6822 h 33296"/>
                    <a:gd name="connsiteX5" fmla="*/ 39457 w 46270"/>
                    <a:gd name="connsiteY5" fmla="*/ 21957 h 33296"/>
                    <a:gd name="connsiteX6" fmla="*/ 16124 w 46270"/>
                    <a:gd name="connsiteY6" fmla="*/ 32310 h 33296"/>
                    <a:gd name="connsiteX7" fmla="*/ 11481 w 46270"/>
                    <a:gd name="connsiteY7" fmla="*/ 33296 h 33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70" h="33296">
                      <a:moveTo>
                        <a:pt x="11481" y="33296"/>
                      </a:moveTo>
                      <a:cubicBezTo>
                        <a:pt x="7089" y="33296"/>
                        <a:pt x="2893" y="30751"/>
                        <a:pt x="990" y="26486"/>
                      </a:cubicBezTo>
                      <a:cubicBezTo>
                        <a:pt x="-1579" y="20696"/>
                        <a:pt x="1024" y="13919"/>
                        <a:pt x="6814" y="11351"/>
                      </a:cubicBezTo>
                      <a:lnTo>
                        <a:pt x="30147" y="998"/>
                      </a:lnTo>
                      <a:cubicBezTo>
                        <a:pt x="35925" y="-1594"/>
                        <a:pt x="42702" y="1043"/>
                        <a:pt x="45281" y="6822"/>
                      </a:cubicBezTo>
                      <a:cubicBezTo>
                        <a:pt x="47850" y="12612"/>
                        <a:pt x="45247" y="19388"/>
                        <a:pt x="39457" y="21957"/>
                      </a:cubicBezTo>
                      <a:lnTo>
                        <a:pt x="16124" y="32310"/>
                      </a:lnTo>
                      <a:cubicBezTo>
                        <a:pt x="14611" y="32987"/>
                        <a:pt x="13029" y="33296"/>
                        <a:pt x="11481" y="33296"/>
                      </a:cubicBezTo>
                      <a:close/>
                    </a:path>
                  </a:pathLst>
                </a:custGeom>
                <a:solidFill>
                  <a:schemeClr val="accent1"/>
                </a:solidFill>
                <a:ln w="1145" cap="flat">
                  <a:noFill/>
                  <a:prstDash val="solid"/>
                  <a:miter/>
                </a:ln>
              </p:spPr>
              <p:txBody>
                <a:bodyPr rtlCol="0" anchor="ctr"/>
                <a:lstStyle/>
                <a:p>
                  <a:endParaRPr lang="en-GB" dirty="0"/>
                </a:p>
              </p:txBody>
            </p:sp>
            <p:sp>
              <p:nvSpPr>
                <p:cNvPr id="149" name="Freeform: Shape 148">
                  <a:extLst>
                    <a:ext uri="{FF2B5EF4-FFF2-40B4-BE49-F238E27FC236}">
                      <a16:creationId xmlns:a16="http://schemas.microsoft.com/office/drawing/2014/main" id="{B6D21389-A1F5-4E64-AE87-4718C980FA50}"/>
                    </a:ext>
                  </a:extLst>
                </p:cNvPr>
                <p:cNvSpPr/>
                <p:nvPr/>
              </p:nvSpPr>
              <p:spPr>
                <a:xfrm>
                  <a:off x="3744290" y="3410373"/>
                  <a:ext cx="33449" cy="45861"/>
                </a:xfrm>
                <a:custGeom>
                  <a:avLst/>
                  <a:gdLst>
                    <a:gd name="connsiteX0" fmla="*/ 11468 w 33449"/>
                    <a:gd name="connsiteY0" fmla="*/ 45862 h 45861"/>
                    <a:gd name="connsiteX1" fmla="*/ 6687 w 33449"/>
                    <a:gd name="connsiteY1" fmla="*/ 44818 h 45861"/>
                    <a:gd name="connsiteX2" fmla="*/ 1046 w 33449"/>
                    <a:gd name="connsiteY2" fmla="*/ 29615 h 45861"/>
                    <a:gd name="connsiteX3" fmla="*/ 11560 w 33449"/>
                    <a:gd name="connsiteY3" fmla="*/ 6684 h 45861"/>
                    <a:gd name="connsiteX4" fmla="*/ 26763 w 33449"/>
                    <a:gd name="connsiteY4" fmla="*/ 1043 h 45861"/>
                    <a:gd name="connsiteX5" fmla="*/ 32404 w 33449"/>
                    <a:gd name="connsiteY5" fmla="*/ 16246 h 45861"/>
                    <a:gd name="connsiteX6" fmla="*/ 21890 w 33449"/>
                    <a:gd name="connsiteY6" fmla="*/ 39177 h 45861"/>
                    <a:gd name="connsiteX7" fmla="*/ 11468 w 33449"/>
                    <a:gd name="connsiteY7" fmla="*/ 45862 h 4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49" h="45861">
                      <a:moveTo>
                        <a:pt x="11468" y="45862"/>
                      </a:moveTo>
                      <a:cubicBezTo>
                        <a:pt x="9863" y="45862"/>
                        <a:pt x="8246" y="45529"/>
                        <a:pt x="6687" y="44818"/>
                      </a:cubicBezTo>
                      <a:cubicBezTo>
                        <a:pt x="931" y="42181"/>
                        <a:pt x="-1592" y="35371"/>
                        <a:pt x="1046" y="29615"/>
                      </a:cubicBezTo>
                      <a:lnTo>
                        <a:pt x="11560" y="6684"/>
                      </a:lnTo>
                      <a:cubicBezTo>
                        <a:pt x="14197" y="916"/>
                        <a:pt x="20996" y="-1583"/>
                        <a:pt x="26763" y="1043"/>
                      </a:cubicBezTo>
                      <a:cubicBezTo>
                        <a:pt x="32519" y="3679"/>
                        <a:pt x="35041" y="10490"/>
                        <a:pt x="32404" y="16246"/>
                      </a:cubicBezTo>
                      <a:lnTo>
                        <a:pt x="21890" y="39177"/>
                      </a:lnTo>
                      <a:cubicBezTo>
                        <a:pt x="19964" y="43397"/>
                        <a:pt x="15813" y="45862"/>
                        <a:pt x="11468" y="45862"/>
                      </a:cubicBezTo>
                      <a:close/>
                    </a:path>
                  </a:pathLst>
                </a:custGeom>
                <a:solidFill>
                  <a:schemeClr val="accent1"/>
                </a:solidFill>
                <a:ln w="1145" cap="flat">
                  <a:noFill/>
                  <a:prstDash val="solid"/>
                  <a:miter/>
                </a:ln>
              </p:spPr>
              <p:txBody>
                <a:bodyPr rtlCol="0" anchor="ctr"/>
                <a:lstStyle/>
                <a:p>
                  <a:endParaRPr lang="en-GB" dirty="0"/>
                </a:p>
              </p:txBody>
            </p:sp>
            <p:sp>
              <p:nvSpPr>
                <p:cNvPr id="150" name="Freeform: Shape 149">
                  <a:extLst>
                    <a:ext uri="{FF2B5EF4-FFF2-40B4-BE49-F238E27FC236}">
                      <a16:creationId xmlns:a16="http://schemas.microsoft.com/office/drawing/2014/main" id="{5A2CB5DE-E085-4D90-90BA-7C29E41F6413}"/>
                    </a:ext>
                  </a:extLst>
                </p:cNvPr>
                <p:cNvSpPr/>
                <p:nvPr/>
              </p:nvSpPr>
              <p:spPr>
                <a:xfrm>
                  <a:off x="3870873" y="3133352"/>
                  <a:ext cx="33835" cy="46685"/>
                </a:xfrm>
                <a:custGeom>
                  <a:avLst/>
                  <a:gdLst>
                    <a:gd name="connsiteX0" fmla="*/ 11466 w 33835"/>
                    <a:gd name="connsiteY0" fmla="*/ 46686 h 46685"/>
                    <a:gd name="connsiteX1" fmla="*/ 6696 w 33835"/>
                    <a:gd name="connsiteY1" fmla="*/ 45642 h 46685"/>
                    <a:gd name="connsiteX2" fmla="*/ 1044 w 33835"/>
                    <a:gd name="connsiteY2" fmla="*/ 30439 h 46685"/>
                    <a:gd name="connsiteX3" fmla="*/ 11936 w 33835"/>
                    <a:gd name="connsiteY3" fmla="*/ 6682 h 46685"/>
                    <a:gd name="connsiteX4" fmla="*/ 27139 w 33835"/>
                    <a:gd name="connsiteY4" fmla="*/ 1041 h 46685"/>
                    <a:gd name="connsiteX5" fmla="*/ 32792 w 33835"/>
                    <a:gd name="connsiteY5" fmla="*/ 16244 h 46685"/>
                    <a:gd name="connsiteX6" fmla="*/ 21900 w 33835"/>
                    <a:gd name="connsiteY6" fmla="*/ 40001 h 46685"/>
                    <a:gd name="connsiteX7" fmla="*/ 11466 w 33835"/>
                    <a:gd name="connsiteY7" fmla="*/ 46686 h 46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35" h="46685">
                      <a:moveTo>
                        <a:pt x="11466" y="46686"/>
                      </a:moveTo>
                      <a:cubicBezTo>
                        <a:pt x="9861" y="46686"/>
                        <a:pt x="8244" y="46353"/>
                        <a:pt x="6696" y="45642"/>
                      </a:cubicBezTo>
                      <a:cubicBezTo>
                        <a:pt x="940" y="43005"/>
                        <a:pt x="-1594" y="36194"/>
                        <a:pt x="1044" y="30439"/>
                      </a:cubicBezTo>
                      <a:lnTo>
                        <a:pt x="11936" y="6682"/>
                      </a:lnTo>
                      <a:cubicBezTo>
                        <a:pt x="14573" y="926"/>
                        <a:pt x="21395" y="-1585"/>
                        <a:pt x="27139" y="1041"/>
                      </a:cubicBezTo>
                      <a:cubicBezTo>
                        <a:pt x="32895" y="3678"/>
                        <a:pt x="35429" y="10488"/>
                        <a:pt x="32792" y="16244"/>
                      </a:cubicBezTo>
                      <a:lnTo>
                        <a:pt x="21900" y="40001"/>
                      </a:lnTo>
                      <a:cubicBezTo>
                        <a:pt x="19962" y="44198"/>
                        <a:pt x="15811" y="46686"/>
                        <a:pt x="11466" y="46686"/>
                      </a:cubicBezTo>
                      <a:close/>
                    </a:path>
                  </a:pathLst>
                </a:custGeom>
                <a:solidFill>
                  <a:schemeClr val="accent1"/>
                </a:solidFill>
                <a:ln w="1145" cap="flat">
                  <a:noFill/>
                  <a:prstDash val="solid"/>
                  <a:miter/>
                </a:ln>
              </p:spPr>
              <p:txBody>
                <a:bodyPr rtlCol="0" anchor="ctr"/>
                <a:lstStyle/>
                <a:p>
                  <a:endParaRPr lang="en-GB" dirty="0"/>
                </a:p>
              </p:txBody>
            </p:sp>
          </p:grpSp>
          <p:sp>
            <p:nvSpPr>
              <p:cNvPr id="135" name="Freeform: Shape 134">
                <a:extLst>
                  <a:ext uri="{FF2B5EF4-FFF2-40B4-BE49-F238E27FC236}">
                    <a16:creationId xmlns:a16="http://schemas.microsoft.com/office/drawing/2014/main" id="{74AAEE39-9EA1-427F-997D-32CE3BDE32EA}"/>
                  </a:ext>
                </a:extLst>
              </p:cNvPr>
              <p:cNvSpPr/>
              <p:nvPr/>
            </p:nvSpPr>
            <p:spPr>
              <a:xfrm>
                <a:off x="3749996" y="3242252"/>
                <a:ext cx="37929" cy="23996"/>
              </a:xfrm>
              <a:custGeom>
                <a:avLst/>
                <a:gdLst>
                  <a:gd name="connsiteX0" fmla="*/ 26480 w 37929"/>
                  <a:gd name="connsiteY0" fmla="*/ 23997 h 23996"/>
                  <a:gd name="connsiteX1" fmla="*/ 25655 w 37929"/>
                  <a:gd name="connsiteY1" fmla="*/ 23962 h 23996"/>
                  <a:gd name="connsiteX2" fmla="*/ 10658 w 37929"/>
                  <a:gd name="connsiteY2" fmla="*/ 22896 h 23996"/>
                  <a:gd name="connsiteX3" fmla="*/ 29 w 37929"/>
                  <a:gd name="connsiteY3" fmla="*/ 10662 h 23996"/>
                  <a:gd name="connsiteX4" fmla="*/ 12275 w 37929"/>
                  <a:gd name="connsiteY4" fmla="*/ 33 h 23996"/>
                  <a:gd name="connsiteX5" fmla="*/ 27272 w 37929"/>
                  <a:gd name="connsiteY5" fmla="*/ 1100 h 23996"/>
                  <a:gd name="connsiteX6" fmla="*/ 37900 w 37929"/>
                  <a:gd name="connsiteY6" fmla="*/ 13333 h 23996"/>
                  <a:gd name="connsiteX7" fmla="*/ 26480 w 37929"/>
                  <a:gd name="connsiteY7" fmla="*/ 23997 h 2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29" h="23996">
                    <a:moveTo>
                      <a:pt x="26480" y="23997"/>
                    </a:moveTo>
                    <a:cubicBezTo>
                      <a:pt x="26205" y="23997"/>
                      <a:pt x="25930" y="23985"/>
                      <a:pt x="25655" y="23962"/>
                    </a:cubicBezTo>
                    <a:lnTo>
                      <a:pt x="10658" y="22896"/>
                    </a:lnTo>
                    <a:cubicBezTo>
                      <a:pt x="4340" y="22449"/>
                      <a:pt x="-418" y="16968"/>
                      <a:pt x="29" y="10662"/>
                    </a:cubicBezTo>
                    <a:cubicBezTo>
                      <a:pt x="488" y="4333"/>
                      <a:pt x="6026" y="-448"/>
                      <a:pt x="12275" y="33"/>
                    </a:cubicBezTo>
                    <a:lnTo>
                      <a:pt x="27272" y="1100"/>
                    </a:lnTo>
                    <a:cubicBezTo>
                      <a:pt x="33589" y="1547"/>
                      <a:pt x="38347" y="7027"/>
                      <a:pt x="37900" y="13333"/>
                    </a:cubicBezTo>
                    <a:cubicBezTo>
                      <a:pt x="37476" y="19387"/>
                      <a:pt x="32443" y="23997"/>
                      <a:pt x="26480" y="23997"/>
                    </a:cubicBezTo>
                    <a:close/>
                  </a:path>
                </a:pathLst>
              </a:custGeom>
              <a:solidFill>
                <a:schemeClr val="accent1"/>
              </a:solidFill>
              <a:ln w="1145" cap="flat">
                <a:noFill/>
                <a:prstDash val="solid"/>
                <a:miter/>
              </a:ln>
            </p:spPr>
            <p:txBody>
              <a:bodyPr rtlCol="0" anchor="ctr"/>
              <a:lstStyle/>
              <a:p>
                <a:endParaRPr lang="en-GB" dirty="0"/>
              </a:p>
            </p:txBody>
          </p:sp>
          <p:sp>
            <p:nvSpPr>
              <p:cNvPr id="136" name="Freeform: Shape 135">
                <a:extLst>
                  <a:ext uri="{FF2B5EF4-FFF2-40B4-BE49-F238E27FC236}">
                    <a16:creationId xmlns:a16="http://schemas.microsoft.com/office/drawing/2014/main" id="{25ABBA6D-8CD7-4E36-86A3-49DDFE42DD36}"/>
                  </a:ext>
                </a:extLst>
              </p:cNvPr>
              <p:cNvSpPr/>
              <p:nvPr/>
            </p:nvSpPr>
            <p:spPr>
              <a:xfrm>
                <a:off x="3814948" y="3344845"/>
                <a:ext cx="34205" cy="31267"/>
              </a:xfrm>
              <a:custGeom>
                <a:avLst/>
                <a:gdLst>
                  <a:gd name="connsiteX0" fmla="*/ 11473 w 34205"/>
                  <a:gd name="connsiteY0" fmla="*/ 31267 h 31267"/>
                  <a:gd name="connsiteX1" fmla="*/ 2243 w 34205"/>
                  <a:gd name="connsiteY1" fmla="*/ 26623 h 31267"/>
                  <a:gd name="connsiteX2" fmla="*/ 4651 w 34205"/>
                  <a:gd name="connsiteY2" fmla="*/ 10594 h 31267"/>
                  <a:gd name="connsiteX3" fmla="*/ 15933 w 34205"/>
                  <a:gd name="connsiteY3" fmla="*/ 2247 h 31267"/>
                  <a:gd name="connsiteX4" fmla="*/ 31962 w 34205"/>
                  <a:gd name="connsiteY4" fmla="*/ 4644 h 31267"/>
                  <a:gd name="connsiteX5" fmla="*/ 29555 w 34205"/>
                  <a:gd name="connsiteY5" fmla="*/ 20673 h 31267"/>
                  <a:gd name="connsiteX6" fmla="*/ 18272 w 34205"/>
                  <a:gd name="connsiteY6" fmla="*/ 29020 h 31267"/>
                  <a:gd name="connsiteX7" fmla="*/ 11473 w 34205"/>
                  <a:gd name="connsiteY7" fmla="*/ 31267 h 3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05" h="31267">
                    <a:moveTo>
                      <a:pt x="11473" y="31267"/>
                    </a:moveTo>
                    <a:cubicBezTo>
                      <a:pt x="7953" y="31267"/>
                      <a:pt x="4491" y="29650"/>
                      <a:pt x="2243" y="26623"/>
                    </a:cubicBezTo>
                    <a:cubicBezTo>
                      <a:pt x="-1517" y="21533"/>
                      <a:pt x="-440" y="14355"/>
                      <a:pt x="4651" y="10594"/>
                    </a:cubicBezTo>
                    <a:lnTo>
                      <a:pt x="15933" y="2247"/>
                    </a:lnTo>
                    <a:cubicBezTo>
                      <a:pt x="21024" y="-1536"/>
                      <a:pt x="28213" y="-413"/>
                      <a:pt x="31962" y="4644"/>
                    </a:cubicBezTo>
                    <a:cubicBezTo>
                      <a:pt x="35723" y="9734"/>
                      <a:pt x="34645" y="16912"/>
                      <a:pt x="29555" y="20673"/>
                    </a:cubicBezTo>
                    <a:lnTo>
                      <a:pt x="18272" y="29020"/>
                    </a:lnTo>
                    <a:cubicBezTo>
                      <a:pt x="16220" y="30545"/>
                      <a:pt x="13835" y="31267"/>
                      <a:pt x="11473" y="31267"/>
                    </a:cubicBezTo>
                    <a:close/>
                  </a:path>
                </a:pathLst>
              </a:custGeom>
              <a:solidFill>
                <a:schemeClr val="accent1"/>
              </a:solidFill>
              <a:ln w="1145" cap="flat">
                <a:noFill/>
                <a:prstDash val="solid"/>
                <a:miter/>
              </a:ln>
            </p:spPr>
            <p:txBody>
              <a:bodyPr rtlCol="0" anchor="ctr"/>
              <a:lstStyle/>
              <a:p>
                <a:endParaRPr lang="en-GB" dirty="0"/>
              </a:p>
            </p:txBody>
          </p:sp>
          <p:sp>
            <p:nvSpPr>
              <p:cNvPr id="137" name="Freeform: Shape 136">
                <a:extLst>
                  <a:ext uri="{FF2B5EF4-FFF2-40B4-BE49-F238E27FC236}">
                    <a16:creationId xmlns:a16="http://schemas.microsoft.com/office/drawing/2014/main" id="{662FC384-1EDC-4AEA-9A6C-5D70FFCEF36E}"/>
                  </a:ext>
                </a:extLst>
              </p:cNvPr>
              <p:cNvSpPr/>
              <p:nvPr/>
            </p:nvSpPr>
            <p:spPr>
              <a:xfrm>
                <a:off x="3873957" y="3257832"/>
                <a:ext cx="22931" cy="38375"/>
              </a:xfrm>
              <a:custGeom>
                <a:avLst/>
                <a:gdLst>
                  <a:gd name="connsiteX0" fmla="*/ 11466 w 22931"/>
                  <a:gd name="connsiteY0" fmla="*/ 38376 h 38375"/>
                  <a:gd name="connsiteX1" fmla="*/ 0 w 22931"/>
                  <a:gd name="connsiteY1" fmla="*/ 26910 h 38375"/>
                  <a:gd name="connsiteX2" fmla="*/ 0 w 22931"/>
                  <a:gd name="connsiteY2" fmla="*/ 11466 h 38375"/>
                  <a:gd name="connsiteX3" fmla="*/ 11466 w 22931"/>
                  <a:gd name="connsiteY3" fmla="*/ 0 h 38375"/>
                  <a:gd name="connsiteX4" fmla="*/ 22931 w 22931"/>
                  <a:gd name="connsiteY4" fmla="*/ 11466 h 38375"/>
                  <a:gd name="connsiteX5" fmla="*/ 22931 w 22931"/>
                  <a:gd name="connsiteY5" fmla="*/ 26910 h 38375"/>
                  <a:gd name="connsiteX6" fmla="*/ 11466 w 22931"/>
                  <a:gd name="connsiteY6" fmla="*/ 38376 h 3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38375">
                    <a:moveTo>
                      <a:pt x="11466" y="38376"/>
                    </a:moveTo>
                    <a:cubicBezTo>
                      <a:pt x="5137" y="38376"/>
                      <a:pt x="0" y="33250"/>
                      <a:pt x="0" y="26910"/>
                    </a:cubicBezTo>
                    <a:lnTo>
                      <a:pt x="0" y="11466"/>
                    </a:lnTo>
                    <a:cubicBezTo>
                      <a:pt x="0" y="5125"/>
                      <a:pt x="5137" y="0"/>
                      <a:pt x="11466" y="0"/>
                    </a:cubicBezTo>
                    <a:cubicBezTo>
                      <a:pt x="17795" y="0"/>
                      <a:pt x="22931" y="5125"/>
                      <a:pt x="22931" y="11466"/>
                    </a:cubicBezTo>
                    <a:lnTo>
                      <a:pt x="22931" y="26910"/>
                    </a:lnTo>
                    <a:cubicBezTo>
                      <a:pt x="22931" y="33250"/>
                      <a:pt x="17795" y="38376"/>
                      <a:pt x="11466" y="38376"/>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8" name="Group 7">
            <a:extLst>
              <a:ext uri="{FF2B5EF4-FFF2-40B4-BE49-F238E27FC236}">
                <a16:creationId xmlns:a16="http://schemas.microsoft.com/office/drawing/2014/main" id="{9E0E9FFD-573C-6C56-952B-87339350C41D}"/>
              </a:ext>
            </a:extLst>
          </p:cNvPr>
          <p:cNvGrpSpPr/>
          <p:nvPr/>
        </p:nvGrpSpPr>
        <p:grpSpPr>
          <a:xfrm>
            <a:off x="2673272" y="1679500"/>
            <a:ext cx="423292" cy="343133"/>
            <a:chOff x="2673272" y="1679500"/>
            <a:chExt cx="423292" cy="343133"/>
          </a:xfrm>
        </p:grpSpPr>
        <p:grpSp>
          <p:nvGrpSpPr>
            <p:cNvPr id="192" name="Graphic 48">
              <a:extLst>
                <a:ext uri="{FF2B5EF4-FFF2-40B4-BE49-F238E27FC236}">
                  <a16:creationId xmlns:a16="http://schemas.microsoft.com/office/drawing/2014/main" id="{D88BBC75-FF03-4342-9C48-650D14F3DC23}"/>
                </a:ext>
              </a:extLst>
            </p:cNvPr>
            <p:cNvGrpSpPr/>
            <p:nvPr/>
          </p:nvGrpSpPr>
          <p:grpSpPr>
            <a:xfrm>
              <a:off x="2673272" y="1679500"/>
              <a:ext cx="339267" cy="339227"/>
              <a:chOff x="1992223" y="2996495"/>
              <a:chExt cx="601650" cy="601580"/>
            </a:xfrm>
            <a:solidFill>
              <a:schemeClr val="tx2"/>
            </a:solidFill>
          </p:grpSpPr>
          <p:grpSp>
            <p:nvGrpSpPr>
              <p:cNvPr id="202" name="Graphic 48">
                <a:extLst>
                  <a:ext uri="{FF2B5EF4-FFF2-40B4-BE49-F238E27FC236}">
                    <a16:creationId xmlns:a16="http://schemas.microsoft.com/office/drawing/2014/main" id="{BA5BBC7A-0AC5-45D2-9E2F-187673A8770B}"/>
                  </a:ext>
                </a:extLst>
              </p:cNvPr>
              <p:cNvGrpSpPr/>
              <p:nvPr/>
            </p:nvGrpSpPr>
            <p:grpSpPr>
              <a:xfrm>
                <a:off x="1992223" y="2996495"/>
                <a:ext cx="601650" cy="601580"/>
                <a:chOff x="1992223" y="2996495"/>
                <a:chExt cx="601650" cy="601580"/>
              </a:xfrm>
              <a:grpFill/>
            </p:grpSpPr>
            <p:sp>
              <p:nvSpPr>
                <p:cNvPr id="205" name="Freeform: Shape 204">
                  <a:extLst>
                    <a:ext uri="{FF2B5EF4-FFF2-40B4-BE49-F238E27FC236}">
                      <a16:creationId xmlns:a16="http://schemas.microsoft.com/office/drawing/2014/main" id="{2EC6480C-A1E7-42C2-BAFA-F16F20245E75}"/>
                    </a:ext>
                  </a:extLst>
                </p:cNvPr>
                <p:cNvSpPr/>
                <p:nvPr/>
              </p:nvSpPr>
              <p:spPr>
                <a:xfrm>
                  <a:off x="2109998" y="3113904"/>
                  <a:ext cx="286971" cy="194514"/>
                </a:xfrm>
                <a:custGeom>
                  <a:avLst/>
                  <a:gdLst>
                    <a:gd name="connsiteX0" fmla="*/ 11466 w 286971"/>
                    <a:gd name="connsiteY0" fmla="*/ 194515 h 194514"/>
                    <a:gd name="connsiteX1" fmla="*/ 0 w 286971"/>
                    <a:gd name="connsiteY1" fmla="*/ 183049 h 194514"/>
                    <a:gd name="connsiteX2" fmla="*/ 183049 w 286971"/>
                    <a:gd name="connsiteY2" fmla="*/ 0 h 194514"/>
                    <a:gd name="connsiteX3" fmla="*/ 281689 w 286971"/>
                    <a:gd name="connsiteY3" fmla="*/ 28825 h 194514"/>
                    <a:gd name="connsiteX4" fmla="*/ 285151 w 286971"/>
                    <a:gd name="connsiteY4" fmla="*/ 44659 h 194514"/>
                    <a:gd name="connsiteX5" fmla="*/ 269317 w 286971"/>
                    <a:gd name="connsiteY5" fmla="*/ 48133 h 194514"/>
                    <a:gd name="connsiteX6" fmla="*/ 183061 w 286971"/>
                    <a:gd name="connsiteY6" fmla="*/ 22943 h 194514"/>
                    <a:gd name="connsiteX7" fmla="*/ 22943 w 286971"/>
                    <a:gd name="connsiteY7" fmla="*/ 183061 h 194514"/>
                    <a:gd name="connsiteX8" fmla="*/ 11466 w 286971"/>
                    <a:gd name="connsiteY8" fmla="*/ 194515 h 194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971" h="194514">
                      <a:moveTo>
                        <a:pt x="11466" y="194515"/>
                      </a:moveTo>
                      <a:cubicBezTo>
                        <a:pt x="5137" y="194515"/>
                        <a:pt x="0" y="189390"/>
                        <a:pt x="0" y="183049"/>
                      </a:cubicBezTo>
                      <a:cubicBezTo>
                        <a:pt x="0" y="82117"/>
                        <a:pt x="82117" y="0"/>
                        <a:pt x="183049" y="0"/>
                      </a:cubicBezTo>
                      <a:cubicBezTo>
                        <a:pt x="218157" y="0"/>
                        <a:pt x="252268" y="9964"/>
                        <a:pt x="281689" y="28825"/>
                      </a:cubicBezTo>
                      <a:cubicBezTo>
                        <a:pt x="287020" y="32241"/>
                        <a:pt x="288580" y="39327"/>
                        <a:pt x="285151" y="44659"/>
                      </a:cubicBezTo>
                      <a:cubicBezTo>
                        <a:pt x="281735" y="50002"/>
                        <a:pt x="274649" y="51573"/>
                        <a:pt x="269317" y="48133"/>
                      </a:cubicBezTo>
                      <a:cubicBezTo>
                        <a:pt x="243588" y="31645"/>
                        <a:pt x="213766" y="22943"/>
                        <a:pt x="183061" y="22943"/>
                      </a:cubicBezTo>
                      <a:cubicBezTo>
                        <a:pt x="94775" y="22943"/>
                        <a:pt x="22943" y="94775"/>
                        <a:pt x="22943" y="183061"/>
                      </a:cubicBezTo>
                      <a:cubicBezTo>
                        <a:pt x="22931" y="189390"/>
                        <a:pt x="17795" y="194515"/>
                        <a:pt x="11466" y="194515"/>
                      </a:cubicBezTo>
                      <a:close/>
                    </a:path>
                  </a:pathLst>
                </a:custGeom>
                <a:grpFill/>
                <a:ln w="1145" cap="flat">
                  <a:noFill/>
                  <a:prstDash val="solid"/>
                  <a:miter/>
                </a:ln>
              </p:spPr>
              <p:txBody>
                <a:bodyPr rtlCol="0" anchor="ctr"/>
                <a:lstStyle/>
                <a:p>
                  <a:endParaRPr lang="en-GB" dirty="0"/>
                </a:p>
              </p:txBody>
            </p:sp>
            <p:sp>
              <p:nvSpPr>
                <p:cNvPr id="206" name="Freeform: Shape 205">
                  <a:extLst>
                    <a:ext uri="{FF2B5EF4-FFF2-40B4-BE49-F238E27FC236}">
                      <a16:creationId xmlns:a16="http://schemas.microsoft.com/office/drawing/2014/main" id="{B1B20F63-1352-4AC0-AE27-4C928E04E37D}"/>
                    </a:ext>
                  </a:extLst>
                </p:cNvPr>
                <p:cNvSpPr/>
                <p:nvPr/>
              </p:nvSpPr>
              <p:spPr>
                <a:xfrm>
                  <a:off x="2259784" y="3201037"/>
                  <a:ext cx="216301" cy="278965"/>
                </a:xfrm>
                <a:custGeom>
                  <a:avLst/>
                  <a:gdLst>
                    <a:gd name="connsiteX0" fmla="*/ 33264 w 216301"/>
                    <a:gd name="connsiteY0" fmla="*/ 278965 h 278965"/>
                    <a:gd name="connsiteX1" fmla="*/ 10023 w 216301"/>
                    <a:gd name="connsiteY1" fmla="*/ 277509 h 278965"/>
                    <a:gd name="connsiteX2" fmla="*/ 94 w 216301"/>
                    <a:gd name="connsiteY2" fmla="*/ 264691 h 278965"/>
                    <a:gd name="connsiteX3" fmla="*/ 12912 w 216301"/>
                    <a:gd name="connsiteY3" fmla="*/ 254761 h 278965"/>
                    <a:gd name="connsiteX4" fmla="*/ 33264 w 216301"/>
                    <a:gd name="connsiteY4" fmla="*/ 256034 h 278965"/>
                    <a:gd name="connsiteX5" fmla="*/ 193382 w 216301"/>
                    <a:gd name="connsiteY5" fmla="*/ 95916 h 278965"/>
                    <a:gd name="connsiteX6" fmla="*/ 172675 w 216301"/>
                    <a:gd name="connsiteY6" fmla="*/ 17112 h 278965"/>
                    <a:gd name="connsiteX7" fmla="*/ 176997 w 216301"/>
                    <a:gd name="connsiteY7" fmla="*/ 1484 h 278965"/>
                    <a:gd name="connsiteX8" fmla="*/ 192625 w 216301"/>
                    <a:gd name="connsiteY8" fmla="*/ 5807 h 278965"/>
                    <a:gd name="connsiteX9" fmla="*/ 216302 w 216301"/>
                    <a:gd name="connsiteY9" fmla="*/ 95916 h 278965"/>
                    <a:gd name="connsiteX10" fmla="*/ 33264 w 216301"/>
                    <a:gd name="connsiteY10" fmla="*/ 278965 h 278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6301" h="278965">
                      <a:moveTo>
                        <a:pt x="33264" y="278965"/>
                      </a:moveTo>
                      <a:cubicBezTo>
                        <a:pt x="25444" y="278965"/>
                        <a:pt x="17625" y="278472"/>
                        <a:pt x="10023" y="277509"/>
                      </a:cubicBezTo>
                      <a:cubicBezTo>
                        <a:pt x="3740" y="276718"/>
                        <a:pt x="-709" y="270974"/>
                        <a:pt x="94" y="264691"/>
                      </a:cubicBezTo>
                      <a:cubicBezTo>
                        <a:pt x="896" y="258407"/>
                        <a:pt x="6640" y="254004"/>
                        <a:pt x="12912" y="254761"/>
                      </a:cubicBezTo>
                      <a:cubicBezTo>
                        <a:pt x="19574" y="255610"/>
                        <a:pt x="26419" y="256034"/>
                        <a:pt x="33264" y="256034"/>
                      </a:cubicBezTo>
                      <a:cubicBezTo>
                        <a:pt x="121561" y="256034"/>
                        <a:pt x="193382" y="184202"/>
                        <a:pt x="193382" y="95916"/>
                      </a:cubicBezTo>
                      <a:cubicBezTo>
                        <a:pt x="193382" y="68272"/>
                        <a:pt x="186216" y="41018"/>
                        <a:pt x="172675" y="17112"/>
                      </a:cubicBezTo>
                      <a:cubicBezTo>
                        <a:pt x="169556" y="11609"/>
                        <a:pt x="171482" y="4603"/>
                        <a:pt x="176997" y="1484"/>
                      </a:cubicBezTo>
                      <a:cubicBezTo>
                        <a:pt x="182501" y="-1623"/>
                        <a:pt x="189495" y="304"/>
                        <a:pt x="192625" y="5807"/>
                      </a:cubicBezTo>
                      <a:cubicBezTo>
                        <a:pt x="208115" y="33164"/>
                        <a:pt x="216302" y="64328"/>
                        <a:pt x="216302" y="95916"/>
                      </a:cubicBezTo>
                      <a:cubicBezTo>
                        <a:pt x="216313" y="196848"/>
                        <a:pt x="134196" y="278965"/>
                        <a:pt x="33264" y="278965"/>
                      </a:cubicBezTo>
                      <a:close/>
                    </a:path>
                  </a:pathLst>
                </a:custGeom>
                <a:grpFill/>
                <a:ln w="1145" cap="flat">
                  <a:noFill/>
                  <a:prstDash val="solid"/>
                  <a:miter/>
                </a:ln>
              </p:spPr>
              <p:txBody>
                <a:bodyPr rtlCol="0" anchor="ctr"/>
                <a:lstStyle/>
                <a:p>
                  <a:endParaRPr lang="en-GB" dirty="0"/>
                </a:p>
              </p:txBody>
            </p:sp>
            <p:grpSp>
              <p:nvGrpSpPr>
                <p:cNvPr id="207" name="Graphic 48">
                  <a:extLst>
                    <a:ext uri="{FF2B5EF4-FFF2-40B4-BE49-F238E27FC236}">
                      <a16:creationId xmlns:a16="http://schemas.microsoft.com/office/drawing/2014/main" id="{20B40069-5751-4E4C-BFDB-A0B691E72E96}"/>
                    </a:ext>
                  </a:extLst>
                </p:cNvPr>
                <p:cNvGrpSpPr/>
                <p:nvPr/>
              </p:nvGrpSpPr>
              <p:grpSpPr>
                <a:xfrm>
                  <a:off x="1992223" y="3246756"/>
                  <a:ext cx="140328" cy="99636"/>
                  <a:chOff x="1992223" y="3246756"/>
                  <a:chExt cx="140328" cy="99636"/>
                </a:xfrm>
                <a:grpFill/>
              </p:grpSpPr>
              <p:sp>
                <p:nvSpPr>
                  <p:cNvPr id="231" name="Freeform: Shape 230">
                    <a:extLst>
                      <a:ext uri="{FF2B5EF4-FFF2-40B4-BE49-F238E27FC236}">
                        <a16:creationId xmlns:a16="http://schemas.microsoft.com/office/drawing/2014/main" id="{889782C2-4C2F-4564-AC8B-24B59F71D749}"/>
                      </a:ext>
                    </a:extLst>
                  </p:cNvPr>
                  <p:cNvSpPr/>
                  <p:nvPr/>
                </p:nvSpPr>
                <p:spPr>
                  <a:xfrm>
                    <a:off x="1992223" y="3246756"/>
                    <a:ext cx="86141" cy="99636"/>
                  </a:xfrm>
                  <a:custGeom>
                    <a:avLst/>
                    <a:gdLst>
                      <a:gd name="connsiteX0" fmla="*/ 36495 w 86141"/>
                      <a:gd name="connsiteY0" fmla="*/ 99637 h 99636"/>
                      <a:gd name="connsiteX1" fmla="*/ 0 w 86141"/>
                      <a:gd name="connsiteY1" fmla="*/ 49979 h 99636"/>
                      <a:gd name="connsiteX2" fmla="*/ 35165 w 86141"/>
                      <a:gd name="connsiteY2" fmla="*/ 0 h 99636"/>
                      <a:gd name="connsiteX3" fmla="*/ 86142 w 86141"/>
                      <a:gd name="connsiteY3" fmla="*/ 49979 h 99636"/>
                      <a:gd name="connsiteX4" fmla="*/ 36495 w 86141"/>
                      <a:gd name="connsiteY4" fmla="*/ 99637 h 99636"/>
                      <a:gd name="connsiteX5" fmla="*/ 35165 w 86141"/>
                      <a:gd name="connsiteY5" fmla="*/ 22931 h 99636"/>
                      <a:gd name="connsiteX6" fmla="*/ 22931 w 86141"/>
                      <a:gd name="connsiteY6" fmla="*/ 49979 h 99636"/>
                      <a:gd name="connsiteX7" fmla="*/ 36495 w 86141"/>
                      <a:gd name="connsiteY7" fmla="*/ 76706 h 99636"/>
                      <a:gd name="connsiteX8" fmla="*/ 63222 w 86141"/>
                      <a:gd name="connsiteY8" fmla="*/ 49979 h 99636"/>
                      <a:gd name="connsiteX9" fmla="*/ 35165 w 86141"/>
                      <a:gd name="connsiteY9" fmla="*/ 22931 h 99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141" h="99636">
                        <a:moveTo>
                          <a:pt x="36495" y="99637"/>
                        </a:moveTo>
                        <a:cubicBezTo>
                          <a:pt x="15009" y="99637"/>
                          <a:pt x="0" y="79216"/>
                          <a:pt x="0" y="49979"/>
                        </a:cubicBezTo>
                        <a:cubicBezTo>
                          <a:pt x="0" y="19618"/>
                          <a:pt x="13805" y="0"/>
                          <a:pt x="35165" y="0"/>
                        </a:cubicBezTo>
                        <a:cubicBezTo>
                          <a:pt x="59943" y="0"/>
                          <a:pt x="86142" y="25694"/>
                          <a:pt x="86142" y="49979"/>
                        </a:cubicBezTo>
                        <a:cubicBezTo>
                          <a:pt x="86142" y="74114"/>
                          <a:pt x="60619" y="99637"/>
                          <a:pt x="36495" y="99637"/>
                        </a:cubicBezTo>
                        <a:close/>
                        <a:moveTo>
                          <a:pt x="35165" y="22931"/>
                        </a:moveTo>
                        <a:cubicBezTo>
                          <a:pt x="25500" y="22931"/>
                          <a:pt x="22931" y="39935"/>
                          <a:pt x="22931" y="49979"/>
                        </a:cubicBezTo>
                        <a:cubicBezTo>
                          <a:pt x="22931" y="60734"/>
                          <a:pt x="26543" y="76706"/>
                          <a:pt x="36495" y="76706"/>
                        </a:cubicBezTo>
                        <a:cubicBezTo>
                          <a:pt x="47284" y="76706"/>
                          <a:pt x="63222" y="62626"/>
                          <a:pt x="63222" y="49979"/>
                        </a:cubicBezTo>
                        <a:cubicBezTo>
                          <a:pt x="63210" y="37699"/>
                          <a:pt x="45989" y="22931"/>
                          <a:pt x="35165" y="22931"/>
                        </a:cubicBezTo>
                        <a:close/>
                      </a:path>
                    </a:pathLst>
                  </a:custGeom>
                  <a:grpFill/>
                  <a:ln w="1145" cap="flat">
                    <a:noFill/>
                    <a:prstDash val="solid"/>
                    <a:miter/>
                  </a:ln>
                </p:spPr>
                <p:txBody>
                  <a:bodyPr rtlCol="0" anchor="ctr"/>
                  <a:lstStyle/>
                  <a:p>
                    <a:endParaRPr lang="en-GB" dirty="0"/>
                  </a:p>
                </p:txBody>
              </p:sp>
              <p:sp>
                <p:nvSpPr>
                  <p:cNvPr id="232" name="Freeform: Shape 231">
                    <a:extLst>
                      <a:ext uri="{FF2B5EF4-FFF2-40B4-BE49-F238E27FC236}">
                        <a16:creationId xmlns:a16="http://schemas.microsoft.com/office/drawing/2014/main" id="{E45422BB-ADCD-471E-9116-08D47731A727}"/>
                      </a:ext>
                    </a:extLst>
                  </p:cNvPr>
                  <p:cNvSpPr/>
                  <p:nvPr/>
                </p:nvSpPr>
                <p:spPr>
                  <a:xfrm>
                    <a:off x="2055433" y="3285293"/>
                    <a:ext cx="77118" cy="22931"/>
                  </a:xfrm>
                  <a:custGeom>
                    <a:avLst/>
                    <a:gdLst>
                      <a:gd name="connsiteX0" fmla="*/ 65652 w 77118"/>
                      <a:gd name="connsiteY0" fmla="*/ 22931 h 22931"/>
                      <a:gd name="connsiteX1" fmla="*/ 11466 w 77118"/>
                      <a:gd name="connsiteY1" fmla="*/ 22931 h 22931"/>
                      <a:gd name="connsiteX2" fmla="*/ 0 w 77118"/>
                      <a:gd name="connsiteY2" fmla="*/ 11466 h 22931"/>
                      <a:gd name="connsiteX3" fmla="*/ 11466 w 77118"/>
                      <a:gd name="connsiteY3" fmla="*/ 0 h 22931"/>
                      <a:gd name="connsiteX4" fmla="*/ 65652 w 77118"/>
                      <a:gd name="connsiteY4" fmla="*/ 0 h 22931"/>
                      <a:gd name="connsiteX5" fmla="*/ 77118 w 77118"/>
                      <a:gd name="connsiteY5" fmla="*/ 11466 h 22931"/>
                      <a:gd name="connsiteX6" fmla="*/ 65652 w 77118"/>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118" h="22931">
                        <a:moveTo>
                          <a:pt x="65652" y="22931"/>
                        </a:moveTo>
                        <a:lnTo>
                          <a:pt x="11466" y="22931"/>
                        </a:lnTo>
                        <a:cubicBezTo>
                          <a:pt x="5137" y="22931"/>
                          <a:pt x="0" y="17806"/>
                          <a:pt x="0" y="11466"/>
                        </a:cubicBezTo>
                        <a:cubicBezTo>
                          <a:pt x="0" y="5125"/>
                          <a:pt x="5137" y="0"/>
                          <a:pt x="11466" y="0"/>
                        </a:cubicBezTo>
                        <a:lnTo>
                          <a:pt x="65652" y="0"/>
                        </a:lnTo>
                        <a:cubicBezTo>
                          <a:pt x="71981" y="0"/>
                          <a:pt x="77118" y="5125"/>
                          <a:pt x="77118" y="11466"/>
                        </a:cubicBezTo>
                        <a:cubicBezTo>
                          <a:pt x="77118" y="17806"/>
                          <a:pt x="71981" y="22931"/>
                          <a:pt x="65652" y="22931"/>
                        </a:cubicBezTo>
                        <a:close/>
                      </a:path>
                    </a:pathLst>
                  </a:custGeom>
                  <a:grpFill/>
                  <a:ln w="1145" cap="flat">
                    <a:noFill/>
                    <a:prstDash val="solid"/>
                    <a:miter/>
                  </a:ln>
                </p:spPr>
                <p:txBody>
                  <a:bodyPr rtlCol="0" anchor="ctr"/>
                  <a:lstStyle/>
                  <a:p>
                    <a:endParaRPr lang="en-GB" dirty="0"/>
                  </a:p>
                </p:txBody>
              </p:sp>
            </p:grpSp>
            <p:grpSp>
              <p:nvGrpSpPr>
                <p:cNvPr id="208" name="Graphic 48">
                  <a:extLst>
                    <a:ext uri="{FF2B5EF4-FFF2-40B4-BE49-F238E27FC236}">
                      <a16:creationId xmlns:a16="http://schemas.microsoft.com/office/drawing/2014/main" id="{4EC16516-CF18-4A99-ADA0-C61AAAF249F8}"/>
                    </a:ext>
                  </a:extLst>
                </p:cNvPr>
                <p:cNvGrpSpPr/>
                <p:nvPr/>
              </p:nvGrpSpPr>
              <p:grpSpPr>
                <a:xfrm>
                  <a:off x="2453544" y="3246585"/>
                  <a:ext cx="140329" cy="99659"/>
                  <a:chOff x="2453544" y="3246585"/>
                  <a:chExt cx="140329" cy="99659"/>
                </a:xfrm>
                <a:grpFill/>
              </p:grpSpPr>
              <p:sp>
                <p:nvSpPr>
                  <p:cNvPr id="229" name="Freeform: Shape 228">
                    <a:extLst>
                      <a:ext uri="{FF2B5EF4-FFF2-40B4-BE49-F238E27FC236}">
                        <a16:creationId xmlns:a16="http://schemas.microsoft.com/office/drawing/2014/main" id="{029A6118-A94C-4E79-9861-7904F769FB70}"/>
                      </a:ext>
                    </a:extLst>
                  </p:cNvPr>
                  <p:cNvSpPr/>
                  <p:nvPr/>
                </p:nvSpPr>
                <p:spPr>
                  <a:xfrm>
                    <a:off x="2507719" y="3246585"/>
                    <a:ext cx="86154" cy="99659"/>
                  </a:xfrm>
                  <a:custGeom>
                    <a:avLst/>
                    <a:gdLst>
                      <a:gd name="connsiteX0" fmla="*/ 49750 w 86154"/>
                      <a:gd name="connsiteY0" fmla="*/ 99660 h 99659"/>
                      <a:gd name="connsiteX1" fmla="*/ 0 w 86154"/>
                      <a:gd name="connsiteY1" fmla="*/ 50231 h 99659"/>
                      <a:gd name="connsiteX2" fmla="*/ 16614 w 86154"/>
                      <a:gd name="connsiteY2" fmla="*/ 15616 h 99659"/>
                      <a:gd name="connsiteX3" fmla="*/ 50747 w 86154"/>
                      <a:gd name="connsiteY3" fmla="*/ 0 h 99659"/>
                      <a:gd name="connsiteX4" fmla="*/ 50908 w 86154"/>
                      <a:gd name="connsiteY4" fmla="*/ 0 h 99659"/>
                      <a:gd name="connsiteX5" fmla="*/ 86153 w 86154"/>
                      <a:gd name="connsiteY5" fmla="*/ 49818 h 99659"/>
                      <a:gd name="connsiteX6" fmla="*/ 49911 w 86154"/>
                      <a:gd name="connsiteY6" fmla="*/ 99660 h 99659"/>
                      <a:gd name="connsiteX7" fmla="*/ 49750 w 86154"/>
                      <a:gd name="connsiteY7" fmla="*/ 99660 h 99659"/>
                      <a:gd name="connsiteX8" fmla="*/ 50885 w 86154"/>
                      <a:gd name="connsiteY8" fmla="*/ 22931 h 99659"/>
                      <a:gd name="connsiteX9" fmla="*/ 50851 w 86154"/>
                      <a:gd name="connsiteY9" fmla="*/ 22931 h 99659"/>
                      <a:gd name="connsiteX10" fmla="*/ 32494 w 86154"/>
                      <a:gd name="connsiteY10" fmla="*/ 32172 h 99659"/>
                      <a:gd name="connsiteX11" fmla="*/ 22932 w 86154"/>
                      <a:gd name="connsiteY11" fmla="*/ 50116 h 99659"/>
                      <a:gd name="connsiteX12" fmla="*/ 49738 w 86154"/>
                      <a:gd name="connsiteY12" fmla="*/ 76717 h 99659"/>
                      <a:gd name="connsiteX13" fmla="*/ 49796 w 86154"/>
                      <a:gd name="connsiteY13" fmla="*/ 76717 h 99659"/>
                      <a:gd name="connsiteX14" fmla="*/ 63222 w 86154"/>
                      <a:gd name="connsiteY14" fmla="*/ 49922 h 99659"/>
                      <a:gd name="connsiteX15" fmla="*/ 50885 w 86154"/>
                      <a:gd name="connsiteY15" fmla="*/ 22931 h 99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154" h="99659">
                        <a:moveTo>
                          <a:pt x="49750" y="99660"/>
                        </a:moveTo>
                        <a:cubicBezTo>
                          <a:pt x="25649" y="99660"/>
                          <a:pt x="115" y="74309"/>
                          <a:pt x="0" y="50231"/>
                        </a:cubicBezTo>
                        <a:cubicBezTo>
                          <a:pt x="-57" y="38421"/>
                          <a:pt x="5997" y="25798"/>
                          <a:pt x="16614" y="15616"/>
                        </a:cubicBezTo>
                        <a:cubicBezTo>
                          <a:pt x="26910" y="5744"/>
                          <a:pt x="39351" y="57"/>
                          <a:pt x="50747" y="0"/>
                        </a:cubicBezTo>
                        <a:cubicBezTo>
                          <a:pt x="50793" y="0"/>
                          <a:pt x="50851" y="0"/>
                          <a:pt x="50908" y="0"/>
                        </a:cubicBezTo>
                        <a:cubicBezTo>
                          <a:pt x="72177" y="0"/>
                          <a:pt x="86016" y="19526"/>
                          <a:pt x="86153" y="49818"/>
                        </a:cubicBezTo>
                        <a:cubicBezTo>
                          <a:pt x="86291" y="79056"/>
                          <a:pt x="71386" y="99545"/>
                          <a:pt x="49911" y="99660"/>
                        </a:cubicBezTo>
                        <a:cubicBezTo>
                          <a:pt x="49865" y="99660"/>
                          <a:pt x="49807" y="99660"/>
                          <a:pt x="49750" y="99660"/>
                        </a:cubicBezTo>
                        <a:close/>
                        <a:moveTo>
                          <a:pt x="50885" y="22931"/>
                        </a:moveTo>
                        <a:cubicBezTo>
                          <a:pt x="50874" y="22931"/>
                          <a:pt x="50862" y="22931"/>
                          <a:pt x="50851" y="22931"/>
                        </a:cubicBezTo>
                        <a:cubicBezTo>
                          <a:pt x="45531" y="22954"/>
                          <a:pt x="38319" y="26577"/>
                          <a:pt x="32494" y="32172"/>
                        </a:cubicBezTo>
                        <a:cubicBezTo>
                          <a:pt x="26578" y="37848"/>
                          <a:pt x="22920" y="44739"/>
                          <a:pt x="22932" y="50116"/>
                        </a:cubicBezTo>
                        <a:cubicBezTo>
                          <a:pt x="22989" y="62752"/>
                          <a:pt x="38938" y="76717"/>
                          <a:pt x="49738" y="76717"/>
                        </a:cubicBezTo>
                        <a:cubicBezTo>
                          <a:pt x="49750" y="76717"/>
                          <a:pt x="49773" y="76717"/>
                          <a:pt x="49796" y="76717"/>
                        </a:cubicBezTo>
                        <a:cubicBezTo>
                          <a:pt x="59737" y="76659"/>
                          <a:pt x="63268" y="60665"/>
                          <a:pt x="63222" y="49922"/>
                        </a:cubicBezTo>
                        <a:cubicBezTo>
                          <a:pt x="63176" y="39901"/>
                          <a:pt x="60516" y="22931"/>
                          <a:pt x="50885" y="22931"/>
                        </a:cubicBezTo>
                        <a:close/>
                      </a:path>
                    </a:pathLst>
                  </a:custGeom>
                  <a:grpFill/>
                  <a:ln w="1145" cap="flat">
                    <a:noFill/>
                    <a:prstDash val="solid"/>
                    <a:miter/>
                  </a:ln>
                </p:spPr>
                <p:txBody>
                  <a:bodyPr rtlCol="0" anchor="ctr"/>
                  <a:lstStyle/>
                  <a:p>
                    <a:endParaRPr lang="en-GB" dirty="0"/>
                  </a:p>
                </p:txBody>
              </p:sp>
              <p:sp>
                <p:nvSpPr>
                  <p:cNvPr id="230" name="Freeform: Shape 229">
                    <a:extLst>
                      <a:ext uri="{FF2B5EF4-FFF2-40B4-BE49-F238E27FC236}">
                        <a16:creationId xmlns:a16="http://schemas.microsoft.com/office/drawing/2014/main" id="{C5A71D94-AB01-473F-8C41-7E8B720108D9}"/>
                      </a:ext>
                    </a:extLst>
                  </p:cNvPr>
                  <p:cNvSpPr/>
                  <p:nvPr/>
                </p:nvSpPr>
                <p:spPr>
                  <a:xfrm>
                    <a:off x="2453544" y="3285327"/>
                    <a:ext cx="77118" cy="23183"/>
                  </a:xfrm>
                  <a:custGeom>
                    <a:avLst/>
                    <a:gdLst>
                      <a:gd name="connsiteX0" fmla="*/ 11466 w 77118"/>
                      <a:gd name="connsiteY0" fmla="*/ 23184 h 23183"/>
                      <a:gd name="connsiteX1" fmla="*/ 0 w 77118"/>
                      <a:gd name="connsiteY1" fmla="*/ 11775 h 23183"/>
                      <a:gd name="connsiteX2" fmla="*/ 11408 w 77118"/>
                      <a:gd name="connsiteY2" fmla="*/ 252 h 23183"/>
                      <a:gd name="connsiteX3" fmla="*/ 65595 w 77118"/>
                      <a:gd name="connsiteY3" fmla="*/ 0 h 23183"/>
                      <a:gd name="connsiteX4" fmla="*/ 65652 w 77118"/>
                      <a:gd name="connsiteY4" fmla="*/ 0 h 23183"/>
                      <a:gd name="connsiteX5" fmla="*/ 77118 w 77118"/>
                      <a:gd name="connsiteY5" fmla="*/ 11408 h 23183"/>
                      <a:gd name="connsiteX6" fmla="*/ 65710 w 77118"/>
                      <a:gd name="connsiteY6" fmla="*/ 22931 h 23183"/>
                      <a:gd name="connsiteX7" fmla="*/ 11523 w 77118"/>
                      <a:gd name="connsiteY7" fmla="*/ 23184 h 23183"/>
                      <a:gd name="connsiteX8" fmla="*/ 11466 w 77118"/>
                      <a:gd name="connsiteY8" fmla="*/ 23184 h 23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18" h="23183">
                        <a:moveTo>
                          <a:pt x="11466" y="23184"/>
                        </a:moveTo>
                        <a:cubicBezTo>
                          <a:pt x="5160" y="23184"/>
                          <a:pt x="23" y="18093"/>
                          <a:pt x="0" y="11775"/>
                        </a:cubicBezTo>
                        <a:cubicBezTo>
                          <a:pt x="-23" y="5435"/>
                          <a:pt x="5079" y="287"/>
                          <a:pt x="11408" y="252"/>
                        </a:cubicBezTo>
                        <a:lnTo>
                          <a:pt x="65595" y="0"/>
                        </a:lnTo>
                        <a:cubicBezTo>
                          <a:pt x="65618" y="0"/>
                          <a:pt x="65630" y="0"/>
                          <a:pt x="65652" y="0"/>
                        </a:cubicBezTo>
                        <a:cubicBezTo>
                          <a:pt x="71959" y="0"/>
                          <a:pt x="77095" y="5091"/>
                          <a:pt x="77118" y="11408"/>
                        </a:cubicBezTo>
                        <a:cubicBezTo>
                          <a:pt x="77141" y="17749"/>
                          <a:pt x="72039" y="22897"/>
                          <a:pt x="65710" y="22931"/>
                        </a:cubicBezTo>
                        <a:lnTo>
                          <a:pt x="11523" y="23184"/>
                        </a:lnTo>
                        <a:cubicBezTo>
                          <a:pt x="11500" y="23184"/>
                          <a:pt x="11477" y="23184"/>
                          <a:pt x="11466" y="23184"/>
                        </a:cubicBezTo>
                        <a:close/>
                      </a:path>
                    </a:pathLst>
                  </a:custGeom>
                  <a:grpFill/>
                  <a:ln w="1145" cap="flat">
                    <a:noFill/>
                    <a:prstDash val="solid"/>
                    <a:miter/>
                  </a:ln>
                </p:spPr>
                <p:txBody>
                  <a:bodyPr rtlCol="0" anchor="ctr"/>
                  <a:lstStyle/>
                  <a:p>
                    <a:endParaRPr lang="en-GB" dirty="0"/>
                  </a:p>
                </p:txBody>
              </p:sp>
            </p:grpSp>
            <p:grpSp>
              <p:nvGrpSpPr>
                <p:cNvPr id="209" name="Graphic 48">
                  <a:extLst>
                    <a:ext uri="{FF2B5EF4-FFF2-40B4-BE49-F238E27FC236}">
                      <a16:creationId xmlns:a16="http://schemas.microsoft.com/office/drawing/2014/main" id="{D3E500C5-B4CE-42DF-AFDA-BF76287053DC}"/>
                    </a:ext>
                  </a:extLst>
                </p:cNvPr>
                <p:cNvGrpSpPr/>
                <p:nvPr/>
              </p:nvGrpSpPr>
              <p:grpSpPr>
                <a:xfrm>
                  <a:off x="2060867" y="2996495"/>
                  <a:ext cx="282182" cy="190330"/>
                  <a:chOff x="2060867" y="2996495"/>
                  <a:chExt cx="282182" cy="190330"/>
                </a:xfrm>
                <a:grpFill/>
              </p:grpSpPr>
              <p:grpSp>
                <p:nvGrpSpPr>
                  <p:cNvPr id="223" name="Graphic 48">
                    <a:extLst>
                      <a:ext uri="{FF2B5EF4-FFF2-40B4-BE49-F238E27FC236}">
                        <a16:creationId xmlns:a16="http://schemas.microsoft.com/office/drawing/2014/main" id="{5A12DAC7-5F66-4CD9-833A-110050BA3BAF}"/>
                      </a:ext>
                    </a:extLst>
                  </p:cNvPr>
                  <p:cNvGrpSpPr/>
                  <p:nvPr/>
                </p:nvGrpSpPr>
                <p:grpSpPr>
                  <a:xfrm>
                    <a:off x="2243413" y="2996495"/>
                    <a:ext cx="99636" cy="140339"/>
                    <a:chOff x="2243413" y="2996495"/>
                    <a:chExt cx="99636" cy="140339"/>
                  </a:xfrm>
                  <a:grpFill/>
                </p:grpSpPr>
                <p:sp>
                  <p:nvSpPr>
                    <p:cNvPr id="227" name="Freeform: Shape 226">
                      <a:extLst>
                        <a:ext uri="{FF2B5EF4-FFF2-40B4-BE49-F238E27FC236}">
                          <a16:creationId xmlns:a16="http://schemas.microsoft.com/office/drawing/2014/main" id="{91B299E5-823E-4439-8F82-B80D91C21ACA}"/>
                        </a:ext>
                      </a:extLst>
                    </p:cNvPr>
                    <p:cNvSpPr/>
                    <p:nvPr/>
                  </p:nvSpPr>
                  <p:spPr>
                    <a:xfrm>
                      <a:off x="2243413" y="2996495"/>
                      <a:ext cx="99636" cy="86153"/>
                    </a:xfrm>
                    <a:custGeom>
                      <a:avLst/>
                      <a:gdLst>
                        <a:gd name="connsiteX0" fmla="*/ 49658 w 99636"/>
                        <a:gd name="connsiteY0" fmla="*/ 86153 h 86153"/>
                        <a:gd name="connsiteX1" fmla="*/ 0 w 99636"/>
                        <a:gd name="connsiteY1" fmla="*/ 36495 h 86153"/>
                        <a:gd name="connsiteX2" fmla="*/ 49658 w 99636"/>
                        <a:gd name="connsiteY2" fmla="*/ 0 h 86153"/>
                        <a:gd name="connsiteX3" fmla="*/ 99637 w 99636"/>
                        <a:gd name="connsiteY3" fmla="*/ 35165 h 86153"/>
                        <a:gd name="connsiteX4" fmla="*/ 49658 w 99636"/>
                        <a:gd name="connsiteY4" fmla="*/ 86153 h 86153"/>
                        <a:gd name="connsiteX5" fmla="*/ 49658 w 99636"/>
                        <a:gd name="connsiteY5" fmla="*/ 22943 h 86153"/>
                        <a:gd name="connsiteX6" fmla="*/ 22931 w 99636"/>
                        <a:gd name="connsiteY6" fmla="*/ 36507 h 86153"/>
                        <a:gd name="connsiteX7" fmla="*/ 49658 w 99636"/>
                        <a:gd name="connsiteY7" fmla="*/ 63233 h 86153"/>
                        <a:gd name="connsiteX8" fmla="*/ 76705 w 99636"/>
                        <a:gd name="connsiteY8" fmla="*/ 35188 h 86153"/>
                        <a:gd name="connsiteX9" fmla="*/ 49658 w 99636"/>
                        <a:gd name="connsiteY9" fmla="*/ 22943 h 86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6" h="86153">
                          <a:moveTo>
                            <a:pt x="49658" y="86153"/>
                          </a:moveTo>
                          <a:cubicBezTo>
                            <a:pt x="25523" y="86153"/>
                            <a:pt x="0" y="60619"/>
                            <a:pt x="0" y="36495"/>
                          </a:cubicBezTo>
                          <a:cubicBezTo>
                            <a:pt x="0" y="15009"/>
                            <a:pt x="20420" y="0"/>
                            <a:pt x="49658" y="0"/>
                          </a:cubicBezTo>
                          <a:cubicBezTo>
                            <a:pt x="80019" y="0"/>
                            <a:pt x="99637" y="13805"/>
                            <a:pt x="99637" y="35165"/>
                          </a:cubicBezTo>
                          <a:cubicBezTo>
                            <a:pt x="99648" y="59954"/>
                            <a:pt x="73954" y="86153"/>
                            <a:pt x="49658" y="86153"/>
                          </a:cubicBezTo>
                          <a:close/>
                          <a:moveTo>
                            <a:pt x="49658" y="22943"/>
                          </a:moveTo>
                          <a:cubicBezTo>
                            <a:pt x="38914" y="22943"/>
                            <a:pt x="22931" y="26555"/>
                            <a:pt x="22931" y="36507"/>
                          </a:cubicBezTo>
                          <a:cubicBezTo>
                            <a:pt x="22931" y="47296"/>
                            <a:pt x="37011" y="63233"/>
                            <a:pt x="49658" y="63233"/>
                          </a:cubicBezTo>
                          <a:cubicBezTo>
                            <a:pt x="61938" y="63233"/>
                            <a:pt x="76705" y="46000"/>
                            <a:pt x="76705" y="35188"/>
                          </a:cubicBezTo>
                          <a:cubicBezTo>
                            <a:pt x="76717" y="25511"/>
                            <a:pt x="59713" y="22943"/>
                            <a:pt x="49658" y="22943"/>
                          </a:cubicBezTo>
                          <a:close/>
                        </a:path>
                      </a:pathLst>
                    </a:custGeom>
                    <a:grpFill/>
                    <a:ln w="1145" cap="flat">
                      <a:noFill/>
                      <a:prstDash val="solid"/>
                      <a:miter/>
                    </a:ln>
                  </p:spPr>
                  <p:txBody>
                    <a:bodyPr rtlCol="0" anchor="ctr"/>
                    <a:lstStyle/>
                    <a:p>
                      <a:endParaRPr lang="en-GB" dirty="0"/>
                    </a:p>
                  </p:txBody>
                </p:sp>
                <p:sp>
                  <p:nvSpPr>
                    <p:cNvPr id="228" name="Freeform: Shape 227">
                      <a:extLst>
                        <a:ext uri="{FF2B5EF4-FFF2-40B4-BE49-F238E27FC236}">
                          <a16:creationId xmlns:a16="http://schemas.microsoft.com/office/drawing/2014/main" id="{CB708377-AE30-4A34-AD8E-E982523C172E}"/>
                        </a:ext>
                      </a:extLst>
                    </p:cNvPr>
                    <p:cNvSpPr/>
                    <p:nvPr/>
                  </p:nvSpPr>
                  <p:spPr>
                    <a:xfrm>
                      <a:off x="2281582" y="3059717"/>
                      <a:ext cx="22931" cy="77118"/>
                    </a:xfrm>
                    <a:custGeom>
                      <a:avLst/>
                      <a:gdLst>
                        <a:gd name="connsiteX0" fmla="*/ 11466 w 22931"/>
                        <a:gd name="connsiteY0" fmla="*/ 77118 h 77118"/>
                        <a:gd name="connsiteX1" fmla="*/ 0 w 22931"/>
                        <a:gd name="connsiteY1" fmla="*/ 65652 h 77118"/>
                        <a:gd name="connsiteX2" fmla="*/ 0 w 22931"/>
                        <a:gd name="connsiteY2" fmla="*/ 11466 h 77118"/>
                        <a:gd name="connsiteX3" fmla="*/ 11466 w 22931"/>
                        <a:gd name="connsiteY3" fmla="*/ 0 h 77118"/>
                        <a:gd name="connsiteX4" fmla="*/ 22931 w 22931"/>
                        <a:gd name="connsiteY4" fmla="*/ 11466 h 77118"/>
                        <a:gd name="connsiteX5" fmla="*/ 22931 w 22931"/>
                        <a:gd name="connsiteY5" fmla="*/ 65652 h 77118"/>
                        <a:gd name="connsiteX6" fmla="*/ 11466 w 22931"/>
                        <a:gd name="connsiteY6" fmla="*/ 77118 h 77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77118">
                          <a:moveTo>
                            <a:pt x="11466" y="77118"/>
                          </a:moveTo>
                          <a:cubicBezTo>
                            <a:pt x="5137" y="77118"/>
                            <a:pt x="0" y="71993"/>
                            <a:pt x="0" y="65652"/>
                          </a:cubicBezTo>
                          <a:lnTo>
                            <a:pt x="0" y="11466"/>
                          </a:lnTo>
                          <a:cubicBezTo>
                            <a:pt x="0" y="5125"/>
                            <a:pt x="5137" y="0"/>
                            <a:pt x="11466" y="0"/>
                          </a:cubicBezTo>
                          <a:cubicBezTo>
                            <a:pt x="17795" y="0"/>
                            <a:pt x="22931" y="5125"/>
                            <a:pt x="22931" y="11466"/>
                          </a:cubicBezTo>
                          <a:lnTo>
                            <a:pt x="22931" y="65652"/>
                          </a:lnTo>
                          <a:cubicBezTo>
                            <a:pt x="22931" y="71993"/>
                            <a:pt x="17795" y="77118"/>
                            <a:pt x="11466" y="77118"/>
                          </a:cubicBezTo>
                          <a:close/>
                        </a:path>
                      </a:pathLst>
                    </a:custGeom>
                    <a:grpFill/>
                    <a:ln w="1145" cap="flat">
                      <a:noFill/>
                      <a:prstDash val="solid"/>
                      <a:miter/>
                    </a:ln>
                  </p:spPr>
                  <p:txBody>
                    <a:bodyPr rtlCol="0" anchor="ctr"/>
                    <a:lstStyle/>
                    <a:p>
                      <a:endParaRPr lang="en-GB" dirty="0"/>
                    </a:p>
                  </p:txBody>
                </p:sp>
              </p:grpSp>
              <p:grpSp>
                <p:nvGrpSpPr>
                  <p:cNvPr id="224" name="Graphic 48">
                    <a:extLst>
                      <a:ext uri="{FF2B5EF4-FFF2-40B4-BE49-F238E27FC236}">
                        <a16:creationId xmlns:a16="http://schemas.microsoft.com/office/drawing/2014/main" id="{E6DDB5B4-1B1E-4E82-B00C-94040231AB3F}"/>
                      </a:ext>
                    </a:extLst>
                  </p:cNvPr>
                  <p:cNvGrpSpPr/>
                  <p:nvPr/>
                </p:nvGrpSpPr>
                <p:grpSpPr>
                  <a:xfrm>
                    <a:off x="2060867" y="3065704"/>
                    <a:ext cx="122113" cy="121121"/>
                    <a:chOff x="2060867" y="3065704"/>
                    <a:chExt cx="122113" cy="121121"/>
                  </a:xfrm>
                  <a:grpFill/>
                </p:grpSpPr>
                <p:sp>
                  <p:nvSpPr>
                    <p:cNvPr id="225" name="Freeform: Shape 224">
                      <a:extLst>
                        <a:ext uri="{FF2B5EF4-FFF2-40B4-BE49-F238E27FC236}">
                          <a16:creationId xmlns:a16="http://schemas.microsoft.com/office/drawing/2014/main" id="{7B9331FC-7731-4BA8-98E4-DCF28D11B3F2}"/>
                        </a:ext>
                      </a:extLst>
                    </p:cNvPr>
                    <p:cNvSpPr/>
                    <p:nvPr/>
                  </p:nvSpPr>
                  <p:spPr>
                    <a:xfrm>
                      <a:off x="2060867" y="3065704"/>
                      <a:ext cx="93216" cy="92136"/>
                    </a:xfrm>
                    <a:custGeom>
                      <a:avLst/>
                      <a:gdLst>
                        <a:gd name="connsiteX0" fmla="*/ 45462 w 93216"/>
                        <a:gd name="connsiteY0" fmla="*/ 92136 h 92136"/>
                        <a:gd name="connsiteX1" fmla="*/ 9024 w 93216"/>
                        <a:gd name="connsiteY1" fmla="*/ 78779 h 92136"/>
                        <a:gd name="connsiteX2" fmla="*/ 9024 w 93216"/>
                        <a:gd name="connsiteY2" fmla="*/ 78779 h 92136"/>
                        <a:gd name="connsiteX3" fmla="*/ 19504 w 93216"/>
                        <a:gd name="connsiteY3" fmla="*/ 18561 h 92136"/>
                        <a:gd name="connsiteX4" fmla="*/ 80421 w 93216"/>
                        <a:gd name="connsiteY4" fmla="*/ 9240 h 92136"/>
                        <a:gd name="connsiteX5" fmla="*/ 80421 w 93216"/>
                        <a:gd name="connsiteY5" fmla="*/ 79467 h 92136"/>
                        <a:gd name="connsiteX6" fmla="*/ 45462 w 93216"/>
                        <a:gd name="connsiteY6" fmla="*/ 92136 h 92136"/>
                        <a:gd name="connsiteX7" fmla="*/ 25237 w 93216"/>
                        <a:gd name="connsiteY7" fmla="*/ 62566 h 92136"/>
                        <a:gd name="connsiteX8" fmla="*/ 64197 w 93216"/>
                        <a:gd name="connsiteY8" fmla="*/ 63266 h 92136"/>
                        <a:gd name="connsiteX9" fmla="*/ 64197 w 93216"/>
                        <a:gd name="connsiteY9" fmla="*/ 25464 h 92136"/>
                        <a:gd name="connsiteX10" fmla="*/ 35716 w 93216"/>
                        <a:gd name="connsiteY10" fmla="*/ 34785 h 92136"/>
                        <a:gd name="connsiteX11" fmla="*/ 25237 w 93216"/>
                        <a:gd name="connsiteY11" fmla="*/ 62566 h 92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216" h="92136">
                          <a:moveTo>
                            <a:pt x="45462" y="92136"/>
                          </a:moveTo>
                          <a:cubicBezTo>
                            <a:pt x="31749" y="92136"/>
                            <a:pt x="17922" y="87665"/>
                            <a:pt x="9024" y="78779"/>
                          </a:cubicBezTo>
                          <a:lnTo>
                            <a:pt x="9024" y="78779"/>
                          </a:lnTo>
                          <a:cubicBezTo>
                            <a:pt x="-6087" y="63667"/>
                            <a:pt x="-1971" y="40025"/>
                            <a:pt x="19504" y="18561"/>
                          </a:cubicBezTo>
                          <a:cubicBezTo>
                            <a:pt x="40188" y="-2111"/>
                            <a:pt x="65241" y="-5952"/>
                            <a:pt x="80421" y="9240"/>
                          </a:cubicBezTo>
                          <a:cubicBezTo>
                            <a:pt x="97482" y="26312"/>
                            <a:pt x="97482" y="62417"/>
                            <a:pt x="80421" y="79467"/>
                          </a:cubicBezTo>
                          <a:cubicBezTo>
                            <a:pt x="71959" y="87940"/>
                            <a:pt x="58762" y="92136"/>
                            <a:pt x="45462" y="92136"/>
                          </a:cubicBezTo>
                          <a:close/>
                          <a:moveTo>
                            <a:pt x="25237" y="62566"/>
                          </a:moveTo>
                          <a:cubicBezTo>
                            <a:pt x="32884" y="70226"/>
                            <a:pt x="55506" y="71934"/>
                            <a:pt x="64197" y="63266"/>
                          </a:cubicBezTo>
                          <a:cubicBezTo>
                            <a:pt x="73140" y="54323"/>
                            <a:pt x="71833" y="33100"/>
                            <a:pt x="64197" y="25464"/>
                          </a:cubicBezTo>
                          <a:cubicBezTo>
                            <a:pt x="57146" y="18446"/>
                            <a:pt x="43307" y="27172"/>
                            <a:pt x="35716" y="34785"/>
                          </a:cubicBezTo>
                          <a:cubicBezTo>
                            <a:pt x="28608" y="41882"/>
                            <a:pt x="18415" y="55721"/>
                            <a:pt x="25237" y="62566"/>
                          </a:cubicBezTo>
                          <a:close/>
                        </a:path>
                      </a:pathLst>
                    </a:custGeom>
                    <a:grpFill/>
                    <a:ln w="1145" cap="flat">
                      <a:noFill/>
                      <a:prstDash val="solid"/>
                      <a:miter/>
                    </a:ln>
                  </p:spPr>
                  <p:txBody>
                    <a:bodyPr rtlCol="0" anchor="ctr"/>
                    <a:lstStyle/>
                    <a:p>
                      <a:endParaRPr lang="en-GB" dirty="0"/>
                    </a:p>
                  </p:txBody>
                </p:sp>
                <p:sp>
                  <p:nvSpPr>
                    <p:cNvPr id="226" name="Freeform: Shape 225">
                      <a:extLst>
                        <a:ext uri="{FF2B5EF4-FFF2-40B4-BE49-F238E27FC236}">
                          <a16:creationId xmlns:a16="http://schemas.microsoft.com/office/drawing/2014/main" id="{AEF65240-C784-41D9-B39D-8EB3EBD9E69D}"/>
                        </a:ext>
                      </a:extLst>
                    </p:cNvPr>
                    <p:cNvSpPr/>
                    <p:nvPr/>
                  </p:nvSpPr>
                  <p:spPr>
                    <a:xfrm>
                      <a:off x="2121725" y="3125584"/>
                      <a:ext cx="61255" cy="61240"/>
                    </a:xfrm>
                    <a:custGeom>
                      <a:avLst/>
                      <a:gdLst>
                        <a:gd name="connsiteX0" fmla="*/ 49787 w 61255"/>
                        <a:gd name="connsiteY0" fmla="*/ 61241 h 61240"/>
                        <a:gd name="connsiteX1" fmla="*/ 41681 w 61255"/>
                        <a:gd name="connsiteY1" fmla="*/ 57882 h 61240"/>
                        <a:gd name="connsiteX2" fmla="*/ 3362 w 61255"/>
                        <a:gd name="connsiteY2" fmla="*/ 19575 h 61240"/>
                        <a:gd name="connsiteX3" fmla="*/ 3362 w 61255"/>
                        <a:gd name="connsiteY3" fmla="*/ 3362 h 61240"/>
                        <a:gd name="connsiteX4" fmla="*/ 19575 w 61255"/>
                        <a:gd name="connsiteY4" fmla="*/ 3362 h 61240"/>
                        <a:gd name="connsiteX5" fmla="*/ 57893 w 61255"/>
                        <a:gd name="connsiteY5" fmla="*/ 41669 h 61240"/>
                        <a:gd name="connsiteX6" fmla="*/ 57893 w 61255"/>
                        <a:gd name="connsiteY6" fmla="*/ 57882 h 61240"/>
                        <a:gd name="connsiteX7" fmla="*/ 49787 w 61255"/>
                        <a:gd name="connsiteY7" fmla="*/ 61241 h 6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255" h="61240">
                          <a:moveTo>
                            <a:pt x="49787" y="61241"/>
                          </a:moveTo>
                          <a:cubicBezTo>
                            <a:pt x="46852" y="61241"/>
                            <a:pt x="43916" y="60117"/>
                            <a:pt x="41681" y="57882"/>
                          </a:cubicBezTo>
                          <a:lnTo>
                            <a:pt x="3362" y="19575"/>
                          </a:lnTo>
                          <a:cubicBezTo>
                            <a:pt x="-1121" y="15092"/>
                            <a:pt x="-1121" y="7845"/>
                            <a:pt x="3362" y="3362"/>
                          </a:cubicBezTo>
                          <a:cubicBezTo>
                            <a:pt x="7845" y="-1121"/>
                            <a:pt x="15092" y="-1121"/>
                            <a:pt x="19575" y="3362"/>
                          </a:cubicBezTo>
                          <a:lnTo>
                            <a:pt x="57893" y="41669"/>
                          </a:lnTo>
                          <a:cubicBezTo>
                            <a:pt x="62376" y="46152"/>
                            <a:pt x="62376" y="53399"/>
                            <a:pt x="57893" y="57882"/>
                          </a:cubicBezTo>
                          <a:cubicBezTo>
                            <a:pt x="55646" y="60129"/>
                            <a:pt x="52722" y="61241"/>
                            <a:pt x="49787" y="61241"/>
                          </a:cubicBezTo>
                          <a:close/>
                        </a:path>
                      </a:pathLst>
                    </a:custGeom>
                    <a:grpFill/>
                    <a:ln w="1145" cap="flat">
                      <a:noFill/>
                      <a:prstDash val="solid"/>
                      <a:miter/>
                    </a:ln>
                  </p:spPr>
                  <p:txBody>
                    <a:bodyPr rtlCol="0" anchor="ctr"/>
                    <a:lstStyle/>
                    <a:p>
                      <a:endParaRPr lang="en-GB" dirty="0"/>
                    </a:p>
                  </p:txBody>
                </p:sp>
              </p:grpSp>
            </p:grpSp>
            <p:grpSp>
              <p:nvGrpSpPr>
                <p:cNvPr id="210" name="Graphic 48">
                  <a:extLst>
                    <a:ext uri="{FF2B5EF4-FFF2-40B4-BE49-F238E27FC236}">
                      <a16:creationId xmlns:a16="http://schemas.microsoft.com/office/drawing/2014/main" id="{261C9DF5-3DA2-4F58-95BA-9FFF9B228214}"/>
                    </a:ext>
                  </a:extLst>
                </p:cNvPr>
                <p:cNvGrpSpPr/>
                <p:nvPr/>
              </p:nvGrpSpPr>
              <p:grpSpPr>
                <a:xfrm>
                  <a:off x="2243413" y="3407353"/>
                  <a:ext cx="282160" cy="190722"/>
                  <a:chOff x="2243413" y="3407353"/>
                  <a:chExt cx="282160" cy="190722"/>
                </a:xfrm>
                <a:grpFill/>
              </p:grpSpPr>
              <p:grpSp>
                <p:nvGrpSpPr>
                  <p:cNvPr id="217" name="Graphic 48">
                    <a:extLst>
                      <a:ext uri="{FF2B5EF4-FFF2-40B4-BE49-F238E27FC236}">
                        <a16:creationId xmlns:a16="http://schemas.microsoft.com/office/drawing/2014/main" id="{7B9B26A3-CF3A-474C-AD48-8DAD7D71DB92}"/>
                      </a:ext>
                    </a:extLst>
                  </p:cNvPr>
                  <p:cNvGrpSpPr/>
                  <p:nvPr/>
                </p:nvGrpSpPr>
                <p:grpSpPr>
                  <a:xfrm>
                    <a:off x="2243413" y="3457759"/>
                    <a:ext cx="99636" cy="140316"/>
                    <a:chOff x="2243413" y="3457759"/>
                    <a:chExt cx="99636" cy="140316"/>
                  </a:xfrm>
                  <a:grpFill/>
                </p:grpSpPr>
                <p:sp>
                  <p:nvSpPr>
                    <p:cNvPr id="221" name="Freeform: Shape 220">
                      <a:extLst>
                        <a:ext uri="{FF2B5EF4-FFF2-40B4-BE49-F238E27FC236}">
                          <a16:creationId xmlns:a16="http://schemas.microsoft.com/office/drawing/2014/main" id="{F930998A-7DF0-4212-B360-8822FF9B9AC5}"/>
                        </a:ext>
                      </a:extLst>
                    </p:cNvPr>
                    <p:cNvSpPr/>
                    <p:nvPr/>
                  </p:nvSpPr>
                  <p:spPr>
                    <a:xfrm>
                      <a:off x="2243413" y="3511935"/>
                      <a:ext cx="99636" cy="86141"/>
                    </a:xfrm>
                    <a:custGeom>
                      <a:avLst/>
                      <a:gdLst>
                        <a:gd name="connsiteX0" fmla="*/ 49658 w 99636"/>
                        <a:gd name="connsiteY0" fmla="*/ 86141 h 86141"/>
                        <a:gd name="connsiteX1" fmla="*/ 0 w 99636"/>
                        <a:gd name="connsiteY1" fmla="*/ 49658 h 86141"/>
                        <a:gd name="connsiteX2" fmla="*/ 49658 w 99636"/>
                        <a:gd name="connsiteY2" fmla="*/ 0 h 86141"/>
                        <a:gd name="connsiteX3" fmla="*/ 99637 w 99636"/>
                        <a:gd name="connsiteY3" fmla="*/ 50965 h 86141"/>
                        <a:gd name="connsiteX4" fmla="*/ 49658 w 99636"/>
                        <a:gd name="connsiteY4" fmla="*/ 86141 h 86141"/>
                        <a:gd name="connsiteX5" fmla="*/ 49658 w 99636"/>
                        <a:gd name="connsiteY5" fmla="*/ 22943 h 86141"/>
                        <a:gd name="connsiteX6" fmla="*/ 22931 w 99636"/>
                        <a:gd name="connsiteY6" fmla="*/ 49669 h 86141"/>
                        <a:gd name="connsiteX7" fmla="*/ 49658 w 99636"/>
                        <a:gd name="connsiteY7" fmla="*/ 63222 h 86141"/>
                        <a:gd name="connsiteX8" fmla="*/ 76705 w 99636"/>
                        <a:gd name="connsiteY8" fmla="*/ 50988 h 86141"/>
                        <a:gd name="connsiteX9" fmla="*/ 49658 w 99636"/>
                        <a:gd name="connsiteY9" fmla="*/ 22943 h 86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6" h="86141">
                          <a:moveTo>
                            <a:pt x="49658" y="86141"/>
                          </a:moveTo>
                          <a:cubicBezTo>
                            <a:pt x="20420" y="86141"/>
                            <a:pt x="0" y="71133"/>
                            <a:pt x="0" y="49658"/>
                          </a:cubicBezTo>
                          <a:cubicBezTo>
                            <a:pt x="0" y="25534"/>
                            <a:pt x="25523" y="0"/>
                            <a:pt x="49658" y="0"/>
                          </a:cubicBezTo>
                          <a:cubicBezTo>
                            <a:pt x="73954" y="0"/>
                            <a:pt x="99637" y="26199"/>
                            <a:pt x="99637" y="50965"/>
                          </a:cubicBezTo>
                          <a:cubicBezTo>
                            <a:pt x="99648" y="72337"/>
                            <a:pt x="80030" y="86141"/>
                            <a:pt x="49658" y="86141"/>
                          </a:cubicBezTo>
                          <a:close/>
                          <a:moveTo>
                            <a:pt x="49658" y="22943"/>
                          </a:moveTo>
                          <a:cubicBezTo>
                            <a:pt x="37011" y="22943"/>
                            <a:pt x="22931" y="38880"/>
                            <a:pt x="22931" y="49669"/>
                          </a:cubicBezTo>
                          <a:cubicBezTo>
                            <a:pt x="22931" y="59610"/>
                            <a:pt x="38914" y="63222"/>
                            <a:pt x="49658" y="63222"/>
                          </a:cubicBezTo>
                          <a:cubicBezTo>
                            <a:pt x="59702" y="63222"/>
                            <a:pt x="76705" y="60642"/>
                            <a:pt x="76705" y="50988"/>
                          </a:cubicBezTo>
                          <a:cubicBezTo>
                            <a:pt x="76717" y="40164"/>
                            <a:pt x="61949" y="22943"/>
                            <a:pt x="49658" y="22943"/>
                          </a:cubicBezTo>
                          <a:close/>
                        </a:path>
                      </a:pathLst>
                    </a:custGeom>
                    <a:grpFill/>
                    <a:ln w="1145" cap="flat">
                      <a:noFill/>
                      <a:prstDash val="solid"/>
                      <a:miter/>
                    </a:ln>
                  </p:spPr>
                  <p:txBody>
                    <a:bodyPr rtlCol="0" anchor="ctr"/>
                    <a:lstStyle/>
                    <a:p>
                      <a:endParaRPr lang="en-GB" dirty="0"/>
                    </a:p>
                  </p:txBody>
                </p:sp>
                <p:sp>
                  <p:nvSpPr>
                    <p:cNvPr id="222" name="Freeform: Shape 221">
                      <a:extLst>
                        <a:ext uri="{FF2B5EF4-FFF2-40B4-BE49-F238E27FC236}">
                          <a16:creationId xmlns:a16="http://schemas.microsoft.com/office/drawing/2014/main" id="{F883219F-D584-40A1-8303-24DC80626356}"/>
                        </a:ext>
                      </a:extLst>
                    </p:cNvPr>
                    <p:cNvSpPr/>
                    <p:nvPr/>
                  </p:nvSpPr>
                  <p:spPr>
                    <a:xfrm>
                      <a:off x="2281582" y="3457759"/>
                      <a:ext cx="22931" cy="77118"/>
                    </a:xfrm>
                    <a:custGeom>
                      <a:avLst/>
                      <a:gdLst>
                        <a:gd name="connsiteX0" fmla="*/ 11466 w 22931"/>
                        <a:gd name="connsiteY0" fmla="*/ 77118 h 77118"/>
                        <a:gd name="connsiteX1" fmla="*/ 0 w 22931"/>
                        <a:gd name="connsiteY1" fmla="*/ 65652 h 77118"/>
                        <a:gd name="connsiteX2" fmla="*/ 0 w 22931"/>
                        <a:gd name="connsiteY2" fmla="*/ 11466 h 77118"/>
                        <a:gd name="connsiteX3" fmla="*/ 11466 w 22931"/>
                        <a:gd name="connsiteY3" fmla="*/ 0 h 77118"/>
                        <a:gd name="connsiteX4" fmla="*/ 22931 w 22931"/>
                        <a:gd name="connsiteY4" fmla="*/ 11466 h 77118"/>
                        <a:gd name="connsiteX5" fmla="*/ 22931 w 22931"/>
                        <a:gd name="connsiteY5" fmla="*/ 65652 h 77118"/>
                        <a:gd name="connsiteX6" fmla="*/ 11466 w 22931"/>
                        <a:gd name="connsiteY6" fmla="*/ 77118 h 77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77118">
                          <a:moveTo>
                            <a:pt x="11466" y="77118"/>
                          </a:moveTo>
                          <a:cubicBezTo>
                            <a:pt x="5137" y="77118"/>
                            <a:pt x="0" y="71993"/>
                            <a:pt x="0" y="65652"/>
                          </a:cubicBezTo>
                          <a:lnTo>
                            <a:pt x="0" y="11466"/>
                          </a:lnTo>
                          <a:cubicBezTo>
                            <a:pt x="0" y="5125"/>
                            <a:pt x="5137" y="0"/>
                            <a:pt x="11466" y="0"/>
                          </a:cubicBezTo>
                          <a:cubicBezTo>
                            <a:pt x="17795" y="0"/>
                            <a:pt x="22931" y="5125"/>
                            <a:pt x="22931" y="11466"/>
                          </a:cubicBezTo>
                          <a:lnTo>
                            <a:pt x="22931" y="65652"/>
                          </a:lnTo>
                          <a:cubicBezTo>
                            <a:pt x="22931" y="71993"/>
                            <a:pt x="17795" y="77118"/>
                            <a:pt x="11466" y="77118"/>
                          </a:cubicBezTo>
                          <a:close/>
                        </a:path>
                      </a:pathLst>
                    </a:custGeom>
                    <a:grpFill/>
                    <a:ln w="1145" cap="flat">
                      <a:noFill/>
                      <a:prstDash val="solid"/>
                      <a:miter/>
                    </a:ln>
                  </p:spPr>
                  <p:txBody>
                    <a:bodyPr rtlCol="0" anchor="ctr"/>
                    <a:lstStyle/>
                    <a:p>
                      <a:endParaRPr lang="en-GB" dirty="0"/>
                    </a:p>
                  </p:txBody>
                </p:sp>
              </p:grpSp>
              <p:grpSp>
                <p:nvGrpSpPr>
                  <p:cNvPr id="218" name="Graphic 48">
                    <a:extLst>
                      <a:ext uri="{FF2B5EF4-FFF2-40B4-BE49-F238E27FC236}">
                        <a16:creationId xmlns:a16="http://schemas.microsoft.com/office/drawing/2014/main" id="{C0F8D833-F07A-4246-83AB-9BA9439DD9E5}"/>
                      </a:ext>
                    </a:extLst>
                  </p:cNvPr>
                  <p:cNvGrpSpPr/>
                  <p:nvPr/>
                </p:nvGrpSpPr>
                <p:grpSpPr>
                  <a:xfrm>
                    <a:off x="2403436" y="3407353"/>
                    <a:ext cx="122136" cy="121229"/>
                    <a:chOff x="2403436" y="3407353"/>
                    <a:chExt cx="122136" cy="121229"/>
                  </a:xfrm>
                  <a:grpFill/>
                </p:grpSpPr>
                <p:sp>
                  <p:nvSpPr>
                    <p:cNvPr id="219" name="Freeform: Shape 218">
                      <a:extLst>
                        <a:ext uri="{FF2B5EF4-FFF2-40B4-BE49-F238E27FC236}">
                          <a16:creationId xmlns:a16="http://schemas.microsoft.com/office/drawing/2014/main" id="{EB7E6A45-310B-4C2B-9CB1-58F66487A79B}"/>
                        </a:ext>
                      </a:extLst>
                    </p:cNvPr>
                    <p:cNvSpPr/>
                    <p:nvPr/>
                  </p:nvSpPr>
                  <p:spPr>
                    <a:xfrm>
                      <a:off x="2432227" y="3436442"/>
                      <a:ext cx="93346" cy="92140"/>
                    </a:xfrm>
                    <a:custGeom>
                      <a:avLst/>
                      <a:gdLst>
                        <a:gd name="connsiteX0" fmla="*/ 35501 w 93346"/>
                        <a:gd name="connsiteY0" fmla="*/ 92141 h 92140"/>
                        <a:gd name="connsiteX1" fmla="*/ 12902 w 93346"/>
                        <a:gd name="connsiteY1" fmla="*/ 82796 h 92140"/>
                        <a:gd name="connsiteX2" fmla="*/ 3 w 93346"/>
                        <a:gd name="connsiteY2" fmla="*/ 48090 h 92140"/>
                        <a:gd name="connsiteX3" fmla="*/ 12902 w 93346"/>
                        <a:gd name="connsiteY3" fmla="*/ 12569 h 92140"/>
                        <a:gd name="connsiteX4" fmla="*/ 49179 w 93346"/>
                        <a:gd name="connsiteY4" fmla="*/ 14 h 92140"/>
                        <a:gd name="connsiteX5" fmla="*/ 84299 w 93346"/>
                        <a:gd name="connsiteY5" fmla="*/ 13268 h 92140"/>
                        <a:gd name="connsiteX6" fmla="*/ 84299 w 93346"/>
                        <a:gd name="connsiteY6" fmla="*/ 13268 h 92140"/>
                        <a:gd name="connsiteX7" fmla="*/ 84299 w 93346"/>
                        <a:gd name="connsiteY7" fmla="*/ 13268 h 92140"/>
                        <a:gd name="connsiteX8" fmla="*/ 84299 w 93346"/>
                        <a:gd name="connsiteY8" fmla="*/ 13268 h 92140"/>
                        <a:gd name="connsiteX9" fmla="*/ 91419 w 93346"/>
                        <a:gd name="connsiteY9" fmla="*/ 46599 h 92140"/>
                        <a:gd name="connsiteX10" fmla="*/ 73830 w 93346"/>
                        <a:gd name="connsiteY10" fmla="*/ 73475 h 92140"/>
                        <a:gd name="connsiteX11" fmla="*/ 46164 w 93346"/>
                        <a:gd name="connsiteY11" fmla="*/ 90616 h 92140"/>
                        <a:gd name="connsiteX12" fmla="*/ 35501 w 93346"/>
                        <a:gd name="connsiteY12" fmla="*/ 92141 h 92140"/>
                        <a:gd name="connsiteX13" fmla="*/ 47528 w 93346"/>
                        <a:gd name="connsiteY13" fmla="*/ 22922 h 92140"/>
                        <a:gd name="connsiteX14" fmla="*/ 29114 w 93346"/>
                        <a:gd name="connsiteY14" fmla="*/ 28781 h 92140"/>
                        <a:gd name="connsiteX15" fmla="*/ 22923 w 93346"/>
                        <a:gd name="connsiteY15" fmla="*/ 47872 h 92140"/>
                        <a:gd name="connsiteX16" fmla="*/ 29114 w 93346"/>
                        <a:gd name="connsiteY16" fmla="*/ 66584 h 92140"/>
                        <a:gd name="connsiteX17" fmla="*/ 39984 w 93346"/>
                        <a:gd name="connsiteY17" fmla="*/ 68533 h 92140"/>
                        <a:gd name="connsiteX18" fmla="*/ 57606 w 93346"/>
                        <a:gd name="connsiteY18" fmla="*/ 57274 h 92140"/>
                        <a:gd name="connsiteX19" fmla="*/ 69588 w 93346"/>
                        <a:gd name="connsiteY19" fmla="*/ 39570 h 92140"/>
                        <a:gd name="connsiteX20" fmla="*/ 68086 w 93346"/>
                        <a:gd name="connsiteY20" fmla="*/ 29492 h 92140"/>
                        <a:gd name="connsiteX21" fmla="*/ 68086 w 93346"/>
                        <a:gd name="connsiteY21" fmla="*/ 29492 h 92140"/>
                        <a:gd name="connsiteX22" fmla="*/ 48594 w 93346"/>
                        <a:gd name="connsiteY22" fmla="*/ 22945 h 92140"/>
                        <a:gd name="connsiteX23" fmla="*/ 47528 w 93346"/>
                        <a:gd name="connsiteY23" fmla="*/ 22922 h 92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3346" h="92140">
                          <a:moveTo>
                            <a:pt x="35501" y="92141"/>
                          </a:moveTo>
                          <a:cubicBezTo>
                            <a:pt x="26878" y="92141"/>
                            <a:pt x="19070" y="88965"/>
                            <a:pt x="12902" y="82796"/>
                          </a:cubicBezTo>
                          <a:cubicBezTo>
                            <a:pt x="4830" y="74736"/>
                            <a:pt x="129" y="62078"/>
                            <a:pt x="3" y="48090"/>
                          </a:cubicBezTo>
                          <a:cubicBezTo>
                            <a:pt x="-135" y="33861"/>
                            <a:pt x="4566" y="20916"/>
                            <a:pt x="12902" y="12569"/>
                          </a:cubicBezTo>
                          <a:cubicBezTo>
                            <a:pt x="21260" y="4222"/>
                            <a:pt x="34446" y="-284"/>
                            <a:pt x="49179" y="14"/>
                          </a:cubicBezTo>
                          <a:cubicBezTo>
                            <a:pt x="63443" y="381"/>
                            <a:pt x="76238" y="5208"/>
                            <a:pt x="84299" y="13268"/>
                          </a:cubicBezTo>
                          <a:lnTo>
                            <a:pt x="84299" y="13268"/>
                          </a:lnTo>
                          <a:lnTo>
                            <a:pt x="84299" y="13268"/>
                          </a:lnTo>
                          <a:lnTo>
                            <a:pt x="84299" y="13268"/>
                          </a:lnTo>
                          <a:cubicBezTo>
                            <a:pt x="93012" y="21982"/>
                            <a:pt x="95535" y="33815"/>
                            <a:pt x="91419" y="46599"/>
                          </a:cubicBezTo>
                          <a:cubicBezTo>
                            <a:pt x="87761" y="57927"/>
                            <a:pt x="79838" y="67467"/>
                            <a:pt x="73830" y="73475"/>
                          </a:cubicBezTo>
                          <a:cubicBezTo>
                            <a:pt x="65415" y="81890"/>
                            <a:pt x="55588" y="87990"/>
                            <a:pt x="46164" y="90616"/>
                          </a:cubicBezTo>
                          <a:cubicBezTo>
                            <a:pt x="42506" y="91636"/>
                            <a:pt x="38929" y="92141"/>
                            <a:pt x="35501" y="92141"/>
                          </a:cubicBezTo>
                          <a:close/>
                          <a:moveTo>
                            <a:pt x="47528" y="22922"/>
                          </a:moveTo>
                          <a:cubicBezTo>
                            <a:pt x="39743" y="22922"/>
                            <a:pt x="32760" y="25124"/>
                            <a:pt x="29114" y="28781"/>
                          </a:cubicBezTo>
                          <a:cubicBezTo>
                            <a:pt x="25227" y="32680"/>
                            <a:pt x="22854" y="39995"/>
                            <a:pt x="22923" y="47872"/>
                          </a:cubicBezTo>
                          <a:cubicBezTo>
                            <a:pt x="22992" y="55668"/>
                            <a:pt x="25365" y="62846"/>
                            <a:pt x="29114" y="66584"/>
                          </a:cubicBezTo>
                          <a:cubicBezTo>
                            <a:pt x="30926" y="68407"/>
                            <a:pt x="33804" y="70276"/>
                            <a:pt x="39984" y="68533"/>
                          </a:cubicBezTo>
                          <a:cubicBezTo>
                            <a:pt x="45579" y="66974"/>
                            <a:pt x="52000" y="62869"/>
                            <a:pt x="57606" y="57274"/>
                          </a:cubicBezTo>
                          <a:cubicBezTo>
                            <a:pt x="63488" y="51392"/>
                            <a:pt x="67857" y="44948"/>
                            <a:pt x="69588" y="39570"/>
                          </a:cubicBezTo>
                          <a:cubicBezTo>
                            <a:pt x="71675" y="33092"/>
                            <a:pt x="69256" y="30662"/>
                            <a:pt x="68086" y="29492"/>
                          </a:cubicBezTo>
                          <a:lnTo>
                            <a:pt x="68086" y="29492"/>
                          </a:lnTo>
                          <a:cubicBezTo>
                            <a:pt x="64314" y="25720"/>
                            <a:pt x="56666" y="23152"/>
                            <a:pt x="48594" y="22945"/>
                          </a:cubicBezTo>
                          <a:cubicBezTo>
                            <a:pt x="48239" y="22934"/>
                            <a:pt x="47884" y="22922"/>
                            <a:pt x="47528" y="22922"/>
                          </a:cubicBezTo>
                          <a:close/>
                        </a:path>
                      </a:pathLst>
                    </a:custGeom>
                    <a:grpFill/>
                    <a:ln w="1145" cap="flat">
                      <a:noFill/>
                      <a:prstDash val="solid"/>
                      <a:miter/>
                    </a:ln>
                  </p:spPr>
                  <p:txBody>
                    <a:bodyPr rtlCol="0" anchor="ctr"/>
                    <a:lstStyle/>
                    <a:p>
                      <a:endParaRPr lang="en-GB" dirty="0"/>
                    </a:p>
                  </p:txBody>
                </p:sp>
                <p:sp>
                  <p:nvSpPr>
                    <p:cNvPr id="220" name="Freeform: Shape 219">
                      <a:extLst>
                        <a:ext uri="{FF2B5EF4-FFF2-40B4-BE49-F238E27FC236}">
                          <a16:creationId xmlns:a16="http://schemas.microsoft.com/office/drawing/2014/main" id="{38784956-DCF8-4483-88D6-C40EC59BB8E5}"/>
                        </a:ext>
                      </a:extLst>
                    </p:cNvPr>
                    <p:cNvSpPr/>
                    <p:nvPr/>
                  </p:nvSpPr>
                  <p:spPr>
                    <a:xfrm>
                      <a:off x="2403436" y="3407353"/>
                      <a:ext cx="61255" cy="61252"/>
                    </a:xfrm>
                    <a:custGeom>
                      <a:avLst/>
                      <a:gdLst>
                        <a:gd name="connsiteX0" fmla="*/ 49787 w 61255"/>
                        <a:gd name="connsiteY0" fmla="*/ 61252 h 61252"/>
                        <a:gd name="connsiteX1" fmla="*/ 41681 w 61255"/>
                        <a:gd name="connsiteY1" fmla="*/ 57893 h 61252"/>
                        <a:gd name="connsiteX2" fmla="*/ 3362 w 61255"/>
                        <a:gd name="connsiteY2" fmla="*/ 19575 h 61252"/>
                        <a:gd name="connsiteX3" fmla="*/ 3362 w 61255"/>
                        <a:gd name="connsiteY3" fmla="*/ 3362 h 61252"/>
                        <a:gd name="connsiteX4" fmla="*/ 19575 w 61255"/>
                        <a:gd name="connsiteY4" fmla="*/ 3362 h 61252"/>
                        <a:gd name="connsiteX5" fmla="*/ 57893 w 61255"/>
                        <a:gd name="connsiteY5" fmla="*/ 41680 h 61252"/>
                        <a:gd name="connsiteX6" fmla="*/ 57893 w 61255"/>
                        <a:gd name="connsiteY6" fmla="*/ 57893 h 61252"/>
                        <a:gd name="connsiteX7" fmla="*/ 49787 w 61255"/>
                        <a:gd name="connsiteY7" fmla="*/ 61252 h 61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255" h="61252">
                          <a:moveTo>
                            <a:pt x="49787" y="61252"/>
                          </a:moveTo>
                          <a:cubicBezTo>
                            <a:pt x="46852" y="61252"/>
                            <a:pt x="43916" y="60129"/>
                            <a:pt x="41681" y="57893"/>
                          </a:cubicBezTo>
                          <a:lnTo>
                            <a:pt x="3362" y="19575"/>
                          </a:lnTo>
                          <a:cubicBezTo>
                            <a:pt x="-1121" y="15092"/>
                            <a:pt x="-1121" y="7845"/>
                            <a:pt x="3362" y="3362"/>
                          </a:cubicBezTo>
                          <a:cubicBezTo>
                            <a:pt x="7845" y="-1121"/>
                            <a:pt x="15092" y="-1121"/>
                            <a:pt x="19575" y="3362"/>
                          </a:cubicBezTo>
                          <a:lnTo>
                            <a:pt x="57893" y="41680"/>
                          </a:lnTo>
                          <a:cubicBezTo>
                            <a:pt x="62376" y="46164"/>
                            <a:pt x="62376" y="53410"/>
                            <a:pt x="57893" y="57893"/>
                          </a:cubicBezTo>
                          <a:cubicBezTo>
                            <a:pt x="55646" y="60129"/>
                            <a:pt x="52711" y="61252"/>
                            <a:pt x="49787" y="61252"/>
                          </a:cubicBezTo>
                          <a:close/>
                        </a:path>
                      </a:pathLst>
                    </a:custGeom>
                    <a:grpFill/>
                    <a:ln w="1145" cap="flat">
                      <a:noFill/>
                      <a:prstDash val="solid"/>
                      <a:miter/>
                    </a:ln>
                  </p:spPr>
                  <p:txBody>
                    <a:bodyPr rtlCol="0" anchor="ctr"/>
                    <a:lstStyle/>
                    <a:p>
                      <a:endParaRPr lang="en-GB" dirty="0"/>
                    </a:p>
                  </p:txBody>
                </p:sp>
              </p:grpSp>
            </p:grpSp>
            <p:sp>
              <p:nvSpPr>
                <p:cNvPr id="211" name="Freeform: Shape 210">
                  <a:extLst>
                    <a:ext uri="{FF2B5EF4-FFF2-40B4-BE49-F238E27FC236}">
                      <a16:creationId xmlns:a16="http://schemas.microsoft.com/office/drawing/2014/main" id="{5D9387C8-9715-4729-AF69-C159A2EC178E}"/>
                    </a:ext>
                  </a:extLst>
                </p:cNvPr>
                <p:cNvSpPr/>
                <p:nvPr/>
              </p:nvSpPr>
              <p:spPr>
                <a:xfrm>
                  <a:off x="2353204" y="3442625"/>
                  <a:ext cx="36606" cy="52729"/>
                </a:xfrm>
                <a:custGeom>
                  <a:avLst/>
                  <a:gdLst>
                    <a:gd name="connsiteX0" fmla="*/ 25148 w 36606"/>
                    <a:gd name="connsiteY0" fmla="*/ 52730 h 52729"/>
                    <a:gd name="connsiteX1" fmla="*/ 14726 w 36606"/>
                    <a:gd name="connsiteY1" fmla="*/ 46045 h 52729"/>
                    <a:gd name="connsiteX2" fmla="*/ 1048 w 36606"/>
                    <a:gd name="connsiteY2" fmla="*/ 16246 h 52729"/>
                    <a:gd name="connsiteX3" fmla="*/ 6677 w 36606"/>
                    <a:gd name="connsiteY3" fmla="*/ 1042 h 52729"/>
                    <a:gd name="connsiteX4" fmla="*/ 21881 w 36606"/>
                    <a:gd name="connsiteY4" fmla="*/ 6683 h 52729"/>
                    <a:gd name="connsiteX5" fmla="*/ 35559 w 36606"/>
                    <a:gd name="connsiteY5" fmla="*/ 36483 h 52729"/>
                    <a:gd name="connsiteX6" fmla="*/ 29930 w 36606"/>
                    <a:gd name="connsiteY6" fmla="*/ 51686 h 52729"/>
                    <a:gd name="connsiteX7" fmla="*/ 25148 w 36606"/>
                    <a:gd name="connsiteY7" fmla="*/ 52730 h 52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606" h="52729">
                      <a:moveTo>
                        <a:pt x="25148" y="52730"/>
                      </a:moveTo>
                      <a:cubicBezTo>
                        <a:pt x="20814" y="52730"/>
                        <a:pt x="16652" y="50253"/>
                        <a:pt x="14726" y="46045"/>
                      </a:cubicBezTo>
                      <a:lnTo>
                        <a:pt x="1048" y="16246"/>
                      </a:lnTo>
                      <a:cubicBezTo>
                        <a:pt x="-1589" y="10490"/>
                        <a:pt x="922" y="3680"/>
                        <a:pt x="6677" y="1042"/>
                      </a:cubicBezTo>
                      <a:cubicBezTo>
                        <a:pt x="12410" y="-1583"/>
                        <a:pt x="19232" y="916"/>
                        <a:pt x="21881" y="6683"/>
                      </a:cubicBezTo>
                      <a:lnTo>
                        <a:pt x="35559" y="36483"/>
                      </a:lnTo>
                      <a:cubicBezTo>
                        <a:pt x="38196" y="42239"/>
                        <a:pt x="35685" y="49049"/>
                        <a:pt x="29930" y="51686"/>
                      </a:cubicBezTo>
                      <a:cubicBezTo>
                        <a:pt x="28382" y="52386"/>
                        <a:pt x="26754" y="52730"/>
                        <a:pt x="25148" y="52730"/>
                      </a:cubicBezTo>
                      <a:close/>
                    </a:path>
                  </a:pathLst>
                </a:custGeom>
                <a:grpFill/>
                <a:ln w="1145" cap="flat">
                  <a:noFill/>
                  <a:prstDash val="solid"/>
                  <a:miter/>
                </a:ln>
              </p:spPr>
              <p:txBody>
                <a:bodyPr rtlCol="0" anchor="ctr"/>
                <a:lstStyle/>
                <a:p>
                  <a:endParaRPr lang="en-GB" dirty="0"/>
                </a:p>
              </p:txBody>
            </p:sp>
            <p:sp>
              <p:nvSpPr>
                <p:cNvPr id="212" name="Freeform: Shape 211">
                  <a:extLst>
                    <a:ext uri="{FF2B5EF4-FFF2-40B4-BE49-F238E27FC236}">
                      <a16:creationId xmlns:a16="http://schemas.microsoft.com/office/drawing/2014/main" id="{1C0E7754-D014-4EB5-A051-E8758E09645B}"/>
                    </a:ext>
                  </a:extLst>
                </p:cNvPr>
                <p:cNvSpPr/>
                <p:nvPr/>
              </p:nvSpPr>
              <p:spPr>
                <a:xfrm>
                  <a:off x="2195276" y="3098747"/>
                  <a:ext cx="36859" cy="53268"/>
                </a:xfrm>
                <a:custGeom>
                  <a:avLst/>
                  <a:gdLst>
                    <a:gd name="connsiteX0" fmla="*/ 25401 w 36859"/>
                    <a:gd name="connsiteY0" fmla="*/ 53269 h 53268"/>
                    <a:gd name="connsiteX1" fmla="*/ 14978 w 36859"/>
                    <a:gd name="connsiteY1" fmla="*/ 46584 h 53268"/>
                    <a:gd name="connsiteX2" fmla="*/ 1048 w 36859"/>
                    <a:gd name="connsiteY2" fmla="*/ 16246 h 53268"/>
                    <a:gd name="connsiteX3" fmla="*/ 6677 w 36859"/>
                    <a:gd name="connsiteY3" fmla="*/ 1043 h 53268"/>
                    <a:gd name="connsiteX4" fmla="*/ 21881 w 36859"/>
                    <a:gd name="connsiteY4" fmla="*/ 6684 h 53268"/>
                    <a:gd name="connsiteX5" fmla="*/ 35812 w 36859"/>
                    <a:gd name="connsiteY5" fmla="*/ 37022 h 53268"/>
                    <a:gd name="connsiteX6" fmla="*/ 30182 w 36859"/>
                    <a:gd name="connsiteY6" fmla="*/ 52225 h 53268"/>
                    <a:gd name="connsiteX7" fmla="*/ 25401 w 36859"/>
                    <a:gd name="connsiteY7" fmla="*/ 53269 h 53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859" h="53268">
                      <a:moveTo>
                        <a:pt x="25401" y="53269"/>
                      </a:moveTo>
                      <a:cubicBezTo>
                        <a:pt x="21067" y="53269"/>
                        <a:pt x="16905" y="50792"/>
                        <a:pt x="14978" y="46584"/>
                      </a:cubicBezTo>
                      <a:lnTo>
                        <a:pt x="1048" y="16246"/>
                      </a:lnTo>
                      <a:cubicBezTo>
                        <a:pt x="-1589" y="10490"/>
                        <a:pt x="921" y="3680"/>
                        <a:pt x="6677" y="1043"/>
                      </a:cubicBezTo>
                      <a:cubicBezTo>
                        <a:pt x="12422" y="-1583"/>
                        <a:pt x="19232" y="916"/>
                        <a:pt x="21881" y="6684"/>
                      </a:cubicBezTo>
                      <a:lnTo>
                        <a:pt x="35812" y="37022"/>
                      </a:lnTo>
                      <a:cubicBezTo>
                        <a:pt x="38449" y="42777"/>
                        <a:pt x="35938" y="49588"/>
                        <a:pt x="30182" y="52225"/>
                      </a:cubicBezTo>
                      <a:cubicBezTo>
                        <a:pt x="28634" y="52936"/>
                        <a:pt x="27006" y="53269"/>
                        <a:pt x="25401" y="53269"/>
                      </a:cubicBezTo>
                      <a:close/>
                    </a:path>
                  </a:pathLst>
                </a:custGeom>
                <a:grpFill/>
                <a:ln w="1145" cap="flat">
                  <a:noFill/>
                  <a:prstDash val="solid"/>
                  <a:miter/>
                </a:ln>
              </p:spPr>
              <p:txBody>
                <a:bodyPr rtlCol="0" anchor="ctr"/>
                <a:lstStyle/>
                <a:p>
                  <a:endParaRPr lang="en-GB" dirty="0"/>
                </a:p>
              </p:txBody>
            </p:sp>
            <p:sp>
              <p:nvSpPr>
                <p:cNvPr id="213" name="Freeform: Shape 212">
                  <a:extLst>
                    <a:ext uri="{FF2B5EF4-FFF2-40B4-BE49-F238E27FC236}">
                      <a16:creationId xmlns:a16="http://schemas.microsoft.com/office/drawing/2014/main" id="{A1789A5D-A68F-4896-B5A2-CEBE0D1D09F0}"/>
                    </a:ext>
                  </a:extLst>
                </p:cNvPr>
                <p:cNvSpPr/>
                <p:nvPr/>
              </p:nvSpPr>
              <p:spPr>
                <a:xfrm>
                  <a:off x="2440003" y="3357700"/>
                  <a:ext cx="51803" cy="36080"/>
                </a:xfrm>
                <a:custGeom>
                  <a:avLst/>
                  <a:gdLst>
                    <a:gd name="connsiteX0" fmla="*/ 40325 w 51803"/>
                    <a:gd name="connsiteY0" fmla="*/ 36080 h 36080"/>
                    <a:gd name="connsiteX1" fmla="*/ 35579 w 51803"/>
                    <a:gd name="connsiteY1" fmla="*/ 35049 h 36080"/>
                    <a:gd name="connsiteX2" fmla="*/ 6719 w 51803"/>
                    <a:gd name="connsiteY2" fmla="*/ 21909 h 36080"/>
                    <a:gd name="connsiteX3" fmla="*/ 1033 w 51803"/>
                    <a:gd name="connsiteY3" fmla="*/ 6717 h 36080"/>
                    <a:gd name="connsiteX4" fmla="*/ 16225 w 51803"/>
                    <a:gd name="connsiteY4" fmla="*/ 1041 h 36080"/>
                    <a:gd name="connsiteX5" fmla="*/ 45084 w 51803"/>
                    <a:gd name="connsiteY5" fmla="*/ 14181 h 36080"/>
                    <a:gd name="connsiteX6" fmla="*/ 50771 w 51803"/>
                    <a:gd name="connsiteY6" fmla="*/ 29373 h 36080"/>
                    <a:gd name="connsiteX7" fmla="*/ 40325 w 51803"/>
                    <a:gd name="connsiteY7" fmla="*/ 36080 h 3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03" h="36080">
                      <a:moveTo>
                        <a:pt x="40325" y="36080"/>
                      </a:moveTo>
                      <a:cubicBezTo>
                        <a:pt x="38732" y="36080"/>
                        <a:pt x="37115" y="35759"/>
                        <a:pt x="35579" y="35049"/>
                      </a:cubicBezTo>
                      <a:lnTo>
                        <a:pt x="6719" y="21909"/>
                      </a:lnTo>
                      <a:cubicBezTo>
                        <a:pt x="964" y="19283"/>
                        <a:pt x="-1593" y="12484"/>
                        <a:pt x="1033" y="6717"/>
                      </a:cubicBezTo>
                      <a:cubicBezTo>
                        <a:pt x="3658" y="950"/>
                        <a:pt x="10469" y="-1596"/>
                        <a:pt x="16225" y="1041"/>
                      </a:cubicBezTo>
                      <a:lnTo>
                        <a:pt x="45084" y="14181"/>
                      </a:lnTo>
                      <a:cubicBezTo>
                        <a:pt x="50839" y="16806"/>
                        <a:pt x="53396" y="23606"/>
                        <a:pt x="50771" y="29373"/>
                      </a:cubicBezTo>
                      <a:cubicBezTo>
                        <a:pt x="48833" y="33592"/>
                        <a:pt x="44682" y="36080"/>
                        <a:pt x="40325" y="36080"/>
                      </a:cubicBezTo>
                      <a:close/>
                    </a:path>
                  </a:pathLst>
                </a:custGeom>
                <a:grpFill/>
                <a:ln w="1145" cap="flat">
                  <a:noFill/>
                  <a:prstDash val="solid"/>
                  <a:miter/>
                </a:ln>
              </p:spPr>
              <p:txBody>
                <a:bodyPr rtlCol="0" anchor="ctr"/>
                <a:lstStyle/>
                <a:p>
                  <a:endParaRPr lang="en-GB" dirty="0"/>
                </a:p>
              </p:txBody>
            </p:sp>
            <p:sp>
              <p:nvSpPr>
                <p:cNvPr id="214" name="Freeform: Shape 213">
                  <a:extLst>
                    <a:ext uri="{FF2B5EF4-FFF2-40B4-BE49-F238E27FC236}">
                      <a16:creationId xmlns:a16="http://schemas.microsoft.com/office/drawing/2014/main" id="{C9BA5BD1-3D0B-4574-8AC2-DE342E336F8E}"/>
                    </a:ext>
                  </a:extLst>
                </p:cNvPr>
                <p:cNvSpPr/>
                <p:nvPr/>
              </p:nvSpPr>
              <p:spPr>
                <a:xfrm>
                  <a:off x="2094701" y="3200305"/>
                  <a:ext cx="52620" cy="36465"/>
                </a:xfrm>
                <a:custGeom>
                  <a:avLst/>
                  <a:gdLst>
                    <a:gd name="connsiteX0" fmla="*/ 41141 w 52620"/>
                    <a:gd name="connsiteY0" fmla="*/ 36465 h 36465"/>
                    <a:gd name="connsiteX1" fmla="*/ 36394 w 52620"/>
                    <a:gd name="connsiteY1" fmla="*/ 35433 h 36465"/>
                    <a:gd name="connsiteX2" fmla="*/ 6721 w 52620"/>
                    <a:gd name="connsiteY2" fmla="*/ 21904 h 36465"/>
                    <a:gd name="connsiteX3" fmla="*/ 1034 w 52620"/>
                    <a:gd name="connsiteY3" fmla="*/ 6712 h 36465"/>
                    <a:gd name="connsiteX4" fmla="*/ 16226 w 52620"/>
                    <a:gd name="connsiteY4" fmla="*/ 1036 h 36465"/>
                    <a:gd name="connsiteX5" fmla="*/ 45900 w 52620"/>
                    <a:gd name="connsiteY5" fmla="*/ 14566 h 36465"/>
                    <a:gd name="connsiteX6" fmla="*/ 51586 w 52620"/>
                    <a:gd name="connsiteY6" fmla="*/ 29758 h 36465"/>
                    <a:gd name="connsiteX7" fmla="*/ 41141 w 52620"/>
                    <a:gd name="connsiteY7" fmla="*/ 36465 h 36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620" h="36465">
                      <a:moveTo>
                        <a:pt x="41141" y="36465"/>
                      </a:moveTo>
                      <a:cubicBezTo>
                        <a:pt x="39548" y="36465"/>
                        <a:pt x="37931" y="36144"/>
                        <a:pt x="36394" y="35433"/>
                      </a:cubicBezTo>
                      <a:lnTo>
                        <a:pt x="6721" y="21904"/>
                      </a:lnTo>
                      <a:cubicBezTo>
                        <a:pt x="954" y="19278"/>
                        <a:pt x="-1591" y="12479"/>
                        <a:pt x="1034" y="6712"/>
                      </a:cubicBezTo>
                      <a:cubicBezTo>
                        <a:pt x="3660" y="945"/>
                        <a:pt x="10482" y="-1589"/>
                        <a:pt x="16226" y="1036"/>
                      </a:cubicBezTo>
                      <a:lnTo>
                        <a:pt x="45900" y="14566"/>
                      </a:lnTo>
                      <a:cubicBezTo>
                        <a:pt x="51667" y="17191"/>
                        <a:pt x="54212" y="23990"/>
                        <a:pt x="51586" y="29758"/>
                      </a:cubicBezTo>
                      <a:cubicBezTo>
                        <a:pt x="49660" y="33977"/>
                        <a:pt x="45498" y="36465"/>
                        <a:pt x="41141" y="36465"/>
                      </a:cubicBezTo>
                      <a:close/>
                    </a:path>
                  </a:pathLst>
                </a:custGeom>
                <a:grpFill/>
                <a:ln w="1145" cap="flat">
                  <a:noFill/>
                  <a:prstDash val="solid"/>
                  <a:miter/>
                </a:ln>
              </p:spPr>
              <p:txBody>
                <a:bodyPr rtlCol="0" anchor="ctr"/>
                <a:lstStyle/>
                <a:p>
                  <a:endParaRPr lang="en-GB" dirty="0"/>
                </a:p>
              </p:txBody>
            </p:sp>
            <p:sp>
              <p:nvSpPr>
                <p:cNvPr id="215" name="Freeform: Shape 214">
                  <a:extLst>
                    <a:ext uri="{FF2B5EF4-FFF2-40B4-BE49-F238E27FC236}">
                      <a16:creationId xmlns:a16="http://schemas.microsoft.com/office/drawing/2014/main" id="{1B34DC29-EA38-4504-9A05-8D388F88C95F}"/>
                    </a:ext>
                  </a:extLst>
                </p:cNvPr>
                <p:cNvSpPr/>
                <p:nvPr/>
              </p:nvSpPr>
              <p:spPr>
                <a:xfrm>
                  <a:off x="2438337" y="3202170"/>
                  <a:ext cx="53735" cy="36606"/>
                </a:xfrm>
                <a:custGeom>
                  <a:avLst/>
                  <a:gdLst>
                    <a:gd name="connsiteX0" fmla="*/ 11481 w 53735"/>
                    <a:gd name="connsiteY0" fmla="*/ 36607 h 36606"/>
                    <a:gd name="connsiteX1" fmla="*/ 990 w 53735"/>
                    <a:gd name="connsiteY1" fmla="*/ 29796 h 36606"/>
                    <a:gd name="connsiteX2" fmla="*/ 6814 w 53735"/>
                    <a:gd name="connsiteY2" fmla="*/ 14662 h 36606"/>
                    <a:gd name="connsiteX3" fmla="*/ 37611 w 53735"/>
                    <a:gd name="connsiteY3" fmla="*/ 994 h 36606"/>
                    <a:gd name="connsiteX4" fmla="*/ 52746 w 53735"/>
                    <a:gd name="connsiteY4" fmla="*/ 6819 h 36606"/>
                    <a:gd name="connsiteX5" fmla="*/ 46921 w 53735"/>
                    <a:gd name="connsiteY5" fmla="*/ 21954 h 36606"/>
                    <a:gd name="connsiteX6" fmla="*/ 16124 w 53735"/>
                    <a:gd name="connsiteY6" fmla="*/ 35621 h 36606"/>
                    <a:gd name="connsiteX7" fmla="*/ 11481 w 53735"/>
                    <a:gd name="connsiteY7" fmla="*/ 36607 h 36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735" h="36606">
                      <a:moveTo>
                        <a:pt x="11481" y="36607"/>
                      </a:moveTo>
                      <a:cubicBezTo>
                        <a:pt x="7089" y="36607"/>
                        <a:pt x="2893" y="34061"/>
                        <a:pt x="990" y="29796"/>
                      </a:cubicBezTo>
                      <a:cubicBezTo>
                        <a:pt x="-1579" y="24006"/>
                        <a:pt x="1024" y="17230"/>
                        <a:pt x="6814" y="14662"/>
                      </a:cubicBezTo>
                      <a:lnTo>
                        <a:pt x="37611" y="994"/>
                      </a:lnTo>
                      <a:cubicBezTo>
                        <a:pt x="43378" y="-1585"/>
                        <a:pt x="50166" y="1029"/>
                        <a:pt x="52746" y="6819"/>
                      </a:cubicBezTo>
                      <a:cubicBezTo>
                        <a:pt x="55314" y="12609"/>
                        <a:pt x="52711" y="19385"/>
                        <a:pt x="46921" y="21954"/>
                      </a:cubicBezTo>
                      <a:lnTo>
                        <a:pt x="16124" y="35621"/>
                      </a:lnTo>
                      <a:cubicBezTo>
                        <a:pt x="14622" y="36286"/>
                        <a:pt x="13040" y="36607"/>
                        <a:pt x="11481" y="36607"/>
                      </a:cubicBezTo>
                      <a:close/>
                    </a:path>
                  </a:pathLst>
                </a:custGeom>
                <a:grpFill/>
                <a:ln w="1145" cap="flat">
                  <a:noFill/>
                  <a:prstDash val="solid"/>
                  <a:miter/>
                </a:ln>
              </p:spPr>
              <p:txBody>
                <a:bodyPr rtlCol="0" anchor="ctr"/>
                <a:lstStyle/>
                <a:p>
                  <a:endParaRPr lang="en-GB" dirty="0"/>
                </a:p>
              </p:txBody>
            </p:sp>
            <p:sp>
              <p:nvSpPr>
                <p:cNvPr id="216" name="Freeform: Shape 215">
                  <a:extLst>
                    <a:ext uri="{FF2B5EF4-FFF2-40B4-BE49-F238E27FC236}">
                      <a16:creationId xmlns:a16="http://schemas.microsoft.com/office/drawing/2014/main" id="{9363E2DB-2747-402C-BBD4-44CEB7866305}"/>
                    </a:ext>
                  </a:extLst>
                </p:cNvPr>
                <p:cNvSpPr/>
                <p:nvPr/>
              </p:nvSpPr>
              <p:spPr>
                <a:xfrm>
                  <a:off x="2353265" y="3098675"/>
                  <a:ext cx="36507" cy="52537"/>
                </a:xfrm>
                <a:custGeom>
                  <a:avLst/>
                  <a:gdLst>
                    <a:gd name="connsiteX0" fmla="*/ 11466 w 36507"/>
                    <a:gd name="connsiteY0" fmla="*/ 52538 h 52537"/>
                    <a:gd name="connsiteX1" fmla="*/ 6696 w 36507"/>
                    <a:gd name="connsiteY1" fmla="*/ 51495 h 52537"/>
                    <a:gd name="connsiteX2" fmla="*/ 1044 w 36507"/>
                    <a:gd name="connsiteY2" fmla="*/ 36291 h 52537"/>
                    <a:gd name="connsiteX3" fmla="*/ 14607 w 36507"/>
                    <a:gd name="connsiteY3" fmla="*/ 6687 h 52537"/>
                    <a:gd name="connsiteX4" fmla="*/ 29811 w 36507"/>
                    <a:gd name="connsiteY4" fmla="*/ 1046 h 52537"/>
                    <a:gd name="connsiteX5" fmla="*/ 35464 w 36507"/>
                    <a:gd name="connsiteY5" fmla="*/ 16249 h 52537"/>
                    <a:gd name="connsiteX6" fmla="*/ 21900 w 36507"/>
                    <a:gd name="connsiteY6" fmla="*/ 45854 h 52537"/>
                    <a:gd name="connsiteX7" fmla="*/ 11466 w 36507"/>
                    <a:gd name="connsiteY7" fmla="*/ 52538 h 52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507" h="52537">
                      <a:moveTo>
                        <a:pt x="11466" y="52538"/>
                      </a:moveTo>
                      <a:cubicBezTo>
                        <a:pt x="9861" y="52538"/>
                        <a:pt x="8244" y="52206"/>
                        <a:pt x="6696" y="51495"/>
                      </a:cubicBezTo>
                      <a:cubicBezTo>
                        <a:pt x="940" y="48857"/>
                        <a:pt x="-1594" y="42058"/>
                        <a:pt x="1044" y="36291"/>
                      </a:cubicBezTo>
                      <a:lnTo>
                        <a:pt x="14607" y="6687"/>
                      </a:lnTo>
                      <a:cubicBezTo>
                        <a:pt x="17245" y="931"/>
                        <a:pt x="24067" y="-1592"/>
                        <a:pt x="29811" y="1046"/>
                      </a:cubicBezTo>
                      <a:cubicBezTo>
                        <a:pt x="35567" y="3683"/>
                        <a:pt x="38101" y="10482"/>
                        <a:pt x="35464" y="16249"/>
                      </a:cubicBezTo>
                      <a:lnTo>
                        <a:pt x="21900" y="45854"/>
                      </a:lnTo>
                      <a:cubicBezTo>
                        <a:pt x="19962" y="50050"/>
                        <a:pt x="15811" y="52538"/>
                        <a:pt x="11466" y="52538"/>
                      </a:cubicBezTo>
                      <a:close/>
                    </a:path>
                  </a:pathLst>
                </a:custGeom>
                <a:grpFill/>
                <a:ln w="1145" cap="flat">
                  <a:noFill/>
                  <a:prstDash val="solid"/>
                  <a:miter/>
                </a:ln>
              </p:spPr>
              <p:txBody>
                <a:bodyPr rtlCol="0" anchor="ctr"/>
                <a:lstStyle/>
                <a:p>
                  <a:endParaRPr lang="en-GB" dirty="0"/>
                </a:p>
              </p:txBody>
            </p:sp>
          </p:grpSp>
          <p:sp>
            <p:nvSpPr>
              <p:cNvPr id="203" name="Freeform: Shape 202">
                <a:extLst>
                  <a:ext uri="{FF2B5EF4-FFF2-40B4-BE49-F238E27FC236}">
                    <a16:creationId xmlns:a16="http://schemas.microsoft.com/office/drawing/2014/main" id="{2F00B762-EB84-4445-B887-659E9D237213}"/>
                  </a:ext>
                </a:extLst>
              </p:cNvPr>
              <p:cNvSpPr/>
              <p:nvPr/>
            </p:nvSpPr>
            <p:spPr>
              <a:xfrm>
                <a:off x="2283557" y="3362227"/>
                <a:ext cx="36993" cy="33330"/>
              </a:xfrm>
              <a:custGeom>
                <a:avLst/>
                <a:gdLst>
                  <a:gd name="connsiteX0" fmla="*/ 11474 w 36993"/>
                  <a:gd name="connsiteY0" fmla="*/ 33331 h 33330"/>
                  <a:gd name="connsiteX1" fmla="*/ 2244 w 36993"/>
                  <a:gd name="connsiteY1" fmla="*/ 28687 h 33330"/>
                  <a:gd name="connsiteX2" fmla="*/ 4640 w 36993"/>
                  <a:gd name="connsiteY2" fmla="*/ 12658 h 33330"/>
                  <a:gd name="connsiteX3" fmla="*/ 18709 w 36993"/>
                  <a:gd name="connsiteY3" fmla="*/ 2259 h 33330"/>
                  <a:gd name="connsiteX4" fmla="*/ 34749 w 36993"/>
                  <a:gd name="connsiteY4" fmla="*/ 4655 h 33330"/>
                  <a:gd name="connsiteX5" fmla="*/ 32353 w 36993"/>
                  <a:gd name="connsiteY5" fmla="*/ 20684 h 33330"/>
                  <a:gd name="connsiteX6" fmla="*/ 18285 w 36993"/>
                  <a:gd name="connsiteY6" fmla="*/ 31084 h 33330"/>
                  <a:gd name="connsiteX7" fmla="*/ 11474 w 36993"/>
                  <a:gd name="connsiteY7" fmla="*/ 33331 h 33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93" h="33330">
                    <a:moveTo>
                      <a:pt x="11474" y="33331"/>
                    </a:moveTo>
                    <a:cubicBezTo>
                      <a:pt x="7954" y="33331"/>
                      <a:pt x="4491" y="31714"/>
                      <a:pt x="2244" y="28687"/>
                    </a:cubicBezTo>
                    <a:cubicBezTo>
                      <a:pt x="-1517" y="23596"/>
                      <a:pt x="-439" y="16419"/>
                      <a:pt x="4640" y="12658"/>
                    </a:cubicBezTo>
                    <a:lnTo>
                      <a:pt x="18709" y="2259"/>
                    </a:lnTo>
                    <a:cubicBezTo>
                      <a:pt x="23811" y="-1536"/>
                      <a:pt x="30966" y="-424"/>
                      <a:pt x="34749" y="4655"/>
                    </a:cubicBezTo>
                    <a:cubicBezTo>
                      <a:pt x="38510" y="9746"/>
                      <a:pt x="37432" y="16923"/>
                      <a:pt x="32353" y="20684"/>
                    </a:cubicBezTo>
                    <a:lnTo>
                      <a:pt x="18285" y="31084"/>
                    </a:lnTo>
                    <a:cubicBezTo>
                      <a:pt x="16232" y="32609"/>
                      <a:pt x="13847" y="33331"/>
                      <a:pt x="11474" y="33331"/>
                    </a:cubicBezTo>
                    <a:close/>
                  </a:path>
                </a:pathLst>
              </a:custGeom>
              <a:grpFill/>
              <a:ln w="1145" cap="flat">
                <a:noFill/>
                <a:prstDash val="solid"/>
                <a:miter/>
              </a:ln>
            </p:spPr>
            <p:txBody>
              <a:bodyPr rtlCol="0" anchor="ctr"/>
              <a:lstStyle/>
              <a:p>
                <a:endParaRPr lang="en-GB" dirty="0"/>
              </a:p>
            </p:txBody>
          </p:sp>
          <p:sp>
            <p:nvSpPr>
              <p:cNvPr id="204" name="Freeform: Shape 203">
                <a:extLst>
                  <a:ext uri="{FF2B5EF4-FFF2-40B4-BE49-F238E27FC236}">
                    <a16:creationId xmlns:a16="http://schemas.microsoft.com/office/drawing/2014/main" id="{7EEB54C2-F150-4CD4-A94C-EEC080F7508B}"/>
                  </a:ext>
                </a:extLst>
              </p:cNvPr>
              <p:cNvSpPr/>
              <p:nvPr/>
            </p:nvSpPr>
            <p:spPr>
              <a:xfrm>
                <a:off x="2363688" y="3296678"/>
                <a:ext cx="22931" cy="42170"/>
              </a:xfrm>
              <a:custGeom>
                <a:avLst/>
                <a:gdLst>
                  <a:gd name="connsiteX0" fmla="*/ 11466 w 22931"/>
                  <a:gd name="connsiteY0" fmla="*/ 42171 h 42170"/>
                  <a:gd name="connsiteX1" fmla="*/ 0 w 22931"/>
                  <a:gd name="connsiteY1" fmla="*/ 30705 h 42170"/>
                  <a:gd name="connsiteX2" fmla="*/ 0 w 22931"/>
                  <a:gd name="connsiteY2" fmla="*/ 11466 h 42170"/>
                  <a:gd name="connsiteX3" fmla="*/ 11466 w 22931"/>
                  <a:gd name="connsiteY3" fmla="*/ 0 h 42170"/>
                  <a:gd name="connsiteX4" fmla="*/ 22931 w 22931"/>
                  <a:gd name="connsiteY4" fmla="*/ 11466 h 42170"/>
                  <a:gd name="connsiteX5" fmla="*/ 22931 w 22931"/>
                  <a:gd name="connsiteY5" fmla="*/ 30705 h 42170"/>
                  <a:gd name="connsiteX6" fmla="*/ 11466 w 22931"/>
                  <a:gd name="connsiteY6" fmla="*/ 42171 h 42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42170">
                    <a:moveTo>
                      <a:pt x="11466" y="42171"/>
                    </a:moveTo>
                    <a:cubicBezTo>
                      <a:pt x="5137" y="42171"/>
                      <a:pt x="0" y="37046"/>
                      <a:pt x="0" y="30705"/>
                    </a:cubicBezTo>
                    <a:lnTo>
                      <a:pt x="0" y="11466"/>
                    </a:lnTo>
                    <a:cubicBezTo>
                      <a:pt x="0" y="5125"/>
                      <a:pt x="5137" y="0"/>
                      <a:pt x="11466" y="0"/>
                    </a:cubicBezTo>
                    <a:cubicBezTo>
                      <a:pt x="17795" y="0"/>
                      <a:pt x="22931" y="5125"/>
                      <a:pt x="22931" y="11466"/>
                    </a:cubicBezTo>
                    <a:lnTo>
                      <a:pt x="22931" y="30705"/>
                    </a:lnTo>
                    <a:cubicBezTo>
                      <a:pt x="22931" y="37046"/>
                      <a:pt x="17806" y="42171"/>
                      <a:pt x="11466" y="42171"/>
                    </a:cubicBezTo>
                    <a:close/>
                  </a:path>
                </a:pathLst>
              </a:custGeom>
              <a:grpFill/>
              <a:ln w="1145" cap="flat">
                <a:noFill/>
                <a:prstDash val="solid"/>
                <a:miter/>
              </a:ln>
            </p:spPr>
            <p:txBody>
              <a:bodyPr rtlCol="0" anchor="ctr"/>
              <a:lstStyle/>
              <a:p>
                <a:endParaRPr lang="en-GB" dirty="0"/>
              </a:p>
            </p:txBody>
          </p:sp>
        </p:grpSp>
        <p:grpSp>
          <p:nvGrpSpPr>
            <p:cNvPr id="193" name="Group 192">
              <a:extLst>
                <a:ext uri="{FF2B5EF4-FFF2-40B4-BE49-F238E27FC236}">
                  <a16:creationId xmlns:a16="http://schemas.microsoft.com/office/drawing/2014/main" id="{A7B568E0-A69C-4FAC-A7AA-3956D3EE2C40}"/>
                </a:ext>
              </a:extLst>
            </p:cNvPr>
            <p:cNvGrpSpPr/>
            <p:nvPr/>
          </p:nvGrpSpPr>
          <p:grpSpPr>
            <a:xfrm>
              <a:off x="2681419" y="1698327"/>
              <a:ext cx="415145" cy="324306"/>
              <a:chOff x="5002456" y="3279124"/>
              <a:chExt cx="415145" cy="324306"/>
            </a:xfrm>
          </p:grpSpPr>
          <p:sp>
            <p:nvSpPr>
              <p:cNvPr id="194" name="Freeform: Shape 193">
                <a:extLst>
                  <a:ext uri="{FF2B5EF4-FFF2-40B4-BE49-F238E27FC236}">
                    <a16:creationId xmlns:a16="http://schemas.microsoft.com/office/drawing/2014/main" id="{370F18EB-5F87-4A1C-AB45-D5C1D18334B2}"/>
                  </a:ext>
                </a:extLst>
              </p:cNvPr>
              <p:cNvSpPr/>
              <p:nvPr/>
            </p:nvSpPr>
            <p:spPr>
              <a:xfrm>
                <a:off x="5370783" y="3279124"/>
                <a:ext cx="46818" cy="46124"/>
              </a:xfrm>
              <a:custGeom>
                <a:avLst/>
                <a:gdLst>
                  <a:gd name="connsiteX0" fmla="*/ 71560 w 83027"/>
                  <a:gd name="connsiteY0" fmla="*/ 81784 h 81795"/>
                  <a:gd name="connsiteX1" fmla="*/ 60094 w 83027"/>
                  <a:gd name="connsiteY1" fmla="*/ 70560 h 81795"/>
                  <a:gd name="connsiteX2" fmla="*/ 59108 w 83027"/>
                  <a:gd name="connsiteY2" fmla="*/ 23161 h 81795"/>
                  <a:gd name="connsiteX3" fmla="*/ 11709 w 83027"/>
                  <a:gd name="connsiteY3" fmla="*/ 24146 h 81795"/>
                  <a:gd name="connsiteX4" fmla="*/ 2 w 83027"/>
                  <a:gd name="connsiteY4" fmla="*/ 12922 h 81795"/>
                  <a:gd name="connsiteX5" fmla="*/ 11227 w 83027"/>
                  <a:gd name="connsiteY5" fmla="*/ 1215 h 81795"/>
                  <a:gd name="connsiteX6" fmla="*/ 70092 w 83027"/>
                  <a:gd name="connsiteY6" fmla="*/ 0 h 81795"/>
                  <a:gd name="connsiteX7" fmla="*/ 70333 w 83027"/>
                  <a:gd name="connsiteY7" fmla="*/ 0 h 81795"/>
                  <a:gd name="connsiteX8" fmla="*/ 81798 w 83027"/>
                  <a:gd name="connsiteY8" fmla="*/ 11225 h 81795"/>
                  <a:gd name="connsiteX9" fmla="*/ 83025 w 83027"/>
                  <a:gd name="connsiteY9" fmla="*/ 70090 h 81795"/>
                  <a:gd name="connsiteX10" fmla="*/ 71800 w 83027"/>
                  <a:gd name="connsiteY10" fmla="*/ 81796 h 81795"/>
                  <a:gd name="connsiteX11" fmla="*/ 71560 w 83027"/>
                  <a:gd name="connsiteY11" fmla="*/ 81784 h 81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3027" h="81795">
                    <a:moveTo>
                      <a:pt x="71560" y="81784"/>
                    </a:moveTo>
                    <a:cubicBezTo>
                      <a:pt x="65345" y="81784"/>
                      <a:pt x="60232" y="76797"/>
                      <a:pt x="60094" y="70560"/>
                    </a:cubicBezTo>
                    <a:lnTo>
                      <a:pt x="59108" y="23161"/>
                    </a:lnTo>
                    <a:lnTo>
                      <a:pt x="11709" y="24146"/>
                    </a:lnTo>
                    <a:cubicBezTo>
                      <a:pt x="5919" y="24330"/>
                      <a:pt x="151" y="19251"/>
                      <a:pt x="2" y="12922"/>
                    </a:cubicBezTo>
                    <a:cubicBezTo>
                      <a:pt x="-124" y="6593"/>
                      <a:pt x="4898" y="1353"/>
                      <a:pt x="11227" y="1215"/>
                    </a:cubicBezTo>
                    <a:lnTo>
                      <a:pt x="70092" y="0"/>
                    </a:lnTo>
                    <a:cubicBezTo>
                      <a:pt x="70172" y="0"/>
                      <a:pt x="70253" y="0"/>
                      <a:pt x="70333" y="0"/>
                    </a:cubicBezTo>
                    <a:cubicBezTo>
                      <a:pt x="76547" y="0"/>
                      <a:pt x="81661" y="4987"/>
                      <a:pt x="81798" y="11225"/>
                    </a:cubicBezTo>
                    <a:lnTo>
                      <a:pt x="83025" y="70090"/>
                    </a:lnTo>
                    <a:cubicBezTo>
                      <a:pt x="83151" y="76419"/>
                      <a:pt x="78129" y="81658"/>
                      <a:pt x="71800" y="81796"/>
                    </a:cubicBezTo>
                    <a:cubicBezTo>
                      <a:pt x="71720" y="81784"/>
                      <a:pt x="71651" y="81784"/>
                      <a:pt x="71560" y="81784"/>
                    </a:cubicBezTo>
                    <a:close/>
                  </a:path>
                </a:pathLst>
              </a:custGeom>
              <a:solidFill>
                <a:schemeClr val="accent1"/>
              </a:solidFill>
              <a:ln w="1145" cap="flat">
                <a:noFill/>
                <a:prstDash val="solid"/>
                <a:miter/>
              </a:ln>
            </p:spPr>
            <p:txBody>
              <a:bodyPr rtlCol="0" anchor="ctr"/>
              <a:lstStyle/>
              <a:p>
                <a:endParaRPr lang="en-GB" dirty="0"/>
              </a:p>
            </p:txBody>
          </p:sp>
          <p:grpSp>
            <p:nvGrpSpPr>
              <p:cNvPr id="195" name="Graphic 48">
                <a:extLst>
                  <a:ext uri="{FF2B5EF4-FFF2-40B4-BE49-F238E27FC236}">
                    <a16:creationId xmlns:a16="http://schemas.microsoft.com/office/drawing/2014/main" id="{B854431C-E95E-46FC-99FC-FA39C18330A9}"/>
                  </a:ext>
                </a:extLst>
              </p:cNvPr>
              <p:cNvGrpSpPr/>
              <p:nvPr/>
            </p:nvGrpSpPr>
            <p:grpSpPr>
              <a:xfrm>
                <a:off x="5002456" y="3454900"/>
                <a:ext cx="125306" cy="148530"/>
                <a:chOff x="2006670" y="3341600"/>
                <a:chExt cx="222216" cy="263400"/>
              </a:xfrm>
              <a:solidFill>
                <a:schemeClr val="accent1"/>
              </a:solidFill>
            </p:grpSpPr>
            <p:sp>
              <p:nvSpPr>
                <p:cNvPr id="197" name="Freeform: Shape 196">
                  <a:extLst>
                    <a:ext uri="{FF2B5EF4-FFF2-40B4-BE49-F238E27FC236}">
                      <a16:creationId xmlns:a16="http://schemas.microsoft.com/office/drawing/2014/main" id="{9EF8F6AD-1D97-431D-AD46-FA279D367E10}"/>
                    </a:ext>
                  </a:extLst>
                </p:cNvPr>
                <p:cNvSpPr/>
                <p:nvPr/>
              </p:nvSpPr>
              <p:spPr>
                <a:xfrm>
                  <a:off x="2006670" y="3382797"/>
                  <a:ext cx="222216" cy="222204"/>
                </a:xfrm>
                <a:custGeom>
                  <a:avLst/>
                  <a:gdLst>
                    <a:gd name="connsiteX0" fmla="*/ 111114 w 222216"/>
                    <a:gd name="connsiteY0" fmla="*/ 222204 h 222204"/>
                    <a:gd name="connsiteX1" fmla="*/ 0 w 222216"/>
                    <a:gd name="connsiteY1" fmla="*/ 111102 h 222204"/>
                    <a:gd name="connsiteX2" fmla="*/ 111114 w 222216"/>
                    <a:gd name="connsiteY2" fmla="*/ 0 h 222204"/>
                    <a:gd name="connsiteX3" fmla="*/ 222216 w 222216"/>
                    <a:gd name="connsiteY3" fmla="*/ 111102 h 222204"/>
                    <a:gd name="connsiteX4" fmla="*/ 111114 w 222216"/>
                    <a:gd name="connsiteY4" fmla="*/ 222204 h 222204"/>
                    <a:gd name="connsiteX5" fmla="*/ 111114 w 222216"/>
                    <a:gd name="connsiteY5" fmla="*/ 22920 h 222204"/>
                    <a:gd name="connsiteX6" fmla="*/ 22931 w 222216"/>
                    <a:gd name="connsiteY6" fmla="*/ 111091 h 222204"/>
                    <a:gd name="connsiteX7" fmla="*/ 111114 w 222216"/>
                    <a:gd name="connsiteY7" fmla="*/ 199262 h 222204"/>
                    <a:gd name="connsiteX8" fmla="*/ 199285 w 222216"/>
                    <a:gd name="connsiteY8" fmla="*/ 111091 h 222204"/>
                    <a:gd name="connsiteX9" fmla="*/ 111114 w 222216"/>
                    <a:gd name="connsiteY9" fmla="*/ 22920 h 222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216" h="222204">
                      <a:moveTo>
                        <a:pt x="111114" y="222204"/>
                      </a:moveTo>
                      <a:cubicBezTo>
                        <a:pt x="49841" y="222204"/>
                        <a:pt x="0" y="172363"/>
                        <a:pt x="0" y="111102"/>
                      </a:cubicBezTo>
                      <a:cubicBezTo>
                        <a:pt x="0" y="49841"/>
                        <a:pt x="49841" y="0"/>
                        <a:pt x="111114" y="0"/>
                      </a:cubicBezTo>
                      <a:cubicBezTo>
                        <a:pt x="172375" y="0"/>
                        <a:pt x="222216" y="49841"/>
                        <a:pt x="222216" y="111102"/>
                      </a:cubicBezTo>
                      <a:cubicBezTo>
                        <a:pt x="222216" y="172363"/>
                        <a:pt x="172375" y="222204"/>
                        <a:pt x="111114" y="222204"/>
                      </a:cubicBezTo>
                      <a:close/>
                      <a:moveTo>
                        <a:pt x="111114" y="22920"/>
                      </a:moveTo>
                      <a:cubicBezTo>
                        <a:pt x="62488" y="22920"/>
                        <a:pt x="22931" y="62476"/>
                        <a:pt x="22931" y="111091"/>
                      </a:cubicBezTo>
                      <a:cubicBezTo>
                        <a:pt x="22931" y="159705"/>
                        <a:pt x="62488" y="199262"/>
                        <a:pt x="111114" y="199262"/>
                      </a:cubicBezTo>
                      <a:cubicBezTo>
                        <a:pt x="159740" y="199262"/>
                        <a:pt x="199285" y="159705"/>
                        <a:pt x="199285" y="111091"/>
                      </a:cubicBezTo>
                      <a:cubicBezTo>
                        <a:pt x="199285" y="62476"/>
                        <a:pt x="159740" y="22920"/>
                        <a:pt x="111114" y="22920"/>
                      </a:cubicBezTo>
                      <a:close/>
                    </a:path>
                  </a:pathLst>
                </a:custGeom>
                <a:solidFill>
                  <a:schemeClr val="accent1"/>
                </a:solidFill>
                <a:ln w="1145" cap="flat">
                  <a:noFill/>
                  <a:prstDash val="solid"/>
                  <a:miter/>
                </a:ln>
              </p:spPr>
              <p:txBody>
                <a:bodyPr rtlCol="0" anchor="ctr"/>
                <a:lstStyle/>
                <a:p>
                  <a:endParaRPr lang="en-GB" dirty="0"/>
                </a:p>
              </p:txBody>
            </p:sp>
            <p:sp>
              <p:nvSpPr>
                <p:cNvPr id="198" name="Freeform: Shape 197">
                  <a:extLst>
                    <a:ext uri="{FF2B5EF4-FFF2-40B4-BE49-F238E27FC236}">
                      <a16:creationId xmlns:a16="http://schemas.microsoft.com/office/drawing/2014/main" id="{9F4142D6-7EEC-4B6E-951D-E87C5709674D}"/>
                    </a:ext>
                  </a:extLst>
                </p:cNvPr>
                <p:cNvSpPr/>
                <p:nvPr/>
              </p:nvSpPr>
              <p:spPr>
                <a:xfrm>
                  <a:off x="2098085" y="3341600"/>
                  <a:ext cx="41047" cy="22931"/>
                </a:xfrm>
                <a:custGeom>
                  <a:avLst/>
                  <a:gdLst>
                    <a:gd name="connsiteX0" fmla="*/ 29581 w 41047"/>
                    <a:gd name="connsiteY0" fmla="*/ 22931 h 22931"/>
                    <a:gd name="connsiteX1" fmla="*/ 11466 w 41047"/>
                    <a:gd name="connsiteY1" fmla="*/ 22931 h 22931"/>
                    <a:gd name="connsiteX2" fmla="*/ 0 w 41047"/>
                    <a:gd name="connsiteY2" fmla="*/ 11466 h 22931"/>
                    <a:gd name="connsiteX3" fmla="*/ 11466 w 41047"/>
                    <a:gd name="connsiteY3" fmla="*/ 0 h 22931"/>
                    <a:gd name="connsiteX4" fmla="*/ 29581 w 41047"/>
                    <a:gd name="connsiteY4" fmla="*/ 0 h 22931"/>
                    <a:gd name="connsiteX5" fmla="*/ 41047 w 41047"/>
                    <a:gd name="connsiteY5" fmla="*/ 11466 h 22931"/>
                    <a:gd name="connsiteX6" fmla="*/ 29581 w 41047"/>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047" h="22931">
                      <a:moveTo>
                        <a:pt x="29581" y="22931"/>
                      </a:moveTo>
                      <a:lnTo>
                        <a:pt x="11466" y="22931"/>
                      </a:lnTo>
                      <a:cubicBezTo>
                        <a:pt x="5137" y="22931"/>
                        <a:pt x="0" y="17806"/>
                        <a:pt x="0" y="11466"/>
                      </a:cubicBezTo>
                      <a:cubicBezTo>
                        <a:pt x="0" y="5125"/>
                        <a:pt x="5137" y="0"/>
                        <a:pt x="11466" y="0"/>
                      </a:cubicBezTo>
                      <a:lnTo>
                        <a:pt x="29581" y="0"/>
                      </a:lnTo>
                      <a:cubicBezTo>
                        <a:pt x="35910" y="0"/>
                        <a:pt x="41047" y="5125"/>
                        <a:pt x="41047" y="11466"/>
                      </a:cubicBezTo>
                      <a:cubicBezTo>
                        <a:pt x="41047" y="17806"/>
                        <a:pt x="35910" y="22931"/>
                        <a:pt x="29581" y="22931"/>
                      </a:cubicBezTo>
                      <a:close/>
                    </a:path>
                  </a:pathLst>
                </a:custGeom>
                <a:solidFill>
                  <a:schemeClr val="accent1"/>
                </a:solidFill>
                <a:ln w="1145" cap="flat">
                  <a:noFill/>
                  <a:prstDash val="solid"/>
                  <a:miter/>
                </a:ln>
              </p:spPr>
              <p:txBody>
                <a:bodyPr rtlCol="0" anchor="ctr"/>
                <a:lstStyle/>
                <a:p>
                  <a:endParaRPr lang="en-GB" dirty="0"/>
                </a:p>
              </p:txBody>
            </p:sp>
            <p:sp>
              <p:nvSpPr>
                <p:cNvPr id="199" name="Freeform: Shape 198">
                  <a:extLst>
                    <a:ext uri="{FF2B5EF4-FFF2-40B4-BE49-F238E27FC236}">
                      <a16:creationId xmlns:a16="http://schemas.microsoft.com/office/drawing/2014/main" id="{7BD98DFC-DF06-4F7C-871A-7AC4FFEDE60B}"/>
                    </a:ext>
                  </a:extLst>
                </p:cNvPr>
                <p:cNvSpPr/>
                <p:nvPr/>
              </p:nvSpPr>
              <p:spPr>
                <a:xfrm>
                  <a:off x="2169723" y="3388621"/>
                  <a:ext cx="34878" cy="35210"/>
                </a:xfrm>
                <a:custGeom>
                  <a:avLst/>
                  <a:gdLst>
                    <a:gd name="connsiteX0" fmla="*/ 11465 w 34878"/>
                    <a:gd name="connsiteY0" fmla="*/ 35211 h 35210"/>
                    <a:gd name="connsiteX1" fmla="*/ 3474 w 34878"/>
                    <a:gd name="connsiteY1" fmla="*/ 31966 h 35210"/>
                    <a:gd name="connsiteX2" fmla="*/ 3245 w 34878"/>
                    <a:gd name="connsiteY2" fmla="*/ 15754 h 35210"/>
                    <a:gd name="connsiteX3" fmla="*/ 15192 w 34878"/>
                    <a:gd name="connsiteY3" fmla="*/ 3474 h 35210"/>
                    <a:gd name="connsiteX4" fmla="*/ 31404 w 34878"/>
                    <a:gd name="connsiteY4" fmla="*/ 3245 h 35210"/>
                    <a:gd name="connsiteX5" fmla="*/ 31634 w 34878"/>
                    <a:gd name="connsiteY5" fmla="*/ 19457 h 35210"/>
                    <a:gd name="connsiteX6" fmla="*/ 19686 w 34878"/>
                    <a:gd name="connsiteY6" fmla="*/ 31737 h 35210"/>
                    <a:gd name="connsiteX7" fmla="*/ 11465 w 34878"/>
                    <a:gd name="connsiteY7" fmla="*/ 35211 h 35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8" h="35210">
                      <a:moveTo>
                        <a:pt x="11465" y="35211"/>
                      </a:moveTo>
                      <a:cubicBezTo>
                        <a:pt x="8588" y="35211"/>
                        <a:pt x="5698" y="34133"/>
                        <a:pt x="3474" y="31966"/>
                      </a:cubicBezTo>
                      <a:cubicBezTo>
                        <a:pt x="-1067" y="27552"/>
                        <a:pt x="-1170" y="20282"/>
                        <a:pt x="3245" y="15754"/>
                      </a:cubicBezTo>
                      <a:lnTo>
                        <a:pt x="15192" y="3474"/>
                      </a:lnTo>
                      <a:cubicBezTo>
                        <a:pt x="19606" y="-1067"/>
                        <a:pt x="26875" y="-1170"/>
                        <a:pt x="31404" y="3245"/>
                      </a:cubicBezTo>
                      <a:cubicBezTo>
                        <a:pt x="35945" y="7659"/>
                        <a:pt x="36048" y="14928"/>
                        <a:pt x="31634" y="19457"/>
                      </a:cubicBezTo>
                      <a:lnTo>
                        <a:pt x="19686" y="31737"/>
                      </a:lnTo>
                      <a:cubicBezTo>
                        <a:pt x="17439" y="34053"/>
                        <a:pt x="14458" y="35211"/>
                        <a:pt x="11465" y="35211"/>
                      </a:cubicBezTo>
                      <a:close/>
                    </a:path>
                  </a:pathLst>
                </a:custGeom>
                <a:solidFill>
                  <a:schemeClr val="accent1"/>
                </a:solidFill>
                <a:ln w="1145" cap="flat">
                  <a:noFill/>
                  <a:prstDash val="solid"/>
                  <a:miter/>
                </a:ln>
              </p:spPr>
              <p:txBody>
                <a:bodyPr rtlCol="0" anchor="ctr"/>
                <a:lstStyle/>
                <a:p>
                  <a:endParaRPr lang="en-GB" dirty="0"/>
                </a:p>
              </p:txBody>
            </p:sp>
            <p:sp>
              <p:nvSpPr>
                <p:cNvPr id="200" name="Freeform: Shape 199">
                  <a:extLst>
                    <a:ext uri="{FF2B5EF4-FFF2-40B4-BE49-F238E27FC236}">
                      <a16:creationId xmlns:a16="http://schemas.microsoft.com/office/drawing/2014/main" id="{B413BA95-04AE-4242-87D1-DCE4141717BF}"/>
                    </a:ext>
                  </a:extLst>
                </p:cNvPr>
                <p:cNvSpPr/>
                <p:nvPr/>
              </p:nvSpPr>
              <p:spPr>
                <a:xfrm>
                  <a:off x="2029772" y="3388151"/>
                  <a:ext cx="36050" cy="35680"/>
                </a:xfrm>
                <a:custGeom>
                  <a:avLst/>
                  <a:gdLst>
                    <a:gd name="connsiteX0" fmla="*/ 24595 w 36050"/>
                    <a:gd name="connsiteY0" fmla="*/ 35681 h 35680"/>
                    <a:gd name="connsiteX1" fmla="*/ 16604 w 36050"/>
                    <a:gd name="connsiteY1" fmla="*/ 32436 h 35680"/>
                    <a:gd name="connsiteX2" fmla="*/ 3475 w 36050"/>
                    <a:gd name="connsiteY2" fmla="*/ 19686 h 35680"/>
                    <a:gd name="connsiteX3" fmla="*/ 3235 w 36050"/>
                    <a:gd name="connsiteY3" fmla="*/ 3474 h 35680"/>
                    <a:gd name="connsiteX4" fmla="*/ 19447 w 36050"/>
                    <a:gd name="connsiteY4" fmla="*/ 3245 h 35680"/>
                    <a:gd name="connsiteX5" fmla="*/ 32575 w 36050"/>
                    <a:gd name="connsiteY5" fmla="*/ 15994 h 35680"/>
                    <a:gd name="connsiteX6" fmla="*/ 32816 w 36050"/>
                    <a:gd name="connsiteY6" fmla="*/ 32207 h 35680"/>
                    <a:gd name="connsiteX7" fmla="*/ 24595 w 36050"/>
                    <a:gd name="connsiteY7" fmla="*/ 35681 h 3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50" h="35680">
                      <a:moveTo>
                        <a:pt x="24595" y="35681"/>
                      </a:moveTo>
                      <a:cubicBezTo>
                        <a:pt x="21717" y="35681"/>
                        <a:pt x="18839" y="34603"/>
                        <a:pt x="16604" y="32436"/>
                      </a:cubicBezTo>
                      <a:lnTo>
                        <a:pt x="3475" y="19686"/>
                      </a:lnTo>
                      <a:cubicBezTo>
                        <a:pt x="-1065" y="15272"/>
                        <a:pt x="-1168" y="8014"/>
                        <a:pt x="3235" y="3474"/>
                      </a:cubicBezTo>
                      <a:cubicBezTo>
                        <a:pt x="7649" y="-1067"/>
                        <a:pt x="14907" y="-1170"/>
                        <a:pt x="19447" y="3245"/>
                      </a:cubicBezTo>
                      <a:lnTo>
                        <a:pt x="32575" y="15994"/>
                      </a:lnTo>
                      <a:cubicBezTo>
                        <a:pt x="37116" y="20409"/>
                        <a:pt x="37219" y="27666"/>
                        <a:pt x="32816" y="32207"/>
                      </a:cubicBezTo>
                      <a:cubicBezTo>
                        <a:pt x="30569" y="34523"/>
                        <a:pt x="27588" y="35681"/>
                        <a:pt x="24595" y="35681"/>
                      </a:cubicBezTo>
                      <a:close/>
                    </a:path>
                  </a:pathLst>
                </a:custGeom>
                <a:solidFill>
                  <a:schemeClr val="accent1"/>
                </a:solidFill>
                <a:ln w="1145" cap="flat">
                  <a:noFill/>
                  <a:prstDash val="solid"/>
                  <a:miter/>
                </a:ln>
              </p:spPr>
              <p:txBody>
                <a:bodyPr rtlCol="0" anchor="ctr"/>
                <a:lstStyle/>
                <a:p>
                  <a:endParaRPr lang="en-GB" dirty="0"/>
                </a:p>
              </p:txBody>
            </p:sp>
            <p:sp>
              <p:nvSpPr>
                <p:cNvPr id="201" name="Freeform: Shape 200">
                  <a:extLst>
                    <a:ext uri="{FF2B5EF4-FFF2-40B4-BE49-F238E27FC236}">
                      <a16:creationId xmlns:a16="http://schemas.microsoft.com/office/drawing/2014/main" id="{6E7A40AC-0F1D-43F7-B2AA-92522A5C0BC2}"/>
                    </a:ext>
                  </a:extLst>
                </p:cNvPr>
                <p:cNvSpPr/>
                <p:nvPr/>
              </p:nvSpPr>
              <p:spPr>
                <a:xfrm>
                  <a:off x="2106318" y="3437151"/>
                  <a:ext cx="59156" cy="113503"/>
                </a:xfrm>
                <a:custGeom>
                  <a:avLst/>
                  <a:gdLst>
                    <a:gd name="connsiteX0" fmla="*/ 11466 w 59156"/>
                    <a:gd name="connsiteY0" fmla="*/ 113503 h 113503"/>
                    <a:gd name="connsiteX1" fmla="*/ 0 w 59156"/>
                    <a:gd name="connsiteY1" fmla="*/ 102038 h 113503"/>
                    <a:gd name="connsiteX2" fmla="*/ 0 w 59156"/>
                    <a:gd name="connsiteY2" fmla="*/ 56748 h 113503"/>
                    <a:gd name="connsiteX3" fmla="*/ 2511 w 59156"/>
                    <a:gd name="connsiteY3" fmla="*/ 49582 h 113503"/>
                    <a:gd name="connsiteX4" fmla="*/ 38743 w 59156"/>
                    <a:gd name="connsiteY4" fmla="*/ 4293 h 113503"/>
                    <a:gd name="connsiteX5" fmla="*/ 54852 w 59156"/>
                    <a:gd name="connsiteY5" fmla="*/ 2504 h 113503"/>
                    <a:gd name="connsiteX6" fmla="*/ 56640 w 59156"/>
                    <a:gd name="connsiteY6" fmla="*/ 18625 h 113503"/>
                    <a:gd name="connsiteX7" fmla="*/ 22920 w 59156"/>
                    <a:gd name="connsiteY7" fmla="*/ 60773 h 113503"/>
                    <a:gd name="connsiteX8" fmla="*/ 22920 w 59156"/>
                    <a:gd name="connsiteY8" fmla="*/ 102049 h 113503"/>
                    <a:gd name="connsiteX9" fmla="*/ 11466 w 59156"/>
                    <a:gd name="connsiteY9" fmla="*/ 113503 h 113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156" h="113503">
                      <a:moveTo>
                        <a:pt x="11466" y="113503"/>
                      </a:moveTo>
                      <a:cubicBezTo>
                        <a:pt x="5137" y="113503"/>
                        <a:pt x="0" y="108378"/>
                        <a:pt x="0" y="102038"/>
                      </a:cubicBezTo>
                      <a:lnTo>
                        <a:pt x="0" y="56748"/>
                      </a:lnTo>
                      <a:cubicBezTo>
                        <a:pt x="0" y="54134"/>
                        <a:pt x="883" y="51623"/>
                        <a:pt x="2511" y="49582"/>
                      </a:cubicBezTo>
                      <a:lnTo>
                        <a:pt x="38743" y="4293"/>
                      </a:lnTo>
                      <a:cubicBezTo>
                        <a:pt x="42698" y="-637"/>
                        <a:pt x="49922" y="-1440"/>
                        <a:pt x="54852" y="2504"/>
                      </a:cubicBezTo>
                      <a:cubicBezTo>
                        <a:pt x="59805" y="6471"/>
                        <a:pt x="60596" y="13683"/>
                        <a:pt x="56640" y="18625"/>
                      </a:cubicBezTo>
                      <a:lnTo>
                        <a:pt x="22920" y="60773"/>
                      </a:lnTo>
                      <a:lnTo>
                        <a:pt x="22920" y="102049"/>
                      </a:lnTo>
                      <a:cubicBezTo>
                        <a:pt x="22931" y="108367"/>
                        <a:pt x="17795" y="113503"/>
                        <a:pt x="11466" y="113503"/>
                      </a:cubicBezTo>
                      <a:close/>
                    </a:path>
                  </a:pathLst>
                </a:custGeom>
                <a:solidFill>
                  <a:schemeClr val="accent1"/>
                </a:solidFill>
                <a:ln w="1145" cap="flat">
                  <a:noFill/>
                  <a:prstDash val="solid"/>
                  <a:miter/>
                </a:ln>
              </p:spPr>
              <p:txBody>
                <a:bodyPr rtlCol="0" anchor="ctr"/>
                <a:lstStyle/>
                <a:p>
                  <a:endParaRPr lang="en-GB" dirty="0"/>
                </a:p>
              </p:txBody>
            </p:sp>
          </p:grpSp>
          <p:sp>
            <p:nvSpPr>
              <p:cNvPr id="196" name="Freeform: Shape 195">
                <a:extLst>
                  <a:ext uri="{FF2B5EF4-FFF2-40B4-BE49-F238E27FC236}">
                    <a16:creationId xmlns:a16="http://schemas.microsoft.com/office/drawing/2014/main" id="{A4C577B7-C416-4BDF-A41E-8B4329BAF231}"/>
                  </a:ext>
                </a:extLst>
              </p:cNvPr>
              <p:cNvSpPr/>
              <p:nvPr/>
            </p:nvSpPr>
            <p:spPr>
              <a:xfrm>
                <a:off x="5122173" y="3282525"/>
                <a:ext cx="291780" cy="133142"/>
              </a:xfrm>
              <a:custGeom>
                <a:avLst/>
                <a:gdLst>
                  <a:gd name="connsiteX0" fmla="*/ 11470 w 517437"/>
                  <a:gd name="connsiteY0" fmla="*/ 236112 h 236112"/>
                  <a:gd name="connsiteX1" fmla="*/ 2699 w 517437"/>
                  <a:gd name="connsiteY1" fmla="*/ 232042 h 236112"/>
                  <a:gd name="connsiteX2" fmla="*/ 4075 w 517437"/>
                  <a:gd name="connsiteY2" fmla="*/ 215887 h 236112"/>
                  <a:gd name="connsiteX3" fmla="*/ 67262 w 517437"/>
                  <a:gd name="connsiteY3" fmla="*/ 162594 h 236112"/>
                  <a:gd name="connsiteX4" fmla="*/ 82993 w 517437"/>
                  <a:gd name="connsiteY4" fmla="*/ 163489 h 236112"/>
                  <a:gd name="connsiteX5" fmla="*/ 121586 w 517437"/>
                  <a:gd name="connsiteY5" fmla="*/ 204353 h 236112"/>
                  <a:gd name="connsiteX6" fmla="*/ 281922 w 517437"/>
                  <a:gd name="connsiteY6" fmla="*/ 43478 h 236112"/>
                  <a:gd name="connsiteX7" fmla="*/ 290040 w 517437"/>
                  <a:gd name="connsiteY7" fmla="*/ 40107 h 236112"/>
                  <a:gd name="connsiteX8" fmla="*/ 290109 w 517437"/>
                  <a:gd name="connsiteY8" fmla="*/ 40107 h 236112"/>
                  <a:gd name="connsiteX9" fmla="*/ 298250 w 517437"/>
                  <a:gd name="connsiteY9" fmla="*/ 43581 h 236112"/>
                  <a:gd name="connsiteX10" fmla="*/ 377076 w 517437"/>
                  <a:gd name="connsiteY10" fmla="*/ 124529 h 236112"/>
                  <a:gd name="connsiteX11" fmla="*/ 497855 w 517437"/>
                  <a:gd name="connsiteY11" fmla="*/ 3382 h 236112"/>
                  <a:gd name="connsiteX12" fmla="*/ 514068 w 517437"/>
                  <a:gd name="connsiteY12" fmla="*/ 3359 h 236112"/>
                  <a:gd name="connsiteX13" fmla="*/ 514091 w 517437"/>
                  <a:gd name="connsiteY13" fmla="*/ 19572 h 236112"/>
                  <a:gd name="connsiteX14" fmla="*/ 385102 w 517437"/>
                  <a:gd name="connsiteY14" fmla="*/ 148962 h 236112"/>
                  <a:gd name="connsiteX15" fmla="*/ 376916 w 517437"/>
                  <a:gd name="connsiteY15" fmla="*/ 152333 h 236112"/>
                  <a:gd name="connsiteX16" fmla="*/ 368775 w 517437"/>
                  <a:gd name="connsiteY16" fmla="*/ 148859 h 236112"/>
                  <a:gd name="connsiteX17" fmla="*/ 289948 w 517437"/>
                  <a:gd name="connsiteY17" fmla="*/ 67911 h 236112"/>
                  <a:gd name="connsiteX18" fmla="*/ 129486 w 517437"/>
                  <a:gd name="connsiteY18" fmla="*/ 228901 h 236112"/>
                  <a:gd name="connsiteX19" fmla="*/ 121208 w 517437"/>
                  <a:gd name="connsiteY19" fmla="*/ 232271 h 236112"/>
                  <a:gd name="connsiteX20" fmla="*/ 113033 w 517437"/>
                  <a:gd name="connsiteY20" fmla="*/ 228683 h 236112"/>
                  <a:gd name="connsiteX21" fmla="*/ 73775 w 517437"/>
                  <a:gd name="connsiteY21" fmla="*/ 187108 h 236112"/>
                  <a:gd name="connsiteX22" fmla="*/ 18866 w 517437"/>
                  <a:gd name="connsiteY22" fmla="*/ 233418 h 236112"/>
                  <a:gd name="connsiteX23" fmla="*/ 11470 w 517437"/>
                  <a:gd name="connsiteY23" fmla="*/ 236112 h 236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7437" h="236112">
                    <a:moveTo>
                      <a:pt x="11470" y="236112"/>
                    </a:moveTo>
                    <a:cubicBezTo>
                      <a:pt x="8202" y="236112"/>
                      <a:pt x="4969" y="234725"/>
                      <a:pt x="2699" y="232042"/>
                    </a:cubicBezTo>
                    <a:cubicBezTo>
                      <a:pt x="-1383" y="227204"/>
                      <a:pt x="-764" y="219969"/>
                      <a:pt x="4075" y="215887"/>
                    </a:cubicBezTo>
                    <a:lnTo>
                      <a:pt x="67262" y="162594"/>
                    </a:lnTo>
                    <a:cubicBezTo>
                      <a:pt x="71906" y="158673"/>
                      <a:pt x="78808" y="159063"/>
                      <a:pt x="82993" y="163489"/>
                    </a:cubicBezTo>
                    <a:lnTo>
                      <a:pt x="121586" y="204353"/>
                    </a:lnTo>
                    <a:lnTo>
                      <a:pt x="281922" y="43478"/>
                    </a:lnTo>
                    <a:cubicBezTo>
                      <a:pt x="284078" y="41322"/>
                      <a:pt x="287002" y="40107"/>
                      <a:pt x="290040" y="40107"/>
                    </a:cubicBezTo>
                    <a:cubicBezTo>
                      <a:pt x="290063" y="40107"/>
                      <a:pt x="290086" y="40107"/>
                      <a:pt x="290109" y="40107"/>
                    </a:cubicBezTo>
                    <a:cubicBezTo>
                      <a:pt x="293182" y="40130"/>
                      <a:pt x="296117" y="41368"/>
                      <a:pt x="298250" y="43581"/>
                    </a:cubicBezTo>
                    <a:lnTo>
                      <a:pt x="377076" y="124529"/>
                    </a:lnTo>
                    <a:lnTo>
                      <a:pt x="497855" y="3382"/>
                    </a:lnTo>
                    <a:cubicBezTo>
                      <a:pt x="502327" y="-1124"/>
                      <a:pt x="509573" y="-1124"/>
                      <a:pt x="514068" y="3359"/>
                    </a:cubicBezTo>
                    <a:cubicBezTo>
                      <a:pt x="518551" y="7831"/>
                      <a:pt x="518562" y="15077"/>
                      <a:pt x="514091" y="19572"/>
                    </a:cubicBezTo>
                    <a:lnTo>
                      <a:pt x="385102" y="148962"/>
                    </a:lnTo>
                    <a:cubicBezTo>
                      <a:pt x="382935" y="151129"/>
                      <a:pt x="380023" y="151897"/>
                      <a:pt x="376916" y="152333"/>
                    </a:cubicBezTo>
                    <a:cubicBezTo>
                      <a:pt x="373843" y="152310"/>
                      <a:pt x="370908" y="151072"/>
                      <a:pt x="368775" y="148859"/>
                    </a:cubicBezTo>
                    <a:lnTo>
                      <a:pt x="289948" y="67911"/>
                    </a:lnTo>
                    <a:lnTo>
                      <a:pt x="129486" y="228901"/>
                    </a:lnTo>
                    <a:cubicBezTo>
                      <a:pt x="127296" y="231090"/>
                      <a:pt x="124545" y="232409"/>
                      <a:pt x="121208" y="232271"/>
                    </a:cubicBezTo>
                    <a:cubicBezTo>
                      <a:pt x="118112" y="232226"/>
                      <a:pt x="115154" y="230930"/>
                      <a:pt x="113033" y="228683"/>
                    </a:cubicBezTo>
                    <a:lnTo>
                      <a:pt x="73775" y="187108"/>
                    </a:lnTo>
                    <a:lnTo>
                      <a:pt x="18866" y="233418"/>
                    </a:lnTo>
                    <a:cubicBezTo>
                      <a:pt x="16710" y="235230"/>
                      <a:pt x="14084" y="236112"/>
                      <a:pt x="11470" y="236112"/>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331" name="Group 330">
            <a:extLst>
              <a:ext uri="{FF2B5EF4-FFF2-40B4-BE49-F238E27FC236}">
                <a16:creationId xmlns:a16="http://schemas.microsoft.com/office/drawing/2014/main" id="{3BE83596-E0C1-473E-BA40-406F618458A6}"/>
              </a:ext>
            </a:extLst>
          </p:cNvPr>
          <p:cNvGrpSpPr/>
          <p:nvPr/>
        </p:nvGrpSpPr>
        <p:grpSpPr>
          <a:xfrm>
            <a:off x="582221" y="2470251"/>
            <a:ext cx="423658" cy="378567"/>
            <a:chOff x="4994126" y="4030849"/>
            <a:chExt cx="423658" cy="378567"/>
          </a:xfrm>
        </p:grpSpPr>
        <p:grpSp>
          <p:nvGrpSpPr>
            <p:cNvPr id="332" name="Group 331">
              <a:extLst>
                <a:ext uri="{FF2B5EF4-FFF2-40B4-BE49-F238E27FC236}">
                  <a16:creationId xmlns:a16="http://schemas.microsoft.com/office/drawing/2014/main" id="{41D6BA1C-9011-444E-A7E5-9680523AF69E}"/>
                </a:ext>
              </a:extLst>
            </p:cNvPr>
            <p:cNvGrpSpPr/>
            <p:nvPr/>
          </p:nvGrpSpPr>
          <p:grpSpPr>
            <a:xfrm>
              <a:off x="4994126" y="4030849"/>
              <a:ext cx="423658" cy="378567"/>
              <a:chOff x="4994126" y="4030849"/>
              <a:chExt cx="423658" cy="378567"/>
            </a:xfrm>
          </p:grpSpPr>
          <p:grpSp>
            <p:nvGrpSpPr>
              <p:cNvPr id="336" name="Graphic 48">
                <a:extLst>
                  <a:ext uri="{FF2B5EF4-FFF2-40B4-BE49-F238E27FC236}">
                    <a16:creationId xmlns:a16="http://schemas.microsoft.com/office/drawing/2014/main" id="{1B4F05BD-203A-4026-8303-D6E9904C4F8B}"/>
                  </a:ext>
                </a:extLst>
              </p:cNvPr>
              <p:cNvGrpSpPr/>
              <p:nvPr/>
            </p:nvGrpSpPr>
            <p:grpSpPr>
              <a:xfrm>
                <a:off x="4994126" y="4030849"/>
                <a:ext cx="180150" cy="260289"/>
                <a:chOff x="1992800" y="4441587"/>
                <a:chExt cx="319475" cy="461592"/>
              </a:xfrm>
              <a:solidFill>
                <a:schemeClr val="tx2"/>
              </a:solidFill>
            </p:grpSpPr>
            <p:sp>
              <p:nvSpPr>
                <p:cNvPr id="341" name="Freeform: Shape 340">
                  <a:extLst>
                    <a:ext uri="{FF2B5EF4-FFF2-40B4-BE49-F238E27FC236}">
                      <a16:creationId xmlns:a16="http://schemas.microsoft.com/office/drawing/2014/main" id="{BAE12D69-62DE-4719-8985-3E5740253AD3}"/>
                    </a:ext>
                  </a:extLst>
                </p:cNvPr>
                <p:cNvSpPr/>
                <p:nvPr/>
              </p:nvSpPr>
              <p:spPr>
                <a:xfrm>
                  <a:off x="1992800" y="4441587"/>
                  <a:ext cx="319475" cy="350363"/>
                </a:xfrm>
                <a:custGeom>
                  <a:avLst/>
                  <a:gdLst>
                    <a:gd name="connsiteX0" fmla="*/ 229974 w 319475"/>
                    <a:gd name="connsiteY0" fmla="*/ 350364 h 350363"/>
                    <a:gd name="connsiteX1" fmla="*/ 228874 w 319475"/>
                    <a:gd name="connsiteY1" fmla="*/ 350306 h 350363"/>
                    <a:gd name="connsiteX2" fmla="*/ 218555 w 319475"/>
                    <a:gd name="connsiteY2" fmla="*/ 337798 h 350363"/>
                    <a:gd name="connsiteX3" fmla="*/ 219483 w 319475"/>
                    <a:gd name="connsiteY3" fmla="*/ 328155 h 350363"/>
                    <a:gd name="connsiteX4" fmla="*/ 256781 w 319475"/>
                    <a:gd name="connsiteY4" fmla="*/ 254350 h 350363"/>
                    <a:gd name="connsiteX5" fmla="*/ 296544 w 319475"/>
                    <a:gd name="connsiteY5" fmla="*/ 158669 h 350363"/>
                    <a:gd name="connsiteX6" fmla="*/ 251324 w 319475"/>
                    <a:gd name="connsiteY6" fmla="*/ 57794 h 350363"/>
                    <a:gd name="connsiteX7" fmla="*/ 143902 w 319475"/>
                    <a:gd name="connsiteY7" fmla="*/ 23764 h 350363"/>
                    <a:gd name="connsiteX8" fmla="*/ 24005 w 319475"/>
                    <a:gd name="connsiteY8" fmla="*/ 141333 h 350363"/>
                    <a:gd name="connsiteX9" fmla="*/ 64823 w 319475"/>
                    <a:gd name="connsiteY9" fmla="*/ 256425 h 350363"/>
                    <a:gd name="connsiteX10" fmla="*/ 100722 w 319475"/>
                    <a:gd name="connsiteY10" fmla="*/ 335241 h 350363"/>
                    <a:gd name="connsiteX11" fmla="*/ 100940 w 319475"/>
                    <a:gd name="connsiteY11" fmla="*/ 338004 h 350363"/>
                    <a:gd name="connsiteX12" fmla="*/ 90380 w 319475"/>
                    <a:gd name="connsiteY12" fmla="*/ 350306 h 350363"/>
                    <a:gd name="connsiteX13" fmla="*/ 78077 w 319475"/>
                    <a:gd name="connsiteY13" fmla="*/ 339746 h 350363"/>
                    <a:gd name="connsiteX14" fmla="*/ 77848 w 319475"/>
                    <a:gd name="connsiteY14" fmla="*/ 336823 h 350363"/>
                    <a:gd name="connsiteX15" fmla="*/ 48966 w 319475"/>
                    <a:gd name="connsiteY15" fmla="*/ 272994 h 350363"/>
                    <a:gd name="connsiteX16" fmla="*/ 1257 w 319475"/>
                    <a:gd name="connsiteY16" fmla="*/ 138513 h 350363"/>
                    <a:gd name="connsiteX17" fmla="*/ 141368 w 319475"/>
                    <a:gd name="connsiteY17" fmla="*/ 970 h 350363"/>
                    <a:gd name="connsiteX18" fmla="*/ 266607 w 319475"/>
                    <a:gd name="connsiteY18" fmla="*/ 40710 h 350363"/>
                    <a:gd name="connsiteX19" fmla="*/ 319475 w 319475"/>
                    <a:gd name="connsiteY19" fmla="*/ 158669 h 350363"/>
                    <a:gd name="connsiteX20" fmla="*/ 272982 w 319475"/>
                    <a:gd name="connsiteY20" fmla="*/ 270586 h 350363"/>
                    <a:gd name="connsiteX21" fmla="*/ 242254 w 319475"/>
                    <a:gd name="connsiteY21" fmla="*/ 330757 h 350363"/>
                    <a:gd name="connsiteX22" fmla="*/ 241383 w 319475"/>
                    <a:gd name="connsiteY22" fmla="*/ 339987 h 350363"/>
                    <a:gd name="connsiteX23" fmla="*/ 229974 w 319475"/>
                    <a:gd name="connsiteY23" fmla="*/ 350364 h 35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19475" h="350363">
                      <a:moveTo>
                        <a:pt x="229974" y="350364"/>
                      </a:moveTo>
                      <a:cubicBezTo>
                        <a:pt x="229608" y="350364"/>
                        <a:pt x="229241" y="350352"/>
                        <a:pt x="228874" y="350306"/>
                      </a:cubicBezTo>
                      <a:cubicBezTo>
                        <a:pt x="222568" y="349699"/>
                        <a:pt x="217947" y="344104"/>
                        <a:pt x="218555" y="337798"/>
                      </a:cubicBezTo>
                      <a:lnTo>
                        <a:pt x="219483" y="328155"/>
                      </a:lnTo>
                      <a:cubicBezTo>
                        <a:pt x="223152" y="300453"/>
                        <a:pt x="236028" y="275080"/>
                        <a:pt x="256781" y="254350"/>
                      </a:cubicBezTo>
                      <a:cubicBezTo>
                        <a:pt x="282418" y="228759"/>
                        <a:pt x="296544" y="194774"/>
                        <a:pt x="296544" y="158669"/>
                      </a:cubicBezTo>
                      <a:cubicBezTo>
                        <a:pt x="296544" y="120282"/>
                        <a:pt x="280057" y="83512"/>
                        <a:pt x="251324" y="57794"/>
                      </a:cubicBezTo>
                      <a:cubicBezTo>
                        <a:pt x="221857" y="31412"/>
                        <a:pt x="183688" y="19304"/>
                        <a:pt x="143902" y="23764"/>
                      </a:cubicBezTo>
                      <a:cubicBezTo>
                        <a:pt x="82044" y="30644"/>
                        <a:pt x="31630" y="80083"/>
                        <a:pt x="24005" y="141333"/>
                      </a:cubicBezTo>
                      <a:cubicBezTo>
                        <a:pt x="18639" y="184547"/>
                        <a:pt x="33522" y="226489"/>
                        <a:pt x="64823" y="256425"/>
                      </a:cubicBezTo>
                      <a:cubicBezTo>
                        <a:pt x="86069" y="276743"/>
                        <a:pt x="98819" y="304742"/>
                        <a:pt x="100722" y="335241"/>
                      </a:cubicBezTo>
                      <a:lnTo>
                        <a:pt x="100940" y="338004"/>
                      </a:lnTo>
                      <a:cubicBezTo>
                        <a:pt x="101421" y="344321"/>
                        <a:pt x="96697" y="349825"/>
                        <a:pt x="90380" y="350306"/>
                      </a:cubicBezTo>
                      <a:cubicBezTo>
                        <a:pt x="83993" y="350731"/>
                        <a:pt x="78547" y="346064"/>
                        <a:pt x="78077" y="339746"/>
                      </a:cubicBezTo>
                      <a:lnTo>
                        <a:pt x="77848" y="336823"/>
                      </a:lnTo>
                      <a:cubicBezTo>
                        <a:pt x="76289" y="311931"/>
                        <a:pt x="66038" y="289309"/>
                        <a:pt x="48966" y="272994"/>
                      </a:cubicBezTo>
                      <a:cubicBezTo>
                        <a:pt x="12379" y="237989"/>
                        <a:pt x="-5015" y="188973"/>
                        <a:pt x="1257" y="138513"/>
                      </a:cubicBezTo>
                      <a:cubicBezTo>
                        <a:pt x="10166" y="66852"/>
                        <a:pt x="69088" y="9008"/>
                        <a:pt x="141368" y="970"/>
                      </a:cubicBezTo>
                      <a:cubicBezTo>
                        <a:pt x="187070" y="-4017"/>
                        <a:pt x="232726" y="10372"/>
                        <a:pt x="266607" y="40710"/>
                      </a:cubicBezTo>
                      <a:cubicBezTo>
                        <a:pt x="300202" y="70773"/>
                        <a:pt x="319475" y="113770"/>
                        <a:pt x="319475" y="158669"/>
                      </a:cubicBezTo>
                      <a:cubicBezTo>
                        <a:pt x="319475" y="200897"/>
                        <a:pt x="302965" y="240637"/>
                        <a:pt x="272982" y="270586"/>
                      </a:cubicBezTo>
                      <a:cubicBezTo>
                        <a:pt x="255830" y="287704"/>
                        <a:pt x="245212" y="308514"/>
                        <a:pt x="242254" y="330757"/>
                      </a:cubicBezTo>
                      <a:lnTo>
                        <a:pt x="241383" y="339987"/>
                      </a:lnTo>
                      <a:cubicBezTo>
                        <a:pt x="240809" y="345927"/>
                        <a:pt x="235810" y="350364"/>
                        <a:pt x="229974" y="350364"/>
                      </a:cubicBezTo>
                      <a:close/>
                    </a:path>
                  </a:pathLst>
                </a:custGeom>
                <a:solidFill>
                  <a:schemeClr val="accent1"/>
                </a:solidFill>
                <a:ln w="1145" cap="flat">
                  <a:noFill/>
                  <a:prstDash val="solid"/>
                  <a:miter/>
                </a:ln>
              </p:spPr>
              <p:txBody>
                <a:bodyPr rtlCol="0" anchor="ctr"/>
                <a:lstStyle/>
                <a:p>
                  <a:endParaRPr lang="en-GB" dirty="0"/>
                </a:p>
              </p:txBody>
            </p:sp>
            <p:sp>
              <p:nvSpPr>
                <p:cNvPr id="342" name="Freeform: Shape 341">
                  <a:extLst>
                    <a:ext uri="{FF2B5EF4-FFF2-40B4-BE49-F238E27FC236}">
                      <a16:creationId xmlns:a16="http://schemas.microsoft.com/office/drawing/2014/main" id="{F6E2F12D-1D24-48FB-AC6F-2D2A6CF00C80}"/>
                    </a:ext>
                  </a:extLst>
                </p:cNvPr>
                <p:cNvSpPr/>
                <p:nvPr/>
              </p:nvSpPr>
              <p:spPr>
                <a:xfrm>
                  <a:off x="2067243" y="4818551"/>
                  <a:ext cx="170987" cy="22931"/>
                </a:xfrm>
                <a:custGeom>
                  <a:avLst/>
                  <a:gdLst>
                    <a:gd name="connsiteX0" fmla="*/ 159533 w 170987"/>
                    <a:gd name="connsiteY0" fmla="*/ 22931 h 22931"/>
                    <a:gd name="connsiteX1" fmla="*/ 11466 w 170987"/>
                    <a:gd name="connsiteY1" fmla="*/ 22931 h 22931"/>
                    <a:gd name="connsiteX2" fmla="*/ 0 w 170987"/>
                    <a:gd name="connsiteY2" fmla="*/ 11466 h 22931"/>
                    <a:gd name="connsiteX3" fmla="*/ 11466 w 170987"/>
                    <a:gd name="connsiteY3" fmla="*/ 0 h 22931"/>
                    <a:gd name="connsiteX4" fmla="*/ 159522 w 170987"/>
                    <a:gd name="connsiteY4" fmla="*/ 0 h 22931"/>
                    <a:gd name="connsiteX5" fmla="*/ 170988 w 170987"/>
                    <a:gd name="connsiteY5" fmla="*/ 11466 h 22931"/>
                    <a:gd name="connsiteX6" fmla="*/ 159533 w 170987"/>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987" h="22931">
                      <a:moveTo>
                        <a:pt x="159533" y="22931"/>
                      </a:moveTo>
                      <a:lnTo>
                        <a:pt x="11466" y="22931"/>
                      </a:lnTo>
                      <a:cubicBezTo>
                        <a:pt x="5137" y="22931"/>
                        <a:pt x="0" y="17807"/>
                        <a:pt x="0" y="11466"/>
                      </a:cubicBezTo>
                      <a:cubicBezTo>
                        <a:pt x="0" y="5125"/>
                        <a:pt x="5137" y="0"/>
                        <a:pt x="11466" y="0"/>
                      </a:cubicBezTo>
                      <a:lnTo>
                        <a:pt x="159522" y="0"/>
                      </a:lnTo>
                      <a:cubicBezTo>
                        <a:pt x="165851" y="0"/>
                        <a:pt x="170988" y="5125"/>
                        <a:pt x="170988" y="11466"/>
                      </a:cubicBezTo>
                      <a:cubicBezTo>
                        <a:pt x="170988" y="17807"/>
                        <a:pt x="165862" y="22931"/>
                        <a:pt x="159533" y="22931"/>
                      </a:cubicBezTo>
                      <a:close/>
                    </a:path>
                  </a:pathLst>
                </a:custGeom>
                <a:solidFill>
                  <a:schemeClr val="accent1"/>
                </a:solidFill>
                <a:ln w="1145" cap="flat">
                  <a:noFill/>
                  <a:prstDash val="solid"/>
                  <a:miter/>
                </a:ln>
              </p:spPr>
              <p:txBody>
                <a:bodyPr rtlCol="0" anchor="ctr"/>
                <a:lstStyle/>
                <a:p>
                  <a:endParaRPr lang="en-GB" dirty="0"/>
                </a:p>
              </p:txBody>
            </p:sp>
            <p:sp>
              <p:nvSpPr>
                <p:cNvPr id="343" name="Freeform: Shape 342">
                  <a:extLst>
                    <a:ext uri="{FF2B5EF4-FFF2-40B4-BE49-F238E27FC236}">
                      <a16:creationId xmlns:a16="http://schemas.microsoft.com/office/drawing/2014/main" id="{DD9F2A04-0088-4C11-977E-B9CD4D7489DB}"/>
                    </a:ext>
                  </a:extLst>
                </p:cNvPr>
                <p:cNvSpPr/>
                <p:nvPr/>
              </p:nvSpPr>
              <p:spPr>
                <a:xfrm>
                  <a:off x="2094015" y="4880248"/>
                  <a:ext cx="114943" cy="22931"/>
                </a:xfrm>
                <a:custGeom>
                  <a:avLst/>
                  <a:gdLst>
                    <a:gd name="connsiteX0" fmla="*/ 103478 w 114943"/>
                    <a:gd name="connsiteY0" fmla="*/ 22931 h 22931"/>
                    <a:gd name="connsiteX1" fmla="*/ 11466 w 114943"/>
                    <a:gd name="connsiteY1" fmla="*/ 22931 h 22931"/>
                    <a:gd name="connsiteX2" fmla="*/ 0 w 114943"/>
                    <a:gd name="connsiteY2" fmla="*/ 11466 h 22931"/>
                    <a:gd name="connsiteX3" fmla="*/ 11466 w 114943"/>
                    <a:gd name="connsiteY3" fmla="*/ 0 h 22931"/>
                    <a:gd name="connsiteX4" fmla="*/ 103478 w 114943"/>
                    <a:gd name="connsiteY4" fmla="*/ 0 h 22931"/>
                    <a:gd name="connsiteX5" fmla="*/ 114943 w 114943"/>
                    <a:gd name="connsiteY5" fmla="*/ 11466 h 22931"/>
                    <a:gd name="connsiteX6" fmla="*/ 103478 w 114943"/>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43" h="22931">
                      <a:moveTo>
                        <a:pt x="103478" y="22931"/>
                      </a:moveTo>
                      <a:lnTo>
                        <a:pt x="11466" y="22931"/>
                      </a:lnTo>
                      <a:cubicBezTo>
                        <a:pt x="5137" y="22931"/>
                        <a:pt x="0" y="17807"/>
                        <a:pt x="0" y="11466"/>
                      </a:cubicBezTo>
                      <a:cubicBezTo>
                        <a:pt x="0" y="5125"/>
                        <a:pt x="5137" y="0"/>
                        <a:pt x="11466" y="0"/>
                      </a:cubicBezTo>
                      <a:lnTo>
                        <a:pt x="103478" y="0"/>
                      </a:lnTo>
                      <a:cubicBezTo>
                        <a:pt x="109807" y="0"/>
                        <a:pt x="114943" y="5125"/>
                        <a:pt x="114943" y="11466"/>
                      </a:cubicBezTo>
                      <a:cubicBezTo>
                        <a:pt x="114943" y="17807"/>
                        <a:pt x="109807" y="22931"/>
                        <a:pt x="103478" y="22931"/>
                      </a:cubicBezTo>
                      <a:close/>
                    </a:path>
                  </a:pathLst>
                </a:custGeom>
                <a:solidFill>
                  <a:schemeClr val="accent1"/>
                </a:solidFill>
                <a:ln w="1145" cap="flat">
                  <a:noFill/>
                  <a:prstDash val="solid"/>
                  <a:miter/>
                </a:ln>
              </p:spPr>
              <p:txBody>
                <a:bodyPr rtlCol="0" anchor="ctr"/>
                <a:lstStyle/>
                <a:p>
                  <a:endParaRPr lang="en-GB" dirty="0"/>
                </a:p>
              </p:txBody>
            </p:sp>
          </p:grpSp>
          <p:sp>
            <p:nvSpPr>
              <p:cNvPr id="337" name="Freeform: Shape 336">
                <a:extLst>
                  <a:ext uri="{FF2B5EF4-FFF2-40B4-BE49-F238E27FC236}">
                    <a16:creationId xmlns:a16="http://schemas.microsoft.com/office/drawing/2014/main" id="{B05F752F-CFBC-4095-AD1A-B7D10DE61951}"/>
                  </a:ext>
                </a:extLst>
              </p:cNvPr>
              <p:cNvSpPr/>
              <p:nvPr/>
            </p:nvSpPr>
            <p:spPr>
              <a:xfrm>
                <a:off x="5084808" y="4111218"/>
                <a:ext cx="332976" cy="298198"/>
              </a:xfrm>
              <a:custGeom>
                <a:avLst/>
                <a:gdLst>
                  <a:gd name="connsiteX0" fmla="*/ 467983 w 590493"/>
                  <a:gd name="connsiteY0" fmla="*/ 528819 h 528819"/>
                  <a:gd name="connsiteX1" fmla="*/ 459877 w 590493"/>
                  <a:gd name="connsiteY1" fmla="*/ 525460 h 528819"/>
                  <a:gd name="connsiteX2" fmla="*/ 339854 w 590493"/>
                  <a:gd name="connsiteY2" fmla="*/ 405437 h 528819"/>
                  <a:gd name="connsiteX3" fmla="*/ 48488 w 590493"/>
                  <a:gd name="connsiteY3" fmla="*/ 405437 h 528819"/>
                  <a:gd name="connsiteX4" fmla="*/ 0 w 590493"/>
                  <a:gd name="connsiteY4" fmla="*/ 356949 h 528819"/>
                  <a:gd name="connsiteX5" fmla="*/ 11466 w 590493"/>
                  <a:gd name="connsiteY5" fmla="*/ 345483 h 528819"/>
                  <a:gd name="connsiteX6" fmla="*/ 22931 w 590493"/>
                  <a:gd name="connsiteY6" fmla="*/ 356949 h 528819"/>
                  <a:gd name="connsiteX7" fmla="*/ 48488 w 590493"/>
                  <a:gd name="connsiteY7" fmla="*/ 382506 h 528819"/>
                  <a:gd name="connsiteX8" fmla="*/ 344612 w 590493"/>
                  <a:gd name="connsiteY8" fmla="*/ 382506 h 528819"/>
                  <a:gd name="connsiteX9" fmla="*/ 352718 w 590493"/>
                  <a:gd name="connsiteY9" fmla="*/ 385866 h 528819"/>
                  <a:gd name="connsiteX10" fmla="*/ 456529 w 590493"/>
                  <a:gd name="connsiteY10" fmla="*/ 489676 h 528819"/>
                  <a:gd name="connsiteX11" fmla="*/ 456529 w 590493"/>
                  <a:gd name="connsiteY11" fmla="*/ 393972 h 528819"/>
                  <a:gd name="connsiteX12" fmla="*/ 467994 w 590493"/>
                  <a:gd name="connsiteY12" fmla="*/ 382506 h 528819"/>
                  <a:gd name="connsiteX13" fmla="*/ 542028 w 590493"/>
                  <a:gd name="connsiteY13" fmla="*/ 382506 h 528819"/>
                  <a:gd name="connsiteX14" fmla="*/ 567574 w 590493"/>
                  <a:gd name="connsiteY14" fmla="*/ 356949 h 528819"/>
                  <a:gd name="connsiteX15" fmla="*/ 567574 w 590493"/>
                  <a:gd name="connsiteY15" fmla="*/ 48488 h 528819"/>
                  <a:gd name="connsiteX16" fmla="*/ 542028 w 590493"/>
                  <a:gd name="connsiteY16" fmla="*/ 22931 h 528819"/>
                  <a:gd name="connsiteX17" fmla="*/ 196545 w 590493"/>
                  <a:gd name="connsiteY17" fmla="*/ 22931 h 528819"/>
                  <a:gd name="connsiteX18" fmla="*/ 185079 w 590493"/>
                  <a:gd name="connsiteY18" fmla="*/ 11466 h 528819"/>
                  <a:gd name="connsiteX19" fmla="*/ 196545 w 590493"/>
                  <a:gd name="connsiteY19" fmla="*/ 0 h 528819"/>
                  <a:gd name="connsiteX20" fmla="*/ 542017 w 590493"/>
                  <a:gd name="connsiteY20" fmla="*/ 0 h 528819"/>
                  <a:gd name="connsiteX21" fmla="*/ 590494 w 590493"/>
                  <a:gd name="connsiteY21" fmla="*/ 48488 h 528819"/>
                  <a:gd name="connsiteX22" fmla="*/ 590494 w 590493"/>
                  <a:gd name="connsiteY22" fmla="*/ 356949 h 528819"/>
                  <a:gd name="connsiteX23" fmla="*/ 542017 w 590493"/>
                  <a:gd name="connsiteY23" fmla="*/ 405437 h 528819"/>
                  <a:gd name="connsiteX24" fmla="*/ 479449 w 590493"/>
                  <a:gd name="connsiteY24" fmla="*/ 405437 h 528819"/>
                  <a:gd name="connsiteX25" fmla="*/ 479449 w 590493"/>
                  <a:gd name="connsiteY25" fmla="*/ 517354 h 528819"/>
                  <a:gd name="connsiteX26" fmla="*/ 472374 w 590493"/>
                  <a:gd name="connsiteY26" fmla="*/ 527948 h 528819"/>
                  <a:gd name="connsiteX27" fmla="*/ 467983 w 590493"/>
                  <a:gd name="connsiteY27" fmla="*/ 528819 h 528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0493" h="528819">
                    <a:moveTo>
                      <a:pt x="467983" y="528819"/>
                    </a:moveTo>
                    <a:cubicBezTo>
                      <a:pt x="465002" y="528819"/>
                      <a:pt x="462067" y="527650"/>
                      <a:pt x="459877" y="525460"/>
                    </a:cubicBezTo>
                    <a:lnTo>
                      <a:pt x="339854" y="405437"/>
                    </a:lnTo>
                    <a:lnTo>
                      <a:pt x="48488" y="405437"/>
                    </a:lnTo>
                    <a:cubicBezTo>
                      <a:pt x="21750" y="405437"/>
                      <a:pt x="0" y="383699"/>
                      <a:pt x="0" y="356949"/>
                    </a:cubicBezTo>
                    <a:cubicBezTo>
                      <a:pt x="0" y="350609"/>
                      <a:pt x="5137" y="345483"/>
                      <a:pt x="11466" y="345483"/>
                    </a:cubicBezTo>
                    <a:cubicBezTo>
                      <a:pt x="17795" y="345483"/>
                      <a:pt x="22931" y="350609"/>
                      <a:pt x="22931" y="356949"/>
                    </a:cubicBezTo>
                    <a:cubicBezTo>
                      <a:pt x="22931" y="371040"/>
                      <a:pt x="34397" y="382506"/>
                      <a:pt x="48488" y="382506"/>
                    </a:cubicBezTo>
                    <a:lnTo>
                      <a:pt x="344612" y="382506"/>
                    </a:lnTo>
                    <a:cubicBezTo>
                      <a:pt x="347651" y="382506"/>
                      <a:pt x="350574" y="383710"/>
                      <a:pt x="352718" y="385866"/>
                    </a:cubicBezTo>
                    <a:lnTo>
                      <a:pt x="456529" y="489676"/>
                    </a:lnTo>
                    <a:lnTo>
                      <a:pt x="456529" y="393972"/>
                    </a:lnTo>
                    <a:cubicBezTo>
                      <a:pt x="456529" y="387632"/>
                      <a:pt x="461665" y="382506"/>
                      <a:pt x="467994" y="382506"/>
                    </a:cubicBezTo>
                    <a:lnTo>
                      <a:pt x="542028" y="382506"/>
                    </a:lnTo>
                    <a:cubicBezTo>
                      <a:pt x="556119" y="382506"/>
                      <a:pt x="567574" y="371040"/>
                      <a:pt x="567574" y="356949"/>
                    </a:cubicBezTo>
                    <a:lnTo>
                      <a:pt x="567574" y="48488"/>
                    </a:lnTo>
                    <a:cubicBezTo>
                      <a:pt x="567574" y="34397"/>
                      <a:pt x="556108" y="22931"/>
                      <a:pt x="542028" y="22931"/>
                    </a:cubicBezTo>
                    <a:lnTo>
                      <a:pt x="196545" y="22931"/>
                    </a:lnTo>
                    <a:cubicBezTo>
                      <a:pt x="190216" y="22931"/>
                      <a:pt x="185079" y="17806"/>
                      <a:pt x="185079" y="11466"/>
                    </a:cubicBezTo>
                    <a:cubicBezTo>
                      <a:pt x="185079" y="5125"/>
                      <a:pt x="190216" y="0"/>
                      <a:pt x="196545" y="0"/>
                    </a:cubicBezTo>
                    <a:lnTo>
                      <a:pt x="542017" y="0"/>
                    </a:lnTo>
                    <a:cubicBezTo>
                      <a:pt x="568755" y="0"/>
                      <a:pt x="590494" y="21739"/>
                      <a:pt x="590494" y="48488"/>
                    </a:cubicBezTo>
                    <a:lnTo>
                      <a:pt x="590494" y="356949"/>
                    </a:lnTo>
                    <a:cubicBezTo>
                      <a:pt x="590494" y="383687"/>
                      <a:pt x="568755" y="405437"/>
                      <a:pt x="542017" y="405437"/>
                    </a:cubicBezTo>
                    <a:lnTo>
                      <a:pt x="479449" y="405437"/>
                    </a:lnTo>
                    <a:lnTo>
                      <a:pt x="479449" y="517354"/>
                    </a:lnTo>
                    <a:cubicBezTo>
                      <a:pt x="479449" y="521986"/>
                      <a:pt x="476651" y="526183"/>
                      <a:pt x="472374" y="527948"/>
                    </a:cubicBezTo>
                    <a:cubicBezTo>
                      <a:pt x="470952" y="528533"/>
                      <a:pt x="469462" y="528819"/>
                      <a:pt x="467983" y="528819"/>
                    </a:cubicBezTo>
                    <a:close/>
                  </a:path>
                </a:pathLst>
              </a:custGeom>
              <a:solidFill>
                <a:schemeClr val="tx2"/>
              </a:solidFill>
              <a:ln w="1145" cap="flat">
                <a:noFill/>
                <a:prstDash val="solid"/>
                <a:miter/>
              </a:ln>
            </p:spPr>
            <p:txBody>
              <a:bodyPr rtlCol="0" anchor="ctr"/>
              <a:lstStyle/>
              <a:p>
                <a:endParaRPr lang="en-GB" dirty="0"/>
              </a:p>
            </p:txBody>
          </p:sp>
          <p:sp>
            <p:nvSpPr>
              <p:cNvPr id="338" name="Freeform: Shape 337">
                <a:extLst>
                  <a:ext uri="{FF2B5EF4-FFF2-40B4-BE49-F238E27FC236}">
                    <a16:creationId xmlns:a16="http://schemas.microsoft.com/office/drawing/2014/main" id="{7EEB607A-06A6-41D7-BEEA-1B274792F4BB}"/>
                  </a:ext>
                </a:extLst>
              </p:cNvPr>
              <p:cNvSpPr/>
              <p:nvPr/>
            </p:nvSpPr>
            <p:spPr>
              <a:xfrm>
                <a:off x="5147426" y="4278207"/>
                <a:ext cx="216178" cy="12931"/>
              </a:xfrm>
              <a:custGeom>
                <a:avLst/>
                <a:gdLst>
                  <a:gd name="connsiteX0" fmla="*/ 371901 w 383366"/>
                  <a:gd name="connsiteY0" fmla="*/ 22931 h 22931"/>
                  <a:gd name="connsiteX1" fmla="*/ 11466 w 383366"/>
                  <a:gd name="connsiteY1" fmla="*/ 22931 h 22931"/>
                  <a:gd name="connsiteX2" fmla="*/ 0 w 383366"/>
                  <a:gd name="connsiteY2" fmla="*/ 11466 h 22931"/>
                  <a:gd name="connsiteX3" fmla="*/ 11466 w 383366"/>
                  <a:gd name="connsiteY3" fmla="*/ 0 h 22931"/>
                  <a:gd name="connsiteX4" fmla="*/ 371901 w 383366"/>
                  <a:gd name="connsiteY4" fmla="*/ 0 h 22931"/>
                  <a:gd name="connsiteX5" fmla="*/ 383366 w 383366"/>
                  <a:gd name="connsiteY5" fmla="*/ 11466 h 22931"/>
                  <a:gd name="connsiteX6" fmla="*/ 371901 w 383366"/>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366" h="22931">
                    <a:moveTo>
                      <a:pt x="371901" y="22931"/>
                    </a:moveTo>
                    <a:lnTo>
                      <a:pt x="11466" y="22931"/>
                    </a:lnTo>
                    <a:cubicBezTo>
                      <a:pt x="5137" y="22931"/>
                      <a:pt x="0" y="17807"/>
                      <a:pt x="0" y="11466"/>
                    </a:cubicBezTo>
                    <a:cubicBezTo>
                      <a:pt x="0" y="5125"/>
                      <a:pt x="5137" y="0"/>
                      <a:pt x="11466" y="0"/>
                    </a:cubicBezTo>
                    <a:lnTo>
                      <a:pt x="371901" y="0"/>
                    </a:lnTo>
                    <a:cubicBezTo>
                      <a:pt x="378230" y="0"/>
                      <a:pt x="383366" y="5125"/>
                      <a:pt x="383366" y="11466"/>
                    </a:cubicBezTo>
                    <a:cubicBezTo>
                      <a:pt x="383366" y="17807"/>
                      <a:pt x="378230" y="22931"/>
                      <a:pt x="371901" y="22931"/>
                    </a:cubicBezTo>
                    <a:close/>
                  </a:path>
                </a:pathLst>
              </a:custGeom>
              <a:solidFill>
                <a:schemeClr val="tx2"/>
              </a:solidFill>
              <a:ln w="1145" cap="flat">
                <a:noFill/>
                <a:prstDash val="solid"/>
                <a:miter/>
              </a:ln>
            </p:spPr>
            <p:txBody>
              <a:bodyPr rtlCol="0" anchor="ctr"/>
              <a:lstStyle/>
              <a:p>
                <a:endParaRPr lang="en-GB" dirty="0"/>
              </a:p>
            </p:txBody>
          </p:sp>
          <p:sp>
            <p:nvSpPr>
              <p:cNvPr id="339" name="Freeform: Shape 338">
                <a:extLst>
                  <a:ext uri="{FF2B5EF4-FFF2-40B4-BE49-F238E27FC236}">
                    <a16:creationId xmlns:a16="http://schemas.microsoft.com/office/drawing/2014/main" id="{5CB7915B-14FC-4A4A-BA9C-683618E2B52D}"/>
                  </a:ext>
                </a:extLst>
              </p:cNvPr>
              <p:cNvSpPr/>
              <p:nvPr/>
            </p:nvSpPr>
            <p:spPr>
              <a:xfrm>
                <a:off x="5175253" y="4219062"/>
                <a:ext cx="188344" cy="12931"/>
              </a:xfrm>
              <a:custGeom>
                <a:avLst/>
                <a:gdLst>
                  <a:gd name="connsiteX0" fmla="*/ 322552 w 334006"/>
                  <a:gd name="connsiteY0" fmla="*/ 22931 h 22931"/>
                  <a:gd name="connsiteX1" fmla="*/ 11466 w 334006"/>
                  <a:gd name="connsiteY1" fmla="*/ 22931 h 22931"/>
                  <a:gd name="connsiteX2" fmla="*/ 0 w 334006"/>
                  <a:gd name="connsiteY2" fmla="*/ 11466 h 22931"/>
                  <a:gd name="connsiteX3" fmla="*/ 11466 w 334006"/>
                  <a:gd name="connsiteY3" fmla="*/ 0 h 22931"/>
                  <a:gd name="connsiteX4" fmla="*/ 322541 w 334006"/>
                  <a:gd name="connsiteY4" fmla="*/ 0 h 22931"/>
                  <a:gd name="connsiteX5" fmla="*/ 334007 w 334006"/>
                  <a:gd name="connsiteY5" fmla="*/ 11466 h 22931"/>
                  <a:gd name="connsiteX6" fmla="*/ 322552 w 334006"/>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006" h="22931">
                    <a:moveTo>
                      <a:pt x="322552" y="22931"/>
                    </a:moveTo>
                    <a:lnTo>
                      <a:pt x="11466" y="22931"/>
                    </a:lnTo>
                    <a:cubicBezTo>
                      <a:pt x="5137" y="22931"/>
                      <a:pt x="0" y="17807"/>
                      <a:pt x="0" y="11466"/>
                    </a:cubicBezTo>
                    <a:cubicBezTo>
                      <a:pt x="0" y="5125"/>
                      <a:pt x="5137" y="0"/>
                      <a:pt x="11466" y="0"/>
                    </a:cubicBezTo>
                    <a:lnTo>
                      <a:pt x="322541" y="0"/>
                    </a:lnTo>
                    <a:cubicBezTo>
                      <a:pt x="328870" y="0"/>
                      <a:pt x="334007" y="5125"/>
                      <a:pt x="334007" y="11466"/>
                    </a:cubicBezTo>
                    <a:cubicBezTo>
                      <a:pt x="334007" y="17807"/>
                      <a:pt x="328881" y="22931"/>
                      <a:pt x="322552" y="22931"/>
                    </a:cubicBezTo>
                    <a:close/>
                  </a:path>
                </a:pathLst>
              </a:custGeom>
              <a:solidFill>
                <a:schemeClr val="tx2"/>
              </a:solidFill>
              <a:ln w="1145" cap="flat">
                <a:noFill/>
                <a:prstDash val="solid"/>
                <a:miter/>
              </a:ln>
            </p:spPr>
            <p:txBody>
              <a:bodyPr rtlCol="0" anchor="ctr"/>
              <a:lstStyle/>
              <a:p>
                <a:endParaRPr lang="en-GB" dirty="0"/>
              </a:p>
            </p:txBody>
          </p:sp>
          <p:sp>
            <p:nvSpPr>
              <p:cNvPr id="340" name="Freeform: Shape 339">
                <a:extLst>
                  <a:ext uri="{FF2B5EF4-FFF2-40B4-BE49-F238E27FC236}">
                    <a16:creationId xmlns:a16="http://schemas.microsoft.com/office/drawing/2014/main" id="{F79414FF-057C-4FBE-AB94-1767CB08878C}"/>
                  </a:ext>
                </a:extLst>
              </p:cNvPr>
              <p:cNvSpPr/>
              <p:nvPr/>
            </p:nvSpPr>
            <p:spPr>
              <a:xfrm>
                <a:off x="5210044" y="4159929"/>
                <a:ext cx="96419" cy="12931"/>
              </a:xfrm>
              <a:custGeom>
                <a:avLst/>
                <a:gdLst>
                  <a:gd name="connsiteX0" fmla="*/ 159522 w 170987"/>
                  <a:gd name="connsiteY0" fmla="*/ 22931 h 22931"/>
                  <a:gd name="connsiteX1" fmla="*/ 11466 w 170987"/>
                  <a:gd name="connsiteY1" fmla="*/ 22931 h 22931"/>
                  <a:gd name="connsiteX2" fmla="*/ 0 w 170987"/>
                  <a:gd name="connsiteY2" fmla="*/ 11466 h 22931"/>
                  <a:gd name="connsiteX3" fmla="*/ 11466 w 170987"/>
                  <a:gd name="connsiteY3" fmla="*/ 0 h 22931"/>
                  <a:gd name="connsiteX4" fmla="*/ 159522 w 170987"/>
                  <a:gd name="connsiteY4" fmla="*/ 0 h 22931"/>
                  <a:gd name="connsiteX5" fmla="*/ 170988 w 170987"/>
                  <a:gd name="connsiteY5" fmla="*/ 11466 h 22931"/>
                  <a:gd name="connsiteX6" fmla="*/ 159522 w 170987"/>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0987" h="22931">
                    <a:moveTo>
                      <a:pt x="159522" y="22931"/>
                    </a:moveTo>
                    <a:lnTo>
                      <a:pt x="11466" y="22931"/>
                    </a:lnTo>
                    <a:cubicBezTo>
                      <a:pt x="5137" y="22931"/>
                      <a:pt x="0" y="17806"/>
                      <a:pt x="0" y="11466"/>
                    </a:cubicBezTo>
                    <a:cubicBezTo>
                      <a:pt x="0" y="5125"/>
                      <a:pt x="5137" y="0"/>
                      <a:pt x="11466" y="0"/>
                    </a:cubicBezTo>
                    <a:lnTo>
                      <a:pt x="159522" y="0"/>
                    </a:lnTo>
                    <a:cubicBezTo>
                      <a:pt x="165851" y="0"/>
                      <a:pt x="170988" y="5125"/>
                      <a:pt x="170988" y="11466"/>
                    </a:cubicBezTo>
                    <a:cubicBezTo>
                      <a:pt x="170988" y="17806"/>
                      <a:pt x="165862" y="22931"/>
                      <a:pt x="159522" y="22931"/>
                    </a:cubicBezTo>
                    <a:close/>
                  </a:path>
                </a:pathLst>
              </a:custGeom>
              <a:solidFill>
                <a:schemeClr val="tx2"/>
              </a:solidFill>
              <a:ln w="1145" cap="flat">
                <a:noFill/>
                <a:prstDash val="solid"/>
                <a:miter/>
              </a:ln>
            </p:spPr>
            <p:txBody>
              <a:bodyPr rtlCol="0" anchor="ctr"/>
              <a:lstStyle/>
              <a:p>
                <a:endParaRPr lang="en-GB" dirty="0"/>
              </a:p>
            </p:txBody>
          </p:sp>
        </p:grpSp>
        <p:grpSp>
          <p:nvGrpSpPr>
            <p:cNvPr id="333" name="Group 332">
              <a:extLst>
                <a:ext uri="{FF2B5EF4-FFF2-40B4-BE49-F238E27FC236}">
                  <a16:creationId xmlns:a16="http://schemas.microsoft.com/office/drawing/2014/main" id="{C5CA6BED-D358-42B4-91AC-0BD37B424C72}"/>
                </a:ext>
              </a:extLst>
            </p:cNvPr>
            <p:cNvGrpSpPr/>
            <p:nvPr/>
          </p:nvGrpSpPr>
          <p:grpSpPr>
            <a:xfrm>
              <a:off x="5077851" y="4076441"/>
              <a:ext cx="12931" cy="131208"/>
              <a:chOff x="5077851" y="4076441"/>
              <a:chExt cx="12931" cy="131208"/>
            </a:xfrm>
          </p:grpSpPr>
          <p:sp>
            <p:nvSpPr>
              <p:cNvPr id="334" name="Freeform: Shape 333">
                <a:extLst>
                  <a:ext uri="{FF2B5EF4-FFF2-40B4-BE49-F238E27FC236}">
                    <a16:creationId xmlns:a16="http://schemas.microsoft.com/office/drawing/2014/main" id="{05F744BA-AD68-481B-8625-350F07420E73}"/>
                  </a:ext>
                </a:extLst>
              </p:cNvPr>
              <p:cNvSpPr/>
              <p:nvPr/>
            </p:nvSpPr>
            <p:spPr>
              <a:xfrm>
                <a:off x="5077851" y="4187762"/>
                <a:ext cx="12931" cy="19887"/>
              </a:xfrm>
              <a:custGeom>
                <a:avLst/>
                <a:gdLst>
                  <a:gd name="connsiteX0" fmla="*/ 11466 w 22931"/>
                  <a:gd name="connsiteY0" fmla="*/ 35269 h 35268"/>
                  <a:gd name="connsiteX1" fmla="*/ 0 w 22931"/>
                  <a:gd name="connsiteY1" fmla="*/ 23803 h 35268"/>
                  <a:gd name="connsiteX2" fmla="*/ 0 w 22931"/>
                  <a:gd name="connsiteY2" fmla="*/ 11466 h 35268"/>
                  <a:gd name="connsiteX3" fmla="*/ 11466 w 22931"/>
                  <a:gd name="connsiteY3" fmla="*/ 0 h 35268"/>
                  <a:gd name="connsiteX4" fmla="*/ 22931 w 22931"/>
                  <a:gd name="connsiteY4" fmla="*/ 11466 h 35268"/>
                  <a:gd name="connsiteX5" fmla="*/ 22931 w 22931"/>
                  <a:gd name="connsiteY5" fmla="*/ 23803 h 35268"/>
                  <a:gd name="connsiteX6" fmla="*/ 11466 w 22931"/>
                  <a:gd name="connsiteY6" fmla="*/ 35269 h 35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35268">
                    <a:moveTo>
                      <a:pt x="11466" y="35269"/>
                    </a:moveTo>
                    <a:cubicBezTo>
                      <a:pt x="5137" y="35269"/>
                      <a:pt x="0" y="30143"/>
                      <a:pt x="0" y="23803"/>
                    </a:cubicBezTo>
                    <a:lnTo>
                      <a:pt x="0" y="11466"/>
                    </a:lnTo>
                    <a:cubicBezTo>
                      <a:pt x="0" y="5125"/>
                      <a:pt x="5137" y="0"/>
                      <a:pt x="11466" y="0"/>
                    </a:cubicBezTo>
                    <a:cubicBezTo>
                      <a:pt x="17795" y="0"/>
                      <a:pt x="22931" y="5125"/>
                      <a:pt x="22931" y="11466"/>
                    </a:cubicBezTo>
                    <a:lnTo>
                      <a:pt x="22931" y="23803"/>
                    </a:lnTo>
                    <a:cubicBezTo>
                      <a:pt x="22931" y="30132"/>
                      <a:pt x="17795" y="35269"/>
                      <a:pt x="11466" y="35269"/>
                    </a:cubicBezTo>
                    <a:close/>
                  </a:path>
                </a:pathLst>
              </a:custGeom>
              <a:solidFill>
                <a:schemeClr val="accent1"/>
              </a:solidFill>
              <a:ln w="1145" cap="flat">
                <a:noFill/>
                <a:prstDash val="solid"/>
                <a:miter/>
              </a:ln>
            </p:spPr>
            <p:txBody>
              <a:bodyPr rtlCol="0" anchor="ctr"/>
              <a:lstStyle/>
              <a:p>
                <a:endParaRPr lang="en-GB" dirty="0"/>
              </a:p>
            </p:txBody>
          </p:sp>
          <p:sp>
            <p:nvSpPr>
              <p:cNvPr id="335" name="Freeform: Shape 334">
                <a:extLst>
                  <a:ext uri="{FF2B5EF4-FFF2-40B4-BE49-F238E27FC236}">
                    <a16:creationId xmlns:a16="http://schemas.microsoft.com/office/drawing/2014/main" id="{7A6B7304-5608-4A77-BF27-C570428B7C77}"/>
                  </a:ext>
                </a:extLst>
              </p:cNvPr>
              <p:cNvSpPr/>
              <p:nvPr/>
            </p:nvSpPr>
            <p:spPr>
              <a:xfrm>
                <a:off x="5077851" y="4076441"/>
                <a:ext cx="12931" cy="96419"/>
              </a:xfrm>
              <a:custGeom>
                <a:avLst/>
                <a:gdLst>
                  <a:gd name="connsiteX0" fmla="*/ 11466 w 22931"/>
                  <a:gd name="connsiteY0" fmla="*/ 170987 h 170987"/>
                  <a:gd name="connsiteX1" fmla="*/ 0 w 22931"/>
                  <a:gd name="connsiteY1" fmla="*/ 159522 h 170987"/>
                  <a:gd name="connsiteX2" fmla="*/ 0 w 22931"/>
                  <a:gd name="connsiteY2" fmla="*/ 11466 h 170987"/>
                  <a:gd name="connsiteX3" fmla="*/ 11466 w 22931"/>
                  <a:gd name="connsiteY3" fmla="*/ 0 h 170987"/>
                  <a:gd name="connsiteX4" fmla="*/ 22931 w 22931"/>
                  <a:gd name="connsiteY4" fmla="*/ 11466 h 170987"/>
                  <a:gd name="connsiteX5" fmla="*/ 22931 w 22931"/>
                  <a:gd name="connsiteY5" fmla="*/ 159522 h 170987"/>
                  <a:gd name="connsiteX6" fmla="*/ 11466 w 22931"/>
                  <a:gd name="connsiteY6" fmla="*/ 170987 h 17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170987">
                    <a:moveTo>
                      <a:pt x="11466" y="170987"/>
                    </a:moveTo>
                    <a:cubicBezTo>
                      <a:pt x="5137" y="170987"/>
                      <a:pt x="0" y="165862"/>
                      <a:pt x="0" y="159522"/>
                    </a:cubicBezTo>
                    <a:lnTo>
                      <a:pt x="0" y="11466"/>
                    </a:lnTo>
                    <a:cubicBezTo>
                      <a:pt x="0" y="5125"/>
                      <a:pt x="5137" y="0"/>
                      <a:pt x="11466" y="0"/>
                    </a:cubicBezTo>
                    <a:cubicBezTo>
                      <a:pt x="17795" y="0"/>
                      <a:pt x="22931" y="5125"/>
                      <a:pt x="22931" y="11466"/>
                    </a:cubicBezTo>
                    <a:lnTo>
                      <a:pt x="22931" y="159522"/>
                    </a:lnTo>
                    <a:cubicBezTo>
                      <a:pt x="22931" y="165851"/>
                      <a:pt x="17795" y="170987"/>
                      <a:pt x="11466" y="170987"/>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12" name="Group 11">
            <a:extLst>
              <a:ext uri="{FF2B5EF4-FFF2-40B4-BE49-F238E27FC236}">
                <a16:creationId xmlns:a16="http://schemas.microsoft.com/office/drawing/2014/main" id="{D7AF2101-8956-7276-8709-DA549D2EE501}"/>
              </a:ext>
            </a:extLst>
          </p:cNvPr>
          <p:cNvGrpSpPr/>
          <p:nvPr/>
        </p:nvGrpSpPr>
        <p:grpSpPr>
          <a:xfrm>
            <a:off x="1626125" y="2446174"/>
            <a:ext cx="426718" cy="426720"/>
            <a:chOff x="1626125" y="2446174"/>
            <a:chExt cx="426718" cy="426720"/>
          </a:xfrm>
        </p:grpSpPr>
        <p:grpSp>
          <p:nvGrpSpPr>
            <p:cNvPr id="345" name="Graphic 48">
              <a:extLst>
                <a:ext uri="{FF2B5EF4-FFF2-40B4-BE49-F238E27FC236}">
                  <a16:creationId xmlns:a16="http://schemas.microsoft.com/office/drawing/2014/main" id="{3739002D-9522-426A-B3F8-61BD401D829F}"/>
                </a:ext>
              </a:extLst>
            </p:cNvPr>
            <p:cNvGrpSpPr/>
            <p:nvPr/>
          </p:nvGrpSpPr>
          <p:grpSpPr>
            <a:xfrm>
              <a:off x="1626125" y="2446174"/>
              <a:ext cx="426718" cy="426720"/>
              <a:chOff x="3446930" y="4386969"/>
              <a:chExt cx="756734" cy="756737"/>
            </a:xfrm>
            <a:solidFill>
              <a:schemeClr val="tx2"/>
            </a:solidFill>
          </p:grpSpPr>
          <p:sp>
            <p:nvSpPr>
              <p:cNvPr id="386" name="Freeform: Shape 385">
                <a:extLst>
                  <a:ext uri="{FF2B5EF4-FFF2-40B4-BE49-F238E27FC236}">
                    <a16:creationId xmlns:a16="http://schemas.microsoft.com/office/drawing/2014/main" id="{A4F82538-F640-4A58-AD5F-68A32E8E08E9}"/>
                  </a:ext>
                </a:extLst>
              </p:cNvPr>
              <p:cNvSpPr/>
              <p:nvPr/>
            </p:nvSpPr>
            <p:spPr>
              <a:xfrm>
                <a:off x="3446930" y="4513094"/>
                <a:ext cx="756734" cy="515955"/>
              </a:xfrm>
              <a:custGeom>
                <a:avLst/>
                <a:gdLst>
                  <a:gd name="connsiteX0" fmla="*/ 687940 w 756734"/>
                  <a:gd name="connsiteY0" fmla="*/ 515955 h 515955"/>
                  <a:gd name="connsiteX1" fmla="*/ 68794 w 756734"/>
                  <a:gd name="connsiteY1" fmla="*/ 515955 h 515955"/>
                  <a:gd name="connsiteX2" fmla="*/ 0 w 756734"/>
                  <a:gd name="connsiteY2" fmla="*/ 447161 h 515955"/>
                  <a:gd name="connsiteX3" fmla="*/ 0 w 756734"/>
                  <a:gd name="connsiteY3" fmla="*/ 68794 h 515955"/>
                  <a:gd name="connsiteX4" fmla="*/ 68794 w 756734"/>
                  <a:gd name="connsiteY4" fmla="*/ 0 h 515955"/>
                  <a:gd name="connsiteX5" fmla="*/ 687940 w 756734"/>
                  <a:gd name="connsiteY5" fmla="*/ 0 h 515955"/>
                  <a:gd name="connsiteX6" fmla="*/ 756734 w 756734"/>
                  <a:gd name="connsiteY6" fmla="*/ 68794 h 515955"/>
                  <a:gd name="connsiteX7" fmla="*/ 756734 w 756734"/>
                  <a:gd name="connsiteY7" fmla="*/ 447161 h 515955"/>
                  <a:gd name="connsiteX8" fmla="*/ 687940 w 756734"/>
                  <a:gd name="connsiteY8" fmla="*/ 515955 h 515955"/>
                  <a:gd name="connsiteX9" fmla="*/ 68794 w 756734"/>
                  <a:gd name="connsiteY9" fmla="*/ 22931 h 515955"/>
                  <a:gd name="connsiteX10" fmla="*/ 22931 w 756734"/>
                  <a:gd name="connsiteY10" fmla="*/ 68794 h 515955"/>
                  <a:gd name="connsiteX11" fmla="*/ 22931 w 756734"/>
                  <a:gd name="connsiteY11" fmla="*/ 447161 h 515955"/>
                  <a:gd name="connsiteX12" fmla="*/ 68794 w 756734"/>
                  <a:gd name="connsiteY12" fmla="*/ 493024 h 515955"/>
                  <a:gd name="connsiteX13" fmla="*/ 687940 w 756734"/>
                  <a:gd name="connsiteY13" fmla="*/ 493024 h 515955"/>
                  <a:gd name="connsiteX14" fmla="*/ 733803 w 756734"/>
                  <a:gd name="connsiteY14" fmla="*/ 447161 h 515955"/>
                  <a:gd name="connsiteX15" fmla="*/ 733803 w 756734"/>
                  <a:gd name="connsiteY15" fmla="*/ 68794 h 515955"/>
                  <a:gd name="connsiteX16" fmla="*/ 687940 w 756734"/>
                  <a:gd name="connsiteY16" fmla="*/ 22931 h 515955"/>
                  <a:gd name="connsiteX17" fmla="*/ 68794 w 756734"/>
                  <a:gd name="connsiteY17" fmla="*/ 22931 h 515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56734" h="515955">
                    <a:moveTo>
                      <a:pt x="687940" y="515955"/>
                    </a:moveTo>
                    <a:lnTo>
                      <a:pt x="68794" y="515955"/>
                    </a:lnTo>
                    <a:cubicBezTo>
                      <a:pt x="30854" y="515955"/>
                      <a:pt x="0" y="485101"/>
                      <a:pt x="0" y="447161"/>
                    </a:cubicBezTo>
                    <a:lnTo>
                      <a:pt x="0" y="68794"/>
                    </a:lnTo>
                    <a:cubicBezTo>
                      <a:pt x="0" y="30854"/>
                      <a:pt x="30854" y="0"/>
                      <a:pt x="68794" y="0"/>
                    </a:cubicBezTo>
                    <a:lnTo>
                      <a:pt x="687940" y="0"/>
                    </a:lnTo>
                    <a:cubicBezTo>
                      <a:pt x="725880" y="0"/>
                      <a:pt x="756734" y="30854"/>
                      <a:pt x="756734" y="68794"/>
                    </a:cubicBezTo>
                    <a:lnTo>
                      <a:pt x="756734" y="447161"/>
                    </a:lnTo>
                    <a:cubicBezTo>
                      <a:pt x="756734" y="485101"/>
                      <a:pt x="725880" y="515955"/>
                      <a:pt x="687940" y="515955"/>
                    </a:cubicBezTo>
                    <a:close/>
                    <a:moveTo>
                      <a:pt x="68794" y="22931"/>
                    </a:moveTo>
                    <a:cubicBezTo>
                      <a:pt x="43501" y="22931"/>
                      <a:pt x="22931" y="43501"/>
                      <a:pt x="22931" y="68794"/>
                    </a:cubicBezTo>
                    <a:lnTo>
                      <a:pt x="22931" y="447161"/>
                    </a:lnTo>
                    <a:cubicBezTo>
                      <a:pt x="22931" y="472455"/>
                      <a:pt x="43501" y="493024"/>
                      <a:pt x="68794" y="493024"/>
                    </a:cubicBezTo>
                    <a:lnTo>
                      <a:pt x="687940" y="493024"/>
                    </a:lnTo>
                    <a:cubicBezTo>
                      <a:pt x="713234" y="493024"/>
                      <a:pt x="733803" y="472455"/>
                      <a:pt x="733803" y="447161"/>
                    </a:cubicBezTo>
                    <a:lnTo>
                      <a:pt x="733803" y="68794"/>
                    </a:lnTo>
                    <a:cubicBezTo>
                      <a:pt x="733803" y="43501"/>
                      <a:pt x="713234" y="22931"/>
                      <a:pt x="687940" y="22931"/>
                    </a:cubicBezTo>
                    <a:lnTo>
                      <a:pt x="68794" y="22931"/>
                    </a:lnTo>
                    <a:close/>
                  </a:path>
                </a:pathLst>
              </a:custGeom>
              <a:grpFill/>
              <a:ln w="1145" cap="flat">
                <a:noFill/>
                <a:prstDash val="solid"/>
                <a:miter/>
              </a:ln>
            </p:spPr>
            <p:txBody>
              <a:bodyPr rtlCol="0" anchor="ctr"/>
              <a:lstStyle/>
              <a:p>
                <a:endParaRPr lang="en-GB" dirty="0"/>
              </a:p>
            </p:txBody>
          </p:sp>
          <p:sp>
            <p:nvSpPr>
              <p:cNvPr id="387" name="Freeform: Shape 386">
                <a:extLst>
                  <a:ext uri="{FF2B5EF4-FFF2-40B4-BE49-F238E27FC236}">
                    <a16:creationId xmlns:a16="http://schemas.microsoft.com/office/drawing/2014/main" id="{7B4DFA99-D882-412A-B364-35C3F9277BA2}"/>
                  </a:ext>
                </a:extLst>
              </p:cNvPr>
              <p:cNvSpPr/>
              <p:nvPr/>
            </p:nvSpPr>
            <p:spPr>
              <a:xfrm>
                <a:off x="3724996" y="4444300"/>
                <a:ext cx="200590" cy="91725"/>
              </a:xfrm>
              <a:custGeom>
                <a:avLst/>
                <a:gdLst>
                  <a:gd name="connsiteX0" fmla="*/ 11477 w 200590"/>
                  <a:gd name="connsiteY0" fmla="*/ 91725 h 91725"/>
                  <a:gd name="connsiteX1" fmla="*/ 8610 w 200590"/>
                  <a:gd name="connsiteY1" fmla="*/ 91370 h 91725"/>
                  <a:gd name="connsiteX2" fmla="*/ 366 w 200590"/>
                  <a:gd name="connsiteY2" fmla="*/ 77405 h 91725"/>
                  <a:gd name="connsiteX3" fmla="*/ 100301 w 200590"/>
                  <a:gd name="connsiteY3" fmla="*/ 0 h 91725"/>
                  <a:gd name="connsiteX4" fmla="*/ 200224 w 200590"/>
                  <a:gd name="connsiteY4" fmla="*/ 77325 h 91725"/>
                  <a:gd name="connsiteX5" fmla="*/ 191992 w 200590"/>
                  <a:gd name="connsiteY5" fmla="*/ 91301 h 91725"/>
                  <a:gd name="connsiteX6" fmla="*/ 178027 w 200590"/>
                  <a:gd name="connsiteY6" fmla="*/ 83058 h 91725"/>
                  <a:gd name="connsiteX7" fmla="*/ 100313 w 200590"/>
                  <a:gd name="connsiteY7" fmla="*/ 22931 h 91725"/>
                  <a:gd name="connsiteX8" fmla="*/ 22575 w 200590"/>
                  <a:gd name="connsiteY8" fmla="*/ 83115 h 91725"/>
                  <a:gd name="connsiteX9" fmla="*/ 11477 w 200590"/>
                  <a:gd name="connsiteY9" fmla="*/ 91725 h 91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0590" h="91725">
                    <a:moveTo>
                      <a:pt x="11477" y="91725"/>
                    </a:moveTo>
                    <a:cubicBezTo>
                      <a:pt x="10525" y="91725"/>
                      <a:pt x="9573" y="91611"/>
                      <a:pt x="8610" y="91370"/>
                    </a:cubicBezTo>
                    <a:cubicBezTo>
                      <a:pt x="2476" y="89788"/>
                      <a:pt x="-1216" y="83528"/>
                      <a:pt x="366" y="77405"/>
                    </a:cubicBezTo>
                    <a:cubicBezTo>
                      <a:pt x="12096" y="31829"/>
                      <a:pt x="53189" y="0"/>
                      <a:pt x="100301" y="0"/>
                    </a:cubicBezTo>
                    <a:cubicBezTo>
                      <a:pt x="147379" y="0"/>
                      <a:pt x="188472" y="31794"/>
                      <a:pt x="200224" y="77325"/>
                    </a:cubicBezTo>
                    <a:cubicBezTo>
                      <a:pt x="201807" y="83459"/>
                      <a:pt x="198115" y="89707"/>
                      <a:pt x="191992" y="91301"/>
                    </a:cubicBezTo>
                    <a:cubicBezTo>
                      <a:pt x="185823" y="92895"/>
                      <a:pt x="179598" y="89192"/>
                      <a:pt x="178027" y="83058"/>
                    </a:cubicBezTo>
                    <a:cubicBezTo>
                      <a:pt x="168889" y="47651"/>
                      <a:pt x="136934" y="22931"/>
                      <a:pt x="100313" y="22931"/>
                    </a:cubicBezTo>
                    <a:cubicBezTo>
                      <a:pt x="63668" y="22931"/>
                      <a:pt x="31702" y="47674"/>
                      <a:pt x="22575" y="83115"/>
                    </a:cubicBezTo>
                    <a:cubicBezTo>
                      <a:pt x="21245" y="88286"/>
                      <a:pt x="16590" y="91725"/>
                      <a:pt x="11477" y="91725"/>
                    </a:cubicBezTo>
                    <a:close/>
                  </a:path>
                </a:pathLst>
              </a:custGeom>
              <a:grpFill/>
              <a:ln w="1145" cap="flat">
                <a:noFill/>
                <a:prstDash val="solid"/>
                <a:miter/>
              </a:ln>
            </p:spPr>
            <p:txBody>
              <a:bodyPr rtlCol="0" anchor="ctr"/>
              <a:lstStyle/>
              <a:p>
                <a:endParaRPr lang="en-GB" dirty="0"/>
              </a:p>
            </p:txBody>
          </p:sp>
          <p:sp>
            <p:nvSpPr>
              <p:cNvPr id="388" name="Freeform: Shape 387">
                <a:extLst>
                  <a:ext uri="{FF2B5EF4-FFF2-40B4-BE49-F238E27FC236}">
                    <a16:creationId xmlns:a16="http://schemas.microsoft.com/office/drawing/2014/main" id="{7182E6E5-388C-4390-8BEA-D66EAC02BCD0}"/>
                  </a:ext>
                </a:extLst>
              </p:cNvPr>
              <p:cNvSpPr/>
              <p:nvPr/>
            </p:nvSpPr>
            <p:spPr>
              <a:xfrm>
                <a:off x="3699160" y="4386969"/>
                <a:ext cx="91742" cy="91728"/>
              </a:xfrm>
              <a:custGeom>
                <a:avLst/>
                <a:gdLst>
                  <a:gd name="connsiteX0" fmla="*/ 80274 w 91742"/>
                  <a:gd name="connsiteY0" fmla="*/ 91728 h 91728"/>
                  <a:gd name="connsiteX1" fmla="*/ 72168 w 91742"/>
                  <a:gd name="connsiteY1" fmla="*/ 88369 h 91728"/>
                  <a:gd name="connsiteX2" fmla="*/ 3362 w 91742"/>
                  <a:gd name="connsiteY2" fmla="*/ 19575 h 91728"/>
                  <a:gd name="connsiteX3" fmla="*/ 3362 w 91742"/>
                  <a:gd name="connsiteY3" fmla="*/ 3362 h 91728"/>
                  <a:gd name="connsiteX4" fmla="*/ 19575 w 91742"/>
                  <a:gd name="connsiteY4" fmla="*/ 3362 h 91728"/>
                  <a:gd name="connsiteX5" fmla="*/ 88380 w 91742"/>
                  <a:gd name="connsiteY5" fmla="*/ 72156 h 91728"/>
                  <a:gd name="connsiteX6" fmla="*/ 88380 w 91742"/>
                  <a:gd name="connsiteY6" fmla="*/ 88369 h 91728"/>
                  <a:gd name="connsiteX7" fmla="*/ 80274 w 91742"/>
                  <a:gd name="connsiteY7" fmla="*/ 91728 h 91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42" h="91728">
                    <a:moveTo>
                      <a:pt x="80274" y="91728"/>
                    </a:moveTo>
                    <a:cubicBezTo>
                      <a:pt x="77339" y="91728"/>
                      <a:pt x="74404" y="90605"/>
                      <a:pt x="72168" y="88369"/>
                    </a:cubicBezTo>
                    <a:lnTo>
                      <a:pt x="3362" y="19575"/>
                    </a:lnTo>
                    <a:cubicBezTo>
                      <a:pt x="-1121" y="15092"/>
                      <a:pt x="-1121" y="7845"/>
                      <a:pt x="3362" y="3362"/>
                    </a:cubicBezTo>
                    <a:cubicBezTo>
                      <a:pt x="7845" y="-1121"/>
                      <a:pt x="15092" y="-1121"/>
                      <a:pt x="19575" y="3362"/>
                    </a:cubicBezTo>
                    <a:lnTo>
                      <a:pt x="88380" y="72156"/>
                    </a:lnTo>
                    <a:cubicBezTo>
                      <a:pt x="92863" y="76639"/>
                      <a:pt x="92863" y="83886"/>
                      <a:pt x="88380" y="88369"/>
                    </a:cubicBezTo>
                    <a:cubicBezTo>
                      <a:pt x="86144" y="90616"/>
                      <a:pt x="83209" y="91728"/>
                      <a:pt x="80274" y="91728"/>
                    </a:cubicBezTo>
                    <a:close/>
                  </a:path>
                </a:pathLst>
              </a:custGeom>
              <a:grpFill/>
              <a:ln w="1145" cap="flat">
                <a:noFill/>
                <a:prstDash val="solid"/>
                <a:miter/>
              </a:ln>
            </p:spPr>
            <p:txBody>
              <a:bodyPr rtlCol="0" anchor="ctr"/>
              <a:lstStyle/>
              <a:p>
                <a:endParaRPr lang="en-GB" dirty="0"/>
              </a:p>
            </p:txBody>
          </p:sp>
          <p:sp>
            <p:nvSpPr>
              <p:cNvPr id="389" name="Freeform: Shape 388">
                <a:extLst>
                  <a:ext uri="{FF2B5EF4-FFF2-40B4-BE49-F238E27FC236}">
                    <a16:creationId xmlns:a16="http://schemas.microsoft.com/office/drawing/2014/main" id="{0A327684-0228-4323-937C-5F1ECC175A30}"/>
                  </a:ext>
                </a:extLst>
              </p:cNvPr>
              <p:cNvSpPr/>
              <p:nvPr/>
            </p:nvSpPr>
            <p:spPr>
              <a:xfrm>
                <a:off x="3859700" y="4386979"/>
                <a:ext cx="80236" cy="91717"/>
              </a:xfrm>
              <a:custGeom>
                <a:avLst/>
                <a:gdLst>
                  <a:gd name="connsiteX0" fmla="*/ 11460 w 80236"/>
                  <a:gd name="connsiteY0" fmla="*/ 91718 h 91717"/>
                  <a:gd name="connsiteX1" fmla="*/ 4122 w 80236"/>
                  <a:gd name="connsiteY1" fmla="*/ 89069 h 91717"/>
                  <a:gd name="connsiteX2" fmla="*/ 2654 w 80236"/>
                  <a:gd name="connsiteY2" fmla="*/ 72925 h 91717"/>
                  <a:gd name="connsiteX3" fmla="*/ 59971 w 80236"/>
                  <a:gd name="connsiteY3" fmla="*/ 4131 h 91717"/>
                  <a:gd name="connsiteX4" fmla="*/ 76115 w 80236"/>
                  <a:gd name="connsiteY4" fmla="*/ 2652 h 91717"/>
                  <a:gd name="connsiteX5" fmla="*/ 77582 w 80236"/>
                  <a:gd name="connsiteY5" fmla="*/ 18796 h 91717"/>
                  <a:gd name="connsiteX6" fmla="*/ 20266 w 80236"/>
                  <a:gd name="connsiteY6" fmla="*/ 87590 h 91717"/>
                  <a:gd name="connsiteX7" fmla="*/ 11460 w 80236"/>
                  <a:gd name="connsiteY7" fmla="*/ 91718 h 91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236" h="91717">
                    <a:moveTo>
                      <a:pt x="11460" y="91718"/>
                    </a:moveTo>
                    <a:cubicBezTo>
                      <a:pt x="8869" y="91718"/>
                      <a:pt x="6266" y="90846"/>
                      <a:pt x="4122" y="89069"/>
                    </a:cubicBezTo>
                    <a:cubicBezTo>
                      <a:pt x="-740" y="85010"/>
                      <a:pt x="-1393" y="77787"/>
                      <a:pt x="2654" y="72925"/>
                    </a:cubicBezTo>
                    <a:lnTo>
                      <a:pt x="59971" y="4131"/>
                    </a:lnTo>
                    <a:cubicBezTo>
                      <a:pt x="64030" y="-753"/>
                      <a:pt x="71242" y="-1384"/>
                      <a:pt x="76115" y="2652"/>
                    </a:cubicBezTo>
                    <a:cubicBezTo>
                      <a:pt x="80976" y="6711"/>
                      <a:pt x="81630" y="13935"/>
                      <a:pt x="77582" y="18796"/>
                    </a:cubicBezTo>
                    <a:lnTo>
                      <a:pt x="20266" y="87590"/>
                    </a:lnTo>
                    <a:cubicBezTo>
                      <a:pt x="18007" y="90319"/>
                      <a:pt x="14751" y="91718"/>
                      <a:pt x="11460" y="91718"/>
                    </a:cubicBezTo>
                    <a:close/>
                  </a:path>
                </a:pathLst>
              </a:custGeom>
              <a:grpFill/>
              <a:ln w="1145" cap="flat">
                <a:noFill/>
                <a:prstDash val="solid"/>
                <a:miter/>
              </a:ln>
            </p:spPr>
            <p:txBody>
              <a:bodyPr rtlCol="0" anchor="ctr"/>
              <a:lstStyle/>
              <a:p>
                <a:endParaRPr lang="en-GB" dirty="0"/>
              </a:p>
            </p:txBody>
          </p:sp>
          <p:sp>
            <p:nvSpPr>
              <p:cNvPr id="390" name="Freeform: Shape 389">
                <a:extLst>
                  <a:ext uri="{FF2B5EF4-FFF2-40B4-BE49-F238E27FC236}">
                    <a16:creationId xmlns:a16="http://schemas.microsoft.com/office/drawing/2014/main" id="{037C8EA0-2A29-4B43-9AFA-03B4D3714845}"/>
                  </a:ext>
                </a:extLst>
              </p:cNvPr>
              <p:cNvSpPr/>
              <p:nvPr/>
            </p:nvSpPr>
            <p:spPr>
              <a:xfrm>
                <a:off x="3917026" y="5006126"/>
                <a:ext cx="91729" cy="137579"/>
              </a:xfrm>
              <a:custGeom>
                <a:avLst/>
                <a:gdLst>
                  <a:gd name="connsiteX0" fmla="*/ 80268 w 91729"/>
                  <a:gd name="connsiteY0" fmla="*/ 137580 h 137579"/>
                  <a:gd name="connsiteX1" fmla="*/ 70430 w 91729"/>
                  <a:gd name="connsiteY1" fmla="*/ 132019 h 137579"/>
                  <a:gd name="connsiteX2" fmla="*/ 1636 w 91729"/>
                  <a:gd name="connsiteY2" fmla="*/ 17362 h 137579"/>
                  <a:gd name="connsiteX3" fmla="*/ 5569 w 91729"/>
                  <a:gd name="connsiteY3" fmla="*/ 1631 h 137579"/>
                  <a:gd name="connsiteX4" fmla="*/ 21300 w 91729"/>
                  <a:gd name="connsiteY4" fmla="*/ 5564 h 137579"/>
                  <a:gd name="connsiteX5" fmla="*/ 90094 w 91729"/>
                  <a:gd name="connsiteY5" fmla="*/ 120221 h 137579"/>
                  <a:gd name="connsiteX6" fmla="*/ 86161 w 91729"/>
                  <a:gd name="connsiteY6" fmla="*/ 135951 h 137579"/>
                  <a:gd name="connsiteX7" fmla="*/ 80268 w 91729"/>
                  <a:gd name="connsiteY7" fmla="*/ 137580 h 137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29" h="137579">
                    <a:moveTo>
                      <a:pt x="80268" y="137580"/>
                    </a:moveTo>
                    <a:cubicBezTo>
                      <a:pt x="76369" y="137580"/>
                      <a:pt x="72574" y="135596"/>
                      <a:pt x="70430" y="132019"/>
                    </a:cubicBezTo>
                    <a:lnTo>
                      <a:pt x="1636" y="17362"/>
                    </a:lnTo>
                    <a:cubicBezTo>
                      <a:pt x="-1620" y="11927"/>
                      <a:pt x="134" y="4888"/>
                      <a:pt x="5569" y="1631"/>
                    </a:cubicBezTo>
                    <a:cubicBezTo>
                      <a:pt x="11003" y="-1614"/>
                      <a:pt x="18043" y="129"/>
                      <a:pt x="21300" y="5564"/>
                    </a:cubicBezTo>
                    <a:lnTo>
                      <a:pt x="90094" y="120221"/>
                    </a:lnTo>
                    <a:cubicBezTo>
                      <a:pt x="93350" y="125655"/>
                      <a:pt x="91596" y="132695"/>
                      <a:pt x="86161" y="135951"/>
                    </a:cubicBezTo>
                    <a:cubicBezTo>
                      <a:pt x="84315" y="137052"/>
                      <a:pt x="82286" y="137580"/>
                      <a:pt x="80268" y="137580"/>
                    </a:cubicBezTo>
                    <a:close/>
                  </a:path>
                </a:pathLst>
              </a:custGeom>
              <a:grpFill/>
              <a:ln w="1145" cap="flat">
                <a:noFill/>
                <a:prstDash val="solid"/>
                <a:miter/>
              </a:ln>
            </p:spPr>
            <p:txBody>
              <a:bodyPr rtlCol="0" anchor="ctr"/>
              <a:lstStyle/>
              <a:p>
                <a:endParaRPr lang="en-GB" dirty="0"/>
              </a:p>
            </p:txBody>
          </p:sp>
          <p:sp>
            <p:nvSpPr>
              <p:cNvPr id="391" name="Freeform: Shape 390">
                <a:extLst>
                  <a:ext uri="{FF2B5EF4-FFF2-40B4-BE49-F238E27FC236}">
                    <a16:creationId xmlns:a16="http://schemas.microsoft.com/office/drawing/2014/main" id="{CB8DFDF1-4AEF-4531-9414-201B46CDA9C8}"/>
                  </a:ext>
                </a:extLst>
              </p:cNvPr>
              <p:cNvSpPr/>
              <p:nvPr/>
            </p:nvSpPr>
            <p:spPr>
              <a:xfrm>
                <a:off x="3641850" y="5006110"/>
                <a:ext cx="91729" cy="137596"/>
              </a:xfrm>
              <a:custGeom>
                <a:avLst/>
                <a:gdLst>
                  <a:gd name="connsiteX0" fmla="*/ 11462 w 91729"/>
                  <a:gd name="connsiteY0" fmla="*/ 137596 h 137596"/>
                  <a:gd name="connsiteX1" fmla="*/ 5569 w 91729"/>
                  <a:gd name="connsiteY1" fmla="*/ 135956 h 137596"/>
                  <a:gd name="connsiteX2" fmla="*/ 1636 w 91729"/>
                  <a:gd name="connsiteY2" fmla="*/ 120225 h 137596"/>
                  <a:gd name="connsiteX3" fmla="*/ 70430 w 91729"/>
                  <a:gd name="connsiteY3" fmla="*/ 5569 h 137596"/>
                  <a:gd name="connsiteX4" fmla="*/ 86161 w 91729"/>
                  <a:gd name="connsiteY4" fmla="*/ 1636 h 137596"/>
                  <a:gd name="connsiteX5" fmla="*/ 90094 w 91729"/>
                  <a:gd name="connsiteY5" fmla="*/ 17367 h 137596"/>
                  <a:gd name="connsiteX6" fmla="*/ 21300 w 91729"/>
                  <a:gd name="connsiteY6" fmla="*/ 132024 h 137596"/>
                  <a:gd name="connsiteX7" fmla="*/ 11462 w 91729"/>
                  <a:gd name="connsiteY7" fmla="*/ 137596 h 137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729" h="137596">
                    <a:moveTo>
                      <a:pt x="11462" y="137596"/>
                    </a:moveTo>
                    <a:cubicBezTo>
                      <a:pt x="9456" y="137596"/>
                      <a:pt x="7415" y="137069"/>
                      <a:pt x="5569" y="135956"/>
                    </a:cubicBezTo>
                    <a:cubicBezTo>
                      <a:pt x="134" y="132700"/>
                      <a:pt x="-1620" y="125660"/>
                      <a:pt x="1636" y="120225"/>
                    </a:cubicBezTo>
                    <a:lnTo>
                      <a:pt x="70430" y="5569"/>
                    </a:lnTo>
                    <a:cubicBezTo>
                      <a:pt x="73675" y="134"/>
                      <a:pt x="80726" y="-1620"/>
                      <a:pt x="86161" y="1636"/>
                    </a:cubicBezTo>
                    <a:cubicBezTo>
                      <a:pt x="91596" y="4892"/>
                      <a:pt x="93350" y="11932"/>
                      <a:pt x="90094" y="17367"/>
                    </a:cubicBezTo>
                    <a:lnTo>
                      <a:pt x="21300" y="132024"/>
                    </a:lnTo>
                    <a:cubicBezTo>
                      <a:pt x="19144" y="135613"/>
                      <a:pt x="15349" y="137596"/>
                      <a:pt x="11462" y="137596"/>
                    </a:cubicBezTo>
                    <a:close/>
                  </a:path>
                </a:pathLst>
              </a:custGeom>
              <a:grpFill/>
              <a:ln w="1145" cap="flat">
                <a:noFill/>
                <a:prstDash val="solid"/>
                <a:miter/>
              </a:ln>
            </p:spPr>
            <p:txBody>
              <a:bodyPr rtlCol="0" anchor="ctr"/>
              <a:lstStyle/>
              <a:p>
                <a:endParaRPr lang="en-GB" dirty="0"/>
              </a:p>
            </p:txBody>
          </p:sp>
        </p:grpSp>
        <p:grpSp>
          <p:nvGrpSpPr>
            <p:cNvPr id="346" name="Graphic 48">
              <a:extLst>
                <a:ext uri="{FF2B5EF4-FFF2-40B4-BE49-F238E27FC236}">
                  <a16:creationId xmlns:a16="http://schemas.microsoft.com/office/drawing/2014/main" id="{341FF661-19C9-4F30-92F5-AFFD5EDEBF20}"/>
                </a:ext>
              </a:extLst>
            </p:cNvPr>
            <p:cNvGrpSpPr/>
            <p:nvPr/>
          </p:nvGrpSpPr>
          <p:grpSpPr>
            <a:xfrm>
              <a:off x="1731026" y="2558635"/>
              <a:ext cx="218538" cy="218518"/>
              <a:chOff x="3632960" y="4586406"/>
              <a:chExt cx="387551" cy="387516"/>
            </a:xfrm>
            <a:solidFill>
              <a:schemeClr val="accent1"/>
            </a:solidFill>
          </p:grpSpPr>
          <p:grpSp>
            <p:nvGrpSpPr>
              <p:cNvPr id="347" name="Graphic 48">
                <a:extLst>
                  <a:ext uri="{FF2B5EF4-FFF2-40B4-BE49-F238E27FC236}">
                    <a16:creationId xmlns:a16="http://schemas.microsoft.com/office/drawing/2014/main" id="{A0FF63DB-D1AC-49F6-B852-22C51BF60957}"/>
                  </a:ext>
                </a:extLst>
              </p:cNvPr>
              <p:cNvGrpSpPr/>
              <p:nvPr/>
            </p:nvGrpSpPr>
            <p:grpSpPr>
              <a:xfrm>
                <a:off x="3632960" y="4586406"/>
                <a:ext cx="387551" cy="387516"/>
                <a:chOff x="3632960" y="4586406"/>
                <a:chExt cx="387551" cy="387516"/>
              </a:xfrm>
              <a:solidFill>
                <a:schemeClr val="accent1"/>
              </a:solidFill>
            </p:grpSpPr>
            <p:sp>
              <p:nvSpPr>
                <p:cNvPr id="351" name="Freeform: Shape 350">
                  <a:extLst>
                    <a:ext uri="{FF2B5EF4-FFF2-40B4-BE49-F238E27FC236}">
                      <a16:creationId xmlns:a16="http://schemas.microsoft.com/office/drawing/2014/main" id="{FD4EB51C-0248-468A-BE94-0FDEF7861349}"/>
                    </a:ext>
                  </a:extLst>
                </p:cNvPr>
                <p:cNvSpPr/>
                <p:nvPr/>
              </p:nvSpPr>
              <p:spPr>
                <a:xfrm>
                  <a:off x="3707155" y="4660370"/>
                  <a:ext cx="239151" cy="239151"/>
                </a:xfrm>
                <a:custGeom>
                  <a:avLst/>
                  <a:gdLst>
                    <a:gd name="connsiteX0" fmla="*/ 119576 w 239151"/>
                    <a:gd name="connsiteY0" fmla="*/ 239151 h 239151"/>
                    <a:gd name="connsiteX1" fmla="*/ 0 w 239151"/>
                    <a:gd name="connsiteY1" fmla="*/ 119576 h 239151"/>
                    <a:gd name="connsiteX2" fmla="*/ 119576 w 239151"/>
                    <a:gd name="connsiteY2" fmla="*/ 0 h 239151"/>
                    <a:gd name="connsiteX3" fmla="*/ 239151 w 239151"/>
                    <a:gd name="connsiteY3" fmla="*/ 119576 h 239151"/>
                    <a:gd name="connsiteX4" fmla="*/ 119576 w 239151"/>
                    <a:gd name="connsiteY4" fmla="*/ 239151 h 239151"/>
                    <a:gd name="connsiteX5" fmla="*/ 119576 w 239151"/>
                    <a:gd name="connsiteY5" fmla="*/ 22943 h 239151"/>
                    <a:gd name="connsiteX6" fmla="*/ 22931 w 239151"/>
                    <a:gd name="connsiteY6" fmla="*/ 119587 h 239151"/>
                    <a:gd name="connsiteX7" fmla="*/ 119576 w 239151"/>
                    <a:gd name="connsiteY7" fmla="*/ 216231 h 239151"/>
                    <a:gd name="connsiteX8" fmla="*/ 216220 w 239151"/>
                    <a:gd name="connsiteY8" fmla="*/ 119587 h 239151"/>
                    <a:gd name="connsiteX9" fmla="*/ 119576 w 239151"/>
                    <a:gd name="connsiteY9" fmla="*/ 22943 h 239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151" h="239151">
                      <a:moveTo>
                        <a:pt x="119576" y="239151"/>
                      </a:moveTo>
                      <a:cubicBezTo>
                        <a:pt x="53648" y="239151"/>
                        <a:pt x="0" y="185503"/>
                        <a:pt x="0" y="119576"/>
                      </a:cubicBezTo>
                      <a:cubicBezTo>
                        <a:pt x="0" y="53648"/>
                        <a:pt x="53636" y="0"/>
                        <a:pt x="119576" y="0"/>
                      </a:cubicBezTo>
                      <a:cubicBezTo>
                        <a:pt x="185515" y="0"/>
                        <a:pt x="239151" y="53648"/>
                        <a:pt x="239151" y="119576"/>
                      </a:cubicBezTo>
                      <a:cubicBezTo>
                        <a:pt x="239151" y="185503"/>
                        <a:pt x="185503" y="239151"/>
                        <a:pt x="119576" y="239151"/>
                      </a:cubicBezTo>
                      <a:close/>
                      <a:moveTo>
                        <a:pt x="119576" y="22943"/>
                      </a:moveTo>
                      <a:cubicBezTo>
                        <a:pt x="66295" y="22943"/>
                        <a:pt x="22931" y="66295"/>
                        <a:pt x="22931" y="119587"/>
                      </a:cubicBezTo>
                      <a:cubicBezTo>
                        <a:pt x="22931" y="172880"/>
                        <a:pt x="66283" y="216231"/>
                        <a:pt x="119576" y="216231"/>
                      </a:cubicBezTo>
                      <a:cubicBezTo>
                        <a:pt x="172868" y="216231"/>
                        <a:pt x="216220" y="172880"/>
                        <a:pt x="216220" y="119587"/>
                      </a:cubicBezTo>
                      <a:cubicBezTo>
                        <a:pt x="216220" y="66295"/>
                        <a:pt x="172856" y="22943"/>
                        <a:pt x="119576" y="22943"/>
                      </a:cubicBezTo>
                      <a:close/>
                    </a:path>
                  </a:pathLst>
                </a:custGeom>
                <a:solidFill>
                  <a:schemeClr val="accent1"/>
                </a:solidFill>
                <a:ln w="1145" cap="flat">
                  <a:noFill/>
                  <a:prstDash val="solid"/>
                  <a:miter/>
                </a:ln>
              </p:spPr>
              <p:txBody>
                <a:bodyPr rtlCol="0" anchor="ctr"/>
                <a:lstStyle/>
                <a:p>
                  <a:endParaRPr lang="en-GB" dirty="0"/>
                </a:p>
              </p:txBody>
            </p:sp>
            <p:grpSp>
              <p:nvGrpSpPr>
                <p:cNvPr id="352" name="Graphic 48">
                  <a:extLst>
                    <a:ext uri="{FF2B5EF4-FFF2-40B4-BE49-F238E27FC236}">
                      <a16:creationId xmlns:a16="http://schemas.microsoft.com/office/drawing/2014/main" id="{87155763-5AD4-4432-9A17-922C74F9ED65}"/>
                    </a:ext>
                  </a:extLst>
                </p:cNvPr>
                <p:cNvGrpSpPr/>
                <p:nvPr/>
              </p:nvGrpSpPr>
              <p:grpSpPr>
                <a:xfrm>
                  <a:off x="3632960" y="4744070"/>
                  <a:ext cx="96896" cy="71270"/>
                  <a:chOff x="3632960" y="4744070"/>
                  <a:chExt cx="96896" cy="71270"/>
                </a:xfrm>
                <a:solidFill>
                  <a:schemeClr val="accent1"/>
                </a:solidFill>
              </p:grpSpPr>
              <p:sp>
                <p:nvSpPr>
                  <p:cNvPr id="384" name="Freeform: Shape 383">
                    <a:extLst>
                      <a:ext uri="{FF2B5EF4-FFF2-40B4-BE49-F238E27FC236}">
                        <a16:creationId xmlns:a16="http://schemas.microsoft.com/office/drawing/2014/main" id="{140915FA-1750-47B0-AB64-F6455B7D07DE}"/>
                      </a:ext>
                    </a:extLst>
                  </p:cNvPr>
                  <p:cNvSpPr/>
                  <p:nvPr/>
                </p:nvSpPr>
                <p:spPr>
                  <a:xfrm>
                    <a:off x="3632960" y="4744070"/>
                    <a:ext cx="62763" cy="71270"/>
                  </a:xfrm>
                  <a:custGeom>
                    <a:avLst/>
                    <a:gdLst>
                      <a:gd name="connsiteX0" fmla="*/ 27231 w 62763"/>
                      <a:gd name="connsiteY0" fmla="*/ 71271 h 71270"/>
                      <a:gd name="connsiteX1" fmla="*/ 0 w 62763"/>
                      <a:gd name="connsiteY1" fmla="*/ 35738 h 71270"/>
                      <a:gd name="connsiteX2" fmla="*/ 26405 w 62763"/>
                      <a:gd name="connsiteY2" fmla="*/ 0 h 71270"/>
                      <a:gd name="connsiteX3" fmla="*/ 62763 w 62763"/>
                      <a:gd name="connsiteY3" fmla="*/ 35738 h 71270"/>
                      <a:gd name="connsiteX4" fmla="*/ 27231 w 62763"/>
                      <a:gd name="connsiteY4" fmla="*/ 71271 h 71270"/>
                      <a:gd name="connsiteX5" fmla="*/ 26394 w 62763"/>
                      <a:gd name="connsiteY5" fmla="*/ 22943 h 71270"/>
                      <a:gd name="connsiteX6" fmla="*/ 26050 w 62763"/>
                      <a:gd name="connsiteY6" fmla="*/ 22977 h 71270"/>
                      <a:gd name="connsiteX7" fmla="*/ 22920 w 62763"/>
                      <a:gd name="connsiteY7" fmla="*/ 35750 h 71270"/>
                      <a:gd name="connsiteX8" fmla="*/ 27219 w 62763"/>
                      <a:gd name="connsiteY8" fmla="*/ 48351 h 71270"/>
                      <a:gd name="connsiteX9" fmla="*/ 39820 w 62763"/>
                      <a:gd name="connsiteY9" fmla="*/ 35750 h 71270"/>
                      <a:gd name="connsiteX10" fmla="*/ 26394 w 62763"/>
                      <a:gd name="connsiteY10" fmla="*/ 22943 h 7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763" h="71270">
                        <a:moveTo>
                          <a:pt x="27231" y="71271"/>
                        </a:moveTo>
                        <a:cubicBezTo>
                          <a:pt x="11202" y="71271"/>
                          <a:pt x="0" y="56663"/>
                          <a:pt x="0" y="35738"/>
                        </a:cubicBezTo>
                        <a:cubicBezTo>
                          <a:pt x="0" y="14022"/>
                          <a:pt x="10365" y="0"/>
                          <a:pt x="26405" y="0"/>
                        </a:cubicBezTo>
                        <a:cubicBezTo>
                          <a:pt x="44418" y="0"/>
                          <a:pt x="62763" y="18035"/>
                          <a:pt x="62763" y="35738"/>
                        </a:cubicBezTo>
                        <a:cubicBezTo>
                          <a:pt x="62752" y="53350"/>
                          <a:pt x="44819" y="71271"/>
                          <a:pt x="27231" y="71271"/>
                        </a:cubicBezTo>
                        <a:close/>
                        <a:moveTo>
                          <a:pt x="26394" y="22943"/>
                        </a:moveTo>
                        <a:cubicBezTo>
                          <a:pt x="26188" y="22943"/>
                          <a:pt x="26073" y="22966"/>
                          <a:pt x="26050" y="22977"/>
                        </a:cubicBezTo>
                        <a:cubicBezTo>
                          <a:pt x="25270" y="23436"/>
                          <a:pt x="22920" y="27518"/>
                          <a:pt x="22920" y="35750"/>
                        </a:cubicBezTo>
                        <a:cubicBezTo>
                          <a:pt x="22920" y="42721"/>
                          <a:pt x="25270" y="48351"/>
                          <a:pt x="27219" y="48351"/>
                        </a:cubicBezTo>
                        <a:cubicBezTo>
                          <a:pt x="31897" y="48351"/>
                          <a:pt x="39820" y="41196"/>
                          <a:pt x="39820" y="35750"/>
                        </a:cubicBezTo>
                        <a:cubicBezTo>
                          <a:pt x="39820" y="30843"/>
                          <a:pt x="31542" y="22943"/>
                          <a:pt x="26394" y="22943"/>
                        </a:cubicBezTo>
                        <a:close/>
                      </a:path>
                    </a:pathLst>
                  </a:custGeom>
                  <a:solidFill>
                    <a:schemeClr val="accent1"/>
                  </a:solidFill>
                  <a:ln w="1145" cap="flat">
                    <a:noFill/>
                    <a:prstDash val="solid"/>
                    <a:miter/>
                  </a:ln>
                </p:spPr>
                <p:txBody>
                  <a:bodyPr rtlCol="0" anchor="ctr"/>
                  <a:lstStyle/>
                  <a:p>
                    <a:endParaRPr lang="en-GB" dirty="0"/>
                  </a:p>
                </p:txBody>
              </p:sp>
              <p:sp>
                <p:nvSpPr>
                  <p:cNvPr id="385" name="Freeform: Shape 384">
                    <a:extLst>
                      <a:ext uri="{FF2B5EF4-FFF2-40B4-BE49-F238E27FC236}">
                        <a16:creationId xmlns:a16="http://schemas.microsoft.com/office/drawing/2014/main" id="{7EFC630B-C1D8-4CEE-A1D3-9556E2B16DCD}"/>
                      </a:ext>
                    </a:extLst>
                  </p:cNvPr>
                  <p:cNvSpPr/>
                  <p:nvPr/>
                </p:nvSpPr>
                <p:spPr>
                  <a:xfrm>
                    <a:off x="3672781" y="4768365"/>
                    <a:ext cx="57076" cy="22931"/>
                  </a:xfrm>
                  <a:custGeom>
                    <a:avLst/>
                    <a:gdLst>
                      <a:gd name="connsiteX0" fmla="*/ 45610 w 57076"/>
                      <a:gd name="connsiteY0" fmla="*/ 22931 h 22931"/>
                      <a:gd name="connsiteX1" fmla="*/ 11466 w 57076"/>
                      <a:gd name="connsiteY1" fmla="*/ 22931 h 22931"/>
                      <a:gd name="connsiteX2" fmla="*/ 0 w 57076"/>
                      <a:gd name="connsiteY2" fmla="*/ 11466 h 22931"/>
                      <a:gd name="connsiteX3" fmla="*/ 11466 w 57076"/>
                      <a:gd name="connsiteY3" fmla="*/ 0 h 22931"/>
                      <a:gd name="connsiteX4" fmla="*/ 45610 w 57076"/>
                      <a:gd name="connsiteY4" fmla="*/ 0 h 22931"/>
                      <a:gd name="connsiteX5" fmla="*/ 57076 w 57076"/>
                      <a:gd name="connsiteY5" fmla="*/ 11466 h 22931"/>
                      <a:gd name="connsiteX6" fmla="*/ 45610 w 57076"/>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76" h="22931">
                        <a:moveTo>
                          <a:pt x="45610" y="22931"/>
                        </a:moveTo>
                        <a:lnTo>
                          <a:pt x="11466" y="22931"/>
                        </a:lnTo>
                        <a:cubicBezTo>
                          <a:pt x="5137" y="22931"/>
                          <a:pt x="0" y="17807"/>
                          <a:pt x="0" y="11466"/>
                        </a:cubicBezTo>
                        <a:cubicBezTo>
                          <a:pt x="0" y="5125"/>
                          <a:pt x="5137" y="0"/>
                          <a:pt x="11466" y="0"/>
                        </a:cubicBezTo>
                        <a:lnTo>
                          <a:pt x="45610" y="0"/>
                        </a:lnTo>
                        <a:cubicBezTo>
                          <a:pt x="51940" y="0"/>
                          <a:pt x="57076" y="5125"/>
                          <a:pt x="57076" y="11466"/>
                        </a:cubicBezTo>
                        <a:cubicBezTo>
                          <a:pt x="57076" y="17807"/>
                          <a:pt x="51940" y="22931"/>
                          <a:pt x="45610"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353" name="Graphic 48">
                  <a:extLst>
                    <a:ext uri="{FF2B5EF4-FFF2-40B4-BE49-F238E27FC236}">
                      <a16:creationId xmlns:a16="http://schemas.microsoft.com/office/drawing/2014/main" id="{96597B45-45D1-4ABC-B1B8-13AE17C7427E}"/>
                    </a:ext>
                  </a:extLst>
                </p:cNvPr>
                <p:cNvGrpSpPr/>
                <p:nvPr/>
              </p:nvGrpSpPr>
              <p:grpSpPr>
                <a:xfrm>
                  <a:off x="3923604" y="4743978"/>
                  <a:ext cx="96908" cy="71270"/>
                  <a:chOff x="3923604" y="4743978"/>
                  <a:chExt cx="96908" cy="71270"/>
                </a:xfrm>
                <a:solidFill>
                  <a:schemeClr val="accent1"/>
                </a:solidFill>
              </p:grpSpPr>
              <p:sp>
                <p:nvSpPr>
                  <p:cNvPr id="382" name="Freeform: Shape 381">
                    <a:extLst>
                      <a:ext uri="{FF2B5EF4-FFF2-40B4-BE49-F238E27FC236}">
                        <a16:creationId xmlns:a16="http://schemas.microsoft.com/office/drawing/2014/main" id="{088DA3E9-98D0-42F0-8455-4AE3AB5DA19F}"/>
                      </a:ext>
                    </a:extLst>
                  </p:cNvPr>
                  <p:cNvSpPr/>
                  <p:nvPr/>
                </p:nvSpPr>
                <p:spPr>
                  <a:xfrm>
                    <a:off x="3957748" y="4743978"/>
                    <a:ext cx="62763" cy="71270"/>
                  </a:xfrm>
                  <a:custGeom>
                    <a:avLst/>
                    <a:gdLst>
                      <a:gd name="connsiteX0" fmla="*/ 35601 w 62763"/>
                      <a:gd name="connsiteY0" fmla="*/ 71271 h 71270"/>
                      <a:gd name="connsiteX1" fmla="*/ 0 w 62763"/>
                      <a:gd name="connsiteY1" fmla="*/ 35911 h 71270"/>
                      <a:gd name="connsiteX2" fmla="*/ 11775 w 62763"/>
                      <a:gd name="connsiteY2" fmla="*/ 11019 h 71270"/>
                      <a:gd name="connsiteX3" fmla="*/ 36186 w 62763"/>
                      <a:gd name="connsiteY3" fmla="*/ 0 h 71270"/>
                      <a:gd name="connsiteX4" fmla="*/ 36186 w 62763"/>
                      <a:gd name="connsiteY4" fmla="*/ 0 h 71270"/>
                      <a:gd name="connsiteX5" fmla="*/ 36312 w 62763"/>
                      <a:gd name="connsiteY5" fmla="*/ 0 h 71270"/>
                      <a:gd name="connsiteX6" fmla="*/ 58051 w 62763"/>
                      <a:gd name="connsiteY6" fmla="*/ 13885 h 71270"/>
                      <a:gd name="connsiteX7" fmla="*/ 62763 w 62763"/>
                      <a:gd name="connsiteY7" fmla="*/ 35612 h 71270"/>
                      <a:gd name="connsiteX8" fmla="*/ 35704 w 62763"/>
                      <a:gd name="connsiteY8" fmla="*/ 71271 h 71270"/>
                      <a:gd name="connsiteX9" fmla="*/ 35601 w 62763"/>
                      <a:gd name="connsiteY9" fmla="*/ 71271 h 71270"/>
                      <a:gd name="connsiteX10" fmla="*/ 36289 w 62763"/>
                      <a:gd name="connsiteY10" fmla="*/ 22931 h 71270"/>
                      <a:gd name="connsiteX11" fmla="*/ 27644 w 62763"/>
                      <a:gd name="connsiteY11" fmla="*/ 27564 h 71270"/>
                      <a:gd name="connsiteX12" fmla="*/ 22932 w 62763"/>
                      <a:gd name="connsiteY12" fmla="*/ 35796 h 71270"/>
                      <a:gd name="connsiteX13" fmla="*/ 35578 w 62763"/>
                      <a:gd name="connsiteY13" fmla="*/ 48339 h 71270"/>
                      <a:gd name="connsiteX14" fmla="*/ 35601 w 62763"/>
                      <a:gd name="connsiteY14" fmla="*/ 48339 h 71270"/>
                      <a:gd name="connsiteX15" fmla="*/ 39832 w 62763"/>
                      <a:gd name="connsiteY15" fmla="*/ 35716 h 71270"/>
                      <a:gd name="connsiteX16" fmla="*/ 36621 w 62763"/>
                      <a:gd name="connsiteY16" fmla="*/ 22943 h 71270"/>
                      <a:gd name="connsiteX17" fmla="*/ 36289 w 62763"/>
                      <a:gd name="connsiteY17" fmla="*/ 22931 h 71270"/>
                      <a:gd name="connsiteX18" fmla="*/ 36243 w 62763"/>
                      <a:gd name="connsiteY18" fmla="*/ 11466 h 71270"/>
                      <a:gd name="connsiteX19" fmla="*/ 36358 w 62763"/>
                      <a:gd name="connsiteY19" fmla="*/ 11466 h 71270"/>
                      <a:gd name="connsiteX20" fmla="*/ 36243 w 62763"/>
                      <a:gd name="connsiteY20" fmla="*/ 11466 h 7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763" h="71270">
                        <a:moveTo>
                          <a:pt x="35601" y="71271"/>
                        </a:moveTo>
                        <a:cubicBezTo>
                          <a:pt x="18024" y="71271"/>
                          <a:pt x="80" y="53465"/>
                          <a:pt x="0" y="35911"/>
                        </a:cubicBezTo>
                        <a:cubicBezTo>
                          <a:pt x="-34" y="27312"/>
                          <a:pt x="4254" y="18231"/>
                          <a:pt x="11775" y="11019"/>
                        </a:cubicBezTo>
                        <a:cubicBezTo>
                          <a:pt x="19033" y="4059"/>
                          <a:pt x="27931" y="35"/>
                          <a:pt x="36186" y="0"/>
                        </a:cubicBezTo>
                        <a:lnTo>
                          <a:pt x="36186" y="0"/>
                        </a:lnTo>
                        <a:cubicBezTo>
                          <a:pt x="36220" y="0"/>
                          <a:pt x="36266" y="0"/>
                          <a:pt x="36312" y="0"/>
                        </a:cubicBezTo>
                        <a:cubicBezTo>
                          <a:pt x="45553" y="0"/>
                          <a:pt x="53476" y="5045"/>
                          <a:pt x="58051" y="13885"/>
                        </a:cubicBezTo>
                        <a:cubicBezTo>
                          <a:pt x="61892" y="21292"/>
                          <a:pt x="62729" y="29788"/>
                          <a:pt x="62763" y="35612"/>
                        </a:cubicBezTo>
                        <a:cubicBezTo>
                          <a:pt x="62866" y="56526"/>
                          <a:pt x="51745" y="71202"/>
                          <a:pt x="35704" y="71271"/>
                        </a:cubicBezTo>
                        <a:cubicBezTo>
                          <a:pt x="35670" y="71271"/>
                          <a:pt x="35635" y="71271"/>
                          <a:pt x="35601" y="71271"/>
                        </a:cubicBezTo>
                        <a:close/>
                        <a:moveTo>
                          <a:pt x="36289" y="22931"/>
                        </a:moveTo>
                        <a:cubicBezTo>
                          <a:pt x="34386" y="22943"/>
                          <a:pt x="30808" y="24537"/>
                          <a:pt x="27644" y="27564"/>
                        </a:cubicBezTo>
                        <a:cubicBezTo>
                          <a:pt x="24376" y="30694"/>
                          <a:pt x="22920" y="33961"/>
                          <a:pt x="22932" y="35796"/>
                        </a:cubicBezTo>
                        <a:cubicBezTo>
                          <a:pt x="22955" y="41231"/>
                          <a:pt x="30900" y="48339"/>
                          <a:pt x="35578" y="48339"/>
                        </a:cubicBezTo>
                        <a:cubicBezTo>
                          <a:pt x="35578" y="48339"/>
                          <a:pt x="35590" y="48339"/>
                          <a:pt x="35601" y="48339"/>
                        </a:cubicBezTo>
                        <a:cubicBezTo>
                          <a:pt x="37539" y="48328"/>
                          <a:pt x="39866" y="42698"/>
                          <a:pt x="39832" y="35716"/>
                        </a:cubicBezTo>
                        <a:cubicBezTo>
                          <a:pt x="39798" y="27472"/>
                          <a:pt x="37436" y="23425"/>
                          <a:pt x="36621" y="22943"/>
                        </a:cubicBezTo>
                        <a:cubicBezTo>
                          <a:pt x="36610" y="22943"/>
                          <a:pt x="36289" y="22931"/>
                          <a:pt x="36289" y="22931"/>
                        </a:cubicBezTo>
                        <a:close/>
                        <a:moveTo>
                          <a:pt x="36243" y="11466"/>
                        </a:moveTo>
                        <a:lnTo>
                          <a:pt x="36358" y="11466"/>
                        </a:lnTo>
                        <a:lnTo>
                          <a:pt x="36243" y="11466"/>
                        </a:lnTo>
                        <a:close/>
                      </a:path>
                    </a:pathLst>
                  </a:custGeom>
                  <a:solidFill>
                    <a:schemeClr val="accent1"/>
                  </a:solidFill>
                  <a:ln w="1145" cap="flat">
                    <a:noFill/>
                    <a:prstDash val="solid"/>
                    <a:miter/>
                  </a:ln>
                </p:spPr>
                <p:txBody>
                  <a:bodyPr rtlCol="0" anchor="ctr"/>
                  <a:lstStyle/>
                  <a:p>
                    <a:endParaRPr lang="en-GB" dirty="0"/>
                  </a:p>
                </p:txBody>
              </p:sp>
              <p:sp>
                <p:nvSpPr>
                  <p:cNvPr id="383" name="Freeform: Shape 382">
                    <a:extLst>
                      <a:ext uri="{FF2B5EF4-FFF2-40B4-BE49-F238E27FC236}">
                        <a16:creationId xmlns:a16="http://schemas.microsoft.com/office/drawing/2014/main" id="{C8F744B7-63C0-4F3B-B7F7-14BEB79FBAC6}"/>
                      </a:ext>
                    </a:extLst>
                  </p:cNvPr>
                  <p:cNvSpPr/>
                  <p:nvPr/>
                </p:nvSpPr>
                <p:spPr>
                  <a:xfrm>
                    <a:off x="3923604" y="4768365"/>
                    <a:ext cx="57076" cy="23103"/>
                  </a:xfrm>
                  <a:custGeom>
                    <a:avLst/>
                    <a:gdLst>
                      <a:gd name="connsiteX0" fmla="*/ 11466 w 57076"/>
                      <a:gd name="connsiteY0" fmla="*/ 23104 h 23103"/>
                      <a:gd name="connsiteX1" fmla="*/ 0 w 57076"/>
                      <a:gd name="connsiteY1" fmla="*/ 11695 h 23103"/>
                      <a:gd name="connsiteX2" fmla="*/ 11408 w 57076"/>
                      <a:gd name="connsiteY2" fmla="*/ 172 h 23103"/>
                      <a:gd name="connsiteX3" fmla="*/ 45553 w 57076"/>
                      <a:gd name="connsiteY3" fmla="*/ 0 h 23103"/>
                      <a:gd name="connsiteX4" fmla="*/ 45611 w 57076"/>
                      <a:gd name="connsiteY4" fmla="*/ 0 h 23103"/>
                      <a:gd name="connsiteX5" fmla="*/ 57076 w 57076"/>
                      <a:gd name="connsiteY5" fmla="*/ 11409 h 23103"/>
                      <a:gd name="connsiteX6" fmla="*/ 45668 w 57076"/>
                      <a:gd name="connsiteY6" fmla="*/ 22931 h 23103"/>
                      <a:gd name="connsiteX7" fmla="*/ 11523 w 57076"/>
                      <a:gd name="connsiteY7" fmla="*/ 23104 h 23103"/>
                      <a:gd name="connsiteX8" fmla="*/ 11466 w 57076"/>
                      <a:gd name="connsiteY8" fmla="*/ 23104 h 231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76" h="23103">
                        <a:moveTo>
                          <a:pt x="11466" y="23104"/>
                        </a:moveTo>
                        <a:cubicBezTo>
                          <a:pt x="5160" y="23104"/>
                          <a:pt x="35" y="18013"/>
                          <a:pt x="0" y="11695"/>
                        </a:cubicBezTo>
                        <a:cubicBezTo>
                          <a:pt x="-34" y="5366"/>
                          <a:pt x="5080" y="207"/>
                          <a:pt x="11408" y="172"/>
                        </a:cubicBezTo>
                        <a:lnTo>
                          <a:pt x="45553" y="0"/>
                        </a:lnTo>
                        <a:cubicBezTo>
                          <a:pt x="45565" y="0"/>
                          <a:pt x="45588" y="0"/>
                          <a:pt x="45611" y="0"/>
                        </a:cubicBezTo>
                        <a:cubicBezTo>
                          <a:pt x="51917" y="0"/>
                          <a:pt x="57042" y="5091"/>
                          <a:pt x="57076" y="11409"/>
                        </a:cubicBezTo>
                        <a:cubicBezTo>
                          <a:pt x="57111" y="17738"/>
                          <a:pt x="51997" y="22897"/>
                          <a:pt x="45668" y="22931"/>
                        </a:cubicBezTo>
                        <a:lnTo>
                          <a:pt x="11523" y="23104"/>
                        </a:lnTo>
                        <a:cubicBezTo>
                          <a:pt x="11512" y="23104"/>
                          <a:pt x="11489" y="23104"/>
                          <a:pt x="11466" y="23104"/>
                        </a:cubicBezTo>
                        <a:close/>
                      </a:path>
                    </a:pathLst>
                  </a:custGeom>
                  <a:solidFill>
                    <a:schemeClr val="accent1"/>
                  </a:solidFill>
                  <a:ln w="1145" cap="flat">
                    <a:noFill/>
                    <a:prstDash val="solid"/>
                    <a:miter/>
                  </a:ln>
                </p:spPr>
                <p:txBody>
                  <a:bodyPr rtlCol="0" anchor="ctr"/>
                  <a:lstStyle/>
                  <a:p>
                    <a:endParaRPr lang="en-GB" dirty="0"/>
                  </a:p>
                </p:txBody>
              </p:sp>
            </p:grpSp>
            <p:grpSp>
              <p:nvGrpSpPr>
                <p:cNvPr id="354" name="Graphic 48">
                  <a:extLst>
                    <a:ext uri="{FF2B5EF4-FFF2-40B4-BE49-F238E27FC236}">
                      <a16:creationId xmlns:a16="http://schemas.microsoft.com/office/drawing/2014/main" id="{B70B0577-35CB-435F-B9B4-BFDEAB34E95C}"/>
                    </a:ext>
                  </a:extLst>
                </p:cNvPr>
                <p:cNvGrpSpPr/>
                <p:nvPr/>
              </p:nvGrpSpPr>
              <p:grpSpPr>
                <a:xfrm>
                  <a:off x="3676139" y="4586406"/>
                  <a:ext cx="301303" cy="128656"/>
                  <a:chOff x="3676139" y="4586406"/>
                  <a:chExt cx="301303" cy="128656"/>
                </a:xfrm>
                <a:solidFill>
                  <a:schemeClr val="accent1"/>
                </a:solidFill>
              </p:grpSpPr>
              <p:grpSp>
                <p:nvGrpSpPr>
                  <p:cNvPr id="373" name="Graphic 48">
                    <a:extLst>
                      <a:ext uri="{FF2B5EF4-FFF2-40B4-BE49-F238E27FC236}">
                        <a16:creationId xmlns:a16="http://schemas.microsoft.com/office/drawing/2014/main" id="{07793B87-98C2-48FB-8AE4-FBC3CA06EC4C}"/>
                      </a:ext>
                    </a:extLst>
                  </p:cNvPr>
                  <p:cNvGrpSpPr/>
                  <p:nvPr/>
                </p:nvGrpSpPr>
                <p:grpSpPr>
                  <a:xfrm>
                    <a:off x="3791210" y="4586406"/>
                    <a:ext cx="71270" cy="96907"/>
                    <a:chOff x="3791210" y="4586406"/>
                    <a:chExt cx="71270" cy="96907"/>
                  </a:xfrm>
                  <a:solidFill>
                    <a:schemeClr val="accent1"/>
                  </a:solidFill>
                </p:grpSpPr>
                <p:sp>
                  <p:nvSpPr>
                    <p:cNvPr id="380" name="Freeform: Shape 379">
                      <a:extLst>
                        <a:ext uri="{FF2B5EF4-FFF2-40B4-BE49-F238E27FC236}">
                          <a16:creationId xmlns:a16="http://schemas.microsoft.com/office/drawing/2014/main" id="{62C0FEF9-2911-48BE-A0AD-AD71070ADBED}"/>
                        </a:ext>
                      </a:extLst>
                    </p:cNvPr>
                    <p:cNvSpPr/>
                    <p:nvPr/>
                  </p:nvSpPr>
                  <p:spPr>
                    <a:xfrm>
                      <a:off x="3791210" y="4586406"/>
                      <a:ext cx="71270" cy="62763"/>
                    </a:xfrm>
                    <a:custGeom>
                      <a:avLst/>
                      <a:gdLst>
                        <a:gd name="connsiteX0" fmla="*/ 35532 w 71270"/>
                        <a:gd name="connsiteY0" fmla="*/ 62763 h 62763"/>
                        <a:gd name="connsiteX1" fmla="*/ 0 w 71270"/>
                        <a:gd name="connsiteY1" fmla="*/ 27231 h 62763"/>
                        <a:gd name="connsiteX2" fmla="*/ 35532 w 71270"/>
                        <a:gd name="connsiteY2" fmla="*/ 0 h 62763"/>
                        <a:gd name="connsiteX3" fmla="*/ 71271 w 71270"/>
                        <a:gd name="connsiteY3" fmla="*/ 26405 h 62763"/>
                        <a:gd name="connsiteX4" fmla="*/ 35532 w 71270"/>
                        <a:gd name="connsiteY4" fmla="*/ 62763 h 62763"/>
                        <a:gd name="connsiteX5" fmla="*/ 35532 w 71270"/>
                        <a:gd name="connsiteY5" fmla="*/ 22943 h 62763"/>
                        <a:gd name="connsiteX6" fmla="*/ 22931 w 71270"/>
                        <a:gd name="connsiteY6" fmla="*/ 27242 h 62763"/>
                        <a:gd name="connsiteX7" fmla="*/ 35532 w 71270"/>
                        <a:gd name="connsiteY7" fmla="*/ 39843 h 62763"/>
                        <a:gd name="connsiteX8" fmla="*/ 48339 w 71270"/>
                        <a:gd name="connsiteY8" fmla="*/ 26417 h 62763"/>
                        <a:gd name="connsiteX9" fmla="*/ 48316 w 71270"/>
                        <a:gd name="connsiteY9" fmla="*/ 26073 h 62763"/>
                        <a:gd name="connsiteX10" fmla="*/ 35532 w 71270"/>
                        <a:gd name="connsiteY10" fmla="*/ 22943 h 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270" h="62763">
                          <a:moveTo>
                            <a:pt x="35532" y="62763"/>
                          </a:moveTo>
                          <a:cubicBezTo>
                            <a:pt x="17932" y="62763"/>
                            <a:pt x="0" y="44842"/>
                            <a:pt x="0" y="27231"/>
                          </a:cubicBezTo>
                          <a:cubicBezTo>
                            <a:pt x="0" y="11202"/>
                            <a:pt x="14607" y="0"/>
                            <a:pt x="35532" y="0"/>
                          </a:cubicBezTo>
                          <a:cubicBezTo>
                            <a:pt x="57248" y="0"/>
                            <a:pt x="71271" y="10365"/>
                            <a:pt x="71271" y="26405"/>
                          </a:cubicBezTo>
                          <a:cubicBezTo>
                            <a:pt x="71271" y="44418"/>
                            <a:pt x="53235" y="62763"/>
                            <a:pt x="35532" y="62763"/>
                          </a:cubicBezTo>
                          <a:close/>
                          <a:moveTo>
                            <a:pt x="35532" y="22943"/>
                          </a:moveTo>
                          <a:cubicBezTo>
                            <a:pt x="28561" y="22943"/>
                            <a:pt x="22931" y="25293"/>
                            <a:pt x="22931" y="27242"/>
                          </a:cubicBezTo>
                          <a:cubicBezTo>
                            <a:pt x="22931" y="31909"/>
                            <a:pt x="30097" y="39843"/>
                            <a:pt x="35532" y="39843"/>
                          </a:cubicBezTo>
                          <a:cubicBezTo>
                            <a:pt x="40439" y="39843"/>
                            <a:pt x="48339" y="31553"/>
                            <a:pt x="48339" y="26417"/>
                          </a:cubicBezTo>
                          <a:cubicBezTo>
                            <a:pt x="48339" y="26210"/>
                            <a:pt x="48316" y="26096"/>
                            <a:pt x="48316" y="26073"/>
                          </a:cubicBezTo>
                          <a:cubicBezTo>
                            <a:pt x="47846" y="25282"/>
                            <a:pt x="43776" y="22943"/>
                            <a:pt x="35532" y="22943"/>
                          </a:cubicBezTo>
                          <a:close/>
                        </a:path>
                      </a:pathLst>
                    </a:custGeom>
                    <a:solidFill>
                      <a:schemeClr val="accent1"/>
                    </a:solidFill>
                    <a:ln w="1145" cap="flat">
                      <a:noFill/>
                      <a:prstDash val="solid"/>
                      <a:miter/>
                    </a:ln>
                  </p:spPr>
                  <p:txBody>
                    <a:bodyPr rtlCol="0" anchor="ctr"/>
                    <a:lstStyle/>
                    <a:p>
                      <a:endParaRPr lang="en-GB" dirty="0"/>
                    </a:p>
                  </p:txBody>
                </p:sp>
                <p:sp>
                  <p:nvSpPr>
                    <p:cNvPr id="381" name="Freeform: Shape 380">
                      <a:extLst>
                        <a:ext uri="{FF2B5EF4-FFF2-40B4-BE49-F238E27FC236}">
                          <a16:creationId xmlns:a16="http://schemas.microsoft.com/office/drawing/2014/main" id="{17C42778-A875-4A49-A2C0-572AA098FC6F}"/>
                        </a:ext>
                      </a:extLst>
                    </p:cNvPr>
                    <p:cNvSpPr/>
                    <p:nvPr/>
                  </p:nvSpPr>
                  <p:spPr>
                    <a:xfrm>
                      <a:off x="3815265" y="4626237"/>
                      <a:ext cx="22931" cy="57075"/>
                    </a:xfrm>
                    <a:custGeom>
                      <a:avLst/>
                      <a:gdLst>
                        <a:gd name="connsiteX0" fmla="*/ 11466 w 22931"/>
                        <a:gd name="connsiteY0" fmla="*/ 57076 h 57075"/>
                        <a:gd name="connsiteX1" fmla="*/ 0 w 22931"/>
                        <a:gd name="connsiteY1" fmla="*/ 45610 h 57075"/>
                        <a:gd name="connsiteX2" fmla="*/ 0 w 22931"/>
                        <a:gd name="connsiteY2" fmla="*/ 11466 h 57075"/>
                        <a:gd name="connsiteX3" fmla="*/ 11466 w 22931"/>
                        <a:gd name="connsiteY3" fmla="*/ 0 h 57075"/>
                        <a:gd name="connsiteX4" fmla="*/ 22931 w 22931"/>
                        <a:gd name="connsiteY4" fmla="*/ 11466 h 57075"/>
                        <a:gd name="connsiteX5" fmla="*/ 22931 w 22931"/>
                        <a:gd name="connsiteY5" fmla="*/ 45610 h 57075"/>
                        <a:gd name="connsiteX6" fmla="*/ 11466 w 22931"/>
                        <a:gd name="connsiteY6" fmla="*/ 57076 h 5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57075">
                          <a:moveTo>
                            <a:pt x="11466" y="57076"/>
                          </a:moveTo>
                          <a:cubicBezTo>
                            <a:pt x="5137" y="57076"/>
                            <a:pt x="0" y="51951"/>
                            <a:pt x="0" y="45610"/>
                          </a:cubicBezTo>
                          <a:lnTo>
                            <a:pt x="0" y="11466"/>
                          </a:lnTo>
                          <a:cubicBezTo>
                            <a:pt x="0" y="5125"/>
                            <a:pt x="5137" y="0"/>
                            <a:pt x="11466" y="0"/>
                          </a:cubicBezTo>
                          <a:cubicBezTo>
                            <a:pt x="17795" y="0"/>
                            <a:pt x="22931" y="5125"/>
                            <a:pt x="22931" y="11466"/>
                          </a:cubicBezTo>
                          <a:lnTo>
                            <a:pt x="22931" y="45610"/>
                          </a:lnTo>
                          <a:cubicBezTo>
                            <a:pt x="22931" y="51951"/>
                            <a:pt x="17795" y="57076"/>
                            <a:pt x="11466" y="57076"/>
                          </a:cubicBezTo>
                          <a:close/>
                        </a:path>
                      </a:pathLst>
                    </a:custGeom>
                    <a:solidFill>
                      <a:schemeClr val="accent1"/>
                    </a:solidFill>
                    <a:ln w="1145" cap="flat">
                      <a:noFill/>
                      <a:prstDash val="solid"/>
                      <a:miter/>
                    </a:ln>
                  </p:spPr>
                  <p:txBody>
                    <a:bodyPr rtlCol="0" anchor="ctr"/>
                    <a:lstStyle/>
                    <a:p>
                      <a:endParaRPr lang="en-GB" dirty="0"/>
                    </a:p>
                  </p:txBody>
                </p:sp>
              </p:grpSp>
              <p:grpSp>
                <p:nvGrpSpPr>
                  <p:cNvPr id="374" name="Graphic 48">
                    <a:extLst>
                      <a:ext uri="{FF2B5EF4-FFF2-40B4-BE49-F238E27FC236}">
                        <a16:creationId xmlns:a16="http://schemas.microsoft.com/office/drawing/2014/main" id="{21A98BAD-A071-450A-BD39-7A1E8A6CF466}"/>
                      </a:ext>
                    </a:extLst>
                  </p:cNvPr>
                  <p:cNvGrpSpPr/>
                  <p:nvPr/>
                </p:nvGrpSpPr>
                <p:grpSpPr>
                  <a:xfrm>
                    <a:off x="3892036" y="4630226"/>
                    <a:ext cx="85406" cy="84835"/>
                    <a:chOff x="3892036" y="4630226"/>
                    <a:chExt cx="85406" cy="84835"/>
                  </a:xfrm>
                  <a:solidFill>
                    <a:schemeClr val="accent1"/>
                  </a:solidFill>
                </p:grpSpPr>
                <p:sp>
                  <p:nvSpPr>
                    <p:cNvPr id="378" name="Freeform: Shape 377">
                      <a:extLst>
                        <a:ext uri="{FF2B5EF4-FFF2-40B4-BE49-F238E27FC236}">
                          <a16:creationId xmlns:a16="http://schemas.microsoft.com/office/drawing/2014/main" id="{D276C2F8-85E3-4536-B909-D8FF8561784B}"/>
                        </a:ext>
                      </a:extLst>
                    </p:cNvPr>
                    <p:cNvSpPr/>
                    <p:nvPr/>
                  </p:nvSpPr>
                  <p:spPr>
                    <a:xfrm>
                      <a:off x="3910175" y="4630226"/>
                      <a:ext cx="67267" cy="66605"/>
                    </a:xfrm>
                    <a:custGeom>
                      <a:avLst/>
                      <a:gdLst>
                        <a:gd name="connsiteX0" fmla="*/ 34399 w 67267"/>
                        <a:gd name="connsiteY0" fmla="*/ 66605 h 66605"/>
                        <a:gd name="connsiteX1" fmla="*/ 9370 w 67267"/>
                        <a:gd name="connsiteY1" fmla="*/ 57352 h 66605"/>
                        <a:gd name="connsiteX2" fmla="*/ 2 w 67267"/>
                        <a:gd name="connsiteY2" fmla="*/ 31933 h 66605"/>
                        <a:gd name="connsiteX3" fmla="*/ 9370 w 67267"/>
                        <a:gd name="connsiteY3" fmla="*/ 7110 h 66605"/>
                        <a:gd name="connsiteX4" fmla="*/ 34457 w 67267"/>
                        <a:gd name="connsiteY4" fmla="*/ 1090 h 66605"/>
                        <a:gd name="connsiteX5" fmla="*/ 53742 w 67267"/>
                        <a:gd name="connsiteY5" fmla="*/ 12980 h 66605"/>
                        <a:gd name="connsiteX6" fmla="*/ 65861 w 67267"/>
                        <a:gd name="connsiteY6" fmla="*/ 31612 h 66605"/>
                        <a:gd name="connsiteX7" fmla="*/ 60346 w 67267"/>
                        <a:gd name="connsiteY7" fmla="*/ 56916 h 66605"/>
                        <a:gd name="connsiteX8" fmla="*/ 60346 w 67267"/>
                        <a:gd name="connsiteY8" fmla="*/ 56916 h 66605"/>
                        <a:gd name="connsiteX9" fmla="*/ 34399 w 67267"/>
                        <a:gd name="connsiteY9" fmla="*/ 66605 h 66605"/>
                        <a:gd name="connsiteX10" fmla="*/ 52240 w 67267"/>
                        <a:gd name="connsiteY10" fmla="*/ 48810 h 66605"/>
                        <a:gd name="connsiteX11" fmla="*/ 52354 w 67267"/>
                        <a:gd name="connsiteY11" fmla="*/ 48810 h 66605"/>
                        <a:gd name="connsiteX12" fmla="*/ 52240 w 67267"/>
                        <a:gd name="connsiteY12" fmla="*/ 48810 h 66605"/>
                        <a:gd name="connsiteX13" fmla="*/ 26683 w 67267"/>
                        <a:gd name="connsiteY13" fmla="*/ 22898 h 66605"/>
                        <a:gd name="connsiteX14" fmla="*/ 25582 w 67267"/>
                        <a:gd name="connsiteY14" fmla="*/ 23322 h 66605"/>
                        <a:gd name="connsiteX15" fmla="*/ 22922 w 67267"/>
                        <a:gd name="connsiteY15" fmla="*/ 32162 h 66605"/>
                        <a:gd name="connsiteX16" fmla="*/ 25571 w 67267"/>
                        <a:gd name="connsiteY16" fmla="*/ 41140 h 66605"/>
                        <a:gd name="connsiteX17" fmla="*/ 44122 w 67267"/>
                        <a:gd name="connsiteY17" fmla="*/ 40704 h 66605"/>
                        <a:gd name="connsiteX18" fmla="*/ 44351 w 67267"/>
                        <a:gd name="connsiteY18" fmla="*/ 40440 h 66605"/>
                        <a:gd name="connsiteX19" fmla="*/ 37529 w 67267"/>
                        <a:gd name="connsiteY19" fmla="*/ 29204 h 66605"/>
                        <a:gd name="connsiteX20" fmla="*/ 28288 w 67267"/>
                        <a:gd name="connsiteY20" fmla="*/ 23196 h 66605"/>
                        <a:gd name="connsiteX21" fmla="*/ 26683 w 67267"/>
                        <a:gd name="connsiteY21" fmla="*/ 22898 h 66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7267" h="66605">
                          <a:moveTo>
                            <a:pt x="34399" y="66605"/>
                          </a:moveTo>
                          <a:cubicBezTo>
                            <a:pt x="24940" y="66605"/>
                            <a:pt x="15538" y="63532"/>
                            <a:pt x="9370" y="57352"/>
                          </a:cubicBezTo>
                          <a:cubicBezTo>
                            <a:pt x="3316" y="51310"/>
                            <a:pt x="-101" y="42034"/>
                            <a:pt x="2" y="31933"/>
                          </a:cubicBezTo>
                          <a:cubicBezTo>
                            <a:pt x="94" y="22015"/>
                            <a:pt x="3511" y="12968"/>
                            <a:pt x="9370" y="7110"/>
                          </a:cubicBezTo>
                          <a:cubicBezTo>
                            <a:pt x="15836" y="654"/>
                            <a:pt x="24975" y="-1547"/>
                            <a:pt x="34457" y="1090"/>
                          </a:cubicBezTo>
                          <a:cubicBezTo>
                            <a:pt x="41084" y="2947"/>
                            <a:pt x="47929" y="7167"/>
                            <a:pt x="53742" y="12980"/>
                          </a:cubicBezTo>
                          <a:cubicBezTo>
                            <a:pt x="57847" y="17085"/>
                            <a:pt x="63293" y="23666"/>
                            <a:pt x="65861" y="31612"/>
                          </a:cubicBezTo>
                          <a:cubicBezTo>
                            <a:pt x="68934" y="41117"/>
                            <a:pt x="66916" y="50347"/>
                            <a:pt x="60346" y="56916"/>
                          </a:cubicBezTo>
                          <a:lnTo>
                            <a:pt x="60346" y="56916"/>
                          </a:lnTo>
                          <a:cubicBezTo>
                            <a:pt x="53902" y="63360"/>
                            <a:pt x="44111" y="66605"/>
                            <a:pt x="34399" y="66605"/>
                          </a:cubicBezTo>
                          <a:close/>
                          <a:moveTo>
                            <a:pt x="52240" y="48810"/>
                          </a:moveTo>
                          <a:lnTo>
                            <a:pt x="52354" y="48810"/>
                          </a:lnTo>
                          <a:lnTo>
                            <a:pt x="52240" y="48810"/>
                          </a:lnTo>
                          <a:close/>
                          <a:moveTo>
                            <a:pt x="26683" y="22898"/>
                          </a:moveTo>
                          <a:cubicBezTo>
                            <a:pt x="25995" y="22898"/>
                            <a:pt x="25766" y="23139"/>
                            <a:pt x="25582" y="23322"/>
                          </a:cubicBezTo>
                          <a:cubicBezTo>
                            <a:pt x="24321" y="24572"/>
                            <a:pt x="22957" y="27862"/>
                            <a:pt x="22922" y="32162"/>
                          </a:cubicBezTo>
                          <a:cubicBezTo>
                            <a:pt x="22876" y="36485"/>
                            <a:pt x="24229" y="39787"/>
                            <a:pt x="25571" y="41140"/>
                          </a:cubicBezTo>
                          <a:cubicBezTo>
                            <a:pt x="29033" y="44602"/>
                            <a:pt x="40487" y="44327"/>
                            <a:pt x="44122" y="40704"/>
                          </a:cubicBezTo>
                          <a:cubicBezTo>
                            <a:pt x="44271" y="40555"/>
                            <a:pt x="44328" y="40463"/>
                            <a:pt x="44351" y="40440"/>
                          </a:cubicBezTo>
                          <a:cubicBezTo>
                            <a:pt x="44581" y="39569"/>
                            <a:pt x="43354" y="35028"/>
                            <a:pt x="37529" y="29204"/>
                          </a:cubicBezTo>
                          <a:cubicBezTo>
                            <a:pt x="34548" y="26223"/>
                            <a:pt x="31086" y="23976"/>
                            <a:pt x="28288" y="23196"/>
                          </a:cubicBezTo>
                          <a:cubicBezTo>
                            <a:pt x="27577" y="22978"/>
                            <a:pt x="27061" y="22898"/>
                            <a:pt x="26683" y="22898"/>
                          </a:cubicBezTo>
                          <a:close/>
                        </a:path>
                      </a:pathLst>
                    </a:custGeom>
                    <a:solidFill>
                      <a:schemeClr val="accent1"/>
                    </a:solidFill>
                    <a:ln w="1145" cap="flat">
                      <a:noFill/>
                      <a:prstDash val="solid"/>
                      <a:miter/>
                    </a:ln>
                  </p:spPr>
                  <p:txBody>
                    <a:bodyPr rtlCol="0" anchor="ctr"/>
                    <a:lstStyle/>
                    <a:p>
                      <a:endParaRPr lang="en-GB" dirty="0"/>
                    </a:p>
                  </p:txBody>
                </p:sp>
                <p:sp>
                  <p:nvSpPr>
                    <p:cNvPr id="379" name="Freeform: Shape 378">
                      <a:extLst>
                        <a:ext uri="{FF2B5EF4-FFF2-40B4-BE49-F238E27FC236}">
                          <a16:creationId xmlns:a16="http://schemas.microsoft.com/office/drawing/2014/main" id="{8E4B8A0C-68F3-40A8-B25F-F23019CEFA97}"/>
                        </a:ext>
                      </a:extLst>
                    </p:cNvPr>
                    <p:cNvSpPr/>
                    <p:nvPr/>
                  </p:nvSpPr>
                  <p:spPr>
                    <a:xfrm>
                      <a:off x="3892036" y="4667992"/>
                      <a:ext cx="47072" cy="47069"/>
                    </a:xfrm>
                    <a:custGeom>
                      <a:avLst/>
                      <a:gdLst>
                        <a:gd name="connsiteX0" fmla="*/ 11469 w 47072"/>
                        <a:gd name="connsiteY0" fmla="*/ 47070 h 47069"/>
                        <a:gd name="connsiteX1" fmla="*/ 3362 w 47072"/>
                        <a:gd name="connsiteY1" fmla="*/ 43710 h 47069"/>
                        <a:gd name="connsiteX2" fmla="*/ 3362 w 47072"/>
                        <a:gd name="connsiteY2" fmla="*/ 27498 h 47069"/>
                        <a:gd name="connsiteX3" fmla="*/ 27497 w 47072"/>
                        <a:gd name="connsiteY3" fmla="*/ 3362 h 47069"/>
                        <a:gd name="connsiteX4" fmla="*/ 43710 w 47072"/>
                        <a:gd name="connsiteY4" fmla="*/ 3362 h 47069"/>
                        <a:gd name="connsiteX5" fmla="*/ 43710 w 47072"/>
                        <a:gd name="connsiteY5" fmla="*/ 19575 h 47069"/>
                        <a:gd name="connsiteX6" fmla="*/ 19575 w 47072"/>
                        <a:gd name="connsiteY6" fmla="*/ 43710 h 47069"/>
                        <a:gd name="connsiteX7" fmla="*/ 11469 w 47072"/>
                        <a:gd name="connsiteY7" fmla="*/ 47070 h 4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72" h="47069">
                          <a:moveTo>
                            <a:pt x="11469" y="47070"/>
                          </a:moveTo>
                          <a:cubicBezTo>
                            <a:pt x="8533" y="47070"/>
                            <a:pt x="5598" y="45946"/>
                            <a:pt x="3362" y="43710"/>
                          </a:cubicBezTo>
                          <a:cubicBezTo>
                            <a:pt x="-1121" y="39227"/>
                            <a:pt x="-1121" y="31981"/>
                            <a:pt x="3362" y="27498"/>
                          </a:cubicBezTo>
                          <a:lnTo>
                            <a:pt x="27497" y="3362"/>
                          </a:lnTo>
                          <a:cubicBezTo>
                            <a:pt x="31981" y="-1121"/>
                            <a:pt x="39227" y="-1121"/>
                            <a:pt x="43710" y="3362"/>
                          </a:cubicBezTo>
                          <a:cubicBezTo>
                            <a:pt x="48193" y="7845"/>
                            <a:pt x="48193" y="15092"/>
                            <a:pt x="43710" y="19575"/>
                          </a:cubicBezTo>
                          <a:lnTo>
                            <a:pt x="19575" y="43710"/>
                          </a:lnTo>
                          <a:cubicBezTo>
                            <a:pt x="17339" y="45957"/>
                            <a:pt x="14404" y="47070"/>
                            <a:pt x="11469" y="47070"/>
                          </a:cubicBezTo>
                          <a:close/>
                        </a:path>
                      </a:pathLst>
                    </a:custGeom>
                    <a:solidFill>
                      <a:schemeClr val="accent1"/>
                    </a:solidFill>
                    <a:ln w="1145" cap="flat">
                      <a:noFill/>
                      <a:prstDash val="solid"/>
                      <a:miter/>
                    </a:ln>
                  </p:spPr>
                  <p:txBody>
                    <a:bodyPr rtlCol="0" anchor="ctr"/>
                    <a:lstStyle/>
                    <a:p>
                      <a:endParaRPr lang="en-GB" dirty="0"/>
                    </a:p>
                  </p:txBody>
                </p:sp>
              </p:grpSp>
              <p:grpSp>
                <p:nvGrpSpPr>
                  <p:cNvPr id="375" name="Graphic 48">
                    <a:extLst>
                      <a:ext uri="{FF2B5EF4-FFF2-40B4-BE49-F238E27FC236}">
                        <a16:creationId xmlns:a16="http://schemas.microsoft.com/office/drawing/2014/main" id="{07ABB1D4-1C62-476B-ACD3-AFBB1BC2604D}"/>
                      </a:ext>
                    </a:extLst>
                  </p:cNvPr>
                  <p:cNvGrpSpPr/>
                  <p:nvPr/>
                </p:nvGrpSpPr>
                <p:grpSpPr>
                  <a:xfrm>
                    <a:off x="3676139" y="4629978"/>
                    <a:ext cx="85480" cy="84831"/>
                    <a:chOff x="3676139" y="4629978"/>
                    <a:chExt cx="85480" cy="84831"/>
                  </a:xfrm>
                  <a:solidFill>
                    <a:schemeClr val="accent1"/>
                  </a:solidFill>
                </p:grpSpPr>
                <p:sp>
                  <p:nvSpPr>
                    <p:cNvPr id="376" name="Freeform: Shape 375">
                      <a:extLst>
                        <a:ext uri="{FF2B5EF4-FFF2-40B4-BE49-F238E27FC236}">
                          <a16:creationId xmlns:a16="http://schemas.microsoft.com/office/drawing/2014/main" id="{E69B28CE-58A3-47DA-9FAD-8E74BA2A52BD}"/>
                        </a:ext>
                      </a:extLst>
                    </p:cNvPr>
                    <p:cNvSpPr/>
                    <p:nvPr/>
                  </p:nvSpPr>
                  <p:spPr>
                    <a:xfrm>
                      <a:off x="3676139" y="4629978"/>
                      <a:ext cx="67293" cy="66590"/>
                    </a:xfrm>
                    <a:custGeom>
                      <a:avLst/>
                      <a:gdLst>
                        <a:gd name="connsiteX0" fmla="*/ 32942 w 67293"/>
                        <a:gd name="connsiteY0" fmla="*/ 66590 h 66590"/>
                        <a:gd name="connsiteX1" fmla="*/ 6995 w 67293"/>
                        <a:gd name="connsiteY1" fmla="*/ 56901 h 66590"/>
                        <a:gd name="connsiteX2" fmla="*/ 6995 w 67293"/>
                        <a:gd name="connsiteY2" fmla="*/ 56901 h 66590"/>
                        <a:gd name="connsiteX3" fmla="*/ 13600 w 67293"/>
                        <a:gd name="connsiteY3" fmla="*/ 12965 h 66590"/>
                        <a:gd name="connsiteX4" fmla="*/ 32885 w 67293"/>
                        <a:gd name="connsiteY4" fmla="*/ 1075 h 66590"/>
                        <a:gd name="connsiteX5" fmla="*/ 57972 w 67293"/>
                        <a:gd name="connsiteY5" fmla="*/ 7095 h 66590"/>
                        <a:gd name="connsiteX6" fmla="*/ 57972 w 67293"/>
                        <a:gd name="connsiteY6" fmla="*/ 57337 h 66590"/>
                        <a:gd name="connsiteX7" fmla="*/ 32942 w 67293"/>
                        <a:gd name="connsiteY7" fmla="*/ 66590 h 66590"/>
                        <a:gd name="connsiteX8" fmla="*/ 40659 w 67293"/>
                        <a:gd name="connsiteY8" fmla="*/ 22894 h 66590"/>
                        <a:gd name="connsiteX9" fmla="*/ 39053 w 67293"/>
                        <a:gd name="connsiteY9" fmla="*/ 23170 h 66590"/>
                        <a:gd name="connsiteX10" fmla="*/ 29812 w 67293"/>
                        <a:gd name="connsiteY10" fmla="*/ 29178 h 66590"/>
                        <a:gd name="connsiteX11" fmla="*/ 23001 w 67293"/>
                        <a:gd name="connsiteY11" fmla="*/ 40448 h 66590"/>
                        <a:gd name="connsiteX12" fmla="*/ 15101 w 67293"/>
                        <a:gd name="connsiteY12" fmla="*/ 48795 h 66590"/>
                        <a:gd name="connsiteX13" fmla="*/ 23208 w 67293"/>
                        <a:gd name="connsiteY13" fmla="*/ 40689 h 66590"/>
                        <a:gd name="connsiteX14" fmla="*/ 41759 w 67293"/>
                        <a:gd name="connsiteY14" fmla="*/ 41125 h 66590"/>
                        <a:gd name="connsiteX15" fmla="*/ 41759 w 67293"/>
                        <a:gd name="connsiteY15" fmla="*/ 23307 h 66590"/>
                        <a:gd name="connsiteX16" fmla="*/ 40659 w 67293"/>
                        <a:gd name="connsiteY16" fmla="*/ 22894 h 66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7293" h="66590">
                          <a:moveTo>
                            <a:pt x="32942" y="66590"/>
                          </a:moveTo>
                          <a:cubicBezTo>
                            <a:pt x="23231" y="66590"/>
                            <a:pt x="13450" y="63357"/>
                            <a:pt x="6995" y="56901"/>
                          </a:cubicBezTo>
                          <a:cubicBezTo>
                            <a:pt x="6995" y="56901"/>
                            <a:pt x="6995" y="56901"/>
                            <a:pt x="6995" y="56901"/>
                          </a:cubicBezTo>
                          <a:cubicBezTo>
                            <a:pt x="-4333" y="45562"/>
                            <a:pt x="-1742" y="28318"/>
                            <a:pt x="13600" y="12965"/>
                          </a:cubicBezTo>
                          <a:cubicBezTo>
                            <a:pt x="19413" y="7152"/>
                            <a:pt x="26258" y="2932"/>
                            <a:pt x="32885" y="1075"/>
                          </a:cubicBezTo>
                          <a:cubicBezTo>
                            <a:pt x="42378" y="-1528"/>
                            <a:pt x="51505" y="639"/>
                            <a:pt x="57972" y="7095"/>
                          </a:cubicBezTo>
                          <a:cubicBezTo>
                            <a:pt x="70401" y="19546"/>
                            <a:pt x="70401" y="44897"/>
                            <a:pt x="57972" y="57337"/>
                          </a:cubicBezTo>
                          <a:cubicBezTo>
                            <a:pt x="51792" y="63529"/>
                            <a:pt x="42401" y="66590"/>
                            <a:pt x="32942" y="66590"/>
                          </a:cubicBezTo>
                          <a:close/>
                          <a:moveTo>
                            <a:pt x="40659" y="22894"/>
                          </a:moveTo>
                          <a:cubicBezTo>
                            <a:pt x="40280" y="22894"/>
                            <a:pt x="39764" y="22974"/>
                            <a:pt x="39053" y="23170"/>
                          </a:cubicBezTo>
                          <a:cubicBezTo>
                            <a:pt x="36244" y="23949"/>
                            <a:pt x="32793" y="26208"/>
                            <a:pt x="29812" y="29178"/>
                          </a:cubicBezTo>
                          <a:cubicBezTo>
                            <a:pt x="23987" y="35013"/>
                            <a:pt x="22761" y="39543"/>
                            <a:pt x="23001" y="40448"/>
                          </a:cubicBezTo>
                          <a:lnTo>
                            <a:pt x="15101" y="48795"/>
                          </a:lnTo>
                          <a:lnTo>
                            <a:pt x="23208" y="40689"/>
                          </a:lnTo>
                          <a:cubicBezTo>
                            <a:pt x="26842" y="44312"/>
                            <a:pt x="38274" y="44587"/>
                            <a:pt x="41759" y="41125"/>
                          </a:cubicBezTo>
                          <a:cubicBezTo>
                            <a:pt x="45600" y="37284"/>
                            <a:pt x="45061" y="26609"/>
                            <a:pt x="41759" y="23307"/>
                          </a:cubicBezTo>
                          <a:cubicBezTo>
                            <a:pt x="41576" y="23135"/>
                            <a:pt x="41335" y="22894"/>
                            <a:pt x="40659" y="22894"/>
                          </a:cubicBezTo>
                          <a:close/>
                        </a:path>
                      </a:pathLst>
                    </a:custGeom>
                    <a:solidFill>
                      <a:schemeClr val="accent1"/>
                    </a:solidFill>
                    <a:ln w="1145" cap="flat">
                      <a:noFill/>
                      <a:prstDash val="solid"/>
                      <a:miter/>
                    </a:ln>
                  </p:spPr>
                  <p:txBody>
                    <a:bodyPr rtlCol="0" anchor="ctr"/>
                    <a:lstStyle/>
                    <a:p>
                      <a:endParaRPr lang="en-GB" dirty="0"/>
                    </a:p>
                  </p:txBody>
                </p:sp>
                <p:sp>
                  <p:nvSpPr>
                    <p:cNvPr id="377" name="Freeform: Shape 376">
                      <a:extLst>
                        <a:ext uri="{FF2B5EF4-FFF2-40B4-BE49-F238E27FC236}">
                          <a16:creationId xmlns:a16="http://schemas.microsoft.com/office/drawing/2014/main" id="{87B3EDD9-74CE-49C7-9F71-4601A0C00C05}"/>
                        </a:ext>
                      </a:extLst>
                    </p:cNvPr>
                    <p:cNvSpPr/>
                    <p:nvPr/>
                  </p:nvSpPr>
                  <p:spPr>
                    <a:xfrm>
                      <a:off x="3714547" y="4667740"/>
                      <a:ext cx="47072" cy="47069"/>
                    </a:xfrm>
                    <a:custGeom>
                      <a:avLst/>
                      <a:gdLst>
                        <a:gd name="connsiteX0" fmla="*/ 35604 w 47072"/>
                        <a:gd name="connsiteY0" fmla="*/ 47069 h 47069"/>
                        <a:gd name="connsiteX1" fmla="*/ 27498 w 47072"/>
                        <a:gd name="connsiteY1" fmla="*/ 43710 h 47069"/>
                        <a:gd name="connsiteX2" fmla="*/ 3362 w 47072"/>
                        <a:gd name="connsiteY2" fmla="*/ 19575 h 47069"/>
                        <a:gd name="connsiteX3" fmla="*/ 3362 w 47072"/>
                        <a:gd name="connsiteY3" fmla="*/ 3362 h 47069"/>
                        <a:gd name="connsiteX4" fmla="*/ 19575 w 47072"/>
                        <a:gd name="connsiteY4" fmla="*/ 3362 h 47069"/>
                        <a:gd name="connsiteX5" fmla="*/ 43710 w 47072"/>
                        <a:gd name="connsiteY5" fmla="*/ 27498 h 47069"/>
                        <a:gd name="connsiteX6" fmla="*/ 43710 w 47072"/>
                        <a:gd name="connsiteY6" fmla="*/ 43710 h 47069"/>
                        <a:gd name="connsiteX7" fmla="*/ 35604 w 47072"/>
                        <a:gd name="connsiteY7" fmla="*/ 47069 h 4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72" h="47069">
                          <a:moveTo>
                            <a:pt x="35604" y="47069"/>
                          </a:moveTo>
                          <a:cubicBezTo>
                            <a:pt x="32669" y="47069"/>
                            <a:pt x="29733" y="45946"/>
                            <a:pt x="27498" y="43710"/>
                          </a:cubicBezTo>
                          <a:lnTo>
                            <a:pt x="3362" y="19575"/>
                          </a:lnTo>
                          <a:cubicBezTo>
                            <a:pt x="-1121" y="15092"/>
                            <a:pt x="-1121" y="7845"/>
                            <a:pt x="3362" y="3362"/>
                          </a:cubicBezTo>
                          <a:cubicBezTo>
                            <a:pt x="7845" y="-1121"/>
                            <a:pt x="15092" y="-1121"/>
                            <a:pt x="19575" y="3362"/>
                          </a:cubicBezTo>
                          <a:lnTo>
                            <a:pt x="43710" y="27498"/>
                          </a:lnTo>
                          <a:cubicBezTo>
                            <a:pt x="48193" y="31981"/>
                            <a:pt x="48193" y="39227"/>
                            <a:pt x="43710" y="43710"/>
                          </a:cubicBezTo>
                          <a:cubicBezTo>
                            <a:pt x="41474" y="45946"/>
                            <a:pt x="38539" y="47069"/>
                            <a:pt x="35604" y="47069"/>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355" name="Graphic 48">
                  <a:extLst>
                    <a:ext uri="{FF2B5EF4-FFF2-40B4-BE49-F238E27FC236}">
                      <a16:creationId xmlns:a16="http://schemas.microsoft.com/office/drawing/2014/main" id="{41048647-5F23-4190-8FA7-91D8B5AD5371}"/>
                    </a:ext>
                  </a:extLst>
                </p:cNvPr>
                <p:cNvGrpSpPr/>
                <p:nvPr/>
              </p:nvGrpSpPr>
              <p:grpSpPr>
                <a:xfrm>
                  <a:off x="3676127" y="4845263"/>
                  <a:ext cx="301305" cy="128659"/>
                  <a:chOff x="3676127" y="4845263"/>
                  <a:chExt cx="301305" cy="128659"/>
                </a:xfrm>
                <a:solidFill>
                  <a:schemeClr val="accent1"/>
                </a:solidFill>
              </p:grpSpPr>
              <p:grpSp>
                <p:nvGrpSpPr>
                  <p:cNvPr id="364" name="Graphic 48">
                    <a:extLst>
                      <a:ext uri="{FF2B5EF4-FFF2-40B4-BE49-F238E27FC236}">
                        <a16:creationId xmlns:a16="http://schemas.microsoft.com/office/drawing/2014/main" id="{FD999964-9CC5-427C-B944-30C1ECF609E6}"/>
                      </a:ext>
                    </a:extLst>
                  </p:cNvPr>
                  <p:cNvGrpSpPr/>
                  <p:nvPr/>
                </p:nvGrpSpPr>
                <p:grpSpPr>
                  <a:xfrm>
                    <a:off x="3791210" y="4877014"/>
                    <a:ext cx="71270" cy="96907"/>
                    <a:chOff x="3791210" y="4877014"/>
                    <a:chExt cx="71270" cy="96907"/>
                  </a:xfrm>
                  <a:solidFill>
                    <a:schemeClr val="accent1"/>
                  </a:solidFill>
                </p:grpSpPr>
                <p:sp>
                  <p:nvSpPr>
                    <p:cNvPr id="371" name="Freeform: Shape 370">
                      <a:extLst>
                        <a:ext uri="{FF2B5EF4-FFF2-40B4-BE49-F238E27FC236}">
                          <a16:creationId xmlns:a16="http://schemas.microsoft.com/office/drawing/2014/main" id="{97952D6A-D9C9-4AA8-BD9C-B494EFB96BB8}"/>
                        </a:ext>
                      </a:extLst>
                    </p:cNvPr>
                    <p:cNvSpPr/>
                    <p:nvPr/>
                  </p:nvSpPr>
                  <p:spPr>
                    <a:xfrm>
                      <a:off x="3791210" y="4911159"/>
                      <a:ext cx="71270" cy="62763"/>
                    </a:xfrm>
                    <a:custGeom>
                      <a:avLst/>
                      <a:gdLst>
                        <a:gd name="connsiteX0" fmla="*/ 35532 w 71270"/>
                        <a:gd name="connsiteY0" fmla="*/ 62763 h 62763"/>
                        <a:gd name="connsiteX1" fmla="*/ 0 w 71270"/>
                        <a:gd name="connsiteY1" fmla="*/ 35532 h 62763"/>
                        <a:gd name="connsiteX2" fmla="*/ 35532 w 71270"/>
                        <a:gd name="connsiteY2" fmla="*/ 0 h 62763"/>
                        <a:gd name="connsiteX3" fmla="*/ 71271 w 71270"/>
                        <a:gd name="connsiteY3" fmla="*/ 36358 h 62763"/>
                        <a:gd name="connsiteX4" fmla="*/ 35532 w 71270"/>
                        <a:gd name="connsiteY4" fmla="*/ 62763 h 62763"/>
                        <a:gd name="connsiteX5" fmla="*/ 35532 w 71270"/>
                        <a:gd name="connsiteY5" fmla="*/ 22931 h 62763"/>
                        <a:gd name="connsiteX6" fmla="*/ 22931 w 71270"/>
                        <a:gd name="connsiteY6" fmla="*/ 35532 h 62763"/>
                        <a:gd name="connsiteX7" fmla="*/ 35532 w 71270"/>
                        <a:gd name="connsiteY7" fmla="*/ 39832 h 62763"/>
                        <a:gd name="connsiteX8" fmla="*/ 48316 w 71270"/>
                        <a:gd name="connsiteY8" fmla="*/ 36690 h 62763"/>
                        <a:gd name="connsiteX9" fmla="*/ 48328 w 71270"/>
                        <a:gd name="connsiteY9" fmla="*/ 36369 h 62763"/>
                        <a:gd name="connsiteX10" fmla="*/ 35532 w 71270"/>
                        <a:gd name="connsiteY10" fmla="*/ 22931 h 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1270" h="62763">
                          <a:moveTo>
                            <a:pt x="35532" y="62763"/>
                          </a:moveTo>
                          <a:cubicBezTo>
                            <a:pt x="14619" y="62763"/>
                            <a:pt x="0" y="51561"/>
                            <a:pt x="0" y="35532"/>
                          </a:cubicBezTo>
                          <a:cubicBezTo>
                            <a:pt x="0" y="17932"/>
                            <a:pt x="17932" y="0"/>
                            <a:pt x="35532" y="0"/>
                          </a:cubicBezTo>
                          <a:cubicBezTo>
                            <a:pt x="53235" y="0"/>
                            <a:pt x="71271" y="18357"/>
                            <a:pt x="71271" y="36358"/>
                          </a:cubicBezTo>
                          <a:cubicBezTo>
                            <a:pt x="71271" y="52387"/>
                            <a:pt x="57248" y="62763"/>
                            <a:pt x="35532" y="62763"/>
                          </a:cubicBezTo>
                          <a:close/>
                          <a:moveTo>
                            <a:pt x="35532" y="22931"/>
                          </a:moveTo>
                          <a:cubicBezTo>
                            <a:pt x="30097" y="22931"/>
                            <a:pt x="22931" y="30854"/>
                            <a:pt x="22931" y="35532"/>
                          </a:cubicBezTo>
                          <a:cubicBezTo>
                            <a:pt x="22931" y="37481"/>
                            <a:pt x="28550" y="39832"/>
                            <a:pt x="35532" y="39832"/>
                          </a:cubicBezTo>
                          <a:cubicBezTo>
                            <a:pt x="43776" y="39832"/>
                            <a:pt x="47846" y="37493"/>
                            <a:pt x="48316" y="36690"/>
                          </a:cubicBezTo>
                          <a:lnTo>
                            <a:pt x="48328" y="36369"/>
                          </a:lnTo>
                          <a:cubicBezTo>
                            <a:pt x="48339" y="31221"/>
                            <a:pt x="40439" y="22931"/>
                            <a:pt x="35532" y="22931"/>
                          </a:cubicBezTo>
                          <a:close/>
                        </a:path>
                      </a:pathLst>
                    </a:custGeom>
                    <a:solidFill>
                      <a:schemeClr val="accent1"/>
                    </a:solidFill>
                    <a:ln w="1145" cap="flat">
                      <a:noFill/>
                      <a:prstDash val="solid"/>
                      <a:miter/>
                    </a:ln>
                  </p:spPr>
                  <p:txBody>
                    <a:bodyPr rtlCol="0" anchor="ctr"/>
                    <a:lstStyle/>
                    <a:p>
                      <a:endParaRPr lang="en-GB" dirty="0"/>
                    </a:p>
                  </p:txBody>
                </p:sp>
                <p:sp>
                  <p:nvSpPr>
                    <p:cNvPr id="372" name="Freeform: Shape 371">
                      <a:extLst>
                        <a:ext uri="{FF2B5EF4-FFF2-40B4-BE49-F238E27FC236}">
                          <a16:creationId xmlns:a16="http://schemas.microsoft.com/office/drawing/2014/main" id="{B1C2D268-A14F-42CD-AA9E-A9E35BD1179E}"/>
                        </a:ext>
                      </a:extLst>
                    </p:cNvPr>
                    <p:cNvSpPr/>
                    <p:nvPr/>
                  </p:nvSpPr>
                  <p:spPr>
                    <a:xfrm>
                      <a:off x="3815265" y="4877014"/>
                      <a:ext cx="22931" cy="57075"/>
                    </a:xfrm>
                    <a:custGeom>
                      <a:avLst/>
                      <a:gdLst>
                        <a:gd name="connsiteX0" fmla="*/ 11466 w 22931"/>
                        <a:gd name="connsiteY0" fmla="*/ 57076 h 57075"/>
                        <a:gd name="connsiteX1" fmla="*/ 0 w 22931"/>
                        <a:gd name="connsiteY1" fmla="*/ 45610 h 57075"/>
                        <a:gd name="connsiteX2" fmla="*/ 0 w 22931"/>
                        <a:gd name="connsiteY2" fmla="*/ 11466 h 57075"/>
                        <a:gd name="connsiteX3" fmla="*/ 11466 w 22931"/>
                        <a:gd name="connsiteY3" fmla="*/ 0 h 57075"/>
                        <a:gd name="connsiteX4" fmla="*/ 22931 w 22931"/>
                        <a:gd name="connsiteY4" fmla="*/ 11466 h 57075"/>
                        <a:gd name="connsiteX5" fmla="*/ 22931 w 22931"/>
                        <a:gd name="connsiteY5" fmla="*/ 45610 h 57075"/>
                        <a:gd name="connsiteX6" fmla="*/ 11466 w 22931"/>
                        <a:gd name="connsiteY6" fmla="*/ 57076 h 5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57075">
                          <a:moveTo>
                            <a:pt x="11466" y="57076"/>
                          </a:moveTo>
                          <a:cubicBezTo>
                            <a:pt x="5137" y="57076"/>
                            <a:pt x="0" y="51951"/>
                            <a:pt x="0" y="45610"/>
                          </a:cubicBezTo>
                          <a:lnTo>
                            <a:pt x="0" y="11466"/>
                          </a:lnTo>
                          <a:cubicBezTo>
                            <a:pt x="0" y="5125"/>
                            <a:pt x="5137" y="0"/>
                            <a:pt x="11466" y="0"/>
                          </a:cubicBezTo>
                          <a:cubicBezTo>
                            <a:pt x="17795" y="0"/>
                            <a:pt x="22931" y="5125"/>
                            <a:pt x="22931" y="11466"/>
                          </a:cubicBezTo>
                          <a:lnTo>
                            <a:pt x="22931" y="45610"/>
                          </a:lnTo>
                          <a:cubicBezTo>
                            <a:pt x="22931" y="51951"/>
                            <a:pt x="17795" y="57076"/>
                            <a:pt x="11466" y="57076"/>
                          </a:cubicBezTo>
                          <a:close/>
                        </a:path>
                      </a:pathLst>
                    </a:custGeom>
                    <a:solidFill>
                      <a:schemeClr val="accent1"/>
                    </a:solidFill>
                    <a:ln w="1145" cap="flat">
                      <a:noFill/>
                      <a:prstDash val="solid"/>
                      <a:miter/>
                    </a:ln>
                  </p:spPr>
                  <p:txBody>
                    <a:bodyPr rtlCol="0" anchor="ctr"/>
                    <a:lstStyle/>
                    <a:p>
                      <a:endParaRPr lang="en-GB" dirty="0"/>
                    </a:p>
                  </p:txBody>
                </p:sp>
              </p:grpSp>
              <p:grpSp>
                <p:nvGrpSpPr>
                  <p:cNvPr id="365" name="Graphic 48">
                    <a:extLst>
                      <a:ext uri="{FF2B5EF4-FFF2-40B4-BE49-F238E27FC236}">
                        <a16:creationId xmlns:a16="http://schemas.microsoft.com/office/drawing/2014/main" id="{4D011A2D-4BEF-4F1F-AC80-EACC45776850}"/>
                      </a:ext>
                    </a:extLst>
                  </p:cNvPr>
                  <p:cNvGrpSpPr/>
                  <p:nvPr/>
                </p:nvGrpSpPr>
                <p:grpSpPr>
                  <a:xfrm>
                    <a:off x="3892036" y="4845263"/>
                    <a:ext cx="85397" cy="84848"/>
                    <a:chOff x="3892036" y="4845263"/>
                    <a:chExt cx="85397" cy="84848"/>
                  </a:xfrm>
                  <a:solidFill>
                    <a:schemeClr val="accent1"/>
                  </a:solidFill>
                </p:grpSpPr>
                <p:sp>
                  <p:nvSpPr>
                    <p:cNvPr id="369" name="Freeform: Shape 368">
                      <a:extLst>
                        <a:ext uri="{FF2B5EF4-FFF2-40B4-BE49-F238E27FC236}">
                          <a16:creationId xmlns:a16="http://schemas.microsoft.com/office/drawing/2014/main" id="{E82C46E7-B6B8-4BCB-A7B0-B4A941B366FC}"/>
                        </a:ext>
                      </a:extLst>
                    </p:cNvPr>
                    <p:cNvSpPr/>
                    <p:nvPr/>
                  </p:nvSpPr>
                  <p:spPr>
                    <a:xfrm>
                      <a:off x="3910164" y="4863489"/>
                      <a:ext cx="67269" cy="66623"/>
                    </a:xfrm>
                    <a:custGeom>
                      <a:avLst/>
                      <a:gdLst>
                        <a:gd name="connsiteX0" fmla="*/ 26694 w 67269"/>
                        <a:gd name="connsiteY0" fmla="*/ 66623 h 66623"/>
                        <a:gd name="connsiteX1" fmla="*/ 9369 w 67269"/>
                        <a:gd name="connsiteY1" fmla="*/ 59503 h 66623"/>
                        <a:gd name="connsiteX2" fmla="*/ 2 w 67269"/>
                        <a:gd name="connsiteY2" fmla="*/ 34679 h 66623"/>
                        <a:gd name="connsiteX3" fmla="*/ 9369 w 67269"/>
                        <a:gd name="connsiteY3" fmla="*/ 9260 h 66623"/>
                        <a:gd name="connsiteX4" fmla="*/ 60346 w 67269"/>
                        <a:gd name="connsiteY4" fmla="*/ 9696 h 66623"/>
                        <a:gd name="connsiteX5" fmla="*/ 60346 w 67269"/>
                        <a:gd name="connsiteY5" fmla="*/ 9696 h 66623"/>
                        <a:gd name="connsiteX6" fmla="*/ 65861 w 67269"/>
                        <a:gd name="connsiteY6" fmla="*/ 35001 h 66623"/>
                        <a:gd name="connsiteX7" fmla="*/ 53741 w 67269"/>
                        <a:gd name="connsiteY7" fmla="*/ 53632 h 66623"/>
                        <a:gd name="connsiteX8" fmla="*/ 34456 w 67269"/>
                        <a:gd name="connsiteY8" fmla="*/ 65522 h 66623"/>
                        <a:gd name="connsiteX9" fmla="*/ 26694 w 67269"/>
                        <a:gd name="connsiteY9" fmla="*/ 66623 h 66623"/>
                        <a:gd name="connsiteX10" fmla="*/ 34250 w 67269"/>
                        <a:gd name="connsiteY10" fmla="*/ 23031 h 66623"/>
                        <a:gd name="connsiteX11" fmla="*/ 25605 w 67269"/>
                        <a:gd name="connsiteY11" fmla="*/ 25484 h 66623"/>
                        <a:gd name="connsiteX12" fmla="*/ 22956 w 67269"/>
                        <a:gd name="connsiteY12" fmla="*/ 34461 h 66623"/>
                        <a:gd name="connsiteX13" fmla="*/ 25605 w 67269"/>
                        <a:gd name="connsiteY13" fmla="*/ 43301 h 66623"/>
                        <a:gd name="connsiteX14" fmla="*/ 28310 w 67269"/>
                        <a:gd name="connsiteY14" fmla="*/ 43451 h 66623"/>
                        <a:gd name="connsiteX15" fmla="*/ 37540 w 67269"/>
                        <a:gd name="connsiteY15" fmla="*/ 37443 h 66623"/>
                        <a:gd name="connsiteX16" fmla="*/ 44362 w 67269"/>
                        <a:gd name="connsiteY16" fmla="*/ 26172 h 66623"/>
                        <a:gd name="connsiteX17" fmla="*/ 52251 w 67269"/>
                        <a:gd name="connsiteY17" fmla="*/ 17825 h 66623"/>
                        <a:gd name="connsiteX18" fmla="*/ 44145 w 67269"/>
                        <a:gd name="connsiteY18" fmla="*/ 25931 h 66623"/>
                        <a:gd name="connsiteX19" fmla="*/ 34250 w 67269"/>
                        <a:gd name="connsiteY19" fmla="*/ 23031 h 6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69" h="66623">
                          <a:moveTo>
                            <a:pt x="26694" y="66623"/>
                          </a:moveTo>
                          <a:cubicBezTo>
                            <a:pt x="20113" y="66623"/>
                            <a:pt x="14047" y="64169"/>
                            <a:pt x="9369" y="59503"/>
                          </a:cubicBezTo>
                          <a:cubicBezTo>
                            <a:pt x="3510" y="53644"/>
                            <a:pt x="93" y="44598"/>
                            <a:pt x="2" y="34679"/>
                          </a:cubicBezTo>
                          <a:cubicBezTo>
                            <a:pt x="-90" y="24579"/>
                            <a:pt x="3327" y="15314"/>
                            <a:pt x="9369" y="9260"/>
                          </a:cubicBezTo>
                          <a:cubicBezTo>
                            <a:pt x="21867" y="-3272"/>
                            <a:pt x="47596" y="-3043"/>
                            <a:pt x="60346" y="9696"/>
                          </a:cubicBezTo>
                          <a:lnTo>
                            <a:pt x="60346" y="9696"/>
                          </a:lnTo>
                          <a:cubicBezTo>
                            <a:pt x="66927" y="16266"/>
                            <a:pt x="68933" y="25496"/>
                            <a:pt x="65861" y="35001"/>
                          </a:cubicBezTo>
                          <a:cubicBezTo>
                            <a:pt x="63292" y="42947"/>
                            <a:pt x="57858" y="49528"/>
                            <a:pt x="53741" y="53632"/>
                          </a:cubicBezTo>
                          <a:cubicBezTo>
                            <a:pt x="47928" y="59445"/>
                            <a:pt x="41083" y="63665"/>
                            <a:pt x="34456" y="65522"/>
                          </a:cubicBezTo>
                          <a:cubicBezTo>
                            <a:pt x="31842" y="66256"/>
                            <a:pt x="29228" y="66623"/>
                            <a:pt x="26694" y="66623"/>
                          </a:cubicBezTo>
                          <a:close/>
                          <a:moveTo>
                            <a:pt x="34250" y="23031"/>
                          </a:moveTo>
                          <a:cubicBezTo>
                            <a:pt x="30695" y="23031"/>
                            <a:pt x="27244" y="23833"/>
                            <a:pt x="25605" y="25484"/>
                          </a:cubicBezTo>
                          <a:cubicBezTo>
                            <a:pt x="24252" y="26837"/>
                            <a:pt x="22910" y="30139"/>
                            <a:pt x="22956" y="34461"/>
                          </a:cubicBezTo>
                          <a:cubicBezTo>
                            <a:pt x="22990" y="38750"/>
                            <a:pt x="24355" y="42041"/>
                            <a:pt x="25605" y="43301"/>
                          </a:cubicBezTo>
                          <a:cubicBezTo>
                            <a:pt x="25880" y="43577"/>
                            <a:pt x="26304" y="44024"/>
                            <a:pt x="28310" y="43451"/>
                          </a:cubicBezTo>
                          <a:cubicBezTo>
                            <a:pt x="31108" y="42671"/>
                            <a:pt x="34559" y="40412"/>
                            <a:pt x="37540" y="37443"/>
                          </a:cubicBezTo>
                          <a:cubicBezTo>
                            <a:pt x="43376" y="31607"/>
                            <a:pt x="44592" y="27078"/>
                            <a:pt x="44362" y="26172"/>
                          </a:cubicBezTo>
                          <a:lnTo>
                            <a:pt x="52251" y="17825"/>
                          </a:lnTo>
                          <a:lnTo>
                            <a:pt x="44145" y="25931"/>
                          </a:lnTo>
                          <a:cubicBezTo>
                            <a:pt x="42230" y="24005"/>
                            <a:pt x="38171" y="23031"/>
                            <a:pt x="34250" y="23031"/>
                          </a:cubicBezTo>
                          <a:close/>
                        </a:path>
                      </a:pathLst>
                    </a:custGeom>
                    <a:solidFill>
                      <a:schemeClr val="accent1"/>
                    </a:solidFill>
                    <a:ln w="1145" cap="flat">
                      <a:noFill/>
                      <a:prstDash val="solid"/>
                      <a:miter/>
                    </a:ln>
                  </p:spPr>
                  <p:txBody>
                    <a:bodyPr rtlCol="0" anchor="ctr"/>
                    <a:lstStyle/>
                    <a:p>
                      <a:endParaRPr lang="en-GB" dirty="0"/>
                    </a:p>
                  </p:txBody>
                </p:sp>
                <p:sp>
                  <p:nvSpPr>
                    <p:cNvPr id="370" name="Freeform: Shape 369">
                      <a:extLst>
                        <a:ext uri="{FF2B5EF4-FFF2-40B4-BE49-F238E27FC236}">
                          <a16:creationId xmlns:a16="http://schemas.microsoft.com/office/drawing/2014/main" id="{D7949E6A-EFD3-4FA0-9A85-E177E92749DD}"/>
                        </a:ext>
                      </a:extLst>
                    </p:cNvPr>
                    <p:cNvSpPr/>
                    <p:nvPr/>
                  </p:nvSpPr>
                  <p:spPr>
                    <a:xfrm>
                      <a:off x="3892036" y="4845263"/>
                      <a:ext cx="47072" cy="47069"/>
                    </a:xfrm>
                    <a:custGeom>
                      <a:avLst/>
                      <a:gdLst>
                        <a:gd name="connsiteX0" fmla="*/ 35604 w 47072"/>
                        <a:gd name="connsiteY0" fmla="*/ 47069 h 47069"/>
                        <a:gd name="connsiteX1" fmla="*/ 27497 w 47072"/>
                        <a:gd name="connsiteY1" fmla="*/ 43710 h 47069"/>
                        <a:gd name="connsiteX2" fmla="*/ 3362 w 47072"/>
                        <a:gd name="connsiteY2" fmla="*/ 19575 h 47069"/>
                        <a:gd name="connsiteX3" fmla="*/ 3362 w 47072"/>
                        <a:gd name="connsiteY3" fmla="*/ 3362 h 47069"/>
                        <a:gd name="connsiteX4" fmla="*/ 19575 w 47072"/>
                        <a:gd name="connsiteY4" fmla="*/ 3362 h 47069"/>
                        <a:gd name="connsiteX5" fmla="*/ 43710 w 47072"/>
                        <a:gd name="connsiteY5" fmla="*/ 27498 h 47069"/>
                        <a:gd name="connsiteX6" fmla="*/ 43710 w 47072"/>
                        <a:gd name="connsiteY6" fmla="*/ 43710 h 47069"/>
                        <a:gd name="connsiteX7" fmla="*/ 35604 w 47072"/>
                        <a:gd name="connsiteY7" fmla="*/ 47069 h 4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72" h="47069">
                          <a:moveTo>
                            <a:pt x="35604" y="47069"/>
                          </a:moveTo>
                          <a:cubicBezTo>
                            <a:pt x="32669" y="47069"/>
                            <a:pt x="29733" y="45946"/>
                            <a:pt x="27497" y="43710"/>
                          </a:cubicBezTo>
                          <a:lnTo>
                            <a:pt x="3362" y="19575"/>
                          </a:lnTo>
                          <a:cubicBezTo>
                            <a:pt x="-1121" y="15091"/>
                            <a:pt x="-1121" y="7845"/>
                            <a:pt x="3362" y="3362"/>
                          </a:cubicBezTo>
                          <a:cubicBezTo>
                            <a:pt x="7845" y="-1121"/>
                            <a:pt x="15092" y="-1121"/>
                            <a:pt x="19575" y="3362"/>
                          </a:cubicBezTo>
                          <a:lnTo>
                            <a:pt x="43710" y="27498"/>
                          </a:lnTo>
                          <a:cubicBezTo>
                            <a:pt x="48193" y="31980"/>
                            <a:pt x="48193" y="39227"/>
                            <a:pt x="43710" y="43710"/>
                          </a:cubicBezTo>
                          <a:cubicBezTo>
                            <a:pt x="41474" y="45957"/>
                            <a:pt x="38539" y="47069"/>
                            <a:pt x="35604" y="47069"/>
                          </a:cubicBezTo>
                          <a:close/>
                        </a:path>
                      </a:pathLst>
                    </a:custGeom>
                    <a:solidFill>
                      <a:schemeClr val="accent1"/>
                    </a:solidFill>
                    <a:ln w="1145" cap="flat">
                      <a:noFill/>
                      <a:prstDash val="solid"/>
                      <a:miter/>
                    </a:ln>
                  </p:spPr>
                  <p:txBody>
                    <a:bodyPr rtlCol="0" anchor="ctr"/>
                    <a:lstStyle/>
                    <a:p>
                      <a:endParaRPr lang="en-GB" dirty="0"/>
                    </a:p>
                  </p:txBody>
                </p:sp>
              </p:grpSp>
              <p:grpSp>
                <p:nvGrpSpPr>
                  <p:cNvPr id="366" name="Graphic 48">
                    <a:extLst>
                      <a:ext uri="{FF2B5EF4-FFF2-40B4-BE49-F238E27FC236}">
                        <a16:creationId xmlns:a16="http://schemas.microsoft.com/office/drawing/2014/main" id="{ED39AAE2-7941-4008-8862-E9E948C6CF03}"/>
                      </a:ext>
                    </a:extLst>
                  </p:cNvPr>
                  <p:cNvGrpSpPr/>
                  <p:nvPr/>
                </p:nvGrpSpPr>
                <p:grpSpPr>
                  <a:xfrm>
                    <a:off x="3676127" y="4845527"/>
                    <a:ext cx="85492" cy="84837"/>
                    <a:chOff x="3676127" y="4845527"/>
                    <a:chExt cx="85492" cy="84837"/>
                  </a:xfrm>
                  <a:solidFill>
                    <a:schemeClr val="accent1"/>
                  </a:solidFill>
                </p:grpSpPr>
                <p:sp>
                  <p:nvSpPr>
                    <p:cNvPr id="367" name="Freeform: Shape 366">
                      <a:extLst>
                        <a:ext uri="{FF2B5EF4-FFF2-40B4-BE49-F238E27FC236}">
                          <a16:creationId xmlns:a16="http://schemas.microsoft.com/office/drawing/2014/main" id="{6B14F723-98BF-4EFD-BBAE-47D229FA2641}"/>
                        </a:ext>
                      </a:extLst>
                    </p:cNvPr>
                    <p:cNvSpPr/>
                    <p:nvPr/>
                  </p:nvSpPr>
                  <p:spPr>
                    <a:xfrm>
                      <a:off x="3676127" y="4863852"/>
                      <a:ext cx="67301" cy="66512"/>
                    </a:xfrm>
                    <a:custGeom>
                      <a:avLst/>
                      <a:gdLst>
                        <a:gd name="connsiteX0" fmla="*/ 40750 w 67301"/>
                        <a:gd name="connsiteY0" fmla="*/ 66512 h 66512"/>
                        <a:gd name="connsiteX1" fmla="*/ 13600 w 67301"/>
                        <a:gd name="connsiteY1" fmla="*/ 53533 h 66512"/>
                        <a:gd name="connsiteX2" fmla="*/ 6995 w 67301"/>
                        <a:gd name="connsiteY2" fmla="*/ 9597 h 66512"/>
                        <a:gd name="connsiteX3" fmla="*/ 32013 w 67301"/>
                        <a:gd name="connsiteY3" fmla="*/ 0 h 66512"/>
                        <a:gd name="connsiteX4" fmla="*/ 57972 w 67301"/>
                        <a:gd name="connsiteY4" fmla="*/ 9161 h 66512"/>
                        <a:gd name="connsiteX5" fmla="*/ 57972 w 67301"/>
                        <a:gd name="connsiteY5" fmla="*/ 59404 h 66512"/>
                        <a:gd name="connsiteX6" fmla="*/ 40750 w 67301"/>
                        <a:gd name="connsiteY6" fmla="*/ 66512 h 66512"/>
                        <a:gd name="connsiteX7" fmla="*/ 33171 w 67301"/>
                        <a:gd name="connsiteY7" fmla="*/ 22920 h 66512"/>
                        <a:gd name="connsiteX8" fmla="*/ 32598 w 67301"/>
                        <a:gd name="connsiteY8" fmla="*/ 22931 h 66512"/>
                        <a:gd name="connsiteX9" fmla="*/ 23219 w 67301"/>
                        <a:gd name="connsiteY9" fmla="*/ 25809 h 66512"/>
                        <a:gd name="connsiteX10" fmla="*/ 22990 w 67301"/>
                        <a:gd name="connsiteY10" fmla="*/ 26073 h 66512"/>
                        <a:gd name="connsiteX11" fmla="*/ 29812 w 67301"/>
                        <a:gd name="connsiteY11" fmla="*/ 37309 h 66512"/>
                        <a:gd name="connsiteX12" fmla="*/ 41759 w 67301"/>
                        <a:gd name="connsiteY12" fmla="*/ 43179 h 66512"/>
                        <a:gd name="connsiteX13" fmla="*/ 41759 w 67301"/>
                        <a:gd name="connsiteY13" fmla="*/ 25362 h 66512"/>
                        <a:gd name="connsiteX14" fmla="*/ 33171 w 67301"/>
                        <a:gd name="connsiteY14" fmla="*/ 22920 h 66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7301" h="66512">
                          <a:moveTo>
                            <a:pt x="40750" y="66512"/>
                          </a:moveTo>
                          <a:cubicBezTo>
                            <a:pt x="31887" y="66512"/>
                            <a:pt x="22164" y="62098"/>
                            <a:pt x="13600" y="53533"/>
                          </a:cubicBezTo>
                          <a:cubicBezTo>
                            <a:pt x="-1742" y="38180"/>
                            <a:pt x="-4333" y="20936"/>
                            <a:pt x="6995" y="9597"/>
                          </a:cubicBezTo>
                          <a:cubicBezTo>
                            <a:pt x="12831" y="3749"/>
                            <a:pt x="21958" y="264"/>
                            <a:pt x="32013" y="0"/>
                          </a:cubicBezTo>
                          <a:cubicBezTo>
                            <a:pt x="42619" y="-12"/>
                            <a:pt x="51895" y="3084"/>
                            <a:pt x="57972" y="9161"/>
                          </a:cubicBezTo>
                          <a:cubicBezTo>
                            <a:pt x="70412" y="21601"/>
                            <a:pt x="70412" y="46952"/>
                            <a:pt x="57972" y="59404"/>
                          </a:cubicBezTo>
                          <a:cubicBezTo>
                            <a:pt x="53202" y="64173"/>
                            <a:pt x="47205" y="66512"/>
                            <a:pt x="40750" y="66512"/>
                          </a:cubicBezTo>
                          <a:close/>
                          <a:moveTo>
                            <a:pt x="33171" y="22920"/>
                          </a:moveTo>
                          <a:cubicBezTo>
                            <a:pt x="32977" y="22920"/>
                            <a:pt x="32793" y="22920"/>
                            <a:pt x="32598" y="22931"/>
                          </a:cubicBezTo>
                          <a:cubicBezTo>
                            <a:pt x="28218" y="23046"/>
                            <a:pt x="24561" y="24468"/>
                            <a:pt x="23219" y="25809"/>
                          </a:cubicBezTo>
                          <a:cubicBezTo>
                            <a:pt x="23070" y="25958"/>
                            <a:pt x="23001" y="26050"/>
                            <a:pt x="22990" y="26073"/>
                          </a:cubicBezTo>
                          <a:cubicBezTo>
                            <a:pt x="22761" y="26944"/>
                            <a:pt x="23976" y="31485"/>
                            <a:pt x="29812" y="37309"/>
                          </a:cubicBezTo>
                          <a:cubicBezTo>
                            <a:pt x="34754" y="42262"/>
                            <a:pt x="40383" y="44498"/>
                            <a:pt x="41759" y="43179"/>
                          </a:cubicBezTo>
                          <a:cubicBezTo>
                            <a:pt x="45061" y="39877"/>
                            <a:pt x="45600" y="29203"/>
                            <a:pt x="41759" y="25362"/>
                          </a:cubicBezTo>
                          <a:cubicBezTo>
                            <a:pt x="40521" y="24124"/>
                            <a:pt x="37414" y="22920"/>
                            <a:pt x="33171" y="22920"/>
                          </a:cubicBezTo>
                          <a:close/>
                        </a:path>
                      </a:pathLst>
                    </a:custGeom>
                    <a:solidFill>
                      <a:schemeClr val="accent1"/>
                    </a:solidFill>
                    <a:ln w="1145" cap="flat">
                      <a:noFill/>
                      <a:prstDash val="solid"/>
                      <a:miter/>
                    </a:ln>
                  </p:spPr>
                  <p:txBody>
                    <a:bodyPr rtlCol="0" anchor="ctr"/>
                    <a:lstStyle/>
                    <a:p>
                      <a:endParaRPr lang="en-GB" dirty="0"/>
                    </a:p>
                  </p:txBody>
                </p:sp>
                <p:sp>
                  <p:nvSpPr>
                    <p:cNvPr id="368" name="Freeform: Shape 367">
                      <a:extLst>
                        <a:ext uri="{FF2B5EF4-FFF2-40B4-BE49-F238E27FC236}">
                          <a16:creationId xmlns:a16="http://schemas.microsoft.com/office/drawing/2014/main" id="{21274B1E-937E-4859-912F-65D630334FB9}"/>
                        </a:ext>
                      </a:extLst>
                    </p:cNvPr>
                    <p:cNvSpPr/>
                    <p:nvPr/>
                  </p:nvSpPr>
                  <p:spPr>
                    <a:xfrm>
                      <a:off x="3714547" y="4845527"/>
                      <a:ext cx="47072" cy="47069"/>
                    </a:xfrm>
                    <a:custGeom>
                      <a:avLst/>
                      <a:gdLst>
                        <a:gd name="connsiteX0" fmla="*/ 11469 w 47072"/>
                        <a:gd name="connsiteY0" fmla="*/ 47069 h 47069"/>
                        <a:gd name="connsiteX1" fmla="*/ 3362 w 47072"/>
                        <a:gd name="connsiteY1" fmla="*/ 43710 h 47069"/>
                        <a:gd name="connsiteX2" fmla="*/ 3362 w 47072"/>
                        <a:gd name="connsiteY2" fmla="*/ 27498 h 47069"/>
                        <a:gd name="connsiteX3" fmla="*/ 27498 w 47072"/>
                        <a:gd name="connsiteY3" fmla="*/ 3362 h 47069"/>
                        <a:gd name="connsiteX4" fmla="*/ 43710 w 47072"/>
                        <a:gd name="connsiteY4" fmla="*/ 3362 h 47069"/>
                        <a:gd name="connsiteX5" fmla="*/ 43710 w 47072"/>
                        <a:gd name="connsiteY5" fmla="*/ 19575 h 47069"/>
                        <a:gd name="connsiteX6" fmla="*/ 19575 w 47072"/>
                        <a:gd name="connsiteY6" fmla="*/ 43710 h 47069"/>
                        <a:gd name="connsiteX7" fmla="*/ 11469 w 47072"/>
                        <a:gd name="connsiteY7" fmla="*/ 47069 h 4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72" h="47069">
                          <a:moveTo>
                            <a:pt x="11469" y="47069"/>
                          </a:moveTo>
                          <a:cubicBezTo>
                            <a:pt x="8533" y="47069"/>
                            <a:pt x="5598" y="45946"/>
                            <a:pt x="3362" y="43710"/>
                          </a:cubicBezTo>
                          <a:cubicBezTo>
                            <a:pt x="-1121" y="39227"/>
                            <a:pt x="-1121" y="31980"/>
                            <a:pt x="3362" y="27498"/>
                          </a:cubicBezTo>
                          <a:lnTo>
                            <a:pt x="27498" y="3362"/>
                          </a:lnTo>
                          <a:cubicBezTo>
                            <a:pt x="31981" y="-1121"/>
                            <a:pt x="39227" y="-1121"/>
                            <a:pt x="43710" y="3362"/>
                          </a:cubicBezTo>
                          <a:cubicBezTo>
                            <a:pt x="48193" y="7845"/>
                            <a:pt x="48193" y="15091"/>
                            <a:pt x="43710" y="19575"/>
                          </a:cubicBezTo>
                          <a:lnTo>
                            <a:pt x="19575" y="43710"/>
                          </a:lnTo>
                          <a:cubicBezTo>
                            <a:pt x="17339" y="45946"/>
                            <a:pt x="14404" y="47069"/>
                            <a:pt x="11469" y="47069"/>
                          </a:cubicBezTo>
                          <a:close/>
                        </a:path>
                      </a:pathLst>
                    </a:custGeom>
                    <a:solidFill>
                      <a:schemeClr val="accent1"/>
                    </a:solidFill>
                    <a:ln w="1145" cap="flat">
                      <a:noFill/>
                      <a:prstDash val="solid"/>
                      <a:miter/>
                    </a:ln>
                  </p:spPr>
                  <p:txBody>
                    <a:bodyPr rtlCol="0" anchor="ctr"/>
                    <a:lstStyle/>
                    <a:p>
                      <a:endParaRPr lang="en-GB" dirty="0"/>
                    </a:p>
                  </p:txBody>
                </p:sp>
              </p:grpSp>
            </p:grpSp>
            <p:sp>
              <p:nvSpPr>
                <p:cNvPr id="356" name="Freeform: Shape 355">
                  <a:extLst>
                    <a:ext uri="{FF2B5EF4-FFF2-40B4-BE49-F238E27FC236}">
                      <a16:creationId xmlns:a16="http://schemas.microsoft.com/office/drawing/2014/main" id="{18905777-EC35-4483-8AC8-25BDC701891A}"/>
                    </a:ext>
                  </a:extLst>
                </p:cNvPr>
                <p:cNvSpPr/>
                <p:nvPr/>
              </p:nvSpPr>
              <p:spPr>
                <a:xfrm>
                  <a:off x="3860391" y="4867476"/>
                  <a:ext cx="31546" cy="41711"/>
                </a:xfrm>
                <a:custGeom>
                  <a:avLst/>
                  <a:gdLst>
                    <a:gd name="connsiteX0" fmla="*/ 20090 w 31546"/>
                    <a:gd name="connsiteY0" fmla="*/ 41711 h 41711"/>
                    <a:gd name="connsiteX1" fmla="*/ 9668 w 31546"/>
                    <a:gd name="connsiteY1" fmla="*/ 35027 h 41711"/>
                    <a:gd name="connsiteX2" fmla="*/ 1046 w 31546"/>
                    <a:gd name="connsiteY2" fmla="*/ 16246 h 41711"/>
                    <a:gd name="connsiteX3" fmla="*/ 6676 w 31546"/>
                    <a:gd name="connsiteY3" fmla="*/ 1042 h 41711"/>
                    <a:gd name="connsiteX4" fmla="*/ 21879 w 31546"/>
                    <a:gd name="connsiteY4" fmla="*/ 6683 h 41711"/>
                    <a:gd name="connsiteX5" fmla="*/ 30501 w 31546"/>
                    <a:gd name="connsiteY5" fmla="*/ 25465 h 41711"/>
                    <a:gd name="connsiteX6" fmla="*/ 24872 w 31546"/>
                    <a:gd name="connsiteY6" fmla="*/ 40668 h 41711"/>
                    <a:gd name="connsiteX7" fmla="*/ 20090 w 31546"/>
                    <a:gd name="connsiteY7" fmla="*/ 41711 h 41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546" h="41711">
                      <a:moveTo>
                        <a:pt x="20090" y="41711"/>
                      </a:moveTo>
                      <a:cubicBezTo>
                        <a:pt x="15756" y="41711"/>
                        <a:pt x="11594" y="39235"/>
                        <a:pt x="9668" y="35027"/>
                      </a:cubicBezTo>
                      <a:lnTo>
                        <a:pt x="1046" y="16246"/>
                      </a:lnTo>
                      <a:cubicBezTo>
                        <a:pt x="-1591" y="10490"/>
                        <a:pt x="931" y="3680"/>
                        <a:pt x="6676" y="1042"/>
                      </a:cubicBezTo>
                      <a:cubicBezTo>
                        <a:pt x="12420" y="-1583"/>
                        <a:pt x="19230" y="916"/>
                        <a:pt x="21879" y="6683"/>
                      </a:cubicBezTo>
                      <a:lnTo>
                        <a:pt x="30501" y="25465"/>
                      </a:lnTo>
                      <a:cubicBezTo>
                        <a:pt x="33138" y="31220"/>
                        <a:pt x="30616" y="38031"/>
                        <a:pt x="24872" y="40668"/>
                      </a:cubicBezTo>
                      <a:cubicBezTo>
                        <a:pt x="23324" y="41379"/>
                        <a:pt x="21696" y="41711"/>
                        <a:pt x="20090" y="41711"/>
                      </a:cubicBezTo>
                      <a:close/>
                    </a:path>
                  </a:pathLst>
                </a:custGeom>
                <a:solidFill>
                  <a:schemeClr val="accent1"/>
                </a:solidFill>
                <a:ln w="1145" cap="flat">
                  <a:noFill/>
                  <a:prstDash val="solid"/>
                  <a:miter/>
                </a:ln>
              </p:spPr>
              <p:txBody>
                <a:bodyPr rtlCol="0" anchor="ctr"/>
                <a:lstStyle/>
                <a:p>
                  <a:endParaRPr lang="en-GB" dirty="0"/>
                </a:p>
              </p:txBody>
            </p:sp>
            <p:sp>
              <p:nvSpPr>
                <p:cNvPr id="357" name="Freeform: Shape 356">
                  <a:extLst>
                    <a:ext uri="{FF2B5EF4-FFF2-40B4-BE49-F238E27FC236}">
                      <a16:creationId xmlns:a16="http://schemas.microsoft.com/office/drawing/2014/main" id="{3B73DD8D-C364-44F1-9D19-22927B259172}"/>
                    </a:ext>
                  </a:extLst>
                </p:cNvPr>
                <p:cNvSpPr/>
                <p:nvPr/>
              </p:nvSpPr>
              <p:spPr>
                <a:xfrm>
                  <a:off x="3760879" y="4650830"/>
                  <a:ext cx="31711" cy="42045"/>
                </a:xfrm>
                <a:custGeom>
                  <a:avLst/>
                  <a:gdLst>
                    <a:gd name="connsiteX0" fmla="*/ 20253 w 31711"/>
                    <a:gd name="connsiteY0" fmla="*/ 42046 h 42045"/>
                    <a:gd name="connsiteX1" fmla="*/ 9830 w 31711"/>
                    <a:gd name="connsiteY1" fmla="*/ 35361 h 42045"/>
                    <a:gd name="connsiteX2" fmla="*/ 1048 w 31711"/>
                    <a:gd name="connsiteY2" fmla="*/ 16248 h 42045"/>
                    <a:gd name="connsiteX3" fmla="*/ 6677 w 31711"/>
                    <a:gd name="connsiteY3" fmla="*/ 1044 h 42045"/>
                    <a:gd name="connsiteX4" fmla="*/ 21881 w 31711"/>
                    <a:gd name="connsiteY4" fmla="*/ 6685 h 42045"/>
                    <a:gd name="connsiteX5" fmla="*/ 30664 w 31711"/>
                    <a:gd name="connsiteY5" fmla="*/ 25799 h 42045"/>
                    <a:gd name="connsiteX6" fmla="*/ 25034 w 31711"/>
                    <a:gd name="connsiteY6" fmla="*/ 41002 h 42045"/>
                    <a:gd name="connsiteX7" fmla="*/ 20253 w 31711"/>
                    <a:gd name="connsiteY7" fmla="*/ 42046 h 42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11" h="42045">
                      <a:moveTo>
                        <a:pt x="20253" y="42046"/>
                      </a:moveTo>
                      <a:cubicBezTo>
                        <a:pt x="15919" y="42046"/>
                        <a:pt x="11756" y="39569"/>
                        <a:pt x="9830" y="35361"/>
                      </a:cubicBezTo>
                      <a:lnTo>
                        <a:pt x="1048" y="16248"/>
                      </a:lnTo>
                      <a:cubicBezTo>
                        <a:pt x="-1589" y="10492"/>
                        <a:pt x="921" y="3681"/>
                        <a:pt x="6677" y="1044"/>
                      </a:cubicBezTo>
                      <a:cubicBezTo>
                        <a:pt x="12422" y="-1581"/>
                        <a:pt x="19232" y="907"/>
                        <a:pt x="21881" y="6685"/>
                      </a:cubicBezTo>
                      <a:lnTo>
                        <a:pt x="30664" y="25799"/>
                      </a:lnTo>
                      <a:cubicBezTo>
                        <a:pt x="33301" y="31555"/>
                        <a:pt x="30790" y="38365"/>
                        <a:pt x="25034" y="41002"/>
                      </a:cubicBezTo>
                      <a:cubicBezTo>
                        <a:pt x="23486" y="41713"/>
                        <a:pt x="21858" y="42046"/>
                        <a:pt x="20253" y="42046"/>
                      </a:cubicBezTo>
                      <a:close/>
                    </a:path>
                  </a:pathLst>
                </a:custGeom>
                <a:solidFill>
                  <a:schemeClr val="accent1"/>
                </a:solidFill>
                <a:ln w="1145" cap="flat">
                  <a:noFill/>
                  <a:prstDash val="solid"/>
                  <a:miter/>
                </a:ln>
              </p:spPr>
              <p:txBody>
                <a:bodyPr rtlCol="0" anchor="ctr"/>
                <a:lstStyle/>
                <a:p>
                  <a:endParaRPr lang="en-GB" dirty="0"/>
                </a:p>
              </p:txBody>
            </p:sp>
            <p:sp>
              <p:nvSpPr>
                <p:cNvPr id="358" name="Freeform: Shape 357">
                  <a:extLst>
                    <a:ext uri="{FF2B5EF4-FFF2-40B4-BE49-F238E27FC236}">
                      <a16:creationId xmlns:a16="http://schemas.microsoft.com/office/drawing/2014/main" id="{5D59329F-DA06-44E2-8365-63F472C674FA}"/>
                    </a:ext>
                  </a:extLst>
                </p:cNvPr>
                <p:cNvSpPr/>
                <p:nvPr/>
              </p:nvSpPr>
              <p:spPr>
                <a:xfrm>
                  <a:off x="3915082" y="4813967"/>
                  <a:ext cx="41120" cy="31230"/>
                </a:xfrm>
                <a:custGeom>
                  <a:avLst/>
                  <a:gdLst>
                    <a:gd name="connsiteX0" fmla="*/ 29641 w 41120"/>
                    <a:gd name="connsiteY0" fmla="*/ 31230 h 31230"/>
                    <a:gd name="connsiteX1" fmla="*/ 24894 w 41120"/>
                    <a:gd name="connsiteY1" fmla="*/ 30199 h 31230"/>
                    <a:gd name="connsiteX2" fmla="*/ 6721 w 41120"/>
                    <a:gd name="connsiteY2" fmla="*/ 21909 h 31230"/>
                    <a:gd name="connsiteX3" fmla="*/ 1034 w 41120"/>
                    <a:gd name="connsiteY3" fmla="*/ 6717 h 31230"/>
                    <a:gd name="connsiteX4" fmla="*/ 16226 w 41120"/>
                    <a:gd name="connsiteY4" fmla="*/ 1041 h 31230"/>
                    <a:gd name="connsiteX5" fmla="*/ 34399 w 41120"/>
                    <a:gd name="connsiteY5" fmla="*/ 9331 h 31230"/>
                    <a:gd name="connsiteX6" fmla="*/ 40086 w 41120"/>
                    <a:gd name="connsiteY6" fmla="*/ 24523 h 31230"/>
                    <a:gd name="connsiteX7" fmla="*/ 29641 w 41120"/>
                    <a:gd name="connsiteY7" fmla="*/ 31230 h 31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120" h="31230">
                      <a:moveTo>
                        <a:pt x="29641" y="31230"/>
                      </a:moveTo>
                      <a:cubicBezTo>
                        <a:pt x="28047" y="31230"/>
                        <a:pt x="26431" y="30909"/>
                        <a:pt x="24894" y="30199"/>
                      </a:cubicBezTo>
                      <a:lnTo>
                        <a:pt x="6721" y="21909"/>
                      </a:lnTo>
                      <a:cubicBezTo>
                        <a:pt x="954" y="19283"/>
                        <a:pt x="-1591" y="12484"/>
                        <a:pt x="1034" y="6717"/>
                      </a:cubicBezTo>
                      <a:cubicBezTo>
                        <a:pt x="3660" y="949"/>
                        <a:pt x="10482" y="-1596"/>
                        <a:pt x="16226" y="1041"/>
                      </a:cubicBezTo>
                      <a:lnTo>
                        <a:pt x="34399" y="9331"/>
                      </a:lnTo>
                      <a:cubicBezTo>
                        <a:pt x="40167" y="11957"/>
                        <a:pt x="42712" y="18756"/>
                        <a:pt x="40086" y="24523"/>
                      </a:cubicBezTo>
                      <a:cubicBezTo>
                        <a:pt x="38160" y="28742"/>
                        <a:pt x="33987" y="31230"/>
                        <a:pt x="29641" y="31230"/>
                      </a:cubicBezTo>
                      <a:close/>
                    </a:path>
                  </a:pathLst>
                </a:custGeom>
                <a:solidFill>
                  <a:schemeClr val="accent1"/>
                </a:solidFill>
                <a:ln w="1145" cap="flat">
                  <a:noFill/>
                  <a:prstDash val="solid"/>
                  <a:miter/>
                </a:ln>
              </p:spPr>
              <p:txBody>
                <a:bodyPr rtlCol="0" anchor="ctr"/>
                <a:lstStyle/>
                <a:p>
                  <a:endParaRPr lang="en-GB" dirty="0"/>
                </a:p>
              </p:txBody>
            </p:sp>
            <p:sp>
              <p:nvSpPr>
                <p:cNvPr id="359" name="Freeform: Shape 358">
                  <a:extLst>
                    <a:ext uri="{FF2B5EF4-FFF2-40B4-BE49-F238E27FC236}">
                      <a16:creationId xmlns:a16="http://schemas.microsoft.com/office/drawing/2014/main" id="{CE17E256-65D2-48F4-AEC9-292DE12574FD}"/>
                    </a:ext>
                  </a:extLst>
                </p:cNvPr>
                <p:cNvSpPr/>
                <p:nvPr/>
              </p:nvSpPr>
              <p:spPr>
                <a:xfrm>
                  <a:off x="3697523" y="4714812"/>
                  <a:ext cx="41644" cy="31459"/>
                </a:xfrm>
                <a:custGeom>
                  <a:avLst/>
                  <a:gdLst>
                    <a:gd name="connsiteX0" fmla="*/ 30167 w 41644"/>
                    <a:gd name="connsiteY0" fmla="*/ 31459 h 31459"/>
                    <a:gd name="connsiteX1" fmla="*/ 25420 w 41644"/>
                    <a:gd name="connsiteY1" fmla="*/ 30428 h 31459"/>
                    <a:gd name="connsiteX2" fmla="*/ 6720 w 41644"/>
                    <a:gd name="connsiteY2" fmla="*/ 21909 h 31459"/>
                    <a:gd name="connsiteX3" fmla="*/ 1032 w 41644"/>
                    <a:gd name="connsiteY3" fmla="*/ 6717 h 31459"/>
                    <a:gd name="connsiteX4" fmla="*/ 16224 w 41644"/>
                    <a:gd name="connsiteY4" fmla="*/ 1041 h 31459"/>
                    <a:gd name="connsiteX5" fmla="*/ 34925 w 41644"/>
                    <a:gd name="connsiteY5" fmla="*/ 9560 h 31459"/>
                    <a:gd name="connsiteX6" fmla="*/ 40612 w 41644"/>
                    <a:gd name="connsiteY6" fmla="*/ 24752 h 31459"/>
                    <a:gd name="connsiteX7" fmla="*/ 30167 w 41644"/>
                    <a:gd name="connsiteY7" fmla="*/ 31459 h 31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644" h="31459">
                      <a:moveTo>
                        <a:pt x="30167" y="31459"/>
                      </a:moveTo>
                      <a:cubicBezTo>
                        <a:pt x="28573" y="31459"/>
                        <a:pt x="26956" y="31139"/>
                        <a:pt x="25420" y="30428"/>
                      </a:cubicBezTo>
                      <a:lnTo>
                        <a:pt x="6720" y="21909"/>
                      </a:lnTo>
                      <a:cubicBezTo>
                        <a:pt x="964" y="19283"/>
                        <a:pt x="-1593" y="12484"/>
                        <a:pt x="1032" y="6717"/>
                      </a:cubicBezTo>
                      <a:cubicBezTo>
                        <a:pt x="3670" y="949"/>
                        <a:pt x="10469" y="-1596"/>
                        <a:pt x="16224" y="1041"/>
                      </a:cubicBezTo>
                      <a:lnTo>
                        <a:pt x="34925" y="9560"/>
                      </a:lnTo>
                      <a:cubicBezTo>
                        <a:pt x="40681" y="12186"/>
                        <a:pt x="43238" y="18985"/>
                        <a:pt x="40612" y="24752"/>
                      </a:cubicBezTo>
                      <a:cubicBezTo>
                        <a:pt x="38674" y="28971"/>
                        <a:pt x="34512" y="31459"/>
                        <a:pt x="30167" y="31459"/>
                      </a:cubicBezTo>
                      <a:close/>
                    </a:path>
                  </a:pathLst>
                </a:custGeom>
                <a:solidFill>
                  <a:schemeClr val="accent1"/>
                </a:solidFill>
                <a:ln w="1145" cap="flat">
                  <a:noFill/>
                  <a:prstDash val="solid"/>
                  <a:miter/>
                </a:ln>
              </p:spPr>
              <p:txBody>
                <a:bodyPr rtlCol="0" anchor="ctr"/>
                <a:lstStyle/>
                <a:p>
                  <a:endParaRPr lang="en-GB" dirty="0"/>
                </a:p>
              </p:txBody>
            </p:sp>
            <p:sp>
              <p:nvSpPr>
                <p:cNvPr id="360" name="Freeform: Shape 359">
                  <a:extLst>
                    <a:ext uri="{FF2B5EF4-FFF2-40B4-BE49-F238E27FC236}">
                      <a16:creationId xmlns:a16="http://schemas.microsoft.com/office/drawing/2014/main" id="{F0A7F887-3A5A-42F3-ADE6-22CDA3EFA1BD}"/>
                    </a:ext>
                  </a:extLst>
                </p:cNvPr>
                <p:cNvSpPr/>
                <p:nvPr/>
              </p:nvSpPr>
              <p:spPr>
                <a:xfrm>
                  <a:off x="3914027" y="4715969"/>
                  <a:ext cx="42338" cy="31563"/>
                </a:xfrm>
                <a:custGeom>
                  <a:avLst/>
                  <a:gdLst>
                    <a:gd name="connsiteX0" fmla="*/ 11481 w 42338"/>
                    <a:gd name="connsiteY0" fmla="*/ 31563 h 31563"/>
                    <a:gd name="connsiteX1" fmla="*/ 989 w 42338"/>
                    <a:gd name="connsiteY1" fmla="*/ 24753 h 31563"/>
                    <a:gd name="connsiteX2" fmla="*/ 6814 w 42338"/>
                    <a:gd name="connsiteY2" fmla="*/ 9618 h 31563"/>
                    <a:gd name="connsiteX3" fmla="*/ 26214 w 42338"/>
                    <a:gd name="connsiteY3" fmla="*/ 996 h 31563"/>
                    <a:gd name="connsiteX4" fmla="*/ 41349 w 42338"/>
                    <a:gd name="connsiteY4" fmla="*/ 6820 h 31563"/>
                    <a:gd name="connsiteX5" fmla="*/ 35524 w 42338"/>
                    <a:gd name="connsiteY5" fmla="*/ 21955 h 31563"/>
                    <a:gd name="connsiteX6" fmla="*/ 16124 w 42338"/>
                    <a:gd name="connsiteY6" fmla="*/ 30577 h 31563"/>
                    <a:gd name="connsiteX7" fmla="*/ 11481 w 42338"/>
                    <a:gd name="connsiteY7" fmla="*/ 31563 h 31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8" h="31563">
                      <a:moveTo>
                        <a:pt x="11481" y="31563"/>
                      </a:moveTo>
                      <a:cubicBezTo>
                        <a:pt x="7089" y="31563"/>
                        <a:pt x="2893" y="29029"/>
                        <a:pt x="989" y="24753"/>
                      </a:cubicBezTo>
                      <a:cubicBezTo>
                        <a:pt x="-1579" y="18963"/>
                        <a:pt x="1024" y="12186"/>
                        <a:pt x="6814" y="9618"/>
                      </a:cubicBezTo>
                      <a:lnTo>
                        <a:pt x="26214" y="996"/>
                      </a:lnTo>
                      <a:cubicBezTo>
                        <a:pt x="32004" y="-1584"/>
                        <a:pt x="38769" y="1019"/>
                        <a:pt x="41349" y="6820"/>
                      </a:cubicBezTo>
                      <a:cubicBezTo>
                        <a:pt x="43917" y="12611"/>
                        <a:pt x="41314" y="19387"/>
                        <a:pt x="35524" y="21955"/>
                      </a:cubicBezTo>
                      <a:lnTo>
                        <a:pt x="16124" y="30577"/>
                      </a:lnTo>
                      <a:cubicBezTo>
                        <a:pt x="14611" y="31254"/>
                        <a:pt x="13028" y="31563"/>
                        <a:pt x="11481" y="31563"/>
                      </a:cubicBezTo>
                      <a:close/>
                    </a:path>
                  </a:pathLst>
                </a:custGeom>
                <a:solidFill>
                  <a:schemeClr val="accent1"/>
                </a:solidFill>
                <a:ln w="1145" cap="flat">
                  <a:noFill/>
                  <a:prstDash val="solid"/>
                  <a:miter/>
                </a:ln>
              </p:spPr>
              <p:txBody>
                <a:bodyPr rtlCol="0" anchor="ctr"/>
                <a:lstStyle/>
                <a:p>
                  <a:endParaRPr lang="en-GB" dirty="0"/>
                </a:p>
              </p:txBody>
            </p:sp>
            <p:sp>
              <p:nvSpPr>
                <p:cNvPr id="361" name="Freeform: Shape 360">
                  <a:extLst>
                    <a:ext uri="{FF2B5EF4-FFF2-40B4-BE49-F238E27FC236}">
                      <a16:creationId xmlns:a16="http://schemas.microsoft.com/office/drawing/2014/main" id="{7602E29C-69EF-4B61-946E-742B76C19BAE}"/>
                    </a:ext>
                  </a:extLst>
                </p:cNvPr>
                <p:cNvSpPr/>
                <p:nvPr/>
              </p:nvSpPr>
              <p:spPr>
                <a:xfrm>
                  <a:off x="3696649" y="4812956"/>
                  <a:ext cx="41260" cy="31071"/>
                </a:xfrm>
                <a:custGeom>
                  <a:avLst/>
                  <a:gdLst>
                    <a:gd name="connsiteX0" fmla="*/ 11481 w 41260"/>
                    <a:gd name="connsiteY0" fmla="*/ 31072 h 31071"/>
                    <a:gd name="connsiteX1" fmla="*/ 990 w 41260"/>
                    <a:gd name="connsiteY1" fmla="*/ 24250 h 31071"/>
                    <a:gd name="connsiteX2" fmla="*/ 6814 w 41260"/>
                    <a:gd name="connsiteY2" fmla="*/ 9126 h 31071"/>
                    <a:gd name="connsiteX3" fmla="*/ 25136 w 41260"/>
                    <a:gd name="connsiteY3" fmla="*/ 997 h 31071"/>
                    <a:gd name="connsiteX4" fmla="*/ 40271 w 41260"/>
                    <a:gd name="connsiteY4" fmla="*/ 6833 h 31071"/>
                    <a:gd name="connsiteX5" fmla="*/ 34446 w 41260"/>
                    <a:gd name="connsiteY5" fmla="*/ 21956 h 31071"/>
                    <a:gd name="connsiteX6" fmla="*/ 16124 w 41260"/>
                    <a:gd name="connsiteY6" fmla="*/ 30086 h 31071"/>
                    <a:gd name="connsiteX7" fmla="*/ 11481 w 41260"/>
                    <a:gd name="connsiteY7" fmla="*/ 31072 h 3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60" h="31071">
                      <a:moveTo>
                        <a:pt x="11481" y="31072"/>
                      </a:moveTo>
                      <a:cubicBezTo>
                        <a:pt x="7089" y="31072"/>
                        <a:pt x="2893" y="28526"/>
                        <a:pt x="990" y="24250"/>
                      </a:cubicBezTo>
                      <a:cubicBezTo>
                        <a:pt x="-1579" y="18460"/>
                        <a:pt x="1024" y="11683"/>
                        <a:pt x="6814" y="9126"/>
                      </a:cubicBezTo>
                      <a:lnTo>
                        <a:pt x="25136" y="997"/>
                      </a:lnTo>
                      <a:cubicBezTo>
                        <a:pt x="30903" y="-1594"/>
                        <a:pt x="37691" y="1043"/>
                        <a:pt x="40271" y="6833"/>
                      </a:cubicBezTo>
                      <a:cubicBezTo>
                        <a:pt x="42839" y="12624"/>
                        <a:pt x="40236" y="19400"/>
                        <a:pt x="34446" y="21956"/>
                      </a:cubicBezTo>
                      <a:lnTo>
                        <a:pt x="16124" y="30086"/>
                      </a:lnTo>
                      <a:cubicBezTo>
                        <a:pt x="14611" y="30762"/>
                        <a:pt x="13040" y="31072"/>
                        <a:pt x="11481" y="31072"/>
                      </a:cubicBezTo>
                      <a:close/>
                    </a:path>
                  </a:pathLst>
                </a:custGeom>
                <a:solidFill>
                  <a:schemeClr val="accent1"/>
                </a:solidFill>
                <a:ln w="1145" cap="flat">
                  <a:noFill/>
                  <a:prstDash val="solid"/>
                  <a:miter/>
                </a:ln>
              </p:spPr>
              <p:txBody>
                <a:bodyPr rtlCol="0" anchor="ctr"/>
                <a:lstStyle/>
                <a:p>
                  <a:endParaRPr lang="en-GB" dirty="0"/>
                </a:p>
              </p:txBody>
            </p:sp>
            <p:sp>
              <p:nvSpPr>
                <p:cNvPr id="362" name="Freeform: Shape 361">
                  <a:extLst>
                    <a:ext uri="{FF2B5EF4-FFF2-40B4-BE49-F238E27FC236}">
                      <a16:creationId xmlns:a16="http://schemas.microsoft.com/office/drawing/2014/main" id="{5D9214B2-6440-495D-A1B9-AD091B62C8EE}"/>
                    </a:ext>
                  </a:extLst>
                </p:cNvPr>
                <p:cNvSpPr/>
                <p:nvPr/>
              </p:nvSpPr>
              <p:spPr>
                <a:xfrm>
                  <a:off x="3761043" y="4868292"/>
                  <a:ext cx="31198" cy="40941"/>
                </a:xfrm>
                <a:custGeom>
                  <a:avLst/>
                  <a:gdLst>
                    <a:gd name="connsiteX0" fmla="*/ 11466 w 31198"/>
                    <a:gd name="connsiteY0" fmla="*/ 40941 h 40941"/>
                    <a:gd name="connsiteX1" fmla="*/ 6696 w 31198"/>
                    <a:gd name="connsiteY1" fmla="*/ 39898 h 40941"/>
                    <a:gd name="connsiteX2" fmla="*/ 1044 w 31198"/>
                    <a:gd name="connsiteY2" fmla="*/ 24706 h 40941"/>
                    <a:gd name="connsiteX3" fmla="*/ 9299 w 31198"/>
                    <a:gd name="connsiteY3" fmla="*/ 6693 h 40941"/>
                    <a:gd name="connsiteX4" fmla="*/ 24502 w 31198"/>
                    <a:gd name="connsiteY4" fmla="*/ 1040 h 40941"/>
                    <a:gd name="connsiteX5" fmla="*/ 30155 w 31198"/>
                    <a:gd name="connsiteY5" fmla="*/ 16232 h 40941"/>
                    <a:gd name="connsiteX6" fmla="*/ 21900 w 31198"/>
                    <a:gd name="connsiteY6" fmla="*/ 34245 h 40941"/>
                    <a:gd name="connsiteX7" fmla="*/ 11466 w 31198"/>
                    <a:gd name="connsiteY7" fmla="*/ 40941 h 40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98" h="40941">
                      <a:moveTo>
                        <a:pt x="11466" y="40941"/>
                      </a:moveTo>
                      <a:cubicBezTo>
                        <a:pt x="9861" y="40941"/>
                        <a:pt x="8244" y="40609"/>
                        <a:pt x="6696" y="39898"/>
                      </a:cubicBezTo>
                      <a:cubicBezTo>
                        <a:pt x="940" y="37261"/>
                        <a:pt x="-1594" y="30462"/>
                        <a:pt x="1044" y="24706"/>
                      </a:cubicBezTo>
                      <a:lnTo>
                        <a:pt x="9299" y="6693"/>
                      </a:lnTo>
                      <a:cubicBezTo>
                        <a:pt x="11924" y="926"/>
                        <a:pt x="18735" y="-1585"/>
                        <a:pt x="24502" y="1040"/>
                      </a:cubicBezTo>
                      <a:cubicBezTo>
                        <a:pt x="30258" y="3678"/>
                        <a:pt x="32792" y="10477"/>
                        <a:pt x="30155" y="16232"/>
                      </a:cubicBezTo>
                      <a:lnTo>
                        <a:pt x="21900" y="34245"/>
                      </a:lnTo>
                      <a:cubicBezTo>
                        <a:pt x="19973" y="38453"/>
                        <a:pt x="15811" y="40941"/>
                        <a:pt x="11466" y="40941"/>
                      </a:cubicBezTo>
                      <a:close/>
                    </a:path>
                  </a:pathLst>
                </a:custGeom>
                <a:solidFill>
                  <a:schemeClr val="accent1"/>
                </a:solidFill>
                <a:ln w="1145" cap="flat">
                  <a:noFill/>
                  <a:prstDash val="solid"/>
                  <a:miter/>
                </a:ln>
              </p:spPr>
              <p:txBody>
                <a:bodyPr rtlCol="0" anchor="ctr"/>
                <a:lstStyle/>
                <a:p>
                  <a:endParaRPr lang="en-GB" dirty="0"/>
                </a:p>
              </p:txBody>
            </p:sp>
            <p:sp>
              <p:nvSpPr>
                <p:cNvPr id="363" name="Freeform: Shape 362">
                  <a:extLst>
                    <a:ext uri="{FF2B5EF4-FFF2-40B4-BE49-F238E27FC236}">
                      <a16:creationId xmlns:a16="http://schemas.microsoft.com/office/drawing/2014/main" id="{64B243A3-3C36-418D-9577-380DDBA0C576}"/>
                    </a:ext>
                  </a:extLst>
                </p:cNvPr>
                <p:cNvSpPr/>
                <p:nvPr/>
              </p:nvSpPr>
              <p:spPr>
                <a:xfrm>
                  <a:off x="3860416" y="4650785"/>
                  <a:ext cx="31496" cy="41586"/>
                </a:xfrm>
                <a:custGeom>
                  <a:avLst/>
                  <a:gdLst>
                    <a:gd name="connsiteX0" fmla="*/ 11466 w 31496"/>
                    <a:gd name="connsiteY0" fmla="*/ 41586 h 41586"/>
                    <a:gd name="connsiteX1" fmla="*/ 6696 w 31496"/>
                    <a:gd name="connsiteY1" fmla="*/ 40543 h 41586"/>
                    <a:gd name="connsiteX2" fmla="*/ 1044 w 31496"/>
                    <a:gd name="connsiteY2" fmla="*/ 25340 h 41586"/>
                    <a:gd name="connsiteX3" fmla="*/ 9597 w 31496"/>
                    <a:gd name="connsiteY3" fmla="*/ 6685 h 41586"/>
                    <a:gd name="connsiteX4" fmla="*/ 24800 w 31496"/>
                    <a:gd name="connsiteY4" fmla="*/ 1044 h 41586"/>
                    <a:gd name="connsiteX5" fmla="*/ 30453 w 31496"/>
                    <a:gd name="connsiteY5" fmla="*/ 16247 h 41586"/>
                    <a:gd name="connsiteX6" fmla="*/ 21900 w 31496"/>
                    <a:gd name="connsiteY6" fmla="*/ 34902 h 41586"/>
                    <a:gd name="connsiteX7" fmla="*/ 11466 w 31496"/>
                    <a:gd name="connsiteY7" fmla="*/ 41586 h 41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496" h="41586">
                      <a:moveTo>
                        <a:pt x="11466" y="41586"/>
                      </a:moveTo>
                      <a:cubicBezTo>
                        <a:pt x="9861" y="41586"/>
                        <a:pt x="8244" y="41254"/>
                        <a:pt x="6696" y="40543"/>
                      </a:cubicBezTo>
                      <a:cubicBezTo>
                        <a:pt x="940" y="37906"/>
                        <a:pt x="-1594" y="31107"/>
                        <a:pt x="1044" y="25340"/>
                      </a:cubicBezTo>
                      <a:lnTo>
                        <a:pt x="9597" y="6685"/>
                      </a:lnTo>
                      <a:cubicBezTo>
                        <a:pt x="12234" y="941"/>
                        <a:pt x="19045" y="-1593"/>
                        <a:pt x="24800" y="1044"/>
                      </a:cubicBezTo>
                      <a:cubicBezTo>
                        <a:pt x="30556" y="3681"/>
                        <a:pt x="33090" y="10480"/>
                        <a:pt x="30453" y="16247"/>
                      </a:cubicBezTo>
                      <a:lnTo>
                        <a:pt x="21900" y="34902"/>
                      </a:lnTo>
                      <a:cubicBezTo>
                        <a:pt x="19973" y="39099"/>
                        <a:pt x="15811" y="41586"/>
                        <a:pt x="11466" y="41586"/>
                      </a:cubicBezTo>
                      <a:close/>
                    </a:path>
                  </a:pathLst>
                </a:custGeom>
                <a:solidFill>
                  <a:schemeClr val="accent1"/>
                </a:solidFill>
                <a:ln w="1145" cap="flat">
                  <a:noFill/>
                  <a:prstDash val="solid"/>
                  <a:miter/>
                </a:ln>
              </p:spPr>
              <p:txBody>
                <a:bodyPr rtlCol="0" anchor="ctr"/>
                <a:lstStyle/>
                <a:p>
                  <a:endParaRPr lang="en-GB" dirty="0"/>
                </a:p>
              </p:txBody>
            </p:sp>
          </p:grpSp>
          <p:sp>
            <p:nvSpPr>
              <p:cNvPr id="348" name="Freeform: Shape 347">
                <a:extLst>
                  <a:ext uri="{FF2B5EF4-FFF2-40B4-BE49-F238E27FC236}">
                    <a16:creationId xmlns:a16="http://schemas.microsoft.com/office/drawing/2014/main" id="{61815186-AFDC-4890-888C-9730037F4F8C}"/>
                  </a:ext>
                </a:extLst>
              </p:cNvPr>
              <p:cNvSpPr/>
              <p:nvPr/>
            </p:nvSpPr>
            <p:spPr>
              <a:xfrm>
                <a:off x="3765532" y="4736293"/>
                <a:ext cx="34707" cy="23771"/>
              </a:xfrm>
              <a:custGeom>
                <a:avLst/>
                <a:gdLst>
                  <a:gd name="connsiteX0" fmla="*/ 23247 w 34707"/>
                  <a:gd name="connsiteY0" fmla="*/ 23772 h 23771"/>
                  <a:gd name="connsiteX1" fmla="*/ 22422 w 34707"/>
                  <a:gd name="connsiteY1" fmla="*/ 23737 h 23771"/>
                  <a:gd name="connsiteX2" fmla="*/ 10646 w 34707"/>
                  <a:gd name="connsiteY2" fmla="*/ 22900 h 23771"/>
                  <a:gd name="connsiteX3" fmla="*/ 29 w 34707"/>
                  <a:gd name="connsiteY3" fmla="*/ 10655 h 23771"/>
                  <a:gd name="connsiteX4" fmla="*/ 12286 w 34707"/>
                  <a:gd name="connsiteY4" fmla="*/ 38 h 23771"/>
                  <a:gd name="connsiteX5" fmla="*/ 24061 w 34707"/>
                  <a:gd name="connsiteY5" fmla="*/ 875 h 23771"/>
                  <a:gd name="connsiteX6" fmla="*/ 34678 w 34707"/>
                  <a:gd name="connsiteY6" fmla="*/ 13120 h 23771"/>
                  <a:gd name="connsiteX7" fmla="*/ 23247 w 34707"/>
                  <a:gd name="connsiteY7" fmla="*/ 23772 h 23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07" h="23771">
                    <a:moveTo>
                      <a:pt x="23247" y="23772"/>
                    </a:moveTo>
                    <a:cubicBezTo>
                      <a:pt x="22972" y="23772"/>
                      <a:pt x="22697" y="23760"/>
                      <a:pt x="22422" y="23737"/>
                    </a:cubicBezTo>
                    <a:lnTo>
                      <a:pt x="10646" y="22900"/>
                    </a:lnTo>
                    <a:cubicBezTo>
                      <a:pt x="4329" y="22453"/>
                      <a:pt x="-418" y="16961"/>
                      <a:pt x="29" y="10655"/>
                    </a:cubicBezTo>
                    <a:cubicBezTo>
                      <a:pt x="488" y="4349"/>
                      <a:pt x="5911" y="-478"/>
                      <a:pt x="12286" y="38"/>
                    </a:cubicBezTo>
                    <a:lnTo>
                      <a:pt x="24061" y="875"/>
                    </a:lnTo>
                    <a:cubicBezTo>
                      <a:pt x="30379" y="1322"/>
                      <a:pt x="35126" y="6814"/>
                      <a:pt x="34678" y="13120"/>
                    </a:cubicBezTo>
                    <a:cubicBezTo>
                      <a:pt x="34243" y="19163"/>
                      <a:pt x="29209" y="23772"/>
                      <a:pt x="23247" y="23772"/>
                    </a:cubicBezTo>
                    <a:close/>
                  </a:path>
                </a:pathLst>
              </a:custGeom>
              <a:solidFill>
                <a:schemeClr val="accent1"/>
              </a:solidFill>
              <a:ln w="1145" cap="flat">
                <a:noFill/>
                <a:prstDash val="solid"/>
                <a:miter/>
              </a:ln>
            </p:spPr>
            <p:txBody>
              <a:bodyPr rtlCol="0" anchor="ctr"/>
              <a:lstStyle/>
              <a:p>
                <a:endParaRPr lang="en-GB" dirty="0"/>
              </a:p>
            </p:txBody>
          </p:sp>
          <p:sp>
            <p:nvSpPr>
              <p:cNvPr id="349" name="Freeform: Shape 348">
                <a:extLst>
                  <a:ext uri="{FF2B5EF4-FFF2-40B4-BE49-F238E27FC236}">
                    <a16:creationId xmlns:a16="http://schemas.microsoft.com/office/drawing/2014/main" id="{3A2D687F-B7E4-41AB-82A1-4023DBCAAC5A}"/>
                  </a:ext>
                </a:extLst>
              </p:cNvPr>
              <p:cNvSpPr/>
              <p:nvPr/>
            </p:nvSpPr>
            <p:spPr>
              <a:xfrm>
                <a:off x="3816507" y="4816854"/>
                <a:ext cx="31786" cy="29466"/>
              </a:xfrm>
              <a:custGeom>
                <a:avLst/>
                <a:gdLst>
                  <a:gd name="connsiteX0" fmla="*/ 11473 w 31786"/>
                  <a:gd name="connsiteY0" fmla="*/ 29467 h 29466"/>
                  <a:gd name="connsiteX1" fmla="*/ 2243 w 31786"/>
                  <a:gd name="connsiteY1" fmla="*/ 24823 h 29466"/>
                  <a:gd name="connsiteX2" fmla="*/ 4651 w 31786"/>
                  <a:gd name="connsiteY2" fmla="*/ 8794 h 29466"/>
                  <a:gd name="connsiteX3" fmla="*/ 13514 w 31786"/>
                  <a:gd name="connsiteY3" fmla="*/ 2247 h 29466"/>
                  <a:gd name="connsiteX4" fmla="*/ 29543 w 31786"/>
                  <a:gd name="connsiteY4" fmla="*/ 4644 h 29466"/>
                  <a:gd name="connsiteX5" fmla="*/ 27135 w 31786"/>
                  <a:gd name="connsiteY5" fmla="*/ 20673 h 29466"/>
                  <a:gd name="connsiteX6" fmla="*/ 18272 w 31786"/>
                  <a:gd name="connsiteY6" fmla="*/ 27220 h 29466"/>
                  <a:gd name="connsiteX7" fmla="*/ 11473 w 31786"/>
                  <a:gd name="connsiteY7" fmla="*/ 29467 h 29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786" h="29466">
                    <a:moveTo>
                      <a:pt x="11473" y="29467"/>
                    </a:moveTo>
                    <a:cubicBezTo>
                      <a:pt x="7953" y="29467"/>
                      <a:pt x="4491" y="27850"/>
                      <a:pt x="2243" y="24823"/>
                    </a:cubicBezTo>
                    <a:cubicBezTo>
                      <a:pt x="-1517" y="19732"/>
                      <a:pt x="-440" y="12555"/>
                      <a:pt x="4651" y="8794"/>
                    </a:cubicBezTo>
                    <a:lnTo>
                      <a:pt x="13514" y="2247"/>
                    </a:lnTo>
                    <a:cubicBezTo>
                      <a:pt x="18616" y="-1536"/>
                      <a:pt x="25782" y="-413"/>
                      <a:pt x="29543" y="4644"/>
                    </a:cubicBezTo>
                    <a:cubicBezTo>
                      <a:pt x="33304" y="9735"/>
                      <a:pt x="32226" y="16912"/>
                      <a:pt x="27135" y="20673"/>
                    </a:cubicBezTo>
                    <a:lnTo>
                      <a:pt x="18272" y="27220"/>
                    </a:lnTo>
                    <a:cubicBezTo>
                      <a:pt x="16231" y="28733"/>
                      <a:pt x="13835" y="29467"/>
                      <a:pt x="11473" y="29467"/>
                    </a:cubicBezTo>
                    <a:close/>
                  </a:path>
                </a:pathLst>
              </a:custGeom>
              <a:solidFill>
                <a:schemeClr val="accent1"/>
              </a:solidFill>
              <a:ln w="1145" cap="flat">
                <a:noFill/>
                <a:prstDash val="solid"/>
                <a:miter/>
              </a:ln>
            </p:spPr>
            <p:txBody>
              <a:bodyPr rtlCol="0" anchor="ctr"/>
              <a:lstStyle/>
              <a:p>
                <a:endParaRPr lang="en-GB" dirty="0"/>
              </a:p>
            </p:txBody>
          </p:sp>
          <p:sp>
            <p:nvSpPr>
              <p:cNvPr id="350" name="Freeform: Shape 349">
                <a:extLst>
                  <a:ext uri="{FF2B5EF4-FFF2-40B4-BE49-F238E27FC236}">
                    <a16:creationId xmlns:a16="http://schemas.microsoft.com/office/drawing/2014/main" id="{ADA7F596-63FF-4194-8FA5-9E4B6A7A8CE0}"/>
                  </a:ext>
                </a:extLst>
              </p:cNvPr>
              <p:cNvSpPr/>
              <p:nvPr/>
            </p:nvSpPr>
            <p:spPr>
              <a:xfrm>
                <a:off x="3862847" y="4748530"/>
                <a:ext cx="22931" cy="35062"/>
              </a:xfrm>
              <a:custGeom>
                <a:avLst/>
                <a:gdLst>
                  <a:gd name="connsiteX0" fmla="*/ 11466 w 22931"/>
                  <a:gd name="connsiteY0" fmla="*/ 35062 h 35062"/>
                  <a:gd name="connsiteX1" fmla="*/ 0 w 22931"/>
                  <a:gd name="connsiteY1" fmla="*/ 23596 h 35062"/>
                  <a:gd name="connsiteX2" fmla="*/ 0 w 22931"/>
                  <a:gd name="connsiteY2" fmla="*/ 11466 h 35062"/>
                  <a:gd name="connsiteX3" fmla="*/ 11466 w 22931"/>
                  <a:gd name="connsiteY3" fmla="*/ 0 h 35062"/>
                  <a:gd name="connsiteX4" fmla="*/ 22931 w 22931"/>
                  <a:gd name="connsiteY4" fmla="*/ 11466 h 35062"/>
                  <a:gd name="connsiteX5" fmla="*/ 22931 w 22931"/>
                  <a:gd name="connsiteY5" fmla="*/ 23596 h 35062"/>
                  <a:gd name="connsiteX6" fmla="*/ 11466 w 22931"/>
                  <a:gd name="connsiteY6" fmla="*/ 35062 h 35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35062">
                    <a:moveTo>
                      <a:pt x="11466" y="35062"/>
                    </a:moveTo>
                    <a:cubicBezTo>
                      <a:pt x="5137" y="35062"/>
                      <a:pt x="0" y="29937"/>
                      <a:pt x="0" y="23596"/>
                    </a:cubicBezTo>
                    <a:lnTo>
                      <a:pt x="0" y="11466"/>
                    </a:lnTo>
                    <a:cubicBezTo>
                      <a:pt x="0" y="5125"/>
                      <a:pt x="5137" y="0"/>
                      <a:pt x="11466" y="0"/>
                    </a:cubicBezTo>
                    <a:cubicBezTo>
                      <a:pt x="17795" y="0"/>
                      <a:pt x="22931" y="5125"/>
                      <a:pt x="22931" y="11466"/>
                    </a:cubicBezTo>
                    <a:lnTo>
                      <a:pt x="22931" y="23596"/>
                    </a:lnTo>
                    <a:cubicBezTo>
                      <a:pt x="22931" y="29937"/>
                      <a:pt x="17795" y="35062"/>
                      <a:pt x="11466" y="35062"/>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10" name="Group 9">
            <a:extLst>
              <a:ext uri="{FF2B5EF4-FFF2-40B4-BE49-F238E27FC236}">
                <a16:creationId xmlns:a16="http://schemas.microsoft.com/office/drawing/2014/main" id="{1145265F-6812-6F58-3F10-438B1EBD20F2}"/>
              </a:ext>
            </a:extLst>
          </p:cNvPr>
          <p:cNvGrpSpPr/>
          <p:nvPr/>
        </p:nvGrpSpPr>
        <p:grpSpPr>
          <a:xfrm>
            <a:off x="3692207" y="2391526"/>
            <a:ext cx="476288" cy="536016"/>
            <a:chOff x="3692207" y="2391526"/>
            <a:chExt cx="476288" cy="536016"/>
          </a:xfrm>
        </p:grpSpPr>
        <p:grpSp>
          <p:nvGrpSpPr>
            <p:cNvPr id="393" name="Group 392">
              <a:extLst>
                <a:ext uri="{FF2B5EF4-FFF2-40B4-BE49-F238E27FC236}">
                  <a16:creationId xmlns:a16="http://schemas.microsoft.com/office/drawing/2014/main" id="{CAC58B7C-D3C4-482B-AC0E-CFA4F73B7383}"/>
                </a:ext>
              </a:extLst>
            </p:cNvPr>
            <p:cNvGrpSpPr/>
            <p:nvPr/>
          </p:nvGrpSpPr>
          <p:grpSpPr>
            <a:xfrm>
              <a:off x="3692207" y="2758711"/>
              <a:ext cx="476288" cy="168831"/>
              <a:chOff x="8104112" y="4319309"/>
              <a:chExt cx="476288" cy="168831"/>
            </a:xfrm>
            <a:solidFill>
              <a:schemeClr val="tx2"/>
            </a:solidFill>
          </p:grpSpPr>
          <p:grpSp>
            <p:nvGrpSpPr>
              <p:cNvPr id="437" name="Graphic 48">
                <a:extLst>
                  <a:ext uri="{FF2B5EF4-FFF2-40B4-BE49-F238E27FC236}">
                    <a16:creationId xmlns:a16="http://schemas.microsoft.com/office/drawing/2014/main" id="{F4D7575D-89E7-4BE4-9570-4333F465EA1D}"/>
                  </a:ext>
                </a:extLst>
              </p:cNvPr>
              <p:cNvGrpSpPr/>
              <p:nvPr/>
            </p:nvGrpSpPr>
            <p:grpSpPr>
              <a:xfrm>
                <a:off x="8436001" y="4319309"/>
                <a:ext cx="144399" cy="168831"/>
                <a:chOff x="6900482" y="4841345"/>
                <a:chExt cx="256074" cy="299402"/>
              </a:xfrm>
              <a:grpFill/>
            </p:grpSpPr>
            <p:sp>
              <p:nvSpPr>
                <p:cNvPr id="444" name="Freeform: Shape 443">
                  <a:extLst>
                    <a:ext uri="{FF2B5EF4-FFF2-40B4-BE49-F238E27FC236}">
                      <a16:creationId xmlns:a16="http://schemas.microsoft.com/office/drawing/2014/main" id="{E6C5BD6C-0701-4F11-A80E-77EA54014D6E}"/>
                    </a:ext>
                  </a:extLst>
                </p:cNvPr>
                <p:cNvSpPr/>
                <p:nvPr/>
              </p:nvSpPr>
              <p:spPr>
                <a:xfrm>
                  <a:off x="6900482" y="5030391"/>
                  <a:ext cx="256074" cy="110357"/>
                </a:xfrm>
                <a:custGeom>
                  <a:avLst/>
                  <a:gdLst>
                    <a:gd name="connsiteX0" fmla="*/ 244608 w 256074"/>
                    <a:gd name="connsiteY0" fmla="*/ 110357 h 110357"/>
                    <a:gd name="connsiteX1" fmla="*/ 11466 w 256074"/>
                    <a:gd name="connsiteY1" fmla="*/ 110357 h 110357"/>
                    <a:gd name="connsiteX2" fmla="*/ 0 w 256074"/>
                    <a:gd name="connsiteY2" fmla="*/ 98891 h 110357"/>
                    <a:gd name="connsiteX3" fmla="*/ 98891 w 256074"/>
                    <a:gd name="connsiteY3" fmla="*/ 0 h 110357"/>
                    <a:gd name="connsiteX4" fmla="*/ 157183 w 256074"/>
                    <a:gd name="connsiteY4" fmla="*/ 0 h 110357"/>
                    <a:gd name="connsiteX5" fmla="*/ 256074 w 256074"/>
                    <a:gd name="connsiteY5" fmla="*/ 98891 h 110357"/>
                    <a:gd name="connsiteX6" fmla="*/ 244608 w 256074"/>
                    <a:gd name="connsiteY6" fmla="*/ 110357 h 110357"/>
                    <a:gd name="connsiteX7" fmla="*/ 23791 w 256074"/>
                    <a:gd name="connsiteY7" fmla="*/ 87426 h 110357"/>
                    <a:gd name="connsiteX8" fmla="*/ 232283 w 256074"/>
                    <a:gd name="connsiteY8" fmla="*/ 87426 h 110357"/>
                    <a:gd name="connsiteX9" fmla="*/ 157183 w 256074"/>
                    <a:gd name="connsiteY9" fmla="*/ 22931 h 110357"/>
                    <a:gd name="connsiteX10" fmla="*/ 98891 w 256074"/>
                    <a:gd name="connsiteY10" fmla="*/ 22931 h 110357"/>
                    <a:gd name="connsiteX11" fmla="*/ 23791 w 256074"/>
                    <a:gd name="connsiteY11" fmla="*/ 87426 h 11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074" h="110357">
                      <a:moveTo>
                        <a:pt x="244608" y="110357"/>
                      </a:moveTo>
                      <a:lnTo>
                        <a:pt x="11466" y="110357"/>
                      </a:lnTo>
                      <a:cubicBezTo>
                        <a:pt x="5125" y="110357"/>
                        <a:pt x="0" y="105232"/>
                        <a:pt x="0" y="98891"/>
                      </a:cubicBezTo>
                      <a:cubicBezTo>
                        <a:pt x="0" y="44361"/>
                        <a:pt x="44361" y="0"/>
                        <a:pt x="98891" y="0"/>
                      </a:cubicBezTo>
                      <a:lnTo>
                        <a:pt x="157183" y="0"/>
                      </a:lnTo>
                      <a:cubicBezTo>
                        <a:pt x="211714" y="0"/>
                        <a:pt x="256074" y="44361"/>
                        <a:pt x="256074" y="98891"/>
                      </a:cubicBezTo>
                      <a:cubicBezTo>
                        <a:pt x="256074" y="105232"/>
                        <a:pt x="250949" y="110357"/>
                        <a:pt x="244608" y="110357"/>
                      </a:cubicBezTo>
                      <a:close/>
                      <a:moveTo>
                        <a:pt x="23791" y="87426"/>
                      </a:moveTo>
                      <a:lnTo>
                        <a:pt x="232283" y="87426"/>
                      </a:lnTo>
                      <a:cubicBezTo>
                        <a:pt x="226745" y="50953"/>
                        <a:pt x="195180" y="22931"/>
                        <a:pt x="157183" y="22931"/>
                      </a:cubicBezTo>
                      <a:lnTo>
                        <a:pt x="98891" y="22931"/>
                      </a:lnTo>
                      <a:cubicBezTo>
                        <a:pt x="60906" y="22931"/>
                        <a:pt x="29340" y="50965"/>
                        <a:pt x="23791" y="87426"/>
                      </a:cubicBezTo>
                      <a:close/>
                    </a:path>
                  </a:pathLst>
                </a:custGeom>
                <a:grpFill/>
                <a:ln w="1145" cap="flat">
                  <a:noFill/>
                  <a:prstDash val="solid"/>
                  <a:miter/>
                </a:ln>
              </p:spPr>
              <p:txBody>
                <a:bodyPr rtlCol="0" anchor="ctr"/>
                <a:lstStyle/>
                <a:p>
                  <a:endParaRPr lang="en-GB" dirty="0"/>
                </a:p>
              </p:txBody>
            </p:sp>
            <p:sp>
              <p:nvSpPr>
                <p:cNvPr id="445" name="Freeform: Shape 444">
                  <a:extLst>
                    <a:ext uri="{FF2B5EF4-FFF2-40B4-BE49-F238E27FC236}">
                      <a16:creationId xmlns:a16="http://schemas.microsoft.com/office/drawing/2014/main" id="{6610343F-8549-46AE-A949-1A4F8F7FC048}"/>
                    </a:ext>
                  </a:extLst>
                </p:cNvPr>
                <p:cNvSpPr/>
                <p:nvPr/>
              </p:nvSpPr>
              <p:spPr>
                <a:xfrm>
                  <a:off x="6958773" y="4841345"/>
                  <a:ext cx="139491" cy="158936"/>
                </a:xfrm>
                <a:custGeom>
                  <a:avLst/>
                  <a:gdLst>
                    <a:gd name="connsiteX0" fmla="*/ 69746 w 139491"/>
                    <a:gd name="connsiteY0" fmla="*/ 158937 h 158936"/>
                    <a:gd name="connsiteX1" fmla="*/ 0 w 139491"/>
                    <a:gd name="connsiteY1" fmla="*/ 79468 h 158936"/>
                    <a:gd name="connsiteX2" fmla="*/ 69746 w 139491"/>
                    <a:gd name="connsiteY2" fmla="*/ 0 h 158936"/>
                    <a:gd name="connsiteX3" fmla="*/ 139492 w 139491"/>
                    <a:gd name="connsiteY3" fmla="*/ 79468 h 158936"/>
                    <a:gd name="connsiteX4" fmla="*/ 69746 w 139491"/>
                    <a:gd name="connsiteY4" fmla="*/ 158937 h 158936"/>
                    <a:gd name="connsiteX5" fmla="*/ 69746 w 139491"/>
                    <a:gd name="connsiteY5" fmla="*/ 22943 h 158936"/>
                    <a:gd name="connsiteX6" fmla="*/ 22931 w 139491"/>
                    <a:gd name="connsiteY6" fmla="*/ 79480 h 158936"/>
                    <a:gd name="connsiteX7" fmla="*/ 69746 w 139491"/>
                    <a:gd name="connsiteY7" fmla="*/ 136017 h 158936"/>
                    <a:gd name="connsiteX8" fmla="*/ 116560 w 139491"/>
                    <a:gd name="connsiteY8" fmla="*/ 79480 h 158936"/>
                    <a:gd name="connsiteX9" fmla="*/ 69746 w 139491"/>
                    <a:gd name="connsiteY9" fmla="*/ 22943 h 15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491" h="158936">
                      <a:moveTo>
                        <a:pt x="69746" y="158937"/>
                      </a:moveTo>
                      <a:cubicBezTo>
                        <a:pt x="28676" y="158937"/>
                        <a:pt x="0" y="126260"/>
                        <a:pt x="0" y="79468"/>
                      </a:cubicBezTo>
                      <a:cubicBezTo>
                        <a:pt x="0" y="32677"/>
                        <a:pt x="28676" y="0"/>
                        <a:pt x="69746" y="0"/>
                      </a:cubicBezTo>
                      <a:cubicBezTo>
                        <a:pt x="110816" y="0"/>
                        <a:pt x="139492" y="32677"/>
                        <a:pt x="139492" y="79468"/>
                      </a:cubicBezTo>
                      <a:cubicBezTo>
                        <a:pt x="139492" y="126260"/>
                        <a:pt x="110816" y="158937"/>
                        <a:pt x="69746" y="158937"/>
                      </a:cubicBezTo>
                      <a:close/>
                      <a:moveTo>
                        <a:pt x="69746" y="22943"/>
                      </a:moveTo>
                      <a:cubicBezTo>
                        <a:pt x="35188" y="22943"/>
                        <a:pt x="22931" y="53395"/>
                        <a:pt x="22931" y="79480"/>
                      </a:cubicBezTo>
                      <a:cubicBezTo>
                        <a:pt x="22931" y="105564"/>
                        <a:pt x="35188" y="136017"/>
                        <a:pt x="69746" y="136017"/>
                      </a:cubicBezTo>
                      <a:cubicBezTo>
                        <a:pt x="104303" y="136017"/>
                        <a:pt x="116560" y="105564"/>
                        <a:pt x="116560" y="79480"/>
                      </a:cubicBezTo>
                      <a:cubicBezTo>
                        <a:pt x="116560" y="53395"/>
                        <a:pt x="104303" y="22943"/>
                        <a:pt x="69746" y="22943"/>
                      </a:cubicBezTo>
                      <a:close/>
                    </a:path>
                  </a:pathLst>
                </a:custGeom>
                <a:grpFill/>
                <a:ln w="1145" cap="flat">
                  <a:noFill/>
                  <a:prstDash val="solid"/>
                  <a:miter/>
                </a:ln>
              </p:spPr>
              <p:txBody>
                <a:bodyPr rtlCol="0" anchor="ctr"/>
                <a:lstStyle/>
                <a:p>
                  <a:endParaRPr lang="en-GB" dirty="0"/>
                </a:p>
              </p:txBody>
            </p:sp>
          </p:grpSp>
          <p:grpSp>
            <p:nvGrpSpPr>
              <p:cNvPr id="438" name="Graphic 48">
                <a:extLst>
                  <a:ext uri="{FF2B5EF4-FFF2-40B4-BE49-F238E27FC236}">
                    <a16:creationId xmlns:a16="http://schemas.microsoft.com/office/drawing/2014/main" id="{6FBD7D90-3CF0-42F5-BD9A-6717A94A9118}"/>
                  </a:ext>
                </a:extLst>
              </p:cNvPr>
              <p:cNvGrpSpPr/>
              <p:nvPr/>
            </p:nvGrpSpPr>
            <p:grpSpPr>
              <a:xfrm>
                <a:off x="8104112" y="4319309"/>
                <a:ext cx="144392" cy="168831"/>
                <a:chOff x="6311915" y="4841345"/>
                <a:chExt cx="256062" cy="299402"/>
              </a:xfrm>
              <a:grpFill/>
            </p:grpSpPr>
            <p:sp>
              <p:nvSpPr>
                <p:cNvPr id="442" name="Freeform: Shape 441">
                  <a:extLst>
                    <a:ext uri="{FF2B5EF4-FFF2-40B4-BE49-F238E27FC236}">
                      <a16:creationId xmlns:a16="http://schemas.microsoft.com/office/drawing/2014/main" id="{13EA423B-966E-4735-A465-D5CB0807632D}"/>
                    </a:ext>
                  </a:extLst>
                </p:cNvPr>
                <p:cNvSpPr/>
                <p:nvPr/>
              </p:nvSpPr>
              <p:spPr>
                <a:xfrm>
                  <a:off x="6311915" y="5030391"/>
                  <a:ext cx="256062" cy="110357"/>
                </a:xfrm>
                <a:custGeom>
                  <a:avLst/>
                  <a:gdLst>
                    <a:gd name="connsiteX0" fmla="*/ 244597 w 256062"/>
                    <a:gd name="connsiteY0" fmla="*/ 110357 h 110357"/>
                    <a:gd name="connsiteX1" fmla="*/ 11466 w 256062"/>
                    <a:gd name="connsiteY1" fmla="*/ 110357 h 110357"/>
                    <a:gd name="connsiteX2" fmla="*/ 0 w 256062"/>
                    <a:gd name="connsiteY2" fmla="*/ 98891 h 110357"/>
                    <a:gd name="connsiteX3" fmla="*/ 98891 w 256062"/>
                    <a:gd name="connsiteY3" fmla="*/ 0 h 110357"/>
                    <a:gd name="connsiteX4" fmla="*/ 157172 w 256062"/>
                    <a:gd name="connsiteY4" fmla="*/ 0 h 110357"/>
                    <a:gd name="connsiteX5" fmla="*/ 256063 w 256062"/>
                    <a:gd name="connsiteY5" fmla="*/ 98891 h 110357"/>
                    <a:gd name="connsiteX6" fmla="*/ 244597 w 256062"/>
                    <a:gd name="connsiteY6" fmla="*/ 110357 h 110357"/>
                    <a:gd name="connsiteX7" fmla="*/ 23791 w 256062"/>
                    <a:gd name="connsiteY7" fmla="*/ 87426 h 110357"/>
                    <a:gd name="connsiteX8" fmla="*/ 232272 w 256062"/>
                    <a:gd name="connsiteY8" fmla="*/ 87426 h 110357"/>
                    <a:gd name="connsiteX9" fmla="*/ 157172 w 256062"/>
                    <a:gd name="connsiteY9" fmla="*/ 22931 h 110357"/>
                    <a:gd name="connsiteX10" fmla="*/ 98891 w 256062"/>
                    <a:gd name="connsiteY10" fmla="*/ 22931 h 110357"/>
                    <a:gd name="connsiteX11" fmla="*/ 23791 w 256062"/>
                    <a:gd name="connsiteY11" fmla="*/ 87426 h 11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062" h="110357">
                      <a:moveTo>
                        <a:pt x="244597" y="110357"/>
                      </a:moveTo>
                      <a:lnTo>
                        <a:pt x="11466" y="110357"/>
                      </a:lnTo>
                      <a:cubicBezTo>
                        <a:pt x="5125" y="110357"/>
                        <a:pt x="0" y="105232"/>
                        <a:pt x="0" y="98891"/>
                      </a:cubicBezTo>
                      <a:cubicBezTo>
                        <a:pt x="0" y="44361"/>
                        <a:pt x="44361" y="0"/>
                        <a:pt x="98891" y="0"/>
                      </a:cubicBezTo>
                      <a:lnTo>
                        <a:pt x="157172" y="0"/>
                      </a:lnTo>
                      <a:cubicBezTo>
                        <a:pt x="211702" y="0"/>
                        <a:pt x="256063" y="44361"/>
                        <a:pt x="256063" y="98891"/>
                      </a:cubicBezTo>
                      <a:cubicBezTo>
                        <a:pt x="256063" y="105232"/>
                        <a:pt x="250938" y="110357"/>
                        <a:pt x="244597" y="110357"/>
                      </a:cubicBezTo>
                      <a:close/>
                      <a:moveTo>
                        <a:pt x="23791" y="87426"/>
                      </a:moveTo>
                      <a:lnTo>
                        <a:pt x="232272" y="87426"/>
                      </a:lnTo>
                      <a:cubicBezTo>
                        <a:pt x="226734" y="50953"/>
                        <a:pt x="195169" y="22931"/>
                        <a:pt x="157172" y="22931"/>
                      </a:cubicBezTo>
                      <a:lnTo>
                        <a:pt x="98891" y="22931"/>
                      </a:lnTo>
                      <a:cubicBezTo>
                        <a:pt x="60906" y="22931"/>
                        <a:pt x="29341" y="50965"/>
                        <a:pt x="23791" y="87426"/>
                      </a:cubicBezTo>
                      <a:close/>
                    </a:path>
                  </a:pathLst>
                </a:custGeom>
                <a:grpFill/>
                <a:ln w="1145" cap="flat">
                  <a:noFill/>
                  <a:prstDash val="solid"/>
                  <a:miter/>
                </a:ln>
              </p:spPr>
              <p:txBody>
                <a:bodyPr rtlCol="0" anchor="ctr"/>
                <a:lstStyle/>
                <a:p>
                  <a:endParaRPr lang="en-GB" dirty="0"/>
                </a:p>
              </p:txBody>
            </p:sp>
            <p:sp>
              <p:nvSpPr>
                <p:cNvPr id="443" name="Freeform: Shape 442">
                  <a:extLst>
                    <a:ext uri="{FF2B5EF4-FFF2-40B4-BE49-F238E27FC236}">
                      <a16:creationId xmlns:a16="http://schemas.microsoft.com/office/drawing/2014/main" id="{8D8D3881-68C6-4CBF-9988-7FECFA7A8B39}"/>
                    </a:ext>
                  </a:extLst>
                </p:cNvPr>
                <p:cNvSpPr/>
                <p:nvPr/>
              </p:nvSpPr>
              <p:spPr>
                <a:xfrm>
                  <a:off x="6370195" y="4841345"/>
                  <a:ext cx="139502" cy="158936"/>
                </a:xfrm>
                <a:custGeom>
                  <a:avLst/>
                  <a:gdLst>
                    <a:gd name="connsiteX0" fmla="*/ 69757 w 139502"/>
                    <a:gd name="connsiteY0" fmla="*/ 158937 h 158936"/>
                    <a:gd name="connsiteX1" fmla="*/ 0 w 139502"/>
                    <a:gd name="connsiteY1" fmla="*/ 79468 h 158936"/>
                    <a:gd name="connsiteX2" fmla="*/ 69757 w 139502"/>
                    <a:gd name="connsiteY2" fmla="*/ 0 h 158936"/>
                    <a:gd name="connsiteX3" fmla="*/ 139503 w 139502"/>
                    <a:gd name="connsiteY3" fmla="*/ 79468 h 158936"/>
                    <a:gd name="connsiteX4" fmla="*/ 69757 w 139502"/>
                    <a:gd name="connsiteY4" fmla="*/ 158937 h 158936"/>
                    <a:gd name="connsiteX5" fmla="*/ 69757 w 139502"/>
                    <a:gd name="connsiteY5" fmla="*/ 22943 h 158936"/>
                    <a:gd name="connsiteX6" fmla="*/ 22931 w 139502"/>
                    <a:gd name="connsiteY6" fmla="*/ 79480 h 158936"/>
                    <a:gd name="connsiteX7" fmla="*/ 69757 w 139502"/>
                    <a:gd name="connsiteY7" fmla="*/ 136017 h 158936"/>
                    <a:gd name="connsiteX8" fmla="*/ 116571 w 139502"/>
                    <a:gd name="connsiteY8" fmla="*/ 79480 h 158936"/>
                    <a:gd name="connsiteX9" fmla="*/ 69757 w 139502"/>
                    <a:gd name="connsiteY9" fmla="*/ 22943 h 15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502" h="158936">
                      <a:moveTo>
                        <a:pt x="69757" y="158937"/>
                      </a:moveTo>
                      <a:cubicBezTo>
                        <a:pt x="28687" y="158937"/>
                        <a:pt x="0" y="126260"/>
                        <a:pt x="0" y="79468"/>
                      </a:cubicBezTo>
                      <a:cubicBezTo>
                        <a:pt x="0" y="32677"/>
                        <a:pt x="28687" y="0"/>
                        <a:pt x="69757" y="0"/>
                      </a:cubicBezTo>
                      <a:cubicBezTo>
                        <a:pt x="110827" y="0"/>
                        <a:pt x="139503" y="32677"/>
                        <a:pt x="139503" y="79468"/>
                      </a:cubicBezTo>
                      <a:cubicBezTo>
                        <a:pt x="139503" y="126260"/>
                        <a:pt x="110827" y="158937"/>
                        <a:pt x="69757" y="158937"/>
                      </a:cubicBezTo>
                      <a:close/>
                      <a:moveTo>
                        <a:pt x="69757" y="22943"/>
                      </a:moveTo>
                      <a:cubicBezTo>
                        <a:pt x="35188" y="22943"/>
                        <a:pt x="22931" y="53395"/>
                        <a:pt x="22931" y="79480"/>
                      </a:cubicBezTo>
                      <a:cubicBezTo>
                        <a:pt x="22931" y="105564"/>
                        <a:pt x="35188" y="136017"/>
                        <a:pt x="69757" y="136017"/>
                      </a:cubicBezTo>
                      <a:cubicBezTo>
                        <a:pt x="104315" y="136017"/>
                        <a:pt x="116571" y="105564"/>
                        <a:pt x="116571" y="79480"/>
                      </a:cubicBezTo>
                      <a:cubicBezTo>
                        <a:pt x="116571" y="53395"/>
                        <a:pt x="104315" y="22943"/>
                        <a:pt x="69757" y="22943"/>
                      </a:cubicBezTo>
                      <a:close/>
                    </a:path>
                  </a:pathLst>
                </a:custGeom>
                <a:grpFill/>
                <a:ln w="1145" cap="flat">
                  <a:noFill/>
                  <a:prstDash val="solid"/>
                  <a:miter/>
                </a:ln>
              </p:spPr>
              <p:txBody>
                <a:bodyPr rtlCol="0" anchor="ctr"/>
                <a:lstStyle/>
                <a:p>
                  <a:endParaRPr lang="en-GB" dirty="0"/>
                </a:p>
              </p:txBody>
            </p:sp>
          </p:grpSp>
          <p:grpSp>
            <p:nvGrpSpPr>
              <p:cNvPr id="439" name="Graphic 48">
                <a:extLst>
                  <a:ext uri="{FF2B5EF4-FFF2-40B4-BE49-F238E27FC236}">
                    <a16:creationId xmlns:a16="http://schemas.microsoft.com/office/drawing/2014/main" id="{BEB367FE-A704-45AD-BF27-E295D9B07A7C}"/>
                  </a:ext>
                </a:extLst>
              </p:cNvPr>
              <p:cNvGrpSpPr/>
              <p:nvPr/>
            </p:nvGrpSpPr>
            <p:grpSpPr>
              <a:xfrm>
                <a:off x="8265747" y="4319309"/>
                <a:ext cx="144392" cy="168831"/>
                <a:chOff x="6598556" y="4841345"/>
                <a:chExt cx="256062" cy="299402"/>
              </a:xfrm>
              <a:grpFill/>
            </p:grpSpPr>
            <p:sp>
              <p:nvSpPr>
                <p:cNvPr id="440" name="Freeform: Shape 439">
                  <a:extLst>
                    <a:ext uri="{FF2B5EF4-FFF2-40B4-BE49-F238E27FC236}">
                      <a16:creationId xmlns:a16="http://schemas.microsoft.com/office/drawing/2014/main" id="{3534A288-BD26-4848-839B-E451F76A8E27}"/>
                    </a:ext>
                  </a:extLst>
                </p:cNvPr>
                <p:cNvSpPr/>
                <p:nvPr/>
              </p:nvSpPr>
              <p:spPr>
                <a:xfrm>
                  <a:off x="6598556" y="5030391"/>
                  <a:ext cx="256062" cy="110357"/>
                </a:xfrm>
                <a:custGeom>
                  <a:avLst/>
                  <a:gdLst>
                    <a:gd name="connsiteX0" fmla="*/ 244597 w 256062"/>
                    <a:gd name="connsiteY0" fmla="*/ 110357 h 110357"/>
                    <a:gd name="connsiteX1" fmla="*/ 11466 w 256062"/>
                    <a:gd name="connsiteY1" fmla="*/ 110357 h 110357"/>
                    <a:gd name="connsiteX2" fmla="*/ 0 w 256062"/>
                    <a:gd name="connsiteY2" fmla="*/ 98891 h 110357"/>
                    <a:gd name="connsiteX3" fmla="*/ 98891 w 256062"/>
                    <a:gd name="connsiteY3" fmla="*/ 0 h 110357"/>
                    <a:gd name="connsiteX4" fmla="*/ 157172 w 256062"/>
                    <a:gd name="connsiteY4" fmla="*/ 0 h 110357"/>
                    <a:gd name="connsiteX5" fmla="*/ 256063 w 256062"/>
                    <a:gd name="connsiteY5" fmla="*/ 98891 h 110357"/>
                    <a:gd name="connsiteX6" fmla="*/ 244597 w 256062"/>
                    <a:gd name="connsiteY6" fmla="*/ 110357 h 110357"/>
                    <a:gd name="connsiteX7" fmla="*/ 23791 w 256062"/>
                    <a:gd name="connsiteY7" fmla="*/ 87426 h 110357"/>
                    <a:gd name="connsiteX8" fmla="*/ 232272 w 256062"/>
                    <a:gd name="connsiteY8" fmla="*/ 87426 h 110357"/>
                    <a:gd name="connsiteX9" fmla="*/ 157172 w 256062"/>
                    <a:gd name="connsiteY9" fmla="*/ 22931 h 110357"/>
                    <a:gd name="connsiteX10" fmla="*/ 98891 w 256062"/>
                    <a:gd name="connsiteY10" fmla="*/ 22931 h 110357"/>
                    <a:gd name="connsiteX11" fmla="*/ 23791 w 256062"/>
                    <a:gd name="connsiteY11" fmla="*/ 87426 h 11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6062" h="110357">
                      <a:moveTo>
                        <a:pt x="244597" y="110357"/>
                      </a:moveTo>
                      <a:lnTo>
                        <a:pt x="11466" y="110357"/>
                      </a:lnTo>
                      <a:cubicBezTo>
                        <a:pt x="5125" y="110357"/>
                        <a:pt x="0" y="105232"/>
                        <a:pt x="0" y="98891"/>
                      </a:cubicBezTo>
                      <a:cubicBezTo>
                        <a:pt x="0" y="44361"/>
                        <a:pt x="44361" y="0"/>
                        <a:pt x="98891" y="0"/>
                      </a:cubicBezTo>
                      <a:lnTo>
                        <a:pt x="157172" y="0"/>
                      </a:lnTo>
                      <a:cubicBezTo>
                        <a:pt x="211702" y="0"/>
                        <a:pt x="256063" y="44361"/>
                        <a:pt x="256063" y="98891"/>
                      </a:cubicBezTo>
                      <a:cubicBezTo>
                        <a:pt x="256063" y="105232"/>
                        <a:pt x="250938" y="110357"/>
                        <a:pt x="244597" y="110357"/>
                      </a:cubicBezTo>
                      <a:close/>
                      <a:moveTo>
                        <a:pt x="23791" y="87426"/>
                      </a:moveTo>
                      <a:lnTo>
                        <a:pt x="232272" y="87426"/>
                      </a:lnTo>
                      <a:cubicBezTo>
                        <a:pt x="226734" y="50953"/>
                        <a:pt x="195169" y="22931"/>
                        <a:pt x="157172" y="22931"/>
                      </a:cubicBezTo>
                      <a:lnTo>
                        <a:pt x="98891" y="22931"/>
                      </a:lnTo>
                      <a:cubicBezTo>
                        <a:pt x="60906" y="22931"/>
                        <a:pt x="29340" y="50965"/>
                        <a:pt x="23791" y="87426"/>
                      </a:cubicBezTo>
                      <a:close/>
                    </a:path>
                  </a:pathLst>
                </a:custGeom>
                <a:grpFill/>
                <a:ln w="1145" cap="flat">
                  <a:noFill/>
                  <a:prstDash val="solid"/>
                  <a:miter/>
                </a:ln>
              </p:spPr>
              <p:txBody>
                <a:bodyPr rtlCol="0" anchor="ctr"/>
                <a:lstStyle/>
                <a:p>
                  <a:endParaRPr lang="en-GB" dirty="0"/>
                </a:p>
              </p:txBody>
            </p:sp>
            <p:sp>
              <p:nvSpPr>
                <p:cNvPr id="441" name="Freeform: Shape 440">
                  <a:extLst>
                    <a:ext uri="{FF2B5EF4-FFF2-40B4-BE49-F238E27FC236}">
                      <a16:creationId xmlns:a16="http://schemas.microsoft.com/office/drawing/2014/main" id="{8DF4179E-BD48-447E-AED9-A9FF3AED7122}"/>
                    </a:ext>
                  </a:extLst>
                </p:cNvPr>
                <p:cNvSpPr/>
                <p:nvPr/>
              </p:nvSpPr>
              <p:spPr>
                <a:xfrm>
                  <a:off x="6656837" y="4841345"/>
                  <a:ext cx="139502" cy="158936"/>
                </a:xfrm>
                <a:custGeom>
                  <a:avLst/>
                  <a:gdLst>
                    <a:gd name="connsiteX0" fmla="*/ 69757 w 139502"/>
                    <a:gd name="connsiteY0" fmla="*/ 158937 h 158936"/>
                    <a:gd name="connsiteX1" fmla="*/ 0 w 139502"/>
                    <a:gd name="connsiteY1" fmla="*/ 79468 h 158936"/>
                    <a:gd name="connsiteX2" fmla="*/ 69757 w 139502"/>
                    <a:gd name="connsiteY2" fmla="*/ 0 h 158936"/>
                    <a:gd name="connsiteX3" fmla="*/ 139503 w 139502"/>
                    <a:gd name="connsiteY3" fmla="*/ 79468 h 158936"/>
                    <a:gd name="connsiteX4" fmla="*/ 69757 w 139502"/>
                    <a:gd name="connsiteY4" fmla="*/ 158937 h 158936"/>
                    <a:gd name="connsiteX5" fmla="*/ 69757 w 139502"/>
                    <a:gd name="connsiteY5" fmla="*/ 22943 h 158936"/>
                    <a:gd name="connsiteX6" fmla="*/ 22931 w 139502"/>
                    <a:gd name="connsiteY6" fmla="*/ 79480 h 158936"/>
                    <a:gd name="connsiteX7" fmla="*/ 69757 w 139502"/>
                    <a:gd name="connsiteY7" fmla="*/ 136017 h 158936"/>
                    <a:gd name="connsiteX8" fmla="*/ 116571 w 139502"/>
                    <a:gd name="connsiteY8" fmla="*/ 79480 h 158936"/>
                    <a:gd name="connsiteX9" fmla="*/ 69757 w 139502"/>
                    <a:gd name="connsiteY9" fmla="*/ 22943 h 158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9502" h="158936">
                      <a:moveTo>
                        <a:pt x="69757" y="158937"/>
                      </a:moveTo>
                      <a:cubicBezTo>
                        <a:pt x="28687" y="158937"/>
                        <a:pt x="0" y="126260"/>
                        <a:pt x="0" y="79468"/>
                      </a:cubicBezTo>
                      <a:cubicBezTo>
                        <a:pt x="0" y="32677"/>
                        <a:pt x="28687" y="0"/>
                        <a:pt x="69757" y="0"/>
                      </a:cubicBezTo>
                      <a:cubicBezTo>
                        <a:pt x="110827" y="0"/>
                        <a:pt x="139503" y="32677"/>
                        <a:pt x="139503" y="79468"/>
                      </a:cubicBezTo>
                      <a:cubicBezTo>
                        <a:pt x="139503" y="126260"/>
                        <a:pt x="110827" y="158937"/>
                        <a:pt x="69757" y="158937"/>
                      </a:cubicBezTo>
                      <a:close/>
                      <a:moveTo>
                        <a:pt x="69757" y="22943"/>
                      </a:moveTo>
                      <a:cubicBezTo>
                        <a:pt x="35188" y="22943"/>
                        <a:pt x="22931" y="53395"/>
                        <a:pt x="22931" y="79480"/>
                      </a:cubicBezTo>
                      <a:cubicBezTo>
                        <a:pt x="22931" y="105564"/>
                        <a:pt x="35188" y="136017"/>
                        <a:pt x="69757" y="136017"/>
                      </a:cubicBezTo>
                      <a:cubicBezTo>
                        <a:pt x="104315" y="136017"/>
                        <a:pt x="116571" y="105564"/>
                        <a:pt x="116571" y="79480"/>
                      </a:cubicBezTo>
                      <a:cubicBezTo>
                        <a:pt x="116571" y="53395"/>
                        <a:pt x="104315" y="22943"/>
                        <a:pt x="69757" y="22943"/>
                      </a:cubicBezTo>
                      <a:close/>
                    </a:path>
                  </a:pathLst>
                </a:custGeom>
                <a:grpFill/>
                <a:ln w="1145" cap="flat">
                  <a:noFill/>
                  <a:prstDash val="solid"/>
                  <a:miter/>
                </a:ln>
              </p:spPr>
              <p:txBody>
                <a:bodyPr rtlCol="0" anchor="ctr"/>
                <a:lstStyle/>
                <a:p>
                  <a:endParaRPr lang="en-GB" dirty="0"/>
                </a:p>
              </p:txBody>
            </p:sp>
          </p:grpSp>
        </p:grpSp>
        <p:grpSp>
          <p:nvGrpSpPr>
            <p:cNvPr id="394" name="Group 393">
              <a:extLst>
                <a:ext uri="{FF2B5EF4-FFF2-40B4-BE49-F238E27FC236}">
                  <a16:creationId xmlns:a16="http://schemas.microsoft.com/office/drawing/2014/main" id="{5F616117-CED8-43F5-9296-C8E8570C4978}"/>
                </a:ext>
              </a:extLst>
            </p:cNvPr>
            <p:cNvGrpSpPr/>
            <p:nvPr/>
          </p:nvGrpSpPr>
          <p:grpSpPr>
            <a:xfrm>
              <a:off x="3759014" y="2391526"/>
              <a:ext cx="342667" cy="346981"/>
              <a:chOff x="8170919" y="3952124"/>
              <a:chExt cx="342667" cy="346981"/>
            </a:xfrm>
          </p:grpSpPr>
          <p:sp>
            <p:nvSpPr>
              <p:cNvPr id="395" name="Freeform: Shape 394">
                <a:extLst>
                  <a:ext uri="{FF2B5EF4-FFF2-40B4-BE49-F238E27FC236}">
                    <a16:creationId xmlns:a16="http://schemas.microsoft.com/office/drawing/2014/main" id="{647CF03F-D145-4AEB-B2A2-C18FF8ACC9EC}"/>
                  </a:ext>
                </a:extLst>
              </p:cNvPr>
              <p:cNvSpPr/>
              <p:nvPr/>
            </p:nvSpPr>
            <p:spPr>
              <a:xfrm>
                <a:off x="8330718" y="4240916"/>
                <a:ext cx="12931" cy="58189"/>
              </a:xfrm>
              <a:custGeom>
                <a:avLst/>
                <a:gdLst>
                  <a:gd name="connsiteX0" fmla="*/ 11466 w 22931"/>
                  <a:gd name="connsiteY0" fmla="*/ 103191 h 103191"/>
                  <a:gd name="connsiteX1" fmla="*/ 0 w 22931"/>
                  <a:gd name="connsiteY1" fmla="*/ 91725 h 103191"/>
                  <a:gd name="connsiteX2" fmla="*/ 0 w 22931"/>
                  <a:gd name="connsiteY2" fmla="*/ 11466 h 103191"/>
                  <a:gd name="connsiteX3" fmla="*/ 11466 w 22931"/>
                  <a:gd name="connsiteY3" fmla="*/ 0 h 103191"/>
                  <a:gd name="connsiteX4" fmla="*/ 22931 w 22931"/>
                  <a:gd name="connsiteY4" fmla="*/ 11466 h 103191"/>
                  <a:gd name="connsiteX5" fmla="*/ 22931 w 22931"/>
                  <a:gd name="connsiteY5" fmla="*/ 91725 h 103191"/>
                  <a:gd name="connsiteX6" fmla="*/ 11466 w 22931"/>
                  <a:gd name="connsiteY6" fmla="*/ 103191 h 10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103191">
                    <a:moveTo>
                      <a:pt x="11466" y="103191"/>
                    </a:moveTo>
                    <a:cubicBezTo>
                      <a:pt x="5125" y="103191"/>
                      <a:pt x="0" y="98066"/>
                      <a:pt x="0" y="91725"/>
                    </a:cubicBezTo>
                    <a:lnTo>
                      <a:pt x="0" y="11466"/>
                    </a:lnTo>
                    <a:cubicBezTo>
                      <a:pt x="0" y="5125"/>
                      <a:pt x="5125" y="0"/>
                      <a:pt x="11466" y="0"/>
                    </a:cubicBezTo>
                    <a:cubicBezTo>
                      <a:pt x="17806" y="0"/>
                      <a:pt x="22931" y="5125"/>
                      <a:pt x="22931" y="11466"/>
                    </a:cubicBezTo>
                    <a:lnTo>
                      <a:pt x="22931" y="91725"/>
                    </a:lnTo>
                    <a:cubicBezTo>
                      <a:pt x="22931" y="98066"/>
                      <a:pt x="17806" y="103191"/>
                      <a:pt x="11466" y="103191"/>
                    </a:cubicBezTo>
                    <a:close/>
                  </a:path>
                </a:pathLst>
              </a:custGeom>
              <a:solidFill>
                <a:schemeClr val="accent1"/>
              </a:solidFill>
              <a:ln w="1145" cap="flat">
                <a:noFill/>
                <a:prstDash val="solid"/>
                <a:miter/>
              </a:ln>
            </p:spPr>
            <p:txBody>
              <a:bodyPr rtlCol="0" anchor="ctr"/>
              <a:lstStyle/>
              <a:p>
                <a:endParaRPr lang="en-GB" dirty="0"/>
              </a:p>
            </p:txBody>
          </p:sp>
          <p:sp>
            <p:nvSpPr>
              <p:cNvPr id="396" name="Freeform: Shape 395">
                <a:extLst>
                  <a:ext uri="{FF2B5EF4-FFF2-40B4-BE49-F238E27FC236}">
                    <a16:creationId xmlns:a16="http://schemas.microsoft.com/office/drawing/2014/main" id="{B2F5A3F7-4AC5-4206-970C-48D5C54C9E3D}"/>
                  </a:ext>
                </a:extLst>
              </p:cNvPr>
              <p:cNvSpPr/>
              <p:nvPr/>
            </p:nvSpPr>
            <p:spPr>
              <a:xfrm>
                <a:off x="8170919" y="4261127"/>
                <a:ext cx="342667" cy="37978"/>
              </a:xfrm>
              <a:custGeom>
                <a:avLst/>
                <a:gdLst>
                  <a:gd name="connsiteX0" fmla="*/ 596215 w 607680"/>
                  <a:gd name="connsiteY0" fmla="*/ 67350 h 67349"/>
                  <a:gd name="connsiteX1" fmla="*/ 584749 w 607680"/>
                  <a:gd name="connsiteY1" fmla="*/ 55884 h 67349"/>
                  <a:gd name="connsiteX2" fmla="*/ 584749 w 607680"/>
                  <a:gd name="connsiteY2" fmla="*/ 34397 h 67349"/>
                  <a:gd name="connsiteX3" fmla="*/ 573284 w 607680"/>
                  <a:gd name="connsiteY3" fmla="*/ 22931 h 67349"/>
                  <a:gd name="connsiteX4" fmla="*/ 34397 w 607680"/>
                  <a:gd name="connsiteY4" fmla="*/ 22931 h 67349"/>
                  <a:gd name="connsiteX5" fmla="*/ 22931 w 607680"/>
                  <a:gd name="connsiteY5" fmla="*/ 34397 h 67349"/>
                  <a:gd name="connsiteX6" fmla="*/ 22931 w 607680"/>
                  <a:gd name="connsiteY6" fmla="*/ 55884 h 67349"/>
                  <a:gd name="connsiteX7" fmla="*/ 11466 w 607680"/>
                  <a:gd name="connsiteY7" fmla="*/ 67350 h 67349"/>
                  <a:gd name="connsiteX8" fmla="*/ 0 w 607680"/>
                  <a:gd name="connsiteY8" fmla="*/ 55884 h 67349"/>
                  <a:gd name="connsiteX9" fmla="*/ 0 w 607680"/>
                  <a:gd name="connsiteY9" fmla="*/ 34397 h 67349"/>
                  <a:gd name="connsiteX10" fmla="*/ 34397 w 607680"/>
                  <a:gd name="connsiteY10" fmla="*/ 0 h 67349"/>
                  <a:gd name="connsiteX11" fmla="*/ 573284 w 607680"/>
                  <a:gd name="connsiteY11" fmla="*/ 0 h 67349"/>
                  <a:gd name="connsiteX12" fmla="*/ 607681 w 607680"/>
                  <a:gd name="connsiteY12" fmla="*/ 34397 h 67349"/>
                  <a:gd name="connsiteX13" fmla="*/ 607681 w 607680"/>
                  <a:gd name="connsiteY13" fmla="*/ 55884 h 67349"/>
                  <a:gd name="connsiteX14" fmla="*/ 596215 w 607680"/>
                  <a:gd name="connsiteY14" fmla="*/ 67350 h 67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7680" h="67349">
                    <a:moveTo>
                      <a:pt x="596215" y="67350"/>
                    </a:moveTo>
                    <a:cubicBezTo>
                      <a:pt x="589874" y="67350"/>
                      <a:pt x="584749" y="62224"/>
                      <a:pt x="584749" y="55884"/>
                    </a:cubicBezTo>
                    <a:lnTo>
                      <a:pt x="584749" y="34397"/>
                    </a:lnTo>
                    <a:cubicBezTo>
                      <a:pt x="584749" y="28068"/>
                      <a:pt x="579613" y="22931"/>
                      <a:pt x="573284" y="22931"/>
                    </a:cubicBezTo>
                    <a:lnTo>
                      <a:pt x="34397" y="22931"/>
                    </a:lnTo>
                    <a:cubicBezTo>
                      <a:pt x="28068" y="22931"/>
                      <a:pt x="22931" y="28068"/>
                      <a:pt x="22931" y="34397"/>
                    </a:cubicBezTo>
                    <a:lnTo>
                      <a:pt x="22931" y="55884"/>
                    </a:lnTo>
                    <a:cubicBezTo>
                      <a:pt x="22931" y="62224"/>
                      <a:pt x="17806" y="67350"/>
                      <a:pt x="11466" y="67350"/>
                    </a:cubicBezTo>
                    <a:cubicBezTo>
                      <a:pt x="5125" y="67350"/>
                      <a:pt x="0" y="62224"/>
                      <a:pt x="0" y="55884"/>
                    </a:cubicBezTo>
                    <a:lnTo>
                      <a:pt x="0" y="34397"/>
                    </a:lnTo>
                    <a:cubicBezTo>
                      <a:pt x="0" y="15433"/>
                      <a:pt x="15433" y="0"/>
                      <a:pt x="34397" y="0"/>
                    </a:cubicBezTo>
                    <a:lnTo>
                      <a:pt x="573284" y="0"/>
                    </a:lnTo>
                    <a:cubicBezTo>
                      <a:pt x="592248" y="0"/>
                      <a:pt x="607681" y="15433"/>
                      <a:pt x="607681" y="34397"/>
                    </a:cubicBezTo>
                    <a:lnTo>
                      <a:pt x="607681" y="55884"/>
                    </a:lnTo>
                    <a:cubicBezTo>
                      <a:pt x="607681" y="62224"/>
                      <a:pt x="602555" y="67350"/>
                      <a:pt x="596215" y="67350"/>
                    </a:cubicBezTo>
                    <a:close/>
                  </a:path>
                </a:pathLst>
              </a:custGeom>
              <a:solidFill>
                <a:schemeClr val="accent1"/>
              </a:solidFill>
              <a:ln w="1145" cap="flat">
                <a:noFill/>
                <a:prstDash val="solid"/>
                <a:miter/>
              </a:ln>
            </p:spPr>
            <p:txBody>
              <a:bodyPr rtlCol="0" anchor="ctr"/>
              <a:lstStyle/>
              <a:p>
                <a:endParaRPr lang="en-GB" dirty="0"/>
              </a:p>
            </p:txBody>
          </p:sp>
          <p:grpSp>
            <p:nvGrpSpPr>
              <p:cNvPr id="397" name="Graphic 48">
                <a:extLst>
                  <a:ext uri="{FF2B5EF4-FFF2-40B4-BE49-F238E27FC236}">
                    <a16:creationId xmlns:a16="http://schemas.microsoft.com/office/drawing/2014/main" id="{55152D7D-3E23-4A52-AEE4-8B138946285A}"/>
                  </a:ext>
                </a:extLst>
              </p:cNvPr>
              <p:cNvGrpSpPr/>
              <p:nvPr/>
            </p:nvGrpSpPr>
            <p:grpSpPr>
              <a:xfrm>
                <a:off x="8200996" y="3952124"/>
                <a:ext cx="274813" cy="274781"/>
                <a:chOff x="6483728" y="4190186"/>
                <a:chExt cx="487349" cy="487291"/>
              </a:xfrm>
              <a:solidFill>
                <a:schemeClr val="accent1"/>
              </a:solidFill>
            </p:grpSpPr>
            <p:grpSp>
              <p:nvGrpSpPr>
                <p:cNvPr id="398" name="Graphic 48">
                  <a:extLst>
                    <a:ext uri="{FF2B5EF4-FFF2-40B4-BE49-F238E27FC236}">
                      <a16:creationId xmlns:a16="http://schemas.microsoft.com/office/drawing/2014/main" id="{2958D0CB-4D57-445A-8696-EF7A991763A0}"/>
                    </a:ext>
                  </a:extLst>
                </p:cNvPr>
                <p:cNvGrpSpPr/>
                <p:nvPr/>
              </p:nvGrpSpPr>
              <p:grpSpPr>
                <a:xfrm>
                  <a:off x="6483728" y="4190186"/>
                  <a:ext cx="487349" cy="487291"/>
                  <a:chOff x="6483728" y="4190186"/>
                  <a:chExt cx="487349" cy="487291"/>
                </a:xfrm>
                <a:solidFill>
                  <a:schemeClr val="accent1"/>
                </a:solidFill>
              </p:grpSpPr>
              <p:sp>
                <p:nvSpPr>
                  <p:cNvPr id="402" name="Freeform: Shape 401">
                    <a:extLst>
                      <a:ext uri="{FF2B5EF4-FFF2-40B4-BE49-F238E27FC236}">
                        <a16:creationId xmlns:a16="http://schemas.microsoft.com/office/drawing/2014/main" id="{D8351290-DC2D-4E26-9C50-64C24BF59A0E}"/>
                      </a:ext>
                    </a:extLst>
                  </p:cNvPr>
                  <p:cNvSpPr/>
                  <p:nvPr/>
                </p:nvSpPr>
                <p:spPr>
                  <a:xfrm>
                    <a:off x="6578239" y="4284388"/>
                    <a:ext cx="298313" cy="298325"/>
                  </a:xfrm>
                  <a:custGeom>
                    <a:avLst/>
                    <a:gdLst>
                      <a:gd name="connsiteX0" fmla="*/ 149157 w 298313"/>
                      <a:gd name="connsiteY0" fmla="*/ 298325 h 298325"/>
                      <a:gd name="connsiteX1" fmla="*/ 0 w 298313"/>
                      <a:gd name="connsiteY1" fmla="*/ 149168 h 298325"/>
                      <a:gd name="connsiteX2" fmla="*/ 149157 w 298313"/>
                      <a:gd name="connsiteY2" fmla="*/ 0 h 298325"/>
                      <a:gd name="connsiteX3" fmla="*/ 298314 w 298313"/>
                      <a:gd name="connsiteY3" fmla="*/ 149168 h 298325"/>
                      <a:gd name="connsiteX4" fmla="*/ 149157 w 298313"/>
                      <a:gd name="connsiteY4" fmla="*/ 298325 h 298325"/>
                      <a:gd name="connsiteX5" fmla="*/ 149157 w 298313"/>
                      <a:gd name="connsiteY5" fmla="*/ 22943 h 298325"/>
                      <a:gd name="connsiteX6" fmla="*/ 22931 w 298313"/>
                      <a:gd name="connsiteY6" fmla="*/ 149180 h 298325"/>
                      <a:gd name="connsiteX7" fmla="*/ 149157 w 298313"/>
                      <a:gd name="connsiteY7" fmla="*/ 275405 h 298325"/>
                      <a:gd name="connsiteX8" fmla="*/ 275382 w 298313"/>
                      <a:gd name="connsiteY8" fmla="*/ 149180 h 298325"/>
                      <a:gd name="connsiteX9" fmla="*/ 149157 w 298313"/>
                      <a:gd name="connsiteY9" fmla="*/ 22943 h 29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313" h="298325">
                        <a:moveTo>
                          <a:pt x="149157" y="298325"/>
                        </a:moveTo>
                        <a:cubicBezTo>
                          <a:pt x="66914" y="298325"/>
                          <a:pt x="0" y="231412"/>
                          <a:pt x="0" y="149168"/>
                        </a:cubicBezTo>
                        <a:cubicBezTo>
                          <a:pt x="0" y="66914"/>
                          <a:pt x="66914" y="0"/>
                          <a:pt x="149157" y="0"/>
                        </a:cubicBezTo>
                        <a:cubicBezTo>
                          <a:pt x="231400" y="0"/>
                          <a:pt x="298314" y="66914"/>
                          <a:pt x="298314" y="149168"/>
                        </a:cubicBezTo>
                        <a:cubicBezTo>
                          <a:pt x="298314" y="231412"/>
                          <a:pt x="231400" y="298325"/>
                          <a:pt x="149157" y="298325"/>
                        </a:cubicBezTo>
                        <a:close/>
                        <a:moveTo>
                          <a:pt x="149157" y="22943"/>
                        </a:moveTo>
                        <a:cubicBezTo>
                          <a:pt x="79560" y="22943"/>
                          <a:pt x="22931" y="79560"/>
                          <a:pt x="22931" y="149180"/>
                        </a:cubicBezTo>
                        <a:cubicBezTo>
                          <a:pt x="22931" y="218777"/>
                          <a:pt x="79549" y="275405"/>
                          <a:pt x="149157" y="275405"/>
                        </a:cubicBezTo>
                        <a:cubicBezTo>
                          <a:pt x="218765" y="275405"/>
                          <a:pt x="275382" y="218788"/>
                          <a:pt x="275382" y="149180"/>
                        </a:cubicBezTo>
                        <a:cubicBezTo>
                          <a:pt x="275382" y="79560"/>
                          <a:pt x="218765" y="22943"/>
                          <a:pt x="149157" y="22943"/>
                        </a:cubicBezTo>
                        <a:close/>
                      </a:path>
                    </a:pathLst>
                  </a:custGeom>
                  <a:solidFill>
                    <a:schemeClr val="accent1"/>
                  </a:solidFill>
                  <a:ln w="1145" cap="flat">
                    <a:noFill/>
                    <a:prstDash val="solid"/>
                    <a:miter/>
                  </a:ln>
                </p:spPr>
                <p:txBody>
                  <a:bodyPr rtlCol="0" anchor="ctr"/>
                  <a:lstStyle/>
                  <a:p>
                    <a:endParaRPr lang="en-GB" dirty="0"/>
                  </a:p>
                </p:txBody>
              </p:sp>
              <p:grpSp>
                <p:nvGrpSpPr>
                  <p:cNvPr id="403" name="Graphic 48">
                    <a:extLst>
                      <a:ext uri="{FF2B5EF4-FFF2-40B4-BE49-F238E27FC236}">
                        <a16:creationId xmlns:a16="http://schemas.microsoft.com/office/drawing/2014/main" id="{2C24A41B-A8D1-4276-8992-02706C0AE9EA}"/>
                      </a:ext>
                    </a:extLst>
                  </p:cNvPr>
                  <p:cNvGrpSpPr/>
                  <p:nvPr/>
                </p:nvGrpSpPr>
                <p:grpSpPr>
                  <a:xfrm>
                    <a:off x="6483728" y="4391019"/>
                    <a:ext cx="117144" cy="84490"/>
                    <a:chOff x="6483728" y="4391019"/>
                    <a:chExt cx="117144" cy="84490"/>
                  </a:xfrm>
                  <a:solidFill>
                    <a:schemeClr val="accent1"/>
                  </a:solidFill>
                </p:grpSpPr>
                <p:sp>
                  <p:nvSpPr>
                    <p:cNvPr id="435" name="Freeform: Shape 434">
                      <a:extLst>
                        <a:ext uri="{FF2B5EF4-FFF2-40B4-BE49-F238E27FC236}">
                          <a16:creationId xmlns:a16="http://schemas.microsoft.com/office/drawing/2014/main" id="{74F476CE-3851-4C2E-AE7D-6E051FFBE658}"/>
                        </a:ext>
                      </a:extLst>
                    </p:cNvPr>
                    <p:cNvSpPr/>
                    <p:nvPr/>
                  </p:nvSpPr>
                  <p:spPr>
                    <a:xfrm>
                      <a:off x="6483728" y="4391019"/>
                      <a:ext cx="73655" cy="84490"/>
                    </a:xfrm>
                    <a:custGeom>
                      <a:avLst/>
                      <a:gdLst>
                        <a:gd name="connsiteX0" fmla="*/ 31542 w 73655"/>
                        <a:gd name="connsiteY0" fmla="*/ 84490 h 84490"/>
                        <a:gd name="connsiteX1" fmla="*/ 0 w 73655"/>
                        <a:gd name="connsiteY1" fmla="*/ 42366 h 84490"/>
                        <a:gd name="connsiteX2" fmla="*/ 30487 w 73655"/>
                        <a:gd name="connsiteY2" fmla="*/ 0 h 84490"/>
                        <a:gd name="connsiteX3" fmla="*/ 73655 w 73655"/>
                        <a:gd name="connsiteY3" fmla="*/ 42366 h 84490"/>
                        <a:gd name="connsiteX4" fmla="*/ 31542 w 73655"/>
                        <a:gd name="connsiteY4" fmla="*/ 84490 h 84490"/>
                        <a:gd name="connsiteX5" fmla="*/ 30499 w 73655"/>
                        <a:gd name="connsiteY5" fmla="*/ 22931 h 84490"/>
                        <a:gd name="connsiteX6" fmla="*/ 22943 w 73655"/>
                        <a:gd name="connsiteY6" fmla="*/ 42366 h 84490"/>
                        <a:gd name="connsiteX7" fmla="*/ 31554 w 73655"/>
                        <a:gd name="connsiteY7" fmla="*/ 61559 h 84490"/>
                        <a:gd name="connsiteX8" fmla="*/ 50736 w 73655"/>
                        <a:gd name="connsiteY8" fmla="*/ 42366 h 84490"/>
                        <a:gd name="connsiteX9" fmla="*/ 30499 w 73655"/>
                        <a:gd name="connsiteY9" fmla="*/ 22931 h 8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655" h="84490">
                          <a:moveTo>
                            <a:pt x="31542" y="84490"/>
                          </a:moveTo>
                          <a:cubicBezTo>
                            <a:pt x="12967" y="84490"/>
                            <a:pt x="0" y="67166"/>
                            <a:pt x="0" y="42366"/>
                          </a:cubicBezTo>
                          <a:cubicBezTo>
                            <a:pt x="0" y="16625"/>
                            <a:pt x="11970" y="0"/>
                            <a:pt x="30487" y="0"/>
                          </a:cubicBezTo>
                          <a:cubicBezTo>
                            <a:pt x="51458" y="0"/>
                            <a:pt x="73655" y="21773"/>
                            <a:pt x="73655" y="42366"/>
                          </a:cubicBezTo>
                          <a:cubicBezTo>
                            <a:pt x="73655" y="63222"/>
                            <a:pt x="52410" y="84490"/>
                            <a:pt x="31542" y="84490"/>
                          </a:cubicBezTo>
                          <a:close/>
                          <a:moveTo>
                            <a:pt x="30499" y="22931"/>
                          </a:moveTo>
                          <a:cubicBezTo>
                            <a:pt x="24995" y="22931"/>
                            <a:pt x="22943" y="34856"/>
                            <a:pt x="22943" y="42366"/>
                          </a:cubicBezTo>
                          <a:cubicBezTo>
                            <a:pt x="22943" y="50334"/>
                            <a:pt x="25614" y="61559"/>
                            <a:pt x="31554" y="61559"/>
                          </a:cubicBezTo>
                          <a:cubicBezTo>
                            <a:pt x="38960" y="61559"/>
                            <a:pt x="50736" y="51080"/>
                            <a:pt x="50736" y="42366"/>
                          </a:cubicBezTo>
                          <a:cubicBezTo>
                            <a:pt x="50724" y="33789"/>
                            <a:pt x="38180" y="22931"/>
                            <a:pt x="30499" y="22931"/>
                          </a:cubicBezTo>
                          <a:close/>
                        </a:path>
                      </a:pathLst>
                    </a:custGeom>
                    <a:solidFill>
                      <a:schemeClr val="accent1"/>
                    </a:solidFill>
                    <a:ln w="1145" cap="flat">
                      <a:noFill/>
                      <a:prstDash val="solid"/>
                      <a:miter/>
                    </a:ln>
                  </p:spPr>
                  <p:txBody>
                    <a:bodyPr rtlCol="0" anchor="ctr"/>
                    <a:lstStyle/>
                    <a:p>
                      <a:endParaRPr lang="en-GB" dirty="0"/>
                    </a:p>
                  </p:txBody>
                </p:sp>
                <p:sp>
                  <p:nvSpPr>
                    <p:cNvPr id="436" name="Freeform: Shape 435">
                      <a:extLst>
                        <a:ext uri="{FF2B5EF4-FFF2-40B4-BE49-F238E27FC236}">
                          <a16:creationId xmlns:a16="http://schemas.microsoft.com/office/drawing/2014/main" id="{A7BE83D5-17D4-406F-9C6E-6DA7C664C512}"/>
                        </a:ext>
                      </a:extLst>
                    </p:cNvPr>
                    <p:cNvSpPr/>
                    <p:nvPr/>
                  </p:nvSpPr>
                  <p:spPr>
                    <a:xfrm>
                      <a:off x="6534452" y="4421942"/>
                      <a:ext cx="66420" cy="22931"/>
                    </a:xfrm>
                    <a:custGeom>
                      <a:avLst/>
                      <a:gdLst>
                        <a:gd name="connsiteX0" fmla="*/ 54955 w 66420"/>
                        <a:gd name="connsiteY0" fmla="*/ 22931 h 22931"/>
                        <a:gd name="connsiteX1" fmla="*/ 11466 w 66420"/>
                        <a:gd name="connsiteY1" fmla="*/ 22931 h 22931"/>
                        <a:gd name="connsiteX2" fmla="*/ 0 w 66420"/>
                        <a:gd name="connsiteY2" fmla="*/ 11466 h 22931"/>
                        <a:gd name="connsiteX3" fmla="*/ 11466 w 66420"/>
                        <a:gd name="connsiteY3" fmla="*/ 0 h 22931"/>
                        <a:gd name="connsiteX4" fmla="*/ 54955 w 66420"/>
                        <a:gd name="connsiteY4" fmla="*/ 0 h 22931"/>
                        <a:gd name="connsiteX5" fmla="*/ 66421 w 66420"/>
                        <a:gd name="connsiteY5" fmla="*/ 11466 h 22931"/>
                        <a:gd name="connsiteX6" fmla="*/ 54955 w 66420"/>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20" h="22931">
                          <a:moveTo>
                            <a:pt x="54955" y="22931"/>
                          </a:moveTo>
                          <a:lnTo>
                            <a:pt x="11466" y="22931"/>
                          </a:lnTo>
                          <a:cubicBezTo>
                            <a:pt x="5125" y="22931"/>
                            <a:pt x="0" y="17806"/>
                            <a:pt x="0" y="11466"/>
                          </a:cubicBezTo>
                          <a:cubicBezTo>
                            <a:pt x="0" y="5125"/>
                            <a:pt x="5125" y="0"/>
                            <a:pt x="11466" y="0"/>
                          </a:cubicBezTo>
                          <a:lnTo>
                            <a:pt x="54955" y="0"/>
                          </a:lnTo>
                          <a:cubicBezTo>
                            <a:pt x="61295" y="0"/>
                            <a:pt x="66421" y="5125"/>
                            <a:pt x="66421" y="11466"/>
                          </a:cubicBezTo>
                          <a:cubicBezTo>
                            <a:pt x="66421" y="17806"/>
                            <a:pt x="61295" y="22931"/>
                            <a:pt x="54955"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404" name="Graphic 48">
                    <a:extLst>
                      <a:ext uri="{FF2B5EF4-FFF2-40B4-BE49-F238E27FC236}">
                        <a16:creationId xmlns:a16="http://schemas.microsoft.com/office/drawing/2014/main" id="{76869653-328C-497E-808E-AB506FF9A980}"/>
                      </a:ext>
                    </a:extLst>
                  </p:cNvPr>
                  <p:cNvGrpSpPr/>
                  <p:nvPr/>
                </p:nvGrpSpPr>
                <p:grpSpPr>
                  <a:xfrm>
                    <a:off x="6853920" y="4390893"/>
                    <a:ext cx="117157" cy="84490"/>
                    <a:chOff x="6853920" y="4390893"/>
                    <a:chExt cx="117157" cy="84490"/>
                  </a:xfrm>
                  <a:solidFill>
                    <a:schemeClr val="accent1"/>
                  </a:solidFill>
                </p:grpSpPr>
                <p:sp>
                  <p:nvSpPr>
                    <p:cNvPr id="433" name="Freeform: Shape 432">
                      <a:extLst>
                        <a:ext uri="{FF2B5EF4-FFF2-40B4-BE49-F238E27FC236}">
                          <a16:creationId xmlns:a16="http://schemas.microsoft.com/office/drawing/2014/main" id="{7209F1D1-42F4-4B48-A624-15A9AB0BF9A9}"/>
                        </a:ext>
                      </a:extLst>
                    </p:cNvPr>
                    <p:cNvSpPr/>
                    <p:nvPr/>
                  </p:nvSpPr>
                  <p:spPr>
                    <a:xfrm>
                      <a:off x="6897420" y="4390893"/>
                      <a:ext cx="73656" cy="84490"/>
                    </a:xfrm>
                    <a:custGeom>
                      <a:avLst/>
                      <a:gdLst>
                        <a:gd name="connsiteX0" fmla="*/ 42160 w 73656"/>
                        <a:gd name="connsiteY0" fmla="*/ 84479 h 84490"/>
                        <a:gd name="connsiteX1" fmla="*/ 13633 w 73656"/>
                        <a:gd name="connsiteY1" fmla="*/ 71592 h 84490"/>
                        <a:gd name="connsiteX2" fmla="*/ 0 w 73656"/>
                        <a:gd name="connsiteY2" fmla="*/ 42572 h 84490"/>
                        <a:gd name="connsiteX3" fmla="*/ 14023 w 73656"/>
                        <a:gd name="connsiteY3" fmla="*/ 13163 h 84490"/>
                        <a:gd name="connsiteX4" fmla="*/ 42962 w 73656"/>
                        <a:gd name="connsiteY4" fmla="*/ 0 h 84490"/>
                        <a:gd name="connsiteX5" fmla="*/ 68015 w 73656"/>
                        <a:gd name="connsiteY5" fmla="*/ 15995 h 84490"/>
                        <a:gd name="connsiteX6" fmla="*/ 73656 w 73656"/>
                        <a:gd name="connsiteY6" fmla="*/ 42228 h 84490"/>
                        <a:gd name="connsiteX7" fmla="*/ 67521 w 73656"/>
                        <a:gd name="connsiteY7" fmla="*/ 68794 h 84490"/>
                        <a:gd name="connsiteX8" fmla="*/ 42320 w 73656"/>
                        <a:gd name="connsiteY8" fmla="*/ 84490 h 84490"/>
                        <a:gd name="connsiteX9" fmla="*/ 42160 w 73656"/>
                        <a:gd name="connsiteY9" fmla="*/ 84479 h 84490"/>
                        <a:gd name="connsiteX10" fmla="*/ 43192 w 73656"/>
                        <a:gd name="connsiteY10" fmla="*/ 22920 h 84490"/>
                        <a:gd name="connsiteX11" fmla="*/ 29891 w 73656"/>
                        <a:gd name="connsiteY11" fmla="*/ 29707 h 84490"/>
                        <a:gd name="connsiteX12" fmla="*/ 22932 w 73656"/>
                        <a:gd name="connsiteY12" fmla="*/ 42457 h 84490"/>
                        <a:gd name="connsiteX13" fmla="*/ 29628 w 73656"/>
                        <a:gd name="connsiteY13" fmla="*/ 55138 h 84490"/>
                        <a:gd name="connsiteX14" fmla="*/ 42171 w 73656"/>
                        <a:gd name="connsiteY14" fmla="*/ 61548 h 84490"/>
                        <a:gd name="connsiteX15" fmla="*/ 47491 w 73656"/>
                        <a:gd name="connsiteY15" fmla="*/ 57615 h 84490"/>
                        <a:gd name="connsiteX16" fmla="*/ 50724 w 73656"/>
                        <a:gd name="connsiteY16" fmla="*/ 42320 h 84490"/>
                        <a:gd name="connsiteX17" fmla="*/ 47652 w 73656"/>
                        <a:gd name="connsiteY17" fmla="*/ 26531 h 84490"/>
                        <a:gd name="connsiteX18" fmla="*/ 43192 w 73656"/>
                        <a:gd name="connsiteY18" fmla="*/ 22920 h 8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3656" h="84490">
                          <a:moveTo>
                            <a:pt x="42160" y="84479"/>
                          </a:moveTo>
                          <a:cubicBezTo>
                            <a:pt x="32448" y="84479"/>
                            <a:pt x="22060" y="79789"/>
                            <a:pt x="13633" y="71592"/>
                          </a:cubicBezTo>
                          <a:cubicBezTo>
                            <a:pt x="5011" y="63210"/>
                            <a:pt x="35" y="52627"/>
                            <a:pt x="0" y="42572"/>
                          </a:cubicBezTo>
                          <a:cubicBezTo>
                            <a:pt x="-57" y="32482"/>
                            <a:pt x="5056" y="21762"/>
                            <a:pt x="14023" y="13163"/>
                          </a:cubicBezTo>
                          <a:cubicBezTo>
                            <a:pt x="22702" y="4838"/>
                            <a:pt x="33251" y="34"/>
                            <a:pt x="42962" y="0"/>
                          </a:cubicBezTo>
                          <a:cubicBezTo>
                            <a:pt x="54153" y="149"/>
                            <a:pt x="62637" y="5630"/>
                            <a:pt x="68015" y="15995"/>
                          </a:cubicBezTo>
                          <a:cubicBezTo>
                            <a:pt x="72613" y="24880"/>
                            <a:pt x="73622" y="35177"/>
                            <a:pt x="73656" y="42228"/>
                          </a:cubicBezTo>
                          <a:cubicBezTo>
                            <a:pt x="73713" y="52169"/>
                            <a:pt x="71523" y="61605"/>
                            <a:pt x="67521" y="68794"/>
                          </a:cubicBezTo>
                          <a:cubicBezTo>
                            <a:pt x="61915" y="78872"/>
                            <a:pt x="52949" y="84433"/>
                            <a:pt x="42320" y="84490"/>
                          </a:cubicBezTo>
                          <a:cubicBezTo>
                            <a:pt x="42263" y="84479"/>
                            <a:pt x="42206" y="84479"/>
                            <a:pt x="42160" y="84479"/>
                          </a:cubicBezTo>
                          <a:close/>
                          <a:moveTo>
                            <a:pt x="43192" y="22920"/>
                          </a:moveTo>
                          <a:cubicBezTo>
                            <a:pt x="40199" y="23287"/>
                            <a:pt x="34833" y="24972"/>
                            <a:pt x="29891" y="29707"/>
                          </a:cubicBezTo>
                          <a:cubicBezTo>
                            <a:pt x="25638" y="33778"/>
                            <a:pt x="22909" y="38788"/>
                            <a:pt x="22932" y="42457"/>
                          </a:cubicBezTo>
                          <a:cubicBezTo>
                            <a:pt x="22955" y="46287"/>
                            <a:pt x="25523" y="51148"/>
                            <a:pt x="29628" y="55138"/>
                          </a:cubicBezTo>
                          <a:cubicBezTo>
                            <a:pt x="33629" y="59037"/>
                            <a:pt x="38548" y="61548"/>
                            <a:pt x="42171" y="61548"/>
                          </a:cubicBezTo>
                          <a:cubicBezTo>
                            <a:pt x="43123" y="61502"/>
                            <a:pt x="45278" y="61582"/>
                            <a:pt x="47491" y="57615"/>
                          </a:cubicBezTo>
                          <a:cubicBezTo>
                            <a:pt x="49590" y="53877"/>
                            <a:pt x="50759" y="48293"/>
                            <a:pt x="50724" y="42320"/>
                          </a:cubicBezTo>
                          <a:cubicBezTo>
                            <a:pt x="50690" y="35991"/>
                            <a:pt x="49567" y="30235"/>
                            <a:pt x="47652" y="26531"/>
                          </a:cubicBezTo>
                          <a:cubicBezTo>
                            <a:pt x="45828" y="23046"/>
                            <a:pt x="44269" y="22920"/>
                            <a:pt x="43192" y="22920"/>
                          </a:cubicBezTo>
                          <a:close/>
                        </a:path>
                      </a:pathLst>
                    </a:custGeom>
                    <a:solidFill>
                      <a:schemeClr val="accent1"/>
                    </a:solidFill>
                    <a:ln w="1145" cap="flat">
                      <a:noFill/>
                      <a:prstDash val="solid"/>
                      <a:miter/>
                    </a:ln>
                  </p:spPr>
                  <p:txBody>
                    <a:bodyPr rtlCol="0" anchor="ctr"/>
                    <a:lstStyle/>
                    <a:p>
                      <a:endParaRPr lang="en-GB" dirty="0"/>
                    </a:p>
                  </p:txBody>
                </p:sp>
                <p:sp>
                  <p:nvSpPr>
                    <p:cNvPr id="434" name="Freeform: Shape 433">
                      <a:extLst>
                        <a:ext uri="{FF2B5EF4-FFF2-40B4-BE49-F238E27FC236}">
                          <a16:creationId xmlns:a16="http://schemas.microsoft.com/office/drawing/2014/main" id="{64ECF5D6-85DF-47B6-ABD0-14FD8A3534BF}"/>
                        </a:ext>
                      </a:extLst>
                    </p:cNvPr>
                    <p:cNvSpPr/>
                    <p:nvPr/>
                  </p:nvSpPr>
                  <p:spPr>
                    <a:xfrm>
                      <a:off x="6853920" y="4421965"/>
                      <a:ext cx="66420" cy="23137"/>
                    </a:xfrm>
                    <a:custGeom>
                      <a:avLst/>
                      <a:gdLst>
                        <a:gd name="connsiteX0" fmla="*/ 11466 w 66420"/>
                        <a:gd name="connsiteY0" fmla="*/ 23138 h 23137"/>
                        <a:gd name="connsiteX1" fmla="*/ 0 w 66420"/>
                        <a:gd name="connsiteY1" fmla="*/ 11729 h 23137"/>
                        <a:gd name="connsiteX2" fmla="*/ 11408 w 66420"/>
                        <a:gd name="connsiteY2" fmla="*/ 206 h 23137"/>
                        <a:gd name="connsiteX3" fmla="*/ 54898 w 66420"/>
                        <a:gd name="connsiteY3" fmla="*/ 0 h 23137"/>
                        <a:gd name="connsiteX4" fmla="*/ 54955 w 66420"/>
                        <a:gd name="connsiteY4" fmla="*/ 0 h 23137"/>
                        <a:gd name="connsiteX5" fmla="*/ 66420 w 66420"/>
                        <a:gd name="connsiteY5" fmla="*/ 11408 h 23137"/>
                        <a:gd name="connsiteX6" fmla="*/ 55012 w 66420"/>
                        <a:gd name="connsiteY6" fmla="*/ 22931 h 23137"/>
                        <a:gd name="connsiteX7" fmla="*/ 11523 w 66420"/>
                        <a:gd name="connsiteY7" fmla="*/ 23138 h 23137"/>
                        <a:gd name="connsiteX8" fmla="*/ 11466 w 66420"/>
                        <a:gd name="connsiteY8" fmla="*/ 23138 h 23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20" h="23137">
                          <a:moveTo>
                            <a:pt x="11466" y="23138"/>
                          </a:moveTo>
                          <a:cubicBezTo>
                            <a:pt x="5160" y="23138"/>
                            <a:pt x="34" y="18047"/>
                            <a:pt x="0" y="11729"/>
                          </a:cubicBezTo>
                          <a:cubicBezTo>
                            <a:pt x="-35" y="5389"/>
                            <a:pt x="5079" y="241"/>
                            <a:pt x="11408" y="206"/>
                          </a:cubicBezTo>
                          <a:lnTo>
                            <a:pt x="54898" y="0"/>
                          </a:lnTo>
                          <a:cubicBezTo>
                            <a:pt x="54921" y="0"/>
                            <a:pt x="54944" y="0"/>
                            <a:pt x="54955" y="0"/>
                          </a:cubicBezTo>
                          <a:cubicBezTo>
                            <a:pt x="61261" y="0"/>
                            <a:pt x="66386" y="5091"/>
                            <a:pt x="66420" y="11408"/>
                          </a:cubicBezTo>
                          <a:cubicBezTo>
                            <a:pt x="66455" y="17749"/>
                            <a:pt x="61342" y="22897"/>
                            <a:pt x="55012" y="22931"/>
                          </a:cubicBezTo>
                          <a:lnTo>
                            <a:pt x="11523" y="23138"/>
                          </a:lnTo>
                          <a:cubicBezTo>
                            <a:pt x="11500" y="23138"/>
                            <a:pt x="11477" y="23138"/>
                            <a:pt x="11466" y="23138"/>
                          </a:cubicBezTo>
                          <a:close/>
                        </a:path>
                      </a:pathLst>
                    </a:custGeom>
                    <a:solidFill>
                      <a:schemeClr val="accent1"/>
                    </a:solidFill>
                    <a:ln w="1145" cap="flat">
                      <a:noFill/>
                      <a:prstDash val="solid"/>
                      <a:miter/>
                    </a:ln>
                  </p:spPr>
                  <p:txBody>
                    <a:bodyPr rtlCol="0" anchor="ctr"/>
                    <a:lstStyle/>
                    <a:p>
                      <a:endParaRPr lang="en-GB" dirty="0"/>
                    </a:p>
                  </p:txBody>
                </p:sp>
              </p:grpSp>
              <p:grpSp>
                <p:nvGrpSpPr>
                  <p:cNvPr id="405" name="Graphic 48">
                    <a:extLst>
                      <a:ext uri="{FF2B5EF4-FFF2-40B4-BE49-F238E27FC236}">
                        <a16:creationId xmlns:a16="http://schemas.microsoft.com/office/drawing/2014/main" id="{7D2F949A-2F60-4DEE-8E7A-2E34BAF29663}"/>
                      </a:ext>
                    </a:extLst>
                  </p:cNvPr>
                  <p:cNvGrpSpPr/>
                  <p:nvPr/>
                </p:nvGrpSpPr>
                <p:grpSpPr>
                  <a:xfrm>
                    <a:off x="6538779" y="4190186"/>
                    <a:ext cx="377485" cy="157595"/>
                    <a:chOff x="6538779" y="4190186"/>
                    <a:chExt cx="377485" cy="157595"/>
                  </a:xfrm>
                  <a:solidFill>
                    <a:schemeClr val="accent1"/>
                  </a:solidFill>
                </p:grpSpPr>
                <p:grpSp>
                  <p:nvGrpSpPr>
                    <p:cNvPr id="424" name="Graphic 48">
                      <a:extLst>
                        <a:ext uri="{FF2B5EF4-FFF2-40B4-BE49-F238E27FC236}">
                          <a16:creationId xmlns:a16="http://schemas.microsoft.com/office/drawing/2014/main" id="{C71CF97E-A5AC-465C-917A-78166E84327C}"/>
                        </a:ext>
                      </a:extLst>
                    </p:cNvPr>
                    <p:cNvGrpSpPr/>
                    <p:nvPr/>
                  </p:nvGrpSpPr>
                  <p:grpSpPr>
                    <a:xfrm>
                      <a:off x="6685294" y="4190186"/>
                      <a:ext cx="84490" cy="117144"/>
                      <a:chOff x="6685294" y="4190186"/>
                      <a:chExt cx="84490" cy="117144"/>
                    </a:xfrm>
                    <a:solidFill>
                      <a:schemeClr val="accent1"/>
                    </a:solidFill>
                  </p:grpSpPr>
                  <p:sp>
                    <p:nvSpPr>
                      <p:cNvPr id="431" name="Freeform: Shape 430">
                        <a:extLst>
                          <a:ext uri="{FF2B5EF4-FFF2-40B4-BE49-F238E27FC236}">
                            <a16:creationId xmlns:a16="http://schemas.microsoft.com/office/drawing/2014/main" id="{B23EB7C1-BCD1-403F-8FCF-7FFA47376902}"/>
                          </a:ext>
                        </a:extLst>
                      </p:cNvPr>
                      <p:cNvSpPr/>
                      <p:nvPr/>
                    </p:nvSpPr>
                    <p:spPr>
                      <a:xfrm>
                        <a:off x="6685294" y="4190186"/>
                        <a:ext cx="84490" cy="73666"/>
                      </a:xfrm>
                      <a:custGeom>
                        <a:avLst/>
                        <a:gdLst>
                          <a:gd name="connsiteX0" fmla="*/ 42125 w 84490"/>
                          <a:gd name="connsiteY0" fmla="*/ 73667 h 73666"/>
                          <a:gd name="connsiteX1" fmla="*/ 0 w 84490"/>
                          <a:gd name="connsiteY1" fmla="*/ 31542 h 73666"/>
                          <a:gd name="connsiteX2" fmla="*/ 42125 w 84490"/>
                          <a:gd name="connsiteY2" fmla="*/ 0 h 73666"/>
                          <a:gd name="connsiteX3" fmla="*/ 84490 w 84490"/>
                          <a:gd name="connsiteY3" fmla="*/ 30487 h 73666"/>
                          <a:gd name="connsiteX4" fmla="*/ 42125 w 84490"/>
                          <a:gd name="connsiteY4" fmla="*/ 73667 h 73666"/>
                          <a:gd name="connsiteX5" fmla="*/ 42125 w 84490"/>
                          <a:gd name="connsiteY5" fmla="*/ 22931 h 73666"/>
                          <a:gd name="connsiteX6" fmla="*/ 22931 w 84490"/>
                          <a:gd name="connsiteY6" fmla="*/ 31542 h 73666"/>
                          <a:gd name="connsiteX7" fmla="*/ 42125 w 84490"/>
                          <a:gd name="connsiteY7" fmla="*/ 50736 h 73666"/>
                          <a:gd name="connsiteX8" fmla="*/ 61559 w 84490"/>
                          <a:gd name="connsiteY8" fmla="*/ 30487 h 73666"/>
                          <a:gd name="connsiteX9" fmla="*/ 42125 w 84490"/>
                          <a:gd name="connsiteY9" fmla="*/ 22931 h 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490" h="73666">
                            <a:moveTo>
                              <a:pt x="42125" y="73667"/>
                            </a:moveTo>
                            <a:cubicBezTo>
                              <a:pt x="21269" y="73667"/>
                              <a:pt x="0" y="52410"/>
                              <a:pt x="0" y="31542"/>
                            </a:cubicBezTo>
                            <a:cubicBezTo>
                              <a:pt x="0" y="12968"/>
                              <a:pt x="17324" y="0"/>
                              <a:pt x="42125" y="0"/>
                            </a:cubicBezTo>
                            <a:cubicBezTo>
                              <a:pt x="67865" y="0"/>
                              <a:pt x="84490" y="11970"/>
                              <a:pt x="84490" y="30487"/>
                            </a:cubicBezTo>
                            <a:cubicBezTo>
                              <a:pt x="84502" y="51469"/>
                              <a:pt x="62717" y="73667"/>
                              <a:pt x="42125" y="73667"/>
                            </a:cubicBezTo>
                            <a:close/>
                            <a:moveTo>
                              <a:pt x="42125" y="22931"/>
                            </a:moveTo>
                            <a:cubicBezTo>
                              <a:pt x="34156" y="22931"/>
                              <a:pt x="22931" y="25603"/>
                              <a:pt x="22931" y="31542"/>
                            </a:cubicBezTo>
                            <a:cubicBezTo>
                              <a:pt x="22931" y="38949"/>
                              <a:pt x="33411" y="50736"/>
                              <a:pt x="42125" y="50736"/>
                            </a:cubicBezTo>
                            <a:cubicBezTo>
                              <a:pt x="50701" y="50736"/>
                              <a:pt x="61559" y="38181"/>
                              <a:pt x="61559" y="30487"/>
                            </a:cubicBezTo>
                            <a:cubicBezTo>
                              <a:pt x="61571" y="24984"/>
                              <a:pt x="49647" y="22931"/>
                              <a:pt x="42125" y="22931"/>
                            </a:cubicBezTo>
                            <a:close/>
                          </a:path>
                        </a:pathLst>
                      </a:custGeom>
                      <a:solidFill>
                        <a:schemeClr val="accent1"/>
                      </a:solidFill>
                      <a:ln w="1145" cap="flat">
                        <a:noFill/>
                        <a:prstDash val="solid"/>
                        <a:miter/>
                      </a:ln>
                    </p:spPr>
                    <p:txBody>
                      <a:bodyPr rtlCol="0" anchor="ctr"/>
                      <a:lstStyle/>
                      <a:p>
                        <a:endParaRPr lang="en-GB" dirty="0"/>
                      </a:p>
                    </p:txBody>
                  </p:sp>
                  <p:sp>
                    <p:nvSpPr>
                      <p:cNvPr id="432" name="Freeform: Shape 431">
                        <a:extLst>
                          <a:ext uri="{FF2B5EF4-FFF2-40B4-BE49-F238E27FC236}">
                            <a16:creationId xmlns:a16="http://schemas.microsoft.com/office/drawing/2014/main" id="{5B84ABB3-8BBD-4223-AA57-20A7E81A391B}"/>
                          </a:ext>
                        </a:extLst>
                      </p:cNvPr>
                      <p:cNvSpPr/>
                      <p:nvPr/>
                    </p:nvSpPr>
                    <p:spPr>
                      <a:xfrm>
                        <a:off x="6715931" y="4240922"/>
                        <a:ext cx="22931" cy="66409"/>
                      </a:xfrm>
                      <a:custGeom>
                        <a:avLst/>
                        <a:gdLst>
                          <a:gd name="connsiteX0" fmla="*/ 11466 w 22931"/>
                          <a:gd name="connsiteY0" fmla="*/ 66409 h 66409"/>
                          <a:gd name="connsiteX1" fmla="*/ 0 w 22931"/>
                          <a:gd name="connsiteY1" fmla="*/ 54943 h 66409"/>
                          <a:gd name="connsiteX2" fmla="*/ 0 w 22931"/>
                          <a:gd name="connsiteY2" fmla="*/ 11466 h 66409"/>
                          <a:gd name="connsiteX3" fmla="*/ 11466 w 22931"/>
                          <a:gd name="connsiteY3" fmla="*/ 0 h 66409"/>
                          <a:gd name="connsiteX4" fmla="*/ 22931 w 22931"/>
                          <a:gd name="connsiteY4" fmla="*/ 11466 h 66409"/>
                          <a:gd name="connsiteX5" fmla="*/ 22931 w 22931"/>
                          <a:gd name="connsiteY5" fmla="*/ 54943 h 66409"/>
                          <a:gd name="connsiteX6" fmla="*/ 11466 w 22931"/>
                          <a:gd name="connsiteY6" fmla="*/ 66409 h 66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6409">
                            <a:moveTo>
                              <a:pt x="11466" y="66409"/>
                            </a:moveTo>
                            <a:cubicBezTo>
                              <a:pt x="5125" y="66409"/>
                              <a:pt x="0" y="61284"/>
                              <a:pt x="0" y="54943"/>
                            </a:cubicBezTo>
                            <a:lnTo>
                              <a:pt x="0" y="11466"/>
                            </a:lnTo>
                            <a:cubicBezTo>
                              <a:pt x="0" y="5125"/>
                              <a:pt x="5125" y="0"/>
                              <a:pt x="11466" y="0"/>
                            </a:cubicBezTo>
                            <a:cubicBezTo>
                              <a:pt x="17806" y="0"/>
                              <a:pt x="22931" y="5125"/>
                              <a:pt x="22931" y="11466"/>
                            </a:cubicBezTo>
                            <a:lnTo>
                              <a:pt x="22931" y="54943"/>
                            </a:lnTo>
                            <a:cubicBezTo>
                              <a:pt x="22931" y="61284"/>
                              <a:pt x="17806" y="66409"/>
                              <a:pt x="11466" y="66409"/>
                            </a:cubicBezTo>
                            <a:close/>
                          </a:path>
                        </a:pathLst>
                      </a:custGeom>
                      <a:solidFill>
                        <a:schemeClr val="accent1"/>
                      </a:solidFill>
                      <a:ln w="1145" cap="flat">
                        <a:noFill/>
                        <a:prstDash val="solid"/>
                        <a:miter/>
                      </a:ln>
                    </p:spPr>
                    <p:txBody>
                      <a:bodyPr rtlCol="0" anchor="ctr"/>
                      <a:lstStyle/>
                      <a:p>
                        <a:endParaRPr lang="en-GB" dirty="0"/>
                      </a:p>
                    </p:txBody>
                  </p:sp>
                </p:grpSp>
                <p:grpSp>
                  <p:nvGrpSpPr>
                    <p:cNvPr id="425" name="Graphic 48">
                      <a:extLst>
                        <a:ext uri="{FF2B5EF4-FFF2-40B4-BE49-F238E27FC236}">
                          <a16:creationId xmlns:a16="http://schemas.microsoft.com/office/drawing/2014/main" id="{0B4B8A0F-936F-42F5-87DD-3F94CA7BA629}"/>
                        </a:ext>
                      </a:extLst>
                    </p:cNvPr>
                    <p:cNvGrpSpPr/>
                    <p:nvPr/>
                  </p:nvGrpSpPr>
                  <p:grpSpPr>
                    <a:xfrm>
                      <a:off x="6813719" y="4246032"/>
                      <a:ext cx="102546" cy="101749"/>
                      <a:chOff x="6813719" y="4246032"/>
                      <a:chExt cx="102546" cy="101749"/>
                    </a:xfrm>
                    <a:solidFill>
                      <a:schemeClr val="accent1"/>
                    </a:solidFill>
                  </p:grpSpPr>
                  <p:sp>
                    <p:nvSpPr>
                      <p:cNvPr id="429" name="Freeform: Shape 428">
                        <a:extLst>
                          <a:ext uri="{FF2B5EF4-FFF2-40B4-BE49-F238E27FC236}">
                            <a16:creationId xmlns:a16="http://schemas.microsoft.com/office/drawing/2014/main" id="{3912F2A8-1716-431B-AEC5-11D74DBD2B77}"/>
                          </a:ext>
                        </a:extLst>
                      </p:cNvPr>
                      <p:cNvSpPr/>
                      <p:nvPr/>
                    </p:nvSpPr>
                    <p:spPr>
                      <a:xfrm>
                        <a:off x="6836773" y="4246032"/>
                        <a:ext cx="79492" cy="78405"/>
                      </a:xfrm>
                      <a:custGeom>
                        <a:avLst/>
                        <a:gdLst>
                          <a:gd name="connsiteX0" fmla="*/ 40709 w 79492"/>
                          <a:gd name="connsiteY0" fmla="*/ 78405 h 78405"/>
                          <a:gd name="connsiteX1" fmla="*/ 11059 w 79492"/>
                          <a:gd name="connsiteY1" fmla="*/ 67651 h 78405"/>
                          <a:gd name="connsiteX2" fmla="*/ 11059 w 79492"/>
                          <a:gd name="connsiteY2" fmla="*/ 8098 h 78405"/>
                          <a:gd name="connsiteX3" fmla="*/ 63147 w 79492"/>
                          <a:gd name="connsiteY3" fmla="*/ 15562 h 78405"/>
                          <a:gd name="connsiteX4" fmla="*/ 71552 w 79492"/>
                          <a:gd name="connsiteY4" fmla="*/ 67089 h 78405"/>
                          <a:gd name="connsiteX5" fmla="*/ 71552 w 79492"/>
                          <a:gd name="connsiteY5" fmla="*/ 67089 h 78405"/>
                          <a:gd name="connsiteX6" fmla="*/ 40709 w 79492"/>
                          <a:gd name="connsiteY6" fmla="*/ 78405 h 78405"/>
                          <a:gd name="connsiteX7" fmla="*/ 63457 w 79492"/>
                          <a:gd name="connsiteY7" fmla="*/ 58994 h 78405"/>
                          <a:gd name="connsiteX8" fmla="*/ 63571 w 79492"/>
                          <a:gd name="connsiteY8" fmla="*/ 58994 h 78405"/>
                          <a:gd name="connsiteX9" fmla="*/ 63457 w 79492"/>
                          <a:gd name="connsiteY9" fmla="*/ 58994 h 78405"/>
                          <a:gd name="connsiteX10" fmla="*/ 30825 w 79492"/>
                          <a:gd name="connsiteY10" fmla="*/ 22854 h 78405"/>
                          <a:gd name="connsiteX11" fmla="*/ 27271 w 79492"/>
                          <a:gd name="connsiteY11" fmla="*/ 24310 h 78405"/>
                          <a:gd name="connsiteX12" fmla="*/ 27271 w 79492"/>
                          <a:gd name="connsiteY12" fmla="*/ 51438 h 78405"/>
                          <a:gd name="connsiteX13" fmla="*/ 55339 w 79492"/>
                          <a:gd name="connsiteY13" fmla="*/ 50876 h 78405"/>
                          <a:gd name="connsiteX14" fmla="*/ 46935 w 79492"/>
                          <a:gd name="connsiteY14" fmla="*/ 31775 h 78405"/>
                          <a:gd name="connsiteX15" fmla="*/ 33795 w 79492"/>
                          <a:gd name="connsiteY15" fmla="*/ 23313 h 78405"/>
                          <a:gd name="connsiteX16" fmla="*/ 30825 w 79492"/>
                          <a:gd name="connsiteY16" fmla="*/ 22854 h 78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492" h="78405">
                            <a:moveTo>
                              <a:pt x="40709" y="78405"/>
                            </a:moveTo>
                            <a:cubicBezTo>
                              <a:pt x="29427" y="78405"/>
                              <a:pt x="18236" y="74828"/>
                              <a:pt x="11059" y="67651"/>
                            </a:cubicBezTo>
                            <a:cubicBezTo>
                              <a:pt x="-3686" y="52906"/>
                              <a:pt x="-3686" y="22843"/>
                              <a:pt x="11059" y="8098"/>
                            </a:cubicBezTo>
                            <a:cubicBezTo>
                              <a:pt x="24199" y="-5019"/>
                              <a:pt x="45616" y="-1969"/>
                              <a:pt x="63147" y="15562"/>
                            </a:cubicBezTo>
                            <a:cubicBezTo>
                              <a:pt x="81343" y="33758"/>
                              <a:pt x="84645" y="53995"/>
                              <a:pt x="71552" y="67089"/>
                            </a:cubicBezTo>
                            <a:lnTo>
                              <a:pt x="71552" y="67089"/>
                            </a:lnTo>
                            <a:cubicBezTo>
                              <a:pt x="64019" y="74622"/>
                              <a:pt x="52324" y="78405"/>
                              <a:pt x="40709" y="78405"/>
                            </a:cubicBezTo>
                            <a:close/>
                            <a:moveTo>
                              <a:pt x="63457" y="58994"/>
                            </a:moveTo>
                            <a:lnTo>
                              <a:pt x="63571" y="58994"/>
                            </a:lnTo>
                            <a:lnTo>
                              <a:pt x="63457" y="58994"/>
                            </a:lnTo>
                            <a:close/>
                            <a:moveTo>
                              <a:pt x="30825" y="22854"/>
                            </a:moveTo>
                            <a:cubicBezTo>
                              <a:pt x="28727" y="22854"/>
                              <a:pt x="27833" y="23749"/>
                              <a:pt x="27271" y="24310"/>
                            </a:cubicBezTo>
                            <a:cubicBezTo>
                              <a:pt x="22043" y="29539"/>
                              <a:pt x="21114" y="45281"/>
                              <a:pt x="27271" y="51438"/>
                            </a:cubicBezTo>
                            <a:cubicBezTo>
                              <a:pt x="33325" y="57492"/>
                              <a:pt x="49893" y="56311"/>
                              <a:pt x="55339" y="50876"/>
                            </a:cubicBezTo>
                            <a:cubicBezTo>
                              <a:pt x="59226" y="46967"/>
                              <a:pt x="52244" y="37095"/>
                              <a:pt x="46935" y="31775"/>
                            </a:cubicBezTo>
                            <a:cubicBezTo>
                              <a:pt x="42716" y="27555"/>
                              <a:pt x="37923" y="24460"/>
                              <a:pt x="33795" y="23313"/>
                            </a:cubicBezTo>
                            <a:cubicBezTo>
                              <a:pt x="32591" y="22992"/>
                              <a:pt x="31617" y="22854"/>
                              <a:pt x="30825" y="22854"/>
                            </a:cubicBezTo>
                            <a:close/>
                          </a:path>
                        </a:pathLst>
                      </a:custGeom>
                      <a:solidFill>
                        <a:schemeClr val="accent1"/>
                      </a:solidFill>
                      <a:ln w="1145" cap="flat">
                        <a:noFill/>
                        <a:prstDash val="solid"/>
                        <a:miter/>
                      </a:ln>
                    </p:spPr>
                    <p:txBody>
                      <a:bodyPr rtlCol="0" anchor="ctr"/>
                      <a:lstStyle/>
                      <a:p>
                        <a:endParaRPr lang="en-GB" dirty="0"/>
                      </a:p>
                    </p:txBody>
                  </p:sp>
                  <p:sp>
                    <p:nvSpPr>
                      <p:cNvPr id="430" name="Freeform: Shape 429">
                        <a:extLst>
                          <a:ext uri="{FF2B5EF4-FFF2-40B4-BE49-F238E27FC236}">
                            <a16:creationId xmlns:a16="http://schemas.microsoft.com/office/drawing/2014/main" id="{68444827-92A7-4906-B9AC-898D8717F964}"/>
                          </a:ext>
                        </a:extLst>
                      </p:cNvPr>
                      <p:cNvSpPr/>
                      <p:nvPr/>
                    </p:nvSpPr>
                    <p:spPr>
                      <a:xfrm>
                        <a:off x="6813719" y="4294097"/>
                        <a:ext cx="53687" cy="53685"/>
                      </a:xfrm>
                      <a:custGeom>
                        <a:avLst/>
                        <a:gdLst>
                          <a:gd name="connsiteX0" fmla="*/ 11469 w 53687"/>
                          <a:gd name="connsiteY0" fmla="*/ 53685 h 53685"/>
                          <a:gd name="connsiteX1" fmla="*/ 3362 w 53687"/>
                          <a:gd name="connsiteY1" fmla="*/ 50326 h 53685"/>
                          <a:gd name="connsiteX2" fmla="*/ 3362 w 53687"/>
                          <a:gd name="connsiteY2" fmla="*/ 34113 h 53685"/>
                          <a:gd name="connsiteX3" fmla="*/ 34113 w 53687"/>
                          <a:gd name="connsiteY3" fmla="*/ 3362 h 53685"/>
                          <a:gd name="connsiteX4" fmla="*/ 50325 w 53687"/>
                          <a:gd name="connsiteY4" fmla="*/ 3362 h 53685"/>
                          <a:gd name="connsiteX5" fmla="*/ 50325 w 53687"/>
                          <a:gd name="connsiteY5" fmla="*/ 19575 h 53685"/>
                          <a:gd name="connsiteX6" fmla="*/ 19575 w 53687"/>
                          <a:gd name="connsiteY6" fmla="*/ 50326 h 53685"/>
                          <a:gd name="connsiteX7" fmla="*/ 11469 w 53687"/>
                          <a:gd name="connsiteY7" fmla="*/ 53685 h 5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7" h="53685">
                            <a:moveTo>
                              <a:pt x="11469" y="53685"/>
                            </a:moveTo>
                            <a:cubicBezTo>
                              <a:pt x="8533" y="53685"/>
                              <a:pt x="5598" y="52562"/>
                              <a:pt x="3362" y="50326"/>
                            </a:cubicBezTo>
                            <a:cubicBezTo>
                              <a:pt x="-1121" y="45843"/>
                              <a:pt x="-1121" y="38596"/>
                              <a:pt x="3362" y="34113"/>
                            </a:cubicBezTo>
                            <a:lnTo>
                              <a:pt x="34113" y="3362"/>
                            </a:lnTo>
                            <a:cubicBezTo>
                              <a:pt x="38596" y="-1121"/>
                              <a:pt x="45843" y="-1121"/>
                              <a:pt x="50325" y="3362"/>
                            </a:cubicBezTo>
                            <a:cubicBezTo>
                              <a:pt x="54809" y="7845"/>
                              <a:pt x="54809" y="15092"/>
                              <a:pt x="50325" y="19575"/>
                            </a:cubicBezTo>
                            <a:lnTo>
                              <a:pt x="19575" y="50326"/>
                            </a:lnTo>
                            <a:cubicBezTo>
                              <a:pt x="17327" y="52573"/>
                              <a:pt x="14392" y="53685"/>
                              <a:pt x="11469" y="53685"/>
                            </a:cubicBezTo>
                            <a:close/>
                          </a:path>
                        </a:pathLst>
                      </a:custGeom>
                      <a:solidFill>
                        <a:schemeClr val="accent1"/>
                      </a:solidFill>
                      <a:ln w="1145" cap="flat">
                        <a:noFill/>
                        <a:prstDash val="solid"/>
                        <a:miter/>
                      </a:ln>
                    </p:spPr>
                    <p:txBody>
                      <a:bodyPr rtlCol="0" anchor="ctr"/>
                      <a:lstStyle/>
                      <a:p>
                        <a:endParaRPr lang="en-GB" dirty="0"/>
                      </a:p>
                    </p:txBody>
                  </p:sp>
                </p:grpSp>
                <p:grpSp>
                  <p:nvGrpSpPr>
                    <p:cNvPr id="426" name="Graphic 48">
                      <a:extLst>
                        <a:ext uri="{FF2B5EF4-FFF2-40B4-BE49-F238E27FC236}">
                          <a16:creationId xmlns:a16="http://schemas.microsoft.com/office/drawing/2014/main" id="{64A14C2B-54F5-446D-92A7-744FD5865FB0}"/>
                        </a:ext>
                      </a:extLst>
                    </p:cNvPr>
                    <p:cNvGrpSpPr/>
                    <p:nvPr/>
                  </p:nvGrpSpPr>
                  <p:grpSpPr>
                    <a:xfrm>
                      <a:off x="6538779" y="4245723"/>
                      <a:ext cx="102546" cy="101737"/>
                      <a:chOff x="6538779" y="4245723"/>
                      <a:chExt cx="102546" cy="101737"/>
                    </a:xfrm>
                    <a:solidFill>
                      <a:schemeClr val="accent1"/>
                    </a:solidFill>
                  </p:grpSpPr>
                  <p:sp>
                    <p:nvSpPr>
                      <p:cNvPr id="427" name="Freeform: Shape 426">
                        <a:extLst>
                          <a:ext uri="{FF2B5EF4-FFF2-40B4-BE49-F238E27FC236}">
                            <a16:creationId xmlns:a16="http://schemas.microsoft.com/office/drawing/2014/main" id="{8C3F234D-3E03-4715-BFCF-8047E09E0DDE}"/>
                          </a:ext>
                        </a:extLst>
                      </p:cNvPr>
                      <p:cNvSpPr/>
                      <p:nvPr/>
                    </p:nvSpPr>
                    <p:spPr>
                      <a:xfrm>
                        <a:off x="6538779" y="4245723"/>
                        <a:ext cx="79454" cy="78393"/>
                      </a:xfrm>
                      <a:custGeom>
                        <a:avLst/>
                        <a:gdLst>
                          <a:gd name="connsiteX0" fmla="*/ 38783 w 79454"/>
                          <a:gd name="connsiteY0" fmla="*/ 78394 h 78393"/>
                          <a:gd name="connsiteX1" fmla="*/ 7941 w 79454"/>
                          <a:gd name="connsiteY1" fmla="*/ 67089 h 78393"/>
                          <a:gd name="connsiteX2" fmla="*/ 7941 w 79454"/>
                          <a:gd name="connsiteY2" fmla="*/ 67089 h 78393"/>
                          <a:gd name="connsiteX3" fmla="*/ 16345 w 79454"/>
                          <a:gd name="connsiteY3" fmla="*/ 15562 h 78393"/>
                          <a:gd name="connsiteX4" fmla="*/ 68433 w 79454"/>
                          <a:gd name="connsiteY4" fmla="*/ 8098 h 78393"/>
                          <a:gd name="connsiteX5" fmla="*/ 79452 w 79454"/>
                          <a:gd name="connsiteY5" fmla="*/ 37530 h 78393"/>
                          <a:gd name="connsiteX6" fmla="*/ 68433 w 79454"/>
                          <a:gd name="connsiteY6" fmla="*/ 67651 h 78393"/>
                          <a:gd name="connsiteX7" fmla="*/ 38783 w 79454"/>
                          <a:gd name="connsiteY7" fmla="*/ 78394 h 78393"/>
                          <a:gd name="connsiteX8" fmla="*/ 24153 w 79454"/>
                          <a:gd name="connsiteY8" fmla="*/ 50865 h 78393"/>
                          <a:gd name="connsiteX9" fmla="*/ 52221 w 79454"/>
                          <a:gd name="connsiteY9" fmla="*/ 51427 h 78393"/>
                          <a:gd name="connsiteX10" fmla="*/ 56521 w 79454"/>
                          <a:gd name="connsiteY10" fmla="*/ 37736 h 78393"/>
                          <a:gd name="connsiteX11" fmla="*/ 52221 w 79454"/>
                          <a:gd name="connsiteY11" fmla="*/ 24299 h 78393"/>
                          <a:gd name="connsiteX12" fmla="*/ 45709 w 79454"/>
                          <a:gd name="connsiteY12" fmla="*/ 23301 h 78393"/>
                          <a:gd name="connsiteX13" fmla="*/ 32569 w 79454"/>
                          <a:gd name="connsiteY13" fmla="*/ 31763 h 78393"/>
                          <a:gd name="connsiteX14" fmla="*/ 24153 w 79454"/>
                          <a:gd name="connsiteY14" fmla="*/ 50865 h 78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454" h="78393">
                            <a:moveTo>
                              <a:pt x="38783" y="78394"/>
                            </a:moveTo>
                            <a:cubicBezTo>
                              <a:pt x="27169" y="78394"/>
                              <a:pt x="15474" y="74610"/>
                              <a:pt x="7941" y="67089"/>
                            </a:cubicBezTo>
                            <a:lnTo>
                              <a:pt x="7941" y="67089"/>
                            </a:lnTo>
                            <a:cubicBezTo>
                              <a:pt x="-5153" y="53984"/>
                              <a:pt x="-1851" y="33758"/>
                              <a:pt x="16345" y="15562"/>
                            </a:cubicBezTo>
                            <a:cubicBezTo>
                              <a:pt x="33888" y="-1969"/>
                              <a:pt x="55306" y="-5019"/>
                              <a:pt x="68433" y="8098"/>
                            </a:cubicBezTo>
                            <a:cubicBezTo>
                              <a:pt x="75336" y="14989"/>
                              <a:pt x="79349" y="25709"/>
                              <a:pt x="79452" y="37530"/>
                            </a:cubicBezTo>
                            <a:cubicBezTo>
                              <a:pt x="79567" y="49558"/>
                              <a:pt x="75554" y="60542"/>
                              <a:pt x="68433" y="67651"/>
                            </a:cubicBezTo>
                            <a:cubicBezTo>
                              <a:pt x="61256" y="74817"/>
                              <a:pt x="50066" y="78394"/>
                              <a:pt x="38783" y="78394"/>
                            </a:cubicBezTo>
                            <a:close/>
                            <a:moveTo>
                              <a:pt x="24153" y="50865"/>
                            </a:moveTo>
                            <a:cubicBezTo>
                              <a:pt x="29599" y="56288"/>
                              <a:pt x="46133" y="57469"/>
                              <a:pt x="52221" y="51427"/>
                            </a:cubicBezTo>
                            <a:cubicBezTo>
                              <a:pt x="54927" y="48721"/>
                              <a:pt x="56578" y="43469"/>
                              <a:pt x="56521" y="37736"/>
                            </a:cubicBezTo>
                            <a:cubicBezTo>
                              <a:pt x="56475" y="32141"/>
                              <a:pt x="54789" y="26867"/>
                              <a:pt x="52221" y="24299"/>
                            </a:cubicBezTo>
                            <a:cubicBezTo>
                              <a:pt x="51453" y="23542"/>
                              <a:pt x="50020" y="22143"/>
                              <a:pt x="45709" y="23301"/>
                            </a:cubicBezTo>
                            <a:cubicBezTo>
                              <a:pt x="41581" y="24459"/>
                              <a:pt x="36788" y="27544"/>
                              <a:pt x="32569" y="31763"/>
                            </a:cubicBezTo>
                            <a:cubicBezTo>
                              <a:pt x="27238" y="37083"/>
                              <a:pt x="20266" y="46966"/>
                              <a:pt x="24153" y="50865"/>
                            </a:cubicBezTo>
                            <a:close/>
                          </a:path>
                        </a:pathLst>
                      </a:custGeom>
                      <a:solidFill>
                        <a:schemeClr val="accent1"/>
                      </a:solidFill>
                      <a:ln w="1145" cap="flat">
                        <a:noFill/>
                        <a:prstDash val="solid"/>
                        <a:miter/>
                      </a:ln>
                    </p:spPr>
                    <p:txBody>
                      <a:bodyPr rtlCol="0" anchor="ctr"/>
                      <a:lstStyle/>
                      <a:p>
                        <a:endParaRPr lang="en-GB" dirty="0"/>
                      </a:p>
                    </p:txBody>
                  </p:sp>
                  <p:sp>
                    <p:nvSpPr>
                      <p:cNvPr id="428" name="Freeform: Shape 427">
                        <a:extLst>
                          <a:ext uri="{FF2B5EF4-FFF2-40B4-BE49-F238E27FC236}">
                            <a16:creationId xmlns:a16="http://schemas.microsoft.com/office/drawing/2014/main" id="{8B8B3E45-0DAD-4680-BDF4-F14ACA57E893}"/>
                          </a:ext>
                        </a:extLst>
                      </p:cNvPr>
                      <p:cNvSpPr/>
                      <p:nvPr/>
                    </p:nvSpPr>
                    <p:spPr>
                      <a:xfrm>
                        <a:off x="6587638" y="4293776"/>
                        <a:ext cx="53687" cy="53685"/>
                      </a:xfrm>
                      <a:custGeom>
                        <a:avLst/>
                        <a:gdLst>
                          <a:gd name="connsiteX0" fmla="*/ 42219 w 53687"/>
                          <a:gd name="connsiteY0" fmla="*/ 53685 h 53685"/>
                          <a:gd name="connsiteX1" fmla="*/ 34113 w 53687"/>
                          <a:gd name="connsiteY1" fmla="*/ 50326 h 53685"/>
                          <a:gd name="connsiteX2" fmla="*/ 3362 w 53687"/>
                          <a:gd name="connsiteY2" fmla="*/ 19575 h 53685"/>
                          <a:gd name="connsiteX3" fmla="*/ 3362 w 53687"/>
                          <a:gd name="connsiteY3" fmla="*/ 3362 h 53685"/>
                          <a:gd name="connsiteX4" fmla="*/ 19575 w 53687"/>
                          <a:gd name="connsiteY4" fmla="*/ 3362 h 53685"/>
                          <a:gd name="connsiteX5" fmla="*/ 50326 w 53687"/>
                          <a:gd name="connsiteY5" fmla="*/ 34113 h 53685"/>
                          <a:gd name="connsiteX6" fmla="*/ 50326 w 53687"/>
                          <a:gd name="connsiteY6" fmla="*/ 50326 h 53685"/>
                          <a:gd name="connsiteX7" fmla="*/ 42219 w 53687"/>
                          <a:gd name="connsiteY7" fmla="*/ 53685 h 5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7" h="53685">
                            <a:moveTo>
                              <a:pt x="42219" y="53685"/>
                            </a:moveTo>
                            <a:cubicBezTo>
                              <a:pt x="39285" y="53685"/>
                              <a:pt x="36349" y="52562"/>
                              <a:pt x="34113" y="50326"/>
                            </a:cubicBezTo>
                            <a:lnTo>
                              <a:pt x="3362" y="19575"/>
                            </a:lnTo>
                            <a:cubicBezTo>
                              <a:pt x="-1121" y="15092"/>
                              <a:pt x="-1121" y="7845"/>
                              <a:pt x="3362" y="3362"/>
                            </a:cubicBezTo>
                            <a:cubicBezTo>
                              <a:pt x="7845" y="-1121"/>
                              <a:pt x="15092" y="-1121"/>
                              <a:pt x="19575" y="3362"/>
                            </a:cubicBezTo>
                            <a:lnTo>
                              <a:pt x="50326" y="34113"/>
                            </a:lnTo>
                            <a:cubicBezTo>
                              <a:pt x="54809" y="38596"/>
                              <a:pt x="54809" y="45843"/>
                              <a:pt x="50326" y="50326"/>
                            </a:cubicBezTo>
                            <a:cubicBezTo>
                              <a:pt x="48090" y="52562"/>
                              <a:pt x="45155" y="53685"/>
                              <a:pt x="42219" y="53685"/>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406" name="Graphic 48">
                    <a:extLst>
                      <a:ext uri="{FF2B5EF4-FFF2-40B4-BE49-F238E27FC236}">
                        <a16:creationId xmlns:a16="http://schemas.microsoft.com/office/drawing/2014/main" id="{C49CFCFE-1B45-4FE3-AB36-ACD924B40F2E}"/>
                      </a:ext>
                    </a:extLst>
                  </p:cNvPr>
                  <p:cNvGrpSpPr/>
                  <p:nvPr/>
                </p:nvGrpSpPr>
                <p:grpSpPr>
                  <a:xfrm>
                    <a:off x="6538779" y="4519890"/>
                    <a:ext cx="377485" cy="157587"/>
                    <a:chOff x="6538779" y="4519890"/>
                    <a:chExt cx="377485" cy="157587"/>
                  </a:xfrm>
                  <a:solidFill>
                    <a:schemeClr val="accent1"/>
                  </a:solidFill>
                </p:grpSpPr>
                <p:grpSp>
                  <p:nvGrpSpPr>
                    <p:cNvPr id="415" name="Graphic 48">
                      <a:extLst>
                        <a:ext uri="{FF2B5EF4-FFF2-40B4-BE49-F238E27FC236}">
                          <a16:creationId xmlns:a16="http://schemas.microsoft.com/office/drawing/2014/main" id="{7CBFDA9F-77F4-41EE-8D44-220E49CB8B33}"/>
                        </a:ext>
                      </a:extLst>
                    </p:cNvPr>
                    <p:cNvGrpSpPr/>
                    <p:nvPr/>
                  </p:nvGrpSpPr>
                  <p:grpSpPr>
                    <a:xfrm>
                      <a:off x="6685294" y="4560332"/>
                      <a:ext cx="84490" cy="117144"/>
                      <a:chOff x="6685294" y="4560332"/>
                      <a:chExt cx="84490" cy="117144"/>
                    </a:xfrm>
                    <a:solidFill>
                      <a:schemeClr val="accent1"/>
                    </a:solidFill>
                  </p:grpSpPr>
                  <p:sp>
                    <p:nvSpPr>
                      <p:cNvPr id="422" name="Freeform: Shape 421">
                        <a:extLst>
                          <a:ext uri="{FF2B5EF4-FFF2-40B4-BE49-F238E27FC236}">
                            <a16:creationId xmlns:a16="http://schemas.microsoft.com/office/drawing/2014/main" id="{37308F9B-2B0F-449E-8548-A2B9D669A5FE}"/>
                          </a:ext>
                        </a:extLst>
                      </p:cNvPr>
                      <p:cNvSpPr/>
                      <p:nvPr/>
                    </p:nvSpPr>
                    <p:spPr>
                      <a:xfrm>
                        <a:off x="6685294" y="4603810"/>
                        <a:ext cx="84490" cy="73666"/>
                      </a:xfrm>
                      <a:custGeom>
                        <a:avLst/>
                        <a:gdLst>
                          <a:gd name="connsiteX0" fmla="*/ 42125 w 84490"/>
                          <a:gd name="connsiteY0" fmla="*/ 73667 h 73666"/>
                          <a:gd name="connsiteX1" fmla="*/ 0 w 84490"/>
                          <a:gd name="connsiteY1" fmla="*/ 42125 h 73666"/>
                          <a:gd name="connsiteX2" fmla="*/ 42125 w 84490"/>
                          <a:gd name="connsiteY2" fmla="*/ 0 h 73666"/>
                          <a:gd name="connsiteX3" fmla="*/ 84490 w 84490"/>
                          <a:gd name="connsiteY3" fmla="*/ 43180 h 73666"/>
                          <a:gd name="connsiteX4" fmla="*/ 42125 w 84490"/>
                          <a:gd name="connsiteY4" fmla="*/ 73667 h 73666"/>
                          <a:gd name="connsiteX5" fmla="*/ 42125 w 84490"/>
                          <a:gd name="connsiteY5" fmla="*/ 22931 h 73666"/>
                          <a:gd name="connsiteX6" fmla="*/ 22931 w 84490"/>
                          <a:gd name="connsiteY6" fmla="*/ 42125 h 73666"/>
                          <a:gd name="connsiteX7" fmla="*/ 42125 w 84490"/>
                          <a:gd name="connsiteY7" fmla="*/ 50736 h 73666"/>
                          <a:gd name="connsiteX8" fmla="*/ 61559 w 84490"/>
                          <a:gd name="connsiteY8" fmla="*/ 43180 h 73666"/>
                          <a:gd name="connsiteX9" fmla="*/ 42125 w 84490"/>
                          <a:gd name="connsiteY9" fmla="*/ 22931 h 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490" h="73666">
                            <a:moveTo>
                              <a:pt x="42125" y="73667"/>
                            </a:moveTo>
                            <a:cubicBezTo>
                              <a:pt x="17324" y="73667"/>
                              <a:pt x="0" y="60699"/>
                              <a:pt x="0" y="42125"/>
                            </a:cubicBezTo>
                            <a:cubicBezTo>
                              <a:pt x="0" y="21269"/>
                              <a:pt x="21257" y="0"/>
                              <a:pt x="42125" y="0"/>
                            </a:cubicBezTo>
                            <a:cubicBezTo>
                              <a:pt x="62717" y="0"/>
                              <a:pt x="84490" y="22197"/>
                              <a:pt x="84490" y="43180"/>
                            </a:cubicBezTo>
                            <a:cubicBezTo>
                              <a:pt x="84502" y="61697"/>
                              <a:pt x="67865" y="73667"/>
                              <a:pt x="42125" y="73667"/>
                            </a:cubicBezTo>
                            <a:close/>
                            <a:moveTo>
                              <a:pt x="42125" y="22931"/>
                            </a:moveTo>
                            <a:cubicBezTo>
                              <a:pt x="33411" y="22931"/>
                              <a:pt x="22931" y="34718"/>
                              <a:pt x="22931" y="42125"/>
                            </a:cubicBezTo>
                            <a:cubicBezTo>
                              <a:pt x="22931" y="48064"/>
                              <a:pt x="34156" y="50736"/>
                              <a:pt x="42125" y="50736"/>
                            </a:cubicBezTo>
                            <a:cubicBezTo>
                              <a:pt x="49635" y="50736"/>
                              <a:pt x="61559" y="48683"/>
                              <a:pt x="61559" y="43180"/>
                            </a:cubicBezTo>
                            <a:cubicBezTo>
                              <a:pt x="61571" y="35486"/>
                              <a:pt x="50701" y="22931"/>
                              <a:pt x="42125" y="22931"/>
                            </a:cubicBezTo>
                            <a:close/>
                          </a:path>
                        </a:pathLst>
                      </a:custGeom>
                      <a:solidFill>
                        <a:schemeClr val="accent1"/>
                      </a:solidFill>
                      <a:ln w="1145" cap="flat">
                        <a:noFill/>
                        <a:prstDash val="solid"/>
                        <a:miter/>
                      </a:ln>
                    </p:spPr>
                    <p:txBody>
                      <a:bodyPr rtlCol="0" anchor="ctr"/>
                      <a:lstStyle/>
                      <a:p>
                        <a:endParaRPr lang="en-GB" dirty="0"/>
                      </a:p>
                    </p:txBody>
                  </p:sp>
                  <p:sp>
                    <p:nvSpPr>
                      <p:cNvPr id="423" name="Freeform: Shape 422">
                        <a:extLst>
                          <a:ext uri="{FF2B5EF4-FFF2-40B4-BE49-F238E27FC236}">
                            <a16:creationId xmlns:a16="http://schemas.microsoft.com/office/drawing/2014/main" id="{8DCCAB69-8B0B-4695-A9DF-A0F16EEA0F2F}"/>
                          </a:ext>
                        </a:extLst>
                      </p:cNvPr>
                      <p:cNvSpPr/>
                      <p:nvPr/>
                    </p:nvSpPr>
                    <p:spPr>
                      <a:xfrm>
                        <a:off x="6715931" y="4560332"/>
                        <a:ext cx="22931" cy="66409"/>
                      </a:xfrm>
                      <a:custGeom>
                        <a:avLst/>
                        <a:gdLst>
                          <a:gd name="connsiteX0" fmla="*/ 11466 w 22931"/>
                          <a:gd name="connsiteY0" fmla="*/ 66409 h 66409"/>
                          <a:gd name="connsiteX1" fmla="*/ 0 w 22931"/>
                          <a:gd name="connsiteY1" fmla="*/ 54944 h 66409"/>
                          <a:gd name="connsiteX2" fmla="*/ 0 w 22931"/>
                          <a:gd name="connsiteY2" fmla="*/ 11466 h 66409"/>
                          <a:gd name="connsiteX3" fmla="*/ 11466 w 22931"/>
                          <a:gd name="connsiteY3" fmla="*/ 0 h 66409"/>
                          <a:gd name="connsiteX4" fmla="*/ 22931 w 22931"/>
                          <a:gd name="connsiteY4" fmla="*/ 11466 h 66409"/>
                          <a:gd name="connsiteX5" fmla="*/ 22931 w 22931"/>
                          <a:gd name="connsiteY5" fmla="*/ 54944 h 66409"/>
                          <a:gd name="connsiteX6" fmla="*/ 11466 w 22931"/>
                          <a:gd name="connsiteY6" fmla="*/ 66409 h 66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6409">
                            <a:moveTo>
                              <a:pt x="11466" y="66409"/>
                            </a:moveTo>
                            <a:cubicBezTo>
                              <a:pt x="5125" y="66409"/>
                              <a:pt x="0" y="61284"/>
                              <a:pt x="0" y="54944"/>
                            </a:cubicBezTo>
                            <a:lnTo>
                              <a:pt x="0" y="11466"/>
                            </a:lnTo>
                            <a:cubicBezTo>
                              <a:pt x="0" y="5125"/>
                              <a:pt x="5125" y="0"/>
                              <a:pt x="11466" y="0"/>
                            </a:cubicBezTo>
                            <a:cubicBezTo>
                              <a:pt x="17806" y="0"/>
                              <a:pt x="22931" y="5125"/>
                              <a:pt x="22931" y="11466"/>
                            </a:cubicBezTo>
                            <a:lnTo>
                              <a:pt x="22931" y="54944"/>
                            </a:lnTo>
                            <a:cubicBezTo>
                              <a:pt x="22931" y="61284"/>
                              <a:pt x="17806" y="66409"/>
                              <a:pt x="11466" y="66409"/>
                            </a:cubicBezTo>
                            <a:close/>
                          </a:path>
                        </a:pathLst>
                      </a:custGeom>
                      <a:solidFill>
                        <a:schemeClr val="accent1"/>
                      </a:solidFill>
                      <a:ln w="1145" cap="flat">
                        <a:noFill/>
                        <a:prstDash val="solid"/>
                        <a:miter/>
                      </a:ln>
                    </p:spPr>
                    <p:txBody>
                      <a:bodyPr rtlCol="0" anchor="ctr"/>
                      <a:lstStyle/>
                      <a:p>
                        <a:endParaRPr lang="en-GB" dirty="0"/>
                      </a:p>
                    </p:txBody>
                  </p:sp>
                </p:grpSp>
                <p:grpSp>
                  <p:nvGrpSpPr>
                    <p:cNvPr id="416" name="Graphic 48">
                      <a:extLst>
                        <a:ext uri="{FF2B5EF4-FFF2-40B4-BE49-F238E27FC236}">
                          <a16:creationId xmlns:a16="http://schemas.microsoft.com/office/drawing/2014/main" id="{B136110D-7CB8-4760-84F6-C03054C6EBB4}"/>
                        </a:ext>
                      </a:extLst>
                    </p:cNvPr>
                    <p:cNvGrpSpPr/>
                    <p:nvPr/>
                  </p:nvGrpSpPr>
                  <p:grpSpPr>
                    <a:xfrm>
                      <a:off x="6813707" y="4519890"/>
                      <a:ext cx="102558" cy="101749"/>
                      <a:chOff x="6813707" y="4519890"/>
                      <a:chExt cx="102558" cy="101749"/>
                    </a:xfrm>
                    <a:solidFill>
                      <a:schemeClr val="accent1"/>
                    </a:solidFill>
                  </p:grpSpPr>
                  <p:sp>
                    <p:nvSpPr>
                      <p:cNvPr id="420" name="Freeform: Shape 419">
                        <a:extLst>
                          <a:ext uri="{FF2B5EF4-FFF2-40B4-BE49-F238E27FC236}">
                            <a16:creationId xmlns:a16="http://schemas.microsoft.com/office/drawing/2014/main" id="{58E13C79-6572-40AE-92DC-4612986DC932}"/>
                          </a:ext>
                        </a:extLst>
                      </p:cNvPr>
                      <p:cNvSpPr/>
                      <p:nvPr/>
                    </p:nvSpPr>
                    <p:spPr>
                      <a:xfrm>
                        <a:off x="6836773" y="4543235"/>
                        <a:ext cx="79492" cy="78404"/>
                      </a:xfrm>
                      <a:custGeom>
                        <a:avLst/>
                        <a:gdLst>
                          <a:gd name="connsiteX0" fmla="*/ 30803 w 79492"/>
                          <a:gd name="connsiteY0" fmla="*/ 78405 h 78404"/>
                          <a:gd name="connsiteX1" fmla="*/ 11059 w 79492"/>
                          <a:gd name="connsiteY1" fmla="*/ 70298 h 78404"/>
                          <a:gd name="connsiteX2" fmla="*/ 11059 w 79492"/>
                          <a:gd name="connsiteY2" fmla="*/ 10746 h 78404"/>
                          <a:gd name="connsiteX3" fmla="*/ 71552 w 79492"/>
                          <a:gd name="connsiteY3" fmla="*/ 11308 h 78404"/>
                          <a:gd name="connsiteX4" fmla="*/ 71552 w 79492"/>
                          <a:gd name="connsiteY4" fmla="*/ 11308 h 78404"/>
                          <a:gd name="connsiteX5" fmla="*/ 63147 w 79492"/>
                          <a:gd name="connsiteY5" fmla="*/ 62834 h 78404"/>
                          <a:gd name="connsiteX6" fmla="*/ 30803 w 79492"/>
                          <a:gd name="connsiteY6" fmla="*/ 78405 h 78404"/>
                          <a:gd name="connsiteX7" fmla="*/ 40273 w 79492"/>
                          <a:gd name="connsiteY7" fmla="*/ 22899 h 78404"/>
                          <a:gd name="connsiteX8" fmla="*/ 27271 w 79492"/>
                          <a:gd name="connsiteY8" fmla="*/ 26958 h 78404"/>
                          <a:gd name="connsiteX9" fmla="*/ 27271 w 79492"/>
                          <a:gd name="connsiteY9" fmla="*/ 54086 h 78404"/>
                          <a:gd name="connsiteX10" fmla="*/ 33784 w 79492"/>
                          <a:gd name="connsiteY10" fmla="*/ 55083 h 78404"/>
                          <a:gd name="connsiteX11" fmla="*/ 46923 w 79492"/>
                          <a:gd name="connsiteY11" fmla="*/ 46622 h 78404"/>
                          <a:gd name="connsiteX12" fmla="*/ 55328 w 79492"/>
                          <a:gd name="connsiteY12" fmla="*/ 27520 h 78404"/>
                          <a:gd name="connsiteX13" fmla="*/ 40273 w 79492"/>
                          <a:gd name="connsiteY13" fmla="*/ 22899 h 78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9492" h="78404">
                            <a:moveTo>
                              <a:pt x="30803" y="78405"/>
                            </a:moveTo>
                            <a:cubicBezTo>
                              <a:pt x="23385" y="78405"/>
                              <a:pt x="16505" y="75745"/>
                              <a:pt x="11059" y="70298"/>
                            </a:cubicBezTo>
                            <a:cubicBezTo>
                              <a:pt x="-3686" y="55553"/>
                              <a:pt x="-3686" y="25490"/>
                              <a:pt x="11059" y="10746"/>
                            </a:cubicBezTo>
                            <a:cubicBezTo>
                              <a:pt x="25620" y="-3816"/>
                              <a:pt x="56681" y="-3529"/>
                              <a:pt x="71552" y="11308"/>
                            </a:cubicBezTo>
                            <a:lnTo>
                              <a:pt x="71552" y="11308"/>
                            </a:lnTo>
                            <a:cubicBezTo>
                              <a:pt x="84645" y="24413"/>
                              <a:pt x="81343" y="44638"/>
                              <a:pt x="63147" y="62834"/>
                            </a:cubicBezTo>
                            <a:cubicBezTo>
                              <a:pt x="52886" y="73096"/>
                              <a:pt x="41282" y="78405"/>
                              <a:pt x="30803" y="78405"/>
                            </a:cubicBezTo>
                            <a:close/>
                            <a:moveTo>
                              <a:pt x="40273" y="22899"/>
                            </a:moveTo>
                            <a:cubicBezTo>
                              <a:pt x="35125" y="22899"/>
                              <a:pt x="30080" y="24149"/>
                              <a:pt x="27271" y="26958"/>
                            </a:cubicBezTo>
                            <a:cubicBezTo>
                              <a:pt x="21114" y="33115"/>
                              <a:pt x="22043" y="48858"/>
                              <a:pt x="27271" y="54086"/>
                            </a:cubicBezTo>
                            <a:cubicBezTo>
                              <a:pt x="28040" y="54866"/>
                              <a:pt x="29496" y="56253"/>
                              <a:pt x="33784" y="55083"/>
                            </a:cubicBezTo>
                            <a:cubicBezTo>
                              <a:pt x="37911" y="53925"/>
                              <a:pt x="42704" y="50841"/>
                              <a:pt x="46923" y="46622"/>
                            </a:cubicBezTo>
                            <a:cubicBezTo>
                              <a:pt x="52244" y="41302"/>
                              <a:pt x="59215" y="31430"/>
                              <a:pt x="55328" y="27520"/>
                            </a:cubicBezTo>
                            <a:cubicBezTo>
                              <a:pt x="52415" y="24596"/>
                              <a:pt x="46281" y="22899"/>
                              <a:pt x="40273" y="22899"/>
                            </a:cubicBezTo>
                            <a:close/>
                          </a:path>
                        </a:pathLst>
                      </a:custGeom>
                      <a:solidFill>
                        <a:schemeClr val="accent1"/>
                      </a:solidFill>
                      <a:ln w="1145" cap="flat">
                        <a:noFill/>
                        <a:prstDash val="solid"/>
                        <a:miter/>
                      </a:ln>
                    </p:spPr>
                    <p:txBody>
                      <a:bodyPr rtlCol="0" anchor="ctr"/>
                      <a:lstStyle/>
                      <a:p>
                        <a:endParaRPr lang="en-GB" dirty="0"/>
                      </a:p>
                    </p:txBody>
                  </p:sp>
                  <p:sp>
                    <p:nvSpPr>
                      <p:cNvPr id="421" name="Freeform: Shape 420">
                        <a:extLst>
                          <a:ext uri="{FF2B5EF4-FFF2-40B4-BE49-F238E27FC236}">
                            <a16:creationId xmlns:a16="http://schemas.microsoft.com/office/drawing/2014/main" id="{4A5B15CB-91F2-40DB-978C-D9A57D678742}"/>
                          </a:ext>
                        </a:extLst>
                      </p:cNvPr>
                      <p:cNvSpPr/>
                      <p:nvPr/>
                    </p:nvSpPr>
                    <p:spPr>
                      <a:xfrm>
                        <a:off x="6813707" y="4519890"/>
                        <a:ext cx="53688" cy="53685"/>
                      </a:xfrm>
                      <a:custGeom>
                        <a:avLst/>
                        <a:gdLst>
                          <a:gd name="connsiteX0" fmla="*/ 42220 w 53688"/>
                          <a:gd name="connsiteY0" fmla="*/ 53685 h 53685"/>
                          <a:gd name="connsiteX1" fmla="*/ 34113 w 53688"/>
                          <a:gd name="connsiteY1" fmla="*/ 50326 h 53685"/>
                          <a:gd name="connsiteX2" fmla="*/ 3362 w 53688"/>
                          <a:gd name="connsiteY2" fmla="*/ 19575 h 53685"/>
                          <a:gd name="connsiteX3" fmla="*/ 3362 w 53688"/>
                          <a:gd name="connsiteY3" fmla="*/ 3362 h 53685"/>
                          <a:gd name="connsiteX4" fmla="*/ 19575 w 53688"/>
                          <a:gd name="connsiteY4" fmla="*/ 3362 h 53685"/>
                          <a:gd name="connsiteX5" fmla="*/ 50326 w 53688"/>
                          <a:gd name="connsiteY5" fmla="*/ 34113 h 53685"/>
                          <a:gd name="connsiteX6" fmla="*/ 50326 w 53688"/>
                          <a:gd name="connsiteY6" fmla="*/ 50326 h 53685"/>
                          <a:gd name="connsiteX7" fmla="*/ 42220 w 53688"/>
                          <a:gd name="connsiteY7" fmla="*/ 53685 h 5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8" h="53685">
                            <a:moveTo>
                              <a:pt x="42220" y="53685"/>
                            </a:moveTo>
                            <a:cubicBezTo>
                              <a:pt x="39284" y="53685"/>
                              <a:pt x="36349" y="52562"/>
                              <a:pt x="34113" y="50326"/>
                            </a:cubicBezTo>
                            <a:lnTo>
                              <a:pt x="3362" y="19575"/>
                            </a:lnTo>
                            <a:cubicBezTo>
                              <a:pt x="-1121" y="15092"/>
                              <a:pt x="-1121" y="7845"/>
                              <a:pt x="3362" y="3362"/>
                            </a:cubicBezTo>
                            <a:cubicBezTo>
                              <a:pt x="7846" y="-1121"/>
                              <a:pt x="15092" y="-1121"/>
                              <a:pt x="19575" y="3362"/>
                            </a:cubicBezTo>
                            <a:lnTo>
                              <a:pt x="50326" y="34113"/>
                            </a:lnTo>
                            <a:cubicBezTo>
                              <a:pt x="54809" y="38596"/>
                              <a:pt x="54809" y="45843"/>
                              <a:pt x="50326" y="50326"/>
                            </a:cubicBezTo>
                            <a:cubicBezTo>
                              <a:pt x="48090" y="52562"/>
                              <a:pt x="45154" y="53685"/>
                              <a:pt x="42220" y="53685"/>
                            </a:cubicBezTo>
                            <a:close/>
                          </a:path>
                        </a:pathLst>
                      </a:custGeom>
                      <a:solidFill>
                        <a:schemeClr val="accent1"/>
                      </a:solidFill>
                      <a:ln w="1145" cap="flat">
                        <a:noFill/>
                        <a:prstDash val="solid"/>
                        <a:miter/>
                      </a:ln>
                    </p:spPr>
                    <p:txBody>
                      <a:bodyPr rtlCol="0" anchor="ctr"/>
                      <a:lstStyle/>
                      <a:p>
                        <a:endParaRPr lang="en-GB" dirty="0"/>
                      </a:p>
                    </p:txBody>
                  </p:sp>
                </p:grpSp>
                <p:grpSp>
                  <p:nvGrpSpPr>
                    <p:cNvPr id="417" name="Graphic 48">
                      <a:extLst>
                        <a:ext uri="{FF2B5EF4-FFF2-40B4-BE49-F238E27FC236}">
                          <a16:creationId xmlns:a16="http://schemas.microsoft.com/office/drawing/2014/main" id="{DA59AE3B-EFC9-49FD-9B76-ED5DDC4D2A91}"/>
                        </a:ext>
                      </a:extLst>
                    </p:cNvPr>
                    <p:cNvGrpSpPr/>
                    <p:nvPr/>
                  </p:nvGrpSpPr>
                  <p:grpSpPr>
                    <a:xfrm>
                      <a:off x="6538779" y="4520211"/>
                      <a:ext cx="102558" cy="101749"/>
                      <a:chOff x="6538779" y="4520211"/>
                      <a:chExt cx="102558" cy="101749"/>
                    </a:xfrm>
                    <a:solidFill>
                      <a:schemeClr val="accent1"/>
                    </a:solidFill>
                  </p:grpSpPr>
                  <p:sp>
                    <p:nvSpPr>
                      <p:cNvPr id="418" name="Freeform: Shape 417">
                        <a:extLst>
                          <a:ext uri="{FF2B5EF4-FFF2-40B4-BE49-F238E27FC236}">
                            <a16:creationId xmlns:a16="http://schemas.microsoft.com/office/drawing/2014/main" id="{B25F24C1-60CE-41DB-BCC1-6561FA6D1289}"/>
                          </a:ext>
                        </a:extLst>
                      </p:cNvPr>
                      <p:cNvSpPr/>
                      <p:nvPr/>
                    </p:nvSpPr>
                    <p:spPr>
                      <a:xfrm>
                        <a:off x="6538779" y="4543552"/>
                        <a:ext cx="79454" cy="78408"/>
                      </a:xfrm>
                      <a:custGeom>
                        <a:avLst/>
                        <a:gdLst>
                          <a:gd name="connsiteX0" fmla="*/ 48690 w 79454"/>
                          <a:gd name="connsiteY0" fmla="*/ 78409 h 78408"/>
                          <a:gd name="connsiteX1" fmla="*/ 16345 w 79454"/>
                          <a:gd name="connsiteY1" fmla="*/ 62839 h 78408"/>
                          <a:gd name="connsiteX2" fmla="*/ 7941 w 79454"/>
                          <a:gd name="connsiteY2" fmla="*/ 11312 h 78408"/>
                          <a:gd name="connsiteX3" fmla="*/ 7941 w 79454"/>
                          <a:gd name="connsiteY3" fmla="*/ 11312 h 78408"/>
                          <a:gd name="connsiteX4" fmla="*/ 68433 w 79454"/>
                          <a:gd name="connsiteY4" fmla="*/ 10750 h 78408"/>
                          <a:gd name="connsiteX5" fmla="*/ 79452 w 79454"/>
                          <a:gd name="connsiteY5" fmla="*/ 40870 h 78408"/>
                          <a:gd name="connsiteX6" fmla="*/ 68433 w 79454"/>
                          <a:gd name="connsiteY6" fmla="*/ 70303 h 78408"/>
                          <a:gd name="connsiteX7" fmla="*/ 48690 w 79454"/>
                          <a:gd name="connsiteY7" fmla="*/ 78409 h 78408"/>
                          <a:gd name="connsiteX8" fmla="*/ 24153 w 79454"/>
                          <a:gd name="connsiteY8" fmla="*/ 27524 h 78408"/>
                          <a:gd name="connsiteX9" fmla="*/ 32558 w 79454"/>
                          <a:gd name="connsiteY9" fmla="*/ 46626 h 78408"/>
                          <a:gd name="connsiteX10" fmla="*/ 45697 w 79454"/>
                          <a:gd name="connsiteY10" fmla="*/ 55088 h 78408"/>
                          <a:gd name="connsiteX11" fmla="*/ 52210 w 79454"/>
                          <a:gd name="connsiteY11" fmla="*/ 54090 h 78408"/>
                          <a:gd name="connsiteX12" fmla="*/ 56509 w 79454"/>
                          <a:gd name="connsiteY12" fmla="*/ 40652 h 78408"/>
                          <a:gd name="connsiteX13" fmla="*/ 52210 w 79454"/>
                          <a:gd name="connsiteY13" fmla="*/ 26962 h 78408"/>
                          <a:gd name="connsiteX14" fmla="*/ 24153 w 79454"/>
                          <a:gd name="connsiteY14" fmla="*/ 27524 h 78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454" h="78408">
                            <a:moveTo>
                              <a:pt x="48690" y="78409"/>
                            </a:moveTo>
                            <a:cubicBezTo>
                              <a:pt x="38210" y="78409"/>
                              <a:pt x="26607" y="73100"/>
                              <a:pt x="16345" y="62839"/>
                            </a:cubicBezTo>
                            <a:cubicBezTo>
                              <a:pt x="-1851" y="44642"/>
                              <a:pt x="-5153" y="24406"/>
                              <a:pt x="7941" y="11312"/>
                            </a:cubicBezTo>
                            <a:lnTo>
                              <a:pt x="7941" y="11312"/>
                            </a:lnTo>
                            <a:cubicBezTo>
                              <a:pt x="22800" y="-3536"/>
                              <a:pt x="53884" y="-3812"/>
                              <a:pt x="68433" y="10750"/>
                            </a:cubicBezTo>
                            <a:cubicBezTo>
                              <a:pt x="75554" y="17859"/>
                              <a:pt x="79567" y="28843"/>
                              <a:pt x="79452" y="40870"/>
                            </a:cubicBezTo>
                            <a:cubicBezTo>
                              <a:pt x="79349" y="52691"/>
                              <a:pt x="75336" y="63423"/>
                              <a:pt x="68433" y="70303"/>
                            </a:cubicBezTo>
                            <a:cubicBezTo>
                              <a:pt x="62987" y="75760"/>
                              <a:pt x="56120" y="78409"/>
                              <a:pt x="48690" y="78409"/>
                            </a:cubicBezTo>
                            <a:close/>
                            <a:moveTo>
                              <a:pt x="24153" y="27524"/>
                            </a:moveTo>
                            <a:cubicBezTo>
                              <a:pt x="20266" y="31434"/>
                              <a:pt x="27249" y="41306"/>
                              <a:pt x="32558" y="46626"/>
                            </a:cubicBezTo>
                            <a:cubicBezTo>
                              <a:pt x="36777" y="50845"/>
                              <a:pt x="41570" y="53941"/>
                              <a:pt x="45697" y="55088"/>
                            </a:cubicBezTo>
                            <a:cubicBezTo>
                              <a:pt x="50066" y="56280"/>
                              <a:pt x="51442" y="54858"/>
                              <a:pt x="52210" y="54090"/>
                            </a:cubicBezTo>
                            <a:cubicBezTo>
                              <a:pt x="54778" y="51522"/>
                              <a:pt x="56464" y="46248"/>
                              <a:pt x="56509" y="40652"/>
                            </a:cubicBezTo>
                            <a:cubicBezTo>
                              <a:pt x="56567" y="34919"/>
                              <a:pt x="54916" y="29668"/>
                              <a:pt x="52210" y="26962"/>
                            </a:cubicBezTo>
                            <a:cubicBezTo>
                              <a:pt x="46156" y="20897"/>
                              <a:pt x="29588" y="22089"/>
                              <a:pt x="24153" y="27524"/>
                            </a:cubicBezTo>
                            <a:close/>
                          </a:path>
                        </a:pathLst>
                      </a:custGeom>
                      <a:solidFill>
                        <a:schemeClr val="accent1"/>
                      </a:solidFill>
                      <a:ln w="1145" cap="flat">
                        <a:noFill/>
                        <a:prstDash val="solid"/>
                        <a:miter/>
                      </a:ln>
                    </p:spPr>
                    <p:txBody>
                      <a:bodyPr rtlCol="0" anchor="ctr"/>
                      <a:lstStyle/>
                      <a:p>
                        <a:endParaRPr lang="en-GB" dirty="0"/>
                      </a:p>
                    </p:txBody>
                  </p:sp>
                  <p:sp>
                    <p:nvSpPr>
                      <p:cNvPr id="419" name="Freeform: Shape 418">
                        <a:extLst>
                          <a:ext uri="{FF2B5EF4-FFF2-40B4-BE49-F238E27FC236}">
                            <a16:creationId xmlns:a16="http://schemas.microsoft.com/office/drawing/2014/main" id="{D366BBA1-A1B6-48E9-B4A7-299D291C509F}"/>
                          </a:ext>
                        </a:extLst>
                      </p:cNvPr>
                      <p:cNvSpPr/>
                      <p:nvPr/>
                    </p:nvSpPr>
                    <p:spPr>
                      <a:xfrm>
                        <a:off x="6587650" y="4520211"/>
                        <a:ext cx="53688" cy="53685"/>
                      </a:xfrm>
                      <a:custGeom>
                        <a:avLst/>
                        <a:gdLst>
                          <a:gd name="connsiteX0" fmla="*/ 11469 w 53688"/>
                          <a:gd name="connsiteY0" fmla="*/ 53685 h 53685"/>
                          <a:gd name="connsiteX1" fmla="*/ 3362 w 53688"/>
                          <a:gd name="connsiteY1" fmla="*/ 50326 h 53685"/>
                          <a:gd name="connsiteX2" fmla="*/ 3362 w 53688"/>
                          <a:gd name="connsiteY2" fmla="*/ 34113 h 53685"/>
                          <a:gd name="connsiteX3" fmla="*/ 34114 w 53688"/>
                          <a:gd name="connsiteY3" fmla="*/ 3362 h 53685"/>
                          <a:gd name="connsiteX4" fmla="*/ 50326 w 53688"/>
                          <a:gd name="connsiteY4" fmla="*/ 3362 h 53685"/>
                          <a:gd name="connsiteX5" fmla="*/ 50326 w 53688"/>
                          <a:gd name="connsiteY5" fmla="*/ 19575 h 53685"/>
                          <a:gd name="connsiteX6" fmla="*/ 19575 w 53688"/>
                          <a:gd name="connsiteY6" fmla="*/ 50326 h 53685"/>
                          <a:gd name="connsiteX7" fmla="*/ 11469 w 53688"/>
                          <a:gd name="connsiteY7" fmla="*/ 53685 h 5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8" h="53685">
                            <a:moveTo>
                              <a:pt x="11469" y="53685"/>
                            </a:moveTo>
                            <a:cubicBezTo>
                              <a:pt x="8533" y="53685"/>
                              <a:pt x="5598" y="52562"/>
                              <a:pt x="3362" y="50326"/>
                            </a:cubicBezTo>
                            <a:cubicBezTo>
                              <a:pt x="-1121" y="45843"/>
                              <a:pt x="-1121" y="38596"/>
                              <a:pt x="3362" y="34113"/>
                            </a:cubicBezTo>
                            <a:lnTo>
                              <a:pt x="34114" y="3362"/>
                            </a:lnTo>
                            <a:cubicBezTo>
                              <a:pt x="38596" y="-1121"/>
                              <a:pt x="45843" y="-1121"/>
                              <a:pt x="50326" y="3362"/>
                            </a:cubicBezTo>
                            <a:cubicBezTo>
                              <a:pt x="54809" y="7845"/>
                              <a:pt x="54809" y="15092"/>
                              <a:pt x="50326" y="19575"/>
                            </a:cubicBezTo>
                            <a:lnTo>
                              <a:pt x="19575" y="50326"/>
                            </a:lnTo>
                            <a:cubicBezTo>
                              <a:pt x="17339" y="52562"/>
                              <a:pt x="14404" y="53685"/>
                              <a:pt x="11469" y="53685"/>
                            </a:cubicBezTo>
                            <a:close/>
                          </a:path>
                        </a:pathLst>
                      </a:custGeom>
                      <a:solidFill>
                        <a:schemeClr val="accent1"/>
                      </a:solidFill>
                      <a:ln w="1145" cap="flat">
                        <a:noFill/>
                        <a:prstDash val="solid"/>
                        <a:miter/>
                      </a:ln>
                    </p:spPr>
                    <p:txBody>
                      <a:bodyPr rtlCol="0" anchor="ctr"/>
                      <a:lstStyle/>
                      <a:p>
                        <a:endParaRPr lang="en-GB" dirty="0"/>
                      </a:p>
                    </p:txBody>
                  </p:sp>
                </p:grpSp>
              </p:grpSp>
              <p:sp>
                <p:nvSpPr>
                  <p:cNvPr id="407" name="Freeform: Shape 406">
                    <a:extLst>
                      <a:ext uri="{FF2B5EF4-FFF2-40B4-BE49-F238E27FC236}">
                        <a16:creationId xmlns:a16="http://schemas.microsoft.com/office/drawing/2014/main" id="{67A2569E-AC17-43F4-A649-6A7C55B728E3}"/>
                      </a:ext>
                    </a:extLst>
                  </p:cNvPr>
                  <p:cNvSpPr/>
                  <p:nvPr/>
                </p:nvSpPr>
                <p:spPr>
                  <a:xfrm>
                    <a:off x="6773406" y="4548191"/>
                    <a:ext cx="33919" cy="46847"/>
                  </a:xfrm>
                  <a:custGeom>
                    <a:avLst/>
                    <a:gdLst>
                      <a:gd name="connsiteX0" fmla="*/ 22463 w 33919"/>
                      <a:gd name="connsiteY0" fmla="*/ 46848 h 46847"/>
                      <a:gd name="connsiteX1" fmla="*/ 12030 w 33919"/>
                      <a:gd name="connsiteY1" fmla="*/ 40163 h 46847"/>
                      <a:gd name="connsiteX2" fmla="*/ 1046 w 33919"/>
                      <a:gd name="connsiteY2" fmla="*/ 16246 h 46847"/>
                      <a:gd name="connsiteX3" fmla="*/ 6687 w 33919"/>
                      <a:gd name="connsiteY3" fmla="*/ 1042 h 46847"/>
                      <a:gd name="connsiteX4" fmla="*/ 21890 w 33919"/>
                      <a:gd name="connsiteY4" fmla="*/ 6684 h 46847"/>
                      <a:gd name="connsiteX5" fmla="*/ 32874 w 33919"/>
                      <a:gd name="connsiteY5" fmla="*/ 30601 h 46847"/>
                      <a:gd name="connsiteX6" fmla="*/ 27233 w 33919"/>
                      <a:gd name="connsiteY6" fmla="*/ 45804 h 46847"/>
                      <a:gd name="connsiteX7" fmla="*/ 22463 w 33919"/>
                      <a:gd name="connsiteY7" fmla="*/ 46848 h 4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9" h="46847">
                        <a:moveTo>
                          <a:pt x="22463" y="46848"/>
                        </a:moveTo>
                        <a:cubicBezTo>
                          <a:pt x="18118" y="46848"/>
                          <a:pt x="13968" y="44371"/>
                          <a:pt x="12030" y="40163"/>
                        </a:cubicBezTo>
                        <a:lnTo>
                          <a:pt x="1046" y="16246"/>
                        </a:lnTo>
                        <a:cubicBezTo>
                          <a:pt x="-1592" y="10490"/>
                          <a:pt x="931" y="3680"/>
                          <a:pt x="6687" y="1042"/>
                        </a:cubicBezTo>
                        <a:cubicBezTo>
                          <a:pt x="12420" y="-1583"/>
                          <a:pt x="19241" y="916"/>
                          <a:pt x="21890" y="6684"/>
                        </a:cubicBezTo>
                        <a:lnTo>
                          <a:pt x="32874" y="30601"/>
                        </a:lnTo>
                        <a:cubicBezTo>
                          <a:pt x="35512" y="36357"/>
                          <a:pt x="32989" y="43167"/>
                          <a:pt x="27233" y="45804"/>
                        </a:cubicBezTo>
                        <a:cubicBezTo>
                          <a:pt x="25685" y="46504"/>
                          <a:pt x="24069" y="46848"/>
                          <a:pt x="22463" y="46848"/>
                        </a:cubicBezTo>
                        <a:close/>
                      </a:path>
                    </a:pathLst>
                  </a:custGeom>
                  <a:solidFill>
                    <a:schemeClr val="accent1"/>
                  </a:solidFill>
                  <a:ln w="1145" cap="flat">
                    <a:noFill/>
                    <a:prstDash val="solid"/>
                    <a:miter/>
                  </a:ln>
                </p:spPr>
                <p:txBody>
                  <a:bodyPr rtlCol="0" anchor="ctr"/>
                  <a:lstStyle/>
                  <a:p>
                    <a:endParaRPr lang="en-GB" dirty="0"/>
                  </a:p>
                </p:txBody>
              </p:sp>
              <p:sp>
                <p:nvSpPr>
                  <p:cNvPr id="408" name="Freeform: Shape 407">
                    <a:extLst>
                      <a:ext uri="{FF2B5EF4-FFF2-40B4-BE49-F238E27FC236}">
                        <a16:creationId xmlns:a16="http://schemas.microsoft.com/office/drawing/2014/main" id="{E4D64ABD-6409-49ED-A7BB-6AA615289945}"/>
                      </a:ext>
                    </a:extLst>
                  </p:cNvPr>
                  <p:cNvSpPr/>
                  <p:nvPr/>
                </p:nvSpPr>
                <p:spPr>
                  <a:xfrm>
                    <a:off x="6646664" y="4272236"/>
                    <a:ext cx="34126" cy="47283"/>
                  </a:xfrm>
                  <a:custGeom>
                    <a:avLst/>
                    <a:gdLst>
                      <a:gd name="connsiteX0" fmla="*/ 22670 w 34126"/>
                      <a:gd name="connsiteY0" fmla="*/ 47284 h 47283"/>
                      <a:gd name="connsiteX1" fmla="*/ 12236 w 34126"/>
                      <a:gd name="connsiteY1" fmla="*/ 40599 h 47283"/>
                      <a:gd name="connsiteX2" fmla="*/ 1046 w 34126"/>
                      <a:gd name="connsiteY2" fmla="*/ 16246 h 47283"/>
                      <a:gd name="connsiteX3" fmla="*/ 6687 w 34126"/>
                      <a:gd name="connsiteY3" fmla="*/ 1043 h 47283"/>
                      <a:gd name="connsiteX4" fmla="*/ 21890 w 34126"/>
                      <a:gd name="connsiteY4" fmla="*/ 6684 h 47283"/>
                      <a:gd name="connsiteX5" fmla="*/ 33081 w 34126"/>
                      <a:gd name="connsiteY5" fmla="*/ 31037 h 47283"/>
                      <a:gd name="connsiteX6" fmla="*/ 27440 w 34126"/>
                      <a:gd name="connsiteY6" fmla="*/ 46240 h 47283"/>
                      <a:gd name="connsiteX7" fmla="*/ 22670 w 34126"/>
                      <a:gd name="connsiteY7" fmla="*/ 47284 h 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26" h="47283">
                        <a:moveTo>
                          <a:pt x="22670" y="47284"/>
                        </a:moveTo>
                        <a:cubicBezTo>
                          <a:pt x="18324" y="47284"/>
                          <a:pt x="14174" y="44807"/>
                          <a:pt x="12236" y="40599"/>
                        </a:cubicBezTo>
                        <a:lnTo>
                          <a:pt x="1046" y="16246"/>
                        </a:lnTo>
                        <a:cubicBezTo>
                          <a:pt x="-1592" y="10490"/>
                          <a:pt x="931" y="3691"/>
                          <a:pt x="6687" y="1043"/>
                        </a:cubicBezTo>
                        <a:cubicBezTo>
                          <a:pt x="12431" y="-1583"/>
                          <a:pt x="19242" y="916"/>
                          <a:pt x="21890" y="6684"/>
                        </a:cubicBezTo>
                        <a:lnTo>
                          <a:pt x="33081" y="31037"/>
                        </a:lnTo>
                        <a:cubicBezTo>
                          <a:pt x="35718" y="36792"/>
                          <a:pt x="33196" y="43591"/>
                          <a:pt x="27440" y="46240"/>
                        </a:cubicBezTo>
                        <a:cubicBezTo>
                          <a:pt x="25892" y="46951"/>
                          <a:pt x="24275" y="47284"/>
                          <a:pt x="22670" y="47284"/>
                        </a:cubicBezTo>
                        <a:close/>
                      </a:path>
                    </a:pathLst>
                  </a:custGeom>
                  <a:solidFill>
                    <a:schemeClr val="accent1"/>
                  </a:solidFill>
                  <a:ln w="1145" cap="flat">
                    <a:noFill/>
                    <a:prstDash val="solid"/>
                    <a:miter/>
                  </a:ln>
                </p:spPr>
                <p:txBody>
                  <a:bodyPr rtlCol="0" anchor="ctr"/>
                  <a:lstStyle/>
                  <a:p>
                    <a:endParaRPr lang="en-GB" dirty="0"/>
                  </a:p>
                </p:txBody>
              </p:sp>
              <p:sp>
                <p:nvSpPr>
                  <p:cNvPr id="409" name="Freeform: Shape 408">
                    <a:extLst>
                      <a:ext uri="{FF2B5EF4-FFF2-40B4-BE49-F238E27FC236}">
                        <a16:creationId xmlns:a16="http://schemas.microsoft.com/office/drawing/2014/main" id="{5BF86CDD-E466-489D-A451-EBC39ED8495B}"/>
                      </a:ext>
                    </a:extLst>
                  </p:cNvPr>
                  <p:cNvSpPr/>
                  <p:nvPr/>
                </p:nvSpPr>
                <p:spPr>
                  <a:xfrm>
                    <a:off x="6843069" y="4480044"/>
                    <a:ext cx="46089" cy="33485"/>
                  </a:xfrm>
                  <a:custGeom>
                    <a:avLst/>
                    <a:gdLst>
                      <a:gd name="connsiteX0" fmla="*/ 34608 w 46089"/>
                      <a:gd name="connsiteY0" fmla="*/ 33486 h 33485"/>
                      <a:gd name="connsiteX1" fmla="*/ 29861 w 46089"/>
                      <a:gd name="connsiteY1" fmla="*/ 32454 h 33485"/>
                      <a:gd name="connsiteX2" fmla="*/ 6712 w 46089"/>
                      <a:gd name="connsiteY2" fmla="*/ 21894 h 33485"/>
                      <a:gd name="connsiteX3" fmla="*/ 1036 w 46089"/>
                      <a:gd name="connsiteY3" fmla="*/ 6702 h 33485"/>
                      <a:gd name="connsiteX4" fmla="*/ 16228 w 46089"/>
                      <a:gd name="connsiteY4" fmla="*/ 1027 h 33485"/>
                      <a:gd name="connsiteX5" fmla="*/ 39378 w 46089"/>
                      <a:gd name="connsiteY5" fmla="*/ 11586 h 33485"/>
                      <a:gd name="connsiteX6" fmla="*/ 45053 w 46089"/>
                      <a:gd name="connsiteY6" fmla="*/ 26778 h 33485"/>
                      <a:gd name="connsiteX7" fmla="*/ 34608 w 46089"/>
                      <a:gd name="connsiteY7" fmla="*/ 33486 h 33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89" h="33485">
                        <a:moveTo>
                          <a:pt x="34608" y="33486"/>
                        </a:moveTo>
                        <a:cubicBezTo>
                          <a:pt x="33014" y="33486"/>
                          <a:pt x="31409" y="33153"/>
                          <a:pt x="29861" y="32454"/>
                        </a:cubicBezTo>
                        <a:lnTo>
                          <a:pt x="6712" y="21894"/>
                        </a:lnTo>
                        <a:cubicBezTo>
                          <a:pt x="945" y="19268"/>
                          <a:pt x="-1589" y="12458"/>
                          <a:pt x="1036" y="6702"/>
                        </a:cubicBezTo>
                        <a:cubicBezTo>
                          <a:pt x="3662" y="935"/>
                          <a:pt x="10438" y="-1576"/>
                          <a:pt x="16228" y="1027"/>
                        </a:cubicBezTo>
                        <a:lnTo>
                          <a:pt x="39378" y="11586"/>
                        </a:lnTo>
                        <a:cubicBezTo>
                          <a:pt x="45145" y="14212"/>
                          <a:pt x="47678" y="21023"/>
                          <a:pt x="45053" y="26778"/>
                        </a:cubicBezTo>
                        <a:cubicBezTo>
                          <a:pt x="43127" y="30998"/>
                          <a:pt x="38965" y="33486"/>
                          <a:pt x="34608" y="33486"/>
                        </a:cubicBezTo>
                        <a:close/>
                      </a:path>
                    </a:pathLst>
                  </a:custGeom>
                  <a:solidFill>
                    <a:schemeClr val="accent1"/>
                  </a:solidFill>
                  <a:ln w="1145" cap="flat">
                    <a:noFill/>
                    <a:prstDash val="solid"/>
                    <a:miter/>
                  </a:ln>
                </p:spPr>
                <p:txBody>
                  <a:bodyPr rtlCol="0" anchor="ctr"/>
                  <a:lstStyle/>
                  <a:p>
                    <a:endParaRPr lang="en-GB" dirty="0"/>
                  </a:p>
                </p:txBody>
              </p:sp>
              <p:sp>
                <p:nvSpPr>
                  <p:cNvPr id="410" name="Freeform: Shape 409">
                    <a:extLst>
                      <a:ext uri="{FF2B5EF4-FFF2-40B4-BE49-F238E27FC236}">
                        <a16:creationId xmlns:a16="http://schemas.microsoft.com/office/drawing/2014/main" id="{BDF99C5B-5352-4383-89C0-798B605DD323}"/>
                      </a:ext>
                    </a:extLst>
                  </p:cNvPr>
                  <p:cNvSpPr/>
                  <p:nvPr/>
                </p:nvSpPr>
                <p:spPr>
                  <a:xfrm>
                    <a:off x="6565968" y="4353732"/>
                    <a:ext cx="46751" cy="33790"/>
                  </a:xfrm>
                  <a:custGeom>
                    <a:avLst/>
                    <a:gdLst>
                      <a:gd name="connsiteX0" fmla="*/ 35271 w 46751"/>
                      <a:gd name="connsiteY0" fmla="*/ 33790 h 33790"/>
                      <a:gd name="connsiteX1" fmla="*/ 30524 w 46751"/>
                      <a:gd name="connsiteY1" fmla="*/ 32758 h 33790"/>
                      <a:gd name="connsiteX2" fmla="*/ 6710 w 46751"/>
                      <a:gd name="connsiteY2" fmla="*/ 21912 h 33790"/>
                      <a:gd name="connsiteX3" fmla="*/ 1035 w 46751"/>
                      <a:gd name="connsiteY3" fmla="*/ 6720 h 33790"/>
                      <a:gd name="connsiteX4" fmla="*/ 16227 w 46751"/>
                      <a:gd name="connsiteY4" fmla="*/ 1044 h 33790"/>
                      <a:gd name="connsiteX5" fmla="*/ 40041 w 46751"/>
                      <a:gd name="connsiteY5" fmla="*/ 11891 h 33790"/>
                      <a:gd name="connsiteX6" fmla="*/ 45717 w 46751"/>
                      <a:gd name="connsiteY6" fmla="*/ 27083 h 33790"/>
                      <a:gd name="connsiteX7" fmla="*/ 35271 w 46751"/>
                      <a:gd name="connsiteY7" fmla="*/ 33790 h 3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51" h="33790">
                        <a:moveTo>
                          <a:pt x="35271" y="33790"/>
                        </a:moveTo>
                        <a:cubicBezTo>
                          <a:pt x="33678" y="33790"/>
                          <a:pt x="32072" y="33469"/>
                          <a:pt x="30524" y="32758"/>
                        </a:cubicBezTo>
                        <a:lnTo>
                          <a:pt x="6710" y="21912"/>
                        </a:lnTo>
                        <a:cubicBezTo>
                          <a:pt x="954" y="19286"/>
                          <a:pt x="-1591" y="12487"/>
                          <a:pt x="1035" y="6720"/>
                        </a:cubicBezTo>
                        <a:cubicBezTo>
                          <a:pt x="3660" y="964"/>
                          <a:pt x="10448" y="-1604"/>
                          <a:pt x="16227" y="1044"/>
                        </a:cubicBezTo>
                        <a:lnTo>
                          <a:pt x="40041" y="11891"/>
                        </a:lnTo>
                        <a:cubicBezTo>
                          <a:pt x="45797" y="14517"/>
                          <a:pt x="48342" y="21316"/>
                          <a:pt x="45717" y="27083"/>
                        </a:cubicBezTo>
                        <a:cubicBezTo>
                          <a:pt x="43801" y="31302"/>
                          <a:pt x="39628" y="33790"/>
                          <a:pt x="35271" y="33790"/>
                        </a:cubicBezTo>
                        <a:close/>
                      </a:path>
                    </a:pathLst>
                  </a:custGeom>
                  <a:solidFill>
                    <a:schemeClr val="accent1"/>
                  </a:solidFill>
                  <a:ln w="1145" cap="flat">
                    <a:noFill/>
                    <a:prstDash val="solid"/>
                    <a:miter/>
                  </a:ln>
                </p:spPr>
                <p:txBody>
                  <a:bodyPr rtlCol="0" anchor="ctr"/>
                  <a:lstStyle/>
                  <a:p>
                    <a:endParaRPr lang="en-GB" dirty="0"/>
                  </a:p>
                </p:txBody>
              </p:sp>
              <p:sp>
                <p:nvSpPr>
                  <p:cNvPr id="411" name="Freeform: Shape 410">
                    <a:extLst>
                      <a:ext uri="{FF2B5EF4-FFF2-40B4-BE49-F238E27FC236}">
                        <a16:creationId xmlns:a16="http://schemas.microsoft.com/office/drawing/2014/main" id="{C1A0EDF3-3B29-4B5C-8DDA-2E02C670C766}"/>
                      </a:ext>
                    </a:extLst>
                  </p:cNvPr>
                  <p:cNvSpPr/>
                  <p:nvPr/>
                </p:nvSpPr>
                <p:spPr>
                  <a:xfrm>
                    <a:off x="6841730" y="4355220"/>
                    <a:ext cx="47643" cy="33918"/>
                  </a:xfrm>
                  <a:custGeom>
                    <a:avLst/>
                    <a:gdLst>
                      <a:gd name="connsiteX0" fmla="*/ 11479 w 47643"/>
                      <a:gd name="connsiteY0" fmla="*/ 33919 h 33918"/>
                      <a:gd name="connsiteX1" fmla="*/ 988 w 47643"/>
                      <a:gd name="connsiteY1" fmla="*/ 27108 h 33918"/>
                      <a:gd name="connsiteX2" fmla="*/ 6812 w 47643"/>
                      <a:gd name="connsiteY2" fmla="*/ 11973 h 33918"/>
                      <a:gd name="connsiteX3" fmla="*/ 31521 w 47643"/>
                      <a:gd name="connsiteY3" fmla="*/ 1001 h 33918"/>
                      <a:gd name="connsiteX4" fmla="*/ 46655 w 47643"/>
                      <a:gd name="connsiteY4" fmla="*/ 6825 h 33918"/>
                      <a:gd name="connsiteX5" fmla="*/ 40831 w 47643"/>
                      <a:gd name="connsiteY5" fmla="*/ 21960 h 33918"/>
                      <a:gd name="connsiteX6" fmla="*/ 16122 w 47643"/>
                      <a:gd name="connsiteY6" fmla="*/ 32933 h 33918"/>
                      <a:gd name="connsiteX7" fmla="*/ 11479 w 47643"/>
                      <a:gd name="connsiteY7" fmla="*/ 33919 h 3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43" h="33918">
                        <a:moveTo>
                          <a:pt x="11479" y="33919"/>
                        </a:moveTo>
                        <a:cubicBezTo>
                          <a:pt x="7076" y="33919"/>
                          <a:pt x="2891" y="31373"/>
                          <a:pt x="988" y="27108"/>
                        </a:cubicBezTo>
                        <a:cubicBezTo>
                          <a:pt x="-1581" y="21318"/>
                          <a:pt x="1034" y="14542"/>
                          <a:pt x="6812" y="11973"/>
                        </a:cubicBezTo>
                        <a:lnTo>
                          <a:pt x="31521" y="1001"/>
                        </a:lnTo>
                        <a:cubicBezTo>
                          <a:pt x="37334" y="-1602"/>
                          <a:pt x="44087" y="1058"/>
                          <a:pt x="46655" y="6825"/>
                        </a:cubicBezTo>
                        <a:cubicBezTo>
                          <a:pt x="49224" y="12615"/>
                          <a:pt x="46610" y="19391"/>
                          <a:pt x="40831" y="21960"/>
                        </a:cubicBezTo>
                        <a:lnTo>
                          <a:pt x="16122" y="32933"/>
                        </a:lnTo>
                        <a:cubicBezTo>
                          <a:pt x="14609" y="33598"/>
                          <a:pt x="13027" y="33919"/>
                          <a:pt x="11479" y="33919"/>
                        </a:cubicBezTo>
                        <a:close/>
                      </a:path>
                    </a:pathLst>
                  </a:custGeom>
                  <a:solidFill>
                    <a:schemeClr val="accent1"/>
                  </a:solidFill>
                  <a:ln w="1145" cap="flat">
                    <a:noFill/>
                    <a:prstDash val="solid"/>
                    <a:miter/>
                  </a:ln>
                </p:spPr>
                <p:txBody>
                  <a:bodyPr rtlCol="0" anchor="ctr"/>
                  <a:lstStyle/>
                  <a:p>
                    <a:endParaRPr lang="en-GB" dirty="0"/>
                  </a:p>
                </p:txBody>
              </p:sp>
              <p:sp>
                <p:nvSpPr>
                  <p:cNvPr id="412" name="Freeform: Shape 411">
                    <a:extLst>
                      <a:ext uri="{FF2B5EF4-FFF2-40B4-BE49-F238E27FC236}">
                        <a16:creationId xmlns:a16="http://schemas.microsoft.com/office/drawing/2014/main" id="{15A71F9C-3926-41FD-8A1E-CB6B3B7F5280}"/>
                      </a:ext>
                    </a:extLst>
                  </p:cNvPr>
                  <p:cNvSpPr/>
                  <p:nvPr/>
                </p:nvSpPr>
                <p:spPr>
                  <a:xfrm>
                    <a:off x="6564869" y="4478751"/>
                    <a:ext cx="46255" cy="33299"/>
                  </a:xfrm>
                  <a:custGeom>
                    <a:avLst/>
                    <a:gdLst>
                      <a:gd name="connsiteX0" fmla="*/ 11479 w 46255"/>
                      <a:gd name="connsiteY0" fmla="*/ 33299 h 33299"/>
                      <a:gd name="connsiteX1" fmla="*/ 988 w 46255"/>
                      <a:gd name="connsiteY1" fmla="*/ 26489 h 33299"/>
                      <a:gd name="connsiteX2" fmla="*/ 6812 w 46255"/>
                      <a:gd name="connsiteY2" fmla="*/ 11354 h 33299"/>
                      <a:gd name="connsiteX3" fmla="*/ 30133 w 46255"/>
                      <a:gd name="connsiteY3" fmla="*/ 1001 h 33299"/>
                      <a:gd name="connsiteX4" fmla="*/ 45268 w 46255"/>
                      <a:gd name="connsiteY4" fmla="*/ 6825 h 33299"/>
                      <a:gd name="connsiteX5" fmla="*/ 39444 w 46255"/>
                      <a:gd name="connsiteY5" fmla="*/ 21960 h 33299"/>
                      <a:gd name="connsiteX6" fmla="*/ 16122 w 46255"/>
                      <a:gd name="connsiteY6" fmla="*/ 32313 h 33299"/>
                      <a:gd name="connsiteX7" fmla="*/ 11479 w 46255"/>
                      <a:gd name="connsiteY7" fmla="*/ 33299 h 33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55" h="33299">
                        <a:moveTo>
                          <a:pt x="11479" y="33299"/>
                        </a:moveTo>
                        <a:cubicBezTo>
                          <a:pt x="7076" y="33299"/>
                          <a:pt x="2891" y="30754"/>
                          <a:pt x="988" y="26489"/>
                        </a:cubicBezTo>
                        <a:cubicBezTo>
                          <a:pt x="-1581" y="20699"/>
                          <a:pt x="1034" y="13923"/>
                          <a:pt x="6812" y="11354"/>
                        </a:cubicBezTo>
                        <a:lnTo>
                          <a:pt x="30133" y="1001"/>
                        </a:lnTo>
                        <a:cubicBezTo>
                          <a:pt x="35947" y="-1602"/>
                          <a:pt x="42700" y="1058"/>
                          <a:pt x="45268" y="6825"/>
                        </a:cubicBezTo>
                        <a:cubicBezTo>
                          <a:pt x="47836" y="12615"/>
                          <a:pt x="45222" y="19391"/>
                          <a:pt x="39444" y="21960"/>
                        </a:cubicBezTo>
                        <a:lnTo>
                          <a:pt x="16122" y="32313"/>
                        </a:lnTo>
                        <a:cubicBezTo>
                          <a:pt x="14609" y="32990"/>
                          <a:pt x="13015" y="33299"/>
                          <a:pt x="11479" y="33299"/>
                        </a:cubicBezTo>
                        <a:close/>
                      </a:path>
                    </a:pathLst>
                  </a:custGeom>
                  <a:solidFill>
                    <a:schemeClr val="accent1"/>
                  </a:solidFill>
                  <a:ln w="1145" cap="flat">
                    <a:noFill/>
                    <a:prstDash val="solid"/>
                    <a:miter/>
                  </a:ln>
                </p:spPr>
                <p:txBody>
                  <a:bodyPr rtlCol="0" anchor="ctr"/>
                  <a:lstStyle/>
                  <a:p>
                    <a:endParaRPr lang="en-GB" dirty="0"/>
                  </a:p>
                </p:txBody>
              </p:sp>
              <p:sp>
                <p:nvSpPr>
                  <p:cNvPr id="413" name="Freeform: Shape 412">
                    <a:extLst>
                      <a:ext uri="{FF2B5EF4-FFF2-40B4-BE49-F238E27FC236}">
                        <a16:creationId xmlns:a16="http://schemas.microsoft.com/office/drawing/2014/main" id="{5C240A7A-4452-4CA3-BDA5-736979BB33B4}"/>
                      </a:ext>
                    </a:extLst>
                  </p:cNvPr>
                  <p:cNvSpPr/>
                  <p:nvPr/>
                </p:nvSpPr>
                <p:spPr>
                  <a:xfrm>
                    <a:off x="6646877" y="4549226"/>
                    <a:ext cx="33459" cy="45870"/>
                  </a:xfrm>
                  <a:custGeom>
                    <a:avLst/>
                    <a:gdLst>
                      <a:gd name="connsiteX0" fmla="*/ 11462 w 33459"/>
                      <a:gd name="connsiteY0" fmla="*/ 45871 h 45870"/>
                      <a:gd name="connsiteX1" fmla="*/ 6692 w 33459"/>
                      <a:gd name="connsiteY1" fmla="*/ 44828 h 45870"/>
                      <a:gd name="connsiteX2" fmla="*/ 1051 w 33459"/>
                      <a:gd name="connsiteY2" fmla="*/ 29624 h 45870"/>
                      <a:gd name="connsiteX3" fmla="*/ 11565 w 33459"/>
                      <a:gd name="connsiteY3" fmla="*/ 6681 h 45870"/>
                      <a:gd name="connsiteX4" fmla="*/ 26768 w 33459"/>
                      <a:gd name="connsiteY4" fmla="*/ 1040 h 45870"/>
                      <a:gd name="connsiteX5" fmla="*/ 32409 w 33459"/>
                      <a:gd name="connsiteY5" fmla="*/ 16244 h 45870"/>
                      <a:gd name="connsiteX6" fmla="*/ 21895 w 33459"/>
                      <a:gd name="connsiteY6" fmla="*/ 39186 h 45870"/>
                      <a:gd name="connsiteX7" fmla="*/ 11462 w 33459"/>
                      <a:gd name="connsiteY7" fmla="*/ 45871 h 45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59" h="45870">
                        <a:moveTo>
                          <a:pt x="11462" y="45871"/>
                        </a:moveTo>
                        <a:cubicBezTo>
                          <a:pt x="9868" y="45871"/>
                          <a:pt x="8251" y="45538"/>
                          <a:pt x="6692" y="44828"/>
                        </a:cubicBezTo>
                        <a:cubicBezTo>
                          <a:pt x="936" y="42190"/>
                          <a:pt x="-1598" y="35391"/>
                          <a:pt x="1051" y="29624"/>
                        </a:cubicBezTo>
                        <a:lnTo>
                          <a:pt x="11565" y="6681"/>
                        </a:lnTo>
                        <a:cubicBezTo>
                          <a:pt x="14201" y="960"/>
                          <a:pt x="20978" y="-1597"/>
                          <a:pt x="26768" y="1040"/>
                        </a:cubicBezTo>
                        <a:cubicBezTo>
                          <a:pt x="32524" y="3677"/>
                          <a:pt x="35058" y="10476"/>
                          <a:pt x="32409" y="16244"/>
                        </a:cubicBezTo>
                        <a:lnTo>
                          <a:pt x="21895" y="39186"/>
                        </a:lnTo>
                        <a:cubicBezTo>
                          <a:pt x="19969" y="43383"/>
                          <a:pt x="15807" y="45871"/>
                          <a:pt x="11462" y="45871"/>
                        </a:cubicBezTo>
                        <a:close/>
                      </a:path>
                    </a:pathLst>
                  </a:custGeom>
                  <a:solidFill>
                    <a:schemeClr val="accent1"/>
                  </a:solidFill>
                  <a:ln w="1145" cap="flat">
                    <a:noFill/>
                    <a:prstDash val="solid"/>
                    <a:miter/>
                  </a:ln>
                </p:spPr>
                <p:txBody>
                  <a:bodyPr rtlCol="0" anchor="ctr"/>
                  <a:lstStyle/>
                  <a:p>
                    <a:endParaRPr lang="en-GB" dirty="0"/>
                  </a:p>
                </p:txBody>
              </p:sp>
              <p:sp>
                <p:nvSpPr>
                  <p:cNvPr id="414" name="Freeform: Shape 413">
                    <a:extLst>
                      <a:ext uri="{FF2B5EF4-FFF2-40B4-BE49-F238E27FC236}">
                        <a16:creationId xmlns:a16="http://schemas.microsoft.com/office/drawing/2014/main" id="{4100C8E9-39A9-466F-8ADD-2C0B2498B446}"/>
                      </a:ext>
                    </a:extLst>
                  </p:cNvPr>
                  <p:cNvSpPr/>
                  <p:nvPr/>
                </p:nvSpPr>
                <p:spPr>
                  <a:xfrm>
                    <a:off x="6773458" y="4272190"/>
                    <a:ext cx="33826" cy="46686"/>
                  </a:xfrm>
                  <a:custGeom>
                    <a:avLst/>
                    <a:gdLst>
                      <a:gd name="connsiteX0" fmla="*/ 11461 w 33826"/>
                      <a:gd name="connsiteY0" fmla="*/ 46687 h 46686"/>
                      <a:gd name="connsiteX1" fmla="*/ 6703 w 33826"/>
                      <a:gd name="connsiteY1" fmla="*/ 45643 h 46686"/>
                      <a:gd name="connsiteX2" fmla="*/ 1050 w 33826"/>
                      <a:gd name="connsiteY2" fmla="*/ 30451 h 46686"/>
                      <a:gd name="connsiteX3" fmla="*/ 11932 w 33826"/>
                      <a:gd name="connsiteY3" fmla="*/ 6694 h 46686"/>
                      <a:gd name="connsiteX4" fmla="*/ 27124 w 33826"/>
                      <a:gd name="connsiteY4" fmla="*/ 1042 h 46686"/>
                      <a:gd name="connsiteX5" fmla="*/ 32776 w 33826"/>
                      <a:gd name="connsiteY5" fmla="*/ 16234 h 46686"/>
                      <a:gd name="connsiteX6" fmla="*/ 21895 w 33826"/>
                      <a:gd name="connsiteY6" fmla="*/ 39991 h 46686"/>
                      <a:gd name="connsiteX7" fmla="*/ 11461 w 33826"/>
                      <a:gd name="connsiteY7" fmla="*/ 46687 h 46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6" h="46686">
                        <a:moveTo>
                          <a:pt x="11461" y="46687"/>
                        </a:moveTo>
                        <a:cubicBezTo>
                          <a:pt x="9867" y="46687"/>
                          <a:pt x="8251" y="46354"/>
                          <a:pt x="6703" y="45643"/>
                        </a:cubicBezTo>
                        <a:cubicBezTo>
                          <a:pt x="936" y="43006"/>
                          <a:pt x="-1598" y="36207"/>
                          <a:pt x="1050" y="30451"/>
                        </a:cubicBezTo>
                        <a:lnTo>
                          <a:pt x="11932" y="6694"/>
                        </a:lnTo>
                        <a:cubicBezTo>
                          <a:pt x="14557" y="950"/>
                          <a:pt x="21356" y="-1595"/>
                          <a:pt x="27124" y="1042"/>
                        </a:cubicBezTo>
                        <a:cubicBezTo>
                          <a:pt x="32891" y="3679"/>
                          <a:pt x="35424" y="10478"/>
                          <a:pt x="32776" y="16234"/>
                        </a:cubicBezTo>
                        <a:lnTo>
                          <a:pt x="21895" y="39991"/>
                        </a:lnTo>
                        <a:cubicBezTo>
                          <a:pt x="19969" y="44199"/>
                          <a:pt x="15818" y="46687"/>
                          <a:pt x="11461" y="46687"/>
                        </a:cubicBezTo>
                        <a:close/>
                      </a:path>
                    </a:pathLst>
                  </a:custGeom>
                  <a:solidFill>
                    <a:schemeClr val="accent1"/>
                  </a:solidFill>
                  <a:ln w="1145" cap="flat">
                    <a:noFill/>
                    <a:prstDash val="solid"/>
                    <a:miter/>
                  </a:ln>
                </p:spPr>
                <p:txBody>
                  <a:bodyPr rtlCol="0" anchor="ctr"/>
                  <a:lstStyle/>
                  <a:p>
                    <a:endParaRPr lang="en-GB" dirty="0"/>
                  </a:p>
                </p:txBody>
              </p:sp>
            </p:grpSp>
            <p:sp>
              <p:nvSpPr>
                <p:cNvPr id="399" name="Freeform: Shape 398">
                  <a:extLst>
                    <a:ext uri="{FF2B5EF4-FFF2-40B4-BE49-F238E27FC236}">
                      <a16:creationId xmlns:a16="http://schemas.microsoft.com/office/drawing/2014/main" id="{D20AAB14-147B-4361-8D59-4F185898BC38}"/>
                    </a:ext>
                  </a:extLst>
                </p:cNvPr>
                <p:cNvSpPr/>
                <p:nvPr/>
              </p:nvSpPr>
              <p:spPr>
                <a:xfrm>
                  <a:off x="6652577" y="4381077"/>
                  <a:ext cx="37929" cy="24010"/>
                </a:xfrm>
                <a:custGeom>
                  <a:avLst/>
                  <a:gdLst>
                    <a:gd name="connsiteX0" fmla="*/ 26480 w 37929"/>
                    <a:gd name="connsiteY0" fmla="*/ 24011 h 24010"/>
                    <a:gd name="connsiteX1" fmla="*/ 25666 w 37929"/>
                    <a:gd name="connsiteY1" fmla="*/ 23976 h 24010"/>
                    <a:gd name="connsiteX2" fmla="*/ 10658 w 37929"/>
                    <a:gd name="connsiteY2" fmla="*/ 22910 h 24010"/>
                    <a:gd name="connsiteX3" fmla="*/ 29 w 37929"/>
                    <a:gd name="connsiteY3" fmla="*/ 10676 h 24010"/>
                    <a:gd name="connsiteX4" fmla="*/ 12263 w 37929"/>
                    <a:gd name="connsiteY4" fmla="*/ 47 h 24010"/>
                    <a:gd name="connsiteX5" fmla="*/ 27271 w 37929"/>
                    <a:gd name="connsiteY5" fmla="*/ 1114 h 24010"/>
                    <a:gd name="connsiteX6" fmla="*/ 37900 w 37929"/>
                    <a:gd name="connsiteY6" fmla="*/ 13347 h 24010"/>
                    <a:gd name="connsiteX7" fmla="*/ 26480 w 37929"/>
                    <a:gd name="connsiteY7" fmla="*/ 24011 h 24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29" h="24010">
                      <a:moveTo>
                        <a:pt x="26480" y="24011"/>
                      </a:moveTo>
                      <a:cubicBezTo>
                        <a:pt x="26217" y="24011"/>
                        <a:pt x="25930" y="23999"/>
                        <a:pt x="25666" y="23976"/>
                      </a:cubicBezTo>
                      <a:lnTo>
                        <a:pt x="10658" y="22910"/>
                      </a:lnTo>
                      <a:cubicBezTo>
                        <a:pt x="4329" y="22463"/>
                        <a:pt x="-418" y="16982"/>
                        <a:pt x="29" y="10676"/>
                      </a:cubicBezTo>
                      <a:cubicBezTo>
                        <a:pt x="465" y="4359"/>
                        <a:pt x="6060" y="-537"/>
                        <a:pt x="12263" y="47"/>
                      </a:cubicBezTo>
                      <a:lnTo>
                        <a:pt x="27271" y="1114"/>
                      </a:lnTo>
                      <a:cubicBezTo>
                        <a:pt x="33600" y="1561"/>
                        <a:pt x="38347" y="7041"/>
                        <a:pt x="37900" y="13347"/>
                      </a:cubicBezTo>
                      <a:cubicBezTo>
                        <a:pt x="37476" y="19401"/>
                        <a:pt x="32454" y="24011"/>
                        <a:pt x="26480" y="24011"/>
                      </a:cubicBezTo>
                      <a:close/>
                    </a:path>
                  </a:pathLst>
                </a:custGeom>
                <a:solidFill>
                  <a:schemeClr val="accent1"/>
                </a:solidFill>
                <a:ln w="1145" cap="flat">
                  <a:noFill/>
                  <a:prstDash val="solid"/>
                  <a:miter/>
                </a:ln>
              </p:spPr>
              <p:txBody>
                <a:bodyPr rtlCol="0" anchor="ctr"/>
                <a:lstStyle/>
                <a:p>
                  <a:endParaRPr lang="en-GB" dirty="0"/>
                </a:p>
              </p:txBody>
            </p:sp>
            <p:sp>
              <p:nvSpPr>
                <p:cNvPr id="400" name="Freeform: Shape 399">
                  <a:extLst>
                    <a:ext uri="{FF2B5EF4-FFF2-40B4-BE49-F238E27FC236}">
                      <a16:creationId xmlns:a16="http://schemas.microsoft.com/office/drawing/2014/main" id="{52164ADD-A28D-4AA4-934C-2BB8F7C678B3}"/>
                    </a:ext>
                  </a:extLst>
                </p:cNvPr>
                <p:cNvSpPr/>
                <p:nvPr/>
              </p:nvSpPr>
              <p:spPr>
                <a:xfrm>
                  <a:off x="6717523" y="4483676"/>
                  <a:ext cx="34205" cy="31275"/>
                </a:xfrm>
                <a:custGeom>
                  <a:avLst/>
                  <a:gdLst>
                    <a:gd name="connsiteX0" fmla="*/ 11479 w 34205"/>
                    <a:gd name="connsiteY0" fmla="*/ 31275 h 31275"/>
                    <a:gd name="connsiteX1" fmla="*/ 2249 w 34205"/>
                    <a:gd name="connsiteY1" fmla="*/ 26632 h 31275"/>
                    <a:gd name="connsiteX2" fmla="*/ 4645 w 34205"/>
                    <a:gd name="connsiteY2" fmla="*/ 10603 h 31275"/>
                    <a:gd name="connsiteX3" fmla="*/ 15927 w 34205"/>
                    <a:gd name="connsiteY3" fmla="*/ 2256 h 31275"/>
                    <a:gd name="connsiteX4" fmla="*/ 31956 w 34205"/>
                    <a:gd name="connsiteY4" fmla="*/ 4652 h 31275"/>
                    <a:gd name="connsiteX5" fmla="*/ 29560 w 34205"/>
                    <a:gd name="connsiteY5" fmla="*/ 20681 h 31275"/>
                    <a:gd name="connsiteX6" fmla="*/ 18278 w 34205"/>
                    <a:gd name="connsiteY6" fmla="*/ 29028 h 31275"/>
                    <a:gd name="connsiteX7" fmla="*/ 11479 w 34205"/>
                    <a:gd name="connsiteY7" fmla="*/ 31275 h 3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05" h="31275">
                      <a:moveTo>
                        <a:pt x="11479" y="31275"/>
                      </a:moveTo>
                      <a:cubicBezTo>
                        <a:pt x="7959" y="31275"/>
                        <a:pt x="4496" y="29658"/>
                        <a:pt x="2249" y="26632"/>
                      </a:cubicBezTo>
                      <a:cubicBezTo>
                        <a:pt x="-1523" y="21541"/>
                        <a:pt x="-434" y="14363"/>
                        <a:pt x="4645" y="10603"/>
                      </a:cubicBezTo>
                      <a:lnTo>
                        <a:pt x="15927" y="2256"/>
                      </a:lnTo>
                      <a:cubicBezTo>
                        <a:pt x="21018" y="-1540"/>
                        <a:pt x="28219" y="-416"/>
                        <a:pt x="31956" y="4652"/>
                      </a:cubicBezTo>
                      <a:cubicBezTo>
                        <a:pt x="35729" y="9743"/>
                        <a:pt x="34640" y="16920"/>
                        <a:pt x="29560" y="20681"/>
                      </a:cubicBezTo>
                      <a:lnTo>
                        <a:pt x="18278" y="29028"/>
                      </a:lnTo>
                      <a:cubicBezTo>
                        <a:pt x="16237" y="30553"/>
                        <a:pt x="13841" y="31275"/>
                        <a:pt x="11479" y="31275"/>
                      </a:cubicBezTo>
                      <a:close/>
                    </a:path>
                  </a:pathLst>
                </a:custGeom>
                <a:solidFill>
                  <a:schemeClr val="accent1"/>
                </a:solidFill>
                <a:ln w="1145" cap="flat">
                  <a:noFill/>
                  <a:prstDash val="solid"/>
                  <a:miter/>
                </a:ln>
              </p:spPr>
              <p:txBody>
                <a:bodyPr rtlCol="0" anchor="ctr"/>
                <a:lstStyle/>
                <a:p>
                  <a:endParaRPr lang="en-GB" dirty="0"/>
                </a:p>
              </p:txBody>
            </p:sp>
            <p:sp>
              <p:nvSpPr>
                <p:cNvPr id="401" name="Freeform: Shape 400">
                  <a:extLst>
                    <a:ext uri="{FF2B5EF4-FFF2-40B4-BE49-F238E27FC236}">
                      <a16:creationId xmlns:a16="http://schemas.microsoft.com/office/drawing/2014/main" id="{8A6C85FF-C8C7-4399-BA08-EC87B5190294}"/>
                    </a:ext>
                  </a:extLst>
                </p:cNvPr>
                <p:cNvSpPr/>
                <p:nvPr/>
              </p:nvSpPr>
              <p:spPr>
                <a:xfrm>
                  <a:off x="6776527" y="4396694"/>
                  <a:ext cx="22931" cy="38364"/>
                </a:xfrm>
                <a:custGeom>
                  <a:avLst/>
                  <a:gdLst>
                    <a:gd name="connsiteX0" fmla="*/ 11466 w 22931"/>
                    <a:gd name="connsiteY0" fmla="*/ 38364 h 38364"/>
                    <a:gd name="connsiteX1" fmla="*/ 0 w 22931"/>
                    <a:gd name="connsiteY1" fmla="*/ 26899 h 38364"/>
                    <a:gd name="connsiteX2" fmla="*/ 0 w 22931"/>
                    <a:gd name="connsiteY2" fmla="*/ 11466 h 38364"/>
                    <a:gd name="connsiteX3" fmla="*/ 11466 w 22931"/>
                    <a:gd name="connsiteY3" fmla="*/ 0 h 38364"/>
                    <a:gd name="connsiteX4" fmla="*/ 22931 w 22931"/>
                    <a:gd name="connsiteY4" fmla="*/ 11466 h 38364"/>
                    <a:gd name="connsiteX5" fmla="*/ 22931 w 22931"/>
                    <a:gd name="connsiteY5" fmla="*/ 26899 h 38364"/>
                    <a:gd name="connsiteX6" fmla="*/ 11466 w 22931"/>
                    <a:gd name="connsiteY6" fmla="*/ 38364 h 38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38364">
                      <a:moveTo>
                        <a:pt x="11466" y="38364"/>
                      </a:moveTo>
                      <a:cubicBezTo>
                        <a:pt x="5125" y="38364"/>
                        <a:pt x="0" y="33239"/>
                        <a:pt x="0" y="26899"/>
                      </a:cubicBezTo>
                      <a:lnTo>
                        <a:pt x="0" y="11466"/>
                      </a:lnTo>
                      <a:cubicBezTo>
                        <a:pt x="0" y="5125"/>
                        <a:pt x="5125" y="0"/>
                        <a:pt x="11466" y="0"/>
                      </a:cubicBezTo>
                      <a:cubicBezTo>
                        <a:pt x="17806" y="0"/>
                        <a:pt x="22931" y="5125"/>
                        <a:pt x="22931" y="11466"/>
                      </a:cubicBezTo>
                      <a:lnTo>
                        <a:pt x="22931" y="26899"/>
                      </a:lnTo>
                      <a:cubicBezTo>
                        <a:pt x="22931" y="33227"/>
                        <a:pt x="17806" y="38364"/>
                        <a:pt x="11466" y="38364"/>
                      </a:cubicBezTo>
                      <a:close/>
                    </a:path>
                  </a:pathLst>
                </a:custGeom>
                <a:solidFill>
                  <a:schemeClr val="accent1"/>
                </a:solidFill>
                <a:ln w="1145" cap="flat">
                  <a:noFill/>
                  <a:prstDash val="solid"/>
                  <a:miter/>
                </a:ln>
              </p:spPr>
              <p:txBody>
                <a:bodyPr rtlCol="0" anchor="ctr"/>
                <a:lstStyle/>
                <a:p>
                  <a:endParaRPr lang="en-GB" dirty="0"/>
                </a:p>
              </p:txBody>
            </p:sp>
          </p:grpSp>
        </p:grpSp>
      </p:grpSp>
      <p:grpSp>
        <p:nvGrpSpPr>
          <p:cNvPr id="13" name="Group 12">
            <a:extLst>
              <a:ext uri="{FF2B5EF4-FFF2-40B4-BE49-F238E27FC236}">
                <a16:creationId xmlns:a16="http://schemas.microsoft.com/office/drawing/2014/main" id="{759E1834-B0D9-B98C-287E-6DA57D4B5540}"/>
              </a:ext>
            </a:extLst>
          </p:cNvPr>
          <p:cNvGrpSpPr/>
          <p:nvPr/>
        </p:nvGrpSpPr>
        <p:grpSpPr>
          <a:xfrm>
            <a:off x="2624387" y="2462886"/>
            <a:ext cx="521063" cy="393296"/>
            <a:chOff x="2624387" y="2462886"/>
            <a:chExt cx="521063" cy="393296"/>
          </a:xfrm>
        </p:grpSpPr>
        <p:grpSp>
          <p:nvGrpSpPr>
            <p:cNvPr id="447" name="Graphic 48">
              <a:extLst>
                <a:ext uri="{FF2B5EF4-FFF2-40B4-BE49-F238E27FC236}">
                  <a16:creationId xmlns:a16="http://schemas.microsoft.com/office/drawing/2014/main" id="{DCD8EF9D-FAFC-4FA6-9213-1DD177D5E8F4}"/>
                </a:ext>
              </a:extLst>
            </p:cNvPr>
            <p:cNvGrpSpPr/>
            <p:nvPr/>
          </p:nvGrpSpPr>
          <p:grpSpPr>
            <a:xfrm>
              <a:off x="2624387" y="2641587"/>
              <a:ext cx="521063" cy="214595"/>
              <a:chOff x="4817460" y="4737096"/>
              <a:chExt cx="924043" cy="380559"/>
            </a:xfrm>
            <a:solidFill>
              <a:schemeClr val="accent1"/>
            </a:solidFill>
          </p:grpSpPr>
          <p:sp>
            <p:nvSpPr>
              <p:cNvPr id="488" name="Freeform: Shape 487">
                <a:extLst>
                  <a:ext uri="{FF2B5EF4-FFF2-40B4-BE49-F238E27FC236}">
                    <a16:creationId xmlns:a16="http://schemas.microsoft.com/office/drawing/2014/main" id="{95FD0622-4377-4BB8-B37E-7C604E248AD6}"/>
                  </a:ext>
                </a:extLst>
              </p:cNvPr>
              <p:cNvSpPr/>
              <p:nvPr/>
            </p:nvSpPr>
            <p:spPr>
              <a:xfrm>
                <a:off x="4988191" y="4853314"/>
                <a:ext cx="584886" cy="133346"/>
              </a:xfrm>
              <a:custGeom>
                <a:avLst/>
                <a:gdLst>
                  <a:gd name="connsiteX0" fmla="*/ 292432 w 584886"/>
                  <a:gd name="connsiteY0" fmla="*/ 133346 h 133346"/>
                  <a:gd name="connsiteX1" fmla="*/ 0 w 584886"/>
                  <a:gd name="connsiteY1" fmla="*/ 51642 h 133346"/>
                  <a:gd name="connsiteX2" fmla="*/ 50323 w 584886"/>
                  <a:gd name="connsiteY2" fmla="*/ 3589 h 133346"/>
                  <a:gd name="connsiteX3" fmla="*/ 55815 w 584886"/>
                  <a:gd name="connsiteY3" fmla="*/ 1617 h 133346"/>
                  <a:gd name="connsiteX4" fmla="*/ 59358 w 584886"/>
                  <a:gd name="connsiteY4" fmla="*/ 551 h 133346"/>
                  <a:gd name="connsiteX5" fmla="*/ 73747 w 584886"/>
                  <a:gd name="connsiteY5" fmla="*/ 8015 h 133346"/>
                  <a:gd name="connsiteX6" fmla="*/ 66283 w 584886"/>
                  <a:gd name="connsiteY6" fmla="*/ 22405 h 133346"/>
                  <a:gd name="connsiteX7" fmla="*/ 61938 w 584886"/>
                  <a:gd name="connsiteY7" fmla="*/ 23700 h 133346"/>
                  <a:gd name="connsiteX8" fmla="*/ 58785 w 584886"/>
                  <a:gd name="connsiteY8" fmla="*/ 24893 h 133346"/>
                  <a:gd name="connsiteX9" fmla="*/ 22943 w 584886"/>
                  <a:gd name="connsiteY9" fmla="*/ 51631 h 133346"/>
                  <a:gd name="connsiteX10" fmla="*/ 292444 w 584886"/>
                  <a:gd name="connsiteY10" fmla="*/ 110404 h 133346"/>
                  <a:gd name="connsiteX11" fmla="*/ 561944 w 584886"/>
                  <a:gd name="connsiteY11" fmla="*/ 51631 h 133346"/>
                  <a:gd name="connsiteX12" fmla="*/ 525690 w 584886"/>
                  <a:gd name="connsiteY12" fmla="*/ 24732 h 133346"/>
                  <a:gd name="connsiteX13" fmla="*/ 525632 w 584886"/>
                  <a:gd name="connsiteY13" fmla="*/ 24709 h 133346"/>
                  <a:gd name="connsiteX14" fmla="*/ 520347 w 584886"/>
                  <a:gd name="connsiteY14" fmla="*/ 23460 h 133346"/>
                  <a:gd name="connsiteX15" fmla="*/ 512928 w 584886"/>
                  <a:gd name="connsiteY15" fmla="*/ 9047 h 133346"/>
                  <a:gd name="connsiteX16" fmla="*/ 527341 w 584886"/>
                  <a:gd name="connsiteY16" fmla="*/ 1629 h 133346"/>
                  <a:gd name="connsiteX17" fmla="*/ 527731 w 584886"/>
                  <a:gd name="connsiteY17" fmla="*/ 1744 h 133346"/>
                  <a:gd name="connsiteX18" fmla="*/ 534106 w 584886"/>
                  <a:gd name="connsiteY18" fmla="*/ 3418 h 133346"/>
                  <a:gd name="connsiteX19" fmla="*/ 584887 w 584886"/>
                  <a:gd name="connsiteY19" fmla="*/ 51642 h 133346"/>
                  <a:gd name="connsiteX20" fmla="*/ 292432 w 584886"/>
                  <a:gd name="connsiteY20" fmla="*/ 133346 h 133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84886" h="133346">
                    <a:moveTo>
                      <a:pt x="292432" y="133346"/>
                    </a:moveTo>
                    <a:cubicBezTo>
                      <a:pt x="147116" y="133346"/>
                      <a:pt x="0" y="105290"/>
                      <a:pt x="0" y="51642"/>
                    </a:cubicBezTo>
                    <a:cubicBezTo>
                      <a:pt x="0" y="33011"/>
                      <a:pt x="16935" y="16844"/>
                      <a:pt x="50323" y="3589"/>
                    </a:cubicBezTo>
                    <a:cubicBezTo>
                      <a:pt x="54450" y="1950"/>
                      <a:pt x="54542" y="1961"/>
                      <a:pt x="55815" y="1617"/>
                    </a:cubicBezTo>
                    <a:cubicBezTo>
                      <a:pt x="56377" y="1457"/>
                      <a:pt x="57259" y="1216"/>
                      <a:pt x="59358" y="551"/>
                    </a:cubicBezTo>
                    <a:cubicBezTo>
                      <a:pt x="65423" y="-1398"/>
                      <a:pt x="71844" y="1996"/>
                      <a:pt x="73747" y="8015"/>
                    </a:cubicBezTo>
                    <a:cubicBezTo>
                      <a:pt x="75662" y="14057"/>
                      <a:pt x="72314" y="20501"/>
                      <a:pt x="66283" y="22405"/>
                    </a:cubicBezTo>
                    <a:cubicBezTo>
                      <a:pt x="63715" y="23219"/>
                      <a:pt x="62637" y="23517"/>
                      <a:pt x="61938" y="23700"/>
                    </a:cubicBezTo>
                    <a:cubicBezTo>
                      <a:pt x="61158" y="23941"/>
                      <a:pt x="60550" y="24205"/>
                      <a:pt x="58785" y="24893"/>
                    </a:cubicBezTo>
                    <a:cubicBezTo>
                      <a:pt x="32356" y="35372"/>
                      <a:pt x="22943" y="45588"/>
                      <a:pt x="22943" y="51631"/>
                    </a:cubicBezTo>
                    <a:cubicBezTo>
                      <a:pt x="22943" y="75594"/>
                      <a:pt x="127923" y="110404"/>
                      <a:pt x="292444" y="110404"/>
                    </a:cubicBezTo>
                    <a:cubicBezTo>
                      <a:pt x="456964" y="110404"/>
                      <a:pt x="561944" y="75594"/>
                      <a:pt x="561944" y="51631"/>
                    </a:cubicBezTo>
                    <a:cubicBezTo>
                      <a:pt x="561944" y="45542"/>
                      <a:pt x="552416" y="35269"/>
                      <a:pt x="525690" y="24732"/>
                    </a:cubicBezTo>
                    <a:lnTo>
                      <a:pt x="525632" y="24709"/>
                    </a:lnTo>
                    <a:cubicBezTo>
                      <a:pt x="523695" y="24526"/>
                      <a:pt x="521929" y="23964"/>
                      <a:pt x="520347" y="23460"/>
                    </a:cubicBezTo>
                    <a:cubicBezTo>
                      <a:pt x="514327" y="21533"/>
                      <a:pt x="510991" y="15089"/>
                      <a:pt x="512928" y="9047"/>
                    </a:cubicBezTo>
                    <a:cubicBezTo>
                      <a:pt x="514855" y="3027"/>
                      <a:pt x="521275" y="-355"/>
                      <a:pt x="527341" y="1629"/>
                    </a:cubicBezTo>
                    <a:lnTo>
                      <a:pt x="527731" y="1744"/>
                    </a:lnTo>
                    <a:cubicBezTo>
                      <a:pt x="530150" y="1847"/>
                      <a:pt x="532271" y="2684"/>
                      <a:pt x="534106" y="3418"/>
                    </a:cubicBezTo>
                    <a:cubicBezTo>
                      <a:pt x="567792" y="16695"/>
                      <a:pt x="584887" y="32919"/>
                      <a:pt x="584887" y="51642"/>
                    </a:cubicBezTo>
                    <a:cubicBezTo>
                      <a:pt x="584864" y="105290"/>
                      <a:pt x="437748" y="133346"/>
                      <a:pt x="292432" y="133346"/>
                    </a:cubicBezTo>
                    <a:close/>
                  </a:path>
                </a:pathLst>
              </a:custGeom>
              <a:grpFill/>
              <a:ln w="1145" cap="flat">
                <a:noFill/>
                <a:prstDash val="solid"/>
                <a:miter/>
              </a:ln>
            </p:spPr>
            <p:txBody>
              <a:bodyPr rtlCol="0" anchor="ctr"/>
              <a:lstStyle/>
              <a:p>
                <a:endParaRPr lang="en-GB" dirty="0"/>
              </a:p>
            </p:txBody>
          </p:sp>
          <p:grpSp>
            <p:nvGrpSpPr>
              <p:cNvPr id="489" name="Graphic 48">
                <a:extLst>
                  <a:ext uri="{FF2B5EF4-FFF2-40B4-BE49-F238E27FC236}">
                    <a16:creationId xmlns:a16="http://schemas.microsoft.com/office/drawing/2014/main" id="{3B4C1A17-C8EC-45D3-83B3-4076C675223C}"/>
                  </a:ext>
                </a:extLst>
              </p:cNvPr>
              <p:cNvGrpSpPr/>
              <p:nvPr/>
            </p:nvGrpSpPr>
            <p:grpSpPr>
              <a:xfrm>
                <a:off x="4876208" y="4956528"/>
                <a:ext cx="264614" cy="161127"/>
                <a:chOff x="4876208" y="4956528"/>
                <a:chExt cx="264614" cy="161127"/>
              </a:xfrm>
              <a:grpFill/>
            </p:grpSpPr>
            <p:sp>
              <p:nvSpPr>
                <p:cNvPr id="497" name="Freeform: Shape 496">
                  <a:extLst>
                    <a:ext uri="{FF2B5EF4-FFF2-40B4-BE49-F238E27FC236}">
                      <a16:creationId xmlns:a16="http://schemas.microsoft.com/office/drawing/2014/main" id="{4ED7DC76-A92F-48AE-9D24-B3A011CB5A3A}"/>
                    </a:ext>
                  </a:extLst>
                </p:cNvPr>
                <p:cNvSpPr/>
                <p:nvPr/>
              </p:nvSpPr>
              <p:spPr>
                <a:xfrm>
                  <a:off x="4976623" y="4956528"/>
                  <a:ext cx="164198" cy="108912"/>
                </a:xfrm>
                <a:custGeom>
                  <a:avLst/>
                  <a:gdLst>
                    <a:gd name="connsiteX0" fmla="*/ 11477 w 164198"/>
                    <a:gd name="connsiteY0" fmla="*/ 108913 h 108912"/>
                    <a:gd name="connsiteX1" fmla="*/ 1674 w 164198"/>
                    <a:gd name="connsiteY1" fmla="*/ 103410 h 108912"/>
                    <a:gd name="connsiteX2" fmla="*/ 5514 w 164198"/>
                    <a:gd name="connsiteY2" fmla="*/ 87656 h 108912"/>
                    <a:gd name="connsiteX3" fmla="*/ 146771 w 164198"/>
                    <a:gd name="connsiteY3" fmla="*/ 1663 h 108912"/>
                    <a:gd name="connsiteX4" fmla="*/ 162525 w 164198"/>
                    <a:gd name="connsiteY4" fmla="*/ 5504 h 108912"/>
                    <a:gd name="connsiteX5" fmla="*/ 158684 w 164198"/>
                    <a:gd name="connsiteY5" fmla="*/ 21258 h 108912"/>
                    <a:gd name="connsiteX6" fmla="*/ 17427 w 164198"/>
                    <a:gd name="connsiteY6" fmla="*/ 107251 h 108912"/>
                    <a:gd name="connsiteX7" fmla="*/ 11477 w 164198"/>
                    <a:gd name="connsiteY7" fmla="*/ 108913 h 10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198" h="108912">
                      <a:moveTo>
                        <a:pt x="11477" y="108913"/>
                      </a:moveTo>
                      <a:cubicBezTo>
                        <a:pt x="7601" y="108913"/>
                        <a:pt x="3829" y="106952"/>
                        <a:pt x="1674" y="103410"/>
                      </a:cubicBezTo>
                      <a:cubicBezTo>
                        <a:pt x="-1617" y="97998"/>
                        <a:pt x="91" y="90946"/>
                        <a:pt x="5514" y="87656"/>
                      </a:cubicBezTo>
                      <a:lnTo>
                        <a:pt x="146771" y="1663"/>
                      </a:lnTo>
                      <a:cubicBezTo>
                        <a:pt x="152195" y="-1616"/>
                        <a:pt x="159246" y="104"/>
                        <a:pt x="162525" y="5504"/>
                      </a:cubicBezTo>
                      <a:cubicBezTo>
                        <a:pt x="165816" y="10916"/>
                        <a:pt x="164108" y="17967"/>
                        <a:pt x="158684" y="21258"/>
                      </a:cubicBezTo>
                      <a:lnTo>
                        <a:pt x="17427" y="107251"/>
                      </a:lnTo>
                      <a:cubicBezTo>
                        <a:pt x="15558" y="108374"/>
                        <a:pt x="13506" y="108913"/>
                        <a:pt x="11477" y="108913"/>
                      </a:cubicBezTo>
                      <a:close/>
                    </a:path>
                  </a:pathLst>
                </a:custGeom>
                <a:grpFill/>
                <a:ln w="1145" cap="flat">
                  <a:noFill/>
                  <a:prstDash val="solid"/>
                  <a:miter/>
                </a:ln>
              </p:spPr>
              <p:txBody>
                <a:bodyPr rtlCol="0" anchor="ctr"/>
                <a:lstStyle/>
                <a:p>
                  <a:endParaRPr lang="en-GB" dirty="0"/>
                </a:p>
              </p:txBody>
            </p:sp>
            <p:sp>
              <p:nvSpPr>
                <p:cNvPr id="498" name="Freeform: Shape 497">
                  <a:extLst>
                    <a:ext uri="{FF2B5EF4-FFF2-40B4-BE49-F238E27FC236}">
                      <a16:creationId xmlns:a16="http://schemas.microsoft.com/office/drawing/2014/main" id="{B562B005-0089-470D-98A3-DE43E55EB7EA}"/>
                    </a:ext>
                  </a:extLst>
                </p:cNvPr>
                <p:cNvSpPr/>
                <p:nvPr/>
              </p:nvSpPr>
              <p:spPr>
                <a:xfrm>
                  <a:off x="4876208" y="5041389"/>
                  <a:ext cx="163279" cy="76266"/>
                </a:xfrm>
                <a:custGeom>
                  <a:avLst/>
                  <a:gdLst>
                    <a:gd name="connsiteX0" fmla="*/ 74880 w 163279"/>
                    <a:gd name="connsiteY0" fmla="*/ 76267 h 76266"/>
                    <a:gd name="connsiteX1" fmla="*/ 29224 w 163279"/>
                    <a:gd name="connsiteY1" fmla="*/ 69846 h 76266"/>
                    <a:gd name="connsiteX2" fmla="*/ 21 w 163279"/>
                    <a:gd name="connsiteY2" fmla="*/ 41572 h 76266"/>
                    <a:gd name="connsiteX3" fmla="*/ 80040 w 163279"/>
                    <a:gd name="connsiteY3" fmla="*/ 192 h 76266"/>
                    <a:gd name="connsiteX4" fmla="*/ 134055 w 163279"/>
                    <a:gd name="connsiteY4" fmla="*/ 6429 h 76266"/>
                    <a:gd name="connsiteX5" fmla="*/ 163258 w 163279"/>
                    <a:gd name="connsiteY5" fmla="*/ 34704 h 76266"/>
                    <a:gd name="connsiteX6" fmla="*/ 163258 w 163279"/>
                    <a:gd name="connsiteY6" fmla="*/ 34704 h 76266"/>
                    <a:gd name="connsiteX7" fmla="*/ 83239 w 163279"/>
                    <a:gd name="connsiteY7" fmla="*/ 76083 h 76266"/>
                    <a:gd name="connsiteX8" fmla="*/ 74880 w 163279"/>
                    <a:gd name="connsiteY8" fmla="*/ 76267 h 76266"/>
                    <a:gd name="connsiteX9" fmla="*/ 88559 w 163279"/>
                    <a:gd name="connsiteY9" fmla="*/ 22940 h 76266"/>
                    <a:gd name="connsiteX10" fmla="*/ 81003 w 163279"/>
                    <a:gd name="connsiteY10" fmla="*/ 23100 h 76266"/>
                    <a:gd name="connsiteX11" fmla="*/ 22907 w 163279"/>
                    <a:gd name="connsiteY11" fmla="*/ 40895 h 76266"/>
                    <a:gd name="connsiteX12" fmla="*/ 82276 w 163279"/>
                    <a:gd name="connsiteY12" fmla="*/ 53175 h 76266"/>
                    <a:gd name="connsiteX13" fmla="*/ 140281 w 163279"/>
                    <a:gd name="connsiteY13" fmla="*/ 35678 h 76266"/>
                    <a:gd name="connsiteX14" fmla="*/ 88559 w 163279"/>
                    <a:gd name="connsiteY14" fmla="*/ 22940 h 76266"/>
                    <a:gd name="connsiteX15" fmla="*/ 140384 w 163279"/>
                    <a:gd name="connsiteY15" fmla="*/ 35942 h 76266"/>
                    <a:gd name="connsiteX16" fmla="*/ 140499 w 163279"/>
                    <a:gd name="connsiteY16" fmla="*/ 35942 h 76266"/>
                    <a:gd name="connsiteX17" fmla="*/ 140384 w 163279"/>
                    <a:gd name="connsiteY17" fmla="*/ 35942 h 7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3279" h="76266">
                      <a:moveTo>
                        <a:pt x="74880" y="76267"/>
                      </a:moveTo>
                      <a:cubicBezTo>
                        <a:pt x="57877" y="76267"/>
                        <a:pt x="41905" y="74042"/>
                        <a:pt x="29224" y="69846"/>
                      </a:cubicBezTo>
                      <a:cubicBezTo>
                        <a:pt x="4516" y="61683"/>
                        <a:pt x="319" y="48623"/>
                        <a:pt x="21" y="41572"/>
                      </a:cubicBezTo>
                      <a:cubicBezTo>
                        <a:pt x="-1080" y="15510"/>
                        <a:pt x="40736" y="1843"/>
                        <a:pt x="80040" y="192"/>
                      </a:cubicBezTo>
                      <a:cubicBezTo>
                        <a:pt x="100048" y="-702"/>
                        <a:pt x="119299" y="1556"/>
                        <a:pt x="134055" y="6429"/>
                      </a:cubicBezTo>
                      <a:cubicBezTo>
                        <a:pt x="158763" y="14593"/>
                        <a:pt x="162960" y="27652"/>
                        <a:pt x="163258" y="34704"/>
                      </a:cubicBezTo>
                      <a:lnTo>
                        <a:pt x="163258" y="34704"/>
                      </a:lnTo>
                      <a:cubicBezTo>
                        <a:pt x="164359" y="60765"/>
                        <a:pt x="122543" y="74432"/>
                        <a:pt x="83239" y="76083"/>
                      </a:cubicBezTo>
                      <a:cubicBezTo>
                        <a:pt x="80430" y="76209"/>
                        <a:pt x="77632" y="76267"/>
                        <a:pt x="74880" y="76267"/>
                      </a:cubicBezTo>
                      <a:close/>
                      <a:moveTo>
                        <a:pt x="88559" y="22940"/>
                      </a:moveTo>
                      <a:cubicBezTo>
                        <a:pt x="86117" y="22940"/>
                        <a:pt x="83594" y="22986"/>
                        <a:pt x="81003" y="23100"/>
                      </a:cubicBezTo>
                      <a:cubicBezTo>
                        <a:pt x="43877" y="24671"/>
                        <a:pt x="24134" y="36618"/>
                        <a:pt x="22907" y="40895"/>
                      </a:cubicBezTo>
                      <a:cubicBezTo>
                        <a:pt x="24477" y="44495"/>
                        <a:pt x="45104" y="54791"/>
                        <a:pt x="82276" y="53175"/>
                      </a:cubicBezTo>
                      <a:cubicBezTo>
                        <a:pt x="118622" y="51638"/>
                        <a:pt x="138297" y="40161"/>
                        <a:pt x="140281" y="35678"/>
                      </a:cubicBezTo>
                      <a:cubicBezTo>
                        <a:pt x="138068" y="31653"/>
                        <a:pt x="120181" y="22940"/>
                        <a:pt x="88559" y="22940"/>
                      </a:cubicBezTo>
                      <a:close/>
                      <a:moveTo>
                        <a:pt x="140384" y="35942"/>
                      </a:moveTo>
                      <a:lnTo>
                        <a:pt x="140499" y="35942"/>
                      </a:lnTo>
                      <a:lnTo>
                        <a:pt x="140384" y="35942"/>
                      </a:lnTo>
                      <a:close/>
                    </a:path>
                  </a:pathLst>
                </a:custGeom>
                <a:grpFill/>
                <a:ln w="1145" cap="flat">
                  <a:noFill/>
                  <a:prstDash val="solid"/>
                  <a:miter/>
                </a:ln>
              </p:spPr>
              <p:txBody>
                <a:bodyPr rtlCol="0" anchor="ctr"/>
                <a:lstStyle/>
                <a:p>
                  <a:endParaRPr lang="en-GB" dirty="0"/>
                </a:p>
              </p:txBody>
            </p:sp>
          </p:grpSp>
          <p:grpSp>
            <p:nvGrpSpPr>
              <p:cNvPr id="490" name="Graphic 48">
                <a:extLst>
                  <a:ext uri="{FF2B5EF4-FFF2-40B4-BE49-F238E27FC236}">
                    <a16:creationId xmlns:a16="http://schemas.microsoft.com/office/drawing/2014/main" id="{AA04155D-3E62-43E7-B9D0-D46B538FD6E3}"/>
                  </a:ext>
                </a:extLst>
              </p:cNvPr>
              <p:cNvGrpSpPr/>
              <p:nvPr/>
            </p:nvGrpSpPr>
            <p:grpSpPr>
              <a:xfrm>
                <a:off x="5417237" y="4956512"/>
                <a:ext cx="264625" cy="161144"/>
                <a:chOff x="5417237" y="4956512"/>
                <a:chExt cx="264625" cy="161144"/>
              </a:xfrm>
              <a:grpFill/>
            </p:grpSpPr>
            <p:sp>
              <p:nvSpPr>
                <p:cNvPr id="495" name="Freeform: Shape 494">
                  <a:extLst>
                    <a:ext uri="{FF2B5EF4-FFF2-40B4-BE49-F238E27FC236}">
                      <a16:creationId xmlns:a16="http://schemas.microsoft.com/office/drawing/2014/main" id="{419D367A-2F36-49D9-BB90-6AF66C1248C8}"/>
                    </a:ext>
                  </a:extLst>
                </p:cNvPr>
                <p:cNvSpPr/>
                <p:nvPr/>
              </p:nvSpPr>
              <p:spPr>
                <a:xfrm>
                  <a:off x="5417237" y="4956512"/>
                  <a:ext cx="164199" cy="108929"/>
                </a:xfrm>
                <a:custGeom>
                  <a:avLst/>
                  <a:gdLst>
                    <a:gd name="connsiteX0" fmla="*/ 152722 w 164199"/>
                    <a:gd name="connsiteY0" fmla="*/ 108929 h 108929"/>
                    <a:gd name="connsiteX1" fmla="*/ 146772 w 164199"/>
                    <a:gd name="connsiteY1" fmla="*/ 107256 h 108929"/>
                    <a:gd name="connsiteX2" fmla="*/ 5515 w 164199"/>
                    <a:gd name="connsiteY2" fmla="*/ 21263 h 108929"/>
                    <a:gd name="connsiteX3" fmla="*/ 1673 w 164199"/>
                    <a:gd name="connsiteY3" fmla="*/ 5509 h 108929"/>
                    <a:gd name="connsiteX4" fmla="*/ 17427 w 164199"/>
                    <a:gd name="connsiteY4" fmla="*/ 1668 h 108929"/>
                    <a:gd name="connsiteX5" fmla="*/ 158685 w 164199"/>
                    <a:gd name="connsiteY5" fmla="*/ 87661 h 108929"/>
                    <a:gd name="connsiteX6" fmla="*/ 162525 w 164199"/>
                    <a:gd name="connsiteY6" fmla="*/ 103414 h 108929"/>
                    <a:gd name="connsiteX7" fmla="*/ 152722 w 164199"/>
                    <a:gd name="connsiteY7" fmla="*/ 108929 h 108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199" h="108929">
                      <a:moveTo>
                        <a:pt x="152722" y="108929"/>
                      </a:moveTo>
                      <a:cubicBezTo>
                        <a:pt x="150693" y="108929"/>
                        <a:pt x="148641" y="108391"/>
                        <a:pt x="146772" y="107256"/>
                      </a:cubicBezTo>
                      <a:lnTo>
                        <a:pt x="5515" y="21263"/>
                      </a:lnTo>
                      <a:cubicBezTo>
                        <a:pt x="91" y="17972"/>
                        <a:pt x="-1617" y="10921"/>
                        <a:pt x="1673" y="5509"/>
                      </a:cubicBezTo>
                      <a:cubicBezTo>
                        <a:pt x="4964" y="109"/>
                        <a:pt x="12004" y="-1622"/>
                        <a:pt x="17427" y="1668"/>
                      </a:cubicBezTo>
                      <a:lnTo>
                        <a:pt x="158685" y="87661"/>
                      </a:lnTo>
                      <a:cubicBezTo>
                        <a:pt x="164108" y="90952"/>
                        <a:pt x="165816" y="98003"/>
                        <a:pt x="162525" y="103414"/>
                      </a:cubicBezTo>
                      <a:cubicBezTo>
                        <a:pt x="160370" y="106969"/>
                        <a:pt x="156598" y="108929"/>
                        <a:pt x="152722" y="108929"/>
                      </a:cubicBezTo>
                      <a:close/>
                    </a:path>
                  </a:pathLst>
                </a:custGeom>
                <a:grpFill/>
                <a:ln w="1145" cap="flat">
                  <a:noFill/>
                  <a:prstDash val="solid"/>
                  <a:miter/>
                </a:ln>
              </p:spPr>
              <p:txBody>
                <a:bodyPr rtlCol="0" anchor="ctr"/>
                <a:lstStyle/>
                <a:p>
                  <a:endParaRPr lang="en-GB" dirty="0"/>
                </a:p>
              </p:txBody>
            </p:sp>
            <p:sp>
              <p:nvSpPr>
                <p:cNvPr id="496" name="Freeform: Shape 495">
                  <a:extLst>
                    <a:ext uri="{FF2B5EF4-FFF2-40B4-BE49-F238E27FC236}">
                      <a16:creationId xmlns:a16="http://schemas.microsoft.com/office/drawing/2014/main" id="{ED85EF0E-EA64-4460-86B2-54C0A9A64D9A}"/>
                    </a:ext>
                  </a:extLst>
                </p:cNvPr>
                <p:cNvSpPr/>
                <p:nvPr/>
              </p:nvSpPr>
              <p:spPr>
                <a:xfrm>
                  <a:off x="5518572" y="5041389"/>
                  <a:ext cx="163290" cy="76266"/>
                </a:xfrm>
                <a:custGeom>
                  <a:avLst/>
                  <a:gdLst>
                    <a:gd name="connsiteX0" fmla="*/ 88398 w 163290"/>
                    <a:gd name="connsiteY0" fmla="*/ 76267 h 76266"/>
                    <a:gd name="connsiteX1" fmla="*/ 80040 w 163290"/>
                    <a:gd name="connsiteY1" fmla="*/ 76083 h 76266"/>
                    <a:gd name="connsiteX2" fmla="*/ 21 w 163290"/>
                    <a:gd name="connsiteY2" fmla="*/ 34704 h 76266"/>
                    <a:gd name="connsiteX3" fmla="*/ 21 w 163290"/>
                    <a:gd name="connsiteY3" fmla="*/ 34704 h 76266"/>
                    <a:gd name="connsiteX4" fmla="*/ 29224 w 163290"/>
                    <a:gd name="connsiteY4" fmla="*/ 6429 h 76266"/>
                    <a:gd name="connsiteX5" fmla="*/ 83250 w 163290"/>
                    <a:gd name="connsiteY5" fmla="*/ 192 h 76266"/>
                    <a:gd name="connsiteX6" fmla="*/ 163269 w 163290"/>
                    <a:gd name="connsiteY6" fmla="*/ 41572 h 76266"/>
                    <a:gd name="connsiteX7" fmla="*/ 134066 w 163290"/>
                    <a:gd name="connsiteY7" fmla="*/ 69846 h 76266"/>
                    <a:gd name="connsiteX8" fmla="*/ 88398 w 163290"/>
                    <a:gd name="connsiteY8" fmla="*/ 76267 h 76266"/>
                    <a:gd name="connsiteX9" fmla="*/ 22998 w 163290"/>
                    <a:gd name="connsiteY9" fmla="*/ 35678 h 76266"/>
                    <a:gd name="connsiteX10" fmla="*/ 81003 w 163290"/>
                    <a:gd name="connsiteY10" fmla="*/ 53175 h 76266"/>
                    <a:gd name="connsiteX11" fmla="*/ 140395 w 163290"/>
                    <a:gd name="connsiteY11" fmla="*/ 40333 h 76266"/>
                    <a:gd name="connsiteX12" fmla="*/ 82287 w 163290"/>
                    <a:gd name="connsiteY12" fmla="*/ 23100 h 76266"/>
                    <a:gd name="connsiteX13" fmla="*/ 22998 w 163290"/>
                    <a:gd name="connsiteY13" fmla="*/ 35678 h 76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3290" h="76266">
                      <a:moveTo>
                        <a:pt x="88398" y="76267"/>
                      </a:moveTo>
                      <a:cubicBezTo>
                        <a:pt x="85647" y="76267"/>
                        <a:pt x="82861" y="76209"/>
                        <a:pt x="80040" y="76083"/>
                      </a:cubicBezTo>
                      <a:cubicBezTo>
                        <a:pt x="40724" y="74421"/>
                        <a:pt x="-1080" y="60765"/>
                        <a:pt x="21" y="34704"/>
                      </a:cubicBezTo>
                      <a:lnTo>
                        <a:pt x="21" y="34704"/>
                      </a:lnTo>
                      <a:cubicBezTo>
                        <a:pt x="308" y="27652"/>
                        <a:pt x="4516" y="14593"/>
                        <a:pt x="29224" y="6429"/>
                      </a:cubicBezTo>
                      <a:cubicBezTo>
                        <a:pt x="43992" y="1556"/>
                        <a:pt x="63231" y="-702"/>
                        <a:pt x="83250" y="192"/>
                      </a:cubicBezTo>
                      <a:cubicBezTo>
                        <a:pt x="122566" y="1854"/>
                        <a:pt x="164359" y="15510"/>
                        <a:pt x="163269" y="41572"/>
                      </a:cubicBezTo>
                      <a:cubicBezTo>
                        <a:pt x="162983" y="48623"/>
                        <a:pt x="158786" y="61683"/>
                        <a:pt x="134066" y="69846"/>
                      </a:cubicBezTo>
                      <a:cubicBezTo>
                        <a:pt x="121385" y="74031"/>
                        <a:pt x="105402" y="76267"/>
                        <a:pt x="88398" y="76267"/>
                      </a:cubicBezTo>
                      <a:close/>
                      <a:moveTo>
                        <a:pt x="22998" y="35678"/>
                      </a:moveTo>
                      <a:cubicBezTo>
                        <a:pt x="24982" y="40173"/>
                        <a:pt x="44657" y="51650"/>
                        <a:pt x="81003" y="53175"/>
                      </a:cubicBezTo>
                      <a:cubicBezTo>
                        <a:pt x="118255" y="54803"/>
                        <a:pt x="138802" y="44495"/>
                        <a:pt x="140395" y="40333"/>
                      </a:cubicBezTo>
                      <a:cubicBezTo>
                        <a:pt x="139146" y="36618"/>
                        <a:pt x="119402" y="24671"/>
                        <a:pt x="82287" y="23100"/>
                      </a:cubicBezTo>
                      <a:cubicBezTo>
                        <a:pt x="46010" y="21507"/>
                        <a:pt x="25372" y="31344"/>
                        <a:pt x="22998" y="35678"/>
                      </a:cubicBezTo>
                      <a:close/>
                    </a:path>
                  </a:pathLst>
                </a:custGeom>
                <a:grpFill/>
                <a:ln w="1145" cap="flat">
                  <a:noFill/>
                  <a:prstDash val="solid"/>
                  <a:miter/>
                </a:ln>
              </p:spPr>
              <p:txBody>
                <a:bodyPr rtlCol="0" anchor="ctr"/>
                <a:lstStyle/>
                <a:p>
                  <a:endParaRPr lang="en-GB" dirty="0"/>
                </a:p>
              </p:txBody>
            </p:sp>
          </p:grpSp>
          <p:sp>
            <p:nvSpPr>
              <p:cNvPr id="491" name="Freeform: Shape 490">
                <a:extLst>
                  <a:ext uri="{FF2B5EF4-FFF2-40B4-BE49-F238E27FC236}">
                    <a16:creationId xmlns:a16="http://schemas.microsoft.com/office/drawing/2014/main" id="{456F7BDA-5C28-49C1-8681-28AF31B375FB}"/>
                  </a:ext>
                </a:extLst>
              </p:cNvPr>
              <p:cNvSpPr/>
              <p:nvPr/>
            </p:nvSpPr>
            <p:spPr>
              <a:xfrm>
                <a:off x="5507716" y="4782284"/>
                <a:ext cx="142522" cy="94925"/>
              </a:xfrm>
              <a:custGeom>
                <a:avLst/>
                <a:gdLst>
                  <a:gd name="connsiteX0" fmla="*/ 11474 w 142522"/>
                  <a:gd name="connsiteY0" fmla="*/ 94926 h 94925"/>
                  <a:gd name="connsiteX1" fmla="*/ 1647 w 142522"/>
                  <a:gd name="connsiteY1" fmla="*/ 89376 h 94925"/>
                  <a:gd name="connsiteX2" fmla="*/ 5557 w 142522"/>
                  <a:gd name="connsiteY2" fmla="*/ 73645 h 94925"/>
                  <a:gd name="connsiteX3" fmla="*/ 125144 w 142522"/>
                  <a:gd name="connsiteY3" fmla="*/ 1652 h 94925"/>
                  <a:gd name="connsiteX4" fmla="*/ 140875 w 142522"/>
                  <a:gd name="connsiteY4" fmla="*/ 5562 h 94925"/>
                  <a:gd name="connsiteX5" fmla="*/ 136965 w 142522"/>
                  <a:gd name="connsiteY5" fmla="*/ 21293 h 94925"/>
                  <a:gd name="connsiteX6" fmla="*/ 17378 w 142522"/>
                  <a:gd name="connsiteY6" fmla="*/ 93286 h 94925"/>
                  <a:gd name="connsiteX7" fmla="*/ 11474 w 142522"/>
                  <a:gd name="connsiteY7" fmla="*/ 94926 h 94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522" h="94925">
                    <a:moveTo>
                      <a:pt x="11474" y="94926"/>
                    </a:moveTo>
                    <a:cubicBezTo>
                      <a:pt x="7586" y="94926"/>
                      <a:pt x="3791" y="92942"/>
                      <a:pt x="1647" y="89376"/>
                    </a:cubicBezTo>
                    <a:cubicBezTo>
                      <a:pt x="-1620" y="83953"/>
                      <a:pt x="122" y="76901"/>
                      <a:pt x="5557" y="73645"/>
                    </a:cubicBezTo>
                    <a:lnTo>
                      <a:pt x="125144" y="1652"/>
                    </a:lnTo>
                    <a:cubicBezTo>
                      <a:pt x="130544" y="-1627"/>
                      <a:pt x="137607" y="127"/>
                      <a:pt x="140875" y="5562"/>
                    </a:cubicBezTo>
                    <a:cubicBezTo>
                      <a:pt x="144143" y="10986"/>
                      <a:pt x="142400" y="18037"/>
                      <a:pt x="136965" y="21293"/>
                    </a:cubicBezTo>
                    <a:lnTo>
                      <a:pt x="17378" y="93286"/>
                    </a:lnTo>
                    <a:cubicBezTo>
                      <a:pt x="15532" y="94398"/>
                      <a:pt x="13491" y="94926"/>
                      <a:pt x="11474" y="94926"/>
                    </a:cubicBezTo>
                    <a:close/>
                  </a:path>
                </a:pathLst>
              </a:custGeom>
              <a:grpFill/>
              <a:ln w="1145" cap="flat">
                <a:noFill/>
                <a:prstDash val="solid"/>
                <a:miter/>
              </a:ln>
            </p:spPr>
            <p:txBody>
              <a:bodyPr rtlCol="0" anchor="ctr"/>
              <a:lstStyle/>
              <a:p>
                <a:endParaRPr lang="en-GB" dirty="0"/>
              </a:p>
            </p:txBody>
          </p:sp>
          <p:sp>
            <p:nvSpPr>
              <p:cNvPr id="492" name="Freeform: Shape 491">
                <a:extLst>
                  <a:ext uri="{FF2B5EF4-FFF2-40B4-BE49-F238E27FC236}">
                    <a16:creationId xmlns:a16="http://schemas.microsoft.com/office/drawing/2014/main" id="{839A9E5B-6B7D-439A-A53A-2245674F6A90}"/>
                  </a:ext>
                </a:extLst>
              </p:cNvPr>
              <p:cNvSpPr/>
              <p:nvPr/>
            </p:nvSpPr>
            <p:spPr>
              <a:xfrm>
                <a:off x="5596818" y="4737111"/>
                <a:ext cx="144685" cy="69160"/>
              </a:xfrm>
              <a:custGeom>
                <a:avLst/>
                <a:gdLst>
                  <a:gd name="connsiteX0" fmla="*/ 66679 w 144685"/>
                  <a:gd name="connsiteY0" fmla="*/ 69160 h 69160"/>
                  <a:gd name="connsiteX1" fmla="*/ 17 w 144685"/>
                  <a:gd name="connsiteY1" fmla="*/ 37630 h 69160"/>
                  <a:gd name="connsiteX2" fmla="*/ 17 w 144685"/>
                  <a:gd name="connsiteY2" fmla="*/ 37630 h 69160"/>
                  <a:gd name="connsiteX3" fmla="*/ 24118 w 144685"/>
                  <a:gd name="connsiteY3" fmla="*/ 9596 h 69160"/>
                  <a:gd name="connsiteX4" fmla="*/ 70898 w 144685"/>
                  <a:gd name="connsiteY4" fmla="*/ 148 h 69160"/>
                  <a:gd name="connsiteX5" fmla="*/ 118297 w 144685"/>
                  <a:gd name="connsiteY5" fmla="*/ 5641 h 69160"/>
                  <a:gd name="connsiteX6" fmla="*/ 144668 w 144685"/>
                  <a:gd name="connsiteY6" fmla="*/ 31553 h 69160"/>
                  <a:gd name="connsiteX7" fmla="*/ 120567 w 144685"/>
                  <a:gd name="connsiteY7" fmla="*/ 59575 h 69160"/>
                  <a:gd name="connsiteX8" fmla="*/ 73799 w 144685"/>
                  <a:gd name="connsiteY8" fmla="*/ 69023 h 69160"/>
                  <a:gd name="connsiteX9" fmla="*/ 66679 w 144685"/>
                  <a:gd name="connsiteY9" fmla="*/ 69160 h 69160"/>
                  <a:gd name="connsiteX10" fmla="*/ 23373 w 144685"/>
                  <a:gd name="connsiteY10" fmla="*/ 36655 h 69160"/>
                  <a:gd name="connsiteX11" fmla="*/ 72824 w 144685"/>
                  <a:gd name="connsiteY11" fmla="*/ 46114 h 69160"/>
                  <a:gd name="connsiteX12" fmla="*/ 121301 w 144685"/>
                  <a:gd name="connsiteY12" fmla="*/ 32516 h 69160"/>
                  <a:gd name="connsiteX13" fmla="*/ 71850 w 144685"/>
                  <a:gd name="connsiteY13" fmla="*/ 23057 h 69160"/>
                  <a:gd name="connsiteX14" fmla="*/ 23373 w 144685"/>
                  <a:gd name="connsiteY14" fmla="*/ 36655 h 6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4685" h="69160">
                    <a:moveTo>
                      <a:pt x="66679" y="69160"/>
                    </a:moveTo>
                    <a:cubicBezTo>
                      <a:pt x="33979" y="69160"/>
                      <a:pt x="946" y="59678"/>
                      <a:pt x="17" y="37630"/>
                    </a:cubicBezTo>
                    <a:lnTo>
                      <a:pt x="17" y="37630"/>
                    </a:lnTo>
                    <a:cubicBezTo>
                      <a:pt x="-258" y="31117"/>
                      <a:pt x="2505" y="18815"/>
                      <a:pt x="24118" y="9596"/>
                    </a:cubicBezTo>
                    <a:cubicBezTo>
                      <a:pt x="36673" y="4241"/>
                      <a:pt x="53287" y="882"/>
                      <a:pt x="70898" y="148"/>
                    </a:cubicBezTo>
                    <a:cubicBezTo>
                      <a:pt x="88475" y="-574"/>
                      <a:pt x="105329" y="1353"/>
                      <a:pt x="118297" y="5641"/>
                    </a:cubicBezTo>
                    <a:cubicBezTo>
                      <a:pt x="140609" y="13013"/>
                      <a:pt x="144393" y="25029"/>
                      <a:pt x="144668" y="31553"/>
                    </a:cubicBezTo>
                    <a:cubicBezTo>
                      <a:pt x="144943" y="38043"/>
                      <a:pt x="142180" y="50357"/>
                      <a:pt x="120567" y="59575"/>
                    </a:cubicBezTo>
                    <a:cubicBezTo>
                      <a:pt x="108013" y="64929"/>
                      <a:pt x="91410" y="68289"/>
                      <a:pt x="73799" y="69023"/>
                    </a:cubicBezTo>
                    <a:cubicBezTo>
                      <a:pt x="71437" y="69126"/>
                      <a:pt x="69052" y="69160"/>
                      <a:pt x="66679" y="69160"/>
                    </a:cubicBezTo>
                    <a:close/>
                    <a:moveTo>
                      <a:pt x="23373" y="36655"/>
                    </a:moveTo>
                    <a:cubicBezTo>
                      <a:pt x="27191" y="40473"/>
                      <a:pt x="44149" y="47215"/>
                      <a:pt x="72824" y="46114"/>
                    </a:cubicBezTo>
                    <a:cubicBezTo>
                      <a:pt x="101569" y="44899"/>
                      <a:pt x="117827" y="36655"/>
                      <a:pt x="121301" y="32516"/>
                    </a:cubicBezTo>
                    <a:cubicBezTo>
                      <a:pt x="117483" y="28687"/>
                      <a:pt x="100583" y="21956"/>
                      <a:pt x="71850" y="23057"/>
                    </a:cubicBezTo>
                    <a:cubicBezTo>
                      <a:pt x="43117" y="24272"/>
                      <a:pt x="26858" y="32516"/>
                      <a:pt x="23373" y="36655"/>
                    </a:cubicBezTo>
                    <a:close/>
                  </a:path>
                </a:pathLst>
              </a:custGeom>
              <a:grpFill/>
              <a:ln w="1145" cap="flat">
                <a:noFill/>
                <a:prstDash val="solid"/>
                <a:miter/>
              </a:ln>
            </p:spPr>
            <p:txBody>
              <a:bodyPr rtlCol="0" anchor="ctr"/>
              <a:lstStyle/>
              <a:p>
                <a:endParaRPr lang="en-GB" dirty="0"/>
              </a:p>
            </p:txBody>
          </p:sp>
          <p:sp>
            <p:nvSpPr>
              <p:cNvPr id="493" name="Freeform: Shape 492">
                <a:extLst>
                  <a:ext uri="{FF2B5EF4-FFF2-40B4-BE49-F238E27FC236}">
                    <a16:creationId xmlns:a16="http://schemas.microsoft.com/office/drawing/2014/main" id="{FD8E2283-F339-463B-8844-0A2AF9EE6226}"/>
                  </a:ext>
                </a:extLst>
              </p:cNvPr>
              <p:cNvSpPr/>
              <p:nvPr/>
            </p:nvSpPr>
            <p:spPr>
              <a:xfrm>
                <a:off x="4908531" y="4782267"/>
                <a:ext cx="145331" cy="95894"/>
              </a:xfrm>
              <a:custGeom>
                <a:avLst/>
                <a:gdLst>
                  <a:gd name="connsiteX0" fmla="*/ 133858 w 145331"/>
                  <a:gd name="connsiteY0" fmla="*/ 95894 h 95894"/>
                  <a:gd name="connsiteX1" fmla="*/ 127999 w 145331"/>
                  <a:gd name="connsiteY1" fmla="*/ 94277 h 95894"/>
                  <a:gd name="connsiteX2" fmla="*/ 5603 w 145331"/>
                  <a:gd name="connsiteY2" fmla="*/ 21333 h 95894"/>
                  <a:gd name="connsiteX3" fmla="*/ 1613 w 145331"/>
                  <a:gd name="connsiteY3" fmla="*/ 5613 h 95894"/>
                  <a:gd name="connsiteX4" fmla="*/ 17332 w 145331"/>
                  <a:gd name="connsiteY4" fmla="*/ 1623 h 95894"/>
                  <a:gd name="connsiteX5" fmla="*/ 139728 w 145331"/>
                  <a:gd name="connsiteY5" fmla="*/ 74568 h 95894"/>
                  <a:gd name="connsiteX6" fmla="*/ 143719 w 145331"/>
                  <a:gd name="connsiteY6" fmla="*/ 90287 h 95894"/>
                  <a:gd name="connsiteX7" fmla="*/ 133858 w 145331"/>
                  <a:gd name="connsiteY7" fmla="*/ 95894 h 95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331" h="95894">
                    <a:moveTo>
                      <a:pt x="133858" y="95894"/>
                    </a:moveTo>
                    <a:cubicBezTo>
                      <a:pt x="131863" y="95894"/>
                      <a:pt x="129834" y="95378"/>
                      <a:pt x="127999" y="94277"/>
                    </a:cubicBezTo>
                    <a:lnTo>
                      <a:pt x="5603" y="21333"/>
                    </a:lnTo>
                    <a:cubicBezTo>
                      <a:pt x="157" y="18088"/>
                      <a:pt x="-1620" y="11059"/>
                      <a:pt x="1613" y="5613"/>
                    </a:cubicBezTo>
                    <a:cubicBezTo>
                      <a:pt x="4858" y="167"/>
                      <a:pt x="11898" y="-1633"/>
                      <a:pt x="17332" y="1623"/>
                    </a:cubicBezTo>
                    <a:lnTo>
                      <a:pt x="139728" y="74568"/>
                    </a:lnTo>
                    <a:cubicBezTo>
                      <a:pt x="145175" y="77813"/>
                      <a:pt x="146952" y="84841"/>
                      <a:pt x="143719" y="90287"/>
                    </a:cubicBezTo>
                    <a:cubicBezTo>
                      <a:pt x="141575" y="93899"/>
                      <a:pt x="137768" y="95894"/>
                      <a:pt x="133858" y="95894"/>
                    </a:cubicBezTo>
                    <a:close/>
                  </a:path>
                </a:pathLst>
              </a:custGeom>
              <a:grpFill/>
              <a:ln w="1145" cap="flat">
                <a:noFill/>
                <a:prstDash val="solid"/>
                <a:miter/>
              </a:ln>
            </p:spPr>
            <p:txBody>
              <a:bodyPr rtlCol="0" anchor="ctr"/>
              <a:lstStyle/>
              <a:p>
                <a:endParaRPr lang="en-GB" dirty="0"/>
              </a:p>
            </p:txBody>
          </p:sp>
          <p:sp>
            <p:nvSpPr>
              <p:cNvPr id="494" name="Freeform: Shape 493">
                <a:extLst>
                  <a:ext uri="{FF2B5EF4-FFF2-40B4-BE49-F238E27FC236}">
                    <a16:creationId xmlns:a16="http://schemas.microsoft.com/office/drawing/2014/main" id="{449E2A66-60BF-47E0-8FA4-121ECFAED943}"/>
                  </a:ext>
                </a:extLst>
              </p:cNvPr>
              <p:cNvSpPr/>
              <p:nvPr/>
            </p:nvSpPr>
            <p:spPr>
              <a:xfrm>
                <a:off x="4817460" y="4737096"/>
                <a:ext cx="144698" cy="69175"/>
              </a:xfrm>
              <a:custGeom>
                <a:avLst/>
                <a:gdLst>
                  <a:gd name="connsiteX0" fmla="*/ 78009 w 144698"/>
                  <a:gd name="connsiteY0" fmla="*/ 69175 h 69175"/>
                  <a:gd name="connsiteX1" fmla="*/ 70900 w 144698"/>
                  <a:gd name="connsiteY1" fmla="*/ 69026 h 69175"/>
                  <a:gd name="connsiteX2" fmla="*/ 19 w 144698"/>
                  <a:gd name="connsiteY2" fmla="*/ 31545 h 69175"/>
                  <a:gd name="connsiteX3" fmla="*/ 73801 w 144698"/>
                  <a:gd name="connsiteY3" fmla="*/ 152 h 69175"/>
                  <a:gd name="connsiteX4" fmla="*/ 120569 w 144698"/>
                  <a:gd name="connsiteY4" fmla="*/ 9600 h 69175"/>
                  <a:gd name="connsiteX5" fmla="*/ 144682 w 144698"/>
                  <a:gd name="connsiteY5" fmla="*/ 37633 h 69175"/>
                  <a:gd name="connsiteX6" fmla="*/ 144682 w 144698"/>
                  <a:gd name="connsiteY6" fmla="*/ 37633 h 69175"/>
                  <a:gd name="connsiteX7" fmla="*/ 78009 w 144698"/>
                  <a:gd name="connsiteY7" fmla="*/ 69175 h 69175"/>
                  <a:gd name="connsiteX8" fmla="*/ 23386 w 144698"/>
                  <a:gd name="connsiteY8" fmla="*/ 32531 h 69175"/>
                  <a:gd name="connsiteX9" fmla="*/ 71863 w 144698"/>
                  <a:gd name="connsiteY9" fmla="*/ 46129 h 69175"/>
                  <a:gd name="connsiteX10" fmla="*/ 121314 w 144698"/>
                  <a:gd name="connsiteY10" fmla="*/ 36670 h 69175"/>
                  <a:gd name="connsiteX11" fmla="*/ 72838 w 144698"/>
                  <a:gd name="connsiteY11" fmla="*/ 23072 h 69175"/>
                  <a:gd name="connsiteX12" fmla="*/ 23386 w 144698"/>
                  <a:gd name="connsiteY12" fmla="*/ 32531 h 69175"/>
                  <a:gd name="connsiteX13" fmla="*/ 133216 w 144698"/>
                  <a:gd name="connsiteY13" fmla="*/ 37163 h 69175"/>
                  <a:gd name="connsiteX14" fmla="*/ 133331 w 144698"/>
                  <a:gd name="connsiteY14" fmla="*/ 37163 h 69175"/>
                  <a:gd name="connsiteX15" fmla="*/ 133216 w 144698"/>
                  <a:gd name="connsiteY15" fmla="*/ 37163 h 6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4698" h="69175">
                    <a:moveTo>
                      <a:pt x="78009" y="69175"/>
                    </a:moveTo>
                    <a:cubicBezTo>
                      <a:pt x="75635" y="69175"/>
                      <a:pt x="73262" y="69129"/>
                      <a:pt x="70900" y="69026"/>
                    </a:cubicBezTo>
                    <a:cubicBezTo>
                      <a:pt x="36079" y="67559"/>
                      <a:pt x="-967" y="55199"/>
                      <a:pt x="19" y="31545"/>
                    </a:cubicBezTo>
                    <a:cubicBezTo>
                      <a:pt x="1017" y="7891"/>
                      <a:pt x="38945" y="-1327"/>
                      <a:pt x="73801" y="152"/>
                    </a:cubicBezTo>
                    <a:cubicBezTo>
                      <a:pt x="91412" y="886"/>
                      <a:pt x="108014" y="4245"/>
                      <a:pt x="120569" y="9600"/>
                    </a:cubicBezTo>
                    <a:cubicBezTo>
                      <a:pt x="142194" y="18830"/>
                      <a:pt x="144957" y="31132"/>
                      <a:pt x="144682" y="37633"/>
                    </a:cubicBezTo>
                    <a:lnTo>
                      <a:pt x="144682" y="37633"/>
                    </a:lnTo>
                    <a:cubicBezTo>
                      <a:pt x="143741" y="59693"/>
                      <a:pt x="110697" y="69175"/>
                      <a:pt x="78009" y="69175"/>
                    </a:cubicBezTo>
                    <a:close/>
                    <a:moveTo>
                      <a:pt x="23386" y="32531"/>
                    </a:moveTo>
                    <a:cubicBezTo>
                      <a:pt x="26872" y="36659"/>
                      <a:pt x="43130" y="44902"/>
                      <a:pt x="71863" y="46129"/>
                    </a:cubicBezTo>
                    <a:cubicBezTo>
                      <a:pt x="100688" y="47241"/>
                      <a:pt x="117485" y="40500"/>
                      <a:pt x="121314" y="36670"/>
                    </a:cubicBezTo>
                    <a:cubicBezTo>
                      <a:pt x="117841" y="32543"/>
                      <a:pt x="101571" y="24299"/>
                      <a:pt x="72838" y="23072"/>
                    </a:cubicBezTo>
                    <a:cubicBezTo>
                      <a:pt x="44047" y="21971"/>
                      <a:pt x="27204" y="28702"/>
                      <a:pt x="23386" y="32531"/>
                    </a:cubicBezTo>
                    <a:close/>
                    <a:moveTo>
                      <a:pt x="133216" y="37163"/>
                    </a:moveTo>
                    <a:lnTo>
                      <a:pt x="133331" y="37163"/>
                    </a:lnTo>
                    <a:lnTo>
                      <a:pt x="133216" y="37163"/>
                    </a:lnTo>
                    <a:close/>
                  </a:path>
                </a:pathLst>
              </a:custGeom>
              <a:grpFill/>
              <a:ln w="1145" cap="flat">
                <a:noFill/>
                <a:prstDash val="solid"/>
                <a:miter/>
              </a:ln>
            </p:spPr>
            <p:txBody>
              <a:bodyPr rtlCol="0" anchor="ctr"/>
              <a:lstStyle/>
              <a:p>
                <a:endParaRPr lang="en-GB" dirty="0"/>
              </a:p>
            </p:txBody>
          </p:sp>
        </p:grpSp>
        <p:grpSp>
          <p:nvGrpSpPr>
            <p:cNvPr id="448" name="Graphic 48">
              <a:extLst>
                <a:ext uri="{FF2B5EF4-FFF2-40B4-BE49-F238E27FC236}">
                  <a16:creationId xmlns:a16="http://schemas.microsoft.com/office/drawing/2014/main" id="{17423F74-F6C8-4CA1-BA4F-8D48F8F4181D}"/>
                </a:ext>
              </a:extLst>
            </p:cNvPr>
            <p:cNvGrpSpPr/>
            <p:nvPr/>
          </p:nvGrpSpPr>
          <p:grpSpPr>
            <a:xfrm>
              <a:off x="2749739" y="2462886"/>
              <a:ext cx="286942" cy="286481"/>
              <a:chOff x="5039756" y="4420190"/>
              <a:chExt cx="508858" cy="508041"/>
            </a:xfrm>
            <a:solidFill>
              <a:schemeClr val="tx2"/>
            </a:solidFill>
          </p:grpSpPr>
          <p:grpSp>
            <p:nvGrpSpPr>
              <p:cNvPr id="449" name="Graphic 48">
                <a:extLst>
                  <a:ext uri="{FF2B5EF4-FFF2-40B4-BE49-F238E27FC236}">
                    <a16:creationId xmlns:a16="http://schemas.microsoft.com/office/drawing/2014/main" id="{9AC8ABA5-3E92-4C91-98B3-0A9421146AB5}"/>
                  </a:ext>
                </a:extLst>
              </p:cNvPr>
              <p:cNvGrpSpPr/>
              <p:nvPr/>
            </p:nvGrpSpPr>
            <p:grpSpPr>
              <a:xfrm>
                <a:off x="5039756" y="4420190"/>
                <a:ext cx="508858" cy="508041"/>
                <a:chOff x="5039756" y="4420190"/>
                <a:chExt cx="508858" cy="508041"/>
              </a:xfrm>
              <a:grpFill/>
            </p:grpSpPr>
            <p:sp>
              <p:nvSpPr>
                <p:cNvPr id="453" name="Freeform: Shape 452">
                  <a:extLst>
                    <a:ext uri="{FF2B5EF4-FFF2-40B4-BE49-F238E27FC236}">
                      <a16:creationId xmlns:a16="http://schemas.microsoft.com/office/drawing/2014/main" id="{25C0AC92-1650-4023-9D5F-D5B999D01A8D}"/>
                    </a:ext>
                  </a:extLst>
                </p:cNvPr>
                <p:cNvSpPr/>
                <p:nvPr/>
              </p:nvSpPr>
              <p:spPr>
                <a:xfrm>
                  <a:off x="5132070" y="4511858"/>
                  <a:ext cx="324373" cy="324464"/>
                </a:xfrm>
                <a:custGeom>
                  <a:avLst/>
                  <a:gdLst>
                    <a:gd name="connsiteX0" fmla="*/ 162095 w 324373"/>
                    <a:gd name="connsiteY0" fmla="*/ 324465 h 324464"/>
                    <a:gd name="connsiteX1" fmla="*/ 93163 w 324373"/>
                    <a:gd name="connsiteY1" fmla="*/ 308952 h 324464"/>
                    <a:gd name="connsiteX2" fmla="*/ 15414 w 324373"/>
                    <a:gd name="connsiteY2" fmla="*/ 93157 h 324464"/>
                    <a:gd name="connsiteX3" fmla="*/ 231221 w 324373"/>
                    <a:gd name="connsiteY3" fmla="*/ 15420 h 324464"/>
                    <a:gd name="connsiteX4" fmla="*/ 308958 w 324373"/>
                    <a:gd name="connsiteY4" fmla="*/ 231215 h 324464"/>
                    <a:gd name="connsiteX5" fmla="*/ 217153 w 324373"/>
                    <a:gd name="connsiteY5" fmla="*/ 314777 h 324464"/>
                    <a:gd name="connsiteX6" fmla="*/ 162095 w 324373"/>
                    <a:gd name="connsiteY6" fmla="*/ 324465 h 324464"/>
                    <a:gd name="connsiteX7" fmla="*/ 162416 w 324373"/>
                    <a:gd name="connsiteY7" fmla="*/ 22941 h 324464"/>
                    <a:gd name="connsiteX8" fmla="*/ 36179 w 324373"/>
                    <a:gd name="connsiteY8" fmla="*/ 102926 h 324464"/>
                    <a:gd name="connsiteX9" fmla="*/ 102932 w 324373"/>
                    <a:gd name="connsiteY9" fmla="*/ 288199 h 324464"/>
                    <a:gd name="connsiteX10" fmla="*/ 209391 w 324373"/>
                    <a:gd name="connsiteY10" fmla="*/ 293210 h 324464"/>
                    <a:gd name="connsiteX11" fmla="*/ 288206 w 324373"/>
                    <a:gd name="connsiteY11" fmla="*/ 221458 h 324464"/>
                    <a:gd name="connsiteX12" fmla="*/ 221464 w 324373"/>
                    <a:gd name="connsiteY12" fmla="*/ 36184 h 324464"/>
                    <a:gd name="connsiteX13" fmla="*/ 162416 w 324373"/>
                    <a:gd name="connsiteY13" fmla="*/ 22941 h 32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4373" h="324464">
                      <a:moveTo>
                        <a:pt x="162095" y="324465"/>
                      </a:moveTo>
                      <a:cubicBezTo>
                        <a:pt x="138544" y="324465"/>
                        <a:pt x="115097" y="319271"/>
                        <a:pt x="93163" y="308952"/>
                      </a:cubicBezTo>
                      <a:cubicBezTo>
                        <a:pt x="12227" y="270898"/>
                        <a:pt x="-22652" y="174081"/>
                        <a:pt x="15414" y="93157"/>
                      </a:cubicBezTo>
                      <a:cubicBezTo>
                        <a:pt x="53492" y="12232"/>
                        <a:pt x="150274" y="-22658"/>
                        <a:pt x="231221" y="15420"/>
                      </a:cubicBezTo>
                      <a:cubicBezTo>
                        <a:pt x="312146" y="53486"/>
                        <a:pt x="347024" y="150290"/>
                        <a:pt x="308958" y="231215"/>
                      </a:cubicBezTo>
                      <a:cubicBezTo>
                        <a:pt x="290522" y="270416"/>
                        <a:pt x="257913" y="300100"/>
                        <a:pt x="217153" y="314777"/>
                      </a:cubicBezTo>
                      <a:cubicBezTo>
                        <a:pt x="199221" y="321232"/>
                        <a:pt x="180635" y="324465"/>
                        <a:pt x="162095" y="324465"/>
                      </a:cubicBezTo>
                      <a:close/>
                      <a:moveTo>
                        <a:pt x="162416" y="22941"/>
                      </a:moveTo>
                      <a:cubicBezTo>
                        <a:pt x="110098" y="22941"/>
                        <a:pt x="59890" y="52534"/>
                        <a:pt x="36179" y="102926"/>
                      </a:cubicBezTo>
                      <a:cubicBezTo>
                        <a:pt x="3490" y="172419"/>
                        <a:pt x="33450" y="255534"/>
                        <a:pt x="102932" y="288199"/>
                      </a:cubicBezTo>
                      <a:cubicBezTo>
                        <a:pt x="136595" y="304033"/>
                        <a:pt x="174386" y="305822"/>
                        <a:pt x="209391" y="293210"/>
                      </a:cubicBezTo>
                      <a:cubicBezTo>
                        <a:pt x="244395" y="280598"/>
                        <a:pt x="272383" y="255132"/>
                        <a:pt x="288206" y="221458"/>
                      </a:cubicBezTo>
                      <a:cubicBezTo>
                        <a:pt x="320894" y="151976"/>
                        <a:pt x="290946" y="68849"/>
                        <a:pt x="221464" y="36184"/>
                      </a:cubicBezTo>
                      <a:cubicBezTo>
                        <a:pt x="202374" y="27195"/>
                        <a:pt x="182240" y="22941"/>
                        <a:pt x="162416" y="22941"/>
                      </a:cubicBezTo>
                      <a:close/>
                    </a:path>
                  </a:pathLst>
                </a:custGeom>
                <a:grpFill/>
                <a:ln w="1145" cap="flat">
                  <a:noFill/>
                  <a:prstDash val="solid"/>
                  <a:miter/>
                </a:ln>
              </p:spPr>
              <p:txBody>
                <a:bodyPr rtlCol="0" anchor="ctr"/>
                <a:lstStyle/>
                <a:p>
                  <a:endParaRPr lang="en-GB" dirty="0"/>
                </a:p>
              </p:txBody>
            </p:sp>
            <p:grpSp>
              <p:nvGrpSpPr>
                <p:cNvPr id="454" name="Graphic 48">
                  <a:extLst>
                    <a:ext uri="{FF2B5EF4-FFF2-40B4-BE49-F238E27FC236}">
                      <a16:creationId xmlns:a16="http://schemas.microsoft.com/office/drawing/2014/main" id="{A3FBBE02-EB66-4DDE-9F56-14C06730729A}"/>
                    </a:ext>
                  </a:extLst>
                </p:cNvPr>
                <p:cNvGrpSpPr/>
                <p:nvPr/>
              </p:nvGrpSpPr>
              <p:grpSpPr>
                <a:xfrm>
                  <a:off x="5047790" y="4530765"/>
                  <a:ext cx="121322" cy="90301"/>
                  <a:chOff x="5047790" y="4530765"/>
                  <a:chExt cx="121322" cy="90301"/>
                </a:xfrm>
                <a:grpFill/>
              </p:grpSpPr>
              <p:sp>
                <p:nvSpPr>
                  <p:cNvPr id="486" name="Freeform: Shape 485">
                    <a:extLst>
                      <a:ext uri="{FF2B5EF4-FFF2-40B4-BE49-F238E27FC236}">
                        <a16:creationId xmlns:a16="http://schemas.microsoft.com/office/drawing/2014/main" id="{84B84D1C-C4DA-4ED1-AC26-A0EEF2D5E7CF}"/>
                      </a:ext>
                    </a:extLst>
                  </p:cNvPr>
                  <p:cNvSpPr/>
                  <p:nvPr/>
                </p:nvSpPr>
                <p:spPr>
                  <a:xfrm>
                    <a:off x="5047790" y="4530765"/>
                    <a:ext cx="80466" cy="88432"/>
                  </a:xfrm>
                  <a:custGeom>
                    <a:avLst/>
                    <a:gdLst>
                      <a:gd name="connsiteX0" fmla="*/ 33640 w 80466"/>
                      <a:gd name="connsiteY0" fmla="*/ 88433 h 88432"/>
                      <a:gd name="connsiteX1" fmla="*/ 17267 w 80466"/>
                      <a:gd name="connsiteY1" fmla="*/ 85016 h 88432"/>
                      <a:gd name="connsiteX2" fmla="*/ 115 w 80466"/>
                      <a:gd name="connsiteY2" fmla="*/ 58702 h 88432"/>
                      <a:gd name="connsiteX3" fmla="*/ 6157 w 80466"/>
                      <a:gd name="connsiteY3" fmla="*/ 30038 h 88432"/>
                      <a:gd name="connsiteX4" fmla="*/ 23551 w 80466"/>
                      <a:gd name="connsiteY4" fmla="*/ 6992 h 88432"/>
                      <a:gd name="connsiteX5" fmla="*/ 54668 w 80466"/>
                      <a:gd name="connsiteY5" fmla="*/ 2784 h 88432"/>
                      <a:gd name="connsiteX6" fmla="*/ 77175 w 80466"/>
                      <a:gd name="connsiteY6" fmla="*/ 63437 h 88432"/>
                      <a:gd name="connsiteX7" fmla="*/ 50862 w 80466"/>
                      <a:gd name="connsiteY7" fmla="*/ 85394 h 88432"/>
                      <a:gd name="connsiteX8" fmla="*/ 33640 w 80466"/>
                      <a:gd name="connsiteY8" fmla="*/ 88433 h 88432"/>
                      <a:gd name="connsiteX9" fmla="*/ 42618 w 80466"/>
                      <a:gd name="connsiteY9" fmla="*/ 22941 h 88432"/>
                      <a:gd name="connsiteX10" fmla="*/ 37573 w 80466"/>
                      <a:gd name="connsiteY10" fmla="*/ 25142 h 88432"/>
                      <a:gd name="connsiteX11" fmla="*/ 26921 w 80466"/>
                      <a:gd name="connsiteY11" fmla="*/ 39795 h 88432"/>
                      <a:gd name="connsiteX12" fmla="*/ 22977 w 80466"/>
                      <a:gd name="connsiteY12" fmla="*/ 57017 h 88432"/>
                      <a:gd name="connsiteX13" fmla="*/ 27025 w 80466"/>
                      <a:gd name="connsiteY13" fmla="*/ 64251 h 88432"/>
                      <a:gd name="connsiteX14" fmla="*/ 43294 w 80466"/>
                      <a:gd name="connsiteY14" fmla="*/ 63747 h 88432"/>
                      <a:gd name="connsiteX15" fmla="*/ 56423 w 80466"/>
                      <a:gd name="connsiteY15" fmla="*/ 53669 h 88432"/>
                      <a:gd name="connsiteX16" fmla="*/ 44911 w 80466"/>
                      <a:gd name="connsiteY16" fmla="*/ 23537 h 88432"/>
                      <a:gd name="connsiteX17" fmla="*/ 44911 w 80466"/>
                      <a:gd name="connsiteY17" fmla="*/ 23537 h 88432"/>
                      <a:gd name="connsiteX18" fmla="*/ 42618 w 80466"/>
                      <a:gd name="connsiteY18" fmla="*/ 22941 h 88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0466" h="88432">
                        <a:moveTo>
                          <a:pt x="33640" y="88433"/>
                        </a:moveTo>
                        <a:cubicBezTo>
                          <a:pt x="27712" y="88433"/>
                          <a:pt x="22117" y="87286"/>
                          <a:pt x="17267" y="85016"/>
                        </a:cubicBezTo>
                        <a:cubicBezTo>
                          <a:pt x="7097" y="80235"/>
                          <a:pt x="1009" y="70902"/>
                          <a:pt x="115" y="58702"/>
                        </a:cubicBezTo>
                        <a:cubicBezTo>
                          <a:pt x="-539" y="49897"/>
                          <a:pt x="1617" y="39726"/>
                          <a:pt x="6157" y="30038"/>
                        </a:cubicBezTo>
                        <a:cubicBezTo>
                          <a:pt x="9402" y="23147"/>
                          <a:pt x="15043" y="13562"/>
                          <a:pt x="23551" y="6992"/>
                        </a:cubicBezTo>
                        <a:cubicBezTo>
                          <a:pt x="33308" y="-564"/>
                          <a:pt x="44372" y="-2043"/>
                          <a:pt x="54668" y="2784"/>
                        </a:cubicBezTo>
                        <a:cubicBezTo>
                          <a:pt x="74974" y="12335"/>
                          <a:pt x="86531" y="43510"/>
                          <a:pt x="77175" y="63437"/>
                        </a:cubicBezTo>
                        <a:cubicBezTo>
                          <a:pt x="72612" y="73149"/>
                          <a:pt x="63027" y="81152"/>
                          <a:pt x="50862" y="85394"/>
                        </a:cubicBezTo>
                        <a:cubicBezTo>
                          <a:pt x="45072" y="87424"/>
                          <a:pt x="39213" y="88433"/>
                          <a:pt x="33640" y="88433"/>
                        </a:cubicBezTo>
                        <a:close/>
                        <a:moveTo>
                          <a:pt x="42618" y="22941"/>
                        </a:moveTo>
                        <a:cubicBezTo>
                          <a:pt x="41403" y="22941"/>
                          <a:pt x="39786" y="23434"/>
                          <a:pt x="37573" y="25142"/>
                        </a:cubicBezTo>
                        <a:cubicBezTo>
                          <a:pt x="33824" y="28043"/>
                          <a:pt x="29937" y="33386"/>
                          <a:pt x="26921" y="39795"/>
                        </a:cubicBezTo>
                        <a:cubicBezTo>
                          <a:pt x="24055" y="45872"/>
                          <a:pt x="22622" y="52155"/>
                          <a:pt x="22977" y="57017"/>
                        </a:cubicBezTo>
                        <a:cubicBezTo>
                          <a:pt x="23379" y="62532"/>
                          <a:pt x="25844" y="63701"/>
                          <a:pt x="27025" y="64251"/>
                        </a:cubicBezTo>
                        <a:cubicBezTo>
                          <a:pt x="30865" y="66075"/>
                          <a:pt x="37275" y="65868"/>
                          <a:pt x="43294" y="63747"/>
                        </a:cubicBezTo>
                        <a:cubicBezTo>
                          <a:pt x="49486" y="61592"/>
                          <a:pt x="54519" y="57728"/>
                          <a:pt x="56423" y="53669"/>
                        </a:cubicBezTo>
                        <a:cubicBezTo>
                          <a:pt x="60745" y="44473"/>
                          <a:pt x="53029" y="27343"/>
                          <a:pt x="44911" y="23537"/>
                        </a:cubicBezTo>
                        <a:lnTo>
                          <a:pt x="44911" y="23537"/>
                        </a:lnTo>
                        <a:cubicBezTo>
                          <a:pt x="44338" y="23273"/>
                          <a:pt x="43627" y="22941"/>
                          <a:pt x="42618" y="22941"/>
                        </a:cubicBezTo>
                        <a:close/>
                      </a:path>
                    </a:pathLst>
                  </a:custGeom>
                  <a:grpFill/>
                  <a:ln w="1145" cap="flat">
                    <a:noFill/>
                    <a:prstDash val="solid"/>
                    <a:miter/>
                  </a:ln>
                </p:spPr>
                <p:txBody>
                  <a:bodyPr rtlCol="0" anchor="ctr"/>
                  <a:lstStyle/>
                  <a:p>
                    <a:endParaRPr lang="en-GB" dirty="0"/>
                  </a:p>
                </p:txBody>
              </p:sp>
              <p:sp>
                <p:nvSpPr>
                  <p:cNvPr id="487" name="Freeform: Shape 486">
                    <a:extLst>
                      <a:ext uri="{FF2B5EF4-FFF2-40B4-BE49-F238E27FC236}">
                        <a16:creationId xmlns:a16="http://schemas.microsoft.com/office/drawing/2014/main" id="{84FAD5D3-5188-4202-9E32-6A58B3E183A7}"/>
                      </a:ext>
                    </a:extLst>
                  </p:cNvPr>
                  <p:cNvSpPr/>
                  <p:nvPr/>
                </p:nvSpPr>
                <p:spPr>
                  <a:xfrm>
                    <a:off x="5103096" y="4577870"/>
                    <a:ext cx="66017" cy="43195"/>
                  </a:xfrm>
                  <a:custGeom>
                    <a:avLst/>
                    <a:gdLst>
                      <a:gd name="connsiteX0" fmla="*/ 54535 w 66017"/>
                      <a:gd name="connsiteY0" fmla="*/ 43196 h 43195"/>
                      <a:gd name="connsiteX1" fmla="*/ 49662 w 66017"/>
                      <a:gd name="connsiteY1" fmla="*/ 42106 h 43195"/>
                      <a:gd name="connsiteX2" fmla="*/ 6586 w 66017"/>
                      <a:gd name="connsiteY2" fmla="*/ 21847 h 43195"/>
                      <a:gd name="connsiteX3" fmla="*/ 1094 w 66017"/>
                      <a:gd name="connsiteY3" fmla="*/ 6586 h 43195"/>
                      <a:gd name="connsiteX4" fmla="*/ 16355 w 66017"/>
                      <a:gd name="connsiteY4" fmla="*/ 1094 h 43195"/>
                      <a:gd name="connsiteX5" fmla="*/ 59431 w 66017"/>
                      <a:gd name="connsiteY5" fmla="*/ 21354 h 43195"/>
                      <a:gd name="connsiteX6" fmla="*/ 64923 w 66017"/>
                      <a:gd name="connsiteY6" fmla="*/ 36615 h 43195"/>
                      <a:gd name="connsiteX7" fmla="*/ 54535 w 66017"/>
                      <a:gd name="connsiteY7" fmla="*/ 43196 h 43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17" h="43195">
                        <a:moveTo>
                          <a:pt x="54535" y="43196"/>
                        </a:moveTo>
                        <a:cubicBezTo>
                          <a:pt x="52896" y="43196"/>
                          <a:pt x="51245" y="42852"/>
                          <a:pt x="49662" y="42106"/>
                        </a:cubicBezTo>
                        <a:lnTo>
                          <a:pt x="6586" y="21847"/>
                        </a:lnTo>
                        <a:cubicBezTo>
                          <a:pt x="853" y="19152"/>
                          <a:pt x="-1601" y="12319"/>
                          <a:pt x="1094" y="6586"/>
                        </a:cubicBezTo>
                        <a:cubicBezTo>
                          <a:pt x="3788" y="853"/>
                          <a:pt x="10622" y="-1601"/>
                          <a:pt x="16355" y="1094"/>
                        </a:cubicBezTo>
                        <a:lnTo>
                          <a:pt x="59431" y="21354"/>
                        </a:lnTo>
                        <a:cubicBezTo>
                          <a:pt x="65164" y="24048"/>
                          <a:pt x="67618" y="30882"/>
                          <a:pt x="64923" y="36615"/>
                        </a:cubicBezTo>
                        <a:cubicBezTo>
                          <a:pt x="62974" y="40765"/>
                          <a:pt x="58846" y="43196"/>
                          <a:pt x="54535" y="43196"/>
                        </a:cubicBezTo>
                        <a:close/>
                      </a:path>
                    </a:pathLst>
                  </a:custGeom>
                  <a:grpFill/>
                  <a:ln w="1145" cap="flat">
                    <a:noFill/>
                    <a:prstDash val="solid"/>
                    <a:miter/>
                  </a:ln>
                </p:spPr>
                <p:txBody>
                  <a:bodyPr rtlCol="0" anchor="ctr"/>
                  <a:lstStyle/>
                  <a:p>
                    <a:endParaRPr lang="en-GB" dirty="0"/>
                  </a:p>
                </p:txBody>
              </p:sp>
            </p:grpSp>
            <p:grpSp>
              <p:nvGrpSpPr>
                <p:cNvPr id="455" name="Graphic 48">
                  <a:extLst>
                    <a:ext uri="{FF2B5EF4-FFF2-40B4-BE49-F238E27FC236}">
                      <a16:creationId xmlns:a16="http://schemas.microsoft.com/office/drawing/2014/main" id="{8367BA09-816E-4F49-9EEE-1D0B387F4CAD}"/>
                    </a:ext>
                  </a:extLst>
                </p:cNvPr>
                <p:cNvGrpSpPr/>
                <p:nvPr/>
              </p:nvGrpSpPr>
              <p:grpSpPr>
                <a:xfrm>
                  <a:off x="5419457" y="4726931"/>
                  <a:ext cx="121962" cy="89212"/>
                  <a:chOff x="5419457" y="4726931"/>
                  <a:chExt cx="121962" cy="89212"/>
                </a:xfrm>
                <a:grpFill/>
              </p:grpSpPr>
              <p:sp>
                <p:nvSpPr>
                  <p:cNvPr id="484" name="Freeform: Shape 483">
                    <a:extLst>
                      <a:ext uri="{FF2B5EF4-FFF2-40B4-BE49-F238E27FC236}">
                        <a16:creationId xmlns:a16="http://schemas.microsoft.com/office/drawing/2014/main" id="{C08030DF-3EDF-43F9-A785-A124F25E8C9A}"/>
                      </a:ext>
                    </a:extLst>
                  </p:cNvPr>
                  <p:cNvSpPr/>
                  <p:nvPr/>
                </p:nvSpPr>
                <p:spPr>
                  <a:xfrm>
                    <a:off x="5460306" y="4728550"/>
                    <a:ext cx="81112" cy="87593"/>
                  </a:xfrm>
                  <a:custGeom>
                    <a:avLst/>
                    <a:gdLst>
                      <a:gd name="connsiteX0" fmla="*/ 37443 w 81112"/>
                      <a:gd name="connsiteY0" fmla="*/ 87594 h 87593"/>
                      <a:gd name="connsiteX1" fmla="*/ 25255 w 81112"/>
                      <a:gd name="connsiteY1" fmla="*/ 84853 h 87593"/>
                      <a:gd name="connsiteX2" fmla="*/ 3390 w 81112"/>
                      <a:gd name="connsiteY2" fmla="*/ 25060 h 87593"/>
                      <a:gd name="connsiteX3" fmla="*/ 64342 w 81112"/>
                      <a:gd name="connsiteY3" fmla="*/ 3412 h 87593"/>
                      <a:gd name="connsiteX4" fmla="*/ 64342 w 81112"/>
                      <a:gd name="connsiteY4" fmla="*/ 3412 h 87593"/>
                      <a:gd name="connsiteX5" fmla="*/ 64342 w 81112"/>
                      <a:gd name="connsiteY5" fmla="*/ 3412 h 87593"/>
                      <a:gd name="connsiteX6" fmla="*/ 64342 w 81112"/>
                      <a:gd name="connsiteY6" fmla="*/ 3412 h 87593"/>
                      <a:gd name="connsiteX7" fmla="*/ 81081 w 81112"/>
                      <a:gd name="connsiteY7" fmla="*/ 29990 h 87593"/>
                      <a:gd name="connsiteX8" fmla="*/ 74557 w 81112"/>
                      <a:gd name="connsiteY8" fmla="*/ 58104 h 87593"/>
                      <a:gd name="connsiteX9" fmla="*/ 37443 w 81112"/>
                      <a:gd name="connsiteY9" fmla="*/ 87594 h 87593"/>
                      <a:gd name="connsiteX10" fmla="*/ 47888 w 81112"/>
                      <a:gd name="connsiteY10" fmla="*/ 22950 h 87593"/>
                      <a:gd name="connsiteX11" fmla="*/ 24200 w 81112"/>
                      <a:gd name="connsiteY11" fmla="*/ 34714 h 87593"/>
                      <a:gd name="connsiteX12" fmla="*/ 34921 w 81112"/>
                      <a:gd name="connsiteY12" fmla="*/ 64043 h 87593"/>
                      <a:gd name="connsiteX13" fmla="*/ 53770 w 81112"/>
                      <a:gd name="connsiteY13" fmla="*/ 48450 h 87593"/>
                      <a:gd name="connsiteX14" fmla="*/ 58196 w 81112"/>
                      <a:gd name="connsiteY14" fmla="*/ 30873 h 87593"/>
                      <a:gd name="connsiteX15" fmla="*/ 54710 w 81112"/>
                      <a:gd name="connsiteY15" fmla="*/ 24223 h 87593"/>
                      <a:gd name="connsiteX16" fmla="*/ 54710 w 81112"/>
                      <a:gd name="connsiteY16" fmla="*/ 24223 h 87593"/>
                      <a:gd name="connsiteX17" fmla="*/ 47888 w 81112"/>
                      <a:gd name="connsiteY17" fmla="*/ 22950 h 8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112" h="87593">
                        <a:moveTo>
                          <a:pt x="37443" y="87594"/>
                        </a:moveTo>
                        <a:cubicBezTo>
                          <a:pt x="33350" y="87594"/>
                          <a:pt x="29234" y="86699"/>
                          <a:pt x="25255" y="84853"/>
                        </a:cubicBezTo>
                        <a:cubicBezTo>
                          <a:pt x="5029" y="75463"/>
                          <a:pt x="-6000" y="45285"/>
                          <a:pt x="3390" y="25060"/>
                        </a:cubicBezTo>
                        <a:cubicBezTo>
                          <a:pt x="12666" y="5086"/>
                          <a:pt x="43990" y="-6035"/>
                          <a:pt x="64342" y="3412"/>
                        </a:cubicBezTo>
                        <a:lnTo>
                          <a:pt x="64342" y="3412"/>
                        </a:lnTo>
                        <a:lnTo>
                          <a:pt x="64342" y="3412"/>
                        </a:lnTo>
                        <a:lnTo>
                          <a:pt x="64342" y="3412"/>
                        </a:lnTo>
                        <a:cubicBezTo>
                          <a:pt x="74661" y="8205"/>
                          <a:pt x="80611" y="17642"/>
                          <a:pt x="81081" y="29990"/>
                        </a:cubicBezTo>
                        <a:cubicBezTo>
                          <a:pt x="81494" y="40722"/>
                          <a:pt x="77756" y="51202"/>
                          <a:pt x="74557" y="58104"/>
                        </a:cubicBezTo>
                        <a:cubicBezTo>
                          <a:pt x="65889" y="76782"/>
                          <a:pt x="51706" y="87594"/>
                          <a:pt x="37443" y="87594"/>
                        </a:cubicBezTo>
                        <a:close/>
                        <a:moveTo>
                          <a:pt x="47888" y="22950"/>
                        </a:moveTo>
                        <a:cubicBezTo>
                          <a:pt x="39048" y="22950"/>
                          <a:pt x="27502" y="27594"/>
                          <a:pt x="24200" y="34714"/>
                        </a:cubicBezTo>
                        <a:cubicBezTo>
                          <a:pt x="19889" y="44001"/>
                          <a:pt x="27009" y="60363"/>
                          <a:pt x="34921" y="64043"/>
                        </a:cubicBezTo>
                        <a:cubicBezTo>
                          <a:pt x="41903" y="67231"/>
                          <a:pt x="50170" y="56189"/>
                          <a:pt x="53770" y="48450"/>
                        </a:cubicBezTo>
                        <a:cubicBezTo>
                          <a:pt x="56763" y="42018"/>
                          <a:pt x="58368" y="35608"/>
                          <a:pt x="58196" y="30873"/>
                        </a:cubicBezTo>
                        <a:cubicBezTo>
                          <a:pt x="57990" y="25748"/>
                          <a:pt x="55949" y="24796"/>
                          <a:pt x="54710" y="24223"/>
                        </a:cubicBezTo>
                        <a:lnTo>
                          <a:pt x="54710" y="24223"/>
                        </a:lnTo>
                        <a:cubicBezTo>
                          <a:pt x="52853" y="23351"/>
                          <a:pt x="50491" y="22950"/>
                          <a:pt x="47888" y="22950"/>
                        </a:cubicBezTo>
                        <a:close/>
                      </a:path>
                    </a:pathLst>
                  </a:custGeom>
                  <a:grpFill/>
                  <a:ln w="1145" cap="flat">
                    <a:noFill/>
                    <a:prstDash val="solid"/>
                    <a:miter/>
                  </a:ln>
                </p:spPr>
                <p:txBody>
                  <a:bodyPr rtlCol="0" anchor="ctr"/>
                  <a:lstStyle/>
                  <a:p>
                    <a:endParaRPr lang="en-GB" dirty="0"/>
                  </a:p>
                </p:txBody>
              </p:sp>
              <p:sp>
                <p:nvSpPr>
                  <p:cNvPr id="485" name="Freeform: Shape 484">
                    <a:extLst>
                      <a:ext uri="{FF2B5EF4-FFF2-40B4-BE49-F238E27FC236}">
                        <a16:creationId xmlns:a16="http://schemas.microsoft.com/office/drawing/2014/main" id="{8215B802-55B9-4989-9B90-F59C47D7574C}"/>
                      </a:ext>
                    </a:extLst>
                  </p:cNvPr>
                  <p:cNvSpPr/>
                  <p:nvPr/>
                </p:nvSpPr>
                <p:spPr>
                  <a:xfrm>
                    <a:off x="5419457" y="4726931"/>
                    <a:ext cx="66108" cy="42994"/>
                  </a:xfrm>
                  <a:custGeom>
                    <a:avLst/>
                    <a:gdLst>
                      <a:gd name="connsiteX0" fmla="*/ 54627 w 66108"/>
                      <a:gd name="connsiteY0" fmla="*/ 42995 h 42994"/>
                      <a:gd name="connsiteX1" fmla="*/ 49812 w 66108"/>
                      <a:gd name="connsiteY1" fmla="*/ 41928 h 42994"/>
                      <a:gd name="connsiteX2" fmla="*/ 6643 w 66108"/>
                      <a:gd name="connsiteY2" fmla="*/ 21874 h 42994"/>
                      <a:gd name="connsiteX3" fmla="*/ 1071 w 66108"/>
                      <a:gd name="connsiteY3" fmla="*/ 6648 h 42994"/>
                      <a:gd name="connsiteX4" fmla="*/ 16298 w 66108"/>
                      <a:gd name="connsiteY4" fmla="*/ 1076 h 42994"/>
                      <a:gd name="connsiteX5" fmla="*/ 59466 w 66108"/>
                      <a:gd name="connsiteY5" fmla="*/ 21129 h 42994"/>
                      <a:gd name="connsiteX6" fmla="*/ 65038 w 66108"/>
                      <a:gd name="connsiteY6" fmla="*/ 36356 h 42994"/>
                      <a:gd name="connsiteX7" fmla="*/ 54627 w 66108"/>
                      <a:gd name="connsiteY7" fmla="*/ 42995 h 42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108" h="42994">
                        <a:moveTo>
                          <a:pt x="54627" y="42995"/>
                        </a:moveTo>
                        <a:cubicBezTo>
                          <a:pt x="53011" y="42995"/>
                          <a:pt x="51371" y="42662"/>
                          <a:pt x="49812" y="41928"/>
                        </a:cubicBezTo>
                        <a:lnTo>
                          <a:pt x="6643" y="21874"/>
                        </a:lnTo>
                        <a:cubicBezTo>
                          <a:pt x="899" y="19203"/>
                          <a:pt x="-1601" y="12381"/>
                          <a:pt x="1071" y="6648"/>
                        </a:cubicBezTo>
                        <a:cubicBezTo>
                          <a:pt x="3731" y="904"/>
                          <a:pt x="10553" y="-1607"/>
                          <a:pt x="16298" y="1076"/>
                        </a:cubicBezTo>
                        <a:lnTo>
                          <a:pt x="59466" y="21129"/>
                        </a:lnTo>
                        <a:cubicBezTo>
                          <a:pt x="65210" y="23801"/>
                          <a:pt x="67709" y="30623"/>
                          <a:pt x="65038" y="36356"/>
                        </a:cubicBezTo>
                        <a:cubicBezTo>
                          <a:pt x="63089" y="40541"/>
                          <a:pt x="58950" y="42995"/>
                          <a:pt x="54627" y="42995"/>
                        </a:cubicBezTo>
                        <a:close/>
                      </a:path>
                    </a:pathLst>
                  </a:custGeom>
                  <a:grpFill/>
                  <a:ln w="1145" cap="flat">
                    <a:noFill/>
                    <a:prstDash val="solid"/>
                    <a:miter/>
                  </a:ln>
                </p:spPr>
                <p:txBody>
                  <a:bodyPr rtlCol="0" anchor="ctr"/>
                  <a:lstStyle/>
                  <a:p>
                    <a:endParaRPr lang="en-GB" dirty="0"/>
                  </a:p>
                </p:txBody>
              </p:sp>
            </p:grpSp>
            <p:grpSp>
              <p:nvGrpSpPr>
                <p:cNvPr id="456" name="Graphic 48">
                  <a:extLst>
                    <a:ext uri="{FF2B5EF4-FFF2-40B4-BE49-F238E27FC236}">
                      <a16:creationId xmlns:a16="http://schemas.microsoft.com/office/drawing/2014/main" id="{90161A90-1DE9-4C55-B69B-A7AE67163812}"/>
                    </a:ext>
                  </a:extLst>
                </p:cNvPr>
                <p:cNvGrpSpPr/>
                <p:nvPr/>
              </p:nvGrpSpPr>
              <p:grpSpPr>
                <a:xfrm>
                  <a:off x="5170802" y="4420190"/>
                  <a:ext cx="377811" cy="219909"/>
                  <a:chOff x="5170802" y="4420190"/>
                  <a:chExt cx="377811" cy="219909"/>
                </a:xfrm>
                <a:grpFill/>
              </p:grpSpPr>
              <p:grpSp>
                <p:nvGrpSpPr>
                  <p:cNvPr id="475" name="Graphic 48">
                    <a:extLst>
                      <a:ext uri="{FF2B5EF4-FFF2-40B4-BE49-F238E27FC236}">
                        <a16:creationId xmlns:a16="http://schemas.microsoft.com/office/drawing/2014/main" id="{81D74519-3EED-404C-8E02-9BBA6B15E34D}"/>
                      </a:ext>
                    </a:extLst>
                  </p:cNvPr>
                  <p:cNvGrpSpPr/>
                  <p:nvPr/>
                </p:nvGrpSpPr>
                <p:grpSpPr>
                  <a:xfrm>
                    <a:off x="5346948" y="4427780"/>
                    <a:ext cx="90299" cy="121339"/>
                    <a:chOff x="5346948" y="4427780"/>
                    <a:chExt cx="90299" cy="121339"/>
                  </a:xfrm>
                  <a:grpFill/>
                </p:grpSpPr>
                <p:sp>
                  <p:nvSpPr>
                    <p:cNvPr id="482" name="Freeform: Shape 481">
                      <a:extLst>
                        <a:ext uri="{FF2B5EF4-FFF2-40B4-BE49-F238E27FC236}">
                          <a16:creationId xmlns:a16="http://schemas.microsoft.com/office/drawing/2014/main" id="{5830DCAC-F0F9-4111-BC83-39877A681C4E}"/>
                        </a:ext>
                      </a:extLst>
                    </p:cNvPr>
                    <p:cNvSpPr/>
                    <p:nvPr/>
                  </p:nvSpPr>
                  <p:spPr>
                    <a:xfrm>
                      <a:off x="5348760" y="4427780"/>
                      <a:ext cx="88487" cy="80475"/>
                    </a:xfrm>
                    <a:custGeom>
                      <a:avLst/>
                      <a:gdLst>
                        <a:gd name="connsiteX0" fmla="*/ 40925 w 88487"/>
                        <a:gd name="connsiteY0" fmla="*/ 80475 h 80475"/>
                        <a:gd name="connsiteX1" fmla="*/ 25045 w 88487"/>
                        <a:gd name="connsiteY1" fmla="*/ 77185 h 80475"/>
                        <a:gd name="connsiteX2" fmla="*/ 3466 w 88487"/>
                        <a:gd name="connsiteY2" fmla="*/ 17277 h 80475"/>
                        <a:gd name="connsiteX3" fmla="*/ 20172 w 88487"/>
                        <a:gd name="connsiteY3" fmla="*/ 2108 h 80475"/>
                        <a:gd name="connsiteX4" fmla="*/ 58433 w 88487"/>
                        <a:gd name="connsiteY4" fmla="*/ 6178 h 80475"/>
                        <a:gd name="connsiteX5" fmla="*/ 81490 w 88487"/>
                        <a:gd name="connsiteY5" fmla="*/ 23560 h 80475"/>
                        <a:gd name="connsiteX6" fmla="*/ 85698 w 88487"/>
                        <a:gd name="connsiteY6" fmla="*/ 54678 h 80475"/>
                        <a:gd name="connsiteX7" fmla="*/ 40925 w 88487"/>
                        <a:gd name="connsiteY7" fmla="*/ 80475 h 80475"/>
                        <a:gd name="connsiteX8" fmla="*/ 32956 w 88487"/>
                        <a:gd name="connsiteY8" fmla="*/ 22929 h 80475"/>
                        <a:gd name="connsiteX9" fmla="*/ 27946 w 88487"/>
                        <a:gd name="connsiteY9" fmla="*/ 23674 h 80475"/>
                        <a:gd name="connsiteX10" fmla="*/ 24231 w 88487"/>
                        <a:gd name="connsiteY10" fmla="*/ 27034 h 80475"/>
                        <a:gd name="connsiteX11" fmla="*/ 34814 w 88487"/>
                        <a:gd name="connsiteY11" fmla="*/ 56432 h 80475"/>
                        <a:gd name="connsiteX12" fmla="*/ 64945 w 88487"/>
                        <a:gd name="connsiteY12" fmla="*/ 44909 h 80475"/>
                        <a:gd name="connsiteX13" fmla="*/ 63340 w 88487"/>
                        <a:gd name="connsiteY13" fmla="*/ 37571 h 80475"/>
                        <a:gd name="connsiteX14" fmla="*/ 48675 w 88487"/>
                        <a:gd name="connsiteY14" fmla="*/ 26919 h 80475"/>
                        <a:gd name="connsiteX15" fmla="*/ 32956 w 88487"/>
                        <a:gd name="connsiteY15" fmla="*/ 22929 h 80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8487" h="80475">
                          <a:moveTo>
                            <a:pt x="40925" y="80475"/>
                          </a:moveTo>
                          <a:cubicBezTo>
                            <a:pt x="35284" y="80475"/>
                            <a:pt x="29837" y="79432"/>
                            <a:pt x="25045" y="77185"/>
                          </a:cubicBezTo>
                          <a:cubicBezTo>
                            <a:pt x="4865" y="67680"/>
                            <a:pt x="-6016" y="37445"/>
                            <a:pt x="3466" y="17277"/>
                          </a:cubicBezTo>
                          <a:cubicBezTo>
                            <a:pt x="6860" y="10065"/>
                            <a:pt x="12639" y="4813"/>
                            <a:pt x="20172" y="2108"/>
                          </a:cubicBezTo>
                          <a:cubicBezTo>
                            <a:pt x="30824" y="-1756"/>
                            <a:pt x="44777" y="-254"/>
                            <a:pt x="58433" y="6178"/>
                          </a:cubicBezTo>
                          <a:cubicBezTo>
                            <a:pt x="65324" y="9411"/>
                            <a:pt x="74921" y="15052"/>
                            <a:pt x="81490" y="23560"/>
                          </a:cubicBezTo>
                          <a:cubicBezTo>
                            <a:pt x="89046" y="33340"/>
                            <a:pt x="90537" y="44381"/>
                            <a:pt x="85698" y="54678"/>
                          </a:cubicBezTo>
                          <a:cubicBezTo>
                            <a:pt x="78452" y="70099"/>
                            <a:pt x="58719" y="80475"/>
                            <a:pt x="40925" y="80475"/>
                          </a:cubicBezTo>
                          <a:close/>
                          <a:moveTo>
                            <a:pt x="32956" y="22929"/>
                          </a:moveTo>
                          <a:cubicBezTo>
                            <a:pt x="31053" y="22929"/>
                            <a:pt x="29356" y="23170"/>
                            <a:pt x="27946" y="23674"/>
                          </a:cubicBezTo>
                          <a:cubicBezTo>
                            <a:pt x="26146" y="24328"/>
                            <a:pt x="25022" y="25337"/>
                            <a:pt x="24231" y="27034"/>
                          </a:cubicBezTo>
                          <a:cubicBezTo>
                            <a:pt x="20516" y="34922"/>
                            <a:pt x="25549" y="52075"/>
                            <a:pt x="34814" y="56432"/>
                          </a:cubicBezTo>
                          <a:cubicBezTo>
                            <a:pt x="44043" y="60709"/>
                            <a:pt x="61139" y="53015"/>
                            <a:pt x="64945" y="44909"/>
                          </a:cubicBezTo>
                          <a:cubicBezTo>
                            <a:pt x="65530" y="43693"/>
                            <a:pt x="66493" y="41641"/>
                            <a:pt x="63340" y="37571"/>
                          </a:cubicBezTo>
                          <a:cubicBezTo>
                            <a:pt x="60439" y="33822"/>
                            <a:pt x="55096" y="29935"/>
                            <a:pt x="48675" y="26919"/>
                          </a:cubicBezTo>
                          <a:cubicBezTo>
                            <a:pt x="43161" y="24328"/>
                            <a:pt x="37496" y="22929"/>
                            <a:pt x="32956" y="22929"/>
                          </a:cubicBezTo>
                          <a:close/>
                        </a:path>
                      </a:pathLst>
                    </a:custGeom>
                    <a:grpFill/>
                    <a:ln w="1145" cap="flat">
                      <a:noFill/>
                      <a:prstDash val="solid"/>
                      <a:miter/>
                    </a:ln>
                  </p:spPr>
                  <p:txBody>
                    <a:bodyPr rtlCol="0" anchor="ctr"/>
                    <a:lstStyle/>
                    <a:p>
                      <a:endParaRPr lang="en-GB" dirty="0"/>
                    </a:p>
                  </p:txBody>
                </p:sp>
                <p:sp>
                  <p:nvSpPr>
                    <p:cNvPr id="483" name="Freeform: Shape 482">
                      <a:extLst>
                        <a:ext uri="{FF2B5EF4-FFF2-40B4-BE49-F238E27FC236}">
                          <a16:creationId xmlns:a16="http://schemas.microsoft.com/office/drawing/2014/main" id="{56C33389-4D9D-4B5E-864F-F291B3359A8C}"/>
                        </a:ext>
                      </a:extLst>
                    </p:cNvPr>
                    <p:cNvSpPr/>
                    <p:nvPr/>
                  </p:nvSpPr>
                  <p:spPr>
                    <a:xfrm>
                      <a:off x="5346948" y="4483112"/>
                      <a:ext cx="43200" cy="66007"/>
                    </a:xfrm>
                    <a:custGeom>
                      <a:avLst/>
                      <a:gdLst>
                        <a:gd name="connsiteX0" fmla="*/ 11459 w 43200"/>
                        <a:gd name="connsiteY0" fmla="*/ 66008 h 66007"/>
                        <a:gd name="connsiteX1" fmla="*/ 6586 w 43200"/>
                        <a:gd name="connsiteY1" fmla="*/ 64918 h 66007"/>
                        <a:gd name="connsiteX2" fmla="*/ 1094 w 43200"/>
                        <a:gd name="connsiteY2" fmla="*/ 49658 h 66007"/>
                        <a:gd name="connsiteX3" fmla="*/ 21354 w 43200"/>
                        <a:gd name="connsiteY3" fmla="*/ 6581 h 66007"/>
                        <a:gd name="connsiteX4" fmla="*/ 36615 w 43200"/>
                        <a:gd name="connsiteY4" fmla="*/ 1089 h 66007"/>
                        <a:gd name="connsiteX5" fmla="*/ 42107 w 43200"/>
                        <a:gd name="connsiteY5" fmla="*/ 16350 h 66007"/>
                        <a:gd name="connsiteX6" fmla="*/ 21847 w 43200"/>
                        <a:gd name="connsiteY6" fmla="*/ 59426 h 66007"/>
                        <a:gd name="connsiteX7" fmla="*/ 11459 w 43200"/>
                        <a:gd name="connsiteY7" fmla="*/ 66008 h 6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00" h="66007">
                          <a:moveTo>
                            <a:pt x="11459" y="66008"/>
                          </a:moveTo>
                          <a:cubicBezTo>
                            <a:pt x="9819" y="66008"/>
                            <a:pt x="8168" y="65664"/>
                            <a:pt x="6586" y="64918"/>
                          </a:cubicBezTo>
                          <a:cubicBezTo>
                            <a:pt x="853" y="62224"/>
                            <a:pt x="-1601" y="55390"/>
                            <a:pt x="1094" y="49658"/>
                          </a:cubicBezTo>
                          <a:lnTo>
                            <a:pt x="21354" y="6581"/>
                          </a:lnTo>
                          <a:cubicBezTo>
                            <a:pt x="24048" y="848"/>
                            <a:pt x="30870" y="-1594"/>
                            <a:pt x="36615" y="1089"/>
                          </a:cubicBezTo>
                          <a:cubicBezTo>
                            <a:pt x="42347" y="3783"/>
                            <a:pt x="44801" y="10617"/>
                            <a:pt x="42107" y="16350"/>
                          </a:cubicBezTo>
                          <a:lnTo>
                            <a:pt x="21847" y="59426"/>
                          </a:lnTo>
                          <a:cubicBezTo>
                            <a:pt x="19886" y="63577"/>
                            <a:pt x="15770" y="66008"/>
                            <a:pt x="11459" y="66008"/>
                          </a:cubicBezTo>
                          <a:close/>
                        </a:path>
                      </a:pathLst>
                    </a:custGeom>
                    <a:grpFill/>
                    <a:ln w="1145" cap="flat">
                      <a:noFill/>
                      <a:prstDash val="solid"/>
                      <a:miter/>
                    </a:ln>
                  </p:spPr>
                  <p:txBody>
                    <a:bodyPr rtlCol="0" anchor="ctr"/>
                    <a:lstStyle/>
                    <a:p>
                      <a:endParaRPr lang="en-GB" dirty="0"/>
                    </a:p>
                  </p:txBody>
                </p:sp>
              </p:grpSp>
              <p:grpSp>
                <p:nvGrpSpPr>
                  <p:cNvPr id="476" name="Graphic 48">
                    <a:extLst>
                      <a:ext uri="{FF2B5EF4-FFF2-40B4-BE49-F238E27FC236}">
                        <a16:creationId xmlns:a16="http://schemas.microsoft.com/office/drawing/2014/main" id="{63D634B3-7BA3-4C77-B3A6-7ABE51179480}"/>
                      </a:ext>
                    </a:extLst>
                  </p:cNvPr>
                  <p:cNvGrpSpPr/>
                  <p:nvPr/>
                </p:nvGrpSpPr>
                <p:grpSpPr>
                  <a:xfrm>
                    <a:off x="5424978" y="4551670"/>
                    <a:ext cx="123635" cy="88428"/>
                    <a:chOff x="5424978" y="4551670"/>
                    <a:chExt cx="123635" cy="88428"/>
                  </a:xfrm>
                  <a:grpFill/>
                </p:grpSpPr>
                <p:sp>
                  <p:nvSpPr>
                    <p:cNvPr id="480" name="Freeform: Shape 479">
                      <a:extLst>
                        <a:ext uri="{FF2B5EF4-FFF2-40B4-BE49-F238E27FC236}">
                          <a16:creationId xmlns:a16="http://schemas.microsoft.com/office/drawing/2014/main" id="{C9B914BD-E2E7-499F-8896-243FE290C170}"/>
                        </a:ext>
                      </a:extLst>
                    </p:cNvPr>
                    <p:cNvSpPr/>
                    <p:nvPr/>
                  </p:nvSpPr>
                  <p:spPr>
                    <a:xfrm>
                      <a:off x="5468334" y="4551670"/>
                      <a:ext cx="80279" cy="88428"/>
                    </a:xfrm>
                    <a:custGeom>
                      <a:avLst/>
                      <a:gdLst>
                        <a:gd name="connsiteX0" fmla="*/ 48242 w 80279"/>
                        <a:gd name="connsiteY0" fmla="*/ 88429 h 88428"/>
                        <a:gd name="connsiteX1" fmla="*/ 26996 w 80279"/>
                        <a:gd name="connsiteY1" fmla="*/ 83717 h 88428"/>
                        <a:gd name="connsiteX2" fmla="*/ 2104 w 80279"/>
                        <a:gd name="connsiteY2" fmla="*/ 59375 h 88428"/>
                        <a:gd name="connsiteX3" fmla="*/ 29186 w 80279"/>
                        <a:gd name="connsiteY3" fmla="*/ 1771 h 88428"/>
                        <a:gd name="connsiteX4" fmla="*/ 75908 w 80279"/>
                        <a:gd name="connsiteY4" fmla="*/ 32774 h 88428"/>
                        <a:gd name="connsiteX5" fmla="*/ 79921 w 80279"/>
                        <a:gd name="connsiteY5" fmla="*/ 61370 h 88428"/>
                        <a:gd name="connsiteX6" fmla="*/ 60888 w 80279"/>
                        <a:gd name="connsiteY6" fmla="*/ 86342 h 88428"/>
                        <a:gd name="connsiteX7" fmla="*/ 60888 w 80279"/>
                        <a:gd name="connsiteY7" fmla="*/ 86342 h 88428"/>
                        <a:gd name="connsiteX8" fmla="*/ 48242 w 80279"/>
                        <a:gd name="connsiteY8" fmla="*/ 88429 h 88428"/>
                        <a:gd name="connsiteX9" fmla="*/ 39035 w 80279"/>
                        <a:gd name="connsiteY9" fmla="*/ 22971 h 88428"/>
                        <a:gd name="connsiteX10" fmla="*/ 36959 w 80279"/>
                        <a:gd name="connsiteY10" fmla="*/ 23327 h 88428"/>
                        <a:gd name="connsiteX11" fmla="*/ 23671 w 80279"/>
                        <a:gd name="connsiteY11" fmla="*/ 51601 h 88428"/>
                        <a:gd name="connsiteX12" fmla="*/ 36226 w 80279"/>
                        <a:gd name="connsiteY12" fmla="*/ 62723 h 88428"/>
                        <a:gd name="connsiteX13" fmla="*/ 53126 w 80279"/>
                        <a:gd name="connsiteY13" fmla="*/ 64775 h 88428"/>
                        <a:gd name="connsiteX14" fmla="*/ 53126 w 80279"/>
                        <a:gd name="connsiteY14" fmla="*/ 64775 h 88428"/>
                        <a:gd name="connsiteX15" fmla="*/ 57185 w 80279"/>
                        <a:gd name="connsiteY15" fmla="*/ 58458 h 88428"/>
                        <a:gd name="connsiteX16" fmla="*/ 54353 w 80279"/>
                        <a:gd name="connsiteY16" fmla="*/ 40548 h 88428"/>
                        <a:gd name="connsiteX17" fmla="*/ 39035 w 80279"/>
                        <a:gd name="connsiteY17" fmla="*/ 22971 h 8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0279" h="88428">
                          <a:moveTo>
                            <a:pt x="48242" y="88429"/>
                          </a:moveTo>
                          <a:cubicBezTo>
                            <a:pt x="41419" y="88429"/>
                            <a:pt x="34116" y="86835"/>
                            <a:pt x="26996" y="83717"/>
                          </a:cubicBezTo>
                          <a:cubicBezTo>
                            <a:pt x="14819" y="78362"/>
                            <a:pt x="5738" y="69499"/>
                            <a:pt x="2104" y="59375"/>
                          </a:cubicBezTo>
                          <a:cubicBezTo>
                            <a:pt x="-5452" y="38393"/>
                            <a:pt x="8215" y="9316"/>
                            <a:pt x="29186" y="1771"/>
                          </a:cubicBezTo>
                          <a:cubicBezTo>
                            <a:pt x="47726" y="-4936"/>
                            <a:pt x="66908" y="7837"/>
                            <a:pt x="75908" y="32774"/>
                          </a:cubicBezTo>
                          <a:cubicBezTo>
                            <a:pt x="78500" y="39952"/>
                            <a:pt x="81286" y="50718"/>
                            <a:pt x="79921" y="61370"/>
                          </a:cubicBezTo>
                          <a:cubicBezTo>
                            <a:pt x="78351" y="73615"/>
                            <a:pt x="71586" y="82490"/>
                            <a:pt x="60888" y="86342"/>
                          </a:cubicBezTo>
                          <a:lnTo>
                            <a:pt x="60888" y="86342"/>
                          </a:lnTo>
                          <a:cubicBezTo>
                            <a:pt x="57013" y="87741"/>
                            <a:pt x="52736" y="88429"/>
                            <a:pt x="48242" y="88429"/>
                          </a:cubicBezTo>
                          <a:close/>
                          <a:moveTo>
                            <a:pt x="39035" y="22971"/>
                          </a:moveTo>
                          <a:cubicBezTo>
                            <a:pt x="38335" y="22971"/>
                            <a:pt x="37659" y="23086"/>
                            <a:pt x="36959" y="23327"/>
                          </a:cubicBezTo>
                          <a:cubicBezTo>
                            <a:pt x="28762" y="26285"/>
                            <a:pt x="20197" y="41958"/>
                            <a:pt x="23671" y="51601"/>
                          </a:cubicBezTo>
                          <a:cubicBezTo>
                            <a:pt x="25161" y="55706"/>
                            <a:pt x="29965" y="59960"/>
                            <a:pt x="36226" y="62723"/>
                          </a:cubicBezTo>
                          <a:cubicBezTo>
                            <a:pt x="42383" y="65429"/>
                            <a:pt x="49021" y="66220"/>
                            <a:pt x="53126" y="64775"/>
                          </a:cubicBezTo>
                          <a:lnTo>
                            <a:pt x="53126" y="64775"/>
                          </a:lnTo>
                          <a:cubicBezTo>
                            <a:pt x="54399" y="64316"/>
                            <a:pt x="56531" y="63548"/>
                            <a:pt x="57185" y="58458"/>
                          </a:cubicBezTo>
                          <a:cubicBezTo>
                            <a:pt x="57781" y="53757"/>
                            <a:pt x="56749" y="47233"/>
                            <a:pt x="54353" y="40548"/>
                          </a:cubicBezTo>
                          <a:cubicBezTo>
                            <a:pt x="51739" y="33302"/>
                            <a:pt x="45524" y="22971"/>
                            <a:pt x="39035" y="22971"/>
                          </a:cubicBezTo>
                          <a:close/>
                        </a:path>
                      </a:pathLst>
                    </a:custGeom>
                    <a:grpFill/>
                    <a:ln w="1145" cap="flat">
                      <a:noFill/>
                      <a:prstDash val="solid"/>
                      <a:miter/>
                    </a:ln>
                  </p:spPr>
                  <p:txBody>
                    <a:bodyPr rtlCol="0" anchor="ctr"/>
                    <a:lstStyle/>
                    <a:p>
                      <a:endParaRPr lang="en-GB" dirty="0"/>
                    </a:p>
                  </p:txBody>
                </p:sp>
                <p:sp>
                  <p:nvSpPr>
                    <p:cNvPr id="481" name="Freeform: Shape 480">
                      <a:extLst>
                        <a:ext uri="{FF2B5EF4-FFF2-40B4-BE49-F238E27FC236}">
                          <a16:creationId xmlns:a16="http://schemas.microsoft.com/office/drawing/2014/main" id="{525D4674-B90C-4F68-A4EF-B02959DF1D86}"/>
                        </a:ext>
                      </a:extLst>
                    </p:cNvPr>
                    <p:cNvSpPr/>
                    <p:nvPr/>
                  </p:nvSpPr>
                  <p:spPr>
                    <a:xfrm>
                      <a:off x="5424978" y="4595673"/>
                      <a:ext cx="67711" cy="39071"/>
                    </a:xfrm>
                    <a:custGeom>
                      <a:avLst/>
                      <a:gdLst>
                        <a:gd name="connsiteX0" fmla="*/ 11463 w 67711"/>
                        <a:gd name="connsiteY0" fmla="*/ 39072 h 39071"/>
                        <a:gd name="connsiteX1" fmla="*/ 686 w 67711"/>
                        <a:gd name="connsiteY1" fmla="*/ 31493 h 39071"/>
                        <a:gd name="connsiteX2" fmla="*/ 7588 w 67711"/>
                        <a:gd name="connsiteY2" fmla="*/ 16828 h 39071"/>
                        <a:gd name="connsiteX3" fmla="*/ 52362 w 67711"/>
                        <a:gd name="connsiteY3" fmla="*/ 696 h 39071"/>
                        <a:gd name="connsiteX4" fmla="*/ 67026 w 67711"/>
                        <a:gd name="connsiteY4" fmla="*/ 7599 h 39071"/>
                        <a:gd name="connsiteX5" fmla="*/ 60124 w 67711"/>
                        <a:gd name="connsiteY5" fmla="*/ 22263 h 39071"/>
                        <a:gd name="connsiteX6" fmla="*/ 15351 w 67711"/>
                        <a:gd name="connsiteY6" fmla="*/ 38395 h 39071"/>
                        <a:gd name="connsiteX7" fmla="*/ 11463 w 67711"/>
                        <a:gd name="connsiteY7" fmla="*/ 39072 h 39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711" h="39071">
                          <a:moveTo>
                            <a:pt x="11463" y="39072"/>
                          </a:moveTo>
                          <a:cubicBezTo>
                            <a:pt x="6774" y="39072"/>
                            <a:pt x="2360" y="36171"/>
                            <a:pt x="686" y="31493"/>
                          </a:cubicBezTo>
                          <a:cubicBezTo>
                            <a:pt x="-1470" y="25531"/>
                            <a:pt x="1626" y="18961"/>
                            <a:pt x="7588" y="16828"/>
                          </a:cubicBezTo>
                          <a:lnTo>
                            <a:pt x="52362" y="696"/>
                          </a:lnTo>
                          <a:cubicBezTo>
                            <a:pt x="58289" y="-1482"/>
                            <a:pt x="64882" y="1625"/>
                            <a:pt x="67026" y="7599"/>
                          </a:cubicBezTo>
                          <a:cubicBezTo>
                            <a:pt x="69182" y="13561"/>
                            <a:pt x="66086" y="20131"/>
                            <a:pt x="60124" y="22263"/>
                          </a:cubicBezTo>
                          <a:lnTo>
                            <a:pt x="15351" y="38395"/>
                          </a:lnTo>
                          <a:cubicBezTo>
                            <a:pt x="14066" y="38854"/>
                            <a:pt x="12748" y="39072"/>
                            <a:pt x="11463" y="39072"/>
                          </a:cubicBezTo>
                          <a:close/>
                        </a:path>
                      </a:pathLst>
                    </a:custGeom>
                    <a:grpFill/>
                    <a:ln w="1145" cap="flat">
                      <a:noFill/>
                      <a:prstDash val="solid"/>
                      <a:miter/>
                    </a:ln>
                  </p:spPr>
                  <p:txBody>
                    <a:bodyPr rtlCol="0" anchor="ctr"/>
                    <a:lstStyle/>
                    <a:p>
                      <a:endParaRPr lang="en-GB" dirty="0"/>
                    </a:p>
                  </p:txBody>
                </p:sp>
              </p:grpSp>
              <p:grpSp>
                <p:nvGrpSpPr>
                  <p:cNvPr id="477" name="Graphic 48">
                    <a:extLst>
                      <a:ext uri="{FF2B5EF4-FFF2-40B4-BE49-F238E27FC236}">
                        <a16:creationId xmlns:a16="http://schemas.microsoft.com/office/drawing/2014/main" id="{2269CFDB-82DA-409A-A558-9ED05CA466CB}"/>
                      </a:ext>
                    </a:extLst>
                  </p:cNvPr>
                  <p:cNvGrpSpPr/>
                  <p:nvPr/>
                </p:nvGrpSpPr>
                <p:grpSpPr>
                  <a:xfrm>
                    <a:off x="5170802" y="4420190"/>
                    <a:ext cx="89217" cy="123230"/>
                    <a:chOff x="5170802" y="4420190"/>
                    <a:chExt cx="89217" cy="123230"/>
                  </a:xfrm>
                  <a:grpFill/>
                </p:grpSpPr>
                <p:sp>
                  <p:nvSpPr>
                    <p:cNvPr id="478" name="Freeform: Shape 477">
                      <a:extLst>
                        <a:ext uri="{FF2B5EF4-FFF2-40B4-BE49-F238E27FC236}">
                          <a16:creationId xmlns:a16="http://schemas.microsoft.com/office/drawing/2014/main" id="{C9880761-BB3B-4C33-90A8-86CD825F3B05}"/>
                        </a:ext>
                      </a:extLst>
                    </p:cNvPr>
                    <p:cNvSpPr/>
                    <p:nvPr/>
                  </p:nvSpPr>
                  <p:spPr>
                    <a:xfrm>
                      <a:off x="5170802" y="4420190"/>
                      <a:ext cx="89217" cy="79764"/>
                    </a:xfrm>
                    <a:custGeom>
                      <a:avLst/>
                      <a:gdLst>
                        <a:gd name="connsiteX0" fmla="*/ 47998 w 89217"/>
                        <a:gd name="connsiteY0" fmla="*/ 79765 h 79764"/>
                        <a:gd name="connsiteX1" fmla="*/ 1768 w 89217"/>
                        <a:gd name="connsiteY1" fmla="*/ 49713 h 79764"/>
                        <a:gd name="connsiteX2" fmla="*/ 1768 w 89217"/>
                        <a:gd name="connsiteY2" fmla="*/ 49702 h 79764"/>
                        <a:gd name="connsiteX3" fmla="*/ 33448 w 89217"/>
                        <a:gd name="connsiteY3" fmla="*/ 3977 h 79764"/>
                        <a:gd name="connsiteX4" fmla="*/ 62548 w 89217"/>
                        <a:gd name="connsiteY4" fmla="*/ 617 h 79764"/>
                        <a:gd name="connsiteX5" fmla="*/ 87142 w 89217"/>
                        <a:gd name="connsiteY5" fmla="*/ 20177 h 79764"/>
                        <a:gd name="connsiteX6" fmla="*/ 84379 w 89217"/>
                        <a:gd name="connsiteY6" fmla="*/ 53646 h 79764"/>
                        <a:gd name="connsiteX7" fmla="*/ 60048 w 89217"/>
                        <a:gd name="connsiteY7" fmla="*/ 77769 h 79764"/>
                        <a:gd name="connsiteX8" fmla="*/ 47998 w 89217"/>
                        <a:gd name="connsiteY8" fmla="*/ 79765 h 79764"/>
                        <a:gd name="connsiteX9" fmla="*/ 23335 w 89217"/>
                        <a:gd name="connsiteY9" fmla="*/ 41928 h 79764"/>
                        <a:gd name="connsiteX10" fmla="*/ 52252 w 89217"/>
                        <a:gd name="connsiteY10" fmla="*/ 56202 h 79764"/>
                        <a:gd name="connsiteX11" fmla="*/ 63522 w 89217"/>
                        <a:gd name="connsiteY11" fmla="*/ 44072 h 79764"/>
                        <a:gd name="connsiteX12" fmla="*/ 65563 w 89217"/>
                        <a:gd name="connsiteY12" fmla="*/ 27940 h 79764"/>
                        <a:gd name="connsiteX13" fmla="*/ 58718 w 89217"/>
                        <a:gd name="connsiteY13" fmla="*/ 23227 h 79764"/>
                        <a:gd name="connsiteX14" fmla="*/ 41222 w 89217"/>
                        <a:gd name="connsiteY14" fmla="*/ 25532 h 79764"/>
                        <a:gd name="connsiteX15" fmla="*/ 23335 w 89217"/>
                        <a:gd name="connsiteY15" fmla="*/ 41928 h 79764"/>
                        <a:gd name="connsiteX16" fmla="*/ 23335 w 89217"/>
                        <a:gd name="connsiteY16" fmla="*/ 41928 h 79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9217" h="79764">
                          <a:moveTo>
                            <a:pt x="47998" y="79765"/>
                          </a:moveTo>
                          <a:cubicBezTo>
                            <a:pt x="29171" y="79765"/>
                            <a:pt x="8006" y="66980"/>
                            <a:pt x="1768" y="49713"/>
                          </a:cubicBezTo>
                          <a:cubicBezTo>
                            <a:pt x="1768" y="49702"/>
                            <a:pt x="1768" y="49702"/>
                            <a:pt x="1768" y="49702"/>
                          </a:cubicBezTo>
                          <a:cubicBezTo>
                            <a:pt x="-4882" y="31242"/>
                            <a:pt x="7559" y="13287"/>
                            <a:pt x="33448" y="3977"/>
                          </a:cubicBezTo>
                          <a:cubicBezTo>
                            <a:pt x="43526" y="342"/>
                            <a:pt x="53868" y="-862"/>
                            <a:pt x="62548" y="617"/>
                          </a:cubicBezTo>
                          <a:cubicBezTo>
                            <a:pt x="74598" y="2658"/>
                            <a:pt x="83335" y="9595"/>
                            <a:pt x="87142" y="20177"/>
                          </a:cubicBezTo>
                          <a:cubicBezTo>
                            <a:pt x="90673" y="29958"/>
                            <a:pt x="89664" y="42146"/>
                            <a:pt x="84379" y="53646"/>
                          </a:cubicBezTo>
                          <a:cubicBezTo>
                            <a:pt x="79001" y="65352"/>
                            <a:pt x="70138" y="74146"/>
                            <a:pt x="60048" y="77769"/>
                          </a:cubicBezTo>
                          <a:cubicBezTo>
                            <a:pt x="56276" y="79134"/>
                            <a:pt x="52194" y="79765"/>
                            <a:pt x="47998" y="79765"/>
                          </a:cubicBezTo>
                          <a:close/>
                          <a:moveTo>
                            <a:pt x="23335" y="41928"/>
                          </a:moveTo>
                          <a:cubicBezTo>
                            <a:pt x="26397" y="50367"/>
                            <a:pt x="42701" y="59677"/>
                            <a:pt x="52252" y="56202"/>
                          </a:cubicBezTo>
                          <a:cubicBezTo>
                            <a:pt x="56471" y="54678"/>
                            <a:pt x="60782" y="50034"/>
                            <a:pt x="63522" y="44072"/>
                          </a:cubicBezTo>
                          <a:cubicBezTo>
                            <a:pt x="66183" y="38247"/>
                            <a:pt x="66997" y="31918"/>
                            <a:pt x="65563" y="27940"/>
                          </a:cubicBezTo>
                          <a:cubicBezTo>
                            <a:pt x="65116" y="26713"/>
                            <a:pt x="64199" y="24145"/>
                            <a:pt x="58718" y="23227"/>
                          </a:cubicBezTo>
                          <a:cubicBezTo>
                            <a:pt x="53937" y="22436"/>
                            <a:pt x="47528" y="23250"/>
                            <a:pt x="41222" y="25532"/>
                          </a:cubicBezTo>
                          <a:cubicBezTo>
                            <a:pt x="33941" y="28169"/>
                            <a:pt x="20824" y="34957"/>
                            <a:pt x="23335" y="41928"/>
                          </a:cubicBezTo>
                          <a:lnTo>
                            <a:pt x="23335" y="41928"/>
                          </a:lnTo>
                          <a:close/>
                        </a:path>
                      </a:pathLst>
                    </a:custGeom>
                    <a:grpFill/>
                    <a:ln w="1145" cap="flat">
                      <a:noFill/>
                      <a:prstDash val="solid"/>
                      <a:miter/>
                    </a:ln>
                  </p:spPr>
                  <p:txBody>
                    <a:bodyPr rtlCol="0" anchor="ctr"/>
                    <a:lstStyle/>
                    <a:p>
                      <a:endParaRPr lang="en-GB" dirty="0"/>
                    </a:p>
                  </p:txBody>
                </p:sp>
                <p:sp>
                  <p:nvSpPr>
                    <p:cNvPr id="479" name="Freeform: Shape 478">
                      <a:extLst>
                        <a:ext uri="{FF2B5EF4-FFF2-40B4-BE49-F238E27FC236}">
                          <a16:creationId xmlns:a16="http://schemas.microsoft.com/office/drawing/2014/main" id="{F3BF84E3-8989-4B83-85E6-91184F33C675}"/>
                        </a:ext>
                      </a:extLst>
                    </p:cNvPr>
                    <p:cNvSpPr/>
                    <p:nvPr/>
                  </p:nvSpPr>
                  <p:spPr>
                    <a:xfrm>
                      <a:off x="5215512" y="4475703"/>
                      <a:ext cx="39070" cy="67717"/>
                    </a:xfrm>
                    <a:custGeom>
                      <a:avLst/>
                      <a:gdLst>
                        <a:gd name="connsiteX0" fmla="*/ 27596 w 39070"/>
                        <a:gd name="connsiteY0" fmla="*/ 67718 h 67717"/>
                        <a:gd name="connsiteX1" fmla="*/ 16818 w 39070"/>
                        <a:gd name="connsiteY1" fmla="*/ 60139 h 67717"/>
                        <a:gd name="connsiteX2" fmla="*/ 686 w 39070"/>
                        <a:gd name="connsiteY2" fmla="*/ 15365 h 67717"/>
                        <a:gd name="connsiteX3" fmla="*/ 7588 w 39070"/>
                        <a:gd name="connsiteY3" fmla="*/ 701 h 67717"/>
                        <a:gd name="connsiteX4" fmla="*/ 22253 w 39070"/>
                        <a:gd name="connsiteY4" fmla="*/ 7603 h 67717"/>
                        <a:gd name="connsiteX5" fmla="*/ 38385 w 39070"/>
                        <a:gd name="connsiteY5" fmla="*/ 52377 h 67717"/>
                        <a:gd name="connsiteX6" fmla="*/ 31483 w 39070"/>
                        <a:gd name="connsiteY6" fmla="*/ 67041 h 67717"/>
                        <a:gd name="connsiteX7" fmla="*/ 27596 w 39070"/>
                        <a:gd name="connsiteY7" fmla="*/ 67718 h 6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70" h="67717">
                          <a:moveTo>
                            <a:pt x="27596" y="67718"/>
                          </a:moveTo>
                          <a:cubicBezTo>
                            <a:pt x="22906" y="67718"/>
                            <a:pt x="18492" y="64817"/>
                            <a:pt x="16818" y="60139"/>
                          </a:cubicBezTo>
                          <a:lnTo>
                            <a:pt x="686" y="15365"/>
                          </a:lnTo>
                          <a:cubicBezTo>
                            <a:pt x="-1470" y="9403"/>
                            <a:pt x="1626" y="2833"/>
                            <a:pt x="7588" y="701"/>
                          </a:cubicBezTo>
                          <a:cubicBezTo>
                            <a:pt x="13504" y="-1489"/>
                            <a:pt x="20120" y="1630"/>
                            <a:pt x="22253" y="7603"/>
                          </a:cubicBezTo>
                          <a:lnTo>
                            <a:pt x="38385" y="52377"/>
                          </a:lnTo>
                          <a:cubicBezTo>
                            <a:pt x="40541" y="58339"/>
                            <a:pt x="37445" y="64909"/>
                            <a:pt x="31483" y="67041"/>
                          </a:cubicBezTo>
                          <a:cubicBezTo>
                            <a:pt x="30210" y="67500"/>
                            <a:pt x="28891" y="67718"/>
                            <a:pt x="27596" y="67718"/>
                          </a:cubicBezTo>
                          <a:close/>
                        </a:path>
                      </a:pathLst>
                    </a:custGeom>
                    <a:grpFill/>
                    <a:ln w="1145" cap="flat">
                      <a:noFill/>
                      <a:prstDash val="solid"/>
                      <a:miter/>
                    </a:ln>
                  </p:spPr>
                  <p:txBody>
                    <a:bodyPr rtlCol="0" anchor="ctr"/>
                    <a:lstStyle/>
                    <a:p>
                      <a:endParaRPr lang="en-GB" dirty="0"/>
                    </a:p>
                  </p:txBody>
                </p:sp>
              </p:grpSp>
            </p:grpSp>
            <p:grpSp>
              <p:nvGrpSpPr>
                <p:cNvPr id="457" name="Graphic 48">
                  <a:extLst>
                    <a:ext uri="{FF2B5EF4-FFF2-40B4-BE49-F238E27FC236}">
                      <a16:creationId xmlns:a16="http://schemas.microsoft.com/office/drawing/2014/main" id="{47FBDF70-233E-4FB8-8898-21E91787F177}"/>
                    </a:ext>
                  </a:extLst>
                </p:cNvPr>
                <p:cNvGrpSpPr/>
                <p:nvPr/>
              </p:nvGrpSpPr>
              <p:grpSpPr>
                <a:xfrm>
                  <a:off x="5039756" y="4708956"/>
                  <a:ext cx="378110" cy="219275"/>
                  <a:chOff x="5039756" y="4708956"/>
                  <a:chExt cx="378110" cy="219275"/>
                </a:xfrm>
                <a:grpFill/>
              </p:grpSpPr>
              <p:grpSp>
                <p:nvGrpSpPr>
                  <p:cNvPr id="466" name="Graphic 48">
                    <a:extLst>
                      <a:ext uri="{FF2B5EF4-FFF2-40B4-BE49-F238E27FC236}">
                        <a16:creationId xmlns:a16="http://schemas.microsoft.com/office/drawing/2014/main" id="{D6E3780A-8432-462B-B888-30337585537A}"/>
                      </a:ext>
                    </a:extLst>
                  </p:cNvPr>
                  <p:cNvGrpSpPr/>
                  <p:nvPr/>
                </p:nvGrpSpPr>
                <p:grpSpPr>
                  <a:xfrm>
                    <a:off x="5151756" y="4799504"/>
                    <a:ext cx="89578" cy="121882"/>
                    <a:chOff x="5151756" y="4799504"/>
                    <a:chExt cx="89578" cy="121882"/>
                  </a:xfrm>
                  <a:grpFill/>
                </p:grpSpPr>
                <p:sp>
                  <p:nvSpPr>
                    <p:cNvPr id="473" name="Freeform: Shape 472">
                      <a:extLst>
                        <a:ext uri="{FF2B5EF4-FFF2-40B4-BE49-F238E27FC236}">
                          <a16:creationId xmlns:a16="http://schemas.microsoft.com/office/drawing/2014/main" id="{924E15DB-364E-4D14-B9E5-D0C857F8DCE2}"/>
                        </a:ext>
                      </a:extLst>
                    </p:cNvPr>
                    <p:cNvSpPr/>
                    <p:nvPr/>
                  </p:nvSpPr>
                  <p:spPr>
                    <a:xfrm>
                      <a:off x="5151756" y="4840219"/>
                      <a:ext cx="87540" cy="81167"/>
                    </a:xfrm>
                    <a:custGeom>
                      <a:avLst/>
                      <a:gdLst>
                        <a:gd name="connsiteX0" fmla="*/ 56003 w 87540"/>
                        <a:gd name="connsiteY0" fmla="*/ 81167 h 81167"/>
                        <a:gd name="connsiteX1" fmla="*/ 29356 w 87540"/>
                        <a:gd name="connsiteY1" fmla="*/ 74460 h 81167"/>
                        <a:gd name="connsiteX2" fmla="*/ 6414 w 87540"/>
                        <a:gd name="connsiteY2" fmla="*/ 56252 h 81167"/>
                        <a:gd name="connsiteX3" fmla="*/ 2848 w 87540"/>
                        <a:gd name="connsiteY3" fmla="*/ 25043 h 81167"/>
                        <a:gd name="connsiteX4" fmla="*/ 28474 w 87540"/>
                        <a:gd name="connsiteY4" fmla="*/ 3327 h 81167"/>
                        <a:gd name="connsiteX5" fmla="*/ 62733 w 87540"/>
                        <a:gd name="connsiteY5" fmla="*/ 3476 h 81167"/>
                        <a:gd name="connsiteX6" fmla="*/ 84632 w 87540"/>
                        <a:gd name="connsiteY6" fmla="*/ 30523 h 81167"/>
                        <a:gd name="connsiteX7" fmla="*/ 84082 w 87540"/>
                        <a:gd name="connsiteY7" fmla="*/ 64531 h 81167"/>
                        <a:gd name="connsiteX8" fmla="*/ 84082 w 87540"/>
                        <a:gd name="connsiteY8" fmla="*/ 64531 h 81167"/>
                        <a:gd name="connsiteX9" fmla="*/ 57424 w 87540"/>
                        <a:gd name="connsiteY9" fmla="*/ 81133 h 81167"/>
                        <a:gd name="connsiteX10" fmla="*/ 56003 w 87540"/>
                        <a:gd name="connsiteY10" fmla="*/ 81167 h 81167"/>
                        <a:gd name="connsiteX11" fmla="*/ 73717 w 87540"/>
                        <a:gd name="connsiteY11" fmla="*/ 59658 h 81167"/>
                        <a:gd name="connsiteX12" fmla="*/ 73832 w 87540"/>
                        <a:gd name="connsiteY12" fmla="*/ 59658 h 81167"/>
                        <a:gd name="connsiteX13" fmla="*/ 73717 w 87540"/>
                        <a:gd name="connsiteY13" fmla="*/ 59658 h 81167"/>
                        <a:gd name="connsiteX14" fmla="*/ 46360 w 87540"/>
                        <a:gd name="connsiteY14" fmla="*/ 22933 h 81167"/>
                        <a:gd name="connsiteX15" fmla="*/ 36454 w 87540"/>
                        <a:gd name="connsiteY15" fmla="*/ 24825 h 81167"/>
                        <a:gd name="connsiteX16" fmla="*/ 23612 w 87540"/>
                        <a:gd name="connsiteY16" fmla="*/ 34800 h 81167"/>
                        <a:gd name="connsiteX17" fmla="*/ 25103 w 87540"/>
                        <a:gd name="connsiteY17" fmla="*/ 42964 h 81167"/>
                        <a:gd name="connsiteX18" fmla="*/ 39125 w 87540"/>
                        <a:gd name="connsiteY18" fmla="*/ 53707 h 81167"/>
                        <a:gd name="connsiteX19" fmla="*/ 56679 w 87540"/>
                        <a:gd name="connsiteY19" fmla="*/ 58225 h 81167"/>
                        <a:gd name="connsiteX20" fmla="*/ 63341 w 87540"/>
                        <a:gd name="connsiteY20" fmla="*/ 54773 h 81167"/>
                        <a:gd name="connsiteX21" fmla="*/ 62894 w 87540"/>
                        <a:gd name="connsiteY21" fmla="*/ 37758 h 81167"/>
                        <a:gd name="connsiteX22" fmla="*/ 52987 w 87540"/>
                        <a:gd name="connsiteY22" fmla="*/ 24229 h 81167"/>
                        <a:gd name="connsiteX23" fmla="*/ 46360 w 87540"/>
                        <a:gd name="connsiteY23" fmla="*/ 22933 h 81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7540" h="81167">
                          <a:moveTo>
                            <a:pt x="56003" y="81167"/>
                          </a:moveTo>
                          <a:cubicBezTo>
                            <a:pt x="45764" y="81167"/>
                            <a:pt x="35926" y="77567"/>
                            <a:pt x="29356" y="74460"/>
                          </a:cubicBezTo>
                          <a:cubicBezTo>
                            <a:pt x="19679" y="69920"/>
                            <a:pt x="11527" y="63453"/>
                            <a:pt x="6414" y="56252"/>
                          </a:cubicBezTo>
                          <a:cubicBezTo>
                            <a:pt x="-661" y="46300"/>
                            <a:pt x="-1933" y="35213"/>
                            <a:pt x="2848" y="25043"/>
                          </a:cubicBezTo>
                          <a:cubicBezTo>
                            <a:pt x="7274" y="15653"/>
                            <a:pt x="16618" y="7730"/>
                            <a:pt x="28474" y="3327"/>
                          </a:cubicBezTo>
                          <a:cubicBezTo>
                            <a:pt x="40535" y="-1156"/>
                            <a:pt x="53033" y="-1110"/>
                            <a:pt x="62733" y="3476"/>
                          </a:cubicBezTo>
                          <a:cubicBezTo>
                            <a:pt x="72467" y="8039"/>
                            <a:pt x="80448" y="17911"/>
                            <a:pt x="84632" y="30523"/>
                          </a:cubicBezTo>
                          <a:cubicBezTo>
                            <a:pt x="88691" y="42746"/>
                            <a:pt x="88496" y="55140"/>
                            <a:pt x="84082" y="64531"/>
                          </a:cubicBezTo>
                          <a:lnTo>
                            <a:pt x="84082" y="64531"/>
                          </a:lnTo>
                          <a:cubicBezTo>
                            <a:pt x="79232" y="74816"/>
                            <a:pt x="69773" y="80720"/>
                            <a:pt x="57424" y="81133"/>
                          </a:cubicBezTo>
                          <a:cubicBezTo>
                            <a:pt x="56966" y="81156"/>
                            <a:pt x="56484" y="81167"/>
                            <a:pt x="56003" y="81167"/>
                          </a:cubicBezTo>
                          <a:close/>
                          <a:moveTo>
                            <a:pt x="73717" y="59658"/>
                          </a:moveTo>
                          <a:lnTo>
                            <a:pt x="73832" y="59658"/>
                          </a:lnTo>
                          <a:lnTo>
                            <a:pt x="73717" y="59658"/>
                          </a:lnTo>
                          <a:close/>
                          <a:moveTo>
                            <a:pt x="46360" y="22933"/>
                          </a:moveTo>
                          <a:cubicBezTo>
                            <a:pt x="43264" y="22933"/>
                            <a:pt x="39836" y="23575"/>
                            <a:pt x="36454" y="24825"/>
                          </a:cubicBezTo>
                          <a:cubicBezTo>
                            <a:pt x="30457" y="27049"/>
                            <a:pt x="25412" y="30971"/>
                            <a:pt x="23612" y="34800"/>
                          </a:cubicBezTo>
                          <a:cubicBezTo>
                            <a:pt x="23050" y="35992"/>
                            <a:pt x="21892" y="38434"/>
                            <a:pt x="25103" y="42964"/>
                          </a:cubicBezTo>
                          <a:cubicBezTo>
                            <a:pt x="27923" y="46931"/>
                            <a:pt x="33025" y="50852"/>
                            <a:pt x="39125" y="53707"/>
                          </a:cubicBezTo>
                          <a:cubicBezTo>
                            <a:pt x="45546" y="56734"/>
                            <a:pt x="51955" y="58167"/>
                            <a:pt x="56679" y="58225"/>
                          </a:cubicBezTo>
                          <a:cubicBezTo>
                            <a:pt x="61804" y="58041"/>
                            <a:pt x="62767" y="56000"/>
                            <a:pt x="63341" y="54773"/>
                          </a:cubicBezTo>
                          <a:cubicBezTo>
                            <a:pt x="65187" y="50841"/>
                            <a:pt x="65015" y="44156"/>
                            <a:pt x="62894" y="37758"/>
                          </a:cubicBezTo>
                          <a:cubicBezTo>
                            <a:pt x="60738" y="31280"/>
                            <a:pt x="56943" y="26086"/>
                            <a:pt x="52987" y="24229"/>
                          </a:cubicBezTo>
                          <a:cubicBezTo>
                            <a:pt x="51164" y="23369"/>
                            <a:pt x="48882" y="22933"/>
                            <a:pt x="46360" y="22933"/>
                          </a:cubicBezTo>
                          <a:close/>
                        </a:path>
                      </a:pathLst>
                    </a:custGeom>
                    <a:grpFill/>
                    <a:ln w="1145" cap="flat">
                      <a:noFill/>
                      <a:prstDash val="solid"/>
                      <a:miter/>
                    </a:ln>
                  </p:spPr>
                  <p:txBody>
                    <a:bodyPr rtlCol="0" anchor="ctr"/>
                    <a:lstStyle/>
                    <a:p>
                      <a:endParaRPr lang="en-GB" dirty="0"/>
                    </a:p>
                  </p:txBody>
                </p:sp>
                <p:sp>
                  <p:nvSpPr>
                    <p:cNvPr id="474" name="Freeform: Shape 473">
                      <a:extLst>
                        <a:ext uri="{FF2B5EF4-FFF2-40B4-BE49-F238E27FC236}">
                          <a16:creationId xmlns:a16="http://schemas.microsoft.com/office/drawing/2014/main" id="{012AB1AD-D06A-4969-9DC4-0916EE678D0A}"/>
                        </a:ext>
                      </a:extLst>
                    </p:cNvPr>
                    <p:cNvSpPr/>
                    <p:nvPr/>
                  </p:nvSpPr>
                  <p:spPr>
                    <a:xfrm>
                      <a:off x="5198135" y="4799504"/>
                      <a:ext cx="43200" cy="66010"/>
                    </a:xfrm>
                    <a:custGeom>
                      <a:avLst/>
                      <a:gdLst>
                        <a:gd name="connsiteX0" fmla="*/ 11459 w 43200"/>
                        <a:gd name="connsiteY0" fmla="*/ 66010 h 66010"/>
                        <a:gd name="connsiteX1" fmla="*/ 6586 w 43200"/>
                        <a:gd name="connsiteY1" fmla="*/ 64921 h 66010"/>
                        <a:gd name="connsiteX2" fmla="*/ 1094 w 43200"/>
                        <a:gd name="connsiteY2" fmla="*/ 49660 h 66010"/>
                        <a:gd name="connsiteX3" fmla="*/ 21354 w 43200"/>
                        <a:gd name="connsiteY3" fmla="*/ 6584 h 66010"/>
                        <a:gd name="connsiteX4" fmla="*/ 36614 w 43200"/>
                        <a:gd name="connsiteY4" fmla="*/ 1092 h 66010"/>
                        <a:gd name="connsiteX5" fmla="*/ 42107 w 43200"/>
                        <a:gd name="connsiteY5" fmla="*/ 16353 h 66010"/>
                        <a:gd name="connsiteX6" fmla="*/ 21847 w 43200"/>
                        <a:gd name="connsiteY6" fmla="*/ 59429 h 66010"/>
                        <a:gd name="connsiteX7" fmla="*/ 11459 w 43200"/>
                        <a:gd name="connsiteY7" fmla="*/ 66010 h 6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00" h="66010">
                          <a:moveTo>
                            <a:pt x="11459" y="66010"/>
                          </a:moveTo>
                          <a:cubicBezTo>
                            <a:pt x="9819" y="66010"/>
                            <a:pt x="8168" y="65666"/>
                            <a:pt x="6586" y="64921"/>
                          </a:cubicBezTo>
                          <a:cubicBezTo>
                            <a:pt x="853" y="62227"/>
                            <a:pt x="-1601" y="55393"/>
                            <a:pt x="1094" y="49660"/>
                          </a:cubicBezTo>
                          <a:lnTo>
                            <a:pt x="21354" y="6584"/>
                          </a:lnTo>
                          <a:cubicBezTo>
                            <a:pt x="24060" y="862"/>
                            <a:pt x="30870" y="-1603"/>
                            <a:pt x="36614" y="1092"/>
                          </a:cubicBezTo>
                          <a:cubicBezTo>
                            <a:pt x="42347" y="3786"/>
                            <a:pt x="44801" y="10620"/>
                            <a:pt x="42107" y="16353"/>
                          </a:cubicBezTo>
                          <a:lnTo>
                            <a:pt x="21847" y="59429"/>
                          </a:lnTo>
                          <a:cubicBezTo>
                            <a:pt x="19897" y="63591"/>
                            <a:pt x="15770" y="66010"/>
                            <a:pt x="11459" y="66010"/>
                          </a:cubicBezTo>
                          <a:close/>
                        </a:path>
                      </a:pathLst>
                    </a:custGeom>
                    <a:grpFill/>
                    <a:ln w="1145" cap="flat">
                      <a:noFill/>
                      <a:prstDash val="solid"/>
                      <a:miter/>
                    </a:ln>
                  </p:spPr>
                  <p:txBody>
                    <a:bodyPr rtlCol="0" anchor="ctr"/>
                    <a:lstStyle/>
                    <a:p>
                      <a:endParaRPr lang="en-GB" dirty="0"/>
                    </a:p>
                  </p:txBody>
                </p:sp>
              </p:grpSp>
              <p:grpSp>
                <p:nvGrpSpPr>
                  <p:cNvPr id="467" name="Graphic 48">
                    <a:extLst>
                      <a:ext uri="{FF2B5EF4-FFF2-40B4-BE49-F238E27FC236}">
                        <a16:creationId xmlns:a16="http://schemas.microsoft.com/office/drawing/2014/main" id="{C0933495-4052-499A-9A72-B14FED8A469D}"/>
                      </a:ext>
                    </a:extLst>
                  </p:cNvPr>
                  <p:cNvGrpSpPr/>
                  <p:nvPr/>
                </p:nvGrpSpPr>
                <p:grpSpPr>
                  <a:xfrm>
                    <a:off x="5328663" y="4804990"/>
                    <a:ext cx="89202" cy="123241"/>
                    <a:chOff x="5328663" y="4804990"/>
                    <a:chExt cx="89202" cy="123241"/>
                  </a:xfrm>
                  <a:grpFill/>
                </p:grpSpPr>
                <p:sp>
                  <p:nvSpPr>
                    <p:cNvPr id="471" name="Freeform: Shape 470">
                      <a:extLst>
                        <a:ext uri="{FF2B5EF4-FFF2-40B4-BE49-F238E27FC236}">
                          <a16:creationId xmlns:a16="http://schemas.microsoft.com/office/drawing/2014/main" id="{4A92808F-BAC1-4F4A-99A7-346E28E2686E}"/>
                        </a:ext>
                      </a:extLst>
                    </p:cNvPr>
                    <p:cNvSpPr/>
                    <p:nvPr/>
                  </p:nvSpPr>
                  <p:spPr>
                    <a:xfrm>
                      <a:off x="5328663" y="4848430"/>
                      <a:ext cx="89202" cy="79801"/>
                    </a:xfrm>
                    <a:custGeom>
                      <a:avLst/>
                      <a:gdLst>
                        <a:gd name="connsiteX0" fmla="*/ 34307 w 89202"/>
                        <a:gd name="connsiteY0" fmla="*/ 79801 h 79801"/>
                        <a:gd name="connsiteX1" fmla="*/ 26659 w 89202"/>
                        <a:gd name="connsiteY1" fmla="*/ 79182 h 79801"/>
                        <a:gd name="connsiteX2" fmla="*/ 2077 w 89202"/>
                        <a:gd name="connsiteY2" fmla="*/ 59621 h 79801"/>
                        <a:gd name="connsiteX3" fmla="*/ 4828 w 89202"/>
                        <a:gd name="connsiteY3" fmla="*/ 26153 h 79801"/>
                        <a:gd name="connsiteX4" fmla="*/ 29159 w 89202"/>
                        <a:gd name="connsiteY4" fmla="*/ 2029 h 79801"/>
                        <a:gd name="connsiteX5" fmla="*/ 63796 w 89202"/>
                        <a:gd name="connsiteY5" fmla="*/ 5664 h 79801"/>
                        <a:gd name="connsiteX6" fmla="*/ 87438 w 89202"/>
                        <a:gd name="connsiteY6" fmla="*/ 30109 h 79801"/>
                        <a:gd name="connsiteX7" fmla="*/ 80341 w 89202"/>
                        <a:gd name="connsiteY7" fmla="*/ 60688 h 79801"/>
                        <a:gd name="connsiteX8" fmla="*/ 55759 w 89202"/>
                        <a:gd name="connsiteY8" fmla="*/ 75834 h 79801"/>
                        <a:gd name="connsiteX9" fmla="*/ 34307 w 89202"/>
                        <a:gd name="connsiteY9" fmla="*/ 79801 h 79801"/>
                        <a:gd name="connsiteX10" fmla="*/ 41301 w 89202"/>
                        <a:gd name="connsiteY10" fmla="*/ 22920 h 79801"/>
                        <a:gd name="connsiteX11" fmla="*/ 36944 w 89202"/>
                        <a:gd name="connsiteY11" fmla="*/ 23596 h 79801"/>
                        <a:gd name="connsiteX12" fmla="*/ 25696 w 89202"/>
                        <a:gd name="connsiteY12" fmla="*/ 35727 h 79801"/>
                        <a:gd name="connsiteX13" fmla="*/ 23655 w 89202"/>
                        <a:gd name="connsiteY13" fmla="*/ 51859 h 79801"/>
                        <a:gd name="connsiteX14" fmla="*/ 30488 w 89202"/>
                        <a:gd name="connsiteY14" fmla="*/ 56583 h 79801"/>
                        <a:gd name="connsiteX15" fmla="*/ 47997 w 89202"/>
                        <a:gd name="connsiteY15" fmla="*/ 54279 h 79801"/>
                        <a:gd name="connsiteX16" fmla="*/ 63590 w 89202"/>
                        <a:gd name="connsiteY16" fmla="*/ 45037 h 79801"/>
                        <a:gd name="connsiteX17" fmla="*/ 65871 w 89202"/>
                        <a:gd name="connsiteY17" fmla="*/ 37883 h 79801"/>
                        <a:gd name="connsiteX18" fmla="*/ 65871 w 89202"/>
                        <a:gd name="connsiteY18" fmla="*/ 37883 h 79801"/>
                        <a:gd name="connsiteX19" fmla="*/ 53512 w 89202"/>
                        <a:gd name="connsiteY19" fmla="*/ 26176 h 79801"/>
                        <a:gd name="connsiteX20" fmla="*/ 41301 w 89202"/>
                        <a:gd name="connsiteY20" fmla="*/ 22920 h 79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9202" h="79801">
                          <a:moveTo>
                            <a:pt x="34307" y="79801"/>
                          </a:moveTo>
                          <a:cubicBezTo>
                            <a:pt x="31658" y="79801"/>
                            <a:pt x="29090" y="79595"/>
                            <a:pt x="26659" y="79182"/>
                          </a:cubicBezTo>
                          <a:cubicBezTo>
                            <a:pt x="14608" y="77141"/>
                            <a:pt x="5883" y="70204"/>
                            <a:pt x="2077" y="59621"/>
                          </a:cubicBezTo>
                          <a:cubicBezTo>
                            <a:pt x="-1455" y="49842"/>
                            <a:pt x="-446" y="37654"/>
                            <a:pt x="4828" y="26153"/>
                          </a:cubicBezTo>
                          <a:cubicBezTo>
                            <a:pt x="10206" y="14447"/>
                            <a:pt x="19069" y="5653"/>
                            <a:pt x="29159" y="2029"/>
                          </a:cubicBezTo>
                          <a:cubicBezTo>
                            <a:pt x="39260" y="-1628"/>
                            <a:pt x="51883" y="-298"/>
                            <a:pt x="63796" y="5664"/>
                          </a:cubicBezTo>
                          <a:cubicBezTo>
                            <a:pt x="75308" y="11454"/>
                            <a:pt x="83930" y="20352"/>
                            <a:pt x="87438" y="30109"/>
                          </a:cubicBezTo>
                          <a:cubicBezTo>
                            <a:pt x="91302" y="40818"/>
                            <a:pt x="88769" y="51664"/>
                            <a:pt x="80341" y="60688"/>
                          </a:cubicBezTo>
                          <a:cubicBezTo>
                            <a:pt x="73003" y="68542"/>
                            <a:pt x="62925" y="73266"/>
                            <a:pt x="55759" y="75834"/>
                          </a:cubicBezTo>
                          <a:cubicBezTo>
                            <a:pt x="48512" y="78460"/>
                            <a:pt x="41129" y="79801"/>
                            <a:pt x="34307" y="79801"/>
                          </a:cubicBezTo>
                          <a:close/>
                          <a:moveTo>
                            <a:pt x="41301" y="22920"/>
                          </a:moveTo>
                          <a:cubicBezTo>
                            <a:pt x="39684" y="22920"/>
                            <a:pt x="38205" y="23149"/>
                            <a:pt x="36944" y="23596"/>
                          </a:cubicBezTo>
                          <a:cubicBezTo>
                            <a:pt x="32736" y="25121"/>
                            <a:pt x="28425" y="29765"/>
                            <a:pt x="25696" y="35727"/>
                          </a:cubicBezTo>
                          <a:cubicBezTo>
                            <a:pt x="23024" y="41540"/>
                            <a:pt x="22222" y="47881"/>
                            <a:pt x="23655" y="51859"/>
                          </a:cubicBezTo>
                          <a:cubicBezTo>
                            <a:pt x="24102" y="53086"/>
                            <a:pt x="25019" y="55654"/>
                            <a:pt x="30488" y="56583"/>
                          </a:cubicBezTo>
                          <a:cubicBezTo>
                            <a:pt x="35270" y="57386"/>
                            <a:pt x="41668" y="56537"/>
                            <a:pt x="47997" y="54279"/>
                          </a:cubicBezTo>
                          <a:cubicBezTo>
                            <a:pt x="54670" y="51871"/>
                            <a:pt x="60345" y="48500"/>
                            <a:pt x="63590" y="45037"/>
                          </a:cubicBezTo>
                          <a:cubicBezTo>
                            <a:pt x="67098" y="41288"/>
                            <a:pt x="66330" y="39155"/>
                            <a:pt x="65871" y="37883"/>
                          </a:cubicBezTo>
                          <a:lnTo>
                            <a:pt x="65871" y="37883"/>
                          </a:lnTo>
                          <a:cubicBezTo>
                            <a:pt x="64393" y="33801"/>
                            <a:pt x="59543" y="29192"/>
                            <a:pt x="53512" y="26176"/>
                          </a:cubicBezTo>
                          <a:cubicBezTo>
                            <a:pt x="49281" y="24044"/>
                            <a:pt x="44935" y="22920"/>
                            <a:pt x="41301" y="22920"/>
                          </a:cubicBezTo>
                          <a:close/>
                        </a:path>
                      </a:pathLst>
                    </a:custGeom>
                    <a:grpFill/>
                    <a:ln w="1145" cap="flat">
                      <a:noFill/>
                      <a:prstDash val="solid"/>
                      <a:miter/>
                    </a:ln>
                  </p:spPr>
                  <p:txBody>
                    <a:bodyPr rtlCol="0" anchor="ctr"/>
                    <a:lstStyle/>
                    <a:p>
                      <a:endParaRPr lang="en-GB" dirty="0"/>
                    </a:p>
                  </p:txBody>
                </p:sp>
                <p:sp>
                  <p:nvSpPr>
                    <p:cNvPr id="472" name="Freeform: Shape 471">
                      <a:extLst>
                        <a:ext uri="{FF2B5EF4-FFF2-40B4-BE49-F238E27FC236}">
                          <a16:creationId xmlns:a16="http://schemas.microsoft.com/office/drawing/2014/main" id="{70B71EBE-A240-4110-9AB3-EEDFDDA35E4D}"/>
                        </a:ext>
                      </a:extLst>
                    </p:cNvPr>
                    <p:cNvSpPr/>
                    <p:nvPr/>
                  </p:nvSpPr>
                  <p:spPr>
                    <a:xfrm>
                      <a:off x="5334113" y="4804990"/>
                      <a:ext cx="39070" cy="67724"/>
                    </a:xfrm>
                    <a:custGeom>
                      <a:avLst/>
                      <a:gdLst>
                        <a:gd name="connsiteX0" fmla="*/ 27596 w 39070"/>
                        <a:gd name="connsiteY0" fmla="*/ 67724 h 67724"/>
                        <a:gd name="connsiteX1" fmla="*/ 16818 w 39070"/>
                        <a:gd name="connsiteY1" fmla="*/ 60146 h 67724"/>
                        <a:gd name="connsiteX2" fmla="*/ 686 w 39070"/>
                        <a:gd name="connsiteY2" fmla="*/ 15361 h 67724"/>
                        <a:gd name="connsiteX3" fmla="*/ 7588 w 39070"/>
                        <a:gd name="connsiteY3" fmla="*/ 696 h 67724"/>
                        <a:gd name="connsiteX4" fmla="*/ 22253 w 39070"/>
                        <a:gd name="connsiteY4" fmla="*/ 7599 h 67724"/>
                        <a:gd name="connsiteX5" fmla="*/ 38385 w 39070"/>
                        <a:gd name="connsiteY5" fmla="*/ 52384 h 67724"/>
                        <a:gd name="connsiteX6" fmla="*/ 31483 w 39070"/>
                        <a:gd name="connsiteY6" fmla="*/ 67048 h 67724"/>
                        <a:gd name="connsiteX7" fmla="*/ 27596 w 39070"/>
                        <a:gd name="connsiteY7" fmla="*/ 67724 h 67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70" h="67724">
                          <a:moveTo>
                            <a:pt x="27596" y="67724"/>
                          </a:moveTo>
                          <a:cubicBezTo>
                            <a:pt x="22895" y="67724"/>
                            <a:pt x="18492" y="64823"/>
                            <a:pt x="16818" y="60146"/>
                          </a:cubicBezTo>
                          <a:lnTo>
                            <a:pt x="686" y="15361"/>
                          </a:lnTo>
                          <a:cubicBezTo>
                            <a:pt x="-1470" y="9398"/>
                            <a:pt x="1626" y="2829"/>
                            <a:pt x="7588" y="696"/>
                          </a:cubicBezTo>
                          <a:cubicBezTo>
                            <a:pt x="13562" y="-1482"/>
                            <a:pt x="20120" y="1625"/>
                            <a:pt x="22253" y="7599"/>
                          </a:cubicBezTo>
                          <a:lnTo>
                            <a:pt x="38385" y="52384"/>
                          </a:lnTo>
                          <a:cubicBezTo>
                            <a:pt x="40541" y="58345"/>
                            <a:pt x="37445" y="64915"/>
                            <a:pt x="31483" y="67048"/>
                          </a:cubicBezTo>
                          <a:cubicBezTo>
                            <a:pt x="30198" y="67518"/>
                            <a:pt x="28880" y="67724"/>
                            <a:pt x="27596" y="67724"/>
                          </a:cubicBezTo>
                          <a:close/>
                        </a:path>
                      </a:pathLst>
                    </a:custGeom>
                    <a:grpFill/>
                    <a:ln w="1145" cap="flat">
                      <a:noFill/>
                      <a:prstDash val="solid"/>
                      <a:miter/>
                    </a:ln>
                  </p:spPr>
                  <p:txBody>
                    <a:bodyPr rtlCol="0" anchor="ctr"/>
                    <a:lstStyle/>
                    <a:p>
                      <a:endParaRPr lang="en-GB" dirty="0"/>
                    </a:p>
                  </p:txBody>
                </p:sp>
              </p:grpSp>
              <p:grpSp>
                <p:nvGrpSpPr>
                  <p:cNvPr id="468" name="Graphic 48">
                    <a:extLst>
                      <a:ext uri="{FF2B5EF4-FFF2-40B4-BE49-F238E27FC236}">
                        <a16:creationId xmlns:a16="http://schemas.microsoft.com/office/drawing/2014/main" id="{B44C928B-F669-4E88-8AD8-54B4DBACF505}"/>
                      </a:ext>
                    </a:extLst>
                  </p:cNvPr>
                  <p:cNvGrpSpPr/>
                  <p:nvPr/>
                </p:nvGrpSpPr>
                <p:grpSpPr>
                  <a:xfrm>
                    <a:off x="5039756" y="4708956"/>
                    <a:ext cx="123658" cy="88474"/>
                    <a:chOff x="5039756" y="4708956"/>
                    <a:chExt cx="123658" cy="88474"/>
                  </a:xfrm>
                  <a:grpFill/>
                </p:grpSpPr>
                <p:sp>
                  <p:nvSpPr>
                    <p:cNvPr id="469" name="Freeform: Shape 468">
                      <a:extLst>
                        <a:ext uri="{FF2B5EF4-FFF2-40B4-BE49-F238E27FC236}">
                          <a16:creationId xmlns:a16="http://schemas.microsoft.com/office/drawing/2014/main" id="{7FB84003-27F3-4602-9BB7-845A7A09C1AC}"/>
                        </a:ext>
                      </a:extLst>
                    </p:cNvPr>
                    <p:cNvSpPr/>
                    <p:nvPr/>
                  </p:nvSpPr>
                  <p:spPr>
                    <a:xfrm>
                      <a:off x="5039756" y="4708956"/>
                      <a:ext cx="80283" cy="88474"/>
                    </a:xfrm>
                    <a:custGeom>
                      <a:avLst/>
                      <a:gdLst>
                        <a:gd name="connsiteX0" fmla="*/ 41044 w 80283"/>
                        <a:gd name="connsiteY0" fmla="*/ 88475 h 88474"/>
                        <a:gd name="connsiteX1" fmla="*/ 20348 w 80283"/>
                        <a:gd name="connsiteY1" fmla="*/ 80208 h 88474"/>
                        <a:gd name="connsiteX2" fmla="*/ 4365 w 80283"/>
                        <a:gd name="connsiteY2" fmla="*/ 55649 h 88474"/>
                        <a:gd name="connsiteX3" fmla="*/ 19385 w 80283"/>
                        <a:gd name="connsiteY3" fmla="*/ 2093 h 88474"/>
                        <a:gd name="connsiteX4" fmla="*/ 53289 w 80283"/>
                        <a:gd name="connsiteY4" fmla="*/ 4718 h 88474"/>
                        <a:gd name="connsiteX5" fmla="*/ 78181 w 80283"/>
                        <a:gd name="connsiteY5" fmla="*/ 29060 h 88474"/>
                        <a:gd name="connsiteX6" fmla="*/ 75108 w 80283"/>
                        <a:gd name="connsiteY6" fmla="*/ 63193 h 88474"/>
                        <a:gd name="connsiteX7" fmla="*/ 51076 w 80283"/>
                        <a:gd name="connsiteY7" fmla="*/ 86675 h 88474"/>
                        <a:gd name="connsiteX8" fmla="*/ 41044 w 80283"/>
                        <a:gd name="connsiteY8" fmla="*/ 88475 h 88474"/>
                        <a:gd name="connsiteX9" fmla="*/ 31975 w 80283"/>
                        <a:gd name="connsiteY9" fmla="*/ 22937 h 88474"/>
                        <a:gd name="connsiteX10" fmla="*/ 27159 w 80283"/>
                        <a:gd name="connsiteY10" fmla="*/ 23660 h 88474"/>
                        <a:gd name="connsiteX11" fmla="*/ 27159 w 80283"/>
                        <a:gd name="connsiteY11" fmla="*/ 23660 h 88474"/>
                        <a:gd name="connsiteX12" fmla="*/ 25944 w 80283"/>
                        <a:gd name="connsiteY12" fmla="*/ 47875 h 88474"/>
                        <a:gd name="connsiteX13" fmla="*/ 35334 w 80283"/>
                        <a:gd name="connsiteY13" fmla="*/ 62838 h 88474"/>
                        <a:gd name="connsiteX14" fmla="*/ 43314 w 80283"/>
                        <a:gd name="connsiteY14" fmla="*/ 65096 h 88474"/>
                        <a:gd name="connsiteX15" fmla="*/ 54459 w 80283"/>
                        <a:gd name="connsiteY15" fmla="*/ 53230 h 88474"/>
                        <a:gd name="connsiteX16" fmla="*/ 56614 w 80283"/>
                        <a:gd name="connsiteY16" fmla="*/ 36822 h 88474"/>
                        <a:gd name="connsiteX17" fmla="*/ 44059 w 80283"/>
                        <a:gd name="connsiteY17" fmla="*/ 25700 h 88474"/>
                        <a:gd name="connsiteX18" fmla="*/ 31975 w 80283"/>
                        <a:gd name="connsiteY18" fmla="*/ 22937 h 88474"/>
                        <a:gd name="connsiteX19" fmla="*/ 23272 w 80283"/>
                        <a:gd name="connsiteY19" fmla="*/ 12882 h 88474"/>
                        <a:gd name="connsiteX20" fmla="*/ 23387 w 80283"/>
                        <a:gd name="connsiteY20" fmla="*/ 12882 h 88474"/>
                        <a:gd name="connsiteX21" fmla="*/ 23272 w 80283"/>
                        <a:gd name="connsiteY21" fmla="*/ 12882 h 88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0283" h="88474">
                          <a:moveTo>
                            <a:pt x="41044" y="88475"/>
                          </a:moveTo>
                          <a:cubicBezTo>
                            <a:pt x="33798" y="88475"/>
                            <a:pt x="26677" y="85677"/>
                            <a:pt x="20348" y="80208"/>
                          </a:cubicBezTo>
                          <a:cubicBezTo>
                            <a:pt x="13664" y="74441"/>
                            <a:pt x="7988" y="65715"/>
                            <a:pt x="4365" y="55649"/>
                          </a:cubicBezTo>
                          <a:cubicBezTo>
                            <a:pt x="-4956" y="29759"/>
                            <a:pt x="926" y="8731"/>
                            <a:pt x="19385" y="2093"/>
                          </a:cubicBezTo>
                          <a:cubicBezTo>
                            <a:pt x="29131" y="-1428"/>
                            <a:pt x="41491" y="-476"/>
                            <a:pt x="53289" y="4718"/>
                          </a:cubicBezTo>
                          <a:cubicBezTo>
                            <a:pt x="65466" y="10073"/>
                            <a:pt x="74547" y="18936"/>
                            <a:pt x="78181" y="29060"/>
                          </a:cubicBezTo>
                          <a:cubicBezTo>
                            <a:pt x="81816" y="39149"/>
                            <a:pt x="80704" y="51590"/>
                            <a:pt x="75108" y="63193"/>
                          </a:cubicBezTo>
                          <a:cubicBezTo>
                            <a:pt x="69616" y="74601"/>
                            <a:pt x="60857" y="83155"/>
                            <a:pt x="51076" y="86675"/>
                          </a:cubicBezTo>
                          <a:cubicBezTo>
                            <a:pt x="47752" y="87879"/>
                            <a:pt x="44380" y="88475"/>
                            <a:pt x="41044" y="88475"/>
                          </a:cubicBezTo>
                          <a:close/>
                          <a:moveTo>
                            <a:pt x="31975" y="22937"/>
                          </a:moveTo>
                          <a:cubicBezTo>
                            <a:pt x="30163" y="22937"/>
                            <a:pt x="28524" y="23178"/>
                            <a:pt x="27159" y="23660"/>
                          </a:cubicBezTo>
                          <a:lnTo>
                            <a:pt x="27159" y="23660"/>
                          </a:lnTo>
                          <a:cubicBezTo>
                            <a:pt x="20211" y="26170"/>
                            <a:pt x="23318" y="40606"/>
                            <a:pt x="25944" y="47875"/>
                          </a:cubicBezTo>
                          <a:cubicBezTo>
                            <a:pt x="28225" y="54204"/>
                            <a:pt x="31642" y="59650"/>
                            <a:pt x="35334" y="62838"/>
                          </a:cubicBezTo>
                          <a:cubicBezTo>
                            <a:pt x="39530" y="66461"/>
                            <a:pt x="42076" y="65532"/>
                            <a:pt x="43314" y="65096"/>
                          </a:cubicBezTo>
                          <a:cubicBezTo>
                            <a:pt x="47304" y="63652"/>
                            <a:pt x="51673" y="59008"/>
                            <a:pt x="54459" y="53230"/>
                          </a:cubicBezTo>
                          <a:cubicBezTo>
                            <a:pt x="57302" y="47313"/>
                            <a:pt x="58128" y="41041"/>
                            <a:pt x="56614" y="36822"/>
                          </a:cubicBezTo>
                          <a:cubicBezTo>
                            <a:pt x="55124" y="32717"/>
                            <a:pt x="50320" y="28452"/>
                            <a:pt x="44059" y="25700"/>
                          </a:cubicBezTo>
                          <a:cubicBezTo>
                            <a:pt x="39943" y="23900"/>
                            <a:pt x="35609" y="22937"/>
                            <a:pt x="31975" y="22937"/>
                          </a:cubicBezTo>
                          <a:close/>
                          <a:moveTo>
                            <a:pt x="23272" y="12882"/>
                          </a:moveTo>
                          <a:lnTo>
                            <a:pt x="23387" y="12882"/>
                          </a:lnTo>
                          <a:lnTo>
                            <a:pt x="23272" y="12882"/>
                          </a:lnTo>
                          <a:close/>
                        </a:path>
                      </a:pathLst>
                    </a:custGeom>
                    <a:grpFill/>
                    <a:ln w="1145" cap="flat">
                      <a:noFill/>
                      <a:prstDash val="solid"/>
                      <a:miter/>
                    </a:ln>
                  </p:spPr>
                  <p:txBody>
                    <a:bodyPr rtlCol="0" anchor="ctr"/>
                    <a:lstStyle/>
                    <a:p>
                      <a:endParaRPr lang="en-GB" dirty="0"/>
                    </a:p>
                  </p:txBody>
                </p:sp>
                <p:sp>
                  <p:nvSpPr>
                    <p:cNvPr id="470" name="Freeform: Shape 469">
                      <a:extLst>
                        <a:ext uri="{FF2B5EF4-FFF2-40B4-BE49-F238E27FC236}">
                          <a16:creationId xmlns:a16="http://schemas.microsoft.com/office/drawing/2014/main" id="{1784ADB1-DD09-49EB-A2C3-3958D2CBE6FA}"/>
                        </a:ext>
                      </a:extLst>
                    </p:cNvPr>
                    <p:cNvSpPr/>
                    <p:nvPr/>
                  </p:nvSpPr>
                  <p:spPr>
                    <a:xfrm>
                      <a:off x="5095696" y="4714312"/>
                      <a:ext cx="67718" cy="39079"/>
                    </a:xfrm>
                    <a:custGeom>
                      <a:avLst/>
                      <a:gdLst>
                        <a:gd name="connsiteX0" fmla="*/ 11464 w 67718"/>
                        <a:gd name="connsiteY0" fmla="*/ 39079 h 39079"/>
                        <a:gd name="connsiteX1" fmla="*/ 686 w 67718"/>
                        <a:gd name="connsiteY1" fmla="*/ 31501 h 39079"/>
                        <a:gd name="connsiteX2" fmla="*/ 7588 w 67718"/>
                        <a:gd name="connsiteY2" fmla="*/ 16836 h 39079"/>
                        <a:gd name="connsiteX3" fmla="*/ 52373 w 67718"/>
                        <a:gd name="connsiteY3" fmla="*/ 704 h 39079"/>
                        <a:gd name="connsiteX4" fmla="*/ 67038 w 67718"/>
                        <a:gd name="connsiteY4" fmla="*/ 7606 h 39079"/>
                        <a:gd name="connsiteX5" fmla="*/ 60135 w 67718"/>
                        <a:gd name="connsiteY5" fmla="*/ 22271 h 39079"/>
                        <a:gd name="connsiteX6" fmla="*/ 15350 w 67718"/>
                        <a:gd name="connsiteY6" fmla="*/ 38403 h 39079"/>
                        <a:gd name="connsiteX7" fmla="*/ 11464 w 67718"/>
                        <a:gd name="connsiteY7" fmla="*/ 39079 h 39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718" h="39079">
                          <a:moveTo>
                            <a:pt x="11464" y="39079"/>
                          </a:moveTo>
                          <a:cubicBezTo>
                            <a:pt x="6762" y="39079"/>
                            <a:pt x="2360" y="36179"/>
                            <a:pt x="686" y="31501"/>
                          </a:cubicBezTo>
                          <a:cubicBezTo>
                            <a:pt x="-1470" y="25539"/>
                            <a:pt x="1626" y="18969"/>
                            <a:pt x="7588" y="16836"/>
                          </a:cubicBezTo>
                          <a:lnTo>
                            <a:pt x="52373" y="704"/>
                          </a:lnTo>
                          <a:cubicBezTo>
                            <a:pt x="58347" y="-1497"/>
                            <a:pt x="64894" y="1644"/>
                            <a:pt x="67038" y="7606"/>
                          </a:cubicBezTo>
                          <a:cubicBezTo>
                            <a:pt x="69182" y="13568"/>
                            <a:pt x="66097" y="20139"/>
                            <a:pt x="60135" y="22271"/>
                          </a:cubicBezTo>
                          <a:lnTo>
                            <a:pt x="15350" y="38403"/>
                          </a:lnTo>
                          <a:cubicBezTo>
                            <a:pt x="14055" y="38873"/>
                            <a:pt x="12748" y="39079"/>
                            <a:pt x="11464" y="39079"/>
                          </a:cubicBezTo>
                          <a:close/>
                        </a:path>
                      </a:pathLst>
                    </a:custGeom>
                    <a:grpFill/>
                    <a:ln w="1145" cap="flat">
                      <a:noFill/>
                      <a:prstDash val="solid"/>
                      <a:miter/>
                    </a:ln>
                  </p:spPr>
                  <p:txBody>
                    <a:bodyPr rtlCol="0" anchor="ctr"/>
                    <a:lstStyle/>
                    <a:p>
                      <a:endParaRPr lang="en-GB" dirty="0"/>
                    </a:p>
                  </p:txBody>
                </p:sp>
              </p:grpSp>
            </p:grpSp>
            <p:sp>
              <p:nvSpPr>
                <p:cNvPr id="458" name="Freeform: Shape 457">
                  <a:extLst>
                    <a:ext uri="{FF2B5EF4-FFF2-40B4-BE49-F238E27FC236}">
                      <a16:creationId xmlns:a16="http://schemas.microsoft.com/office/drawing/2014/main" id="{690BFAE4-CC07-47A4-B7A9-B0042B7AD2C4}"/>
                    </a:ext>
                  </a:extLst>
                </p:cNvPr>
                <p:cNvSpPr/>
                <p:nvPr/>
              </p:nvSpPr>
              <p:spPr>
                <a:xfrm>
                  <a:off x="5280726" y="4814251"/>
                  <a:ext cx="23184" cy="51733"/>
                </a:xfrm>
                <a:custGeom>
                  <a:avLst/>
                  <a:gdLst>
                    <a:gd name="connsiteX0" fmla="*/ 11466 w 23184"/>
                    <a:gd name="connsiteY0" fmla="*/ 51733 h 51733"/>
                    <a:gd name="connsiteX1" fmla="*/ 11363 w 23184"/>
                    <a:gd name="connsiteY1" fmla="*/ 51733 h 51733"/>
                    <a:gd name="connsiteX2" fmla="*/ 0 w 23184"/>
                    <a:gd name="connsiteY2" fmla="*/ 40165 h 51733"/>
                    <a:gd name="connsiteX3" fmla="*/ 253 w 23184"/>
                    <a:gd name="connsiteY3" fmla="*/ 11363 h 51733"/>
                    <a:gd name="connsiteX4" fmla="*/ 11822 w 23184"/>
                    <a:gd name="connsiteY4" fmla="*/ 0 h 51733"/>
                    <a:gd name="connsiteX5" fmla="*/ 23184 w 23184"/>
                    <a:gd name="connsiteY5" fmla="*/ 11569 h 51733"/>
                    <a:gd name="connsiteX6" fmla="*/ 22932 w 23184"/>
                    <a:gd name="connsiteY6" fmla="*/ 40371 h 51733"/>
                    <a:gd name="connsiteX7" fmla="*/ 11466 w 23184"/>
                    <a:gd name="connsiteY7" fmla="*/ 51733 h 51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84" h="51733">
                      <a:moveTo>
                        <a:pt x="11466" y="51733"/>
                      </a:moveTo>
                      <a:cubicBezTo>
                        <a:pt x="11432" y="51733"/>
                        <a:pt x="11398" y="51733"/>
                        <a:pt x="11363" y="51733"/>
                      </a:cubicBezTo>
                      <a:cubicBezTo>
                        <a:pt x="5023" y="51676"/>
                        <a:pt x="-57" y="46494"/>
                        <a:pt x="0" y="40165"/>
                      </a:cubicBezTo>
                      <a:lnTo>
                        <a:pt x="253" y="11363"/>
                      </a:lnTo>
                      <a:cubicBezTo>
                        <a:pt x="310" y="5022"/>
                        <a:pt x="5676" y="447"/>
                        <a:pt x="11822" y="0"/>
                      </a:cubicBezTo>
                      <a:cubicBezTo>
                        <a:pt x="18162" y="58"/>
                        <a:pt x="23241" y="5240"/>
                        <a:pt x="23184" y="11569"/>
                      </a:cubicBezTo>
                      <a:lnTo>
                        <a:pt x="22932" y="40371"/>
                      </a:lnTo>
                      <a:cubicBezTo>
                        <a:pt x="22886" y="46677"/>
                        <a:pt x="17750" y="51733"/>
                        <a:pt x="11466" y="51733"/>
                      </a:cubicBezTo>
                      <a:close/>
                    </a:path>
                  </a:pathLst>
                </a:custGeom>
                <a:grpFill/>
                <a:ln w="1145" cap="flat">
                  <a:noFill/>
                  <a:prstDash val="solid"/>
                  <a:miter/>
                </a:ln>
              </p:spPr>
              <p:txBody>
                <a:bodyPr rtlCol="0" anchor="ctr"/>
                <a:lstStyle/>
                <a:p>
                  <a:endParaRPr lang="en-GB" dirty="0"/>
                </a:p>
              </p:txBody>
            </p:sp>
            <p:sp>
              <p:nvSpPr>
                <p:cNvPr id="459" name="Freeform: Shape 458">
                  <a:extLst>
                    <a:ext uri="{FF2B5EF4-FFF2-40B4-BE49-F238E27FC236}">
                      <a16:creationId xmlns:a16="http://schemas.microsoft.com/office/drawing/2014/main" id="{F3CD7891-BF51-45FC-8364-77A24E889671}"/>
                    </a:ext>
                  </a:extLst>
                </p:cNvPr>
                <p:cNvSpPr/>
                <p:nvPr/>
              </p:nvSpPr>
              <p:spPr>
                <a:xfrm>
                  <a:off x="5283742" y="4481861"/>
                  <a:ext cx="23195" cy="52260"/>
                </a:xfrm>
                <a:custGeom>
                  <a:avLst/>
                  <a:gdLst>
                    <a:gd name="connsiteX0" fmla="*/ 11466 w 23195"/>
                    <a:gd name="connsiteY0" fmla="*/ 52261 h 52260"/>
                    <a:gd name="connsiteX1" fmla="*/ 11363 w 23195"/>
                    <a:gd name="connsiteY1" fmla="*/ 52261 h 52260"/>
                    <a:gd name="connsiteX2" fmla="*/ 0 w 23195"/>
                    <a:gd name="connsiteY2" fmla="*/ 40692 h 52260"/>
                    <a:gd name="connsiteX3" fmla="*/ 264 w 23195"/>
                    <a:gd name="connsiteY3" fmla="*/ 11363 h 52260"/>
                    <a:gd name="connsiteX4" fmla="*/ 11730 w 23195"/>
                    <a:gd name="connsiteY4" fmla="*/ 0 h 52260"/>
                    <a:gd name="connsiteX5" fmla="*/ 11833 w 23195"/>
                    <a:gd name="connsiteY5" fmla="*/ 0 h 52260"/>
                    <a:gd name="connsiteX6" fmla="*/ 23196 w 23195"/>
                    <a:gd name="connsiteY6" fmla="*/ 11569 h 52260"/>
                    <a:gd name="connsiteX7" fmla="*/ 22932 w 23195"/>
                    <a:gd name="connsiteY7" fmla="*/ 40898 h 52260"/>
                    <a:gd name="connsiteX8" fmla="*/ 11466 w 23195"/>
                    <a:gd name="connsiteY8" fmla="*/ 52261 h 5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95" h="52260">
                      <a:moveTo>
                        <a:pt x="11466" y="52261"/>
                      </a:moveTo>
                      <a:cubicBezTo>
                        <a:pt x="11432" y="52261"/>
                        <a:pt x="11397" y="52261"/>
                        <a:pt x="11363" y="52261"/>
                      </a:cubicBezTo>
                      <a:cubicBezTo>
                        <a:pt x="5022" y="52203"/>
                        <a:pt x="-57" y="47021"/>
                        <a:pt x="0" y="40692"/>
                      </a:cubicBezTo>
                      <a:lnTo>
                        <a:pt x="264" y="11363"/>
                      </a:lnTo>
                      <a:cubicBezTo>
                        <a:pt x="322" y="5057"/>
                        <a:pt x="5447" y="0"/>
                        <a:pt x="11730" y="0"/>
                      </a:cubicBezTo>
                      <a:cubicBezTo>
                        <a:pt x="11764" y="0"/>
                        <a:pt x="11799" y="0"/>
                        <a:pt x="11833" y="0"/>
                      </a:cubicBezTo>
                      <a:cubicBezTo>
                        <a:pt x="18174" y="57"/>
                        <a:pt x="23253" y="5240"/>
                        <a:pt x="23196" y="11569"/>
                      </a:cubicBezTo>
                      <a:lnTo>
                        <a:pt x="22932" y="40898"/>
                      </a:lnTo>
                      <a:cubicBezTo>
                        <a:pt x="22874" y="47204"/>
                        <a:pt x="17749" y="52261"/>
                        <a:pt x="11466" y="52261"/>
                      </a:cubicBezTo>
                      <a:close/>
                    </a:path>
                  </a:pathLst>
                </a:custGeom>
                <a:grpFill/>
                <a:ln w="1145" cap="flat">
                  <a:noFill/>
                  <a:prstDash val="solid"/>
                  <a:miter/>
                </a:ln>
              </p:spPr>
              <p:txBody>
                <a:bodyPr rtlCol="0" anchor="ctr"/>
                <a:lstStyle/>
                <a:p>
                  <a:endParaRPr lang="en-GB" dirty="0"/>
                </a:p>
              </p:txBody>
            </p:sp>
            <p:sp>
              <p:nvSpPr>
                <p:cNvPr id="460" name="Freeform: Shape 459">
                  <a:extLst>
                    <a:ext uri="{FF2B5EF4-FFF2-40B4-BE49-F238E27FC236}">
                      <a16:creationId xmlns:a16="http://schemas.microsoft.com/office/drawing/2014/main" id="{8ECCBF95-5784-447F-A874-38B67FE8382B}"/>
                    </a:ext>
                  </a:extLst>
                </p:cNvPr>
                <p:cNvSpPr/>
                <p:nvPr/>
              </p:nvSpPr>
              <p:spPr>
                <a:xfrm>
                  <a:off x="5381734" y="4779216"/>
                  <a:ext cx="40943" cy="44173"/>
                </a:xfrm>
                <a:custGeom>
                  <a:avLst/>
                  <a:gdLst>
                    <a:gd name="connsiteX0" fmla="*/ 29484 w 40943"/>
                    <a:gd name="connsiteY0" fmla="*/ 44173 h 44173"/>
                    <a:gd name="connsiteX1" fmla="*/ 20735 w 40943"/>
                    <a:gd name="connsiteY1" fmla="*/ 40114 h 44173"/>
                    <a:gd name="connsiteX2" fmla="*/ 2723 w 40943"/>
                    <a:gd name="connsiteY2" fmla="*/ 18869 h 44173"/>
                    <a:gd name="connsiteX3" fmla="*/ 4053 w 40943"/>
                    <a:gd name="connsiteY3" fmla="*/ 2713 h 44173"/>
                    <a:gd name="connsiteX4" fmla="*/ 20208 w 40943"/>
                    <a:gd name="connsiteY4" fmla="*/ 4044 h 44173"/>
                    <a:gd name="connsiteX5" fmla="*/ 38221 w 40943"/>
                    <a:gd name="connsiteY5" fmla="*/ 25289 h 44173"/>
                    <a:gd name="connsiteX6" fmla="*/ 36890 w 40943"/>
                    <a:gd name="connsiteY6" fmla="*/ 41445 h 44173"/>
                    <a:gd name="connsiteX7" fmla="*/ 29484 w 40943"/>
                    <a:gd name="connsiteY7" fmla="*/ 44173 h 4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943" h="44173">
                      <a:moveTo>
                        <a:pt x="29484" y="44173"/>
                      </a:moveTo>
                      <a:cubicBezTo>
                        <a:pt x="26239" y="44173"/>
                        <a:pt x="23017" y="42797"/>
                        <a:pt x="20735" y="40114"/>
                      </a:cubicBezTo>
                      <a:lnTo>
                        <a:pt x="2723" y="18869"/>
                      </a:lnTo>
                      <a:cubicBezTo>
                        <a:pt x="-1370" y="14041"/>
                        <a:pt x="-786" y="6807"/>
                        <a:pt x="4053" y="2713"/>
                      </a:cubicBezTo>
                      <a:cubicBezTo>
                        <a:pt x="8868" y="-1357"/>
                        <a:pt x="16103" y="-795"/>
                        <a:pt x="20208" y="4044"/>
                      </a:cubicBezTo>
                      <a:lnTo>
                        <a:pt x="38221" y="25289"/>
                      </a:lnTo>
                      <a:cubicBezTo>
                        <a:pt x="42314" y="30116"/>
                        <a:pt x="41729" y="37351"/>
                        <a:pt x="36890" y="41445"/>
                      </a:cubicBezTo>
                      <a:cubicBezTo>
                        <a:pt x="34746" y="43279"/>
                        <a:pt x="32121" y="44173"/>
                        <a:pt x="29484" y="44173"/>
                      </a:cubicBezTo>
                      <a:close/>
                    </a:path>
                  </a:pathLst>
                </a:custGeom>
                <a:grpFill/>
                <a:ln w="1145" cap="flat">
                  <a:noFill/>
                  <a:prstDash val="solid"/>
                  <a:miter/>
                </a:ln>
              </p:spPr>
              <p:txBody>
                <a:bodyPr rtlCol="0" anchor="ctr"/>
                <a:lstStyle/>
                <a:p>
                  <a:endParaRPr lang="en-GB" dirty="0"/>
                </a:p>
              </p:txBody>
            </p:sp>
            <p:sp>
              <p:nvSpPr>
                <p:cNvPr id="461" name="Freeform: Shape 460">
                  <a:extLst>
                    <a:ext uri="{FF2B5EF4-FFF2-40B4-BE49-F238E27FC236}">
                      <a16:creationId xmlns:a16="http://schemas.microsoft.com/office/drawing/2014/main" id="{8010B58F-2DEC-45B5-8022-AED4F6FC0259}"/>
                    </a:ext>
                  </a:extLst>
                </p:cNvPr>
                <p:cNvSpPr/>
                <p:nvPr/>
              </p:nvSpPr>
              <p:spPr>
                <a:xfrm>
                  <a:off x="5166110" y="4525014"/>
                  <a:ext cx="41447" cy="44765"/>
                </a:xfrm>
                <a:custGeom>
                  <a:avLst/>
                  <a:gdLst>
                    <a:gd name="connsiteX0" fmla="*/ 30000 w 41447"/>
                    <a:gd name="connsiteY0" fmla="*/ 44766 h 44765"/>
                    <a:gd name="connsiteX1" fmla="*/ 21240 w 41447"/>
                    <a:gd name="connsiteY1" fmla="*/ 40707 h 44765"/>
                    <a:gd name="connsiteX2" fmla="*/ 2723 w 41447"/>
                    <a:gd name="connsiteY2" fmla="*/ 18865 h 44765"/>
                    <a:gd name="connsiteX3" fmla="*/ 4053 w 41447"/>
                    <a:gd name="connsiteY3" fmla="*/ 2710 h 44765"/>
                    <a:gd name="connsiteX4" fmla="*/ 20208 w 41447"/>
                    <a:gd name="connsiteY4" fmla="*/ 4040 h 44765"/>
                    <a:gd name="connsiteX5" fmla="*/ 38725 w 41447"/>
                    <a:gd name="connsiteY5" fmla="*/ 25882 h 44765"/>
                    <a:gd name="connsiteX6" fmla="*/ 37395 w 41447"/>
                    <a:gd name="connsiteY6" fmla="*/ 42037 h 44765"/>
                    <a:gd name="connsiteX7" fmla="*/ 30000 w 41447"/>
                    <a:gd name="connsiteY7" fmla="*/ 44766 h 4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47" h="44765">
                      <a:moveTo>
                        <a:pt x="30000" y="44766"/>
                      </a:moveTo>
                      <a:cubicBezTo>
                        <a:pt x="26743" y="44766"/>
                        <a:pt x="23510" y="43390"/>
                        <a:pt x="21240" y="40707"/>
                      </a:cubicBezTo>
                      <a:lnTo>
                        <a:pt x="2723" y="18865"/>
                      </a:lnTo>
                      <a:cubicBezTo>
                        <a:pt x="-1370" y="14038"/>
                        <a:pt x="-786" y="6803"/>
                        <a:pt x="4053" y="2710"/>
                      </a:cubicBezTo>
                      <a:cubicBezTo>
                        <a:pt x="8868" y="-1361"/>
                        <a:pt x="16126" y="-787"/>
                        <a:pt x="20208" y="4040"/>
                      </a:cubicBezTo>
                      <a:lnTo>
                        <a:pt x="38725" y="25882"/>
                      </a:lnTo>
                      <a:cubicBezTo>
                        <a:pt x="42818" y="30709"/>
                        <a:pt x="42234" y="37944"/>
                        <a:pt x="37395" y="42037"/>
                      </a:cubicBezTo>
                      <a:cubicBezTo>
                        <a:pt x="35251" y="43860"/>
                        <a:pt x="32602" y="44766"/>
                        <a:pt x="30000" y="44766"/>
                      </a:cubicBezTo>
                      <a:close/>
                    </a:path>
                  </a:pathLst>
                </a:custGeom>
                <a:grpFill/>
                <a:ln w="1145" cap="flat">
                  <a:noFill/>
                  <a:prstDash val="solid"/>
                  <a:miter/>
                </a:ln>
              </p:spPr>
              <p:txBody>
                <a:bodyPr rtlCol="0" anchor="ctr"/>
                <a:lstStyle/>
                <a:p>
                  <a:endParaRPr lang="en-GB" dirty="0"/>
                </a:p>
              </p:txBody>
            </p:sp>
            <p:sp>
              <p:nvSpPr>
                <p:cNvPr id="462" name="Freeform: Shape 461">
                  <a:extLst>
                    <a:ext uri="{FF2B5EF4-FFF2-40B4-BE49-F238E27FC236}">
                      <a16:creationId xmlns:a16="http://schemas.microsoft.com/office/drawing/2014/main" id="{A500D2CA-B478-4F17-8D2B-FEC3AAC6935B}"/>
                    </a:ext>
                  </a:extLst>
                </p:cNvPr>
                <p:cNvSpPr/>
                <p:nvPr/>
              </p:nvSpPr>
              <p:spPr>
                <a:xfrm>
                  <a:off x="5433459" y="4665817"/>
                  <a:ext cx="52517" cy="23573"/>
                </a:xfrm>
                <a:custGeom>
                  <a:avLst/>
                  <a:gdLst>
                    <a:gd name="connsiteX0" fmla="*/ 41049 w 52517"/>
                    <a:gd name="connsiteY0" fmla="*/ 23573 h 23573"/>
                    <a:gd name="connsiteX1" fmla="*/ 40808 w 52517"/>
                    <a:gd name="connsiteY1" fmla="*/ 23573 h 23573"/>
                    <a:gd name="connsiteX2" fmla="*/ 11227 w 52517"/>
                    <a:gd name="connsiteY2" fmla="*/ 22931 h 23573"/>
                    <a:gd name="connsiteX3" fmla="*/ 2 w 52517"/>
                    <a:gd name="connsiteY3" fmla="*/ 11225 h 23573"/>
                    <a:gd name="connsiteX4" fmla="*/ 11709 w 52517"/>
                    <a:gd name="connsiteY4" fmla="*/ 0 h 23573"/>
                    <a:gd name="connsiteX5" fmla="*/ 41290 w 52517"/>
                    <a:gd name="connsiteY5" fmla="*/ 642 h 23573"/>
                    <a:gd name="connsiteX6" fmla="*/ 52515 w 52517"/>
                    <a:gd name="connsiteY6" fmla="*/ 12349 h 23573"/>
                    <a:gd name="connsiteX7" fmla="*/ 41049 w 52517"/>
                    <a:gd name="connsiteY7" fmla="*/ 23573 h 23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17" h="23573">
                      <a:moveTo>
                        <a:pt x="41049" y="23573"/>
                      </a:moveTo>
                      <a:cubicBezTo>
                        <a:pt x="40969" y="23573"/>
                        <a:pt x="40877" y="23573"/>
                        <a:pt x="40808" y="23573"/>
                      </a:cubicBezTo>
                      <a:lnTo>
                        <a:pt x="11227" y="22931"/>
                      </a:lnTo>
                      <a:cubicBezTo>
                        <a:pt x="4898" y="22794"/>
                        <a:pt x="-124" y="17543"/>
                        <a:pt x="2" y="11225"/>
                      </a:cubicBezTo>
                      <a:cubicBezTo>
                        <a:pt x="128" y="4907"/>
                        <a:pt x="5655" y="92"/>
                        <a:pt x="11709" y="0"/>
                      </a:cubicBezTo>
                      <a:lnTo>
                        <a:pt x="41290" y="642"/>
                      </a:lnTo>
                      <a:cubicBezTo>
                        <a:pt x="47619" y="780"/>
                        <a:pt x="52641" y="6031"/>
                        <a:pt x="52515" y="12349"/>
                      </a:cubicBezTo>
                      <a:cubicBezTo>
                        <a:pt x="52377" y="18609"/>
                        <a:pt x="47275" y="23573"/>
                        <a:pt x="41049" y="23573"/>
                      </a:cubicBezTo>
                      <a:close/>
                    </a:path>
                  </a:pathLst>
                </a:custGeom>
                <a:grpFill/>
                <a:ln w="1145" cap="flat">
                  <a:noFill/>
                  <a:prstDash val="solid"/>
                  <a:miter/>
                </a:ln>
              </p:spPr>
              <p:txBody>
                <a:bodyPr rtlCol="0" anchor="ctr"/>
                <a:lstStyle/>
                <a:p>
                  <a:endParaRPr lang="en-GB" dirty="0"/>
                </a:p>
              </p:txBody>
            </p:sp>
            <p:sp>
              <p:nvSpPr>
                <p:cNvPr id="463" name="Freeform: Shape 462">
                  <a:extLst>
                    <a:ext uri="{FF2B5EF4-FFF2-40B4-BE49-F238E27FC236}">
                      <a16:creationId xmlns:a16="http://schemas.microsoft.com/office/drawing/2014/main" id="{37973337-89F9-4DE2-9AB9-DBD60E7B5BC4}"/>
                    </a:ext>
                  </a:extLst>
                </p:cNvPr>
                <p:cNvSpPr/>
                <p:nvPr/>
              </p:nvSpPr>
              <p:spPr>
                <a:xfrm>
                  <a:off x="5101917" y="4658582"/>
                  <a:ext cx="50877" cy="23539"/>
                </a:xfrm>
                <a:custGeom>
                  <a:avLst/>
                  <a:gdLst>
                    <a:gd name="connsiteX0" fmla="*/ 39410 w 50877"/>
                    <a:gd name="connsiteY0" fmla="*/ 23539 h 23539"/>
                    <a:gd name="connsiteX1" fmla="*/ 39169 w 50877"/>
                    <a:gd name="connsiteY1" fmla="*/ 23539 h 23539"/>
                    <a:gd name="connsiteX2" fmla="*/ 11227 w 50877"/>
                    <a:gd name="connsiteY2" fmla="*/ 22931 h 23539"/>
                    <a:gd name="connsiteX3" fmla="*/ 2 w 50877"/>
                    <a:gd name="connsiteY3" fmla="*/ 11225 h 23539"/>
                    <a:gd name="connsiteX4" fmla="*/ 11709 w 50877"/>
                    <a:gd name="connsiteY4" fmla="*/ 0 h 23539"/>
                    <a:gd name="connsiteX5" fmla="*/ 39651 w 50877"/>
                    <a:gd name="connsiteY5" fmla="*/ 608 h 23539"/>
                    <a:gd name="connsiteX6" fmla="*/ 50876 w 50877"/>
                    <a:gd name="connsiteY6" fmla="*/ 12314 h 23539"/>
                    <a:gd name="connsiteX7" fmla="*/ 39410 w 50877"/>
                    <a:gd name="connsiteY7" fmla="*/ 23539 h 23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877" h="23539">
                      <a:moveTo>
                        <a:pt x="39410" y="23539"/>
                      </a:moveTo>
                      <a:cubicBezTo>
                        <a:pt x="39330" y="23539"/>
                        <a:pt x="39238" y="23539"/>
                        <a:pt x="39169" y="23539"/>
                      </a:cubicBezTo>
                      <a:lnTo>
                        <a:pt x="11227" y="22931"/>
                      </a:lnTo>
                      <a:cubicBezTo>
                        <a:pt x="4887" y="22794"/>
                        <a:pt x="-124" y="17543"/>
                        <a:pt x="2" y="11225"/>
                      </a:cubicBezTo>
                      <a:cubicBezTo>
                        <a:pt x="129" y="4907"/>
                        <a:pt x="5334" y="126"/>
                        <a:pt x="11709" y="0"/>
                      </a:cubicBezTo>
                      <a:lnTo>
                        <a:pt x="39651" y="608"/>
                      </a:lnTo>
                      <a:cubicBezTo>
                        <a:pt x="45991" y="745"/>
                        <a:pt x="51002" y="5997"/>
                        <a:pt x="50876" y="12314"/>
                      </a:cubicBezTo>
                      <a:cubicBezTo>
                        <a:pt x="50749" y="18574"/>
                        <a:pt x="45636" y="23539"/>
                        <a:pt x="39410" y="23539"/>
                      </a:cubicBezTo>
                      <a:close/>
                    </a:path>
                  </a:pathLst>
                </a:custGeom>
                <a:grpFill/>
                <a:ln w="1145" cap="flat">
                  <a:noFill/>
                  <a:prstDash val="solid"/>
                  <a:miter/>
                </a:ln>
              </p:spPr>
              <p:txBody>
                <a:bodyPr rtlCol="0" anchor="ctr"/>
                <a:lstStyle/>
                <a:p>
                  <a:endParaRPr lang="en-GB" dirty="0"/>
                </a:p>
              </p:txBody>
            </p:sp>
            <p:sp>
              <p:nvSpPr>
                <p:cNvPr id="464" name="Freeform: Shape 463">
                  <a:extLst>
                    <a:ext uri="{FF2B5EF4-FFF2-40B4-BE49-F238E27FC236}">
                      <a16:creationId xmlns:a16="http://schemas.microsoft.com/office/drawing/2014/main" id="{3CFD9F1F-2EAF-4B59-892B-320A5FF5DBB7}"/>
                    </a:ext>
                  </a:extLst>
                </p:cNvPr>
                <p:cNvSpPr/>
                <p:nvPr/>
              </p:nvSpPr>
              <p:spPr>
                <a:xfrm>
                  <a:off x="5144489" y="4761214"/>
                  <a:ext cx="44033" cy="40757"/>
                </a:xfrm>
                <a:custGeom>
                  <a:avLst/>
                  <a:gdLst>
                    <a:gd name="connsiteX0" fmla="*/ 11480 w 44033"/>
                    <a:gd name="connsiteY0" fmla="*/ 40757 h 40757"/>
                    <a:gd name="connsiteX1" fmla="*/ 2708 w 44033"/>
                    <a:gd name="connsiteY1" fmla="*/ 36698 h 40757"/>
                    <a:gd name="connsiteX2" fmla="*/ 4062 w 44033"/>
                    <a:gd name="connsiteY2" fmla="*/ 20543 h 40757"/>
                    <a:gd name="connsiteX3" fmla="*/ 25170 w 44033"/>
                    <a:gd name="connsiteY3" fmla="*/ 2714 h 40757"/>
                    <a:gd name="connsiteX4" fmla="*/ 41325 w 44033"/>
                    <a:gd name="connsiteY4" fmla="*/ 4067 h 40757"/>
                    <a:gd name="connsiteX5" fmla="*/ 39972 w 44033"/>
                    <a:gd name="connsiteY5" fmla="*/ 20222 h 40757"/>
                    <a:gd name="connsiteX6" fmla="*/ 18864 w 44033"/>
                    <a:gd name="connsiteY6" fmla="*/ 38051 h 40757"/>
                    <a:gd name="connsiteX7" fmla="*/ 11480 w 44033"/>
                    <a:gd name="connsiteY7" fmla="*/ 40757 h 4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033" h="40757">
                      <a:moveTo>
                        <a:pt x="11480" y="40757"/>
                      </a:moveTo>
                      <a:cubicBezTo>
                        <a:pt x="8212" y="40757"/>
                        <a:pt x="4979" y="39382"/>
                        <a:pt x="2708" y="36698"/>
                      </a:cubicBezTo>
                      <a:cubicBezTo>
                        <a:pt x="-1373" y="31860"/>
                        <a:pt x="-777" y="24625"/>
                        <a:pt x="4062" y="20543"/>
                      </a:cubicBezTo>
                      <a:lnTo>
                        <a:pt x="25170" y="2714"/>
                      </a:lnTo>
                      <a:cubicBezTo>
                        <a:pt x="30031" y="-1390"/>
                        <a:pt x="37266" y="-760"/>
                        <a:pt x="41325" y="4067"/>
                      </a:cubicBezTo>
                      <a:cubicBezTo>
                        <a:pt x="45407" y="8906"/>
                        <a:pt x="44810" y="16141"/>
                        <a:pt x="39972" y="20222"/>
                      </a:cubicBezTo>
                      <a:lnTo>
                        <a:pt x="18864" y="38051"/>
                      </a:lnTo>
                      <a:cubicBezTo>
                        <a:pt x="16708" y="39874"/>
                        <a:pt x="14083" y="40757"/>
                        <a:pt x="11480" y="40757"/>
                      </a:cubicBezTo>
                      <a:close/>
                    </a:path>
                  </a:pathLst>
                </a:custGeom>
                <a:grpFill/>
                <a:ln w="1145" cap="flat">
                  <a:noFill/>
                  <a:prstDash val="solid"/>
                  <a:miter/>
                </a:ln>
              </p:spPr>
              <p:txBody>
                <a:bodyPr rtlCol="0" anchor="ctr"/>
                <a:lstStyle/>
                <a:p>
                  <a:endParaRPr lang="en-GB" dirty="0"/>
                </a:p>
              </p:txBody>
            </p:sp>
            <p:sp>
              <p:nvSpPr>
                <p:cNvPr id="465" name="Freeform: Shape 464">
                  <a:extLst>
                    <a:ext uri="{FF2B5EF4-FFF2-40B4-BE49-F238E27FC236}">
                      <a16:creationId xmlns:a16="http://schemas.microsoft.com/office/drawing/2014/main" id="{294EDF67-A2E8-45C6-A183-D20AE8B799D6}"/>
                    </a:ext>
                  </a:extLst>
                </p:cNvPr>
                <p:cNvSpPr/>
                <p:nvPr/>
              </p:nvSpPr>
              <p:spPr>
                <a:xfrm>
                  <a:off x="5398557" y="4545954"/>
                  <a:ext cx="44767" cy="41391"/>
                </a:xfrm>
                <a:custGeom>
                  <a:avLst/>
                  <a:gdLst>
                    <a:gd name="connsiteX0" fmla="*/ 11480 w 44767"/>
                    <a:gd name="connsiteY0" fmla="*/ 41392 h 41391"/>
                    <a:gd name="connsiteX1" fmla="*/ 2709 w 44767"/>
                    <a:gd name="connsiteY1" fmla="*/ 37333 h 41391"/>
                    <a:gd name="connsiteX2" fmla="*/ 4061 w 44767"/>
                    <a:gd name="connsiteY2" fmla="*/ 21178 h 41391"/>
                    <a:gd name="connsiteX3" fmla="*/ 25904 w 44767"/>
                    <a:gd name="connsiteY3" fmla="*/ 2718 h 41391"/>
                    <a:gd name="connsiteX4" fmla="*/ 42059 w 44767"/>
                    <a:gd name="connsiteY4" fmla="*/ 4071 h 41391"/>
                    <a:gd name="connsiteX5" fmla="*/ 40706 w 44767"/>
                    <a:gd name="connsiteY5" fmla="*/ 20226 h 41391"/>
                    <a:gd name="connsiteX6" fmla="*/ 18864 w 44767"/>
                    <a:gd name="connsiteY6" fmla="*/ 38686 h 41391"/>
                    <a:gd name="connsiteX7" fmla="*/ 11480 w 44767"/>
                    <a:gd name="connsiteY7" fmla="*/ 41392 h 41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67" h="41391">
                      <a:moveTo>
                        <a:pt x="11480" y="41392"/>
                      </a:moveTo>
                      <a:cubicBezTo>
                        <a:pt x="8212" y="41392"/>
                        <a:pt x="4979" y="40016"/>
                        <a:pt x="2709" y="37333"/>
                      </a:cubicBezTo>
                      <a:cubicBezTo>
                        <a:pt x="-1373" y="32494"/>
                        <a:pt x="-777" y="25260"/>
                        <a:pt x="4061" y="21178"/>
                      </a:cubicBezTo>
                      <a:lnTo>
                        <a:pt x="25904" y="2718"/>
                      </a:lnTo>
                      <a:cubicBezTo>
                        <a:pt x="30754" y="-1387"/>
                        <a:pt x="38000" y="-768"/>
                        <a:pt x="42059" y="4071"/>
                      </a:cubicBezTo>
                      <a:cubicBezTo>
                        <a:pt x="46140" y="8910"/>
                        <a:pt x="45544" y="16144"/>
                        <a:pt x="40706" y="20226"/>
                      </a:cubicBezTo>
                      <a:lnTo>
                        <a:pt x="18864" y="38686"/>
                      </a:lnTo>
                      <a:cubicBezTo>
                        <a:pt x="16720" y="40509"/>
                        <a:pt x="14082" y="41392"/>
                        <a:pt x="11480" y="41392"/>
                      </a:cubicBezTo>
                      <a:close/>
                    </a:path>
                  </a:pathLst>
                </a:custGeom>
                <a:grpFill/>
                <a:ln w="1145" cap="flat">
                  <a:noFill/>
                  <a:prstDash val="solid"/>
                  <a:miter/>
                </a:ln>
              </p:spPr>
              <p:txBody>
                <a:bodyPr rtlCol="0" anchor="ctr"/>
                <a:lstStyle/>
                <a:p>
                  <a:endParaRPr lang="en-GB" dirty="0"/>
                </a:p>
              </p:txBody>
            </p:sp>
          </p:grpSp>
          <p:sp>
            <p:nvSpPr>
              <p:cNvPr id="450" name="Freeform: Shape 449">
                <a:extLst>
                  <a:ext uri="{FF2B5EF4-FFF2-40B4-BE49-F238E27FC236}">
                    <a16:creationId xmlns:a16="http://schemas.microsoft.com/office/drawing/2014/main" id="{0203CE8A-BD1B-43A5-9EB0-B6452233B750}"/>
                  </a:ext>
                </a:extLst>
              </p:cNvPr>
              <p:cNvSpPr/>
              <p:nvPr/>
            </p:nvSpPr>
            <p:spPr>
              <a:xfrm>
                <a:off x="5239140" y="4592450"/>
                <a:ext cx="37299" cy="30966"/>
              </a:xfrm>
              <a:custGeom>
                <a:avLst/>
                <a:gdLst>
                  <a:gd name="connsiteX0" fmla="*/ 25821 w 37299"/>
                  <a:gd name="connsiteY0" fmla="*/ 30967 h 30966"/>
                  <a:gd name="connsiteX1" fmla="*/ 20238 w 37299"/>
                  <a:gd name="connsiteY1" fmla="*/ 29511 h 30966"/>
                  <a:gd name="connsiteX2" fmla="*/ 5871 w 37299"/>
                  <a:gd name="connsiteY2" fmla="*/ 21474 h 30966"/>
                  <a:gd name="connsiteX3" fmla="*/ 1457 w 37299"/>
                  <a:gd name="connsiteY3" fmla="*/ 5869 h 30966"/>
                  <a:gd name="connsiteX4" fmla="*/ 17062 w 37299"/>
                  <a:gd name="connsiteY4" fmla="*/ 1454 h 30966"/>
                  <a:gd name="connsiteX5" fmla="*/ 31428 w 37299"/>
                  <a:gd name="connsiteY5" fmla="*/ 9492 h 30966"/>
                  <a:gd name="connsiteX6" fmla="*/ 35843 w 37299"/>
                  <a:gd name="connsiteY6" fmla="*/ 25097 h 30966"/>
                  <a:gd name="connsiteX7" fmla="*/ 25821 w 37299"/>
                  <a:gd name="connsiteY7" fmla="*/ 30967 h 30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299" h="30966">
                    <a:moveTo>
                      <a:pt x="25821" y="30967"/>
                    </a:moveTo>
                    <a:cubicBezTo>
                      <a:pt x="23930" y="30967"/>
                      <a:pt x="22003" y="30497"/>
                      <a:pt x="20238" y="29511"/>
                    </a:cubicBezTo>
                    <a:lnTo>
                      <a:pt x="5871" y="21474"/>
                    </a:lnTo>
                    <a:cubicBezTo>
                      <a:pt x="345" y="18366"/>
                      <a:pt x="-1627" y="11384"/>
                      <a:pt x="1457" y="5869"/>
                    </a:cubicBezTo>
                    <a:cubicBezTo>
                      <a:pt x="4541" y="354"/>
                      <a:pt x="11524" y="-1630"/>
                      <a:pt x="17062" y="1454"/>
                    </a:cubicBezTo>
                    <a:lnTo>
                      <a:pt x="31428" y="9492"/>
                    </a:lnTo>
                    <a:cubicBezTo>
                      <a:pt x="36955" y="12599"/>
                      <a:pt x="38927" y="19582"/>
                      <a:pt x="35843" y="25097"/>
                    </a:cubicBezTo>
                    <a:cubicBezTo>
                      <a:pt x="33744" y="28857"/>
                      <a:pt x="29846" y="30967"/>
                      <a:pt x="25821" y="30967"/>
                    </a:cubicBezTo>
                    <a:close/>
                  </a:path>
                </a:pathLst>
              </a:custGeom>
              <a:grpFill/>
              <a:ln w="1145" cap="flat">
                <a:noFill/>
                <a:prstDash val="solid"/>
                <a:miter/>
              </a:ln>
            </p:spPr>
            <p:txBody>
              <a:bodyPr rtlCol="0" anchor="ctr"/>
              <a:lstStyle/>
              <a:p>
                <a:endParaRPr lang="en-GB" dirty="0"/>
              </a:p>
            </p:txBody>
          </p:sp>
          <p:sp>
            <p:nvSpPr>
              <p:cNvPr id="451" name="Freeform: Shape 450">
                <a:extLst>
                  <a:ext uri="{FF2B5EF4-FFF2-40B4-BE49-F238E27FC236}">
                    <a16:creationId xmlns:a16="http://schemas.microsoft.com/office/drawing/2014/main" id="{C165E422-B37A-4517-A43F-A78B0DFDA752}"/>
                  </a:ext>
                </a:extLst>
              </p:cNvPr>
              <p:cNvSpPr/>
              <p:nvPr/>
            </p:nvSpPr>
            <p:spPr>
              <a:xfrm>
                <a:off x="5251804" y="4729559"/>
                <a:ext cx="37986" cy="25953"/>
              </a:xfrm>
              <a:custGeom>
                <a:avLst/>
                <a:gdLst>
                  <a:gd name="connsiteX0" fmla="*/ 11448 w 37986"/>
                  <a:gd name="connsiteY0" fmla="*/ 25954 h 25953"/>
                  <a:gd name="connsiteX1" fmla="*/ 224 w 37986"/>
                  <a:gd name="connsiteY1" fmla="*/ 16724 h 25953"/>
                  <a:gd name="connsiteX2" fmla="*/ 9224 w 37986"/>
                  <a:gd name="connsiteY2" fmla="*/ 3240 h 25953"/>
                  <a:gd name="connsiteX3" fmla="*/ 24279 w 37986"/>
                  <a:gd name="connsiteY3" fmla="*/ 236 h 25953"/>
                  <a:gd name="connsiteX4" fmla="*/ 37762 w 37986"/>
                  <a:gd name="connsiteY4" fmla="*/ 9237 h 25953"/>
                  <a:gd name="connsiteX5" fmla="*/ 28762 w 37986"/>
                  <a:gd name="connsiteY5" fmla="*/ 22720 h 25953"/>
                  <a:gd name="connsiteX6" fmla="*/ 13707 w 37986"/>
                  <a:gd name="connsiteY6" fmla="*/ 25725 h 25953"/>
                  <a:gd name="connsiteX7" fmla="*/ 11448 w 37986"/>
                  <a:gd name="connsiteY7" fmla="*/ 25954 h 25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86" h="25953">
                    <a:moveTo>
                      <a:pt x="11448" y="25954"/>
                    </a:moveTo>
                    <a:cubicBezTo>
                      <a:pt x="6083" y="25954"/>
                      <a:pt x="1302" y="22181"/>
                      <a:pt x="224" y="16724"/>
                    </a:cubicBezTo>
                    <a:cubicBezTo>
                      <a:pt x="-1015" y="10510"/>
                      <a:pt x="3010" y="4478"/>
                      <a:pt x="9224" y="3240"/>
                    </a:cubicBezTo>
                    <a:lnTo>
                      <a:pt x="24279" y="236"/>
                    </a:lnTo>
                    <a:cubicBezTo>
                      <a:pt x="30459" y="-1048"/>
                      <a:pt x="36513" y="3034"/>
                      <a:pt x="37762" y="9237"/>
                    </a:cubicBezTo>
                    <a:cubicBezTo>
                      <a:pt x="39001" y="15451"/>
                      <a:pt x="34976" y="21482"/>
                      <a:pt x="28762" y="22720"/>
                    </a:cubicBezTo>
                    <a:lnTo>
                      <a:pt x="13707" y="25725"/>
                    </a:lnTo>
                    <a:cubicBezTo>
                      <a:pt x="12951" y="25885"/>
                      <a:pt x="12194" y="25954"/>
                      <a:pt x="11448" y="25954"/>
                    </a:cubicBezTo>
                    <a:close/>
                  </a:path>
                </a:pathLst>
              </a:custGeom>
              <a:grpFill/>
              <a:ln w="1145" cap="flat">
                <a:noFill/>
                <a:prstDash val="solid"/>
                <a:miter/>
              </a:ln>
            </p:spPr>
            <p:txBody>
              <a:bodyPr rtlCol="0" anchor="ctr"/>
              <a:lstStyle/>
              <a:p>
                <a:endParaRPr lang="en-GB" dirty="0"/>
              </a:p>
            </p:txBody>
          </p:sp>
          <p:sp>
            <p:nvSpPr>
              <p:cNvPr id="452" name="Freeform: Shape 451">
                <a:extLst>
                  <a:ext uri="{FF2B5EF4-FFF2-40B4-BE49-F238E27FC236}">
                    <a16:creationId xmlns:a16="http://schemas.microsoft.com/office/drawing/2014/main" id="{E8796EF5-0F60-4143-881B-C9984D2D1199}"/>
                  </a:ext>
                </a:extLst>
              </p:cNvPr>
              <p:cNvSpPr/>
              <p:nvPr/>
            </p:nvSpPr>
            <p:spPr>
              <a:xfrm>
                <a:off x="5347475" y="4665640"/>
                <a:ext cx="30129" cy="38219"/>
              </a:xfrm>
              <a:custGeom>
                <a:avLst/>
                <a:gdLst>
                  <a:gd name="connsiteX0" fmla="*/ 11459 w 30129"/>
                  <a:gd name="connsiteY0" fmla="*/ 38220 h 38219"/>
                  <a:gd name="connsiteX1" fmla="*/ 6586 w 30129"/>
                  <a:gd name="connsiteY1" fmla="*/ 37130 h 38219"/>
                  <a:gd name="connsiteX2" fmla="*/ 1094 w 30129"/>
                  <a:gd name="connsiteY2" fmla="*/ 21870 h 38219"/>
                  <a:gd name="connsiteX3" fmla="*/ 8283 w 30129"/>
                  <a:gd name="connsiteY3" fmla="*/ 6586 h 38219"/>
                  <a:gd name="connsiteX4" fmla="*/ 23543 w 30129"/>
                  <a:gd name="connsiteY4" fmla="*/ 1094 h 38219"/>
                  <a:gd name="connsiteX5" fmla="*/ 29036 w 30129"/>
                  <a:gd name="connsiteY5" fmla="*/ 16355 h 38219"/>
                  <a:gd name="connsiteX6" fmla="*/ 21847 w 30129"/>
                  <a:gd name="connsiteY6" fmla="*/ 31638 h 38219"/>
                  <a:gd name="connsiteX7" fmla="*/ 11459 w 30129"/>
                  <a:gd name="connsiteY7" fmla="*/ 38220 h 38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129" h="38219">
                    <a:moveTo>
                      <a:pt x="11459" y="38220"/>
                    </a:moveTo>
                    <a:cubicBezTo>
                      <a:pt x="9819" y="38220"/>
                      <a:pt x="8168" y="37875"/>
                      <a:pt x="6586" y="37130"/>
                    </a:cubicBezTo>
                    <a:cubicBezTo>
                      <a:pt x="853" y="34436"/>
                      <a:pt x="-1601" y="27602"/>
                      <a:pt x="1094" y="21870"/>
                    </a:cubicBezTo>
                    <a:lnTo>
                      <a:pt x="8283" y="6586"/>
                    </a:lnTo>
                    <a:cubicBezTo>
                      <a:pt x="10977" y="853"/>
                      <a:pt x="17788" y="-1601"/>
                      <a:pt x="23543" y="1094"/>
                    </a:cubicBezTo>
                    <a:cubicBezTo>
                      <a:pt x="29276" y="3788"/>
                      <a:pt x="31730" y="10622"/>
                      <a:pt x="29036" y="16355"/>
                    </a:cubicBezTo>
                    <a:lnTo>
                      <a:pt x="21847" y="31638"/>
                    </a:lnTo>
                    <a:cubicBezTo>
                      <a:pt x="19886" y="35789"/>
                      <a:pt x="15770" y="38220"/>
                      <a:pt x="11459" y="38220"/>
                    </a:cubicBezTo>
                    <a:close/>
                  </a:path>
                </a:pathLst>
              </a:custGeom>
              <a:grpFill/>
              <a:ln w="1145" cap="flat">
                <a:noFill/>
                <a:prstDash val="solid"/>
                <a:miter/>
              </a:ln>
            </p:spPr>
            <p:txBody>
              <a:bodyPr rtlCol="0" anchor="ctr"/>
              <a:lstStyle/>
              <a:p>
                <a:endParaRPr lang="en-GB" dirty="0"/>
              </a:p>
            </p:txBody>
          </p:sp>
        </p:grpSp>
      </p:grpSp>
      <p:grpSp>
        <p:nvGrpSpPr>
          <p:cNvPr id="14" name="Group 13">
            <a:extLst>
              <a:ext uri="{FF2B5EF4-FFF2-40B4-BE49-F238E27FC236}">
                <a16:creationId xmlns:a16="http://schemas.microsoft.com/office/drawing/2014/main" id="{A110D33C-4156-09B3-74D9-17CF0E68E321}"/>
              </a:ext>
            </a:extLst>
          </p:cNvPr>
          <p:cNvGrpSpPr/>
          <p:nvPr/>
        </p:nvGrpSpPr>
        <p:grpSpPr>
          <a:xfrm>
            <a:off x="580416" y="3197068"/>
            <a:ext cx="427268" cy="483788"/>
            <a:chOff x="580416" y="3197068"/>
            <a:chExt cx="427268" cy="483788"/>
          </a:xfrm>
        </p:grpSpPr>
        <p:grpSp>
          <p:nvGrpSpPr>
            <p:cNvPr id="234" name="Graphic 48">
              <a:extLst>
                <a:ext uri="{FF2B5EF4-FFF2-40B4-BE49-F238E27FC236}">
                  <a16:creationId xmlns:a16="http://schemas.microsoft.com/office/drawing/2014/main" id="{6A428E5B-FEF7-4CF3-A3D5-DBE4E9428D93}"/>
                </a:ext>
              </a:extLst>
            </p:cNvPr>
            <p:cNvGrpSpPr/>
            <p:nvPr/>
          </p:nvGrpSpPr>
          <p:grpSpPr>
            <a:xfrm>
              <a:off x="677210" y="3197068"/>
              <a:ext cx="233945" cy="178614"/>
              <a:chOff x="5075675" y="2859859"/>
              <a:chExt cx="414873" cy="316750"/>
            </a:xfrm>
            <a:solidFill>
              <a:schemeClr val="accent1"/>
            </a:solidFill>
          </p:grpSpPr>
          <p:sp>
            <p:nvSpPr>
              <p:cNvPr id="263" name="Freeform: Shape 262">
                <a:extLst>
                  <a:ext uri="{FF2B5EF4-FFF2-40B4-BE49-F238E27FC236}">
                    <a16:creationId xmlns:a16="http://schemas.microsoft.com/office/drawing/2014/main" id="{743CE7E9-3F65-4FB1-88E5-F3A0CBB99B00}"/>
                  </a:ext>
                </a:extLst>
              </p:cNvPr>
              <p:cNvSpPr/>
              <p:nvPr/>
            </p:nvSpPr>
            <p:spPr>
              <a:xfrm>
                <a:off x="5245515" y="2924697"/>
                <a:ext cx="77875" cy="77886"/>
              </a:xfrm>
              <a:custGeom>
                <a:avLst/>
                <a:gdLst>
                  <a:gd name="connsiteX0" fmla="*/ 38937 w 77875"/>
                  <a:gd name="connsiteY0" fmla="*/ 77886 h 77886"/>
                  <a:gd name="connsiteX1" fmla="*/ 0 w 77875"/>
                  <a:gd name="connsiteY1" fmla="*/ 38937 h 77886"/>
                  <a:gd name="connsiteX2" fmla="*/ 38937 w 77875"/>
                  <a:gd name="connsiteY2" fmla="*/ 0 h 77886"/>
                  <a:gd name="connsiteX3" fmla="*/ 77875 w 77875"/>
                  <a:gd name="connsiteY3" fmla="*/ 38937 h 77886"/>
                  <a:gd name="connsiteX4" fmla="*/ 38937 w 77875"/>
                  <a:gd name="connsiteY4" fmla="*/ 77886 h 77886"/>
                  <a:gd name="connsiteX5" fmla="*/ 38937 w 77875"/>
                  <a:gd name="connsiteY5" fmla="*/ 22920 h 77886"/>
                  <a:gd name="connsiteX6" fmla="*/ 22931 w 77875"/>
                  <a:gd name="connsiteY6" fmla="*/ 38926 h 77886"/>
                  <a:gd name="connsiteX7" fmla="*/ 38937 w 77875"/>
                  <a:gd name="connsiteY7" fmla="*/ 54943 h 77886"/>
                  <a:gd name="connsiteX8" fmla="*/ 54944 w 77875"/>
                  <a:gd name="connsiteY8" fmla="*/ 38926 h 77886"/>
                  <a:gd name="connsiteX9" fmla="*/ 38937 w 77875"/>
                  <a:gd name="connsiteY9" fmla="*/ 22920 h 77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75" h="77886">
                    <a:moveTo>
                      <a:pt x="38937" y="77886"/>
                    </a:moveTo>
                    <a:cubicBezTo>
                      <a:pt x="17462" y="77886"/>
                      <a:pt x="0" y="60413"/>
                      <a:pt x="0" y="38937"/>
                    </a:cubicBezTo>
                    <a:cubicBezTo>
                      <a:pt x="0" y="17462"/>
                      <a:pt x="17462" y="0"/>
                      <a:pt x="38937" y="0"/>
                    </a:cubicBezTo>
                    <a:cubicBezTo>
                      <a:pt x="60413" y="0"/>
                      <a:pt x="77875" y="17462"/>
                      <a:pt x="77875" y="38937"/>
                    </a:cubicBezTo>
                    <a:cubicBezTo>
                      <a:pt x="77875" y="60413"/>
                      <a:pt x="60413" y="77886"/>
                      <a:pt x="38937" y="77886"/>
                    </a:cubicBezTo>
                    <a:close/>
                    <a:moveTo>
                      <a:pt x="38937" y="22920"/>
                    </a:moveTo>
                    <a:cubicBezTo>
                      <a:pt x="30097" y="22920"/>
                      <a:pt x="22931" y="30097"/>
                      <a:pt x="22931" y="38926"/>
                    </a:cubicBezTo>
                    <a:cubicBezTo>
                      <a:pt x="22931" y="47754"/>
                      <a:pt x="30109" y="54943"/>
                      <a:pt x="38937" y="54943"/>
                    </a:cubicBezTo>
                    <a:cubicBezTo>
                      <a:pt x="47766" y="54943"/>
                      <a:pt x="54944" y="47754"/>
                      <a:pt x="54944" y="38926"/>
                    </a:cubicBezTo>
                    <a:cubicBezTo>
                      <a:pt x="54944" y="30097"/>
                      <a:pt x="47766" y="22920"/>
                      <a:pt x="38937" y="22920"/>
                    </a:cubicBezTo>
                    <a:close/>
                  </a:path>
                </a:pathLst>
              </a:custGeom>
              <a:solidFill>
                <a:schemeClr val="accent1"/>
              </a:solidFill>
              <a:ln w="1145" cap="flat">
                <a:noFill/>
                <a:prstDash val="solid"/>
                <a:miter/>
              </a:ln>
            </p:spPr>
            <p:txBody>
              <a:bodyPr rtlCol="0" anchor="ctr"/>
              <a:lstStyle/>
              <a:p>
                <a:endParaRPr lang="en-GB" dirty="0"/>
              </a:p>
            </p:txBody>
          </p:sp>
          <p:sp>
            <p:nvSpPr>
              <p:cNvPr id="264" name="Freeform: Shape 263">
                <a:extLst>
                  <a:ext uri="{FF2B5EF4-FFF2-40B4-BE49-F238E27FC236}">
                    <a16:creationId xmlns:a16="http://schemas.microsoft.com/office/drawing/2014/main" id="{1D8209DF-FD25-4A15-9811-073001DF5E86}"/>
                  </a:ext>
                </a:extLst>
              </p:cNvPr>
              <p:cNvSpPr/>
              <p:nvPr/>
            </p:nvSpPr>
            <p:spPr>
              <a:xfrm>
                <a:off x="5075675" y="2973552"/>
                <a:ext cx="77874" cy="77875"/>
              </a:xfrm>
              <a:custGeom>
                <a:avLst/>
                <a:gdLst>
                  <a:gd name="connsiteX0" fmla="*/ 38937 w 77874"/>
                  <a:gd name="connsiteY0" fmla="*/ 77875 h 77875"/>
                  <a:gd name="connsiteX1" fmla="*/ 0 w 77874"/>
                  <a:gd name="connsiteY1" fmla="*/ 38937 h 77875"/>
                  <a:gd name="connsiteX2" fmla="*/ 38937 w 77874"/>
                  <a:gd name="connsiteY2" fmla="*/ 0 h 77875"/>
                  <a:gd name="connsiteX3" fmla="*/ 77875 w 77874"/>
                  <a:gd name="connsiteY3" fmla="*/ 38937 h 77875"/>
                  <a:gd name="connsiteX4" fmla="*/ 38937 w 77874"/>
                  <a:gd name="connsiteY4" fmla="*/ 77875 h 77875"/>
                  <a:gd name="connsiteX5" fmla="*/ 38937 w 77874"/>
                  <a:gd name="connsiteY5" fmla="*/ 22920 h 77875"/>
                  <a:gd name="connsiteX6" fmla="*/ 22931 w 77874"/>
                  <a:gd name="connsiteY6" fmla="*/ 38926 h 77875"/>
                  <a:gd name="connsiteX7" fmla="*/ 38937 w 77874"/>
                  <a:gd name="connsiteY7" fmla="*/ 54932 h 77875"/>
                  <a:gd name="connsiteX8" fmla="*/ 54943 w 77874"/>
                  <a:gd name="connsiteY8" fmla="*/ 38926 h 77875"/>
                  <a:gd name="connsiteX9" fmla="*/ 38937 w 77874"/>
                  <a:gd name="connsiteY9" fmla="*/ 22920 h 7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74" h="77875">
                    <a:moveTo>
                      <a:pt x="38937" y="77875"/>
                    </a:moveTo>
                    <a:cubicBezTo>
                      <a:pt x="17462" y="77875"/>
                      <a:pt x="0" y="60413"/>
                      <a:pt x="0" y="38937"/>
                    </a:cubicBezTo>
                    <a:cubicBezTo>
                      <a:pt x="0" y="17462"/>
                      <a:pt x="17462" y="0"/>
                      <a:pt x="38937" y="0"/>
                    </a:cubicBezTo>
                    <a:cubicBezTo>
                      <a:pt x="60413" y="0"/>
                      <a:pt x="77875" y="17462"/>
                      <a:pt x="77875" y="38937"/>
                    </a:cubicBezTo>
                    <a:cubicBezTo>
                      <a:pt x="77875" y="60413"/>
                      <a:pt x="60413" y="77875"/>
                      <a:pt x="38937" y="77875"/>
                    </a:cubicBezTo>
                    <a:close/>
                    <a:moveTo>
                      <a:pt x="38937" y="22920"/>
                    </a:moveTo>
                    <a:cubicBezTo>
                      <a:pt x="30097" y="22920"/>
                      <a:pt x="22931" y="30097"/>
                      <a:pt x="22931" y="38926"/>
                    </a:cubicBezTo>
                    <a:cubicBezTo>
                      <a:pt x="22931" y="47755"/>
                      <a:pt x="30109" y="54932"/>
                      <a:pt x="38937" y="54932"/>
                    </a:cubicBezTo>
                    <a:cubicBezTo>
                      <a:pt x="47766" y="54932"/>
                      <a:pt x="54943" y="47755"/>
                      <a:pt x="54943" y="38926"/>
                    </a:cubicBezTo>
                    <a:cubicBezTo>
                      <a:pt x="54943" y="30097"/>
                      <a:pt x="47777" y="22920"/>
                      <a:pt x="38937" y="22920"/>
                    </a:cubicBezTo>
                    <a:close/>
                  </a:path>
                </a:pathLst>
              </a:custGeom>
              <a:solidFill>
                <a:schemeClr val="accent1"/>
              </a:solidFill>
              <a:ln w="1145" cap="flat">
                <a:noFill/>
                <a:prstDash val="solid"/>
                <a:miter/>
              </a:ln>
            </p:spPr>
            <p:txBody>
              <a:bodyPr rtlCol="0" anchor="ctr"/>
              <a:lstStyle/>
              <a:p>
                <a:endParaRPr lang="en-GB" dirty="0"/>
              </a:p>
            </p:txBody>
          </p:sp>
          <p:sp>
            <p:nvSpPr>
              <p:cNvPr id="265" name="Freeform: Shape 264">
                <a:extLst>
                  <a:ext uri="{FF2B5EF4-FFF2-40B4-BE49-F238E27FC236}">
                    <a16:creationId xmlns:a16="http://schemas.microsoft.com/office/drawing/2014/main" id="{A959D07D-2B6D-43B3-B195-D9E04795FAA6}"/>
                  </a:ext>
                </a:extLst>
              </p:cNvPr>
              <p:cNvSpPr/>
              <p:nvPr/>
            </p:nvSpPr>
            <p:spPr>
              <a:xfrm>
                <a:off x="5126425" y="2979655"/>
                <a:ext cx="153447" cy="106501"/>
              </a:xfrm>
              <a:custGeom>
                <a:avLst/>
                <a:gdLst>
                  <a:gd name="connsiteX0" fmla="*/ 73297 w 153447"/>
                  <a:gd name="connsiteY0" fmla="*/ 106502 h 106501"/>
                  <a:gd name="connsiteX1" fmla="*/ 169 w 153447"/>
                  <a:gd name="connsiteY1" fmla="*/ 50022 h 106501"/>
                  <a:gd name="connsiteX2" fmla="*/ 9536 w 153447"/>
                  <a:gd name="connsiteY2" fmla="*/ 36802 h 106501"/>
                  <a:gd name="connsiteX3" fmla="*/ 22756 w 153447"/>
                  <a:gd name="connsiteY3" fmla="*/ 46170 h 106501"/>
                  <a:gd name="connsiteX4" fmla="*/ 73285 w 153447"/>
                  <a:gd name="connsiteY4" fmla="*/ 83570 h 106501"/>
                  <a:gd name="connsiteX5" fmla="*/ 130694 w 153447"/>
                  <a:gd name="connsiteY5" fmla="*/ 9433 h 106501"/>
                  <a:gd name="connsiteX6" fmla="*/ 144006 w 153447"/>
                  <a:gd name="connsiteY6" fmla="*/ 181 h 106501"/>
                  <a:gd name="connsiteX7" fmla="*/ 153270 w 153447"/>
                  <a:gd name="connsiteY7" fmla="*/ 13469 h 106501"/>
                  <a:gd name="connsiteX8" fmla="*/ 73297 w 153447"/>
                  <a:gd name="connsiteY8" fmla="*/ 106502 h 106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447" h="106501">
                    <a:moveTo>
                      <a:pt x="73297" y="106502"/>
                    </a:moveTo>
                    <a:cubicBezTo>
                      <a:pt x="23077" y="106502"/>
                      <a:pt x="3505" y="69559"/>
                      <a:pt x="169" y="50022"/>
                    </a:cubicBezTo>
                    <a:cubicBezTo>
                      <a:pt x="-909" y="43785"/>
                      <a:pt x="3287" y="37857"/>
                      <a:pt x="9536" y="36802"/>
                    </a:cubicBezTo>
                    <a:cubicBezTo>
                      <a:pt x="15808" y="35736"/>
                      <a:pt x="21713" y="39921"/>
                      <a:pt x="22756" y="46170"/>
                    </a:cubicBezTo>
                    <a:cubicBezTo>
                      <a:pt x="23467" y="49930"/>
                      <a:pt x="30897" y="83570"/>
                      <a:pt x="73285" y="83570"/>
                    </a:cubicBezTo>
                    <a:cubicBezTo>
                      <a:pt x="116821" y="83570"/>
                      <a:pt x="130556" y="10190"/>
                      <a:pt x="130694" y="9433"/>
                    </a:cubicBezTo>
                    <a:cubicBezTo>
                      <a:pt x="131818" y="3208"/>
                      <a:pt x="137711" y="-932"/>
                      <a:pt x="144006" y="181"/>
                    </a:cubicBezTo>
                    <a:cubicBezTo>
                      <a:pt x="150232" y="1293"/>
                      <a:pt x="154371" y="7232"/>
                      <a:pt x="153270" y="13469"/>
                    </a:cubicBezTo>
                    <a:cubicBezTo>
                      <a:pt x="152605" y="17276"/>
                      <a:pt x="135991" y="106502"/>
                      <a:pt x="73297" y="106502"/>
                    </a:cubicBezTo>
                    <a:close/>
                  </a:path>
                </a:pathLst>
              </a:custGeom>
              <a:solidFill>
                <a:schemeClr val="accent1"/>
              </a:solidFill>
              <a:ln w="1145" cap="flat">
                <a:noFill/>
                <a:prstDash val="solid"/>
                <a:miter/>
              </a:ln>
            </p:spPr>
            <p:txBody>
              <a:bodyPr rtlCol="0" anchor="ctr"/>
              <a:lstStyle/>
              <a:p>
                <a:endParaRPr lang="en-GB" dirty="0"/>
              </a:p>
            </p:txBody>
          </p:sp>
          <p:sp>
            <p:nvSpPr>
              <p:cNvPr id="266" name="Freeform: Shape 265">
                <a:extLst>
                  <a:ext uri="{FF2B5EF4-FFF2-40B4-BE49-F238E27FC236}">
                    <a16:creationId xmlns:a16="http://schemas.microsoft.com/office/drawing/2014/main" id="{F9E87A69-CAD2-45C1-A417-8596FE6E70C8}"/>
                  </a:ext>
                </a:extLst>
              </p:cNvPr>
              <p:cNvSpPr/>
              <p:nvPr/>
            </p:nvSpPr>
            <p:spPr>
              <a:xfrm>
                <a:off x="5099714" y="3030792"/>
                <a:ext cx="366203" cy="145817"/>
              </a:xfrm>
              <a:custGeom>
                <a:avLst/>
                <a:gdLst>
                  <a:gd name="connsiteX0" fmla="*/ 312959 w 366203"/>
                  <a:gd name="connsiteY0" fmla="*/ 145818 h 145817"/>
                  <a:gd name="connsiteX1" fmla="*/ 56495 w 366203"/>
                  <a:gd name="connsiteY1" fmla="*/ 145818 h 145817"/>
                  <a:gd name="connsiteX2" fmla="*/ 45740 w 366203"/>
                  <a:gd name="connsiteY2" fmla="*/ 138296 h 145817"/>
                  <a:gd name="connsiteX3" fmla="*/ 704 w 366203"/>
                  <a:gd name="connsiteY3" fmla="*/ 15407 h 145817"/>
                  <a:gd name="connsiteX4" fmla="*/ 7526 w 366203"/>
                  <a:gd name="connsiteY4" fmla="*/ 708 h 145817"/>
                  <a:gd name="connsiteX5" fmla="*/ 22224 w 366203"/>
                  <a:gd name="connsiteY5" fmla="*/ 7530 h 145817"/>
                  <a:gd name="connsiteX6" fmla="*/ 64510 w 366203"/>
                  <a:gd name="connsiteY6" fmla="*/ 122898 h 145817"/>
                  <a:gd name="connsiteX7" fmla="*/ 304785 w 366203"/>
                  <a:gd name="connsiteY7" fmla="*/ 122898 h 145817"/>
                  <a:gd name="connsiteX8" fmla="*/ 343894 w 366203"/>
                  <a:gd name="connsiteY8" fmla="*/ 9147 h 145817"/>
                  <a:gd name="connsiteX9" fmla="*/ 358467 w 366203"/>
                  <a:gd name="connsiteY9" fmla="*/ 2038 h 145817"/>
                  <a:gd name="connsiteX10" fmla="*/ 365576 w 366203"/>
                  <a:gd name="connsiteY10" fmla="*/ 16611 h 145817"/>
                  <a:gd name="connsiteX11" fmla="*/ 323806 w 366203"/>
                  <a:gd name="connsiteY11" fmla="*/ 138101 h 145817"/>
                  <a:gd name="connsiteX12" fmla="*/ 312959 w 366203"/>
                  <a:gd name="connsiteY12" fmla="*/ 145818 h 14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6203" h="145817">
                    <a:moveTo>
                      <a:pt x="312959" y="145818"/>
                    </a:moveTo>
                    <a:lnTo>
                      <a:pt x="56495" y="145818"/>
                    </a:lnTo>
                    <a:cubicBezTo>
                      <a:pt x="51680" y="145818"/>
                      <a:pt x="47380" y="142813"/>
                      <a:pt x="45740" y="138296"/>
                    </a:cubicBezTo>
                    <a:lnTo>
                      <a:pt x="704" y="15407"/>
                    </a:lnTo>
                    <a:cubicBezTo>
                      <a:pt x="-1475" y="9456"/>
                      <a:pt x="1575" y="2875"/>
                      <a:pt x="7526" y="708"/>
                    </a:cubicBezTo>
                    <a:cubicBezTo>
                      <a:pt x="13476" y="-1482"/>
                      <a:pt x="20046" y="1579"/>
                      <a:pt x="22224" y="7530"/>
                    </a:cubicBezTo>
                    <a:lnTo>
                      <a:pt x="64510" y="122898"/>
                    </a:lnTo>
                    <a:lnTo>
                      <a:pt x="304785" y="122898"/>
                    </a:lnTo>
                    <a:lnTo>
                      <a:pt x="343894" y="9147"/>
                    </a:lnTo>
                    <a:cubicBezTo>
                      <a:pt x="345958" y="3173"/>
                      <a:pt x="352459" y="-26"/>
                      <a:pt x="358467" y="2038"/>
                    </a:cubicBezTo>
                    <a:cubicBezTo>
                      <a:pt x="364452" y="4090"/>
                      <a:pt x="367639" y="10614"/>
                      <a:pt x="365576" y="16611"/>
                    </a:cubicBezTo>
                    <a:lnTo>
                      <a:pt x="323806" y="138101"/>
                    </a:lnTo>
                    <a:cubicBezTo>
                      <a:pt x="322212" y="142699"/>
                      <a:pt x="317855" y="145818"/>
                      <a:pt x="312959" y="145818"/>
                    </a:cubicBezTo>
                    <a:close/>
                  </a:path>
                </a:pathLst>
              </a:custGeom>
              <a:solidFill>
                <a:schemeClr val="accent1"/>
              </a:solidFill>
              <a:ln w="1145" cap="flat">
                <a:noFill/>
                <a:prstDash val="solid"/>
                <a:miter/>
              </a:ln>
            </p:spPr>
            <p:txBody>
              <a:bodyPr rtlCol="0" anchor="ctr"/>
              <a:lstStyle/>
              <a:p>
                <a:endParaRPr lang="en-GB" dirty="0"/>
              </a:p>
            </p:txBody>
          </p:sp>
          <p:sp>
            <p:nvSpPr>
              <p:cNvPr id="267" name="Freeform: Shape 266">
                <a:extLst>
                  <a:ext uri="{FF2B5EF4-FFF2-40B4-BE49-F238E27FC236}">
                    <a16:creationId xmlns:a16="http://schemas.microsoft.com/office/drawing/2014/main" id="{EB8FBB34-39E5-400D-B09E-8823CFEE20F5}"/>
                  </a:ext>
                </a:extLst>
              </p:cNvPr>
              <p:cNvSpPr/>
              <p:nvPr/>
            </p:nvSpPr>
            <p:spPr>
              <a:xfrm>
                <a:off x="5412673" y="2973552"/>
                <a:ext cx="77874" cy="77875"/>
              </a:xfrm>
              <a:custGeom>
                <a:avLst/>
                <a:gdLst>
                  <a:gd name="connsiteX0" fmla="*/ 38937 w 77874"/>
                  <a:gd name="connsiteY0" fmla="*/ 77875 h 77875"/>
                  <a:gd name="connsiteX1" fmla="*/ 0 w 77874"/>
                  <a:gd name="connsiteY1" fmla="*/ 38937 h 77875"/>
                  <a:gd name="connsiteX2" fmla="*/ 38937 w 77874"/>
                  <a:gd name="connsiteY2" fmla="*/ 0 h 77875"/>
                  <a:gd name="connsiteX3" fmla="*/ 77875 w 77874"/>
                  <a:gd name="connsiteY3" fmla="*/ 38937 h 77875"/>
                  <a:gd name="connsiteX4" fmla="*/ 38937 w 77874"/>
                  <a:gd name="connsiteY4" fmla="*/ 77875 h 77875"/>
                  <a:gd name="connsiteX5" fmla="*/ 38937 w 77874"/>
                  <a:gd name="connsiteY5" fmla="*/ 22920 h 77875"/>
                  <a:gd name="connsiteX6" fmla="*/ 22931 w 77874"/>
                  <a:gd name="connsiteY6" fmla="*/ 38926 h 77875"/>
                  <a:gd name="connsiteX7" fmla="*/ 38937 w 77874"/>
                  <a:gd name="connsiteY7" fmla="*/ 54932 h 77875"/>
                  <a:gd name="connsiteX8" fmla="*/ 54943 w 77874"/>
                  <a:gd name="connsiteY8" fmla="*/ 38926 h 77875"/>
                  <a:gd name="connsiteX9" fmla="*/ 38937 w 77874"/>
                  <a:gd name="connsiteY9" fmla="*/ 22920 h 7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74" h="77875">
                    <a:moveTo>
                      <a:pt x="38937" y="77875"/>
                    </a:moveTo>
                    <a:cubicBezTo>
                      <a:pt x="17462" y="77875"/>
                      <a:pt x="0" y="60413"/>
                      <a:pt x="0" y="38937"/>
                    </a:cubicBezTo>
                    <a:cubicBezTo>
                      <a:pt x="0" y="17462"/>
                      <a:pt x="17462" y="0"/>
                      <a:pt x="38937" y="0"/>
                    </a:cubicBezTo>
                    <a:cubicBezTo>
                      <a:pt x="60413" y="0"/>
                      <a:pt x="77875" y="17462"/>
                      <a:pt x="77875" y="38937"/>
                    </a:cubicBezTo>
                    <a:cubicBezTo>
                      <a:pt x="77875" y="60413"/>
                      <a:pt x="60413" y="77875"/>
                      <a:pt x="38937" y="77875"/>
                    </a:cubicBezTo>
                    <a:close/>
                    <a:moveTo>
                      <a:pt x="38937" y="22920"/>
                    </a:moveTo>
                    <a:cubicBezTo>
                      <a:pt x="30097" y="22920"/>
                      <a:pt x="22931" y="30097"/>
                      <a:pt x="22931" y="38926"/>
                    </a:cubicBezTo>
                    <a:cubicBezTo>
                      <a:pt x="22931" y="47755"/>
                      <a:pt x="30109" y="54932"/>
                      <a:pt x="38937" y="54932"/>
                    </a:cubicBezTo>
                    <a:cubicBezTo>
                      <a:pt x="47766" y="54932"/>
                      <a:pt x="54943" y="47755"/>
                      <a:pt x="54943" y="38926"/>
                    </a:cubicBezTo>
                    <a:cubicBezTo>
                      <a:pt x="54943" y="30097"/>
                      <a:pt x="47766" y="22920"/>
                      <a:pt x="38937" y="22920"/>
                    </a:cubicBezTo>
                    <a:close/>
                  </a:path>
                </a:pathLst>
              </a:custGeom>
              <a:solidFill>
                <a:schemeClr val="accent1"/>
              </a:solidFill>
              <a:ln w="1145" cap="flat">
                <a:noFill/>
                <a:prstDash val="solid"/>
                <a:miter/>
              </a:ln>
            </p:spPr>
            <p:txBody>
              <a:bodyPr rtlCol="0" anchor="ctr"/>
              <a:lstStyle/>
              <a:p>
                <a:endParaRPr lang="en-GB" dirty="0"/>
              </a:p>
            </p:txBody>
          </p:sp>
          <p:sp>
            <p:nvSpPr>
              <p:cNvPr id="268" name="Freeform: Shape 267">
                <a:extLst>
                  <a:ext uri="{FF2B5EF4-FFF2-40B4-BE49-F238E27FC236}">
                    <a16:creationId xmlns:a16="http://schemas.microsoft.com/office/drawing/2014/main" id="{A3DF13D2-0AEE-4DC9-8E39-A63F71C5D9E9}"/>
                  </a:ext>
                </a:extLst>
              </p:cNvPr>
              <p:cNvSpPr/>
              <p:nvPr/>
            </p:nvSpPr>
            <p:spPr>
              <a:xfrm>
                <a:off x="5286715" y="2979663"/>
                <a:ext cx="153456" cy="106493"/>
              </a:xfrm>
              <a:custGeom>
                <a:avLst/>
                <a:gdLst>
                  <a:gd name="connsiteX0" fmla="*/ 80165 w 153456"/>
                  <a:gd name="connsiteY0" fmla="*/ 106493 h 106493"/>
                  <a:gd name="connsiteX1" fmla="*/ 180 w 153456"/>
                  <a:gd name="connsiteY1" fmla="*/ 13472 h 106493"/>
                  <a:gd name="connsiteX2" fmla="*/ 9445 w 153456"/>
                  <a:gd name="connsiteY2" fmla="*/ 184 h 106493"/>
                  <a:gd name="connsiteX3" fmla="*/ 22756 w 153456"/>
                  <a:gd name="connsiteY3" fmla="*/ 9436 h 106493"/>
                  <a:gd name="connsiteX4" fmla="*/ 80165 w 153456"/>
                  <a:gd name="connsiteY4" fmla="*/ 83573 h 106493"/>
                  <a:gd name="connsiteX5" fmla="*/ 130706 w 153456"/>
                  <a:gd name="connsiteY5" fmla="*/ 46092 h 106493"/>
                  <a:gd name="connsiteX6" fmla="*/ 143994 w 153456"/>
                  <a:gd name="connsiteY6" fmla="*/ 36839 h 106493"/>
                  <a:gd name="connsiteX7" fmla="*/ 153293 w 153456"/>
                  <a:gd name="connsiteY7" fmla="*/ 50013 h 106493"/>
                  <a:gd name="connsiteX8" fmla="*/ 80165 w 153456"/>
                  <a:gd name="connsiteY8" fmla="*/ 106493 h 106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456" h="106493">
                    <a:moveTo>
                      <a:pt x="80165" y="106493"/>
                    </a:moveTo>
                    <a:cubicBezTo>
                      <a:pt x="17471" y="106493"/>
                      <a:pt x="857" y="17268"/>
                      <a:pt x="180" y="13472"/>
                    </a:cubicBezTo>
                    <a:cubicBezTo>
                      <a:pt x="-932" y="7235"/>
                      <a:pt x="3219" y="1284"/>
                      <a:pt x="9445" y="184"/>
                    </a:cubicBezTo>
                    <a:cubicBezTo>
                      <a:pt x="15636" y="-940"/>
                      <a:pt x="21632" y="3211"/>
                      <a:pt x="22756" y="9436"/>
                    </a:cubicBezTo>
                    <a:cubicBezTo>
                      <a:pt x="22894" y="10182"/>
                      <a:pt x="36630" y="83573"/>
                      <a:pt x="80165" y="83573"/>
                    </a:cubicBezTo>
                    <a:cubicBezTo>
                      <a:pt x="122553" y="83573"/>
                      <a:pt x="129995" y="49933"/>
                      <a:pt x="130706" y="46092"/>
                    </a:cubicBezTo>
                    <a:cubicBezTo>
                      <a:pt x="131852" y="39889"/>
                      <a:pt x="137803" y="35819"/>
                      <a:pt x="143994" y="36839"/>
                    </a:cubicBezTo>
                    <a:cubicBezTo>
                      <a:pt x="150197" y="37952"/>
                      <a:pt x="154348" y="43811"/>
                      <a:pt x="153293" y="50013"/>
                    </a:cubicBezTo>
                    <a:cubicBezTo>
                      <a:pt x="149956" y="69551"/>
                      <a:pt x="130384" y="106493"/>
                      <a:pt x="80165" y="106493"/>
                    </a:cubicBezTo>
                    <a:close/>
                  </a:path>
                </a:pathLst>
              </a:custGeom>
              <a:solidFill>
                <a:schemeClr val="accent1"/>
              </a:solidFill>
              <a:ln w="1145" cap="flat">
                <a:noFill/>
                <a:prstDash val="solid"/>
                <a:miter/>
              </a:ln>
            </p:spPr>
            <p:txBody>
              <a:bodyPr rtlCol="0" anchor="ctr"/>
              <a:lstStyle/>
              <a:p>
                <a:endParaRPr lang="en-GB" dirty="0"/>
              </a:p>
            </p:txBody>
          </p:sp>
          <p:sp>
            <p:nvSpPr>
              <p:cNvPr id="269" name="Freeform: Shape 268">
                <a:extLst>
                  <a:ext uri="{FF2B5EF4-FFF2-40B4-BE49-F238E27FC236}">
                    <a16:creationId xmlns:a16="http://schemas.microsoft.com/office/drawing/2014/main" id="{06E07B58-5D52-49EC-B91F-A7A44FBA6D8A}"/>
                  </a:ext>
                </a:extLst>
              </p:cNvPr>
              <p:cNvSpPr/>
              <p:nvPr/>
            </p:nvSpPr>
            <p:spPr>
              <a:xfrm>
                <a:off x="5163768" y="2979652"/>
                <a:ext cx="236777" cy="53407"/>
              </a:xfrm>
              <a:custGeom>
                <a:avLst/>
                <a:gdLst>
                  <a:gd name="connsiteX0" fmla="*/ 11474 w 236777"/>
                  <a:gd name="connsiteY0" fmla="*/ 53407 h 53407"/>
                  <a:gd name="connsiteX1" fmla="*/ 1671 w 236777"/>
                  <a:gd name="connsiteY1" fmla="*/ 47904 h 53407"/>
                  <a:gd name="connsiteX2" fmla="*/ 5512 w 236777"/>
                  <a:gd name="connsiteY2" fmla="*/ 32150 h 53407"/>
                  <a:gd name="connsiteX3" fmla="*/ 120684 w 236777"/>
                  <a:gd name="connsiteY3" fmla="*/ 0 h 53407"/>
                  <a:gd name="connsiteX4" fmla="*/ 231007 w 236777"/>
                  <a:gd name="connsiteY4" fmla="*/ 29295 h 53407"/>
                  <a:gd name="connsiteX5" fmla="*/ 235250 w 236777"/>
                  <a:gd name="connsiteY5" fmla="*/ 44934 h 53407"/>
                  <a:gd name="connsiteX6" fmla="*/ 219610 w 236777"/>
                  <a:gd name="connsiteY6" fmla="*/ 49176 h 53407"/>
                  <a:gd name="connsiteX7" fmla="*/ 120684 w 236777"/>
                  <a:gd name="connsiteY7" fmla="*/ 22931 h 53407"/>
                  <a:gd name="connsiteX8" fmla="*/ 17425 w 236777"/>
                  <a:gd name="connsiteY8" fmla="*/ 51744 h 53407"/>
                  <a:gd name="connsiteX9" fmla="*/ 11474 w 236777"/>
                  <a:gd name="connsiteY9" fmla="*/ 53407 h 5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6777" h="53407">
                    <a:moveTo>
                      <a:pt x="11474" y="53407"/>
                    </a:moveTo>
                    <a:cubicBezTo>
                      <a:pt x="7599" y="53407"/>
                      <a:pt x="3826" y="51446"/>
                      <a:pt x="1671" y="47904"/>
                    </a:cubicBezTo>
                    <a:cubicBezTo>
                      <a:pt x="-1620" y="42480"/>
                      <a:pt x="100" y="35440"/>
                      <a:pt x="5512" y="32150"/>
                    </a:cubicBezTo>
                    <a:cubicBezTo>
                      <a:pt x="40127" y="11122"/>
                      <a:pt x="79947" y="0"/>
                      <a:pt x="120684" y="0"/>
                    </a:cubicBezTo>
                    <a:cubicBezTo>
                      <a:pt x="159438" y="0"/>
                      <a:pt x="197585" y="10124"/>
                      <a:pt x="231007" y="29295"/>
                    </a:cubicBezTo>
                    <a:cubicBezTo>
                      <a:pt x="236499" y="32436"/>
                      <a:pt x="238414" y="39453"/>
                      <a:pt x="235250" y="44934"/>
                    </a:cubicBezTo>
                    <a:cubicBezTo>
                      <a:pt x="232097" y="50426"/>
                      <a:pt x="225068" y="52318"/>
                      <a:pt x="219610" y="49176"/>
                    </a:cubicBezTo>
                    <a:cubicBezTo>
                      <a:pt x="189651" y="32012"/>
                      <a:pt x="155437" y="22931"/>
                      <a:pt x="120684" y="22931"/>
                    </a:cubicBezTo>
                    <a:cubicBezTo>
                      <a:pt x="84143" y="22931"/>
                      <a:pt x="48439" y="32895"/>
                      <a:pt x="17425" y="51744"/>
                    </a:cubicBezTo>
                    <a:cubicBezTo>
                      <a:pt x="15567" y="52868"/>
                      <a:pt x="13503" y="53407"/>
                      <a:pt x="11474" y="53407"/>
                    </a:cubicBezTo>
                    <a:close/>
                  </a:path>
                </a:pathLst>
              </a:custGeom>
              <a:solidFill>
                <a:schemeClr val="accent1"/>
              </a:solidFill>
              <a:ln w="1145" cap="flat">
                <a:noFill/>
                <a:prstDash val="solid"/>
                <a:miter/>
              </a:ln>
            </p:spPr>
            <p:txBody>
              <a:bodyPr rtlCol="0" anchor="ctr"/>
              <a:lstStyle/>
              <a:p>
                <a:endParaRPr lang="en-GB" dirty="0"/>
              </a:p>
            </p:txBody>
          </p:sp>
          <p:sp>
            <p:nvSpPr>
              <p:cNvPr id="270" name="Freeform: Shape 269">
                <a:extLst>
                  <a:ext uri="{FF2B5EF4-FFF2-40B4-BE49-F238E27FC236}">
                    <a16:creationId xmlns:a16="http://schemas.microsoft.com/office/drawing/2014/main" id="{5D48BCEC-6D36-48C2-995D-9ED06FE16F4E}"/>
                  </a:ext>
                </a:extLst>
              </p:cNvPr>
              <p:cNvSpPr/>
              <p:nvPr/>
            </p:nvSpPr>
            <p:spPr>
              <a:xfrm>
                <a:off x="5271222" y="2859859"/>
                <a:ext cx="22931" cy="41253"/>
              </a:xfrm>
              <a:custGeom>
                <a:avLst/>
                <a:gdLst>
                  <a:gd name="connsiteX0" fmla="*/ 11466 w 22931"/>
                  <a:gd name="connsiteY0" fmla="*/ 41253 h 41253"/>
                  <a:gd name="connsiteX1" fmla="*/ 0 w 22931"/>
                  <a:gd name="connsiteY1" fmla="*/ 29788 h 41253"/>
                  <a:gd name="connsiteX2" fmla="*/ 0 w 22931"/>
                  <a:gd name="connsiteY2" fmla="*/ 11466 h 41253"/>
                  <a:gd name="connsiteX3" fmla="*/ 11466 w 22931"/>
                  <a:gd name="connsiteY3" fmla="*/ 0 h 41253"/>
                  <a:gd name="connsiteX4" fmla="*/ 22931 w 22931"/>
                  <a:gd name="connsiteY4" fmla="*/ 11466 h 41253"/>
                  <a:gd name="connsiteX5" fmla="*/ 22931 w 22931"/>
                  <a:gd name="connsiteY5" fmla="*/ 29788 h 41253"/>
                  <a:gd name="connsiteX6" fmla="*/ 11466 w 22931"/>
                  <a:gd name="connsiteY6" fmla="*/ 41253 h 41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41253">
                    <a:moveTo>
                      <a:pt x="11466" y="41253"/>
                    </a:moveTo>
                    <a:cubicBezTo>
                      <a:pt x="5125" y="41253"/>
                      <a:pt x="0" y="36128"/>
                      <a:pt x="0" y="29788"/>
                    </a:cubicBezTo>
                    <a:lnTo>
                      <a:pt x="0" y="11466"/>
                    </a:lnTo>
                    <a:cubicBezTo>
                      <a:pt x="0" y="5125"/>
                      <a:pt x="5125" y="0"/>
                      <a:pt x="11466" y="0"/>
                    </a:cubicBezTo>
                    <a:cubicBezTo>
                      <a:pt x="17806" y="0"/>
                      <a:pt x="22931" y="5125"/>
                      <a:pt x="22931" y="11466"/>
                    </a:cubicBezTo>
                    <a:lnTo>
                      <a:pt x="22931" y="29788"/>
                    </a:lnTo>
                    <a:cubicBezTo>
                      <a:pt x="22931" y="36128"/>
                      <a:pt x="17806" y="41253"/>
                      <a:pt x="11466" y="41253"/>
                    </a:cubicBezTo>
                    <a:close/>
                  </a:path>
                </a:pathLst>
              </a:custGeom>
              <a:solidFill>
                <a:schemeClr val="accent1"/>
              </a:solidFill>
              <a:ln w="1145" cap="flat">
                <a:noFill/>
                <a:prstDash val="solid"/>
                <a:miter/>
              </a:ln>
            </p:spPr>
            <p:txBody>
              <a:bodyPr rtlCol="0" anchor="ctr"/>
              <a:lstStyle/>
              <a:p>
                <a:endParaRPr lang="en-GB" dirty="0"/>
              </a:p>
            </p:txBody>
          </p:sp>
          <p:sp>
            <p:nvSpPr>
              <p:cNvPr id="271" name="Freeform: Shape 270">
                <a:extLst>
                  <a:ext uri="{FF2B5EF4-FFF2-40B4-BE49-F238E27FC236}">
                    <a16:creationId xmlns:a16="http://schemas.microsoft.com/office/drawing/2014/main" id="{E1464A53-B82E-4856-B030-FCBB60A72289}"/>
                  </a:ext>
                </a:extLst>
              </p:cNvPr>
              <p:cNvSpPr/>
              <p:nvPr/>
            </p:nvSpPr>
            <p:spPr>
              <a:xfrm>
                <a:off x="5148353" y="2920188"/>
                <a:ext cx="35893" cy="35890"/>
              </a:xfrm>
              <a:custGeom>
                <a:avLst/>
                <a:gdLst>
                  <a:gd name="connsiteX0" fmla="*/ 24425 w 35893"/>
                  <a:gd name="connsiteY0" fmla="*/ 35890 h 35890"/>
                  <a:gd name="connsiteX1" fmla="*/ 16318 w 35893"/>
                  <a:gd name="connsiteY1" fmla="*/ 32531 h 35890"/>
                  <a:gd name="connsiteX2" fmla="*/ 3362 w 35893"/>
                  <a:gd name="connsiteY2" fmla="*/ 19575 h 35890"/>
                  <a:gd name="connsiteX3" fmla="*/ 3362 w 35893"/>
                  <a:gd name="connsiteY3" fmla="*/ 3362 h 35890"/>
                  <a:gd name="connsiteX4" fmla="*/ 19575 w 35893"/>
                  <a:gd name="connsiteY4" fmla="*/ 3362 h 35890"/>
                  <a:gd name="connsiteX5" fmla="*/ 32531 w 35893"/>
                  <a:gd name="connsiteY5" fmla="*/ 16318 h 35890"/>
                  <a:gd name="connsiteX6" fmla="*/ 32531 w 35893"/>
                  <a:gd name="connsiteY6" fmla="*/ 32531 h 35890"/>
                  <a:gd name="connsiteX7" fmla="*/ 24425 w 35893"/>
                  <a:gd name="connsiteY7" fmla="*/ 35890 h 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93" h="35890">
                    <a:moveTo>
                      <a:pt x="24425" y="35890"/>
                    </a:moveTo>
                    <a:cubicBezTo>
                      <a:pt x="21489" y="35890"/>
                      <a:pt x="18554" y="34767"/>
                      <a:pt x="16318" y="32531"/>
                    </a:cubicBezTo>
                    <a:lnTo>
                      <a:pt x="3362" y="19575"/>
                    </a:lnTo>
                    <a:cubicBezTo>
                      <a:pt x="-1121" y="15092"/>
                      <a:pt x="-1121" y="7845"/>
                      <a:pt x="3362" y="3362"/>
                    </a:cubicBezTo>
                    <a:cubicBezTo>
                      <a:pt x="7845" y="-1121"/>
                      <a:pt x="15092" y="-1121"/>
                      <a:pt x="19575" y="3362"/>
                    </a:cubicBezTo>
                    <a:lnTo>
                      <a:pt x="32531" y="16318"/>
                    </a:lnTo>
                    <a:cubicBezTo>
                      <a:pt x="37014" y="20802"/>
                      <a:pt x="37014" y="28048"/>
                      <a:pt x="32531" y="32531"/>
                    </a:cubicBezTo>
                    <a:cubicBezTo>
                      <a:pt x="30295" y="34778"/>
                      <a:pt x="27360" y="35890"/>
                      <a:pt x="24425" y="35890"/>
                    </a:cubicBezTo>
                    <a:close/>
                  </a:path>
                </a:pathLst>
              </a:custGeom>
              <a:solidFill>
                <a:schemeClr val="accent1"/>
              </a:solidFill>
              <a:ln w="1145" cap="flat">
                <a:noFill/>
                <a:prstDash val="solid"/>
                <a:miter/>
              </a:ln>
            </p:spPr>
            <p:txBody>
              <a:bodyPr rtlCol="0" anchor="ctr"/>
              <a:lstStyle/>
              <a:p>
                <a:endParaRPr lang="en-GB" dirty="0"/>
              </a:p>
            </p:txBody>
          </p:sp>
          <p:sp>
            <p:nvSpPr>
              <p:cNvPr id="272" name="Freeform: Shape 271">
                <a:extLst>
                  <a:ext uri="{FF2B5EF4-FFF2-40B4-BE49-F238E27FC236}">
                    <a16:creationId xmlns:a16="http://schemas.microsoft.com/office/drawing/2014/main" id="{F66BDD10-984D-436F-BAAF-B8255E8D043E}"/>
                  </a:ext>
                </a:extLst>
              </p:cNvPr>
              <p:cNvSpPr/>
              <p:nvPr/>
            </p:nvSpPr>
            <p:spPr>
              <a:xfrm>
                <a:off x="5381140" y="2920188"/>
                <a:ext cx="35893" cy="35890"/>
              </a:xfrm>
              <a:custGeom>
                <a:avLst/>
                <a:gdLst>
                  <a:gd name="connsiteX0" fmla="*/ 11469 w 35893"/>
                  <a:gd name="connsiteY0" fmla="*/ 35890 h 35890"/>
                  <a:gd name="connsiteX1" fmla="*/ 3362 w 35893"/>
                  <a:gd name="connsiteY1" fmla="*/ 32531 h 35890"/>
                  <a:gd name="connsiteX2" fmla="*/ 3362 w 35893"/>
                  <a:gd name="connsiteY2" fmla="*/ 16318 h 35890"/>
                  <a:gd name="connsiteX3" fmla="*/ 16318 w 35893"/>
                  <a:gd name="connsiteY3" fmla="*/ 3362 h 35890"/>
                  <a:gd name="connsiteX4" fmla="*/ 32531 w 35893"/>
                  <a:gd name="connsiteY4" fmla="*/ 3362 h 35890"/>
                  <a:gd name="connsiteX5" fmla="*/ 32531 w 35893"/>
                  <a:gd name="connsiteY5" fmla="*/ 19575 h 35890"/>
                  <a:gd name="connsiteX6" fmla="*/ 19575 w 35893"/>
                  <a:gd name="connsiteY6" fmla="*/ 32531 h 35890"/>
                  <a:gd name="connsiteX7" fmla="*/ 11469 w 35893"/>
                  <a:gd name="connsiteY7" fmla="*/ 35890 h 35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893" h="35890">
                    <a:moveTo>
                      <a:pt x="11469" y="35890"/>
                    </a:moveTo>
                    <a:cubicBezTo>
                      <a:pt x="8533" y="35890"/>
                      <a:pt x="5598" y="34767"/>
                      <a:pt x="3362" y="32531"/>
                    </a:cubicBezTo>
                    <a:cubicBezTo>
                      <a:pt x="-1121" y="28048"/>
                      <a:pt x="-1121" y="20802"/>
                      <a:pt x="3362" y="16318"/>
                    </a:cubicBezTo>
                    <a:lnTo>
                      <a:pt x="16318" y="3362"/>
                    </a:lnTo>
                    <a:cubicBezTo>
                      <a:pt x="20802" y="-1121"/>
                      <a:pt x="28048" y="-1121"/>
                      <a:pt x="32531" y="3362"/>
                    </a:cubicBezTo>
                    <a:cubicBezTo>
                      <a:pt x="37014" y="7845"/>
                      <a:pt x="37014" y="15092"/>
                      <a:pt x="32531" y="19575"/>
                    </a:cubicBezTo>
                    <a:lnTo>
                      <a:pt x="19575" y="32531"/>
                    </a:lnTo>
                    <a:cubicBezTo>
                      <a:pt x="17339" y="34778"/>
                      <a:pt x="14404" y="35890"/>
                      <a:pt x="11469" y="35890"/>
                    </a:cubicBezTo>
                    <a:close/>
                  </a:path>
                </a:pathLst>
              </a:custGeom>
              <a:solidFill>
                <a:schemeClr val="accent1"/>
              </a:solidFill>
              <a:ln w="1145" cap="flat">
                <a:noFill/>
                <a:prstDash val="solid"/>
                <a:miter/>
              </a:ln>
            </p:spPr>
            <p:txBody>
              <a:bodyPr rtlCol="0" anchor="ctr"/>
              <a:lstStyle/>
              <a:p>
                <a:endParaRPr lang="en-GB" dirty="0"/>
              </a:p>
            </p:txBody>
          </p:sp>
        </p:grpSp>
        <p:grpSp>
          <p:nvGrpSpPr>
            <p:cNvPr id="235" name="Graphic 48">
              <a:extLst>
                <a:ext uri="{FF2B5EF4-FFF2-40B4-BE49-F238E27FC236}">
                  <a16:creationId xmlns:a16="http://schemas.microsoft.com/office/drawing/2014/main" id="{1EC089F0-E1FB-4AEF-8545-39449224322C}"/>
                </a:ext>
              </a:extLst>
            </p:cNvPr>
            <p:cNvGrpSpPr/>
            <p:nvPr/>
          </p:nvGrpSpPr>
          <p:grpSpPr>
            <a:xfrm>
              <a:off x="580416" y="3379883"/>
              <a:ext cx="427268" cy="300973"/>
              <a:chOff x="4904022" y="3184060"/>
              <a:chExt cx="757709" cy="533740"/>
            </a:xfrm>
            <a:solidFill>
              <a:schemeClr val="tx2"/>
            </a:solidFill>
          </p:grpSpPr>
          <p:grpSp>
            <p:nvGrpSpPr>
              <p:cNvPr id="236" name="Graphic 48">
                <a:extLst>
                  <a:ext uri="{FF2B5EF4-FFF2-40B4-BE49-F238E27FC236}">
                    <a16:creationId xmlns:a16="http://schemas.microsoft.com/office/drawing/2014/main" id="{99B693A6-2889-4421-AB6D-984285923CEA}"/>
                  </a:ext>
                </a:extLst>
              </p:cNvPr>
              <p:cNvGrpSpPr/>
              <p:nvPr/>
            </p:nvGrpSpPr>
            <p:grpSpPr>
              <a:xfrm>
                <a:off x="4904022" y="3184060"/>
                <a:ext cx="757709" cy="533740"/>
                <a:chOff x="4904022" y="3184060"/>
                <a:chExt cx="757709" cy="533740"/>
              </a:xfrm>
              <a:grpFill/>
            </p:grpSpPr>
            <p:sp>
              <p:nvSpPr>
                <p:cNvPr id="240" name="Freeform: Shape 239">
                  <a:extLst>
                    <a:ext uri="{FF2B5EF4-FFF2-40B4-BE49-F238E27FC236}">
                      <a16:creationId xmlns:a16="http://schemas.microsoft.com/office/drawing/2014/main" id="{5C2ACAAA-E6DE-497C-B1F8-242EFAE2D5EE}"/>
                    </a:ext>
                  </a:extLst>
                </p:cNvPr>
                <p:cNvSpPr/>
                <p:nvPr/>
              </p:nvSpPr>
              <p:spPr>
                <a:xfrm>
                  <a:off x="5053557" y="3184060"/>
                  <a:ext cx="458626" cy="383815"/>
                </a:xfrm>
                <a:custGeom>
                  <a:avLst/>
                  <a:gdLst>
                    <a:gd name="connsiteX0" fmla="*/ 229313 w 458626"/>
                    <a:gd name="connsiteY0" fmla="*/ 383816 h 383815"/>
                    <a:gd name="connsiteX1" fmla="*/ 0 w 458626"/>
                    <a:gd name="connsiteY1" fmla="*/ 154502 h 383815"/>
                    <a:gd name="connsiteX2" fmla="*/ 56354 w 458626"/>
                    <a:gd name="connsiteY2" fmla="*/ 3924 h 383815"/>
                    <a:gd name="connsiteX3" fmla="*/ 72532 w 458626"/>
                    <a:gd name="connsiteY3" fmla="*/ 2811 h 383815"/>
                    <a:gd name="connsiteX4" fmla="*/ 73644 w 458626"/>
                    <a:gd name="connsiteY4" fmla="*/ 18990 h 383815"/>
                    <a:gd name="connsiteX5" fmla="*/ 22931 w 458626"/>
                    <a:gd name="connsiteY5" fmla="*/ 154491 h 383815"/>
                    <a:gd name="connsiteX6" fmla="*/ 229313 w 458626"/>
                    <a:gd name="connsiteY6" fmla="*/ 360873 h 383815"/>
                    <a:gd name="connsiteX7" fmla="*/ 435696 w 458626"/>
                    <a:gd name="connsiteY7" fmla="*/ 154491 h 383815"/>
                    <a:gd name="connsiteX8" fmla="*/ 388572 w 458626"/>
                    <a:gd name="connsiteY8" fmla="*/ 23232 h 383815"/>
                    <a:gd name="connsiteX9" fmla="*/ 390119 w 458626"/>
                    <a:gd name="connsiteY9" fmla="*/ 7088 h 383815"/>
                    <a:gd name="connsiteX10" fmla="*/ 406263 w 458626"/>
                    <a:gd name="connsiteY10" fmla="*/ 8636 h 383815"/>
                    <a:gd name="connsiteX11" fmla="*/ 458627 w 458626"/>
                    <a:gd name="connsiteY11" fmla="*/ 154502 h 383815"/>
                    <a:gd name="connsiteX12" fmla="*/ 229313 w 458626"/>
                    <a:gd name="connsiteY12" fmla="*/ 383816 h 383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58626" h="383815">
                      <a:moveTo>
                        <a:pt x="229313" y="383816"/>
                      </a:moveTo>
                      <a:cubicBezTo>
                        <a:pt x="102870" y="383816"/>
                        <a:pt x="0" y="280946"/>
                        <a:pt x="0" y="154502"/>
                      </a:cubicBezTo>
                      <a:cubicBezTo>
                        <a:pt x="0" y="99112"/>
                        <a:pt x="20008" y="45636"/>
                        <a:pt x="56354" y="3924"/>
                      </a:cubicBezTo>
                      <a:cubicBezTo>
                        <a:pt x="60504" y="-846"/>
                        <a:pt x="67774" y="-1328"/>
                        <a:pt x="72532" y="2811"/>
                      </a:cubicBezTo>
                      <a:cubicBezTo>
                        <a:pt x="77301" y="6962"/>
                        <a:pt x="77806" y="14208"/>
                        <a:pt x="73644" y="18990"/>
                      </a:cubicBezTo>
                      <a:cubicBezTo>
                        <a:pt x="40932" y="56517"/>
                        <a:pt x="22931" y="104650"/>
                        <a:pt x="22931" y="154491"/>
                      </a:cubicBezTo>
                      <a:cubicBezTo>
                        <a:pt x="22931" y="268288"/>
                        <a:pt x="115517" y="360873"/>
                        <a:pt x="229313" y="360873"/>
                      </a:cubicBezTo>
                      <a:cubicBezTo>
                        <a:pt x="343110" y="360873"/>
                        <a:pt x="435696" y="268288"/>
                        <a:pt x="435696" y="154491"/>
                      </a:cubicBezTo>
                      <a:cubicBezTo>
                        <a:pt x="435696" y="106656"/>
                        <a:pt x="418956" y="60048"/>
                        <a:pt x="388572" y="23232"/>
                      </a:cubicBezTo>
                      <a:cubicBezTo>
                        <a:pt x="384536" y="18347"/>
                        <a:pt x="385235" y="11113"/>
                        <a:pt x="390119" y="7088"/>
                      </a:cubicBezTo>
                      <a:cubicBezTo>
                        <a:pt x="395027" y="3064"/>
                        <a:pt x="402239" y="3763"/>
                        <a:pt x="406263" y="8636"/>
                      </a:cubicBezTo>
                      <a:cubicBezTo>
                        <a:pt x="440030" y="49546"/>
                        <a:pt x="458627" y="101347"/>
                        <a:pt x="458627" y="154502"/>
                      </a:cubicBezTo>
                      <a:cubicBezTo>
                        <a:pt x="458627" y="280946"/>
                        <a:pt x="355757" y="383816"/>
                        <a:pt x="229313" y="383816"/>
                      </a:cubicBezTo>
                      <a:close/>
                    </a:path>
                  </a:pathLst>
                </a:custGeom>
                <a:grpFill/>
                <a:ln w="1145" cap="flat">
                  <a:noFill/>
                  <a:prstDash val="solid"/>
                  <a:miter/>
                </a:ln>
              </p:spPr>
              <p:txBody>
                <a:bodyPr rtlCol="0" anchor="ctr"/>
                <a:lstStyle/>
                <a:p>
                  <a:endParaRPr lang="en-GB" dirty="0"/>
                </a:p>
              </p:txBody>
            </p:sp>
            <p:grpSp>
              <p:nvGrpSpPr>
                <p:cNvPr id="241" name="Graphic 48">
                  <a:extLst>
                    <a:ext uri="{FF2B5EF4-FFF2-40B4-BE49-F238E27FC236}">
                      <a16:creationId xmlns:a16="http://schemas.microsoft.com/office/drawing/2014/main" id="{25F59AA4-960A-4110-BCC5-5A7172214DA1}"/>
                    </a:ext>
                  </a:extLst>
                </p:cNvPr>
                <p:cNvGrpSpPr/>
                <p:nvPr/>
              </p:nvGrpSpPr>
              <p:grpSpPr>
                <a:xfrm>
                  <a:off x="4904022" y="3277920"/>
                  <a:ext cx="171985" cy="120332"/>
                  <a:chOff x="4904022" y="3277920"/>
                  <a:chExt cx="171985" cy="120332"/>
                </a:xfrm>
                <a:grpFill/>
              </p:grpSpPr>
              <p:sp>
                <p:nvSpPr>
                  <p:cNvPr id="261" name="Freeform: Shape 260">
                    <a:extLst>
                      <a:ext uri="{FF2B5EF4-FFF2-40B4-BE49-F238E27FC236}">
                        <a16:creationId xmlns:a16="http://schemas.microsoft.com/office/drawing/2014/main" id="{AB54EECC-E1E5-47F2-B5E3-0B4EDC29229F}"/>
                      </a:ext>
                    </a:extLst>
                  </p:cNvPr>
                  <p:cNvSpPr/>
                  <p:nvPr/>
                </p:nvSpPr>
                <p:spPr>
                  <a:xfrm>
                    <a:off x="4904022" y="3277920"/>
                    <a:ext cx="103191" cy="120332"/>
                  </a:xfrm>
                  <a:custGeom>
                    <a:avLst/>
                    <a:gdLst>
                      <a:gd name="connsiteX0" fmla="*/ 43237 w 103191"/>
                      <a:gd name="connsiteY0" fmla="*/ 120332 h 120332"/>
                      <a:gd name="connsiteX1" fmla="*/ 0 w 103191"/>
                      <a:gd name="connsiteY1" fmla="*/ 60378 h 120332"/>
                      <a:gd name="connsiteX2" fmla="*/ 41563 w 103191"/>
                      <a:gd name="connsiteY2" fmla="*/ 0 h 120332"/>
                      <a:gd name="connsiteX3" fmla="*/ 103191 w 103191"/>
                      <a:gd name="connsiteY3" fmla="*/ 60378 h 120332"/>
                      <a:gd name="connsiteX4" fmla="*/ 43237 w 103191"/>
                      <a:gd name="connsiteY4" fmla="*/ 120332 h 120332"/>
                      <a:gd name="connsiteX5" fmla="*/ 41563 w 103191"/>
                      <a:gd name="connsiteY5" fmla="*/ 22931 h 120332"/>
                      <a:gd name="connsiteX6" fmla="*/ 22931 w 103191"/>
                      <a:gd name="connsiteY6" fmla="*/ 60378 h 120332"/>
                      <a:gd name="connsiteX7" fmla="*/ 43237 w 103191"/>
                      <a:gd name="connsiteY7" fmla="*/ 97401 h 120332"/>
                      <a:gd name="connsiteX8" fmla="*/ 80260 w 103191"/>
                      <a:gd name="connsiteY8" fmla="*/ 60378 h 120332"/>
                      <a:gd name="connsiteX9" fmla="*/ 41563 w 103191"/>
                      <a:gd name="connsiteY9" fmla="*/ 22931 h 12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3191" h="120332">
                        <a:moveTo>
                          <a:pt x="43237" y="120332"/>
                        </a:moveTo>
                        <a:cubicBezTo>
                          <a:pt x="13369" y="120332"/>
                          <a:pt x="0" y="90212"/>
                          <a:pt x="0" y="60378"/>
                        </a:cubicBezTo>
                        <a:cubicBezTo>
                          <a:pt x="0" y="23700"/>
                          <a:pt x="16316" y="0"/>
                          <a:pt x="41563" y="0"/>
                        </a:cubicBezTo>
                        <a:cubicBezTo>
                          <a:pt x="70938" y="0"/>
                          <a:pt x="103191" y="31599"/>
                          <a:pt x="103191" y="60378"/>
                        </a:cubicBezTo>
                        <a:cubicBezTo>
                          <a:pt x="103191" y="89501"/>
                          <a:pt x="72383" y="120332"/>
                          <a:pt x="43237" y="120332"/>
                        </a:cubicBezTo>
                        <a:close/>
                        <a:moveTo>
                          <a:pt x="41563" y="22931"/>
                        </a:moveTo>
                        <a:cubicBezTo>
                          <a:pt x="23459" y="22931"/>
                          <a:pt x="22931" y="56549"/>
                          <a:pt x="22931" y="60378"/>
                        </a:cubicBezTo>
                        <a:cubicBezTo>
                          <a:pt x="22931" y="73185"/>
                          <a:pt x="27174" y="97401"/>
                          <a:pt x="43237" y="97401"/>
                        </a:cubicBezTo>
                        <a:cubicBezTo>
                          <a:pt x="59839" y="97401"/>
                          <a:pt x="80260" y="76992"/>
                          <a:pt x="80260" y="60378"/>
                        </a:cubicBezTo>
                        <a:cubicBezTo>
                          <a:pt x="80260" y="42641"/>
                          <a:pt x="57191" y="22931"/>
                          <a:pt x="41563" y="22931"/>
                        </a:cubicBezTo>
                        <a:close/>
                      </a:path>
                    </a:pathLst>
                  </a:custGeom>
                  <a:grpFill/>
                  <a:ln w="1145" cap="flat">
                    <a:noFill/>
                    <a:prstDash val="solid"/>
                    <a:miter/>
                  </a:ln>
                </p:spPr>
                <p:txBody>
                  <a:bodyPr rtlCol="0" anchor="ctr"/>
                  <a:lstStyle/>
                  <a:p>
                    <a:endParaRPr lang="en-GB" dirty="0"/>
                  </a:p>
                </p:txBody>
              </p:sp>
              <p:sp>
                <p:nvSpPr>
                  <p:cNvPr id="262" name="Freeform: Shape 261">
                    <a:extLst>
                      <a:ext uri="{FF2B5EF4-FFF2-40B4-BE49-F238E27FC236}">
                        <a16:creationId xmlns:a16="http://schemas.microsoft.com/office/drawing/2014/main" id="{ED3F508E-B4F2-48AB-803D-8C8C8850F1C3}"/>
                      </a:ext>
                    </a:extLst>
                  </p:cNvPr>
                  <p:cNvSpPr/>
                  <p:nvPr/>
                </p:nvSpPr>
                <p:spPr>
                  <a:xfrm>
                    <a:off x="4984282" y="3326856"/>
                    <a:ext cx="91725" cy="22931"/>
                  </a:xfrm>
                  <a:custGeom>
                    <a:avLst/>
                    <a:gdLst>
                      <a:gd name="connsiteX0" fmla="*/ 80260 w 91725"/>
                      <a:gd name="connsiteY0" fmla="*/ 22931 h 22931"/>
                      <a:gd name="connsiteX1" fmla="*/ 11466 w 91725"/>
                      <a:gd name="connsiteY1" fmla="*/ 22931 h 22931"/>
                      <a:gd name="connsiteX2" fmla="*/ 0 w 91725"/>
                      <a:gd name="connsiteY2" fmla="*/ 11466 h 22931"/>
                      <a:gd name="connsiteX3" fmla="*/ 11466 w 91725"/>
                      <a:gd name="connsiteY3" fmla="*/ 0 h 22931"/>
                      <a:gd name="connsiteX4" fmla="*/ 80260 w 91725"/>
                      <a:gd name="connsiteY4" fmla="*/ 0 h 22931"/>
                      <a:gd name="connsiteX5" fmla="*/ 91725 w 91725"/>
                      <a:gd name="connsiteY5" fmla="*/ 11466 h 22931"/>
                      <a:gd name="connsiteX6" fmla="*/ 80260 w 91725"/>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725" h="22931">
                        <a:moveTo>
                          <a:pt x="80260" y="22931"/>
                        </a:moveTo>
                        <a:lnTo>
                          <a:pt x="11466" y="22931"/>
                        </a:lnTo>
                        <a:cubicBezTo>
                          <a:pt x="5125" y="22931"/>
                          <a:pt x="0" y="17806"/>
                          <a:pt x="0" y="11466"/>
                        </a:cubicBezTo>
                        <a:cubicBezTo>
                          <a:pt x="0" y="5125"/>
                          <a:pt x="5125" y="0"/>
                          <a:pt x="11466" y="0"/>
                        </a:cubicBezTo>
                        <a:lnTo>
                          <a:pt x="80260" y="0"/>
                        </a:lnTo>
                        <a:cubicBezTo>
                          <a:pt x="86600" y="0"/>
                          <a:pt x="91725" y="5125"/>
                          <a:pt x="91725" y="11466"/>
                        </a:cubicBezTo>
                        <a:cubicBezTo>
                          <a:pt x="91725" y="17806"/>
                          <a:pt x="86600" y="22931"/>
                          <a:pt x="80260" y="22931"/>
                        </a:cubicBezTo>
                        <a:close/>
                      </a:path>
                    </a:pathLst>
                  </a:custGeom>
                  <a:grpFill/>
                  <a:ln w="1145" cap="flat">
                    <a:noFill/>
                    <a:prstDash val="solid"/>
                    <a:miter/>
                  </a:ln>
                </p:spPr>
                <p:txBody>
                  <a:bodyPr rtlCol="0" anchor="ctr"/>
                  <a:lstStyle/>
                  <a:p>
                    <a:endParaRPr lang="en-GB" dirty="0"/>
                  </a:p>
                </p:txBody>
              </p:sp>
            </p:grpSp>
            <p:grpSp>
              <p:nvGrpSpPr>
                <p:cNvPr id="242" name="Graphic 48">
                  <a:extLst>
                    <a:ext uri="{FF2B5EF4-FFF2-40B4-BE49-F238E27FC236}">
                      <a16:creationId xmlns:a16="http://schemas.microsoft.com/office/drawing/2014/main" id="{1009A8DE-9474-40F2-9CF6-6CFAAF23FD69}"/>
                    </a:ext>
                  </a:extLst>
                </p:cNvPr>
                <p:cNvGrpSpPr/>
                <p:nvPr/>
              </p:nvGrpSpPr>
              <p:grpSpPr>
                <a:xfrm>
                  <a:off x="5489734" y="3277702"/>
                  <a:ext cx="171997" cy="120343"/>
                  <a:chOff x="5489734" y="3277702"/>
                  <a:chExt cx="171997" cy="120343"/>
                </a:xfrm>
                <a:grpFill/>
              </p:grpSpPr>
              <p:sp>
                <p:nvSpPr>
                  <p:cNvPr id="259" name="Freeform: Shape 258">
                    <a:extLst>
                      <a:ext uri="{FF2B5EF4-FFF2-40B4-BE49-F238E27FC236}">
                        <a16:creationId xmlns:a16="http://schemas.microsoft.com/office/drawing/2014/main" id="{17DF595D-FA5A-46CE-872B-3CC17AAA40B8}"/>
                      </a:ext>
                    </a:extLst>
                  </p:cNvPr>
                  <p:cNvSpPr/>
                  <p:nvPr/>
                </p:nvSpPr>
                <p:spPr>
                  <a:xfrm>
                    <a:off x="5558528" y="3277702"/>
                    <a:ext cx="103204" cy="120343"/>
                  </a:xfrm>
                  <a:custGeom>
                    <a:avLst/>
                    <a:gdLst>
                      <a:gd name="connsiteX0" fmla="*/ 60046 w 103204"/>
                      <a:gd name="connsiteY0" fmla="*/ 120344 h 120343"/>
                      <a:gd name="connsiteX1" fmla="*/ 0 w 103204"/>
                      <a:gd name="connsiteY1" fmla="*/ 60676 h 120343"/>
                      <a:gd name="connsiteX2" fmla="*/ 61342 w 103204"/>
                      <a:gd name="connsiteY2" fmla="*/ 0 h 120343"/>
                      <a:gd name="connsiteX3" fmla="*/ 61342 w 103204"/>
                      <a:gd name="connsiteY3" fmla="*/ 0 h 120343"/>
                      <a:gd name="connsiteX4" fmla="*/ 61537 w 103204"/>
                      <a:gd name="connsiteY4" fmla="*/ 0 h 120343"/>
                      <a:gd name="connsiteX5" fmla="*/ 103203 w 103204"/>
                      <a:gd name="connsiteY5" fmla="*/ 60183 h 120343"/>
                      <a:gd name="connsiteX6" fmla="*/ 60253 w 103204"/>
                      <a:gd name="connsiteY6" fmla="*/ 120344 h 120343"/>
                      <a:gd name="connsiteX7" fmla="*/ 60046 w 103204"/>
                      <a:gd name="connsiteY7" fmla="*/ 120344 h 120343"/>
                      <a:gd name="connsiteX8" fmla="*/ 61445 w 103204"/>
                      <a:gd name="connsiteY8" fmla="*/ 22931 h 120343"/>
                      <a:gd name="connsiteX9" fmla="*/ 22932 w 103204"/>
                      <a:gd name="connsiteY9" fmla="*/ 60562 h 120343"/>
                      <a:gd name="connsiteX10" fmla="*/ 60035 w 103204"/>
                      <a:gd name="connsiteY10" fmla="*/ 97412 h 120343"/>
                      <a:gd name="connsiteX11" fmla="*/ 60127 w 103204"/>
                      <a:gd name="connsiteY11" fmla="*/ 97412 h 120343"/>
                      <a:gd name="connsiteX12" fmla="*/ 80260 w 103204"/>
                      <a:gd name="connsiteY12" fmla="*/ 60298 h 120343"/>
                      <a:gd name="connsiteX13" fmla="*/ 61514 w 103204"/>
                      <a:gd name="connsiteY13" fmla="*/ 22931 h 120343"/>
                      <a:gd name="connsiteX14" fmla="*/ 61445 w 103204"/>
                      <a:gd name="connsiteY14" fmla="*/ 22931 h 120343"/>
                      <a:gd name="connsiteX15" fmla="*/ 61445 w 103204"/>
                      <a:gd name="connsiteY15" fmla="*/ 22931 h 12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204" h="120343">
                        <a:moveTo>
                          <a:pt x="60046" y="120344"/>
                        </a:moveTo>
                        <a:cubicBezTo>
                          <a:pt x="30969" y="120344"/>
                          <a:pt x="127" y="89742"/>
                          <a:pt x="0" y="60676"/>
                        </a:cubicBezTo>
                        <a:cubicBezTo>
                          <a:pt x="-137" y="31898"/>
                          <a:pt x="31967" y="149"/>
                          <a:pt x="61342" y="0"/>
                        </a:cubicBezTo>
                        <a:lnTo>
                          <a:pt x="61342" y="0"/>
                        </a:lnTo>
                        <a:cubicBezTo>
                          <a:pt x="61411" y="0"/>
                          <a:pt x="61468" y="0"/>
                          <a:pt x="61537" y="0"/>
                        </a:cubicBezTo>
                        <a:cubicBezTo>
                          <a:pt x="86681" y="0"/>
                          <a:pt x="103020" y="23596"/>
                          <a:pt x="103203" y="60183"/>
                        </a:cubicBezTo>
                        <a:cubicBezTo>
                          <a:pt x="103352" y="90028"/>
                          <a:pt x="90121" y="120195"/>
                          <a:pt x="60253" y="120344"/>
                        </a:cubicBezTo>
                        <a:cubicBezTo>
                          <a:pt x="60184" y="120344"/>
                          <a:pt x="60115" y="120344"/>
                          <a:pt x="60046" y="120344"/>
                        </a:cubicBezTo>
                        <a:close/>
                        <a:moveTo>
                          <a:pt x="61445" y="22931"/>
                        </a:moveTo>
                        <a:cubicBezTo>
                          <a:pt x="45817" y="23012"/>
                          <a:pt x="22840" y="42847"/>
                          <a:pt x="22932" y="60562"/>
                        </a:cubicBezTo>
                        <a:cubicBezTo>
                          <a:pt x="23012" y="77130"/>
                          <a:pt x="43444" y="97412"/>
                          <a:pt x="60035" y="97412"/>
                        </a:cubicBezTo>
                        <a:cubicBezTo>
                          <a:pt x="60069" y="97412"/>
                          <a:pt x="60104" y="97412"/>
                          <a:pt x="60127" y="97412"/>
                        </a:cubicBezTo>
                        <a:cubicBezTo>
                          <a:pt x="76190" y="97332"/>
                          <a:pt x="80318" y="73094"/>
                          <a:pt x="80260" y="60298"/>
                        </a:cubicBezTo>
                        <a:cubicBezTo>
                          <a:pt x="80237" y="56468"/>
                          <a:pt x="79549" y="22931"/>
                          <a:pt x="61514" y="22931"/>
                        </a:cubicBezTo>
                        <a:cubicBezTo>
                          <a:pt x="61491" y="22931"/>
                          <a:pt x="61468" y="22931"/>
                          <a:pt x="61445" y="22931"/>
                        </a:cubicBezTo>
                        <a:lnTo>
                          <a:pt x="61445" y="22931"/>
                        </a:lnTo>
                        <a:close/>
                      </a:path>
                    </a:pathLst>
                  </a:custGeom>
                  <a:grpFill/>
                  <a:ln w="1145" cap="flat">
                    <a:noFill/>
                    <a:prstDash val="solid"/>
                    <a:miter/>
                  </a:ln>
                </p:spPr>
                <p:txBody>
                  <a:bodyPr rtlCol="0" anchor="ctr"/>
                  <a:lstStyle/>
                  <a:p>
                    <a:endParaRPr lang="en-GB" dirty="0"/>
                  </a:p>
                </p:txBody>
              </p:sp>
              <p:sp>
                <p:nvSpPr>
                  <p:cNvPr id="260" name="Freeform: Shape 259">
                    <a:extLst>
                      <a:ext uri="{FF2B5EF4-FFF2-40B4-BE49-F238E27FC236}">
                        <a16:creationId xmlns:a16="http://schemas.microsoft.com/office/drawing/2014/main" id="{B53E659C-1912-4D9F-B25C-50F783C8C8A8}"/>
                      </a:ext>
                    </a:extLst>
                  </p:cNvPr>
                  <p:cNvSpPr/>
                  <p:nvPr/>
                </p:nvSpPr>
                <p:spPr>
                  <a:xfrm>
                    <a:off x="5489734" y="3326879"/>
                    <a:ext cx="91725" cy="23263"/>
                  </a:xfrm>
                  <a:custGeom>
                    <a:avLst/>
                    <a:gdLst>
                      <a:gd name="connsiteX0" fmla="*/ 11466 w 91725"/>
                      <a:gd name="connsiteY0" fmla="*/ 23264 h 23263"/>
                      <a:gd name="connsiteX1" fmla="*/ 0 w 91725"/>
                      <a:gd name="connsiteY1" fmla="*/ 11855 h 23263"/>
                      <a:gd name="connsiteX2" fmla="*/ 11409 w 91725"/>
                      <a:gd name="connsiteY2" fmla="*/ 332 h 23263"/>
                      <a:gd name="connsiteX3" fmla="*/ 80203 w 91725"/>
                      <a:gd name="connsiteY3" fmla="*/ 0 h 23263"/>
                      <a:gd name="connsiteX4" fmla="*/ 80260 w 91725"/>
                      <a:gd name="connsiteY4" fmla="*/ 0 h 23263"/>
                      <a:gd name="connsiteX5" fmla="*/ 91726 w 91725"/>
                      <a:gd name="connsiteY5" fmla="*/ 11408 h 23263"/>
                      <a:gd name="connsiteX6" fmla="*/ 80317 w 91725"/>
                      <a:gd name="connsiteY6" fmla="*/ 22931 h 23263"/>
                      <a:gd name="connsiteX7" fmla="*/ 11523 w 91725"/>
                      <a:gd name="connsiteY7" fmla="*/ 23264 h 23263"/>
                      <a:gd name="connsiteX8" fmla="*/ 11466 w 91725"/>
                      <a:gd name="connsiteY8" fmla="*/ 23264 h 2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725" h="23263">
                        <a:moveTo>
                          <a:pt x="11466" y="23264"/>
                        </a:moveTo>
                        <a:cubicBezTo>
                          <a:pt x="5160" y="23264"/>
                          <a:pt x="35" y="18173"/>
                          <a:pt x="0" y="11855"/>
                        </a:cubicBezTo>
                        <a:cubicBezTo>
                          <a:pt x="-34" y="5515"/>
                          <a:pt x="5068" y="367"/>
                          <a:pt x="11409" y="332"/>
                        </a:cubicBezTo>
                        <a:lnTo>
                          <a:pt x="80203" y="0"/>
                        </a:lnTo>
                        <a:cubicBezTo>
                          <a:pt x="80225" y="0"/>
                          <a:pt x="80237" y="0"/>
                          <a:pt x="80260" y="0"/>
                        </a:cubicBezTo>
                        <a:cubicBezTo>
                          <a:pt x="86566" y="0"/>
                          <a:pt x="91691" y="5091"/>
                          <a:pt x="91726" y="11408"/>
                        </a:cubicBezTo>
                        <a:cubicBezTo>
                          <a:pt x="91760" y="17749"/>
                          <a:pt x="86658" y="22897"/>
                          <a:pt x="80317" y="22931"/>
                        </a:cubicBezTo>
                        <a:lnTo>
                          <a:pt x="11523" y="23264"/>
                        </a:lnTo>
                        <a:cubicBezTo>
                          <a:pt x="11500" y="23264"/>
                          <a:pt x="11489" y="23264"/>
                          <a:pt x="11466" y="23264"/>
                        </a:cubicBezTo>
                        <a:close/>
                      </a:path>
                    </a:pathLst>
                  </a:custGeom>
                  <a:grpFill/>
                  <a:ln w="1145" cap="flat">
                    <a:noFill/>
                    <a:prstDash val="solid"/>
                    <a:miter/>
                  </a:ln>
                </p:spPr>
                <p:txBody>
                  <a:bodyPr rtlCol="0" anchor="ctr"/>
                  <a:lstStyle/>
                  <a:p>
                    <a:endParaRPr lang="en-GB" dirty="0"/>
                  </a:p>
                </p:txBody>
              </p:sp>
            </p:grpSp>
            <p:grpSp>
              <p:nvGrpSpPr>
                <p:cNvPr id="243" name="Graphic 48">
                  <a:extLst>
                    <a:ext uri="{FF2B5EF4-FFF2-40B4-BE49-F238E27FC236}">
                      <a16:creationId xmlns:a16="http://schemas.microsoft.com/office/drawing/2014/main" id="{D56A7866-5063-4790-8FDE-ED38D08A9D18}"/>
                    </a:ext>
                  </a:extLst>
                </p:cNvPr>
                <p:cNvGrpSpPr/>
                <p:nvPr/>
              </p:nvGrpSpPr>
              <p:grpSpPr>
                <a:xfrm>
                  <a:off x="4991156" y="3481823"/>
                  <a:ext cx="583749" cy="235977"/>
                  <a:chOff x="4991156" y="3481823"/>
                  <a:chExt cx="583749" cy="235977"/>
                </a:xfrm>
                <a:grpFill/>
              </p:grpSpPr>
              <p:grpSp>
                <p:nvGrpSpPr>
                  <p:cNvPr id="250" name="Graphic 48">
                    <a:extLst>
                      <a:ext uri="{FF2B5EF4-FFF2-40B4-BE49-F238E27FC236}">
                        <a16:creationId xmlns:a16="http://schemas.microsoft.com/office/drawing/2014/main" id="{9E51C4EC-982D-4C4E-AFE3-AF85A6F85AA7}"/>
                      </a:ext>
                    </a:extLst>
                  </p:cNvPr>
                  <p:cNvGrpSpPr/>
                  <p:nvPr/>
                </p:nvGrpSpPr>
                <p:grpSpPr>
                  <a:xfrm>
                    <a:off x="5222951" y="3545816"/>
                    <a:ext cx="120332" cy="171985"/>
                    <a:chOff x="5222951" y="3545816"/>
                    <a:chExt cx="120332" cy="171985"/>
                  </a:xfrm>
                  <a:grpFill/>
                </p:grpSpPr>
                <p:sp>
                  <p:nvSpPr>
                    <p:cNvPr id="257" name="Freeform: Shape 256">
                      <a:extLst>
                        <a:ext uri="{FF2B5EF4-FFF2-40B4-BE49-F238E27FC236}">
                          <a16:creationId xmlns:a16="http://schemas.microsoft.com/office/drawing/2014/main" id="{61A30C3D-FFE5-4838-9AE8-1E239564C036}"/>
                        </a:ext>
                      </a:extLst>
                    </p:cNvPr>
                    <p:cNvSpPr/>
                    <p:nvPr/>
                  </p:nvSpPr>
                  <p:spPr>
                    <a:xfrm>
                      <a:off x="5222951" y="3614610"/>
                      <a:ext cx="120332" cy="103191"/>
                    </a:xfrm>
                    <a:custGeom>
                      <a:avLst/>
                      <a:gdLst>
                        <a:gd name="connsiteX0" fmla="*/ 59954 w 120332"/>
                        <a:gd name="connsiteY0" fmla="*/ 103191 h 103191"/>
                        <a:gd name="connsiteX1" fmla="*/ 0 w 120332"/>
                        <a:gd name="connsiteY1" fmla="*/ 59954 h 103191"/>
                        <a:gd name="connsiteX2" fmla="*/ 59954 w 120332"/>
                        <a:gd name="connsiteY2" fmla="*/ 0 h 103191"/>
                        <a:gd name="connsiteX3" fmla="*/ 120332 w 120332"/>
                        <a:gd name="connsiteY3" fmla="*/ 61628 h 103191"/>
                        <a:gd name="connsiteX4" fmla="*/ 59954 w 120332"/>
                        <a:gd name="connsiteY4" fmla="*/ 103191 h 103191"/>
                        <a:gd name="connsiteX5" fmla="*/ 59954 w 120332"/>
                        <a:gd name="connsiteY5" fmla="*/ 22931 h 103191"/>
                        <a:gd name="connsiteX6" fmla="*/ 22931 w 120332"/>
                        <a:gd name="connsiteY6" fmla="*/ 59954 h 103191"/>
                        <a:gd name="connsiteX7" fmla="*/ 59954 w 120332"/>
                        <a:gd name="connsiteY7" fmla="*/ 80260 h 103191"/>
                        <a:gd name="connsiteX8" fmla="*/ 97401 w 120332"/>
                        <a:gd name="connsiteY8" fmla="*/ 61628 h 103191"/>
                        <a:gd name="connsiteX9" fmla="*/ 59954 w 120332"/>
                        <a:gd name="connsiteY9" fmla="*/ 22931 h 10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332" h="103191">
                          <a:moveTo>
                            <a:pt x="59954" y="103191"/>
                          </a:moveTo>
                          <a:cubicBezTo>
                            <a:pt x="30109" y="103191"/>
                            <a:pt x="0" y="89822"/>
                            <a:pt x="0" y="59954"/>
                          </a:cubicBezTo>
                          <a:cubicBezTo>
                            <a:pt x="0" y="30820"/>
                            <a:pt x="30820" y="0"/>
                            <a:pt x="59954" y="0"/>
                          </a:cubicBezTo>
                          <a:cubicBezTo>
                            <a:pt x="88733" y="0"/>
                            <a:pt x="120332" y="32253"/>
                            <a:pt x="120332" y="61628"/>
                          </a:cubicBezTo>
                          <a:cubicBezTo>
                            <a:pt x="120332" y="86875"/>
                            <a:pt x="96633" y="103191"/>
                            <a:pt x="59954" y="103191"/>
                          </a:cubicBezTo>
                          <a:close/>
                          <a:moveTo>
                            <a:pt x="59954" y="22931"/>
                          </a:moveTo>
                          <a:cubicBezTo>
                            <a:pt x="43340" y="22931"/>
                            <a:pt x="22931" y="43340"/>
                            <a:pt x="22931" y="59954"/>
                          </a:cubicBezTo>
                          <a:cubicBezTo>
                            <a:pt x="22931" y="76006"/>
                            <a:pt x="47147" y="80260"/>
                            <a:pt x="59954" y="80260"/>
                          </a:cubicBezTo>
                          <a:cubicBezTo>
                            <a:pt x="63784" y="80260"/>
                            <a:pt x="97401" y="79732"/>
                            <a:pt x="97401" y="61628"/>
                          </a:cubicBezTo>
                          <a:cubicBezTo>
                            <a:pt x="97401" y="46344"/>
                            <a:pt x="77313" y="22931"/>
                            <a:pt x="59954" y="22931"/>
                          </a:cubicBezTo>
                          <a:close/>
                        </a:path>
                      </a:pathLst>
                    </a:custGeom>
                    <a:grpFill/>
                    <a:ln w="1145" cap="flat">
                      <a:noFill/>
                      <a:prstDash val="solid"/>
                      <a:miter/>
                    </a:ln>
                  </p:spPr>
                  <p:txBody>
                    <a:bodyPr rtlCol="0" anchor="ctr"/>
                    <a:lstStyle/>
                    <a:p>
                      <a:endParaRPr lang="en-GB" dirty="0"/>
                    </a:p>
                  </p:txBody>
                </p:sp>
                <p:sp>
                  <p:nvSpPr>
                    <p:cNvPr id="258" name="Freeform: Shape 257">
                      <a:extLst>
                        <a:ext uri="{FF2B5EF4-FFF2-40B4-BE49-F238E27FC236}">
                          <a16:creationId xmlns:a16="http://schemas.microsoft.com/office/drawing/2014/main" id="{153FE136-505D-4A2F-A5F4-EC8A5FBAEF22}"/>
                        </a:ext>
                      </a:extLst>
                    </p:cNvPr>
                    <p:cNvSpPr/>
                    <p:nvPr/>
                  </p:nvSpPr>
                  <p:spPr>
                    <a:xfrm>
                      <a:off x="5271405" y="3545816"/>
                      <a:ext cx="22931" cy="91725"/>
                    </a:xfrm>
                    <a:custGeom>
                      <a:avLst/>
                      <a:gdLst>
                        <a:gd name="connsiteX0" fmla="*/ 11466 w 22931"/>
                        <a:gd name="connsiteY0" fmla="*/ 91725 h 91725"/>
                        <a:gd name="connsiteX1" fmla="*/ 0 w 22931"/>
                        <a:gd name="connsiteY1" fmla="*/ 80260 h 91725"/>
                        <a:gd name="connsiteX2" fmla="*/ 0 w 22931"/>
                        <a:gd name="connsiteY2" fmla="*/ 11466 h 91725"/>
                        <a:gd name="connsiteX3" fmla="*/ 11466 w 22931"/>
                        <a:gd name="connsiteY3" fmla="*/ 0 h 91725"/>
                        <a:gd name="connsiteX4" fmla="*/ 22931 w 22931"/>
                        <a:gd name="connsiteY4" fmla="*/ 11466 h 91725"/>
                        <a:gd name="connsiteX5" fmla="*/ 22931 w 22931"/>
                        <a:gd name="connsiteY5" fmla="*/ 80260 h 91725"/>
                        <a:gd name="connsiteX6" fmla="*/ 11466 w 22931"/>
                        <a:gd name="connsiteY6" fmla="*/ 91725 h 91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91725">
                          <a:moveTo>
                            <a:pt x="11466" y="91725"/>
                          </a:moveTo>
                          <a:cubicBezTo>
                            <a:pt x="5125" y="91725"/>
                            <a:pt x="0" y="86600"/>
                            <a:pt x="0" y="80260"/>
                          </a:cubicBezTo>
                          <a:lnTo>
                            <a:pt x="0" y="11466"/>
                          </a:lnTo>
                          <a:cubicBezTo>
                            <a:pt x="0" y="5125"/>
                            <a:pt x="5125" y="0"/>
                            <a:pt x="11466" y="0"/>
                          </a:cubicBezTo>
                          <a:cubicBezTo>
                            <a:pt x="17806" y="0"/>
                            <a:pt x="22931" y="5125"/>
                            <a:pt x="22931" y="11466"/>
                          </a:cubicBezTo>
                          <a:lnTo>
                            <a:pt x="22931" y="80260"/>
                          </a:lnTo>
                          <a:cubicBezTo>
                            <a:pt x="22931" y="86600"/>
                            <a:pt x="17806" y="91725"/>
                            <a:pt x="11466" y="91725"/>
                          </a:cubicBezTo>
                          <a:close/>
                        </a:path>
                      </a:pathLst>
                    </a:custGeom>
                    <a:grpFill/>
                    <a:ln w="1145" cap="flat">
                      <a:noFill/>
                      <a:prstDash val="solid"/>
                      <a:miter/>
                    </a:ln>
                  </p:spPr>
                  <p:txBody>
                    <a:bodyPr rtlCol="0" anchor="ctr"/>
                    <a:lstStyle/>
                    <a:p>
                      <a:endParaRPr lang="en-GB" dirty="0"/>
                    </a:p>
                  </p:txBody>
                </p:sp>
              </p:grpSp>
              <p:grpSp>
                <p:nvGrpSpPr>
                  <p:cNvPr id="251" name="Graphic 48">
                    <a:extLst>
                      <a:ext uri="{FF2B5EF4-FFF2-40B4-BE49-F238E27FC236}">
                        <a16:creationId xmlns:a16="http://schemas.microsoft.com/office/drawing/2014/main" id="{F7B2ABB9-13B2-4DF8-9B03-67799D86238E}"/>
                      </a:ext>
                    </a:extLst>
                  </p:cNvPr>
                  <p:cNvGrpSpPr/>
                  <p:nvPr/>
                </p:nvGrpSpPr>
                <p:grpSpPr>
                  <a:xfrm>
                    <a:off x="5426108" y="3481823"/>
                    <a:ext cx="148796" cy="147875"/>
                    <a:chOff x="5426108" y="3481823"/>
                    <a:chExt cx="148796" cy="147875"/>
                  </a:xfrm>
                  <a:grpFill/>
                </p:grpSpPr>
                <p:sp>
                  <p:nvSpPr>
                    <p:cNvPr id="255" name="Freeform: Shape 254">
                      <a:extLst>
                        <a:ext uri="{FF2B5EF4-FFF2-40B4-BE49-F238E27FC236}">
                          <a16:creationId xmlns:a16="http://schemas.microsoft.com/office/drawing/2014/main" id="{6C0D172D-21F3-4068-A426-00D490B0254B}"/>
                        </a:ext>
                      </a:extLst>
                    </p:cNvPr>
                    <p:cNvSpPr/>
                    <p:nvPr/>
                  </p:nvSpPr>
                  <p:spPr>
                    <a:xfrm>
                      <a:off x="5462678" y="3518824"/>
                      <a:ext cx="112227" cy="110874"/>
                    </a:xfrm>
                    <a:custGeom>
                      <a:avLst/>
                      <a:gdLst>
                        <a:gd name="connsiteX0" fmla="*/ 41835 w 112227"/>
                        <a:gd name="connsiteY0" fmla="*/ 110874 h 110874"/>
                        <a:gd name="connsiteX1" fmla="*/ 15453 w 112227"/>
                        <a:gd name="connsiteY1" fmla="*/ 99764 h 110874"/>
                        <a:gd name="connsiteX2" fmla="*/ 15453 w 112227"/>
                        <a:gd name="connsiteY2" fmla="*/ 14964 h 110874"/>
                        <a:gd name="connsiteX3" fmla="*/ 101721 w 112227"/>
                        <a:gd name="connsiteY3" fmla="*/ 15847 h 110874"/>
                        <a:gd name="connsiteX4" fmla="*/ 101721 w 112227"/>
                        <a:gd name="connsiteY4" fmla="*/ 15847 h 110874"/>
                        <a:gd name="connsiteX5" fmla="*/ 88420 w 112227"/>
                        <a:gd name="connsiteY5" fmla="*/ 87931 h 110874"/>
                        <a:gd name="connsiteX6" fmla="*/ 41835 w 112227"/>
                        <a:gd name="connsiteY6" fmla="*/ 110874 h 110874"/>
                        <a:gd name="connsiteX7" fmla="*/ 56993 w 112227"/>
                        <a:gd name="connsiteY7" fmla="*/ 22761 h 110874"/>
                        <a:gd name="connsiteX8" fmla="*/ 31665 w 112227"/>
                        <a:gd name="connsiteY8" fmla="*/ 31188 h 110874"/>
                        <a:gd name="connsiteX9" fmla="*/ 31665 w 112227"/>
                        <a:gd name="connsiteY9" fmla="*/ 83551 h 110874"/>
                        <a:gd name="connsiteX10" fmla="*/ 72208 w 112227"/>
                        <a:gd name="connsiteY10" fmla="*/ 71731 h 110874"/>
                        <a:gd name="connsiteX11" fmla="*/ 85508 w 112227"/>
                        <a:gd name="connsiteY11" fmla="*/ 32071 h 110874"/>
                        <a:gd name="connsiteX12" fmla="*/ 56993 w 112227"/>
                        <a:gd name="connsiteY12" fmla="*/ 22761 h 11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2227" h="110874">
                          <a:moveTo>
                            <a:pt x="41835" y="110874"/>
                          </a:moveTo>
                          <a:cubicBezTo>
                            <a:pt x="32376" y="110874"/>
                            <a:pt x="23261" y="107572"/>
                            <a:pt x="15453" y="99764"/>
                          </a:cubicBezTo>
                          <a:cubicBezTo>
                            <a:pt x="-5151" y="79149"/>
                            <a:pt x="-5151" y="35556"/>
                            <a:pt x="15453" y="14964"/>
                          </a:cubicBezTo>
                          <a:cubicBezTo>
                            <a:pt x="35793" y="-5365"/>
                            <a:pt x="80956" y="-4895"/>
                            <a:pt x="101721" y="15847"/>
                          </a:cubicBezTo>
                          <a:lnTo>
                            <a:pt x="101721" y="15847"/>
                          </a:lnTo>
                          <a:cubicBezTo>
                            <a:pt x="119584" y="33710"/>
                            <a:pt x="114356" y="61996"/>
                            <a:pt x="88420" y="87931"/>
                          </a:cubicBezTo>
                          <a:cubicBezTo>
                            <a:pt x="75120" y="101243"/>
                            <a:pt x="57979" y="110874"/>
                            <a:pt x="41835" y="110874"/>
                          </a:cubicBezTo>
                          <a:close/>
                          <a:moveTo>
                            <a:pt x="56993" y="22761"/>
                          </a:moveTo>
                          <a:cubicBezTo>
                            <a:pt x="47190" y="22761"/>
                            <a:pt x="37501" y="25363"/>
                            <a:pt x="31665" y="31188"/>
                          </a:cubicBezTo>
                          <a:cubicBezTo>
                            <a:pt x="19924" y="42929"/>
                            <a:pt x="19936" y="71811"/>
                            <a:pt x="31665" y="83551"/>
                          </a:cubicBezTo>
                          <a:cubicBezTo>
                            <a:pt x="43051" y="94949"/>
                            <a:pt x="63161" y="80765"/>
                            <a:pt x="72208" y="71731"/>
                          </a:cubicBezTo>
                          <a:cubicBezTo>
                            <a:pt x="74914" y="69025"/>
                            <a:pt x="98304" y="44878"/>
                            <a:pt x="85508" y="32071"/>
                          </a:cubicBezTo>
                          <a:cubicBezTo>
                            <a:pt x="79615" y="26177"/>
                            <a:pt x="68229" y="22761"/>
                            <a:pt x="56993" y="22761"/>
                          </a:cubicBezTo>
                          <a:close/>
                        </a:path>
                      </a:pathLst>
                    </a:custGeom>
                    <a:grpFill/>
                    <a:ln w="1145" cap="flat">
                      <a:noFill/>
                      <a:prstDash val="solid"/>
                      <a:miter/>
                    </a:ln>
                  </p:spPr>
                  <p:txBody>
                    <a:bodyPr rtlCol="0" anchor="ctr"/>
                    <a:lstStyle/>
                    <a:p>
                      <a:endParaRPr lang="en-GB" dirty="0"/>
                    </a:p>
                  </p:txBody>
                </p:sp>
                <p:sp>
                  <p:nvSpPr>
                    <p:cNvPr id="256" name="Freeform: Shape 255">
                      <a:extLst>
                        <a:ext uri="{FF2B5EF4-FFF2-40B4-BE49-F238E27FC236}">
                          <a16:creationId xmlns:a16="http://schemas.microsoft.com/office/drawing/2014/main" id="{3884372C-75DD-4EA6-A279-B8CDD4EBE06C}"/>
                        </a:ext>
                      </a:extLst>
                    </p:cNvPr>
                    <p:cNvSpPr/>
                    <p:nvPr/>
                  </p:nvSpPr>
                  <p:spPr>
                    <a:xfrm>
                      <a:off x="5426108" y="3481823"/>
                      <a:ext cx="71585" cy="71571"/>
                    </a:xfrm>
                    <a:custGeom>
                      <a:avLst/>
                      <a:gdLst>
                        <a:gd name="connsiteX0" fmla="*/ 60118 w 71585"/>
                        <a:gd name="connsiteY0" fmla="*/ 71572 h 71571"/>
                        <a:gd name="connsiteX1" fmla="*/ 52011 w 71585"/>
                        <a:gd name="connsiteY1" fmla="*/ 68212 h 71571"/>
                        <a:gd name="connsiteX2" fmla="*/ 3362 w 71585"/>
                        <a:gd name="connsiteY2" fmla="*/ 19575 h 71571"/>
                        <a:gd name="connsiteX3" fmla="*/ 3362 w 71585"/>
                        <a:gd name="connsiteY3" fmla="*/ 3362 h 71571"/>
                        <a:gd name="connsiteX4" fmla="*/ 19575 w 71585"/>
                        <a:gd name="connsiteY4" fmla="*/ 3362 h 71571"/>
                        <a:gd name="connsiteX5" fmla="*/ 68224 w 71585"/>
                        <a:gd name="connsiteY5" fmla="*/ 52000 h 71571"/>
                        <a:gd name="connsiteX6" fmla="*/ 68224 w 71585"/>
                        <a:gd name="connsiteY6" fmla="*/ 68212 h 71571"/>
                        <a:gd name="connsiteX7" fmla="*/ 60118 w 71585"/>
                        <a:gd name="connsiteY7" fmla="*/ 71572 h 7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85" h="71571">
                          <a:moveTo>
                            <a:pt x="60118" y="71572"/>
                          </a:moveTo>
                          <a:cubicBezTo>
                            <a:pt x="57182" y="71572"/>
                            <a:pt x="54247" y="70448"/>
                            <a:pt x="52011" y="68212"/>
                          </a:cubicBezTo>
                          <a:lnTo>
                            <a:pt x="3362" y="19575"/>
                          </a:lnTo>
                          <a:cubicBezTo>
                            <a:pt x="-1121" y="15092"/>
                            <a:pt x="-1121" y="7845"/>
                            <a:pt x="3362" y="3362"/>
                          </a:cubicBezTo>
                          <a:cubicBezTo>
                            <a:pt x="7845" y="-1121"/>
                            <a:pt x="15092" y="-1121"/>
                            <a:pt x="19575" y="3362"/>
                          </a:cubicBezTo>
                          <a:lnTo>
                            <a:pt x="68224" y="52000"/>
                          </a:lnTo>
                          <a:cubicBezTo>
                            <a:pt x="72707" y="56483"/>
                            <a:pt x="72707" y="63729"/>
                            <a:pt x="68224" y="68212"/>
                          </a:cubicBezTo>
                          <a:cubicBezTo>
                            <a:pt x="65988" y="70448"/>
                            <a:pt x="63053" y="71572"/>
                            <a:pt x="60118" y="71572"/>
                          </a:cubicBezTo>
                          <a:close/>
                        </a:path>
                      </a:pathLst>
                    </a:custGeom>
                    <a:grpFill/>
                    <a:ln w="1145" cap="flat">
                      <a:noFill/>
                      <a:prstDash val="solid"/>
                      <a:miter/>
                    </a:ln>
                  </p:spPr>
                  <p:txBody>
                    <a:bodyPr rtlCol="0" anchor="ctr"/>
                    <a:lstStyle/>
                    <a:p>
                      <a:endParaRPr lang="en-GB" dirty="0"/>
                    </a:p>
                  </p:txBody>
                </p:sp>
              </p:grpSp>
              <p:grpSp>
                <p:nvGrpSpPr>
                  <p:cNvPr id="252" name="Graphic 48">
                    <a:extLst>
                      <a:ext uri="{FF2B5EF4-FFF2-40B4-BE49-F238E27FC236}">
                        <a16:creationId xmlns:a16="http://schemas.microsoft.com/office/drawing/2014/main" id="{0C6EA3C0-72FA-4ACD-B032-8A6E469A28B0}"/>
                      </a:ext>
                    </a:extLst>
                  </p:cNvPr>
                  <p:cNvGrpSpPr/>
                  <p:nvPr/>
                </p:nvGrpSpPr>
                <p:grpSpPr>
                  <a:xfrm>
                    <a:off x="4991156" y="3482339"/>
                    <a:ext cx="148866" cy="147864"/>
                    <a:chOff x="4991156" y="3482339"/>
                    <a:chExt cx="148866" cy="147864"/>
                  </a:xfrm>
                  <a:grpFill/>
                </p:grpSpPr>
                <p:sp>
                  <p:nvSpPr>
                    <p:cNvPr id="253" name="Freeform: Shape 252">
                      <a:extLst>
                        <a:ext uri="{FF2B5EF4-FFF2-40B4-BE49-F238E27FC236}">
                          <a16:creationId xmlns:a16="http://schemas.microsoft.com/office/drawing/2014/main" id="{83B116FA-A89F-4C14-AD35-15A0EAA24C42}"/>
                        </a:ext>
                      </a:extLst>
                    </p:cNvPr>
                    <p:cNvSpPr/>
                    <p:nvPr/>
                  </p:nvSpPr>
                  <p:spPr>
                    <a:xfrm>
                      <a:off x="4991156" y="3519330"/>
                      <a:ext cx="112285" cy="110872"/>
                    </a:xfrm>
                    <a:custGeom>
                      <a:avLst/>
                      <a:gdLst>
                        <a:gd name="connsiteX0" fmla="*/ 70462 w 112285"/>
                        <a:gd name="connsiteY0" fmla="*/ 110873 h 110872"/>
                        <a:gd name="connsiteX1" fmla="*/ 23877 w 112285"/>
                        <a:gd name="connsiteY1" fmla="*/ 87953 h 110872"/>
                        <a:gd name="connsiteX2" fmla="*/ 2287 w 112285"/>
                        <a:gd name="connsiteY2" fmla="*/ 55069 h 110872"/>
                        <a:gd name="connsiteX3" fmla="*/ 10577 w 112285"/>
                        <a:gd name="connsiteY3" fmla="*/ 15868 h 110872"/>
                        <a:gd name="connsiteX4" fmla="*/ 96833 w 112285"/>
                        <a:gd name="connsiteY4" fmla="*/ 14985 h 110872"/>
                        <a:gd name="connsiteX5" fmla="*/ 96833 w 112285"/>
                        <a:gd name="connsiteY5" fmla="*/ 99785 h 110872"/>
                        <a:gd name="connsiteX6" fmla="*/ 70462 w 112285"/>
                        <a:gd name="connsiteY6" fmla="*/ 110873 h 110872"/>
                        <a:gd name="connsiteX7" fmla="*/ 55373 w 112285"/>
                        <a:gd name="connsiteY7" fmla="*/ 22942 h 110872"/>
                        <a:gd name="connsiteX8" fmla="*/ 26800 w 112285"/>
                        <a:gd name="connsiteY8" fmla="*/ 32081 h 110872"/>
                        <a:gd name="connsiteX9" fmla="*/ 24140 w 112285"/>
                        <a:gd name="connsiteY9" fmla="*/ 48029 h 110872"/>
                        <a:gd name="connsiteX10" fmla="*/ 40112 w 112285"/>
                        <a:gd name="connsiteY10" fmla="*/ 71740 h 110872"/>
                        <a:gd name="connsiteX11" fmla="*/ 80643 w 112285"/>
                        <a:gd name="connsiteY11" fmla="*/ 83562 h 110872"/>
                        <a:gd name="connsiteX12" fmla="*/ 80643 w 112285"/>
                        <a:gd name="connsiteY12" fmla="*/ 31198 h 110872"/>
                        <a:gd name="connsiteX13" fmla="*/ 55373 w 112285"/>
                        <a:gd name="connsiteY13" fmla="*/ 22942 h 110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2285" h="110872">
                          <a:moveTo>
                            <a:pt x="70462" y="110873"/>
                          </a:moveTo>
                          <a:cubicBezTo>
                            <a:pt x="54330" y="110873"/>
                            <a:pt x="37188" y="101253"/>
                            <a:pt x="23877" y="87953"/>
                          </a:cubicBezTo>
                          <a:cubicBezTo>
                            <a:pt x="16481" y="80569"/>
                            <a:pt x="6747" y="68874"/>
                            <a:pt x="2287" y="55069"/>
                          </a:cubicBezTo>
                          <a:cubicBezTo>
                            <a:pt x="-2574" y="39992"/>
                            <a:pt x="372" y="26073"/>
                            <a:pt x="10577" y="15868"/>
                          </a:cubicBezTo>
                          <a:cubicBezTo>
                            <a:pt x="31364" y="-4919"/>
                            <a:pt x="76493" y="-5355"/>
                            <a:pt x="96833" y="14985"/>
                          </a:cubicBezTo>
                          <a:cubicBezTo>
                            <a:pt x="117437" y="35589"/>
                            <a:pt x="117437" y="79182"/>
                            <a:pt x="96833" y="99785"/>
                          </a:cubicBezTo>
                          <a:cubicBezTo>
                            <a:pt x="89036" y="107571"/>
                            <a:pt x="79921" y="110873"/>
                            <a:pt x="70462" y="110873"/>
                          </a:cubicBezTo>
                          <a:close/>
                          <a:moveTo>
                            <a:pt x="55373" y="22942"/>
                          </a:moveTo>
                          <a:cubicBezTo>
                            <a:pt x="44068" y="22942"/>
                            <a:pt x="32579" y="26302"/>
                            <a:pt x="26800" y="32081"/>
                          </a:cubicBezTo>
                          <a:cubicBezTo>
                            <a:pt x="24049" y="34832"/>
                            <a:pt x="21263" y="39132"/>
                            <a:pt x="24140" y="48029"/>
                          </a:cubicBezTo>
                          <a:cubicBezTo>
                            <a:pt x="26514" y="55413"/>
                            <a:pt x="32189" y="63829"/>
                            <a:pt x="40112" y="71740"/>
                          </a:cubicBezTo>
                          <a:cubicBezTo>
                            <a:pt x="49170" y="80787"/>
                            <a:pt x="69281" y="94901"/>
                            <a:pt x="80643" y="83562"/>
                          </a:cubicBezTo>
                          <a:cubicBezTo>
                            <a:pt x="92384" y="71821"/>
                            <a:pt x="92384" y="42939"/>
                            <a:pt x="80643" y="31198"/>
                          </a:cubicBezTo>
                          <a:cubicBezTo>
                            <a:pt x="74922" y="25488"/>
                            <a:pt x="65210" y="22942"/>
                            <a:pt x="55373" y="22942"/>
                          </a:cubicBezTo>
                          <a:close/>
                        </a:path>
                      </a:pathLst>
                    </a:custGeom>
                    <a:grpFill/>
                    <a:ln w="1145" cap="flat">
                      <a:noFill/>
                      <a:prstDash val="solid"/>
                      <a:miter/>
                    </a:ln>
                  </p:spPr>
                  <p:txBody>
                    <a:bodyPr rtlCol="0" anchor="ctr"/>
                    <a:lstStyle/>
                    <a:p>
                      <a:endParaRPr lang="en-GB" dirty="0"/>
                    </a:p>
                  </p:txBody>
                </p:sp>
                <p:sp>
                  <p:nvSpPr>
                    <p:cNvPr id="254" name="Freeform: Shape 253">
                      <a:extLst>
                        <a:ext uri="{FF2B5EF4-FFF2-40B4-BE49-F238E27FC236}">
                          <a16:creationId xmlns:a16="http://schemas.microsoft.com/office/drawing/2014/main" id="{FF27BF61-DA90-4456-87FF-597F5AB5FAB3}"/>
                        </a:ext>
                      </a:extLst>
                    </p:cNvPr>
                    <p:cNvSpPr/>
                    <p:nvPr/>
                  </p:nvSpPr>
                  <p:spPr>
                    <a:xfrm>
                      <a:off x="5068448" y="3482339"/>
                      <a:ext cx="71574" cy="71571"/>
                    </a:xfrm>
                    <a:custGeom>
                      <a:avLst/>
                      <a:gdLst>
                        <a:gd name="connsiteX0" fmla="*/ 11469 w 71574"/>
                        <a:gd name="connsiteY0" fmla="*/ 71572 h 71571"/>
                        <a:gd name="connsiteX1" fmla="*/ 3362 w 71574"/>
                        <a:gd name="connsiteY1" fmla="*/ 68212 h 71571"/>
                        <a:gd name="connsiteX2" fmla="*/ 3362 w 71574"/>
                        <a:gd name="connsiteY2" fmla="*/ 52000 h 71571"/>
                        <a:gd name="connsiteX3" fmla="*/ 52000 w 71574"/>
                        <a:gd name="connsiteY3" fmla="*/ 3362 h 71571"/>
                        <a:gd name="connsiteX4" fmla="*/ 68212 w 71574"/>
                        <a:gd name="connsiteY4" fmla="*/ 3362 h 71571"/>
                        <a:gd name="connsiteX5" fmla="*/ 68212 w 71574"/>
                        <a:gd name="connsiteY5" fmla="*/ 19575 h 71571"/>
                        <a:gd name="connsiteX6" fmla="*/ 19575 w 71574"/>
                        <a:gd name="connsiteY6" fmla="*/ 68212 h 71571"/>
                        <a:gd name="connsiteX7" fmla="*/ 11469 w 71574"/>
                        <a:gd name="connsiteY7" fmla="*/ 71572 h 71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74" h="71571">
                          <a:moveTo>
                            <a:pt x="11469" y="71572"/>
                          </a:moveTo>
                          <a:cubicBezTo>
                            <a:pt x="8533" y="71572"/>
                            <a:pt x="5598" y="70448"/>
                            <a:pt x="3362" y="68212"/>
                          </a:cubicBezTo>
                          <a:cubicBezTo>
                            <a:pt x="-1121" y="63729"/>
                            <a:pt x="-1121" y="56483"/>
                            <a:pt x="3362" y="52000"/>
                          </a:cubicBezTo>
                          <a:lnTo>
                            <a:pt x="52000" y="3362"/>
                          </a:lnTo>
                          <a:cubicBezTo>
                            <a:pt x="56483" y="-1121"/>
                            <a:pt x="63729" y="-1121"/>
                            <a:pt x="68212" y="3362"/>
                          </a:cubicBezTo>
                          <a:cubicBezTo>
                            <a:pt x="72695" y="7845"/>
                            <a:pt x="72695" y="15092"/>
                            <a:pt x="68212" y="19575"/>
                          </a:cubicBezTo>
                          <a:lnTo>
                            <a:pt x="19575" y="68212"/>
                          </a:lnTo>
                          <a:cubicBezTo>
                            <a:pt x="17339" y="70448"/>
                            <a:pt x="14404" y="71572"/>
                            <a:pt x="11469" y="71572"/>
                          </a:cubicBezTo>
                          <a:close/>
                        </a:path>
                      </a:pathLst>
                    </a:custGeom>
                    <a:grpFill/>
                    <a:ln w="1145" cap="flat">
                      <a:noFill/>
                      <a:prstDash val="solid"/>
                      <a:miter/>
                    </a:ln>
                  </p:spPr>
                  <p:txBody>
                    <a:bodyPr rtlCol="0" anchor="ctr"/>
                    <a:lstStyle/>
                    <a:p>
                      <a:endParaRPr lang="en-GB" dirty="0"/>
                    </a:p>
                  </p:txBody>
                </p:sp>
              </p:grpSp>
            </p:grpSp>
            <p:sp>
              <p:nvSpPr>
                <p:cNvPr id="244" name="Freeform: Shape 243">
                  <a:extLst>
                    <a:ext uri="{FF2B5EF4-FFF2-40B4-BE49-F238E27FC236}">
                      <a16:creationId xmlns:a16="http://schemas.microsoft.com/office/drawing/2014/main" id="{B84E2B79-B102-4E18-96FD-B4E7BB08A9CB}"/>
                    </a:ext>
                  </a:extLst>
                </p:cNvPr>
                <p:cNvSpPr/>
                <p:nvPr/>
              </p:nvSpPr>
              <p:spPr>
                <a:xfrm>
                  <a:off x="5362330" y="3526594"/>
                  <a:ext cx="40309" cy="60761"/>
                </a:xfrm>
                <a:custGeom>
                  <a:avLst/>
                  <a:gdLst>
                    <a:gd name="connsiteX0" fmla="*/ 28857 w 40309"/>
                    <a:gd name="connsiteY0" fmla="*/ 60761 h 60761"/>
                    <a:gd name="connsiteX1" fmla="*/ 18435 w 40309"/>
                    <a:gd name="connsiteY1" fmla="*/ 54088 h 60761"/>
                    <a:gd name="connsiteX2" fmla="*/ 1053 w 40309"/>
                    <a:gd name="connsiteY2" fmla="*/ 16263 h 60761"/>
                    <a:gd name="connsiteX3" fmla="*/ 6671 w 40309"/>
                    <a:gd name="connsiteY3" fmla="*/ 1060 h 60761"/>
                    <a:gd name="connsiteX4" fmla="*/ 21874 w 40309"/>
                    <a:gd name="connsiteY4" fmla="*/ 6678 h 60761"/>
                    <a:gd name="connsiteX5" fmla="*/ 39257 w 40309"/>
                    <a:gd name="connsiteY5" fmla="*/ 44503 h 60761"/>
                    <a:gd name="connsiteX6" fmla="*/ 33638 w 40309"/>
                    <a:gd name="connsiteY6" fmla="*/ 59707 h 60761"/>
                    <a:gd name="connsiteX7" fmla="*/ 28857 w 40309"/>
                    <a:gd name="connsiteY7" fmla="*/ 60761 h 60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09" h="60761">
                      <a:moveTo>
                        <a:pt x="28857" y="60761"/>
                      </a:moveTo>
                      <a:cubicBezTo>
                        <a:pt x="24512" y="60761"/>
                        <a:pt x="20361" y="58285"/>
                        <a:pt x="18435" y="54088"/>
                      </a:cubicBezTo>
                      <a:lnTo>
                        <a:pt x="1053" y="16263"/>
                      </a:lnTo>
                      <a:cubicBezTo>
                        <a:pt x="-1596" y="10507"/>
                        <a:pt x="927" y="3697"/>
                        <a:pt x="6671" y="1060"/>
                      </a:cubicBezTo>
                      <a:cubicBezTo>
                        <a:pt x="12450" y="-1601"/>
                        <a:pt x="19237" y="922"/>
                        <a:pt x="21874" y="6678"/>
                      </a:cubicBezTo>
                      <a:lnTo>
                        <a:pt x="39257" y="44503"/>
                      </a:lnTo>
                      <a:cubicBezTo>
                        <a:pt x="41905" y="50259"/>
                        <a:pt x="39382" y="57070"/>
                        <a:pt x="33638" y="59707"/>
                      </a:cubicBezTo>
                      <a:cubicBezTo>
                        <a:pt x="32090" y="60429"/>
                        <a:pt x="30462" y="60761"/>
                        <a:pt x="28857" y="60761"/>
                      </a:cubicBezTo>
                      <a:close/>
                    </a:path>
                  </a:pathLst>
                </a:custGeom>
                <a:grpFill/>
                <a:ln w="1145" cap="flat">
                  <a:noFill/>
                  <a:prstDash val="solid"/>
                  <a:miter/>
                </a:ln>
              </p:spPr>
              <p:txBody>
                <a:bodyPr rtlCol="0" anchor="ctr"/>
                <a:lstStyle/>
                <a:p>
                  <a:endParaRPr lang="en-GB" dirty="0"/>
                </a:p>
              </p:txBody>
            </p:sp>
            <p:sp>
              <p:nvSpPr>
                <p:cNvPr id="245" name="Freeform: Shape 244">
                  <a:extLst>
                    <a:ext uri="{FF2B5EF4-FFF2-40B4-BE49-F238E27FC236}">
                      <a16:creationId xmlns:a16="http://schemas.microsoft.com/office/drawing/2014/main" id="{BD9DE9B4-2F9E-43C2-87D8-FD95C7D59B23}"/>
                    </a:ext>
                  </a:extLst>
                </p:cNvPr>
                <p:cNvSpPr/>
                <p:nvPr/>
              </p:nvSpPr>
              <p:spPr>
                <a:xfrm>
                  <a:off x="5472556" y="3418780"/>
                  <a:ext cx="59557" cy="39632"/>
                </a:xfrm>
                <a:custGeom>
                  <a:avLst/>
                  <a:gdLst>
                    <a:gd name="connsiteX0" fmla="*/ 48078 w 59557"/>
                    <a:gd name="connsiteY0" fmla="*/ 39633 h 39632"/>
                    <a:gd name="connsiteX1" fmla="*/ 43331 w 59557"/>
                    <a:gd name="connsiteY1" fmla="*/ 38601 h 39632"/>
                    <a:gd name="connsiteX2" fmla="*/ 6710 w 59557"/>
                    <a:gd name="connsiteY2" fmla="*/ 21907 h 39632"/>
                    <a:gd name="connsiteX3" fmla="*/ 1035 w 59557"/>
                    <a:gd name="connsiteY3" fmla="*/ 6715 h 39632"/>
                    <a:gd name="connsiteX4" fmla="*/ 16227 w 59557"/>
                    <a:gd name="connsiteY4" fmla="*/ 1039 h 39632"/>
                    <a:gd name="connsiteX5" fmla="*/ 52848 w 59557"/>
                    <a:gd name="connsiteY5" fmla="*/ 17733 h 39632"/>
                    <a:gd name="connsiteX6" fmla="*/ 58523 w 59557"/>
                    <a:gd name="connsiteY6" fmla="*/ 32925 h 39632"/>
                    <a:gd name="connsiteX7" fmla="*/ 48078 w 59557"/>
                    <a:gd name="connsiteY7" fmla="*/ 39633 h 3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557" h="39632">
                      <a:moveTo>
                        <a:pt x="48078" y="39633"/>
                      </a:moveTo>
                      <a:cubicBezTo>
                        <a:pt x="46484" y="39633"/>
                        <a:pt x="44879" y="39312"/>
                        <a:pt x="43331" y="38601"/>
                      </a:cubicBezTo>
                      <a:lnTo>
                        <a:pt x="6710" y="21907"/>
                      </a:lnTo>
                      <a:cubicBezTo>
                        <a:pt x="954" y="19281"/>
                        <a:pt x="-1591" y="12482"/>
                        <a:pt x="1035" y="6715"/>
                      </a:cubicBezTo>
                      <a:cubicBezTo>
                        <a:pt x="3660" y="959"/>
                        <a:pt x="10436" y="-1598"/>
                        <a:pt x="16227" y="1039"/>
                      </a:cubicBezTo>
                      <a:lnTo>
                        <a:pt x="52848" y="17733"/>
                      </a:lnTo>
                      <a:cubicBezTo>
                        <a:pt x="58604" y="20359"/>
                        <a:pt x="61149" y="27158"/>
                        <a:pt x="58523" y="32925"/>
                      </a:cubicBezTo>
                      <a:cubicBezTo>
                        <a:pt x="56597" y="37145"/>
                        <a:pt x="52435" y="39633"/>
                        <a:pt x="48078" y="39633"/>
                      </a:cubicBezTo>
                      <a:close/>
                    </a:path>
                  </a:pathLst>
                </a:custGeom>
                <a:grpFill/>
                <a:ln w="1145" cap="flat">
                  <a:noFill/>
                  <a:prstDash val="solid"/>
                  <a:miter/>
                </a:ln>
              </p:spPr>
              <p:txBody>
                <a:bodyPr rtlCol="0" anchor="ctr"/>
                <a:lstStyle/>
                <a:p>
                  <a:endParaRPr lang="en-GB" dirty="0"/>
                </a:p>
              </p:txBody>
            </p:sp>
            <p:sp>
              <p:nvSpPr>
                <p:cNvPr id="246" name="Freeform: Shape 245">
                  <a:extLst>
                    <a:ext uri="{FF2B5EF4-FFF2-40B4-BE49-F238E27FC236}">
                      <a16:creationId xmlns:a16="http://schemas.microsoft.com/office/drawing/2014/main" id="{4C818E8E-C493-4B12-879E-5D310BD528ED}"/>
                    </a:ext>
                  </a:extLst>
                </p:cNvPr>
                <p:cNvSpPr/>
                <p:nvPr/>
              </p:nvSpPr>
              <p:spPr>
                <a:xfrm>
                  <a:off x="5034155" y="3218938"/>
                  <a:ext cx="60612" cy="40109"/>
                </a:xfrm>
                <a:custGeom>
                  <a:avLst/>
                  <a:gdLst>
                    <a:gd name="connsiteX0" fmla="*/ 49133 w 60612"/>
                    <a:gd name="connsiteY0" fmla="*/ 40110 h 40109"/>
                    <a:gd name="connsiteX1" fmla="*/ 44386 w 60612"/>
                    <a:gd name="connsiteY1" fmla="*/ 39078 h 40109"/>
                    <a:gd name="connsiteX2" fmla="*/ 6710 w 60612"/>
                    <a:gd name="connsiteY2" fmla="*/ 21914 h 40109"/>
                    <a:gd name="connsiteX3" fmla="*/ 1035 w 60612"/>
                    <a:gd name="connsiteY3" fmla="*/ 6722 h 40109"/>
                    <a:gd name="connsiteX4" fmla="*/ 16227 w 60612"/>
                    <a:gd name="connsiteY4" fmla="*/ 1046 h 40109"/>
                    <a:gd name="connsiteX5" fmla="*/ 53903 w 60612"/>
                    <a:gd name="connsiteY5" fmla="*/ 18210 h 40109"/>
                    <a:gd name="connsiteX6" fmla="*/ 59578 w 60612"/>
                    <a:gd name="connsiteY6" fmla="*/ 33402 h 40109"/>
                    <a:gd name="connsiteX7" fmla="*/ 49133 w 60612"/>
                    <a:gd name="connsiteY7" fmla="*/ 40110 h 40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12" h="40109">
                      <a:moveTo>
                        <a:pt x="49133" y="40110"/>
                      </a:moveTo>
                      <a:cubicBezTo>
                        <a:pt x="47539" y="40110"/>
                        <a:pt x="45934" y="39789"/>
                        <a:pt x="44386" y="39078"/>
                      </a:cubicBezTo>
                      <a:lnTo>
                        <a:pt x="6710" y="21914"/>
                      </a:lnTo>
                      <a:cubicBezTo>
                        <a:pt x="954" y="19288"/>
                        <a:pt x="-1591" y="12489"/>
                        <a:pt x="1035" y="6722"/>
                      </a:cubicBezTo>
                      <a:cubicBezTo>
                        <a:pt x="3660" y="954"/>
                        <a:pt x="10448" y="-1602"/>
                        <a:pt x="16227" y="1046"/>
                      </a:cubicBezTo>
                      <a:lnTo>
                        <a:pt x="53903" y="18210"/>
                      </a:lnTo>
                      <a:cubicBezTo>
                        <a:pt x="59659" y="20836"/>
                        <a:pt x="62204" y="27635"/>
                        <a:pt x="59578" y="33402"/>
                      </a:cubicBezTo>
                      <a:cubicBezTo>
                        <a:pt x="57652" y="37622"/>
                        <a:pt x="53490" y="40110"/>
                        <a:pt x="49133" y="40110"/>
                      </a:cubicBezTo>
                      <a:close/>
                    </a:path>
                  </a:pathLst>
                </a:custGeom>
                <a:grpFill/>
                <a:ln w="1145" cap="flat">
                  <a:noFill/>
                  <a:prstDash val="solid"/>
                  <a:miter/>
                </a:ln>
              </p:spPr>
              <p:txBody>
                <a:bodyPr rtlCol="0" anchor="ctr"/>
                <a:lstStyle/>
                <a:p>
                  <a:endParaRPr lang="en-GB" dirty="0"/>
                </a:p>
              </p:txBody>
            </p:sp>
            <p:sp>
              <p:nvSpPr>
                <p:cNvPr id="247" name="Freeform: Shape 246">
                  <a:extLst>
                    <a:ext uri="{FF2B5EF4-FFF2-40B4-BE49-F238E27FC236}">
                      <a16:creationId xmlns:a16="http://schemas.microsoft.com/office/drawing/2014/main" id="{2146BCF0-AFF7-417F-B0B5-A986216094C2}"/>
                    </a:ext>
                  </a:extLst>
                </p:cNvPr>
                <p:cNvSpPr/>
                <p:nvPr/>
              </p:nvSpPr>
              <p:spPr>
                <a:xfrm>
                  <a:off x="5470436" y="3221304"/>
                  <a:ext cx="62021" cy="40300"/>
                </a:xfrm>
                <a:custGeom>
                  <a:avLst/>
                  <a:gdLst>
                    <a:gd name="connsiteX0" fmla="*/ 11479 w 62021"/>
                    <a:gd name="connsiteY0" fmla="*/ 40300 h 40300"/>
                    <a:gd name="connsiteX1" fmla="*/ 988 w 62021"/>
                    <a:gd name="connsiteY1" fmla="*/ 33490 h 40300"/>
                    <a:gd name="connsiteX2" fmla="*/ 6812 w 62021"/>
                    <a:gd name="connsiteY2" fmla="*/ 18355 h 40300"/>
                    <a:gd name="connsiteX3" fmla="*/ 45899 w 62021"/>
                    <a:gd name="connsiteY3" fmla="*/ 996 h 40300"/>
                    <a:gd name="connsiteX4" fmla="*/ 61034 w 62021"/>
                    <a:gd name="connsiteY4" fmla="*/ 6820 h 40300"/>
                    <a:gd name="connsiteX5" fmla="*/ 55209 w 62021"/>
                    <a:gd name="connsiteY5" fmla="*/ 21955 h 40300"/>
                    <a:gd name="connsiteX6" fmla="*/ 16122 w 62021"/>
                    <a:gd name="connsiteY6" fmla="*/ 39314 h 40300"/>
                    <a:gd name="connsiteX7" fmla="*/ 11479 w 62021"/>
                    <a:gd name="connsiteY7" fmla="*/ 40300 h 4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021" h="40300">
                      <a:moveTo>
                        <a:pt x="11479" y="40300"/>
                      </a:moveTo>
                      <a:cubicBezTo>
                        <a:pt x="7076" y="40300"/>
                        <a:pt x="2891" y="37755"/>
                        <a:pt x="988" y="33490"/>
                      </a:cubicBezTo>
                      <a:cubicBezTo>
                        <a:pt x="-1581" y="27699"/>
                        <a:pt x="1034" y="20923"/>
                        <a:pt x="6812" y="18355"/>
                      </a:cubicBezTo>
                      <a:lnTo>
                        <a:pt x="45899" y="996"/>
                      </a:lnTo>
                      <a:cubicBezTo>
                        <a:pt x="51735" y="-1595"/>
                        <a:pt x="58465" y="1053"/>
                        <a:pt x="61034" y="6820"/>
                      </a:cubicBezTo>
                      <a:cubicBezTo>
                        <a:pt x="63602" y="12611"/>
                        <a:pt x="60988" y="19387"/>
                        <a:pt x="55209" y="21955"/>
                      </a:cubicBezTo>
                      <a:lnTo>
                        <a:pt x="16122" y="39314"/>
                      </a:lnTo>
                      <a:cubicBezTo>
                        <a:pt x="14609" y="39979"/>
                        <a:pt x="13027" y="40300"/>
                        <a:pt x="11479" y="40300"/>
                      </a:cubicBezTo>
                      <a:close/>
                    </a:path>
                  </a:pathLst>
                </a:custGeom>
                <a:grpFill/>
                <a:ln w="1145" cap="flat">
                  <a:noFill/>
                  <a:prstDash val="solid"/>
                  <a:miter/>
                </a:ln>
              </p:spPr>
              <p:txBody>
                <a:bodyPr rtlCol="0" anchor="ctr"/>
                <a:lstStyle/>
                <a:p>
                  <a:endParaRPr lang="en-GB" dirty="0"/>
                </a:p>
              </p:txBody>
            </p:sp>
            <p:sp>
              <p:nvSpPr>
                <p:cNvPr id="248" name="Freeform: Shape 247">
                  <a:extLst>
                    <a:ext uri="{FF2B5EF4-FFF2-40B4-BE49-F238E27FC236}">
                      <a16:creationId xmlns:a16="http://schemas.microsoft.com/office/drawing/2014/main" id="{CC86CB0A-BC21-4144-83A9-A8F44316E2C1}"/>
                    </a:ext>
                  </a:extLst>
                </p:cNvPr>
                <p:cNvSpPr/>
                <p:nvPr/>
              </p:nvSpPr>
              <p:spPr>
                <a:xfrm>
                  <a:off x="5032390" y="3416739"/>
                  <a:ext cx="59842" cy="39335"/>
                </a:xfrm>
                <a:custGeom>
                  <a:avLst/>
                  <a:gdLst>
                    <a:gd name="connsiteX0" fmla="*/ 11479 w 59842"/>
                    <a:gd name="connsiteY0" fmla="*/ 39335 h 39335"/>
                    <a:gd name="connsiteX1" fmla="*/ 988 w 59842"/>
                    <a:gd name="connsiteY1" fmla="*/ 32513 h 39335"/>
                    <a:gd name="connsiteX2" fmla="*/ 6824 w 59842"/>
                    <a:gd name="connsiteY2" fmla="*/ 17390 h 39335"/>
                    <a:gd name="connsiteX3" fmla="*/ 43732 w 59842"/>
                    <a:gd name="connsiteY3" fmla="*/ 1005 h 39335"/>
                    <a:gd name="connsiteX4" fmla="*/ 58855 w 59842"/>
                    <a:gd name="connsiteY4" fmla="*/ 6841 h 39335"/>
                    <a:gd name="connsiteX5" fmla="*/ 53019 w 59842"/>
                    <a:gd name="connsiteY5" fmla="*/ 21964 h 39335"/>
                    <a:gd name="connsiteX6" fmla="*/ 16111 w 59842"/>
                    <a:gd name="connsiteY6" fmla="*/ 38349 h 39335"/>
                    <a:gd name="connsiteX7" fmla="*/ 11479 w 59842"/>
                    <a:gd name="connsiteY7" fmla="*/ 39335 h 39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42" h="39335">
                      <a:moveTo>
                        <a:pt x="11479" y="39335"/>
                      </a:moveTo>
                      <a:cubicBezTo>
                        <a:pt x="7076" y="39335"/>
                        <a:pt x="2891" y="36790"/>
                        <a:pt x="988" y="32513"/>
                      </a:cubicBezTo>
                      <a:cubicBezTo>
                        <a:pt x="-1581" y="26734"/>
                        <a:pt x="1033" y="19947"/>
                        <a:pt x="6824" y="17390"/>
                      </a:cubicBezTo>
                      <a:lnTo>
                        <a:pt x="43732" y="1005"/>
                      </a:lnTo>
                      <a:cubicBezTo>
                        <a:pt x="49533" y="-1609"/>
                        <a:pt x="56286" y="1063"/>
                        <a:pt x="58855" y="6841"/>
                      </a:cubicBezTo>
                      <a:cubicBezTo>
                        <a:pt x="61423" y="12620"/>
                        <a:pt x="58809" y="19408"/>
                        <a:pt x="53019" y="21964"/>
                      </a:cubicBezTo>
                      <a:lnTo>
                        <a:pt x="16111" y="38349"/>
                      </a:lnTo>
                      <a:cubicBezTo>
                        <a:pt x="14609" y="39014"/>
                        <a:pt x="13026" y="39335"/>
                        <a:pt x="11479" y="39335"/>
                      </a:cubicBezTo>
                      <a:close/>
                    </a:path>
                  </a:pathLst>
                </a:custGeom>
                <a:grpFill/>
                <a:ln w="1145" cap="flat">
                  <a:noFill/>
                  <a:prstDash val="solid"/>
                  <a:miter/>
                </a:ln>
              </p:spPr>
              <p:txBody>
                <a:bodyPr rtlCol="0" anchor="ctr"/>
                <a:lstStyle/>
                <a:p>
                  <a:endParaRPr lang="en-GB" dirty="0"/>
                </a:p>
              </p:txBody>
            </p:sp>
            <p:sp>
              <p:nvSpPr>
                <p:cNvPr id="249" name="Freeform: Shape 248">
                  <a:extLst>
                    <a:ext uri="{FF2B5EF4-FFF2-40B4-BE49-F238E27FC236}">
                      <a16:creationId xmlns:a16="http://schemas.microsoft.com/office/drawing/2014/main" id="{7A1FDED4-1E94-4F93-86F6-9E72CF2859E6}"/>
                    </a:ext>
                  </a:extLst>
                </p:cNvPr>
                <p:cNvSpPr/>
                <p:nvPr/>
              </p:nvSpPr>
              <p:spPr>
                <a:xfrm>
                  <a:off x="5162158" y="3528213"/>
                  <a:ext cx="39565" cy="59234"/>
                </a:xfrm>
                <a:custGeom>
                  <a:avLst/>
                  <a:gdLst>
                    <a:gd name="connsiteX0" fmla="*/ 11456 w 39565"/>
                    <a:gd name="connsiteY0" fmla="*/ 59235 h 59234"/>
                    <a:gd name="connsiteX1" fmla="*/ 6698 w 39565"/>
                    <a:gd name="connsiteY1" fmla="*/ 58191 h 59234"/>
                    <a:gd name="connsiteX2" fmla="*/ 1045 w 39565"/>
                    <a:gd name="connsiteY2" fmla="*/ 42999 h 59234"/>
                    <a:gd name="connsiteX3" fmla="*/ 17670 w 39565"/>
                    <a:gd name="connsiteY3" fmla="*/ 6699 h 59234"/>
                    <a:gd name="connsiteX4" fmla="*/ 32862 w 39565"/>
                    <a:gd name="connsiteY4" fmla="*/ 1047 h 59234"/>
                    <a:gd name="connsiteX5" fmla="*/ 38515 w 39565"/>
                    <a:gd name="connsiteY5" fmla="*/ 16239 h 59234"/>
                    <a:gd name="connsiteX6" fmla="*/ 21890 w 39565"/>
                    <a:gd name="connsiteY6" fmla="*/ 52539 h 59234"/>
                    <a:gd name="connsiteX7" fmla="*/ 11456 w 39565"/>
                    <a:gd name="connsiteY7" fmla="*/ 59235 h 59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565" h="59234">
                      <a:moveTo>
                        <a:pt x="11456" y="59235"/>
                      </a:moveTo>
                      <a:cubicBezTo>
                        <a:pt x="9863" y="59235"/>
                        <a:pt x="8246" y="58902"/>
                        <a:pt x="6698" y="58191"/>
                      </a:cubicBezTo>
                      <a:cubicBezTo>
                        <a:pt x="931" y="55554"/>
                        <a:pt x="-1592" y="48755"/>
                        <a:pt x="1045" y="42999"/>
                      </a:cubicBezTo>
                      <a:lnTo>
                        <a:pt x="17670" y="6699"/>
                      </a:lnTo>
                      <a:cubicBezTo>
                        <a:pt x="20296" y="955"/>
                        <a:pt x="27084" y="-1602"/>
                        <a:pt x="32862" y="1047"/>
                      </a:cubicBezTo>
                      <a:cubicBezTo>
                        <a:pt x="38630" y="3684"/>
                        <a:pt x="41164" y="10483"/>
                        <a:pt x="38515" y="16239"/>
                      </a:cubicBezTo>
                      <a:lnTo>
                        <a:pt x="21890" y="52539"/>
                      </a:lnTo>
                      <a:cubicBezTo>
                        <a:pt x="19964" y="56747"/>
                        <a:pt x="15813" y="59235"/>
                        <a:pt x="11456" y="59235"/>
                      </a:cubicBezTo>
                      <a:close/>
                    </a:path>
                  </a:pathLst>
                </a:custGeom>
                <a:grpFill/>
                <a:ln w="1145" cap="flat">
                  <a:noFill/>
                  <a:prstDash val="solid"/>
                  <a:miter/>
                </a:ln>
              </p:spPr>
              <p:txBody>
                <a:bodyPr rtlCol="0" anchor="ctr"/>
                <a:lstStyle/>
                <a:p>
                  <a:endParaRPr lang="en-GB" dirty="0"/>
                </a:p>
              </p:txBody>
            </p:sp>
          </p:grpSp>
          <p:sp>
            <p:nvSpPr>
              <p:cNvPr id="237" name="Freeform: Shape 236">
                <a:extLst>
                  <a:ext uri="{FF2B5EF4-FFF2-40B4-BE49-F238E27FC236}">
                    <a16:creationId xmlns:a16="http://schemas.microsoft.com/office/drawing/2014/main" id="{4F2B08EA-255D-4AD5-A68D-AC677388F05F}"/>
                  </a:ext>
                </a:extLst>
              </p:cNvPr>
              <p:cNvSpPr/>
              <p:nvPr/>
            </p:nvSpPr>
            <p:spPr>
              <a:xfrm>
                <a:off x="5161769" y="3375124"/>
                <a:ext cx="81726" cy="81671"/>
              </a:xfrm>
              <a:custGeom>
                <a:avLst/>
                <a:gdLst>
                  <a:gd name="connsiteX0" fmla="*/ 40899 w 81726"/>
                  <a:gd name="connsiteY0" fmla="*/ 81672 h 81671"/>
                  <a:gd name="connsiteX1" fmla="*/ 3349 w 81726"/>
                  <a:gd name="connsiteY1" fmla="*/ 57055 h 81671"/>
                  <a:gd name="connsiteX2" fmla="*/ 24641 w 81726"/>
                  <a:gd name="connsiteY2" fmla="*/ 3338 h 81671"/>
                  <a:gd name="connsiteX3" fmla="*/ 78346 w 81726"/>
                  <a:gd name="connsiteY3" fmla="*/ 24607 h 81671"/>
                  <a:gd name="connsiteX4" fmla="*/ 78346 w 81726"/>
                  <a:gd name="connsiteY4" fmla="*/ 24619 h 81671"/>
                  <a:gd name="connsiteX5" fmla="*/ 78828 w 81726"/>
                  <a:gd name="connsiteY5" fmla="*/ 55874 h 81671"/>
                  <a:gd name="connsiteX6" fmla="*/ 57054 w 81726"/>
                  <a:gd name="connsiteY6" fmla="*/ 78324 h 81671"/>
                  <a:gd name="connsiteX7" fmla="*/ 40899 w 81726"/>
                  <a:gd name="connsiteY7" fmla="*/ 81672 h 81671"/>
                  <a:gd name="connsiteX8" fmla="*/ 40819 w 81726"/>
                  <a:gd name="connsiteY8" fmla="*/ 22922 h 81671"/>
                  <a:gd name="connsiteX9" fmla="*/ 33733 w 81726"/>
                  <a:gd name="connsiteY9" fmla="*/ 24389 h 81671"/>
                  <a:gd name="connsiteX10" fmla="*/ 24182 w 81726"/>
                  <a:gd name="connsiteY10" fmla="*/ 34227 h 81671"/>
                  <a:gd name="connsiteX11" fmla="*/ 24400 w 81726"/>
                  <a:gd name="connsiteY11" fmla="*/ 47940 h 81671"/>
                  <a:gd name="connsiteX12" fmla="*/ 47962 w 81726"/>
                  <a:gd name="connsiteY12" fmla="*/ 57262 h 81671"/>
                  <a:gd name="connsiteX13" fmla="*/ 57513 w 81726"/>
                  <a:gd name="connsiteY13" fmla="*/ 47424 h 81671"/>
                  <a:gd name="connsiteX14" fmla="*/ 57295 w 81726"/>
                  <a:gd name="connsiteY14" fmla="*/ 33722 h 81671"/>
                  <a:gd name="connsiteX15" fmla="*/ 57295 w 81726"/>
                  <a:gd name="connsiteY15" fmla="*/ 33722 h 81671"/>
                  <a:gd name="connsiteX16" fmla="*/ 40819 w 81726"/>
                  <a:gd name="connsiteY16" fmla="*/ 22922 h 81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1726" h="81671">
                    <a:moveTo>
                      <a:pt x="40899" y="81672"/>
                    </a:moveTo>
                    <a:cubicBezTo>
                      <a:pt x="25100" y="81672"/>
                      <a:pt x="10022" y="72454"/>
                      <a:pt x="3349" y="57055"/>
                    </a:cubicBezTo>
                    <a:cubicBezTo>
                      <a:pt x="-5582" y="36359"/>
                      <a:pt x="3969" y="12281"/>
                      <a:pt x="24641" y="3338"/>
                    </a:cubicBezTo>
                    <a:cubicBezTo>
                      <a:pt x="45279" y="-5559"/>
                      <a:pt x="69380" y="3935"/>
                      <a:pt x="78346" y="24607"/>
                    </a:cubicBezTo>
                    <a:cubicBezTo>
                      <a:pt x="78346" y="24607"/>
                      <a:pt x="78346" y="24607"/>
                      <a:pt x="78346" y="24619"/>
                    </a:cubicBezTo>
                    <a:cubicBezTo>
                      <a:pt x="82680" y="34628"/>
                      <a:pt x="82852" y="45738"/>
                      <a:pt x="78828" y="55874"/>
                    </a:cubicBezTo>
                    <a:cubicBezTo>
                      <a:pt x="74804" y="66033"/>
                      <a:pt x="67075" y="73990"/>
                      <a:pt x="57054" y="78324"/>
                    </a:cubicBezTo>
                    <a:cubicBezTo>
                      <a:pt x="51780" y="80594"/>
                      <a:pt x="46311" y="81672"/>
                      <a:pt x="40899" y="81672"/>
                    </a:cubicBezTo>
                    <a:close/>
                    <a:moveTo>
                      <a:pt x="40819" y="22922"/>
                    </a:moveTo>
                    <a:cubicBezTo>
                      <a:pt x="38446" y="22922"/>
                      <a:pt x="36038" y="23392"/>
                      <a:pt x="33733" y="24389"/>
                    </a:cubicBezTo>
                    <a:cubicBezTo>
                      <a:pt x="29342" y="26293"/>
                      <a:pt x="25948" y="29790"/>
                      <a:pt x="24182" y="34227"/>
                    </a:cubicBezTo>
                    <a:cubicBezTo>
                      <a:pt x="22428" y="38675"/>
                      <a:pt x="22497" y="43548"/>
                      <a:pt x="24400" y="47940"/>
                    </a:cubicBezTo>
                    <a:cubicBezTo>
                      <a:pt x="28322" y="57009"/>
                      <a:pt x="38927" y="61160"/>
                      <a:pt x="47962" y="57262"/>
                    </a:cubicBezTo>
                    <a:cubicBezTo>
                      <a:pt x="52354" y="55358"/>
                      <a:pt x="55747" y="51861"/>
                      <a:pt x="57513" y="47424"/>
                    </a:cubicBezTo>
                    <a:cubicBezTo>
                      <a:pt x="59267" y="42975"/>
                      <a:pt x="59199" y="38102"/>
                      <a:pt x="57295" y="33722"/>
                    </a:cubicBezTo>
                    <a:lnTo>
                      <a:pt x="57295" y="33722"/>
                    </a:lnTo>
                    <a:cubicBezTo>
                      <a:pt x="54372" y="26969"/>
                      <a:pt x="47756" y="22922"/>
                      <a:pt x="40819" y="22922"/>
                    </a:cubicBezTo>
                    <a:close/>
                  </a:path>
                </a:pathLst>
              </a:custGeom>
              <a:grpFill/>
              <a:ln w="1145" cap="flat">
                <a:noFill/>
                <a:prstDash val="solid"/>
                <a:miter/>
              </a:ln>
            </p:spPr>
            <p:txBody>
              <a:bodyPr rtlCol="0" anchor="ctr"/>
              <a:lstStyle/>
              <a:p>
                <a:endParaRPr lang="en-GB" dirty="0"/>
              </a:p>
            </p:txBody>
          </p:sp>
          <p:sp>
            <p:nvSpPr>
              <p:cNvPr id="238" name="Freeform: Shape 237">
                <a:extLst>
                  <a:ext uri="{FF2B5EF4-FFF2-40B4-BE49-F238E27FC236}">
                    <a16:creationId xmlns:a16="http://schemas.microsoft.com/office/drawing/2014/main" id="{92C694B1-2492-44E6-851A-0802AD9E45CB}"/>
                  </a:ext>
                </a:extLst>
              </p:cNvPr>
              <p:cNvSpPr/>
              <p:nvPr/>
            </p:nvSpPr>
            <p:spPr>
              <a:xfrm>
                <a:off x="5198311" y="3190930"/>
                <a:ext cx="81704" cy="81704"/>
              </a:xfrm>
              <a:custGeom>
                <a:avLst/>
                <a:gdLst>
                  <a:gd name="connsiteX0" fmla="*/ 40852 w 81704"/>
                  <a:gd name="connsiteY0" fmla="*/ 81704 h 81704"/>
                  <a:gd name="connsiteX1" fmla="*/ 0 w 81704"/>
                  <a:gd name="connsiteY1" fmla="*/ 40852 h 81704"/>
                  <a:gd name="connsiteX2" fmla="*/ 40852 w 81704"/>
                  <a:gd name="connsiteY2" fmla="*/ 0 h 81704"/>
                  <a:gd name="connsiteX3" fmla="*/ 81704 w 81704"/>
                  <a:gd name="connsiteY3" fmla="*/ 40852 h 81704"/>
                  <a:gd name="connsiteX4" fmla="*/ 40852 w 81704"/>
                  <a:gd name="connsiteY4" fmla="*/ 81704 h 81704"/>
                  <a:gd name="connsiteX5" fmla="*/ 40852 w 81704"/>
                  <a:gd name="connsiteY5" fmla="*/ 22943 h 81704"/>
                  <a:gd name="connsiteX6" fmla="*/ 22931 w 81704"/>
                  <a:gd name="connsiteY6" fmla="*/ 40864 h 81704"/>
                  <a:gd name="connsiteX7" fmla="*/ 40852 w 81704"/>
                  <a:gd name="connsiteY7" fmla="*/ 58785 h 81704"/>
                  <a:gd name="connsiteX8" fmla="*/ 58773 w 81704"/>
                  <a:gd name="connsiteY8" fmla="*/ 40864 h 81704"/>
                  <a:gd name="connsiteX9" fmla="*/ 40852 w 81704"/>
                  <a:gd name="connsiteY9" fmla="*/ 22943 h 81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704" h="81704">
                    <a:moveTo>
                      <a:pt x="40852" y="81704"/>
                    </a:moveTo>
                    <a:cubicBezTo>
                      <a:pt x="18322" y="81704"/>
                      <a:pt x="0" y="63382"/>
                      <a:pt x="0" y="40852"/>
                    </a:cubicBezTo>
                    <a:cubicBezTo>
                      <a:pt x="0" y="18322"/>
                      <a:pt x="18322" y="0"/>
                      <a:pt x="40852" y="0"/>
                    </a:cubicBezTo>
                    <a:cubicBezTo>
                      <a:pt x="63382" y="0"/>
                      <a:pt x="81704" y="18322"/>
                      <a:pt x="81704" y="40852"/>
                    </a:cubicBezTo>
                    <a:cubicBezTo>
                      <a:pt x="81704" y="63382"/>
                      <a:pt x="63371" y="81704"/>
                      <a:pt x="40852" y="81704"/>
                    </a:cubicBezTo>
                    <a:close/>
                    <a:moveTo>
                      <a:pt x="40852" y="22943"/>
                    </a:moveTo>
                    <a:cubicBezTo>
                      <a:pt x="30980" y="22943"/>
                      <a:pt x="22931" y="30980"/>
                      <a:pt x="22931" y="40864"/>
                    </a:cubicBezTo>
                    <a:cubicBezTo>
                      <a:pt x="22931" y="50747"/>
                      <a:pt x="30969" y="58785"/>
                      <a:pt x="40852" y="58785"/>
                    </a:cubicBezTo>
                    <a:cubicBezTo>
                      <a:pt x="50736" y="58785"/>
                      <a:pt x="58773" y="50747"/>
                      <a:pt x="58773" y="40864"/>
                    </a:cubicBezTo>
                    <a:cubicBezTo>
                      <a:pt x="58773" y="30980"/>
                      <a:pt x="50724" y="22943"/>
                      <a:pt x="40852" y="22943"/>
                    </a:cubicBezTo>
                    <a:close/>
                  </a:path>
                </a:pathLst>
              </a:custGeom>
              <a:grpFill/>
              <a:ln w="1145" cap="flat">
                <a:noFill/>
                <a:prstDash val="solid"/>
                <a:miter/>
              </a:ln>
            </p:spPr>
            <p:txBody>
              <a:bodyPr rtlCol="0" anchor="ctr"/>
              <a:lstStyle/>
              <a:p>
                <a:endParaRPr lang="en-GB" dirty="0"/>
              </a:p>
            </p:txBody>
          </p:sp>
          <p:sp>
            <p:nvSpPr>
              <p:cNvPr id="239" name="Freeform: Shape 238">
                <a:extLst>
                  <a:ext uri="{FF2B5EF4-FFF2-40B4-BE49-F238E27FC236}">
                    <a16:creationId xmlns:a16="http://schemas.microsoft.com/office/drawing/2014/main" id="{E534A010-B056-4AC5-84A1-0B27409363FC}"/>
                  </a:ext>
                </a:extLst>
              </p:cNvPr>
              <p:cNvSpPr/>
              <p:nvPr/>
            </p:nvSpPr>
            <p:spPr>
              <a:xfrm>
                <a:off x="5332276" y="3341394"/>
                <a:ext cx="96059" cy="96059"/>
              </a:xfrm>
              <a:custGeom>
                <a:avLst/>
                <a:gdLst>
                  <a:gd name="connsiteX0" fmla="*/ 48030 w 96059"/>
                  <a:gd name="connsiteY0" fmla="*/ 96059 h 96059"/>
                  <a:gd name="connsiteX1" fmla="*/ 0 w 96059"/>
                  <a:gd name="connsiteY1" fmla="*/ 48030 h 96059"/>
                  <a:gd name="connsiteX2" fmla="*/ 48030 w 96059"/>
                  <a:gd name="connsiteY2" fmla="*/ 0 h 96059"/>
                  <a:gd name="connsiteX3" fmla="*/ 96059 w 96059"/>
                  <a:gd name="connsiteY3" fmla="*/ 48030 h 96059"/>
                  <a:gd name="connsiteX4" fmla="*/ 48030 w 96059"/>
                  <a:gd name="connsiteY4" fmla="*/ 96059 h 96059"/>
                  <a:gd name="connsiteX5" fmla="*/ 48030 w 96059"/>
                  <a:gd name="connsiteY5" fmla="*/ 22920 h 96059"/>
                  <a:gd name="connsiteX6" fmla="*/ 22931 w 96059"/>
                  <a:gd name="connsiteY6" fmla="*/ 48018 h 96059"/>
                  <a:gd name="connsiteX7" fmla="*/ 48030 w 96059"/>
                  <a:gd name="connsiteY7" fmla="*/ 73117 h 96059"/>
                  <a:gd name="connsiteX8" fmla="*/ 73128 w 96059"/>
                  <a:gd name="connsiteY8" fmla="*/ 48018 h 96059"/>
                  <a:gd name="connsiteX9" fmla="*/ 48030 w 96059"/>
                  <a:gd name="connsiteY9" fmla="*/ 22920 h 96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059" h="96059">
                    <a:moveTo>
                      <a:pt x="48030" y="96059"/>
                    </a:moveTo>
                    <a:cubicBezTo>
                      <a:pt x="21533" y="96059"/>
                      <a:pt x="0" y="74515"/>
                      <a:pt x="0" y="48030"/>
                    </a:cubicBezTo>
                    <a:cubicBezTo>
                      <a:pt x="0" y="21544"/>
                      <a:pt x="21544" y="0"/>
                      <a:pt x="48030" y="0"/>
                    </a:cubicBezTo>
                    <a:cubicBezTo>
                      <a:pt x="74515" y="0"/>
                      <a:pt x="96059" y="21544"/>
                      <a:pt x="96059" y="48030"/>
                    </a:cubicBezTo>
                    <a:cubicBezTo>
                      <a:pt x="96059" y="74515"/>
                      <a:pt x="74527" y="96059"/>
                      <a:pt x="48030" y="96059"/>
                    </a:cubicBezTo>
                    <a:close/>
                    <a:moveTo>
                      <a:pt x="48030" y="22920"/>
                    </a:moveTo>
                    <a:cubicBezTo>
                      <a:pt x="34190" y="22920"/>
                      <a:pt x="22931" y="34179"/>
                      <a:pt x="22931" y="48018"/>
                    </a:cubicBezTo>
                    <a:cubicBezTo>
                      <a:pt x="22931" y="61857"/>
                      <a:pt x="34190" y="73117"/>
                      <a:pt x="48030" y="73117"/>
                    </a:cubicBezTo>
                    <a:cubicBezTo>
                      <a:pt x="61869" y="73117"/>
                      <a:pt x="73128" y="61857"/>
                      <a:pt x="73128" y="48018"/>
                    </a:cubicBezTo>
                    <a:cubicBezTo>
                      <a:pt x="73128" y="34179"/>
                      <a:pt x="61869" y="22920"/>
                      <a:pt x="48030" y="22920"/>
                    </a:cubicBezTo>
                    <a:close/>
                  </a:path>
                </a:pathLst>
              </a:custGeom>
              <a:grpFill/>
              <a:ln w="1145" cap="flat">
                <a:noFill/>
                <a:prstDash val="solid"/>
                <a:miter/>
              </a:ln>
            </p:spPr>
            <p:txBody>
              <a:bodyPr rtlCol="0" anchor="ctr"/>
              <a:lstStyle/>
              <a:p>
                <a:endParaRPr lang="en-GB" dirty="0"/>
              </a:p>
            </p:txBody>
          </p:sp>
        </p:grpSp>
      </p:grpSp>
      <p:grpSp>
        <p:nvGrpSpPr>
          <p:cNvPr id="15" name="Group 14">
            <a:extLst>
              <a:ext uri="{FF2B5EF4-FFF2-40B4-BE49-F238E27FC236}">
                <a16:creationId xmlns:a16="http://schemas.microsoft.com/office/drawing/2014/main" id="{F7ED1275-1A98-DDF1-C058-D5A0BE6FAC77}"/>
              </a:ext>
            </a:extLst>
          </p:cNvPr>
          <p:cNvGrpSpPr/>
          <p:nvPr/>
        </p:nvGrpSpPr>
        <p:grpSpPr>
          <a:xfrm>
            <a:off x="1600106" y="3215902"/>
            <a:ext cx="478757" cy="446120"/>
            <a:chOff x="1600106" y="3215902"/>
            <a:chExt cx="478757" cy="446120"/>
          </a:xfrm>
        </p:grpSpPr>
        <p:grpSp>
          <p:nvGrpSpPr>
            <p:cNvPr id="274" name="Graphic 48">
              <a:extLst>
                <a:ext uri="{FF2B5EF4-FFF2-40B4-BE49-F238E27FC236}">
                  <a16:creationId xmlns:a16="http://schemas.microsoft.com/office/drawing/2014/main" id="{83328C38-3645-4314-B924-A7A399725017}"/>
                </a:ext>
              </a:extLst>
            </p:cNvPr>
            <p:cNvGrpSpPr/>
            <p:nvPr/>
          </p:nvGrpSpPr>
          <p:grpSpPr>
            <a:xfrm>
              <a:off x="1600106" y="3483503"/>
              <a:ext cx="478757" cy="178519"/>
              <a:chOff x="6314181" y="3344944"/>
              <a:chExt cx="849020" cy="316582"/>
            </a:xfrm>
            <a:solidFill>
              <a:schemeClr val="tx2"/>
            </a:solidFill>
          </p:grpSpPr>
          <p:grpSp>
            <p:nvGrpSpPr>
              <p:cNvPr id="315" name="Graphic 48">
                <a:extLst>
                  <a:ext uri="{FF2B5EF4-FFF2-40B4-BE49-F238E27FC236}">
                    <a16:creationId xmlns:a16="http://schemas.microsoft.com/office/drawing/2014/main" id="{F42A4903-2AF5-4FAB-B6C2-731D291715BE}"/>
                  </a:ext>
                </a:extLst>
              </p:cNvPr>
              <p:cNvGrpSpPr/>
              <p:nvPr/>
            </p:nvGrpSpPr>
            <p:grpSpPr>
              <a:xfrm>
                <a:off x="6767216" y="3344944"/>
                <a:ext cx="395985" cy="316582"/>
                <a:chOff x="6767216" y="3344944"/>
                <a:chExt cx="395985" cy="316582"/>
              </a:xfrm>
              <a:grpFill/>
            </p:grpSpPr>
            <p:sp>
              <p:nvSpPr>
                <p:cNvPr id="324" name="Freeform: Shape 323">
                  <a:extLst>
                    <a:ext uri="{FF2B5EF4-FFF2-40B4-BE49-F238E27FC236}">
                      <a16:creationId xmlns:a16="http://schemas.microsoft.com/office/drawing/2014/main" id="{76BFE8E7-EEE2-4E70-A450-8628D93EBE66}"/>
                    </a:ext>
                  </a:extLst>
                </p:cNvPr>
                <p:cNvSpPr/>
                <p:nvPr/>
              </p:nvSpPr>
              <p:spPr>
                <a:xfrm>
                  <a:off x="6767216" y="3359468"/>
                  <a:ext cx="179662" cy="187460"/>
                </a:xfrm>
                <a:custGeom>
                  <a:avLst/>
                  <a:gdLst>
                    <a:gd name="connsiteX0" fmla="*/ 19022 w 179662"/>
                    <a:gd name="connsiteY0" fmla="*/ 187460 h 187460"/>
                    <a:gd name="connsiteX1" fmla="*/ 7901 w 179662"/>
                    <a:gd name="connsiteY1" fmla="*/ 178769 h 187460"/>
                    <a:gd name="connsiteX2" fmla="*/ 27690 w 179662"/>
                    <a:gd name="connsiteY2" fmla="*/ 40436 h 187460"/>
                    <a:gd name="connsiteX3" fmla="*/ 169933 w 179662"/>
                    <a:gd name="connsiteY3" fmla="*/ 1923 h 187460"/>
                    <a:gd name="connsiteX4" fmla="*/ 179530 w 179662"/>
                    <a:gd name="connsiteY4" fmla="*/ 14982 h 187460"/>
                    <a:gd name="connsiteX5" fmla="*/ 166471 w 179662"/>
                    <a:gd name="connsiteY5" fmla="*/ 24590 h 187460"/>
                    <a:gd name="connsiteX6" fmla="*/ 44579 w 179662"/>
                    <a:gd name="connsiteY6" fmla="*/ 55949 h 187460"/>
                    <a:gd name="connsiteX7" fmla="*/ 30155 w 179662"/>
                    <a:gd name="connsiteY7" fmla="*/ 173231 h 187460"/>
                    <a:gd name="connsiteX8" fmla="*/ 21797 w 179662"/>
                    <a:gd name="connsiteY8" fmla="*/ 187139 h 187460"/>
                    <a:gd name="connsiteX9" fmla="*/ 19022 w 179662"/>
                    <a:gd name="connsiteY9" fmla="*/ 187460 h 187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662" h="187460">
                      <a:moveTo>
                        <a:pt x="19022" y="187460"/>
                      </a:moveTo>
                      <a:cubicBezTo>
                        <a:pt x="13886" y="187460"/>
                        <a:pt x="9219" y="183975"/>
                        <a:pt x="7901" y="178769"/>
                      </a:cubicBezTo>
                      <a:cubicBezTo>
                        <a:pt x="-7246" y="117978"/>
                        <a:pt x="-595" y="71451"/>
                        <a:pt x="27690" y="40436"/>
                      </a:cubicBezTo>
                      <a:cubicBezTo>
                        <a:pt x="75433" y="-11928"/>
                        <a:pt x="166092" y="1326"/>
                        <a:pt x="169933" y="1923"/>
                      </a:cubicBezTo>
                      <a:cubicBezTo>
                        <a:pt x="176194" y="2886"/>
                        <a:pt x="180482" y="8733"/>
                        <a:pt x="179530" y="14982"/>
                      </a:cubicBezTo>
                      <a:cubicBezTo>
                        <a:pt x="178567" y="21242"/>
                        <a:pt x="172720" y="25576"/>
                        <a:pt x="166471" y="24590"/>
                      </a:cubicBezTo>
                      <a:cubicBezTo>
                        <a:pt x="165645" y="24464"/>
                        <a:pt x="83987" y="12666"/>
                        <a:pt x="44579" y="55949"/>
                      </a:cubicBezTo>
                      <a:cubicBezTo>
                        <a:pt x="21831" y="80944"/>
                        <a:pt x="16982" y="120398"/>
                        <a:pt x="30155" y="173231"/>
                      </a:cubicBezTo>
                      <a:cubicBezTo>
                        <a:pt x="31680" y="179377"/>
                        <a:pt x="27954" y="185603"/>
                        <a:pt x="21797" y="187139"/>
                      </a:cubicBezTo>
                      <a:cubicBezTo>
                        <a:pt x="20880" y="187345"/>
                        <a:pt x="19940" y="187460"/>
                        <a:pt x="19022" y="187460"/>
                      </a:cubicBezTo>
                      <a:close/>
                    </a:path>
                  </a:pathLst>
                </a:custGeom>
                <a:grpFill/>
                <a:ln w="1145" cap="flat">
                  <a:noFill/>
                  <a:prstDash val="solid"/>
                  <a:miter/>
                </a:ln>
              </p:spPr>
              <p:txBody>
                <a:bodyPr rtlCol="0" anchor="ctr"/>
                <a:lstStyle/>
                <a:p>
                  <a:endParaRPr lang="en-GB" dirty="0"/>
                </a:p>
              </p:txBody>
            </p:sp>
            <p:sp>
              <p:nvSpPr>
                <p:cNvPr id="325" name="Freeform: Shape 324">
                  <a:extLst>
                    <a:ext uri="{FF2B5EF4-FFF2-40B4-BE49-F238E27FC236}">
                      <a16:creationId xmlns:a16="http://schemas.microsoft.com/office/drawing/2014/main" id="{9114DFC4-6F3F-4004-A74E-FD576EDE1472}"/>
                    </a:ext>
                  </a:extLst>
                </p:cNvPr>
                <p:cNvSpPr/>
                <p:nvPr/>
              </p:nvSpPr>
              <p:spPr>
                <a:xfrm>
                  <a:off x="7049985" y="3469978"/>
                  <a:ext cx="43272" cy="40580"/>
                </a:xfrm>
                <a:custGeom>
                  <a:avLst/>
                  <a:gdLst>
                    <a:gd name="connsiteX0" fmla="*/ 31803 w 43272"/>
                    <a:gd name="connsiteY0" fmla="*/ 40581 h 40580"/>
                    <a:gd name="connsiteX1" fmla="*/ 25004 w 43272"/>
                    <a:gd name="connsiteY1" fmla="*/ 38345 h 40580"/>
                    <a:gd name="connsiteX2" fmla="*/ 2887 w 43272"/>
                    <a:gd name="connsiteY2" fmla="*/ 19071 h 40580"/>
                    <a:gd name="connsiteX3" fmla="*/ 3861 w 43272"/>
                    <a:gd name="connsiteY3" fmla="*/ 2893 h 40580"/>
                    <a:gd name="connsiteX4" fmla="*/ 20028 w 43272"/>
                    <a:gd name="connsiteY4" fmla="*/ 3845 h 40580"/>
                    <a:gd name="connsiteX5" fmla="*/ 38614 w 43272"/>
                    <a:gd name="connsiteY5" fmla="*/ 19885 h 40580"/>
                    <a:gd name="connsiteX6" fmla="*/ 41033 w 43272"/>
                    <a:gd name="connsiteY6" fmla="*/ 35914 h 40580"/>
                    <a:gd name="connsiteX7" fmla="*/ 31803 w 43272"/>
                    <a:gd name="connsiteY7" fmla="*/ 40581 h 40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72" h="40580">
                      <a:moveTo>
                        <a:pt x="31803" y="40581"/>
                      </a:moveTo>
                      <a:cubicBezTo>
                        <a:pt x="29441" y="40581"/>
                        <a:pt x="27056" y="39858"/>
                        <a:pt x="25004" y="38345"/>
                      </a:cubicBezTo>
                      <a:cubicBezTo>
                        <a:pt x="10603" y="27716"/>
                        <a:pt x="3196" y="19427"/>
                        <a:pt x="2887" y="19071"/>
                      </a:cubicBezTo>
                      <a:cubicBezTo>
                        <a:pt x="-1310" y="14336"/>
                        <a:pt x="-885" y="7090"/>
                        <a:pt x="3861" y="2893"/>
                      </a:cubicBezTo>
                      <a:cubicBezTo>
                        <a:pt x="8585" y="-1303"/>
                        <a:pt x="15797" y="-891"/>
                        <a:pt x="20028" y="3845"/>
                      </a:cubicBezTo>
                      <a:cubicBezTo>
                        <a:pt x="20223" y="4063"/>
                        <a:pt x="26472" y="10919"/>
                        <a:pt x="38614" y="19885"/>
                      </a:cubicBezTo>
                      <a:cubicBezTo>
                        <a:pt x="43704" y="23646"/>
                        <a:pt x="44794" y="30824"/>
                        <a:pt x="41033" y="35914"/>
                      </a:cubicBezTo>
                      <a:cubicBezTo>
                        <a:pt x="38797" y="38964"/>
                        <a:pt x="35323" y="40581"/>
                        <a:pt x="31803" y="40581"/>
                      </a:cubicBezTo>
                      <a:close/>
                    </a:path>
                  </a:pathLst>
                </a:custGeom>
                <a:grpFill/>
                <a:ln w="1145" cap="flat">
                  <a:noFill/>
                  <a:prstDash val="solid"/>
                  <a:miter/>
                </a:ln>
              </p:spPr>
              <p:txBody>
                <a:bodyPr rtlCol="0" anchor="ctr"/>
                <a:lstStyle/>
                <a:p>
                  <a:endParaRPr lang="en-GB" dirty="0"/>
                </a:p>
              </p:txBody>
            </p:sp>
            <p:sp>
              <p:nvSpPr>
                <p:cNvPr id="326" name="Freeform: Shape 325">
                  <a:extLst>
                    <a:ext uri="{FF2B5EF4-FFF2-40B4-BE49-F238E27FC236}">
                      <a16:creationId xmlns:a16="http://schemas.microsoft.com/office/drawing/2014/main" id="{F0E408BA-E0CF-4F92-8BA5-63A95AE76F31}"/>
                    </a:ext>
                  </a:extLst>
                </p:cNvPr>
                <p:cNvSpPr/>
                <p:nvPr/>
              </p:nvSpPr>
              <p:spPr>
                <a:xfrm>
                  <a:off x="6767672" y="3519609"/>
                  <a:ext cx="120293" cy="141918"/>
                </a:xfrm>
                <a:custGeom>
                  <a:avLst/>
                  <a:gdLst>
                    <a:gd name="connsiteX0" fmla="*/ 81134 w 120293"/>
                    <a:gd name="connsiteY0" fmla="*/ 141918 h 141918"/>
                    <a:gd name="connsiteX1" fmla="*/ 51862 w 120293"/>
                    <a:gd name="connsiteY1" fmla="*/ 126566 h 141918"/>
                    <a:gd name="connsiteX2" fmla="*/ 7776 w 120293"/>
                    <a:gd name="connsiteY2" fmla="*/ 62278 h 141918"/>
                    <a:gd name="connsiteX3" fmla="*/ 13005 w 120293"/>
                    <a:gd name="connsiteY3" fmla="*/ 7449 h 141918"/>
                    <a:gd name="connsiteX4" fmla="*/ 16777 w 120293"/>
                    <a:gd name="connsiteY4" fmla="*/ 4846 h 141918"/>
                    <a:gd name="connsiteX5" fmla="*/ 16789 w 120293"/>
                    <a:gd name="connsiteY5" fmla="*/ 4835 h 141918"/>
                    <a:gd name="connsiteX6" fmla="*/ 69577 w 120293"/>
                    <a:gd name="connsiteY6" fmla="*/ 19328 h 141918"/>
                    <a:gd name="connsiteX7" fmla="*/ 114063 w 120293"/>
                    <a:gd name="connsiteY7" fmla="*/ 83788 h 141918"/>
                    <a:gd name="connsiteX8" fmla="*/ 104937 w 120293"/>
                    <a:gd name="connsiteY8" fmla="*/ 133101 h 141918"/>
                    <a:gd name="connsiteX9" fmla="*/ 101165 w 120293"/>
                    <a:gd name="connsiteY9" fmla="*/ 135704 h 141918"/>
                    <a:gd name="connsiteX10" fmla="*/ 81134 w 120293"/>
                    <a:gd name="connsiteY10" fmla="*/ 141918 h 141918"/>
                    <a:gd name="connsiteX11" fmla="*/ 29791 w 120293"/>
                    <a:gd name="connsiteY11" fmla="*/ 23730 h 141918"/>
                    <a:gd name="connsiteX12" fmla="*/ 26019 w 120293"/>
                    <a:gd name="connsiteY12" fmla="*/ 26333 h 141918"/>
                    <a:gd name="connsiteX13" fmla="*/ 26707 w 120293"/>
                    <a:gd name="connsiteY13" fmla="*/ 49299 h 141918"/>
                    <a:gd name="connsiteX14" fmla="*/ 70792 w 120293"/>
                    <a:gd name="connsiteY14" fmla="*/ 113587 h 141918"/>
                    <a:gd name="connsiteX15" fmla="*/ 88186 w 120293"/>
                    <a:gd name="connsiteY15" fmla="*/ 116797 h 141918"/>
                    <a:gd name="connsiteX16" fmla="*/ 91958 w 120293"/>
                    <a:gd name="connsiteY16" fmla="*/ 114195 h 141918"/>
                    <a:gd name="connsiteX17" fmla="*/ 95191 w 120293"/>
                    <a:gd name="connsiteY17" fmla="*/ 96778 h 141918"/>
                    <a:gd name="connsiteX18" fmla="*/ 50704 w 120293"/>
                    <a:gd name="connsiteY18" fmla="*/ 32318 h 141918"/>
                    <a:gd name="connsiteX19" fmla="*/ 29791 w 120293"/>
                    <a:gd name="connsiteY19" fmla="*/ 23730 h 141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0293" h="141918">
                      <a:moveTo>
                        <a:pt x="81134" y="141918"/>
                      </a:moveTo>
                      <a:cubicBezTo>
                        <a:pt x="69841" y="141918"/>
                        <a:pt x="58730" y="136553"/>
                        <a:pt x="51862" y="126566"/>
                      </a:cubicBezTo>
                      <a:lnTo>
                        <a:pt x="7776" y="62278"/>
                      </a:lnTo>
                      <a:cubicBezTo>
                        <a:pt x="-3276" y="46192"/>
                        <a:pt x="-3414" y="18720"/>
                        <a:pt x="13005" y="7449"/>
                      </a:cubicBezTo>
                      <a:lnTo>
                        <a:pt x="16777" y="4846"/>
                      </a:lnTo>
                      <a:lnTo>
                        <a:pt x="16789" y="4835"/>
                      </a:lnTo>
                      <a:cubicBezTo>
                        <a:pt x="33196" y="-6401"/>
                        <a:pt x="58616" y="3402"/>
                        <a:pt x="69577" y="19328"/>
                      </a:cubicBezTo>
                      <a:lnTo>
                        <a:pt x="114063" y="83788"/>
                      </a:lnTo>
                      <a:cubicBezTo>
                        <a:pt x="125151" y="99920"/>
                        <a:pt x="121035" y="122037"/>
                        <a:pt x="104937" y="133101"/>
                      </a:cubicBezTo>
                      <a:lnTo>
                        <a:pt x="101165" y="135704"/>
                      </a:lnTo>
                      <a:cubicBezTo>
                        <a:pt x="95042" y="139900"/>
                        <a:pt x="88059" y="141918"/>
                        <a:pt x="81134" y="141918"/>
                      </a:cubicBezTo>
                      <a:close/>
                      <a:moveTo>
                        <a:pt x="29791" y="23730"/>
                      </a:moveTo>
                      <a:lnTo>
                        <a:pt x="26019" y="26333"/>
                      </a:lnTo>
                      <a:cubicBezTo>
                        <a:pt x="21960" y="29119"/>
                        <a:pt x="21627" y="41915"/>
                        <a:pt x="26707" y="49299"/>
                      </a:cubicBezTo>
                      <a:lnTo>
                        <a:pt x="70792" y="113587"/>
                      </a:lnTo>
                      <a:cubicBezTo>
                        <a:pt x="74691" y="119251"/>
                        <a:pt x="82499" y="120707"/>
                        <a:pt x="88186" y="116797"/>
                      </a:cubicBezTo>
                      <a:lnTo>
                        <a:pt x="91958" y="114195"/>
                      </a:lnTo>
                      <a:cubicBezTo>
                        <a:pt x="97656" y="110273"/>
                        <a:pt x="99101" y="102477"/>
                        <a:pt x="95191" y="96778"/>
                      </a:cubicBezTo>
                      <a:lnTo>
                        <a:pt x="50704" y="32318"/>
                      </a:lnTo>
                      <a:cubicBezTo>
                        <a:pt x="46083" y="25611"/>
                        <a:pt x="34159" y="20669"/>
                        <a:pt x="29791" y="23730"/>
                      </a:cubicBezTo>
                      <a:close/>
                    </a:path>
                  </a:pathLst>
                </a:custGeom>
                <a:grpFill/>
                <a:ln w="1145" cap="flat">
                  <a:noFill/>
                  <a:prstDash val="solid"/>
                  <a:miter/>
                </a:ln>
              </p:spPr>
              <p:txBody>
                <a:bodyPr rtlCol="0" anchor="ctr"/>
                <a:lstStyle/>
                <a:p>
                  <a:endParaRPr lang="en-GB" dirty="0"/>
                </a:p>
              </p:txBody>
            </p:sp>
            <p:sp>
              <p:nvSpPr>
                <p:cNvPr id="327" name="Freeform: Shape 326">
                  <a:extLst>
                    <a:ext uri="{FF2B5EF4-FFF2-40B4-BE49-F238E27FC236}">
                      <a16:creationId xmlns:a16="http://schemas.microsoft.com/office/drawing/2014/main" id="{AB212B52-6B92-4E74-9EA2-E7799796A074}"/>
                    </a:ext>
                  </a:extLst>
                </p:cNvPr>
                <p:cNvSpPr/>
                <p:nvPr/>
              </p:nvSpPr>
              <p:spPr>
                <a:xfrm>
                  <a:off x="6984841" y="3447991"/>
                  <a:ext cx="89395" cy="182039"/>
                </a:xfrm>
                <a:custGeom>
                  <a:avLst/>
                  <a:gdLst>
                    <a:gd name="connsiteX0" fmla="*/ 45731 w 89395"/>
                    <a:gd name="connsiteY0" fmla="*/ 182040 h 182039"/>
                    <a:gd name="connsiteX1" fmla="*/ 44217 w 89395"/>
                    <a:gd name="connsiteY1" fmla="*/ 182005 h 182039"/>
                    <a:gd name="connsiteX2" fmla="*/ 38748 w 89395"/>
                    <a:gd name="connsiteY2" fmla="*/ 181810 h 182039"/>
                    <a:gd name="connsiteX3" fmla="*/ 10783 w 89395"/>
                    <a:gd name="connsiteY3" fmla="*/ 168992 h 182039"/>
                    <a:gd name="connsiteX4" fmla="*/ 29 w 89395"/>
                    <a:gd name="connsiteY4" fmla="*/ 140179 h 182039"/>
                    <a:gd name="connsiteX5" fmla="*/ 3147 w 89395"/>
                    <a:gd name="connsiteY5" fmla="*/ 45461 h 182039"/>
                    <a:gd name="connsiteX6" fmla="*/ 15221 w 89395"/>
                    <a:gd name="connsiteY6" fmla="*/ 15226 h 182039"/>
                    <a:gd name="connsiteX7" fmla="*/ 45341 w 89395"/>
                    <a:gd name="connsiteY7" fmla="*/ 57 h 182039"/>
                    <a:gd name="connsiteX8" fmla="*/ 50810 w 89395"/>
                    <a:gd name="connsiteY8" fmla="*/ 251 h 182039"/>
                    <a:gd name="connsiteX9" fmla="*/ 50844 w 89395"/>
                    <a:gd name="connsiteY9" fmla="*/ 251 h 182039"/>
                    <a:gd name="connsiteX10" fmla="*/ 89369 w 89395"/>
                    <a:gd name="connsiteY10" fmla="*/ 46699 h 182039"/>
                    <a:gd name="connsiteX11" fmla="*/ 85838 w 89395"/>
                    <a:gd name="connsiteY11" fmla="*/ 143309 h 182039"/>
                    <a:gd name="connsiteX12" fmla="*/ 73019 w 89395"/>
                    <a:gd name="connsiteY12" fmla="*/ 171262 h 182039"/>
                    <a:gd name="connsiteX13" fmla="*/ 45731 w 89395"/>
                    <a:gd name="connsiteY13" fmla="*/ 182040 h 182039"/>
                    <a:gd name="connsiteX14" fmla="*/ 44252 w 89395"/>
                    <a:gd name="connsiteY14" fmla="*/ 22976 h 182039"/>
                    <a:gd name="connsiteX15" fmla="*/ 32901 w 89395"/>
                    <a:gd name="connsiteY15" fmla="*/ 29867 h 182039"/>
                    <a:gd name="connsiteX16" fmla="*/ 26067 w 89395"/>
                    <a:gd name="connsiteY16" fmla="*/ 46275 h 182039"/>
                    <a:gd name="connsiteX17" fmla="*/ 22948 w 89395"/>
                    <a:gd name="connsiteY17" fmla="*/ 141004 h 182039"/>
                    <a:gd name="connsiteX18" fmla="*/ 27580 w 89395"/>
                    <a:gd name="connsiteY18" fmla="*/ 153387 h 182039"/>
                    <a:gd name="connsiteX19" fmla="*/ 39574 w 89395"/>
                    <a:gd name="connsiteY19" fmla="*/ 158914 h 182039"/>
                    <a:gd name="connsiteX20" fmla="*/ 45043 w 89395"/>
                    <a:gd name="connsiteY20" fmla="*/ 159108 h 182039"/>
                    <a:gd name="connsiteX21" fmla="*/ 57414 w 89395"/>
                    <a:gd name="connsiteY21" fmla="*/ 154476 h 182039"/>
                    <a:gd name="connsiteX22" fmla="*/ 62940 w 89395"/>
                    <a:gd name="connsiteY22" fmla="*/ 142483 h 182039"/>
                    <a:gd name="connsiteX23" fmla="*/ 66472 w 89395"/>
                    <a:gd name="connsiteY23" fmla="*/ 45885 h 182039"/>
                    <a:gd name="connsiteX24" fmla="*/ 50007 w 89395"/>
                    <a:gd name="connsiteY24" fmla="*/ 23183 h 182039"/>
                    <a:gd name="connsiteX25" fmla="*/ 44527 w 89395"/>
                    <a:gd name="connsiteY25" fmla="*/ 22988 h 182039"/>
                    <a:gd name="connsiteX26" fmla="*/ 44252 w 89395"/>
                    <a:gd name="connsiteY26" fmla="*/ 22976 h 182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9395" h="182039">
                      <a:moveTo>
                        <a:pt x="45731" y="182040"/>
                      </a:moveTo>
                      <a:cubicBezTo>
                        <a:pt x="45226" y="182040"/>
                        <a:pt x="44722" y="182028"/>
                        <a:pt x="44217" y="182005"/>
                      </a:cubicBezTo>
                      <a:lnTo>
                        <a:pt x="38748" y="181810"/>
                      </a:lnTo>
                      <a:cubicBezTo>
                        <a:pt x="28016" y="181421"/>
                        <a:pt x="18098" y="176857"/>
                        <a:pt x="10783" y="168992"/>
                      </a:cubicBezTo>
                      <a:cubicBezTo>
                        <a:pt x="3445" y="161103"/>
                        <a:pt x="-373" y="150888"/>
                        <a:pt x="29" y="140179"/>
                      </a:cubicBezTo>
                      <a:lnTo>
                        <a:pt x="3147" y="45461"/>
                      </a:lnTo>
                      <a:cubicBezTo>
                        <a:pt x="3514" y="35199"/>
                        <a:pt x="8032" y="23905"/>
                        <a:pt x="15221" y="15226"/>
                      </a:cubicBezTo>
                      <a:cubicBezTo>
                        <a:pt x="23533" y="5182"/>
                        <a:pt x="34150" y="-643"/>
                        <a:pt x="45341" y="57"/>
                      </a:cubicBezTo>
                      <a:lnTo>
                        <a:pt x="50810" y="251"/>
                      </a:lnTo>
                      <a:cubicBezTo>
                        <a:pt x="50821" y="251"/>
                        <a:pt x="50833" y="251"/>
                        <a:pt x="50844" y="251"/>
                      </a:cubicBezTo>
                      <a:cubicBezTo>
                        <a:pt x="73833" y="1088"/>
                        <a:pt x="90148" y="25464"/>
                        <a:pt x="89369" y="46699"/>
                      </a:cubicBezTo>
                      <a:lnTo>
                        <a:pt x="85838" y="143309"/>
                      </a:lnTo>
                      <a:cubicBezTo>
                        <a:pt x="85448" y="154018"/>
                        <a:pt x="80885" y="163935"/>
                        <a:pt x="73019" y="171262"/>
                      </a:cubicBezTo>
                      <a:cubicBezTo>
                        <a:pt x="65509" y="178245"/>
                        <a:pt x="55866" y="182040"/>
                        <a:pt x="45731" y="182040"/>
                      </a:cubicBezTo>
                      <a:close/>
                      <a:moveTo>
                        <a:pt x="44252" y="22976"/>
                      </a:moveTo>
                      <a:cubicBezTo>
                        <a:pt x="40686" y="22976"/>
                        <a:pt x="36478" y="25533"/>
                        <a:pt x="32901" y="29867"/>
                      </a:cubicBezTo>
                      <a:cubicBezTo>
                        <a:pt x="28876" y="34717"/>
                        <a:pt x="26262" y="41012"/>
                        <a:pt x="26067" y="46275"/>
                      </a:cubicBezTo>
                      <a:lnTo>
                        <a:pt x="22948" y="141004"/>
                      </a:lnTo>
                      <a:cubicBezTo>
                        <a:pt x="22776" y="145613"/>
                        <a:pt x="24427" y="150005"/>
                        <a:pt x="27580" y="153387"/>
                      </a:cubicBezTo>
                      <a:cubicBezTo>
                        <a:pt x="30722" y="156781"/>
                        <a:pt x="34987" y="158753"/>
                        <a:pt x="39574" y="158914"/>
                      </a:cubicBezTo>
                      <a:lnTo>
                        <a:pt x="45043" y="159108"/>
                      </a:lnTo>
                      <a:cubicBezTo>
                        <a:pt x="49904" y="159085"/>
                        <a:pt x="54032" y="157629"/>
                        <a:pt x="57414" y="154476"/>
                      </a:cubicBezTo>
                      <a:cubicBezTo>
                        <a:pt x="60808" y="151335"/>
                        <a:pt x="62780" y="147069"/>
                        <a:pt x="62940" y="142483"/>
                      </a:cubicBezTo>
                      <a:lnTo>
                        <a:pt x="66472" y="45885"/>
                      </a:lnTo>
                      <a:cubicBezTo>
                        <a:pt x="66850" y="35371"/>
                        <a:pt x="58240" y="23492"/>
                        <a:pt x="50007" y="23183"/>
                      </a:cubicBezTo>
                      <a:lnTo>
                        <a:pt x="44527" y="22988"/>
                      </a:lnTo>
                      <a:cubicBezTo>
                        <a:pt x="44435" y="22976"/>
                        <a:pt x="44355" y="22976"/>
                        <a:pt x="44252" y="22976"/>
                      </a:cubicBezTo>
                      <a:close/>
                    </a:path>
                  </a:pathLst>
                </a:custGeom>
                <a:grpFill/>
                <a:ln w="1145" cap="flat">
                  <a:noFill/>
                  <a:prstDash val="solid"/>
                  <a:miter/>
                </a:ln>
              </p:spPr>
              <p:txBody>
                <a:bodyPr rtlCol="0" anchor="ctr"/>
                <a:lstStyle/>
                <a:p>
                  <a:endParaRPr lang="en-GB" dirty="0"/>
                </a:p>
              </p:txBody>
            </p:sp>
            <p:sp>
              <p:nvSpPr>
                <p:cNvPr id="328" name="Freeform: Shape 327">
                  <a:extLst>
                    <a:ext uri="{FF2B5EF4-FFF2-40B4-BE49-F238E27FC236}">
                      <a16:creationId xmlns:a16="http://schemas.microsoft.com/office/drawing/2014/main" id="{2A941457-A627-4A0D-9E64-18EB98499836}"/>
                    </a:ext>
                  </a:extLst>
                </p:cNvPr>
                <p:cNvSpPr/>
                <p:nvPr/>
              </p:nvSpPr>
              <p:spPr>
                <a:xfrm>
                  <a:off x="6910433" y="3474833"/>
                  <a:ext cx="95795" cy="166629"/>
                </a:xfrm>
                <a:custGeom>
                  <a:avLst/>
                  <a:gdLst>
                    <a:gd name="connsiteX0" fmla="*/ 53225 w 95795"/>
                    <a:gd name="connsiteY0" fmla="*/ 166630 h 166629"/>
                    <a:gd name="connsiteX1" fmla="*/ 32185 w 95795"/>
                    <a:gd name="connsiteY1" fmla="*/ 160129 h 166629"/>
                    <a:gd name="connsiteX2" fmla="*/ 16339 w 95795"/>
                    <a:gd name="connsiteY2" fmla="*/ 136120 h 166629"/>
                    <a:gd name="connsiteX3" fmla="*/ 746 w 95795"/>
                    <a:gd name="connsiteY3" fmla="*/ 50677 h 166629"/>
                    <a:gd name="connsiteX4" fmla="*/ 4851 w 95795"/>
                    <a:gd name="connsiteY4" fmla="*/ 21417 h 166629"/>
                    <a:gd name="connsiteX5" fmla="*/ 28803 w 95795"/>
                    <a:gd name="connsiteY5" fmla="*/ 1443 h 166629"/>
                    <a:gd name="connsiteX6" fmla="*/ 33721 w 95795"/>
                    <a:gd name="connsiteY6" fmla="*/ 504 h 166629"/>
                    <a:gd name="connsiteX7" fmla="*/ 63922 w 95795"/>
                    <a:gd name="connsiteY7" fmla="*/ 10398 h 166629"/>
                    <a:gd name="connsiteX8" fmla="*/ 79389 w 95795"/>
                    <a:gd name="connsiteY8" fmla="*/ 36597 h 166629"/>
                    <a:gd name="connsiteX9" fmla="*/ 95120 w 95795"/>
                    <a:gd name="connsiteY9" fmla="*/ 121076 h 166629"/>
                    <a:gd name="connsiteX10" fmla="*/ 65264 w 95795"/>
                    <a:gd name="connsiteY10" fmla="*/ 165013 h 166629"/>
                    <a:gd name="connsiteX11" fmla="*/ 60333 w 95795"/>
                    <a:gd name="connsiteY11" fmla="*/ 165953 h 166629"/>
                    <a:gd name="connsiteX12" fmla="*/ 53225 w 95795"/>
                    <a:gd name="connsiteY12" fmla="*/ 166630 h 166629"/>
                    <a:gd name="connsiteX13" fmla="*/ 39133 w 95795"/>
                    <a:gd name="connsiteY13" fmla="*/ 22919 h 166629"/>
                    <a:gd name="connsiteX14" fmla="*/ 38033 w 95795"/>
                    <a:gd name="connsiteY14" fmla="*/ 23022 h 166629"/>
                    <a:gd name="connsiteX15" fmla="*/ 38021 w 95795"/>
                    <a:gd name="connsiteY15" fmla="*/ 23022 h 166629"/>
                    <a:gd name="connsiteX16" fmla="*/ 33102 w 95795"/>
                    <a:gd name="connsiteY16" fmla="*/ 23962 h 166629"/>
                    <a:gd name="connsiteX17" fmla="*/ 25501 w 95795"/>
                    <a:gd name="connsiteY17" fmla="*/ 31358 h 166629"/>
                    <a:gd name="connsiteX18" fmla="*/ 23276 w 95795"/>
                    <a:gd name="connsiteY18" fmla="*/ 46446 h 166629"/>
                    <a:gd name="connsiteX19" fmla="*/ 38870 w 95795"/>
                    <a:gd name="connsiteY19" fmla="*/ 131888 h 166629"/>
                    <a:gd name="connsiteX20" fmla="*/ 45038 w 95795"/>
                    <a:gd name="connsiteY20" fmla="*/ 141141 h 166629"/>
                    <a:gd name="connsiteX21" fmla="*/ 56011 w 95795"/>
                    <a:gd name="connsiteY21" fmla="*/ 143423 h 166629"/>
                    <a:gd name="connsiteX22" fmla="*/ 60941 w 95795"/>
                    <a:gd name="connsiteY22" fmla="*/ 142483 h 166629"/>
                    <a:gd name="connsiteX23" fmla="*/ 70274 w 95795"/>
                    <a:gd name="connsiteY23" fmla="*/ 136303 h 166629"/>
                    <a:gd name="connsiteX24" fmla="*/ 72556 w 95795"/>
                    <a:gd name="connsiteY24" fmla="*/ 125330 h 166629"/>
                    <a:gd name="connsiteX25" fmla="*/ 56825 w 95795"/>
                    <a:gd name="connsiteY25" fmla="*/ 40840 h 166629"/>
                    <a:gd name="connsiteX26" fmla="*/ 48627 w 95795"/>
                    <a:gd name="connsiteY26" fmla="*/ 27494 h 166629"/>
                    <a:gd name="connsiteX27" fmla="*/ 39133 w 95795"/>
                    <a:gd name="connsiteY27" fmla="*/ 22919 h 166629"/>
                    <a:gd name="connsiteX28" fmla="*/ 35877 w 95795"/>
                    <a:gd name="connsiteY28" fmla="*/ 11763 h 166629"/>
                    <a:gd name="connsiteX29" fmla="*/ 35992 w 95795"/>
                    <a:gd name="connsiteY29" fmla="*/ 11763 h 166629"/>
                    <a:gd name="connsiteX30" fmla="*/ 35877 w 95795"/>
                    <a:gd name="connsiteY30" fmla="*/ 11763 h 166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5795" h="166629">
                      <a:moveTo>
                        <a:pt x="53225" y="166630"/>
                      </a:moveTo>
                      <a:cubicBezTo>
                        <a:pt x="45795" y="166641"/>
                        <a:pt x="38502" y="164417"/>
                        <a:pt x="32185" y="160129"/>
                      </a:cubicBezTo>
                      <a:cubicBezTo>
                        <a:pt x="23850" y="154487"/>
                        <a:pt x="18232" y="145957"/>
                        <a:pt x="16339" y="136120"/>
                      </a:cubicBezTo>
                      <a:lnTo>
                        <a:pt x="746" y="50677"/>
                      </a:lnTo>
                      <a:cubicBezTo>
                        <a:pt x="-1054" y="41298"/>
                        <a:pt x="437" y="30601"/>
                        <a:pt x="4851" y="21417"/>
                      </a:cubicBezTo>
                      <a:cubicBezTo>
                        <a:pt x="10102" y="10490"/>
                        <a:pt x="18610" y="3404"/>
                        <a:pt x="28803" y="1443"/>
                      </a:cubicBezTo>
                      <a:lnTo>
                        <a:pt x="33721" y="504"/>
                      </a:lnTo>
                      <a:cubicBezTo>
                        <a:pt x="43731" y="-1411"/>
                        <a:pt x="54738" y="2189"/>
                        <a:pt x="63922" y="10398"/>
                      </a:cubicBezTo>
                      <a:cubicBezTo>
                        <a:pt x="71811" y="17450"/>
                        <a:pt x="77589" y="27241"/>
                        <a:pt x="79389" y="36597"/>
                      </a:cubicBezTo>
                      <a:lnTo>
                        <a:pt x="95120" y="121076"/>
                      </a:lnTo>
                      <a:cubicBezTo>
                        <a:pt x="99019" y="141371"/>
                        <a:pt x="85627" y="161103"/>
                        <a:pt x="65264" y="165013"/>
                      </a:cubicBezTo>
                      <a:lnTo>
                        <a:pt x="60333" y="165953"/>
                      </a:lnTo>
                      <a:cubicBezTo>
                        <a:pt x="57971" y="166400"/>
                        <a:pt x="55587" y="166630"/>
                        <a:pt x="53225" y="166630"/>
                      </a:cubicBezTo>
                      <a:close/>
                      <a:moveTo>
                        <a:pt x="39133" y="22919"/>
                      </a:moveTo>
                      <a:cubicBezTo>
                        <a:pt x="38755" y="22919"/>
                        <a:pt x="38388" y="22953"/>
                        <a:pt x="38033" y="23022"/>
                      </a:cubicBezTo>
                      <a:cubicBezTo>
                        <a:pt x="38033" y="23022"/>
                        <a:pt x="38033" y="23022"/>
                        <a:pt x="38021" y="23022"/>
                      </a:cubicBezTo>
                      <a:lnTo>
                        <a:pt x="33102" y="23962"/>
                      </a:lnTo>
                      <a:cubicBezTo>
                        <a:pt x="29078" y="24730"/>
                        <a:pt x="26452" y="29385"/>
                        <a:pt x="25501" y="31358"/>
                      </a:cubicBezTo>
                      <a:cubicBezTo>
                        <a:pt x="23242" y="36059"/>
                        <a:pt x="22393" y="41837"/>
                        <a:pt x="23276" y="46446"/>
                      </a:cubicBezTo>
                      <a:lnTo>
                        <a:pt x="38870" y="131888"/>
                      </a:lnTo>
                      <a:cubicBezTo>
                        <a:pt x="39592" y="135603"/>
                        <a:pt x="41782" y="138929"/>
                        <a:pt x="45038" y="141141"/>
                      </a:cubicBezTo>
                      <a:cubicBezTo>
                        <a:pt x="48294" y="143354"/>
                        <a:pt x="52204" y="144168"/>
                        <a:pt x="56011" y="143423"/>
                      </a:cubicBezTo>
                      <a:lnTo>
                        <a:pt x="60941" y="142483"/>
                      </a:lnTo>
                      <a:cubicBezTo>
                        <a:pt x="64748" y="141761"/>
                        <a:pt x="68073" y="139559"/>
                        <a:pt x="70274" y="136303"/>
                      </a:cubicBezTo>
                      <a:cubicBezTo>
                        <a:pt x="72476" y="133047"/>
                        <a:pt x="73301" y="129148"/>
                        <a:pt x="72556" y="125330"/>
                      </a:cubicBezTo>
                      <a:lnTo>
                        <a:pt x="56825" y="40840"/>
                      </a:lnTo>
                      <a:cubicBezTo>
                        <a:pt x="55988" y="36460"/>
                        <a:pt x="52766" y="31197"/>
                        <a:pt x="48627" y="27494"/>
                      </a:cubicBezTo>
                      <a:cubicBezTo>
                        <a:pt x="45382" y="24593"/>
                        <a:pt x="41873" y="22919"/>
                        <a:pt x="39133" y="22919"/>
                      </a:cubicBezTo>
                      <a:close/>
                      <a:moveTo>
                        <a:pt x="35877" y="11763"/>
                      </a:moveTo>
                      <a:lnTo>
                        <a:pt x="35992" y="11763"/>
                      </a:lnTo>
                      <a:lnTo>
                        <a:pt x="35877" y="11763"/>
                      </a:lnTo>
                      <a:close/>
                    </a:path>
                  </a:pathLst>
                </a:custGeom>
                <a:grpFill/>
                <a:ln w="1145" cap="flat">
                  <a:noFill/>
                  <a:prstDash val="solid"/>
                  <a:miter/>
                </a:ln>
              </p:spPr>
              <p:txBody>
                <a:bodyPr rtlCol="0" anchor="ctr"/>
                <a:lstStyle/>
                <a:p>
                  <a:endParaRPr lang="en-GB" dirty="0"/>
                </a:p>
              </p:txBody>
            </p:sp>
            <p:sp>
              <p:nvSpPr>
                <p:cNvPr id="329" name="Freeform: Shape 328">
                  <a:extLst>
                    <a:ext uri="{FF2B5EF4-FFF2-40B4-BE49-F238E27FC236}">
                      <a16:creationId xmlns:a16="http://schemas.microsoft.com/office/drawing/2014/main" id="{A9E97B36-3A69-4AE9-84FC-39C5472BD56A}"/>
                    </a:ext>
                  </a:extLst>
                </p:cNvPr>
                <p:cNvSpPr/>
                <p:nvPr/>
              </p:nvSpPr>
              <p:spPr>
                <a:xfrm>
                  <a:off x="6837425" y="3496764"/>
                  <a:ext cx="111763" cy="162675"/>
                </a:xfrm>
                <a:custGeom>
                  <a:avLst/>
                  <a:gdLst>
                    <a:gd name="connsiteX0" fmla="*/ 69535 w 111763"/>
                    <a:gd name="connsiteY0" fmla="*/ 162676 h 162675"/>
                    <a:gd name="connsiteX1" fmla="*/ 34358 w 111763"/>
                    <a:gd name="connsiteY1" fmla="*/ 138472 h 162675"/>
                    <a:gd name="connsiteX2" fmla="*/ 2587 w 111763"/>
                    <a:gd name="connsiteY2" fmla="*/ 54486 h 162675"/>
                    <a:gd name="connsiteX3" fmla="*/ 2633 w 111763"/>
                    <a:gd name="connsiteY3" fmla="*/ 25306 h 162675"/>
                    <a:gd name="connsiteX4" fmla="*/ 23306 w 111763"/>
                    <a:gd name="connsiteY4" fmla="*/ 3659 h 162675"/>
                    <a:gd name="connsiteX5" fmla="*/ 27984 w 111763"/>
                    <a:gd name="connsiteY5" fmla="*/ 1881 h 162675"/>
                    <a:gd name="connsiteX6" fmla="*/ 27984 w 111763"/>
                    <a:gd name="connsiteY6" fmla="*/ 1881 h 162675"/>
                    <a:gd name="connsiteX7" fmla="*/ 78478 w 111763"/>
                    <a:gd name="connsiteY7" fmla="*/ 29399 h 162675"/>
                    <a:gd name="connsiteX8" fmla="*/ 109298 w 111763"/>
                    <a:gd name="connsiteY8" fmla="*/ 109911 h 162675"/>
                    <a:gd name="connsiteX9" fmla="*/ 87548 w 111763"/>
                    <a:gd name="connsiteY9" fmla="*/ 158422 h 162675"/>
                    <a:gd name="connsiteX10" fmla="*/ 82870 w 111763"/>
                    <a:gd name="connsiteY10" fmla="*/ 160199 h 162675"/>
                    <a:gd name="connsiteX11" fmla="*/ 69535 w 111763"/>
                    <a:gd name="connsiteY11" fmla="*/ 162676 h 162675"/>
                    <a:gd name="connsiteX12" fmla="*/ 36124 w 111763"/>
                    <a:gd name="connsiteY12" fmla="*/ 23311 h 162675"/>
                    <a:gd name="connsiteX13" fmla="*/ 31446 w 111763"/>
                    <a:gd name="connsiteY13" fmla="*/ 25088 h 162675"/>
                    <a:gd name="connsiteX14" fmla="*/ 24131 w 111763"/>
                    <a:gd name="connsiteY14" fmla="*/ 33263 h 162675"/>
                    <a:gd name="connsiteX15" fmla="*/ 24016 w 111763"/>
                    <a:gd name="connsiteY15" fmla="*/ 46357 h 162675"/>
                    <a:gd name="connsiteX16" fmla="*/ 55788 w 111763"/>
                    <a:gd name="connsiteY16" fmla="*/ 130331 h 162675"/>
                    <a:gd name="connsiteX17" fmla="*/ 74695 w 111763"/>
                    <a:gd name="connsiteY17" fmla="*/ 138782 h 162675"/>
                    <a:gd name="connsiteX18" fmla="*/ 79373 w 111763"/>
                    <a:gd name="connsiteY18" fmla="*/ 137004 h 162675"/>
                    <a:gd name="connsiteX19" fmla="*/ 87857 w 111763"/>
                    <a:gd name="connsiteY19" fmla="*/ 118098 h 162675"/>
                    <a:gd name="connsiteX20" fmla="*/ 57038 w 111763"/>
                    <a:gd name="connsiteY20" fmla="*/ 37586 h 162675"/>
                    <a:gd name="connsiteX21" fmla="*/ 36124 w 111763"/>
                    <a:gd name="connsiteY21" fmla="*/ 23311 h 162675"/>
                    <a:gd name="connsiteX22" fmla="*/ 36124 w 111763"/>
                    <a:gd name="connsiteY22" fmla="*/ 23311 h 16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1763" h="162675">
                      <a:moveTo>
                        <a:pt x="69535" y="162676"/>
                      </a:moveTo>
                      <a:cubicBezTo>
                        <a:pt x="54377" y="162676"/>
                        <a:pt x="40068" y="153446"/>
                        <a:pt x="34358" y="138472"/>
                      </a:cubicBezTo>
                      <a:lnTo>
                        <a:pt x="2587" y="54486"/>
                      </a:lnTo>
                      <a:cubicBezTo>
                        <a:pt x="-876" y="45394"/>
                        <a:pt x="-864" y="34754"/>
                        <a:pt x="2633" y="25306"/>
                      </a:cubicBezTo>
                      <a:cubicBezTo>
                        <a:pt x="6405" y="15113"/>
                        <a:pt x="13927" y="7225"/>
                        <a:pt x="23306" y="3659"/>
                      </a:cubicBezTo>
                      <a:lnTo>
                        <a:pt x="27984" y="1881"/>
                      </a:lnTo>
                      <a:lnTo>
                        <a:pt x="27984" y="1881"/>
                      </a:lnTo>
                      <a:cubicBezTo>
                        <a:pt x="47727" y="-5628"/>
                        <a:pt x="71301" y="10527"/>
                        <a:pt x="78478" y="29399"/>
                      </a:cubicBezTo>
                      <a:lnTo>
                        <a:pt x="109298" y="109911"/>
                      </a:lnTo>
                      <a:cubicBezTo>
                        <a:pt x="116682" y="129300"/>
                        <a:pt x="106913" y="151061"/>
                        <a:pt x="87548" y="158422"/>
                      </a:cubicBezTo>
                      <a:lnTo>
                        <a:pt x="82870" y="160199"/>
                      </a:lnTo>
                      <a:cubicBezTo>
                        <a:pt x="78490" y="161885"/>
                        <a:pt x="73972" y="162676"/>
                        <a:pt x="69535" y="162676"/>
                      </a:cubicBezTo>
                      <a:close/>
                      <a:moveTo>
                        <a:pt x="36124" y="23311"/>
                      </a:moveTo>
                      <a:lnTo>
                        <a:pt x="31446" y="25088"/>
                      </a:lnTo>
                      <a:cubicBezTo>
                        <a:pt x="27101" y="26751"/>
                        <a:pt x="24991" y="30924"/>
                        <a:pt x="24131" y="33263"/>
                      </a:cubicBezTo>
                      <a:cubicBezTo>
                        <a:pt x="22560" y="37505"/>
                        <a:pt x="22515" y="42401"/>
                        <a:pt x="24016" y="46357"/>
                      </a:cubicBezTo>
                      <a:lnTo>
                        <a:pt x="55788" y="130331"/>
                      </a:lnTo>
                      <a:cubicBezTo>
                        <a:pt x="58654" y="137864"/>
                        <a:pt x="67150" y="141637"/>
                        <a:pt x="74695" y="138782"/>
                      </a:cubicBezTo>
                      <a:lnTo>
                        <a:pt x="79373" y="137004"/>
                      </a:lnTo>
                      <a:cubicBezTo>
                        <a:pt x="86928" y="134127"/>
                        <a:pt x="90724" y="125653"/>
                        <a:pt x="87857" y="118098"/>
                      </a:cubicBezTo>
                      <a:lnTo>
                        <a:pt x="57038" y="37586"/>
                      </a:lnTo>
                      <a:cubicBezTo>
                        <a:pt x="53678" y="28677"/>
                        <a:pt x="42396" y="20949"/>
                        <a:pt x="36124" y="23311"/>
                      </a:cubicBezTo>
                      <a:lnTo>
                        <a:pt x="36124" y="23311"/>
                      </a:lnTo>
                      <a:close/>
                    </a:path>
                  </a:pathLst>
                </a:custGeom>
                <a:grpFill/>
                <a:ln w="1145" cap="flat">
                  <a:noFill/>
                  <a:prstDash val="solid"/>
                  <a:miter/>
                </a:ln>
              </p:spPr>
              <p:txBody>
                <a:bodyPr rtlCol="0" anchor="ctr"/>
                <a:lstStyle/>
                <a:p>
                  <a:endParaRPr lang="en-GB" dirty="0"/>
                </a:p>
              </p:txBody>
            </p:sp>
            <p:sp>
              <p:nvSpPr>
                <p:cNvPr id="330" name="Freeform: Shape 329">
                  <a:extLst>
                    <a:ext uri="{FF2B5EF4-FFF2-40B4-BE49-F238E27FC236}">
                      <a16:creationId xmlns:a16="http://schemas.microsoft.com/office/drawing/2014/main" id="{300E0A58-0BE7-4877-A76F-3B356672AD3B}"/>
                    </a:ext>
                  </a:extLst>
                </p:cNvPr>
                <p:cNvSpPr/>
                <p:nvPr/>
              </p:nvSpPr>
              <p:spPr>
                <a:xfrm>
                  <a:off x="6897740" y="3344944"/>
                  <a:ext cx="265461" cy="204597"/>
                </a:xfrm>
                <a:custGeom>
                  <a:avLst/>
                  <a:gdLst>
                    <a:gd name="connsiteX0" fmla="*/ 217884 w 265461"/>
                    <a:gd name="connsiteY0" fmla="*/ 204598 h 204597"/>
                    <a:gd name="connsiteX1" fmla="*/ 205100 w 265461"/>
                    <a:gd name="connsiteY1" fmla="*/ 201445 h 204597"/>
                    <a:gd name="connsiteX2" fmla="*/ 184737 w 265461"/>
                    <a:gd name="connsiteY2" fmla="*/ 183960 h 204597"/>
                    <a:gd name="connsiteX3" fmla="*/ 192774 w 265461"/>
                    <a:gd name="connsiteY3" fmla="*/ 112540 h 204597"/>
                    <a:gd name="connsiteX4" fmla="*/ 208964 w 265461"/>
                    <a:gd name="connsiteY4" fmla="*/ 111714 h 204597"/>
                    <a:gd name="connsiteX5" fmla="*/ 209801 w 265461"/>
                    <a:gd name="connsiteY5" fmla="*/ 127892 h 204597"/>
                    <a:gd name="connsiteX6" fmla="*/ 202578 w 265461"/>
                    <a:gd name="connsiteY6" fmla="*/ 169593 h 204597"/>
                    <a:gd name="connsiteX7" fmla="*/ 215878 w 265461"/>
                    <a:gd name="connsiteY7" fmla="*/ 181219 h 204597"/>
                    <a:gd name="connsiteX8" fmla="*/ 230520 w 265461"/>
                    <a:gd name="connsiteY8" fmla="*/ 174477 h 204597"/>
                    <a:gd name="connsiteX9" fmla="*/ 237686 w 265461"/>
                    <a:gd name="connsiteY9" fmla="*/ 127044 h 204597"/>
                    <a:gd name="connsiteX10" fmla="*/ 236321 w 265461"/>
                    <a:gd name="connsiteY10" fmla="*/ 124579 h 204597"/>
                    <a:gd name="connsiteX11" fmla="*/ 216199 w 265461"/>
                    <a:gd name="connsiteY11" fmla="*/ 99710 h 204597"/>
                    <a:gd name="connsiteX12" fmla="*/ 186239 w 265461"/>
                    <a:gd name="connsiteY12" fmla="*/ 65702 h 204597"/>
                    <a:gd name="connsiteX13" fmla="*/ 18771 w 265461"/>
                    <a:gd name="connsiteY13" fmla="*/ 53045 h 204597"/>
                    <a:gd name="connsiteX14" fmla="*/ 2639 w 265461"/>
                    <a:gd name="connsiteY14" fmla="*/ 51508 h 204597"/>
                    <a:gd name="connsiteX15" fmla="*/ 4141 w 265461"/>
                    <a:gd name="connsiteY15" fmla="*/ 35387 h 204597"/>
                    <a:gd name="connsiteX16" fmla="*/ 203541 w 265461"/>
                    <a:gd name="connsiteY16" fmla="*/ 50625 h 204597"/>
                    <a:gd name="connsiteX17" fmla="*/ 233317 w 265461"/>
                    <a:gd name="connsiteY17" fmla="*/ 84426 h 204597"/>
                    <a:gd name="connsiteX18" fmla="*/ 256443 w 265461"/>
                    <a:gd name="connsiteY18" fmla="*/ 113537 h 204597"/>
                    <a:gd name="connsiteX19" fmla="*/ 257659 w 265461"/>
                    <a:gd name="connsiteY19" fmla="*/ 115739 h 204597"/>
                    <a:gd name="connsiteX20" fmla="*/ 246949 w 265461"/>
                    <a:gd name="connsiteY20" fmla="*/ 190472 h 204597"/>
                    <a:gd name="connsiteX21" fmla="*/ 217884 w 265461"/>
                    <a:gd name="connsiteY21" fmla="*/ 204598 h 20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5461" h="204597">
                      <a:moveTo>
                        <a:pt x="217884" y="204598"/>
                      </a:moveTo>
                      <a:cubicBezTo>
                        <a:pt x="213412" y="204598"/>
                        <a:pt x="209090" y="203554"/>
                        <a:pt x="205100" y="201445"/>
                      </a:cubicBezTo>
                      <a:cubicBezTo>
                        <a:pt x="195446" y="196297"/>
                        <a:pt x="185792" y="185198"/>
                        <a:pt x="184737" y="183960"/>
                      </a:cubicBezTo>
                      <a:cubicBezTo>
                        <a:pt x="164271" y="156958"/>
                        <a:pt x="181091" y="125473"/>
                        <a:pt x="192774" y="112540"/>
                      </a:cubicBezTo>
                      <a:cubicBezTo>
                        <a:pt x="197017" y="107827"/>
                        <a:pt x="204274" y="107484"/>
                        <a:pt x="208964" y="111714"/>
                      </a:cubicBezTo>
                      <a:cubicBezTo>
                        <a:pt x="213653" y="115957"/>
                        <a:pt x="214031" y="123192"/>
                        <a:pt x="209801" y="127892"/>
                      </a:cubicBezTo>
                      <a:cubicBezTo>
                        <a:pt x="208803" y="129027"/>
                        <a:pt x="189060" y="151729"/>
                        <a:pt x="202578" y="169593"/>
                      </a:cubicBezTo>
                      <a:cubicBezTo>
                        <a:pt x="205123" y="172505"/>
                        <a:pt x="211463" y="178869"/>
                        <a:pt x="215878" y="181219"/>
                      </a:cubicBezTo>
                      <a:cubicBezTo>
                        <a:pt x="218481" y="182618"/>
                        <a:pt x="224477" y="180692"/>
                        <a:pt x="230520" y="174477"/>
                      </a:cubicBezTo>
                      <a:cubicBezTo>
                        <a:pt x="240873" y="163849"/>
                        <a:pt x="247534" y="144472"/>
                        <a:pt x="237686" y="127044"/>
                      </a:cubicBezTo>
                      <a:lnTo>
                        <a:pt x="236321" y="124579"/>
                      </a:lnTo>
                      <a:cubicBezTo>
                        <a:pt x="233810" y="120015"/>
                        <a:pt x="232962" y="118479"/>
                        <a:pt x="216199" y="99710"/>
                      </a:cubicBezTo>
                      <a:cubicBezTo>
                        <a:pt x="208895" y="91546"/>
                        <a:pt x="199253" y="80631"/>
                        <a:pt x="186239" y="65702"/>
                      </a:cubicBezTo>
                      <a:cubicBezTo>
                        <a:pt x="110657" y="-20955"/>
                        <a:pt x="22486" y="49983"/>
                        <a:pt x="18771" y="53045"/>
                      </a:cubicBezTo>
                      <a:cubicBezTo>
                        <a:pt x="13875" y="57058"/>
                        <a:pt x="6652" y="56392"/>
                        <a:pt x="2639" y="51508"/>
                      </a:cubicBezTo>
                      <a:cubicBezTo>
                        <a:pt x="-1397" y="46635"/>
                        <a:pt x="-732" y="39423"/>
                        <a:pt x="4141" y="35387"/>
                      </a:cubicBezTo>
                      <a:cubicBezTo>
                        <a:pt x="5207" y="34493"/>
                        <a:pt x="113065" y="-53059"/>
                        <a:pt x="203541" y="50625"/>
                      </a:cubicBezTo>
                      <a:cubicBezTo>
                        <a:pt x="216474" y="65462"/>
                        <a:pt x="226070" y="76308"/>
                        <a:pt x="233317" y="84426"/>
                      </a:cubicBezTo>
                      <a:cubicBezTo>
                        <a:pt x="251089" y="104308"/>
                        <a:pt x="252774" y="106876"/>
                        <a:pt x="256443" y="113537"/>
                      </a:cubicBezTo>
                      <a:lnTo>
                        <a:pt x="257659" y="115739"/>
                      </a:lnTo>
                      <a:cubicBezTo>
                        <a:pt x="273343" y="143451"/>
                        <a:pt x="263116" y="173904"/>
                        <a:pt x="246949" y="190472"/>
                      </a:cubicBezTo>
                      <a:cubicBezTo>
                        <a:pt x="237926" y="199713"/>
                        <a:pt x="227561" y="204598"/>
                        <a:pt x="217884" y="204598"/>
                      </a:cubicBezTo>
                      <a:close/>
                    </a:path>
                  </a:pathLst>
                </a:custGeom>
                <a:grpFill/>
                <a:ln w="1145" cap="flat">
                  <a:noFill/>
                  <a:prstDash val="solid"/>
                  <a:miter/>
                </a:ln>
              </p:spPr>
              <p:txBody>
                <a:bodyPr rtlCol="0" anchor="ctr"/>
                <a:lstStyle/>
                <a:p>
                  <a:endParaRPr lang="en-GB" dirty="0"/>
                </a:p>
              </p:txBody>
            </p:sp>
          </p:grpSp>
          <p:grpSp>
            <p:nvGrpSpPr>
              <p:cNvPr id="316" name="Graphic 48">
                <a:extLst>
                  <a:ext uri="{FF2B5EF4-FFF2-40B4-BE49-F238E27FC236}">
                    <a16:creationId xmlns:a16="http://schemas.microsoft.com/office/drawing/2014/main" id="{499EF779-2361-45E2-BC68-C60DC1F628BA}"/>
                  </a:ext>
                </a:extLst>
              </p:cNvPr>
              <p:cNvGrpSpPr/>
              <p:nvPr/>
            </p:nvGrpSpPr>
            <p:grpSpPr>
              <a:xfrm>
                <a:off x="6314181" y="3344952"/>
                <a:ext cx="395948" cy="316574"/>
                <a:chOff x="6314181" y="3344952"/>
                <a:chExt cx="395948" cy="316574"/>
              </a:xfrm>
              <a:grpFill/>
            </p:grpSpPr>
            <p:sp>
              <p:nvSpPr>
                <p:cNvPr id="317" name="Freeform: Shape 316">
                  <a:extLst>
                    <a:ext uri="{FF2B5EF4-FFF2-40B4-BE49-F238E27FC236}">
                      <a16:creationId xmlns:a16="http://schemas.microsoft.com/office/drawing/2014/main" id="{A9FC04E8-C48D-4659-BDFE-A3BAEA84E9B1}"/>
                    </a:ext>
                  </a:extLst>
                </p:cNvPr>
                <p:cNvSpPr/>
                <p:nvPr/>
              </p:nvSpPr>
              <p:spPr>
                <a:xfrm>
                  <a:off x="6530465" y="3359473"/>
                  <a:ext cx="179664" cy="187455"/>
                </a:xfrm>
                <a:custGeom>
                  <a:avLst/>
                  <a:gdLst>
                    <a:gd name="connsiteX0" fmla="*/ 160654 w 179664"/>
                    <a:gd name="connsiteY0" fmla="*/ 187455 h 187455"/>
                    <a:gd name="connsiteX1" fmla="*/ 157868 w 179664"/>
                    <a:gd name="connsiteY1" fmla="*/ 187123 h 187455"/>
                    <a:gd name="connsiteX2" fmla="*/ 149509 w 179664"/>
                    <a:gd name="connsiteY2" fmla="*/ 173215 h 187455"/>
                    <a:gd name="connsiteX3" fmla="*/ 135040 w 179664"/>
                    <a:gd name="connsiteY3" fmla="*/ 55887 h 187455"/>
                    <a:gd name="connsiteX4" fmla="*/ 13206 w 179664"/>
                    <a:gd name="connsiteY4" fmla="*/ 24585 h 187455"/>
                    <a:gd name="connsiteX5" fmla="*/ 135 w 179664"/>
                    <a:gd name="connsiteY5" fmla="*/ 14989 h 187455"/>
                    <a:gd name="connsiteX6" fmla="*/ 9732 w 179664"/>
                    <a:gd name="connsiteY6" fmla="*/ 1918 h 187455"/>
                    <a:gd name="connsiteX7" fmla="*/ 151975 w 179664"/>
                    <a:gd name="connsiteY7" fmla="*/ 40431 h 187455"/>
                    <a:gd name="connsiteX8" fmla="*/ 171764 w 179664"/>
                    <a:gd name="connsiteY8" fmla="*/ 178764 h 187455"/>
                    <a:gd name="connsiteX9" fmla="*/ 160654 w 179664"/>
                    <a:gd name="connsiteY9" fmla="*/ 187455 h 187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9664" h="187455">
                      <a:moveTo>
                        <a:pt x="160654" y="187455"/>
                      </a:moveTo>
                      <a:cubicBezTo>
                        <a:pt x="159737" y="187455"/>
                        <a:pt x="158797" y="187340"/>
                        <a:pt x="157868" y="187123"/>
                      </a:cubicBezTo>
                      <a:cubicBezTo>
                        <a:pt x="151722" y="185586"/>
                        <a:pt x="147996" y="179360"/>
                        <a:pt x="149509" y="173215"/>
                      </a:cubicBezTo>
                      <a:cubicBezTo>
                        <a:pt x="162695" y="120347"/>
                        <a:pt x="157834" y="80870"/>
                        <a:pt x="135040" y="55887"/>
                      </a:cubicBezTo>
                      <a:cubicBezTo>
                        <a:pt x="95484" y="12523"/>
                        <a:pt x="14066" y="24471"/>
                        <a:pt x="13206" y="24585"/>
                      </a:cubicBezTo>
                      <a:cubicBezTo>
                        <a:pt x="6957" y="25548"/>
                        <a:pt x="1098" y="21249"/>
                        <a:pt x="135" y="14989"/>
                      </a:cubicBezTo>
                      <a:cubicBezTo>
                        <a:pt x="-828" y="8728"/>
                        <a:pt x="3471" y="2881"/>
                        <a:pt x="9732" y="1918"/>
                      </a:cubicBezTo>
                      <a:cubicBezTo>
                        <a:pt x="13561" y="1333"/>
                        <a:pt x="104232" y="-11933"/>
                        <a:pt x="151975" y="40431"/>
                      </a:cubicBezTo>
                      <a:cubicBezTo>
                        <a:pt x="180261" y="71446"/>
                        <a:pt x="186911" y="117985"/>
                        <a:pt x="171764" y="178764"/>
                      </a:cubicBezTo>
                      <a:cubicBezTo>
                        <a:pt x="170469" y="183970"/>
                        <a:pt x="165791" y="187455"/>
                        <a:pt x="160654" y="187455"/>
                      </a:cubicBezTo>
                      <a:close/>
                    </a:path>
                  </a:pathLst>
                </a:custGeom>
                <a:grpFill/>
                <a:ln w="1145" cap="flat">
                  <a:noFill/>
                  <a:prstDash val="solid"/>
                  <a:miter/>
                </a:ln>
              </p:spPr>
              <p:txBody>
                <a:bodyPr rtlCol="0" anchor="ctr"/>
                <a:lstStyle/>
                <a:p>
                  <a:endParaRPr lang="en-GB" dirty="0"/>
                </a:p>
              </p:txBody>
            </p:sp>
            <p:sp>
              <p:nvSpPr>
                <p:cNvPr id="318" name="Freeform: Shape 317">
                  <a:extLst>
                    <a:ext uri="{FF2B5EF4-FFF2-40B4-BE49-F238E27FC236}">
                      <a16:creationId xmlns:a16="http://schemas.microsoft.com/office/drawing/2014/main" id="{A34CE8FD-6DBD-4BCC-A37A-60CE48881796}"/>
                    </a:ext>
                  </a:extLst>
                </p:cNvPr>
                <p:cNvSpPr/>
                <p:nvPr/>
              </p:nvSpPr>
              <p:spPr>
                <a:xfrm>
                  <a:off x="6384088" y="3470007"/>
                  <a:ext cx="43277" cy="40551"/>
                </a:xfrm>
                <a:custGeom>
                  <a:avLst/>
                  <a:gdLst>
                    <a:gd name="connsiteX0" fmla="*/ 11480 w 43277"/>
                    <a:gd name="connsiteY0" fmla="*/ 40551 h 40551"/>
                    <a:gd name="connsiteX1" fmla="*/ 2239 w 43277"/>
                    <a:gd name="connsiteY1" fmla="*/ 35896 h 40551"/>
                    <a:gd name="connsiteX2" fmla="*/ 4658 w 43277"/>
                    <a:gd name="connsiteY2" fmla="*/ 19867 h 40551"/>
                    <a:gd name="connsiteX3" fmla="*/ 23267 w 43277"/>
                    <a:gd name="connsiteY3" fmla="*/ 3815 h 40551"/>
                    <a:gd name="connsiteX4" fmla="*/ 39445 w 43277"/>
                    <a:gd name="connsiteY4" fmla="*/ 2910 h 40551"/>
                    <a:gd name="connsiteX5" fmla="*/ 40397 w 43277"/>
                    <a:gd name="connsiteY5" fmla="*/ 19065 h 40551"/>
                    <a:gd name="connsiteX6" fmla="*/ 18268 w 43277"/>
                    <a:gd name="connsiteY6" fmla="*/ 38327 h 40551"/>
                    <a:gd name="connsiteX7" fmla="*/ 11480 w 43277"/>
                    <a:gd name="connsiteY7" fmla="*/ 40551 h 40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277" h="40551">
                      <a:moveTo>
                        <a:pt x="11480" y="40551"/>
                      </a:moveTo>
                      <a:cubicBezTo>
                        <a:pt x="7960" y="40551"/>
                        <a:pt x="4498" y="38935"/>
                        <a:pt x="2239" y="35896"/>
                      </a:cubicBezTo>
                      <a:cubicBezTo>
                        <a:pt x="-1521" y="30806"/>
                        <a:pt x="-432" y="23628"/>
                        <a:pt x="4658" y="19867"/>
                      </a:cubicBezTo>
                      <a:cubicBezTo>
                        <a:pt x="16938" y="10810"/>
                        <a:pt x="23210" y="3873"/>
                        <a:pt x="23267" y="3815"/>
                      </a:cubicBezTo>
                      <a:cubicBezTo>
                        <a:pt x="27509" y="-909"/>
                        <a:pt x="34744" y="-1287"/>
                        <a:pt x="39445" y="2910"/>
                      </a:cubicBezTo>
                      <a:cubicBezTo>
                        <a:pt x="44158" y="7117"/>
                        <a:pt x="44582" y="14341"/>
                        <a:pt x="40397" y="19065"/>
                      </a:cubicBezTo>
                      <a:cubicBezTo>
                        <a:pt x="40087" y="19409"/>
                        <a:pt x="32669" y="27698"/>
                        <a:pt x="18268" y="38327"/>
                      </a:cubicBezTo>
                      <a:cubicBezTo>
                        <a:pt x="16227" y="39817"/>
                        <a:pt x="13842" y="40551"/>
                        <a:pt x="11480" y="40551"/>
                      </a:cubicBezTo>
                      <a:close/>
                    </a:path>
                  </a:pathLst>
                </a:custGeom>
                <a:grpFill/>
                <a:ln w="1145" cap="flat">
                  <a:noFill/>
                  <a:prstDash val="solid"/>
                  <a:miter/>
                </a:ln>
              </p:spPr>
              <p:txBody>
                <a:bodyPr rtlCol="0" anchor="ctr"/>
                <a:lstStyle/>
                <a:p>
                  <a:endParaRPr lang="en-GB" dirty="0"/>
                </a:p>
              </p:txBody>
            </p:sp>
            <p:sp>
              <p:nvSpPr>
                <p:cNvPr id="319" name="Freeform: Shape 318">
                  <a:extLst>
                    <a:ext uri="{FF2B5EF4-FFF2-40B4-BE49-F238E27FC236}">
                      <a16:creationId xmlns:a16="http://schemas.microsoft.com/office/drawing/2014/main" id="{71FC7DB8-AFBD-4F33-96DD-273D2427C28C}"/>
                    </a:ext>
                  </a:extLst>
                </p:cNvPr>
                <p:cNvSpPr/>
                <p:nvPr/>
              </p:nvSpPr>
              <p:spPr>
                <a:xfrm>
                  <a:off x="6589388" y="3519605"/>
                  <a:ext cx="120295" cy="141922"/>
                </a:xfrm>
                <a:custGeom>
                  <a:avLst/>
                  <a:gdLst>
                    <a:gd name="connsiteX0" fmla="*/ 39162 w 120295"/>
                    <a:gd name="connsiteY0" fmla="*/ 141923 h 141922"/>
                    <a:gd name="connsiteX1" fmla="*/ 19155 w 120295"/>
                    <a:gd name="connsiteY1" fmla="*/ 135708 h 141922"/>
                    <a:gd name="connsiteX2" fmla="*/ 15359 w 120295"/>
                    <a:gd name="connsiteY2" fmla="*/ 133094 h 141922"/>
                    <a:gd name="connsiteX3" fmla="*/ 6221 w 120295"/>
                    <a:gd name="connsiteY3" fmla="*/ 83803 h 141922"/>
                    <a:gd name="connsiteX4" fmla="*/ 50731 w 120295"/>
                    <a:gd name="connsiteY4" fmla="*/ 19297 h 141922"/>
                    <a:gd name="connsiteX5" fmla="*/ 103507 w 120295"/>
                    <a:gd name="connsiteY5" fmla="*/ 4827 h 141922"/>
                    <a:gd name="connsiteX6" fmla="*/ 103507 w 120295"/>
                    <a:gd name="connsiteY6" fmla="*/ 4827 h 141922"/>
                    <a:gd name="connsiteX7" fmla="*/ 107303 w 120295"/>
                    <a:gd name="connsiteY7" fmla="*/ 7442 h 141922"/>
                    <a:gd name="connsiteX8" fmla="*/ 112508 w 120295"/>
                    <a:gd name="connsiteY8" fmla="*/ 62282 h 141922"/>
                    <a:gd name="connsiteX9" fmla="*/ 68446 w 120295"/>
                    <a:gd name="connsiteY9" fmla="*/ 126547 h 141922"/>
                    <a:gd name="connsiteX10" fmla="*/ 39162 w 120295"/>
                    <a:gd name="connsiteY10" fmla="*/ 141923 h 141922"/>
                    <a:gd name="connsiteX11" fmla="*/ 86963 w 120295"/>
                    <a:gd name="connsiteY11" fmla="*/ 22829 h 141922"/>
                    <a:gd name="connsiteX12" fmla="*/ 69615 w 120295"/>
                    <a:gd name="connsiteY12" fmla="*/ 32311 h 141922"/>
                    <a:gd name="connsiteX13" fmla="*/ 25105 w 120295"/>
                    <a:gd name="connsiteY13" fmla="*/ 96817 h 141922"/>
                    <a:gd name="connsiteX14" fmla="*/ 28339 w 120295"/>
                    <a:gd name="connsiteY14" fmla="*/ 114199 h 141922"/>
                    <a:gd name="connsiteX15" fmla="*/ 32134 w 120295"/>
                    <a:gd name="connsiteY15" fmla="*/ 116813 h 141922"/>
                    <a:gd name="connsiteX16" fmla="*/ 49527 w 120295"/>
                    <a:gd name="connsiteY16" fmla="*/ 113591 h 141922"/>
                    <a:gd name="connsiteX17" fmla="*/ 93590 w 120295"/>
                    <a:gd name="connsiteY17" fmla="*/ 49326 h 141922"/>
                    <a:gd name="connsiteX18" fmla="*/ 94312 w 120295"/>
                    <a:gd name="connsiteY18" fmla="*/ 26360 h 141922"/>
                    <a:gd name="connsiteX19" fmla="*/ 90517 w 120295"/>
                    <a:gd name="connsiteY19" fmla="*/ 23746 h 141922"/>
                    <a:gd name="connsiteX20" fmla="*/ 86963 w 120295"/>
                    <a:gd name="connsiteY20" fmla="*/ 22829 h 14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0295" h="141922">
                      <a:moveTo>
                        <a:pt x="39162" y="141923"/>
                      </a:moveTo>
                      <a:cubicBezTo>
                        <a:pt x="32248" y="141923"/>
                        <a:pt x="25266" y="139905"/>
                        <a:pt x="19155" y="135708"/>
                      </a:cubicBezTo>
                      <a:lnTo>
                        <a:pt x="15359" y="133094"/>
                      </a:lnTo>
                      <a:cubicBezTo>
                        <a:pt x="-738" y="122030"/>
                        <a:pt x="-4854" y="99912"/>
                        <a:pt x="6221" y="83803"/>
                      </a:cubicBezTo>
                      <a:lnTo>
                        <a:pt x="50731" y="19297"/>
                      </a:lnTo>
                      <a:cubicBezTo>
                        <a:pt x="61692" y="3383"/>
                        <a:pt x="87146" y="-6386"/>
                        <a:pt x="103507" y="4827"/>
                      </a:cubicBezTo>
                      <a:lnTo>
                        <a:pt x="103507" y="4827"/>
                      </a:lnTo>
                      <a:lnTo>
                        <a:pt x="107303" y="7442"/>
                      </a:lnTo>
                      <a:cubicBezTo>
                        <a:pt x="123710" y="18712"/>
                        <a:pt x="123572" y="46184"/>
                        <a:pt x="112508" y="62282"/>
                      </a:cubicBezTo>
                      <a:lnTo>
                        <a:pt x="68446" y="126547"/>
                      </a:lnTo>
                      <a:cubicBezTo>
                        <a:pt x="61566" y="136557"/>
                        <a:pt x="50456" y="141923"/>
                        <a:pt x="39162" y="141923"/>
                      </a:cubicBezTo>
                      <a:close/>
                      <a:moveTo>
                        <a:pt x="86963" y="22829"/>
                      </a:moveTo>
                      <a:cubicBezTo>
                        <a:pt x="81517" y="22829"/>
                        <a:pt x="73273" y="27002"/>
                        <a:pt x="69615" y="32311"/>
                      </a:cubicBezTo>
                      <a:lnTo>
                        <a:pt x="25105" y="96817"/>
                      </a:lnTo>
                      <a:cubicBezTo>
                        <a:pt x="21207" y="102481"/>
                        <a:pt x="22651" y="110289"/>
                        <a:pt x="28339" y="114199"/>
                      </a:cubicBezTo>
                      <a:lnTo>
                        <a:pt x="32134" y="116813"/>
                      </a:lnTo>
                      <a:cubicBezTo>
                        <a:pt x="37821" y="120734"/>
                        <a:pt x="45629" y="119278"/>
                        <a:pt x="49527" y="113591"/>
                      </a:cubicBezTo>
                      <a:lnTo>
                        <a:pt x="93590" y="49326"/>
                      </a:lnTo>
                      <a:cubicBezTo>
                        <a:pt x="98669" y="41930"/>
                        <a:pt x="98348" y="29135"/>
                        <a:pt x="94312" y="26360"/>
                      </a:cubicBezTo>
                      <a:lnTo>
                        <a:pt x="90517" y="23746"/>
                      </a:lnTo>
                      <a:cubicBezTo>
                        <a:pt x="89611" y="23104"/>
                        <a:pt x="88373" y="22829"/>
                        <a:pt x="86963" y="22829"/>
                      </a:cubicBezTo>
                      <a:close/>
                    </a:path>
                  </a:pathLst>
                </a:custGeom>
                <a:grpFill/>
                <a:ln w="1145" cap="flat">
                  <a:noFill/>
                  <a:prstDash val="solid"/>
                  <a:miter/>
                </a:ln>
              </p:spPr>
              <p:txBody>
                <a:bodyPr rtlCol="0" anchor="ctr"/>
                <a:lstStyle/>
                <a:p>
                  <a:endParaRPr lang="en-GB" dirty="0"/>
                </a:p>
              </p:txBody>
            </p:sp>
            <p:sp>
              <p:nvSpPr>
                <p:cNvPr id="320" name="Freeform: Shape 319">
                  <a:extLst>
                    <a:ext uri="{FF2B5EF4-FFF2-40B4-BE49-F238E27FC236}">
                      <a16:creationId xmlns:a16="http://schemas.microsoft.com/office/drawing/2014/main" id="{0508AFA3-62FA-415B-872D-578D6EEFB882}"/>
                    </a:ext>
                  </a:extLst>
                </p:cNvPr>
                <p:cNvSpPr/>
                <p:nvPr/>
              </p:nvSpPr>
              <p:spPr>
                <a:xfrm>
                  <a:off x="6403121" y="3447986"/>
                  <a:ext cx="89393" cy="182044"/>
                </a:xfrm>
                <a:custGeom>
                  <a:avLst/>
                  <a:gdLst>
                    <a:gd name="connsiteX0" fmla="*/ 43664 w 89393"/>
                    <a:gd name="connsiteY0" fmla="*/ 182045 h 182044"/>
                    <a:gd name="connsiteX1" fmla="*/ 16376 w 89393"/>
                    <a:gd name="connsiteY1" fmla="*/ 171267 h 182044"/>
                    <a:gd name="connsiteX2" fmla="*/ 3557 w 89393"/>
                    <a:gd name="connsiteY2" fmla="*/ 143325 h 182044"/>
                    <a:gd name="connsiteX3" fmla="*/ 26 w 89393"/>
                    <a:gd name="connsiteY3" fmla="*/ 46704 h 182044"/>
                    <a:gd name="connsiteX4" fmla="*/ 38551 w 89393"/>
                    <a:gd name="connsiteY4" fmla="*/ 257 h 182044"/>
                    <a:gd name="connsiteX5" fmla="*/ 38585 w 89393"/>
                    <a:gd name="connsiteY5" fmla="*/ 257 h 182044"/>
                    <a:gd name="connsiteX6" fmla="*/ 44089 w 89393"/>
                    <a:gd name="connsiteY6" fmla="*/ 62 h 182044"/>
                    <a:gd name="connsiteX7" fmla="*/ 74163 w 89393"/>
                    <a:gd name="connsiteY7" fmla="*/ 15231 h 182044"/>
                    <a:gd name="connsiteX8" fmla="*/ 86236 w 89393"/>
                    <a:gd name="connsiteY8" fmla="*/ 45431 h 182044"/>
                    <a:gd name="connsiteX9" fmla="*/ 89366 w 89393"/>
                    <a:gd name="connsiteY9" fmla="*/ 140230 h 182044"/>
                    <a:gd name="connsiteX10" fmla="*/ 50681 w 89393"/>
                    <a:gd name="connsiteY10" fmla="*/ 181816 h 182044"/>
                    <a:gd name="connsiteX11" fmla="*/ 45143 w 89393"/>
                    <a:gd name="connsiteY11" fmla="*/ 182010 h 182044"/>
                    <a:gd name="connsiteX12" fmla="*/ 43664 w 89393"/>
                    <a:gd name="connsiteY12" fmla="*/ 182045 h 182044"/>
                    <a:gd name="connsiteX13" fmla="*/ 39410 w 89393"/>
                    <a:gd name="connsiteY13" fmla="*/ 23165 h 182044"/>
                    <a:gd name="connsiteX14" fmla="*/ 22934 w 89393"/>
                    <a:gd name="connsiteY14" fmla="*/ 45867 h 182044"/>
                    <a:gd name="connsiteX15" fmla="*/ 26466 w 89393"/>
                    <a:gd name="connsiteY15" fmla="*/ 142477 h 182044"/>
                    <a:gd name="connsiteX16" fmla="*/ 31992 w 89393"/>
                    <a:gd name="connsiteY16" fmla="*/ 154458 h 182044"/>
                    <a:gd name="connsiteX17" fmla="*/ 44329 w 89393"/>
                    <a:gd name="connsiteY17" fmla="*/ 159091 h 182044"/>
                    <a:gd name="connsiteX18" fmla="*/ 49867 w 89393"/>
                    <a:gd name="connsiteY18" fmla="*/ 158896 h 182044"/>
                    <a:gd name="connsiteX19" fmla="*/ 66458 w 89393"/>
                    <a:gd name="connsiteY19" fmla="*/ 141009 h 182044"/>
                    <a:gd name="connsiteX20" fmla="*/ 63328 w 89393"/>
                    <a:gd name="connsiteY20" fmla="*/ 46211 h 182044"/>
                    <a:gd name="connsiteX21" fmla="*/ 56494 w 89393"/>
                    <a:gd name="connsiteY21" fmla="*/ 29838 h 182044"/>
                    <a:gd name="connsiteX22" fmla="*/ 45166 w 89393"/>
                    <a:gd name="connsiteY22" fmla="*/ 22947 h 182044"/>
                    <a:gd name="connsiteX23" fmla="*/ 44914 w 89393"/>
                    <a:gd name="connsiteY23" fmla="*/ 22947 h 182044"/>
                    <a:gd name="connsiteX24" fmla="*/ 39410 w 89393"/>
                    <a:gd name="connsiteY24" fmla="*/ 23165 h 182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9393" h="182044">
                      <a:moveTo>
                        <a:pt x="43664" y="182045"/>
                      </a:moveTo>
                      <a:cubicBezTo>
                        <a:pt x="33529" y="182045"/>
                        <a:pt x="23886" y="178250"/>
                        <a:pt x="16376" y="171267"/>
                      </a:cubicBezTo>
                      <a:cubicBezTo>
                        <a:pt x="8499" y="163940"/>
                        <a:pt x="3947" y="154023"/>
                        <a:pt x="3557" y="143325"/>
                      </a:cubicBezTo>
                      <a:lnTo>
                        <a:pt x="26" y="46704"/>
                      </a:lnTo>
                      <a:cubicBezTo>
                        <a:pt x="-742" y="25470"/>
                        <a:pt x="15562" y="1094"/>
                        <a:pt x="38551" y="257"/>
                      </a:cubicBezTo>
                      <a:cubicBezTo>
                        <a:pt x="38562" y="257"/>
                        <a:pt x="38574" y="257"/>
                        <a:pt x="38585" y="257"/>
                      </a:cubicBezTo>
                      <a:lnTo>
                        <a:pt x="44089" y="62"/>
                      </a:lnTo>
                      <a:cubicBezTo>
                        <a:pt x="54878" y="-672"/>
                        <a:pt x="65862" y="5187"/>
                        <a:pt x="74163" y="15231"/>
                      </a:cubicBezTo>
                      <a:cubicBezTo>
                        <a:pt x="81352" y="23910"/>
                        <a:pt x="85869" y="35204"/>
                        <a:pt x="86236" y="45431"/>
                      </a:cubicBezTo>
                      <a:lnTo>
                        <a:pt x="89366" y="140230"/>
                      </a:lnTo>
                      <a:cubicBezTo>
                        <a:pt x="90169" y="162335"/>
                        <a:pt x="72822" y="181002"/>
                        <a:pt x="50681" y="181816"/>
                      </a:cubicBezTo>
                      <a:lnTo>
                        <a:pt x="45143" y="182010"/>
                      </a:lnTo>
                      <a:cubicBezTo>
                        <a:pt x="44662" y="182033"/>
                        <a:pt x="44157" y="182045"/>
                        <a:pt x="43664" y="182045"/>
                      </a:cubicBezTo>
                      <a:close/>
                      <a:moveTo>
                        <a:pt x="39410" y="23165"/>
                      </a:moveTo>
                      <a:cubicBezTo>
                        <a:pt x="31178" y="23463"/>
                        <a:pt x="22556" y="35353"/>
                        <a:pt x="22934" y="45867"/>
                      </a:cubicBezTo>
                      <a:lnTo>
                        <a:pt x="26466" y="142477"/>
                      </a:lnTo>
                      <a:cubicBezTo>
                        <a:pt x="26638" y="147040"/>
                        <a:pt x="28610" y="151317"/>
                        <a:pt x="31992" y="154458"/>
                      </a:cubicBezTo>
                      <a:cubicBezTo>
                        <a:pt x="35386" y="157611"/>
                        <a:pt x="39858" y="159125"/>
                        <a:pt x="44329" y="159091"/>
                      </a:cubicBezTo>
                      <a:lnTo>
                        <a:pt x="49867" y="158896"/>
                      </a:lnTo>
                      <a:cubicBezTo>
                        <a:pt x="59338" y="158540"/>
                        <a:pt x="66802" y="150526"/>
                        <a:pt x="66458" y="141009"/>
                      </a:cubicBezTo>
                      <a:lnTo>
                        <a:pt x="63328" y="46211"/>
                      </a:lnTo>
                      <a:cubicBezTo>
                        <a:pt x="63133" y="40983"/>
                        <a:pt x="60519" y="34688"/>
                        <a:pt x="56494" y="29838"/>
                      </a:cubicBezTo>
                      <a:cubicBezTo>
                        <a:pt x="52906" y="25504"/>
                        <a:pt x="48698" y="22947"/>
                        <a:pt x="45166" y="22947"/>
                      </a:cubicBezTo>
                      <a:cubicBezTo>
                        <a:pt x="45086" y="22947"/>
                        <a:pt x="44994" y="22947"/>
                        <a:pt x="44914" y="22947"/>
                      </a:cubicBezTo>
                      <a:lnTo>
                        <a:pt x="39410" y="23165"/>
                      </a:lnTo>
                      <a:close/>
                    </a:path>
                  </a:pathLst>
                </a:custGeom>
                <a:grpFill/>
                <a:ln w="1145" cap="flat">
                  <a:noFill/>
                  <a:prstDash val="solid"/>
                  <a:miter/>
                </a:ln>
              </p:spPr>
              <p:txBody>
                <a:bodyPr rtlCol="0" anchor="ctr"/>
                <a:lstStyle/>
                <a:p>
                  <a:endParaRPr lang="en-GB" dirty="0"/>
                </a:p>
              </p:txBody>
            </p:sp>
            <p:sp>
              <p:nvSpPr>
                <p:cNvPr id="321" name="Freeform: Shape 320">
                  <a:extLst>
                    <a:ext uri="{FF2B5EF4-FFF2-40B4-BE49-F238E27FC236}">
                      <a16:creationId xmlns:a16="http://schemas.microsoft.com/office/drawing/2014/main" id="{DBB6E959-D378-4781-A3CE-2E97E36FA240}"/>
                    </a:ext>
                  </a:extLst>
                </p:cNvPr>
                <p:cNvSpPr/>
                <p:nvPr/>
              </p:nvSpPr>
              <p:spPr>
                <a:xfrm>
                  <a:off x="6471152" y="3474841"/>
                  <a:ext cx="95786" cy="166621"/>
                </a:xfrm>
                <a:custGeom>
                  <a:avLst/>
                  <a:gdLst>
                    <a:gd name="connsiteX0" fmla="*/ 42559 w 95786"/>
                    <a:gd name="connsiteY0" fmla="*/ 166621 h 166621"/>
                    <a:gd name="connsiteX1" fmla="*/ 35439 w 95786"/>
                    <a:gd name="connsiteY1" fmla="*/ 165945 h 166621"/>
                    <a:gd name="connsiteX2" fmla="*/ 30531 w 95786"/>
                    <a:gd name="connsiteY2" fmla="*/ 165005 h 166621"/>
                    <a:gd name="connsiteX3" fmla="*/ 675 w 95786"/>
                    <a:gd name="connsiteY3" fmla="*/ 120999 h 166621"/>
                    <a:gd name="connsiteX4" fmla="*/ 16383 w 95786"/>
                    <a:gd name="connsiteY4" fmla="*/ 36647 h 166621"/>
                    <a:gd name="connsiteX5" fmla="*/ 31873 w 95786"/>
                    <a:gd name="connsiteY5" fmla="*/ 10390 h 166621"/>
                    <a:gd name="connsiteX6" fmla="*/ 62062 w 95786"/>
                    <a:gd name="connsiteY6" fmla="*/ 495 h 166621"/>
                    <a:gd name="connsiteX7" fmla="*/ 66969 w 95786"/>
                    <a:gd name="connsiteY7" fmla="*/ 1435 h 166621"/>
                    <a:gd name="connsiteX8" fmla="*/ 90932 w 95786"/>
                    <a:gd name="connsiteY8" fmla="*/ 21409 h 166621"/>
                    <a:gd name="connsiteX9" fmla="*/ 95026 w 95786"/>
                    <a:gd name="connsiteY9" fmla="*/ 50772 h 166621"/>
                    <a:gd name="connsiteX10" fmla="*/ 79455 w 95786"/>
                    <a:gd name="connsiteY10" fmla="*/ 136019 h 166621"/>
                    <a:gd name="connsiteX11" fmla="*/ 63599 w 95786"/>
                    <a:gd name="connsiteY11" fmla="*/ 160132 h 166621"/>
                    <a:gd name="connsiteX12" fmla="*/ 42559 w 95786"/>
                    <a:gd name="connsiteY12" fmla="*/ 166621 h 166621"/>
                    <a:gd name="connsiteX13" fmla="*/ 56581 w 95786"/>
                    <a:gd name="connsiteY13" fmla="*/ 22910 h 166621"/>
                    <a:gd name="connsiteX14" fmla="*/ 38924 w 95786"/>
                    <a:gd name="connsiteY14" fmla="*/ 40900 h 166621"/>
                    <a:gd name="connsiteX15" fmla="*/ 23216 w 95786"/>
                    <a:gd name="connsiteY15" fmla="*/ 125253 h 166621"/>
                    <a:gd name="connsiteX16" fmla="*/ 25487 w 95786"/>
                    <a:gd name="connsiteY16" fmla="*/ 136295 h 166621"/>
                    <a:gd name="connsiteX17" fmla="*/ 34831 w 95786"/>
                    <a:gd name="connsiteY17" fmla="*/ 142475 h 166621"/>
                    <a:gd name="connsiteX18" fmla="*/ 39738 w 95786"/>
                    <a:gd name="connsiteY18" fmla="*/ 143415 h 166621"/>
                    <a:gd name="connsiteX19" fmla="*/ 50723 w 95786"/>
                    <a:gd name="connsiteY19" fmla="*/ 141133 h 166621"/>
                    <a:gd name="connsiteX20" fmla="*/ 56902 w 95786"/>
                    <a:gd name="connsiteY20" fmla="*/ 131789 h 166621"/>
                    <a:gd name="connsiteX21" fmla="*/ 72473 w 95786"/>
                    <a:gd name="connsiteY21" fmla="*/ 46541 h 166621"/>
                    <a:gd name="connsiteX22" fmla="*/ 70260 w 95786"/>
                    <a:gd name="connsiteY22" fmla="*/ 31349 h 166621"/>
                    <a:gd name="connsiteX23" fmla="*/ 62647 w 95786"/>
                    <a:gd name="connsiteY23" fmla="*/ 23954 h 166621"/>
                    <a:gd name="connsiteX24" fmla="*/ 57739 w 95786"/>
                    <a:gd name="connsiteY24" fmla="*/ 23014 h 166621"/>
                    <a:gd name="connsiteX25" fmla="*/ 57728 w 95786"/>
                    <a:gd name="connsiteY25" fmla="*/ 23014 h 166621"/>
                    <a:gd name="connsiteX26" fmla="*/ 56581 w 95786"/>
                    <a:gd name="connsiteY26" fmla="*/ 22910 h 16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95786" h="166621">
                      <a:moveTo>
                        <a:pt x="42559" y="166621"/>
                      </a:moveTo>
                      <a:cubicBezTo>
                        <a:pt x="40197" y="166621"/>
                        <a:pt x="37812" y="166392"/>
                        <a:pt x="35439" y="165945"/>
                      </a:cubicBezTo>
                      <a:lnTo>
                        <a:pt x="30531" y="165005"/>
                      </a:lnTo>
                      <a:cubicBezTo>
                        <a:pt x="10168" y="161095"/>
                        <a:pt x="-3223" y="141351"/>
                        <a:pt x="675" y="120999"/>
                      </a:cubicBezTo>
                      <a:lnTo>
                        <a:pt x="16383" y="36647"/>
                      </a:lnTo>
                      <a:cubicBezTo>
                        <a:pt x="18194" y="27233"/>
                        <a:pt x="23973" y="17430"/>
                        <a:pt x="31873" y="10390"/>
                      </a:cubicBezTo>
                      <a:cubicBezTo>
                        <a:pt x="41045" y="2181"/>
                        <a:pt x="52064" y="-1397"/>
                        <a:pt x="62062" y="495"/>
                      </a:cubicBezTo>
                      <a:lnTo>
                        <a:pt x="66969" y="1435"/>
                      </a:lnTo>
                      <a:cubicBezTo>
                        <a:pt x="77174" y="3396"/>
                        <a:pt x="85681" y="10482"/>
                        <a:pt x="90932" y="21409"/>
                      </a:cubicBezTo>
                      <a:cubicBezTo>
                        <a:pt x="95358" y="30593"/>
                        <a:pt x="96849" y="41278"/>
                        <a:pt x="95026" y="50772"/>
                      </a:cubicBezTo>
                      <a:lnTo>
                        <a:pt x="79455" y="136019"/>
                      </a:lnTo>
                      <a:cubicBezTo>
                        <a:pt x="77552" y="145949"/>
                        <a:pt x="71934" y="154479"/>
                        <a:pt x="63599" y="160132"/>
                      </a:cubicBezTo>
                      <a:cubicBezTo>
                        <a:pt x="57281" y="164397"/>
                        <a:pt x="49989" y="166621"/>
                        <a:pt x="42559" y="166621"/>
                      </a:cubicBezTo>
                      <a:close/>
                      <a:moveTo>
                        <a:pt x="56581" y="22910"/>
                      </a:moveTo>
                      <a:cubicBezTo>
                        <a:pt x="50046" y="22910"/>
                        <a:pt x="40575" y="32313"/>
                        <a:pt x="38924" y="40900"/>
                      </a:cubicBezTo>
                      <a:lnTo>
                        <a:pt x="23216" y="125253"/>
                      </a:lnTo>
                      <a:cubicBezTo>
                        <a:pt x="22471" y="129140"/>
                        <a:pt x="23285" y="133038"/>
                        <a:pt x="25487" y="136295"/>
                      </a:cubicBezTo>
                      <a:cubicBezTo>
                        <a:pt x="27688" y="139551"/>
                        <a:pt x="31013" y="141752"/>
                        <a:pt x="34831" y="142475"/>
                      </a:cubicBezTo>
                      <a:lnTo>
                        <a:pt x="39738" y="143415"/>
                      </a:lnTo>
                      <a:cubicBezTo>
                        <a:pt x="43557" y="144149"/>
                        <a:pt x="47466" y="143346"/>
                        <a:pt x="50723" y="141133"/>
                      </a:cubicBezTo>
                      <a:cubicBezTo>
                        <a:pt x="53979" y="138932"/>
                        <a:pt x="56180" y="135607"/>
                        <a:pt x="56902" y="131789"/>
                      </a:cubicBezTo>
                      <a:lnTo>
                        <a:pt x="72473" y="46541"/>
                      </a:lnTo>
                      <a:cubicBezTo>
                        <a:pt x="73367" y="41829"/>
                        <a:pt x="72519" y="36050"/>
                        <a:pt x="70260" y="31349"/>
                      </a:cubicBezTo>
                      <a:cubicBezTo>
                        <a:pt x="69308" y="29377"/>
                        <a:pt x="66671" y="24734"/>
                        <a:pt x="62647" y="23954"/>
                      </a:cubicBezTo>
                      <a:lnTo>
                        <a:pt x="57739" y="23014"/>
                      </a:lnTo>
                      <a:cubicBezTo>
                        <a:pt x="57728" y="23014"/>
                        <a:pt x="57728" y="23014"/>
                        <a:pt x="57728" y="23014"/>
                      </a:cubicBezTo>
                      <a:cubicBezTo>
                        <a:pt x="57372" y="22933"/>
                        <a:pt x="56971" y="22910"/>
                        <a:pt x="56581" y="22910"/>
                      </a:cubicBezTo>
                      <a:close/>
                    </a:path>
                  </a:pathLst>
                </a:custGeom>
                <a:grpFill/>
                <a:ln w="1145" cap="flat">
                  <a:noFill/>
                  <a:prstDash val="solid"/>
                  <a:miter/>
                </a:ln>
              </p:spPr>
              <p:txBody>
                <a:bodyPr rtlCol="0" anchor="ctr"/>
                <a:lstStyle/>
                <a:p>
                  <a:endParaRPr lang="en-GB" dirty="0"/>
                </a:p>
              </p:txBody>
            </p:sp>
            <p:sp>
              <p:nvSpPr>
                <p:cNvPr id="322" name="Freeform: Shape 321">
                  <a:extLst>
                    <a:ext uri="{FF2B5EF4-FFF2-40B4-BE49-F238E27FC236}">
                      <a16:creationId xmlns:a16="http://schemas.microsoft.com/office/drawing/2014/main" id="{7A5052F5-1110-402F-AB01-F8DBCE9271EB}"/>
                    </a:ext>
                  </a:extLst>
                </p:cNvPr>
                <p:cNvSpPr/>
                <p:nvPr/>
              </p:nvSpPr>
              <p:spPr>
                <a:xfrm>
                  <a:off x="6528175" y="3496768"/>
                  <a:ext cx="111786" cy="162672"/>
                </a:xfrm>
                <a:custGeom>
                  <a:avLst/>
                  <a:gdLst>
                    <a:gd name="connsiteX0" fmla="*/ 42222 w 111786"/>
                    <a:gd name="connsiteY0" fmla="*/ 162673 h 162672"/>
                    <a:gd name="connsiteX1" fmla="*/ 28899 w 111786"/>
                    <a:gd name="connsiteY1" fmla="*/ 160208 h 162672"/>
                    <a:gd name="connsiteX2" fmla="*/ 24221 w 111786"/>
                    <a:gd name="connsiteY2" fmla="*/ 158430 h 162672"/>
                    <a:gd name="connsiteX3" fmla="*/ 2459 w 111786"/>
                    <a:gd name="connsiteY3" fmla="*/ 109942 h 162672"/>
                    <a:gd name="connsiteX4" fmla="*/ 33302 w 111786"/>
                    <a:gd name="connsiteY4" fmla="*/ 29384 h 162672"/>
                    <a:gd name="connsiteX5" fmla="*/ 83785 w 111786"/>
                    <a:gd name="connsiteY5" fmla="*/ 1890 h 162672"/>
                    <a:gd name="connsiteX6" fmla="*/ 88463 w 111786"/>
                    <a:gd name="connsiteY6" fmla="*/ 3667 h 162672"/>
                    <a:gd name="connsiteX7" fmla="*/ 109181 w 111786"/>
                    <a:gd name="connsiteY7" fmla="*/ 54517 h 162672"/>
                    <a:gd name="connsiteX8" fmla="*/ 77410 w 111786"/>
                    <a:gd name="connsiteY8" fmla="*/ 138446 h 162672"/>
                    <a:gd name="connsiteX9" fmla="*/ 42222 w 111786"/>
                    <a:gd name="connsiteY9" fmla="*/ 162673 h 162672"/>
                    <a:gd name="connsiteX10" fmla="*/ 73110 w 111786"/>
                    <a:gd name="connsiteY10" fmla="*/ 22883 h 162672"/>
                    <a:gd name="connsiteX11" fmla="*/ 54720 w 111786"/>
                    <a:gd name="connsiteY11" fmla="*/ 37548 h 162672"/>
                    <a:gd name="connsiteX12" fmla="*/ 23877 w 111786"/>
                    <a:gd name="connsiteY12" fmla="*/ 118106 h 162672"/>
                    <a:gd name="connsiteX13" fmla="*/ 32373 w 111786"/>
                    <a:gd name="connsiteY13" fmla="*/ 136990 h 162672"/>
                    <a:gd name="connsiteX14" fmla="*/ 37051 w 111786"/>
                    <a:gd name="connsiteY14" fmla="*/ 138767 h 162672"/>
                    <a:gd name="connsiteX15" fmla="*/ 55969 w 111786"/>
                    <a:gd name="connsiteY15" fmla="*/ 130282 h 162672"/>
                    <a:gd name="connsiteX16" fmla="*/ 87741 w 111786"/>
                    <a:gd name="connsiteY16" fmla="*/ 46365 h 162672"/>
                    <a:gd name="connsiteX17" fmla="*/ 80322 w 111786"/>
                    <a:gd name="connsiteY17" fmla="*/ 25085 h 162672"/>
                    <a:gd name="connsiteX18" fmla="*/ 75656 w 111786"/>
                    <a:gd name="connsiteY18" fmla="*/ 23308 h 162672"/>
                    <a:gd name="connsiteX19" fmla="*/ 75644 w 111786"/>
                    <a:gd name="connsiteY19" fmla="*/ 23308 h 162672"/>
                    <a:gd name="connsiteX20" fmla="*/ 73110 w 111786"/>
                    <a:gd name="connsiteY20" fmla="*/ 22883 h 16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1786" h="162672">
                      <a:moveTo>
                        <a:pt x="42222" y="162673"/>
                      </a:moveTo>
                      <a:cubicBezTo>
                        <a:pt x="37785" y="162673"/>
                        <a:pt x="33279" y="161882"/>
                        <a:pt x="28899" y="160208"/>
                      </a:cubicBezTo>
                      <a:lnTo>
                        <a:pt x="24221" y="158430"/>
                      </a:lnTo>
                      <a:cubicBezTo>
                        <a:pt x="4855" y="151058"/>
                        <a:pt x="-4913" y="129308"/>
                        <a:pt x="2459" y="109942"/>
                      </a:cubicBezTo>
                      <a:lnTo>
                        <a:pt x="33302" y="29384"/>
                      </a:lnTo>
                      <a:cubicBezTo>
                        <a:pt x="40468" y="10535"/>
                        <a:pt x="64064" y="-5643"/>
                        <a:pt x="83785" y="1890"/>
                      </a:cubicBezTo>
                      <a:lnTo>
                        <a:pt x="88463" y="3667"/>
                      </a:lnTo>
                      <a:cubicBezTo>
                        <a:pt x="107106" y="10764"/>
                        <a:pt x="116783" y="34521"/>
                        <a:pt x="109181" y="54517"/>
                      </a:cubicBezTo>
                      <a:lnTo>
                        <a:pt x="77410" y="138446"/>
                      </a:lnTo>
                      <a:cubicBezTo>
                        <a:pt x="71689" y="153432"/>
                        <a:pt x="57380" y="162673"/>
                        <a:pt x="42222" y="162673"/>
                      </a:cubicBezTo>
                      <a:close/>
                      <a:moveTo>
                        <a:pt x="73110" y="22883"/>
                      </a:moveTo>
                      <a:cubicBezTo>
                        <a:pt x="66736" y="22883"/>
                        <a:pt x="57666" y="29774"/>
                        <a:pt x="54720" y="37548"/>
                      </a:cubicBezTo>
                      <a:lnTo>
                        <a:pt x="23877" y="118106"/>
                      </a:lnTo>
                      <a:cubicBezTo>
                        <a:pt x="21022" y="125639"/>
                        <a:pt x="24817" y="134112"/>
                        <a:pt x="32373" y="136990"/>
                      </a:cubicBezTo>
                      <a:lnTo>
                        <a:pt x="37051" y="138767"/>
                      </a:lnTo>
                      <a:cubicBezTo>
                        <a:pt x="44595" y="141622"/>
                        <a:pt x="53091" y="137838"/>
                        <a:pt x="55969" y="130282"/>
                      </a:cubicBezTo>
                      <a:lnTo>
                        <a:pt x="87741" y="46365"/>
                      </a:lnTo>
                      <a:cubicBezTo>
                        <a:pt x="90848" y="38213"/>
                        <a:pt x="87156" y="27687"/>
                        <a:pt x="80322" y="25085"/>
                      </a:cubicBezTo>
                      <a:lnTo>
                        <a:pt x="75656" y="23308"/>
                      </a:lnTo>
                      <a:cubicBezTo>
                        <a:pt x="75644" y="23308"/>
                        <a:pt x="75644" y="23308"/>
                        <a:pt x="75644" y="23308"/>
                      </a:cubicBezTo>
                      <a:cubicBezTo>
                        <a:pt x="74865" y="23010"/>
                        <a:pt x="74016" y="22883"/>
                        <a:pt x="73110" y="22883"/>
                      </a:cubicBezTo>
                      <a:close/>
                    </a:path>
                  </a:pathLst>
                </a:custGeom>
                <a:grpFill/>
                <a:ln w="1145" cap="flat">
                  <a:noFill/>
                  <a:prstDash val="solid"/>
                  <a:miter/>
                </a:ln>
              </p:spPr>
              <p:txBody>
                <a:bodyPr rtlCol="0" anchor="ctr"/>
                <a:lstStyle/>
                <a:p>
                  <a:endParaRPr lang="en-GB" dirty="0"/>
                </a:p>
              </p:txBody>
            </p:sp>
            <p:sp>
              <p:nvSpPr>
                <p:cNvPr id="323" name="Freeform: Shape 322">
                  <a:extLst>
                    <a:ext uri="{FF2B5EF4-FFF2-40B4-BE49-F238E27FC236}">
                      <a16:creationId xmlns:a16="http://schemas.microsoft.com/office/drawing/2014/main" id="{755D0B45-3D41-4F8F-BC59-B80551073775}"/>
                    </a:ext>
                  </a:extLst>
                </p:cNvPr>
                <p:cNvSpPr/>
                <p:nvPr/>
              </p:nvSpPr>
              <p:spPr>
                <a:xfrm>
                  <a:off x="6314181" y="3344952"/>
                  <a:ext cx="265454" cy="204589"/>
                </a:xfrm>
                <a:custGeom>
                  <a:avLst/>
                  <a:gdLst>
                    <a:gd name="connsiteX0" fmla="*/ 47575 w 265454"/>
                    <a:gd name="connsiteY0" fmla="*/ 204590 h 204589"/>
                    <a:gd name="connsiteX1" fmla="*/ 18498 w 265454"/>
                    <a:gd name="connsiteY1" fmla="*/ 190452 h 204589"/>
                    <a:gd name="connsiteX2" fmla="*/ 7801 w 265454"/>
                    <a:gd name="connsiteY2" fmla="*/ 115731 h 204589"/>
                    <a:gd name="connsiteX3" fmla="*/ 9016 w 265454"/>
                    <a:gd name="connsiteY3" fmla="*/ 113529 h 204589"/>
                    <a:gd name="connsiteX4" fmla="*/ 32154 w 265454"/>
                    <a:gd name="connsiteY4" fmla="*/ 84406 h 204589"/>
                    <a:gd name="connsiteX5" fmla="*/ 61941 w 265454"/>
                    <a:gd name="connsiteY5" fmla="*/ 50617 h 204589"/>
                    <a:gd name="connsiteX6" fmla="*/ 261318 w 265454"/>
                    <a:gd name="connsiteY6" fmla="*/ 35379 h 204589"/>
                    <a:gd name="connsiteX7" fmla="*/ 262820 w 265454"/>
                    <a:gd name="connsiteY7" fmla="*/ 51500 h 204589"/>
                    <a:gd name="connsiteX8" fmla="*/ 246688 w 265454"/>
                    <a:gd name="connsiteY8" fmla="*/ 53037 h 204589"/>
                    <a:gd name="connsiteX9" fmla="*/ 79232 w 265454"/>
                    <a:gd name="connsiteY9" fmla="*/ 65694 h 204589"/>
                    <a:gd name="connsiteX10" fmla="*/ 49260 w 265454"/>
                    <a:gd name="connsiteY10" fmla="*/ 99713 h 204589"/>
                    <a:gd name="connsiteX11" fmla="*/ 29138 w 265454"/>
                    <a:gd name="connsiteY11" fmla="*/ 124571 h 204589"/>
                    <a:gd name="connsiteX12" fmla="*/ 27774 w 265454"/>
                    <a:gd name="connsiteY12" fmla="*/ 127036 h 204589"/>
                    <a:gd name="connsiteX13" fmla="*/ 34940 w 265454"/>
                    <a:gd name="connsiteY13" fmla="*/ 174469 h 204589"/>
                    <a:gd name="connsiteX14" fmla="*/ 49593 w 265454"/>
                    <a:gd name="connsiteY14" fmla="*/ 181211 h 204589"/>
                    <a:gd name="connsiteX15" fmla="*/ 63306 w 265454"/>
                    <a:gd name="connsiteY15" fmla="*/ 169046 h 204589"/>
                    <a:gd name="connsiteX16" fmla="*/ 55670 w 265454"/>
                    <a:gd name="connsiteY16" fmla="*/ 127896 h 204589"/>
                    <a:gd name="connsiteX17" fmla="*/ 56495 w 265454"/>
                    <a:gd name="connsiteY17" fmla="*/ 111706 h 204589"/>
                    <a:gd name="connsiteX18" fmla="*/ 72685 w 265454"/>
                    <a:gd name="connsiteY18" fmla="*/ 112532 h 204589"/>
                    <a:gd name="connsiteX19" fmla="*/ 81146 w 265454"/>
                    <a:gd name="connsiteY19" fmla="*/ 183424 h 204589"/>
                    <a:gd name="connsiteX20" fmla="*/ 60359 w 265454"/>
                    <a:gd name="connsiteY20" fmla="*/ 201437 h 204589"/>
                    <a:gd name="connsiteX21" fmla="*/ 47575 w 265454"/>
                    <a:gd name="connsiteY21" fmla="*/ 204590 h 20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5454" h="204589">
                      <a:moveTo>
                        <a:pt x="47575" y="204590"/>
                      </a:moveTo>
                      <a:cubicBezTo>
                        <a:pt x="37875" y="204590"/>
                        <a:pt x="27510" y="199694"/>
                        <a:pt x="18498" y="190452"/>
                      </a:cubicBezTo>
                      <a:cubicBezTo>
                        <a:pt x="2354" y="173896"/>
                        <a:pt x="-7884" y="143432"/>
                        <a:pt x="7801" y="115731"/>
                      </a:cubicBezTo>
                      <a:lnTo>
                        <a:pt x="9016" y="113529"/>
                      </a:lnTo>
                      <a:cubicBezTo>
                        <a:pt x="12673" y="106868"/>
                        <a:pt x="14370" y="104300"/>
                        <a:pt x="32154" y="84406"/>
                      </a:cubicBezTo>
                      <a:cubicBezTo>
                        <a:pt x="39411" y="76300"/>
                        <a:pt x="48985" y="65454"/>
                        <a:pt x="61941" y="50617"/>
                      </a:cubicBezTo>
                      <a:cubicBezTo>
                        <a:pt x="152371" y="-53055"/>
                        <a:pt x="260240" y="34496"/>
                        <a:pt x="261318" y="35379"/>
                      </a:cubicBezTo>
                      <a:cubicBezTo>
                        <a:pt x="266191" y="39427"/>
                        <a:pt x="266844" y="46627"/>
                        <a:pt x="262820" y="51500"/>
                      </a:cubicBezTo>
                      <a:cubicBezTo>
                        <a:pt x="258773" y="56396"/>
                        <a:pt x="251561" y="57027"/>
                        <a:pt x="246688" y="53037"/>
                      </a:cubicBezTo>
                      <a:cubicBezTo>
                        <a:pt x="242984" y="49964"/>
                        <a:pt x="154802" y="-20963"/>
                        <a:pt x="79232" y="65694"/>
                      </a:cubicBezTo>
                      <a:cubicBezTo>
                        <a:pt x="66195" y="80623"/>
                        <a:pt x="56553" y="91538"/>
                        <a:pt x="49260" y="99713"/>
                      </a:cubicBezTo>
                      <a:cubicBezTo>
                        <a:pt x="32498" y="118471"/>
                        <a:pt x="31649" y="120007"/>
                        <a:pt x="29138" y="124571"/>
                      </a:cubicBezTo>
                      <a:lnTo>
                        <a:pt x="27774" y="127036"/>
                      </a:lnTo>
                      <a:cubicBezTo>
                        <a:pt x="17925" y="144464"/>
                        <a:pt x="24586" y="163829"/>
                        <a:pt x="34940" y="174469"/>
                      </a:cubicBezTo>
                      <a:cubicBezTo>
                        <a:pt x="40982" y="180672"/>
                        <a:pt x="46979" y="182610"/>
                        <a:pt x="49593" y="181211"/>
                      </a:cubicBezTo>
                      <a:cubicBezTo>
                        <a:pt x="54191" y="178758"/>
                        <a:pt x="60818" y="171958"/>
                        <a:pt x="63306" y="169046"/>
                      </a:cubicBezTo>
                      <a:cubicBezTo>
                        <a:pt x="76595" y="151458"/>
                        <a:pt x="55888" y="128137"/>
                        <a:pt x="55670" y="127896"/>
                      </a:cubicBezTo>
                      <a:cubicBezTo>
                        <a:pt x="51427" y="123206"/>
                        <a:pt x="51794" y="115949"/>
                        <a:pt x="56495" y="111706"/>
                      </a:cubicBezTo>
                      <a:cubicBezTo>
                        <a:pt x="61185" y="107476"/>
                        <a:pt x="68442" y="107819"/>
                        <a:pt x="72685" y="112532"/>
                      </a:cubicBezTo>
                      <a:cubicBezTo>
                        <a:pt x="84380" y="125477"/>
                        <a:pt x="101188" y="156950"/>
                        <a:pt x="81146" y="183424"/>
                      </a:cubicBezTo>
                      <a:cubicBezTo>
                        <a:pt x="79656" y="185201"/>
                        <a:pt x="70013" y="196300"/>
                        <a:pt x="60359" y="201437"/>
                      </a:cubicBezTo>
                      <a:cubicBezTo>
                        <a:pt x="56369" y="203546"/>
                        <a:pt x="52035" y="204590"/>
                        <a:pt x="47575" y="204590"/>
                      </a:cubicBezTo>
                      <a:close/>
                    </a:path>
                  </a:pathLst>
                </a:custGeom>
                <a:grpFill/>
                <a:ln w="1145" cap="flat">
                  <a:noFill/>
                  <a:prstDash val="solid"/>
                  <a:miter/>
                </a:ln>
              </p:spPr>
              <p:txBody>
                <a:bodyPr rtlCol="0" anchor="ctr"/>
                <a:lstStyle/>
                <a:p>
                  <a:endParaRPr lang="en-GB" dirty="0"/>
                </a:p>
              </p:txBody>
            </p:sp>
          </p:grpSp>
        </p:grpSp>
        <p:grpSp>
          <p:nvGrpSpPr>
            <p:cNvPr id="275" name="Graphic 48">
              <a:extLst>
                <a:ext uri="{FF2B5EF4-FFF2-40B4-BE49-F238E27FC236}">
                  <a16:creationId xmlns:a16="http://schemas.microsoft.com/office/drawing/2014/main" id="{0CFB3398-CFD2-4E40-B227-A07BC5D26A3F}"/>
                </a:ext>
              </a:extLst>
            </p:cNvPr>
            <p:cNvGrpSpPr/>
            <p:nvPr/>
          </p:nvGrpSpPr>
          <p:grpSpPr>
            <a:xfrm>
              <a:off x="1695111" y="3215902"/>
              <a:ext cx="274813" cy="274780"/>
              <a:chOff x="6482661" y="2870384"/>
              <a:chExt cx="487349" cy="487291"/>
            </a:xfrm>
            <a:solidFill>
              <a:schemeClr val="accent1"/>
            </a:solidFill>
          </p:grpSpPr>
          <p:grpSp>
            <p:nvGrpSpPr>
              <p:cNvPr id="276" name="Graphic 48">
                <a:extLst>
                  <a:ext uri="{FF2B5EF4-FFF2-40B4-BE49-F238E27FC236}">
                    <a16:creationId xmlns:a16="http://schemas.microsoft.com/office/drawing/2014/main" id="{38EF7121-AF8B-48E9-B294-C6249E87B57C}"/>
                  </a:ext>
                </a:extLst>
              </p:cNvPr>
              <p:cNvGrpSpPr/>
              <p:nvPr/>
            </p:nvGrpSpPr>
            <p:grpSpPr>
              <a:xfrm>
                <a:off x="6482661" y="2870384"/>
                <a:ext cx="487349" cy="487291"/>
                <a:chOff x="6482661" y="2870384"/>
                <a:chExt cx="487349" cy="487291"/>
              </a:xfrm>
              <a:solidFill>
                <a:schemeClr val="accent1"/>
              </a:solidFill>
            </p:grpSpPr>
            <p:sp>
              <p:nvSpPr>
                <p:cNvPr id="280" name="Freeform: Shape 279">
                  <a:extLst>
                    <a:ext uri="{FF2B5EF4-FFF2-40B4-BE49-F238E27FC236}">
                      <a16:creationId xmlns:a16="http://schemas.microsoft.com/office/drawing/2014/main" id="{FB10A7B0-B373-4033-B01B-AF663F23FCDE}"/>
                    </a:ext>
                  </a:extLst>
                </p:cNvPr>
                <p:cNvSpPr/>
                <p:nvPr/>
              </p:nvSpPr>
              <p:spPr>
                <a:xfrm>
                  <a:off x="6577173" y="2964586"/>
                  <a:ext cx="298325" cy="298325"/>
                </a:xfrm>
                <a:custGeom>
                  <a:avLst/>
                  <a:gdLst>
                    <a:gd name="connsiteX0" fmla="*/ 149157 w 298325"/>
                    <a:gd name="connsiteY0" fmla="*/ 298325 h 298325"/>
                    <a:gd name="connsiteX1" fmla="*/ 0 w 298325"/>
                    <a:gd name="connsiteY1" fmla="*/ 149157 h 298325"/>
                    <a:gd name="connsiteX2" fmla="*/ 149157 w 298325"/>
                    <a:gd name="connsiteY2" fmla="*/ 0 h 298325"/>
                    <a:gd name="connsiteX3" fmla="*/ 298325 w 298325"/>
                    <a:gd name="connsiteY3" fmla="*/ 149157 h 298325"/>
                    <a:gd name="connsiteX4" fmla="*/ 149157 w 298325"/>
                    <a:gd name="connsiteY4" fmla="*/ 298325 h 298325"/>
                    <a:gd name="connsiteX5" fmla="*/ 149157 w 298325"/>
                    <a:gd name="connsiteY5" fmla="*/ 22943 h 298325"/>
                    <a:gd name="connsiteX6" fmla="*/ 22931 w 298325"/>
                    <a:gd name="connsiteY6" fmla="*/ 149168 h 298325"/>
                    <a:gd name="connsiteX7" fmla="*/ 149157 w 298325"/>
                    <a:gd name="connsiteY7" fmla="*/ 275405 h 298325"/>
                    <a:gd name="connsiteX8" fmla="*/ 275394 w 298325"/>
                    <a:gd name="connsiteY8" fmla="*/ 149168 h 298325"/>
                    <a:gd name="connsiteX9" fmla="*/ 149157 w 298325"/>
                    <a:gd name="connsiteY9" fmla="*/ 22943 h 298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8325" h="298325">
                      <a:moveTo>
                        <a:pt x="149157" y="298325"/>
                      </a:moveTo>
                      <a:cubicBezTo>
                        <a:pt x="66914" y="298325"/>
                        <a:pt x="0" y="231411"/>
                        <a:pt x="0" y="149157"/>
                      </a:cubicBezTo>
                      <a:cubicBezTo>
                        <a:pt x="0" y="66914"/>
                        <a:pt x="66914" y="0"/>
                        <a:pt x="149157" y="0"/>
                      </a:cubicBezTo>
                      <a:cubicBezTo>
                        <a:pt x="231412" y="0"/>
                        <a:pt x="298325" y="66914"/>
                        <a:pt x="298325" y="149157"/>
                      </a:cubicBezTo>
                      <a:cubicBezTo>
                        <a:pt x="298314" y="231411"/>
                        <a:pt x="231400" y="298325"/>
                        <a:pt x="149157" y="298325"/>
                      </a:cubicBezTo>
                      <a:close/>
                      <a:moveTo>
                        <a:pt x="149157" y="22943"/>
                      </a:moveTo>
                      <a:cubicBezTo>
                        <a:pt x="79560" y="22943"/>
                        <a:pt x="22931" y="79560"/>
                        <a:pt x="22931" y="149168"/>
                      </a:cubicBezTo>
                      <a:cubicBezTo>
                        <a:pt x="22931" y="218776"/>
                        <a:pt x="79549" y="275405"/>
                        <a:pt x="149157" y="275405"/>
                      </a:cubicBezTo>
                      <a:cubicBezTo>
                        <a:pt x="218765" y="275405"/>
                        <a:pt x="275394" y="218788"/>
                        <a:pt x="275394" y="149168"/>
                      </a:cubicBezTo>
                      <a:cubicBezTo>
                        <a:pt x="275382" y="79560"/>
                        <a:pt x="218765" y="22943"/>
                        <a:pt x="149157" y="22943"/>
                      </a:cubicBezTo>
                      <a:close/>
                    </a:path>
                  </a:pathLst>
                </a:custGeom>
                <a:solidFill>
                  <a:schemeClr val="accent1"/>
                </a:solidFill>
                <a:ln w="1145" cap="flat">
                  <a:noFill/>
                  <a:prstDash val="solid"/>
                  <a:miter/>
                </a:ln>
              </p:spPr>
              <p:txBody>
                <a:bodyPr rtlCol="0" anchor="ctr"/>
                <a:lstStyle/>
                <a:p>
                  <a:endParaRPr lang="en-GB" dirty="0"/>
                </a:p>
              </p:txBody>
            </p:sp>
            <p:grpSp>
              <p:nvGrpSpPr>
                <p:cNvPr id="281" name="Graphic 48">
                  <a:extLst>
                    <a:ext uri="{FF2B5EF4-FFF2-40B4-BE49-F238E27FC236}">
                      <a16:creationId xmlns:a16="http://schemas.microsoft.com/office/drawing/2014/main" id="{3CDC8BBE-580F-45C9-A73E-8F9D5DABE1AD}"/>
                    </a:ext>
                  </a:extLst>
                </p:cNvPr>
                <p:cNvGrpSpPr/>
                <p:nvPr/>
              </p:nvGrpSpPr>
              <p:grpSpPr>
                <a:xfrm>
                  <a:off x="6482661" y="3071194"/>
                  <a:ext cx="117133" cy="84490"/>
                  <a:chOff x="6482661" y="3071194"/>
                  <a:chExt cx="117133" cy="84490"/>
                </a:xfrm>
                <a:solidFill>
                  <a:schemeClr val="accent1"/>
                </a:solidFill>
              </p:grpSpPr>
              <p:sp>
                <p:nvSpPr>
                  <p:cNvPr id="313" name="Freeform: Shape 312">
                    <a:extLst>
                      <a:ext uri="{FF2B5EF4-FFF2-40B4-BE49-F238E27FC236}">
                        <a16:creationId xmlns:a16="http://schemas.microsoft.com/office/drawing/2014/main" id="{140AC500-6A5E-4C00-8ED5-6A4BEB21AAAF}"/>
                      </a:ext>
                    </a:extLst>
                  </p:cNvPr>
                  <p:cNvSpPr/>
                  <p:nvPr/>
                </p:nvSpPr>
                <p:spPr>
                  <a:xfrm>
                    <a:off x="6482661" y="3071194"/>
                    <a:ext cx="73666" cy="84490"/>
                  </a:xfrm>
                  <a:custGeom>
                    <a:avLst/>
                    <a:gdLst>
                      <a:gd name="connsiteX0" fmla="*/ 31542 w 73666"/>
                      <a:gd name="connsiteY0" fmla="*/ 84490 h 84490"/>
                      <a:gd name="connsiteX1" fmla="*/ 0 w 73666"/>
                      <a:gd name="connsiteY1" fmla="*/ 42377 h 84490"/>
                      <a:gd name="connsiteX2" fmla="*/ 30487 w 73666"/>
                      <a:gd name="connsiteY2" fmla="*/ 0 h 84490"/>
                      <a:gd name="connsiteX3" fmla="*/ 73667 w 73666"/>
                      <a:gd name="connsiteY3" fmla="*/ 42377 h 84490"/>
                      <a:gd name="connsiteX4" fmla="*/ 31542 w 73666"/>
                      <a:gd name="connsiteY4" fmla="*/ 84490 h 84490"/>
                      <a:gd name="connsiteX5" fmla="*/ 30487 w 73666"/>
                      <a:gd name="connsiteY5" fmla="*/ 22931 h 84490"/>
                      <a:gd name="connsiteX6" fmla="*/ 22931 w 73666"/>
                      <a:gd name="connsiteY6" fmla="*/ 42377 h 84490"/>
                      <a:gd name="connsiteX7" fmla="*/ 31542 w 73666"/>
                      <a:gd name="connsiteY7" fmla="*/ 61559 h 84490"/>
                      <a:gd name="connsiteX8" fmla="*/ 50736 w 73666"/>
                      <a:gd name="connsiteY8" fmla="*/ 42377 h 84490"/>
                      <a:gd name="connsiteX9" fmla="*/ 30487 w 73666"/>
                      <a:gd name="connsiteY9" fmla="*/ 22931 h 8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666" h="84490">
                        <a:moveTo>
                          <a:pt x="31542" y="84490"/>
                        </a:moveTo>
                        <a:cubicBezTo>
                          <a:pt x="12968" y="84490"/>
                          <a:pt x="0" y="67166"/>
                          <a:pt x="0" y="42377"/>
                        </a:cubicBezTo>
                        <a:cubicBezTo>
                          <a:pt x="0" y="16637"/>
                          <a:pt x="11970" y="0"/>
                          <a:pt x="30487" y="0"/>
                        </a:cubicBezTo>
                        <a:cubicBezTo>
                          <a:pt x="51470" y="0"/>
                          <a:pt x="73667" y="21785"/>
                          <a:pt x="73667" y="42377"/>
                        </a:cubicBezTo>
                        <a:cubicBezTo>
                          <a:pt x="73655" y="63245"/>
                          <a:pt x="52398" y="84490"/>
                          <a:pt x="31542" y="84490"/>
                        </a:cubicBezTo>
                        <a:close/>
                        <a:moveTo>
                          <a:pt x="30487" y="22931"/>
                        </a:moveTo>
                        <a:cubicBezTo>
                          <a:pt x="24984" y="22931"/>
                          <a:pt x="22931" y="34856"/>
                          <a:pt x="22931" y="42377"/>
                        </a:cubicBezTo>
                        <a:cubicBezTo>
                          <a:pt x="22931" y="50334"/>
                          <a:pt x="25603" y="61559"/>
                          <a:pt x="31542" y="61559"/>
                        </a:cubicBezTo>
                        <a:cubicBezTo>
                          <a:pt x="38949" y="61559"/>
                          <a:pt x="50736" y="51091"/>
                          <a:pt x="50736" y="42377"/>
                        </a:cubicBezTo>
                        <a:cubicBezTo>
                          <a:pt x="50724" y="33801"/>
                          <a:pt x="38181" y="22931"/>
                          <a:pt x="30487" y="22931"/>
                        </a:cubicBezTo>
                        <a:close/>
                      </a:path>
                    </a:pathLst>
                  </a:custGeom>
                  <a:solidFill>
                    <a:schemeClr val="accent1"/>
                  </a:solidFill>
                  <a:ln w="1145" cap="flat">
                    <a:noFill/>
                    <a:prstDash val="solid"/>
                    <a:miter/>
                  </a:ln>
                </p:spPr>
                <p:txBody>
                  <a:bodyPr rtlCol="0" anchor="ctr"/>
                  <a:lstStyle/>
                  <a:p>
                    <a:endParaRPr lang="en-GB" dirty="0"/>
                  </a:p>
                </p:txBody>
              </p:sp>
              <p:sp>
                <p:nvSpPr>
                  <p:cNvPr id="314" name="Freeform: Shape 313">
                    <a:extLst>
                      <a:ext uri="{FF2B5EF4-FFF2-40B4-BE49-F238E27FC236}">
                        <a16:creationId xmlns:a16="http://schemas.microsoft.com/office/drawing/2014/main" id="{98204A4E-E95A-4F15-BF50-D6899F35CC56}"/>
                      </a:ext>
                    </a:extLst>
                  </p:cNvPr>
                  <p:cNvSpPr/>
                  <p:nvPr/>
                </p:nvSpPr>
                <p:spPr>
                  <a:xfrm>
                    <a:off x="6533385" y="3102140"/>
                    <a:ext cx="66409" cy="22931"/>
                  </a:xfrm>
                  <a:custGeom>
                    <a:avLst/>
                    <a:gdLst>
                      <a:gd name="connsiteX0" fmla="*/ 54944 w 66409"/>
                      <a:gd name="connsiteY0" fmla="*/ 22931 h 22931"/>
                      <a:gd name="connsiteX1" fmla="*/ 11466 w 66409"/>
                      <a:gd name="connsiteY1" fmla="*/ 22931 h 22931"/>
                      <a:gd name="connsiteX2" fmla="*/ 0 w 66409"/>
                      <a:gd name="connsiteY2" fmla="*/ 11466 h 22931"/>
                      <a:gd name="connsiteX3" fmla="*/ 11466 w 66409"/>
                      <a:gd name="connsiteY3" fmla="*/ 0 h 22931"/>
                      <a:gd name="connsiteX4" fmla="*/ 54944 w 66409"/>
                      <a:gd name="connsiteY4" fmla="*/ 0 h 22931"/>
                      <a:gd name="connsiteX5" fmla="*/ 66409 w 66409"/>
                      <a:gd name="connsiteY5" fmla="*/ 11466 h 22931"/>
                      <a:gd name="connsiteX6" fmla="*/ 54944 w 66409"/>
                      <a:gd name="connsiteY6" fmla="*/ 22931 h 22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409" h="22931">
                        <a:moveTo>
                          <a:pt x="54944" y="22931"/>
                        </a:moveTo>
                        <a:lnTo>
                          <a:pt x="11466" y="22931"/>
                        </a:lnTo>
                        <a:cubicBezTo>
                          <a:pt x="5125" y="22931"/>
                          <a:pt x="0" y="17806"/>
                          <a:pt x="0" y="11466"/>
                        </a:cubicBezTo>
                        <a:cubicBezTo>
                          <a:pt x="0" y="5125"/>
                          <a:pt x="5125" y="0"/>
                          <a:pt x="11466" y="0"/>
                        </a:cubicBezTo>
                        <a:lnTo>
                          <a:pt x="54944" y="0"/>
                        </a:lnTo>
                        <a:cubicBezTo>
                          <a:pt x="61284" y="0"/>
                          <a:pt x="66409" y="5125"/>
                          <a:pt x="66409" y="11466"/>
                        </a:cubicBezTo>
                        <a:cubicBezTo>
                          <a:pt x="66409" y="17806"/>
                          <a:pt x="61284" y="22931"/>
                          <a:pt x="54944" y="22931"/>
                        </a:cubicBezTo>
                        <a:close/>
                      </a:path>
                    </a:pathLst>
                  </a:custGeom>
                  <a:solidFill>
                    <a:schemeClr val="accent1"/>
                  </a:solidFill>
                  <a:ln w="1145" cap="flat">
                    <a:noFill/>
                    <a:prstDash val="solid"/>
                    <a:miter/>
                  </a:ln>
                </p:spPr>
                <p:txBody>
                  <a:bodyPr rtlCol="0" anchor="ctr"/>
                  <a:lstStyle/>
                  <a:p>
                    <a:endParaRPr lang="en-GB" dirty="0"/>
                  </a:p>
                </p:txBody>
              </p:sp>
            </p:grpSp>
            <p:grpSp>
              <p:nvGrpSpPr>
                <p:cNvPr id="282" name="Graphic 48">
                  <a:extLst>
                    <a:ext uri="{FF2B5EF4-FFF2-40B4-BE49-F238E27FC236}">
                      <a16:creationId xmlns:a16="http://schemas.microsoft.com/office/drawing/2014/main" id="{A6C857E5-463C-4D59-B23F-A463F4CE3951}"/>
                    </a:ext>
                  </a:extLst>
                </p:cNvPr>
                <p:cNvGrpSpPr/>
                <p:nvPr/>
              </p:nvGrpSpPr>
              <p:grpSpPr>
                <a:xfrm>
                  <a:off x="6852865" y="3071068"/>
                  <a:ext cx="117146" cy="84513"/>
                  <a:chOff x="6852865" y="3071068"/>
                  <a:chExt cx="117146" cy="84513"/>
                </a:xfrm>
                <a:solidFill>
                  <a:schemeClr val="accent1"/>
                </a:solidFill>
              </p:grpSpPr>
              <p:sp>
                <p:nvSpPr>
                  <p:cNvPr id="311" name="Freeform: Shape 310">
                    <a:extLst>
                      <a:ext uri="{FF2B5EF4-FFF2-40B4-BE49-F238E27FC236}">
                        <a16:creationId xmlns:a16="http://schemas.microsoft.com/office/drawing/2014/main" id="{4F5C696E-2142-430A-8C98-D95FDEF5DBF4}"/>
                      </a:ext>
                    </a:extLst>
                  </p:cNvPr>
                  <p:cNvSpPr/>
                  <p:nvPr/>
                </p:nvSpPr>
                <p:spPr>
                  <a:xfrm>
                    <a:off x="6896343" y="3071068"/>
                    <a:ext cx="73667" cy="84513"/>
                  </a:xfrm>
                  <a:custGeom>
                    <a:avLst/>
                    <a:gdLst>
                      <a:gd name="connsiteX0" fmla="*/ 42160 w 73667"/>
                      <a:gd name="connsiteY0" fmla="*/ 84502 h 84513"/>
                      <a:gd name="connsiteX1" fmla="*/ 13633 w 73667"/>
                      <a:gd name="connsiteY1" fmla="*/ 71615 h 84513"/>
                      <a:gd name="connsiteX2" fmla="*/ 0 w 73667"/>
                      <a:gd name="connsiteY2" fmla="*/ 42595 h 84513"/>
                      <a:gd name="connsiteX3" fmla="*/ 42974 w 73667"/>
                      <a:gd name="connsiteY3" fmla="*/ 0 h 84513"/>
                      <a:gd name="connsiteX4" fmla="*/ 43031 w 73667"/>
                      <a:gd name="connsiteY4" fmla="*/ 11466 h 84513"/>
                      <a:gd name="connsiteX5" fmla="*/ 42974 w 73667"/>
                      <a:gd name="connsiteY5" fmla="*/ 0 h 84513"/>
                      <a:gd name="connsiteX6" fmla="*/ 43123 w 73667"/>
                      <a:gd name="connsiteY6" fmla="*/ 0 h 84513"/>
                      <a:gd name="connsiteX7" fmla="*/ 73667 w 73667"/>
                      <a:gd name="connsiteY7" fmla="*/ 42240 h 84513"/>
                      <a:gd name="connsiteX8" fmla="*/ 42320 w 73667"/>
                      <a:gd name="connsiteY8" fmla="*/ 84513 h 84513"/>
                      <a:gd name="connsiteX9" fmla="*/ 42160 w 73667"/>
                      <a:gd name="connsiteY9" fmla="*/ 84502 h 84513"/>
                      <a:gd name="connsiteX10" fmla="*/ 43100 w 73667"/>
                      <a:gd name="connsiteY10" fmla="*/ 22931 h 84513"/>
                      <a:gd name="connsiteX11" fmla="*/ 43077 w 73667"/>
                      <a:gd name="connsiteY11" fmla="*/ 22931 h 84513"/>
                      <a:gd name="connsiteX12" fmla="*/ 22920 w 73667"/>
                      <a:gd name="connsiteY12" fmla="*/ 42480 h 84513"/>
                      <a:gd name="connsiteX13" fmla="*/ 29616 w 73667"/>
                      <a:gd name="connsiteY13" fmla="*/ 55161 h 84513"/>
                      <a:gd name="connsiteX14" fmla="*/ 42160 w 73667"/>
                      <a:gd name="connsiteY14" fmla="*/ 61571 h 84513"/>
                      <a:gd name="connsiteX15" fmla="*/ 42194 w 73667"/>
                      <a:gd name="connsiteY15" fmla="*/ 61571 h 84513"/>
                      <a:gd name="connsiteX16" fmla="*/ 50724 w 73667"/>
                      <a:gd name="connsiteY16" fmla="*/ 42343 h 84513"/>
                      <a:gd name="connsiteX17" fmla="*/ 43100 w 73667"/>
                      <a:gd name="connsiteY17" fmla="*/ 22931 h 84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3667" h="84513">
                        <a:moveTo>
                          <a:pt x="42160" y="84502"/>
                        </a:moveTo>
                        <a:cubicBezTo>
                          <a:pt x="32448" y="84502"/>
                          <a:pt x="22060" y="79813"/>
                          <a:pt x="13633" y="71615"/>
                        </a:cubicBezTo>
                        <a:cubicBezTo>
                          <a:pt x="5010" y="63233"/>
                          <a:pt x="34" y="52650"/>
                          <a:pt x="0" y="42595"/>
                        </a:cubicBezTo>
                        <a:cubicBezTo>
                          <a:pt x="-92" y="21991"/>
                          <a:pt x="22003" y="103"/>
                          <a:pt x="42974" y="0"/>
                        </a:cubicBezTo>
                        <a:lnTo>
                          <a:pt x="43031" y="11466"/>
                        </a:lnTo>
                        <a:lnTo>
                          <a:pt x="42974" y="0"/>
                        </a:lnTo>
                        <a:cubicBezTo>
                          <a:pt x="43020" y="0"/>
                          <a:pt x="43077" y="0"/>
                          <a:pt x="43123" y="0"/>
                        </a:cubicBezTo>
                        <a:cubicBezTo>
                          <a:pt x="61548" y="0"/>
                          <a:pt x="73530" y="16556"/>
                          <a:pt x="73667" y="42240"/>
                        </a:cubicBezTo>
                        <a:cubicBezTo>
                          <a:pt x="73781" y="67040"/>
                          <a:pt x="60894" y="84422"/>
                          <a:pt x="42320" y="84513"/>
                        </a:cubicBezTo>
                        <a:cubicBezTo>
                          <a:pt x="42263" y="84502"/>
                          <a:pt x="42205" y="84502"/>
                          <a:pt x="42160" y="84502"/>
                        </a:cubicBezTo>
                        <a:close/>
                        <a:moveTo>
                          <a:pt x="43100" y="22931"/>
                        </a:moveTo>
                        <a:cubicBezTo>
                          <a:pt x="43088" y="22931"/>
                          <a:pt x="43077" y="22931"/>
                          <a:pt x="43077" y="22931"/>
                        </a:cubicBezTo>
                        <a:cubicBezTo>
                          <a:pt x="35383" y="22966"/>
                          <a:pt x="22886" y="33893"/>
                          <a:pt x="22920" y="42480"/>
                        </a:cubicBezTo>
                        <a:cubicBezTo>
                          <a:pt x="22943" y="46310"/>
                          <a:pt x="25511" y="51171"/>
                          <a:pt x="29616" y="55161"/>
                        </a:cubicBezTo>
                        <a:cubicBezTo>
                          <a:pt x="33617" y="59060"/>
                          <a:pt x="38536" y="61571"/>
                          <a:pt x="42160" y="61571"/>
                        </a:cubicBezTo>
                        <a:cubicBezTo>
                          <a:pt x="42171" y="61571"/>
                          <a:pt x="42182" y="61571"/>
                          <a:pt x="42194" y="61571"/>
                        </a:cubicBezTo>
                        <a:cubicBezTo>
                          <a:pt x="48144" y="61536"/>
                          <a:pt x="50759" y="50312"/>
                          <a:pt x="50724" y="42343"/>
                        </a:cubicBezTo>
                        <a:cubicBezTo>
                          <a:pt x="50690" y="34833"/>
                          <a:pt x="48580" y="22931"/>
                          <a:pt x="43100" y="22931"/>
                        </a:cubicBezTo>
                        <a:close/>
                      </a:path>
                    </a:pathLst>
                  </a:custGeom>
                  <a:solidFill>
                    <a:schemeClr val="accent1"/>
                  </a:solidFill>
                  <a:ln w="1145" cap="flat">
                    <a:noFill/>
                    <a:prstDash val="solid"/>
                    <a:miter/>
                  </a:ln>
                </p:spPr>
                <p:txBody>
                  <a:bodyPr rtlCol="0" anchor="ctr"/>
                  <a:lstStyle/>
                  <a:p>
                    <a:endParaRPr lang="en-GB" dirty="0"/>
                  </a:p>
                </p:txBody>
              </p:sp>
              <p:sp>
                <p:nvSpPr>
                  <p:cNvPr id="312" name="Freeform: Shape 311">
                    <a:extLst>
                      <a:ext uri="{FF2B5EF4-FFF2-40B4-BE49-F238E27FC236}">
                        <a16:creationId xmlns:a16="http://schemas.microsoft.com/office/drawing/2014/main" id="{0BF25564-438E-4901-B7AE-642C6F17C15F}"/>
                      </a:ext>
                    </a:extLst>
                  </p:cNvPr>
                  <p:cNvSpPr/>
                  <p:nvPr/>
                </p:nvSpPr>
                <p:spPr>
                  <a:xfrm>
                    <a:off x="6852865" y="3102140"/>
                    <a:ext cx="66409" cy="23149"/>
                  </a:xfrm>
                  <a:custGeom>
                    <a:avLst/>
                    <a:gdLst>
                      <a:gd name="connsiteX0" fmla="*/ 11466 w 66409"/>
                      <a:gd name="connsiteY0" fmla="*/ 23149 h 23149"/>
                      <a:gd name="connsiteX1" fmla="*/ 0 w 66409"/>
                      <a:gd name="connsiteY1" fmla="*/ 11741 h 23149"/>
                      <a:gd name="connsiteX2" fmla="*/ 11409 w 66409"/>
                      <a:gd name="connsiteY2" fmla="*/ 218 h 23149"/>
                      <a:gd name="connsiteX3" fmla="*/ 54886 w 66409"/>
                      <a:gd name="connsiteY3" fmla="*/ 0 h 23149"/>
                      <a:gd name="connsiteX4" fmla="*/ 54944 w 66409"/>
                      <a:gd name="connsiteY4" fmla="*/ 0 h 23149"/>
                      <a:gd name="connsiteX5" fmla="*/ 66410 w 66409"/>
                      <a:gd name="connsiteY5" fmla="*/ 11408 h 23149"/>
                      <a:gd name="connsiteX6" fmla="*/ 55001 w 66409"/>
                      <a:gd name="connsiteY6" fmla="*/ 22931 h 23149"/>
                      <a:gd name="connsiteX7" fmla="*/ 11524 w 66409"/>
                      <a:gd name="connsiteY7" fmla="*/ 23149 h 23149"/>
                      <a:gd name="connsiteX8" fmla="*/ 11466 w 66409"/>
                      <a:gd name="connsiteY8" fmla="*/ 23149 h 23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09" h="23149">
                        <a:moveTo>
                          <a:pt x="11466" y="23149"/>
                        </a:moveTo>
                        <a:cubicBezTo>
                          <a:pt x="5160" y="23149"/>
                          <a:pt x="35" y="18058"/>
                          <a:pt x="0" y="11741"/>
                        </a:cubicBezTo>
                        <a:cubicBezTo>
                          <a:pt x="-34" y="5400"/>
                          <a:pt x="5068" y="252"/>
                          <a:pt x="11409" y="218"/>
                        </a:cubicBezTo>
                        <a:lnTo>
                          <a:pt x="54886" y="0"/>
                        </a:lnTo>
                        <a:cubicBezTo>
                          <a:pt x="54909" y="0"/>
                          <a:pt x="54921" y="0"/>
                          <a:pt x="54944" y="0"/>
                        </a:cubicBezTo>
                        <a:cubicBezTo>
                          <a:pt x="61250" y="0"/>
                          <a:pt x="66375" y="5091"/>
                          <a:pt x="66410" y="11408"/>
                        </a:cubicBezTo>
                        <a:cubicBezTo>
                          <a:pt x="66444" y="17749"/>
                          <a:pt x="61342" y="22897"/>
                          <a:pt x="55001" y="22931"/>
                        </a:cubicBezTo>
                        <a:lnTo>
                          <a:pt x="11524" y="23149"/>
                        </a:lnTo>
                        <a:cubicBezTo>
                          <a:pt x="11501" y="23149"/>
                          <a:pt x="11489" y="23149"/>
                          <a:pt x="11466" y="23149"/>
                        </a:cubicBezTo>
                        <a:close/>
                      </a:path>
                    </a:pathLst>
                  </a:custGeom>
                  <a:solidFill>
                    <a:schemeClr val="accent1"/>
                  </a:solidFill>
                  <a:ln w="1145" cap="flat">
                    <a:noFill/>
                    <a:prstDash val="solid"/>
                    <a:miter/>
                  </a:ln>
                </p:spPr>
                <p:txBody>
                  <a:bodyPr rtlCol="0" anchor="ctr"/>
                  <a:lstStyle/>
                  <a:p>
                    <a:endParaRPr lang="en-GB" dirty="0"/>
                  </a:p>
                </p:txBody>
              </p:sp>
            </p:grpSp>
            <p:grpSp>
              <p:nvGrpSpPr>
                <p:cNvPr id="283" name="Graphic 48">
                  <a:extLst>
                    <a:ext uri="{FF2B5EF4-FFF2-40B4-BE49-F238E27FC236}">
                      <a16:creationId xmlns:a16="http://schemas.microsoft.com/office/drawing/2014/main" id="{69A75E1A-BADD-4E8A-8C7E-58B4DCC22328}"/>
                    </a:ext>
                  </a:extLst>
                </p:cNvPr>
                <p:cNvGrpSpPr/>
                <p:nvPr/>
              </p:nvGrpSpPr>
              <p:grpSpPr>
                <a:xfrm>
                  <a:off x="6537708" y="2870384"/>
                  <a:ext cx="377487" cy="157595"/>
                  <a:chOff x="6537708" y="2870384"/>
                  <a:chExt cx="377487" cy="157595"/>
                </a:xfrm>
                <a:solidFill>
                  <a:schemeClr val="accent1"/>
                </a:solidFill>
              </p:grpSpPr>
              <p:grpSp>
                <p:nvGrpSpPr>
                  <p:cNvPr id="302" name="Graphic 48">
                    <a:extLst>
                      <a:ext uri="{FF2B5EF4-FFF2-40B4-BE49-F238E27FC236}">
                        <a16:creationId xmlns:a16="http://schemas.microsoft.com/office/drawing/2014/main" id="{EA9262D7-D544-419E-8CA0-604996C9B9B7}"/>
                      </a:ext>
                    </a:extLst>
                  </p:cNvPr>
                  <p:cNvGrpSpPr/>
                  <p:nvPr/>
                </p:nvGrpSpPr>
                <p:grpSpPr>
                  <a:xfrm>
                    <a:off x="6684239" y="2870384"/>
                    <a:ext cx="84490" cy="117144"/>
                    <a:chOff x="6684239" y="2870384"/>
                    <a:chExt cx="84490" cy="117144"/>
                  </a:xfrm>
                  <a:solidFill>
                    <a:schemeClr val="accent1"/>
                  </a:solidFill>
                </p:grpSpPr>
                <p:sp>
                  <p:nvSpPr>
                    <p:cNvPr id="309" name="Freeform: Shape 308">
                      <a:extLst>
                        <a:ext uri="{FF2B5EF4-FFF2-40B4-BE49-F238E27FC236}">
                          <a16:creationId xmlns:a16="http://schemas.microsoft.com/office/drawing/2014/main" id="{5BF81215-D55D-4D2B-A593-6C3E0F8AF907}"/>
                        </a:ext>
                      </a:extLst>
                    </p:cNvPr>
                    <p:cNvSpPr/>
                    <p:nvPr/>
                  </p:nvSpPr>
                  <p:spPr>
                    <a:xfrm>
                      <a:off x="6684239" y="2870384"/>
                      <a:ext cx="84490" cy="73666"/>
                    </a:xfrm>
                    <a:custGeom>
                      <a:avLst/>
                      <a:gdLst>
                        <a:gd name="connsiteX0" fmla="*/ 42113 w 84490"/>
                        <a:gd name="connsiteY0" fmla="*/ 73667 h 73666"/>
                        <a:gd name="connsiteX1" fmla="*/ 0 w 84490"/>
                        <a:gd name="connsiteY1" fmla="*/ 31542 h 73666"/>
                        <a:gd name="connsiteX2" fmla="*/ 42113 w 84490"/>
                        <a:gd name="connsiteY2" fmla="*/ 0 h 73666"/>
                        <a:gd name="connsiteX3" fmla="*/ 84490 w 84490"/>
                        <a:gd name="connsiteY3" fmla="*/ 30487 h 73666"/>
                        <a:gd name="connsiteX4" fmla="*/ 42113 w 84490"/>
                        <a:gd name="connsiteY4" fmla="*/ 73667 h 73666"/>
                        <a:gd name="connsiteX5" fmla="*/ 42113 w 84490"/>
                        <a:gd name="connsiteY5" fmla="*/ 22931 h 73666"/>
                        <a:gd name="connsiteX6" fmla="*/ 22931 w 84490"/>
                        <a:gd name="connsiteY6" fmla="*/ 31542 h 73666"/>
                        <a:gd name="connsiteX7" fmla="*/ 42113 w 84490"/>
                        <a:gd name="connsiteY7" fmla="*/ 50736 h 73666"/>
                        <a:gd name="connsiteX8" fmla="*/ 61559 w 84490"/>
                        <a:gd name="connsiteY8" fmla="*/ 30487 h 73666"/>
                        <a:gd name="connsiteX9" fmla="*/ 42113 w 84490"/>
                        <a:gd name="connsiteY9" fmla="*/ 22931 h 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490" h="73666">
                          <a:moveTo>
                            <a:pt x="42113" y="73667"/>
                          </a:moveTo>
                          <a:cubicBezTo>
                            <a:pt x="21257" y="73667"/>
                            <a:pt x="0" y="52410"/>
                            <a:pt x="0" y="31542"/>
                          </a:cubicBezTo>
                          <a:cubicBezTo>
                            <a:pt x="0" y="12968"/>
                            <a:pt x="17324" y="0"/>
                            <a:pt x="42113" y="0"/>
                          </a:cubicBezTo>
                          <a:cubicBezTo>
                            <a:pt x="67854" y="0"/>
                            <a:pt x="84490" y="11970"/>
                            <a:pt x="84490" y="30487"/>
                          </a:cubicBezTo>
                          <a:cubicBezTo>
                            <a:pt x="84490" y="51470"/>
                            <a:pt x="62694" y="73667"/>
                            <a:pt x="42113" y="73667"/>
                          </a:cubicBezTo>
                          <a:close/>
                          <a:moveTo>
                            <a:pt x="42113" y="22931"/>
                          </a:moveTo>
                          <a:cubicBezTo>
                            <a:pt x="34156" y="22931"/>
                            <a:pt x="22931" y="25603"/>
                            <a:pt x="22931" y="31542"/>
                          </a:cubicBezTo>
                          <a:cubicBezTo>
                            <a:pt x="22931" y="38949"/>
                            <a:pt x="33399" y="50736"/>
                            <a:pt x="42113" y="50736"/>
                          </a:cubicBezTo>
                          <a:cubicBezTo>
                            <a:pt x="50701" y="50736"/>
                            <a:pt x="61559" y="38181"/>
                            <a:pt x="61559" y="30487"/>
                          </a:cubicBezTo>
                          <a:cubicBezTo>
                            <a:pt x="61559" y="24972"/>
                            <a:pt x="49635" y="22931"/>
                            <a:pt x="42113" y="22931"/>
                          </a:cubicBezTo>
                          <a:close/>
                        </a:path>
                      </a:pathLst>
                    </a:custGeom>
                    <a:solidFill>
                      <a:schemeClr val="accent1"/>
                    </a:solidFill>
                    <a:ln w="1145" cap="flat">
                      <a:noFill/>
                      <a:prstDash val="solid"/>
                      <a:miter/>
                    </a:ln>
                  </p:spPr>
                  <p:txBody>
                    <a:bodyPr rtlCol="0" anchor="ctr"/>
                    <a:lstStyle/>
                    <a:p>
                      <a:endParaRPr lang="en-GB" dirty="0"/>
                    </a:p>
                  </p:txBody>
                </p:sp>
                <p:sp>
                  <p:nvSpPr>
                    <p:cNvPr id="310" name="Freeform: Shape 309">
                      <a:extLst>
                        <a:ext uri="{FF2B5EF4-FFF2-40B4-BE49-F238E27FC236}">
                          <a16:creationId xmlns:a16="http://schemas.microsoft.com/office/drawing/2014/main" id="{FD5CBCCA-78F6-4422-826D-8622D8975265}"/>
                        </a:ext>
                      </a:extLst>
                    </p:cNvPr>
                    <p:cNvSpPr/>
                    <p:nvPr/>
                  </p:nvSpPr>
                  <p:spPr>
                    <a:xfrm>
                      <a:off x="6714864" y="2921120"/>
                      <a:ext cx="22931" cy="66409"/>
                    </a:xfrm>
                    <a:custGeom>
                      <a:avLst/>
                      <a:gdLst>
                        <a:gd name="connsiteX0" fmla="*/ 11466 w 22931"/>
                        <a:gd name="connsiteY0" fmla="*/ 66409 h 66409"/>
                        <a:gd name="connsiteX1" fmla="*/ 0 w 22931"/>
                        <a:gd name="connsiteY1" fmla="*/ 54943 h 66409"/>
                        <a:gd name="connsiteX2" fmla="*/ 0 w 22931"/>
                        <a:gd name="connsiteY2" fmla="*/ 11466 h 66409"/>
                        <a:gd name="connsiteX3" fmla="*/ 11466 w 22931"/>
                        <a:gd name="connsiteY3" fmla="*/ 0 h 66409"/>
                        <a:gd name="connsiteX4" fmla="*/ 22931 w 22931"/>
                        <a:gd name="connsiteY4" fmla="*/ 11466 h 66409"/>
                        <a:gd name="connsiteX5" fmla="*/ 22931 w 22931"/>
                        <a:gd name="connsiteY5" fmla="*/ 54943 h 66409"/>
                        <a:gd name="connsiteX6" fmla="*/ 11466 w 22931"/>
                        <a:gd name="connsiteY6" fmla="*/ 66409 h 66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6409">
                          <a:moveTo>
                            <a:pt x="11466" y="66409"/>
                          </a:moveTo>
                          <a:cubicBezTo>
                            <a:pt x="5125" y="66409"/>
                            <a:pt x="0" y="61284"/>
                            <a:pt x="0" y="54943"/>
                          </a:cubicBezTo>
                          <a:lnTo>
                            <a:pt x="0" y="11466"/>
                          </a:lnTo>
                          <a:cubicBezTo>
                            <a:pt x="0" y="5125"/>
                            <a:pt x="5125" y="0"/>
                            <a:pt x="11466" y="0"/>
                          </a:cubicBezTo>
                          <a:cubicBezTo>
                            <a:pt x="17807" y="0"/>
                            <a:pt x="22931" y="5125"/>
                            <a:pt x="22931" y="11466"/>
                          </a:cubicBezTo>
                          <a:lnTo>
                            <a:pt x="22931" y="54943"/>
                          </a:lnTo>
                          <a:cubicBezTo>
                            <a:pt x="22931" y="61272"/>
                            <a:pt x="17795" y="66409"/>
                            <a:pt x="11466" y="66409"/>
                          </a:cubicBezTo>
                          <a:close/>
                        </a:path>
                      </a:pathLst>
                    </a:custGeom>
                    <a:solidFill>
                      <a:schemeClr val="accent1"/>
                    </a:solidFill>
                    <a:ln w="1145" cap="flat">
                      <a:noFill/>
                      <a:prstDash val="solid"/>
                      <a:miter/>
                    </a:ln>
                  </p:spPr>
                  <p:txBody>
                    <a:bodyPr rtlCol="0" anchor="ctr"/>
                    <a:lstStyle/>
                    <a:p>
                      <a:endParaRPr lang="en-GB" dirty="0"/>
                    </a:p>
                  </p:txBody>
                </p:sp>
              </p:grpSp>
              <p:grpSp>
                <p:nvGrpSpPr>
                  <p:cNvPr id="303" name="Graphic 48">
                    <a:extLst>
                      <a:ext uri="{FF2B5EF4-FFF2-40B4-BE49-F238E27FC236}">
                        <a16:creationId xmlns:a16="http://schemas.microsoft.com/office/drawing/2014/main" id="{47418A0D-897D-4A30-AF86-1238333CB9F3}"/>
                      </a:ext>
                    </a:extLst>
                  </p:cNvPr>
                  <p:cNvGrpSpPr/>
                  <p:nvPr/>
                </p:nvGrpSpPr>
                <p:grpSpPr>
                  <a:xfrm>
                    <a:off x="6812652" y="2926130"/>
                    <a:ext cx="102543" cy="101849"/>
                    <a:chOff x="6812652" y="2926130"/>
                    <a:chExt cx="102543" cy="101849"/>
                  </a:xfrm>
                  <a:solidFill>
                    <a:schemeClr val="accent1"/>
                  </a:solidFill>
                </p:grpSpPr>
                <p:sp>
                  <p:nvSpPr>
                    <p:cNvPr id="307" name="Freeform: Shape 306">
                      <a:extLst>
                        <a:ext uri="{FF2B5EF4-FFF2-40B4-BE49-F238E27FC236}">
                          <a16:creationId xmlns:a16="http://schemas.microsoft.com/office/drawing/2014/main" id="{7BEFAE59-288C-4D2E-AFE0-2724899DC367}"/>
                        </a:ext>
                      </a:extLst>
                    </p:cNvPr>
                    <p:cNvSpPr/>
                    <p:nvPr/>
                  </p:nvSpPr>
                  <p:spPr>
                    <a:xfrm>
                      <a:off x="6835745" y="2926130"/>
                      <a:ext cx="79451" cy="78505"/>
                    </a:xfrm>
                    <a:custGeom>
                      <a:avLst/>
                      <a:gdLst>
                        <a:gd name="connsiteX0" fmla="*/ 40671 w 79451"/>
                        <a:gd name="connsiteY0" fmla="*/ 78506 h 78505"/>
                        <a:gd name="connsiteX1" fmla="*/ 11021 w 79451"/>
                        <a:gd name="connsiteY1" fmla="*/ 67751 h 78505"/>
                        <a:gd name="connsiteX2" fmla="*/ 2 w 79451"/>
                        <a:gd name="connsiteY2" fmla="*/ 37630 h 78505"/>
                        <a:gd name="connsiteX3" fmla="*/ 11021 w 79451"/>
                        <a:gd name="connsiteY3" fmla="*/ 8198 h 78505"/>
                        <a:gd name="connsiteX4" fmla="*/ 39914 w 79451"/>
                        <a:gd name="connsiteY4" fmla="*/ 1330 h 78505"/>
                        <a:gd name="connsiteX5" fmla="*/ 63098 w 79451"/>
                        <a:gd name="connsiteY5" fmla="*/ 15662 h 78505"/>
                        <a:gd name="connsiteX6" fmla="*/ 71502 w 79451"/>
                        <a:gd name="connsiteY6" fmla="*/ 67189 h 78505"/>
                        <a:gd name="connsiteX7" fmla="*/ 40671 w 79451"/>
                        <a:gd name="connsiteY7" fmla="*/ 78506 h 78505"/>
                        <a:gd name="connsiteX8" fmla="*/ 30776 w 79451"/>
                        <a:gd name="connsiteY8" fmla="*/ 22954 h 78505"/>
                        <a:gd name="connsiteX9" fmla="*/ 27233 w 79451"/>
                        <a:gd name="connsiteY9" fmla="*/ 24411 h 78505"/>
                        <a:gd name="connsiteX10" fmla="*/ 22934 w 79451"/>
                        <a:gd name="connsiteY10" fmla="*/ 37848 h 78505"/>
                        <a:gd name="connsiteX11" fmla="*/ 27233 w 79451"/>
                        <a:gd name="connsiteY11" fmla="*/ 51538 h 78505"/>
                        <a:gd name="connsiteX12" fmla="*/ 55290 w 79451"/>
                        <a:gd name="connsiteY12" fmla="*/ 50977 h 78505"/>
                        <a:gd name="connsiteX13" fmla="*/ 46885 w 79451"/>
                        <a:gd name="connsiteY13" fmla="*/ 31875 h 78505"/>
                        <a:gd name="connsiteX14" fmla="*/ 33746 w 79451"/>
                        <a:gd name="connsiteY14" fmla="*/ 23413 h 78505"/>
                        <a:gd name="connsiteX15" fmla="*/ 30776 w 79451"/>
                        <a:gd name="connsiteY15" fmla="*/ 22954 h 78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451" h="78505">
                          <a:moveTo>
                            <a:pt x="40671" y="78506"/>
                          </a:moveTo>
                          <a:cubicBezTo>
                            <a:pt x="29389" y="78506"/>
                            <a:pt x="18199" y="74928"/>
                            <a:pt x="11021" y="67751"/>
                          </a:cubicBezTo>
                          <a:cubicBezTo>
                            <a:pt x="3901" y="60642"/>
                            <a:pt x="-112" y="49658"/>
                            <a:pt x="2" y="37630"/>
                          </a:cubicBezTo>
                          <a:cubicBezTo>
                            <a:pt x="105" y="25809"/>
                            <a:pt x="4118" y="15077"/>
                            <a:pt x="11021" y="8198"/>
                          </a:cubicBezTo>
                          <a:cubicBezTo>
                            <a:pt x="18531" y="665"/>
                            <a:pt x="28793" y="-1811"/>
                            <a:pt x="39914" y="1330"/>
                          </a:cubicBezTo>
                          <a:cubicBezTo>
                            <a:pt x="47837" y="3531"/>
                            <a:pt x="56069" y="8634"/>
                            <a:pt x="63098" y="15662"/>
                          </a:cubicBezTo>
                          <a:cubicBezTo>
                            <a:pt x="81305" y="33870"/>
                            <a:pt x="84608" y="54095"/>
                            <a:pt x="71502" y="67189"/>
                          </a:cubicBezTo>
                          <a:cubicBezTo>
                            <a:pt x="63992" y="74722"/>
                            <a:pt x="52286" y="78506"/>
                            <a:pt x="40671" y="78506"/>
                          </a:cubicBezTo>
                          <a:close/>
                          <a:moveTo>
                            <a:pt x="30776" y="22954"/>
                          </a:moveTo>
                          <a:cubicBezTo>
                            <a:pt x="28690" y="22954"/>
                            <a:pt x="27795" y="23849"/>
                            <a:pt x="27233" y="24411"/>
                          </a:cubicBezTo>
                          <a:cubicBezTo>
                            <a:pt x="24665" y="26979"/>
                            <a:pt x="22980" y="32253"/>
                            <a:pt x="22934" y="37848"/>
                          </a:cubicBezTo>
                          <a:cubicBezTo>
                            <a:pt x="22876" y="43581"/>
                            <a:pt x="24527" y="48832"/>
                            <a:pt x="27233" y="51538"/>
                          </a:cubicBezTo>
                          <a:cubicBezTo>
                            <a:pt x="33299" y="57581"/>
                            <a:pt x="49855" y="56423"/>
                            <a:pt x="55290" y="50977"/>
                          </a:cubicBezTo>
                          <a:cubicBezTo>
                            <a:pt x="59188" y="47078"/>
                            <a:pt x="52194" y="37195"/>
                            <a:pt x="46885" y="31875"/>
                          </a:cubicBezTo>
                          <a:cubicBezTo>
                            <a:pt x="42666" y="27655"/>
                            <a:pt x="37873" y="24560"/>
                            <a:pt x="33746" y="23413"/>
                          </a:cubicBezTo>
                          <a:cubicBezTo>
                            <a:pt x="32553" y="23092"/>
                            <a:pt x="31579" y="22954"/>
                            <a:pt x="30776" y="22954"/>
                          </a:cubicBezTo>
                          <a:close/>
                        </a:path>
                      </a:pathLst>
                    </a:custGeom>
                    <a:solidFill>
                      <a:schemeClr val="accent1"/>
                    </a:solidFill>
                    <a:ln w="1145" cap="flat">
                      <a:noFill/>
                      <a:prstDash val="solid"/>
                      <a:miter/>
                    </a:ln>
                  </p:spPr>
                  <p:txBody>
                    <a:bodyPr rtlCol="0" anchor="ctr"/>
                    <a:lstStyle/>
                    <a:p>
                      <a:endParaRPr lang="en-GB" dirty="0"/>
                    </a:p>
                  </p:txBody>
                </p:sp>
                <p:sp>
                  <p:nvSpPr>
                    <p:cNvPr id="308" name="Freeform: Shape 307">
                      <a:extLst>
                        <a:ext uri="{FF2B5EF4-FFF2-40B4-BE49-F238E27FC236}">
                          <a16:creationId xmlns:a16="http://schemas.microsoft.com/office/drawing/2014/main" id="{238E7D33-D917-47B4-AA65-1451F37D2B56}"/>
                        </a:ext>
                      </a:extLst>
                    </p:cNvPr>
                    <p:cNvSpPr/>
                    <p:nvPr/>
                  </p:nvSpPr>
                  <p:spPr>
                    <a:xfrm>
                      <a:off x="6812652" y="2974295"/>
                      <a:ext cx="53687" cy="53684"/>
                    </a:xfrm>
                    <a:custGeom>
                      <a:avLst/>
                      <a:gdLst>
                        <a:gd name="connsiteX0" fmla="*/ 11468 w 53687"/>
                        <a:gd name="connsiteY0" fmla="*/ 53685 h 53684"/>
                        <a:gd name="connsiteX1" fmla="*/ 3362 w 53687"/>
                        <a:gd name="connsiteY1" fmla="*/ 50326 h 53684"/>
                        <a:gd name="connsiteX2" fmla="*/ 3362 w 53687"/>
                        <a:gd name="connsiteY2" fmla="*/ 34113 h 53684"/>
                        <a:gd name="connsiteX3" fmla="*/ 34113 w 53687"/>
                        <a:gd name="connsiteY3" fmla="*/ 3362 h 53684"/>
                        <a:gd name="connsiteX4" fmla="*/ 50326 w 53687"/>
                        <a:gd name="connsiteY4" fmla="*/ 3362 h 53684"/>
                        <a:gd name="connsiteX5" fmla="*/ 50326 w 53687"/>
                        <a:gd name="connsiteY5" fmla="*/ 19575 h 53684"/>
                        <a:gd name="connsiteX6" fmla="*/ 19575 w 53687"/>
                        <a:gd name="connsiteY6" fmla="*/ 50326 h 53684"/>
                        <a:gd name="connsiteX7" fmla="*/ 11468 w 53687"/>
                        <a:gd name="connsiteY7" fmla="*/ 53685 h 5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7" h="53684">
                          <a:moveTo>
                            <a:pt x="11468" y="53685"/>
                          </a:moveTo>
                          <a:cubicBezTo>
                            <a:pt x="8533" y="53685"/>
                            <a:pt x="5598" y="52561"/>
                            <a:pt x="3362" y="50326"/>
                          </a:cubicBezTo>
                          <a:cubicBezTo>
                            <a:pt x="-1121" y="45843"/>
                            <a:pt x="-1121" y="38596"/>
                            <a:pt x="3362" y="34113"/>
                          </a:cubicBezTo>
                          <a:lnTo>
                            <a:pt x="34113" y="3362"/>
                          </a:lnTo>
                          <a:cubicBezTo>
                            <a:pt x="38596" y="-1121"/>
                            <a:pt x="45843" y="-1121"/>
                            <a:pt x="50326" y="3362"/>
                          </a:cubicBezTo>
                          <a:cubicBezTo>
                            <a:pt x="54808" y="7845"/>
                            <a:pt x="54808" y="15092"/>
                            <a:pt x="50326" y="19575"/>
                          </a:cubicBezTo>
                          <a:lnTo>
                            <a:pt x="19575" y="50326"/>
                          </a:lnTo>
                          <a:cubicBezTo>
                            <a:pt x="17339" y="52561"/>
                            <a:pt x="14404" y="53685"/>
                            <a:pt x="11468" y="53685"/>
                          </a:cubicBezTo>
                          <a:close/>
                        </a:path>
                      </a:pathLst>
                    </a:custGeom>
                    <a:solidFill>
                      <a:schemeClr val="accent1"/>
                    </a:solidFill>
                    <a:ln w="1145" cap="flat">
                      <a:noFill/>
                      <a:prstDash val="solid"/>
                      <a:miter/>
                    </a:ln>
                  </p:spPr>
                  <p:txBody>
                    <a:bodyPr rtlCol="0" anchor="ctr"/>
                    <a:lstStyle/>
                    <a:p>
                      <a:endParaRPr lang="en-GB" dirty="0"/>
                    </a:p>
                  </p:txBody>
                </p:sp>
              </p:grpSp>
              <p:grpSp>
                <p:nvGrpSpPr>
                  <p:cNvPr id="304" name="Graphic 48">
                    <a:extLst>
                      <a:ext uri="{FF2B5EF4-FFF2-40B4-BE49-F238E27FC236}">
                        <a16:creationId xmlns:a16="http://schemas.microsoft.com/office/drawing/2014/main" id="{0B24A1DD-AB31-4773-BE42-BC14E261D651}"/>
                      </a:ext>
                    </a:extLst>
                  </p:cNvPr>
                  <p:cNvGrpSpPr/>
                  <p:nvPr/>
                </p:nvGrpSpPr>
                <p:grpSpPr>
                  <a:xfrm>
                    <a:off x="6537708" y="2925824"/>
                    <a:ext cx="102563" cy="101834"/>
                    <a:chOff x="6537708" y="2925824"/>
                    <a:chExt cx="102563" cy="101834"/>
                  </a:xfrm>
                  <a:solidFill>
                    <a:schemeClr val="accent1"/>
                  </a:solidFill>
                </p:grpSpPr>
                <p:sp>
                  <p:nvSpPr>
                    <p:cNvPr id="305" name="Freeform: Shape 304">
                      <a:extLst>
                        <a:ext uri="{FF2B5EF4-FFF2-40B4-BE49-F238E27FC236}">
                          <a16:creationId xmlns:a16="http://schemas.microsoft.com/office/drawing/2014/main" id="{C95402B1-952C-4D5B-8ED7-5AE95C749131}"/>
                        </a:ext>
                      </a:extLst>
                    </p:cNvPr>
                    <p:cNvSpPr/>
                    <p:nvPr/>
                  </p:nvSpPr>
                  <p:spPr>
                    <a:xfrm>
                      <a:off x="6537708" y="2925824"/>
                      <a:ext cx="79448" cy="78467"/>
                    </a:xfrm>
                    <a:custGeom>
                      <a:avLst/>
                      <a:gdLst>
                        <a:gd name="connsiteX0" fmla="*/ 38788 w 79448"/>
                        <a:gd name="connsiteY0" fmla="*/ 78468 h 78467"/>
                        <a:gd name="connsiteX1" fmla="*/ 7946 w 79448"/>
                        <a:gd name="connsiteY1" fmla="*/ 67174 h 78467"/>
                        <a:gd name="connsiteX2" fmla="*/ 7946 w 79448"/>
                        <a:gd name="connsiteY2" fmla="*/ 67174 h 78467"/>
                        <a:gd name="connsiteX3" fmla="*/ 16350 w 79448"/>
                        <a:gd name="connsiteY3" fmla="*/ 15647 h 78467"/>
                        <a:gd name="connsiteX4" fmla="*/ 39534 w 79448"/>
                        <a:gd name="connsiteY4" fmla="*/ 1315 h 78467"/>
                        <a:gd name="connsiteX5" fmla="*/ 68427 w 79448"/>
                        <a:gd name="connsiteY5" fmla="*/ 8183 h 78467"/>
                        <a:gd name="connsiteX6" fmla="*/ 79446 w 79448"/>
                        <a:gd name="connsiteY6" fmla="*/ 37616 h 78467"/>
                        <a:gd name="connsiteX7" fmla="*/ 68427 w 79448"/>
                        <a:gd name="connsiteY7" fmla="*/ 67736 h 78467"/>
                        <a:gd name="connsiteX8" fmla="*/ 38788 w 79448"/>
                        <a:gd name="connsiteY8" fmla="*/ 78468 h 78467"/>
                        <a:gd name="connsiteX9" fmla="*/ 24158 w 79448"/>
                        <a:gd name="connsiteY9" fmla="*/ 50961 h 78467"/>
                        <a:gd name="connsiteX10" fmla="*/ 52215 w 79448"/>
                        <a:gd name="connsiteY10" fmla="*/ 51523 h 78467"/>
                        <a:gd name="connsiteX11" fmla="*/ 56514 w 79448"/>
                        <a:gd name="connsiteY11" fmla="*/ 37833 h 78467"/>
                        <a:gd name="connsiteX12" fmla="*/ 52215 w 79448"/>
                        <a:gd name="connsiteY12" fmla="*/ 24396 h 78467"/>
                        <a:gd name="connsiteX13" fmla="*/ 45714 w 79448"/>
                        <a:gd name="connsiteY13" fmla="*/ 23398 h 78467"/>
                        <a:gd name="connsiteX14" fmla="*/ 32574 w 79448"/>
                        <a:gd name="connsiteY14" fmla="*/ 31860 h 78467"/>
                        <a:gd name="connsiteX15" fmla="*/ 24158 w 79448"/>
                        <a:gd name="connsiteY15" fmla="*/ 50961 h 78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448" h="78467">
                          <a:moveTo>
                            <a:pt x="38788" y="78468"/>
                          </a:moveTo>
                          <a:cubicBezTo>
                            <a:pt x="27174" y="78468"/>
                            <a:pt x="15479" y="74695"/>
                            <a:pt x="7946" y="67174"/>
                          </a:cubicBezTo>
                          <a:lnTo>
                            <a:pt x="7946" y="67174"/>
                          </a:lnTo>
                          <a:cubicBezTo>
                            <a:pt x="-5160" y="54069"/>
                            <a:pt x="-1846" y="33855"/>
                            <a:pt x="16350" y="15647"/>
                          </a:cubicBezTo>
                          <a:cubicBezTo>
                            <a:pt x="23379" y="8619"/>
                            <a:pt x="31611" y="3516"/>
                            <a:pt x="39534" y="1315"/>
                          </a:cubicBezTo>
                          <a:cubicBezTo>
                            <a:pt x="50656" y="-1792"/>
                            <a:pt x="60906" y="650"/>
                            <a:pt x="68427" y="8183"/>
                          </a:cubicBezTo>
                          <a:cubicBezTo>
                            <a:pt x="75329" y="15074"/>
                            <a:pt x="79342" y="25794"/>
                            <a:pt x="79446" y="37616"/>
                          </a:cubicBezTo>
                          <a:cubicBezTo>
                            <a:pt x="79560" y="49643"/>
                            <a:pt x="75547" y="60627"/>
                            <a:pt x="68427" y="67736"/>
                          </a:cubicBezTo>
                          <a:cubicBezTo>
                            <a:pt x="61261" y="74913"/>
                            <a:pt x="50071" y="78468"/>
                            <a:pt x="38788" y="78468"/>
                          </a:cubicBezTo>
                          <a:close/>
                          <a:moveTo>
                            <a:pt x="24158" y="50961"/>
                          </a:moveTo>
                          <a:cubicBezTo>
                            <a:pt x="29616" y="56396"/>
                            <a:pt x="46161" y="57577"/>
                            <a:pt x="52215" y="51523"/>
                          </a:cubicBezTo>
                          <a:cubicBezTo>
                            <a:pt x="54921" y="48817"/>
                            <a:pt x="56572" y="43566"/>
                            <a:pt x="56514" y="37833"/>
                          </a:cubicBezTo>
                          <a:cubicBezTo>
                            <a:pt x="56468" y="32238"/>
                            <a:pt x="54783" y="26964"/>
                            <a:pt x="52215" y="24396"/>
                          </a:cubicBezTo>
                          <a:cubicBezTo>
                            <a:pt x="51447" y="23627"/>
                            <a:pt x="50025" y="22217"/>
                            <a:pt x="45714" y="23398"/>
                          </a:cubicBezTo>
                          <a:cubicBezTo>
                            <a:pt x="41586" y="24556"/>
                            <a:pt x="36793" y="27640"/>
                            <a:pt x="32574" y="31860"/>
                          </a:cubicBezTo>
                          <a:cubicBezTo>
                            <a:pt x="27242" y="37180"/>
                            <a:pt x="20260" y="47063"/>
                            <a:pt x="24158" y="50961"/>
                          </a:cubicBezTo>
                          <a:close/>
                        </a:path>
                      </a:pathLst>
                    </a:custGeom>
                    <a:solidFill>
                      <a:schemeClr val="accent1"/>
                    </a:solidFill>
                    <a:ln w="1145" cap="flat">
                      <a:noFill/>
                      <a:prstDash val="solid"/>
                      <a:miter/>
                    </a:ln>
                  </p:spPr>
                  <p:txBody>
                    <a:bodyPr rtlCol="0" anchor="ctr"/>
                    <a:lstStyle/>
                    <a:p>
                      <a:endParaRPr lang="en-GB" dirty="0"/>
                    </a:p>
                  </p:txBody>
                </p:sp>
                <p:sp>
                  <p:nvSpPr>
                    <p:cNvPr id="306" name="Freeform: Shape 305">
                      <a:extLst>
                        <a:ext uri="{FF2B5EF4-FFF2-40B4-BE49-F238E27FC236}">
                          <a16:creationId xmlns:a16="http://schemas.microsoft.com/office/drawing/2014/main" id="{28F3A61E-BA8B-4AA3-92B4-3DBEA176C215}"/>
                        </a:ext>
                      </a:extLst>
                    </p:cNvPr>
                    <p:cNvSpPr/>
                    <p:nvPr/>
                  </p:nvSpPr>
                  <p:spPr>
                    <a:xfrm>
                      <a:off x="6586584" y="2973974"/>
                      <a:ext cx="53687" cy="53684"/>
                    </a:xfrm>
                    <a:custGeom>
                      <a:avLst/>
                      <a:gdLst>
                        <a:gd name="connsiteX0" fmla="*/ 42219 w 53687"/>
                        <a:gd name="connsiteY0" fmla="*/ 53685 h 53684"/>
                        <a:gd name="connsiteX1" fmla="*/ 34113 w 53687"/>
                        <a:gd name="connsiteY1" fmla="*/ 50326 h 53684"/>
                        <a:gd name="connsiteX2" fmla="*/ 3362 w 53687"/>
                        <a:gd name="connsiteY2" fmla="*/ 19575 h 53684"/>
                        <a:gd name="connsiteX3" fmla="*/ 3362 w 53687"/>
                        <a:gd name="connsiteY3" fmla="*/ 3362 h 53684"/>
                        <a:gd name="connsiteX4" fmla="*/ 19575 w 53687"/>
                        <a:gd name="connsiteY4" fmla="*/ 3362 h 53684"/>
                        <a:gd name="connsiteX5" fmla="*/ 50326 w 53687"/>
                        <a:gd name="connsiteY5" fmla="*/ 34113 h 53684"/>
                        <a:gd name="connsiteX6" fmla="*/ 50326 w 53687"/>
                        <a:gd name="connsiteY6" fmla="*/ 50326 h 53684"/>
                        <a:gd name="connsiteX7" fmla="*/ 42219 w 53687"/>
                        <a:gd name="connsiteY7" fmla="*/ 53685 h 53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7" h="53684">
                          <a:moveTo>
                            <a:pt x="42219" y="53685"/>
                          </a:moveTo>
                          <a:cubicBezTo>
                            <a:pt x="39284" y="53685"/>
                            <a:pt x="36349" y="52561"/>
                            <a:pt x="34113" y="50326"/>
                          </a:cubicBezTo>
                          <a:lnTo>
                            <a:pt x="3362" y="19575"/>
                          </a:lnTo>
                          <a:cubicBezTo>
                            <a:pt x="-1121" y="15092"/>
                            <a:pt x="-1121" y="7845"/>
                            <a:pt x="3362" y="3362"/>
                          </a:cubicBezTo>
                          <a:cubicBezTo>
                            <a:pt x="7845" y="-1121"/>
                            <a:pt x="15092" y="-1121"/>
                            <a:pt x="19575" y="3362"/>
                          </a:cubicBezTo>
                          <a:lnTo>
                            <a:pt x="50326" y="34113"/>
                          </a:lnTo>
                          <a:cubicBezTo>
                            <a:pt x="54809" y="38596"/>
                            <a:pt x="54809" y="45843"/>
                            <a:pt x="50326" y="50326"/>
                          </a:cubicBezTo>
                          <a:cubicBezTo>
                            <a:pt x="48079" y="52561"/>
                            <a:pt x="45155" y="53685"/>
                            <a:pt x="42219" y="53685"/>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284" name="Graphic 48">
                  <a:extLst>
                    <a:ext uri="{FF2B5EF4-FFF2-40B4-BE49-F238E27FC236}">
                      <a16:creationId xmlns:a16="http://schemas.microsoft.com/office/drawing/2014/main" id="{1F4E02DB-0823-44BA-BEAE-1CC3923C5E76}"/>
                    </a:ext>
                  </a:extLst>
                </p:cNvPr>
                <p:cNvGrpSpPr/>
                <p:nvPr/>
              </p:nvGrpSpPr>
              <p:grpSpPr>
                <a:xfrm>
                  <a:off x="6537705" y="3200065"/>
                  <a:ext cx="377487" cy="157609"/>
                  <a:chOff x="6537705" y="3200065"/>
                  <a:chExt cx="377487" cy="157609"/>
                </a:xfrm>
                <a:solidFill>
                  <a:schemeClr val="accent1"/>
                </a:solidFill>
              </p:grpSpPr>
              <p:grpSp>
                <p:nvGrpSpPr>
                  <p:cNvPr id="293" name="Graphic 48">
                    <a:extLst>
                      <a:ext uri="{FF2B5EF4-FFF2-40B4-BE49-F238E27FC236}">
                        <a16:creationId xmlns:a16="http://schemas.microsoft.com/office/drawing/2014/main" id="{D8740993-A404-4ECB-9E2D-36483CABD4DE}"/>
                      </a:ext>
                    </a:extLst>
                  </p:cNvPr>
                  <p:cNvGrpSpPr/>
                  <p:nvPr/>
                </p:nvGrpSpPr>
                <p:grpSpPr>
                  <a:xfrm>
                    <a:off x="6684239" y="3240531"/>
                    <a:ext cx="84490" cy="117144"/>
                    <a:chOff x="6684239" y="3240531"/>
                    <a:chExt cx="84490" cy="117144"/>
                  </a:xfrm>
                  <a:solidFill>
                    <a:schemeClr val="accent1"/>
                  </a:solidFill>
                </p:grpSpPr>
                <p:sp>
                  <p:nvSpPr>
                    <p:cNvPr id="300" name="Freeform: Shape 299">
                      <a:extLst>
                        <a:ext uri="{FF2B5EF4-FFF2-40B4-BE49-F238E27FC236}">
                          <a16:creationId xmlns:a16="http://schemas.microsoft.com/office/drawing/2014/main" id="{7EB9CFBD-C68E-4D81-86BC-A5B2A67816B0}"/>
                        </a:ext>
                      </a:extLst>
                    </p:cNvPr>
                    <p:cNvSpPr/>
                    <p:nvPr/>
                  </p:nvSpPr>
                  <p:spPr>
                    <a:xfrm>
                      <a:off x="6684239" y="3284008"/>
                      <a:ext cx="84490" cy="73666"/>
                    </a:xfrm>
                    <a:custGeom>
                      <a:avLst/>
                      <a:gdLst>
                        <a:gd name="connsiteX0" fmla="*/ 42113 w 84490"/>
                        <a:gd name="connsiteY0" fmla="*/ 73667 h 73666"/>
                        <a:gd name="connsiteX1" fmla="*/ 0 w 84490"/>
                        <a:gd name="connsiteY1" fmla="*/ 42125 h 73666"/>
                        <a:gd name="connsiteX2" fmla="*/ 42113 w 84490"/>
                        <a:gd name="connsiteY2" fmla="*/ 0 h 73666"/>
                        <a:gd name="connsiteX3" fmla="*/ 84490 w 84490"/>
                        <a:gd name="connsiteY3" fmla="*/ 43180 h 73666"/>
                        <a:gd name="connsiteX4" fmla="*/ 42113 w 84490"/>
                        <a:gd name="connsiteY4" fmla="*/ 73667 h 73666"/>
                        <a:gd name="connsiteX5" fmla="*/ 42113 w 84490"/>
                        <a:gd name="connsiteY5" fmla="*/ 22931 h 73666"/>
                        <a:gd name="connsiteX6" fmla="*/ 22931 w 84490"/>
                        <a:gd name="connsiteY6" fmla="*/ 42125 h 73666"/>
                        <a:gd name="connsiteX7" fmla="*/ 42113 w 84490"/>
                        <a:gd name="connsiteY7" fmla="*/ 50736 h 73666"/>
                        <a:gd name="connsiteX8" fmla="*/ 61559 w 84490"/>
                        <a:gd name="connsiteY8" fmla="*/ 43180 h 73666"/>
                        <a:gd name="connsiteX9" fmla="*/ 42113 w 84490"/>
                        <a:gd name="connsiteY9" fmla="*/ 22931 h 73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490" h="73666">
                          <a:moveTo>
                            <a:pt x="42113" y="73667"/>
                          </a:moveTo>
                          <a:cubicBezTo>
                            <a:pt x="17324" y="73667"/>
                            <a:pt x="0" y="60699"/>
                            <a:pt x="0" y="42125"/>
                          </a:cubicBezTo>
                          <a:cubicBezTo>
                            <a:pt x="0" y="21269"/>
                            <a:pt x="21257" y="0"/>
                            <a:pt x="42113" y="0"/>
                          </a:cubicBezTo>
                          <a:cubicBezTo>
                            <a:pt x="62706" y="0"/>
                            <a:pt x="84490" y="22198"/>
                            <a:pt x="84490" y="43180"/>
                          </a:cubicBezTo>
                          <a:cubicBezTo>
                            <a:pt x="84490" y="61697"/>
                            <a:pt x="67854" y="73667"/>
                            <a:pt x="42113" y="73667"/>
                          </a:cubicBezTo>
                          <a:close/>
                          <a:moveTo>
                            <a:pt x="42113" y="22931"/>
                          </a:moveTo>
                          <a:cubicBezTo>
                            <a:pt x="33399" y="22931"/>
                            <a:pt x="22931" y="34718"/>
                            <a:pt x="22931" y="42125"/>
                          </a:cubicBezTo>
                          <a:cubicBezTo>
                            <a:pt x="22931" y="48064"/>
                            <a:pt x="34156" y="50736"/>
                            <a:pt x="42113" y="50736"/>
                          </a:cubicBezTo>
                          <a:cubicBezTo>
                            <a:pt x="49635" y="50736"/>
                            <a:pt x="61559" y="48683"/>
                            <a:pt x="61559" y="43180"/>
                          </a:cubicBezTo>
                          <a:cubicBezTo>
                            <a:pt x="61559" y="35486"/>
                            <a:pt x="50701" y="22931"/>
                            <a:pt x="42113" y="22931"/>
                          </a:cubicBezTo>
                          <a:close/>
                        </a:path>
                      </a:pathLst>
                    </a:custGeom>
                    <a:solidFill>
                      <a:schemeClr val="accent1"/>
                    </a:solidFill>
                    <a:ln w="1145" cap="flat">
                      <a:noFill/>
                      <a:prstDash val="solid"/>
                      <a:miter/>
                    </a:ln>
                  </p:spPr>
                  <p:txBody>
                    <a:bodyPr rtlCol="0" anchor="ctr"/>
                    <a:lstStyle/>
                    <a:p>
                      <a:endParaRPr lang="en-GB" dirty="0"/>
                    </a:p>
                  </p:txBody>
                </p:sp>
                <p:sp>
                  <p:nvSpPr>
                    <p:cNvPr id="301" name="Freeform: Shape 300">
                      <a:extLst>
                        <a:ext uri="{FF2B5EF4-FFF2-40B4-BE49-F238E27FC236}">
                          <a16:creationId xmlns:a16="http://schemas.microsoft.com/office/drawing/2014/main" id="{365FFEB9-209F-41F0-A431-1FA4FB6ECB91}"/>
                        </a:ext>
                      </a:extLst>
                    </p:cNvPr>
                    <p:cNvSpPr/>
                    <p:nvPr/>
                  </p:nvSpPr>
                  <p:spPr>
                    <a:xfrm>
                      <a:off x="6714864" y="3240531"/>
                      <a:ext cx="22931" cy="66409"/>
                    </a:xfrm>
                    <a:custGeom>
                      <a:avLst/>
                      <a:gdLst>
                        <a:gd name="connsiteX0" fmla="*/ 11466 w 22931"/>
                        <a:gd name="connsiteY0" fmla="*/ 66409 h 66409"/>
                        <a:gd name="connsiteX1" fmla="*/ 0 w 22931"/>
                        <a:gd name="connsiteY1" fmla="*/ 54943 h 66409"/>
                        <a:gd name="connsiteX2" fmla="*/ 0 w 22931"/>
                        <a:gd name="connsiteY2" fmla="*/ 11466 h 66409"/>
                        <a:gd name="connsiteX3" fmla="*/ 11466 w 22931"/>
                        <a:gd name="connsiteY3" fmla="*/ 0 h 66409"/>
                        <a:gd name="connsiteX4" fmla="*/ 22931 w 22931"/>
                        <a:gd name="connsiteY4" fmla="*/ 11466 h 66409"/>
                        <a:gd name="connsiteX5" fmla="*/ 22931 w 22931"/>
                        <a:gd name="connsiteY5" fmla="*/ 54943 h 66409"/>
                        <a:gd name="connsiteX6" fmla="*/ 11466 w 22931"/>
                        <a:gd name="connsiteY6" fmla="*/ 66409 h 66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66409">
                          <a:moveTo>
                            <a:pt x="11466" y="66409"/>
                          </a:moveTo>
                          <a:cubicBezTo>
                            <a:pt x="5125" y="66409"/>
                            <a:pt x="0" y="61284"/>
                            <a:pt x="0" y="54943"/>
                          </a:cubicBezTo>
                          <a:lnTo>
                            <a:pt x="0" y="11466"/>
                          </a:lnTo>
                          <a:cubicBezTo>
                            <a:pt x="0" y="5125"/>
                            <a:pt x="5125" y="0"/>
                            <a:pt x="11466" y="0"/>
                          </a:cubicBezTo>
                          <a:cubicBezTo>
                            <a:pt x="17807" y="0"/>
                            <a:pt x="22931" y="5125"/>
                            <a:pt x="22931" y="11466"/>
                          </a:cubicBezTo>
                          <a:lnTo>
                            <a:pt x="22931" y="54943"/>
                          </a:lnTo>
                          <a:cubicBezTo>
                            <a:pt x="22931" y="61284"/>
                            <a:pt x="17795" y="66409"/>
                            <a:pt x="11466" y="66409"/>
                          </a:cubicBezTo>
                          <a:close/>
                        </a:path>
                      </a:pathLst>
                    </a:custGeom>
                    <a:solidFill>
                      <a:schemeClr val="accent1"/>
                    </a:solidFill>
                    <a:ln w="1145" cap="flat">
                      <a:noFill/>
                      <a:prstDash val="solid"/>
                      <a:miter/>
                    </a:ln>
                  </p:spPr>
                  <p:txBody>
                    <a:bodyPr rtlCol="0" anchor="ctr"/>
                    <a:lstStyle/>
                    <a:p>
                      <a:endParaRPr lang="en-GB" dirty="0"/>
                    </a:p>
                  </p:txBody>
                </p:sp>
              </p:grpSp>
              <p:grpSp>
                <p:nvGrpSpPr>
                  <p:cNvPr id="294" name="Graphic 48">
                    <a:extLst>
                      <a:ext uri="{FF2B5EF4-FFF2-40B4-BE49-F238E27FC236}">
                        <a16:creationId xmlns:a16="http://schemas.microsoft.com/office/drawing/2014/main" id="{8119112C-CFAB-418E-A847-4BBD603F5B1E}"/>
                      </a:ext>
                    </a:extLst>
                  </p:cNvPr>
                  <p:cNvGrpSpPr/>
                  <p:nvPr/>
                </p:nvGrpSpPr>
                <p:grpSpPr>
                  <a:xfrm>
                    <a:off x="6812641" y="3200065"/>
                    <a:ext cx="102551" cy="101829"/>
                    <a:chOff x="6812641" y="3200065"/>
                    <a:chExt cx="102551" cy="101829"/>
                  </a:xfrm>
                  <a:solidFill>
                    <a:schemeClr val="accent1"/>
                  </a:solidFill>
                </p:grpSpPr>
                <p:sp>
                  <p:nvSpPr>
                    <p:cNvPr id="298" name="Freeform: Shape 297">
                      <a:extLst>
                        <a:ext uri="{FF2B5EF4-FFF2-40B4-BE49-F238E27FC236}">
                          <a16:creationId xmlns:a16="http://schemas.microsoft.com/office/drawing/2014/main" id="{9C7F66CC-EE2B-4902-B27C-E659853BDB93}"/>
                        </a:ext>
                      </a:extLst>
                    </p:cNvPr>
                    <p:cNvSpPr/>
                    <p:nvPr/>
                  </p:nvSpPr>
                  <p:spPr>
                    <a:xfrm>
                      <a:off x="6835745" y="3223413"/>
                      <a:ext cx="79448" cy="78481"/>
                    </a:xfrm>
                    <a:custGeom>
                      <a:avLst/>
                      <a:gdLst>
                        <a:gd name="connsiteX0" fmla="*/ 30719 w 79448"/>
                        <a:gd name="connsiteY0" fmla="*/ 78482 h 78481"/>
                        <a:gd name="connsiteX1" fmla="*/ 11021 w 79448"/>
                        <a:gd name="connsiteY1" fmla="*/ 70307 h 78481"/>
                        <a:gd name="connsiteX2" fmla="*/ 2 w 79448"/>
                        <a:gd name="connsiteY2" fmla="*/ 40875 h 78481"/>
                        <a:gd name="connsiteX3" fmla="*/ 11021 w 79448"/>
                        <a:gd name="connsiteY3" fmla="*/ 10754 h 78481"/>
                        <a:gd name="connsiteX4" fmla="*/ 71502 w 79448"/>
                        <a:gd name="connsiteY4" fmla="*/ 11316 h 78481"/>
                        <a:gd name="connsiteX5" fmla="*/ 63098 w 79448"/>
                        <a:gd name="connsiteY5" fmla="*/ 62843 h 78481"/>
                        <a:gd name="connsiteX6" fmla="*/ 39914 w 79448"/>
                        <a:gd name="connsiteY6" fmla="*/ 77175 h 78481"/>
                        <a:gd name="connsiteX7" fmla="*/ 30719 w 79448"/>
                        <a:gd name="connsiteY7" fmla="*/ 78482 h 78481"/>
                        <a:gd name="connsiteX8" fmla="*/ 40247 w 79448"/>
                        <a:gd name="connsiteY8" fmla="*/ 22919 h 78481"/>
                        <a:gd name="connsiteX9" fmla="*/ 27233 w 79448"/>
                        <a:gd name="connsiteY9" fmla="*/ 26978 h 78481"/>
                        <a:gd name="connsiteX10" fmla="*/ 22934 w 79448"/>
                        <a:gd name="connsiteY10" fmla="*/ 40668 h 78481"/>
                        <a:gd name="connsiteX11" fmla="*/ 27233 w 79448"/>
                        <a:gd name="connsiteY11" fmla="*/ 54106 h 78481"/>
                        <a:gd name="connsiteX12" fmla="*/ 33734 w 79448"/>
                        <a:gd name="connsiteY12" fmla="*/ 55103 h 78481"/>
                        <a:gd name="connsiteX13" fmla="*/ 46874 w 79448"/>
                        <a:gd name="connsiteY13" fmla="*/ 46642 h 78481"/>
                        <a:gd name="connsiteX14" fmla="*/ 55278 w 79448"/>
                        <a:gd name="connsiteY14" fmla="*/ 27540 h 78481"/>
                        <a:gd name="connsiteX15" fmla="*/ 40247 w 79448"/>
                        <a:gd name="connsiteY15" fmla="*/ 22919 h 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448" h="78481">
                          <a:moveTo>
                            <a:pt x="30719" y="78482"/>
                          </a:moveTo>
                          <a:cubicBezTo>
                            <a:pt x="23209" y="78482"/>
                            <a:pt x="16410" y="75707"/>
                            <a:pt x="11021" y="70307"/>
                          </a:cubicBezTo>
                          <a:cubicBezTo>
                            <a:pt x="4118" y="63416"/>
                            <a:pt x="105" y="52696"/>
                            <a:pt x="2" y="40875"/>
                          </a:cubicBezTo>
                          <a:cubicBezTo>
                            <a:pt x="-112" y="28847"/>
                            <a:pt x="3901" y="17863"/>
                            <a:pt x="11021" y="10754"/>
                          </a:cubicBezTo>
                          <a:cubicBezTo>
                            <a:pt x="25582" y="-3819"/>
                            <a:pt x="56666" y="-3532"/>
                            <a:pt x="71502" y="11316"/>
                          </a:cubicBezTo>
                          <a:cubicBezTo>
                            <a:pt x="84608" y="24421"/>
                            <a:pt x="81294" y="44635"/>
                            <a:pt x="63098" y="62843"/>
                          </a:cubicBezTo>
                          <a:cubicBezTo>
                            <a:pt x="56069" y="69871"/>
                            <a:pt x="47837" y="74973"/>
                            <a:pt x="39914" y="77175"/>
                          </a:cubicBezTo>
                          <a:cubicBezTo>
                            <a:pt x="36773" y="78058"/>
                            <a:pt x="33688" y="78482"/>
                            <a:pt x="30719" y="78482"/>
                          </a:cubicBezTo>
                          <a:close/>
                          <a:moveTo>
                            <a:pt x="40247" y="22919"/>
                          </a:moveTo>
                          <a:cubicBezTo>
                            <a:pt x="35087" y="22919"/>
                            <a:pt x="30042" y="24169"/>
                            <a:pt x="27233" y="26978"/>
                          </a:cubicBezTo>
                          <a:cubicBezTo>
                            <a:pt x="24527" y="29684"/>
                            <a:pt x="22876" y="34935"/>
                            <a:pt x="22934" y="40668"/>
                          </a:cubicBezTo>
                          <a:cubicBezTo>
                            <a:pt x="22980" y="46263"/>
                            <a:pt x="24665" y="51538"/>
                            <a:pt x="27233" y="54106"/>
                          </a:cubicBezTo>
                          <a:cubicBezTo>
                            <a:pt x="28001" y="54874"/>
                            <a:pt x="29423" y="56284"/>
                            <a:pt x="33734" y="55103"/>
                          </a:cubicBezTo>
                          <a:cubicBezTo>
                            <a:pt x="37862" y="53945"/>
                            <a:pt x="42654" y="50861"/>
                            <a:pt x="46874" y="46642"/>
                          </a:cubicBezTo>
                          <a:cubicBezTo>
                            <a:pt x="52194" y="41322"/>
                            <a:pt x="59177" y="31438"/>
                            <a:pt x="55278" y="27540"/>
                          </a:cubicBezTo>
                          <a:cubicBezTo>
                            <a:pt x="52377" y="24605"/>
                            <a:pt x="46244" y="22919"/>
                            <a:pt x="40247" y="22919"/>
                          </a:cubicBezTo>
                          <a:close/>
                        </a:path>
                      </a:pathLst>
                    </a:custGeom>
                    <a:solidFill>
                      <a:schemeClr val="accent1"/>
                    </a:solidFill>
                    <a:ln w="1145" cap="flat">
                      <a:noFill/>
                      <a:prstDash val="solid"/>
                      <a:miter/>
                    </a:ln>
                  </p:spPr>
                  <p:txBody>
                    <a:bodyPr rtlCol="0" anchor="ctr"/>
                    <a:lstStyle/>
                    <a:p>
                      <a:endParaRPr lang="en-GB" dirty="0"/>
                    </a:p>
                  </p:txBody>
                </p:sp>
                <p:sp>
                  <p:nvSpPr>
                    <p:cNvPr id="299" name="Freeform: Shape 298">
                      <a:extLst>
                        <a:ext uri="{FF2B5EF4-FFF2-40B4-BE49-F238E27FC236}">
                          <a16:creationId xmlns:a16="http://schemas.microsoft.com/office/drawing/2014/main" id="{3D7D0029-EEF9-4A19-8BE8-3590CAC01110}"/>
                        </a:ext>
                      </a:extLst>
                    </p:cNvPr>
                    <p:cNvSpPr/>
                    <p:nvPr/>
                  </p:nvSpPr>
                  <p:spPr>
                    <a:xfrm>
                      <a:off x="6812641" y="3200065"/>
                      <a:ext cx="53687" cy="53685"/>
                    </a:xfrm>
                    <a:custGeom>
                      <a:avLst/>
                      <a:gdLst>
                        <a:gd name="connsiteX0" fmla="*/ 42219 w 53687"/>
                        <a:gd name="connsiteY0" fmla="*/ 53685 h 53685"/>
                        <a:gd name="connsiteX1" fmla="*/ 34113 w 53687"/>
                        <a:gd name="connsiteY1" fmla="*/ 50326 h 53685"/>
                        <a:gd name="connsiteX2" fmla="*/ 3362 w 53687"/>
                        <a:gd name="connsiteY2" fmla="*/ 19575 h 53685"/>
                        <a:gd name="connsiteX3" fmla="*/ 3362 w 53687"/>
                        <a:gd name="connsiteY3" fmla="*/ 3362 h 53685"/>
                        <a:gd name="connsiteX4" fmla="*/ 19575 w 53687"/>
                        <a:gd name="connsiteY4" fmla="*/ 3362 h 53685"/>
                        <a:gd name="connsiteX5" fmla="*/ 50325 w 53687"/>
                        <a:gd name="connsiteY5" fmla="*/ 34113 h 53685"/>
                        <a:gd name="connsiteX6" fmla="*/ 50325 w 53687"/>
                        <a:gd name="connsiteY6" fmla="*/ 50326 h 53685"/>
                        <a:gd name="connsiteX7" fmla="*/ 42219 w 53687"/>
                        <a:gd name="connsiteY7" fmla="*/ 53685 h 5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7" h="53685">
                          <a:moveTo>
                            <a:pt x="42219" y="53685"/>
                          </a:moveTo>
                          <a:cubicBezTo>
                            <a:pt x="39284" y="53685"/>
                            <a:pt x="36349" y="52562"/>
                            <a:pt x="34113" y="50326"/>
                          </a:cubicBezTo>
                          <a:lnTo>
                            <a:pt x="3362" y="19575"/>
                          </a:lnTo>
                          <a:cubicBezTo>
                            <a:pt x="-1121" y="15092"/>
                            <a:pt x="-1121" y="7845"/>
                            <a:pt x="3362" y="3362"/>
                          </a:cubicBezTo>
                          <a:cubicBezTo>
                            <a:pt x="7845" y="-1121"/>
                            <a:pt x="15091" y="-1121"/>
                            <a:pt x="19575" y="3362"/>
                          </a:cubicBezTo>
                          <a:lnTo>
                            <a:pt x="50325" y="34113"/>
                          </a:lnTo>
                          <a:cubicBezTo>
                            <a:pt x="54809" y="38596"/>
                            <a:pt x="54809" y="45843"/>
                            <a:pt x="50325" y="50326"/>
                          </a:cubicBezTo>
                          <a:cubicBezTo>
                            <a:pt x="48090" y="52573"/>
                            <a:pt x="45155" y="53685"/>
                            <a:pt x="42219" y="53685"/>
                          </a:cubicBezTo>
                          <a:close/>
                        </a:path>
                      </a:pathLst>
                    </a:custGeom>
                    <a:solidFill>
                      <a:schemeClr val="accent1"/>
                    </a:solidFill>
                    <a:ln w="1145" cap="flat">
                      <a:noFill/>
                      <a:prstDash val="solid"/>
                      <a:miter/>
                    </a:ln>
                  </p:spPr>
                  <p:txBody>
                    <a:bodyPr rtlCol="0" anchor="ctr"/>
                    <a:lstStyle/>
                    <a:p>
                      <a:endParaRPr lang="en-GB" dirty="0"/>
                    </a:p>
                  </p:txBody>
                </p:sp>
              </p:grpSp>
              <p:grpSp>
                <p:nvGrpSpPr>
                  <p:cNvPr id="295" name="Graphic 48">
                    <a:extLst>
                      <a:ext uri="{FF2B5EF4-FFF2-40B4-BE49-F238E27FC236}">
                        <a16:creationId xmlns:a16="http://schemas.microsoft.com/office/drawing/2014/main" id="{2FFE703D-9B9D-451B-8C2C-41A3270CDD61}"/>
                      </a:ext>
                    </a:extLst>
                  </p:cNvPr>
                  <p:cNvGrpSpPr/>
                  <p:nvPr/>
                </p:nvGrpSpPr>
                <p:grpSpPr>
                  <a:xfrm>
                    <a:off x="6537705" y="3200398"/>
                    <a:ext cx="102566" cy="101829"/>
                    <a:chOff x="6537705" y="3200398"/>
                    <a:chExt cx="102566" cy="101829"/>
                  </a:xfrm>
                  <a:solidFill>
                    <a:schemeClr val="accent1"/>
                  </a:solidFill>
                </p:grpSpPr>
                <p:sp>
                  <p:nvSpPr>
                    <p:cNvPr id="296" name="Freeform: Shape 295">
                      <a:extLst>
                        <a:ext uri="{FF2B5EF4-FFF2-40B4-BE49-F238E27FC236}">
                          <a16:creationId xmlns:a16="http://schemas.microsoft.com/office/drawing/2014/main" id="{0BB65FBB-7784-461B-A03A-35A82F21EE3E}"/>
                        </a:ext>
                      </a:extLst>
                    </p:cNvPr>
                    <p:cNvSpPr/>
                    <p:nvPr/>
                  </p:nvSpPr>
                  <p:spPr>
                    <a:xfrm>
                      <a:off x="6537705" y="3223763"/>
                      <a:ext cx="79451" cy="78464"/>
                    </a:xfrm>
                    <a:custGeom>
                      <a:avLst/>
                      <a:gdLst>
                        <a:gd name="connsiteX0" fmla="*/ 48733 w 79451"/>
                        <a:gd name="connsiteY0" fmla="*/ 78465 h 78464"/>
                        <a:gd name="connsiteX1" fmla="*/ 39537 w 79451"/>
                        <a:gd name="connsiteY1" fmla="*/ 77158 h 78464"/>
                        <a:gd name="connsiteX2" fmla="*/ 16353 w 79451"/>
                        <a:gd name="connsiteY2" fmla="*/ 62826 h 78464"/>
                        <a:gd name="connsiteX3" fmla="*/ 7949 w 79451"/>
                        <a:gd name="connsiteY3" fmla="*/ 11299 h 78464"/>
                        <a:gd name="connsiteX4" fmla="*/ 7949 w 79451"/>
                        <a:gd name="connsiteY4" fmla="*/ 11299 h 78464"/>
                        <a:gd name="connsiteX5" fmla="*/ 68430 w 79451"/>
                        <a:gd name="connsiteY5" fmla="*/ 10737 h 78464"/>
                        <a:gd name="connsiteX6" fmla="*/ 79449 w 79451"/>
                        <a:gd name="connsiteY6" fmla="*/ 40857 h 78464"/>
                        <a:gd name="connsiteX7" fmla="*/ 68430 w 79451"/>
                        <a:gd name="connsiteY7" fmla="*/ 70290 h 78464"/>
                        <a:gd name="connsiteX8" fmla="*/ 48733 w 79451"/>
                        <a:gd name="connsiteY8" fmla="*/ 78465 h 78464"/>
                        <a:gd name="connsiteX9" fmla="*/ 24162 w 79451"/>
                        <a:gd name="connsiteY9" fmla="*/ 27500 h 78464"/>
                        <a:gd name="connsiteX10" fmla="*/ 32566 w 79451"/>
                        <a:gd name="connsiteY10" fmla="*/ 46602 h 78464"/>
                        <a:gd name="connsiteX11" fmla="*/ 45706 w 79451"/>
                        <a:gd name="connsiteY11" fmla="*/ 55063 h 78464"/>
                        <a:gd name="connsiteX12" fmla="*/ 52207 w 79451"/>
                        <a:gd name="connsiteY12" fmla="*/ 54066 h 78464"/>
                        <a:gd name="connsiteX13" fmla="*/ 56506 w 79451"/>
                        <a:gd name="connsiteY13" fmla="*/ 40628 h 78464"/>
                        <a:gd name="connsiteX14" fmla="*/ 52207 w 79451"/>
                        <a:gd name="connsiteY14" fmla="*/ 26938 h 78464"/>
                        <a:gd name="connsiteX15" fmla="*/ 24162 w 79451"/>
                        <a:gd name="connsiteY15" fmla="*/ 27500 h 78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9451" h="78464">
                          <a:moveTo>
                            <a:pt x="48733" y="78465"/>
                          </a:moveTo>
                          <a:cubicBezTo>
                            <a:pt x="45763" y="78465"/>
                            <a:pt x="42690" y="78041"/>
                            <a:pt x="39537" y="77158"/>
                          </a:cubicBezTo>
                          <a:cubicBezTo>
                            <a:pt x="31614" y="74956"/>
                            <a:pt x="23382" y="69854"/>
                            <a:pt x="16353" y="62826"/>
                          </a:cubicBezTo>
                          <a:cubicBezTo>
                            <a:pt x="-1854" y="44618"/>
                            <a:pt x="-5156" y="24393"/>
                            <a:pt x="7949" y="11299"/>
                          </a:cubicBezTo>
                          <a:lnTo>
                            <a:pt x="7949" y="11299"/>
                          </a:lnTo>
                          <a:cubicBezTo>
                            <a:pt x="22786" y="-3515"/>
                            <a:pt x="53881" y="-3824"/>
                            <a:pt x="68430" y="10737"/>
                          </a:cubicBezTo>
                          <a:cubicBezTo>
                            <a:pt x="75551" y="17846"/>
                            <a:pt x="79564" y="28830"/>
                            <a:pt x="79449" y="40857"/>
                          </a:cubicBezTo>
                          <a:cubicBezTo>
                            <a:pt x="79346" y="52679"/>
                            <a:pt x="75333" y="63410"/>
                            <a:pt x="68430" y="70290"/>
                          </a:cubicBezTo>
                          <a:cubicBezTo>
                            <a:pt x="63042" y="75690"/>
                            <a:pt x="56254" y="78465"/>
                            <a:pt x="48733" y="78465"/>
                          </a:cubicBezTo>
                          <a:close/>
                          <a:moveTo>
                            <a:pt x="24162" y="27500"/>
                          </a:moveTo>
                          <a:cubicBezTo>
                            <a:pt x="20263" y="31398"/>
                            <a:pt x="27257" y="41282"/>
                            <a:pt x="32566" y="46602"/>
                          </a:cubicBezTo>
                          <a:cubicBezTo>
                            <a:pt x="36785" y="50821"/>
                            <a:pt x="41578" y="53917"/>
                            <a:pt x="45706" y="55063"/>
                          </a:cubicBezTo>
                          <a:cubicBezTo>
                            <a:pt x="49959" y="56233"/>
                            <a:pt x="51439" y="54834"/>
                            <a:pt x="52207" y="54066"/>
                          </a:cubicBezTo>
                          <a:cubicBezTo>
                            <a:pt x="54775" y="51498"/>
                            <a:pt x="56460" y="46223"/>
                            <a:pt x="56506" y="40628"/>
                          </a:cubicBezTo>
                          <a:cubicBezTo>
                            <a:pt x="56564" y="34895"/>
                            <a:pt x="54913" y="29644"/>
                            <a:pt x="52207" y="26938"/>
                          </a:cubicBezTo>
                          <a:cubicBezTo>
                            <a:pt x="46164" y="20884"/>
                            <a:pt x="29596" y="22077"/>
                            <a:pt x="24162" y="27500"/>
                          </a:cubicBezTo>
                          <a:close/>
                        </a:path>
                      </a:pathLst>
                    </a:custGeom>
                    <a:solidFill>
                      <a:schemeClr val="accent1"/>
                    </a:solidFill>
                    <a:ln w="1145" cap="flat">
                      <a:noFill/>
                      <a:prstDash val="solid"/>
                      <a:miter/>
                    </a:ln>
                  </p:spPr>
                  <p:txBody>
                    <a:bodyPr rtlCol="0" anchor="ctr"/>
                    <a:lstStyle/>
                    <a:p>
                      <a:endParaRPr lang="en-GB" dirty="0"/>
                    </a:p>
                  </p:txBody>
                </p:sp>
                <p:sp>
                  <p:nvSpPr>
                    <p:cNvPr id="297" name="Freeform: Shape 296">
                      <a:extLst>
                        <a:ext uri="{FF2B5EF4-FFF2-40B4-BE49-F238E27FC236}">
                          <a16:creationId xmlns:a16="http://schemas.microsoft.com/office/drawing/2014/main" id="{1363D246-5151-4CF3-AFC2-BBC5AB1A0AEB}"/>
                        </a:ext>
                      </a:extLst>
                    </p:cNvPr>
                    <p:cNvSpPr/>
                    <p:nvPr/>
                  </p:nvSpPr>
                  <p:spPr>
                    <a:xfrm>
                      <a:off x="6586584" y="3200398"/>
                      <a:ext cx="53687" cy="53685"/>
                    </a:xfrm>
                    <a:custGeom>
                      <a:avLst/>
                      <a:gdLst>
                        <a:gd name="connsiteX0" fmla="*/ 11469 w 53687"/>
                        <a:gd name="connsiteY0" fmla="*/ 53685 h 53685"/>
                        <a:gd name="connsiteX1" fmla="*/ 3362 w 53687"/>
                        <a:gd name="connsiteY1" fmla="*/ 50326 h 53685"/>
                        <a:gd name="connsiteX2" fmla="*/ 3362 w 53687"/>
                        <a:gd name="connsiteY2" fmla="*/ 34113 h 53685"/>
                        <a:gd name="connsiteX3" fmla="*/ 34113 w 53687"/>
                        <a:gd name="connsiteY3" fmla="*/ 3362 h 53685"/>
                        <a:gd name="connsiteX4" fmla="*/ 50326 w 53687"/>
                        <a:gd name="connsiteY4" fmla="*/ 3362 h 53685"/>
                        <a:gd name="connsiteX5" fmla="*/ 50326 w 53687"/>
                        <a:gd name="connsiteY5" fmla="*/ 19575 h 53685"/>
                        <a:gd name="connsiteX6" fmla="*/ 19575 w 53687"/>
                        <a:gd name="connsiteY6" fmla="*/ 50326 h 53685"/>
                        <a:gd name="connsiteX7" fmla="*/ 11469 w 53687"/>
                        <a:gd name="connsiteY7" fmla="*/ 53685 h 53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87" h="53685">
                          <a:moveTo>
                            <a:pt x="11469" y="53685"/>
                          </a:moveTo>
                          <a:cubicBezTo>
                            <a:pt x="8533" y="53685"/>
                            <a:pt x="5598" y="52561"/>
                            <a:pt x="3362" y="50326"/>
                          </a:cubicBezTo>
                          <a:cubicBezTo>
                            <a:pt x="-1121" y="45843"/>
                            <a:pt x="-1121" y="38596"/>
                            <a:pt x="3362" y="34113"/>
                          </a:cubicBezTo>
                          <a:lnTo>
                            <a:pt x="34113" y="3362"/>
                          </a:lnTo>
                          <a:cubicBezTo>
                            <a:pt x="38597" y="-1121"/>
                            <a:pt x="45843" y="-1121"/>
                            <a:pt x="50326" y="3362"/>
                          </a:cubicBezTo>
                          <a:cubicBezTo>
                            <a:pt x="54809" y="7845"/>
                            <a:pt x="54809" y="15092"/>
                            <a:pt x="50326" y="19575"/>
                          </a:cubicBezTo>
                          <a:lnTo>
                            <a:pt x="19575" y="50326"/>
                          </a:lnTo>
                          <a:cubicBezTo>
                            <a:pt x="17339" y="52561"/>
                            <a:pt x="14404" y="53685"/>
                            <a:pt x="11469" y="53685"/>
                          </a:cubicBezTo>
                          <a:close/>
                        </a:path>
                      </a:pathLst>
                    </a:custGeom>
                    <a:solidFill>
                      <a:schemeClr val="accent1"/>
                    </a:solidFill>
                    <a:ln w="1145" cap="flat">
                      <a:noFill/>
                      <a:prstDash val="solid"/>
                      <a:miter/>
                    </a:ln>
                  </p:spPr>
                  <p:txBody>
                    <a:bodyPr rtlCol="0" anchor="ctr"/>
                    <a:lstStyle/>
                    <a:p>
                      <a:endParaRPr lang="en-GB" dirty="0"/>
                    </a:p>
                  </p:txBody>
                </p:sp>
              </p:grpSp>
            </p:grpSp>
            <p:sp>
              <p:nvSpPr>
                <p:cNvPr id="285" name="Freeform: Shape 284">
                  <a:extLst>
                    <a:ext uri="{FF2B5EF4-FFF2-40B4-BE49-F238E27FC236}">
                      <a16:creationId xmlns:a16="http://schemas.microsoft.com/office/drawing/2014/main" id="{4D3233B5-0C85-4860-BD9E-4BDCD2721333}"/>
                    </a:ext>
                  </a:extLst>
                </p:cNvPr>
                <p:cNvSpPr/>
                <p:nvPr/>
              </p:nvSpPr>
              <p:spPr>
                <a:xfrm>
                  <a:off x="6772332" y="3228379"/>
                  <a:ext cx="33911" cy="46835"/>
                </a:xfrm>
                <a:custGeom>
                  <a:avLst/>
                  <a:gdLst>
                    <a:gd name="connsiteX0" fmla="*/ 22459 w 33911"/>
                    <a:gd name="connsiteY0" fmla="*/ 46835 h 46835"/>
                    <a:gd name="connsiteX1" fmla="*/ 12037 w 33911"/>
                    <a:gd name="connsiteY1" fmla="*/ 40162 h 46835"/>
                    <a:gd name="connsiteX2" fmla="*/ 1053 w 33911"/>
                    <a:gd name="connsiteY2" fmla="*/ 16256 h 46835"/>
                    <a:gd name="connsiteX3" fmla="*/ 6671 w 33911"/>
                    <a:gd name="connsiteY3" fmla="*/ 1053 h 46835"/>
                    <a:gd name="connsiteX4" fmla="*/ 21875 w 33911"/>
                    <a:gd name="connsiteY4" fmla="*/ 6671 h 46835"/>
                    <a:gd name="connsiteX5" fmla="*/ 32859 w 33911"/>
                    <a:gd name="connsiteY5" fmla="*/ 30577 h 46835"/>
                    <a:gd name="connsiteX6" fmla="*/ 27240 w 33911"/>
                    <a:gd name="connsiteY6" fmla="*/ 45780 h 46835"/>
                    <a:gd name="connsiteX7" fmla="*/ 22459 w 33911"/>
                    <a:gd name="connsiteY7" fmla="*/ 46835 h 46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11" h="46835">
                      <a:moveTo>
                        <a:pt x="22459" y="46835"/>
                      </a:moveTo>
                      <a:cubicBezTo>
                        <a:pt x="18114" y="46835"/>
                        <a:pt x="13963" y="44358"/>
                        <a:pt x="12037" y="40162"/>
                      </a:cubicBezTo>
                      <a:lnTo>
                        <a:pt x="1053" y="16256"/>
                      </a:lnTo>
                      <a:cubicBezTo>
                        <a:pt x="-1596" y="10501"/>
                        <a:pt x="927" y="3690"/>
                        <a:pt x="6671" y="1053"/>
                      </a:cubicBezTo>
                      <a:cubicBezTo>
                        <a:pt x="12450" y="-1596"/>
                        <a:pt x="19249" y="927"/>
                        <a:pt x="21875" y="6671"/>
                      </a:cubicBezTo>
                      <a:lnTo>
                        <a:pt x="32859" y="30577"/>
                      </a:lnTo>
                      <a:cubicBezTo>
                        <a:pt x="35507" y="36332"/>
                        <a:pt x="32985" y="43143"/>
                        <a:pt x="27240" y="45780"/>
                      </a:cubicBezTo>
                      <a:cubicBezTo>
                        <a:pt x="25681" y="46503"/>
                        <a:pt x="24064" y="46835"/>
                        <a:pt x="22459" y="46835"/>
                      </a:cubicBezTo>
                      <a:close/>
                    </a:path>
                  </a:pathLst>
                </a:custGeom>
                <a:solidFill>
                  <a:schemeClr val="accent1"/>
                </a:solidFill>
                <a:ln w="1145" cap="flat">
                  <a:noFill/>
                  <a:prstDash val="solid"/>
                  <a:miter/>
                </a:ln>
              </p:spPr>
              <p:txBody>
                <a:bodyPr rtlCol="0" anchor="ctr"/>
                <a:lstStyle/>
                <a:p>
                  <a:endParaRPr lang="en-GB" dirty="0"/>
                </a:p>
              </p:txBody>
            </p:sp>
            <p:sp>
              <p:nvSpPr>
                <p:cNvPr id="286" name="Freeform: Shape 285">
                  <a:extLst>
                    <a:ext uri="{FF2B5EF4-FFF2-40B4-BE49-F238E27FC236}">
                      <a16:creationId xmlns:a16="http://schemas.microsoft.com/office/drawing/2014/main" id="{D51F5ACC-7795-4411-9FBC-5E1EFACE8B0A}"/>
                    </a:ext>
                  </a:extLst>
                </p:cNvPr>
                <p:cNvSpPr/>
                <p:nvPr/>
              </p:nvSpPr>
              <p:spPr>
                <a:xfrm>
                  <a:off x="6645598" y="2952434"/>
                  <a:ext cx="34114" cy="47283"/>
                </a:xfrm>
                <a:custGeom>
                  <a:avLst/>
                  <a:gdLst>
                    <a:gd name="connsiteX0" fmla="*/ 22658 w 34114"/>
                    <a:gd name="connsiteY0" fmla="*/ 47284 h 47283"/>
                    <a:gd name="connsiteX1" fmla="*/ 12225 w 34114"/>
                    <a:gd name="connsiteY1" fmla="*/ 40599 h 47283"/>
                    <a:gd name="connsiteX2" fmla="*/ 1046 w 34114"/>
                    <a:gd name="connsiteY2" fmla="*/ 16246 h 47283"/>
                    <a:gd name="connsiteX3" fmla="*/ 6687 w 34114"/>
                    <a:gd name="connsiteY3" fmla="*/ 1042 h 47283"/>
                    <a:gd name="connsiteX4" fmla="*/ 21890 w 34114"/>
                    <a:gd name="connsiteY4" fmla="*/ 6684 h 47283"/>
                    <a:gd name="connsiteX5" fmla="*/ 33069 w 34114"/>
                    <a:gd name="connsiteY5" fmla="*/ 31037 h 47283"/>
                    <a:gd name="connsiteX6" fmla="*/ 27428 w 34114"/>
                    <a:gd name="connsiteY6" fmla="*/ 46240 h 47283"/>
                    <a:gd name="connsiteX7" fmla="*/ 22658 w 34114"/>
                    <a:gd name="connsiteY7" fmla="*/ 47284 h 47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14" h="47283">
                      <a:moveTo>
                        <a:pt x="22658" y="47284"/>
                      </a:moveTo>
                      <a:cubicBezTo>
                        <a:pt x="18313" y="47284"/>
                        <a:pt x="14162" y="44807"/>
                        <a:pt x="12225" y="40599"/>
                      </a:cubicBezTo>
                      <a:lnTo>
                        <a:pt x="1046" y="16246"/>
                      </a:lnTo>
                      <a:cubicBezTo>
                        <a:pt x="-1591" y="10490"/>
                        <a:pt x="931" y="3680"/>
                        <a:pt x="6687" y="1042"/>
                      </a:cubicBezTo>
                      <a:cubicBezTo>
                        <a:pt x="12431" y="-1583"/>
                        <a:pt x="19242" y="916"/>
                        <a:pt x="21890" y="6684"/>
                      </a:cubicBezTo>
                      <a:lnTo>
                        <a:pt x="33069" y="31037"/>
                      </a:lnTo>
                      <a:cubicBezTo>
                        <a:pt x="35706" y="36793"/>
                        <a:pt x="33184" y="43603"/>
                        <a:pt x="27428" y="46240"/>
                      </a:cubicBezTo>
                      <a:cubicBezTo>
                        <a:pt x="25880" y="46951"/>
                        <a:pt x="24263" y="47284"/>
                        <a:pt x="22658" y="47284"/>
                      </a:cubicBezTo>
                      <a:close/>
                    </a:path>
                  </a:pathLst>
                </a:custGeom>
                <a:solidFill>
                  <a:schemeClr val="accent1"/>
                </a:solidFill>
                <a:ln w="1145" cap="flat">
                  <a:noFill/>
                  <a:prstDash val="solid"/>
                  <a:miter/>
                </a:ln>
              </p:spPr>
              <p:txBody>
                <a:bodyPr rtlCol="0" anchor="ctr"/>
                <a:lstStyle/>
                <a:p>
                  <a:endParaRPr lang="en-GB" dirty="0"/>
                </a:p>
              </p:txBody>
            </p:sp>
            <p:sp>
              <p:nvSpPr>
                <p:cNvPr id="287" name="Freeform: Shape 286">
                  <a:extLst>
                    <a:ext uri="{FF2B5EF4-FFF2-40B4-BE49-F238E27FC236}">
                      <a16:creationId xmlns:a16="http://schemas.microsoft.com/office/drawing/2014/main" id="{68C67077-7A33-48AB-A6D8-C6F9AF315B5C}"/>
                    </a:ext>
                  </a:extLst>
                </p:cNvPr>
                <p:cNvSpPr/>
                <p:nvPr/>
              </p:nvSpPr>
              <p:spPr>
                <a:xfrm>
                  <a:off x="6841993" y="3160229"/>
                  <a:ext cx="46097" cy="33498"/>
                </a:xfrm>
                <a:custGeom>
                  <a:avLst/>
                  <a:gdLst>
                    <a:gd name="connsiteX0" fmla="*/ 34617 w 46097"/>
                    <a:gd name="connsiteY0" fmla="*/ 33499 h 33498"/>
                    <a:gd name="connsiteX1" fmla="*/ 29871 w 46097"/>
                    <a:gd name="connsiteY1" fmla="*/ 32467 h 33498"/>
                    <a:gd name="connsiteX2" fmla="*/ 6710 w 46097"/>
                    <a:gd name="connsiteY2" fmla="*/ 21907 h 33498"/>
                    <a:gd name="connsiteX3" fmla="*/ 1035 w 46097"/>
                    <a:gd name="connsiteY3" fmla="*/ 6715 h 33498"/>
                    <a:gd name="connsiteX4" fmla="*/ 16227 w 46097"/>
                    <a:gd name="connsiteY4" fmla="*/ 1039 h 33498"/>
                    <a:gd name="connsiteX5" fmla="*/ 39387 w 46097"/>
                    <a:gd name="connsiteY5" fmla="*/ 11599 h 33498"/>
                    <a:gd name="connsiteX6" fmla="*/ 45063 w 46097"/>
                    <a:gd name="connsiteY6" fmla="*/ 26791 h 33498"/>
                    <a:gd name="connsiteX7" fmla="*/ 34617 w 46097"/>
                    <a:gd name="connsiteY7" fmla="*/ 33499 h 33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097" h="33498">
                      <a:moveTo>
                        <a:pt x="34617" y="33499"/>
                      </a:moveTo>
                      <a:cubicBezTo>
                        <a:pt x="33024" y="33499"/>
                        <a:pt x="31419" y="33178"/>
                        <a:pt x="29871" y="32467"/>
                      </a:cubicBezTo>
                      <a:lnTo>
                        <a:pt x="6710" y="21907"/>
                      </a:lnTo>
                      <a:cubicBezTo>
                        <a:pt x="954" y="19281"/>
                        <a:pt x="-1591" y="12482"/>
                        <a:pt x="1035" y="6715"/>
                      </a:cubicBezTo>
                      <a:cubicBezTo>
                        <a:pt x="3660" y="959"/>
                        <a:pt x="10448" y="-1598"/>
                        <a:pt x="16227" y="1039"/>
                      </a:cubicBezTo>
                      <a:lnTo>
                        <a:pt x="39387" y="11599"/>
                      </a:lnTo>
                      <a:cubicBezTo>
                        <a:pt x="45143" y="14225"/>
                        <a:pt x="47688" y="21024"/>
                        <a:pt x="45063" y="26791"/>
                      </a:cubicBezTo>
                      <a:cubicBezTo>
                        <a:pt x="43136" y="31011"/>
                        <a:pt x="38974" y="33499"/>
                        <a:pt x="34617" y="33499"/>
                      </a:cubicBezTo>
                      <a:close/>
                    </a:path>
                  </a:pathLst>
                </a:custGeom>
                <a:solidFill>
                  <a:schemeClr val="accent1"/>
                </a:solidFill>
                <a:ln w="1145" cap="flat">
                  <a:noFill/>
                  <a:prstDash val="solid"/>
                  <a:miter/>
                </a:ln>
              </p:spPr>
              <p:txBody>
                <a:bodyPr rtlCol="0" anchor="ctr"/>
                <a:lstStyle/>
                <a:p>
                  <a:endParaRPr lang="en-GB" dirty="0"/>
                </a:p>
              </p:txBody>
            </p:sp>
            <p:sp>
              <p:nvSpPr>
                <p:cNvPr id="288" name="Freeform: Shape 287">
                  <a:extLst>
                    <a:ext uri="{FF2B5EF4-FFF2-40B4-BE49-F238E27FC236}">
                      <a16:creationId xmlns:a16="http://schemas.microsoft.com/office/drawing/2014/main" id="{1F182242-F233-4C9E-9312-3AF097B70639}"/>
                    </a:ext>
                  </a:extLst>
                </p:cNvPr>
                <p:cNvSpPr/>
                <p:nvPr/>
              </p:nvSpPr>
              <p:spPr>
                <a:xfrm>
                  <a:off x="6564914" y="3033933"/>
                  <a:ext cx="46739" cy="33787"/>
                </a:xfrm>
                <a:custGeom>
                  <a:avLst/>
                  <a:gdLst>
                    <a:gd name="connsiteX0" fmla="*/ 35260 w 46739"/>
                    <a:gd name="connsiteY0" fmla="*/ 33787 h 33787"/>
                    <a:gd name="connsiteX1" fmla="*/ 30513 w 46739"/>
                    <a:gd name="connsiteY1" fmla="*/ 32755 h 33787"/>
                    <a:gd name="connsiteX2" fmla="*/ 6710 w 46739"/>
                    <a:gd name="connsiteY2" fmla="*/ 21909 h 33787"/>
                    <a:gd name="connsiteX3" fmla="*/ 1035 w 46739"/>
                    <a:gd name="connsiteY3" fmla="*/ 6717 h 33787"/>
                    <a:gd name="connsiteX4" fmla="*/ 16227 w 46739"/>
                    <a:gd name="connsiteY4" fmla="*/ 1041 h 33787"/>
                    <a:gd name="connsiteX5" fmla="*/ 40029 w 46739"/>
                    <a:gd name="connsiteY5" fmla="*/ 11888 h 33787"/>
                    <a:gd name="connsiteX6" fmla="*/ 45705 w 46739"/>
                    <a:gd name="connsiteY6" fmla="*/ 27080 h 33787"/>
                    <a:gd name="connsiteX7" fmla="*/ 35260 w 46739"/>
                    <a:gd name="connsiteY7" fmla="*/ 33787 h 3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739" h="33787">
                      <a:moveTo>
                        <a:pt x="35260" y="33787"/>
                      </a:moveTo>
                      <a:cubicBezTo>
                        <a:pt x="33666" y="33787"/>
                        <a:pt x="32061" y="33466"/>
                        <a:pt x="30513" y="32755"/>
                      </a:cubicBezTo>
                      <a:lnTo>
                        <a:pt x="6710" y="21909"/>
                      </a:lnTo>
                      <a:cubicBezTo>
                        <a:pt x="954" y="19283"/>
                        <a:pt x="-1591" y="12484"/>
                        <a:pt x="1035" y="6717"/>
                      </a:cubicBezTo>
                      <a:cubicBezTo>
                        <a:pt x="3660" y="950"/>
                        <a:pt x="10448" y="-1596"/>
                        <a:pt x="16227" y="1041"/>
                      </a:cubicBezTo>
                      <a:lnTo>
                        <a:pt x="40029" y="11888"/>
                      </a:lnTo>
                      <a:cubicBezTo>
                        <a:pt x="45785" y="14513"/>
                        <a:pt x="48330" y="21313"/>
                        <a:pt x="45705" y="27080"/>
                      </a:cubicBezTo>
                      <a:cubicBezTo>
                        <a:pt x="43778" y="31299"/>
                        <a:pt x="39616" y="33787"/>
                        <a:pt x="35260" y="33787"/>
                      </a:cubicBezTo>
                      <a:close/>
                    </a:path>
                  </a:pathLst>
                </a:custGeom>
                <a:solidFill>
                  <a:schemeClr val="accent1"/>
                </a:solidFill>
                <a:ln w="1145" cap="flat">
                  <a:noFill/>
                  <a:prstDash val="solid"/>
                  <a:miter/>
                </a:ln>
              </p:spPr>
              <p:txBody>
                <a:bodyPr rtlCol="0" anchor="ctr"/>
                <a:lstStyle/>
                <a:p>
                  <a:endParaRPr lang="en-GB" dirty="0"/>
                </a:p>
              </p:txBody>
            </p:sp>
            <p:sp>
              <p:nvSpPr>
                <p:cNvPr id="289" name="Freeform: Shape 288">
                  <a:extLst>
                    <a:ext uri="{FF2B5EF4-FFF2-40B4-BE49-F238E27FC236}">
                      <a16:creationId xmlns:a16="http://schemas.microsoft.com/office/drawing/2014/main" id="{660A8109-5301-4D3C-8A3D-7FE32E58DE80}"/>
                    </a:ext>
                  </a:extLst>
                </p:cNvPr>
                <p:cNvSpPr/>
                <p:nvPr/>
              </p:nvSpPr>
              <p:spPr>
                <a:xfrm>
                  <a:off x="6840664" y="3035402"/>
                  <a:ext cx="47643" cy="33923"/>
                </a:xfrm>
                <a:custGeom>
                  <a:avLst/>
                  <a:gdLst>
                    <a:gd name="connsiteX0" fmla="*/ 11479 w 47643"/>
                    <a:gd name="connsiteY0" fmla="*/ 33924 h 33923"/>
                    <a:gd name="connsiteX1" fmla="*/ 988 w 47643"/>
                    <a:gd name="connsiteY1" fmla="*/ 27113 h 33923"/>
                    <a:gd name="connsiteX2" fmla="*/ 6813 w 47643"/>
                    <a:gd name="connsiteY2" fmla="*/ 11978 h 33923"/>
                    <a:gd name="connsiteX3" fmla="*/ 31521 w 47643"/>
                    <a:gd name="connsiteY3" fmla="*/ 1006 h 33923"/>
                    <a:gd name="connsiteX4" fmla="*/ 46656 w 47643"/>
                    <a:gd name="connsiteY4" fmla="*/ 6830 h 33923"/>
                    <a:gd name="connsiteX5" fmla="*/ 40831 w 47643"/>
                    <a:gd name="connsiteY5" fmla="*/ 21965 h 33923"/>
                    <a:gd name="connsiteX6" fmla="*/ 16123 w 47643"/>
                    <a:gd name="connsiteY6" fmla="*/ 32938 h 33923"/>
                    <a:gd name="connsiteX7" fmla="*/ 11479 w 47643"/>
                    <a:gd name="connsiteY7" fmla="*/ 33924 h 33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643" h="33923">
                      <a:moveTo>
                        <a:pt x="11479" y="33924"/>
                      </a:moveTo>
                      <a:cubicBezTo>
                        <a:pt x="7076" y="33924"/>
                        <a:pt x="2891" y="31378"/>
                        <a:pt x="988" y="27113"/>
                      </a:cubicBezTo>
                      <a:cubicBezTo>
                        <a:pt x="-1581" y="21323"/>
                        <a:pt x="1034" y="14547"/>
                        <a:pt x="6813" y="11978"/>
                      </a:cubicBezTo>
                      <a:lnTo>
                        <a:pt x="31521" y="1006"/>
                      </a:lnTo>
                      <a:cubicBezTo>
                        <a:pt x="37323" y="-1609"/>
                        <a:pt x="44087" y="1063"/>
                        <a:pt x="46656" y="6830"/>
                      </a:cubicBezTo>
                      <a:cubicBezTo>
                        <a:pt x="49224" y="12620"/>
                        <a:pt x="46610" y="19397"/>
                        <a:pt x="40831" y="21965"/>
                      </a:cubicBezTo>
                      <a:lnTo>
                        <a:pt x="16123" y="32938"/>
                      </a:lnTo>
                      <a:cubicBezTo>
                        <a:pt x="14621" y="33614"/>
                        <a:pt x="13027" y="33924"/>
                        <a:pt x="11479" y="33924"/>
                      </a:cubicBezTo>
                      <a:close/>
                    </a:path>
                  </a:pathLst>
                </a:custGeom>
                <a:solidFill>
                  <a:schemeClr val="accent1"/>
                </a:solidFill>
                <a:ln w="1145" cap="flat">
                  <a:noFill/>
                  <a:prstDash val="solid"/>
                  <a:miter/>
                </a:ln>
              </p:spPr>
              <p:txBody>
                <a:bodyPr rtlCol="0" anchor="ctr"/>
                <a:lstStyle/>
                <a:p>
                  <a:endParaRPr lang="en-GB" dirty="0"/>
                </a:p>
              </p:txBody>
            </p:sp>
            <p:sp>
              <p:nvSpPr>
                <p:cNvPr id="290" name="Freeform: Shape 289">
                  <a:extLst>
                    <a:ext uri="{FF2B5EF4-FFF2-40B4-BE49-F238E27FC236}">
                      <a16:creationId xmlns:a16="http://schemas.microsoft.com/office/drawing/2014/main" id="{217FAB0D-BEF8-4821-AA26-F0A3F540E334}"/>
                    </a:ext>
                  </a:extLst>
                </p:cNvPr>
                <p:cNvSpPr/>
                <p:nvPr/>
              </p:nvSpPr>
              <p:spPr>
                <a:xfrm>
                  <a:off x="6563791" y="3158948"/>
                  <a:ext cx="46266" cy="33300"/>
                </a:xfrm>
                <a:custGeom>
                  <a:avLst/>
                  <a:gdLst>
                    <a:gd name="connsiteX0" fmla="*/ 11479 w 46266"/>
                    <a:gd name="connsiteY0" fmla="*/ 33301 h 33300"/>
                    <a:gd name="connsiteX1" fmla="*/ 988 w 46266"/>
                    <a:gd name="connsiteY1" fmla="*/ 26479 h 33300"/>
                    <a:gd name="connsiteX2" fmla="*/ 6823 w 46266"/>
                    <a:gd name="connsiteY2" fmla="*/ 11356 h 33300"/>
                    <a:gd name="connsiteX3" fmla="*/ 30156 w 46266"/>
                    <a:gd name="connsiteY3" fmla="*/ 1002 h 33300"/>
                    <a:gd name="connsiteX4" fmla="*/ 45279 w 46266"/>
                    <a:gd name="connsiteY4" fmla="*/ 6838 h 33300"/>
                    <a:gd name="connsiteX5" fmla="*/ 39443 w 46266"/>
                    <a:gd name="connsiteY5" fmla="*/ 21962 h 33300"/>
                    <a:gd name="connsiteX6" fmla="*/ 16111 w 46266"/>
                    <a:gd name="connsiteY6" fmla="*/ 32315 h 33300"/>
                    <a:gd name="connsiteX7" fmla="*/ 11479 w 46266"/>
                    <a:gd name="connsiteY7" fmla="*/ 33301 h 3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66" h="33300">
                      <a:moveTo>
                        <a:pt x="11479" y="33301"/>
                      </a:moveTo>
                      <a:cubicBezTo>
                        <a:pt x="7076" y="33301"/>
                        <a:pt x="2891" y="30756"/>
                        <a:pt x="988" y="26479"/>
                      </a:cubicBezTo>
                      <a:cubicBezTo>
                        <a:pt x="-1581" y="20700"/>
                        <a:pt x="1033" y="13913"/>
                        <a:pt x="6823" y="11356"/>
                      </a:cubicBezTo>
                      <a:lnTo>
                        <a:pt x="30156" y="1002"/>
                      </a:lnTo>
                      <a:cubicBezTo>
                        <a:pt x="35958" y="-1600"/>
                        <a:pt x="42711" y="1048"/>
                        <a:pt x="45279" y="6838"/>
                      </a:cubicBezTo>
                      <a:cubicBezTo>
                        <a:pt x="47848" y="12617"/>
                        <a:pt x="45233" y="19405"/>
                        <a:pt x="39443" y="21962"/>
                      </a:cubicBezTo>
                      <a:lnTo>
                        <a:pt x="16111" y="32315"/>
                      </a:lnTo>
                      <a:cubicBezTo>
                        <a:pt x="14597" y="32991"/>
                        <a:pt x="13027" y="33301"/>
                        <a:pt x="11479" y="33301"/>
                      </a:cubicBezTo>
                      <a:close/>
                    </a:path>
                  </a:pathLst>
                </a:custGeom>
                <a:solidFill>
                  <a:schemeClr val="accent1"/>
                </a:solidFill>
                <a:ln w="1145" cap="flat">
                  <a:noFill/>
                  <a:prstDash val="solid"/>
                  <a:miter/>
                </a:ln>
              </p:spPr>
              <p:txBody>
                <a:bodyPr rtlCol="0" anchor="ctr"/>
                <a:lstStyle/>
                <a:p>
                  <a:endParaRPr lang="en-GB" dirty="0"/>
                </a:p>
              </p:txBody>
            </p:sp>
            <p:sp>
              <p:nvSpPr>
                <p:cNvPr id="291" name="Freeform: Shape 290">
                  <a:extLst>
                    <a:ext uri="{FF2B5EF4-FFF2-40B4-BE49-F238E27FC236}">
                      <a16:creationId xmlns:a16="http://schemas.microsoft.com/office/drawing/2014/main" id="{D58ED57B-487C-4B1B-8780-64F86415E6CC}"/>
                    </a:ext>
                  </a:extLst>
                </p:cNvPr>
                <p:cNvSpPr/>
                <p:nvPr/>
              </p:nvSpPr>
              <p:spPr>
                <a:xfrm>
                  <a:off x="6645799" y="3229420"/>
                  <a:ext cx="33459" cy="45862"/>
                </a:xfrm>
                <a:custGeom>
                  <a:avLst/>
                  <a:gdLst>
                    <a:gd name="connsiteX0" fmla="*/ 11462 w 33459"/>
                    <a:gd name="connsiteY0" fmla="*/ 45863 h 45862"/>
                    <a:gd name="connsiteX1" fmla="*/ 6692 w 33459"/>
                    <a:gd name="connsiteY1" fmla="*/ 44819 h 45862"/>
                    <a:gd name="connsiteX2" fmla="*/ 1051 w 33459"/>
                    <a:gd name="connsiteY2" fmla="*/ 29616 h 45862"/>
                    <a:gd name="connsiteX3" fmla="*/ 11565 w 33459"/>
                    <a:gd name="connsiteY3" fmla="*/ 6673 h 45862"/>
                    <a:gd name="connsiteX4" fmla="*/ 26768 w 33459"/>
                    <a:gd name="connsiteY4" fmla="*/ 1032 h 45862"/>
                    <a:gd name="connsiteX5" fmla="*/ 32409 w 33459"/>
                    <a:gd name="connsiteY5" fmla="*/ 16236 h 45862"/>
                    <a:gd name="connsiteX6" fmla="*/ 21895 w 33459"/>
                    <a:gd name="connsiteY6" fmla="*/ 39178 h 45862"/>
                    <a:gd name="connsiteX7" fmla="*/ 11462 w 33459"/>
                    <a:gd name="connsiteY7" fmla="*/ 45863 h 4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59" h="45862">
                      <a:moveTo>
                        <a:pt x="11462" y="45863"/>
                      </a:moveTo>
                      <a:cubicBezTo>
                        <a:pt x="9868" y="45863"/>
                        <a:pt x="8251" y="45530"/>
                        <a:pt x="6692" y="44819"/>
                      </a:cubicBezTo>
                      <a:cubicBezTo>
                        <a:pt x="936" y="42182"/>
                        <a:pt x="-1598" y="35383"/>
                        <a:pt x="1051" y="29616"/>
                      </a:cubicBezTo>
                      <a:lnTo>
                        <a:pt x="11565" y="6673"/>
                      </a:lnTo>
                      <a:cubicBezTo>
                        <a:pt x="14190" y="940"/>
                        <a:pt x="20967" y="-1582"/>
                        <a:pt x="26768" y="1032"/>
                      </a:cubicBezTo>
                      <a:cubicBezTo>
                        <a:pt x="32524" y="3669"/>
                        <a:pt x="35057" y="10468"/>
                        <a:pt x="32409" y="16236"/>
                      </a:cubicBezTo>
                      <a:lnTo>
                        <a:pt x="21895" y="39178"/>
                      </a:lnTo>
                      <a:cubicBezTo>
                        <a:pt x="19969" y="43375"/>
                        <a:pt x="15807" y="45863"/>
                        <a:pt x="11462" y="45863"/>
                      </a:cubicBezTo>
                      <a:close/>
                    </a:path>
                  </a:pathLst>
                </a:custGeom>
                <a:solidFill>
                  <a:schemeClr val="accent1"/>
                </a:solidFill>
                <a:ln w="1145" cap="flat">
                  <a:noFill/>
                  <a:prstDash val="solid"/>
                  <a:miter/>
                </a:ln>
              </p:spPr>
              <p:txBody>
                <a:bodyPr rtlCol="0" anchor="ctr"/>
                <a:lstStyle/>
                <a:p>
                  <a:endParaRPr lang="en-GB" dirty="0"/>
                </a:p>
              </p:txBody>
            </p:sp>
            <p:sp>
              <p:nvSpPr>
                <p:cNvPr id="292" name="Freeform: Shape 291">
                  <a:extLst>
                    <a:ext uri="{FF2B5EF4-FFF2-40B4-BE49-F238E27FC236}">
                      <a16:creationId xmlns:a16="http://schemas.microsoft.com/office/drawing/2014/main" id="{C9F1F6BB-1F53-4A7F-A4B8-D3769931B162}"/>
                    </a:ext>
                  </a:extLst>
                </p:cNvPr>
                <p:cNvSpPr/>
                <p:nvPr/>
              </p:nvSpPr>
              <p:spPr>
                <a:xfrm>
                  <a:off x="6772381" y="2952370"/>
                  <a:ext cx="33826" cy="46693"/>
                </a:xfrm>
                <a:custGeom>
                  <a:avLst/>
                  <a:gdLst>
                    <a:gd name="connsiteX0" fmla="*/ 11461 w 33826"/>
                    <a:gd name="connsiteY0" fmla="*/ 46693 h 46693"/>
                    <a:gd name="connsiteX1" fmla="*/ 6703 w 33826"/>
                    <a:gd name="connsiteY1" fmla="*/ 45650 h 46693"/>
                    <a:gd name="connsiteX2" fmla="*/ 1050 w 33826"/>
                    <a:gd name="connsiteY2" fmla="*/ 30458 h 46693"/>
                    <a:gd name="connsiteX3" fmla="*/ 11931 w 33826"/>
                    <a:gd name="connsiteY3" fmla="*/ 6701 h 46693"/>
                    <a:gd name="connsiteX4" fmla="*/ 27123 w 33826"/>
                    <a:gd name="connsiteY4" fmla="*/ 1048 h 46693"/>
                    <a:gd name="connsiteX5" fmla="*/ 32776 w 33826"/>
                    <a:gd name="connsiteY5" fmla="*/ 16240 h 46693"/>
                    <a:gd name="connsiteX6" fmla="*/ 21895 w 33826"/>
                    <a:gd name="connsiteY6" fmla="*/ 39997 h 46693"/>
                    <a:gd name="connsiteX7" fmla="*/ 11461 w 33826"/>
                    <a:gd name="connsiteY7" fmla="*/ 46693 h 46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26" h="46693">
                      <a:moveTo>
                        <a:pt x="11461" y="46693"/>
                      </a:moveTo>
                      <a:cubicBezTo>
                        <a:pt x="9867" y="46693"/>
                        <a:pt x="8251" y="46361"/>
                        <a:pt x="6703" y="45650"/>
                      </a:cubicBezTo>
                      <a:cubicBezTo>
                        <a:pt x="936" y="43013"/>
                        <a:pt x="-1598" y="36214"/>
                        <a:pt x="1050" y="30458"/>
                      </a:cubicBezTo>
                      <a:lnTo>
                        <a:pt x="11931" y="6701"/>
                      </a:lnTo>
                      <a:cubicBezTo>
                        <a:pt x="14557" y="945"/>
                        <a:pt x="21345" y="-1600"/>
                        <a:pt x="27123" y="1048"/>
                      </a:cubicBezTo>
                      <a:cubicBezTo>
                        <a:pt x="32891" y="3686"/>
                        <a:pt x="35424" y="10485"/>
                        <a:pt x="32776" y="16240"/>
                      </a:cubicBezTo>
                      <a:lnTo>
                        <a:pt x="21895" y="39997"/>
                      </a:lnTo>
                      <a:cubicBezTo>
                        <a:pt x="19969" y="44217"/>
                        <a:pt x="15818" y="46693"/>
                        <a:pt x="11461" y="46693"/>
                      </a:cubicBezTo>
                      <a:close/>
                    </a:path>
                  </a:pathLst>
                </a:custGeom>
                <a:solidFill>
                  <a:schemeClr val="accent1"/>
                </a:solidFill>
                <a:ln w="1145" cap="flat">
                  <a:noFill/>
                  <a:prstDash val="solid"/>
                  <a:miter/>
                </a:ln>
              </p:spPr>
              <p:txBody>
                <a:bodyPr rtlCol="0" anchor="ctr"/>
                <a:lstStyle/>
                <a:p>
                  <a:endParaRPr lang="en-GB" dirty="0"/>
                </a:p>
              </p:txBody>
            </p:sp>
          </p:grpSp>
          <p:sp>
            <p:nvSpPr>
              <p:cNvPr id="277" name="Freeform: Shape 276">
                <a:extLst>
                  <a:ext uri="{FF2B5EF4-FFF2-40B4-BE49-F238E27FC236}">
                    <a16:creationId xmlns:a16="http://schemas.microsoft.com/office/drawing/2014/main" id="{CBF0B673-8676-4C22-84DA-39E396F03E81}"/>
                  </a:ext>
                </a:extLst>
              </p:cNvPr>
              <p:cNvSpPr/>
              <p:nvPr/>
            </p:nvSpPr>
            <p:spPr>
              <a:xfrm>
                <a:off x="6651510" y="3061289"/>
                <a:ext cx="37929" cy="23996"/>
              </a:xfrm>
              <a:custGeom>
                <a:avLst/>
                <a:gdLst>
                  <a:gd name="connsiteX0" fmla="*/ 26480 w 37929"/>
                  <a:gd name="connsiteY0" fmla="*/ 23997 h 23996"/>
                  <a:gd name="connsiteX1" fmla="*/ 25666 w 37929"/>
                  <a:gd name="connsiteY1" fmla="*/ 23962 h 23996"/>
                  <a:gd name="connsiteX2" fmla="*/ 10658 w 37929"/>
                  <a:gd name="connsiteY2" fmla="*/ 22896 h 23996"/>
                  <a:gd name="connsiteX3" fmla="*/ 29 w 37929"/>
                  <a:gd name="connsiteY3" fmla="*/ 10662 h 23996"/>
                  <a:gd name="connsiteX4" fmla="*/ 12263 w 37929"/>
                  <a:gd name="connsiteY4" fmla="*/ 33 h 23996"/>
                  <a:gd name="connsiteX5" fmla="*/ 27272 w 37929"/>
                  <a:gd name="connsiteY5" fmla="*/ 1100 h 23996"/>
                  <a:gd name="connsiteX6" fmla="*/ 37901 w 37929"/>
                  <a:gd name="connsiteY6" fmla="*/ 13334 h 23996"/>
                  <a:gd name="connsiteX7" fmla="*/ 26480 w 37929"/>
                  <a:gd name="connsiteY7" fmla="*/ 23997 h 2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929" h="23996">
                    <a:moveTo>
                      <a:pt x="26480" y="23997"/>
                    </a:moveTo>
                    <a:cubicBezTo>
                      <a:pt x="26217" y="23997"/>
                      <a:pt x="25930" y="23985"/>
                      <a:pt x="25666" y="23962"/>
                    </a:cubicBezTo>
                    <a:lnTo>
                      <a:pt x="10658" y="22896"/>
                    </a:lnTo>
                    <a:cubicBezTo>
                      <a:pt x="4329" y="22449"/>
                      <a:pt x="-418" y="16968"/>
                      <a:pt x="29" y="10662"/>
                    </a:cubicBezTo>
                    <a:cubicBezTo>
                      <a:pt x="477" y="4333"/>
                      <a:pt x="5980" y="-448"/>
                      <a:pt x="12263" y="33"/>
                    </a:cubicBezTo>
                    <a:lnTo>
                      <a:pt x="27272" y="1100"/>
                    </a:lnTo>
                    <a:cubicBezTo>
                      <a:pt x="33601" y="1547"/>
                      <a:pt x="38347" y="7028"/>
                      <a:pt x="37901" y="13334"/>
                    </a:cubicBezTo>
                    <a:cubicBezTo>
                      <a:pt x="37476" y="19388"/>
                      <a:pt x="32443" y="23997"/>
                      <a:pt x="26480" y="23997"/>
                    </a:cubicBezTo>
                    <a:close/>
                  </a:path>
                </a:pathLst>
              </a:custGeom>
              <a:solidFill>
                <a:schemeClr val="accent1"/>
              </a:solidFill>
              <a:ln w="1145" cap="flat">
                <a:noFill/>
                <a:prstDash val="solid"/>
                <a:miter/>
              </a:ln>
            </p:spPr>
            <p:txBody>
              <a:bodyPr rtlCol="0" anchor="ctr"/>
              <a:lstStyle/>
              <a:p>
                <a:endParaRPr lang="en-GB" dirty="0"/>
              </a:p>
            </p:txBody>
          </p:sp>
          <p:sp>
            <p:nvSpPr>
              <p:cNvPr id="278" name="Freeform: Shape 277">
                <a:extLst>
                  <a:ext uri="{FF2B5EF4-FFF2-40B4-BE49-F238E27FC236}">
                    <a16:creationId xmlns:a16="http://schemas.microsoft.com/office/drawing/2014/main" id="{5AC207FC-671E-4B27-8CC8-E9D40A062FFA}"/>
                  </a:ext>
                </a:extLst>
              </p:cNvPr>
              <p:cNvSpPr/>
              <p:nvPr/>
            </p:nvSpPr>
            <p:spPr>
              <a:xfrm>
                <a:off x="6716445" y="3163879"/>
                <a:ext cx="34205" cy="31270"/>
              </a:xfrm>
              <a:custGeom>
                <a:avLst/>
                <a:gdLst>
                  <a:gd name="connsiteX0" fmla="*/ 11479 w 34205"/>
                  <a:gd name="connsiteY0" fmla="*/ 31270 h 31270"/>
                  <a:gd name="connsiteX1" fmla="*/ 2249 w 34205"/>
                  <a:gd name="connsiteY1" fmla="*/ 26626 h 31270"/>
                  <a:gd name="connsiteX2" fmla="*/ 4645 w 34205"/>
                  <a:gd name="connsiteY2" fmla="*/ 10598 h 31270"/>
                  <a:gd name="connsiteX3" fmla="*/ 15927 w 34205"/>
                  <a:gd name="connsiteY3" fmla="*/ 2250 h 31270"/>
                  <a:gd name="connsiteX4" fmla="*/ 31956 w 34205"/>
                  <a:gd name="connsiteY4" fmla="*/ 4647 h 31270"/>
                  <a:gd name="connsiteX5" fmla="*/ 29560 w 34205"/>
                  <a:gd name="connsiteY5" fmla="*/ 20676 h 31270"/>
                  <a:gd name="connsiteX6" fmla="*/ 18278 w 34205"/>
                  <a:gd name="connsiteY6" fmla="*/ 29023 h 31270"/>
                  <a:gd name="connsiteX7" fmla="*/ 11479 w 34205"/>
                  <a:gd name="connsiteY7" fmla="*/ 31270 h 3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205" h="31270">
                    <a:moveTo>
                      <a:pt x="11479" y="31270"/>
                    </a:moveTo>
                    <a:cubicBezTo>
                      <a:pt x="7959" y="31270"/>
                      <a:pt x="4496" y="29654"/>
                      <a:pt x="2249" y="26626"/>
                    </a:cubicBezTo>
                    <a:cubicBezTo>
                      <a:pt x="-1523" y="21536"/>
                      <a:pt x="-434" y="14358"/>
                      <a:pt x="4645" y="10598"/>
                    </a:cubicBezTo>
                    <a:lnTo>
                      <a:pt x="15927" y="2250"/>
                    </a:lnTo>
                    <a:cubicBezTo>
                      <a:pt x="21018" y="-1533"/>
                      <a:pt x="28207" y="-421"/>
                      <a:pt x="31956" y="4647"/>
                    </a:cubicBezTo>
                    <a:cubicBezTo>
                      <a:pt x="35729" y="9738"/>
                      <a:pt x="34639" y="16915"/>
                      <a:pt x="29560" y="20676"/>
                    </a:cubicBezTo>
                    <a:lnTo>
                      <a:pt x="18278" y="29023"/>
                    </a:lnTo>
                    <a:cubicBezTo>
                      <a:pt x="16237" y="30536"/>
                      <a:pt x="13841" y="31270"/>
                      <a:pt x="11479" y="31270"/>
                    </a:cubicBezTo>
                    <a:close/>
                  </a:path>
                </a:pathLst>
              </a:custGeom>
              <a:solidFill>
                <a:schemeClr val="accent1"/>
              </a:solidFill>
              <a:ln w="1145" cap="flat">
                <a:noFill/>
                <a:prstDash val="solid"/>
                <a:miter/>
              </a:ln>
            </p:spPr>
            <p:txBody>
              <a:bodyPr rtlCol="0" anchor="ctr"/>
              <a:lstStyle/>
              <a:p>
                <a:endParaRPr lang="en-GB" dirty="0"/>
              </a:p>
            </p:txBody>
          </p:sp>
          <p:sp>
            <p:nvSpPr>
              <p:cNvPr id="279" name="Freeform: Shape 278">
                <a:extLst>
                  <a:ext uri="{FF2B5EF4-FFF2-40B4-BE49-F238E27FC236}">
                    <a16:creationId xmlns:a16="http://schemas.microsoft.com/office/drawing/2014/main" id="{5488CF35-6778-4C4E-8617-763306D2AB50}"/>
                  </a:ext>
                </a:extLst>
              </p:cNvPr>
              <p:cNvSpPr/>
              <p:nvPr/>
            </p:nvSpPr>
            <p:spPr>
              <a:xfrm>
                <a:off x="6775472" y="3076870"/>
                <a:ext cx="22931" cy="38375"/>
              </a:xfrm>
              <a:custGeom>
                <a:avLst/>
                <a:gdLst>
                  <a:gd name="connsiteX0" fmla="*/ 11466 w 22931"/>
                  <a:gd name="connsiteY0" fmla="*/ 38376 h 38375"/>
                  <a:gd name="connsiteX1" fmla="*/ 0 w 22931"/>
                  <a:gd name="connsiteY1" fmla="*/ 26910 h 38375"/>
                  <a:gd name="connsiteX2" fmla="*/ 0 w 22931"/>
                  <a:gd name="connsiteY2" fmla="*/ 11466 h 38375"/>
                  <a:gd name="connsiteX3" fmla="*/ 11466 w 22931"/>
                  <a:gd name="connsiteY3" fmla="*/ 0 h 38375"/>
                  <a:gd name="connsiteX4" fmla="*/ 22931 w 22931"/>
                  <a:gd name="connsiteY4" fmla="*/ 11466 h 38375"/>
                  <a:gd name="connsiteX5" fmla="*/ 22931 w 22931"/>
                  <a:gd name="connsiteY5" fmla="*/ 26910 h 38375"/>
                  <a:gd name="connsiteX6" fmla="*/ 11466 w 22931"/>
                  <a:gd name="connsiteY6" fmla="*/ 38376 h 3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31" h="38375">
                    <a:moveTo>
                      <a:pt x="11466" y="38376"/>
                    </a:moveTo>
                    <a:cubicBezTo>
                      <a:pt x="5125" y="38376"/>
                      <a:pt x="0" y="33250"/>
                      <a:pt x="0" y="26910"/>
                    </a:cubicBezTo>
                    <a:lnTo>
                      <a:pt x="0" y="11466"/>
                    </a:lnTo>
                    <a:cubicBezTo>
                      <a:pt x="0" y="5125"/>
                      <a:pt x="5125" y="0"/>
                      <a:pt x="11466" y="0"/>
                    </a:cubicBezTo>
                    <a:cubicBezTo>
                      <a:pt x="17807" y="0"/>
                      <a:pt x="22931" y="5125"/>
                      <a:pt x="22931" y="11466"/>
                    </a:cubicBezTo>
                    <a:lnTo>
                      <a:pt x="22931" y="26910"/>
                    </a:lnTo>
                    <a:cubicBezTo>
                      <a:pt x="22931" y="33250"/>
                      <a:pt x="17795" y="38376"/>
                      <a:pt x="11466" y="38376"/>
                    </a:cubicBezTo>
                    <a:close/>
                  </a:path>
                </a:pathLst>
              </a:custGeom>
              <a:solidFill>
                <a:schemeClr val="accent1"/>
              </a:solidFill>
              <a:ln w="1145" cap="flat">
                <a:noFill/>
                <a:prstDash val="solid"/>
                <a:miter/>
              </a:ln>
            </p:spPr>
            <p:txBody>
              <a:bodyPr rtlCol="0" anchor="ctr"/>
              <a:lstStyle/>
              <a:p>
                <a:endParaRPr lang="en-GB" dirty="0"/>
              </a:p>
            </p:txBody>
          </p:sp>
        </p:grpSp>
      </p:grpSp>
      <p:grpSp>
        <p:nvGrpSpPr>
          <p:cNvPr id="17" name="Group 16">
            <a:extLst>
              <a:ext uri="{FF2B5EF4-FFF2-40B4-BE49-F238E27FC236}">
                <a16:creationId xmlns:a16="http://schemas.microsoft.com/office/drawing/2014/main" id="{080CE7CF-B999-7646-C64D-BBEAEE99C031}"/>
              </a:ext>
            </a:extLst>
          </p:cNvPr>
          <p:cNvGrpSpPr/>
          <p:nvPr/>
        </p:nvGrpSpPr>
        <p:grpSpPr>
          <a:xfrm>
            <a:off x="3694386" y="3215753"/>
            <a:ext cx="471930" cy="446419"/>
            <a:chOff x="3694386" y="3215753"/>
            <a:chExt cx="471930" cy="446419"/>
          </a:xfrm>
        </p:grpSpPr>
        <p:grpSp>
          <p:nvGrpSpPr>
            <p:cNvPr id="500" name="Graphic 32">
              <a:extLst>
                <a:ext uri="{FF2B5EF4-FFF2-40B4-BE49-F238E27FC236}">
                  <a16:creationId xmlns:a16="http://schemas.microsoft.com/office/drawing/2014/main" id="{356A7911-D6A9-451B-B857-03448720391E}"/>
                </a:ext>
              </a:extLst>
            </p:cNvPr>
            <p:cNvGrpSpPr/>
            <p:nvPr/>
          </p:nvGrpSpPr>
          <p:grpSpPr>
            <a:xfrm>
              <a:off x="3694386" y="3215753"/>
              <a:ext cx="471930" cy="446419"/>
              <a:chOff x="5834094" y="1598792"/>
              <a:chExt cx="471930" cy="446419"/>
            </a:xfrm>
            <a:solidFill>
              <a:schemeClr val="tx2"/>
            </a:solidFill>
          </p:grpSpPr>
          <p:sp>
            <p:nvSpPr>
              <p:cNvPr id="515" name="Freeform: Shape 514">
                <a:extLst>
                  <a:ext uri="{FF2B5EF4-FFF2-40B4-BE49-F238E27FC236}">
                    <a16:creationId xmlns:a16="http://schemas.microsoft.com/office/drawing/2014/main" id="{DF93B14B-D1AA-4389-A188-1973157590CD}"/>
                  </a:ext>
                </a:extLst>
              </p:cNvPr>
              <p:cNvSpPr/>
              <p:nvPr/>
            </p:nvSpPr>
            <p:spPr>
              <a:xfrm>
                <a:off x="5834094" y="1598792"/>
                <a:ext cx="471930" cy="242380"/>
              </a:xfrm>
              <a:custGeom>
                <a:avLst/>
                <a:gdLst>
                  <a:gd name="connsiteX0" fmla="*/ 6379 w 471930"/>
                  <a:gd name="connsiteY0" fmla="*/ 242381 h 242380"/>
                  <a:gd name="connsiteX1" fmla="*/ 1870 w 471930"/>
                  <a:gd name="connsiteY1" fmla="*/ 240512 h 242380"/>
                  <a:gd name="connsiteX2" fmla="*/ 1870 w 471930"/>
                  <a:gd name="connsiteY2" fmla="*/ 231495 h 242380"/>
                  <a:gd name="connsiteX3" fmla="*/ 231488 w 471930"/>
                  <a:gd name="connsiteY3" fmla="*/ 1870 h 242380"/>
                  <a:gd name="connsiteX4" fmla="*/ 240506 w 471930"/>
                  <a:gd name="connsiteY4" fmla="*/ 1870 h 242380"/>
                  <a:gd name="connsiteX5" fmla="*/ 470060 w 471930"/>
                  <a:gd name="connsiteY5" fmla="*/ 231418 h 242380"/>
                  <a:gd name="connsiteX6" fmla="*/ 470060 w 471930"/>
                  <a:gd name="connsiteY6" fmla="*/ 240436 h 242380"/>
                  <a:gd name="connsiteX7" fmla="*/ 461043 w 471930"/>
                  <a:gd name="connsiteY7" fmla="*/ 240436 h 242380"/>
                  <a:gd name="connsiteX8" fmla="*/ 235997 w 471930"/>
                  <a:gd name="connsiteY8" fmla="*/ 15397 h 242380"/>
                  <a:gd name="connsiteX9" fmla="*/ 10888 w 471930"/>
                  <a:gd name="connsiteY9" fmla="*/ 240512 h 242380"/>
                  <a:gd name="connsiteX10" fmla="*/ 6379 w 471930"/>
                  <a:gd name="connsiteY10" fmla="*/ 242381 h 24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71930" h="242380">
                    <a:moveTo>
                      <a:pt x="6379" y="242381"/>
                    </a:moveTo>
                    <a:cubicBezTo>
                      <a:pt x="4746" y="242381"/>
                      <a:pt x="3114" y="241756"/>
                      <a:pt x="1870" y="240512"/>
                    </a:cubicBezTo>
                    <a:cubicBezTo>
                      <a:pt x="-623" y="238019"/>
                      <a:pt x="-623" y="233988"/>
                      <a:pt x="1870" y="231495"/>
                    </a:cubicBezTo>
                    <a:lnTo>
                      <a:pt x="231488" y="1870"/>
                    </a:lnTo>
                    <a:cubicBezTo>
                      <a:pt x="233982" y="-623"/>
                      <a:pt x="238012" y="-623"/>
                      <a:pt x="240506" y="1870"/>
                    </a:cubicBezTo>
                    <a:lnTo>
                      <a:pt x="470060" y="231418"/>
                    </a:lnTo>
                    <a:cubicBezTo>
                      <a:pt x="472554" y="233912"/>
                      <a:pt x="472554" y="237942"/>
                      <a:pt x="470060" y="240436"/>
                    </a:cubicBezTo>
                    <a:cubicBezTo>
                      <a:pt x="467567" y="242929"/>
                      <a:pt x="463536" y="242929"/>
                      <a:pt x="461043" y="240436"/>
                    </a:cubicBezTo>
                    <a:lnTo>
                      <a:pt x="235997" y="15397"/>
                    </a:lnTo>
                    <a:lnTo>
                      <a:pt x="10888" y="240512"/>
                    </a:lnTo>
                    <a:cubicBezTo>
                      <a:pt x="9638" y="241756"/>
                      <a:pt x="8012" y="242381"/>
                      <a:pt x="6379" y="242381"/>
                    </a:cubicBezTo>
                    <a:close/>
                  </a:path>
                </a:pathLst>
              </a:custGeom>
              <a:grpFill/>
              <a:ln w="637" cap="flat">
                <a:noFill/>
                <a:prstDash val="solid"/>
                <a:miter/>
              </a:ln>
            </p:spPr>
            <p:txBody>
              <a:bodyPr rtlCol="0" anchor="ctr"/>
              <a:lstStyle/>
              <a:p>
                <a:endParaRPr lang="en-GB" dirty="0"/>
              </a:p>
            </p:txBody>
          </p:sp>
          <p:sp>
            <p:nvSpPr>
              <p:cNvPr id="516" name="Freeform: Shape 515">
                <a:extLst>
                  <a:ext uri="{FF2B5EF4-FFF2-40B4-BE49-F238E27FC236}">
                    <a16:creationId xmlns:a16="http://schemas.microsoft.com/office/drawing/2014/main" id="{6EBA8333-1F4D-4E10-A2FB-0C11CF68A8F8}"/>
                  </a:ext>
                </a:extLst>
              </p:cNvPr>
              <p:cNvSpPr/>
              <p:nvPr/>
            </p:nvSpPr>
            <p:spPr>
              <a:xfrm>
                <a:off x="6201433" y="1694454"/>
                <a:ext cx="58672" cy="95660"/>
              </a:xfrm>
              <a:custGeom>
                <a:avLst/>
                <a:gdLst>
                  <a:gd name="connsiteX0" fmla="*/ 52295 w 58672"/>
                  <a:gd name="connsiteY0" fmla="*/ 95661 h 95660"/>
                  <a:gd name="connsiteX1" fmla="*/ 45917 w 58672"/>
                  <a:gd name="connsiteY1" fmla="*/ 89283 h 95660"/>
                  <a:gd name="connsiteX2" fmla="*/ 45917 w 58672"/>
                  <a:gd name="connsiteY2" fmla="*/ 12755 h 95660"/>
                  <a:gd name="connsiteX3" fmla="*/ 6377 w 58672"/>
                  <a:gd name="connsiteY3" fmla="*/ 12755 h 95660"/>
                  <a:gd name="connsiteX4" fmla="*/ 0 w 58672"/>
                  <a:gd name="connsiteY4" fmla="*/ 6377 h 95660"/>
                  <a:gd name="connsiteX5" fmla="*/ 6377 w 58672"/>
                  <a:gd name="connsiteY5" fmla="*/ 0 h 95660"/>
                  <a:gd name="connsiteX6" fmla="*/ 52295 w 58672"/>
                  <a:gd name="connsiteY6" fmla="*/ 0 h 95660"/>
                  <a:gd name="connsiteX7" fmla="*/ 58672 w 58672"/>
                  <a:gd name="connsiteY7" fmla="*/ 6377 h 95660"/>
                  <a:gd name="connsiteX8" fmla="*/ 58672 w 58672"/>
                  <a:gd name="connsiteY8" fmla="*/ 89283 h 95660"/>
                  <a:gd name="connsiteX9" fmla="*/ 52295 w 58672"/>
                  <a:gd name="connsiteY9" fmla="*/ 95661 h 95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672" h="95660">
                    <a:moveTo>
                      <a:pt x="52295" y="95661"/>
                    </a:moveTo>
                    <a:cubicBezTo>
                      <a:pt x="48774" y="95661"/>
                      <a:pt x="45917" y="92804"/>
                      <a:pt x="45917" y="89283"/>
                    </a:cubicBezTo>
                    <a:lnTo>
                      <a:pt x="45917" y="12755"/>
                    </a:lnTo>
                    <a:lnTo>
                      <a:pt x="6377" y="12755"/>
                    </a:lnTo>
                    <a:cubicBezTo>
                      <a:pt x="2857" y="12755"/>
                      <a:pt x="0" y="9898"/>
                      <a:pt x="0" y="6377"/>
                    </a:cubicBezTo>
                    <a:cubicBezTo>
                      <a:pt x="0" y="2857"/>
                      <a:pt x="2857" y="0"/>
                      <a:pt x="6377" y="0"/>
                    </a:cubicBezTo>
                    <a:lnTo>
                      <a:pt x="52295" y="0"/>
                    </a:lnTo>
                    <a:cubicBezTo>
                      <a:pt x="55815" y="0"/>
                      <a:pt x="58672" y="2857"/>
                      <a:pt x="58672" y="6377"/>
                    </a:cubicBezTo>
                    <a:lnTo>
                      <a:pt x="58672" y="89283"/>
                    </a:lnTo>
                    <a:cubicBezTo>
                      <a:pt x="58672" y="92804"/>
                      <a:pt x="55815" y="95661"/>
                      <a:pt x="52295" y="95661"/>
                    </a:cubicBezTo>
                    <a:close/>
                  </a:path>
                </a:pathLst>
              </a:custGeom>
              <a:grpFill/>
              <a:ln w="637" cap="flat">
                <a:noFill/>
                <a:prstDash val="solid"/>
                <a:miter/>
              </a:ln>
            </p:spPr>
            <p:txBody>
              <a:bodyPr rtlCol="0" anchor="ctr"/>
              <a:lstStyle/>
              <a:p>
                <a:endParaRPr lang="en-GB" dirty="0"/>
              </a:p>
            </p:txBody>
          </p:sp>
          <p:sp>
            <p:nvSpPr>
              <p:cNvPr id="517" name="Freeform: Shape 516">
                <a:extLst>
                  <a:ext uri="{FF2B5EF4-FFF2-40B4-BE49-F238E27FC236}">
                    <a16:creationId xmlns:a16="http://schemas.microsoft.com/office/drawing/2014/main" id="{42B4202C-63D8-4E86-BC63-D7ED8381354F}"/>
                  </a:ext>
                </a:extLst>
              </p:cNvPr>
              <p:cNvSpPr/>
              <p:nvPr/>
            </p:nvSpPr>
            <p:spPr>
              <a:xfrm>
                <a:off x="5880013" y="1822002"/>
                <a:ext cx="380092" cy="223208"/>
              </a:xfrm>
              <a:custGeom>
                <a:avLst/>
                <a:gdLst>
                  <a:gd name="connsiteX0" fmla="*/ 373715 w 380092"/>
                  <a:gd name="connsiteY0" fmla="*/ 223209 h 223208"/>
                  <a:gd name="connsiteX1" fmla="*/ 6377 w 380092"/>
                  <a:gd name="connsiteY1" fmla="*/ 223209 h 223208"/>
                  <a:gd name="connsiteX2" fmla="*/ 0 w 380092"/>
                  <a:gd name="connsiteY2" fmla="*/ 216831 h 223208"/>
                  <a:gd name="connsiteX3" fmla="*/ 0 w 380092"/>
                  <a:gd name="connsiteY3" fmla="*/ 6377 h 223208"/>
                  <a:gd name="connsiteX4" fmla="*/ 6377 w 380092"/>
                  <a:gd name="connsiteY4" fmla="*/ 0 h 223208"/>
                  <a:gd name="connsiteX5" fmla="*/ 12755 w 380092"/>
                  <a:gd name="connsiteY5" fmla="*/ 6377 h 223208"/>
                  <a:gd name="connsiteX6" fmla="*/ 12755 w 380092"/>
                  <a:gd name="connsiteY6" fmla="*/ 210454 h 223208"/>
                  <a:gd name="connsiteX7" fmla="*/ 367338 w 380092"/>
                  <a:gd name="connsiteY7" fmla="*/ 210454 h 223208"/>
                  <a:gd name="connsiteX8" fmla="*/ 367338 w 380092"/>
                  <a:gd name="connsiteY8" fmla="*/ 6377 h 223208"/>
                  <a:gd name="connsiteX9" fmla="*/ 373715 w 380092"/>
                  <a:gd name="connsiteY9" fmla="*/ 0 h 223208"/>
                  <a:gd name="connsiteX10" fmla="*/ 380093 w 380092"/>
                  <a:gd name="connsiteY10" fmla="*/ 6377 h 223208"/>
                  <a:gd name="connsiteX11" fmla="*/ 380093 w 380092"/>
                  <a:gd name="connsiteY11" fmla="*/ 216831 h 223208"/>
                  <a:gd name="connsiteX12" fmla="*/ 373715 w 380092"/>
                  <a:gd name="connsiteY12" fmla="*/ 223209 h 223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0092" h="223208">
                    <a:moveTo>
                      <a:pt x="373715" y="223209"/>
                    </a:moveTo>
                    <a:lnTo>
                      <a:pt x="6377" y="223209"/>
                    </a:lnTo>
                    <a:cubicBezTo>
                      <a:pt x="2857" y="223209"/>
                      <a:pt x="0" y="220352"/>
                      <a:pt x="0" y="216831"/>
                    </a:cubicBezTo>
                    <a:lnTo>
                      <a:pt x="0" y="6377"/>
                    </a:lnTo>
                    <a:cubicBezTo>
                      <a:pt x="0" y="2857"/>
                      <a:pt x="2857" y="0"/>
                      <a:pt x="6377" y="0"/>
                    </a:cubicBezTo>
                    <a:cubicBezTo>
                      <a:pt x="9898" y="0"/>
                      <a:pt x="12755" y="2857"/>
                      <a:pt x="12755" y="6377"/>
                    </a:cubicBezTo>
                    <a:lnTo>
                      <a:pt x="12755" y="210454"/>
                    </a:lnTo>
                    <a:lnTo>
                      <a:pt x="367338" y="210454"/>
                    </a:lnTo>
                    <a:lnTo>
                      <a:pt x="367338" y="6377"/>
                    </a:lnTo>
                    <a:cubicBezTo>
                      <a:pt x="367338" y="2857"/>
                      <a:pt x="370195" y="0"/>
                      <a:pt x="373715" y="0"/>
                    </a:cubicBezTo>
                    <a:cubicBezTo>
                      <a:pt x="377236" y="0"/>
                      <a:pt x="380093" y="2857"/>
                      <a:pt x="380093" y="6377"/>
                    </a:cubicBezTo>
                    <a:lnTo>
                      <a:pt x="380093" y="216831"/>
                    </a:lnTo>
                    <a:cubicBezTo>
                      <a:pt x="380093" y="220352"/>
                      <a:pt x="377236" y="223209"/>
                      <a:pt x="373715" y="223209"/>
                    </a:cubicBezTo>
                    <a:close/>
                  </a:path>
                </a:pathLst>
              </a:custGeom>
              <a:grpFill/>
              <a:ln w="637" cap="flat">
                <a:noFill/>
                <a:prstDash val="solid"/>
                <a:miter/>
              </a:ln>
            </p:spPr>
            <p:txBody>
              <a:bodyPr rtlCol="0" anchor="ctr"/>
              <a:lstStyle/>
              <a:p>
                <a:endParaRPr lang="en-GB" dirty="0"/>
              </a:p>
            </p:txBody>
          </p:sp>
        </p:grpSp>
        <p:grpSp>
          <p:nvGrpSpPr>
            <p:cNvPr id="501" name="Graphic 32">
              <a:extLst>
                <a:ext uri="{FF2B5EF4-FFF2-40B4-BE49-F238E27FC236}">
                  <a16:creationId xmlns:a16="http://schemas.microsoft.com/office/drawing/2014/main" id="{FDE139DF-43DC-4B5B-8093-D3FEABB864A5}"/>
                </a:ext>
              </a:extLst>
            </p:cNvPr>
            <p:cNvGrpSpPr/>
            <p:nvPr/>
          </p:nvGrpSpPr>
          <p:grpSpPr>
            <a:xfrm>
              <a:off x="3784309" y="3361892"/>
              <a:ext cx="294315" cy="255656"/>
              <a:chOff x="5924017" y="1744931"/>
              <a:chExt cx="294315" cy="255656"/>
            </a:xfrm>
            <a:solidFill>
              <a:schemeClr val="accent1"/>
            </a:solidFill>
          </p:grpSpPr>
          <p:grpSp>
            <p:nvGrpSpPr>
              <p:cNvPr id="502" name="Graphic 32">
                <a:extLst>
                  <a:ext uri="{FF2B5EF4-FFF2-40B4-BE49-F238E27FC236}">
                    <a16:creationId xmlns:a16="http://schemas.microsoft.com/office/drawing/2014/main" id="{2739EB52-D225-494D-9F4A-B403F78909BE}"/>
                  </a:ext>
                </a:extLst>
              </p:cNvPr>
              <p:cNvGrpSpPr/>
              <p:nvPr/>
            </p:nvGrpSpPr>
            <p:grpSpPr>
              <a:xfrm>
                <a:off x="6051767" y="1757265"/>
                <a:ext cx="166565" cy="243323"/>
                <a:chOff x="6051767" y="1757265"/>
                <a:chExt cx="166565" cy="243323"/>
              </a:xfrm>
              <a:solidFill>
                <a:schemeClr val="accent1"/>
              </a:solidFill>
            </p:grpSpPr>
            <p:sp>
              <p:nvSpPr>
                <p:cNvPr id="508" name="Freeform: Shape 507">
                  <a:extLst>
                    <a:ext uri="{FF2B5EF4-FFF2-40B4-BE49-F238E27FC236}">
                      <a16:creationId xmlns:a16="http://schemas.microsoft.com/office/drawing/2014/main" id="{73A73E50-BFD1-4B38-8811-03CAC59E8C2A}"/>
                    </a:ext>
                  </a:extLst>
                </p:cNvPr>
                <p:cNvSpPr/>
                <p:nvPr/>
              </p:nvSpPr>
              <p:spPr>
                <a:xfrm>
                  <a:off x="6174142" y="1963478"/>
                  <a:ext cx="18745" cy="37110"/>
                </a:xfrm>
                <a:custGeom>
                  <a:avLst/>
                  <a:gdLst>
                    <a:gd name="connsiteX0" fmla="*/ 9102 w 18745"/>
                    <a:gd name="connsiteY0" fmla="*/ 37110 h 37110"/>
                    <a:gd name="connsiteX1" fmla="*/ 2776 w 18745"/>
                    <a:gd name="connsiteY1" fmla="*/ 31447 h 37110"/>
                    <a:gd name="connsiteX2" fmla="*/ 40 w 18745"/>
                    <a:gd name="connsiteY2" fmla="*/ 7092 h 37110"/>
                    <a:gd name="connsiteX3" fmla="*/ 1622 w 18745"/>
                    <a:gd name="connsiteY3" fmla="*/ 2130 h 37110"/>
                    <a:gd name="connsiteX4" fmla="*/ 6379 w 18745"/>
                    <a:gd name="connsiteY4" fmla="*/ 0 h 37110"/>
                    <a:gd name="connsiteX5" fmla="*/ 12368 w 18745"/>
                    <a:gd name="connsiteY5" fmla="*/ 0 h 37110"/>
                    <a:gd name="connsiteX6" fmla="*/ 18745 w 18745"/>
                    <a:gd name="connsiteY6" fmla="*/ 6377 h 37110"/>
                    <a:gd name="connsiteX7" fmla="*/ 13503 w 18745"/>
                    <a:gd name="connsiteY7" fmla="*/ 12653 h 37110"/>
                    <a:gd name="connsiteX8" fmla="*/ 15454 w 18745"/>
                    <a:gd name="connsiteY8" fmla="*/ 30018 h 37110"/>
                    <a:gd name="connsiteX9" fmla="*/ 9829 w 18745"/>
                    <a:gd name="connsiteY9" fmla="*/ 37065 h 37110"/>
                    <a:gd name="connsiteX10" fmla="*/ 9102 w 18745"/>
                    <a:gd name="connsiteY10" fmla="*/ 37110 h 37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745" h="37110">
                      <a:moveTo>
                        <a:pt x="9102" y="37110"/>
                      </a:moveTo>
                      <a:cubicBezTo>
                        <a:pt x="5901" y="37110"/>
                        <a:pt x="3140" y="34706"/>
                        <a:pt x="2776" y="31447"/>
                      </a:cubicBezTo>
                      <a:lnTo>
                        <a:pt x="40" y="7092"/>
                      </a:lnTo>
                      <a:cubicBezTo>
                        <a:pt x="-164" y="5287"/>
                        <a:pt x="416" y="3482"/>
                        <a:pt x="1622" y="2130"/>
                      </a:cubicBezTo>
                      <a:cubicBezTo>
                        <a:pt x="2833" y="778"/>
                        <a:pt x="4562" y="0"/>
                        <a:pt x="6379" y="0"/>
                      </a:cubicBezTo>
                      <a:lnTo>
                        <a:pt x="12368" y="0"/>
                      </a:lnTo>
                      <a:cubicBezTo>
                        <a:pt x="15888" y="0"/>
                        <a:pt x="18745" y="2857"/>
                        <a:pt x="18745" y="6377"/>
                      </a:cubicBezTo>
                      <a:cubicBezTo>
                        <a:pt x="18745" y="9515"/>
                        <a:pt x="16487" y="12117"/>
                        <a:pt x="13503" y="12653"/>
                      </a:cubicBezTo>
                      <a:lnTo>
                        <a:pt x="15454" y="30018"/>
                      </a:lnTo>
                      <a:cubicBezTo>
                        <a:pt x="15850" y="33520"/>
                        <a:pt x="13331" y="36676"/>
                        <a:pt x="9829" y="37065"/>
                      </a:cubicBezTo>
                      <a:cubicBezTo>
                        <a:pt x="9581" y="37097"/>
                        <a:pt x="9345" y="37110"/>
                        <a:pt x="9102" y="37110"/>
                      </a:cubicBezTo>
                      <a:close/>
                    </a:path>
                  </a:pathLst>
                </a:custGeom>
                <a:solidFill>
                  <a:schemeClr val="accent1"/>
                </a:solidFill>
                <a:ln w="637" cap="flat">
                  <a:noFill/>
                  <a:prstDash val="solid"/>
                  <a:miter/>
                </a:ln>
              </p:spPr>
              <p:txBody>
                <a:bodyPr rtlCol="0" anchor="ctr"/>
                <a:lstStyle/>
                <a:p>
                  <a:endParaRPr lang="en-GB" dirty="0"/>
                </a:p>
              </p:txBody>
            </p:sp>
            <p:grpSp>
              <p:nvGrpSpPr>
                <p:cNvPr id="509" name="Graphic 32">
                  <a:extLst>
                    <a:ext uri="{FF2B5EF4-FFF2-40B4-BE49-F238E27FC236}">
                      <a16:creationId xmlns:a16="http://schemas.microsoft.com/office/drawing/2014/main" id="{47C14C5D-92F8-4E30-A7AE-A7108F46C9B0}"/>
                    </a:ext>
                  </a:extLst>
                </p:cNvPr>
                <p:cNvGrpSpPr/>
                <p:nvPr/>
              </p:nvGrpSpPr>
              <p:grpSpPr>
                <a:xfrm>
                  <a:off x="6051767" y="1757265"/>
                  <a:ext cx="161434" cy="114461"/>
                  <a:chOff x="6051767" y="1757265"/>
                  <a:chExt cx="161434" cy="114461"/>
                </a:xfrm>
                <a:solidFill>
                  <a:schemeClr val="accent1"/>
                </a:solidFill>
              </p:grpSpPr>
              <p:grpSp>
                <p:nvGrpSpPr>
                  <p:cNvPr id="511" name="Graphic 32">
                    <a:extLst>
                      <a:ext uri="{FF2B5EF4-FFF2-40B4-BE49-F238E27FC236}">
                        <a16:creationId xmlns:a16="http://schemas.microsoft.com/office/drawing/2014/main" id="{7B3E468B-7966-4E34-9A23-FB27512A9E9C}"/>
                      </a:ext>
                    </a:extLst>
                  </p:cNvPr>
                  <p:cNvGrpSpPr/>
                  <p:nvPr/>
                </p:nvGrpSpPr>
                <p:grpSpPr>
                  <a:xfrm>
                    <a:off x="6093171" y="1781129"/>
                    <a:ext cx="78620" cy="90598"/>
                    <a:chOff x="6093171" y="1781129"/>
                    <a:chExt cx="78620" cy="90598"/>
                  </a:xfrm>
                  <a:solidFill>
                    <a:schemeClr val="accent1"/>
                  </a:solidFill>
                </p:grpSpPr>
                <p:sp>
                  <p:nvSpPr>
                    <p:cNvPr id="513" name="Freeform: Shape 512">
                      <a:extLst>
                        <a:ext uri="{FF2B5EF4-FFF2-40B4-BE49-F238E27FC236}">
                          <a16:creationId xmlns:a16="http://schemas.microsoft.com/office/drawing/2014/main" id="{16D717D3-5CA1-4522-A034-69D1AF1AEB86}"/>
                        </a:ext>
                      </a:extLst>
                    </p:cNvPr>
                    <p:cNvSpPr/>
                    <p:nvPr/>
                  </p:nvSpPr>
                  <p:spPr>
                    <a:xfrm>
                      <a:off x="6093171" y="1781130"/>
                      <a:ext cx="78620" cy="90597"/>
                    </a:xfrm>
                    <a:custGeom>
                      <a:avLst/>
                      <a:gdLst>
                        <a:gd name="connsiteX0" fmla="*/ 39310 w 78620"/>
                        <a:gd name="connsiteY0" fmla="*/ 90597 h 90597"/>
                        <a:gd name="connsiteX1" fmla="*/ 0 w 78620"/>
                        <a:gd name="connsiteY1" fmla="*/ 45299 h 90597"/>
                        <a:gd name="connsiteX2" fmla="*/ 39310 w 78620"/>
                        <a:gd name="connsiteY2" fmla="*/ 0 h 90597"/>
                        <a:gd name="connsiteX3" fmla="*/ 45688 w 78620"/>
                        <a:gd name="connsiteY3" fmla="*/ 6377 h 90597"/>
                        <a:gd name="connsiteX4" fmla="*/ 39310 w 78620"/>
                        <a:gd name="connsiteY4" fmla="*/ 12755 h 90597"/>
                        <a:gd name="connsiteX5" fmla="*/ 12755 w 78620"/>
                        <a:gd name="connsiteY5" fmla="*/ 45299 h 90597"/>
                        <a:gd name="connsiteX6" fmla="*/ 39310 w 78620"/>
                        <a:gd name="connsiteY6" fmla="*/ 77842 h 90597"/>
                        <a:gd name="connsiteX7" fmla="*/ 65866 w 78620"/>
                        <a:gd name="connsiteY7" fmla="*/ 45299 h 90597"/>
                        <a:gd name="connsiteX8" fmla="*/ 63060 w 78620"/>
                        <a:gd name="connsiteY8" fmla="*/ 29368 h 90597"/>
                        <a:gd name="connsiteX9" fmla="*/ 66650 w 78620"/>
                        <a:gd name="connsiteY9" fmla="*/ 21096 h 90597"/>
                        <a:gd name="connsiteX10" fmla="*/ 74922 w 78620"/>
                        <a:gd name="connsiteY10" fmla="*/ 24687 h 90597"/>
                        <a:gd name="connsiteX11" fmla="*/ 78621 w 78620"/>
                        <a:gd name="connsiteY11" fmla="*/ 45292 h 90597"/>
                        <a:gd name="connsiteX12" fmla="*/ 39310 w 78620"/>
                        <a:gd name="connsiteY12" fmla="*/ 90597 h 90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20" h="90597">
                          <a:moveTo>
                            <a:pt x="39310" y="90597"/>
                          </a:moveTo>
                          <a:cubicBezTo>
                            <a:pt x="16167" y="90597"/>
                            <a:pt x="0" y="71969"/>
                            <a:pt x="0" y="45299"/>
                          </a:cubicBezTo>
                          <a:cubicBezTo>
                            <a:pt x="0" y="18628"/>
                            <a:pt x="16167" y="0"/>
                            <a:pt x="39310" y="0"/>
                          </a:cubicBezTo>
                          <a:cubicBezTo>
                            <a:pt x="42831" y="0"/>
                            <a:pt x="45688" y="2857"/>
                            <a:pt x="45688" y="6377"/>
                          </a:cubicBezTo>
                          <a:cubicBezTo>
                            <a:pt x="45688" y="9898"/>
                            <a:pt x="42831" y="12755"/>
                            <a:pt x="39310" y="12755"/>
                          </a:cubicBezTo>
                          <a:cubicBezTo>
                            <a:pt x="19706" y="12755"/>
                            <a:pt x="12755" y="30286"/>
                            <a:pt x="12755" y="45299"/>
                          </a:cubicBezTo>
                          <a:cubicBezTo>
                            <a:pt x="12755" y="60311"/>
                            <a:pt x="19706" y="77842"/>
                            <a:pt x="39310" y="77842"/>
                          </a:cubicBezTo>
                          <a:cubicBezTo>
                            <a:pt x="58914" y="77842"/>
                            <a:pt x="65866" y="60311"/>
                            <a:pt x="65866" y="45299"/>
                          </a:cubicBezTo>
                          <a:cubicBezTo>
                            <a:pt x="65866" y="39457"/>
                            <a:pt x="64922" y="34100"/>
                            <a:pt x="63060" y="29368"/>
                          </a:cubicBezTo>
                          <a:cubicBezTo>
                            <a:pt x="61765" y="26090"/>
                            <a:pt x="63379" y="22385"/>
                            <a:pt x="66650" y="21096"/>
                          </a:cubicBezTo>
                          <a:cubicBezTo>
                            <a:pt x="69941" y="19789"/>
                            <a:pt x="73633" y="21415"/>
                            <a:pt x="74922" y="24687"/>
                          </a:cubicBezTo>
                          <a:cubicBezTo>
                            <a:pt x="77377" y="30911"/>
                            <a:pt x="78621" y="37843"/>
                            <a:pt x="78621" y="45292"/>
                          </a:cubicBezTo>
                          <a:cubicBezTo>
                            <a:pt x="78621" y="71969"/>
                            <a:pt x="62460" y="90597"/>
                            <a:pt x="39310" y="90597"/>
                          </a:cubicBezTo>
                          <a:close/>
                        </a:path>
                      </a:pathLst>
                    </a:custGeom>
                    <a:solidFill>
                      <a:schemeClr val="accent1"/>
                    </a:solidFill>
                    <a:ln w="637" cap="flat">
                      <a:noFill/>
                      <a:prstDash val="solid"/>
                      <a:miter/>
                    </a:ln>
                  </p:spPr>
                  <p:txBody>
                    <a:bodyPr rtlCol="0" anchor="ctr"/>
                    <a:lstStyle/>
                    <a:p>
                      <a:endParaRPr lang="en-GB" dirty="0"/>
                    </a:p>
                  </p:txBody>
                </p:sp>
                <p:sp>
                  <p:nvSpPr>
                    <p:cNvPr id="514" name="Freeform: Shape 513">
                      <a:extLst>
                        <a:ext uri="{FF2B5EF4-FFF2-40B4-BE49-F238E27FC236}">
                          <a16:creationId xmlns:a16="http://schemas.microsoft.com/office/drawing/2014/main" id="{B598E2F7-002F-4E01-ACB1-FBFEAE1C18EF}"/>
                        </a:ext>
                      </a:extLst>
                    </p:cNvPr>
                    <p:cNvSpPr/>
                    <p:nvPr/>
                  </p:nvSpPr>
                  <p:spPr>
                    <a:xfrm>
                      <a:off x="6126173" y="1781129"/>
                      <a:ext cx="42307" cy="33335"/>
                    </a:xfrm>
                    <a:custGeom>
                      <a:avLst/>
                      <a:gdLst>
                        <a:gd name="connsiteX0" fmla="*/ 35937 w 42307"/>
                        <a:gd name="connsiteY0" fmla="*/ 33336 h 33335"/>
                        <a:gd name="connsiteX1" fmla="*/ 357 w 42307"/>
                        <a:gd name="connsiteY1" fmla="*/ 8476 h 33335"/>
                        <a:gd name="connsiteX2" fmla="*/ 4280 w 42307"/>
                        <a:gd name="connsiteY2" fmla="*/ 358 h 33335"/>
                        <a:gd name="connsiteX3" fmla="*/ 12398 w 42307"/>
                        <a:gd name="connsiteY3" fmla="*/ 4280 h 33335"/>
                        <a:gd name="connsiteX4" fmla="*/ 35930 w 42307"/>
                        <a:gd name="connsiteY4" fmla="*/ 20587 h 33335"/>
                        <a:gd name="connsiteX5" fmla="*/ 42308 w 42307"/>
                        <a:gd name="connsiteY5" fmla="*/ 26965 h 33335"/>
                        <a:gd name="connsiteX6" fmla="*/ 35937 w 42307"/>
                        <a:gd name="connsiteY6" fmla="*/ 33336 h 33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307" h="33335">
                          <a:moveTo>
                            <a:pt x="35937" y="33336"/>
                          </a:moveTo>
                          <a:cubicBezTo>
                            <a:pt x="20095" y="33336"/>
                            <a:pt x="5459" y="23113"/>
                            <a:pt x="357" y="8476"/>
                          </a:cubicBezTo>
                          <a:cubicBezTo>
                            <a:pt x="-803" y="5154"/>
                            <a:pt x="957" y="1519"/>
                            <a:pt x="4280" y="358"/>
                          </a:cubicBezTo>
                          <a:cubicBezTo>
                            <a:pt x="7596" y="-803"/>
                            <a:pt x="11237" y="951"/>
                            <a:pt x="12398" y="4280"/>
                          </a:cubicBezTo>
                          <a:cubicBezTo>
                            <a:pt x="15695" y="13725"/>
                            <a:pt x="25593" y="20587"/>
                            <a:pt x="35930" y="20587"/>
                          </a:cubicBezTo>
                          <a:cubicBezTo>
                            <a:pt x="39451" y="20587"/>
                            <a:pt x="42308" y="23444"/>
                            <a:pt x="42308" y="26965"/>
                          </a:cubicBezTo>
                          <a:cubicBezTo>
                            <a:pt x="42314" y="30485"/>
                            <a:pt x="39457" y="33336"/>
                            <a:pt x="35937" y="33336"/>
                          </a:cubicBezTo>
                          <a:close/>
                        </a:path>
                      </a:pathLst>
                    </a:custGeom>
                    <a:solidFill>
                      <a:schemeClr val="accent1"/>
                    </a:solidFill>
                    <a:ln w="637" cap="flat">
                      <a:noFill/>
                      <a:prstDash val="solid"/>
                      <a:miter/>
                    </a:ln>
                  </p:spPr>
                  <p:txBody>
                    <a:bodyPr rtlCol="0" anchor="ctr"/>
                    <a:lstStyle/>
                    <a:p>
                      <a:endParaRPr lang="en-GB" dirty="0"/>
                    </a:p>
                  </p:txBody>
                </p:sp>
              </p:grpSp>
              <p:sp>
                <p:nvSpPr>
                  <p:cNvPr id="512" name="Freeform: Shape 511">
                    <a:extLst>
                      <a:ext uri="{FF2B5EF4-FFF2-40B4-BE49-F238E27FC236}">
                        <a16:creationId xmlns:a16="http://schemas.microsoft.com/office/drawing/2014/main" id="{B27D28C5-D15F-4ECC-B79C-46D62BD04F84}"/>
                      </a:ext>
                    </a:extLst>
                  </p:cNvPr>
                  <p:cNvSpPr/>
                  <p:nvPr/>
                </p:nvSpPr>
                <p:spPr>
                  <a:xfrm>
                    <a:off x="6051767" y="1757265"/>
                    <a:ext cx="161434" cy="113627"/>
                  </a:xfrm>
                  <a:custGeom>
                    <a:avLst/>
                    <a:gdLst>
                      <a:gd name="connsiteX0" fmla="*/ 6736 w 161434"/>
                      <a:gd name="connsiteY0" fmla="*/ 113620 h 113627"/>
                      <a:gd name="connsiteX1" fmla="*/ 6226 w 161434"/>
                      <a:gd name="connsiteY1" fmla="*/ 113613 h 113627"/>
                      <a:gd name="connsiteX2" fmla="*/ 2 w 161434"/>
                      <a:gd name="connsiteY2" fmla="*/ 107089 h 113627"/>
                      <a:gd name="connsiteX3" fmla="*/ 6526 w 161434"/>
                      <a:gd name="connsiteY3" fmla="*/ 100865 h 113627"/>
                      <a:gd name="connsiteX4" fmla="*/ 11271 w 161434"/>
                      <a:gd name="connsiteY4" fmla="*/ 99117 h 113627"/>
                      <a:gd name="connsiteX5" fmla="*/ 18043 w 161434"/>
                      <a:gd name="connsiteY5" fmla="*/ 61338 h 113627"/>
                      <a:gd name="connsiteX6" fmla="*/ 18158 w 161434"/>
                      <a:gd name="connsiteY6" fmla="*/ 54437 h 113627"/>
                      <a:gd name="connsiteX7" fmla="*/ 76065 w 161434"/>
                      <a:gd name="connsiteY7" fmla="*/ 0 h 113627"/>
                      <a:gd name="connsiteX8" fmla="*/ 76537 w 161434"/>
                      <a:gd name="connsiteY8" fmla="*/ 0 h 113627"/>
                      <a:gd name="connsiteX9" fmla="*/ 93010 w 161434"/>
                      <a:gd name="connsiteY9" fmla="*/ 185 h 113627"/>
                      <a:gd name="connsiteX10" fmla="*/ 143283 w 161434"/>
                      <a:gd name="connsiteY10" fmla="*/ 54495 h 113627"/>
                      <a:gd name="connsiteX11" fmla="*/ 143353 w 161434"/>
                      <a:gd name="connsiteY11" fmla="*/ 60662 h 113627"/>
                      <a:gd name="connsiteX12" fmla="*/ 150126 w 161434"/>
                      <a:gd name="connsiteY12" fmla="*/ 99086 h 113627"/>
                      <a:gd name="connsiteX13" fmla="*/ 154909 w 161434"/>
                      <a:gd name="connsiteY13" fmla="*/ 100865 h 113627"/>
                      <a:gd name="connsiteX14" fmla="*/ 161433 w 161434"/>
                      <a:gd name="connsiteY14" fmla="*/ 107089 h 113627"/>
                      <a:gd name="connsiteX15" fmla="*/ 155208 w 161434"/>
                      <a:gd name="connsiteY15" fmla="*/ 113613 h 113627"/>
                      <a:gd name="connsiteX16" fmla="*/ 141229 w 161434"/>
                      <a:gd name="connsiteY16" fmla="*/ 108231 h 113627"/>
                      <a:gd name="connsiteX17" fmla="*/ 130598 w 161434"/>
                      <a:gd name="connsiteY17" fmla="*/ 60726 h 113627"/>
                      <a:gd name="connsiteX18" fmla="*/ 130534 w 161434"/>
                      <a:gd name="connsiteY18" fmla="*/ 54820 h 113627"/>
                      <a:gd name="connsiteX19" fmla="*/ 92570 w 161434"/>
                      <a:gd name="connsiteY19" fmla="*/ 12940 h 113627"/>
                      <a:gd name="connsiteX20" fmla="*/ 76397 w 161434"/>
                      <a:gd name="connsiteY20" fmla="*/ 12761 h 113627"/>
                      <a:gd name="connsiteX21" fmla="*/ 76027 w 161434"/>
                      <a:gd name="connsiteY21" fmla="*/ 12761 h 113627"/>
                      <a:gd name="connsiteX22" fmla="*/ 30900 w 161434"/>
                      <a:gd name="connsiteY22" fmla="*/ 54884 h 113627"/>
                      <a:gd name="connsiteX23" fmla="*/ 30792 w 161434"/>
                      <a:gd name="connsiteY23" fmla="*/ 61459 h 113627"/>
                      <a:gd name="connsiteX24" fmla="*/ 20142 w 161434"/>
                      <a:gd name="connsiteY24" fmla="*/ 108288 h 113627"/>
                      <a:gd name="connsiteX25" fmla="*/ 6736 w 161434"/>
                      <a:gd name="connsiteY25" fmla="*/ 113620 h 11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1434" h="113627">
                        <a:moveTo>
                          <a:pt x="6736" y="113620"/>
                        </a:moveTo>
                        <a:cubicBezTo>
                          <a:pt x="6564" y="113620"/>
                          <a:pt x="6398" y="113620"/>
                          <a:pt x="6226" y="113613"/>
                        </a:cubicBezTo>
                        <a:cubicBezTo>
                          <a:pt x="2706" y="113530"/>
                          <a:pt x="-81" y="110609"/>
                          <a:pt x="2" y="107089"/>
                        </a:cubicBezTo>
                        <a:cubicBezTo>
                          <a:pt x="78" y="103569"/>
                          <a:pt x="2814" y="100693"/>
                          <a:pt x="6526" y="100865"/>
                        </a:cubicBezTo>
                        <a:cubicBezTo>
                          <a:pt x="8490" y="100878"/>
                          <a:pt x="9970" y="100367"/>
                          <a:pt x="11271" y="99117"/>
                        </a:cubicBezTo>
                        <a:cubicBezTo>
                          <a:pt x="17763" y="92836"/>
                          <a:pt x="17935" y="73117"/>
                          <a:pt x="18043" y="61338"/>
                        </a:cubicBezTo>
                        <a:cubicBezTo>
                          <a:pt x="18063" y="58780"/>
                          <a:pt x="18088" y="56440"/>
                          <a:pt x="18158" y="54437"/>
                        </a:cubicBezTo>
                        <a:cubicBezTo>
                          <a:pt x="19523" y="14668"/>
                          <a:pt x="54197" y="0"/>
                          <a:pt x="76065" y="0"/>
                        </a:cubicBezTo>
                        <a:cubicBezTo>
                          <a:pt x="76224" y="0"/>
                          <a:pt x="76377" y="0"/>
                          <a:pt x="76537" y="0"/>
                        </a:cubicBezTo>
                        <a:lnTo>
                          <a:pt x="93010" y="185"/>
                        </a:lnTo>
                        <a:cubicBezTo>
                          <a:pt x="111485" y="1237"/>
                          <a:pt x="142167" y="9675"/>
                          <a:pt x="143283" y="54495"/>
                        </a:cubicBezTo>
                        <a:cubicBezTo>
                          <a:pt x="143327" y="56306"/>
                          <a:pt x="143340" y="58385"/>
                          <a:pt x="143353" y="60662"/>
                        </a:cubicBezTo>
                        <a:cubicBezTo>
                          <a:pt x="143404" y="71835"/>
                          <a:pt x="143506" y="92644"/>
                          <a:pt x="150126" y="99086"/>
                        </a:cubicBezTo>
                        <a:cubicBezTo>
                          <a:pt x="151439" y="100361"/>
                          <a:pt x="152913" y="100833"/>
                          <a:pt x="154909" y="100865"/>
                        </a:cubicBezTo>
                        <a:cubicBezTo>
                          <a:pt x="158493" y="100693"/>
                          <a:pt x="161356" y="103569"/>
                          <a:pt x="161433" y="107089"/>
                        </a:cubicBezTo>
                        <a:cubicBezTo>
                          <a:pt x="161516" y="110609"/>
                          <a:pt x="158729" y="113530"/>
                          <a:pt x="155208" y="113613"/>
                        </a:cubicBezTo>
                        <a:cubicBezTo>
                          <a:pt x="149826" y="113817"/>
                          <a:pt x="144985" y="111879"/>
                          <a:pt x="141229" y="108231"/>
                        </a:cubicBezTo>
                        <a:cubicBezTo>
                          <a:pt x="130770" y="98065"/>
                          <a:pt x="130668" y="76478"/>
                          <a:pt x="130598" y="60726"/>
                        </a:cubicBezTo>
                        <a:cubicBezTo>
                          <a:pt x="130585" y="58551"/>
                          <a:pt x="130579" y="56555"/>
                          <a:pt x="130534" y="54820"/>
                        </a:cubicBezTo>
                        <a:cubicBezTo>
                          <a:pt x="129871" y="28430"/>
                          <a:pt x="117104" y="14343"/>
                          <a:pt x="92570" y="12940"/>
                        </a:cubicBezTo>
                        <a:lnTo>
                          <a:pt x="76397" y="12761"/>
                        </a:lnTo>
                        <a:cubicBezTo>
                          <a:pt x="76275" y="12761"/>
                          <a:pt x="76148" y="12761"/>
                          <a:pt x="76027" y="12761"/>
                        </a:cubicBezTo>
                        <a:cubicBezTo>
                          <a:pt x="58986" y="12761"/>
                          <a:pt x="31959" y="24107"/>
                          <a:pt x="30900" y="54884"/>
                        </a:cubicBezTo>
                        <a:cubicBezTo>
                          <a:pt x="30836" y="56791"/>
                          <a:pt x="30817" y="59016"/>
                          <a:pt x="30792" y="61459"/>
                        </a:cubicBezTo>
                        <a:cubicBezTo>
                          <a:pt x="30652" y="77007"/>
                          <a:pt x="30460" y="98288"/>
                          <a:pt x="20142" y="108288"/>
                        </a:cubicBezTo>
                        <a:cubicBezTo>
                          <a:pt x="16526" y="111777"/>
                          <a:pt x="11896" y="113620"/>
                          <a:pt x="6736" y="113620"/>
                        </a:cubicBezTo>
                        <a:close/>
                      </a:path>
                    </a:pathLst>
                  </a:custGeom>
                  <a:solidFill>
                    <a:schemeClr val="accent1"/>
                  </a:solidFill>
                  <a:ln w="637" cap="flat">
                    <a:noFill/>
                    <a:prstDash val="solid"/>
                    <a:miter/>
                  </a:ln>
                </p:spPr>
                <p:txBody>
                  <a:bodyPr rtlCol="0" anchor="ctr"/>
                  <a:lstStyle/>
                  <a:p>
                    <a:endParaRPr lang="en-GB" dirty="0"/>
                  </a:p>
                </p:txBody>
              </p:sp>
            </p:grpSp>
            <p:sp>
              <p:nvSpPr>
                <p:cNvPr id="510" name="Freeform: Shape 509">
                  <a:extLst>
                    <a:ext uri="{FF2B5EF4-FFF2-40B4-BE49-F238E27FC236}">
                      <a16:creationId xmlns:a16="http://schemas.microsoft.com/office/drawing/2014/main" id="{98F3D94E-FF60-4B75-84C2-D84A31600375}"/>
                    </a:ext>
                  </a:extLst>
                </p:cNvPr>
                <p:cNvSpPr/>
                <p:nvPr/>
              </p:nvSpPr>
              <p:spPr>
                <a:xfrm>
                  <a:off x="6086536" y="1885642"/>
                  <a:ext cx="131796" cy="114946"/>
                </a:xfrm>
                <a:custGeom>
                  <a:avLst/>
                  <a:gdLst>
                    <a:gd name="connsiteX0" fmla="*/ 125414 w 131796"/>
                    <a:gd name="connsiteY0" fmla="*/ 114946 h 114946"/>
                    <a:gd name="connsiteX1" fmla="*/ 119075 w 131796"/>
                    <a:gd name="connsiteY1" fmla="*/ 109187 h 114946"/>
                    <a:gd name="connsiteX2" fmla="*/ 114949 w 131796"/>
                    <a:gd name="connsiteY2" fmla="*/ 66739 h 114946"/>
                    <a:gd name="connsiteX3" fmla="*/ 52074 w 131796"/>
                    <a:gd name="connsiteY3" fmla="*/ 12755 h 114946"/>
                    <a:gd name="connsiteX4" fmla="*/ 40097 w 131796"/>
                    <a:gd name="connsiteY4" fmla="*/ 12755 h 114946"/>
                    <a:gd name="connsiteX5" fmla="*/ 9097 w 131796"/>
                    <a:gd name="connsiteY5" fmla="*/ 18864 h 114946"/>
                    <a:gd name="connsiteX6" fmla="*/ 608 w 131796"/>
                    <a:gd name="connsiteY6" fmla="*/ 15810 h 114946"/>
                    <a:gd name="connsiteX7" fmla="*/ 3663 w 131796"/>
                    <a:gd name="connsiteY7" fmla="*/ 7321 h 114946"/>
                    <a:gd name="connsiteX8" fmla="*/ 40097 w 131796"/>
                    <a:gd name="connsiteY8" fmla="*/ 0 h 114946"/>
                    <a:gd name="connsiteX9" fmla="*/ 52074 w 131796"/>
                    <a:gd name="connsiteY9" fmla="*/ 0 h 114946"/>
                    <a:gd name="connsiteX10" fmla="*/ 127576 w 131796"/>
                    <a:gd name="connsiteY10" fmla="*/ 65024 h 114946"/>
                    <a:gd name="connsiteX11" fmla="*/ 131766 w 131796"/>
                    <a:gd name="connsiteY11" fmla="*/ 107956 h 114946"/>
                    <a:gd name="connsiteX12" fmla="*/ 126039 w 131796"/>
                    <a:gd name="connsiteY12" fmla="*/ 114921 h 114946"/>
                    <a:gd name="connsiteX13" fmla="*/ 125414 w 131796"/>
                    <a:gd name="connsiteY13" fmla="*/ 114946 h 11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796" h="114946">
                      <a:moveTo>
                        <a:pt x="125414" y="114946"/>
                      </a:moveTo>
                      <a:cubicBezTo>
                        <a:pt x="122168" y="114946"/>
                        <a:pt x="119394" y="112484"/>
                        <a:pt x="119075" y="109187"/>
                      </a:cubicBezTo>
                      <a:lnTo>
                        <a:pt x="114949" y="66739"/>
                      </a:lnTo>
                      <a:cubicBezTo>
                        <a:pt x="108590" y="30573"/>
                        <a:pt x="88004" y="12755"/>
                        <a:pt x="52074" y="12755"/>
                      </a:cubicBezTo>
                      <a:lnTo>
                        <a:pt x="40097" y="12755"/>
                      </a:lnTo>
                      <a:cubicBezTo>
                        <a:pt x="28140" y="12755"/>
                        <a:pt x="17706" y="14808"/>
                        <a:pt x="9097" y="18864"/>
                      </a:cubicBezTo>
                      <a:cubicBezTo>
                        <a:pt x="5914" y="20363"/>
                        <a:pt x="2107" y="18998"/>
                        <a:pt x="608" y="15810"/>
                      </a:cubicBezTo>
                      <a:cubicBezTo>
                        <a:pt x="-890" y="12621"/>
                        <a:pt x="474" y="8826"/>
                        <a:pt x="3663" y="7321"/>
                      </a:cubicBezTo>
                      <a:cubicBezTo>
                        <a:pt x="13988" y="2462"/>
                        <a:pt x="26245" y="0"/>
                        <a:pt x="40097" y="0"/>
                      </a:cubicBezTo>
                      <a:lnTo>
                        <a:pt x="52074" y="0"/>
                      </a:lnTo>
                      <a:cubicBezTo>
                        <a:pt x="94018" y="0"/>
                        <a:pt x="120127" y="22487"/>
                        <a:pt x="127576" y="65024"/>
                      </a:cubicBezTo>
                      <a:lnTo>
                        <a:pt x="131766" y="107956"/>
                      </a:lnTo>
                      <a:cubicBezTo>
                        <a:pt x="132110" y="111464"/>
                        <a:pt x="129540" y="114583"/>
                        <a:pt x="126039" y="114921"/>
                      </a:cubicBezTo>
                      <a:cubicBezTo>
                        <a:pt x="125829" y="114940"/>
                        <a:pt x="125618" y="114946"/>
                        <a:pt x="125414" y="114946"/>
                      </a:cubicBezTo>
                      <a:close/>
                    </a:path>
                  </a:pathLst>
                </a:custGeom>
                <a:solidFill>
                  <a:schemeClr val="accent1"/>
                </a:solidFill>
                <a:ln w="637" cap="flat">
                  <a:noFill/>
                  <a:prstDash val="solid"/>
                  <a:miter/>
                </a:ln>
              </p:spPr>
              <p:txBody>
                <a:bodyPr rtlCol="0" anchor="ctr"/>
                <a:lstStyle/>
                <a:p>
                  <a:endParaRPr lang="en-GB" dirty="0"/>
                </a:p>
              </p:txBody>
            </p:sp>
          </p:grpSp>
          <p:grpSp>
            <p:nvGrpSpPr>
              <p:cNvPr id="503" name="Graphic 32">
                <a:extLst>
                  <a:ext uri="{FF2B5EF4-FFF2-40B4-BE49-F238E27FC236}">
                    <a16:creationId xmlns:a16="http://schemas.microsoft.com/office/drawing/2014/main" id="{7DB4461B-D75E-49D8-8EA0-63EE09E3CCD3}"/>
                  </a:ext>
                </a:extLst>
              </p:cNvPr>
              <p:cNvGrpSpPr/>
              <p:nvPr/>
            </p:nvGrpSpPr>
            <p:grpSpPr>
              <a:xfrm>
                <a:off x="5924017" y="1744931"/>
                <a:ext cx="180410" cy="255656"/>
                <a:chOff x="5924017" y="1744931"/>
                <a:chExt cx="180410" cy="255656"/>
              </a:xfrm>
              <a:solidFill>
                <a:schemeClr val="accent1"/>
              </a:solidFill>
            </p:grpSpPr>
            <p:sp>
              <p:nvSpPr>
                <p:cNvPr id="504" name="Freeform: Shape 503">
                  <a:extLst>
                    <a:ext uri="{FF2B5EF4-FFF2-40B4-BE49-F238E27FC236}">
                      <a16:creationId xmlns:a16="http://schemas.microsoft.com/office/drawing/2014/main" id="{7CF5C8A7-15DB-496B-A788-78C9100DBDEA}"/>
                    </a:ext>
                  </a:extLst>
                </p:cNvPr>
                <p:cNvSpPr/>
                <p:nvPr/>
              </p:nvSpPr>
              <p:spPr>
                <a:xfrm>
                  <a:off x="5953952" y="1942522"/>
                  <a:ext cx="18743" cy="58066"/>
                </a:xfrm>
                <a:custGeom>
                  <a:avLst/>
                  <a:gdLst>
                    <a:gd name="connsiteX0" fmla="*/ 12366 w 18743"/>
                    <a:gd name="connsiteY0" fmla="*/ 58066 h 58066"/>
                    <a:gd name="connsiteX1" fmla="*/ 5988 w 18743"/>
                    <a:gd name="connsiteY1" fmla="*/ 51689 h 58066"/>
                    <a:gd name="connsiteX2" fmla="*/ 5988 w 18743"/>
                    <a:gd name="connsiteY2" fmla="*/ 12742 h 58066"/>
                    <a:gd name="connsiteX3" fmla="*/ 0 w 18743"/>
                    <a:gd name="connsiteY3" fmla="*/ 6377 h 58066"/>
                    <a:gd name="connsiteX4" fmla="*/ 6377 w 18743"/>
                    <a:gd name="connsiteY4" fmla="*/ 0 h 58066"/>
                    <a:gd name="connsiteX5" fmla="*/ 12366 w 18743"/>
                    <a:gd name="connsiteY5" fmla="*/ 0 h 58066"/>
                    <a:gd name="connsiteX6" fmla="*/ 18743 w 18743"/>
                    <a:gd name="connsiteY6" fmla="*/ 6377 h 58066"/>
                    <a:gd name="connsiteX7" fmla="*/ 18743 w 18743"/>
                    <a:gd name="connsiteY7" fmla="*/ 51689 h 58066"/>
                    <a:gd name="connsiteX8" fmla="*/ 12366 w 18743"/>
                    <a:gd name="connsiteY8" fmla="*/ 58066 h 5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43" h="58066">
                      <a:moveTo>
                        <a:pt x="12366" y="58066"/>
                      </a:moveTo>
                      <a:cubicBezTo>
                        <a:pt x="8845" y="58066"/>
                        <a:pt x="5988" y="55209"/>
                        <a:pt x="5988" y="51689"/>
                      </a:cubicBezTo>
                      <a:lnTo>
                        <a:pt x="5988" y="12742"/>
                      </a:lnTo>
                      <a:cubicBezTo>
                        <a:pt x="2647" y="12544"/>
                        <a:pt x="0" y="9770"/>
                        <a:pt x="0" y="6377"/>
                      </a:cubicBezTo>
                      <a:cubicBezTo>
                        <a:pt x="0" y="2857"/>
                        <a:pt x="2857" y="0"/>
                        <a:pt x="6377" y="0"/>
                      </a:cubicBezTo>
                      <a:lnTo>
                        <a:pt x="12366" y="0"/>
                      </a:lnTo>
                      <a:cubicBezTo>
                        <a:pt x="15886" y="0"/>
                        <a:pt x="18743" y="2857"/>
                        <a:pt x="18743" y="6377"/>
                      </a:cubicBezTo>
                      <a:lnTo>
                        <a:pt x="18743" y="51689"/>
                      </a:lnTo>
                      <a:cubicBezTo>
                        <a:pt x="18743" y="55215"/>
                        <a:pt x="15886" y="58066"/>
                        <a:pt x="12366" y="58066"/>
                      </a:cubicBezTo>
                      <a:close/>
                    </a:path>
                  </a:pathLst>
                </a:custGeom>
                <a:solidFill>
                  <a:schemeClr val="accent1"/>
                </a:solidFill>
                <a:ln w="637" cap="flat">
                  <a:noFill/>
                  <a:prstDash val="solid"/>
                  <a:miter/>
                </a:ln>
              </p:spPr>
              <p:txBody>
                <a:bodyPr rtlCol="0" anchor="ctr"/>
                <a:lstStyle/>
                <a:p>
                  <a:endParaRPr lang="en-GB" dirty="0"/>
                </a:p>
              </p:txBody>
            </p:sp>
            <p:sp>
              <p:nvSpPr>
                <p:cNvPr id="505" name="Freeform: Shape 504">
                  <a:extLst>
                    <a:ext uri="{FF2B5EF4-FFF2-40B4-BE49-F238E27FC236}">
                      <a16:creationId xmlns:a16="http://schemas.microsoft.com/office/drawing/2014/main" id="{FC22A8FF-4C6A-4241-85AA-64A27A4B585A}"/>
                    </a:ext>
                  </a:extLst>
                </p:cNvPr>
                <p:cNvSpPr/>
                <p:nvPr/>
              </p:nvSpPr>
              <p:spPr>
                <a:xfrm>
                  <a:off x="6055748" y="1942522"/>
                  <a:ext cx="18743" cy="58066"/>
                </a:xfrm>
                <a:custGeom>
                  <a:avLst/>
                  <a:gdLst>
                    <a:gd name="connsiteX0" fmla="*/ 6377 w 18743"/>
                    <a:gd name="connsiteY0" fmla="*/ 58066 h 58066"/>
                    <a:gd name="connsiteX1" fmla="*/ 0 w 18743"/>
                    <a:gd name="connsiteY1" fmla="*/ 51689 h 58066"/>
                    <a:gd name="connsiteX2" fmla="*/ 0 w 18743"/>
                    <a:gd name="connsiteY2" fmla="*/ 6377 h 58066"/>
                    <a:gd name="connsiteX3" fmla="*/ 6377 w 18743"/>
                    <a:gd name="connsiteY3" fmla="*/ 0 h 58066"/>
                    <a:gd name="connsiteX4" fmla="*/ 12366 w 18743"/>
                    <a:gd name="connsiteY4" fmla="*/ 0 h 58066"/>
                    <a:gd name="connsiteX5" fmla="*/ 18743 w 18743"/>
                    <a:gd name="connsiteY5" fmla="*/ 6377 h 58066"/>
                    <a:gd name="connsiteX6" fmla="*/ 12755 w 18743"/>
                    <a:gd name="connsiteY6" fmla="*/ 12742 h 58066"/>
                    <a:gd name="connsiteX7" fmla="*/ 12755 w 18743"/>
                    <a:gd name="connsiteY7" fmla="*/ 51689 h 58066"/>
                    <a:gd name="connsiteX8" fmla="*/ 6377 w 18743"/>
                    <a:gd name="connsiteY8" fmla="*/ 58066 h 58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43" h="58066">
                      <a:moveTo>
                        <a:pt x="6377" y="58066"/>
                      </a:moveTo>
                      <a:cubicBezTo>
                        <a:pt x="2857" y="58066"/>
                        <a:pt x="0" y="55209"/>
                        <a:pt x="0" y="51689"/>
                      </a:cubicBezTo>
                      <a:lnTo>
                        <a:pt x="0" y="6377"/>
                      </a:lnTo>
                      <a:cubicBezTo>
                        <a:pt x="0" y="2857"/>
                        <a:pt x="2857" y="0"/>
                        <a:pt x="6377" y="0"/>
                      </a:cubicBezTo>
                      <a:lnTo>
                        <a:pt x="12366" y="0"/>
                      </a:lnTo>
                      <a:cubicBezTo>
                        <a:pt x="15886" y="0"/>
                        <a:pt x="18743" y="2857"/>
                        <a:pt x="18743" y="6377"/>
                      </a:cubicBezTo>
                      <a:cubicBezTo>
                        <a:pt x="18743" y="9770"/>
                        <a:pt x="16097" y="12544"/>
                        <a:pt x="12755" y="12742"/>
                      </a:cubicBezTo>
                      <a:lnTo>
                        <a:pt x="12755" y="51689"/>
                      </a:lnTo>
                      <a:cubicBezTo>
                        <a:pt x="12755" y="55215"/>
                        <a:pt x="9898" y="58066"/>
                        <a:pt x="6377" y="58066"/>
                      </a:cubicBezTo>
                      <a:close/>
                    </a:path>
                  </a:pathLst>
                </a:custGeom>
                <a:solidFill>
                  <a:schemeClr val="accent1"/>
                </a:solidFill>
                <a:ln w="637" cap="flat">
                  <a:noFill/>
                  <a:prstDash val="solid"/>
                  <a:miter/>
                </a:ln>
              </p:spPr>
              <p:txBody>
                <a:bodyPr rtlCol="0" anchor="ctr"/>
                <a:lstStyle/>
                <a:p>
                  <a:endParaRPr lang="en-GB" dirty="0"/>
                </a:p>
              </p:txBody>
            </p:sp>
            <p:sp>
              <p:nvSpPr>
                <p:cNvPr id="506" name="Freeform: Shape 505">
                  <a:extLst>
                    <a:ext uri="{FF2B5EF4-FFF2-40B4-BE49-F238E27FC236}">
                      <a16:creationId xmlns:a16="http://schemas.microsoft.com/office/drawing/2014/main" id="{12ED9F6F-423D-4FAF-9632-49D141948F34}"/>
                    </a:ext>
                  </a:extLst>
                </p:cNvPr>
                <p:cNvSpPr/>
                <p:nvPr/>
              </p:nvSpPr>
              <p:spPr>
                <a:xfrm>
                  <a:off x="5924017" y="1852703"/>
                  <a:ext cx="180410" cy="147885"/>
                </a:xfrm>
                <a:custGeom>
                  <a:avLst/>
                  <a:gdLst>
                    <a:gd name="connsiteX0" fmla="*/ 174033 w 180410"/>
                    <a:gd name="connsiteY0" fmla="*/ 147885 h 147885"/>
                    <a:gd name="connsiteX1" fmla="*/ 167655 w 180410"/>
                    <a:gd name="connsiteY1" fmla="*/ 141508 h 147885"/>
                    <a:gd name="connsiteX2" fmla="*/ 167655 w 180410"/>
                    <a:gd name="connsiteY2" fmla="*/ 78231 h 147885"/>
                    <a:gd name="connsiteX3" fmla="*/ 108167 w 180410"/>
                    <a:gd name="connsiteY3" fmla="*/ 12755 h 147885"/>
                    <a:gd name="connsiteX4" fmla="*/ 72243 w 180410"/>
                    <a:gd name="connsiteY4" fmla="*/ 12755 h 147885"/>
                    <a:gd name="connsiteX5" fmla="*/ 12755 w 180410"/>
                    <a:gd name="connsiteY5" fmla="*/ 78231 h 147885"/>
                    <a:gd name="connsiteX6" fmla="*/ 12755 w 180410"/>
                    <a:gd name="connsiteY6" fmla="*/ 140979 h 147885"/>
                    <a:gd name="connsiteX7" fmla="*/ 6377 w 180410"/>
                    <a:gd name="connsiteY7" fmla="*/ 147356 h 147885"/>
                    <a:gd name="connsiteX8" fmla="*/ 0 w 180410"/>
                    <a:gd name="connsiteY8" fmla="*/ 140979 h 147885"/>
                    <a:gd name="connsiteX9" fmla="*/ 0 w 180410"/>
                    <a:gd name="connsiteY9" fmla="*/ 78231 h 147885"/>
                    <a:gd name="connsiteX10" fmla="*/ 72243 w 180410"/>
                    <a:gd name="connsiteY10" fmla="*/ 0 h 147885"/>
                    <a:gd name="connsiteX11" fmla="*/ 108167 w 180410"/>
                    <a:gd name="connsiteY11" fmla="*/ 0 h 147885"/>
                    <a:gd name="connsiteX12" fmla="*/ 180410 w 180410"/>
                    <a:gd name="connsiteY12" fmla="*/ 78231 h 147885"/>
                    <a:gd name="connsiteX13" fmla="*/ 180410 w 180410"/>
                    <a:gd name="connsiteY13" fmla="*/ 141508 h 147885"/>
                    <a:gd name="connsiteX14" fmla="*/ 174033 w 180410"/>
                    <a:gd name="connsiteY14" fmla="*/ 147885 h 14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0410" h="147885">
                      <a:moveTo>
                        <a:pt x="174033" y="147885"/>
                      </a:moveTo>
                      <a:cubicBezTo>
                        <a:pt x="170512" y="147885"/>
                        <a:pt x="167655" y="145028"/>
                        <a:pt x="167655" y="141508"/>
                      </a:cubicBezTo>
                      <a:lnTo>
                        <a:pt x="167655" y="78231"/>
                      </a:lnTo>
                      <a:cubicBezTo>
                        <a:pt x="167655" y="40292"/>
                        <a:pt x="142637" y="12755"/>
                        <a:pt x="108167" y="12755"/>
                      </a:cubicBezTo>
                      <a:lnTo>
                        <a:pt x="72243" y="12755"/>
                      </a:lnTo>
                      <a:cubicBezTo>
                        <a:pt x="37773" y="12755"/>
                        <a:pt x="12755" y="40292"/>
                        <a:pt x="12755" y="78231"/>
                      </a:cubicBezTo>
                      <a:lnTo>
                        <a:pt x="12755" y="140979"/>
                      </a:lnTo>
                      <a:cubicBezTo>
                        <a:pt x="12755" y="144499"/>
                        <a:pt x="9898" y="147356"/>
                        <a:pt x="6377" y="147356"/>
                      </a:cubicBezTo>
                      <a:cubicBezTo>
                        <a:pt x="2857" y="147356"/>
                        <a:pt x="0" y="144499"/>
                        <a:pt x="0" y="140979"/>
                      </a:cubicBezTo>
                      <a:lnTo>
                        <a:pt x="0" y="78231"/>
                      </a:lnTo>
                      <a:cubicBezTo>
                        <a:pt x="0" y="33634"/>
                        <a:pt x="31058" y="0"/>
                        <a:pt x="72243" y="0"/>
                      </a:cubicBezTo>
                      <a:lnTo>
                        <a:pt x="108167" y="0"/>
                      </a:lnTo>
                      <a:cubicBezTo>
                        <a:pt x="149352" y="0"/>
                        <a:pt x="180410" y="33634"/>
                        <a:pt x="180410" y="78231"/>
                      </a:cubicBezTo>
                      <a:lnTo>
                        <a:pt x="180410" y="141508"/>
                      </a:lnTo>
                      <a:cubicBezTo>
                        <a:pt x="180410" y="145035"/>
                        <a:pt x="177559" y="147885"/>
                        <a:pt x="174033" y="147885"/>
                      </a:cubicBezTo>
                      <a:close/>
                    </a:path>
                  </a:pathLst>
                </a:custGeom>
                <a:solidFill>
                  <a:schemeClr val="accent1"/>
                </a:solidFill>
                <a:ln w="637" cap="flat">
                  <a:noFill/>
                  <a:prstDash val="solid"/>
                  <a:miter/>
                </a:ln>
              </p:spPr>
              <p:txBody>
                <a:bodyPr rtlCol="0" anchor="ctr"/>
                <a:lstStyle/>
                <a:p>
                  <a:endParaRPr lang="en-GB" dirty="0"/>
                </a:p>
              </p:txBody>
            </p:sp>
            <p:sp>
              <p:nvSpPr>
                <p:cNvPr id="507" name="Freeform: Shape 506">
                  <a:extLst>
                    <a:ext uri="{FF2B5EF4-FFF2-40B4-BE49-F238E27FC236}">
                      <a16:creationId xmlns:a16="http://schemas.microsoft.com/office/drawing/2014/main" id="{F8BF1177-1593-4184-8735-85524A725F5C}"/>
                    </a:ext>
                  </a:extLst>
                </p:cNvPr>
                <p:cNvSpPr/>
                <p:nvPr/>
              </p:nvSpPr>
              <p:spPr>
                <a:xfrm>
                  <a:off x="5971917" y="1744931"/>
                  <a:ext cx="84608" cy="96579"/>
                </a:xfrm>
                <a:custGeom>
                  <a:avLst/>
                  <a:gdLst>
                    <a:gd name="connsiteX0" fmla="*/ 42308 w 84608"/>
                    <a:gd name="connsiteY0" fmla="*/ 96579 h 96579"/>
                    <a:gd name="connsiteX1" fmla="*/ 0 w 84608"/>
                    <a:gd name="connsiteY1" fmla="*/ 48290 h 96579"/>
                    <a:gd name="connsiteX2" fmla="*/ 42308 w 84608"/>
                    <a:gd name="connsiteY2" fmla="*/ 0 h 96579"/>
                    <a:gd name="connsiteX3" fmla="*/ 84609 w 84608"/>
                    <a:gd name="connsiteY3" fmla="*/ 48290 h 96579"/>
                    <a:gd name="connsiteX4" fmla="*/ 42308 w 84608"/>
                    <a:gd name="connsiteY4" fmla="*/ 96579 h 96579"/>
                    <a:gd name="connsiteX5" fmla="*/ 42308 w 84608"/>
                    <a:gd name="connsiteY5" fmla="*/ 12748 h 96579"/>
                    <a:gd name="connsiteX6" fmla="*/ 12755 w 84608"/>
                    <a:gd name="connsiteY6" fmla="*/ 48283 h 96579"/>
                    <a:gd name="connsiteX7" fmla="*/ 42308 w 84608"/>
                    <a:gd name="connsiteY7" fmla="*/ 83818 h 96579"/>
                    <a:gd name="connsiteX8" fmla="*/ 71854 w 84608"/>
                    <a:gd name="connsiteY8" fmla="*/ 48283 h 96579"/>
                    <a:gd name="connsiteX9" fmla="*/ 42308 w 84608"/>
                    <a:gd name="connsiteY9" fmla="*/ 12748 h 96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608" h="96579">
                      <a:moveTo>
                        <a:pt x="42308" y="96579"/>
                      </a:moveTo>
                      <a:cubicBezTo>
                        <a:pt x="17398" y="96579"/>
                        <a:pt x="0" y="76720"/>
                        <a:pt x="0" y="48290"/>
                      </a:cubicBezTo>
                      <a:cubicBezTo>
                        <a:pt x="0" y="19859"/>
                        <a:pt x="17398" y="0"/>
                        <a:pt x="42308" y="0"/>
                      </a:cubicBezTo>
                      <a:cubicBezTo>
                        <a:pt x="67218" y="0"/>
                        <a:pt x="84609" y="19859"/>
                        <a:pt x="84609" y="48290"/>
                      </a:cubicBezTo>
                      <a:cubicBezTo>
                        <a:pt x="84609" y="76720"/>
                        <a:pt x="67218" y="96579"/>
                        <a:pt x="42308" y="96579"/>
                      </a:cubicBezTo>
                      <a:close/>
                      <a:moveTo>
                        <a:pt x="42308" y="12748"/>
                      </a:moveTo>
                      <a:cubicBezTo>
                        <a:pt x="20497" y="12748"/>
                        <a:pt x="12755" y="31893"/>
                        <a:pt x="12755" y="48283"/>
                      </a:cubicBezTo>
                      <a:cubicBezTo>
                        <a:pt x="12755" y="64673"/>
                        <a:pt x="20491" y="83818"/>
                        <a:pt x="42308" y="83818"/>
                      </a:cubicBezTo>
                      <a:cubicBezTo>
                        <a:pt x="64118" y="83818"/>
                        <a:pt x="71854" y="64673"/>
                        <a:pt x="71854" y="48283"/>
                      </a:cubicBezTo>
                      <a:cubicBezTo>
                        <a:pt x="71854" y="31893"/>
                        <a:pt x="64118" y="12748"/>
                        <a:pt x="42308" y="12748"/>
                      </a:cubicBezTo>
                      <a:close/>
                    </a:path>
                  </a:pathLst>
                </a:custGeom>
                <a:solidFill>
                  <a:schemeClr val="accent1"/>
                </a:solidFill>
                <a:ln w="637" cap="flat">
                  <a:noFill/>
                  <a:prstDash val="solid"/>
                  <a:miter/>
                </a:ln>
              </p:spPr>
              <p:txBody>
                <a:bodyPr rtlCol="0" anchor="ctr"/>
                <a:lstStyle/>
                <a:p>
                  <a:endParaRPr lang="en-GB" dirty="0"/>
                </a:p>
              </p:txBody>
            </p:sp>
          </p:grpSp>
        </p:grpSp>
      </p:grpSp>
      <p:grpSp>
        <p:nvGrpSpPr>
          <p:cNvPr id="16" name="Group 15">
            <a:extLst>
              <a:ext uri="{FF2B5EF4-FFF2-40B4-BE49-F238E27FC236}">
                <a16:creationId xmlns:a16="http://schemas.microsoft.com/office/drawing/2014/main" id="{3436D8B8-DAC6-B77E-146D-111CF925F2F5}"/>
              </a:ext>
            </a:extLst>
          </p:cNvPr>
          <p:cNvGrpSpPr/>
          <p:nvPr/>
        </p:nvGrpSpPr>
        <p:grpSpPr>
          <a:xfrm>
            <a:off x="2712873" y="3229130"/>
            <a:ext cx="344090" cy="419664"/>
            <a:chOff x="2712873" y="3229130"/>
            <a:chExt cx="344090" cy="419664"/>
          </a:xfrm>
        </p:grpSpPr>
        <p:grpSp>
          <p:nvGrpSpPr>
            <p:cNvPr id="519" name="Graphic 32">
              <a:extLst>
                <a:ext uri="{FF2B5EF4-FFF2-40B4-BE49-F238E27FC236}">
                  <a16:creationId xmlns:a16="http://schemas.microsoft.com/office/drawing/2014/main" id="{5C008CA4-294D-4B26-A041-5F8651CE355F}"/>
                </a:ext>
              </a:extLst>
            </p:cNvPr>
            <p:cNvGrpSpPr/>
            <p:nvPr/>
          </p:nvGrpSpPr>
          <p:grpSpPr>
            <a:xfrm>
              <a:off x="2712873" y="3229130"/>
              <a:ext cx="319403" cy="419664"/>
              <a:chOff x="5091658" y="1623793"/>
              <a:chExt cx="319403" cy="419664"/>
            </a:xfrm>
            <a:solidFill>
              <a:schemeClr val="tx2"/>
            </a:solidFill>
          </p:grpSpPr>
          <p:sp>
            <p:nvSpPr>
              <p:cNvPr id="527" name="Freeform: Shape 526">
                <a:extLst>
                  <a:ext uri="{FF2B5EF4-FFF2-40B4-BE49-F238E27FC236}">
                    <a16:creationId xmlns:a16="http://schemas.microsoft.com/office/drawing/2014/main" id="{273B548B-5E0D-4A86-87E1-7B6AB95D0F6B}"/>
                  </a:ext>
                </a:extLst>
              </p:cNvPr>
              <p:cNvSpPr/>
              <p:nvPr/>
            </p:nvSpPr>
            <p:spPr>
              <a:xfrm>
                <a:off x="5091658" y="1623793"/>
                <a:ext cx="318869" cy="286982"/>
              </a:xfrm>
              <a:custGeom>
                <a:avLst/>
                <a:gdLst>
                  <a:gd name="connsiteX0" fmla="*/ 33099 w 318869"/>
                  <a:gd name="connsiteY0" fmla="*/ 286983 h 286982"/>
                  <a:gd name="connsiteX1" fmla="*/ 6377 w 318869"/>
                  <a:gd name="connsiteY1" fmla="*/ 286983 h 286982"/>
                  <a:gd name="connsiteX2" fmla="*/ 0 w 318869"/>
                  <a:gd name="connsiteY2" fmla="*/ 280605 h 286982"/>
                  <a:gd name="connsiteX3" fmla="*/ 0 w 318869"/>
                  <a:gd name="connsiteY3" fmla="*/ 98416 h 286982"/>
                  <a:gd name="connsiteX4" fmla="*/ 98416 w 318869"/>
                  <a:gd name="connsiteY4" fmla="*/ 0 h 286982"/>
                  <a:gd name="connsiteX5" fmla="*/ 312492 w 318869"/>
                  <a:gd name="connsiteY5" fmla="*/ 0 h 286982"/>
                  <a:gd name="connsiteX6" fmla="*/ 318870 w 318869"/>
                  <a:gd name="connsiteY6" fmla="*/ 6377 h 286982"/>
                  <a:gd name="connsiteX7" fmla="*/ 248718 w 318869"/>
                  <a:gd name="connsiteY7" fmla="*/ 76529 h 286982"/>
                  <a:gd name="connsiteX8" fmla="*/ 216379 w 318869"/>
                  <a:gd name="connsiteY8" fmla="*/ 76529 h 286982"/>
                  <a:gd name="connsiteX9" fmla="*/ 172190 w 318869"/>
                  <a:gd name="connsiteY9" fmla="*/ 114793 h 286982"/>
                  <a:gd name="connsiteX10" fmla="*/ 159435 w 318869"/>
                  <a:gd name="connsiteY10" fmla="*/ 114793 h 286982"/>
                  <a:gd name="connsiteX11" fmla="*/ 159435 w 318869"/>
                  <a:gd name="connsiteY11" fmla="*/ 160647 h 286982"/>
                  <a:gd name="connsiteX12" fmla="*/ 33099 w 318869"/>
                  <a:gd name="connsiteY12" fmla="*/ 286983 h 286982"/>
                  <a:gd name="connsiteX13" fmla="*/ 12755 w 318869"/>
                  <a:gd name="connsiteY13" fmla="*/ 274228 h 286982"/>
                  <a:gd name="connsiteX14" fmla="*/ 33099 w 318869"/>
                  <a:gd name="connsiteY14" fmla="*/ 274228 h 286982"/>
                  <a:gd name="connsiteX15" fmla="*/ 146680 w 318869"/>
                  <a:gd name="connsiteY15" fmla="*/ 160647 h 286982"/>
                  <a:gd name="connsiteX16" fmla="*/ 146680 w 318869"/>
                  <a:gd name="connsiteY16" fmla="*/ 108416 h 286982"/>
                  <a:gd name="connsiteX17" fmla="*/ 153057 w 318869"/>
                  <a:gd name="connsiteY17" fmla="*/ 102038 h 286982"/>
                  <a:gd name="connsiteX18" fmla="*/ 172190 w 318869"/>
                  <a:gd name="connsiteY18" fmla="*/ 102038 h 286982"/>
                  <a:gd name="connsiteX19" fmla="*/ 204077 w 318869"/>
                  <a:gd name="connsiteY19" fmla="*/ 70151 h 286982"/>
                  <a:gd name="connsiteX20" fmla="*/ 210454 w 318869"/>
                  <a:gd name="connsiteY20" fmla="*/ 63774 h 286982"/>
                  <a:gd name="connsiteX21" fmla="*/ 248718 w 318869"/>
                  <a:gd name="connsiteY21" fmla="*/ 63774 h 286982"/>
                  <a:gd name="connsiteX22" fmla="*/ 305764 w 318869"/>
                  <a:gd name="connsiteY22" fmla="*/ 12755 h 286982"/>
                  <a:gd name="connsiteX23" fmla="*/ 98416 w 318869"/>
                  <a:gd name="connsiteY23" fmla="*/ 12755 h 286982"/>
                  <a:gd name="connsiteX24" fmla="*/ 12755 w 318869"/>
                  <a:gd name="connsiteY24" fmla="*/ 98416 h 286982"/>
                  <a:gd name="connsiteX25" fmla="*/ 12755 w 318869"/>
                  <a:gd name="connsiteY25" fmla="*/ 274228 h 286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18869" h="286982">
                    <a:moveTo>
                      <a:pt x="33099" y="286983"/>
                    </a:moveTo>
                    <a:lnTo>
                      <a:pt x="6377" y="286983"/>
                    </a:lnTo>
                    <a:cubicBezTo>
                      <a:pt x="2857" y="286983"/>
                      <a:pt x="0" y="284126"/>
                      <a:pt x="0" y="280605"/>
                    </a:cubicBezTo>
                    <a:lnTo>
                      <a:pt x="0" y="98416"/>
                    </a:lnTo>
                    <a:cubicBezTo>
                      <a:pt x="0" y="44151"/>
                      <a:pt x="44151" y="0"/>
                      <a:pt x="98416" y="0"/>
                    </a:cubicBezTo>
                    <a:lnTo>
                      <a:pt x="312492" y="0"/>
                    </a:lnTo>
                    <a:cubicBezTo>
                      <a:pt x="316013" y="0"/>
                      <a:pt x="318870" y="2857"/>
                      <a:pt x="318870" y="6377"/>
                    </a:cubicBezTo>
                    <a:cubicBezTo>
                      <a:pt x="318870" y="45056"/>
                      <a:pt x="287397" y="76529"/>
                      <a:pt x="248718" y="76529"/>
                    </a:cubicBezTo>
                    <a:lnTo>
                      <a:pt x="216379" y="76529"/>
                    </a:lnTo>
                    <a:cubicBezTo>
                      <a:pt x="213273" y="98135"/>
                      <a:pt x="194644" y="114793"/>
                      <a:pt x="172190" y="114793"/>
                    </a:cubicBezTo>
                    <a:lnTo>
                      <a:pt x="159435" y="114793"/>
                    </a:lnTo>
                    <a:lnTo>
                      <a:pt x="159435" y="160647"/>
                    </a:lnTo>
                    <a:cubicBezTo>
                      <a:pt x="159435" y="230307"/>
                      <a:pt x="102765" y="286983"/>
                      <a:pt x="33099" y="286983"/>
                    </a:cubicBezTo>
                    <a:close/>
                    <a:moveTo>
                      <a:pt x="12755" y="274228"/>
                    </a:moveTo>
                    <a:lnTo>
                      <a:pt x="33099" y="274228"/>
                    </a:lnTo>
                    <a:cubicBezTo>
                      <a:pt x="95725" y="274228"/>
                      <a:pt x="146680" y="223273"/>
                      <a:pt x="146680" y="160647"/>
                    </a:cubicBezTo>
                    <a:lnTo>
                      <a:pt x="146680" y="108416"/>
                    </a:lnTo>
                    <a:cubicBezTo>
                      <a:pt x="146680" y="104895"/>
                      <a:pt x="149537" y="102038"/>
                      <a:pt x="153057" y="102038"/>
                    </a:cubicBezTo>
                    <a:lnTo>
                      <a:pt x="172190" y="102038"/>
                    </a:lnTo>
                    <a:cubicBezTo>
                      <a:pt x="189772" y="102038"/>
                      <a:pt x="204077" y="87734"/>
                      <a:pt x="204077" y="70151"/>
                    </a:cubicBezTo>
                    <a:cubicBezTo>
                      <a:pt x="204077" y="66631"/>
                      <a:pt x="206934" y="63774"/>
                      <a:pt x="210454" y="63774"/>
                    </a:cubicBezTo>
                    <a:lnTo>
                      <a:pt x="248718" y="63774"/>
                    </a:lnTo>
                    <a:cubicBezTo>
                      <a:pt x="278214" y="63774"/>
                      <a:pt x="302582" y="41415"/>
                      <a:pt x="305764" y="12755"/>
                    </a:cubicBezTo>
                    <a:lnTo>
                      <a:pt x="98416" y="12755"/>
                    </a:lnTo>
                    <a:cubicBezTo>
                      <a:pt x="51179" y="12755"/>
                      <a:pt x="12755" y="51179"/>
                      <a:pt x="12755" y="98416"/>
                    </a:cubicBezTo>
                    <a:lnTo>
                      <a:pt x="12755" y="274228"/>
                    </a:lnTo>
                    <a:close/>
                  </a:path>
                </a:pathLst>
              </a:custGeom>
              <a:grpFill/>
              <a:ln w="637" cap="flat">
                <a:noFill/>
                <a:prstDash val="solid"/>
                <a:miter/>
              </a:ln>
            </p:spPr>
            <p:txBody>
              <a:bodyPr rtlCol="0" anchor="ctr"/>
              <a:lstStyle/>
              <a:p>
                <a:endParaRPr lang="en-GB" dirty="0"/>
              </a:p>
            </p:txBody>
          </p:sp>
          <p:grpSp>
            <p:nvGrpSpPr>
              <p:cNvPr id="528" name="Graphic 32">
                <a:extLst>
                  <a:ext uri="{FF2B5EF4-FFF2-40B4-BE49-F238E27FC236}">
                    <a16:creationId xmlns:a16="http://schemas.microsoft.com/office/drawing/2014/main" id="{77D8492A-AC38-4121-AE2F-E72F9F0A3C10}"/>
                  </a:ext>
                </a:extLst>
              </p:cNvPr>
              <p:cNvGrpSpPr/>
              <p:nvPr/>
            </p:nvGrpSpPr>
            <p:grpSpPr>
              <a:xfrm>
                <a:off x="5106103" y="1684869"/>
                <a:ext cx="304958" cy="358588"/>
                <a:chOff x="5106103" y="1684869"/>
                <a:chExt cx="304958" cy="358588"/>
              </a:xfrm>
              <a:grpFill/>
            </p:grpSpPr>
            <p:sp>
              <p:nvSpPr>
                <p:cNvPr id="529" name="Freeform: Shape 528">
                  <a:extLst>
                    <a:ext uri="{FF2B5EF4-FFF2-40B4-BE49-F238E27FC236}">
                      <a16:creationId xmlns:a16="http://schemas.microsoft.com/office/drawing/2014/main" id="{F32038ED-643C-4E4B-B9ED-AEFF98BA29EC}"/>
                    </a:ext>
                  </a:extLst>
                </p:cNvPr>
                <p:cNvSpPr/>
                <p:nvPr/>
              </p:nvSpPr>
              <p:spPr>
                <a:xfrm>
                  <a:off x="5283350" y="1974390"/>
                  <a:ext cx="45330" cy="69067"/>
                </a:xfrm>
                <a:custGeom>
                  <a:avLst/>
                  <a:gdLst>
                    <a:gd name="connsiteX0" fmla="*/ 6377 w 45330"/>
                    <a:gd name="connsiteY0" fmla="*/ 69067 h 69067"/>
                    <a:gd name="connsiteX1" fmla="*/ 0 w 45330"/>
                    <a:gd name="connsiteY1" fmla="*/ 62690 h 69067"/>
                    <a:gd name="connsiteX2" fmla="*/ 0 w 45330"/>
                    <a:gd name="connsiteY2" fmla="*/ 6377 h 69067"/>
                    <a:gd name="connsiteX3" fmla="*/ 6377 w 45330"/>
                    <a:gd name="connsiteY3" fmla="*/ 0 h 69067"/>
                    <a:gd name="connsiteX4" fmla="*/ 38953 w 45330"/>
                    <a:gd name="connsiteY4" fmla="*/ 0 h 69067"/>
                    <a:gd name="connsiteX5" fmla="*/ 45331 w 45330"/>
                    <a:gd name="connsiteY5" fmla="*/ 6377 h 69067"/>
                    <a:gd name="connsiteX6" fmla="*/ 38953 w 45330"/>
                    <a:gd name="connsiteY6" fmla="*/ 12755 h 69067"/>
                    <a:gd name="connsiteX7" fmla="*/ 12755 w 45330"/>
                    <a:gd name="connsiteY7" fmla="*/ 12755 h 69067"/>
                    <a:gd name="connsiteX8" fmla="*/ 12755 w 45330"/>
                    <a:gd name="connsiteY8" fmla="*/ 62690 h 69067"/>
                    <a:gd name="connsiteX9" fmla="*/ 6377 w 45330"/>
                    <a:gd name="connsiteY9" fmla="*/ 69067 h 6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330" h="69067">
                      <a:moveTo>
                        <a:pt x="6377" y="69067"/>
                      </a:moveTo>
                      <a:cubicBezTo>
                        <a:pt x="2857" y="69067"/>
                        <a:pt x="0" y="66210"/>
                        <a:pt x="0" y="62690"/>
                      </a:cubicBezTo>
                      <a:lnTo>
                        <a:pt x="0" y="6377"/>
                      </a:lnTo>
                      <a:cubicBezTo>
                        <a:pt x="0" y="2857"/>
                        <a:pt x="2857" y="0"/>
                        <a:pt x="6377" y="0"/>
                      </a:cubicBezTo>
                      <a:lnTo>
                        <a:pt x="38953" y="0"/>
                      </a:lnTo>
                      <a:cubicBezTo>
                        <a:pt x="42473" y="0"/>
                        <a:pt x="45331" y="2857"/>
                        <a:pt x="45331" y="6377"/>
                      </a:cubicBezTo>
                      <a:cubicBezTo>
                        <a:pt x="45331" y="9898"/>
                        <a:pt x="42473" y="12755"/>
                        <a:pt x="38953" y="12755"/>
                      </a:cubicBezTo>
                      <a:lnTo>
                        <a:pt x="12755" y="12755"/>
                      </a:lnTo>
                      <a:lnTo>
                        <a:pt x="12755" y="62690"/>
                      </a:lnTo>
                      <a:cubicBezTo>
                        <a:pt x="12755" y="66210"/>
                        <a:pt x="9904" y="69067"/>
                        <a:pt x="6377" y="69067"/>
                      </a:cubicBezTo>
                      <a:close/>
                    </a:path>
                  </a:pathLst>
                </a:custGeom>
                <a:grpFill/>
                <a:ln w="637" cap="flat">
                  <a:noFill/>
                  <a:prstDash val="solid"/>
                  <a:miter/>
                </a:ln>
              </p:spPr>
              <p:txBody>
                <a:bodyPr rtlCol="0" anchor="ctr"/>
                <a:lstStyle/>
                <a:p>
                  <a:endParaRPr lang="en-GB" dirty="0"/>
                </a:p>
              </p:txBody>
            </p:sp>
            <p:sp>
              <p:nvSpPr>
                <p:cNvPr id="530" name="Freeform: Shape 529">
                  <a:extLst>
                    <a:ext uri="{FF2B5EF4-FFF2-40B4-BE49-F238E27FC236}">
                      <a16:creationId xmlns:a16="http://schemas.microsoft.com/office/drawing/2014/main" id="{B07D72A0-0DD8-467D-A292-73959A9CB2B1}"/>
                    </a:ext>
                  </a:extLst>
                </p:cNvPr>
                <p:cNvSpPr/>
                <p:nvPr/>
              </p:nvSpPr>
              <p:spPr>
                <a:xfrm>
                  <a:off x="5359314" y="1684869"/>
                  <a:ext cx="51747" cy="144326"/>
                </a:xfrm>
                <a:custGeom>
                  <a:avLst/>
                  <a:gdLst>
                    <a:gd name="connsiteX0" fmla="*/ 45359 w 51747"/>
                    <a:gd name="connsiteY0" fmla="*/ 144327 h 144326"/>
                    <a:gd name="connsiteX1" fmla="*/ 39147 w 51747"/>
                    <a:gd name="connsiteY1" fmla="*/ 139384 h 144326"/>
                    <a:gd name="connsiteX2" fmla="*/ 24932 w 51747"/>
                    <a:gd name="connsiteY2" fmla="*/ 77753 h 144326"/>
                    <a:gd name="connsiteX3" fmla="*/ 24792 w 51747"/>
                    <a:gd name="connsiteY3" fmla="*/ 76841 h 144326"/>
                    <a:gd name="connsiteX4" fmla="*/ 1113 w 51747"/>
                    <a:gd name="connsiteY4" fmla="*/ 9974 h 144326"/>
                    <a:gd name="connsiteX5" fmla="*/ 2783 w 51747"/>
                    <a:gd name="connsiteY5" fmla="*/ 1110 h 144326"/>
                    <a:gd name="connsiteX6" fmla="*/ 11648 w 51747"/>
                    <a:gd name="connsiteY6" fmla="*/ 2781 h 144326"/>
                    <a:gd name="connsiteX7" fmla="*/ 37470 w 51747"/>
                    <a:gd name="connsiteY7" fmla="*/ 75336 h 144326"/>
                    <a:gd name="connsiteX8" fmla="*/ 51583 w 51747"/>
                    <a:gd name="connsiteY8" fmla="*/ 136521 h 144326"/>
                    <a:gd name="connsiteX9" fmla="*/ 46800 w 51747"/>
                    <a:gd name="connsiteY9" fmla="*/ 144167 h 144326"/>
                    <a:gd name="connsiteX10" fmla="*/ 45359 w 51747"/>
                    <a:gd name="connsiteY10" fmla="*/ 144327 h 144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747" h="144326">
                      <a:moveTo>
                        <a:pt x="45359" y="144327"/>
                      </a:moveTo>
                      <a:cubicBezTo>
                        <a:pt x="42457" y="144327"/>
                        <a:pt x="39830" y="142331"/>
                        <a:pt x="39147" y="139384"/>
                      </a:cubicBezTo>
                      <a:lnTo>
                        <a:pt x="24932" y="77753"/>
                      </a:lnTo>
                      <a:cubicBezTo>
                        <a:pt x="24862" y="77454"/>
                        <a:pt x="24817" y="77147"/>
                        <a:pt x="24792" y="76841"/>
                      </a:cubicBezTo>
                      <a:cubicBezTo>
                        <a:pt x="22840" y="52913"/>
                        <a:pt x="14652" y="29789"/>
                        <a:pt x="1113" y="9974"/>
                      </a:cubicBezTo>
                      <a:cubicBezTo>
                        <a:pt x="-877" y="7066"/>
                        <a:pt x="-125" y="3100"/>
                        <a:pt x="2783" y="1110"/>
                      </a:cubicBezTo>
                      <a:cubicBezTo>
                        <a:pt x="5698" y="-874"/>
                        <a:pt x="9658" y="-127"/>
                        <a:pt x="11648" y="2781"/>
                      </a:cubicBezTo>
                      <a:cubicBezTo>
                        <a:pt x="26348" y="24292"/>
                        <a:pt x="35270" y="49374"/>
                        <a:pt x="37470" y="75336"/>
                      </a:cubicBezTo>
                      <a:lnTo>
                        <a:pt x="51583" y="136521"/>
                      </a:lnTo>
                      <a:cubicBezTo>
                        <a:pt x="52374" y="139952"/>
                        <a:pt x="50231" y="143377"/>
                        <a:pt x="46800" y="144167"/>
                      </a:cubicBezTo>
                      <a:cubicBezTo>
                        <a:pt x="46316" y="144276"/>
                        <a:pt x="45837" y="144327"/>
                        <a:pt x="45359" y="144327"/>
                      </a:cubicBezTo>
                      <a:close/>
                    </a:path>
                  </a:pathLst>
                </a:custGeom>
                <a:grpFill/>
                <a:ln w="637" cap="flat">
                  <a:noFill/>
                  <a:prstDash val="solid"/>
                  <a:miter/>
                </a:ln>
              </p:spPr>
              <p:txBody>
                <a:bodyPr rtlCol="0" anchor="ctr"/>
                <a:lstStyle/>
                <a:p>
                  <a:endParaRPr lang="en-GB" dirty="0"/>
                </a:p>
              </p:txBody>
            </p:sp>
            <p:sp>
              <p:nvSpPr>
                <p:cNvPr id="531" name="Freeform: Shape 530">
                  <a:extLst>
                    <a:ext uri="{FF2B5EF4-FFF2-40B4-BE49-F238E27FC236}">
                      <a16:creationId xmlns:a16="http://schemas.microsoft.com/office/drawing/2014/main" id="{D1DC6B48-9E0E-4505-811B-5FCBC484151D}"/>
                    </a:ext>
                  </a:extLst>
                </p:cNvPr>
                <p:cNvSpPr/>
                <p:nvPr/>
              </p:nvSpPr>
              <p:spPr>
                <a:xfrm>
                  <a:off x="5106103" y="1898754"/>
                  <a:ext cx="12754" cy="144703"/>
                </a:xfrm>
                <a:custGeom>
                  <a:avLst/>
                  <a:gdLst>
                    <a:gd name="connsiteX0" fmla="*/ 6377 w 12754"/>
                    <a:gd name="connsiteY0" fmla="*/ 144703 h 144703"/>
                    <a:gd name="connsiteX1" fmla="*/ 0 w 12754"/>
                    <a:gd name="connsiteY1" fmla="*/ 138326 h 144703"/>
                    <a:gd name="connsiteX2" fmla="*/ 0 w 12754"/>
                    <a:gd name="connsiteY2" fmla="*/ 6377 h 144703"/>
                    <a:gd name="connsiteX3" fmla="*/ 6377 w 12754"/>
                    <a:gd name="connsiteY3" fmla="*/ 0 h 144703"/>
                    <a:gd name="connsiteX4" fmla="*/ 12755 w 12754"/>
                    <a:gd name="connsiteY4" fmla="*/ 6377 h 144703"/>
                    <a:gd name="connsiteX5" fmla="*/ 12755 w 12754"/>
                    <a:gd name="connsiteY5" fmla="*/ 138326 h 144703"/>
                    <a:gd name="connsiteX6" fmla="*/ 6377 w 12754"/>
                    <a:gd name="connsiteY6" fmla="*/ 144703 h 14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144703">
                      <a:moveTo>
                        <a:pt x="6377" y="144703"/>
                      </a:moveTo>
                      <a:cubicBezTo>
                        <a:pt x="2857" y="144703"/>
                        <a:pt x="0" y="141846"/>
                        <a:pt x="0" y="138326"/>
                      </a:cubicBezTo>
                      <a:lnTo>
                        <a:pt x="0" y="6377"/>
                      </a:lnTo>
                      <a:cubicBezTo>
                        <a:pt x="0" y="2857"/>
                        <a:pt x="2857" y="0"/>
                        <a:pt x="6377" y="0"/>
                      </a:cubicBezTo>
                      <a:cubicBezTo>
                        <a:pt x="9898" y="0"/>
                        <a:pt x="12755" y="2857"/>
                        <a:pt x="12755" y="6377"/>
                      </a:cubicBezTo>
                      <a:lnTo>
                        <a:pt x="12755" y="138326"/>
                      </a:lnTo>
                      <a:cubicBezTo>
                        <a:pt x="12755" y="141846"/>
                        <a:pt x="9904" y="144703"/>
                        <a:pt x="6377" y="144703"/>
                      </a:cubicBezTo>
                      <a:close/>
                    </a:path>
                  </a:pathLst>
                </a:custGeom>
                <a:grpFill/>
                <a:ln w="637" cap="flat">
                  <a:noFill/>
                  <a:prstDash val="solid"/>
                  <a:miter/>
                </a:ln>
              </p:spPr>
              <p:txBody>
                <a:bodyPr rtlCol="0" anchor="ctr"/>
                <a:lstStyle/>
                <a:p>
                  <a:endParaRPr lang="en-GB" dirty="0"/>
                </a:p>
              </p:txBody>
            </p:sp>
          </p:grpSp>
        </p:grpSp>
        <p:grpSp>
          <p:nvGrpSpPr>
            <p:cNvPr id="520" name="Group 519">
              <a:extLst>
                <a:ext uri="{FF2B5EF4-FFF2-40B4-BE49-F238E27FC236}">
                  <a16:creationId xmlns:a16="http://schemas.microsoft.com/office/drawing/2014/main" id="{BAD9C687-E88C-4833-955C-29EC76E063B3}"/>
                </a:ext>
              </a:extLst>
            </p:cNvPr>
            <p:cNvGrpSpPr/>
            <p:nvPr/>
          </p:nvGrpSpPr>
          <p:grpSpPr>
            <a:xfrm>
              <a:off x="2829984" y="3394672"/>
              <a:ext cx="226979" cy="207375"/>
              <a:chOff x="739116" y="1763145"/>
              <a:chExt cx="226979" cy="207375"/>
            </a:xfrm>
          </p:grpSpPr>
          <p:grpSp>
            <p:nvGrpSpPr>
              <p:cNvPr id="521" name="Graphic 32">
                <a:extLst>
                  <a:ext uri="{FF2B5EF4-FFF2-40B4-BE49-F238E27FC236}">
                    <a16:creationId xmlns:a16="http://schemas.microsoft.com/office/drawing/2014/main" id="{726C9BA8-D25F-4CEB-9F2F-60EA93489D36}"/>
                  </a:ext>
                </a:extLst>
              </p:cNvPr>
              <p:cNvGrpSpPr/>
              <p:nvPr/>
            </p:nvGrpSpPr>
            <p:grpSpPr>
              <a:xfrm>
                <a:off x="739116" y="1763145"/>
                <a:ext cx="226979" cy="207375"/>
                <a:chOff x="5208769" y="1789335"/>
                <a:chExt cx="226979" cy="207375"/>
              </a:xfrm>
              <a:solidFill>
                <a:schemeClr val="accent1"/>
              </a:solidFill>
            </p:grpSpPr>
            <p:sp>
              <p:nvSpPr>
                <p:cNvPr id="524" name="Freeform: Shape 523">
                  <a:extLst>
                    <a:ext uri="{FF2B5EF4-FFF2-40B4-BE49-F238E27FC236}">
                      <a16:creationId xmlns:a16="http://schemas.microsoft.com/office/drawing/2014/main" id="{006BDFD8-236B-4015-AE89-ED659F2BFF9D}"/>
                    </a:ext>
                  </a:extLst>
                </p:cNvPr>
                <p:cNvSpPr/>
                <p:nvPr/>
              </p:nvSpPr>
              <p:spPr>
                <a:xfrm>
                  <a:off x="5283643" y="1818175"/>
                  <a:ext cx="152105" cy="178536"/>
                </a:xfrm>
                <a:custGeom>
                  <a:avLst/>
                  <a:gdLst>
                    <a:gd name="connsiteX0" fmla="*/ 48780 w 152105"/>
                    <a:gd name="connsiteY0" fmla="*/ 178536 h 178536"/>
                    <a:gd name="connsiteX1" fmla="*/ 48506 w 152105"/>
                    <a:gd name="connsiteY1" fmla="*/ 178536 h 178536"/>
                    <a:gd name="connsiteX2" fmla="*/ 42958 w 152105"/>
                    <a:gd name="connsiteY2" fmla="*/ 175258 h 178536"/>
                    <a:gd name="connsiteX3" fmla="*/ 803 w 152105"/>
                    <a:gd name="connsiteY3" fmla="*/ 99418 h 178536"/>
                    <a:gd name="connsiteX4" fmla="*/ 606 w 152105"/>
                    <a:gd name="connsiteY4" fmla="*/ 93615 h 178536"/>
                    <a:gd name="connsiteX5" fmla="*/ 42460 w 152105"/>
                    <a:gd name="connsiteY5" fmla="*/ 4331 h 178536"/>
                    <a:gd name="connsiteX6" fmla="*/ 48181 w 152105"/>
                    <a:gd name="connsiteY6" fmla="*/ 658 h 178536"/>
                    <a:gd name="connsiteX7" fmla="*/ 129958 w 152105"/>
                    <a:gd name="connsiteY7" fmla="*/ 1 h 178536"/>
                    <a:gd name="connsiteX8" fmla="*/ 135150 w 152105"/>
                    <a:gd name="connsiteY8" fmla="*/ 2609 h 178536"/>
                    <a:gd name="connsiteX9" fmla="*/ 142885 w 152105"/>
                    <a:gd name="connsiteY9" fmla="*/ 109801 h 178536"/>
                    <a:gd name="connsiteX10" fmla="*/ 48780 w 152105"/>
                    <a:gd name="connsiteY10" fmla="*/ 178536 h 178536"/>
                    <a:gd name="connsiteX11" fmla="*/ 13539 w 152105"/>
                    <a:gd name="connsiteY11" fmla="*/ 96076 h 178536"/>
                    <a:gd name="connsiteX12" fmla="*/ 52218 w 152105"/>
                    <a:gd name="connsiteY12" fmla="*/ 165660 h 178536"/>
                    <a:gd name="connsiteX13" fmla="*/ 131476 w 152105"/>
                    <a:gd name="connsiteY13" fmla="*/ 104099 h 178536"/>
                    <a:gd name="connsiteX14" fmla="*/ 126668 w 152105"/>
                    <a:gd name="connsiteY14" fmla="*/ 12788 h 178536"/>
                    <a:gd name="connsiteX15" fmla="*/ 52301 w 152105"/>
                    <a:gd name="connsiteY15" fmla="*/ 13387 h 178536"/>
                    <a:gd name="connsiteX16" fmla="*/ 13539 w 152105"/>
                    <a:gd name="connsiteY16" fmla="*/ 96076 h 178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105" h="178536">
                      <a:moveTo>
                        <a:pt x="48780" y="178536"/>
                      </a:moveTo>
                      <a:cubicBezTo>
                        <a:pt x="48691" y="178536"/>
                        <a:pt x="48602" y="178536"/>
                        <a:pt x="48506" y="178536"/>
                      </a:cubicBezTo>
                      <a:cubicBezTo>
                        <a:pt x="46204" y="178530"/>
                        <a:pt x="44080" y="177273"/>
                        <a:pt x="42958" y="175258"/>
                      </a:cubicBezTo>
                      <a:lnTo>
                        <a:pt x="803" y="99418"/>
                      </a:lnTo>
                      <a:cubicBezTo>
                        <a:pt x="-192" y="97626"/>
                        <a:pt x="-268" y="95464"/>
                        <a:pt x="606" y="93615"/>
                      </a:cubicBezTo>
                      <a:lnTo>
                        <a:pt x="42460" y="4331"/>
                      </a:lnTo>
                      <a:cubicBezTo>
                        <a:pt x="43500" y="2106"/>
                        <a:pt x="45726" y="677"/>
                        <a:pt x="48181" y="658"/>
                      </a:cubicBezTo>
                      <a:lnTo>
                        <a:pt x="129958" y="1"/>
                      </a:lnTo>
                      <a:cubicBezTo>
                        <a:pt x="131859" y="-37"/>
                        <a:pt x="133944" y="958"/>
                        <a:pt x="135150" y="2609"/>
                      </a:cubicBezTo>
                      <a:cubicBezTo>
                        <a:pt x="156010" y="31091"/>
                        <a:pt x="156437" y="82690"/>
                        <a:pt x="142885" y="109801"/>
                      </a:cubicBezTo>
                      <a:cubicBezTo>
                        <a:pt x="128594" y="138384"/>
                        <a:pt x="89978" y="178536"/>
                        <a:pt x="48780" y="178536"/>
                      </a:cubicBezTo>
                      <a:close/>
                      <a:moveTo>
                        <a:pt x="13539" y="96076"/>
                      </a:moveTo>
                      <a:lnTo>
                        <a:pt x="52218" y="165660"/>
                      </a:lnTo>
                      <a:cubicBezTo>
                        <a:pt x="83346" y="163505"/>
                        <a:pt x="117153" y="132747"/>
                        <a:pt x="131476" y="104099"/>
                      </a:cubicBezTo>
                      <a:cubicBezTo>
                        <a:pt x="142503" y="82046"/>
                        <a:pt x="142515" y="37532"/>
                        <a:pt x="126668" y="12788"/>
                      </a:cubicBezTo>
                      <a:lnTo>
                        <a:pt x="52301" y="13387"/>
                      </a:lnTo>
                      <a:lnTo>
                        <a:pt x="13539" y="96076"/>
                      </a:lnTo>
                      <a:close/>
                    </a:path>
                  </a:pathLst>
                </a:custGeom>
                <a:solidFill>
                  <a:schemeClr val="accent1"/>
                </a:solidFill>
                <a:ln w="637" cap="flat">
                  <a:noFill/>
                  <a:prstDash val="solid"/>
                  <a:miter/>
                </a:ln>
              </p:spPr>
              <p:txBody>
                <a:bodyPr rtlCol="0" anchor="ctr"/>
                <a:lstStyle/>
                <a:p>
                  <a:endParaRPr lang="en-GB" dirty="0"/>
                </a:p>
              </p:txBody>
            </p:sp>
            <p:sp>
              <p:nvSpPr>
                <p:cNvPr id="525" name="Freeform: Shape 524">
                  <a:extLst>
                    <a:ext uri="{FF2B5EF4-FFF2-40B4-BE49-F238E27FC236}">
                      <a16:creationId xmlns:a16="http://schemas.microsoft.com/office/drawing/2014/main" id="{BE893040-898E-46AB-B41E-8536E04D05D2}"/>
                    </a:ext>
                  </a:extLst>
                </p:cNvPr>
                <p:cNvSpPr/>
                <p:nvPr/>
              </p:nvSpPr>
              <p:spPr>
                <a:xfrm>
                  <a:off x="5264107" y="1789335"/>
                  <a:ext cx="71354" cy="42252"/>
                </a:xfrm>
                <a:custGeom>
                  <a:avLst/>
                  <a:gdLst>
                    <a:gd name="connsiteX0" fmla="*/ 64969 w 71354"/>
                    <a:gd name="connsiteY0" fmla="*/ 42253 h 42252"/>
                    <a:gd name="connsiteX1" fmla="*/ 62105 w 71354"/>
                    <a:gd name="connsiteY1" fmla="*/ 41570 h 42252"/>
                    <a:gd name="connsiteX2" fmla="*/ 3510 w 71354"/>
                    <a:gd name="connsiteY2" fmla="*/ 12075 h 42252"/>
                    <a:gd name="connsiteX3" fmla="*/ 685 w 71354"/>
                    <a:gd name="connsiteY3" fmla="*/ 3510 h 42252"/>
                    <a:gd name="connsiteX4" fmla="*/ 9250 w 71354"/>
                    <a:gd name="connsiteY4" fmla="*/ 685 h 42252"/>
                    <a:gd name="connsiteX5" fmla="*/ 67845 w 71354"/>
                    <a:gd name="connsiteY5" fmla="*/ 30180 h 42252"/>
                    <a:gd name="connsiteX6" fmla="*/ 70670 w 71354"/>
                    <a:gd name="connsiteY6" fmla="*/ 38745 h 42252"/>
                    <a:gd name="connsiteX7" fmla="*/ 64969 w 71354"/>
                    <a:gd name="connsiteY7" fmla="*/ 42253 h 4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354" h="42252">
                      <a:moveTo>
                        <a:pt x="64969" y="42253"/>
                      </a:moveTo>
                      <a:cubicBezTo>
                        <a:pt x="64006" y="42253"/>
                        <a:pt x="63030" y="42036"/>
                        <a:pt x="62105" y="41570"/>
                      </a:cubicBezTo>
                      <a:lnTo>
                        <a:pt x="3510" y="12075"/>
                      </a:lnTo>
                      <a:cubicBezTo>
                        <a:pt x="366" y="10493"/>
                        <a:pt x="-903" y="6654"/>
                        <a:pt x="685" y="3510"/>
                      </a:cubicBezTo>
                      <a:cubicBezTo>
                        <a:pt x="2266" y="366"/>
                        <a:pt x="6086" y="-903"/>
                        <a:pt x="9250" y="685"/>
                      </a:cubicBezTo>
                      <a:lnTo>
                        <a:pt x="67845" y="30180"/>
                      </a:lnTo>
                      <a:cubicBezTo>
                        <a:pt x="70989" y="31762"/>
                        <a:pt x="72258" y="35601"/>
                        <a:pt x="70670" y="38745"/>
                      </a:cubicBezTo>
                      <a:cubicBezTo>
                        <a:pt x="69554" y="40971"/>
                        <a:pt x="67303" y="42253"/>
                        <a:pt x="64969" y="42253"/>
                      </a:cubicBezTo>
                      <a:close/>
                    </a:path>
                  </a:pathLst>
                </a:custGeom>
                <a:solidFill>
                  <a:schemeClr val="accent1"/>
                </a:solidFill>
                <a:ln w="637" cap="flat">
                  <a:noFill/>
                  <a:prstDash val="solid"/>
                  <a:miter/>
                </a:ln>
              </p:spPr>
              <p:txBody>
                <a:bodyPr rtlCol="0" anchor="ctr"/>
                <a:lstStyle/>
                <a:p>
                  <a:endParaRPr lang="en-GB" dirty="0"/>
                </a:p>
              </p:txBody>
            </p:sp>
            <p:sp>
              <p:nvSpPr>
                <p:cNvPr id="526" name="Freeform: Shape 525">
                  <a:extLst>
                    <a:ext uri="{FF2B5EF4-FFF2-40B4-BE49-F238E27FC236}">
                      <a16:creationId xmlns:a16="http://schemas.microsoft.com/office/drawing/2014/main" id="{23F183C8-7E01-4E23-868E-7C9146E35C3E}"/>
                    </a:ext>
                  </a:extLst>
                </p:cNvPr>
                <p:cNvSpPr/>
                <p:nvPr/>
              </p:nvSpPr>
              <p:spPr>
                <a:xfrm>
                  <a:off x="5208769" y="1891372"/>
                  <a:ext cx="87632" cy="30296"/>
                </a:xfrm>
                <a:custGeom>
                  <a:avLst/>
                  <a:gdLst>
                    <a:gd name="connsiteX0" fmla="*/ 81258 w 87632"/>
                    <a:gd name="connsiteY0" fmla="*/ 30296 h 30296"/>
                    <a:gd name="connsiteX1" fmla="*/ 79798 w 87632"/>
                    <a:gd name="connsiteY1" fmla="*/ 30131 h 30296"/>
                    <a:gd name="connsiteX2" fmla="*/ 4927 w 87632"/>
                    <a:gd name="connsiteY2" fmla="*/ 12593 h 30296"/>
                    <a:gd name="connsiteX3" fmla="*/ 170 w 87632"/>
                    <a:gd name="connsiteY3" fmla="*/ 4927 h 30296"/>
                    <a:gd name="connsiteX4" fmla="*/ 7835 w 87632"/>
                    <a:gd name="connsiteY4" fmla="*/ 170 h 30296"/>
                    <a:gd name="connsiteX5" fmla="*/ 82706 w 87632"/>
                    <a:gd name="connsiteY5" fmla="*/ 17707 h 30296"/>
                    <a:gd name="connsiteX6" fmla="*/ 87463 w 87632"/>
                    <a:gd name="connsiteY6" fmla="*/ 25373 h 30296"/>
                    <a:gd name="connsiteX7" fmla="*/ 81258 w 87632"/>
                    <a:gd name="connsiteY7" fmla="*/ 30296 h 3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632" h="30296">
                      <a:moveTo>
                        <a:pt x="81258" y="30296"/>
                      </a:moveTo>
                      <a:cubicBezTo>
                        <a:pt x="80773" y="30296"/>
                        <a:pt x="80289" y="30245"/>
                        <a:pt x="79798" y="30131"/>
                      </a:cubicBezTo>
                      <a:lnTo>
                        <a:pt x="4927" y="12593"/>
                      </a:lnTo>
                      <a:cubicBezTo>
                        <a:pt x="1496" y="11789"/>
                        <a:pt x="-634" y="8358"/>
                        <a:pt x="170" y="4927"/>
                      </a:cubicBezTo>
                      <a:cubicBezTo>
                        <a:pt x="973" y="1496"/>
                        <a:pt x="4410" y="-634"/>
                        <a:pt x="7835" y="170"/>
                      </a:cubicBezTo>
                      <a:lnTo>
                        <a:pt x="82706" y="17707"/>
                      </a:lnTo>
                      <a:cubicBezTo>
                        <a:pt x="86137" y="18511"/>
                        <a:pt x="88267" y="21942"/>
                        <a:pt x="87463" y="25373"/>
                      </a:cubicBezTo>
                      <a:cubicBezTo>
                        <a:pt x="86775" y="28313"/>
                        <a:pt x="84153" y="30296"/>
                        <a:pt x="81258" y="30296"/>
                      </a:cubicBezTo>
                      <a:close/>
                    </a:path>
                  </a:pathLst>
                </a:custGeom>
                <a:solidFill>
                  <a:schemeClr val="accent1"/>
                </a:solidFill>
                <a:ln w="637" cap="flat">
                  <a:noFill/>
                  <a:prstDash val="solid"/>
                  <a:miter/>
                </a:ln>
              </p:spPr>
              <p:txBody>
                <a:bodyPr rtlCol="0" anchor="ctr"/>
                <a:lstStyle/>
                <a:p>
                  <a:endParaRPr lang="en-GB" dirty="0"/>
                </a:p>
              </p:txBody>
            </p:sp>
          </p:grpSp>
          <p:sp>
            <p:nvSpPr>
              <p:cNvPr id="522" name="Freeform: Shape 521">
                <a:extLst>
                  <a:ext uri="{FF2B5EF4-FFF2-40B4-BE49-F238E27FC236}">
                    <a16:creationId xmlns:a16="http://schemas.microsoft.com/office/drawing/2014/main" id="{401B61D0-FFC1-49BC-85FD-8F25C3785773}"/>
                  </a:ext>
                </a:extLst>
              </p:cNvPr>
              <p:cNvSpPr/>
              <p:nvPr/>
            </p:nvSpPr>
            <p:spPr>
              <a:xfrm>
                <a:off x="880486" y="1904782"/>
                <a:ext cx="41716" cy="42780"/>
              </a:xfrm>
              <a:custGeom>
                <a:avLst/>
                <a:gdLst>
                  <a:gd name="connsiteX0" fmla="*/ 35345 w 41716"/>
                  <a:gd name="connsiteY0" fmla="*/ 42780 h 42780"/>
                  <a:gd name="connsiteX1" fmla="*/ 30753 w 41716"/>
                  <a:gd name="connsiteY1" fmla="*/ 40829 h 42780"/>
                  <a:gd name="connsiteX2" fmla="*/ 1787 w 41716"/>
                  <a:gd name="connsiteY2" fmla="*/ 10804 h 42780"/>
                  <a:gd name="connsiteX3" fmla="*/ 1946 w 41716"/>
                  <a:gd name="connsiteY3" fmla="*/ 1787 h 42780"/>
                  <a:gd name="connsiteX4" fmla="*/ 10964 w 41716"/>
                  <a:gd name="connsiteY4" fmla="*/ 1946 h 42780"/>
                  <a:gd name="connsiteX5" fmla="*/ 39930 w 41716"/>
                  <a:gd name="connsiteY5" fmla="*/ 31971 h 42780"/>
                  <a:gd name="connsiteX6" fmla="*/ 39770 w 41716"/>
                  <a:gd name="connsiteY6" fmla="*/ 40988 h 42780"/>
                  <a:gd name="connsiteX7" fmla="*/ 35345 w 41716"/>
                  <a:gd name="connsiteY7" fmla="*/ 42780 h 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16" h="42780">
                    <a:moveTo>
                      <a:pt x="35345" y="42780"/>
                    </a:moveTo>
                    <a:cubicBezTo>
                      <a:pt x="33674" y="42780"/>
                      <a:pt x="32009" y="42130"/>
                      <a:pt x="30753" y="40829"/>
                    </a:cubicBezTo>
                    <a:lnTo>
                      <a:pt x="1787" y="10804"/>
                    </a:lnTo>
                    <a:cubicBezTo>
                      <a:pt x="-656" y="8272"/>
                      <a:pt x="-586" y="4229"/>
                      <a:pt x="1946" y="1787"/>
                    </a:cubicBezTo>
                    <a:cubicBezTo>
                      <a:pt x="4478" y="-650"/>
                      <a:pt x="8515" y="-592"/>
                      <a:pt x="10964" y="1946"/>
                    </a:cubicBezTo>
                    <a:lnTo>
                      <a:pt x="39930" y="31971"/>
                    </a:lnTo>
                    <a:cubicBezTo>
                      <a:pt x="42372" y="34503"/>
                      <a:pt x="42302" y="38546"/>
                      <a:pt x="39770" y="40988"/>
                    </a:cubicBezTo>
                    <a:cubicBezTo>
                      <a:pt x="38533" y="42187"/>
                      <a:pt x="36939" y="42780"/>
                      <a:pt x="35345" y="42780"/>
                    </a:cubicBezTo>
                    <a:close/>
                  </a:path>
                </a:pathLst>
              </a:custGeom>
              <a:solidFill>
                <a:schemeClr val="accent1"/>
              </a:solidFill>
              <a:ln w="637" cap="flat">
                <a:noFill/>
                <a:prstDash val="solid"/>
                <a:miter/>
              </a:ln>
            </p:spPr>
            <p:txBody>
              <a:bodyPr rtlCol="0" anchor="ctr"/>
              <a:lstStyle/>
              <a:p>
                <a:endParaRPr lang="en-GB" dirty="0"/>
              </a:p>
            </p:txBody>
          </p:sp>
          <p:sp>
            <p:nvSpPr>
              <p:cNvPr id="523" name="Freeform: Shape 522">
                <a:extLst>
                  <a:ext uri="{FF2B5EF4-FFF2-40B4-BE49-F238E27FC236}">
                    <a16:creationId xmlns:a16="http://schemas.microsoft.com/office/drawing/2014/main" id="{AEFA0E3E-211E-4DB9-B774-9B4BFC7A3526}"/>
                  </a:ext>
                </a:extLst>
              </p:cNvPr>
              <p:cNvSpPr/>
              <p:nvPr/>
            </p:nvSpPr>
            <p:spPr>
              <a:xfrm>
                <a:off x="916889" y="1844852"/>
                <a:ext cx="47041" cy="20072"/>
              </a:xfrm>
              <a:custGeom>
                <a:avLst/>
                <a:gdLst>
                  <a:gd name="connsiteX0" fmla="*/ 40663 w 47041"/>
                  <a:gd name="connsiteY0" fmla="*/ 20072 h 20072"/>
                  <a:gd name="connsiteX1" fmla="*/ 39330 w 47041"/>
                  <a:gd name="connsiteY1" fmla="*/ 19932 h 20072"/>
                  <a:gd name="connsiteX2" fmla="*/ 5052 w 47041"/>
                  <a:gd name="connsiteY2" fmla="*/ 12623 h 20072"/>
                  <a:gd name="connsiteX3" fmla="*/ 141 w 47041"/>
                  <a:gd name="connsiteY3" fmla="*/ 5053 h 20072"/>
                  <a:gd name="connsiteX4" fmla="*/ 7711 w 47041"/>
                  <a:gd name="connsiteY4" fmla="*/ 143 h 20072"/>
                  <a:gd name="connsiteX5" fmla="*/ 41989 w 47041"/>
                  <a:gd name="connsiteY5" fmla="*/ 7451 h 20072"/>
                  <a:gd name="connsiteX6" fmla="*/ 46900 w 47041"/>
                  <a:gd name="connsiteY6" fmla="*/ 15021 h 20072"/>
                  <a:gd name="connsiteX7" fmla="*/ 40663 w 47041"/>
                  <a:gd name="connsiteY7" fmla="*/ 20072 h 20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041" h="20072">
                    <a:moveTo>
                      <a:pt x="40663" y="20072"/>
                    </a:moveTo>
                    <a:cubicBezTo>
                      <a:pt x="40223" y="20072"/>
                      <a:pt x="39777" y="20028"/>
                      <a:pt x="39330" y="19932"/>
                    </a:cubicBezTo>
                    <a:lnTo>
                      <a:pt x="5052" y="12623"/>
                    </a:lnTo>
                    <a:cubicBezTo>
                      <a:pt x="1608" y="11890"/>
                      <a:pt x="-592" y="8504"/>
                      <a:pt x="141" y="5053"/>
                    </a:cubicBezTo>
                    <a:cubicBezTo>
                      <a:pt x="874" y="1610"/>
                      <a:pt x="4261" y="-597"/>
                      <a:pt x="7711" y="143"/>
                    </a:cubicBezTo>
                    <a:lnTo>
                      <a:pt x="41989" y="7451"/>
                    </a:lnTo>
                    <a:cubicBezTo>
                      <a:pt x="45433" y="8185"/>
                      <a:pt x="47633" y="11571"/>
                      <a:pt x="46900" y="15021"/>
                    </a:cubicBezTo>
                    <a:cubicBezTo>
                      <a:pt x="46256" y="18019"/>
                      <a:pt x="43609" y="20072"/>
                      <a:pt x="40663" y="20072"/>
                    </a:cubicBezTo>
                    <a:close/>
                  </a:path>
                </a:pathLst>
              </a:custGeom>
              <a:solidFill>
                <a:schemeClr val="accent1"/>
              </a:solidFill>
              <a:ln w="637" cap="flat">
                <a:noFill/>
                <a:prstDash val="solid"/>
                <a:miter/>
              </a:ln>
            </p:spPr>
            <p:txBody>
              <a:bodyPr rtlCol="0" anchor="ctr"/>
              <a:lstStyle/>
              <a:p>
                <a:endParaRPr lang="en-GB" dirty="0"/>
              </a:p>
            </p:txBody>
          </p:sp>
        </p:grpSp>
      </p:grpSp>
      <p:sp>
        <p:nvSpPr>
          <p:cNvPr id="1211" name="TextBox 4">
            <a:extLst>
              <a:ext uri="{FF2B5EF4-FFF2-40B4-BE49-F238E27FC236}">
                <a16:creationId xmlns:a16="http://schemas.microsoft.com/office/drawing/2014/main" id="{79546C93-76F0-42DD-A3EA-9023AF9B096A}"/>
              </a:ext>
            </a:extLst>
          </p:cNvPr>
          <p:cNvSpPr txBox="1"/>
          <p:nvPr/>
        </p:nvSpPr>
        <p:spPr>
          <a:xfrm>
            <a:off x="452119"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Virus examination</a:t>
            </a:r>
          </a:p>
        </p:txBody>
      </p:sp>
      <p:sp>
        <p:nvSpPr>
          <p:cNvPr id="1212" name="TextBox 5">
            <a:extLst>
              <a:ext uri="{FF2B5EF4-FFF2-40B4-BE49-F238E27FC236}">
                <a16:creationId xmlns:a16="http://schemas.microsoft.com/office/drawing/2014/main" id="{9195B543-D97E-40BC-A004-EFEC55C693DF}"/>
              </a:ext>
            </a:extLst>
          </p:cNvPr>
          <p:cNvSpPr txBox="1"/>
          <p:nvPr/>
        </p:nvSpPr>
        <p:spPr>
          <a:xfrm>
            <a:off x="3588420"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rus Overview</a:t>
            </a:r>
          </a:p>
        </p:txBody>
      </p:sp>
      <p:sp>
        <p:nvSpPr>
          <p:cNvPr id="1213" name="TextBox 6">
            <a:extLst>
              <a:ext uri="{FF2B5EF4-FFF2-40B4-BE49-F238E27FC236}">
                <a16:creationId xmlns:a16="http://schemas.microsoft.com/office/drawing/2014/main" id="{04962670-FC6F-4E5D-8CC6-D959CFEF440D}"/>
              </a:ext>
            </a:extLst>
          </p:cNvPr>
          <p:cNvSpPr txBox="1"/>
          <p:nvPr/>
        </p:nvSpPr>
        <p:spPr>
          <a:xfrm>
            <a:off x="254298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Fast spread of virus</a:t>
            </a:r>
          </a:p>
        </p:txBody>
      </p:sp>
      <p:sp>
        <p:nvSpPr>
          <p:cNvPr id="1214" name="TextBox 7">
            <a:extLst>
              <a:ext uri="{FF2B5EF4-FFF2-40B4-BE49-F238E27FC236}">
                <a16:creationId xmlns:a16="http://schemas.microsoft.com/office/drawing/2014/main" id="{8CBDEF9A-AF6B-4AF1-9731-31A6C57CBC74}"/>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filing</a:t>
            </a:r>
          </a:p>
        </p:txBody>
      </p:sp>
      <p:sp>
        <p:nvSpPr>
          <p:cNvPr id="1215" name="TextBox 8">
            <a:extLst>
              <a:ext uri="{FF2B5EF4-FFF2-40B4-BE49-F238E27FC236}">
                <a16:creationId xmlns:a16="http://schemas.microsoft.com/office/drawing/2014/main" id="{CC7DF37B-F74C-44EE-A95D-F0A6194FEE08}"/>
              </a:ext>
            </a:extLst>
          </p:cNvPr>
          <p:cNvSpPr txBox="1"/>
          <p:nvPr/>
        </p:nvSpPr>
        <p:spPr>
          <a:xfrm>
            <a:off x="452119" y="29271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formation</a:t>
            </a:r>
          </a:p>
        </p:txBody>
      </p:sp>
      <p:sp>
        <p:nvSpPr>
          <p:cNvPr id="1216" name="TextBox 9">
            <a:extLst>
              <a:ext uri="{FF2B5EF4-FFF2-40B4-BE49-F238E27FC236}">
                <a16:creationId xmlns:a16="http://schemas.microsoft.com/office/drawing/2014/main" id="{A9CA93AE-CE61-4906-B407-C4E72A16AC8F}"/>
              </a:ext>
            </a:extLst>
          </p:cNvPr>
          <p:cNvSpPr txBox="1"/>
          <p:nvPr/>
        </p:nvSpPr>
        <p:spPr>
          <a:xfrm>
            <a:off x="3588420" y="29271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pread of virus</a:t>
            </a:r>
          </a:p>
        </p:txBody>
      </p:sp>
      <p:sp>
        <p:nvSpPr>
          <p:cNvPr id="1217" name="TextBox 10">
            <a:extLst>
              <a:ext uri="{FF2B5EF4-FFF2-40B4-BE49-F238E27FC236}">
                <a16:creationId xmlns:a16="http://schemas.microsoft.com/office/drawing/2014/main" id="{EA73AE10-6414-4A7A-BFBC-478894E3F326}"/>
              </a:ext>
            </a:extLst>
          </p:cNvPr>
          <p:cNvSpPr txBox="1"/>
          <p:nvPr/>
        </p:nvSpPr>
        <p:spPr>
          <a:xfrm>
            <a:off x="2542987" y="29271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pread of virus</a:t>
            </a:r>
          </a:p>
        </p:txBody>
      </p:sp>
      <p:sp>
        <p:nvSpPr>
          <p:cNvPr id="1218" name="TextBox 11">
            <a:extLst>
              <a:ext uri="{FF2B5EF4-FFF2-40B4-BE49-F238E27FC236}">
                <a16:creationId xmlns:a16="http://schemas.microsoft.com/office/drawing/2014/main" id="{6663CBDD-70EE-4E0E-BEBA-096A456EE352}"/>
              </a:ext>
            </a:extLst>
          </p:cNvPr>
          <p:cNvSpPr txBox="1"/>
          <p:nvPr/>
        </p:nvSpPr>
        <p:spPr>
          <a:xfrm>
            <a:off x="1497553" y="29271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rus News</a:t>
            </a:r>
          </a:p>
        </p:txBody>
      </p:sp>
      <p:sp>
        <p:nvSpPr>
          <p:cNvPr id="1219" name="TextBox 12">
            <a:extLst>
              <a:ext uri="{FF2B5EF4-FFF2-40B4-BE49-F238E27FC236}">
                <a16:creationId xmlns:a16="http://schemas.microsoft.com/office/drawing/2014/main" id="{3D056D4D-500D-4808-AAB1-A5C4542EE9A7}"/>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rus King</a:t>
            </a:r>
          </a:p>
        </p:txBody>
      </p:sp>
      <p:sp>
        <p:nvSpPr>
          <p:cNvPr id="1220" name="TextBox 13">
            <a:extLst>
              <a:ext uri="{FF2B5EF4-FFF2-40B4-BE49-F238E27FC236}">
                <a16:creationId xmlns:a16="http://schemas.microsoft.com/office/drawing/2014/main" id="{BA8FE058-24D5-4821-8F97-0CC745BD3919}"/>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solation</a:t>
            </a:r>
          </a:p>
        </p:txBody>
      </p:sp>
      <p:sp>
        <p:nvSpPr>
          <p:cNvPr id="1221" name="TextBox 14">
            <a:extLst>
              <a:ext uri="{FF2B5EF4-FFF2-40B4-BE49-F238E27FC236}">
                <a16:creationId xmlns:a16="http://schemas.microsoft.com/office/drawing/2014/main" id="{ACE3EF0E-89D2-4E16-BB5D-DEC139428E3C}"/>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Facemask</a:t>
            </a:r>
          </a:p>
        </p:txBody>
      </p:sp>
      <p:sp>
        <p:nvSpPr>
          <p:cNvPr id="1222" name="TextBox 15">
            <a:extLst>
              <a:ext uri="{FF2B5EF4-FFF2-40B4-BE49-F238E27FC236}">
                <a16:creationId xmlns:a16="http://schemas.microsoft.com/office/drawing/2014/main" id="{B570817F-772D-4572-896C-59D557B96723}"/>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rus awareness</a:t>
            </a:r>
          </a:p>
        </p:txBody>
      </p:sp>
      <p:sp>
        <p:nvSpPr>
          <p:cNvPr id="1223" name="TextBox 16">
            <a:extLst>
              <a:ext uri="{FF2B5EF4-FFF2-40B4-BE49-F238E27FC236}">
                <a16:creationId xmlns:a16="http://schemas.microsoft.com/office/drawing/2014/main" id="{C42D7F9E-79A9-425C-9AD3-36185E1A40A5}"/>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trength</a:t>
            </a:r>
          </a:p>
        </p:txBody>
      </p:sp>
      <p:sp>
        <p:nvSpPr>
          <p:cNvPr id="1224" name="TextBox 17">
            <a:extLst>
              <a:ext uri="{FF2B5EF4-FFF2-40B4-BE49-F238E27FC236}">
                <a16:creationId xmlns:a16="http://schemas.microsoft.com/office/drawing/2014/main" id="{A95244DB-CE8F-44FE-99A5-2285FFE58FF8}"/>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Harmful virus</a:t>
            </a:r>
          </a:p>
        </p:txBody>
      </p:sp>
      <p:sp>
        <p:nvSpPr>
          <p:cNvPr id="1225" name="TextBox 18">
            <a:extLst>
              <a:ext uri="{FF2B5EF4-FFF2-40B4-BE49-F238E27FC236}">
                <a16:creationId xmlns:a16="http://schemas.microsoft.com/office/drawing/2014/main" id="{C1C3CD53-0841-4C7C-97A1-0F81D5C3FA0E}"/>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rus danger</a:t>
            </a:r>
          </a:p>
        </p:txBody>
      </p:sp>
      <p:sp>
        <p:nvSpPr>
          <p:cNvPr id="1226" name="TextBox 19">
            <a:extLst>
              <a:ext uri="{FF2B5EF4-FFF2-40B4-BE49-F238E27FC236}">
                <a16:creationId xmlns:a16="http://schemas.microsoft.com/office/drawing/2014/main" id="{37018D14-F440-43D6-91C2-A12F8048D0A7}"/>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argeted virus</a:t>
            </a:r>
          </a:p>
        </p:txBody>
      </p:sp>
      <p:grpSp>
        <p:nvGrpSpPr>
          <p:cNvPr id="28" name="Group 27">
            <a:extLst>
              <a:ext uri="{FF2B5EF4-FFF2-40B4-BE49-F238E27FC236}">
                <a16:creationId xmlns:a16="http://schemas.microsoft.com/office/drawing/2014/main" id="{B496CBC2-B297-9236-C7C6-C8A709AAD2C6}"/>
              </a:ext>
            </a:extLst>
          </p:cNvPr>
          <p:cNvGrpSpPr/>
          <p:nvPr/>
        </p:nvGrpSpPr>
        <p:grpSpPr>
          <a:xfrm>
            <a:off x="8119345" y="1627647"/>
            <a:ext cx="446647" cy="446839"/>
            <a:chOff x="8118933" y="1627647"/>
            <a:chExt cx="446647" cy="446839"/>
          </a:xfrm>
        </p:grpSpPr>
        <p:grpSp>
          <p:nvGrpSpPr>
            <p:cNvPr id="858" name="Graphic 32">
              <a:extLst>
                <a:ext uri="{FF2B5EF4-FFF2-40B4-BE49-F238E27FC236}">
                  <a16:creationId xmlns:a16="http://schemas.microsoft.com/office/drawing/2014/main" id="{194237AA-267A-4490-8B51-B004F2F4310D}"/>
                </a:ext>
              </a:extLst>
            </p:cNvPr>
            <p:cNvGrpSpPr/>
            <p:nvPr/>
          </p:nvGrpSpPr>
          <p:grpSpPr>
            <a:xfrm>
              <a:off x="8342403" y="1627647"/>
              <a:ext cx="223177" cy="223145"/>
              <a:chOff x="7696562" y="3217643"/>
              <a:chExt cx="223177" cy="223145"/>
            </a:xfrm>
            <a:solidFill>
              <a:schemeClr val="accent1"/>
            </a:solidFill>
          </p:grpSpPr>
          <p:grpSp>
            <p:nvGrpSpPr>
              <p:cNvPr id="879" name="Graphic 32">
                <a:extLst>
                  <a:ext uri="{FF2B5EF4-FFF2-40B4-BE49-F238E27FC236}">
                    <a16:creationId xmlns:a16="http://schemas.microsoft.com/office/drawing/2014/main" id="{52CEFEDA-382F-495F-8316-8BFCA0227438}"/>
                  </a:ext>
                </a:extLst>
              </p:cNvPr>
              <p:cNvGrpSpPr/>
              <p:nvPr/>
            </p:nvGrpSpPr>
            <p:grpSpPr>
              <a:xfrm>
                <a:off x="7696562" y="3217643"/>
                <a:ext cx="223177" cy="223145"/>
                <a:chOff x="7696562" y="3217643"/>
                <a:chExt cx="223177" cy="223145"/>
              </a:xfrm>
              <a:solidFill>
                <a:schemeClr val="accent1"/>
              </a:solidFill>
            </p:grpSpPr>
            <p:sp>
              <p:nvSpPr>
                <p:cNvPr id="883" name="Freeform: Shape 882">
                  <a:extLst>
                    <a:ext uri="{FF2B5EF4-FFF2-40B4-BE49-F238E27FC236}">
                      <a16:creationId xmlns:a16="http://schemas.microsoft.com/office/drawing/2014/main" id="{DAA89D42-F1ED-4327-9E34-DAEFCD6E807C}"/>
                    </a:ext>
                  </a:extLst>
                </p:cNvPr>
                <p:cNvSpPr/>
                <p:nvPr/>
              </p:nvSpPr>
              <p:spPr>
                <a:xfrm>
                  <a:off x="7739387" y="3260327"/>
                  <a:ext cx="137521" cy="137522"/>
                </a:xfrm>
                <a:custGeom>
                  <a:avLst/>
                  <a:gdLst>
                    <a:gd name="connsiteX0" fmla="*/ 68761 w 137521"/>
                    <a:gd name="connsiteY0" fmla="*/ 137522 h 137522"/>
                    <a:gd name="connsiteX1" fmla="*/ 0 w 137521"/>
                    <a:gd name="connsiteY1" fmla="*/ 68761 h 137522"/>
                    <a:gd name="connsiteX2" fmla="*/ 68761 w 137521"/>
                    <a:gd name="connsiteY2" fmla="*/ 0 h 137522"/>
                    <a:gd name="connsiteX3" fmla="*/ 137522 w 137521"/>
                    <a:gd name="connsiteY3" fmla="*/ 68761 h 137522"/>
                    <a:gd name="connsiteX4" fmla="*/ 68761 w 137521"/>
                    <a:gd name="connsiteY4" fmla="*/ 137522 h 137522"/>
                    <a:gd name="connsiteX5" fmla="*/ 68761 w 137521"/>
                    <a:gd name="connsiteY5" fmla="*/ 12755 h 137522"/>
                    <a:gd name="connsiteX6" fmla="*/ 12755 w 137521"/>
                    <a:gd name="connsiteY6" fmla="*/ 68761 h 137522"/>
                    <a:gd name="connsiteX7" fmla="*/ 68761 w 137521"/>
                    <a:gd name="connsiteY7" fmla="*/ 124767 h 137522"/>
                    <a:gd name="connsiteX8" fmla="*/ 124767 w 137521"/>
                    <a:gd name="connsiteY8" fmla="*/ 68761 h 137522"/>
                    <a:gd name="connsiteX9" fmla="*/ 68761 w 137521"/>
                    <a:gd name="connsiteY9" fmla="*/ 12755 h 13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521" h="137522">
                      <a:moveTo>
                        <a:pt x="68761" y="137522"/>
                      </a:moveTo>
                      <a:cubicBezTo>
                        <a:pt x="30847" y="137522"/>
                        <a:pt x="0" y="106675"/>
                        <a:pt x="0" y="68761"/>
                      </a:cubicBezTo>
                      <a:cubicBezTo>
                        <a:pt x="0" y="30847"/>
                        <a:pt x="30847" y="0"/>
                        <a:pt x="68761" y="0"/>
                      </a:cubicBezTo>
                      <a:cubicBezTo>
                        <a:pt x="106675" y="0"/>
                        <a:pt x="137522" y="30847"/>
                        <a:pt x="137522" y="68761"/>
                      </a:cubicBezTo>
                      <a:cubicBezTo>
                        <a:pt x="137522" y="106675"/>
                        <a:pt x="106681" y="137522"/>
                        <a:pt x="68761" y="137522"/>
                      </a:cubicBezTo>
                      <a:close/>
                      <a:moveTo>
                        <a:pt x="68761" y="12755"/>
                      </a:moveTo>
                      <a:cubicBezTo>
                        <a:pt x="37875" y="12755"/>
                        <a:pt x="12755" y="37875"/>
                        <a:pt x="12755" y="68761"/>
                      </a:cubicBezTo>
                      <a:cubicBezTo>
                        <a:pt x="12755" y="99647"/>
                        <a:pt x="37875" y="124767"/>
                        <a:pt x="68761" y="124767"/>
                      </a:cubicBezTo>
                      <a:cubicBezTo>
                        <a:pt x="99647" y="124767"/>
                        <a:pt x="124767" y="99647"/>
                        <a:pt x="124767" y="68761"/>
                      </a:cubicBezTo>
                      <a:cubicBezTo>
                        <a:pt x="124767" y="37875"/>
                        <a:pt x="99647" y="12755"/>
                        <a:pt x="68761" y="12755"/>
                      </a:cubicBezTo>
                      <a:close/>
                    </a:path>
                  </a:pathLst>
                </a:custGeom>
                <a:solidFill>
                  <a:schemeClr val="accent1"/>
                </a:solidFill>
                <a:ln w="637" cap="flat">
                  <a:noFill/>
                  <a:prstDash val="solid"/>
                  <a:miter/>
                </a:ln>
              </p:spPr>
              <p:txBody>
                <a:bodyPr rtlCol="0" anchor="ctr"/>
                <a:lstStyle/>
                <a:p>
                  <a:endParaRPr lang="en-GB" dirty="0"/>
                </a:p>
              </p:txBody>
            </p:sp>
            <p:grpSp>
              <p:nvGrpSpPr>
                <p:cNvPr id="884" name="Graphic 32">
                  <a:extLst>
                    <a:ext uri="{FF2B5EF4-FFF2-40B4-BE49-F238E27FC236}">
                      <a16:creationId xmlns:a16="http://schemas.microsoft.com/office/drawing/2014/main" id="{C7B6D26B-A996-4E8B-9C80-0AA0D6C6ADE3}"/>
                    </a:ext>
                  </a:extLst>
                </p:cNvPr>
                <p:cNvGrpSpPr/>
                <p:nvPr/>
              </p:nvGrpSpPr>
              <p:grpSpPr>
                <a:xfrm>
                  <a:off x="7696562" y="3308630"/>
                  <a:ext cx="55445" cy="40643"/>
                  <a:chOff x="7696562" y="3308630"/>
                  <a:chExt cx="55445" cy="40643"/>
                </a:xfrm>
                <a:solidFill>
                  <a:schemeClr val="accent1"/>
                </a:solidFill>
              </p:grpSpPr>
              <p:sp>
                <p:nvSpPr>
                  <p:cNvPr id="916" name="Freeform: Shape 915">
                    <a:extLst>
                      <a:ext uri="{FF2B5EF4-FFF2-40B4-BE49-F238E27FC236}">
                        <a16:creationId xmlns:a16="http://schemas.microsoft.com/office/drawing/2014/main" id="{365FE6D2-8300-400A-92B8-723C3EC435EF}"/>
                      </a:ext>
                    </a:extLst>
                  </p:cNvPr>
                  <p:cNvSpPr/>
                  <p:nvPr/>
                </p:nvSpPr>
                <p:spPr>
                  <a:xfrm>
                    <a:off x="7696562" y="3308630"/>
                    <a:ext cx="35745" cy="40643"/>
                  </a:xfrm>
                  <a:custGeom>
                    <a:avLst/>
                    <a:gdLst>
                      <a:gd name="connsiteX0" fmla="*/ 15478 w 35745"/>
                      <a:gd name="connsiteY0" fmla="*/ 40643 h 40643"/>
                      <a:gd name="connsiteX1" fmla="*/ 0 w 35745"/>
                      <a:gd name="connsiteY1" fmla="*/ 20382 h 40643"/>
                      <a:gd name="connsiteX2" fmla="*/ 15000 w 35745"/>
                      <a:gd name="connsiteY2" fmla="*/ 0 h 40643"/>
                      <a:gd name="connsiteX3" fmla="*/ 35745 w 35745"/>
                      <a:gd name="connsiteY3" fmla="*/ 20382 h 40643"/>
                      <a:gd name="connsiteX4" fmla="*/ 15478 w 35745"/>
                      <a:gd name="connsiteY4" fmla="*/ 40643 h 40643"/>
                      <a:gd name="connsiteX5" fmla="*/ 15000 w 35745"/>
                      <a:gd name="connsiteY5" fmla="*/ 12755 h 40643"/>
                      <a:gd name="connsiteX6" fmla="*/ 12755 w 35745"/>
                      <a:gd name="connsiteY6" fmla="*/ 20382 h 40643"/>
                      <a:gd name="connsiteX7" fmla="*/ 15478 w 35745"/>
                      <a:gd name="connsiteY7" fmla="*/ 27888 h 40643"/>
                      <a:gd name="connsiteX8" fmla="*/ 22991 w 35745"/>
                      <a:gd name="connsiteY8" fmla="*/ 20382 h 40643"/>
                      <a:gd name="connsiteX9" fmla="*/ 15000 w 35745"/>
                      <a:gd name="connsiteY9" fmla="*/ 12755 h 40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745" h="40643">
                        <a:moveTo>
                          <a:pt x="15478" y="40643"/>
                        </a:moveTo>
                        <a:cubicBezTo>
                          <a:pt x="6365" y="40643"/>
                          <a:pt x="0" y="32308"/>
                          <a:pt x="0" y="20382"/>
                        </a:cubicBezTo>
                        <a:cubicBezTo>
                          <a:pt x="0" y="8004"/>
                          <a:pt x="5886" y="0"/>
                          <a:pt x="15000" y="0"/>
                        </a:cubicBezTo>
                        <a:cubicBezTo>
                          <a:pt x="25082" y="0"/>
                          <a:pt x="35745" y="10478"/>
                          <a:pt x="35745" y="20382"/>
                        </a:cubicBezTo>
                        <a:cubicBezTo>
                          <a:pt x="35745" y="30414"/>
                          <a:pt x="25516" y="40643"/>
                          <a:pt x="15478" y="40643"/>
                        </a:cubicBezTo>
                        <a:close/>
                        <a:moveTo>
                          <a:pt x="15000" y="12755"/>
                        </a:moveTo>
                        <a:cubicBezTo>
                          <a:pt x="14081" y="12755"/>
                          <a:pt x="12755" y="15727"/>
                          <a:pt x="12755" y="20382"/>
                        </a:cubicBezTo>
                        <a:cubicBezTo>
                          <a:pt x="12755" y="24234"/>
                          <a:pt x="14075" y="27888"/>
                          <a:pt x="15478" y="27888"/>
                        </a:cubicBezTo>
                        <a:cubicBezTo>
                          <a:pt x="18265" y="27888"/>
                          <a:pt x="22991" y="23622"/>
                          <a:pt x="22991" y="20382"/>
                        </a:cubicBezTo>
                        <a:cubicBezTo>
                          <a:pt x="22991" y="17238"/>
                          <a:pt x="17819" y="12755"/>
                          <a:pt x="15000" y="12755"/>
                        </a:cubicBezTo>
                        <a:close/>
                      </a:path>
                    </a:pathLst>
                  </a:custGeom>
                  <a:solidFill>
                    <a:schemeClr val="accent1"/>
                  </a:solidFill>
                  <a:ln w="637" cap="flat">
                    <a:noFill/>
                    <a:prstDash val="solid"/>
                    <a:miter/>
                  </a:ln>
                </p:spPr>
                <p:txBody>
                  <a:bodyPr rtlCol="0" anchor="ctr"/>
                  <a:lstStyle/>
                  <a:p>
                    <a:endParaRPr lang="en-GB" dirty="0"/>
                  </a:p>
                </p:txBody>
              </p:sp>
              <p:sp>
                <p:nvSpPr>
                  <p:cNvPr id="917" name="Freeform: Shape 916">
                    <a:extLst>
                      <a:ext uri="{FF2B5EF4-FFF2-40B4-BE49-F238E27FC236}">
                        <a16:creationId xmlns:a16="http://schemas.microsoft.com/office/drawing/2014/main" id="{19AF6B8A-FFEC-4A2A-9853-18606F8D8207}"/>
                      </a:ext>
                    </a:extLst>
                  </p:cNvPr>
                  <p:cNvSpPr/>
                  <p:nvPr/>
                </p:nvSpPr>
                <p:spPr>
                  <a:xfrm>
                    <a:off x="7719553" y="3322641"/>
                    <a:ext cx="32454" cy="12754"/>
                  </a:xfrm>
                  <a:custGeom>
                    <a:avLst/>
                    <a:gdLst>
                      <a:gd name="connsiteX0" fmla="*/ 26077 w 32454"/>
                      <a:gd name="connsiteY0" fmla="*/ 12755 h 12754"/>
                      <a:gd name="connsiteX1" fmla="*/ 6377 w 32454"/>
                      <a:gd name="connsiteY1" fmla="*/ 12755 h 12754"/>
                      <a:gd name="connsiteX2" fmla="*/ 0 w 32454"/>
                      <a:gd name="connsiteY2" fmla="*/ 6377 h 12754"/>
                      <a:gd name="connsiteX3" fmla="*/ 6377 w 32454"/>
                      <a:gd name="connsiteY3" fmla="*/ 0 h 12754"/>
                      <a:gd name="connsiteX4" fmla="*/ 26077 w 32454"/>
                      <a:gd name="connsiteY4" fmla="*/ 0 h 12754"/>
                      <a:gd name="connsiteX5" fmla="*/ 32455 w 32454"/>
                      <a:gd name="connsiteY5" fmla="*/ 6377 h 12754"/>
                      <a:gd name="connsiteX6" fmla="*/ 26077 w 32454"/>
                      <a:gd name="connsiteY6" fmla="*/ 12755 h 1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54" h="12754">
                        <a:moveTo>
                          <a:pt x="26077" y="12755"/>
                        </a:moveTo>
                        <a:lnTo>
                          <a:pt x="6377" y="12755"/>
                        </a:lnTo>
                        <a:cubicBezTo>
                          <a:pt x="2851" y="12755"/>
                          <a:pt x="0" y="9904"/>
                          <a:pt x="0" y="6377"/>
                        </a:cubicBezTo>
                        <a:cubicBezTo>
                          <a:pt x="0" y="2851"/>
                          <a:pt x="2851" y="0"/>
                          <a:pt x="6377" y="0"/>
                        </a:cubicBezTo>
                        <a:lnTo>
                          <a:pt x="26077" y="0"/>
                        </a:lnTo>
                        <a:cubicBezTo>
                          <a:pt x="29604" y="0"/>
                          <a:pt x="32455" y="2851"/>
                          <a:pt x="32455" y="6377"/>
                        </a:cubicBezTo>
                        <a:cubicBezTo>
                          <a:pt x="32455" y="9904"/>
                          <a:pt x="29598" y="12755"/>
                          <a:pt x="26077" y="12755"/>
                        </a:cubicBezTo>
                        <a:close/>
                      </a:path>
                    </a:pathLst>
                  </a:custGeom>
                  <a:solidFill>
                    <a:schemeClr val="accent1"/>
                  </a:solidFill>
                  <a:ln w="637" cap="flat">
                    <a:noFill/>
                    <a:prstDash val="solid"/>
                    <a:miter/>
                  </a:ln>
                </p:spPr>
                <p:txBody>
                  <a:bodyPr rtlCol="0" anchor="ctr"/>
                  <a:lstStyle/>
                  <a:p>
                    <a:endParaRPr lang="en-GB" dirty="0"/>
                  </a:p>
                </p:txBody>
              </p:sp>
            </p:grpSp>
            <p:grpSp>
              <p:nvGrpSpPr>
                <p:cNvPr id="885" name="Graphic 32">
                  <a:extLst>
                    <a:ext uri="{FF2B5EF4-FFF2-40B4-BE49-F238E27FC236}">
                      <a16:creationId xmlns:a16="http://schemas.microsoft.com/office/drawing/2014/main" id="{78D03484-9B90-4462-93E1-FFF0F4DDBE3A}"/>
                    </a:ext>
                  </a:extLst>
                </p:cNvPr>
                <p:cNvGrpSpPr/>
                <p:nvPr/>
              </p:nvGrpSpPr>
              <p:grpSpPr>
                <a:xfrm>
                  <a:off x="7864294" y="3308566"/>
                  <a:ext cx="55445" cy="40649"/>
                  <a:chOff x="7864294" y="3308566"/>
                  <a:chExt cx="55445" cy="40649"/>
                </a:xfrm>
                <a:solidFill>
                  <a:schemeClr val="accent1"/>
                </a:solidFill>
              </p:grpSpPr>
              <p:sp>
                <p:nvSpPr>
                  <p:cNvPr id="914" name="Freeform: Shape 913">
                    <a:extLst>
                      <a:ext uri="{FF2B5EF4-FFF2-40B4-BE49-F238E27FC236}">
                        <a16:creationId xmlns:a16="http://schemas.microsoft.com/office/drawing/2014/main" id="{C070DAF1-2639-408F-B9A7-126E62BFFAC5}"/>
                      </a:ext>
                    </a:extLst>
                  </p:cNvPr>
                  <p:cNvSpPr/>
                  <p:nvPr/>
                </p:nvSpPr>
                <p:spPr>
                  <a:xfrm>
                    <a:off x="7884000" y="3308566"/>
                    <a:ext cx="35739" cy="40649"/>
                  </a:xfrm>
                  <a:custGeom>
                    <a:avLst/>
                    <a:gdLst>
                      <a:gd name="connsiteX0" fmla="*/ 20280 w 35739"/>
                      <a:gd name="connsiteY0" fmla="*/ 40649 h 40649"/>
                      <a:gd name="connsiteX1" fmla="*/ 6537 w 35739"/>
                      <a:gd name="connsiteY1" fmla="*/ 34476 h 40649"/>
                      <a:gd name="connsiteX2" fmla="*/ 0 w 35739"/>
                      <a:gd name="connsiteY2" fmla="*/ 20484 h 40649"/>
                      <a:gd name="connsiteX3" fmla="*/ 20644 w 35739"/>
                      <a:gd name="connsiteY3" fmla="*/ 0 h 40649"/>
                      <a:gd name="connsiteX4" fmla="*/ 20714 w 35739"/>
                      <a:gd name="connsiteY4" fmla="*/ 0 h 40649"/>
                      <a:gd name="connsiteX5" fmla="*/ 33054 w 35739"/>
                      <a:gd name="connsiteY5" fmla="*/ 7889 h 40649"/>
                      <a:gd name="connsiteX6" fmla="*/ 35739 w 35739"/>
                      <a:gd name="connsiteY6" fmla="*/ 20306 h 40649"/>
                      <a:gd name="connsiteX7" fmla="*/ 32812 w 35739"/>
                      <a:gd name="connsiteY7" fmla="*/ 32927 h 40649"/>
                      <a:gd name="connsiteX8" fmla="*/ 20363 w 35739"/>
                      <a:gd name="connsiteY8" fmla="*/ 40649 h 40649"/>
                      <a:gd name="connsiteX9" fmla="*/ 20280 w 35739"/>
                      <a:gd name="connsiteY9" fmla="*/ 40649 h 40649"/>
                      <a:gd name="connsiteX10" fmla="*/ 20727 w 35739"/>
                      <a:gd name="connsiteY10" fmla="*/ 12755 h 40649"/>
                      <a:gd name="connsiteX11" fmla="*/ 20701 w 35739"/>
                      <a:gd name="connsiteY11" fmla="*/ 12755 h 40649"/>
                      <a:gd name="connsiteX12" fmla="*/ 12749 w 35739"/>
                      <a:gd name="connsiteY12" fmla="*/ 20420 h 40649"/>
                      <a:gd name="connsiteX13" fmla="*/ 15427 w 35739"/>
                      <a:gd name="connsiteY13" fmla="*/ 25331 h 40649"/>
                      <a:gd name="connsiteX14" fmla="*/ 20293 w 35739"/>
                      <a:gd name="connsiteY14" fmla="*/ 27895 h 40649"/>
                      <a:gd name="connsiteX15" fmla="*/ 21664 w 35739"/>
                      <a:gd name="connsiteY15" fmla="*/ 26715 h 40649"/>
                      <a:gd name="connsiteX16" fmla="*/ 22978 w 35739"/>
                      <a:gd name="connsiteY16" fmla="*/ 20376 h 40649"/>
                      <a:gd name="connsiteX17" fmla="*/ 21722 w 35739"/>
                      <a:gd name="connsiteY17" fmla="*/ 13750 h 40649"/>
                      <a:gd name="connsiteX18" fmla="*/ 20727 w 35739"/>
                      <a:gd name="connsiteY18" fmla="*/ 12755 h 4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5739" h="40649">
                        <a:moveTo>
                          <a:pt x="20280" y="40649"/>
                        </a:moveTo>
                        <a:cubicBezTo>
                          <a:pt x="15580" y="40649"/>
                          <a:pt x="10574" y="38398"/>
                          <a:pt x="6537" y="34476"/>
                        </a:cubicBezTo>
                        <a:cubicBezTo>
                          <a:pt x="2404" y="30458"/>
                          <a:pt x="26" y="25357"/>
                          <a:pt x="0" y="20484"/>
                        </a:cubicBezTo>
                        <a:cubicBezTo>
                          <a:pt x="-44" y="10574"/>
                          <a:pt x="10567" y="51"/>
                          <a:pt x="20644" y="0"/>
                        </a:cubicBezTo>
                        <a:cubicBezTo>
                          <a:pt x="20669" y="0"/>
                          <a:pt x="20695" y="0"/>
                          <a:pt x="20714" y="0"/>
                        </a:cubicBezTo>
                        <a:cubicBezTo>
                          <a:pt x="25956" y="0"/>
                          <a:pt x="30452" y="2870"/>
                          <a:pt x="33054" y="7889"/>
                        </a:cubicBezTo>
                        <a:cubicBezTo>
                          <a:pt x="35248" y="12123"/>
                          <a:pt x="35726" y="16983"/>
                          <a:pt x="35739" y="20306"/>
                        </a:cubicBezTo>
                        <a:cubicBezTo>
                          <a:pt x="35765" y="25006"/>
                          <a:pt x="34725" y="29489"/>
                          <a:pt x="32812" y="32927"/>
                        </a:cubicBezTo>
                        <a:cubicBezTo>
                          <a:pt x="30089" y="37812"/>
                          <a:pt x="25554" y="40624"/>
                          <a:pt x="20363" y="40649"/>
                        </a:cubicBezTo>
                        <a:cubicBezTo>
                          <a:pt x="20325" y="40649"/>
                          <a:pt x="20299" y="40649"/>
                          <a:pt x="20280" y="40649"/>
                        </a:cubicBezTo>
                        <a:close/>
                        <a:moveTo>
                          <a:pt x="20727" y="12755"/>
                        </a:moveTo>
                        <a:cubicBezTo>
                          <a:pt x="20714" y="12755"/>
                          <a:pt x="20708" y="12755"/>
                          <a:pt x="20701" y="12755"/>
                        </a:cubicBezTo>
                        <a:cubicBezTo>
                          <a:pt x="17882" y="12768"/>
                          <a:pt x="12736" y="17276"/>
                          <a:pt x="12749" y="20420"/>
                        </a:cubicBezTo>
                        <a:cubicBezTo>
                          <a:pt x="12755" y="21830"/>
                          <a:pt x="13807" y="23756"/>
                          <a:pt x="15427" y="25331"/>
                        </a:cubicBezTo>
                        <a:cubicBezTo>
                          <a:pt x="17245" y="27098"/>
                          <a:pt x="19164" y="27595"/>
                          <a:pt x="20293" y="27895"/>
                        </a:cubicBezTo>
                        <a:cubicBezTo>
                          <a:pt x="20580" y="27895"/>
                          <a:pt x="21007" y="27888"/>
                          <a:pt x="21664" y="26715"/>
                        </a:cubicBezTo>
                        <a:cubicBezTo>
                          <a:pt x="22500" y="25216"/>
                          <a:pt x="22991" y="22844"/>
                          <a:pt x="22978" y="20376"/>
                        </a:cubicBezTo>
                        <a:cubicBezTo>
                          <a:pt x="22965" y="17684"/>
                          <a:pt x="22506" y="15267"/>
                          <a:pt x="21722" y="13750"/>
                        </a:cubicBezTo>
                        <a:cubicBezTo>
                          <a:pt x="21218" y="12787"/>
                          <a:pt x="20943" y="12755"/>
                          <a:pt x="20727" y="12755"/>
                        </a:cubicBezTo>
                        <a:close/>
                      </a:path>
                    </a:pathLst>
                  </a:custGeom>
                  <a:solidFill>
                    <a:schemeClr val="accent1"/>
                  </a:solidFill>
                  <a:ln w="637" cap="flat">
                    <a:noFill/>
                    <a:prstDash val="solid"/>
                    <a:miter/>
                  </a:ln>
                </p:spPr>
                <p:txBody>
                  <a:bodyPr rtlCol="0" anchor="ctr"/>
                  <a:lstStyle/>
                  <a:p>
                    <a:endParaRPr lang="en-GB" dirty="0"/>
                  </a:p>
                </p:txBody>
              </p:sp>
              <p:sp>
                <p:nvSpPr>
                  <p:cNvPr id="915" name="Freeform: Shape 914">
                    <a:extLst>
                      <a:ext uri="{FF2B5EF4-FFF2-40B4-BE49-F238E27FC236}">
                        <a16:creationId xmlns:a16="http://schemas.microsoft.com/office/drawing/2014/main" id="{E099AF86-1F3A-4ADF-96B6-812C223AF374}"/>
                      </a:ext>
                    </a:extLst>
                  </p:cNvPr>
                  <p:cNvSpPr/>
                  <p:nvPr/>
                </p:nvSpPr>
                <p:spPr>
                  <a:xfrm>
                    <a:off x="7864294" y="3322631"/>
                    <a:ext cx="32454" cy="12873"/>
                  </a:xfrm>
                  <a:custGeom>
                    <a:avLst/>
                    <a:gdLst>
                      <a:gd name="connsiteX0" fmla="*/ 6377 w 32454"/>
                      <a:gd name="connsiteY0" fmla="*/ 12873 h 12873"/>
                      <a:gd name="connsiteX1" fmla="*/ 0 w 32454"/>
                      <a:gd name="connsiteY1" fmla="*/ 6528 h 12873"/>
                      <a:gd name="connsiteX2" fmla="*/ 6346 w 32454"/>
                      <a:gd name="connsiteY2" fmla="*/ 118 h 12873"/>
                      <a:gd name="connsiteX3" fmla="*/ 26045 w 32454"/>
                      <a:gd name="connsiteY3" fmla="*/ 16 h 12873"/>
                      <a:gd name="connsiteX4" fmla="*/ 32455 w 32454"/>
                      <a:gd name="connsiteY4" fmla="*/ 6362 h 12873"/>
                      <a:gd name="connsiteX5" fmla="*/ 26109 w 32454"/>
                      <a:gd name="connsiteY5" fmla="*/ 12771 h 12873"/>
                      <a:gd name="connsiteX6" fmla="*/ 6409 w 32454"/>
                      <a:gd name="connsiteY6" fmla="*/ 12873 h 12873"/>
                      <a:gd name="connsiteX7" fmla="*/ 6377 w 32454"/>
                      <a:gd name="connsiteY7" fmla="*/ 12873 h 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54" h="12873">
                        <a:moveTo>
                          <a:pt x="6377" y="12873"/>
                        </a:moveTo>
                        <a:cubicBezTo>
                          <a:pt x="2870" y="12873"/>
                          <a:pt x="19" y="10041"/>
                          <a:pt x="0" y="6528"/>
                        </a:cubicBezTo>
                        <a:cubicBezTo>
                          <a:pt x="-19" y="3007"/>
                          <a:pt x="2819" y="137"/>
                          <a:pt x="6346" y="118"/>
                        </a:cubicBezTo>
                        <a:lnTo>
                          <a:pt x="26045" y="16"/>
                        </a:lnTo>
                        <a:cubicBezTo>
                          <a:pt x="29566" y="-252"/>
                          <a:pt x="32429" y="2835"/>
                          <a:pt x="32455" y="6362"/>
                        </a:cubicBezTo>
                        <a:cubicBezTo>
                          <a:pt x="32474" y="9882"/>
                          <a:pt x="29636" y="12752"/>
                          <a:pt x="26109" y="12771"/>
                        </a:cubicBezTo>
                        <a:lnTo>
                          <a:pt x="6409" y="12873"/>
                        </a:lnTo>
                        <a:cubicBezTo>
                          <a:pt x="6396" y="12873"/>
                          <a:pt x="6390" y="12873"/>
                          <a:pt x="6377" y="12873"/>
                        </a:cubicBezTo>
                        <a:close/>
                      </a:path>
                    </a:pathLst>
                  </a:custGeom>
                  <a:solidFill>
                    <a:schemeClr val="accent1"/>
                  </a:solidFill>
                  <a:ln w="637" cap="flat">
                    <a:noFill/>
                    <a:prstDash val="solid"/>
                    <a:miter/>
                  </a:ln>
                </p:spPr>
                <p:txBody>
                  <a:bodyPr rtlCol="0" anchor="ctr"/>
                  <a:lstStyle/>
                  <a:p>
                    <a:endParaRPr lang="en-GB" dirty="0"/>
                  </a:p>
                </p:txBody>
              </p:sp>
            </p:grpSp>
            <p:grpSp>
              <p:nvGrpSpPr>
                <p:cNvPr id="886" name="Graphic 32">
                  <a:extLst>
                    <a:ext uri="{FF2B5EF4-FFF2-40B4-BE49-F238E27FC236}">
                      <a16:creationId xmlns:a16="http://schemas.microsoft.com/office/drawing/2014/main" id="{BF588E18-A9B3-498B-A8FC-9AA24A84D321}"/>
                    </a:ext>
                  </a:extLst>
                </p:cNvPr>
                <p:cNvGrpSpPr/>
                <p:nvPr/>
              </p:nvGrpSpPr>
              <p:grpSpPr>
                <a:xfrm>
                  <a:off x="7721487" y="3217643"/>
                  <a:ext cx="173394" cy="73767"/>
                  <a:chOff x="7721487" y="3217643"/>
                  <a:chExt cx="173394" cy="73767"/>
                </a:xfrm>
                <a:solidFill>
                  <a:schemeClr val="accent1"/>
                </a:solidFill>
              </p:grpSpPr>
              <p:grpSp>
                <p:nvGrpSpPr>
                  <p:cNvPr id="905" name="Graphic 32">
                    <a:extLst>
                      <a:ext uri="{FF2B5EF4-FFF2-40B4-BE49-F238E27FC236}">
                        <a16:creationId xmlns:a16="http://schemas.microsoft.com/office/drawing/2014/main" id="{0F6EBC32-BA7F-4319-9969-066273073024}"/>
                      </a:ext>
                    </a:extLst>
                  </p:cNvPr>
                  <p:cNvGrpSpPr/>
                  <p:nvPr/>
                </p:nvGrpSpPr>
                <p:grpSpPr>
                  <a:xfrm>
                    <a:off x="7787893" y="3217643"/>
                    <a:ext cx="40643" cy="55438"/>
                    <a:chOff x="7787893" y="3217643"/>
                    <a:chExt cx="40643" cy="55438"/>
                  </a:xfrm>
                  <a:solidFill>
                    <a:schemeClr val="accent1"/>
                  </a:solidFill>
                </p:grpSpPr>
                <p:sp>
                  <p:nvSpPr>
                    <p:cNvPr id="912" name="Freeform: Shape 911">
                      <a:extLst>
                        <a:ext uri="{FF2B5EF4-FFF2-40B4-BE49-F238E27FC236}">
                          <a16:creationId xmlns:a16="http://schemas.microsoft.com/office/drawing/2014/main" id="{508CA590-E353-4764-A500-52B47D80E513}"/>
                        </a:ext>
                      </a:extLst>
                    </p:cNvPr>
                    <p:cNvSpPr/>
                    <p:nvPr/>
                  </p:nvSpPr>
                  <p:spPr>
                    <a:xfrm>
                      <a:off x="7787893" y="3217643"/>
                      <a:ext cx="40643" cy="35738"/>
                    </a:xfrm>
                    <a:custGeom>
                      <a:avLst/>
                      <a:gdLst>
                        <a:gd name="connsiteX0" fmla="*/ 20261 w 40643"/>
                        <a:gd name="connsiteY0" fmla="*/ 35739 h 35738"/>
                        <a:gd name="connsiteX1" fmla="*/ 0 w 40643"/>
                        <a:gd name="connsiteY1" fmla="*/ 15472 h 35738"/>
                        <a:gd name="connsiteX2" fmla="*/ 20261 w 40643"/>
                        <a:gd name="connsiteY2" fmla="*/ 0 h 35738"/>
                        <a:gd name="connsiteX3" fmla="*/ 40643 w 40643"/>
                        <a:gd name="connsiteY3" fmla="*/ 14993 h 35738"/>
                        <a:gd name="connsiteX4" fmla="*/ 20261 w 40643"/>
                        <a:gd name="connsiteY4" fmla="*/ 35739 h 35738"/>
                        <a:gd name="connsiteX5" fmla="*/ 20261 w 40643"/>
                        <a:gd name="connsiteY5" fmla="*/ 12755 h 35738"/>
                        <a:gd name="connsiteX6" fmla="*/ 12755 w 40643"/>
                        <a:gd name="connsiteY6" fmla="*/ 15472 h 35738"/>
                        <a:gd name="connsiteX7" fmla="*/ 20261 w 40643"/>
                        <a:gd name="connsiteY7" fmla="*/ 22984 h 35738"/>
                        <a:gd name="connsiteX8" fmla="*/ 27888 w 40643"/>
                        <a:gd name="connsiteY8" fmla="*/ 14993 h 35738"/>
                        <a:gd name="connsiteX9" fmla="*/ 20261 w 40643"/>
                        <a:gd name="connsiteY9" fmla="*/ 12755 h 35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43" h="35738">
                          <a:moveTo>
                            <a:pt x="20261" y="35739"/>
                          </a:moveTo>
                          <a:cubicBezTo>
                            <a:pt x="10229" y="35739"/>
                            <a:pt x="0" y="25510"/>
                            <a:pt x="0" y="15472"/>
                          </a:cubicBezTo>
                          <a:cubicBezTo>
                            <a:pt x="0" y="6358"/>
                            <a:pt x="8335" y="0"/>
                            <a:pt x="20261" y="0"/>
                          </a:cubicBezTo>
                          <a:cubicBezTo>
                            <a:pt x="32639" y="0"/>
                            <a:pt x="40643" y="5886"/>
                            <a:pt x="40643" y="14993"/>
                          </a:cubicBezTo>
                          <a:cubicBezTo>
                            <a:pt x="40649" y="25076"/>
                            <a:pt x="30171" y="35739"/>
                            <a:pt x="20261" y="35739"/>
                          </a:cubicBezTo>
                          <a:close/>
                          <a:moveTo>
                            <a:pt x="20261" y="12755"/>
                          </a:moveTo>
                          <a:cubicBezTo>
                            <a:pt x="16409" y="12755"/>
                            <a:pt x="12755" y="14075"/>
                            <a:pt x="12755" y="15472"/>
                          </a:cubicBezTo>
                          <a:cubicBezTo>
                            <a:pt x="12755" y="18259"/>
                            <a:pt x="17021" y="22984"/>
                            <a:pt x="20261" y="22984"/>
                          </a:cubicBezTo>
                          <a:cubicBezTo>
                            <a:pt x="23258" y="22984"/>
                            <a:pt x="27888" y="18131"/>
                            <a:pt x="27888" y="14993"/>
                          </a:cubicBezTo>
                          <a:cubicBezTo>
                            <a:pt x="27895" y="14081"/>
                            <a:pt x="24923" y="12755"/>
                            <a:pt x="20261" y="12755"/>
                          </a:cubicBezTo>
                          <a:close/>
                        </a:path>
                      </a:pathLst>
                    </a:custGeom>
                    <a:solidFill>
                      <a:schemeClr val="accent1"/>
                    </a:solidFill>
                    <a:ln w="637" cap="flat">
                      <a:noFill/>
                      <a:prstDash val="solid"/>
                      <a:miter/>
                    </a:ln>
                  </p:spPr>
                  <p:txBody>
                    <a:bodyPr rtlCol="0" anchor="ctr"/>
                    <a:lstStyle/>
                    <a:p>
                      <a:endParaRPr lang="en-GB" dirty="0"/>
                    </a:p>
                  </p:txBody>
                </p:sp>
                <p:sp>
                  <p:nvSpPr>
                    <p:cNvPr id="913" name="Freeform: Shape 912">
                      <a:extLst>
                        <a:ext uri="{FF2B5EF4-FFF2-40B4-BE49-F238E27FC236}">
                          <a16:creationId xmlns:a16="http://schemas.microsoft.com/office/drawing/2014/main" id="{2E887B5B-AF20-4A60-A79B-CB7BA8624BB8}"/>
                        </a:ext>
                      </a:extLst>
                    </p:cNvPr>
                    <p:cNvSpPr/>
                    <p:nvPr/>
                  </p:nvSpPr>
                  <p:spPr>
                    <a:xfrm>
                      <a:off x="7801770" y="3240628"/>
                      <a:ext cx="12754" cy="32454"/>
                    </a:xfrm>
                    <a:custGeom>
                      <a:avLst/>
                      <a:gdLst>
                        <a:gd name="connsiteX0" fmla="*/ 6377 w 12754"/>
                        <a:gd name="connsiteY0" fmla="*/ 32455 h 32454"/>
                        <a:gd name="connsiteX1" fmla="*/ 0 w 12754"/>
                        <a:gd name="connsiteY1" fmla="*/ 26077 h 32454"/>
                        <a:gd name="connsiteX2" fmla="*/ 0 w 12754"/>
                        <a:gd name="connsiteY2" fmla="*/ 6377 h 32454"/>
                        <a:gd name="connsiteX3" fmla="*/ 6377 w 12754"/>
                        <a:gd name="connsiteY3" fmla="*/ 0 h 32454"/>
                        <a:gd name="connsiteX4" fmla="*/ 12755 w 12754"/>
                        <a:gd name="connsiteY4" fmla="*/ 6377 h 32454"/>
                        <a:gd name="connsiteX5" fmla="*/ 12755 w 12754"/>
                        <a:gd name="connsiteY5" fmla="*/ 26077 h 32454"/>
                        <a:gd name="connsiteX6" fmla="*/ 6377 w 12754"/>
                        <a:gd name="connsiteY6" fmla="*/ 32455 h 3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32454">
                          <a:moveTo>
                            <a:pt x="6377" y="32455"/>
                          </a:moveTo>
                          <a:cubicBezTo>
                            <a:pt x="2851" y="32455"/>
                            <a:pt x="0" y="29604"/>
                            <a:pt x="0" y="26077"/>
                          </a:cubicBezTo>
                          <a:lnTo>
                            <a:pt x="0" y="6377"/>
                          </a:lnTo>
                          <a:cubicBezTo>
                            <a:pt x="0" y="2851"/>
                            <a:pt x="2851" y="0"/>
                            <a:pt x="6377" y="0"/>
                          </a:cubicBezTo>
                          <a:cubicBezTo>
                            <a:pt x="9904" y="0"/>
                            <a:pt x="12755" y="2851"/>
                            <a:pt x="12755" y="6377"/>
                          </a:cubicBezTo>
                          <a:lnTo>
                            <a:pt x="12755" y="26077"/>
                          </a:lnTo>
                          <a:cubicBezTo>
                            <a:pt x="12755" y="29598"/>
                            <a:pt x="9904" y="32455"/>
                            <a:pt x="6377" y="32455"/>
                          </a:cubicBezTo>
                          <a:close/>
                        </a:path>
                      </a:pathLst>
                    </a:custGeom>
                    <a:solidFill>
                      <a:schemeClr val="accent1"/>
                    </a:solidFill>
                    <a:ln w="637" cap="flat">
                      <a:noFill/>
                      <a:prstDash val="solid"/>
                      <a:miter/>
                    </a:ln>
                  </p:spPr>
                  <p:txBody>
                    <a:bodyPr rtlCol="0" anchor="ctr"/>
                    <a:lstStyle/>
                    <a:p>
                      <a:endParaRPr lang="en-GB" dirty="0"/>
                    </a:p>
                  </p:txBody>
                </p:sp>
              </p:grpSp>
              <p:grpSp>
                <p:nvGrpSpPr>
                  <p:cNvPr id="906" name="Graphic 32">
                    <a:extLst>
                      <a:ext uri="{FF2B5EF4-FFF2-40B4-BE49-F238E27FC236}">
                        <a16:creationId xmlns:a16="http://schemas.microsoft.com/office/drawing/2014/main" id="{6AF0A162-7BFD-4760-88F7-1F77865D6A6A}"/>
                      </a:ext>
                    </a:extLst>
                  </p:cNvPr>
                  <p:cNvGrpSpPr/>
                  <p:nvPr/>
                </p:nvGrpSpPr>
                <p:grpSpPr>
                  <a:xfrm>
                    <a:off x="7846079" y="3242930"/>
                    <a:ext cx="48802" cy="48480"/>
                    <a:chOff x="7846079" y="3242930"/>
                    <a:chExt cx="48802" cy="48480"/>
                  </a:xfrm>
                  <a:solidFill>
                    <a:schemeClr val="accent1"/>
                  </a:solidFill>
                </p:grpSpPr>
                <p:sp>
                  <p:nvSpPr>
                    <p:cNvPr id="910" name="Freeform: Shape 909">
                      <a:extLst>
                        <a:ext uri="{FF2B5EF4-FFF2-40B4-BE49-F238E27FC236}">
                          <a16:creationId xmlns:a16="http://schemas.microsoft.com/office/drawing/2014/main" id="{543EF63D-D0DD-4E9E-BAFE-A78204B1B4A0}"/>
                        </a:ext>
                      </a:extLst>
                    </p:cNvPr>
                    <p:cNvSpPr/>
                    <p:nvPr/>
                  </p:nvSpPr>
                  <p:spPr>
                    <a:xfrm>
                      <a:off x="7856558" y="3242930"/>
                      <a:ext cx="38323" cy="37900"/>
                    </a:xfrm>
                    <a:custGeom>
                      <a:avLst/>
                      <a:gdLst>
                        <a:gd name="connsiteX0" fmla="*/ 19464 w 38323"/>
                        <a:gd name="connsiteY0" fmla="*/ 37900 h 37900"/>
                        <a:gd name="connsiteX1" fmla="*/ 5319 w 38323"/>
                        <a:gd name="connsiteY1" fmla="*/ 32684 h 37900"/>
                        <a:gd name="connsiteX2" fmla="*/ 5319 w 38323"/>
                        <a:gd name="connsiteY2" fmla="*/ 4030 h 37900"/>
                        <a:gd name="connsiteX3" fmla="*/ 19566 w 38323"/>
                        <a:gd name="connsiteY3" fmla="*/ 618 h 37900"/>
                        <a:gd name="connsiteX4" fmla="*/ 30592 w 38323"/>
                        <a:gd name="connsiteY4" fmla="*/ 7416 h 37900"/>
                        <a:gd name="connsiteX5" fmla="*/ 37525 w 38323"/>
                        <a:gd name="connsiteY5" fmla="*/ 18067 h 37900"/>
                        <a:gd name="connsiteX6" fmla="*/ 34400 w 38323"/>
                        <a:gd name="connsiteY6" fmla="*/ 32435 h 37900"/>
                        <a:gd name="connsiteX7" fmla="*/ 20133 w 38323"/>
                        <a:gd name="connsiteY7" fmla="*/ 37894 h 37900"/>
                        <a:gd name="connsiteX8" fmla="*/ 19464 w 38323"/>
                        <a:gd name="connsiteY8" fmla="*/ 37900 h 37900"/>
                        <a:gd name="connsiteX9" fmla="*/ 15134 w 38323"/>
                        <a:gd name="connsiteY9" fmla="*/ 12735 h 37900"/>
                        <a:gd name="connsiteX10" fmla="*/ 14337 w 38323"/>
                        <a:gd name="connsiteY10" fmla="*/ 13048 h 37900"/>
                        <a:gd name="connsiteX11" fmla="*/ 14343 w 38323"/>
                        <a:gd name="connsiteY11" fmla="*/ 23666 h 37900"/>
                        <a:gd name="connsiteX12" fmla="*/ 19802 w 38323"/>
                        <a:gd name="connsiteY12" fmla="*/ 25139 h 37900"/>
                        <a:gd name="connsiteX13" fmla="*/ 25369 w 38323"/>
                        <a:gd name="connsiteY13" fmla="*/ 23411 h 37900"/>
                        <a:gd name="connsiteX14" fmla="*/ 25376 w 38323"/>
                        <a:gd name="connsiteY14" fmla="*/ 23405 h 37900"/>
                        <a:gd name="connsiteX15" fmla="*/ 25382 w 38323"/>
                        <a:gd name="connsiteY15" fmla="*/ 21982 h 37900"/>
                        <a:gd name="connsiteX16" fmla="*/ 21568 w 38323"/>
                        <a:gd name="connsiteY16" fmla="*/ 16434 h 37900"/>
                        <a:gd name="connsiteX17" fmla="*/ 16129 w 38323"/>
                        <a:gd name="connsiteY17" fmla="*/ 12901 h 37900"/>
                        <a:gd name="connsiteX18" fmla="*/ 15134 w 38323"/>
                        <a:gd name="connsiteY18" fmla="*/ 12735 h 3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8323" h="37900">
                          <a:moveTo>
                            <a:pt x="19464" y="37900"/>
                          </a:moveTo>
                          <a:cubicBezTo>
                            <a:pt x="13782" y="37900"/>
                            <a:pt x="8654" y="36019"/>
                            <a:pt x="5319" y="32684"/>
                          </a:cubicBezTo>
                          <a:cubicBezTo>
                            <a:pt x="-1773" y="25586"/>
                            <a:pt x="-1773" y="11122"/>
                            <a:pt x="5319" y="4030"/>
                          </a:cubicBezTo>
                          <a:cubicBezTo>
                            <a:pt x="8992" y="363"/>
                            <a:pt x="14183" y="-874"/>
                            <a:pt x="19566" y="618"/>
                          </a:cubicBezTo>
                          <a:cubicBezTo>
                            <a:pt x="23348" y="1677"/>
                            <a:pt x="27264" y="4094"/>
                            <a:pt x="30592" y="7416"/>
                          </a:cubicBezTo>
                          <a:cubicBezTo>
                            <a:pt x="32946" y="9770"/>
                            <a:pt x="36058" y="13532"/>
                            <a:pt x="37525" y="18067"/>
                          </a:cubicBezTo>
                          <a:cubicBezTo>
                            <a:pt x="39266" y="23475"/>
                            <a:pt x="38131" y="28704"/>
                            <a:pt x="34400" y="32435"/>
                          </a:cubicBezTo>
                          <a:cubicBezTo>
                            <a:pt x="31077" y="35758"/>
                            <a:pt x="25873" y="37747"/>
                            <a:pt x="20133" y="37894"/>
                          </a:cubicBezTo>
                          <a:cubicBezTo>
                            <a:pt x="19904" y="37900"/>
                            <a:pt x="19687" y="37900"/>
                            <a:pt x="19464" y="37900"/>
                          </a:cubicBezTo>
                          <a:close/>
                          <a:moveTo>
                            <a:pt x="15134" y="12735"/>
                          </a:moveTo>
                          <a:cubicBezTo>
                            <a:pt x="14649" y="12735"/>
                            <a:pt x="14470" y="12914"/>
                            <a:pt x="14337" y="13048"/>
                          </a:cubicBezTo>
                          <a:cubicBezTo>
                            <a:pt x="12366" y="15018"/>
                            <a:pt x="12053" y="21377"/>
                            <a:pt x="14343" y="23666"/>
                          </a:cubicBezTo>
                          <a:cubicBezTo>
                            <a:pt x="15127" y="24457"/>
                            <a:pt x="17104" y="25286"/>
                            <a:pt x="19802" y="25139"/>
                          </a:cubicBezTo>
                          <a:cubicBezTo>
                            <a:pt x="22512" y="25069"/>
                            <a:pt x="24591" y="24202"/>
                            <a:pt x="25369" y="23411"/>
                          </a:cubicBezTo>
                          <a:cubicBezTo>
                            <a:pt x="25376" y="23411"/>
                            <a:pt x="25376" y="23411"/>
                            <a:pt x="25376" y="23405"/>
                          </a:cubicBezTo>
                          <a:cubicBezTo>
                            <a:pt x="25529" y="23252"/>
                            <a:pt x="25733" y="23054"/>
                            <a:pt x="25382" y="21982"/>
                          </a:cubicBezTo>
                          <a:cubicBezTo>
                            <a:pt x="24859" y="20356"/>
                            <a:pt x="23469" y="18335"/>
                            <a:pt x="21568" y="16434"/>
                          </a:cubicBezTo>
                          <a:cubicBezTo>
                            <a:pt x="19821" y="14687"/>
                            <a:pt x="17780" y="13367"/>
                            <a:pt x="16129" y="12901"/>
                          </a:cubicBezTo>
                          <a:cubicBezTo>
                            <a:pt x="15701" y="12780"/>
                            <a:pt x="15376" y="12735"/>
                            <a:pt x="15134" y="12735"/>
                          </a:cubicBezTo>
                          <a:close/>
                        </a:path>
                      </a:pathLst>
                    </a:custGeom>
                    <a:solidFill>
                      <a:schemeClr val="accent1"/>
                    </a:solidFill>
                    <a:ln w="637" cap="flat">
                      <a:noFill/>
                      <a:prstDash val="solid"/>
                      <a:miter/>
                    </a:ln>
                  </p:spPr>
                  <p:txBody>
                    <a:bodyPr rtlCol="0" anchor="ctr"/>
                    <a:lstStyle/>
                    <a:p>
                      <a:endParaRPr lang="en-GB" dirty="0"/>
                    </a:p>
                  </p:txBody>
                </p:sp>
                <p:sp>
                  <p:nvSpPr>
                    <p:cNvPr id="911" name="Freeform: Shape 910">
                      <a:extLst>
                        <a:ext uri="{FF2B5EF4-FFF2-40B4-BE49-F238E27FC236}">
                          <a16:creationId xmlns:a16="http://schemas.microsoft.com/office/drawing/2014/main" id="{507A1FEA-81E1-4E9E-BC71-D0BE55769AB7}"/>
                        </a:ext>
                      </a:extLst>
                    </p:cNvPr>
                    <p:cNvSpPr/>
                    <p:nvPr/>
                  </p:nvSpPr>
                  <p:spPr>
                    <a:xfrm>
                      <a:off x="7846079" y="3264720"/>
                      <a:ext cx="26686" cy="26691"/>
                    </a:xfrm>
                    <a:custGeom>
                      <a:avLst/>
                      <a:gdLst>
                        <a:gd name="connsiteX0" fmla="*/ 6379 w 26686"/>
                        <a:gd name="connsiteY0" fmla="*/ 26691 h 26691"/>
                        <a:gd name="connsiteX1" fmla="*/ 1870 w 26686"/>
                        <a:gd name="connsiteY1" fmla="*/ 24822 h 26691"/>
                        <a:gd name="connsiteX2" fmla="*/ 1870 w 26686"/>
                        <a:gd name="connsiteY2" fmla="*/ 15805 h 26691"/>
                        <a:gd name="connsiteX3" fmla="*/ 15798 w 26686"/>
                        <a:gd name="connsiteY3" fmla="*/ 1870 h 26691"/>
                        <a:gd name="connsiteX4" fmla="*/ 24816 w 26686"/>
                        <a:gd name="connsiteY4" fmla="*/ 1870 h 26691"/>
                        <a:gd name="connsiteX5" fmla="*/ 24816 w 26686"/>
                        <a:gd name="connsiteY5" fmla="*/ 10888 h 26691"/>
                        <a:gd name="connsiteX6" fmla="*/ 10888 w 26686"/>
                        <a:gd name="connsiteY6" fmla="*/ 24822 h 26691"/>
                        <a:gd name="connsiteX7" fmla="*/ 6379 w 26686"/>
                        <a:gd name="connsiteY7" fmla="*/ 26691 h 2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91">
                          <a:moveTo>
                            <a:pt x="6379" y="26691"/>
                          </a:moveTo>
                          <a:cubicBezTo>
                            <a:pt x="4746" y="26691"/>
                            <a:pt x="3114" y="26066"/>
                            <a:pt x="1870" y="24822"/>
                          </a:cubicBezTo>
                          <a:cubicBezTo>
                            <a:pt x="-623" y="22329"/>
                            <a:pt x="-623" y="18298"/>
                            <a:pt x="1870" y="15805"/>
                          </a:cubicBezTo>
                          <a:lnTo>
                            <a:pt x="15798" y="1870"/>
                          </a:lnTo>
                          <a:cubicBezTo>
                            <a:pt x="18292" y="-623"/>
                            <a:pt x="22322" y="-623"/>
                            <a:pt x="24816" y="1870"/>
                          </a:cubicBezTo>
                          <a:cubicBezTo>
                            <a:pt x="27309" y="4364"/>
                            <a:pt x="27309" y="8394"/>
                            <a:pt x="24816" y="10888"/>
                          </a:cubicBezTo>
                          <a:lnTo>
                            <a:pt x="10888" y="24822"/>
                          </a:lnTo>
                          <a:cubicBezTo>
                            <a:pt x="9638" y="26066"/>
                            <a:pt x="8005" y="26691"/>
                            <a:pt x="6379" y="26691"/>
                          </a:cubicBezTo>
                          <a:close/>
                        </a:path>
                      </a:pathLst>
                    </a:custGeom>
                    <a:solidFill>
                      <a:schemeClr val="accent1"/>
                    </a:solidFill>
                    <a:ln w="637" cap="flat">
                      <a:noFill/>
                      <a:prstDash val="solid"/>
                      <a:miter/>
                    </a:ln>
                  </p:spPr>
                  <p:txBody>
                    <a:bodyPr rtlCol="0" anchor="ctr"/>
                    <a:lstStyle/>
                    <a:p>
                      <a:endParaRPr lang="en-GB" dirty="0"/>
                    </a:p>
                  </p:txBody>
                </p:sp>
              </p:grpSp>
              <p:grpSp>
                <p:nvGrpSpPr>
                  <p:cNvPr id="907" name="Graphic 32">
                    <a:extLst>
                      <a:ext uri="{FF2B5EF4-FFF2-40B4-BE49-F238E27FC236}">
                        <a16:creationId xmlns:a16="http://schemas.microsoft.com/office/drawing/2014/main" id="{569EB15E-98A7-4B1D-BA2A-C23B86615C46}"/>
                      </a:ext>
                    </a:extLst>
                  </p:cNvPr>
                  <p:cNvGrpSpPr/>
                  <p:nvPr/>
                </p:nvGrpSpPr>
                <p:grpSpPr>
                  <a:xfrm>
                    <a:off x="7721487" y="3242779"/>
                    <a:ext cx="48850" cy="48478"/>
                    <a:chOff x="7721487" y="3242779"/>
                    <a:chExt cx="48850" cy="48478"/>
                  </a:xfrm>
                  <a:solidFill>
                    <a:schemeClr val="accent1"/>
                  </a:solidFill>
                </p:grpSpPr>
                <p:sp>
                  <p:nvSpPr>
                    <p:cNvPr id="908" name="Freeform: Shape 907">
                      <a:extLst>
                        <a:ext uri="{FF2B5EF4-FFF2-40B4-BE49-F238E27FC236}">
                          <a16:creationId xmlns:a16="http://schemas.microsoft.com/office/drawing/2014/main" id="{6E53337B-8E52-48DB-B8D7-0ACAA7B23326}"/>
                        </a:ext>
                      </a:extLst>
                    </p:cNvPr>
                    <p:cNvSpPr/>
                    <p:nvPr/>
                  </p:nvSpPr>
                  <p:spPr>
                    <a:xfrm>
                      <a:off x="7721487" y="3242779"/>
                      <a:ext cx="38371" cy="37860"/>
                    </a:xfrm>
                    <a:custGeom>
                      <a:avLst/>
                      <a:gdLst>
                        <a:gd name="connsiteX0" fmla="*/ 18773 w 38371"/>
                        <a:gd name="connsiteY0" fmla="*/ 37860 h 37860"/>
                        <a:gd name="connsiteX1" fmla="*/ 3965 w 38371"/>
                        <a:gd name="connsiteY1" fmla="*/ 32439 h 37860"/>
                        <a:gd name="connsiteX2" fmla="*/ 3959 w 38371"/>
                        <a:gd name="connsiteY2" fmla="*/ 32433 h 37860"/>
                        <a:gd name="connsiteX3" fmla="*/ 7779 w 38371"/>
                        <a:gd name="connsiteY3" fmla="*/ 7415 h 37860"/>
                        <a:gd name="connsiteX4" fmla="*/ 33052 w 38371"/>
                        <a:gd name="connsiteY4" fmla="*/ 4022 h 37860"/>
                        <a:gd name="connsiteX5" fmla="*/ 33052 w 38371"/>
                        <a:gd name="connsiteY5" fmla="*/ 32682 h 37860"/>
                        <a:gd name="connsiteX6" fmla="*/ 18773 w 38371"/>
                        <a:gd name="connsiteY6" fmla="*/ 37860 h 37860"/>
                        <a:gd name="connsiteX7" fmla="*/ 12983 w 38371"/>
                        <a:gd name="connsiteY7" fmla="*/ 23422 h 37860"/>
                        <a:gd name="connsiteX8" fmla="*/ 24029 w 38371"/>
                        <a:gd name="connsiteY8" fmla="*/ 23670 h 37860"/>
                        <a:gd name="connsiteX9" fmla="*/ 24022 w 38371"/>
                        <a:gd name="connsiteY9" fmla="*/ 13052 h 37860"/>
                        <a:gd name="connsiteX10" fmla="*/ 16790 w 38371"/>
                        <a:gd name="connsiteY10" fmla="*/ 16439 h 37860"/>
                        <a:gd name="connsiteX11" fmla="*/ 12983 w 38371"/>
                        <a:gd name="connsiteY11" fmla="*/ 23422 h 3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371" h="37860">
                          <a:moveTo>
                            <a:pt x="18773" y="37860"/>
                          </a:moveTo>
                          <a:cubicBezTo>
                            <a:pt x="13200" y="37860"/>
                            <a:pt x="7581" y="36049"/>
                            <a:pt x="3965" y="32439"/>
                          </a:cubicBezTo>
                          <a:cubicBezTo>
                            <a:pt x="3965" y="32433"/>
                            <a:pt x="3965" y="32433"/>
                            <a:pt x="3959" y="32433"/>
                          </a:cubicBezTo>
                          <a:cubicBezTo>
                            <a:pt x="-2476" y="25986"/>
                            <a:pt x="-971" y="16164"/>
                            <a:pt x="7779" y="7415"/>
                          </a:cubicBezTo>
                          <a:cubicBezTo>
                            <a:pt x="16210" y="-1023"/>
                            <a:pt x="26605" y="-2407"/>
                            <a:pt x="33052" y="4022"/>
                          </a:cubicBezTo>
                          <a:cubicBezTo>
                            <a:pt x="40144" y="11133"/>
                            <a:pt x="40144" y="25590"/>
                            <a:pt x="33052" y="32682"/>
                          </a:cubicBezTo>
                          <a:cubicBezTo>
                            <a:pt x="29589" y="36145"/>
                            <a:pt x="24201" y="37860"/>
                            <a:pt x="18773" y="37860"/>
                          </a:cubicBezTo>
                          <a:close/>
                          <a:moveTo>
                            <a:pt x="12983" y="23422"/>
                          </a:moveTo>
                          <a:cubicBezTo>
                            <a:pt x="14985" y="25418"/>
                            <a:pt x="21809" y="25896"/>
                            <a:pt x="24029" y="23670"/>
                          </a:cubicBezTo>
                          <a:cubicBezTo>
                            <a:pt x="26318" y="21381"/>
                            <a:pt x="25999" y="15023"/>
                            <a:pt x="24022" y="13052"/>
                          </a:cubicBezTo>
                          <a:cubicBezTo>
                            <a:pt x="23053" y="12057"/>
                            <a:pt x="19526" y="13709"/>
                            <a:pt x="16790" y="16439"/>
                          </a:cubicBezTo>
                          <a:cubicBezTo>
                            <a:pt x="13506" y="19723"/>
                            <a:pt x="12339" y="22771"/>
                            <a:pt x="12983" y="23422"/>
                          </a:cubicBezTo>
                          <a:close/>
                        </a:path>
                      </a:pathLst>
                    </a:custGeom>
                    <a:solidFill>
                      <a:schemeClr val="accent1"/>
                    </a:solidFill>
                    <a:ln w="637" cap="flat">
                      <a:noFill/>
                      <a:prstDash val="solid"/>
                      <a:miter/>
                    </a:ln>
                  </p:spPr>
                  <p:txBody>
                    <a:bodyPr rtlCol="0" anchor="ctr"/>
                    <a:lstStyle/>
                    <a:p>
                      <a:endParaRPr lang="en-GB" dirty="0"/>
                    </a:p>
                  </p:txBody>
                </p:sp>
                <p:sp>
                  <p:nvSpPr>
                    <p:cNvPr id="909" name="Freeform: Shape 908">
                      <a:extLst>
                        <a:ext uri="{FF2B5EF4-FFF2-40B4-BE49-F238E27FC236}">
                          <a16:creationId xmlns:a16="http://schemas.microsoft.com/office/drawing/2014/main" id="{4D9E4455-7052-4D2B-9464-F9BEEC8C0F92}"/>
                        </a:ext>
                      </a:extLst>
                    </p:cNvPr>
                    <p:cNvSpPr/>
                    <p:nvPr/>
                  </p:nvSpPr>
                  <p:spPr>
                    <a:xfrm>
                      <a:off x="7743652" y="3264567"/>
                      <a:ext cx="26686" cy="26691"/>
                    </a:xfrm>
                    <a:custGeom>
                      <a:avLst/>
                      <a:gdLst>
                        <a:gd name="connsiteX0" fmla="*/ 20307 w 26686"/>
                        <a:gd name="connsiteY0" fmla="*/ 26691 h 26691"/>
                        <a:gd name="connsiteX1" fmla="*/ 15798 w 26686"/>
                        <a:gd name="connsiteY1" fmla="*/ 24822 h 26691"/>
                        <a:gd name="connsiteX2" fmla="*/ 1870 w 26686"/>
                        <a:gd name="connsiteY2" fmla="*/ 10888 h 26691"/>
                        <a:gd name="connsiteX3" fmla="*/ 1870 w 26686"/>
                        <a:gd name="connsiteY3" fmla="*/ 1870 h 26691"/>
                        <a:gd name="connsiteX4" fmla="*/ 10888 w 26686"/>
                        <a:gd name="connsiteY4" fmla="*/ 1870 h 26691"/>
                        <a:gd name="connsiteX5" fmla="*/ 24816 w 26686"/>
                        <a:gd name="connsiteY5" fmla="*/ 15805 h 26691"/>
                        <a:gd name="connsiteX6" fmla="*/ 24816 w 26686"/>
                        <a:gd name="connsiteY6" fmla="*/ 24822 h 26691"/>
                        <a:gd name="connsiteX7" fmla="*/ 20307 w 26686"/>
                        <a:gd name="connsiteY7" fmla="*/ 26691 h 2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91">
                          <a:moveTo>
                            <a:pt x="20307" y="26691"/>
                          </a:moveTo>
                          <a:cubicBezTo>
                            <a:pt x="18675" y="26691"/>
                            <a:pt x="17042" y="26066"/>
                            <a:pt x="15798" y="24822"/>
                          </a:cubicBezTo>
                          <a:lnTo>
                            <a:pt x="1870" y="10888"/>
                          </a:lnTo>
                          <a:cubicBezTo>
                            <a:pt x="-623" y="8394"/>
                            <a:pt x="-623" y="4364"/>
                            <a:pt x="1870" y="1870"/>
                          </a:cubicBezTo>
                          <a:cubicBezTo>
                            <a:pt x="4364" y="-623"/>
                            <a:pt x="8394" y="-623"/>
                            <a:pt x="10888" y="1870"/>
                          </a:cubicBezTo>
                          <a:lnTo>
                            <a:pt x="24816" y="15805"/>
                          </a:lnTo>
                          <a:cubicBezTo>
                            <a:pt x="27310" y="18298"/>
                            <a:pt x="27310" y="22329"/>
                            <a:pt x="24816" y="24822"/>
                          </a:cubicBezTo>
                          <a:cubicBezTo>
                            <a:pt x="23566" y="26072"/>
                            <a:pt x="21933" y="26691"/>
                            <a:pt x="20307" y="26691"/>
                          </a:cubicBezTo>
                          <a:close/>
                        </a:path>
                      </a:pathLst>
                    </a:custGeom>
                    <a:solidFill>
                      <a:schemeClr val="accent1"/>
                    </a:solidFill>
                    <a:ln w="637" cap="flat">
                      <a:noFill/>
                      <a:prstDash val="solid"/>
                      <a:miter/>
                    </a:ln>
                  </p:spPr>
                  <p:txBody>
                    <a:bodyPr rtlCol="0" anchor="ctr"/>
                    <a:lstStyle/>
                    <a:p>
                      <a:endParaRPr lang="en-GB" dirty="0"/>
                    </a:p>
                  </p:txBody>
                </p:sp>
              </p:grpSp>
            </p:grpSp>
            <p:grpSp>
              <p:nvGrpSpPr>
                <p:cNvPr id="887" name="Graphic 32">
                  <a:extLst>
                    <a:ext uri="{FF2B5EF4-FFF2-40B4-BE49-F238E27FC236}">
                      <a16:creationId xmlns:a16="http://schemas.microsoft.com/office/drawing/2014/main" id="{99235AD6-3546-4492-98AA-9CDDB865FD21}"/>
                    </a:ext>
                  </a:extLst>
                </p:cNvPr>
                <p:cNvGrpSpPr/>
                <p:nvPr/>
              </p:nvGrpSpPr>
              <p:grpSpPr>
                <a:xfrm>
                  <a:off x="7721525" y="3367020"/>
                  <a:ext cx="173399" cy="73768"/>
                  <a:chOff x="7721525" y="3367020"/>
                  <a:chExt cx="173399" cy="73768"/>
                </a:xfrm>
                <a:solidFill>
                  <a:schemeClr val="accent1"/>
                </a:solidFill>
              </p:grpSpPr>
              <p:grpSp>
                <p:nvGrpSpPr>
                  <p:cNvPr id="896" name="Graphic 32">
                    <a:extLst>
                      <a:ext uri="{FF2B5EF4-FFF2-40B4-BE49-F238E27FC236}">
                        <a16:creationId xmlns:a16="http://schemas.microsoft.com/office/drawing/2014/main" id="{A7C4CBDE-70DA-48DF-BE1A-C0A96B20FAF2}"/>
                      </a:ext>
                    </a:extLst>
                  </p:cNvPr>
                  <p:cNvGrpSpPr/>
                  <p:nvPr/>
                </p:nvGrpSpPr>
                <p:grpSpPr>
                  <a:xfrm>
                    <a:off x="7787893" y="3385343"/>
                    <a:ext cx="40643" cy="55445"/>
                    <a:chOff x="7787893" y="3385343"/>
                    <a:chExt cx="40643" cy="55445"/>
                  </a:xfrm>
                  <a:solidFill>
                    <a:schemeClr val="accent1"/>
                  </a:solidFill>
                </p:grpSpPr>
                <p:sp>
                  <p:nvSpPr>
                    <p:cNvPr id="903" name="Freeform: Shape 902">
                      <a:extLst>
                        <a:ext uri="{FF2B5EF4-FFF2-40B4-BE49-F238E27FC236}">
                          <a16:creationId xmlns:a16="http://schemas.microsoft.com/office/drawing/2014/main" id="{CE6BB235-71E9-4E12-ADB1-FC9EF281AEBD}"/>
                        </a:ext>
                      </a:extLst>
                    </p:cNvPr>
                    <p:cNvSpPr/>
                    <p:nvPr/>
                  </p:nvSpPr>
                  <p:spPr>
                    <a:xfrm>
                      <a:off x="7787893" y="3405043"/>
                      <a:ext cx="40643" cy="35745"/>
                    </a:xfrm>
                    <a:custGeom>
                      <a:avLst/>
                      <a:gdLst>
                        <a:gd name="connsiteX0" fmla="*/ 20261 w 40643"/>
                        <a:gd name="connsiteY0" fmla="*/ 35745 h 35745"/>
                        <a:gd name="connsiteX1" fmla="*/ 0 w 40643"/>
                        <a:gd name="connsiteY1" fmla="*/ 20267 h 35745"/>
                        <a:gd name="connsiteX2" fmla="*/ 20261 w 40643"/>
                        <a:gd name="connsiteY2" fmla="*/ 0 h 35745"/>
                        <a:gd name="connsiteX3" fmla="*/ 40643 w 40643"/>
                        <a:gd name="connsiteY3" fmla="*/ 20746 h 35745"/>
                        <a:gd name="connsiteX4" fmla="*/ 20261 w 40643"/>
                        <a:gd name="connsiteY4" fmla="*/ 35745 h 35745"/>
                        <a:gd name="connsiteX5" fmla="*/ 20261 w 40643"/>
                        <a:gd name="connsiteY5" fmla="*/ 12755 h 35745"/>
                        <a:gd name="connsiteX6" fmla="*/ 12755 w 40643"/>
                        <a:gd name="connsiteY6" fmla="*/ 20267 h 35745"/>
                        <a:gd name="connsiteX7" fmla="*/ 20261 w 40643"/>
                        <a:gd name="connsiteY7" fmla="*/ 22991 h 35745"/>
                        <a:gd name="connsiteX8" fmla="*/ 27888 w 40643"/>
                        <a:gd name="connsiteY8" fmla="*/ 20746 h 35745"/>
                        <a:gd name="connsiteX9" fmla="*/ 20261 w 40643"/>
                        <a:gd name="connsiteY9" fmla="*/ 12755 h 3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43" h="35745">
                          <a:moveTo>
                            <a:pt x="20261" y="35745"/>
                          </a:moveTo>
                          <a:cubicBezTo>
                            <a:pt x="8335" y="35745"/>
                            <a:pt x="0" y="29381"/>
                            <a:pt x="0" y="20267"/>
                          </a:cubicBezTo>
                          <a:cubicBezTo>
                            <a:pt x="0" y="10229"/>
                            <a:pt x="10229" y="0"/>
                            <a:pt x="20261" y="0"/>
                          </a:cubicBezTo>
                          <a:cubicBezTo>
                            <a:pt x="30171" y="0"/>
                            <a:pt x="40643" y="10663"/>
                            <a:pt x="40643" y="20746"/>
                          </a:cubicBezTo>
                          <a:cubicBezTo>
                            <a:pt x="40649" y="29859"/>
                            <a:pt x="32646" y="35745"/>
                            <a:pt x="20261" y="35745"/>
                          </a:cubicBezTo>
                          <a:close/>
                          <a:moveTo>
                            <a:pt x="20261" y="12755"/>
                          </a:moveTo>
                          <a:cubicBezTo>
                            <a:pt x="17021" y="12755"/>
                            <a:pt x="12755" y="17480"/>
                            <a:pt x="12755" y="20267"/>
                          </a:cubicBezTo>
                          <a:cubicBezTo>
                            <a:pt x="12755" y="21670"/>
                            <a:pt x="16402" y="22991"/>
                            <a:pt x="20261" y="22991"/>
                          </a:cubicBezTo>
                          <a:cubicBezTo>
                            <a:pt x="24916" y="22991"/>
                            <a:pt x="27888" y="21664"/>
                            <a:pt x="27888" y="20746"/>
                          </a:cubicBezTo>
                          <a:cubicBezTo>
                            <a:pt x="27895" y="17927"/>
                            <a:pt x="23405" y="12755"/>
                            <a:pt x="20261" y="12755"/>
                          </a:cubicBezTo>
                          <a:close/>
                        </a:path>
                      </a:pathLst>
                    </a:custGeom>
                    <a:solidFill>
                      <a:schemeClr val="accent1"/>
                    </a:solidFill>
                    <a:ln w="637" cap="flat">
                      <a:noFill/>
                      <a:prstDash val="solid"/>
                      <a:miter/>
                    </a:ln>
                  </p:spPr>
                  <p:txBody>
                    <a:bodyPr rtlCol="0" anchor="ctr"/>
                    <a:lstStyle/>
                    <a:p>
                      <a:endParaRPr lang="en-GB" dirty="0"/>
                    </a:p>
                  </p:txBody>
                </p:sp>
                <p:sp>
                  <p:nvSpPr>
                    <p:cNvPr id="904" name="Freeform: Shape 903">
                      <a:extLst>
                        <a:ext uri="{FF2B5EF4-FFF2-40B4-BE49-F238E27FC236}">
                          <a16:creationId xmlns:a16="http://schemas.microsoft.com/office/drawing/2014/main" id="{7AD5CE2C-25B2-4553-9DC3-8A473BB8D4C1}"/>
                        </a:ext>
                      </a:extLst>
                    </p:cNvPr>
                    <p:cNvSpPr/>
                    <p:nvPr/>
                  </p:nvSpPr>
                  <p:spPr>
                    <a:xfrm>
                      <a:off x="7801770" y="3385343"/>
                      <a:ext cx="12754" cy="32454"/>
                    </a:xfrm>
                    <a:custGeom>
                      <a:avLst/>
                      <a:gdLst>
                        <a:gd name="connsiteX0" fmla="*/ 6377 w 12754"/>
                        <a:gd name="connsiteY0" fmla="*/ 32455 h 32454"/>
                        <a:gd name="connsiteX1" fmla="*/ 0 w 12754"/>
                        <a:gd name="connsiteY1" fmla="*/ 26077 h 32454"/>
                        <a:gd name="connsiteX2" fmla="*/ 0 w 12754"/>
                        <a:gd name="connsiteY2" fmla="*/ 6377 h 32454"/>
                        <a:gd name="connsiteX3" fmla="*/ 6377 w 12754"/>
                        <a:gd name="connsiteY3" fmla="*/ 0 h 32454"/>
                        <a:gd name="connsiteX4" fmla="*/ 12755 w 12754"/>
                        <a:gd name="connsiteY4" fmla="*/ 6377 h 32454"/>
                        <a:gd name="connsiteX5" fmla="*/ 12755 w 12754"/>
                        <a:gd name="connsiteY5" fmla="*/ 26077 h 32454"/>
                        <a:gd name="connsiteX6" fmla="*/ 6377 w 12754"/>
                        <a:gd name="connsiteY6" fmla="*/ 32455 h 3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32454">
                          <a:moveTo>
                            <a:pt x="6377" y="32455"/>
                          </a:moveTo>
                          <a:cubicBezTo>
                            <a:pt x="2851" y="32455"/>
                            <a:pt x="0" y="29604"/>
                            <a:pt x="0" y="26077"/>
                          </a:cubicBezTo>
                          <a:lnTo>
                            <a:pt x="0" y="6377"/>
                          </a:lnTo>
                          <a:cubicBezTo>
                            <a:pt x="0" y="2851"/>
                            <a:pt x="2851" y="0"/>
                            <a:pt x="6377" y="0"/>
                          </a:cubicBezTo>
                          <a:cubicBezTo>
                            <a:pt x="9904" y="0"/>
                            <a:pt x="12755" y="2851"/>
                            <a:pt x="12755" y="6377"/>
                          </a:cubicBezTo>
                          <a:lnTo>
                            <a:pt x="12755" y="26077"/>
                          </a:lnTo>
                          <a:cubicBezTo>
                            <a:pt x="12755" y="29604"/>
                            <a:pt x="9904" y="32455"/>
                            <a:pt x="6377" y="32455"/>
                          </a:cubicBezTo>
                          <a:close/>
                        </a:path>
                      </a:pathLst>
                    </a:custGeom>
                    <a:solidFill>
                      <a:schemeClr val="accent1"/>
                    </a:solidFill>
                    <a:ln w="637" cap="flat">
                      <a:noFill/>
                      <a:prstDash val="solid"/>
                      <a:miter/>
                    </a:ln>
                  </p:spPr>
                  <p:txBody>
                    <a:bodyPr rtlCol="0" anchor="ctr"/>
                    <a:lstStyle/>
                    <a:p>
                      <a:endParaRPr lang="en-GB" dirty="0"/>
                    </a:p>
                  </p:txBody>
                </p:sp>
              </p:grpSp>
              <p:grpSp>
                <p:nvGrpSpPr>
                  <p:cNvPr id="897" name="Graphic 32">
                    <a:extLst>
                      <a:ext uri="{FF2B5EF4-FFF2-40B4-BE49-F238E27FC236}">
                        <a16:creationId xmlns:a16="http://schemas.microsoft.com/office/drawing/2014/main" id="{EB1F76EB-1D88-4967-AEE2-25A1D07CC432}"/>
                      </a:ext>
                    </a:extLst>
                  </p:cNvPr>
                  <p:cNvGrpSpPr/>
                  <p:nvPr/>
                </p:nvGrpSpPr>
                <p:grpSpPr>
                  <a:xfrm>
                    <a:off x="7846073" y="3367020"/>
                    <a:ext cx="48852" cy="48482"/>
                    <a:chOff x="7846073" y="3367020"/>
                    <a:chExt cx="48852" cy="48482"/>
                  </a:xfrm>
                  <a:solidFill>
                    <a:schemeClr val="accent1"/>
                  </a:solidFill>
                </p:grpSpPr>
                <p:sp>
                  <p:nvSpPr>
                    <p:cNvPr id="901" name="Freeform: Shape 900">
                      <a:extLst>
                        <a:ext uri="{FF2B5EF4-FFF2-40B4-BE49-F238E27FC236}">
                          <a16:creationId xmlns:a16="http://schemas.microsoft.com/office/drawing/2014/main" id="{A0A6ABAE-3C0C-43B6-9616-BA5C467BACDA}"/>
                        </a:ext>
                      </a:extLst>
                    </p:cNvPr>
                    <p:cNvSpPr/>
                    <p:nvPr/>
                  </p:nvSpPr>
                  <p:spPr>
                    <a:xfrm>
                      <a:off x="7856558" y="3377646"/>
                      <a:ext cx="38367" cy="37856"/>
                    </a:xfrm>
                    <a:custGeom>
                      <a:avLst/>
                      <a:gdLst>
                        <a:gd name="connsiteX0" fmla="*/ 15090 w 38367"/>
                        <a:gd name="connsiteY0" fmla="*/ 37856 h 37856"/>
                        <a:gd name="connsiteX1" fmla="*/ 5320 w 38367"/>
                        <a:gd name="connsiteY1" fmla="*/ 33832 h 37856"/>
                        <a:gd name="connsiteX2" fmla="*/ 5313 w 38367"/>
                        <a:gd name="connsiteY2" fmla="*/ 5166 h 37856"/>
                        <a:gd name="connsiteX3" fmla="*/ 34401 w 38367"/>
                        <a:gd name="connsiteY3" fmla="*/ 5421 h 37856"/>
                        <a:gd name="connsiteX4" fmla="*/ 30600 w 38367"/>
                        <a:gd name="connsiteY4" fmla="*/ 30440 h 37856"/>
                        <a:gd name="connsiteX5" fmla="*/ 15090 w 38367"/>
                        <a:gd name="connsiteY5" fmla="*/ 37856 h 37856"/>
                        <a:gd name="connsiteX6" fmla="*/ 19369 w 38367"/>
                        <a:gd name="connsiteY6" fmla="*/ 12717 h 37856"/>
                        <a:gd name="connsiteX7" fmla="*/ 14337 w 38367"/>
                        <a:gd name="connsiteY7" fmla="*/ 14184 h 37856"/>
                        <a:gd name="connsiteX8" fmla="*/ 14344 w 38367"/>
                        <a:gd name="connsiteY8" fmla="*/ 24802 h 37856"/>
                        <a:gd name="connsiteX9" fmla="*/ 21576 w 38367"/>
                        <a:gd name="connsiteY9" fmla="*/ 21415 h 37856"/>
                        <a:gd name="connsiteX10" fmla="*/ 25383 w 38367"/>
                        <a:gd name="connsiteY10" fmla="*/ 14432 h 37856"/>
                        <a:gd name="connsiteX11" fmla="*/ 19369 w 38367"/>
                        <a:gd name="connsiteY11" fmla="*/ 12717 h 37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367" h="37856">
                          <a:moveTo>
                            <a:pt x="15090" y="37856"/>
                          </a:moveTo>
                          <a:cubicBezTo>
                            <a:pt x="11429" y="37856"/>
                            <a:pt x="8030" y="36536"/>
                            <a:pt x="5320" y="33832"/>
                          </a:cubicBezTo>
                          <a:cubicBezTo>
                            <a:pt x="-1772" y="26728"/>
                            <a:pt x="-1772" y="12264"/>
                            <a:pt x="5313" y="5166"/>
                          </a:cubicBezTo>
                          <a:cubicBezTo>
                            <a:pt x="12347" y="-1830"/>
                            <a:pt x="27277" y="-1696"/>
                            <a:pt x="34401" y="5421"/>
                          </a:cubicBezTo>
                          <a:cubicBezTo>
                            <a:pt x="40842" y="11862"/>
                            <a:pt x="39343" y="21677"/>
                            <a:pt x="30600" y="30440"/>
                          </a:cubicBezTo>
                          <a:cubicBezTo>
                            <a:pt x="25702" y="35325"/>
                            <a:pt x="20147" y="37856"/>
                            <a:pt x="15090" y="37856"/>
                          </a:cubicBezTo>
                          <a:close/>
                          <a:moveTo>
                            <a:pt x="19369" y="12717"/>
                          </a:moveTo>
                          <a:cubicBezTo>
                            <a:pt x="17328" y="12717"/>
                            <a:pt x="15351" y="13163"/>
                            <a:pt x="14337" y="14184"/>
                          </a:cubicBezTo>
                          <a:cubicBezTo>
                            <a:pt x="12054" y="16467"/>
                            <a:pt x="12366" y="22831"/>
                            <a:pt x="14344" y="24802"/>
                          </a:cubicBezTo>
                          <a:cubicBezTo>
                            <a:pt x="15300" y="25784"/>
                            <a:pt x="18840" y="24145"/>
                            <a:pt x="21576" y="21415"/>
                          </a:cubicBezTo>
                          <a:cubicBezTo>
                            <a:pt x="24866" y="18118"/>
                            <a:pt x="26027" y="15083"/>
                            <a:pt x="25383" y="14432"/>
                          </a:cubicBezTo>
                          <a:cubicBezTo>
                            <a:pt x="24299" y="13355"/>
                            <a:pt x="21792" y="12717"/>
                            <a:pt x="19369" y="12717"/>
                          </a:cubicBezTo>
                          <a:close/>
                        </a:path>
                      </a:pathLst>
                    </a:custGeom>
                    <a:solidFill>
                      <a:schemeClr val="accent1"/>
                    </a:solidFill>
                    <a:ln w="637" cap="flat">
                      <a:noFill/>
                      <a:prstDash val="solid"/>
                      <a:miter/>
                    </a:ln>
                  </p:spPr>
                  <p:txBody>
                    <a:bodyPr rtlCol="0" anchor="ctr"/>
                    <a:lstStyle/>
                    <a:p>
                      <a:endParaRPr lang="en-GB" dirty="0"/>
                    </a:p>
                  </p:txBody>
                </p:sp>
                <p:sp>
                  <p:nvSpPr>
                    <p:cNvPr id="902" name="Freeform: Shape 901">
                      <a:extLst>
                        <a:ext uri="{FF2B5EF4-FFF2-40B4-BE49-F238E27FC236}">
                          <a16:creationId xmlns:a16="http://schemas.microsoft.com/office/drawing/2014/main" id="{8D900D2C-980D-4C27-950D-D055356BDB6A}"/>
                        </a:ext>
                      </a:extLst>
                    </p:cNvPr>
                    <p:cNvSpPr/>
                    <p:nvPr/>
                  </p:nvSpPr>
                  <p:spPr>
                    <a:xfrm>
                      <a:off x="7846073" y="3367020"/>
                      <a:ext cx="26686" cy="26684"/>
                    </a:xfrm>
                    <a:custGeom>
                      <a:avLst/>
                      <a:gdLst>
                        <a:gd name="connsiteX0" fmla="*/ 20307 w 26686"/>
                        <a:gd name="connsiteY0" fmla="*/ 26685 h 26684"/>
                        <a:gd name="connsiteX1" fmla="*/ 15798 w 26686"/>
                        <a:gd name="connsiteY1" fmla="*/ 24816 h 26684"/>
                        <a:gd name="connsiteX2" fmla="*/ 1870 w 26686"/>
                        <a:gd name="connsiteY2" fmla="*/ 10888 h 26684"/>
                        <a:gd name="connsiteX3" fmla="*/ 1870 w 26686"/>
                        <a:gd name="connsiteY3" fmla="*/ 1870 h 26684"/>
                        <a:gd name="connsiteX4" fmla="*/ 10888 w 26686"/>
                        <a:gd name="connsiteY4" fmla="*/ 1870 h 26684"/>
                        <a:gd name="connsiteX5" fmla="*/ 24816 w 26686"/>
                        <a:gd name="connsiteY5" fmla="*/ 15798 h 26684"/>
                        <a:gd name="connsiteX6" fmla="*/ 24816 w 26686"/>
                        <a:gd name="connsiteY6" fmla="*/ 24816 h 26684"/>
                        <a:gd name="connsiteX7" fmla="*/ 20307 w 26686"/>
                        <a:gd name="connsiteY7" fmla="*/ 26685 h 2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84">
                          <a:moveTo>
                            <a:pt x="20307" y="26685"/>
                          </a:moveTo>
                          <a:cubicBezTo>
                            <a:pt x="18675" y="26685"/>
                            <a:pt x="17042" y="26060"/>
                            <a:pt x="15798" y="24816"/>
                          </a:cubicBezTo>
                          <a:lnTo>
                            <a:pt x="1870" y="10888"/>
                          </a:lnTo>
                          <a:cubicBezTo>
                            <a:pt x="-623" y="8394"/>
                            <a:pt x="-623" y="4364"/>
                            <a:pt x="1870" y="1870"/>
                          </a:cubicBezTo>
                          <a:cubicBezTo>
                            <a:pt x="4364" y="-623"/>
                            <a:pt x="8394" y="-623"/>
                            <a:pt x="10888" y="1870"/>
                          </a:cubicBezTo>
                          <a:lnTo>
                            <a:pt x="24816" y="15798"/>
                          </a:lnTo>
                          <a:cubicBezTo>
                            <a:pt x="27310" y="18292"/>
                            <a:pt x="27310" y="22322"/>
                            <a:pt x="24816" y="24816"/>
                          </a:cubicBezTo>
                          <a:cubicBezTo>
                            <a:pt x="23572" y="26060"/>
                            <a:pt x="21940" y="26685"/>
                            <a:pt x="20307" y="26685"/>
                          </a:cubicBezTo>
                          <a:close/>
                        </a:path>
                      </a:pathLst>
                    </a:custGeom>
                    <a:solidFill>
                      <a:schemeClr val="accent1"/>
                    </a:solidFill>
                    <a:ln w="637" cap="flat">
                      <a:noFill/>
                      <a:prstDash val="solid"/>
                      <a:miter/>
                    </a:ln>
                  </p:spPr>
                  <p:txBody>
                    <a:bodyPr rtlCol="0" anchor="ctr"/>
                    <a:lstStyle/>
                    <a:p>
                      <a:endParaRPr lang="en-GB" dirty="0"/>
                    </a:p>
                  </p:txBody>
                </p:sp>
              </p:grpSp>
              <p:grpSp>
                <p:nvGrpSpPr>
                  <p:cNvPr id="898" name="Graphic 32">
                    <a:extLst>
                      <a:ext uri="{FF2B5EF4-FFF2-40B4-BE49-F238E27FC236}">
                        <a16:creationId xmlns:a16="http://schemas.microsoft.com/office/drawing/2014/main" id="{61E17941-E6D7-43AF-819F-CFAFD62FE7F2}"/>
                      </a:ext>
                    </a:extLst>
                  </p:cNvPr>
                  <p:cNvGrpSpPr/>
                  <p:nvPr/>
                </p:nvGrpSpPr>
                <p:grpSpPr>
                  <a:xfrm>
                    <a:off x="7721525" y="3367160"/>
                    <a:ext cx="48812" cy="48482"/>
                    <a:chOff x="7721525" y="3367160"/>
                    <a:chExt cx="48812" cy="48482"/>
                  </a:xfrm>
                  <a:solidFill>
                    <a:schemeClr val="accent1"/>
                  </a:solidFill>
                </p:grpSpPr>
                <p:sp>
                  <p:nvSpPr>
                    <p:cNvPr id="899" name="Freeform: Shape 898">
                      <a:extLst>
                        <a:ext uri="{FF2B5EF4-FFF2-40B4-BE49-F238E27FC236}">
                          <a16:creationId xmlns:a16="http://schemas.microsoft.com/office/drawing/2014/main" id="{96EA611A-9508-4DCB-BAB5-FA9268A22A0F}"/>
                        </a:ext>
                      </a:extLst>
                    </p:cNvPr>
                    <p:cNvSpPr/>
                    <p:nvPr/>
                  </p:nvSpPr>
                  <p:spPr>
                    <a:xfrm>
                      <a:off x="7721525" y="3377741"/>
                      <a:ext cx="38320" cy="37901"/>
                    </a:xfrm>
                    <a:custGeom>
                      <a:avLst/>
                      <a:gdLst>
                        <a:gd name="connsiteX0" fmla="*/ 23237 w 38320"/>
                        <a:gd name="connsiteY0" fmla="*/ 37901 h 37901"/>
                        <a:gd name="connsiteX1" fmla="*/ 7734 w 38320"/>
                        <a:gd name="connsiteY1" fmla="*/ 30497 h 37901"/>
                        <a:gd name="connsiteX2" fmla="*/ 795 w 38320"/>
                        <a:gd name="connsiteY2" fmla="*/ 19834 h 37901"/>
                        <a:gd name="connsiteX3" fmla="*/ 3920 w 38320"/>
                        <a:gd name="connsiteY3" fmla="*/ 5472 h 37901"/>
                        <a:gd name="connsiteX4" fmla="*/ 18193 w 38320"/>
                        <a:gd name="connsiteY4" fmla="*/ 7 h 37901"/>
                        <a:gd name="connsiteX5" fmla="*/ 33001 w 38320"/>
                        <a:gd name="connsiteY5" fmla="*/ 5217 h 37901"/>
                        <a:gd name="connsiteX6" fmla="*/ 33001 w 38320"/>
                        <a:gd name="connsiteY6" fmla="*/ 33871 h 37901"/>
                        <a:gd name="connsiteX7" fmla="*/ 23237 w 38320"/>
                        <a:gd name="connsiteY7" fmla="*/ 37901 h 37901"/>
                        <a:gd name="connsiteX8" fmla="*/ 18965 w 38320"/>
                        <a:gd name="connsiteY8" fmla="*/ 12774 h 37901"/>
                        <a:gd name="connsiteX9" fmla="*/ 12945 w 38320"/>
                        <a:gd name="connsiteY9" fmla="*/ 14496 h 37901"/>
                        <a:gd name="connsiteX10" fmla="*/ 12938 w 38320"/>
                        <a:gd name="connsiteY10" fmla="*/ 15925 h 37901"/>
                        <a:gd name="connsiteX11" fmla="*/ 16758 w 38320"/>
                        <a:gd name="connsiteY11" fmla="*/ 21479 h 37901"/>
                        <a:gd name="connsiteX12" fmla="*/ 23996 w 38320"/>
                        <a:gd name="connsiteY12" fmla="*/ 24859 h 37901"/>
                        <a:gd name="connsiteX13" fmla="*/ 23990 w 38320"/>
                        <a:gd name="connsiteY13" fmla="*/ 14241 h 37901"/>
                        <a:gd name="connsiteX14" fmla="*/ 18965 w 38320"/>
                        <a:gd name="connsiteY14" fmla="*/ 12774 h 37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320" h="37901">
                          <a:moveTo>
                            <a:pt x="23237" y="37901"/>
                          </a:moveTo>
                          <a:cubicBezTo>
                            <a:pt x="18180" y="37901"/>
                            <a:pt x="12632" y="35376"/>
                            <a:pt x="7734" y="30497"/>
                          </a:cubicBezTo>
                          <a:cubicBezTo>
                            <a:pt x="5381" y="28137"/>
                            <a:pt x="2262" y="24375"/>
                            <a:pt x="795" y="19834"/>
                          </a:cubicBezTo>
                          <a:cubicBezTo>
                            <a:pt x="-939" y="14432"/>
                            <a:pt x="190" y="9196"/>
                            <a:pt x="3920" y="5472"/>
                          </a:cubicBezTo>
                          <a:cubicBezTo>
                            <a:pt x="7243" y="2150"/>
                            <a:pt x="12447" y="153"/>
                            <a:pt x="18193" y="7"/>
                          </a:cubicBezTo>
                          <a:cubicBezTo>
                            <a:pt x="24290" y="-127"/>
                            <a:pt x="29545" y="1754"/>
                            <a:pt x="33001" y="5217"/>
                          </a:cubicBezTo>
                          <a:cubicBezTo>
                            <a:pt x="40093" y="12315"/>
                            <a:pt x="40093" y="26779"/>
                            <a:pt x="33001" y="33871"/>
                          </a:cubicBezTo>
                          <a:cubicBezTo>
                            <a:pt x="30304" y="36575"/>
                            <a:pt x="26898" y="37901"/>
                            <a:pt x="23237" y="37901"/>
                          </a:cubicBezTo>
                          <a:close/>
                          <a:moveTo>
                            <a:pt x="18965" y="12774"/>
                          </a:moveTo>
                          <a:cubicBezTo>
                            <a:pt x="16535" y="12774"/>
                            <a:pt x="14029" y="13412"/>
                            <a:pt x="12945" y="14496"/>
                          </a:cubicBezTo>
                          <a:cubicBezTo>
                            <a:pt x="12791" y="14649"/>
                            <a:pt x="12594" y="14847"/>
                            <a:pt x="12938" y="15925"/>
                          </a:cubicBezTo>
                          <a:cubicBezTo>
                            <a:pt x="13467" y="17557"/>
                            <a:pt x="14858" y="19579"/>
                            <a:pt x="16758" y="21479"/>
                          </a:cubicBezTo>
                          <a:cubicBezTo>
                            <a:pt x="19481" y="24196"/>
                            <a:pt x="22982" y="25867"/>
                            <a:pt x="23996" y="24859"/>
                          </a:cubicBezTo>
                          <a:cubicBezTo>
                            <a:pt x="25967" y="22889"/>
                            <a:pt x="26279" y="16530"/>
                            <a:pt x="23990" y="14241"/>
                          </a:cubicBezTo>
                          <a:cubicBezTo>
                            <a:pt x="22976" y="13221"/>
                            <a:pt x="20999" y="12774"/>
                            <a:pt x="18965" y="12774"/>
                          </a:cubicBezTo>
                          <a:close/>
                        </a:path>
                      </a:pathLst>
                    </a:custGeom>
                    <a:solidFill>
                      <a:schemeClr val="accent1"/>
                    </a:solidFill>
                    <a:ln w="637" cap="flat">
                      <a:noFill/>
                      <a:prstDash val="solid"/>
                      <a:miter/>
                    </a:ln>
                  </p:spPr>
                  <p:txBody>
                    <a:bodyPr rtlCol="0" anchor="ctr"/>
                    <a:lstStyle/>
                    <a:p>
                      <a:endParaRPr lang="en-GB" dirty="0"/>
                    </a:p>
                  </p:txBody>
                </p:sp>
                <p:sp>
                  <p:nvSpPr>
                    <p:cNvPr id="900" name="Freeform: Shape 899">
                      <a:extLst>
                        <a:ext uri="{FF2B5EF4-FFF2-40B4-BE49-F238E27FC236}">
                          <a16:creationId xmlns:a16="http://schemas.microsoft.com/office/drawing/2014/main" id="{139AB71C-76D6-43AF-9444-83849180D47E}"/>
                        </a:ext>
                      </a:extLst>
                    </p:cNvPr>
                    <p:cNvSpPr/>
                    <p:nvPr/>
                  </p:nvSpPr>
                  <p:spPr>
                    <a:xfrm>
                      <a:off x="7743652" y="3367160"/>
                      <a:ext cx="26686" cy="26691"/>
                    </a:xfrm>
                    <a:custGeom>
                      <a:avLst/>
                      <a:gdLst>
                        <a:gd name="connsiteX0" fmla="*/ 6379 w 26686"/>
                        <a:gd name="connsiteY0" fmla="*/ 26691 h 26691"/>
                        <a:gd name="connsiteX1" fmla="*/ 1870 w 26686"/>
                        <a:gd name="connsiteY1" fmla="*/ 24822 h 26691"/>
                        <a:gd name="connsiteX2" fmla="*/ 1870 w 26686"/>
                        <a:gd name="connsiteY2" fmla="*/ 15805 h 26691"/>
                        <a:gd name="connsiteX3" fmla="*/ 15798 w 26686"/>
                        <a:gd name="connsiteY3" fmla="*/ 1870 h 26691"/>
                        <a:gd name="connsiteX4" fmla="*/ 24816 w 26686"/>
                        <a:gd name="connsiteY4" fmla="*/ 1870 h 26691"/>
                        <a:gd name="connsiteX5" fmla="*/ 24816 w 26686"/>
                        <a:gd name="connsiteY5" fmla="*/ 10888 h 26691"/>
                        <a:gd name="connsiteX6" fmla="*/ 10888 w 26686"/>
                        <a:gd name="connsiteY6" fmla="*/ 24822 h 26691"/>
                        <a:gd name="connsiteX7" fmla="*/ 6379 w 26686"/>
                        <a:gd name="connsiteY7" fmla="*/ 26691 h 2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91">
                          <a:moveTo>
                            <a:pt x="6379" y="26691"/>
                          </a:moveTo>
                          <a:cubicBezTo>
                            <a:pt x="4746" y="26691"/>
                            <a:pt x="3114" y="26066"/>
                            <a:pt x="1870" y="24822"/>
                          </a:cubicBezTo>
                          <a:cubicBezTo>
                            <a:pt x="-623" y="22329"/>
                            <a:pt x="-623" y="18298"/>
                            <a:pt x="1870" y="15805"/>
                          </a:cubicBezTo>
                          <a:lnTo>
                            <a:pt x="15798" y="1870"/>
                          </a:lnTo>
                          <a:cubicBezTo>
                            <a:pt x="18292" y="-623"/>
                            <a:pt x="22323" y="-623"/>
                            <a:pt x="24816" y="1870"/>
                          </a:cubicBezTo>
                          <a:cubicBezTo>
                            <a:pt x="27310" y="4364"/>
                            <a:pt x="27310" y="8394"/>
                            <a:pt x="24816" y="10888"/>
                          </a:cubicBezTo>
                          <a:lnTo>
                            <a:pt x="10888" y="24822"/>
                          </a:lnTo>
                          <a:cubicBezTo>
                            <a:pt x="9644" y="26072"/>
                            <a:pt x="8012" y="26691"/>
                            <a:pt x="6379" y="26691"/>
                          </a:cubicBezTo>
                          <a:close/>
                        </a:path>
                      </a:pathLst>
                    </a:custGeom>
                    <a:solidFill>
                      <a:schemeClr val="accent1"/>
                    </a:solidFill>
                    <a:ln w="637" cap="flat">
                      <a:noFill/>
                      <a:prstDash val="solid"/>
                      <a:miter/>
                    </a:ln>
                  </p:spPr>
                  <p:txBody>
                    <a:bodyPr rtlCol="0" anchor="ctr"/>
                    <a:lstStyle/>
                    <a:p>
                      <a:endParaRPr lang="en-GB" dirty="0"/>
                    </a:p>
                  </p:txBody>
                </p:sp>
              </p:grpSp>
            </p:grpSp>
            <p:sp>
              <p:nvSpPr>
                <p:cNvPr id="888" name="Freeform: Shape 887">
                  <a:extLst>
                    <a:ext uri="{FF2B5EF4-FFF2-40B4-BE49-F238E27FC236}">
                      <a16:creationId xmlns:a16="http://schemas.microsoft.com/office/drawing/2014/main" id="{9A133C5A-5A19-4674-8771-944F67834949}"/>
                    </a:ext>
                  </a:extLst>
                </p:cNvPr>
                <p:cNvSpPr/>
                <p:nvPr/>
              </p:nvSpPr>
              <p:spPr>
                <a:xfrm>
                  <a:off x="7827817" y="3379847"/>
                  <a:ext cx="17726" cy="23582"/>
                </a:xfrm>
                <a:custGeom>
                  <a:avLst/>
                  <a:gdLst>
                    <a:gd name="connsiteX0" fmla="*/ 11357 w 17726"/>
                    <a:gd name="connsiteY0" fmla="*/ 23582 h 23582"/>
                    <a:gd name="connsiteX1" fmla="*/ 5560 w 17726"/>
                    <a:gd name="connsiteY1" fmla="*/ 19871 h 23582"/>
                    <a:gd name="connsiteX2" fmla="*/ 585 w 17726"/>
                    <a:gd name="connsiteY2" fmla="*/ 9042 h 23582"/>
                    <a:gd name="connsiteX3" fmla="*/ 3711 w 17726"/>
                    <a:gd name="connsiteY3" fmla="*/ 586 h 23582"/>
                    <a:gd name="connsiteX4" fmla="*/ 12167 w 17726"/>
                    <a:gd name="connsiteY4" fmla="*/ 3711 h 23582"/>
                    <a:gd name="connsiteX5" fmla="*/ 17141 w 17726"/>
                    <a:gd name="connsiteY5" fmla="*/ 14539 h 23582"/>
                    <a:gd name="connsiteX6" fmla="*/ 14016 w 17726"/>
                    <a:gd name="connsiteY6" fmla="*/ 22996 h 23582"/>
                    <a:gd name="connsiteX7" fmla="*/ 11357 w 17726"/>
                    <a:gd name="connsiteY7" fmla="*/ 23582 h 23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26" h="23582">
                      <a:moveTo>
                        <a:pt x="11357" y="23582"/>
                      </a:moveTo>
                      <a:cubicBezTo>
                        <a:pt x="8940" y="23582"/>
                        <a:pt x="6632" y="22205"/>
                        <a:pt x="5560" y="19871"/>
                      </a:cubicBezTo>
                      <a:lnTo>
                        <a:pt x="585" y="9042"/>
                      </a:lnTo>
                      <a:cubicBezTo>
                        <a:pt x="-887" y="5840"/>
                        <a:pt x="515" y="2052"/>
                        <a:pt x="3711" y="586"/>
                      </a:cubicBezTo>
                      <a:cubicBezTo>
                        <a:pt x="6931" y="-888"/>
                        <a:pt x="10706" y="515"/>
                        <a:pt x="12167" y="3711"/>
                      </a:cubicBezTo>
                      <a:lnTo>
                        <a:pt x="17141" y="14539"/>
                      </a:lnTo>
                      <a:cubicBezTo>
                        <a:pt x="18614" y="17741"/>
                        <a:pt x="17212" y="21529"/>
                        <a:pt x="14016" y="22996"/>
                      </a:cubicBezTo>
                      <a:cubicBezTo>
                        <a:pt x="13149" y="23397"/>
                        <a:pt x="12244" y="23582"/>
                        <a:pt x="11357" y="23582"/>
                      </a:cubicBezTo>
                      <a:close/>
                    </a:path>
                  </a:pathLst>
                </a:custGeom>
                <a:solidFill>
                  <a:schemeClr val="accent1"/>
                </a:solidFill>
                <a:ln w="637" cap="flat">
                  <a:noFill/>
                  <a:prstDash val="solid"/>
                  <a:miter/>
                </a:ln>
              </p:spPr>
              <p:txBody>
                <a:bodyPr rtlCol="0" anchor="ctr"/>
                <a:lstStyle/>
                <a:p>
                  <a:endParaRPr lang="en-GB" dirty="0"/>
                </a:p>
              </p:txBody>
            </p:sp>
            <p:sp>
              <p:nvSpPr>
                <p:cNvPr id="889" name="Freeform: Shape 888">
                  <a:extLst>
                    <a:ext uri="{FF2B5EF4-FFF2-40B4-BE49-F238E27FC236}">
                      <a16:creationId xmlns:a16="http://schemas.microsoft.com/office/drawing/2014/main" id="{E1FD2CDF-D172-41D1-9EFD-9F0758C3DA94}"/>
                    </a:ext>
                  </a:extLst>
                </p:cNvPr>
                <p:cNvSpPr/>
                <p:nvPr/>
              </p:nvSpPr>
              <p:spPr>
                <a:xfrm>
                  <a:off x="7770387" y="3254822"/>
                  <a:ext cx="17824" cy="23782"/>
                </a:xfrm>
                <a:custGeom>
                  <a:avLst/>
                  <a:gdLst>
                    <a:gd name="connsiteX0" fmla="*/ 11454 w 17824"/>
                    <a:gd name="connsiteY0" fmla="*/ 23783 h 23782"/>
                    <a:gd name="connsiteX1" fmla="*/ 5657 w 17824"/>
                    <a:gd name="connsiteY1" fmla="*/ 20071 h 23782"/>
                    <a:gd name="connsiteX2" fmla="*/ 587 w 17824"/>
                    <a:gd name="connsiteY2" fmla="*/ 9045 h 23782"/>
                    <a:gd name="connsiteX3" fmla="*/ 3711 w 17824"/>
                    <a:gd name="connsiteY3" fmla="*/ 588 h 23782"/>
                    <a:gd name="connsiteX4" fmla="*/ 12168 w 17824"/>
                    <a:gd name="connsiteY4" fmla="*/ 3713 h 23782"/>
                    <a:gd name="connsiteX5" fmla="*/ 17238 w 17824"/>
                    <a:gd name="connsiteY5" fmla="*/ 14740 h 23782"/>
                    <a:gd name="connsiteX6" fmla="*/ 14113 w 17824"/>
                    <a:gd name="connsiteY6" fmla="*/ 23196 h 23782"/>
                    <a:gd name="connsiteX7" fmla="*/ 11454 w 17824"/>
                    <a:gd name="connsiteY7" fmla="*/ 23783 h 2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24" h="23782">
                      <a:moveTo>
                        <a:pt x="11454" y="23783"/>
                      </a:moveTo>
                      <a:cubicBezTo>
                        <a:pt x="9037" y="23783"/>
                        <a:pt x="6728" y="22405"/>
                        <a:pt x="5657" y="20071"/>
                      </a:cubicBezTo>
                      <a:lnTo>
                        <a:pt x="587" y="9045"/>
                      </a:lnTo>
                      <a:cubicBezTo>
                        <a:pt x="-887" y="5843"/>
                        <a:pt x="510" y="2055"/>
                        <a:pt x="3711" y="588"/>
                      </a:cubicBezTo>
                      <a:cubicBezTo>
                        <a:pt x="6932" y="-891"/>
                        <a:pt x="10708" y="518"/>
                        <a:pt x="12168" y="3713"/>
                      </a:cubicBezTo>
                      <a:lnTo>
                        <a:pt x="17238" y="14740"/>
                      </a:lnTo>
                      <a:cubicBezTo>
                        <a:pt x="18711" y="17941"/>
                        <a:pt x="17315" y="21729"/>
                        <a:pt x="14113" y="23196"/>
                      </a:cubicBezTo>
                      <a:cubicBezTo>
                        <a:pt x="13252" y="23598"/>
                        <a:pt x="12347" y="23783"/>
                        <a:pt x="11454" y="23783"/>
                      </a:cubicBezTo>
                      <a:close/>
                    </a:path>
                  </a:pathLst>
                </a:custGeom>
                <a:solidFill>
                  <a:schemeClr val="accent1"/>
                </a:solidFill>
                <a:ln w="637" cap="flat">
                  <a:noFill/>
                  <a:prstDash val="solid"/>
                  <a:miter/>
                </a:ln>
              </p:spPr>
              <p:txBody>
                <a:bodyPr rtlCol="0" anchor="ctr"/>
                <a:lstStyle/>
                <a:p>
                  <a:endParaRPr lang="en-GB" dirty="0"/>
                </a:p>
              </p:txBody>
            </p:sp>
            <p:sp>
              <p:nvSpPr>
                <p:cNvPr id="890" name="Freeform: Shape 889">
                  <a:extLst>
                    <a:ext uri="{FF2B5EF4-FFF2-40B4-BE49-F238E27FC236}">
                      <a16:creationId xmlns:a16="http://schemas.microsoft.com/office/drawing/2014/main" id="{0BB6534B-01E1-4260-942D-A676A9203D16}"/>
                    </a:ext>
                  </a:extLst>
                </p:cNvPr>
                <p:cNvSpPr/>
                <p:nvPr/>
              </p:nvSpPr>
              <p:spPr>
                <a:xfrm>
                  <a:off x="7859370" y="3348962"/>
                  <a:ext cx="23248" cy="17543"/>
                </a:xfrm>
                <a:custGeom>
                  <a:avLst/>
                  <a:gdLst>
                    <a:gd name="connsiteX0" fmla="*/ 16863 w 23248"/>
                    <a:gd name="connsiteY0" fmla="*/ 17543 h 17543"/>
                    <a:gd name="connsiteX1" fmla="*/ 14223 w 23248"/>
                    <a:gd name="connsiteY1" fmla="*/ 16969 h 17543"/>
                    <a:gd name="connsiteX2" fmla="*/ 3732 w 23248"/>
                    <a:gd name="connsiteY2" fmla="*/ 12186 h 17543"/>
                    <a:gd name="connsiteX3" fmla="*/ 575 w 23248"/>
                    <a:gd name="connsiteY3" fmla="*/ 3736 h 17543"/>
                    <a:gd name="connsiteX4" fmla="*/ 9026 w 23248"/>
                    <a:gd name="connsiteY4" fmla="*/ 579 h 17543"/>
                    <a:gd name="connsiteX5" fmla="*/ 19516 w 23248"/>
                    <a:gd name="connsiteY5" fmla="*/ 5362 h 17543"/>
                    <a:gd name="connsiteX6" fmla="*/ 22673 w 23248"/>
                    <a:gd name="connsiteY6" fmla="*/ 13812 h 17543"/>
                    <a:gd name="connsiteX7" fmla="*/ 16863 w 23248"/>
                    <a:gd name="connsiteY7" fmla="*/ 17543 h 17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48" h="17543">
                      <a:moveTo>
                        <a:pt x="16863" y="17543"/>
                      </a:moveTo>
                      <a:cubicBezTo>
                        <a:pt x="15977" y="17543"/>
                        <a:pt x="15084" y="17365"/>
                        <a:pt x="14223" y="16969"/>
                      </a:cubicBezTo>
                      <a:lnTo>
                        <a:pt x="3732" y="12186"/>
                      </a:lnTo>
                      <a:cubicBezTo>
                        <a:pt x="531" y="10726"/>
                        <a:pt x="-885" y="6944"/>
                        <a:pt x="575" y="3736"/>
                      </a:cubicBezTo>
                      <a:cubicBezTo>
                        <a:pt x="2036" y="528"/>
                        <a:pt x="5811" y="-888"/>
                        <a:pt x="9026" y="579"/>
                      </a:cubicBezTo>
                      <a:lnTo>
                        <a:pt x="19516" y="5362"/>
                      </a:lnTo>
                      <a:cubicBezTo>
                        <a:pt x="22718" y="6823"/>
                        <a:pt x="24134" y="10604"/>
                        <a:pt x="22673" y="13812"/>
                      </a:cubicBezTo>
                      <a:cubicBezTo>
                        <a:pt x="21602" y="16159"/>
                        <a:pt x="19287" y="17543"/>
                        <a:pt x="16863" y="17543"/>
                      </a:cubicBezTo>
                      <a:close/>
                    </a:path>
                  </a:pathLst>
                </a:custGeom>
                <a:solidFill>
                  <a:schemeClr val="accent1"/>
                </a:solidFill>
                <a:ln w="637" cap="flat">
                  <a:noFill/>
                  <a:prstDash val="solid"/>
                  <a:miter/>
                </a:ln>
              </p:spPr>
              <p:txBody>
                <a:bodyPr rtlCol="0" anchor="ctr"/>
                <a:lstStyle/>
                <a:p>
                  <a:endParaRPr lang="en-GB" dirty="0"/>
                </a:p>
              </p:txBody>
            </p:sp>
            <p:sp>
              <p:nvSpPr>
                <p:cNvPr id="891" name="Freeform: Shape 890">
                  <a:extLst>
                    <a:ext uri="{FF2B5EF4-FFF2-40B4-BE49-F238E27FC236}">
                      <a16:creationId xmlns:a16="http://schemas.microsoft.com/office/drawing/2014/main" id="{DC9501BF-2C2E-4273-8089-DCFA788AC93F}"/>
                    </a:ext>
                  </a:extLst>
                </p:cNvPr>
                <p:cNvSpPr/>
                <p:nvPr/>
              </p:nvSpPr>
              <p:spPr>
                <a:xfrm>
                  <a:off x="7733830" y="3291734"/>
                  <a:ext cx="23541" cy="17679"/>
                </a:xfrm>
                <a:custGeom>
                  <a:avLst/>
                  <a:gdLst>
                    <a:gd name="connsiteX0" fmla="*/ 17157 w 23541"/>
                    <a:gd name="connsiteY0" fmla="*/ 17680 h 17679"/>
                    <a:gd name="connsiteX1" fmla="*/ 14516 w 23541"/>
                    <a:gd name="connsiteY1" fmla="*/ 17106 h 17679"/>
                    <a:gd name="connsiteX2" fmla="*/ 3732 w 23541"/>
                    <a:gd name="connsiteY2" fmla="*/ 12189 h 17679"/>
                    <a:gd name="connsiteX3" fmla="*/ 575 w 23541"/>
                    <a:gd name="connsiteY3" fmla="*/ 3739 h 17679"/>
                    <a:gd name="connsiteX4" fmla="*/ 9026 w 23541"/>
                    <a:gd name="connsiteY4" fmla="*/ 582 h 17679"/>
                    <a:gd name="connsiteX5" fmla="*/ 19809 w 23541"/>
                    <a:gd name="connsiteY5" fmla="*/ 5499 h 17679"/>
                    <a:gd name="connsiteX6" fmla="*/ 22966 w 23541"/>
                    <a:gd name="connsiteY6" fmla="*/ 13949 h 17679"/>
                    <a:gd name="connsiteX7" fmla="*/ 17157 w 23541"/>
                    <a:gd name="connsiteY7" fmla="*/ 17680 h 17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41" h="17679">
                      <a:moveTo>
                        <a:pt x="17157" y="17680"/>
                      </a:moveTo>
                      <a:cubicBezTo>
                        <a:pt x="16270" y="17680"/>
                        <a:pt x="15377" y="17501"/>
                        <a:pt x="14516" y="17106"/>
                      </a:cubicBezTo>
                      <a:lnTo>
                        <a:pt x="3732" y="12189"/>
                      </a:lnTo>
                      <a:cubicBezTo>
                        <a:pt x="531" y="10728"/>
                        <a:pt x="-885" y="6947"/>
                        <a:pt x="575" y="3739"/>
                      </a:cubicBezTo>
                      <a:cubicBezTo>
                        <a:pt x="2036" y="531"/>
                        <a:pt x="5805" y="-891"/>
                        <a:pt x="9026" y="582"/>
                      </a:cubicBezTo>
                      <a:lnTo>
                        <a:pt x="19809" y="5499"/>
                      </a:lnTo>
                      <a:cubicBezTo>
                        <a:pt x="23011" y="6959"/>
                        <a:pt x="24427" y="10741"/>
                        <a:pt x="22966" y="13949"/>
                      </a:cubicBezTo>
                      <a:cubicBezTo>
                        <a:pt x="21901" y="16296"/>
                        <a:pt x="19580" y="17680"/>
                        <a:pt x="17157" y="17680"/>
                      </a:cubicBezTo>
                      <a:close/>
                    </a:path>
                  </a:pathLst>
                </a:custGeom>
                <a:solidFill>
                  <a:schemeClr val="accent1"/>
                </a:solidFill>
                <a:ln w="637" cap="flat">
                  <a:noFill/>
                  <a:prstDash val="solid"/>
                  <a:miter/>
                </a:ln>
              </p:spPr>
              <p:txBody>
                <a:bodyPr rtlCol="0" anchor="ctr"/>
                <a:lstStyle/>
                <a:p>
                  <a:endParaRPr lang="en-GB" dirty="0"/>
                </a:p>
              </p:txBody>
            </p:sp>
            <p:sp>
              <p:nvSpPr>
                <p:cNvPr id="892" name="Freeform: Shape 891">
                  <a:extLst>
                    <a:ext uri="{FF2B5EF4-FFF2-40B4-BE49-F238E27FC236}">
                      <a16:creationId xmlns:a16="http://schemas.microsoft.com/office/drawing/2014/main" id="{11040BC4-2D0D-494B-ABF6-B3BBE26EBB80}"/>
                    </a:ext>
                  </a:extLst>
                </p:cNvPr>
                <p:cNvSpPr/>
                <p:nvPr/>
              </p:nvSpPr>
              <p:spPr>
                <a:xfrm>
                  <a:off x="7858771" y="3292410"/>
                  <a:ext cx="23948" cy="17730"/>
                </a:xfrm>
                <a:custGeom>
                  <a:avLst/>
                  <a:gdLst>
                    <a:gd name="connsiteX0" fmla="*/ 6385 w 23948"/>
                    <a:gd name="connsiteY0" fmla="*/ 17731 h 17730"/>
                    <a:gd name="connsiteX1" fmla="*/ 550 w 23948"/>
                    <a:gd name="connsiteY1" fmla="*/ 13943 h 17730"/>
                    <a:gd name="connsiteX2" fmla="*/ 3789 w 23948"/>
                    <a:gd name="connsiteY2" fmla="*/ 5525 h 17730"/>
                    <a:gd name="connsiteX3" fmla="*/ 14981 w 23948"/>
                    <a:gd name="connsiteY3" fmla="*/ 557 h 17730"/>
                    <a:gd name="connsiteX4" fmla="*/ 23399 w 23948"/>
                    <a:gd name="connsiteY4" fmla="*/ 3796 h 17730"/>
                    <a:gd name="connsiteX5" fmla="*/ 20160 w 23948"/>
                    <a:gd name="connsiteY5" fmla="*/ 12215 h 17730"/>
                    <a:gd name="connsiteX6" fmla="*/ 8967 w 23948"/>
                    <a:gd name="connsiteY6" fmla="*/ 17183 h 17730"/>
                    <a:gd name="connsiteX7" fmla="*/ 6385 w 23948"/>
                    <a:gd name="connsiteY7" fmla="*/ 17731 h 1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48" h="17730">
                      <a:moveTo>
                        <a:pt x="6385" y="17731"/>
                      </a:moveTo>
                      <a:cubicBezTo>
                        <a:pt x="3936" y="17731"/>
                        <a:pt x="1608" y="16315"/>
                        <a:pt x="550" y="13943"/>
                      </a:cubicBezTo>
                      <a:cubicBezTo>
                        <a:pt x="-879" y="10722"/>
                        <a:pt x="575" y="6953"/>
                        <a:pt x="3789" y="5525"/>
                      </a:cubicBezTo>
                      <a:lnTo>
                        <a:pt x="14981" y="557"/>
                      </a:lnTo>
                      <a:cubicBezTo>
                        <a:pt x="18208" y="-891"/>
                        <a:pt x="21971" y="589"/>
                        <a:pt x="23399" y="3796"/>
                      </a:cubicBezTo>
                      <a:cubicBezTo>
                        <a:pt x="24828" y="7017"/>
                        <a:pt x="23374" y="10786"/>
                        <a:pt x="20160" y="12215"/>
                      </a:cubicBezTo>
                      <a:lnTo>
                        <a:pt x="8967" y="17183"/>
                      </a:lnTo>
                      <a:cubicBezTo>
                        <a:pt x="8126" y="17559"/>
                        <a:pt x="7246" y="17731"/>
                        <a:pt x="6385" y="17731"/>
                      </a:cubicBezTo>
                      <a:close/>
                    </a:path>
                  </a:pathLst>
                </a:custGeom>
                <a:solidFill>
                  <a:schemeClr val="accent1"/>
                </a:solidFill>
                <a:ln w="637" cap="flat">
                  <a:noFill/>
                  <a:prstDash val="solid"/>
                  <a:miter/>
                </a:ln>
              </p:spPr>
              <p:txBody>
                <a:bodyPr rtlCol="0" anchor="ctr"/>
                <a:lstStyle/>
                <a:p>
                  <a:endParaRPr lang="en-GB" dirty="0"/>
                </a:p>
              </p:txBody>
            </p:sp>
            <p:sp>
              <p:nvSpPr>
                <p:cNvPr id="893" name="Freeform: Shape 892">
                  <a:extLst>
                    <a:ext uri="{FF2B5EF4-FFF2-40B4-BE49-F238E27FC236}">
                      <a16:creationId xmlns:a16="http://schemas.microsoft.com/office/drawing/2014/main" id="{B51B235B-51A7-4C97-843E-27EFF6781BD6}"/>
                    </a:ext>
                  </a:extLst>
                </p:cNvPr>
                <p:cNvSpPr/>
                <p:nvPr/>
              </p:nvSpPr>
              <p:spPr>
                <a:xfrm>
                  <a:off x="7733327" y="3348384"/>
                  <a:ext cx="23321" cy="17451"/>
                </a:xfrm>
                <a:custGeom>
                  <a:avLst/>
                  <a:gdLst>
                    <a:gd name="connsiteX0" fmla="*/ 6385 w 23321"/>
                    <a:gd name="connsiteY0" fmla="*/ 17451 h 17451"/>
                    <a:gd name="connsiteX1" fmla="*/ 549 w 23321"/>
                    <a:gd name="connsiteY1" fmla="*/ 13657 h 17451"/>
                    <a:gd name="connsiteX2" fmla="*/ 3795 w 23321"/>
                    <a:gd name="connsiteY2" fmla="*/ 5245 h 17451"/>
                    <a:gd name="connsiteX3" fmla="*/ 14363 w 23321"/>
                    <a:gd name="connsiteY3" fmla="*/ 557 h 17451"/>
                    <a:gd name="connsiteX4" fmla="*/ 22775 w 23321"/>
                    <a:gd name="connsiteY4" fmla="*/ 3803 h 17451"/>
                    <a:gd name="connsiteX5" fmla="*/ 19528 w 23321"/>
                    <a:gd name="connsiteY5" fmla="*/ 12215 h 17451"/>
                    <a:gd name="connsiteX6" fmla="*/ 8961 w 23321"/>
                    <a:gd name="connsiteY6" fmla="*/ 16903 h 17451"/>
                    <a:gd name="connsiteX7" fmla="*/ 6385 w 23321"/>
                    <a:gd name="connsiteY7" fmla="*/ 17451 h 1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21" h="17451">
                      <a:moveTo>
                        <a:pt x="6385" y="17451"/>
                      </a:moveTo>
                      <a:cubicBezTo>
                        <a:pt x="3936" y="17451"/>
                        <a:pt x="1602" y="16035"/>
                        <a:pt x="549" y="13657"/>
                      </a:cubicBezTo>
                      <a:cubicBezTo>
                        <a:pt x="-879" y="10436"/>
                        <a:pt x="575" y="6667"/>
                        <a:pt x="3795" y="5245"/>
                      </a:cubicBezTo>
                      <a:lnTo>
                        <a:pt x="14363" y="557"/>
                      </a:lnTo>
                      <a:cubicBezTo>
                        <a:pt x="17596" y="-890"/>
                        <a:pt x="21352" y="583"/>
                        <a:pt x="22775" y="3803"/>
                      </a:cubicBezTo>
                      <a:cubicBezTo>
                        <a:pt x="24197" y="7024"/>
                        <a:pt x="22749" y="10793"/>
                        <a:pt x="19528" y="12215"/>
                      </a:cubicBezTo>
                      <a:lnTo>
                        <a:pt x="8961" y="16903"/>
                      </a:lnTo>
                      <a:cubicBezTo>
                        <a:pt x="8119" y="17273"/>
                        <a:pt x="7246" y="17451"/>
                        <a:pt x="6385" y="17451"/>
                      </a:cubicBezTo>
                      <a:close/>
                    </a:path>
                  </a:pathLst>
                </a:custGeom>
                <a:solidFill>
                  <a:schemeClr val="accent1"/>
                </a:solidFill>
                <a:ln w="637" cap="flat">
                  <a:noFill/>
                  <a:prstDash val="solid"/>
                  <a:miter/>
                </a:ln>
              </p:spPr>
              <p:txBody>
                <a:bodyPr rtlCol="0" anchor="ctr"/>
                <a:lstStyle/>
                <a:p>
                  <a:endParaRPr lang="en-GB" dirty="0"/>
                </a:p>
              </p:txBody>
            </p:sp>
            <p:sp>
              <p:nvSpPr>
                <p:cNvPr id="894" name="Freeform: Shape 893">
                  <a:extLst>
                    <a:ext uri="{FF2B5EF4-FFF2-40B4-BE49-F238E27FC236}">
                      <a16:creationId xmlns:a16="http://schemas.microsoft.com/office/drawing/2014/main" id="{AE7850BC-03E8-41D6-86C1-D24AAE3E5BA6}"/>
                    </a:ext>
                  </a:extLst>
                </p:cNvPr>
                <p:cNvSpPr/>
                <p:nvPr/>
              </p:nvSpPr>
              <p:spPr>
                <a:xfrm>
                  <a:off x="7770479" y="3380309"/>
                  <a:ext cx="17526" cy="23146"/>
                </a:xfrm>
                <a:custGeom>
                  <a:avLst/>
                  <a:gdLst>
                    <a:gd name="connsiteX0" fmla="*/ 6375 w 17526"/>
                    <a:gd name="connsiteY0" fmla="*/ 23146 h 23146"/>
                    <a:gd name="connsiteX1" fmla="*/ 3722 w 17526"/>
                    <a:gd name="connsiteY1" fmla="*/ 22566 h 23146"/>
                    <a:gd name="connsiteX2" fmla="*/ 584 w 17526"/>
                    <a:gd name="connsiteY2" fmla="*/ 14110 h 23146"/>
                    <a:gd name="connsiteX3" fmla="*/ 5348 w 17526"/>
                    <a:gd name="connsiteY3" fmla="*/ 3715 h 23146"/>
                    <a:gd name="connsiteX4" fmla="*/ 13805 w 17526"/>
                    <a:gd name="connsiteY4" fmla="*/ 577 h 23146"/>
                    <a:gd name="connsiteX5" fmla="*/ 16942 w 17526"/>
                    <a:gd name="connsiteY5" fmla="*/ 9033 h 23146"/>
                    <a:gd name="connsiteX6" fmla="*/ 12178 w 17526"/>
                    <a:gd name="connsiteY6" fmla="*/ 19428 h 23146"/>
                    <a:gd name="connsiteX7" fmla="*/ 6375 w 17526"/>
                    <a:gd name="connsiteY7" fmla="*/ 23146 h 23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6" h="23146">
                      <a:moveTo>
                        <a:pt x="6375" y="23146"/>
                      </a:moveTo>
                      <a:cubicBezTo>
                        <a:pt x="5489" y="23146"/>
                        <a:pt x="4589" y="22961"/>
                        <a:pt x="3722" y="22566"/>
                      </a:cubicBezTo>
                      <a:cubicBezTo>
                        <a:pt x="521" y="21099"/>
                        <a:pt x="-889" y="17311"/>
                        <a:pt x="584" y="14110"/>
                      </a:cubicBezTo>
                      <a:lnTo>
                        <a:pt x="5348" y="3715"/>
                      </a:lnTo>
                      <a:cubicBezTo>
                        <a:pt x="6815" y="526"/>
                        <a:pt x="10578" y="-884"/>
                        <a:pt x="13805" y="577"/>
                      </a:cubicBezTo>
                      <a:cubicBezTo>
                        <a:pt x="17006" y="2044"/>
                        <a:pt x="18416" y="5832"/>
                        <a:pt x="16942" y="9033"/>
                      </a:cubicBezTo>
                      <a:lnTo>
                        <a:pt x="12178" y="19428"/>
                      </a:lnTo>
                      <a:cubicBezTo>
                        <a:pt x="11107" y="21763"/>
                        <a:pt x="8792" y="23146"/>
                        <a:pt x="6375" y="23146"/>
                      </a:cubicBezTo>
                      <a:close/>
                    </a:path>
                  </a:pathLst>
                </a:custGeom>
                <a:solidFill>
                  <a:schemeClr val="accent1"/>
                </a:solidFill>
                <a:ln w="637" cap="flat">
                  <a:noFill/>
                  <a:prstDash val="solid"/>
                  <a:miter/>
                </a:ln>
              </p:spPr>
              <p:txBody>
                <a:bodyPr rtlCol="0" anchor="ctr"/>
                <a:lstStyle/>
                <a:p>
                  <a:endParaRPr lang="en-GB" dirty="0"/>
                </a:p>
              </p:txBody>
            </p:sp>
            <p:sp>
              <p:nvSpPr>
                <p:cNvPr id="895" name="Freeform: Shape 894">
                  <a:extLst>
                    <a:ext uri="{FF2B5EF4-FFF2-40B4-BE49-F238E27FC236}">
                      <a16:creationId xmlns:a16="http://schemas.microsoft.com/office/drawing/2014/main" id="{160BA57A-69C5-4349-856A-020E266792C6}"/>
                    </a:ext>
                  </a:extLst>
                </p:cNvPr>
                <p:cNvSpPr/>
                <p:nvPr/>
              </p:nvSpPr>
              <p:spPr>
                <a:xfrm>
                  <a:off x="7827831" y="3254794"/>
                  <a:ext cx="17692" cy="23517"/>
                </a:xfrm>
                <a:custGeom>
                  <a:avLst/>
                  <a:gdLst>
                    <a:gd name="connsiteX0" fmla="*/ 6375 w 17692"/>
                    <a:gd name="connsiteY0" fmla="*/ 23517 h 23517"/>
                    <a:gd name="connsiteX1" fmla="*/ 3722 w 17692"/>
                    <a:gd name="connsiteY1" fmla="*/ 22937 h 23517"/>
                    <a:gd name="connsiteX2" fmla="*/ 584 w 17692"/>
                    <a:gd name="connsiteY2" fmla="*/ 14480 h 23517"/>
                    <a:gd name="connsiteX3" fmla="*/ 5514 w 17692"/>
                    <a:gd name="connsiteY3" fmla="*/ 3715 h 23517"/>
                    <a:gd name="connsiteX4" fmla="*/ 13970 w 17692"/>
                    <a:gd name="connsiteY4" fmla="*/ 578 h 23517"/>
                    <a:gd name="connsiteX5" fmla="*/ 17108 w 17692"/>
                    <a:gd name="connsiteY5" fmla="*/ 9034 h 23517"/>
                    <a:gd name="connsiteX6" fmla="*/ 12178 w 17692"/>
                    <a:gd name="connsiteY6" fmla="*/ 19799 h 23517"/>
                    <a:gd name="connsiteX7" fmla="*/ 6375 w 17692"/>
                    <a:gd name="connsiteY7" fmla="*/ 23517 h 23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92" h="23517">
                      <a:moveTo>
                        <a:pt x="6375" y="23517"/>
                      </a:moveTo>
                      <a:cubicBezTo>
                        <a:pt x="5489" y="23517"/>
                        <a:pt x="4589" y="23332"/>
                        <a:pt x="3722" y="22937"/>
                      </a:cubicBezTo>
                      <a:cubicBezTo>
                        <a:pt x="521" y="21470"/>
                        <a:pt x="-889" y="17682"/>
                        <a:pt x="584" y="14480"/>
                      </a:cubicBezTo>
                      <a:lnTo>
                        <a:pt x="5514" y="3715"/>
                      </a:lnTo>
                      <a:cubicBezTo>
                        <a:pt x="6974" y="520"/>
                        <a:pt x="10743" y="-883"/>
                        <a:pt x="13970" y="578"/>
                      </a:cubicBezTo>
                      <a:cubicBezTo>
                        <a:pt x="17172" y="2045"/>
                        <a:pt x="18581" y="5833"/>
                        <a:pt x="17108" y="9034"/>
                      </a:cubicBezTo>
                      <a:lnTo>
                        <a:pt x="12178" y="19799"/>
                      </a:lnTo>
                      <a:cubicBezTo>
                        <a:pt x="11107" y="22140"/>
                        <a:pt x="8792" y="23517"/>
                        <a:pt x="6375" y="23517"/>
                      </a:cubicBezTo>
                      <a:close/>
                    </a:path>
                  </a:pathLst>
                </a:custGeom>
                <a:solidFill>
                  <a:schemeClr val="accent1"/>
                </a:solidFill>
                <a:ln w="637" cap="flat">
                  <a:noFill/>
                  <a:prstDash val="solid"/>
                  <a:miter/>
                </a:ln>
              </p:spPr>
              <p:txBody>
                <a:bodyPr rtlCol="0" anchor="ctr"/>
                <a:lstStyle/>
                <a:p>
                  <a:endParaRPr lang="en-GB" dirty="0"/>
                </a:p>
              </p:txBody>
            </p:sp>
          </p:grpSp>
          <p:sp>
            <p:nvSpPr>
              <p:cNvPr id="880" name="Freeform: Shape 879">
                <a:extLst>
                  <a:ext uri="{FF2B5EF4-FFF2-40B4-BE49-F238E27FC236}">
                    <a16:creationId xmlns:a16="http://schemas.microsoft.com/office/drawing/2014/main" id="{09FF4034-3635-481A-8BB1-629EC86DE3F1}"/>
                  </a:ext>
                </a:extLst>
              </p:cNvPr>
              <p:cNvSpPr/>
              <p:nvPr/>
            </p:nvSpPr>
            <p:spPr>
              <a:xfrm>
                <a:off x="7773063" y="3302308"/>
                <a:ext cx="18213" cy="14586"/>
              </a:xfrm>
              <a:custGeom>
                <a:avLst/>
                <a:gdLst>
                  <a:gd name="connsiteX0" fmla="*/ 6381 w 18213"/>
                  <a:gd name="connsiteY0" fmla="*/ 14587 h 14586"/>
                  <a:gd name="connsiteX1" fmla="*/ 335 w 18213"/>
                  <a:gd name="connsiteY1" fmla="*/ 10237 h 14586"/>
                  <a:gd name="connsiteX2" fmla="*/ 4352 w 18213"/>
                  <a:gd name="connsiteY2" fmla="*/ 2157 h 14586"/>
                  <a:gd name="connsiteX3" fmla="*/ 9799 w 18213"/>
                  <a:gd name="connsiteY3" fmla="*/ 327 h 14586"/>
                  <a:gd name="connsiteX4" fmla="*/ 17879 w 18213"/>
                  <a:gd name="connsiteY4" fmla="*/ 4344 h 14586"/>
                  <a:gd name="connsiteX5" fmla="*/ 13861 w 18213"/>
                  <a:gd name="connsiteY5" fmla="*/ 12425 h 14586"/>
                  <a:gd name="connsiteX6" fmla="*/ 8415 w 18213"/>
                  <a:gd name="connsiteY6" fmla="*/ 14255 h 14586"/>
                  <a:gd name="connsiteX7" fmla="*/ 6381 w 18213"/>
                  <a:gd name="connsiteY7" fmla="*/ 14587 h 1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13" h="14586">
                    <a:moveTo>
                      <a:pt x="6381" y="14587"/>
                    </a:moveTo>
                    <a:cubicBezTo>
                      <a:pt x="3715" y="14587"/>
                      <a:pt x="1228" y="12903"/>
                      <a:pt x="335" y="10237"/>
                    </a:cubicBezTo>
                    <a:cubicBezTo>
                      <a:pt x="-788" y="6902"/>
                      <a:pt x="1004" y="3286"/>
                      <a:pt x="4352" y="2157"/>
                    </a:cubicBezTo>
                    <a:lnTo>
                      <a:pt x="9799" y="327"/>
                    </a:lnTo>
                    <a:cubicBezTo>
                      <a:pt x="13134" y="-777"/>
                      <a:pt x="16756" y="1003"/>
                      <a:pt x="17879" y="4344"/>
                    </a:cubicBezTo>
                    <a:cubicBezTo>
                      <a:pt x="19001" y="7686"/>
                      <a:pt x="17209" y="11296"/>
                      <a:pt x="13861" y="12425"/>
                    </a:cubicBezTo>
                    <a:lnTo>
                      <a:pt x="8415" y="14255"/>
                    </a:lnTo>
                    <a:cubicBezTo>
                      <a:pt x="7739" y="14478"/>
                      <a:pt x="7056" y="14587"/>
                      <a:pt x="6381" y="14587"/>
                    </a:cubicBezTo>
                    <a:close/>
                  </a:path>
                </a:pathLst>
              </a:custGeom>
              <a:solidFill>
                <a:schemeClr val="accent1"/>
              </a:solidFill>
              <a:ln w="637" cap="flat">
                <a:noFill/>
                <a:prstDash val="solid"/>
                <a:miter/>
              </a:ln>
            </p:spPr>
            <p:txBody>
              <a:bodyPr rtlCol="0" anchor="ctr"/>
              <a:lstStyle/>
              <a:p>
                <a:endParaRPr lang="en-GB" dirty="0"/>
              </a:p>
            </p:txBody>
          </p:sp>
          <p:sp>
            <p:nvSpPr>
              <p:cNvPr id="881" name="Freeform: Shape 880">
                <a:extLst>
                  <a:ext uri="{FF2B5EF4-FFF2-40B4-BE49-F238E27FC236}">
                    <a16:creationId xmlns:a16="http://schemas.microsoft.com/office/drawing/2014/main" id="{168BC904-02C5-446F-8856-96F674058C4D}"/>
                  </a:ext>
                </a:extLst>
              </p:cNvPr>
              <p:cNvSpPr/>
              <p:nvPr/>
            </p:nvSpPr>
            <p:spPr>
              <a:xfrm>
                <a:off x="7787723" y="3349410"/>
                <a:ext cx="20971" cy="14160"/>
              </a:xfrm>
              <a:custGeom>
                <a:avLst/>
                <a:gdLst>
                  <a:gd name="connsiteX0" fmla="*/ 6369 w 20971"/>
                  <a:gd name="connsiteY0" fmla="*/ 14161 h 14160"/>
                  <a:gd name="connsiteX1" fmla="*/ 94 w 20971"/>
                  <a:gd name="connsiteY1" fmla="*/ 8861 h 14160"/>
                  <a:gd name="connsiteX2" fmla="*/ 5298 w 20971"/>
                  <a:gd name="connsiteY2" fmla="*/ 1502 h 14160"/>
                  <a:gd name="connsiteX3" fmla="*/ 13518 w 20971"/>
                  <a:gd name="connsiteY3" fmla="*/ 92 h 14160"/>
                  <a:gd name="connsiteX4" fmla="*/ 20878 w 20971"/>
                  <a:gd name="connsiteY4" fmla="*/ 5296 h 14160"/>
                  <a:gd name="connsiteX5" fmla="*/ 15674 w 20971"/>
                  <a:gd name="connsiteY5" fmla="*/ 12656 h 14160"/>
                  <a:gd name="connsiteX6" fmla="*/ 7453 w 20971"/>
                  <a:gd name="connsiteY6" fmla="*/ 14065 h 14160"/>
                  <a:gd name="connsiteX7" fmla="*/ 6369 w 20971"/>
                  <a:gd name="connsiteY7" fmla="*/ 14161 h 1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71" h="14160">
                    <a:moveTo>
                      <a:pt x="6369" y="14161"/>
                    </a:moveTo>
                    <a:cubicBezTo>
                      <a:pt x="3314" y="14161"/>
                      <a:pt x="623" y="11967"/>
                      <a:pt x="94" y="8861"/>
                    </a:cubicBezTo>
                    <a:cubicBezTo>
                      <a:pt x="-506" y="5386"/>
                      <a:pt x="1828" y="2088"/>
                      <a:pt x="5298" y="1502"/>
                    </a:cubicBezTo>
                    <a:lnTo>
                      <a:pt x="13518" y="92"/>
                    </a:lnTo>
                    <a:cubicBezTo>
                      <a:pt x="17064" y="-501"/>
                      <a:pt x="20291" y="1827"/>
                      <a:pt x="20878" y="5296"/>
                    </a:cubicBezTo>
                    <a:cubicBezTo>
                      <a:pt x="21477" y="8772"/>
                      <a:pt x="19143" y="12069"/>
                      <a:pt x="15674" y="12656"/>
                    </a:cubicBezTo>
                    <a:lnTo>
                      <a:pt x="7453" y="14065"/>
                    </a:lnTo>
                    <a:cubicBezTo>
                      <a:pt x="7083" y="14129"/>
                      <a:pt x="6726" y="14161"/>
                      <a:pt x="6369" y="14161"/>
                    </a:cubicBezTo>
                    <a:close/>
                  </a:path>
                </a:pathLst>
              </a:custGeom>
              <a:solidFill>
                <a:schemeClr val="accent1"/>
              </a:solidFill>
              <a:ln w="637" cap="flat">
                <a:noFill/>
                <a:prstDash val="solid"/>
                <a:miter/>
              </a:ln>
            </p:spPr>
            <p:txBody>
              <a:bodyPr rtlCol="0" anchor="ctr"/>
              <a:lstStyle/>
              <a:p>
                <a:endParaRPr lang="en-GB" dirty="0"/>
              </a:p>
            </p:txBody>
          </p:sp>
          <p:sp>
            <p:nvSpPr>
              <p:cNvPr id="882" name="Freeform: Shape 881">
                <a:extLst>
                  <a:ext uri="{FF2B5EF4-FFF2-40B4-BE49-F238E27FC236}">
                    <a16:creationId xmlns:a16="http://schemas.microsoft.com/office/drawing/2014/main" id="{0CD922EE-E36E-42D4-B3C8-1C480BCACC9C}"/>
                  </a:ext>
                </a:extLst>
              </p:cNvPr>
              <p:cNvSpPr/>
              <p:nvPr/>
            </p:nvSpPr>
            <p:spPr>
              <a:xfrm>
                <a:off x="7831816" y="3320977"/>
                <a:ext cx="14887" cy="25241"/>
              </a:xfrm>
              <a:custGeom>
                <a:avLst/>
                <a:gdLst>
                  <a:gd name="connsiteX0" fmla="*/ 6382 w 14887"/>
                  <a:gd name="connsiteY0" fmla="*/ 25242 h 25241"/>
                  <a:gd name="connsiteX1" fmla="*/ 5298 w 14887"/>
                  <a:gd name="connsiteY1" fmla="*/ 25146 h 25241"/>
                  <a:gd name="connsiteX2" fmla="*/ 94 w 14887"/>
                  <a:gd name="connsiteY2" fmla="*/ 17786 h 25241"/>
                  <a:gd name="connsiteX3" fmla="*/ 2230 w 14887"/>
                  <a:gd name="connsiteY3" fmla="*/ 5293 h 25241"/>
                  <a:gd name="connsiteX4" fmla="*/ 9590 w 14887"/>
                  <a:gd name="connsiteY4" fmla="*/ 89 h 25241"/>
                  <a:gd name="connsiteX5" fmla="*/ 14794 w 14887"/>
                  <a:gd name="connsiteY5" fmla="*/ 7448 h 25241"/>
                  <a:gd name="connsiteX6" fmla="*/ 12657 w 14887"/>
                  <a:gd name="connsiteY6" fmla="*/ 19942 h 25241"/>
                  <a:gd name="connsiteX7" fmla="*/ 6382 w 14887"/>
                  <a:gd name="connsiteY7" fmla="*/ 25242 h 2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87" h="25241">
                    <a:moveTo>
                      <a:pt x="6382" y="25242"/>
                    </a:moveTo>
                    <a:cubicBezTo>
                      <a:pt x="6025" y="25242"/>
                      <a:pt x="5668" y="25210"/>
                      <a:pt x="5298" y="25146"/>
                    </a:cubicBezTo>
                    <a:cubicBezTo>
                      <a:pt x="1829" y="24553"/>
                      <a:pt x="-506" y="21262"/>
                      <a:pt x="94" y="17786"/>
                    </a:cubicBezTo>
                    <a:lnTo>
                      <a:pt x="2230" y="5293"/>
                    </a:lnTo>
                    <a:cubicBezTo>
                      <a:pt x="2824" y="1824"/>
                      <a:pt x="6082" y="-491"/>
                      <a:pt x="9590" y="89"/>
                    </a:cubicBezTo>
                    <a:cubicBezTo>
                      <a:pt x="13059" y="682"/>
                      <a:pt x="15393" y="3973"/>
                      <a:pt x="14794" y="7448"/>
                    </a:cubicBezTo>
                    <a:lnTo>
                      <a:pt x="12657" y="19942"/>
                    </a:lnTo>
                    <a:cubicBezTo>
                      <a:pt x="12135" y="23054"/>
                      <a:pt x="9437" y="25242"/>
                      <a:pt x="6382" y="25242"/>
                    </a:cubicBezTo>
                    <a:close/>
                  </a:path>
                </a:pathLst>
              </a:custGeom>
              <a:solidFill>
                <a:schemeClr val="accent1"/>
              </a:solidFill>
              <a:ln w="637" cap="flat">
                <a:noFill/>
                <a:prstDash val="solid"/>
                <a:miter/>
              </a:ln>
            </p:spPr>
            <p:txBody>
              <a:bodyPr rtlCol="0" anchor="ctr"/>
              <a:lstStyle/>
              <a:p>
                <a:endParaRPr lang="en-GB" dirty="0"/>
              </a:p>
            </p:txBody>
          </p:sp>
        </p:grpSp>
        <p:grpSp>
          <p:nvGrpSpPr>
            <p:cNvPr id="859" name="Graphic 32">
              <a:extLst>
                <a:ext uri="{FF2B5EF4-FFF2-40B4-BE49-F238E27FC236}">
                  <a16:creationId xmlns:a16="http://schemas.microsoft.com/office/drawing/2014/main" id="{FF0BED7A-58FB-4AAA-9AE6-7403843C0477}"/>
                </a:ext>
              </a:extLst>
            </p:cNvPr>
            <p:cNvGrpSpPr/>
            <p:nvPr/>
          </p:nvGrpSpPr>
          <p:grpSpPr>
            <a:xfrm>
              <a:off x="8118933" y="1674654"/>
              <a:ext cx="350829" cy="399832"/>
              <a:chOff x="7473092" y="3264650"/>
              <a:chExt cx="350829" cy="399832"/>
            </a:xfrm>
            <a:solidFill>
              <a:schemeClr val="tx2"/>
            </a:solidFill>
          </p:grpSpPr>
          <p:grpSp>
            <p:nvGrpSpPr>
              <p:cNvPr id="860" name="Graphic 32">
                <a:extLst>
                  <a:ext uri="{FF2B5EF4-FFF2-40B4-BE49-F238E27FC236}">
                    <a16:creationId xmlns:a16="http://schemas.microsoft.com/office/drawing/2014/main" id="{A7B603D9-8D21-4D36-B650-E2E37C6EF5A3}"/>
                  </a:ext>
                </a:extLst>
              </p:cNvPr>
              <p:cNvGrpSpPr/>
              <p:nvPr/>
            </p:nvGrpSpPr>
            <p:grpSpPr>
              <a:xfrm>
                <a:off x="7473092" y="3264650"/>
                <a:ext cx="350829" cy="359048"/>
                <a:chOff x="7473092" y="3264650"/>
                <a:chExt cx="350829" cy="359048"/>
              </a:xfrm>
              <a:grpFill/>
            </p:grpSpPr>
            <p:sp>
              <p:nvSpPr>
                <p:cNvPr id="874" name="Freeform: Shape 873">
                  <a:extLst>
                    <a:ext uri="{FF2B5EF4-FFF2-40B4-BE49-F238E27FC236}">
                      <a16:creationId xmlns:a16="http://schemas.microsoft.com/office/drawing/2014/main" id="{E65D8240-BEC5-4FE3-9FEE-2FD12EDD77EB}"/>
                    </a:ext>
                  </a:extLst>
                </p:cNvPr>
                <p:cNvSpPr/>
                <p:nvPr/>
              </p:nvSpPr>
              <p:spPr>
                <a:xfrm>
                  <a:off x="7751137" y="3551034"/>
                  <a:ext cx="72785" cy="72663"/>
                </a:xfrm>
                <a:custGeom>
                  <a:avLst/>
                  <a:gdLst>
                    <a:gd name="connsiteX0" fmla="*/ 25538 w 72785"/>
                    <a:gd name="connsiteY0" fmla="*/ 72664 h 72663"/>
                    <a:gd name="connsiteX1" fmla="*/ 16686 w 72785"/>
                    <a:gd name="connsiteY1" fmla="*/ 69003 h 72663"/>
                    <a:gd name="connsiteX2" fmla="*/ 3664 w 72785"/>
                    <a:gd name="connsiteY2" fmla="*/ 55981 h 72663"/>
                    <a:gd name="connsiteX3" fmla="*/ 3664 w 72785"/>
                    <a:gd name="connsiteY3" fmla="*/ 38283 h 72663"/>
                    <a:gd name="connsiteX4" fmla="*/ 12682 w 72785"/>
                    <a:gd name="connsiteY4" fmla="*/ 38283 h 72663"/>
                    <a:gd name="connsiteX5" fmla="*/ 12682 w 72785"/>
                    <a:gd name="connsiteY5" fmla="*/ 47301 h 72663"/>
                    <a:gd name="connsiteX6" fmla="*/ 25704 w 72785"/>
                    <a:gd name="connsiteY6" fmla="*/ 59986 h 72663"/>
                    <a:gd name="connsiteX7" fmla="*/ 60110 w 72785"/>
                    <a:gd name="connsiteY7" fmla="*/ 25254 h 72663"/>
                    <a:gd name="connsiteX8" fmla="*/ 47081 w 72785"/>
                    <a:gd name="connsiteY8" fmla="*/ 12570 h 72663"/>
                    <a:gd name="connsiteX9" fmla="*/ 38229 w 72785"/>
                    <a:gd name="connsiteY9" fmla="*/ 12583 h 72663"/>
                    <a:gd name="connsiteX10" fmla="*/ 38389 w 72785"/>
                    <a:gd name="connsiteY10" fmla="*/ 3559 h 72663"/>
                    <a:gd name="connsiteX11" fmla="*/ 56099 w 72785"/>
                    <a:gd name="connsiteY11" fmla="*/ 3559 h 72663"/>
                    <a:gd name="connsiteX12" fmla="*/ 69122 w 72785"/>
                    <a:gd name="connsiteY12" fmla="*/ 16575 h 72663"/>
                    <a:gd name="connsiteX13" fmla="*/ 69122 w 72785"/>
                    <a:gd name="connsiteY13" fmla="*/ 34272 h 72663"/>
                    <a:gd name="connsiteX14" fmla="*/ 34390 w 72785"/>
                    <a:gd name="connsiteY14" fmla="*/ 69003 h 72663"/>
                    <a:gd name="connsiteX15" fmla="*/ 25538 w 72785"/>
                    <a:gd name="connsiteY15" fmla="*/ 72664 h 72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2785" h="72663">
                      <a:moveTo>
                        <a:pt x="25538" y="72664"/>
                      </a:moveTo>
                      <a:cubicBezTo>
                        <a:pt x="22337" y="72664"/>
                        <a:pt x="19129" y="71446"/>
                        <a:pt x="16686" y="69003"/>
                      </a:cubicBezTo>
                      <a:lnTo>
                        <a:pt x="3664" y="55981"/>
                      </a:lnTo>
                      <a:cubicBezTo>
                        <a:pt x="-1221" y="51096"/>
                        <a:pt x="-1221" y="43162"/>
                        <a:pt x="3664" y="38283"/>
                      </a:cubicBezTo>
                      <a:cubicBezTo>
                        <a:pt x="6157" y="35790"/>
                        <a:pt x="10188" y="35790"/>
                        <a:pt x="12682" y="38283"/>
                      </a:cubicBezTo>
                      <a:cubicBezTo>
                        <a:pt x="15175" y="40777"/>
                        <a:pt x="15175" y="44807"/>
                        <a:pt x="12682" y="47301"/>
                      </a:cubicBezTo>
                      <a:lnTo>
                        <a:pt x="25704" y="59986"/>
                      </a:lnTo>
                      <a:lnTo>
                        <a:pt x="60110" y="25254"/>
                      </a:lnTo>
                      <a:lnTo>
                        <a:pt x="47081" y="12570"/>
                      </a:lnTo>
                      <a:cubicBezTo>
                        <a:pt x="44594" y="15070"/>
                        <a:pt x="40729" y="15070"/>
                        <a:pt x="38229" y="12583"/>
                      </a:cubicBezTo>
                      <a:cubicBezTo>
                        <a:pt x="35736" y="10089"/>
                        <a:pt x="35908" y="6052"/>
                        <a:pt x="38389" y="3559"/>
                      </a:cubicBezTo>
                      <a:cubicBezTo>
                        <a:pt x="43121" y="-1186"/>
                        <a:pt x="51367" y="-1186"/>
                        <a:pt x="56099" y="3559"/>
                      </a:cubicBezTo>
                      <a:lnTo>
                        <a:pt x="69122" y="16575"/>
                      </a:lnTo>
                      <a:cubicBezTo>
                        <a:pt x="74006" y="21460"/>
                        <a:pt x="74006" y="29393"/>
                        <a:pt x="69122" y="34272"/>
                      </a:cubicBezTo>
                      <a:lnTo>
                        <a:pt x="34390" y="69003"/>
                      </a:lnTo>
                      <a:cubicBezTo>
                        <a:pt x="31954" y="71446"/>
                        <a:pt x="28746" y="72664"/>
                        <a:pt x="25538" y="72664"/>
                      </a:cubicBezTo>
                      <a:close/>
                    </a:path>
                  </a:pathLst>
                </a:custGeom>
                <a:grpFill/>
                <a:ln w="637" cap="flat">
                  <a:noFill/>
                  <a:prstDash val="solid"/>
                  <a:miter/>
                </a:ln>
              </p:spPr>
              <p:txBody>
                <a:bodyPr rtlCol="0" anchor="ctr"/>
                <a:lstStyle/>
                <a:p>
                  <a:endParaRPr lang="en-GB" dirty="0"/>
                </a:p>
              </p:txBody>
            </p:sp>
            <p:grpSp>
              <p:nvGrpSpPr>
                <p:cNvPr id="875" name="Graphic 32">
                  <a:extLst>
                    <a:ext uri="{FF2B5EF4-FFF2-40B4-BE49-F238E27FC236}">
                      <a16:creationId xmlns:a16="http://schemas.microsoft.com/office/drawing/2014/main" id="{D38F839A-5C17-4CB5-A011-CEC540D41C37}"/>
                    </a:ext>
                  </a:extLst>
                </p:cNvPr>
                <p:cNvGrpSpPr/>
                <p:nvPr/>
              </p:nvGrpSpPr>
              <p:grpSpPr>
                <a:xfrm>
                  <a:off x="7473092" y="3264650"/>
                  <a:ext cx="247206" cy="230773"/>
                  <a:chOff x="7473092" y="3264650"/>
                  <a:chExt cx="247206" cy="230773"/>
                </a:xfrm>
                <a:grpFill/>
              </p:grpSpPr>
              <p:sp>
                <p:nvSpPr>
                  <p:cNvPr id="876" name="Freeform: Shape 875">
                    <a:extLst>
                      <a:ext uri="{FF2B5EF4-FFF2-40B4-BE49-F238E27FC236}">
                        <a16:creationId xmlns:a16="http://schemas.microsoft.com/office/drawing/2014/main" id="{AE48CA08-1AF2-4C92-A6AD-EAD85D3F28E4}"/>
                      </a:ext>
                    </a:extLst>
                  </p:cNvPr>
                  <p:cNvSpPr/>
                  <p:nvPr/>
                </p:nvSpPr>
                <p:spPr>
                  <a:xfrm>
                    <a:off x="7473092" y="3264650"/>
                    <a:ext cx="204843" cy="204843"/>
                  </a:xfrm>
                  <a:custGeom>
                    <a:avLst/>
                    <a:gdLst>
                      <a:gd name="connsiteX0" fmla="*/ 163733 w 204843"/>
                      <a:gd name="connsiteY0" fmla="*/ 204843 h 204843"/>
                      <a:gd name="connsiteX1" fmla="*/ 159224 w 204843"/>
                      <a:gd name="connsiteY1" fmla="*/ 202975 h 204843"/>
                      <a:gd name="connsiteX2" fmla="*/ 6211 w 204843"/>
                      <a:gd name="connsiteY2" fmla="*/ 49962 h 204843"/>
                      <a:gd name="connsiteX3" fmla="*/ 4381 w 204843"/>
                      <a:gd name="connsiteY3" fmla="*/ 46155 h 204843"/>
                      <a:gd name="connsiteX4" fmla="*/ 38 w 204843"/>
                      <a:gd name="connsiteY4" fmla="*/ 7080 h 204843"/>
                      <a:gd name="connsiteX5" fmla="*/ 1868 w 204843"/>
                      <a:gd name="connsiteY5" fmla="*/ 1870 h 204843"/>
                      <a:gd name="connsiteX6" fmla="*/ 7079 w 204843"/>
                      <a:gd name="connsiteY6" fmla="*/ 40 h 204843"/>
                      <a:gd name="connsiteX7" fmla="*/ 46153 w 204843"/>
                      <a:gd name="connsiteY7" fmla="*/ 4383 h 204843"/>
                      <a:gd name="connsiteX8" fmla="*/ 49960 w 204843"/>
                      <a:gd name="connsiteY8" fmla="*/ 6213 h 204843"/>
                      <a:gd name="connsiteX9" fmla="*/ 202973 w 204843"/>
                      <a:gd name="connsiteY9" fmla="*/ 159226 h 204843"/>
                      <a:gd name="connsiteX10" fmla="*/ 202973 w 204843"/>
                      <a:gd name="connsiteY10" fmla="*/ 168243 h 204843"/>
                      <a:gd name="connsiteX11" fmla="*/ 193956 w 204843"/>
                      <a:gd name="connsiteY11" fmla="*/ 168243 h 204843"/>
                      <a:gd name="connsiteX12" fmla="*/ 42524 w 204843"/>
                      <a:gd name="connsiteY12" fmla="*/ 16812 h 204843"/>
                      <a:gd name="connsiteX13" fmla="*/ 13596 w 204843"/>
                      <a:gd name="connsiteY13" fmla="*/ 13598 h 204843"/>
                      <a:gd name="connsiteX14" fmla="*/ 16811 w 204843"/>
                      <a:gd name="connsiteY14" fmla="*/ 42526 h 204843"/>
                      <a:gd name="connsiteX15" fmla="*/ 168242 w 204843"/>
                      <a:gd name="connsiteY15" fmla="*/ 193957 h 204843"/>
                      <a:gd name="connsiteX16" fmla="*/ 168242 w 204843"/>
                      <a:gd name="connsiteY16" fmla="*/ 202975 h 204843"/>
                      <a:gd name="connsiteX17" fmla="*/ 163733 w 204843"/>
                      <a:gd name="connsiteY17" fmla="*/ 204843 h 204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4843" h="204843">
                        <a:moveTo>
                          <a:pt x="163733" y="204843"/>
                        </a:moveTo>
                        <a:cubicBezTo>
                          <a:pt x="162100" y="204843"/>
                          <a:pt x="160468" y="204218"/>
                          <a:pt x="159224" y="202975"/>
                        </a:cubicBezTo>
                        <a:lnTo>
                          <a:pt x="6211" y="49962"/>
                        </a:lnTo>
                        <a:cubicBezTo>
                          <a:pt x="5191" y="48942"/>
                          <a:pt x="4541" y="47596"/>
                          <a:pt x="4381" y="46155"/>
                        </a:cubicBezTo>
                        <a:lnTo>
                          <a:pt x="38" y="7080"/>
                        </a:lnTo>
                        <a:cubicBezTo>
                          <a:pt x="-172" y="5154"/>
                          <a:pt x="497" y="3235"/>
                          <a:pt x="1868" y="1870"/>
                        </a:cubicBezTo>
                        <a:cubicBezTo>
                          <a:pt x="3239" y="505"/>
                          <a:pt x="5153" y="-177"/>
                          <a:pt x="7079" y="40"/>
                        </a:cubicBezTo>
                        <a:lnTo>
                          <a:pt x="46153" y="4383"/>
                        </a:lnTo>
                        <a:cubicBezTo>
                          <a:pt x="47594" y="4542"/>
                          <a:pt x="48940" y="5193"/>
                          <a:pt x="49960" y="6213"/>
                        </a:cubicBezTo>
                        <a:lnTo>
                          <a:pt x="202973" y="159226"/>
                        </a:lnTo>
                        <a:cubicBezTo>
                          <a:pt x="205467" y="161719"/>
                          <a:pt x="205467" y="165750"/>
                          <a:pt x="202973" y="168243"/>
                        </a:cubicBezTo>
                        <a:cubicBezTo>
                          <a:pt x="200480" y="170737"/>
                          <a:pt x="196449" y="170737"/>
                          <a:pt x="193956" y="168243"/>
                        </a:cubicBezTo>
                        <a:lnTo>
                          <a:pt x="42524" y="16812"/>
                        </a:lnTo>
                        <a:lnTo>
                          <a:pt x="13596" y="13598"/>
                        </a:lnTo>
                        <a:lnTo>
                          <a:pt x="16811" y="42526"/>
                        </a:lnTo>
                        <a:lnTo>
                          <a:pt x="168242" y="193957"/>
                        </a:lnTo>
                        <a:cubicBezTo>
                          <a:pt x="170735" y="196450"/>
                          <a:pt x="170735" y="200481"/>
                          <a:pt x="168242" y="202975"/>
                        </a:cubicBezTo>
                        <a:cubicBezTo>
                          <a:pt x="166998" y="204225"/>
                          <a:pt x="165366" y="204843"/>
                          <a:pt x="163733" y="204843"/>
                        </a:cubicBezTo>
                        <a:close/>
                      </a:path>
                    </a:pathLst>
                  </a:custGeom>
                  <a:grpFill/>
                  <a:ln w="637" cap="flat">
                    <a:noFill/>
                    <a:prstDash val="solid"/>
                    <a:miter/>
                  </a:ln>
                </p:spPr>
                <p:txBody>
                  <a:bodyPr rtlCol="0" anchor="ctr"/>
                  <a:lstStyle/>
                  <a:p>
                    <a:endParaRPr lang="en-GB" dirty="0"/>
                  </a:p>
                </p:txBody>
              </p:sp>
              <p:sp>
                <p:nvSpPr>
                  <p:cNvPr id="877" name="Freeform: Shape 876">
                    <a:extLst>
                      <a:ext uri="{FF2B5EF4-FFF2-40B4-BE49-F238E27FC236}">
                        <a16:creationId xmlns:a16="http://schemas.microsoft.com/office/drawing/2014/main" id="{948F0375-3741-4319-81CA-15FF2C87B0FC}"/>
                      </a:ext>
                    </a:extLst>
                  </p:cNvPr>
                  <p:cNvSpPr/>
                  <p:nvPr/>
                </p:nvSpPr>
                <p:spPr>
                  <a:xfrm>
                    <a:off x="7594663" y="3386222"/>
                    <a:ext cx="51832" cy="51830"/>
                  </a:xfrm>
                  <a:custGeom>
                    <a:avLst/>
                    <a:gdLst>
                      <a:gd name="connsiteX0" fmla="*/ 45453 w 51832"/>
                      <a:gd name="connsiteY0" fmla="*/ 51831 h 51830"/>
                      <a:gd name="connsiteX1" fmla="*/ 40945 w 51832"/>
                      <a:gd name="connsiteY1" fmla="*/ 49962 h 51830"/>
                      <a:gd name="connsiteX2" fmla="*/ 1870 w 51832"/>
                      <a:gd name="connsiteY2" fmla="*/ 10888 h 51830"/>
                      <a:gd name="connsiteX3" fmla="*/ 1870 w 51832"/>
                      <a:gd name="connsiteY3" fmla="*/ 1870 h 51830"/>
                      <a:gd name="connsiteX4" fmla="*/ 10888 w 51832"/>
                      <a:gd name="connsiteY4" fmla="*/ 1870 h 51830"/>
                      <a:gd name="connsiteX5" fmla="*/ 49962 w 51832"/>
                      <a:gd name="connsiteY5" fmla="*/ 40944 h 51830"/>
                      <a:gd name="connsiteX6" fmla="*/ 49962 w 51832"/>
                      <a:gd name="connsiteY6" fmla="*/ 49962 h 51830"/>
                      <a:gd name="connsiteX7" fmla="*/ 45453 w 51832"/>
                      <a:gd name="connsiteY7" fmla="*/ 51831 h 51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32" h="51830">
                        <a:moveTo>
                          <a:pt x="45453" y="51831"/>
                        </a:moveTo>
                        <a:cubicBezTo>
                          <a:pt x="43821" y="51831"/>
                          <a:pt x="42188" y="51206"/>
                          <a:pt x="40945" y="49962"/>
                        </a:cubicBezTo>
                        <a:lnTo>
                          <a:pt x="1870" y="10888"/>
                        </a:lnTo>
                        <a:cubicBezTo>
                          <a:pt x="-623" y="8394"/>
                          <a:pt x="-623" y="4364"/>
                          <a:pt x="1870" y="1870"/>
                        </a:cubicBezTo>
                        <a:cubicBezTo>
                          <a:pt x="4364" y="-623"/>
                          <a:pt x="8394" y="-623"/>
                          <a:pt x="10888" y="1870"/>
                        </a:cubicBezTo>
                        <a:lnTo>
                          <a:pt x="49962" y="40944"/>
                        </a:lnTo>
                        <a:cubicBezTo>
                          <a:pt x="52456" y="43438"/>
                          <a:pt x="52456" y="47468"/>
                          <a:pt x="49962" y="49962"/>
                        </a:cubicBezTo>
                        <a:cubicBezTo>
                          <a:pt x="48712" y="51206"/>
                          <a:pt x="47086" y="51831"/>
                          <a:pt x="45453" y="51831"/>
                        </a:cubicBezTo>
                        <a:close/>
                      </a:path>
                    </a:pathLst>
                  </a:custGeom>
                  <a:grpFill/>
                  <a:ln w="637" cap="flat">
                    <a:noFill/>
                    <a:prstDash val="solid"/>
                    <a:miter/>
                  </a:ln>
                </p:spPr>
                <p:txBody>
                  <a:bodyPr rtlCol="0" anchor="ctr"/>
                  <a:lstStyle/>
                  <a:p>
                    <a:endParaRPr lang="en-GB" dirty="0"/>
                  </a:p>
                </p:txBody>
              </p:sp>
              <p:sp>
                <p:nvSpPr>
                  <p:cNvPr id="878" name="Freeform: Shape 877">
                    <a:extLst>
                      <a:ext uri="{FF2B5EF4-FFF2-40B4-BE49-F238E27FC236}">
                        <a16:creationId xmlns:a16="http://schemas.microsoft.com/office/drawing/2014/main" id="{76C134F8-D424-40FE-A03D-8508FA9F0E26}"/>
                      </a:ext>
                    </a:extLst>
                  </p:cNvPr>
                  <p:cNvSpPr/>
                  <p:nvPr/>
                </p:nvSpPr>
                <p:spPr>
                  <a:xfrm>
                    <a:off x="7604397" y="3395964"/>
                    <a:ext cx="115902" cy="99459"/>
                  </a:xfrm>
                  <a:custGeom>
                    <a:avLst/>
                    <a:gdLst>
                      <a:gd name="connsiteX0" fmla="*/ 14936 w 115902"/>
                      <a:gd name="connsiteY0" fmla="*/ 99460 h 99459"/>
                      <a:gd name="connsiteX1" fmla="*/ 10427 w 115902"/>
                      <a:gd name="connsiteY1" fmla="*/ 97591 h 99459"/>
                      <a:gd name="connsiteX2" fmla="*/ 1868 w 115902"/>
                      <a:gd name="connsiteY2" fmla="*/ 89032 h 99459"/>
                      <a:gd name="connsiteX3" fmla="*/ 38 w 115902"/>
                      <a:gd name="connsiteY3" fmla="*/ 83829 h 99459"/>
                      <a:gd name="connsiteX4" fmla="*/ 2952 w 115902"/>
                      <a:gd name="connsiteY4" fmla="*/ 79147 h 99459"/>
                      <a:gd name="connsiteX5" fmla="*/ 49520 w 115902"/>
                      <a:gd name="connsiteY5" fmla="*/ 49518 h 99459"/>
                      <a:gd name="connsiteX6" fmla="*/ 79150 w 115902"/>
                      <a:gd name="connsiteY6" fmla="*/ 2950 h 99459"/>
                      <a:gd name="connsiteX7" fmla="*/ 83831 w 115902"/>
                      <a:gd name="connsiteY7" fmla="*/ 36 h 99459"/>
                      <a:gd name="connsiteX8" fmla="*/ 89035 w 115902"/>
                      <a:gd name="connsiteY8" fmla="*/ 1866 h 99459"/>
                      <a:gd name="connsiteX9" fmla="*/ 114034 w 115902"/>
                      <a:gd name="connsiteY9" fmla="*/ 26866 h 99459"/>
                      <a:gd name="connsiteX10" fmla="*/ 115903 w 115902"/>
                      <a:gd name="connsiteY10" fmla="*/ 31374 h 99459"/>
                      <a:gd name="connsiteX11" fmla="*/ 114034 w 115902"/>
                      <a:gd name="connsiteY11" fmla="*/ 35883 h 99459"/>
                      <a:gd name="connsiteX12" fmla="*/ 108211 w 115902"/>
                      <a:gd name="connsiteY12" fmla="*/ 41699 h 99459"/>
                      <a:gd name="connsiteX13" fmla="*/ 99194 w 115902"/>
                      <a:gd name="connsiteY13" fmla="*/ 41699 h 99459"/>
                      <a:gd name="connsiteX14" fmla="*/ 99194 w 115902"/>
                      <a:gd name="connsiteY14" fmla="*/ 32682 h 99459"/>
                      <a:gd name="connsiteX15" fmla="*/ 100501 w 115902"/>
                      <a:gd name="connsiteY15" fmla="*/ 31374 h 99459"/>
                      <a:gd name="connsiteX16" fmla="*/ 85642 w 115902"/>
                      <a:gd name="connsiteY16" fmla="*/ 16509 h 99459"/>
                      <a:gd name="connsiteX17" fmla="*/ 59514 w 115902"/>
                      <a:gd name="connsiteY17" fmla="*/ 57566 h 99459"/>
                      <a:gd name="connsiteX18" fmla="*/ 57556 w 115902"/>
                      <a:gd name="connsiteY18" fmla="*/ 59524 h 99459"/>
                      <a:gd name="connsiteX19" fmla="*/ 16498 w 115902"/>
                      <a:gd name="connsiteY19" fmla="*/ 85653 h 99459"/>
                      <a:gd name="connsiteX20" fmla="*/ 19432 w 115902"/>
                      <a:gd name="connsiteY20" fmla="*/ 88586 h 99459"/>
                      <a:gd name="connsiteX21" fmla="*/ 19432 w 115902"/>
                      <a:gd name="connsiteY21" fmla="*/ 97604 h 99459"/>
                      <a:gd name="connsiteX22" fmla="*/ 14936 w 115902"/>
                      <a:gd name="connsiteY22" fmla="*/ 99460 h 99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5902" h="99459">
                        <a:moveTo>
                          <a:pt x="14936" y="99460"/>
                        </a:moveTo>
                        <a:cubicBezTo>
                          <a:pt x="13303" y="99460"/>
                          <a:pt x="11670" y="98835"/>
                          <a:pt x="10427" y="97591"/>
                        </a:cubicBezTo>
                        <a:lnTo>
                          <a:pt x="1868" y="89032"/>
                        </a:lnTo>
                        <a:cubicBezTo>
                          <a:pt x="497" y="87661"/>
                          <a:pt x="-172" y="85748"/>
                          <a:pt x="38" y="83829"/>
                        </a:cubicBezTo>
                        <a:cubicBezTo>
                          <a:pt x="248" y="81909"/>
                          <a:pt x="1320" y="80187"/>
                          <a:pt x="2952" y="79147"/>
                        </a:cubicBezTo>
                        <a:lnTo>
                          <a:pt x="49520" y="49518"/>
                        </a:lnTo>
                        <a:lnTo>
                          <a:pt x="79150" y="2950"/>
                        </a:lnTo>
                        <a:cubicBezTo>
                          <a:pt x="80189" y="1318"/>
                          <a:pt x="81917" y="246"/>
                          <a:pt x="83831" y="36"/>
                        </a:cubicBezTo>
                        <a:cubicBezTo>
                          <a:pt x="85808" y="-168"/>
                          <a:pt x="87676" y="502"/>
                          <a:pt x="89035" y="1866"/>
                        </a:cubicBezTo>
                        <a:lnTo>
                          <a:pt x="114034" y="26866"/>
                        </a:lnTo>
                        <a:cubicBezTo>
                          <a:pt x="115233" y="28065"/>
                          <a:pt x="115903" y="29685"/>
                          <a:pt x="115903" y="31374"/>
                        </a:cubicBezTo>
                        <a:cubicBezTo>
                          <a:pt x="115903" y="33071"/>
                          <a:pt x="115233" y="34691"/>
                          <a:pt x="114034" y="35883"/>
                        </a:cubicBezTo>
                        <a:lnTo>
                          <a:pt x="108211" y="41699"/>
                        </a:lnTo>
                        <a:cubicBezTo>
                          <a:pt x="105718" y="44193"/>
                          <a:pt x="101687" y="44193"/>
                          <a:pt x="99194" y="41699"/>
                        </a:cubicBezTo>
                        <a:cubicBezTo>
                          <a:pt x="96700" y="39206"/>
                          <a:pt x="96700" y="35169"/>
                          <a:pt x="99194" y="32682"/>
                        </a:cubicBezTo>
                        <a:lnTo>
                          <a:pt x="100501" y="31374"/>
                        </a:lnTo>
                        <a:lnTo>
                          <a:pt x="85642" y="16509"/>
                        </a:lnTo>
                        <a:lnTo>
                          <a:pt x="59514" y="57566"/>
                        </a:lnTo>
                        <a:cubicBezTo>
                          <a:pt x="59010" y="58351"/>
                          <a:pt x="58340" y="59021"/>
                          <a:pt x="57556" y="59524"/>
                        </a:cubicBezTo>
                        <a:lnTo>
                          <a:pt x="16498" y="85653"/>
                        </a:lnTo>
                        <a:lnTo>
                          <a:pt x="19432" y="88586"/>
                        </a:lnTo>
                        <a:cubicBezTo>
                          <a:pt x="21925" y="91080"/>
                          <a:pt x="21925" y="95110"/>
                          <a:pt x="19432" y="97604"/>
                        </a:cubicBezTo>
                        <a:cubicBezTo>
                          <a:pt x="18201" y="98835"/>
                          <a:pt x="16568" y="99460"/>
                          <a:pt x="14936" y="99460"/>
                        </a:cubicBezTo>
                        <a:close/>
                      </a:path>
                    </a:pathLst>
                  </a:custGeom>
                  <a:grpFill/>
                  <a:ln w="637" cap="flat">
                    <a:noFill/>
                    <a:prstDash val="solid"/>
                    <a:miter/>
                  </a:ln>
                </p:spPr>
                <p:txBody>
                  <a:bodyPr rtlCol="0" anchor="ctr"/>
                  <a:lstStyle/>
                  <a:p>
                    <a:endParaRPr lang="en-GB" dirty="0"/>
                  </a:p>
                </p:txBody>
              </p:sp>
            </p:grpSp>
          </p:grpSp>
          <p:grpSp>
            <p:nvGrpSpPr>
              <p:cNvPr id="861" name="Graphic 32">
                <a:extLst>
                  <a:ext uri="{FF2B5EF4-FFF2-40B4-BE49-F238E27FC236}">
                    <a16:creationId xmlns:a16="http://schemas.microsoft.com/office/drawing/2014/main" id="{7BBF29E3-80B6-4269-89E4-EC44F2BBCC08}"/>
                  </a:ext>
                </a:extLst>
              </p:cNvPr>
              <p:cNvGrpSpPr/>
              <p:nvPr/>
            </p:nvGrpSpPr>
            <p:grpSpPr>
              <a:xfrm>
                <a:off x="7577399" y="3441446"/>
                <a:ext cx="212329" cy="223035"/>
                <a:chOff x="7577399" y="3441446"/>
                <a:chExt cx="212329" cy="223035"/>
              </a:xfrm>
              <a:grpFill/>
            </p:grpSpPr>
            <p:sp>
              <p:nvSpPr>
                <p:cNvPr id="862" name="Freeform: Shape 861">
                  <a:extLst>
                    <a:ext uri="{FF2B5EF4-FFF2-40B4-BE49-F238E27FC236}">
                      <a16:creationId xmlns:a16="http://schemas.microsoft.com/office/drawing/2014/main" id="{1832241B-6304-4A68-9A92-0A86E500D9D6}"/>
                    </a:ext>
                  </a:extLst>
                </p:cNvPr>
                <p:cNvSpPr/>
                <p:nvPr/>
              </p:nvSpPr>
              <p:spPr>
                <a:xfrm>
                  <a:off x="7654872" y="3569285"/>
                  <a:ext cx="100179" cy="71842"/>
                </a:xfrm>
                <a:custGeom>
                  <a:avLst/>
                  <a:gdLst>
                    <a:gd name="connsiteX0" fmla="*/ 6379 w 100179"/>
                    <a:gd name="connsiteY0" fmla="*/ 71843 h 71842"/>
                    <a:gd name="connsiteX1" fmla="*/ 1870 w 100179"/>
                    <a:gd name="connsiteY1" fmla="*/ 69974 h 71842"/>
                    <a:gd name="connsiteX2" fmla="*/ 1870 w 100179"/>
                    <a:gd name="connsiteY2" fmla="*/ 60957 h 71842"/>
                    <a:gd name="connsiteX3" fmla="*/ 28655 w 100179"/>
                    <a:gd name="connsiteY3" fmla="*/ 34172 h 71842"/>
                    <a:gd name="connsiteX4" fmla="*/ 32405 w 100179"/>
                    <a:gd name="connsiteY4" fmla="*/ 32348 h 71842"/>
                    <a:gd name="connsiteX5" fmla="*/ 62398 w 100179"/>
                    <a:gd name="connsiteY5" fmla="*/ 28757 h 71842"/>
                    <a:gd name="connsiteX6" fmla="*/ 89291 w 100179"/>
                    <a:gd name="connsiteY6" fmla="*/ 1870 h 71842"/>
                    <a:gd name="connsiteX7" fmla="*/ 98309 w 100179"/>
                    <a:gd name="connsiteY7" fmla="*/ 1870 h 71842"/>
                    <a:gd name="connsiteX8" fmla="*/ 98309 w 100179"/>
                    <a:gd name="connsiteY8" fmla="*/ 10888 h 71842"/>
                    <a:gd name="connsiteX9" fmla="*/ 69860 w 100179"/>
                    <a:gd name="connsiteY9" fmla="*/ 39337 h 71842"/>
                    <a:gd name="connsiteX10" fmla="*/ 66110 w 100179"/>
                    <a:gd name="connsiteY10" fmla="*/ 41161 h 71842"/>
                    <a:gd name="connsiteX11" fmla="*/ 36117 w 100179"/>
                    <a:gd name="connsiteY11" fmla="*/ 44752 h 71842"/>
                    <a:gd name="connsiteX12" fmla="*/ 10888 w 100179"/>
                    <a:gd name="connsiteY12" fmla="*/ 69974 h 71842"/>
                    <a:gd name="connsiteX13" fmla="*/ 6379 w 100179"/>
                    <a:gd name="connsiteY13" fmla="*/ 71843 h 7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179" h="71842">
                      <a:moveTo>
                        <a:pt x="6379" y="71843"/>
                      </a:moveTo>
                      <a:cubicBezTo>
                        <a:pt x="4746" y="71843"/>
                        <a:pt x="3114" y="71218"/>
                        <a:pt x="1870" y="69974"/>
                      </a:cubicBezTo>
                      <a:cubicBezTo>
                        <a:pt x="-623" y="67481"/>
                        <a:pt x="-623" y="63450"/>
                        <a:pt x="1870" y="60957"/>
                      </a:cubicBezTo>
                      <a:lnTo>
                        <a:pt x="28655" y="34172"/>
                      </a:lnTo>
                      <a:cubicBezTo>
                        <a:pt x="29663" y="33164"/>
                        <a:pt x="30983" y="32520"/>
                        <a:pt x="32405" y="32348"/>
                      </a:cubicBezTo>
                      <a:lnTo>
                        <a:pt x="62398" y="28757"/>
                      </a:lnTo>
                      <a:lnTo>
                        <a:pt x="89291" y="1870"/>
                      </a:lnTo>
                      <a:cubicBezTo>
                        <a:pt x="91785" y="-623"/>
                        <a:pt x="95815" y="-623"/>
                        <a:pt x="98309" y="1870"/>
                      </a:cubicBezTo>
                      <a:cubicBezTo>
                        <a:pt x="100803" y="4364"/>
                        <a:pt x="100803" y="8394"/>
                        <a:pt x="98309" y="10888"/>
                      </a:cubicBezTo>
                      <a:lnTo>
                        <a:pt x="69860" y="39337"/>
                      </a:lnTo>
                      <a:cubicBezTo>
                        <a:pt x="68852" y="40345"/>
                        <a:pt x="67532" y="40989"/>
                        <a:pt x="66110" y="41161"/>
                      </a:cubicBezTo>
                      <a:lnTo>
                        <a:pt x="36117" y="44752"/>
                      </a:lnTo>
                      <a:lnTo>
                        <a:pt x="10888" y="69974"/>
                      </a:lnTo>
                      <a:cubicBezTo>
                        <a:pt x="9644" y="71218"/>
                        <a:pt x="8012" y="71843"/>
                        <a:pt x="6379" y="71843"/>
                      </a:cubicBezTo>
                      <a:close/>
                    </a:path>
                  </a:pathLst>
                </a:custGeom>
                <a:grpFill/>
                <a:ln w="637" cap="flat">
                  <a:noFill/>
                  <a:prstDash val="solid"/>
                  <a:miter/>
                </a:ln>
              </p:spPr>
              <p:txBody>
                <a:bodyPr rtlCol="0" anchor="ctr"/>
                <a:lstStyle/>
                <a:p>
                  <a:endParaRPr lang="en-GB" dirty="0"/>
                </a:p>
              </p:txBody>
            </p:sp>
            <p:sp>
              <p:nvSpPr>
                <p:cNvPr id="863" name="Freeform: Shape 862">
                  <a:extLst>
                    <a:ext uri="{FF2B5EF4-FFF2-40B4-BE49-F238E27FC236}">
                      <a16:creationId xmlns:a16="http://schemas.microsoft.com/office/drawing/2014/main" id="{9776AD89-5313-4CD6-AA17-1B71CF218721}"/>
                    </a:ext>
                  </a:extLst>
                </p:cNvPr>
                <p:cNvSpPr/>
                <p:nvPr/>
              </p:nvSpPr>
              <p:spPr>
                <a:xfrm>
                  <a:off x="7595894" y="3458607"/>
                  <a:ext cx="141578" cy="125564"/>
                </a:xfrm>
                <a:custGeom>
                  <a:avLst/>
                  <a:gdLst>
                    <a:gd name="connsiteX0" fmla="*/ 6379 w 141578"/>
                    <a:gd name="connsiteY0" fmla="*/ 125565 h 125564"/>
                    <a:gd name="connsiteX1" fmla="*/ 1870 w 141578"/>
                    <a:gd name="connsiteY1" fmla="*/ 123696 h 125564"/>
                    <a:gd name="connsiteX2" fmla="*/ 1870 w 141578"/>
                    <a:gd name="connsiteY2" fmla="*/ 114679 h 125564"/>
                    <a:gd name="connsiteX3" fmla="*/ 26774 w 141578"/>
                    <a:gd name="connsiteY3" fmla="*/ 89768 h 125564"/>
                    <a:gd name="connsiteX4" fmla="*/ 26723 w 141578"/>
                    <a:gd name="connsiteY4" fmla="*/ 51090 h 125564"/>
                    <a:gd name="connsiteX5" fmla="*/ 33719 w 141578"/>
                    <a:gd name="connsiteY5" fmla="*/ 33061 h 125564"/>
                    <a:gd name="connsiteX6" fmla="*/ 58457 w 141578"/>
                    <a:gd name="connsiteY6" fmla="*/ 6046 h 125564"/>
                    <a:gd name="connsiteX7" fmla="*/ 59388 w 141578"/>
                    <a:gd name="connsiteY7" fmla="*/ 5217 h 125564"/>
                    <a:gd name="connsiteX8" fmla="*/ 94763 w 141578"/>
                    <a:gd name="connsiteY8" fmla="*/ 8131 h 125564"/>
                    <a:gd name="connsiteX9" fmla="*/ 138442 w 141578"/>
                    <a:gd name="connsiteY9" fmla="*/ 52971 h 125564"/>
                    <a:gd name="connsiteX10" fmla="*/ 141561 w 141578"/>
                    <a:gd name="connsiteY10" fmla="*/ 61325 h 125564"/>
                    <a:gd name="connsiteX11" fmla="*/ 137505 w 141578"/>
                    <a:gd name="connsiteY11" fmla="*/ 69278 h 125564"/>
                    <a:gd name="connsiteX12" fmla="*/ 135113 w 141578"/>
                    <a:gd name="connsiteY12" fmla="*/ 71229 h 125564"/>
                    <a:gd name="connsiteX13" fmla="*/ 96530 w 141578"/>
                    <a:gd name="connsiteY13" fmla="*/ 69661 h 125564"/>
                    <a:gd name="connsiteX14" fmla="*/ 78813 w 141578"/>
                    <a:gd name="connsiteY14" fmla="*/ 55566 h 125564"/>
                    <a:gd name="connsiteX15" fmla="*/ 77799 w 141578"/>
                    <a:gd name="connsiteY15" fmla="*/ 46606 h 125564"/>
                    <a:gd name="connsiteX16" fmla="*/ 86760 w 141578"/>
                    <a:gd name="connsiteY16" fmla="*/ 45592 h 125564"/>
                    <a:gd name="connsiteX17" fmla="*/ 104923 w 141578"/>
                    <a:gd name="connsiteY17" fmla="*/ 60075 h 125564"/>
                    <a:gd name="connsiteX18" fmla="*/ 127065 w 141578"/>
                    <a:gd name="connsiteY18" fmla="*/ 61338 h 125564"/>
                    <a:gd name="connsiteX19" fmla="*/ 128021 w 141578"/>
                    <a:gd name="connsiteY19" fmla="*/ 60560 h 125564"/>
                    <a:gd name="connsiteX20" fmla="*/ 85631 w 141578"/>
                    <a:gd name="connsiteY20" fmla="*/ 17041 h 125564"/>
                    <a:gd name="connsiteX21" fmla="*/ 67411 w 141578"/>
                    <a:gd name="connsiteY21" fmla="*/ 15179 h 125564"/>
                    <a:gd name="connsiteX22" fmla="*/ 43132 w 141578"/>
                    <a:gd name="connsiteY22" fmla="*/ 41689 h 125564"/>
                    <a:gd name="connsiteX23" fmla="*/ 39490 w 141578"/>
                    <a:gd name="connsiteY23" fmla="*/ 51090 h 125564"/>
                    <a:gd name="connsiteX24" fmla="*/ 39548 w 141578"/>
                    <a:gd name="connsiteY24" fmla="*/ 92415 h 125564"/>
                    <a:gd name="connsiteX25" fmla="*/ 37679 w 141578"/>
                    <a:gd name="connsiteY25" fmla="*/ 96930 h 125564"/>
                    <a:gd name="connsiteX26" fmla="*/ 10901 w 141578"/>
                    <a:gd name="connsiteY26" fmla="*/ 123709 h 125564"/>
                    <a:gd name="connsiteX27" fmla="*/ 6379 w 141578"/>
                    <a:gd name="connsiteY27" fmla="*/ 125565 h 125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1578" h="125564">
                      <a:moveTo>
                        <a:pt x="6379" y="125565"/>
                      </a:moveTo>
                      <a:cubicBezTo>
                        <a:pt x="4746" y="125565"/>
                        <a:pt x="3114" y="124940"/>
                        <a:pt x="1870" y="123696"/>
                      </a:cubicBezTo>
                      <a:cubicBezTo>
                        <a:pt x="-623" y="121203"/>
                        <a:pt x="-623" y="117172"/>
                        <a:pt x="1870" y="114679"/>
                      </a:cubicBezTo>
                      <a:lnTo>
                        <a:pt x="26774" y="89768"/>
                      </a:lnTo>
                      <a:lnTo>
                        <a:pt x="26723" y="51090"/>
                      </a:lnTo>
                      <a:cubicBezTo>
                        <a:pt x="26717" y="44393"/>
                        <a:pt x="29204" y="37984"/>
                        <a:pt x="33719" y="33061"/>
                      </a:cubicBezTo>
                      <a:lnTo>
                        <a:pt x="58457" y="6046"/>
                      </a:lnTo>
                      <a:cubicBezTo>
                        <a:pt x="58737" y="5740"/>
                        <a:pt x="59050" y="5459"/>
                        <a:pt x="59388" y="5217"/>
                      </a:cubicBezTo>
                      <a:cubicBezTo>
                        <a:pt x="70191" y="-2729"/>
                        <a:pt x="85401" y="-1473"/>
                        <a:pt x="94763" y="8131"/>
                      </a:cubicBezTo>
                      <a:lnTo>
                        <a:pt x="138442" y="52971"/>
                      </a:lnTo>
                      <a:cubicBezTo>
                        <a:pt x="140598" y="55184"/>
                        <a:pt x="141739" y="58226"/>
                        <a:pt x="141561" y="61325"/>
                      </a:cubicBezTo>
                      <a:cubicBezTo>
                        <a:pt x="141382" y="64425"/>
                        <a:pt x="139902" y="67314"/>
                        <a:pt x="137505" y="69278"/>
                      </a:cubicBezTo>
                      <a:lnTo>
                        <a:pt x="135113" y="71229"/>
                      </a:lnTo>
                      <a:cubicBezTo>
                        <a:pt x="123710" y="80496"/>
                        <a:pt x="107129" y="79826"/>
                        <a:pt x="96530" y="69661"/>
                      </a:cubicBezTo>
                      <a:lnTo>
                        <a:pt x="78813" y="55566"/>
                      </a:lnTo>
                      <a:cubicBezTo>
                        <a:pt x="76052" y="53366"/>
                        <a:pt x="75606" y="49355"/>
                        <a:pt x="77799" y="46606"/>
                      </a:cubicBezTo>
                      <a:cubicBezTo>
                        <a:pt x="80006" y="43851"/>
                        <a:pt x="84011" y="43392"/>
                        <a:pt x="86760" y="45592"/>
                      </a:cubicBezTo>
                      <a:lnTo>
                        <a:pt x="104923" y="60075"/>
                      </a:lnTo>
                      <a:cubicBezTo>
                        <a:pt x="111313" y="66166"/>
                        <a:pt x="120649" y="66548"/>
                        <a:pt x="127065" y="61338"/>
                      </a:cubicBezTo>
                      <a:lnTo>
                        <a:pt x="128021" y="60560"/>
                      </a:lnTo>
                      <a:lnTo>
                        <a:pt x="85631" y="17041"/>
                      </a:lnTo>
                      <a:cubicBezTo>
                        <a:pt x="80829" y="12111"/>
                        <a:pt x="73086" y="11339"/>
                        <a:pt x="67411" y="15179"/>
                      </a:cubicBezTo>
                      <a:lnTo>
                        <a:pt x="43132" y="41689"/>
                      </a:lnTo>
                      <a:cubicBezTo>
                        <a:pt x="40779" y="44253"/>
                        <a:pt x="39484" y="47595"/>
                        <a:pt x="39490" y="51090"/>
                      </a:cubicBezTo>
                      <a:lnTo>
                        <a:pt x="39548" y="92415"/>
                      </a:lnTo>
                      <a:cubicBezTo>
                        <a:pt x="39548" y="94112"/>
                        <a:pt x="38878" y="95738"/>
                        <a:pt x="37679" y="96930"/>
                      </a:cubicBezTo>
                      <a:lnTo>
                        <a:pt x="10901" y="123709"/>
                      </a:lnTo>
                      <a:cubicBezTo>
                        <a:pt x="9644" y="124940"/>
                        <a:pt x="8012" y="125565"/>
                        <a:pt x="6379" y="125565"/>
                      </a:cubicBezTo>
                      <a:close/>
                    </a:path>
                  </a:pathLst>
                </a:custGeom>
                <a:grpFill/>
                <a:ln w="637" cap="flat">
                  <a:noFill/>
                  <a:prstDash val="solid"/>
                  <a:miter/>
                </a:ln>
              </p:spPr>
              <p:txBody>
                <a:bodyPr rtlCol="0" anchor="ctr"/>
                <a:lstStyle/>
                <a:p>
                  <a:endParaRPr lang="en-GB" dirty="0"/>
                </a:p>
              </p:txBody>
            </p:sp>
            <p:grpSp>
              <p:nvGrpSpPr>
                <p:cNvPr id="864" name="Graphic 32">
                  <a:extLst>
                    <a:ext uri="{FF2B5EF4-FFF2-40B4-BE49-F238E27FC236}">
                      <a16:creationId xmlns:a16="http://schemas.microsoft.com/office/drawing/2014/main" id="{B47B2F41-1AC1-4596-A37D-D5089E97641F}"/>
                    </a:ext>
                  </a:extLst>
                </p:cNvPr>
                <p:cNvGrpSpPr/>
                <p:nvPr/>
              </p:nvGrpSpPr>
              <p:grpSpPr>
                <a:xfrm>
                  <a:off x="7672626" y="3441446"/>
                  <a:ext cx="117102" cy="139319"/>
                  <a:chOff x="7672626" y="3441446"/>
                  <a:chExt cx="117102" cy="139319"/>
                </a:xfrm>
                <a:grpFill/>
              </p:grpSpPr>
              <p:sp>
                <p:nvSpPr>
                  <p:cNvPr id="870" name="Freeform: Shape 869">
                    <a:extLst>
                      <a:ext uri="{FF2B5EF4-FFF2-40B4-BE49-F238E27FC236}">
                        <a16:creationId xmlns:a16="http://schemas.microsoft.com/office/drawing/2014/main" id="{5FAB8C35-7619-4BE4-A959-2665DFDF0B84}"/>
                      </a:ext>
                    </a:extLst>
                  </p:cNvPr>
                  <p:cNvSpPr/>
                  <p:nvPr/>
                </p:nvSpPr>
                <p:spPr>
                  <a:xfrm>
                    <a:off x="7725414" y="3516596"/>
                    <a:ext cx="64313" cy="64169"/>
                  </a:xfrm>
                  <a:custGeom>
                    <a:avLst/>
                    <a:gdLst>
                      <a:gd name="connsiteX0" fmla="*/ 23079 w 64313"/>
                      <a:gd name="connsiteY0" fmla="*/ 64169 h 64169"/>
                      <a:gd name="connsiteX1" fmla="*/ 23009 w 64313"/>
                      <a:gd name="connsiteY1" fmla="*/ 64169 h 64169"/>
                      <a:gd name="connsiteX2" fmla="*/ 11587 w 64313"/>
                      <a:gd name="connsiteY2" fmla="*/ 59386 h 64169"/>
                      <a:gd name="connsiteX3" fmla="*/ 4680 w 64313"/>
                      <a:gd name="connsiteY3" fmla="*/ 52422 h 64169"/>
                      <a:gd name="connsiteX4" fmla="*/ 4674 w 64313"/>
                      <a:gd name="connsiteY4" fmla="*/ 52422 h 64169"/>
                      <a:gd name="connsiteX5" fmla="*/ 4782 w 64313"/>
                      <a:gd name="connsiteY5" fmla="*/ 29534 h 64169"/>
                      <a:gd name="connsiteX6" fmla="*/ 29845 w 64313"/>
                      <a:gd name="connsiteY6" fmla="*/ 4687 h 64169"/>
                      <a:gd name="connsiteX7" fmla="*/ 41236 w 64313"/>
                      <a:gd name="connsiteY7" fmla="*/ 0 h 64169"/>
                      <a:gd name="connsiteX8" fmla="*/ 41306 w 64313"/>
                      <a:gd name="connsiteY8" fmla="*/ 0 h 64169"/>
                      <a:gd name="connsiteX9" fmla="*/ 52728 w 64313"/>
                      <a:gd name="connsiteY9" fmla="*/ 4783 h 64169"/>
                      <a:gd name="connsiteX10" fmla="*/ 59634 w 64313"/>
                      <a:gd name="connsiteY10" fmla="*/ 11747 h 64169"/>
                      <a:gd name="connsiteX11" fmla="*/ 59532 w 64313"/>
                      <a:gd name="connsiteY11" fmla="*/ 34636 h 64169"/>
                      <a:gd name="connsiteX12" fmla="*/ 34469 w 64313"/>
                      <a:gd name="connsiteY12" fmla="*/ 59482 h 64169"/>
                      <a:gd name="connsiteX13" fmla="*/ 23079 w 64313"/>
                      <a:gd name="connsiteY13" fmla="*/ 64169 h 64169"/>
                      <a:gd name="connsiteX14" fmla="*/ 13743 w 64313"/>
                      <a:gd name="connsiteY14" fmla="*/ 43443 h 64169"/>
                      <a:gd name="connsiteX15" fmla="*/ 20643 w 64313"/>
                      <a:gd name="connsiteY15" fmla="*/ 50407 h 64169"/>
                      <a:gd name="connsiteX16" fmla="*/ 23060 w 64313"/>
                      <a:gd name="connsiteY16" fmla="*/ 51415 h 64169"/>
                      <a:gd name="connsiteX17" fmla="*/ 25490 w 64313"/>
                      <a:gd name="connsiteY17" fmla="*/ 50426 h 64169"/>
                      <a:gd name="connsiteX18" fmla="*/ 50553 w 64313"/>
                      <a:gd name="connsiteY18" fmla="*/ 25580 h 64169"/>
                      <a:gd name="connsiteX19" fmla="*/ 50572 w 64313"/>
                      <a:gd name="connsiteY19" fmla="*/ 20727 h 64169"/>
                      <a:gd name="connsiteX20" fmla="*/ 43672 w 64313"/>
                      <a:gd name="connsiteY20" fmla="*/ 13762 h 64169"/>
                      <a:gd name="connsiteX21" fmla="*/ 41255 w 64313"/>
                      <a:gd name="connsiteY21" fmla="*/ 12755 h 64169"/>
                      <a:gd name="connsiteX22" fmla="*/ 38825 w 64313"/>
                      <a:gd name="connsiteY22" fmla="*/ 13743 h 64169"/>
                      <a:gd name="connsiteX23" fmla="*/ 13762 w 64313"/>
                      <a:gd name="connsiteY23" fmla="*/ 38590 h 64169"/>
                      <a:gd name="connsiteX24" fmla="*/ 13743 w 64313"/>
                      <a:gd name="connsiteY24" fmla="*/ 43443 h 64169"/>
                      <a:gd name="connsiteX25" fmla="*/ 13743 w 64313"/>
                      <a:gd name="connsiteY25" fmla="*/ 43443 h 64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4313" h="64169">
                        <a:moveTo>
                          <a:pt x="23079" y="64169"/>
                        </a:moveTo>
                        <a:cubicBezTo>
                          <a:pt x="23054" y="64169"/>
                          <a:pt x="23035" y="64169"/>
                          <a:pt x="23009" y="64169"/>
                        </a:cubicBezTo>
                        <a:cubicBezTo>
                          <a:pt x="18685" y="64157"/>
                          <a:pt x="14636" y="62454"/>
                          <a:pt x="11587" y="59386"/>
                        </a:cubicBezTo>
                        <a:lnTo>
                          <a:pt x="4680" y="52422"/>
                        </a:lnTo>
                        <a:cubicBezTo>
                          <a:pt x="4680" y="52422"/>
                          <a:pt x="4680" y="52422"/>
                          <a:pt x="4674" y="52422"/>
                        </a:cubicBezTo>
                        <a:cubicBezTo>
                          <a:pt x="-1595" y="46083"/>
                          <a:pt x="-1557" y="35816"/>
                          <a:pt x="4782" y="29534"/>
                        </a:cubicBezTo>
                        <a:lnTo>
                          <a:pt x="29845" y="4687"/>
                        </a:lnTo>
                        <a:cubicBezTo>
                          <a:pt x="32900" y="1658"/>
                          <a:pt x="36937" y="0"/>
                          <a:pt x="41236" y="0"/>
                        </a:cubicBezTo>
                        <a:cubicBezTo>
                          <a:pt x="41261" y="0"/>
                          <a:pt x="41280" y="0"/>
                          <a:pt x="41306" y="0"/>
                        </a:cubicBezTo>
                        <a:cubicBezTo>
                          <a:pt x="45629" y="13"/>
                          <a:pt x="49679" y="1715"/>
                          <a:pt x="52728" y="4783"/>
                        </a:cubicBezTo>
                        <a:lnTo>
                          <a:pt x="59634" y="11747"/>
                        </a:lnTo>
                        <a:cubicBezTo>
                          <a:pt x="65910" y="18086"/>
                          <a:pt x="65871" y="28354"/>
                          <a:pt x="59532" y="34636"/>
                        </a:cubicBezTo>
                        <a:lnTo>
                          <a:pt x="34469" y="59482"/>
                        </a:lnTo>
                        <a:cubicBezTo>
                          <a:pt x="31414" y="62505"/>
                          <a:pt x="27378" y="64169"/>
                          <a:pt x="23079" y="64169"/>
                        </a:cubicBezTo>
                        <a:close/>
                        <a:moveTo>
                          <a:pt x="13743" y="43443"/>
                        </a:moveTo>
                        <a:lnTo>
                          <a:pt x="20643" y="50407"/>
                        </a:lnTo>
                        <a:cubicBezTo>
                          <a:pt x="21287" y="51057"/>
                          <a:pt x="22142" y="51415"/>
                          <a:pt x="23060" y="51415"/>
                        </a:cubicBezTo>
                        <a:cubicBezTo>
                          <a:pt x="23768" y="51395"/>
                          <a:pt x="24833" y="51070"/>
                          <a:pt x="25490" y="50426"/>
                        </a:cubicBezTo>
                        <a:lnTo>
                          <a:pt x="50553" y="25580"/>
                        </a:lnTo>
                        <a:cubicBezTo>
                          <a:pt x="51899" y="24247"/>
                          <a:pt x="51905" y="22066"/>
                          <a:pt x="50572" y="20727"/>
                        </a:cubicBezTo>
                        <a:lnTo>
                          <a:pt x="43672" y="13762"/>
                        </a:lnTo>
                        <a:cubicBezTo>
                          <a:pt x="43028" y="13112"/>
                          <a:pt x="42173" y="12755"/>
                          <a:pt x="41255" y="12755"/>
                        </a:cubicBezTo>
                        <a:cubicBezTo>
                          <a:pt x="40254" y="12946"/>
                          <a:pt x="39482" y="13099"/>
                          <a:pt x="38825" y="13743"/>
                        </a:cubicBezTo>
                        <a:lnTo>
                          <a:pt x="13762" y="38590"/>
                        </a:lnTo>
                        <a:cubicBezTo>
                          <a:pt x="12416" y="39923"/>
                          <a:pt x="12410" y="42104"/>
                          <a:pt x="13743" y="43443"/>
                        </a:cubicBezTo>
                        <a:lnTo>
                          <a:pt x="13743" y="43443"/>
                        </a:lnTo>
                        <a:close/>
                      </a:path>
                    </a:pathLst>
                  </a:custGeom>
                  <a:grpFill/>
                  <a:ln w="637" cap="flat">
                    <a:noFill/>
                    <a:prstDash val="solid"/>
                    <a:miter/>
                  </a:ln>
                </p:spPr>
                <p:txBody>
                  <a:bodyPr rtlCol="0" anchor="ctr"/>
                  <a:lstStyle/>
                  <a:p>
                    <a:endParaRPr lang="en-GB" dirty="0"/>
                  </a:p>
                </p:txBody>
              </p:sp>
              <p:sp>
                <p:nvSpPr>
                  <p:cNvPr id="871" name="Freeform: Shape 870">
                    <a:extLst>
                      <a:ext uri="{FF2B5EF4-FFF2-40B4-BE49-F238E27FC236}">
                        <a16:creationId xmlns:a16="http://schemas.microsoft.com/office/drawing/2014/main" id="{A82E590F-9339-4341-8EBC-AE65CC25DE0C}"/>
                      </a:ext>
                    </a:extLst>
                  </p:cNvPr>
                  <p:cNvSpPr/>
                  <p:nvPr/>
                </p:nvSpPr>
                <p:spPr>
                  <a:xfrm>
                    <a:off x="7701939" y="3488772"/>
                    <a:ext cx="71266" cy="71107"/>
                  </a:xfrm>
                  <a:custGeom>
                    <a:avLst/>
                    <a:gdLst>
                      <a:gd name="connsiteX0" fmla="*/ 25840 w 71266"/>
                      <a:gd name="connsiteY0" fmla="*/ 71108 h 71107"/>
                      <a:gd name="connsiteX1" fmla="*/ 25770 w 71266"/>
                      <a:gd name="connsiteY1" fmla="*/ 71108 h 71107"/>
                      <a:gd name="connsiteX2" fmla="*/ 14348 w 71266"/>
                      <a:gd name="connsiteY2" fmla="*/ 66318 h 71107"/>
                      <a:gd name="connsiteX3" fmla="*/ 4680 w 71266"/>
                      <a:gd name="connsiteY3" fmla="*/ 56574 h 71107"/>
                      <a:gd name="connsiteX4" fmla="*/ 1587 w 71266"/>
                      <a:gd name="connsiteY4" fmla="*/ 38175 h 71107"/>
                      <a:gd name="connsiteX5" fmla="*/ 10095 w 71266"/>
                      <a:gd name="connsiteY5" fmla="*/ 35184 h 71107"/>
                      <a:gd name="connsiteX6" fmla="*/ 13086 w 71266"/>
                      <a:gd name="connsiteY6" fmla="*/ 43692 h 71107"/>
                      <a:gd name="connsiteX7" fmla="*/ 13749 w 71266"/>
                      <a:gd name="connsiteY7" fmla="*/ 47594 h 71107"/>
                      <a:gd name="connsiteX8" fmla="*/ 23411 w 71266"/>
                      <a:gd name="connsiteY8" fmla="*/ 57333 h 71107"/>
                      <a:gd name="connsiteX9" fmla="*/ 25834 w 71266"/>
                      <a:gd name="connsiteY9" fmla="*/ 58347 h 71107"/>
                      <a:gd name="connsiteX10" fmla="*/ 25847 w 71266"/>
                      <a:gd name="connsiteY10" fmla="*/ 58347 h 71107"/>
                      <a:gd name="connsiteX11" fmla="*/ 28264 w 71266"/>
                      <a:gd name="connsiteY11" fmla="*/ 57352 h 71107"/>
                      <a:gd name="connsiteX12" fmla="*/ 57504 w 71266"/>
                      <a:gd name="connsiteY12" fmla="*/ 28360 h 71107"/>
                      <a:gd name="connsiteX13" fmla="*/ 58512 w 71266"/>
                      <a:gd name="connsiteY13" fmla="*/ 25943 h 71107"/>
                      <a:gd name="connsiteX14" fmla="*/ 57523 w 71266"/>
                      <a:gd name="connsiteY14" fmla="*/ 23513 h 71107"/>
                      <a:gd name="connsiteX15" fmla="*/ 47855 w 71266"/>
                      <a:gd name="connsiteY15" fmla="*/ 13769 h 71107"/>
                      <a:gd name="connsiteX16" fmla="*/ 45432 w 71266"/>
                      <a:gd name="connsiteY16" fmla="*/ 12755 h 71107"/>
                      <a:gd name="connsiteX17" fmla="*/ 45419 w 71266"/>
                      <a:gd name="connsiteY17" fmla="*/ 12755 h 71107"/>
                      <a:gd name="connsiteX18" fmla="*/ 43008 w 71266"/>
                      <a:gd name="connsiteY18" fmla="*/ 13743 h 71107"/>
                      <a:gd name="connsiteX19" fmla="*/ 30917 w 71266"/>
                      <a:gd name="connsiteY19" fmla="*/ 25739 h 71107"/>
                      <a:gd name="connsiteX20" fmla="*/ 21899 w 71266"/>
                      <a:gd name="connsiteY20" fmla="*/ 25701 h 71107"/>
                      <a:gd name="connsiteX21" fmla="*/ 21937 w 71266"/>
                      <a:gd name="connsiteY21" fmla="*/ 16683 h 71107"/>
                      <a:gd name="connsiteX22" fmla="*/ 34029 w 71266"/>
                      <a:gd name="connsiteY22" fmla="*/ 4687 h 71107"/>
                      <a:gd name="connsiteX23" fmla="*/ 45419 w 71266"/>
                      <a:gd name="connsiteY23" fmla="*/ 0 h 71107"/>
                      <a:gd name="connsiteX24" fmla="*/ 45489 w 71266"/>
                      <a:gd name="connsiteY24" fmla="*/ 0 h 71107"/>
                      <a:gd name="connsiteX25" fmla="*/ 56917 w 71266"/>
                      <a:gd name="connsiteY25" fmla="*/ 4789 h 71107"/>
                      <a:gd name="connsiteX26" fmla="*/ 66579 w 71266"/>
                      <a:gd name="connsiteY26" fmla="*/ 14534 h 71107"/>
                      <a:gd name="connsiteX27" fmla="*/ 71267 w 71266"/>
                      <a:gd name="connsiteY27" fmla="*/ 25994 h 71107"/>
                      <a:gd name="connsiteX28" fmla="*/ 66484 w 71266"/>
                      <a:gd name="connsiteY28" fmla="*/ 37416 h 71107"/>
                      <a:gd name="connsiteX29" fmla="*/ 37243 w 71266"/>
                      <a:gd name="connsiteY29" fmla="*/ 66408 h 71107"/>
                      <a:gd name="connsiteX30" fmla="*/ 25840 w 71266"/>
                      <a:gd name="connsiteY30" fmla="*/ 71108 h 7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71266" h="71107">
                        <a:moveTo>
                          <a:pt x="25840" y="71108"/>
                        </a:moveTo>
                        <a:cubicBezTo>
                          <a:pt x="25821" y="71108"/>
                          <a:pt x="25796" y="71108"/>
                          <a:pt x="25770" y="71108"/>
                        </a:cubicBezTo>
                        <a:cubicBezTo>
                          <a:pt x="21446" y="71089"/>
                          <a:pt x="17397" y="69386"/>
                          <a:pt x="14348" y="66318"/>
                        </a:cubicBezTo>
                        <a:lnTo>
                          <a:pt x="4680" y="56574"/>
                        </a:lnTo>
                        <a:cubicBezTo>
                          <a:pt x="-122" y="51721"/>
                          <a:pt x="-1366" y="44329"/>
                          <a:pt x="1587" y="38175"/>
                        </a:cubicBezTo>
                        <a:cubicBezTo>
                          <a:pt x="3105" y="35005"/>
                          <a:pt x="6899" y="33647"/>
                          <a:pt x="10095" y="35184"/>
                        </a:cubicBezTo>
                        <a:cubicBezTo>
                          <a:pt x="13271" y="36702"/>
                          <a:pt x="14610" y="40516"/>
                          <a:pt x="13086" y="43692"/>
                        </a:cubicBezTo>
                        <a:cubicBezTo>
                          <a:pt x="12461" y="44993"/>
                          <a:pt x="12722" y="46561"/>
                          <a:pt x="13749" y="47594"/>
                        </a:cubicBezTo>
                        <a:lnTo>
                          <a:pt x="23411" y="57333"/>
                        </a:lnTo>
                        <a:cubicBezTo>
                          <a:pt x="24061" y="57983"/>
                          <a:pt x="24916" y="58340"/>
                          <a:pt x="25834" y="58347"/>
                        </a:cubicBezTo>
                        <a:cubicBezTo>
                          <a:pt x="25840" y="58347"/>
                          <a:pt x="25840" y="58347"/>
                          <a:pt x="25847" y="58347"/>
                        </a:cubicBezTo>
                        <a:cubicBezTo>
                          <a:pt x="26759" y="58347"/>
                          <a:pt x="27613" y="57990"/>
                          <a:pt x="28264" y="57352"/>
                        </a:cubicBezTo>
                        <a:lnTo>
                          <a:pt x="57504" y="28360"/>
                        </a:lnTo>
                        <a:cubicBezTo>
                          <a:pt x="58155" y="27716"/>
                          <a:pt x="58512" y="26861"/>
                          <a:pt x="58512" y="25943"/>
                        </a:cubicBezTo>
                        <a:cubicBezTo>
                          <a:pt x="58518" y="25025"/>
                          <a:pt x="58161" y="24164"/>
                          <a:pt x="57523" y="23513"/>
                        </a:cubicBezTo>
                        <a:lnTo>
                          <a:pt x="47855" y="13769"/>
                        </a:lnTo>
                        <a:cubicBezTo>
                          <a:pt x="47205" y="13112"/>
                          <a:pt x="46350" y="12755"/>
                          <a:pt x="45432" y="12755"/>
                        </a:cubicBezTo>
                        <a:cubicBezTo>
                          <a:pt x="45432" y="12755"/>
                          <a:pt x="45425" y="12755"/>
                          <a:pt x="45419" y="12755"/>
                        </a:cubicBezTo>
                        <a:cubicBezTo>
                          <a:pt x="44507" y="12755"/>
                          <a:pt x="43659" y="13106"/>
                          <a:pt x="43008" y="13743"/>
                        </a:cubicBezTo>
                        <a:lnTo>
                          <a:pt x="30917" y="25739"/>
                        </a:lnTo>
                        <a:cubicBezTo>
                          <a:pt x="28410" y="28214"/>
                          <a:pt x="24380" y="28207"/>
                          <a:pt x="21899" y="25701"/>
                        </a:cubicBezTo>
                        <a:cubicBezTo>
                          <a:pt x="19419" y="23201"/>
                          <a:pt x="19431" y="19164"/>
                          <a:pt x="21937" y="16683"/>
                        </a:cubicBezTo>
                        <a:lnTo>
                          <a:pt x="34029" y="4687"/>
                        </a:lnTo>
                        <a:cubicBezTo>
                          <a:pt x="37084" y="1658"/>
                          <a:pt x="41121" y="0"/>
                          <a:pt x="45419" y="0"/>
                        </a:cubicBezTo>
                        <a:cubicBezTo>
                          <a:pt x="45445" y="0"/>
                          <a:pt x="45464" y="0"/>
                          <a:pt x="45489" y="0"/>
                        </a:cubicBezTo>
                        <a:cubicBezTo>
                          <a:pt x="49820" y="19"/>
                          <a:pt x="53869" y="1722"/>
                          <a:pt x="56917" y="4789"/>
                        </a:cubicBezTo>
                        <a:lnTo>
                          <a:pt x="66579" y="14534"/>
                        </a:lnTo>
                        <a:cubicBezTo>
                          <a:pt x="69628" y="17595"/>
                          <a:pt x="71286" y="21670"/>
                          <a:pt x="71267" y="25994"/>
                        </a:cubicBezTo>
                        <a:cubicBezTo>
                          <a:pt x="71254" y="30318"/>
                          <a:pt x="69551" y="34368"/>
                          <a:pt x="66484" y="37416"/>
                        </a:cubicBezTo>
                        <a:lnTo>
                          <a:pt x="37243" y="66408"/>
                        </a:lnTo>
                        <a:cubicBezTo>
                          <a:pt x="34182" y="69443"/>
                          <a:pt x="30139" y="71108"/>
                          <a:pt x="25840" y="71108"/>
                        </a:cubicBezTo>
                        <a:close/>
                      </a:path>
                    </a:pathLst>
                  </a:custGeom>
                  <a:grpFill/>
                  <a:ln w="637" cap="flat">
                    <a:noFill/>
                    <a:prstDash val="solid"/>
                    <a:miter/>
                  </a:ln>
                </p:spPr>
                <p:txBody>
                  <a:bodyPr rtlCol="0" anchor="ctr"/>
                  <a:lstStyle/>
                  <a:p>
                    <a:endParaRPr lang="en-GB" dirty="0"/>
                  </a:p>
                </p:txBody>
              </p:sp>
              <p:sp>
                <p:nvSpPr>
                  <p:cNvPr id="872" name="Freeform: Shape 871">
                    <a:extLst>
                      <a:ext uri="{FF2B5EF4-FFF2-40B4-BE49-F238E27FC236}">
                        <a16:creationId xmlns:a16="http://schemas.microsoft.com/office/drawing/2014/main" id="{716D18D2-DB99-4E95-AD59-960FFD6D3159}"/>
                      </a:ext>
                    </a:extLst>
                  </p:cNvPr>
                  <p:cNvSpPr/>
                  <p:nvPr/>
                </p:nvSpPr>
                <p:spPr>
                  <a:xfrm>
                    <a:off x="7697111" y="3460960"/>
                    <a:ext cx="56790" cy="57995"/>
                  </a:xfrm>
                  <a:custGeom>
                    <a:avLst/>
                    <a:gdLst>
                      <a:gd name="connsiteX0" fmla="*/ 28660 w 56790"/>
                      <a:gd name="connsiteY0" fmla="*/ 57996 h 57995"/>
                      <a:gd name="connsiteX1" fmla="*/ 24131 w 56790"/>
                      <a:gd name="connsiteY1" fmla="*/ 56115 h 57995"/>
                      <a:gd name="connsiteX2" fmla="*/ 24163 w 56790"/>
                      <a:gd name="connsiteY2" fmla="*/ 47091 h 57995"/>
                      <a:gd name="connsiteX3" fmla="*/ 43021 w 56790"/>
                      <a:gd name="connsiteY3" fmla="*/ 28360 h 57995"/>
                      <a:gd name="connsiteX4" fmla="*/ 44035 w 56790"/>
                      <a:gd name="connsiteY4" fmla="*/ 25943 h 57995"/>
                      <a:gd name="connsiteX5" fmla="*/ 43047 w 56790"/>
                      <a:gd name="connsiteY5" fmla="*/ 23514 h 57995"/>
                      <a:gd name="connsiteX6" fmla="*/ 33379 w 56790"/>
                      <a:gd name="connsiteY6" fmla="*/ 13769 h 57995"/>
                      <a:gd name="connsiteX7" fmla="*/ 30955 w 56790"/>
                      <a:gd name="connsiteY7" fmla="*/ 12755 h 57995"/>
                      <a:gd name="connsiteX8" fmla="*/ 30943 w 56790"/>
                      <a:gd name="connsiteY8" fmla="*/ 12755 h 57995"/>
                      <a:gd name="connsiteX9" fmla="*/ 28532 w 56790"/>
                      <a:gd name="connsiteY9" fmla="*/ 13743 h 57995"/>
                      <a:gd name="connsiteX10" fmla="*/ 10930 w 56790"/>
                      <a:gd name="connsiteY10" fmla="*/ 31689 h 57995"/>
                      <a:gd name="connsiteX11" fmla="*/ 1913 w 56790"/>
                      <a:gd name="connsiteY11" fmla="*/ 31779 h 57995"/>
                      <a:gd name="connsiteX12" fmla="*/ 1823 w 56790"/>
                      <a:gd name="connsiteY12" fmla="*/ 22761 h 57995"/>
                      <a:gd name="connsiteX13" fmla="*/ 19489 w 56790"/>
                      <a:gd name="connsiteY13" fmla="*/ 4751 h 57995"/>
                      <a:gd name="connsiteX14" fmla="*/ 30943 w 56790"/>
                      <a:gd name="connsiteY14" fmla="*/ 0 h 57995"/>
                      <a:gd name="connsiteX15" fmla="*/ 31013 w 56790"/>
                      <a:gd name="connsiteY15" fmla="*/ 0 h 57995"/>
                      <a:gd name="connsiteX16" fmla="*/ 42441 w 56790"/>
                      <a:gd name="connsiteY16" fmla="*/ 4789 h 57995"/>
                      <a:gd name="connsiteX17" fmla="*/ 52103 w 56790"/>
                      <a:gd name="connsiteY17" fmla="*/ 14534 h 57995"/>
                      <a:gd name="connsiteX18" fmla="*/ 56790 w 56790"/>
                      <a:gd name="connsiteY18" fmla="*/ 25994 h 57995"/>
                      <a:gd name="connsiteX19" fmla="*/ 52007 w 56790"/>
                      <a:gd name="connsiteY19" fmla="*/ 37416 h 57995"/>
                      <a:gd name="connsiteX20" fmla="*/ 33155 w 56790"/>
                      <a:gd name="connsiteY20" fmla="*/ 56147 h 57995"/>
                      <a:gd name="connsiteX21" fmla="*/ 28660 w 56790"/>
                      <a:gd name="connsiteY21" fmla="*/ 57996 h 5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790" h="57995">
                        <a:moveTo>
                          <a:pt x="28660" y="57996"/>
                        </a:moveTo>
                        <a:cubicBezTo>
                          <a:pt x="27020" y="57996"/>
                          <a:pt x="25381" y="57365"/>
                          <a:pt x="24131" y="56115"/>
                        </a:cubicBezTo>
                        <a:cubicBezTo>
                          <a:pt x="21651" y="53608"/>
                          <a:pt x="21663" y="49578"/>
                          <a:pt x="24163" y="47091"/>
                        </a:cubicBezTo>
                        <a:lnTo>
                          <a:pt x="43021" y="28360"/>
                        </a:lnTo>
                        <a:cubicBezTo>
                          <a:pt x="43678" y="27716"/>
                          <a:pt x="44035" y="26862"/>
                          <a:pt x="44035" y="25943"/>
                        </a:cubicBezTo>
                        <a:cubicBezTo>
                          <a:pt x="44042" y="25025"/>
                          <a:pt x="43685" y="24164"/>
                          <a:pt x="43047" y="23514"/>
                        </a:cubicBezTo>
                        <a:lnTo>
                          <a:pt x="33379" y="13769"/>
                        </a:lnTo>
                        <a:cubicBezTo>
                          <a:pt x="32728" y="13112"/>
                          <a:pt x="31874" y="12755"/>
                          <a:pt x="30955" y="12755"/>
                        </a:cubicBezTo>
                        <a:cubicBezTo>
                          <a:pt x="30955" y="12755"/>
                          <a:pt x="30949" y="12755"/>
                          <a:pt x="30943" y="12755"/>
                        </a:cubicBezTo>
                        <a:cubicBezTo>
                          <a:pt x="30031" y="12755"/>
                          <a:pt x="29182" y="13106"/>
                          <a:pt x="28532" y="13743"/>
                        </a:cubicBezTo>
                        <a:lnTo>
                          <a:pt x="10930" y="31689"/>
                        </a:lnTo>
                        <a:cubicBezTo>
                          <a:pt x="8462" y="34202"/>
                          <a:pt x="4419" y="34247"/>
                          <a:pt x="1913" y="31779"/>
                        </a:cubicBezTo>
                        <a:cubicBezTo>
                          <a:pt x="-606" y="29310"/>
                          <a:pt x="-638" y="25274"/>
                          <a:pt x="1823" y="22761"/>
                        </a:cubicBezTo>
                        <a:lnTo>
                          <a:pt x="19489" y="4751"/>
                        </a:lnTo>
                        <a:cubicBezTo>
                          <a:pt x="22601" y="1665"/>
                          <a:pt x="26644" y="0"/>
                          <a:pt x="30943" y="0"/>
                        </a:cubicBezTo>
                        <a:cubicBezTo>
                          <a:pt x="30968" y="0"/>
                          <a:pt x="30987" y="0"/>
                          <a:pt x="31013" y="0"/>
                        </a:cubicBezTo>
                        <a:cubicBezTo>
                          <a:pt x="35343" y="19"/>
                          <a:pt x="39393" y="1722"/>
                          <a:pt x="42441" y="4789"/>
                        </a:cubicBezTo>
                        <a:lnTo>
                          <a:pt x="52103" y="14534"/>
                        </a:lnTo>
                        <a:cubicBezTo>
                          <a:pt x="55151" y="17595"/>
                          <a:pt x="56809" y="21670"/>
                          <a:pt x="56790" y="25994"/>
                        </a:cubicBezTo>
                        <a:cubicBezTo>
                          <a:pt x="56777" y="30318"/>
                          <a:pt x="55075" y="34368"/>
                          <a:pt x="52007" y="37416"/>
                        </a:cubicBezTo>
                        <a:lnTo>
                          <a:pt x="33155" y="56147"/>
                        </a:lnTo>
                        <a:cubicBezTo>
                          <a:pt x="31912" y="57384"/>
                          <a:pt x="30286" y="57996"/>
                          <a:pt x="28660" y="57996"/>
                        </a:cubicBezTo>
                        <a:close/>
                      </a:path>
                    </a:pathLst>
                  </a:custGeom>
                  <a:grpFill/>
                  <a:ln w="637" cap="flat">
                    <a:noFill/>
                    <a:prstDash val="solid"/>
                    <a:miter/>
                  </a:ln>
                </p:spPr>
                <p:txBody>
                  <a:bodyPr rtlCol="0" anchor="ctr"/>
                  <a:lstStyle/>
                  <a:p>
                    <a:endParaRPr lang="en-GB" dirty="0"/>
                  </a:p>
                </p:txBody>
              </p:sp>
              <p:sp>
                <p:nvSpPr>
                  <p:cNvPr id="873" name="Freeform: Shape 872">
                    <a:extLst>
                      <a:ext uri="{FF2B5EF4-FFF2-40B4-BE49-F238E27FC236}">
                        <a16:creationId xmlns:a16="http://schemas.microsoft.com/office/drawing/2014/main" id="{1B5C42D6-FACD-4112-8ECB-842B363978FD}"/>
                      </a:ext>
                    </a:extLst>
                  </p:cNvPr>
                  <p:cNvSpPr/>
                  <p:nvPr/>
                </p:nvSpPr>
                <p:spPr>
                  <a:xfrm>
                    <a:off x="7672626" y="3441446"/>
                    <a:ext cx="53629" cy="54105"/>
                  </a:xfrm>
                  <a:custGeom>
                    <a:avLst/>
                    <a:gdLst>
                      <a:gd name="connsiteX0" fmla="*/ 29638 w 53629"/>
                      <a:gd name="connsiteY0" fmla="*/ 54105 h 54105"/>
                      <a:gd name="connsiteX1" fmla="*/ 25148 w 53629"/>
                      <a:gd name="connsiteY1" fmla="*/ 52256 h 54105"/>
                      <a:gd name="connsiteX2" fmla="*/ 25110 w 53629"/>
                      <a:gd name="connsiteY2" fmla="*/ 43238 h 54105"/>
                      <a:gd name="connsiteX3" fmla="*/ 39829 w 53629"/>
                      <a:gd name="connsiteY3" fmla="*/ 28385 h 54105"/>
                      <a:gd name="connsiteX4" fmla="*/ 40881 w 53629"/>
                      <a:gd name="connsiteY4" fmla="*/ 25923 h 54105"/>
                      <a:gd name="connsiteX5" fmla="*/ 39892 w 53629"/>
                      <a:gd name="connsiteY5" fmla="*/ 23506 h 54105"/>
                      <a:gd name="connsiteX6" fmla="*/ 30224 w 53629"/>
                      <a:gd name="connsiteY6" fmla="*/ 13755 h 54105"/>
                      <a:gd name="connsiteX7" fmla="*/ 25371 w 53629"/>
                      <a:gd name="connsiteY7" fmla="*/ 13736 h 54105"/>
                      <a:gd name="connsiteX8" fmla="*/ 10894 w 53629"/>
                      <a:gd name="connsiteY8" fmla="*/ 28257 h 54105"/>
                      <a:gd name="connsiteX9" fmla="*/ 1877 w 53629"/>
                      <a:gd name="connsiteY9" fmla="*/ 28270 h 54105"/>
                      <a:gd name="connsiteX10" fmla="*/ 1864 w 53629"/>
                      <a:gd name="connsiteY10" fmla="*/ 19253 h 54105"/>
                      <a:gd name="connsiteX11" fmla="*/ 16360 w 53629"/>
                      <a:gd name="connsiteY11" fmla="*/ 4706 h 54105"/>
                      <a:gd name="connsiteX12" fmla="*/ 39267 w 53629"/>
                      <a:gd name="connsiteY12" fmla="*/ 4770 h 54105"/>
                      <a:gd name="connsiteX13" fmla="*/ 48935 w 53629"/>
                      <a:gd name="connsiteY13" fmla="*/ 14521 h 54105"/>
                      <a:gd name="connsiteX14" fmla="*/ 53629 w 53629"/>
                      <a:gd name="connsiteY14" fmla="*/ 25981 h 54105"/>
                      <a:gd name="connsiteX15" fmla="*/ 48840 w 53629"/>
                      <a:gd name="connsiteY15" fmla="*/ 37403 h 54105"/>
                      <a:gd name="connsiteX16" fmla="*/ 34159 w 53629"/>
                      <a:gd name="connsiteY16" fmla="*/ 52217 h 54105"/>
                      <a:gd name="connsiteX17" fmla="*/ 29638 w 53629"/>
                      <a:gd name="connsiteY17" fmla="*/ 54105 h 54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3629" h="54105">
                        <a:moveTo>
                          <a:pt x="29638" y="54105"/>
                        </a:moveTo>
                        <a:cubicBezTo>
                          <a:pt x="28011" y="54105"/>
                          <a:pt x="26391" y="53486"/>
                          <a:pt x="25148" y="52256"/>
                        </a:cubicBezTo>
                        <a:cubicBezTo>
                          <a:pt x="22648" y="49775"/>
                          <a:pt x="22629" y="45744"/>
                          <a:pt x="25110" y="43238"/>
                        </a:cubicBezTo>
                        <a:lnTo>
                          <a:pt x="39829" y="28385"/>
                        </a:lnTo>
                        <a:cubicBezTo>
                          <a:pt x="40511" y="27703"/>
                          <a:pt x="40874" y="26842"/>
                          <a:pt x="40881" y="25923"/>
                        </a:cubicBezTo>
                        <a:cubicBezTo>
                          <a:pt x="40881" y="25011"/>
                          <a:pt x="40530" y="24157"/>
                          <a:pt x="39892" y="23506"/>
                        </a:cubicBezTo>
                        <a:lnTo>
                          <a:pt x="30224" y="13755"/>
                        </a:lnTo>
                        <a:cubicBezTo>
                          <a:pt x="28885" y="12416"/>
                          <a:pt x="26710" y="12403"/>
                          <a:pt x="25371" y="13736"/>
                        </a:cubicBezTo>
                        <a:lnTo>
                          <a:pt x="10894" y="28257"/>
                        </a:lnTo>
                        <a:cubicBezTo>
                          <a:pt x="8407" y="30764"/>
                          <a:pt x="4377" y="30764"/>
                          <a:pt x="1877" y="28270"/>
                        </a:cubicBezTo>
                        <a:cubicBezTo>
                          <a:pt x="-617" y="25783"/>
                          <a:pt x="-630" y="21753"/>
                          <a:pt x="1864" y="19253"/>
                        </a:cubicBezTo>
                        <a:lnTo>
                          <a:pt x="16360" y="4706"/>
                        </a:lnTo>
                        <a:cubicBezTo>
                          <a:pt x="22712" y="-1601"/>
                          <a:pt x="32986" y="-1557"/>
                          <a:pt x="39267" y="4770"/>
                        </a:cubicBezTo>
                        <a:lnTo>
                          <a:pt x="48935" y="14521"/>
                        </a:lnTo>
                        <a:cubicBezTo>
                          <a:pt x="51984" y="17582"/>
                          <a:pt x="53648" y="21657"/>
                          <a:pt x="53629" y="25981"/>
                        </a:cubicBezTo>
                        <a:cubicBezTo>
                          <a:pt x="53610" y="30305"/>
                          <a:pt x="51907" y="34354"/>
                          <a:pt x="48840" y="37403"/>
                        </a:cubicBezTo>
                        <a:lnTo>
                          <a:pt x="34159" y="52217"/>
                        </a:lnTo>
                        <a:cubicBezTo>
                          <a:pt x="32915" y="53480"/>
                          <a:pt x="31283" y="54105"/>
                          <a:pt x="29638" y="54105"/>
                        </a:cubicBezTo>
                        <a:close/>
                      </a:path>
                    </a:pathLst>
                  </a:custGeom>
                  <a:grpFill/>
                  <a:ln w="637" cap="flat">
                    <a:noFill/>
                    <a:prstDash val="solid"/>
                    <a:miter/>
                  </a:ln>
                </p:spPr>
                <p:txBody>
                  <a:bodyPr rtlCol="0" anchor="ctr"/>
                  <a:lstStyle/>
                  <a:p>
                    <a:endParaRPr lang="en-GB" dirty="0"/>
                  </a:p>
                </p:txBody>
              </p:sp>
            </p:grpSp>
            <p:sp>
              <p:nvSpPr>
                <p:cNvPr id="865" name="Freeform: Shape 864">
                  <a:extLst>
                    <a:ext uri="{FF2B5EF4-FFF2-40B4-BE49-F238E27FC236}">
                      <a16:creationId xmlns:a16="http://schemas.microsoft.com/office/drawing/2014/main" id="{3E6DAB53-B501-4457-8F49-6008C4EED834}"/>
                    </a:ext>
                  </a:extLst>
                </p:cNvPr>
                <p:cNvSpPr/>
                <p:nvPr/>
              </p:nvSpPr>
              <p:spPr>
                <a:xfrm>
                  <a:off x="7670616" y="3498248"/>
                  <a:ext cx="22503" cy="80183"/>
                </a:xfrm>
                <a:custGeom>
                  <a:avLst/>
                  <a:gdLst>
                    <a:gd name="connsiteX0" fmla="*/ 9505 w 22503"/>
                    <a:gd name="connsiteY0" fmla="*/ 80183 h 80183"/>
                    <a:gd name="connsiteX1" fmla="*/ 5532 w 22503"/>
                    <a:gd name="connsiteY1" fmla="*/ 78787 h 80183"/>
                    <a:gd name="connsiteX2" fmla="*/ 4531 w 22503"/>
                    <a:gd name="connsiteY2" fmla="*/ 69826 h 80183"/>
                    <a:gd name="connsiteX3" fmla="*/ 513 w 22503"/>
                    <a:gd name="connsiteY3" fmla="*/ 8878 h 80183"/>
                    <a:gd name="connsiteX4" fmla="*/ 3881 w 22503"/>
                    <a:gd name="connsiteY4" fmla="*/ 511 h 80183"/>
                    <a:gd name="connsiteX5" fmla="*/ 12248 w 22503"/>
                    <a:gd name="connsiteY5" fmla="*/ 3878 h 80183"/>
                    <a:gd name="connsiteX6" fmla="*/ 14499 w 22503"/>
                    <a:gd name="connsiteY6" fmla="*/ 77779 h 80183"/>
                    <a:gd name="connsiteX7" fmla="*/ 9505 w 22503"/>
                    <a:gd name="connsiteY7" fmla="*/ 80183 h 80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03" h="80183">
                      <a:moveTo>
                        <a:pt x="9505" y="80183"/>
                      </a:moveTo>
                      <a:cubicBezTo>
                        <a:pt x="8109" y="80183"/>
                        <a:pt x="6712" y="79731"/>
                        <a:pt x="5532" y="78787"/>
                      </a:cubicBezTo>
                      <a:cubicBezTo>
                        <a:pt x="2777" y="76593"/>
                        <a:pt x="2331" y="72575"/>
                        <a:pt x="4531" y="69826"/>
                      </a:cubicBezTo>
                      <a:cubicBezTo>
                        <a:pt x="16272" y="55114"/>
                        <a:pt x="5609" y="20842"/>
                        <a:pt x="513" y="8878"/>
                      </a:cubicBezTo>
                      <a:cubicBezTo>
                        <a:pt x="-871" y="5638"/>
                        <a:pt x="641" y="1894"/>
                        <a:pt x="3881" y="511"/>
                      </a:cubicBezTo>
                      <a:cubicBezTo>
                        <a:pt x="7114" y="-867"/>
                        <a:pt x="10864" y="638"/>
                        <a:pt x="12248" y="3878"/>
                      </a:cubicBezTo>
                      <a:cubicBezTo>
                        <a:pt x="13121" y="5912"/>
                        <a:pt x="33344" y="54157"/>
                        <a:pt x="14499" y="77779"/>
                      </a:cubicBezTo>
                      <a:cubicBezTo>
                        <a:pt x="13236" y="79361"/>
                        <a:pt x="11380" y="80183"/>
                        <a:pt x="9505" y="80183"/>
                      </a:cubicBezTo>
                      <a:close/>
                    </a:path>
                  </a:pathLst>
                </a:custGeom>
                <a:grpFill/>
                <a:ln w="637" cap="flat">
                  <a:noFill/>
                  <a:prstDash val="solid"/>
                  <a:miter/>
                </a:ln>
              </p:spPr>
              <p:txBody>
                <a:bodyPr rtlCol="0" anchor="ctr"/>
                <a:lstStyle/>
                <a:p>
                  <a:endParaRPr lang="en-GB" dirty="0"/>
                </a:p>
              </p:txBody>
            </p:sp>
            <p:sp>
              <p:nvSpPr>
                <p:cNvPr id="866" name="Freeform: Shape 865">
                  <a:extLst>
                    <a:ext uri="{FF2B5EF4-FFF2-40B4-BE49-F238E27FC236}">
                      <a16:creationId xmlns:a16="http://schemas.microsoft.com/office/drawing/2014/main" id="{A7F058DF-DD0D-4F7E-9732-5ED43C0EDB17}"/>
                    </a:ext>
                  </a:extLst>
                </p:cNvPr>
                <p:cNvSpPr/>
                <p:nvPr/>
              </p:nvSpPr>
              <p:spPr>
                <a:xfrm>
                  <a:off x="7583132" y="3601527"/>
                  <a:ext cx="56291" cy="56469"/>
                </a:xfrm>
                <a:custGeom>
                  <a:avLst/>
                  <a:gdLst>
                    <a:gd name="connsiteX0" fmla="*/ 6380 w 56291"/>
                    <a:gd name="connsiteY0" fmla="*/ 56469 h 56469"/>
                    <a:gd name="connsiteX1" fmla="*/ 1877 w 56291"/>
                    <a:gd name="connsiteY1" fmla="*/ 54614 h 56469"/>
                    <a:gd name="connsiteX2" fmla="*/ 1858 w 56291"/>
                    <a:gd name="connsiteY2" fmla="*/ 45590 h 56469"/>
                    <a:gd name="connsiteX3" fmla="*/ 45390 w 56291"/>
                    <a:gd name="connsiteY3" fmla="*/ 1873 h 56469"/>
                    <a:gd name="connsiteX4" fmla="*/ 54415 w 56291"/>
                    <a:gd name="connsiteY4" fmla="*/ 1853 h 56469"/>
                    <a:gd name="connsiteX5" fmla="*/ 54434 w 56291"/>
                    <a:gd name="connsiteY5" fmla="*/ 10877 h 56469"/>
                    <a:gd name="connsiteX6" fmla="*/ 10901 w 56291"/>
                    <a:gd name="connsiteY6" fmla="*/ 54594 h 56469"/>
                    <a:gd name="connsiteX7" fmla="*/ 6380 w 56291"/>
                    <a:gd name="connsiteY7" fmla="*/ 56469 h 5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91" h="56469">
                      <a:moveTo>
                        <a:pt x="6380" y="56469"/>
                      </a:moveTo>
                      <a:cubicBezTo>
                        <a:pt x="4754" y="56469"/>
                        <a:pt x="3121" y="55851"/>
                        <a:pt x="1877" y="54614"/>
                      </a:cubicBezTo>
                      <a:cubicBezTo>
                        <a:pt x="-616" y="52127"/>
                        <a:pt x="-629" y="48090"/>
                        <a:pt x="1858" y="45590"/>
                      </a:cubicBezTo>
                      <a:lnTo>
                        <a:pt x="45390" y="1873"/>
                      </a:lnTo>
                      <a:cubicBezTo>
                        <a:pt x="47878" y="-608"/>
                        <a:pt x="51914" y="-634"/>
                        <a:pt x="54415" y="1853"/>
                      </a:cubicBezTo>
                      <a:cubicBezTo>
                        <a:pt x="56908" y="4341"/>
                        <a:pt x="56921" y="8378"/>
                        <a:pt x="54434" y="10877"/>
                      </a:cubicBezTo>
                      <a:lnTo>
                        <a:pt x="10901" y="54594"/>
                      </a:lnTo>
                      <a:cubicBezTo>
                        <a:pt x="9658" y="55838"/>
                        <a:pt x="8019" y="56469"/>
                        <a:pt x="6380" y="56469"/>
                      </a:cubicBezTo>
                      <a:close/>
                    </a:path>
                  </a:pathLst>
                </a:custGeom>
                <a:grpFill/>
                <a:ln w="637" cap="flat">
                  <a:noFill/>
                  <a:prstDash val="solid"/>
                  <a:miter/>
                </a:ln>
              </p:spPr>
              <p:txBody>
                <a:bodyPr rtlCol="0" anchor="ctr"/>
                <a:lstStyle/>
                <a:p>
                  <a:endParaRPr lang="en-GB" dirty="0"/>
                </a:p>
              </p:txBody>
            </p:sp>
            <p:sp>
              <p:nvSpPr>
                <p:cNvPr id="867" name="Freeform: Shape 866">
                  <a:extLst>
                    <a:ext uri="{FF2B5EF4-FFF2-40B4-BE49-F238E27FC236}">
                      <a16:creationId xmlns:a16="http://schemas.microsoft.com/office/drawing/2014/main" id="{AB4AF5FA-7392-40DA-8CFE-66F1F1671956}"/>
                    </a:ext>
                  </a:extLst>
                </p:cNvPr>
                <p:cNvSpPr/>
                <p:nvPr/>
              </p:nvSpPr>
              <p:spPr>
                <a:xfrm>
                  <a:off x="7611533" y="3633288"/>
                  <a:ext cx="30929" cy="31193"/>
                </a:xfrm>
                <a:custGeom>
                  <a:avLst/>
                  <a:gdLst>
                    <a:gd name="connsiteX0" fmla="*/ 6377 w 30929"/>
                    <a:gd name="connsiteY0" fmla="*/ 31194 h 31193"/>
                    <a:gd name="connsiteX1" fmla="*/ 1900 w 30929"/>
                    <a:gd name="connsiteY1" fmla="*/ 29357 h 31193"/>
                    <a:gd name="connsiteX2" fmla="*/ 1836 w 30929"/>
                    <a:gd name="connsiteY2" fmla="*/ 20339 h 31193"/>
                    <a:gd name="connsiteX3" fmla="*/ 20012 w 30929"/>
                    <a:gd name="connsiteY3" fmla="*/ 1902 h 31193"/>
                    <a:gd name="connsiteX4" fmla="*/ 29029 w 30929"/>
                    <a:gd name="connsiteY4" fmla="*/ 1838 h 31193"/>
                    <a:gd name="connsiteX5" fmla="*/ 29093 w 30929"/>
                    <a:gd name="connsiteY5" fmla="*/ 10856 h 31193"/>
                    <a:gd name="connsiteX6" fmla="*/ 10917 w 30929"/>
                    <a:gd name="connsiteY6" fmla="*/ 29293 h 31193"/>
                    <a:gd name="connsiteX7" fmla="*/ 6377 w 30929"/>
                    <a:gd name="connsiteY7" fmla="*/ 31194 h 31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929" h="31193">
                      <a:moveTo>
                        <a:pt x="6377" y="31194"/>
                      </a:moveTo>
                      <a:cubicBezTo>
                        <a:pt x="4757" y="31194"/>
                        <a:pt x="3143" y="30581"/>
                        <a:pt x="1900" y="29357"/>
                      </a:cubicBezTo>
                      <a:cubicBezTo>
                        <a:pt x="-613" y="26883"/>
                        <a:pt x="-632" y="22846"/>
                        <a:pt x="1836" y="20339"/>
                      </a:cubicBezTo>
                      <a:lnTo>
                        <a:pt x="20012" y="1902"/>
                      </a:lnTo>
                      <a:cubicBezTo>
                        <a:pt x="22486" y="-610"/>
                        <a:pt x="26523" y="-636"/>
                        <a:pt x="29029" y="1838"/>
                      </a:cubicBezTo>
                      <a:cubicBezTo>
                        <a:pt x="31542" y="4313"/>
                        <a:pt x="31561" y="8350"/>
                        <a:pt x="29093" y="10856"/>
                      </a:cubicBezTo>
                      <a:lnTo>
                        <a:pt x="10917" y="29293"/>
                      </a:lnTo>
                      <a:cubicBezTo>
                        <a:pt x="9674" y="30556"/>
                        <a:pt x="8022" y="31194"/>
                        <a:pt x="6377" y="31194"/>
                      </a:cubicBezTo>
                      <a:close/>
                    </a:path>
                  </a:pathLst>
                </a:custGeom>
                <a:grpFill/>
                <a:ln w="637" cap="flat">
                  <a:noFill/>
                  <a:prstDash val="solid"/>
                  <a:miter/>
                </a:ln>
              </p:spPr>
              <p:txBody>
                <a:bodyPr rtlCol="0" anchor="ctr"/>
                <a:lstStyle/>
                <a:p>
                  <a:endParaRPr lang="en-GB" dirty="0"/>
                </a:p>
              </p:txBody>
            </p:sp>
            <p:sp>
              <p:nvSpPr>
                <p:cNvPr id="868" name="Freeform: Shape 867">
                  <a:extLst>
                    <a:ext uri="{FF2B5EF4-FFF2-40B4-BE49-F238E27FC236}">
                      <a16:creationId xmlns:a16="http://schemas.microsoft.com/office/drawing/2014/main" id="{7D2F16EC-A056-4D80-BB68-33B3186409B5}"/>
                    </a:ext>
                  </a:extLst>
                </p:cNvPr>
                <p:cNvSpPr/>
                <p:nvPr/>
              </p:nvSpPr>
              <p:spPr>
                <a:xfrm>
                  <a:off x="7600339" y="3587888"/>
                  <a:ext cx="18484" cy="18489"/>
                </a:xfrm>
                <a:custGeom>
                  <a:avLst/>
                  <a:gdLst>
                    <a:gd name="connsiteX0" fmla="*/ 6379 w 18484"/>
                    <a:gd name="connsiteY0" fmla="*/ 18490 h 18489"/>
                    <a:gd name="connsiteX1" fmla="*/ 1870 w 18484"/>
                    <a:gd name="connsiteY1" fmla="*/ 16621 h 18489"/>
                    <a:gd name="connsiteX2" fmla="*/ 1870 w 18484"/>
                    <a:gd name="connsiteY2" fmla="*/ 7603 h 18489"/>
                    <a:gd name="connsiteX3" fmla="*/ 7597 w 18484"/>
                    <a:gd name="connsiteY3" fmla="*/ 1870 h 18489"/>
                    <a:gd name="connsiteX4" fmla="*/ 16615 w 18484"/>
                    <a:gd name="connsiteY4" fmla="*/ 1870 h 18489"/>
                    <a:gd name="connsiteX5" fmla="*/ 16615 w 18484"/>
                    <a:gd name="connsiteY5" fmla="*/ 10888 h 18489"/>
                    <a:gd name="connsiteX6" fmla="*/ 10888 w 18484"/>
                    <a:gd name="connsiteY6" fmla="*/ 16621 h 18489"/>
                    <a:gd name="connsiteX7" fmla="*/ 6379 w 18484"/>
                    <a:gd name="connsiteY7" fmla="*/ 18490 h 1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84" h="18489">
                      <a:moveTo>
                        <a:pt x="6379" y="18490"/>
                      </a:moveTo>
                      <a:cubicBezTo>
                        <a:pt x="4746" y="18490"/>
                        <a:pt x="3114" y="17865"/>
                        <a:pt x="1870" y="16621"/>
                      </a:cubicBezTo>
                      <a:cubicBezTo>
                        <a:pt x="-623" y="14134"/>
                        <a:pt x="-623" y="10097"/>
                        <a:pt x="1870" y="7603"/>
                      </a:cubicBezTo>
                      <a:lnTo>
                        <a:pt x="7597" y="1870"/>
                      </a:lnTo>
                      <a:cubicBezTo>
                        <a:pt x="10078" y="-623"/>
                        <a:pt x="14121" y="-623"/>
                        <a:pt x="16615" y="1870"/>
                      </a:cubicBezTo>
                      <a:cubicBezTo>
                        <a:pt x="19108" y="4357"/>
                        <a:pt x="19108" y="8394"/>
                        <a:pt x="16615" y="10888"/>
                      </a:cubicBezTo>
                      <a:lnTo>
                        <a:pt x="10888" y="16621"/>
                      </a:lnTo>
                      <a:cubicBezTo>
                        <a:pt x="9651" y="17871"/>
                        <a:pt x="8012" y="18490"/>
                        <a:pt x="6379" y="18490"/>
                      </a:cubicBezTo>
                      <a:close/>
                    </a:path>
                  </a:pathLst>
                </a:custGeom>
                <a:grpFill/>
                <a:ln w="637" cap="flat">
                  <a:noFill/>
                  <a:prstDash val="solid"/>
                  <a:miter/>
                </a:ln>
              </p:spPr>
              <p:txBody>
                <a:bodyPr rtlCol="0" anchor="ctr"/>
                <a:lstStyle/>
                <a:p>
                  <a:endParaRPr lang="en-GB" dirty="0"/>
                </a:p>
              </p:txBody>
            </p:sp>
            <p:sp>
              <p:nvSpPr>
                <p:cNvPr id="869" name="Freeform: Shape 868">
                  <a:extLst>
                    <a:ext uri="{FF2B5EF4-FFF2-40B4-BE49-F238E27FC236}">
                      <a16:creationId xmlns:a16="http://schemas.microsoft.com/office/drawing/2014/main" id="{606653A8-0A28-4523-9BF8-B1230F3442B2}"/>
                    </a:ext>
                  </a:extLst>
                </p:cNvPr>
                <p:cNvSpPr/>
                <p:nvPr/>
              </p:nvSpPr>
              <p:spPr>
                <a:xfrm>
                  <a:off x="7577399" y="3605094"/>
                  <a:ext cx="24230" cy="24222"/>
                </a:xfrm>
                <a:custGeom>
                  <a:avLst/>
                  <a:gdLst>
                    <a:gd name="connsiteX0" fmla="*/ 6379 w 24230"/>
                    <a:gd name="connsiteY0" fmla="*/ 24223 h 24222"/>
                    <a:gd name="connsiteX1" fmla="*/ 1870 w 24230"/>
                    <a:gd name="connsiteY1" fmla="*/ 22354 h 24222"/>
                    <a:gd name="connsiteX2" fmla="*/ 1870 w 24230"/>
                    <a:gd name="connsiteY2" fmla="*/ 13337 h 24222"/>
                    <a:gd name="connsiteX3" fmla="*/ 13343 w 24230"/>
                    <a:gd name="connsiteY3" fmla="*/ 1870 h 24222"/>
                    <a:gd name="connsiteX4" fmla="*/ 22361 w 24230"/>
                    <a:gd name="connsiteY4" fmla="*/ 1870 h 24222"/>
                    <a:gd name="connsiteX5" fmla="*/ 22361 w 24230"/>
                    <a:gd name="connsiteY5" fmla="*/ 10888 h 24222"/>
                    <a:gd name="connsiteX6" fmla="*/ 10888 w 24230"/>
                    <a:gd name="connsiteY6" fmla="*/ 22354 h 24222"/>
                    <a:gd name="connsiteX7" fmla="*/ 6379 w 24230"/>
                    <a:gd name="connsiteY7" fmla="*/ 24223 h 24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30" h="24222">
                      <a:moveTo>
                        <a:pt x="6379" y="24223"/>
                      </a:moveTo>
                      <a:cubicBezTo>
                        <a:pt x="4746" y="24223"/>
                        <a:pt x="3114" y="23598"/>
                        <a:pt x="1870" y="22354"/>
                      </a:cubicBezTo>
                      <a:cubicBezTo>
                        <a:pt x="-623" y="19861"/>
                        <a:pt x="-623" y="15830"/>
                        <a:pt x="1870" y="13337"/>
                      </a:cubicBezTo>
                      <a:lnTo>
                        <a:pt x="13343" y="1870"/>
                      </a:lnTo>
                      <a:cubicBezTo>
                        <a:pt x="15837" y="-623"/>
                        <a:pt x="19867" y="-623"/>
                        <a:pt x="22361" y="1870"/>
                      </a:cubicBezTo>
                      <a:cubicBezTo>
                        <a:pt x="24854" y="4364"/>
                        <a:pt x="24854" y="8394"/>
                        <a:pt x="22361" y="10888"/>
                      </a:cubicBezTo>
                      <a:lnTo>
                        <a:pt x="10888" y="22354"/>
                      </a:lnTo>
                      <a:cubicBezTo>
                        <a:pt x="9638" y="23598"/>
                        <a:pt x="8012" y="24223"/>
                        <a:pt x="6379" y="24223"/>
                      </a:cubicBezTo>
                      <a:close/>
                    </a:path>
                  </a:pathLst>
                </a:custGeom>
                <a:grpFill/>
                <a:ln w="637" cap="flat">
                  <a:noFill/>
                  <a:prstDash val="solid"/>
                  <a:miter/>
                </a:ln>
              </p:spPr>
              <p:txBody>
                <a:bodyPr rtlCol="0" anchor="ctr"/>
                <a:lstStyle/>
                <a:p>
                  <a:endParaRPr lang="en-GB" dirty="0"/>
                </a:p>
              </p:txBody>
            </p:sp>
          </p:grpSp>
        </p:grpSp>
      </p:grpSp>
      <p:grpSp>
        <p:nvGrpSpPr>
          <p:cNvPr id="27" name="Group 26">
            <a:extLst>
              <a:ext uri="{FF2B5EF4-FFF2-40B4-BE49-F238E27FC236}">
                <a16:creationId xmlns:a16="http://schemas.microsoft.com/office/drawing/2014/main" id="{B820A257-37F5-9CDB-BA77-09211669BA59}"/>
              </a:ext>
            </a:extLst>
          </p:cNvPr>
          <p:cNvGrpSpPr/>
          <p:nvPr/>
        </p:nvGrpSpPr>
        <p:grpSpPr>
          <a:xfrm>
            <a:off x="6046923" y="1627443"/>
            <a:ext cx="418956" cy="447246"/>
            <a:chOff x="6046511" y="1627443"/>
            <a:chExt cx="418956" cy="447246"/>
          </a:xfrm>
        </p:grpSpPr>
        <p:grpSp>
          <p:nvGrpSpPr>
            <p:cNvPr id="919" name="Graphic 32">
              <a:extLst>
                <a:ext uri="{FF2B5EF4-FFF2-40B4-BE49-F238E27FC236}">
                  <a16:creationId xmlns:a16="http://schemas.microsoft.com/office/drawing/2014/main" id="{DD3BC37E-4232-4307-B693-CCDDA878863E}"/>
                </a:ext>
              </a:extLst>
            </p:cNvPr>
            <p:cNvGrpSpPr/>
            <p:nvPr/>
          </p:nvGrpSpPr>
          <p:grpSpPr>
            <a:xfrm>
              <a:off x="6143958" y="1627443"/>
              <a:ext cx="223170" cy="223144"/>
              <a:chOff x="5958474" y="3217439"/>
              <a:chExt cx="223170" cy="223144"/>
            </a:xfrm>
            <a:solidFill>
              <a:schemeClr val="accent1"/>
            </a:solidFill>
          </p:grpSpPr>
          <p:grpSp>
            <p:nvGrpSpPr>
              <p:cNvPr id="931" name="Graphic 32">
                <a:extLst>
                  <a:ext uri="{FF2B5EF4-FFF2-40B4-BE49-F238E27FC236}">
                    <a16:creationId xmlns:a16="http://schemas.microsoft.com/office/drawing/2014/main" id="{8D085334-AA2D-45A2-93D2-447CA06B79FD}"/>
                  </a:ext>
                </a:extLst>
              </p:cNvPr>
              <p:cNvGrpSpPr/>
              <p:nvPr/>
            </p:nvGrpSpPr>
            <p:grpSpPr>
              <a:xfrm>
                <a:off x="5958474" y="3217439"/>
                <a:ext cx="223170" cy="223144"/>
                <a:chOff x="5958474" y="3217439"/>
                <a:chExt cx="223170" cy="223144"/>
              </a:xfrm>
              <a:solidFill>
                <a:schemeClr val="accent1"/>
              </a:solidFill>
            </p:grpSpPr>
            <p:sp>
              <p:nvSpPr>
                <p:cNvPr id="935" name="Freeform: Shape 934">
                  <a:extLst>
                    <a:ext uri="{FF2B5EF4-FFF2-40B4-BE49-F238E27FC236}">
                      <a16:creationId xmlns:a16="http://schemas.microsoft.com/office/drawing/2014/main" id="{81C54D85-A924-4444-B778-C917AD0F4E7F}"/>
                    </a:ext>
                  </a:extLst>
                </p:cNvPr>
                <p:cNvSpPr/>
                <p:nvPr/>
              </p:nvSpPr>
              <p:spPr>
                <a:xfrm>
                  <a:off x="6001298" y="3260130"/>
                  <a:ext cx="137522" cy="137522"/>
                </a:xfrm>
                <a:custGeom>
                  <a:avLst/>
                  <a:gdLst>
                    <a:gd name="connsiteX0" fmla="*/ 68761 w 137522"/>
                    <a:gd name="connsiteY0" fmla="*/ 137522 h 137522"/>
                    <a:gd name="connsiteX1" fmla="*/ 0 w 137522"/>
                    <a:gd name="connsiteY1" fmla="*/ 68761 h 137522"/>
                    <a:gd name="connsiteX2" fmla="*/ 68761 w 137522"/>
                    <a:gd name="connsiteY2" fmla="*/ 0 h 137522"/>
                    <a:gd name="connsiteX3" fmla="*/ 137522 w 137522"/>
                    <a:gd name="connsiteY3" fmla="*/ 68761 h 137522"/>
                    <a:gd name="connsiteX4" fmla="*/ 68761 w 137522"/>
                    <a:gd name="connsiteY4" fmla="*/ 137522 h 137522"/>
                    <a:gd name="connsiteX5" fmla="*/ 68761 w 137522"/>
                    <a:gd name="connsiteY5" fmla="*/ 12748 h 137522"/>
                    <a:gd name="connsiteX6" fmla="*/ 12755 w 137522"/>
                    <a:gd name="connsiteY6" fmla="*/ 68755 h 137522"/>
                    <a:gd name="connsiteX7" fmla="*/ 68761 w 137522"/>
                    <a:gd name="connsiteY7" fmla="*/ 124761 h 137522"/>
                    <a:gd name="connsiteX8" fmla="*/ 124767 w 137522"/>
                    <a:gd name="connsiteY8" fmla="*/ 68755 h 137522"/>
                    <a:gd name="connsiteX9" fmla="*/ 68761 w 137522"/>
                    <a:gd name="connsiteY9" fmla="*/ 12748 h 13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522" h="137522">
                      <a:moveTo>
                        <a:pt x="68761" y="137522"/>
                      </a:moveTo>
                      <a:cubicBezTo>
                        <a:pt x="30847" y="137522"/>
                        <a:pt x="0" y="106675"/>
                        <a:pt x="0" y="68761"/>
                      </a:cubicBezTo>
                      <a:cubicBezTo>
                        <a:pt x="0" y="30847"/>
                        <a:pt x="30847" y="0"/>
                        <a:pt x="68761" y="0"/>
                      </a:cubicBezTo>
                      <a:cubicBezTo>
                        <a:pt x="106675" y="0"/>
                        <a:pt x="137522" y="30847"/>
                        <a:pt x="137522" y="68761"/>
                      </a:cubicBezTo>
                      <a:cubicBezTo>
                        <a:pt x="137522" y="106675"/>
                        <a:pt x="106675" y="137522"/>
                        <a:pt x="68761" y="137522"/>
                      </a:cubicBezTo>
                      <a:close/>
                      <a:moveTo>
                        <a:pt x="68761" y="12748"/>
                      </a:moveTo>
                      <a:cubicBezTo>
                        <a:pt x="37875" y="12748"/>
                        <a:pt x="12755" y="37869"/>
                        <a:pt x="12755" y="68755"/>
                      </a:cubicBezTo>
                      <a:cubicBezTo>
                        <a:pt x="12755" y="99640"/>
                        <a:pt x="37875" y="124761"/>
                        <a:pt x="68761" y="124761"/>
                      </a:cubicBezTo>
                      <a:cubicBezTo>
                        <a:pt x="99647" y="124761"/>
                        <a:pt x="124767" y="99640"/>
                        <a:pt x="124767" y="68755"/>
                      </a:cubicBezTo>
                      <a:cubicBezTo>
                        <a:pt x="124767" y="37869"/>
                        <a:pt x="99647" y="12748"/>
                        <a:pt x="68761" y="12748"/>
                      </a:cubicBezTo>
                      <a:close/>
                    </a:path>
                  </a:pathLst>
                </a:custGeom>
                <a:solidFill>
                  <a:schemeClr val="accent1"/>
                </a:solidFill>
                <a:ln w="637" cap="flat">
                  <a:noFill/>
                  <a:prstDash val="solid"/>
                  <a:miter/>
                </a:ln>
              </p:spPr>
              <p:txBody>
                <a:bodyPr rtlCol="0" anchor="ctr"/>
                <a:lstStyle/>
                <a:p>
                  <a:endParaRPr lang="en-GB" dirty="0"/>
                </a:p>
              </p:txBody>
            </p:sp>
            <p:grpSp>
              <p:nvGrpSpPr>
                <p:cNvPr id="936" name="Graphic 32">
                  <a:extLst>
                    <a:ext uri="{FF2B5EF4-FFF2-40B4-BE49-F238E27FC236}">
                      <a16:creationId xmlns:a16="http://schemas.microsoft.com/office/drawing/2014/main" id="{E852272D-D301-4E15-A5DC-155D491224D7}"/>
                    </a:ext>
                  </a:extLst>
                </p:cNvPr>
                <p:cNvGrpSpPr/>
                <p:nvPr/>
              </p:nvGrpSpPr>
              <p:grpSpPr>
                <a:xfrm>
                  <a:off x="5958474" y="3308432"/>
                  <a:ext cx="55438" cy="40643"/>
                  <a:chOff x="5958474" y="3308432"/>
                  <a:chExt cx="55438" cy="40643"/>
                </a:xfrm>
                <a:solidFill>
                  <a:schemeClr val="accent1"/>
                </a:solidFill>
              </p:grpSpPr>
              <p:sp>
                <p:nvSpPr>
                  <p:cNvPr id="968" name="Freeform: Shape 967">
                    <a:extLst>
                      <a:ext uri="{FF2B5EF4-FFF2-40B4-BE49-F238E27FC236}">
                        <a16:creationId xmlns:a16="http://schemas.microsoft.com/office/drawing/2014/main" id="{F4A7EC41-137E-47E1-BBD2-2A0CD306A209}"/>
                      </a:ext>
                    </a:extLst>
                  </p:cNvPr>
                  <p:cNvSpPr/>
                  <p:nvPr/>
                </p:nvSpPr>
                <p:spPr>
                  <a:xfrm>
                    <a:off x="5958474" y="3308432"/>
                    <a:ext cx="35738" cy="40643"/>
                  </a:xfrm>
                  <a:custGeom>
                    <a:avLst/>
                    <a:gdLst>
                      <a:gd name="connsiteX0" fmla="*/ 15478 w 35738"/>
                      <a:gd name="connsiteY0" fmla="*/ 40643 h 40643"/>
                      <a:gd name="connsiteX1" fmla="*/ 0 w 35738"/>
                      <a:gd name="connsiteY1" fmla="*/ 20382 h 40643"/>
                      <a:gd name="connsiteX2" fmla="*/ 15000 w 35738"/>
                      <a:gd name="connsiteY2" fmla="*/ 0 h 40643"/>
                      <a:gd name="connsiteX3" fmla="*/ 35739 w 35738"/>
                      <a:gd name="connsiteY3" fmla="*/ 20382 h 40643"/>
                      <a:gd name="connsiteX4" fmla="*/ 15478 w 35738"/>
                      <a:gd name="connsiteY4" fmla="*/ 40643 h 40643"/>
                      <a:gd name="connsiteX5" fmla="*/ 15000 w 35738"/>
                      <a:gd name="connsiteY5" fmla="*/ 12755 h 40643"/>
                      <a:gd name="connsiteX6" fmla="*/ 12755 w 35738"/>
                      <a:gd name="connsiteY6" fmla="*/ 20382 h 40643"/>
                      <a:gd name="connsiteX7" fmla="*/ 15478 w 35738"/>
                      <a:gd name="connsiteY7" fmla="*/ 27888 h 40643"/>
                      <a:gd name="connsiteX8" fmla="*/ 22984 w 35738"/>
                      <a:gd name="connsiteY8" fmla="*/ 20382 h 40643"/>
                      <a:gd name="connsiteX9" fmla="*/ 15000 w 35738"/>
                      <a:gd name="connsiteY9" fmla="*/ 12755 h 40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738" h="40643">
                        <a:moveTo>
                          <a:pt x="15478" y="40643"/>
                        </a:moveTo>
                        <a:cubicBezTo>
                          <a:pt x="6365" y="40643"/>
                          <a:pt x="0" y="32308"/>
                          <a:pt x="0" y="20382"/>
                        </a:cubicBezTo>
                        <a:cubicBezTo>
                          <a:pt x="0" y="8004"/>
                          <a:pt x="5886" y="0"/>
                          <a:pt x="15000" y="0"/>
                        </a:cubicBezTo>
                        <a:cubicBezTo>
                          <a:pt x="25082" y="0"/>
                          <a:pt x="35739" y="10478"/>
                          <a:pt x="35739" y="20382"/>
                        </a:cubicBezTo>
                        <a:cubicBezTo>
                          <a:pt x="35739" y="30414"/>
                          <a:pt x="25516" y="40643"/>
                          <a:pt x="15478" y="40643"/>
                        </a:cubicBezTo>
                        <a:close/>
                        <a:moveTo>
                          <a:pt x="15000" y="12755"/>
                        </a:moveTo>
                        <a:cubicBezTo>
                          <a:pt x="14081" y="12755"/>
                          <a:pt x="12755" y="15727"/>
                          <a:pt x="12755" y="20382"/>
                        </a:cubicBezTo>
                        <a:cubicBezTo>
                          <a:pt x="12755" y="24234"/>
                          <a:pt x="14081" y="27888"/>
                          <a:pt x="15478" y="27888"/>
                        </a:cubicBezTo>
                        <a:cubicBezTo>
                          <a:pt x="18265" y="27888"/>
                          <a:pt x="22984" y="23622"/>
                          <a:pt x="22984" y="20382"/>
                        </a:cubicBezTo>
                        <a:cubicBezTo>
                          <a:pt x="22984" y="17238"/>
                          <a:pt x="17818" y="12755"/>
                          <a:pt x="15000" y="12755"/>
                        </a:cubicBezTo>
                        <a:close/>
                      </a:path>
                    </a:pathLst>
                  </a:custGeom>
                  <a:solidFill>
                    <a:schemeClr val="accent1"/>
                  </a:solidFill>
                  <a:ln w="637" cap="flat">
                    <a:noFill/>
                    <a:prstDash val="solid"/>
                    <a:miter/>
                  </a:ln>
                </p:spPr>
                <p:txBody>
                  <a:bodyPr rtlCol="0" anchor="ctr"/>
                  <a:lstStyle/>
                  <a:p>
                    <a:endParaRPr lang="en-GB" dirty="0"/>
                  </a:p>
                </p:txBody>
              </p:sp>
              <p:sp>
                <p:nvSpPr>
                  <p:cNvPr id="969" name="Freeform: Shape 968">
                    <a:extLst>
                      <a:ext uri="{FF2B5EF4-FFF2-40B4-BE49-F238E27FC236}">
                        <a16:creationId xmlns:a16="http://schemas.microsoft.com/office/drawing/2014/main" id="{F6AB3F40-BEFC-48C6-832A-B130C6FC9922}"/>
                      </a:ext>
                    </a:extLst>
                  </p:cNvPr>
                  <p:cNvSpPr/>
                  <p:nvPr/>
                </p:nvSpPr>
                <p:spPr>
                  <a:xfrm>
                    <a:off x="5981458" y="3322443"/>
                    <a:ext cx="32454" cy="12754"/>
                  </a:xfrm>
                  <a:custGeom>
                    <a:avLst/>
                    <a:gdLst>
                      <a:gd name="connsiteX0" fmla="*/ 26077 w 32454"/>
                      <a:gd name="connsiteY0" fmla="*/ 12755 h 12754"/>
                      <a:gd name="connsiteX1" fmla="*/ 6377 w 32454"/>
                      <a:gd name="connsiteY1" fmla="*/ 12755 h 12754"/>
                      <a:gd name="connsiteX2" fmla="*/ 0 w 32454"/>
                      <a:gd name="connsiteY2" fmla="*/ 6377 h 12754"/>
                      <a:gd name="connsiteX3" fmla="*/ 6377 w 32454"/>
                      <a:gd name="connsiteY3" fmla="*/ 0 h 12754"/>
                      <a:gd name="connsiteX4" fmla="*/ 26077 w 32454"/>
                      <a:gd name="connsiteY4" fmla="*/ 0 h 12754"/>
                      <a:gd name="connsiteX5" fmla="*/ 32454 w 32454"/>
                      <a:gd name="connsiteY5" fmla="*/ 6377 h 12754"/>
                      <a:gd name="connsiteX6" fmla="*/ 26077 w 32454"/>
                      <a:gd name="connsiteY6" fmla="*/ 12755 h 1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54" h="12754">
                        <a:moveTo>
                          <a:pt x="26077" y="12755"/>
                        </a:moveTo>
                        <a:lnTo>
                          <a:pt x="6377" y="12755"/>
                        </a:lnTo>
                        <a:cubicBezTo>
                          <a:pt x="2857" y="12755"/>
                          <a:pt x="0" y="9904"/>
                          <a:pt x="0" y="6377"/>
                        </a:cubicBezTo>
                        <a:cubicBezTo>
                          <a:pt x="0" y="2851"/>
                          <a:pt x="2857" y="0"/>
                          <a:pt x="6377" y="0"/>
                        </a:cubicBezTo>
                        <a:lnTo>
                          <a:pt x="26077" y="0"/>
                        </a:lnTo>
                        <a:cubicBezTo>
                          <a:pt x="29597" y="0"/>
                          <a:pt x="32454" y="2851"/>
                          <a:pt x="32454" y="6377"/>
                        </a:cubicBezTo>
                        <a:cubicBezTo>
                          <a:pt x="32454" y="9904"/>
                          <a:pt x="29597" y="12755"/>
                          <a:pt x="26077" y="12755"/>
                        </a:cubicBezTo>
                        <a:close/>
                      </a:path>
                    </a:pathLst>
                  </a:custGeom>
                  <a:solidFill>
                    <a:schemeClr val="accent1"/>
                  </a:solidFill>
                  <a:ln w="637" cap="flat">
                    <a:noFill/>
                    <a:prstDash val="solid"/>
                    <a:miter/>
                  </a:ln>
                </p:spPr>
                <p:txBody>
                  <a:bodyPr rtlCol="0" anchor="ctr"/>
                  <a:lstStyle/>
                  <a:p>
                    <a:endParaRPr lang="en-GB" dirty="0"/>
                  </a:p>
                </p:txBody>
              </p:sp>
            </p:grpSp>
            <p:grpSp>
              <p:nvGrpSpPr>
                <p:cNvPr id="937" name="Graphic 32">
                  <a:extLst>
                    <a:ext uri="{FF2B5EF4-FFF2-40B4-BE49-F238E27FC236}">
                      <a16:creationId xmlns:a16="http://schemas.microsoft.com/office/drawing/2014/main" id="{55DEF85A-A4A3-4B31-AE94-52855DCEAC5B}"/>
                    </a:ext>
                  </a:extLst>
                </p:cNvPr>
                <p:cNvGrpSpPr/>
                <p:nvPr/>
              </p:nvGrpSpPr>
              <p:grpSpPr>
                <a:xfrm>
                  <a:off x="6126199" y="3308368"/>
                  <a:ext cx="55445" cy="40649"/>
                  <a:chOff x="6126199" y="3308368"/>
                  <a:chExt cx="55445" cy="40649"/>
                </a:xfrm>
                <a:solidFill>
                  <a:schemeClr val="accent1"/>
                </a:solidFill>
              </p:grpSpPr>
              <p:sp>
                <p:nvSpPr>
                  <p:cNvPr id="966" name="Freeform: Shape 965">
                    <a:extLst>
                      <a:ext uri="{FF2B5EF4-FFF2-40B4-BE49-F238E27FC236}">
                        <a16:creationId xmlns:a16="http://schemas.microsoft.com/office/drawing/2014/main" id="{84CBE074-5200-4F97-822C-A56659C8E838}"/>
                      </a:ext>
                    </a:extLst>
                  </p:cNvPr>
                  <p:cNvSpPr/>
                  <p:nvPr/>
                </p:nvSpPr>
                <p:spPr>
                  <a:xfrm>
                    <a:off x="6145905" y="3308368"/>
                    <a:ext cx="35739" cy="40649"/>
                  </a:xfrm>
                  <a:custGeom>
                    <a:avLst/>
                    <a:gdLst>
                      <a:gd name="connsiteX0" fmla="*/ 20287 w 35739"/>
                      <a:gd name="connsiteY0" fmla="*/ 40649 h 40649"/>
                      <a:gd name="connsiteX1" fmla="*/ 6537 w 35739"/>
                      <a:gd name="connsiteY1" fmla="*/ 34476 h 40649"/>
                      <a:gd name="connsiteX2" fmla="*/ 0 w 35739"/>
                      <a:gd name="connsiteY2" fmla="*/ 20484 h 40649"/>
                      <a:gd name="connsiteX3" fmla="*/ 6716 w 35739"/>
                      <a:gd name="connsiteY3" fmla="*/ 6295 h 40649"/>
                      <a:gd name="connsiteX4" fmla="*/ 20644 w 35739"/>
                      <a:gd name="connsiteY4" fmla="*/ 0 h 40649"/>
                      <a:gd name="connsiteX5" fmla="*/ 20714 w 35739"/>
                      <a:gd name="connsiteY5" fmla="*/ 0 h 40649"/>
                      <a:gd name="connsiteX6" fmla="*/ 33048 w 35739"/>
                      <a:gd name="connsiteY6" fmla="*/ 7883 h 40649"/>
                      <a:gd name="connsiteX7" fmla="*/ 35739 w 35739"/>
                      <a:gd name="connsiteY7" fmla="*/ 20306 h 40649"/>
                      <a:gd name="connsiteX8" fmla="*/ 32812 w 35739"/>
                      <a:gd name="connsiteY8" fmla="*/ 32927 h 40649"/>
                      <a:gd name="connsiteX9" fmla="*/ 20363 w 35739"/>
                      <a:gd name="connsiteY9" fmla="*/ 40649 h 40649"/>
                      <a:gd name="connsiteX10" fmla="*/ 20287 w 35739"/>
                      <a:gd name="connsiteY10" fmla="*/ 40649 h 40649"/>
                      <a:gd name="connsiteX11" fmla="*/ 20727 w 35739"/>
                      <a:gd name="connsiteY11" fmla="*/ 12755 h 40649"/>
                      <a:gd name="connsiteX12" fmla="*/ 15542 w 35739"/>
                      <a:gd name="connsiteY12" fmla="*/ 15503 h 40649"/>
                      <a:gd name="connsiteX13" fmla="*/ 12749 w 35739"/>
                      <a:gd name="connsiteY13" fmla="*/ 20420 h 40649"/>
                      <a:gd name="connsiteX14" fmla="*/ 15421 w 35739"/>
                      <a:gd name="connsiteY14" fmla="*/ 25331 h 40649"/>
                      <a:gd name="connsiteX15" fmla="*/ 20280 w 35739"/>
                      <a:gd name="connsiteY15" fmla="*/ 27895 h 40649"/>
                      <a:gd name="connsiteX16" fmla="*/ 21658 w 35739"/>
                      <a:gd name="connsiteY16" fmla="*/ 26715 h 40649"/>
                      <a:gd name="connsiteX17" fmla="*/ 22978 w 35739"/>
                      <a:gd name="connsiteY17" fmla="*/ 20370 h 40649"/>
                      <a:gd name="connsiteX18" fmla="*/ 21722 w 35739"/>
                      <a:gd name="connsiteY18" fmla="*/ 13750 h 40649"/>
                      <a:gd name="connsiteX19" fmla="*/ 20727 w 35739"/>
                      <a:gd name="connsiteY19" fmla="*/ 12755 h 4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739" h="40649">
                        <a:moveTo>
                          <a:pt x="20287" y="40649"/>
                        </a:moveTo>
                        <a:cubicBezTo>
                          <a:pt x="15587" y="40649"/>
                          <a:pt x="10580" y="38398"/>
                          <a:pt x="6537" y="34476"/>
                        </a:cubicBezTo>
                        <a:cubicBezTo>
                          <a:pt x="2404" y="30458"/>
                          <a:pt x="19" y="25357"/>
                          <a:pt x="0" y="20484"/>
                        </a:cubicBezTo>
                        <a:cubicBezTo>
                          <a:pt x="-25" y="15586"/>
                          <a:pt x="2424" y="10414"/>
                          <a:pt x="6716" y="6295"/>
                        </a:cubicBezTo>
                        <a:cubicBezTo>
                          <a:pt x="10861" y="2315"/>
                          <a:pt x="15937" y="26"/>
                          <a:pt x="20644" y="0"/>
                        </a:cubicBezTo>
                        <a:cubicBezTo>
                          <a:pt x="20663" y="0"/>
                          <a:pt x="20688" y="0"/>
                          <a:pt x="20714" y="0"/>
                        </a:cubicBezTo>
                        <a:cubicBezTo>
                          <a:pt x="25956" y="0"/>
                          <a:pt x="30446" y="2870"/>
                          <a:pt x="33048" y="7883"/>
                        </a:cubicBezTo>
                        <a:cubicBezTo>
                          <a:pt x="35242" y="12117"/>
                          <a:pt x="35720" y="16977"/>
                          <a:pt x="35739" y="20306"/>
                        </a:cubicBezTo>
                        <a:cubicBezTo>
                          <a:pt x="35765" y="25006"/>
                          <a:pt x="34725" y="29489"/>
                          <a:pt x="32812" y="32927"/>
                        </a:cubicBezTo>
                        <a:cubicBezTo>
                          <a:pt x="30095" y="37812"/>
                          <a:pt x="25554" y="40624"/>
                          <a:pt x="20363" y="40649"/>
                        </a:cubicBezTo>
                        <a:cubicBezTo>
                          <a:pt x="20331" y="40649"/>
                          <a:pt x="20306" y="40649"/>
                          <a:pt x="20287" y="40649"/>
                        </a:cubicBezTo>
                        <a:close/>
                        <a:moveTo>
                          <a:pt x="20727" y="12755"/>
                        </a:moveTo>
                        <a:cubicBezTo>
                          <a:pt x="19585" y="12787"/>
                          <a:pt x="17525" y="13609"/>
                          <a:pt x="15542" y="15503"/>
                        </a:cubicBezTo>
                        <a:cubicBezTo>
                          <a:pt x="13603" y="17359"/>
                          <a:pt x="12742" y="19317"/>
                          <a:pt x="12749" y="20420"/>
                        </a:cubicBezTo>
                        <a:cubicBezTo>
                          <a:pt x="12755" y="21830"/>
                          <a:pt x="13807" y="23756"/>
                          <a:pt x="15421" y="25331"/>
                        </a:cubicBezTo>
                        <a:cubicBezTo>
                          <a:pt x="17238" y="27091"/>
                          <a:pt x="19209" y="27895"/>
                          <a:pt x="20280" y="27895"/>
                        </a:cubicBezTo>
                        <a:cubicBezTo>
                          <a:pt x="20548" y="27742"/>
                          <a:pt x="21001" y="27901"/>
                          <a:pt x="21658" y="26715"/>
                        </a:cubicBezTo>
                        <a:cubicBezTo>
                          <a:pt x="22493" y="25216"/>
                          <a:pt x="22984" y="22844"/>
                          <a:pt x="22978" y="20370"/>
                        </a:cubicBezTo>
                        <a:cubicBezTo>
                          <a:pt x="22965" y="17684"/>
                          <a:pt x="22506" y="15268"/>
                          <a:pt x="21722" y="13750"/>
                        </a:cubicBezTo>
                        <a:cubicBezTo>
                          <a:pt x="21218" y="12787"/>
                          <a:pt x="20956" y="12755"/>
                          <a:pt x="20727" y="12755"/>
                        </a:cubicBezTo>
                        <a:close/>
                      </a:path>
                    </a:pathLst>
                  </a:custGeom>
                  <a:solidFill>
                    <a:schemeClr val="accent1"/>
                  </a:solidFill>
                  <a:ln w="637" cap="flat">
                    <a:noFill/>
                    <a:prstDash val="solid"/>
                    <a:miter/>
                  </a:ln>
                </p:spPr>
                <p:txBody>
                  <a:bodyPr rtlCol="0" anchor="ctr"/>
                  <a:lstStyle/>
                  <a:p>
                    <a:endParaRPr lang="en-GB" dirty="0"/>
                  </a:p>
                </p:txBody>
              </p:sp>
              <p:sp>
                <p:nvSpPr>
                  <p:cNvPr id="967" name="Freeform: Shape 966">
                    <a:extLst>
                      <a:ext uri="{FF2B5EF4-FFF2-40B4-BE49-F238E27FC236}">
                        <a16:creationId xmlns:a16="http://schemas.microsoft.com/office/drawing/2014/main" id="{6ED64651-06AA-4F41-8771-66D5B6F2FADE}"/>
                      </a:ext>
                    </a:extLst>
                  </p:cNvPr>
                  <p:cNvSpPr/>
                  <p:nvPr/>
                </p:nvSpPr>
                <p:spPr>
                  <a:xfrm>
                    <a:off x="6126199" y="3322450"/>
                    <a:ext cx="32454" cy="12850"/>
                  </a:xfrm>
                  <a:custGeom>
                    <a:avLst/>
                    <a:gdLst>
                      <a:gd name="connsiteX0" fmla="*/ 6377 w 32454"/>
                      <a:gd name="connsiteY0" fmla="*/ 12850 h 12850"/>
                      <a:gd name="connsiteX1" fmla="*/ 0 w 32454"/>
                      <a:gd name="connsiteY1" fmla="*/ 6505 h 12850"/>
                      <a:gd name="connsiteX2" fmla="*/ 6346 w 32454"/>
                      <a:gd name="connsiteY2" fmla="*/ 96 h 12850"/>
                      <a:gd name="connsiteX3" fmla="*/ 26045 w 32454"/>
                      <a:gd name="connsiteY3" fmla="*/ 0 h 12850"/>
                      <a:gd name="connsiteX4" fmla="*/ 26077 w 32454"/>
                      <a:gd name="connsiteY4" fmla="*/ 0 h 12850"/>
                      <a:gd name="connsiteX5" fmla="*/ 32455 w 32454"/>
                      <a:gd name="connsiteY5" fmla="*/ 6345 h 12850"/>
                      <a:gd name="connsiteX6" fmla="*/ 26109 w 32454"/>
                      <a:gd name="connsiteY6" fmla="*/ 12755 h 12850"/>
                      <a:gd name="connsiteX7" fmla="*/ 6409 w 32454"/>
                      <a:gd name="connsiteY7" fmla="*/ 12850 h 12850"/>
                      <a:gd name="connsiteX8" fmla="*/ 6377 w 32454"/>
                      <a:gd name="connsiteY8" fmla="*/ 12850 h 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54" h="12850">
                        <a:moveTo>
                          <a:pt x="6377" y="12850"/>
                        </a:moveTo>
                        <a:cubicBezTo>
                          <a:pt x="2870" y="12850"/>
                          <a:pt x="13" y="10019"/>
                          <a:pt x="0" y="6505"/>
                        </a:cubicBezTo>
                        <a:cubicBezTo>
                          <a:pt x="-13" y="2978"/>
                          <a:pt x="2825" y="115"/>
                          <a:pt x="6346" y="96"/>
                        </a:cubicBezTo>
                        <a:lnTo>
                          <a:pt x="26045" y="0"/>
                        </a:lnTo>
                        <a:cubicBezTo>
                          <a:pt x="26058" y="0"/>
                          <a:pt x="26064" y="0"/>
                          <a:pt x="26077" y="0"/>
                        </a:cubicBezTo>
                        <a:cubicBezTo>
                          <a:pt x="29585" y="0"/>
                          <a:pt x="32442" y="2832"/>
                          <a:pt x="32455" y="6345"/>
                        </a:cubicBezTo>
                        <a:cubicBezTo>
                          <a:pt x="32467" y="9872"/>
                          <a:pt x="29629" y="12736"/>
                          <a:pt x="26109" y="12755"/>
                        </a:cubicBezTo>
                        <a:lnTo>
                          <a:pt x="6409" y="12850"/>
                        </a:lnTo>
                        <a:cubicBezTo>
                          <a:pt x="6397" y="12850"/>
                          <a:pt x="6390" y="12850"/>
                          <a:pt x="6377" y="12850"/>
                        </a:cubicBezTo>
                        <a:close/>
                      </a:path>
                    </a:pathLst>
                  </a:custGeom>
                  <a:solidFill>
                    <a:schemeClr val="accent1"/>
                  </a:solidFill>
                  <a:ln w="637" cap="flat">
                    <a:noFill/>
                    <a:prstDash val="solid"/>
                    <a:miter/>
                  </a:ln>
                </p:spPr>
                <p:txBody>
                  <a:bodyPr rtlCol="0" anchor="ctr"/>
                  <a:lstStyle/>
                  <a:p>
                    <a:endParaRPr lang="en-GB" dirty="0"/>
                  </a:p>
                </p:txBody>
              </p:sp>
            </p:grpSp>
            <p:grpSp>
              <p:nvGrpSpPr>
                <p:cNvPr id="938" name="Graphic 32">
                  <a:extLst>
                    <a:ext uri="{FF2B5EF4-FFF2-40B4-BE49-F238E27FC236}">
                      <a16:creationId xmlns:a16="http://schemas.microsoft.com/office/drawing/2014/main" id="{4F5BB78C-BAA8-4852-9A15-429B61988E23}"/>
                    </a:ext>
                  </a:extLst>
                </p:cNvPr>
                <p:cNvGrpSpPr/>
                <p:nvPr/>
              </p:nvGrpSpPr>
              <p:grpSpPr>
                <a:xfrm>
                  <a:off x="5983428" y="3217439"/>
                  <a:ext cx="173404" cy="73767"/>
                  <a:chOff x="5983428" y="3217439"/>
                  <a:chExt cx="173404" cy="73767"/>
                </a:xfrm>
                <a:solidFill>
                  <a:schemeClr val="accent1"/>
                </a:solidFill>
              </p:grpSpPr>
              <p:grpSp>
                <p:nvGrpSpPr>
                  <p:cNvPr id="957" name="Graphic 32">
                    <a:extLst>
                      <a:ext uri="{FF2B5EF4-FFF2-40B4-BE49-F238E27FC236}">
                        <a16:creationId xmlns:a16="http://schemas.microsoft.com/office/drawing/2014/main" id="{59A632D5-76F2-48C1-AE33-E93BC6367AC6}"/>
                      </a:ext>
                    </a:extLst>
                  </p:cNvPr>
                  <p:cNvGrpSpPr/>
                  <p:nvPr/>
                </p:nvGrpSpPr>
                <p:grpSpPr>
                  <a:xfrm>
                    <a:off x="6049804" y="3217439"/>
                    <a:ext cx="40643" cy="55438"/>
                    <a:chOff x="6049804" y="3217439"/>
                    <a:chExt cx="40643" cy="55438"/>
                  </a:xfrm>
                  <a:solidFill>
                    <a:schemeClr val="accent1"/>
                  </a:solidFill>
                </p:grpSpPr>
                <p:sp>
                  <p:nvSpPr>
                    <p:cNvPr id="964" name="Freeform: Shape 963">
                      <a:extLst>
                        <a:ext uri="{FF2B5EF4-FFF2-40B4-BE49-F238E27FC236}">
                          <a16:creationId xmlns:a16="http://schemas.microsoft.com/office/drawing/2014/main" id="{5B2E9D50-3C74-4BB1-A86D-C7AAA72513D2}"/>
                        </a:ext>
                      </a:extLst>
                    </p:cNvPr>
                    <p:cNvSpPr/>
                    <p:nvPr/>
                  </p:nvSpPr>
                  <p:spPr>
                    <a:xfrm>
                      <a:off x="6049804" y="3217439"/>
                      <a:ext cx="40643" cy="35745"/>
                    </a:xfrm>
                    <a:custGeom>
                      <a:avLst/>
                      <a:gdLst>
                        <a:gd name="connsiteX0" fmla="*/ 20261 w 40643"/>
                        <a:gd name="connsiteY0" fmla="*/ 35745 h 35745"/>
                        <a:gd name="connsiteX1" fmla="*/ 0 w 40643"/>
                        <a:gd name="connsiteY1" fmla="*/ 15478 h 35745"/>
                        <a:gd name="connsiteX2" fmla="*/ 20261 w 40643"/>
                        <a:gd name="connsiteY2" fmla="*/ 0 h 35745"/>
                        <a:gd name="connsiteX3" fmla="*/ 40643 w 40643"/>
                        <a:gd name="connsiteY3" fmla="*/ 15000 h 35745"/>
                        <a:gd name="connsiteX4" fmla="*/ 20261 w 40643"/>
                        <a:gd name="connsiteY4" fmla="*/ 35745 h 35745"/>
                        <a:gd name="connsiteX5" fmla="*/ 20261 w 40643"/>
                        <a:gd name="connsiteY5" fmla="*/ 12755 h 35745"/>
                        <a:gd name="connsiteX6" fmla="*/ 12755 w 40643"/>
                        <a:gd name="connsiteY6" fmla="*/ 15478 h 35745"/>
                        <a:gd name="connsiteX7" fmla="*/ 20261 w 40643"/>
                        <a:gd name="connsiteY7" fmla="*/ 22990 h 35745"/>
                        <a:gd name="connsiteX8" fmla="*/ 27888 w 40643"/>
                        <a:gd name="connsiteY8" fmla="*/ 15000 h 35745"/>
                        <a:gd name="connsiteX9" fmla="*/ 20261 w 40643"/>
                        <a:gd name="connsiteY9" fmla="*/ 12755 h 3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43" h="35745">
                          <a:moveTo>
                            <a:pt x="20261" y="35745"/>
                          </a:moveTo>
                          <a:cubicBezTo>
                            <a:pt x="10223" y="35745"/>
                            <a:pt x="0" y="25516"/>
                            <a:pt x="0" y="15478"/>
                          </a:cubicBezTo>
                          <a:cubicBezTo>
                            <a:pt x="0" y="6365"/>
                            <a:pt x="8335" y="0"/>
                            <a:pt x="20261" y="0"/>
                          </a:cubicBezTo>
                          <a:cubicBezTo>
                            <a:pt x="32646" y="0"/>
                            <a:pt x="40643" y="5886"/>
                            <a:pt x="40643" y="15000"/>
                          </a:cubicBezTo>
                          <a:cubicBezTo>
                            <a:pt x="40643" y="25082"/>
                            <a:pt x="30165" y="35745"/>
                            <a:pt x="20261" y="35745"/>
                          </a:cubicBezTo>
                          <a:close/>
                          <a:moveTo>
                            <a:pt x="20261" y="12755"/>
                          </a:moveTo>
                          <a:cubicBezTo>
                            <a:pt x="16403" y="12755"/>
                            <a:pt x="12755" y="14075"/>
                            <a:pt x="12755" y="15478"/>
                          </a:cubicBezTo>
                          <a:cubicBezTo>
                            <a:pt x="12755" y="18265"/>
                            <a:pt x="17021" y="22990"/>
                            <a:pt x="20261" y="22990"/>
                          </a:cubicBezTo>
                          <a:cubicBezTo>
                            <a:pt x="23188" y="22990"/>
                            <a:pt x="27888" y="18067"/>
                            <a:pt x="27888" y="15000"/>
                          </a:cubicBezTo>
                          <a:cubicBezTo>
                            <a:pt x="27888" y="14107"/>
                            <a:pt x="24846" y="12755"/>
                            <a:pt x="20261" y="12755"/>
                          </a:cubicBezTo>
                          <a:close/>
                        </a:path>
                      </a:pathLst>
                    </a:custGeom>
                    <a:solidFill>
                      <a:schemeClr val="accent1"/>
                    </a:solidFill>
                    <a:ln w="637" cap="flat">
                      <a:noFill/>
                      <a:prstDash val="solid"/>
                      <a:miter/>
                    </a:ln>
                  </p:spPr>
                  <p:txBody>
                    <a:bodyPr rtlCol="0" anchor="ctr"/>
                    <a:lstStyle/>
                    <a:p>
                      <a:endParaRPr lang="en-GB" dirty="0"/>
                    </a:p>
                  </p:txBody>
                </p:sp>
                <p:sp>
                  <p:nvSpPr>
                    <p:cNvPr id="965" name="Freeform: Shape 964">
                      <a:extLst>
                        <a:ext uri="{FF2B5EF4-FFF2-40B4-BE49-F238E27FC236}">
                          <a16:creationId xmlns:a16="http://schemas.microsoft.com/office/drawing/2014/main" id="{AC4FF6DA-22A0-41C2-9B99-2EF2D2CAD9CE}"/>
                        </a:ext>
                      </a:extLst>
                    </p:cNvPr>
                    <p:cNvSpPr/>
                    <p:nvPr/>
                  </p:nvSpPr>
                  <p:spPr>
                    <a:xfrm>
                      <a:off x="6063682" y="3240423"/>
                      <a:ext cx="12754" cy="32454"/>
                    </a:xfrm>
                    <a:custGeom>
                      <a:avLst/>
                      <a:gdLst>
                        <a:gd name="connsiteX0" fmla="*/ 6377 w 12754"/>
                        <a:gd name="connsiteY0" fmla="*/ 32455 h 32454"/>
                        <a:gd name="connsiteX1" fmla="*/ 0 w 12754"/>
                        <a:gd name="connsiteY1" fmla="*/ 26077 h 32454"/>
                        <a:gd name="connsiteX2" fmla="*/ 0 w 12754"/>
                        <a:gd name="connsiteY2" fmla="*/ 6377 h 32454"/>
                        <a:gd name="connsiteX3" fmla="*/ 6377 w 12754"/>
                        <a:gd name="connsiteY3" fmla="*/ 0 h 32454"/>
                        <a:gd name="connsiteX4" fmla="*/ 12755 w 12754"/>
                        <a:gd name="connsiteY4" fmla="*/ 6377 h 32454"/>
                        <a:gd name="connsiteX5" fmla="*/ 12755 w 12754"/>
                        <a:gd name="connsiteY5" fmla="*/ 26077 h 32454"/>
                        <a:gd name="connsiteX6" fmla="*/ 6377 w 12754"/>
                        <a:gd name="connsiteY6" fmla="*/ 32455 h 3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32454">
                          <a:moveTo>
                            <a:pt x="6377" y="32455"/>
                          </a:moveTo>
                          <a:cubicBezTo>
                            <a:pt x="2857" y="32455"/>
                            <a:pt x="0" y="29604"/>
                            <a:pt x="0" y="26077"/>
                          </a:cubicBezTo>
                          <a:lnTo>
                            <a:pt x="0" y="6377"/>
                          </a:lnTo>
                          <a:cubicBezTo>
                            <a:pt x="0" y="2851"/>
                            <a:pt x="2857" y="0"/>
                            <a:pt x="6377" y="0"/>
                          </a:cubicBezTo>
                          <a:cubicBezTo>
                            <a:pt x="9898" y="0"/>
                            <a:pt x="12755" y="2851"/>
                            <a:pt x="12755" y="6377"/>
                          </a:cubicBezTo>
                          <a:lnTo>
                            <a:pt x="12755" y="26077"/>
                          </a:lnTo>
                          <a:cubicBezTo>
                            <a:pt x="12755" y="29604"/>
                            <a:pt x="9898" y="32455"/>
                            <a:pt x="6377" y="32455"/>
                          </a:cubicBezTo>
                          <a:close/>
                        </a:path>
                      </a:pathLst>
                    </a:custGeom>
                    <a:solidFill>
                      <a:schemeClr val="accent1"/>
                    </a:solidFill>
                    <a:ln w="637" cap="flat">
                      <a:noFill/>
                      <a:prstDash val="solid"/>
                      <a:miter/>
                    </a:ln>
                  </p:spPr>
                  <p:txBody>
                    <a:bodyPr rtlCol="0" anchor="ctr"/>
                    <a:lstStyle/>
                    <a:p>
                      <a:endParaRPr lang="en-GB" dirty="0"/>
                    </a:p>
                  </p:txBody>
                </p:sp>
              </p:grpSp>
              <p:grpSp>
                <p:nvGrpSpPr>
                  <p:cNvPr id="958" name="Graphic 32">
                    <a:extLst>
                      <a:ext uri="{FF2B5EF4-FFF2-40B4-BE49-F238E27FC236}">
                        <a16:creationId xmlns:a16="http://schemas.microsoft.com/office/drawing/2014/main" id="{C0527779-FB83-42F4-B54B-D0A240FAB0A6}"/>
                      </a:ext>
                    </a:extLst>
                  </p:cNvPr>
                  <p:cNvGrpSpPr/>
                  <p:nvPr/>
                </p:nvGrpSpPr>
                <p:grpSpPr>
                  <a:xfrm>
                    <a:off x="6107984" y="3242729"/>
                    <a:ext cx="48848" cy="48478"/>
                    <a:chOff x="6107984" y="3242729"/>
                    <a:chExt cx="48848" cy="48478"/>
                  </a:xfrm>
                  <a:solidFill>
                    <a:schemeClr val="accent1"/>
                  </a:solidFill>
                </p:grpSpPr>
                <p:sp>
                  <p:nvSpPr>
                    <p:cNvPr id="962" name="Freeform: Shape 961">
                      <a:extLst>
                        <a:ext uri="{FF2B5EF4-FFF2-40B4-BE49-F238E27FC236}">
                          <a16:creationId xmlns:a16="http://schemas.microsoft.com/office/drawing/2014/main" id="{E913D640-F726-4818-986C-5B7073C63B98}"/>
                        </a:ext>
                      </a:extLst>
                    </p:cNvPr>
                    <p:cNvSpPr/>
                    <p:nvPr/>
                  </p:nvSpPr>
                  <p:spPr>
                    <a:xfrm>
                      <a:off x="6118449" y="3242729"/>
                      <a:ext cx="38383" cy="37904"/>
                    </a:xfrm>
                    <a:custGeom>
                      <a:avLst/>
                      <a:gdLst>
                        <a:gd name="connsiteX0" fmla="*/ 19484 w 38383"/>
                        <a:gd name="connsiteY0" fmla="*/ 37904 h 37904"/>
                        <a:gd name="connsiteX1" fmla="*/ 5339 w 38383"/>
                        <a:gd name="connsiteY1" fmla="*/ 32688 h 37904"/>
                        <a:gd name="connsiteX2" fmla="*/ 1 w 38383"/>
                        <a:gd name="connsiteY2" fmla="*/ 18198 h 37904"/>
                        <a:gd name="connsiteX3" fmla="*/ 5339 w 38383"/>
                        <a:gd name="connsiteY3" fmla="*/ 4034 h 37904"/>
                        <a:gd name="connsiteX4" fmla="*/ 19580 w 38383"/>
                        <a:gd name="connsiteY4" fmla="*/ 622 h 37904"/>
                        <a:gd name="connsiteX5" fmla="*/ 30606 w 38383"/>
                        <a:gd name="connsiteY5" fmla="*/ 7414 h 37904"/>
                        <a:gd name="connsiteX6" fmla="*/ 34420 w 38383"/>
                        <a:gd name="connsiteY6" fmla="*/ 32433 h 37904"/>
                        <a:gd name="connsiteX7" fmla="*/ 34420 w 38383"/>
                        <a:gd name="connsiteY7" fmla="*/ 32433 h 37904"/>
                        <a:gd name="connsiteX8" fmla="*/ 20147 w 38383"/>
                        <a:gd name="connsiteY8" fmla="*/ 37891 h 37904"/>
                        <a:gd name="connsiteX9" fmla="*/ 19484 w 38383"/>
                        <a:gd name="connsiteY9" fmla="*/ 37904 h 37904"/>
                        <a:gd name="connsiteX10" fmla="*/ 15154 w 38383"/>
                        <a:gd name="connsiteY10" fmla="*/ 12739 h 37904"/>
                        <a:gd name="connsiteX11" fmla="*/ 14357 w 38383"/>
                        <a:gd name="connsiteY11" fmla="*/ 13052 h 37904"/>
                        <a:gd name="connsiteX12" fmla="*/ 12750 w 38383"/>
                        <a:gd name="connsiteY12" fmla="*/ 18313 h 37904"/>
                        <a:gd name="connsiteX13" fmla="*/ 14357 w 38383"/>
                        <a:gd name="connsiteY13" fmla="*/ 23670 h 37904"/>
                        <a:gd name="connsiteX14" fmla="*/ 19816 w 38383"/>
                        <a:gd name="connsiteY14" fmla="*/ 25143 h 37904"/>
                        <a:gd name="connsiteX15" fmla="*/ 25390 w 38383"/>
                        <a:gd name="connsiteY15" fmla="*/ 23415 h 37904"/>
                        <a:gd name="connsiteX16" fmla="*/ 25396 w 38383"/>
                        <a:gd name="connsiteY16" fmla="*/ 23415 h 37904"/>
                        <a:gd name="connsiteX17" fmla="*/ 21582 w 38383"/>
                        <a:gd name="connsiteY17" fmla="*/ 16432 h 37904"/>
                        <a:gd name="connsiteX18" fmla="*/ 16149 w 38383"/>
                        <a:gd name="connsiteY18" fmla="*/ 12905 h 37904"/>
                        <a:gd name="connsiteX19" fmla="*/ 15154 w 38383"/>
                        <a:gd name="connsiteY19" fmla="*/ 12739 h 37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383" h="37904">
                          <a:moveTo>
                            <a:pt x="19484" y="37904"/>
                          </a:moveTo>
                          <a:cubicBezTo>
                            <a:pt x="13802" y="37904"/>
                            <a:pt x="8674" y="36017"/>
                            <a:pt x="5339" y="32688"/>
                          </a:cubicBezTo>
                          <a:cubicBezTo>
                            <a:pt x="1889" y="29237"/>
                            <a:pt x="-56" y="23957"/>
                            <a:pt x="1" y="18198"/>
                          </a:cubicBezTo>
                          <a:cubicBezTo>
                            <a:pt x="52" y="12535"/>
                            <a:pt x="1997" y="7376"/>
                            <a:pt x="5339" y="4034"/>
                          </a:cubicBezTo>
                          <a:cubicBezTo>
                            <a:pt x="9006" y="361"/>
                            <a:pt x="14216" y="-877"/>
                            <a:pt x="19580" y="622"/>
                          </a:cubicBezTo>
                          <a:cubicBezTo>
                            <a:pt x="23362" y="1674"/>
                            <a:pt x="27277" y="4091"/>
                            <a:pt x="30606" y="7414"/>
                          </a:cubicBezTo>
                          <a:cubicBezTo>
                            <a:pt x="39362" y="16170"/>
                            <a:pt x="40855" y="25991"/>
                            <a:pt x="34420" y="32433"/>
                          </a:cubicBezTo>
                          <a:lnTo>
                            <a:pt x="34420" y="32433"/>
                          </a:lnTo>
                          <a:cubicBezTo>
                            <a:pt x="31097" y="35755"/>
                            <a:pt x="25893" y="37751"/>
                            <a:pt x="20147" y="37891"/>
                          </a:cubicBezTo>
                          <a:cubicBezTo>
                            <a:pt x="19924" y="37898"/>
                            <a:pt x="19707" y="37904"/>
                            <a:pt x="19484" y="37904"/>
                          </a:cubicBezTo>
                          <a:close/>
                          <a:moveTo>
                            <a:pt x="15154" y="12739"/>
                          </a:moveTo>
                          <a:cubicBezTo>
                            <a:pt x="14669" y="12739"/>
                            <a:pt x="14491" y="12911"/>
                            <a:pt x="14357" y="13052"/>
                          </a:cubicBezTo>
                          <a:cubicBezTo>
                            <a:pt x="13598" y="13804"/>
                            <a:pt x="12775" y="15775"/>
                            <a:pt x="12750" y="18313"/>
                          </a:cubicBezTo>
                          <a:cubicBezTo>
                            <a:pt x="12730" y="20571"/>
                            <a:pt x="13362" y="22675"/>
                            <a:pt x="14357" y="23670"/>
                          </a:cubicBezTo>
                          <a:cubicBezTo>
                            <a:pt x="15141" y="24454"/>
                            <a:pt x="17105" y="25334"/>
                            <a:pt x="19816" y="25143"/>
                          </a:cubicBezTo>
                          <a:cubicBezTo>
                            <a:pt x="22526" y="25073"/>
                            <a:pt x="24605" y="24199"/>
                            <a:pt x="25390" y="23415"/>
                          </a:cubicBezTo>
                          <a:cubicBezTo>
                            <a:pt x="25396" y="23415"/>
                            <a:pt x="25396" y="23415"/>
                            <a:pt x="25396" y="23415"/>
                          </a:cubicBezTo>
                          <a:cubicBezTo>
                            <a:pt x="26040" y="22764"/>
                            <a:pt x="24879" y="19729"/>
                            <a:pt x="21582" y="16432"/>
                          </a:cubicBezTo>
                          <a:cubicBezTo>
                            <a:pt x="19841" y="14691"/>
                            <a:pt x="17807" y="13370"/>
                            <a:pt x="16149" y="12905"/>
                          </a:cubicBezTo>
                          <a:cubicBezTo>
                            <a:pt x="15722" y="12784"/>
                            <a:pt x="15396" y="12739"/>
                            <a:pt x="15154" y="12739"/>
                          </a:cubicBezTo>
                          <a:close/>
                        </a:path>
                      </a:pathLst>
                    </a:custGeom>
                    <a:solidFill>
                      <a:schemeClr val="accent1"/>
                    </a:solidFill>
                    <a:ln w="637" cap="flat">
                      <a:noFill/>
                      <a:prstDash val="solid"/>
                      <a:miter/>
                    </a:ln>
                  </p:spPr>
                  <p:txBody>
                    <a:bodyPr rtlCol="0" anchor="ctr"/>
                    <a:lstStyle/>
                    <a:p>
                      <a:endParaRPr lang="en-GB" dirty="0"/>
                    </a:p>
                  </p:txBody>
                </p:sp>
                <p:sp>
                  <p:nvSpPr>
                    <p:cNvPr id="963" name="Freeform: Shape 962">
                      <a:extLst>
                        <a:ext uri="{FF2B5EF4-FFF2-40B4-BE49-F238E27FC236}">
                          <a16:creationId xmlns:a16="http://schemas.microsoft.com/office/drawing/2014/main" id="{C5CA2700-3724-49FC-9EF3-C8225BC3CD3C}"/>
                        </a:ext>
                      </a:extLst>
                    </p:cNvPr>
                    <p:cNvSpPr/>
                    <p:nvPr/>
                  </p:nvSpPr>
                  <p:spPr>
                    <a:xfrm>
                      <a:off x="6107984" y="3264516"/>
                      <a:ext cx="26686" cy="26691"/>
                    </a:xfrm>
                    <a:custGeom>
                      <a:avLst/>
                      <a:gdLst>
                        <a:gd name="connsiteX0" fmla="*/ 6379 w 26686"/>
                        <a:gd name="connsiteY0" fmla="*/ 26691 h 26691"/>
                        <a:gd name="connsiteX1" fmla="*/ 1870 w 26686"/>
                        <a:gd name="connsiteY1" fmla="*/ 24822 h 26691"/>
                        <a:gd name="connsiteX2" fmla="*/ 1870 w 26686"/>
                        <a:gd name="connsiteY2" fmla="*/ 15805 h 26691"/>
                        <a:gd name="connsiteX3" fmla="*/ 15798 w 26686"/>
                        <a:gd name="connsiteY3" fmla="*/ 1870 h 26691"/>
                        <a:gd name="connsiteX4" fmla="*/ 24816 w 26686"/>
                        <a:gd name="connsiteY4" fmla="*/ 1870 h 26691"/>
                        <a:gd name="connsiteX5" fmla="*/ 24816 w 26686"/>
                        <a:gd name="connsiteY5" fmla="*/ 10888 h 26691"/>
                        <a:gd name="connsiteX6" fmla="*/ 10888 w 26686"/>
                        <a:gd name="connsiteY6" fmla="*/ 24822 h 26691"/>
                        <a:gd name="connsiteX7" fmla="*/ 6379 w 26686"/>
                        <a:gd name="connsiteY7" fmla="*/ 26691 h 2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91">
                          <a:moveTo>
                            <a:pt x="6379" y="26691"/>
                          </a:moveTo>
                          <a:cubicBezTo>
                            <a:pt x="4746" y="26691"/>
                            <a:pt x="3114" y="26066"/>
                            <a:pt x="1870" y="24822"/>
                          </a:cubicBezTo>
                          <a:cubicBezTo>
                            <a:pt x="-623" y="22329"/>
                            <a:pt x="-623" y="18298"/>
                            <a:pt x="1870" y="15805"/>
                          </a:cubicBezTo>
                          <a:lnTo>
                            <a:pt x="15798" y="1870"/>
                          </a:lnTo>
                          <a:cubicBezTo>
                            <a:pt x="18292" y="-623"/>
                            <a:pt x="22322" y="-623"/>
                            <a:pt x="24816" y="1870"/>
                          </a:cubicBezTo>
                          <a:cubicBezTo>
                            <a:pt x="27310" y="4364"/>
                            <a:pt x="27310" y="8394"/>
                            <a:pt x="24816" y="10888"/>
                          </a:cubicBezTo>
                          <a:lnTo>
                            <a:pt x="10888" y="24822"/>
                          </a:lnTo>
                          <a:cubicBezTo>
                            <a:pt x="9644" y="26072"/>
                            <a:pt x="8012" y="26691"/>
                            <a:pt x="6379" y="26691"/>
                          </a:cubicBezTo>
                          <a:close/>
                        </a:path>
                      </a:pathLst>
                    </a:custGeom>
                    <a:solidFill>
                      <a:schemeClr val="accent1"/>
                    </a:solidFill>
                    <a:ln w="637" cap="flat">
                      <a:noFill/>
                      <a:prstDash val="solid"/>
                      <a:miter/>
                    </a:ln>
                  </p:spPr>
                  <p:txBody>
                    <a:bodyPr rtlCol="0" anchor="ctr"/>
                    <a:lstStyle/>
                    <a:p>
                      <a:endParaRPr lang="en-GB" dirty="0"/>
                    </a:p>
                  </p:txBody>
                </p:sp>
              </p:grpSp>
              <p:grpSp>
                <p:nvGrpSpPr>
                  <p:cNvPr id="959" name="Graphic 32">
                    <a:extLst>
                      <a:ext uri="{FF2B5EF4-FFF2-40B4-BE49-F238E27FC236}">
                        <a16:creationId xmlns:a16="http://schemas.microsoft.com/office/drawing/2014/main" id="{776E0F2C-FEA3-430B-BD2D-24552FA30DF2}"/>
                      </a:ext>
                    </a:extLst>
                  </p:cNvPr>
                  <p:cNvGrpSpPr/>
                  <p:nvPr/>
                </p:nvGrpSpPr>
                <p:grpSpPr>
                  <a:xfrm>
                    <a:off x="5983428" y="3242587"/>
                    <a:ext cx="48820" cy="48472"/>
                    <a:chOff x="5983428" y="3242587"/>
                    <a:chExt cx="48820" cy="48472"/>
                  </a:xfrm>
                  <a:solidFill>
                    <a:schemeClr val="accent1"/>
                  </a:solidFill>
                </p:grpSpPr>
                <p:sp>
                  <p:nvSpPr>
                    <p:cNvPr id="960" name="Freeform: Shape 959">
                      <a:extLst>
                        <a:ext uri="{FF2B5EF4-FFF2-40B4-BE49-F238E27FC236}">
                          <a16:creationId xmlns:a16="http://schemas.microsoft.com/office/drawing/2014/main" id="{B221298E-649F-4D98-9F5B-51AC84FED7C8}"/>
                        </a:ext>
                      </a:extLst>
                    </p:cNvPr>
                    <p:cNvSpPr/>
                    <p:nvPr/>
                  </p:nvSpPr>
                  <p:spPr>
                    <a:xfrm>
                      <a:off x="5983428" y="3242587"/>
                      <a:ext cx="38334" cy="37898"/>
                    </a:xfrm>
                    <a:custGeom>
                      <a:avLst/>
                      <a:gdLst>
                        <a:gd name="connsiteX0" fmla="*/ 18871 w 38334"/>
                        <a:gd name="connsiteY0" fmla="*/ 37899 h 37898"/>
                        <a:gd name="connsiteX1" fmla="*/ 18207 w 38334"/>
                        <a:gd name="connsiteY1" fmla="*/ 37893 h 37898"/>
                        <a:gd name="connsiteX2" fmla="*/ 3941 w 38334"/>
                        <a:gd name="connsiteY2" fmla="*/ 32433 h 37898"/>
                        <a:gd name="connsiteX3" fmla="*/ 3941 w 38334"/>
                        <a:gd name="connsiteY3" fmla="*/ 32433 h 37898"/>
                        <a:gd name="connsiteX4" fmla="*/ 3935 w 38334"/>
                        <a:gd name="connsiteY4" fmla="*/ 32427 h 37898"/>
                        <a:gd name="connsiteX5" fmla="*/ 3935 w 38334"/>
                        <a:gd name="connsiteY5" fmla="*/ 32427 h 37898"/>
                        <a:gd name="connsiteX6" fmla="*/ 0 w 38334"/>
                        <a:gd name="connsiteY6" fmla="*/ 22989 h 37898"/>
                        <a:gd name="connsiteX7" fmla="*/ 7749 w 38334"/>
                        <a:gd name="connsiteY7" fmla="*/ 7415 h 37898"/>
                        <a:gd name="connsiteX8" fmla="*/ 18769 w 38334"/>
                        <a:gd name="connsiteY8" fmla="*/ 623 h 37898"/>
                        <a:gd name="connsiteX9" fmla="*/ 33016 w 38334"/>
                        <a:gd name="connsiteY9" fmla="*/ 4035 h 37898"/>
                        <a:gd name="connsiteX10" fmla="*/ 33016 w 38334"/>
                        <a:gd name="connsiteY10" fmla="*/ 32689 h 37898"/>
                        <a:gd name="connsiteX11" fmla="*/ 18871 w 38334"/>
                        <a:gd name="connsiteY11" fmla="*/ 37899 h 37898"/>
                        <a:gd name="connsiteX12" fmla="*/ 23201 w 38334"/>
                        <a:gd name="connsiteY12" fmla="*/ 12734 h 37898"/>
                        <a:gd name="connsiteX13" fmla="*/ 22200 w 38334"/>
                        <a:gd name="connsiteY13" fmla="*/ 12900 h 37898"/>
                        <a:gd name="connsiteX14" fmla="*/ 16766 w 38334"/>
                        <a:gd name="connsiteY14" fmla="*/ 16433 h 37898"/>
                        <a:gd name="connsiteX15" fmla="*/ 12755 w 38334"/>
                        <a:gd name="connsiteY15" fmla="*/ 22982 h 37898"/>
                        <a:gd name="connsiteX16" fmla="*/ 12959 w 38334"/>
                        <a:gd name="connsiteY16" fmla="*/ 23403 h 37898"/>
                        <a:gd name="connsiteX17" fmla="*/ 18539 w 38334"/>
                        <a:gd name="connsiteY17" fmla="*/ 25131 h 37898"/>
                        <a:gd name="connsiteX18" fmla="*/ 23998 w 38334"/>
                        <a:gd name="connsiteY18" fmla="*/ 23658 h 37898"/>
                        <a:gd name="connsiteX19" fmla="*/ 23998 w 38334"/>
                        <a:gd name="connsiteY19" fmla="*/ 13040 h 37898"/>
                        <a:gd name="connsiteX20" fmla="*/ 23201 w 38334"/>
                        <a:gd name="connsiteY20" fmla="*/ 12734 h 3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334" h="37898">
                          <a:moveTo>
                            <a:pt x="18871" y="37899"/>
                          </a:moveTo>
                          <a:cubicBezTo>
                            <a:pt x="18647" y="37899"/>
                            <a:pt x="18431" y="37899"/>
                            <a:pt x="18207" y="37893"/>
                          </a:cubicBezTo>
                          <a:cubicBezTo>
                            <a:pt x="12468" y="37746"/>
                            <a:pt x="7264" y="35750"/>
                            <a:pt x="3941" y="32433"/>
                          </a:cubicBezTo>
                          <a:lnTo>
                            <a:pt x="3941" y="32433"/>
                          </a:lnTo>
                          <a:cubicBezTo>
                            <a:pt x="3935" y="32427"/>
                            <a:pt x="3935" y="32427"/>
                            <a:pt x="3935" y="32427"/>
                          </a:cubicBezTo>
                          <a:lnTo>
                            <a:pt x="3935" y="32427"/>
                          </a:lnTo>
                          <a:cubicBezTo>
                            <a:pt x="1358" y="29857"/>
                            <a:pt x="0" y="26585"/>
                            <a:pt x="0" y="22989"/>
                          </a:cubicBezTo>
                          <a:cubicBezTo>
                            <a:pt x="0" y="16171"/>
                            <a:pt x="4853" y="10310"/>
                            <a:pt x="7749" y="7415"/>
                          </a:cubicBezTo>
                          <a:cubicBezTo>
                            <a:pt x="11071" y="4092"/>
                            <a:pt x="14987" y="1682"/>
                            <a:pt x="18769" y="623"/>
                          </a:cubicBezTo>
                          <a:cubicBezTo>
                            <a:pt x="24151" y="-876"/>
                            <a:pt x="29342" y="355"/>
                            <a:pt x="33016" y="4035"/>
                          </a:cubicBezTo>
                          <a:cubicBezTo>
                            <a:pt x="40107" y="11133"/>
                            <a:pt x="40107" y="25597"/>
                            <a:pt x="33016" y="32689"/>
                          </a:cubicBezTo>
                          <a:cubicBezTo>
                            <a:pt x="29680" y="36011"/>
                            <a:pt x="24553" y="37899"/>
                            <a:pt x="18871" y="37899"/>
                          </a:cubicBezTo>
                          <a:close/>
                          <a:moveTo>
                            <a:pt x="23201" y="12734"/>
                          </a:moveTo>
                          <a:cubicBezTo>
                            <a:pt x="22952" y="12734"/>
                            <a:pt x="22633" y="12778"/>
                            <a:pt x="22200" y="12900"/>
                          </a:cubicBezTo>
                          <a:cubicBezTo>
                            <a:pt x="20548" y="13359"/>
                            <a:pt x="18514" y="14679"/>
                            <a:pt x="16766" y="16433"/>
                          </a:cubicBezTo>
                          <a:cubicBezTo>
                            <a:pt x="14005" y="19188"/>
                            <a:pt x="12755" y="21758"/>
                            <a:pt x="12755" y="22982"/>
                          </a:cubicBezTo>
                          <a:cubicBezTo>
                            <a:pt x="12755" y="22982"/>
                            <a:pt x="12959" y="23403"/>
                            <a:pt x="12959" y="23403"/>
                          </a:cubicBezTo>
                          <a:cubicBezTo>
                            <a:pt x="13743" y="24188"/>
                            <a:pt x="15822" y="25068"/>
                            <a:pt x="18539" y="25131"/>
                          </a:cubicBezTo>
                          <a:cubicBezTo>
                            <a:pt x="21160" y="25284"/>
                            <a:pt x="23214" y="24443"/>
                            <a:pt x="23998" y="23658"/>
                          </a:cubicBezTo>
                          <a:cubicBezTo>
                            <a:pt x="26294" y="21369"/>
                            <a:pt x="25969" y="15011"/>
                            <a:pt x="23998" y="13040"/>
                          </a:cubicBezTo>
                          <a:cubicBezTo>
                            <a:pt x="23858" y="12906"/>
                            <a:pt x="23679" y="12734"/>
                            <a:pt x="23201" y="12734"/>
                          </a:cubicBezTo>
                          <a:close/>
                        </a:path>
                      </a:pathLst>
                    </a:custGeom>
                    <a:solidFill>
                      <a:schemeClr val="accent1"/>
                    </a:solidFill>
                    <a:ln w="637" cap="flat">
                      <a:noFill/>
                      <a:prstDash val="solid"/>
                      <a:miter/>
                    </a:ln>
                  </p:spPr>
                  <p:txBody>
                    <a:bodyPr rtlCol="0" anchor="ctr"/>
                    <a:lstStyle/>
                    <a:p>
                      <a:endParaRPr lang="en-GB" dirty="0"/>
                    </a:p>
                  </p:txBody>
                </p:sp>
                <p:sp>
                  <p:nvSpPr>
                    <p:cNvPr id="961" name="Freeform: Shape 960">
                      <a:extLst>
                        <a:ext uri="{FF2B5EF4-FFF2-40B4-BE49-F238E27FC236}">
                          <a16:creationId xmlns:a16="http://schemas.microsoft.com/office/drawing/2014/main" id="{B35E19F3-1019-4947-8568-7D2AA545015E}"/>
                        </a:ext>
                      </a:extLst>
                    </p:cNvPr>
                    <p:cNvSpPr/>
                    <p:nvPr/>
                  </p:nvSpPr>
                  <p:spPr>
                    <a:xfrm>
                      <a:off x="6005563" y="3264369"/>
                      <a:ext cx="26686" cy="26691"/>
                    </a:xfrm>
                    <a:custGeom>
                      <a:avLst/>
                      <a:gdLst>
                        <a:gd name="connsiteX0" fmla="*/ 20307 w 26686"/>
                        <a:gd name="connsiteY0" fmla="*/ 26691 h 26691"/>
                        <a:gd name="connsiteX1" fmla="*/ 15798 w 26686"/>
                        <a:gd name="connsiteY1" fmla="*/ 24822 h 26691"/>
                        <a:gd name="connsiteX2" fmla="*/ 1870 w 26686"/>
                        <a:gd name="connsiteY2" fmla="*/ 10888 h 26691"/>
                        <a:gd name="connsiteX3" fmla="*/ 1870 w 26686"/>
                        <a:gd name="connsiteY3" fmla="*/ 1870 h 26691"/>
                        <a:gd name="connsiteX4" fmla="*/ 10888 w 26686"/>
                        <a:gd name="connsiteY4" fmla="*/ 1870 h 26691"/>
                        <a:gd name="connsiteX5" fmla="*/ 24816 w 26686"/>
                        <a:gd name="connsiteY5" fmla="*/ 15805 h 26691"/>
                        <a:gd name="connsiteX6" fmla="*/ 24816 w 26686"/>
                        <a:gd name="connsiteY6" fmla="*/ 24822 h 26691"/>
                        <a:gd name="connsiteX7" fmla="*/ 20307 w 26686"/>
                        <a:gd name="connsiteY7" fmla="*/ 26691 h 2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91">
                          <a:moveTo>
                            <a:pt x="20307" y="26691"/>
                          </a:moveTo>
                          <a:cubicBezTo>
                            <a:pt x="18675" y="26691"/>
                            <a:pt x="17042" y="26066"/>
                            <a:pt x="15798" y="24822"/>
                          </a:cubicBezTo>
                          <a:lnTo>
                            <a:pt x="1870" y="10888"/>
                          </a:lnTo>
                          <a:cubicBezTo>
                            <a:pt x="-623" y="8394"/>
                            <a:pt x="-623" y="4364"/>
                            <a:pt x="1870" y="1870"/>
                          </a:cubicBezTo>
                          <a:cubicBezTo>
                            <a:pt x="4364" y="-623"/>
                            <a:pt x="8394" y="-623"/>
                            <a:pt x="10888" y="1870"/>
                          </a:cubicBezTo>
                          <a:lnTo>
                            <a:pt x="24816" y="15805"/>
                          </a:lnTo>
                          <a:cubicBezTo>
                            <a:pt x="27310" y="18298"/>
                            <a:pt x="27310" y="22329"/>
                            <a:pt x="24816" y="24822"/>
                          </a:cubicBezTo>
                          <a:cubicBezTo>
                            <a:pt x="23566" y="26066"/>
                            <a:pt x="21933" y="26691"/>
                            <a:pt x="20307" y="26691"/>
                          </a:cubicBezTo>
                          <a:close/>
                        </a:path>
                      </a:pathLst>
                    </a:custGeom>
                    <a:solidFill>
                      <a:schemeClr val="accent1"/>
                    </a:solidFill>
                    <a:ln w="637" cap="flat">
                      <a:noFill/>
                      <a:prstDash val="solid"/>
                      <a:miter/>
                    </a:ln>
                  </p:spPr>
                  <p:txBody>
                    <a:bodyPr rtlCol="0" anchor="ctr"/>
                    <a:lstStyle/>
                    <a:p>
                      <a:endParaRPr lang="en-GB" dirty="0"/>
                    </a:p>
                  </p:txBody>
                </p:sp>
              </p:grpSp>
            </p:grpSp>
            <p:grpSp>
              <p:nvGrpSpPr>
                <p:cNvPr id="939" name="Graphic 32">
                  <a:extLst>
                    <a:ext uri="{FF2B5EF4-FFF2-40B4-BE49-F238E27FC236}">
                      <a16:creationId xmlns:a16="http://schemas.microsoft.com/office/drawing/2014/main" id="{04E48B83-BC33-4FC5-AEFA-207489356B40}"/>
                    </a:ext>
                  </a:extLst>
                </p:cNvPr>
                <p:cNvGrpSpPr/>
                <p:nvPr/>
              </p:nvGrpSpPr>
              <p:grpSpPr>
                <a:xfrm>
                  <a:off x="5983441" y="3366809"/>
                  <a:ext cx="173391" cy="73775"/>
                  <a:chOff x="5983441" y="3366809"/>
                  <a:chExt cx="173391" cy="73775"/>
                </a:xfrm>
                <a:solidFill>
                  <a:schemeClr val="accent1"/>
                </a:solidFill>
              </p:grpSpPr>
              <p:grpSp>
                <p:nvGrpSpPr>
                  <p:cNvPr id="948" name="Graphic 32">
                    <a:extLst>
                      <a:ext uri="{FF2B5EF4-FFF2-40B4-BE49-F238E27FC236}">
                        <a16:creationId xmlns:a16="http://schemas.microsoft.com/office/drawing/2014/main" id="{FD339212-F49E-4E41-BAB3-E5DF59F6F12E}"/>
                      </a:ext>
                    </a:extLst>
                  </p:cNvPr>
                  <p:cNvGrpSpPr/>
                  <p:nvPr/>
                </p:nvGrpSpPr>
                <p:grpSpPr>
                  <a:xfrm>
                    <a:off x="6049804" y="3385146"/>
                    <a:ext cx="40643" cy="55438"/>
                    <a:chOff x="6049804" y="3385146"/>
                    <a:chExt cx="40643" cy="55438"/>
                  </a:xfrm>
                  <a:solidFill>
                    <a:schemeClr val="accent1"/>
                  </a:solidFill>
                </p:grpSpPr>
                <p:sp>
                  <p:nvSpPr>
                    <p:cNvPr id="955" name="Freeform: Shape 954">
                      <a:extLst>
                        <a:ext uri="{FF2B5EF4-FFF2-40B4-BE49-F238E27FC236}">
                          <a16:creationId xmlns:a16="http://schemas.microsoft.com/office/drawing/2014/main" id="{4FDBA079-FEAD-487F-A9FB-7FB05492F4BA}"/>
                        </a:ext>
                      </a:extLst>
                    </p:cNvPr>
                    <p:cNvSpPr/>
                    <p:nvPr/>
                  </p:nvSpPr>
                  <p:spPr>
                    <a:xfrm>
                      <a:off x="6049804" y="3404839"/>
                      <a:ext cx="40643" cy="35745"/>
                    </a:xfrm>
                    <a:custGeom>
                      <a:avLst/>
                      <a:gdLst>
                        <a:gd name="connsiteX0" fmla="*/ 20261 w 40643"/>
                        <a:gd name="connsiteY0" fmla="*/ 35745 h 35745"/>
                        <a:gd name="connsiteX1" fmla="*/ 0 w 40643"/>
                        <a:gd name="connsiteY1" fmla="*/ 20267 h 35745"/>
                        <a:gd name="connsiteX2" fmla="*/ 20261 w 40643"/>
                        <a:gd name="connsiteY2" fmla="*/ 0 h 35745"/>
                        <a:gd name="connsiteX3" fmla="*/ 40643 w 40643"/>
                        <a:gd name="connsiteY3" fmla="*/ 20746 h 35745"/>
                        <a:gd name="connsiteX4" fmla="*/ 20261 w 40643"/>
                        <a:gd name="connsiteY4" fmla="*/ 35745 h 35745"/>
                        <a:gd name="connsiteX5" fmla="*/ 20261 w 40643"/>
                        <a:gd name="connsiteY5" fmla="*/ 12761 h 35745"/>
                        <a:gd name="connsiteX6" fmla="*/ 12755 w 40643"/>
                        <a:gd name="connsiteY6" fmla="*/ 20274 h 35745"/>
                        <a:gd name="connsiteX7" fmla="*/ 20261 w 40643"/>
                        <a:gd name="connsiteY7" fmla="*/ 22997 h 35745"/>
                        <a:gd name="connsiteX8" fmla="*/ 27888 w 40643"/>
                        <a:gd name="connsiteY8" fmla="*/ 20752 h 35745"/>
                        <a:gd name="connsiteX9" fmla="*/ 20261 w 40643"/>
                        <a:gd name="connsiteY9" fmla="*/ 12761 h 35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43" h="35745">
                          <a:moveTo>
                            <a:pt x="20261" y="35745"/>
                          </a:moveTo>
                          <a:cubicBezTo>
                            <a:pt x="8329" y="35745"/>
                            <a:pt x="0" y="29381"/>
                            <a:pt x="0" y="20267"/>
                          </a:cubicBezTo>
                          <a:cubicBezTo>
                            <a:pt x="0" y="10229"/>
                            <a:pt x="10229" y="0"/>
                            <a:pt x="20261" y="0"/>
                          </a:cubicBezTo>
                          <a:cubicBezTo>
                            <a:pt x="30165" y="0"/>
                            <a:pt x="40643" y="10663"/>
                            <a:pt x="40643" y="20746"/>
                          </a:cubicBezTo>
                          <a:cubicBezTo>
                            <a:pt x="40643" y="29859"/>
                            <a:pt x="32646" y="35745"/>
                            <a:pt x="20261" y="35745"/>
                          </a:cubicBezTo>
                          <a:close/>
                          <a:moveTo>
                            <a:pt x="20261" y="12761"/>
                          </a:moveTo>
                          <a:cubicBezTo>
                            <a:pt x="17021" y="12761"/>
                            <a:pt x="12755" y="17487"/>
                            <a:pt x="12755" y="20274"/>
                          </a:cubicBezTo>
                          <a:cubicBezTo>
                            <a:pt x="12755" y="21677"/>
                            <a:pt x="16403" y="22997"/>
                            <a:pt x="20261" y="22997"/>
                          </a:cubicBezTo>
                          <a:cubicBezTo>
                            <a:pt x="24846" y="22997"/>
                            <a:pt x="27888" y="21645"/>
                            <a:pt x="27888" y="20752"/>
                          </a:cubicBezTo>
                          <a:cubicBezTo>
                            <a:pt x="27888" y="17684"/>
                            <a:pt x="23188" y="12761"/>
                            <a:pt x="20261" y="12761"/>
                          </a:cubicBezTo>
                          <a:close/>
                        </a:path>
                      </a:pathLst>
                    </a:custGeom>
                    <a:solidFill>
                      <a:schemeClr val="accent1"/>
                    </a:solidFill>
                    <a:ln w="637" cap="flat">
                      <a:noFill/>
                      <a:prstDash val="solid"/>
                      <a:miter/>
                    </a:ln>
                  </p:spPr>
                  <p:txBody>
                    <a:bodyPr rtlCol="0" anchor="ctr"/>
                    <a:lstStyle/>
                    <a:p>
                      <a:endParaRPr lang="en-GB" dirty="0"/>
                    </a:p>
                  </p:txBody>
                </p:sp>
                <p:sp>
                  <p:nvSpPr>
                    <p:cNvPr id="956" name="Freeform: Shape 955">
                      <a:extLst>
                        <a:ext uri="{FF2B5EF4-FFF2-40B4-BE49-F238E27FC236}">
                          <a16:creationId xmlns:a16="http://schemas.microsoft.com/office/drawing/2014/main" id="{202AC894-0A60-41C4-995C-637D8E87FAA1}"/>
                        </a:ext>
                      </a:extLst>
                    </p:cNvPr>
                    <p:cNvSpPr/>
                    <p:nvPr/>
                  </p:nvSpPr>
                  <p:spPr>
                    <a:xfrm>
                      <a:off x="6063682" y="3385146"/>
                      <a:ext cx="12754" cy="32454"/>
                    </a:xfrm>
                    <a:custGeom>
                      <a:avLst/>
                      <a:gdLst>
                        <a:gd name="connsiteX0" fmla="*/ 6377 w 12754"/>
                        <a:gd name="connsiteY0" fmla="*/ 32454 h 32454"/>
                        <a:gd name="connsiteX1" fmla="*/ 0 w 12754"/>
                        <a:gd name="connsiteY1" fmla="*/ 26077 h 32454"/>
                        <a:gd name="connsiteX2" fmla="*/ 0 w 12754"/>
                        <a:gd name="connsiteY2" fmla="*/ 6377 h 32454"/>
                        <a:gd name="connsiteX3" fmla="*/ 6377 w 12754"/>
                        <a:gd name="connsiteY3" fmla="*/ 0 h 32454"/>
                        <a:gd name="connsiteX4" fmla="*/ 12755 w 12754"/>
                        <a:gd name="connsiteY4" fmla="*/ 6377 h 32454"/>
                        <a:gd name="connsiteX5" fmla="*/ 12755 w 12754"/>
                        <a:gd name="connsiteY5" fmla="*/ 26077 h 32454"/>
                        <a:gd name="connsiteX6" fmla="*/ 6377 w 12754"/>
                        <a:gd name="connsiteY6" fmla="*/ 32454 h 3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32454">
                          <a:moveTo>
                            <a:pt x="6377" y="32454"/>
                          </a:moveTo>
                          <a:cubicBezTo>
                            <a:pt x="2857" y="32454"/>
                            <a:pt x="0" y="29604"/>
                            <a:pt x="0" y="26077"/>
                          </a:cubicBezTo>
                          <a:lnTo>
                            <a:pt x="0" y="6377"/>
                          </a:lnTo>
                          <a:cubicBezTo>
                            <a:pt x="0" y="2851"/>
                            <a:pt x="2857" y="0"/>
                            <a:pt x="6377" y="0"/>
                          </a:cubicBezTo>
                          <a:cubicBezTo>
                            <a:pt x="9898" y="0"/>
                            <a:pt x="12755" y="2851"/>
                            <a:pt x="12755" y="6377"/>
                          </a:cubicBezTo>
                          <a:lnTo>
                            <a:pt x="12755" y="26077"/>
                          </a:lnTo>
                          <a:cubicBezTo>
                            <a:pt x="12755" y="29604"/>
                            <a:pt x="9898" y="32454"/>
                            <a:pt x="6377" y="32454"/>
                          </a:cubicBezTo>
                          <a:close/>
                        </a:path>
                      </a:pathLst>
                    </a:custGeom>
                    <a:solidFill>
                      <a:schemeClr val="accent1"/>
                    </a:solidFill>
                    <a:ln w="637" cap="flat">
                      <a:noFill/>
                      <a:prstDash val="solid"/>
                      <a:miter/>
                    </a:ln>
                  </p:spPr>
                  <p:txBody>
                    <a:bodyPr rtlCol="0" anchor="ctr"/>
                    <a:lstStyle/>
                    <a:p>
                      <a:endParaRPr lang="en-GB" dirty="0"/>
                    </a:p>
                  </p:txBody>
                </p:sp>
              </p:grpSp>
              <p:grpSp>
                <p:nvGrpSpPr>
                  <p:cNvPr id="949" name="Graphic 32">
                    <a:extLst>
                      <a:ext uri="{FF2B5EF4-FFF2-40B4-BE49-F238E27FC236}">
                        <a16:creationId xmlns:a16="http://schemas.microsoft.com/office/drawing/2014/main" id="{0E3BF90C-B888-417A-B611-4109E214369F}"/>
                      </a:ext>
                    </a:extLst>
                  </p:cNvPr>
                  <p:cNvGrpSpPr/>
                  <p:nvPr/>
                </p:nvGrpSpPr>
                <p:grpSpPr>
                  <a:xfrm>
                    <a:off x="6107984" y="3366809"/>
                    <a:ext cx="48849" cy="48488"/>
                    <a:chOff x="6107984" y="3366809"/>
                    <a:chExt cx="48849" cy="48488"/>
                  </a:xfrm>
                  <a:solidFill>
                    <a:schemeClr val="accent1"/>
                  </a:solidFill>
                </p:grpSpPr>
                <p:sp>
                  <p:nvSpPr>
                    <p:cNvPr id="953" name="Freeform: Shape 952">
                      <a:extLst>
                        <a:ext uri="{FF2B5EF4-FFF2-40B4-BE49-F238E27FC236}">
                          <a16:creationId xmlns:a16="http://schemas.microsoft.com/office/drawing/2014/main" id="{84AC0891-B5F3-4978-ABE3-B3A3558F6B2B}"/>
                        </a:ext>
                      </a:extLst>
                    </p:cNvPr>
                    <p:cNvSpPr/>
                    <p:nvPr/>
                  </p:nvSpPr>
                  <p:spPr>
                    <a:xfrm>
                      <a:off x="6118449" y="3377378"/>
                      <a:ext cx="38383" cy="37919"/>
                    </a:xfrm>
                    <a:custGeom>
                      <a:avLst/>
                      <a:gdLst>
                        <a:gd name="connsiteX0" fmla="*/ 15167 w 38383"/>
                        <a:gd name="connsiteY0" fmla="*/ 37920 h 37919"/>
                        <a:gd name="connsiteX1" fmla="*/ 5333 w 38383"/>
                        <a:gd name="connsiteY1" fmla="*/ 33883 h 37919"/>
                        <a:gd name="connsiteX2" fmla="*/ 1 w 38383"/>
                        <a:gd name="connsiteY2" fmla="*/ 19719 h 37919"/>
                        <a:gd name="connsiteX3" fmla="*/ 5333 w 38383"/>
                        <a:gd name="connsiteY3" fmla="*/ 5229 h 37919"/>
                        <a:gd name="connsiteX4" fmla="*/ 20141 w 38383"/>
                        <a:gd name="connsiteY4" fmla="*/ 19 h 37919"/>
                        <a:gd name="connsiteX5" fmla="*/ 34414 w 38383"/>
                        <a:gd name="connsiteY5" fmla="*/ 5484 h 37919"/>
                        <a:gd name="connsiteX6" fmla="*/ 34414 w 38383"/>
                        <a:gd name="connsiteY6" fmla="*/ 5484 h 37919"/>
                        <a:gd name="connsiteX7" fmla="*/ 34414 w 38383"/>
                        <a:gd name="connsiteY7" fmla="*/ 5484 h 37919"/>
                        <a:gd name="connsiteX8" fmla="*/ 34420 w 38383"/>
                        <a:gd name="connsiteY8" fmla="*/ 5484 h 37919"/>
                        <a:gd name="connsiteX9" fmla="*/ 30613 w 38383"/>
                        <a:gd name="connsiteY9" fmla="*/ 30503 h 37919"/>
                        <a:gd name="connsiteX10" fmla="*/ 19586 w 38383"/>
                        <a:gd name="connsiteY10" fmla="*/ 37295 h 37919"/>
                        <a:gd name="connsiteX11" fmla="*/ 15167 w 38383"/>
                        <a:gd name="connsiteY11" fmla="*/ 37920 h 37919"/>
                        <a:gd name="connsiteX12" fmla="*/ 19484 w 38383"/>
                        <a:gd name="connsiteY12" fmla="*/ 12767 h 37919"/>
                        <a:gd name="connsiteX13" fmla="*/ 14363 w 38383"/>
                        <a:gd name="connsiteY13" fmla="*/ 14247 h 37919"/>
                        <a:gd name="connsiteX14" fmla="*/ 12756 w 38383"/>
                        <a:gd name="connsiteY14" fmla="*/ 19604 h 37919"/>
                        <a:gd name="connsiteX15" fmla="*/ 14357 w 38383"/>
                        <a:gd name="connsiteY15" fmla="*/ 24865 h 37919"/>
                        <a:gd name="connsiteX16" fmla="*/ 16155 w 38383"/>
                        <a:gd name="connsiteY16" fmla="*/ 25006 h 37919"/>
                        <a:gd name="connsiteX17" fmla="*/ 21595 w 38383"/>
                        <a:gd name="connsiteY17" fmla="*/ 21479 h 37919"/>
                        <a:gd name="connsiteX18" fmla="*/ 25402 w 38383"/>
                        <a:gd name="connsiteY18" fmla="*/ 14496 h 37919"/>
                        <a:gd name="connsiteX19" fmla="*/ 25396 w 38383"/>
                        <a:gd name="connsiteY19" fmla="*/ 14496 h 37919"/>
                        <a:gd name="connsiteX20" fmla="*/ 19822 w 38383"/>
                        <a:gd name="connsiteY20" fmla="*/ 12767 h 37919"/>
                        <a:gd name="connsiteX21" fmla="*/ 19484 w 38383"/>
                        <a:gd name="connsiteY21" fmla="*/ 12767 h 37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8383" h="37919">
                          <a:moveTo>
                            <a:pt x="15167" y="37920"/>
                          </a:moveTo>
                          <a:cubicBezTo>
                            <a:pt x="11430" y="37920"/>
                            <a:pt x="7986" y="36536"/>
                            <a:pt x="5333" y="33883"/>
                          </a:cubicBezTo>
                          <a:cubicBezTo>
                            <a:pt x="1997" y="30548"/>
                            <a:pt x="52" y="25382"/>
                            <a:pt x="1" y="19719"/>
                          </a:cubicBezTo>
                          <a:cubicBezTo>
                            <a:pt x="-56" y="13960"/>
                            <a:pt x="1889" y="8679"/>
                            <a:pt x="5333" y="5229"/>
                          </a:cubicBezTo>
                          <a:cubicBezTo>
                            <a:pt x="8796" y="1766"/>
                            <a:pt x="14191" y="-217"/>
                            <a:pt x="20141" y="19"/>
                          </a:cubicBezTo>
                          <a:cubicBezTo>
                            <a:pt x="25887" y="166"/>
                            <a:pt x="31085" y="2162"/>
                            <a:pt x="34414" y="5484"/>
                          </a:cubicBezTo>
                          <a:lnTo>
                            <a:pt x="34414" y="5484"/>
                          </a:lnTo>
                          <a:lnTo>
                            <a:pt x="34414" y="5484"/>
                          </a:lnTo>
                          <a:lnTo>
                            <a:pt x="34420" y="5484"/>
                          </a:lnTo>
                          <a:cubicBezTo>
                            <a:pt x="40855" y="11926"/>
                            <a:pt x="39362" y="21747"/>
                            <a:pt x="30613" y="30503"/>
                          </a:cubicBezTo>
                          <a:cubicBezTo>
                            <a:pt x="27284" y="33825"/>
                            <a:pt x="23368" y="36243"/>
                            <a:pt x="19586" y="37295"/>
                          </a:cubicBezTo>
                          <a:cubicBezTo>
                            <a:pt x="18088" y="37716"/>
                            <a:pt x="16608" y="37920"/>
                            <a:pt x="15167" y="37920"/>
                          </a:cubicBezTo>
                          <a:close/>
                          <a:moveTo>
                            <a:pt x="19484" y="12767"/>
                          </a:moveTo>
                          <a:cubicBezTo>
                            <a:pt x="16971" y="12767"/>
                            <a:pt x="15109" y="13494"/>
                            <a:pt x="14363" y="14247"/>
                          </a:cubicBezTo>
                          <a:cubicBezTo>
                            <a:pt x="13368" y="15242"/>
                            <a:pt x="12737" y="17346"/>
                            <a:pt x="12756" y="19604"/>
                          </a:cubicBezTo>
                          <a:cubicBezTo>
                            <a:pt x="12782" y="22142"/>
                            <a:pt x="13604" y="24113"/>
                            <a:pt x="14357" y="24865"/>
                          </a:cubicBezTo>
                          <a:cubicBezTo>
                            <a:pt x="14554" y="25063"/>
                            <a:pt x="14867" y="25382"/>
                            <a:pt x="16155" y="25006"/>
                          </a:cubicBezTo>
                          <a:cubicBezTo>
                            <a:pt x="17813" y="24546"/>
                            <a:pt x="19848" y="23226"/>
                            <a:pt x="21595" y="21479"/>
                          </a:cubicBezTo>
                          <a:cubicBezTo>
                            <a:pt x="24886" y="18182"/>
                            <a:pt x="26046" y="15146"/>
                            <a:pt x="25402" y="14496"/>
                          </a:cubicBezTo>
                          <a:cubicBezTo>
                            <a:pt x="25402" y="14496"/>
                            <a:pt x="25402" y="14496"/>
                            <a:pt x="25396" y="14496"/>
                          </a:cubicBezTo>
                          <a:cubicBezTo>
                            <a:pt x="24612" y="13711"/>
                            <a:pt x="22533" y="12831"/>
                            <a:pt x="19822" y="12767"/>
                          </a:cubicBezTo>
                          <a:cubicBezTo>
                            <a:pt x="19707" y="12767"/>
                            <a:pt x="19593" y="12767"/>
                            <a:pt x="19484" y="12767"/>
                          </a:cubicBezTo>
                          <a:close/>
                        </a:path>
                      </a:pathLst>
                    </a:custGeom>
                    <a:solidFill>
                      <a:schemeClr val="accent1"/>
                    </a:solidFill>
                    <a:ln w="637" cap="flat">
                      <a:noFill/>
                      <a:prstDash val="solid"/>
                      <a:miter/>
                    </a:ln>
                  </p:spPr>
                  <p:txBody>
                    <a:bodyPr rtlCol="0" anchor="ctr"/>
                    <a:lstStyle/>
                    <a:p>
                      <a:endParaRPr lang="en-GB" dirty="0"/>
                    </a:p>
                  </p:txBody>
                </p:sp>
                <p:sp>
                  <p:nvSpPr>
                    <p:cNvPr id="954" name="Freeform: Shape 953">
                      <a:extLst>
                        <a:ext uri="{FF2B5EF4-FFF2-40B4-BE49-F238E27FC236}">
                          <a16:creationId xmlns:a16="http://schemas.microsoft.com/office/drawing/2014/main" id="{33192DAC-A02D-4844-9ADE-5A3C9627AB52}"/>
                        </a:ext>
                      </a:extLst>
                    </p:cNvPr>
                    <p:cNvSpPr/>
                    <p:nvPr/>
                  </p:nvSpPr>
                  <p:spPr>
                    <a:xfrm>
                      <a:off x="6107984" y="3366809"/>
                      <a:ext cx="26686" cy="26690"/>
                    </a:xfrm>
                    <a:custGeom>
                      <a:avLst/>
                      <a:gdLst>
                        <a:gd name="connsiteX0" fmla="*/ 20307 w 26686"/>
                        <a:gd name="connsiteY0" fmla="*/ 26691 h 26690"/>
                        <a:gd name="connsiteX1" fmla="*/ 15798 w 26686"/>
                        <a:gd name="connsiteY1" fmla="*/ 24822 h 26690"/>
                        <a:gd name="connsiteX2" fmla="*/ 1870 w 26686"/>
                        <a:gd name="connsiteY2" fmla="*/ 10888 h 26690"/>
                        <a:gd name="connsiteX3" fmla="*/ 1870 w 26686"/>
                        <a:gd name="connsiteY3" fmla="*/ 1870 h 26690"/>
                        <a:gd name="connsiteX4" fmla="*/ 10888 w 26686"/>
                        <a:gd name="connsiteY4" fmla="*/ 1870 h 26690"/>
                        <a:gd name="connsiteX5" fmla="*/ 24816 w 26686"/>
                        <a:gd name="connsiteY5" fmla="*/ 15805 h 26690"/>
                        <a:gd name="connsiteX6" fmla="*/ 24816 w 26686"/>
                        <a:gd name="connsiteY6" fmla="*/ 24822 h 26690"/>
                        <a:gd name="connsiteX7" fmla="*/ 20307 w 26686"/>
                        <a:gd name="connsiteY7" fmla="*/ 26691 h 2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90">
                          <a:moveTo>
                            <a:pt x="20307" y="26691"/>
                          </a:moveTo>
                          <a:cubicBezTo>
                            <a:pt x="18675" y="26691"/>
                            <a:pt x="17042" y="26066"/>
                            <a:pt x="15798" y="24822"/>
                          </a:cubicBezTo>
                          <a:lnTo>
                            <a:pt x="1870" y="10888"/>
                          </a:lnTo>
                          <a:cubicBezTo>
                            <a:pt x="-623" y="8394"/>
                            <a:pt x="-623" y="4364"/>
                            <a:pt x="1870" y="1870"/>
                          </a:cubicBezTo>
                          <a:cubicBezTo>
                            <a:pt x="4364" y="-623"/>
                            <a:pt x="8394" y="-623"/>
                            <a:pt x="10888" y="1870"/>
                          </a:cubicBezTo>
                          <a:lnTo>
                            <a:pt x="24816" y="15805"/>
                          </a:lnTo>
                          <a:cubicBezTo>
                            <a:pt x="27310" y="18298"/>
                            <a:pt x="27310" y="22329"/>
                            <a:pt x="24816" y="24822"/>
                          </a:cubicBezTo>
                          <a:cubicBezTo>
                            <a:pt x="23572" y="26072"/>
                            <a:pt x="21940" y="26691"/>
                            <a:pt x="20307" y="26691"/>
                          </a:cubicBezTo>
                          <a:close/>
                        </a:path>
                      </a:pathLst>
                    </a:custGeom>
                    <a:solidFill>
                      <a:schemeClr val="accent1"/>
                    </a:solidFill>
                    <a:ln w="637" cap="flat">
                      <a:noFill/>
                      <a:prstDash val="solid"/>
                      <a:miter/>
                    </a:ln>
                  </p:spPr>
                  <p:txBody>
                    <a:bodyPr rtlCol="0" anchor="ctr"/>
                    <a:lstStyle/>
                    <a:p>
                      <a:endParaRPr lang="en-GB" dirty="0"/>
                    </a:p>
                  </p:txBody>
                </p:sp>
              </p:grpSp>
              <p:grpSp>
                <p:nvGrpSpPr>
                  <p:cNvPr id="950" name="Graphic 32">
                    <a:extLst>
                      <a:ext uri="{FF2B5EF4-FFF2-40B4-BE49-F238E27FC236}">
                        <a16:creationId xmlns:a16="http://schemas.microsoft.com/office/drawing/2014/main" id="{3DD69785-A4B8-4B77-8219-FA5481E46111}"/>
                      </a:ext>
                    </a:extLst>
                  </p:cNvPr>
                  <p:cNvGrpSpPr/>
                  <p:nvPr/>
                </p:nvGrpSpPr>
                <p:grpSpPr>
                  <a:xfrm>
                    <a:off x="5983441" y="3366962"/>
                    <a:ext cx="48801" cy="48488"/>
                    <a:chOff x="5983441" y="3366962"/>
                    <a:chExt cx="48801" cy="48488"/>
                  </a:xfrm>
                  <a:solidFill>
                    <a:schemeClr val="accent1"/>
                  </a:solidFill>
                </p:grpSpPr>
                <p:sp>
                  <p:nvSpPr>
                    <p:cNvPr id="951" name="Freeform: Shape 950">
                      <a:extLst>
                        <a:ext uri="{FF2B5EF4-FFF2-40B4-BE49-F238E27FC236}">
                          <a16:creationId xmlns:a16="http://schemas.microsoft.com/office/drawing/2014/main" id="{6C6F563A-11B4-4322-98DC-DE6DC31BC834}"/>
                        </a:ext>
                      </a:extLst>
                    </p:cNvPr>
                    <p:cNvSpPr/>
                    <p:nvPr/>
                  </p:nvSpPr>
                  <p:spPr>
                    <a:xfrm>
                      <a:off x="5983441" y="3377587"/>
                      <a:ext cx="38327" cy="37864"/>
                    </a:xfrm>
                    <a:custGeom>
                      <a:avLst/>
                      <a:gdLst>
                        <a:gd name="connsiteX0" fmla="*/ 23175 w 38327"/>
                        <a:gd name="connsiteY0" fmla="*/ 37864 h 37864"/>
                        <a:gd name="connsiteX1" fmla="*/ 18756 w 38327"/>
                        <a:gd name="connsiteY1" fmla="*/ 37239 h 37864"/>
                        <a:gd name="connsiteX2" fmla="*/ 7729 w 38327"/>
                        <a:gd name="connsiteY2" fmla="*/ 30441 h 37864"/>
                        <a:gd name="connsiteX3" fmla="*/ 797 w 38327"/>
                        <a:gd name="connsiteY3" fmla="*/ 19784 h 37864"/>
                        <a:gd name="connsiteX4" fmla="*/ 3928 w 38327"/>
                        <a:gd name="connsiteY4" fmla="*/ 5422 h 37864"/>
                        <a:gd name="connsiteX5" fmla="*/ 3928 w 38327"/>
                        <a:gd name="connsiteY5" fmla="*/ 5422 h 37864"/>
                        <a:gd name="connsiteX6" fmla="*/ 33009 w 38327"/>
                        <a:gd name="connsiteY6" fmla="*/ 5174 h 37864"/>
                        <a:gd name="connsiteX7" fmla="*/ 33009 w 38327"/>
                        <a:gd name="connsiteY7" fmla="*/ 33827 h 37864"/>
                        <a:gd name="connsiteX8" fmla="*/ 23175 w 38327"/>
                        <a:gd name="connsiteY8" fmla="*/ 37864 h 37864"/>
                        <a:gd name="connsiteX9" fmla="*/ 12939 w 38327"/>
                        <a:gd name="connsiteY9" fmla="*/ 14440 h 37864"/>
                        <a:gd name="connsiteX10" fmla="*/ 12933 w 38327"/>
                        <a:gd name="connsiteY10" fmla="*/ 15875 h 37864"/>
                        <a:gd name="connsiteX11" fmla="*/ 16747 w 38327"/>
                        <a:gd name="connsiteY11" fmla="*/ 21417 h 37864"/>
                        <a:gd name="connsiteX12" fmla="*/ 22187 w 38327"/>
                        <a:gd name="connsiteY12" fmla="*/ 24956 h 37864"/>
                        <a:gd name="connsiteX13" fmla="*/ 23979 w 38327"/>
                        <a:gd name="connsiteY13" fmla="*/ 24816 h 37864"/>
                        <a:gd name="connsiteX14" fmla="*/ 23985 w 38327"/>
                        <a:gd name="connsiteY14" fmla="*/ 14198 h 37864"/>
                        <a:gd name="connsiteX15" fmla="*/ 12939 w 38327"/>
                        <a:gd name="connsiteY15" fmla="*/ 14440 h 37864"/>
                        <a:gd name="connsiteX16" fmla="*/ 12939 w 38327"/>
                        <a:gd name="connsiteY16" fmla="*/ 14440 h 37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327" h="37864">
                          <a:moveTo>
                            <a:pt x="23175" y="37864"/>
                          </a:moveTo>
                          <a:cubicBezTo>
                            <a:pt x="21734" y="37864"/>
                            <a:pt x="20254" y="37660"/>
                            <a:pt x="18756" y="37239"/>
                          </a:cubicBezTo>
                          <a:cubicBezTo>
                            <a:pt x="14974" y="36181"/>
                            <a:pt x="11058" y="33764"/>
                            <a:pt x="7729" y="30441"/>
                          </a:cubicBezTo>
                          <a:cubicBezTo>
                            <a:pt x="5376" y="28094"/>
                            <a:pt x="2264" y="24332"/>
                            <a:pt x="797" y="19784"/>
                          </a:cubicBezTo>
                          <a:cubicBezTo>
                            <a:pt x="-944" y="14383"/>
                            <a:pt x="197" y="9153"/>
                            <a:pt x="3928" y="5422"/>
                          </a:cubicBezTo>
                          <a:lnTo>
                            <a:pt x="3928" y="5422"/>
                          </a:lnTo>
                          <a:cubicBezTo>
                            <a:pt x="11065" y="-1701"/>
                            <a:pt x="26007" y="-1829"/>
                            <a:pt x="33009" y="5174"/>
                          </a:cubicBezTo>
                          <a:cubicBezTo>
                            <a:pt x="40101" y="12265"/>
                            <a:pt x="40101" y="26729"/>
                            <a:pt x="33009" y="33827"/>
                          </a:cubicBezTo>
                          <a:cubicBezTo>
                            <a:pt x="30350" y="36480"/>
                            <a:pt x="26906" y="37864"/>
                            <a:pt x="23175" y="37864"/>
                          </a:cubicBezTo>
                          <a:close/>
                          <a:moveTo>
                            <a:pt x="12939" y="14440"/>
                          </a:moveTo>
                          <a:cubicBezTo>
                            <a:pt x="12774" y="14606"/>
                            <a:pt x="12582" y="14804"/>
                            <a:pt x="12933" y="15875"/>
                          </a:cubicBezTo>
                          <a:cubicBezTo>
                            <a:pt x="13462" y="17501"/>
                            <a:pt x="14853" y="19523"/>
                            <a:pt x="16747" y="21417"/>
                          </a:cubicBezTo>
                          <a:cubicBezTo>
                            <a:pt x="18501" y="23171"/>
                            <a:pt x="20535" y="24491"/>
                            <a:pt x="22187" y="24956"/>
                          </a:cubicBezTo>
                          <a:cubicBezTo>
                            <a:pt x="23469" y="25320"/>
                            <a:pt x="23781" y="25020"/>
                            <a:pt x="23979" y="24816"/>
                          </a:cubicBezTo>
                          <a:cubicBezTo>
                            <a:pt x="25949" y="22846"/>
                            <a:pt x="26275" y="16487"/>
                            <a:pt x="23985" y="14198"/>
                          </a:cubicBezTo>
                          <a:cubicBezTo>
                            <a:pt x="21759" y="11972"/>
                            <a:pt x="14936" y="12457"/>
                            <a:pt x="12939" y="14440"/>
                          </a:cubicBezTo>
                          <a:lnTo>
                            <a:pt x="12939" y="14440"/>
                          </a:lnTo>
                          <a:close/>
                        </a:path>
                      </a:pathLst>
                    </a:custGeom>
                    <a:solidFill>
                      <a:schemeClr val="accent1"/>
                    </a:solidFill>
                    <a:ln w="637" cap="flat">
                      <a:noFill/>
                      <a:prstDash val="solid"/>
                      <a:miter/>
                    </a:ln>
                  </p:spPr>
                  <p:txBody>
                    <a:bodyPr rtlCol="0" anchor="ctr"/>
                    <a:lstStyle/>
                    <a:p>
                      <a:endParaRPr lang="en-GB" dirty="0"/>
                    </a:p>
                  </p:txBody>
                </p:sp>
                <p:sp>
                  <p:nvSpPr>
                    <p:cNvPr id="952" name="Freeform: Shape 951">
                      <a:extLst>
                        <a:ext uri="{FF2B5EF4-FFF2-40B4-BE49-F238E27FC236}">
                          <a16:creationId xmlns:a16="http://schemas.microsoft.com/office/drawing/2014/main" id="{ABD86CC2-120F-4352-A1C6-554B1BEC15E9}"/>
                        </a:ext>
                      </a:extLst>
                    </p:cNvPr>
                    <p:cNvSpPr/>
                    <p:nvPr/>
                  </p:nvSpPr>
                  <p:spPr>
                    <a:xfrm>
                      <a:off x="6005556" y="3366962"/>
                      <a:ext cx="26686" cy="26690"/>
                    </a:xfrm>
                    <a:custGeom>
                      <a:avLst/>
                      <a:gdLst>
                        <a:gd name="connsiteX0" fmla="*/ 6379 w 26686"/>
                        <a:gd name="connsiteY0" fmla="*/ 26691 h 26690"/>
                        <a:gd name="connsiteX1" fmla="*/ 1870 w 26686"/>
                        <a:gd name="connsiteY1" fmla="*/ 24822 h 26690"/>
                        <a:gd name="connsiteX2" fmla="*/ 1870 w 26686"/>
                        <a:gd name="connsiteY2" fmla="*/ 15805 h 26690"/>
                        <a:gd name="connsiteX3" fmla="*/ 15798 w 26686"/>
                        <a:gd name="connsiteY3" fmla="*/ 1870 h 26690"/>
                        <a:gd name="connsiteX4" fmla="*/ 24816 w 26686"/>
                        <a:gd name="connsiteY4" fmla="*/ 1870 h 26690"/>
                        <a:gd name="connsiteX5" fmla="*/ 24816 w 26686"/>
                        <a:gd name="connsiteY5" fmla="*/ 10888 h 26690"/>
                        <a:gd name="connsiteX6" fmla="*/ 10888 w 26686"/>
                        <a:gd name="connsiteY6" fmla="*/ 24822 h 26690"/>
                        <a:gd name="connsiteX7" fmla="*/ 6379 w 26686"/>
                        <a:gd name="connsiteY7" fmla="*/ 26691 h 2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90">
                          <a:moveTo>
                            <a:pt x="6379" y="26691"/>
                          </a:moveTo>
                          <a:cubicBezTo>
                            <a:pt x="4746" y="26691"/>
                            <a:pt x="3114" y="26066"/>
                            <a:pt x="1870" y="24822"/>
                          </a:cubicBezTo>
                          <a:cubicBezTo>
                            <a:pt x="-623" y="22329"/>
                            <a:pt x="-623" y="18298"/>
                            <a:pt x="1870" y="15805"/>
                          </a:cubicBezTo>
                          <a:lnTo>
                            <a:pt x="15798" y="1870"/>
                          </a:lnTo>
                          <a:cubicBezTo>
                            <a:pt x="18292" y="-623"/>
                            <a:pt x="22322" y="-623"/>
                            <a:pt x="24816" y="1870"/>
                          </a:cubicBezTo>
                          <a:cubicBezTo>
                            <a:pt x="27310" y="4364"/>
                            <a:pt x="27310" y="8394"/>
                            <a:pt x="24816" y="10888"/>
                          </a:cubicBezTo>
                          <a:lnTo>
                            <a:pt x="10888" y="24822"/>
                          </a:lnTo>
                          <a:cubicBezTo>
                            <a:pt x="9644" y="26066"/>
                            <a:pt x="8012" y="26691"/>
                            <a:pt x="6379" y="26691"/>
                          </a:cubicBezTo>
                          <a:close/>
                        </a:path>
                      </a:pathLst>
                    </a:custGeom>
                    <a:solidFill>
                      <a:schemeClr val="accent1"/>
                    </a:solidFill>
                    <a:ln w="637" cap="flat">
                      <a:noFill/>
                      <a:prstDash val="solid"/>
                      <a:miter/>
                    </a:ln>
                  </p:spPr>
                  <p:txBody>
                    <a:bodyPr rtlCol="0" anchor="ctr"/>
                    <a:lstStyle/>
                    <a:p>
                      <a:endParaRPr lang="en-GB" dirty="0"/>
                    </a:p>
                  </p:txBody>
                </p:sp>
              </p:grpSp>
            </p:grpSp>
            <p:sp>
              <p:nvSpPr>
                <p:cNvPr id="940" name="Freeform: Shape 939">
                  <a:extLst>
                    <a:ext uri="{FF2B5EF4-FFF2-40B4-BE49-F238E27FC236}">
                      <a16:creationId xmlns:a16="http://schemas.microsoft.com/office/drawing/2014/main" id="{B0ACA7D6-BCA0-448E-93EB-CB9FF9569B92}"/>
                    </a:ext>
                  </a:extLst>
                </p:cNvPr>
                <p:cNvSpPr/>
                <p:nvPr/>
              </p:nvSpPr>
              <p:spPr>
                <a:xfrm>
                  <a:off x="6089724" y="3379643"/>
                  <a:ext cx="17727" cy="23589"/>
                </a:xfrm>
                <a:custGeom>
                  <a:avLst/>
                  <a:gdLst>
                    <a:gd name="connsiteX0" fmla="*/ 11354 w 17727"/>
                    <a:gd name="connsiteY0" fmla="*/ 23589 h 23589"/>
                    <a:gd name="connsiteX1" fmla="*/ 5557 w 17727"/>
                    <a:gd name="connsiteY1" fmla="*/ 19871 h 23589"/>
                    <a:gd name="connsiteX2" fmla="*/ 583 w 17727"/>
                    <a:gd name="connsiteY2" fmla="*/ 9036 h 23589"/>
                    <a:gd name="connsiteX3" fmla="*/ 3714 w 17727"/>
                    <a:gd name="connsiteY3" fmla="*/ 580 h 23589"/>
                    <a:gd name="connsiteX4" fmla="*/ 12170 w 17727"/>
                    <a:gd name="connsiteY4" fmla="*/ 3717 h 23589"/>
                    <a:gd name="connsiteX5" fmla="*/ 17145 w 17727"/>
                    <a:gd name="connsiteY5" fmla="*/ 14553 h 23589"/>
                    <a:gd name="connsiteX6" fmla="*/ 14014 w 17727"/>
                    <a:gd name="connsiteY6" fmla="*/ 23009 h 23589"/>
                    <a:gd name="connsiteX7" fmla="*/ 11354 w 17727"/>
                    <a:gd name="connsiteY7" fmla="*/ 23589 h 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27" h="23589">
                      <a:moveTo>
                        <a:pt x="11354" y="23589"/>
                      </a:moveTo>
                      <a:cubicBezTo>
                        <a:pt x="8943" y="23589"/>
                        <a:pt x="6628" y="22212"/>
                        <a:pt x="5557" y="19871"/>
                      </a:cubicBezTo>
                      <a:lnTo>
                        <a:pt x="583" y="9036"/>
                      </a:lnTo>
                      <a:cubicBezTo>
                        <a:pt x="-884" y="5835"/>
                        <a:pt x="513" y="2047"/>
                        <a:pt x="3714" y="580"/>
                      </a:cubicBezTo>
                      <a:cubicBezTo>
                        <a:pt x="6909" y="-881"/>
                        <a:pt x="10704" y="510"/>
                        <a:pt x="12170" y="3717"/>
                      </a:cubicBezTo>
                      <a:lnTo>
                        <a:pt x="17145" y="14553"/>
                      </a:lnTo>
                      <a:cubicBezTo>
                        <a:pt x="18612" y="17754"/>
                        <a:pt x="17215" y="21542"/>
                        <a:pt x="14014" y="23009"/>
                      </a:cubicBezTo>
                      <a:cubicBezTo>
                        <a:pt x="13146" y="23404"/>
                        <a:pt x="12241" y="23589"/>
                        <a:pt x="11354" y="23589"/>
                      </a:cubicBezTo>
                      <a:close/>
                    </a:path>
                  </a:pathLst>
                </a:custGeom>
                <a:solidFill>
                  <a:schemeClr val="accent1"/>
                </a:solidFill>
                <a:ln w="637" cap="flat">
                  <a:noFill/>
                  <a:prstDash val="solid"/>
                  <a:miter/>
                </a:ln>
              </p:spPr>
              <p:txBody>
                <a:bodyPr rtlCol="0" anchor="ctr"/>
                <a:lstStyle/>
                <a:p>
                  <a:endParaRPr lang="en-GB" dirty="0"/>
                </a:p>
              </p:txBody>
            </p:sp>
            <p:sp>
              <p:nvSpPr>
                <p:cNvPr id="941" name="Freeform: Shape 940">
                  <a:extLst>
                    <a:ext uri="{FF2B5EF4-FFF2-40B4-BE49-F238E27FC236}">
                      <a16:creationId xmlns:a16="http://schemas.microsoft.com/office/drawing/2014/main" id="{E0D39AD0-7674-42ED-8C55-AA9B601649ED}"/>
                    </a:ext>
                  </a:extLst>
                </p:cNvPr>
                <p:cNvSpPr/>
                <p:nvPr/>
              </p:nvSpPr>
              <p:spPr>
                <a:xfrm>
                  <a:off x="6032303" y="3254620"/>
                  <a:ext cx="17820" cy="23787"/>
                </a:xfrm>
                <a:custGeom>
                  <a:avLst/>
                  <a:gdLst>
                    <a:gd name="connsiteX0" fmla="*/ 11442 w 17820"/>
                    <a:gd name="connsiteY0" fmla="*/ 23787 h 23787"/>
                    <a:gd name="connsiteX1" fmla="*/ 5645 w 17820"/>
                    <a:gd name="connsiteY1" fmla="*/ 20069 h 23787"/>
                    <a:gd name="connsiteX2" fmla="*/ 582 w 17820"/>
                    <a:gd name="connsiteY2" fmla="*/ 9036 h 23787"/>
                    <a:gd name="connsiteX3" fmla="*/ 3719 w 17820"/>
                    <a:gd name="connsiteY3" fmla="*/ 580 h 23787"/>
                    <a:gd name="connsiteX4" fmla="*/ 12176 w 17820"/>
                    <a:gd name="connsiteY4" fmla="*/ 3717 h 23787"/>
                    <a:gd name="connsiteX5" fmla="*/ 17239 w 17820"/>
                    <a:gd name="connsiteY5" fmla="*/ 14750 h 23787"/>
                    <a:gd name="connsiteX6" fmla="*/ 14102 w 17820"/>
                    <a:gd name="connsiteY6" fmla="*/ 23207 h 23787"/>
                    <a:gd name="connsiteX7" fmla="*/ 11442 w 17820"/>
                    <a:gd name="connsiteY7" fmla="*/ 23787 h 2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20" h="23787">
                      <a:moveTo>
                        <a:pt x="11442" y="23787"/>
                      </a:moveTo>
                      <a:cubicBezTo>
                        <a:pt x="9032" y="23787"/>
                        <a:pt x="6717" y="22410"/>
                        <a:pt x="5645" y="20069"/>
                      </a:cubicBezTo>
                      <a:lnTo>
                        <a:pt x="582" y="9036"/>
                      </a:lnTo>
                      <a:cubicBezTo>
                        <a:pt x="-885" y="5835"/>
                        <a:pt x="518" y="2047"/>
                        <a:pt x="3719" y="580"/>
                      </a:cubicBezTo>
                      <a:cubicBezTo>
                        <a:pt x="6902" y="-881"/>
                        <a:pt x="10696" y="510"/>
                        <a:pt x="12176" y="3717"/>
                      </a:cubicBezTo>
                      <a:lnTo>
                        <a:pt x="17239" y="14750"/>
                      </a:lnTo>
                      <a:cubicBezTo>
                        <a:pt x="18706" y="17952"/>
                        <a:pt x="17303" y="21740"/>
                        <a:pt x="14102" y="23207"/>
                      </a:cubicBezTo>
                      <a:cubicBezTo>
                        <a:pt x="13241" y="23596"/>
                        <a:pt x="12335" y="23787"/>
                        <a:pt x="11442" y="23787"/>
                      </a:cubicBezTo>
                      <a:close/>
                    </a:path>
                  </a:pathLst>
                </a:custGeom>
                <a:solidFill>
                  <a:schemeClr val="accent1"/>
                </a:solidFill>
                <a:ln w="637" cap="flat">
                  <a:noFill/>
                  <a:prstDash val="solid"/>
                  <a:miter/>
                </a:ln>
              </p:spPr>
              <p:txBody>
                <a:bodyPr rtlCol="0" anchor="ctr"/>
                <a:lstStyle/>
                <a:p>
                  <a:endParaRPr lang="en-GB" dirty="0"/>
                </a:p>
              </p:txBody>
            </p:sp>
            <p:sp>
              <p:nvSpPr>
                <p:cNvPr id="942" name="Freeform: Shape 941">
                  <a:extLst>
                    <a:ext uri="{FF2B5EF4-FFF2-40B4-BE49-F238E27FC236}">
                      <a16:creationId xmlns:a16="http://schemas.microsoft.com/office/drawing/2014/main" id="{CB0759EC-A2C1-4A98-992B-55DE965F236B}"/>
                    </a:ext>
                  </a:extLst>
                </p:cNvPr>
                <p:cNvSpPr/>
                <p:nvPr/>
              </p:nvSpPr>
              <p:spPr>
                <a:xfrm>
                  <a:off x="6121281" y="3348761"/>
                  <a:ext cx="23248" cy="17545"/>
                </a:xfrm>
                <a:custGeom>
                  <a:avLst/>
                  <a:gdLst>
                    <a:gd name="connsiteX0" fmla="*/ 16870 w 23248"/>
                    <a:gd name="connsiteY0" fmla="*/ 17546 h 17545"/>
                    <a:gd name="connsiteX1" fmla="*/ 14223 w 23248"/>
                    <a:gd name="connsiteY1" fmla="*/ 16972 h 17545"/>
                    <a:gd name="connsiteX2" fmla="*/ 3732 w 23248"/>
                    <a:gd name="connsiteY2" fmla="*/ 12189 h 17545"/>
                    <a:gd name="connsiteX3" fmla="*/ 575 w 23248"/>
                    <a:gd name="connsiteY3" fmla="*/ 3739 h 17545"/>
                    <a:gd name="connsiteX4" fmla="*/ 9025 w 23248"/>
                    <a:gd name="connsiteY4" fmla="*/ 582 h 17545"/>
                    <a:gd name="connsiteX5" fmla="*/ 19516 w 23248"/>
                    <a:gd name="connsiteY5" fmla="*/ 5365 h 17545"/>
                    <a:gd name="connsiteX6" fmla="*/ 22673 w 23248"/>
                    <a:gd name="connsiteY6" fmla="*/ 13815 h 17545"/>
                    <a:gd name="connsiteX7" fmla="*/ 16870 w 23248"/>
                    <a:gd name="connsiteY7" fmla="*/ 17546 h 1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48" h="17545">
                      <a:moveTo>
                        <a:pt x="16870" y="17546"/>
                      </a:moveTo>
                      <a:cubicBezTo>
                        <a:pt x="15983" y="17546"/>
                        <a:pt x="15084" y="17367"/>
                        <a:pt x="14223" y="16972"/>
                      </a:cubicBezTo>
                      <a:lnTo>
                        <a:pt x="3732" y="12189"/>
                      </a:lnTo>
                      <a:cubicBezTo>
                        <a:pt x="531" y="10728"/>
                        <a:pt x="-885" y="6946"/>
                        <a:pt x="575" y="3739"/>
                      </a:cubicBezTo>
                      <a:cubicBezTo>
                        <a:pt x="2036" y="531"/>
                        <a:pt x="5811" y="-891"/>
                        <a:pt x="9025" y="582"/>
                      </a:cubicBezTo>
                      <a:lnTo>
                        <a:pt x="19516" y="5365"/>
                      </a:lnTo>
                      <a:cubicBezTo>
                        <a:pt x="22718" y="6825"/>
                        <a:pt x="24134" y="10607"/>
                        <a:pt x="22673" y="13815"/>
                      </a:cubicBezTo>
                      <a:cubicBezTo>
                        <a:pt x="21602" y="16162"/>
                        <a:pt x="19287" y="17546"/>
                        <a:pt x="16870" y="17546"/>
                      </a:cubicBezTo>
                      <a:close/>
                    </a:path>
                  </a:pathLst>
                </a:custGeom>
                <a:solidFill>
                  <a:schemeClr val="accent1"/>
                </a:solidFill>
                <a:ln w="637" cap="flat">
                  <a:noFill/>
                  <a:prstDash val="solid"/>
                  <a:miter/>
                </a:ln>
              </p:spPr>
              <p:txBody>
                <a:bodyPr rtlCol="0" anchor="ctr"/>
                <a:lstStyle/>
                <a:p>
                  <a:endParaRPr lang="en-GB" dirty="0"/>
                </a:p>
              </p:txBody>
            </p:sp>
            <p:sp>
              <p:nvSpPr>
                <p:cNvPr id="943" name="Freeform: Shape 942">
                  <a:extLst>
                    <a:ext uri="{FF2B5EF4-FFF2-40B4-BE49-F238E27FC236}">
                      <a16:creationId xmlns:a16="http://schemas.microsoft.com/office/drawing/2014/main" id="{E1DE8B5D-1E01-4036-B766-1795411F515E}"/>
                    </a:ext>
                  </a:extLst>
                </p:cNvPr>
                <p:cNvSpPr/>
                <p:nvPr/>
              </p:nvSpPr>
              <p:spPr>
                <a:xfrm>
                  <a:off x="5995735" y="3291536"/>
                  <a:ext cx="23541" cy="17680"/>
                </a:xfrm>
                <a:custGeom>
                  <a:avLst/>
                  <a:gdLst>
                    <a:gd name="connsiteX0" fmla="*/ 17163 w 23541"/>
                    <a:gd name="connsiteY0" fmla="*/ 17681 h 17680"/>
                    <a:gd name="connsiteX1" fmla="*/ 14516 w 23541"/>
                    <a:gd name="connsiteY1" fmla="*/ 17107 h 17680"/>
                    <a:gd name="connsiteX2" fmla="*/ 3732 w 23541"/>
                    <a:gd name="connsiteY2" fmla="*/ 12190 h 17680"/>
                    <a:gd name="connsiteX3" fmla="*/ 575 w 23541"/>
                    <a:gd name="connsiteY3" fmla="*/ 3740 h 17680"/>
                    <a:gd name="connsiteX4" fmla="*/ 9025 w 23541"/>
                    <a:gd name="connsiteY4" fmla="*/ 583 h 17680"/>
                    <a:gd name="connsiteX5" fmla="*/ 19810 w 23541"/>
                    <a:gd name="connsiteY5" fmla="*/ 5500 h 17680"/>
                    <a:gd name="connsiteX6" fmla="*/ 22966 w 23541"/>
                    <a:gd name="connsiteY6" fmla="*/ 13950 h 17680"/>
                    <a:gd name="connsiteX7" fmla="*/ 17163 w 23541"/>
                    <a:gd name="connsiteY7" fmla="*/ 17681 h 1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41" h="17680">
                      <a:moveTo>
                        <a:pt x="17163" y="17681"/>
                      </a:moveTo>
                      <a:cubicBezTo>
                        <a:pt x="16277" y="17681"/>
                        <a:pt x="15377" y="17502"/>
                        <a:pt x="14516" y="17107"/>
                      </a:cubicBezTo>
                      <a:lnTo>
                        <a:pt x="3732" y="12190"/>
                      </a:lnTo>
                      <a:cubicBezTo>
                        <a:pt x="531" y="10729"/>
                        <a:pt x="-885" y="6948"/>
                        <a:pt x="575" y="3740"/>
                      </a:cubicBezTo>
                      <a:cubicBezTo>
                        <a:pt x="2036" y="526"/>
                        <a:pt x="5818" y="-890"/>
                        <a:pt x="9025" y="583"/>
                      </a:cubicBezTo>
                      <a:lnTo>
                        <a:pt x="19810" y="5500"/>
                      </a:lnTo>
                      <a:cubicBezTo>
                        <a:pt x="23011" y="6960"/>
                        <a:pt x="24427" y="10742"/>
                        <a:pt x="22966" y="13950"/>
                      </a:cubicBezTo>
                      <a:cubicBezTo>
                        <a:pt x="21901" y="16297"/>
                        <a:pt x="19586" y="17681"/>
                        <a:pt x="17163" y="17681"/>
                      </a:cubicBezTo>
                      <a:close/>
                    </a:path>
                  </a:pathLst>
                </a:custGeom>
                <a:solidFill>
                  <a:schemeClr val="accent1"/>
                </a:solidFill>
                <a:ln w="637" cap="flat">
                  <a:noFill/>
                  <a:prstDash val="solid"/>
                  <a:miter/>
                </a:ln>
              </p:spPr>
              <p:txBody>
                <a:bodyPr rtlCol="0" anchor="ctr"/>
                <a:lstStyle/>
                <a:p>
                  <a:endParaRPr lang="en-GB" dirty="0"/>
                </a:p>
              </p:txBody>
            </p:sp>
            <p:sp>
              <p:nvSpPr>
                <p:cNvPr id="944" name="Freeform: Shape 943">
                  <a:extLst>
                    <a:ext uri="{FF2B5EF4-FFF2-40B4-BE49-F238E27FC236}">
                      <a16:creationId xmlns:a16="http://schemas.microsoft.com/office/drawing/2014/main" id="{D89FB6F4-FD0B-421C-B2BA-912F7EB6EA39}"/>
                    </a:ext>
                  </a:extLst>
                </p:cNvPr>
                <p:cNvSpPr/>
                <p:nvPr/>
              </p:nvSpPr>
              <p:spPr>
                <a:xfrm>
                  <a:off x="6120674" y="3292216"/>
                  <a:ext cx="23950" cy="17727"/>
                </a:xfrm>
                <a:custGeom>
                  <a:avLst/>
                  <a:gdLst>
                    <a:gd name="connsiteX0" fmla="*/ 6386 w 23950"/>
                    <a:gd name="connsiteY0" fmla="*/ 17727 h 17727"/>
                    <a:gd name="connsiteX1" fmla="*/ 550 w 23950"/>
                    <a:gd name="connsiteY1" fmla="*/ 13933 h 17727"/>
                    <a:gd name="connsiteX2" fmla="*/ 3790 w 23950"/>
                    <a:gd name="connsiteY2" fmla="*/ 5521 h 17727"/>
                    <a:gd name="connsiteX3" fmla="*/ 14982 w 23950"/>
                    <a:gd name="connsiteY3" fmla="*/ 553 h 17727"/>
                    <a:gd name="connsiteX4" fmla="*/ 23401 w 23950"/>
                    <a:gd name="connsiteY4" fmla="*/ 3799 h 17727"/>
                    <a:gd name="connsiteX5" fmla="*/ 20161 w 23950"/>
                    <a:gd name="connsiteY5" fmla="*/ 12211 h 17727"/>
                    <a:gd name="connsiteX6" fmla="*/ 8969 w 23950"/>
                    <a:gd name="connsiteY6" fmla="*/ 17179 h 17727"/>
                    <a:gd name="connsiteX7" fmla="*/ 6386 w 23950"/>
                    <a:gd name="connsiteY7" fmla="*/ 17727 h 17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50" h="17727">
                      <a:moveTo>
                        <a:pt x="6386" y="17727"/>
                      </a:moveTo>
                      <a:cubicBezTo>
                        <a:pt x="3943" y="17727"/>
                        <a:pt x="1609" y="16311"/>
                        <a:pt x="550" y="13933"/>
                      </a:cubicBezTo>
                      <a:cubicBezTo>
                        <a:pt x="-878" y="10719"/>
                        <a:pt x="570" y="6950"/>
                        <a:pt x="3790" y="5521"/>
                      </a:cubicBezTo>
                      <a:lnTo>
                        <a:pt x="14982" y="553"/>
                      </a:lnTo>
                      <a:cubicBezTo>
                        <a:pt x="18184" y="-882"/>
                        <a:pt x="21966" y="572"/>
                        <a:pt x="23401" y="3799"/>
                      </a:cubicBezTo>
                      <a:cubicBezTo>
                        <a:pt x="24829" y="7013"/>
                        <a:pt x="23381" y="10782"/>
                        <a:pt x="20161" y="12211"/>
                      </a:cubicBezTo>
                      <a:lnTo>
                        <a:pt x="8969" y="17179"/>
                      </a:lnTo>
                      <a:cubicBezTo>
                        <a:pt x="8127" y="17555"/>
                        <a:pt x="7247" y="17727"/>
                        <a:pt x="6386" y="17727"/>
                      </a:cubicBezTo>
                      <a:close/>
                    </a:path>
                  </a:pathLst>
                </a:custGeom>
                <a:solidFill>
                  <a:schemeClr val="accent1"/>
                </a:solidFill>
                <a:ln w="637" cap="flat">
                  <a:noFill/>
                  <a:prstDash val="solid"/>
                  <a:miter/>
                </a:ln>
              </p:spPr>
              <p:txBody>
                <a:bodyPr rtlCol="0" anchor="ctr"/>
                <a:lstStyle/>
                <a:p>
                  <a:endParaRPr lang="en-GB" dirty="0"/>
                </a:p>
              </p:txBody>
            </p:sp>
            <p:sp>
              <p:nvSpPr>
                <p:cNvPr id="945" name="Freeform: Shape 944">
                  <a:extLst>
                    <a:ext uri="{FF2B5EF4-FFF2-40B4-BE49-F238E27FC236}">
                      <a16:creationId xmlns:a16="http://schemas.microsoft.com/office/drawing/2014/main" id="{3AC1EA23-632D-450E-A092-F66AA953D382}"/>
                    </a:ext>
                  </a:extLst>
                </p:cNvPr>
                <p:cNvSpPr/>
                <p:nvPr/>
              </p:nvSpPr>
              <p:spPr>
                <a:xfrm>
                  <a:off x="5995231" y="3348184"/>
                  <a:ext cx="23325" cy="17446"/>
                </a:xfrm>
                <a:custGeom>
                  <a:avLst/>
                  <a:gdLst>
                    <a:gd name="connsiteX0" fmla="*/ 6386 w 23325"/>
                    <a:gd name="connsiteY0" fmla="*/ 17447 h 17446"/>
                    <a:gd name="connsiteX1" fmla="*/ 550 w 23325"/>
                    <a:gd name="connsiteY1" fmla="*/ 13652 h 17446"/>
                    <a:gd name="connsiteX2" fmla="*/ 3790 w 23325"/>
                    <a:gd name="connsiteY2" fmla="*/ 5240 h 17446"/>
                    <a:gd name="connsiteX3" fmla="*/ 14357 w 23325"/>
                    <a:gd name="connsiteY3" fmla="*/ 553 h 17446"/>
                    <a:gd name="connsiteX4" fmla="*/ 22776 w 23325"/>
                    <a:gd name="connsiteY4" fmla="*/ 3799 h 17446"/>
                    <a:gd name="connsiteX5" fmla="*/ 19536 w 23325"/>
                    <a:gd name="connsiteY5" fmla="*/ 12211 h 17446"/>
                    <a:gd name="connsiteX6" fmla="*/ 8968 w 23325"/>
                    <a:gd name="connsiteY6" fmla="*/ 16898 h 17446"/>
                    <a:gd name="connsiteX7" fmla="*/ 6386 w 23325"/>
                    <a:gd name="connsiteY7" fmla="*/ 17447 h 17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25" h="17446">
                      <a:moveTo>
                        <a:pt x="6386" y="17447"/>
                      </a:moveTo>
                      <a:cubicBezTo>
                        <a:pt x="3943" y="17447"/>
                        <a:pt x="1609" y="16031"/>
                        <a:pt x="550" y="13652"/>
                      </a:cubicBezTo>
                      <a:cubicBezTo>
                        <a:pt x="-878" y="10432"/>
                        <a:pt x="570" y="6663"/>
                        <a:pt x="3790" y="5240"/>
                      </a:cubicBezTo>
                      <a:lnTo>
                        <a:pt x="14357" y="553"/>
                      </a:lnTo>
                      <a:cubicBezTo>
                        <a:pt x="17572" y="-882"/>
                        <a:pt x="21341" y="572"/>
                        <a:pt x="22776" y="3799"/>
                      </a:cubicBezTo>
                      <a:cubicBezTo>
                        <a:pt x="24204" y="7020"/>
                        <a:pt x="22756" y="10789"/>
                        <a:pt x="19536" y="12211"/>
                      </a:cubicBezTo>
                      <a:lnTo>
                        <a:pt x="8968" y="16898"/>
                      </a:lnTo>
                      <a:cubicBezTo>
                        <a:pt x="8127" y="17274"/>
                        <a:pt x="7253" y="17447"/>
                        <a:pt x="6386" y="17447"/>
                      </a:cubicBezTo>
                      <a:close/>
                    </a:path>
                  </a:pathLst>
                </a:custGeom>
                <a:solidFill>
                  <a:schemeClr val="accent1"/>
                </a:solidFill>
                <a:ln w="637" cap="flat">
                  <a:noFill/>
                  <a:prstDash val="solid"/>
                  <a:miter/>
                </a:ln>
              </p:spPr>
              <p:txBody>
                <a:bodyPr rtlCol="0" anchor="ctr"/>
                <a:lstStyle/>
                <a:p>
                  <a:endParaRPr lang="en-GB" dirty="0"/>
                </a:p>
              </p:txBody>
            </p:sp>
            <p:sp>
              <p:nvSpPr>
                <p:cNvPr id="946" name="Freeform: Shape 945">
                  <a:extLst>
                    <a:ext uri="{FF2B5EF4-FFF2-40B4-BE49-F238E27FC236}">
                      <a16:creationId xmlns:a16="http://schemas.microsoft.com/office/drawing/2014/main" id="{B557190D-F5BC-4E35-9FF7-12B6850B2580}"/>
                    </a:ext>
                  </a:extLst>
                </p:cNvPr>
                <p:cNvSpPr/>
                <p:nvPr/>
              </p:nvSpPr>
              <p:spPr>
                <a:xfrm>
                  <a:off x="6032394" y="3380110"/>
                  <a:ext cx="17525" cy="23147"/>
                </a:xfrm>
                <a:custGeom>
                  <a:avLst/>
                  <a:gdLst>
                    <a:gd name="connsiteX0" fmla="*/ 6378 w 17525"/>
                    <a:gd name="connsiteY0" fmla="*/ 23147 h 23147"/>
                    <a:gd name="connsiteX1" fmla="*/ 3725 w 17525"/>
                    <a:gd name="connsiteY1" fmla="*/ 22567 h 23147"/>
                    <a:gd name="connsiteX2" fmla="*/ 580 w 17525"/>
                    <a:gd name="connsiteY2" fmla="*/ 14111 h 23147"/>
                    <a:gd name="connsiteX3" fmla="*/ 5344 w 17525"/>
                    <a:gd name="connsiteY3" fmla="*/ 3715 h 23147"/>
                    <a:gd name="connsiteX4" fmla="*/ 13801 w 17525"/>
                    <a:gd name="connsiteY4" fmla="*/ 578 h 23147"/>
                    <a:gd name="connsiteX5" fmla="*/ 16945 w 17525"/>
                    <a:gd name="connsiteY5" fmla="*/ 9034 h 23147"/>
                    <a:gd name="connsiteX6" fmla="*/ 12181 w 17525"/>
                    <a:gd name="connsiteY6" fmla="*/ 19429 h 23147"/>
                    <a:gd name="connsiteX7" fmla="*/ 6378 w 17525"/>
                    <a:gd name="connsiteY7" fmla="*/ 23147 h 23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5" h="23147">
                      <a:moveTo>
                        <a:pt x="6378" y="23147"/>
                      </a:moveTo>
                      <a:cubicBezTo>
                        <a:pt x="5485" y="23147"/>
                        <a:pt x="4585" y="22962"/>
                        <a:pt x="3725" y="22567"/>
                      </a:cubicBezTo>
                      <a:cubicBezTo>
                        <a:pt x="523" y="21100"/>
                        <a:pt x="-886" y="17312"/>
                        <a:pt x="580" y="14111"/>
                      </a:cubicBezTo>
                      <a:lnTo>
                        <a:pt x="5344" y="3715"/>
                      </a:lnTo>
                      <a:cubicBezTo>
                        <a:pt x="6811" y="520"/>
                        <a:pt x="10606" y="-883"/>
                        <a:pt x="13801" y="578"/>
                      </a:cubicBezTo>
                      <a:cubicBezTo>
                        <a:pt x="17002" y="2045"/>
                        <a:pt x="18412" y="5833"/>
                        <a:pt x="16945" y="9034"/>
                      </a:cubicBezTo>
                      <a:lnTo>
                        <a:pt x="12181" y="19429"/>
                      </a:lnTo>
                      <a:cubicBezTo>
                        <a:pt x="11103" y="21764"/>
                        <a:pt x="8788" y="23147"/>
                        <a:pt x="6378" y="23147"/>
                      </a:cubicBezTo>
                      <a:close/>
                    </a:path>
                  </a:pathLst>
                </a:custGeom>
                <a:solidFill>
                  <a:schemeClr val="accent1"/>
                </a:solidFill>
                <a:ln w="637" cap="flat">
                  <a:noFill/>
                  <a:prstDash val="solid"/>
                  <a:miter/>
                </a:ln>
              </p:spPr>
              <p:txBody>
                <a:bodyPr rtlCol="0" anchor="ctr"/>
                <a:lstStyle/>
                <a:p>
                  <a:endParaRPr lang="en-GB" dirty="0"/>
                </a:p>
              </p:txBody>
            </p:sp>
            <p:sp>
              <p:nvSpPr>
                <p:cNvPr id="947" name="Freeform: Shape 946">
                  <a:extLst>
                    <a:ext uri="{FF2B5EF4-FFF2-40B4-BE49-F238E27FC236}">
                      <a16:creationId xmlns:a16="http://schemas.microsoft.com/office/drawing/2014/main" id="{0CF05011-2592-404B-81B8-FC358D2C0AA5}"/>
                    </a:ext>
                  </a:extLst>
                </p:cNvPr>
                <p:cNvSpPr/>
                <p:nvPr/>
              </p:nvSpPr>
              <p:spPr>
                <a:xfrm>
                  <a:off x="6089739" y="3254596"/>
                  <a:ext cx="17691" cy="23518"/>
                </a:xfrm>
                <a:custGeom>
                  <a:avLst/>
                  <a:gdLst>
                    <a:gd name="connsiteX0" fmla="*/ 6377 w 17691"/>
                    <a:gd name="connsiteY0" fmla="*/ 23518 h 23518"/>
                    <a:gd name="connsiteX1" fmla="*/ 3725 w 17691"/>
                    <a:gd name="connsiteY1" fmla="*/ 22938 h 23518"/>
                    <a:gd name="connsiteX2" fmla="*/ 580 w 17691"/>
                    <a:gd name="connsiteY2" fmla="*/ 14488 h 23518"/>
                    <a:gd name="connsiteX3" fmla="*/ 5510 w 17691"/>
                    <a:gd name="connsiteY3" fmla="*/ 3723 h 23518"/>
                    <a:gd name="connsiteX4" fmla="*/ 13967 w 17691"/>
                    <a:gd name="connsiteY4" fmla="*/ 579 h 23518"/>
                    <a:gd name="connsiteX5" fmla="*/ 17111 w 17691"/>
                    <a:gd name="connsiteY5" fmla="*/ 9029 h 23518"/>
                    <a:gd name="connsiteX6" fmla="*/ 12181 w 17691"/>
                    <a:gd name="connsiteY6" fmla="*/ 19794 h 23518"/>
                    <a:gd name="connsiteX7" fmla="*/ 6377 w 17691"/>
                    <a:gd name="connsiteY7" fmla="*/ 23518 h 23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91" h="23518">
                      <a:moveTo>
                        <a:pt x="6377" y="23518"/>
                      </a:moveTo>
                      <a:cubicBezTo>
                        <a:pt x="5485" y="23518"/>
                        <a:pt x="4585" y="23333"/>
                        <a:pt x="3725" y="22938"/>
                      </a:cubicBezTo>
                      <a:cubicBezTo>
                        <a:pt x="523" y="21471"/>
                        <a:pt x="-886" y="17689"/>
                        <a:pt x="580" y="14488"/>
                      </a:cubicBezTo>
                      <a:lnTo>
                        <a:pt x="5510" y="3723"/>
                      </a:lnTo>
                      <a:cubicBezTo>
                        <a:pt x="6971" y="515"/>
                        <a:pt x="10752" y="-882"/>
                        <a:pt x="13967" y="579"/>
                      </a:cubicBezTo>
                      <a:cubicBezTo>
                        <a:pt x="17168" y="2046"/>
                        <a:pt x="18577" y="5827"/>
                        <a:pt x="17111" y="9029"/>
                      </a:cubicBezTo>
                      <a:lnTo>
                        <a:pt x="12181" y="19794"/>
                      </a:lnTo>
                      <a:cubicBezTo>
                        <a:pt x="11110" y="22134"/>
                        <a:pt x="8795" y="23518"/>
                        <a:pt x="6377" y="23518"/>
                      </a:cubicBezTo>
                      <a:close/>
                    </a:path>
                  </a:pathLst>
                </a:custGeom>
                <a:solidFill>
                  <a:schemeClr val="accent1"/>
                </a:solidFill>
                <a:ln w="637" cap="flat">
                  <a:noFill/>
                  <a:prstDash val="solid"/>
                  <a:miter/>
                </a:ln>
              </p:spPr>
              <p:txBody>
                <a:bodyPr rtlCol="0" anchor="ctr"/>
                <a:lstStyle/>
                <a:p>
                  <a:endParaRPr lang="en-GB" dirty="0"/>
                </a:p>
              </p:txBody>
            </p:sp>
          </p:grpSp>
          <p:sp>
            <p:nvSpPr>
              <p:cNvPr id="932" name="Freeform: Shape 931">
                <a:extLst>
                  <a:ext uri="{FF2B5EF4-FFF2-40B4-BE49-F238E27FC236}">
                    <a16:creationId xmlns:a16="http://schemas.microsoft.com/office/drawing/2014/main" id="{9269BB6D-E443-462B-8F96-520FE71530AD}"/>
                  </a:ext>
                </a:extLst>
              </p:cNvPr>
              <p:cNvSpPr/>
              <p:nvPr/>
            </p:nvSpPr>
            <p:spPr>
              <a:xfrm>
                <a:off x="6034977" y="3302108"/>
                <a:ext cx="18194" cy="14582"/>
              </a:xfrm>
              <a:custGeom>
                <a:avLst/>
                <a:gdLst>
                  <a:gd name="connsiteX0" fmla="*/ 6377 w 18194"/>
                  <a:gd name="connsiteY0" fmla="*/ 14583 h 14582"/>
                  <a:gd name="connsiteX1" fmla="*/ 332 w 18194"/>
                  <a:gd name="connsiteY1" fmla="*/ 10233 h 14582"/>
                  <a:gd name="connsiteX2" fmla="*/ 4349 w 18194"/>
                  <a:gd name="connsiteY2" fmla="*/ 2153 h 14582"/>
                  <a:gd name="connsiteX3" fmla="*/ 9789 w 18194"/>
                  <a:gd name="connsiteY3" fmla="*/ 329 h 14582"/>
                  <a:gd name="connsiteX4" fmla="*/ 17863 w 18194"/>
                  <a:gd name="connsiteY4" fmla="*/ 4347 h 14582"/>
                  <a:gd name="connsiteX5" fmla="*/ 13845 w 18194"/>
                  <a:gd name="connsiteY5" fmla="*/ 12427 h 14582"/>
                  <a:gd name="connsiteX6" fmla="*/ 8405 w 18194"/>
                  <a:gd name="connsiteY6" fmla="*/ 14251 h 14582"/>
                  <a:gd name="connsiteX7" fmla="*/ 6377 w 18194"/>
                  <a:gd name="connsiteY7" fmla="*/ 14583 h 14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4" h="14582">
                    <a:moveTo>
                      <a:pt x="6377" y="14583"/>
                    </a:moveTo>
                    <a:cubicBezTo>
                      <a:pt x="3712" y="14583"/>
                      <a:pt x="1224" y="12899"/>
                      <a:pt x="332" y="10233"/>
                    </a:cubicBezTo>
                    <a:cubicBezTo>
                      <a:pt x="-785" y="6891"/>
                      <a:pt x="1008" y="3276"/>
                      <a:pt x="4349" y="2153"/>
                    </a:cubicBezTo>
                    <a:lnTo>
                      <a:pt x="9789" y="329"/>
                    </a:lnTo>
                    <a:cubicBezTo>
                      <a:pt x="13125" y="-781"/>
                      <a:pt x="16741" y="1005"/>
                      <a:pt x="17863" y="4347"/>
                    </a:cubicBezTo>
                    <a:cubicBezTo>
                      <a:pt x="18979" y="7689"/>
                      <a:pt x="17187" y="11305"/>
                      <a:pt x="13845" y="12427"/>
                    </a:cubicBezTo>
                    <a:lnTo>
                      <a:pt x="8405" y="14251"/>
                    </a:lnTo>
                    <a:cubicBezTo>
                      <a:pt x="7736" y="14474"/>
                      <a:pt x="7053" y="14583"/>
                      <a:pt x="6377" y="14583"/>
                    </a:cubicBezTo>
                    <a:close/>
                  </a:path>
                </a:pathLst>
              </a:custGeom>
              <a:solidFill>
                <a:schemeClr val="accent1"/>
              </a:solidFill>
              <a:ln w="637" cap="flat">
                <a:noFill/>
                <a:prstDash val="solid"/>
                <a:miter/>
              </a:ln>
            </p:spPr>
            <p:txBody>
              <a:bodyPr rtlCol="0" anchor="ctr"/>
              <a:lstStyle/>
              <a:p>
                <a:endParaRPr lang="en-GB" dirty="0"/>
              </a:p>
            </p:txBody>
          </p:sp>
          <p:sp>
            <p:nvSpPr>
              <p:cNvPr id="933" name="Freeform: Shape 932">
                <a:extLst>
                  <a:ext uri="{FF2B5EF4-FFF2-40B4-BE49-F238E27FC236}">
                    <a16:creationId xmlns:a16="http://schemas.microsoft.com/office/drawing/2014/main" id="{69ACED3F-3EEF-43DF-A782-36C187BD7E78}"/>
                  </a:ext>
                </a:extLst>
              </p:cNvPr>
              <p:cNvSpPr/>
              <p:nvPr/>
            </p:nvSpPr>
            <p:spPr>
              <a:xfrm>
                <a:off x="6049629" y="3349209"/>
                <a:ext cx="20980" cy="14163"/>
              </a:xfrm>
              <a:custGeom>
                <a:avLst/>
                <a:gdLst>
                  <a:gd name="connsiteX0" fmla="*/ 6374 w 20980"/>
                  <a:gd name="connsiteY0" fmla="*/ 14164 h 14163"/>
                  <a:gd name="connsiteX1" fmla="*/ 92 w 20980"/>
                  <a:gd name="connsiteY1" fmla="*/ 8864 h 14163"/>
                  <a:gd name="connsiteX2" fmla="*/ 5302 w 20980"/>
                  <a:gd name="connsiteY2" fmla="*/ 1505 h 14163"/>
                  <a:gd name="connsiteX3" fmla="*/ 13523 w 20980"/>
                  <a:gd name="connsiteY3" fmla="*/ 96 h 14163"/>
                  <a:gd name="connsiteX4" fmla="*/ 20889 w 20980"/>
                  <a:gd name="connsiteY4" fmla="*/ 5299 h 14163"/>
                  <a:gd name="connsiteX5" fmla="*/ 15678 w 20980"/>
                  <a:gd name="connsiteY5" fmla="*/ 12659 h 14163"/>
                  <a:gd name="connsiteX6" fmla="*/ 7458 w 20980"/>
                  <a:gd name="connsiteY6" fmla="*/ 14068 h 14163"/>
                  <a:gd name="connsiteX7" fmla="*/ 6374 w 20980"/>
                  <a:gd name="connsiteY7" fmla="*/ 14164 h 14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80" h="14163">
                    <a:moveTo>
                      <a:pt x="6374" y="14164"/>
                    </a:moveTo>
                    <a:cubicBezTo>
                      <a:pt x="3319" y="14164"/>
                      <a:pt x="628" y="11970"/>
                      <a:pt x="92" y="8864"/>
                    </a:cubicBezTo>
                    <a:cubicBezTo>
                      <a:pt x="-501" y="5389"/>
                      <a:pt x="1833" y="2092"/>
                      <a:pt x="5302" y="1505"/>
                    </a:cubicBezTo>
                    <a:lnTo>
                      <a:pt x="13523" y="96"/>
                    </a:lnTo>
                    <a:cubicBezTo>
                      <a:pt x="17037" y="-510"/>
                      <a:pt x="20296" y="1830"/>
                      <a:pt x="20889" y="5299"/>
                    </a:cubicBezTo>
                    <a:cubicBezTo>
                      <a:pt x="21482" y="8775"/>
                      <a:pt x="19148" y="12072"/>
                      <a:pt x="15678" y="12659"/>
                    </a:cubicBezTo>
                    <a:lnTo>
                      <a:pt x="7458" y="14068"/>
                    </a:lnTo>
                    <a:cubicBezTo>
                      <a:pt x="7088" y="14132"/>
                      <a:pt x="6725" y="14164"/>
                      <a:pt x="6374" y="14164"/>
                    </a:cubicBezTo>
                    <a:close/>
                  </a:path>
                </a:pathLst>
              </a:custGeom>
              <a:solidFill>
                <a:schemeClr val="accent1"/>
              </a:solidFill>
              <a:ln w="637" cap="flat">
                <a:noFill/>
                <a:prstDash val="solid"/>
                <a:miter/>
              </a:ln>
            </p:spPr>
            <p:txBody>
              <a:bodyPr rtlCol="0" anchor="ctr"/>
              <a:lstStyle/>
              <a:p>
                <a:endParaRPr lang="en-GB" dirty="0"/>
              </a:p>
            </p:txBody>
          </p:sp>
          <p:sp>
            <p:nvSpPr>
              <p:cNvPr id="934" name="Freeform: Shape 933">
                <a:extLst>
                  <a:ext uri="{FF2B5EF4-FFF2-40B4-BE49-F238E27FC236}">
                    <a16:creationId xmlns:a16="http://schemas.microsoft.com/office/drawing/2014/main" id="{6F3C17D5-D887-4F0B-9924-865F486BFDDA}"/>
                  </a:ext>
                </a:extLst>
              </p:cNvPr>
              <p:cNvSpPr/>
              <p:nvPr/>
            </p:nvSpPr>
            <p:spPr>
              <a:xfrm>
                <a:off x="6097164" y="3318053"/>
                <a:ext cx="13811" cy="20723"/>
              </a:xfrm>
              <a:custGeom>
                <a:avLst/>
                <a:gdLst>
                  <a:gd name="connsiteX0" fmla="*/ 7429 w 13811"/>
                  <a:gd name="connsiteY0" fmla="*/ 20723 h 20723"/>
                  <a:gd name="connsiteX1" fmla="*/ 1115 w 13811"/>
                  <a:gd name="connsiteY1" fmla="*/ 15188 h 20723"/>
                  <a:gd name="connsiteX2" fmla="*/ 57 w 13811"/>
                  <a:gd name="connsiteY2" fmla="*/ 7216 h 20723"/>
                  <a:gd name="connsiteX3" fmla="*/ 5535 w 13811"/>
                  <a:gd name="connsiteY3" fmla="*/ 54 h 20723"/>
                  <a:gd name="connsiteX4" fmla="*/ 12697 w 13811"/>
                  <a:gd name="connsiteY4" fmla="*/ 5532 h 20723"/>
                  <a:gd name="connsiteX5" fmla="*/ 13755 w 13811"/>
                  <a:gd name="connsiteY5" fmla="*/ 13504 h 20723"/>
                  <a:gd name="connsiteX6" fmla="*/ 8277 w 13811"/>
                  <a:gd name="connsiteY6" fmla="*/ 20666 h 20723"/>
                  <a:gd name="connsiteX7" fmla="*/ 7429 w 13811"/>
                  <a:gd name="connsiteY7" fmla="*/ 20723 h 20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1" h="20723">
                    <a:moveTo>
                      <a:pt x="7429" y="20723"/>
                    </a:moveTo>
                    <a:cubicBezTo>
                      <a:pt x="4278" y="20723"/>
                      <a:pt x="1543" y="18395"/>
                      <a:pt x="1115" y="15188"/>
                    </a:cubicBezTo>
                    <a:lnTo>
                      <a:pt x="57" y="7216"/>
                    </a:lnTo>
                    <a:cubicBezTo>
                      <a:pt x="-409" y="3727"/>
                      <a:pt x="2046" y="520"/>
                      <a:pt x="5535" y="54"/>
                    </a:cubicBezTo>
                    <a:cubicBezTo>
                      <a:pt x="9011" y="-399"/>
                      <a:pt x="12231" y="2044"/>
                      <a:pt x="12697" y="5532"/>
                    </a:cubicBezTo>
                    <a:lnTo>
                      <a:pt x="13755" y="13504"/>
                    </a:lnTo>
                    <a:cubicBezTo>
                      <a:pt x="14221" y="16992"/>
                      <a:pt x="11766" y="20200"/>
                      <a:pt x="8277" y="20666"/>
                    </a:cubicBezTo>
                    <a:cubicBezTo>
                      <a:pt x="7997" y="20704"/>
                      <a:pt x="7710" y="20723"/>
                      <a:pt x="7429" y="20723"/>
                    </a:cubicBezTo>
                    <a:close/>
                  </a:path>
                </a:pathLst>
              </a:custGeom>
              <a:solidFill>
                <a:schemeClr val="accent1"/>
              </a:solidFill>
              <a:ln w="637" cap="flat">
                <a:noFill/>
                <a:prstDash val="solid"/>
                <a:miter/>
              </a:ln>
            </p:spPr>
            <p:txBody>
              <a:bodyPr rtlCol="0" anchor="ctr"/>
              <a:lstStyle/>
              <a:p>
                <a:endParaRPr lang="en-GB" dirty="0"/>
              </a:p>
            </p:txBody>
          </p:sp>
        </p:grpSp>
        <p:grpSp>
          <p:nvGrpSpPr>
            <p:cNvPr id="920" name="Group 919">
              <a:extLst>
                <a:ext uri="{FF2B5EF4-FFF2-40B4-BE49-F238E27FC236}">
                  <a16:creationId xmlns:a16="http://schemas.microsoft.com/office/drawing/2014/main" id="{B962BEE4-3BD5-4D2A-BA86-A4D1BE96C7CD}"/>
                </a:ext>
              </a:extLst>
            </p:cNvPr>
            <p:cNvGrpSpPr/>
            <p:nvPr/>
          </p:nvGrpSpPr>
          <p:grpSpPr>
            <a:xfrm>
              <a:off x="6046511" y="1822750"/>
              <a:ext cx="418956" cy="251939"/>
              <a:chOff x="1630006" y="3412746"/>
              <a:chExt cx="418956" cy="251939"/>
            </a:xfrm>
            <a:solidFill>
              <a:schemeClr val="tx2"/>
            </a:solidFill>
          </p:grpSpPr>
          <p:grpSp>
            <p:nvGrpSpPr>
              <p:cNvPr id="921" name="Graphic 32">
                <a:extLst>
                  <a:ext uri="{FF2B5EF4-FFF2-40B4-BE49-F238E27FC236}">
                    <a16:creationId xmlns:a16="http://schemas.microsoft.com/office/drawing/2014/main" id="{0D7C46F6-C7EF-4CA9-9FCE-FE1205F132F8}"/>
                  </a:ext>
                </a:extLst>
              </p:cNvPr>
              <p:cNvGrpSpPr/>
              <p:nvPr/>
            </p:nvGrpSpPr>
            <p:grpSpPr>
              <a:xfrm>
                <a:off x="1630006" y="3412746"/>
                <a:ext cx="215651" cy="251939"/>
                <a:chOff x="5861027" y="3412746"/>
                <a:chExt cx="215651" cy="251939"/>
              </a:xfrm>
              <a:grpFill/>
            </p:grpSpPr>
            <p:grpSp>
              <p:nvGrpSpPr>
                <p:cNvPr id="927" name="Graphic 32">
                  <a:extLst>
                    <a:ext uri="{FF2B5EF4-FFF2-40B4-BE49-F238E27FC236}">
                      <a16:creationId xmlns:a16="http://schemas.microsoft.com/office/drawing/2014/main" id="{A43DA8FA-84AB-4FE4-8EC9-BC715469A450}"/>
                    </a:ext>
                  </a:extLst>
                </p:cNvPr>
                <p:cNvGrpSpPr/>
                <p:nvPr/>
              </p:nvGrpSpPr>
              <p:grpSpPr>
                <a:xfrm>
                  <a:off x="5895682" y="3476336"/>
                  <a:ext cx="146342" cy="147190"/>
                  <a:chOff x="5895682" y="3476336"/>
                  <a:chExt cx="146342" cy="147190"/>
                </a:xfrm>
                <a:grpFill/>
              </p:grpSpPr>
              <p:sp>
                <p:nvSpPr>
                  <p:cNvPr id="929" name="Freeform: Shape 928">
                    <a:extLst>
                      <a:ext uri="{FF2B5EF4-FFF2-40B4-BE49-F238E27FC236}">
                        <a16:creationId xmlns:a16="http://schemas.microsoft.com/office/drawing/2014/main" id="{D7DA97A7-A38B-4C61-AB5C-1C9F101BD4FB}"/>
                      </a:ext>
                    </a:extLst>
                  </p:cNvPr>
                  <p:cNvSpPr/>
                  <p:nvPr/>
                </p:nvSpPr>
                <p:spPr>
                  <a:xfrm>
                    <a:off x="5936784" y="3476336"/>
                    <a:ext cx="64131" cy="75501"/>
                  </a:xfrm>
                  <a:custGeom>
                    <a:avLst/>
                    <a:gdLst>
                      <a:gd name="connsiteX0" fmla="*/ 32066 w 64131"/>
                      <a:gd name="connsiteY0" fmla="*/ 75502 h 75501"/>
                      <a:gd name="connsiteX1" fmla="*/ 0 w 64131"/>
                      <a:gd name="connsiteY1" fmla="*/ 37754 h 75501"/>
                      <a:gd name="connsiteX2" fmla="*/ 32066 w 64131"/>
                      <a:gd name="connsiteY2" fmla="*/ 0 h 75501"/>
                      <a:gd name="connsiteX3" fmla="*/ 64131 w 64131"/>
                      <a:gd name="connsiteY3" fmla="*/ 37754 h 75501"/>
                      <a:gd name="connsiteX4" fmla="*/ 32066 w 64131"/>
                      <a:gd name="connsiteY4" fmla="*/ 75502 h 75501"/>
                      <a:gd name="connsiteX5" fmla="*/ 32066 w 64131"/>
                      <a:gd name="connsiteY5" fmla="*/ 12755 h 75501"/>
                      <a:gd name="connsiteX6" fmla="*/ 12755 w 64131"/>
                      <a:gd name="connsiteY6" fmla="*/ 37754 h 75501"/>
                      <a:gd name="connsiteX7" fmla="*/ 32066 w 64131"/>
                      <a:gd name="connsiteY7" fmla="*/ 62747 h 75501"/>
                      <a:gd name="connsiteX8" fmla="*/ 51376 w 64131"/>
                      <a:gd name="connsiteY8" fmla="*/ 37754 h 75501"/>
                      <a:gd name="connsiteX9" fmla="*/ 32066 w 64131"/>
                      <a:gd name="connsiteY9" fmla="*/ 12755 h 7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31" h="75501">
                        <a:moveTo>
                          <a:pt x="32066" y="75502"/>
                        </a:moveTo>
                        <a:cubicBezTo>
                          <a:pt x="12889" y="75502"/>
                          <a:pt x="0" y="60330"/>
                          <a:pt x="0" y="37754"/>
                        </a:cubicBezTo>
                        <a:cubicBezTo>
                          <a:pt x="0" y="15172"/>
                          <a:pt x="12882" y="0"/>
                          <a:pt x="32066" y="0"/>
                        </a:cubicBezTo>
                        <a:cubicBezTo>
                          <a:pt x="51249" y="0"/>
                          <a:pt x="64131" y="15172"/>
                          <a:pt x="64131" y="37754"/>
                        </a:cubicBezTo>
                        <a:cubicBezTo>
                          <a:pt x="64131" y="60330"/>
                          <a:pt x="51249" y="75502"/>
                          <a:pt x="32066" y="75502"/>
                        </a:cubicBezTo>
                        <a:close/>
                        <a:moveTo>
                          <a:pt x="32066" y="12755"/>
                        </a:moveTo>
                        <a:cubicBezTo>
                          <a:pt x="17831" y="12755"/>
                          <a:pt x="12755" y="25669"/>
                          <a:pt x="12755" y="37754"/>
                        </a:cubicBezTo>
                        <a:cubicBezTo>
                          <a:pt x="12755" y="49839"/>
                          <a:pt x="17825" y="62747"/>
                          <a:pt x="32066" y="62747"/>
                        </a:cubicBezTo>
                        <a:cubicBezTo>
                          <a:pt x="46306" y="62747"/>
                          <a:pt x="51376" y="49839"/>
                          <a:pt x="51376" y="37754"/>
                        </a:cubicBezTo>
                        <a:cubicBezTo>
                          <a:pt x="51376" y="25669"/>
                          <a:pt x="46306" y="12755"/>
                          <a:pt x="32066" y="12755"/>
                        </a:cubicBezTo>
                        <a:close/>
                      </a:path>
                    </a:pathLst>
                  </a:custGeom>
                  <a:grpFill/>
                  <a:ln w="637" cap="flat">
                    <a:noFill/>
                    <a:prstDash val="solid"/>
                    <a:miter/>
                  </a:ln>
                </p:spPr>
                <p:txBody>
                  <a:bodyPr rtlCol="0" anchor="ctr"/>
                  <a:lstStyle/>
                  <a:p>
                    <a:endParaRPr lang="en-GB" dirty="0"/>
                  </a:p>
                </p:txBody>
              </p:sp>
              <p:sp>
                <p:nvSpPr>
                  <p:cNvPr id="930" name="Freeform: Shape 929">
                    <a:extLst>
                      <a:ext uri="{FF2B5EF4-FFF2-40B4-BE49-F238E27FC236}">
                        <a16:creationId xmlns:a16="http://schemas.microsoft.com/office/drawing/2014/main" id="{C8D0307F-2007-4AE4-96B8-785B431C029A}"/>
                      </a:ext>
                    </a:extLst>
                  </p:cNvPr>
                  <p:cNvSpPr/>
                  <p:nvPr/>
                </p:nvSpPr>
                <p:spPr>
                  <a:xfrm>
                    <a:off x="5895682" y="3558490"/>
                    <a:ext cx="146342" cy="65036"/>
                  </a:xfrm>
                  <a:custGeom>
                    <a:avLst/>
                    <a:gdLst>
                      <a:gd name="connsiteX0" fmla="*/ 139965 w 146342"/>
                      <a:gd name="connsiteY0" fmla="*/ 65037 h 65036"/>
                      <a:gd name="connsiteX1" fmla="*/ 133587 w 146342"/>
                      <a:gd name="connsiteY1" fmla="*/ 58659 h 65036"/>
                      <a:gd name="connsiteX2" fmla="*/ 90884 w 146342"/>
                      <a:gd name="connsiteY2" fmla="*/ 12755 h 65036"/>
                      <a:gd name="connsiteX3" fmla="*/ 55458 w 146342"/>
                      <a:gd name="connsiteY3" fmla="*/ 12755 h 65036"/>
                      <a:gd name="connsiteX4" fmla="*/ 12755 w 146342"/>
                      <a:gd name="connsiteY4" fmla="*/ 58659 h 65036"/>
                      <a:gd name="connsiteX5" fmla="*/ 6377 w 146342"/>
                      <a:gd name="connsiteY5" fmla="*/ 65037 h 65036"/>
                      <a:gd name="connsiteX6" fmla="*/ 0 w 146342"/>
                      <a:gd name="connsiteY6" fmla="*/ 58659 h 65036"/>
                      <a:gd name="connsiteX7" fmla="*/ 55458 w 146342"/>
                      <a:gd name="connsiteY7" fmla="*/ 0 h 65036"/>
                      <a:gd name="connsiteX8" fmla="*/ 90884 w 146342"/>
                      <a:gd name="connsiteY8" fmla="*/ 0 h 65036"/>
                      <a:gd name="connsiteX9" fmla="*/ 146342 w 146342"/>
                      <a:gd name="connsiteY9" fmla="*/ 58659 h 65036"/>
                      <a:gd name="connsiteX10" fmla="*/ 139965 w 146342"/>
                      <a:gd name="connsiteY10" fmla="*/ 65037 h 65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342" h="65036">
                        <a:moveTo>
                          <a:pt x="139965" y="65037"/>
                        </a:moveTo>
                        <a:cubicBezTo>
                          <a:pt x="136444" y="65037"/>
                          <a:pt x="133587" y="62186"/>
                          <a:pt x="133587" y="58659"/>
                        </a:cubicBezTo>
                        <a:cubicBezTo>
                          <a:pt x="133587" y="32059"/>
                          <a:pt x="115629" y="12755"/>
                          <a:pt x="90884" y="12755"/>
                        </a:cubicBezTo>
                        <a:lnTo>
                          <a:pt x="55458" y="12755"/>
                        </a:lnTo>
                        <a:cubicBezTo>
                          <a:pt x="30713" y="12755"/>
                          <a:pt x="12755" y="32059"/>
                          <a:pt x="12755" y="58659"/>
                        </a:cubicBezTo>
                        <a:cubicBezTo>
                          <a:pt x="12755" y="62186"/>
                          <a:pt x="9898" y="65037"/>
                          <a:pt x="6377" y="65037"/>
                        </a:cubicBezTo>
                        <a:cubicBezTo>
                          <a:pt x="2857" y="65037"/>
                          <a:pt x="0" y="62186"/>
                          <a:pt x="0" y="58659"/>
                        </a:cubicBezTo>
                        <a:cubicBezTo>
                          <a:pt x="0" y="25216"/>
                          <a:pt x="23839" y="0"/>
                          <a:pt x="55458" y="0"/>
                        </a:cubicBezTo>
                        <a:lnTo>
                          <a:pt x="90884" y="0"/>
                        </a:lnTo>
                        <a:cubicBezTo>
                          <a:pt x="122503" y="0"/>
                          <a:pt x="146342" y="25216"/>
                          <a:pt x="146342" y="58659"/>
                        </a:cubicBezTo>
                        <a:cubicBezTo>
                          <a:pt x="146342" y="62186"/>
                          <a:pt x="143485" y="65037"/>
                          <a:pt x="139965" y="65037"/>
                        </a:cubicBezTo>
                        <a:close/>
                      </a:path>
                    </a:pathLst>
                  </a:custGeom>
                  <a:grpFill/>
                  <a:ln w="637" cap="flat">
                    <a:noFill/>
                    <a:prstDash val="solid"/>
                    <a:miter/>
                  </a:ln>
                </p:spPr>
                <p:txBody>
                  <a:bodyPr rtlCol="0" anchor="ctr"/>
                  <a:lstStyle/>
                  <a:p>
                    <a:endParaRPr lang="en-GB" dirty="0"/>
                  </a:p>
                </p:txBody>
              </p:sp>
            </p:grpSp>
            <p:sp>
              <p:nvSpPr>
                <p:cNvPr id="928" name="Freeform: Shape 927">
                  <a:extLst>
                    <a:ext uri="{FF2B5EF4-FFF2-40B4-BE49-F238E27FC236}">
                      <a16:creationId xmlns:a16="http://schemas.microsoft.com/office/drawing/2014/main" id="{1FF3FBF3-D8A4-4C7E-A915-FE38BBE41A16}"/>
                    </a:ext>
                  </a:extLst>
                </p:cNvPr>
                <p:cNvSpPr/>
                <p:nvPr/>
              </p:nvSpPr>
              <p:spPr>
                <a:xfrm>
                  <a:off x="5861027" y="3412746"/>
                  <a:ext cx="215651" cy="251939"/>
                </a:xfrm>
                <a:custGeom>
                  <a:avLst/>
                  <a:gdLst>
                    <a:gd name="connsiteX0" fmla="*/ 109946 w 215651"/>
                    <a:gd name="connsiteY0" fmla="*/ 251940 h 251939"/>
                    <a:gd name="connsiteX1" fmla="*/ 106758 w 215651"/>
                    <a:gd name="connsiteY1" fmla="*/ 251085 h 251939"/>
                    <a:gd name="connsiteX2" fmla="*/ 3189 w 215651"/>
                    <a:gd name="connsiteY2" fmla="*/ 191291 h 251939"/>
                    <a:gd name="connsiteX3" fmla="*/ 0 w 215651"/>
                    <a:gd name="connsiteY3" fmla="*/ 185768 h 251939"/>
                    <a:gd name="connsiteX4" fmla="*/ 0 w 215651"/>
                    <a:gd name="connsiteY4" fmla="*/ 66173 h 251939"/>
                    <a:gd name="connsiteX5" fmla="*/ 3189 w 215651"/>
                    <a:gd name="connsiteY5" fmla="*/ 60650 h 251939"/>
                    <a:gd name="connsiteX6" fmla="*/ 106758 w 215651"/>
                    <a:gd name="connsiteY6" fmla="*/ 856 h 251939"/>
                    <a:gd name="connsiteX7" fmla="*/ 113237 w 215651"/>
                    <a:gd name="connsiteY7" fmla="*/ 919 h 251939"/>
                    <a:gd name="connsiteX8" fmla="*/ 212565 w 215651"/>
                    <a:gd name="connsiteY8" fmla="*/ 60714 h 251939"/>
                    <a:gd name="connsiteX9" fmla="*/ 215652 w 215651"/>
                    <a:gd name="connsiteY9" fmla="*/ 66173 h 251939"/>
                    <a:gd name="connsiteX10" fmla="*/ 215652 w 215651"/>
                    <a:gd name="connsiteY10" fmla="*/ 185768 h 251939"/>
                    <a:gd name="connsiteX11" fmla="*/ 212565 w 215651"/>
                    <a:gd name="connsiteY11" fmla="*/ 191227 h 251939"/>
                    <a:gd name="connsiteX12" fmla="*/ 113237 w 215651"/>
                    <a:gd name="connsiteY12" fmla="*/ 251022 h 251939"/>
                    <a:gd name="connsiteX13" fmla="*/ 109946 w 215651"/>
                    <a:gd name="connsiteY13" fmla="*/ 251940 h 251939"/>
                    <a:gd name="connsiteX14" fmla="*/ 12755 w 215651"/>
                    <a:gd name="connsiteY14" fmla="*/ 182088 h 251939"/>
                    <a:gd name="connsiteX15" fmla="*/ 109876 w 215651"/>
                    <a:gd name="connsiteY15" fmla="*/ 238158 h 251939"/>
                    <a:gd name="connsiteX16" fmla="*/ 202890 w 215651"/>
                    <a:gd name="connsiteY16" fmla="*/ 182165 h 251939"/>
                    <a:gd name="connsiteX17" fmla="*/ 202890 w 215651"/>
                    <a:gd name="connsiteY17" fmla="*/ 69783 h 251939"/>
                    <a:gd name="connsiteX18" fmla="*/ 109876 w 215651"/>
                    <a:gd name="connsiteY18" fmla="*/ 13789 h 251939"/>
                    <a:gd name="connsiteX19" fmla="*/ 12755 w 215651"/>
                    <a:gd name="connsiteY19" fmla="*/ 69859 h 251939"/>
                    <a:gd name="connsiteX20" fmla="*/ 12755 w 215651"/>
                    <a:gd name="connsiteY20" fmla="*/ 182088 h 25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5651" h="251939">
                      <a:moveTo>
                        <a:pt x="109946" y="251940"/>
                      </a:moveTo>
                      <a:cubicBezTo>
                        <a:pt x="108849" y="251940"/>
                        <a:pt x="107746" y="251653"/>
                        <a:pt x="106758" y="251085"/>
                      </a:cubicBezTo>
                      <a:lnTo>
                        <a:pt x="3189" y="191291"/>
                      </a:lnTo>
                      <a:cubicBezTo>
                        <a:pt x="1212" y="190149"/>
                        <a:pt x="0" y="188045"/>
                        <a:pt x="0" y="185768"/>
                      </a:cubicBezTo>
                      <a:lnTo>
                        <a:pt x="0" y="66173"/>
                      </a:lnTo>
                      <a:cubicBezTo>
                        <a:pt x="0" y="63896"/>
                        <a:pt x="1212" y="61785"/>
                        <a:pt x="3189" y="60650"/>
                      </a:cubicBezTo>
                      <a:lnTo>
                        <a:pt x="106758" y="856"/>
                      </a:lnTo>
                      <a:cubicBezTo>
                        <a:pt x="108767" y="-305"/>
                        <a:pt x="111254" y="-286"/>
                        <a:pt x="113237" y="919"/>
                      </a:cubicBezTo>
                      <a:lnTo>
                        <a:pt x="212565" y="60714"/>
                      </a:lnTo>
                      <a:cubicBezTo>
                        <a:pt x="214485" y="61868"/>
                        <a:pt x="215652" y="63941"/>
                        <a:pt x="215652" y="66173"/>
                      </a:cubicBezTo>
                      <a:lnTo>
                        <a:pt x="215652" y="185768"/>
                      </a:lnTo>
                      <a:cubicBezTo>
                        <a:pt x="215652" y="188007"/>
                        <a:pt x="214478" y="190079"/>
                        <a:pt x="212565" y="191227"/>
                      </a:cubicBezTo>
                      <a:lnTo>
                        <a:pt x="113237" y="251022"/>
                      </a:lnTo>
                      <a:cubicBezTo>
                        <a:pt x="112229" y="251634"/>
                        <a:pt x="111088" y="251940"/>
                        <a:pt x="109946" y="251940"/>
                      </a:cubicBezTo>
                      <a:close/>
                      <a:moveTo>
                        <a:pt x="12755" y="182088"/>
                      </a:moveTo>
                      <a:lnTo>
                        <a:pt x="109876" y="238158"/>
                      </a:lnTo>
                      <a:lnTo>
                        <a:pt x="202890" y="182165"/>
                      </a:lnTo>
                      <a:lnTo>
                        <a:pt x="202890" y="69783"/>
                      </a:lnTo>
                      <a:lnTo>
                        <a:pt x="109876" y="13789"/>
                      </a:lnTo>
                      <a:lnTo>
                        <a:pt x="12755" y="69859"/>
                      </a:lnTo>
                      <a:lnTo>
                        <a:pt x="12755" y="182088"/>
                      </a:lnTo>
                      <a:close/>
                    </a:path>
                  </a:pathLst>
                </a:custGeom>
                <a:grpFill/>
                <a:ln w="637" cap="flat">
                  <a:noFill/>
                  <a:prstDash val="solid"/>
                  <a:miter/>
                </a:ln>
              </p:spPr>
              <p:txBody>
                <a:bodyPr rtlCol="0" anchor="ctr"/>
                <a:lstStyle/>
                <a:p>
                  <a:endParaRPr lang="en-GB" dirty="0"/>
                </a:p>
              </p:txBody>
            </p:sp>
          </p:grpSp>
          <p:grpSp>
            <p:nvGrpSpPr>
              <p:cNvPr id="922" name="Graphic 32">
                <a:extLst>
                  <a:ext uri="{FF2B5EF4-FFF2-40B4-BE49-F238E27FC236}">
                    <a16:creationId xmlns:a16="http://schemas.microsoft.com/office/drawing/2014/main" id="{AD72B29C-7E1B-404F-90B0-DE55189D5B77}"/>
                  </a:ext>
                </a:extLst>
              </p:cNvPr>
              <p:cNvGrpSpPr/>
              <p:nvPr/>
            </p:nvGrpSpPr>
            <p:grpSpPr>
              <a:xfrm>
                <a:off x="1833317" y="3412746"/>
                <a:ext cx="215645" cy="251939"/>
                <a:chOff x="6064338" y="3412746"/>
                <a:chExt cx="215645" cy="251939"/>
              </a:xfrm>
              <a:grpFill/>
            </p:grpSpPr>
            <p:grpSp>
              <p:nvGrpSpPr>
                <p:cNvPr id="923" name="Graphic 32">
                  <a:extLst>
                    <a:ext uri="{FF2B5EF4-FFF2-40B4-BE49-F238E27FC236}">
                      <a16:creationId xmlns:a16="http://schemas.microsoft.com/office/drawing/2014/main" id="{29328D30-DE3B-48B7-A5B1-501A95C5A85B}"/>
                    </a:ext>
                  </a:extLst>
                </p:cNvPr>
                <p:cNvGrpSpPr/>
                <p:nvPr/>
              </p:nvGrpSpPr>
              <p:grpSpPr>
                <a:xfrm>
                  <a:off x="6098987" y="3476336"/>
                  <a:ext cx="146342" cy="147190"/>
                  <a:chOff x="6098987" y="3476336"/>
                  <a:chExt cx="146342" cy="147190"/>
                </a:xfrm>
                <a:grpFill/>
              </p:grpSpPr>
              <p:sp>
                <p:nvSpPr>
                  <p:cNvPr id="925" name="Freeform: Shape 924">
                    <a:extLst>
                      <a:ext uri="{FF2B5EF4-FFF2-40B4-BE49-F238E27FC236}">
                        <a16:creationId xmlns:a16="http://schemas.microsoft.com/office/drawing/2014/main" id="{C953AFCE-6E6F-45DB-83A6-F624B5987C50}"/>
                      </a:ext>
                    </a:extLst>
                  </p:cNvPr>
                  <p:cNvSpPr/>
                  <p:nvPr/>
                </p:nvSpPr>
                <p:spPr>
                  <a:xfrm>
                    <a:off x="6140095" y="3476336"/>
                    <a:ext cx="64131" cy="75501"/>
                  </a:xfrm>
                  <a:custGeom>
                    <a:avLst/>
                    <a:gdLst>
                      <a:gd name="connsiteX0" fmla="*/ 32065 w 64131"/>
                      <a:gd name="connsiteY0" fmla="*/ 75502 h 75501"/>
                      <a:gd name="connsiteX1" fmla="*/ 0 w 64131"/>
                      <a:gd name="connsiteY1" fmla="*/ 37754 h 75501"/>
                      <a:gd name="connsiteX2" fmla="*/ 32065 w 64131"/>
                      <a:gd name="connsiteY2" fmla="*/ 0 h 75501"/>
                      <a:gd name="connsiteX3" fmla="*/ 64131 w 64131"/>
                      <a:gd name="connsiteY3" fmla="*/ 37754 h 75501"/>
                      <a:gd name="connsiteX4" fmla="*/ 32065 w 64131"/>
                      <a:gd name="connsiteY4" fmla="*/ 75502 h 75501"/>
                      <a:gd name="connsiteX5" fmla="*/ 32065 w 64131"/>
                      <a:gd name="connsiteY5" fmla="*/ 12755 h 75501"/>
                      <a:gd name="connsiteX6" fmla="*/ 12755 w 64131"/>
                      <a:gd name="connsiteY6" fmla="*/ 37754 h 75501"/>
                      <a:gd name="connsiteX7" fmla="*/ 32065 w 64131"/>
                      <a:gd name="connsiteY7" fmla="*/ 62747 h 75501"/>
                      <a:gd name="connsiteX8" fmla="*/ 51376 w 64131"/>
                      <a:gd name="connsiteY8" fmla="*/ 37754 h 75501"/>
                      <a:gd name="connsiteX9" fmla="*/ 32065 w 64131"/>
                      <a:gd name="connsiteY9" fmla="*/ 12755 h 75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131" h="75501">
                        <a:moveTo>
                          <a:pt x="32065" y="75502"/>
                        </a:moveTo>
                        <a:cubicBezTo>
                          <a:pt x="12882" y="75502"/>
                          <a:pt x="0" y="60330"/>
                          <a:pt x="0" y="37754"/>
                        </a:cubicBezTo>
                        <a:cubicBezTo>
                          <a:pt x="0" y="15172"/>
                          <a:pt x="12889" y="0"/>
                          <a:pt x="32065" y="0"/>
                        </a:cubicBezTo>
                        <a:cubicBezTo>
                          <a:pt x="51242" y="0"/>
                          <a:pt x="64131" y="15172"/>
                          <a:pt x="64131" y="37754"/>
                        </a:cubicBezTo>
                        <a:cubicBezTo>
                          <a:pt x="64131" y="60330"/>
                          <a:pt x="51242" y="75502"/>
                          <a:pt x="32065" y="75502"/>
                        </a:cubicBezTo>
                        <a:close/>
                        <a:moveTo>
                          <a:pt x="32065" y="12755"/>
                        </a:moveTo>
                        <a:cubicBezTo>
                          <a:pt x="17825" y="12755"/>
                          <a:pt x="12755" y="25669"/>
                          <a:pt x="12755" y="37754"/>
                        </a:cubicBezTo>
                        <a:cubicBezTo>
                          <a:pt x="12755" y="49839"/>
                          <a:pt x="17825" y="62747"/>
                          <a:pt x="32065" y="62747"/>
                        </a:cubicBezTo>
                        <a:cubicBezTo>
                          <a:pt x="46306" y="62747"/>
                          <a:pt x="51376" y="49839"/>
                          <a:pt x="51376" y="37754"/>
                        </a:cubicBezTo>
                        <a:cubicBezTo>
                          <a:pt x="51376" y="25669"/>
                          <a:pt x="46300" y="12755"/>
                          <a:pt x="32065" y="12755"/>
                        </a:cubicBezTo>
                        <a:close/>
                      </a:path>
                    </a:pathLst>
                  </a:custGeom>
                  <a:grpFill/>
                  <a:ln w="637" cap="flat">
                    <a:noFill/>
                    <a:prstDash val="solid"/>
                    <a:miter/>
                  </a:ln>
                </p:spPr>
                <p:txBody>
                  <a:bodyPr rtlCol="0" anchor="ctr"/>
                  <a:lstStyle/>
                  <a:p>
                    <a:endParaRPr lang="en-GB" dirty="0"/>
                  </a:p>
                </p:txBody>
              </p:sp>
              <p:sp>
                <p:nvSpPr>
                  <p:cNvPr id="926" name="Freeform: Shape 925">
                    <a:extLst>
                      <a:ext uri="{FF2B5EF4-FFF2-40B4-BE49-F238E27FC236}">
                        <a16:creationId xmlns:a16="http://schemas.microsoft.com/office/drawing/2014/main" id="{F2D30D32-6F2C-45AC-AB43-2A5B7C2B2310}"/>
                      </a:ext>
                    </a:extLst>
                  </p:cNvPr>
                  <p:cNvSpPr/>
                  <p:nvPr/>
                </p:nvSpPr>
                <p:spPr>
                  <a:xfrm>
                    <a:off x="6098987" y="3558490"/>
                    <a:ext cx="146342" cy="65036"/>
                  </a:xfrm>
                  <a:custGeom>
                    <a:avLst/>
                    <a:gdLst>
                      <a:gd name="connsiteX0" fmla="*/ 139965 w 146342"/>
                      <a:gd name="connsiteY0" fmla="*/ 65037 h 65036"/>
                      <a:gd name="connsiteX1" fmla="*/ 133587 w 146342"/>
                      <a:gd name="connsiteY1" fmla="*/ 58659 h 65036"/>
                      <a:gd name="connsiteX2" fmla="*/ 90884 w 146342"/>
                      <a:gd name="connsiteY2" fmla="*/ 12755 h 65036"/>
                      <a:gd name="connsiteX3" fmla="*/ 55458 w 146342"/>
                      <a:gd name="connsiteY3" fmla="*/ 12755 h 65036"/>
                      <a:gd name="connsiteX4" fmla="*/ 12755 w 146342"/>
                      <a:gd name="connsiteY4" fmla="*/ 58659 h 65036"/>
                      <a:gd name="connsiteX5" fmla="*/ 6377 w 146342"/>
                      <a:gd name="connsiteY5" fmla="*/ 65037 h 65036"/>
                      <a:gd name="connsiteX6" fmla="*/ 0 w 146342"/>
                      <a:gd name="connsiteY6" fmla="*/ 58659 h 65036"/>
                      <a:gd name="connsiteX7" fmla="*/ 55458 w 146342"/>
                      <a:gd name="connsiteY7" fmla="*/ 0 h 65036"/>
                      <a:gd name="connsiteX8" fmla="*/ 90884 w 146342"/>
                      <a:gd name="connsiteY8" fmla="*/ 0 h 65036"/>
                      <a:gd name="connsiteX9" fmla="*/ 146342 w 146342"/>
                      <a:gd name="connsiteY9" fmla="*/ 58659 h 65036"/>
                      <a:gd name="connsiteX10" fmla="*/ 139965 w 146342"/>
                      <a:gd name="connsiteY10" fmla="*/ 65037 h 65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6342" h="65036">
                        <a:moveTo>
                          <a:pt x="139965" y="65037"/>
                        </a:moveTo>
                        <a:cubicBezTo>
                          <a:pt x="136444" y="65037"/>
                          <a:pt x="133587" y="62186"/>
                          <a:pt x="133587" y="58659"/>
                        </a:cubicBezTo>
                        <a:cubicBezTo>
                          <a:pt x="133587" y="32059"/>
                          <a:pt x="115629" y="12755"/>
                          <a:pt x="90884" y="12755"/>
                        </a:cubicBezTo>
                        <a:lnTo>
                          <a:pt x="55458" y="12755"/>
                        </a:lnTo>
                        <a:cubicBezTo>
                          <a:pt x="30714" y="12755"/>
                          <a:pt x="12755" y="32059"/>
                          <a:pt x="12755" y="58659"/>
                        </a:cubicBezTo>
                        <a:cubicBezTo>
                          <a:pt x="12755" y="62186"/>
                          <a:pt x="9898" y="65037"/>
                          <a:pt x="6377" y="65037"/>
                        </a:cubicBezTo>
                        <a:cubicBezTo>
                          <a:pt x="2857" y="65037"/>
                          <a:pt x="0" y="62186"/>
                          <a:pt x="0" y="58659"/>
                        </a:cubicBezTo>
                        <a:cubicBezTo>
                          <a:pt x="0" y="25216"/>
                          <a:pt x="23839" y="0"/>
                          <a:pt x="55458" y="0"/>
                        </a:cubicBezTo>
                        <a:lnTo>
                          <a:pt x="90884" y="0"/>
                        </a:lnTo>
                        <a:cubicBezTo>
                          <a:pt x="122503" y="0"/>
                          <a:pt x="146342" y="25216"/>
                          <a:pt x="146342" y="58659"/>
                        </a:cubicBezTo>
                        <a:cubicBezTo>
                          <a:pt x="146342" y="62186"/>
                          <a:pt x="143485" y="65037"/>
                          <a:pt x="139965" y="65037"/>
                        </a:cubicBezTo>
                        <a:close/>
                      </a:path>
                    </a:pathLst>
                  </a:custGeom>
                  <a:grpFill/>
                  <a:ln w="637" cap="flat">
                    <a:noFill/>
                    <a:prstDash val="solid"/>
                    <a:miter/>
                  </a:ln>
                </p:spPr>
                <p:txBody>
                  <a:bodyPr rtlCol="0" anchor="ctr"/>
                  <a:lstStyle/>
                  <a:p>
                    <a:endParaRPr lang="en-GB" dirty="0"/>
                  </a:p>
                </p:txBody>
              </p:sp>
            </p:grpSp>
            <p:sp>
              <p:nvSpPr>
                <p:cNvPr id="924" name="Freeform: Shape 923">
                  <a:extLst>
                    <a:ext uri="{FF2B5EF4-FFF2-40B4-BE49-F238E27FC236}">
                      <a16:creationId xmlns:a16="http://schemas.microsoft.com/office/drawing/2014/main" id="{5179520B-3DC2-4F1D-8475-287AB34BEA25}"/>
                    </a:ext>
                  </a:extLst>
                </p:cNvPr>
                <p:cNvSpPr/>
                <p:nvPr/>
              </p:nvSpPr>
              <p:spPr>
                <a:xfrm>
                  <a:off x="6064338" y="3412746"/>
                  <a:ext cx="215645" cy="251939"/>
                </a:xfrm>
                <a:custGeom>
                  <a:avLst/>
                  <a:gdLst>
                    <a:gd name="connsiteX0" fmla="*/ 109946 w 215645"/>
                    <a:gd name="connsiteY0" fmla="*/ 251940 h 251939"/>
                    <a:gd name="connsiteX1" fmla="*/ 106758 w 215645"/>
                    <a:gd name="connsiteY1" fmla="*/ 251085 h 251939"/>
                    <a:gd name="connsiteX2" fmla="*/ 3189 w 215645"/>
                    <a:gd name="connsiteY2" fmla="*/ 191291 h 251939"/>
                    <a:gd name="connsiteX3" fmla="*/ 0 w 215645"/>
                    <a:gd name="connsiteY3" fmla="*/ 185768 h 251939"/>
                    <a:gd name="connsiteX4" fmla="*/ 0 w 215645"/>
                    <a:gd name="connsiteY4" fmla="*/ 66173 h 251939"/>
                    <a:gd name="connsiteX5" fmla="*/ 3189 w 215645"/>
                    <a:gd name="connsiteY5" fmla="*/ 60650 h 251939"/>
                    <a:gd name="connsiteX6" fmla="*/ 106758 w 215645"/>
                    <a:gd name="connsiteY6" fmla="*/ 856 h 251939"/>
                    <a:gd name="connsiteX7" fmla="*/ 113237 w 215645"/>
                    <a:gd name="connsiteY7" fmla="*/ 919 h 251939"/>
                    <a:gd name="connsiteX8" fmla="*/ 212559 w 215645"/>
                    <a:gd name="connsiteY8" fmla="*/ 60714 h 251939"/>
                    <a:gd name="connsiteX9" fmla="*/ 215645 w 215645"/>
                    <a:gd name="connsiteY9" fmla="*/ 66173 h 251939"/>
                    <a:gd name="connsiteX10" fmla="*/ 215645 w 215645"/>
                    <a:gd name="connsiteY10" fmla="*/ 185768 h 251939"/>
                    <a:gd name="connsiteX11" fmla="*/ 212559 w 215645"/>
                    <a:gd name="connsiteY11" fmla="*/ 191227 h 251939"/>
                    <a:gd name="connsiteX12" fmla="*/ 113237 w 215645"/>
                    <a:gd name="connsiteY12" fmla="*/ 251022 h 251939"/>
                    <a:gd name="connsiteX13" fmla="*/ 109946 w 215645"/>
                    <a:gd name="connsiteY13" fmla="*/ 251940 h 251939"/>
                    <a:gd name="connsiteX14" fmla="*/ 12748 w 215645"/>
                    <a:gd name="connsiteY14" fmla="*/ 182088 h 251939"/>
                    <a:gd name="connsiteX15" fmla="*/ 109870 w 215645"/>
                    <a:gd name="connsiteY15" fmla="*/ 238158 h 251939"/>
                    <a:gd name="connsiteX16" fmla="*/ 202884 w 215645"/>
                    <a:gd name="connsiteY16" fmla="*/ 182165 h 251939"/>
                    <a:gd name="connsiteX17" fmla="*/ 202884 w 215645"/>
                    <a:gd name="connsiteY17" fmla="*/ 69783 h 251939"/>
                    <a:gd name="connsiteX18" fmla="*/ 109870 w 215645"/>
                    <a:gd name="connsiteY18" fmla="*/ 13789 h 251939"/>
                    <a:gd name="connsiteX19" fmla="*/ 12748 w 215645"/>
                    <a:gd name="connsiteY19" fmla="*/ 69859 h 251939"/>
                    <a:gd name="connsiteX20" fmla="*/ 12748 w 215645"/>
                    <a:gd name="connsiteY20" fmla="*/ 182088 h 251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15645" h="251939">
                      <a:moveTo>
                        <a:pt x="109946" y="251940"/>
                      </a:moveTo>
                      <a:cubicBezTo>
                        <a:pt x="108849" y="251940"/>
                        <a:pt x="107746" y="251653"/>
                        <a:pt x="106758" y="251085"/>
                      </a:cubicBezTo>
                      <a:lnTo>
                        <a:pt x="3189" y="191291"/>
                      </a:lnTo>
                      <a:cubicBezTo>
                        <a:pt x="1212" y="190149"/>
                        <a:pt x="0" y="188045"/>
                        <a:pt x="0" y="185768"/>
                      </a:cubicBezTo>
                      <a:lnTo>
                        <a:pt x="0" y="66173"/>
                      </a:lnTo>
                      <a:cubicBezTo>
                        <a:pt x="0" y="63896"/>
                        <a:pt x="1212" y="61785"/>
                        <a:pt x="3189" y="60650"/>
                      </a:cubicBezTo>
                      <a:lnTo>
                        <a:pt x="106758" y="856"/>
                      </a:lnTo>
                      <a:cubicBezTo>
                        <a:pt x="108760" y="-305"/>
                        <a:pt x="111247" y="-286"/>
                        <a:pt x="113237" y="919"/>
                      </a:cubicBezTo>
                      <a:lnTo>
                        <a:pt x="212559" y="60714"/>
                      </a:lnTo>
                      <a:cubicBezTo>
                        <a:pt x="214478" y="61868"/>
                        <a:pt x="215645" y="63941"/>
                        <a:pt x="215645" y="66173"/>
                      </a:cubicBezTo>
                      <a:lnTo>
                        <a:pt x="215645" y="185768"/>
                      </a:lnTo>
                      <a:cubicBezTo>
                        <a:pt x="215645" y="188007"/>
                        <a:pt x="214472" y="190079"/>
                        <a:pt x="212559" y="191227"/>
                      </a:cubicBezTo>
                      <a:lnTo>
                        <a:pt x="113237" y="251022"/>
                      </a:lnTo>
                      <a:cubicBezTo>
                        <a:pt x="112223" y="251634"/>
                        <a:pt x="111081" y="251940"/>
                        <a:pt x="109946" y="251940"/>
                      </a:cubicBezTo>
                      <a:close/>
                      <a:moveTo>
                        <a:pt x="12748" y="182088"/>
                      </a:moveTo>
                      <a:lnTo>
                        <a:pt x="109870" y="238158"/>
                      </a:lnTo>
                      <a:lnTo>
                        <a:pt x="202884" y="182165"/>
                      </a:lnTo>
                      <a:lnTo>
                        <a:pt x="202884" y="69783"/>
                      </a:lnTo>
                      <a:lnTo>
                        <a:pt x="109870" y="13789"/>
                      </a:lnTo>
                      <a:lnTo>
                        <a:pt x="12748" y="69859"/>
                      </a:lnTo>
                      <a:lnTo>
                        <a:pt x="12748" y="182088"/>
                      </a:lnTo>
                      <a:close/>
                    </a:path>
                  </a:pathLst>
                </a:custGeom>
                <a:grpFill/>
                <a:ln w="637" cap="flat">
                  <a:noFill/>
                  <a:prstDash val="solid"/>
                  <a:miter/>
                </a:ln>
              </p:spPr>
              <p:txBody>
                <a:bodyPr rtlCol="0" anchor="ctr"/>
                <a:lstStyle/>
                <a:p>
                  <a:endParaRPr lang="en-GB" dirty="0"/>
                </a:p>
              </p:txBody>
            </p:sp>
          </p:grpSp>
        </p:grpSp>
      </p:grpSp>
      <p:grpSp>
        <p:nvGrpSpPr>
          <p:cNvPr id="970" name="Group 969">
            <a:extLst>
              <a:ext uri="{FF2B5EF4-FFF2-40B4-BE49-F238E27FC236}">
                <a16:creationId xmlns:a16="http://schemas.microsoft.com/office/drawing/2014/main" id="{365F0E6C-8D13-4C7A-A70F-18CDB2DACACC}"/>
              </a:ext>
            </a:extLst>
          </p:cNvPr>
          <p:cNvGrpSpPr/>
          <p:nvPr/>
        </p:nvGrpSpPr>
        <p:grpSpPr>
          <a:xfrm>
            <a:off x="7115062" y="1628116"/>
            <a:ext cx="368944" cy="445901"/>
            <a:chOff x="2700446" y="3218638"/>
            <a:chExt cx="368944" cy="445901"/>
          </a:xfrm>
        </p:grpSpPr>
        <p:sp>
          <p:nvSpPr>
            <p:cNvPr id="971" name="Freeform: Shape 970">
              <a:extLst>
                <a:ext uri="{FF2B5EF4-FFF2-40B4-BE49-F238E27FC236}">
                  <a16:creationId xmlns:a16="http://schemas.microsoft.com/office/drawing/2014/main" id="{A84284D0-99CE-4189-91B9-AF5F95FD2D20}"/>
                </a:ext>
              </a:extLst>
            </p:cNvPr>
            <p:cNvSpPr/>
            <p:nvPr/>
          </p:nvSpPr>
          <p:spPr>
            <a:xfrm>
              <a:off x="2734534" y="3218638"/>
              <a:ext cx="334856" cy="445900"/>
            </a:xfrm>
            <a:custGeom>
              <a:avLst/>
              <a:gdLst>
                <a:gd name="connsiteX0" fmla="*/ 328473 w 334856"/>
                <a:gd name="connsiteY0" fmla="*/ 445901 h 445900"/>
                <a:gd name="connsiteX1" fmla="*/ 322096 w 334856"/>
                <a:gd name="connsiteY1" fmla="*/ 439524 h 445900"/>
                <a:gd name="connsiteX2" fmla="*/ 322096 w 334856"/>
                <a:gd name="connsiteY2" fmla="*/ 146527 h 445900"/>
                <a:gd name="connsiteX3" fmla="*/ 278060 w 334856"/>
                <a:gd name="connsiteY3" fmla="*/ 47550 h 445900"/>
                <a:gd name="connsiteX4" fmla="*/ 175180 w 334856"/>
                <a:gd name="connsiteY4" fmla="*/ 13405 h 445900"/>
                <a:gd name="connsiteX5" fmla="*/ 55125 w 334856"/>
                <a:gd name="connsiteY5" fmla="*/ 138390 h 445900"/>
                <a:gd name="connsiteX6" fmla="*/ 54793 w 334856"/>
                <a:gd name="connsiteY6" fmla="*/ 139958 h 445900"/>
                <a:gd name="connsiteX7" fmla="*/ 12798 w 334856"/>
                <a:gd name="connsiteY7" fmla="*/ 261384 h 445900"/>
                <a:gd name="connsiteX8" fmla="*/ 48218 w 334856"/>
                <a:gd name="connsiteY8" fmla="*/ 261167 h 445900"/>
                <a:gd name="connsiteX9" fmla="*/ 54596 w 334856"/>
                <a:gd name="connsiteY9" fmla="*/ 267545 h 445900"/>
                <a:gd name="connsiteX10" fmla="*/ 54596 w 334856"/>
                <a:gd name="connsiteY10" fmla="*/ 331236 h 445900"/>
                <a:gd name="connsiteX11" fmla="*/ 80061 w 334856"/>
                <a:gd name="connsiteY11" fmla="*/ 356707 h 445900"/>
                <a:gd name="connsiteX12" fmla="*/ 150123 w 334856"/>
                <a:gd name="connsiteY12" fmla="*/ 356707 h 445900"/>
                <a:gd name="connsiteX13" fmla="*/ 156500 w 334856"/>
                <a:gd name="connsiteY13" fmla="*/ 363084 h 445900"/>
                <a:gd name="connsiteX14" fmla="*/ 156500 w 334856"/>
                <a:gd name="connsiteY14" fmla="*/ 439517 h 445900"/>
                <a:gd name="connsiteX15" fmla="*/ 150123 w 334856"/>
                <a:gd name="connsiteY15" fmla="*/ 445895 h 445900"/>
                <a:gd name="connsiteX16" fmla="*/ 143745 w 334856"/>
                <a:gd name="connsiteY16" fmla="*/ 439517 h 445900"/>
                <a:gd name="connsiteX17" fmla="*/ 143745 w 334856"/>
                <a:gd name="connsiteY17" fmla="*/ 369462 h 445900"/>
                <a:gd name="connsiteX18" fmla="*/ 80061 w 334856"/>
                <a:gd name="connsiteY18" fmla="*/ 369462 h 445900"/>
                <a:gd name="connsiteX19" fmla="*/ 41841 w 334856"/>
                <a:gd name="connsiteY19" fmla="*/ 331236 h 445900"/>
                <a:gd name="connsiteX20" fmla="*/ 41841 w 334856"/>
                <a:gd name="connsiteY20" fmla="*/ 273922 h 445900"/>
                <a:gd name="connsiteX21" fmla="*/ 12454 w 334856"/>
                <a:gd name="connsiteY21" fmla="*/ 273922 h 445900"/>
                <a:gd name="connsiteX22" fmla="*/ 2193 w 334856"/>
                <a:gd name="connsiteY22" fmla="*/ 268527 h 445900"/>
                <a:gd name="connsiteX23" fmla="*/ 815 w 334856"/>
                <a:gd name="connsiteY23" fmla="*/ 257022 h 445900"/>
                <a:gd name="connsiteX24" fmla="*/ 42479 w 334856"/>
                <a:gd name="connsiteY24" fmla="*/ 136534 h 445900"/>
                <a:gd name="connsiteX25" fmla="*/ 173949 w 334856"/>
                <a:gd name="connsiteY25" fmla="*/ 708 h 445900"/>
                <a:gd name="connsiteX26" fmla="*/ 286637 w 334856"/>
                <a:gd name="connsiteY26" fmla="*/ 38099 h 445900"/>
                <a:gd name="connsiteX27" fmla="*/ 334857 w 334856"/>
                <a:gd name="connsiteY27" fmla="*/ 146514 h 445900"/>
                <a:gd name="connsiteX28" fmla="*/ 334857 w 334856"/>
                <a:gd name="connsiteY28" fmla="*/ 439511 h 445900"/>
                <a:gd name="connsiteX29" fmla="*/ 328473 w 334856"/>
                <a:gd name="connsiteY29" fmla="*/ 445901 h 445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34856" h="445900">
                  <a:moveTo>
                    <a:pt x="328473" y="445901"/>
                  </a:moveTo>
                  <a:cubicBezTo>
                    <a:pt x="324946" y="445901"/>
                    <a:pt x="322096" y="443050"/>
                    <a:pt x="322096" y="439524"/>
                  </a:cubicBezTo>
                  <a:lnTo>
                    <a:pt x="322096" y="146527"/>
                  </a:lnTo>
                  <a:cubicBezTo>
                    <a:pt x="322096" y="109034"/>
                    <a:pt x="306044" y="72964"/>
                    <a:pt x="278060" y="47550"/>
                  </a:cubicBezTo>
                  <a:cubicBezTo>
                    <a:pt x="249750" y="21855"/>
                    <a:pt x="213189" y="9732"/>
                    <a:pt x="175180" y="13405"/>
                  </a:cubicBezTo>
                  <a:cubicBezTo>
                    <a:pt x="111010" y="19630"/>
                    <a:pt x="60520" y="72192"/>
                    <a:pt x="55125" y="138390"/>
                  </a:cubicBezTo>
                  <a:cubicBezTo>
                    <a:pt x="55080" y="138925"/>
                    <a:pt x="54972" y="139448"/>
                    <a:pt x="54793" y="139958"/>
                  </a:cubicBezTo>
                  <a:lnTo>
                    <a:pt x="12798" y="261384"/>
                  </a:lnTo>
                  <a:lnTo>
                    <a:pt x="48218" y="261167"/>
                  </a:lnTo>
                  <a:cubicBezTo>
                    <a:pt x="51745" y="261167"/>
                    <a:pt x="54596" y="264018"/>
                    <a:pt x="54596" y="267545"/>
                  </a:cubicBezTo>
                  <a:lnTo>
                    <a:pt x="54596" y="331236"/>
                  </a:lnTo>
                  <a:cubicBezTo>
                    <a:pt x="54596" y="345278"/>
                    <a:pt x="66018" y="356707"/>
                    <a:pt x="80061" y="356707"/>
                  </a:cubicBezTo>
                  <a:lnTo>
                    <a:pt x="150123" y="356707"/>
                  </a:lnTo>
                  <a:cubicBezTo>
                    <a:pt x="153649" y="356707"/>
                    <a:pt x="156500" y="359558"/>
                    <a:pt x="156500" y="363084"/>
                  </a:cubicBezTo>
                  <a:lnTo>
                    <a:pt x="156500" y="439517"/>
                  </a:lnTo>
                  <a:cubicBezTo>
                    <a:pt x="156500" y="443044"/>
                    <a:pt x="153649" y="445895"/>
                    <a:pt x="150123" y="445895"/>
                  </a:cubicBezTo>
                  <a:cubicBezTo>
                    <a:pt x="146596" y="445895"/>
                    <a:pt x="143745" y="443044"/>
                    <a:pt x="143745" y="439517"/>
                  </a:cubicBezTo>
                  <a:lnTo>
                    <a:pt x="143745" y="369462"/>
                  </a:lnTo>
                  <a:lnTo>
                    <a:pt x="80061" y="369462"/>
                  </a:lnTo>
                  <a:cubicBezTo>
                    <a:pt x="58983" y="369462"/>
                    <a:pt x="41841" y="352319"/>
                    <a:pt x="41841" y="331236"/>
                  </a:cubicBezTo>
                  <a:lnTo>
                    <a:pt x="41841" y="273922"/>
                  </a:lnTo>
                  <a:lnTo>
                    <a:pt x="12454" y="273922"/>
                  </a:lnTo>
                  <a:cubicBezTo>
                    <a:pt x="8353" y="273922"/>
                    <a:pt x="4520" y="271907"/>
                    <a:pt x="2193" y="268527"/>
                  </a:cubicBezTo>
                  <a:cubicBezTo>
                    <a:pt x="-129" y="265153"/>
                    <a:pt x="-639" y="260855"/>
                    <a:pt x="815" y="257022"/>
                  </a:cubicBezTo>
                  <a:lnTo>
                    <a:pt x="42479" y="136534"/>
                  </a:lnTo>
                  <a:cubicBezTo>
                    <a:pt x="48729" y="64558"/>
                    <a:pt x="103899" y="7500"/>
                    <a:pt x="173949" y="708"/>
                  </a:cubicBezTo>
                  <a:cubicBezTo>
                    <a:pt x="215657" y="-3322"/>
                    <a:pt x="255637" y="9949"/>
                    <a:pt x="286637" y="38099"/>
                  </a:cubicBezTo>
                  <a:cubicBezTo>
                    <a:pt x="317281" y="65917"/>
                    <a:pt x="334857" y="105438"/>
                    <a:pt x="334857" y="146514"/>
                  </a:cubicBezTo>
                  <a:lnTo>
                    <a:pt x="334857" y="439511"/>
                  </a:lnTo>
                  <a:cubicBezTo>
                    <a:pt x="334850" y="443044"/>
                    <a:pt x="331993" y="445901"/>
                    <a:pt x="328473" y="445901"/>
                  </a:cubicBezTo>
                  <a:close/>
                </a:path>
              </a:pathLst>
            </a:custGeom>
            <a:solidFill>
              <a:schemeClr val="tx2"/>
            </a:solidFill>
            <a:ln w="637" cap="flat">
              <a:noFill/>
              <a:prstDash val="solid"/>
              <a:miter/>
            </a:ln>
          </p:spPr>
          <p:txBody>
            <a:bodyPr rtlCol="0" anchor="ctr"/>
            <a:lstStyle/>
            <a:p>
              <a:endParaRPr lang="en-GB" dirty="0"/>
            </a:p>
          </p:txBody>
        </p:sp>
        <p:grpSp>
          <p:nvGrpSpPr>
            <p:cNvPr id="972" name="Group 971">
              <a:extLst>
                <a:ext uri="{FF2B5EF4-FFF2-40B4-BE49-F238E27FC236}">
                  <a16:creationId xmlns:a16="http://schemas.microsoft.com/office/drawing/2014/main" id="{DA395ADC-BDD2-4148-89D0-205D5B54F677}"/>
                </a:ext>
              </a:extLst>
            </p:cNvPr>
            <p:cNvGrpSpPr/>
            <p:nvPr/>
          </p:nvGrpSpPr>
          <p:grpSpPr>
            <a:xfrm>
              <a:off x="2700446" y="3218951"/>
              <a:ext cx="334869" cy="445588"/>
              <a:chOff x="2700446" y="3218951"/>
              <a:chExt cx="334869" cy="445588"/>
            </a:xfrm>
          </p:grpSpPr>
          <p:grpSp>
            <p:nvGrpSpPr>
              <p:cNvPr id="973" name="Graphic 32">
                <a:extLst>
                  <a:ext uri="{FF2B5EF4-FFF2-40B4-BE49-F238E27FC236}">
                    <a16:creationId xmlns:a16="http://schemas.microsoft.com/office/drawing/2014/main" id="{8CECB66F-298B-4BED-A222-5F06562C0248}"/>
                  </a:ext>
                </a:extLst>
              </p:cNvPr>
              <p:cNvGrpSpPr/>
              <p:nvPr/>
            </p:nvGrpSpPr>
            <p:grpSpPr>
              <a:xfrm>
                <a:off x="2700446" y="3218951"/>
                <a:ext cx="334869" cy="445588"/>
                <a:chOff x="6696179" y="3218951"/>
                <a:chExt cx="334869" cy="445588"/>
              </a:xfrm>
              <a:solidFill>
                <a:schemeClr val="accent1"/>
              </a:solidFill>
            </p:grpSpPr>
            <p:sp>
              <p:nvSpPr>
                <p:cNvPr id="1010" name="Freeform: Shape 1009">
                  <a:extLst>
                    <a:ext uri="{FF2B5EF4-FFF2-40B4-BE49-F238E27FC236}">
                      <a16:creationId xmlns:a16="http://schemas.microsoft.com/office/drawing/2014/main" id="{B42B510B-C462-4613-98E5-B88C77A7724F}"/>
                    </a:ext>
                  </a:extLst>
                </p:cNvPr>
                <p:cNvSpPr/>
                <p:nvPr/>
              </p:nvSpPr>
              <p:spPr>
                <a:xfrm>
                  <a:off x="6904592" y="3242956"/>
                  <a:ext cx="126456" cy="345143"/>
                </a:xfrm>
                <a:custGeom>
                  <a:avLst/>
                  <a:gdLst>
                    <a:gd name="connsiteX0" fmla="*/ 46376 w 126456"/>
                    <a:gd name="connsiteY0" fmla="*/ 345144 h 345143"/>
                    <a:gd name="connsiteX1" fmla="*/ 6377 w 126456"/>
                    <a:gd name="connsiteY1" fmla="*/ 345144 h 345143"/>
                    <a:gd name="connsiteX2" fmla="*/ 0 w 126456"/>
                    <a:gd name="connsiteY2" fmla="*/ 338766 h 345143"/>
                    <a:gd name="connsiteX3" fmla="*/ 6377 w 126456"/>
                    <a:gd name="connsiteY3" fmla="*/ 332389 h 345143"/>
                    <a:gd name="connsiteX4" fmla="*/ 46376 w 126456"/>
                    <a:gd name="connsiteY4" fmla="*/ 332389 h 345143"/>
                    <a:gd name="connsiteX5" fmla="*/ 71841 w 126456"/>
                    <a:gd name="connsiteY5" fmla="*/ 306918 h 345143"/>
                    <a:gd name="connsiteX6" fmla="*/ 71841 w 126456"/>
                    <a:gd name="connsiteY6" fmla="*/ 243227 h 345143"/>
                    <a:gd name="connsiteX7" fmla="*/ 78219 w 126456"/>
                    <a:gd name="connsiteY7" fmla="*/ 236849 h 345143"/>
                    <a:gd name="connsiteX8" fmla="*/ 113983 w 126456"/>
                    <a:gd name="connsiteY8" fmla="*/ 236849 h 345143"/>
                    <a:gd name="connsiteX9" fmla="*/ 71637 w 126456"/>
                    <a:gd name="connsiteY9" fmla="*/ 115640 h 345143"/>
                    <a:gd name="connsiteX10" fmla="*/ 71306 w 126456"/>
                    <a:gd name="connsiteY10" fmla="*/ 114072 h 345143"/>
                    <a:gd name="connsiteX11" fmla="*/ 12634 w 126456"/>
                    <a:gd name="connsiteY11" fmla="*/ 11625 h 345143"/>
                    <a:gd name="connsiteX12" fmla="*/ 11020 w 126456"/>
                    <a:gd name="connsiteY12" fmla="*/ 2748 h 345143"/>
                    <a:gd name="connsiteX13" fmla="*/ 19897 w 126456"/>
                    <a:gd name="connsiteY13" fmla="*/ 1134 h 345143"/>
                    <a:gd name="connsiteX14" fmla="*/ 83958 w 126456"/>
                    <a:gd name="connsiteY14" fmla="*/ 112222 h 345143"/>
                    <a:gd name="connsiteX15" fmla="*/ 125692 w 126456"/>
                    <a:gd name="connsiteY15" fmla="*/ 232895 h 345143"/>
                    <a:gd name="connsiteX16" fmla="*/ 124232 w 126456"/>
                    <a:gd name="connsiteY16" fmla="*/ 244222 h 345143"/>
                    <a:gd name="connsiteX17" fmla="*/ 113983 w 126456"/>
                    <a:gd name="connsiteY17" fmla="*/ 249604 h 345143"/>
                    <a:gd name="connsiteX18" fmla="*/ 84596 w 126456"/>
                    <a:gd name="connsiteY18" fmla="*/ 249604 h 345143"/>
                    <a:gd name="connsiteX19" fmla="*/ 84596 w 126456"/>
                    <a:gd name="connsiteY19" fmla="*/ 306918 h 345143"/>
                    <a:gd name="connsiteX20" fmla="*/ 46376 w 126456"/>
                    <a:gd name="connsiteY20" fmla="*/ 345144 h 345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26456" h="345143">
                      <a:moveTo>
                        <a:pt x="46376" y="345144"/>
                      </a:moveTo>
                      <a:lnTo>
                        <a:pt x="6377" y="345144"/>
                      </a:lnTo>
                      <a:cubicBezTo>
                        <a:pt x="2851" y="345144"/>
                        <a:pt x="0" y="342293"/>
                        <a:pt x="0" y="338766"/>
                      </a:cubicBezTo>
                      <a:cubicBezTo>
                        <a:pt x="0" y="335240"/>
                        <a:pt x="2851" y="332389"/>
                        <a:pt x="6377" y="332389"/>
                      </a:cubicBezTo>
                      <a:lnTo>
                        <a:pt x="46376" y="332389"/>
                      </a:lnTo>
                      <a:cubicBezTo>
                        <a:pt x="60419" y="332389"/>
                        <a:pt x="71841" y="320961"/>
                        <a:pt x="71841" y="306918"/>
                      </a:cubicBezTo>
                      <a:lnTo>
                        <a:pt x="71841" y="243227"/>
                      </a:lnTo>
                      <a:cubicBezTo>
                        <a:pt x="71841" y="239700"/>
                        <a:pt x="74692" y="236849"/>
                        <a:pt x="78219" y="236849"/>
                      </a:cubicBezTo>
                      <a:lnTo>
                        <a:pt x="113983" y="236849"/>
                      </a:lnTo>
                      <a:lnTo>
                        <a:pt x="71637" y="115640"/>
                      </a:lnTo>
                      <a:cubicBezTo>
                        <a:pt x="71465" y="115130"/>
                        <a:pt x="71350" y="114607"/>
                        <a:pt x="71306" y="114072"/>
                      </a:cubicBezTo>
                      <a:cubicBezTo>
                        <a:pt x="67958" y="73027"/>
                        <a:pt x="46019" y="34737"/>
                        <a:pt x="12634" y="11625"/>
                      </a:cubicBezTo>
                      <a:cubicBezTo>
                        <a:pt x="9738" y="9623"/>
                        <a:pt x="9018" y="5643"/>
                        <a:pt x="11020" y="2748"/>
                      </a:cubicBezTo>
                      <a:cubicBezTo>
                        <a:pt x="13023" y="-141"/>
                        <a:pt x="16996" y="-874"/>
                        <a:pt x="19897" y="1134"/>
                      </a:cubicBezTo>
                      <a:cubicBezTo>
                        <a:pt x="56172" y="26242"/>
                        <a:pt x="80075" y="67721"/>
                        <a:pt x="83958" y="112222"/>
                      </a:cubicBezTo>
                      <a:lnTo>
                        <a:pt x="125692" y="232895"/>
                      </a:lnTo>
                      <a:cubicBezTo>
                        <a:pt x="127082" y="236543"/>
                        <a:pt x="126566" y="240848"/>
                        <a:pt x="124232" y="244222"/>
                      </a:cubicBezTo>
                      <a:cubicBezTo>
                        <a:pt x="121910" y="247589"/>
                        <a:pt x="118078" y="249604"/>
                        <a:pt x="113983" y="249604"/>
                      </a:cubicBezTo>
                      <a:lnTo>
                        <a:pt x="84596" y="249604"/>
                      </a:lnTo>
                      <a:lnTo>
                        <a:pt x="84596" y="306918"/>
                      </a:lnTo>
                      <a:cubicBezTo>
                        <a:pt x="84596" y="328001"/>
                        <a:pt x="67454" y="345144"/>
                        <a:pt x="46376" y="345144"/>
                      </a:cubicBezTo>
                      <a:close/>
                    </a:path>
                  </a:pathLst>
                </a:custGeom>
                <a:solidFill>
                  <a:schemeClr val="accent1"/>
                </a:solidFill>
                <a:ln w="637" cap="flat">
                  <a:noFill/>
                  <a:prstDash val="solid"/>
                  <a:miter/>
                </a:ln>
              </p:spPr>
              <p:txBody>
                <a:bodyPr rtlCol="0" anchor="ctr"/>
                <a:lstStyle/>
                <a:p>
                  <a:endParaRPr lang="en-GB" dirty="0"/>
                </a:p>
              </p:txBody>
            </p:sp>
            <p:sp>
              <p:nvSpPr>
                <p:cNvPr id="1011" name="Freeform: Shape 1010">
                  <a:extLst>
                    <a:ext uri="{FF2B5EF4-FFF2-40B4-BE49-F238E27FC236}">
                      <a16:creationId xmlns:a16="http://schemas.microsoft.com/office/drawing/2014/main" id="{0B5A789F-72BE-43B0-82DD-B47285BAA872}"/>
                    </a:ext>
                  </a:extLst>
                </p:cNvPr>
                <p:cNvSpPr/>
                <p:nvPr/>
              </p:nvSpPr>
              <p:spPr>
                <a:xfrm>
                  <a:off x="6696179" y="3218951"/>
                  <a:ext cx="143899" cy="445588"/>
                </a:xfrm>
                <a:custGeom>
                  <a:avLst/>
                  <a:gdLst>
                    <a:gd name="connsiteX0" fmla="*/ 6377 w 143899"/>
                    <a:gd name="connsiteY0" fmla="*/ 445588 h 445588"/>
                    <a:gd name="connsiteX1" fmla="*/ 0 w 143899"/>
                    <a:gd name="connsiteY1" fmla="*/ 439211 h 445588"/>
                    <a:gd name="connsiteX2" fmla="*/ 0 w 143899"/>
                    <a:gd name="connsiteY2" fmla="*/ 146215 h 445588"/>
                    <a:gd name="connsiteX3" fmla="*/ 137114 w 143899"/>
                    <a:gd name="connsiteY3" fmla="*/ 6 h 445588"/>
                    <a:gd name="connsiteX4" fmla="*/ 143887 w 143899"/>
                    <a:gd name="connsiteY4" fmla="*/ 5969 h 445588"/>
                    <a:gd name="connsiteX5" fmla="*/ 137924 w 143899"/>
                    <a:gd name="connsiteY5" fmla="*/ 12742 h 445588"/>
                    <a:gd name="connsiteX6" fmla="*/ 12755 w 143899"/>
                    <a:gd name="connsiteY6" fmla="*/ 146221 h 445588"/>
                    <a:gd name="connsiteX7" fmla="*/ 12755 w 143899"/>
                    <a:gd name="connsiteY7" fmla="*/ 439217 h 445588"/>
                    <a:gd name="connsiteX8" fmla="*/ 6377 w 143899"/>
                    <a:gd name="connsiteY8" fmla="*/ 445588 h 44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899" h="445588">
                      <a:moveTo>
                        <a:pt x="6377" y="445588"/>
                      </a:moveTo>
                      <a:cubicBezTo>
                        <a:pt x="2851" y="445588"/>
                        <a:pt x="0" y="442738"/>
                        <a:pt x="0" y="439211"/>
                      </a:cubicBezTo>
                      <a:lnTo>
                        <a:pt x="0" y="146215"/>
                      </a:lnTo>
                      <a:cubicBezTo>
                        <a:pt x="0" y="69156"/>
                        <a:pt x="60222" y="4936"/>
                        <a:pt x="137114" y="6"/>
                      </a:cubicBezTo>
                      <a:cubicBezTo>
                        <a:pt x="140564" y="-147"/>
                        <a:pt x="143651" y="2449"/>
                        <a:pt x="143887" y="5969"/>
                      </a:cubicBezTo>
                      <a:cubicBezTo>
                        <a:pt x="144110" y="9483"/>
                        <a:pt x="141444" y="12513"/>
                        <a:pt x="137924" y="12742"/>
                      </a:cubicBezTo>
                      <a:cubicBezTo>
                        <a:pt x="67734" y="17238"/>
                        <a:pt x="12755" y="75865"/>
                        <a:pt x="12755" y="146221"/>
                      </a:cubicBezTo>
                      <a:lnTo>
                        <a:pt x="12755" y="439217"/>
                      </a:lnTo>
                      <a:cubicBezTo>
                        <a:pt x="12755" y="442731"/>
                        <a:pt x="9904" y="445588"/>
                        <a:pt x="6377" y="445588"/>
                      </a:cubicBezTo>
                      <a:close/>
                    </a:path>
                  </a:pathLst>
                </a:custGeom>
                <a:solidFill>
                  <a:schemeClr val="accent1"/>
                </a:solidFill>
                <a:ln w="637" cap="flat">
                  <a:noFill/>
                  <a:prstDash val="solid"/>
                  <a:miter/>
                </a:ln>
              </p:spPr>
              <p:txBody>
                <a:bodyPr rtlCol="0" anchor="ctr"/>
                <a:lstStyle/>
                <a:p>
                  <a:endParaRPr lang="en-GB" dirty="0"/>
                </a:p>
              </p:txBody>
            </p:sp>
          </p:grpSp>
          <p:grpSp>
            <p:nvGrpSpPr>
              <p:cNvPr id="974" name="Graphic 32">
                <a:extLst>
                  <a:ext uri="{FF2B5EF4-FFF2-40B4-BE49-F238E27FC236}">
                    <a16:creationId xmlns:a16="http://schemas.microsoft.com/office/drawing/2014/main" id="{7770E43A-76BE-40F2-AEC6-723812D6C7B4}"/>
                  </a:ext>
                </a:extLst>
              </p:cNvPr>
              <p:cNvGrpSpPr/>
              <p:nvPr/>
            </p:nvGrpSpPr>
            <p:grpSpPr>
              <a:xfrm>
                <a:off x="2788103" y="3326384"/>
                <a:ext cx="191794" cy="191780"/>
                <a:chOff x="6783836" y="3326384"/>
                <a:chExt cx="191794" cy="191780"/>
              </a:xfrm>
              <a:solidFill>
                <a:schemeClr val="accent1"/>
              </a:solidFill>
            </p:grpSpPr>
            <p:sp>
              <p:nvSpPr>
                <p:cNvPr id="975" name="Freeform: Shape 974">
                  <a:extLst>
                    <a:ext uri="{FF2B5EF4-FFF2-40B4-BE49-F238E27FC236}">
                      <a16:creationId xmlns:a16="http://schemas.microsoft.com/office/drawing/2014/main" id="{6925A23A-92C5-44DA-BFA2-23634FA0C0C4}"/>
                    </a:ext>
                  </a:extLst>
                </p:cNvPr>
                <p:cNvSpPr/>
                <p:nvPr/>
              </p:nvSpPr>
              <p:spPr>
                <a:xfrm>
                  <a:off x="6820276" y="3362716"/>
                  <a:ext cx="118919" cy="118919"/>
                </a:xfrm>
                <a:custGeom>
                  <a:avLst/>
                  <a:gdLst>
                    <a:gd name="connsiteX0" fmla="*/ 59456 w 118919"/>
                    <a:gd name="connsiteY0" fmla="*/ 118919 h 118919"/>
                    <a:gd name="connsiteX1" fmla="*/ 0 w 118919"/>
                    <a:gd name="connsiteY1" fmla="*/ 59456 h 118919"/>
                    <a:gd name="connsiteX2" fmla="*/ 59456 w 118919"/>
                    <a:gd name="connsiteY2" fmla="*/ 0 h 118919"/>
                    <a:gd name="connsiteX3" fmla="*/ 118919 w 118919"/>
                    <a:gd name="connsiteY3" fmla="*/ 59456 h 118919"/>
                    <a:gd name="connsiteX4" fmla="*/ 59456 w 118919"/>
                    <a:gd name="connsiteY4" fmla="*/ 118919 h 118919"/>
                    <a:gd name="connsiteX5" fmla="*/ 59456 w 118919"/>
                    <a:gd name="connsiteY5" fmla="*/ 12748 h 118919"/>
                    <a:gd name="connsiteX6" fmla="*/ 12755 w 118919"/>
                    <a:gd name="connsiteY6" fmla="*/ 59450 h 118919"/>
                    <a:gd name="connsiteX7" fmla="*/ 59456 w 118919"/>
                    <a:gd name="connsiteY7" fmla="*/ 106158 h 118919"/>
                    <a:gd name="connsiteX8" fmla="*/ 106164 w 118919"/>
                    <a:gd name="connsiteY8" fmla="*/ 59450 h 118919"/>
                    <a:gd name="connsiteX9" fmla="*/ 59456 w 118919"/>
                    <a:gd name="connsiteY9" fmla="*/ 12748 h 118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919" h="118919">
                      <a:moveTo>
                        <a:pt x="59456" y="118919"/>
                      </a:moveTo>
                      <a:cubicBezTo>
                        <a:pt x="26670" y="118919"/>
                        <a:pt x="0" y="92243"/>
                        <a:pt x="0" y="59456"/>
                      </a:cubicBezTo>
                      <a:cubicBezTo>
                        <a:pt x="0" y="26670"/>
                        <a:pt x="26677" y="0"/>
                        <a:pt x="59456" y="0"/>
                      </a:cubicBezTo>
                      <a:cubicBezTo>
                        <a:pt x="92249" y="0"/>
                        <a:pt x="118919" y="26677"/>
                        <a:pt x="118919" y="59456"/>
                      </a:cubicBezTo>
                      <a:cubicBezTo>
                        <a:pt x="118919" y="92243"/>
                        <a:pt x="92249" y="118919"/>
                        <a:pt x="59456" y="118919"/>
                      </a:cubicBezTo>
                      <a:close/>
                      <a:moveTo>
                        <a:pt x="59456" y="12748"/>
                      </a:moveTo>
                      <a:cubicBezTo>
                        <a:pt x="33705" y="12748"/>
                        <a:pt x="12755" y="33698"/>
                        <a:pt x="12755" y="59450"/>
                      </a:cubicBezTo>
                      <a:cubicBezTo>
                        <a:pt x="12755" y="85208"/>
                        <a:pt x="33705" y="106158"/>
                        <a:pt x="59456" y="106158"/>
                      </a:cubicBezTo>
                      <a:cubicBezTo>
                        <a:pt x="85215" y="106158"/>
                        <a:pt x="106164" y="85208"/>
                        <a:pt x="106164" y="59450"/>
                      </a:cubicBezTo>
                      <a:cubicBezTo>
                        <a:pt x="106164" y="33705"/>
                        <a:pt x="85215" y="12748"/>
                        <a:pt x="59456" y="12748"/>
                      </a:cubicBezTo>
                      <a:close/>
                    </a:path>
                  </a:pathLst>
                </a:custGeom>
                <a:solidFill>
                  <a:schemeClr val="accent1"/>
                </a:solidFill>
                <a:ln w="637" cap="flat">
                  <a:noFill/>
                  <a:prstDash val="solid"/>
                  <a:miter/>
                </a:ln>
              </p:spPr>
              <p:txBody>
                <a:bodyPr rtlCol="0" anchor="ctr"/>
                <a:lstStyle/>
                <a:p>
                  <a:endParaRPr lang="en-GB" dirty="0"/>
                </a:p>
              </p:txBody>
            </p:sp>
            <p:grpSp>
              <p:nvGrpSpPr>
                <p:cNvPr id="976" name="Graphic 32">
                  <a:extLst>
                    <a:ext uri="{FF2B5EF4-FFF2-40B4-BE49-F238E27FC236}">
                      <a16:creationId xmlns:a16="http://schemas.microsoft.com/office/drawing/2014/main" id="{7B266DF4-C47C-4539-A393-A63F0850CDD3}"/>
                    </a:ext>
                  </a:extLst>
                </p:cNvPr>
                <p:cNvGrpSpPr/>
                <p:nvPr/>
              </p:nvGrpSpPr>
              <p:grpSpPr>
                <a:xfrm>
                  <a:off x="6783836" y="3403806"/>
                  <a:ext cx="49074" cy="36491"/>
                  <a:chOff x="6783836" y="3403806"/>
                  <a:chExt cx="49074" cy="36491"/>
                </a:xfrm>
                <a:solidFill>
                  <a:schemeClr val="accent1"/>
                </a:solidFill>
              </p:grpSpPr>
              <p:sp>
                <p:nvSpPr>
                  <p:cNvPr id="1008" name="Freeform: Shape 1007">
                    <a:extLst>
                      <a:ext uri="{FF2B5EF4-FFF2-40B4-BE49-F238E27FC236}">
                        <a16:creationId xmlns:a16="http://schemas.microsoft.com/office/drawing/2014/main" id="{3E8A24AD-2559-4959-BECF-F3D6B57010E3}"/>
                      </a:ext>
                    </a:extLst>
                  </p:cNvPr>
                  <p:cNvSpPr/>
                  <p:nvPr/>
                </p:nvSpPr>
                <p:spPr>
                  <a:xfrm>
                    <a:off x="6783836" y="3403806"/>
                    <a:ext cx="32314" cy="36491"/>
                  </a:xfrm>
                  <a:custGeom>
                    <a:avLst/>
                    <a:gdLst>
                      <a:gd name="connsiteX0" fmla="*/ 14119 w 32314"/>
                      <a:gd name="connsiteY0" fmla="*/ 36491 h 36491"/>
                      <a:gd name="connsiteX1" fmla="*/ 0 w 32314"/>
                      <a:gd name="connsiteY1" fmla="*/ 18297 h 36491"/>
                      <a:gd name="connsiteX2" fmla="*/ 13711 w 32314"/>
                      <a:gd name="connsiteY2" fmla="*/ 0 h 36491"/>
                      <a:gd name="connsiteX3" fmla="*/ 32314 w 32314"/>
                      <a:gd name="connsiteY3" fmla="*/ 18297 h 36491"/>
                      <a:gd name="connsiteX4" fmla="*/ 14119 w 32314"/>
                      <a:gd name="connsiteY4" fmla="*/ 36491 h 36491"/>
                      <a:gd name="connsiteX5" fmla="*/ 13711 w 32314"/>
                      <a:gd name="connsiteY5" fmla="*/ 12761 h 36491"/>
                      <a:gd name="connsiteX6" fmla="*/ 13679 w 32314"/>
                      <a:gd name="connsiteY6" fmla="*/ 12761 h 36491"/>
                      <a:gd name="connsiteX7" fmla="*/ 12748 w 32314"/>
                      <a:gd name="connsiteY7" fmla="*/ 18303 h 36491"/>
                      <a:gd name="connsiteX8" fmla="*/ 14190 w 32314"/>
                      <a:gd name="connsiteY8" fmla="*/ 23788 h 36491"/>
                      <a:gd name="connsiteX9" fmla="*/ 19559 w 32314"/>
                      <a:gd name="connsiteY9" fmla="*/ 18303 h 36491"/>
                      <a:gd name="connsiteX10" fmla="*/ 13711 w 32314"/>
                      <a:gd name="connsiteY10" fmla="*/ 12761 h 3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314" h="36491">
                        <a:moveTo>
                          <a:pt x="14119" y="36491"/>
                        </a:moveTo>
                        <a:cubicBezTo>
                          <a:pt x="5803" y="36491"/>
                          <a:pt x="0" y="29011"/>
                          <a:pt x="0" y="18297"/>
                        </a:cubicBezTo>
                        <a:cubicBezTo>
                          <a:pt x="0" y="7353"/>
                          <a:pt x="5510" y="0"/>
                          <a:pt x="13711" y="0"/>
                        </a:cubicBezTo>
                        <a:cubicBezTo>
                          <a:pt x="22927" y="0"/>
                          <a:pt x="32314" y="9234"/>
                          <a:pt x="32314" y="18297"/>
                        </a:cubicBezTo>
                        <a:cubicBezTo>
                          <a:pt x="32314" y="27314"/>
                          <a:pt x="23131" y="36491"/>
                          <a:pt x="14119" y="36491"/>
                        </a:cubicBezTo>
                        <a:close/>
                        <a:moveTo>
                          <a:pt x="13711" y="12761"/>
                        </a:moveTo>
                        <a:lnTo>
                          <a:pt x="13679" y="12761"/>
                        </a:lnTo>
                        <a:cubicBezTo>
                          <a:pt x="13616" y="12972"/>
                          <a:pt x="12748" y="14910"/>
                          <a:pt x="12748" y="18303"/>
                        </a:cubicBezTo>
                        <a:cubicBezTo>
                          <a:pt x="12748" y="21415"/>
                          <a:pt x="13699" y="23443"/>
                          <a:pt x="14190" y="23788"/>
                        </a:cubicBezTo>
                        <a:cubicBezTo>
                          <a:pt x="15988" y="23737"/>
                          <a:pt x="19559" y="20484"/>
                          <a:pt x="19559" y="18303"/>
                        </a:cubicBezTo>
                        <a:cubicBezTo>
                          <a:pt x="19559" y="16332"/>
                          <a:pt x="15790" y="12761"/>
                          <a:pt x="13711" y="12761"/>
                        </a:cubicBezTo>
                        <a:close/>
                      </a:path>
                    </a:pathLst>
                  </a:custGeom>
                  <a:solidFill>
                    <a:schemeClr val="accent1"/>
                  </a:solidFill>
                  <a:ln w="637" cap="flat">
                    <a:noFill/>
                    <a:prstDash val="solid"/>
                    <a:miter/>
                  </a:ln>
                </p:spPr>
                <p:txBody>
                  <a:bodyPr rtlCol="0" anchor="ctr"/>
                  <a:lstStyle/>
                  <a:p>
                    <a:endParaRPr lang="en-GB" dirty="0"/>
                  </a:p>
                </p:txBody>
              </p:sp>
              <p:sp>
                <p:nvSpPr>
                  <p:cNvPr id="1009" name="Freeform: Shape 1008">
                    <a:extLst>
                      <a:ext uri="{FF2B5EF4-FFF2-40B4-BE49-F238E27FC236}">
                        <a16:creationId xmlns:a16="http://schemas.microsoft.com/office/drawing/2014/main" id="{ED71145D-4388-4743-A278-E81D575284C3}"/>
                      </a:ext>
                    </a:extLst>
                  </p:cNvPr>
                  <p:cNvSpPr/>
                  <p:nvPr/>
                </p:nvSpPr>
                <p:spPr>
                  <a:xfrm>
                    <a:off x="6803396" y="3415738"/>
                    <a:ext cx="29514" cy="12754"/>
                  </a:xfrm>
                  <a:custGeom>
                    <a:avLst/>
                    <a:gdLst>
                      <a:gd name="connsiteX0" fmla="*/ 23137 w 29514"/>
                      <a:gd name="connsiteY0" fmla="*/ 12755 h 12754"/>
                      <a:gd name="connsiteX1" fmla="*/ 6377 w 29514"/>
                      <a:gd name="connsiteY1" fmla="*/ 12755 h 12754"/>
                      <a:gd name="connsiteX2" fmla="*/ 0 w 29514"/>
                      <a:gd name="connsiteY2" fmla="*/ 6377 h 12754"/>
                      <a:gd name="connsiteX3" fmla="*/ 6377 w 29514"/>
                      <a:gd name="connsiteY3" fmla="*/ 0 h 12754"/>
                      <a:gd name="connsiteX4" fmla="*/ 23137 w 29514"/>
                      <a:gd name="connsiteY4" fmla="*/ 0 h 12754"/>
                      <a:gd name="connsiteX5" fmla="*/ 29515 w 29514"/>
                      <a:gd name="connsiteY5" fmla="*/ 6377 h 12754"/>
                      <a:gd name="connsiteX6" fmla="*/ 23137 w 29514"/>
                      <a:gd name="connsiteY6" fmla="*/ 12755 h 1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14" h="12754">
                        <a:moveTo>
                          <a:pt x="23137" y="12755"/>
                        </a:moveTo>
                        <a:lnTo>
                          <a:pt x="6377" y="12755"/>
                        </a:lnTo>
                        <a:cubicBezTo>
                          <a:pt x="2851" y="12755"/>
                          <a:pt x="0" y="9904"/>
                          <a:pt x="0" y="6377"/>
                        </a:cubicBezTo>
                        <a:cubicBezTo>
                          <a:pt x="0" y="2851"/>
                          <a:pt x="2851" y="0"/>
                          <a:pt x="6377" y="0"/>
                        </a:cubicBezTo>
                        <a:lnTo>
                          <a:pt x="23137" y="0"/>
                        </a:lnTo>
                        <a:cubicBezTo>
                          <a:pt x="26664" y="0"/>
                          <a:pt x="29515" y="2851"/>
                          <a:pt x="29515" y="6377"/>
                        </a:cubicBezTo>
                        <a:cubicBezTo>
                          <a:pt x="29515" y="9904"/>
                          <a:pt x="26664" y="12755"/>
                          <a:pt x="23137" y="12755"/>
                        </a:cubicBezTo>
                        <a:close/>
                      </a:path>
                    </a:pathLst>
                  </a:custGeom>
                  <a:solidFill>
                    <a:schemeClr val="accent1"/>
                  </a:solidFill>
                  <a:ln w="637" cap="flat">
                    <a:noFill/>
                    <a:prstDash val="solid"/>
                    <a:miter/>
                  </a:ln>
                </p:spPr>
                <p:txBody>
                  <a:bodyPr rtlCol="0" anchor="ctr"/>
                  <a:lstStyle/>
                  <a:p>
                    <a:endParaRPr lang="en-GB" dirty="0"/>
                  </a:p>
                </p:txBody>
              </p:sp>
            </p:grpSp>
            <p:grpSp>
              <p:nvGrpSpPr>
                <p:cNvPr id="977" name="Graphic 32">
                  <a:extLst>
                    <a:ext uri="{FF2B5EF4-FFF2-40B4-BE49-F238E27FC236}">
                      <a16:creationId xmlns:a16="http://schemas.microsoft.com/office/drawing/2014/main" id="{3E5250F4-B205-4B9B-8241-53858C27495C}"/>
                    </a:ext>
                  </a:extLst>
                </p:cNvPr>
                <p:cNvGrpSpPr/>
                <p:nvPr/>
              </p:nvGrpSpPr>
              <p:grpSpPr>
                <a:xfrm>
                  <a:off x="6926562" y="3403761"/>
                  <a:ext cx="49068" cy="36491"/>
                  <a:chOff x="6926562" y="3403761"/>
                  <a:chExt cx="49068" cy="36491"/>
                </a:xfrm>
                <a:solidFill>
                  <a:schemeClr val="accent1"/>
                </a:solidFill>
              </p:grpSpPr>
              <p:sp>
                <p:nvSpPr>
                  <p:cNvPr id="1006" name="Freeform: Shape 1005">
                    <a:extLst>
                      <a:ext uri="{FF2B5EF4-FFF2-40B4-BE49-F238E27FC236}">
                        <a16:creationId xmlns:a16="http://schemas.microsoft.com/office/drawing/2014/main" id="{0548C222-5848-4997-9AC2-4400DBA84D41}"/>
                      </a:ext>
                    </a:extLst>
                  </p:cNvPr>
                  <p:cNvSpPr/>
                  <p:nvPr/>
                </p:nvSpPr>
                <p:spPr>
                  <a:xfrm>
                    <a:off x="6943322" y="3403761"/>
                    <a:ext cx="32308" cy="36491"/>
                  </a:xfrm>
                  <a:custGeom>
                    <a:avLst/>
                    <a:gdLst>
                      <a:gd name="connsiteX0" fmla="*/ 18220 w 32308"/>
                      <a:gd name="connsiteY0" fmla="*/ 36491 h 36491"/>
                      <a:gd name="connsiteX1" fmla="*/ 0 w 32308"/>
                      <a:gd name="connsiteY1" fmla="*/ 18392 h 36491"/>
                      <a:gd name="connsiteX2" fmla="*/ 18514 w 32308"/>
                      <a:gd name="connsiteY2" fmla="*/ 0 h 36491"/>
                      <a:gd name="connsiteX3" fmla="*/ 18578 w 32308"/>
                      <a:gd name="connsiteY3" fmla="*/ 0 h 36491"/>
                      <a:gd name="connsiteX4" fmla="*/ 29917 w 32308"/>
                      <a:gd name="connsiteY4" fmla="*/ 7226 h 36491"/>
                      <a:gd name="connsiteX5" fmla="*/ 32308 w 32308"/>
                      <a:gd name="connsiteY5" fmla="*/ 18239 h 36491"/>
                      <a:gd name="connsiteX6" fmla="*/ 29700 w 32308"/>
                      <a:gd name="connsiteY6" fmla="*/ 29432 h 36491"/>
                      <a:gd name="connsiteX7" fmla="*/ 18284 w 32308"/>
                      <a:gd name="connsiteY7" fmla="*/ 36491 h 36491"/>
                      <a:gd name="connsiteX8" fmla="*/ 18220 w 32308"/>
                      <a:gd name="connsiteY8" fmla="*/ 36491 h 36491"/>
                      <a:gd name="connsiteX9" fmla="*/ 18405 w 32308"/>
                      <a:gd name="connsiteY9" fmla="*/ 12761 h 36491"/>
                      <a:gd name="connsiteX10" fmla="*/ 12755 w 32308"/>
                      <a:gd name="connsiteY10" fmla="*/ 18329 h 36491"/>
                      <a:gd name="connsiteX11" fmla="*/ 18214 w 32308"/>
                      <a:gd name="connsiteY11" fmla="*/ 23737 h 36491"/>
                      <a:gd name="connsiteX12" fmla="*/ 18220 w 32308"/>
                      <a:gd name="connsiteY12" fmla="*/ 23737 h 36491"/>
                      <a:gd name="connsiteX13" fmla="*/ 19553 w 32308"/>
                      <a:gd name="connsiteY13" fmla="*/ 18297 h 36491"/>
                      <a:gd name="connsiteX14" fmla="*/ 18405 w 32308"/>
                      <a:gd name="connsiteY14" fmla="*/ 12761 h 36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2308" h="36491">
                        <a:moveTo>
                          <a:pt x="18220" y="36491"/>
                        </a:moveTo>
                        <a:cubicBezTo>
                          <a:pt x="9235" y="36491"/>
                          <a:pt x="45" y="27378"/>
                          <a:pt x="0" y="18392"/>
                        </a:cubicBezTo>
                        <a:cubicBezTo>
                          <a:pt x="-38" y="9317"/>
                          <a:pt x="9305" y="45"/>
                          <a:pt x="18514" y="0"/>
                        </a:cubicBezTo>
                        <a:cubicBezTo>
                          <a:pt x="18539" y="0"/>
                          <a:pt x="18558" y="0"/>
                          <a:pt x="18578" y="0"/>
                        </a:cubicBezTo>
                        <a:cubicBezTo>
                          <a:pt x="23412" y="0"/>
                          <a:pt x="27538" y="2627"/>
                          <a:pt x="29917" y="7226"/>
                        </a:cubicBezTo>
                        <a:cubicBezTo>
                          <a:pt x="31874" y="11001"/>
                          <a:pt x="32295" y="15299"/>
                          <a:pt x="32308" y="18239"/>
                        </a:cubicBezTo>
                        <a:cubicBezTo>
                          <a:pt x="32334" y="22391"/>
                          <a:pt x="31402" y="26371"/>
                          <a:pt x="29700" y="29432"/>
                        </a:cubicBezTo>
                        <a:cubicBezTo>
                          <a:pt x="27213" y="33896"/>
                          <a:pt x="23054" y="36472"/>
                          <a:pt x="18284" y="36491"/>
                        </a:cubicBezTo>
                        <a:cubicBezTo>
                          <a:pt x="18259" y="36491"/>
                          <a:pt x="18240" y="36491"/>
                          <a:pt x="18220" y="36491"/>
                        </a:cubicBezTo>
                        <a:close/>
                        <a:moveTo>
                          <a:pt x="18405" y="12761"/>
                        </a:moveTo>
                        <a:cubicBezTo>
                          <a:pt x="16301" y="12953"/>
                          <a:pt x="12749" y="16409"/>
                          <a:pt x="12755" y="18329"/>
                        </a:cubicBezTo>
                        <a:cubicBezTo>
                          <a:pt x="12768" y="20503"/>
                          <a:pt x="16345" y="23737"/>
                          <a:pt x="18214" y="23737"/>
                        </a:cubicBezTo>
                        <a:lnTo>
                          <a:pt x="18220" y="23737"/>
                        </a:lnTo>
                        <a:cubicBezTo>
                          <a:pt x="18622" y="23437"/>
                          <a:pt x="19572" y="21409"/>
                          <a:pt x="19553" y="18297"/>
                        </a:cubicBezTo>
                        <a:cubicBezTo>
                          <a:pt x="19541" y="15236"/>
                          <a:pt x="18833" y="13367"/>
                          <a:pt x="18405" y="12761"/>
                        </a:cubicBezTo>
                        <a:close/>
                      </a:path>
                    </a:pathLst>
                  </a:custGeom>
                  <a:solidFill>
                    <a:schemeClr val="accent1"/>
                  </a:solidFill>
                  <a:ln w="637" cap="flat">
                    <a:noFill/>
                    <a:prstDash val="solid"/>
                    <a:miter/>
                  </a:ln>
                </p:spPr>
                <p:txBody>
                  <a:bodyPr rtlCol="0" anchor="ctr"/>
                  <a:lstStyle/>
                  <a:p>
                    <a:endParaRPr lang="en-GB" dirty="0"/>
                  </a:p>
                </p:txBody>
              </p:sp>
              <p:sp>
                <p:nvSpPr>
                  <p:cNvPr id="1007" name="Freeform: Shape 1006">
                    <a:extLst>
                      <a:ext uri="{FF2B5EF4-FFF2-40B4-BE49-F238E27FC236}">
                        <a16:creationId xmlns:a16="http://schemas.microsoft.com/office/drawing/2014/main" id="{3EEF3D78-B7E8-465D-9D2E-C3F1B7667040}"/>
                      </a:ext>
                    </a:extLst>
                  </p:cNvPr>
                  <p:cNvSpPr/>
                  <p:nvPr/>
                </p:nvSpPr>
                <p:spPr>
                  <a:xfrm>
                    <a:off x="6926562" y="3415738"/>
                    <a:ext cx="29514" cy="12837"/>
                  </a:xfrm>
                  <a:custGeom>
                    <a:avLst/>
                    <a:gdLst>
                      <a:gd name="connsiteX0" fmla="*/ 6377 w 29514"/>
                      <a:gd name="connsiteY0" fmla="*/ 12838 h 12837"/>
                      <a:gd name="connsiteX1" fmla="*/ 0 w 29514"/>
                      <a:gd name="connsiteY1" fmla="*/ 6492 h 12837"/>
                      <a:gd name="connsiteX2" fmla="*/ 6346 w 29514"/>
                      <a:gd name="connsiteY2" fmla="*/ 83 h 12837"/>
                      <a:gd name="connsiteX3" fmla="*/ 23106 w 29514"/>
                      <a:gd name="connsiteY3" fmla="*/ 0 h 12837"/>
                      <a:gd name="connsiteX4" fmla="*/ 23137 w 29514"/>
                      <a:gd name="connsiteY4" fmla="*/ 0 h 12837"/>
                      <a:gd name="connsiteX5" fmla="*/ 29515 w 29514"/>
                      <a:gd name="connsiteY5" fmla="*/ 6345 h 12837"/>
                      <a:gd name="connsiteX6" fmla="*/ 23169 w 29514"/>
                      <a:gd name="connsiteY6" fmla="*/ 12755 h 12837"/>
                      <a:gd name="connsiteX7" fmla="*/ 6409 w 29514"/>
                      <a:gd name="connsiteY7" fmla="*/ 12838 h 12837"/>
                      <a:gd name="connsiteX8" fmla="*/ 6377 w 29514"/>
                      <a:gd name="connsiteY8" fmla="*/ 12838 h 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514" h="12837">
                        <a:moveTo>
                          <a:pt x="6377" y="12838"/>
                        </a:moveTo>
                        <a:cubicBezTo>
                          <a:pt x="2870" y="12838"/>
                          <a:pt x="19" y="10006"/>
                          <a:pt x="0" y="6492"/>
                        </a:cubicBezTo>
                        <a:cubicBezTo>
                          <a:pt x="-19" y="2965"/>
                          <a:pt x="2825" y="102"/>
                          <a:pt x="6346" y="83"/>
                        </a:cubicBezTo>
                        <a:lnTo>
                          <a:pt x="23106" y="0"/>
                        </a:lnTo>
                        <a:cubicBezTo>
                          <a:pt x="23118" y="0"/>
                          <a:pt x="23125" y="0"/>
                          <a:pt x="23137" y="0"/>
                        </a:cubicBezTo>
                        <a:cubicBezTo>
                          <a:pt x="26645" y="0"/>
                          <a:pt x="29496" y="2832"/>
                          <a:pt x="29515" y="6345"/>
                        </a:cubicBezTo>
                        <a:cubicBezTo>
                          <a:pt x="29534" y="9872"/>
                          <a:pt x="26690" y="12736"/>
                          <a:pt x="23169" y="12755"/>
                        </a:cubicBezTo>
                        <a:lnTo>
                          <a:pt x="6409" y="12838"/>
                        </a:lnTo>
                        <a:cubicBezTo>
                          <a:pt x="6397" y="12838"/>
                          <a:pt x="6390" y="12838"/>
                          <a:pt x="6377" y="12838"/>
                        </a:cubicBezTo>
                        <a:close/>
                      </a:path>
                    </a:pathLst>
                  </a:custGeom>
                  <a:solidFill>
                    <a:schemeClr val="accent1"/>
                  </a:solidFill>
                  <a:ln w="637" cap="flat">
                    <a:noFill/>
                    <a:prstDash val="solid"/>
                    <a:miter/>
                  </a:ln>
                </p:spPr>
                <p:txBody>
                  <a:bodyPr rtlCol="0" anchor="ctr"/>
                  <a:lstStyle/>
                  <a:p>
                    <a:endParaRPr lang="en-GB" dirty="0"/>
                  </a:p>
                </p:txBody>
              </p:sp>
            </p:grpSp>
            <p:grpSp>
              <p:nvGrpSpPr>
                <p:cNvPr id="978" name="Graphic 32">
                  <a:extLst>
                    <a:ext uri="{FF2B5EF4-FFF2-40B4-BE49-F238E27FC236}">
                      <a16:creationId xmlns:a16="http://schemas.microsoft.com/office/drawing/2014/main" id="{9605C06D-5955-4D28-B233-306AAB066411}"/>
                    </a:ext>
                  </a:extLst>
                </p:cNvPr>
                <p:cNvGrpSpPr/>
                <p:nvPr/>
              </p:nvGrpSpPr>
              <p:grpSpPr>
                <a:xfrm>
                  <a:off x="6805028" y="3326384"/>
                  <a:ext cx="149446" cy="64679"/>
                  <a:chOff x="6805028" y="3326384"/>
                  <a:chExt cx="149446" cy="64679"/>
                </a:xfrm>
                <a:solidFill>
                  <a:schemeClr val="accent1"/>
                </a:solidFill>
              </p:grpSpPr>
              <p:grpSp>
                <p:nvGrpSpPr>
                  <p:cNvPr id="997" name="Graphic 32">
                    <a:extLst>
                      <a:ext uri="{FF2B5EF4-FFF2-40B4-BE49-F238E27FC236}">
                        <a16:creationId xmlns:a16="http://schemas.microsoft.com/office/drawing/2014/main" id="{7BE28F2B-252B-4B32-B5E2-8D4669C714DB}"/>
                      </a:ext>
                    </a:extLst>
                  </p:cNvPr>
                  <p:cNvGrpSpPr/>
                  <p:nvPr/>
                </p:nvGrpSpPr>
                <p:grpSpPr>
                  <a:xfrm>
                    <a:off x="6861545" y="3326384"/>
                    <a:ext cx="36491" cy="49080"/>
                    <a:chOff x="6861545" y="3326384"/>
                    <a:chExt cx="36491" cy="49080"/>
                  </a:xfrm>
                  <a:solidFill>
                    <a:schemeClr val="accent1"/>
                  </a:solidFill>
                </p:grpSpPr>
                <p:sp>
                  <p:nvSpPr>
                    <p:cNvPr id="1004" name="Freeform: Shape 1003">
                      <a:extLst>
                        <a:ext uri="{FF2B5EF4-FFF2-40B4-BE49-F238E27FC236}">
                          <a16:creationId xmlns:a16="http://schemas.microsoft.com/office/drawing/2014/main" id="{0E31469E-F584-4E0F-9A7A-2B6D48C36DD8}"/>
                        </a:ext>
                      </a:extLst>
                    </p:cNvPr>
                    <p:cNvSpPr/>
                    <p:nvPr/>
                  </p:nvSpPr>
                  <p:spPr>
                    <a:xfrm>
                      <a:off x="6861545" y="3326384"/>
                      <a:ext cx="36491" cy="32314"/>
                    </a:xfrm>
                    <a:custGeom>
                      <a:avLst/>
                      <a:gdLst>
                        <a:gd name="connsiteX0" fmla="*/ 18201 w 36491"/>
                        <a:gd name="connsiteY0" fmla="*/ 32314 h 32314"/>
                        <a:gd name="connsiteX1" fmla="*/ 0 w 36491"/>
                        <a:gd name="connsiteY1" fmla="*/ 14120 h 32314"/>
                        <a:gd name="connsiteX2" fmla="*/ 18201 w 36491"/>
                        <a:gd name="connsiteY2" fmla="*/ 0 h 32314"/>
                        <a:gd name="connsiteX3" fmla="*/ 36491 w 36491"/>
                        <a:gd name="connsiteY3" fmla="*/ 13711 h 32314"/>
                        <a:gd name="connsiteX4" fmla="*/ 18201 w 36491"/>
                        <a:gd name="connsiteY4" fmla="*/ 32314 h 32314"/>
                        <a:gd name="connsiteX5" fmla="*/ 18201 w 36491"/>
                        <a:gd name="connsiteY5" fmla="*/ 12761 h 32314"/>
                        <a:gd name="connsiteX6" fmla="*/ 12710 w 36491"/>
                        <a:gd name="connsiteY6" fmla="*/ 14202 h 32314"/>
                        <a:gd name="connsiteX7" fmla="*/ 18201 w 36491"/>
                        <a:gd name="connsiteY7" fmla="*/ 19566 h 32314"/>
                        <a:gd name="connsiteX8" fmla="*/ 23737 w 36491"/>
                        <a:gd name="connsiteY8" fmla="*/ 13724 h 32314"/>
                        <a:gd name="connsiteX9" fmla="*/ 23737 w 36491"/>
                        <a:gd name="connsiteY9" fmla="*/ 13692 h 32314"/>
                        <a:gd name="connsiteX10" fmla="*/ 18201 w 36491"/>
                        <a:gd name="connsiteY10" fmla="*/ 12761 h 32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491" h="32314">
                          <a:moveTo>
                            <a:pt x="18201" y="32314"/>
                          </a:moveTo>
                          <a:cubicBezTo>
                            <a:pt x="9190" y="32314"/>
                            <a:pt x="0" y="23137"/>
                            <a:pt x="0" y="14120"/>
                          </a:cubicBezTo>
                          <a:cubicBezTo>
                            <a:pt x="0" y="5803"/>
                            <a:pt x="7487" y="0"/>
                            <a:pt x="18201" y="0"/>
                          </a:cubicBezTo>
                          <a:cubicBezTo>
                            <a:pt x="29310" y="0"/>
                            <a:pt x="36491" y="5383"/>
                            <a:pt x="36491" y="13711"/>
                          </a:cubicBezTo>
                          <a:cubicBezTo>
                            <a:pt x="36491" y="22933"/>
                            <a:pt x="27263" y="32314"/>
                            <a:pt x="18201" y="32314"/>
                          </a:cubicBezTo>
                          <a:close/>
                          <a:moveTo>
                            <a:pt x="18201" y="12761"/>
                          </a:moveTo>
                          <a:cubicBezTo>
                            <a:pt x="15083" y="12761"/>
                            <a:pt x="13055" y="13711"/>
                            <a:pt x="12710" y="14202"/>
                          </a:cubicBezTo>
                          <a:cubicBezTo>
                            <a:pt x="12761" y="16001"/>
                            <a:pt x="16014" y="19566"/>
                            <a:pt x="18201" y="19566"/>
                          </a:cubicBezTo>
                          <a:cubicBezTo>
                            <a:pt x="20216" y="19566"/>
                            <a:pt x="23737" y="15854"/>
                            <a:pt x="23737" y="13724"/>
                          </a:cubicBezTo>
                          <a:lnTo>
                            <a:pt x="23737" y="13692"/>
                          </a:lnTo>
                          <a:cubicBezTo>
                            <a:pt x="23526" y="13622"/>
                            <a:pt x="21594" y="12761"/>
                            <a:pt x="18201" y="12761"/>
                          </a:cubicBezTo>
                          <a:close/>
                        </a:path>
                      </a:pathLst>
                    </a:custGeom>
                    <a:solidFill>
                      <a:schemeClr val="accent1"/>
                    </a:solidFill>
                    <a:ln w="637" cap="flat">
                      <a:noFill/>
                      <a:prstDash val="solid"/>
                      <a:miter/>
                    </a:ln>
                  </p:spPr>
                  <p:txBody>
                    <a:bodyPr rtlCol="0" anchor="ctr"/>
                    <a:lstStyle/>
                    <a:p>
                      <a:endParaRPr lang="en-GB" dirty="0"/>
                    </a:p>
                  </p:txBody>
                </p:sp>
                <p:sp>
                  <p:nvSpPr>
                    <p:cNvPr id="1005" name="Freeform: Shape 1004">
                      <a:extLst>
                        <a:ext uri="{FF2B5EF4-FFF2-40B4-BE49-F238E27FC236}">
                          <a16:creationId xmlns:a16="http://schemas.microsoft.com/office/drawing/2014/main" id="{8FEECDE3-5DFC-4A5C-9D67-C9516A688E02}"/>
                        </a:ext>
                      </a:extLst>
                    </p:cNvPr>
                    <p:cNvSpPr/>
                    <p:nvPr/>
                  </p:nvSpPr>
                  <p:spPr>
                    <a:xfrm>
                      <a:off x="6873356" y="3345944"/>
                      <a:ext cx="12754" cy="29520"/>
                    </a:xfrm>
                    <a:custGeom>
                      <a:avLst/>
                      <a:gdLst>
                        <a:gd name="connsiteX0" fmla="*/ 6377 w 12754"/>
                        <a:gd name="connsiteY0" fmla="*/ 29521 h 29520"/>
                        <a:gd name="connsiteX1" fmla="*/ 0 w 12754"/>
                        <a:gd name="connsiteY1" fmla="*/ 23143 h 29520"/>
                        <a:gd name="connsiteX2" fmla="*/ 0 w 12754"/>
                        <a:gd name="connsiteY2" fmla="*/ 6377 h 29520"/>
                        <a:gd name="connsiteX3" fmla="*/ 6377 w 12754"/>
                        <a:gd name="connsiteY3" fmla="*/ 0 h 29520"/>
                        <a:gd name="connsiteX4" fmla="*/ 12755 w 12754"/>
                        <a:gd name="connsiteY4" fmla="*/ 6377 h 29520"/>
                        <a:gd name="connsiteX5" fmla="*/ 12755 w 12754"/>
                        <a:gd name="connsiteY5" fmla="*/ 23143 h 29520"/>
                        <a:gd name="connsiteX6" fmla="*/ 6377 w 12754"/>
                        <a:gd name="connsiteY6" fmla="*/ 29521 h 2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29520">
                          <a:moveTo>
                            <a:pt x="6377" y="29521"/>
                          </a:moveTo>
                          <a:cubicBezTo>
                            <a:pt x="2851" y="29521"/>
                            <a:pt x="0" y="26670"/>
                            <a:pt x="0" y="23143"/>
                          </a:cubicBezTo>
                          <a:lnTo>
                            <a:pt x="0" y="6377"/>
                          </a:lnTo>
                          <a:cubicBezTo>
                            <a:pt x="0" y="2851"/>
                            <a:pt x="2851" y="0"/>
                            <a:pt x="6377" y="0"/>
                          </a:cubicBezTo>
                          <a:cubicBezTo>
                            <a:pt x="9904" y="0"/>
                            <a:pt x="12755" y="2851"/>
                            <a:pt x="12755" y="6377"/>
                          </a:cubicBezTo>
                          <a:lnTo>
                            <a:pt x="12755" y="23143"/>
                          </a:lnTo>
                          <a:cubicBezTo>
                            <a:pt x="12755" y="26670"/>
                            <a:pt x="9904" y="29521"/>
                            <a:pt x="6377" y="29521"/>
                          </a:cubicBezTo>
                          <a:close/>
                        </a:path>
                      </a:pathLst>
                    </a:custGeom>
                    <a:solidFill>
                      <a:schemeClr val="accent1"/>
                    </a:solidFill>
                    <a:ln w="637" cap="flat">
                      <a:noFill/>
                      <a:prstDash val="solid"/>
                      <a:miter/>
                    </a:ln>
                  </p:spPr>
                  <p:txBody>
                    <a:bodyPr rtlCol="0" anchor="ctr"/>
                    <a:lstStyle/>
                    <a:p>
                      <a:endParaRPr lang="en-GB" dirty="0"/>
                    </a:p>
                  </p:txBody>
                </p:sp>
              </p:grpSp>
              <p:grpSp>
                <p:nvGrpSpPr>
                  <p:cNvPr id="998" name="Graphic 32">
                    <a:extLst>
                      <a:ext uri="{FF2B5EF4-FFF2-40B4-BE49-F238E27FC236}">
                        <a16:creationId xmlns:a16="http://schemas.microsoft.com/office/drawing/2014/main" id="{45D4B313-8B66-416F-B404-AF4BD05A6E4A}"/>
                      </a:ext>
                    </a:extLst>
                  </p:cNvPr>
                  <p:cNvGrpSpPr/>
                  <p:nvPr/>
                </p:nvGrpSpPr>
                <p:grpSpPr>
                  <a:xfrm>
                    <a:off x="6911057" y="3347898"/>
                    <a:ext cx="43417" cy="43165"/>
                    <a:chOff x="6911057" y="3347898"/>
                    <a:chExt cx="43417" cy="43165"/>
                  </a:xfrm>
                  <a:solidFill>
                    <a:schemeClr val="accent1"/>
                  </a:solidFill>
                </p:grpSpPr>
                <p:sp>
                  <p:nvSpPr>
                    <p:cNvPr id="1002" name="Freeform: Shape 1001">
                      <a:extLst>
                        <a:ext uri="{FF2B5EF4-FFF2-40B4-BE49-F238E27FC236}">
                          <a16:creationId xmlns:a16="http://schemas.microsoft.com/office/drawing/2014/main" id="{2FBCAE3F-19C0-4AF8-B61B-26ADEA10E982}"/>
                        </a:ext>
                      </a:extLst>
                    </p:cNvPr>
                    <p:cNvSpPr/>
                    <p:nvPr/>
                  </p:nvSpPr>
                  <p:spPr>
                    <a:xfrm>
                      <a:off x="6919960" y="3347898"/>
                      <a:ext cx="34513" cy="34179"/>
                    </a:xfrm>
                    <a:custGeom>
                      <a:avLst/>
                      <a:gdLst>
                        <a:gd name="connsiteX0" fmla="*/ 17641 w 34513"/>
                        <a:gd name="connsiteY0" fmla="*/ 34180 h 34179"/>
                        <a:gd name="connsiteX1" fmla="*/ 4816 w 34513"/>
                        <a:gd name="connsiteY1" fmla="*/ 29441 h 34179"/>
                        <a:gd name="connsiteX2" fmla="*/ 1 w 34513"/>
                        <a:gd name="connsiteY2" fmla="*/ 16431 h 34179"/>
                        <a:gd name="connsiteX3" fmla="*/ 4822 w 34513"/>
                        <a:gd name="connsiteY3" fmla="*/ 3715 h 34179"/>
                        <a:gd name="connsiteX4" fmla="*/ 17871 w 34513"/>
                        <a:gd name="connsiteY4" fmla="*/ 571 h 34179"/>
                        <a:gd name="connsiteX5" fmla="*/ 27673 w 34513"/>
                        <a:gd name="connsiteY5" fmla="*/ 6597 h 34179"/>
                        <a:gd name="connsiteX6" fmla="*/ 30919 w 34513"/>
                        <a:gd name="connsiteY6" fmla="*/ 29224 h 34179"/>
                        <a:gd name="connsiteX7" fmla="*/ 30906 w 34513"/>
                        <a:gd name="connsiteY7" fmla="*/ 29237 h 34179"/>
                        <a:gd name="connsiteX8" fmla="*/ 17641 w 34513"/>
                        <a:gd name="connsiteY8" fmla="*/ 34180 h 34179"/>
                        <a:gd name="connsiteX9" fmla="*/ 26403 w 34513"/>
                        <a:gd name="connsiteY9" fmla="*/ 24722 h 34179"/>
                        <a:gd name="connsiteX10" fmla="*/ 26467 w 34513"/>
                        <a:gd name="connsiteY10" fmla="*/ 24722 h 34179"/>
                        <a:gd name="connsiteX11" fmla="*/ 26403 w 34513"/>
                        <a:gd name="connsiteY11" fmla="*/ 24722 h 34179"/>
                        <a:gd name="connsiteX12" fmla="*/ 13872 w 34513"/>
                        <a:gd name="connsiteY12" fmla="*/ 12745 h 34179"/>
                        <a:gd name="connsiteX13" fmla="*/ 13757 w 34513"/>
                        <a:gd name="connsiteY13" fmla="*/ 12752 h 34179"/>
                        <a:gd name="connsiteX14" fmla="*/ 12762 w 34513"/>
                        <a:gd name="connsiteY14" fmla="*/ 16553 h 34179"/>
                        <a:gd name="connsiteX15" fmla="*/ 13846 w 34513"/>
                        <a:gd name="connsiteY15" fmla="*/ 20417 h 34179"/>
                        <a:gd name="connsiteX16" fmla="*/ 21895 w 34513"/>
                        <a:gd name="connsiteY16" fmla="*/ 20213 h 34179"/>
                        <a:gd name="connsiteX17" fmla="*/ 21920 w 34513"/>
                        <a:gd name="connsiteY17" fmla="*/ 20194 h 34179"/>
                        <a:gd name="connsiteX18" fmla="*/ 18655 w 34513"/>
                        <a:gd name="connsiteY18" fmla="*/ 15621 h 34179"/>
                        <a:gd name="connsiteX19" fmla="*/ 13872 w 34513"/>
                        <a:gd name="connsiteY19" fmla="*/ 12745 h 34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4513" h="34179">
                          <a:moveTo>
                            <a:pt x="17641" y="34180"/>
                          </a:moveTo>
                          <a:cubicBezTo>
                            <a:pt x="12794" y="34180"/>
                            <a:pt x="7979" y="32605"/>
                            <a:pt x="4816" y="29441"/>
                          </a:cubicBezTo>
                          <a:cubicBezTo>
                            <a:pt x="1710" y="26335"/>
                            <a:pt x="-50" y="21591"/>
                            <a:pt x="1" y="16431"/>
                          </a:cubicBezTo>
                          <a:cubicBezTo>
                            <a:pt x="46" y="11361"/>
                            <a:pt x="1806" y="6731"/>
                            <a:pt x="4822" y="3715"/>
                          </a:cubicBezTo>
                          <a:cubicBezTo>
                            <a:pt x="8183" y="335"/>
                            <a:pt x="12947" y="-807"/>
                            <a:pt x="17871" y="571"/>
                          </a:cubicBezTo>
                          <a:cubicBezTo>
                            <a:pt x="21244" y="1508"/>
                            <a:pt x="24726" y="3651"/>
                            <a:pt x="27673" y="6597"/>
                          </a:cubicBezTo>
                          <a:cubicBezTo>
                            <a:pt x="35408" y="14327"/>
                            <a:pt x="36716" y="23421"/>
                            <a:pt x="30919" y="29224"/>
                          </a:cubicBezTo>
                          <a:cubicBezTo>
                            <a:pt x="30912" y="29231"/>
                            <a:pt x="30912" y="29231"/>
                            <a:pt x="30906" y="29237"/>
                          </a:cubicBezTo>
                          <a:cubicBezTo>
                            <a:pt x="27615" y="32534"/>
                            <a:pt x="22615" y="34180"/>
                            <a:pt x="17641" y="34180"/>
                          </a:cubicBezTo>
                          <a:close/>
                          <a:moveTo>
                            <a:pt x="26403" y="24722"/>
                          </a:moveTo>
                          <a:lnTo>
                            <a:pt x="26467" y="24722"/>
                          </a:lnTo>
                          <a:lnTo>
                            <a:pt x="26403" y="24722"/>
                          </a:lnTo>
                          <a:close/>
                          <a:moveTo>
                            <a:pt x="13872" y="12745"/>
                          </a:moveTo>
                          <a:cubicBezTo>
                            <a:pt x="13827" y="12745"/>
                            <a:pt x="13789" y="12745"/>
                            <a:pt x="13757" y="12752"/>
                          </a:cubicBezTo>
                          <a:cubicBezTo>
                            <a:pt x="13432" y="13147"/>
                            <a:pt x="12781" y="14544"/>
                            <a:pt x="12762" y="16553"/>
                          </a:cubicBezTo>
                          <a:cubicBezTo>
                            <a:pt x="12743" y="18453"/>
                            <a:pt x="13311" y="19888"/>
                            <a:pt x="13846" y="20417"/>
                          </a:cubicBezTo>
                          <a:cubicBezTo>
                            <a:pt x="15275" y="21859"/>
                            <a:pt x="20370" y="21718"/>
                            <a:pt x="21895" y="20213"/>
                          </a:cubicBezTo>
                          <a:lnTo>
                            <a:pt x="21920" y="20194"/>
                          </a:lnTo>
                          <a:cubicBezTo>
                            <a:pt x="21812" y="19996"/>
                            <a:pt x="21059" y="18019"/>
                            <a:pt x="18655" y="15621"/>
                          </a:cubicBezTo>
                          <a:cubicBezTo>
                            <a:pt x="16570" y="13536"/>
                            <a:pt x="14586" y="12745"/>
                            <a:pt x="13872" y="12745"/>
                          </a:cubicBezTo>
                          <a:close/>
                        </a:path>
                      </a:pathLst>
                    </a:custGeom>
                    <a:solidFill>
                      <a:schemeClr val="accent1"/>
                    </a:solidFill>
                    <a:ln w="637" cap="flat">
                      <a:noFill/>
                      <a:prstDash val="solid"/>
                      <a:miter/>
                    </a:ln>
                  </p:spPr>
                  <p:txBody>
                    <a:bodyPr rtlCol="0" anchor="ctr"/>
                    <a:lstStyle/>
                    <a:p>
                      <a:endParaRPr lang="en-GB" dirty="0"/>
                    </a:p>
                  </p:txBody>
                </p:sp>
                <p:sp>
                  <p:nvSpPr>
                    <p:cNvPr id="1003" name="Freeform: Shape 1002">
                      <a:extLst>
                        <a:ext uri="{FF2B5EF4-FFF2-40B4-BE49-F238E27FC236}">
                          <a16:creationId xmlns:a16="http://schemas.microsoft.com/office/drawing/2014/main" id="{8C4A2F71-DA6A-4E04-80F2-F7616C4A2BA4}"/>
                        </a:ext>
                      </a:extLst>
                    </p:cNvPr>
                    <p:cNvSpPr/>
                    <p:nvPr/>
                  </p:nvSpPr>
                  <p:spPr>
                    <a:xfrm>
                      <a:off x="6911057" y="3366452"/>
                      <a:ext cx="24607" cy="24612"/>
                    </a:xfrm>
                    <a:custGeom>
                      <a:avLst/>
                      <a:gdLst>
                        <a:gd name="connsiteX0" fmla="*/ 6379 w 24607"/>
                        <a:gd name="connsiteY0" fmla="*/ 24612 h 24612"/>
                        <a:gd name="connsiteX1" fmla="*/ 1870 w 24607"/>
                        <a:gd name="connsiteY1" fmla="*/ 22743 h 24612"/>
                        <a:gd name="connsiteX2" fmla="*/ 1870 w 24607"/>
                        <a:gd name="connsiteY2" fmla="*/ 13726 h 24612"/>
                        <a:gd name="connsiteX3" fmla="*/ 13719 w 24607"/>
                        <a:gd name="connsiteY3" fmla="*/ 1870 h 24612"/>
                        <a:gd name="connsiteX4" fmla="*/ 22737 w 24607"/>
                        <a:gd name="connsiteY4" fmla="*/ 1870 h 24612"/>
                        <a:gd name="connsiteX5" fmla="*/ 22737 w 24607"/>
                        <a:gd name="connsiteY5" fmla="*/ 10888 h 24612"/>
                        <a:gd name="connsiteX6" fmla="*/ 10888 w 24607"/>
                        <a:gd name="connsiteY6" fmla="*/ 22743 h 24612"/>
                        <a:gd name="connsiteX7" fmla="*/ 6379 w 24607"/>
                        <a:gd name="connsiteY7" fmla="*/ 24612 h 2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07" h="24612">
                          <a:moveTo>
                            <a:pt x="6379" y="24612"/>
                          </a:moveTo>
                          <a:cubicBezTo>
                            <a:pt x="4746" y="24612"/>
                            <a:pt x="3114" y="23987"/>
                            <a:pt x="1870" y="22743"/>
                          </a:cubicBezTo>
                          <a:cubicBezTo>
                            <a:pt x="-623" y="20250"/>
                            <a:pt x="-623" y="16219"/>
                            <a:pt x="1870" y="13726"/>
                          </a:cubicBezTo>
                          <a:lnTo>
                            <a:pt x="13719" y="1870"/>
                          </a:lnTo>
                          <a:cubicBezTo>
                            <a:pt x="16213" y="-623"/>
                            <a:pt x="20243" y="-623"/>
                            <a:pt x="22737" y="1870"/>
                          </a:cubicBezTo>
                          <a:cubicBezTo>
                            <a:pt x="25230" y="4364"/>
                            <a:pt x="25230" y="8394"/>
                            <a:pt x="22737" y="10888"/>
                          </a:cubicBezTo>
                          <a:lnTo>
                            <a:pt x="10888" y="22743"/>
                          </a:lnTo>
                          <a:cubicBezTo>
                            <a:pt x="9644" y="23987"/>
                            <a:pt x="8011" y="24612"/>
                            <a:pt x="6379" y="24612"/>
                          </a:cubicBezTo>
                          <a:close/>
                        </a:path>
                      </a:pathLst>
                    </a:custGeom>
                    <a:solidFill>
                      <a:schemeClr val="accent1"/>
                    </a:solidFill>
                    <a:ln w="637" cap="flat">
                      <a:noFill/>
                      <a:prstDash val="solid"/>
                      <a:miter/>
                    </a:ln>
                  </p:spPr>
                  <p:txBody>
                    <a:bodyPr rtlCol="0" anchor="ctr"/>
                    <a:lstStyle/>
                    <a:p>
                      <a:endParaRPr lang="en-GB" dirty="0"/>
                    </a:p>
                  </p:txBody>
                </p:sp>
              </p:grpSp>
              <p:grpSp>
                <p:nvGrpSpPr>
                  <p:cNvPr id="999" name="Graphic 32">
                    <a:extLst>
                      <a:ext uri="{FF2B5EF4-FFF2-40B4-BE49-F238E27FC236}">
                        <a16:creationId xmlns:a16="http://schemas.microsoft.com/office/drawing/2014/main" id="{3A72EC59-8D1A-4F80-859B-CC4E3BA640C3}"/>
                      </a:ext>
                    </a:extLst>
                  </p:cNvPr>
                  <p:cNvGrpSpPr/>
                  <p:nvPr/>
                </p:nvGrpSpPr>
                <p:grpSpPr>
                  <a:xfrm>
                    <a:off x="6805028" y="3347770"/>
                    <a:ext cx="43489" cy="43166"/>
                    <a:chOff x="6805028" y="3347770"/>
                    <a:chExt cx="43489" cy="43166"/>
                  </a:xfrm>
                  <a:solidFill>
                    <a:schemeClr val="accent1"/>
                  </a:solidFill>
                </p:grpSpPr>
                <p:sp>
                  <p:nvSpPr>
                    <p:cNvPr id="1000" name="Freeform: Shape 999">
                      <a:extLst>
                        <a:ext uri="{FF2B5EF4-FFF2-40B4-BE49-F238E27FC236}">
                          <a16:creationId xmlns:a16="http://schemas.microsoft.com/office/drawing/2014/main" id="{BD97D47D-E0C1-4243-BBBF-C80DA46F505A}"/>
                        </a:ext>
                      </a:extLst>
                    </p:cNvPr>
                    <p:cNvSpPr/>
                    <p:nvPr/>
                  </p:nvSpPr>
                  <p:spPr>
                    <a:xfrm>
                      <a:off x="6805028" y="3347770"/>
                      <a:ext cx="34541" cy="34187"/>
                    </a:xfrm>
                    <a:custGeom>
                      <a:avLst/>
                      <a:gdLst>
                        <a:gd name="connsiteX0" fmla="*/ 16938 w 34541"/>
                        <a:gd name="connsiteY0" fmla="*/ 34187 h 34187"/>
                        <a:gd name="connsiteX1" fmla="*/ 3673 w 34541"/>
                        <a:gd name="connsiteY1" fmla="*/ 29239 h 34187"/>
                        <a:gd name="connsiteX2" fmla="*/ 3667 w 34541"/>
                        <a:gd name="connsiteY2" fmla="*/ 29232 h 34187"/>
                        <a:gd name="connsiteX3" fmla="*/ 6913 w 34541"/>
                        <a:gd name="connsiteY3" fmla="*/ 6605 h 34187"/>
                        <a:gd name="connsiteX4" fmla="*/ 29763 w 34541"/>
                        <a:gd name="connsiteY4" fmla="*/ 3723 h 34187"/>
                        <a:gd name="connsiteX5" fmla="*/ 29763 w 34541"/>
                        <a:gd name="connsiteY5" fmla="*/ 29449 h 34187"/>
                        <a:gd name="connsiteX6" fmla="*/ 16938 w 34541"/>
                        <a:gd name="connsiteY6" fmla="*/ 34187 h 34187"/>
                        <a:gd name="connsiteX7" fmla="*/ 12812 w 34541"/>
                        <a:gd name="connsiteY7" fmla="*/ 20329 h 34187"/>
                        <a:gd name="connsiteX8" fmla="*/ 20739 w 34541"/>
                        <a:gd name="connsiteY8" fmla="*/ 20431 h 34187"/>
                        <a:gd name="connsiteX9" fmla="*/ 20739 w 34541"/>
                        <a:gd name="connsiteY9" fmla="*/ 12740 h 34187"/>
                        <a:gd name="connsiteX10" fmla="*/ 15924 w 34541"/>
                        <a:gd name="connsiteY10" fmla="*/ 15623 h 34187"/>
                        <a:gd name="connsiteX11" fmla="*/ 12812 w 34541"/>
                        <a:gd name="connsiteY11" fmla="*/ 20329 h 34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541" h="34187">
                          <a:moveTo>
                            <a:pt x="16938" y="34187"/>
                          </a:moveTo>
                          <a:cubicBezTo>
                            <a:pt x="11970" y="34187"/>
                            <a:pt x="6971" y="32529"/>
                            <a:pt x="3673" y="29239"/>
                          </a:cubicBezTo>
                          <a:cubicBezTo>
                            <a:pt x="3673" y="29239"/>
                            <a:pt x="3673" y="29239"/>
                            <a:pt x="3667" y="29232"/>
                          </a:cubicBezTo>
                          <a:cubicBezTo>
                            <a:pt x="-2213" y="23339"/>
                            <a:pt x="-944" y="14462"/>
                            <a:pt x="6913" y="6605"/>
                          </a:cubicBezTo>
                          <a:cubicBezTo>
                            <a:pt x="14490" y="-971"/>
                            <a:pt x="23877" y="-2164"/>
                            <a:pt x="29763" y="3723"/>
                          </a:cubicBezTo>
                          <a:cubicBezTo>
                            <a:pt x="36134" y="10094"/>
                            <a:pt x="36134" y="23078"/>
                            <a:pt x="29763" y="29449"/>
                          </a:cubicBezTo>
                          <a:cubicBezTo>
                            <a:pt x="26594" y="32612"/>
                            <a:pt x="21779" y="34187"/>
                            <a:pt x="16938" y="34187"/>
                          </a:cubicBezTo>
                          <a:close/>
                          <a:moveTo>
                            <a:pt x="12812" y="20329"/>
                          </a:moveTo>
                          <a:cubicBezTo>
                            <a:pt x="14464" y="21732"/>
                            <a:pt x="19349" y="21822"/>
                            <a:pt x="20739" y="20431"/>
                          </a:cubicBezTo>
                          <a:cubicBezTo>
                            <a:pt x="22283" y="18888"/>
                            <a:pt x="22066" y="14067"/>
                            <a:pt x="20739" y="12740"/>
                          </a:cubicBezTo>
                          <a:cubicBezTo>
                            <a:pt x="20216" y="12600"/>
                            <a:pt x="18131" y="13416"/>
                            <a:pt x="15924" y="15623"/>
                          </a:cubicBezTo>
                          <a:cubicBezTo>
                            <a:pt x="13769" y="17785"/>
                            <a:pt x="12940" y="19609"/>
                            <a:pt x="12812" y="20329"/>
                          </a:cubicBezTo>
                          <a:close/>
                        </a:path>
                      </a:pathLst>
                    </a:custGeom>
                    <a:solidFill>
                      <a:schemeClr val="accent1"/>
                    </a:solidFill>
                    <a:ln w="637" cap="flat">
                      <a:noFill/>
                      <a:prstDash val="solid"/>
                      <a:miter/>
                    </a:ln>
                  </p:spPr>
                  <p:txBody>
                    <a:bodyPr rtlCol="0" anchor="ctr"/>
                    <a:lstStyle/>
                    <a:p>
                      <a:endParaRPr lang="en-GB" dirty="0"/>
                    </a:p>
                  </p:txBody>
                </p:sp>
                <p:sp>
                  <p:nvSpPr>
                    <p:cNvPr id="1001" name="Freeform: Shape 1000">
                      <a:extLst>
                        <a:ext uri="{FF2B5EF4-FFF2-40B4-BE49-F238E27FC236}">
                          <a16:creationId xmlns:a16="http://schemas.microsoft.com/office/drawing/2014/main" id="{BEB232B6-3082-4EB7-84CC-7AF4D4297218}"/>
                        </a:ext>
                      </a:extLst>
                    </p:cNvPr>
                    <p:cNvSpPr/>
                    <p:nvPr/>
                  </p:nvSpPr>
                  <p:spPr>
                    <a:xfrm>
                      <a:off x="6823910" y="3366324"/>
                      <a:ext cx="24607" cy="24611"/>
                    </a:xfrm>
                    <a:custGeom>
                      <a:avLst/>
                      <a:gdLst>
                        <a:gd name="connsiteX0" fmla="*/ 18228 w 24607"/>
                        <a:gd name="connsiteY0" fmla="*/ 24612 h 24611"/>
                        <a:gd name="connsiteX1" fmla="*/ 13719 w 24607"/>
                        <a:gd name="connsiteY1" fmla="*/ 22743 h 24611"/>
                        <a:gd name="connsiteX2" fmla="*/ 1870 w 24607"/>
                        <a:gd name="connsiteY2" fmla="*/ 10888 h 24611"/>
                        <a:gd name="connsiteX3" fmla="*/ 1870 w 24607"/>
                        <a:gd name="connsiteY3" fmla="*/ 1870 h 24611"/>
                        <a:gd name="connsiteX4" fmla="*/ 10888 w 24607"/>
                        <a:gd name="connsiteY4" fmla="*/ 1870 h 24611"/>
                        <a:gd name="connsiteX5" fmla="*/ 22737 w 24607"/>
                        <a:gd name="connsiteY5" fmla="*/ 13726 h 24611"/>
                        <a:gd name="connsiteX6" fmla="*/ 22737 w 24607"/>
                        <a:gd name="connsiteY6" fmla="*/ 22743 h 24611"/>
                        <a:gd name="connsiteX7" fmla="*/ 18228 w 24607"/>
                        <a:gd name="connsiteY7" fmla="*/ 24612 h 2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07" h="24611">
                          <a:moveTo>
                            <a:pt x="18228" y="24612"/>
                          </a:moveTo>
                          <a:cubicBezTo>
                            <a:pt x="16596" y="24612"/>
                            <a:pt x="14963" y="23987"/>
                            <a:pt x="13719" y="22743"/>
                          </a:cubicBezTo>
                          <a:lnTo>
                            <a:pt x="1870" y="10888"/>
                          </a:lnTo>
                          <a:cubicBezTo>
                            <a:pt x="-623" y="8394"/>
                            <a:pt x="-623" y="4364"/>
                            <a:pt x="1870" y="1870"/>
                          </a:cubicBezTo>
                          <a:cubicBezTo>
                            <a:pt x="4364" y="-623"/>
                            <a:pt x="8394" y="-623"/>
                            <a:pt x="10888" y="1870"/>
                          </a:cubicBezTo>
                          <a:lnTo>
                            <a:pt x="22737" y="13726"/>
                          </a:lnTo>
                          <a:cubicBezTo>
                            <a:pt x="25231" y="16219"/>
                            <a:pt x="25231" y="20250"/>
                            <a:pt x="22737" y="22743"/>
                          </a:cubicBezTo>
                          <a:cubicBezTo>
                            <a:pt x="21487" y="23987"/>
                            <a:pt x="19861" y="24612"/>
                            <a:pt x="18228" y="24612"/>
                          </a:cubicBezTo>
                          <a:close/>
                        </a:path>
                      </a:pathLst>
                    </a:custGeom>
                    <a:solidFill>
                      <a:schemeClr val="accent1"/>
                    </a:solidFill>
                    <a:ln w="637" cap="flat">
                      <a:noFill/>
                      <a:prstDash val="solid"/>
                      <a:miter/>
                    </a:ln>
                  </p:spPr>
                  <p:txBody>
                    <a:bodyPr rtlCol="0" anchor="ctr"/>
                    <a:lstStyle/>
                    <a:p>
                      <a:endParaRPr lang="en-GB" dirty="0"/>
                    </a:p>
                  </p:txBody>
                </p:sp>
              </p:grpSp>
            </p:grpSp>
            <p:grpSp>
              <p:nvGrpSpPr>
                <p:cNvPr id="979" name="Graphic 32">
                  <a:extLst>
                    <a:ext uri="{FF2B5EF4-FFF2-40B4-BE49-F238E27FC236}">
                      <a16:creationId xmlns:a16="http://schemas.microsoft.com/office/drawing/2014/main" id="{70F60927-6453-49C6-8D86-EC6A2C1D0A2D}"/>
                    </a:ext>
                  </a:extLst>
                </p:cNvPr>
                <p:cNvGrpSpPr/>
                <p:nvPr/>
              </p:nvGrpSpPr>
              <p:grpSpPr>
                <a:xfrm>
                  <a:off x="6805098" y="3453497"/>
                  <a:ext cx="149455" cy="64668"/>
                  <a:chOff x="6805098" y="3453497"/>
                  <a:chExt cx="149455" cy="64668"/>
                </a:xfrm>
                <a:solidFill>
                  <a:schemeClr val="accent1"/>
                </a:solidFill>
              </p:grpSpPr>
              <p:grpSp>
                <p:nvGrpSpPr>
                  <p:cNvPr id="988" name="Graphic 32">
                    <a:extLst>
                      <a:ext uri="{FF2B5EF4-FFF2-40B4-BE49-F238E27FC236}">
                        <a16:creationId xmlns:a16="http://schemas.microsoft.com/office/drawing/2014/main" id="{1BEBCE11-5BDF-413C-BD41-C3A8F2159685}"/>
                      </a:ext>
                    </a:extLst>
                  </p:cNvPr>
                  <p:cNvGrpSpPr/>
                  <p:nvPr/>
                </p:nvGrpSpPr>
                <p:grpSpPr>
                  <a:xfrm>
                    <a:off x="6861545" y="3469091"/>
                    <a:ext cx="36491" cy="49074"/>
                    <a:chOff x="6861545" y="3469091"/>
                    <a:chExt cx="36491" cy="49074"/>
                  </a:xfrm>
                  <a:solidFill>
                    <a:schemeClr val="accent1"/>
                  </a:solidFill>
                </p:grpSpPr>
                <p:sp>
                  <p:nvSpPr>
                    <p:cNvPr id="995" name="Freeform: Shape 994">
                      <a:extLst>
                        <a:ext uri="{FF2B5EF4-FFF2-40B4-BE49-F238E27FC236}">
                          <a16:creationId xmlns:a16="http://schemas.microsoft.com/office/drawing/2014/main" id="{DA6FB8B6-076F-4398-9D21-B1790956CB96}"/>
                        </a:ext>
                      </a:extLst>
                    </p:cNvPr>
                    <p:cNvSpPr/>
                    <p:nvPr/>
                  </p:nvSpPr>
                  <p:spPr>
                    <a:xfrm>
                      <a:off x="6861545" y="3485851"/>
                      <a:ext cx="36491" cy="32314"/>
                    </a:xfrm>
                    <a:custGeom>
                      <a:avLst/>
                      <a:gdLst>
                        <a:gd name="connsiteX0" fmla="*/ 18201 w 36491"/>
                        <a:gd name="connsiteY0" fmla="*/ 32314 h 32314"/>
                        <a:gd name="connsiteX1" fmla="*/ 0 w 36491"/>
                        <a:gd name="connsiteY1" fmla="*/ 18195 h 32314"/>
                        <a:gd name="connsiteX2" fmla="*/ 18201 w 36491"/>
                        <a:gd name="connsiteY2" fmla="*/ 0 h 32314"/>
                        <a:gd name="connsiteX3" fmla="*/ 36491 w 36491"/>
                        <a:gd name="connsiteY3" fmla="*/ 18596 h 32314"/>
                        <a:gd name="connsiteX4" fmla="*/ 18201 w 36491"/>
                        <a:gd name="connsiteY4" fmla="*/ 32314 h 32314"/>
                        <a:gd name="connsiteX5" fmla="*/ 18201 w 36491"/>
                        <a:gd name="connsiteY5" fmla="*/ 12761 h 32314"/>
                        <a:gd name="connsiteX6" fmla="*/ 12755 w 36491"/>
                        <a:gd name="connsiteY6" fmla="*/ 18201 h 32314"/>
                        <a:gd name="connsiteX7" fmla="*/ 18201 w 36491"/>
                        <a:gd name="connsiteY7" fmla="*/ 19566 h 32314"/>
                        <a:gd name="connsiteX8" fmla="*/ 23730 w 36491"/>
                        <a:gd name="connsiteY8" fmla="*/ 18437 h 32314"/>
                        <a:gd name="connsiteX9" fmla="*/ 18201 w 36491"/>
                        <a:gd name="connsiteY9" fmla="*/ 12761 h 32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491" h="32314">
                          <a:moveTo>
                            <a:pt x="18201" y="32314"/>
                          </a:moveTo>
                          <a:cubicBezTo>
                            <a:pt x="7487" y="32314"/>
                            <a:pt x="0" y="26511"/>
                            <a:pt x="0" y="18195"/>
                          </a:cubicBezTo>
                          <a:cubicBezTo>
                            <a:pt x="0" y="9183"/>
                            <a:pt x="9184" y="0"/>
                            <a:pt x="18201" y="0"/>
                          </a:cubicBezTo>
                          <a:cubicBezTo>
                            <a:pt x="27263" y="0"/>
                            <a:pt x="36491" y="9388"/>
                            <a:pt x="36491" y="18596"/>
                          </a:cubicBezTo>
                          <a:cubicBezTo>
                            <a:pt x="36491" y="26804"/>
                            <a:pt x="29145" y="32314"/>
                            <a:pt x="18201" y="32314"/>
                          </a:cubicBezTo>
                          <a:close/>
                          <a:moveTo>
                            <a:pt x="18201" y="12761"/>
                          </a:moveTo>
                          <a:cubicBezTo>
                            <a:pt x="16007" y="12761"/>
                            <a:pt x="12755" y="16326"/>
                            <a:pt x="12755" y="18201"/>
                          </a:cubicBezTo>
                          <a:cubicBezTo>
                            <a:pt x="13055" y="18609"/>
                            <a:pt x="15076" y="19566"/>
                            <a:pt x="18201" y="19566"/>
                          </a:cubicBezTo>
                          <a:cubicBezTo>
                            <a:pt x="21256" y="19566"/>
                            <a:pt x="23124" y="18864"/>
                            <a:pt x="23730" y="18437"/>
                          </a:cubicBezTo>
                          <a:cubicBezTo>
                            <a:pt x="23558" y="16288"/>
                            <a:pt x="20172" y="12761"/>
                            <a:pt x="18201" y="12761"/>
                          </a:cubicBezTo>
                          <a:close/>
                        </a:path>
                      </a:pathLst>
                    </a:custGeom>
                    <a:solidFill>
                      <a:schemeClr val="accent1"/>
                    </a:solidFill>
                    <a:ln w="637" cap="flat">
                      <a:noFill/>
                      <a:prstDash val="solid"/>
                      <a:miter/>
                    </a:ln>
                  </p:spPr>
                  <p:txBody>
                    <a:bodyPr rtlCol="0" anchor="ctr"/>
                    <a:lstStyle/>
                    <a:p>
                      <a:endParaRPr lang="en-GB" dirty="0"/>
                    </a:p>
                  </p:txBody>
                </p:sp>
                <p:sp>
                  <p:nvSpPr>
                    <p:cNvPr id="996" name="Freeform: Shape 995">
                      <a:extLst>
                        <a:ext uri="{FF2B5EF4-FFF2-40B4-BE49-F238E27FC236}">
                          <a16:creationId xmlns:a16="http://schemas.microsoft.com/office/drawing/2014/main" id="{8216E61E-4264-4F41-854A-5F23B66740F7}"/>
                        </a:ext>
                      </a:extLst>
                    </p:cNvPr>
                    <p:cNvSpPr/>
                    <p:nvPr/>
                  </p:nvSpPr>
                  <p:spPr>
                    <a:xfrm>
                      <a:off x="6873356" y="3469091"/>
                      <a:ext cx="12754" cy="29520"/>
                    </a:xfrm>
                    <a:custGeom>
                      <a:avLst/>
                      <a:gdLst>
                        <a:gd name="connsiteX0" fmla="*/ 6377 w 12754"/>
                        <a:gd name="connsiteY0" fmla="*/ 29521 h 29520"/>
                        <a:gd name="connsiteX1" fmla="*/ 0 w 12754"/>
                        <a:gd name="connsiteY1" fmla="*/ 23144 h 29520"/>
                        <a:gd name="connsiteX2" fmla="*/ 0 w 12754"/>
                        <a:gd name="connsiteY2" fmla="*/ 6377 h 29520"/>
                        <a:gd name="connsiteX3" fmla="*/ 6377 w 12754"/>
                        <a:gd name="connsiteY3" fmla="*/ 0 h 29520"/>
                        <a:gd name="connsiteX4" fmla="*/ 12755 w 12754"/>
                        <a:gd name="connsiteY4" fmla="*/ 6377 h 29520"/>
                        <a:gd name="connsiteX5" fmla="*/ 12755 w 12754"/>
                        <a:gd name="connsiteY5" fmla="*/ 23144 h 29520"/>
                        <a:gd name="connsiteX6" fmla="*/ 6377 w 12754"/>
                        <a:gd name="connsiteY6" fmla="*/ 29521 h 29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29520">
                          <a:moveTo>
                            <a:pt x="6377" y="29521"/>
                          </a:moveTo>
                          <a:cubicBezTo>
                            <a:pt x="2851" y="29521"/>
                            <a:pt x="0" y="26670"/>
                            <a:pt x="0" y="23144"/>
                          </a:cubicBezTo>
                          <a:lnTo>
                            <a:pt x="0" y="6377"/>
                          </a:lnTo>
                          <a:cubicBezTo>
                            <a:pt x="0" y="2851"/>
                            <a:pt x="2851" y="0"/>
                            <a:pt x="6377" y="0"/>
                          </a:cubicBezTo>
                          <a:cubicBezTo>
                            <a:pt x="9904" y="0"/>
                            <a:pt x="12755" y="2851"/>
                            <a:pt x="12755" y="6377"/>
                          </a:cubicBezTo>
                          <a:lnTo>
                            <a:pt x="12755" y="23144"/>
                          </a:lnTo>
                          <a:cubicBezTo>
                            <a:pt x="12755" y="26670"/>
                            <a:pt x="9904" y="29521"/>
                            <a:pt x="6377" y="29521"/>
                          </a:cubicBezTo>
                          <a:close/>
                        </a:path>
                      </a:pathLst>
                    </a:custGeom>
                    <a:solidFill>
                      <a:schemeClr val="accent1"/>
                    </a:solidFill>
                    <a:ln w="637" cap="flat">
                      <a:noFill/>
                      <a:prstDash val="solid"/>
                      <a:miter/>
                    </a:ln>
                  </p:spPr>
                  <p:txBody>
                    <a:bodyPr rtlCol="0" anchor="ctr"/>
                    <a:lstStyle/>
                    <a:p>
                      <a:endParaRPr lang="en-GB" dirty="0"/>
                    </a:p>
                  </p:txBody>
                </p:sp>
              </p:grpSp>
              <p:grpSp>
                <p:nvGrpSpPr>
                  <p:cNvPr id="989" name="Graphic 32">
                    <a:extLst>
                      <a:ext uri="{FF2B5EF4-FFF2-40B4-BE49-F238E27FC236}">
                        <a16:creationId xmlns:a16="http://schemas.microsoft.com/office/drawing/2014/main" id="{244BFEFC-684D-44D2-9DD1-CD5C5F824C35}"/>
                      </a:ext>
                    </a:extLst>
                  </p:cNvPr>
                  <p:cNvGrpSpPr/>
                  <p:nvPr/>
                </p:nvGrpSpPr>
                <p:grpSpPr>
                  <a:xfrm>
                    <a:off x="6911064" y="3453497"/>
                    <a:ext cx="43490" cy="43163"/>
                    <a:chOff x="6911064" y="3453497"/>
                    <a:chExt cx="43490" cy="43163"/>
                  </a:xfrm>
                  <a:solidFill>
                    <a:schemeClr val="accent1"/>
                  </a:solidFill>
                </p:grpSpPr>
                <p:sp>
                  <p:nvSpPr>
                    <p:cNvPr id="993" name="Freeform: Shape 992">
                      <a:extLst>
                        <a:ext uri="{FF2B5EF4-FFF2-40B4-BE49-F238E27FC236}">
                          <a16:creationId xmlns:a16="http://schemas.microsoft.com/office/drawing/2014/main" id="{AB8D2FF5-4142-467D-AC96-EB5D86126D99}"/>
                        </a:ext>
                      </a:extLst>
                    </p:cNvPr>
                    <p:cNvSpPr/>
                    <p:nvPr/>
                  </p:nvSpPr>
                  <p:spPr>
                    <a:xfrm>
                      <a:off x="6919920" y="3462472"/>
                      <a:ext cx="34633" cy="34189"/>
                    </a:xfrm>
                    <a:custGeom>
                      <a:avLst/>
                      <a:gdLst>
                        <a:gd name="connsiteX0" fmla="*/ 13848 w 34633"/>
                        <a:gd name="connsiteY0" fmla="*/ 34189 h 34189"/>
                        <a:gd name="connsiteX1" fmla="*/ 4869 w 34633"/>
                        <a:gd name="connsiteY1" fmla="*/ 30471 h 34189"/>
                        <a:gd name="connsiteX2" fmla="*/ 4869 w 34633"/>
                        <a:gd name="connsiteY2" fmla="*/ 4738 h 34189"/>
                        <a:gd name="connsiteX3" fmla="*/ 30953 w 34633"/>
                        <a:gd name="connsiteY3" fmla="*/ 4949 h 34189"/>
                        <a:gd name="connsiteX4" fmla="*/ 30959 w 34633"/>
                        <a:gd name="connsiteY4" fmla="*/ 4955 h 34189"/>
                        <a:gd name="connsiteX5" fmla="*/ 27713 w 34633"/>
                        <a:gd name="connsiteY5" fmla="*/ 27589 h 34189"/>
                        <a:gd name="connsiteX6" fmla="*/ 13848 w 34633"/>
                        <a:gd name="connsiteY6" fmla="*/ 34189 h 34189"/>
                        <a:gd name="connsiteX7" fmla="*/ 17579 w 34633"/>
                        <a:gd name="connsiteY7" fmla="*/ 12767 h 34189"/>
                        <a:gd name="connsiteX8" fmla="*/ 13887 w 34633"/>
                        <a:gd name="connsiteY8" fmla="*/ 13756 h 34189"/>
                        <a:gd name="connsiteX9" fmla="*/ 13893 w 34633"/>
                        <a:gd name="connsiteY9" fmla="*/ 21460 h 34189"/>
                        <a:gd name="connsiteX10" fmla="*/ 18695 w 34633"/>
                        <a:gd name="connsiteY10" fmla="*/ 18571 h 34189"/>
                        <a:gd name="connsiteX11" fmla="*/ 21814 w 34633"/>
                        <a:gd name="connsiteY11" fmla="*/ 13864 h 34189"/>
                        <a:gd name="connsiteX12" fmla="*/ 17579 w 34633"/>
                        <a:gd name="connsiteY12" fmla="*/ 12767 h 34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633" h="34189">
                          <a:moveTo>
                            <a:pt x="13848" y="34189"/>
                          </a:moveTo>
                          <a:cubicBezTo>
                            <a:pt x="10494" y="34189"/>
                            <a:pt x="7363" y="32971"/>
                            <a:pt x="4869" y="30471"/>
                          </a:cubicBezTo>
                          <a:cubicBezTo>
                            <a:pt x="-1623" y="23966"/>
                            <a:pt x="-1623" y="11224"/>
                            <a:pt x="4869" y="4738"/>
                          </a:cubicBezTo>
                          <a:cubicBezTo>
                            <a:pt x="11259" y="-1665"/>
                            <a:pt x="24435" y="-1562"/>
                            <a:pt x="30953" y="4949"/>
                          </a:cubicBezTo>
                          <a:cubicBezTo>
                            <a:pt x="30959" y="4955"/>
                            <a:pt x="30959" y="4955"/>
                            <a:pt x="30959" y="4955"/>
                          </a:cubicBezTo>
                          <a:cubicBezTo>
                            <a:pt x="36852" y="10848"/>
                            <a:pt x="35576" y="19725"/>
                            <a:pt x="27713" y="27589"/>
                          </a:cubicBezTo>
                          <a:cubicBezTo>
                            <a:pt x="23351" y="31951"/>
                            <a:pt x="18396" y="34189"/>
                            <a:pt x="13848" y="34189"/>
                          </a:cubicBezTo>
                          <a:close/>
                          <a:moveTo>
                            <a:pt x="17579" y="12767"/>
                          </a:moveTo>
                          <a:cubicBezTo>
                            <a:pt x="16042" y="12767"/>
                            <a:pt x="14556" y="13093"/>
                            <a:pt x="13887" y="13756"/>
                          </a:cubicBezTo>
                          <a:cubicBezTo>
                            <a:pt x="12344" y="15299"/>
                            <a:pt x="12567" y="20127"/>
                            <a:pt x="13893" y="21460"/>
                          </a:cubicBezTo>
                          <a:cubicBezTo>
                            <a:pt x="14288" y="21473"/>
                            <a:pt x="16482" y="20790"/>
                            <a:pt x="18695" y="18571"/>
                          </a:cubicBezTo>
                          <a:cubicBezTo>
                            <a:pt x="20857" y="16409"/>
                            <a:pt x="21686" y="14591"/>
                            <a:pt x="21814" y="13864"/>
                          </a:cubicBezTo>
                          <a:cubicBezTo>
                            <a:pt x="20953" y="13137"/>
                            <a:pt x="19237" y="12767"/>
                            <a:pt x="17579" y="12767"/>
                          </a:cubicBezTo>
                          <a:close/>
                        </a:path>
                      </a:pathLst>
                    </a:custGeom>
                    <a:solidFill>
                      <a:schemeClr val="accent1"/>
                    </a:solidFill>
                    <a:ln w="637" cap="flat">
                      <a:noFill/>
                      <a:prstDash val="solid"/>
                      <a:miter/>
                    </a:ln>
                  </p:spPr>
                  <p:txBody>
                    <a:bodyPr rtlCol="0" anchor="ctr"/>
                    <a:lstStyle/>
                    <a:p>
                      <a:endParaRPr lang="en-GB" dirty="0"/>
                    </a:p>
                  </p:txBody>
                </p:sp>
                <p:sp>
                  <p:nvSpPr>
                    <p:cNvPr id="994" name="Freeform: Shape 993">
                      <a:extLst>
                        <a:ext uri="{FF2B5EF4-FFF2-40B4-BE49-F238E27FC236}">
                          <a16:creationId xmlns:a16="http://schemas.microsoft.com/office/drawing/2014/main" id="{D2BD3857-D7A3-4D86-981D-726D29B0282E}"/>
                        </a:ext>
                      </a:extLst>
                    </p:cNvPr>
                    <p:cNvSpPr/>
                    <p:nvPr/>
                  </p:nvSpPr>
                  <p:spPr>
                    <a:xfrm>
                      <a:off x="6911064" y="3453497"/>
                      <a:ext cx="24607" cy="24605"/>
                    </a:xfrm>
                    <a:custGeom>
                      <a:avLst/>
                      <a:gdLst>
                        <a:gd name="connsiteX0" fmla="*/ 18228 w 24607"/>
                        <a:gd name="connsiteY0" fmla="*/ 24606 h 24605"/>
                        <a:gd name="connsiteX1" fmla="*/ 13719 w 24607"/>
                        <a:gd name="connsiteY1" fmla="*/ 22737 h 24605"/>
                        <a:gd name="connsiteX2" fmla="*/ 1870 w 24607"/>
                        <a:gd name="connsiteY2" fmla="*/ 10888 h 24605"/>
                        <a:gd name="connsiteX3" fmla="*/ 1870 w 24607"/>
                        <a:gd name="connsiteY3" fmla="*/ 1870 h 24605"/>
                        <a:gd name="connsiteX4" fmla="*/ 10888 w 24607"/>
                        <a:gd name="connsiteY4" fmla="*/ 1870 h 24605"/>
                        <a:gd name="connsiteX5" fmla="*/ 22737 w 24607"/>
                        <a:gd name="connsiteY5" fmla="*/ 13719 h 24605"/>
                        <a:gd name="connsiteX6" fmla="*/ 22737 w 24607"/>
                        <a:gd name="connsiteY6" fmla="*/ 22737 h 24605"/>
                        <a:gd name="connsiteX7" fmla="*/ 18228 w 24607"/>
                        <a:gd name="connsiteY7" fmla="*/ 24606 h 2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07" h="24605">
                          <a:moveTo>
                            <a:pt x="18228" y="24606"/>
                          </a:moveTo>
                          <a:cubicBezTo>
                            <a:pt x="16596" y="24606"/>
                            <a:pt x="14963" y="23981"/>
                            <a:pt x="13719" y="22737"/>
                          </a:cubicBezTo>
                          <a:lnTo>
                            <a:pt x="1870" y="10888"/>
                          </a:lnTo>
                          <a:cubicBezTo>
                            <a:pt x="-623" y="8394"/>
                            <a:pt x="-623" y="4364"/>
                            <a:pt x="1870" y="1870"/>
                          </a:cubicBezTo>
                          <a:cubicBezTo>
                            <a:pt x="4364" y="-623"/>
                            <a:pt x="8394" y="-623"/>
                            <a:pt x="10888" y="1870"/>
                          </a:cubicBezTo>
                          <a:lnTo>
                            <a:pt x="22737" y="13719"/>
                          </a:lnTo>
                          <a:cubicBezTo>
                            <a:pt x="25230" y="16213"/>
                            <a:pt x="25230" y="20243"/>
                            <a:pt x="22737" y="22737"/>
                          </a:cubicBezTo>
                          <a:cubicBezTo>
                            <a:pt x="21487" y="23981"/>
                            <a:pt x="19861" y="24606"/>
                            <a:pt x="18228" y="24606"/>
                          </a:cubicBezTo>
                          <a:close/>
                        </a:path>
                      </a:pathLst>
                    </a:custGeom>
                    <a:solidFill>
                      <a:schemeClr val="accent1"/>
                    </a:solidFill>
                    <a:ln w="637" cap="flat">
                      <a:noFill/>
                      <a:prstDash val="solid"/>
                      <a:miter/>
                    </a:ln>
                  </p:spPr>
                  <p:txBody>
                    <a:bodyPr rtlCol="0" anchor="ctr"/>
                    <a:lstStyle/>
                    <a:p>
                      <a:endParaRPr lang="en-GB" dirty="0"/>
                    </a:p>
                  </p:txBody>
                </p:sp>
              </p:grpSp>
              <p:grpSp>
                <p:nvGrpSpPr>
                  <p:cNvPr id="990" name="Graphic 32">
                    <a:extLst>
                      <a:ext uri="{FF2B5EF4-FFF2-40B4-BE49-F238E27FC236}">
                        <a16:creationId xmlns:a16="http://schemas.microsoft.com/office/drawing/2014/main" id="{A8E582E5-3671-4148-9343-652F18D7FCE0}"/>
                      </a:ext>
                    </a:extLst>
                  </p:cNvPr>
                  <p:cNvGrpSpPr/>
                  <p:nvPr/>
                </p:nvGrpSpPr>
                <p:grpSpPr>
                  <a:xfrm>
                    <a:off x="6805098" y="3453625"/>
                    <a:ext cx="43413" cy="43163"/>
                    <a:chOff x="6805098" y="3453625"/>
                    <a:chExt cx="43413" cy="43163"/>
                  </a:xfrm>
                  <a:solidFill>
                    <a:schemeClr val="accent1"/>
                  </a:solidFill>
                </p:grpSpPr>
                <p:sp>
                  <p:nvSpPr>
                    <p:cNvPr id="991" name="Freeform: Shape 990">
                      <a:extLst>
                        <a:ext uri="{FF2B5EF4-FFF2-40B4-BE49-F238E27FC236}">
                          <a16:creationId xmlns:a16="http://schemas.microsoft.com/office/drawing/2014/main" id="{14301202-89B2-425F-B1C1-63B8ACAC83C1}"/>
                        </a:ext>
                      </a:extLst>
                    </p:cNvPr>
                    <p:cNvSpPr/>
                    <p:nvPr/>
                  </p:nvSpPr>
                  <p:spPr>
                    <a:xfrm>
                      <a:off x="6805098" y="3462606"/>
                      <a:ext cx="34463" cy="34182"/>
                    </a:xfrm>
                    <a:custGeom>
                      <a:avLst/>
                      <a:gdLst>
                        <a:gd name="connsiteX0" fmla="*/ 20702 w 34463"/>
                        <a:gd name="connsiteY0" fmla="*/ 34183 h 34182"/>
                        <a:gd name="connsiteX1" fmla="*/ 6837 w 34463"/>
                        <a:gd name="connsiteY1" fmla="*/ 27582 h 34182"/>
                        <a:gd name="connsiteX2" fmla="*/ 3597 w 34463"/>
                        <a:gd name="connsiteY2" fmla="*/ 4949 h 34182"/>
                        <a:gd name="connsiteX3" fmla="*/ 29687 w 34463"/>
                        <a:gd name="connsiteY3" fmla="*/ 4738 h 34182"/>
                        <a:gd name="connsiteX4" fmla="*/ 29694 w 34463"/>
                        <a:gd name="connsiteY4" fmla="*/ 30458 h 34182"/>
                        <a:gd name="connsiteX5" fmla="*/ 20702 w 34463"/>
                        <a:gd name="connsiteY5" fmla="*/ 34183 h 34182"/>
                        <a:gd name="connsiteX6" fmla="*/ 16964 w 34463"/>
                        <a:gd name="connsiteY6" fmla="*/ 12755 h 34182"/>
                        <a:gd name="connsiteX7" fmla="*/ 12615 w 34463"/>
                        <a:gd name="connsiteY7" fmla="*/ 13960 h 34182"/>
                        <a:gd name="connsiteX8" fmla="*/ 12596 w 34463"/>
                        <a:gd name="connsiteY8" fmla="*/ 13986 h 34182"/>
                        <a:gd name="connsiteX9" fmla="*/ 15855 w 34463"/>
                        <a:gd name="connsiteY9" fmla="*/ 18558 h 34182"/>
                        <a:gd name="connsiteX10" fmla="*/ 20759 w 34463"/>
                        <a:gd name="connsiteY10" fmla="*/ 21422 h 34182"/>
                        <a:gd name="connsiteX11" fmla="*/ 20670 w 34463"/>
                        <a:gd name="connsiteY11" fmla="*/ 13750 h 34182"/>
                        <a:gd name="connsiteX12" fmla="*/ 16964 w 34463"/>
                        <a:gd name="connsiteY12" fmla="*/ 12755 h 34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463" h="34182">
                          <a:moveTo>
                            <a:pt x="20702" y="34183"/>
                          </a:moveTo>
                          <a:cubicBezTo>
                            <a:pt x="16154" y="34183"/>
                            <a:pt x="11199" y="31938"/>
                            <a:pt x="6837" y="27582"/>
                          </a:cubicBezTo>
                          <a:cubicBezTo>
                            <a:pt x="-899" y="19846"/>
                            <a:pt x="-2200" y="10746"/>
                            <a:pt x="3597" y="4949"/>
                          </a:cubicBezTo>
                          <a:cubicBezTo>
                            <a:pt x="10109" y="-1562"/>
                            <a:pt x="23284" y="-1665"/>
                            <a:pt x="29687" y="4738"/>
                          </a:cubicBezTo>
                          <a:cubicBezTo>
                            <a:pt x="36052" y="11103"/>
                            <a:pt x="36058" y="24087"/>
                            <a:pt x="29694" y="30458"/>
                          </a:cubicBezTo>
                          <a:cubicBezTo>
                            <a:pt x="27200" y="32958"/>
                            <a:pt x="24062" y="34183"/>
                            <a:pt x="20702" y="34183"/>
                          </a:cubicBezTo>
                          <a:close/>
                          <a:moveTo>
                            <a:pt x="16964" y="12755"/>
                          </a:moveTo>
                          <a:cubicBezTo>
                            <a:pt x="15230" y="12755"/>
                            <a:pt x="13412" y="13163"/>
                            <a:pt x="12615" y="13960"/>
                          </a:cubicBezTo>
                          <a:lnTo>
                            <a:pt x="12596" y="13986"/>
                          </a:lnTo>
                          <a:cubicBezTo>
                            <a:pt x="12704" y="14177"/>
                            <a:pt x="13457" y="16160"/>
                            <a:pt x="15855" y="18558"/>
                          </a:cubicBezTo>
                          <a:cubicBezTo>
                            <a:pt x="18061" y="20765"/>
                            <a:pt x="20211" y="21504"/>
                            <a:pt x="20759" y="21422"/>
                          </a:cubicBezTo>
                          <a:cubicBezTo>
                            <a:pt x="21990" y="20121"/>
                            <a:pt x="22219" y="15293"/>
                            <a:pt x="20670" y="13750"/>
                          </a:cubicBezTo>
                          <a:cubicBezTo>
                            <a:pt x="20000" y="13080"/>
                            <a:pt x="18508" y="12755"/>
                            <a:pt x="16964" y="12755"/>
                          </a:cubicBezTo>
                          <a:close/>
                        </a:path>
                      </a:pathLst>
                    </a:custGeom>
                    <a:solidFill>
                      <a:schemeClr val="accent1"/>
                    </a:solidFill>
                    <a:ln w="637" cap="flat">
                      <a:noFill/>
                      <a:prstDash val="solid"/>
                      <a:miter/>
                    </a:ln>
                  </p:spPr>
                  <p:txBody>
                    <a:bodyPr rtlCol="0" anchor="ctr"/>
                    <a:lstStyle/>
                    <a:p>
                      <a:endParaRPr lang="en-GB" dirty="0"/>
                    </a:p>
                  </p:txBody>
                </p:sp>
                <p:sp>
                  <p:nvSpPr>
                    <p:cNvPr id="992" name="Freeform: Shape 991">
                      <a:extLst>
                        <a:ext uri="{FF2B5EF4-FFF2-40B4-BE49-F238E27FC236}">
                          <a16:creationId xmlns:a16="http://schemas.microsoft.com/office/drawing/2014/main" id="{8ACDE005-7E8D-456D-81E7-22CBE4191650}"/>
                        </a:ext>
                      </a:extLst>
                    </p:cNvPr>
                    <p:cNvSpPr/>
                    <p:nvPr/>
                  </p:nvSpPr>
                  <p:spPr>
                    <a:xfrm>
                      <a:off x="6823904" y="3453625"/>
                      <a:ext cx="24607" cy="24605"/>
                    </a:xfrm>
                    <a:custGeom>
                      <a:avLst/>
                      <a:gdLst>
                        <a:gd name="connsiteX0" fmla="*/ 6379 w 24607"/>
                        <a:gd name="connsiteY0" fmla="*/ 24606 h 24605"/>
                        <a:gd name="connsiteX1" fmla="*/ 1870 w 24607"/>
                        <a:gd name="connsiteY1" fmla="*/ 22737 h 24605"/>
                        <a:gd name="connsiteX2" fmla="*/ 1870 w 24607"/>
                        <a:gd name="connsiteY2" fmla="*/ 13719 h 24605"/>
                        <a:gd name="connsiteX3" fmla="*/ 13719 w 24607"/>
                        <a:gd name="connsiteY3" fmla="*/ 1870 h 24605"/>
                        <a:gd name="connsiteX4" fmla="*/ 22737 w 24607"/>
                        <a:gd name="connsiteY4" fmla="*/ 1870 h 24605"/>
                        <a:gd name="connsiteX5" fmla="*/ 22737 w 24607"/>
                        <a:gd name="connsiteY5" fmla="*/ 10888 h 24605"/>
                        <a:gd name="connsiteX6" fmla="*/ 10888 w 24607"/>
                        <a:gd name="connsiteY6" fmla="*/ 22737 h 24605"/>
                        <a:gd name="connsiteX7" fmla="*/ 6379 w 24607"/>
                        <a:gd name="connsiteY7" fmla="*/ 24606 h 24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607" h="24605">
                          <a:moveTo>
                            <a:pt x="6379" y="24606"/>
                          </a:moveTo>
                          <a:cubicBezTo>
                            <a:pt x="4746" y="24606"/>
                            <a:pt x="3114" y="23981"/>
                            <a:pt x="1870" y="22737"/>
                          </a:cubicBezTo>
                          <a:cubicBezTo>
                            <a:pt x="-623" y="20243"/>
                            <a:pt x="-623" y="16213"/>
                            <a:pt x="1870" y="13719"/>
                          </a:cubicBezTo>
                          <a:lnTo>
                            <a:pt x="13719" y="1870"/>
                          </a:lnTo>
                          <a:cubicBezTo>
                            <a:pt x="16213" y="-623"/>
                            <a:pt x="20243" y="-623"/>
                            <a:pt x="22737" y="1870"/>
                          </a:cubicBezTo>
                          <a:cubicBezTo>
                            <a:pt x="25231" y="4364"/>
                            <a:pt x="25231" y="8394"/>
                            <a:pt x="22737" y="10888"/>
                          </a:cubicBezTo>
                          <a:lnTo>
                            <a:pt x="10888" y="22737"/>
                          </a:lnTo>
                          <a:cubicBezTo>
                            <a:pt x="9644" y="23981"/>
                            <a:pt x="8012" y="24606"/>
                            <a:pt x="6379" y="24606"/>
                          </a:cubicBezTo>
                          <a:close/>
                        </a:path>
                      </a:pathLst>
                    </a:custGeom>
                    <a:solidFill>
                      <a:schemeClr val="accent1"/>
                    </a:solidFill>
                    <a:ln w="637" cap="flat">
                      <a:noFill/>
                      <a:prstDash val="solid"/>
                      <a:miter/>
                    </a:ln>
                  </p:spPr>
                  <p:txBody>
                    <a:bodyPr rtlCol="0" anchor="ctr"/>
                    <a:lstStyle/>
                    <a:p>
                      <a:endParaRPr lang="en-GB" dirty="0"/>
                    </a:p>
                  </p:txBody>
                </p:sp>
              </p:grpSp>
            </p:grpSp>
            <p:sp>
              <p:nvSpPr>
                <p:cNvPr id="980" name="Freeform: Shape 979">
                  <a:extLst>
                    <a:ext uri="{FF2B5EF4-FFF2-40B4-BE49-F238E27FC236}">
                      <a16:creationId xmlns:a16="http://schemas.microsoft.com/office/drawing/2014/main" id="{0E2191A9-07C1-4F4A-8F4D-0B1B3893D0F1}"/>
                    </a:ext>
                  </a:extLst>
                </p:cNvPr>
                <p:cNvSpPr/>
                <p:nvPr/>
              </p:nvSpPr>
              <p:spPr>
                <a:xfrm>
                  <a:off x="6895518" y="3464411"/>
                  <a:ext cx="16987" cy="21969"/>
                </a:xfrm>
                <a:custGeom>
                  <a:avLst/>
                  <a:gdLst>
                    <a:gd name="connsiteX0" fmla="*/ 10617 w 16987"/>
                    <a:gd name="connsiteY0" fmla="*/ 21969 h 21969"/>
                    <a:gd name="connsiteX1" fmla="*/ 4820 w 16987"/>
                    <a:gd name="connsiteY1" fmla="*/ 18257 h 21969"/>
                    <a:gd name="connsiteX2" fmla="*/ 586 w 16987"/>
                    <a:gd name="connsiteY2" fmla="*/ 9042 h 21969"/>
                    <a:gd name="connsiteX3" fmla="*/ 3711 w 16987"/>
                    <a:gd name="connsiteY3" fmla="*/ 586 h 21969"/>
                    <a:gd name="connsiteX4" fmla="*/ 12167 w 16987"/>
                    <a:gd name="connsiteY4" fmla="*/ 3710 h 21969"/>
                    <a:gd name="connsiteX5" fmla="*/ 16401 w 16987"/>
                    <a:gd name="connsiteY5" fmla="*/ 12926 h 21969"/>
                    <a:gd name="connsiteX6" fmla="*/ 13277 w 16987"/>
                    <a:gd name="connsiteY6" fmla="*/ 21382 h 21969"/>
                    <a:gd name="connsiteX7" fmla="*/ 10617 w 16987"/>
                    <a:gd name="connsiteY7" fmla="*/ 21969 h 2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87" h="21969">
                      <a:moveTo>
                        <a:pt x="10617" y="21969"/>
                      </a:moveTo>
                      <a:cubicBezTo>
                        <a:pt x="8200" y="21969"/>
                        <a:pt x="5892" y="20591"/>
                        <a:pt x="4820" y="18257"/>
                      </a:cubicBezTo>
                      <a:lnTo>
                        <a:pt x="586" y="9042"/>
                      </a:lnTo>
                      <a:cubicBezTo>
                        <a:pt x="-888" y="5841"/>
                        <a:pt x="515" y="2052"/>
                        <a:pt x="3711" y="586"/>
                      </a:cubicBezTo>
                      <a:cubicBezTo>
                        <a:pt x="6918" y="-888"/>
                        <a:pt x="10707" y="515"/>
                        <a:pt x="12167" y="3710"/>
                      </a:cubicBezTo>
                      <a:lnTo>
                        <a:pt x="16401" y="12926"/>
                      </a:lnTo>
                      <a:cubicBezTo>
                        <a:pt x="17875" y="16127"/>
                        <a:pt x="16472" y="19916"/>
                        <a:pt x="13277" y="21382"/>
                      </a:cubicBezTo>
                      <a:cubicBezTo>
                        <a:pt x="12409" y="21784"/>
                        <a:pt x="11504" y="21969"/>
                        <a:pt x="10617" y="21969"/>
                      </a:cubicBezTo>
                      <a:close/>
                    </a:path>
                  </a:pathLst>
                </a:custGeom>
                <a:solidFill>
                  <a:schemeClr val="accent1"/>
                </a:solidFill>
                <a:ln w="637" cap="flat">
                  <a:noFill/>
                  <a:prstDash val="solid"/>
                  <a:miter/>
                </a:ln>
              </p:spPr>
              <p:txBody>
                <a:bodyPr rtlCol="0" anchor="ctr"/>
                <a:lstStyle/>
                <a:p>
                  <a:endParaRPr lang="en-GB" dirty="0"/>
                </a:p>
              </p:txBody>
            </p:sp>
            <p:sp>
              <p:nvSpPr>
                <p:cNvPr id="981" name="Freeform: Shape 980">
                  <a:extLst>
                    <a:ext uri="{FF2B5EF4-FFF2-40B4-BE49-F238E27FC236}">
                      <a16:creationId xmlns:a16="http://schemas.microsoft.com/office/drawing/2014/main" id="{2C02AC77-ECAF-45BB-9A22-2C0BCFC3C541}"/>
                    </a:ext>
                  </a:extLst>
                </p:cNvPr>
                <p:cNvSpPr/>
                <p:nvPr/>
              </p:nvSpPr>
              <p:spPr>
                <a:xfrm>
                  <a:off x="6846652" y="3358024"/>
                  <a:ext cx="17068" cy="22140"/>
                </a:xfrm>
                <a:custGeom>
                  <a:avLst/>
                  <a:gdLst>
                    <a:gd name="connsiteX0" fmla="*/ 10696 w 17068"/>
                    <a:gd name="connsiteY0" fmla="*/ 22141 h 22140"/>
                    <a:gd name="connsiteX1" fmla="*/ 4893 w 17068"/>
                    <a:gd name="connsiteY1" fmla="*/ 18423 h 22140"/>
                    <a:gd name="connsiteX2" fmla="*/ 582 w 17068"/>
                    <a:gd name="connsiteY2" fmla="*/ 9035 h 22140"/>
                    <a:gd name="connsiteX3" fmla="*/ 3719 w 17068"/>
                    <a:gd name="connsiteY3" fmla="*/ 579 h 22140"/>
                    <a:gd name="connsiteX4" fmla="*/ 12176 w 17068"/>
                    <a:gd name="connsiteY4" fmla="*/ 3717 h 22140"/>
                    <a:gd name="connsiteX5" fmla="*/ 16487 w 17068"/>
                    <a:gd name="connsiteY5" fmla="*/ 13104 h 22140"/>
                    <a:gd name="connsiteX6" fmla="*/ 13349 w 17068"/>
                    <a:gd name="connsiteY6" fmla="*/ 21561 h 22140"/>
                    <a:gd name="connsiteX7" fmla="*/ 10696 w 17068"/>
                    <a:gd name="connsiteY7" fmla="*/ 22141 h 22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068" h="22140">
                      <a:moveTo>
                        <a:pt x="10696" y="22141"/>
                      </a:moveTo>
                      <a:cubicBezTo>
                        <a:pt x="8279" y="22141"/>
                        <a:pt x="5970" y="20763"/>
                        <a:pt x="4893" y="18423"/>
                      </a:cubicBezTo>
                      <a:lnTo>
                        <a:pt x="582" y="9035"/>
                      </a:lnTo>
                      <a:cubicBezTo>
                        <a:pt x="-885" y="5834"/>
                        <a:pt x="518" y="2046"/>
                        <a:pt x="3719" y="579"/>
                      </a:cubicBezTo>
                      <a:cubicBezTo>
                        <a:pt x="6914" y="-882"/>
                        <a:pt x="10703" y="515"/>
                        <a:pt x="12176" y="3717"/>
                      </a:cubicBezTo>
                      <a:lnTo>
                        <a:pt x="16487" y="13104"/>
                      </a:lnTo>
                      <a:cubicBezTo>
                        <a:pt x="17954" y="16306"/>
                        <a:pt x="16551" y="20094"/>
                        <a:pt x="13349" y="21561"/>
                      </a:cubicBezTo>
                      <a:cubicBezTo>
                        <a:pt x="12495" y="21949"/>
                        <a:pt x="11589" y="22141"/>
                        <a:pt x="10696" y="22141"/>
                      </a:cubicBezTo>
                      <a:close/>
                    </a:path>
                  </a:pathLst>
                </a:custGeom>
                <a:solidFill>
                  <a:schemeClr val="accent1"/>
                </a:solidFill>
                <a:ln w="637" cap="flat">
                  <a:noFill/>
                  <a:prstDash val="solid"/>
                  <a:miter/>
                </a:ln>
              </p:spPr>
              <p:txBody>
                <a:bodyPr rtlCol="0" anchor="ctr"/>
                <a:lstStyle/>
                <a:p>
                  <a:endParaRPr lang="en-GB" dirty="0"/>
                </a:p>
              </p:txBody>
            </p:sp>
            <p:sp>
              <p:nvSpPr>
                <p:cNvPr id="982" name="Freeform: Shape 981">
                  <a:extLst>
                    <a:ext uri="{FF2B5EF4-FFF2-40B4-BE49-F238E27FC236}">
                      <a16:creationId xmlns:a16="http://schemas.microsoft.com/office/drawing/2014/main" id="{249C263B-0976-45C8-A0C9-47DF14EFAC16}"/>
                    </a:ext>
                  </a:extLst>
                </p:cNvPr>
                <p:cNvSpPr/>
                <p:nvPr/>
              </p:nvSpPr>
              <p:spPr>
                <a:xfrm>
                  <a:off x="6922377" y="3438130"/>
                  <a:ext cx="21679" cy="16828"/>
                </a:xfrm>
                <a:custGeom>
                  <a:avLst/>
                  <a:gdLst>
                    <a:gd name="connsiteX0" fmla="*/ 15295 w 21679"/>
                    <a:gd name="connsiteY0" fmla="*/ 16829 h 16828"/>
                    <a:gd name="connsiteX1" fmla="*/ 12654 w 21679"/>
                    <a:gd name="connsiteY1" fmla="*/ 16255 h 16828"/>
                    <a:gd name="connsiteX2" fmla="*/ 3732 w 21679"/>
                    <a:gd name="connsiteY2" fmla="*/ 12186 h 16828"/>
                    <a:gd name="connsiteX3" fmla="*/ 575 w 21679"/>
                    <a:gd name="connsiteY3" fmla="*/ 3736 h 16828"/>
                    <a:gd name="connsiteX4" fmla="*/ 9025 w 21679"/>
                    <a:gd name="connsiteY4" fmla="*/ 579 h 16828"/>
                    <a:gd name="connsiteX5" fmla="*/ 17947 w 21679"/>
                    <a:gd name="connsiteY5" fmla="*/ 4648 h 16828"/>
                    <a:gd name="connsiteX6" fmla="*/ 21104 w 21679"/>
                    <a:gd name="connsiteY6" fmla="*/ 13098 h 16828"/>
                    <a:gd name="connsiteX7" fmla="*/ 15295 w 21679"/>
                    <a:gd name="connsiteY7" fmla="*/ 16829 h 1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79" h="16828">
                      <a:moveTo>
                        <a:pt x="15295" y="16829"/>
                      </a:moveTo>
                      <a:cubicBezTo>
                        <a:pt x="14408" y="16829"/>
                        <a:pt x="13515" y="16650"/>
                        <a:pt x="12654" y="16255"/>
                      </a:cubicBezTo>
                      <a:lnTo>
                        <a:pt x="3732" y="12186"/>
                      </a:lnTo>
                      <a:cubicBezTo>
                        <a:pt x="531" y="10726"/>
                        <a:pt x="-885" y="6944"/>
                        <a:pt x="575" y="3736"/>
                      </a:cubicBezTo>
                      <a:cubicBezTo>
                        <a:pt x="2036" y="528"/>
                        <a:pt x="5818" y="-888"/>
                        <a:pt x="9025" y="579"/>
                      </a:cubicBezTo>
                      <a:lnTo>
                        <a:pt x="17947" y="4648"/>
                      </a:lnTo>
                      <a:cubicBezTo>
                        <a:pt x="21149" y="6108"/>
                        <a:pt x="22565" y="9890"/>
                        <a:pt x="21104" y="13098"/>
                      </a:cubicBezTo>
                      <a:cubicBezTo>
                        <a:pt x="20033" y="15445"/>
                        <a:pt x="17718" y="16829"/>
                        <a:pt x="15295" y="16829"/>
                      </a:cubicBezTo>
                      <a:close/>
                    </a:path>
                  </a:pathLst>
                </a:custGeom>
                <a:solidFill>
                  <a:schemeClr val="accent1"/>
                </a:solidFill>
                <a:ln w="637" cap="flat">
                  <a:noFill/>
                  <a:prstDash val="solid"/>
                  <a:miter/>
                </a:ln>
              </p:spPr>
              <p:txBody>
                <a:bodyPr rtlCol="0" anchor="ctr"/>
                <a:lstStyle/>
                <a:p>
                  <a:endParaRPr lang="en-GB" dirty="0"/>
                </a:p>
              </p:txBody>
            </p:sp>
            <p:sp>
              <p:nvSpPr>
                <p:cNvPr id="983" name="Freeform: Shape 982">
                  <a:extLst>
                    <a:ext uri="{FF2B5EF4-FFF2-40B4-BE49-F238E27FC236}">
                      <a16:creationId xmlns:a16="http://schemas.microsoft.com/office/drawing/2014/main" id="{4782BC05-A444-4E80-87E4-1B9C2B07FAC4}"/>
                    </a:ext>
                  </a:extLst>
                </p:cNvPr>
                <p:cNvSpPr/>
                <p:nvPr/>
              </p:nvSpPr>
              <p:spPr>
                <a:xfrm>
                  <a:off x="6815549" y="3389439"/>
                  <a:ext cx="21934" cy="16943"/>
                </a:xfrm>
                <a:custGeom>
                  <a:avLst/>
                  <a:gdLst>
                    <a:gd name="connsiteX0" fmla="*/ 15550 w 21934"/>
                    <a:gd name="connsiteY0" fmla="*/ 16944 h 16943"/>
                    <a:gd name="connsiteX1" fmla="*/ 12909 w 21934"/>
                    <a:gd name="connsiteY1" fmla="*/ 16370 h 16943"/>
                    <a:gd name="connsiteX2" fmla="*/ 3732 w 21934"/>
                    <a:gd name="connsiteY2" fmla="*/ 12186 h 16943"/>
                    <a:gd name="connsiteX3" fmla="*/ 575 w 21934"/>
                    <a:gd name="connsiteY3" fmla="*/ 3736 h 16943"/>
                    <a:gd name="connsiteX4" fmla="*/ 9025 w 21934"/>
                    <a:gd name="connsiteY4" fmla="*/ 579 h 16943"/>
                    <a:gd name="connsiteX5" fmla="*/ 18203 w 21934"/>
                    <a:gd name="connsiteY5" fmla="*/ 4763 h 16943"/>
                    <a:gd name="connsiteX6" fmla="*/ 21359 w 21934"/>
                    <a:gd name="connsiteY6" fmla="*/ 13213 h 16943"/>
                    <a:gd name="connsiteX7" fmla="*/ 15550 w 21934"/>
                    <a:gd name="connsiteY7" fmla="*/ 16944 h 1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934" h="16943">
                      <a:moveTo>
                        <a:pt x="15550" y="16944"/>
                      </a:moveTo>
                      <a:cubicBezTo>
                        <a:pt x="14663" y="16944"/>
                        <a:pt x="13770" y="16765"/>
                        <a:pt x="12909" y="16370"/>
                      </a:cubicBezTo>
                      <a:lnTo>
                        <a:pt x="3732" y="12186"/>
                      </a:lnTo>
                      <a:cubicBezTo>
                        <a:pt x="531" y="10726"/>
                        <a:pt x="-885" y="6944"/>
                        <a:pt x="575" y="3736"/>
                      </a:cubicBezTo>
                      <a:cubicBezTo>
                        <a:pt x="2036" y="528"/>
                        <a:pt x="5805" y="-888"/>
                        <a:pt x="9025" y="579"/>
                      </a:cubicBezTo>
                      <a:lnTo>
                        <a:pt x="18203" y="4763"/>
                      </a:lnTo>
                      <a:cubicBezTo>
                        <a:pt x="21404" y="6223"/>
                        <a:pt x="22820" y="10005"/>
                        <a:pt x="21359" y="13213"/>
                      </a:cubicBezTo>
                      <a:cubicBezTo>
                        <a:pt x="20288" y="15560"/>
                        <a:pt x="17973" y="16944"/>
                        <a:pt x="15550" y="16944"/>
                      </a:cubicBezTo>
                      <a:close/>
                    </a:path>
                  </a:pathLst>
                </a:custGeom>
                <a:solidFill>
                  <a:schemeClr val="accent1"/>
                </a:solidFill>
                <a:ln w="637" cap="flat">
                  <a:noFill/>
                  <a:prstDash val="solid"/>
                  <a:miter/>
                </a:ln>
              </p:spPr>
              <p:txBody>
                <a:bodyPr rtlCol="0" anchor="ctr"/>
                <a:lstStyle/>
                <a:p>
                  <a:endParaRPr lang="en-GB" dirty="0"/>
                </a:p>
              </p:txBody>
            </p:sp>
            <p:sp>
              <p:nvSpPr>
                <p:cNvPr id="984" name="Freeform: Shape 983">
                  <a:extLst>
                    <a:ext uri="{FF2B5EF4-FFF2-40B4-BE49-F238E27FC236}">
                      <a16:creationId xmlns:a16="http://schemas.microsoft.com/office/drawing/2014/main" id="{CBD8387E-C68C-4999-BD2B-6124C3587DDE}"/>
                    </a:ext>
                  </a:extLst>
                </p:cNvPr>
                <p:cNvSpPr/>
                <p:nvPr/>
              </p:nvSpPr>
              <p:spPr>
                <a:xfrm>
                  <a:off x="6921860" y="3390017"/>
                  <a:ext cx="22286" cy="16990"/>
                </a:xfrm>
                <a:custGeom>
                  <a:avLst/>
                  <a:gdLst>
                    <a:gd name="connsiteX0" fmla="*/ 6386 w 22286"/>
                    <a:gd name="connsiteY0" fmla="*/ 16990 h 16990"/>
                    <a:gd name="connsiteX1" fmla="*/ 550 w 22286"/>
                    <a:gd name="connsiteY1" fmla="*/ 13202 h 16990"/>
                    <a:gd name="connsiteX2" fmla="*/ 3790 w 22286"/>
                    <a:gd name="connsiteY2" fmla="*/ 4784 h 16990"/>
                    <a:gd name="connsiteX3" fmla="*/ 13318 w 22286"/>
                    <a:gd name="connsiteY3" fmla="*/ 549 h 16990"/>
                    <a:gd name="connsiteX4" fmla="*/ 21736 w 22286"/>
                    <a:gd name="connsiteY4" fmla="*/ 3789 h 16990"/>
                    <a:gd name="connsiteX5" fmla="*/ 18496 w 22286"/>
                    <a:gd name="connsiteY5" fmla="*/ 12207 h 16990"/>
                    <a:gd name="connsiteX6" fmla="*/ 8969 w 22286"/>
                    <a:gd name="connsiteY6" fmla="*/ 16442 h 16990"/>
                    <a:gd name="connsiteX7" fmla="*/ 6386 w 22286"/>
                    <a:gd name="connsiteY7" fmla="*/ 16990 h 1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286" h="16990">
                      <a:moveTo>
                        <a:pt x="6386" y="16990"/>
                      </a:moveTo>
                      <a:cubicBezTo>
                        <a:pt x="3937" y="16990"/>
                        <a:pt x="1609" y="15581"/>
                        <a:pt x="550" y="13202"/>
                      </a:cubicBezTo>
                      <a:cubicBezTo>
                        <a:pt x="-878" y="9982"/>
                        <a:pt x="570" y="6212"/>
                        <a:pt x="3790" y="4784"/>
                      </a:cubicBezTo>
                      <a:lnTo>
                        <a:pt x="13318" y="549"/>
                      </a:lnTo>
                      <a:cubicBezTo>
                        <a:pt x="16545" y="-879"/>
                        <a:pt x="20314" y="575"/>
                        <a:pt x="21736" y="3789"/>
                      </a:cubicBezTo>
                      <a:cubicBezTo>
                        <a:pt x="23165" y="7010"/>
                        <a:pt x="21717" y="10779"/>
                        <a:pt x="18496" y="12207"/>
                      </a:cubicBezTo>
                      <a:lnTo>
                        <a:pt x="8969" y="16442"/>
                      </a:lnTo>
                      <a:cubicBezTo>
                        <a:pt x="8127" y="16812"/>
                        <a:pt x="7247" y="16990"/>
                        <a:pt x="6386" y="16990"/>
                      </a:cubicBezTo>
                      <a:close/>
                    </a:path>
                  </a:pathLst>
                </a:custGeom>
                <a:solidFill>
                  <a:schemeClr val="accent1"/>
                </a:solidFill>
                <a:ln w="637" cap="flat">
                  <a:noFill/>
                  <a:prstDash val="solid"/>
                  <a:miter/>
                </a:ln>
              </p:spPr>
              <p:txBody>
                <a:bodyPr rtlCol="0" anchor="ctr"/>
                <a:lstStyle/>
                <a:p>
                  <a:endParaRPr lang="en-GB" dirty="0"/>
                </a:p>
              </p:txBody>
            </p:sp>
            <p:sp>
              <p:nvSpPr>
                <p:cNvPr id="985" name="Freeform: Shape 984">
                  <a:extLst>
                    <a:ext uri="{FF2B5EF4-FFF2-40B4-BE49-F238E27FC236}">
                      <a16:creationId xmlns:a16="http://schemas.microsoft.com/office/drawing/2014/main" id="{D992D7D5-FCD2-481A-B99B-CFA7F5F5E0BF}"/>
                    </a:ext>
                  </a:extLst>
                </p:cNvPr>
                <p:cNvSpPr/>
                <p:nvPr/>
              </p:nvSpPr>
              <p:spPr>
                <a:xfrm>
                  <a:off x="6815116" y="3437630"/>
                  <a:ext cx="21748" cy="16755"/>
                </a:xfrm>
                <a:custGeom>
                  <a:avLst/>
                  <a:gdLst>
                    <a:gd name="connsiteX0" fmla="*/ 6385 w 21748"/>
                    <a:gd name="connsiteY0" fmla="*/ 16755 h 16755"/>
                    <a:gd name="connsiteX1" fmla="*/ 549 w 21748"/>
                    <a:gd name="connsiteY1" fmla="*/ 12961 h 16755"/>
                    <a:gd name="connsiteX2" fmla="*/ 3795 w 21748"/>
                    <a:gd name="connsiteY2" fmla="*/ 4549 h 16755"/>
                    <a:gd name="connsiteX3" fmla="*/ 12787 w 21748"/>
                    <a:gd name="connsiteY3" fmla="*/ 557 h 16755"/>
                    <a:gd name="connsiteX4" fmla="*/ 21199 w 21748"/>
                    <a:gd name="connsiteY4" fmla="*/ 3803 h 16755"/>
                    <a:gd name="connsiteX5" fmla="*/ 17953 w 21748"/>
                    <a:gd name="connsiteY5" fmla="*/ 12214 h 16755"/>
                    <a:gd name="connsiteX6" fmla="*/ 8961 w 21748"/>
                    <a:gd name="connsiteY6" fmla="*/ 16207 h 16755"/>
                    <a:gd name="connsiteX7" fmla="*/ 6385 w 21748"/>
                    <a:gd name="connsiteY7" fmla="*/ 16755 h 16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48" h="16755">
                      <a:moveTo>
                        <a:pt x="6385" y="16755"/>
                      </a:moveTo>
                      <a:cubicBezTo>
                        <a:pt x="3936" y="16755"/>
                        <a:pt x="1608" y="15339"/>
                        <a:pt x="549" y="12961"/>
                      </a:cubicBezTo>
                      <a:cubicBezTo>
                        <a:pt x="-879" y="9746"/>
                        <a:pt x="575" y="5977"/>
                        <a:pt x="3795" y="4549"/>
                      </a:cubicBezTo>
                      <a:lnTo>
                        <a:pt x="12787" y="557"/>
                      </a:lnTo>
                      <a:cubicBezTo>
                        <a:pt x="16021" y="-891"/>
                        <a:pt x="19771" y="588"/>
                        <a:pt x="21199" y="3803"/>
                      </a:cubicBezTo>
                      <a:cubicBezTo>
                        <a:pt x="22628" y="7017"/>
                        <a:pt x="21174" y="10786"/>
                        <a:pt x="17953" y="12214"/>
                      </a:cubicBezTo>
                      <a:lnTo>
                        <a:pt x="8961" y="16207"/>
                      </a:lnTo>
                      <a:cubicBezTo>
                        <a:pt x="8126" y="16583"/>
                        <a:pt x="7246" y="16755"/>
                        <a:pt x="6385" y="16755"/>
                      </a:cubicBezTo>
                      <a:close/>
                    </a:path>
                  </a:pathLst>
                </a:custGeom>
                <a:solidFill>
                  <a:schemeClr val="accent1"/>
                </a:solidFill>
                <a:ln w="637" cap="flat">
                  <a:noFill/>
                  <a:prstDash val="solid"/>
                  <a:miter/>
                </a:ln>
              </p:spPr>
              <p:txBody>
                <a:bodyPr rtlCol="0" anchor="ctr"/>
                <a:lstStyle/>
                <a:p>
                  <a:endParaRPr lang="en-GB" dirty="0"/>
                </a:p>
              </p:txBody>
            </p:sp>
            <p:sp>
              <p:nvSpPr>
                <p:cNvPr id="986" name="Freeform: Shape 985">
                  <a:extLst>
                    <a:ext uri="{FF2B5EF4-FFF2-40B4-BE49-F238E27FC236}">
                      <a16:creationId xmlns:a16="http://schemas.microsoft.com/office/drawing/2014/main" id="{CA1AECA7-85F1-496A-B54F-C4D9F378880C}"/>
                    </a:ext>
                  </a:extLst>
                </p:cNvPr>
                <p:cNvSpPr/>
                <p:nvPr/>
              </p:nvSpPr>
              <p:spPr>
                <a:xfrm>
                  <a:off x="6846732" y="3464803"/>
                  <a:ext cx="16818" cy="21603"/>
                </a:xfrm>
                <a:custGeom>
                  <a:avLst/>
                  <a:gdLst>
                    <a:gd name="connsiteX0" fmla="*/ 6375 w 16818"/>
                    <a:gd name="connsiteY0" fmla="*/ 21603 h 21603"/>
                    <a:gd name="connsiteX1" fmla="*/ 3728 w 16818"/>
                    <a:gd name="connsiteY1" fmla="*/ 21023 h 21603"/>
                    <a:gd name="connsiteX2" fmla="*/ 584 w 16818"/>
                    <a:gd name="connsiteY2" fmla="*/ 12573 h 21603"/>
                    <a:gd name="connsiteX3" fmla="*/ 4640 w 16818"/>
                    <a:gd name="connsiteY3" fmla="*/ 3721 h 21603"/>
                    <a:gd name="connsiteX4" fmla="*/ 13090 w 16818"/>
                    <a:gd name="connsiteY4" fmla="*/ 577 h 21603"/>
                    <a:gd name="connsiteX5" fmla="*/ 16234 w 16818"/>
                    <a:gd name="connsiteY5" fmla="*/ 9027 h 21603"/>
                    <a:gd name="connsiteX6" fmla="*/ 12178 w 16818"/>
                    <a:gd name="connsiteY6" fmla="*/ 17885 h 21603"/>
                    <a:gd name="connsiteX7" fmla="*/ 6375 w 16818"/>
                    <a:gd name="connsiteY7" fmla="*/ 21603 h 21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18" h="21603">
                      <a:moveTo>
                        <a:pt x="6375" y="21603"/>
                      </a:moveTo>
                      <a:cubicBezTo>
                        <a:pt x="5488" y="21603"/>
                        <a:pt x="4589" y="21418"/>
                        <a:pt x="3728" y="21023"/>
                      </a:cubicBezTo>
                      <a:cubicBezTo>
                        <a:pt x="520" y="19556"/>
                        <a:pt x="-889" y="15774"/>
                        <a:pt x="584" y="12573"/>
                      </a:cubicBezTo>
                      <a:lnTo>
                        <a:pt x="4640" y="3721"/>
                      </a:lnTo>
                      <a:cubicBezTo>
                        <a:pt x="6101" y="526"/>
                        <a:pt x="9895" y="-884"/>
                        <a:pt x="13090" y="577"/>
                      </a:cubicBezTo>
                      <a:cubicBezTo>
                        <a:pt x="16298" y="2043"/>
                        <a:pt x="17707" y="5825"/>
                        <a:pt x="16234" y="9027"/>
                      </a:cubicBezTo>
                      <a:lnTo>
                        <a:pt x="12178" y="17885"/>
                      </a:lnTo>
                      <a:cubicBezTo>
                        <a:pt x="11113" y="20219"/>
                        <a:pt x="8792" y="21603"/>
                        <a:pt x="6375" y="21603"/>
                      </a:cubicBezTo>
                      <a:close/>
                    </a:path>
                  </a:pathLst>
                </a:custGeom>
                <a:solidFill>
                  <a:schemeClr val="accent1"/>
                </a:solidFill>
                <a:ln w="637" cap="flat">
                  <a:noFill/>
                  <a:prstDash val="solid"/>
                  <a:miter/>
                </a:ln>
              </p:spPr>
              <p:txBody>
                <a:bodyPr rtlCol="0" anchor="ctr"/>
                <a:lstStyle/>
                <a:p>
                  <a:endParaRPr lang="en-GB" dirty="0"/>
                </a:p>
              </p:txBody>
            </p:sp>
            <p:sp>
              <p:nvSpPr>
                <p:cNvPr id="987" name="Freeform: Shape 986">
                  <a:extLst>
                    <a:ext uri="{FF2B5EF4-FFF2-40B4-BE49-F238E27FC236}">
                      <a16:creationId xmlns:a16="http://schemas.microsoft.com/office/drawing/2014/main" id="{5911FACE-FAA5-4292-AFBB-D638F9088B76}"/>
                    </a:ext>
                  </a:extLst>
                </p:cNvPr>
                <p:cNvSpPr/>
                <p:nvPr/>
              </p:nvSpPr>
              <p:spPr>
                <a:xfrm>
                  <a:off x="6895532" y="3358006"/>
                  <a:ext cx="16959" cy="21910"/>
                </a:xfrm>
                <a:custGeom>
                  <a:avLst/>
                  <a:gdLst>
                    <a:gd name="connsiteX0" fmla="*/ 6375 w 16959"/>
                    <a:gd name="connsiteY0" fmla="*/ 21910 h 21910"/>
                    <a:gd name="connsiteX1" fmla="*/ 3722 w 16959"/>
                    <a:gd name="connsiteY1" fmla="*/ 21330 h 21910"/>
                    <a:gd name="connsiteX2" fmla="*/ 584 w 16959"/>
                    <a:gd name="connsiteY2" fmla="*/ 12873 h 21910"/>
                    <a:gd name="connsiteX3" fmla="*/ 4781 w 16959"/>
                    <a:gd name="connsiteY3" fmla="*/ 3716 h 21910"/>
                    <a:gd name="connsiteX4" fmla="*/ 13237 w 16959"/>
                    <a:gd name="connsiteY4" fmla="*/ 578 h 21910"/>
                    <a:gd name="connsiteX5" fmla="*/ 16375 w 16959"/>
                    <a:gd name="connsiteY5" fmla="*/ 9034 h 21910"/>
                    <a:gd name="connsiteX6" fmla="*/ 12178 w 16959"/>
                    <a:gd name="connsiteY6" fmla="*/ 18192 h 21910"/>
                    <a:gd name="connsiteX7" fmla="*/ 6375 w 16959"/>
                    <a:gd name="connsiteY7" fmla="*/ 21910 h 2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59" h="21910">
                      <a:moveTo>
                        <a:pt x="6375" y="21910"/>
                      </a:moveTo>
                      <a:cubicBezTo>
                        <a:pt x="5489" y="21910"/>
                        <a:pt x="4589" y="21725"/>
                        <a:pt x="3722" y="21330"/>
                      </a:cubicBezTo>
                      <a:cubicBezTo>
                        <a:pt x="521" y="19863"/>
                        <a:pt x="-889" y="16075"/>
                        <a:pt x="584" y="12873"/>
                      </a:cubicBezTo>
                      <a:lnTo>
                        <a:pt x="4781" y="3716"/>
                      </a:lnTo>
                      <a:cubicBezTo>
                        <a:pt x="6241" y="521"/>
                        <a:pt x="10016" y="-883"/>
                        <a:pt x="13237" y="578"/>
                      </a:cubicBezTo>
                      <a:cubicBezTo>
                        <a:pt x="16439" y="2045"/>
                        <a:pt x="17848" y="5833"/>
                        <a:pt x="16375" y="9034"/>
                      </a:cubicBezTo>
                      <a:lnTo>
                        <a:pt x="12178" y="18192"/>
                      </a:lnTo>
                      <a:cubicBezTo>
                        <a:pt x="11107" y="20533"/>
                        <a:pt x="8792" y="21910"/>
                        <a:pt x="6375" y="21910"/>
                      </a:cubicBezTo>
                      <a:close/>
                    </a:path>
                  </a:pathLst>
                </a:custGeom>
                <a:solidFill>
                  <a:schemeClr val="accent1"/>
                </a:solidFill>
                <a:ln w="637" cap="flat">
                  <a:noFill/>
                  <a:prstDash val="solid"/>
                  <a:miter/>
                </a:ln>
              </p:spPr>
              <p:txBody>
                <a:bodyPr rtlCol="0" anchor="ctr"/>
                <a:lstStyle/>
                <a:p>
                  <a:endParaRPr lang="en-GB" dirty="0"/>
                </a:p>
              </p:txBody>
            </p:sp>
          </p:grpSp>
        </p:grpSp>
      </p:grpSp>
      <p:grpSp>
        <p:nvGrpSpPr>
          <p:cNvPr id="26" name="Group 25">
            <a:extLst>
              <a:ext uri="{FF2B5EF4-FFF2-40B4-BE49-F238E27FC236}">
                <a16:creationId xmlns:a16="http://schemas.microsoft.com/office/drawing/2014/main" id="{0B9FBD6E-83B7-2400-51E5-3D5BE14E5E81}"/>
              </a:ext>
            </a:extLst>
          </p:cNvPr>
          <p:cNvGrpSpPr/>
          <p:nvPr/>
        </p:nvGrpSpPr>
        <p:grpSpPr>
          <a:xfrm>
            <a:off x="5000557" y="1662933"/>
            <a:ext cx="425422" cy="376267"/>
            <a:chOff x="5000145" y="1662933"/>
            <a:chExt cx="425422" cy="376267"/>
          </a:xfrm>
        </p:grpSpPr>
        <p:sp>
          <p:nvSpPr>
            <p:cNvPr id="1013" name="Freeform: Shape 1012">
              <a:extLst>
                <a:ext uri="{FF2B5EF4-FFF2-40B4-BE49-F238E27FC236}">
                  <a16:creationId xmlns:a16="http://schemas.microsoft.com/office/drawing/2014/main" id="{62BC919B-00B9-41A1-8E06-6F6AC6EEF37F}"/>
                </a:ext>
              </a:extLst>
            </p:cNvPr>
            <p:cNvSpPr/>
            <p:nvPr/>
          </p:nvSpPr>
          <p:spPr>
            <a:xfrm>
              <a:off x="5142379" y="1793645"/>
              <a:ext cx="68964" cy="98875"/>
            </a:xfrm>
            <a:custGeom>
              <a:avLst/>
              <a:gdLst>
                <a:gd name="connsiteX0" fmla="*/ 34430 w 68964"/>
                <a:gd name="connsiteY0" fmla="*/ 98875 h 98875"/>
                <a:gd name="connsiteX1" fmla="*/ 34226 w 68964"/>
                <a:gd name="connsiteY1" fmla="*/ 98875 h 98875"/>
                <a:gd name="connsiteX2" fmla="*/ 29819 w 68964"/>
                <a:gd name="connsiteY2" fmla="*/ 98582 h 98875"/>
                <a:gd name="connsiteX3" fmla="*/ 3850 w 68964"/>
                <a:gd name="connsiteY3" fmla="*/ 79883 h 98875"/>
                <a:gd name="connsiteX4" fmla="*/ 4928 w 68964"/>
                <a:gd name="connsiteY4" fmla="*/ 45260 h 98875"/>
                <a:gd name="connsiteX5" fmla="*/ 4928 w 68964"/>
                <a:gd name="connsiteY5" fmla="*/ 45260 h 98875"/>
                <a:gd name="connsiteX6" fmla="*/ 29411 w 68964"/>
                <a:gd name="connsiteY6" fmla="*/ 3170 h 98875"/>
                <a:gd name="connsiteX7" fmla="*/ 34921 w 68964"/>
                <a:gd name="connsiteY7" fmla="*/ 0 h 98875"/>
                <a:gd name="connsiteX8" fmla="*/ 34972 w 68964"/>
                <a:gd name="connsiteY8" fmla="*/ 0 h 98875"/>
                <a:gd name="connsiteX9" fmla="*/ 40482 w 68964"/>
                <a:gd name="connsiteY9" fmla="*/ 3259 h 98875"/>
                <a:gd name="connsiteX10" fmla="*/ 64315 w 68964"/>
                <a:gd name="connsiteY10" fmla="*/ 45713 h 98875"/>
                <a:gd name="connsiteX11" fmla="*/ 64857 w 68964"/>
                <a:gd name="connsiteY11" fmla="*/ 80355 h 98875"/>
                <a:gd name="connsiteX12" fmla="*/ 38594 w 68964"/>
                <a:gd name="connsiteY12" fmla="*/ 98652 h 98875"/>
                <a:gd name="connsiteX13" fmla="*/ 34430 w 68964"/>
                <a:gd name="connsiteY13" fmla="*/ 98875 h 98875"/>
                <a:gd name="connsiteX14" fmla="*/ 15955 w 68964"/>
                <a:gd name="connsiteY14" fmla="*/ 51682 h 98875"/>
                <a:gd name="connsiteX15" fmla="*/ 15279 w 68964"/>
                <a:gd name="connsiteY15" fmla="*/ 74220 h 98875"/>
                <a:gd name="connsiteX16" fmla="*/ 31394 w 68964"/>
                <a:gd name="connsiteY16" fmla="*/ 85929 h 98875"/>
                <a:gd name="connsiteX17" fmla="*/ 34322 w 68964"/>
                <a:gd name="connsiteY17" fmla="*/ 86120 h 98875"/>
                <a:gd name="connsiteX18" fmla="*/ 37249 w 68964"/>
                <a:gd name="connsiteY18" fmla="*/ 85974 h 98875"/>
                <a:gd name="connsiteX19" fmla="*/ 53518 w 68964"/>
                <a:gd name="connsiteY19" fmla="*/ 74520 h 98875"/>
                <a:gd name="connsiteX20" fmla="*/ 53192 w 68964"/>
                <a:gd name="connsiteY20" fmla="*/ 51963 h 98875"/>
                <a:gd name="connsiteX21" fmla="*/ 34825 w 68964"/>
                <a:gd name="connsiteY21" fmla="*/ 19241 h 98875"/>
                <a:gd name="connsiteX22" fmla="*/ 15955 w 68964"/>
                <a:gd name="connsiteY22" fmla="*/ 51682 h 98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8964" h="98875">
                  <a:moveTo>
                    <a:pt x="34430" y="98875"/>
                  </a:moveTo>
                  <a:cubicBezTo>
                    <a:pt x="34360" y="98875"/>
                    <a:pt x="34296" y="98875"/>
                    <a:pt x="34226" y="98875"/>
                  </a:cubicBezTo>
                  <a:cubicBezTo>
                    <a:pt x="32714" y="98862"/>
                    <a:pt x="31248" y="98760"/>
                    <a:pt x="29819" y="98582"/>
                  </a:cubicBezTo>
                  <a:cubicBezTo>
                    <a:pt x="18518" y="97179"/>
                    <a:pt x="9048" y="90368"/>
                    <a:pt x="3850" y="79883"/>
                  </a:cubicBezTo>
                  <a:cubicBezTo>
                    <a:pt x="-1641" y="68806"/>
                    <a:pt x="-1239" y="55860"/>
                    <a:pt x="4928" y="45260"/>
                  </a:cubicBezTo>
                  <a:lnTo>
                    <a:pt x="4928" y="45260"/>
                  </a:lnTo>
                  <a:lnTo>
                    <a:pt x="29411" y="3170"/>
                  </a:lnTo>
                  <a:cubicBezTo>
                    <a:pt x="30553" y="1205"/>
                    <a:pt x="32651" y="0"/>
                    <a:pt x="34921" y="0"/>
                  </a:cubicBezTo>
                  <a:cubicBezTo>
                    <a:pt x="34934" y="0"/>
                    <a:pt x="34953" y="0"/>
                    <a:pt x="34972" y="0"/>
                  </a:cubicBezTo>
                  <a:cubicBezTo>
                    <a:pt x="37262" y="19"/>
                    <a:pt x="39360" y="1256"/>
                    <a:pt x="40482" y="3259"/>
                  </a:cubicBezTo>
                  <a:lnTo>
                    <a:pt x="64315" y="45713"/>
                  </a:lnTo>
                  <a:cubicBezTo>
                    <a:pt x="70316" y="56414"/>
                    <a:pt x="70520" y="69361"/>
                    <a:pt x="64857" y="80355"/>
                  </a:cubicBezTo>
                  <a:cubicBezTo>
                    <a:pt x="59500" y="90757"/>
                    <a:pt x="49927" y="97427"/>
                    <a:pt x="38594" y="98652"/>
                  </a:cubicBezTo>
                  <a:cubicBezTo>
                    <a:pt x="37217" y="98805"/>
                    <a:pt x="35827" y="98875"/>
                    <a:pt x="34430" y="98875"/>
                  </a:cubicBezTo>
                  <a:close/>
                  <a:moveTo>
                    <a:pt x="15955" y="51682"/>
                  </a:moveTo>
                  <a:cubicBezTo>
                    <a:pt x="11950" y="58570"/>
                    <a:pt x="11695" y="66995"/>
                    <a:pt x="15279" y="74220"/>
                  </a:cubicBezTo>
                  <a:cubicBezTo>
                    <a:pt x="18538" y="80795"/>
                    <a:pt x="24411" y="85062"/>
                    <a:pt x="31394" y="85929"/>
                  </a:cubicBezTo>
                  <a:cubicBezTo>
                    <a:pt x="32357" y="86050"/>
                    <a:pt x="33339" y="86108"/>
                    <a:pt x="34322" y="86120"/>
                  </a:cubicBezTo>
                  <a:cubicBezTo>
                    <a:pt x="35342" y="86146"/>
                    <a:pt x="36286" y="86076"/>
                    <a:pt x="37249" y="85974"/>
                  </a:cubicBezTo>
                  <a:cubicBezTo>
                    <a:pt x="44219" y="85221"/>
                    <a:pt x="50157" y="81050"/>
                    <a:pt x="53518" y="74520"/>
                  </a:cubicBezTo>
                  <a:cubicBezTo>
                    <a:pt x="57216" y="67352"/>
                    <a:pt x="57095" y="58921"/>
                    <a:pt x="53192" y="51963"/>
                  </a:cubicBezTo>
                  <a:lnTo>
                    <a:pt x="34825" y="19241"/>
                  </a:lnTo>
                  <a:lnTo>
                    <a:pt x="15955" y="51682"/>
                  </a:lnTo>
                  <a:close/>
                </a:path>
              </a:pathLst>
            </a:custGeom>
            <a:solidFill>
              <a:schemeClr val="accent1"/>
            </a:solidFill>
            <a:ln w="637" cap="flat">
              <a:noFill/>
              <a:prstDash val="solid"/>
              <a:miter/>
            </a:ln>
          </p:spPr>
          <p:txBody>
            <a:bodyPr rtlCol="0" anchor="ctr"/>
            <a:lstStyle/>
            <a:p>
              <a:endParaRPr lang="en-GB" dirty="0"/>
            </a:p>
          </p:txBody>
        </p:sp>
        <p:grpSp>
          <p:nvGrpSpPr>
            <p:cNvPr id="1014" name="Group 1013">
              <a:extLst>
                <a:ext uri="{FF2B5EF4-FFF2-40B4-BE49-F238E27FC236}">
                  <a16:creationId xmlns:a16="http://schemas.microsoft.com/office/drawing/2014/main" id="{5E2ACC12-9EAD-4C84-A336-C72F15B2C47F}"/>
                </a:ext>
              </a:extLst>
            </p:cNvPr>
            <p:cNvGrpSpPr/>
            <p:nvPr/>
          </p:nvGrpSpPr>
          <p:grpSpPr>
            <a:xfrm>
              <a:off x="5000145" y="1662933"/>
              <a:ext cx="425422" cy="376267"/>
              <a:chOff x="581339" y="3269688"/>
              <a:chExt cx="425422" cy="376267"/>
            </a:xfrm>
            <a:solidFill>
              <a:schemeClr val="tx2"/>
            </a:solidFill>
          </p:grpSpPr>
          <p:grpSp>
            <p:nvGrpSpPr>
              <p:cNvPr id="1015" name="Graphic 32">
                <a:extLst>
                  <a:ext uri="{FF2B5EF4-FFF2-40B4-BE49-F238E27FC236}">
                    <a16:creationId xmlns:a16="http://schemas.microsoft.com/office/drawing/2014/main" id="{F7761EB7-B90E-4F0F-81FE-7154D24C23F5}"/>
                  </a:ext>
                </a:extLst>
              </p:cNvPr>
              <p:cNvGrpSpPr/>
              <p:nvPr/>
            </p:nvGrpSpPr>
            <p:grpSpPr>
              <a:xfrm>
                <a:off x="581339" y="3519907"/>
                <a:ext cx="315825" cy="125997"/>
                <a:chOff x="5051203" y="3519907"/>
                <a:chExt cx="315825" cy="125997"/>
              </a:xfrm>
              <a:grpFill/>
            </p:grpSpPr>
            <p:sp>
              <p:nvSpPr>
                <p:cNvPr id="1022" name="Freeform: Shape 1021">
                  <a:extLst>
                    <a:ext uri="{FF2B5EF4-FFF2-40B4-BE49-F238E27FC236}">
                      <a16:creationId xmlns:a16="http://schemas.microsoft.com/office/drawing/2014/main" id="{440EE445-73AC-47C1-AE84-29EA270DB00A}"/>
                    </a:ext>
                  </a:extLst>
                </p:cNvPr>
                <p:cNvSpPr/>
                <p:nvPr/>
              </p:nvSpPr>
              <p:spPr>
                <a:xfrm>
                  <a:off x="5051983" y="3566465"/>
                  <a:ext cx="315045" cy="79439"/>
                </a:xfrm>
                <a:custGeom>
                  <a:avLst/>
                  <a:gdLst>
                    <a:gd name="connsiteX0" fmla="*/ 162076 w 315045"/>
                    <a:gd name="connsiteY0" fmla="*/ 79440 h 79439"/>
                    <a:gd name="connsiteX1" fmla="*/ 80567 w 315045"/>
                    <a:gd name="connsiteY1" fmla="*/ 68834 h 79439"/>
                    <a:gd name="connsiteX2" fmla="*/ 8898 w 315045"/>
                    <a:gd name="connsiteY2" fmla="*/ 62935 h 79439"/>
                    <a:gd name="connsiteX3" fmla="*/ 537 w 315045"/>
                    <a:gd name="connsiteY3" fmla="*/ 59612 h 79439"/>
                    <a:gd name="connsiteX4" fmla="*/ 3726 w 315045"/>
                    <a:gd name="connsiteY4" fmla="*/ 51264 h 79439"/>
                    <a:gd name="connsiteX5" fmla="*/ 84132 w 315045"/>
                    <a:gd name="connsiteY5" fmla="*/ 56583 h 79439"/>
                    <a:gd name="connsiteX6" fmla="*/ 301390 w 315045"/>
                    <a:gd name="connsiteY6" fmla="*/ 14531 h 79439"/>
                    <a:gd name="connsiteX7" fmla="*/ 276735 w 315045"/>
                    <a:gd name="connsiteY7" fmla="*/ 16348 h 79439"/>
                    <a:gd name="connsiteX8" fmla="*/ 261774 w 315045"/>
                    <a:gd name="connsiteY8" fmla="*/ 23223 h 79439"/>
                    <a:gd name="connsiteX9" fmla="*/ 206559 w 315045"/>
                    <a:gd name="connsiteY9" fmla="*/ 36386 h 79439"/>
                    <a:gd name="connsiteX10" fmla="*/ 200640 w 315045"/>
                    <a:gd name="connsiteY10" fmla="*/ 29581 h 79439"/>
                    <a:gd name="connsiteX11" fmla="*/ 207445 w 315045"/>
                    <a:gd name="connsiteY11" fmla="*/ 23657 h 79439"/>
                    <a:gd name="connsiteX12" fmla="*/ 255856 w 315045"/>
                    <a:gd name="connsiteY12" fmla="*/ 11916 h 79439"/>
                    <a:gd name="connsiteX13" fmla="*/ 272246 w 315045"/>
                    <a:gd name="connsiteY13" fmla="*/ 4410 h 79439"/>
                    <a:gd name="connsiteX14" fmla="*/ 313348 w 315045"/>
                    <a:gd name="connsiteY14" fmla="*/ 8663 h 79439"/>
                    <a:gd name="connsiteX15" fmla="*/ 311562 w 315045"/>
                    <a:gd name="connsiteY15" fmla="*/ 22260 h 79439"/>
                    <a:gd name="connsiteX16" fmla="*/ 162076 w 315045"/>
                    <a:gd name="connsiteY16" fmla="*/ 79440 h 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5045" h="79439">
                      <a:moveTo>
                        <a:pt x="162076" y="79440"/>
                      </a:moveTo>
                      <a:cubicBezTo>
                        <a:pt x="127811" y="79446"/>
                        <a:pt x="97594" y="73859"/>
                        <a:pt x="80567" y="68834"/>
                      </a:cubicBezTo>
                      <a:cubicBezTo>
                        <a:pt x="30230" y="54383"/>
                        <a:pt x="9095" y="62846"/>
                        <a:pt x="8898" y="62935"/>
                      </a:cubicBezTo>
                      <a:cubicBezTo>
                        <a:pt x="5664" y="64300"/>
                        <a:pt x="1933" y="62820"/>
                        <a:pt x="537" y="59612"/>
                      </a:cubicBezTo>
                      <a:cubicBezTo>
                        <a:pt x="-853" y="56411"/>
                        <a:pt x="543" y="52706"/>
                        <a:pt x="3726" y="51264"/>
                      </a:cubicBezTo>
                      <a:cubicBezTo>
                        <a:pt x="4714" y="50831"/>
                        <a:pt x="28457" y="40595"/>
                        <a:pt x="84132" y="56583"/>
                      </a:cubicBezTo>
                      <a:cubicBezTo>
                        <a:pt x="124201" y="68407"/>
                        <a:pt x="240894" y="83738"/>
                        <a:pt x="301390" y="14531"/>
                      </a:cubicBezTo>
                      <a:cubicBezTo>
                        <a:pt x="298317" y="12841"/>
                        <a:pt x="289707" y="10978"/>
                        <a:pt x="276735" y="16348"/>
                      </a:cubicBezTo>
                      <a:cubicBezTo>
                        <a:pt x="271500" y="18140"/>
                        <a:pt x="266774" y="20608"/>
                        <a:pt x="261774" y="23223"/>
                      </a:cubicBezTo>
                      <a:cubicBezTo>
                        <a:pt x="248318" y="30257"/>
                        <a:pt x="233063" y="38178"/>
                        <a:pt x="206559" y="36386"/>
                      </a:cubicBezTo>
                      <a:cubicBezTo>
                        <a:pt x="203045" y="36137"/>
                        <a:pt x="200398" y="33089"/>
                        <a:pt x="200640" y="29581"/>
                      </a:cubicBezTo>
                      <a:cubicBezTo>
                        <a:pt x="200883" y="26067"/>
                        <a:pt x="203880" y="23478"/>
                        <a:pt x="207445" y="23657"/>
                      </a:cubicBezTo>
                      <a:cubicBezTo>
                        <a:pt x="230353" y="25270"/>
                        <a:pt x="243318" y="18472"/>
                        <a:pt x="255856" y="11916"/>
                      </a:cubicBezTo>
                      <a:cubicBezTo>
                        <a:pt x="261309" y="9065"/>
                        <a:pt x="266461" y="6374"/>
                        <a:pt x="272246" y="4410"/>
                      </a:cubicBezTo>
                      <a:cubicBezTo>
                        <a:pt x="291958" y="-3766"/>
                        <a:pt x="308246" y="462"/>
                        <a:pt x="313348" y="8663"/>
                      </a:cubicBezTo>
                      <a:cubicBezTo>
                        <a:pt x="316154" y="13166"/>
                        <a:pt x="315427" y="18574"/>
                        <a:pt x="311562" y="22260"/>
                      </a:cubicBezTo>
                      <a:cubicBezTo>
                        <a:pt x="272852" y="67100"/>
                        <a:pt x="212993" y="79440"/>
                        <a:pt x="162076" y="79440"/>
                      </a:cubicBezTo>
                      <a:close/>
                    </a:path>
                  </a:pathLst>
                </a:custGeom>
                <a:grpFill/>
                <a:ln w="637" cap="flat">
                  <a:noFill/>
                  <a:prstDash val="solid"/>
                  <a:miter/>
                </a:ln>
              </p:spPr>
              <p:txBody>
                <a:bodyPr rtlCol="0" anchor="ctr"/>
                <a:lstStyle/>
                <a:p>
                  <a:endParaRPr lang="en-GB" dirty="0"/>
                </a:p>
              </p:txBody>
            </p:sp>
            <p:sp>
              <p:nvSpPr>
                <p:cNvPr id="1023" name="Freeform: Shape 1022">
                  <a:extLst>
                    <a:ext uri="{FF2B5EF4-FFF2-40B4-BE49-F238E27FC236}">
                      <a16:creationId xmlns:a16="http://schemas.microsoft.com/office/drawing/2014/main" id="{70072513-47CC-484B-99C3-C182D8FFAEAD}"/>
                    </a:ext>
                  </a:extLst>
                </p:cNvPr>
                <p:cNvSpPr/>
                <p:nvPr/>
              </p:nvSpPr>
              <p:spPr>
                <a:xfrm>
                  <a:off x="5051203" y="3519907"/>
                  <a:ext cx="216998" cy="91285"/>
                </a:xfrm>
                <a:custGeom>
                  <a:avLst/>
                  <a:gdLst>
                    <a:gd name="connsiteX0" fmla="*/ 162506 w 216998"/>
                    <a:gd name="connsiteY0" fmla="*/ 91285 h 91285"/>
                    <a:gd name="connsiteX1" fmla="*/ 106117 w 216998"/>
                    <a:gd name="connsiteY1" fmla="*/ 76662 h 91285"/>
                    <a:gd name="connsiteX2" fmla="*/ 104797 w 216998"/>
                    <a:gd name="connsiteY2" fmla="*/ 67740 h 91285"/>
                    <a:gd name="connsiteX3" fmla="*/ 113719 w 216998"/>
                    <a:gd name="connsiteY3" fmla="*/ 66426 h 91285"/>
                    <a:gd name="connsiteX4" fmla="*/ 191823 w 216998"/>
                    <a:gd name="connsiteY4" fmla="*/ 76413 h 91285"/>
                    <a:gd name="connsiteX5" fmla="*/ 204252 w 216998"/>
                    <a:gd name="connsiteY5" fmla="*/ 67172 h 91285"/>
                    <a:gd name="connsiteX6" fmla="*/ 200694 w 216998"/>
                    <a:gd name="connsiteY6" fmla="*/ 60272 h 91285"/>
                    <a:gd name="connsiteX7" fmla="*/ 196631 w 216998"/>
                    <a:gd name="connsiteY7" fmla="*/ 60603 h 91285"/>
                    <a:gd name="connsiteX8" fmla="*/ 144911 w 216998"/>
                    <a:gd name="connsiteY8" fmla="*/ 48538 h 91285"/>
                    <a:gd name="connsiteX9" fmla="*/ 69842 w 216998"/>
                    <a:gd name="connsiteY9" fmla="*/ 13927 h 91285"/>
                    <a:gd name="connsiteX10" fmla="*/ 68937 w 216998"/>
                    <a:gd name="connsiteY10" fmla="*/ 14074 h 91285"/>
                    <a:gd name="connsiteX11" fmla="*/ 51782 w 216998"/>
                    <a:gd name="connsiteY11" fmla="*/ 17473 h 91285"/>
                    <a:gd name="connsiteX12" fmla="*/ 6834 w 216998"/>
                    <a:gd name="connsiteY12" fmla="*/ 23455 h 91285"/>
                    <a:gd name="connsiteX13" fmla="*/ 16 w 216998"/>
                    <a:gd name="connsiteY13" fmla="*/ 17550 h 91285"/>
                    <a:gd name="connsiteX14" fmla="*/ 5922 w 216998"/>
                    <a:gd name="connsiteY14" fmla="*/ 10739 h 91285"/>
                    <a:gd name="connsiteX15" fmla="*/ 48880 w 216998"/>
                    <a:gd name="connsiteY15" fmla="*/ 5056 h 91285"/>
                    <a:gd name="connsiteX16" fmla="*/ 66947 w 216998"/>
                    <a:gd name="connsiteY16" fmla="*/ 1466 h 91285"/>
                    <a:gd name="connsiteX17" fmla="*/ 67814 w 216998"/>
                    <a:gd name="connsiteY17" fmla="*/ 1332 h 91285"/>
                    <a:gd name="connsiteX18" fmla="*/ 154853 w 216998"/>
                    <a:gd name="connsiteY18" fmla="*/ 40547 h 91285"/>
                    <a:gd name="connsiteX19" fmla="*/ 155287 w 216998"/>
                    <a:gd name="connsiteY19" fmla="*/ 41127 h 91285"/>
                    <a:gd name="connsiteX20" fmla="*/ 195503 w 216998"/>
                    <a:gd name="connsiteY20" fmla="*/ 47893 h 91285"/>
                    <a:gd name="connsiteX21" fmla="*/ 199048 w 216998"/>
                    <a:gd name="connsiteY21" fmla="*/ 47626 h 91285"/>
                    <a:gd name="connsiteX22" fmla="*/ 212122 w 216998"/>
                    <a:gd name="connsiteY22" fmla="*/ 53429 h 91285"/>
                    <a:gd name="connsiteX23" fmla="*/ 215617 w 216998"/>
                    <a:gd name="connsiteY23" fmla="*/ 74551 h 91285"/>
                    <a:gd name="connsiteX24" fmla="*/ 193500 w 216998"/>
                    <a:gd name="connsiteY24" fmla="*/ 89053 h 91285"/>
                    <a:gd name="connsiteX25" fmla="*/ 162506 w 216998"/>
                    <a:gd name="connsiteY25" fmla="*/ 91285 h 91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16998" h="91285">
                      <a:moveTo>
                        <a:pt x="162506" y="91285"/>
                      </a:moveTo>
                      <a:cubicBezTo>
                        <a:pt x="138119" y="91285"/>
                        <a:pt x="119222" y="86394"/>
                        <a:pt x="106117" y="76662"/>
                      </a:cubicBezTo>
                      <a:cubicBezTo>
                        <a:pt x="103292" y="74564"/>
                        <a:pt x="102699" y="70565"/>
                        <a:pt x="104797" y="67740"/>
                      </a:cubicBezTo>
                      <a:cubicBezTo>
                        <a:pt x="106901" y="64921"/>
                        <a:pt x="110894" y="64334"/>
                        <a:pt x="113719" y="66426"/>
                      </a:cubicBezTo>
                      <a:cubicBezTo>
                        <a:pt x="128961" y="77740"/>
                        <a:pt x="155969" y="81202"/>
                        <a:pt x="191823" y="76413"/>
                      </a:cubicBezTo>
                      <a:cubicBezTo>
                        <a:pt x="196472" y="75788"/>
                        <a:pt x="204265" y="73767"/>
                        <a:pt x="204252" y="67172"/>
                      </a:cubicBezTo>
                      <a:cubicBezTo>
                        <a:pt x="204246" y="63307"/>
                        <a:pt x="201720" y="60406"/>
                        <a:pt x="200694" y="60272"/>
                      </a:cubicBezTo>
                      <a:cubicBezTo>
                        <a:pt x="199782" y="60438"/>
                        <a:pt x="198985" y="60400"/>
                        <a:pt x="196631" y="60603"/>
                      </a:cubicBezTo>
                      <a:cubicBezTo>
                        <a:pt x="184380" y="61700"/>
                        <a:pt x="155771" y="64213"/>
                        <a:pt x="144911" y="48538"/>
                      </a:cubicBezTo>
                      <a:cubicBezTo>
                        <a:pt x="110096" y="7486"/>
                        <a:pt x="81889" y="12008"/>
                        <a:pt x="69842" y="13927"/>
                      </a:cubicBezTo>
                      <a:lnTo>
                        <a:pt x="68937" y="14074"/>
                      </a:lnTo>
                      <a:cubicBezTo>
                        <a:pt x="61061" y="15305"/>
                        <a:pt x="56341" y="16408"/>
                        <a:pt x="51782" y="17473"/>
                      </a:cubicBezTo>
                      <a:cubicBezTo>
                        <a:pt x="42611" y="19616"/>
                        <a:pt x="34684" y="21466"/>
                        <a:pt x="6834" y="23455"/>
                      </a:cubicBezTo>
                      <a:cubicBezTo>
                        <a:pt x="3301" y="23800"/>
                        <a:pt x="271" y="21064"/>
                        <a:pt x="16" y="17550"/>
                      </a:cubicBezTo>
                      <a:cubicBezTo>
                        <a:pt x="-232" y="14036"/>
                        <a:pt x="2408" y="10987"/>
                        <a:pt x="5922" y="10739"/>
                      </a:cubicBezTo>
                      <a:cubicBezTo>
                        <a:pt x="32764" y="8819"/>
                        <a:pt x="40232" y="7078"/>
                        <a:pt x="48880" y="5056"/>
                      </a:cubicBezTo>
                      <a:cubicBezTo>
                        <a:pt x="53446" y="3991"/>
                        <a:pt x="58612" y="2786"/>
                        <a:pt x="66947" y="1466"/>
                      </a:cubicBezTo>
                      <a:lnTo>
                        <a:pt x="67814" y="1332"/>
                      </a:lnTo>
                      <a:cubicBezTo>
                        <a:pt x="80811" y="-728"/>
                        <a:pt x="115288" y="-6270"/>
                        <a:pt x="154853" y="40547"/>
                      </a:cubicBezTo>
                      <a:cubicBezTo>
                        <a:pt x="155006" y="40732"/>
                        <a:pt x="155153" y="40929"/>
                        <a:pt x="155287" y="41127"/>
                      </a:cubicBezTo>
                      <a:cubicBezTo>
                        <a:pt x="159591" y="47587"/>
                        <a:pt x="173124" y="49864"/>
                        <a:pt x="195503" y="47893"/>
                      </a:cubicBezTo>
                      <a:cubicBezTo>
                        <a:pt x="197020" y="47759"/>
                        <a:pt x="198232" y="47664"/>
                        <a:pt x="199048" y="47626"/>
                      </a:cubicBezTo>
                      <a:cubicBezTo>
                        <a:pt x="203755" y="47026"/>
                        <a:pt x="208602" y="49137"/>
                        <a:pt x="212122" y="53429"/>
                      </a:cubicBezTo>
                      <a:cubicBezTo>
                        <a:pt x="216969" y="59341"/>
                        <a:pt x="218340" y="67631"/>
                        <a:pt x="215617" y="74551"/>
                      </a:cubicBezTo>
                      <a:cubicBezTo>
                        <a:pt x="213818" y="79104"/>
                        <a:pt x="208563" y="87044"/>
                        <a:pt x="193500" y="89053"/>
                      </a:cubicBezTo>
                      <a:cubicBezTo>
                        <a:pt x="182359" y="90545"/>
                        <a:pt x="172015" y="91285"/>
                        <a:pt x="162506" y="91285"/>
                      </a:cubicBezTo>
                      <a:close/>
                    </a:path>
                  </a:pathLst>
                </a:custGeom>
                <a:grpFill/>
                <a:ln w="637" cap="flat">
                  <a:noFill/>
                  <a:prstDash val="solid"/>
                  <a:miter/>
                </a:ln>
              </p:spPr>
              <p:txBody>
                <a:bodyPr rtlCol="0" anchor="ctr"/>
                <a:lstStyle/>
                <a:p>
                  <a:endParaRPr lang="en-GB" dirty="0"/>
                </a:p>
              </p:txBody>
            </p:sp>
            <p:sp>
              <p:nvSpPr>
                <p:cNvPr id="1024" name="Freeform: Shape 1023">
                  <a:extLst>
                    <a:ext uri="{FF2B5EF4-FFF2-40B4-BE49-F238E27FC236}">
                      <a16:creationId xmlns:a16="http://schemas.microsoft.com/office/drawing/2014/main" id="{4FA6F6C1-86DB-40D1-90B1-6FEA41DCB97D}"/>
                    </a:ext>
                  </a:extLst>
                </p:cNvPr>
                <p:cNvSpPr/>
                <p:nvPr/>
              </p:nvSpPr>
              <p:spPr>
                <a:xfrm>
                  <a:off x="5255501" y="3552549"/>
                  <a:ext cx="87176" cy="37374"/>
                </a:xfrm>
                <a:custGeom>
                  <a:avLst/>
                  <a:gdLst>
                    <a:gd name="connsiteX0" fmla="*/ 6382 w 87176"/>
                    <a:gd name="connsiteY0" fmla="*/ 37374 h 37374"/>
                    <a:gd name="connsiteX1" fmla="*/ 541 w 87176"/>
                    <a:gd name="connsiteY1" fmla="*/ 33561 h 37374"/>
                    <a:gd name="connsiteX2" fmla="*/ 3812 w 87176"/>
                    <a:gd name="connsiteY2" fmla="*/ 25162 h 37374"/>
                    <a:gd name="connsiteX3" fmla="*/ 54283 w 87176"/>
                    <a:gd name="connsiteY3" fmla="*/ 2962 h 37374"/>
                    <a:gd name="connsiteX4" fmla="*/ 76846 w 87176"/>
                    <a:gd name="connsiteY4" fmla="*/ 1597 h 37374"/>
                    <a:gd name="connsiteX5" fmla="*/ 85998 w 87176"/>
                    <a:gd name="connsiteY5" fmla="*/ 10188 h 37374"/>
                    <a:gd name="connsiteX6" fmla="*/ 85417 w 87176"/>
                    <a:gd name="connsiteY6" fmla="*/ 23759 h 37374"/>
                    <a:gd name="connsiteX7" fmla="*/ 76954 w 87176"/>
                    <a:gd name="connsiteY7" fmla="*/ 26877 h 37374"/>
                    <a:gd name="connsiteX8" fmla="*/ 73836 w 87176"/>
                    <a:gd name="connsiteY8" fmla="*/ 18414 h 37374"/>
                    <a:gd name="connsiteX9" fmla="*/ 74257 w 87176"/>
                    <a:gd name="connsiteY9" fmla="*/ 15162 h 37374"/>
                    <a:gd name="connsiteX10" fmla="*/ 72133 w 87176"/>
                    <a:gd name="connsiteY10" fmla="*/ 13446 h 37374"/>
                    <a:gd name="connsiteX11" fmla="*/ 59410 w 87176"/>
                    <a:gd name="connsiteY11" fmla="*/ 14639 h 37374"/>
                    <a:gd name="connsiteX12" fmla="*/ 8959 w 87176"/>
                    <a:gd name="connsiteY12" fmla="*/ 36832 h 37374"/>
                    <a:gd name="connsiteX13" fmla="*/ 6382 w 87176"/>
                    <a:gd name="connsiteY13" fmla="*/ 37374 h 3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176" h="37374">
                      <a:moveTo>
                        <a:pt x="6382" y="37374"/>
                      </a:moveTo>
                      <a:cubicBezTo>
                        <a:pt x="3933" y="37374"/>
                        <a:pt x="1593" y="35952"/>
                        <a:pt x="541" y="33561"/>
                      </a:cubicBezTo>
                      <a:cubicBezTo>
                        <a:pt x="-875" y="30340"/>
                        <a:pt x="585" y="26571"/>
                        <a:pt x="3812" y="25162"/>
                      </a:cubicBezTo>
                      <a:lnTo>
                        <a:pt x="54283" y="2962"/>
                      </a:lnTo>
                      <a:cubicBezTo>
                        <a:pt x="62044" y="-431"/>
                        <a:pt x="70475" y="-941"/>
                        <a:pt x="76846" y="1597"/>
                      </a:cubicBezTo>
                      <a:cubicBezTo>
                        <a:pt x="81183" y="3326"/>
                        <a:pt x="84346" y="6291"/>
                        <a:pt x="85998" y="10188"/>
                      </a:cubicBezTo>
                      <a:cubicBezTo>
                        <a:pt x="87751" y="14333"/>
                        <a:pt x="87541" y="19148"/>
                        <a:pt x="85417" y="23759"/>
                      </a:cubicBezTo>
                      <a:cubicBezTo>
                        <a:pt x="83938" y="26960"/>
                        <a:pt x="80156" y="28357"/>
                        <a:pt x="76954" y="26877"/>
                      </a:cubicBezTo>
                      <a:cubicBezTo>
                        <a:pt x="73759" y="25404"/>
                        <a:pt x="72363" y="21616"/>
                        <a:pt x="73836" y="18414"/>
                      </a:cubicBezTo>
                      <a:cubicBezTo>
                        <a:pt x="74187" y="17655"/>
                        <a:pt x="74703" y="16227"/>
                        <a:pt x="74257" y="15162"/>
                      </a:cubicBezTo>
                      <a:cubicBezTo>
                        <a:pt x="73887" y="14301"/>
                        <a:pt x="72898" y="13752"/>
                        <a:pt x="72133" y="13446"/>
                      </a:cubicBezTo>
                      <a:cubicBezTo>
                        <a:pt x="68957" y="12177"/>
                        <a:pt x="63964" y="12649"/>
                        <a:pt x="59410" y="14639"/>
                      </a:cubicBezTo>
                      <a:lnTo>
                        <a:pt x="8959" y="36832"/>
                      </a:lnTo>
                      <a:cubicBezTo>
                        <a:pt x="8110" y="37202"/>
                        <a:pt x="7237" y="37374"/>
                        <a:pt x="6382" y="37374"/>
                      </a:cubicBezTo>
                      <a:close/>
                    </a:path>
                  </a:pathLst>
                </a:custGeom>
                <a:grpFill/>
                <a:ln w="637" cap="flat">
                  <a:noFill/>
                  <a:prstDash val="solid"/>
                  <a:miter/>
                </a:ln>
              </p:spPr>
              <p:txBody>
                <a:bodyPr rtlCol="0" anchor="ctr"/>
                <a:lstStyle/>
                <a:p>
                  <a:endParaRPr lang="en-GB" dirty="0"/>
                </a:p>
              </p:txBody>
            </p:sp>
            <p:sp>
              <p:nvSpPr>
                <p:cNvPr id="1025" name="Freeform: Shape 1024">
                  <a:extLst>
                    <a:ext uri="{FF2B5EF4-FFF2-40B4-BE49-F238E27FC236}">
                      <a16:creationId xmlns:a16="http://schemas.microsoft.com/office/drawing/2014/main" id="{49C42C82-1A2D-4E53-BF18-9787793E6773}"/>
                    </a:ext>
                  </a:extLst>
                </p:cNvPr>
                <p:cNvSpPr/>
                <p:nvPr/>
              </p:nvSpPr>
              <p:spPr>
                <a:xfrm>
                  <a:off x="5220180" y="3549330"/>
                  <a:ext cx="72137" cy="31155"/>
                </a:xfrm>
                <a:custGeom>
                  <a:avLst/>
                  <a:gdLst>
                    <a:gd name="connsiteX0" fmla="*/ 62226 w 72137"/>
                    <a:gd name="connsiteY0" fmla="*/ 31156 h 31155"/>
                    <a:gd name="connsiteX1" fmla="*/ 58233 w 72137"/>
                    <a:gd name="connsiteY1" fmla="*/ 29746 h 31155"/>
                    <a:gd name="connsiteX2" fmla="*/ 57264 w 72137"/>
                    <a:gd name="connsiteY2" fmla="*/ 20780 h 31155"/>
                    <a:gd name="connsiteX3" fmla="*/ 59190 w 72137"/>
                    <a:gd name="connsiteY3" fmla="*/ 15155 h 31155"/>
                    <a:gd name="connsiteX4" fmla="*/ 57073 w 72137"/>
                    <a:gd name="connsiteY4" fmla="*/ 13446 h 31155"/>
                    <a:gd name="connsiteX5" fmla="*/ 44331 w 72137"/>
                    <a:gd name="connsiteY5" fmla="*/ 14632 h 31155"/>
                    <a:gd name="connsiteX6" fmla="*/ 8923 w 72137"/>
                    <a:gd name="connsiteY6" fmla="*/ 30052 h 31155"/>
                    <a:gd name="connsiteX7" fmla="*/ 531 w 72137"/>
                    <a:gd name="connsiteY7" fmla="*/ 26749 h 31155"/>
                    <a:gd name="connsiteX8" fmla="*/ 3834 w 72137"/>
                    <a:gd name="connsiteY8" fmla="*/ 18356 h 31155"/>
                    <a:gd name="connsiteX9" fmla="*/ 39242 w 72137"/>
                    <a:gd name="connsiteY9" fmla="*/ 2936 h 31155"/>
                    <a:gd name="connsiteX10" fmla="*/ 61798 w 72137"/>
                    <a:gd name="connsiteY10" fmla="*/ 1596 h 31155"/>
                    <a:gd name="connsiteX11" fmla="*/ 70937 w 72137"/>
                    <a:gd name="connsiteY11" fmla="*/ 10180 h 31155"/>
                    <a:gd name="connsiteX12" fmla="*/ 67206 w 72137"/>
                    <a:gd name="connsiteY12" fmla="*/ 28777 h 31155"/>
                    <a:gd name="connsiteX13" fmla="*/ 62226 w 72137"/>
                    <a:gd name="connsiteY13" fmla="*/ 31156 h 31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2137" h="31155">
                      <a:moveTo>
                        <a:pt x="62226" y="31156"/>
                      </a:moveTo>
                      <a:cubicBezTo>
                        <a:pt x="60823" y="31156"/>
                        <a:pt x="59407" y="30696"/>
                        <a:pt x="58233" y="29746"/>
                      </a:cubicBezTo>
                      <a:cubicBezTo>
                        <a:pt x="55491" y="27533"/>
                        <a:pt x="55051" y="23522"/>
                        <a:pt x="57264" y="20780"/>
                      </a:cubicBezTo>
                      <a:cubicBezTo>
                        <a:pt x="58980" y="18650"/>
                        <a:pt x="59732" y="16437"/>
                        <a:pt x="59190" y="15155"/>
                      </a:cubicBezTo>
                      <a:cubicBezTo>
                        <a:pt x="58827" y="14294"/>
                        <a:pt x="57838" y="13752"/>
                        <a:pt x="57073" y="13446"/>
                      </a:cubicBezTo>
                      <a:cubicBezTo>
                        <a:pt x="53890" y="12183"/>
                        <a:pt x="48891" y="12642"/>
                        <a:pt x="44331" y="14632"/>
                      </a:cubicBezTo>
                      <a:lnTo>
                        <a:pt x="8923" y="30052"/>
                      </a:lnTo>
                      <a:cubicBezTo>
                        <a:pt x="5703" y="31455"/>
                        <a:pt x="1940" y="29976"/>
                        <a:pt x="531" y="26749"/>
                      </a:cubicBezTo>
                      <a:cubicBezTo>
                        <a:pt x="-872" y="23515"/>
                        <a:pt x="601" y="19759"/>
                        <a:pt x="3834" y="18356"/>
                      </a:cubicBezTo>
                      <a:lnTo>
                        <a:pt x="39242" y="2936"/>
                      </a:lnTo>
                      <a:cubicBezTo>
                        <a:pt x="46990" y="-432"/>
                        <a:pt x="55427" y="-935"/>
                        <a:pt x="61798" y="1596"/>
                      </a:cubicBezTo>
                      <a:cubicBezTo>
                        <a:pt x="66129" y="3325"/>
                        <a:pt x="69285" y="6290"/>
                        <a:pt x="70937" y="10180"/>
                      </a:cubicBezTo>
                      <a:cubicBezTo>
                        <a:pt x="73399" y="15997"/>
                        <a:pt x="72034" y="22776"/>
                        <a:pt x="67206" y="28777"/>
                      </a:cubicBezTo>
                      <a:cubicBezTo>
                        <a:pt x="65937" y="30339"/>
                        <a:pt x="64088" y="31156"/>
                        <a:pt x="62226" y="31156"/>
                      </a:cubicBezTo>
                      <a:close/>
                    </a:path>
                  </a:pathLst>
                </a:custGeom>
                <a:grpFill/>
                <a:ln w="637" cap="flat">
                  <a:noFill/>
                  <a:prstDash val="solid"/>
                  <a:miter/>
                </a:ln>
              </p:spPr>
              <p:txBody>
                <a:bodyPr rtlCol="0" anchor="ctr"/>
                <a:lstStyle/>
                <a:p>
                  <a:endParaRPr lang="en-GB" dirty="0"/>
                </a:p>
              </p:txBody>
            </p:sp>
          </p:grpSp>
          <p:grpSp>
            <p:nvGrpSpPr>
              <p:cNvPr id="1016" name="Graphic 32">
                <a:extLst>
                  <a:ext uri="{FF2B5EF4-FFF2-40B4-BE49-F238E27FC236}">
                    <a16:creationId xmlns:a16="http://schemas.microsoft.com/office/drawing/2014/main" id="{87774417-39F9-49C4-8A39-FB549C421F31}"/>
                  </a:ext>
                </a:extLst>
              </p:cNvPr>
              <p:cNvGrpSpPr/>
              <p:nvPr/>
            </p:nvGrpSpPr>
            <p:grpSpPr>
              <a:xfrm>
                <a:off x="758039" y="3269688"/>
                <a:ext cx="248722" cy="376267"/>
                <a:chOff x="5227903" y="3269688"/>
                <a:chExt cx="248721" cy="376267"/>
              </a:xfrm>
              <a:grpFill/>
            </p:grpSpPr>
            <p:sp>
              <p:nvSpPr>
                <p:cNvPr id="1018" name="Freeform: Shape 1017">
                  <a:extLst>
                    <a:ext uri="{FF2B5EF4-FFF2-40B4-BE49-F238E27FC236}">
                      <a16:creationId xmlns:a16="http://schemas.microsoft.com/office/drawing/2014/main" id="{46A55413-0C32-40DB-96C2-FE001CF78FFC}"/>
                    </a:ext>
                  </a:extLst>
                </p:cNvPr>
                <p:cNvSpPr/>
                <p:nvPr/>
              </p:nvSpPr>
              <p:spPr>
                <a:xfrm>
                  <a:off x="5278930" y="3371728"/>
                  <a:ext cx="191321" cy="274227"/>
                </a:xfrm>
                <a:custGeom>
                  <a:avLst/>
                  <a:gdLst>
                    <a:gd name="connsiteX0" fmla="*/ 159435 w 191321"/>
                    <a:gd name="connsiteY0" fmla="*/ 274228 h 274227"/>
                    <a:gd name="connsiteX1" fmla="*/ 44642 w 191321"/>
                    <a:gd name="connsiteY1" fmla="*/ 274228 h 274227"/>
                    <a:gd name="connsiteX2" fmla="*/ 38264 w 191321"/>
                    <a:gd name="connsiteY2" fmla="*/ 267850 h 274227"/>
                    <a:gd name="connsiteX3" fmla="*/ 44642 w 191321"/>
                    <a:gd name="connsiteY3" fmla="*/ 261473 h 274227"/>
                    <a:gd name="connsiteX4" fmla="*/ 159435 w 191321"/>
                    <a:gd name="connsiteY4" fmla="*/ 261473 h 274227"/>
                    <a:gd name="connsiteX5" fmla="*/ 178567 w 191321"/>
                    <a:gd name="connsiteY5" fmla="*/ 242341 h 274227"/>
                    <a:gd name="connsiteX6" fmla="*/ 178567 w 191321"/>
                    <a:gd name="connsiteY6" fmla="*/ 31887 h 274227"/>
                    <a:gd name="connsiteX7" fmla="*/ 159435 w 191321"/>
                    <a:gd name="connsiteY7" fmla="*/ 12755 h 274227"/>
                    <a:gd name="connsiteX8" fmla="*/ 31887 w 191321"/>
                    <a:gd name="connsiteY8" fmla="*/ 12755 h 274227"/>
                    <a:gd name="connsiteX9" fmla="*/ 12755 w 191321"/>
                    <a:gd name="connsiteY9" fmla="*/ 31887 h 274227"/>
                    <a:gd name="connsiteX10" fmla="*/ 12755 w 191321"/>
                    <a:gd name="connsiteY10" fmla="*/ 159435 h 274227"/>
                    <a:gd name="connsiteX11" fmla="*/ 6377 w 191321"/>
                    <a:gd name="connsiteY11" fmla="*/ 165812 h 274227"/>
                    <a:gd name="connsiteX12" fmla="*/ 0 w 191321"/>
                    <a:gd name="connsiteY12" fmla="*/ 159435 h 274227"/>
                    <a:gd name="connsiteX13" fmla="*/ 0 w 191321"/>
                    <a:gd name="connsiteY13" fmla="*/ 31887 h 274227"/>
                    <a:gd name="connsiteX14" fmla="*/ 31887 w 191321"/>
                    <a:gd name="connsiteY14" fmla="*/ 0 h 274227"/>
                    <a:gd name="connsiteX15" fmla="*/ 159435 w 191321"/>
                    <a:gd name="connsiteY15" fmla="*/ 0 h 274227"/>
                    <a:gd name="connsiteX16" fmla="*/ 191322 w 191321"/>
                    <a:gd name="connsiteY16" fmla="*/ 31887 h 274227"/>
                    <a:gd name="connsiteX17" fmla="*/ 191322 w 191321"/>
                    <a:gd name="connsiteY17" fmla="*/ 242341 h 274227"/>
                    <a:gd name="connsiteX18" fmla="*/ 159435 w 191321"/>
                    <a:gd name="connsiteY18" fmla="*/ 274228 h 274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321" h="274227">
                      <a:moveTo>
                        <a:pt x="159435" y="274228"/>
                      </a:moveTo>
                      <a:lnTo>
                        <a:pt x="44642" y="274228"/>
                      </a:lnTo>
                      <a:cubicBezTo>
                        <a:pt x="41121" y="274228"/>
                        <a:pt x="38264" y="271377"/>
                        <a:pt x="38264" y="267850"/>
                      </a:cubicBezTo>
                      <a:cubicBezTo>
                        <a:pt x="38264" y="264324"/>
                        <a:pt x="41121" y="261473"/>
                        <a:pt x="44642" y="261473"/>
                      </a:cubicBezTo>
                      <a:lnTo>
                        <a:pt x="159435" y="261473"/>
                      </a:lnTo>
                      <a:cubicBezTo>
                        <a:pt x="169983" y="261473"/>
                        <a:pt x="178567" y="252889"/>
                        <a:pt x="178567" y="242341"/>
                      </a:cubicBezTo>
                      <a:lnTo>
                        <a:pt x="178567" y="31887"/>
                      </a:lnTo>
                      <a:cubicBezTo>
                        <a:pt x="178567" y="21339"/>
                        <a:pt x="169983" y="12755"/>
                        <a:pt x="159435" y="12755"/>
                      </a:cubicBezTo>
                      <a:lnTo>
                        <a:pt x="31887" y="12755"/>
                      </a:lnTo>
                      <a:cubicBezTo>
                        <a:pt x="21339" y="12755"/>
                        <a:pt x="12755" y="21339"/>
                        <a:pt x="12755" y="31887"/>
                      </a:cubicBezTo>
                      <a:lnTo>
                        <a:pt x="12755" y="159435"/>
                      </a:lnTo>
                      <a:cubicBezTo>
                        <a:pt x="12755" y="162962"/>
                        <a:pt x="9898" y="165812"/>
                        <a:pt x="6377" y="165812"/>
                      </a:cubicBezTo>
                      <a:cubicBezTo>
                        <a:pt x="2857" y="165812"/>
                        <a:pt x="0" y="162962"/>
                        <a:pt x="0" y="159435"/>
                      </a:cubicBezTo>
                      <a:lnTo>
                        <a:pt x="0" y="31887"/>
                      </a:lnTo>
                      <a:cubicBezTo>
                        <a:pt x="0" y="14304"/>
                        <a:pt x="14304" y="0"/>
                        <a:pt x="31887" y="0"/>
                      </a:cubicBezTo>
                      <a:lnTo>
                        <a:pt x="159435" y="0"/>
                      </a:lnTo>
                      <a:cubicBezTo>
                        <a:pt x="177017" y="0"/>
                        <a:pt x="191322" y="14304"/>
                        <a:pt x="191322" y="31887"/>
                      </a:cubicBezTo>
                      <a:lnTo>
                        <a:pt x="191322" y="242341"/>
                      </a:lnTo>
                      <a:cubicBezTo>
                        <a:pt x="191322" y="259923"/>
                        <a:pt x="177011" y="274228"/>
                        <a:pt x="159435" y="274228"/>
                      </a:cubicBezTo>
                      <a:close/>
                    </a:path>
                  </a:pathLst>
                </a:custGeom>
                <a:grpFill/>
                <a:ln w="637" cap="flat">
                  <a:noFill/>
                  <a:prstDash val="solid"/>
                  <a:miter/>
                </a:ln>
              </p:spPr>
              <p:txBody>
                <a:bodyPr rtlCol="0" anchor="ctr"/>
                <a:lstStyle/>
                <a:p>
                  <a:endParaRPr lang="en-GB" dirty="0"/>
                </a:p>
              </p:txBody>
            </p:sp>
            <p:sp>
              <p:nvSpPr>
                <p:cNvPr id="1019" name="Freeform: Shape 1018">
                  <a:extLst>
                    <a:ext uri="{FF2B5EF4-FFF2-40B4-BE49-F238E27FC236}">
                      <a16:creationId xmlns:a16="http://schemas.microsoft.com/office/drawing/2014/main" id="{2CBAD8F5-8D3D-4D75-A1DC-E72E05097CD1}"/>
                    </a:ext>
                  </a:extLst>
                </p:cNvPr>
                <p:cNvSpPr/>
                <p:nvPr/>
              </p:nvSpPr>
              <p:spPr>
                <a:xfrm>
                  <a:off x="5329949" y="3333463"/>
                  <a:ext cx="89283" cy="51019"/>
                </a:xfrm>
                <a:custGeom>
                  <a:avLst/>
                  <a:gdLst>
                    <a:gd name="connsiteX0" fmla="*/ 82906 w 89283"/>
                    <a:gd name="connsiteY0" fmla="*/ 51019 h 51019"/>
                    <a:gd name="connsiteX1" fmla="*/ 6377 w 89283"/>
                    <a:gd name="connsiteY1" fmla="*/ 51019 h 51019"/>
                    <a:gd name="connsiteX2" fmla="*/ 0 w 89283"/>
                    <a:gd name="connsiteY2" fmla="*/ 44642 h 51019"/>
                    <a:gd name="connsiteX3" fmla="*/ 0 w 89283"/>
                    <a:gd name="connsiteY3" fmla="*/ 6377 h 51019"/>
                    <a:gd name="connsiteX4" fmla="*/ 6377 w 89283"/>
                    <a:gd name="connsiteY4" fmla="*/ 0 h 51019"/>
                    <a:gd name="connsiteX5" fmla="*/ 82906 w 89283"/>
                    <a:gd name="connsiteY5" fmla="*/ 0 h 51019"/>
                    <a:gd name="connsiteX6" fmla="*/ 89284 w 89283"/>
                    <a:gd name="connsiteY6" fmla="*/ 6377 h 51019"/>
                    <a:gd name="connsiteX7" fmla="*/ 89284 w 89283"/>
                    <a:gd name="connsiteY7" fmla="*/ 44642 h 51019"/>
                    <a:gd name="connsiteX8" fmla="*/ 82906 w 89283"/>
                    <a:gd name="connsiteY8" fmla="*/ 51019 h 51019"/>
                    <a:gd name="connsiteX9" fmla="*/ 12748 w 89283"/>
                    <a:gd name="connsiteY9" fmla="*/ 38264 h 51019"/>
                    <a:gd name="connsiteX10" fmla="*/ 76522 w 89283"/>
                    <a:gd name="connsiteY10" fmla="*/ 38264 h 51019"/>
                    <a:gd name="connsiteX11" fmla="*/ 76522 w 89283"/>
                    <a:gd name="connsiteY11" fmla="*/ 12755 h 51019"/>
                    <a:gd name="connsiteX12" fmla="*/ 12748 w 89283"/>
                    <a:gd name="connsiteY12" fmla="*/ 12755 h 51019"/>
                    <a:gd name="connsiteX13" fmla="*/ 12748 w 89283"/>
                    <a:gd name="connsiteY13" fmla="*/ 38264 h 51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283" h="51019">
                      <a:moveTo>
                        <a:pt x="82906" y="51019"/>
                      </a:moveTo>
                      <a:lnTo>
                        <a:pt x="6377" y="51019"/>
                      </a:lnTo>
                      <a:cubicBezTo>
                        <a:pt x="2857" y="51019"/>
                        <a:pt x="0" y="48168"/>
                        <a:pt x="0" y="44642"/>
                      </a:cubicBezTo>
                      <a:lnTo>
                        <a:pt x="0" y="6377"/>
                      </a:lnTo>
                      <a:cubicBezTo>
                        <a:pt x="0" y="2851"/>
                        <a:pt x="2857" y="0"/>
                        <a:pt x="6377" y="0"/>
                      </a:cubicBezTo>
                      <a:lnTo>
                        <a:pt x="82906" y="0"/>
                      </a:lnTo>
                      <a:cubicBezTo>
                        <a:pt x="86426" y="0"/>
                        <a:pt x="89284" y="2851"/>
                        <a:pt x="89284" y="6377"/>
                      </a:cubicBezTo>
                      <a:lnTo>
                        <a:pt x="89284" y="44642"/>
                      </a:lnTo>
                      <a:cubicBezTo>
                        <a:pt x="89284" y="48168"/>
                        <a:pt x="86426" y="51019"/>
                        <a:pt x="82906" y="51019"/>
                      </a:cubicBezTo>
                      <a:close/>
                      <a:moveTo>
                        <a:pt x="12748" y="38264"/>
                      </a:moveTo>
                      <a:lnTo>
                        <a:pt x="76522" y="38264"/>
                      </a:lnTo>
                      <a:lnTo>
                        <a:pt x="76522" y="12755"/>
                      </a:lnTo>
                      <a:lnTo>
                        <a:pt x="12748" y="12755"/>
                      </a:lnTo>
                      <a:lnTo>
                        <a:pt x="12748" y="38264"/>
                      </a:lnTo>
                      <a:close/>
                    </a:path>
                  </a:pathLst>
                </a:custGeom>
                <a:grpFill/>
                <a:ln w="637" cap="flat">
                  <a:noFill/>
                  <a:prstDash val="solid"/>
                  <a:miter/>
                </a:ln>
              </p:spPr>
              <p:txBody>
                <a:bodyPr rtlCol="0" anchor="ctr"/>
                <a:lstStyle/>
                <a:p>
                  <a:endParaRPr lang="en-GB" dirty="0"/>
                </a:p>
              </p:txBody>
            </p:sp>
            <p:sp>
              <p:nvSpPr>
                <p:cNvPr id="1020" name="Freeform: Shape 1019">
                  <a:extLst>
                    <a:ext uri="{FF2B5EF4-FFF2-40B4-BE49-F238E27FC236}">
                      <a16:creationId xmlns:a16="http://schemas.microsoft.com/office/drawing/2014/main" id="{DB3031A1-0AED-40B2-A181-E7208F0E336E}"/>
                    </a:ext>
                  </a:extLst>
                </p:cNvPr>
                <p:cNvSpPr/>
                <p:nvPr/>
              </p:nvSpPr>
              <p:spPr>
                <a:xfrm>
                  <a:off x="5349082" y="3301576"/>
                  <a:ext cx="51019" cy="44641"/>
                </a:xfrm>
                <a:custGeom>
                  <a:avLst/>
                  <a:gdLst>
                    <a:gd name="connsiteX0" fmla="*/ 44642 w 51019"/>
                    <a:gd name="connsiteY0" fmla="*/ 44642 h 44641"/>
                    <a:gd name="connsiteX1" fmla="*/ 6377 w 51019"/>
                    <a:gd name="connsiteY1" fmla="*/ 44642 h 44641"/>
                    <a:gd name="connsiteX2" fmla="*/ 0 w 51019"/>
                    <a:gd name="connsiteY2" fmla="*/ 38264 h 44641"/>
                    <a:gd name="connsiteX3" fmla="*/ 0 w 51019"/>
                    <a:gd name="connsiteY3" fmla="*/ 6377 h 44641"/>
                    <a:gd name="connsiteX4" fmla="*/ 6377 w 51019"/>
                    <a:gd name="connsiteY4" fmla="*/ 0 h 44641"/>
                    <a:gd name="connsiteX5" fmla="*/ 44642 w 51019"/>
                    <a:gd name="connsiteY5" fmla="*/ 0 h 44641"/>
                    <a:gd name="connsiteX6" fmla="*/ 51019 w 51019"/>
                    <a:gd name="connsiteY6" fmla="*/ 6377 h 44641"/>
                    <a:gd name="connsiteX7" fmla="*/ 51019 w 51019"/>
                    <a:gd name="connsiteY7" fmla="*/ 38264 h 44641"/>
                    <a:gd name="connsiteX8" fmla="*/ 44642 w 51019"/>
                    <a:gd name="connsiteY8" fmla="*/ 44642 h 44641"/>
                    <a:gd name="connsiteX9" fmla="*/ 12755 w 51019"/>
                    <a:gd name="connsiteY9" fmla="*/ 31887 h 44641"/>
                    <a:gd name="connsiteX10" fmla="*/ 38264 w 51019"/>
                    <a:gd name="connsiteY10" fmla="*/ 31887 h 44641"/>
                    <a:gd name="connsiteX11" fmla="*/ 38264 w 51019"/>
                    <a:gd name="connsiteY11" fmla="*/ 12755 h 44641"/>
                    <a:gd name="connsiteX12" fmla="*/ 12755 w 51019"/>
                    <a:gd name="connsiteY12" fmla="*/ 12755 h 44641"/>
                    <a:gd name="connsiteX13" fmla="*/ 12755 w 51019"/>
                    <a:gd name="connsiteY13" fmla="*/ 31887 h 4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019" h="44641">
                      <a:moveTo>
                        <a:pt x="44642" y="44642"/>
                      </a:moveTo>
                      <a:lnTo>
                        <a:pt x="6377" y="44642"/>
                      </a:lnTo>
                      <a:cubicBezTo>
                        <a:pt x="2857" y="44642"/>
                        <a:pt x="0" y="41791"/>
                        <a:pt x="0" y="38264"/>
                      </a:cubicBezTo>
                      <a:lnTo>
                        <a:pt x="0" y="6377"/>
                      </a:lnTo>
                      <a:cubicBezTo>
                        <a:pt x="0" y="2851"/>
                        <a:pt x="2857" y="0"/>
                        <a:pt x="6377" y="0"/>
                      </a:cubicBezTo>
                      <a:lnTo>
                        <a:pt x="44642" y="0"/>
                      </a:lnTo>
                      <a:cubicBezTo>
                        <a:pt x="48162" y="0"/>
                        <a:pt x="51019" y="2851"/>
                        <a:pt x="51019" y="6377"/>
                      </a:cubicBezTo>
                      <a:lnTo>
                        <a:pt x="51019" y="38264"/>
                      </a:lnTo>
                      <a:cubicBezTo>
                        <a:pt x="51019" y="41791"/>
                        <a:pt x="48162" y="44642"/>
                        <a:pt x="44642" y="44642"/>
                      </a:cubicBezTo>
                      <a:close/>
                      <a:moveTo>
                        <a:pt x="12755" y="31887"/>
                      </a:moveTo>
                      <a:lnTo>
                        <a:pt x="38264" y="31887"/>
                      </a:lnTo>
                      <a:lnTo>
                        <a:pt x="38264" y="12755"/>
                      </a:lnTo>
                      <a:lnTo>
                        <a:pt x="12755" y="12755"/>
                      </a:lnTo>
                      <a:lnTo>
                        <a:pt x="12755" y="31887"/>
                      </a:lnTo>
                      <a:close/>
                    </a:path>
                  </a:pathLst>
                </a:custGeom>
                <a:grpFill/>
                <a:ln w="637" cap="flat">
                  <a:noFill/>
                  <a:prstDash val="solid"/>
                  <a:miter/>
                </a:ln>
              </p:spPr>
              <p:txBody>
                <a:bodyPr rtlCol="0" anchor="ctr"/>
                <a:lstStyle/>
                <a:p>
                  <a:endParaRPr lang="en-GB" dirty="0"/>
                </a:p>
              </p:txBody>
            </p:sp>
            <p:sp>
              <p:nvSpPr>
                <p:cNvPr id="1021" name="Freeform: Shape 1020">
                  <a:extLst>
                    <a:ext uri="{FF2B5EF4-FFF2-40B4-BE49-F238E27FC236}">
                      <a16:creationId xmlns:a16="http://schemas.microsoft.com/office/drawing/2014/main" id="{25F92E2D-CFB6-4159-ABA7-BA3AA8CCFED2}"/>
                    </a:ext>
                  </a:extLst>
                </p:cNvPr>
                <p:cNvSpPr/>
                <p:nvPr/>
              </p:nvSpPr>
              <p:spPr>
                <a:xfrm>
                  <a:off x="5227903" y="3269688"/>
                  <a:ext cx="248721" cy="76530"/>
                </a:xfrm>
                <a:custGeom>
                  <a:avLst/>
                  <a:gdLst>
                    <a:gd name="connsiteX0" fmla="*/ 6379 w 248721"/>
                    <a:gd name="connsiteY0" fmla="*/ 76530 h 76530"/>
                    <a:gd name="connsiteX1" fmla="*/ 1870 w 248721"/>
                    <a:gd name="connsiteY1" fmla="*/ 74662 h 76530"/>
                    <a:gd name="connsiteX2" fmla="*/ 1870 w 248721"/>
                    <a:gd name="connsiteY2" fmla="*/ 65644 h 76530"/>
                    <a:gd name="connsiteX3" fmla="*/ 22552 w 248721"/>
                    <a:gd name="connsiteY3" fmla="*/ 44969 h 76530"/>
                    <a:gd name="connsiteX4" fmla="*/ 54120 w 248721"/>
                    <a:gd name="connsiteY4" fmla="*/ 31889 h 76530"/>
                    <a:gd name="connsiteX5" fmla="*/ 194608 w 248721"/>
                    <a:gd name="connsiteY5" fmla="*/ 31889 h 76530"/>
                    <a:gd name="connsiteX6" fmla="*/ 217152 w 248721"/>
                    <a:gd name="connsiteY6" fmla="*/ 22546 h 76530"/>
                    <a:gd name="connsiteX7" fmla="*/ 237834 w 248721"/>
                    <a:gd name="connsiteY7" fmla="*/ 1870 h 76530"/>
                    <a:gd name="connsiteX8" fmla="*/ 246851 w 248721"/>
                    <a:gd name="connsiteY8" fmla="*/ 1870 h 76530"/>
                    <a:gd name="connsiteX9" fmla="*/ 246851 w 248721"/>
                    <a:gd name="connsiteY9" fmla="*/ 10888 h 76530"/>
                    <a:gd name="connsiteX10" fmla="*/ 226170 w 248721"/>
                    <a:gd name="connsiteY10" fmla="*/ 31563 h 76530"/>
                    <a:gd name="connsiteX11" fmla="*/ 194601 w 248721"/>
                    <a:gd name="connsiteY11" fmla="*/ 44643 h 76530"/>
                    <a:gd name="connsiteX12" fmla="*/ 54120 w 248721"/>
                    <a:gd name="connsiteY12" fmla="*/ 44643 h 76530"/>
                    <a:gd name="connsiteX13" fmla="*/ 31576 w 248721"/>
                    <a:gd name="connsiteY13" fmla="*/ 53986 h 76530"/>
                    <a:gd name="connsiteX14" fmla="*/ 10894 w 248721"/>
                    <a:gd name="connsiteY14" fmla="*/ 74662 h 76530"/>
                    <a:gd name="connsiteX15" fmla="*/ 6379 w 248721"/>
                    <a:gd name="connsiteY15" fmla="*/ 76530 h 76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8721" h="76530">
                      <a:moveTo>
                        <a:pt x="6379" y="76530"/>
                      </a:moveTo>
                      <a:cubicBezTo>
                        <a:pt x="4746" y="76530"/>
                        <a:pt x="3114" y="75905"/>
                        <a:pt x="1870" y="74662"/>
                      </a:cubicBezTo>
                      <a:cubicBezTo>
                        <a:pt x="-623" y="72168"/>
                        <a:pt x="-623" y="68138"/>
                        <a:pt x="1870" y="65644"/>
                      </a:cubicBezTo>
                      <a:lnTo>
                        <a:pt x="22552" y="44969"/>
                      </a:lnTo>
                      <a:cubicBezTo>
                        <a:pt x="30977" y="36538"/>
                        <a:pt x="42188" y="31889"/>
                        <a:pt x="54120" y="31889"/>
                      </a:cubicBezTo>
                      <a:lnTo>
                        <a:pt x="194608" y="31889"/>
                      </a:lnTo>
                      <a:cubicBezTo>
                        <a:pt x="203128" y="31889"/>
                        <a:pt x="211138" y="28566"/>
                        <a:pt x="217152" y="22546"/>
                      </a:cubicBezTo>
                      <a:lnTo>
                        <a:pt x="237834" y="1870"/>
                      </a:lnTo>
                      <a:cubicBezTo>
                        <a:pt x="240327" y="-623"/>
                        <a:pt x="244358" y="-623"/>
                        <a:pt x="246851" y="1870"/>
                      </a:cubicBezTo>
                      <a:cubicBezTo>
                        <a:pt x="249345" y="4364"/>
                        <a:pt x="249345" y="8394"/>
                        <a:pt x="246851" y="10888"/>
                      </a:cubicBezTo>
                      <a:lnTo>
                        <a:pt x="226170" y="31563"/>
                      </a:lnTo>
                      <a:cubicBezTo>
                        <a:pt x="217745" y="39994"/>
                        <a:pt x="206534" y="44643"/>
                        <a:pt x="194601" y="44643"/>
                      </a:cubicBezTo>
                      <a:lnTo>
                        <a:pt x="54120" y="44643"/>
                      </a:lnTo>
                      <a:cubicBezTo>
                        <a:pt x="45600" y="44643"/>
                        <a:pt x="37590" y="47966"/>
                        <a:pt x="31576" y="53986"/>
                      </a:cubicBezTo>
                      <a:lnTo>
                        <a:pt x="10894" y="74662"/>
                      </a:lnTo>
                      <a:cubicBezTo>
                        <a:pt x="9644" y="75912"/>
                        <a:pt x="8012" y="76530"/>
                        <a:pt x="6379" y="76530"/>
                      </a:cubicBezTo>
                      <a:close/>
                    </a:path>
                  </a:pathLst>
                </a:custGeom>
                <a:grpFill/>
                <a:ln w="637" cap="flat">
                  <a:noFill/>
                  <a:prstDash val="solid"/>
                  <a:miter/>
                </a:ln>
              </p:spPr>
              <p:txBody>
                <a:bodyPr rtlCol="0" anchor="ctr"/>
                <a:lstStyle/>
                <a:p>
                  <a:endParaRPr lang="en-GB" dirty="0"/>
                </a:p>
              </p:txBody>
            </p:sp>
          </p:grpSp>
          <p:sp>
            <p:nvSpPr>
              <p:cNvPr id="1017" name="Freeform: Shape 1016">
                <a:extLst>
                  <a:ext uri="{FF2B5EF4-FFF2-40B4-BE49-F238E27FC236}">
                    <a16:creationId xmlns:a16="http://schemas.microsoft.com/office/drawing/2014/main" id="{F40CA9E8-4F0C-4E37-B5E3-A2BFD0F89A62}"/>
                  </a:ext>
                </a:extLst>
              </p:cNvPr>
              <p:cNvSpPr/>
              <p:nvPr/>
            </p:nvSpPr>
            <p:spPr>
              <a:xfrm>
                <a:off x="809066" y="3448256"/>
                <a:ext cx="191322" cy="133925"/>
              </a:xfrm>
              <a:custGeom>
                <a:avLst/>
                <a:gdLst>
                  <a:gd name="connsiteX0" fmla="*/ 184944 w 191321"/>
                  <a:gd name="connsiteY0" fmla="*/ 133925 h 133925"/>
                  <a:gd name="connsiteX1" fmla="*/ 114793 w 191321"/>
                  <a:gd name="connsiteY1" fmla="*/ 133925 h 133925"/>
                  <a:gd name="connsiteX2" fmla="*/ 108416 w 191321"/>
                  <a:gd name="connsiteY2" fmla="*/ 127548 h 133925"/>
                  <a:gd name="connsiteX3" fmla="*/ 114793 w 191321"/>
                  <a:gd name="connsiteY3" fmla="*/ 121170 h 133925"/>
                  <a:gd name="connsiteX4" fmla="*/ 178567 w 191321"/>
                  <a:gd name="connsiteY4" fmla="*/ 121170 h 133925"/>
                  <a:gd name="connsiteX5" fmla="*/ 178567 w 191321"/>
                  <a:gd name="connsiteY5" fmla="*/ 12755 h 133925"/>
                  <a:gd name="connsiteX6" fmla="*/ 6377 w 191321"/>
                  <a:gd name="connsiteY6" fmla="*/ 12755 h 133925"/>
                  <a:gd name="connsiteX7" fmla="*/ 0 w 191321"/>
                  <a:gd name="connsiteY7" fmla="*/ 6377 h 133925"/>
                  <a:gd name="connsiteX8" fmla="*/ 6377 w 191321"/>
                  <a:gd name="connsiteY8" fmla="*/ 0 h 133925"/>
                  <a:gd name="connsiteX9" fmla="*/ 184944 w 191321"/>
                  <a:gd name="connsiteY9" fmla="*/ 0 h 133925"/>
                  <a:gd name="connsiteX10" fmla="*/ 191322 w 191321"/>
                  <a:gd name="connsiteY10" fmla="*/ 6377 h 133925"/>
                  <a:gd name="connsiteX11" fmla="*/ 191322 w 191321"/>
                  <a:gd name="connsiteY11" fmla="*/ 127548 h 133925"/>
                  <a:gd name="connsiteX12" fmla="*/ 184944 w 191321"/>
                  <a:gd name="connsiteY12" fmla="*/ 133925 h 133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1321" h="133925">
                    <a:moveTo>
                      <a:pt x="184944" y="133925"/>
                    </a:moveTo>
                    <a:lnTo>
                      <a:pt x="114793" y="133925"/>
                    </a:lnTo>
                    <a:cubicBezTo>
                      <a:pt x="111273" y="133925"/>
                      <a:pt x="108416" y="131075"/>
                      <a:pt x="108416" y="127548"/>
                    </a:cubicBezTo>
                    <a:cubicBezTo>
                      <a:pt x="108416" y="124021"/>
                      <a:pt x="111273" y="121170"/>
                      <a:pt x="114793" y="121170"/>
                    </a:cubicBezTo>
                    <a:lnTo>
                      <a:pt x="178567" y="121170"/>
                    </a:lnTo>
                    <a:lnTo>
                      <a:pt x="178567" y="12755"/>
                    </a:lnTo>
                    <a:lnTo>
                      <a:pt x="6377" y="12755"/>
                    </a:lnTo>
                    <a:cubicBezTo>
                      <a:pt x="2857" y="12755"/>
                      <a:pt x="0" y="9904"/>
                      <a:pt x="0" y="6377"/>
                    </a:cubicBezTo>
                    <a:cubicBezTo>
                      <a:pt x="0" y="2851"/>
                      <a:pt x="2857" y="0"/>
                      <a:pt x="6377" y="0"/>
                    </a:cubicBezTo>
                    <a:lnTo>
                      <a:pt x="184944" y="0"/>
                    </a:lnTo>
                    <a:cubicBezTo>
                      <a:pt x="188465" y="0"/>
                      <a:pt x="191322" y="2851"/>
                      <a:pt x="191322" y="6377"/>
                    </a:cubicBezTo>
                    <a:lnTo>
                      <a:pt x="191322" y="127548"/>
                    </a:lnTo>
                    <a:cubicBezTo>
                      <a:pt x="191322" y="131075"/>
                      <a:pt x="188465" y="133925"/>
                      <a:pt x="184944" y="133925"/>
                    </a:cubicBezTo>
                    <a:close/>
                  </a:path>
                </a:pathLst>
              </a:custGeom>
              <a:grpFill/>
              <a:ln w="637" cap="flat">
                <a:noFill/>
                <a:prstDash val="solid"/>
                <a:miter/>
              </a:ln>
            </p:spPr>
            <p:txBody>
              <a:bodyPr rtlCol="0" anchor="ctr"/>
              <a:lstStyle/>
              <a:p>
                <a:endParaRPr lang="en-GB" dirty="0"/>
              </a:p>
            </p:txBody>
          </p:sp>
        </p:grpSp>
      </p:grpSp>
      <p:grpSp>
        <p:nvGrpSpPr>
          <p:cNvPr id="29" name="Group 28">
            <a:extLst>
              <a:ext uri="{FF2B5EF4-FFF2-40B4-BE49-F238E27FC236}">
                <a16:creationId xmlns:a16="http://schemas.microsoft.com/office/drawing/2014/main" id="{F3C94BD0-C497-CCC7-26EE-8EB2DCF01A91}"/>
              </a:ext>
            </a:extLst>
          </p:cNvPr>
          <p:cNvGrpSpPr/>
          <p:nvPr/>
        </p:nvGrpSpPr>
        <p:grpSpPr>
          <a:xfrm>
            <a:off x="7057258" y="2512512"/>
            <a:ext cx="484552" cy="294044"/>
            <a:chOff x="7056846" y="2512512"/>
            <a:chExt cx="484552" cy="294044"/>
          </a:xfrm>
        </p:grpSpPr>
        <p:grpSp>
          <p:nvGrpSpPr>
            <p:cNvPr id="1027" name="Graphic 32">
              <a:extLst>
                <a:ext uri="{FF2B5EF4-FFF2-40B4-BE49-F238E27FC236}">
                  <a16:creationId xmlns:a16="http://schemas.microsoft.com/office/drawing/2014/main" id="{6C66AE7A-E817-424D-B5EB-C6527F0F2145}"/>
                </a:ext>
              </a:extLst>
            </p:cNvPr>
            <p:cNvGrpSpPr/>
            <p:nvPr/>
          </p:nvGrpSpPr>
          <p:grpSpPr>
            <a:xfrm>
              <a:off x="7178367" y="2563973"/>
              <a:ext cx="242609" cy="242583"/>
              <a:chOff x="6760272" y="4195610"/>
              <a:chExt cx="242609" cy="242583"/>
            </a:xfrm>
            <a:solidFill>
              <a:schemeClr val="tx2"/>
            </a:solidFill>
          </p:grpSpPr>
          <p:grpSp>
            <p:nvGrpSpPr>
              <p:cNvPr id="1031" name="Graphic 32">
                <a:extLst>
                  <a:ext uri="{FF2B5EF4-FFF2-40B4-BE49-F238E27FC236}">
                    <a16:creationId xmlns:a16="http://schemas.microsoft.com/office/drawing/2014/main" id="{07F3C8D6-27B0-4C9D-8436-AF44B413CEA4}"/>
                  </a:ext>
                </a:extLst>
              </p:cNvPr>
              <p:cNvGrpSpPr/>
              <p:nvPr/>
            </p:nvGrpSpPr>
            <p:grpSpPr>
              <a:xfrm>
                <a:off x="6760272" y="4195610"/>
                <a:ext cx="242609" cy="242583"/>
                <a:chOff x="6760272" y="4195610"/>
                <a:chExt cx="242609" cy="242583"/>
              </a:xfrm>
              <a:grpFill/>
            </p:grpSpPr>
            <p:sp>
              <p:nvSpPr>
                <p:cNvPr id="1035" name="Freeform: Shape 1034">
                  <a:extLst>
                    <a:ext uri="{FF2B5EF4-FFF2-40B4-BE49-F238E27FC236}">
                      <a16:creationId xmlns:a16="http://schemas.microsoft.com/office/drawing/2014/main" id="{CF5D98E3-9A96-49FF-A2C5-67A5DE9C293A}"/>
                    </a:ext>
                  </a:extLst>
                </p:cNvPr>
                <p:cNvSpPr/>
                <p:nvPr/>
              </p:nvSpPr>
              <p:spPr>
                <a:xfrm>
                  <a:off x="6807050" y="4242235"/>
                  <a:ext cx="149058" cy="149058"/>
                </a:xfrm>
                <a:custGeom>
                  <a:avLst/>
                  <a:gdLst>
                    <a:gd name="connsiteX0" fmla="*/ 74533 w 149058"/>
                    <a:gd name="connsiteY0" fmla="*/ 149059 h 149058"/>
                    <a:gd name="connsiteX1" fmla="*/ 0 w 149058"/>
                    <a:gd name="connsiteY1" fmla="*/ 74526 h 149058"/>
                    <a:gd name="connsiteX2" fmla="*/ 74533 w 149058"/>
                    <a:gd name="connsiteY2" fmla="*/ 0 h 149058"/>
                    <a:gd name="connsiteX3" fmla="*/ 149059 w 149058"/>
                    <a:gd name="connsiteY3" fmla="*/ 74526 h 149058"/>
                    <a:gd name="connsiteX4" fmla="*/ 74533 w 149058"/>
                    <a:gd name="connsiteY4" fmla="*/ 149059 h 149058"/>
                    <a:gd name="connsiteX5" fmla="*/ 74533 w 149058"/>
                    <a:gd name="connsiteY5" fmla="*/ 12761 h 149058"/>
                    <a:gd name="connsiteX6" fmla="*/ 12755 w 149058"/>
                    <a:gd name="connsiteY6" fmla="*/ 74533 h 149058"/>
                    <a:gd name="connsiteX7" fmla="*/ 74533 w 149058"/>
                    <a:gd name="connsiteY7" fmla="*/ 136310 h 149058"/>
                    <a:gd name="connsiteX8" fmla="*/ 136304 w 149058"/>
                    <a:gd name="connsiteY8" fmla="*/ 74533 h 149058"/>
                    <a:gd name="connsiteX9" fmla="*/ 74533 w 149058"/>
                    <a:gd name="connsiteY9" fmla="*/ 12761 h 149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9058" h="149058">
                      <a:moveTo>
                        <a:pt x="74533" y="149059"/>
                      </a:moveTo>
                      <a:cubicBezTo>
                        <a:pt x="33437" y="149059"/>
                        <a:pt x="0" y="115629"/>
                        <a:pt x="0" y="74526"/>
                      </a:cubicBezTo>
                      <a:cubicBezTo>
                        <a:pt x="0" y="33437"/>
                        <a:pt x="33430" y="0"/>
                        <a:pt x="74533" y="0"/>
                      </a:cubicBezTo>
                      <a:cubicBezTo>
                        <a:pt x="115622" y="0"/>
                        <a:pt x="149059" y="33430"/>
                        <a:pt x="149059" y="74526"/>
                      </a:cubicBezTo>
                      <a:cubicBezTo>
                        <a:pt x="149059" y="115629"/>
                        <a:pt x="115629" y="149059"/>
                        <a:pt x="74533" y="149059"/>
                      </a:cubicBezTo>
                      <a:close/>
                      <a:moveTo>
                        <a:pt x="74533" y="12761"/>
                      </a:moveTo>
                      <a:cubicBezTo>
                        <a:pt x="40471" y="12761"/>
                        <a:pt x="12755" y="40471"/>
                        <a:pt x="12755" y="74533"/>
                      </a:cubicBezTo>
                      <a:cubicBezTo>
                        <a:pt x="12755" y="108594"/>
                        <a:pt x="40471" y="136310"/>
                        <a:pt x="74533" y="136310"/>
                      </a:cubicBezTo>
                      <a:cubicBezTo>
                        <a:pt x="108594" y="136310"/>
                        <a:pt x="136304" y="108594"/>
                        <a:pt x="136304" y="74533"/>
                      </a:cubicBezTo>
                      <a:cubicBezTo>
                        <a:pt x="136304" y="40471"/>
                        <a:pt x="108594" y="12761"/>
                        <a:pt x="74533" y="12761"/>
                      </a:cubicBezTo>
                      <a:close/>
                    </a:path>
                  </a:pathLst>
                </a:custGeom>
                <a:grpFill/>
                <a:ln w="637" cap="flat">
                  <a:noFill/>
                  <a:prstDash val="solid"/>
                  <a:miter/>
                </a:ln>
              </p:spPr>
              <p:txBody>
                <a:bodyPr rtlCol="0" anchor="ctr"/>
                <a:lstStyle/>
                <a:p>
                  <a:endParaRPr lang="en-GB" dirty="0"/>
                </a:p>
              </p:txBody>
            </p:sp>
            <p:grpSp>
              <p:nvGrpSpPr>
                <p:cNvPr id="1036" name="Graphic 32">
                  <a:extLst>
                    <a:ext uri="{FF2B5EF4-FFF2-40B4-BE49-F238E27FC236}">
                      <a16:creationId xmlns:a16="http://schemas.microsoft.com/office/drawing/2014/main" id="{ABEFDB65-7026-4E9D-AEC0-E7E5244A0888}"/>
                    </a:ext>
                  </a:extLst>
                </p:cNvPr>
                <p:cNvGrpSpPr/>
                <p:nvPr/>
              </p:nvGrpSpPr>
              <p:grpSpPr>
                <a:xfrm>
                  <a:off x="6760272" y="4295008"/>
                  <a:ext cx="59386" cy="43219"/>
                  <a:chOff x="6760272" y="4295008"/>
                  <a:chExt cx="59386" cy="43219"/>
                </a:xfrm>
                <a:grpFill/>
              </p:grpSpPr>
              <p:sp>
                <p:nvSpPr>
                  <p:cNvPr id="1068" name="Freeform: Shape 1067">
                    <a:extLst>
                      <a:ext uri="{FF2B5EF4-FFF2-40B4-BE49-F238E27FC236}">
                        <a16:creationId xmlns:a16="http://schemas.microsoft.com/office/drawing/2014/main" id="{8C6DE0EE-4B97-40CB-BB9A-1F67FB519A7F}"/>
                      </a:ext>
                    </a:extLst>
                  </p:cNvPr>
                  <p:cNvSpPr/>
                  <p:nvPr/>
                </p:nvSpPr>
                <p:spPr>
                  <a:xfrm>
                    <a:off x="6760272" y="4295008"/>
                    <a:ext cx="37869" cy="43219"/>
                  </a:xfrm>
                  <a:custGeom>
                    <a:avLst/>
                    <a:gdLst>
                      <a:gd name="connsiteX0" fmla="*/ 16320 w 37869"/>
                      <a:gd name="connsiteY0" fmla="*/ 43220 h 43219"/>
                      <a:gd name="connsiteX1" fmla="*/ 0 w 37869"/>
                      <a:gd name="connsiteY1" fmla="*/ 21677 h 43219"/>
                      <a:gd name="connsiteX2" fmla="*/ 15797 w 37869"/>
                      <a:gd name="connsiteY2" fmla="*/ 0 h 43219"/>
                      <a:gd name="connsiteX3" fmla="*/ 37869 w 37869"/>
                      <a:gd name="connsiteY3" fmla="*/ 21677 h 43219"/>
                      <a:gd name="connsiteX4" fmla="*/ 16320 w 37869"/>
                      <a:gd name="connsiteY4" fmla="*/ 43220 h 43219"/>
                      <a:gd name="connsiteX5" fmla="*/ 15797 w 37869"/>
                      <a:gd name="connsiteY5" fmla="*/ 12755 h 43219"/>
                      <a:gd name="connsiteX6" fmla="*/ 12755 w 37869"/>
                      <a:gd name="connsiteY6" fmla="*/ 21677 h 43219"/>
                      <a:gd name="connsiteX7" fmla="*/ 16320 w 37869"/>
                      <a:gd name="connsiteY7" fmla="*/ 30465 h 43219"/>
                      <a:gd name="connsiteX8" fmla="*/ 25114 w 37869"/>
                      <a:gd name="connsiteY8" fmla="*/ 21677 h 43219"/>
                      <a:gd name="connsiteX9" fmla="*/ 15797 w 37869"/>
                      <a:gd name="connsiteY9" fmla="*/ 12755 h 43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869" h="43219">
                        <a:moveTo>
                          <a:pt x="16320" y="43220"/>
                        </a:moveTo>
                        <a:cubicBezTo>
                          <a:pt x="6709" y="43220"/>
                          <a:pt x="0" y="34361"/>
                          <a:pt x="0" y="21677"/>
                        </a:cubicBezTo>
                        <a:cubicBezTo>
                          <a:pt x="0" y="8507"/>
                          <a:pt x="6199" y="0"/>
                          <a:pt x="15797" y="0"/>
                        </a:cubicBezTo>
                        <a:cubicBezTo>
                          <a:pt x="26524" y="0"/>
                          <a:pt x="37869" y="11141"/>
                          <a:pt x="37869" y="21677"/>
                        </a:cubicBezTo>
                        <a:cubicBezTo>
                          <a:pt x="37869" y="32346"/>
                          <a:pt x="26996" y="43220"/>
                          <a:pt x="16320" y="43220"/>
                        </a:cubicBezTo>
                        <a:close/>
                        <a:moveTo>
                          <a:pt x="15797" y="12755"/>
                        </a:moveTo>
                        <a:cubicBezTo>
                          <a:pt x="13979" y="12755"/>
                          <a:pt x="12755" y="17372"/>
                          <a:pt x="12755" y="21677"/>
                        </a:cubicBezTo>
                        <a:cubicBezTo>
                          <a:pt x="12755" y="25918"/>
                          <a:pt x="14190" y="30465"/>
                          <a:pt x="16320" y="30465"/>
                        </a:cubicBezTo>
                        <a:cubicBezTo>
                          <a:pt x="19662" y="30465"/>
                          <a:pt x="25114" y="25554"/>
                          <a:pt x="25114" y="21677"/>
                        </a:cubicBezTo>
                        <a:cubicBezTo>
                          <a:pt x="25114" y="17825"/>
                          <a:pt x="19253" y="12755"/>
                          <a:pt x="15797" y="12755"/>
                        </a:cubicBezTo>
                        <a:close/>
                      </a:path>
                    </a:pathLst>
                  </a:custGeom>
                  <a:grpFill/>
                  <a:ln w="637" cap="flat">
                    <a:noFill/>
                    <a:prstDash val="solid"/>
                    <a:miter/>
                  </a:ln>
                </p:spPr>
                <p:txBody>
                  <a:bodyPr rtlCol="0" anchor="ctr"/>
                  <a:lstStyle/>
                  <a:p>
                    <a:endParaRPr lang="en-GB" dirty="0"/>
                  </a:p>
                </p:txBody>
              </p:sp>
              <p:sp>
                <p:nvSpPr>
                  <p:cNvPr id="1069" name="Freeform: Shape 1068">
                    <a:extLst>
                      <a:ext uri="{FF2B5EF4-FFF2-40B4-BE49-F238E27FC236}">
                        <a16:creationId xmlns:a16="http://schemas.microsoft.com/office/drawing/2014/main" id="{B1843148-DFCA-4E8E-BB86-65234D1A5671}"/>
                      </a:ext>
                    </a:extLst>
                  </p:cNvPr>
                  <p:cNvSpPr/>
                  <p:nvPr/>
                </p:nvSpPr>
                <p:spPr>
                  <a:xfrm>
                    <a:off x="6785386" y="4310314"/>
                    <a:ext cx="34272" cy="12754"/>
                  </a:xfrm>
                  <a:custGeom>
                    <a:avLst/>
                    <a:gdLst>
                      <a:gd name="connsiteX0" fmla="*/ 27895 w 34272"/>
                      <a:gd name="connsiteY0" fmla="*/ 12755 h 12754"/>
                      <a:gd name="connsiteX1" fmla="*/ 6377 w 34272"/>
                      <a:gd name="connsiteY1" fmla="*/ 12755 h 12754"/>
                      <a:gd name="connsiteX2" fmla="*/ 0 w 34272"/>
                      <a:gd name="connsiteY2" fmla="*/ 6377 h 12754"/>
                      <a:gd name="connsiteX3" fmla="*/ 6377 w 34272"/>
                      <a:gd name="connsiteY3" fmla="*/ 0 h 12754"/>
                      <a:gd name="connsiteX4" fmla="*/ 27895 w 34272"/>
                      <a:gd name="connsiteY4" fmla="*/ 0 h 12754"/>
                      <a:gd name="connsiteX5" fmla="*/ 34272 w 34272"/>
                      <a:gd name="connsiteY5" fmla="*/ 6377 h 12754"/>
                      <a:gd name="connsiteX6" fmla="*/ 27895 w 34272"/>
                      <a:gd name="connsiteY6" fmla="*/ 12755 h 1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272" h="12754">
                        <a:moveTo>
                          <a:pt x="27895" y="12755"/>
                        </a:moveTo>
                        <a:lnTo>
                          <a:pt x="6377" y="12755"/>
                        </a:lnTo>
                        <a:cubicBezTo>
                          <a:pt x="2851" y="12755"/>
                          <a:pt x="0" y="9904"/>
                          <a:pt x="0" y="6377"/>
                        </a:cubicBezTo>
                        <a:cubicBezTo>
                          <a:pt x="0" y="2851"/>
                          <a:pt x="2851" y="0"/>
                          <a:pt x="6377" y="0"/>
                        </a:cubicBezTo>
                        <a:lnTo>
                          <a:pt x="27895" y="0"/>
                        </a:lnTo>
                        <a:cubicBezTo>
                          <a:pt x="31421" y="0"/>
                          <a:pt x="34272" y="2851"/>
                          <a:pt x="34272" y="6377"/>
                        </a:cubicBezTo>
                        <a:cubicBezTo>
                          <a:pt x="34272" y="9904"/>
                          <a:pt x="31421" y="12755"/>
                          <a:pt x="27895" y="12755"/>
                        </a:cubicBezTo>
                        <a:close/>
                      </a:path>
                    </a:pathLst>
                  </a:custGeom>
                  <a:grpFill/>
                  <a:ln w="637" cap="flat">
                    <a:noFill/>
                    <a:prstDash val="solid"/>
                    <a:miter/>
                  </a:ln>
                </p:spPr>
                <p:txBody>
                  <a:bodyPr rtlCol="0" anchor="ctr"/>
                  <a:lstStyle/>
                  <a:p>
                    <a:endParaRPr lang="en-GB" dirty="0"/>
                  </a:p>
                </p:txBody>
              </p:sp>
            </p:grpSp>
            <p:grpSp>
              <p:nvGrpSpPr>
                <p:cNvPr id="1037" name="Graphic 32">
                  <a:extLst>
                    <a:ext uri="{FF2B5EF4-FFF2-40B4-BE49-F238E27FC236}">
                      <a16:creationId xmlns:a16="http://schemas.microsoft.com/office/drawing/2014/main" id="{97FE301E-6F1C-432E-888D-EE178CC5B506}"/>
                    </a:ext>
                  </a:extLst>
                </p:cNvPr>
                <p:cNvGrpSpPr/>
                <p:nvPr/>
              </p:nvGrpSpPr>
              <p:grpSpPr>
                <a:xfrm>
                  <a:off x="6943500" y="4294944"/>
                  <a:ext cx="59380" cy="43226"/>
                  <a:chOff x="6943500" y="4294944"/>
                  <a:chExt cx="59380" cy="43226"/>
                </a:xfrm>
                <a:grpFill/>
              </p:grpSpPr>
              <p:sp>
                <p:nvSpPr>
                  <p:cNvPr id="1066" name="Freeform: Shape 1065">
                    <a:extLst>
                      <a:ext uri="{FF2B5EF4-FFF2-40B4-BE49-F238E27FC236}">
                        <a16:creationId xmlns:a16="http://schemas.microsoft.com/office/drawing/2014/main" id="{66474884-7B34-40CC-BE8C-42E1991B85E1}"/>
                      </a:ext>
                    </a:extLst>
                  </p:cNvPr>
                  <p:cNvSpPr/>
                  <p:nvPr/>
                </p:nvSpPr>
                <p:spPr>
                  <a:xfrm>
                    <a:off x="6965018" y="4294944"/>
                    <a:ext cx="37863" cy="43226"/>
                  </a:xfrm>
                  <a:custGeom>
                    <a:avLst/>
                    <a:gdLst>
                      <a:gd name="connsiteX0" fmla="*/ 21581 w 37863"/>
                      <a:gd name="connsiteY0" fmla="*/ 43220 h 43226"/>
                      <a:gd name="connsiteX1" fmla="*/ 0 w 37863"/>
                      <a:gd name="connsiteY1" fmla="*/ 21779 h 43226"/>
                      <a:gd name="connsiteX2" fmla="*/ 21958 w 37863"/>
                      <a:gd name="connsiteY2" fmla="*/ 0 h 43226"/>
                      <a:gd name="connsiteX3" fmla="*/ 21958 w 37863"/>
                      <a:gd name="connsiteY3" fmla="*/ 0 h 43226"/>
                      <a:gd name="connsiteX4" fmla="*/ 22047 w 37863"/>
                      <a:gd name="connsiteY4" fmla="*/ 0 h 43226"/>
                      <a:gd name="connsiteX5" fmla="*/ 34987 w 37863"/>
                      <a:gd name="connsiteY5" fmla="*/ 8291 h 43226"/>
                      <a:gd name="connsiteX6" fmla="*/ 37863 w 37863"/>
                      <a:gd name="connsiteY6" fmla="*/ 21600 h 43226"/>
                      <a:gd name="connsiteX7" fmla="*/ 21651 w 37863"/>
                      <a:gd name="connsiteY7" fmla="*/ 43226 h 43226"/>
                      <a:gd name="connsiteX8" fmla="*/ 21581 w 37863"/>
                      <a:gd name="connsiteY8" fmla="*/ 43220 h 43226"/>
                      <a:gd name="connsiteX9" fmla="*/ 22079 w 37863"/>
                      <a:gd name="connsiteY9" fmla="*/ 12755 h 43226"/>
                      <a:gd name="connsiteX10" fmla="*/ 22028 w 37863"/>
                      <a:gd name="connsiteY10" fmla="*/ 12755 h 43226"/>
                      <a:gd name="connsiteX11" fmla="*/ 12755 w 37863"/>
                      <a:gd name="connsiteY11" fmla="*/ 21721 h 43226"/>
                      <a:gd name="connsiteX12" fmla="*/ 21581 w 37863"/>
                      <a:gd name="connsiteY12" fmla="*/ 30465 h 43226"/>
                      <a:gd name="connsiteX13" fmla="*/ 21594 w 37863"/>
                      <a:gd name="connsiteY13" fmla="*/ 30465 h 43226"/>
                      <a:gd name="connsiteX14" fmla="*/ 25114 w 37863"/>
                      <a:gd name="connsiteY14" fmla="*/ 21651 h 43226"/>
                      <a:gd name="connsiteX15" fmla="*/ 23667 w 37863"/>
                      <a:gd name="connsiteY15" fmla="*/ 14158 h 43226"/>
                      <a:gd name="connsiteX16" fmla="*/ 22079 w 37863"/>
                      <a:gd name="connsiteY16" fmla="*/ 12755 h 43226"/>
                      <a:gd name="connsiteX17" fmla="*/ 21996 w 37863"/>
                      <a:gd name="connsiteY17" fmla="*/ 6377 h 43226"/>
                      <a:gd name="connsiteX18" fmla="*/ 22060 w 37863"/>
                      <a:gd name="connsiteY18" fmla="*/ 6377 h 43226"/>
                      <a:gd name="connsiteX19" fmla="*/ 21996 w 37863"/>
                      <a:gd name="connsiteY19" fmla="*/ 6377 h 43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7863" h="43226">
                        <a:moveTo>
                          <a:pt x="21581" y="43220"/>
                        </a:moveTo>
                        <a:cubicBezTo>
                          <a:pt x="10931" y="43220"/>
                          <a:pt x="58" y="32423"/>
                          <a:pt x="0" y="21779"/>
                        </a:cubicBezTo>
                        <a:cubicBezTo>
                          <a:pt x="-44" y="11243"/>
                          <a:pt x="11244" y="51"/>
                          <a:pt x="21958" y="0"/>
                        </a:cubicBezTo>
                        <a:lnTo>
                          <a:pt x="21958" y="0"/>
                        </a:lnTo>
                        <a:cubicBezTo>
                          <a:pt x="21989" y="0"/>
                          <a:pt x="22021" y="0"/>
                          <a:pt x="22047" y="0"/>
                        </a:cubicBezTo>
                        <a:cubicBezTo>
                          <a:pt x="27621" y="0"/>
                          <a:pt x="32219" y="2940"/>
                          <a:pt x="34987" y="8291"/>
                        </a:cubicBezTo>
                        <a:cubicBezTo>
                          <a:pt x="37333" y="12812"/>
                          <a:pt x="37844" y="18023"/>
                          <a:pt x="37863" y="21600"/>
                        </a:cubicBezTo>
                        <a:cubicBezTo>
                          <a:pt x="37920" y="34291"/>
                          <a:pt x="31249" y="43181"/>
                          <a:pt x="21651" y="43226"/>
                        </a:cubicBezTo>
                        <a:cubicBezTo>
                          <a:pt x="21632" y="43220"/>
                          <a:pt x="21607" y="43220"/>
                          <a:pt x="21581" y="43220"/>
                        </a:cubicBezTo>
                        <a:close/>
                        <a:moveTo>
                          <a:pt x="22079" y="12755"/>
                        </a:moveTo>
                        <a:cubicBezTo>
                          <a:pt x="22053" y="12755"/>
                          <a:pt x="22021" y="12755"/>
                          <a:pt x="22028" y="12755"/>
                        </a:cubicBezTo>
                        <a:cubicBezTo>
                          <a:pt x="18571" y="12768"/>
                          <a:pt x="12736" y="17869"/>
                          <a:pt x="12755" y="21721"/>
                        </a:cubicBezTo>
                        <a:cubicBezTo>
                          <a:pt x="12774" y="25586"/>
                          <a:pt x="18233" y="30465"/>
                          <a:pt x="21581" y="30465"/>
                        </a:cubicBezTo>
                        <a:cubicBezTo>
                          <a:pt x="21588" y="30465"/>
                          <a:pt x="21594" y="30465"/>
                          <a:pt x="21594" y="30465"/>
                        </a:cubicBezTo>
                        <a:cubicBezTo>
                          <a:pt x="23724" y="30452"/>
                          <a:pt x="25134" y="25899"/>
                          <a:pt x="25114" y="21651"/>
                        </a:cubicBezTo>
                        <a:cubicBezTo>
                          <a:pt x="25102" y="18628"/>
                          <a:pt x="24572" y="15905"/>
                          <a:pt x="23667" y="14158"/>
                        </a:cubicBezTo>
                        <a:cubicBezTo>
                          <a:pt x="22965" y="12806"/>
                          <a:pt x="22480" y="12755"/>
                          <a:pt x="22079" y="12755"/>
                        </a:cubicBezTo>
                        <a:close/>
                        <a:moveTo>
                          <a:pt x="21996" y="6377"/>
                        </a:moveTo>
                        <a:lnTo>
                          <a:pt x="22060" y="6377"/>
                        </a:lnTo>
                        <a:lnTo>
                          <a:pt x="21996" y="6377"/>
                        </a:lnTo>
                        <a:close/>
                      </a:path>
                    </a:pathLst>
                  </a:custGeom>
                  <a:grpFill/>
                  <a:ln w="637" cap="flat">
                    <a:noFill/>
                    <a:prstDash val="solid"/>
                    <a:miter/>
                  </a:ln>
                </p:spPr>
                <p:txBody>
                  <a:bodyPr rtlCol="0" anchor="ctr"/>
                  <a:lstStyle/>
                  <a:p>
                    <a:endParaRPr lang="en-GB" dirty="0"/>
                  </a:p>
                </p:txBody>
              </p:sp>
              <p:sp>
                <p:nvSpPr>
                  <p:cNvPr id="1067" name="Freeform: Shape 1066">
                    <a:extLst>
                      <a:ext uri="{FF2B5EF4-FFF2-40B4-BE49-F238E27FC236}">
                        <a16:creationId xmlns:a16="http://schemas.microsoft.com/office/drawing/2014/main" id="{C4950723-CA0B-4B52-98C7-F48C1492461E}"/>
                      </a:ext>
                    </a:extLst>
                  </p:cNvPr>
                  <p:cNvSpPr/>
                  <p:nvPr/>
                </p:nvSpPr>
                <p:spPr>
                  <a:xfrm>
                    <a:off x="6943500" y="4310327"/>
                    <a:ext cx="34272" cy="12856"/>
                  </a:xfrm>
                  <a:custGeom>
                    <a:avLst/>
                    <a:gdLst>
                      <a:gd name="connsiteX0" fmla="*/ 6377 w 34272"/>
                      <a:gd name="connsiteY0" fmla="*/ 12857 h 12856"/>
                      <a:gd name="connsiteX1" fmla="*/ 0 w 34272"/>
                      <a:gd name="connsiteY1" fmla="*/ 6511 h 12856"/>
                      <a:gd name="connsiteX2" fmla="*/ 6346 w 34272"/>
                      <a:gd name="connsiteY2" fmla="*/ 102 h 12856"/>
                      <a:gd name="connsiteX3" fmla="*/ 27863 w 34272"/>
                      <a:gd name="connsiteY3" fmla="*/ 0 h 12856"/>
                      <a:gd name="connsiteX4" fmla="*/ 27895 w 34272"/>
                      <a:gd name="connsiteY4" fmla="*/ 0 h 12856"/>
                      <a:gd name="connsiteX5" fmla="*/ 34272 w 34272"/>
                      <a:gd name="connsiteY5" fmla="*/ 6346 h 12856"/>
                      <a:gd name="connsiteX6" fmla="*/ 27927 w 34272"/>
                      <a:gd name="connsiteY6" fmla="*/ 12755 h 12856"/>
                      <a:gd name="connsiteX7" fmla="*/ 6409 w 34272"/>
                      <a:gd name="connsiteY7" fmla="*/ 12857 h 12856"/>
                      <a:gd name="connsiteX8" fmla="*/ 6377 w 34272"/>
                      <a:gd name="connsiteY8" fmla="*/ 12857 h 1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72" h="12856">
                        <a:moveTo>
                          <a:pt x="6377" y="12857"/>
                        </a:moveTo>
                        <a:cubicBezTo>
                          <a:pt x="2870" y="12857"/>
                          <a:pt x="19" y="10025"/>
                          <a:pt x="0" y="6511"/>
                        </a:cubicBezTo>
                        <a:cubicBezTo>
                          <a:pt x="-19" y="2985"/>
                          <a:pt x="2825" y="121"/>
                          <a:pt x="6346" y="102"/>
                        </a:cubicBezTo>
                        <a:lnTo>
                          <a:pt x="27863" y="0"/>
                        </a:lnTo>
                        <a:cubicBezTo>
                          <a:pt x="27876" y="0"/>
                          <a:pt x="27888" y="0"/>
                          <a:pt x="27895" y="0"/>
                        </a:cubicBezTo>
                        <a:cubicBezTo>
                          <a:pt x="31402" y="0"/>
                          <a:pt x="34253" y="2832"/>
                          <a:pt x="34272" y="6346"/>
                        </a:cubicBezTo>
                        <a:cubicBezTo>
                          <a:pt x="34291" y="9872"/>
                          <a:pt x="31447" y="12735"/>
                          <a:pt x="27927" y="12755"/>
                        </a:cubicBezTo>
                        <a:lnTo>
                          <a:pt x="6409" y="12857"/>
                        </a:lnTo>
                        <a:cubicBezTo>
                          <a:pt x="6397" y="12857"/>
                          <a:pt x="6384" y="12857"/>
                          <a:pt x="6377" y="12857"/>
                        </a:cubicBezTo>
                        <a:close/>
                      </a:path>
                    </a:pathLst>
                  </a:custGeom>
                  <a:grpFill/>
                  <a:ln w="637" cap="flat">
                    <a:noFill/>
                    <a:prstDash val="solid"/>
                    <a:miter/>
                  </a:ln>
                </p:spPr>
                <p:txBody>
                  <a:bodyPr rtlCol="0" anchor="ctr"/>
                  <a:lstStyle/>
                  <a:p>
                    <a:endParaRPr lang="en-GB" dirty="0"/>
                  </a:p>
                </p:txBody>
              </p:sp>
            </p:grpSp>
            <p:grpSp>
              <p:nvGrpSpPr>
                <p:cNvPr id="1038" name="Graphic 32">
                  <a:extLst>
                    <a:ext uri="{FF2B5EF4-FFF2-40B4-BE49-F238E27FC236}">
                      <a16:creationId xmlns:a16="http://schemas.microsoft.com/office/drawing/2014/main" id="{0AA93789-E0CB-4D25-A308-DA5A5823726C}"/>
                    </a:ext>
                  </a:extLst>
                </p:cNvPr>
                <p:cNvGrpSpPr/>
                <p:nvPr/>
              </p:nvGrpSpPr>
              <p:grpSpPr>
                <a:xfrm>
                  <a:off x="6787541" y="4195610"/>
                  <a:ext cx="188240" cy="79404"/>
                  <a:chOff x="6787541" y="4195610"/>
                  <a:chExt cx="188240" cy="79404"/>
                </a:xfrm>
                <a:grpFill/>
              </p:grpSpPr>
              <p:grpSp>
                <p:nvGrpSpPr>
                  <p:cNvPr id="1057" name="Graphic 32">
                    <a:extLst>
                      <a:ext uri="{FF2B5EF4-FFF2-40B4-BE49-F238E27FC236}">
                        <a16:creationId xmlns:a16="http://schemas.microsoft.com/office/drawing/2014/main" id="{DE7E5168-0DB4-47A7-894C-16448E02F67B}"/>
                      </a:ext>
                    </a:extLst>
                  </p:cNvPr>
                  <p:cNvGrpSpPr/>
                  <p:nvPr/>
                </p:nvGrpSpPr>
                <p:grpSpPr>
                  <a:xfrm>
                    <a:off x="6860040" y="4195610"/>
                    <a:ext cx="43226" cy="59386"/>
                    <a:chOff x="6860040" y="4195610"/>
                    <a:chExt cx="43226" cy="59386"/>
                  </a:xfrm>
                  <a:grpFill/>
                </p:grpSpPr>
                <p:sp>
                  <p:nvSpPr>
                    <p:cNvPr id="1064" name="Freeform: Shape 1063">
                      <a:extLst>
                        <a:ext uri="{FF2B5EF4-FFF2-40B4-BE49-F238E27FC236}">
                          <a16:creationId xmlns:a16="http://schemas.microsoft.com/office/drawing/2014/main" id="{C8D258CF-D6FB-4C80-997C-AEAB96C90F40}"/>
                        </a:ext>
                      </a:extLst>
                    </p:cNvPr>
                    <p:cNvSpPr/>
                    <p:nvPr/>
                  </p:nvSpPr>
                  <p:spPr>
                    <a:xfrm>
                      <a:off x="6860040" y="4195610"/>
                      <a:ext cx="43226" cy="37869"/>
                    </a:xfrm>
                    <a:custGeom>
                      <a:avLst/>
                      <a:gdLst>
                        <a:gd name="connsiteX0" fmla="*/ 21549 w 43226"/>
                        <a:gd name="connsiteY0" fmla="*/ 37869 h 37869"/>
                        <a:gd name="connsiteX1" fmla="*/ 0 w 43226"/>
                        <a:gd name="connsiteY1" fmla="*/ 16320 h 37869"/>
                        <a:gd name="connsiteX2" fmla="*/ 21549 w 43226"/>
                        <a:gd name="connsiteY2" fmla="*/ 0 h 37869"/>
                        <a:gd name="connsiteX3" fmla="*/ 43226 w 43226"/>
                        <a:gd name="connsiteY3" fmla="*/ 15797 h 37869"/>
                        <a:gd name="connsiteX4" fmla="*/ 21549 w 43226"/>
                        <a:gd name="connsiteY4" fmla="*/ 37869 h 37869"/>
                        <a:gd name="connsiteX5" fmla="*/ 21549 w 43226"/>
                        <a:gd name="connsiteY5" fmla="*/ 12761 h 37869"/>
                        <a:gd name="connsiteX6" fmla="*/ 12755 w 43226"/>
                        <a:gd name="connsiteY6" fmla="*/ 16326 h 37869"/>
                        <a:gd name="connsiteX7" fmla="*/ 21549 w 43226"/>
                        <a:gd name="connsiteY7" fmla="*/ 25120 h 37869"/>
                        <a:gd name="connsiteX8" fmla="*/ 30471 w 43226"/>
                        <a:gd name="connsiteY8" fmla="*/ 15803 h 37869"/>
                        <a:gd name="connsiteX9" fmla="*/ 21549 w 43226"/>
                        <a:gd name="connsiteY9" fmla="*/ 12761 h 37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26" h="37869">
                          <a:moveTo>
                            <a:pt x="21549" y="37869"/>
                          </a:moveTo>
                          <a:cubicBezTo>
                            <a:pt x="10873" y="37869"/>
                            <a:pt x="0" y="26996"/>
                            <a:pt x="0" y="16320"/>
                          </a:cubicBezTo>
                          <a:cubicBezTo>
                            <a:pt x="0" y="6709"/>
                            <a:pt x="8865" y="0"/>
                            <a:pt x="21549" y="0"/>
                          </a:cubicBezTo>
                          <a:cubicBezTo>
                            <a:pt x="34719" y="0"/>
                            <a:pt x="43226" y="6199"/>
                            <a:pt x="43226" y="15797"/>
                          </a:cubicBezTo>
                          <a:cubicBezTo>
                            <a:pt x="43232" y="26524"/>
                            <a:pt x="32091" y="37869"/>
                            <a:pt x="21549" y="37869"/>
                          </a:cubicBezTo>
                          <a:close/>
                          <a:moveTo>
                            <a:pt x="21549" y="12761"/>
                          </a:moveTo>
                          <a:cubicBezTo>
                            <a:pt x="17302" y="12761"/>
                            <a:pt x="12755" y="14196"/>
                            <a:pt x="12755" y="16326"/>
                          </a:cubicBezTo>
                          <a:cubicBezTo>
                            <a:pt x="12755" y="19668"/>
                            <a:pt x="17672" y="25120"/>
                            <a:pt x="21549" y="25120"/>
                          </a:cubicBezTo>
                          <a:cubicBezTo>
                            <a:pt x="25401" y="25120"/>
                            <a:pt x="30471" y="19260"/>
                            <a:pt x="30471" y="15803"/>
                          </a:cubicBezTo>
                          <a:cubicBezTo>
                            <a:pt x="30478" y="13979"/>
                            <a:pt x="25860" y="12761"/>
                            <a:pt x="21549" y="12761"/>
                          </a:cubicBezTo>
                          <a:close/>
                        </a:path>
                      </a:pathLst>
                    </a:custGeom>
                    <a:grpFill/>
                    <a:ln w="637" cap="flat">
                      <a:noFill/>
                      <a:prstDash val="solid"/>
                      <a:miter/>
                    </a:ln>
                  </p:spPr>
                  <p:txBody>
                    <a:bodyPr rtlCol="0" anchor="ctr"/>
                    <a:lstStyle/>
                    <a:p>
                      <a:endParaRPr lang="en-GB" dirty="0"/>
                    </a:p>
                  </p:txBody>
                </p:sp>
                <p:sp>
                  <p:nvSpPr>
                    <p:cNvPr id="1065" name="Freeform: Shape 1064">
                      <a:extLst>
                        <a:ext uri="{FF2B5EF4-FFF2-40B4-BE49-F238E27FC236}">
                          <a16:creationId xmlns:a16="http://schemas.microsoft.com/office/drawing/2014/main" id="{05E259FF-514C-4DD2-AE9A-A57DDDD072BC}"/>
                        </a:ext>
                      </a:extLst>
                    </p:cNvPr>
                    <p:cNvSpPr/>
                    <p:nvPr/>
                  </p:nvSpPr>
                  <p:spPr>
                    <a:xfrm>
                      <a:off x="6875205" y="4220724"/>
                      <a:ext cx="12754" cy="34271"/>
                    </a:xfrm>
                    <a:custGeom>
                      <a:avLst/>
                      <a:gdLst>
                        <a:gd name="connsiteX0" fmla="*/ 6377 w 12754"/>
                        <a:gd name="connsiteY0" fmla="*/ 34272 h 34271"/>
                        <a:gd name="connsiteX1" fmla="*/ 0 w 12754"/>
                        <a:gd name="connsiteY1" fmla="*/ 27895 h 34271"/>
                        <a:gd name="connsiteX2" fmla="*/ 0 w 12754"/>
                        <a:gd name="connsiteY2" fmla="*/ 6377 h 34271"/>
                        <a:gd name="connsiteX3" fmla="*/ 6377 w 12754"/>
                        <a:gd name="connsiteY3" fmla="*/ 0 h 34271"/>
                        <a:gd name="connsiteX4" fmla="*/ 12755 w 12754"/>
                        <a:gd name="connsiteY4" fmla="*/ 6377 h 34271"/>
                        <a:gd name="connsiteX5" fmla="*/ 12755 w 12754"/>
                        <a:gd name="connsiteY5" fmla="*/ 27895 h 34271"/>
                        <a:gd name="connsiteX6" fmla="*/ 6377 w 12754"/>
                        <a:gd name="connsiteY6" fmla="*/ 34272 h 34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34271">
                          <a:moveTo>
                            <a:pt x="6377" y="34272"/>
                          </a:moveTo>
                          <a:cubicBezTo>
                            <a:pt x="2851" y="34272"/>
                            <a:pt x="0" y="31421"/>
                            <a:pt x="0" y="27895"/>
                          </a:cubicBezTo>
                          <a:lnTo>
                            <a:pt x="0" y="6377"/>
                          </a:lnTo>
                          <a:cubicBezTo>
                            <a:pt x="0" y="2851"/>
                            <a:pt x="2851" y="0"/>
                            <a:pt x="6377" y="0"/>
                          </a:cubicBezTo>
                          <a:cubicBezTo>
                            <a:pt x="9904" y="0"/>
                            <a:pt x="12755" y="2851"/>
                            <a:pt x="12755" y="6377"/>
                          </a:cubicBezTo>
                          <a:lnTo>
                            <a:pt x="12755" y="27895"/>
                          </a:lnTo>
                          <a:cubicBezTo>
                            <a:pt x="12755" y="31421"/>
                            <a:pt x="9904" y="34272"/>
                            <a:pt x="6377" y="34272"/>
                          </a:cubicBezTo>
                          <a:close/>
                        </a:path>
                      </a:pathLst>
                    </a:custGeom>
                    <a:grpFill/>
                    <a:ln w="637" cap="flat">
                      <a:noFill/>
                      <a:prstDash val="solid"/>
                      <a:miter/>
                    </a:ln>
                  </p:spPr>
                  <p:txBody>
                    <a:bodyPr rtlCol="0" anchor="ctr"/>
                    <a:lstStyle/>
                    <a:p>
                      <a:endParaRPr lang="en-GB" dirty="0"/>
                    </a:p>
                  </p:txBody>
                </p:sp>
              </p:grpSp>
              <p:grpSp>
                <p:nvGrpSpPr>
                  <p:cNvPr id="1058" name="Graphic 32">
                    <a:extLst>
                      <a:ext uri="{FF2B5EF4-FFF2-40B4-BE49-F238E27FC236}">
                        <a16:creationId xmlns:a16="http://schemas.microsoft.com/office/drawing/2014/main" id="{3B2711B4-4511-48FC-9CC0-60808B3E3887}"/>
                      </a:ext>
                    </a:extLst>
                  </p:cNvPr>
                  <p:cNvGrpSpPr/>
                  <p:nvPr/>
                </p:nvGrpSpPr>
                <p:grpSpPr>
                  <a:xfrm>
                    <a:off x="6923595" y="4223220"/>
                    <a:ext cx="52187" cy="51794"/>
                    <a:chOff x="6923595" y="4223220"/>
                    <a:chExt cx="52187" cy="51794"/>
                  </a:xfrm>
                  <a:grpFill/>
                </p:grpSpPr>
                <p:sp>
                  <p:nvSpPr>
                    <p:cNvPr id="1062" name="Freeform: Shape 1061">
                      <a:extLst>
                        <a:ext uri="{FF2B5EF4-FFF2-40B4-BE49-F238E27FC236}">
                          <a16:creationId xmlns:a16="http://schemas.microsoft.com/office/drawing/2014/main" id="{0615E81D-78DD-4FF2-B165-E3AF0354A189}"/>
                        </a:ext>
                      </a:extLst>
                    </p:cNvPr>
                    <p:cNvSpPr/>
                    <p:nvPr/>
                  </p:nvSpPr>
                  <p:spPr>
                    <a:xfrm>
                      <a:off x="6935030" y="4223220"/>
                      <a:ext cx="40751" cy="40219"/>
                    </a:xfrm>
                    <a:custGeom>
                      <a:avLst/>
                      <a:gdLst>
                        <a:gd name="connsiteX0" fmla="*/ 20836 w 40751"/>
                        <a:gd name="connsiteY0" fmla="*/ 40220 h 40219"/>
                        <a:gd name="connsiteX1" fmla="*/ 5664 w 40751"/>
                        <a:gd name="connsiteY1" fmla="*/ 34722 h 40219"/>
                        <a:gd name="connsiteX2" fmla="*/ 1 w 40751"/>
                        <a:gd name="connsiteY2" fmla="*/ 19315 h 40219"/>
                        <a:gd name="connsiteX3" fmla="*/ 5664 w 40751"/>
                        <a:gd name="connsiteY3" fmla="*/ 4258 h 40219"/>
                        <a:gd name="connsiteX4" fmla="*/ 20651 w 40751"/>
                        <a:gd name="connsiteY4" fmla="*/ 673 h 40219"/>
                        <a:gd name="connsiteX5" fmla="*/ 32436 w 40751"/>
                        <a:gd name="connsiteY5" fmla="*/ 7950 h 40219"/>
                        <a:gd name="connsiteX6" fmla="*/ 36607 w 40751"/>
                        <a:gd name="connsiteY6" fmla="*/ 34448 h 40219"/>
                        <a:gd name="connsiteX7" fmla="*/ 36601 w 40751"/>
                        <a:gd name="connsiteY7" fmla="*/ 34455 h 40219"/>
                        <a:gd name="connsiteX8" fmla="*/ 20836 w 40751"/>
                        <a:gd name="connsiteY8" fmla="*/ 40220 h 40219"/>
                        <a:gd name="connsiteX9" fmla="*/ 32086 w 40751"/>
                        <a:gd name="connsiteY9" fmla="*/ 29933 h 40219"/>
                        <a:gd name="connsiteX10" fmla="*/ 32149 w 40751"/>
                        <a:gd name="connsiteY10" fmla="*/ 29933 h 40219"/>
                        <a:gd name="connsiteX11" fmla="*/ 32086 w 40751"/>
                        <a:gd name="connsiteY11" fmla="*/ 29933 h 40219"/>
                        <a:gd name="connsiteX12" fmla="*/ 15957 w 40751"/>
                        <a:gd name="connsiteY12" fmla="*/ 12752 h 40219"/>
                        <a:gd name="connsiteX13" fmla="*/ 14688 w 40751"/>
                        <a:gd name="connsiteY13" fmla="*/ 13269 h 40219"/>
                        <a:gd name="connsiteX14" fmla="*/ 14682 w 40751"/>
                        <a:gd name="connsiteY14" fmla="*/ 25698 h 40219"/>
                        <a:gd name="connsiteX15" fmla="*/ 27577 w 40751"/>
                        <a:gd name="connsiteY15" fmla="*/ 25424 h 40219"/>
                        <a:gd name="connsiteX16" fmla="*/ 23412 w 40751"/>
                        <a:gd name="connsiteY16" fmla="*/ 16961 h 40219"/>
                        <a:gd name="connsiteX17" fmla="*/ 17214 w 40751"/>
                        <a:gd name="connsiteY17" fmla="*/ 12956 h 40219"/>
                        <a:gd name="connsiteX18" fmla="*/ 15957 w 40751"/>
                        <a:gd name="connsiteY18" fmla="*/ 12752 h 40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0751" h="40219">
                          <a:moveTo>
                            <a:pt x="20836" y="40220"/>
                          </a:moveTo>
                          <a:cubicBezTo>
                            <a:pt x="15064" y="40220"/>
                            <a:pt x="9338" y="38396"/>
                            <a:pt x="5664" y="34722"/>
                          </a:cubicBezTo>
                          <a:cubicBezTo>
                            <a:pt x="2010" y="31075"/>
                            <a:pt x="-50" y="25456"/>
                            <a:pt x="1" y="19315"/>
                          </a:cubicBezTo>
                          <a:cubicBezTo>
                            <a:pt x="58" y="13288"/>
                            <a:pt x="2125" y="7791"/>
                            <a:pt x="5664" y="4258"/>
                          </a:cubicBezTo>
                          <a:cubicBezTo>
                            <a:pt x="9567" y="348"/>
                            <a:pt x="14879" y="-927"/>
                            <a:pt x="20651" y="673"/>
                          </a:cubicBezTo>
                          <a:cubicBezTo>
                            <a:pt x="24688" y="1802"/>
                            <a:pt x="28871" y="4385"/>
                            <a:pt x="32436" y="7950"/>
                          </a:cubicBezTo>
                          <a:cubicBezTo>
                            <a:pt x="41747" y="17261"/>
                            <a:pt x="43386" y="27663"/>
                            <a:pt x="36607" y="34448"/>
                          </a:cubicBezTo>
                          <a:cubicBezTo>
                            <a:pt x="36601" y="34448"/>
                            <a:pt x="36601" y="34448"/>
                            <a:pt x="36601" y="34455"/>
                          </a:cubicBezTo>
                          <a:cubicBezTo>
                            <a:pt x="32749" y="38288"/>
                            <a:pt x="26767" y="40220"/>
                            <a:pt x="20836" y="40220"/>
                          </a:cubicBezTo>
                          <a:close/>
                          <a:moveTo>
                            <a:pt x="32086" y="29933"/>
                          </a:moveTo>
                          <a:lnTo>
                            <a:pt x="32149" y="29933"/>
                          </a:lnTo>
                          <a:lnTo>
                            <a:pt x="32086" y="29933"/>
                          </a:lnTo>
                          <a:close/>
                          <a:moveTo>
                            <a:pt x="15957" y="12752"/>
                          </a:moveTo>
                          <a:cubicBezTo>
                            <a:pt x="15198" y="12752"/>
                            <a:pt x="14892" y="13059"/>
                            <a:pt x="14688" y="13269"/>
                          </a:cubicBezTo>
                          <a:cubicBezTo>
                            <a:pt x="12322" y="15628"/>
                            <a:pt x="11939" y="22956"/>
                            <a:pt x="14682" y="25698"/>
                          </a:cubicBezTo>
                          <a:cubicBezTo>
                            <a:pt x="17398" y="28422"/>
                            <a:pt x="25134" y="27860"/>
                            <a:pt x="27577" y="25424"/>
                          </a:cubicBezTo>
                          <a:cubicBezTo>
                            <a:pt x="28852" y="24136"/>
                            <a:pt x="26454" y="20003"/>
                            <a:pt x="23412" y="16961"/>
                          </a:cubicBezTo>
                          <a:cubicBezTo>
                            <a:pt x="21429" y="14978"/>
                            <a:pt x="19114" y="13486"/>
                            <a:pt x="17214" y="12956"/>
                          </a:cubicBezTo>
                          <a:cubicBezTo>
                            <a:pt x="16691" y="12810"/>
                            <a:pt x="16282" y="12752"/>
                            <a:pt x="15957" y="12752"/>
                          </a:cubicBezTo>
                          <a:close/>
                        </a:path>
                      </a:pathLst>
                    </a:custGeom>
                    <a:grpFill/>
                    <a:ln w="637" cap="flat">
                      <a:noFill/>
                      <a:prstDash val="solid"/>
                      <a:miter/>
                    </a:ln>
                  </p:spPr>
                  <p:txBody>
                    <a:bodyPr rtlCol="0" anchor="ctr"/>
                    <a:lstStyle/>
                    <a:p>
                      <a:endParaRPr lang="en-GB" dirty="0"/>
                    </a:p>
                  </p:txBody>
                </p:sp>
                <p:sp>
                  <p:nvSpPr>
                    <p:cNvPr id="1063" name="Freeform: Shape 1062">
                      <a:extLst>
                        <a:ext uri="{FF2B5EF4-FFF2-40B4-BE49-F238E27FC236}">
                          <a16:creationId xmlns:a16="http://schemas.microsoft.com/office/drawing/2014/main" id="{0D2DE6B0-BF10-4928-9861-6D4AA3AF4AB7}"/>
                        </a:ext>
                      </a:extLst>
                    </p:cNvPr>
                    <p:cNvSpPr/>
                    <p:nvPr/>
                  </p:nvSpPr>
                  <p:spPr>
                    <a:xfrm>
                      <a:off x="6923595" y="4247042"/>
                      <a:ext cx="27980" cy="27972"/>
                    </a:xfrm>
                    <a:custGeom>
                      <a:avLst/>
                      <a:gdLst>
                        <a:gd name="connsiteX0" fmla="*/ 6379 w 27980"/>
                        <a:gd name="connsiteY0" fmla="*/ 27973 h 27972"/>
                        <a:gd name="connsiteX1" fmla="*/ 1870 w 27980"/>
                        <a:gd name="connsiteY1" fmla="*/ 26104 h 27972"/>
                        <a:gd name="connsiteX2" fmla="*/ 1870 w 27980"/>
                        <a:gd name="connsiteY2" fmla="*/ 17087 h 27972"/>
                        <a:gd name="connsiteX3" fmla="*/ 17093 w 27980"/>
                        <a:gd name="connsiteY3" fmla="*/ 1870 h 27972"/>
                        <a:gd name="connsiteX4" fmla="*/ 26111 w 27980"/>
                        <a:gd name="connsiteY4" fmla="*/ 1870 h 27972"/>
                        <a:gd name="connsiteX5" fmla="*/ 26111 w 27980"/>
                        <a:gd name="connsiteY5" fmla="*/ 10888 h 27972"/>
                        <a:gd name="connsiteX6" fmla="*/ 10888 w 27980"/>
                        <a:gd name="connsiteY6" fmla="*/ 26104 h 27972"/>
                        <a:gd name="connsiteX7" fmla="*/ 6379 w 27980"/>
                        <a:gd name="connsiteY7" fmla="*/ 27973 h 2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80" h="27972">
                          <a:moveTo>
                            <a:pt x="6379" y="27973"/>
                          </a:moveTo>
                          <a:cubicBezTo>
                            <a:pt x="4746" y="27973"/>
                            <a:pt x="3114" y="27348"/>
                            <a:pt x="1870" y="26104"/>
                          </a:cubicBezTo>
                          <a:cubicBezTo>
                            <a:pt x="-623" y="23611"/>
                            <a:pt x="-623" y="19580"/>
                            <a:pt x="1870" y="17087"/>
                          </a:cubicBezTo>
                          <a:lnTo>
                            <a:pt x="17093" y="1870"/>
                          </a:lnTo>
                          <a:cubicBezTo>
                            <a:pt x="19587" y="-623"/>
                            <a:pt x="23617" y="-623"/>
                            <a:pt x="26111" y="1870"/>
                          </a:cubicBezTo>
                          <a:cubicBezTo>
                            <a:pt x="28604" y="4364"/>
                            <a:pt x="28604" y="8394"/>
                            <a:pt x="26111" y="10888"/>
                          </a:cubicBezTo>
                          <a:lnTo>
                            <a:pt x="10888" y="26104"/>
                          </a:lnTo>
                          <a:cubicBezTo>
                            <a:pt x="9644" y="27348"/>
                            <a:pt x="8012" y="27973"/>
                            <a:pt x="6379" y="27973"/>
                          </a:cubicBezTo>
                          <a:close/>
                        </a:path>
                      </a:pathLst>
                    </a:custGeom>
                    <a:grpFill/>
                    <a:ln w="637" cap="flat">
                      <a:noFill/>
                      <a:prstDash val="solid"/>
                      <a:miter/>
                    </a:ln>
                  </p:spPr>
                  <p:txBody>
                    <a:bodyPr rtlCol="0" anchor="ctr"/>
                    <a:lstStyle/>
                    <a:p>
                      <a:endParaRPr lang="en-GB" dirty="0"/>
                    </a:p>
                  </p:txBody>
                </p:sp>
              </p:grpSp>
              <p:grpSp>
                <p:nvGrpSpPr>
                  <p:cNvPr id="1059" name="Graphic 32">
                    <a:extLst>
                      <a:ext uri="{FF2B5EF4-FFF2-40B4-BE49-F238E27FC236}">
                        <a16:creationId xmlns:a16="http://schemas.microsoft.com/office/drawing/2014/main" id="{A7E8C6CE-3AA6-46C3-9A53-6C3F9CC7D45D}"/>
                      </a:ext>
                    </a:extLst>
                  </p:cNvPr>
                  <p:cNvGrpSpPr/>
                  <p:nvPr/>
                </p:nvGrpSpPr>
                <p:grpSpPr>
                  <a:xfrm>
                    <a:off x="6787541" y="4223046"/>
                    <a:ext cx="52149" cy="51816"/>
                    <a:chOff x="6787541" y="4223046"/>
                    <a:chExt cx="52149" cy="51816"/>
                  </a:xfrm>
                  <a:grpFill/>
                </p:grpSpPr>
                <p:sp>
                  <p:nvSpPr>
                    <p:cNvPr id="1060" name="Freeform: Shape 1059">
                      <a:extLst>
                        <a:ext uri="{FF2B5EF4-FFF2-40B4-BE49-F238E27FC236}">
                          <a16:creationId xmlns:a16="http://schemas.microsoft.com/office/drawing/2014/main" id="{C4E33764-55EE-4E99-A7AB-E0265901F8AA}"/>
                        </a:ext>
                      </a:extLst>
                    </p:cNvPr>
                    <p:cNvSpPr/>
                    <p:nvPr/>
                  </p:nvSpPr>
                  <p:spPr>
                    <a:xfrm>
                      <a:off x="6787541" y="4223046"/>
                      <a:ext cx="40727" cy="40260"/>
                    </a:xfrm>
                    <a:custGeom>
                      <a:avLst/>
                      <a:gdLst>
                        <a:gd name="connsiteX0" fmla="*/ 20019 w 40727"/>
                        <a:gd name="connsiteY0" fmla="*/ 40261 h 40260"/>
                        <a:gd name="connsiteX1" fmla="*/ 19317 w 40727"/>
                        <a:gd name="connsiteY1" fmla="*/ 40254 h 40260"/>
                        <a:gd name="connsiteX2" fmla="*/ 4126 w 40727"/>
                        <a:gd name="connsiteY2" fmla="*/ 34464 h 40260"/>
                        <a:gd name="connsiteX3" fmla="*/ 4126 w 40727"/>
                        <a:gd name="connsiteY3" fmla="*/ 34464 h 40260"/>
                        <a:gd name="connsiteX4" fmla="*/ 0 w 40727"/>
                        <a:gd name="connsiteY4" fmla="*/ 24553 h 40260"/>
                        <a:gd name="connsiteX5" fmla="*/ 8291 w 40727"/>
                        <a:gd name="connsiteY5" fmla="*/ 7953 h 40260"/>
                        <a:gd name="connsiteX6" fmla="*/ 20076 w 40727"/>
                        <a:gd name="connsiteY6" fmla="*/ 682 h 40260"/>
                        <a:gd name="connsiteX7" fmla="*/ 35063 w 40727"/>
                        <a:gd name="connsiteY7" fmla="*/ 4260 h 40260"/>
                        <a:gd name="connsiteX8" fmla="*/ 40726 w 40727"/>
                        <a:gd name="connsiteY8" fmla="*/ 19317 h 40260"/>
                        <a:gd name="connsiteX9" fmla="*/ 35063 w 40727"/>
                        <a:gd name="connsiteY9" fmla="*/ 34731 h 40260"/>
                        <a:gd name="connsiteX10" fmla="*/ 20019 w 40727"/>
                        <a:gd name="connsiteY10" fmla="*/ 40261 h 40260"/>
                        <a:gd name="connsiteX11" fmla="*/ 24763 w 40727"/>
                        <a:gd name="connsiteY11" fmla="*/ 12774 h 40260"/>
                        <a:gd name="connsiteX12" fmla="*/ 23501 w 40727"/>
                        <a:gd name="connsiteY12" fmla="*/ 12972 h 40260"/>
                        <a:gd name="connsiteX13" fmla="*/ 17308 w 40727"/>
                        <a:gd name="connsiteY13" fmla="*/ 16983 h 40260"/>
                        <a:gd name="connsiteX14" fmla="*/ 12748 w 40727"/>
                        <a:gd name="connsiteY14" fmla="*/ 24559 h 40260"/>
                        <a:gd name="connsiteX15" fmla="*/ 13144 w 40727"/>
                        <a:gd name="connsiteY15" fmla="*/ 25439 h 40260"/>
                        <a:gd name="connsiteX16" fmla="*/ 13144 w 40727"/>
                        <a:gd name="connsiteY16" fmla="*/ 25446 h 40260"/>
                        <a:gd name="connsiteX17" fmla="*/ 19642 w 40727"/>
                        <a:gd name="connsiteY17" fmla="*/ 27506 h 40260"/>
                        <a:gd name="connsiteX18" fmla="*/ 26033 w 40727"/>
                        <a:gd name="connsiteY18" fmla="*/ 25720 h 40260"/>
                        <a:gd name="connsiteX19" fmla="*/ 27965 w 40727"/>
                        <a:gd name="connsiteY19" fmla="*/ 19451 h 40260"/>
                        <a:gd name="connsiteX20" fmla="*/ 26039 w 40727"/>
                        <a:gd name="connsiteY20" fmla="*/ 13291 h 40260"/>
                        <a:gd name="connsiteX21" fmla="*/ 24763 w 40727"/>
                        <a:gd name="connsiteY21" fmla="*/ 12774 h 40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727" h="40260">
                          <a:moveTo>
                            <a:pt x="20019" y="40261"/>
                          </a:moveTo>
                          <a:cubicBezTo>
                            <a:pt x="19783" y="40261"/>
                            <a:pt x="19553" y="40261"/>
                            <a:pt x="19317" y="40254"/>
                          </a:cubicBezTo>
                          <a:cubicBezTo>
                            <a:pt x="13189" y="40101"/>
                            <a:pt x="7659" y="37990"/>
                            <a:pt x="4126" y="34464"/>
                          </a:cubicBezTo>
                          <a:lnTo>
                            <a:pt x="4126" y="34464"/>
                          </a:lnTo>
                          <a:cubicBezTo>
                            <a:pt x="1422" y="31759"/>
                            <a:pt x="0" y="28335"/>
                            <a:pt x="0" y="24553"/>
                          </a:cubicBezTo>
                          <a:cubicBezTo>
                            <a:pt x="0" y="17321"/>
                            <a:pt x="5191" y="11052"/>
                            <a:pt x="8291" y="7953"/>
                          </a:cubicBezTo>
                          <a:cubicBezTo>
                            <a:pt x="11849" y="4394"/>
                            <a:pt x="16039" y="1811"/>
                            <a:pt x="20076" y="682"/>
                          </a:cubicBezTo>
                          <a:cubicBezTo>
                            <a:pt x="25835" y="-931"/>
                            <a:pt x="31141" y="338"/>
                            <a:pt x="35063" y="4260"/>
                          </a:cubicBezTo>
                          <a:cubicBezTo>
                            <a:pt x="38602" y="7800"/>
                            <a:pt x="40669" y="13291"/>
                            <a:pt x="40726" y="19317"/>
                          </a:cubicBezTo>
                          <a:cubicBezTo>
                            <a:pt x="40784" y="25459"/>
                            <a:pt x="38724" y="31077"/>
                            <a:pt x="35063" y="34731"/>
                          </a:cubicBezTo>
                          <a:cubicBezTo>
                            <a:pt x="31524" y="38264"/>
                            <a:pt x="26071" y="40261"/>
                            <a:pt x="20019" y="40261"/>
                          </a:cubicBezTo>
                          <a:close/>
                          <a:moveTo>
                            <a:pt x="24763" y="12774"/>
                          </a:moveTo>
                          <a:cubicBezTo>
                            <a:pt x="24432" y="12774"/>
                            <a:pt x="24024" y="12831"/>
                            <a:pt x="23501" y="12972"/>
                          </a:cubicBezTo>
                          <a:cubicBezTo>
                            <a:pt x="21594" y="13507"/>
                            <a:pt x="19285" y="15000"/>
                            <a:pt x="17308" y="16983"/>
                          </a:cubicBezTo>
                          <a:cubicBezTo>
                            <a:pt x="14158" y="20127"/>
                            <a:pt x="12748" y="23048"/>
                            <a:pt x="12748" y="24559"/>
                          </a:cubicBezTo>
                          <a:cubicBezTo>
                            <a:pt x="12748" y="24904"/>
                            <a:pt x="12799" y="25101"/>
                            <a:pt x="13144" y="25439"/>
                          </a:cubicBezTo>
                          <a:cubicBezTo>
                            <a:pt x="13144" y="25446"/>
                            <a:pt x="13144" y="25446"/>
                            <a:pt x="13144" y="25446"/>
                          </a:cubicBezTo>
                          <a:cubicBezTo>
                            <a:pt x="14081" y="26383"/>
                            <a:pt x="16511" y="27436"/>
                            <a:pt x="19642" y="27506"/>
                          </a:cubicBezTo>
                          <a:cubicBezTo>
                            <a:pt x="22480" y="27633"/>
                            <a:pt x="24885" y="26868"/>
                            <a:pt x="26033" y="25720"/>
                          </a:cubicBezTo>
                          <a:cubicBezTo>
                            <a:pt x="27232" y="24521"/>
                            <a:pt x="27990" y="22066"/>
                            <a:pt x="27965" y="19451"/>
                          </a:cubicBezTo>
                          <a:cubicBezTo>
                            <a:pt x="27939" y="16498"/>
                            <a:pt x="26983" y="14234"/>
                            <a:pt x="26039" y="13291"/>
                          </a:cubicBezTo>
                          <a:cubicBezTo>
                            <a:pt x="25828" y="13074"/>
                            <a:pt x="25516" y="12774"/>
                            <a:pt x="24763" y="12774"/>
                          </a:cubicBezTo>
                          <a:close/>
                        </a:path>
                      </a:pathLst>
                    </a:custGeom>
                    <a:grpFill/>
                    <a:ln w="637" cap="flat">
                      <a:noFill/>
                      <a:prstDash val="solid"/>
                      <a:miter/>
                    </a:ln>
                  </p:spPr>
                  <p:txBody>
                    <a:bodyPr rtlCol="0" anchor="ctr"/>
                    <a:lstStyle/>
                    <a:p>
                      <a:endParaRPr lang="en-GB" dirty="0"/>
                    </a:p>
                  </p:txBody>
                </p:sp>
                <p:sp>
                  <p:nvSpPr>
                    <p:cNvPr id="1061" name="Freeform: Shape 1060">
                      <a:extLst>
                        <a:ext uri="{FF2B5EF4-FFF2-40B4-BE49-F238E27FC236}">
                          <a16:creationId xmlns:a16="http://schemas.microsoft.com/office/drawing/2014/main" id="{46761C97-1B61-448F-8E2F-573F15B734AD}"/>
                        </a:ext>
                      </a:extLst>
                    </p:cNvPr>
                    <p:cNvSpPr/>
                    <p:nvPr/>
                  </p:nvSpPr>
                  <p:spPr>
                    <a:xfrm>
                      <a:off x="6811710" y="4246883"/>
                      <a:ext cx="27980" cy="27979"/>
                    </a:xfrm>
                    <a:custGeom>
                      <a:avLst/>
                      <a:gdLst>
                        <a:gd name="connsiteX0" fmla="*/ 21602 w 27980"/>
                        <a:gd name="connsiteY0" fmla="*/ 27979 h 27979"/>
                        <a:gd name="connsiteX1" fmla="*/ 17093 w 27980"/>
                        <a:gd name="connsiteY1" fmla="*/ 26111 h 27979"/>
                        <a:gd name="connsiteX2" fmla="*/ 1870 w 27980"/>
                        <a:gd name="connsiteY2" fmla="*/ 10888 h 27979"/>
                        <a:gd name="connsiteX3" fmla="*/ 1870 w 27980"/>
                        <a:gd name="connsiteY3" fmla="*/ 1870 h 27979"/>
                        <a:gd name="connsiteX4" fmla="*/ 10888 w 27980"/>
                        <a:gd name="connsiteY4" fmla="*/ 1870 h 27979"/>
                        <a:gd name="connsiteX5" fmla="*/ 26111 w 27980"/>
                        <a:gd name="connsiteY5" fmla="*/ 17093 h 27979"/>
                        <a:gd name="connsiteX6" fmla="*/ 26111 w 27980"/>
                        <a:gd name="connsiteY6" fmla="*/ 26111 h 27979"/>
                        <a:gd name="connsiteX7" fmla="*/ 21602 w 27980"/>
                        <a:gd name="connsiteY7" fmla="*/ 27979 h 27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80" h="27979">
                          <a:moveTo>
                            <a:pt x="21602" y="27979"/>
                          </a:moveTo>
                          <a:cubicBezTo>
                            <a:pt x="19969" y="27979"/>
                            <a:pt x="18337" y="27354"/>
                            <a:pt x="17093" y="26111"/>
                          </a:cubicBezTo>
                          <a:lnTo>
                            <a:pt x="1870" y="10888"/>
                          </a:lnTo>
                          <a:cubicBezTo>
                            <a:pt x="-623" y="8394"/>
                            <a:pt x="-623" y="4364"/>
                            <a:pt x="1870" y="1870"/>
                          </a:cubicBezTo>
                          <a:cubicBezTo>
                            <a:pt x="4364" y="-623"/>
                            <a:pt x="8394" y="-623"/>
                            <a:pt x="10888" y="1870"/>
                          </a:cubicBezTo>
                          <a:lnTo>
                            <a:pt x="26111" y="17093"/>
                          </a:lnTo>
                          <a:cubicBezTo>
                            <a:pt x="28604" y="19587"/>
                            <a:pt x="28604" y="23617"/>
                            <a:pt x="26111" y="26111"/>
                          </a:cubicBezTo>
                          <a:cubicBezTo>
                            <a:pt x="24867" y="27354"/>
                            <a:pt x="23234" y="27979"/>
                            <a:pt x="21602" y="27979"/>
                          </a:cubicBezTo>
                          <a:close/>
                        </a:path>
                      </a:pathLst>
                    </a:custGeom>
                    <a:grpFill/>
                    <a:ln w="637" cap="flat">
                      <a:noFill/>
                      <a:prstDash val="solid"/>
                      <a:miter/>
                    </a:ln>
                  </p:spPr>
                  <p:txBody>
                    <a:bodyPr rtlCol="0" anchor="ctr"/>
                    <a:lstStyle/>
                    <a:p>
                      <a:endParaRPr lang="en-GB" dirty="0"/>
                    </a:p>
                  </p:txBody>
                </p:sp>
              </p:grpSp>
            </p:grpSp>
            <p:grpSp>
              <p:nvGrpSpPr>
                <p:cNvPr id="1039" name="Graphic 32">
                  <a:extLst>
                    <a:ext uri="{FF2B5EF4-FFF2-40B4-BE49-F238E27FC236}">
                      <a16:creationId xmlns:a16="http://schemas.microsoft.com/office/drawing/2014/main" id="{4B111860-0EA3-44B5-B5FC-A840F9006B54}"/>
                    </a:ext>
                  </a:extLst>
                </p:cNvPr>
                <p:cNvGrpSpPr/>
                <p:nvPr/>
              </p:nvGrpSpPr>
              <p:grpSpPr>
                <a:xfrm>
                  <a:off x="6787524" y="4358793"/>
                  <a:ext cx="188253" cy="79400"/>
                  <a:chOff x="6787524" y="4358793"/>
                  <a:chExt cx="188253" cy="79400"/>
                </a:xfrm>
                <a:grpFill/>
              </p:grpSpPr>
              <p:grpSp>
                <p:nvGrpSpPr>
                  <p:cNvPr id="1048" name="Graphic 32">
                    <a:extLst>
                      <a:ext uri="{FF2B5EF4-FFF2-40B4-BE49-F238E27FC236}">
                        <a16:creationId xmlns:a16="http://schemas.microsoft.com/office/drawing/2014/main" id="{979AEB13-AB2F-4EED-A13A-8ADBE9716BFE}"/>
                      </a:ext>
                    </a:extLst>
                  </p:cNvPr>
                  <p:cNvGrpSpPr/>
                  <p:nvPr/>
                </p:nvGrpSpPr>
                <p:grpSpPr>
                  <a:xfrm>
                    <a:off x="6860040" y="4378807"/>
                    <a:ext cx="43226" cy="59386"/>
                    <a:chOff x="6860040" y="4378807"/>
                    <a:chExt cx="43226" cy="59386"/>
                  </a:xfrm>
                  <a:grpFill/>
                </p:grpSpPr>
                <p:sp>
                  <p:nvSpPr>
                    <p:cNvPr id="1055" name="Freeform: Shape 1054">
                      <a:extLst>
                        <a:ext uri="{FF2B5EF4-FFF2-40B4-BE49-F238E27FC236}">
                          <a16:creationId xmlns:a16="http://schemas.microsoft.com/office/drawing/2014/main" id="{86B6F765-DC5B-4AF2-92EC-D3C898DA14E7}"/>
                        </a:ext>
                      </a:extLst>
                    </p:cNvPr>
                    <p:cNvSpPr/>
                    <p:nvPr/>
                  </p:nvSpPr>
                  <p:spPr>
                    <a:xfrm>
                      <a:off x="6860040" y="4400331"/>
                      <a:ext cx="43226" cy="37862"/>
                    </a:xfrm>
                    <a:custGeom>
                      <a:avLst/>
                      <a:gdLst>
                        <a:gd name="connsiteX0" fmla="*/ 21549 w 43226"/>
                        <a:gd name="connsiteY0" fmla="*/ 37863 h 37862"/>
                        <a:gd name="connsiteX1" fmla="*/ 0 w 43226"/>
                        <a:gd name="connsiteY1" fmla="*/ 21543 h 37862"/>
                        <a:gd name="connsiteX2" fmla="*/ 21549 w 43226"/>
                        <a:gd name="connsiteY2" fmla="*/ 0 h 37862"/>
                        <a:gd name="connsiteX3" fmla="*/ 43226 w 43226"/>
                        <a:gd name="connsiteY3" fmla="*/ 22066 h 37862"/>
                        <a:gd name="connsiteX4" fmla="*/ 21549 w 43226"/>
                        <a:gd name="connsiteY4" fmla="*/ 37863 h 37862"/>
                        <a:gd name="connsiteX5" fmla="*/ 21549 w 43226"/>
                        <a:gd name="connsiteY5" fmla="*/ 12755 h 37862"/>
                        <a:gd name="connsiteX6" fmla="*/ 12755 w 43226"/>
                        <a:gd name="connsiteY6" fmla="*/ 21543 h 37862"/>
                        <a:gd name="connsiteX7" fmla="*/ 21549 w 43226"/>
                        <a:gd name="connsiteY7" fmla="*/ 25108 h 37862"/>
                        <a:gd name="connsiteX8" fmla="*/ 30471 w 43226"/>
                        <a:gd name="connsiteY8" fmla="*/ 22066 h 37862"/>
                        <a:gd name="connsiteX9" fmla="*/ 21549 w 43226"/>
                        <a:gd name="connsiteY9" fmla="*/ 12755 h 37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226" h="37862">
                          <a:moveTo>
                            <a:pt x="21549" y="37863"/>
                          </a:moveTo>
                          <a:cubicBezTo>
                            <a:pt x="8865" y="37863"/>
                            <a:pt x="0" y="31154"/>
                            <a:pt x="0" y="21543"/>
                          </a:cubicBezTo>
                          <a:cubicBezTo>
                            <a:pt x="0" y="10874"/>
                            <a:pt x="10873" y="0"/>
                            <a:pt x="21549" y="0"/>
                          </a:cubicBezTo>
                          <a:cubicBezTo>
                            <a:pt x="32085" y="0"/>
                            <a:pt x="43226" y="11339"/>
                            <a:pt x="43226" y="22066"/>
                          </a:cubicBezTo>
                          <a:cubicBezTo>
                            <a:pt x="43232" y="31664"/>
                            <a:pt x="34725" y="37863"/>
                            <a:pt x="21549" y="37863"/>
                          </a:cubicBezTo>
                          <a:close/>
                          <a:moveTo>
                            <a:pt x="21549" y="12755"/>
                          </a:moveTo>
                          <a:cubicBezTo>
                            <a:pt x="17672" y="12755"/>
                            <a:pt x="12755" y="18201"/>
                            <a:pt x="12755" y="21543"/>
                          </a:cubicBezTo>
                          <a:cubicBezTo>
                            <a:pt x="12755" y="23673"/>
                            <a:pt x="17302" y="25108"/>
                            <a:pt x="21549" y="25108"/>
                          </a:cubicBezTo>
                          <a:cubicBezTo>
                            <a:pt x="25860" y="25108"/>
                            <a:pt x="30471" y="23890"/>
                            <a:pt x="30471" y="22066"/>
                          </a:cubicBezTo>
                          <a:cubicBezTo>
                            <a:pt x="30478" y="18609"/>
                            <a:pt x="25407" y="12755"/>
                            <a:pt x="21549" y="12755"/>
                          </a:cubicBezTo>
                          <a:close/>
                        </a:path>
                      </a:pathLst>
                    </a:custGeom>
                    <a:grpFill/>
                    <a:ln w="637" cap="flat">
                      <a:noFill/>
                      <a:prstDash val="solid"/>
                      <a:miter/>
                    </a:ln>
                  </p:spPr>
                  <p:txBody>
                    <a:bodyPr rtlCol="0" anchor="ctr"/>
                    <a:lstStyle/>
                    <a:p>
                      <a:endParaRPr lang="en-GB" dirty="0"/>
                    </a:p>
                  </p:txBody>
                </p:sp>
                <p:sp>
                  <p:nvSpPr>
                    <p:cNvPr id="1056" name="Freeform: Shape 1055">
                      <a:extLst>
                        <a:ext uri="{FF2B5EF4-FFF2-40B4-BE49-F238E27FC236}">
                          <a16:creationId xmlns:a16="http://schemas.microsoft.com/office/drawing/2014/main" id="{2E02E9D4-161F-4211-9DC8-631784B63B5D}"/>
                        </a:ext>
                      </a:extLst>
                    </p:cNvPr>
                    <p:cNvSpPr/>
                    <p:nvPr/>
                  </p:nvSpPr>
                  <p:spPr>
                    <a:xfrm>
                      <a:off x="6875205" y="4378807"/>
                      <a:ext cx="12754" cy="34278"/>
                    </a:xfrm>
                    <a:custGeom>
                      <a:avLst/>
                      <a:gdLst>
                        <a:gd name="connsiteX0" fmla="*/ 6377 w 12754"/>
                        <a:gd name="connsiteY0" fmla="*/ 34278 h 34278"/>
                        <a:gd name="connsiteX1" fmla="*/ 0 w 12754"/>
                        <a:gd name="connsiteY1" fmla="*/ 27901 h 34278"/>
                        <a:gd name="connsiteX2" fmla="*/ 0 w 12754"/>
                        <a:gd name="connsiteY2" fmla="*/ 6377 h 34278"/>
                        <a:gd name="connsiteX3" fmla="*/ 6377 w 12754"/>
                        <a:gd name="connsiteY3" fmla="*/ 0 h 34278"/>
                        <a:gd name="connsiteX4" fmla="*/ 12755 w 12754"/>
                        <a:gd name="connsiteY4" fmla="*/ 6377 h 34278"/>
                        <a:gd name="connsiteX5" fmla="*/ 12755 w 12754"/>
                        <a:gd name="connsiteY5" fmla="*/ 27901 h 34278"/>
                        <a:gd name="connsiteX6" fmla="*/ 6377 w 12754"/>
                        <a:gd name="connsiteY6" fmla="*/ 34278 h 3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34278">
                          <a:moveTo>
                            <a:pt x="6377" y="34278"/>
                          </a:moveTo>
                          <a:cubicBezTo>
                            <a:pt x="2851" y="34278"/>
                            <a:pt x="0" y="31428"/>
                            <a:pt x="0" y="27901"/>
                          </a:cubicBezTo>
                          <a:lnTo>
                            <a:pt x="0" y="6377"/>
                          </a:lnTo>
                          <a:cubicBezTo>
                            <a:pt x="0" y="2851"/>
                            <a:pt x="2851" y="0"/>
                            <a:pt x="6377" y="0"/>
                          </a:cubicBezTo>
                          <a:cubicBezTo>
                            <a:pt x="9904" y="0"/>
                            <a:pt x="12755" y="2851"/>
                            <a:pt x="12755" y="6377"/>
                          </a:cubicBezTo>
                          <a:lnTo>
                            <a:pt x="12755" y="27901"/>
                          </a:lnTo>
                          <a:cubicBezTo>
                            <a:pt x="12755" y="31428"/>
                            <a:pt x="9904" y="34278"/>
                            <a:pt x="6377" y="34278"/>
                          </a:cubicBezTo>
                          <a:close/>
                        </a:path>
                      </a:pathLst>
                    </a:custGeom>
                    <a:grpFill/>
                    <a:ln w="637" cap="flat">
                      <a:noFill/>
                      <a:prstDash val="solid"/>
                      <a:miter/>
                    </a:ln>
                  </p:spPr>
                  <p:txBody>
                    <a:bodyPr rtlCol="0" anchor="ctr"/>
                    <a:lstStyle/>
                    <a:p>
                      <a:endParaRPr lang="en-GB" dirty="0"/>
                    </a:p>
                  </p:txBody>
                </p:sp>
              </p:grpSp>
              <p:grpSp>
                <p:nvGrpSpPr>
                  <p:cNvPr id="1049" name="Graphic 32">
                    <a:extLst>
                      <a:ext uri="{FF2B5EF4-FFF2-40B4-BE49-F238E27FC236}">
                        <a16:creationId xmlns:a16="http://schemas.microsoft.com/office/drawing/2014/main" id="{9F8D2E90-B383-45E4-AA42-B46D15E0EA13}"/>
                      </a:ext>
                    </a:extLst>
                  </p:cNvPr>
                  <p:cNvGrpSpPr/>
                  <p:nvPr/>
                </p:nvGrpSpPr>
                <p:grpSpPr>
                  <a:xfrm>
                    <a:off x="6923595" y="4358793"/>
                    <a:ext cx="52182" cy="51773"/>
                    <a:chOff x="6923595" y="4358793"/>
                    <a:chExt cx="52182" cy="51773"/>
                  </a:xfrm>
                  <a:grpFill/>
                </p:grpSpPr>
                <p:sp>
                  <p:nvSpPr>
                    <p:cNvPr id="1053" name="Freeform: Shape 1052">
                      <a:extLst>
                        <a:ext uri="{FF2B5EF4-FFF2-40B4-BE49-F238E27FC236}">
                          <a16:creationId xmlns:a16="http://schemas.microsoft.com/office/drawing/2014/main" id="{67A8DDB3-7ADE-42B0-94CA-8ABA49DBA105}"/>
                        </a:ext>
                      </a:extLst>
                    </p:cNvPr>
                    <p:cNvSpPr/>
                    <p:nvPr/>
                  </p:nvSpPr>
                  <p:spPr>
                    <a:xfrm>
                      <a:off x="6935035" y="4370382"/>
                      <a:ext cx="40742" cy="40184"/>
                    </a:xfrm>
                    <a:custGeom>
                      <a:avLst/>
                      <a:gdLst>
                        <a:gd name="connsiteX0" fmla="*/ 15914 w 40742"/>
                        <a:gd name="connsiteY0" fmla="*/ 40184 h 40184"/>
                        <a:gd name="connsiteX1" fmla="*/ 5659 w 40742"/>
                        <a:gd name="connsiteY1" fmla="*/ 35963 h 40184"/>
                        <a:gd name="connsiteX2" fmla="*/ 5653 w 40742"/>
                        <a:gd name="connsiteY2" fmla="*/ 5491 h 40184"/>
                        <a:gd name="connsiteX3" fmla="*/ 36596 w 40742"/>
                        <a:gd name="connsiteY3" fmla="*/ 5766 h 40184"/>
                        <a:gd name="connsiteX4" fmla="*/ 36596 w 40742"/>
                        <a:gd name="connsiteY4" fmla="*/ 5772 h 40184"/>
                        <a:gd name="connsiteX5" fmla="*/ 32431 w 40742"/>
                        <a:gd name="connsiteY5" fmla="*/ 32263 h 40184"/>
                        <a:gd name="connsiteX6" fmla="*/ 15914 w 40742"/>
                        <a:gd name="connsiteY6" fmla="*/ 40184 h 40184"/>
                        <a:gd name="connsiteX7" fmla="*/ 20608 w 40742"/>
                        <a:gd name="connsiteY7" fmla="*/ 12698 h 40184"/>
                        <a:gd name="connsiteX8" fmla="*/ 14677 w 40742"/>
                        <a:gd name="connsiteY8" fmla="*/ 14503 h 40184"/>
                        <a:gd name="connsiteX9" fmla="*/ 14677 w 40742"/>
                        <a:gd name="connsiteY9" fmla="*/ 26939 h 40184"/>
                        <a:gd name="connsiteX10" fmla="*/ 23407 w 40742"/>
                        <a:gd name="connsiteY10" fmla="*/ 23240 h 40184"/>
                        <a:gd name="connsiteX11" fmla="*/ 27572 w 40742"/>
                        <a:gd name="connsiteY11" fmla="*/ 14783 h 40184"/>
                        <a:gd name="connsiteX12" fmla="*/ 20608 w 40742"/>
                        <a:gd name="connsiteY12" fmla="*/ 12698 h 4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742" h="40184">
                          <a:moveTo>
                            <a:pt x="15914" y="40184"/>
                          </a:moveTo>
                          <a:cubicBezTo>
                            <a:pt x="12062" y="40184"/>
                            <a:pt x="8491" y="38794"/>
                            <a:pt x="5659" y="35963"/>
                          </a:cubicBezTo>
                          <a:cubicBezTo>
                            <a:pt x="-1885" y="28418"/>
                            <a:pt x="-1885" y="13042"/>
                            <a:pt x="5653" y="5491"/>
                          </a:cubicBezTo>
                          <a:cubicBezTo>
                            <a:pt x="13108" y="-1951"/>
                            <a:pt x="29000" y="-1798"/>
                            <a:pt x="36596" y="5766"/>
                          </a:cubicBezTo>
                          <a:cubicBezTo>
                            <a:pt x="36596" y="5772"/>
                            <a:pt x="36596" y="5772"/>
                            <a:pt x="36596" y="5772"/>
                          </a:cubicBezTo>
                          <a:cubicBezTo>
                            <a:pt x="43375" y="12551"/>
                            <a:pt x="41742" y="22953"/>
                            <a:pt x="32431" y="32263"/>
                          </a:cubicBezTo>
                          <a:cubicBezTo>
                            <a:pt x="27202" y="37487"/>
                            <a:pt x="21284" y="40184"/>
                            <a:pt x="15914" y="40184"/>
                          </a:cubicBezTo>
                          <a:close/>
                          <a:moveTo>
                            <a:pt x="20608" y="12698"/>
                          </a:moveTo>
                          <a:cubicBezTo>
                            <a:pt x="18242" y="12698"/>
                            <a:pt x="15933" y="13253"/>
                            <a:pt x="14677" y="14503"/>
                          </a:cubicBezTo>
                          <a:cubicBezTo>
                            <a:pt x="11934" y="17251"/>
                            <a:pt x="12317" y="24579"/>
                            <a:pt x="14677" y="26939"/>
                          </a:cubicBezTo>
                          <a:cubicBezTo>
                            <a:pt x="16188" y="28437"/>
                            <a:pt x="20404" y="26243"/>
                            <a:pt x="23407" y="23240"/>
                          </a:cubicBezTo>
                          <a:cubicBezTo>
                            <a:pt x="26456" y="20191"/>
                            <a:pt x="28854" y="16071"/>
                            <a:pt x="27572" y="14783"/>
                          </a:cubicBezTo>
                          <a:cubicBezTo>
                            <a:pt x="26252" y="13469"/>
                            <a:pt x="23388" y="12698"/>
                            <a:pt x="20608" y="12698"/>
                          </a:cubicBezTo>
                          <a:close/>
                        </a:path>
                      </a:pathLst>
                    </a:custGeom>
                    <a:grpFill/>
                    <a:ln w="637" cap="flat">
                      <a:noFill/>
                      <a:prstDash val="solid"/>
                      <a:miter/>
                    </a:ln>
                  </p:spPr>
                  <p:txBody>
                    <a:bodyPr rtlCol="0" anchor="ctr"/>
                    <a:lstStyle/>
                    <a:p>
                      <a:endParaRPr lang="en-GB" dirty="0"/>
                    </a:p>
                  </p:txBody>
                </p:sp>
                <p:sp>
                  <p:nvSpPr>
                    <p:cNvPr id="1054" name="Freeform: Shape 1053">
                      <a:extLst>
                        <a:ext uri="{FF2B5EF4-FFF2-40B4-BE49-F238E27FC236}">
                          <a16:creationId xmlns:a16="http://schemas.microsoft.com/office/drawing/2014/main" id="{1A54BF8F-D50B-40A7-9C68-57D708B531E9}"/>
                        </a:ext>
                      </a:extLst>
                    </p:cNvPr>
                    <p:cNvSpPr/>
                    <p:nvPr/>
                  </p:nvSpPr>
                  <p:spPr>
                    <a:xfrm>
                      <a:off x="6923595" y="4358793"/>
                      <a:ext cx="27980" cy="27972"/>
                    </a:xfrm>
                    <a:custGeom>
                      <a:avLst/>
                      <a:gdLst>
                        <a:gd name="connsiteX0" fmla="*/ 21602 w 27980"/>
                        <a:gd name="connsiteY0" fmla="*/ 27973 h 27972"/>
                        <a:gd name="connsiteX1" fmla="*/ 17093 w 27980"/>
                        <a:gd name="connsiteY1" fmla="*/ 26104 h 27972"/>
                        <a:gd name="connsiteX2" fmla="*/ 1870 w 27980"/>
                        <a:gd name="connsiteY2" fmla="*/ 10888 h 27972"/>
                        <a:gd name="connsiteX3" fmla="*/ 1870 w 27980"/>
                        <a:gd name="connsiteY3" fmla="*/ 1870 h 27972"/>
                        <a:gd name="connsiteX4" fmla="*/ 10888 w 27980"/>
                        <a:gd name="connsiteY4" fmla="*/ 1870 h 27972"/>
                        <a:gd name="connsiteX5" fmla="*/ 26111 w 27980"/>
                        <a:gd name="connsiteY5" fmla="*/ 17087 h 27972"/>
                        <a:gd name="connsiteX6" fmla="*/ 26111 w 27980"/>
                        <a:gd name="connsiteY6" fmla="*/ 26104 h 27972"/>
                        <a:gd name="connsiteX7" fmla="*/ 21602 w 27980"/>
                        <a:gd name="connsiteY7" fmla="*/ 27973 h 2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80" h="27972">
                          <a:moveTo>
                            <a:pt x="21602" y="27973"/>
                          </a:moveTo>
                          <a:cubicBezTo>
                            <a:pt x="19969" y="27973"/>
                            <a:pt x="18337" y="27348"/>
                            <a:pt x="17093" y="26104"/>
                          </a:cubicBezTo>
                          <a:lnTo>
                            <a:pt x="1870" y="10888"/>
                          </a:lnTo>
                          <a:cubicBezTo>
                            <a:pt x="-623" y="8394"/>
                            <a:pt x="-623" y="4364"/>
                            <a:pt x="1870" y="1870"/>
                          </a:cubicBezTo>
                          <a:cubicBezTo>
                            <a:pt x="4364" y="-623"/>
                            <a:pt x="8394" y="-623"/>
                            <a:pt x="10888" y="1870"/>
                          </a:cubicBezTo>
                          <a:lnTo>
                            <a:pt x="26111" y="17087"/>
                          </a:lnTo>
                          <a:cubicBezTo>
                            <a:pt x="28604" y="19580"/>
                            <a:pt x="28604" y="23611"/>
                            <a:pt x="26111" y="26104"/>
                          </a:cubicBezTo>
                          <a:cubicBezTo>
                            <a:pt x="24867" y="27348"/>
                            <a:pt x="23234" y="27973"/>
                            <a:pt x="21602" y="27973"/>
                          </a:cubicBezTo>
                          <a:close/>
                        </a:path>
                      </a:pathLst>
                    </a:custGeom>
                    <a:grpFill/>
                    <a:ln w="637" cap="flat">
                      <a:noFill/>
                      <a:prstDash val="solid"/>
                      <a:miter/>
                    </a:ln>
                  </p:spPr>
                  <p:txBody>
                    <a:bodyPr rtlCol="0" anchor="ctr"/>
                    <a:lstStyle/>
                    <a:p>
                      <a:endParaRPr lang="en-GB" dirty="0"/>
                    </a:p>
                  </p:txBody>
                </p:sp>
              </p:grpSp>
              <p:grpSp>
                <p:nvGrpSpPr>
                  <p:cNvPr id="1050" name="Graphic 32">
                    <a:extLst>
                      <a:ext uri="{FF2B5EF4-FFF2-40B4-BE49-F238E27FC236}">
                        <a16:creationId xmlns:a16="http://schemas.microsoft.com/office/drawing/2014/main" id="{61C523C9-C060-431A-BE4C-E0B7D802B580}"/>
                      </a:ext>
                    </a:extLst>
                  </p:cNvPr>
                  <p:cNvGrpSpPr/>
                  <p:nvPr/>
                </p:nvGrpSpPr>
                <p:grpSpPr>
                  <a:xfrm>
                    <a:off x="6787524" y="4358953"/>
                    <a:ext cx="52166" cy="51805"/>
                    <a:chOff x="6787524" y="4358953"/>
                    <a:chExt cx="52166" cy="51805"/>
                  </a:xfrm>
                  <a:grpFill/>
                </p:grpSpPr>
                <p:sp>
                  <p:nvSpPr>
                    <p:cNvPr id="1051" name="Freeform: Shape 1050">
                      <a:extLst>
                        <a:ext uri="{FF2B5EF4-FFF2-40B4-BE49-F238E27FC236}">
                          <a16:creationId xmlns:a16="http://schemas.microsoft.com/office/drawing/2014/main" id="{1EDF06DD-3C32-4540-810F-152D676213FA}"/>
                        </a:ext>
                      </a:extLst>
                    </p:cNvPr>
                    <p:cNvSpPr/>
                    <p:nvPr/>
                  </p:nvSpPr>
                  <p:spPr>
                    <a:xfrm>
                      <a:off x="6787524" y="4370504"/>
                      <a:ext cx="40737" cy="40253"/>
                    </a:xfrm>
                    <a:custGeom>
                      <a:avLst/>
                      <a:gdLst>
                        <a:gd name="connsiteX0" fmla="*/ 24831 w 40737"/>
                        <a:gd name="connsiteY0" fmla="*/ 40254 h 40253"/>
                        <a:gd name="connsiteX1" fmla="*/ 20087 w 40737"/>
                        <a:gd name="connsiteY1" fmla="*/ 39578 h 40253"/>
                        <a:gd name="connsiteX2" fmla="*/ 8301 w 40737"/>
                        <a:gd name="connsiteY2" fmla="*/ 32301 h 40253"/>
                        <a:gd name="connsiteX3" fmla="*/ 865 w 40737"/>
                        <a:gd name="connsiteY3" fmla="*/ 20898 h 40253"/>
                        <a:gd name="connsiteX4" fmla="*/ 4143 w 40737"/>
                        <a:gd name="connsiteY4" fmla="*/ 5803 h 40253"/>
                        <a:gd name="connsiteX5" fmla="*/ 19334 w 40737"/>
                        <a:gd name="connsiteY5" fmla="*/ 12 h 40253"/>
                        <a:gd name="connsiteX6" fmla="*/ 35074 w 40737"/>
                        <a:gd name="connsiteY6" fmla="*/ 5529 h 40253"/>
                        <a:gd name="connsiteX7" fmla="*/ 40737 w 40737"/>
                        <a:gd name="connsiteY7" fmla="*/ 20937 h 40253"/>
                        <a:gd name="connsiteX8" fmla="*/ 35074 w 40737"/>
                        <a:gd name="connsiteY8" fmla="*/ 35994 h 40253"/>
                        <a:gd name="connsiteX9" fmla="*/ 24831 w 40737"/>
                        <a:gd name="connsiteY9" fmla="*/ 40254 h 40253"/>
                        <a:gd name="connsiteX10" fmla="*/ 20023 w 40737"/>
                        <a:gd name="connsiteY10" fmla="*/ 12754 h 40253"/>
                        <a:gd name="connsiteX11" fmla="*/ 19653 w 40737"/>
                        <a:gd name="connsiteY11" fmla="*/ 12761 h 40253"/>
                        <a:gd name="connsiteX12" fmla="*/ 13161 w 40737"/>
                        <a:gd name="connsiteY12" fmla="*/ 14827 h 40253"/>
                        <a:gd name="connsiteX13" fmla="*/ 13154 w 40737"/>
                        <a:gd name="connsiteY13" fmla="*/ 14834 h 40253"/>
                        <a:gd name="connsiteX14" fmla="*/ 13001 w 40737"/>
                        <a:gd name="connsiteY14" fmla="*/ 16982 h 40253"/>
                        <a:gd name="connsiteX15" fmla="*/ 17319 w 40737"/>
                        <a:gd name="connsiteY15" fmla="*/ 23284 h 40253"/>
                        <a:gd name="connsiteX16" fmla="*/ 23518 w 40737"/>
                        <a:gd name="connsiteY16" fmla="*/ 27288 h 40253"/>
                        <a:gd name="connsiteX17" fmla="*/ 26043 w 40737"/>
                        <a:gd name="connsiteY17" fmla="*/ 26976 h 40253"/>
                        <a:gd name="connsiteX18" fmla="*/ 27975 w 40737"/>
                        <a:gd name="connsiteY18" fmla="*/ 20815 h 40253"/>
                        <a:gd name="connsiteX19" fmla="*/ 26049 w 40737"/>
                        <a:gd name="connsiteY19" fmla="*/ 14553 h 40253"/>
                        <a:gd name="connsiteX20" fmla="*/ 20023 w 40737"/>
                        <a:gd name="connsiteY20" fmla="*/ 12754 h 40253"/>
                        <a:gd name="connsiteX21" fmla="*/ 8652 w 40737"/>
                        <a:gd name="connsiteY21" fmla="*/ 10318 h 40253"/>
                        <a:gd name="connsiteX22" fmla="*/ 8716 w 40737"/>
                        <a:gd name="connsiteY22" fmla="*/ 10318 h 40253"/>
                        <a:gd name="connsiteX23" fmla="*/ 8652 w 40737"/>
                        <a:gd name="connsiteY23" fmla="*/ 10318 h 4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0737" h="40253">
                          <a:moveTo>
                            <a:pt x="24831" y="40254"/>
                          </a:moveTo>
                          <a:cubicBezTo>
                            <a:pt x="23301" y="40254"/>
                            <a:pt x="21713" y="40030"/>
                            <a:pt x="20087" y="39578"/>
                          </a:cubicBezTo>
                          <a:cubicBezTo>
                            <a:pt x="16050" y="38449"/>
                            <a:pt x="11866" y="35866"/>
                            <a:pt x="8301" y="32301"/>
                          </a:cubicBezTo>
                          <a:cubicBezTo>
                            <a:pt x="5776" y="29776"/>
                            <a:pt x="2428" y="25745"/>
                            <a:pt x="865" y="20898"/>
                          </a:cubicBezTo>
                          <a:cubicBezTo>
                            <a:pt x="-997" y="15133"/>
                            <a:pt x="170" y="9776"/>
                            <a:pt x="4143" y="5803"/>
                          </a:cubicBezTo>
                          <a:cubicBezTo>
                            <a:pt x="7676" y="2276"/>
                            <a:pt x="13205" y="166"/>
                            <a:pt x="19334" y="12"/>
                          </a:cubicBezTo>
                          <a:cubicBezTo>
                            <a:pt x="25476" y="-179"/>
                            <a:pt x="31407" y="1862"/>
                            <a:pt x="35074" y="5529"/>
                          </a:cubicBezTo>
                          <a:cubicBezTo>
                            <a:pt x="38728" y="9177"/>
                            <a:pt x="40788" y="14795"/>
                            <a:pt x="40737" y="20937"/>
                          </a:cubicBezTo>
                          <a:cubicBezTo>
                            <a:pt x="40679" y="26963"/>
                            <a:pt x="38613" y="32460"/>
                            <a:pt x="35074" y="35994"/>
                          </a:cubicBezTo>
                          <a:cubicBezTo>
                            <a:pt x="32267" y="38806"/>
                            <a:pt x="28728" y="40254"/>
                            <a:pt x="24831" y="40254"/>
                          </a:cubicBezTo>
                          <a:close/>
                          <a:moveTo>
                            <a:pt x="20023" y="12754"/>
                          </a:moveTo>
                          <a:cubicBezTo>
                            <a:pt x="19902" y="12754"/>
                            <a:pt x="19780" y="12761"/>
                            <a:pt x="19653" y="12761"/>
                          </a:cubicBezTo>
                          <a:cubicBezTo>
                            <a:pt x="16528" y="12844"/>
                            <a:pt x="14098" y="13890"/>
                            <a:pt x="13161" y="14827"/>
                          </a:cubicBezTo>
                          <a:cubicBezTo>
                            <a:pt x="13154" y="14827"/>
                            <a:pt x="13154" y="14827"/>
                            <a:pt x="13154" y="14834"/>
                          </a:cubicBezTo>
                          <a:cubicBezTo>
                            <a:pt x="12867" y="15114"/>
                            <a:pt x="12510" y="15471"/>
                            <a:pt x="13001" y="16982"/>
                          </a:cubicBezTo>
                          <a:cubicBezTo>
                            <a:pt x="13607" y="18845"/>
                            <a:pt x="15176" y="21141"/>
                            <a:pt x="17319" y="23284"/>
                          </a:cubicBezTo>
                          <a:cubicBezTo>
                            <a:pt x="19302" y="25267"/>
                            <a:pt x="21617" y="26759"/>
                            <a:pt x="23518" y="27288"/>
                          </a:cubicBezTo>
                          <a:cubicBezTo>
                            <a:pt x="25271" y="27792"/>
                            <a:pt x="25756" y="27276"/>
                            <a:pt x="26043" y="26976"/>
                          </a:cubicBezTo>
                          <a:cubicBezTo>
                            <a:pt x="26987" y="26039"/>
                            <a:pt x="27950" y="23768"/>
                            <a:pt x="27975" y="20815"/>
                          </a:cubicBezTo>
                          <a:cubicBezTo>
                            <a:pt x="28001" y="18201"/>
                            <a:pt x="27249" y="15739"/>
                            <a:pt x="26049" y="14553"/>
                          </a:cubicBezTo>
                          <a:cubicBezTo>
                            <a:pt x="24946" y="13443"/>
                            <a:pt x="22612" y="12754"/>
                            <a:pt x="20023" y="12754"/>
                          </a:cubicBezTo>
                          <a:close/>
                          <a:moveTo>
                            <a:pt x="8652" y="10318"/>
                          </a:moveTo>
                          <a:lnTo>
                            <a:pt x="8716" y="10318"/>
                          </a:lnTo>
                          <a:lnTo>
                            <a:pt x="8652" y="10318"/>
                          </a:lnTo>
                          <a:close/>
                        </a:path>
                      </a:pathLst>
                    </a:custGeom>
                    <a:grpFill/>
                    <a:ln w="637" cap="flat">
                      <a:noFill/>
                      <a:prstDash val="solid"/>
                      <a:miter/>
                    </a:ln>
                  </p:spPr>
                  <p:txBody>
                    <a:bodyPr rtlCol="0" anchor="ctr"/>
                    <a:lstStyle/>
                    <a:p>
                      <a:endParaRPr lang="en-GB" dirty="0"/>
                    </a:p>
                  </p:txBody>
                </p:sp>
                <p:sp>
                  <p:nvSpPr>
                    <p:cNvPr id="1052" name="Freeform: Shape 1051">
                      <a:extLst>
                        <a:ext uri="{FF2B5EF4-FFF2-40B4-BE49-F238E27FC236}">
                          <a16:creationId xmlns:a16="http://schemas.microsoft.com/office/drawing/2014/main" id="{ED023033-887E-497B-88E1-AA29B83DFE3B}"/>
                        </a:ext>
                      </a:extLst>
                    </p:cNvPr>
                    <p:cNvSpPr/>
                    <p:nvPr/>
                  </p:nvSpPr>
                  <p:spPr>
                    <a:xfrm>
                      <a:off x="6811710" y="4358953"/>
                      <a:ext cx="27980" cy="27972"/>
                    </a:xfrm>
                    <a:custGeom>
                      <a:avLst/>
                      <a:gdLst>
                        <a:gd name="connsiteX0" fmla="*/ 6379 w 27980"/>
                        <a:gd name="connsiteY0" fmla="*/ 27973 h 27972"/>
                        <a:gd name="connsiteX1" fmla="*/ 1870 w 27980"/>
                        <a:gd name="connsiteY1" fmla="*/ 26104 h 27972"/>
                        <a:gd name="connsiteX2" fmla="*/ 1870 w 27980"/>
                        <a:gd name="connsiteY2" fmla="*/ 17087 h 27972"/>
                        <a:gd name="connsiteX3" fmla="*/ 17093 w 27980"/>
                        <a:gd name="connsiteY3" fmla="*/ 1870 h 27972"/>
                        <a:gd name="connsiteX4" fmla="*/ 26111 w 27980"/>
                        <a:gd name="connsiteY4" fmla="*/ 1870 h 27972"/>
                        <a:gd name="connsiteX5" fmla="*/ 26111 w 27980"/>
                        <a:gd name="connsiteY5" fmla="*/ 10888 h 27972"/>
                        <a:gd name="connsiteX6" fmla="*/ 10888 w 27980"/>
                        <a:gd name="connsiteY6" fmla="*/ 26104 h 27972"/>
                        <a:gd name="connsiteX7" fmla="*/ 6379 w 27980"/>
                        <a:gd name="connsiteY7" fmla="*/ 27973 h 27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80" h="27972">
                          <a:moveTo>
                            <a:pt x="6379" y="27973"/>
                          </a:moveTo>
                          <a:cubicBezTo>
                            <a:pt x="4746" y="27973"/>
                            <a:pt x="3114" y="27348"/>
                            <a:pt x="1870" y="26104"/>
                          </a:cubicBezTo>
                          <a:cubicBezTo>
                            <a:pt x="-623" y="23611"/>
                            <a:pt x="-623" y="19580"/>
                            <a:pt x="1870" y="17087"/>
                          </a:cubicBezTo>
                          <a:lnTo>
                            <a:pt x="17093" y="1870"/>
                          </a:lnTo>
                          <a:cubicBezTo>
                            <a:pt x="19587" y="-623"/>
                            <a:pt x="23617" y="-623"/>
                            <a:pt x="26111" y="1870"/>
                          </a:cubicBezTo>
                          <a:cubicBezTo>
                            <a:pt x="28604" y="4364"/>
                            <a:pt x="28604" y="8394"/>
                            <a:pt x="26111" y="10888"/>
                          </a:cubicBezTo>
                          <a:lnTo>
                            <a:pt x="10888" y="26104"/>
                          </a:lnTo>
                          <a:cubicBezTo>
                            <a:pt x="9644" y="27348"/>
                            <a:pt x="8012" y="27973"/>
                            <a:pt x="6379" y="27973"/>
                          </a:cubicBezTo>
                          <a:close/>
                        </a:path>
                      </a:pathLst>
                    </a:custGeom>
                    <a:grpFill/>
                    <a:ln w="637" cap="flat">
                      <a:noFill/>
                      <a:prstDash val="solid"/>
                      <a:miter/>
                    </a:ln>
                  </p:spPr>
                  <p:txBody>
                    <a:bodyPr rtlCol="0" anchor="ctr"/>
                    <a:lstStyle/>
                    <a:p>
                      <a:endParaRPr lang="en-GB" dirty="0"/>
                    </a:p>
                  </p:txBody>
                </p:sp>
              </p:grpSp>
            </p:grpSp>
            <p:sp>
              <p:nvSpPr>
                <p:cNvPr id="1040" name="Freeform: Shape 1039">
                  <a:extLst>
                    <a:ext uri="{FF2B5EF4-FFF2-40B4-BE49-F238E27FC236}">
                      <a16:creationId xmlns:a16="http://schemas.microsoft.com/office/drawing/2014/main" id="{7F46654A-4112-4B14-946F-9EF106B0816B}"/>
                    </a:ext>
                  </a:extLst>
                </p:cNvPr>
                <p:cNvSpPr/>
                <p:nvPr/>
              </p:nvSpPr>
              <p:spPr>
                <a:xfrm>
                  <a:off x="6903649" y="4372807"/>
                  <a:ext cx="18192" cy="24583"/>
                </a:xfrm>
                <a:custGeom>
                  <a:avLst/>
                  <a:gdLst>
                    <a:gd name="connsiteX0" fmla="*/ 11823 w 18192"/>
                    <a:gd name="connsiteY0" fmla="*/ 24584 h 24583"/>
                    <a:gd name="connsiteX1" fmla="*/ 6025 w 18192"/>
                    <a:gd name="connsiteY1" fmla="*/ 20872 h 24583"/>
                    <a:gd name="connsiteX2" fmla="*/ 586 w 18192"/>
                    <a:gd name="connsiteY2" fmla="*/ 9042 h 24583"/>
                    <a:gd name="connsiteX3" fmla="*/ 3711 w 18192"/>
                    <a:gd name="connsiteY3" fmla="*/ 586 h 24583"/>
                    <a:gd name="connsiteX4" fmla="*/ 12167 w 18192"/>
                    <a:gd name="connsiteY4" fmla="*/ 3711 h 24583"/>
                    <a:gd name="connsiteX5" fmla="*/ 17607 w 18192"/>
                    <a:gd name="connsiteY5" fmla="*/ 15540 h 24583"/>
                    <a:gd name="connsiteX6" fmla="*/ 14482 w 18192"/>
                    <a:gd name="connsiteY6" fmla="*/ 23997 h 24583"/>
                    <a:gd name="connsiteX7" fmla="*/ 11823 w 18192"/>
                    <a:gd name="connsiteY7" fmla="*/ 24584 h 24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92" h="24583">
                      <a:moveTo>
                        <a:pt x="11823" y="24584"/>
                      </a:moveTo>
                      <a:cubicBezTo>
                        <a:pt x="9406" y="24584"/>
                        <a:pt x="7097" y="23206"/>
                        <a:pt x="6025" y="20872"/>
                      </a:cubicBezTo>
                      <a:lnTo>
                        <a:pt x="586" y="9042"/>
                      </a:lnTo>
                      <a:cubicBezTo>
                        <a:pt x="-888" y="5840"/>
                        <a:pt x="515" y="2052"/>
                        <a:pt x="3711" y="586"/>
                      </a:cubicBezTo>
                      <a:cubicBezTo>
                        <a:pt x="6925" y="-888"/>
                        <a:pt x="10707" y="515"/>
                        <a:pt x="12167" y="3711"/>
                      </a:cubicBezTo>
                      <a:lnTo>
                        <a:pt x="17607" y="15540"/>
                      </a:lnTo>
                      <a:cubicBezTo>
                        <a:pt x="19080" y="18742"/>
                        <a:pt x="17677" y="22530"/>
                        <a:pt x="14482" y="23997"/>
                      </a:cubicBezTo>
                      <a:cubicBezTo>
                        <a:pt x="13615" y="24392"/>
                        <a:pt x="12709" y="24584"/>
                        <a:pt x="11823" y="24584"/>
                      </a:cubicBezTo>
                      <a:close/>
                    </a:path>
                  </a:pathLst>
                </a:custGeom>
                <a:grpFill/>
                <a:ln w="637" cap="flat">
                  <a:noFill/>
                  <a:prstDash val="solid"/>
                  <a:miter/>
                </a:ln>
              </p:spPr>
              <p:txBody>
                <a:bodyPr rtlCol="0" anchor="ctr"/>
                <a:lstStyle/>
                <a:p>
                  <a:endParaRPr lang="en-GB" dirty="0"/>
                </a:p>
              </p:txBody>
            </p:sp>
            <p:sp>
              <p:nvSpPr>
                <p:cNvPr id="1041" name="Freeform: Shape 1040">
                  <a:extLst>
                    <a:ext uri="{FF2B5EF4-FFF2-40B4-BE49-F238E27FC236}">
                      <a16:creationId xmlns:a16="http://schemas.microsoft.com/office/drawing/2014/main" id="{458048D4-4309-4BA9-A326-F3A95A617598}"/>
                    </a:ext>
                  </a:extLst>
                </p:cNvPr>
                <p:cNvSpPr/>
                <p:nvPr/>
              </p:nvSpPr>
              <p:spPr>
                <a:xfrm>
                  <a:off x="6840925" y="4236228"/>
                  <a:ext cx="18286" cy="24807"/>
                </a:xfrm>
                <a:custGeom>
                  <a:avLst/>
                  <a:gdLst>
                    <a:gd name="connsiteX0" fmla="*/ 11914 w 18286"/>
                    <a:gd name="connsiteY0" fmla="*/ 24808 h 24807"/>
                    <a:gd name="connsiteX1" fmla="*/ 6111 w 18286"/>
                    <a:gd name="connsiteY1" fmla="*/ 21089 h 24807"/>
                    <a:gd name="connsiteX2" fmla="*/ 582 w 18286"/>
                    <a:gd name="connsiteY2" fmla="*/ 9036 h 24807"/>
                    <a:gd name="connsiteX3" fmla="*/ 3719 w 18286"/>
                    <a:gd name="connsiteY3" fmla="*/ 580 h 24807"/>
                    <a:gd name="connsiteX4" fmla="*/ 12176 w 18286"/>
                    <a:gd name="connsiteY4" fmla="*/ 3718 h 24807"/>
                    <a:gd name="connsiteX5" fmla="*/ 17705 w 18286"/>
                    <a:gd name="connsiteY5" fmla="*/ 15771 h 24807"/>
                    <a:gd name="connsiteX6" fmla="*/ 14567 w 18286"/>
                    <a:gd name="connsiteY6" fmla="*/ 24227 h 24807"/>
                    <a:gd name="connsiteX7" fmla="*/ 11914 w 18286"/>
                    <a:gd name="connsiteY7" fmla="*/ 24808 h 24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86" h="24807">
                      <a:moveTo>
                        <a:pt x="11914" y="24808"/>
                      </a:moveTo>
                      <a:cubicBezTo>
                        <a:pt x="9497" y="24808"/>
                        <a:pt x="7188" y="23430"/>
                        <a:pt x="6111" y="21089"/>
                      </a:cubicBezTo>
                      <a:lnTo>
                        <a:pt x="582" y="9036"/>
                      </a:lnTo>
                      <a:cubicBezTo>
                        <a:pt x="-885" y="5835"/>
                        <a:pt x="518" y="2047"/>
                        <a:pt x="3719" y="580"/>
                      </a:cubicBezTo>
                      <a:cubicBezTo>
                        <a:pt x="6908" y="-880"/>
                        <a:pt x="10709" y="510"/>
                        <a:pt x="12176" y="3718"/>
                      </a:cubicBezTo>
                      <a:lnTo>
                        <a:pt x="17705" y="15771"/>
                      </a:lnTo>
                      <a:cubicBezTo>
                        <a:pt x="19172" y="18972"/>
                        <a:pt x="17769" y="22760"/>
                        <a:pt x="14567" y="24227"/>
                      </a:cubicBezTo>
                      <a:cubicBezTo>
                        <a:pt x="13713" y="24616"/>
                        <a:pt x="12807" y="24808"/>
                        <a:pt x="11914" y="24808"/>
                      </a:cubicBezTo>
                      <a:close/>
                    </a:path>
                  </a:pathLst>
                </a:custGeom>
                <a:grpFill/>
                <a:ln w="637" cap="flat">
                  <a:noFill/>
                  <a:prstDash val="solid"/>
                  <a:miter/>
                </a:ln>
              </p:spPr>
              <p:txBody>
                <a:bodyPr rtlCol="0" anchor="ctr"/>
                <a:lstStyle/>
                <a:p>
                  <a:endParaRPr lang="en-GB" dirty="0"/>
                </a:p>
              </p:txBody>
            </p:sp>
            <p:sp>
              <p:nvSpPr>
                <p:cNvPr id="1042" name="Freeform: Shape 1041">
                  <a:extLst>
                    <a:ext uri="{FF2B5EF4-FFF2-40B4-BE49-F238E27FC236}">
                      <a16:creationId xmlns:a16="http://schemas.microsoft.com/office/drawing/2014/main" id="{B8A608B4-8AC6-425B-B5AC-A2714BABA408}"/>
                    </a:ext>
                  </a:extLst>
                </p:cNvPr>
                <p:cNvSpPr/>
                <p:nvPr/>
              </p:nvSpPr>
              <p:spPr>
                <a:xfrm>
                  <a:off x="6938123" y="4339069"/>
                  <a:ext cx="24217" cy="17978"/>
                </a:xfrm>
                <a:custGeom>
                  <a:avLst/>
                  <a:gdLst>
                    <a:gd name="connsiteX0" fmla="*/ 17833 w 24217"/>
                    <a:gd name="connsiteY0" fmla="*/ 17978 h 17978"/>
                    <a:gd name="connsiteX1" fmla="*/ 15199 w 24217"/>
                    <a:gd name="connsiteY1" fmla="*/ 17404 h 17978"/>
                    <a:gd name="connsiteX2" fmla="*/ 3738 w 24217"/>
                    <a:gd name="connsiteY2" fmla="*/ 12188 h 17978"/>
                    <a:gd name="connsiteX3" fmla="*/ 575 w 24217"/>
                    <a:gd name="connsiteY3" fmla="*/ 3744 h 17978"/>
                    <a:gd name="connsiteX4" fmla="*/ 9019 w 24217"/>
                    <a:gd name="connsiteY4" fmla="*/ 581 h 17978"/>
                    <a:gd name="connsiteX5" fmla="*/ 20479 w 24217"/>
                    <a:gd name="connsiteY5" fmla="*/ 5798 h 17978"/>
                    <a:gd name="connsiteX6" fmla="*/ 23642 w 24217"/>
                    <a:gd name="connsiteY6" fmla="*/ 14241 h 17978"/>
                    <a:gd name="connsiteX7" fmla="*/ 17833 w 24217"/>
                    <a:gd name="connsiteY7" fmla="*/ 17978 h 17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217" h="17978">
                      <a:moveTo>
                        <a:pt x="17833" y="17978"/>
                      </a:moveTo>
                      <a:cubicBezTo>
                        <a:pt x="16946" y="17978"/>
                        <a:pt x="16053" y="17800"/>
                        <a:pt x="15199" y="17404"/>
                      </a:cubicBezTo>
                      <a:lnTo>
                        <a:pt x="3738" y="12188"/>
                      </a:lnTo>
                      <a:cubicBezTo>
                        <a:pt x="531" y="10727"/>
                        <a:pt x="-885" y="6945"/>
                        <a:pt x="575" y="3744"/>
                      </a:cubicBezTo>
                      <a:cubicBezTo>
                        <a:pt x="2036" y="536"/>
                        <a:pt x="5830" y="-892"/>
                        <a:pt x="9019" y="581"/>
                      </a:cubicBezTo>
                      <a:lnTo>
                        <a:pt x="20479" y="5798"/>
                      </a:lnTo>
                      <a:cubicBezTo>
                        <a:pt x="23687" y="7258"/>
                        <a:pt x="25103" y="11040"/>
                        <a:pt x="23642" y="14241"/>
                      </a:cubicBezTo>
                      <a:cubicBezTo>
                        <a:pt x="22577" y="16594"/>
                        <a:pt x="20256" y="17978"/>
                        <a:pt x="17833" y="17978"/>
                      </a:cubicBezTo>
                      <a:close/>
                    </a:path>
                  </a:pathLst>
                </a:custGeom>
                <a:grpFill/>
                <a:ln w="637" cap="flat">
                  <a:noFill/>
                  <a:prstDash val="solid"/>
                  <a:miter/>
                </a:ln>
              </p:spPr>
              <p:txBody>
                <a:bodyPr rtlCol="0" anchor="ctr"/>
                <a:lstStyle/>
                <a:p>
                  <a:endParaRPr lang="en-GB" dirty="0"/>
                </a:p>
              </p:txBody>
            </p:sp>
            <p:sp>
              <p:nvSpPr>
                <p:cNvPr id="1043" name="Freeform: Shape 1042">
                  <a:extLst>
                    <a:ext uri="{FF2B5EF4-FFF2-40B4-BE49-F238E27FC236}">
                      <a16:creationId xmlns:a16="http://schemas.microsoft.com/office/drawing/2014/main" id="{EF5B9794-65FC-4BFC-B14B-639EE9D699D7}"/>
                    </a:ext>
                  </a:extLst>
                </p:cNvPr>
                <p:cNvSpPr/>
                <p:nvPr/>
              </p:nvSpPr>
              <p:spPr>
                <a:xfrm>
                  <a:off x="6800982" y="4276551"/>
                  <a:ext cx="24545" cy="18138"/>
                </a:xfrm>
                <a:custGeom>
                  <a:avLst/>
                  <a:gdLst>
                    <a:gd name="connsiteX0" fmla="*/ 18159 w 24545"/>
                    <a:gd name="connsiteY0" fmla="*/ 18139 h 18138"/>
                    <a:gd name="connsiteX1" fmla="*/ 15519 w 24545"/>
                    <a:gd name="connsiteY1" fmla="*/ 17565 h 18138"/>
                    <a:gd name="connsiteX2" fmla="*/ 3733 w 24545"/>
                    <a:gd name="connsiteY2" fmla="*/ 12189 h 18138"/>
                    <a:gd name="connsiteX3" fmla="*/ 576 w 24545"/>
                    <a:gd name="connsiteY3" fmla="*/ 3739 h 18138"/>
                    <a:gd name="connsiteX4" fmla="*/ 9026 w 24545"/>
                    <a:gd name="connsiteY4" fmla="*/ 582 h 18138"/>
                    <a:gd name="connsiteX5" fmla="*/ 20812 w 24545"/>
                    <a:gd name="connsiteY5" fmla="*/ 5958 h 18138"/>
                    <a:gd name="connsiteX6" fmla="*/ 23969 w 24545"/>
                    <a:gd name="connsiteY6" fmla="*/ 14408 h 18138"/>
                    <a:gd name="connsiteX7" fmla="*/ 18159 w 24545"/>
                    <a:gd name="connsiteY7" fmla="*/ 18139 h 1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545" h="18138">
                      <a:moveTo>
                        <a:pt x="18159" y="18139"/>
                      </a:moveTo>
                      <a:cubicBezTo>
                        <a:pt x="17272" y="18139"/>
                        <a:pt x="16380" y="17960"/>
                        <a:pt x="15519" y="17565"/>
                      </a:cubicBezTo>
                      <a:lnTo>
                        <a:pt x="3733" y="12189"/>
                      </a:lnTo>
                      <a:cubicBezTo>
                        <a:pt x="525" y="10728"/>
                        <a:pt x="-884" y="6947"/>
                        <a:pt x="576" y="3739"/>
                      </a:cubicBezTo>
                      <a:cubicBezTo>
                        <a:pt x="2037" y="531"/>
                        <a:pt x="5812" y="-891"/>
                        <a:pt x="9026" y="582"/>
                      </a:cubicBezTo>
                      <a:lnTo>
                        <a:pt x="20812" y="5958"/>
                      </a:lnTo>
                      <a:cubicBezTo>
                        <a:pt x="24020" y="7418"/>
                        <a:pt x="25429" y="11200"/>
                        <a:pt x="23969" y="14408"/>
                      </a:cubicBezTo>
                      <a:cubicBezTo>
                        <a:pt x="22897" y="16755"/>
                        <a:pt x="20582" y="18139"/>
                        <a:pt x="18159" y="18139"/>
                      </a:cubicBezTo>
                      <a:close/>
                    </a:path>
                  </a:pathLst>
                </a:custGeom>
                <a:grpFill/>
                <a:ln w="637" cap="flat">
                  <a:noFill/>
                  <a:prstDash val="solid"/>
                  <a:miter/>
                </a:ln>
              </p:spPr>
              <p:txBody>
                <a:bodyPr rtlCol="0" anchor="ctr"/>
                <a:lstStyle/>
                <a:p>
                  <a:endParaRPr lang="en-GB" dirty="0"/>
                </a:p>
              </p:txBody>
            </p:sp>
            <p:sp>
              <p:nvSpPr>
                <p:cNvPr id="1044" name="Freeform: Shape 1043">
                  <a:extLst>
                    <a:ext uri="{FF2B5EF4-FFF2-40B4-BE49-F238E27FC236}">
                      <a16:creationId xmlns:a16="http://schemas.microsoft.com/office/drawing/2014/main" id="{B60D7648-EC9B-4C28-8FCE-F31CF5840A13}"/>
                    </a:ext>
                  </a:extLst>
                </p:cNvPr>
                <p:cNvSpPr/>
                <p:nvPr/>
              </p:nvSpPr>
              <p:spPr>
                <a:xfrm>
                  <a:off x="6937467" y="4277290"/>
                  <a:ext cx="24988" cy="18196"/>
                </a:xfrm>
                <a:custGeom>
                  <a:avLst/>
                  <a:gdLst>
                    <a:gd name="connsiteX0" fmla="*/ 6385 w 24988"/>
                    <a:gd name="connsiteY0" fmla="*/ 18197 h 18196"/>
                    <a:gd name="connsiteX1" fmla="*/ 549 w 24988"/>
                    <a:gd name="connsiteY1" fmla="*/ 14408 h 18196"/>
                    <a:gd name="connsiteX2" fmla="*/ 3789 w 24988"/>
                    <a:gd name="connsiteY2" fmla="*/ 5990 h 18196"/>
                    <a:gd name="connsiteX3" fmla="*/ 16021 w 24988"/>
                    <a:gd name="connsiteY3" fmla="*/ 557 h 18196"/>
                    <a:gd name="connsiteX4" fmla="*/ 24439 w 24988"/>
                    <a:gd name="connsiteY4" fmla="*/ 3796 h 18196"/>
                    <a:gd name="connsiteX5" fmla="*/ 21199 w 24988"/>
                    <a:gd name="connsiteY5" fmla="*/ 12215 h 18196"/>
                    <a:gd name="connsiteX6" fmla="*/ 8968 w 24988"/>
                    <a:gd name="connsiteY6" fmla="*/ 17648 h 18196"/>
                    <a:gd name="connsiteX7" fmla="*/ 6385 w 24988"/>
                    <a:gd name="connsiteY7" fmla="*/ 18197 h 1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88" h="18196">
                      <a:moveTo>
                        <a:pt x="6385" y="18197"/>
                      </a:moveTo>
                      <a:cubicBezTo>
                        <a:pt x="3936" y="18197"/>
                        <a:pt x="1608" y="16781"/>
                        <a:pt x="549" y="14408"/>
                      </a:cubicBezTo>
                      <a:cubicBezTo>
                        <a:pt x="-879" y="11188"/>
                        <a:pt x="575" y="7419"/>
                        <a:pt x="3789" y="5990"/>
                      </a:cubicBezTo>
                      <a:lnTo>
                        <a:pt x="16021" y="557"/>
                      </a:lnTo>
                      <a:cubicBezTo>
                        <a:pt x="19280" y="-891"/>
                        <a:pt x="23011" y="589"/>
                        <a:pt x="24439" y="3796"/>
                      </a:cubicBezTo>
                      <a:cubicBezTo>
                        <a:pt x="25868" y="7017"/>
                        <a:pt x="24414" y="10786"/>
                        <a:pt x="21199" y="12215"/>
                      </a:cubicBezTo>
                      <a:lnTo>
                        <a:pt x="8968" y="17648"/>
                      </a:lnTo>
                      <a:cubicBezTo>
                        <a:pt x="8119" y="18024"/>
                        <a:pt x="7246" y="18197"/>
                        <a:pt x="6385" y="18197"/>
                      </a:cubicBezTo>
                      <a:close/>
                    </a:path>
                  </a:pathLst>
                </a:custGeom>
                <a:grpFill/>
                <a:ln w="637" cap="flat">
                  <a:noFill/>
                  <a:prstDash val="solid"/>
                  <a:miter/>
                </a:ln>
              </p:spPr>
              <p:txBody>
                <a:bodyPr rtlCol="0" anchor="ctr"/>
                <a:lstStyle/>
                <a:p>
                  <a:endParaRPr lang="en-GB" dirty="0"/>
                </a:p>
              </p:txBody>
            </p:sp>
            <p:sp>
              <p:nvSpPr>
                <p:cNvPr id="1045" name="Freeform: Shape 1044">
                  <a:extLst>
                    <a:ext uri="{FF2B5EF4-FFF2-40B4-BE49-F238E27FC236}">
                      <a16:creationId xmlns:a16="http://schemas.microsoft.com/office/drawing/2014/main" id="{88334AA9-3D83-414F-922F-B7DB2402CD1F}"/>
                    </a:ext>
                  </a:extLst>
                </p:cNvPr>
                <p:cNvSpPr/>
                <p:nvPr/>
              </p:nvSpPr>
              <p:spPr>
                <a:xfrm>
                  <a:off x="6800436" y="4338433"/>
                  <a:ext cx="24305" cy="17887"/>
                </a:xfrm>
                <a:custGeom>
                  <a:avLst/>
                  <a:gdLst>
                    <a:gd name="connsiteX0" fmla="*/ 6385 w 24305"/>
                    <a:gd name="connsiteY0" fmla="*/ 17888 h 17887"/>
                    <a:gd name="connsiteX1" fmla="*/ 549 w 24305"/>
                    <a:gd name="connsiteY1" fmla="*/ 14093 h 17887"/>
                    <a:gd name="connsiteX2" fmla="*/ 3795 w 24305"/>
                    <a:gd name="connsiteY2" fmla="*/ 5681 h 17887"/>
                    <a:gd name="connsiteX3" fmla="*/ 15345 w 24305"/>
                    <a:gd name="connsiteY3" fmla="*/ 554 h 17887"/>
                    <a:gd name="connsiteX4" fmla="*/ 23757 w 24305"/>
                    <a:gd name="connsiteY4" fmla="*/ 3800 h 17887"/>
                    <a:gd name="connsiteX5" fmla="*/ 20511 w 24305"/>
                    <a:gd name="connsiteY5" fmla="*/ 12211 h 17887"/>
                    <a:gd name="connsiteX6" fmla="*/ 8961 w 24305"/>
                    <a:gd name="connsiteY6" fmla="*/ 17339 h 17887"/>
                    <a:gd name="connsiteX7" fmla="*/ 6385 w 24305"/>
                    <a:gd name="connsiteY7" fmla="*/ 17888 h 1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305" h="17887">
                      <a:moveTo>
                        <a:pt x="6385" y="17888"/>
                      </a:moveTo>
                      <a:cubicBezTo>
                        <a:pt x="3936" y="17888"/>
                        <a:pt x="1608" y="16472"/>
                        <a:pt x="549" y="14093"/>
                      </a:cubicBezTo>
                      <a:cubicBezTo>
                        <a:pt x="-879" y="10879"/>
                        <a:pt x="575" y="7110"/>
                        <a:pt x="3795" y="5681"/>
                      </a:cubicBezTo>
                      <a:lnTo>
                        <a:pt x="15345" y="554"/>
                      </a:lnTo>
                      <a:cubicBezTo>
                        <a:pt x="18572" y="-887"/>
                        <a:pt x="22328" y="586"/>
                        <a:pt x="23757" y="3800"/>
                      </a:cubicBezTo>
                      <a:cubicBezTo>
                        <a:pt x="25185" y="7014"/>
                        <a:pt x="23731" y="10783"/>
                        <a:pt x="20511" y="12211"/>
                      </a:cubicBezTo>
                      <a:lnTo>
                        <a:pt x="8961" y="17339"/>
                      </a:lnTo>
                      <a:cubicBezTo>
                        <a:pt x="8119" y="17715"/>
                        <a:pt x="7239" y="17888"/>
                        <a:pt x="6385" y="17888"/>
                      </a:cubicBezTo>
                      <a:close/>
                    </a:path>
                  </a:pathLst>
                </a:custGeom>
                <a:grpFill/>
                <a:ln w="637" cap="flat">
                  <a:noFill/>
                  <a:prstDash val="solid"/>
                  <a:miter/>
                </a:ln>
              </p:spPr>
              <p:txBody>
                <a:bodyPr rtlCol="0" anchor="ctr"/>
                <a:lstStyle/>
                <a:p>
                  <a:endParaRPr lang="en-GB" dirty="0"/>
                </a:p>
              </p:txBody>
            </p:sp>
            <p:sp>
              <p:nvSpPr>
                <p:cNvPr id="1046" name="Freeform: Shape 1045">
                  <a:extLst>
                    <a:ext uri="{FF2B5EF4-FFF2-40B4-BE49-F238E27FC236}">
                      <a16:creationId xmlns:a16="http://schemas.microsoft.com/office/drawing/2014/main" id="{691F5671-2D5C-4660-9DC6-BE00DA1F529A}"/>
                    </a:ext>
                  </a:extLst>
                </p:cNvPr>
                <p:cNvSpPr/>
                <p:nvPr/>
              </p:nvSpPr>
              <p:spPr>
                <a:xfrm>
                  <a:off x="6841028" y="4373301"/>
                  <a:ext cx="17952" cy="24115"/>
                </a:xfrm>
                <a:custGeom>
                  <a:avLst/>
                  <a:gdLst>
                    <a:gd name="connsiteX0" fmla="*/ 6371 w 17952"/>
                    <a:gd name="connsiteY0" fmla="*/ 24116 h 24115"/>
                    <a:gd name="connsiteX1" fmla="*/ 3725 w 17952"/>
                    <a:gd name="connsiteY1" fmla="*/ 23535 h 24115"/>
                    <a:gd name="connsiteX2" fmla="*/ 580 w 17952"/>
                    <a:gd name="connsiteY2" fmla="*/ 15085 h 24115"/>
                    <a:gd name="connsiteX3" fmla="*/ 5778 w 17952"/>
                    <a:gd name="connsiteY3" fmla="*/ 3727 h 24115"/>
                    <a:gd name="connsiteX4" fmla="*/ 14228 w 17952"/>
                    <a:gd name="connsiteY4" fmla="*/ 583 h 24115"/>
                    <a:gd name="connsiteX5" fmla="*/ 17372 w 17952"/>
                    <a:gd name="connsiteY5" fmla="*/ 9033 h 24115"/>
                    <a:gd name="connsiteX6" fmla="*/ 12175 w 17952"/>
                    <a:gd name="connsiteY6" fmla="*/ 20391 h 24115"/>
                    <a:gd name="connsiteX7" fmla="*/ 6371 w 17952"/>
                    <a:gd name="connsiteY7" fmla="*/ 24116 h 24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52" h="24115">
                      <a:moveTo>
                        <a:pt x="6371" y="24116"/>
                      </a:moveTo>
                      <a:cubicBezTo>
                        <a:pt x="5485" y="24116"/>
                        <a:pt x="4585" y="23931"/>
                        <a:pt x="3725" y="23535"/>
                      </a:cubicBezTo>
                      <a:cubicBezTo>
                        <a:pt x="523" y="22075"/>
                        <a:pt x="-886" y="18287"/>
                        <a:pt x="580" y="15085"/>
                      </a:cubicBezTo>
                      <a:lnTo>
                        <a:pt x="5778" y="3727"/>
                      </a:lnTo>
                      <a:cubicBezTo>
                        <a:pt x="7239" y="526"/>
                        <a:pt x="11020" y="-890"/>
                        <a:pt x="14228" y="583"/>
                      </a:cubicBezTo>
                      <a:cubicBezTo>
                        <a:pt x="17430" y="2044"/>
                        <a:pt x="18839" y="5832"/>
                        <a:pt x="17372" y="9033"/>
                      </a:cubicBezTo>
                      <a:lnTo>
                        <a:pt x="12175" y="20391"/>
                      </a:lnTo>
                      <a:cubicBezTo>
                        <a:pt x="11103" y="22738"/>
                        <a:pt x="8795" y="24116"/>
                        <a:pt x="6371" y="24116"/>
                      </a:cubicBezTo>
                      <a:close/>
                    </a:path>
                  </a:pathLst>
                </a:custGeom>
                <a:grpFill/>
                <a:ln w="637" cap="flat">
                  <a:noFill/>
                  <a:prstDash val="solid"/>
                  <a:miter/>
                </a:ln>
              </p:spPr>
              <p:txBody>
                <a:bodyPr rtlCol="0" anchor="ctr"/>
                <a:lstStyle/>
                <a:p>
                  <a:endParaRPr lang="en-GB" dirty="0"/>
                </a:p>
              </p:txBody>
            </p:sp>
            <p:sp>
              <p:nvSpPr>
                <p:cNvPr id="1047" name="Freeform: Shape 1046">
                  <a:extLst>
                    <a:ext uri="{FF2B5EF4-FFF2-40B4-BE49-F238E27FC236}">
                      <a16:creationId xmlns:a16="http://schemas.microsoft.com/office/drawing/2014/main" id="{DE108AA9-01C8-491C-8AFE-026F97D7290D}"/>
                    </a:ext>
                  </a:extLst>
                </p:cNvPr>
                <p:cNvSpPr/>
                <p:nvPr/>
              </p:nvSpPr>
              <p:spPr>
                <a:xfrm>
                  <a:off x="6903670" y="4236202"/>
                  <a:ext cx="18151" cy="24508"/>
                </a:xfrm>
                <a:custGeom>
                  <a:avLst/>
                  <a:gdLst>
                    <a:gd name="connsiteX0" fmla="*/ 6375 w 18151"/>
                    <a:gd name="connsiteY0" fmla="*/ 24509 h 24508"/>
                    <a:gd name="connsiteX1" fmla="*/ 3722 w 18151"/>
                    <a:gd name="connsiteY1" fmla="*/ 23928 h 24508"/>
                    <a:gd name="connsiteX2" fmla="*/ 584 w 18151"/>
                    <a:gd name="connsiteY2" fmla="*/ 15472 h 24508"/>
                    <a:gd name="connsiteX3" fmla="*/ 5973 w 18151"/>
                    <a:gd name="connsiteY3" fmla="*/ 3712 h 24508"/>
                    <a:gd name="connsiteX4" fmla="*/ 14430 w 18151"/>
                    <a:gd name="connsiteY4" fmla="*/ 574 h 24508"/>
                    <a:gd name="connsiteX5" fmla="*/ 17567 w 18151"/>
                    <a:gd name="connsiteY5" fmla="*/ 9031 h 24508"/>
                    <a:gd name="connsiteX6" fmla="*/ 12178 w 18151"/>
                    <a:gd name="connsiteY6" fmla="*/ 20790 h 24508"/>
                    <a:gd name="connsiteX7" fmla="*/ 6375 w 18151"/>
                    <a:gd name="connsiteY7" fmla="*/ 24509 h 2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51" h="24508">
                      <a:moveTo>
                        <a:pt x="6375" y="24509"/>
                      </a:moveTo>
                      <a:cubicBezTo>
                        <a:pt x="5489" y="24509"/>
                        <a:pt x="4589" y="24324"/>
                        <a:pt x="3722" y="23928"/>
                      </a:cubicBezTo>
                      <a:cubicBezTo>
                        <a:pt x="521" y="22461"/>
                        <a:pt x="-889" y="18680"/>
                        <a:pt x="584" y="15472"/>
                      </a:cubicBezTo>
                      <a:lnTo>
                        <a:pt x="5973" y="3712"/>
                      </a:lnTo>
                      <a:cubicBezTo>
                        <a:pt x="7440" y="523"/>
                        <a:pt x="11196" y="-880"/>
                        <a:pt x="14430" y="574"/>
                      </a:cubicBezTo>
                      <a:cubicBezTo>
                        <a:pt x="17631" y="2041"/>
                        <a:pt x="19041" y="5823"/>
                        <a:pt x="17567" y="9031"/>
                      </a:cubicBezTo>
                      <a:lnTo>
                        <a:pt x="12178" y="20790"/>
                      </a:lnTo>
                      <a:cubicBezTo>
                        <a:pt x="11107" y="23124"/>
                        <a:pt x="8792" y="24509"/>
                        <a:pt x="6375" y="24509"/>
                      </a:cubicBezTo>
                      <a:close/>
                    </a:path>
                  </a:pathLst>
                </a:custGeom>
                <a:grpFill/>
                <a:ln w="637" cap="flat">
                  <a:noFill/>
                  <a:prstDash val="solid"/>
                  <a:miter/>
                </a:ln>
              </p:spPr>
              <p:txBody>
                <a:bodyPr rtlCol="0" anchor="ctr"/>
                <a:lstStyle/>
                <a:p>
                  <a:endParaRPr lang="en-GB" dirty="0"/>
                </a:p>
              </p:txBody>
            </p:sp>
          </p:grpSp>
          <p:sp>
            <p:nvSpPr>
              <p:cNvPr id="1032" name="Freeform: Shape 1031">
                <a:extLst>
                  <a:ext uri="{FF2B5EF4-FFF2-40B4-BE49-F238E27FC236}">
                    <a16:creationId xmlns:a16="http://schemas.microsoft.com/office/drawing/2014/main" id="{FC4DE60E-C1EB-469D-98F9-370CA93A14C9}"/>
                  </a:ext>
                </a:extLst>
              </p:cNvPr>
              <p:cNvSpPr/>
              <p:nvPr/>
            </p:nvSpPr>
            <p:spPr>
              <a:xfrm>
                <a:off x="6843844" y="4288100"/>
                <a:ext cx="18711" cy="14752"/>
              </a:xfrm>
              <a:custGeom>
                <a:avLst/>
                <a:gdLst>
                  <a:gd name="connsiteX0" fmla="*/ 6380 w 18711"/>
                  <a:gd name="connsiteY0" fmla="*/ 14752 h 14752"/>
                  <a:gd name="connsiteX1" fmla="*/ 335 w 18711"/>
                  <a:gd name="connsiteY1" fmla="*/ 10409 h 14752"/>
                  <a:gd name="connsiteX2" fmla="*/ 4346 w 18711"/>
                  <a:gd name="connsiteY2" fmla="*/ 2323 h 14752"/>
                  <a:gd name="connsiteX3" fmla="*/ 10290 w 18711"/>
                  <a:gd name="connsiteY3" fmla="*/ 327 h 14752"/>
                  <a:gd name="connsiteX4" fmla="*/ 18376 w 18711"/>
                  <a:gd name="connsiteY4" fmla="*/ 4338 h 14752"/>
                  <a:gd name="connsiteX5" fmla="*/ 14365 w 18711"/>
                  <a:gd name="connsiteY5" fmla="*/ 12424 h 14752"/>
                  <a:gd name="connsiteX6" fmla="*/ 8421 w 18711"/>
                  <a:gd name="connsiteY6" fmla="*/ 14420 h 14752"/>
                  <a:gd name="connsiteX7" fmla="*/ 6380 w 18711"/>
                  <a:gd name="connsiteY7" fmla="*/ 14752 h 1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11" h="14752">
                    <a:moveTo>
                      <a:pt x="6380" y="14752"/>
                    </a:moveTo>
                    <a:cubicBezTo>
                      <a:pt x="3715" y="14752"/>
                      <a:pt x="1228" y="13069"/>
                      <a:pt x="335" y="10409"/>
                    </a:cubicBezTo>
                    <a:cubicBezTo>
                      <a:pt x="-788" y="7074"/>
                      <a:pt x="1004" y="3452"/>
                      <a:pt x="4346" y="2323"/>
                    </a:cubicBezTo>
                    <a:lnTo>
                      <a:pt x="10290" y="327"/>
                    </a:lnTo>
                    <a:cubicBezTo>
                      <a:pt x="13664" y="-777"/>
                      <a:pt x="17254" y="1002"/>
                      <a:pt x="18376" y="4338"/>
                    </a:cubicBezTo>
                    <a:cubicBezTo>
                      <a:pt x="19499" y="7673"/>
                      <a:pt x="17707" y="11296"/>
                      <a:pt x="14365" y="12424"/>
                    </a:cubicBezTo>
                    <a:lnTo>
                      <a:pt x="8421" y="14420"/>
                    </a:lnTo>
                    <a:cubicBezTo>
                      <a:pt x="7739" y="14650"/>
                      <a:pt x="7056" y="14752"/>
                      <a:pt x="6380" y="14752"/>
                    </a:cubicBezTo>
                    <a:close/>
                  </a:path>
                </a:pathLst>
              </a:custGeom>
              <a:grpFill/>
              <a:ln w="637" cap="flat">
                <a:noFill/>
                <a:prstDash val="solid"/>
                <a:miter/>
              </a:ln>
            </p:spPr>
            <p:txBody>
              <a:bodyPr rtlCol="0" anchor="ctr"/>
              <a:lstStyle/>
              <a:p>
                <a:endParaRPr lang="en-GB" dirty="0"/>
              </a:p>
            </p:txBody>
          </p:sp>
          <p:sp>
            <p:nvSpPr>
              <p:cNvPr id="1033" name="Freeform: Shape 1032">
                <a:extLst>
                  <a:ext uri="{FF2B5EF4-FFF2-40B4-BE49-F238E27FC236}">
                    <a16:creationId xmlns:a16="http://schemas.microsoft.com/office/drawing/2014/main" id="{DD535A0E-F6F5-4A5C-89A9-41D3B963C466}"/>
                  </a:ext>
                </a:extLst>
              </p:cNvPr>
              <p:cNvSpPr/>
              <p:nvPr/>
            </p:nvSpPr>
            <p:spPr>
              <a:xfrm>
                <a:off x="6859856" y="4339558"/>
                <a:ext cx="21730" cy="14288"/>
              </a:xfrm>
              <a:custGeom>
                <a:avLst/>
                <a:gdLst>
                  <a:gd name="connsiteX0" fmla="*/ 6369 w 21730"/>
                  <a:gd name="connsiteY0" fmla="*/ 14288 h 14288"/>
                  <a:gd name="connsiteX1" fmla="*/ 94 w 21730"/>
                  <a:gd name="connsiteY1" fmla="*/ 8989 h 14288"/>
                  <a:gd name="connsiteX2" fmla="*/ 5298 w 21730"/>
                  <a:gd name="connsiteY2" fmla="*/ 1629 h 14288"/>
                  <a:gd name="connsiteX3" fmla="*/ 14277 w 21730"/>
                  <a:gd name="connsiteY3" fmla="*/ 92 h 14288"/>
                  <a:gd name="connsiteX4" fmla="*/ 21637 w 21730"/>
                  <a:gd name="connsiteY4" fmla="*/ 5296 h 14288"/>
                  <a:gd name="connsiteX5" fmla="*/ 16433 w 21730"/>
                  <a:gd name="connsiteY5" fmla="*/ 12656 h 14288"/>
                  <a:gd name="connsiteX6" fmla="*/ 7453 w 21730"/>
                  <a:gd name="connsiteY6" fmla="*/ 14193 h 14288"/>
                  <a:gd name="connsiteX7" fmla="*/ 6369 w 21730"/>
                  <a:gd name="connsiteY7" fmla="*/ 14288 h 14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730" h="14288">
                    <a:moveTo>
                      <a:pt x="6369" y="14288"/>
                    </a:moveTo>
                    <a:cubicBezTo>
                      <a:pt x="3314" y="14288"/>
                      <a:pt x="623" y="12094"/>
                      <a:pt x="94" y="8989"/>
                    </a:cubicBezTo>
                    <a:cubicBezTo>
                      <a:pt x="-506" y="5513"/>
                      <a:pt x="1829" y="2216"/>
                      <a:pt x="5298" y="1629"/>
                    </a:cubicBezTo>
                    <a:lnTo>
                      <a:pt x="14277" y="92"/>
                    </a:lnTo>
                    <a:cubicBezTo>
                      <a:pt x="17810" y="-501"/>
                      <a:pt x="21050" y="1827"/>
                      <a:pt x="21637" y="5296"/>
                    </a:cubicBezTo>
                    <a:cubicBezTo>
                      <a:pt x="22236" y="8772"/>
                      <a:pt x="19902" y="12069"/>
                      <a:pt x="16433" y="12656"/>
                    </a:cubicBezTo>
                    <a:lnTo>
                      <a:pt x="7453" y="14193"/>
                    </a:lnTo>
                    <a:cubicBezTo>
                      <a:pt x="7083" y="14263"/>
                      <a:pt x="6726" y="14288"/>
                      <a:pt x="6369" y="14288"/>
                    </a:cubicBezTo>
                    <a:close/>
                  </a:path>
                </a:pathLst>
              </a:custGeom>
              <a:grpFill/>
              <a:ln w="637" cap="flat">
                <a:noFill/>
                <a:prstDash val="solid"/>
                <a:miter/>
              </a:ln>
            </p:spPr>
            <p:txBody>
              <a:bodyPr rtlCol="0" anchor="ctr"/>
              <a:lstStyle/>
              <a:p>
                <a:endParaRPr lang="en-GB" dirty="0"/>
              </a:p>
            </p:txBody>
          </p:sp>
          <p:sp>
            <p:nvSpPr>
              <p:cNvPr id="1034" name="Freeform: Shape 1033">
                <a:extLst>
                  <a:ext uri="{FF2B5EF4-FFF2-40B4-BE49-F238E27FC236}">
                    <a16:creationId xmlns:a16="http://schemas.microsoft.com/office/drawing/2014/main" id="{C883A832-3031-4EB6-A31F-E20126B0610C}"/>
                  </a:ext>
                </a:extLst>
              </p:cNvPr>
              <p:cNvSpPr/>
              <p:nvPr/>
            </p:nvSpPr>
            <p:spPr>
              <a:xfrm>
                <a:off x="6908025" y="4308497"/>
                <a:ext cx="15085" cy="26402"/>
              </a:xfrm>
              <a:custGeom>
                <a:avLst/>
                <a:gdLst>
                  <a:gd name="connsiteX0" fmla="*/ 6382 w 15085"/>
                  <a:gd name="connsiteY0" fmla="*/ 26402 h 26402"/>
                  <a:gd name="connsiteX1" fmla="*/ 5298 w 15085"/>
                  <a:gd name="connsiteY1" fmla="*/ 26306 h 26402"/>
                  <a:gd name="connsiteX2" fmla="*/ 94 w 15085"/>
                  <a:gd name="connsiteY2" fmla="*/ 18947 h 26402"/>
                  <a:gd name="connsiteX3" fmla="*/ 2428 w 15085"/>
                  <a:gd name="connsiteY3" fmla="*/ 5293 h 26402"/>
                  <a:gd name="connsiteX4" fmla="*/ 9787 w 15085"/>
                  <a:gd name="connsiteY4" fmla="*/ 89 h 26402"/>
                  <a:gd name="connsiteX5" fmla="*/ 14992 w 15085"/>
                  <a:gd name="connsiteY5" fmla="*/ 7449 h 26402"/>
                  <a:gd name="connsiteX6" fmla="*/ 12657 w 15085"/>
                  <a:gd name="connsiteY6" fmla="*/ 21102 h 26402"/>
                  <a:gd name="connsiteX7" fmla="*/ 6382 w 15085"/>
                  <a:gd name="connsiteY7" fmla="*/ 26402 h 2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5" h="26402">
                    <a:moveTo>
                      <a:pt x="6382" y="26402"/>
                    </a:moveTo>
                    <a:cubicBezTo>
                      <a:pt x="6025" y="26402"/>
                      <a:pt x="5668" y="26370"/>
                      <a:pt x="5298" y="26306"/>
                    </a:cubicBezTo>
                    <a:cubicBezTo>
                      <a:pt x="1829" y="25714"/>
                      <a:pt x="-506" y="22423"/>
                      <a:pt x="94" y="18947"/>
                    </a:cubicBezTo>
                    <a:lnTo>
                      <a:pt x="2428" y="5293"/>
                    </a:lnTo>
                    <a:cubicBezTo>
                      <a:pt x="3021" y="1824"/>
                      <a:pt x="6280" y="-491"/>
                      <a:pt x="9787" y="89"/>
                    </a:cubicBezTo>
                    <a:cubicBezTo>
                      <a:pt x="13257" y="682"/>
                      <a:pt x="15591" y="3973"/>
                      <a:pt x="14992" y="7449"/>
                    </a:cubicBezTo>
                    <a:lnTo>
                      <a:pt x="12657" y="21102"/>
                    </a:lnTo>
                    <a:cubicBezTo>
                      <a:pt x="12128" y="24208"/>
                      <a:pt x="9430" y="26402"/>
                      <a:pt x="6382" y="26402"/>
                    </a:cubicBezTo>
                    <a:close/>
                  </a:path>
                </a:pathLst>
              </a:custGeom>
              <a:grpFill/>
              <a:ln w="637" cap="flat">
                <a:noFill/>
                <a:prstDash val="solid"/>
                <a:miter/>
              </a:ln>
            </p:spPr>
            <p:txBody>
              <a:bodyPr rtlCol="0" anchor="ctr"/>
              <a:lstStyle/>
              <a:p>
                <a:endParaRPr lang="en-GB" dirty="0"/>
              </a:p>
            </p:txBody>
          </p:sp>
        </p:grpSp>
        <p:grpSp>
          <p:nvGrpSpPr>
            <p:cNvPr id="1028" name="Graphic 32">
              <a:extLst>
                <a:ext uri="{FF2B5EF4-FFF2-40B4-BE49-F238E27FC236}">
                  <a16:creationId xmlns:a16="http://schemas.microsoft.com/office/drawing/2014/main" id="{56133F1B-04A9-4576-9756-529019660717}"/>
                </a:ext>
              </a:extLst>
            </p:cNvPr>
            <p:cNvGrpSpPr/>
            <p:nvPr/>
          </p:nvGrpSpPr>
          <p:grpSpPr>
            <a:xfrm>
              <a:off x="7056846" y="2512512"/>
              <a:ext cx="484552" cy="211341"/>
              <a:chOff x="6638751" y="4144149"/>
              <a:chExt cx="484552" cy="211341"/>
            </a:xfrm>
            <a:solidFill>
              <a:schemeClr val="accent1"/>
            </a:solidFill>
          </p:grpSpPr>
          <p:sp>
            <p:nvSpPr>
              <p:cNvPr id="1029" name="Freeform: Shape 1028">
                <a:extLst>
                  <a:ext uri="{FF2B5EF4-FFF2-40B4-BE49-F238E27FC236}">
                    <a16:creationId xmlns:a16="http://schemas.microsoft.com/office/drawing/2014/main" id="{7BD9DD08-778E-44AE-997F-0A7B34979D59}"/>
                  </a:ext>
                </a:extLst>
              </p:cNvPr>
              <p:cNvSpPr/>
              <p:nvPr/>
            </p:nvSpPr>
            <p:spPr>
              <a:xfrm>
                <a:off x="6638751" y="4144149"/>
                <a:ext cx="135126" cy="211341"/>
              </a:xfrm>
              <a:custGeom>
                <a:avLst/>
                <a:gdLst>
                  <a:gd name="connsiteX0" fmla="*/ 74979 w 135126"/>
                  <a:gd name="connsiteY0" fmla="*/ 211342 h 211341"/>
                  <a:gd name="connsiteX1" fmla="*/ 12914 w 135126"/>
                  <a:gd name="connsiteY1" fmla="*/ 197969 h 211341"/>
                  <a:gd name="connsiteX2" fmla="*/ 9336 w 135126"/>
                  <a:gd name="connsiteY2" fmla="*/ 194244 h 211341"/>
                  <a:gd name="connsiteX3" fmla="*/ 54985 w 135126"/>
                  <a:gd name="connsiteY3" fmla="*/ 25326 h 211341"/>
                  <a:gd name="connsiteX4" fmla="*/ 81605 w 135126"/>
                  <a:gd name="connsiteY4" fmla="*/ 3547 h 211341"/>
                  <a:gd name="connsiteX5" fmla="*/ 101336 w 135126"/>
                  <a:gd name="connsiteY5" fmla="*/ 3503 h 211341"/>
                  <a:gd name="connsiteX6" fmla="*/ 117918 w 135126"/>
                  <a:gd name="connsiteY6" fmla="*/ 14268 h 211341"/>
                  <a:gd name="connsiteX7" fmla="*/ 126744 w 135126"/>
                  <a:gd name="connsiteY7" fmla="*/ 29395 h 211341"/>
                  <a:gd name="connsiteX8" fmla="*/ 127541 w 135126"/>
                  <a:gd name="connsiteY8" fmla="*/ 42481 h 211341"/>
                  <a:gd name="connsiteX9" fmla="*/ 119231 w 135126"/>
                  <a:gd name="connsiteY9" fmla="*/ 59069 h 211341"/>
                  <a:gd name="connsiteX10" fmla="*/ 111400 w 135126"/>
                  <a:gd name="connsiteY10" fmla="*/ 62883 h 211341"/>
                  <a:gd name="connsiteX11" fmla="*/ 96509 w 135126"/>
                  <a:gd name="connsiteY11" fmla="*/ 62022 h 211341"/>
                  <a:gd name="connsiteX12" fmla="*/ 88843 w 135126"/>
                  <a:gd name="connsiteY12" fmla="*/ 57118 h 211341"/>
                  <a:gd name="connsiteX13" fmla="*/ 68933 w 135126"/>
                  <a:gd name="connsiteY13" fmla="*/ 61429 h 211341"/>
                  <a:gd name="connsiteX14" fmla="*/ 63187 w 135126"/>
                  <a:gd name="connsiteY14" fmla="*/ 67443 h 211341"/>
                  <a:gd name="connsiteX15" fmla="*/ 60234 w 135126"/>
                  <a:gd name="connsiteY15" fmla="*/ 92193 h 211341"/>
                  <a:gd name="connsiteX16" fmla="*/ 65285 w 135126"/>
                  <a:gd name="connsiteY16" fmla="*/ 134482 h 211341"/>
                  <a:gd name="connsiteX17" fmla="*/ 131986 w 135126"/>
                  <a:gd name="connsiteY17" fmla="*/ 133423 h 211341"/>
                  <a:gd name="connsiteX18" fmla="*/ 134244 w 135126"/>
                  <a:gd name="connsiteY18" fmla="*/ 142154 h 211341"/>
                  <a:gd name="connsiteX19" fmla="*/ 125513 w 135126"/>
                  <a:gd name="connsiteY19" fmla="*/ 144411 h 211341"/>
                  <a:gd name="connsiteX20" fmla="*/ 58072 w 135126"/>
                  <a:gd name="connsiteY20" fmla="*/ 156375 h 211341"/>
                  <a:gd name="connsiteX21" fmla="*/ 47199 w 135126"/>
                  <a:gd name="connsiteY21" fmla="*/ 158831 h 211341"/>
                  <a:gd name="connsiteX22" fmla="*/ 45968 w 135126"/>
                  <a:gd name="connsiteY22" fmla="*/ 150285 h 211341"/>
                  <a:gd name="connsiteX23" fmla="*/ 48162 w 135126"/>
                  <a:gd name="connsiteY23" fmla="*/ 96294 h 211341"/>
                  <a:gd name="connsiteX24" fmla="*/ 52581 w 135126"/>
                  <a:gd name="connsiteY24" fmla="*/ 60370 h 211341"/>
                  <a:gd name="connsiteX25" fmla="*/ 60502 w 135126"/>
                  <a:gd name="connsiteY25" fmla="*/ 51863 h 211341"/>
                  <a:gd name="connsiteX26" fmla="*/ 90112 w 135126"/>
                  <a:gd name="connsiteY26" fmla="*/ 44242 h 211341"/>
                  <a:gd name="connsiteX27" fmla="*/ 93945 w 135126"/>
                  <a:gd name="connsiteY27" fmla="*/ 45230 h 211341"/>
                  <a:gd name="connsiteX28" fmla="*/ 103390 w 135126"/>
                  <a:gd name="connsiteY28" fmla="*/ 51270 h 211341"/>
                  <a:gd name="connsiteX29" fmla="*/ 105820 w 135126"/>
                  <a:gd name="connsiteY29" fmla="*/ 51410 h 211341"/>
                  <a:gd name="connsiteX30" fmla="*/ 113658 w 135126"/>
                  <a:gd name="connsiteY30" fmla="*/ 47590 h 211341"/>
                  <a:gd name="connsiteX31" fmla="*/ 114997 w 135126"/>
                  <a:gd name="connsiteY31" fmla="*/ 44777 h 211341"/>
                  <a:gd name="connsiteX32" fmla="*/ 114844 w 135126"/>
                  <a:gd name="connsiteY32" fmla="*/ 43719 h 211341"/>
                  <a:gd name="connsiteX33" fmla="*/ 114021 w 135126"/>
                  <a:gd name="connsiteY33" fmla="*/ 30173 h 211341"/>
                  <a:gd name="connsiteX34" fmla="*/ 110979 w 135126"/>
                  <a:gd name="connsiteY34" fmla="*/ 24975 h 211341"/>
                  <a:gd name="connsiteX35" fmla="*/ 94079 w 135126"/>
                  <a:gd name="connsiteY35" fmla="*/ 13994 h 211341"/>
                  <a:gd name="connsiteX36" fmla="*/ 93384 w 135126"/>
                  <a:gd name="connsiteY36" fmla="*/ 13464 h 211341"/>
                  <a:gd name="connsiteX37" fmla="*/ 89704 w 135126"/>
                  <a:gd name="connsiteY37" fmla="*/ 13413 h 211341"/>
                  <a:gd name="connsiteX38" fmla="*/ 63097 w 135126"/>
                  <a:gd name="connsiteY38" fmla="*/ 35186 h 211341"/>
                  <a:gd name="connsiteX39" fmla="*/ 20401 w 135126"/>
                  <a:gd name="connsiteY39" fmla="*/ 187229 h 211341"/>
                  <a:gd name="connsiteX40" fmla="*/ 112892 w 135126"/>
                  <a:gd name="connsiteY40" fmla="*/ 191795 h 211341"/>
                  <a:gd name="connsiteX41" fmla="*/ 121113 w 135126"/>
                  <a:gd name="connsiteY41" fmla="*/ 195507 h 211341"/>
                  <a:gd name="connsiteX42" fmla="*/ 117401 w 135126"/>
                  <a:gd name="connsiteY42" fmla="*/ 203727 h 211341"/>
                  <a:gd name="connsiteX43" fmla="*/ 74979 w 135126"/>
                  <a:gd name="connsiteY43" fmla="*/ 211342 h 21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5126" h="211341">
                    <a:moveTo>
                      <a:pt x="74979" y="211342"/>
                    </a:moveTo>
                    <a:cubicBezTo>
                      <a:pt x="55349" y="211342"/>
                      <a:pt x="34603" y="206884"/>
                      <a:pt x="12914" y="197969"/>
                    </a:cubicBezTo>
                    <a:cubicBezTo>
                      <a:pt x="11249" y="197293"/>
                      <a:pt x="9955" y="195934"/>
                      <a:pt x="9336" y="194244"/>
                    </a:cubicBezTo>
                    <a:cubicBezTo>
                      <a:pt x="-26945" y="94234"/>
                      <a:pt x="54163" y="26002"/>
                      <a:pt x="54985" y="25326"/>
                    </a:cubicBezTo>
                    <a:lnTo>
                      <a:pt x="81605" y="3547"/>
                    </a:lnTo>
                    <a:cubicBezTo>
                      <a:pt x="87370" y="-1178"/>
                      <a:pt x="95590" y="-1172"/>
                      <a:pt x="101336" y="3503"/>
                    </a:cubicBezTo>
                    <a:lnTo>
                      <a:pt x="117918" y="14268"/>
                    </a:lnTo>
                    <a:cubicBezTo>
                      <a:pt x="123064" y="17597"/>
                      <a:pt x="126361" y="23254"/>
                      <a:pt x="126744" y="29395"/>
                    </a:cubicBezTo>
                    <a:lnTo>
                      <a:pt x="127541" y="42481"/>
                    </a:lnTo>
                    <a:cubicBezTo>
                      <a:pt x="128842" y="49261"/>
                      <a:pt x="125494" y="56021"/>
                      <a:pt x="119231" y="59069"/>
                    </a:cubicBezTo>
                    <a:lnTo>
                      <a:pt x="111400" y="62883"/>
                    </a:lnTo>
                    <a:cubicBezTo>
                      <a:pt x="106674" y="65191"/>
                      <a:pt x="100954" y="64866"/>
                      <a:pt x="96509" y="62022"/>
                    </a:cubicBezTo>
                    <a:lnTo>
                      <a:pt x="88843" y="57118"/>
                    </a:lnTo>
                    <a:cubicBezTo>
                      <a:pt x="79940" y="57857"/>
                      <a:pt x="70789" y="59809"/>
                      <a:pt x="68933" y="61429"/>
                    </a:cubicBezTo>
                    <a:cubicBezTo>
                      <a:pt x="66713" y="63387"/>
                      <a:pt x="64602" y="65319"/>
                      <a:pt x="63187" y="67443"/>
                    </a:cubicBezTo>
                    <a:cubicBezTo>
                      <a:pt x="58487" y="74509"/>
                      <a:pt x="57377" y="83775"/>
                      <a:pt x="60234" y="92193"/>
                    </a:cubicBezTo>
                    <a:cubicBezTo>
                      <a:pt x="62555" y="99049"/>
                      <a:pt x="68269" y="115904"/>
                      <a:pt x="65285" y="134482"/>
                    </a:cubicBezTo>
                    <a:cubicBezTo>
                      <a:pt x="92185" y="117575"/>
                      <a:pt x="115832" y="123908"/>
                      <a:pt x="131986" y="133423"/>
                    </a:cubicBezTo>
                    <a:cubicBezTo>
                      <a:pt x="135022" y="135209"/>
                      <a:pt x="136029" y="139125"/>
                      <a:pt x="134244" y="142154"/>
                    </a:cubicBezTo>
                    <a:cubicBezTo>
                      <a:pt x="132452" y="145189"/>
                      <a:pt x="128536" y="146191"/>
                      <a:pt x="125513" y="144411"/>
                    </a:cubicBezTo>
                    <a:cubicBezTo>
                      <a:pt x="102956" y="131114"/>
                      <a:pt x="80272" y="135145"/>
                      <a:pt x="58072" y="156375"/>
                    </a:cubicBezTo>
                    <a:cubicBezTo>
                      <a:pt x="55693" y="158665"/>
                      <a:pt x="51727" y="162536"/>
                      <a:pt x="47199" y="158831"/>
                    </a:cubicBezTo>
                    <a:cubicBezTo>
                      <a:pt x="44699" y="156777"/>
                      <a:pt x="44208" y="153008"/>
                      <a:pt x="45968" y="150285"/>
                    </a:cubicBezTo>
                    <a:cubicBezTo>
                      <a:pt x="59373" y="129361"/>
                      <a:pt x="51223" y="105337"/>
                      <a:pt x="48162" y="96294"/>
                    </a:cubicBezTo>
                    <a:cubicBezTo>
                      <a:pt x="44042" y="84151"/>
                      <a:pt x="45700" y="70720"/>
                      <a:pt x="52581" y="60370"/>
                    </a:cubicBezTo>
                    <a:cubicBezTo>
                      <a:pt x="54858" y="56965"/>
                      <a:pt x="57747" y="54305"/>
                      <a:pt x="60502" y="51863"/>
                    </a:cubicBezTo>
                    <a:cubicBezTo>
                      <a:pt x="67077" y="46078"/>
                      <a:pt x="84825" y="44561"/>
                      <a:pt x="90112" y="44242"/>
                    </a:cubicBezTo>
                    <a:cubicBezTo>
                      <a:pt x="91458" y="44178"/>
                      <a:pt x="92803" y="44509"/>
                      <a:pt x="93945" y="45230"/>
                    </a:cubicBezTo>
                    <a:lnTo>
                      <a:pt x="103390" y="51270"/>
                    </a:lnTo>
                    <a:cubicBezTo>
                      <a:pt x="104117" y="51735"/>
                      <a:pt x="105042" y="51799"/>
                      <a:pt x="105820" y="51410"/>
                    </a:cubicBezTo>
                    <a:lnTo>
                      <a:pt x="113658" y="47590"/>
                    </a:lnTo>
                    <a:cubicBezTo>
                      <a:pt x="114710" y="47080"/>
                      <a:pt x="115265" y="45919"/>
                      <a:pt x="114997" y="44777"/>
                    </a:cubicBezTo>
                    <a:cubicBezTo>
                      <a:pt x="114914" y="44426"/>
                      <a:pt x="114863" y="44076"/>
                      <a:pt x="114844" y="43719"/>
                    </a:cubicBezTo>
                    <a:lnTo>
                      <a:pt x="114021" y="30173"/>
                    </a:lnTo>
                    <a:cubicBezTo>
                      <a:pt x="113887" y="28062"/>
                      <a:pt x="112758" y="26117"/>
                      <a:pt x="110979" y="24975"/>
                    </a:cubicBezTo>
                    <a:lnTo>
                      <a:pt x="94079" y="13994"/>
                    </a:lnTo>
                    <a:cubicBezTo>
                      <a:pt x="93837" y="13834"/>
                      <a:pt x="93601" y="13656"/>
                      <a:pt x="93384" y="13464"/>
                    </a:cubicBezTo>
                    <a:cubicBezTo>
                      <a:pt x="92325" y="12546"/>
                      <a:pt x="90788" y="12539"/>
                      <a:pt x="89704" y="13413"/>
                    </a:cubicBezTo>
                    <a:lnTo>
                      <a:pt x="63097" y="35186"/>
                    </a:lnTo>
                    <a:cubicBezTo>
                      <a:pt x="60062" y="37692"/>
                      <a:pt x="-10421" y="97308"/>
                      <a:pt x="20401" y="187229"/>
                    </a:cubicBezTo>
                    <a:cubicBezTo>
                      <a:pt x="54341" y="200621"/>
                      <a:pt x="85457" y="202152"/>
                      <a:pt x="112892" y="191795"/>
                    </a:cubicBezTo>
                    <a:cubicBezTo>
                      <a:pt x="116189" y="190552"/>
                      <a:pt x="119869" y="192210"/>
                      <a:pt x="121113" y="195507"/>
                    </a:cubicBezTo>
                    <a:cubicBezTo>
                      <a:pt x="122356" y="198804"/>
                      <a:pt x="120698" y="202484"/>
                      <a:pt x="117401" y="203727"/>
                    </a:cubicBezTo>
                    <a:cubicBezTo>
                      <a:pt x="103938" y="208804"/>
                      <a:pt x="89774" y="211342"/>
                      <a:pt x="74979" y="211342"/>
                    </a:cubicBezTo>
                    <a:close/>
                  </a:path>
                </a:pathLst>
              </a:custGeom>
              <a:solidFill>
                <a:schemeClr val="accent1"/>
              </a:solidFill>
              <a:ln w="637" cap="flat">
                <a:noFill/>
                <a:prstDash val="solid"/>
                <a:miter/>
              </a:ln>
            </p:spPr>
            <p:txBody>
              <a:bodyPr rtlCol="0" anchor="ctr"/>
              <a:lstStyle/>
              <a:p>
                <a:endParaRPr lang="en-GB" dirty="0"/>
              </a:p>
            </p:txBody>
          </p:sp>
          <p:sp>
            <p:nvSpPr>
              <p:cNvPr id="1030" name="Freeform: Shape 1029">
                <a:extLst>
                  <a:ext uri="{FF2B5EF4-FFF2-40B4-BE49-F238E27FC236}">
                    <a16:creationId xmlns:a16="http://schemas.microsoft.com/office/drawing/2014/main" id="{025DB606-A008-469B-A51A-01E70AA6DCA2}"/>
                  </a:ext>
                </a:extLst>
              </p:cNvPr>
              <p:cNvSpPr/>
              <p:nvPr/>
            </p:nvSpPr>
            <p:spPr>
              <a:xfrm>
                <a:off x="6988171" y="4144149"/>
                <a:ext cx="135132" cy="211335"/>
              </a:xfrm>
              <a:custGeom>
                <a:avLst/>
                <a:gdLst>
                  <a:gd name="connsiteX0" fmla="*/ 60123 w 135132"/>
                  <a:gd name="connsiteY0" fmla="*/ 211336 h 211335"/>
                  <a:gd name="connsiteX1" fmla="*/ 17713 w 135132"/>
                  <a:gd name="connsiteY1" fmla="*/ 203727 h 211335"/>
                  <a:gd name="connsiteX2" fmla="*/ 14001 w 135132"/>
                  <a:gd name="connsiteY2" fmla="*/ 195507 h 211335"/>
                  <a:gd name="connsiteX3" fmla="*/ 22222 w 135132"/>
                  <a:gd name="connsiteY3" fmla="*/ 191795 h 211335"/>
                  <a:gd name="connsiteX4" fmla="*/ 114713 w 135132"/>
                  <a:gd name="connsiteY4" fmla="*/ 187236 h 211335"/>
                  <a:gd name="connsiteX5" fmla="*/ 72010 w 135132"/>
                  <a:gd name="connsiteY5" fmla="*/ 35173 h 211335"/>
                  <a:gd name="connsiteX6" fmla="*/ 45416 w 135132"/>
                  <a:gd name="connsiteY6" fmla="*/ 13413 h 211335"/>
                  <a:gd name="connsiteX7" fmla="*/ 41737 w 135132"/>
                  <a:gd name="connsiteY7" fmla="*/ 13464 h 211335"/>
                  <a:gd name="connsiteX8" fmla="*/ 41041 w 135132"/>
                  <a:gd name="connsiteY8" fmla="*/ 13994 h 211335"/>
                  <a:gd name="connsiteX9" fmla="*/ 24141 w 135132"/>
                  <a:gd name="connsiteY9" fmla="*/ 24969 h 211335"/>
                  <a:gd name="connsiteX10" fmla="*/ 21099 w 135132"/>
                  <a:gd name="connsiteY10" fmla="*/ 30179 h 211335"/>
                  <a:gd name="connsiteX11" fmla="*/ 20277 w 135132"/>
                  <a:gd name="connsiteY11" fmla="*/ 43719 h 211335"/>
                  <a:gd name="connsiteX12" fmla="*/ 20124 w 135132"/>
                  <a:gd name="connsiteY12" fmla="*/ 44777 h 211335"/>
                  <a:gd name="connsiteX13" fmla="*/ 21463 w 135132"/>
                  <a:gd name="connsiteY13" fmla="*/ 47590 h 211335"/>
                  <a:gd name="connsiteX14" fmla="*/ 29294 w 135132"/>
                  <a:gd name="connsiteY14" fmla="*/ 51403 h 211335"/>
                  <a:gd name="connsiteX15" fmla="*/ 31743 w 135132"/>
                  <a:gd name="connsiteY15" fmla="*/ 51270 h 211335"/>
                  <a:gd name="connsiteX16" fmla="*/ 41182 w 135132"/>
                  <a:gd name="connsiteY16" fmla="*/ 45230 h 211335"/>
                  <a:gd name="connsiteX17" fmla="*/ 45015 w 135132"/>
                  <a:gd name="connsiteY17" fmla="*/ 44242 h 211335"/>
                  <a:gd name="connsiteX18" fmla="*/ 74618 w 135132"/>
                  <a:gd name="connsiteY18" fmla="*/ 51863 h 211335"/>
                  <a:gd name="connsiteX19" fmla="*/ 82533 w 135132"/>
                  <a:gd name="connsiteY19" fmla="*/ 60364 h 211335"/>
                  <a:gd name="connsiteX20" fmla="*/ 86965 w 135132"/>
                  <a:gd name="connsiteY20" fmla="*/ 96294 h 211335"/>
                  <a:gd name="connsiteX21" fmla="*/ 89172 w 135132"/>
                  <a:gd name="connsiteY21" fmla="*/ 150310 h 211335"/>
                  <a:gd name="connsiteX22" fmla="*/ 87909 w 135132"/>
                  <a:gd name="connsiteY22" fmla="*/ 158843 h 211335"/>
                  <a:gd name="connsiteX23" fmla="*/ 77048 w 135132"/>
                  <a:gd name="connsiteY23" fmla="*/ 156369 h 211335"/>
                  <a:gd name="connsiteX24" fmla="*/ 9614 w 135132"/>
                  <a:gd name="connsiteY24" fmla="*/ 144411 h 211335"/>
                  <a:gd name="connsiteX25" fmla="*/ 883 w 135132"/>
                  <a:gd name="connsiteY25" fmla="*/ 142154 h 211335"/>
                  <a:gd name="connsiteX26" fmla="*/ 3140 w 135132"/>
                  <a:gd name="connsiteY26" fmla="*/ 133423 h 211335"/>
                  <a:gd name="connsiteX27" fmla="*/ 69835 w 135132"/>
                  <a:gd name="connsiteY27" fmla="*/ 134475 h 211335"/>
                  <a:gd name="connsiteX28" fmla="*/ 74893 w 135132"/>
                  <a:gd name="connsiteY28" fmla="*/ 92193 h 211335"/>
                  <a:gd name="connsiteX29" fmla="*/ 71927 w 135132"/>
                  <a:gd name="connsiteY29" fmla="*/ 67436 h 211335"/>
                  <a:gd name="connsiteX30" fmla="*/ 66187 w 135132"/>
                  <a:gd name="connsiteY30" fmla="*/ 61429 h 211335"/>
                  <a:gd name="connsiteX31" fmla="*/ 46284 w 135132"/>
                  <a:gd name="connsiteY31" fmla="*/ 57118 h 211335"/>
                  <a:gd name="connsiteX32" fmla="*/ 38624 w 135132"/>
                  <a:gd name="connsiteY32" fmla="*/ 62022 h 211335"/>
                  <a:gd name="connsiteX33" fmla="*/ 23714 w 135132"/>
                  <a:gd name="connsiteY33" fmla="*/ 62876 h 211335"/>
                  <a:gd name="connsiteX34" fmla="*/ 15895 w 135132"/>
                  <a:gd name="connsiteY34" fmla="*/ 59069 h 211335"/>
                  <a:gd name="connsiteX35" fmla="*/ 7586 w 135132"/>
                  <a:gd name="connsiteY35" fmla="*/ 42481 h 211335"/>
                  <a:gd name="connsiteX36" fmla="*/ 8383 w 135132"/>
                  <a:gd name="connsiteY36" fmla="*/ 29401 h 211335"/>
                  <a:gd name="connsiteX37" fmla="*/ 17209 w 135132"/>
                  <a:gd name="connsiteY37" fmla="*/ 14268 h 211335"/>
                  <a:gd name="connsiteX38" fmla="*/ 33790 w 135132"/>
                  <a:gd name="connsiteY38" fmla="*/ 3503 h 211335"/>
                  <a:gd name="connsiteX39" fmla="*/ 53522 w 135132"/>
                  <a:gd name="connsiteY39" fmla="*/ 3547 h 211335"/>
                  <a:gd name="connsiteX40" fmla="*/ 80128 w 135132"/>
                  <a:gd name="connsiteY40" fmla="*/ 25320 h 211335"/>
                  <a:gd name="connsiteX41" fmla="*/ 125797 w 135132"/>
                  <a:gd name="connsiteY41" fmla="*/ 194238 h 211335"/>
                  <a:gd name="connsiteX42" fmla="*/ 122219 w 135132"/>
                  <a:gd name="connsiteY42" fmla="*/ 197962 h 211335"/>
                  <a:gd name="connsiteX43" fmla="*/ 60123 w 135132"/>
                  <a:gd name="connsiteY43" fmla="*/ 211336 h 211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35132" h="211335">
                    <a:moveTo>
                      <a:pt x="60123" y="211336"/>
                    </a:moveTo>
                    <a:cubicBezTo>
                      <a:pt x="45321" y="211336"/>
                      <a:pt x="31157" y="208804"/>
                      <a:pt x="17713" y="203727"/>
                    </a:cubicBezTo>
                    <a:cubicBezTo>
                      <a:pt x="14416" y="202484"/>
                      <a:pt x="12758" y="198804"/>
                      <a:pt x="14001" y="195507"/>
                    </a:cubicBezTo>
                    <a:cubicBezTo>
                      <a:pt x="15245" y="192210"/>
                      <a:pt x="18918" y="190545"/>
                      <a:pt x="22222" y="191795"/>
                    </a:cubicBezTo>
                    <a:cubicBezTo>
                      <a:pt x="49664" y="202159"/>
                      <a:pt x="80785" y="200628"/>
                      <a:pt x="114713" y="187236"/>
                    </a:cubicBezTo>
                    <a:cubicBezTo>
                      <a:pt x="145541" y="97308"/>
                      <a:pt x="75046" y="37692"/>
                      <a:pt x="72010" y="35173"/>
                    </a:cubicBezTo>
                    <a:lnTo>
                      <a:pt x="45416" y="13413"/>
                    </a:lnTo>
                    <a:cubicBezTo>
                      <a:pt x="44332" y="12533"/>
                      <a:pt x="42795" y="12546"/>
                      <a:pt x="41737" y="13464"/>
                    </a:cubicBezTo>
                    <a:cubicBezTo>
                      <a:pt x="41520" y="13656"/>
                      <a:pt x="41284" y="13834"/>
                      <a:pt x="41041" y="13994"/>
                    </a:cubicBezTo>
                    <a:lnTo>
                      <a:pt x="24141" y="24969"/>
                    </a:lnTo>
                    <a:cubicBezTo>
                      <a:pt x="22368" y="26117"/>
                      <a:pt x="21233" y="28062"/>
                      <a:pt x="21099" y="30179"/>
                    </a:cubicBezTo>
                    <a:lnTo>
                      <a:pt x="20277" y="43719"/>
                    </a:lnTo>
                    <a:cubicBezTo>
                      <a:pt x="20257" y="44076"/>
                      <a:pt x="20200" y="44426"/>
                      <a:pt x="20124" y="44777"/>
                    </a:cubicBezTo>
                    <a:cubicBezTo>
                      <a:pt x="19856" y="45925"/>
                      <a:pt x="20411" y="47080"/>
                      <a:pt x="21463" y="47590"/>
                    </a:cubicBezTo>
                    <a:lnTo>
                      <a:pt x="29294" y="51403"/>
                    </a:lnTo>
                    <a:cubicBezTo>
                      <a:pt x="30085" y="51786"/>
                      <a:pt x="31022" y="51735"/>
                      <a:pt x="31743" y="51270"/>
                    </a:cubicBezTo>
                    <a:lnTo>
                      <a:pt x="41182" y="45230"/>
                    </a:lnTo>
                    <a:cubicBezTo>
                      <a:pt x="42317" y="44509"/>
                      <a:pt x="43650" y="44165"/>
                      <a:pt x="45015" y="44242"/>
                    </a:cubicBezTo>
                    <a:cubicBezTo>
                      <a:pt x="50295" y="44567"/>
                      <a:pt x="68043" y="46078"/>
                      <a:pt x="74618" y="51863"/>
                    </a:cubicBezTo>
                    <a:cubicBezTo>
                      <a:pt x="77386" y="54305"/>
                      <a:pt x="80275" y="56971"/>
                      <a:pt x="82533" y="60364"/>
                    </a:cubicBezTo>
                    <a:cubicBezTo>
                      <a:pt x="89427" y="70714"/>
                      <a:pt x="91085" y="84145"/>
                      <a:pt x="86965" y="96294"/>
                    </a:cubicBezTo>
                    <a:cubicBezTo>
                      <a:pt x="83904" y="105337"/>
                      <a:pt x="75754" y="129361"/>
                      <a:pt x="89172" y="150310"/>
                    </a:cubicBezTo>
                    <a:cubicBezTo>
                      <a:pt x="90919" y="153034"/>
                      <a:pt x="90409" y="156796"/>
                      <a:pt x="87909" y="158843"/>
                    </a:cubicBezTo>
                    <a:cubicBezTo>
                      <a:pt x="83413" y="162517"/>
                      <a:pt x="79433" y="158665"/>
                      <a:pt x="77048" y="156369"/>
                    </a:cubicBezTo>
                    <a:cubicBezTo>
                      <a:pt x="54855" y="135151"/>
                      <a:pt x="32158" y="131114"/>
                      <a:pt x="9614" y="144411"/>
                    </a:cubicBezTo>
                    <a:cubicBezTo>
                      <a:pt x="6584" y="146191"/>
                      <a:pt x="2669" y="145189"/>
                      <a:pt x="883" y="142154"/>
                    </a:cubicBezTo>
                    <a:cubicBezTo>
                      <a:pt x="-903" y="139118"/>
                      <a:pt x="105" y="135209"/>
                      <a:pt x="3140" y="133423"/>
                    </a:cubicBezTo>
                    <a:cubicBezTo>
                      <a:pt x="19282" y="123908"/>
                      <a:pt x="42936" y="117556"/>
                      <a:pt x="69835" y="134475"/>
                    </a:cubicBezTo>
                    <a:cubicBezTo>
                      <a:pt x="66857" y="115904"/>
                      <a:pt x="72571" y="99049"/>
                      <a:pt x="74893" y="92193"/>
                    </a:cubicBezTo>
                    <a:cubicBezTo>
                      <a:pt x="77750" y="83775"/>
                      <a:pt x="76640" y="74515"/>
                      <a:pt x="71927" y="67436"/>
                    </a:cubicBezTo>
                    <a:cubicBezTo>
                      <a:pt x="70511" y="65319"/>
                      <a:pt x="68407" y="63380"/>
                      <a:pt x="66187" y="61429"/>
                    </a:cubicBezTo>
                    <a:cubicBezTo>
                      <a:pt x="64338" y="59809"/>
                      <a:pt x="55180" y="57857"/>
                      <a:pt x="46284" y="57118"/>
                    </a:cubicBezTo>
                    <a:lnTo>
                      <a:pt x="38624" y="62022"/>
                    </a:lnTo>
                    <a:cubicBezTo>
                      <a:pt x="34167" y="64860"/>
                      <a:pt x="28459" y="65198"/>
                      <a:pt x="23714" y="62876"/>
                    </a:cubicBezTo>
                    <a:lnTo>
                      <a:pt x="15895" y="59069"/>
                    </a:lnTo>
                    <a:cubicBezTo>
                      <a:pt x="9639" y="56021"/>
                      <a:pt x="6285" y="49267"/>
                      <a:pt x="7586" y="42481"/>
                    </a:cubicBezTo>
                    <a:lnTo>
                      <a:pt x="8383" y="29401"/>
                    </a:lnTo>
                    <a:cubicBezTo>
                      <a:pt x="8765" y="23260"/>
                      <a:pt x="12056" y="17603"/>
                      <a:pt x="17209" y="14268"/>
                    </a:cubicBezTo>
                    <a:lnTo>
                      <a:pt x="33790" y="3503"/>
                    </a:lnTo>
                    <a:cubicBezTo>
                      <a:pt x="39524" y="-1172"/>
                      <a:pt x="47744" y="-1178"/>
                      <a:pt x="53522" y="3547"/>
                    </a:cubicBezTo>
                    <a:lnTo>
                      <a:pt x="80128" y="25320"/>
                    </a:lnTo>
                    <a:cubicBezTo>
                      <a:pt x="80964" y="26002"/>
                      <a:pt x="162078" y="94240"/>
                      <a:pt x="125797" y="194238"/>
                    </a:cubicBezTo>
                    <a:cubicBezTo>
                      <a:pt x="125178" y="195928"/>
                      <a:pt x="123884" y="197286"/>
                      <a:pt x="122219" y="197962"/>
                    </a:cubicBezTo>
                    <a:cubicBezTo>
                      <a:pt x="100504" y="206878"/>
                      <a:pt x="79746" y="211336"/>
                      <a:pt x="60123" y="211336"/>
                    </a:cubicBezTo>
                    <a:close/>
                  </a:path>
                </a:pathLst>
              </a:custGeom>
              <a:solidFill>
                <a:schemeClr val="accent1"/>
              </a:solidFill>
              <a:ln w="637" cap="flat">
                <a:noFill/>
                <a:prstDash val="solid"/>
                <a:miter/>
              </a:ln>
            </p:spPr>
            <p:txBody>
              <a:bodyPr rtlCol="0" anchor="ctr"/>
              <a:lstStyle/>
              <a:p>
                <a:endParaRPr lang="en-GB" dirty="0"/>
              </a:p>
            </p:txBody>
          </p:sp>
        </p:grpSp>
      </p:grpSp>
      <p:grpSp>
        <p:nvGrpSpPr>
          <p:cNvPr id="24" name="Group 23">
            <a:extLst>
              <a:ext uri="{FF2B5EF4-FFF2-40B4-BE49-F238E27FC236}">
                <a16:creationId xmlns:a16="http://schemas.microsoft.com/office/drawing/2014/main" id="{15A000B7-65EC-6DB6-E95A-2B6C96567295}"/>
              </a:ext>
            </a:extLst>
          </p:cNvPr>
          <p:cNvGrpSpPr/>
          <p:nvPr/>
        </p:nvGrpSpPr>
        <p:grpSpPr>
          <a:xfrm>
            <a:off x="4977308" y="2423568"/>
            <a:ext cx="471920" cy="471933"/>
            <a:chOff x="4976896" y="2423568"/>
            <a:chExt cx="471920" cy="471933"/>
          </a:xfrm>
        </p:grpSpPr>
        <p:grpSp>
          <p:nvGrpSpPr>
            <p:cNvPr id="1070" name="Group 1069">
              <a:extLst>
                <a:ext uri="{FF2B5EF4-FFF2-40B4-BE49-F238E27FC236}">
                  <a16:creationId xmlns:a16="http://schemas.microsoft.com/office/drawing/2014/main" id="{6025D697-5CCA-43A4-BA93-4BFF9EF03BD7}"/>
                </a:ext>
              </a:extLst>
            </p:cNvPr>
            <p:cNvGrpSpPr/>
            <p:nvPr/>
          </p:nvGrpSpPr>
          <p:grpSpPr>
            <a:xfrm>
              <a:off x="5110821" y="2500103"/>
              <a:ext cx="204076" cy="395398"/>
              <a:chOff x="692015" y="4083872"/>
              <a:chExt cx="204076" cy="395398"/>
            </a:xfrm>
          </p:grpSpPr>
          <p:sp>
            <p:nvSpPr>
              <p:cNvPr id="1071" name="Freeform: Shape 1070">
                <a:extLst>
                  <a:ext uri="{FF2B5EF4-FFF2-40B4-BE49-F238E27FC236}">
                    <a16:creationId xmlns:a16="http://schemas.microsoft.com/office/drawing/2014/main" id="{E0401F97-E9A7-487C-96D1-DC81F90F7C7A}"/>
                  </a:ext>
                </a:extLst>
              </p:cNvPr>
              <p:cNvSpPr/>
              <p:nvPr/>
            </p:nvSpPr>
            <p:spPr>
              <a:xfrm>
                <a:off x="787676" y="4389987"/>
                <a:ext cx="12754" cy="89283"/>
              </a:xfrm>
              <a:custGeom>
                <a:avLst/>
                <a:gdLst>
                  <a:gd name="connsiteX0" fmla="*/ 6377 w 12754"/>
                  <a:gd name="connsiteY0" fmla="*/ 89283 h 89283"/>
                  <a:gd name="connsiteX1" fmla="*/ 0 w 12754"/>
                  <a:gd name="connsiteY1" fmla="*/ 82906 h 89283"/>
                  <a:gd name="connsiteX2" fmla="*/ 0 w 12754"/>
                  <a:gd name="connsiteY2" fmla="*/ 6377 h 89283"/>
                  <a:gd name="connsiteX3" fmla="*/ 6377 w 12754"/>
                  <a:gd name="connsiteY3" fmla="*/ 0 h 89283"/>
                  <a:gd name="connsiteX4" fmla="*/ 12755 w 12754"/>
                  <a:gd name="connsiteY4" fmla="*/ 6377 h 89283"/>
                  <a:gd name="connsiteX5" fmla="*/ 12755 w 12754"/>
                  <a:gd name="connsiteY5" fmla="*/ 82906 h 89283"/>
                  <a:gd name="connsiteX6" fmla="*/ 6377 w 12754"/>
                  <a:gd name="connsiteY6" fmla="*/ 89283 h 89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89283">
                    <a:moveTo>
                      <a:pt x="6377" y="89283"/>
                    </a:moveTo>
                    <a:cubicBezTo>
                      <a:pt x="2857" y="89283"/>
                      <a:pt x="0" y="86433"/>
                      <a:pt x="0" y="82906"/>
                    </a:cubicBezTo>
                    <a:lnTo>
                      <a:pt x="0" y="6377"/>
                    </a:lnTo>
                    <a:cubicBezTo>
                      <a:pt x="0" y="2851"/>
                      <a:pt x="2857" y="0"/>
                      <a:pt x="6377" y="0"/>
                    </a:cubicBezTo>
                    <a:cubicBezTo>
                      <a:pt x="9898" y="0"/>
                      <a:pt x="12755" y="2851"/>
                      <a:pt x="12755" y="6377"/>
                    </a:cubicBezTo>
                    <a:lnTo>
                      <a:pt x="12755" y="82906"/>
                    </a:lnTo>
                    <a:cubicBezTo>
                      <a:pt x="12755" y="86433"/>
                      <a:pt x="9898" y="89283"/>
                      <a:pt x="6377" y="89283"/>
                    </a:cubicBezTo>
                    <a:close/>
                  </a:path>
                </a:pathLst>
              </a:custGeom>
              <a:solidFill>
                <a:schemeClr val="accent1"/>
              </a:solidFill>
              <a:ln w="637" cap="flat">
                <a:noFill/>
                <a:prstDash val="solid"/>
                <a:miter/>
              </a:ln>
            </p:spPr>
            <p:txBody>
              <a:bodyPr rtlCol="0" anchor="ctr"/>
              <a:lstStyle/>
              <a:p>
                <a:endParaRPr lang="en-GB" dirty="0"/>
              </a:p>
            </p:txBody>
          </p:sp>
          <p:sp>
            <p:nvSpPr>
              <p:cNvPr id="1072" name="Freeform: Shape 1071">
                <a:extLst>
                  <a:ext uri="{FF2B5EF4-FFF2-40B4-BE49-F238E27FC236}">
                    <a16:creationId xmlns:a16="http://schemas.microsoft.com/office/drawing/2014/main" id="{CF13EDE8-7577-4A95-A802-71CC278BEDBF}"/>
                  </a:ext>
                </a:extLst>
              </p:cNvPr>
              <p:cNvSpPr/>
              <p:nvPr/>
            </p:nvSpPr>
            <p:spPr>
              <a:xfrm>
                <a:off x="723902" y="4294326"/>
                <a:ext cx="19132" cy="184944"/>
              </a:xfrm>
              <a:custGeom>
                <a:avLst/>
                <a:gdLst>
                  <a:gd name="connsiteX0" fmla="*/ 12755 w 19132"/>
                  <a:gd name="connsiteY0" fmla="*/ 184944 h 184944"/>
                  <a:gd name="connsiteX1" fmla="*/ 6377 w 19132"/>
                  <a:gd name="connsiteY1" fmla="*/ 178567 h 184944"/>
                  <a:gd name="connsiteX2" fmla="*/ 6377 w 19132"/>
                  <a:gd name="connsiteY2" fmla="*/ 12755 h 184944"/>
                  <a:gd name="connsiteX3" fmla="*/ 0 w 19132"/>
                  <a:gd name="connsiteY3" fmla="*/ 6377 h 184944"/>
                  <a:gd name="connsiteX4" fmla="*/ 6377 w 19132"/>
                  <a:gd name="connsiteY4" fmla="*/ 0 h 184944"/>
                  <a:gd name="connsiteX5" fmla="*/ 12755 w 19132"/>
                  <a:gd name="connsiteY5" fmla="*/ 0 h 184944"/>
                  <a:gd name="connsiteX6" fmla="*/ 19132 w 19132"/>
                  <a:gd name="connsiteY6" fmla="*/ 6377 h 184944"/>
                  <a:gd name="connsiteX7" fmla="*/ 19132 w 19132"/>
                  <a:gd name="connsiteY7" fmla="*/ 178567 h 184944"/>
                  <a:gd name="connsiteX8" fmla="*/ 12755 w 19132"/>
                  <a:gd name="connsiteY8" fmla="*/ 184944 h 18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2" h="184944">
                    <a:moveTo>
                      <a:pt x="12755" y="184944"/>
                    </a:moveTo>
                    <a:cubicBezTo>
                      <a:pt x="9234" y="184944"/>
                      <a:pt x="6377" y="182094"/>
                      <a:pt x="6377" y="178567"/>
                    </a:cubicBezTo>
                    <a:lnTo>
                      <a:pt x="6377" y="12755"/>
                    </a:lnTo>
                    <a:cubicBezTo>
                      <a:pt x="2857" y="12755"/>
                      <a:pt x="0" y="9904"/>
                      <a:pt x="0" y="6377"/>
                    </a:cubicBezTo>
                    <a:cubicBezTo>
                      <a:pt x="0" y="2851"/>
                      <a:pt x="2857" y="0"/>
                      <a:pt x="6377" y="0"/>
                    </a:cubicBezTo>
                    <a:lnTo>
                      <a:pt x="12755" y="0"/>
                    </a:lnTo>
                    <a:cubicBezTo>
                      <a:pt x="16275" y="0"/>
                      <a:pt x="19132" y="2851"/>
                      <a:pt x="19132" y="6377"/>
                    </a:cubicBezTo>
                    <a:lnTo>
                      <a:pt x="19132" y="178567"/>
                    </a:lnTo>
                    <a:cubicBezTo>
                      <a:pt x="19132" y="182094"/>
                      <a:pt x="16275" y="184944"/>
                      <a:pt x="12755" y="184944"/>
                    </a:cubicBezTo>
                    <a:close/>
                  </a:path>
                </a:pathLst>
              </a:custGeom>
              <a:solidFill>
                <a:schemeClr val="accent1"/>
              </a:solidFill>
              <a:ln w="637" cap="flat">
                <a:noFill/>
                <a:prstDash val="solid"/>
                <a:miter/>
              </a:ln>
            </p:spPr>
            <p:txBody>
              <a:bodyPr rtlCol="0" anchor="ctr"/>
              <a:lstStyle/>
              <a:p>
                <a:endParaRPr lang="en-GB" dirty="0"/>
              </a:p>
            </p:txBody>
          </p:sp>
          <p:sp>
            <p:nvSpPr>
              <p:cNvPr id="1073" name="Freeform: Shape 1072">
                <a:extLst>
                  <a:ext uri="{FF2B5EF4-FFF2-40B4-BE49-F238E27FC236}">
                    <a16:creationId xmlns:a16="http://schemas.microsoft.com/office/drawing/2014/main" id="{F149DD98-D1BF-42CE-9001-52D6A8D44318}"/>
                  </a:ext>
                </a:extLst>
              </p:cNvPr>
              <p:cNvSpPr/>
              <p:nvPr/>
            </p:nvSpPr>
            <p:spPr>
              <a:xfrm>
                <a:off x="845072" y="4294326"/>
                <a:ext cx="19132" cy="184944"/>
              </a:xfrm>
              <a:custGeom>
                <a:avLst/>
                <a:gdLst>
                  <a:gd name="connsiteX0" fmla="*/ 6377 w 19132"/>
                  <a:gd name="connsiteY0" fmla="*/ 184944 h 184944"/>
                  <a:gd name="connsiteX1" fmla="*/ 0 w 19132"/>
                  <a:gd name="connsiteY1" fmla="*/ 178567 h 184944"/>
                  <a:gd name="connsiteX2" fmla="*/ 0 w 19132"/>
                  <a:gd name="connsiteY2" fmla="*/ 6377 h 184944"/>
                  <a:gd name="connsiteX3" fmla="*/ 6377 w 19132"/>
                  <a:gd name="connsiteY3" fmla="*/ 0 h 184944"/>
                  <a:gd name="connsiteX4" fmla="*/ 12755 w 19132"/>
                  <a:gd name="connsiteY4" fmla="*/ 0 h 184944"/>
                  <a:gd name="connsiteX5" fmla="*/ 19132 w 19132"/>
                  <a:gd name="connsiteY5" fmla="*/ 6377 h 184944"/>
                  <a:gd name="connsiteX6" fmla="*/ 12755 w 19132"/>
                  <a:gd name="connsiteY6" fmla="*/ 12755 h 184944"/>
                  <a:gd name="connsiteX7" fmla="*/ 12755 w 19132"/>
                  <a:gd name="connsiteY7" fmla="*/ 178567 h 184944"/>
                  <a:gd name="connsiteX8" fmla="*/ 6377 w 19132"/>
                  <a:gd name="connsiteY8" fmla="*/ 184944 h 18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2" h="184944">
                    <a:moveTo>
                      <a:pt x="6377" y="184944"/>
                    </a:moveTo>
                    <a:cubicBezTo>
                      <a:pt x="2857" y="184944"/>
                      <a:pt x="0" y="182094"/>
                      <a:pt x="0" y="178567"/>
                    </a:cubicBezTo>
                    <a:lnTo>
                      <a:pt x="0" y="6377"/>
                    </a:lnTo>
                    <a:cubicBezTo>
                      <a:pt x="0" y="2851"/>
                      <a:pt x="2857" y="0"/>
                      <a:pt x="6377" y="0"/>
                    </a:cubicBezTo>
                    <a:lnTo>
                      <a:pt x="12755" y="0"/>
                    </a:lnTo>
                    <a:cubicBezTo>
                      <a:pt x="16275" y="0"/>
                      <a:pt x="19132" y="2851"/>
                      <a:pt x="19132" y="6377"/>
                    </a:cubicBezTo>
                    <a:cubicBezTo>
                      <a:pt x="19132" y="9904"/>
                      <a:pt x="16275" y="12755"/>
                      <a:pt x="12755" y="12755"/>
                    </a:cubicBezTo>
                    <a:lnTo>
                      <a:pt x="12755" y="178567"/>
                    </a:lnTo>
                    <a:cubicBezTo>
                      <a:pt x="12755" y="182094"/>
                      <a:pt x="9898" y="184944"/>
                      <a:pt x="6377" y="184944"/>
                    </a:cubicBezTo>
                    <a:close/>
                  </a:path>
                </a:pathLst>
              </a:custGeom>
              <a:solidFill>
                <a:schemeClr val="accent1"/>
              </a:solidFill>
              <a:ln w="637" cap="flat">
                <a:noFill/>
                <a:prstDash val="solid"/>
                <a:miter/>
              </a:ln>
            </p:spPr>
            <p:txBody>
              <a:bodyPr rtlCol="0" anchor="ctr"/>
              <a:lstStyle/>
              <a:p>
                <a:endParaRPr lang="en-GB" dirty="0"/>
              </a:p>
            </p:txBody>
          </p:sp>
          <p:sp>
            <p:nvSpPr>
              <p:cNvPr id="1074" name="Freeform: Shape 1073">
                <a:extLst>
                  <a:ext uri="{FF2B5EF4-FFF2-40B4-BE49-F238E27FC236}">
                    <a16:creationId xmlns:a16="http://schemas.microsoft.com/office/drawing/2014/main" id="{3269D543-E02C-4873-BB52-8344B8D8F5AA}"/>
                  </a:ext>
                </a:extLst>
              </p:cNvPr>
              <p:cNvSpPr/>
              <p:nvPr/>
            </p:nvSpPr>
            <p:spPr>
              <a:xfrm>
                <a:off x="692015" y="4198665"/>
                <a:ext cx="204076" cy="210454"/>
              </a:xfrm>
              <a:custGeom>
                <a:avLst/>
                <a:gdLst>
                  <a:gd name="connsiteX0" fmla="*/ 197699 w 204076"/>
                  <a:gd name="connsiteY0" fmla="*/ 210454 h 210454"/>
                  <a:gd name="connsiteX1" fmla="*/ 178567 w 204076"/>
                  <a:gd name="connsiteY1" fmla="*/ 210454 h 210454"/>
                  <a:gd name="connsiteX2" fmla="*/ 172190 w 204076"/>
                  <a:gd name="connsiteY2" fmla="*/ 204077 h 210454"/>
                  <a:gd name="connsiteX3" fmla="*/ 178567 w 204076"/>
                  <a:gd name="connsiteY3" fmla="*/ 197699 h 210454"/>
                  <a:gd name="connsiteX4" fmla="*/ 191322 w 204076"/>
                  <a:gd name="connsiteY4" fmla="*/ 197699 h 210454"/>
                  <a:gd name="connsiteX5" fmla="*/ 191322 w 204076"/>
                  <a:gd name="connsiteY5" fmla="*/ 82906 h 210454"/>
                  <a:gd name="connsiteX6" fmla="*/ 127548 w 204076"/>
                  <a:gd name="connsiteY6" fmla="*/ 12755 h 210454"/>
                  <a:gd name="connsiteX7" fmla="*/ 76529 w 204076"/>
                  <a:gd name="connsiteY7" fmla="*/ 12755 h 210454"/>
                  <a:gd name="connsiteX8" fmla="*/ 12755 w 204076"/>
                  <a:gd name="connsiteY8" fmla="*/ 82906 h 210454"/>
                  <a:gd name="connsiteX9" fmla="*/ 12755 w 204076"/>
                  <a:gd name="connsiteY9" fmla="*/ 197699 h 210454"/>
                  <a:gd name="connsiteX10" fmla="*/ 25510 w 204076"/>
                  <a:gd name="connsiteY10" fmla="*/ 197699 h 210454"/>
                  <a:gd name="connsiteX11" fmla="*/ 31887 w 204076"/>
                  <a:gd name="connsiteY11" fmla="*/ 204077 h 210454"/>
                  <a:gd name="connsiteX12" fmla="*/ 25510 w 204076"/>
                  <a:gd name="connsiteY12" fmla="*/ 210454 h 210454"/>
                  <a:gd name="connsiteX13" fmla="*/ 6377 w 204076"/>
                  <a:gd name="connsiteY13" fmla="*/ 210454 h 210454"/>
                  <a:gd name="connsiteX14" fmla="*/ 0 w 204076"/>
                  <a:gd name="connsiteY14" fmla="*/ 204077 h 210454"/>
                  <a:gd name="connsiteX15" fmla="*/ 0 w 204076"/>
                  <a:gd name="connsiteY15" fmla="*/ 82906 h 210454"/>
                  <a:gd name="connsiteX16" fmla="*/ 76529 w 204076"/>
                  <a:gd name="connsiteY16" fmla="*/ 0 h 210454"/>
                  <a:gd name="connsiteX17" fmla="*/ 127548 w 204076"/>
                  <a:gd name="connsiteY17" fmla="*/ 0 h 210454"/>
                  <a:gd name="connsiteX18" fmla="*/ 204077 w 204076"/>
                  <a:gd name="connsiteY18" fmla="*/ 82906 h 210454"/>
                  <a:gd name="connsiteX19" fmla="*/ 204077 w 204076"/>
                  <a:gd name="connsiteY19" fmla="*/ 204077 h 210454"/>
                  <a:gd name="connsiteX20" fmla="*/ 197699 w 204076"/>
                  <a:gd name="connsiteY20" fmla="*/ 210454 h 210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4076" h="210454">
                    <a:moveTo>
                      <a:pt x="197699" y="210454"/>
                    </a:moveTo>
                    <a:lnTo>
                      <a:pt x="178567" y="210454"/>
                    </a:lnTo>
                    <a:cubicBezTo>
                      <a:pt x="175047" y="210454"/>
                      <a:pt x="172190" y="207603"/>
                      <a:pt x="172190" y="204077"/>
                    </a:cubicBezTo>
                    <a:cubicBezTo>
                      <a:pt x="172190" y="200550"/>
                      <a:pt x="175047" y="197699"/>
                      <a:pt x="178567" y="197699"/>
                    </a:cubicBezTo>
                    <a:lnTo>
                      <a:pt x="191322" y="197699"/>
                    </a:lnTo>
                    <a:lnTo>
                      <a:pt x="191322" y="82906"/>
                    </a:lnTo>
                    <a:cubicBezTo>
                      <a:pt x="191322" y="42257"/>
                      <a:pt x="164499" y="12755"/>
                      <a:pt x="127548" y="12755"/>
                    </a:cubicBezTo>
                    <a:lnTo>
                      <a:pt x="76529" y="12755"/>
                    </a:lnTo>
                    <a:cubicBezTo>
                      <a:pt x="39578" y="12755"/>
                      <a:pt x="12755" y="42257"/>
                      <a:pt x="12755" y="82906"/>
                    </a:cubicBezTo>
                    <a:lnTo>
                      <a:pt x="12755" y="197699"/>
                    </a:lnTo>
                    <a:lnTo>
                      <a:pt x="25510" y="197699"/>
                    </a:lnTo>
                    <a:cubicBezTo>
                      <a:pt x="29030" y="197699"/>
                      <a:pt x="31887" y="200550"/>
                      <a:pt x="31887" y="204077"/>
                    </a:cubicBezTo>
                    <a:cubicBezTo>
                      <a:pt x="31887" y="207603"/>
                      <a:pt x="29030" y="210454"/>
                      <a:pt x="25510" y="210454"/>
                    </a:cubicBezTo>
                    <a:lnTo>
                      <a:pt x="6377" y="210454"/>
                    </a:lnTo>
                    <a:cubicBezTo>
                      <a:pt x="2857" y="210454"/>
                      <a:pt x="0" y="207603"/>
                      <a:pt x="0" y="204077"/>
                    </a:cubicBezTo>
                    <a:lnTo>
                      <a:pt x="0" y="82906"/>
                    </a:lnTo>
                    <a:cubicBezTo>
                      <a:pt x="0" y="35643"/>
                      <a:pt x="32901" y="0"/>
                      <a:pt x="76529" y="0"/>
                    </a:cubicBezTo>
                    <a:lnTo>
                      <a:pt x="127548" y="0"/>
                    </a:lnTo>
                    <a:cubicBezTo>
                      <a:pt x="171176" y="0"/>
                      <a:pt x="204077" y="35643"/>
                      <a:pt x="204077" y="82906"/>
                    </a:cubicBezTo>
                    <a:lnTo>
                      <a:pt x="204077" y="204077"/>
                    </a:lnTo>
                    <a:cubicBezTo>
                      <a:pt x="204077" y="207603"/>
                      <a:pt x="201220" y="210454"/>
                      <a:pt x="197699" y="210454"/>
                    </a:cubicBezTo>
                    <a:close/>
                  </a:path>
                </a:pathLst>
              </a:custGeom>
              <a:solidFill>
                <a:schemeClr val="accent1"/>
              </a:solidFill>
              <a:ln w="637" cap="flat">
                <a:noFill/>
                <a:prstDash val="solid"/>
                <a:miter/>
              </a:ln>
            </p:spPr>
            <p:txBody>
              <a:bodyPr rtlCol="0" anchor="ctr"/>
              <a:lstStyle/>
              <a:p>
                <a:endParaRPr lang="en-GB" dirty="0"/>
              </a:p>
            </p:txBody>
          </p:sp>
          <p:sp>
            <p:nvSpPr>
              <p:cNvPr id="1075" name="Freeform: Shape 1074">
                <a:extLst>
                  <a:ext uri="{FF2B5EF4-FFF2-40B4-BE49-F238E27FC236}">
                    <a16:creationId xmlns:a16="http://schemas.microsoft.com/office/drawing/2014/main" id="{BC7B2E55-6776-433D-BC57-3066205B6B98}"/>
                  </a:ext>
                </a:extLst>
              </p:cNvPr>
              <p:cNvSpPr/>
              <p:nvPr/>
            </p:nvSpPr>
            <p:spPr>
              <a:xfrm>
                <a:off x="749411" y="4083872"/>
                <a:ext cx="89283" cy="102038"/>
              </a:xfrm>
              <a:custGeom>
                <a:avLst/>
                <a:gdLst>
                  <a:gd name="connsiteX0" fmla="*/ 44642 w 89283"/>
                  <a:gd name="connsiteY0" fmla="*/ 102038 h 102038"/>
                  <a:gd name="connsiteX1" fmla="*/ 0 w 89283"/>
                  <a:gd name="connsiteY1" fmla="*/ 51019 h 102038"/>
                  <a:gd name="connsiteX2" fmla="*/ 44642 w 89283"/>
                  <a:gd name="connsiteY2" fmla="*/ 0 h 102038"/>
                  <a:gd name="connsiteX3" fmla="*/ 89284 w 89283"/>
                  <a:gd name="connsiteY3" fmla="*/ 51019 h 102038"/>
                  <a:gd name="connsiteX4" fmla="*/ 44642 w 89283"/>
                  <a:gd name="connsiteY4" fmla="*/ 102038 h 102038"/>
                  <a:gd name="connsiteX5" fmla="*/ 44642 w 89283"/>
                  <a:gd name="connsiteY5" fmla="*/ 12755 h 102038"/>
                  <a:gd name="connsiteX6" fmla="*/ 12755 w 89283"/>
                  <a:gd name="connsiteY6" fmla="*/ 51019 h 102038"/>
                  <a:gd name="connsiteX7" fmla="*/ 44642 w 89283"/>
                  <a:gd name="connsiteY7" fmla="*/ 89283 h 102038"/>
                  <a:gd name="connsiteX8" fmla="*/ 76529 w 89283"/>
                  <a:gd name="connsiteY8" fmla="*/ 51019 h 102038"/>
                  <a:gd name="connsiteX9" fmla="*/ 44642 w 89283"/>
                  <a:gd name="connsiteY9" fmla="*/ 12755 h 102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83" h="102038">
                    <a:moveTo>
                      <a:pt x="44642" y="102038"/>
                    </a:moveTo>
                    <a:cubicBezTo>
                      <a:pt x="17940" y="102038"/>
                      <a:pt x="0" y="81535"/>
                      <a:pt x="0" y="51019"/>
                    </a:cubicBezTo>
                    <a:cubicBezTo>
                      <a:pt x="0" y="20503"/>
                      <a:pt x="17940" y="0"/>
                      <a:pt x="44642" y="0"/>
                    </a:cubicBezTo>
                    <a:cubicBezTo>
                      <a:pt x="71344" y="0"/>
                      <a:pt x="89284" y="20503"/>
                      <a:pt x="89284" y="51019"/>
                    </a:cubicBezTo>
                    <a:cubicBezTo>
                      <a:pt x="89284" y="81535"/>
                      <a:pt x="71344" y="102038"/>
                      <a:pt x="44642" y="102038"/>
                    </a:cubicBezTo>
                    <a:close/>
                    <a:moveTo>
                      <a:pt x="44642" y="12755"/>
                    </a:moveTo>
                    <a:cubicBezTo>
                      <a:pt x="21109" y="12755"/>
                      <a:pt x="12755" y="33367"/>
                      <a:pt x="12755" y="51019"/>
                    </a:cubicBezTo>
                    <a:cubicBezTo>
                      <a:pt x="12755" y="68672"/>
                      <a:pt x="21109" y="89283"/>
                      <a:pt x="44642" y="89283"/>
                    </a:cubicBezTo>
                    <a:cubicBezTo>
                      <a:pt x="68174" y="89283"/>
                      <a:pt x="76529" y="68672"/>
                      <a:pt x="76529" y="51019"/>
                    </a:cubicBezTo>
                    <a:cubicBezTo>
                      <a:pt x="76529" y="33367"/>
                      <a:pt x="68174" y="12755"/>
                      <a:pt x="44642" y="12755"/>
                    </a:cubicBezTo>
                    <a:close/>
                  </a:path>
                </a:pathLst>
              </a:custGeom>
              <a:solidFill>
                <a:schemeClr val="accent1"/>
              </a:solidFill>
              <a:ln w="637" cap="flat">
                <a:noFill/>
                <a:prstDash val="solid"/>
                <a:miter/>
              </a:ln>
            </p:spPr>
            <p:txBody>
              <a:bodyPr rtlCol="0" anchor="ctr"/>
              <a:lstStyle/>
              <a:p>
                <a:endParaRPr lang="en-GB" dirty="0"/>
              </a:p>
            </p:txBody>
          </p:sp>
        </p:grpSp>
        <p:grpSp>
          <p:nvGrpSpPr>
            <p:cNvPr id="1076" name="Group 1075">
              <a:extLst>
                <a:ext uri="{FF2B5EF4-FFF2-40B4-BE49-F238E27FC236}">
                  <a16:creationId xmlns:a16="http://schemas.microsoft.com/office/drawing/2014/main" id="{77C6E302-3BFB-473B-B8D0-5895E9D6B4F6}"/>
                </a:ext>
              </a:extLst>
            </p:cNvPr>
            <p:cNvGrpSpPr/>
            <p:nvPr/>
          </p:nvGrpSpPr>
          <p:grpSpPr>
            <a:xfrm>
              <a:off x="4976896" y="2423568"/>
              <a:ext cx="471920" cy="471933"/>
              <a:chOff x="558090" y="4007337"/>
              <a:chExt cx="471920" cy="471933"/>
            </a:xfrm>
            <a:solidFill>
              <a:schemeClr val="tx2"/>
            </a:solidFill>
          </p:grpSpPr>
          <p:sp>
            <p:nvSpPr>
              <p:cNvPr id="1077" name="Freeform: Shape 1076">
                <a:extLst>
                  <a:ext uri="{FF2B5EF4-FFF2-40B4-BE49-F238E27FC236}">
                    <a16:creationId xmlns:a16="http://schemas.microsoft.com/office/drawing/2014/main" id="{95795DEC-10B4-499D-A125-84DCEBFA8163}"/>
                  </a:ext>
                </a:extLst>
              </p:cNvPr>
              <p:cNvSpPr/>
              <p:nvPr/>
            </p:nvSpPr>
            <p:spPr>
              <a:xfrm>
                <a:off x="883337" y="4421874"/>
                <a:ext cx="12754" cy="57396"/>
              </a:xfrm>
              <a:custGeom>
                <a:avLst/>
                <a:gdLst>
                  <a:gd name="connsiteX0" fmla="*/ 6377 w 12754"/>
                  <a:gd name="connsiteY0" fmla="*/ 57397 h 57396"/>
                  <a:gd name="connsiteX1" fmla="*/ 0 w 12754"/>
                  <a:gd name="connsiteY1" fmla="*/ 51019 h 57396"/>
                  <a:gd name="connsiteX2" fmla="*/ 0 w 12754"/>
                  <a:gd name="connsiteY2" fmla="*/ 6377 h 57396"/>
                  <a:gd name="connsiteX3" fmla="*/ 6377 w 12754"/>
                  <a:gd name="connsiteY3" fmla="*/ 0 h 57396"/>
                  <a:gd name="connsiteX4" fmla="*/ 12755 w 12754"/>
                  <a:gd name="connsiteY4" fmla="*/ 6377 h 57396"/>
                  <a:gd name="connsiteX5" fmla="*/ 12755 w 12754"/>
                  <a:gd name="connsiteY5" fmla="*/ 51019 h 57396"/>
                  <a:gd name="connsiteX6" fmla="*/ 6377 w 12754"/>
                  <a:gd name="connsiteY6" fmla="*/ 57397 h 5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57396">
                    <a:moveTo>
                      <a:pt x="6377" y="57397"/>
                    </a:moveTo>
                    <a:cubicBezTo>
                      <a:pt x="2857" y="57397"/>
                      <a:pt x="0" y="54546"/>
                      <a:pt x="0" y="51019"/>
                    </a:cubicBezTo>
                    <a:lnTo>
                      <a:pt x="0" y="6377"/>
                    </a:lnTo>
                    <a:cubicBezTo>
                      <a:pt x="0" y="2851"/>
                      <a:pt x="2857" y="0"/>
                      <a:pt x="6377" y="0"/>
                    </a:cubicBezTo>
                    <a:cubicBezTo>
                      <a:pt x="9898" y="0"/>
                      <a:pt x="12755" y="2851"/>
                      <a:pt x="12755" y="6377"/>
                    </a:cubicBezTo>
                    <a:lnTo>
                      <a:pt x="12755" y="51019"/>
                    </a:lnTo>
                    <a:cubicBezTo>
                      <a:pt x="12755" y="54546"/>
                      <a:pt x="9898" y="57397"/>
                      <a:pt x="6377" y="57397"/>
                    </a:cubicBezTo>
                    <a:close/>
                  </a:path>
                </a:pathLst>
              </a:custGeom>
              <a:grpFill/>
              <a:ln w="637" cap="flat">
                <a:noFill/>
                <a:prstDash val="solid"/>
                <a:miter/>
              </a:ln>
            </p:spPr>
            <p:txBody>
              <a:bodyPr rtlCol="0" anchor="ctr"/>
              <a:lstStyle/>
              <a:p>
                <a:endParaRPr lang="en-GB" dirty="0"/>
              </a:p>
            </p:txBody>
          </p:sp>
          <p:sp>
            <p:nvSpPr>
              <p:cNvPr id="1078" name="Freeform: Shape 1077">
                <a:extLst>
                  <a:ext uri="{FF2B5EF4-FFF2-40B4-BE49-F238E27FC236}">
                    <a16:creationId xmlns:a16="http://schemas.microsoft.com/office/drawing/2014/main" id="{80B08B61-A65D-4D58-B04E-262893D66124}"/>
                  </a:ext>
                </a:extLst>
              </p:cNvPr>
              <p:cNvSpPr/>
              <p:nvPr/>
            </p:nvSpPr>
            <p:spPr>
              <a:xfrm>
                <a:off x="934356" y="4402742"/>
                <a:ext cx="12754" cy="76528"/>
              </a:xfrm>
              <a:custGeom>
                <a:avLst/>
                <a:gdLst>
                  <a:gd name="connsiteX0" fmla="*/ 6377 w 12754"/>
                  <a:gd name="connsiteY0" fmla="*/ 76529 h 76528"/>
                  <a:gd name="connsiteX1" fmla="*/ 0 w 12754"/>
                  <a:gd name="connsiteY1" fmla="*/ 70151 h 76528"/>
                  <a:gd name="connsiteX2" fmla="*/ 0 w 12754"/>
                  <a:gd name="connsiteY2" fmla="*/ 6377 h 76528"/>
                  <a:gd name="connsiteX3" fmla="*/ 6377 w 12754"/>
                  <a:gd name="connsiteY3" fmla="*/ 0 h 76528"/>
                  <a:gd name="connsiteX4" fmla="*/ 12755 w 12754"/>
                  <a:gd name="connsiteY4" fmla="*/ 6377 h 76528"/>
                  <a:gd name="connsiteX5" fmla="*/ 12755 w 12754"/>
                  <a:gd name="connsiteY5" fmla="*/ 70151 h 76528"/>
                  <a:gd name="connsiteX6" fmla="*/ 6377 w 12754"/>
                  <a:gd name="connsiteY6" fmla="*/ 76529 h 76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76528">
                    <a:moveTo>
                      <a:pt x="6377" y="76529"/>
                    </a:moveTo>
                    <a:cubicBezTo>
                      <a:pt x="2857" y="76529"/>
                      <a:pt x="0" y="73678"/>
                      <a:pt x="0" y="70151"/>
                    </a:cubicBezTo>
                    <a:lnTo>
                      <a:pt x="0" y="6377"/>
                    </a:lnTo>
                    <a:cubicBezTo>
                      <a:pt x="0" y="2851"/>
                      <a:pt x="2857" y="0"/>
                      <a:pt x="6377" y="0"/>
                    </a:cubicBezTo>
                    <a:cubicBezTo>
                      <a:pt x="9898" y="0"/>
                      <a:pt x="12755" y="2851"/>
                      <a:pt x="12755" y="6377"/>
                    </a:cubicBezTo>
                    <a:lnTo>
                      <a:pt x="12755" y="70151"/>
                    </a:lnTo>
                    <a:cubicBezTo>
                      <a:pt x="12755" y="73678"/>
                      <a:pt x="9898" y="76529"/>
                      <a:pt x="6377" y="76529"/>
                    </a:cubicBezTo>
                    <a:close/>
                  </a:path>
                </a:pathLst>
              </a:custGeom>
              <a:grpFill/>
              <a:ln w="637" cap="flat">
                <a:noFill/>
                <a:prstDash val="solid"/>
                <a:miter/>
              </a:ln>
            </p:spPr>
            <p:txBody>
              <a:bodyPr rtlCol="0" anchor="ctr"/>
              <a:lstStyle/>
              <a:p>
                <a:endParaRPr lang="en-GB" dirty="0"/>
              </a:p>
            </p:txBody>
          </p:sp>
          <p:sp>
            <p:nvSpPr>
              <p:cNvPr id="1079" name="Freeform: Shape 1078">
                <a:extLst>
                  <a:ext uri="{FF2B5EF4-FFF2-40B4-BE49-F238E27FC236}">
                    <a16:creationId xmlns:a16="http://schemas.microsoft.com/office/drawing/2014/main" id="{21201CBE-6F87-40A4-888C-D406448B1E02}"/>
                  </a:ext>
                </a:extLst>
              </p:cNvPr>
              <p:cNvSpPr/>
              <p:nvPr/>
            </p:nvSpPr>
            <p:spPr>
              <a:xfrm>
                <a:off x="692015" y="4421874"/>
                <a:ext cx="12754" cy="57396"/>
              </a:xfrm>
              <a:custGeom>
                <a:avLst/>
                <a:gdLst>
                  <a:gd name="connsiteX0" fmla="*/ 6377 w 12754"/>
                  <a:gd name="connsiteY0" fmla="*/ 57397 h 57396"/>
                  <a:gd name="connsiteX1" fmla="*/ 0 w 12754"/>
                  <a:gd name="connsiteY1" fmla="*/ 51019 h 57396"/>
                  <a:gd name="connsiteX2" fmla="*/ 0 w 12754"/>
                  <a:gd name="connsiteY2" fmla="*/ 6377 h 57396"/>
                  <a:gd name="connsiteX3" fmla="*/ 6377 w 12754"/>
                  <a:gd name="connsiteY3" fmla="*/ 0 h 57396"/>
                  <a:gd name="connsiteX4" fmla="*/ 12755 w 12754"/>
                  <a:gd name="connsiteY4" fmla="*/ 6377 h 57396"/>
                  <a:gd name="connsiteX5" fmla="*/ 12755 w 12754"/>
                  <a:gd name="connsiteY5" fmla="*/ 51019 h 57396"/>
                  <a:gd name="connsiteX6" fmla="*/ 6377 w 12754"/>
                  <a:gd name="connsiteY6" fmla="*/ 57397 h 5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57396">
                    <a:moveTo>
                      <a:pt x="6377" y="57397"/>
                    </a:moveTo>
                    <a:cubicBezTo>
                      <a:pt x="2857" y="57397"/>
                      <a:pt x="0" y="54546"/>
                      <a:pt x="0" y="51019"/>
                    </a:cubicBezTo>
                    <a:lnTo>
                      <a:pt x="0" y="6377"/>
                    </a:lnTo>
                    <a:cubicBezTo>
                      <a:pt x="0" y="2851"/>
                      <a:pt x="2857" y="0"/>
                      <a:pt x="6377" y="0"/>
                    </a:cubicBezTo>
                    <a:cubicBezTo>
                      <a:pt x="9898" y="0"/>
                      <a:pt x="12755" y="2851"/>
                      <a:pt x="12755" y="6377"/>
                    </a:cubicBezTo>
                    <a:lnTo>
                      <a:pt x="12755" y="51019"/>
                    </a:lnTo>
                    <a:cubicBezTo>
                      <a:pt x="12755" y="54546"/>
                      <a:pt x="9898" y="57397"/>
                      <a:pt x="6377" y="57397"/>
                    </a:cubicBezTo>
                    <a:close/>
                  </a:path>
                </a:pathLst>
              </a:custGeom>
              <a:grpFill/>
              <a:ln w="637" cap="flat">
                <a:noFill/>
                <a:prstDash val="solid"/>
                <a:miter/>
              </a:ln>
            </p:spPr>
            <p:txBody>
              <a:bodyPr rtlCol="0" anchor="ctr"/>
              <a:lstStyle/>
              <a:p>
                <a:endParaRPr lang="en-GB" dirty="0"/>
              </a:p>
            </p:txBody>
          </p:sp>
          <p:sp>
            <p:nvSpPr>
              <p:cNvPr id="1080" name="Freeform: Shape 1079">
                <a:extLst>
                  <a:ext uri="{FF2B5EF4-FFF2-40B4-BE49-F238E27FC236}">
                    <a16:creationId xmlns:a16="http://schemas.microsoft.com/office/drawing/2014/main" id="{1DC37908-1AC5-404C-8ADE-7FBC4B74BCE8}"/>
                  </a:ext>
                </a:extLst>
              </p:cNvPr>
              <p:cNvSpPr/>
              <p:nvPr/>
            </p:nvSpPr>
            <p:spPr>
              <a:xfrm>
                <a:off x="640996" y="4402742"/>
                <a:ext cx="12754" cy="76528"/>
              </a:xfrm>
              <a:custGeom>
                <a:avLst/>
                <a:gdLst>
                  <a:gd name="connsiteX0" fmla="*/ 6377 w 12754"/>
                  <a:gd name="connsiteY0" fmla="*/ 76529 h 76528"/>
                  <a:gd name="connsiteX1" fmla="*/ 0 w 12754"/>
                  <a:gd name="connsiteY1" fmla="*/ 70151 h 76528"/>
                  <a:gd name="connsiteX2" fmla="*/ 0 w 12754"/>
                  <a:gd name="connsiteY2" fmla="*/ 6377 h 76528"/>
                  <a:gd name="connsiteX3" fmla="*/ 6377 w 12754"/>
                  <a:gd name="connsiteY3" fmla="*/ 0 h 76528"/>
                  <a:gd name="connsiteX4" fmla="*/ 12755 w 12754"/>
                  <a:gd name="connsiteY4" fmla="*/ 6377 h 76528"/>
                  <a:gd name="connsiteX5" fmla="*/ 12755 w 12754"/>
                  <a:gd name="connsiteY5" fmla="*/ 70151 h 76528"/>
                  <a:gd name="connsiteX6" fmla="*/ 6377 w 12754"/>
                  <a:gd name="connsiteY6" fmla="*/ 76529 h 76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76528">
                    <a:moveTo>
                      <a:pt x="6377" y="76529"/>
                    </a:moveTo>
                    <a:cubicBezTo>
                      <a:pt x="2857" y="76529"/>
                      <a:pt x="0" y="73678"/>
                      <a:pt x="0" y="70151"/>
                    </a:cubicBezTo>
                    <a:lnTo>
                      <a:pt x="0" y="6377"/>
                    </a:lnTo>
                    <a:cubicBezTo>
                      <a:pt x="0" y="2851"/>
                      <a:pt x="2857" y="0"/>
                      <a:pt x="6377" y="0"/>
                    </a:cubicBezTo>
                    <a:cubicBezTo>
                      <a:pt x="9898" y="0"/>
                      <a:pt x="12755" y="2851"/>
                      <a:pt x="12755" y="6377"/>
                    </a:cubicBezTo>
                    <a:lnTo>
                      <a:pt x="12755" y="70151"/>
                    </a:lnTo>
                    <a:cubicBezTo>
                      <a:pt x="12755" y="73678"/>
                      <a:pt x="9898" y="76529"/>
                      <a:pt x="6377" y="76529"/>
                    </a:cubicBezTo>
                    <a:close/>
                  </a:path>
                </a:pathLst>
              </a:custGeom>
              <a:grpFill/>
              <a:ln w="637" cap="flat">
                <a:noFill/>
                <a:prstDash val="solid"/>
                <a:miter/>
              </a:ln>
            </p:spPr>
            <p:txBody>
              <a:bodyPr rtlCol="0" anchor="ctr"/>
              <a:lstStyle/>
              <a:p>
                <a:endParaRPr lang="en-GB" dirty="0"/>
              </a:p>
            </p:txBody>
          </p:sp>
          <p:sp>
            <p:nvSpPr>
              <p:cNvPr id="1081" name="Freeform: Shape 1080">
                <a:extLst>
                  <a:ext uri="{FF2B5EF4-FFF2-40B4-BE49-F238E27FC236}">
                    <a16:creationId xmlns:a16="http://schemas.microsoft.com/office/drawing/2014/main" id="{165802EC-A5A8-4F51-8A93-69724E05C396}"/>
                  </a:ext>
                </a:extLst>
              </p:cNvPr>
              <p:cNvSpPr/>
              <p:nvPr/>
            </p:nvSpPr>
            <p:spPr>
              <a:xfrm>
                <a:off x="899276" y="4230552"/>
                <a:ext cx="130734" cy="197699"/>
              </a:xfrm>
              <a:custGeom>
                <a:avLst/>
                <a:gdLst>
                  <a:gd name="connsiteX0" fmla="*/ 124363 w 130734"/>
                  <a:gd name="connsiteY0" fmla="*/ 197699 h 197699"/>
                  <a:gd name="connsiteX1" fmla="*/ 111608 w 130734"/>
                  <a:gd name="connsiteY1" fmla="*/ 197699 h 197699"/>
                  <a:gd name="connsiteX2" fmla="*/ 105231 w 130734"/>
                  <a:gd name="connsiteY2" fmla="*/ 191322 h 197699"/>
                  <a:gd name="connsiteX3" fmla="*/ 111608 w 130734"/>
                  <a:gd name="connsiteY3" fmla="*/ 184944 h 197699"/>
                  <a:gd name="connsiteX4" fmla="*/ 117986 w 130734"/>
                  <a:gd name="connsiteY4" fmla="*/ 184944 h 197699"/>
                  <a:gd name="connsiteX5" fmla="*/ 117986 w 130734"/>
                  <a:gd name="connsiteY5" fmla="*/ 68213 h 197699"/>
                  <a:gd name="connsiteX6" fmla="*/ 61418 w 130734"/>
                  <a:gd name="connsiteY6" fmla="*/ 12755 h 197699"/>
                  <a:gd name="connsiteX7" fmla="*/ 21502 w 130734"/>
                  <a:gd name="connsiteY7" fmla="*/ 12755 h 197699"/>
                  <a:gd name="connsiteX8" fmla="*/ 8218 w 130734"/>
                  <a:gd name="connsiteY8" fmla="*/ 14878 h 197699"/>
                  <a:gd name="connsiteX9" fmla="*/ 272 w 130734"/>
                  <a:gd name="connsiteY9" fmla="*/ 10606 h 197699"/>
                  <a:gd name="connsiteX10" fmla="*/ 4538 w 130734"/>
                  <a:gd name="connsiteY10" fmla="*/ 2659 h 197699"/>
                  <a:gd name="connsiteX11" fmla="*/ 21496 w 130734"/>
                  <a:gd name="connsiteY11" fmla="*/ 0 h 197699"/>
                  <a:gd name="connsiteX12" fmla="*/ 61412 w 130734"/>
                  <a:gd name="connsiteY12" fmla="*/ 0 h 197699"/>
                  <a:gd name="connsiteX13" fmla="*/ 130734 w 130734"/>
                  <a:gd name="connsiteY13" fmla="*/ 68213 h 197699"/>
                  <a:gd name="connsiteX14" fmla="*/ 130734 w 130734"/>
                  <a:gd name="connsiteY14" fmla="*/ 191322 h 197699"/>
                  <a:gd name="connsiteX15" fmla="*/ 124363 w 130734"/>
                  <a:gd name="connsiteY15" fmla="*/ 197699 h 19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734" h="197699">
                    <a:moveTo>
                      <a:pt x="124363" y="197699"/>
                    </a:moveTo>
                    <a:lnTo>
                      <a:pt x="111608" y="197699"/>
                    </a:lnTo>
                    <a:cubicBezTo>
                      <a:pt x="108088" y="197699"/>
                      <a:pt x="105231" y="194848"/>
                      <a:pt x="105231" y="191322"/>
                    </a:cubicBezTo>
                    <a:cubicBezTo>
                      <a:pt x="105231" y="187795"/>
                      <a:pt x="108088" y="184944"/>
                      <a:pt x="111608" y="184944"/>
                    </a:cubicBezTo>
                    <a:lnTo>
                      <a:pt x="117986" y="184944"/>
                    </a:lnTo>
                    <a:lnTo>
                      <a:pt x="117986" y="68213"/>
                    </a:lnTo>
                    <a:cubicBezTo>
                      <a:pt x="117986" y="37633"/>
                      <a:pt x="92610" y="12755"/>
                      <a:pt x="61418" y="12755"/>
                    </a:cubicBezTo>
                    <a:lnTo>
                      <a:pt x="21502" y="12755"/>
                    </a:lnTo>
                    <a:cubicBezTo>
                      <a:pt x="15756" y="12755"/>
                      <a:pt x="13543" y="13271"/>
                      <a:pt x="8218" y="14878"/>
                    </a:cubicBezTo>
                    <a:cubicBezTo>
                      <a:pt x="4851" y="15860"/>
                      <a:pt x="1292" y="13973"/>
                      <a:pt x="272" y="10606"/>
                    </a:cubicBezTo>
                    <a:cubicBezTo>
                      <a:pt x="-742" y="7238"/>
                      <a:pt x="1171" y="3673"/>
                      <a:pt x="4538" y="2659"/>
                    </a:cubicBezTo>
                    <a:cubicBezTo>
                      <a:pt x="10686" y="810"/>
                      <a:pt x="14149" y="0"/>
                      <a:pt x="21496" y="0"/>
                    </a:cubicBezTo>
                    <a:lnTo>
                      <a:pt x="61412" y="0"/>
                    </a:lnTo>
                    <a:cubicBezTo>
                      <a:pt x="99638" y="0"/>
                      <a:pt x="130734" y="30605"/>
                      <a:pt x="130734" y="68213"/>
                    </a:cubicBezTo>
                    <a:lnTo>
                      <a:pt x="130734" y="191322"/>
                    </a:lnTo>
                    <a:cubicBezTo>
                      <a:pt x="130740" y="194848"/>
                      <a:pt x="127883" y="197699"/>
                      <a:pt x="124363" y="197699"/>
                    </a:cubicBezTo>
                    <a:close/>
                  </a:path>
                </a:pathLst>
              </a:custGeom>
              <a:grpFill/>
              <a:ln w="637" cap="flat">
                <a:noFill/>
                <a:prstDash val="solid"/>
                <a:miter/>
              </a:ln>
            </p:spPr>
            <p:txBody>
              <a:bodyPr rtlCol="0" anchor="ctr"/>
              <a:lstStyle/>
              <a:p>
                <a:endParaRPr lang="en-GB" dirty="0"/>
              </a:p>
            </p:txBody>
          </p:sp>
          <p:sp>
            <p:nvSpPr>
              <p:cNvPr id="1082" name="Freeform: Shape 1081">
                <a:extLst>
                  <a:ext uri="{FF2B5EF4-FFF2-40B4-BE49-F238E27FC236}">
                    <a16:creationId xmlns:a16="http://schemas.microsoft.com/office/drawing/2014/main" id="{9171B611-F141-4A2F-B8B7-D479B5EF8AF2}"/>
                  </a:ext>
                </a:extLst>
              </p:cNvPr>
              <p:cNvSpPr/>
              <p:nvPr/>
            </p:nvSpPr>
            <p:spPr>
              <a:xfrm>
                <a:off x="985375" y="4313458"/>
                <a:ext cx="19132" cy="165812"/>
              </a:xfrm>
              <a:custGeom>
                <a:avLst/>
                <a:gdLst>
                  <a:gd name="connsiteX0" fmla="*/ 6377 w 19132"/>
                  <a:gd name="connsiteY0" fmla="*/ 165812 h 165812"/>
                  <a:gd name="connsiteX1" fmla="*/ 0 w 19132"/>
                  <a:gd name="connsiteY1" fmla="*/ 159435 h 165812"/>
                  <a:gd name="connsiteX2" fmla="*/ 0 w 19132"/>
                  <a:gd name="connsiteY2" fmla="*/ 6377 h 165812"/>
                  <a:gd name="connsiteX3" fmla="*/ 6377 w 19132"/>
                  <a:gd name="connsiteY3" fmla="*/ 0 h 165812"/>
                  <a:gd name="connsiteX4" fmla="*/ 12755 w 19132"/>
                  <a:gd name="connsiteY4" fmla="*/ 0 h 165812"/>
                  <a:gd name="connsiteX5" fmla="*/ 19132 w 19132"/>
                  <a:gd name="connsiteY5" fmla="*/ 6377 h 165812"/>
                  <a:gd name="connsiteX6" fmla="*/ 12755 w 19132"/>
                  <a:gd name="connsiteY6" fmla="*/ 12755 h 165812"/>
                  <a:gd name="connsiteX7" fmla="*/ 12755 w 19132"/>
                  <a:gd name="connsiteY7" fmla="*/ 159435 h 165812"/>
                  <a:gd name="connsiteX8" fmla="*/ 6377 w 19132"/>
                  <a:gd name="connsiteY8" fmla="*/ 165812 h 16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2" h="165812">
                    <a:moveTo>
                      <a:pt x="6377" y="165812"/>
                    </a:moveTo>
                    <a:cubicBezTo>
                      <a:pt x="2857" y="165812"/>
                      <a:pt x="0" y="162961"/>
                      <a:pt x="0" y="159435"/>
                    </a:cubicBezTo>
                    <a:lnTo>
                      <a:pt x="0" y="6377"/>
                    </a:lnTo>
                    <a:cubicBezTo>
                      <a:pt x="0" y="2851"/>
                      <a:pt x="2857" y="0"/>
                      <a:pt x="6377" y="0"/>
                    </a:cubicBezTo>
                    <a:lnTo>
                      <a:pt x="12755" y="0"/>
                    </a:lnTo>
                    <a:cubicBezTo>
                      <a:pt x="16275" y="0"/>
                      <a:pt x="19132" y="2851"/>
                      <a:pt x="19132" y="6377"/>
                    </a:cubicBezTo>
                    <a:cubicBezTo>
                      <a:pt x="19132" y="9904"/>
                      <a:pt x="16275" y="12755"/>
                      <a:pt x="12755" y="12755"/>
                    </a:cubicBezTo>
                    <a:lnTo>
                      <a:pt x="12755" y="159435"/>
                    </a:lnTo>
                    <a:cubicBezTo>
                      <a:pt x="12755" y="162961"/>
                      <a:pt x="9898" y="165812"/>
                      <a:pt x="6377" y="165812"/>
                    </a:cubicBezTo>
                    <a:close/>
                  </a:path>
                </a:pathLst>
              </a:custGeom>
              <a:grpFill/>
              <a:ln w="637" cap="flat">
                <a:noFill/>
                <a:prstDash val="solid"/>
                <a:miter/>
              </a:ln>
            </p:spPr>
            <p:txBody>
              <a:bodyPr rtlCol="0" anchor="ctr"/>
              <a:lstStyle/>
              <a:p>
                <a:endParaRPr lang="en-GB" dirty="0"/>
              </a:p>
            </p:txBody>
          </p:sp>
          <p:sp>
            <p:nvSpPr>
              <p:cNvPr id="1083" name="Freeform: Shape 1082">
                <a:extLst>
                  <a:ext uri="{FF2B5EF4-FFF2-40B4-BE49-F238E27FC236}">
                    <a16:creationId xmlns:a16="http://schemas.microsoft.com/office/drawing/2014/main" id="{6C40126E-EEA6-4896-8F40-B5E4B4E2B2E4}"/>
                  </a:ext>
                </a:extLst>
              </p:cNvPr>
              <p:cNvSpPr/>
              <p:nvPr/>
            </p:nvSpPr>
            <p:spPr>
              <a:xfrm>
                <a:off x="902469" y="4128514"/>
                <a:ext cx="76528" cy="89283"/>
              </a:xfrm>
              <a:custGeom>
                <a:avLst/>
                <a:gdLst>
                  <a:gd name="connsiteX0" fmla="*/ 38264 w 76528"/>
                  <a:gd name="connsiteY0" fmla="*/ 89284 h 89283"/>
                  <a:gd name="connsiteX1" fmla="*/ 0 w 76528"/>
                  <a:gd name="connsiteY1" fmla="*/ 44642 h 89283"/>
                  <a:gd name="connsiteX2" fmla="*/ 38264 w 76528"/>
                  <a:gd name="connsiteY2" fmla="*/ 0 h 89283"/>
                  <a:gd name="connsiteX3" fmla="*/ 76529 w 76528"/>
                  <a:gd name="connsiteY3" fmla="*/ 44642 h 89283"/>
                  <a:gd name="connsiteX4" fmla="*/ 38264 w 76528"/>
                  <a:gd name="connsiteY4" fmla="*/ 89284 h 89283"/>
                  <a:gd name="connsiteX5" fmla="*/ 38264 w 76528"/>
                  <a:gd name="connsiteY5" fmla="*/ 12755 h 89283"/>
                  <a:gd name="connsiteX6" fmla="*/ 12755 w 76528"/>
                  <a:gd name="connsiteY6" fmla="*/ 44642 h 89283"/>
                  <a:gd name="connsiteX7" fmla="*/ 38264 w 76528"/>
                  <a:gd name="connsiteY7" fmla="*/ 76529 h 89283"/>
                  <a:gd name="connsiteX8" fmla="*/ 63774 w 76528"/>
                  <a:gd name="connsiteY8" fmla="*/ 44642 h 89283"/>
                  <a:gd name="connsiteX9" fmla="*/ 38264 w 76528"/>
                  <a:gd name="connsiteY9" fmla="*/ 12755 h 89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528" h="89283">
                    <a:moveTo>
                      <a:pt x="38264" y="89284"/>
                    </a:moveTo>
                    <a:cubicBezTo>
                      <a:pt x="15376" y="89284"/>
                      <a:pt x="0" y="71344"/>
                      <a:pt x="0" y="44642"/>
                    </a:cubicBezTo>
                    <a:cubicBezTo>
                      <a:pt x="0" y="17940"/>
                      <a:pt x="15376" y="0"/>
                      <a:pt x="38264" y="0"/>
                    </a:cubicBezTo>
                    <a:cubicBezTo>
                      <a:pt x="61153" y="0"/>
                      <a:pt x="76529" y="17940"/>
                      <a:pt x="76529" y="44642"/>
                    </a:cubicBezTo>
                    <a:cubicBezTo>
                      <a:pt x="76529" y="71344"/>
                      <a:pt x="61153" y="89284"/>
                      <a:pt x="38264" y="89284"/>
                    </a:cubicBezTo>
                    <a:close/>
                    <a:moveTo>
                      <a:pt x="38264" y="12755"/>
                    </a:moveTo>
                    <a:cubicBezTo>
                      <a:pt x="19457" y="12755"/>
                      <a:pt x="12755" y="29228"/>
                      <a:pt x="12755" y="44642"/>
                    </a:cubicBezTo>
                    <a:cubicBezTo>
                      <a:pt x="12755" y="60056"/>
                      <a:pt x="19457" y="76529"/>
                      <a:pt x="38264" y="76529"/>
                    </a:cubicBezTo>
                    <a:cubicBezTo>
                      <a:pt x="57071" y="76529"/>
                      <a:pt x="63774" y="60056"/>
                      <a:pt x="63774" y="44642"/>
                    </a:cubicBezTo>
                    <a:cubicBezTo>
                      <a:pt x="63774" y="29228"/>
                      <a:pt x="57071" y="12755"/>
                      <a:pt x="38264" y="12755"/>
                    </a:cubicBezTo>
                    <a:close/>
                  </a:path>
                </a:pathLst>
              </a:custGeom>
              <a:grpFill/>
              <a:ln w="637" cap="flat">
                <a:noFill/>
                <a:prstDash val="solid"/>
                <a:miter/>
              </a:ln>
            </p:spPr>
            <p:txBody>
              <a:bodyPr rtlCol="0" anchor="ctr"/>
              <a:lstStyle/>
              <a:p>
                <a:endParaRPr lang="en-GB" dirty="0"/>
              </a:p>
            </p:txBody>
          </p:sp>
          <p:sp>
            <p:nvSpPr>
              <p:cNvPr id="1084" name="Freeform: Shape 1083">
                <a:extLst>
                  <a:ext uri="{FF2B5EF4-FFF2-40B4-BE49-F238E27FC236}">
                    <a16:creationId xmlns:a16="http://schemas.microsoft.com/office/drawing/2014/main" id="{02224F9E-A9A3-4369-BF7C-7364DBA541EA}"/>
                  </a:ext>
                </a:extLst>
              </p:cNvPr>
              <p:cNvSpPr/>
              <p:nvPr/>
            </p:nvSpPr>
            <p:spPr>
              <a:xfrm>
                <a:off x="558090" y="4230552"/>
                <a:ext cx="128747" cy="197699"/>
              </a:xfrm>
              <a:custGeom>
                <a:avLst/>
                <a:gdLst>
                  <a:gd name="connsiteX0" fmla="*/ 19132 w 128747"/>
                  <a:gd name="connsiteY0" fmla="*/ 197699 h 197699"/>
                  <a:gd name="connsiteX1" fmla="*/ 6377 w 128747"/>
                  <a:gd name="connsiteY1" fmla="*/ 197699 h 197699"/>
                  <a:gd name="connsiteX2" fmla="*/ 0 w 128747"/>
                  <a:gd name="connsiteY2" fmla="*/ 191322 h 197699"/>
                  <a:gd name="connsiteX3" fmla="*/ 0 w 128747"/>
                  <a:gd name="connsiteY3" fmla="*/ 68213 h 197699"/>
                  <a:gd name="connsiteX4" fmla="*/ 69329 w 128747"/>
                  <a:gd name="connsiteY4" fmla="*/ 0 h 197699"/>
                  <a:gd name="connsiteX5" fmla="*/ 109245 w 128747"/>
                  <a:gd name="connsiteY5" fmla="*/ 0 h 197699"/>
                  <a:gd name="connsiteX6" fmla="*/ 124206 w 128747"/>
                  <a:gd name="connsiteY6" fmla="*/ 2258 h 197699"/>
                  <a:gd name="connsiteX7" fmla="*/ 128473 w 128747"/>
                  <a:gd name="connsiteY7" fmla="*/ 10204 h 197699"/>
                  <a:gd name="connsiteX8" fmla="*/ 120526 w 128747"/>
                  <a:gd name="connsiteY8" fmla="*/ 14476 h 197699"/>
                  <a:gd name="connsiteX9" fmla="*/ 109238 w 128747"/>
                  <a:gd name="connsiteY9" fmla="*/ 12748 h 197699"/>
                  <a:gd name="connsiteX10" fmla="*/ 69322 w 128747"/>
                  <a:gd name="connsiteY10" fmla="*/ 12748 h 197699"/>
                  <a:gd name="connsiteX11" fmla="*/ 12748 w 128747"/>
                  <a:gd name="connsiteY11" fmla="*/ 68206 h 197699"/>
                  <a:gd name="connsiteX12" fmla="*/ 12748 w 128747"/>
                  <a:gd name="connsiteY12" fmla="*/ 184938 h 197699"/>
                  <a:gd name="connsiteX13" fmla="*/ 19126 w 128747"/>
                  <a:gd name="connsiteY13" fmla="*/ 184938 h 197699"/>
                  <a:gd name="connsiteX14" fmla="*/ 25503 w 128747"/>
                  <a:gd name="connsiteY14" fmla="*/ 191315 h 197699"/>
                  <a:gd name="connsiteX15" fmla="*/ 19132 w 128747"/>
                  <a:gd name="connsiteY15" fmla="*/ 197699 h 197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747" h="197699">
                    <a:moveTo>
                      <a:pt x="19132" y="197699"/>
                    </a:moveTo>
                    <a:lnTo>
                      <a:pt x="6377" y="197699"/>
                    </a:lnTo>
                    <a:cubicBezTo>
                      <a:pt x="2857" y="197699"/>
                      <a:pt x="0" y="194848"/>
                      <a:pt x="0" y="191322"/>
                    </a:cubicBezTo>
                    <a:lnTo>
                      <a:pt x="0" y="68213"/>
                    </a:lnTo>
                    <a:cubicBezTo>
                      <a:pt x="0" y="30605"/>
                      <a:pt x="31096" y="0"/>
                      <a:pt x="69329" y="0"/>
                    </a:cubicBezTo>
                    <a:lnTo>
                      <a:pt x="109245" y="0"/>
                    </a:lnTo>
                    <a:cubicBezTo>
                      <a:pt x="116432" y="0"/>
                      <a:pt x="118001" y="395"/>
                      <a:pt x="124206" y="2258"/>
                    </a:cubicBezTo>
                    <a:cubicBezTo>
                      <a:pt x="127580" y="3272"/>
                      <a:pt x="129493" y="6836"/>
                      <a:pt x="128473" y="10204"/>
                    </a:cubicBezTo>
                    <a:cubicBezTo>
                      <a:pt x="127459" y="13577"/>
                      <a:pt x="123894" y="15465"/>
                      <a:pt x="120526" y="14476"/>
                    </a:cubicBezTo>
                    <a:cubicBezTo>
                      <a:pt x="115016" y="12812"/>
                      <a:pt x="114806" y="12748"/>
                      <a:pt x="109238" y="12748"/>
                    </a:cubicBezTo>
                    <a:lnTo>
                      <a:pt x="69322" y="12748"/>
                    </a:lnTo>
                    <a:cubicBezTo>
                      <a:pt x="38130" y="12748"/>
                      <a:pt x="12748" y="37627"/>
                      <a:pt x="12748" y="68206"/>
                    </a:cubicBezTo>
                    <a:lnTo>
                      <a:pt x="12748" y="184938"/>
                    </a:lnTo>
                    <a:lnTo>
                      <a:pt x="19126" y="184938"/>
                    </a:lnTo>
                    <a:cubicBezTo>
                      <a:pt x="22646" y="184938"/>
                      <a:pt x="25503" y="187789"/>
                      <a:pt x="25503" y="191315"/>
                    </a:cubicBezTo>
                    <a:cubicBezTo>
                      <a:pt x="25503" y="194842"/>
                      <a:pt x="22653" y="197699"/>
                      <a:pt x="19132" y="197699"/>
                    </a:cubicBezTo>
                    <a:close/>
                  </a:path>
                </a:pathLst>
              </a:custGeom>
              <a:grpFill/>
              <a:ln w="637" cap="flat">
                <a:noFill/>
                <a:prstDash val="solid"/>
                <a:miter/>
              </a:ln>
            </p:spPr>
            <p:txBody>
              <a:bodyPr rtlCol="0" anchor="ctr"/>
              <a:lstStyle/>
              <a:p>
                <a:endParaRPr lang="en-GB" dirty="0"/>
              </a:p>
            </p:txBody>
          </p:sp>
          <p:sp>
            <p:nvSpPr>
              <p:cNvPr id="1085" name="Freeform: Shape 1084">
                <a:extLst>
                  <a:ext uri="{FF2B5EF4-FFF2-40B4-BE49-F238E27FC236}">
                    <a16:creationId xmlns:a16="http://schemas.microsoft.com/office/drawing/2014/main" id="{93CB1198-40D1-44CC-B8E3-FE3E5AEA3DDD}"/>
                  </a:ext>
                </a:extLst>
              </p:cNvPr>
              <p:cNvSpPr/>
              <p:nvPr/>
            </p:nvSpPr>
            <p:spPr>
              <a:xfrm>
                <a:off x="583599" y="4313458"/>
                <a:ext cx="19132" cy="165812"/>
              </a:xfrm>
              <a:custGeom>
                <a:avLst/>
                <a:gdLst>
                  <a:gd name="connsiteX0" fmla="*/ 12755 w 19132"/>
                  <a:gd name="connsiteY0" fmla="*/ 165812 h 165812"/>
                  <a:gd name="connsiteX1" fmla="*/ 6377 w 19132"/>
                  <a:gd name="connsiteY1" fmla="*/ 159435 h 165812"/>
                  <a:gd name="connsiteX2" fmla="*/ 6377 w 19132"/>
                  <a:gd name="connsiteY2" fmla="*/ 12755 h 165812"/>
                  <a:gd name="connsiteX3" fmla="*/ 0 w 19132"/>
                  <a:gd name="connsiteY3" fmla="*/ 6377 h 165812"/>
                  <a:gd name="connsiteX4" fmla="*/ 6377 w 19132"/>
                  <a:gd name="connsiteY4" fmla="*/ 0 h 165812"/>
                  <a:gd name="connsiteX5" fmla="*/ 12755 w 19132"/>
                  <a:gd name="connsiteY5" fmla="*/ 0 h 165812"/>
                  <a:gd name="connsiteX6" fmla="*/ 19132 w 19132"/>
                  <a:gd name="connsiteY6" fmla="*/ 6377 h 165812"/>
                  <a:gd name="connsiteX7" fmla="*/ 19132 w 19132"/>
                  <a:gd name="connsiteY7" fmla="*/ 159435 h 165812"/>
                  <a:gd name="connsiteX8" fmla="*/ 12755 w 19132"/>
                  <a:gd name="connsiteY8" fmla="*/ 165812 h 16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132" h="165812">
                    <a:moveTo>
                      <a:pt x="12755" y="165812"/>
                    </a:moveTo>
                    <a:cubicBezTo>
                      <a:pt x="9234" y="165812"/>
                      <a:pt x="6377" y="162961"/>
                      <a:pt x="6377" y="159435"/>
                    </a:cubicBezTo>
                    <a:lnTo>
                      <a:pt x="6377" y="12755"/>
                    </a:lnTo>
                    <a:cubicBezTo>
                      <a:pt x="2857" y="12755"/>
                      <a:pt x="0" y="9904"/>
                      <a:pt x="0" y="6377"/>
                    </a:cubicBezTo>
                    <a:cubicBezTo>
                      <a:pt x="0" y="2851"/>
                      <a:pt x="2857" y="0"/>
                      <a:pt x="6377" y="0"/>
                    </a:cubicBezTo>
                    <a:lnTo>
                      <a:pt x="12755" y="0"/>
                    </a:lnTo>
                    <a:cubicBezTo>
                      <a:pt x="16275" y="0"/>
                      <a:pt x="19132" y="2851"/>
                      <a:pt x="19132" y="6377"/>
                    </a:cubicBezTo>
                    <a:lnTo>
                      <a:pt x="19132" y="159435"/>
                    </a:lnTo>
                    <a:cubicBezTo>
                      <a:pt x="19132" y="162961"/>
                      <a:pt x="16275" y="165812"/>
                      <a:pt x="12755" y="165812"/>
                    </a:cubicBezTo>
                    <a:close/>
                  </a:path>
                </a:pathLst>
              </a:custGeom>
              <a:grpFill/>
              <a:ln w="637" cap="flat">
                <a:noFill/>
                <a:prstDash val="solid"/>
                <a:miter/>
              </a:ln>
            </p:spPr>
            <p:txBody>
              <a:bodyPr rtlCol="0" anchor="ctr"/>
              <a:lstStyle/>
              <a:p>
                <a:endParaRPr lang="en-GB" dirty="0"/>
              </a:p>
            </p:txBody>
          </p:sp>
          <p:sp>
            <p:nvSpPr>
              <p:cNvPr id="1086" name="Freeform: Shape 1085">
                <a:extLst>
                  <a:ext uri="{FF2B5EF4-FFF2-40B4-BE49-F238E27FC236}">
                    <a16:creationId xmlns:a16="http://schemas.microsoft.com/office/drawing/2014/main" id="{CA4523F0-D192-43F8-B598-BBC3A7F37105}"/>
                  </a:ext>
                </a:extLst>
              </p:cNvPr>
              <p:cNvSpPr/>
              <p:nvPr/>
            </p:nvSpPr>
            <p:spPr>
              <a:xfrm>
                <a:off x="609109" y="4128514"/>
                <a:ext cx="76528" cy="89283"/>
              </a:xfrm>
              <a:custGeom>
                <a:avLst/>
                <a:gdLst>
                  <a:gd name="connsiteX0" fmla="*/ 38264 w 76528"/>
                  <a:gd name="connsiteY0" fmla="*/ 89284 h 89283"/>
                  <a:gd name="connsiteX1" fmla="*/ 0 w 76528"/>
                  <a:gd name="connsiteY1" fmla="*/ 44642 h 89283"/>
                  <a:gd name="connsiteX2" fmla="*/ 38264 w 76528"/>
                  <a:gd name="connsiteY2" fmla="*/ 0 h 89283"/>
                  <a:gd name="connsiteX3" fmla="*/ 76529 w 76528"/>
                  <a:gd name="connsiteY3" fmla="*/ 44642 h 89283"/>
                  <a:gd name="connsiteX4" fmla="*/ 38264 w 76528"/>
                  <a:gd name="connsiteY4" fmla="*/ 89284 h 89283"/>
                  <a:gd name="connsiteX5" fmla="*/ 38264 w 76528"/>
                  <a:gd name="connsiteY5" fmla="*/ 12755 h 89283"/>
                  <a:gd name="connsiteX6" fmla="*/ 12755 w 76528"/>
                  <a:gd name="connsiteY6" fmla="*/ 44642 h 89283"/>
                  <a:gd name="connsiteX7" fmla="*/ 38264 w 76528"/>
                  <a:gd name="connsiteY7" fmla="*/ 76529 h 89283"/>
                  <a:gd name="connsiteX8" fmla="*/ 63774 w 76528"/>
                  <a:gd name="connsiteY8" fmla="*/ 44642 h 89283"/>
                  <a:gd name="connsiteX9" fmla="*/ 38264 w 76528"/>
                  <a:gd name="connsiteY9" fmla="*/ 12755 h 89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528" h="89283">
                    <a:moveTo>
                      <a:pt x="38264" y="89284"/>
                    </a:moveTo>
                    <a:cubicBezTo>
                      <a:pt x="15376" y="89284"/>
                      <a:pt x="0" y="71344"/>
                      <a:pt x="0" y="44642"/>
                    </a:cubicBezTo>
                    <a:cubicBezTo>
                      <a:pt x="0" y="17940"/>
                      <a:pt x="15376" y="0"/>
                      <a:pt x="38264" y="0"/>
                    </a:cubicBezTo>
                    <a:cubicBezTo>
                      <a:pt x="61153" y="0"/>
                      <a:pt x="76529" y="17940"/>
                      <a:pt x="76529" y="44642"/>
                    </a:cubicBezTo>
                    <a:cubicBezTo>
                      <a:pt x="76529" y="71344"/>
                      <a:pt x="61153" y="89284"/>
                      <a:pt x="38264" y="89284"/>
                    </a:cubicBezTo>
                    <a:close/>
                    <a:moveTo>
                      <a:pt x="38264" y="12755"/>
                    </a:moveTo>
                    <a:cubicBezTo>
                      <a:pt x="19457" y="12755"/>
                      <a:pt x="12755" y="29228"/>
                      <a:pt x="12755" y="44642"/>
                    </a:cubicBezTo>
                    <a:cubicBezTo>
                      <a:pt x="12755" y="60056"/>
                      <a:pt x="19457" y="76529"/>
                      <a:pt x="38264" y="76529"/>
                    </a:cubicBezTo>
                    <a:cubicBezTo>
                      <a:pt x="57071" y="76529"/>
                      <a:pt x="63774" y="60056"/>
                      <a:pt x="63774" y="44642"/>
                    </a:cubicBezTo>
                    <a:cubicBezTo>
                      <a:pt x="63774" y="29228"/>
                      <a:pt x="57071" y="12755"/>
                      <a:pt x="38264" y="12755"/>
                    </a:cubicBezTo>
                    <a:close/>
                  </a:path>
                </a:pathLst>
              </a:custGeom>
              <a:grpFill/>
              <a:ln w="637" cap="flat">
                <a:noFill/>
                <a:prstDash val="solid"/>
                <a:miter/>
              </a:ln>
            </p:spPr>
            <p:txBody>
              <a:bodyPr rtlCol="0" anchor="ctr"/>
              <a:lstStyle/>
              <a:p>
                <a:endParaRPr lang="en-GB" dirty="0"/>
              </a:p>
            </p:txBody>
          </p:sp>
          <p:grpSp>
            <p:nvGrpSpPr>
              <p:cNvPr id="1087" name="Graphic 32">
                <a:extLst>
                  <a:ext uri="{FF2B5EF4-FFF2-40B4-BE49-F238E27FC236}">
                    <a16:creationId xmlns:a16="http://schemas.microsoft.com/office/drawing/2014/main" id="{5025C196-E0E9-4A79-9C09-DFFEC3838E02}"/>
                  </a:ext>
                </a:extLst>
              </p:cNvPr>
              <p:cNvGrpSpPr/>
              <p:nvPr/>
            </p:nvGrpSpPr>
            <p:grpSpPr>
              <a:xfrm>
                <a:off x="844639" y="4007343"/>
                <a:ext cx="96105" cy="132732"/>
                <a:chOff x="5308254" y="4007343"/>
                <a:chExt cx="96105" cy="132732"/>
              </a:xfrm>
              <a:grpFill/>
            </p:grpSpPr>
            <p:sp>
              <p:nvSpPr>
                <p:cNvPr id="1091" name="Freeform: Shape 1090">
                  <a:extLst>
                    <a:ext uri="{FF2B5EF4-FFF2-40B4-BE49-F238E27FC236}">
                      <a16:creationId xmlns:a16="http://schemas.microsoft.com/office/drawing/2014/main" id="{3B66E576-4AB4-4544-AC33-7DD27F1DF78F}"/>
                    </a:ext>
                  </a:extLst>
                </p:cNvPr>
                <p:cNvSpPr/>
                <p:nvPr/>
              </p:nvSpPr>
              <p:spPr>
                <a:xfrm>
                  <a:off x="5308687" y="4007343"/>
                  <a:ext cx="63773" cy="76528"/>
                </a:xfrm>
                <a:custGeom>
                  <a:avLst/>
                  <a:gdLst>
                    <a:gd name="connsiteX0" fmla="*/ 31887 w 63773"/>
                    <a:gd name="connsiteY0" fmla="*/ 76529 h 76528"/>
                    <a:gd name="connsiteX1" fmla="*/ 0 w 63773"/>
                    <a:gd name="connsiteY1" fmla="*/ 38264 h 76528"/>
                    <a:gd name="connsiteX2" fmla="*/ 31887 w 63773"/>
                    <a:gd name="connsiteY2" fmla="*/ 0 h 76528"/>
                    <a:gd name="connsiteX3" fmla="*/ 63774 w 63773"/>
                    <a:gd name="connsiteY3" fmla="*/ 38264 h 76528"/>
                    <a:gd name="connsiteX4" fmla="*/ 31887 w 63773"/>
                    <a:gd name="connsiteY4" fmla="*/ 76529 h 76528"/>
                    <a:gd name="connsiteX5" fmla="*/ 31887 w 63773"/>
                    <a:gd name="connsiteY5" fmla="*/ 12755 h 76528"/>
                    <a:gd name="connsiteX6" fmla="*/ 12755 w 63773"/>
                    <a:gd name="connsiteY6" fmla="*/ 38264 h 76528"/>
                    <a:gd name="connsiteX7" fmla="*/ 31887 w 63773"/>
                    <a:gd name="connsiteY7" fmla="*/ 63774 h 76528"/>
                    <a:gd name="connsiteX8" fmla="*/ 51019 w 63773"/>
                    <a:gd name="connsiteY8" fmla="*/ 38264 h 76528"/>
                    <a:gd name="connsiteX9" fmla="*/ 31887 w 63773"/>
                    <a:gd name="connsiteY9" fmla="*/ 12755 h 76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773" h="76528">
                      <a:moveTo>
                        <a:pt x="31887" y="76529"/>
                      </a:moveTo>
                      <a:cubicBezTo>
                        <a:pt x="12812" y="76529"/>
                        <a:pt x="0" y="61153"/>
                        <a:pt x="0" y="38264"/>
                      </a:cubicBezTo>
                      <a:cubicBezTo>
                        <a:pt x="0" y="15376"/>
                        <a:pt x="12812" y="0"/>
                        <a:pt x="31887" y="0"/>
                      </a:cubicBezTo>
                      <a:cubicBezTo>
                        <a:pt x="50962" y="0"/>
                        <a:pt x="63774" y="15376"/>
                        <a:pt x="63774" y="38264"/>
                      </a:cubicBezTo>
                      <a:cubicBezTo>
                        <a:pt x="63774" y="61153"/>
                        <a:pt x="50962" y="76529"/>
                        <a:pt x="31887" y="76529"/>
                      </a:cubicBezTo>
                      <a:close/>
                      <a:moveTo>
                        <a:pt x="31887" y="12755"/>
                      </a:moveTo>
                      <a:cubicBezTo>
                        <a:pt x="17780" y="12755"/>
                        <a:pt x="12755" y="25931"/>
                        <a:pt x="12755" y="38264"/>
                      </a:cubicBezTo>
                      <a:cubicBezTo>
                        <a:pt x="12755" y="50598"/>
                        <a:pt x="17780" y="63774"/>
                        <a:pt x="31887" y="63774"/>
                      </a:cubicBezTo>
                      <a:cubicBezTo>
                        <a:pt x="45994" y="63774"/>
                        <a:pt x="51019" y="50598"/>
                        <a:pt x="51019" y="38264"/>
                      </a:cubicBezTo>
                      <a:cubicBezTo>
                        <a:pt x="51019" y="25931"/>
                        <a:pt x="45994" y="12755"/>
                        <a:pt x="31887" y="12755"/>
                      </a:cubicBezTo>
                      <a:close/>
                    </a:path>
                  </a:pathLst>
                </a:custGeom>
                <a:grpFill/>
                <a:ln w="637" cap="flat">
                  <a:noFill/>
                  <a:prstDash val="solid"/>
                  <a:miter/>
                </a:ln>
              </p:spPr>
              <p:txBody>
                <a:bodyPr rtlCol="0" anchor="ctr"/>
                <a:lstStyle/>
                <a:p>
                  <a:endParaRPr lang="en-GB" dirty="0"/>
                </a:p>
              </p:txBody>
            </p:sp>
            <p:sp>
              <p:nvSpPr>
                <p:cNvPr id="1092" name="Freeform: Shape 1091">
                  <a:extLst>
                    <a:ext uri="{FF2B5EF4-FFF2-40B4-BE49-F238E27FC236}">
                      <a16:creationId xmlns:a16="http://schemas.microsoft.com/office/drawing/2014/main" id="{24F49296-2C67-4A16-9BD4-58E75541DCD8}"/>
                    </a:ext>
                  </a:extLst>
                </p:cNvPr>
                <p:cNvSpPr/>
                <p:nvPr/>
              </p:nvSpPr>
              <p:spPr>
                <a:xfrm>
                  <a:off x="5308254" y="4090262"/>
                  <a:ext cx="96105" cy="49813"/>
                </a:xfrm>
                <a:custGeom>
                  <a:avLst/>
                  <a:gdLst>
                    <a:gd name="connsiteX0" fmla="*/ 89716 w 96105"/>
                    <a:gd name="connsiteY0" fmla="*/ 49814 h 49813"/>
                    <a:gd name="connsiteX1" fmla="*/ 83958 w 96105"/>
                    <a:gd name="connsiteY1" fmla="*/ 46185 h 49813"/>
                    <a:gd name="connsiteX2" fmla="*/ 82752 w 96105"/>
                    <a:gd name="connsiteY2" fmla="*/ 43609 h 49813"/>
                    <a:gd name="connsiteX3" fmla="*/ 73256 w 96105"/>
                    <a:gd name="connsiteY3" fmla="*/ 25203 h 49813"/>
                    <a:gd name="connsiteX4" fmla="*/ 45075 w 96105"/>
                    <a:gd name="connsiteY4" fmla="*/ 12748 h 49813"/>
                    <a:gd name="connsiteX5" fmla="*/ 19565 w 96105"/>
                    <a:gd name="connsiteY5" fmla="*/ 12748 h 49813"/>
                    <a:gd name="connsiteX6" fmla="*/ 8277 w 96105"/>
                    <a:gd name="connsiteY6" fmla="*/ 14464 h 49813"/>
                    <a:gd name="connsiteX7" fmla="*/ 293 w 96105"/>
                    <a:gd name="connsiteY7" fmla="*/ 10274 h 49813"/>
                    <a:gd name="connsiteX8" fmla="*/ 4483 w 96105"/>
                    <a:gd name="connsiteY8" fmla="*/ 2283 h 49813"/>
                    <a:gd name="connsiteX9" fmla="*/ 19572 w 96105"/>
                    <a:gd name="connsiteY9" fmla="*/ 0 h 49813"/>
                    <a:gd name="connsiteX10" fmla="*/ 45081 w 96105"/>
                    <a:gd name="connsiteY10" fmla="*/ 0 h 49813"/>
                    <a:gd name="connsiteX11" fmla="*/ 82669 w 96105"/>
                    <a:gd name="connsiteY11" fmla="*/ 16600 h 49813"/>
                    <a:gd name="connsiteX12" fmla="*/ 94321 w 96105"/>
                    <a:gd name="connsiteY12" fmla="*/ 38232 h 49813"/>
                    <a:gd name="connsiteX13" fmla="*/ 95482 w 96105"/>
                    <a:gd name="connsiteY13" fmla="*/ 40707 h 49813"/>
                    <a:gd name="connsiteX14" fmla="*/ 92478 w 96105"/>
                    <a:gd name="connsiteY14" fmla="*/ 49208 h 49813"/>
                    <a:gd name="connsiteX15" fmla="*/ 89716 w 96105"/>
                    <a:gd name="connsiteY15" fmla="*/ 49814 h 4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105" h="49813">
                      <a:moveTo>
                        <a:pt x="89716" y="49814"/>
                      </a:moveTo>
                      <a:cubicBezTo>
                        <a:pt x="87338" y="49814"/>
                        <a:pt x="85055" y="48475"/>
                        <a:pt x="83958" y="46185"/>
                      </a:cubicBezTo>
                      <a:lnTo>
                        <a:pt x="82752" y="43609"/>
                      </a:lnTo>
                      <a:cubicBezTo>
                        <a:pt x="77740" y="32856"/>
                        <a:pt x="74545" y="26670"/>
                        <a:pt x="73256" y="25203"/>
                      </a:cubicBezTo>
                      <a:cubicBezTo>
                        <a:pt x="65999" y="17289"/>
                        <a:pt x="55725" y="12748"/>
                        <a:pt x="45075" y="12748"/>
                      </a:cubicBezTo>
                      <a:lnTo>
                        <a:pt x="19565" y="12748"/>
                      </a:lnTo>
                      <a:cubicBezTo>
                        <a:pt x="15713" y="12748"/>
                        <a:pt x="11912" y="13322"/>
                        <a:pt x="8277" y="14464"/>
                      </a:cubicBezTo>
                      <a:cubicBezTo>
                        <a:pt x="4910" y="15484"/>
                        <a:pt x="1339" y="13629"/>
                        <a:pt x="293" y="10274"/>
                      </a:cubicBezTo>
                      <a:cubicBezTo>
                        <a:pt x="-760" y="6913"/>
                        <a:pt x="1115" y="3335"/>
                        <a:pt x="4483" y="2283"/>
                      </a:cubicBezTo>
                      <a:cubicBezTo>
                        <a:pt x="9349" y="772"/>
                        <a:pt x="14431" y="0"/>
                        <a:pt x="19572" y="0"/>
                      </a:cubicBezTo>
                      <a:lnTo>
                        <a:pt x="45081" y="0"/>
                      </a:lnTo>
                      <a:cubicBezTo>
                        <a:pt x="59296" y="0"/>
                        <a:pt x="72995" y="6046"/>
                        <a:pt x="82669" y="16600"/>
                      </a:cubicBezTo>
                      <a:cubicBezTo>
                        <a:pt x="85342" y="19515"/>
                        <a:pt x="88964" y="26740"/>
                        <a:pt x="94321" y="38232"/>
                      </a:cubicBezTo>
                      <a:lnTo>
                        <a:pt x="95482" y="40707"/>
                      </a:lnTo>
                      <a:cubicBezTo>
                        <a:pt x="96999" y="43883"/>
                        <a:pt x="95654" y="47690"/>
                        <a:pt x="92478" y="49208"/>
                      </a:cubicBezTo>
                      <a:cubicBezTo>
                        <a:pt x="91579" y="49616"/>
                        <a:pt x="90641" y="49814"/>
                        <a:pt x="89716" y="49814"/>
                      </a:cubicBezTo>
                      <a:close/>
                    </a:path>
                  </a:pathLst>
                </a:custGeom>
                <a:grpFill/>
                <a:ln w="637" cap="flat">
                  <a:noFill/>
                  <a:prstDash val="solid"/>
                  <a:miter/>
                </a:ln>
              </p:spPr>
              <p:txBody>
                <a:bodyPr rtlCol="0" anchor="ctr"/>
                <a:lstStyle/>
                <a:p>
                  <a:endParaRPr lang="en-GB" dirty="0"/>
                </a:p>
              </p:txBody>
            </p:sp>
          </p:grpSp>
          <p:grpSp>
            <p:nvGrpSpPr>
              <p:cNvPr id="1088" name="Graphic 32">
                <a:extLst>
                  <a:ext uri="{FF2B5EF4-FFF2-40B4-BE49-F238E27FC236}">
                    <a16:creationId xmlns:a16="http://schemas.microsoft.com/office/drawing/2014/main" id="{DA76F955-5F37-4313-9079-4D3B0A725A07}"/>
                  </a:ext>
                </a:extLst>
              </p:cNvPr>
              <p:cNvGrpSpPr/>
              <p:nvPr/>
            </p:nvGrpSpPr>
            <p:grpSpPr>
              <a:xfrm>
                <a:off x="646174" y="4007337"/>
                <a:ext cx="97311" cy="130742"/>
                <a:chOff x="5109789" y="4007337"/>
                <a:chExt cx="97311" cy="130742"/>
              </a:xfrm>
              <a:grpFill/>
            </p:grpSpPr>
            <p:sp>
              <p:nvSpPr>
                <p:cNvPr id="1089" name="Freeform: Shape 1088">
                  <a:extLst>
                    <a:ext uri="{FF2B5EF4-FFF2-40B4-BE49-F238E27FC236}">
                      <a16:creationId xmlns:a16="http://schemas.microsoft.com/office/drawing/2014/main" id="{193FC8B4-8BAF-4604-973E-AF0236AD483B}"/>
                    </a:ext>
                  </a:extLst>
                </p:cNvPr>
                <p:cNvSpPr/>
                <p:nvPr/>
              </p:nvSpPr>
              <p:spPr>
                <a:xfrm>
                  <a:off x="5142875" y="4007337"/>
                  <a:ext cx="63773" cy="76528"/>
                </a:xfrm>
                <a:custGeom>
                  <a:avLst/>
                  <a:gdLst>
                    <a:gd name="connsiteX0" fmla="*/ 31887 w 63773"/>
                    <a:gd name="connsiteY0" fmla="*/ 76529 h 76528"/>
                    <a:gd name="connsiteX1" fmla="*/ 0 w 63773"/>
                    <a:gd name="connsiteY1" fmla="*/ 38264 h 76528"/>
                    <a:gd name="connsiteX2" fmla="*/ 31887 w 63773"/>
                    <a:gd name="connsiteY2" fmla="*/ 0 h 76528"/>
                    <a:gd name="connsiteX3" fmla="*/ 63774 w 63773"/>
                    <a:gd name="connsiteY3" fmla="*/ 38264 h 76528"/>
                    <a:gd name="connsiteX4" fmla="*/ 31887 w 63773"/>
                    <a:gd name="connsiteY4" fmla="*/ 76529 h 76528"/>
                    <a:gd name="connsiteX5" fmla="*/ 31887 w 63773"/>
                    <a:gd name="connsiteY5" fmla="*/ 12755 h 76528"/>
                    <a:gd name="connsiteX6" fmla="*/ 12755 w 63773"/>
                    <a:gd name="connsiteY6" fmla="*/ 38264 h 76528"/>
                    <a:gd name="connsiteX7" fmla="*/ 31887 w 63773"/>
                    <a:gd name="connsiteY7" fmla="*/ 63774 h 76528"/>
                    <a:gd name="connsiteX8" fmla="*/ 51019 w 63773"/>
                    <a:gd name="connsiteY8" fmla="*/ 38264 h 76528"/>
                    <a:gd name="connsiteX9" fmla="*/ 31887 w 63773"/>
                    <a:gd name="connsiteY9" fmla="*/ 12755 h 76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773" h="76528">
                      <a:moveTo>
                        <a:pt x="31887" y="76529"/>
                      </a:moveTo>
                      <a:cubicBezTo>
                        <a:pt x="12812" y="76529"/>
                        <a:pt x="0" y="61153"/>
                        <a:pt x="0" y="38264"/>
                      </a:cubicBezTo>
                      <a:cubicBezTo>
                        <a:pt x="0" y="15376"/>
                        <a:pt x="12812" y="0"/>
                        <a:pt x="31887" y="0"/>
                      </a:cubicBezTo>
                      <a:cubicBezTo>
                        <a:pt x="50962" y="0"/>
                        <a:pt x="63774" y="15376"/>
                        <a:pt x="63774" y="38264"/>
                      </a:cubicBezTo>
                      <a:cubicBezTo>
                        <a:pt x="63774" y="61153"/>
                        <a:pt x="50955" y="76529"/>
                        <a:pt x="31887" y="76529"/>
                      </a:cubicBezTo>
                      <a:close/>
                      <a:moveTo>
                        <a:pt x="31887" y="12755"/>
                      </a:moveTo>
                      <a:cubicBezTo>
                        <a:pt x="17780" y="12755"/>
                        <a:pt x="12755" y="25931"/>
                        <a:pt x="12755" y="38264"/>
                      </a:cubicBezTo>
                      <a:cubicBezTo>
                        <a:pt x="12755" y="50598"/>
                        <a:pt x="17780" y="63774"/>
                        <a:pt x="31887" y="63774"/>
                      </a:cubicBezTo>
                      <a:cubicBezTo>
                        <a:pt x="45994" y="63774"/>
                        <a:pt x="51019" y="50598"/>
                        <a:pt x="51019" y="38264"/>
                      </a:cubicBezTo>
                      <a:cubicBezTo>
                        <a:pt x="51019" y="25931"/>
                        <a:pt x="45987" y="12755"/>
                        <a:pt x="31887" y="12755"/>
                      </a:cubicBezTo>
                      <a:close/>
                    </a:path>
                  </a:pathLst>
                </a:custGeom>
                <a:grpFill/>
                <a:ln w="637" cap="flat">
                  <a:noFill/>
                  <a:prstDash val="solid"/>
                  <a:miter/>
                </a:ln>
              </p:spPr>
              <p:txBody>
                <a:bodyPr rtlCol="0" anchor="ctr"/>
                <a:lstStyle/>
                <a:p>
                  <a:endParaRPr lang="en-GB" dirty="0"/>
                </a:p>
              </p:txBody>
            </p:sp>
            <p:sp>
              <p:nvSpPr>
                <p:cNvPr id="1090" name="Freeform: Shape 1089">
                  <a:extLst>
                    <a:ext uri="{FF2B5EF4-FFF2-40B4-BE49-F238E27FC236}">
                      <a16:creationId xmlns:a16="http://schemas.microsoft.com/office/drawing/2014/main" id="{5E5C9184-C2D3-408E-B930-69E6078B2A27}"/>
                    </a:ext>
                  </a:extLst>
                </p:cNvPr>
                <p:cNvSpPr/>
                <p:nvPr/>
              </p:nvSpPr>
              <p:spPr>
                <a:xfrm>
                  <a:off x="5109789" y="4090237"/>
                  <a:ext cx="97311" cy="47843"/>
                </a:xfrm>
                <a:custGeom>
                  <a:avLst/>
                  <a:gdLst>
                    <a:gd name="connsiteX0" fmla="*/ 6378 w 97311"/>
                    <a:gd name="connsiteY0" fmla="*/ 47843 h 47843"/>
                    <a:gd name="connsiteX1" fmla="*/ 3629 w 97311"/>
                    <a:gd name="connsiteY1" fmla="*/ 47218 h 47843"/>
                    <a:gd name="connsiteX2" fmla="*/ 625 w 97311"/>
                    <a:gd name="connsiteY2" fmla="*/ 38711 h 47843"/>
                    <a:gd name="connsiteX3" fmla="*/ 14426 w 97311"/>
                    <a:gd name="connsiteY3" fmla="*/ 16824 h 47843"/>
                    <a:gd name="connsiteX4" fmla="*/ 52212 w 97311"/>
                    <a:gd name="connsiteY4" fmla="*/ 0 h 47843"/>
                    <a:gd name="connsiteX5" fmla="*/ 77722 w 97311"/>
                    <a:gd name="connsiteY5" fmla="*/ 0 h 47843"/>
                    <a:gd name="connsiteX6" fmla="*/ 92830 w 97311"/>
                    <a:gd name="connsiteY6" fmla="*/ 2290 h 47843"/>
                    <a:gd name="connsiteX7" fmla="*/ 97020 w 97311"/>
                    <a:gd name="connsiteY7" fmla="*/ 10280 h 47843"/>
                    <a:gd name="connsiteX8" fmla="*/ 89035 w 97311"/>
                    <a:gd name="connsiteY8" fmla="*/ 14470 h 47843"/>
                    <a:gd name="connsiteX9" fmla="*/ 77722 w 97311"/>
                    <a:gd name="connsiteY9" fmla="*/ 12748 h 47843"/>
                    <a:gd name="connsiteX10" fmla="*/ 52212 w 97311"/>
                    <a:gd name="connsiteY10" fmla="*/ 12748 h 47843"/>
                    <a:gd name="connsiteX11" fmla="*/ 23877 w 97311"/>
                    <a:gd name="connsiteY11" fmla="*/ 25376 h 47843"/>
                    <a:gd name="connsiteX12" fmla="*/ 12136 w 97311"/>
                    <a:gd name="connsiteY12" fmla="*/ 44202 h 47843"/>
                    <a:gd name="connsiteX13" fmla="*/ 6378 w 97311"/>
                    <a:gd name="connsiteY13" fmla="*/ 47843 h 47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7311" h="47843">
                      <a:moveTo>
                        <a:pt x="6378" y="47843"/>
                      </a:moveTo>
                      <a:cubicBezTo>
                        <a:pt x="5453" y="47843"/>
                        <a:pt x="4515" y="47645"/>
                        <a:pt x="3629" y="47218"/>
                      </a:cubicBezTo>
                      <a:cubicBezTo>
                        <a:pt x="447" y="45700"/>
                        <a:pt x="-893" y="41893"/>
                        <a:pt x="625" y="38711"/>
                      </a:cubicBezTo>
                      <a:cubicBezTo>
                        <a:pt x="2462" y="34872"/>
                        <a:pt x="10797" y="20822"/>
                        <a:pt x="14426" y="16824"/>
                      </a:cubicBezTo>
                      <a:cubicBezTo>
                        <a:pt x="24107" y="6135"/>
                        <a:pt x="37882" y="0"/>
                        <a:pt x="52212" y="0"/>
                      </a:cubicBezTo>
                      <a:lnTo>
                        <a:pt x="77722" y="0"/>
                      </a:lnTo>
                      <a:cubicBezTo>
                        <a:pt x="82862" y="0"/>
                        <a:pt x="87945" y="772"/>
                        <a:pt x="92830" y="2290"/>
                      </a:cubicBezTo>
                      <a:cubicBezTo>
                        <a:pt x="96191" y="3342"/>
                        <a:pt x="98072" y="6920"/>
                        <a:pt x="97020" y="10280"/>
                      </a:cubicBezTo>
                      <a:cubicBezTo>
                        <a:pt x="95967" y="13635"/>
                        <a:pt x="92390" y="15484"/>
                        <a:pt x="89035" y="14470"/>
                      </a:cubicBezTo>
                      <a:cubicBezTo>
                        <a:pt x="85374" y="13329"/>
                        <a:pt x="81574" y="12748"/>
                        <a:pt x="77722" y="12748"/>
                      </a:cubicBezTo>
                      <a:lnTo>
                        <a:pt x="52212" y="12748"/>
                      </a:lnTo>
                      <a:cubicBezTo>
                        <a:pt x="41472" y="12748"/>
                        <a:pt x="31147" y="17353"/>
                        <a:pt x="23877" y="25376"/>
                      </a:cubicBezTo>
                      <a:cubicBezTo>
                        <a:pt x="21715" y="27767"/>
                        <a:pt x="14024" y="40248"/>
                        <a:pt x="12136" y="44202"/>
                      </a:cubicBezTo>
                      <a:cubicBezTo>
                        <a:pt x="11040" y="46504"/>
                        <a:pt x="8756" y="47843"/>
                        <a:pt x="6378" y="47843"/>
                      </a:cubicBezTo>
                      <a:close/>
                    </a:path>
                  </a:pathLst>
                </a:custGeom>
                <a:grpFill/>
                <a:ln w="637" cap="flat">
                  <a:noFill/>
                  <a:prstDash val="solid"/>
                  <a:miter/>
                </a:ln>
              </p:spPr>
              <p:txBody>
                <a:bodyPr rtlCol="0" anchor="ctr"/>
                <a:lstStyle/>
                <a:p>
                  <a:endParaRPr lang="en-GB" dirty="0"/>
                </a:p>
              </p:txBody>
            </p:sp>
          </p:grpSp>
        </p:grpSp>
      </p:grpSp>
      <p:grpSp>
        <p:nvGrpSpPr>
          <p:cNvPr id="25" name="Group 24">
            <a:extLst>
              <a:ext uri="{FF2B5EF4-FFF2-40B4-BE49-F238E27FC236}">
                <a16:creationId xmlns:a16="http://schemas.microsoft.com/office/drawing/2014/main" id="{38B663AA-F9BC-C13E-D0F0-43C339C5776B}"/>
              </a:ext>
            </a:extLst>
          </p:cNvPr>
          <p:cNvGrpSpPr/>
          <p:nvPr/>
        </p:nvGrpSpPr>
        <p:grpSpPr>
          <a:xfrm>
            <a:off x="6067905" y="2449610"/>
            <a:ext cx="376993" cy="419849"/>
            <a:chOff x="6067493" y="2449610"/>
            <a:chExt cx="376993" cy="419849"/>
          </a:xfrm>
        </p:grpSpPr>
        <p:grpSp>
          <p:nvGrpSpPr>
            <p:cNvPr id="1094" name="Group 1093">
              <a:extLst>
                <a:ext uri="{FF2B5EF4-FFF2-40B4-BE49-F238E27FC236}">
                  <a16:creationId xmlns:a16="http://schemas.microsoft.com/office/drawing/2014/main" id="{EC3161FD-0BE1-459D-A319-5486CB98FAD7}"/>
                </a:ext>
              </a:extLst>
            </p:cNvPr>
            <p:cNvGrpSpPr/>
            <p:nvPr/>
          </p:nvGrpSpPr>
          <p:grpSpPr>
            <a:xfrm>
              <a:off x="6228184" y="2449610"/>
              <a:ext cx="216302" cy="419849"/>
              <a:chOff x="1811679" y="4060250"/>
              <a:chExt cx="216302" cy="419849"/>
            </a:xfrm>
          </p:grpSpPr>
          <p:sp>
            <p:nvSpPr>
              <p:cNvPr id="1100" name="Freeform: Shape 1099">
                <a:extLst>
                  <a:ext uri="{FF2B5EF4-FFF2-40B4-BE49-F238E27FC236}">
                    <a16:creationId xmlns:a16="http://schemas.microsoft.com/office/drawing/2014/main" id="{605ADA59-E600-476F-B57F-638228ABFE6D}"/>
                  </a:ext>
                </a:extLst>
              </p:cNvPr>
              <p:cNvSpPr/>
              <p:nvPr/>
            </p:nvSpPr>
            <p:spPr>
              <a:xfrm>
                <a:off x="1811686" y="4215591"/>
                <a:ext cx="119882" cy="221658"/>
              </a:xfrm>
              <a:custGeom>
                <a:avLst/>
                <a:gdLst>
                  <a:gd name="connsiteX0" fmla="*/ 113505 w 119882"/>
                  <a:gd name="connsiteY0" fmla="*/ 221659 h 221658"/>
                  <a:gd name="connsiteX1" fmla="*/ 6377 w 119882"/>
                  <a:gd name="connsiteY1" fmla="*/ 221659 h 221658"/>
                  <a:gd name="connsiteX2" fmla="*/ 0 w 119882"/>
                  <a:gd name="connsiteY2" fmla="*/ 215282 h 221658"/>
                  <a:gd name="connsiteX3" fmla="*/ 0 w 119882"/>
                  <a:gd name="connsiteY3" fmla="*/ 6377 h 221658"/>
                  <a:gd name="connsiteX4" fmla="*/ 6377 w 119882"/>
                  <a:gd name="connsiteY4" fmla="*/ 0 h 221658"/>
                  <a:gd name="connsiteX5" fmla="*/ 12755 w 119882"/>
                  <a:gd name="connsiteY5" fmla="*/ 6377 h 221658"/>
                  <a:gd name="connsiteX6" fmla="*/ 12755 w 119882"/>
                  <a:gd name="connsiteY6" fmla="*/ 208904 h 221658"/>
                  <a:gd name="connsiteX7" fmla="*/ 113505 w 119882"/>
                  <a:gd name="connsiteY7" fmla="*/ 208904 h 221658"/>
                  <a:gd name="connsiteX8" fmla="*/ 119882 w 119882"/>
                  <a:gd name="connsiteY8" fmla="*/ 215282 h 221658"/>
                  <a:gd name="connsiteX9" fmla="*/ 113505 w 119882"/>
                  <a:gd name="connsiteY9" fmla="*/ 221659 h 221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882" h="221658">
                    <a:moveTo>
                      <a:pt x="113505" y="221659"/>
                    </a:moveTo>
                    <a:lnTo>
                      <a:pt x="6377" y="221659"/>
                    </a:lnTo>
                    <a:cubicBezTo>
                      <a:pt x="2857" y="221659"/>
                      <a:pt x="0" y="218808"/>
                      <a:pt x="0" y="215282"/>
                    </a:cubicBezTo>
                    <a:lnTo>
                      <a:pt x="0" y="6377"/>
                    </a:lnTo>
                    <a:cubicBezTo>
                      <a:pt x="0" y="2851"/>
                      <a:pt x="2857" y="0"/>
                      <a:pt x="6377" y="0"/>
                    </a:cubicBezTo>
                    <a:cubicBezTo>
                      <a:pt x="9898" y="0"/>
                      <a:pt x="12755" y="2851"/>
                      <a:pt x="12755" y="6377"/>
                    </a:cubicBezTo>
                    <a:lnTo>
                      <a:pt x="12755" y="208904"/>
                    </a:lnTo>
                    <a:lnTo>
                      <a:pt x="113505" y="208904"/>
                    </a:lnTo>
                    <a:cubicBezTo>
                      <a:pt x="117025" y="208904"/>
                      <a:pt x="119882" y="211755"/>
                      <a:pt x="119882" y="215282"/>
                    </a:cubicBezTo>
                    <a:cubicBezTo>
                      <a:pt x="119882" y="218808"/>
                      <a:pt x="117025" y="221659"/>
                      <a:pt x="113505" y="221659"/>
                    </a:cubicBezTo>
                    <a:close/>
                  </a:path>
                </a:pathLst>
              </a:custGeom>
              <a:solidFill>
                <a:schemeClr val="accent1"/>
              </a:solidFill>
              <a:ln w="637" cap="flat">
                <a:noFill/>
                <a:prstDash val="solid"/>
                <a:miter/>
              </a:ln>
            </p:spPr>
            <p:txBody>
              <a:bodyPr rtlCol="0" anchor="ctr"/>
              <a:lstStyle/>
              <a:p>
                <a:endParaRPr lang="en-GB" dirty="0"/>
              </a:p>
            </p:txBody>
          </p:sp>
          <p:sp>
            <p:nvSpPr>
              <p:cNvPr id="1101" name="Freeform: Shape 1100">
                <a:extLst>
                  <a:ext uri="{FF2B5EF4-FFF2-40B4-BE49-F238E27FC236}">
                    <a16:creationId xmlns:a16="http://schemas.microsoft.com/office/drawing/2014/main" id="{2A23CD94-5FE0-44A4-B80D-FE2E4918C2F0}"/>
                  </a:ext>
                </a:extLst>
              </p:cNvPr>
              <p:cNvSpPr/>
              <p:nvPr/>
            </p:nvSpPr>
            <p:spPr>
              <a:xfrm>
                <a:off x="1811679" y="4060250"/>
                <a:ext cx="216302" cy="334149"/>
              </a:xfrm>
              <a:custGeom>
                <a:avLst/>
                <a:gdLst>
                  <a:gd name="connsiteX0" fmla="*/ 209925 w 216302"/>
                  <a:gd name="connsiteY0" fmla="*/ 334150 h 334149"/>
                  <a:gd name="connsiteX1" fmla="*/ 203547 w 216302"/>
                  <a:gd name="connsiteY1" fmla="*/ 327773 h 334149"/>
                  <a:gd name="connsiteX2" fmla="*/ 203547 w 216302"/>
                  <a:gd name="connsiteY2" fmla="*/ 12755 h 334149"/>
                  <a:gd name="connsiteX3" fmla="*/ 12755 w 216302"/>
                  <a:gd name="connsiteY3" fmla="*/ 12755 h 334149"/>
                  <a:gd name="connsiteX4" fmla="*/ 12755 w 216302"/>
                  <a:gd name="connsiteY4" fmla="*/ 102797 h 334149"/>
                  <a:gd name="connsiteX5" fmla="*/ 6377 w 216302"/>
                  <a:gd name="connsiteY5" fmla="*/ 109175 h 334149"/>
                  <a:gd name="connsiteX6" fmla="*/ 0 w 216302"/>
                  <a:gd name="connsiteY6" fmla="*/ 102797 h 334149"/>
                  <a:gd name="connsiteX7" fmla="*/ 0 w 216302"/>
                  <a:gd name="connsiteY7" fmla="*/ 6377 h 334149"/>
                  <a:gd name="connsiteX8" fmla="*/ 6377 w 216302"/>
                  <a:gd name="connsiteY8" fmla="*/ 0 h 334149"/>
                  <a:gd name="connsiteX9" fmla="*/ 209925 w 216302"/>
                  <a:gd name="connsiteY9" fmla="*/ 0 h 334149"/>
                  <a:gd name="connsiteX10" fmla="*/ 216302 w 216302"/>
                  <a:gd name="connsiteY10" fmla="*/ 6377 h 334149"/>
                  <a:gd name="connsiteX11" fmla="*/ 216302 w 216302"/>
                  <a:gd name="connsiteY11" fmla="*/ 327773 h 334149"/>
                  <a:gd name="connsiteX12" fmla="*/ 209925 w 216302"/>
                  <a:gd name="connsiteY12" fmla="*/ 334150 h 3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6302" h="334149">
                    <a:moveTo>
                      <a:pt x="209925" y="334150"/>
                    </a:moveTo>
                    <a:cubicBezTo>
                      <a:pt x="206404" y="334150"/>
                      <a:pt x="203547" y="331299"/>
                      <a:pt x="203547" y="327773"/>
                    </a:cubicBezTo>
                    <a:lnTo>
                      <a:pt x="203547" y="12755"/>
                    </a:lnTo>
                    <a:lnTo>
                      <a:pt x="12755" y="12755"/>
                    </a:lnTo>
                    <a:lnTo>
                      <a:pt x="12755" y="102797"/>
                    </a:lnTo>
                    <a:cubicBezTo>
                      <a:pt x="12755" y="106324"/>
                      <a:pt x="9898" y="109175"/>
                      <a:pt x="6377" y="109175"/>
                    </a:cubicBezTo>
                    <a:cubicBezTo>
                      <a:pt x="2857" y="109175"/>
                      <a:pt x="0" y="106324"/>
                      <a:pt x="0" y="102797"/>
                    </a:cubicBezTo>
                    <a:lnTo>
                      <a:pt x="0" y="6377"/>
                    </a:lnTo>
                    <a:cubicBezTo>
                      <a:pt x="0" y="2851"/>
                      <a:pt x="2857" y="0"/>
                      <a:pt x="6377" y="0"/>
                    </a:cubicBezTo>
                    <a:lnTo>
                      <a:pt x="209925" y="0"/>
                    </a:lnTo>
                    <a:cubicBezTo>
                      <a:pt x="213445" y="0"/>
                      <a:pt x="216302" y="2851"/>
                      <a:pt x="216302" y="6377"/>
                    </a:cubicBezTo>
                    <a:lnTo>
                      <a:pt x="216302" y="327773"/>
                    </a:lnTo>
                    <a:cubicBezTo>
                      <a:pt x="216302" y="331299"/>
                      <a:pt x="213445" y="334150"/>
                      <a:pt x="209925" y="334150"/>
                    </a:cubicBezTo>
                    <a:close/>
                  </a:path>
                </a:pathLst>
              </a:custGeom>
              <a:solidFill>
                <a:schemeClr val="accent1"/>
              </a:solidFill>
              <a:ln w="637" cap="flat">
                <a:noFill/>
                <a:prstDash val="solid"/>
                <a:miter/>
              </a:ln>
            </p:spPr>
            <p:txBody>
              <a:bodyPr rtlCol="0" anchor="ctr"/>
              <a:lstStyle/>
              <a:p>
                <a:endParaRPr lang="en-GB" dirty="0"/>
              </a:p>
            </p:txBody>
          </p:sp>
          <p:sp>
            <p:nvSpPr>
              <p:cNvPr id="1102" name="Freeform: Shape 1101">
                <a:extLst>
                  <a:ext uri="{FF2B5EF4-FFF2-40B4-BE49-F238E27FC236}">
                    <a16:creationId xmlns:a16="http://schemas.microsoft.com/office/drawing/2014/main" id="{3E24B098-E8B6-473A-8F18-6C415AA5D09B}"/>
                  </a:ext>
                </a:extLst>
              </p:cNvPr>
              <p:cNvSpPr/>
              <p:nvPr/>
            </p:nvSpPr>
            <p:spPr>
              <a:xfrm>
                <a:off x="1918813" y="4060252"/>
                <a:ext cx="109168" cy="419847"/>
              </a:xfrm>
              <a:custGeom>
                <a:avLst/>
                <a:gdLst>
                  <a:gd name="connsiteX0" fmla="*/ 6377 w 109168"/>
                  <a:gd name="connsiteY0" fmla="*/ 419847 h 419847"/>
                  <a:gd name="connsiteX1" fmla="*/ 2902 w 109168"/>
                  <a:gd name="connsiteY1" fmla="*/ 418820 h 419847"/>
                  <a:gd name="connsiteX2" fmla="*/ 0 w 109168"/>
                  <a:gd name="connsiteY2" fmla="*/ 413470 h 419847"/>
                  <a:gd name="connsiteX3" fmla="*/ 0 w 109168"/>
                  <a:gd name="connsiteY3" fmla="*/ 49231 h 419847"/>
                  <a:gd name="connsiteX4" fmla="*/ 3788 w 109168"/>
                  <a:gd name="connsiteY4" fmla="*/ 43402 h 419847"/>
                  <a:gd name="connsiteX5" fmla="*/ 100202 w 109168"/>
                  <a:gd name="connsiteY5" fmla="*/ 546 h 419847"/>
                  <a:gd name="connsiteX6" fmla="*/ 106267 w 109168"/>
                  <a:gd name="connsiteY6" fmla="*/ 1025 h 419847"/>
                  <a:gd name="connsiteX7" fmla="*/ 109168 w 109168"/>
                  <a:gd name="connsiteY7" fmla="*/ 6375 h 419847"/>
                  <a:gd name="connsiteX8" fmla="*/ 109168 w 109168"/>
                  <a:gd name="connsiteY8" fmla="*/ 370614 h 419847"/>
                  <a:gd name="connsiteX9" fmla="*/ 105380 w 109168"/>
                  <a:gd name="connsiteY9" fmla="*/ 376443 h 419847"/>
                  <a:gd name="connsiteX10" fmla="*/ 8967 w 109168"/>
                  <a:gd name="connsiteY10" fmla="*/ 419299 h 419847"/>
                  <a:gd name="connsiteX11" fmla="*/ 6377 w 109168"/>
                  <a:gd name="connsiteY11" fmla="*/ 419847 h 419847"/>
                  <a:gd name="connsiteX12" fmla="*/ 12755 w 109168"/>
                  <a:gd name="connsiteY12" fmla="*/ 53370 h 419847"/>
                  <a:gd name="connsiteX13" fmla="*/ 12755 w 109168"/>
                  <a:gd name="connsiteY13" fmla="*/ 403655 h 419847"/>
                  <a:gd name="connsiteX14" fmla="*/ 96413 w 109168"/>
                  <a:gd name="connsiteY14" fmla="*/ 366475 h 419847"/>
                  <a:gd name="connsiteX15" fmla="*/ 96413 w 109168"/>
                  <a:gd name="connsiteY15" fmla="*/ 16190 h 419847"/>
                  <a:gd name="connsiteX16" fmla="*/ 12755 w 109168"/>
                  <a:gd name="connsiteY16" fmla="*/ 53370 h 419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9168" h="419847">
                    <a:moveTo>
                      <a:pt x="6377" y="419847"/>
                    </a:moveTo>
                    <a:cubicBezTo>
                      <a:pt x="5166" y="419847"/>
                      <a:pt x="3954" y="419497"/>
                      <a:pt x="2902" y="418820"/>
                    </a:cubicBezTo>
                    <a:cubicBezTo>
                      <a:pt x="1091" y="417641"/>
                      <a:pt x="0" y="415632"/>
                      <a:pt x="0" y="413470"/>
                    </a:cubicBezTo>
                    <a:lnTo>
                      <a:pt x="0" y="49231"/>
                    </a:lnTo>
                    <a:cubicBezTo>
                      <a:pt x="0" y="46706"/>
                      <a:pt x="1486" y="44429"/>
                      <a:pt x="3788" y="43402"/>
                    </a:cubicBezTo>
                    <a:lnTo>
                      <a:pt x="100202" y="546"/>
                    </a:lnTo>
                    <a:cubicBezTo>
                      <a:pt x="102172" y="-327"/>
                      <a:pt x="104455" y="-142"/>
                      <a:pt x="106267" y="1025"/>
                    </a:cubicBezTo>
                    <a:cubicBezTo>
                      <a:pt x="108078" y="2205"/>
                      <a:pt x="109168" y="4213"/>
                      <a:pt x="109168" y="6375"/>
                    </a:cubicBezTo>
                    <a:lnTo>
                      <a:pt x="109168" y="370614"/>
                    </a:lnTo>
                    <a:cubicBezTo>
                      <a:pt x="109168" y="373139"/>
                      <a:pt x="107682" y="375416"/>
                      <a:pt x="105380" y="376443"/>
                    </a:cubicBezTo>
                    <a:lnTo>
                      <a:pt x="8967" y="419299"/>
                    </a:lnTo>
                    <a:cubicBezTo>
                      <a:pt x="8138" y="419669"/>
                      <a:pt x="7257" y="419847"/>
                      <a:pt x="6377" y="419847"/>
                    </a:cubicBezTo>
                    <a:close/>
                    <a:moveTo>
                      <a:pt x="12755" y="53370"/>
                    </a:moveTo>
                    <a:lnTo>
                      <a:pt x="12755" y="403655"/>
                    </a:lnTo>
                    <a:lnTo>
                      <a:pt x="96413" y="366475"/>
                    </a:lnTo>
                    <a:lnTo>
                      <a:pt x="96413" y="16190"/>
                    </a:lnTo>
                    <a:lnTo>
                      <a:pt x="12755" y="53370"/>
                    </a:lnTo>
                    <a:close/>
                  </a:path>
                </a:pathLst>
              </a:custGeom>
              <a:solidFill>
                <a:schemeClr val="accent1"/>
              </a:solidFill>
              <a:ln w="637" cap="flat">
                <a:noFill/>
                <a:prstDash val="solid"/>
                <a:miter/>
              </a:ln>
            </p:spPr>
            <p:txBody>
              <a:bodyPr rtlCol="0" anchor="ctr"/>
              <a:lstStyle/>
              <a:p>
                <a:endParaRPr lang="en-GB" dirty="0"/>
              </a:p>
            </p:txBody>
          </p:sp>
        </p:grpSp>
        <p:grpSp>
          <p:nvGrpSpPr>
            <p:cNvPr id="1095" name="Graphic 32">
              <a:extLst>
                <a:ext uri="{FF2B5EF4-FFF2-40B4-BE49-F238E27FC236}">
                  <a16:creationId xmlns:a16="http://schemas.microsoft.com/office/drawing/2014/main" id="{6E6E15C9-4E95-4C3A-8D14-F99DA83BCC8B}"/>
                </a:ext>
              </a:extLst>
            </p:cNvPr>
            <p:cNvGrpSpPr/>
            <p:nvPr/>
          </p:nvGrpSpPr>
          <p:grpSpPr>
            <a:xfrm>
              <a:off x="6067493" y="2449610"/>
              <a:ext cx="237730" cy="398421"/>
              <a:chOff x="5882372" y="4060250"/>
              <a:chExt cx="237730" cy="398421"/>
            </a:xfrm>
            <a:solidFill>
              <a:schemeClr val="tx2"/>
            </a:solidFill>
          </p:grpSpPr>
          <p:sp>
            <p:nvSpPr>
              <p:cNvPr id="1096" name="Freeform: Shape 1095">
                <a:extLst>
                  <a:ext uri="{FF2B5EF4-FFF2-40B4-BE49-F238E27FC236}">
                    <a16:creationId xmlns:a16="http://schemas.microsoft.com/office/drawing/2014/main" id="{A755B431-D732-4A7E-B882-587FC72D4BFF}"/>
                  </a:ext>
                </a:extLst>
              </p:cNvPr>
              <p:cNvSpPr/>
              <p:nvPr/>
            </p:nvSpPr>
            <p:spPr>
              <a:xfrm>
                <a:off x="5909157" y="4220948"/>
                <a:ext cx="18111" cy="237723"/>
              </a:xfrm>
              <a:custGeom>
                <a:avLst/>
                <a:gdLst>
                  <a:gd name="connsiteX0" fmla="*/ 11734 w 18111"/>
                  <a:gd name="connsiteY0" fmla="*/ 237724 h 237723"/>
                  <a:gd name="connsiteX1" fmla="*/ 5357 w 18111"/>
                  <a:gd name="connsiteY1" fmla="*/ 231346 h 237723"/>
                  <a:gd name="connsiteX2" fmla="*/ 5357 w 18111"/>
                  <a:gd name="connsiteY2" fmla="*/ 12672 h 237723"/>
                  <a:gd name="connsiteX3" fmla="*/ 0 w 18111"/>
                  <a:gd name="connsiteY3" fmla="*/ 6377 h 237723"/>
                  <a:gd name="connsiteX4" fmla="*/ 6377 w 18111"/>
                  <a:gd name="connsiteY4" fmla="*/ 0 h 237723"/>
                  <a:gd name="connsiteX5" fmla="*/ 11734 w 18111"/>
                  <a:gd name="connsiteY5" fmla="*/ 0 h 237723"/>
                  <a:gd name="connsiteX6" fmla="*/ 18112 w 18111"/>
                  <a:gd name="connsiteY6" fmla="*/ 6377 h 237723"/>
                  <a:gd name="connsiteX7" fmla="*/ 18112 w 18111"/>
                  <a:gd name="connsiteY7" fmla="*/ 231346 h 237723"/>
                  <a:gd name="connsiteX8" fmla="*/ 11734 w 18111"/>
                  <a:gd name="connsiteY8" fmla="*/ 237724 h 237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11" h="237723">
                    <a:moveTo>
                      <a:pt x="11734" y="237724"/>
                    </a:moveTo>
                    <a:cubicBezTo>
                      <a:pt x="8214" y="237724"/>
                      <a:pt x="5357" y="234873"/>
                      <a:pt x="5357" y="231346"/>
                    </a:cubicBezTo>
                    <a:lnTo>
                      <a:pt x="5357" y="12672"/>
                    </a:lnTo>
                    <a:cubicBezTo>
                      <a:pt x="2321" y="12181"/>
                      <a:pt x="0" y="9553"/>
                      <a:pt x="0" y="6377"/>
                    </a:cubicBezTo>
                    <a:cubicBezTo>
                      <a:pt x="0" y="2851"/>
                      <a:pt x="2857" y="0"/>
                      <a:pt x="6377" y="0"/>
                    </a:cubicBezTo>
                    <a:lnTo>
                      <a:pt x="11734" y="0"/>
                    </a:lnTo>
                    <a:cubicBezTo>
                      <a:pt x="15255" y="0"/>
                      <a:pt x="18112" y="2851"/>
                      <a:pt x="18112" y="6377"/>
                    </a:cubicBezTo>
                    <a:lnTo>
                      <a:pt x="18112" y="231346"/>
                    </a:lnTo>
                    <a:cubicBezTo>
                      <a:pt x="18112" y="234873"/>
                      <a:pt x="15255" y="237724"/>
                      <a:pt x="11734" y="237724"/>
                    </a:cubicBezTo>
                    <a:close/>
                  </a:path>
                </a:pathLst>
              </a:custGeom>
              <a:grpFill/>
              <a:ln w="637" cap="flat">
                <a:noFill/>
                <a:prstDash val="solid"/>
                <a:miter/>
              </a:ln>
            </p:spPr>
            <p:txBody>
              <a:bodyPr rtlCol="0" anchor="ctr"/>
              <a:lstStyle/>
              <a:p>
                <a:endParaRPr lang="en-GB" dirty="0"/>
              </a:p>
            </p:txBody>
          </p:sp>
          <p:sp>
            <p:nvSpPr>
              <p:cNvPr id="1097" name="Freeform: Shape 1096">
                <a:extLst>
                  <a:ext uri="{FF2B5EF4-FFF2-40B4-BE49-F238E27FC236}">
                    <a16:creationId xmlns:a16="http://schemas.microsoft.com/office/drawing/2014/main" id="{E2B705EE-2D76-4E20-8DEF-86235895E7F5}"/>
                  </a:ext>
                </a:extLst>
              </p:cNvPr>
              <p:cNvSpPr/>
              <p:nvPr/>
            </p:nvSpPr>
            <p:spPr>
              <a:xfrm>
                <a:off x="5962721" y="4322724"/>
                <a:ext cx="12754" cy="135946"/>
              </a:xfrm>
              <a:custGeom>
                <a:avLst/>
                <a:gdLst>
                  <a:gd name="connsiteX0" fmla="*/ 6377 w 12754"/>
                  <a:gd name="connsiteY0" fmla="*/ 135947 h 135946"/>
                  <a:gd name="connsiteX1" fmla="*/ 0 w 12754"/>
                  <a:gd name="connsiteY1" fmla="*/ 129569 h 135946"/>
                  <a:gd name="connsiteX2" fmla="*/ 0 w 12754"/>
                  <a:gd name="connsiteY2" fmla="*/ 6377 h 135946"/>
                  <a:gd name="connsiteX3" fmla="*/ 6377 w 12754"/>
                  <a:gd name="connsiteY3" fmla="*/ 0 h 135946"/>
                  <a:gd name="connsiteX4" fmla="*/ 12755 w 12754"/>
                  <a:gd name="connsiteY4" fmla="*/ 6377 h 135946"/>
                  <a:gd name="connsiteX5" fmla="*/ 12755 w 12754"/>
                  <a:gd name="connsiteY5" fmla="*/ 129569 h 135946"/>
                  <a:gd name="connsiteX6" fmla="*/ 6377 w 12754"/>
                  <a:gd name="connsiteY6" fmla="*/ 135947 h 135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135946">
                    <a:moveTo>
                      <a:pt x="6377" y="135947"/>
                    </a:moveTo>
                    <a:cubicBezTo>
                      <a:pt x="2857" y="135947"/>
                      <a:pt x="0" y="133096"/>
                      <a:pt x="0" y="129569"/>
                    </a:cubicBezTo>
                    <a:lnTo>
                      <a:pt x="0" y="6377"/>
                    </a:lnTo>
                    <a:cubicBezTo>
                      <a:pt x="0" y="2851"/>
                      <a:pt x="2857" y="0"/>
                      <a:pt x="6377" y="0"/>
                    </a:cubicBezTo>
                    <a:cubicBezTo>
                      <a:pt x="9898" y="0"/>
                      <a:pt x="12755" y="2851"/>
                      <a:pt x="12755" y="6377"/>
                    </a:cubicBezTo>
                    <a:lnTo>
                      <a:pt x="12755" y="129569"/>
                    </a:lnTo>
                    <a:cubicBezTo>
                      <a:pt x="12755" y="133096"/>
                      <a:pt x="9898" y="135947"/>
                      <a:pt x="6377" y="135947"/>
                    </a:cubicBezTo>
                    <a:close/>
                  </a:path>
                </a:pathLst>
              </a:custGeom>
              <a:grpFill/>
              <a:ln w="637" cap="flat">
                <a:noFill/>
                <a:prstDash val="solid"/>
                <a:miter/>
              </a:ln>
            </p:spPr>
            <p:txBody>
              <a:bodyPr rtlCol="0" anchor="ctr"/>
              <a:lstStyle/>
              <a:p>
                <a:endParaRPr lang="en-GB" dirty="0"/>
              </a:p>
            </p:txBody>
          </p:sp>
          <p:sp>
            <p:nvSpPr>
              <p:cNvPr id="1098" name="Freeform: Shape 1097">
                <a:extLst>
                  <a:ext uri="{FF2B5EF4-FFF2-40B4-BE49-F238E27FC236}">
                    <a16:creationId xmlns:a16="http://schemas.microsoft.com/office/drawing/2014/main" id="{D9414D48-E2AD-4E36-83E0-280FF694AE60}"/>
                  </a:ext>
                </a:extLst>
              </p:cNvPr>
              <p:cNvSpPr/>
              <p:nvPr/>
            </p:nvSpPr>
            <p:spPr>
              <a:xfrm>
                <a:off x="5882372" y="4156670"/>
                <a:ext cx="237730" cy="302001"/>
              </a:xfrm>
              <a:custGeom>
                <a:avLst/>
                <a:gdLst>
                  <a:gd name="connsiteX0" fmla="*/ 134933 w 237730"/>
                  <a:gd name="connsiteY0" fmla="*/ 302001 h 302001"/>
                  <a:gd name="connsiteX1" fmla="*/ 128555 w 237730"/>
                  <a:gd name="connsiteY1" fmla="*/ 295624 h 302001"/>
                  <a:gd name="connsiteX2" fmla="*/ 128555 w 237730"/>
                  <a:gd name="connsiteY2" fmla="*/ 49227 h 302001"/>
                  <a:gd name="connsiteX3" fmla="*/ 134231 w 237730"/>
                  <a:gd name="connsiteY3" fmla="*/ 42888 h 302001"/>
                  <a:gd name="connsiteX4" fmla="*/ 224975 w 237730"/>
                  <a:gd name="connsiteY4" fmla="*/ 32805 h 302001"/>
                  <a:gd name="connsiteX5" fmla="*/ 224975 w 237730"/>
                  <a:gd name="connsiteY5" fmla="*/ 12755 h 302001"/>
                  <a:gd name="connsiteX6" fmla="*/ 65298 w 237730"/>
                  <a:gd name="connsiteY6" fmla="*/ 12755 h 302001"/>
                  <a:gd name="connsiteX7" fmla="*/ 12755 w 237730"/>
                  <a:gd name="connsiteY7" fmla="*/ 70649 h 302001"/>
                  <a:gd name="connsiteX8" fmla="*/ 12755 w 237730"/>
                  <a:gd name="connsiteY8" fmla="*/ 166048 h 302001"/>
                  <a:gd name="connsiteX9" fmla="*/ 16071 w 237730"/>
                  <a:gd name="connsiteY9" fmla="*/ 166048 h 302001"/>
                  <a:gd name="connsiteX10" fmla="*/ 22448 w 237730"/>
                  <a:gd name="connsiteY10" fmla="*/ 172426 h 302001"/>
                  <a:gd name="connsiteX11" fmla="*/ 16071 w 237730"/>
                  <a:gd name="connsiteY11" fmla="*/ 178803 h 302001"/>
                  <a:gd name="connsiteX12" fmla="*/ 6377 w 237730"/>
                  <a:gd name="connsiteY12" fmla="*/ 178803 h 302001"/>
                  <a:gd name="connsiteX13" fmla="*/ 0 w 237730"/>
                  <a:gd name="connsiteY13" fmla="*/ 172426 h 302001"/>
                  <a:gd name="connsiteX14" fmla="*/ 0 w 237730"/>
                  <a:gd name="connsiteY14" fmla="*/ 70649 h 302001"/>
                  <a:gd name="connsiteX15" fmla="*/ 65298 w 237730"/>
                  <a:gd name="connsiteY15" fmla="*/ 0 h 302001"/>
                  <a:gd name="connsiteX16" fmla="*/ 231353 w 237730"/>
                  <a:gd name="connsiteY16" fmla="*/ 0 h 302001"/>
                  <a:gd name="connsiteX17" fmla="*/ 237730 w 237730"/>
                  <a:gd name="connsiteY17" fmla="*/ 6377 h 302001"/>
                  <a:gd name="connsiteX18" fmla="*/ 237730 w 237730"/>
                  <a:gd name="connsiteY18" fmla="*/ 38513 h 302001"/>
                  <a:gd name="connsiteX19" fmla="*/ 232054 w 237730"/>
                  <a:gd name="connsiteY19" fmla="*/ 44852 h 302001"/>
                  <a:gd name="connsiteX20" fmla="*/ 141310 w 237730"/>
                  <a:gd name="connsiteY20" fmla="*/ 54941 h 302001"/>
                  <a:gd name="connsiteX21" fmla="*/ 141310 w 237730"/>
                  <a:gd name="connsiteY21" fmla="*/ 295624 h 302001"/>
                  <a:gd name="connsiteX22" fmla="*/ 134933 w 237730"/>
                  <a:gd name="connsiteY22" fmla="*/ 302001 h 302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37730" h="302001">
                    <a:moveTo>
                      <a:pt x="134933" y="302001"/>
                    </a:moveTo>
                    <a:cubicBezTo>
                      <a:pt x="131413" y="302001"/>
                      <a:pt x="128555" y="299151"/>
                      <a:pt x="128555" y="295624"/>
                    </a:cubicBezTo>
                    <a:lnTo>
                      <a:pt x="128555" y="49227"/>
                    </a:lnTo>
                    <a:cubicBezTo>
                      <a:pt x="128555" y="45975"/>
                      <a:pt x="130998" y="43245"/>
                      <a:pt x="134231" y="42888"/>
                    </a:cubicBezTo>
                    <a:lnTo>
                      <a:pt x="224975" y="32805"/>
                    </a:lnTo>
                    <a:lnTo>
                      <a:pt x="224975" y="12755"/>
                    </a:lnTo>
                    <a:lnTo>
                      <a:pt x="65298" y="12755"/>
                    </a:lnTo>
                    <a:cubicBezTo>
                      <a:pt x="34852" y="12755"/>
                      <a:pt x="12755" y="37104"/>
                      <a:pt x="12755" y="70649"/>
                    </a:cubicBezTo>
                    <a:lnTo>
                      <a:pt x="12755" y="166048"/>
                    </a:lnTo>
                    <a:lnTo>
                      <a:pt x="16071" y="166048"/>
                    </a:lnTo>
                    <a:cubicBezTo>
                      <a:pt x="19591" y="166048"/>
                      <a:pt x="22448" y="168899"/>
                      <a:pt x="22448" y="172426"/>
                    </a:cubicBezTo>
                    <a:cubicBezTo>
                      <a:pt x="22448" y="175952"/>
                      <a:pt x="19591" y="178803"/>
                      <a:pt x="16071" y="178803"/>
                    </a:cubicBezTo>
                    <a:lnTo>
                      <a:pt x="6377" y="178803"/>
                    </a:lnTo>
                    <a:cubicBezTo>
                      <a:pt x="2857" y="178803"/>
                      <a:pt x="0" y="175952"/>
                      <a:pt x="0" y="172426"/>
                    </a:cubicBezTo>
                    <a:lnTo>
                      <a:pt x="0" y="70649"/>
                    </a:lnTo>
                    <a:cubicBezTo>
                      <a:pt x="0" y="30375"/>
                      <a:pt x="28073" y="0"/>
                      <a:pt x="65298" y="0"/>
                    </a:cubicBezTo>
                    <a:lnTo>
                      <a:pt x="231353" y="0"/>
                    </a:lnTo>
                    <a:cubicBezTo>
                      <a:pt x="234873" y="0"/>
                      <a:pt x="237730" y="2851"/>
                      <a:pt x="237730" y="6377"/>
                    </a:cubicBezTo>
                    <a:lnTo>
                      <a:pt x="237730" y="38513"/>
                    </a:lnTo>
                    <a:cubicBezTo>
                      <a:pt x="237730" y="41766"/>
                      <a:pt x="235288" y="44495"/>
                      <a:pt x="232054" y="44852"/>
                    </a:cubicBezTo>
                    <a:lnTo>
                      <a:pt x="141310" y="54941"/>
                    </a:lnTo>
                    <a:lnTo>
                      <a:pt x="141310" y="295624"/>
                    </a:lnTo>
                    <a:cubicBezTo>
                      <a:pt x="141310" y="299151"/>
                      <a:pt x="138453" y="302001"/>
                      <a:pt x="134933" y="302001"/>
                    </a:cubicBezTo>
                    <a:close/>
                  </a:path>
                </a:pathLst>
              </a:custGeom>
              <a:grpFill/>
              <a:ln w="637" cap="flat">
                <a:noFill/>
                <a:prstDash val="solid"/>
                <a:miter/>
              </a:ln>
            </p:spPr>
            <p:txBody>
              <a:bodyPr rtlCol="0" anchor="ctr"/>
              <a:lstStyle/>
              <a:p>
                <a:endParaRPr lang="en-GB" dirty="0"/>
              </a:p>
            </p:txBody>
          </p:sp>
          <p:sp>
            <p:nvSpPr>
              <p:cNvPr id="1099" name="Freeform: Shape 1098">
                <a:extLst>
                  <a:ext uri="{FF2B5EF4-FFF2-40B4-BE49-F238E27FC236}">
                    <a16:creationId xmlns:a16="http://schemas.microsoft.com/office/drawing/2014/main" id="{8E29A570-DC7E-468F-BA9C-5BBD6F4A048B}"/>
                  </a:ext>
                </a:extLst>
              </p:cNvPr>
              <p:cNvSpPr/>
              <p:nvPr/>
            </p:nvSpPr>
            <p:spPr>
              <a:xfrm>
                <a:off x="5930579" y="4060250"/>
                <a:ext cx="77038" cy="87746"/>
              </a:xfrm>
              <a:custGeom>
                <a:avLst/>
                <a:gdLst>
                  <a:gd name="connsiteX0" fmla="*/ 38519 w 77038"/>
                  <a:gd name="connsiteY0" fmla="*/ 87747 h 87746"/>
                  <a:gd name="connsiteX1" fmla="*/ 0 w 77038"/>
                  <a:gd name="connsiteY1" fmla="*/ 43876 h 87746"/>
                  <a:gd name="connsiteX2" fmla="*/ 38519 w 77038"/>
                  <a:gd name="connsiteY2" fmla="*/ 0 h 87746"/>
                  <a:gd name="connsiteX3" fmla="*/ 77039 w 77038"/>
                  <a:gd name="connsiteY3" fmla="*/ 43876 h 87746"/>
                  <a:gd name="connsiteX4" fmla="*/ 38519 w 77038"/>
                  <a:gd name="connsiteY4" fmla="*/ 87747 h 87746"/>
                  <a:gd name="connsiteX5" fmla="*/ 38519 w 77038"/>
                  <a:gd name="connsiteY5" fmla="*/ 12755 h 87746"/>
                  <a:gd name="connsiteX6" fmla="*/ 12755 w 77038"/>
                  <a:gd name="connsiteY6" fmla="*/ 43876 h 87746"/>
                  <a:gd name="connsiteX7" fmla="*/ 38519 w 77038"/>
                  <a:gd name="connsiteY7" fmla="*/ 74992 h 87746"/>
                  <a:gd name="connsiteX8" fmla="*/ 64284 w 77038"/>
                  <a:gd name="connsiteY8" fmla="*/ 43876 h 87746"/>
                  <a:gd name="connsiteX9" fmla="*/ 38519 w 77038"/>
                  <a:gd name="connsiteY9" fmla="*/ 12755 h 87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38" h="87746">
                    <a:moveTo>
                      <a:pt x="38519" y="87747"/>
                    </a:moveTo>
                    <a:cubicBezTo>
                      <a:pt x="15841" y="87747"/>
                      <a:pt x="0" y="69705"/>
                      <a:pt x="0" y="43876"/>
                    </a:cubicBezTo>
                    <a:cubicBezTo>
                      <a:pt x="0" y="18042"/>
                      <a:pt x="15835" y="0"/>
                      <a:pt x="38519" y="0"/>
                    </a:cubicBezTo>
                    <a:cubicBezTo>
                      <a:pt x="61204" y="0"/>
                      <a:pt x="77039" y="18042"/>
                      <a:pt x="77039" y="43876"/>
                    </a:cubicBezTo>
                    <a:cubicBezTo>
                      <a:pt x="77033" y="69705"/>
                      <a:pt x="61197" y="87747"/>
                      <a:pt x="38519" y="87747"/>
                    </a:cubicBezTo>
                    <a:close/>
                    <a:moveTo>
                      <a:pt x="38519" y="12755"/>
                    </a:moveTo>
                    <a:cubicBezTo>
                      <a:pt x="19508" y="12755"/>
                      <a:pt x="12755" y="29521"/>
                      <a:pt x="12755" y="43876"/>
                    </a:cubicBezTo>
                    <a:cubicBezTo>
                      <a:pt x="12755" y="58232"/>
                      <a:pt x="19502" y="74992"/>
                      <a:pt x="38519" y="74992"/>
                    </a:cubicBezTo>
                    <a:cubicBezTo>
                      <a:pt x="57530" y="74992"/>
                      <a:pt x="64284" y="58232"/>
                      <a:pt x="64284" y="43876"/>
                    </a:cubicBezTo>
                    <a:cubicBezTo>
                      <a:pt x="64284" y="29521"/>
                      <a:pt x="57530" y="12755"/>
                      <a:pt x="38519" y="12755"/>
                    </a:cubicBezTo>
                    <a:close/>
                  </a:path>
                </a:pathLst>
              </a:custGeom>
              <a:grpFill/>
              <a:ln w="637" cap="flat">
                <a:noFill/>
                <a:prstDash val="solid"/>
                <a:miter/>
              </a:ln>
            </p:spPr>
            <p:txBody>
              <a:bodyPr rtlCol="0" anchor="ctr"/>
              <a:lstStyle/>
              <a:p>
                <a:endParaRPr lang="en-GB" dirty="0"/>
              </a:p>
            </p:txBody>
          </p:sp>
        </p:grpSp>
      </p:grpSp>
      <p:grpSp>
        <p:nvGrpSpPr>
          <p:cNvPr id="30" name="Group 29">
            <a:extLst>
              <a:ext uri="{FF2B5EF4-FFF2-40B4-BE49-F238E27FC236}">
                <a16:creationId xmlns:a16="http://schemas.microsoft.com/office/drawing/2014/main" id="{796E750E-D275-6CBF-23B1-76C26A9800D2}"/>
              </a:ext>
            </a:extLst>
          </p:cNvPr>
          <p:cNvGrpSpPr/>
          <p:nvPr/>
        </p:nvGrpSpPr>
        <p:grpSpPr>
          <a:xfrm>
            <a:off x="8097198" y="2447869"/>
            <a:ext cx="490940" cy="423331"/>
            <a:chOff x="8096786" y="2447869"/>
            <a:chExt cx="490940" cy="423331"/>
          </a:xfrm>
        </p:grpSpPr>
        <p:grpSp>
          <p:nvGrpSpPr>
            <p:cNvPr id="1104" name="Group 1103">
              <a:extLst>
                <a:ext uri="{FF2B5EF4-FFF2-40B4-BE49-F238E27FC236}">
                  <a16:creationId xmlns:a16="http://schemas.microsoft.com/office/drawing/2014/main" id="{D1EA1A54-BC69-4F06-92A8-4027CDEB07E7}"/>
                </a:ext>
              </a:extLst>
            </p:cNvPr>
            <p:cNvGrpSpPr/>
            <p:nvPr/>
          </p:nvGrpSpPr>
          <p:grpSpPr>
            <a:xfrm>
              <a:off x="8096786" y="2499162"/>
              <a:ext cx="242347" cy="365629"/>
              <a:chOff x="3684881" y="4112557"/>
              <a:chExt cx="242347" cy="365629"/>
            </a:xfrm>
            <a:solidFill>
              <a:schemeClr val="tx2"/>
            </a:solidFill>
          </p:grpSpPr>
          <p:sp>
            <p:nvSpPr>
              <p:cNvPr id="1121" name="Freeform: Shape 1120">
                <a:extLst>
                  <a:ext uri="{FF2B5EF4-FFF2-40B4-BE49-F238E27FC236}">
                    <a16:creationId xmlns:a16="http://schemas.microsoft.com/office/drawing/2014/main" id="{00929C77-1AA6-4FBB-A36E-BF636AF0D0B8}"/>
                  </a:ext>
                </a:extLst>
              </p:cNvPr>
              <p:cNvSpPr/>
              <p:nvPr/>
            </p:nvSpPr>
            <p:spPr>
              <a:xfrm>
                <a:off x="3796278" y="4368528"/>
                <a:ext cx="75336" cy="24214"/>
              </a:xfrm>
              <a:custGeom>
                <a:avLst/>
                <a:gdLst>
                  <a:gd name="connsiteX0" fmla="*/ 38557 w 75336"/>
                  <a:gd name="connsiteY0" fmla="*/ 24214 h 24214"/>
                  <a:gd name="connsiteX1" fmla="*/ 618 w 75336"/>
                  <a:gd name="connsiteY1" fmla="*/ 10847 h 24214"/>
                  <a:gd name="connsiteX2" fmla="*/ 3647 w 75336"/>
                  <a:gd name="connsiteY2" fmla="*/ 2353 h 24214"/>
                  <a:gd name="connsiteX3" fmla="*/ 11944 w 75336"/>
                  <a:gd name="connsiteY3" fmla="*/ 4993 h 24214"/>
                  <a:gd name="connsiteX4" fmla="*/ 38563 w 75336"/>
                  <a:gd name="connsiteY4" fmla="*/ 11459 h 24214"/>
                  <a:gd name="connsiteX5" fmla="*/ 62918 w 75336"/>
                  <a:gd name="connsiteY5" fmla="*/ 4604 h 24214"/>
                  <a:gd name="connsiteX6" fmla="*/ 70584 w 75336"/>
                  <a:gd name="connsiteY6" fmla="*/ 216 h 24214"/>
                  <a:gd name="connsiteX7" fmla="*/ 75138 w 75336"/>
                  <a:gd name="connsiteY7" fmla="*/ 8194 h 24214"/>
                  <a:gd name="connsiteX8" fmla="*/ 38557 w 75336"/>
                  <a:gd name="connsiteY8" fmla="*/ 24214 h 24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336" h="24214">
                    <a:moveTo>
                      <a:pt x="38557" y="24214"/>
                    </a:moveTo>
                    <a:cubicBezTo>
                      <a:pt x="8481" y="24214"/>
                      <a:pt x="1676" y="13079"/>
                      <a:pt x="618" y="10847"/>
                    </a:cubicBezTo>
                    <a:cubicBezTo>
                      <a:pt x="-894" y="7665"/>
                      <a:pt x="465" y="3858"/>
                      <a:pt x="3647" y="2353"/>
                    </a:cubicBezTo>
                    <a:cubicBezTo>
                      <a:pt x="6702" y="898"/>
                      <a:pt x="10318" y="2091"/>
                      <a:pt x="11944" y="4993"/>
                    </a:cubicBezTo>
                    <a:cubicBezTo>
                      <a:pt x="12390" y="5554"/>
                      <a:pt x="17594" y="11459"/>
                      <a:pt x="38563" y="11459"/>
                    </a:cubicBezTo>
                    <a:cubicBezTo>
                      <a:pt x="59596" y="11459"/>
                      <a:pt x="62886" y="4674"/>
                      <a:pt x="62918" y="4604"/>
                    </a:cubicBezTo>
                    <a:cubicBezTo>
                      <a:pt x="63779" y="1179"/>
                      <a:pt x="67159" y="-658"/>
                      <a:pt x="70584" y="216"/>
                    </a:cubicBezTo>
                    <a:cubicBezTo>
                      <a:pt x="73996" y="1077"/>
                      <a:pt x="75998" y="4782"/>
                      <a:pt x="75138" y="8194"/>
                    </a:cubicBezTo>
                    <a:cubicBezTo>
                      <a:pt x="74461" y="10866"/>
                      <a:pt x="69525" y="24214"/>
                      <a:pt x="38557" y="24214"/>
                    </a:cubicBezTo>
                    <a:close/>
                  </a:path>
                </a:pathLst>
              </a:custGeom>
              <a:grpFill/>
              <a:ln w="637" cap="flat">
                <a:noFill/>
                <a:prstDash val="solid"/>
                <a:miter/>
              </a:ln>
            </p:spPr>
            <p:txBody>
              <a:bodyPr rtlCol="0" anchor="ctr"/>
              <a:lstStyle/>
              <a:p>
                <a:endParaRPr lang="en-GB" dirty="0"/>
              </a:p>
            </p:txBody>
          </p:sp>
          <p:sp>
            <p:nvSpPr>
              <p:cNvPr id="1122" name="Freeform: Shape 1121">
                <a:extLst>
                  <a:ext uri="{FF2B5EF4-FFF2-40B4-BE49-F238E27FC236}">
                    <a16:creationId xmlns:a16="http://schemas.microsoft.com/office/drawing/2014/main" id="{32485C7B-9769-4D24-90CD-D984B3ED73AF}"/>
                  </a:ext>
                </a:extLst>
              </p:cNvPr>
              <p:cNvSpPr/>
              <p:nvPr/>
            </p:nvSpPr>
            <p:spPr>
              <a:xfrm>
                <a:off x="3751460" y="4342583"/>
                <a:ext cx="63909" cy="131349"/>
              </a:xfrm>
              <a:custGeom>
                <a:avLst/>
                <a:gdLst>
                  <a:gd name="connsiteX0" fmla="*/ 57527 w 63909"/>
                  <a:gd name="connsiteY0" fmla="*/ 131350 h 131349"/>
                  <a:gd name="connsiteX1" fmla="*/ 51194 w 63909"/>
                  <a:gd name="connsiteY1" fmla="*/ 125642 h 131349"/>
                  <a:gd name="connsiteX2" fmla="*/ 42183 w 63909"/>
                  <a:gd name="connsiteY2" fmla="*/ 21876 h 131349"/>
                  <a:gd name="connsiteX3" fmla="*/ 19416 w 63909"/>
                  <a:gd name="connsiteY3" fmla="*/ 47787 h 131349"/>
                  <a:gd name="connsiteX4" fmla="*/ 27687 w 63909"/>
                  <a:gd name="connsiteY4" fmla="*/ 66141 h 131349"/>
                  <a:gd name="connsiteX5" fmla="*/ 25710 w 63909"/>
                  <a:gd name="connsiteY5" fmla="*/ 73858 h 131349"/>
                  <a:gd name="connsiteX6" fmla="*/ 13766 w 63909"/>
                  <a:gd name="connsiteY6" fmla="*/ 82862 h 131349"/>
                  <a:gd name="connsiteX7" fmla="*/ 25863 w 63909"/>
                  <a:gd name="connsiteY7" fmla="*/ 121337 h 131349"/>
                  <a:gd name="connsiteX8" fmla="*/ 21756 w 63909"/>
                  <a:gd name="connsiteY8" fmla="*/ 129367 h 131349"/>
                  <a:gd name="connsiteX9" fmla="*/ 13727 w 63909"/>
                  <a:gd name="connsiteY9" fmla="*/ 125259 h 131349"/>
                  <a:gd name="connsiteX10" fmla="*/ 258 w 63909"/>
                  <a:gd name="connsiteY10" fmla="*/ 82237 h 131349"/>
                  <a:gd name="connsiteX11" fmla="*/ 2535 w 63909"/>
                  <a:gd name="connsiteY11" fmla="*/ 75343 h 131349"/>
                  <a:gd name="connsiteX12" fmla="*/ 13950 w 63909"/>
                  <a:gd name="connsiteY12" fmla="*/ 66734 h 131349"/>
                  <a:gd name="connsiteX13" fmla="*/ 6087 w 63909"/>
                  <a:gd name="connsiteY13" fmla="*/ 49286 h 131349"/>
                  <a:gd name="connsiteX14" fmla="*/ 7114 w 63909"/>
                  <a:gd name="connsiteY14" fmla="*/ 42455 h 131349"/>
                  <a:gd name="connsiteX15" fmla="*/ 42521 w 63909"/>
                  <a:gd name="connsiteY15" fmla="*/ 2163 h 131349"/>
                  <a:gd name="connsiteX16" fmla="*/ 49313 w 63909"/>
                  <a:gd name="connsiteY16" fmla="*/ 320 h 131349"/>
                  <a:gd name="connsiteX17" fmla="*/ 53669 w 63909"/>
                  <a:gd name="connsiteY17" fmla="*/ 5862 h 131349"/>
                  <a:gd name="connsiteX18" fmla="*/ 63873 w 63909"/>
                  <a:gd name="connsiteY18" fmla="*/ 124297 h 131349"/>
                  <a:gd name="connsiteX19" fmla="*/ 58203 w 63909"/>
                  <a:gd name="connsiteY19" fmla="*/ 131312 h 131349"/>
                  <a:gd name="connsiteX20" fmla="*/ 57527 w 63909"/>
                  <a:gd name="connsiteY20" fmla="*/ 131350 h 13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3909" h="131349">
                    <a:moveTo>
                      <a:pt x="57527" y="131350"/>
                    </a:moveTo>
                    <a:cubicBezTo>
                      <a:pt x="54307" y="131350"/>
                      <a:pt x="51545" y="128920"/>
                      <a:pt x="51194" y="125642"/>
                    </a:cubicBezTo>
                    <a:cubicBezTo>
                      <a:pt x="49198" y="106912"/>
                      <a:pt x="44434" y="49413"/>
                      <a:pt x="42183" y="21876"/>
                    </a:cubicBezTo>
                    <a:lnTo>
                      <a:pt x="19416" y="47787"/>
                    </a:lnTo>
                    <a:lnTo>
                      <a:pt x="27687" y="66141"/>
                    </a:lnTo>
                    <a:cubicBezTo>
                      <a:pt x="28905" y="68858"/>
                      <a:pt x="28089" y="72059"/>
                      <a:pt x="25710" y="73858"/>
                    </a:cubicBezTo>
                    <a:lnTo>
                      <a:pt x="13766" y="82862"/>
                    </a:lnTo>
                    <a:cubicBezTo>
                      <a:pt x="15660" y="89100"/>
                      <a:pt x="19671" y="102154"/>
                      <a:pt x="25863" y="121337"/>
                    </a:cubicBezTo>
                    <a:cubicBezTo>
                      <a:pt x="26948" y="124685"/>
                      <a:pt x="25111" y="128282"/>
                      <a:pt x="21756" y="129367"/>
                    </a:cubicBezTo>
                    <a:cubicBezTo>
                      <a:pt x="18389" y="130457"/>
                      <a:pt x="14811" y="128614"/>
                      <a:pt x="13727" y="125259"/>
                    </a:cubicBezTo>
                    <a:cubicBezTo>
                      <a:pt x="4735" y="97441"/>
                      <a:pt x="309" y="82378"/>
                      <a:pt x="258" y="82237"/>
                    </a:cubicBezTo>
                    <a:cubicBezTo>
                      <a:pt x="-488" y="79693"/>
                      <a:pt x="418" y="76944"/>
                      <a:pt x="2535" y="75343"/>
                    </a:cubicBezTo>
                    <a:lnTo>
                      <a:pt x="13950" y="66734"/>
                    </a:lnTo>
                    <a:lnTo>
                      <a:pt x="6087" y="49286"/>
                    </a:lnTo>
                    <a:cubicBezTo>
                      <a:pt x="5060" y="47009"/>
                      <a:pt x="5462" y="44337"/>
                      <a:pt x="7114" y="42455"/>
                    </a:cubicBezTo>
                    <a:lnTo>
                      <a:pt x="42521" y="2163"/>
                    </a:lnTo>
                    <a:cubicBezTo>
                      <a:pt x="44218" y="243"/>
                      <a:pt x="46902" y="-477"/>
                      <a:pt x="49313" y="320"/>
                    </a:cubicBezTo>
                    <a:cubicBezTo>
                      <a:pt x="51749" y="1123"/>
                      <a:pt x="53458" y="3311"/>
                      <a:pt x="53669" y="5862"/>
                    </a:cubicBezTo>
                    <a:cubicBezTo>
                      <a:pt x="53745" y="6793"/>
                      <a:pt x="61252" y="99622"/>
                      <a:pt x="63873" y="124297"/>
                    </a:cubicBezTo>
                    <a:cubicBezTo>
                      <a:pt x="64249" y="127798"/>
                      <a:pt x="61711" y="130942"/>
                      <a:pt x="58203" y="131312"/>
                    </a:cubicBezTo>
                    <a:cubicBezTo>
                      <a:pt x="57980" y="131337"/>
                      <a:pt x="57750" y="131350"/>
                      <a:pt x="57527" y="131350"/>
                    </a:cubicBezTo>
                    <a:close/>
                  </a:path>
                </a:pathLst>
              </a:custGeom>
              <a:grpFill/>
              <a:ln w="637" cap="flat">
                <a:noFill/>
                <a:prstDash val="solid"/>
                <a:miter/>
              </a:ln>
            </p:spPr>
            <p:txBody>
              <a:bodyPr rtlCol="0" anchor="ctr"/>
              <a:lstStyle/>
              <a:p>
                <a:endParaRPr lang="en-GB" dirty="0"/>
              </a:p>
            </p:txBody>
          </p:sp>
          <p:sp>
            <p:nvSpPr>
              <p:cNvPr id="1123" name="Freeform: Shape 1122">
                <a:extLst>
                  <a:ext uri="{FF2B5EF4-FFF2-40B4-BE49-F238E27FC236}">
                    <a16:creationId xmlns:a16="http://schemas.microsoft.com/office/drawing/2014/main" id="{3E1F7E5D-B0A6-4E55-82B5-3098AF95BC06}"/>
                  </a:ext>
                </a:extLst>
              </p:cNvPr>
              <p:cNvSpPr/>
              <p:nvPr/>
            </p:nvSpPr>
            <p:spPr>
              <a:xfrm>
                <a:off x="3851504" y="4342246"/>
                <a:ext cx="58159" cy="133235"/>
              </a:xfrm>
              <a:custGeom>
                <a:avLst/>
                <a:gdLst>
                  <a:gd name="connsiteX0" fmla="*/ 6385 w 58159"/>
                  <a:gd name="connsiteY0" fmla="*/ 133236 h 133235"/>
                  <a:gd name="connsiteX1" fmla="*/ 5798 w 58159"/>
                  <a:gd name="connsiteY1" fmla="*/ 133211 h 133235"/>
                  <a:gd name="connsiteX2" fmla="*/ 27 w 58159"/>
                  <a:gd name="connsiteY2" fmla="*/ 126278 h 133235"/>
                  <a:gd name="connsiteX3" fmla="*/ 10014 w 58159"/>
                  <a:gd name="connsiteY3" fmla="*/ 5931 h 133235"/>
                  <a:gd name="connsiteX4" fmla="*/ 14376 w 58159"/>
                  <a:gd name="connsiteY4" fmla="*/ 318 h 133235"/>
                  <a:gd name="connsiteX5" fmla="*/ 21219 w 58159"/>
                  <a:gd name="connsiteY5" fmla="*/ 2232 h 133235"/>
                  <a:gd name="connsiteX6" fmla="*/ 56626 w 58159"/>
                  <a:gd name="connsiteY6" fmla="*/ 43634 h 133235"/>
                  <a:gd name="connsiteX7" fmla="*/ 57621 w 58159"/>
                  <a:gd name="connsiteY7" fmla="*/ 50343 h 133235"/>
                  <a:gd name="connsiteX8" fmla="*/ 47672 w 58159"/>
                  <a:gd name="connsiteY8" fmla="*/ 73065 h 133235"/>
                  <a:gd name="connsiteX9" fmla="*/ 39273 w 58159"/>
                  <a:gd name="connsiteY9" fmla="*/ 76350 h 133235"/>
                  <a:gd name="connsiteX10" fmla="*/ 35989 w 58159"/>
                  <a:gd name="connsiteY10" fmla="*/ 67951 h 133235"/>
                  <a:gd name="connsiteX11" fmla="*/ 44330 w 58159"/>
                  <a:gd name="connsiteY11" fmla="*/ 48901 h 133235"/>
                  <a:gd name="connsiteX12" fmla="*/ 21589 w 58159"/>
                  <a:gd name="connsiteY12" fmla="*/ 22295 h 133235"/>
                  <a:gd name="connsiteX13" fmla="*/ 12730 w 58159"/>
                  <a:gd name="connsiteY13" fmla="*/ 127445 h 133235"/>
                  <a:gd name="connsiteX14" fmla="*/ 6385 w 58159"/>
                  <a:gd name="connsiteY14" fmla="*/ 133236 h 13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59" h="133235">
                    <a:moveTo>
                      <a:pt x="6385" y="133236"/>
                    </a:moveTo>
                    <a:cubicBezTo>
                      <a:pt x="6194" y="133236"/>
                      <a:pt x="5996" y="133230"/>
                      <a:pt x="5798" y="133211"/>
                    </a:cubicBezTo>
                    <a:cubicBezTo>
                      <a:pt x="2291" y="132885"/>
                      <a:pt x="-292" y="129786"/>
                      <a:pt x="27" y="126278"/>
                    </a:cubicBezTo>
                    <a:cubicBezTo>
                      <a:pt x="6532" y="55030"/>
                      <a:pt x="9982" y="6409"/>
                      <a:pt x="10014" y="5931"/>
                    </a:cubicBezTo>
                    <a:cubicBezTo>
                      <a:pt x="10192" y="3348"/>
                      <a:pt x="11921" y="1135"/>
                      <a:pt x="14376" y="318"/>
                    </a:cubicBezTo>
                    <a:cubicBezTo>
                      <a:pt x="16844" y="-485"/>
                      <a:pt x="19542" y="261"/>
                      <a:pt x="21219" y="2232"/>
                    </a:cubicBezTo>
                    <a:lnTo>
                      <a:pt x="56626" y="43634"/>
                    </a:lnTo>
                    <a:cubicBezTo>
                      <a:pt x="58214" y="45496"/>
                      <a:pt x="58609" y="48098"/>
                      <a:pt x="57621" y="50343"/>
                    </a:cubicBezTo>
                    <a:lnTo>
                      <a:pt x="47672" y="73065"/>
                    </a:lnTo>
                    <a:cubicBezTo>
                      <a:pt x="46256" y="76286"/>
                      <a:pt x="42507" y="77759"/>
                      <a:pt x="39273" y="76350"/>
                    </a:cubicBezTo>
                    <a:cubicBezTo>
                      <a:pt x="36046" y="74934"/>
                      <a:pt x="34579" y="71171"/>
                      <a:pt x="35989" y="67951"/>
                    </a:cubicBezTo>
                    <a:lnTo>
                      <a:pt x="44330" y="48901"/>
                    </a:lnTo>
                    <a:lnTo>
                      <a:pt x="21589" y="22295"/>
                    </a:lnTo>
                    <a:cubicBezTo>
                      <a:pt x="20077" y="42122"/>
                      <a:pt x="17086" y="79730"/>
                      <a:pt x="12730" y="127445"/>
                    </a:cubicBezTo>
                    <a:cubicBezTo>
                      <a:pt x="12424" y="130749"/>
                      <a:pt x="9650" y="133236"/>
                      <a:pt x="6385" y="133236"/>
                    </a:cubicBezTo>
                    <a:close/>
                  </a:path>
                </a:pathLst>
              </a:custGeom>
              <a:grpFill/>
              <a:ln w="637" cap="flat">
                <a:noFill/>
                <a:prstDash val="solid"/>
                <a:miter/>
              </a:ln>
            </p:spPr>
            <p:txBody>
              <a:bodyPr rtlCol="0" anchor="ctr"/>
              <a:lstStyle/>
              <a:p>
                <a:endParaRPr lang="en-GB" dirty="0"/>
              </a:p>
            </p:txBody>
          </p:sp>
          <p:grpSp>
            <p:nvGrpSpPr>
              <p:cNvPr id="1124" name="Graphic 32">
                <a:extLst>
                  <a:ext uri="{FF2B5EF4-FFF2-40B4-BE49-F238E27FC236}">
                    <a16:creationId xmlns:a16="http://schemas.microsoft.com/office/drawing/2014/main" id="{D1F0FAB8-7729-462D-BFC7-D456E7770434}"/>
                  </a:ext>
                </a:extLst>
              </p:cNvPr>
              <p:cNvGrpSpPr/>
              <p:nvPr/>
            </p:nvGrpSpPr>
            <p:grpSpPr>
              <a:xfrm>
                <a:off x="3684881" y="4112557"/>
                <a:ext cx="241354" cy="245280"/>
                <a:chOff x="7438799" y="4112557"/>
                <a:chExt cx="241354" cy="245280"/>
              </a:xfrm>
              <a:grpFill/>
            </p:grpSpPr>
            <p:sp>
              <p:nvSpPr>
                <p:cNvPr id="1129" name="Freeform: Shape 1128">
                  <a:extLst>
                    <a:ext uri="{FF2B5EF4-FFF2-40B4-BE49-F238E27FC236}">
                      <a16:creationId xmlns:a16="http://schemas.microsoft.com/office/drawing/2014/main" id="{96D7A753-5212-42CA-B379-CD67CAEA1218}"/>
                    </a:ext>
                  </a:extLst>
                </p:cNvPr>
                <p:cNvSpPr/>
                <p:nvPr/>
              </p:nvSpPr>
              <p:spPr>
                <a:xfrm>
                  <a:off x="7541755" y="4285098"/>
                  <a:ext cx="94724" cy="60731"/>
                </a:xfrm>
                <a:custGeom>
                  <a:avLst/>
                  <a:gdLst>
                    <a:gd name="connsiteX0" fmla="*/ 6374 w 94724"/>
                    <a:gd name="connsiteY0" fmla="*/ 60732 h 60731"/>
                    <a:gd name="connsiteX1" fmla="*/ 3440 w 94724"/>
                    <a:gd name="connsiteY1" fmla="*/ 60011 h 60731"/>
                    <a:gd name="connsiteX2" fmla="*/ 679 w 94724"/>
                    <a:gd name="connsiteY2" fmla="*/ 51491 h 60731"/>
                    <a:gd name="connsiteX3" fmla="*/ 3880 w 94724"/>
                    <a:gd name="connsiteY3" fmla="*/ 29865 h 60731"/>
                    <a:gd name="connsiteX4" fmla="*/ 921 w 94724"/>
                    <a:gd name="connsiteY4" fmla="*/ 9674 h 60731"/>
                    <a:gd name="connsiteX5" fmla="*/ 915 w 94724"/>
                    <a:gd name="connsiteY5" fmla="*/ 3246 h 60731"/>
                    <a:gd name="connsiteX6" fmla="*/ 6374 w 94724"/>
                    <a:gd name="connsiteY6" fmla="*/ 0 h 60731"/>
                    <a:gd name="connsiteX7" fmla="*/ 88342 w 94724"/>
                    <a:gd name="connsiteY7" fmla="*/ 0 h 60731"/>
                    <a:gd name="connsiteX8" fmla="*/ 94012 w 94724"/>
                    <a:gd name="connsiteY8" fmla="*/ 3450 h 60731"/>
                    <a:gd name="connsiteX9" fmla="*/ 93546 w 94724"/>
                    <a:gd name="connsiteY9" fmla="*/ 10070 h 60731"/>
                    <a:gd name="connsiteX10" fmla="*/ 93546 w 94724"/>
                    <a:gd name="connsiteY10" fmla="*/ 10070 h 60731"/>
                    <a:gd name="connsiteX11" fmla="*/ 90377 w 94724"/>
                    <a:gd name="connsiteY11" fmla="*/ 30611 h 60731"/>
                    <a:gd name="connsiteX12" fmla="*/ 93712 w 94724"/>
                    <a:gd name="connsiteY12" fmla="*/ 50917 h 60731"/>
                    <a:gd name="connsiteX13" fmla="*/ 91722 w 94724"/>
                    <a:gd name="connsiteY13" fmla="*/ 59629 h 60731"/>
                    <a:gd name="connsiteX14" fmla="*/ 83094 w 94724"/>
                    <a:gd name="connsiteY14" fmla="*/ 57983 h 60731"/>
                    <a:gd name="connsiteX15" fmla="*/ 77615 w 94724"/>
                    <a:gd name="connsiteY15" fmla="*/ 30835 h 60731"/>
                    <a:gd name="connsiteX16" fmla="*/ 79229 w 94724"/>
                    <a:gd name="connsiteY16" fmla="*/ 12755 h 60731"/>
                    <a:gd name="connsiteX17" fmla="*/ 15187 w 94724"/>
                    <a:gd name="connsiteY17" fmla="*/ 12755 h 60731"/>
                    <a:gd name="connsiteX18" fmla="*/ 16635 w 94724"/>
                    <a:gd name="connsiteY18" fmla="*/ 29987 h 60731"/>
                    <a:gd name="connsiteX19" fmla="*/ 12030 w 94724"/>
                    <a:gd name="connsiteY19" fmla="*/ 57288 h 60731"/>
                    <a:gd name="connsiteX20" fmla="*/ 6374 w 94724"/>
                    <a:gd name="connsiteY20" fmla="*/ 60732 h 60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4724" h="60731">
                      <a:moveTo>
                        <a:pt x="6374" y="60732"/>
                      </a:moveTo>
                      <a:cubicBezTo>
                        <a:pt x="5385" y="60732"/>
                        <a:pt x="4377" y="60502"/>
                        <a:pt x="3440" y="60011"/>
                      </a:cubicBezTo>
                      <a:cubicBezTo>
                        <a:pt x="341" y="58404"/>
                        <a:pt x="-884" y="54603"/>
                        <a:pt x="679" y="51491"/>
                      </a:cubicBezTo>
                      <a:cubicBezTo>
                        <a:pt x="819" y="51185"/>
                        <a:pt x="3740" y="44667"/>
                        <a:pt x="3880" y="29865"/>
                      </a:cubicBezTo>
                      <a:cubicBezTo>
                        <a:pt x="4014" y="15331"/>
                        <a:pt x="953" y="9732"/>
                        <a:pt x="921" y="9674"/>
                      </a:cubicBezTo>
                      <a:cubicBezTo>
                        <a:pt x="-202" y="7697"/>
                        <a:pt x="-227" y="5204"/>
                        <a:pt x="915" y="3246"/>
                      </a:cubicBezTo>
                      <a:cubicBezTo>
                        <a:pt x="2063" y="1282"/>
                        <a:pt x="4110" y="0"/>
                        <a:pt x="6374" y="0"/>
                      </a:cubicBezTo>
                      <a:lnTo>
                        <a:pt x="88342" y="0"/>
                      </a:lnTo>
                      <a:cubicBezTo>
                        <a:pt x="90727" y="0"/>
                        <a:pt x="92915" y="1333"/>
                        <a:pt x="94012" y="3450"/>
                      </a:cubicBezTo>
                      <a:cubicBezTo>
                        <a:pt x="95109" y="5574"/>
                        <a:pt x="94930" y="8125"/>
                        <a:pt x="93546" y="10070"/>
                      </a:cubicBezTo>
                      <a:lnTo>
                        <a:pt x="93546" y="10070"/>
                      </a:lnTo>
                      <a:cubicBezTo>
                        <a:pt x="93559" y="10070"/>
                        <a:pt x="90122" y="15861"/>
                        <a:pt x="90377" y="30611"/>
                      </a:cubicBezTo>
                      <a:cubicBezTo>
                        <a:pt x="90638" y="45547"/>
                        <a:pt x="93686" y="50860"/>
                        <a:pt x="93712" y="50917"/>
                      </a:cubicBezTo>
                      <a:cubicBezTo>
                        <a:pt x="95460" y="53870"/>
                        <a:pt x="94618" y="57773"/>
                        <a:pt x="91722" y="59629"/>
                      </a:cubicBezTo>
                      <a:cubicBezTo>
                        <a:pt x="88840" y="61472"/>
                        <a:pt x="85058" y="60815"/>
                        <a:pt x="83094" y="57983"/>
                      </a:cubicBezTo>
                      <a:cubicBezTo>
                        <a:pt x="82233" y="56746"/>
                        <a:pt x="77941" y="49610"/>
                        <a:pt x="77615" y="30835"/>
                      </a:cubicBezTo>
                      <a:cubicBezTo>
                        <a:pt x="77482" y="23029"/>
                        <a:pt x="78234" y="17117"/>
                        <a:pt x="79229" y="12755"/>
                      </a:cubicBezTo>
                      <a:lnTo>
                        <a:pt x="15187" y="12755"/>
                      </a:lnTo>
                      <a:cubicBezTo>
                        <a:pt x="16048" y="16926"/>
                        <a:pt x="16699" y="22563"/>
                        <a:pt x="16635" y="29987"/>
                      </a:cubicBezTo>
                      <a:cubicBezTo>
                        <a:pt x="16463" y="48258"/>
                        <a:pt x="12490" y="56427"/>
                        <a:pt x="12030" y="57288"/>
                      </a:cubicBezTo>
                      <a:cubicBezTo>
                        <a:pt x="10901" y="59476"/>
                        <a:pt x="8676" y="60732"/>
                        <a:pt x="6374" y="60732"/>
                      </a:cubicBezTo>
                      <a:close/>
                    </a:path>
                  </a:pathLst>
                </a:custGeom>
                <a:grpFill/>
                <a:ln w="637" cap="flat">
                  <a:noFill/>
                  <a:prstDash val="solid"/>
                  <a:miter/>
                </a:ln>
              </p:spPr>
              <p:txBody>
                <a:bodyPr rtlCol="0" anchor="ctr"/>
                <a:lstStyle/>
                <a:p>
                  <a:endParaRPr lang="en-GB" dirty="0"/>
                </a:p>
              </p:txBody>
            </p:sp>
            <p:sp>
              <p:nvSpPr>
                <p:cNvPr id="1130" name="Freeform: Shape 1129">
                  <a:extLst>
                    <a:ext uri="{FF2B5EF4-FFF2-40B4-BE49-F238E27FC236}">
                      <a16:creationId xmlns:a16="http://schemas.microsoft.com/office/drawing/2014/main" id="{2315A0EB-72D1-40A7-9060-ED4D85556689}"/>
                    </a:ext>
                  </a:extLst>
                </p:cNvPr>
                <p:cNvSpPr/>
                <p:nvPr/>
              </p:nvSpPr>
              <p:spPr>
                <a:xfrm>
                  <a:off x="7526100" y="4278521"/>
                  <a:ext cx="28758" cy="20211"/>
                </a:xfrm>
                <a:custGeom>
                  <a:avLst/>
                  <a:gdLst>
                    <a:gd name="connsiteX0" fmla="*/ 22373 w 28758"/>
                    <a:gd name="connsiteY0" fmla="*/ 20211 h 20211"/>
                    <a:gd name="connsiteX1" fmla="*/ 19682 w 28758"/>
                    <a:gd name="connsiteY1" fmla="*/ 19612 h 20211"/>
                    <a:gd name="connsiteX2" fmla="*/ 3681 w 28758"/>
                    <a:gd name="connsiteY2" fmla="*/ 12150 h 20211"/>
                    <a:gd name="connsiteX3" fmla="*/ 601 w 28758"/>
                    <a:gd name="connsiteY3" fmla="*/ 3675 h 20211"/>
                    <a:gd name="connsiteX4" fmla="*/ 9076 w 28758"/>
                    <a:gd name="connsiteY4" fmla="*/ 594 h 20211"/>
                    <a:gd name="connsiteX5" fmla="*/ 25077 w 28758"/>
                    <a:gd name="connsiteY5" fmla="*/ 8056 h 20211"/>
                    <a:gd name="connsiteX6" fmla="*/ 28158 w 28758"/>
                    <a:gd name="connsiteY6" fmla="*/ 16531 h 20211"/>
                    <a:gd name="connsiteX7" fmla="*/ 22373 w 28758"/>
                    <a:gd name="connsiteY7" fmla="*/ 20211 h 20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58" h="20211">
                      <a:moveTo>
                        <a:pt x="22373" y="20211"/>
                      </a:moveTo>
                      <a:cubicBezTo>
                        <a:pt x="21468" y="20211"/>
                        <a:pt x="20556" y="20020"/>
                        <a:pt x="19682" y="19612"/>
                      </a:cubicBezTo>
                      <a:lnTo>
                        <a:pt x="3681" y="12150"/>
                      </a:lnTo>
                      <a:cubicBezTo>
                        <a:pt x="493" y="10664"/>
                        <a:pt x="-891" y="6870"/>
                        <a:pt x="601" y="3675"/>
                      </a:cubicBezTo>
                      <a:cubicBezTo>
                        <a:pt x="2087" y="492"/>
                        <a:pt x="5881" y="-885"/>
                        <a:pt x="9076" y="594"/>
                      </a:cubicBezTo>
                      <a:lnTo>
                        <a:pt x="25077" y="8056"/>
                      </a:lnTo>
                      <a:cubicBezTo>
                        <a:pt x="28266" y="9542"/>
                        <a:pt x="29650" y="13336"/>
                        <a:pt x="28158" y="16531"/>
                      </a:cubicBezTo>
                      <a:cubicBezTo>
                        <a:pt x="27073" y="18847"/>
                        <a:pt x="24771" y="20211"/>
                        <a:pt x="22373" y="20211"/>
                      </a:cubicBezTo>
                      <a:close/>
                    </a:path>
                  </a:pathLst>
                </a:custGeom>
                <a:grpFill/>
                <a:ln w="637" cap="flat">
                  <a:noFill/>
                  <a:prstDash val="solid"/>
                  <a:miter/>
                </a:ln>
              </p:spPr>
              <p:txBody>
                <a:bodyPr rtlCol="0" anchor="ctr"/>
                <a:lstStyle/>
                <a:p>
                  <a:endParaRPr lang="en-GB" dirty="0"/>
                </a:p>
              </p:txBody>
            </p:sp>
            <p:sp>
              <p:nvSpPr>
                <p:cNvPr id="1131" name="Freeform: Shape 1130">
                  <a:extLst>
                    <a:ext uri="{FF2B5EF4-FFF2-40B4-BE49-F238E27FC236}">
                      <a16:creationId xmlns:a16="http://schemas.microsoft.com/office/drawing/2014/main" id="{FFDF89DE-B10B-4005-89BA-E338FCCFDAFD}"/>
                    </a:ext>
                  </a:extLst>
                </p:cNvPr>
                <p:cNvSpPr/>
                <p:nvPr/>
              </p:nvSpPr>
              <p:spPr>
                <a:xfrm>
                  <a:off x="7624074" y="4277726"/>
                  <a:ext cx="27976" cy="21007"/>
                </a:xfrm>
                <a:custGeom>
                  <a:avLst/>
                  <a:gdLst>
                    <a:gd name="connsiteX0" fmla="*/ 6386 w 27976"/>
                    <a:gd name="connsiteY0" fmla="*/ 21007 h 21007"/>
                    <a:gd name="connsiteX1" fmla="*/ 774 w 27976"/>
                    <a:gd name="connsiteY1" fmla="*/ 17672 h 21007"/>
                    <a:gd name="connsiteX2" fmla="*/ 3338 w 27976"/>
                    <a:gd name="connsiteY2" fmla="*/ 9030 h 21007"/>
                    <a:gd name="connsiteX3" fmla="*/ 18561 w 27976"/>
                    <a:gd name="connsiteY3" fmla="*/ 772 h 21007"/>
                    <a:gd name="connsiteX4" fmla="*/ 27202 w 27976"/>
                    <a:gd name="connsiteY4" fmla="*/ 3335 h 21007"/>
                    <a:gd name="connsiteX5" fmla="*/ 24639 w 27976"/>
                    <a:gd name="connsiteY5" fmla="*/ 11977 h 21007"/>
                    <a:gd name="connsiteX6" fmla="*/ 9416 w 27976"/>
                    <a:gd name="connsiteY6" fmla="*/ 20235 h 21007"/>
                    <a:gd name="connsiteX7" fmla="*/ 6386 w 27976"/>
                    <a:gd name="connsiteY7" fmla="*/ 21007 h 2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976" h="21007">
                      <a:moveTo>
                        <a:pt x="6386" y="21007"/>
                      </a:moveTo>
                      <a:cubicBezTo>
                        <a:pt x="4123" y="21007"/>
                        <a:pt x="1929" y="19802"/>
                        <a:pt x="774" y="17672"/>
                      </a:cubicBezTo>
                      <a:cubicBezTo>
                        <a:pt x="-909" y="14579"/>
                        <a:pt x="245" y="10708"/>
                        <a:pt x="3338" y="9030"/>
                      </a:cubicBezTo>
                      <a:lnTo>
                        <a:pt x="18561" y="772"/>
                      </a:lnTo>
                      <a:cubicBezTo>
                        <a:pt x="21654" y="-906"/>
                        <a:pt x="25538" y="242"/>
                        <a:pt x="27202" y="3335"/>
                      </a:cubicBezTo>
                      <a:cubicBezTo>
                        <a:pt x="28886" y="6428"/>
                        <a:pt x="27732" y="10299"/>
                        <a:pt x="24639" y="11977"/>
                      </a:cubicBezTo>
                      <a:lnTo>
                        <a:pt x="9416" y="20235"/>
                      </a:lnTo>
                      <a:cubicBezTo>
                        <a:pt x="8453" y="20759"/>
                        <a:pt x="7413" y="21007"/>
                        <a:pt x="6386" y="21007"/>
                      </a:cubicBezTo>
                      <a:close/>
                    </a:path>
                  </a:pathLst>
                </a:custGeom>
                <a:grpFill/>
                <a:ln w="637" cap="flat">
                  <a:noFill/>
                  <a:prstDash val="solid"/>
                  <a:miter/>
                </a:ln>
              </p:spPr>
              <p:txBody>
                <a:bodyPr rtlCol="0" anchor="ctr"/>
                <a:lstStyle/>
                <a:p>
                  <a:endParaRPr lang="en-GB" dirty="0"/>
                </a:p>
              </p:txBody>
            </p:sp>
            <p:sp>
              <p:nvSpPr>
                <p:cNvPr id="1132" name="Freeform: Shape 1131">
                  <a:extLst>
                    <a:ext uri="{FF2B5EF4-FFF2-40B4-BE49-F238E27FC236}">
                      <a16:creationId xmlns:a16="http://schemas.microsoft.com/office/drawing/2014/main" id="{B5070911-F15D-4F8B-8325-3C677E1EB3E5}"/>
                    </a:ext>
                  </a:extLst>
                </p:cNvPr>
                <p:cNvSpPr/>
                <p:nvPr/>
              </p:nvSpPr>
              <p:spPr>
                <a:xfrm>
                  <a:off x="7498104" y="4228384"/>
                  <a:ext cx="182021" cy="129454"/>
                </a:xfrm>
                <a:custGeom>
                  <a:avLst/>
                  <a:gdLst>
                    <a:gd name="connsiteX0" fmla="*/ 90642 w 182021"/>
                    <a:gd name="connsiteY0" fmla="*/ 129455 h 129454"/>
                    <a:gd name="connsiteX1" fmla="*/ 0 w 182021"/>
                    <a:gd name="connsiteY1" fmla="*/ 6377 h 129454"/>
                    <a:gd name="connsiteX2" fmla="*/ 6377 w 182021"/>
                    <a:gd name="connsiteY2" fmla="*/ 0 h 129454"/>
                    <a:gd name="connsiteX3" fmla="*/ 12755 w 182021"/>
                    <a:gd name="connsiteY3" fmla="*/ 6377 h 129454"/>
                    <a:gd name="connsiteX4" fmla="*/ 90642 w 182021"/>
                    <a:gd name="connsiteY4" fmla="*/ 116700 h 129454"/>
                    <a:gd name="connsiteX5" fmla="*/ 169275 w 182021"/>
                    <a:gd name="connsiteY5" fmla="*/ 13016 h 129454"/>
                    <a:gd name="connsiteX6" fmla="*/ 175863 w 182021"/>
                    <a:gd name="connsiteY6" fmla="*/ 6862 h 129454"/>
                    <a:gd name="connsiteX7" fmla="*/ 182017 w 182021"/>
                    <a:gd name="connsiteY7" fmla="*/ 13450 h 129454"/>
                    <a:gd name="connsiteX8" fmla="*/ 90642 w 182021"/>
                    <a:gd name="connsiteY8" fmla="*/ 129455 h 129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2021" h="129454">
                      <a:moveTo>
                        <a:pt x="90642" y="129455"/>
                      </a:moveTo>
                      <a:cubicBezTo>
                        <a:pt x="36428" y="129455"/>
                        <a:pt x="0" y="79992"/>
                        <a:pt x="0" y="6377"/>
                      </a:cubicBezTo>
                      <a:cubicBezTo>
                        <a:pt x="0" y="2851"/>
                        <a:pt x="2851" y="0"/>
                        <a:pt x="6377" y="0"/>
                      </a:cubicBezTo>
                      <a:cubicBezTo>
                        <a:pt x="9904" y="0"/>
                        <a:pt x="12755" y="2851"/>
                        <a:pt x="12755" y="6377"/>
                      </a:cubicBezTo>
                      <a:cubicBezTo>
                        <a:pt x="12755" y="57269"/>
                        <a:pt x="33150" y="116700"/>
                        <a:pt x="90642" y="116700"/>
                      </a:cubicBezTo>
                      <a:cubicBezTo>
                        <a:pt x="136221" y="116700"/>
                        <a:pt x="167088" y="76000"/>
                        <a:pt x="169275" y="13016"/>
                      </a:cubicBezTo>
                      <a:cubicBezTo>
                        <a:pt x="169396" y="9490"/>
                        <a:pt x="172540" y="6499"/>
                        <a:pt x="175863" y="6862"/>
                      </a:cubicBezTo>
                      <a:cubicBezTo>
                        <a:pt x="179390" y="6983"/>
                        <a:pt x="182138" y="9930"/>
                        <a:pt x="182017" y="13450"/>
                      </a:cubicBezTo>
                      <a:cubicBezTo>
                        <a:pt x="179575" y="83927"/>
                        <a:pt x="143708" y="129455"/>
                        <a:pt x="90642" y="129455"/>
                      </a:cubicBezTo>
                      <a:close/>
                    </a:path>
                  </a:pathLst>
                </a:custGeom>
                <a:grpFill/>
                <a:ln w="637" cap="flat">
                  <a:noFill/>
                  <a:prstDash val="solid"/>
                  <a:miter/>
                </a:ln>
              </p:spPr>
              <p:txBody>
                <a:bodyPr rtlCol="0" anchor="ctr"/>
                <a:lstStyle/>
                <a:p>
                  <a:endParaRPr lang="en-GB" dirty="0"/>
                </a:p>
              </p:txBody>
            </p:sp>
            <p:sp>
              <p:nvSpPr>
                <p:cNvPr id="1133" name="Freeform: Shape 1132">
                  <a:extLst>
                    <a:ext uri="{FF2B5EF4-FFF2-40B4-BE49-F238E27FC236}">
                      <a16:creationId xmlns:a16="http://schemas.microsoft.com/office/drawing/2014/main" id="{3E8D3ACE-715A-4986-8B86-1A6E26B65E97}"/>
                    </a:ext>
                  </a:extLst>
                </p:cNvPr>
                <p:cNvSpPr/>
                <p:nvPr/>
              </p:nvSpPr>
              <p:spPr>
                <a:xfrm>
                  <a:off x="7603347" y="4151355"/>
                  <a:ext cx="76806" cy="95478"/>
                </a:xfrm>
                <a:custGeom>
                  <a:avLst/>
                  <a:gdLst>
                    <a:gd name="connsiteX0" fmla="*/ 70416 w 76806"/>
                    <a:gd name="connsiteY0" fmla="*/ 95478 h 95478"/>
                    <a:gd name="connsiteX1" fmla="*/ 67100 w 76806"/>
                    <a:gd name="connsiteY1" fmla="*/ 94547 h 95478"/>
                    <a:gd name="connsiteX2" fmla="*/ 533 w 76806"/>
                    <a:gd name="connsiteY2" fmla="*/ 8924 h 95478"/>
                    <a:gd name="connsiteX3" fmla="*/ 3836 w 76806"/>
                    <a:gd name="connsiteY3" fmla="*/ 532 h 95478"/>
                    <a:gd name="connsiteX4" fmla="*/ 12229 w 76806"/>
                    <a:gd name="connsiteY4" fmla="*/ 3835 h 95478"/>
                    <a:gd name="connsiteX5" fmla="*/ 73745 w 76806"/>
                    <a:gd name="connsiteY5" fmla="*/ 83655 h 95478"/>
                    <a:gd name="connsiteX6" fmla="*/ 75875 w 76806"/>
                    <a:gd name="connsiteY6" fmla="*/ 92423 h 95478"/>
                    <a:gd name="connsiteX7" fmla="*/ 70416 w 76806"/>
                    <a:gd name="connsiteY7" fmla="*/ 95478 h 95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806" h="95478">
                      <a:moveTo>
                        <a:pt x="70416" y="95478"/>
                      </a:moveTo>
                      <a:cubicBezTo>
                        <a:pt x="69287" y="95478"/>
                        <a:pt x="68146" y="95178"/>
                        <a:pt x="67100" y="94547"/>
                      </a:cubicBezTo>
                      <a:cubicBezTo>
                        <a:pt x="40295" y="78215"/>
                        <a:pt x="18517" y="50212"/>
                        <a:pt x="533" y="8924"/>
                      </a:cubicBezTo>
                      <a:cubicBezTo>
                        <a:pt x="-877" y="5691"/>
                        <a:pt x="609" y="1935"/>
                        <a:pt x="3836" y="532"/>
                      </a:cubicBezTo>
                      <a:cubicBezTo>
                        <a:pt x="7082" y="-878"/>
                        <a:pt x="10826" y="615"/>
                        <a:pt x="12229" y="3835"/>
                      </a:cubicBezTo>
                      <a:cubicBezTo>
                        <a:pt x="29129" y="42629"/>
                        <a:pt x="49249" y="68744"/>
                        <a:pt x="73745" y="83655"/>
                      </a:cubicBezTo>
                      <a:cubicBezTo>
                        <a:pt x="76755" y="85491"/>
                        <a:pt x="77705" y="89413"/>
                        <a:pt x="75875" y="92423"/>
                      </a:cubicBezTo>
                      <a:cubicBezTo>
                        <a:pt x="74670" y="94388"/>
                        <a:pt x="72572" y="95478"/>
                        <a:pt x="70416" y="95478"/>
                      </a:cubicBezTo>
                      <a:close/>
                    </a:path>
                  </a:pathLst>
                </a:custGeom>
                <a:grpFill/>
                <a:ln w="637" cap="flat">
                  <a:noFill/>
                  <a:prstDash val="solid"/>
                  <a:miter/>
                </a:ln>
              </p:spPr>
              <p:txBody>
                <a:bodyPr rtlCol="0" anchor="ctr"/>
                <a:lstStyle/>
                <a:p>
                  <a:endParaRPr lang="en-GB" dirty="0"/>
                </a:p>
              </p:txBody>
            </p:sp>
            <p:sp>
              <p:nvSpPr>
                <p:cNvPr id="1134" name="Freeform: Shape 1133">
                  <a:extLst>
                    <a:ext uri="{FF2B5EF4-FFF2-40B4-BE49-F238E27FC236}">
                      <a16:creationId xmlns:a16="http://schemas.microsoft.com/office/drawing/2014/main" id="{D06F7D3D-B46F-4B14-9016-F64AB17BD163}"/>
                    </a:ext>
                  </a:extLst>
                </p:cNvPr>
                <p:cNvSpPr/>
                <p:nvPr/>
              </p:nvSpPr>
              <p:spPr>
                <a:xfrm>
                  <a:off x="7493661" y="4116909"/>
                  <a:ext cx="129810" cy="124904"/>
                </a:xfrm>
                <a:custGeom>
                  <a:avLst/>
                  <a:gdLst>
                    <a:gd name="connsiteX0" fmla="*/ 6369 w 129810"/>
                    <a:gd name="connsiteY0" fmla="*/ 124905 h 124904"/>
                    <a:gd name="connsiteX1" fmla="*/ 81 w 129810"/>
                    <a:gd name="connsiteY1" fmla="*/ 119535 h 124904"/>
                    <a:gd name="connsiteX2" fmla="*/ 5368 w 129810"/>
                    <a:gd name="connsiteY2" fmla="*/ 112227 h 124904"/>
                    <a:gd name="connsiteX3" fmla="*/ 117106 w 129810"/>
                    <a:gd name="connsiteY3" fmla="*/ 5571 h 124904"/>
                    <a:gd name="connsiteX4" fmla="*/ 124229 w 129810"/>
                    <a:gd name="connsiteY4" fmla="*/ 42 h 124904"/>
                    <a:gd name="connsiteX5" fmla="*/ 129759 w 129810"/>
                    <a:gd name="connsiteY5" fmla="*/ 7166 h 124904"/>
                    <a:gd name="connsiteX6" fmla="*/ 7383 w 129810"/>
                    <a:gd name="connsiteY6" fmla="*/ 124816 h 124904"/>
                    <a:gd name="connsiteX7" fmla="*/ 6369 w 129810"/>
                    <a:gd name="connsiteY7" fmla="*/ 124905 h 124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10" h="124904">
                      <a:moveTo>
                        <a:pt x="6369" y="124905"/>
                      </a:moveTo>
                      <a:cubicBezTo>
                        <a:pt x="3289" y="124905"/>
                        <a:pt x="578" y="122667"/>
                        <a:pt x="81" y="119535"/>
                      </a:cubicBezTo>
                      <a:cubicBezTo>
                        <a:pt x="-474" y="116053"/>
                        <a:pt x="1892" y="112782"/>
                        <a:pt x="5368" y="112227"/>
                      </a:cubicBezTo>
                      <a:cubicBezTo>
                        <a:pt x="95314" y="97852"/>
                        <a:pt x="112221" y="44473"/>
                        <a:pt x="117106" y="5571"/>
                      </a:cubicBezTo>
                      <a:cubicBezTo>
                        <a:pt x="117546" y="2083"/>
                        <a:pt x="120645" y="-353"/>
                        <a:pt x="124229" y="42"/>
                      </a:cubicBezTo>
                      <a:cubicBezTo>
                        <a:pt x="127724" y="476"/>
                        <a:pt x="130205" y="3671"/>
                        <a:pt x="129759" y="7166"/>
                      </a:cubicBezTo>
                      <a:cubicBezTo>
                        <a:pt x="126646" y="31923"/>
                        <a:pt x="117176" y="107265"/>
                        <a:pt x="7383" y="124816"/>
                      </a:cubicBezTo>
                      <a:cubicBezTo>
                        <a:pt x="7038" y="124879"/>
                        <a:pt x="6700" y="124905"/>
                        <a:pt x="6369" y="124905"/>
                      </a:cubicBezTo>
                      <a:close/>
                    </a:path>
                  </a:pathLst>
                </a:custGeom>
                <a:grpFill/>
                <a:ln w="637" cap="flat">
                  <a:noFill/>
                  <a:prstDash val="solid"/>
                  <a:miter/>
                </a:ln>
              </p:spPr>
              <p:txBody>
                <a:bodyPr rtlCol="0" anchor="ctr"/>
                <a:lstStyle/>
                <a:p>
                  <a:endParaRPr lang="en-GB" dirty="0"/>
                </a:p>
              </p:txBody>
            </p:sp>
            <p:sp>
              <p:nvSpPr>
                <p:cNvPr id="1135" name="Freeform: Shape 1134">
                  <a:extLst>
                    <a:ext uri="{FF2B5EF4-FFF2-40B4-BE49-F238E27FC236}">
                      <a16:creationId xmlns:a16="http://schemas.microsoft.com/office/drawing/2014/main" id="{77DE7647-359E-435F-A3C3-59D575464C4D}"/>
                    </a:ext>
                  </a:extLst>
                </p:cNvPr>
                <p:cNvSpPr/>
                <p:nvPr/>
              </p:nvSpPr>
              <p:spPr>
                <a:xfrm>
                  <a:off x="7438799" y="4112557"/>
                  <a:ext cx="241206" cy="230102"/>
                </a:xfrm>
                <a:custGeom>
                  <a:avLst/>
                  <a:gdLst>
                    <a:gd name="connsiteX0" fmla="*/ 7119 w 241206"/>
                    <a:gd name="connsiteY0" fmla="*/ 230103 h 230102"/>
                    <a:gd name="connsiteX1" fmla="*/ 6213 w 241206"/>
                    <a:gd name="connsiteY1" fmla="*/ 230090 h 230102"/>
                    <a:gd name="connsiteX2" fmla="*/ 2 w 241206"/>
                    <a:gd name="connsiteY2" fmla="*/ 223547 h 230102"/>
                    <a:gd name="connsiteX3" fmla="*/ 6545 w 241206"/>
                    <a:gd name="connsiteY3" fmla="*/ 217335 h 230102"/>
                    <a:gd name="connsiteX4" fmla="*/ 18911 w 241206"/>
                    <a:gd name="connsiteY4" fmla="*/ 212584 h 230102"/>
                    <a:gd name="connsiteX5" fmla="*/ 34924 w 241206"/>
                    <a:gd name="connsiteY5" fmla="*/ 124557 h 230102"/>
                    <a:gd name="connsiteX6" fmla="*/ 35135 w 241206"/>
                    <a:gd name="connsiteY6" fmla="*/ 109870 h 230102"/>
                    <a:gd name="connsiteX7" fmla="*/ 153608 w 241206"/>
                    <a:gd name="connsiteY7" fmla="*/ 0 h 230102"/>
                    <a:gd name="connsiteX8" fmla="*/ 155279 w 241206"/>
                    <a:gd name="connsiteY8" fmla="*/ 13 h 230102"/>
                    <a:gd name="connsiteX9" fmla="*/ 239626 w 241206"/>
                    <a:gd name="connsiteY9" fmla="*/ 36549 h 230102"/>
                    <a:gd name="connsiteX10" fmla="*/ 239033 w 241206"/>
                    <a:gd name="connsiteY10" fmla="*/ 45547 h 230102"/>
                    <a:gd name="connsiteX11" fmla="*/ 230034 w 241206"/>
                    <a:gd name="connsiteY11" fmla="*/ 44954 h 230102"/>
                    <a:gd name="connsiteX12" fmla="*/ 155068 w 241206"/>
                    <a:gd name="connsiteY12" fmla="*/ 12761 h 230102"/>
                    <a:gd name="connsiteX13" fmla="*/ 153875 w 241206"/>
                    <a:gd name="connsiteY13" fmla="*/ 12748 h 230102"/>
                    <a:gd name="connsiteX14" fmla="*/ 47890 w 241206"/>
                    <a:gd name="connsiteY14" fmla="*/ 110246 h 230102"/>
                    <a:gd name="connsiteX15" fmla="*/ 47679 w 241206"/>
                    <a:gd name="connsiteY15" fmla="*/ 124653 h 230102"/>
                    <a:gd name="connsiteX16" fmla="*/ 27782 w 241206"/>
                    <a:gd name="connsiteY16" fmla="*/ 221748 h 230102"/>
                    <a:gd name="connsiteX17" fmla="*/ 7119 w 241206"/>
                    <a:gd name="connsiteY17" fmla="*/ 230103 h 2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1206" h="230102">
                      <a:moveTo>
                        <a:pt x="7119" y="230103"/>
                      </a:moveTo>
                      <a:cubicBezTo>
                        <a:pt x="6819" y="230103"/>
                        <a:pt x="6519" y="230096"/>
                        <a:pt x="6213" y="230090"/>
                      </a:cubicBezTo>
                      <a:cubicBezTo>
                        <a:pt x="2693" y="229994"/>
                        <a:pt x="-81" y="227067"/>
                        <a:pt x="2" y="223547"/>
                      </a:cubicBezTo>
                      <a:cubicBezTo>
                        <a:pt x="97" y="220026"/>
                        <a:pt x="2706" y="217239"/>
                        <a:pt x="6545" y="217335"/>
                      </a:cubicBezTo>
                      <a:cubicBezTo>
                        <a:pt x="11417" y="217514"/>
                        <a:pt x="15480" y="215907"/>
                        <a:pt x="18911" y="212584"/>
                      </a:cubicBezTo>
                      <a:cubicBezTo>
                        <a:pt x="34344" y="197667"/>
                        <a:pt x="34708" y="151903"/>
                        <a:pt x="34924" y="124557"/>
                      </a:cubicBezTo>
                      <a:cubicBezTo>
                        <a:pt x="34969" y="119111"/>
                        <a:pt x="35014" y="114130"/>
                        <a:pt x="35135" y="109870"/>
                      </a:cubicBezTo>
                      <a:cubicBezTo>
                        <a:pt x="37475" y="33679"/>
                        <a:pt x="105242" y="0"/>
                        <a:pt x="153608" y="0"/>
                      </a:cubicBezTo>
                      <a:cubicBezTo>
                        <a:pt x="154169" y="0"/>
                        <a:pt x="154724" y="6"/>
                        <a:pt x="155279" y="13"/>
                      </a:cubicBezTo>
                      <a:cubicBezTo>
                        <a:pt x="167727" y="217"/>
                        <a:pt x="210609" y="3457"/>
                        <a:pt x="239626" y="36549"/>
                      </a:cubicBezTo>
                      <a:cubicBezTo>
                        <a:pt x="241947" y="39195"/>
                        <a:pt x="241680" y="43226"/>
                        <a:pt x="239033" y="45547"/>
                      </a:cubicBezTo>
                      <a:cubicBezTo>
                        <a:pt x="236393" y="47856"/>
                        <a:pt x="232349" y="47607"/>
                        <a:pt x="230034" y="44954"/>
                      </a:cubicBezTo>
                      <a:cubicBezTo>
                        <a:pt x="204480" y="15810"/>
                        <a:pt x="166190" y="12940"/>
                        <a:pt x="155068" y="12761"/>
                      </a:cubicBezTo>
                      <a:cubicBezTo>
                        <a:pt x="154673" y="12755"/>
                        <a:pt x="154277" y="12748"/>
                        <a:pt x="153875" y="12748"/>
                      </a:cubicBezTo>
                      <a:cubicBezTo>
                        <a:pt x="119463" y="12748"/>
                        <a:pt x="50160" y="36179"/>
                        <a:pt x="47890" y="110246"/>
                      </a:cubicBezTo>
                      <a:cubicBezTo>
                        <a:pt x="47756" y="114423"/>
                        <a:pt x="47724" y="119308"/>
                        <a:pt x="47679" y="124653"/>
                      </a:cubicBezTo>
                      <a:cubicBezTo>
                        <a:pt x="47418" y="157757"/>
                        <a:pt x="47054" y="203114"/>
                        <a:pt x="27782" y="221748"/>
                      </a:cubicBezTo>
                      <a:cubicBezTo>
                        <a:pt x="22055" y="227290"/>
                        <a:pt x="15103" y="230103"/>
                        <a:pt x="7119" y="230103"/>
                      </a:cubicBezTo>
                      <a:close/>
                    </a:path>
                  </a:pathLst>
                </a:custGeom>
                <a:grpFill/>
                <a:ln w="637" cap="flat">
                  <a:noFill/>
                  <a:prstDash val="solid"/>
                  <a:miter/>
                </a:ln>
              </p:spPr>
              <p:txBody>
                <a:bodyPr rtlCol="0" anchor="ctr"/>
                <a:lstStyle/>
                <a:p>
                  <a:endParaRPr lang="en-GB" dirty="0"/>
                </a:p>
              </p:txBody>
            </p:sp>
          </p:grpSp>
          <p:sp>
            <p:nvSpPr>
              <p:cNvPr id="1125" name="Freeform: Shape 1124">
                <a:extLst>
                  <a:ext uri="{FF2B5EF4-FFF2-40B4-BE49-F238E27FC236}">
                    <a16:creationId xmlns:a16="http://schemas.microsoft.com/office/drawing/2014/main" id="{49B1B5A1-E6C6-4565-8938-45B2B6149155}"/>
                  </a:ext>
                </a:extLst>
              </p:cNvPr>
              <p:cNvSpPr/>
              <p:nvPr/>
            </p:nvSpPr>
            <p:spPr>
              <a:xfrm>
                <a:off x="3861384" y="4338777"/>
                <a:ext cx="65844" cy="38186"/>
              </a:xfrm>
              <a:custGeom>
                <a:avLst/>
                <a:gdLst>
                  <a:gd name="connsiteX0" fmla="*/ 59462 w 65844"/>
                  <a:gd name="connsiteY0" fmla="*/ 38187 h 38186"/>
                  <a:gd name="connsiteX1" fmla="*/ 56713 w 65844"/>
                  <a:gd name="connsiteY1" fmla="*/ 37562 h 38186"/>
                  <a:gd name="connsiteX2" fmla="*/ 3628 w 65844"/>
                  <a:gd name="connsiteY2" fmla="*/ 12136 h 38186"/>
                  <a:gd name="connsiteX3" fmla="*/ 624 w 65844"/>
                  <a:gd name="connsiteY3" fmla="*/ 3628 h 38186"/>
                  <a:gd name="connsiteX4" fmla="*/ 9132 w 65844"/>
                  <a:gd name="connsiteY4" fmla="*/ 624 h 38186"/>
                  <a:gd name="connsiteX5" fmla="*/ 62217 w 65844"/>
                  <a:gd name="connsiteY5" fmla="*/ 26051 h 38186"/>
                  <a:gd name="connsiteX6" fmla="*/ 65221 w 65844"/>
                  <a:gd name="connsiteY6" fmla="*/ 34558 h 38186"/>
                  <a:gd name="connsiteX7" fmla="*/ 59462 w 65844"/>
                  <a:gd name="connsiteY7" fmla="*/ 38187 h 38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44" h="38186">
                    <a:moveTo>
                      <a:pt x="59462" y="38187"/>
                    </a:moveTo>
                    <a:cubicBezTo>
                      <a:pt x="58537" y="38187"/>
                      <a:pt x="57600" y="37989"/>
                      <a:pt x="56713" y="37562"/>
                    </a:cubicBezTo>
                    <a:lnTo>
                      <a:pt x="3628" y="12136"/>
                    </a:lnTo>
                    <a:cubicBezTo>
                      <a:pt x="452" y="10611"/>
                      <a:pt x="-894" y="6804"/>
                      <a:pt x="624" y="3628"/>
                    </a:cubicBezTo>
                    <a:cubicBezTo>
                      <a:pt x="2142" y="452"/>
                      <a:pt x="5962" y="-894"/>
                      <a:pt x="9132" y="624"/>
                    </a:cubicBezTo>
                    <a:lnTo>
                      <a:pt x="62217" y="26051"/>
                    </a:lnTo>
                    <a:cubicBezTo>
                      <a:pt x="65393" y="27575"/>
                      <a:pt x="66738" y="31382"/>
                      <a:pt x="65221" y="34558"/>
                    </a:cubicBezTo>
                    <a:cubicBezTo>
                      <a:pt x="64130" y="36854"/>
                      <a:pt x="61841" y="38187"/>
                      <a:pt x="59462" y="38187"/>
                    </a:cubicBezTo>
                    <a:close/>
                  </a:path>
                </a:pathLst>
              </a:custGeom>
              <a:grpFill/>
              <a:ln w="637" cap="flat">
                <a:noFill/>
                <a:prstDash val="solid"/>
                <a:miter/>
              </a:ln>
            </p:spPr>
            <p:txBody>
              <a:bodyPr rtlCol="0" anchor="ctr"/>
              <a:lstStyle/>
              <a:p>
                <a:endParaRPr lang="en-GB" dirty="0"/>
              </a:p>
            </p:txBody>
          </p:sp>
          <p:sp>
            <p:nvSpPr>
              <p:cNvPr id="1126" name="Freeform: Shape 1125">
                <a:extLst>
                  <a:ext uri="{FF2B5EF4-FFF2-40B4-BE49-F238E27FC236}">
                    <a16:creationId xmlns:a16="http://schemas.microsoft.com/office/drawing/2014/main" id="{D959B577-2917-429C-B1AD-2943FB91696C}"/>
                  </a:ext>
                </a:extLst>
              </p:cNvPr>
              <p:cNvSpPr/>
              <p:nvPr/>
            </p:nvSpPr>
            <p:spPr>
              <a:xfrm>
                <a:off x="3685285" y="4337446"/>
                <a:ext cx="213912" cy="140740"/>
              </a:xfrm>
              <a:custGeom>
                <a:avLst/>
                <a:gdLst>
                  <a:gd name="connsiteX0" fmla="*/ 147165 w 213912"/>
                  <a:gd name="connsiteY0" fmla="*/ 140740 h 140740"/>
                  <a:gd name="connsiteX1" fmla="*/ 5025 w 213912"/>
                  <a:gd name="connsiteY1" fmla="*/ 128106 h 140740"/>
                  <a:gd name="connsiteX2" fmla="*/ 0 w 213912"/>
                  <a:gd name="connsiteY2" fmla="*/ 121869 h 140740"/>
                  <a:gd name="connsiteX3" fmla="*/ 0 w 213912"/>
                  <a:gd name="connsiteY3" fmla="*/ 84734 h 140740"/>
                  <a:gd name="connsiteX4" fmla="*/ 27467 w 213912"/>
                  <a:gd name="connsiteY4" fmla="*/ 41922 h 140740"/>
                  <a:gd name="connsiteX5" fmla="*/ 111369 w 213912"/>
                  <a:gd name="connsiteY5" fmla="*/ 648 h 140740"/>
                  <a:gd name="connsiteX6" fmla="*/ 119908 w 213912"/>
                  <a:gd name="connsiteY6" fmla="*/ 3556 h 140740"/>
                  <a:gd name="connsiteX7" fmla="*/ 117000 w 213912"/>
                  <a:gd name="connsiteY7" fmla="*/ 12095 h 140740"/>
                  <a:gd name="connsiteX8" fmla="*/ 32939 w 213912"/>
                  <a:gd name="connsiteY8" fmla="*/ 53440 h 140740"/>
                  <a:gd name="connsiteX9" fmla="*/ 12755 w 213912"/>
                  <a:gd name="connsiteY9" fmla="*/ 84727 h 140740"/>
                  <a:gd name="connsiteX10" fmla="*/ 12755 w 213912"/>
                  <a:gd name="connsiteY10" fmla="*/ 116621 h 140740"/>
                  <a:gd name="connsiteX11" fmla="*/ 147158 w 213912"/>
                  <a:gd name="connsiteY11" fmla="*/ 127979 h 140740"/>
                  <a:gd name="connsiteX12" fmla="*/ 149729 w 213912"/>
                  <a:gd name="connsiteY12" fmla="*/ 127972 h 140740"/>
                  <a:gd name="connsiteX13" fmla="*/ 207106 w 213912"/>
                  <a:gd name="connsiteY13" fmla="*/ 125925 h 140740"/>
                  <a:gd name="connsiteX14" fmla="*/ 213898 w 213912"/>
                  <a:gd name="connsiteY14" fmla="*/ 131863 h 140740"/>
                  <a:gd name="connsiteX15" fmla="*/ 207960 w 213912"/>
                  <a:gd name="connsiteY15" fmla="*/ 138655 h 140740"/>
                  <a:gd name="connsiteX16" fmla="*/ 149760 w 213912"/>
                  <a:gd name="connsiteY16" fmla="*/ 140727 h 140740"/>
                  <a:gd name="connsiteX17" fmla="*/ 147165 w 213912"/>
                  <a:gd name="connsiteY17" fmla="*/ 140740 h 140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3912" h="140740">
                    <a:moveTo>
                      <a:pt x="147165" y="140740"/>
                    </a:moveTo>
                    <a:cubicBezTo>
                      <a:pt x="64316" y="140740"/>
                      <a:pt x="5619" y="128227"/>
                      <a:pt x="5025" y="128106"/>
                    </a:cubicBezTo>
                    <a:cubicBezTo>
                      <a:pt x="2092" y="127469"/>
                      <a:pt x="0" y="124873"/>
                      <a:pt x="0" y="121869"/>
                    </a:cubicBezTo>
                    <a:lnTo>
                      <a:pt x="0" y="84734"/>
                    </a:lnTo>
                    <a:cubicBezTo>
                      <a:pt x="0" y="66380"/>
                      <a:pt x="10778" y="49569"/>
                      <a:pt x="27467" y="41922"/>
                    </a:cubicBezTo>
                    <a:lnTo>
                      <a:pt x="111369" y="648"/>
                    </a:lnTo>
                    <a:cubicBezTo>
                      <a:pt x="114519" y="-889"/>
                      <a:pt x="118352" y="399"/>
                      <a:pt x="119908" y="3556"/>
                    </a:cubicBezTo>
                    <a:cubicBezTo>
                      <a:pt x="121457" y="6713"/>
                      <a:pt x="120156" y="10539"/>
                      <a:pt x="117000" y="12095"/>
                    </a:cubicBezTo>
                    <a:lnTo>
                      <a:pt x="32939" y="53440"/>
                    </a:lnTo>
                    <a:cubicBezTo>
                      <a:pt x="20612" y="59090"/>
                      <a:pt x="12755" y="71348"/>
                      <a:pt x="12755" y="84727"/>
                    </a:cubicBezTo>
                    <a:lnTo>
                      <a:pt x="12755" y="116621"/>
                    </a:lnTo>
                    <a:cubicBezTo>
                      <a:pt x="28456" y="119548"/>
                      <a:pt x="79571" y="127979"/>
                      <a:pt x="147158" y="127979"/>
                    </a:cubicBezTo>
                    <a:cubicBezTo>
                      <a:pt x="148013" y="127979"/>
                      <a:pt x="148867" y="127972"/>
                      <a:pt x="149729" y="127972"/>
                    </a:cubicBezTo>
                    <a:cubicBezTo>
                      <a:pt x="168465" y="127915"/>
                      <a:pt x="187776" y="127226"/>
                      <a:pt x="207106" y="125925"/>
                    </a:cubicBezTo>
                    <a:cubicBezTo>
                      <a:pt x="210760" y="125836"/>
                      <a:pt x="213655" y="128349"/>
                      <a:pt x="213898" y="131863"/>
                    </a:cubicBezTo>
                    <a:cubicBezTo>
                      <a:pt x="214134" y="135377"/>
                      <a:pt x="211474" y="138419"/>
                      <a:pt x="207960" y="138655"/>
                    </a:cubicBezTo>
                    <a:cubicBezTo>
                      <a:pt x="188356" y="139975"/>
                      <a:pt x="168771" y="140670"/>
                      <a:pt x="149760" y="140727"/>
                    </a:cubicBezTo>
                    <a:cubicBezTo>
                      <a:pt x="148899" y="140734"/>
                      <a:pt x="148026" y="140740"/>
                      <a:pt x="147165" y="140740"/>
                    </a:cubicBezTo>
                    <a:close/>
                  </a:path>
                </a:pathLst>
              </a:custGeom>
              <a:grpFill/>
              <a:ln w="637" cap="flat">
                <a:noFill/>
                <a:prstDash val="solid"/>
                <a:miter/>
              </a:ln>
            </p:spPr>
            <p:txBody>
              <a:bodyPr rtlCol="0" anchor="ctr"/>
              <a:lstStyle/>
              <a:p>
                <a:endParaRPr lang="en-GB" dirty="0"/>
              </a:p>
            </p:txBody>
          </p:sp>
          <p:sp>
            <p:nvSpPr>
              <p:cNvPr id="1127" name="Freeform: Shape 1126">
                <a:extLst>
                  <a:ext uri="{FF2B5EF4-FFF2-40B4-BE49-F238E27FC236}">
                    <a16:creationId xmlns:a16="http://schemas.microsoft.com/office/drawing/2014/main" id="{E204F072-76ED-4A5D-BF0C-3D9D9C0E0D55}"/>
                  </a:ext>
                </a:extLst>
              </p:cNvPr>
              <p:cNvSpPr/>
              <p:nvPr/>
            </p:nvSpPr>
            <p:spPr>
              <a:xfrm>
                <a:off x="3861441" y="4235003"/>
                <a:ext cx="22384" cy="14157"/>
              </a:xfrm>
              <a:custGeom>
                <a:avLst/>
                <a:gdLst>
                  <a:gd name="connsiteX0" fmla="*/ 20146 w 22384"/>
                  <a:gd name="connsiteY0" fmla="*/ 0 h 14157"/>
                  <a:gd name="connsiteX1" fmla="*/ 2238 w 22384"/>
                  <a:gd name="connsiteY1" fmla="*/ 0 h 14157"/>
                  <a:gd name="connsiteX2" fmla="*/ 0 w 22384"/>
                  <a:gd name="connsiteY2" fmla="*/ 2238 h 14157"/>
                  <a:gd name="connsiteX3" fmla="*/ 0 w 22384"/>
                  <a:gd name="connsiteY3" fmla="*/ 11919 h 14157"/>
                  <a:gd name="connsiteX4" fmla="*/ 2238 w 22384"/>
                  <a:gd name="connsiteY4" fmla="*/ 14158 h 14157"/>
                  <a:gd name="connsiteX5" fmla="*/ 20146 w 22384"/>
                  <a:gd name="connsiteY5" fmla="*/ 14158 h 14157"/>
                  <a:gd name="connsiteX6" fmla="*/ 22385 w 22384"/>
                  <a:gd name="connsiteY6" fmla="*/ 11919 h 14157"/>
                  <a:gd name="connsiteX7" fmla="*/ 22385 w 22384"/>
                  <a:gd name="connsiteY7" fmla="*/ 2238 h 14157"/>
                  <a:gd name="connsiteX8" fmla="*/ 20146 w 22384"/>
                  <a:gd name="connsiteY8" fmla="*/ 0 h 1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4" h="14157">
                    <a:moveTo>
                      <a:pt x="20146" y="0"/>
                    </a:moveTo>
                    <a:lnTo>
                      <a:pt x="2238" y="0"/>
                    </a:lnTo>
                    <a:cubicBezTo>
                      <a:pt x="1008" y="0"/>
                      <a:pt x="0" y="1007"/>
                      <a:pt x="0" y="2238"/>
                    </a:cubicBezTo>
                    <a:lnTo>
                      <a:pt x="0" y="11919"/>
                    </a:lnTo>
                    <a:cubicBezTo>
                      <a:pt x="0" y="13150"/>
                      <a:pt x="1008" y="14158"/>
                      <a:pt x="2238" y="14158"/>
                    </a:cubicBezTo>
                    <a:lnTo>
                      <a:pt x="20146" y="14158"/>
                    </a:lnTo>
                    <a:cubicBezTo>
                      <a:pt x="21377" y="14158"/>
                      <a:pt x="22385" y="13150"/>
                      <a:pt x="22385" y="11919"/>
                    </a:cubicBezTo>
                    <a:lnTo>
                      <a:pt x="22385" y="2238"/>
                    </a:lnTo>
                    <a:cubicBezTo>
                      <a:pt x="22385" y="1007"/>
                      <a:pt x="21377" y="0"/>
                      <a:pt x="20146" y="0"/>
                    </a:cubicBezTo>
                    <a:close/>
                  </a:path>
                </a:pathLst>
              </a:custGeom>
              <a:grpFill/>
              <a:ln w="637" cap="flat">
                <a:noFill/>
                <a:prstDash val="solid"/>
                <a:miter/>
              </a:ln>
            </p:spPr>
            <p:txBody>
              <a:bodyPr rtlCol="0" anchor="ctr"/>
              <a:lstStyle/>
              <a:p>
                <a:endParaRPr lang="en-GB" dirty="0"/>
              </a:p>
            </p:txBody>
          </p:sp>
          <p:sp>
            <p:nvSpPr>
              <p:cNvPr id="1128" name="Freeform: Shape 1127">
                <a:extLst>
                  <a:ext uri="{FF2B5EF4-FFF2-40B4-BE49-F238E27FC236}">
                    <a16:creationId xmlns:a16="http://schemas.microsoft.com/office/drawing/2014/main" id="{56493AC9-3560-4C04-925F-3EE97E73D9ED}"/>
                  </a:ext>
                </a:extLst>
              </p:cNvPr>
              <p:cNvSpPr/>
              <p:nvPr/>
            </p:nvSpPr>
            <p:spPr>
              <a:xfrm>
                <a:off x="3787431" y="4234315"/>
                <a:ext cx="22384" cy="14164"/>
              </a:xfrm>
              <a:custGeom>
                <a:avLst/>
                <a:gdLst>
                  <a:gd name="connsiteX0" fmla="*/ 20146 w 22384"/>
                  <a:gd name="connsiteY0" fmla="*/ 0 h 14164"/>
                  <a:gd name="connsiteX1" fmla="*/ 2238 w 22384"/>
                  <a:gd name="connsiteY1" fmla="*/ 0 h 14164"/>
                  <a:gd name="connsiteX2" fmla="*/ 0 w 22384"/>
                  <a:gd name="connsiteY2" fmla="*/ 2238 h 14164"/>
                  <a:gd name="connsiteX3" fmla="*/ 0 w 22384"/>
                  <a:gd name="connsiteY3" fmla="*/ 11926 h 14164"/>
                  <a:gd name="connsiteX4" fmla="*/ 2238 w 22384"/>
                  <a:gd name="connsiteY4" fmla="*/ 14164 h 14164"/>
                  <a:gd name="connsiteX5" fmla="*/ 20146 w 22384"/>
                  <a:gd name="connsiteY5" fmla="*/ 14164 h 14164"/>
                  <a:gd name="connsiteX6" fmla="*/ 22385 w 22384"/>
                  <a:gd name="connsiteY6" fmla="*/ 11926 h 14164"/>
                  <a:gd name="connsiteX7" fmla="*/ 22385 w 22384"/>
                  <a:gd name="connsiteY7" fmla="*/ 2238 h 14164"/>
                  <a:gd name="connsiteX8" fmla="*/ 20146 w 22384"/>
                  <a:gd name="connsiteY8" fmla="*/ 0 h 14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384" h="14164">
                    <a:moveTo>
                      <a:pt x="20146" y="0"/>
                    </a:moveTo>
                    <a:lnTo>
                      <a:pt x="2238" y="0"/>
                    </a:lnTo>
                    <a:cubicBezTo>
                      <a:pt x="1008" y="0"/>
                      <a:pt x="0" y="1008"/>
                      <a:pt x="0" y="2238"/>
                    </a:cubicBezTo>
                    <a:lnTo>
                      <a:pt x="0" y="11926"/>
                    </a:lnTo>
                    <a:cubicBezTo>
                      <a:pt x="0" y="13156"/>
                      <a:pt x="1008" y="14164"/>
                      <a:pt x="2238" y="14164"/>
                    </a:cubicBezTo>
                    <a:lnTo>
                      <a:pt x="20146" y="14164"/>
                    </a:lnTo>
                    <a:cubicBezTo>
                      <a:pt x="21377" y="14164"/>
                      <a:pt x="22385" y="13156"/>
                      <a:pt x="22385" y="11926"/>
                    </a:cubicBezTo>
                    <a:lnTo>
                      <a:pt x="22385" y="2238"/>
                    </a:lnTo>
                    <a:cubicBezTo>
                      <a:pt x="22385" y="1008"/>
                      <a:pt x="21377" y="0"/>
                      <a:pt x="20146" y="0"/>
                    </a:cubicBezTo>
                    <a:close/>
                  </a:path>
                </a:pathLst>
              </a:custGeom>
              <a:grpFill/>
              <a:ln w="637" cap="flat">
                <a:noFill/>
                <a:prstDash val="solid"/>
                <a:miter/>
              </a:ln>
            </p:spPr>
            <p:txBody>
              <a:bodyPr rtlCol="0" anchor="ctr"/>
              <a:lstStyle/>
              <a:p>
                <a:endParaRPr lang="en-GB" dirty="0"/>
              </a:p>
            </p:txBody>
          </p:sp>
        </p:grpSp>
        <p:grpSp>
          <p:nvGrpSpPr>
            <p:cNvPr id="1105" name="Group 1104">
              <a:extLst>
                <a:ext uri="{FF2B5EF4-FFF2-40B4-BE49-F238E27FC236}">
                  <a16:creationId xmlns:a16="http://schemas.microsoft.com/office/drawing/2014/main" id="{DA811000-8EC8-4E74-9AD2-667957848CBB}"/>
                </a:ext>
              </a:extLst>
            </p:cNvPr>
            <p:cNvGrpSpPr/>
            <p:nvPr/>
          </p:nvGrpSpPr>
          <p:grpSpPr>
            <a:xfrm>
              <a:off x="8321706" y="2447869"/>
              <a:ext cx="266020" cy="423331"/>
              <a:chOff x="3909801" y="4061264"/>
              <a:chExt cx="266020" cy="423331"/>
            </a:xfrm>
          </p:grpSpPr>
          <p:sp>
            <p:nvSpPr>
              <p:cNvPr id="1106" name="Freeform: Shape 1105">
                <a:extLst>
                  <a:ext uri="{FF2B5EF4-FFF2-40B4-BE49-F238E27FC236}">
                    <a16:creationId xmlns:a16="http://schemas.microsoft.com/office/drawing/2014/main" id="{D8506A45-2600-4ED5-BA42-B7AEF91DDC92}"/>
                  </a:ext>
                </a:extLst>
              </p:cNvPr>
              <p:cNvSpPr/>
              <p:nvPr/>
            </p:nvSpPr>
            <p:spPr>
              <a:xfrm>
                <a:off x="4077150" y="4217000"/>
                <a:ext cx="27996" cy="17710"/>
              </a:xfrm>
              <a:custGeom>
                <a:avLst/>
                <a:gdLst>
                  <a:gd name="connsiteX0" fmla="*/ 25197 w 27996"/>
                  <a:gd name="connsiteY0" fmla="*/ 0 h 17710"/>
                  <a:gd name="connsiteX1" fmla="*/ 2800 w 27996"/>
                  <a:gd name="connsiteY1" fmla="*/ 0 h 17710"/>
                  <a:gd name="connsiteX2" fmla="*/ 0 w 27996"/>
                  <a:gd name="connsiteY2" fmla="*/ 2799 h 17710"/>
                  <a:gd name="connsiteX3" fmla="*/ 0 w 27996"/>
                  <a:gd name="connsiteY3" fmla="*/ 14910 h 17710"/>
                  <a:gd name="connsiteX4" fmla="*/ 2800 w 27996"/>
                  <a:gd name="connsiteY4" fmla="*/ 17710 h 17710"/>
                  <a:gd name="connsiteX5" fmla="*/ 25197 w 27996"/>
                  <a:gd name="connsiteY5" fmla="*/ 17710 h 17710"/>
                  <a:gd name="connsiteX6" fmla="*/ 27997 w 27996"/>
                  <a:gd name="connsiteY6" fmla="*/ 14910 h 17710"/>
                  <a:gd name="connsiteX7" fmla="*/ 27997 w 27996"/>
                  <a:gd name="connsiteY7" fmla="*/ 2799 h 17710"/>
                  <a:gd name="connsiteX8" fmla="*/ 25197 w 27996"/>
                  <a:gd name="connsiteY8" fmla="*/ 0 h 17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96" h="17710">
                    <a:moveTo>
                      <a:pt x="25197" y="0"/>
                    </a:moveTo>
                    <a:lnTo>
                      <a:pt x="2800" y="0"/>
                    </a:lnTo>
                    <a:cubicBezTo>
                      <a:pt x="1256" y="0"/>
                      <a:pt x="0" y="1263"/>
                      <a:pt x="0" y="2799"/>
                    </a:cubicBezTo>
                    <a:lnTo>
                      <a:pt x="0" y="14910"/>
                    </a:lnTo>
                    <a:cubicBezTo>
                      <a:pt x="0" y="16454"/>
                      <a:pt x="1263" y="17710"/>
                      <a:pt x="2800" y="17710"/>
                    </a:cubicBezTo>
                    <a:lnTo>
                      <a:pt x="25197" y="17710"/>
                    </a:lnTo>
                    <a:cubicBezTo>
                      <a:pt x="26741" y="17710"/>
                      <a:pt x="27997" y="16447"/>
                      <a:pt x="27997" y="14910"/>
                    </a:cubicBezTo>
                    <a:lnTo>
                      <a:pt x="27997" y="2799"/>
                    </a:lnTo>
                    <a:cubicBezTo>
                      <a:pt x="27997" y="1263"/>
                      <a:pt x="26741" y="0"/>
                      <a:pt x="25197" y="0"/>
                    </a:cubicBezTo>
                    <a:close/>
                  </a:path>
                </a:pathLst>
              </a:custGeom>
              <a:solidFill>
                <a:schemeClr val="accent1"/>
              </a:solidFill>
              <a:ln w="637" cap="flat">
                <a:noFill/>
                <a:prstDash val="solid"/>
                <a:miter/>
              </a:ln>
            </p:spPr>
            <p:txBody>
              <a:bodyPr rtlCol="0" anchor="ctr"/>
              <a:lstStyle/>
              <a:p>
                <a:endParaRPr lang="en-GB" dirty="0"/>
              </a:p>
            </p:txBody>
          </p:sp>
          <p:sp>
            <p:nvSpPr>
              <p:cNvPr id="1107" name="Freeform: Shape 1106">
                <a:extLst>
                  <a:ext uri="{FF2B5EF4-FFF2-40B4-BE49-F238E27FC236}">
                    <a16:creationId xmlns:a16="http://schemas.microsoft.com/office/drawing/2014/main" id="{D6730F41-BBB0-4DD2-9EFC-D897E718B6D4}"/>
                  </a:ext>
                </a:extLst>
              </p:cNvPr>
              <p:cNvSpPr/>
              <p:nvPr/>
            </p:nvSpPr>
            <p:spPr>
              <a:xfrm>
                <a:off x="3984608" y="4216145"/>
                <a:ext cx="27990" cy="17710"/>
              </a:xfrm>
              <a:custGeom>
                <a:avLst/>
                <a:gdLst>
                  <a:gd name="connsiteX0" fmla="*/ 25191 w 27990"/>
                  <a:gd name="connsiteY0" fmla="*/ 0 h 17710"/>
                  <a:gd name="connsiteX1" fmla="*/ 2800 w 27990"/>
                  <a:gd name="connsiteY1" fmla="*/ 0 h 17710"/>
                  <a:gd name="connsiteX2" fmla="*/ 0 w 27990"/>
                  <a:gd name="connsiteY2" fmla="*/ 2800 h 17710"/>
                  <a:gd name="connsiteX3" fmla="*/ 0 w 27990"/>
                  <a:gd name="connsiteY3" fmla="*/ 14911 h 17710"/>
                  <a:gd name="connsiteX4" fmla="*/ 2800 w 27990"/>
                  <a:gd name="connsiteY4" fmla="*/ 17710 h 17710"/>
                  <a:gd name="connsiteX5" fmla="*/ 25191 w 27990"/>
                  <a:gd name="connsiteY5" fmla="*/ 17710 h 17710"/>
                  <a:gd name="connsiteX6" fmla="*/ 27990 w 27990"/>
                  <a:gd name="connsiteY6" fmla="*/ 14911 h 17710"/>
                  <a:gd name="connsiteX7" fmla="*/ 27990 w 27990"/>
                  <a:gd name="connsiteY7" fmla="*/ 2800 h 17710"/>
                  <a:gd name="connsiteX8" fmla="*/ 25191 w 27990"/>
                  <a:gd name="connsiteY8" fmla="*/ 0 h 17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90" h="17710">
                    <a:moveTo>
                      <a:pt x="25191" y="0"/>
                    </a:moveTo>
                    <a:lnTo>
                      <a:pt x="2800" y="0"/>
                    </a:lnTo>
                    <a:cubicBezTo>
                      <a:pt x="1256" y="0"/>
                      <a:pt x="0" y="1263"/>
                      <a:pt x="0" y="2800"/>
                    </a:cubicBezTo>
                    <a:lnTo>
                      <a:pt x="0" y="14911"/>
                    </a:lnTo>
                    <a:cubicBezTo>
                      <a:pt x="0" y="16454"/>
                      <a:pt x="1263" y="17710"/>
                      <a:pt x="2800" y="17710"/>
                    </a:cubicBezTo>
                    <a:lnTo>
                      <a:pt x="25191" y="17710"/>
                    </a:lnTo>
                    <a:cubicBezTo>
                      <a:pt x="26734" y="17710"/>
                      <a:pt x="27990" y="16447"/>
                      <a:pt x="27990" y="14911"/>
                    </a:cubicBezTo>
                    <a:lnTo>
                      <a:pt x="27990" y="2800"/>
                    </a:lnTo>
                    <a:cubicBezTo>
                      <a:pt x="27990" y="1256"/>
                      <a:pt x="26728" y="0"/>
                      <a:pt x="25191" y="0"/>
                    </a:cubicBezTo>
                    <a:close/>
                  </a:path>
                </a:pathLst>
              </a:custGeom>
              <a:solidFill>
                <a:schemeClr val="accent1"/>
              </a:solidFill>
              <a:ln w="637" cap="flat">
                <a:noFill/>
                <a:prstDash val="solid"/>
                <a:miter/>
              </a:ln>
            </p:spPr>
            <p:txBody>
              <a:bodyPr rtlCol="0" anchor="ctr"/>
              <a:lstStyle/>
              <a:p>
                <a:endParaRPr lang="en-GB" dirty="0"/>
              </a:p>
            </p:txBody>
          </p:sp>
          <p:grpSp>
            <p:nvGrpSpPr>
              <p:cNvPr id="1108" name="Graphic 32">
                <a:extLst>
                  <a:ext uri="{FF2B5EF4-FFF2-40B4-BE49-F238E27FC236}">
                    <a16:creationId xmlns:a16="http://schemas.microsoft.com/office/drawing/2014/main" id="{3C5EFBFA-ABC3-4FCC-8594-FE2C73AABD6F}"/>
                  </a:ext>
                </a:extLst>
              </p:cNvPr>
              <p:cNvGrpSpPr/>
              <p:nvPr/>
            </p:nvGrpSpPr>
            <p:grpSpPr>
              <a:xfrm>
                <a:off x="3909801" y="4061264"/>
                <a:ext cx="266020" cy="423331"/>
                <a:chOff x="7663719" y="4061264"/>
                <a:chExt cx="266020" cy="423331"/>
              </a:xfrm>
              <a:solidFill>
                <a:schemeClr val="accent1"/>
              </a:solidFill>
            </p:grpSpPr>
            <p:sp>
              <p:nvSpPr>
                <p:cNvPr id="1113" name="Freeform: Shape 1112">
                  <a:extLst>
                    <a:ext uri="{FF2B5EF4-FFF2-40B4-BE49-F238E27FC236}">
                      <a16:creationId xmlns:a16="http://schemas.microsoft.com/office/drawing/2014/main" id="{1443D711-66F2-4E2A-8D72-075A302BA927}"/>
                    </a:ext>
                  </a:extLst>
                </p:cNvPr>
                <p:cNvSpPr/>
                <p:nvPr/>
              </p:nvSpPr>
              <p:spPr>
                <a:xfrm>
                  <a:off x="7792325" y="4391326"/>
                  <a:ext cx="12754" cy="90520"/>
                </a:xfrm>
                <a:custGeom>
                  <a:avLst/>
                  <a:gdLst>
                    <a:gd name="connsiteX0" fmla="*/ 6377 w 12754"/>
                    <a:gd name="connsiteY0" fmla="*/ 90521 h 90520"/>
                    <a:gd name="connsiteX1" fmla="*/ 0 w 12754"/>
                    <a:gd name="connsiteY1" fmla="*/ 84144 h 90520"/>
                    <a:gd name="connsiteX2" fmla="*/ 0 w 12754"/>
                    <a:gd name="connsiteY2" fmla="*/ 6377 h 90520"/>
                    <a:gd name="connsiteX3" fmla="*/ 6377 w 12754"/>
                    <a:gd name="connsiteY3" fmla="*/ 0 h 90520"/>
                    <a:gd name="connsiteX4" fmla="*/ 12755 w 12754"/>
                    <a:gd name="connsiteY4" fmla="*/ 6377 h 90520"/>
                    <a:gd name="connsiteX5" fmla="*/ 12755 w 12754"/>
                    <a:gd name="connsiteY5" fmla="*/ 84144 h 90520"/>
                    <a:gd name="connsiteX6" fmla="*/ 6377 w 12754"/>
                    <a:gd name="connsiteY6" fmla="*/ 90521 h 9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90520">
                      <a:moveTo>
                        <a:pt x="6377" y="90521"/>
                      </a:moveTo>
                      <a:cubicBezTo>
                        <a:pt x="2851" y="90521"/>
                        <a:pt x="0" y="87670"/>
                        <a:pt x="0" y="84144"/>
                      </a:cubicBezTo>
                      <a:lnTo>
                        <a:pt x="0" y="6377"/>
                      </a:lnTo>
                      <a:cubicBezTo>
                        <a:pt x="0" y="2851"/>
                        <a:pt x="2851" y="0"/>
                        <a:pt x="6377" y="0"/>
                      </a:cubicBezTo>
                      <a:cubicBezTo>
                        <a:pt x="9904" y="0"/>
                        <a:pt x="12755" y="2851"/>
                        <a:pt x="12755" y="6377"/>
                      </a:cubicBezTo>
                      <a:lnTo>
                        <a:pt x="12755" y="84144"/>
                      </a:lnTo>
                      <a:cubicBezTo>
                        <a:pt x="12755" y="87664"/>
                        <a:pt x="9904" y="90521"/>
                        <a:pt x="6377" y="90521"/>
                      </a:cubicBezTo>
                      <a:close/>
                    </a:path>
                  </a:pathLst>
                </a:custGeom>
                <a:solidFill>
                  <a:schemeClr val="accent1"/>
                </a:solidFill>
                <a:ln w="637" cap="flat">
                  <a:noFill/>
                  <a:prstDash val="solid"/>
                  <a:miter/>
                </a:ln>
              </p:spPr>
              <p:txBody>
                <a:bodyPr rtlCol="0" anchor="ctr"/>
                <a:lstStyle/>
                <a:p>
                  <a:endParaRPr lang="en-GB" dirty="0"/>
                </a:p>
              </p:txBody>
            </p:sp>
            <p:sp>
              <p:nvSpPr>
                <p:cNvPr id="1114" name="Freeform: Shape 1113">
                  <a:extLst>
                    <a:ext uri="{FF2B5EF4-FFF2-40B4-BE49-F238E27FC236}">
                      <a16:creationId xmlns:a16="http://schemas.microsoft.com/office/drawing/2014/main" id="{7D4F3E78-6FEB-4321-AA4F-34360DF404A3}"/>
                    </a:ext>
                  </a:extLst>
                </p:cNvPr>
                <p:cNvSpPr/>
                <p:nvPr/>
              </p:nvSpPr>
              <p:spPr>
                <a:xfrm>
                  <a:off x="7793971" y="4357440"/>
                  <a:ext cx="53072" cy="76703"/>
                </a:xfrm>
                <a:custGeom>
                  <a:avLst/>
                  <a:gdLst>
                    <a:gd name="connsiteX0" fmla="*/ 36255 w 53072"/>
                    <a:gd name="connsiteY0" fmla="*/ 76703 h 76703"/>
                    <a:gd name="connsiteX1" fmla="*/ 31771 w 53072"/>
                    <a:gd name="connsiteY1" fmla="*/ 74860 h 76703"/>
                    <a:gd name="connsiteX2" fmla="*/ 1894 w 53072"/>
                    <a:gd name="connsiteY2" fmla="*/ 45308 h 76703"/>
                    <a:gd name="connsiteX3" fmla="*/ 1842 w 53072"/>
                    <a:gd name="connsiteY3" fmla="*/ 36290 h 76703"/>
                    <a:gd name="connsiteX4" fmla="*/ 10860 w 53072"/>
                    <a:gd name="connsiteY4" fmla="*/ 36239 h 76703"/>
                    <a:gd name="connsiteX5" fmla="*/ 34488 w 53072"/>
                    <a:gd name="connsiteY5" fmla="*/ 59612 h 76703"/>
                    <a:gd name="connsiteX6" fmla="*/ 31376 w 53072"/>
                    <a:gd name="connsiteY6" fmla="*/ 10659 h 76703"/>
                    <a:gd name="connsiteX7" fmla="*/ 31816 w 53072"/>
                    <a:gd name="connsiteY7" fmla="*/ 1648 h 76703"/>
                    <a:gd name="connsiteX8" fmla="*/ 40827 w 53072"/>
                    <a:gd name="connsiteY8" fmla="*/ 2088 h 76703"/>
                    <a:gd name="connsiteX9" fmla="*/ 41676 w 53072"/>
                    <a:gd name="connsiteY9" fmla="*/ 73674 h 76703"/>
                    <a:gd name="connsiteX10" fmla="*/ 37007 w 53072"/>
                    <a:gd name="connsiteY10" fmla="*/ 76659 h 76703"/>
                    <a:gd name="connsiteX11" fmla="*/ 36255 w 53072"/>
                    <a:gd name="connsiteY11" fmla="*/ 76703 h 76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072" h="76703">
                      <a:moveTo>
                        <a:pt x="36255" y="76703"/>
                      </a:moveTo>
                      <a:cubicBezTo>
                        <a:pt x="34584" y="76703"/>
                        <a:pt x="32971" y="76047"/>
                        <a:pt x="31771" y="74860"/>
                      </a:cubicBezTo>
                      <a:lnTo>
                        <a:pt x="1894" y="45308"/>
                      </a:lnTo>
                      <a:cubicBezTo>
                        <a:pt x="-613" y="42827"/>
                        <a:pt x="-632" y="38796"/>
                        <a:pt x="1842" y="36290"/>
                      </a:cubicBezTo>
                      <a:cubicBezTo>
                        <a:pt x="4317" y="33777"/>
                        <a:pt x="8360" y="33764"/>
                        <a:pt x="10860" y="36239"/>
                      </a:cubicBezTo>
                      <a:lnTo>
                        <a:pt x="34488" y="59612"/>
                      </a:lnTo>
                      <a:cubicBezTo>
                        <a:pt x="39348" y="48343"/>
                        <a:pt x="45719" y="26481"/>
                        <a:pt x="31376" y="10659"/>
                      </a:cubicBezTo>
                      <a:cubicBezTo>
                        <a:pt x="29010" y="8051"/>
                        <a:pt x="29208" y="4014"/>
                        <a:pt x="31816" y="1648"/>
                      </a:cubicBezTo>
                      <a:cubicBezTo>
                        <a:pt x="34424" y="-705"/>
                        <a:pt x="38461" y="-520"/>
                        <a:pt x="40827" y="2088"/>
                      </a:cubicBezTo>
                      <a:cubicBezTo>
                        <a:pt x="67319" y="31328"/>
                        <a:pt x="42734" y="71959"/>
                        <a:pt x="41676" y="73674"/>
                      </a:cubicBezTo>
                      <a:cubicBezTo>
                        <a:pt x="40655" y="75332"/>
                        <a:pt x="38933" y="76429"/>
                        <a:pt x="37007" y="76659"/>
                      </a:cubicBezTo>
                      <a:cubicBezTo>
                        <a:pt x="36759" y="76691"/>
                        <a:pt x="36503" y="76703"/>
                        <a:pt x="36255" y="76703"/>
                      </a:cubicBezTo>
                      <a:close/>
                    </a:path>
                  </a:pathLst>
                </a:custGeom>
                <a:solidFill>
                  <a:schemeClr val="accent1"/>
                </a:solidFill>
                <a:ln w="637" cap="flat">
                  <a:noFill/>
                  <a:prstDash val="solid"/>
                  <a:miter/>
                </a:ln>
              </p:spPr>
              <p:txBody>
                <a:bodyPr rtlCol="0" anchor="ctr"/>
                <a:lstStyle/>
                <a:p>
                  <a:endParaRPr lang="en-GB" dirty="0"/>
                </a:p>
              </p:txBody>
            </p:sp>
            <p:sp>
              <p:nvSpPr>
                <p:cNvPr id="1115" name="Freeform: Shape 1114">
                  <a:extLst>
                    <a:ext uri="{FF2B5EF4-FFF2-40B4-BE49-F238E27FC236}">
                      <a16:creationId xmlns:a16="http://schemas.microsoft.com/office/drawing/2014/main" id="{C359575D-09F5-4A1E-9BFB-341C8FBB35FA}"/>
                    </a:ext>
                  </a:extLst>
                </p:cNvPr>
                <p:cNvSpPr/>
                <p:nvPr/>
              </p:nvSpPr>
              <p:spPr>
                <a:xfrm>
                  <a:off x="7747244" y="4357438"/>
                  <a:ext cx="53080" cy="76705"/>
                </a:xfrm>
                <a:custGeom>
                  <a:avLst/>
                  <a:gdLst>
                    <a:gd name="connsiteX0" fmla="*/ 16823 w 53080"/>
                    <a:gd name="connsiteY0" fmla="*/ 76706 h 76705"/>
                    <a:gd name="connsiteX1" fmla="*/ 16071 w 53080"/>
                    <a:gd name="connsiteY1" fmla="*/ 76661 h 76705"/>
                    <a:gd name="connsiteX2" fmla="*/ 11402 w 53080"/>
                    <a:gd name="connsiteY2" fmla="*/ 73676 h 76705"/>
                    <a:gd name="connsiteX3" fmla="*/ 12250 w 53080"/>
                    <a:gd name="connsiteY3" fmla="*/ 2090 h 76705"/>
                    <a:gd name="connsiteX4" fmla="*/ 21262 w 53080"/>
                    <a:gd name="connsiteY4" fmla="*/ 1650 h 76705"/>
                    <a:gd name="connsiteX5" fmla="*/ 21702 w 53080"/>
                    <a:gd name="connsiteY5" fmla="*/ 10661 h 76705"/>
                    <a:gd name="connsiteX6" fmla="*/ 18564 w 53080"/>
                    <a:gd name="connsiteY6" fmla="*/ 59633 h 76705"/>
                    <a:gd name="connsiteX7" fmla="*/ 42218 w 53080"/>
                    <a:gd name="connsiteY7" fmla="*/ 36241 h 76705"/>
                    <a:gd name="connsiteX8" fmla="*/ 51235 w 53080"/>
                    <a:gd name="connsiteY8" fmla="*/ 36292 h 76705"/>
                    <a:gd name="connsiteX9" fmla="*/ 51184 w 53080"/>
                    <a:gd name="connsiteY9" fmla="*/ 45310 h 76705"/>
                    <a:gd name="connsiteX10" fmla="*/ 21306 w 53080"/>
                    <a:gd name="connsiteY10" fmla="*/ 74863 h 76705"/>
                    <a:gd name="connsiteX11" fmla="*/ 16823 w 53080"/>
                    <a:gd name="connsiteY11" fmla="*/ 76706 h 76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080" h="76705">
                      <a:moveTo>
                        <a:pt x="16823" y="76706"/>
                      </a:moveTo>
                      <a:cubicBezTo>
                        <a:pt x="16574" y="76706"/>
                        <a:pt x="16319" y="76693"/>
                        <a:pt x="16071" y="76661"/>
                      </a:cubicBezTo>
                      <a:cubicBezTo>
                        <a:pt x="14138" y="76431"/>
                        <a:pt x="12423" y="75335"/>
                        <a:pt x="11402" y="73676"/>
                      </a:cubicBezTo>
                      <a:cubicBezTo>
                        <a:pt x="10344" y="71961"/>
                        <a:pt x="-14254" y="31331"/>
                        <a:pt x="12250" y="2090"/>
                      </a:cubicBezTo>
                      <a:cubicBezTo>
                        <a:pt x="14616" y="-525"/>
                        <a:pt x="18653" y="-703"/>
                        <a:pt x="21262" y="1650"/>
                      </a:cubicBezTo>
                      <a:cubicBezTo>
                        <a:pt x="23870" y="4016"/>
                        <a:pt x="24061" y="8053"/>
                        <a:pt x="21702" y="10661"/>
                      </a:cubicBezTo>
                      <a:cubicBezTo>
                        <a:pt x="7276" y="26567"/>
                        <a:pt x="13685" y="48396"/>
                        <a:pt x="18564" y="59633"/>
                      </a:cubicBezTo>
                      <a:lnTo>
                        <a:pt x="42218" y="36241"/>
                      </a:lnTo>
                      <a:cubicBezTo>
                        <a:pt x="44718" y="33767"/>
                        <a:pt x="48761" y="33779"/>
                        <a:pt x="51235" y="36292"/>
                      </a:cubicBezTo>
                      <a:cubicBezTo>
                        <a:pt x="53716" y="38799"/>
                        <a:pt x="53691" y="42829"/>
                        <a:pt x="51184" y="45310"/>
                      </a:cubicBezTo>
                      <a:lnTo>
                        <a:pt x="21306" y="74863"/>
                      </a:lnTo>
                      <a:cubicBezTo>
                        <a:pt x="20107" y="76055"/>
                        <a:pt x="18494" y="76706"/>
                        <a:pt x="16823" y="76706"/>
                      </a:cubicBezTo>
                      <a:close/>
                    </a:path>
                  </a:pathLst>
                </a:custGeom>
                <a:solidFill>
                  <a:schemeClr val="accent1"/>
                </a:solidFill>
                <a:ln w="637" cap="flat">
                  <a:noFill/>
                  <a:prstDash val="solid"/>
                  <a:miter/>
                </a:ln>
              </p:spPr>
              <p:txBody>
                <a:bodyPr rtlCol="0" anchor="ctr"/>
                <a:lstStyle/>
                <a:p>
                  <a:endParaRPr lang="en-GB" dirty="0"/>
                </a:p>
              </p:txBody>
            </p:sp>
            <p:sp>
              <p:nvSpPr>
                <p:cNvPr id="1116" name="Freeform: Shape 1115">
                  <a:extLst>
                    <a:ext uri="{FF2B5EF4-FFF2-40B4-BE49-F238E27FC236}">
                      <a16:creationId xmlns:a16="http://schemas.microsoft.com/office/drawing/2014/main" id="{61E45BF9-AB41-4207-88F7-745267F82DF3}"/>
                    </a:ext>
                  </a:extLst>
                </p:cNvPr>
                <p:cNvSpPr/>
                <p:nvPr/>
              </p:nvSpPr>
              <p:spPr>
                <a:xfrm>
                  <a:off x="7743507" y="4061264"/>
                  <a:ext cx="170307" cy="142987"/>
                </a:xfrm>
                <a:custGeom>
                  <a:avLst/>
                  <a:gdLst>
                    <a:gd name="connsiteX0" fmla="*/ 156131 w 170307"/>
                    <a:gd name="connsiteY0" fmla="*/ 142987 h 142987"/>
                    <a:gd name="connsiteX1" fmla="*/ 150391 w 170307"/>
                    <a:gd name="connsiteY1" fmla="*/ 139391 h 142987"/>
                    <a:gd name="connsiteX2" fmla="*/ 130372 w 170307"/>
                    <a:gd name="connsiteY2" fmla="*/ 98072 h 142987"/>
                    <a:gd name="connsiteX3" fmla="*/ 56018 w 170307"/>
                    <a:gd name="connsiteY3" fmla="*/ 109085 h 142987"/>
                    <a:gd name="connsiteX4" fmla="*/ 53187 w 170307"/>
                    <a:gd name="connsiteY4" fmla="*/ 108849 h 142987"/>
                    <a:gd name="connsiteX5" fmla="*/ 53193 w 170307"/>
                    <a:gd name="connsiteY5" fmla="*/ 108817 h 142987"/>
                    <a:gd name="connsiteX6" fmla="*/ 13264 w 170307"/>
                    <a:gd name="connsiteY6" fmla="*/ 90859 h 142987"/>
                    <a:gd name="connsiteX7" fmla="*/ 76 w 170307"/>
                    <a:gd name="connsiteY7" fmla="*/ 53487 h 142987"/>
                    <a:gd name="connsiteX8" fmla="*/ 49915 w 170307"/>
                    <a:gd name="connsiteY8" fmla="*/ 26 h 142987"/>
                    <a:gd name="connsiteX9" fmla="*/ 53684 w 170307"/>
                    <a:gd name="connsiteY9" fmla="*/ 0 h 142987"/>
                    <a:gd name="connsiteX10" fmla="*/ 170103 w 170307"/>
                    <a:gd name="connsiteY10" fmla="*/ 71573 h 142987"/>
                    <a:gd name="connsiteX11" fmla="*/ 170148 w 170307"/>
                    <a:gd name="connsiteY11" fmla="*/ 74596 h 142987"/>
                    <a:gd name="connsiteX12" fmla="*/ 162470 w 170307"/>
                    <a:gd name="connsiteY12" fmla="*/ 137375 h 142987"/>
                    <a:gd name="connsiteX13" fmla="*/ 157189 w 170307"/>
                    <a:gd name="connsiteY13" fmla="*/ 142911 h 142987"/>
                    <a:gd name="connsiteX14" fmla="*/ 156131 w 170307"/>
                    <a:gd name="connsiteY14" fmla="*/ 142987 h 142987"/>
                    <a:gd name="connsiteX15" fmla="*/ 139906 w 170307"/>
                    <a:gd name="connsiteY15" fmla="*/ 88493 h 142987"/>
                    <a:gd name="connsiteX16" fmla="*/ 152381 w 170307"/>
                    <a:gd name="connsiteY16" fmla="*/ 114245 h 142987"/>
                    <a:gd name="connsiteX17" fmla="*/ 157629 w 170307"/>
                    <a:gd name="connsiteY17" fmla="*/ 74309 h 142987"/>
                    <a:gd name="connsiteX18" fmla="*/ 50081 w 170307"/>
                    <a:gd name="connsiteY18" fmla="*/ 12774 h 142987"/>
                    <a:gd name="connsiteX19" fmla="*/ 12811 w 170307"/>
                    <a:gd name="connsiteY19" fmla="*/ 54087 h 142987"/>
                    <a:gd name="connsiteX20" fmla="*/ 54124 w 170307"/>
                    <a:gd name="connsiteY20" fmla="*/ 96126 h 142987"/>
                    <a:gd name="connsiteX21" fmla="*/ 57109 w 170307"/>
                    <a:gd name="connsiteY21" fmla="*/ 96375 h 142987"/>
                    <a:gd name="connsiteX22" fmla="*/ 131016 w 170307"/>
                    <a:gd name="connsiteY22" fmla="*/ 83895 h 142987"/>
                    <a:gd name="connsiteX23" fmla="*/ 139333 w 170307"/>
                    <a:gd name="connsiteY23" fmla="*/ 86815 h 142987"/>
                    <a:gd name="connsiteX24" fmla="*/ 139906 w 170307"/>
                    <a:gd name="connsiteY24" fmla="*/ 88493 h 14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70307" h="142987">
                      <a:moveTo>
                        <a:pt x="156131" y="142987"/>
                      </a:moveTo>
                      <a:cubicBezTo>
                        <a:pt x="153713" y="142987"/>
                        <a:pt x="151475" y="141616"/>
                        <a:pt x="150391" y="139391"/>
                      </a:cubicBezTo>
                      <a:lnTo>
                        <a:pt x="130372" y="98072"/>
                      </a:lnTo>
                      <a:cubicBezTo>
                        <a:pt x="95660" y="112472"/>
                        <a:pt x="71987" y="110450"/>
                        <a:pt x="56018" y="109085"/>
                      </a:cubicBezTo>
                      <a:lnTo>
                        <a:pt x="53187" y="108849"/>
                      </a:lnTo>
                      <a:lnTo>
                        <a:pt x="53193" y="108817"/>
                      </a:lnTo>
                      <a:cubicBezTo>
                        <a:pt x="49201" y="108467"/>
                        <a:pt x="27913" y="105877"/>
                        <a:pt x="13264" y="90859"/>
                      </a:cubicBezTo>
                      <a:cubicBezTo>
                        <a:pt x="3794" y="81152"/>
                        <a:pt x="-645" y="68576"/>
                        <a:pt x="76" y="53487"/>
                      </a:cubicBezTo>
                      <a:cubicBezTo>
                        <a:pt x="1479" y="23858"/>
                        <a:pt x="23366" y="376"/>
                        <a:pt x="49915" y="26"/>
                      </a:cubicBezTo>
                      <a:cubicBezTo>
                        <a:pt x="51171" y="6"/>
                        <a:pt x="52441" y="0"/>
                        <a:pt x="53684" y="0"/>
                      </a:cubicBezTo>
                      <a:cubicBezTo>
                        <a:pt x="119499" y="0"/>
                        <a:pt x="157591" y="23437"/>
                        <a:pt x="170103" y="71573"/>
                      </a:cubicBezTo>
                      <a:cubicBezTo>
                        <a:pt x="170365" y="72588"/>
                        <a:pt x="170371" y="73621"/>
                        <a:pt x="170148" y="74596"/>
                      </a:cubicBezTo>
                      <a:cubicBezTo>
                        <a:pt x="169593" y="78129"/>
                        <a:pt x="165276" y="113849"/>
                        <a:pt x="162470" y="137375"/>
                      </a:cubicBezTo>
                      <a:cubicBezTo>
                        <a:pt x="162132" y="140188"/>
                        <a:pt x="159982" y="142446"/>
                        <a:pt x="157189" y="142911"/>
                      </a:cubicBezTo>
                      <a:cubicBezTo>
                        <a:pt x="156832" y="142962"/>
                        <a:pt x="156481" y="142987"/>
                        <a:pt x="156131" y="142987"/>
                      </a:cubicBezTo>
                      <a:close/>
                      <a:moveTo>
                        <a:pt x="139906" y="88493"/>
                      </a:moveTo>
                      <a:lnTo>
                        <a:pt x="152381" y="114245"/>
                      </a:lnTo>
                      <a:cubicBezTo>
                        <a:pt x="155155" y="91190"/>
                        <a:pt x="156571" y="79979"/>
                        <a:pt x="157629" y="74309"/>
                      </a:cubicBezTo>
                      <a:cubicBezTo>
                        <a:pt x="146309" y="31504"/>
                        <a:pt x="112126" y="11932"/>
                        <a:pt x="50081" y="12774"/>
                      </a:cubicBezTo>
                      <a:cubicBezTo>
                        <a:pt x="30266" y="13035"/>
                        <a:pt x="13896" y="31185"/>
                        <a:pt x="12811" y="54087"/>
                      </a:cubicBezTo>
                      <a:cubicBezTo>
                        <a:pt x="10987" y="92313"/>
                        <a:pt x="52358" y="95986"/>
                        <a:pt x="54124" y="96126"/>
                      </a:cubicBezTo>
                      <a:lnTo>
                        <a:pt x="57109" y="96375"/>
                      </a:lnTo>
                      <a:cubicBezTo>
                        <a:pt x="73556" y="97791"/>
                        <a:pt x="96075" y="99704"/>
                        <a:pt x="131016" y="83895"/>
                      </a:cubicBezTo>
                      <a:cubicBezTo>
                        <a:pt x="134116" y="82485"/>
                        <a:pt x="137789" y="83780"/>
                        <a:pt x="139333" y="86815"/>
                      </a:cubicBezTo>
                      <a:cubicBezTo>
                        <a:pt x="139600" y="87358"/>
                        <a:pt x="139792" y="87925"/>
                        <a:pt x="139906" y="88493"/>
                      </a:cubicBezTo>
                      <a:close/>
                    </a:path>
                  </a:pathLst>
                </a:custGeom>
                <a:solidFill>
                  <a:schemeClr val="accent1"/>
                </a:solidFill>
                <a:ln w="637" cap="flat">
                  <a:noFill/>
                  <a:prstDash val="solid"/>
                  <a:miter/>
                </a:ln>
              </p:spPr>
              <p:txBody>
                <a:bodyPr rtlCol="0" anchor="ctr"/>
                <a:lstStyle/>
                <a:p>
                  <a:endParaRPr lang="en-GB" dirty="0"/>
                </a:p>
              </p:txBody>
            </p:sp>
            <p:sp>
              <p:nvSpPr>
                <p:cNvPr id="1117" name="Freeform: Shape 1116">
                  <a:extLst>
                    <a:ext uri="{FF2B5EF4-FFF2-40B4-BE49-F238E27FC236}">
                      <a16:creationId xmlns:a16="http://schemas.microsoft.com/office/drawing/2014/main" id="{D670E8EB-81BE-4DF0-B1A3-452D5DB150FD}"/>
                    </a:ext>
                  </a:extLst>
                </p:cNvPr>
                <p:cNvSpPr/>
                <p:nvPr/>
              </p:nvSpPr>
              <p:spPr>
                <a:xfrm>
                  <a:off x="7687042" y="4082427"/>
                  <a:ext cx="76266" cy="119669"/>
                </a:xfrm>
                <a:custGeom>
                  <a:avLst/>
                  <a:gdLst>
                    <a:gd name="connsiteX0" fmla="*/ 10809 w 76266"/>
                    <a:gd name="connsiteY0" fmla="*/ 119669 h 119669"/>
                    <a:gd name="connsiteX1" fmla="*/ 9725 w 76266"/>
                    <a:gd name="connsiteY1" fmla="*/ 119574 h 119669"/>
                    <a:gd name="connsiteX2" fmla="*/ 4457 w 76266"/>
                    <a:gd name="connsiteY2" fmla="*/ 113866 h 119669"/>
                    <a:gd name="connsiteX3" fmla="*/ 38 w 76266"/>
                    <a:gd name="connsiteY3" fmla="*/ 60710 h 119669"/>
                    <a:gd name="connsiteX4" fmla="*/ 18 w 76266"/>
                    <a:gd name="connsiteY4" fmla="*/ 57853 h 119669"/>
                    <a:gd name="connsiteX5" fmla="*/ 31771 w 76266"/>
                    <a:gd name="connsiteY5" fmla="*/ 5877 h 119669"/>
                    <a:gd name="connsiteX6" fmla="*/ 71598 w 76266"/>
                    <a:gd name="connsiteY6" fmla="*/ 2516 h 119669"/>
                    <a:gd name="connsiteX7" fmla="*/ 75750 w 76266"/>
                    <a:gd name="connsiteY7" fmla="*/ 10520 h 119669"/>
                    <a:gd name="connsiteX8" fmla="*/ 67746 w 76266"/>
                    <a:gd name="connsiteY8" fmla="*/ 14672 h 119669"/>
                    <a:gd name="connsiteX9" fmla="*/ 36809 w 76266"/>
                    <a:gd name="connsiteY9" fmla="*/ 17586 h 119669"/>
                    <a:gd name="connsiteX10" fmla="*/ 12760 w 76266"/>
                    <a:gd name="connsiteY10" fmla="*/ 57745 h 119669"/>
                    <a:gd name="connsiteX11" fmla="*/ 12780 w 76266"/>
                    <a:gd name="connsiteY11" fmla="*/ 60717 h 119669"/>
                    <a:gd name="connsiteX12" fmla="*/ 15031 w 76266"/>
                    <a:gd name="connsiteY12" fmla="*/ 88918 h 119669"/>
                    <a:gd name="connsiteX13" fmla="*/ 20994 w 76266"/>
                    <a:gd name="connsiteY13" fmla="*/ 75997 h 119669"/>
                    <a:gd name="connsiteX14" fmla="*/ 28564 w 76266"/>
                    <a:gd name="connsiteY14" fmla="*/ 72540 h 119669"/>
                    <a:gd name="connsiteX15" fmla="*/ 37211 w 76266"/>
                    <a:gd name="connsiteY15" fmla="*/ 73784 h 119669"/>
                    <a:gd name="connsiteX16" fmla="*/ 65189 w 76266"/>
                    <a:gd name="connsiteY16" fmla="*/ 57911 h 119669"/>
                    <a:gd name="connsiteX17" fmla="*/ 74194 w 76266"/>
                    <a:gd name="connsiteY17" fmla="*/ 57509 h 119669"/>
                    <a:gd name="connsiteX18" fmla="*/ 74595 w 76266"/>
                    <a:gd name="connsiteY18" fmla="*/ 66514 h 119669"/>
                    <a:gd name="connsiteX19" fmla="*/ 37218 w 76266"/>
                    <a:gd name="connsiteY19" fmla="*/ 86539 h 119669"/>
                    <a:gd name="connsiteX20" fmla="*/ 30432 w 76266"/>
                    <a:gd name="connsiteY20" fmla="*/ 86003 h 119669"/>
                    <a:gd name="connsiteX21" fmla="*/ 16606 w 76266"/>
                    <a:gd name="connsiteY21" fmla="*/ 115964 h 119669"/>
                    <a:gd name="connsiteX22" fmla="*/ 10809 w 76266"/>
                    <a:gd name="connsiteY22" fmla="*/ 119669 h 119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6266" h="119669">
                      <a:moveTo>
                        <a:pt x="10809" y="119669"/>
                      </a:moveTo>
                      <a:cubicBezTo>
                        <a:pt x="10452" y="119669"/>
                        <a:pt x="10088" y="119637"/>
                        <a:pt x="9725" y="119574"/>
                      </a:cubicBezTo>
                      <a:cubicBezTo>
                        <a:pt x="6880" y="119082"/>
                        <a:pt x="4718" y="116748"/>
                        <a:pt x="4457" y="113866"/>
                      </a:cubicBezTo>
                      <a:cubicBezTo>
                        <a:pt x="3724" y="105767"/>
                        <a:pt x="38" y="65162"/>
                        <a:pt x="38" y="60710"/>
                      </a:cubicBezTo>
                      <a:lnTo>
                        <a:pt x="18" y="57853"/>
                      </a:lnTo>
                      <a:cubicBezTo>
                        <a:pt x="-116" y="42662"/>
                        <a:pt x="-326" y="19704"/>
                        <a:pt x="31771" y="5877"/>
                      </a:cubicBezTo>
                      <a:cubicBezTo>
                        <a:pt x="50546" y="-2215"/>
                        <a:pt x="62000" y="-519"/>
                        <a:pt x="71598" y="2516"/>
                      </a:cubicBezTo>
                      <a:cubicBezTo>
                        <a:pt x="74953" y="3575"/>
                        <a:pt x="76815" y="7159"/>
                        <a:pt x="75750" y="10520"/>
                      </a:cubicBezTo>
                      <a:cubicBezTo>
                        <a:pt x="74691" y="13875"/>
                        <a:pt x="71126" y="15762"/>
                        <a:pt x="67746" y="14672"/>
                      </a:cubicBezTo>
                      <a:cubicBezTo>
                        <a:pt x="60699" y="12446"/>
                        <a:pt x="52492" y="10833"/>
                        <a:pt x="36809" y="17586"/>
                      </a:cubicBezTo>
                      <a:cubicBezTo>
                        <a:pt x="12492" y="28064"/>
                        <a:pt x="12633" y="43153"/>
                        <a:pt x="12760" y="57745"/>
                      </a:cubicBezTo>
                      <a:lnTo>
                        <a:pt x="12780" y="60717"/>
                      </a:lnTo>
                      <a:cubicBezTo>
                        <a:pt x="12780" y="62585"/>
                        <a:pt x="13825" y="75200"/>
                        <a:pt x="15031" y="88918"/>
                      </a:cubicBezTo>
                      <a:lnTo>
                        <a:pt x="20994" y="75997"/>
                      </a:lnTo>
                      <a:cubicBezTo>
                        <a:pt x="22314" y="73140"/>
                        <a:pt x="25502" y="71660"/>
                        <a:pt x="28564" y="72540"/>
                      </a:cubicBezTo>
                      <a:cubicBezTo>
                        <a:pt x="31408" y="73369"/>
                        <a:pt x="34322" y="73784"/>
                        <a:pt x="37211" y="73784"/>
                      </a:cubicBezTo>
                      <a:cubicBezTo>
                        <a:pt x="45757" y="73784"/>
                        <a:pt x="55948" y="68000"/>
                        <a:pt x="65189" y="57911"/>
                      </a:cubicBezTo>
                      <a:cubicBezTo>
                        <a:pt x="67568" y="55309"/>
                        <a:pt x="71604" y="55130"/>
                        <a:pt x="74194" y="57509"/>
                      </a:cubicBezTo>
                      <a:cubicBezTo>
                        <a:pt x="76789" y="59881"/>
                        <a:pt x="76974" y="63918"/>
                        <a:pt x="74595" y="66514"/>
                      </a:cubicBezTo>
                      <a:cubicBezTo>
                        <a:pt x="62784" y="79422"/>
                        <a:pt x="49507" y="86539"/>
                        <a:pt x="37218" y="86539"/>
                      </a:cubicBezTo>
                      <a:cubicBezTo>
                        <a:pt x="34954" y="86539"/>
                        <a:pt x="32683" y="86360"/>
                        <a:pt x="30432" y="86003"/>
                      </a:cubicBezTo>
                      <a:lnTo>
                        <a:pt x="16606" y="115964"/>
                      </a:lnTo>
                      <a:cubicBezTo>
                        <a:pt x="15547" y="118247"/>
                        <a:pt x="13264" y="119669"/>
                        <a:pt x="10809" y="119669"/>
                      </a:cubicBezTo>
                      <a:close/>
                    </a:path>
                  </a:pathLst>
                </a:custGeom>
                <a:solidFill>
                  <a:schemeClr val="accent1"/>
                </a:solidFill>
                <a:ln w="637" cap="flat">
                  <a:noFill/>
                  <a:prstDash val="solid"/>
                  <a:miter/>
                </a:ln>
              </p:spPr>
              <p:txBody>
                <a:bodyPr rtlCol="0" anchor="ctr"/>
                <a:lstStyle/>
                <a:p>
                  <a:endParaRPr lang="en-GB" dirty="0"/>
                </a:p>
              </p:txBody>
            </p:sp>
            <p:sp>
              <p:nvSpPr>
                <p:cNvPr id="1118" name="Freeform: Shape 1117">
                  <a:extLst>
                    <a:ext uri="{FF2B5EF4-FFF2-40B4-BE49-F238E27FC236}">
                      <a16:creationId xmlns:a16="http://schemas.microsoft.com/office/drawing/2014/main" id="{3C78FD7F-2650-4776-999B-10F3AA35E079}"/>
                    </a:ext>
                  </a:extLst>
                </p:cNvPr>
                <p:cNvSpPr/>
                <p:nvPr/>
              </p:nvSpPr>
              <p:spPr>
                <a:xfrm>
                  <a:off x="7691184" y="4187909"/>
                  <a:ext cx="214237" cy="188487"/>
                </a:xfrm>
                <a:custGeom>
                  <a:avLst/>
                  <a:gdLst>
                    <a:gd name="connsiteX0" fmla="*/ 107627 w 214237"/>
                    <a:gd name="connsiteY0" fmla="*/ 188488 h 188487"/>
                    <a:gd name="connsiteX1" fmla="*/ 107302 w 214237"/>
                    <a:gd name="connsiteY1" fmla="*/ 188488 h 188487"/>
                    <a:gd name="connsiteX2" fmla="*/ 4084 w 214237"/>
                    <a:gd name="connsiteY2" fmla="*/ 82712 h 188487"/>
                    <a:gd name="connsiteX3" fmla="*/ 9 w 214237"/>
                    <a:gd name="connsiteY3" fmla="*/ 6725 h 188487"/>
                    <a:gd name="connsiteX4" fmla="*/ 6036 w 214237"/>
                    <a:gd name="connsiteY4" fmla="*/ 10 h 188487"/>
                    <a:gd name="connsiteX5" fmla="*/ 12751 w 214237"/>
                    <a:gd name="connsiteY5" fmla="*/ 6037 h 188487"/>
                    <a:gd name="connsiteX6" fmla="*/ 16833 w 214237"/>
                    <a:gd name="connsiteY6" fmla="*/ 82368 h 188487"/>
                    <a:gd name="connsiteX7" fmla="*/ 107347 w 214237"/>
                    <a:gd name="connsiteY7" fmla="*/ 175733 h 188487"/>
                    <a:gd name="connsiteX8" fmla="*/ 198397 w 214237"/>
                    <a:gd name="connsiteY8" fmla="*/ 82712 h 188487"/>
                    <a:gd name="connsiteX9" fmla="*/ 201490 w 214237"/>
                    <a:gd name="connsiteY9" fmla="*/ 9761 h 188487"/>
                    <a:gd name="connsiteX10" fmla="*/ 208129 w 214237"/>
                    <a:gd name="connsiteY10" fmla="*/ 3658 h 188487"/>
                    <a:gd name="connsiteX11" fmla="*/ 214232 w 214237"/>
                    <a:gd name="connsiteY11" fmla="*/ 10297 h 188487"/>
                    <a:gd name="connsiteX12" fmla="*/ 211146 w 214237"/>
                    <a:gd name="connsiteY12" fmla="*/ 82980 h 188487"/>
                    <a:gd name="connsiteX13" fmla="*/ 107940 w 214237"/>
                    <a:gd name="connsiteY13" fmla="*/ 188488 h 188487"/>
                    <a:gd name="connsiteX14" fmla="*/ 107627 w 214237"/>
                    <a:gd name="connsiteY14" fmla="*/ 188488 h 188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4237" h="188487">
                      <a:moveTo>
                        <a:pt x="107627" y="188488"/>
                      </a:moveTo>
                      <a:cubicBezTo>
                        <a:pt x="107475" y="188488"/>
                        <a:pt x="107309" y="188488"/>
                        <a:pt x="107302" y="188488"/>
                      </a:cubicBezTo>
                      <a:cubicBezTo>
                        <a:pt x="60843" y="188283"/>
                        <a:pt x="4084" y="139439"/>
                        <a:pt x="4084" y="82712"/>
                      </a:cubicBezTo>
                      <a:lnTo>
                        <a:pt x="9" y="6725"/>
                      </a:lnTo>
                      <a:cubicBezTo>
                        <a:pt x="-176" y="3205"/>
                        <a:pt x="2528" y="208"/>
                        <a:pt x="6036" y="10"/>
                      </a:cubicBezTo>
                      <a:cubicBezTo>
                        <a:pt x="9460" y="-188"/>
                        <a:pt x="12553" y="2523"/>
                        <a:pt x="12751" y="6037"/>
                      </a:cubicBezTo>
                      <a:lnTo>
                        <a:pt x="16833" y="82368"/>
                      </a:lnTo>
                      <a:cubicBezTo>
                        <a:pt x="16839" y="123540"/>
                        <a:pt x="59459" y="175522"/>
                        <a:pt x="107347" y="175733"/>
                      </a:cubicBezTo>
                      <a:cubicBezTo>
                        <a:pt x="155790" y="175529"/>
                        <a:pt x="198397" y="123540"/>
                        <a:pt x="198397" y="82712"/>
                      </a:cubicBezTo>
                      <a:lnTo>
                        <a:pt x="201490" y="9761"/>
                      </a:lnTo>
                      <a:cubicBezTo>
                        <a:pt x="201637" y="6235"/>
                        <a:pt x="204915" y="3499"/>
                        <a:pt x="208129" y="3658"/>
                      </a:cubicBezTo>
                      <a:cubicBezTo>
                        <a:pt x="211656" y="3805"/>
                        <a:pt x="214379" y="6776"/>
                        <a:pt x="214232" y="10297"/>
                      </a:cubicBezTo>
                      <a:lnTo>
                        <a:pt x="211146" y="82980"/>
                      </a:lnTo>
                      <a:cubicBezTo>
                        <a:pt x="211152" y="139439"/>
                        <a:pt x="154406" y="188283"/>
                        <a:pt x="107940" y="188488"/>
                      </a:cubicBezTo>
                      <a:cubicBezTo>
                        <a:pt x="107946" y="188488"/>
                        <a:pt x="107787" y="188488"/>
                        <a:pt x="107627" y="188488"/>
                      </a:cubicBezTo>
                      <a:close/>
                    </a:path>
                  </a:pathLst>
                </a:custGeom>
                <a:solidFill>
                  <a:schemeClr val="accent1"/>
                </a:solidFill>
                <a:ln w="637" cap="flat">
                  <a:noFill/>
                  <a:prstDash val="solid"/>
                  <a:miter/>
                </a:ln>
              </p:spPr>
              <p:txBody>
                <a:bodyPr rtlCol="0" anchor="ctr"/>
                <a:lstStyle/>
                <a:p>
                  <a:endParaRPr lang="en-GB" dirty="0"/>
                </a:p>
              </p:txBody>
            </p:sp>
            <p:sp>
              <p:nvSpPr>
                <p:cNvPr id="1119" name="Freeform: Shape 1118">
                  <a:extLst>
                    <a:ext uri="{FF2B5EF4-FFF2-40B4-BE49-F238E27FC236}">
                      <a16:creationId xmlns:a16="http://schemas.microsoft.com/office/drawing/2014/main" id="{CC059566-1D39-47FC-8CC6-2BAA6471E7F1}"/>
                    </a:ext>
                  </a:extLst>
                </p:cNvPr>
                <p:cNvSpPr/>
                <p:nvPr/>
              </p:nvSpPr>
              <p:spPr>
                <a:xfrm>
                  <a:off x="7766535" y="4359688"/>
                  <a:ext cx="64577" cy="44278"/>
                </a:xfrm>
                <a:custGeom>
                  <a:avLst/>
                  <a:gdLst>
                    <a:gd name="connsiteX0" fmla="*/ 32506 w 64577"/>
                    <a:gd name="connsiteY0" fmla="*/ 44278 h 44278"/>
                    <a:gd name="connsiteX1" fmla="*/ 32040 w 64577"/>
                    <a:gd name="connsiteY1" fmla="*/ 44278 h 44278"/>
                    <a:gd name="connsiteX2" fmla="*/ 31836 w 64577"/>
                    <a:gd name="connsiteY2" fmla="*/ 44266 h 44278"/>
                    <a:gd name="connsiteX3" fmla="*/ 31842 w 64577"/>
                    <a:gd name="connsiteY3" fmla="*/ 44221 h 44278"/>
                    <a:gd name="connsiteX4" fmla="*/ 9209 w 64577"/>
                    <a:gd name="connsiteY4" fmla="*/ 30586 h 44278"/>
                    <a:gd name="connsiteX5" fmla="*/ 0 w 64577"/>
                    <a:gd name="connsiteY5" fmla="*/ 12761 h 44278"/>
                    <a:gd name="connsiteX6" fmla="*/ 0 w 64577"/>
                    <a:gd name="connsiteY6" fmla="*/ 6377 h 44278"/>
                    <a:gd name="connsiteX7" fmla="*/ 6377 w 64577"/>
                    <a:gd name="connsiteY7" fmla="*/ 0 h 44278"/>
                    <a:gd name="connsiteX8" fmla="*/ 12755 w 64577"/>
                    <a:gd name="connsiteY8" fmla="*/ 6377 h 44278"/>
                    <a:gd name="connsiteX9" fmla="*/ 12755 w 64577"/>
                    <a:gd name="connsiteY9" fmla="*/ 12761 h 44278"/>
                    <a:gd name="connsiteX10" fmla="*/ 32289 w 64577"/>
                    <a:gd name="connsiteY10" fmla="*/ 30905 h 44278"/>
                    <a:gd name="connsiteX11" fmla="*/ 51823 w 64577"/>
                    <a:gd name="connsiteY11" fmla="*/ 12761 h 44278"/>
                    <a:gd name="connsiteX12" fmla="*/ 51823 w 64577"/>
                    <a:gd name="connsiteY12" fmla="*/ 6377 h 44278"/>
                    <a:gd name="connsiteX13" fmla="*/ 58200 w 64577"/>
                    <a:gd name="connsiteY13" fmla="*/ 0 h 44278"/>
                    <a:gd name="connsiteX14" fmla="*/ 64577 w 64577"/>
                    <a:gd name="connsiteY14" fmla="*/ 6377 h 44278"/>
                    <a:gd name="connsiteX15" fmla="*/ 64577 w 64577"/>
                    <a:gd name="connsiteY15" fmla="*/ 12761 h 44278"/>
                    <a:gd name="connsiteX16" fmla="*/ 55209 w 64577"/>
                    <a:gd name="connsiteY16" fmla="*/ 30726 h 44278"/>
                    <a:gd name="connsiteX17" fmla="*/ 32690 w 64577"/>
                    <a:gd name="connsiteY17" fmla="*/ 44215 h 44278"/>
                    <a:gd name="connsiteX18" fmla="*/ 32697 w 64577"/>
                    <a:gd name="connsiteY18" fmla="*/ 44266 h 44278"/>
                    <a:gd name="connsiteX19" fmla="*/ 32506 w 64577"/>
                    <a:gd name="connsiteY19" fmla="*/ 44278 h 44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4577" h="44278">
                      <a:moveTo>
                        <a:pt x="32506" y="44278"/>
                      </a:moveTo>
                      <a:cubicBezTo>
                        <a:pt x="32359" y="44278"/>
                        <a:pt x="32187" y="44278"/>
                        <a:pt x="32040" y="44278"/>
                      </a:cubicBezTo>
                      <a:cubicBezTo>
                        <a:pt x="31964" y="44278"/>
                        <a:pt x="31900" y="44272"/>
                        <a:pt x="31836" y="44266"/>
                      </a:cubicBezTo>
                      <a:lnTo>
                        <a:pt x="31842" y="44221"/>
                      </a:lnTo>
                      <a:cubicBezTo>
                        <a:pt x="27085" y="43507"/>
                        <a:pt x="14942" y="35968"/>
                        <a:pt x="9209" y="30586"/>
                      </a:cubicBezTo>
                      <a:cubicBezTo>
                        <a:pt x="3099" y="24846"/>
                        <a:pt x="0" y="18845"/>
                        <a:pt x="0" y="12761"/>
                      </a:cubicBezTo>
                      <a:lnTo>
                        <a:pt x="0" y="6377"/>
                      </a:lnTo>
                      <a:cubicBezTo>
                        <a:pt x="0" y="2851"/>
                        <a:pt x="2851" y="0"/>
                        <a:pt x="6377" y="0"/>
                      </a:cubicBezTo>
                      <a:cubicBezTo>
                        <a:pt x="9904" y="0"/>
                        <a:pt x="12755" y="2851"/>
                        <a:pt x="12755" y="6377"/>
                      </a:cubicBezTo>
                      <a:lnTo>
                        <a:pt x="12755" y="12761"/>
                      </a:lnTo>
                      <a:cubicBezTo>
                        <a:pt x="12755" y="19081"/>
                        <a:pt x="24547" y="27110"/>
                        <a:pt x="32289" y="30905"/>
                      </a:cubicBezTo>
                      <a:cubicBezTo>
                        <a:pt x="40037" y="27098"/>
                        <a:pt x="51823" y="19068"/>
                        <a:pt x="51823" y="12761"/>
                      </a:cubicBezTo>
                      <a:lnTo>
                        <a:pt x="51823" y="6377"/>
                      </a:lnTo>
                      <a:cubicBezTo>
                        <a:pt x="51823" y="2851"/>
                        <a:pt x="54673" y="0"/>
                        <a:pt x="58200" y="0"/>
                      </a:cubicBezTo>
                      <a:cubicBezTo>
                        <a:pt x="61727" y="0"/>
                        <a:pt x="64577" y="2851"/>
                        <a:pt x="64577" y="6377"/>
                      </a:cubicBezTo>
                      <a:lnTo>
                        <a:pt x="64577" y="12761"/>
                      </a:lnTo>
                      <a:cubicBezTo>
                        <a:pt x="64577" y="18896"/>
                        <a:pt x="61427" y="24942"/>
                        <a:pt x="55209" y="30726"/>
                      </a:cubicBezTo>
                      <a:cubicBezTo>
                        <a:pt x="49476" y="36071"/>
                        <a:pt x="37391" y="43519"/>
                        <a:pt x="32690" y="44215"/>
                      </a:cubicBezTo>
                      <a:lnTo>
                        <a:pt x="32697" y="44266"/>
                      </a:lnTo>
                      <a:cubicBezTo>
                        <a:pt x="32620" y="44278"/>
                        <a:pt x="32563" y="44278"/>
                        <a:pt x="32506" y="44278"/>
                      </a:cubicBezTo>
                      <a:close/>
                    </a:path>
                  </a:pathLst>
                </a:custGeom>
                <a:solidFill>
                  <a:schemeClr val="accent1"/>
                </a:solidFill>
                <a:ln w="637" cap="flat">
                  <a:noFill/>
                  <a:prstDash val="solid"/>
                  <a:miter/>
                </a:ln>
              </p:spPr>
              <p:txBody>
                <a:bodyPr rtlCol="0" anchor="ctr"/>
                <a:lstStyle/>
                <a:p>
                  <a:endParaRPr lang="en-GB" dirty="0"/>
                </a:p>
              </p:txBody>
            </p:sp>
            <p:sp>
              <p:nvSpPr>
                <p:cNvPr id="1120" name="Freeform: Shape 1119">
                  <a:extLst>
                    <a:ext uri="{FF2B5EF4-FFF2-40B4-BE49-F238E27FC236}">
                      <a16:creationId xmlns:a16="http://schemas.microsoft.com/office/drawing/2014/main" id="{084217A7-B74F-41A9-8000-C56759F1C26F}"/>
                    </a:ext>
                  </a:extLst>
                </p:cNvPr>
                <p:cNvSpPr/>
                <p:nvPr/>
              </p:nvSpPr>
              <p:spPr>
                <a:xfrm>
                  <a:off x="7663719" y="4354573"/>
                  <a:ext cx="266020" cy="130022"/>
                </a:xfrm>
                <a:custGeom>
                  <a:avLst/>
                  <a:gdLst>
                    <a:gd name="connsiteX0" fmla="*/ 143000 w 266020"/>
                    <a:gd name="connsiteY0" fmla="*/ 130023 h 130022"/>
                    <a:gd name="connsiteX1" fmla="*/ 135347 w 266020"/>
                    <a:gd name="connsiteY1" fmla="*/ 129985 h 130022"/>
                    <a:gd name="connsiteX2" fmla="*/ 4643 w 266020"/>
                    <a:gd name="connsiteY2" fmla="*/ 116987 h 130022"/>
                    <a:gd name="connsiteX3" fmla="*/ 0 w 266020"/>
                    <a:gd name="connsiteY3" fmla="*/ 110852 h 130022"/>
                    <a:gd name="connsiteX4" fmla="*/ 0 w 266020"/>
                    <a:gd name="connsiteY4" fmla="*/ 76491 h 130022"/>
                    <a:gd name="connsiteX5" fmla="*/ 96311 w 266020"/>
                    <a:gd name="connsiteY5" fmla="*/ 90 h 130022"/>
                    <a:gd name="connsiteX6" fmla="*/ 103614 w 266020"/>
                    <a:gd name="connsiteY6" fmla="*/ 5383 h 130022"/>
                    <a:gd name="connsiteX7" fmla="*/ 98321 w 266020"/>
                    <a:gd name="connsiteY7" fmla="*/ 12685 h 130022"/>
                    <a:gd name="connsiteX8" fmla="*/ 12761 w 266020"/>
                    <a:gd name="connsiteY8" fmla="*/ 76497 h 130022"/>
                    <a:gd name="connsiteX9" fmla="*/ 12761 w 266020"/>
                    <a:gd name="connsiteY9" fmla="*/ 105852 h 130022"/>
                    <a:gd name="connsiteX10" fmla="*/ 135475 w 266020"/>
                    <a:gd name="connsiteY10" fmla="*/ 117236 h 130022"/>
                    <a:gd name="connsiteX11" fmla="*/ 253266 w 266020"/>
                    <a:gd name="connsiteY11" fmla="*/ 106133 h 130022"/>
                    <a:gd name="connsiteX12" fmla="*/ 253266 w 266020"/>
                    <a:gd name="connsiteY12" fmla="*/ 76504 h 130022"/>
                    <a:gd name="connsiteX13" fmla="*/ 169805 w 266020"/>
                    <a:gd name="connsiteY13" fmla="*/ 13023 h 130022"/>
                    <a:gd name="connsiteX14" fmla="*/ 164594 w 266020"/>
                    <a:gd name="connsiteY14" fmla="*/ 5670 h 130022"/>
                    <a:gd name="connsiteX15" fmla="*/ 171947 w 266020"/>
                    <a:gd name="connsiteY15" fmla="*/ 460 h 130022"/>
                    <a:gd name="connsiteX16" fmla="*/ 266021 w 266020"/>
                    <a:gd name="connsiteY16" fmla="*/ 76510 h 130022"/>
                    <a:gd name="connsiteX17" fmla="*/ 266021 w 266020"/>
                    <a:gd name="connsiteY17" fmla="*/ 110859 h 130022"/>
                    <a:gd name="connsiteX18" fmla="*/ 261824 w 266020"/>
                    <a:gd name="connsiteY18" fmla="*/ 116847 h 130022"/>
                    <a:gd name="connsiteX19" fmla="*/ 143000 w 266020"/>
                    <a:gd name="connsiteY19" fmla="*/ 130023 h 130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020" h="130022">
                      <a:moveTo>
                        <a:pt x="143000" y="130023"/>
                      </a:moveTo>
                      <a:cubicBezTo>
                        <a:pt x="140488" y="130023"/>
                        <a:pt x="137943" y="130010"/>
                        <a:pt x="135347" y="129985"/>
                      </a:cubicBezTo>
                      <a:cubicBezTo>
                        <a:pt x="48596" y="129162"/>
                        <a:pt x="6397" y="117485"/>
                        <a:pt x="4643" y="116987"/>
                      </a:cubicBezTo>
                      <a:cubicBezTo>
                        <a:pt x="1894" y="116209"/>
                        <a:pt x="0" y="113703"/>
                        <a:pt x="0" y="110852"/>
                      </a:cubicBezTo>
                      <a:lnTo>
                        <a:pt x="0" y="76491"/>
                      </a:lnTo>
                      <a:cubicBezTo>
                        <a:pt x="0" y="39400"/>
                        <a:pt x="37805" y="9401"/>
                        <a:pt x="96311" y="90"/>
                      </a:cubicBezTo>
                      <a:cubicBezTo>
                        <a:pt x="99800" y="-503"/>
                        <a:pt x="103065" y="1907"/>
                        <a:pt x="103614" y="5383"/>
                      </a:cubicBezTo>
                      <a:cubicBezTo>
                        <a:pt x="104169" y="8859"/>
                        <a:pt x="101803" y="12130"/>
                        <a:pt x="98321" y="12685"/>
                      </a:cubicBezTo>
                      <a:cubicBezTo>
                        <a:pt x="47148" y="20835"/>
                        <a:pt x="12761" y="46485"/>
                        <a:pt x="12761" y="76497"/>
                      </a:cubicBezTo>
                      <a:lnTo>
                        <a:pt x="12761" y="105852"/>
                      </a:lnTo>
                      <a:cubicBezTo>
                        <a:pt x="25848" y="108812"/>
                        <a:pt x="66586" y="116586"/>
                        <a:pt x="135475" y="117236"/>
                      </a:cubicBezTo>
                      <a:cubicBezTo>
                        <a:pt x="203847" y="117925"/>
                        <a:pt x="241372" y="109411"/>
                        <a:pt x="253266" y="106133"/>
                      </a:cubicBezTo>
                      <a:lnTo>
                        <a:pt x="253266" y="76504"/>
                      </a:lnTo>
                      <a:cubicBezTo>
                        <a:pt x="253266" y="46568"/>
                        <a:pt x="220505" y="21645"/>
                        <a:pt x="169805" y="13023"/>
                      </a:cubicBezTo>
                      <a:cubicBezTo>
                        <a:pt x="166335" y="12436"/>
                        <a:pt x="164001" y="9146"/>
                        <a:pt x="164594" y="5670"/>
                      </a:cubicBezTo>
                      <a:cubicBezTo>
                        <a:pt x="165181" y="2201"/>
                        <a:pt x="168478" y="-114"/>
                        <a:pt x="171947" y="460"/>
                      </a:cubicBezTo>
                      <a:cubicBezTo>
                        <a:pt x="229095" y="10179"/>
                        <a:pt x="266021" y="40031"/>
                        <a:pt x="266021" y="76510"/>
                      </a:cubicBezTo>
                      <a:lnTo>
                        <a:pt x="266021" y="110859"/>
                      </a:lnTo>
                      <a:cubicBezTo>
                        <a:pt x="266021" y="113544"/>
                        <a:pt x="264343" y="115935"/>
                        <a:pt x="261824" y="116847"/>
                      </a:cubicBezTo>
                      <a:cubicBezTo>
                        <a:pt x="260294" y="117402"/>
                        <a:pt x="224619" y="130023"/>
                        <a:pt x="143000" y="130023"/>
                      </a:cubicBezTo>
                      <a:close/>
                    </a:path>
                  </a:pathLst>
                </a:custGeom>
                <a:solidFill>
                  <a:schemeClr val="accent1"/>
                </a:solidFill>
                <a:ln w="637" cap="flat">
                  <a:noFill/>
                  <a:prstDash val="solid"/>
                  <a:miter/>
                </a:ln>
              </p:spPr>
              <p:txBody>
                <a:bodyPr rtlCol="0" anchor="ctr"/>
                <a:lstStyle/>
                <a:p>
                  <a:endParaRPr lang="en-GB" dirty="0"/>
                </a:p>
              </p:txBody>
            </p:sp>
          </p:grpSp>
          <p:grpSp>
            <p:nvGrpSpPr>
              <p:cNvPr id="1109" name="Graphic 32">
                <a:extLst>
                  <a:ext uri="{FF2B5EF4-FFF2-40B4-BE49-F238E27FC236}">
                    <a16:creationId xmlns:a16="http://schemas.microsoft.com/office/drawing/2014/main" id="{FDF5F60C-2F42-4602-BB1C-8E18F05061C7}"/>
                  </a:ext>
                </a:extLst>
              </p:cNvPr>
              <p:cNvGrpSpPr/>
              <p:nvPr/>
            </p:nvGrpSpPr>
            <p:grpSpPr>
              <a:xfrm>
                <a:off x="3966288" y="4273323"/>
                <a:ext cx="153456" cy="81001"/>
                <a:chOff x="7720206" y="4273323"/>
                <a:chExt cx="153456" cy="81001"/>
              </a:xfrm>
              <a:solidFill>
                <a:schemeClr val="accent1"/>
              </a:solidFill>
            </p:grpSpPr>
            <p:sp>
              <p:nvSpPr>
                <p:cNvPr id="1110" name="Freeform: Shape 1109">
                  <a:extLst>
                    <a:ext uri="{FF2B5EF4-FFF2-40B4-BE49-F238E27FC236}">
                      <a16:creationId xmlns:a16="http://schemas.microsoft.com/office/drawing/2014/main" id="{F43816E2-C09B-4FB6-9080-8F8ECBA38DAF}"/>
                    </a:ext>
                  </a:extLst>
                </p:cNvPr>
                <p:cNvSpPr/>
                <p:nvPr/>
              </p:nvSpPr>
              <p:spPr>
                <a:xfrm>
                  <a:off x="7744867" y="4285627"/>
                  <a:ext cx="108333" cy="68697"/>
                </a:xfrm>
                <a:custGeom>
                  <a:avLst/>
                  <a:gdLst>
                    <a:gd name="connsiteX0" fmla="*/ 6376 w 108333"/>
                    <a:gd name="connsiteY0" fmla="*/ 68697 h 68697"/>
                    <a:gd name="connsiteX1" fmla="*/ 3436 w 108333"/>
                    <a:gd name="connsiteY1" fmla="*/ 67977 h 68697"/>
                    <a:gd name="connsiteX2" fmla="*/ 687 w 108333"/>
                    <a:gd name="connsiteY2" fmla="*/ 59444 h 68697"/>
                    <a:gd name="connsiteX3" fmla="*/ 4532 w 108333"/>
                    <a:gd name="connsiteY3" fmla="*/ 33781 h 68697"/>
                    <a:gd name="connsiteX4" fmla="*/ 942 w 108333"/>
                    <a:gd name="connsiteY4" fmla="*/ 9700 h 68697"/>
                    <a:gd name="connsiteX5" fmla="*/ 904 w 108333"/>
                    <a:gd name="connsiteY5" fmla="*/ 3259 h 68697"/>
                    <a:gd name="connsiteX6" fmla="*/ 6382 w 108333"/>
                    <a:gd name="connsiteY6" fmla="*/ 0 h 68697"/>
                    <a:gd name="connsiteX7" fmla="*/ 101954 w 108333"/>
                    <a:gd name="connsiteY7" fmla="*/ 0 h 68697"/>
                    <a:gd name="connsiteX8" fmla="*/ 107617 w 108333"/>
                    <a:gd name="connsiteY8" fmla="*/ 3438 h 68697"/>
                    <a:gd name="connsiteX9" fmla="*/ 107170 w 108333"/>
                    <a:gd name="connsiteY9" fmla="*/ 10044 h 68697"/>
                    <a:gd name="connsiteX10" fmla="*/ 107170 w 108333"/>
                    <a:gd name="connsiteY10" fmla="*/ 10044 h 68697"/>
                    <a:gd name="connsiteX11" fmla="*/ 103274 w 108333"/>
                    <a:gd name="connsiteY11" fmla="*/ 34674 h 68697"/>
                    <a:gd name="connsiteX12" fmla="*/ 107648 w 108333"/>
                    <a:gd name="connsiteY12" fmla="*/ 59437 h 68697"/>
                    <a:gd name="connsiteX13" fmla="*/ 104836 w 108333"/>
                    <a:gd name="connsiteY13" fmla="*/ 67983 h 68697"/>
                    <a:gd name="connsiteX14" fmla="*/ 96303 w 108333"/>
                    <a:gd name="connsiteY14" fmla="*/ 65253 h 68697"/>
                    <a:gd name="connsiteX15" fmla="*/ 90525 w 108333"/>
                    <a:gd name="connsiteY15" fmla="*/ 34859 h 68697"/>
                    <a:gd name="connsiteX16" fmla="*/ 92738 w 108333"/>
                    <a:gd name="connsiteY16" fmla="*/ 12748 h 68697"/>
                    <a:gd name="connsiteX17" fmla="*/ 15329 w 108333"/>
                    <a:gd name="connsiteY17" fmla="*/ 12748 h 68697"/>
                    <a:gd name="connsiteX18" fmla="*/ 17300 w 108333"/>
                    <a:gd name="connsiteY18" fmla="*/ 33890 h 68697"/>
                    <a:gd name="connsiteX19" fmla="*/ 12051 w 108333"/>
                    <a:gd name="connsiteY19" fmla="*/ 65260 h 68697"/>
                    <a:gd name="connsiteX20" fmla="*/ 6376 w 108333"/>
                    <a:gd name="connsiteY20" fmla="*/ 68697 h 68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8333" h="68697">
                      <a:moveTo>
                        <a:pt x="6376" y="68697"/>
                      </a:moveTo>
                      <a:cubicBezTo>
                        <a:pt x="5387" y="68697"/>
                        <a:pt x="4380" y="68468"/>
                        <a:pt x="3436" y="67977"/>
                      </a:cubicBezTo>
                      <a:cubicBezTo>
                        <a:pt x="336" y="66363"/>
                        <a:pt x="-888" y="62556"/>
                        <a:pt x="687" y="59444"/>
                      </a:cubicBezTo>
                      <a:cubicBezTo>
                        <a:pt x="821" y="59157"/>
                        <a:pt x="4367" y="51434"/>
                        <a:pt x="4532" y="33781"/>
                      </a:cubicBezTo>
                      <a:cubicBezTo>
                        <a:pt x="4692" y="16422"/>
                        <a:pt x="974" y="9764"/>
                        <a:pt x="942" y="9700"/>
                      </a:cubicBezTo>
                      <a:cubicBezTo>
                        <a:pt x="-200" y="7723"/>
                        <a:pt x="-238" y="5229"/>
                        <a:pt x="904" y="3259"/>
                      </a:cubicBezTo>
                      <a:cubicBezTo>
                        <a:pt x="2045" y="1282"/>
                        <a:pt x="4105" y="0"/>
                        <a:pt x="6382" y="0"/>
                      </a:cubicBezTo>
                      <a:lnTo>
                        <a:pt x="101954" y="0"/>
                      </a:lnTo>
                      <a:cubicBezTo>
                        <a:pt x="104332" y="0"/>
                        <a:pt x="106520" y="1327"/>
                        <a:pt x="107617" y="3438"/>
                      </a:cubicBezTo>
                      <a:cubicBezTo>
                        <a:pt x="108714" y="5555"/>
                        <a:pt x="108542" y="8099"/>
                        <a:pt x="107170" y="10044"/>
                      </a:cubicBezTo>
                      <a:lnTo>
                        <a:pt x="107170" y="10044"/>
                      </a:lnTo>
                      <a:cubicBezTo>
                        <a:pt x="107183" y="10044"/>
                        <a:pt x="103006" y="16945"/>
                        <a:pt x="103274" y="34674"/>
                      </a:cubicBezTo>
                      <a:cubicBezTo>
                        <a:pt x="103516" y="50943"/>
                        <a:pt x="107610" y="59348"/>
                        <a:pt x="107648" y="59437"/>
                      </a:cubicBezTo>
                      <a:cubicBezTo>
                        <a:pt x="109205" y="62569"/>
                        <a:pt x="107961" y="66401"/>
                        <a:pt x="104836" y="67983"/>
                      </a:cubicBezTo>
                      <a:cubicBezTo>
                        <a:pt x="101724" y="69565"/>
                        <a:pt x="97910" y="68365"/>
                        <a:pt x="96303" y="65253"/>
                      </a:cubicBezTo>
                      <a:cubicBezTo>
                        <a:pt x="96080" y="64820"/>
                        <a:pt x="90819" y="54437"/>
                        <a:pt x="90525" y="34859"/>
                      </a:cubicBezTo>
                      <a:cubicBezTo>
                        <a:pt x="90385" y="25076"/>
                        <a:pt x="91444" y="17850"/>
                        <a:pt x="92738" y="12748"/>
                      </a:cubicBezTo>
                      <a:lnTo>
                        <a:pt x="15329" y="12748"/>
                      </a:lnTo>
                      <a:cubicBezTo>
                        <a:pt x="16458" y="17653"/>
                        <a:pt x="17383" y="24559"/>
                        <a:pt x="17300" y="33890"/>
                      </a:cubicBezTo>
                      <a:cubicBezTo>
                        <a:pt x="17109" y="54954"/>
                        <a:pt x="12568" y="64265"/>
                        <a:pt x="12051" y="65260"/>
                      </a:cubicBezTo>
                      <a:cubicBezTo>
                        <a:pt x="10904" y="67441"/>
                        <a:pt x="8684" y="68697"/>
                        <a:pt x="6376" y="68697"/>
                      </a:cubicBezTo>
                      <a:close/>
                    </a:path>
                  </a:pathLst>
                </a:custGeom>
                <a:solidFill>
                  <a:schemeClr val="accent1"/>
                </a:solidFill>
                <a:ln w="637" cap="flat">
                  <a:noFill/>
                  <a:prstDash val="solid"/>
                  <a:miter/>
                </a:ln>
              </p:spPr>
              <p:txBody>
                <a:bodyPr rtlCol="0" anchor="ctr"/>
                <a:lstStyle/>
                <a:p>
                  <a:endParaRPr lang="en-GB" dirty="0"/>
                </a:p>
              </p:txBody>
            </p:sp>
            <p:sp>
              <p:nvSpPr>
                <p:cNvPr id="1111" name="Freeform: Shape 1110">
                  <a:extLst>
                    <a:ext uri="{FF2B5EF4-FFF2-40B4-BE49-F238E27FC236}">
                      <a16:creationId xmlns:a16="http://schemas.microsoft.com/office/drawing/2014/main" id="{E80A4864-944E-4ECD-AE83-030382DE30C4}"/>
                    </a:ext>
                  </a:extLst>
                </p:cNvPr>
                <p:cNvSpPr/>
                <p:nvPr/>
              </p:nvSpPr>
              <p:spPr>
                <a:xfrm>
                  <a:off x="7720206" y="4273323"/>
                  <a:ext cx="37824" cy="26079"/>
                </a:xfrm>
                <a:custGeom>
                  <a:avLst/>
                  <a:gdLst>
                    <a:gd name="connsiteX0" fmla="*/ 31437 w 37824"/>
                    <a:gd name="connsiteY0" fmla="*/ 26080 h 26079"/>
                    <a:gd name="connsiteX1" fmla="*/ 28453 w 37824"/>
                    <a:gd name="connsiteY1" fmla="*/ 25334 h 26079"/>
                    <a:gd name="connsiteX2" fmla="*/ 3390 w 37824"/>
                    <a:gd name="connsiteY2" fmla="*/ 12017 h 26079"/>
                    <a:gd name="connsiteX3" fmla="*/ 749 w 37824"/>
                    <a:gd name="connsiteY3" fmla="*/ 3395 h 26079"/>
                    <a:gd name="connsiteX4" fmla="*/ 9372 w 37824"/>
                    <a:gd name="connsiteY4" fmla="*/ 755 h 26079"/>
                    <a:gd name="connsiteX5" fmla="*/ 34435 w 37824"/>
                    <a:gd name="connsiteY5" fmla="*/ 14071 h 26079"/>
                    <a:gd name="connsiteX6" fmla="*/ 37075 w 37824"/>
                    <a:gd name="connsiteY6" fmla="*/ 22693 h 26079"/>
                    <a:gd name="connsiteX7" fmla="*/ 31437 w 37824"/>
                    <a:gd name="connsiteY7" fmla="*/ 26080 h 26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24" h="26079">
                      <a:moveTo>
                        <a:pt x="31437" y="26080"/>
                      </a:moveTo>
                      <a:cubicBezTo>
                        <a:pt x="30430" y="26080"/>
                        <a:pt x="29410" y="25844"/>
                        <a:pt x="28453" y="25334"/>
                      </a:cubicBezTo>
                      <a:lnTo>
                        <a:pt x="3390" y="12017"/>
                      </a:lnTo>
                      <a:cubicBezTo>
                        <a:pt x="278" y="10366"/>
                        <a:pt x="-909" y="6508"/>
                        <a:pt x="749" y="3395"/>
                      </a:cubicBezTo>
                      <a:cubicBezTo>
                        <a:pt x="2401" y="283"/>
                        <a:pt x="6259" y="-916"/>
                        <a:pt x="9372" y="755"/>
                      </a:cubicBezTo>
                      <a:lnTo>
                        <a:pt x="34435" y="14071"/>
                      </a:lnTo>
                      <a:cubicBezTo>
                        <a:pt x="37547" y="15723"/>
                        <a:pt x="38733" y="19581"/>
                        <a:pt x="37075" y="22693"/>
                      </a:cubicBezTo>
                      <a:cubicBezTo>
                        <a:pt x="35927" y="24855"/>
                        <a:pt x="33721" y="26080"/>
                        <a:pt x="31437" y="26080"/>
                      </a:cubicBezTo>
                      <a:close/>
                    </a:path>
                  </a:pathLst>
                </a:custGeom>
                <a:solidFill>
                  <a:schemeClr val="accent1"/>
                </a:solidFill>
                <a:ln w="637" cap="flat">
                  <a:noFill/>
                  <a:prstDash val="solid"/>
                  <a:miter/>
                </a:ln>
              </p:spPr>
              <p:txBody>
                <a:bodyPr rtlCol="0" anchor="ctr"/>
                <a:lstStyle/>
                <a:p>
                  <a:endParaRPr lang="en-GB" dirty="0"/>
                </a:p>
              </p:txBody>
            </p:sp>
            <p:sp>
              <p:nvSpPr>
                <p:cNvPr id="1112" name="Freeform: Shape 1111">
                  <a:extLst>
                    <a:ext uri="{FF2B5EF4-FFF2-40B4-BE49-F238E27FC236}">
                      <a16:creationId xmlns:a16="http://schemas.microsoft.com/office/drawing/2014/main" id="{6E479385-F5F1-4D4B-BF8B-1E1156652123}"/>
                    </a:ext>
                  </a:extLst>
                </p:cNvPr>
                <p:cNvSpPr/>
                <p:nvPr/>
              </p:nvSpPr>
              <p:spPr>
                <a:xfrm>
                  <a:off x="7840866" y="4275724"/>
                  <a:ext cx="32797" cy="23678"/>
                </a:xfrm>
                <a:custGeom>
                  <a:avLst/>
                  <a:gdLst>
                    <a:gd name="connsiteX0" fmla="*/ 6387 w 32797"/>
                    <a:gd name="connsiteY0" fmla="*/ 23678 h 23678"/>
                    <a:gd name="connsiteX1" fmla="*/ 782 w 32797"/>
                    <a:gd name="connsiteY1" fmla="*/ 20356 h 23678"/>
                    <a:gd name="connsiteX2" fmla="*/ 3326 w 32797"/>
                    <a:gd name="connsiteY2" fmla="*/ 11708 h 23678"/>
                    <a:gd name="connsiteX3" fmla="*/ 23371 w 32797"/>
                    <a:gd name="connsiteY3" fmla="*/ 783 h 23678"/>
                    <a:gd name="connsiteX4" fmla="*/ 32018 w 32797"/>
                    <a:gd name="connsiteY4" fmla="*/ 3328 h 23678"/>
                    <a:gd name="connsiteX5" fmla="*/ 29474 w 32797"/>
                    <a:gd name="connsiteY5" fmla="*/ 11976 h 23678"/>
                    <a:gd name="connsiteX6" fmla="*/ 9429 w 32797"/>
                    <a:gd name="connsiteY6" fmla="*/ 22900 h 23678"/>
                    <a:gd name="connsiteX7" fmla="*/ 6387 w 32797"/>
                    <a:gd name="connsiteY7" fmla="*/ 23678 h 23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97" h="23678">
                      <a:moveTo>
                        <a:pt x="6387" y="23678"/>
                      </a:moveTo>
                      <a:cubicBezTo>
                        <a:pt x="4130" y="23678"/>
                        <a:pt x="1943" y="22479"/>
                        <a:pt x="782" y="20356"/>
                      </a:cubicBezTo>
                      <a:cubicBezTo>
                        <a:pt x="-908" y="17269"/>
                        <a:pt x="233" y="13391"/>
                        <a:pt x="3326" y="11708"/>
                      </a:cubicBezTo>
                      <a:lnTo>
                        <a:pt x="23371" y="783"/>
                      </a:lnTo>
                      <a:cubicBezTo>
                        <a:pt x="26483" y="-913"/>
                        <a:pt x="30335" y="241"/>
                        <a:pt x="32018" y="3328"/>
                      </a:cubicBezTo>
                      <a:cubicBezTo>
                        <a:pt x="33702" y="6414"/>
                        <a:pt x="32567" y="10292"/>
                        <a:pt x="29474" y="11976"/>
                      </a:cubicBezTo>
                      <a:lnTo>
                        <a:pt x="9429" y="22900"/>
                      </a:lnTo>
                      <a:cubicBezTo>
                        <a:pt x="8460" y="23429"/>
                        <a:pt x="7414" y="23678"/>
                        <a:pt x="6387" y="23678"/>
                      </a:cubicBezTo>
                      <a:close/>
                    </a:path>
                  </a:pathLst>
                </a:custGeom>
                <a:solidFill>
                  <a:schemeClr val="accent1"/>
                </a:solidFill>
                <a:ln w="637" cap="flat">
                  <a:noFill/>
                  <a:prstDash val="solid"/>
                  <a:miter/>
                </a:ln>
              </p:spPr>
              <p:txBody>
                <a:bodyPr rtlCol="0" anchor="ctr"/>
                <a:lstStyle/>
                <a:p>
                  <a:endParaRPr lang="en-GB" dirty="0"/>
                </a:p>
              </p:txBody>
            </p:sp>
          </p:grpSp>
        </p:grpSp>
      </p:grpSp>
      <p:grpSp>
        <p:nvGrpSpPr>
          <p:cNvPr id="22" name="Group 21">
            <a:extLst>
              <a:ext uri="{FF2B5EF4-FFF2-40B4-BE49-F238E27FC236}">
                <a16:creationId xmlns:a16="http://schemas.microsoft.com/office/drawing/2014/main" id="{E93FECCE-2FFE-169F-21CA-31385F48CF79}"/>
              </a:ext>
            </a:extLst>
          </p:cNvPr>
          <p:cNvGrpSpPr/>
          <p:nvPr/>
        </p:nvGrpSpPr>
        <p:grpSpPr>
          <a:xfrm>
            <a:off x="5033638" y="3235870"/>
            <a:ext cx="359260" cy="406185"/>
            <a:chOff x="5033226" y="3235870"/>
            <a:chExt cx="359260" cy="406185"/>
          </a:xfrm>
        </p:grpSpPr>
        <p:grpSp>
          <p:nvGrpSpPr>
            <p:cNvPr id="1137" name="Group 1136">
              <a:extLst>
                <a:ext uri="{FF2B5EF4-FFF2-40B4-BE49-F238E27FC236}">
                  <a16:creationId xmlns:a16="http://schemas.microsoft.com/office/drawing/2014/main" id="{7D882E1A-EAF5-4F33-A552-018789C8BAE7}"/>
                </a:ext>
              </a:extLst>
            </p:cNvPr>
            <p:cNvGrpSpPr/>
            <p:nvPr/>
          </p:nvGrpSpPr>
          <p:grpSpPr>
            <a:xfrm>
              <a:off x="5033226" y="3235870"/>
              <a:ext cx="359260" cy="406185"/>
              <a:chOff x="2705288" y="2448865"/>
              <a:chExt cx="359260" cy="406185"/>
            </a:xfrm>
            <a:solidFill>
              <a:schemeClr val="tx2"/>
            </a:solidFill>
          </p:grpSpPr>
          <p:sp>
            <p:nvSpPr>
              <p:cNvPr id="1142" name="Freeform: Shape 1141">
                <a:extLst>
                  <a:ext uri="{FF2B5EF4-FFF2-40B4-BE49-F238E27FC236}">
                    <a16:creationId xmlns:a16="http://schemas.microsoft.com/office/drawing/2014/main" id="{1CD7770F-4548-4AF4-9375-E0371C319B3B}"/>
                  </a:ext>
                </a:extLst>
              </p:cNvPr>
              <p:cNvSpPr/>
              <p:nvPr/>
            </p:nvSpPr>
            <p:spPr>
              <a:xfrm>
                <a:off x="2705288" y="2448865"/>
                <a:ext cx="359260" cy="406185"/>
              </a:xfrm>
              <a:custGeom>
                <a:avLst/>
                <a:gdLst>
                  <a:gd name="connsiteX0" fmla="*/ 179640 w 359260"/>
                  <a:gd name="connsiteY0" fmla="*/ 406186 h 406185"/>
                  <a:gd name="connsiteX1" fmla="*/ 177548 w 359260"/>
                  <a:gd name="connsiteY1" fmla="*/ 405829 h 406185"/>
                  <a:gd name="connsiteX2" fmla="*/ 2 w 359260"/>
                  <a:gd name="connsiteY2" fmla="*/ 129063 h 406185"/>
                  <a:gd name="connsiteX3" fmla="*/ 3936 w 359260"/>
                  <a:gd name="connsiteY3" fmla="*/ 123029 h 406185"/>
                  <a:gd name="connsiteX4" fmla="*/ 47564 w 359260"/>
                  <a:gd name="connsiteY4" fmla="*/ 104937 h 406185"/>
                  <a:gd name="connsiteX5" fmla="*/ 57641 w 359260"/>
                  <a:gd name="connsiteY5" fmla="*/ 62157 h 406185"/>
                  <a:gd name="connsiteX6" fmla="*/ 61021 w 359260"/>
                  <a:gd name="connsiteY6" fmla="*/ 57904 h 406185"/>
                  <a:gd name="connsiteX7" fmla="*/ 176802 w 359260"/>
                  <a:gd name="connsiteY7" fmla="*/ 660 h 406185"/>
                  <a:gd name="connsiteX8" fmla="*/ 182459 w 359260"/>
                  <a:gd name="connsiteY8" fmla="*/ 660 h 406185"/>
                  <a:gd name="connsiteX9" fmla="*/ 298234 w 359260"/>
                  <a:gd name="connsiteY9" fmla="*/ 57904 h 406185"/>
                  <a:gd name="connsiteX10" fmla="*/ 301614 w 359260"/>
                  <a:gd name="connsiteY10" fmla="*/ 62157 h 406185"/>
                  <a:gd name="connsiteX11" fmla="*/ 311690 w 359260"/>
                  <a:gd name="connsiteY11" fmla="*/ 104937 h 406185"/>
                  <a:gd name="connsiteX12" fmla="*/ 355325 w 359260"/>
                  <a:gd name="connsiteY12" fmla="*/ 123029 h 406185"/>
                  <a:gd name="connsiteX13" fmla="*/ 359259 w 359260"/>
                  <a:gd name="connsiteY13" fmla="*/ 129063 h 406185"/>
                  <a:gd name="connsiteX14" fmla="*/ 181713 w 359260"/>
                  <a:gd name="connsiteY14" fmla="*/ 405829 h 406185"/>
                  <a:gd name="connsiteX15" fmla="*/ 179640 w 359260"/>
                  <a:gd name="connsiteY15" fmla="*/ 406186 h 406185"/>
                  <a:gd name="connsiteX16" fmla="*/ 12973 w 359260"/>
                  <a:gd name="connsiteY16" fmla="*/ 133093 h 406185"/>
                  <a:gd name="connsiteX17" fmla="*/ 179640 w 359260"/>
                  <a:gd name="connsiteY17" fmla="*/ 393048 h 406185"/>
                  <a:gd name="connsiteX18" fmla="*/ 346294 w 359260"/>
                  <a:gd name="connsiteY18" fmla="*/ 133099 h 406185"/>
                  <a:gd name="connsiteX19" fmla="*/ 303802 w 359260"/>
                  <a:gd name="connsiteY19" fmla="*/ 115472 h 406185"/>
                  <a:gd name="connsiteX20" fmla="*/ 300033 w 359260"/>
                  <a:gd name="connsiteY20" fmla="*/ 111046 h 406185"/>
                  <a:gd name="connsiteX21" fmla="*/ 289892 w 359260"/>
                  <a:gd name="connsiteY21" fmla="*/ 68012 h 406185"/>
                  <a:gd name="connsiteX22" fmla="*/ 179634 w 359260"/>
                  <a:gd name="connsiteY22" fmla="*/ 13498 h 406185"/>
                  <a:gd name="connsiteX23" fmla="*/ 69368 w 359260"/>
                  <a:gd name="connsiteY23" fmla="*/ 68005 h 406185"/>
                  <a:gd name="connsiteX24" fmla="*/ 59235 w 359260"/>
                  <a:gd name="connsiteY24" fmla="*/ 111040 h 406185"/>
                  <a:gd name="connsiteX25" fmla="*/ 55466 w 359260"/>
                  <a:gd name="connsiteY25" fmla="*/ 115466 h 406185"/>
                  <a:gd name="connsiteX26" fmla="*/ 12973 w 359260"/>
                  <a:gd name="connsiteY26" fmla="*/ 133093 h 40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9260" h="406185">
                    <a:moveTo>
                      <a:pt x="179640" y="406186"/>
                    </a:moveTo>
                    <a:cubicBezTo>
                      <a:pt x="178932" y="406186"/>
                      <a:pt x="178224" y="406065"/>
                      <a:pt x="177548" y="405829"/>
                    </a:cubicBezTo>
                    <a:cubicBezTo>
                      <a:pt x="6870" y="346723"/>
                      <a:pt x="53" y="131231"/>
                      <a:pt x="2" y="129063"/>
                    </a:cubicBezTo>
                    <a:cubicBezTo>
                      <a:pt x="-56" y="126435"/>
                      <a:pt x="1507" y="124037"/>
                      <a:pt x="3936" y="123029"/>
                    </a:cubicBezTo>
                    <a:lnTo>
                      <a:pt x="47564" y="104937"/>
                    </a:lnTo>
                    <a:lnTo>
                      <a:pt x="57641" y="62157"/>
                    </a:lnTo>
                    <a:cubicBezTo>
                      <a:pt x="58074" y="60308"/>
                      <a:pt x="59318" y="58745"/>
                      <a:pt x="61021" y="57904"/>
                    </a:cubicBezTo>
                    <a:lnTo>
                      <a:pt x="176802" y="660"/>
                    </a:lnTo>
                    <a:cubicBezTo>
                      <a:pt x="178581" y="-220"/>
                      <a:pt x="180673" y="-220"/>
                      <a:pt x="182459" y="660"/>
                    </a:cubicBezTo>
                    <a:lnTo>
                      <a:pt x="298234" y="57904"/>
                    </a:lnTo>
                    <a:cubicBezTo>
                      <a:pt x="299943" y="58745"/>
                      <a:pt x="301180" y="60308"/>
                      <a:pt x="301614" y="62157"/>
                    </a:cubicBezTo>
                    <a:lnTo>
                      <a:pt x="311690" y="104937"/>
                    </a:lnTo>
                    <a:lnTo>
                      <a:pt x="355325" y="123029"/>
                    </a:lnTo>
                    <a:cubicBezTo>
                      <a:pt x="357754" y="124037"/>
                      <a:pt x="359317" y="126435"/>
                      <a:pt x="359259" y="129063"/>
                    </a:cubicBezTo>
                    <a:cubicBezTo>
                      <a:pt x="359208" y="131231"/>
                      <a:pt x="352391" y="346723"/>
                      <a:pt x="181713" y="405829"/>
                    </a:cubicBezTo>
                    <a:cubicBezTo>
                      <a:pt x="181049" y="406065"/>
                      <a:pt x="180342" y="406186"/>
                      <a:pt x="179640" y="406186"/>
                    </a:cubicBezTo>
                    <a:close/>
                    <a:moveTo>
                      <a:pt x="12973" y="133093"/>
                    </a:moveTo>
                    <a:cubicBezTo>
                      <a:pt x="14886" y="163105"/>
                      <a:pt x="32405" y="340467"/>
                      <a:pt x="179640" y="393048"/>
                    </a:cubicBezTo>
                    <a:cubicBezTo>
                      <a:pt x="326843" y="340454"/>
                      <a:pt x="344381" y="163105"/>
                      <a:pt x="346294" y="133099"/>
                    </a:cubicBezTo>
                    <a:lnTo>
                      <a:pt x="303802" y="115472"/>
                    </a:lnTo>
                    <a:cubicBezTo>
                      <a:pt x="301908" y="114688"/>
                      <a:pt x="300505" y="113036"/>
                      <a:pt x="300033" y="111046"/>
                    </a:cubicBezTo>
                    <a:lnTo>
                      <a:pt x="289892" y="68012"/>
                    </a:lnTo>
                    <a:lnTo>
                      <a:pt x="179634" y="13498"/>
                    </a:lnTo>
                    <a:lnTo>
                      <a:pt x="69368" y="68005"/>
                    </a:lnTo>
                    <a:lnTo>
                      <a:pt x="59235" y="111040"/>
                    </a:lnTo>
                    <a:cubicBezTo>
                      <a:pt x="58763" y="113036"/>
                      <a:pt x="57360" y="114681"/>
                      <a:pt x="55466" y="115466"/>
                    </a:cubicBezTo>
                    <a:lnTo>
                      <a:pt x="12973" y="133093"/>
                    </a:lnTo>
                    <a:close/>
                  </a:path>
                </a:pathLst>
              </a:custGeom>
              <a:grpFill/>
              <a:ln w="637" cap="flat">
                <a:noFill/>
                <a:prstDash val="solid"/>
                <a:miter/>
              </a:ln>
            </p:spPr>
            <p:txBody>
              <a:bodyPr rtlCol="0" anchor="ctr"/>
              <a:lstStyle/>
              <a:p>
                <a:endParaRPr lang="en-GB" dirty="0"/>
              </a:p>
            </p:txBody>
          </p:sp>
          <p:sp>
            <p:nvSpPr>
              <p:cNvPr id="1143" name="Freeform: Shape 1142">
                <a:extLst>
                  <a:ext uri="{FF2B5EF4-FFF2-40B4-BE49-F238E27FC236}">
                    <a16:creationId xmlns:a16="http://schemas.microsoft.com/office/drawing/2014/main" id="{6D8D97CF-AFC6-4286-B408-DD10DAF00BEA}"/>
                  </a:ext>
                </a:extLst>
              </p:cNvPr>
              <p:cNvSpPr/>
              <p:nvPr/>
            </p:nvSpPr>
            <p:spPr>
              <a:xfrm>
                <a:off x="2798629" y="2488781"/>
                <a:ext cx="171232" cy="51940"/>
              </a:xfrm>
              <a:custGeom>
                <a:avLst/>
                <a:gdLst>
                  <a:gd name="connsiteX0" fmla="*/ 164836 w 171232"/>
                  <a:gd name="connsiteY0" fmla="*/ 51941 h 51940"/>
                  <a:gd name="connsiteX1" fmla="*/ 162017 w 171232"/>
                  <a:gd name="connsiteY1" fmla="*/ 51277 h 51940"/>
                  <a:gd name="connsiteX2" fmla="*/ 85616 w 171232"/>
                  <a:gd name="connsiteY2" fmla="*/ 13498 h 51940"/>
                  <a:gd name="connsiteX3" fmla="*/ 9208 w 171232"/>
                  <a:gd name="connsiteY3" fmla="*/ 51271 h 51940"/>
                  <a:gd name="connsiteX4" fmla="*/ 663 w 171232"/>
                  <a:gd name="connsiteY4" fmla="*/ 48382 h 51940"/>
                  <a:gd name="connsiteX5" fmla="*/ 3552 w 171232"/>
                  <a:gd name="connsiteY5" fmla="*/ 39836 h 51940"/>
                  <a:gd name="connsiteX6" fmla="*/ 82791 w 171232"/>
                  <a:gd name="connsiteY6" fmla="*/ 660 h 51940"/>
                  <a:gd name="connsiteX7" fmla="*/ 88448 w 171232"/>
                  <a:gd name="connsiteY7" fmla="*/ 660 h 51940"/>
                  <a:gd name="connsiteX8" fmla="*/ 167680 w 171232"/>
                  <a:gd name="connsiteY8" fmla="*/ 39836 h 51940"/>
                  <a:gd name="connsiteX9" fmla="*/ 170569 w 171232"/>
                  <a:gd name="connsiteY9" fmla="*/ 48382 h 51940"/>
                  <a:gd name="connsiteX10" fmla="*/ 164836 w 171232"/>
                  <a:gd name="connsiteY10" fmla="*/ 51941 h 51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1232" h="51940">
                    <a:moveTo>
                      <a:pt x="164836" y="51941"/>
                    </a:moveTo>
                    <a:cubicBezTo>
                      <a:pt x="163892" y="51941"/>
                      <a:pt x="162923" y="51730"/>
                      <a:pt x="162017" y="51277"/>
                    </a:cubicBezTo>
                    <a:lnTo>
                      <a:pt x="85616" y="13498"/>
                    </a:lnTo>
                    <a:lnTo>
                      <a:pt x="9208" y="51271"/>
                    </a:lnTo>
                    <a:cubicBezTo>
                      <a:pt x="6033" y="52833"/>
                      <a:pt x="2225" y="51533"/>
                      <a:pt x="663" y="48382"/>
                    </a:cubicBezTo>
                    <a:cubicBezTo>
                      <a:pt x="-900" y="45225"/>
                      <a:pt x="395" y="41399"/>
                      <a:pt x="3552" y="39836"/>
                    </a:cubicBezTo>
                    <a:lnTo>
                      <a:pt x="82791" y="660"/>
                    </a:lnTo>
                    <a:cubicBezTo>
                      <a:pt x="84570" y="-220"/>
                      <a:pt x="86662" y="-220"/>
                      <a:pt x="88448" y="660"/>
                    </a:cubicBezTo>
                    <a:lnTo>
                      <a:pt x="167680" y="39836"/>
                    </a:lnTo>
                    <a:cubicBezTo>
                      <a:pt x="170837" y="41399"/>
                      <a:pt x="172132" y="45225"/>
                      <a:pt x="170569" y="48382"/>
                    </a:cubicBezTo>
                    <a:cubicBezTo>
                      <a:pt x="169447" y="50640"/>
                      <a:pt x="167189" y="51941"/>
                      <a:pt x="164836" y="51941"/>
                    </a:cubicBezTo>
                    <a:close/>
                  </a:path>
                </a:pathLst>
              </a:custGeom>
              <a:grpFill/>
              <a:ln w="637" cap="flat">
                <a:noFill/>
                <a:prstDash val="solid"/>
                <a:miter/>
              </a:ln>
            </p:spPr>
            <p:txBody>
              <a:bodyPr rtlCol="0" anchor="ctr"/>
              <a:lstStyle/>
              <a:p>
                <a:endParaRPr lang="en-GB" dirty="0"/>
              </a:p>
            </p:txBody>
          </p:sp>
        </p:grpSp>
        <p:grpSp>
          <p:nvGrpSpPr>
            <p:cNvPr id="1138" name="Graphic 32">
              <a:extLst>
                <a:ext uri="{FF2B5EF4-FFF2-40B4-BE49-F238E27FC236}">
                  <a16:creationId xmlns:a16="http://schemas.microsoft.com/office/drawing/2014/main" id="{41815985-BEEA-4812-8379-BF5494A8EA37}"/>
                </a:ext>
              </a:extLst>
            </p:cNvPr>
            <p:cNvGrpSpPr/>
            <p:nvPr/>
          </p:nvGrpSpPr>
          <p:grpSpPr>
            <a:xfrm>
              <a:off x="5121189" y="3351456"/>
              <a:ext cx="181554" cy="172841"/>
              <a:chOff x="6788930" y="2549840"/>
              <a:chExt cx="181554" cy="172841"/>
            </a:xfrm>
            <a:solidFill>
              <a:schemeClr val="tx2"/>
            </a:solidFill>
          </p:grpSpPr>
          <p:sp>
            <p:nvSpPr>
              <p:cNvPr id="1139" name="Freeform: Shape 1138">
                <a:extLst>
                  <a:ext uri="{FF2B5EF4-FFF2-40B4-BE49-F238E27FC236}">
                    <a16:creationId xmlns:a16="http://schemas.microsoft.com/office/drawing/2014/main" id="{EFF32213-D235-4962-A3DF-201CA5C8653F}"/>
                  </a:ext>
                </a:extLst>
              </p:cNvPr>
              <p:cNvSpPr/>
              <p:nvPr/>
            </p:nvSpPr>
            <p:spPr>
              <a:xfrm>
                <a:off x="6788930" y="2549840"/>
                <a:ext cx="181554" cy="97167"/>
              </a:xfrm>
              <a:custGeom>
                <a:avLst/>
                <a:gdLst>
                  <a:gd name="connsiteX0" fmla="*/ 6379 w 181554"/>
                  <a:gd name="connsiteY0" fmla="*/ 97168 h 97167"/>
                  <a:gd name="connsiteX1" fmla="*/ 1870 w 181554"/>
                  <a:gd name="connsiteY1" fmla="*/ 95299 h 97167"/>
                  <a:gd name="connsiteX2" fmla="*/ 1870 w 181554"/>
                  <a:gd name="connsiteY2" fmla="*/ 86281 h 97167"/>
                  <a:gd name="connsiteX3" fmla="*/ 86281 w 181554"/>
                  <a:gd name="connsiteY3" fmla="*/ 1870 h 97167"/>
                  <a:gd name="connsiteX4" fmla="*/ 95299 w 181554"/>
                  <a:gd name="connsiteY4" fmla="*/ 1870 h 97167"/>
                  <a:gd name="connsiteX5" fmla="*/ 179685 w 181554"/>
                  <a:gd name="connsiteY5" fmla="*/ 86256 h 97167"/>
                  <a:gd name="connsiteX6" fmla="*/ 179685 w 181554"/>
                  <a:gd name="connsiteY6" fmla="*/ 95273 h 97167"/>
                  <a:gd name="connsiteX7" fmla="*/ 170667 w 181554"/>
                  <a:gd name="connsiteY7" fmla="*/ 95273 h 97167"/>
                  <a:gd name="connsiteX8" fmla="*/ 90790 w 181554"/>
                  <a:gd name="connsiteY8" fmla="*/ 15397 h 97167"/>
                  <a:gd name="connsiteX9" fmla="*/ 10888 w 181554"/>
                  <a:gd name="connsiteY9" fmla="*/ 95299 h 97167"/>
                  <a:gd name="connsiteX10" fmla="*/ 6379 w 181554"/>
                  <a:gd name="connsiteY10" fmla="*/ 97168 h 97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54" h="97167">
                    <a:moveTo>
                      <a:pt x="6379" y="97168"/>
                    </a:moveTo>
                    <a:cubicBezTo>
                      <a:pt x="4746" y="97168"/>
                      <a:pt x="3114" y="96543"/>
                      <a:pt x="1870" y="95299"/>
                    </a:cubicBezTo>
                    <a:cubicBezTo>
                      <a:pt x="-623" y="92805"/>
                      <a:pt x="-623" y="88775"/>
                      <a:pt x="1870" y="86281"/>
                    </a:cubicBezTo>
                    <a:lnTo>
                      <a:pt x="86281" y="1870"/>
                    </a:lnTo>
                    <a:cubicBezTo>
                      <a:pt x="88775" y="-623"/>
                      <a:pt x="92805" y="-623"/>
                      <a:pt x="95299" y="1870"/>
                    </a:cubicBezTo>
                    <a:lnTo>
                      <a:pt x="179685" y="86256"/>
                    </a:lnTo>
                    <a:cubicBezTo>
                      <a:pt x="182178" y="88749"/>
                      <a:pt x="182178" y="92780"/>
                      <a:pt x="179685" y="95273"/>
                    </a:cubicBezTo>
                    <a:cubicBezTo>
                      <a:pt x="177191" y="97767"/>
                      <a:pt x="173161" y="97767"/>
                      <a:pt x="170667" y="95273"/>
                    </a:cubicBezTo>
                    <a:lnTo>
                      <a:pt x="90790" y="15397"/>
                    </a:lnTo>
                    <a:lnTo>
                      <a:pt x="10888" y="95299"/>
                    </a:lnTo>
                    <a:cubicBezTo>
                      <a:pt x="9644" y="96549"/>
                      <a:pt x="8011" y="97168"/>
                      <a:pt x="6379" y="97168"/>
                    </a:cubicBezTo>
                    <a:close/>
                  </a:path>
                </a:pathLst>
              </a:custGeom>
              <a:solidFill>
                <a:schemeClr val="accent1"/>
              </a:solidFill>
              <a:ln w="637" cap="flat">
                <a:noFill/>
                <a:prstDash val="solid"/>
                <a:miter/>
              </a:ln>
            </p:spPr>
            <p:txBody>
              <a:bodyPr rtlCol="0" anchor="ctr"/>
              <a:lstStyle/>
              <a:p>
                <a:endParaRPr lang="en-GB" dirty="0"/>
              </a:p>
            </p:txBody>
          </p:sp>
          <p:sp>
            <p:nvSpPr>
              <p:cNvPr id="1140" name="Freeform: Shape 1139">
                <a:extLst>
                  <a:ext uri="{FF2B5EF4-FFF2-40B4-BE49-F238E27FC236}">
                    <a16:creationId xmlns:a16="http://schemas.microsoft.com/office/drawing/2014/main" id="{9E3AC5C7-C31C-45C8-8EB7-99B686619177}"/>
                  </a:ext>
                </a:extLst>
              </p:cNvPr>
              <p:cNvSpPr/>
              <p:nvPr/>
            </p:nvSpPr>
            <p:spPr>
              <a:xfrm>
                <a:off x="6810379" y="2643895"/>
                <a:ext cx="139639" cy="78786"/>
              </a:xfrm>
              <a:custGeom>
                <a:avLst/>
                <a:gdLst>
                  <a:gd name="connsiteX0" fmla="*/ 133262 w 139639"/>
                  <a:gd name="connsiteY0" fmla="*/ 78786 h 78786"/>
                  <a:gd name="connsiteX1" fmla="*/ 6377 w 139639"/>
                  <a:gd name="connsiteY1" fmla="*/ 78786 h 78786"/>
                  <a:gd name="connsiteX2" fmla="*/ 0 w 139639"/>
                  <a:gd name="connsiteY2" fmla="*/ 72409 h 78786"/>
                  <a:gd name="connsiteX3" fmla="*/ 0 w 139639"/>
                  <a:gd name="connsiteY3" fmla="*/ 6377 h 78786"/>
                  <a:gd name="connsiteX4" fmla="*/ 6377 w 139639"/>
                  <a:gd name="connsiteY4" fmla="*/ 0 h 78786"/>
                  <a:gd name="connsiteX5" fmla="*/ 12755 w 139639"/>
                  <a:gd name="connsiteY5" fmla="*/ 6377 h 78786"/>
                  <a:gd name="connsiteX6" fmla="*/ 12755 w 139639"/>
                  <a:gd name="connsiteY6" fmla="*/ 66032 h 78786"/>
                  <a:gd name="connsiteX7" fmla="*/ 126885 w 139639"/>
                  <a:gd name="connsiteY7" fmla="*/ 66032 h 78786"/>
                  <a:gd name="connsiteX8" fmla="*/ 126885 w 139639"/>
                  <a:gd name="connsiteY8" fmla="*/ 6377 h 78786"/>
                  <a:gd name="connsiteX9" fmla="*/ 133262 w 139639"/>
                  <a:gd name="connsiteY9" fmla="*/ 0 h 78786"/>
                  <a:gd name="connsiteX10" fmla="*/ 139639 w 139639"/>
                  <a:gd name="connsiteY10" fmla="*/ 6377 h 78786"/>
                  <a:gd name="connsiteX11" fmla="*/ 139639 w 139639"/>
                  <a:gd name="connsiteY11" fmla="*/ 72409 h 78786"/>
                  <a:gd name="connsiteX12" fmla="*/ 133262 w 139639"/>
                  <a:gd name="connsiteY12" fmla="*/ 78786 h 78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9639" h="78786">
                    <a:moveTo>
                      <a:pt x="133262" y="78786"/>
                    </a:moveTo>
                    <a:lnTo>
                      <a:pt x="6377" y="78786"/>
                    </a:lnTo>
                    <a:cubicBezTo>
                      <a:pt x="2851" y="78786"/>
                      <a:pt x="0" y="75929"/>
                      <a:pt x="0" y="72409"/>
                    </a:cubicBezTo>
                    <a:lnTo>
                      <a:pt x="0" y="6377"/>
                    </a:lnTo>
                    <a:cubicBezTo>
                      <a:pt x="0" y="2857"/>
                      <a:pt x="2851" y="0"/>
                      <a:pt x="6377" y="0"/>
                    </a:cubicBezTo>
                    <a:cubicBezTo>
                      <a:pt x="9904" y="0"/>
                      <a:pt x="12755" y="2857"/>
                      <a:pt x="12755" y="6377"/>
                    </a:cubicBezTo>
                    <a:lnTo>
                      <a:pt x="12755" y="66032"/>
                    </a:lnTo>
                    <a:lnTo>
                      <a:pt x="126885" y="66032"/>
                    </a:lnTo>
                    <a:lnTo>
                      <a:pt x="126885" y="6377"/>
                    </a:lnTo>
                    <a:cubicBezTo>
                      <a:pt x="126885" y="2857"/>
                      <a:pt x="129735" y="0"/>
                      <a:pt x="133262" y="0"/>
                    </a:cubicBezTo>
                    <a:cubicBezTo>
                      <a:pt x="136789" y="0"/>
                      <a:pt x="139639" y="2857"/>
                      <a:pt x="139639" y="6377"/>
                    </a:cubicBezTo>
                    <a:lnTo>
                      <a:pt x="139639" y="72409"/>
                    </a:lnTo>
                    <a:cubicBezTo>
                      <a:pt x="139639" y="75929"/>
                      <a:pt x="136782" y="78786"/>
                      <a:pt x="133262" y="78786"/>
                    </a:cubicBezTo>
                    <a:close/>
                  </a:path>
                </a:pathLst>
              </a:custGeom>
              <a:solidFill>
                <a:schemeClr val="accent1"/>
              </a:solidFill>
              <a:ln w="637" cap="flat">
                <a:noFill/>
                <a:prstDash val="solid"/>
                <a:miter/>
              </a:ln>
            </p:spPr>
            <p:txBody>
              <a:bodyPr rtlCol="0" anchor="ctr"/>
              <a:lstStyle/>
              <a:p>
                <a:endParaRPr lang="en-GB" dirty="0"/>
              </a:p>
            </p:txBody>
          </p:sp>
          <p:sp>
            <p:nvSpPr>
              <p:cNvPr id="1141" name="Freeform: Shape 1140">
                <a:extLst>
                  <a:ext uri="{FF2B5EF4-FFF2-40B4-BE49-F238E27FC236}">
                    <a16:creationId xmlns:a16="http://schemas.microsoft.com/office/drawing/2014/main" id="{51B28979-1512-4C39-B4FB-FCB8D5C1D73E}"/>
                  </a:ext>
                </a:extLst>
              </p:cNvPr>
              <p:cNvSpPr/>
              <p:nvPr/>
            </p:nvSpPr>
            <p:spPr>
              <a:xfrm>
                <a:off x="6857961" y="2674239"/>
                <a:ext cx="44475" cy="48442"/>
              </a:xfrm>
              <a:custGeom>
                <a:avLst/>
                <a:gdLst>
                  <a:gd name="connsiteX0" fmla="*/ 38099 w 44475"/>
                  <a:gd name="connsiteY0" fmla="*/ 48443 h 48442"/>
                  <a:gd name="connsiteX1" fmla="*/ 31721 w 44475"/>
                  <a:gd name="connsiteY1" fmla="*/ 42065 h 48442"/>
                  <a:gd name="connsiteX2" fmla="*/ 31721 w 44475"/>
                  <a:gd name="connsiteY2" fmla="*/ 12755 h 48442"/>
                  <a:gd name="connsiteX3" fmla="*/ 12755 w 44475"/>
                  <a:gd name="connsiteY3" fmla="*/ 12755 h 48442"/>
                  <a:gd name="connsiteX4" fmla="*/ 12755 w 44475"/>
                  <a:gd name="connsiteY4" fmla="*/ 42065 h 48442"/>
                  <a:gd name="connsiteX5" fmla="*/ 6377 w 44475"/>
                  <a:gd name="connsiteY5" fmla="*/ 48443 h 48442"/>
                  <a:gd name="connsiteX6" fmla="*/ 0 w 44475"/>
                  <a:gd name="connsiteY6" fmla="*/ 42065 h 48442"/>
                  <a:gd name="connsiteX7" fmla="*/ 0 w 44475"/>
                  <a:gd name="connsiteY7" fmla="*/ 6377 h 48442"/>
                  <a:gd name="connsiteX8" fmla="*/ 6377 w 44475"/>
                  <a:gd name="connsiteY8" fmla="*/ 0 h 48442"/>
                  <a:gd name="connsiteX9" fmla="*/ 38099 w 44475"/>
                  <a:gd name="connsiteY9" fmla="*/ 0 h 48442"/>
                  <a:gd name="connsiteX10" fmla="*/ 44476 w 44475"/>
                  <a:gd name="connsiteY10" fmla="*/ 6377 h 48442"/>
                  <a:gd name="connsiteX11" fmla="*/ 44476 w 44475"/>
                  <a:gd name="connsiteY11" fmla="*/ 42065 h 48442"/>
                  <a:gd name="connsiteX12" fmla="*/ 38099 w 44475"/>
                  <a:gd name="connsiteY12" fmla="*/ 48443 h 4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475" h="48442">
                    <a:moveTo>
                      <a:pt x="38099" y="48443"/>
                    </a:moveTo>
                    <a:cubicBezTo>
                      <a:pt x="34572" y="48443"/>
                      <a:pt x="31721" y="45586"/>
                      <a:pt x="31721" y="42065"/>
                    </a:cubicBezTo>
                    <a:lnTo>
                      <a:pt x="31721" y="12755"/>
                    </a:lnTo>
                    <a:lnTo>
                      <a:pt x="12755" y="12755"/>
                    </a:lnTo>
                    <a:lnTo>
                      <a:pt x="12755" y="42065"/>
                    </a:lnTo>
                    <a:cubicBezTo>
                      <a:pt x="12755" y="45586"/>
                      <a:pt x="9904" y="48443"/>
                      <a:pt x="6377" y="48443"/>
                    </a:cubicBezTo>
                    <a:cubicBezTo>
                      <a:pt x="2851" y="48443"/>
                      <a:pt x="0" y="45586"/>
                      <a:pt x="0" y="42065"/>
                    </a:cubicBezTo>
                    <a:lnTo>
                      <a:pt x="0" y="6377"/>
                    </a:lnTo>
                    <a:cubicBezTo>
                      <a:pt x="0" y="2857"/>
                      <a:pt x="2851" y="0"/>
                      <a:pt x="6377" y="0"/>
                    </a:cubicBezTo>
                    <a:lnTo>
                      <a:pt x="38099" y="0"/>
                    </a:lnTo>
                    <a:cubicBezTo>
                      <a:pt x="41625" y="0"/>
                      <a:pt x="44476" y="2857"/>
                      <a:pt x="44476" y="6377"/>
                    </a:cubicBezTo>
                    <a:lnTo>
                      <a:pt x="44476" y="42065"/>
                    </a:lnTo>
                    <a:cubicBezTo>
                      <a:pt x="44476" y="45586"/>
                      <a:pt x="41619" y="48443"/>
                      <a:pt x="38099" y="48443"/>
                    </a:cubicBezTo>
                    <a:close/>
                  </a:path>
                </a:pathLst>
              </a:custGeom>
              <a:solidFill>
                <a:schemeClr val="accent1"/>
              </a:solidFill>
              <a:ln w="637" cap="flat">
                <a:noFill/>
                <a:prstDash val="solid"/>
                <a:miter/>
              </a:ln>
            </p:spPr>
            <p:txBody>
              <a:bodyPr rtlCol="0" anchor="ctr"/>
              <a:lstStyle/>
              <a:p>
                <a:endParaRPr lang="en-GB" dirty="0"/>
              </a:p>
            </p:txBody>
          </p:sp>
        </p:grpSp>
      </p:grpSp>
      <p:grpSp>
        <p:nvGrpSpPr>
          <p:cNvPr id="23" name="Group 22">
            <a:extLst>
              <a:ext uri="{FF2B5EF4-FFF2-40B4-BE49-F238E27FC236}">
                <a16:creationId xmlns:a16="http://schemas.microsoft.com/office/drawing/2014/main" id="{82D04888-3781-968B-D88A-A01AE76E84E7}"/>
              </a:ext>
            </a:extLst>
          </p:cNvPr>
          <p:cNvGrpSpPr/>
          <p:nvPr/>
        </p:nvGrpSpPr>
        <p:grpSpPr>
          <a:xfrm>
            <a:off x="6045842" y="3237890"/>
            <a:ext cx="421118" cy="402144"/>
            <a:chOff x="6045430" y="3237890"/>
            <a:chExt cx="421118" cy="402144"/>
          </a:xfrm>
        </p:grpSpPr>
        <p:grpSp>
          <p:nvGrpSpPr>
            <p:cNvPr id="1145" name="Graphic 32">
              <a:extLst>
                <a:ext uri="{FF2B5EF4-FFF2-40B4-BE49-F238E27FC236}">
                  <a16:creationId xmlns:a16="http://schemas.microsoft.com/office/drawing/2014/main" id="{E3E278C6-5ADF-4CBE-9A50-12B3FC266608}"/>
                </a:ext>
              </a:extLst>
            </p:cNvPr>
            <p:cNvGrpSpPr/>
            <p:nvPr/>
          </p:nvGrpSpPr>
          <p:grpSpPr>
            <a:xfrm>
              <a:off x="6045430" y="3237890"/>
              <a:ext cx="421118" cy="402144"/>
              <a:chOff x="7472716" y="2443952"/>
              <a:chExt cx="421118" cy="402144"/>
            </a:xfrm>
            <a:solidFill>
              <a:schemeClr val="tx2"/>
            </a:solidFill>
          </p:grpSpPr>
          <p:grpSp>
            <p:nvGrpSpPr>
              <p:cNvPr id="1186" name="Graphic 32">
                <a:extLst>
                  <a:ext uri="{FF2B5EF4-FFF2-40B4-BE49-F238E27FC236}">
                    <a16:creationId xmlns:a16="http://schemas.microsoft.com/office/drawing/2014/main" id="{4CC16530-3A06-41B2-A994-74606A79BF88}"/>
                  </a:ext>
                </a:extLst>
              </p:cNvPr>
              <p:cNvGrpSpPr/>
              <p:nvPr/>
            </p:nvGrpSpPr>
            <p:grpSpPr>
              <a:xfrm>
                <a:off x="7698691" y="2443952"/>
                <a:ext cx="195137" cy="184548"/>
                <a:chOff x="7698691" y="2443952"/>
                <a:chExt cx="195137" cy="184548"/>
              </a:xfrm>
              <a:grpFill/>
            </p:grpSpPr>
            <p:sp>
              <p:nvSpPr>
                <p:cNvPr id="1205" name="Freeform: Shape 1204">
                  <a:extLst>
                    <a:ext uri="{FF2B5EF4-FFF2-40B4-BE49-F238E27FC236}">
                      <a16:creationId xmlns:a16="http://schemas.microsoft.com/office/drawing/2014/main" id="{BE88BEC1-427E-4B6A-8EC5-EAE5167A33D9}"/>
                    </a:ext>
                  </a:extLst>
                </p:cNvPr>
                <p:cNvSpPr/>
                <p:nvPr/>
              </p:nvSpPr>
              <p:spPr>
                <a:xfrm>
                  <a:off x="7698691" y="2463958"/>
                  <a:ext cx="89283" cy="87171"/>
                </a:xfrm>
                <a:custGeom>
                  <a:avLst/>
                  <a:gdLst>
                    <a:gd name="connsiteX0" fmla="*/ 58349 w 89283"/>
                    <a:gd name="connsiteY0" fmla="*/ 87172 h 87171"/>
                    <a:gd name="connsiteX1" fmla="*/ 52220 w 89283"/>
                    <a:gd name="connsiteY1" fmla="*/ 82567 h 87171"/>
                    <a:gd name="connsiteX2" fmla="*/ 43585 w 89283"/>
                    <a:gd name="connsiteY2" fmla="*/ 67969 h 87171"/>
                    <a:gd name="connsiteX3" fmla="*/ 41716 w 89283"/>
                    <a:gd name="connsiteY3" fmla="*/ 63461 h 87171"/>
                    <a:gd name="connsiteX4" fmla="*/ 43585 w 89283"/>
                    <a:gd name="connsiteY4" fmla="*/ 58952 h 87171"/>
                    <a:gd name="connsiteX5" fmla="*/ 73795 w 89283"/>
                    <a:gd name="connsiteY5" fmla="*/ 28742 h 87171"/>
                    <a:gd name="connsiteX6" fmla="*/ 73795 w 89283"/>
                    <a:gd name="connsiteY6" fmla="*/ 15496 h 87171"/>
                    <a:gd name="connsiteX7" fmla="*/ 60555 w 89283"/>
                    <a:gd name="connsiteY7" fmla="*/ 15496 h 87171"/>
                    <a:gd name="connsiteX8" fmla="*/ 10850 w 89283"/>
                    <a:gd name="connsiteY8" fmla="*/ 64385 h 87171"/>
                    <a:gd name="connsiteX9" fmla="*/ 1832 w 89283"/>
                    <a:gd name="connsiteY9" fmla="*/ 64309 h 87171"/>
                    <a:gd name="connsiteX10" fmla="*/ 1909 w 89283"/>
                    <a:gd name="connsiteY10" fmla="*/ 55291 h 87171"/>
                    <a:gd name="connsiteX11" fmla="*/ 51576 w 89283"/>
                    <a:gd name="connsiteY11" fmla="*/ 6434 h 87171"/>
                    <a:gd name="connsiteX12" fmla="*/ 82812 w 89283"/>
                    <a:gd name="connsiteY12" fmla="*/ 6466 h 87171"/>
                    <a:gd name="connsiteX13" fmla="*/ 82812 w 89283"/>
                    <a:gd name="connsiteY13" fmla="*/ 37747 h 87171"/>
                    <a:gd name="connsiteX14" fmla="*/ 56805 w 89283"/>
                    <a:gd name="connsiteY14" fmla="*/ 63754 h 87171"/>
                    <a:gd name="connsiteX15" fmla="*/ 64477 w 89283"/>
                    <a:gd name="connsiteY15" fmla="*/ 79002 h 87171"/>
                    <a:gd name="connsiteX16" fmla="*/ 60122 w 89283"/>
                    <a:gd name="connsiteY16" fmla="*/ 86904 h 87171"/>
                    <a:gd name="connsiteX17" fmla="*/ 58349 w 89283"/>
                    <a:gd name="connsiteY17" fmla="*/ 87172 h 8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283" h="87171">
                      <a:moveTo>
                        <a:pt x="58349" y="87172"/>
                      </a:moveTo>
                      <a:cubicBezTo>
                        <a:pt x="55574" y="87172"/>
                        <a:pt x="53030" y="85354"/>
                        <a:pt x="52220" y="82567"/>
                      </a:cubicBezTo>
                      <a:cubicBezTo>
                        <a:pt x="50632" y="77083"/>
                        <a:pt x="47647" y="72038"/>
                        <a:pt x="43585" y="67969"/>
                      </a:cubicBezTo>
                      <a:cubicBezTo>
                        <a:pt x="42386" y="66771"/>
                        <a:pt x="41716" y="65151"/>
                        <a:pt x="41716" y="63461"/>
                      </a:cubicBezTo>
                      <a:cubicBezTo>
                        <a:pt x="41716" y="61771"/>
                        <a:pt x="42386" y="60144"/>
                        <a:pt x="43585" y="58952"/>
                      </a:cubicBezTo>
                      <a:lnTo>
                        <a:pt x="73795" y="28742"/>
                      </a:lnTo>
                      <a:cubicBezTo>
                        <a:pt x="77442" y="25088"/>
                        <a:pt x="77442" y="19151"/>
                        <a:pt x="73795" y="15496"/>
                      </a:cubicBezTo>
                      <a:cubicBezTo>
                        <a:pt x="70147" y="11855"/>
                        <a:pt x="64203" y="11848"/>
                        <a:pt x="60555" y="15496"/>
                      </a:cubicBezTo>
                      <a:lnTo>
                        <a:pt x="10850" y="64385"/>
                      </a:lnTo>
                      <a:cubicBezTo>
                        <a:pt x="8337" y="66853"/>
                        <a:pt x="4294" y="66815"/>
                        <a:pt x="1832" y="64309"/>
                      </a:cubicBezTo>
                      <a:cubicBezTo>
                        <a:pt x="-642" y="61796"/>
                        <a:pt x="-604" y="57759"/>
                        <a:pt x="1909" y="55291"/>
                      </a:cubicBezTo>
                      <a:lnTo>
                        <a:pt x="51576" y="6434"/>
                      </a:lnTo>
                      <a:cubicBezTo>
                        <a:pt x="60153" y="-2144"/>
                        <a:pt x="74190" y="-2156"/>
                        <a:pt x="82812" y="6466"/>
                      </a:cubicBezTo>
                      <a:cubicBezTo>
                        <a:pt x="91441" y="15095"/>
                        <a:pt x="91441" y="29125"/>
                        <a:pt x="82812" y="37747"/>
                      </a:cubicBezTo>
                      <a:lnTo>
                        <a:pt x="56805" y="63754"/>
                      </a:lnTo>
                      <a:cubicBezTo>
                        <a:pt x="60268" y="68320"/>
                        <a:pt x="62883" y="73499"/>
                        <a:pt x="64477" y="79002"/>
                      </a:cubicBezTo>
                      <a:cubicBezTo>
                        <a:pt x="65453" y="82389"/>
                        <a:pt x="63508" y="85922"/>
                        <a:pt x="60122" y="86904"/>
                      </a:cubicBezTo>
                      <a:cubicBezTo>
                        <a:pt x="59528" y="87083"/>
                        <a:pt x="58929" y="87172"/>
                        <a:pt x="58349" y="87172"/>
                      </a:cubicBezTo>
                      <a:close/>
                    </a:path>
                  </a:pathLst>
                </a:custGeom>
                <a:grpFill/>
                <a:ln w="637" cap="flat">
                  <a:noFill/>
                  <a:prstDash val="solid"/>
                  <a:miter/>
                </a:ln>
              </p:spPr>
              <p:txBody>
                <a:bodyPr rtlCol="0" anchor="ctr"/>
                <a:lstStyle/>
                <a:p>
                  <a:endParaRPr lang="en-GB" dirty="0"/>
                </a:p>
              </p:txBody>
            </p:sp>
            <p:sp>
              <p:nvSpPr>
                <p:cNvPr id="1206" name="Freeform: Shape 1205">
                  <a:extLst>
                    <a:ext uri="{FF2B5EF4-FFF2-40B4-BE49-F238E27FC236}">
                      <a16:creationId xmlns:a16="http://schemas.microsoft.com/office/drawing/2014/main" id="{155DED5C-A5DA-4773-A30D-2AAFF882A353}"/>
                    </a:ext>
                  </a:extLst>
                </p:cNvPr>
                <p:cNvSpPr/>
                <p:nvPr/>
              </p:nvSpPr>
              <p:spPr>
                <a:xfrm>
                  <a:off x="7798064" y="2514106"/>
                  <a:ext cx="95764" cy="114394"/>
                </a:xfrm>
                <a:custGeom>
                  <a:avLst/>
                  <a:gdLst>
                    <a:gd name="connsiteX0" fmla="*/ 6379 w 95764"/>
                    <a:gd name="connsiteY0" fmla="*/ 114394 h 114394"/>
                    <a:gd name="connsiteX1" fmla="*/ 1864 w 95764"/>
                    <a:gd name="connsiteY1" fmla="*/ 112520 h 114394"/>
                    <a:gd name="connsiteX2" fmla="*/ 1876 w 95764"/>
                    <a:gd name="connsiteY2" fmla="*/ 103496 h 114394"/>
                    <a:gd name="connsiteX3" fmla="*/ 80950 w 95764"/>
                    <a:gd name="connsiteY3" fmla="*/ 24690 h 114394"/>
                    <a:gd name="connsiteX4" fmla="*/ 83010 w 95764"/>
                    <a:gd name="connsiteY4" fmla="*/ 19671 h 114394"/>
                    <a:gd name="connsiteX5" fmla="*/ 80943 w 95764"/>
                    <a:gd name="connsiteY5" fmla="*/ 14639 h 114394"/>
                    <a:gd name="connsiteX6" fmla="*/ 70880 w 95764"/>
                    <a:gd name="connsiteY6" fmla="*/ 14639 h 114394"/>
                    <a:gd name="connsiteX7" fmla="*/ 42265 w 95764"/>
                    <a:gd name="connsiteY7" fmla="*/ 43255 h 114394"/>
                    <a:gd name="connsiteX8" fmla="*/ 33247 w 95764"/>
                    <a:gd name="connsiteY8" fmla="*/ 43255 h 114394"/>
                    <a:gd name="connsiteX9" fmla="*/ 33247 w 95764"/>
                    <a:gd name="connsiteY9" fmla="*/ 34237 h 114394"/>
                    <a:gd name="connsiteX10" fmla="*/ 61862 w 95764"/>
                    <a:gd name="connsiteY10" fmla="*/ 5615 h 114394"/>
                    <a:gd name="connsiteX11" fmla="*/ 89961 w 95764"/>
                    <a:gd name="connsiteY11" fmla="*/ 5615 h 114394"/>
                    <a:gd name="connsiteX12" fmla="*/ 95765 w 95764"/>
                    <a:gd name="connsiteY12" fmla="*/ 19665 h 114394"/>
                    <a:gd name="connsiteX13" fmla="*/ 89961 w 95764"/>
                    <a:gd name="connsiteY13" fmla="*/ 33714 h 114394"/>
                    <a:gd name="connsiteX14" fmla="*/ 10881 w 95764"/>
                    <a:gd name="connsiteY14" fmla="*/ 112526 h 114394"/>
                    <a:gd name="connsiteX15" fmla="*/ 6379 w 95764"/>
                    <a:gd name="connsiteY15" fmla="*/ 114394 h 114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764" h="114394">
                      <a:moveTo>
                        <a:pt x="6379" y="114394"/>
                      </a:moveTo>
                      <a:cubicBezTo>
                        <a:pt x="4740" y="114394"/>
                        <a:pt x="3107" y="113769"/>
                        <a:pt x="1864" y="112520"/>
                      </a:cubicBezTo>
                      <a:cubicBezTo>
                        <a:pt x="-630" y="110026"/>
                        <a:pt x="-617" y="105989"/>
                        <a:pt x="1876" y="103496"/>
                      </a:cubicBezTo>
                      <a:lnTo>
                        <a:pt x="80950" y="24690"/>
                      </a:lnTo>
                      <a:cubicBezTo>
                        <a:pt x="82276" y="23364"/>
                        <a:pt x="83010" y="21578"/>
                        <a:pt x="83010" y="19671"/>
                      </a:cubicBezTo>
                      <a:cubicBezTo>
                        <a:pt x="83010" y="17758"/>
                        <a:pt x="82276" y="15972"/>
                        <a:pt x="80943" y="14639"/>
                      </a:cubicBezTo>
                      <a:cubicBezTo>
                        <a:pt x="78278" y="11967"/>
                        <a:pt x="73545" y="11967"/>
                        <a:pt x="70880" y="14639"/>
                      </a:cubicBezTo>
                      <a:lnTo>
                        <a:pt x="42265" y="43255"/>
                      </a:lnTo>
                      <a:cubicBezTo>
                        <a:pt x="39771" y="45748"/>
                        <a:pt x="35740" y="45748"/>
                        <a:pt x="33247" y="43255"/>
                      </a:cubicBezTo>
                      <a:cubicBezTo>
                        <a:pt x="30753" y="40761"/>
                        <a:pt x="30753" y="36731"/>
                        <a:pt x="33247" y="34237"/>
                      </a:cubicBezTo>
                      <a:lnTo>
                        <a:pt x="61862" y="5615"/>
                      </a:lnTo>
                      <a:cubicBezTo>
                        <a:pt x="69356" y="-1878"/>
                        <a:pt x="82493" y="-1865"/>
                        <a:pt x="89961" y="5615"/>
                      </a:cubicBezTo>
                      <a:cubicBezTo>
                        <a:pt x="93705" y="9352"/>
                        <a:pt x="95765" y="14346"/>
                        <a:pt x="95765" y="19665"/>
                      </a:cubicBezTo>
                      <a:cubicBezTo>
                        <a:pt x="95765" y="24977"/>
                        <a:pt x="93705" y="29971"/>
                        <a:pt x="89961" y="33714"/>
                      </a:cubicBezTo>
                      <a:lnTo>
                        <a:pt x="10881" y="112526"/>
                      </a:lnTo>
                      <a:cubicBezTo>
                        <a:pt x="9638" y="113776"/>
                        <a:pt x="8005" y="114394"/>
                        <a:pt x="6379" y="114394"/>
                      </a:cubicBezTo>
                      <a:close/>
                    </a:path>
                  </a:pathLst>
                </a:custGeom>
                <a:grpFill/>
                <a:ln w="637" cap="flat">
                  <a:noFill/>
                  <a:prstDash val="solid"/>
                  <a:miter/>
                </a:ln>
              </p:spPr>
              <p:txBody>
                <a:bodyPr rtlCol="0" anchor="ctr"/>
                <a:lstStyle/>
                <a:p>
                  <a:endParaRPr lang="en-GB" dirty="0"/>
                </a:p>
              </p:txBody>
            </p:sp>
            <p:sp>
              <p:nvSpPr>
                <p:cNvPr id="1207" name="Freeform: Shape 1206">
                  <a:extLst>
                    <a:ext uri="{FF2B5EF4-FFF2-40B4-BE49-F238E27FC236}">
                      <a16:creationId xmlns:a16="http://schemas.microsoft.com/office/drawing/2014/main" id="{9053E0A1-3634-49F8-84FE-C9A2F264D878}"/>
                    </a:ext>
                  </a:extLst>
                </p:cNvPr>
                <p:cNvSpPr/>
                <p:nvPr/>
              </p:nvSpPr>
              <p:spPr>
                <a:xfrm>
                  <a:off x="7794467" y="2447324"/>
                  <a:ext cx="89827" cy="89647"/>
                </a:xfrm>
                <a:custGeom>
                  <a:avLst/>
                  <a:gdLst>
                    <a:gd name="connsiteX0" fmla="*/ 25454 w 89827"/>
                    <a:gd name="connsiteY0" fmla="*/ 89648 h 89647"/>
                    <a:gd name="connsiteX1" fmla="*/ 20945 w 89827"/>
                    <a:gd name="connsiteY1" fmla="*/ 87779 h 89647"/>
                    <a:gd name="connsiteX2" fmla="*/ 20945 w 89827"/>
                    <a:gd name="connsiteY2" fmla="*/ 78762 h 89647"/>
                    <a:gd name="connsiteX3" fmla="*/ 75006 w 89827"/>
                    <a:gd name="connsiteY3" fmla="*/ 24700 h 89647"/>
                    <a:gd name="connsiteX4" fmla="*/ 77072 w 89827"/>
                    <a:gd name="connsiteY4" fmla="*/ 19669 h 89647"/>
                    <a:gd name="connsiteX5" fmla="*/ 75006 w 89827"/>
                    <a:gd name="connsiteY5" fmla="*/ 14637 h 89647"/>
                    <a:gd name="connsiteX6" fmla="*/ 64949 w 89827"/>
                    <a:gd name="connsiteY6" fmla="*/ 14631 h 89647"/>
                    <a:gd name="connsiteX7" fmla="*/ 10888 w 89827"/>
                    <a:gd name="connsiteY7" fmla="*/ 68692 h 89647"/>
                    <a:gd name="connsiteX8" fmla="*/ 1870 w 89827"/>
                    <a:gd name="connsiteY8" fmla="*/ 68692 h 89647"/>
                    <a:gd name="connsiteX9" fmla="*/ 1870 w 89827"/>
                    <a:gd name="connsiteY9" fmla="*/ 59674 h 89647"/>
                    <a:gd name="connsiteX10" fmla="*/ 55931 w 89827"/>
                    <a:gd name="connsiteY10" fmla="*/ 5613 h 89647"/>
                    <a:gd name="connsiteX11" fmla="*/ 84024 w 89827"/>
                    <a:gd name="connsiteY11" fmla="*/ 5613 h 89647"/>
                    <a:gd name="connsiteX12" fmla="*/ 89827 w 89827"/>
                    <a:gd name="connsiteY12" fmla="*/ 19662 h 89647"/>
                    <a:gd name="connsiteX13" fmla="*/ 84024 w 89827"/>
                    <a:gd name="connsiteY13" fmla="*/ 33712 h 89647"/>
                    <a:gd name="connsiteX14" fmla="*/ 29963 w 89827"/>
                    <a:gd name="connsiteY14" fmla="*/ 87767 h 89647"/>
                    <a:gd name="connsiteX15" fmla="*/ 25454 w 89827"/>
                    <a:gd name="connsiteY15" fmla="*/ 89648 h 8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827" h="89647">
                      <a:moveTo>
                        <a:pt x="25454" y="89648"/>
                      </a:moveTo>
                      <a:cubicBezTo>
                        <a:pt x="23821" y="89648"/>
                        <a:pt x="22189" y="89023"/>
                        <a:pt x="20945" y="87779"/>
                      </a:cubicBezTo>
                      <a:cubicBezTo>
                        <a:pt x="18451" y="85286"/>
                        <a:pt x="18451" y="81255"/>
                        <a:pt x="20945" y="78762"/>
                      </a:cubicBezTo>
                      <a:lnTo>
                        <a:pt x="75006" y="24700"/>
                      </a:lnTo>
                      <a:cubicBezTo>
                        <a:pt x="76339" y="23368"/>
                        <a:pt x="77072" y="21582"/>
                        <a:pt x="77072" y="19669"/>
                      </a:cubicBezTo>
                      <a:cubicBezTo>
                        <a:pt x="77072" y="17755"/>
                        <a:pt x="76339" y="15970"/>
                        <a:pt x="75006" y="14637"/>
                      </a:cubicBezTo>
                      <a:cubicBezTo>
                        <a:pt x="72347" y="11978"/>
                        <a:pt x="67621" y="11965"/>
                        <a:pt x="64949" y="14631"/>
                      </a:cubicBezTo>
                      <a:lnTo>
                        <a:pt x="10888" y="68692"/>
                      </a:lnTo>
                      <a:cubicBezTo>
                        <a:pt x="8394" y="71185"/>
                        <a:pt x="4364" y="71185"/>
                        <a:pt x="1870" y="68692"/>
                      </a:cubicBezTo>
                      <a:cubicBezTo>
                        <a:pt x="-623" y="66198"/>
                        <a:pt x="-623" y="62168"/>
                        <a:pt x="1870" y="59674"/>
                      </a:cubicBezTo>
                      <a:lnTo>
                        <a:pt x="55931" y="5613"/>
                      </a:lnTo>
                      <a:cubicBezTo>
                        <a:pt x="63412" y="-1874"/>
                        <a:pt x="76556" y="-1868"/>
                        <a:pt x="84024" y="5613"/>
                      </a:cubicBezTo>
                      <a:cubicBezTo>
                        <a:pt x="87767" y="9350"/>
                        <a:pt x="89827" y="14344"/>
                        <a:pt x="89827" y="19662"/>
                      </a:cubicBezTo>
                      <a:cubicBezTo>
                        <a:pt x="89827" y="24975"/>
                        <a:pt x="87767" y="29968"/>
                        <a:pt x="84024" y="33712"/>
                      </a:cubicBezTo>
                      <a:lnTo>
                        <a:pt x="29963" y="87767"/>
                      </a:lnTo>
                      <a:cubicBezTo>
                        <a:pt x="28719" y="89023"/>
                        <a:pt x="27086" y="89648"/>
                        <a:pt x="25454" y="89648"/>
                      </a:cubicBezTo>
                      <a:close/>
                    </a:path>
                  </a:pathLst>
                </a:custGeom>
                <a:grpFill/>
                <a:ln w="637" cap="flat">
                  <a:noFill/>
                  <a:prstDash val="solid"/>
                  <a:miter/>
                </a:ln>
              </p:spPr>
              <p:txBody>
                <a:bodyPr rtlCol="0" anchor="ctr"/>
                <a:lstStyle/>
                <a:p>
                  <a:endParaRPr lang="en-GB" dirty="0"/>
                </a:p>
              </p:txBody>
            </p:sp>
            <p:sp>
              <p:nvSpPr>
                <p:cNvPr id="1208" name="Freeform: Shape 1207">
                  <a:extLst>
                    <a:ext uri="{FF2B5EF4-FFF2-40B4-BE49-F238E27FC236}">
                      <a16:creationId xmlns:a16="http://schemas.microsoft.com/office/drawing/2014/main" id="{2751F835-7079-4EBA-B935-A04F65551094}"/>
                    </a:ext>
                  </a:extLst>
                </p:cNvPr>
                <p:cNvSpPr/>
                <p:nvPr/>
              </p:nvSpPr>
              <p:spPr>
                <a:xfrm>
                  <a:off x="7807183" y="2482110"/>
                  <a:ext cx="80289" cy="80300"/>
                </a:xfrm>
                <a:custGeom>
                  <a:avLst/>
                  <a:gdLst>
                    <a:gd name="connsiteX0" fmla="*/ 25460 w 80289"/>
                    <a:gd name="connsiteY0" fmla="*/ 80301 h 80300"/>
                    <a:gd name="connsiteX1" fmla="*/ 20951 w 80289"/>
                    <a:gd name="connsiteY1" fmla="*/ 78432 h 80300"/>
                    <a:gd name="connsiteX2" fmla="*/ 20951 w 80289"/>
                    <a:gd name="connsiteY2" fmla="*/ 69415 h 80300"/>
                    <a:gd name="connsiteX3" fmla="*/ 65466 w 80289"/>
                    <a:gd name="connsiteY3" fmla="*/ 24894 h 80300"/>
                    <a:gd name="connsiteX4" fmla="*/ 65466 w 80289"/>
                    <a:gd name="connsiteY4" fmla="*/ 14831 h 80300"/>
                    <a:gd name="connsiteX5" fmla="*/ 55402 w 80289"/>
                    <a:gd name="connsiteY5" fmla="*/ 14831 h 80300"/>
                    <a:gd name="connsiteX6" fmla="*/ 10888 w 80289"/>
                    <a:gd name="connsiteY6" fmla="*/ 59345 h 80300"/>
                    <a:gd name="connsiteX7" fmla="*/ 1870 w 80289"/>
                    <a:gd name="connsiteY7" fmla="*/ 59345 h 80300"/>
                    <a:gd name="connsiteX8" fmla="*/ 1870 w 80289"/>
                    <a:gd name="connsiteY8" fmla="*/ 50327 h 80300"/>
                    <a:gd name="connsiteX9" fmla="*/ 46385 w 80289"/>
                    <a:gd name="connsiteY9" fmla="*/ 5807 h 80300"/>
                    <a:gd name="connsiteX10" fmla="*/ 74483 w 80289"/>
                    <a:gd name="connsiteY10" fmla="*/ 5807 h 80300"/>
                    <a:gd name="connsiteX11" fmla="*/ 74483 w 80289"/>
                    <a:gd name="connsiteY11" fmla="*/ 33905 h 80300"/>
                    <a:gd name="connsiteX12" fmla="*/ 29969 w 80289"/>
                    <a:gd name="connsiteY12" fmla="*/ 78426 h 80300"/>
                    <a:gd name="connsiteX13" fmla="*/ 25460 w 80289"/>
                    <a:gd name="connsiteY13" fmla="*/ 80301 h 8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89" h="80300">
                      <a:moveTo>
                        <a:pt x="25460" y="80301"/>
                      </a:moveTo>
                      <a:cubicBezTo>
                        <a:pt x="23828" y="80301"/>
                        <a:pt x="22195" y="79676"/>
                        <a:pt x="20951" y="78432"/>
                      </a:cubicBezTo>
                      <a:cubicBezTo>
                        <a:pt x="18458" y="75939"/>
                        <a:pt x="18458" y="71908"/>
                        <a:pt x="20951" y="69415"/>
                      </a:cubicBezTo>
                      <a:lnTo>
                        <a:pt x="65466" y="24894"/>
                      </a:lnTo>
                      <a:cubicBezTo>
                        <a:pt x="68240" y="22120"/>
                        <a:pt x="68240" y="17605"/>
                        <a:pt x="65466" y="14831"/>
                      </a:cubicBezTo>
                      <a:cubicBezTo>
                        <a:pt x="62685" y="12056"/>
                        <a:pt x="58176" y="12056"/>
                        <a:pt x="55402" y="14831"/>
                      </a:cubicBezTo>
                      <a:lnTo>
                        <a:pt x="10888" y="59345"/>
                      </a:lnTo>
                      <a:cubicBezTo>
                        <a:pt x="8394" y="61838"/>
                        <a:pt x="4364" y="61838"/>
                        <a:pt x="1870" y="59345"/>
                      </a:cubicBezTo>
                      <a:cubicBezTo>
                        <a:pt x="-623" y="56851"/>
                        <a:pt x="-623" y="52821"/>
                        <a:pt x="1870" y="50327"/>
                      </a:cubicBezTo>
                      <a:lnTo>
                        <a:pt x="46385" y="5807"/>
                      </a:lnTo>
                      <a:cubicBezTo>
                        <a:pt x="54133" y="-1936"/>
                        <a:pt x="66735" y="-1936"/>
                        <a:pt x="74483" y="5807"/>
                      </a:cubicBezTo>
                      <a:cubicBezTo>
                        <a:pt x="82225" y="13555"/>
                        <a:pt x="82225" y="26157"/>
                        <a:pt x="74483" y="33905"/>
                      </a:cubicBezTo>
                      <a:lnTo>
                        <a:pt x="29969" y="78426"/>
                      </a:lnTo>
                      <a:cubicBezTo>
                        <a:pt x="28725" y="79676"/>
                        <a:pt x="27093" y="80301"/>
                        <a:pt x="25460" y="80301"/>
                      </a:cubicBezTo>
                      <a:close/>
                    </a:path>
                  </a:pathLst>
                </a:custGeom>
                <a:grpFill/>
                <a:ln w="637" cap="flat">
                  <a:noFill/>
                  <a:prstDash val="solid"/>
                  <a:miter/>
                </a:ln>
              </p:spPr>
              <p:txBody>
                <a:bodyPr rtlCol="0" anchor="ctr"/>
                <a:lstStyle/>
                <a:p>
                  <a:endParaRPr lang="en-GB" dirty="0"/>
                </a:p>
              </p:txBody>
            </p:sp>
            <p:sp>
              <p:nvSpPr>
                <p:cNvPr id="1209" name="Freeform: Shape 1208">
                  <a:extLst>
                    <a:ext uri="{FF2B5EF4-FFF2-40B4-BE49-F238E27FC236}">
                      <a16:creationId xmlns:a16="http://schemas.microsoft.com/office/drawing/2014/main" id="{97AAA965-6AA4-438E-998E-A19176D9659F}"/>
                    </a:ext>
                  </a:extLst>
                </p:cNvPr>
                <p:cNvSpPr/>
                <p:nvPr/>
              </p:nvSpPr>
              <p:spPr>
                <a:xfrm>
                  <a:off x="7759480" y="2443952"/>
                  <a:ext cx="89836" cy="80303"/>
                </a:xfrm>
                <a:custGeom>
                  <a:avLst/>
                  <a:gdLst>
                    <a:gd name="connsiteX0" fmla="*/ 35001 w 89836"/>
                    <a:gd name="connsiteY0" fmla="*/ 80303 h 80303"/>
                    <a:gd name="connsiteX1" fmla="*/ 30492 w 89836"/>
                    <a:gd name="connsiteY1" fmla="*/ 78435 h 80303"/>
                    <a:gd name="connsiteX2" fmla="*/ 30492 w 89836"/>
                    <a:gd name="connsiteY2" fmla="*/ 69417 h 80303"/>
                    <a:gd name="connsiteX3" fmla="*/ 75013 w 89836"/>
                    <a:gd name="connsiteY3" fmla="*/ 24897 h 80303"/>
                    <a:gd name="connsiteX4" fmla="*/ 75013 w 89836"/>
                    <a:gd name="connsiteY4" fmla="*/ 14833 h 80303"/>
                    <a:gd name="connsiteX5" fmla="*/ 64949 w 89836"/>
                    <a:gd name="connsiteY5" fmla="*/ 14833 h 80303"/>
                    <a:gd name="connsiteX6" fmla="*/ 10888 w 89836"/>
                    <a:gd name="connsiteY6" fmla="*/ 68888 h 80303"/>
                    <a:gd name="connsiteX7" fmla="*/ 1870 w 89836"/>
                    <a:gd name="connsiteY7" fmla="*/ 68888 h 80303"/>
                    <a:gd name="connsiteX8" fmla="*/ 1870 w 89836"/>
                    <a:gd name="connsiteY8" fmla="*/ 59870 h 80303"/>
                    <a:gd name="connsiteX9" fmla="*/ 55931 w 89836"/>
                    <a:gd name="connsiteY9" fmla="*/ 5809 h 80303"/>
                    <a:gd name="connsiteX10" fmla="*/ 84030 w 89836"/>
                    <a:gd name="connsiteY10" fmla="*/ 5809 h 80303"/>
                    <a:gd name="connsiteX11" fmla="*/ 84030 w 89836"/>
                    <a:gd name="connsiteY11" fmla="*/ 33908 h 80303"/>
                    <a:gd name="connsiteX12" fmla="*/ 39510 w 89836"/>
                    <a:gd name="connsiteY12" fmla="*/ 78428 h 80303"/>
                    <a:gd name="connsiteX13" fmla="*/ 35001 w 89836"/>
                    <a:gd name="connsiteY13" fmla="*/ 80303 h 80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836" h="80303">
                      <a:moveTo>
                        <a:pt x="35001" y="80303"/>
                      </a:moveTo>
                      <a:cubicBezTo>
                        <a:pt x="33368" y="80303"/>
                        <a:pt x="31736" y="79678"/>
                        <a:pt x="30492" y="78435"/>
                      </a:cubicBezTo>
                      <a:cubicBezTo>
                        <a:pt x="27998" y="75941"/>
                        <a:pt x="27998" y="71911"/>
                        <a:pt x="30492" y="69417"/>
                      </a:cubicBezTo>
                      <a:lnTo>
                        <a:pt x="75013" y="24897"/>
                      </a:lnTo>
                      <a:cubicBezTo>
                        <a:pt x="77787" y="22122"/>
                        <a:pt x="77787" y="17607"/>
                        <a:pt x="75013" y="14833"/>
                      </a:cubicBezTo>
                      <a:cubicBezTo>
                        <a:pt x="72232" y="12059"/>
                        <a:pt x="67723" y="12059"/>
                        <a:pt x="64949" y="14833"/>
                      </a:cubicBezTo>
                      <a:lnTo>
                        <a:pt x="10888" y="68888"/>
                      </a:lnTo>
                      <a:cubicBezTo>
                        <a:pt x="8394" y="71381"/>
                        <a:pt x="4364" y="71381"/>
                        <a:pt x="1870" y="68888"/>
                      </a:cubicBezTo>
                      <a:cubicBezTo>
                        <a:pt x="-623" y="66394"/>
                        <a:pt x="-623" y="62364"/>
                        <a:pt x="1870" y="59870"/>
                      </a:cubicBezTo>
                      <a:lnTo>
                        <a:pt x="55931" y="5809"/>
                      </a:lnTo>
                      <a:cubicBezTo>
                        <a:pt x="63680" y="-1940"/>
                        <a:pt x="76281" y="-1933"/>
                        <a:pt x="84030" y="5809"/>
                      </a:cubicBezTo>
                      <a:cubicBezTo>
                        <a:pt x="91772" y="13558"/>
                        <a:pt x="91772" y="26159"/>
                        <a:pt x="84030" y="33908"/>
                      </a:cubicBezTo>
                      <a:lnTo>
                        <a:pt x="39510" y="78428"/>
                      </a:lnTo>
                      <a:cubicBezTo>
                        <a:pt x="38260" y="79678"/>
                        <a:pt x="36633" y="80303"/>
                        <a:pt x="35001" y="80303"/>
                      </a:cubicBezTo>
                      <a:close/>
                    </a:path>
                  </a:pathLst>
                </a:custGeom>
                <a:grpFill/>
                <a:ln w="637" cap="flat">
                  <a:noFill/>
                  <a:prstDash val="solid"/>
                  <a:miter/>
                </a:ln>
              </p:spPr>
              <p:txBody>
                <a:bodyPr rtlCol="0" anchor="ctr"/>
                <a:lstStyle/>
                <a:p>
                  <a:endParaRPr lang="en-GB" dirty="0"/>
                </a:p>
              </p:txBody>
            </p:sp>
          </p:grpSp>
          <p:grpSp>
            <p:nvGrpSpPr>
              <p:cNvPr id="1187" name="Graphic 32">
                <a:extLst>
                  <a:ext uri="{FF2B5EF4-FFF2-40B4-BE49-F238E27FC236}">
                    <a16:creationId xmlns:a16="http://schemas.microsoft.com/office/drawing/2014/main" id="{38F453D6-42A0-4457-9ADD-11C12E933EE8}"/>
                  </a:ext>
                </a:extLst>
              </p:cNvPr>
              <p:cNvGrpSpPr/>
              <p:nvPr/>
            </p:nvGrpSpPr>
            <p:grpSpPr>
              <a:xfrm>
                <a:off x="7472716" y="2661191"/>
                <a:ext cx="194076" cy="184906"/>
                <a:chOff x="7472716" y="2661191"/>
                <a:chExt cx="194076" cy="184906"/>
              </a:xfrm>
              <a:grpFill/>
            </p:grpSpPr>
            <p:sp>
              <p:nvSpPr>
                <p:cNvPr id="1200" name="Freeform: Shape 1199">
                  <a:extLst>
                    <a:ext uri="{FF2B5EF4-FFF2-40B4-BE49-F238E27FC236}">
                      <a16:creationId xmlns:a16="http://schemas.microsoft.com/office/drawing/2014/main" id="{E5DC2F21-CF17-4991-AA1E-5DEE89D6813E}"/>
                    </a:ext>
                  </a:extLst>
                </p:cNvPr>
                <p:cNvSpPr/>
                <p:nvPr/>
              </p:nvSpPr>
              <p:spPr>
                <a:xfrm>
                  <a:off x="7578587" y="2738429"/>
                  <a:ext cx="88205" cy="87655"/>
                </a:xfrm>
                <a:custGeom>
                  <a:avLst/>
                  <a:gdLst>
                    <a:gd name="connsiteX0" fmla="*/ 22085 w 88205"/>
                    <a:gd name="connsiteY0" fmla="*/ 87656 h 87655"/>
                    <a:gd name="connsiteX1" fmla="*/ 6460 w 88205"/>
                    <a:gd name="connsiteY1" fmla="*/ 81189 h 87655"/>
                    <a:gd name="connsiteX2" fmla="*/ 0 w 88205"/>
                    <a:gd name="connsiteY2" fmla="*/ 65552 h 87655"/>
                    <a:gd name="connsiteX3" fmla="*/ 6460 w 88205"/>
                    <a:gd name="connsiteY3" fmla="*/ 49914 h 87655"/>
                    <a:gd name="connsiteX4" fmla="*/ 32467 w 88205"/>
                    <a:gd name="connsiteY4" fmla="*/ 23907 h 87655"/>
                    <a:gd name="connsiteX5" fmla="*/ 24629 w 88205"/>
                    <a:gd name="connsiteY5" fmla="*/ 8079 h 87655"/>
                    <a:gd name="connsiteX6" fmla="*/ 29081 w 88205"/>
                    <a:gd name="connsiteY6" fmla="*/ 241 h 87655"/>
                    <a:gd name="connsiteX7" fmla="*/ 36919 w 88205"/>
                    <a:gd name="connsiteY7" fmla="*/ 4692 h 87655"/>
                    <a:gd name="connsiteX8" fmla="*/ 45681 w 88205"/>
                    <a:gd name="connsiteY8" fmla="*/ 19705 h 87655"/>
                    <a:gd name="connsiteX9" fmla="*/ 47550 w 88205"/>
                    <a:gd name="connsiteY9" fmla="*/ 24213 h 87655"/>
                    <a:gd name="connsiteX10" fmla="*/ 45681 w 88205"/>
                    <a:gd name="connsiteY10" fmla="*/ 28722 h 87655"/>
                    <a:gd name="connsiteX11" fmla="*/ 15472 w 88205"/>
                    <a:gd name="connsiteY11" fmla="*/ 58932 h 87655"/>
                    <a:gd name="connsiteX12" fmla="*/ 12748 w 88205"/>
                    <a:gd name="connsiteY12" fmla="*/ 65552 h 87655"/>
                    <a:gd name="connsiteX13" fmla="*/ 15472 w 88205"/>
                    <a:gd name="connsiteY13" fmla="*/ 72171 h 87655"/>
                    <a:gd name="connsiteX14" fmla="*/ 28711 w 88205"/>
                    <a:gd name="connsiteY14" fmla="*/ 72171 h 87655"/>
                    <a:gd name="connsiteX15" fmla="*/ 77288 w 88205"/>
                    <a:gd name="connsiteY15" fmla="*/ 22970 h 87655"/>
                    <a:gd name="connsiteX16" fmla="*/ 86305 w 88205"/>
                    <a:gd name="connsiteY16" fmla="*/ 22912 h 87655"/>
                    <a:gd name="connsiteX17" fmla="*/ 86369 w 88205"/>
                    <a:gd name="connsiteY17" fmla="*/ 31930 h 87655"/>
                    <a:gd name="connsiteX18" fmla="*/ 37761 w 88205"/>
                    <a:gd name="connsiteY18" fmla="*/ 81163 h 87655"/>
                    <a:gd name="connsiteX19" fmla="*/ 22085 w 88205"/>
                    <a:gd name="connsiteY19" fmla="*/ 87656 h 87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205" h="87655">
                      <a:moveTo>
                        <a:pt x="22085" y="87656"/>
                      </a:moveTo>
                      <a:cubicBezTo>
                        <a:pt x="16422" y="87656"/>
                        <a:pt x="10771" y="85500"/>
                        <a:pt x="6460" y="81189"/>
                      </a:cubicBezTo>
                      <a:cubicBezTo>
                        <a:pt x="2296" y="77025"/>
                        <a:pt x="0" y="71476"/>
                        <a:pt x="0" y="65552"/>
                      </a:cubicBezTo>
                      <a:cubicBezTo>
                        <a:pt x="0" y="59633"/>
                        <a:pt x="2289" y="54079"/>
                        <a:pt x="6460" y="49914"/>
                      </a:cubicBezTo>
                      <a:lnTo>
                        <a:pt x="32467" y="23907"/>
                      </a:lnTo>
                      <a:cubicBezTo>
                        <a:pt x="28877" y="19182"/>
                        <a:pt x="26211" y="13805"/>
                        <a:pt x="24629" y="8079"/>
                      </a:cubicBezTo>
                      <a:cubicBezTo>
                        <a:pt x="23698" y="4686"/>
                        <a:pt x="25688" y="1172"/>
                        <a:pt x="29081" y="241"/>
                      </a:cubicBezTo>
                      <a:cubicBezTo>
                        <a:pt x="32474" y="-722"/>
                        <a:pt x="35988" y="1293"/>
                        <a:pt x="36919" y="4692"/>
                      </a:cubicBezTo>
                      <a:cubicBezTo>
                        <a:pt x="38475" y="10343"/>
                        <a:pt x="41510" y="15534"/>
                        <a:pt x="45681" y="19705"/>
                      </a:cubicBezTo>
                      <a:cubicBezTo>
                        <a:pt x="46880" y="20904"/>
                        <a:pt x="47550" y="22523"/>
                        <a:pt x="47550" y="24213"/>
                      </a:cubicBezTo>
                      <a:cubicBezTo>
                        <a:pt x="47550" y="25903"/>
                        <a:pt x="46880" y="27530"/>
                        <a:pt x="45681" y="28722"/>
                      </a:cubicBezTo>
                      <a:lnTo>
                        <a:pt x="15472" y="58932"/>
                      </a:lnTo>
                      <a:cubicBezTo>
                        <a:pt x="13718" y="60686"/>
                        <a:pt x="12748" y="63039"/>
                        <a:pt x="12748" y="65552"/>
                      </a:cubicBezTo>
                      <a:cubicBezTo>
                        <a:pt x="12748" y="68064"/>
                        <a:pt x="13711" y="70418"/>
                        <a:pt x="15472" y="72171"/>
                      </a:cubicBezTo>
                      <a:cubicBezTo>
                        <a:pt x="19119" y="75826"/>
                        <a:pt x="25063" y="75826"/>
                        <a:pt x="28711" y="72171"/>
                      </a:cubicBezTo>
                      <a:lnTo>
                        <a:pt x="77288" y="22970"/>
                      </a:lnTo>
                      <a:cubicBezTo>
                        <a:pt x="79775" y="20457"/>
                        <a:pt x="83805" y="20444"/>
                        <a:pt x="86305" y="22912"/>
                      </a:cubicBezTo>
                      <a:cubicBezTo>
                        <a:pt x="88818" y="25387"/>
                        <a:pt x="88837" y="29424"/>
                        <a:pt x="86369" y="31930"/>
                      </a:cubicBezTo>
                      <a:lnTo>
                        <a:pt x="37761" y="81163"/>
                      </a:lnTo>
                      <a:cubicBezTo>
                        <a:pt x="33437" y="85487"/>
                        <a:pt x="27761" y="87656"/>
                        <a:pt x="22085" y="87656"/>
                      </a:cubicBezTo>
                      <a:close/>
                    </a:path>
                  </a:pathLst>
                </a:custGeom>
                <a:grpFill/>
                <a:ln w="637" cap="flat">
                  <a:noFill/>
                  <a:prstDash val="solid"/>
                  <a:miter/>
                </a:ln>
              </p:spPr>
              <p:txBody>
                <a:bodyPr rtlCol="0" anchor="ctr"/>
                <a:lstStyle/>
                <a:p>
                  <a:endParaRPr lang="en-GB" dirty="0"/>
                </a:p>
              </p:txBody>
            </p:sp>
            <p:sp>
              <p:nvSpPr>
                <p:cNvPr id="1201" name="Freeform: Shape 1200">
                  <a:extLst>
                    <a:ext uri="{FF2B5EF4-FFF2-40B4-BE49-F238E27FC236}">
                      <a16:creationId xmlns:a16="http://schemas.microsoft.com/office/drawing/2014/main" id="{E02B0B7A-E148-4D3E-9C74-DCA27A81841C}"/>
                    </a:ext>
                  </a:extLst>
                </p:cNvPr>
                <p:cNvSpPr/>
                <p:nvPr/>
              </p:nvSpPr>
              <p:spPr>
                <a:xfrm>
                  <a:off x="7472716" y="2661191"/>
                  <a:ext cx="95496" cy="114946"/>
                </a:xfrm>
                <a:custGeom>
                  <a:avLst/>
                  <a:gdLst>
                    <a:gd name="connsiteX0" fmla="*/ 19853 w 95496"/>
                    <a:gd name="connsiteY0" fmla="*/ 114946 h 114946"/>
                    <a:gd name="connsiteX1" fmla="*/ 5803 w 95496"/>
                    <a:gd name="connsiteY1" fmla="*/ 109143 h 114946"/>
                    <a:gd name="connsiteX2" fmla="*/ 0 w 95496"/>
                    <a:gd name="connsiteY2" fmla="*/ 95093 h 114946"/>
                    <a:gd name="connsiteX3" fmla="*/ 5803 w 95496"/>
                    <a:gd name="connsiteY3" fmla="*/ 81044 h 114946"/>
                    <a:gd name="connsiteX4" fmla="*/ 84596 w 95496"/>
                    <a:gd name="connsiteY4" fmla="*/ 1875 h 114946"/>
                    <a:gd name="connsiteX5" fmla="*/ 93614 w 95496"/>
                    <a:gd name="connsiteY5" fmla="*/ 1856 h 114946"/>
                    <a:gd name="connsiteX6" fmla="*/ 93639 w 95496"/>
                    <a:gd name="connsiteY6" fmla="*/ 10880 h 114946"/>
                    <a:gd name="connsiteX7" fmla="*/ 14834 w 95496"/>
                    <a:gd name="connsiteY7" fmla="*/ 90062 h 114946"/>
                    <a:gd name="connsiteX8" fmla="*/ 12755 w 95496"/>
                    <a:gd name="connsiteY8" fmla="*/ 95100 h 114946"/>
                    <a:gd name="connsiteX9" fmla="*/ 14821 w 95496"/>
                    <a:gd name="connsiteY9" fmla="*/ 100131 h 114946"/>
                    <a:gd name="connsiteX10" fmla="*/ 24878 w 95496"/>
                    <a:gd name="connsiteY10" fmla="*/ 100131 h 114946"/>
                    <a:gd name="connsiteX11" fmla="*/ 53500 w 95496"/>
                    <a:gd name="connsiteY11" fmla="*/ 71510 h 114946"/>
                    <a:gd name="connsiteX12" fmla="*/ 62518 w 95496"/>
                    <a:gd name="connsiteY12" fmla="*/ 71510 h 114946"/>
                    <a:gd name="connsiteX13" fmla="*/ 62518 w 95496"/>
                    <a:gd name="connsiteY13" fmla="*/ 80527 h 114946"/>
                    <a:gd name="connsiteX14" fmla="*/ 33896 w 95496"/>
                    <a:gd name="connsiteY14" fmla="*/ 109149 h 114946"/>
                    <a:gd name="connsiteX15" fmla="*/ 19853 w 95496"/>
                    <a:gd name="connsiteY15" fmla="*/ 114946 h 114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496" h="114946">
                      <a:moveTo>
                        <a:pt x="19853" y="114946"/>
                      </a:moveTo>
                      <a:cubicBezTo>
                        <a:pt x="14528" y="114946"/>
                        <a:pt x="9541" y="112886"/>
                        <a:pt x="5803" y="109143"/>
                      </a:cubicBezTo>
                      <a:cubicBezTo>
                        <a:pt x="2060" y="105406"/>
                        <a:pt x="0" y="100412"/>
                        <a:pt x="0" y="95093"/>
                      </a:cubicBezTo>
                      <a:cubicBezTo>
                        <a:pt x="0" y="89781"/>
                        <a:pt x="2060" y="84787"/>
                        <a:pt x="5803" y="81044"/>
                      </a:cubicBezTo>
                      <a:lnTo>
                        <a:pt x="84596" y="1875"/>
                      </a:lnTo>
                      <a:cubicBezTo>
                        <a:pt x="87083" y="-619"/>
                        <a:pt x="91127" y="-625"/>
                        <a:pt x="93614" y="1856"/>
                      </a:cubicBezTo>
                      <a:cubicBezTo>
                        <a:pt x="96114" y="4343"/>
                        <a:pt x="96126" y="8380"/>
                        <a:pt x="93639" y="10880"/>
                      </a:cubicBezTo>
                      <a:lnTo>
                        <a:pt x="14834" y="90062"/>
                      </a:lnTo>
                      <a:cubicBezTo>
                        <a:pt x="13488" y="91407"/>
                        <a:pt x="12755" y="93193"/>
                        <a:pt x="12755" y="95100"/>
                      </a:cubicBezTo>
                      <a:cubicBezTo>
                        <a:pt x="12755" y="97013"/>
                        <a:pt x="13488" y="98799"/>
                        <a:pt x="14821" y="100131"/>
                      </a:cubicBezTo>
                      <a:cubicBezTo>
                        <a:pt x="17487" y="102804"/>
                        <a:pt x="22213" y="102804"/>
                        <a:pt x="24878" y="100131"/>
                      </a:cubicBezTo>
                      <a:lnTo>
                        <a:pt x="53500" y="71510"/>
                      </a:lnTo>
                      <a:cubicBezTo>
                        <a:pt x="55994" y="69016"/>
                        <a:pt x="60024" y="69016"/>
                        <a:pt x="62518" y="71510"/>
                      </a:cubicBezTo>
                      <a:cubicBezTo>
                        <a:pt x="65011" y="74003"/>
                        <a:pt x="65011" y="78034"/>
                        <a:pt x="62518" y="80527"/>
                      </a:cubicBezTo>
                      <a:lnTo>
                        <a:pt x="33896" y="109149"/>
                      </a:lnTo>
                      <a:cubicBezTo>
                        <a:pt x="30159" y="112886"/>
                        <a:pt x="25172" y="114946"/>
                        <a:pt x="19853" y="114946"/>
                      </a:cubicBezTo>
                      <a:close/>
                    </a:path>
                  </a:pathLst>
                </a:custGeom>
                <a:grpFill/>
                <a:ln w="637" cap="flat">
                  <a:noFill/>
                  <a:prstDash val="solid"/>
                  <a:miter/>
                </a:ln>
              </p:spPr>
              <p:txBody>
                <a:bodyPr rtlCol="0" anchor="ctr"/>
                <a:lstStyle/>
                <a:p>
                  <a:endParaRPr lang="en-GB" dirty="0"/>
                </a:p>
              </p:txBody>
            </p:sp>
            <p:sp>
              <p:nvSpPr>
                <p:cNvPr id="1202" name="Freeform: Shape 1201">
                  <a:extLst>
                    <a:ext uri="{FF2B5EF4-FFF2-40B4-BE49-F238E27FC236}">
                      <a16:creationId xmlns:a16="http://schemas.microsoft.com/office/drawing/2014/main" id="{9F0F6DAE-7358-47E8-B0C1-55AF2079B16D}"/>
                    </a:ext>
                  </a:extLst>
                </p:cNvPr>
                <p:cNvSpPr/>
                <p:nvPr/>
              </p:nvSpPr>
              <p:spPr>
                <a:xfrm>
                  <a:off x="7482256" y="2753087"/>
                  <a:ext cx="89827" cy="89827"/>
                </a:xfrm>
                <a:custGeom>
                  <a:avLst/>
                  <a:gdLst>
                    <a:gd name="connsiteX0" fmla="*/ 19853 w 89827"/>
                    <a:gd name="connsiteY0" fmla="*/ 89827 h 89827"/>
                    <a:gd name="connsiteX1" fmla="*/ 5803 w 89827"/>
                    <a:gd name="connsiteY1" fmla="*/ 84024 h 89827"/>
                    <a:gd name="connsiteX2" fmla="*/ 0 w 89827"/>
                    <a:gd name="connsiteY2" fmla="*/ 69974 h 89827"/>
                    <a:gd name="connsiteX3" fmla="*/ 5803 w 89827"/>
                    <a:gd name="connsiteY3" fmla="*/ 55925 h 89827"/>
                    <a:gd name="connsiteX4" fmla="*/ 59865 w 89827"/>
                    <a:gd name="connsiteY4" fmla="*/ 1870 h 89827"/>
                    <a:gd name="connsiteX5" fmla="*/ 68882 w 89827"/>
                    <a:gd name="connsiteY5" fmla="*/ 1870 h 89827"/>
                    <a:gd name="connsiteX6" fmla="*/ 68882 w 89827"/>
                    <a:gd name="connsiteY6" fmla="*/ 10888 h 89827"/>
                    <a:gd name="connsiteX7" fmla="*/ 14821 w 89827"/>
                    <a:gd name="connsiteY7" fmla="*/ 64949 h 89827"/>
                    <a:gd name="connsiteX8" fmla="*/ 12755 w 89827"/>
                    <a:gd name="connsiteY8" fmla="*/ 69981 h 89827"/>
                    <a:gd name="connsiteX9" fmla="*/ 14821 w 89827"/>
                    <a:gd name="connsiteY9" fmla="*/ 75012 h 89827"/>
                    <a:gd name="connsiteX10" fmla="*/ 24878 w 89827"/>
                    <a:gd name="connsiteY10" fmla="*/ 75012 h 89827"/>
                    <a:gd name="connsiteX11" fmla="*/ 78939 w 89827"/>
                    <a:gd name="connsiteY11" fmla="*/ 20951 h 89827"/>
                    <a:gd name="connsiteX12" fmla="*/ 87957 w 89827"/>
                    <a:gd name="connsiteY12" fmla="*/ 20951 h 89827"/>
                    <a:gd name="connsiteX13" fmla="*/ 87957 w 89827"/>
                    <a:gd name="connsiteY13" fmla="*/ 29969 h 89827"/>
                    <a:gd name="connsiteX14" fmla="*/ 33896 w 89827"/>
                    <a:gd name="connsiteY14" fmla="*/ 84030 h 89827"/>
                    <a:gd name="connsiteX15" fmla="*/ 19853 w 89827"/>
                    <a:gd name="connsiteY15" fmla="*/ 89827 h 8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827" h="89827">
                      <a:moveTo>
                        <a:pt x="19853" y="89827"/>
                      </a:moveTo>
                      <a:cubicBezTo>
                        <a:pt x="14528" y="89827"/>
                        <a:pt x="9541" y="87767"/>
                        <a:pt x="5803" y="84024"/>
                      </a:cubicBezTo>
                      <a:cubicBezTo>
                        <a:pt x="2060" y="80287"/>
                        <a:pt x="0" y="75293"/>
                        <a:pt x="0" y="69974"/>
                      </a:cubicBezTo>
                      <a:cubicBezTo>
                        <a:pt x="0" y="64662"/>
                        <a:pt x="2060" y="59668"/>
                        <a:pt x="5803" y="55925"/>
                      </a:cubicBezTo>
                      <a:lnTo>
                        <a:pt x="59865" y="1870"/>
                      </a:lnTo>
                      <a:cubicBezTo>
                        <a:pt x="62358" y="-623"/>
                        <a:pt x="66389" y="-623"/>
                        <a:pt x="68882" y="1870"/>
                      </a:cubicBezTo>
                      <a:cubicBezTo>
                        <a:pt x="71376" y="4364"/>
                        <a:pt x="71376" y="8394"/>
                        <a:pt x="68882" y="10888"/>
                      </a:cubicBezTo>
                      <a:lnTo>
                        <a:pt x="14821" y="64949"/>
                      </a:lnTo>
                      <a:cubicBezTo>
                        <a:pt x="13488" y="66282"/>
                        <a:pt x="12755" y="68067"/>
                        <a:pt x="12755" y="69981"/>
                      </a:cubicBezTo>
                      <a:cubicBezTo>
                        <a:pt x="12755" y="71894"/>
                        <a:pt x="13488" y="73680"/>
                        <a:pt x="14821" y="75012"/>
                      </a:cubicBezTo>
                      <a:cubicBezTo>
                        <a:pt x="17480" y="77685"/>
                        <a:pt x="22206" y="77685"/>
                        <a:pt x="24878" y="75012"/>
                      </a:cubicBezTo>
                      <a:lnTo>
                        <a:pt x="78939" y="20951"/>
                      </a:lnTo>
                      <a:cubicBezTo>
                        <a:pt x="81433" y="18458"/>
                        <a:pt x="85463" y="18458"/>
                        <a:pt x="87957" y="20951"/>
                      </a:cubicBezTo>
                      <a:cubicBezTo>
                        <a:pt x="90451" y="23445"/>
                        <a:pt x="90451" y="27475"/>
                        <a:pt x="87957" y="29969"/>
                      </a:cubicBezTo>
                      <a:lnTo>
                        <a:pt x="33896" y="84030"/>
                      </a:lnTo>
                      <a:cubicBezTo>
                        <a:pt x="30159" y="87767"/>
                        <a:pt x="25172" y="89827"/>
                        <a:pt x="19853" y="89827"/>
                      </a:cubicBezTo>
                      <a:close/>
                    </a:path>
                  </a:pathLst>
                </a:custGeom>
                <a:grpFill/>
                <a:ln w="637" cap="flat">
                  <a:noFill/>
                  <a:prstDash val="solid"/>
                  <a:miter/>
                </a:ln>
              </p:spPr>
              <p:txBody>
                <a:bodyPr rtlCol="0" anchor="ctr"/>
                <a:lstStyle/>
                <a:p>
                  <a:endParaRPr lang="en-GB" dirty="0"/>
                </a:p>
              </p:txBody>
            </p:sp>
            <p:sp>
              <p:nvSpPr>
                <p:cNvPr id="1203" name="Freeform: Shape 1202">
                  <a:extLst>
                    <a:ext uri="{FF2B5EF4-FFF2-40B4-BE49-F238E27FC236}">
                      <a16:creationId xmlns:a16="http://schemas.microsoft.com/office/drawing/2014/main" id="{7F7F1EF9-DC8D-4EBF-8ADA-F8425A497FFD}"/>
                    </a:ext>
                  </a:extLst>
                </p:cNvPr>
                <p:cNvSpPr/>
                <p:nvPr/>
              </p:nvSpPr>
              <p:spPr>
                <a:xfrm>
                  <a:off x="7479071" y="2727648"/>
                  <a:ext cx="80289" cy="80292"/>
                </a:xfrm>
                <a:custGeom>
                  <a:avLst/>
                  <a:gdLst>
                    <a:gd name="connsiteX0" fmla="*/ 19856 w 80289"/>
                    <a:gd name="connsiteY0" fmla="*/ 80293 h 80292"/>
                    <a:gd name="connsiteX1" fmla="*/ 5807 w 80289"/>
                    <a:gd name="connsiteY1" fmla="*/ 74490 h 80292"/>
                    <a:gd name="connsiteX2" fmla="*/ 5807 w 80289"/>
                    <a:gd name="connsiteY2" fmla="*/ 46391 h 80292"/>
                    <a:gd name="connsiteX3" fmla="*/ 50321 w 80289"/>
                    <a:gd name="connsiteY3" fmla="*/ 1870 h 80292"/>
                    <a:gd name="connsiteX4" fmla="*/ 59338 w 80289"/>
                    <a:gd name="connsiteY4" fmla="*/ 1870 h 80292"/>
                    <a:gd name="connsiteX5" fmla="*/ 59338 w 80289"/>
                    <a:gd name="connsiteY5" fmla="*/ 10888 h 80292"/>
                    <a:gd name="connsiteX6" fmla="*/ 14824 w 80289"/>
                    <a:gd name="connsiteY6" fmla="*/ 55408 h 80292"/>
                    <a:gd name="connsiteX7" fmla="*/ 14824 w 80289"/>
                    <a:gd name="connsiteY7" fmla="*/ 65472 h 80292"/>
                    <a:gd name="connsiteX8" fmla="*/ 24888 w 80289"/>
                    <a:gd name="connsiteY8" fmla="*/ 65472 h 80292"/>
                    <a:gd name="connsiteX9" fmla="*/ 69402 w 80289"/>
                    <a:gd name="connsiteY9" fmla="*/ 20958 h 80292"/>
                    <a:gd name="connsiteX10" fmla="*/ 78420 w 80289"/>
                    <a:gd name="connsiteY10" fmla="*/ 20958 h 80292"/>
                    <a:gd name="connsiteX11" fmla="*/ 78420 w 80289"/>
                    <a:gd name="connsiteY11" fmla="*/ 29975 h 80292"/>
                    <a:gd name="connsiteX12" fmla="*/ 33905 w 80289"/>
                    <a:gd name="connsiteY12" fmla="*/ 74496 h 80292"/>
                    <a:gd name="connsiteX13" fmla="*/ 19856 w 80289"/>
                    <a:gd name="connsiteY13" fmla="*/ 80293 h 8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89" h="80292">
                      <a:moveTo>
                        <a:pt x="19856" y="80293"/>
                      </a:moveTo>
                      <a:cubicBezTo>
                        <a:pt x="14767" y="80293"/>
                        <a:pt x="9678" y="78361"/>
                        <a:pt x="5807" y="74490"/>
                      </a:cubicBezTo>
                      <a:cubicBezTo>
                        <a:pt x="-1936" y="66741"/>
                        <a:pt x="-1936" y="54139"/>
                        <a:pt x="5807" y="46391"/>
                      </a:cubicBezTo>
                      <a:lnTo>
                        <a:pt x="50321" y="1870"/>
                      </a:lnTo>
                      <a:cubicBezTo>
                        <a:pt x="52814" y="-623"/>
                        <a:pt x="56845" y="-623"/>
                        <a:pt x="59338" y="1870"/>
                      </a:cubicBezTo>
                      <a:cubicBezTo>
                        <a:pt x="61832" y="4364"/>
                        <a:pt x="61832" y="8394"/>
                        <a:pt x="59338" y="10888"/>
                      </a:cubicBezTo>
                      <a:lnTo>
                        <a:pt x="14824" y="55408"/>
                      </a:lnTo>
                      <a:cubicBezTo>
                        <a:pt x="12050" y="58183"/>
                        <a:pt x="12050" y="62698"/>
                        <a:pt x="14824" y="65472"/>
                      </a:cubicBezTo>
                      <a:cubicBezTo>
                        <a:pt x="17605" y="68246"/>
                        <a:pt x="22114" y="68246"/>
                        <a:pt x="24888" y="65472"/>
                      </a:cubicBezTo>
                      <a:lnTo>
                        <a:pt x="69402" y="20958"/>
                      </a:lnTo>
                      <a:cubicBezTo>
                        <a:pt x="71896" y="18464"/>
                        <a:pt x="75926" y="18464"/>
                        <a:pt x="78420" y="20958"/>
                      </a:cubicBezTo>
                      <a:cubicBezTo>
                        <a:pt x="80913" y="23451"/>
                        <a:pt x="80913" y="27482"/>
                        <a:pt x="78420" y="29975"/>
                      </a:cubicBezTo>
                      <a:lnTo>
                        <a:pt x="33905" y="74496"/>
                      </a:lnTo>
                      <a:cubicBezTo>
                        <a:pt x="30034" y="78354"/>
                        <a:pt x="24945" y="80293"/>
                        <a:pt x="19856" y="80293"/>
                      </a:cubicBezTo>
                      <a:close/>
                    </a:path>
                  </a:pathLst>
                </a:custGeom>
                <a:grpFill/>
                <a:ln w="637" cap="flat">
                  <a:noFill/>
                  <a:prstDash val="solid"/>
                  <a:miter/>
                </a:ln>
              </p:spPr>
              <p:txBody>
                <a:bodyPr rtlCol="0" anchor="ctr"/>
                <a:lstStyle/>
                <a:p>
                  <a:endParaRPr lang="en-GB" dirty="0"/>
                </a:p>
              </p:txBody>
            </p:sp>
            <p:sp>
              <p:nvSpPr>
                <p:cNvPr id="1204" name="Freeform: Shape 1203">
                  <a:extLst>
                    <a:ext uri="{FF2B5EF4-FFF2-40B4-BE49-F238E27FC236}">
                      <a16:creationId xmlns:a16="http://schemas.microsoft.com/office/drawing/2014/main" id="{94B12D45-D3A9-4994-B112-863BAA412489}"/>
                    </a:ext>
                  </a:extLst>
                </p:cNvPr>
                <p:cNvSpPr/>
                <p:nvPr/>
              </p:nvSpPr>
              <p:spPr>
                <a:xfrm>
                  <a:off x="7517227" y="2765804"/>
                  <a:ext cx="89836" cy="80292"/>
                </a:xfrm>
                <a:custGeom>
                  <a:avLst/>
                  <a:gdLst>
                    <a:gd name="connsiteX0" fmla="*/ 19856 w 89836"/>
                    <a:gd name="connsiteY0" fmla="*/ 80293 h 80292"/>
                    <a:gd name="connsiteX1" fmla="*/ 5807 w 89836"/>
                    <a:gd name="connsiteY1" fmla="*/ 74490 h 80292"/>
                    <a:gd name="connsiteX2" fmla="*/ 5807 w 89836"/>
                    <a:gd name="connsiteY2" fmla="*/ 46391 h 80292"/>
                    <a:gd name="connsiteX3" fmla="*/ 50327 w 89836"/>
                    <a:gd name="connsiteY3" fmla="*/ 1870 h 80292"/>
                    <a:gd name="connsiteX4" fmla="*/ 59345 w 89836"/>
                    <a:gd name="connsiteY4" fmla="*/ 1870 h 80292"/>
                    <a:gd name="connsiteX5" fmla="*/ 59345 w 89836"/>
                    <a:gd name="connsiteY5" fmla="*/ 10888 h 80292"/>
                    <a:gd name="connsiteX6" fmla="*/ 14824 w 89836"/>
                    <a:gd name="connsiteY6" fmla="*/ 55408 h 80292"/>
                    <a:gd name="connsiteX7" fmla="*/ 14824 w 89836"/>
                    <a:gd name="connsiteY7" fmla="*/ 65472 h 80292"/>
                    <a:gd name="connsiteX8" fmla="*/ 24888 w 89836"/>
                    <a:gd name="connsiteY8" fmla="*/ 65472 h 80292"/>
                    <a:gd name="connsiteX9" fmla="*/ 78949 w 89836"/>
                    <a:gd name="connsiteY9" fmla="*/ 11417 h 80292"/>
                    <a:gd name="connsiteX10" fmla="*/ 87967 w 89836"/>
                    <a:gd name="connsiteY10" fmla="*/ 11417 h 80292"/>
                    <a:gd name="connsiteX11" fmla="*/ 87967 w 89836"/>
                    <a:gd name="connsiteY11" fmla="*/ 20435 h 80292"/>
                    <a:gd name="connsiteX12" fmla="*/ 33905 w 89836"/>
                    <a:gd name="connsiteY12" fmla="*/ 74496 h 80292"/>
                    <a:gd name="connsiteX13" fmla="*/ 19856 w 89836"/>
                    <a:gd name="connsiteY13" fmla="*/ 80293 h 80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836" h="80292">
                      <a:moveTo>
                        <a:pt x="19856" y="80293"/>
                      </a:moveTo>
                      <a:cubicBezTo>
                        <a:pt x="14767" y="80293"/>
                        <a:pt x="9678" y="78361"/>
                        <a:pt x="5807" y="74490"/>
                      </a:cubicBezTo>
                      <a:cubicBezTo>
                        <a:pt x="-1936" y="66741"/>
                        <a:pt x="-1936" y="54139"/>
                        <a:pt x="5807" y="46391"/>
                      </a:cubicBezTo>
                      <a:lnTo>
                        <a:pt x="50327" y="1870"/>
                      </a:lnTo>
                      <a:cubicBezTo>
                        <a:pt x="52821" y="-623"/>
                        <a:pt x="56851" y="-623"/>
                        <a:pt x="59345" y="1870"/>
                      </a:cubicBezTo>
                      <a:cubicBezTo>
                        <a:pt x="61838" y="4364"/>
                        <a:pt x="61838" y="8394"/>
                        <a:pt x="59345" y="10888"/>
                      </a:cubicBezTo>
                      <a:lnTo>
                        <a:pt x="14824" y="55408"/>
                      </a:lnTo>
                      <a:cubicBezTo>
                        <a:pt x="12050" y="58183"/>
                        <a:pt x="12050" y="62698"/>
                        <a:pt x="14824" y="65472"/>
                      </a:cubicBezTo>
                      <a:cubicBezTo>
                        <a:pt x="17605" y="68246"/>
                        <a:pt x="22114" y="68246"/>
                        <a:pt x="24888" y="65472"/>
                      </a:cubicBezTo>
                      <a:lnTo>
                        <a:pt x="78949" y="11417"/>
                      </a:lnTo>
                      <a:cubicBezTo>
                        <a:pt x="81443" y="8924"/>
                        <a:pt x="85473" y="8924"/>
                        <a:pt x="87967" y="11417"/>
                      </a:cubicBezTo>
                      <a:cubicBezTo>
                        <a:pt x="90460" y="13911"/>
                        <a:pt x="90460" y="17941"/>
                        <a:pt x="87967" y="20435"/>
                      </a:cubicBezTo>
                      <a:lnTo>
                        <a:pt x="33905" y="74496"/>
                      </a:lnTo>
                      <a:cubicBezTo>
                        <a:pt x="30034" y="78361"/>
                        <a:pt x="24945" y="80293"/>
                        <a:pt x="19856" y="80293"/>
                      </a:cubicBezTo>
                      <a:close/>
                    </a:path>
                  </a:pathLst>
                </a:custGeom>
                <a:grpFill/>
                <a:ln w="637" cap="flat">
                  <a:noFill/>
                  <a:prstDash val="solid"/>
                  <a:miter/>
                </a:ln>
              </p:spPr>
              <p:txBody>
                <a:bodyPr rtlCol="0" anchor="ctr"/>
                <a:lstStyle/>
                <a:p>
                  <a:endParaRPr lang="en-GB" dirty="0"/>
                </a:p>
              </p:txBody>
            </p:sp>
          </p:grpSp>
          <p:grpSp>
            <p:nvGrpSpPr>
              <p:cNvPr id="1188" name="Graphic 32">
                <a:extLst>
                  <a:ext uri="{FF2B5EF4-FFF2-40B4-BE49-F238E27FC236}">
                    <a16:creationId xmlns:a16="http://schemas.microsoft.com/office/drawing/2014/main" id="{546989E6-BF18-40AE-93D4-53A0BFA7FE05}"/>
                  </a:ext>
                </a:extLst>
              </p:cNvPr>
              <p:cNvGrpSpPr/>
              <p:nvPr/>
            </p:nvGrpSpPr>
            <p:grpSpPr>
              <a:xfrm>
                <a:off x="7472716" y="2443961"/>
                <a:ext cx="193013" cy="184003"/>
                <a:chOff x="7472716" y="2443961"/>
                <a:chExt cx="193013" cy="184003"/>
              </a:xfrm>
              <a:grpFill/>
            </p:grpSpPr>
            <p:sp>
              <p:nvSpPr>
                <p:cNvPr id="1195" name="Freeform: Shape 1194">
                  <a:extLst>
                    <a:ext uri="{FF2B5EF4-FFF2-40B4-BE49-F238E27FC236}">
                      <a16:creationId xmlns:a16="http://schemas.microsoft.com/office/drawing/2014/main" id="{AB310DA3-BE8C-45CE-A0B9-03E7C957E7F3}"/>
                    </a:ext>
                  </a:extLst>
                </p:cNvPr>
                <p:cNvSpPr/>
                <p:nvPr/>
              </p:nvSpPr>
              <p:spPr>
                <a:xfrm>
                  <a:off x="7578581" y="2463972"/>
                  <a:ext cx="87148" cy="92552"/>
                </a:xfrm>
                <a:custGeom>
                  <a:avLst/>
                  <a:gdLst>
                    <a:gd name="connsiteX0" fmla="*/ 29763 w 87148"/>
                    <a:gd name="connsiteY0" fmla="*/ 92553 h 92552"/>
                    <a:gd name="connsiteX1" fmla="*/ 28832 w 87148"/>
                    <a:gd name="connsiteY1" fmla="*/ 92489 h 92552"/>
                    <a:gd name="connsiteX2" fmla="*/ 23443 w 87148"/>
                    <a:gd name="connsiteY2" fmla="*/ 85257 h 92552"/>
                    <a:gd name="connsiteX3" fmla="*/ 32461 w 87148"/>
                    <a:gd name="connsiteY3" fmla="*/ 63746 h 92552"/>
                    <a:gd name="connsiteX4" fmla="*/ 6460 w 87148"/>
                    <a:gd name="connsiteY4" fmla="*/ 37745 h 92552"/>
                    <a:gd name="connsiteX5" fmla="*/ 0 w 87148"/>
                    <a:gd name="connsiteY5" fmla="*/ 22108 h 92552"/>
                    <a:gd name="connsiteX6" fmla="*/ 6460 w 87148"/>
                    <a:gd name="connsiteY6" fmla="*/ 6464 h 92552"/>
                    <a:gd name="connsiteX7" fmla="*/ 37735 w 87148"/>
                    <a:gd name="connsiteY7" fmla="*/ 6464 h 92552"/>
                    <a:gd name="connsiteX8" fmla="*/ 85317 w 87148"/>
                    <a:gd name="connsiteY8" fmla="*/ 54830 h 92552"/>
                    <a:gd name="connsiteX9" fmla="*/ 85240 w 87148"/>
                    <a:gd name="connsiteY9" fmla="*/ 63848 h 92552"/>
                    <a:gd name="connsiteX10" fmla="*/ 76222 w 87148"/>
                    <a:gd name="connsiteY10" fmla="*/ 63772 h 92552"/>
                    <a:gd name="connsiteX11" fmla="*/ 28679 w 87148"/>
                    <a:gd name="connsiteY11" fmla="*/ 15444 h 92552"/>
                    <a:gd name="connsiteX12" fmla="*/ 15478 w 87148"/>
                    <a:gd name="connsiteY12" fmla="*/ 15482 h 92552"/>
                    <a:gd name="connsiteX13" fmla="*/ 12755 w 87148"/>
                    <a:gd name="connsiteY13" fmla="*/ 22102 h 92552"/>
                    <a:gd name="connsiteX14" fmla="*/ 15478 w 87148"/>
                    <a:gd name="connsiteY14" fmla="*/ 28721 h 92552"/>
                    <a:gd name="connsiteX15" fmla="*/ 45688 w 87148"/>
                    <a:gd name="connsiteY15" fmla="*/ 58931 h 92552"/>
                    <a:gd name="connsiteX16" fmla="*/ 47556 w 87148"/>
                    <a:gd name="connsiteY16" fmla="*/ 63440 h 92552"/>
                    <a:gd name="connsiteX17" fmla="*/ 45688 w 87148"/>
                    <a:gd name="connsiteY17" fmla="*/ 67949 h 92552"/>
                    <a:gd name="connsiteX18" fmla="*/ 36058 w 87148"/>
                    <a:gd name="connsiteY18" fmla="*/ 87094 h 92552"/>
                    <a:gd name="connsiteX19" fmla="*/ 29763 w 87148"/>
                    <a:gd name="connsiteY19" fmla="*/ 92553 h 92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7148" h="92552">
                      <a:moveTo>
                        <a:pt x="29763" y="92553"/>
                      </a:moveTo>
                      <a:cubicBezTo>
                        <a:pt x="29457" y="92553"/>
                        <a:pt x="29145" y="92534"/>
                        <a:pt x="28832" y="92489"/>
                      </a:cubicBezTo>
                      <a:cubicBezTo>
                        <a:pt x="25344" y="91979"/>
                        <a:pt x="22933" y="88739"/>
                        <a:pt x="23443" y="85257"/>
                      </a:cubicBezTo>
                      <a:cubicBezTo>
                        <a:pt x="24598" y="77349"/>
                        <a:pt x="27684" y="70015"/>
                        <a:pt x="32461" y="63746"/>
                      </a:cubicBezTo>
                      <a:lnTo>
                        <a:pt x="6460" y="37745"/>
                      </a:lnTo>
                      <a:cubicBezTo>
                        <a:pt x="2296" y="33581"/>
                        <a:pt x="0" y="28026"/>
                        <a:pt x="0" y="22108"/>
                      </a:cubicBezTo>
                      <a:cubicBezTo>
                        <a:pt x="0" y="16183"/>
                        <a:pt x="2290" y="10629"/>
                        <a:pt x="6460" y="6464"/>
                      </a:cubicBezTo>
                      <a:cubicBezTo>
                        <a:pt x="15082" y="-2158"/>
                        <a:pt x="29119" y="-2152"/>
                        <a:pt x="37735" y="6464"/>
                      </a:cubicBezTo>
                      <a:lnTo>
                        <a:pt x="85317" y="54830"/>
                      </a:lnTo>
                      <a:cubicBezTo>
                        <a:pt x="87791" y="57343"/>
                        <a:pt x="87753" y="61380"/>
                        <a:pt x="85240" y="63848"/>
                      </a:cubicBezTo>
                      <a:cubicBezTo>
                        <a:pt x="82728" y="66316"/>
                        <a:pt x="78684" y="66278"/>
                        <a:pt x="76222" y="63772"/>
                      </a:cubicBezTo>
                      <a:lnTo>
                        <a:pt x="28679" y="15444"/>
                      </a:lnTo>
                      <a:cubicBezTo>
                        <a:pt x="25076" y="11840"/>
                        <a:pt x="19132" y="11834"/>
                        <a:pt x="15478" y="15482"/>
                      </a:cubicBezTo>
                      <a:cubicBezTo>
                        <a:pt x="13724" y="17236"/>
                        <a:pt x="12755" y="19589"/>
                        <a:pt x="12755" y="22102"/>
                      </a:cubicBezTo>
                      <a:cubicBezTo>
                        <a:pt x="12755" y="24614"/>
                        <a:pt x="13718" y="26968"/>
                        <a:pt x="15478" y="28721"/>
                      </a:cubicBezTo>
                      <a:lnTo>
                        <a:pt x="45688" y="58931"/>
                      </a:lnTo>
                      <a:cubicBezTo>
                        <a:pt x="46887" y="60130"/>
                        <a:pt x="47556" y="61750"/>
                        <a:pt x="47556" y="63440"/>
                      </a:cubicBezTo>
                      <a:cubicBezTo>
                        <a:pt x="47556" y="65130"/>
                        <a:pt x="46887" y="66756"/>
                        <a:pt x="45688" y="67949"/>
                      </a:cubicBezTo>
                      <a:cubicBezTo>
                        <a:pt x="40458" y="73185"/>
                        <a:pt x="37123" y="79804"/>
                        <a:pt x="36058" y="87094"/>
                      </a:cubicBezTo>
                      <a:cubicBezTo>
                        <a:pt x="35605" y="90270"/>
                        <a:pt x="32876" y="92553"/>
                        <a:pt x="29763" y="92553"/>
                      </a:cubicBezTo>
                      <a:close/>
                    </a:path>
                  </a:pathLst>
                </a:custGeom>
                <a:grpFill/>
                <a:ln w="637" cap="flat">
                  <a:noFill/>
                  <a:prstDash val="solid"/>
                  <a:miter/>
                </a:ln>
              </p:spPr>
              <p:txBody>
                <a:bodyPr rtlCol="0" anchor="ctr"/>
                <a:lstStyle/>
                <a:p>
                  <a:endParaRPr lang="en-GB" dirty="0"/>
                </a:p>
              </p:txBody>
            </p:sp>
            <p:sp>
              <p:nvSpPr>
                <p:cNvPr id="1196" name="Freeform: Shape 1195">
                  <a:extLst>
                    <a:ext uri="{FF2B5EF4-FFF2-40B4-BE49-F238E27FC236}">
                      <a16:creationId xmlns:a16="http://schemas.microsoft.com/office/drawing/2014/main" id="{1F864DBE-840B-4C14-B249-D27CBF942EA3}"/>
                    </a:ext>
                  </a:extLst>
                </p:cNvPr>
                <p:cNvSpPr/>
                <p:nvPr/>
              </p:nvSpPr>
              <p:spPr>
                <a:xfrm>
                  <a:off x="7472716" y="2514106"/>
                  <a:ext cx="95235" cy="113857"/>
                </a:xfrm>
                <a:custGeom>
                  <a:avLst/>
                  <a:gdLst>
                    <a:gd name="connsiteX0" fmla="*/ 88856 w 95235"/>
                    <a:gd name="connsiteY0" fmla="*/ 113858 h 113857"/>
                    <a:gd name="connsiteX1" fmla="*/ 84354 w 95235"/>
                    <a:gd name="connsiteY1" fmla="*/ 111996 h 113857"/>
                    <a:gd name="connsiteX2" fmla="*/ 5810 w 95235"/>
                    <a:gd name="connsiteY2" fmla="*/ 33720 h 113857"/>
                    <a:gd name="connsiteX3" fmla="*/ 0 w 95235"/>
                    <a:gd name="connsiteY3" fmla="*/ 19664 h 113857"/>
                    <a:gd name="connsiteX4" fmla="*/ 5803 w 95235"/>
                    <a:gd name="connsiteY4" fmla="*/ 5608 h 113857"/>
                    <a:gd name="connsiteX5" fmla="*/ 33896 w 95235"/>
                    <a:gd name="connsiteY5" fmla="*/ 5608 h 113857"/>
                    <a:gd name="connsiteX6" fmla="*/ 62518 w 95235"/>
                    <a:gd name="connsiteY6" fmla="*/ 34230 h 113857"/>
                    <a:gd name="connsiteX7" fmla="*/ 62518 w 95235"/>
                    <a:gd name="connsiteY7" fmla="*/ 43248 h 113857"/>
                    <a:gd name="connsiteX8" fmla="*/ 53500 w 95235"/>
                    <a:gd name="connsiteY8" fmla="*/ 43248 h 113857"/>
                    <a:gd name="connsiteX9" fmla="*/ 24878 w 95235"/>
                    <a:gd name="connsiteY9" fmla="*/ 14626 h 113857"/>
                    <a:gd name="connsiteX10" fmla="*/ 14821 w 95235"/>
                    <a:gd name="connsiteY10" fmla="*/ 14626 h 113857"/>
                    <a:gd name="connsiteX11" fmla="*/ 12755 w 95235"/>
                    <a:gd name="connsiteY11" fmla="*/ 19657 h 113857"/>
                    <a:gd name="connsiteX12" fmla="*/ 14821 w 95235"/>
                    <a:gd name="connsiteY12" fmla="*/ 24683 h 113857"/>
                    <a:gd name="connsiteX13" fmla="*/ 93359 w 95235"/>
                    <a:gd name="connsiteY13" fmla="*/ 102953 h 113857"/>
                    <a:gd name="connsiteX14" fmla="*/ 93371 w 95235"/>
                    <a:gd name="connsiteY14" fmla="*/ 111977 h 113857"/>
                    <a:gd name="connsiteX15" fmla="*/ 88856 w 95235"/>
                    <a:gd name="connsiteY15" fmla="*/ 113858 h 113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235" h="113857">
                      <a:moveTo>
                        <a:pt x="88856" y="113858"/>
                      </a:moveTo>
                      <a:cubicBezTo>
                        <a:pt x="87230" y="113858"/>
                        <a:pt x="85597" y="113239"/>
                        <a:pt x="84354" y="111996"/>
                      </a:cubicBezTo>
                      <a:lnTo>
                        <a:pt x="5810" y="33720"/>
                      </a:lnTo>
                      <a:cubicBezTo>
                        <a:pt x="2060" y="29970"/>
                        <a:pt x="0" y="24976"/>
                        <a:pt x="0" y="19664"/>
                      </a:cubicBezTo>
                      <a:cubicBezTo>
                        <a:pt x="0" y="14345"/>
                        <a:pt x="2060" y="9352"/>
                        <a:pt x="5803" y="5608"/>
                      </a:cubicBezTo>
                      <a:cubicBezTo>
                        <a:pt x="13284" y="-1873"/>
                        <a:pt x="26428" y="-1866"/>
                        <a:pt x="33896" y="5608"/>
                      </a:cubicBezTo>
                      <a:lnTo>
                        <a:pt x="62518" y="34230"/>
                      </a:lnTo>
                      <a:cubicBezTo>
                        <a:pt x="65011" y="36723"/>
                        <a:pt x="65011" y="40754"/>
                        <a:pt x="62518" y="43248"/>
                      </a:cubicBezTo>
                      <a:cubicBezTo>
                        <a:pt x="60024" y="45741"/>
                        <a:pt x="55994" y="45741"/>
                        <a:pt x="53500" y="43248"/>
                      </a:cubicBezTo>
                      <a:lnTo>
                        <a:pt x="24878" y="14626"/>
                      </a:lnTo>
                      <a:cubicBezTo>
                        <a:pt x="22225" y="11966"/>
                        <a:pt x="17500" y="11960"/>
                        <a:pt x="14821" y="14626"/>
                      </a:cubicBezTo>
                      <a:cubicBezTo>
                        <a:pt x="13488" y="15959"/>
                        <a:pt x="12755" y="17744"/>
                        <a:pt x="12755" y="19657"/>
                      </a:cubicBezTo>
                      <a:cubicBezTo>
                        <a:pt x="12755" y="21564"/>
                        <a:pt x="13488" y="23350"/>
                        <a:pt x="14821" y="24683"/>
                      </a:cubicBezTo>
                      <a:lnTo>
                        <a:pt x="93359" y="102953"/>
                      </a:lnTo>
                      <a:cubicBezTo>
                        <a:pt x="95852" y="105440"/>
                        <a:pt x="95865" y="109477"/>
                        <a:pt x="93371" y="111977"/>
                      </a:cubicBezTo>
                      <a:cubicBezTo>
                        <a:pt x="92128" y="113233"/>
                        <a:pt x="90495" y="113858"/>
                        <a:pt x="88856" y="113858"/>
                      </a:cubicBezTo>
                      <a:close/>
                    </a:path>
                  </a:pathLst>
                </a:custGeom>
                <a:grpFill/>
                <a:ln w="637" cap="flat">
                  <a:noFill/>
                  <a:prstDash val="solid"/>
                  <a:miter/>
                </a:ln>
              </p:spPr>
              <p:txBody>
                <a:bodyPr rtlCol="0" anchor="ctr"/>
                <a:lstStyle/>
                <a:p>
                  <a:endParaRPr lang="en-GB" dirty="0"/>
                </a:p>
              </p:txBody>
            </p:sp>
            <p:sp>
              <p:nvSpPr>
                <p:cNvPr id="1197" name="Freeform: Shape 1196">
                  <a:extLst>
                    <a:ext uri="{FF2B5EF4-FFF2-40B4-BE49-F238E27FC236}">
                      <a16:creationId xmlns:a16="http://schemas.microsoft.com/office/drawing/2014/main" id="{8EE99485-77FE-486C-A6C3-26D6623702AB}"/>
                    </a:ext>
                  </a:extLst>
                </p:cNvPr>
                <p:cNvSpPr/>
                <p:nvPr/>
              </p:nvSpPr>
              <p:spPr>
                <a:xfrm>
                  <a:off x="7482250" y="2447324"/>
                  <a:ext cx="89827" cy="89647"/>
                </a:xfrm>
                <a:custGeom>
                  <a:avLst/>
                  <a:gdLst>
                    <a:gd name="connsiteX0" fmla="*/ 64373 w 89827"/>
                    <a:gd name="connsiteY0" fmla="*/ 89648 h 89647"/>
                    <a:gd name="connsiteX1" fmla="*/ 59865 w 89827"/>
                    <a:gd name="connsiteY1" fmla="*/ 87779 h 89647"/>
                    <a:gd name="connsiteX2" fmla="*/ 5803 w 89827"/>
                    <a:gd name="connsiteY2" fmla="*/ 33718 h 89647"/>
                    <a:gd name="connsiteX3" fmla="*/ 0 w 89827"/>
                    <a:gd name="connsiteY3" fmla="*/ 19669 h 89647"/>
                    <a:gd name="connsiteX4" fmla="*/ 5803 w 89827"/>
                    <a:gd name="connsiteY4" fmla="*/ 5613 h 89647"/>
                    <a:gd name="connsiteX5" fmla="*/ 33896 w 89827"/>
                    <a:gd name="connsiteY5" fmla="*/ 5613 h 89647"/>
                    <a:gd name="connsiteX6" fmla="*/ 87957 w 89827"/>
                    <a:gd name="connsiteY6" fmla="*/ 59674 h 89647"/>
                    <a:gd name="connsiteX7" fmla="*/ 87957 w 89827"/>
                    <a:gd name="connsiteY7" fmla="*/ 68692 h 89647"/>
                    <a:gd name="connsiteX8" fmla="*/ 78939 w 89827"/>
                    <a:gd name="connsiteY8" fmla="*/ 68692 h 89647"/>
                    <a:gd name="connsiteX9" fmla="*/ 24878 w 89827"/>
                    <a:gd name="connsiteY9" fmla="*/ 14631 h 89647"/>
                    <a:gd name="connsiteX10" fmla="*/ 14821 w 89827"/>
                    <a:gd name="connsiteY10" fmla="*/ 14631 h 89647"/>
                    <a:gd name="connsiteX11" fmla="*/ 12755 w 89827"/>
                    <a:gd name="connsiteY11" fmla="*/ 19662 h 89647"/>
                    <a:gd name="connsiteX12" fmla="*/ 14821 w 89827"/>
                    <a:gd name="connsiteY12" fmla="*/ 24688 h 89647"/>
                    <a:gd name="connsiteX13" fmla="*/ 68882 w 89827"/>
                    <a:gd name="connsiteY13" fmla="*/ 78749 h 89647"/>
                    <a:gd name="connsiteX14" fmla="*/ 68882 w 89827"/>
                    <a:gd name="connsiteY14" fmla="*/ 87767 h 89647"/>
                    <a:gd name="connsiteX15" fmla="*/ 64373 w 89827"/>
                    <a:gd name="connsiteY15" fmla="*/ 89648 h 8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827" h="89647">
                      <a:moveTo>
                        <a:pt x="64373" y="89648"/>
                      </a:moveTo>
                      <a:cubicBezTo>
                        <a:pt x="62741" y="89648"/>
                        <a:pt x="61108" y="89023"/>
                        <a:pt x="59865" y="87779"/>
                      </a:cubicBezTo>
                      <a:lnTo>
                        <a:pt x="5803" y="33718"/>
                      </a:lnTo>
                      <a:cubicBezTo>
                        <a:pt x="2060" y="29981"/>
                        <a:pt x="0" y="24987"/>
                        <a:pt x="0" y="19669"/>
                      </a:cubicBezTo>
                      <a:cubicBezTo>
                        <a:pt x="0" y="14350"/>
                        <a:pt x="2060" y="9356"/>
                        <a:pt x="5803" y="5613"/>
                      </a:cubicBezTo>
                      <a:cubicBezTo>
                        <a:pt x="13265" y="-1868"/>
                        <a:pt x="26409" y="-1874"/>
                        <a:pt x="33896" y="5613"/>
                      </a:cubicBezTo>
                      <a:lnTo>
                        <a:pt x="87957" y="59674"/>
                      </a:lnTo>
                      <a:cubicBezTo>
                        <a:pt x="90451" y="62168"/>
                        <a:pt x="90451" y="66198"/>
                        <a:pt x="87957" y="68692"/>
                      </a:cubicBezTo>
                      <a:cubicBezTo>
                        <a:pt x="85463" y="71185"/>
                        <a:pt x="81433" y="71185"/>
                        <a:pt x="78939" y="68692"/>
                      </a:cubicBezTo>
                      <a:lnTo>
                        <a:pt x="24878" y="14631"/>
                      </a:lnTo>
                      <a:cubicBezTo>
                        <a:pt x="22206" y="11965"/>
                        <a:pt x="17480" y="11978"/>
                        <a:pt x="14821" y="14631"/>
                      </a:cubicBezTo>
                      <a:cubicBezTo>
                        <a:pt x="13488" y="15963"/>
                        <a:pt x="12755" y="17749"/>
                        <a:pt x="12755" y="19662"/>
                      </a:cubicBezTo>
                      <a:cubicBezTo>
                        <a:pt x="12755" y="21569"/>
                        <a:pt x="13488" y="23355"/>
                        <a:pt x="14821" y="24688"/>
                      </a:cubicBezTo>
                      <a:lnTo>
                        <a:pt x="68882" y="78749"/>
                      </a:lnTo>
                      <a:cubicBezTo>
                        <a:pt x="71376" y="81242"/>
                        <a:pt x="71376" y="85273"/>
                        <a:pt x="68882" y="87767"/>
                      </a:cubicBezTo>
                      <a:cubicBezTo>
                        <a:pt x="67639" y="89023"/>
                        <a:pt x="66006" y="89648"/>
                        <a:pt x="64373" y="89648"/>
                      </a:cubicBezTo>
                      <a:close/>
                    </a:path>
                  </a:pathLst>
                </a:custGeom>
                <a:grpFill/>
                <a:ln w="637" cap="flat">
                  <a:noFill/>
                  <a:prstDash val="solid"/>
                  <a:miter/>
                </a:ln>
              </p:spPr>
              <p:txBody>
                <a:bodyPr rtlCol="0" anchor="ctr"/>
                <a:lstStyle/>
                <a:p>
                  <a:endParaRPr lang="en-GB" dirty="0"/>
                </a:p>
              </p:txBody>
            </p:sp>
            <p:sp>
              <p:nvSpPr>
                <p:cNvPr id="1198" name="Freeform: Shape 1197">
                  <a:extLst>
                    <a:ext uri="{FF2B5EF4-FFF2-40B4-BE49-F238E27FC236}">
                      <a16:creationId xmlns:a16="http://schemas.microsoft.com/office/drawing/2014/main" id="{F5654BDE-E92B-4451-8864-F37B5B7FC38D}"/>
                    </a:ext>
                  </a:extLst>
                </p:cNvPr>
                <p:cNvSpPr/>
                <p:nvPr/>
              </p:nvSpPr>
              <p:spPr>
                <a:xfrm>
                  <a:off x="7479071" y="2482117"/>
                  <a:ext cx="80289" cy="80294"/>
                </a:xfrm>
                <a:custGeom>
                  <a:avLst/>
                  <a:gdLst>
                    <a:gd name="connsiteX0" fmla="*/ 54830 w 80289"/>
                    <a:gd name="connsiteY0" fmla="*/ 80295 h 80294"/>
                    <a:gd name="connsiteX1" fmla="*/ 50321 w 80289"/>
                    <a:gd name="connsiteY1" fmla="*/ 78426 h 80294"/>
                    <a:gd name="connsiteX2" fmla="*/ 5807 w 80289"/>
                    <a:gd name="connsiteY2" fmla="*/ 33905 h 80294"/>
                    <a:gd name="connsiteX3" fmla="*/ 5807 w 80289"/>
                    <a:gd name="connsiteY3" fmla="*/ 5807 h 80294"/>
                    <a:gd name="connsiteX4" fmla="*/ 33905 w 80289"/>
                    <a:gd name="connsiteY4" fmla="*/ 5807 h 80294"/>
                    <a:gd name="connsiteX5" fmla="*/ 78420 w 80289"/>
                    <a:gd name="connsiteY5" fmla="*/ 50327 h 80294"/>
                    <a:gd name="connsiteX6" fmla="*/ 78420 w 80289"/>
                    <a:gd name="connsiteY6" fmla="*/ 59345 h 80294"/>
                    <a:gd name="connsiteX7" fmla="*/ 69402 w 80289"/>
                    <a:gd name="connsiteY7" fmla="*/ 59345 h 80294"/>
                    <a:gd name="connsiteX8" fmla="*/ 24888 w 80289"/>
                    <a:gd name="connsiteY8" fmla="*/ 14824 h 80294"/>
                    <a:gd name="connsiteX9" fmla="*/ 14824 w 80289"/>
                    <a:gd name="connsiteY9" fmla="*/ 14824 h 80294"/>
                    <a:gd name="connsiteX10" fmla="*/ 14824 w 80289"/>
                    <a:gd name="connsiteY10" fmla="*/ 24881 h 80294"/>
                    <a:gd name="connsiteX11" fmla="*/ 59338 w 80289"/>
                    <a:gd name="connsiteY11" fmla="*/ 69402 h 80294"/>
                    <a:gd name="connsiteX12" fmla="*/ 59338 w 80289"/>
                    <a:gd name="connsiteY12" fmla="*/ 78420 h 80294"/>
                    <a:gd name="connsiteX13" fmla="*/ 54830 w 80289"/>
                    <a:gd name="connsiteY13" fmla="*/ 80295 h 8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89" h="80294">
                      <a:moveTo>
                        <a:pt x="54830" y="80295"/>
                      </a:moveTo>
                      <a:cubicBezTo>
                        <a:pt x="53197" y="80295"/>
                        <a:pt x="51564" y="79670"/>
                        <a:pt x="50321" y="78426"/>
                      </a:cubicBezTo>
                      <a:lnTo>
                        <a:pt x="5807" y="33905"/>
                      </a:lnTo>
                      <a:cubicBezTo>
                        <a:pt x="-1936" y="26157"/>
                        <a:pt x="-1936" y="13555"/>
                        <a:pt x="5807" y="5807"/>
                      </a:cubicBezTo>
                      <a:cubicBezTo>
                        <a:pt x="13555" y="-1936"/>
                        <a:pt x="26157" y="-1936"/>
                        <a:pt x="33905" y="5807"/>
                      </a:cubicBezTo>
                      <a:lnTo>
                        <a:pt x="78420" y="50327"/>
                      </a:lnTo>
                      <a:cubicBezTo>
                        <a:pt x="80913" y="52821"/>
                        <a:pt x="80913" y="56851"/>
                        <a:pt x="78420" y="59345"/>
                      </a:cubicBezTo>
                      <a:cubicBezTo>
                        <a:pt x="75926" y="61838"/>
                        <a:pt x="71896" y="61838"/>
                        <a:pt x="69402" y="59345"/>
                      </a:cubicBezTo>
                      <a:lnTo>
                        <a:pt x="24888" y="14824"/>
                      </a:lnTo>
                      <a:cubicBezTo>
                        <a:pt x="22107" y="12050"/>
                        <a:pt x="17598" y="12050"/>
                        <a:pt x="14824" y="14824"/>
                      </a:cubicBezTo>
                      <a:cubicBezTo>
                        <a:pt x="12050" y="17598"/>
                        <a:pt x="12050" y="22107"/>
                        <a:pt x="14824" y="24881"/>
                      </a:cubicBezTo>
                      <a:lnTo>
                        <a:pt x="59338" y="69402"/>
                      </a:lnTo>
                      <a:cubicBezTo>
                        <a:pt x="61832" y="71895"/>
                        <a:pt x="61832" y="75926"/>
                        <a:pt x="59338" y="78420"/>
                      </a:cubicBezTo>
                      <a:cubicBezTo>
                        <a:pt x="58095" y="79670"/>
                        <a:pt x="56462" y="80295"/>
                        <a:pt x="54830" y="80295"/>
                      </a:cubicBezTo>
                      <a:close/>
                    </a:path>
                  </a:pathLst>
                </a:custGeom>
                <a:grpFill/>
                <a:ln w="637" cap="flat">
                  <a:noFill/>
                  <a:prstDash val="solid"/>
                  <a:miter/>
                </a:ln>
              </p:spPr>
              <p:txBody>
                <a:bodyPr rtlCol="0" anchor="ctr"/>
                <a:lstStyle/>
                <a:p>
                  <a:endParaRPr lang="en-GB" dirty="0"/>
                </a:p>
              </p:txBody>
            </p:sp>
            <p:sp>
              <p:nvSpPr>
                <p:cNvPr id="1199" name="Freeform: Shape 1198">
                  <a:extLst>
                    <a:ext uri="{FF2B5EF4-FFF2-40B4-BE49-F238E27FC236}">
                      <a16:creationId xmlns:a16="http://schemas.microsoft.com/office/drawing/2014/main" id="{C539A3B0-4FE1-48D8-AED3-01A51EA38F46}"/>
                    </a:ext>
                  </a:extLst>
                </p:cNvPr>
                <p:cNvSpPr/>
                <p:nvPr/>
              </p:nvSpPr>
              <p:spPr>
                <a:xfrm>
                  <a:off x="7517233" y="2443961"/>
                  <a:ext cx="89836" cy="80294"/>
                </a:xfrm>
                <a:custGeom>
                  <a:avLst/>
                  <a:gdLst>
                    <a:gd name="connsiteX0" fmla="*/ 54836 w 89836"/>
                    <a:gd name="connsiteY0" fmla="*/ 80295 h 80294"/>
                    <a:gd name="connsiteX1" fmla="*/ 50327 w 89836"/>
                    <a:gd name="connsiteY1" fmla="*/ 78426 h 80294"/>
                    <a:gd name="connsiteX2" fmla="*/ 5807 w 89836"/>
                    <a:gd name="connsiteY2" fmla="*/ 33905 h 80294"/>
                    <a:gd name="connsiteX3" fmla="*/ 5807 w 89836"/>
                    <a:gd name="connsiteY3" fmla="*/ 5807 h 80294"/>
                    <a:gd name="connsiteX4" fmla="*/ 33905 w 89836"/>
                    <a:gd name="connsiteY4" fmla="*/ 5807 h 80294"/>
                    <a:gd name="connsiteX5" fmla="*/ 87967 w 89836"/>
                    <a:gd name="connsiteY5" fmla="*/ 59868 h 80294"/>
                    <a:gd name="connsiteX6" fmla="*/ 87967 w 89836"/>
                    <a:gd name="connsiteY6" fmla="*/ 68885 h 80294"/>
                    <a:gd name="connsiteX7" fmla="*/ 78949 w 89836"/>
                    <a:gd name="connsiteY7" fmla="*/ 68885 h 80294"/>
                    <a:gd name="connsiteX8" fmla="*/ 24888 w 89836"/>
                    <a:gd name="connsiteY8" fmla="*/ 14824 h 80294"/>
                    <a:gd name="connsiteX9" fmla="*/ 14824 w 89836"/>
                    <a:gd name="connsiteY9" fmla="*/ 14824 h 80294"/>
                    <a:gd name="connsiteX10" fmla="*/ 14824 w 89836"/>
                    <a:gd name="connsiteY10" fmla="*/ 24881 h 80294"/>
                    <a:gd name="connsiteX11" fmla="*/ 59345 w 89836"/>
                    <a:gd name="connsiteY11" fmla="*/ 69402 h 80294"/>
                    <a:gd name="connsiteX12" fmla="*/ 59345 w 89836"/>
                    <a:gd name="connsiteY12" fmla="*/ 78420 h 80294"/>
                    <a:gd name="connsiteX13" fmla="*/ 54836 w 89836"/>
                    <a:gd name="connsiteY13" fmla="*/ 80295 h 80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836" h="80294">
                      <a:moveTo>
                        <a:pt x="54836" y="80295"/>
                      </a:moveTo>
                      <a:cubicBezTo>
                        <a:pt x="53203" y="80295"/>
                        <a:pt x="51571" y="79670"/>
                        <a:pt x="50327" y="78426"/>
                      </a:cubicBezTo>
                      <a:lnTo>
                        <a:pt x="5807" y="33905"/>
                      </a:lnTo>
                      <a:cubicBezTo>
                        <a:pt x="-1936" y="26157"/>
                        <a:pt x="-1936" y="13555"/>
                        <a:pt x="5807" y="5807"/>
                      </a:cubicBezTo>
                      <a:cubicBezTo>
                        <a:pt x="13555" y="-1936"/>
                        <a:pt x="26157" y="-1936"/>
                        <a:pt x="33905" y="5807"/>
                      </a:cubicBezTo>
                      <a:lnTo>
                        <a:pt x="87967" y="59868"/>
                      </a:lnTo>
                      <a:cubicBezTo>
                        <a:pt x="90460" y="62361"/>
                        <a:pt x="90460" y="66392"/>
                        <a:pt x="87967" y="68885"/>
                      </a:cubicBezTo>
                      <a:cubicBezTo>
                        <a:pt x="85473" y="71379"/>
                        <a:pt x="81443" y="71379"/>
                        <a:pt x="78949" y="68885"/>
                      </a:cubicBezTo>
                      <a:lnTo>
                        <a:pt x="24888" y="14824"/>
                      </a:lnTo>
                      <a:cubicBezTo>
                        <a:pt x="22107" y="12050"/>
                        <a:pt x="17598" y="12050"/>
                        <a:pt x="14824" y="14824"/>
                      </a:cubicBezTo>
                      <a:cubicBezTo>
                        <a:pt x="12050" y="17598"/>
                        <a:pt x="12050" y="22107"/>
                        <a:pt x="14824" y="24881"/>
                      </a:cubicBezTo>
                      <a:lnTo>
                        <a:pt x="59345" y="69402"/>
                      </a:lnTo>
                      <a:cubicBezTo>
                        <a:pt x="61838" y="71896"/>
                        <a:pt x="61838" y="75926"/>
                        <a:pt x="59345" y="78420"/>
                      </a:cubicBezTo>
                      <a:cubicBezTo>
                        <a:pt x="58095" y="79670"/>
                        <a:pt x="56469" y="80295"/>
                        <a:pt x="54836" y="80295"/>
                      </a:cubicBezTo>
                      <a:close/>
                    </a:path>
                  </a:pathLst>
                </a:custGeom>
                <a:grpFill/>
                <a:ln w="637" cap="flat">
                  <a:noFill/>
                  <a:prstDash val="solid"/>
                  <a:miter/>
                </a:ln>
              </p:spPr>
              <p:txBody>
                <a:bodyPr rtlCol="0" anchor="ctr"/>
                <a:lstStyle/>
                <a:p>
                  <a:endParaRPr lang="en-GB" dirty="0"/>
                </a:p>
              </p:txBody>
            </p:sp>
          </p:grpSp>
          <p:grpSp>
            <p:nvGrpSpPr>
              <p:cNvPr id="1189" name="Graphic 32">
                <a:extLst>
                  <a:ext uri="{FF2B5EF4-FFF2-40B4-BE49-F238E27FC236}">
                    <a16:creationId xmlns:a16="http://schemas.microsoft.com/office/drawing/2014/main" id="{03A6FB21-74B8-4254-8DC7-5ECF44F89646}"/>
                  </a:ext>
                </a:extLst>
              </p:cNvPr>
              <p:cNvGrpSpPr/>
              <p:nvPr/>
            </p:nvGrpSpPr>
            <p:grpSpPr>
              <a:xfrm>
                <a:off x="7699214" y="2661186"/>
                <a:ext cx="194620" cy="184910"/>
                <a:chOff x="7699214" y="2661186"/>
                <a:chExt cx="194620" cy="184910"/>
              </a:xfrm>
              <a:grpFill/>
            </p:grpSpPr>
            <p:sp>
              <p:nvSpPr>
                <p:cNvPr id="1190" name="Freeform: Shape 1189">
                  <a:extLst>
                    <a:ext uri="{FF2B5EF4-FFF2-40B4-BE49-F238E27FC236}">
                      <a16:creationId xmlns:a16="http://schemas.microsoft.com/office/drawing/2014/main" id="{5BF24D68-A73E-45A1-9991-A8E47342E5B9}"/>
                    </a:ext>
                  </a:extLst>
                </p:cNvPr>
                <p:cNvSpPr/>
                <p:nvPr/>
              </p:nvSpPr>
              <p:spPr>
                <a:xfrm>
                  <a:off x="7699214" y="2736183"/>
                  <a:ext cx="88749" cy="89901"/>
                </a:xfrm>
                <a:custGeom>
                  <a:avLst/>
                  <a:gdLst>
                    <a:gd name="connsiteX0" fmla="*/ 66645 w 88749"/>
                    <a:gd name="connsiteY0" fmla="*/ 89901 h 89901"/>
                    <a:gd name="connsiteX1" fmla="*/ 51008 w 88749"/>
                    <a:gd name="connsiteY1" fmla="*/ 83435 h 89901"/>
                    <a:gd name="connsiteX2" fmla="*/ 1889 w 88749"/>
                    <a:gd name="connsiteY2" fmla="*/ 34756 h 89901"/>
                    <a:gd name="connsiteX3" fmla="*/ 1851 w 88749"/>
                    <a:gd name="connsiteY3" fmla="*/ 25732 h 89901"/>
                    <a:gd name="connsiteX4" fmla="*/ 10869 w 88749"/>
                    <a:gd name="connsiteY4" fmla="*/ 25694 h 89901"/>
                    <a:gd name="connsiteX5" fmla="*/ 60006 w 88749"/>
                    <a:gd name="connsiteY5" fmla="*/ 74392 h 89901"/>
                    <a:gd name="connsiteX6" fmla="*/ 73265 w 88749"/>
                    <a:gd name="connsiteY6" fmla="*/ 74411 h 89901"/>
                    <a:gd name="connsiteX7" fmla="*/ 75988 w 88749"/>
                    <a:gd name="connsiteY7" fmla="*/ 67791 h 89901"/>
                    <a:gd name="connsiteX8" fmla="*/ 73265 w 88749"/>
                    <a:gd name="connsiteY8" fmla="*/ 61171 h 89901"/>
                    <a:gd name="connsiteX9" fmla="*/ 43055 w 88749"/>
                    <a:gd name="connsiteY9" fmla="*/ 30962 h 89901"/>
                    <a:gd name="connsiteX10" fmla="*/ 41187 w 88749"/>
                    <a:gd name="connsiteY10" fmla="*/ 26453 h 89901"/>
                    <a:gd name="connsiteX11" fmla="*/ 43055 w 88749"/>
                    <a:gd name="connsiteY11" fmla="*/ 21944 h 89901"/>
                    <a:gd name="connsiteX12" fmla="*/ 52277 w 88749"/>
                    <a:gd name="connsiteY12" fmla="*/ 5038 h 89901"/>
                    <a:gd name="connsiteX13" fmla="*/ 59853 w 88749"/>
                    <a:gd name="connsiteY13" fmla="*/ 140 h 89901"/>
                    <a:gd name="connsiteX14" fmla="*/ 64751 w 88749"/>
                    <a:gd name="connsiteY14" fmla="*/ 7716 h 89901"/>
                    <a:gd name="connsiteX15" fmla="*/ 56282 w 88749"/>
                    <a:gd name="connsiteY15" fmla="*/ 26153 h 89901"/>
                    <a:gd name="connsiteX16" fmla="*/ 82289 w 88749"/>
                    <a:gd name="connsiteY16" fmla="*/ 52160 h 89901"/>
                    <a:gd name="connsiteX17" fmla="*/ 88749 w 88749"/>
                    <a:gd name="connsiteY17" fmla="*/ 67798 h 89901"/>
                    <a:gd name="connsiteX18" fmla="*/ 82289 w 88749"/>
                    <a:gd name="connsiteY18" fmla="*/ 83441 h 89901"/>
                    <a:gd name="connsiteX19" fmla="*/ 66645 w 88749"/>
                    <a:gd name="connsiteY19" fmla="*/ 89901 h 89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8749" h="89901">
                      <a:moveTo>
                        <a:pt x="66645" y="89901"/>
                      </a:moveTo>
                      <a:cubicBezTo>
                        <a:pt x="60982" y="89901"/>
                        <a:pt x="55319" y="87746"/>
                        <a:pt x="51008" y="83435"/>
                      </a:cubicBezTo>
                      <a:lnTo>
                        <a:pt x="1889" y="34756"/>
                      </a:lnTo>
                      <a:cubicBezTo>
                        <a:pt x="-617" y="32275"/>
                        <a:pt x="-630" y="28239"/>
                        <a:pt x="1851" y="25732"/>
                      </a:cubicBezTo>
                      <a:cubicBezTo>
                        <a:pt x="4326" y="23226"/>
                        <a:pt x="8362" y="23213"/>
                        <a:pt x="10869" y="25694"/>
                      </a:cubicBezTo>
                      <a:lnTo>
                        <a:pt x="60006" y="74392"/>
                      </a:lnTo>
                      <a:cubicBezTo>
                        <a:pt x="63559" y="77950"/>
                        <a:pt x="69751" y="77925"/>
                        <a:pt x="73265" y="74411"/>
                      </a:cubicBezTo>
                      <a:cubicBezTo>
                        <a:pt x="75019" y="72657"/>
                        <a:pt x="75988" y="70304"/>
                        <a:pt x="75988" y="67791"/>
                      </a:cubicBezTo>
                      <a:cubicBezTo>
                        <a:pt x="75988" y="65278"/>
                        <a:pt x="75025" y="62925"/>
                        <a:pt x="73265" y="61171"/>
                      </a:cubicBezTo>
                      <a:lnTo>
                        <a:pt x="43055" y="30962"/>
                      </a:lnTo>
                      <a:cubicBezTo>
                        <a:pt x="41856" y="29763"/>
                        <a:pt x="41187" y="28143"/>
                        <a:pt x="41187" y="26453"/>
                      </a:cubicBezTo>
                      <a:cubicBezTo>
                        <a:pt x="41187" y="24763"/>
                        <a:pt x="41856" y="23137"/>
                        <a:pt x="43055" y="21944"/>
                      </a:cubicBezTo>
                      <a:cubicBezTo>
                        <a:pt x="47711" y="17289"/>
                        <a:pt x="50900" y="11440"/>
                        <a:pt x="52277" y="5038"/>
                      </a:cubicBezTo>
                      <a:cubicBezTo>
                        <a:pt x="53017" y="1594"/>
                        <a:pt x="56416" y="-587"/>
                        <a:pt x="59853" y="140"/>
                      </a:cubicBezTo>
                      <a:cubicBezTo>
                        <a:pt x="63297" y="879"/>
                        <a:pt x="65491" y="4272"/>
                        <a:pt x="64751" y="7716"/>
                      </a:cubicBezTo>
                      <a:cubicBezTo>
                        <a:pt x="63304" y="14438"/>
                        <a:pt x="60415" y="20713"/>
                        <a:pt x="56282" y="26153"/>
                      </a:cubicBezTo>
                      <a:lnTo>
                        <a:pt x="82289" y="52160"/>
                      </a:lnTo>
                      <a:cubicBezTo>
                        <a:pt x="86454" y="56325"/>
                        <a:pt x="88749" y="61879"/>
                        <a:pt x="88749" y="67798"/>
                      </a:cubicBezTo>
                      <a:cubicBezTo>
                        <a:pt x="88749" y="73722"/>
                        <a:pt x="86460" y="79270"/>
                        <a:pt x="82289" y="83441"/>
                      </a:cubicBezTo>
                      <a:cubicBezTo>
                        <a:pt x="77978" y="87746"/>
                        <a:pt x="72308" y="89901"/>
                        <a:pt x="66645" y="89901"/>
                      </a:cubicBezTo>
                      <a:close/>
                    </a:path>
                  </a:pathLst>
                </a:custGeom>
                <a:grpFill/>
                <a:ln w="637" cap="flat">
                  <a:noFill/>
                  <a:prstDash val="solid"/>
                  <a:miter/>
                </a:ln>
              </p:spPr>
              <p:txBody>
                <a:bodyPr rtlCol="0" anchor="ctr"/>
                <a:lstStyle/>
                <a:p>
                  <a:endParaRPr lang="en-GB" dirty="0"/>
                </a:p>
              </p:txBody>
            </p:sp>
            <p:sp>
              <p:nvSpPr>
                <p:cNvPr id="1191" name="Freeform: Shape 1190">
                  <a:extLst>
                    <a:ext uri="{FF2B5EF4-FFF2-40B4-BE49-F238E27FC236}">
                      <a16:creationId xmlns:a16="http://schemas.microsoft.com/office/drawing/2014/main" id="{98F33F7E-C13B-4BB5-A0C8-CBE642C1E59B}"/>
                    </a:ext>
                  </a:extLst>
                </p:cNvPr>
                <p:cNvSpPr/>
                <p:nvPr/>
              </p:nvSpPr>
              <p:spPr>
                <a:xfrm>
                  <a:off x="7798069" y="2661186"/>
                  <a:ext cx="95765" cy="114950"/>
                </a:xfrm>
                <a:custGeom>
                  <a:avLst/>
                  <a:gdLst>
                    <a:gd name="connsiteX0" fmla="*/ 75912 w 95765"/>
                    <a:gd name="connsiteY0" fmla="*/ 114951 h 114950"/>
                    <a:gd name="connsiteX1" fmla="*/ 61863 w 95765"/>
                    <a:gd name="connsiteY1" fmla="*/ 109147 h 114950"/>
                    <a:gd name="connsiteX2" fmla="*/ 33248 w 95765"/>
                    <a:gd name="connsiteY2" fmla="*/ 80526 h 114950"/>
                    <a:gd name="connsiteX3" fmla="*/ 33248 w 95765"/>
                    <a:gd name="connsiteY3" fmla="*/ 71508 h 114950"/>
                    <a:gd name="connsiteX4" fmla="*/ 42265 w 95765"/>
                    <a:gd name="connsiteY4" fmla="*/ 71508 h 114950"/>
                    <a:gd name="connsiteX5" fmla="*/ 70881 w 95765"/>
                    <a:gd name="connsiteY5" fmla="*/ 100130 h 114950"/>
                    <a:gd name="connsiteX6" fmla="*/ 80944 w 95765"/>
                    <a:gd name="connsiteY6" fmla="*/ 100130 h 114950"/>
                    <a:gd name="connsiteX7" fmla="*/ 83010 w 95765"/>
                    <a:gd name="connsiteY7" fmla="*/ 95098 h 114950"/>
                    <a:gd name="connsiteX8" fmla="*/ 80944 w 95765"/>
                    <a:gd name="connsiteY8" fmla="*/ 90073 h 114950"/>
                    <a:gd name="connsiteX9" fmla="*/ 1865 w 95765"/>
                    <a:gd name="connsiteY9" fmla="*/ 10885 h 114950"/>
                    <a:gd name="connsiteX10" fmla="*/ 1871 w 95765"/>
                    <a:gd name="connsiteY10" fmla="*/ 1867 h 114950"/>
                    <a:gd name="connsiteX11" fmla="*/ 10895 w 95765"/>
                    <a:gd name="connsiteY11" fmla="*/ 1873 h 114950"/>
                    <a:gd name="connsiteX12" fmla="*/ 89968 w 95765"/>
                    <a:gd name="connsiteY12" fmla="*/ 81055 h 114950"/>
                    <a:gd name="connsiteX13" fmla="*/ 95765 w 95765"/>
                    <a:gd name="connsiteY13" fmla="*/ 95098 h 114950"/>
                    <a:gd name="connsiteX14" fmla="*/ 89962 w 95765"/>
                    <a:gd name="connsiteY14" fmla="*/ 109154 h 114950"/>
                    <a:gd name="connsiteX15" fmla="*/ 75912 w 95765"/>
                    <a:gd name="connsiteY15" fmla="*/ 114951 h 11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5765" h="114950">
                      <a:moveTo>
                        <a:pt x="75912" y="114951"/>
                      </a:moveTo>
                      <a:cubicBezTo>
                        <a:pt x="70600" y="114951"/>
                        <a:pt x="65606" y="112891"/>
                        <a:pt x="61863" y="109147"/>
                      </a:cubicBezTo>
                      <a:lnTo>
                        <a:pt x="33248" y="80526"/>
                      </a:lnTo>
                      <a:cubicBezTo>
                        <a:pt x="30754" y="78032"/>
                        <a:pt x="30754" y="74002"/>
                        <a:pt x="33248" y="71508"/>
                      </a:cubicBezTo>
                      <a:cubicBezTo>
                        <a:pt x="35741" y="69015"/>
                        <a:pt x="39772" y="69015"/>
                        <a:pt x="42265" y="71508"/>
                      </a:cubicBezTo>
                      <a:lnTo>
                        <a:pt x="70881" y="100130"/>
                      </a:lnTo>
                      <a:cubicBezTo>
                        <a:pt x="73546" y="102796"/>
                        <a:pt x="78278" y="102796"/>
                        <a:pt x="80944" y="100130"/>
                      </a:cubicBezTo>
                      <a:cubicBezTo>
                        <a:pt x="82277" y="98797"/>
                        <a:pt x="83010" y="97011"/>
                        <a:pt x="83010" y="95098"/>
                      </a:cubicBezTo>
                      <a:cubicBezTo>
                        <a:pt x="83010" y="93191"/>
                        <a:pt x="82277" y="91406"/>
                        <a:pt x="80944" y="90073"/>
                      </a:cubicBezTo>
                      <a:lnTo>
                        <a:pt x="1865" y="10885"/>
                      </a:lnTo>
                      <a:cubicBezTo>
                        <a:pt x="-623" y="8391"/>
                        <a:pt x="-623" y="4354"/>
                        <a:pt x="1871" y="1867"/>
                      </a:cubicBezTo>
                      <a:cubicBezTo>
                        <a:pt x="4364" y="-620"/>
                        <a:pt x="8401" y="-627"/>
                        <a:pt x="10895" y="1873"/>
                      </a:cubicBezTo>
                      <a:lnTo>
                        <a:pt x="89968" y="81055"/>
                      </a:lnTo>
                      <a:cubicBezTo>
                        <a:pt x="93705" y="84792"/>
                        <a:pt x="95765" y="89786"/>
                        <a:pt x="95765" y="95098"/>
                      </a:cubicBezTo>
                      <a:cubicBezTo>
                        <a:pt x="95765" y="100417"/>
                        <a:pt x="93705" y="105410"/>
                        <a:pt x="89962" y="109154"/>
                      </a:cubicBezTo>
                      <a:cubicBezTo>
                        <a:pt x="86225" y="112891"/>
                        <a:pt x="81231" y="114951"/>
                        <a:pt x="75912" y="114951"/>
                      </a:cubicBezTo>
                      <a:close/>
                    </a:path>
                  </a:pathLst>
                </a:custGeom>
                <a:grpFill/>
                <a:ln w="637" cap="flat">
                  <a:noFill/>
                  <a:prstDash val="solid"/>
                  <a:miter/>
                </a:ln>
              </p:spPr>
              <p:txBody>
                <a:bodyPr rtlCol="0" anchor="ctr"/>
                <a:lstStyle/>
                <a:p>
                  <a:endParaRPr lang="en-GB" dirty="0"/>
                </a:p>
              </p:txBody>
            </p:sp>
            <p:sp>
              <p:nvSpPr>
                <p:cNvPr id="1192" name="Freeform: Shape 1191">
                  <a:extLst>
                    <a:ext uri="{FF2B5EF4-FFF2-40B4-BE49-F238E27FC236}">
                      <a16:creationId xmlns:a16="http://schemas.microsoft.com/office/drawing/2014/main" id="{F7AAC739-D3F0-4DAA-8047-B4730475AD8B}"/>
                    </a:ext>
                  </a:extLst>
                </p:cNvPr>
                <p:cNvSpPr/>
                <p:nvPr/>
              </p:nvSpPr>
              <p:spPr>
                <a:xfrm>
                  <a:off x="7794460" y="2753087"/>
                  <a:ext cx="89827" cy="89827"/>
                </a:xfrm>
                <a:custGeom>
                  <a:avLst/>
                  <a:gdLst>
                    <a:gd name="connsiteX0" fmla="*/ 69974 w 89827"/>
                    <a:gd name="connsiteY0" fmla="*/ 89827 h 89827"/>
                    <a:gd name="connsiteX1" fmla="*/ 55931 w 89827"/>
                    <a:gd name="connsiteY1" fmla="*/ 84024 h 89827"/>
                    <a:gd name="connsiteX2" fmla="*/ 1870 w 89827"/>
                    <a:gd name="connsiteY2" fmla="*/ 29963 h 89827"/>
                    <a:gd name="connsiteX3" fmla="*/ 1870 w 89827"/>
                    <a:gd name="connsiteY3" fmla="*/ 20945 h 89827"/>
                    <a:gd name="connsiteX4" fmla="*/ 10888 w 89827"/>
                    <a:gd name="connsiteY4" fmla="*/ 20945 h 89827"/>
                    <a:gd name="connsiteX5" fmla="*/ 64949 w 89827"/>
                    <a:gd name="connsiteY5" fmla="*/ 75006 h 89827"/>
                    <a:gd name="connsiteX6" fmla="*/ 75006 w 89827"/>
                    <a:gd name="connsiteY6" fmla="*/ 75006 h 89827"/>
                    <a:gd name="connsiteX7" fmla="*/ 77072 w 89827"/>
                    <a:gd name="connsiteY7" fmla="*/ 69974 h 89827"/>
                    <a:gd name="connsiteX8" fmla="*/ 75006 w 89827"/>
                    <a:gd name="connsiteY8" fmla="*/ 64949 h 89827"/>
                    <a:gd name="connsiteX9" fmla="*/ 20945 w 89827"/>
                    <a:gd name="connsiteY9" fmla="*/ 10888 h 89827"/>
                    <a:gd name="connsiteX10" fmla="*/ 20945 w 89827"/>
                    <a:gd name="connsiteY10" fmla="*/ 1870 h 89827"/>
                    <a:gd name="connsiteX11" fmla="*/ 29963 w 89827"/>
                    <a:gd name="connsiteY11" fmla="*/ 1870 h 89827"/>
                    <a:gd name="connsiteX12" fmla="*/ 84024 w 89827"/>
                    <a:gd name="connsiteY12" fmla="*/ 55931 h 89827"/>
                    <a:gd name="connsiteX13" fmla="*/ 89827 w 89827"/>
                    <a:gd name="connsiteY13" fmla="*/ 69981 h 89827"/>
                    <a:gd name="connsiteX14" fmla="*/ 84024 w 89827"/>
                    <a:gd name="connsiteY14" fmla="*/ 84036 h 89827"/>
                    <a:gd name="connsiteX15" fmla="*/ 69974 w 89827"/>
                    <a:gd name="connsiteY15" fmla="*/ 89827 h 8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9827" h="89827">
                      <a:moveTo>
                        <a:pt x="69974" y="89827"/>
                      </a:moveTo>
                      <a:cubicBezTo>
                        <a:pt x="64656" y="89827"/>
                        <a:pt x="59669" y="87767"/>
                        <a:pt x="55931" y="84024"/>
                      </a:cubicBezTo>
                      <a:lnTo>
                        <a:pt x="1870" y="29963"/>
                      </a:lnTo>
                      <a:cubicBezTo>
                        <a:pt x="-623" y="27469"/>
                        <a:pt x="-623" y="23438"/>
                        <a:pt x="1870" y="20945"/>
                      </a:cubicBezTo>
                      <a:cubicBezTo>
                        <a:pt x="4364" y="18451"/>
                        <a:pt x="8394" y="18451"/>
                        <a:pt x="10888" y="20945"/>
                      </a:cubicBezTo>
                      <a:lnTo>
                        <a:pt x="64949" y="75006"/>
                      </a:lnTo>
                      <a:cubicBezTo>
                        <a:pt x="67621" y="77678"/>
                        <a:pt x="72347" y="77672"/>
                        <a:pt x="75006" y="75006"/>
                      </a:cubicBezTo>
                      <a:cubicBezTo>
                        <a:pt x="76339" y="73673"/>
                        <a:pt x="77072" y="71888"/>
                        <a:pt x="77072" y="69974"/>
                      </a:cubicBezTo>
                      <a:cubicBezTo>
                        <a:pt x="77072" y="68067"/>
                        <a:pt x="76339" y="66282"/>
                        <a:pt x="75006" y="64949"/>
                      </a:cubicBezTo>
                      <a:lnTo>
                        <a:pt x="20945" y="10888"/>
                      </a:lnTo>
                      <a:cubicBezTo>
                        <a:pt x="18451" y="8394"/>
                        <a:pt x="18451" y="4364"/>
                        <a:pt x="20945" y="1870"/>
                      </a:cubicBezTo>
                      <a:cubicBezTo>
                        <a:pt x="23438" y="-623"/>
                        <a:pt x="27469" y="-623"/>
                        <a:pt x="29963" y="1870"/>
                      </a:cubicBezTo>
                      <a:lnTo>
                        <a:pt x="84024" y="55931"/>
                      </a:lnTo>
                      <a:cubicBezTo>
                        <a:pt x="87767" y="59668"/>
                        <a:pt x="89827" y="64662"/>
                        <a:pt x="89827" y="69981"/>
                      </a:cubicBezTo>
                      <a:cubicBezTo>
                        <a:pt x="89827" y="75299"/>
                        <a:pt x="87767" y="80293"/>
                        <a:pt x="84024" y="84036"/>
                      </a:cubicBezTo>
                      <a:cubicBezTo>
                        <a:pt x="80293" y="87767"/>
                        <a:pt x="75299" y="89827"/>
                        <a:pt x="69974" y="89827"/>
                      </a:cubicBezTo>
                      <a:close/>
                    </a:path>
                  </a:pathLst>
                </a:custGeom>
                <a:grpFill/>
                <a:ln w="637" cap="flat">
                  <a:noFill/>
                  <a:prstDash val="solid"/>
                  <a:miter/>
                </a:ln>
              </p:spPr>
              <p:txBody>
                <a:bodyPr rtlCol="0" anchor="ctr"/>
                <a:lstStyle/>
                <a:p>
                  <a:endParaRPr lang="en-GB" dirty="0"/>
                </a:p>
              </p:txBody>
            </p:sp>
            <p:sp>
              <p:nvSpPr>
                <p:cNvPr id="1193" name="Freeform: Shape 1192">
                  <a:extLst>
                    <a:ext uri="{FF2B5EF4-FFF2-40B4-BE49-F238E27FC236}">
                      <a16:creationId xmlns:a16="http://schemas.microsoft.com/office/drawing/2014/main" id="{CCFBF2FD-39C3-49E0-95C0-63B8398B0A4D}"/>
                    </a:ext>
                  </a:extLst>
                </p:cNvPr>
                <p:cNvSpPr/>
                <p:nvPr/>
              </p:nvSpPr>
              <p:spPr>
                <a:xfrm>
                  <a:off x="7807183" y="2727654"/>
                  <a:ext cx="80289" cy="80286"/>
                </a:xfrm>
                <a:custGeom>
                  <a:avLst/>
                  <a:gdLst>
                    <a:gd name="connsiteX0" fmla="*/ 60434 w 80289"/>
                    <a:gd name="connsiteY0" fmla="*/ 80287 h 80286"/>
                    <a:gd name="connsiteX1" fmla="*/ 46385 w 80289"/>
                    <a:gd name="connsiteY1" fmla="*/ 74483 h 80286"/>
                    <a:gd name="connsiteX2" fmla="*/ 1870 w 80289"/>
                    <a:gd name="connsiteY2" fmla="*/ 29963 h 80286"/>
                    <a:gd name="connsiteX3" fmla="*/ 1870 w 80289"/>
                    <a:gd name="connsiteY3" fmla="*/ 20945 h 80286"/>
                    <a:gd name="connsiteX4" fmla="*/ 10888 w 80289"/>
                    <a:gd name="connsiteY4" fmla="*/ 20945 h 80286"/>
                    <a:gd name="connsiteX5" fmla="*/ 55402 w 80289"/>
                    <a:gd name="connsiteY5" fmla="*/ 65466 h 80286"/>
                    <a:gd name="connsiteX6" fmla="*/ 65466 w 80289"/>
                    <a:gd name="connsiteY6" fmla="*/ 65466 h 80286"/>
                    <a:gd name="connsiteX7" fmla="*/ 65466 w 80289"/>
                    <a:gd name="connsiteY7" fmla="*/ 55408 h 80286"/>
                    <a:gd name="connsiteX8" fmla="*/ 20951 w 80289"/>
                    <a:gd name="connsiteY8" fmla="*/ 10888 h 80286"/>
                    <a:gd name="connsiteX9" fmla="*/ 20951 w 80289"/>
                    <a:gd name="connsiteY9" fmla="*/ 1870 h 80286"/>
                    <a:gd name="connsiteX10" fmla="*/ 29969 w 80289"/>
                    <a:gd name="connsiteY10" fmla="*/ 1870 h 80286"/>
                    <a:gd name="connsiteX11" fmla="*/ 74483 w 80289"/>
                    <a:gd name="connsiteY11" fmla="*/ 46391 h 80286"/>
                    <a:gd name="connsiteX12" fmla="*/ 74483 w 80289"/>
                    <a:gd name="connsiteY12" fmla="*/ 74490 h 80286"/>
                    <a:gd name="connsiteX13" fmla="*/ 60434 w 80289"/>
                    <a:gd name="connsiteY13" fmla="*/ 80287 h 8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289" h="80286">
                      <a:moveTo>
                        <a:pt x="60434" y="80287"/>
                      </a:moveTo>
                      <a:cubicBezTo>
                        <a:pt x="55345" y="80287"/>
                        <a:pt x="50256" y="78354"/>
                        <a:pt x="46385" y="74483"/>
                      </a:cubicBezTo>
                      <a:lnTo>
                        <a:pt x="1870" y="29963"/>
                      </a:lnTo>
                      <a:cubicBezTo>
                        <a:pt x="-623" y="27469"/>
                        <a:pt x="-623" y="23438"/>
                        <a:pt x="1870" y="20945"/>
                      </a:cubicBezTo>
                      <a:cubicBezTo>
                        <a:pt x="4364" y="18451"/>
                        <a:pt x="8394" y="18451"/>
                        <a:pt x="10888" y="20945"/>
                      </a:cubicBezTo>
                      <a:lnTo>
                        <a:pt x="55402" y="65466"/>
                      </a:lnTo>
                      <a:cubicBezTo>
                        <a:pt x="58183" y="68240"/>
                        <a:pt x="62692" y="68240"/>
                        <a:pt x="65466" y="65466"/>
                      </a:cubicBezTo>
                      <a:cubicBezTo>
                        <a:pt x="68240" y="62691"/>
                        <a:pt x="68240" y="58183"/>
                        <a:pt x="65466" y="55408"/>
                      </a:cubicBezTo>
                      <a:lnTo>
                        <a:pt x="20951" y="10888"/>
                      </a:lnTo>
                      <a:cubicBezTo>
                        <a:pt x="18458" y="8394"/>
                        <a:pt x="18458" y="4364"/>
                        <a:pt x="20951" y="1870"/>
                      </a:cubicBezTo>
                      <a:cubicBezTo>
                        <a:pt x="23445" y="-623"/>
                        <a:pt x="27475" y="-623"/>
                        <a:pt x="29969" y="1870"/>
                      </a:cubicBezTo>
                      <a:lnTo>
                        <a:pt x="74483" y="46391"/>
                      </a:lnTo>
                      <a:cubicBezTo>
                        <a:pt x="82225" y="54139"/>
                        <a:pt x="82225" y="66741"/>
                        <a:pt x="74483" y="74490"/>
                      </a:cubicBezTo>
                      <a:cubicBezTo>
                        <a:pt x="70612" y="78348"/>
                        <a:pt x="65523" y="80287"/>
                        <a:pt x="60434" y="80287"/>
                      </a:cubicBezTo>
                      <a:close/>
                    </a:path>
                  </a:pathLst>
                </a:custGeom>
                <a:grpFill/>
                <a:ln w="637" cap="flat">
                  <a:noFill/>
                  <a:prstDash val="solid"/>
                  <a:miter/>
                </a:ln>
              </p:spPr>
              <p:txBody>
                <a:bodyPr rtlCol="0" anchor="ctr"/>
                <a:lstStyle/>
                <a:p>
                  <a:endParaRPr lang="en-GB" dirty="0"/>
                </a:p>
              </p:txBody>
            </p:sp>
            <p:sp>
              <p:nvSpPr>
                <p:cNvPr id="1194" name="Freeform: Shape 1193">
                  <a:extLst>
                    <a:ext uri="{FF2B5EF4-FFF2-40B4-BE49-F238E27FC236}">
                      <a16:creationId xmlns:a16="http://schemas.microsoft.com/office/drawing/2014/main" id="{C4ED2571-119A-4C8F-B9C5-AC03E0FA4720}"/>
                    </a:ext>
                  </a:extLst>
                </p:cNvPr>
                <p:cNvSpPr/>
                <p:nvPr/>
              </p:nvSpPr>
              <p:spPr>
                <a:xfrm>
                  <a:off x="7759480" y="2765810"/>
                  <a:ext cx="89836" cy="80286"/>
                </a:xfrm>
                <a:custGeom>
                  <a:avLst/>
                  <a:gdLst>
                    <a:gd name="connsiteX0" fmla="*/ 69981 w 89836"/>
                    <a:gd name="connsiteY0" fmla="*/ 80287 h 80286"/>
                    <a:gd name="connsiteX1" fmla="*/ 55931 w 89836"/>
                    <a:gd name="connsiteY1" fmla="*/ 74483 h 80286"/>
                    <a:gd name="connsiteX2" fmla="*/ 1870 w 89836"/>
                    <a:gd name="connsiteY2" fmla="*/ 20422 h 80286"/>
                    <a:gd name="connsiteX3" fmla="*/ 1870 w 89836"/>
                    <a:gd name="connsiteY3" fmla="*/ 11404 h 80286"/>
                    <a:gd name="connsiteX4" fmla="*/ 10888 w 89836"/>
                    <a:gd name="connsiteY4" fmla="*/ 11404 h 80286"/>
                    <a:gd name="connsiteX5" fmla="*/ 64949 w 89836"/>
                    <a:gd name="connsiteY5" fmla="*/ 65466 h 80286"/>
                    <a:gd name="connsiteX6" fmla="*/ 75013 w 89836"/>
                    <a:gd name="connsiteY6" fmla="*/ 65466 h 80286"/>
                    <a:gd name="connsiteX7" fmla="*/ 75013 w 89836"/>
                    <a:gd name="connsiteY7" fmla="*/ 55408 h 80286"/>
                    <a:gd name="connsiteX8" fmla="*/ 30492 w 89836"/>
                    <a:gd name="connsiteY8" fmla="*/ 10888 h 80286"/>
                    <a:gd name="connsiteX9" fmla="*/ 30492 w 89836"/>
                    <a:gd name="connsiteY9" fmla="*/ 1870 h 80286"/>
                    <a:gd name="connsiteX10" fmla="*/ 39510 w 89836"/>
                    <a:gd name="connsiteY10" fmla="*/ 1870 h 80286"/>
                    <a:gd name="connsiteX11" fmla="*/ 84030 w 89836"/>
                    <a:gd name="connsiteY11" fmla="*/ 46391 h 80286"/>
                    <a:gd name="connsiteX12" fmla="*/ 84030 w 89836"/>
                    <a:gd name="connsiteY12" fmla="*/ 74490 h 80286"/>
                    <a:gd name="connsiteX13" fmla="*/ 69981 w 89836"/>
                    <a:gd name="connsiteY13" fmla="*/ 80287 h 80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836" h="80286">
                      <a:moveTo>
                        <a:pt x="69981" y="80287"/>
                      </a:moveTo>
                      <a:cubicBezTo>
                        <a:pt x="64892" y="80287"/>
                        <a:pt x="59802" y="78354"/>
                        <a:pt x="55931" y="74483"/>
                      </a:cubicBezTo>
                      <a:lnTo>
                        <a:pt x="1870" y="20422"/>
                      </a:lnTo>
                      <a:cubicBezTo>
                        <a:pt x="-623" y="17928"/>
                        <a:pt x="-623" y="13898"/>
                        <a:pt x="1870" y="11404"/>
                      </a:cubicBezTo>
                      <a:cubicBezTo>
                        <a:pt x="4364" y="8911"/>
                        <a:pt x="8394" y="8911"/>
                        <a:pt x="10888" y="11404"/>
                      </a:cubicBezTo>
                      <a:lnTo>
                        <a:pt x="64949" y="65466"/>
                      </a:lnTo>
                      <a:cubicBezTo>
                        <a:pt x="67730" y="68240"/>
                        <a:pt x="72238" y="68240"/>
                        <a:pt x="75013" y="65466"/>
                      </a:cubicBezTo>
                      <a:cubicBezTo>
                        <a:pt x="77787" y="62691"/>
                        <a:pt x="77787" y="58183"/>
                        <a:pt x="75013" y="55408"/>
                      </a:cubicBezTo>
                      <a:lnTo>
                        <a:pt x="30492" y="10888"/>
                      </a:lnTo>
                      <a:cubicBezTo>
                        <a:pt x="27998" y="8394"/>
                        <a:pt x="27998" y="4364"/>
                        <a:pt x="30492" y="1870"/>
                      </a:cubicBezTo>
                      <a:cubicBezTo>
                        <a:pt x="32986" y="-623"/>
                        <a:pt x="37016" y="-623"/>
                        <a:pt x="39510" y="1870"/>
                      </a:cubicBezTo>
                      <a:lnTo>
                        <a:pt x="84030" y="46391"/>
                      </a:lnTo>
                      <a:cubicBezTo>
                        <a:pt x="91772" y="54139"/>
                        <a:pt x="91772" y="66741"/>
                        <a:pt x="84030" y="74490"/>
                      </a:cubicBezTo>
                      <a:cubicBezTo>
                        <a:pt x="80159" y="78348"/>
                        <a:pt x="75070" y="80287"/>
                        <a:pt x="69981" y="80287"/>
                      </a:cubicBezTo>
                      <a:close/>
                    </a:path>
                  </a:pathLst>
                </a:custGeom>
                <a:grpFill/>
                <a:ln w="637" cap="flat">
                  <a:noFill/>
                  <a:prstDash val="solid"/>
                  <a:miter/>
                </a:ln>
              </p:spPr>
              <p:txBody>
                <a:bodyPr rtlCol="0" anchor="ctr"/>
                <a:lstStyle/>
                <a:p>
                  <a:endParaRPr lang="en-GB" dirty="0"/>
                </a:p>
              </p:txBody>
            </p:sp>
          </p:grpSp>
        </p:grpSp>
        <p:grpSp>
          <p:nvGrpSpPr>
            <p:cNvPr id="1146" name="Graphic 32">
              <a:extLst>
                <a:ext uri="{FF2B5EF4-FFF2-40B4-BE49-F238E27FC236}">
                  <a16:creationId xmlns:a16="http://schemas.microsoft.com/office/drawing/2014/main" id="{F5715EE7-7A70-4CBA-9731-0BA44C39B55F}"/>
                </a:ext>
              </a:extLst>
            </p:cNvPr>
            <p:cNvGrpSpPr/>
            <p:nvPr/>
          </p:nvGrpSpPr>
          <p:grpSpPr>
            <a:xfrm>
              <a:off x="6145006" y="3327147"/>
              <a:ext cx="223164" cy="223144"/>
              <a:chOff x="7572292" y="2533209"/>
              <a:chExt cx="223164" cy="223144"/>
            </a:xfrm>
            <a:solidFill>
              <a:schemeClr val="accent1"/>
            </a:solidFill>
          </p:grpSpPr>
          <p:grpSp>
            <p:nvGrpSpPr>
              <p:cNvPr id="1147" name="Graphic 32">
                <a:extLst>
                  <a:ext uri="{FF2B5EF4-FFF2-40B4-BE49-F238E27FC236}">
                    <a16:creationId xmlns:a16="http://schemas.microsoft.com/office/drawing/2014/main" id="{02108419-7F0A-46FC-A99B-62591CAAF305}"/>
                  </a:ext>
                </a:extLst>
              </p:cNvPr>
              <p:cNvGrpSpPr/>
              <p:nvPr/>
            </p:nvGrpSpPr>
            <p:grpSpPr>
              <a:xfrm>
                <a:off x="7572292" y="2533209"/>
                <a:ext cx="223164" cy="223144"/>
                <a:chOff x="7572292" y="2533209"/>
                <a:chExt cx="223164" cy="223144"/>
              </a:xfrm>
              <a:solidFill>
                <a:schemeClr val="accent1"/>
              </a:solidFill>
            </p:grpSpPr>
            <p:sp>
              <p:nvSpPr>
                <p:cNvPr id="1151" name="Freeform: Shape 1150">
                  <a:extLst>
                    <a:ext uri="{FF2B5EF4-FFF2-40B4-BE49-F238E27FC236}">
                      <a16:creationId xmlns:a16="http://schemas.microsoft.com/office/drawing/2014/main" id="{1FC4D89C-9D59-4BE7-B1FD-9A0E896F0ECC}"/>
                    </a:ext>
                  </a:extLst>
                </p:cNvPr>
                <p:cNvSpPr/>
                <p:nvPr/>
              </p:nvSpPr>
              <p:spPr>
                <a:xfrm>
                  <a:off x="7615117" y="2575893"/>
                  <a:ext cx="137522" cy="137522"/>
                </a:xfrm>
                <a:custGeom>
                  <a:avLst/>
                  <a:gdLst>
                    <a:gd name="connsiteX0" fmla="*/ 68761 w 137522"/>
                    <a:gd name="connsiteY0" fmla="*/ 137522 h 137522"/>
                    <a:gd name="connsiteX1" fmla="*/ 0 w 137522"/>
                    <a:gd name="connsiteY1" fmla="*/ 68761 h 137522"/>
                    <a:gd name="connsiteX2" fmla="*/ 68761 w 137522"/>
                    <a:gd name="connsiteY2" fmla="*/ 0 h 137522"/>
                    <a:gd name="connsiteX3" fmla="*/ 137522 w 137522"/>
                    <a:gd name="connsiteY3" fmla="*/ 68761 h 137522"/>
                    <a:gd name="connsiteX4" fmla="*/ 68761 w 137522"/>
                    <a:gd name="connsiteY4" fmla="*/ 137522 h 137522"/>
                    <a:gd name="connsiteX5" fmla="*/ 68761 w 137522"/>
                    <a:gd name="connsiteY5" fmla="*/ 12755 h 137522"/>
                    <a:gd name="connsiteX6" fmla="*/ 12755 w 137522"/>
                    <a:gd name="connsiteY6" fmla="*/ 68761 h 137522"/>
                    <a:gd name="connsiteX7" fmla="*/ 68761 w 137522"/>
                    <a:gd name="connsiteY7" fmla="*/ 124767 h 137522"/>
                    <a:gd name="connsiteX8" fmla="*/ 124767 w 137522"/>
                    <a:gd name="connsiteY8" fmla="*/ 68761 h 137522"/>
                    <a:gd name="connsiteX9" fmla="*/ 68761 w 137522"/>
                    <a:gd name="connsiteY9" fmla="*/ 12755 h 137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7522" h="137522">
                      <a:moveTo>
                        <a:pt x="68761" y="137522"/>
                      </a:moveTo>
                      <a:cubicBezTo>
                        <a:pt x="30847" y="137522"/>
                        <a:pt x="0" y="106675"/>
                        <a:pt x="0" y="68761"/>
                      </a:cubicBezTo>
                      <a:cubicBezTo>
                        <a:pt x="0" y="30847"/>
                        <a:pt x="30847" y="0"/>
                        <a:pt x="68761" y="0"/>
                      </a:cubicBezTo>
                      <a:cubicBezTo>
                        <a:pt x="106675" y="0"/>
                        <a:pt x="137522" y="30847"/>
                        <a:pt x="137522" y="68761"/>
                      </a:cubicBezTo>
                      <a:cubicBezTo>
                        <a:pt x="137522" y="106675"/>
                        <a:pt x="106675" y="137522"/>
                        <a:pt x="68761" y="137522"/>
                      </a:cubicBezTo>
                      <a:close/>
                      <a:moveTo>
                        <a:pt x="68761" y="12755"/>
                      </a:moveTo>
                      <a:cubicBezTo>
                        <a:pt x="37875" y="12755"/>
                        <a:pt x="12755" y="37875"/>
                        <a:pt x="12755" y="68761"/>
                      </a:cubicBezTo>
                      <a:cubicBezTo>
                        <a:pt x="12755" y="99647"/>
                        <a:pt x="37875" y="124767"/>
                        <a:pt x="68761" y="124767"/>
                      </a:cubicBezTo>
                      <a:cubicBezTo>
                        <a:pt x="99647" y="124767"/>
                        <a:pt x="124767" y="99647"/>
                        <a:pt x="124767" y="68761"/>
                      </a:cubicBezTo>
                      <a:cubicBezTo>
                        <a:pt x="124767" y="37875"/>
                        <a:pt x="99647" y="12755"/>
                        <a:pt x="68761" y="12755"/>
                      </a:cubicBezTo>
                      <a:close/>
                    </a:path>
                  </a:pathLst>
                </a:custGeom>
                <a:solidFill>
                  <a:schemeClr val="accent1"/>
                </a:solidFill>
                <a:ln w="637" cap="flat">
                  <a:noFill/>
                  <a:prstDash val="solid"/>
                  <a:miter/>
                </a:ln>
              </p:spPr>
              <p:txBody>
                <a:bodyPr rtlCol="0" anchor="ctr"/>
                <a:lstStyle/>
                <a:p>
                  <a:endParaRPr lang="en-GB" dirty="0"/>
                </a:p>
              </p:txBody>
            </p:sp>
            <p:grpSp>
              <p:nvGrpSpPr>
                <p:cNvPr id="1152" name="Graphic 32">
                  <a:extLst>
                    <a:ext uri="{FF2B5EF4-FFF2-40B4-BE49-F238E27FC236}">
                      <a16:creationId xmlns:a16="http://schemas.microsoft.com/office/drawing/2014/main" id="{4340A1C1-7305-4A5C-A469-A2BD2F183CA9}"/>
                    </a:ext>
                  </a:extLst>
                </p:cNvPr>
                <p:cNvGrpSpPr/>
                <p:nvPr/>
              </p:nvGrpSpPr>
              <p:grpSpPr>
                <a:xfrm>
                  <a:off x="7572292" y="2624202"/>
                  <a:ext cx="55438" cy="40643"/>
                  <a:chOff x="7572292" y="2624202"/>
                  <a:chExt cx="55438" cy="40643"/>
                </a:xfrm>
                <a:solidFill>
                  <a:schemeClr val="accent1"/>
                </a:solidFill>
              </p:grpSpPr>
              <p:sp>
                <p:nvSpPr>
                  <p:cNvPr id="1184" name="Freeform: Shape 1183">
                    <a:extLst>
                      <a:ext uri="{FF2B5EF4-FFF2-40B4-BE49-F238E27FC236}">
                        <a16:creationId xmlns:a16="http://schemas.microsoft.com/office/drawing/2014/main" id="{2046A022-DF40-40D1-B328-9BB8A281AEA4}"/>
                      </a:ext>
                    </a:extLst>
                  </p:cNvPr>
                  <p:cNvSpPr/>
                  <p:nvPr/>
                </p:nvSpPr>
                <p:spPr>
                  <a:xfrm>
                    <a:off x="7572292" y="2624202"/>
                    <a:ext cx="35745" cy="40643"/>
                  </a:xfrm>
                  <a:custGeom>
                    <a:avLst/>
                    <a:gdLst>
                      <a:gd name="connsiteX0" fmla="*/ 15478 w 35745"/>
                      <a:gd name="connsiteY0" fmla="*/ 40643 h 40643"/>
                      <a:gd name="connsiteX1" fmla="*/ 0 w 35745"/>
                      <a:gd name="connsiteY1" fmla="*/ 20382 h 40643"/>
                      <a:gd name="connsiteX2" fmla="*/ 15000 w 35745"/>
                      <a:gd name="connsiteY2" fmla="*/ 0 h 40643"/>
                      <a:gd name="connsiteX3" fmla="*/ 35745 w 35745"/>
                      <a:gd name="connsiteY3" fmla="*/ 20382 h 40643"/>
                      <a:gd name="connsiteX4" fmla="*/ 15478 w 35745"/>
                      <a:gd name="connsiteY4" fmla="*/ 40643 h 40643"/>
                      <a:gd name="connsiteX5" fmla="*/ 14993 w 35745"/>
                      <a:gd name="connsiteY5" fmla="*/ 12748 h 40643"/>
                      <a:gd name="connsiteX6" fmla="*/ 12748 w 35745"/>
                      <a:gd name="connsiteY6" fmla="*/ 20376 h 40643"/>
                      <a:gd name="connsiteX7" fmla="*/ 15472 w 35745"/>
                      <a:gd name="connsiteY7" fmla="*/ 27882 h 40643"/>
                      <a:gd name="connsiteX8" fmla="*/ 22984 w 35745"/>
                      <a:gd name="connsiteY8" fmla="*/ 20376 h 40643"/>
                      <a:gd name="connsiteX9" fmla="*/ 14993 w 35745"/>
                      <a:gd name="connsiteY9" fmla="*/ 12748 h 40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745" h="40643">
                        <a:moveTo>
                          <a:pt x="15478" y="40643"/>
                        </a:moveTo>
                        <a:cubicBezTo>
                          <a:pt x="6365" y="40643"/>
                          <a:pt x="0" y="32308"/>
                          <a:pt x="0" y="20382"/>
                        </a:cubicBezTo>
                        <a:cubicBezTo>
                          <a:pt x="0" y="7997"/>
                          <a:pt x="5886" y="0"/>
                          <a:pt x="15000" y="0"/>
                        </a:cubicBezTo>
                        <a:cubicBezTo>
                          <a:pt x="25082" y="0"/>
                          <a:pt x="35745" y="10478"/>
                          <a:pt x="35745" y="20382"/>
                        </a:cubicBezTo>
                        <a:cubicBezTo>
                          <a:pt x="35739" y="30414"/>
                          <a:pt x="25516" y="40643"/>
                          <a:pt x="15478" y="40643"/>
                        </a:cubicBezTo>
                        <a:close/>
                        <a:moveTo>
                          <a:pt x="14993" y="12748"/>
                        </a:moveTo>
                        <a:cubicBezTo>
                          <a:pt x="14075" y="12748"/>
                          <a:pt x="12748" y="15720"/>
                          <a:pt x="12748" y="20376"/>
                        </a:cubicBezTo>
                        <a:cubicBezTo>
                          <a:pt x="12748" y="24234"/>
                          <a:pt x="14069" y="27882"/>
                          <a:pt x="15472" y="27882"/>
                        </a:cubicBezTo>
                        <a:cubicBezTo>
                          <a:pt x="18259" y="27882"/>
                          <a:pt x="22984" y="23616"/>
                          <a:pt x="22984" y="20376"/>
                        </a:cubicBezTo>
                        <a:cubicBezTo>
                          <a:pt x="22984" y="17232"/>
                          <a:pt x="17819" y="12748"/>
                          <a:pt x="14993" y="12748"/>
                        </a:cubicBezTo>
                        <a:close/>
                      </a:path>
                    </a:pathLst>
                  </a:custGeom>
                  <a:solidFill>
                    <a:schemeClr val="accent1"/>
                  </a:solidFill>
                  <a:ln w="637" cap="flat">
                    <a:noFill/>
                    <a:prstDash val="solid"/>
                    <a:miter/>
                  </a:ln>
                </p:spPr>
                <p:txBody>
                  <a:bodyPr rtlCol="0" anchor="ctr"/>
                  <a:lstStyle/>
                  <a:p>
                    <a:endParaRPr lang="en-GB" dirty="0"/>
                  </a:p>
                </p:txBody>
              </p:sp>
              <p:sp>
                <p:nvSpPr>
                  <p:cNvPr id="1185" name="Freeform: Shape 1184">
                    <a:extLst>
                      <a:ext uri="{FF2B5EF4-FFF2-40B4-BE49-F238E27FC236}">
                        <a16:creationId xmlns:a16="http://schemas.microsoft.com/office/drawing/2014/main" id="{8AE36614-0F17-4F2D-83ED-519A9378C003}"/>
                      </a:ext>
                    </a:extLst>
                  </p:cNvPr>
                  <p:cNvSpPr/>
                  <p:nvPr/>
                </p:nvSpPr>
                <p:spPr>
                  <a:xfrm>
                    <a:off x="7595277" y="2638206"/>
                    <a:ext cx="32454" cy="12754"/>
                  </a:xfrm>
                  <a:custGeom>
                    <a:avLst/>
                    <a:gdLst>
                      <a:gd name="connsiteX0" fmla="*/ 26077 w 32454"/>
                      <a:gd name="connsiteY0" fmla="*/ 12755 h 12754"/>
                      <a:gd name="connsiteX1" fmla="*/ 6377 w 32454"/>
                      <a:gd name="connsiteY1" fmla="*/ 12755 h 12754"/>
                      <a:gd name="connsiteX2" fmla="*/ 0 w 32454"/>
                      <a:gd name="connsiteY2" fmla="*/ 6377 h 12754"/>
                      <a:gd name="connsiteX3" fmla="*/ 6377 w 32454"/>
                      <a:gd name="connsiteY3" fmla="*/ 0 h 12754"/>
                      <a:gd name="connsiteX4" fmla="*/ 26077 w 32454"/>
                      <a:gd name="connsiteY4" fmla="*/ 0 h 12754"/>
                      <a:gd name="connsiteX5" fmla="*/ 32455 w 32454"/>
                      <a:gd name="connsiteY5" fmla="*/ 6377 h 12754"/>
                      <a:gd name="connsiteX6" fmla="*/ 26077 w 32454"/>
                      <a:gd name="connsiteY6" fmla="*/ 12755 h 1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54" h="12754">
                        <a:moveTo>
                          <a:pt x="26077" y="12755"/>
                        </a:moveTo>
                        <a:lnTo>
                          <a:pt x="6377" y="12755"/>
                        </a:lnTo>
                        <a:cubicBezTo>
                          <a:pt x="2851" y="12755"/>
                          <a:pt x="0" y="9898"/>
                          <a:pt x="0" y="6377"/>
                        </a:cubicBezTo>
                        <a:cubicBezTo>
                          <a:pt x="0" y="2857"/>
                          <a:pt x="2851" y="0"/>
                          <a:pt x="6377" y="0"/>
                        </a:cubicBezTo>
                        <a:lnTo>
                          <a:pt x="26077" y="0"/>
                        </a:lnTo>
                        <a:cubicBezTo>
                          <a:pt x="29604" y="0"/>
                          <a:pt x="32455" y="2857"/>
                          <a:pt x="32455" y="6377"/>
                        </a:cubicBezTo>
                        <a:cubicBezTo>
                          <a:pt x="32455" y="9898"/>
                          <a:pt x="29604" y="12755"/>
                          <a:pt x="26077" y="12755"/>
                        </a:cubicBezTo>
                        <a:close/>
                      </a:path>
                    </a:pathLst>
                  </a:custGeom>
                  <a:solidFill>
                    <a:schemeClr val="accent1"/>
                  </a:solidFill>
                  <a:ln w="637" cap="flat">
                    <a:noFill/>
                    <a:prstDash val="solid"/>
                    <a:miter/>
                  </a:ln>
                </p:spPr>
                <p:txBody>
                  <a:bodyPr rtlCol="0" anchor="ctr"/>
                  <a:lstStyle/>
                  <a:p>
                    <a:endParaRPr lang="en-GB" dirty="0"/>
                  </a:p>
                </p:txBody>
              </p:sp>
            </p:grpSp>
            <p:grpSp>
              <p:nvGrpSpPr>
                <p:cNvPr id="1153" name="Graphic 32">
                  <a:extLst>
                    <a:ext uri="{FF2B5EF4-FFF2-40B4-BE49-F238E27FC236}">
                      <a16:creationId xmlns:a16="http://schemas.microsoft.com/office/drawing/2014/main" id="{823E9530-1697-4103-9668-64832B809F62}"/>
                    </a:ext>
                  </a:extLst>
                </p:cNvPr>
                <p:cNvGrpSpPr/>
                <p:nvPr/>
              </p:nvGrpSpPr>
              <p:grpSpPr>
                <a:xfrm>
                  <a:off x="7740024" y="2624138"/>
                  <a:ext cx="55432" cy="40649"/>
                  <a:chOff x="7740024" y="2624138"/>
                  <a:chExt cx="55432" cy="40649"/>
                </a:xfrm>
                <a:solidFill>
                  <a:schemeClr val="accent1"/>
                </a:solidFill>
              </p:grpSpPr>
              <p:sp>
                <p:nvSpPr>
                  <p:cNvPr id="1182" name="Freeform: Shape 1181">
                    <a:extLst>
                      <a:ext uri="{FF2B5EF4-FFF2-40B4-BE49-F238E27FC236}">
                        <a16:creationId xmlns:a16="http://schemas.microsoft.com/office/drawing/2014/main" id="{E30B0175-CA50-4185-91E0-5BDC2613387F}"/>
                      </a:ext>
                    </a:extLst>
                  </p:cNvPr>
                  <p:cNvSpPr/>
                  <p:nvPr/>
                </p:nvSpPr>
                <p:spPr>
                  <a:xfrm>
                    <a:off x="7759724" y="2624138"/>
                    <a:ext cx="35733" cy="40649"/>
                  </a:xfrm>
                  <a:custGeom>
                    <a:avLst/>
                    <a:gdLst>
                      <a:gd name="connsiteX0" fmla="*/ 20280 w 35733"/>
                      <a:gd name="connsiteY0" fmla="*/ 40643 h 40649"/>
                      <a:gd name="connsiteX1" fmla="*/ 6537 w 35733"/>
                      <a:gd name="connsiteY1" fmla="*/ 34470 h 40649"/>
                      <a:gd name="connsiteX2" fmla="*/ 0 w 35733"/>
                      <a:gd name="connsiteY2" fmla="*/ 20478 h 40649"/>
                      <a:gd name="connsiteX3" fmla="*/ 20644 w 35733"/>
                      <a:gd name="connsiteY3" fmla="*/ 0 h 40649"/>
                      <a:gd name="connsiteX4" fmla="*/ 20644 w 35733"/>
                      <a:gd name="connsiteY4" fmla="*/ 0 h 40649"/>
                      <a:gd name="connsiteX5" fmla="*/ 20714 w 35733"/>
                      <a:gd name="connsiteY5" fmla="*/ 0 h 40649"/>
                      <a:gd name="connsiteX6" fmla="*/ 35733 w 35733"/>
                      <a:gd name="connsiteY6" fmla="*/ 20318 h 40649"/>
                      <a:gd name="connsiteX7" fmla="*/ 32805 w 35733"/>
                      <a:gd name="connsiteY7" fmla="*/ 32933 h 40649"/>
                      <a:gd name="connsiteX8" fmla="*/ 20357 w 35733"/>
                      <a:gd name="connsiteY8" fmla="*/ 40649 h 40649"/>
                      <a:gd name="connsiteX9" fmla="*/ 20280 w 35733"/>
                      <a:gd name="connsiteY9" fmla="*/ 40643 h 40649"/>
                      <a:gd name="connsiteX10" fmla="*/ 20708 w 35733"/>
                      <a:gd name="connsiteY10" fmla="*/ 12748 h 40649"/>
                      <a:gd name="connsiteX11" fmla="*/ 12755 w 35733"/>
                      <a:gd name="connsiteY11" fmla="*/ 20420 h 40649"/>
                      <a:gd name="connsiteX12" fmla="*/ 15434 w 35733"/>
                      <a:gd name="connsiteY12" fmla="*/ 25331 h 40649"/>
                      <a:gd name="connsiteX13" fmla="*/ 20299 w 35733"/>
                      <a:gd name="connsiteY13" fmla="*/ 27895 h 40649"/>
                      <a:gd name="connsiteX14" fmla="*/ 21671 w 35733"/>
                      <a:gd name="connsiteY14" fmla="*/ 26721 h 40649"/>
                      <a:gd name="connsiteX15" fmla="*/ 22984 w 35733"/>
                      <a:gd name="connsiteY15" fmla="*/ 20376 h 40649"/>
                      <a:gd name="connsiteX16" fmla="*/ 20708 w 35733"/>
                      <a:gd name="connsiteY16" fmla="*/ 12748 h 40649"/>
                      <a:gd name="connsiteX17" fmla="*/ 20708 w 35733"/>
                      <a:gd name="connsiteY17" fmla="*/ 12748 h 40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5733" h="40649">
                        <a:moveTo>
                          <a:pt x="20280" y="40643"/>
                        </a:moveTo>
                        <a:cubicBezTo>
                          <a:pt x="15580" y="40643"/>
                          <a:pt x="10574" y="38392"/>
                          <a:pt x="6537" y="34470"/>
                        </a:cubicBezTo>
                        <a:cubicBezTo>
                          <a:pt x="2404" y="30452"/>
                          <a:pt x="26" y="25350"/>
                          <a:pt x="0" y="20478"/>
                        </a:cubicBezTo>
                        <a:cubicBezTo>
                          <a:pt x="-44" y="10574"/>
                          <a:pt x="10568" y="45"/>
                          <a:pt x="20644" y="0"/>
                        </a:cubicBezTo>
                        <a:lnTo>
                          <a:pt x="20644" y="0"/>
                        </a:lnTo>
                        <a:cubicBezTo>
                          <a:pt x="20669" y="0"/>
                          <a:pt x="20695" y="0"/>
                          <a:pt x="20714" y="0"/>
                        </a:cubicBezTo>
                        <a:cubicBezTo>
                          <a:pt x="29789" y="0"/>
                          <a:pt x="35682" y="7965"/>
                          <a:pt x="35733" y="20318"/>
                        </a:cubicBezTo>
                        <a:cubicBezTo>
                          <a:pt x="35758" y="25012"/>
                          <a:pt x="34719" y="29495"/>
                          <a:pt x="32805" y="32933"/>
                        </a:cubicBezTo>
                        <a:cubicBezTo>
                          <a:pt x="30083" y="37812"/>
                          <a:pt x="25542" y="40630"/>
                          <a:pt x="20357" y="40649"/>
                        </a:cubicBezTo>
                        <a:cubicBezTo>
                          <a:pt x="20332" y="40643"/>
                          <a:pt x="20306" y="40643"/>
                          <a:pt x="20280" y="40643"/>
                        </a:cubicBezTo>
                        <a:close/>
                        <a:moveTo>
                          <a:pt x="20708" y="12748"/>
                        </a:moveTo>
                        <a:cubicBezTo>
                          <a:pt x="17653" y="12761"/>
                          <a:pt x="12742" y="17493"/>
                          <a:pt x="12755" y="20420"/>
                        </a:cubicBezTo>
                        <a:cubicBezTo>
                          <a:pt x="12761" y="21830"/>
                          <a:pt x="13814" y="23749"/>
                          <a:pt x="15434" y="25331"/>
                        </a:cubicBezTo>
                        <a:cubicBezTo>
                          <a:pt x="17257" y="27104"/>
                          <a:pt x="19541" y="27856"/>
                          <a:pt x="20299" y="27895"/>
                        </a:cubicBezTo>
                        <a:cubicBezTo>
                          <a:pt x="20587" y="27895"/>
                          <a:pt x="21014" y="27895"/>
                          <a:pt x="21671" y="26721"/>
                        </a:cubicBezTo>
                        <a:cubicBezTo>
                          <a:pt x="22506" y="25216"/>
                          <a:pt x="22997" y="22850"/>
                          <a:pt x="22984" y="20376"/>
                        </a:cubicBezTo>
                        <a:cubicBezTo>
                          <a:pt x="22959" y="15720"/>
                          <a:pt x="21620" y="12755"/>
                          <a:pt x="20708" y="12748"/>
                        </a:cubicBezTo>
                        <a:lnTo>
                          <a:pt x="20708" y="12748"/>
                        </a:lnTo>
                        <a:close/>
                      </a:path>
                    </a:pathLst>
                  </a:custGeom>
                  <a:solidFill>
                    <a:schemeClr val="accent1"/>
                  </a:solidFill>
                  <a:ln w="637" cap="flat">
                    <a:noFill/>
                    <a:prstDash val="solid"/>
                    <a:miter/>
                  </a:ln>
                </p:spPr>
                <p:txBody>
                  <a:bodyPr rtlCol="0" anchor="ctr"/>
                  <a:lstStyle/>
                  <a:p>
                    <a:endParaRPr lang="en-GB" dirty="0"/>
                  </a:p>
                </p:txBody>
              </p:sp>
              <p:sp>
                <p:nvSpPr>
                  <p:cNvPr id="1183" name="Freeform: Shape 1182">
                    <a:extLst>
                      <a:ext uri="{FF2B5EF4-FFF2-40B4-BE49-F238E27FC236}">
                        <a16:creationId xmlns:a16="http://schemas.microsoft.com/office/drawing/2014/main" id="{6770F946-1287-4357-95B9-65B75CB56268}"/>
                      </a:ext>
                    </a:extLst>
                  </p:cNvPr>
                  <p:cNvSpPr/>
                  <p:nvPr/>
                </p:nvSpPr>
                <p:spPr>
                  <a:xfrm>
                    <a:off x="7740024" y="2638213"/>
                    <a:ext cx="32454" cy="12850"/>
                  </a:xfrm>
                  <a:custGeom>
                    <a:avLst/>
                    <a:gdLst>
                      <a:gd name="connsiteX0" fmla="*/ 6377 w 32454"/>
                      <a:gd name="connsiteY0" fmla="*/ 12850 h 12850"/>
                      <a:gd name="connsiteX1" fmla="*/ 0 w 32454"/>
                      <a:gd name="connsiteY1" fmla="*/ 6505 h 12850"/>
                      <a:gd name="connsiteX2" fmla="*/ 6345 w 32454"/>
                      <a:gd name="connsiteY2" fmla="*/ 96 h 12850"/>
                      <a:gd name="connsiteX3" fmla="*/ 26045 w 32454"/>
                      <a:gd name="connsiteY3" fmla="*/ 0 h 12850"/>
                      <a:gd name="connsiteX4" fmla="*/ 26077 w 32454"/>
                      <a:gd name="connsiteY4" fmla="*/ 0 h 12850"/>
                      <a:gd name="connsiteX5" fmla="*/ 32454 w 32454"/>
                      <a:gd name="connsiteY5" fmla="*/ 6346 h 12850"/>
                      <a:gd name="connsiteX6" fmla="*/ 26109 w 32454"/>
                      <a:gd name="connsiteY6" fmla="*/ 12755 h 12850"/>
                      <a:gd name="connsiteX7" fmla="*/ 6409 w 32454"/>
                      <a:gd name="connsiteY7" fmla="*/ 12850 h 12850"/>
                      <a:gd name="connsiteX8" fmla="*/ 6377 w 32454"/>
                      <a:gd name="connsiteY8" fmla="*/ 12850 h 12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54" h="12850">
                        <a:moveTo>
                          <a:pt x="6377" y="12850"/>
                        </a:moveTo>
                        <a:cubicBezTo>
                          <a:pt x="2870" y="12850"/>
                          <a:pt x="19" y="10019"/>
                          <a:pt x="0" y="6505"/>
                        </a:cubicBezTo>
                        <a:cubicBezTo>
                          <a:pt x="-19" y="2985"/>
                          <a:pt x="2825" y="115"/>
                          <a:pt x="6345" y="96"/>
                        </a:cubicBezTo>
                        <a:lnTo>
                          <a:pt x="26045" y="0"/>
                        </a:lnTo>
                        <a:cubicBezTo>
                          <a:pt x="26058" y="0"/>
                          <a:pt x="26064" y="0"/>
                          <a:pt x="26077" y="0"/>
                        </a:cubicBezTo>
                        <a:cubicBezTo>
                          <a:pt x="29585" y="0"/>
                          <a:pt x="32435" y="2832"/>
                          <a:pt x="32454" y="6346"/>
                        </a:cubicBezTo>
                        <a:cubicBezTo>
                          <a:pt x="32474" y="9866"/>
                          <a:pt x="29629" y="12736"/>
                          <a:pt x="26109" y="12755"/>
                        </a:cubicBezTo>
                        <a:lnTo>
                          <a:pt x="6409" y="12850"/>
                        </a:lnTo>
                        <a:cubicBezTo>
                          <a:pt x="6396" y="12850"/>
                          <a:pt x="6390" y="12850"/>
                          <a:pt x="6377" y="12850"/>
                        </a:cubicBezTo>
                        <a:close/>
                      </a:path>
                    </a:pathLst>
                  </a:custGeom>
                  <a:solidFill>
                    <a:schemeClr val="accent1"/>
                  </a:solidFill>
                  <a:ln w="637" cap="flat">
                    <a:noFill/>
                    <a:prstDash val="solid"/>
                    <a:miter/>
                  </a:ln>
                </p:spPr>
                <p:txBody>
                  <a:bodyPr rtlCol="0" anchor="ctr"/>
                  <a:lstStyle/>
                  <a:p>
                    <a:endParaRPr lang="en-GB" dirty="0"/>
                  </a:p>
                </p:txBody>
              </p:sp>
            </p:grpSp>
            <p:grpSp>
              <p:nvGrpSpPr>
                <p:cNvPr id="1154" name="Graphic 32">
                  <a:extLst>
                    <a:ext uri="{FF2B5EF4-FFF2-40B4-BE49-F238E27FC236}">
                      <a16:creationId xmlns:a16="http://schemas.microsoft.com/office/drawing/2014/main" id="{ECBB71E5-22FC-4FEC-A901-A094CDC9D026}"/>
                    </a:ext>
                  </a:extLst>
                </p:cNvPr>
                <p:cNvGrpSpPr/>
                <p:nvPr/>
              </p:nvGrpSpPr>
              <p:grpSpPr>
                <a:xfrm>
                  <a:off x="7597254" y="2533209"/>
                  <a:ext cx="173398" cy="73767"/>
                  <a:chOff x="7597254" y="2533209"/>
                  <a:chExt cx="173398" cy="73767"/>
                </a:xfrm>
                <a:solidFill>
                  <a:schemeClr val="accent1"/>
                </a:solidFill>
              </p:grpSpPr>
              <p:grpSp>
                <p:nvGrpSpPr>
                  <p:cNvPr id="1173" name="Graphic 32">
                    <a:extLst>
                      <a:ext uri="{FF2B5EF4-FFF2-40B4-BE49-F238E27FC236}">
                        <a16:creationId xmlns:a16="http://schemas.microsoft.com/office/drawing/2014/main" id="{775069D4-A25F-47B8-9E4B-E81771DAC488}"/>
                      </a:ext>
                    </a:extLst>
                  </p:cNvPr>
                  <p:cNvGrpSpPr/>
                  <p:nvPr/>
                </p:nvGrpSpPr>
                <p:grpSpPr>
                  <a:xfrm>
                    <a:off x="7663623" y="2533209"/>
                    <a:ext cx="40643" cy="55438"/>
                    <a:chOff x="7663623" y="2533209"/>
                    <a:chExt cx="40643" cy="55438"/>
                  </a:xfrm>
                  <a:solidFill>
                    <a:schemeClr val="accent1"/>
                  </a:solidFill>
                </p:grpSpPr>
                <p:sp>
                  <p:nvSpPr>
                    <p:cNvPr id="1180" name="Freeform: Shape 1179">
                      <a:extLst>
                        <a:ext uri="{FF2B5EF4-FFF2-40B4-BE49-F238E27FC236}">
                          <a16:creationId xmlns:a16="http://schemas.microsoft.com/office/drawing/2014/main" id="{ACA0D4DF-4D13-480A-9053-499DB7B6BF67}"/>
                        </a:ext>
                      </a:extLst>
                    </p:cNvPr>
                    <p:cNvSpPr/>
                    <p:nvPr/>
                  </p:nvSpPr>
                  <p:spPr>
                    <a:xfrm>
                      <a:off x="7663623" y="2533209"/>
                      <a:ext cx="40643" cy="35738"/>
                    </a:xfrm>
                    <a:custGeom>
                      <a:avLst/>
                      <a:gdLst>
                        <a:gd name="connsiteX0" fmla="*/ 20261 w 40643"/>
                        <a:gd name="connsiteY0" fmla="*/ 35739 h 35738"/>
                        <a:gd name="connsiteX1" fmla="*/ 0 w 40643"/>
                        <a:gd name="connsiteY1" fmla="*/ 15478 h 35738"/>
                        <a:gd name="connsiteX2" fmla="*/ 20261 w 40643"/>
                        <a:gd name="connsiteY2" fmla="*/ 0 h 35738"/>
                        <a:gd name="connsiteX3" fmla="*/ 40643 w 40643"/>
                        <a:gd name="connsiteY3" fmla="*/ 15000 h 35738"/>
                        <a:gd name="connsiteX4" fmla="*/ 20261 w 40643"/>
                        <a:gd name="connsiteY4" fmla="*/ 35739 h 35738"/>
                        <a:gd name="connsiteX5" fmla="*/ 20261 w 40643"/>
                        <a:gd name="connsiteY5" fmla="*/ 12755 h 35738"/>
                        <a:gd name="connsiteX6" fmla="*/ 12755 w 40643"/>
                        <a:gd name="connsiteY6" fmla="*/ 15478 h 35738"/>
                        <a:gd name="connsiteX7" fmla="*/ 20261 w 40643"/>
                        <a:gd name="connsiteY7" fmla="*/ 22984 h 35738"/>
                        <a:gd name="connsiteX8" fmla="*/ 27888 w 40643"/>
                        <a:gd name="connsiteY8" fmla="*/ 15000 h 35738"/>
                        <a:gd name="connsiteX9" fmla="*/ 20261 w 40643"/>
                        <a:gd name="connsiteY9" fmla="*/ 12755 h 35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43" h="35738">
                          <a:moveTo>
                            <a:pt x="20261" y="35739"/>
                          </a:moveTo>
                          <a:cubicBezTo>
                            <a:pt x="10229" y="35739"/>
                            <a:pt x="0" y="25510"/>
                            <a:pt x="0" y="15478"/>
                          </a:cubicBezTo>
                          <a:cubicBezTo>
                            <a:pt x="0" y="6365"/>
                            <a:pt x="8335" y="0"/>
                            <a:pt x="20261" y="0"/>
                          </a:cubicBezTo>
                          <a:cubicBezTo>
                            <a:pt x="32640" y="0"/>
                            <a:pt x="40643" y="5886"/>
                            <a:pt x="40643" y="15000"/>
                          </a:cubicBezTo>
                          <a:cubicBezTo>
                            <a:pt x="40643" y="25076"/>
                            <a:pt x="30171" y="35739"/>
                            <a:pt x="20261" y="35739"/>
                          </a:cubicBezTo>
                          <a:close/>
                          <a:moveTo>
                            <a:pt x="20261" y="12755"/>
                          </a:moveTo>
                          <a:cubicBezTo>
                            <a:pt x="16409" y="12755"/>
                            <a:pt x="12755" y="14081"/>
                            <a:pt x="12755" y="15478"/>
                          </a:cubicBezTo>
                          <a:cubicBezTo>
                            <a:pt x="12755" y="18265"/>
                            <a:pt x="17021" y="22984"/>
                            <a:pt x="20261" y="22984"/>
                          </a:cubicBezTo>
                          <a:cubicBezTo>
                            <a:pt x="23405" y="22984"/>
                            <a:pt x="27888" y="17818"/>
                            <a:pt x="27888" y="15000"/>
                          </a:cubicBezTo>
                          <a:cubicBezTo>
                            <a:pt x="27888" y="14081"/>
                            <a:pt x="24917" y="12755"/>
                            <a:pt x="20261" y="12755"/>
                          </a:cubicBezTo>
                          <a:close/>
                        </a:path>
                      </a:pathLst>
                    </a:custGeom>
                    <a:solidFill>
                      <a:schemeClr val="accent1"/>
                    </a:solidFill>
                    <a:ln w="637" cap="flat">
                      <a:noFill/>
                      <a:prstDash val="solid"/>
                      <a:miter/>
                    </a:ln>
                  </p:spPr>
                  <p:txBody>
                    <a:bodyPr rtlCol="0" anchor="ctr"/>
                    <a:lstStyle/>
                    <a:p>
                      <a:endParaRPr lang="en-GB" dirty="0"/>
                    </a:p>
                  </p:txBody>
                </p:sp>
                <p:sp>
                  <p:nvSpPr>
                    <p:cNvPr id="1181" name="Freeform: Shape 1180">
                      <a:extLst>
                        <a:ext uri="{FF2B5EF4-FFF2-40B4-BE49-F238E27FC236}">
                          <a16:creationId xmlns:a16="http://schemas.microsoft.com/office/drawing/2014/main" id="{12B460D9-8CC7-4402-947A-63762199CC5E}"/>
                        </a:ext>
                      </a:extLst>
                    </p:cNvPr>
                    <p:cNvSpPr/>
                    <p:nvPr/>
                  </p:nvSpPr>
                  <p:spPr>
                    <a:xfrm>
                      <a:off x="7677500" y="2556193"/>
                      <a:ext cx="12754" cy="32454"/>
                    </a:xfrm>
                    <a:custGeom>
                      <a:avLst/>
                      <a:gdLst>
                        <a:gd name="connsiteX0" fmla="*/ 6377 w 12754"/>
                        <a:gd name="connsiteY0" fmla="*/ 32455 h 32454"/>
                        <a:gd name="connsiteX1" fmla="*/ 0 w 12754"/>
                        <a:gd name="connsiteY1" fmla="*/ 26077 h 32454"/>
                        <a:gd name="connsiteX2" fmla="*/ 0 w 12754"/>
                        <a:gd name="connsiteY2" fmla="*/ 6377 h 32454"/>
                        <a:gd name="connsiteX3" fmla="*/ 6377 w 12754"/>
                        <a:gd name="connsiteY3" fmla="*/ 0 h 32454"/>
                        <a:gd name="connsiteX4" fmla="*/ 12755 w 12754"/>
                        <a:gd name="connsiteY4" fmla="*/ 6377 h 32454"/>
                        <a:gd name="connsiteX5" fmla="*/ 12755 w 12754"/>
                        <a:gd name="connsiteY5" fmla="*/ 26077 h 32454"/>
                        <a:gd name="connsiteX6" fmla="*/ 6377 w 12754"/>
                        <a:gd name="connsiteY6" fmla="*/ 32455 h 3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32454">
                          <a:moveTo>
                            <a:pt x="6377" y="32455"/>
                          </a:moveTo>
                          <a:cubicBezTo>
                            <a:pt x="2851" y="32455"/>
                            <a:pt x="0" y="29598"/>
                            <a:pt x="0" y="26077"/>
                          </a:cubicBezTo>
                          <a:lnTo>
                            <a:pt x="0" y="6377"/>
                          </a:lnTo>
                          <a:cubicBezTo>
                            <a:pt x="0" y="2857"/>
                            <a:pt x="2851" y="0"/>
                            <a:pt x="6377" y="0"/>
                          </a:cubicBezTo>
                          <a:cubicBezTo>
                            <a:pt x="9904" y="0"/>
                            <a:pt x="12755" y="2857"/>
                            <a:pt x="12755" y="6377"/>
                          </a:cubicBezTo>
                          <a:lnTo>
                            <a:pt x="12755" y="26077"/>
                          </a:lnTo>
                          <a:cubicBezTo>
                            <a:pt x="12755" y="29598"/>
                            <a:pt x="9904" y="32455"/>
                            <a:pt x="6377" y="32455"/>
                          </a:cubicBezTo>
                          <a:close/>
                        </a:path>
                      </a:pathLst>
                    </a:custGeom>
                    <a:solidFill>
                      <a:schemeClr val="accent1"/>
                    </a:solidFill>
                    <a:ln w="637" cap="flat">
                      <a:noFill/>
                      <a:prstDash val="solid"/>
                      <a:miter/>
                    </a:ln>
                  </p:spPr>
                  <p:txBody>
                    <a:bodyPr rtlCol="0" anchor="ctr"/>
                    <a:lstStyle/>
                    <a:p>
                      <a:endParaRPr lang="en-GB" dirty="0"/>
                    </a:p>
                  </p:txBody>
                </p:sp>
              </p:grpSp>
              <p:grpSp>
                <p:nvGrpSpPr>
                  <p:cNvPr id="1174" name="Graphic 32">
                    <a:extLst>
                      <a:ext uri="{FF2B5EF4-FFF2-40B4-BE49-F238E27FC236}">
                        <a16:creationId xmlns:a16="http://schemas.microsoft.com/office/drawing/2014/main" id="{A761BFA2-5E3B-4FE0-A477-784218B7DFA2}"/>
                      </a:ext>
                    </a:extLst>
                  </p:cNvPr>
                  <p:cNvGrpSpPr/>
                  <p:nvPr/>
                </p:nvGrpSpPr>
                <p:grpSpPr>
                  <a:xfrm>
                    <a:off x="7721803" y="2558496"/>
                    <a:ext cx="48849" cy="48480"/>
                    <a:chOff x="7721803" y="2558496"/>
                    <a:chExt cx="48849" cy="48480"/>
                  </a:xfrm>
                  <a:solidFill>
                    <a:schemeClr val="accent1"/>
                  </a:solidFill>
                </p:grpSpPr>
                <p:sp>
                  <p:nvSpPr>
                    <p:cNvPr id="1178" name="Freeform: Shape 1177">
                      <a:extLst>
                        <a:ext uri="{FF2B5EF4-FFF2-40B4-BE49-F238E27FC236}">
                          <a16:creationId xmlns:a16="http://schemas.microsoft.com/office/drawing/2014/main" id="{1C7BA41E-C590-4DBF-807B-DDA1BC939449}"/>
                        </a:ext>
                      </a:extLst>
                    </p:cNvPr>
                    <p:cNvSpPr/>
                    <p:nvPr/>
                  </p:nvSpPr>
                  <p:spPr>
                    <a:xfrm>
                      <a:off x="7732289" y="2558496"/>
                      <a:ext cx="38363" cy="37906"/>
                    </a:xfrm>
                    <a:custGeom>
                      <a:avLst/>
                      <a:gdLst>
                        <a:gd name="connsiteX0" fmla="*/ 19470 w 38363"/>
                        <a:gd name="connsiteY0" fmla="*/ 37907 h 37906"/>
                        <a:gd name="connsiteX1" fmla="*/ 5319 w 38363"/>
                        <a:gd name="connsiteY1" fmla="*/ 32690 h 37906"/>
                        <a:gd name="connsiteX2" fmla="*/ 5319 w 38363"/>
                        <a:gd name="connsiteY2" fmla="*/ 4030 h 37906"/>
                        <a:gd name="connsiteX3" fmla="*/ 30592 w 38363"/>
                        <a:gd name="connsiteY3" fmla="*/ 7410 h 37906"/>
                        <a:gd name="connsiteX4" fmla="*/ 34400 w 38363"/>
                        <a:gd name="connsiteY4" fmla="*/ 32429 h 37906"/>
                        <a:gd name="connsiteX5" fmla="*/ 34400 w 38363"/>
                        <a:gd name="connsiteY5" fmla="*/ 32429 h 37906"/>
                        <a:gd name="connsiteX6" fmla="*/ 34400 w 38363"/>
                        <a:gd name="connsiteY6" fmla="*/ 32429 h 37906"/>
                        <a:gd name="connsiteX7" fmla="*/ 34400 w 38363"/>
                        <a:gd name="connsiteY7" fmla="*/ 32429 h 37906"/>
                        <a:gd name="connsiteX8" fmla="*/ 20133 w 38363"/>
                        <a:gd name="connsiteY8" fmla="*/ 37888 h 37906"/>
                        <a:gd name="connsiteX9" fmla="*/ 19470 w 38363"/>
                        <a:gd name="connsiteY9" fmla="*/ 37907 h 37906"/>
                        <a:gd name="connsiteX10" fmla="*/ 15204 w 38363"/>
                        <a:gd name="connsiteY10" fmla="*/ 12761 h 37906"/>
                        <a:gd name="connsiteX11" fmla="*/ 14336 w 38363"/>
                        <a:gd name="connsiteY11" fmla="*/ 13048 h 37906"/>
                        <a:gd name="connsiteX12" fmla="*/ 14336 w 38363"/>
                        <a:gd name="connsiteY12" fmla="*/ 23666 h 37906"/>
                        <a:gd name="connsiteX13" fmla="*/ 19802 w 38363"/>
                        <a:gd name="connsiteY13" fmla="*/ 25146 h 37906"/>
                        <a:gd name="connsiteX14" fmla="*/ 25376 w 38363"/>
                        <a:gd name="connsiteY14" fmla="*/ 23417 h 37906"/>
                        <a:gd name="connsiteX15" fmla="*/ 25376 w 38363"/>
                        <a:gd name="connsiteY15" fmla="*/ 23417 h 37906"/>
                        <a:gd name="connsiteX16" fmla="*/ 21568 w 38363"/>
                        <a:gd name="connsiteY16" fmla="*/ 16434 h 37906"/>
                        <a:gd name="connsiteX17" fmla="*/ 15204 w 38363"/>
                        <a:gd name="connsiteY17" fmla="*/ 12761 h 37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363" h="37906">
                          <a:moveTo>
                            <a:pt x="19470" y="37907"/>
                          </a:moveTo>
                          <a:cubicBezTo>
                            <a:pt x="13782" y="37907"/>
                            <a:pt x="8660" y="36025"/>
                            <a:pt x="5319" y="32690"/>
                          </a:cubicBezTo>
                          <a:cubicBezTo>
                            <a:pt x="-1773" y="25592"/>
                            <a:pt x="-1773" y="11128"/>
                            <a:pt x="5319" y="4030"/>
                          </a:cubicBezTo>
                          <a:cubicBezTo>
                            <a:pt x="11760" y="-2411"/>
                            <a:pt x="22149" y="-1021"/>
                            <a:pt x="30592" y="7410"/>
                          </a:cubicBezTo>
                          <a:cubicBezTo>
                            <a:pt x="39342" y="16173"/>
                            <a:pt x="40834" y="25987"/>
                            <a:pt x="34400" y="32429"/>
                          </a:cubicBezTo>
                          <a:lnTo>
                            <a:pt x="34400" y="32429"/>
                          </a:lnTo>
                          <a:lnTo>
                            <a:pt x="34400" y="32429"/>
                          </a:lnTo>
                          <a:lnTo>
                            <a:pt x="34400" y="32429"/>
                          </a:lnTo>
                          <a:cubicBezTo>
                            <a:pt x="31077" y="35751"/>
                            <a:pt x="25873" y="37741"/>
                            <a:pt x="20133" y="37888"/>
                          </a:cubicBezTo>
                          <a:cubicBezTo>
                            <a:pt x="19904" y="37900"/>
                            <a:pt x="19687" y="37907"/>
                            <a:pt x="19470" y="37907"/>
                          </a:cubicBezTo>
                          <a:close/>
                          <a:moveTo>
                            <a:pt x="15204" y="12761"/>
                          </a:moveTo>
                          <a:cubicBezTo>
                            <a:pt x="14827" y="12761"/>
                            <a:pt x="14540" y="12850"/>
                            <a:pt x="14336" y="13048"/>
                          </a:cubicBezTo>
                          <a:cubicBezTo>
                            <a:pt x="12366" y="15012"/>
                            <a:pt x="12053" y="21370"/>
                            <a:pt x="14336" y="23666"/>
                          </a:cubicBezTo>
                          <a:cubicBezTo>
                            <a:pt x="15121" y="24450"/>
                            <a:pt x="17193" y="25209"/>
                            <a:pt x="19802" y="25146"/>
                          </a:cubicBezTo>
                          <a:cubicBezTo>
                            <a:pt x="22512" y="25075"/>
                            <a:pt x="24591" y="24202"/>
                            <a:pt x="25376" y="23417"/>
                          </a:cubicBezTo>
                          <a:lnTo>
                            <a:pt x="25376" y="23417"/>
                          </a:lnTo>
                          <a:cubicBezTo>
                            <a:pt x="26026" y="22767"/>
                            <a:pt x="24859" y="19731"/>
                            <a:pt x="21568" y="16434"/>
                          </a:cubicBezTo>
                          <a:cubicBezTo>
                            <a:pt x="19387" y="14253"/>
                            <a:pt x="16696" y="12761"/>
                            <a:pt x="15204" y="12761"/>
                          </a:cubicBezTo>
                          <a:close/>
                        </a:path>
                      </a:pathLst>
                    </a:custGeom>
                    <a:solidFill>
                      <a:schemeClr val="accent1"/>
                    </a:solidFill>
                    <a:ln w="637" cap="flat">
                      <a:noFill/>
                      <a:prstDash val="solid"/>
                      <a:miter/>
                    </a:ln>
                  </p:spPr>
                  <p:txBody>
                    <a:bodyPr rtlCol="0" anchor="ctr"/>
                    <a:lstStyle/>
                    <a:p>
                      <a:endParaRPr lang="en-GB" dirty="0"/>
                    </a:p>
                  </p:txBody>
                </p:sp>
                <p:sp>
                  <p:nvSpPr>
                    <p:cNvPr id="1179" name="Freeform: Shape 1178">
                      <a:extLst>
                        <a:ext uri="{FF2B5EF4-FFF2-40B4-BE49-F238E27FC236}">
                          <a16:creationId xmlns:a16="http://schemas.microsoft.com/office/drawing/2014/main" id="{739FFE6D-3995-4E3D-A89A-98960D3D8BAB}"/>
                        </a:ext>
                      </a:extLst>
                    </p:cNvPr>
                    <p:cNvSpPr/>
                    <p:nvPr/>
                  </p:nvSpPr>
                  <p:spPr>
                    <a:xfrm>
                      <a:off x="7721803" y="2580285"/>
                      <a:ext cx="26686" cy="26690"/>
                    </a:xfrm>
                    <a:custGeom>
                      <a:avLst/>
                      <a:gdLst>
                        <a:gd name="connsiteX0" fmla="*/ 6379 w 26686"/>
                        <a:gd name="connsiteY0" fmla="*/ 26691 h 26690"/>
                        <a:gd name="connsiteX1" fmla="*/ 1870 w 26686"/>
                        <a:gd name="connsiteY1" fmla="*/ 24822 h 26690"/>
                        <a:gd name="connsiteX2" fmla="*/ 1870 w 26686"/>
                        <a:gd name="connsiteY2" fmla="*/ 15805 h 26690"/>
                        <a:gd name="connsiteX3" fmla="*/ 15798 w 26686"/>
                        <a:gd name="connsiteY3" fmla="*/ 1870 h 26690"/>
                        <a:gd name="connsiteX4" fmla="*/ 24816 w 26686"/>
                        <a:gd name="connsiteY4" fmla="*/ 1870 h 26690"/>
                        <a:gd name="connsiteX5" fmla="*/ 24816 w 26686"/>
                        <a:gd name="connsiteY5" fmla="*/ 10888 h 26690"/>
                        <a:gd name="connsiteX6" fmla="*/ 10888 w 26686"/>
                        <a:gd name="connsiteY6" fmla="*/ 24822 h 26690"/>
                        <a:gd name="connsiteX7" fmla="*/ 6379 w 26686"/>
                        <a:gd name="connsiteY7" fmla="*/ 26691 h 2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90">
                          <a:moveTo>
                            <a:pt x="6379" y="26691"/>
                          </a:moveTo>
                          <a:cubicBezTo>
                            <a:pt x="4746" y="26691"/>
                            <a:pt x="3114" y="26066"/>
                            <a:pt x="1870" y="24822"/>
                          </a:cubicBezTo>
                          <a:cubicBezTo>
                            <a:pt x="-623" y="22335"/>
                            <a:pt x="-623" y="18298"/>
                            <a:pt x="1870" y="15805"/>
                          </a:cubicBezTo>
                          <a:lnTo>
                            <a:pt x="15798" y="1870"/>
                          </a:lnTo>
                          <a:cubicBezTo>
                            <a:pt x="18292" y="-623"/>
                            <a:pt x="22322" y="-623"/>
                            <a:pt x="24816" y="1870"/>
                          </a:cubicBezTo>
                          <a:cubicBezTo>
                            <a:pt x="27310" y="4357"/>
                            <a:pt x="27310" y="8394"/>
                            <a:pt x="24816" y="10888"/>
                          </a:cubicBezTo>
                          <a:lnTo>
                            <a:pt x="10888" y="24822"/>
                          </a:lnTo>
                          <a:cubicBezTo>
                            <a:pt x="9644" y="26066"/>
                            <a:pt x="8012" y="26691"/>
                            <a:pt x="6379" y="26691"/>
                          </a:cubicBezTo>
                          <a:close/>
                        </a:path>
                      </a:pathLst>
                    </a:custGeom>
                    <a:solidFill>
                      <a:schemeClr val="accent1"/>
                    </a:solidFill>
                    <a:ln w="637" cap="flat">
                      <a:noFill/>
                      <a:prstDash val="solid"/>
                      <a:miter/>
                    </a:ln>
                  </p:spPr>
                  <p:txBody>
                    <a:bodyPr rtlCol="0" anchor="ctr"/>
                    <a:lstStyle/>
                    <a:p>
                      <a:endParaRPr lang="en-GB" dirty="0"/>
                    </a:p>
                  </p:txBody>
                </p:sp>
              </p:grpSp>
              <p:grpSp>
                <p:nvGrpSpPr>
                  <p:cNvPr id="1175" name="Graphic 32">
                    <a:extLst>
                      <a:ext uri="{FF2B5EF4-FFF2-40B4-BE49-F238E27FC236}">
                        <a16:creationId xmlns:a16="http://schemas.microsoft.com/office/drawing/2014/main" id="{78166B35-7339-425E-927E-CEAC9263C0BE}"/>
                      </a:ext>
                    </a:extLst>
                  </p:cNvPr>
                  <p:cNvGrpSpPr/>
                  <p:nvPr/>
                </p:nvGrpSpPr>
                <p:grpSpPr>
                  <a:xfrm>
                    <a:off x="7597254" y="2558370"/>
                    <a:ext cx="48807" cy="48453"/>
                    <a:chOff x="7597254" y="2558370"/>
                    <a:chExt cx="48807" cy="48453"/>
                  </a:xfrm>
                  <a:solidFill>
                    <a:schemeClr val="accent1"/>
                  </a:solidFill>
                </p:grpSpPr>
                <p:sp>
                  <p:nvSpPr>
                    <p:cNvPr id="1176" name="Freeform: Shape 1175">
                      <a:extLst>
                        <a:ext uri="{FF2B5EF4-FFF2-40B4-BE49-F238E27FC236}">
                          <a16:creationId xmlns:a16="http://schemas.microsoft.com/office/drawing/2014/main" id="{44A5E97A-504C-4534-BD35-C16FCB120A64}"/>
                        </a:ext>
                      </a:extLst>
                    </p:cNvPr>
                    <p:cNvSpPr/>
                    <p:nvPr/>
                  </p:nvSpPr>
                  <p:spPr>
                    <a:xfrm>
                      <a:off x="7597254" y="2558370"/>
                      <a:ext cx="38328" cy="37885"/>
                    </a:xfrm>
                    <a:custGeom>
                      <a:avLst/>
                      <a:gdLst>
                        <a:gd name="connsiteX0" fmla="*/ 18858 w 38328"/>
                        <a:gd name="connsiteY0" fmla="*/ 37886 h 37885"/>
                        <a:gd name="connsiteX1" fmla="*/ 18195 w 38328"/>
                        <a:gd name="connsiteY1" fmla="*/ 37879 h 37885"/>
                        <a:gd name="connsiteX2" fmla="*/ 3928 w 38328"/>
                        <a:gd name="connsiteY2" fmla="*/ 32420 h 37885"/>
                        <a:gd name="connsiteX3" fmla="*/ 3928 w 38328"/>
                        <a:gd name="connsiteY3" fmla="*/ 32420 h 37885"/>
                        <a:gd name="connsiteX4" fmla="*/ 3928 w 38328"/>
                        <a:gd name="connsiteY4" fmla="*/ 32420 h 37885"/>
                        <a:gd name="connsiteX5" fmla="*/ 3922 w 38328"/>
                        <a:gd name="connsiteY5" fmla="*/ 32420 h 37885"/>
                        <a:gd name="connsiteX6" fmla="*/ 797 w 38328"/>
                        <a:gd name="connsiteY6" fmla="*/ 18065 h 37885"/>
                        <a:gd name="connsiteX7" fmla="*/ 7736 w 38328"/>
                        <a:gd name="connsiteY7" fmla="*/ 7408 h 37885"/>
                        <a:gd name="connsiteX8" fmla="*/ 33009 w 38328"/>
                        <a:gd name="connsiteY8" fmla="*/ 4028 h 37885"/>
                        <a:gd name="connsiteX9" fmla="*/ 33009 w 38328"/>
                        <a:gd name="connsiteY9" fmla="*/ 32682 h 37885"/>
                        <a:gd name="connsiteX10" fmla="*/ 18858 w 38328"/>
                        <a:gd name="connsiteY10" fmla="*/ 37886 h 37885"/>
                        <a:gd name="connsiteX11" fmla="*/ 23124 w 38328"/>
                        <a:gd name="connsiteY11" fmla="*/ 12740 h 37885"/>
                        <a:gd name="connsiteX12" fmla="*/ 16753 w 38328"/>
                        <a:gd name="connsiteY12" fmla="*/ 16419 h 37885"/>
                        <a:gd name="connsiteX13" fmla="*/ 12933 w 38328"/>
                        <a:gd name="connsiteY13" fmla="*/ 21968 h 37885"/>
                        <a:gd name="connsiteX14" fmla="*/ 12946 w 38328"/>
                        <a:gd name="connsiteY14" fmla="*/ 23390 h 37885"/>
                        <a:gd name="connsiteX15" fmla="*/ 12952 w 38328"/>
                        <a:gd name="connsiteY15" fmla="*/ 23396 h 37885"/>
                        <a:gd name="connsiteX16" fmla="*/ 18520 w 38328"/>
                        <a:gd name="connsiteY16" fmla="*/ 25125 h 37885"/>
                        <a:gd name="connsiteX17" fmla="*/ 23985 w 38328"/>
                        <a:gd name="connsiteY17" fmla="*/ 23645 h 37885"/>
                        <a:gd name="connsiteX18" fmla="*/ 23985 w 38328"/>
                        <a:gd name="connsiteY18" fmla="*/ 13027 h 37885"/>
                        <a:gd name="connsiteX19" fmla="*/ 23124 w 38328"/>
                        <a:gd name="connsiteY19" fmla="*/ 12740 h 37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328" h="37885">
                          <a:moveTo>
                            <a:pt x="18858" y="37886"/>
                          </a:moveTo>
                          <a:cubicBezTo>
                            <a:pt x="18641" y="37886"/>
                            <a:pt x="18424" y="37886"/>
                            <a:pt x="18195" y="37879"/>
                          </a:cubicBezTo>
                          <a:cubicBezTo>
                            <a:pt x="12455" y="37733"/>
                            <a:pt x="7251" y="35743"/>
                            <a:pt x="3928" y="32420"/>
                          </a:cubicBezTo>
                          <a:lnTo>
                            <a:pt x="3928" y="32420"/>
                          </a:lnTo>
                          <a:cubicBezTo>
                            <a:pt x="3928" y="32420"/>
                            <a:pt x="3928" y="32420"/>
                            <a:pt x="3928" y="32420"/>
                          </a:cubicBezTo>
                          <a:cubicBezTo>
                            <a:pt x="3928" y="32420"/>
                            <a:pt x="3928" y="32420"/>
                            <a:pt x="3922" y="32420"/>
                          </a:cubicBezTo>
                          <a:cubicBezTo>
                            <a:pt x="198" y="28696"/>
                            <a:pt x="-944" y="23460"/>
                            <a:pt x="797" y="18065"/>
                          </a:cubicBezTo>
                          <a:cubicBezTo>
                            <a:pt x="2258" y="13524"/>
                            <a:pt x="5382" y="9761"/>
                            <a:pt x="7736" y="7408"/>
                          </a:cubicBezTo>
                          <a:cubicBezTo>
                            <a:pt x="16179" y="-1016"/>
                            <a:pt x="26574" y="-2413"/>
                            <a:pt x="33009" y="4028"/>
                          </a:cubicBezTo>
                          <a:cubicBezTo>
                            <a:pt x="40101" y="11126"/>
                            <a:pt x="40101" y="25584"/>
                            <a:pt x="33009" y="32682"/>
                          </a:cubicBezTo>
                          <a:cubicBezTo>
                            <a:pt x="29668" y="35998"/>
                            <a:pt x="24547" y="37886"/>
                            <a:pt x="18858" y="37886"/>
                          </a:cubicBezTo>
                          <a:close/>
                          <a:moveTo>
                            <a:pt x="23124" y="12740"/>
                          </a:moveTo>
                          <a:cubicBezTo>
                            <a:pt x="21632" y="12740"/>
                            <a:pt x="18941" y="14232"/>
                            <a:pt x="16753" y="16419"/>
                          </a:cubicBezTo>
                          <a:cubicBezTo>
                            <a:pt x="14853" y="18313"/>
                            <a:pt x="13463" y="20335"/>
                            <a:pt x="12933" y="21968"/>
                          </a:cubicBezTo>
                          <a:cubicBezTo>
                            <a:pt x="12589" y="23039"/>
                            <a:pt x="12780" y="23224"/>
                            <a:pt x="12946" y="23390"/>
                          </a:cubicBezTo>
                          <a:cubicBezTo>
                            <a:pt x="12946" y="23396"/>
                            <a:pt x="12946" y="23396"/>
                            <a:pt x="12952" y="23396"/>
                          </a:cubicBezTo>
                          <a:cubicBezTo>
                            <a:pt x="13730" y="24181"/>
                            <a:pt x="15810" y="25054"/>
                            <a:pt x="18520" y="25125"/>
                          </a:cubicBezTo>
                          <a:cubicBezTo>
                            <a:pt x="21332" y="25125"/>
                            <a:pt x="23201" y="24429"/>
                            <a:pt x="23985" y="23645"/>
                          </a:cubicBezTo>
                          <a:cubicBezTo>
                            <a:pt x="26268" y="21355"/>
                            <a:pt x="25956" y="14997"/>
                            <a:pt x="23985" y="13027"/>
                          </a:cubicBezTo>
                          <a:cubicBezTo>
                            <a:pt x="23788" y="12835"/>
                            <a:pt x="23494" y="12740"/>
                            <a:pt x="23124" y="12740"/>
                          </a:cubicBezTo>
                          <a:close/>
                        </a:path>
                      </a:pathLst>
                    </a:custGeom>
                    <a:solidFill>
                      <a:schemeClr val="accent1"/>
                    </a:solidFill>
                    <a:ln w="637" cap="flat">
                      <a:noFill/>
                      <a:prstDash val="solid"/>
                      <a:miter/>
                    </a:ln>
                  </p:spPr>
                  <p:txBody>
                    <a:bodyPr rtlCol="0" anchor="ctr"/>
                    <a:lstStyle/>
                    <a:p>
                      <a:endParaRPr lang="en-GB" dirty="0"/>
                    </a:p>
                  </p:txBody>
                </p:sp>
                <p:sp>
                  <p:nvSpPr>
                    <p:cNvPr id="1177" name="Freeform: Shape 1176">
                      <a:extLst>
                        <a:ext uri="{FF2B5EF4-FFF2-40B4-BE49-F238E27FC236}">
                          <a16:creationId xmlns:a16="http://schemas.microsoft.com/office/drawing/2014/main" id="{4BE24438-9F5B-411B-94B0-BE8078A4E465}"/>
                        </a:ext>
                      </a:extLst>
                    </p:cNvPr>
                    <p:cNvSpPr/>
                    <p:nvPr/>
                  </p:nvSpPr>
                  <p:spPr>
                    <a:xfrm>
                      <a:off x="7619375" y="2580139"/>
                      <a:ext cx="26686" cy="26684"/>
                    </a:xfrm>
                    <a:custGeom>
                      <a:avLst/>
                      <a:gdLst>
                        <a:gd name="connsiteX0" fmla="*/ 20307 w 26686"/>
                        <a:gd name="connsiteY0" fmla="*/ 26685 h 26684"/>
                        <a:gd name="connsiteX1" fmla="*/ 15798 w 26686"/>
                        <a:gd name="connsiteY1" fmla="*/ 24816 h 26684"/>
                        <a:gd name="connsiteX2" fmla="*/ 1870 w 26686"/>
                        <a:gd name="connsiteY2" fmla="*/ 10888 h 26684"/>
                        <a:gd name="connsiteX3" fmla="*/ 1870 w 26686"/>
                        <a:gd name="connsiteY3" fmla="*/ 1870 h 26684"/>
                        <a:gd name="connsiteX4" fmla="*/ 10888 w 26686"/>
                        <a:gd name="connsiteY4" fmla="*/ 1870 h 26684"/>
                        <a:gd name="connsiteX5" fmla="*/ 24816 w 26686"/>
                        <a:gd name="connsiteY5" fmla="*/ 15798 h 26684"/>
                        <a:gd name="connsiteX6" fmla="*/ 24816 w 26686"/>
                        <a:gd name="connsiteY6" fmla="*/ 24816 h 26684"/>
                        <a:gd name="connsiteX7" fmla="*/ 20307 w 26686"/>
                        <a:gd name="connsiteY7" fmla="*/ 26685 h 26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84">
                          <a:moveTo>
                            <a:pt x="20307" y="26685"/>
                          </a:moveTo>
                          <a:cubicBezTo>
                            <a:pt x="18674" y="26685"/>
                            <a:pt x="17042" y="26060"/>
                            <a:pt x="15798" y="24816"/>
                          </a:cubicBezTo>
                          <a:lnTo>
                            <a:pt x="1870" y="10888"/>
                          </a:lnTo>
                          <a:cubicBezTo>
                            <a:pt x="-623" y="8394"/>
                            <a:pt x="-623" y="4357"/>
                            <a:pt x="1870" y="1870"/>
                          </a:cubicBezTo>
                          <a:cubicBezTo>
                            <a:pt x="4364" y="-623"/>
                            <a:pt x="8394" y="-623"/>
                            <a:pt x="10888" y="1870"/>
                          </a:cubicBezTo>
                          <a:lnTo>
                            <a:pt x="24816" y="15798"/>
                          </a:lnTo>
                          <a:cubicBezTo>
                            <a:pt x="27309" y="18292"/>
                            <a:pt x="27309" y="22329"/>
                            <a:pt x="24816" y="24816"/>
                          </a:cubicBezTo>
                          <a:cubicBezTo>
                            <a:pt x="23572" y="26066"/>
                            <a:pt x="21940" y="26685"/>
                            <a:pt x="20307" y="26685"/>
                          </a:cubicBezTo>
                          <a:close/>
                        </a:path>
                      </a:pathLst>
                    </a:custGeom>
                    <a:solidFill>
                      <a:schemeClr val="accent1"/>
                    </a:solidFill>
                    <a:ln w="637" cap="flat">
                      <a:noFill/>
                      <a:prstDash val="solid"/>
                      <a:miter/>
                    </a:ln>
                  </p:spPr>
                  <p:txBody>
                    <a:bodyPr rtlCol="0" anchor="ctr"/>
                    <a:lstStyle/>
                    <a:p>
                      <a:endParaRPr lang="en-GB" dirty="0"/>
                    </a:p>
                  </p:txBody>
                </p:sp>
              </p:grpSp>
            </p:grpSp>
            <p:grpSp>
              <p:nvGrpSpPr>
                <p:cNvPr id="1155" name="Graphic 32">
                  <a:extLst>
                    <a:ext uri="{FF2B5EF4-FFF2-40B4-BE49-F238E27FC236}">
                      <a16:creationId xmlns:a16="http://schemas.microsoft.com/office/drawing/2014/main" id="{CCCB24A3-8827-440D-8A0D-4A5401907D0E}"/>
                    </a:ext>
                  </a:extLst>
                </p:cNvPr>
                <p:cNvGrpSpPr/>
                <p:nvPr/>
              </p:nvGrpSpPr>
              <p:grpSpPr>
                <a:xfrm>
                  <a:off x="7597257" y="2682579"/>
                  <a:ext cx="173351" cy="73775"/>
                  <a:chOff x="7597257" y="2682579"/>
                  <a:chExt cx="173351" cy="73775"/>
                </a:xfrm>
                <a:solidFill>
                  <a:schemeClr val="accent1"/>
                </a:solidFill>
              </p:grpSpPr>
              <p:grpSp>
                <p:nvGrpSpPr>
                  <p:cNvPr id="1164" name="Graphic 32">
                    <a:extLst>
                      <a:ext uri="{FF2B5EF4-FFF2-40B4-BE49-F238E27FC236}">
                        <a16:creationId xmlns:a16="http://schemas.microsoft.com/office/drawing/2014/main" id="{E584D24D-7540-49D0-AFC0-7205AC04CF19}"/>
                      </a:ext>
                    </a:extLst>
                  </p:cNvPr>
                  <p:cNvGrpSpPr/>
                  <p:nvPr/>
                </p:nvGrpSpPr>
                <p:grpSpPr>
                  <a:xfrm>
                    <a:off x="7663623" y="2700915"/>
                    <a:ext cx="40643" cy="55438"/>
                    <a:chOff x="7663623" y="2700915"/>
                    <a:chExt cx="40643" cy="55438"/>
                  </a:xfrm>
                  <a:solidFill>
                    <a:schemeClr val="accent1"/>
                  </a:solidFill>
                </p:grpSpPr>
                <p:sp>
                  <p:nvSpPr>
                    <p:cNvPr id="1171" name="Freeform: Shape 1170">
                      <a:extLst>
                        <a:ext uri="{FF2B5EF4-FFF2-40B4-BE49-F238E27FC236}">
                          <a16:creationId xmlns:a16="http://schemas.microsoft.com/office/drawing/2014/main" id="{CCD09754-896A-479F-B748-DFD8AE016EC8}"/>
                        </a:ext>
                      </a:extLst>
                    </p:cNvPr>
                    <p:cNvSpPr/>
                    <p:nvPr/>
                  </p:nvSpPr>
                  <p:spPr>
                    <a:xfrm>
                      <a:off x="7663623" y="2720615"/>
                      <a:ext cx="40643" cy="35738"/>
                    </a:xfrm>
                    <a:custGeom>
                      <a:avLst/>
                      <a:gdLst>
                        <a:gd name="connsiteX0" fmla="*/ 20261 w 40643"/>
                        <a:gd name="connsiteY0" fmla="*/ 35739 h 35738"/>
                        <a:gd name="connsiteX1" fmla="*/ 0 w 40643"/>
                        <a:gd name="connsiteY1" fmla="*/ 20261 h 35738"/>
                        <a:gd name="connsiteX2" fmla="*/ 20261 w 40643"/>
                        <a:gd name="connsiteY2" fmla="*/ 0 h 35738"/>
                        <a:gd name="connsiteX3" fmla="*/ 40643 w 40643"/>
                        <a:gd name="connsiteY3" fmla="*/ 20739 h 35738"/>
                        <a:gd name="connsiteX4" fmla="*/ 20261 w 40643"/>
                        <a:gd name="connsiteY4" fmla="*/ 35739 h 35738"/>
                        <a:gd name="connsiteX5" fmla="*/ 20261 w 40643"/>
                        <a:gd name="connsiteY5" fmla="*/ 12755 h 35738"/>
                        <a:gd name="connsiteX6" fmla="*/ 12755 w 40643"/>
                        <a:gd name="connsiteY6" fmla="*/ 20261 h 35738"/>
                        <a:gd name="connsiteX7" fmla="*/ 20261 w 40643"/>
                        <a:gd name="connsiteY7" fmla="*/ 22984 h 35738"/>
                        <a:gd name="connsiteX8" fmla="*/ 27888 w 40643"/>
                        <a:gd name="connsiteY8" fmla="*/ 20739 h 35738"/>
                        <a:gd name="connsiteX9" fmla="*/ 20261 w 40643"/>
                        <a:gd name="connsiteY9" fmla="*/ 12755 h 35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43" h="35738">
                          <a:moveTo>
                            <a:pt x="20261" y="35739"/>
                          </a:moveTo>
                          <a:cubicBezTo>
                            <a:pt x="8335" y="35739"/>
                            <a:pt x="0" y="29374"/>
                            <a:pt x="0" y="20261"/>
                          </a:cubicBezTo>
                          <a:cubicBezTo>
                            <a:pt x="0" y="10223"/>
                            <a:pt x="10229" y="0"/>
                            <a:pt x="20261" y="0"/>
                          </a:cubicBezTo>
                          <a:cubicBezTo>
                            <a:pt x="30171" y="0"/>
                            <a:pt x="40643" y="10663"/>
                            <a:pt x="40643" y="20739"/>
                          </a:cubicBezTo>
                          <a:cubicBezTo>
                            <a:pt x="40643" y="29853"/>
                            <a:pt x="32640" y="35739"/>
                            <a:pt x="20261" y="35739"/>
                          </a:cubicBezTo>
                          <a:close/>
                          <a:moveTo>
                            <a:pt x="20261" y="12755"/>
                          </a:moveTo>
                          <a:cubicBezTo>
                            <a:pt x="17021" y="12755"/>
                            <a:pt x="12755" y="17480"/>
                            <a:pt x="12755" y="20261"/>
                          </a:cubicBezTo>
                          <a:cubicBezTo>
                            <a:pt x="12755" y="21658"/>
                            <a:pt x="16403" y="22984"/>
                            <a:pt x="20261" y="22984"/>
                          </a:cubicBezTo>
                          <a:cubicBezTo>
                            <a:pt x="24917" y="22984"/>
                            <a:pt x="27888" y="21658"/>
                            <a:pt x="27888" y="20739"/>
                          </a:cubicBezTo>
                          <a:cubicBezTo>
                            <a:pt x="27888" y="17920"/>
                            <a:pt x="23405" y="12755"/>
                            <a:pt x="20261" y="12755"/>
                          </a:cubicBezTo>
                          <a:close/>
                        </a:path>
                      </a:pathLst>
                    </a:custGeom>
                    <a:solidFill>
                      <a:schemeClr val="accent1"/>
                    </a:solidFill>
                    <a:ln w="637" cap="flat">
                      <a:noFill/>
                      <a:prstDash val="solid"/>
                      <a:miter/>
                    </a:ln>
                  </p:spPr>
                  <p:txBody>
                    <a:bodyPr rtlCol="0" anchor="ctr"/>
                    <a:lstStyle/>
                    <a:p>
                      <a:endParaRPr lang="en-GB" dirty="0"/>
                    </a:p>
                  </p:txBody>
                </p:sp>
                <p:sp>
                  <p:nvSpPr>
                    <p:cNvPr id="1172" name="Freeform: Shape 1171">
                      <a:extLst>
                        <a:ext uri="{FF2B5EF4-FFF2-40B4-BE49-F238E27FC236}">
                          <a16:creationId xmlns:a16="http://schemas.microsoft.com/office/drawing/2014/main" id="{94A388BA-E69C-4557-92B6-05224082DBE2}"/>
                        </a:ext>
                      </a:extLst>
                    </p:cNvPr>
                    <p:cNvSpPr/>
                    <p:nvPr/>
                  </p:nvSpPr>
                  <p:spPr>
                    <a:xfrm>
                      <a:off x="7677500" y="2700915"/>
                      <a:ext cx="12754" cy="32454"/>
                    </a:xfrm>
                    <a:custGeom>
                      <a:avLst/>
                      <a:gdLst>
                        <a:gd name="connsiteX0" fmla="*/ 6377 w 12754"/>
                        <a:gd name="connsiteY0" fmla="*/ 32455 h 32454"/>
                        <a:gd name="connsiteX1" fmla="*/ 0 w 12754"/>
                        <a:gd name="connsiteY1" fmla="*/ 26077 h 32454"/>
                        <a:gd name="connsiteX2" fmla="*/ 0 w 12754"/>
                        <a:gd name="connsiteY2" fmla="*/ 6377 h 32454"/>
                        <a:gd name="connsiteX3" fmla="*/ 6377 w 12754"/>
                        <a:gd name="connsiteY3" fmla="*/ 0 h 32454"/>
                        <a:gd name="connsiteX4" fmla="*/ 12755 w 12754"/>
                        <a:gd name="connsiteY4" fmla="*/ 6377 h 32454"/>
                        <a:gd name="connsiteX5" fmla="*/ 12755 w 12754"/>
                        <a:gd name="connsiteY5" fmla="*/ 26077 h 32454"/>
                        <a:gd name="connsiteX6" fmla="*/ 6377 w 12754"/>
                        <a:gd name="connsiteY6" fmla="*/ 32455 h 32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754" h="32454">
                          <a:moveTo>
                            <a:pt x="6377" y="32455"/>
                          </a:moveTo>
                          <a:cubicBezTo>
                            <a:pt x="2851" y="32455"/>
                            <a:pt x="0" y="29597"/>
                            <a:pt x="0" y="26077"/>
                          </a:cubicBezTo>
                          <a:lnTo>
                            <a:pt x="0" y="6377"/>
                          </a:lnTo>
                          <a:cubicBezTo>
                            <a:pt x="0" y="2857"/>
                            <a:pt x="2851" y="0"/>
                            <a:pt x="6377" y="0"/>
                          </a:cubicBezTo>
                          <a:cubicBezTo>
                            <a:pt x="9904" y="0"/>
                            <a:pt x="12755" y="2857"/>
                            <a:pt x="12755" y="6377"/>
                          </a:cubicBezTo>
                          <a:lnTo>
                            <a:pt x="12755" y="26077"/>
                          </a:lnTo>
                          <a:cubicBezTo>
                            <a:pt x="12755" y="29597"/>
                            <a:pt x="9904" y="32455"/>
                            <a:pt x="6377" y="32455"/>
                          </a:cubicBezTo>
                          <a:close/>
                        </a:path>
                      </a:pathLst>
                    </a:custGeom>
                    <a:solidFill>
                      <a:schemeClr val="accent1"/>
                    </a:solidFill>
                    <a:ln w="637" cap="flat">
                      <a:noFill/>
                      <a:prstDash val="solid"/>
                      <a:miter/>
                    </a:ln>
                  </p:spPr>
                  <p:txBody>
                    <a:bodyPr rtlCol="0" anchor="ctr"/>
                    <a:lstStyle/>
                    <a:p>
                      <a:endParaRPr lang="en-GB" dirty="0"/>
                    </a:p>
                  </p:txBody>
                </p:sp>
              </p:grpSp>
              <p:grpSp>
                <p:nvGrpSpPr>
                  <p:cNvPr id="1165" name="Graphic 32">
                    <a:extLst>
                      <a:ext uri="{FF2B5EF4-FFF2-40B4-BE49-F238E27FC236}">
                        <a16:creationId xmlns:a16="http://schemas.microsoft.com/office/drawing/2014/main" id="{44EF8793-4B39-4F9B-A979-75286B579416}"/>
                      </a:ext>
                    </a:extLst>
                  </p:cNvPr>
                  <p:cNvGrpSpPr/>
                  <p:nvPr/>
                </p:nvGrpSpPr>
                <p:grpSpPr>
                  <a:xfrm>
                    <a:off x="7721803" y="2682579"/>
                    <a:ext cx="48805" cy="48482"/>
                    <a:chOff x="7721803" y="2682579"/>
                    <a:chExt cx="48805" cy="48482"/>
                  </a:xfrm>
                  <a:solidFill>
                    <a:schemeClr val="accent1"/>
                  </a:solidFill>
                </p:grpSpPr>
                <p:sp>
                  <p:nvSpPr>
                    <p:cNvPr id="1169" name="Freeform: Shape 1168">
                      <a:extLst>
                        <a:ext uri="{FF2B5EF4-FFF2-40B4-BE49-F238E27FC236}">
                          <a16:creationId xmlns:a16="http://schemas.microsoft.com/office/drawing/2014/main" id="{723636F6-E6D3-4D05-BA9C-C9DDCF44EAA4}"/>
                        </a:ext>
                      </a:extLst>
                    </p:cNvPr>
                    <p:cNvSpPr/>
                    <p:nvPr/>
                  </p:nvSpPr>
                  <p:spPr>
                    <a:xfrm>
                      <a:off x="7732289" y="2693158"/>
                      <a:ext cx="38319" cy="37902"/>
                    </a:xfrm>
                    <a:custGeom>
                      <a:avLst/>
                      <a:gdLst>
                        <a:gd name="connsiteX0" fmla="*/ 15089 w 38319"/>
                        <a:gd name="connsiteY0" fmla="*/ 37903 h 37902"/>
                        <a:gd name="connsiteX1" fmla="*/ 5319 w 38319"/>
                        <a:gd name="connsiteY1" fmla="*/ 33879 h 37902"/>
                        <a:gd name="connsiteX2" fmla="*/ 5319 w 38319"/>
                        <a:gd name="connsiteY2" fmla="*/ 5219 h 37902"/>
                        <a:gd name="connsiteX3" fmla="*/ 20127 w 38319"/>
                        <a:gd name="connsiteY3" fmla="*/ 9 h 37902"/>
                        <a:gd name="connsiteX4" fmla="*/ 34393 w 38319"/>
                        <a:gd name="connsiteY4" fmla="*/ 5468 h 37902"/>
                        <a:gd name="connsiteX5" fmla="*/ 34393 w 38319"/>
                        <a:gd name="connsiteY5" fmla="*/ 5468 h 37902"/>
                        <a:gd name="connsiteX6" fmla="*/ 34393 w 38319"/>
                        <a:gd name="connsiteY6" fmla="*/ 5468 h 37902"/>
                        <a:gd name="connsiteX7" fmla="*/ 34393 w 38319"/>
                        <a:gd name="connsiteY7" fmla="*/ 5468 h 37902"/>
                        <a:gd name="connsiteX8" fmla="*/ 37518 w 38319"/>
                        <a:gd name="connsiteY8" fmla="*/ 19829 h 37902"/>
                        <a:gd name="connsiteX9" fmla="*/ 30586 w 38319"/>
                        <a:gd name="connsiteY9" fmla="*/ 30486 h 37902"/>
                        <a:gd name="connsiteX10" fmla="*/ 15089 w 38319"/>
                        <a:gd name="connsiteY10" fmla="*/ 37903 h 37902"/>
                        <a:gd name="connsiteX11" fmla="*/ 19470 w 38319"/>
                        <a:gd name="connsiteY11" fmla="*/ 12757 h 37902"/>
                        <a:gd name="connsiteX12" fmla="*/ 14336 w 38319"/>
                        <a:gd name="connsiteY12" fmla="*/ 14237 h 37902"/>
                        <a:gd name="connsiteX13" fmla="*/ 14336 w 38319"/>
                        <a:gd name="connsiteY13" fmla="*/ 24855 h 37902"/>
                        <a:gd name="connsiteX14" fmla="*/ 21575 w 38319"/>
                        <a:gd name="connsiteY14" fmla="*/ 21469 h 37902"/>
                        <a:gd name="connsiteX15" fmla="*/ 25388 w 38319"/>
                        <a:gd name="connsiteY15" fmla="*/ 15920 h 37902"/>
                        <a:gd name="connsiteX16" fmla="*/ 25382 w 38319"/>
                        <a:gd name="connsiteY16" fmla="*/ 14492 h 37902"/>
                        <a:gd name="connsiteX17" fmla="*/ 25382 w 38319"/>
                        <a:gd name="connsiteY17" fmla="*/ 14492 h 37902"/>
                        <a:gd name="connsiteX18" fmla="*/ 19808 w 38319"/>
                        <a:gd name="connsiteY18" fmla="*/ 12763 h 37902"/>
                        <a:gd name="connsiteX19" fmla="*/ 19470 w 38319"/>
                        <a:gd name="connsiteY19" fmla="*/ 12757 h 37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319" h="37902">
                          <a:moveTo>
                            <a:pt x="15089" y="37903"/>
                          </a:moveTo>
                          <a:cubicBezTo>
                            <a:pt x="11428" y="37903"/>
                            <a:pt x="8029" y="36577"/>
                            <a:pt x="5319" y="33879"/>
                          </a:cubicBezTo>
                          <a:cubicBezTo>
                            <a:pt x="-1773" y="26781"/>
                            <a:pt x="-1773" y="12317"/>
                            <a:pt x="5319" y="5219"/>
                          </a:cubicBezTo>
                          <a:cubicBezTo>
                            <a:pt x="8782" y="1756"/>
                            <a:pt x="14056" y="-144"/>
                            <a:pt x="20127" y="9"/>
                          </a:cubicBezTo>
                          <a:cubicBezTo>
                            <a:pt x="25867" y="155"/>
                            <a:pt x="31071" y="2145"/>
                            <a:pt x="34393" y="5468"/>
                          </a:cubicBezTo>
                          <a:lnTo>
                            <a:pt x="34393" y="5468"/>
                          </a:lnTo>
                          <a:cubicBezTo>
                            <a:pt x="34393" y="5468"/>
                            <a:pt x="34393" y="5468"/>
                            <a:pt x="34393" y="5468"/>
                          </a:cubicBezTo>
                          <a:lnTo>
                            <a:pt x="34393" y="5468"/>
                          </a:lnTo>
                          <a:cubicBezTo>
                            <a:pt x="38124" y="9192"/>
                            <a:pt x="39266" y="14428"/>
                            <a:pt x="37518" y="19829"/>
                          </a:cubicBezTo>
                          <a:cubicBezTo>
                            <a:pt x="36058" y="24370"/>
                            <a:pt x="32939" y="28126"/>
                            <a:pt x="30586" y="30486"/>
                          </a:cubicBezTo>
                          <a:cubicBezTo>
                            <a:pt x="25694" y="35378"/>
                            <a:pt x="20146" y="37903"/>
                            <a:pt x="15089" y="37903"/>
                          </a:cubicBezTo>
                          <a:close/>
                          <a:moveTo>
                            <a:pt x="19470" y="12757"/>
                          </a:moveTo>
                          <a:cubicBezTo>
                            <a:pt x="16951" y="12757"/>
                            <a:pt x="15089" y="13484"/>
                            <a:pt x="14336" y="14237"/>
                          </a:cubicBezTo>
                          <a:cubicBezTo>
                            <a:pt x="12053" y="16526"/>
                            <a:pt x="12366" y="22884"/>
                            <a:pt x="14336" y="24855"/>
                          </a:cubicBezTo>
                          <a:cubicBezTo>
                            <a:pt x="15331" y="25850"/>
                            <a:pt x="18851" y="24185"/>
                            <a:pt x="21575" y="21469"/>
                          </a:cubicBezTo>
                          <a:cubicBezTo>
                            <a:pt x="23469" y="19574"/>
                            <a:pt x="24865" y="17546"/>
                            <a:pt x="25388" y="15920"/>
                          </a:cubicBezTo>
                          <a:cubicBezTo>
                            <a:pt x="25739" y="14849"/>
                            <a:pt x="25535" y="14651"/>
                            <a:pt x="25382" y="14492"/>
                          </a:cubicBezTo>
                          <a:cubicBezTo>
                            <a:pt x="25382" y="14492"/>
                            <a:pt x="25382" y="14492"/>
                            <a:pt x="25382" y="14492"/>
                          </a:cubicBezTo>
                          <a:cubicBezTo>
                            <a:pt x="24598" y="13707"/>
                            <a:pt x="22518" y="12827"/>
                            <a:pt x="19808" y="12763"/>
                          </a:cubicBezTo>
                          <a:cubicBezTo>
                            <a:pt x="19687" y="12757"/>
                            <a:pt x="19579" y="12757"/>
                            <a:pt x="19470" y="12757"/>
                          </a:cubicBezTo>
                          <a:close/>
                        </a:path>
                      </a:pathLst>
                    </a:custGeom>
                    <a:solidFill>
                      <a:schemeClr val="accent1"/>
                    </a:solidFill>
                    <a:ln w="637" cap="flat">
                      <a:noFill/>
                      <a:prstDash val="solid"/>
                      <a:miter/>
                    </a:ln>
                  </p:spPr>
                  <p:txBody>
                    <a:bodyPr rtlCol="0" anchor="ctr"/>
                    <a:lstStyle/>
                    <a:p>
                      <a:endParaRPr lang="en-GB" dirty="0"/>
                    </a:p>
                  </p:txBody>
                </p:sp>
                <p:sp>
                  <p:nvSpPr>
                    <p:cNvPr id="1170" name="Freeform: Shape 1169">
                      <a:extLst>
                        <a:ext uri="{FF2B5EF4-FFF2-40B4-BE49-F238E27FC236}">
                          <a16:creationId xmlns:a16="http://schemas.microsoft.com/office/drawing/2014/main" id="{3EE66A55-DE98-4995-85DA-6929709EBDBB}"/>
                        </a:ext>
                      </a:extLst>
                    </p:cNvPr>
                    <p:cNvSpPr/>
                    <p:nvPr/>
                  </p:nvSpPr>
                  <p:spPr>
                    <a:xfrm>
                      <a:off x="7721803" y="2682579"/>
                      <a:ext cx="26686" cy="26691"/>
                    </a:xfrm>
                    <a:custGeom>
                      <a:avLst/>
                      <a:gdLst>
                        <a:gd name="connsiteX0" fmla="*/ 20307 w 26686"/>
                        <a:gd name="connsiteY0" fmla="*/ 26691 h 26691"/>
                        <a:gd name="connsiteX1" fmla="*/ 15798 w 26686"/>
                        <a:gd name="connsiteY1" fmla="*/ 24822 h 26691"/>
                        <a:gd name="connsiteX2" fmla="*/ 1870 w 26686"/>
                        <a:gd name="connsiteY2" fmla="*/ 10888 h 26691"/>
                        <a:gd name="connsiteX3" fmla="*/ 1870 w 26686"/>
                        <a:gd name="connsiteY3" fmla="*/ 1870 h 26691"/>
                        <a:gd name="connsiteX4" fmla="*/ 10888 w 26686"/>
                        <a:gd name="connsiteY4" fmla="*/ 1870 h 26691"/>
                        <a:gd name="connsiteX5" fmla="*/ 24816 w 26686"/>
                        <a:gd name="connsiteY5" fmla="*/ 15805 h 26691"/>
                        <a:gd name="connsiteX6" fmla="*/ 24816 w 26686"/>
                        <a:gd name="connsiteY6" fmla="*/ 24822 h 26691"/>
                        <a:gd name="connsiteX7" fmla="*/ 20307 w 26686"/>
                        <a:gd name="connsiteY7" fmla="*/ 26691 h 2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91">
                          <a:moveTo>
                            <a:pt x="20307" y="26691"/>
                          </a:moveTo>
                          <a:cubicBezTo>
                            <a:pt x="18675" y="26691"/>
                            <a:pt x="17042" y="26066"/>
                            <a:pt x="15798" y="24822"/>
                          </a:cubicBezTo>
                          <a:lnTo>
                            <a:pt x="1870" y="10888"/>
                          </a:lnTo>
                          <a:cubicBezTo>
                            <a:pt x="-623" y="8394"/>
                            <a:pt x="-623" y="4357"/>
                            <a:pt x="1870" y="1870"/>
                          </a:cubicBezTo>
                          <a:cubicBezTo>
                            <a:pt x="4364" y="-623"/>
                            <a:pt x="8394" y="-623"/>
                            <a:pt x="10888" y="1870"/>
                          </a:cubicBezTo>
                          <a:lnTo>
                            <a:pt x="24816" y="15805"/>
                          </a:lnTo>
                          <a:cubicBezTo>
                            <a:pt x="27310" y="18298"/>
                            <a:pt x="27310" y="22335"/>
                            <a:pt x="24816" y="24822"/>
                          </a:cubicBezTo>
                          <a:cubicBezTo>
                            <a:pt x="23572" y="26072"/>
                            <a:pt x="21940" y="26691"/>
                            <a:pt x="20307" y="26691"/>
                          </a:cubicBezTo>
                          <a:close/>
                        </a:path>
                      </a:pathLst>
                    </a:custGeom>
                    <a:solidFill>
                      <a:schemeClr val="accent1"/>
                    </a:solidFill>
                    <a:ln w="637" cap="flat">
                      <a:noFill/>
                      <a:prstDash val="solid"/>
                      <a:miter/>
                    </a:ln>
                  </p:spPr>
                  <p:txBody>
                    <a:bodyPr rtlCol="0" anchor="ctr"/>
                    <a:lstStyle/>
                    <a:p>
                      <a:endParaRPr lang="en-GB" dirty="0"/>
                    </a:p>
                  </p:txBody>
                </p:sp>
              </p:grpSp>
              <p:grpSp>
                <p:nvGrpSpPr>
                  <p:cNvPr id="1166" name="Graphic 32">
                    <a:extLst>
                      <a:ext uri="{FF2B5EF4-FFF2-40B4-BE49-F238E27FC236}">
                        <a16:creationId xmlns:a16="http://schemas.microsoft.com/office/drawing/2014/main" id="{24712530-261D-4FD5-AA8E-3D642847FFCC}"/>
                      </a:ext>
                    </a:extLst>
                  </p:cNvPr>
                  <p:cNvGrpSpPr/>
                  <p:nvPr/>
                </p:nvGrpSpPr>
                <p:grpSpPr>
                  <a:xfrm>
                    <a:off x="7597257" y="2682725"/>
                    <a:ext cx="48811" cy="48482"/>
                    <a:chOff x="7597257" y="2682725"/>
                    <a:chExt cx="48811" cy="48482"/>
                  </a:xfrm>
                  <a:solidFill>
                    <a:schemeClr val="accent1"/>
                  </a:solidFill>
                </p:grpSpPr>
                <p:sp>
                  <p:nvSpPr>
                    <p:cNvPr id="1167" name="Freeform: Shape 1166">
                      <a:extLst>
                        <a:ext uri="{FF2B5EF4-FFF2-40B4-BE49-F238E27FC236}">
                          <a16:creationId xmlns:a16="http://schemas.microsoft.com/office/drawing/2014/main" id="{E9FAD720-001B-48E5-928A-8BBE41450A77}"/>
                        </a:ext>
                      </a:extLst>
                    </p:cNvPr>
                    <p:cNvSpPr/>
                    <p:nvPr/>
                  </p:nvSpPr>
                  <p:spPr>
                    <a:xfrm>
                      <a:off x="7597257" y="2693312"/>
                      <a:ext cx="38318" cy="37896"/>
                    </a:xfrm>
                    <a:custGeom>
                      <a:avLst/>
                      <a:gdLst>
                        <a:gd name="connsiteX0" fmla="*/ 23236 w 38318"/>
                        <a:gd name="connsiteY0" fmla="*/ 37896 h 37896"/>
                        <a:gd name="connsiteX1" fmla="*/ 7733 w 38318"/>
                        <a:gd name="connsiteY1" fmla="*/ 30486 h 37896"/>
                        <a:gd name="connsiteX2" fmla="*/ 794 w 38318"/>
                        <a:gd name="connsiteY2" fmla="*/ 19829 h 37896"/>
                        <a:gd name="connsiteX3" fmla="*/ 3925 w 38318"/>
                        <a:gd name="connsiteY3" fmla="*/ 5467 h 37896"/>
                        <a:gd name="connsiteX4" fmla="*/ 3925 w 38318"/>
                        <a:gd name="connsiteY4" fmla="*/ 5467 h 37896"/>
                        <a:gd name="connsiteX5" fmla="*/ 3925 w 38318"/>
                        <a:gd name="connsiteY5" fmla="*/ 5467 h 37896"/>
                        <a:gd name="connsiteX6" fmla="*/ 3925 w 38318"/>
                        <a:gd name="connsiteY6" fmla="*/ 5467 h 37896"/>
                        <a:gd name="connsiteX7" fmla="*/ 18192 w 38318"/>
                        <a:gd name="connsiteY7" fmla="*/ 8 h 37896"/>
                        <a:gd name="connsiteX8" fmla="*/ 33000 w 38318"/>
                        <a:gd name="connsiteY8" fmla="*/ 5212 h 37896"/>
                        <a:gd name="connsiteX9" fmla="*/ 33000 w 38318"/>
                        <a:gd name="connsiteY9" fmla="*/ 33872 h 37896"/>
                        <a:gd name="connsiteX10" fmla="*/ 23236 w 38318"/>
                        <a:gd name="connsiteY10" fmla="*/ 37896 h 37896"/>
                        <a:gd name="connsiteX11" fmla="*/ 18855 w 38318"/>
                        <a:gd name="connsiteY11" fmla="*/ 12750 h 37896"/>
                        <a:gd name="connsiteX12" fmla="*/ 18517 w 38318"/>
                        <a:gd name="connsiteY12" fmla="*/ 12750 h 37896"/>
                        <a:gd name="connsiteX13" fmla="*/ 12943 w 38318"/>
                        <a:gd name="connsiteY13" fmla="*/ 14478 h 37896"/>
                        <a:gd name="connsiteX14" fmla="*/ 12943 w 38318"/>
                        <a:gd name="connsiteY14" fmla="*/ 14478 h 37896"/>
                        <a:gd name="connsiteX15" fmla="*/ 12930 w 38318"/>
                        <a:gd name="connsiteY15" fmla="*/ 15907 h 37896"/>
                        <a:gd name="connsiteX16" fmla="*/ 16750 w 38318"/>
                        <a:gd name="connsiteY16" fmla="*/ 21455 h 37896"/>
                        <a:gd name="connsiteX17" fmla="*/ 23989 w 38318"/>
                        <a:gd name="connsiteY17" fmla="*/ 24841 h 37896"/>
                        <a:gd name="connsiteX18" fmla="*/ 23989 w 38318"/>
                        <a:gd name="connsiteY18" fmla="*/ 14223 h 37896"/>
                        <a:gd name="connsiteX19" fmla="*/ 18855 w 38318"/>
                        <a:gd name="connsiteY19" fmla="*/ 12750 h 37896"/>
                        <a:gd name="connsiteX20" fmla="*/ 8434 w 38318"/>
                        <a:gd name="connsiteY20" fmla="*/ 9976 h 37896"/>
                        <a:gd name="connsiteX21" fmla="*/ 8498 w 38318"/>
                        <a:gd name="connsiteY21" fmla="*/ 9976 h 37896"/>
                        <a:gd name="connsiteX22" fmla="*/ 8434 w 38318"/>
                        <a:gd name="connsiteY22" fmla="*/ 9976 h 37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318" h="37896">
                          <a:moveTo>
                            <a:pt x="23236" y="37896"/>
                          </a:moveTo>
                          <a:cubicBezTo>
                            <a:pt x="18179" y="37896"/>
                            <a:pt x="12631" y="35377"/>
                            <a:pt x="7733" y="30486"/>
                          </a:cubicBezTo>
                          <a:cubicBezTo>
                            <a:pt x="5379" y="28126"/>
                            <a:pt x="2261" y="24370"/>
                            <a:pt x="794" y="19829"/>
                          </a:cubicBezTo>
                          <a:cubicBezTo>
                            <a:pt x="-941" y="14434"/>
                            <a:pt x="195" y="9198"/>
                            <a:pt x="3925" y="5467"/>
                          </a:cubicBezTo>
                          <a:lnTo>
                            <a:pt x="3925" y="5467"/>
                          </a:lnTo>
                          <a:lnTo>
                            <a:pt x="3925" y="5467"/>
                          </a:lnTo>
                          <a:lnTo>
                            <a:pt x="3925" y="5467"/>
                          </a:lnTo>
                          <a:cubicBezTo>
                            <a:pt x="7248" y="2144"/>
                            <a:pt x="12452" y="155"/>
                            <a:pt x="18192" y="8"/>
                          </a:cubicBezTo>
                          <a:cubicBezTo>
                            <a:pt x="24237" y="-139"/>
                            <a:pt x="29531" y="1755"/>
                            <a:pt x="33000" y="5212"/>
                          </a:cubicBezTo>
                          <a:cubicBezTo>
                            <a:pt x="40092" y="12310"/>
                            <a:pt x="40092" y="26774"/>
                            <a:pt x="33000" y="33872"/>
                          </a:cubicBezTo>
                          <a:cubicBezTo>
                            <a:pt x="30302" y="36576"/>
                            <a:pt x="26897" y="37896"/>
                            <a:pt x="23236" y="37896"/>
                          </a:cubicBezTo>
                          <a:close/>
                          <a:moveTo>
                            <a:pt x="18855" y="12750"/>
                          </a:moveTo>
                          <a:cubicBezTo>
                            <a:pt x="18740" y="12750"/>
                            <a:pt x="18632" y="12750"/>
                            <a:pt x="18517" y="12750"/>
                          </a:cubicBezTo>
                          <a:cubicBezTo>
                            <a:pt x="15807" y="12820"/>
                            <a:pt x="13727" y="13694"/>
                            <a:pt x="12943" y="14478"/>
                          </a:cubicBezTo>
                          <a:lnTo>
                            <a:pt x="12943" y="14478"/>
                          </a:lnTo>
                          <a:cubicBezTo>
                            <a:pt x="12777" y="14644"/>
                            <a:pt x="12586" y="14835"/>
                            <a:pt x="12930" y="15907"/>
                          </a:cubicBezTo>
                          <a:cubicBezTo>
                            <a:pt x="13460" y="17539"/>
                            <a:pt x="14850" y="19561"/>
                            <a:pt x="16750" y="21455"/>
                          </a:cubicBezTo>
                          <a:cubicBezTo>
                            <a:pt x="19474" y="24178"/>
                            <a:pt x="22975" y="25836"/>
                            <a:pt x="23989" y="24841"/>
                          </a:cubicBezTo>
                          <a:cubicBezTo>
                            <a:pt x="25959" y="22871"/>
                            <a:pt x="26272" y="16513"/>
                            <a:pt x="23989" y="14223"/>
                          </a:cubicBezTo>
                          <a:cubicBezTo>
                            <a:pt x="23236" y="13483"/>
                            <a:pt x="21374" y="12750"/>
                            <a:pt x="18855" y="12750"/>
                          </a:cubicBezTo>
                          <a:close/>
                          <a:moveTo>
                            <a:pt x="8434" y="9976"/>
                          </a:moveTo>
                          <a:lnTo>
                            <a:pt x="8498" y="9976"/>
                          </a:lnTo>
                          <a:lnTo>
                            <a:pt x="8434" y="9976"/>
                          </a:lnTo>
                          <a:close/>
                        </a:path>
                      </a:pathLst>
                    </a:custGeom>
                    <a:solidFill>
                      <a:schemeClr val="accent1"/>
                    </a:solidFill>
                    <a:ln w="637" cap="flat">
                      <a:noFill/>
                      <a:prstDash val="solid"/>
                      <a:miter/>
                    </a:ln>
                  </p:spPr>
                  <p:txBody>
                    <a:bodyPr rtlCol="0" anchor="ctr"/>
                    <a:lstStyle/>
                    <a:p>
                      <a:endParaRPr lang="en-GB" dirty="0"/>
                    </a:p>
                  </p:txBody>
                </p:sp>
                <p:sp>
                  <p:nvSpPr>
                    <p:cNvPr id="1168" name="Freeform: Shape 1167">
                      <a:extLst>
                        <a:ext uri="{FF2B5EF4-FFF2-40B4-BE49-F238E27FC236}">
                          <a16:creationId xmlns:a16="http://schemas.microsoft.com/office/drawing/2014/main" id="{E65AC3F6-5636-4CFA-873E-CD9CB1A0A173}"/>
                        </a:ext>
                      </a:extLst>
                    </p:cNvPr>
                    <p:cNvSpPr/>
                    <p:nvPr/>
                  </p:nvSpPr>
                  <p:spPr>
                    <a:xfrm>
                      <a:off x="7619382" y="2682725"/>
                      <a:ext cx="26686" cy="26690"/>
                    </a:xfrm>
                    <a:custGeom>
                      <a:avLst/>
                      <a:gdLst>
                        <a:gd name="connsiteX0" fmla="*/ 6379 w 26686"/>
                        <a:gd name="connsiteY0" fmla="*/ 26691 h 26690"/>
                        <a:gd name="connsiteX1" fmla="*/ 1870 w 26686"/>
                        <a:gd name="connsiteY1" fmla="*/ 24822 h 26690"/>
                        <a:gd name="connsiteX2" fmla="*/ 1870 w 26686"/>
                        <a:gd name="connsiteY2" fmla="*/ 15805 h 26690"/>
                        <a:gd name="connsiteX3" fmla="*/ 15798 w 26686"/>
                        <a:gd name="connsiteY3" fmla="*/ 1870 h 26690"/>
                        <a:gd name="connsiteX4" fmla="*/ 24816 w 26686"/>
                        <a:gd name="connsiteY4" fmla="*/ 1870 h 26690"/>
                        <a:gd name="connsiteX5" fmla="*/ 24816 w 26686"/>
                        <a:gd name="connsiteY5" fmla="*/ 10888 h 26690"/>
                        <a:gd name="connsiteX6" fmla="*/ 10888 w 26686"/>
                        <a:gd name="connsiteY6" fmla="*/ 24822 h 26690"/>
                        <a:gd name="connsiteX7" fmla="*/ 6379 w 26686"/>
                        <a:gd name="connsiteY7" fmla="*/ 26691 h 2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86" h="26690">
                          <a:moveTo>
                            <a:pt x="6379" y="26691"/>
                          </a:moveTo>
                          <a:cubicBezTo>
                            <a:pt x="4746" y="26691"/>
                            <a:pt x="3114" y="26066"/>
                            <a:pt x="1870" y="24822"/>
                          </a:cubicBezTo>
                          <a:cubicBezTo>
                            <a:pt x="-623" y="22335"/>
                            <a:pt x="-623" y="18298"/>
                            <a:pt x="1870" y="15805"/>
                          </a:cubicBezTo>
                          <a:lnTo>
                            <a:pt x="15798" y="1870"/>
                          </a:lnTo>
                          <a:cubicBezTo>
                            <a:pt x="18292" y="-623"/>
                            <a:pt x="22322" y="-623"/>
                            <a:pt x="24816" y="1870"/>
                          </a:cubicBezTo>
                          <a:cubicBezTo>
                            <a:pt x="27310" y="4357"/>
                            <a:pt x="27310" y="8394"/>
                            <a:pt x="24816" y="10888"/>
                          </a:cubicBezTo>
                          <a:lnTo>
                            <a:pt x="10888" y="24822"/>
                          </a:lnTo>
                          <a:cubicBezTo>
                            <a:pt x="9638" y="26072"/>
                            <a:pt x="8012" y="26691"/>
                            <a:pt x="6379" y="26691"/>
                          </a:cubicBezTo>
                          <a:close/>
                        </a:path>
                      </a:pathLst>
                    </a:custGeom>
                    <a:solidFill>
                      <a:schemeClr val="accent1"/>
                    </a:solidFill>
                    <a:ln w="637" cap="flat">
                      <a:noFill/>
                      <a:prstDash val="solid"/>
                      <a:miter/>
                    </a:ln>
                  </p:spPr>
                  <p:txBody>
                    <a:bodyPr rtlCol="0" anchor="ctr"/>
                    <a:lstStyle/>
                    <a:p>
                      <a:endParaRPr lang="en-GB" dirty="0"/>
                    </a:p>
                  </p:txBody>
                </p:sp>
              </p:grpSp>
            </p:grpSp>
            <p:sp>
              <p:nvSpPr>
                <p:cNvPr id="1156" name="Freeform: Shape 1155">
                  <a:extLst>
                    <a:ext uri="{FF2B5EF4-FFF2-40B4-BE49-F238E27FC236}">
                      <a16:creationId xmlns:a16="http://schemas.microsoft.com/office/drawing/2014/main" id="{CFD1343B-5CB6-41BC-B9E7-BE893983301E}"/>
                    </a:ext>
                  </a:extLst>
                </p:cNvPr>
                <p:cNvSpPr/>
                <p:nvPr/>
              </p:nvSpPr>
              <p:spPr>
                <a:xfrm>
                  <a:off x="7703538" y="2695406"/>
                  <a:ext cx="17731" cy="23589"/>
                </a:xfrm>
                <a:custGeom>
                  <a:avLst/>
                  <a:gdLst>
                    <a:gd name="connsiteX0" fmla="*/ 11359 w 17731"/>
                    <a:gd name="connsiteY0" fmla="*/ 23590 h 23589"/>
                    <a:gd name="connsiteX1" fmla="*/ 5556 w 17731"/>
                    <a:gd name="connsiteY1" fmla="*/ 19872 h 23589"/>
                    <a:gd name="connsiteX2" fmla="*/ 582 w 17731"/>
                    <a:gd name="connsiteY2" fmla="*/ 9036 h 23589"/>
                    <a:gd name="connsiteX3" fmla="*/ 3719 w 17731"/>
                    <a:gd name="connsiteY3" fmla="*/ 580 h 23589"/>
                    <a:gd name="connsiteX4" fmla="*/ 12176 w 17731"/>
                    <a:gd name="connsiteY4" fmla="*/ 3711 h 23589"/>
                    <a:gd name="connsiteX5" fmla="*/ 17150 w 17731"/>
                    <a:gd name="connsiteY5" fmla="*/ 14546 h 23589"/>
                    <a:gd name="connsiteX6" fmla="*/ 14012 w 17731"/>
                    <a:gd name="connsiteY6" fmla="*/ 23003 h 23589"/>
                    <a:gd name="connsiteX7" fmla="*/ 11359 w 17731"/>
                    <a:gd name="connsiteY7" fmla="*/ 23590 h 23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731" h="23589">
                      <a:moveTo>
                        <a:pt x="11359" y="23590"/>
                      </a:moveTo>
                      <a:cubicBezTo>
                        <a:pt x="8943" y="23590"/>
                        <a:pt x="6634" y="22212"/>
                        <a:pt x="5556" y="19872"/>
                      </a:cubicBezTo>
                      <a:lnTo>
                        <a:pt x="582" y="9036"/>
                      </a:lnTo>
                      <a:cubicBezTo>
                        <a:pt x="-885" y="5835"/>
                        <a:pt x="518" y="2047"/>
                        <a:pt x="3719" y="580"/>
                      </a:cubicBezTo>
                      <a:cubicBezTo>
                        <a:pt x="6914" y="-880"/>
                        <a:pt x="10703" y="510"/>
                        <a:pt x="12176" y="3711"/>
                      </a:cubicBezTo>
                      <a:lnTo>
                        <a:pt x="17150" y="14546"/>
                      </a:lnTo>
                      <a:cubicBezTo>
                        <a:pt x="18617" y="17748"/>
                        <a:pt x="17214" y="21536"/>
                        <a:pt x="14012" y="23003"/>
                      </a:cubicBezTo>
                      <a:cubicBezTo>
                        <a:pt x="13151" y="23405"/>
                        <a:pt x="12252" y="23590"/>
                        <a:pt x="11359" y="23590"/>
                      </a:cubicBezTo>
                      <a:close/>
                    </a:path>
                  </a:pathLst>
                </a:custGeom>
                <a:solidFill>
                  <a:schemeClr val="accent1"/>
                </a:solidFill>
                <a:ln w="637" cap="flat">
                  <a:noFill/>
                  <a:prstDash val="solid"/>
                  <a:miter/>
                </a:ln>
              </p:spPr>
              <p:txBody>
                <a:bodyPr rtlCol="0" anchor="ctr"/>
                <a:lstStyle/>
                <a:p>
                  <a:endParaRPr lang="en-GB" dirty="0"/>
                </a:p>
              </p:txBody>
            </p:sp>
            <p:sp>
              <p:nvSpPr>
                <p:cNvPr id="1157" name="Freeform: Shape 1156">
                  <a:extLst>
                    <a:ext uri="{FF2B5EF4-FFF2-40B4-BE49-F238E27FC236}">
                      <a16:creationId xmlns:a16="http://schemas.microsoft.com/office/drawing/2014/main" id="{A7553FE9-06E0-46D2-9E4A-1EFEBD09D58D}"/>
                    </a:ext>
                  </a:extLst>
                </p:cNvPr>
                <p:cNvSpPr/>
                <p:nvPr/>
              </p:nvSpPr>
              <p:spPr>
                <a:xfrm>
                  <a:off x="7646118" y="2570380"/>
                  <a:ext cx="17822" cy="23790"/>
                </a:xfrm>
                <a:custGeom>
                  <a:avLst/>
                  <a:gdLst>
                    <a:gd name="connsiteX0" fmla="*/ 11453 w 17822"/>
                    <a:gd name="connsiteY0" fmla="*/ 23790 h 23790"/>
                    <a:gd name="connsiteX1" fmla="*/ 5655 w 17822"/>
                    <a:gd name="connsiteY1" fmla="*/ 20072 h 23790"/>
                    <a:gd name="connsiteX2" fmla="*/ 586 w 17822"/>
                    <a:gd name="connsiteY2" fmla="*/ 9039 h 23790"/>
                    <a:gd name="connsiteX3" fmla="*/ 3710 w 17822"/>
                    <a:gd name="connsiteY3" fmla="*/ 583 h 23790"/>
                    <a:gd name="connsiteX4" fmla="*/ 12167 w 17822"/>
                    <a:gd name="connsiteY4" fmla="*/ 3714 h 23790"/>
                    <a:gd name="connsiteX5" fmla="*/ 17237 w 17822"/>
                    <a:gd name="connsiteY5" fmla="*/ 14747 h 23790"/>
                    <a:gd name="connsiteX6" fmla="*/ 14112 w 17822"/>
                    <a:gd name="connsiteY6" fmla="*/ 23203 h 23790"/>
                    <a:gd name="connsiteX7" fmla="*/ 11453 w 17822"/>
                    <a:gd name="connsiteY7" fmla="*/ 23790 h 23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22" h="23790">
                      <a:moveTo>
                        <a:pt x="11453" y="23790"/>
                      </a:moveTo>
                      <a:cubicBezTo>
                        <a:pt x="9036" y="23790"/>
                        <a:pt x="6727" y="22413"/>
                        <a:pt x="5655" y="20072"/>
                      </a:cubicBezTo>
                      <a:lnTo>
                        <a:pt x="586" y="9039"/>
                      </a:lnTo>
                      <a:cubicBezTo>
                        <a:pt x="-888" y="5838"/>
                        <a:pt x="516" y="2049"/>
                        <a:pt x="3710" y="583"/>
                      </a:cubicBezTo>
                      <a:cubicBezTo>
                        <a:pt x="6925" y="-884"/>
                        <a:pt x="10700" y="513"/>
                        <a:pt x="12167" y="3714"/>
                      </a:cubicBezTo>
                      <a:lnTo>
                        <a:pt x="17237" y="14747"/>
                      </a:lnTo>
                      <a:cubicBezTo>
                        <a:pt x="18710" y="17948"/>
                        <a:pt x="17307" y="21736"/>
                        <a:pt x="14112" y="23203"/>
                      </a:cubicBezTo>
                      <a:cubicBezTo>
                        <a:pt x="13245" y="23605"/>
                        <a:pt x="12345" y="23790"/>
                        <a:pt x="11453" y="23790"/>
                      </a:cubicBezTo>
                      <a:close/>
                    </a:path>
                  </a:pathLst>
                </a:custGeom>
                <a:solidFill>
                  <a:schemeClr val="accent1"/>
                </a:solidFill>
                <a:ln w="637" cap="flat">
                  <a:noFill/>
                  <a:prstDash val="solid"/>
                  <a:miter/>
                </a:ln>
              </p:spPr>
              <p:txBody>
                <a:bodyPr rtlCol="0" anchor="ctr"/>
                <a:lstStyle/>
                <a:p>
                  <a:endParaRPr lang="en-GB" dirty="0"/>
                </a:p>
              </p:txBody>
            </p:sp>
            <p:sp>
              <p:nvSpPr>
                <p:cNvPr id="1158" name="Freeform: Shape 1157">
                  <a:extLst>
                    <a:ext uri="{FF2B5EF4-FFF2-40B4-BE49-F238E27FC236}">
                      <a16:creationId xmlns:a16="http://schemas.microsoft.com/office/drawing/2014/main" id="{2A2DE9E5-C4F3-48B6-A579-25D3F4875C48}"/>
                    </a:ext>
                  </a:extLst>
                </p:cNvPr>
                <p:cNvSpPr/>
                <p:nvPr/>
              </p:nvSpPr>
              <p:spPr>
                <a:xfrm>
                  <a:off x="7735099" y="2664532"/>
                  <a:ext cx="23248" cy="17538"/>
                </a:xfrm>
                <a:custGeom>
                  <a:avLst/>
                  <a:gdLst>
                    <a:gd name="connsiteX0" fmla="*/ 16863 w 23248"/>
                    <a:gd name="connsiteY0" fmla="*/ 17538 h 17538"/>
                    <a:gd name="connsiteX1" fmla="*/ 14223 w 23248"/>
                    <a:gd name="connsiteY1" fmla="*/ 16964 h 17538"/>
                    <a:gd name="connsiteX2" fmla="*/ 3732 w 23248"/>
                    <a:gd name="connsiteY2" fmla="*/ 12181 h 17538"/>
                    <a:gd name="connsiteX3" fmla="*/ 575 w 23248"/>
                    <a:gd name="connsiteY3" fmla="*/ 3731 h 17538"/>
                    <a:gd name="connsiteX4" fmla="*/ 9025 w 23248"/>
                    <a:gd name="connsiteY4" fmla="*/ 574 h 17538"/>
                    <a:gd name="connsiteX5" fmla="*/ 19516 w 23248"/>
                    <a:gd name="connsiteY5" fmla="*/ 5357 h 17538"/>
                    <a:gd name="connsiteX6" fmla="*/ 22673 w 23248"/>
                    <a:gd name="connsiteY6" fmla="*/ 13808 h 17538"/>
                    <a:gd name="connsiteX7" fmla="*/ 16863 w 23248"/>
                    <a:gd name="connsiteY7" fmla="*/ 17538 h 17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248" h="17538">
                      <a:moveTo>
                        <a:pt x="16863" y="17538"/>
                      </a:moveTo>
                      <a:cubicBezTo>
                        <a:pt x="15977" y="17538"/>
                        <a:pt x="15084" y="17353"/>
                        <a:pt x="14223" y="16964"/>
                      </a:cubicBezTo>
                      <a:lnTo>
                        <a:pt x="3732" y="12181"/>
                      </a:lnTo>
                      <a:cubicBezTo>
                        <a:pt x="531" y="10721"/>
                        <a:pt x="-885" y="6939"/>
                        <a:pt x="575" y="3731"/>
                      </a:cubicBezTo>
                      <a:cubicBezTo>
                        <a:pt x="2036" y="536"/>
                        <a:pt x="5818" y="-886"/>
                        <a:pt x="9025" y="574"/>
                      </a:cubicBezTo>
                      <a:lnTo>
                        <a:pt x="19516" y="5357"/>
                      </a:lnTo>
                      <a:cubicBezTo>
                        <a:pt x="22718" y="6818"/>
                        <a:pt x="24133" y="10600"/>
                        <a:pt x="22673" y="13808"/>
                      </a:cubicBezTo>
                      <a:cubicBezTo>
                        <a:pt x="21602" y="16154"/>
                        <a:pt x="19287" y="17538"/>
                        <a:pt x="16863" y="17538"/>
                      </a:cubicBezTo>
                      <a:close/>
                    </a:path>
                  </a:pathLst>
                </a:custGeom>
                <a:solidFill>
                  <a:schemeClr val="accent1"/>
                </a:solidFill>
                <a:ln w="637" cap="flat">
                  <a:noFill/>
                  <a:prstDash val="solid"/>
                  <a:miter/>
                </a:ln>
              </p:spPr>
              <p:txBody>
                <a:bodyPr rtlCol="0" anchor="ctr"/>
                <a:lstStyle/>
                <a:p>
                  <a:endParaRPr lang="en-GB" dirty="0"/>
                </a:p>
              </p:txBody>
            </p:sp>
            <p:sp>
              <p:nvSpPr>
                <p:cNvPr id="1159" name="Freeform: Shape 1158">
                  <a:extLst>
                    <a:ext uri="{FF2B5EF4-FFF2-40B4-BE49-F238E27FC236}">
                      <a16:creationId xmlns:a16="http://schemas.microsoft.com/office/drawing/2014/main" id="{64932AE4-CE0F-40EB-80FC-978504FC7574}"/>
                    </a:ext>
                  </a:extLst>
                </p:cNvPr>
                <p:cNvSpPr/>
                <p:nvPr/>
              </p:nvSpPr>
              <p:spPr>
                <a:xfrm>
                  <a:off x="7609561" y="2607303"/>
                  <a:ext cx="23541" cy="17676"/>
                </a:xfrm>
                <a:custGeom>
                  <a:avLst/>
                  <a:gdLst>
                    <a:gd name="connsiteX0" fmla="*/ 17157 w 23541"/>
                    <a:gd name="connsiteY0" fmla="*/ 17677 h 17676"/>
                    <a:gd name="connsiteX1" fmla="*/ 14517 w 23541"/>
                    <a:gd name="connsiteY1" fmla="*/ 17103 h 17676"/>
                    <a:gd name="connsiteX2" fmla="*/ 3732 w 23541"/>
                    <a:gd name="connsiteY2" fmla="*/ 12186 h 17676"/>
                    <a:gd name="connsiteX3" fmla="*/ 575 w 23541"/>
                    <a:gd name="connsiteY3" fmla="*/ 3736 h 17676"/>
                    <a:gd name="connsiteX4" fmla="*/ 9025 w 23541"/>
                    <a:gd name="connsiteY4" fmla="*/ 573 h 17676"/>
                    <a:gd name="connsiteX5" fmla="*/ 19810 w 23541"/>
                    <a:gd name="connsiteY5" fmla="*/ 5490 h 17676"/>
                    <a:gd name="connsiteX6" fmla="*/ 22967 w 23541"/>
                    <a:gd name="connsiteY6" fmla="*/ 13940 h 17676"/>
                    <a:gd name="connsiteX7" fmla="*/ 17157 w 23541"/>
                    <a:gd name="connsiteY7" fmla="*/ 17677 h 17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541" h="17676">
                      <a:moveTo>
                        <a:pt x="17157" y="17677"/>
                      </a:moveTo>
                      <a:cubicBezTo>
                        <a:pt x="16270" y="17677"/>
                        <a:pt x="15377" y="17492"/>
                        <a:pt x="14517" y="17103"/>
                      </a:cubicBezTo>
                      <a:lnTo>
                        <a:pt x="3732" y="12186"/>
                      </a:lnTo>
                      <a:cubicBezTo>
                        <a:pt x="531" y="10725"/>
                        <a:pt x="-885" y="6944"/>
                        <a:pt x="575" y="3736"/>
                      </a:cubicBezTo>
                      <a:cubicBezTo>
                        <a:pt x="2036" y="528"/>
                        <a:pt x="5805" y="-881"/>
                        <a:pt x="9025" y="573"/>
                      </a:cubicBezTo>
                      <a:lnTo>
                        <a:pt x="19810" y="5490"/>
                      </a:lnTo>
                      <a:cubicBezTo>
                        <a:pt x="23011" y="6950"/>
                        <a:pt x="24427" y="10732"/>
                        <a:pt x="22967" y="13940"/>
                      </a:cubicBezTo>
                      <a:cubicBezTo>
                        <a:pt x="21895" y="16293"/>
                        <a:pt x="19580" y="17677"/>
                        <a:pt x="17157" y="17677"/>
                      </a:cubicBezTo>
                      <a:close/>
                    </a:path>
                  </a:pathLst>
                </a:custGeom>
                <a:solidFill>
                  <a:schemeClr val="accent1"/>
                </a:solidFill>
                <a:ln w="637" cap="flat">
                  <a:noFill/>
                  <a:prstDash val="solid"/>
                  <a:miter/>
                </a:ln>
              </p:spPr>
              <p:txBody>
                <a:bodyPr rtlCol="0" anchor="ctr"/>
                <a:lstStyle/>
                <a:p>
                  <a:endParaRPr lang="en-GB" dirty="0"/>
                </a:p>
              </p:txBody>
            </p:sp>
            <p:sp>
              <p:nvSpPr>
                <p:cNvPr id="1160" name="Freeform: Shape 1159">
                  <a:extLst>
                    <a:ext uri="{FF2B5EF4-FFF2-40B4-BE49-F238E27FC236}">
                      <a16:creationId xmlns:a16="http://schemas.microsoft.com/office/drawing/2014/main" id="{1B988F6E-64A7-47E0-A349-331D52A26362}"/>
                    </a:ext>
                  </a:extLst>
                </p:cNvPr>
                <p:cNvSpPr/>
                <p:nvPr/>
              </p:nvSpPr>
              <p:spPr>
                <a:xfrm>
                  <a:off x="7734494" y="2607975"/>
                  <a:ext cx="23949" cy="17738"/>
                </a:xfrm>
                <a:custGeom>
                  <a:avLst/>
                  <a:gdLst>
                    <a:gd name="connsiteX0" fmla="*/ 6385 w 23949"/>
                    <a:gd name="connsiteY0" fmla="*/ 17738 h 17738"/>
                    <a:gd name="connsiteX1" fmla="*/ 549 w 23949"/>
                    <a:gd name="connsiteY1" fmla="*/ 13944 h 17738"/>
                    <a:gd name="connsiteX2" fmla="*/ 3789 w 23949"/>
                    <a:gd name="connsiteY2" fmla="*/ 5526 h 17738"/>
                    <a:gd name="connsiteX3" fmla="*/ 14981 w 23949"/>
                    <a:gd name="connsiteY3" fmla="*/ 558 h 17738"/>
                    <a:gd name="connsiteX4" fmla="*/ 23400 w 23949"/>
                    <a:gd name="connsiteY4" fmla="*/ 3797 h 17738"/>
                    <a:gd name="connsiteX5" fmla="*/ 20160 w 23949"/>
                    <a:gd name="connsiteY5" fmla="*/ 12215 h 17738"/>
                    <a:gd name="connsiteX6" fmla="*/ 8967 w 23949"/>
                    <a:gd name="connsiteY6" fmla="*/ 17183 h 17738"/>
                    <a:gd name="connsiteX7" fmla="*/ 6385 w 23949"/>
                    <a:gd name="connsiteY7" fmla="*/ 17738 h 1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49" h="17738">
                      <a:moveTo>
                        <a:pt x="6385" y="17738"/>
                      </a:moveTo>
                      <a:cubicBezTo>
                        <a:pt x="3936" y="17738"/>
                        <a:pt x="1608" y="16323"/>
                        <a:pt x="549" y="13944"/>
                      </a:cubicBezTo>
                      <a:cubicBezTo>
                        <a:pt x="-879" y="10723"/>
                        <a:pt x="575" y="6954"/>
                        <a:pt x="3789" y="5526"/>
                      </a:cubicBezTo>
                      <a:lnTo>
                        <a:pt x="14981" y="558"/>
                      </a:lnTo>
                      <a:cubicBezTo>
                        <a:pt x="18215" y="-890"/>
                        <a:pt x="21971" y="583"/>
                        <a:pt x="23400" y="3797"/>
                      </a:cubicBezTo>
                      <a:cubicBezTo>
                        <a:pt x="24828" y="7018"/>
                        <a:pt x="23374" y="10787"/>
                        <a:pt x="20160" y="12215"/>
                      </a:cubicBezTo>
                      <a:lnTo>
                        <a:pt x="8967" y="17183"/>
                      </a:lnTo>
                      <a:cubicBezTo>
                        <a:pt x="8132" y="17560"/>
                        <a:pt x="7246" y="17738"/>
                        <a:pt x="6385" y="17738"/>
                      </a:cubicBezTo>
                      <a:close/>
                    </a:path>
                  </a:pathLst>
                </a:custGeom>
                <a:solidFill>
                  <a:schemeClr val="accent1"/>
                </a:solidFill>
                <a:ln w="637" cap="flat">
                  <a:noFill/>
                  <a:prstDash val="solid"/>
                  <a:miter/>
                </a:ln>
              </p:spPr>
              <p:txBody>
                <a:bodyPr rtlCol="0" anchor="ctr"/>
                <a:lstStyle/>
                <a:p>
                  <a:endParaRPr lang="en-GB" dirty="0"/>
                </a:p>
              </p:txBody>
            </p:sp>
            <p:sp>
              <p:nvSpPr>
                <p:cNvPr id="1161" name="Freeform: Shape 1160">
                  <a:extLst>
                    <a:ext uri="{FF2B5EF4-FFF2-40B4-BE49-F238E27FC236}">
                      <a16:creationId xmlns:a16="http://schemas.microsoft.com/office/drawing/2014/main" id="{0933417F-5CA3-42F2-9B48-C9C2EDBD740D}"/>
                    </a:ext>
                  </a:extLst>
                </p:cNvPr>
                <p:cNvSpPr/>
                <p:nvPr/>
              </p:nvSpPr>
              <p:spPr>
                <a:xfrm>
                  <a:off x="7609057" y="2663942"/>
                  <a:ext cx="23324" cy="17465"/>
                </a:xfrm>
                <a:custGeom>
                  <a:avLst/>
                  <a:gdLst>
                    <a:gd name="connsiteX0" fmla="*/ 6385 w 23324"/>
                    <a:gd name="connsiteY0" fmla="*/ 17465 h 17465"/>
                    <a:gd name="connsiteX1" fmla="*/ 549 w 23324"/>
                    <a:gd name="connsiteY1" fmla="*/ 13670 h 17465"/>
                    <a:gd name="connsiteX2" fmla="*/ 3789 w 23324"/>
                    <a:gd name="connsiteY2" fmla="*/ 5252 h 17465"/>
                    <a:gd name="connsiteX3" fmla="*/ 14357 w 23324"/>
                    <a:gd name="connsiteY3" fmla="*/ 559 h 17465"/>
                    <a:gd name="connsiteX4" fmla="*/ 22775 w 23324"/>
                    <a:gd name="connsiteY4" fmla="*/ 3798 h 17465"/>
                    <a:gd name="connsiteX5" fmla="*/ 19535 w 23324"/>
                    <a:gd name="connsiteY5" fmla="*/ 12216 h 17465"/>
                    <a:gd name="connsiteX6" fmla="*/ 8968 w 23324"/>
                    <a:gd name="connsiteY6" fmla="*/ 16910 h 17465"/>
                    <a:gd name="connsiteX7" fmla="*/ 6385 w 23324"/>
                    <a:gd name="connsiteY7" fmla="*/ 17465 h 17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24" h="17465">
                      <a:moveTo>
                        <a:pt x="6385" y="17465"/>
                      </a:moveTo>
                      <a:cubicBezTo>
                        <a:pt x="3936" y="17465"/>
                        <a:pt x="1608" y="16049"/>
                        <a:pt x="549" y="13670"/>
                      </a:cubicBezTo>
                      <a:cubicBezTo>
                        <a:pt x="-879" y="10450"/>
                        <a:pt x="575" y="6681"/>
                        <a:pt x="3789" y="5252"/>
                      </a:cubicBezTo>
                      <a:lnTo>
                        <a:pt x="14357" y="559"/>
                      </a:lnTo>
                      <a:cubicBezTo>
                        <a:pt x="17615" y="-889"/>
                        <a:pt x="21346" y="578"/>
                        <a:pt x="22775" y="3798"/>
                      </a:cubicBezTo>
                      <a:cubicBezTo>
                        <a:pt x="24203" y="7019"/>
                        <a:pt x="22749" y="10788"/>
                        <a:pt x="19535" y="12216"/>
                      </a:cubicBezTo>
                      <a:lnTo>
                        <a:pt x="8968" y="16910"/>
                      </a:lnTo>
                      <a:cubicBezTo>
                        <a:pt x="8119" y="17286"/>
                        <a:pt x="7239" y="17465"/>
                        <a:pt x="6385" y="17465"/>
                      </a:cubicBezTo>
                      <a:close/>
                    </a:path>
                  </a:pathLst>
                </a:custGeom>
                <a:solidFill>
                  <a:schemeClr val="accent1"/>
                </a:solidFill>
                <a:ln w="637" cap="flat">
                  <a:noFill/>
                  <a:prstDash val="solid"/>
                  <a:miter/>
                </a:ln>
              </p:spPr>
              <p:txBody>
                <a:bodyPr rtlCol="0" anchor="ctr"/>
                <a:lstStyle/>
                <a:p>
                  <a:endParaRPr lang="en-GB" dirty="0"/>
                </a:p>
              </p:txBody>
            </p:sp>
            <p:sp>
              <p:nvSpPr>
                <p:cNvPr id="1162" name="Freeform: Shape 1161">
                  <a:extLst>
                    <a:ext uri="{FF2B5EF4-FFF2-40B4-BE49-F238E27FC236}">
                      <a16:creationId xmlns:a16="http://schemas.microsoft.com/office/drawing/2014/main" id="{B833A284-88C4-4152-854A-14099B8E9F6D}"/>
                    </a:ext>
                  </a:extLst>
                </p:cNvPr>
                <p:cNvSpPr/>
                <p:nvPr/>
              </p:nvSpPr>
              <p:spPr>
                <a:xfrm>
                  <a:off x="7646209" y="2695863"/>
                  <a:ext cx="17526" cy="23158"/>
                </a:xfrm>
                <a:custGeom>
                  <a:avLst/>
                  <a:gdLst>
                    <a:gd name="connsiteX0" fmla="*/ 6375 w 17526"/>
                    <a:gd name="connsiteY0" fmla="*/ 23158 h 23158"/>
                    <a:gd name="connsiteX1" fmla="*/ 3722 w 17526"/>
                    <a:gd name="connsiteY1" fmla="*/ 22578 h 23158"/>
                    <a:gd name="connsiteX2" fmla="*/ 584 w 17526"/>
                    <a:gd name="connsiteY2" fmla="*/ 14121 h 23158"/>
                    <a:gd name="connsiteX3" fmla="*/ 5348 w 17526"/>
                    <a:gd name="connsiteY3" fmla="*/ 3726 h 23158"/>
                    <a:gd name="connsiteX4" fmla="*/ 13805 w 17526"/>
                    <a:gd name="connsiteY4" fmla="*/ 582 h 23158"/>
                    <a:gd name="connsiteX5" fmla="*/ 16942 w 17526"/>
                    <a:gd name="connsiteY5" fmla="*/ 9039 h 23158"/>
                    <a:gd name="connsiteX6" fmla="*/ 12178 w 17526"/>
                    <a:gd name="connsiteY6" fmla="*/ 19434 h 23158"/>
                    <a:gd name="connsiteX7" fmla="*/ 6375 w 17526"/>
                    <a:gd name="connsiteY7" fmla="*/ 23158 h 23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26" h="23158">
                      <a:moveTo>
                        <a:pt x="6375" y="23158"/>
                      </a:moveTo>
                      <a:cubicBezTo>
                        <a:pt x="5489" y="23158"/>
                        <a:pt x="4589" y="22973"/>
                        <a:pt x="3722" y="22578"/>
                      </a:cubicBezTo>
                      <a:cubicBezTo>
                        <a:pt x="521" y="21111"/>
                        <a:pt x="-889" y="17323"/>
                        <a:pt x="584" y="14121"/>
                      </a:cubicBezTo>
                      <a:lnTo>
                        <a:pt x="5348" y="3726"/>
                      </a:lnTo>
                      <a:cubicBezTo>
                        <a:pt x="6815" y="531"/>
                        <a:pt x="10584" y="-891"/>
                        <a:pt x="13805" y="582"/>
                      </a:cubicBezTo>
                      <a:cubicBezTo>
                        <a:pt x="17006" y="2049"/>
                        <a:pt x="18416" y="5837"/>
                        <a:pt x="16942" y="9039"/>
                      </a:cubicBezTo>
                      <a:lnTo>
                        <a:pt x="12178" y="19434"/>
                      </a:lnTo>
                      <a:cubicBezTo>
                        <a:pt x="11107" y="21781"/>
                        <a:pt x="8792" y="23158"/>
                        <a:pt x="6375" y="23158"/>
                      </a:cubicBezTo>
                      <a:close/>
                    </a:path>
                  </a:pathLst>
                </a:custGeom>
                <a:solidFill>
                  <a:schemeClr val="accent1"/>
                </a:solidFill>
                <a:ln w="637" cap="flat">
                  <a:noFill/>
                  <a:prstDash val="solid"/>
                  <a:miter/>
                </a:ln>
              </p:spPr>
              <p:txBody>
                <a:bodyPr rtlCol="0" anchor="ctr"/>
                <a:lstStyle/>
                <a:p>
                  <a:endParaRPr lang="en-GB" dirty="0"/>
                </a:p>
              </p:txBody>
            </p:sp>
            <p:sp>
              <p:nvSpPr>
                <p:cNvPr id="1163" name="Freeform: Shape 1162">
                  <a:extLst>
                    <a:ext uri="{FF2B5EF4-FFF2-40B4-BE49-F238E27FC236}">
                      <a16:creationId xmlns:a16="http://schemas.microsoft.com/office/drawing/2014/main" id="{7CEC57FF-1B93-4EA7-898F-C3D3028F4EE1}"/>
                    </a:ext>
                  </a:extLst>
                </p:cNvPr>
                <p:cNvSpPr/>
                <p:nvPr/>
              </p:nvSpPr>
              <p:spPr>
                <a:xfrm>
                  <a:off x="7703561" y="2570356"/>
                  <a:ext cx="17692" cy="23527"/>
                </a:xfrm>
                <a:custGeom>
                  <a:avLst/>
                  <a:gdLst>
                    <a:gd name="connsiteX0" fmla="*/ 6375 w 17692"/>
                    <a:gd name="connsiteY0" fmla="*/ 23528 h 23527"/>
                    <a:gd name="connsiteX1" fmla="*/ 3722 w 17692"/>
                    <a:gd name="connsiteY1" fmla="*/ 22948 h 23527"/>
                    <a:gd name="connsiteX2" fmla="*/ 584 w 17692"/>
                    <a:gd name="connsiteY2" fmla="*/ 14491 h 23527"/>
                    <a:gd name="connsiteX3" fmla="*/ 5514 w 17692"/>
                    <a:gd name="connsiteY3" fmla="*/ 3726 h 23527"/>
                    <a:gd name="connsiteX4" fmla="*/ 13971 w 17692"/>
                    <a:gd name="connsiteY4" fmla="*/ 582 h 23527"/>
                    <a:gd name="connsiteX5" fmla="*/ 17108 w 17692"/>
                    <a:gd name="connsiteY5" fmla="*/ 9039 h 23527"/>
                    <a:gd name="connsiteX6" fmla="*/ 12179 w 17692"/>
                    <a:gd name="connsiteY6" fmla="*/ 19804 h 23527"/>
                    <a:gd name="connsiteX7" fmla="*/ 6375 w 17692"/>
                    <a:gd name="connsiteY7" fmla="*/ 23528 h 23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92" h="23527">
                      <a:moveTo>
                        <a:pt x="6375" y="23528"/>
                      </a:moveTo>
                      <a:cubicBezTo>
                        <a:pt x="5489" y="23528"/>
                        <a:pt x="4590" y="23343"/>
                        <a:pt x="3722" y="22948"/>
                      </a:cubicBezTo>
                      <a:cubicBezTo>
                        <a:pt x="521" y="21481"/>
                        <a:pt x="-889" y="17693"/>
                        <a:pt x="584" y="14491"/>
                      </a:cubicBezTo>
                      <a:lnTo>
                        <a:pt x="5514" y="3726"/>
                      </a:lnTo>
                      <a:cubicBezTo>
                        <a:pt x="6975" y="531"/>
                        <a:pt x="10750" y="-891"/>
                        <a:pt x="13971" y="582"/>
                      </a:cubicBezTo>
                      <a:cubicBezTo>
                        <a:pt x="17172" y="2049"/>
                        <a:pt x="18581" y="5837"/>
                        <a:pt x="17108" y="9039"/>
                      </a:cubicBezTo>
                      <a:lnTo>
                        <a:pt x="12179" y="19804"/>
                      </a:lnTo>
                      <a:cubicBezTo>
                        <a:pt x="11107" y="22144"/>
                        <a:pt x="8792" y="23528"/>
                        <a:pt x="6375" y="23528"/>
                      </a:cubicBezTo>
                      <a:close/>
                    </a:path>
                  </a:pathLst>
                </a:custGeom>
                <a:solidFill>
                  <a:schemeClr val="accent1"/>
                </a:solidFill>
                <a:ln w="637" cap="flat">
                  <a:noFill/>
                  <a:prstDash val="solid"/>
                  <a:miter/>
                </a:ln>
              </p:spPr>
              <p:txBody>
                <a:bodyPr rtlCol="0" anchor="ctr"/>
                <a:lstStyle/>
                <a:p>
                  <a:endParaRPr lang="en-GB" dirty="0"/>
                </a:p>
              </p:txBody>
            </p:sp>
          </p:grpSp>
          <p:sp>
            <p:nvSpPr>
              <p:cNvPr id="1148" name="Freeform: Shape 1147">
                <a:extLst>
                  <a:ext uri="{FF2B5EF4-FFF2-40B4-BE49-F238E27FC236}">
                    <a16:creationId xmlns:a16="http://schemas.microsoft.com/office/drawing/2014/main" id="{6CFFAFB2-75F6-442C-90F5-AA25DAD65AF2}"/>
                  </a:ext>
                </a:extLst>
              </p:cNvPr>
              <p:cNvSpPr/>
              <p:nvPr/>
            </p:nvSpPr>
            <p:spPr>
              <a:xfrm>
                <a:off x="7648793" y="2617873"/>
                <a:ext cx="18212" cy="14587"/>
              </a:xfrm>
              <a:custGeom>
                <a:avLst/>
                <a:gdLst>
                  <a:gd name="connsiteX0" fmla="*/ 6380 w 18212"/>
                  <a:gd name="connsiteY0" fmla="*/ 14588 h 14587"/>
                  <a:gd name="connsiteX1" fmla="*/ 334 w 18212"/>
                  <a:gd name="connsiteY1" fmla="*/ 10238 h 14587"/>
                  <a:gd name="connsiteX2" fmla="*/ 4352 w 18212"/>
                  <a:gd name="connsiteY2" fmla="*/ 2164 h 14587"/>
                  <a:gd name="connsiteX3" fmla="*/ 9798 w 18212"/>
                  <a:gd name="connsiteY3" fmla="*/ 334 h 14587"/>
                  <a:gd name="connsiteX4" fmla="*/ 17878 w 18212"/>
                  <a:gd name="connsiteY4" fmla="*/ 4345 h 14587"/>
                  <a:gd name="connsiteX5" fmla="*/ 13860 w 18212"/>
                  <a:gd name="connsiteY5" fmla="*/ 12419 h 14587"/>
                  <a:gd name="connsiteX6" fmla="*/ 8414 w 18212"/>
                  <a:gd name="connsiteY6" fmla="*/ 14250 h 14587"/>
                  <a:gd name="connsiteX7" fmla="*/ 6380 w 18212"/>
                  <a:gd name="connsiteY7" fmla="*/ 14588 h 14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12" h="14587">
                    <a:moveTo>
                      <a:pt x="6380" y="14588"/>
                    </a:moveTo>
                    <a:cubicBezTo>
                      <a:pt x="3714" y="14588"/>
                      <a:pt x="1227" y="12904"/>
                      <a:pt x="334" y="10238"/>
                    </a:cubicBezTo>
                    <a:cubicBezTo>
                      <a:pt x="-788" y="6903"/>
                      <a:pt x="1010" y="3287"/>
                      <a:pt x="4352" y="2164"/>
                    </a:cubicBezTo>
                    <a:lnTo>
                      <a:pt x="9798" y="334"/>
                    </a:lnTo>
                    <a:cubicBezTo>
                      <a:pt x="13134" y="-788"/>
                      <a:pt x="16756" y="1010"/>
                      <a:pt x="17878" y="4345"/>
                    </a:cubicBezTo>
                    <a:cubicBezTo>
                      <a:pt x="19001" y="7681"/>
                      <a:pt x="17202" y="11297"/>
                      <a:pt x="13860" y="12419"/>
                    </a:cubicBezTo>
                    <a:lnTo>
                      <a:pt x="8414" y="14250"/>
                    </a:lnTo>
                    <a:cubicBezTo>
                      <a:pt x="7738" y="14479"/>
                      <a:pt x="7050" y="14588"/>
                      <a:pt x="6380" y="14588"/>
                    </a:cubicBezTo>
                    <a:close/>
                  </a:path>
                </a:pathLst>
              </a:custGeom>
              <a:solidFill>
                <a:schemeClr val="accent1"/>
              </a:solidFill>
              <a:ln w="637" cap="flat">
                <a:noFill/>
                <a:prstDash val="solid"/>
                <a:miter/>
              </a:ln>
            </p:spPr>
            <p:txBody>
              <a:bodyPr rtlCol="0" anchor="ctr"/>
              <a:lstStyle/>
              <a:p>
                <a:endParaRPr lang="en-GB" dirty="0"/>
              </a:p>
            </p:txBody>
          </p:sp>
          <p:sp>
            <p:nvSpPr>
              <p:cNvPr id="1149" name="Freeform: Shape 1148">
                <a:extLst>
                  <a:ext uri="{FF2B5EF4-FFF2-40B4-BE49-F238E27FC236}">
                    <a16:creationId xmlns:a16="http://schemas.microsoft.com/office/drawing/2014/main" id="{55EAC618-6653-4354-8CD0-4C28557331C5}"/>
                  </a:ext>
                </a:extLst>
              </p:cNvPr>
              <p:cNvSpPr/>
              <p:nvPr/>
            </p:nvSpPr>
            <p:spPr>
              <a:xfrm>
                <a:off x="7663452" y="2664974"/>
                <a:ext cx="20972" cy="14168"/>
              </a:xfrm>
              <a:custGeom>
                <a:avLst/>
                <a:gdLst>
                  <a:gd name="connsiteX0" fmla="*/ 6370 w 20972"/>
                  <a:gd name="connsiteY0" fmla="*/ 14169 h 14168"/>
                  <a:gd name="connsiteX1" fmla="*/ 94 w 20972"/>
                  <a:gd name="connsiteY1" fmla="*/ 8869 h 14168"/>
                  <a:gd name="connsiteX2" fmla="*/ 5298 w 20972"/>
                  <a:gd name="connsiteY2" fmla="*/ 1510 h 14168"/>
                  <a:gd name="connsiteX3" fmla="*/ 13519 w 20972"/>
                  <a:gd name="connsiteY3" fmla="*/ 94 h 14168"/>
                  <a:gd name="connsiteX4" fmla="*/ 20878 w 20972"/>
                  <a:gd name="connsiteY4" fmla="*/ 5304 h 14168"/>
                  <a:gd name="connsiteX5" fmla="*/ 15674 w 20972"/>
                  <a:gd name="connsiteY5" fmla="*/ 12670 h 14168"/>
                  <a:gd name="connsiteX6" fmla="*/ 7454 w 20972"/>
                  <a:gd name="connsiteY6" fmla="*/ 14079 h 14168"/>
                  <a:gd name="connsiteX7" fmla="*/ 6370 w 20972"/>
                  <a:gd name="connsiteY7" fmla="*/ 14169 h 14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972" h="14168">
                    <a:moveTo>
                      <a:pt x="6370" y="14169"/>
                    </a:moveTo>
                    <a:cubicBezTo>
                      <a:pt x="3315" y="14169"/>
                      <a:pt x="623" y="11975"/>
                      <a:pt x="94" y="8869"/>
                    </a:cubicBezTo>
                    <a:cubicBezTo>
                      <a:pt x="-505" y="5400"/>
                      <a:pt x="1823" y="2103"/>
                      <a:pt x="5298" y="1510"/>
                    </a:cubicBezTo>
                    <a:lnTo>
                      <a:pt x="13519" y="94"/>
                    </a:lnTo>
                    <a:cubicBezTo>
                      <a:pt x="16994" y="-506"/>
                      <a:pt x="20292" y="1835"/>
                      <a:pt x="20878" y="5304"/>
                    </a:cubicBezTo>
                    <a:cubicBezTo>
                      <a:pt x="21478" y="8773"/>
                      <a:pt x="19150" y="12070"/>
                      <a:pt x="15674" y="12670"/>
                    </a:cubicBezTo>
                    <a:lnTo>
                      <a:pt x="7454" y="14079"/>
                    </a:lnTo>
                    <a:cubicBezTo>
                      <a:pt x="7090" y="14137"/>
                      <a:pt x="6727" y="14169"/>
                      <a:pt x="6370" y="14169"/>
                    </a:cubicBezTo>
                    <a:close/>
                  </a:path>
                </a:pathLst>
              </a:custGeom>
              <a:solidFill>
                <a:schemeClr val="accent1"/>
              </a:solidFill>
              <a:ln w="637" cap="flat">
                <a:noFill/>
                <a:prstDash val="solid"/>
                <a:miter/>
              </a:ln>
            </p:spPr>
            <p:txBody>
              <a:bodyPr rtlCol="0" anchor="ctr"/>
              <a:lstStyle/>
              <a:p>
                <a:endParaRPr lang="en-GB" dirty="0"/>
              </a:p>
            </p:txBody>
          </p:sp>
          <p:sp>
            <p:nvSpPr>
              <p:cNvPr id="1150" name="Freeform: Shape 1149">
                <a:extLst>
                  <a:ext uri="{FF2B5EF4-FFF2-40B4-BE49-F238E27FC236}">
                    <a16:creationId xmlns:a16="http://schemas.microsoft.com/office/drawing/2014/main" id="{C63595DE-5A9D-429C-805D-585AB96B6E72}"/>
                  </a:ext>
                </a:extLst>
              </p:cNvPr>
              <p:cNvSpPr/>
              <p:nvPr/>
            </p:nvSpPr>
            <p:spPr>
              <a:xfrm>
                <a:off x="7710983" y="2633825"/>
                <a:ext cx="13811" cy="20720"/>
              </a:xfrm>
              <a:custGeom>
                <a:avLst/>
                <a:gdLst>
                  <a:gd name="connsiteX0" fmla="*/ 7429 w 13811"/>
                  <a:gd name="connsiteY0" fmla="*/ 20720 h 20720"/>
                  <a:gd name="connsiteX1" fmla="*/ 1115 w 13811"/>
                  <a:gd name="connsiteY1" fmla="*/ 15185 h 20720"/>
                  <a:gd name="connsiteX2" fmla="*/ 57 w 13811"/>
                  <a:gd name="connsiteY2" fmla="*/ 7213 h 20720"/>
                  <a:gd name="connsiteX3" fmla="*/ 5535 w 13811"/>
                  <a:gd name="connsiteY3" fmla="*/ 51 h 20720"/>
                  <a:gd name="connsiteX4" fmla="*/ 12696 w 13811"/>
                  <a:gd name="connsiteY4" fmla="*/ 5530 h 20720"/>
                  <a:gd name="connsiteX5" fmla="*/ 13755 w 13811"/>
                  <a:gd name="connsiteY5" fmla="*/ 13501 h 20720"/>
                  <a:gd name="connsiteX6" fmla="*/ 8277 w 13811"/>
                  <a:gd name="connsiteY6" fmla="*/ 20663 h 20720"/>
                  <a:gd name="connsiteX7" fmla="*/ 7429 w 13811"/>
                  <a:gd name="connsiteY7" fmla="*/ 20720 h 20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11" h="20720">
                    <a:moveTo>
                      <a:pt x="7429" y="20720"/>
                    </a:moveTo>
                    <a:cubicBezTo>
                      <a:pt x="4278" y="20720"/>
                      <a:pt x="1536" y="18386"/>
                      <a:pt x="1115" y="15185"/>
                    </a:cubicBezTo>
                    <a:lnTo>
                      <a:pt x="57" y="7213"/>
                    </a:lnTo>
                    <a:cubicBezTo>
                      <a:pt x="-409" y="3718"/>
                      <a:pt x="2053" y="517"/>
                      <a:pt x="5535" y="51"/>
                    </a:cubicBezTo>
                    <a:cubicBezTo>
                      <a:pt x="9055" y="-389"/>
                      <a:pt x="12237" y="2047"/>
                      <a:pt x="12696" y="5530"/>
                    </a:cubicBezTo>
                    <a:lnTo>
                      <a:pt x="13755" y="13501"/>
                    </a:lnTo>
                    <a:cubicBezTo>
                      <a:pt x="14221" y="16996"/>
                      <a:pt x="11759" y="20198"/>
                      <a:pt x="8277" y="20663"/>
                    </a:cubicBezTo>
                    <a:cubicBezTo>
                      <a:pt x="7990" y="20701"/>
                      <a:pt x="7709" y="20720"/>
                      <a:pt x="7429" y="20720"/>
                    </a:cubicBezTo>
                    <a:close/>
                  </a:path>
                </a:pathLst>
              </a:custGeom>
              <a:solidFill>
                <a:schemeClr val="accent1"/>
              </a:solidFill>
              <a:ln w="637" cap="flat">
                <a:noFill/>
                <a:prstDash val="solid"/>
                <a:miter/>
              </a:ln>
            </p:spPr>
            <p:txBody>
              <a:bodyPr rtlCol="0" anchor="ctr"/>
              <a:lstStyle/>
              <a:p>
                <a:endParaRPr lang="en-GB" dirty="0"/>
              </a:p>
            </p:txBody>
          </p:sp>
        </p:grpSp>
      </p:grpSp>
      <p:sp>
        <p:nvSpPr>
          <p:cNvPr id="1227" name="TextBox 20">
            <a:extLst>
              <a:ext uri="{FF2B5EF4-FFF2-40B4-BE49-F238E27FC236}">
                <a16:creationId xmlns:a16="http://schemas.microsoft.com/office/drawing/2014/main" id="{4C0832B1-0869-4ED8-B3A8-A9C0CF2440C8}"/>
              </a:ext>
            </a:extLst>
          </p:cNvPr>
          <p:cNvSpPr txBox="1"/>
          <p:nvPr/>
        </p:nvSpPr>
        <p:spPr>
          <a:xfrm>
            <a:off x="487133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anitization</a:t>
            </a:r>
          </a:p>
        </p:txBody>
      </p:sp>
      <p:sp>
        <p:nvSpPr>
          <p:cNvPr id="1228" name="TextBox 21">
            <a:extLst>
              <a:ext uri="{FF2B5EF4-FFF2-40B4-BE49-F238E27FC236}">
                <a16:creationId xmlns:a16="http://schemas.microsoft.com/office/drawing/2014/main" id="{B3C17EA9-F5B7-4773-B1CB-D9F0699CDE85}"/>
              </a:ext>
            </a:extLst>
          </p:cNvPr>
          <p:cNvSpPr txBox="1"/>
          <p:nvPr/>
        </p:nvSpPr>
        <p:spPr>
          <a:xfrm>
            <a:off x="8007638"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Viral testing</a:t>
            </a:r>
          </a:p>
        </p:txBody>
      </p:sp>
      <p:sp>
        <p:nvSpPr>
          <p:cNvPr id="1229" name="TextBox 22">
            <a:extLst>
              <a:ext uri="{FF2B5EF4-FFF2-40B4-BE49-F238E27FC236}">
                <a16:creationId xmlns:a16="http://schemas.microsoft.com/office/drawing/2014/main" id="{E0BE39A9-DEB5-4FE1-9D04-EAFF1BC474E5}"/>
              </a:ext>
            </a:extLst>
          </p:cNvPr>
          <p:cNvSpPr txBox="1"/>
          <p:nvPr/>
        </p:nvSpPr>
        <p:spPr>
          <a:xfrm>
            <a:off x="6962205"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mmune </a:t>
            </a:r>
          </a:p>
        </p:txBody>
      </p:sp>
      <p:sp>
        <p:nvSpPr>
          <p:cNvPr id="1230" name="TextBox 23">
            <a:extLst>
              <a:ext uri="{FF2B5EF4-FFF2-40B4-BE49-F238E27FC236}">
                <a16:creationId xmlns:a16="http://schemas.microsoft.com/office/drawing/2014/main" id="{272947DE-B7AF-4208-9918-67B9B8586004}"/>
              </a:ext>
            </a:extLst>
          </p:cNvPr>
          <p:cNvSpPr txBox="1"/>
          <p:nvPr/>
        </p:nvSpPr>
        <p:spPr>
          <a:xfrm>
            <a:off x="5916771"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tection/</a:t>
            </a:r>
            <a:br>
              <a:rPr lang="en-GB" sz="700" dirty="0">
                <a:solidFill>
                  <a:schemeClr val="tx2"/>
                </a:solidFill>
              </a:rPr>
            </a:br>
            <a:r>
              <a:rPr lang="en-GB" sz="700" dirty="0">
                <a:solidFill>
                  <a:schemeClr val="tx2"/>
                </a:solidFill>
              </a:rPr>
              <a:t>stop the spread</a:t>
            </a:r>
          </a:p>
        </p:txBody>
      </p:sp>
      <p:sp>
        <p:nvSpPr>
          <p:cNvPr id="1231" name="TextBox 24">
            <a:extLst>
              <a:ext uri="{FF2B5EF4-FFF2-40B4-BE49-F238E27FC236}">
                <a16:creationId xmlns:a16="http://schemas.microsoft.com/office/drawing/2014/main" id="{D6F959AB-0BDA-4DC6-9871-393064019E3C}"/>
              </a:ext>
            </a:extLst>
          </p:cNvPr>
          <p:cNvSpPr txBox="1"/>
          <p:nvPr/>
        </p:nvSpPr>
        <p:spPr>
          <a:xfrm>
            <a:off x="487133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mmunity</a:t>
            </a:r>
          </a:p>
        </p:txBody>
      </p:sp>
      <p:sp>
        <p:nvSpPr>
          <p:cNvPr id="1232" name="TextBox 25">
            <a:extLst>
              <a:ext uri="{FF2B5EF4-FFF2-40B4-BE49-F238E27FC236}">
                <a16:creationId xmlns:a16="http://schemas.microsoft.com/office/drawing/2014/main" id="{7B59672A-E4FC-42B5-A785-70EFEB636FA8}"/>
              </a:ext>
            </a:extLst>
          </p:cNvPr>
          <p:cNvSpPr txBox="1"/>
          <p:nvPr/>
        </p:nvSpPr>
        <p:spPr>
          <a:xfrm>
            <a:off x="8007638"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Face mask</a:t>
            </a:r>
          </a:p>
        </p:txBody>
      </p:sp>
      <p:sp>
        <p:nvSpPr>
          <p:cNvPr id="1233" name="TextBox 26">
            <a:extLst>
              <a:ext uri="{FF2B5EF4-FFF2-40B4-BE49-F238E27FC236}">
                <a16:creationId xmlns:a16="http://schemas.microsoft.com/office/drawing/2014/main" id="{EBF3563D-42FD-4B07-AACF-BE0A2EB14FBD}"/>
              </a:ext>
            </a:extLst>
          </p:cNvPr>
          <p:cNvSpPr txBox="1"/>
          <p:nvPr/>
        </p:nvSpPr>
        <p:spPr>
          <a:xfrm>
            <a:off x="6962205"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tection</a:t>
            </a:r>
          </a:p>
        </p:txBody>
      </p:sp>
      <p:sp>
        <p:nvSpPr>
          <p:cNvPr id="1234" name="TextBox 27">
            <a:extLst>
              <a:ext uri="{FF2B5EF4-FFF2-40B4-BE49-F238E27FC236}">
                <a16:creationId xmlns:a16="http://schemas.microsoft.com/office/drawing/2014/main" id="{C3968CF3-1BC9-4A90-8541-72F65E46EBA4}"/>
              </a:ext>
            </a:extLst>
          </p:cNvPr>
          <p:cNvSpPr txBox="1"/>
          <p:nvPr/>
        </p:nvSpPr>
        <p:spPr>
          <a:xfrm>
            <a:off x="5916771"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ocial distancing</a:t>
            </a:r>
          </a:p>
        </p:txBody>
      </p:sp>
      <p:sp>
        <p:nvSpPr>
          <p:cNvPr id="1235" name="TextBox 28">
            <a:extLst>
              <a:ext uri="{FF2B5EF4-FFF2-40B4-BE49-F238E27FC236}">
                <a16:creationId xmlns:a16="http://schemas.microsoft.com/office/drawing/2014/main" id="{35C30BD0-A055-4082-ADDF-695350F24F89}"/>
              </a:ext>
            </a:extLst>
          </p:cNvPr>
          <p:cNvSpPr txBox="1"/>
          <p:nvPr/>
        </p:nvSpPr>
        <p:spPr>
          <a:xfrm>
            <a:off x="4813995" y="3723675"/>
            <a:ext cx="798548" cy="107722"/>
          </a:xfrm>
          <a:prstGeom prst="rect">
            <a:avLst/>
          </a:prstGeom>
          <a:noFill/>
          <a:effectLst/>
        </p:spPr>
        <p:txBody>
          <a:bodyPr wrap="square" lIns="0" tIns="0" rIns="0" bIns="0" rtlCol="0" anchor="t">
            <a:spAutoFit/>
          </a:bodyPr>
          <a:lstStyle/>
          <a:p>
            <a:pPr algn="ctr"/>
            <a:r>
              <a:rPr lang="en-GB" sz="700" dirty="0">
                <a:solidFill>
                  <a:schemeClr val="tx2"/>
                </a:solidFill>
              </a:rPr>
              <a:t>Home isolation</a:t>
            </a:r>
          </a:p>
        </p:txBody>
      </p:sp>
      <p:sp>
        <p:nvSpPr>
          <p:cNvPr id="1236" name="TextBox 31">
            <a:extLst>
              <a:ext uri="{FF2B5EF4-FFF2-40B4-BE49-F238E27FC236}">
                <a16:creationId xmlns:a16="http://schemas.microsoft.com/office/drawing/2014/main" id="{B664FF0F-1229-4A79-8E53-C815A838DC7E}"/>
              </a:ext>
            </a:extLst>
          </p:cNvPr>
          <p:cNvSpPr txBox="1"/>
          <p:nvPr/>
        </p:nvSpPr>
        <p:spPr>
          <a:xfrm>
            <a:off x="5916771"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andemic</a:t>
            </a:r>
          </a:p>
        </p:txBody>
      </p:sp>
    </p:spTree>
    <p:extLst>
      <p:ext uri="{BB962C8B-B14F-4D97-AF65-F5344CB8AC3E}">
        <p14:creationId xmlns:p14="http://schemas.microsoft.com/office/powerpoint/2010/main" val="2318486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kt 51" hidden="1">
            <a:extLst>
              <a:ext uri="{FF2B5EF4-FFF2-40B4-BE49-F238E27FC236}">
                <a16:creationId xmlns:a16="http://schemas.microsoft.com/office/drawing/2014/main" id="{002BF553-7A04-45BD-929C-12728FDA67BF}"/>
              </a:ext>
            </a:extLst>
          </p:cNvPr>
          <p:cNvGraphicFramePr>
            <a:graphicFrameLocks noChangeAspect="1"/>
          </p:cNvGraphicFramePr>
          <p:nvPr>
            <p:custDataLst>
              <p:tags r:id="rId1"/>
            </p:custDataLst>
            <p:extLst>
              <p:ext uri="{D42A27DB-BD31-4B8C-83A1-F6EECF244321}">
                <p14:modId xmlns:p14="http://schemas.microsoft.com/office/powerpoint/2010/main" val="8038637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2" name="Objekt 51" hidden="1">
                        <a:extLst>
                          <a:ext uri="{FF2B5EF4-FFF2-40B4-BE49-F238E27FC236}">
                            <a16:creationId xmlns:a16="http://schemas.microsoft.com/office/drawing/2014/main" id="{002BF553-7A04-45BD-929C-12728FDA67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631A6E5-8E71-41F7-849D-26FFDB1B82DE}"/>
              </a:ext>
            </a:extLst>
          </p:cNvPr>
          <p:cNvSpPr>
            <a:spLocks noGrp="1"/>
          </p:cNvSpPr>
          <p:nvPr>
            <p:ph type="sldNum" sz="quarter" idx="11"/>
          </p:nvPr>
        </p:nvSpPr>
        <p:spPr/>
        <p:txBody>
          <a:bodyPr/>
          <a:lstStyle/>
          <a:p>
            <a:fld id="{D56DB8AA-803C-49D2-90AA-1140CE72DCD7}" type="slidenum">
              <a:rPr lang="en-GB" smtClean="0"/>
              <a:pPr/>
              <a:t>35</a:t>
            </a:fld>
            <a:endParaRPr lang="en-GB" dirty="0"/>
          </a:p>
        </p:txBody>
      </p:sp>
      <p:sp>
        <p:nvSpPr>
          <p:cNvPr id="3" name="Title 2">
            <a:extLst>
              <a:ext uri="{FF2B5EF4-FFF2-40B4-BE49-F238E27FC236}">
                <a16:creationId xmlns:a16="http://schemas.microsoft.com/office/drawing/2014/main" id="{6186206B-5057-CB88-ACD2-20C1E0626A7A}"/>
              </a:ext>
            </a:extLst>
          </p:cNvPr>
          <p:cNvSpPr>
            <a:spLocks noGrp="1"/>
          </p:cNvSpPr>
          <p:nvPr>
            <p:ph type="title"/>
          </p:nvPr>
        </p:nvSpPr>
        <p:spPr>
          <a:xfrm>
            <a:off x="252000" y="252000"/>
            <a:ext cx="6748875" cy="576000"/>
          </a:xfrm>
        </p:spPr>
        <p:txBody>
          <a:bodyPr/>
          <a:lstStyle/>
          <a:p>
            <a:r>
              <a:rPr lang="en-US" dirty="0"/>
              <a:t>Media</a:t>
            </a:r>
            <a:br>
              <a:rPr lang="en-US" dirty="0"/>
            </a:br>
            <a:endParaRPr lang="en-US" dirty="0"/>
          </a:p>
        </p:txBody>
      </p:sp>
      <p:grpSp>
        <p:nvGrpSpPr>
          <p:cNvPr id="4" name="Group 3">
            <a:extLst>
              <a:ext uri="{FF2B5EF4-FFF2-40B4-BE49-F238E27FC236}">
                <a16:creationId xmlns:a16="http://schemas.microsoft.com/office/drawing/2014/main" id="{F39660DB-8A78-6094-40BA-C0D5A528167A}"/>
              </a:ext>
            </a:extLst>
          </p:cNvPr>
          <p:cNvGrpSpPr/>
          <p:nvPr/>
        </p:nvGrpSpPr>
        <p:grpSpPr>
          <a:xfrm>
            <a:off x="425038" y="1626719"/>
            <a:ext cx="738025" cy="432001"/>
            <a:chOff x="425038" y="1626719"/>
            <a:chExt cx="738025" cy="432001"/>
          </a:xfrm>
        </p:grpSpPr>
        <p:grpSp>
          <p:nvGrpSpPr>
            <p:cNvPr id="237" name="Grafik 306">
              <a:extLst>
                <a:ext uri="{FF2B5EF4-FFF2-40B4-BE49-F238E27FC236}">
                  <a16:creationId xmlns:a16="http://schemas.microsoft.com/office/drawing/2014/main" id="{789B4D54-8BBE-429F-842F-FC7DF724AA97}"/>
                </a:ext>
              </a:extLst>
            </p:cNvPr>
            <p:cNvGrpSpPr/>
            <p:nvPr/>
          </p:nvGrpSpPr>
          <p:grpSpPr>
            <a:xfrm>
              <a:off x="524061" y="1626719"/>
              <a:ext cx="539981" cy="432001"/>
              <a:chOff x="926827" y="1676434"/>
              <a:chExt cx="397111" cy="317700"/>
            </a:xfrm>
            <a:solidFill>
              <a:schemeClr val="tx2"/>
            </a:solidFill>
          </p:grpSpPr>
          <p:sp>
            <p:nvSpPr>
              <p:cNvPr id="250" name="Freihandform: Form 249">
                <a:extLst>
                  <a:ext uri="{FF2B5EF4-FFF2-40B4-BE49-F238E27FC236}">
                    <a16:creationId xmlns:a16="http://schemas.microsoft.com/office/drawing/2014/main" id="{06BB74F0-5F78-4B8E-BE0B-62F70F4043AE}"/>
                  </a:ext>
                </a:extLst>
              </p:cNvPr>
              <p:cNvSpPr/>
              <p:nvPr/>
            </p:nvSpPr>
            <p:spPr>
              <a:xfrm>
                <a:off x="926827" y="1676434"/>
                <a:ext cx="397111" cy="317700"/>
              </a:xfrm>
              <a:custGeom>
                <a:avLst/>
                <a:gdLst>
                  <a:gd name="connsiteX0" fmla="*/ 357406 w 397111"/>
                  <a:gd name="connsiteY0" fmla="*/ 317701 h 317700"/>
                  <a:gd name="connsiteX1" fmla="*/ 39705 w 397111"/>
                  <a:gd name="connsiteY1" fmla="*/ 317701 h 317700"/>
                  <a:gd name="connsiteX2" fmla="*/ 0 w 397111"/>
                  <a:gd name="connsiteY2" fmla="*/ 277996 h 317700"/>
                  <a:gd name="connsiteX3" fmla="*/ 0 w 397111"/>
                  <a:gd name="connsiteY3" fmla="*/ 39705 h 317700"/>
                  <a:gd name="connsiteX4" fmla="*/ 39705 w 397111"/>
                  <a:gd name="connsiteY4" fmla="*/ 0 h 317700"/>
                  <a:gd name="connsiteX5" fmla="*/ 357406 w 397111"/>
                  <a:gd name="connsiteY5" fmla="*/ 0 h 317700"/>
                  <a:gd name="connsiteX6" fmla="*/ 397111 w 397111"/>
                  <a:gd name="connsiteY6" fmla="*/ 39705 h 317700"/>
                  <a:gd name="connsiteX7" fmla="*/ 397111 w 397111"/>
                  <a:gd name="connsiteY7" fmla="*/ 277996 h 317700"/>
                  <a:gd name="connsiteX8" fmla="*/ 357406 w 397111"/>
                  <a:gd name="connsiteY8" fmla="*/ 317701 h 317700"/>
                  <a:gd name="connsiteX9" fmla="*/ 39705 w 397111"/>
                  <a:gd name="connsiteY9" fmla="*/ 13235 h 317700"/>
                  <a:gd name="connsiteX10" fmla="*/ 13235 w 397111"/>
                  <a:gd name="connsiteY10" fmla="*/ 39705 h 317700"/>
                  <a:gd name="connsiteX11" fmla="*/ 13235 w 397111"/>
                  <a:gd name="connsiteY11" fmla="*/ 277996 h 317700"/>
                  <a:gd name="connsiteX12" fmla="*/ 39705 w 397111"/>
                  <a:gd name="connsiteY12" fmla="*/ 304466 h 317700"/>
                  <a:gd name="connsiteX13" fmla="*/ 357406 w 397111"/>
                  <a:gd name="connsiteY13" fmla="*/ 304466 h 317700"/>
                  <a:gd name="connsiteX14" fmla="*/ 383876 w 397111"/>
                  <a:gd name="connsiteY14" fmla="*/ 277996 h 317700"/>
                  <a:gd name="connsiteX15" fmla="*/ 383876 w 397111"/>
                  <a:gd name="connsiteY15" fmla="*/ 39705 h 317700"/>
                  <a:gd name="connsiteX16" fmla="*/ 357406 w 397111"/>
                  <a:gd name="connsiteY16" fmla="*/ 13235 h 317700"/>
                  <a:gd name="connsiteX17" fmla="*/ 39705 w 397111"/>
                  <a:gd name="connsiteY17" fmla="*/ 13235 h 31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7111" h="317700">
                    <a:moveTo>
                      <a:pt x="357406" y="317701"/>
                    </a:moveTo>
                    <a:lnTo>
                      <a:pt x="39705" y="317701"/>
                    </a:lnTo>
                    <a:cubicBezTo>
                      <a:pt x="17816" y="317701"/>
                      <a:pt x="0" y="299884"/>
                      <a:pt x="0" y="277996"/>
                    </a:cubicBezTo>
                    <a:lnTo>
                      <a:pt x="0" y="39705"/>
                    </a:lnTo>
                    <a:cubicBezTo>
                      <a:pt x="0" y="17816"/>
                      <a:pt x="17816" y="0"/>
                      <a:pt x="39705" y="0"/>
                    </a:cubicBezTo>
                    <a:lnTo>
                      <a:pt x="357406" y="0"/>
                    </a:lnTo>
                    <a:cubicBezTo>
                      <a:pt x="379295" y="0"/>
                      <a:pt x="397111" y="17816"/>
                      <a:pt x="397111" y="39705"/>
                    </a:cubicBezTo>
                    <a:lnTo>
                      <a:pt x="397111" y="277996"/>
                    </a:lnTo>
                    <a:cubicBezTo>
                      <a:pt x="397111" y="299884"/>
                      <a:pt x="379325" y="317701"/>
                      <a:pt x="357406" y="317701"/>
                    </a:cubicBezTo>
                    <a:close/>
                    <a:moveTo>
                      <a:pt x="39705" y="13235"/>
                    </a:moveTo>
                    <a:cubicBezTo>
                      <a:pt x="25093" y="13235"/>
                      <a:pt x="13235" y="25123"/>
                      <a:pt x="13235" y="39705"/>
                    </a:cubicBezTo>
                    <a:lnTo>
                      <a:pt x="13235" y="277996"/>
                    </a:lnTo>
                    <a:cubicBezTo>
                      <a:pt x="13235" y="292608"/>
                      <a:pt x="25123" y="304466"/>
                      <a:pt x="39705" y="304466"/>
                    </a:cubicBezTo>
                    <a:lnTo>
                      <a:pt x="357406" y="304466"/>
                    </a:lnTo>
                    <a:cubicBezTo>
                      <a:pt x="372018" y="304466"/>
                      <a:pt x="383876" y="292578"/>
                      <a:pt x="383876" y="277996"/>
                    </a:cubicBezTo>
                    <a:lnTo>
                      <a:pt x="383876" y="39705"/>
                    </a:lnTo>
                    <a:cubicBezTo>
                      <a:pt x="383876" y="25093"/>
                      <a:pt x="371988" y="13235"/>
                      <a:pt x="357406" y="13235"/>
                    </a:cubicBezTo>
                    <a:lnTo>
                      <a:pt x="39705" y="13235"/>
                    </a:lnTo>
                    <a:close/>
                  </a:path>
                </a:pathLst>
              </a:custGeom>
              <a:grpFill/>
              <a:ln w="2991" cap="flat">
                <a:noFill/>
                <a:prstDash val="solid"/>
                <a:miter/>
              </a:ln>
            </p:spPr>
            <p:txBody>
              <a:bodyPr rtlCol="0" anchor="ctr"/>
              <a:lstStyle/>
              <a:p>
                <a:endParaRPr lang="en-GB" dirty="0"/>
              </a:p>
            </p:txBody>
          </p:sp>
          <p:sp>
            <p:nvSpPr>
              <p:cNvPr id="251" name="Freihandform: Form 250">
                <a:extLst>
                  <a:ext uri="{FF2B5EF4-FFF2-40B4-BE49-F238E27FC236}">
                    <a16:creationId xmlns:a16="http://schemas.microsoft.com/office/drawing/2014/main" id="{46C17AA9-8C07-46A6-8A61-1E5643E5E47E}"/>
                  </a:ext>
                </a:extLst>
              </p:cNvPr>
              <p:cNvSpPr/>
              <p:nvPr/>
            </p:nvSpPr>
            <p:spPr>
              <a:xfrm>
                <a:off x="933415" y="1722756"/>
                <a:ext cx="383905" cy="13235"/>
              </a:xfrm>
              <a:custGeom>
                <a:avLst/>
                <a:gdLst>
                  <a:gd name="connsiteX0" fmla="*/ 0 w 383905"/>
                  <a:gd name="connsiteY0" fmla="*/ 0 h 13235"/>
                  <a:gd name="connsiteX1" fmla="*/ 383906 w 383905"/>
                  <a:gd name="connsiteY1" fmla="*/ 0 h 13235"/>
                  <a:gd name="connsiteX2" fmla="*/ 383906 w 383905"/>
                  <a:gd name="connsiteY2" fmla="*/ 13235 h 13235"/>
                  <a:gd name="connsiteX3" fmla="*/ 0 w 383905"/>
                  <a:gd name="connsiteY3" fmla="*/ 13235 h 13235"/>
                </a:gdLst>
                <a:ahLst/>
                <a:cxnLst>
                  <a:cxn ang="0">
                    <a:pos x="connsiteX0" y="connsiteY0"/>
                  </a:cxn>
                  <a:cxn ang="0">
                    <a:pos x="connsiteX1" y="connsiteY1"/>
                  </a:cxn>
                  <a:cxn ang="0">
                    <a:pos x="connsiteX2" y="connsiteY2"/>
                  </a:cxn>
                  <a:cxn ang="0">
                    <a:pos x="connsiteX3" y="connsiteY3"/>
                  </a:cxn>
                </a:cxnLst>
                <a:rect l="l" t="t" r="r" b="b"/>
                <a:pathLst>
                  <a:path w="383905" h="13235">
                    <a:moveTo>
                      <a:pt x="0" y="0"/>
                    </a:moveTo>
                    <a:lnTo>
                      <a:pt x="383906" y="0"/>
                    </a:lnTo>
                    <a:lnTo>
                      <a:pt x="383906" y="13235"/>
                    </a:lnTo>
                    <a:lnTo>
                      <a:pt x="0" y="13235"/>
                    </a:lnTo>
                    <a:close/>
                  </a:path>
                </a:pathLst>
              </a:custGeom>
              <a:grpFill/>
              <a:ln w="2991" cap="flat">
                <a:noFill/>
                <a:prstDash val="solid"/>
                <a:miter/>
              </a:ln>
            </p:spPr>
            <p:txBody>
              <a:bodyPr rtlCol="0" anchor="ctr"/>
              <a:lstStyle/>
              <a:p>
                <a:endParaRPr lang="en-GB" dirty="0"/>
              </a:p>
            </p:txBody>
          </p:sp>
        </p:grpSp>
        <p:grpSp>
          <p:nvGrpSpPr>
            <p:cNvPr id="238" name="Group 4">
              <a:extLst>
                <a:ext uri="{FF2B5EF4-FFF2-40B4-BE49-F238E27FC236}">
                  <a16:creationId xmlns:a16="http://schemas.microsoft.com/office/drawing/2014/main" id="{4F1ED9F8-2388-42D4-B563-324C0991E87F}"/>
                </a:ext>
              </a:extLst>
            </p:cNvPr>
            <p:cNvGrpSpPr/>
            <p:nvPr/>
          </p:nvGrpSpPr>
          <p:grpSpPr>
            <a:xfrm>
              <a:off x="425038" y="1779286"/>
              <a:ext cx="738025" cy="198451"/>
              <a:chOff x="854004" y="1788632"/>
              <a:chExt cx="542756" cy="145944"/>
            </a:xfrm>
            <a:solidFill>
              <a:schemeClr val="accent1"/>
            </a:solidFill>
          </p:grpSpPr>
          <p:grpSp>
            <p:nvGrpSpPr>
              <p:cNvPr id="239" name="Grafik 306">
                <a:extLst>
                  <a:ext uri="{FF2B5EF4-FFF2-40B4-BE49-F238E27FC236}">
                    <a16:creationId xmlns:a16="http://schemas.microsoft.com/office/drawing/2014/main" id="{61AC0CEF-14E6-4A93-AA92-BB6839E516BC}"/>
                  </a:ext>
                </a:extLst>
              </p:cNvPr>
              <p:cNvGrpSpPr/>
              <p:nvPr/>
            </p:nvGrpSpPr>
            <p:grpSpPr>
              <a:xfrm>
                <a:off x="996865" y="1788632"/>
                <a:ext cx="257274" cy="145645"/>
                <a:chOff x="996865" y="1788632"/>
                <a:chExt cx="257274" cy="145645"/>
              </a:xfrm>
              <a:solidFill>
                <a:schemeClr val="accent1"/>
              </a:solidFill>
            </p:grpSpPr>
            <p:sp>
              <p:nvSpPr>
                <p:cNvPr id="248" name="Freihandform: Form 247">
                  <a:extLst>
                    <a:ext uri="{FF2B5EF4-FFF2-40B4-BE49-F238E27FC236}">
                      <a16:creationId xmlns:a16="http://schemas.microsoft.com/office/drawing/2014/main" id="{861F1CA8-8B54-4596-B915-33CBACD54CB3}"/>
                    </a:ext>
                  </a:extLst>
                </p:cNvPr>
                <p:cNvSpPr/>
                <p:nvPr/>
              </p:nvSpPr>
              <p:spPr>
                <a:xfrm>
                  <a:off x="996865" y="1788632"/>
                  <a:ext cx="257274" cy="145645"/>
                </a:xfrm>
                <a:custGeom>
                  <a:avLst/>
                  <a:gdLst>
                    <a:gd name="connsiteX0" fmla="*/ 128637 w 257274"/>
                    <a:gd name="connsiteY0" fmla="*/ 145645 h 145645"/>
                    <a:gd name="connsiteX1" fmla="*/ 1078 w 257274"/>
                    <a:gd name="connsiteY1" fmla="*/ 76446 h 145645"/>
                    <a:gd name="connsiteX2" fmla="*/ 1078 w 257274"/>
                    <a:gd name="connsiteY2" fmla="*/ 69199 h 145645"/>
                    <a:gd name="connsiteX3" fmla="*/ 128637 w 257274"/>
                    <a:gd name="connsiteY3" fmla="*/ 0 h 145645"/>
                    <a:gd name="connsiteX4" fmla="*/ 256197 w 257274"/>
                    <a:gd name="connsiteY4" fmla="*/ 69199 h 145645"/>
                    <a:gd name="connsiteX5" fmla="*/ 256197 w 257274"/>
                    <a:gd name="connsiteY5" fmla="*/ 76446 h 145645"/>
                    <a:gd name="connsiteX6" fmla="*/ 128637 w 257274"/>
                    <a:gd name="connsiteY6" fmla="*/ 145645 h 145645"/>
                    <a:gd name="connsiteX7" fmla="*/ 14583 w 257274"/>
                    <a:gd name="connsiteY7" fmla="*/ 72853 h 145645"/>
                    <a:gd name="connsiteX8" fmla="*/ 128637 w 257274"/>
                    <a:gd name="connsiteY8" fmla="*/ 132410 h 145645"/>
                    <a:gd name="connsiteX9" fmla="*/ 242692 w 257274"/>
                    <a:gd name="connsiteY9" fmla="*/ 72853 h 145645"/>
                    <a:gd name="connsiteX10" fmla="*/ 128637 w 257274"/>
                    <a:gd name="connsiteY10" fmla="*/ 13295 h 145645"/>
                    <a:gd name="connsiteX11" fmla="*/ 14583 w 257274"/>
                    <a:gd name="connsiteY11" fmla="*/ 72853 h 14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274" h="145645">
                      <a:moveTo>
                        <a:pt x="128637" y="145645"/>
                      </a:moveTo>
                      <a:cubicBezTo>
                        <a:pt x="77015" y="145645"/>
                        <a:pt x="29345" y="119774"/>
                        <a:pt x="1078" y="76446"/>
                      </a:cubicBezTo>
                      <a:cubicBezTo>
                        <a:pt x="-359" y="74260"/>
                        <a:pt x="-359" y="71415"/>
                        <a:pt x="1078" y="69199"/>
                      </a:cubicBezTo>
                      <a:cubicBezTo>
                        <a:pt x="29345" y="25871"/>
                        <a:pt x="77015" y="0"/>
                        <a:pt x="128637" y="0"/>
                      </a:cubicBezTo>
                      <a:cubicBezTo>
                        <a:pt x="180260" y="0"/>
                        <a:pt x="227960" y="25871"/>
                        <a:pt x="256197" y="69199"/>
                      </a:cubicBezTo>
                      <a:cubicBezTo>
                        <a:pt x="257634" y="71385"/>
                        <a:pt x="257634" y="74230"/>
                        <a:pt x="256197" y="76446"/>
                      </a:cubicBezTo>
                      <a:cubicBezTo>
                        <a:pt x="227960" y="119804"/>
                        <a:pt x="180260" y="145645"/>
                        <a:pt x="128637" y="145645"/>
                      </a:cubicBezTo>
                      <a:close/>
                      <a:moveTo>
                        <a:pt x="14583" y="72853"/>
                      </a:moveTo>
                      <a:cubicBezTo>
                        <a:pt x="40633" y="110252"/>
                        <a:pt x="82944" y="132410"/>
                        <a:pt x="128637" y="132410"/>
                      </a:cubicBezTo>
                      <a:cubicBezTo>
                        <a:pt x="174301" y="132410"/>
                        <a:pt x="216611" y="110222"/>
                        <a:pt x="242692" y="72853"/>
                      </a:cubicBezTo>
                      <a:cubicBezTo>
                        <a:pt x="216641" y="35453"/>
                        <a:pt x="174331" y="13295"/>
                        <a:pt x="128637" y="13295"/>
                      </a:cubicBezTo>
                      <a:cubicBezTo>
                        <a:pt x="82974" y="13265"/>
                        <a:pt x="40663" y="35453"/>
                        <a:pt x="14583" y="72853"/>
                      </a:cubicBezTo>
                      <a:close/>
                    </a:path>
                  </a:pathLst>
                </a:custGeom>
                <a:solidFill>
                  <a:schemeClr val="accent1"/>
                </a:solidFill>
                <a:ln w="2991" cap="flat">
                  <a:noFill/>
                  <a:prstDash val="solid"/>
                  <a:miter/>
                </a:ln>
              </p:spPr>
              <p:txBody>
                <a:bodyPr rtlCol="0" anchor="ctr"/>
                <a:lstStyle/>
                <a:p>
                  <a:endParaRPr lang="en-GB" dirty="0"/>
                </a:p>
              </p:txBody>
            </p:sp>
            <p:sp>
              <p:nvSpPr>
                <p:cNvPr id="249" name="Freihandform: Form 248">
                  <a:extLst>
                    <a:ext uri="{FF2B5EF4-FFF2-40B4-BE49-F238E27FC236}">
                      <a16:creationId xmlns:a16="http://schemas.microsoft.com/office/drawing/2014/main" id="{83D64E39-671C-45A9-8A18-0129EA8484E7}"/>
                    </a:ext>
                  </a:extLst>
                </p:cNvPr>
                <p:cNvSpPr/>
                <p:nvPr/>
              </p:nvSpPr>
              <p:spPr>
                <a:xfrm>
                  <a:off x="1085797" y="1821780"/>
                  <a:ext cx="79410" cy="79410"/>
                </a:xfrm>
                <a:custGeom>
                  <a:avLst/>
                  <a:gdLst>
                    <a:gd name="connsiteX0" fmla="*/ 39705 w 79410"/>
                    <a:gd name="connsiteY0" fmla="*/ 79410 h 79410"/>
                    <a:gd name="connsiteX1" fmla="*/ 0 w 79410"/>
                    <a:gd name="connsiteY1" fmla="*/ 39705 h 79410"/>
                    <a:gd name="connsiteX2" fmla="*/ 39705 w 79410"/>
                    <a:gd name="connsiteY2" fmla="*/ 0 h 79410"/>
                    <a:gd name="connsiteX3" fmla="*/ 79410 w 79410"/>
                    <a:gd name="connsiteY3" fmla="*/ 39705 h 79410"/>
                    <a:gd name="connsiteX4" fmla="*/ 39705 w 79410"/>
                    <a:gd name="connsiteY4" fmla="*/ 79410 h 79410"/>
                    <a:gd name="connsiteX5" fmla="*/ 39705 w 79410"/>
                    <a:gd name="connsiteY5" fmla="*/ 13235 h 79410"/>
                    <a:gd name="connsiteX6" fmla="*/ 13235 w 79410"/>
                    <a:gd name="connsiteY6" fmla="*/ 39705 h 79410"/>
                    <a:gd name="connsiteX7" fmla="*/ 39705 w 79410"/>
                    <a:gd name="connsiteY7" fmla="*/ 66175 h 79410"/>
                    <a:gd name="connsiteX8" fmla="*/ 66175 w 79410"/>
                    <a:gd name="connsiteY8" fmla="*/ 39705 h 79410"/>
                    <a:gd name="connsiteX9" fmla="*/ 39705 w 79410"/>
                    <a:gd name="connsiteY9" fmla="*/ 13235 h 7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410" h="79410">
                      <a:moveTo>
                        <a:pt x="39705" y="79410"/>
                      </a:moveTo>
                      <a:cubicBezTo>
                        <a:pt x="17816" y="79410"/>
                        <a:pt x="0" y="61594"/>
                        <a:pt x="0" y="39705"/>
                      </a:cubicBezTo>
                      <a:cubicBezTo>
                        <a:pt x="0" y="17816"/>
                        <a:pt x="17816" y="0"/>
                        <a:pt x="39705" y="0"/>
                      </a:cubicBezTo>
                      <a:cubicBezTo>
                        <a:pt x="61594" y="0"/>
                        <a:pt x="79410" y="17816"/>
                        <a:pt x="79410" y="39705"/>
                      </a:cubicBezTo>
                      <a:cubicBezTo>
                        <a:pt x="79410" y="61594"/>
                        <a:pt x="61594" y="79410"/>
                        <a:pt x="39705" y="79410"/>
                      </a:cubicBezTo>
                      <a:close/>
                      <a:moveTo>
                        <a:pt x="39705" y="13235"/>
                      </a:moveTo>
                      <a:cubicBezTo>
                        <a:pt x="25093" y="13235"/>
                        <a:pt x="13235" y="25123"/>
                        <a:pt x="13235" y="39705"/>
                      </a:cubicBezTo>
                      <a:cubicBezTo>
                        <a:pt x="13235" y="54318"/>
                        <a:pt x="25123" y="66175"/>
                        <a:pt x="39705" y="66175"/>
                      </a:cubicBezTo>
                      <a:cubicBezTo>
                        <a:pt x="54318" y="66175"/>
                        <a:pt x="66175" y="54288"/>
                        <a:pt x="66175" y="39705"/>
                      </a:cubicBezTo>
                      <a:cubicBezTo>
                        <a:pt x="66175" y="25093"/>
                        <a:pt x="54288" y="13235"/>
                        <a:pt x="39705" y="13235"/>
                      </a:cubicBezTo>
                      <a:close/>
                    </a:path>
                  </a:pathLst>
                </a:custGeom>
                <a:solidFill>
                  <a:schemeClr val="accent1"/>
                </a:solidFill>
                <a:ln w="2991" cap="flat">
                  <a:noFill/>
                  <a:prstDash val="solid"/>
                  <a:miter/>
                </a:ln>
              </p:spPr>
              <p:txBody>
                <a:bodyPr rtlCol="0" anchor="ctr"/>
                <a:lstStyle/>
                <a:p>
                  <a:endParaRPr lang="en-GB" dirty="0"/>
                </a:p>
              </p:txBody>
            </p:sp>
          </p:grpSp>
          <p:grpSp>
            <p:nvGrpSpPr>
              <p:cNvPr id="240" name="Grafik 306">
                <a:extLst>
                  <a:ext uri="{FF2B5EF4-FFF2-40B4-BE49-F238E27FC236}">
                    <a16:creationId xmlns:a16="http://schemas.microsoft.com/office/drawing/2014/main" id="{EDF176E9-8429-4106-B630-E62EC3A85517}"/>
                  </a:ext>
                </a:extLst>
              </p:cNvPr>
              <p:cNvGrpSpPr/>
              <p:nvPr/>
            </p:nvGrpSpPr>
            <p:grpSpPr>
              <a:xfrm>
                <a:off x="1350418" y="1792235"/>
                <a:ext cx="46342" cy="142341"/>
                <a:chOff x="1350418" y="1792235"/>
                <a:chExt cx="46342" cy="142341"/>
              </a:xfrm>
              <a:solidFill>
                <a:schemeClr val="accent1"/>
              </a:solidFill>
            </p:grpSpPr>
            <p:sp>
              <p:nvSpPr>
                <p:cNvPr id="245" name="Freihandform: Form 244">
                  <a:extLst>
                    <a:ext uri="{FF2B5EF4-FFF2-40B4-BE49-F238E27FC236}">
                      <a16:creationId xmlns:a16="http://schemas.microsoft.com/office/drawing/2014/main" id="{0D32E372-CAB4-488A-8D77-DC4F85896F2C}"/>
                    </a:ext>
                  </a:extLst>
                </p:cNvPr>
                <p:cNvSpPr/>
                <p:nvPr/>
              </p:nvSpPr>
              <p:spPr>
                <a:xfrm>
                  <a:off x="1350438" y="1855137"/>
                  <a:ext cx="46322" cy="13235"/>
                </a:xfrm>
                <a:custGeom>
                  <a:avLst/>
                  <a:gdLst>
                    <a:gd name="connsiteX0" fmla="*/ 39705 w 46322"/>
                    <a:gd name="connsiteY0" fmla="*/ 13235 h 13235"/>
                    <a:gd name="connsiteX1" fmla="*/ 6618 w 46322"/>
                    <a:gd name="connsiteY1" fmla="*/ 13235 h 13235"/>
                    <a:gd name="connsiteX2" fmla="*/ 0 w 46322"/>
                    <a:gd name="connsiteY2" fmla="*/ 6618 h 13235"/>
                    <a:gd name="connsiteX3" fmla="*/ 6618 w 46322"/>
                    <a:gd name="connsiteY3" fmla="*/ 0 h 13235"/>
                    <a:gd name="connsiteX4" fmla="*/ 39705 w 46322"/>
                    <a:gd name="connsiteY4" fmla="*/ 0 h 13235"/>
                    <a:gd name="connsiteX5" fmla="*/ 46323 w 46322"/>
                    <a:gd name="connsiteY5" fmla="*/ 6618 h 13235"/>
                    <a:gd name="connsiteX6" fmla="*/ 39705 w 46322"/>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22" h="13235">
                      <a:moveTo>
                        <a:pt x="39705" y="13235"/>
                      </a:moveTo>
                      <a:lnTo>
                        <a:pt x="6618" y="13235"/>
                      </a:lnTo>
                      <a:cubicBezTo>
                        <a:pt x="2964" y="13235"/>
                        <a:pt x="0" y="10271"/>
                        <a:pt x="0" y="6618"/>
                      </a:cubicBezTo>
                      <a:cubicBezTo>
                        <a:pt x="0" y="2964"/>
                        <a:pt x="2964" y="0"/>
                        <a:pt x="6618" y="0"/>
                      </a:cubicBezTo>
                      <a:lnTo>
                        <a:pt x="39705" y="0"/>
                      </a:lnTo>
                      <a:cubicBezTo>
                        <a:pt x="43358" y="0"/>
                        <a:pt x="46323" y="2964"/>
                        <a:pt x="46323" y="6618"/>
                      </a:cubicBezTo>
                      <a:cubicBezTo>
                        <a:pt x="46323" y="10271"/>
                        <a:pt x="43358" y="13235"/>
                        <a:pt x="39705" y="13235"/>
                      </a:cubicBezTo>
                      <a:close/>
                    </a:path>
                  </a:pathLst>
                </a:custGeom>
                <a:solidFill>
                  <a:schemeClr val="accent1"/>
                </a:solidFill>
                <a:ln w="2991" cap="flat">
                  <a:noFill/>
                  <a:prstDash val="solid"/>
                  <a:miter/>
                </a:ln>
              </p:spPr>
              <p:txBody>
                <a:bodyPr rtlCol="0" anchor="ctr"/>
                <a:lstStyle/>
                <a:p>
                  <a:endParaRPr lang="en-GB" dirty="0"/>
                </a:p>
              </p:txBody>
            </p:sp>
            <p:sp>
              <p:nvSpPr>
                <p:cNvPr id="246" name="Freihandform: Form 245">
                  <a:extLst>
                    <a:ext uri="{FF2B5EF4-FFF2-40B4-BE49-F238E27FC236}">
                      <a16:creationId xmlns:a16="http://schemas.microsoft.com/office/drawing/2014/main" id="{85064552-A93A-4468-AAFD-785F302C9AF2}"/>
                    </a:ext>
                  </a:extLst>
                </p:cNvPr>
                <p:cNvSpPr/>
                <p:nvPr/>
              </p:nvSpPr>
              <p:spPr>
                <a:xfrm>
                  <a:off x="1350418" y="1792235"/>
                  <a:ext cx="41901" cy="29813"/>
                </a:xfrm>
                <a:custGeom>
                  <a:avLst/>
                  <a:gdLst>
                    <a:gd name="connsiteX0" fmla="*/ 6638 w 41901"/>
                    <a:gd name="connsiteY0" fmla="*/ 29814 h 29813"/>
                    <a:gd name="connsiteX1" fmla="*/ 888 w 41901"/>
                    <a:gd name="connsiteY1" fmla="*/ 26490 h 29813"/>
                    <a:gd name="connsiteX2" fmla="*/ 3314 w 41901"/>
                    <a:gd name="connsiteY2" fmla="*/ 17447 h 29813"/>
                    <a:gd name="connsiteX3" fmla="*/ 31970 w 41901"/>
                    <a:gd name="connsiteY3" fmla="*/ 888 h 29813"/>
                    <a:gd name="connsiteX4" fmla="*/ 41013 w 41901"/>
                    <a:gd name="connsiteY4" fmla="*/ 3314 h 29813"/>
                    <a:gd name="connsiteX5" fmla="*/ 38587 w 41901"/>
                    <a:gd name="connsiteY5" fmla="*/ 12357 h 29813"/>
                    <a:gd name="connsiteX6" fmla="*/ 9931 w 41901"/>
                    <a:gd name="connsiteY6" fmla="*/ 28916 h 29813"/>
                    <a:gd name="connsiteX7" fmla="*/ 6638 w 41901"/>
                    <a:gd name="connsiteY7" fmla="*/ 29814 h 2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01" h="29813">
                      <a:moveTo>
                        <a:pt x="6638" y="29814"/>
                      </a:moveTo>
                      <a:cubicBezTo>
                        <a:pt x="4362" y="29814"/>
                        <a:pt x="2116" y="28616"/>
                        <a:pt x="888" y="26490"/>
                      </a:cubicBezTo>
                      <a:cubicBezTo>
                        <a:pt x="-938" y="23316"/>
                        <a:pt x="140" y="19274"/>
                        <a:pt x="3314" y="17447"/>
                      </a:cubicBezTo>
                      <a:lnTo>
                        <a:pt x="31970" y="888"/>
                      </a:lnTo>
                      <a:cubicBezTo>
                        <a:pt x="35114" y="-938"/>
                        <a:pt x="39186" y="140"/>
                        <a:pt x="41013" y="3314"/>
                      </a:cubicBezTo>
                      <a:cubicBezTo>
                        <a:pt x="42839" y="6488"/>
                        <a:pt x="41761" y="10530"/>
                        <a:pt x="38587" y="12357"/>
                      </a:cubicBezTo>
                      <a:lnTo>
                        <a:pt x="9931" y="28916"/>
                      </a:lnTo>
                      <a:cubicBezTo>
                        <a:pt x="8913" y="29514"/>
                        <a:pt x="7746" y="29814"/>
                        <a:pt x="6638" y="29814"/>
                      </a:cubicBezTo>
                      <a:close/>
                    </a:path>
                  </a:pathLst>
                </a:custGeom>
                <a:solidFill>
                  <a:schemeClr val="accent1"/>
                </a:solidFill>
                <a:ln w="2991" cap="flat">
                  <a:noFill/>
                  <a:prstDash val="solid"/>
                  <a:miter/>
                </a:ln>
              </p:spPr>
              <p:txBody>
                <a:bodyPr rtlCol="0" anchor="ctr"/>
                <a:lstStyle/>
                <a:p>
                  <a:endParaRPr lang="en-GB" dirty="0"/>
                </a:p>
              </p:txBody>
            </p:sp>
            <p:sp>
              <p:nvSpPr>
                <p:cNvPr id="247" name="Freihandform: Form 246">
                  <a:extLst>
                    <a:ext uri="{FF2B5EF4-FFF2-40B4-BE49-F238E27FC236}">
                      <a16:creationId xmlns:a16="http://schemas.microsoft.com/office/drawing/2014/main" id="{DF182CA8-6462-44E1-9774-45830BAFF39B}"/>
                    </a:ext>
                  </a:extLst>
                </p:cNvPr>
                <p:cNvSpPr/>
                <p:nvPr/>
              </p:nvSpPr>
              <p:spPr>
                <a:xfrm>
                  <a:off x="1350448" y="1904763"/>
                  <a:ext cx="41901" cy="29813"/>
                </a:xfrm>
                <a:custGeom>
                  <a:avLst/>
                  <a:gdLst>
                    <a:gd name="connsiteX0" fmla="*/ 35264 w 41901"/>
                    <a:gd name="connsiteY0" fmla="*/ 29814 h 29813"/>
                    <a:gd name="connsiteX1" fmla="*/ 31970 w 41901"/>
                    <a:gd name="connsiteY1" fmla="*/ 28916 h 29813"/>
                    <a:gd name="connsiteX2" fmla="*/ 3314 w 41901"/>
                    <a:gd name="connsiteY2" fmla="*/ 12357 h 29813"/>
                    <a:gd name="connsiteX3" fmla="*/ 888 w 41901"/>
                    <a:gd name="connsiteY3" fmla="*/ 3314 h 29813"/>
                    <a:gd name="connsiteX4" fmla="*/ 9931 w 41901"/>
                    <a:gd name="connsiteY4" fmla="*/ 888 h 29813"/>
                    <a:gd name="connsiteX5" fmla="*/ 38587 w 41901"/>
                    <a:gd name="connsiteY5" fmla="*/ 17447 h 29813"/>
                    <a:gd name="connsiteX6" fmla="*/ 41013 w 41901"/>
                    <a:gd name="connsiteY6" fmla="*/ 26490 h 29813"/>
                    <a:gd name="connsiteX7" fmla="*/ 35264 w 41901"/>
                    <a:gd name="connsiteY7" fmla="*/ 29814 h 2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01" h="29813">
                      <a:moveTo>
                        <a:pt x="35264" y="29814"/>
                      </a:moveTo>
                      <a:cubicBezTo>
                        <a:pt x="34156" y="29814"/>
                        <a:pt x="33018" y="29514"/>
                        <a:pt x="31970" y="28916"/>
                      </a:cubicBezTo>
                      <a:lnTo>
                        <a:pt x="3314" y="12357"/>
                      </a:lnTo>
                      <a:cubicBezTo>
                        <a:pt x="140" y="10530"/>
                        <a:pt x="-938" y="6488"/>
                        <a:pt x="888" y="3314"/>
                      </a:cubicBezTo>
                      <a:cubicBezTo>
                        <a:pt x="2715" y="140"/>
                        <a:pt x="6757" y="-938"/>
                        <a:pt x="9931" y="888"/>
                      </a:cubicBezTo>
                      <a:lnTo>
                        <a:pt x="38587" y="17447"/>
                      </a:lnTo>
                      <a:cubicBezTo>
                        <a:pt x="41761" y="19274"/>
                        <a:pt x="42839" y="23316"/>
                        <a:pt x="41013" y="26490"/>
                      </a:cubicBezTo>
                      <a:cubicBezTo>
                        <a:pt x="39755" y="28616"/>
                        <a:pt x="37539" y="29814"/>
                        <a:pt x="35264" y="29814"/>
                      </a:cubicBezTo>
                      <a:close/>
                    </a:path>
                  </a:pathLst>
                </a:custGeom>
                <a:solidFill>
                  <a:schemeClr val="accent1"/>
                </a:solidFill>
                <a:ln w="2991" cap="flat">
                  <a:noFill/>
                  <a:prstDash val="solid"/>
                  <a:miter/>
                </a:ln>
              </p:spPr>
              <p:txBody>
                <a:bodyPr rtlCol="0" anchor="ctr"/>
                <a:lstStyle/>
                <a:p>
                  <a:endParaRPr lang="en-GB" dirty="0"/>
                </a:p>
              </p:txBody>
            </p:sp>
          </p:grpSp>
          <p:grpSp>
            <p:nvGrpSpPr>
              <p:cNvPr id="241" name="Grafik 306">
                <a:extLst>
                  <a:ext uri="{FF2B5EF4-FFF2-40B4-BE49-F238E27FC236}">
                    <a16:creationId xmlns:a16="http://schemas.microsoft.com/office/drawing/2014/main" id="{AE2E6810-CDD9-4F76-81DF-82073DB2D6A6}"/>
                  </a:ext>
                </a:extLst>
              </p:cNvPr>
              <p:cNvGrpSpPr/>
              <p:nvPr/>
            </p:nvGrpSpPr>
            <p:grpSpPr>
              <a:xfrm>
                <a:off x="854004" y="1792235"/>
                <a:ext cx="46342" cy="142341"/>
                <a:chOff x="854004" y="1792235"/>
                <a:chExt cx="46342" cy="142341"/>
              </a:xfrm>
              <a:solidFill>
                <a:schemeClr val="accent1"/>
              </a:solidFill>
            </p:grpSpPr>
            <p:sp>
              <p:nvSpPr>
                <p:cNvPr id="242" name="Freihandform: Form 241">
                  <a:extLst>
                    <a:ext uri="{FF2B5EF4-FFF2-40B4-BE49-F238E27FC236}">
                      <a16:creationId xmlns:a16="http://schemas.microsoft.com/office/drawing/2014/main" id="{CE110C1B-02AB-4507-A8F6-347C9A41D7AA}"/>
                    </a:ext>
                  </a:extLst>
                </p:cNvPr>
                <p:cNvSpPr/>
                <p:nvPr/>
              </p:nvSpPr>
              <p:spPr>
                <a:xfrm>
                  <a:off x="854004" y="1855137"/>
                  <a:ext cx="46322" cy="13235"/>
                </a:xfrm>
                <a:custGeom>
                  <a:avLst/>
                  <a:gdLst>
                    <a:gd name="connsiteX0" fmla="*/ 39705 w 46322"/>
                    <a:gd name="connsiteY0" fmla="*/ 13235 h 13235"/>
                    <a:gd name="connsiteX1" fmla="*/ 6618 w 46322"/>
                    <a:gd name="connsiteY1" fmla="*/ 13235 h 13235"/>
                    <a:gd name="connsiteX2" fmla="*/ 0 w 46322"/>
                    <a:gd name="connsiteY2" fmla="*/ 6618 h 13235"/>
                    <a:gd name="connsiteX3" fmla="*/ 6618 w 46322"/>
                    <a:gd name="connsiteY3" fmla="*/ 0 h 13235"/>
                    <a:gd name="connsiteX4" fmla="*/ 39705 w 46322"/>
                    <a:gd name="connsiteY4" fmla="*/ 0 h 13235"/>
                    <a:gd name="connsiteX5" fmla="*/ 46323 w 46322"/>
                    <a:gd name="connsiteY5" fmla="*/ 6618 h 13235"/>
                    <a:gd name="connsiteX6" fmla="*/ 39705 w 46322"/>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22" h="13235">
                      <a:moveTo>
                        <a:pt x="39705" y="13235"/>
                      </a:moveTo>
                      <a:lnTo>
                        <a:pt x="6618" y="13235"/>
                      </a:lnTo>
                      <a:cubicBezTo>
                        <a:pt x="2964" y="13235"/>
                        <a:pt x="0" y="10271"/>
                        <a:pt x="0" y="6618"/>
                      </a:cubicBezTo>
                      <a:cubicBezTo>
                        <a:pt x="0" y="2964"/>
                        <a:pt x="2964" y="0"/>
                        <a:pt x="6618" y="0"/>
                      </a:cubicBezTo>
                      <a:lnTo>
                        <a:pt x="39705" y="0"/>
                      </a:lnTo>
                      <a:cubicBezTo>
                        <a:pt x="43358" y="0"/>
                        <a:pt x="46323" y="2964"/>
                        <a:pt x="46323" y="6618"/>
                      </a:cubicBezTo>
                      <a:cubicBezTo>
                        <a:pt x="46323" y="10271"/>
                        <a:pt x="43358" y="13235"/>
                        <a:pt x="39705" y="13235"/>
                      </a:cubicBezTo>
                      <a:close/>
                    </a:path>
                  </a:pathLst>
                </a:custGeom>
                <a:solidFill>
                  <a:schemeClr val="accent1"/>
                </a:solidFill>
                <a:ln w="2991" cap="flat">
                  <a:noFill/>
                  <a:prstDash val="solid"/>
                  <a:miter/>
                </a:ln>
              </p:spPr>
              <p:txBody>
                <a:bodyPr rtlCol="0" anchor="ctr"/>
                <a:lstStyle/>
                <a:p>
                  <a:endParaRPr lang="en-GB" dirty="0"/>
                </a:p>
              </p:txBody>
            </p:sp>
            <p:sp>
              <p:nvSpPr>
                <p:cNvPr id="243" name="Freihandform: Form 242">
                  <a:extLst>
                    <a:ext uri="{FF2B5EF4-FFF2-40B4-BE49-F238E27FC236}">
                      <a16:creationId xmlns:a16="http://schemas.microsoft.com/office/drawing/2014/main" id="{E3842B6C-D7FF-47BD-ACB7-F2EBF21DA10E}"/>
                    </a:ext>
                  </a:extLst>
                </p:cNvPr>
                <p:cNvSpPr/>
                <p:nvPr/>
              </p:nvSpPr>
              <p:spPr>
                <a:xfrm>
                  <a:off x="858446" y="1792235"/>
                  <a:ext cx="41901" cy="29813"/>
                </a:xfrm>
                <a:custGeom>
                  <a:avLst/>
                  <a:gdLst>
                    <a:gd name="connsiteX0" fmla="*/ 35264 w 41901"/>
                    <a:gd name="connsiteY0" fmla="*/ 29814 h 29813"/>
                    <a:gd name="connsiteX1" fmla="*/ 31970 w 41901"/>
                    <a:gd name="connsiteY1" fmla="*/ 28916 h 29813"/>
                    <a:gd name="connsiteX2" fmla="*/ 3314 w 41901"/>
                    <a:gd name="connsiteY2" fmla="*/ 12357 h 29813"/>
                    <a:gd name="connsiteX3" fmla="*/ 888 w 41901"/>
                    <a:gd name="connsiteY3" fmla="*/ 3314 h 29813"/>
                    <a:gd name="connsiteX4" fmla="*/ 9931 w 41901"/>
                    <a:gd name="connsiteY4" fmla="*/ 888 h 29813"/>
                    <a:gd name="connsiteX5" fmla="*/ 38587 w 41901"/>
                    <a:gd name="connsiteY5" fmla="*/ 17447 h 29813"/>
                    <a:gd name="connsiteX6" fmla="*/ 41013 w 41901"/>
                    <a:gd name="connsiteY6" fmla="*/ 26490 h 29813"/>
                    <a:gd name="connsiteX7" fmla="*/ 35264 w 41901"/>
                    <a:gd name="connsiteY7" fmla="*/ 29814 h 2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01" h="29813">
                      <a:moveTo>
                        <a:pt x="35264" y="29814"/>
                      </a:moveTo>
                      <a:cubicBezTo>
                        <a:pt x="34156" y="29814"/>
                        <a:pt x="33018" y="29514"/>
                        <a:pt x="31970" y="28916"/>
                      </a:cubicBezTo>
                      <a:lnTo>
                        <a:pt x="3314" y="12357"/>
                      </a:lnTo>
                      <a:cubicBezTo>
                        <a:pt x="140" y="10530"/>
                        <a:pt x="-938" y="6488"/>
                        <a:pt x="888" y="3314"/>
                      </a:cubicBezTo>
                      <a:cubicBezTo>
                        <a:pt x="2715" y="140"/>
                        <a:pt x="6757" y="-938"/>
                        <a:pt x="9931" y="888"/>
                      </a:cubicBezTo>
                      <a:lnTo>
                        <a:pt x="38587" y="17447"/>
                      </a:lnTo>
                      <a:cubicBezTo>
                        <a:pt x="41761" y="19274"/>
                        <a:pt x="42839" y="23316"/>
                        <a:pt x="41013" y="26490"/>
                      </a:cubicBezTo>
                      <a:cubicBezTo>
                        <a:pt x="39755" y="28616"/>
                        <a:pt x="37539" y="29814"/>
                        <a:pt x="35264" y="29814"/>
                      </a:cubicBezTo>
                      <a:close/>
                    </a:path>
                  </a:pathLst>
                </a:custGeom>
                <a:solidFill>
                  <a:schemeClr val="accent1"/>
                </a:solidFill>
                <a:ln w="2991" cap="flat">
                  <a:noFill/>
                  <a:prstDash val="solid"/>
                  <a:miter/>
                </a:ln>
              </p:spPr>
              <p:txBody>
                <a:bodyPr rtlCol="0" anchor="ctr"/>
                <a:lstStyle/>
                <a:p>
                  <a:endParaRPr lang="en-GB" dirty="0"/>
                </a:p>
              </p:txBody>
            </p:sp>
            <p:sp>
              <p:nvSpPr>
                <p:cNvPr id="244" name="Freihandform: Form 243">
                  <a:extLst>
                    <a:ext uri="{FF2B5EF4-FFF2-40B4-BE49-F238E27FC236}">
                      <a16:creationId xmlns:a16="http://schemas.microsoft.com/office/drawing/2014/main" id="{32F9F35B-79C0-4E53-A43B-04E66048C1A3}"/>
                    </a:ext>
                  </a:extLst>
                </p:cNvPr>
                <p:cNvSpPr/>
                <p:nvPr/>
              </p:nvSpPr>
              <p:spPr>
                <a:xfrm>
                  <a:off x="858416" y="1904763"/>
                  <a:ext cx="41901" cy="29813"/>
                </a:xfrm>
                <a:custGeom>
                  <a:avLst/>
                  <a:gdLst>
                    <a:gd name="connsiteX0" fmla="*/ 6638 w 41901"/>
                    <a:gd name="connsiteY0" fmla="*/ 29814 h 29813"/>
                    <a:gd name="connsiteX1" fmla="*/ 888 w 41901"/>
                    <a:gd name="connsiteY1" fmla="*/ 26490 h 29813"/>
                    <a:gd name="connsiteX2" fmla="*/ 3314 w 41901"/>
                    <a:gd name="connsiteY2" fmla="*/ 17447 h 29813"/>
                    <a:gd name="connsiteX3" fmla="*/ 31970 w 41901"/>
                    <a:gd name="connsiteY3" fmla="*/ 888 h 29813"/>
                    <a:gd name="connsiteX4" fmla="*/ 41013 w 41901"/>
                    <a:gd name="connsiteY4" fmla="*/ 3314 h 29813"/>
                    <a:gd name="connsiteX5" fmla="*/ 38587 w 41901"/>
                    <a:gd name="connsiteY5" fmla="*/ 12357 h 29813"/>
                    <a:gd name="connsiteX6" fmla="*/ 9931 w 41901"/>
                    <a:gd name="connsiteY6" fmla="*/ 28916 h 29813"/>
                    <a:gd name="connsiteX7" fmla="*/ 6638 w 41901"/>
                    <a:gd name="connsiteY7" fmla="*/ 29814 h 29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901" h="29813">
                      <a:moveTo>
                        <a:pt x="6638" y="29814"/>
                      </a:moveTo>
                      <a:cubicBezTo>
                        <a:pt x="4362" y="29814"/>
                        <a:pt x="2116" y="28616"/>
                        <a:pt x="888" y="26490"/>
                      </a:cubicBezTo>
                      <a:cubicBezTo>
                        <a:pt x="-938" y="23316"/>
                        <a:pt x="140" y="19274"/>
                        <a:pt x="3314" y="17447"/>
                      </a:cubicBezTo>
                      <a:lnTo>
                        <a:pt x="31970" y="888"/>
                      </a:lnTo>
                      <a:cubicBezTo>
                        <a:pt x="35144" y="-938"/>
                        <a:pt x="39186" y="140"/>
                        <a:pt x="41013" y="3314"/>
                      </a:cubicBezTo>
                      <a:cubicBezTo>
                        <a:pt x="42839" y="6488"/>
                        <a:pt x="41761" y="10530"/>
                        <a:pt x="38587" y="12357"/>
                      </a:cubicBezTo>
                      <a:lnTo>
                        <a:pt x="9931" y="28916"/>
                      </a:lnTo>
                      <a:cubicBezTo>
                        <a:pt x="8913" y="29514"/>
                        <a:pt x="7746" y="29814"/>
                        <a:pt x="6638" y="29814"/>
                      </a:cubicBezTo>
                      <a:close/>
                    </a:path>
                  </a:pathLst>
                </a:custGeom>
                <a:solidFill>
                  <a:schemeClr val="accent1"/>
                </a:solidFill>
                <a:ln w="2991" cap="flat">
                  <a:noFill/>
                  <a:prstDash val="solid"/>
                  <a:miter/>
                </a:ln>
              </p:spPr>
              <p:txBody>
                <a:bodyPr rtlCol="0" anchor="ctr"/>
                <a:lstStyle/>
                <a:p>
                  <a:endParaRPr lang="en-GB" dirty="0"/>
                </a:p>
              </p:txBody>
            </p:sp>
          </p:grpSp>
        </p:grpSp>
      </p:grpSp>
      <p:grpSp>
        <p:nvGrpSpPr>
          <p:cNvPr id="12" name="Group 11">
            <a:extLst>
              <a:ext uri="{FF2B5EF4-FFF2-40B4-BE49-F238E27FC236}">
                <a16:creationId xmlns:a16="http://schemas.microsoft.com/office/drawing/2014/main" id="{5EDCC247-B563-3713-F17B-593C975FAEAE}"/>
              </a:ext>
            </a:extLst>
          </p:cNvPr>
          <p:cNvGrpSpPr/>
          <p:nvPr/>
        </p:nvGrpSpPr>
        <p:grpSpPr>
          <a:xfrm>
            <a:off x="533412" y="3273395"/>
            <a:ext cx="521275" cy="431996"/>
            <a:chOff x="533412" y="3273395"/>
            <a:chExt cx="521275" cy="431996"/>
          </a:xfrm>
        </p:grpSpPr>
        <p:grpSp>
          <p:nvGrpSpPr>
            <p:cNvPr id="253" name="Group 1080">
              <a:extLst>
                <a:ext uri="{FF2B5EF4-FFF2-40B4-BE49-F238E27FC236}">
                  <a16:creationId xmlns:a16="http://schemas.microsoft.com/office/drawing/2014/main" id="{3BA7922F-1066-4973-BFCD-654CC1FE0555}"/>
                </a:ext>
              </a:extLst>
            </p:cNvPr>
            <p:cNvGrpSpPr/>
            <p:nvPr/>
          </p:nvGrpSpPr>
          <p:grpSpPr>
            <a:xfrm>
              <a:off x="533412" y="3273395"/>
              <a:ext cx="491458" cy="357450"/>
              <a:chOff x="906945" y="3298115"/>
              <a:chExt cx="436846" cy="317730"/>
            </a:xfrm>
            <a:solidFill>
              <a:schemeClr val="tx2"/>
            </a:solidFill>
          </p:grpSpPr>
          <p:sp>
            <p:nvSpPr>
              <p:cNvPr id="267" name="Freihandform: Form 266">
                <a:extLst>
                  <a:ext uri="{FF2B5EF4-FFF2-40B4-BE49-F238E27FC236}">
                    <a16:creationId xmlns:a16="http://schemas.microsoft.com/office/drawing/2014/main" id="{BB8CBAF3-548D-4685-B468-E28961D8B8FB}"/>
                  </a:ext>
                </a:extLst>
              </p:cNvPr>
              <p:cNvSpPr/>
              <p:nvPr/>
            </p:nvSpPr>
            <p:spPr>
              <a:xfrm>
                <a:off x="906945" y="3298145"/>
                <a:ext cx="436846" cy="317700"/>
              </a:xfrm>
              <a:custGeom>
                <a:avLst/>
                <a:gdLst>
                  <a:gd name="connsiteX0" fmla="*/ 297848 w 436846"/>
                  <a:gd name="connsiteY0" fmla="*/ 317701 h 317700"/>
                  <a:gd name="connsiteX1" fmla="*/ 39705 w 436846"/>
                  <a:gd name="connsiteY1" fmla="*/ 317701 h 317700"/>
                  <a:gd name="connsiteX2" fmla="*/ 0 w 436846"/>
                  <a:gd name="connsiteY2" fmla="*/ 277996 h 317700"/>
                  <a:gd name="connsiteX3" fmla="*/ 0 w 436846"/>
                  <a:gd name="connsiteY3" fmla="*/ 39705 h 317700"/>
                  <a:gd name="connsiteX4" fmla="*/ 39705 w 436846"/>
                  <a:gd name="connsiteY4" fmla="*/ 0 h 317700"/>
                  <a:gd name="connsiteX5" fmla="*/ 397141 w 436846"/>
                  <a:gd name="connsiteY5" fmla="*/ 0 h 317700"/>
                  <a:gd name="connsiteX6" fmla="*/ 436846 w 436846"/>
                  <a:gd name="connsiteY6" fmla="*/ 39705 h 317700"/>
                  <a:gd name="connsiteX7" fmla="*/ 436846 w 436846"/>
                  <a:gd name="connsiteY7" fmla="*/ 284613 h 317700"/>
                  <a:gd name="connsiteX8" fmla="*/ 430229 w 436846"/>
                  <a:gd name="connsiteY8" fmla="*/ 291231 h 317700"/>
                  <a:gd name="connsiteX9" fmla="*/ 423611 w 436846"/>
                  <a:gd name="connsiteY9" fmla="*/ 284613 h 317700"/>
                  <a:gd name="connsiteX10" fmla="*/ 423611 w 436846"/>
                  <a:gd name="connsiteY10" fmla="*/ 39705 h 317700"/>
                  <a:gd name="connsiteX11" fmla="*/ 397141 w 436846"/>
                  <a:gd name="connsiteY11" fmla="*/ 13235 h 317700"/>
                  <a:gd name="connsiteX12" fmla="*/ 39705 w 436846"/>
                  <a:gd name="connsiteY12" fmla="*/ 13235 h 317700"/>
                  <a:gd name="connsiteX13" fmla="*/ 13235 w 436846"/>
                  <a:gd name="connsiteY13" fmla="*/ 39705 h 317700"/>
                  <a:gd name="connsiteX14" fmla="*/ 13235 w 436846"/>
                  <a:gd name="connsiteY14" fmla="*/ 277996 h 317700"/>
                  <a:gd name="connsiteX15" fmla="*/ 39705 w 436846"/>
                  <a:gd name="connsiteY15" fmla="*/ 304466 h 317700"/>
                  <a:gd name="connsiteX16" fmla="*/ 297848 w 436846"/>
                  <a:gd name="connsiteY16" fmla="*/ 304466 h 317700"/>
                  <a:gd name="connsiteX17" fmla="*/ 304466 w 436846"/>
                  <a:gd name="connsiteY17" fmla="*/ 311083 h 317700"/>
                  <a:gd name="connsiteX18" fmla="*/ 297848 w 436846"/>
                  <a:gd name="connsiteY18" fmla="*/ 317701 h 31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36846" h="317700">
                    <a:moveTo>
                      <a:pt x="297848" y="317701"/>
                    </a:moveTo>
                    <a:lnTo>
                      <a:pt x="39705" y="317701"/>
                    </a:lnTo>
                    <a:cubicBezTo>
                      <a:pt x="17816" y="317701"/>
                      <a:pt x="0" y="299884"/>
                      <a:pt x="0" y="277996"/>
                    </a:cubicBezTo>
                    <a:lnTo>
                      <a:pt x="0" y="39705"/>
                    </a:lnTo>
                    <a:cubicBezTo>
                      <a:pt x="0" y="17816"/>
                      <a:pt x="17816" y="0"/>
                      <a:pt x="39705" y="0"/>
                    </a:cubicBezTo>
                    <a:lnTo>
                      <a:pt x="397141" y="0"/>
                    </a:lnTo>
                    <a:cubicBezTo>
                      <a:pt x="419030" y="0"/>
                      <a:pt x="436846" y="17816"/>
                      <a:pt x="436846" y="39705"/>
                    </a:cubicBezTo>
                    <a:lnTo>
                      <a:pt x="436846" y="284613"/>
                    </a:lnTo>
                    <a:cubicBezTo>
                      <a:pt x="436846" y="288266"/>
                      <a:pt x="433882" y="291231"/>
                      <a:pt x="430229" y="291231"/>
                    </a:cubicBezTo>
                    <a:cubicBezTo>
                      <a:pt x="426576" y="291231"/>
                      <a:pt x="423611" y="288266"/>
                      <a:pt x="423611" y="284613"/>
                    </a:cubicBezTo>
                    <a:lnTo>
                      <a:pt x="423611" y="39705"/>
                    </a:lnTo>
                    <a:cubicBezTo>
                      <a:pt x="423611" y="25093"/>
                      <a:pt x="411724" y="13235"/>
                      <a:pt x="397141" y="13235"/>
                    </a:cubicBezTo>
                    <a:lnTo>
                      <a:pt x="39705" y="13235"/>
                    </a:lnTo>
                    <a:cubicBezTo>
                      <a:pt x="25093" y="13235"/>
                      <a:pt x="13235" y="25123"/>
                      <a:pt x="13235" y="39705"/>
                    </a:cubicBezTo>
                    <a:lnTo>
                      <a:pt x="13235" y="277996"/>
                    </a:lnTo>
                    <a:cubicBezTo>
                      <a:pt x="13235" y="292608"/>
                      <a:pt x="25123" y="304466"/>
                      <a:pt x="39705" y="304466"/>
                    </a:cubicBezTo>
                    <a:lnTo>
                      <a:pt x="297848" y="304466"/>
                    </a:lnTo>
                    <a:cubicBezTo>
                      <a:pt x="301501" y="304466"/>
                      <a:pt x="304466" y="307430"/>
                      <a:pt x="304466" y="311083"/>
                    </a:cubicBezTo>
                    <a:cubicBezTo>
                      <a:pt x="304496" y="314736"/>
                      <a:pt x="301531" y="317701"/>
                      <a:pt x="297848" y="317701"/>
                    </a:cubicBezTo>
                    <a:close/>
                  </a:path>
                </a:pathLst>
              </a:custGeom>
              <a:grpFill/>
              <a:ln w="2991" cap="flat">
                <a:noFill/>
                <a:prstDash val="solid"/>
                <a:miter/>
              </a:ln>
            </p:spPr>
            <p:txBody>
              <a:bodyPr rtlCol="0" anchor="ctr"/>
              <a:lstStyle/>
              <a:p>
                <a:endParaRPr lang="en-GB" dirty="0"/>
              </a:p>
            </p:txBody>
          </p:sp>
          <p:sp>
            <p:nvSpPr>
              <p:cNvPr id="268" name="Freihandform: Form 267">
                <a:extLst>
                  <a:ext uri="{FF2B5EF4-FFF2-40B4-BE49-F238E27FC236}">
                    <a16:creationId xmlns:a16="http://schemas.microsoft.com/office/drawing/2014/main" id="{58CC1C5D-604E-46C9-BAB6-F161B8DD9BF3}"/>
                  </a:ext>
                </a:extLst>
              </p:cNvPr>
              <p:cNvSpPr/>
              <p:nvPr/>
            </p:nvSpPr>
            <p:spPr>
              <a:xfrm>
                <a:off x="1244528" y="3298115"/>
                <a:ext cx="13235" cy="238290"/>
              </a:xfrm>
              <a:custGeom>
                <a:avLst/>
                <a:gdLst>
                  <a:gd name="connsiteX0" fmla="*/ 6617 w 13235"/>
                  <a:gd name="connsiteY0" fmla="*/ 238291 h 238290"/>
                  <a:gd name="connsiteX1" fmla="*/ 0 w 13235"/>
                  <a:gd name="connsiteY1" fmla="*/ 231673 h 238290"/>
                  <a:gd name="connsiteX2" fmla="*/ 0 w 13235"/>
                  <a:gd name="connsiteY2" fmla="*/ 6618 h 238290"/>
                  <a:gd name="connsiteX3" fmla="*/ 6617 w 13235"/>
                  <a:gd name="connsiteY3" fmla="*/ 0 h 238290"/>
                  <a:gd name="connsiteX4" fmla="*/ 13235 w 13235"/>
                  <a:gd name="connsiteY4" fmla="*/ 6618 h 238290"/>
                  <a:gd name="connsiteX5" fmla="*/ 13235 w 13235"/>
                  <a:gd name="connsiteY5" fmla="*/ 231673 h 238290"/>
                  <a:gd name="connsiteX6" fmla="*/ 6617 w 13235"/>
                  <a:gd name="connsiteY6" fmla="*/ 238291 h 2382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238290">
                    <a:moveTo>
                      <a:pt x="6617" y="238291"/>
                    </a:moveTo>
                    <a:cubicBezTo>
                      <a:pt x="2964" y="238291"/>
                      <a:pt x="0" y="235326"/>
                      <a:pt x="0" y="231673"/>
                    </a:cubicBezTo>
                    <a:lnTo>
                      <a:pt x="0" y="6618"/>
                    </a:lnTo>
                    <a:cubicBezTo>
                      <a:pt x="0" y="2964"/>
                      <a:pt x="2964" y="0"/>
                      <a:pt x="6617" y="0"/>
                    </a:cubicBezTo>
                    <a:cubicBezTo>
                      <a:pt x="10271" y="0"/>
                      <a:pt x="13235" y="2964"/>
                      <a:pt x="13235" y="6618"/>
                    </a:cubicBezTo>
                    <a:lnTo>
                      <a:pt x="13235" y="231673"/>
                    </a:lnTo>
                    <a:cubicBezTo>
                      <a:pt x="13235" y="235326"/>
                      <a:pt x="10271" y="238291"/>
                      <a:pt x="6617" y="238291"/>
                    </a:cubicBezTo>
                    <a:close/>
                  </a:path>
                </a:pathLst>
              </a:custGeom>
              <a:grpFill/>
              <a:ln w="2991" cap="flat">
                <a:noFill/>
                <a:prstDash val="solid"/>
                <a:miter/>
              </a:ln>
            </p:spPr>
            <p:txBody>
              <a:bodyPr rtlCol="0" anchor="ctr"/>
              <a:lstStyle/>
              <a:p>
                <a:endParaRPr lang="en-GB" dirty="0"/>
              </a:p>
            </p:txBody>
          </p:sp>
          <p:grpSp>
            <p:nvGrpSpPr>
              <p:cNvPr id="269" name="Grafik 306">
                <a:extLst>
                  <a:ext uri="{FF2B5EF4-FFF2-40B4-BE49-F238E27FC236}">
                    <a16:creationId xmlns:a16="http://schemas.microsoft.com/office/drawing/2014/main" id="{AEB9FE15-43FB-4AAD-9B8C-00ED7603A655}"/>
                  </a:ext>
                </a:extLst>
              </p:cNvPr>
              <p:cNvGrpSpPr/>
              <p:nvPr/>
            </p:nvGrpSpPr>
            <p:grpSpPr>
              <a:xfrm>
                <a:off x="940047" y="3355786"/>
                <a:ext cx="291260" cy="174001"/>
                <a:chOff x="940047" y="3355786"/>
                <a:chExt cx="291260" cy="174001"/>
              </a:xfrm>
              <a:grpFill/>
            </p:grpSpPr>
            <p:sp>
              <p:nvSpPr>
                <p:cNvPr id="279" name="Freihandform: Form 278">
                  <a:extLst>
                    <a:ext uri="{FF2B5EF4-FFF2-40B4-BE49-F238E27FC236}">
                      <a16:creationId xmlns:a16="http://schemas.microsoft.com/office/drawing/2014/main" id="{24273DF7-80EB-4DE2-AFF2-C45A6707B62D}"/>
                    </a:ext>
                  </a:extLst>
                </p:cNvPr>
                <p:cNvSpPr/>
                <p:nvPr/>
              </p:nvSpPr>
              <p:spPr>
                <a:xfrm>
                  <a:off x="940047" y="3445138"/>
                  <a:ext cx="155766" cy="84650"/>
                </a:xfrm>
                <a:custGeom>
                  <a:avLst/>
                  <a:gdLst>
                    <a:gd name="connsiteX0" fmla="*/ 149164 w 155766"/>
                    <a:gd name="connsiteY0" fmla="*/ 84650 h 84650"/>
                    <a:gd name="connsiteX1" fmla="*/ 144492 w 155766"/>
                    <a:gd name="connsiteY1" fmla="*/ 82704 h 84650"/>
                    <a:gd name="connsiteX2" fmla="*/ 77778 w 155766"/>
                    <a:gd name="connsiteY2" fmla="*/ 15990 h 84650"/>
                    <a:gd name="connsiteX3" fmla="*/ 11304 w 155766"/>
                    <a:gd name="connsiteY3" fmla="*/ 82464 h 84650"/>
                    <a:gd name="connsiteX4" fmla="*/ 1931 w 155766"/>
                    <a:gd name="connsiteY4" fmla="*/ 82464 h 84650"/>
                    <a:gd name="connsiteX5" fmla="*/ 1931 w 155766"/>
                    <a:gd name="connsiteY5" fmla="*/ 73092 h 84650"/>
                    <a:gd name="connsiteX6" fmla="*/ 73077 w 155766"/>
                    <a:gd name="connsiteY6" fmla="*/ 1946 h 84650"/>
                    <a:gd name="connsiteX7" fmla="*/ 77748 w 155766"/>
                    <a:gd name="connsiteY7" fmla="*/ 0 h 84650"/>
                    <a:gd name="connsiteX8" fmla="*/ 77748 w 155766"/>
                    <a:gd name="connsiteY8" fmla="*/ 0 h 84650"/>
                    <a:gd name="connsiteX9" fmla="*/ 82420 w 155766"/>
                    <a:gd name="connsiteY9" fmla="*/ 1946 h 84650"/>
                    <a:gd name="connsiteX10" fmla="*/ 153835 w 155766"/>
                    <a:gd name="connsiteY10" fmla="*/ 73362 h 84650"/>
                    <a:gd name="connsiteX11" fmla="*/ 153835 w 155766"/>
                    <a:gd name="connsiteY11" fmla="*/ 82734 h 84650"/>
                    <a:gd name="connsiteX12" fmla="*/ 149164 w 155766"/>
                    <a:gd name="connsiteY12" fmla="*/ 84650 h 84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5766" h="84650">
                      <a:moveTo>
                        <a:pt x="149164" y="84650"/>
                      </a:moveTo>
                      <a:cubicBezTo>
                        <a:pt x="147457" y="84650"/>
                        <a:pt x="145780" y="83992"/>
                        <a:pt x="144492" y="82704"/>
                      </a:cubicBezTo>
                      <a:lnTo>
                        <a:pt x="77778" y="15990"/>
                      </a:lnTo>
                      <a:lnTo>
                        <a:pt x="11304" y="82464"/>
                      </a:lnTo>
                      <a:cubicBezTo>
                        <a:pt x="8729" y="85040"/>
                        <a:pt x="4536" y="85040"/>
                        <a:pt x="1931" y="82464"/>
                      </a:cubicBezTo>
                      <a:cubicBezTo>
                        <a:pt x="-644" y="79889"/>
                        <a:pt x="-644" y="75697"/>
                        <a:pt x="1931" y="73092"/>
                      </a:cubicBezTo>
                      <a:lnTo>
                        <a:pt x="73077" y="1946"/>
                      </a:lnTo>
                      <a:cubicBezTo>
                        <a:pt x="74305" y="719"/>
                        <a:pt x="76012" y="0"/>
                        <a:pt x="77748" y="0"/>
                      </a:cubicBezTo>
                      <a:lnTo>
                        <a:pt x="77748" y="0"/>
                      </a:lnTo>
                      <a:cubicBezTo>
                        <a:pt x="79515" y="0"/>
                        <a:pt x="81192" y="689"/>
                        <a:pt x="82420" y="1946"/>
                      </a:cubicBezTo>
                      <a:lnTo>
                        <a:pt x="153835" y="73362"/>
                      </a:lnTo>
                      <a:cubicBezTo>
                        <a:pt x="156410" y="75937"/>
                        <a:pt x="156410" y="80129"/>
                        <a:pt x="153835" y="82734"/>
                      </a:cubicBezTo>
                      <a:cubicBezTo>
                        <a:pt x="152547" y="83992"/>
                        <a:pt x="150870" y="84650"/>
                        <a:pt x="149164" y="84650"/>
                      </a:cubicBezTo>
                      <a:close/>
                    </a:path>
                  </a:pathLst>
                </a:custGeom>
                <a:grpFill/>
                <a:ln w="2991" cap="flat">
                  <a:noFill/>
                  <a:prstDash val="solid"/>
                  <a:miter/>
                </a:ln>
              </p:spPr>
              <p:txBody>
                <a:bodyPr rtlCol="0" anchor="ctr"/>
                <a:lstStyle/>
                <a:p>
                  <a:endParaRPr lang="en-GB" dirty="0"/>
                </a:p>
              </p:txBody>
            </p:sp>
            <p:sp>
              <p:nvSpPr>
                <p:cNvPr id="280" name="Freihandform: Form 279">
                  <a:extLst>
                    <a:ext uri="{FF2B5EF4-FFF2-40B4-BE49-F238E27FC236}">
                      <a16:creationId xmlns:a16="http://schemas.microsoft.com/office/drawing/2014/main" id="{0480D703-F07D-469F-8A1E-CA99B6CA7586}"/>
                    </a:ext>
                  </a:extLst>
                </p:cNvPr>
                <p:cNvSpPr/>
                <p:nvPr/>
              </p:nvSpPr>
              <p:spPr>
                <a:xfrm>
                  <a:off x="1060450" y="3402161"/>
                  <a:ext cx="170857" cy="102953"/>
                </a:xfrm>
                <a:custGeom>
                  <a:avLst/>
                  <a:gdLst>
                    <a:gd name="connsiteX0" fmla="*/ 6603 w 170857"/>
                    <a:gd name="connsiteY0" fmla="*/ 102953 h 102953"/>
                    <a:gd name="connsiteX1" fmla="*/ 1931 w 170857"/>
                    <a:gd name="connsiteY1" fmla="*/ 101007 h 102953"/>
                    <a:gd name="connsiteX2" fmla="*/ 1931 w 170857"/>
                    <a:gd name="connsiteY2" fmla="*/ 91635 h 102953"/>
                    <a:gd name="connsiteX3" fmla="*/ 91702 w 170857"/>
                    <a:gd name="connsiteY3" fmla="*/ 1864 h 102953"/>
                    <a:gd name="connsiteX4" fmla="*/ 101074 w 170857"/>
                    <a:gd name="connsiteY4" fmla="*/ 1864 h 102953"/>
                    <a:gd name="connsiteX5" fmla="*/ 168926 w 170857"/>
                    <a:gd name="connsiteY5" fmla="*/ 69716 h 102953"/>
                    <a:gd name="connsiteX6" fmla="*/ 168926 w 170857"/>
                    <a:gd name="connsiteY6" fmla="*/ 79088 h 102953"/>
                    <a:gd name="connsiteX7" fmla="*/ 159554 w 170857"/>
                    <a:gd name="connsiteY7" fmla="*/ 79088 h 102953"/>
                    <a:gd name="connsiteX8" fmla="*/ 96373 w 170857"/>
                    <a:gd name="connsiteY8" fmla="*/ 15907 h 102953"/>
                    <a:gd name="connsiteX9" fmla="*/ 11304 w 170857"/>
                    <a:gd name="connsiteY9" fmla="*/ 101007 h 102953"/>
                    <a:gd name="connsiteX10" fmla="*/ 6603 w 170857"/>
                    <a:gd name="connsiteY10" fmla="*/ 102953 h 10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0857" h="102953">
                      <a:moveTo>
                        <a:pt x="6603" y="102953"/>
                      </a:moveTo>
                      <a:cubicBezTo>
                        <a:pt x="4896" y="102953"/>
                        <a:pt x="3219" y="102295"/>
                        <a:pt x="1931" y="101007"/>
                      </a:cubicBezTo>
                      <a:cubicBezTo>
                        <a:pt x="-644" y="98432"/>
                        <a:pt x="-644" y="94240"/>
                        <a:pt x="1931" y="91635"/>
                      </a:cubicBezTo>
                      <a:lnTo>
                        <a:pt x="91702" y="1864"/>
                      </a:lnTo>
                      <a:cubicBezTo>
                        <a:pt x="94187" y="-621"/>
                        <a:pt x="98589" y="-621"/>
                        <a:pt x="101074" y="1864"/>
                      </a:cubicBezTo>
                      <a:lnTo>
                        <a:pt x="168926" y="69716"/>
                      </a:lnTo>
                      <a:cubicBezTo>
                        <a:pt x="171502" y="72291"/>
                        <a:pt x="171502" y="76483"/>
                        <a:pt x="168926" y="79088"/>
                      </a:cubicBezTo>
                      <a:cubicBezTo>
                        <a:pt x="166351" y="81663"/>
                        <a:pt x="162159" y="81663"/>
                        <a:pt x="159554" y="79088"/>
                      </a:cubicBezTo>
                      <a:lnTo>
                        <a:pt x="96373" y="15907"/>
                      </a:lnTo>
                      <a:lnTo>
                        <a:pt x="11304" y="101007"/>
                      </a:lnTo>
                      <a:cubicBezTo>
                        <a:pt x="9986" y="102295"/>
                        <a:pt x="8279" y="102953"/>
                        <a:pt x="6603" y="102953"/>
                      </a:cubicBezTo>
                      <a:close/>
                    </a:path>
                  </a:pathLst>
                </a:custGeom>
                <a:grpFill/>
                <a:ln w="2991" cap="flat">
                  <a:noFill/>
                  <a:prstDash val="solid"/>
                  <a:miter/>
                </a:ln>
              </p:spPr>
              <p:txBody>
                <a:bodyPr rtlCol="0" anchor="ctr"/>
                <a:lstStyle/>
                <a:p>
                  <a:endParaRPr lang="en-GB" dirty="0"/>
                </a:p>
              </p:txBody>
            </p:sp>
            <p:sp>
              <p:nvSpPr>
                <p:cNvPr id="281" name="Freihandform: Form 280">
                  <a:extLst>
                    <a:ext uri="{FF2B5EF4-FFF2-40B4-BE49-F238E27FC236}">
                      <a16:creationId xmlns:a16="http://schemas.microsoft.com/office/drawing/2014/main" id="{6E15F9E4-D00F-44EC-9B59-353C1CC099BF}"/>
                    </a:ext>
                  </a:extLst>
                </p:cNvPr>
                <p:cNvSpPr/>
                <p:nvPr/>
              </p:nvSpPr>
              <p:spPr>
                <a:xfrm>
                  <a:off x="959915" y="3355786"/>
                  <a:ext cx="52940" cy="52940"/>
                </a:xfrm>
                <a:custGeom>
                  <a:avLst/>
                  <a:gdLst>
                    <a:gd name="connsiteX0" fmla="*/ 26470 w 52940"/>
                    <a:gd name="connsiteY0" fmla="*/ 52940 h 52940"/>
                    <a:gd name="connsiteX1" fmla="*/ 0 w 52940"/>
                    <a:gd name="connsiteY1" fmla="*/ 26470 h 52940"/>
                    <a:gd name="connsiteX2" fmla="*/ 26470 w 52940"/>
                    <a:gd name="connsiteY2" fmla="*/ 0 h 52940"/>
                    <a:gd name="connsiteX3" fmla="*/ 52940 w 52940"/>
                    <a:gd name="connsiteY3" fmla="*/ 26470 h 52940"/>
                    <a:gd name="connsiteX4" fmla="*/ 26470 w 52940"/>
                    <a:gd name="connsiteY4" fmla="*/ 52940 h 52940"/>
                    <a:gd name="connsiteX5" fmla="*/ 26470 w 52940"/>
                    <a:gd name="connsiteY5" fmla="*/ 13205 h 52940"/>
                    <a:gd name="connsiteX6" fmla="*/ 13235 w 52940"/>
                    <a:gd name="connsiteY6" fmla="*/ 26440 h 52940"/>
                    <a:gd name="connsiteX7" fmla="*/ 26470 w 52940"/>
                    <a:gd name="connsiteY7" fmla="*/ 39675 h 52940"/>
                    <a:gd name="connsiteX8" fmla="*/ 39705 w 52940"/>
                    <a:gd name="connsiteY8" fmla="*/ 26440 h 52940"/>
                    <a:gd name="connsiteX9" fmla="*/ 26470 w 52940"/>
                    <a:gd name="connsiteY9" fmla="*/ 13205 h 5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940" h="52940">
                      <a:moveTo>
                        <a:pt x="26470" y="52940"/>
                      </a:moveTo>
                      <a:cubicBezTo>
                        <a:pt x="11858" y="52940"/>
                        <a:pt x="0" y="41053"/>
                        <a:pt x="0" y="26470"/>
                      </a:cubicBezTo>
                      <a:cubicBezTo>
                        <a:pt x="0" y="11858"/>
                        <a:pt x="11888" y="0"/>
                        <a:pt x="26470" y="0"/>
                      </a:cubicBezTo>
                      <a:cubicBezTo>
                        <a:pt x="41053" y="0"/>
                        <a:pt x="52940" y="11888"/>
                        <a:pt x="52940" y="26470"/>
                      </a:cubicBezTo>
                      <a:cubicBezTo>
                        <a:pt x="52940" y="41053"/>
                        <a:pt x="41053" y="52940"/>
                        <a:pt x="26470" y="52940"/>
                      </a:cubicBezTo>
                      <a:close/>
                      <a:moveTo>
                        <a:pt x="26470" y="13205"/>
                      </a:moveTo>
                      <a:cubicBezTo>
                        <a:pt x="19164" y="13205"/>
                        <a:pt x="13235" y="19134"/>
                        <a:pt x="13235" y="26440"/>
                      </a:cubicBezTo>
                      <a:cubicBezTo>
                        <a:pt x="13235" y="33746"/>
                        <a:pt x="19164" y="39675"/>
                        <a:pt x="26470" y="39675"/>
                      </a:cubicBezTo>
                      <a:cubicBezTo>
                        <a:pt x="33776" y="39675"/>
                        <a:pt x="39705" y="33746"/>
                        <a:pt x="39705" y="26440"/>
                      </a:cubicBezTo>
                      <a:cubicBezTo>
                        <a:pt x="39705" y="19164"/>
                        <a:pt x="33776" y="13205"/>
                        <a:pt x="26470" y="13205"/>
                      </a:cubicBezTo>
                      <a:close/>
                    </a:path>
                  </a:pathLst>
                </a:custGeom>
                <a:grpFill/>
                <a:ln w="2991" cap="flat">
                  <a:noFill/>
                  <a:prstDash val="solid"/>
                  <a:miter/>
                </a:ln>
              </p:spPr>
              <p:txBody>
                <a:bodyPr rtlCol="0" anchor="ctr"/>
                <a:lstStyle/>
                <a:p>
                  <a:endParaRPr lang="en-GB" dirty="0"/>
                </a:p>
              </p:txBody>
            </p:sp>
            <p:sp>
              <p:nvSpPr>
                <p:cNvPr id="282" name="Freihandform: Form 281">
                  <a:extLst>
                    <a:ext uri="{FF2B5EF4-FFF2-40B4-BE49-F238E27FC236}">
                      <a16:creationId xmlns:a16="http://schemas.microsoft.com/office/drawing/2014/main" id="{77C1DE38-71FE-43AE-AFD2-FFFEC6C9BDB5}"/>
                    </a:ext>
                  </a:extLst>
                </p:cNvPr>
                <p:cNvSpPr/>
                <p:nvPr/>
              </p:nvSpPr>
              <p:spPr>
                <a:xfrm>
                  <a:off x="1110486" y="3441590"/>
                  <a:ext cx="92705" cy="33102"/>
                </a:xfrm>
                <a:custGeom>
                  <a:avLst/>
                  <a:gdLst>
                    <a:gd name="connsiteX0" fmla="*/ 66190 w 92705"/>
                    <a:gd name="connsiteY0" fmla="*/ 33103 h 33102"/>
                    <a:gd name="connsiteX1" fmla="*/ 61519 w 92705"/>
                    <a:gd name="connsiteY1" fmla="*/ 31156 h 33102"/>
                    <a:gd name="connsiteX2" fmla="*/ 46338 w 92705"/>
                    <a:gd name="connsiteY2" fmla="*/ 15975 h 33102"/>
                    <a:gd name="connsiteX3" fmla="*/ 31156 w 92705"/>
                    <a:gd name="connsiteY3" fmla="*/ 31156 h 33102"/>
                    <a:gd name="connsiteX4" fmla="*/ 21784 w 92705"/>
                    <a:gd name="connsiteY4" fmla="*/ 31156 h 33102"/>
                    <a:gd name="connsiteX5" fmla="*/ 1931 w 92705"/>
                    <a:gd name="connsiteY5" fmla="*/ 11304 h 33102"/>
                    <a:gd name="connsiteX6" fmla="*/ 1931 w 92705"/>
                    <a:gd name="connsiteY6" fmla="*/ 1931 h 33102"/>
                    <a:gd name="connsiteX7" fmla="*/ 11304 w 92705"/>
                    <a:gd name="connsiteY7" fmla="*/ 1931 h 33102"/>
                    <a:gd name="connsiteX8" fmla="*/ 26485 w 92705"/>
                    <a:gd name="connsiteY8" fmla="*/ 17113 h 33102"/>
                    <a:gd name="connsiteX9" fmla="*/ 41666 w 92705"/>
                    <a:gd name="connsiteY9" fmla="*/ 1931 h 33102"/>
                    <a:gd name="connsiteX10" fmla="*/ 51039 w 92705"/>
                    <a:gd name="connsiteY10" fmla="*/ 1931 h 33102"/>
                    <a:gd name="connsiteX11" fmla="*/ 66220 w 92705"/>
                    <a:gd name="connsiteY11" fmla="*/ 17113 h 33102"/>
                    <a:gd name="connsiteX12" fmla="*/ 81401 w 92705"/>
                    <a:gd name="connsiteY12" fmla="*/ 1931 h 33102"/>
                    <a:gd name="connsiteX13" fmla="*/ 90774 w 92705"/>
                    <a:gd name="connsiteY13" fmla="*/ 1931 h 33102"/>
                    <a:gd name="connsiteX14" fmla="*/ 90774 w 92705"/>
                    <a:gd name="connsiteY14" fmla="*/ 11304 h 33102"/>
                    <a:gd name="connsiteX15" fmla="*/ 70921 w 92705"/>
                    <a:gd name="connsiteY15" fmla="*/ 31156 h 33102"/>
                    <a:gd name="connsiteX16" fmla="*/ 66190 w 92705"/>
                    <a:gd name="connsiteY16" fmla="*/ 33103 h 3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705" h="33102">
                      <a:moveTo>
                        <a:pt x="66190" y="33103"/>
                      </a:moveTo>
                      <a:cubicBezTo>
                        <a:pt x="64483" y="33103"/>
                        <a:pt x="62807" y="32444"/>
                        <a:pt x="61519" y="31156"/>
                      </a:cubicBezTo>
                      <a:lnTo>
                        <a:pt x="46338" y="15975"/>
                      </a:lnTo>
                      <a:lnTo>
                        <a:pt x="31156" y="31156"/>
                      </a:lnTo>
                      <a:cubicBezTo>
                        <a:pt x="28581" y="33731"/>
                        <a:pt x="24389" y="33731"/>
                        <a:pt x="21784" y="31156"/>
                      </a:cubicBezTo>
                      <a:lnTo>
                        <a:pt x="1931" y="11304"/>
                      </a:lnTo>
                      <a:cubicBezTo>
                        <a:pt x="-644" y="8729"/>
                        <a:pt x="-644" y="4536"/>
                        <a:pt x="1931" y="1931"/>
                      </a:cubicBezTo>
                      <a:cubicBezTo>
                        <a:pt x="4507" y="-644"/>
                        <a:pt x="8699" y="-644"/>
                        <a:pt x="11304" y="1931"/>
                      </a:cubicBezTo>
                      <a:lnTo>
                        <a:pt x="26485" y="17113"/>
                      </a:lnTo>
                      <a:lnTo>
                        <a:pt x="41666" y="1931"/>
                      </a:lnTo>
                      <a:cubicBezTo>
                        <a:pt x="44242" y="-644"/>
                        <a:pt x="48434" y="-644"/>
                        <a:pt x="51039" y="1931"/>
                      </a:cubicBezTo>
                      <a:lnTo>
                        <a:pt x="66220" y="17113"/>
                      </a:lnTo>
                      <a:lnTo>
                        <a:pt x="81401" y="1931"/>
                      </a:lnTo>
                      <a:cubicBezTo>
                        <a:pt x="83977" y="-644"/>
                        <a:pt x="88169" y="-644"/>
                        <a:pt x="90774" y="1931"/>
                      </a:cubicBezTo>
                      <a:cubicBezTo>
                        <a:pt x="93349" y="4507"/>
                        <a:pt x="93349" y="8699"/>
                        <a:pt x="90774" y="11304"/>
                      </a:cubicBezTo>
                      <a:lnTo>
                        <a:pt x="70921" y="31156"/>
                      </a:lnTo>
                      <a:cubicBezTo>
                        <a:pt x="69574" y="32474"/>
                        <a:pt x="67867" y="33103"/>
                        <a:pt x="66190" y="33103"/>
                      </a:cubicBezTo>
                      <a:close/>
                    </a:path>
                  </a:pathLst>
                </a:custGeom>
                <a:grpFill/>
                <a:ln w="2991" cap="flat">
                  <a:noFill/>
                  <a:prstDash val="solid"/>
                  <a:miter/>
                </a:ln>
              </p:spPr>
              <p:txBody>
                <a:bodyPr rtlCol="0" anchor="ctr"/>
                <a:lstStyle/>
                <a:p>
                  <a:endParaRPr lang="en-GB" dirty="0"/>
                </a:p>
              </p:txBody>
            </p:sp>
          </p:grpSp>
          <p:grpSp>
            <p:nvGrpSpPr>
              <p:cNvPr id="270" name="Grafik 306">
                <a:extLst>
                  <a:ext uri="{FF2B5EF4-FFF2-40B4-BE49-F238E27FC236}">
                    <a16:creationId xmlns:a16="http://schemas.microsoft.com/office/drawing/2014/main" id="{58179002-F4B7-447E-ABC6-E5A194E09A6B}"/>
                  </a:ext>
                </a:extLst>
              </p:cNvPr>
              <p:cNvGrpSpPr/>
              <p:nvPr/>
            </p:nvGrpSpPr>
            <p:grpSpPr>
              <a:xfrm>
                <a:off x="1270998" y="3344468"/>
                <a:ext cx="46322" cy="26469"/>
                <a:chOff x="1270998" y="3344468"/>
                <a:chExt cx="46322" cy="26469"/>
              </a:xfrm>
              <a:grpFill/>
            </p:grpSpPr>
            <p:sp>
              <p:nvSpPr>
                <p:cNvPr id="277" name="Freihandform: Form 276">
                  <a:extLst>
                    <a:ext uri="{FF2B5EF4-FFF2-40B4-BE49-F238E27FC236}">
                      <a16:creationId xmlns:a16="http://schemas.microsoft.com/office/drawing/2014/main" id="{B3977789-663F-4579-B995-F2A946574FEB}"/>
                    </a:ext>
                  </a:extLst>
                </p:cNvPr>
                <p:cNvSpPr/>
                <p:nvPr/>
              </p:nvSpPr>
              <p:spPr>
                <a:xfrm>
                  <a:off x="1270998" y="3351055"/>
                  <a:ext cx="46322" cy="13235"/>
                </a:xfrm>
                <a:custGeom>
                  <a:avLst/>
                  <a:gdLst>
                    <a:gd name="connsiteX0" fmla="*/ 39705 w 46322"/>
                    <a:gd name="connsiteY0" fmla="*/ 13235 h 13235"/>
                    <a:gd name="connsiteX1" fmla="*/ 6617 w 46322"/>
                    <a:gd name="connsiteY1" fmla="*/ 13235 h 13235"/>
                    <a:gd name="connsiteX2" fmla="*/ 0 w 46322"/>
                    <a:gd name="connsiteY2" fmla="*/ 6618 h 13235"/>
                    <a:gd name="connsiteX3" fmla="*/ 6617 w 46322"/>
                    <a:gd name="connsiteY3" fmla="*/ 0 h 13235"/>
                    <a:gd name="connsiteX4" fmla="*/ 39705 w 46322"/>
                    <a:gd name="connsiteY4" fmla="*/ 0 h 13235"/>
                    <a:gd name="connsiteX5" fmla="*/ 46323 w 46322"/>
                    <a:gd name="connsiteY5" fmla="*/ 6618 h 13235"/>
                    <a:gd name="connsiteX6" fmla="*/ 39705 w 46322"/>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22" h="13235">
                      <a:moveTo>
                        <a:pt x="39705" y="13235"/>
                      </a:moveTo>
                      <a:lnTo>
                        <a:pt x="6617" y="13235"/>
                      </a:lnTo>
                      <a:cubicBezTo>
                        <a:pt x="2964" y="13235"/>
                        <a:pt x="0" y="10271"/>
                        <a:pt x="0" y="6618"/>
                      </a:cubicBezTo>
                      <a:cubicBezTo>
                        <a:pt x="0" y="2965"/>
                        <a:pt x="2964" y="0"/>
                        <a:pt x="6617" y="0"/>
                      </a:cubicBezTo>
                      <a:lnTo>
                        <a:pt x="39705" y="0"/>
                      </a:lnTo>
                      <a:cubicBezTo>
                        <a:pt x="43358" y="0"/>
                        <a:pt x="46323" y="2965"/>
                        <a:pt x="46323" y="6618"/>
                      </a:cubicBezTo>
                      <a:cubicBezTo>
                        <a:pt x="46323" y="10301"/>
                        <a:pt x="43358" y="13235"/>
                        <a:pt x="39705" y="13235"/>
                      </a:cubicBezTo>
                      <a:close/>
                    </a:path>
                  </a:pathLst>
                </a:custGeom>
                <a:grpFill/>
                <a:ln w="2991" cap="flat">
                  <a:noFill/>
                  <a:prstDash val="solid"/>
                  <a:miter/>
                </a:ln>
              </p:spPr>
              <p:txBody>
                <a:bodyPr rtlCol="0" anchor="ctr"/>
                <a:lstStyle/>
                <a:p>
                  <a:endParaRPr lang="en-GB" dirty="0"/>
                </a:p>
              </p:txBody>
            </p:sp>
            <p:sp>
              <p:nvSpPr>
                <p:cNvPr id="278" name="Freihandform: Form 277">
                  <a:extLst>
                    <a:ext uri="{FF2B5EF4-FFF2-40B4-BE49-F238E27FC236}">
                      <a16:creationId xmlns:a16="http://schemas.microsoft.com/office/drawing/2014/main" id="{7EF26E6E-0174-4128-9A94-C0D1DDA244FB}"/>
                    </a:ext>
                  </a:extLst>
                </p:cNvPr>
                <p:cNvSpPr/>
                <p:nvPr/>
              </p:nvSpPr>
              <p:spPr>
                <a:xfrm>
                  <a:off x="1277616" y="3344468"/>
                  <a:ext cx="13235" cy="26469"/>
                </a:xfrm>
                <a:custGeom>
                  <a:avLst/>
                  <a:gdLst>
                    <a:gd name="connsiteX0" fmla="*/ 6618 w 13235"/>
                    <a:gd name="connsiteY0" fmla="*/ 26470 h 26469"/>
                    <a:gd name="connsiteX1" fmla="*/ 0 w 13235"/>
                    <a:gd name="connsiteY1" fmla="*/ 19853 h 26469"/>
                    <a:gd name="connsiteX2" fmla="*/ 0 w 13235"/>
                    <a:gd name="connsiteY2" fmla="*/ 6617 h 26469"/>
                    <a:gd name="connsiteX3" fmla="*/ 6618 w 13235"/>
                    <a:gd name="connsiteY3" fmla="*/ 0 h 26469"/>
                    <a:gd name="connsiteX4" fmla="*/ 13235 w 13235"/>
                    <a:gd name="connsiteY4" fmla="*/ 6617 h 26469"/>
                    <a:gd name="connsiteX5" fmla="*/ 13235 w 13235"/>
                    <a:gd name="connsiteY5" fmla="*/ 19853 h 26469"/>
                    <a:gd name="connsiteX6" fmla="*/ 6618 w 13235"/>
                    <a:gd name="connsiteY6" fmla="*/ 26470 h 2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26469">
                      <a:moveTo>
                        <a:pt x="6618" y="26470"/>
                      </a:moveTo>
                      <a:cubicBezTo>
                        <a:pt x="2964" y="26470"/>
                        <a:pt x="0" y="23506"/>
                        <a:pt x="0" y="19853"/>
                      </a:cubicBezTo>
                      <a:lnTo>
                        <a:pt x="0" y="6617"/>
                      </a:lnTo>
                      <a:cubicBezTo>
                        <a:pt x="0" y="2964"/>
                        <a:pt x="2964" y="0"/>
                        <a:pt x="6618" y="0"/>
                      </a:cubicBezTo>
                      <a:cubicBezTo>
                        <a:pt x="10271" y="0"/>
                        <a:pt x="13235" y="2964"/>
                        <a:pt x="13235" y="6617"/>
                      </a:cubicBezTo>
                      <a:lnTo>
                        <a:pt x="13235" y="19853"/>
                      </a:lnTo>
                      <a:cubicBezTo>
                        <a:pt x="13235" y="23506"/>
                        <a:pt x="10271" y="26470"/>
                        <a:pt x="6618" y="26470"/>
                      </a:cubicBezTo>
                      <a:close/>
                    </a:path>
                  </a:pathLst>
                </a:custGeom>
                <a:grpFill/>
                <a:ln w="2991" cap="flat">
                  <a:noFill/>
                  <a:prstDash val="solid"/>
                  <a:miter/>
                </a:ln>
              </p:spPr>
              <p:txBody>
                <a:bodyPr rtlCol="0" anchor="ctr"/>
                <a:lstStyle/>
                <a:p>
                  <a:endParaRPr lang="en-GB" dirty="0"/>
                </a:p>
              </p:txBody>
            </p:sp>
          </p:grpSp>
          <p:grpSp>
            <p:nvGrpSpPr>
              <p:cNvPr id="271" name="Grafik 306">
                <a:extLst>
                  <a:ext uri="{FF2B5EF4-FFF2-40B4-BE49-F238E27FC236}">
                    <a16:creationId xmlns:a16="http://schemas.microsoft.com/office/drawing/2014/main" id="{97CEE361-A311-4278-9706-6CD6793096D6}"/>
                  </a:ext>
                </a:extLst>
              </p:cNvPr>
              <p:cNvGrpSpPr/>
              <p:nvPr/>
            </p:nvGrpSpPr>
            <p:grpSpPr>
              <a:xfrm>
                <a:off x="1270998" y="3450348"/>
                <a:ext cx="46322" cy="26469"/>
                <a:chOff x="1270998" y="3450348"/>
                <a:chExt cx="46322" cy="26469"/>
              </a:xfrm>
              <a:grpFill/>
            </p:grpSpPr>
            <p:sp>
              <p:nvSpPr>
                <p:cNvPr id="275" name="Freihandform: Form 274">
                  <a:extLst>
                    <a:ext uri="{FF2B5EF4-FFF2-40B4-BE49-F238E27FC236}">
                      <a16:creationId xmlns:a16="http://schemas.microsoft.com/office/drawing/2014/main" id="{9E01858D-EA41-4FF1-8B73-60AC913016B9}"/>
                    </a:ext>
                  </a:extLst>
                </p:cNvPr>
                <p:cNvSpPr/>
                <p:nvPr/>
              </p:nvSpPr>
              <p:spPr>
                <a:xfrm>
                  <a:off x="1270998" y="3456966"/>
                  <a:ext cx="46322" cy="13235"/>
                </a:xfrm>
                <a:custGeom>
                  <a:avLst/>
                  <a:gdLst>
                    <a:gd name="connsiteX0" fmla="*/ 39705 w 46322"/>
                    <a:gd name="connsiteY0" fmla="*/ 13235 h 13235"/>
                    <a:gd name="connsiteX1" fmla="*/ 6617 w 46322"/>
                    <a:gd name="connsiteY1" fmla="*/ 13235 h 13235"/>
                    <a:gd name="connsiteX2" fmla="*/ 0 w 46322"/>
                    <a:gd name="connsiteY2" fmla="*/ 6618 h 13235"/>
                    <a:gd name="connsiteX3" fmla="*/ 6617 w 46322"/>
                    <a:gd name="connsiteY3" fmla="*/ 0 h 13235"/>
                    <a:gd name="connsiteX4" fmla="*/ 39705 w 46322"/>
                    <a:gd name="connsiteY4" fmla="*/ 0 h 13235"/>
                    <a:gd name="connsiteX5" fmla="*/ 46323 w 46322"/>
                    <a:gd name="connsiteY5" fmla="*/ 6618 h 13235"/>
                    <a:gd name="connsiteX6" fmla="*/ 39705 w 46322"/>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22" h="13235">
                      <a:moveTo>
                        <a:pt x="39705" y="13235"/>
                      </a:moveTo>
                      <a:lnTo>
                        <a:pt x="6617" y="13235"/>
                      </a:lnTo>
                      <a:cubicBezTo>
                        <a:pt x="2964" y="13235"/>
                        <a:pt x="0" y="10271"/>
                        <a:pt x="0" y="6618"/>
                      </a:cubicBezTo>
                      <a:cubicBezTo>
                        <a:pt x="0" y="2965"/>
                        <a:pt x="2964" y="0"/>
                        <a:pt x="6617" y="0"/>
                      </a:cubicBezTo>
                      <a:lnTo>
                        <a:pt x="39705" y="0"/>
                      </a:lnTo>
                      <a:cubicBezTo>
                        <a:pt x="43358" y="0"/>
                        <a:pt x="46323" y="2965"/>
                        <a:pt x="46323" y="6618"/>
                      </a:cubicBezTo>
                      <a:cubicBezTo>
                        <a:pt x="46323" y="10271"/>
                        <a:pt x="43358" y="13235"/>
                        <a:pt x="39705" y="13235"/>
                      </a:cubicBezTo>
                      <a:close/>
                    </a:path>
                  </a:pathLst>
                </a:custGeom>
                <a:grpFill/>
                <a:ln w="2991" cap="flat">
                  <a:noFill/>
                  <a:prstDash val="solid"/>
                  <a:miter/>
                </a:ln>
              </p:spPr>
              <p:txBody>
                <a:bodyPr rtlCol="0" anchor="ctr"/>
                <a:lstStyle/>
                <a:p>
                  <a:endParaRPr lang="en-GB" dirty="0"/>
                </a:p>
              </p:txBody>
            </p:sp>
            <p:sp>
              <p:nvSpPr>
                <p:cNvPr id="276" name="Freihandform: Form 275">
                  <a:extLst>
                    <a:ext uri="{FF2B5EF4-FFF2-40B4-BE49-F238E27FC236}">
                      <a16:creationId xmlns:a16="http://schemas.microsoft.com/office/drawing/2014/main" id="{BD80A74A-76AC-44DF-B443-91E714A57607}"/>
                    </a:ext>
                  </a:extLst>
                </p:cNvPr>
                <p:cNvSpPr/>
                <p:nvPr/>
              </p:nvSpPr>
              <p:spPr>
                <a:xfrm>
                  <a:off x="1290851" y="3450348"/>
                  <a:ext cx="13235" cy="26469"/>
                </a:xfrm>
                <a:custGeom>
                  <a:avLst/>
                  <a:gdLst>
                    <a:gd name="connsiteX0" fmla="*/ 6617 w 13235"/>
                    <a:gd name="connsiteY0" fmla="*/ 26470 h 26469"/>
                    <a:gd name="connsiteX1" fmla="*/ 0 w 13235"/>
                    <a:gd name="connsiteY1" fmla="*/ 19853 h 26469"/>
                    <a:gd name="connsiteX2" fmla="*/ 0 w 13235"/>
                    <a:gd name="connsiteY2" fmla="*/ 6617 h 26469"/>
                    <a:gd name="connsiteX3" fmla="*/ 6617 w 13235"/>
                    <a:gd name="connsiteY3" fmla="*/ 0 h 26469"/>
                    <a:gd name="connsiteX4" fmla="*/ 13235 w 13235"/>
                    <a:gd name="connsiteY4" fmla="*/ 6617 h 26469"/>
                    <a:gd name="connsiteX5" fmla="*/ 13235 w 13235"/>
                    <a:gd name="connsiteY5" fmla="*/ 19853 h 26469"/>
                    <a:gd name="connsiteX6" fmla="*/ 6617 w 13235"/>
                    <a:gd name="connsiteY6" fmla="*/ 26470 h 2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26469">
                      <a:moveTo>
                        <a:pt x="6617" y="26470"/>
                      </a:moveTo>
                      <a:cubicBezTo>
                        <a:pt x="2964" y="26470"/>
                        <a:pt x="0" y="23506"/>
                        <a:pt x="0" y="19853"/>
                      </a:cubicBezTo>
                      <a:lnTo>
                        <a:pt x="0" y="6617"/>
                      </a:lnTo>
                      <a:cubicBezTo>
                        <a:pt x="0" y="2964"/>
                        <a:pt x="2964" y="0"/>
                        <a:pt x="6617" y="0"/>
                      </a:cubicBezTo>
                      <a:cubicBezTo>
                        <a:pt x="10271" y="0"/>
                        <a:pt x="13235" y="2964"/>
                        <a:pt x="13235" y="6617"/>
                      </a:cubicBezTo>
                      <a:lnTo>
                        <a:pt x="13235" y="19853"/>
                      </a:lnTo>
                      <a:cubicBezTo>
                        <a:pt x="13235" y="23536"/>
                        <a:pt x="10271" y="26470"/>
                        <a:pt x="6617" y="26470"/>
                      </a:cubicBezTo>
                      <a:close/>
                    </a:path>
                  </a:pathLst>
                </a:custGeom>
                <a:grpFill/>
                <a:ln w="2991" cap="flat">
                  <a:noFill/>
                  <a:prstDash val="solid"/>
                  <a:miter/>
                </a:ln>
              </p:spPr>
              <p:txBody>
                <a:bodyPr rtlCol="0" anchor="ctr"/>
                <a:lstStyle/>
                <a:p>
                  <a:endParaRPr lang="en-GB" dirty="0"/>
                </a:p>
              </p:txBody>
            </p:sp>
          </p:grpSp>
          <p:grpSp>
            <p:nvGrpSpPr>
              <p:cNvPr id="272" name="Grafik 306">
                <a:extLst>
                  <a:ext uri="{FF2B5EF4-FFF2-40B4-BE49-F238E27FC236}">
                    <a16:creationId xmlns:a16="http://schemas.microsoft.com/office/drawing/2014/main" id="{17B4E8C2-E4C0-44DA-9A2D-F4F4F084F224}"/>
                  </a:ext>
                </a:extLst>
              </p:cNvPr>
              <p:cNvGrpSpPr/>
              <p:nvPr/>
            </p:nvGrpSpPr>
            <p:grpSpPr>
              <a:xfrm>
                <a:off x="1270998" y="3397408"/>
                <a:ext cx="46322" cy="26469"/>
                <a:chOff x="1270998" y="3397408"/>
                <a:chExt cx="46322" cy="26469"/>
              </a:xfrm>
              <a:grpFill/>
            </p:grpSpPr>
            <p:sp>
              <p:nvSpPr>
                <p:cNvPr id="273" name="Freihandform: Form 272">
                  <a:extLst>
                    <a:ext uri="{FF2B5EF4-FFF2-40B4-BE49-F238E27FC236}">
                      <a16:creationId xmlns:a16="http://schemas.microsoft.com/office/drawing/2014/main" id="{2B66D0ED-8329-4D43-AE4B-6FC5BB839BD0}"/>
                    </a:ext>
                  </a:extLst>
                </p:cNvPr>
                <p:cNvSpPr/>
                <p:nvPr/>
              </p:nvSpPr>
              <p:spPr>
                <a:xfrm>
                  <a:off x="1270998" y="3404025"/>
                  <a:ext cx="46322" cy="13235"/>
                </a:xfrm>
                <a:custGeom>
                  <a:avLst/>
                  <a:gdLst>
                    <a:gd name="connsiteX0" fmla="*/ 39705 w 46322"/>
                    <a:gd name="connsiteY0" fmla="*/ 13235 h 13235"/>
                    <a:gd name="connsiteX1" fmla="*/ 6617 w 46322"/>
                    <a:gd name="connsiteY1" fmla="*/ 13235 h 13235"/>
                    <a:gd name="connsiteX2" fmla="*/ 0 w 46322"/>
                    <a:gd name="connsiteY2" fmla="*/ 6618 h 13235"/>
                    <a:gd name="connsiteX3" fmla="*/ 6617 w 46322"/>
                    <a:gd name="connsiteY3" fmla="*/ 0 h 13235"/>
                    <a:gd name="connsiteX4" fmla="*/ 39705 w 46322"/>
                    <a:gd name="connsiteY4" fmla="*/ 0 h 13235"/>
                    <a:gd name="connsiteX5" fmla="*/ 46323 w 46322"/>
                    <a:gd name="connsiteY5" fmla="*/ 6618 h 13235"/>
                    <a:gd name="connsiteX6" fmla="*/ 39705 w 46322"/>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322" h="13235">
                      <a:moveTo>
                        <a:pt x="39705" y="13235"/>
                      </a:moveTo>
                      <a:lnTo>
                        <a:pt x="6617" y="13235"/>
                      </a:lnTo>
                      <a:cubicBezTo>
                        <a:pt x="2964" y="13235"/>
                        <a:pt x="0" y="10271"/>
                        <a:pt x="0" y="6618"/>
                      </a:cubicBezTo>
                      <a:cubicBezTo>
                        <a:pt x="0" y="2965"/>
                        <a:pt x="2964" y="0"/>
                        <a:pt x="6617" y="0"/>
                      </a:cubicBezTo>
                      <a:lnTo>
                        <a:pt x="39705" y="0"/>
                      </a:lnTo>
                      <a:cubicBezTo>
                        <a:pt x="43358" y="0"/>
                        <a:pt x="46323" y="2965"/>
                        <a:pt x="46323" y="6618"/>
                      </a:cubicBezTo>
                      <a:cubicBezTo>
                        <a:pt x="46323" y="10271"/>
                        <a:pt x="43358" y="13235"/>
                        <a:pt x="39705" y="13235"/>
                      </a:cubicBezTo>
                      <a:close/>
                    </a:path>
                  </a:pathLst>
                </a:custGeom>
                <a:grpFill/>
                <a:ln w="2991" cap="flat">
                  <a:noFill/>
                  <a:prstDash val="solid"/>
                  <a:miter/>
                </a:ln>
              </p:spPr>
              <p:txBody>
                <a:bodyPr rtlCol="0" anchor="ctr"/>
                <a:lstStyle/>
                <a:p>
                  <a:endParaRPr lang="en-GB" dirty="0"/>
                </a:p>
              </p:txBody>
            </p:sp>
            <p:sp>
              <p:nvSpPr>
                <p:cNvPr id="274" name="Freihandform: Form 273">
                  <a:extLst>
                    <a:ext uri="{FF2B5EF4-FFF2-40B4-BE49-F238E27FC236}">
                      <a16:creationId xmlns:a16="http://schemas.microsoft.com/office/drawing/2014/main" id="{A21AEB74-A6B3-4697-8049-B0C17CB9D0B7}"/>
                    </a:ext>
                  </a:extLst>
                </p:cNvPr>
                <p:cNvSpPr/>
                <p:nvPr/>
              </p:nvSpPr>
              <p:spPr>
                <a:xfrm>
                  <a:off x="1297468" y="3397408"/>
                  <a:ext cx="13235" cy="26469"/>
                </a:xfrm>
                <a:custGeom>
                  <a:avLst/>
                  <a:gdLst>
                    <a:gd name="connsiteX0" fmla="*/ 6618 w 13235"/>
                    <a:gd name="connsiteY0" fmla="*/ 26470 h 26469"/>
                    <a:gd name="connsiteX1" fmla="*/ 0 w 13235"/>
                    <a:gd name="connsiteY1" fmla="*/ 19853 h 26469"/>
                    <a:gd name="connsiteX2" fmla="*/ 0 w 13235"/>
                    <a:gd name="connsiteY2" fmla="*/ 6617 h 26469"/>
                    <a:gd name="connsiteX3" fmla="*/ 6618 w 13235"/>
                    <a:gd name="connsiteY3" fmla="*/ 0 h 26469"/>
                    <a:gd name="connsiteX4" fmla="*/ 13235 w 13235"/>
                    <a:gd name="connsiteY4" fmla="*/ 6617 h 26469"/>
                    <a:gd name="connsiteX5" fmla="*/ 13235 w 13235"/>
                    <a:gd name="connsiteY5" fmla="*/ 19853 h 26469"/>
                    <a:gd name="connsiteX6" fmla="*/ 6618 w 13235"/>
                    <a:gd name="connsiteY6" fmla="*/ 26470 h 2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26469">
                      <a:moveTo>
                        <a:pt x="6618" y="26470"/>
                      </a:moveTo>
                      <a:cubicBezTo>
                        <a:pt x="2964" y="26470"/>
                        <a:pt x="0" y="23506"/>
                        <a:pt x="0" y="19853"/>
                      </a:cubicBezTo>
                      <a:lnTo>
                        <a:pt x="0" y="6617"/>
                      </a:lnTo>
                      <a:cubicBezTo>
                        <a:pt x="0" y="2964"/>
                        <a:pt x="2964" y="0"/>
                        <a:pt x="6618" y="0"/>
                      </a:cubicBezTo>
                      <a:cubicBezTo>
                        <a:pt x="10271" y="0"/>
                        <a:pt x="13235" y="2964"/>
                        <a:pt x="13235" y="6617"/>
                      </a:cubicBezTo>
                      <a:lnTo>
                        <a:pt x="13235" y="19853"/>
                      </a:lnTo>
                      <a:cubicBezTo>
                        <a:pt x="13235" y="23506"/>
                        <a:pt x="10271" y="26470"/>
                        <a:pt x="6618" y="26470"/>
                      </a:cubicBezTo>
                      <a:close/>
                    </a:path>
                  </a:pathLst>
                </a:custGeom>
                <a:grpFill/>
                <a:ln w="2991" cap="flat">
                  <a:noFill/>
                  <a:prstDash val="solid"/>
                  <a:miter/>
                </a:ln>
              </p:spPr>
              <p:txBody>
                <a:bodyPr rtlCol="0" anchor="ctr"/>
                <a:lstStyle/>
                <a:p>
                  <a:endParaRPr lang="en-GB" dirty="0"/>
                </a:p>
              </p:txBody>
            </p:sp>
          </p:grpSp>
        </p:grpSp>
        <p:grpSp>
          <p:nvGrpSpPr>
            <p:cNvPr id="254" name="Group 1079">
              <a:extLst>
                <a:ext uri="{FF2B5EF4-FFF2-40B4-BE49-F238E27FC236}">
                  <a16:creationId xmlns:a16="http://schemas.microsoft.com/office/drawing/2014/main" id="{0AFAE6EF-0C6B-4B41-92E2-B0F9E03F458E}"/>
                </a:ext>
              </a:extLst>
            </p:cNvPr>
            <p:cNvGrpSpPr/>
            <p:nvPr/>
          </p:nvGrpSpPr>
          <p:grpSpPr>
            <a:xfrm>
              <a:off x="764269" y="3489358"/>
              <a:ext cx="290418" cy="216033"/>
              <a:chOff x="1112148" y="3490083"/>
              <a:chExt cx="258146" cy="192027"/>
            </a:xfrm>
            <a:solidFill>
              <a:schemeClr val="accent1"/>
            </a:solidFill>
          </p:grpSpPr>
          <p:grpSp>
            <p:nvGrpSpPr>
              <p:cNvPr id="255" name="Grafik 306">
                <a:extLst>
                  <a:ext uri="{FF2B5EF4-FFF2-40B4-BE49-F238E27FC236}">
                    <a16:creationId xmlns:a16="http://schemas.microsoft.com/office/drawing/2014/main" id="{7807BB3B-4B1B-43B7-8154-2469E207C7B5}"/>
                  </a:ext>
                </a:extLst>
              </p:cNvPr>
              <p:cNvGrpSpPr/>
              <p:nvPr/>
            </p:nvGrpSpPr>
            <p:grpSpPr>
              <a:xfrm>
                <a:off x="1173368" y="3529785"/>
                <a:ext cx="196926" cy="136336"/>
                <a:chOff x="1173368" y="3529785"/>
                <a:chExt cx="196926" cy="136336"/>
              </a:xfrm>
              <a:solidFill>
                <a:schemeClr val="accent1"/>
              </a:solidFill>
            </p:grpSpPr>
            <p:sp>
              <p:nvSpPr>
                <p:cNvPr id="265" name="Freihandform: Form 264">
                  <a:extLst>
                    <a:ext uri="{FF2B5EF4-FFF2-40B4-BE49-F238E27FC236}">
                      <a16:creationId xmlns:a16="http://schemas.microsoft.com/office/drawing/2014/main" id="{6C2D9875-3C8E-4832-BC8E-B4513EFB80B4}"/>
                    </a:ext>
                  </a:extLst>
                </p:cNvPr>
                <p:cNvSpPr/>
                <p:nvPr/>
              </p:nvSpPr>
              <p:spPr>
                <a:xfrm>
                  <a:off x="1173368" y="3529785"/>
                  <a:ext cx="196926" cy="136336"/>
                </a:xfrm>
                <a:custGeom>
                  <a:avLst/>
                  <a:gdLst>
                    <a:gd name="connsiteX0" fmla="*/ 173717 w 196926"/>
                    <a:gd name="connsiteY0" fmla="*/ 136337 h 136336"/>
                    <a:gd name="connsiteX1" fmla="*/ 167129 w 196926"/>
                    <a:gd name="connsiteY1" fmla="*/ 134570 h 136336"/>
                    <a:gd name="connsiteX2" fmla="*/ 6632 w 196926"/>
                    <a:gd name="connsiteY2" fmla="*/ 41895 h 136336"/>
                    <a:gd name="connsiteX3" fmla="*/ 464 w 196926"/>
                    <a:gd name="connsiteY3" fmla="*/ 33870 h 136336"/>
                    <a:gd name="connsiteX4" fmla="*/ 1781 w 196926"/>
                    <a:gd name="connsiteY4" fmla="*/ 23809 h 136336"/>
                    <a:gd name="connsiteX5" fmla="*/ 11692 w 196926"/>
                    <a:gd name="connsiteY5" fmla="*/ 6621 h 136336"/>
                    <a:gd name="connsiteX6" fmla="*/ 29778 w 196926"/>
                    <a:gd name="connsiteY6" fmla="*/ 1770 h 136336"/>
                    <a:gd name="connsiteX7" fmla="*/ 190306 w 196926"/>
                    <a:gd name="connsiteY7" fmla="*/ 94446 h 136336"/>
                    <a:gd name="connsiteX8" fmla="*/ 195156 w 196926"/>
                    <a:gd name="connsiteY8" fmla="*/ 112531 h 136336"/>
                    <a:gd name="connsiteX9" fmla="*/ 185245 w 196926"/>
                    <a:gd name="connsiteY9" fmla="*/ 129719 h 136336"/>
                    <a:gd name="connsiteX10" fmla="*/ 185245 w 196926"/>
                    <a:gd name="connsiteY10" fmla="*/ 129719 h 136336"/>
                    <a:gd name="connsiteX11" fmla="*/ 177220 w 196926"/>
                    <a:gd name="connsiteY11" fmla="*/ 135887 h 136336"/>
                    <a:gd name="connsiteX12" fmla="*/ 173717 w 196926"/>
                    <a:gd name="connsiteY12" fmla="*/ 136337 h 136336"/>
                    <a:gd name="connsiteX13" fmla="*/ 179496 w 196926"/>
                    <a:gd name="connsiteY13" fmla="*/ 126425 h 136336"/>
                    <a:gd name="connsiteX14" fmla="*/ 179556 w 196926"/>
                    <a:gd name="connsiteY14" fmla="*/ 126425 h 136336"/>
                    <a:gd name="connsiteX15" fmla="*/ 179496 w 196926"/>
                    <a:gd name="connsiteY15" fmla="*/ 126425 h 136336"/>
                    <a:gd name="connsiteX16" fmla="*/ 23161 w 196926"/>
                    <a:gd name="connsiteY16" fmla="*/ 13239 h 136336"/>
                    <a:gd name="connsiteX17" fmla="*/ 13249 w 196926"/>
                    <a:gd name="connsiteY17" fmla="*/ 30426 h 136336"/>
                    <a:gd name="connsiteX18" fmla="*/ 173747 w 196926"/>
                    <a:gd name="connsiteY18" fmla="*/ 123102 h 136336"/>
                    <a:gd name="connsiteX19" fmla="*/ 183658 w 196926"/>
                    <a:gd name="connsiteY19" fmla="*/ 105914 h 136336"/>
                    <a:gd name="connsiteX20" fmla="*/ 23161 w 196926"/>
                    <a:gd name="connsiteY20" fmla="*/ 13239 h 136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6926" h="136336">
                      <a:moveTo>
                        <a:pt x="173717" y="136337"/>
                      </a:moveTo>
                      <a:cubicBezTo>
                        <a:pt x="171411" y="136337"/>
                        <a:pt x="169165" y="135738"/>
                        <a:pt x="167129" y="134570"/>
                      </a:cubicBezTo>
                      <a:lnTo>
                        <a:pt x="6632" y="41895"/>
                      </a:lnTo>
                      <a:cubicBezTo>
                        <a:pt x="3578" y="40128"/>
                        <a:pt x="1392" y="37283"/>
                        <a:pt x="464" y="33870"/>
                      </a:cubicBezTo>
                      <a:cubicBezTo>
                        <a:pt x="-465" y="30456"/>
                        <a:pt x="14" y="26893"/>
                        <a:pt x="1781" y="23809"/>
                      </a:cubicBezTo>
                      <a:lnTo>
                        <a:pt x="11692" y="6621"/>
                      </a:lnTo>
                      <a:cubicBezTo>
                        <a:pt x="15346" y="303"/>
                        <a:pt x="23430" y="-1883"/>
                        <a:pt x="29778" y="1770"/>
                      </a:cubicBezTo>
                      <a:lnTo>
                        <a:pt x="190306" y="94446"/>
                      </a:lnTo>
                      <a:cubicBezTo>
                        <a:pt x="196624" y="98099"/>
                        <a:pt x="198809" y="106213"/>
                        <a:pt x="195156" y="112531"/>
                      </a:cubicBezTo>
                      <a:lnTo>
                        <a:pt x="185245" y="129719"/>
                      </a:lnTo>
                      <a:lnTo>
                        <a:pt x="185245" y="129719"/>
                      </a:lnTo>
                      <a:cubicBezTo>
                        <a:pt x="183478" y="132773"/>
                        <a:pt x="180634" y="134959"/>
                        <a:pt x="177220" y="135887"/>
                      </a:cubicBezTo>
                      <a:cubicBezTo>
                        <a:pt x="176022" y="136187"/>
                        <a:pt x="174885" y="136337"/>
                        <a:pt x="173717" y="136337"/>
                      </a:cubicBezTo>
                      <a:close/>
                      <a:moveTo>
                        <a:pt x="179496" y="126425"/>
                      </a:moveTo>
                      <a:lnTo>
                        <a:pt x="179556" y="126425"/>
                      </a:lnTo>
                      <a:lnTo>
                        <a:pt x="179496" y="126425"/>
                      </a:lnTo>
                      <a:close/>
                      <a:moveTo>
                        <a:pt x="23161" y="13239"/>
                      </a:moveTo>
                      <a:lnTo>
                        <a:pt x="13249" y="30426"/>
                      </a:lnTo>
                      <a:lnTo>
                        <a:pt x="173747" y="123102"/>
                      </a:lnTo>
                      <a:lnTo>
                        <a:pt x="183658" y="105914"/>
                      </a:lnTo>
                      <a:lnTo>
                        <a:pt x="23161" y="13239"/>
                      </a:lnTo>
                      <a:close/>
                    </a:path>
                  </a:pathLst>
                </a:custGeom>
                <a:solidFill>
                  <a:schemeClr val="accent1"/>
                </a:solidFill>
                <a:ln w="2991" cap="flat">
                  <a:noFill/>
                  <a:prstDash val="solid"/>
                  <a:miter/>
                </a:ln>
              </p:spPr>
              <p:txBody>
                <a:bodyPr rtlCol="0" anchor="ctr"/>
                <a:lstStyle/>
                <a:p>
                  <a:endParaRPr lang="en-GB" dirty="0"/>
                </a:p>
              </p:txBody>
            </p:sp>
            <p:sp>
              <p:nvSpPr>
                <p:cNvPr id="266" name="Freihandform: Form 265">
                  <a:extLst>
                    <a:ext uri="{FF2B5EF4-FFF2-40B4-BE49-F238E27FC236}">
                      <a16:creationId xmlns:a16="http://schemas.microsoft.com/office/drawing/2014/main" id="{F934B114-98F1-4500-B753-67902512BF3F}"/>
                    </a:ext>
                  </a:extLst>
                </p:cNvPr>
                <p:cNvSpPr/>
                <p:nvPr/>
              </p:nvSpPr>
              <p:spPr>
                <a:xfrm>
                  <a:off x="1205342" y="3547195"/>
                  <a:ext cx="29804" cy="41910"/>
                </a:xfrm>
                <a:custGeom>
                  <a:avLst/>
                  <a:gdLst>
                    <a:gd name="connsiteX0" fmla="*/ 6608 w 29804"/>
                    <a:gd name="connsiteY0" fmla="*/ 41911 h 41910"/>
                    <a:gd name="connsiteX1" fmla="*/ 3314 w 29804"/>
                    <a:gd name="connsiteY1" fmla="*/ 41013 h 41910"/>
                    <a:gd name="connsiteX2" fmla="*/ 888 w 29804"/>
                    <a:gd name="connsiteY2" fmla="*/ 31970 h 41910"/>
                    <a:gd name="connsiteX3" fmla="*/ 17447 w 29804"/>
                    <a:gd name="connsiteY3" fmla="*/ 3314 h 41910"/>
                    <a:gd name="connsiteX4" fmla="*/ 26490 w 29804"/>
                    <a:gd name="connsiteY4" fmla="*/ 888 h 41910"/>
                    <a:gd name="connsiteX5" fmla="*/ 28916 w 29804"/>
                    <a:gd name="connsiteY5" fmla="*/ 9931 h 41910"/>
                    <a:gd name="connsiteX6" fmla="*/ 12357 w 29804"/>
                    <a:gd name="connsiteY6" fmla="*/ 38587 h 41910"/>
                    <a:gd name="connsiteX7" fmla="*/ 6608 w 29804"/>
                    <a:gd name="connsiteY7" fmla="*/ 41911 h 41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804" h="41910">
                      <a:moveTo>
                        <a:pt x="6608" y="41911"/>
                      </a:moveTo>
                      <a:cubicBezTo>
                        <a:pt x="5500" y="41911"/>
                        <a:pt x="4362" y="41612"/>
                        <a:pt x="3314" y="41013"/>
                      </a:cubicBezTo>
                      <a:cubicBezTo>
                        <a:pt x="140" y="39186"/>
                        <a:pt x="-938" y="35144"/>
                        <a:pt x="888" y="31970"/>
                      </a:cubicBezTo>
                      <a:lnTo>
                        <a:pt x="17447" y="3314"/>
                      </a:lnTo>
                      <a:cubicBezTo>
                        <a:pt x="19274" y="140"/>
                        <a:pt x="23316" y="-938"/>
                        <a:pt x="26490" y="888"/>
                      </a:cubicBezTo>
                      <a:cubicBezTo>
                        <a:pt x="29664" y="2715"/>
                        <a:pt x="30742" y="6757"/>
                        <a:pt x="28916" y="9931"/>
                      </a:cubicBezTo>
                      <a:lnTo>
                        <a:pt x="12357" y="38587"/>
                      </a:lnTo>
                      <a:cubicBezTo>
                        <a:pt x="11129" y="40743"/>
                        <a:pt x="8913" y="41911"/>
                        <a:pt x="6608" y="41911"/>
                      </a:cubicBezTo>
                      <a:close/>
                    </a:path>
                  </a:pathLst>
                </a:custGeom>
                <a:solidFill>
                  <a:schemeClr val="accent1"/>
                </a:solidFill>
                <a:ln w="2991" cap="flat">
                  <a:noFill/>
                  <a:prstDash val="solid"/>
                  <a:miter/>
                </a:ln>
              </p:spPr>
              <p:txBody>
                <a:bodyPr rtlCol="0" anchor="ctr"/>
                <a:lstStyle/>
                <a:p>
                  <a:endParaRPr lang="en-GB" dirty="0"/>
                </a:p>
              </p:txBody>
            </p:sp>
          </p:grpSp>
          <p:grpSp>
            <p:nvGrpSpPr>
              <p:cNvPr id="256" name="Grafik 306">
                <a:extLst>
                  <a:ext uri="{FF2B5EF4-FFF2-40B4-BE49-F238E27FC236}">
                    <a16:creationId xmlns:a16="http://schemas.microsoft.com/office/drawing/2014/main" id="{7C8DC318-732B-4B16-96A0-1A6B55B29F51}"/>
                  </a:ext>
                </a:extLst>
              </p:cNvPr>
              <p:cNvGrpSpPr/>
              <p:nvPr/>
            </p:nvGrpSpPr>
            <p:grpSpPr>
              <a:xfrm>
                <a:off x="1270998" y="3503318"/>
                <a:ext cx="39705" cy="39705"/>
                <a:chOff x="1270998" y="3503318"/>
                <a:chExt cx="39705" cy="39705"/>
              </a:xfrm>
              <a:solidFill>
                <a:schemeClr val="accent1"/>
              </a:solidFill>
            </p:grpSpPr>
            <p:sp>
              <p:nvSpPr>
                <p:cNvPr id="263" name="Freihandform: Form 262">
                  <a:extLst>
                    <a:ext uri="{FF2B5EF4-FFF2-40B4-BE49-F238E27FC236}">
                      <a16:creationId xmlns:a16="http://schemas.microsoft.com/office/drawing/2014/main" id="{4BD18E6C-7E37-41F4-A31B-7B65524FEE62}"/>
                    </a:ext>
                  </a:extLst>
                </p:cNvPr>
                <p:cNvSpPr/>
                <p:nvPr/>
              </p:nvSpPr>
              <p:spPr>
                <a:xfrm>
                  <a:off x="1284233" y="3503318"/>
                  <a:ext cx="13235" cy="39705"/>
                </a:xfrm>
                <a:custGeom>
                  <a:avLst/>
                  <a:gdLst>
                    <a:gd name="connsiteX0" fmla="*/ 6618 w 13235"/>
                    <a:gd name="connsiteY0" fmla="*/ 39705 h 39705"/>
                    <a:gd name="connsiteX1" fmla="*/ 0 w 13235"/>
                    <a:gd name="connsiteY1" fmla="*/ 33088 h 39705"/>
                    <a:gd name="connsiteX2" fmla="*/ 0 w 13235"/>
                    <a:gd name="connsiteY2" fmla="*/ 6617 h 39705"/>
                    <a:gd name="connsiteX3" fmla="*/ 6618 w 13235"/>
                    <a:gd name="connsiteY3" fmla="*/ 0 h 39705"/>
                    <a:gd name="connsiteX4" fmla="*/ 13235 w 13235"/>
                    <a:gd name="connsiteY4" fmla="*/ 6617 h 39705"/>
                    <a:gd name="connsiteX5" fmla="*/ 13235 w 13235"/>
                    <a:gd name="connsiteY5" fmla="*/ 33088 h 39705"/>
                    <a:gd name="connsiteX6" fmla="*/ 6618 w 13235"/>
                    <a:gd name="connsiteY6" fmla="*/ 39705 h 39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39705">
                      <a:moveTo>
                        <a:pt x="6618" y="39705"/>
                      </a:moveTo>
                      <a:cubicBezTo>
                        <a:pt x="2964" y="39705"/>
                        <a:pt x="0" y="36741"/>
                        <a:pt x="0" y="33088"/>
                      </a:cubicBezTo>
                      <a:lnTo>
                        <a:pt x="0" y="6617"/>
                      </a:lnTo>
                      <a:cubicBezTo>
                        <a:pt x="0" y="2964"/>
                        <a:pt x="2964" y="0"/>
                        <a:pt x="6618" y="0"/>
                      </a:cubicBezTo>
                      <a:cubicBezTo>
                        <a:pt x="10271" y="0"/>
                        <a:pt x="13235" y="2964"/>
                        <a:pt x="13235" y="6617"/>
                      </a:cubicBezTo>
                      <a:lnTo>
                        <a:pt x="13235" y="33088"/>
                      </a:lnTo>
                      <a:cubicBezTo>
                        <a:pt x="13235" y="36741"/>
                        <a:pt x="10271" y="39705"/>
                        <a:pt x="6618" y="39705"/>
                      </a:cubicBezTo>
                      <a:close/>
                    </a:path>
                  </a:pathLst>
                </a:custGeom>
                <a:solidFill>
                  <a:schemeClr val="accent1"/>
                </a:solidFill>
                <a:ln w="2991" cap="flat">
                  <a:noFill/>
                  <a:prstDash val="solid"/>
                  <a:miter/>
                </a:ln>
              </p:spPr>
              <p:txBody>
                <a:bodyPr rtlCol="0" anchor="ctr"/>
                <a:lstStyle/>
                <a:p>
                  <a:endParaRPr lang="en-GB" dirty="0"/>
                </a:p>
              </p:txBody>
            </p:sp>
            <p:sp>
              <p:nvSpPr>
                <p:cNvPr id="264" name="Freihandform: Form 263">
                  <a:extLst>
                    <a:ext uri="{FF2B5EF4-FFF2-40B4-BE49-F238E27FC236}">
                      <a16:creationId xmlns:a16="http://schemas.microsoft.com/office/drawing/2014/main" id="{E0B1F99F-C36A-4733-A69D-E9C812031CAD}"/>
                    </a:ext>
                  </a:extLst>
                </p:cNvPr>
                <p:cNvSpPr/>
                <p:nvPr/>
              </p:nvSpPr>
              <p:spPr>
                <a:xfrm>
                  <a:off x="1270998" y="3516553"/>
                  <a:ext cx="39705" cy="13234"/>
                </a:xfrm>
                <a:custGeom>
                  <a:avLst/>
                  <a:gdLst>
                    <a:gd name="connsiteX0" fmla="*/ 33088 w 39705"/>
                    <a:gd name="connsiteY0" fmla="*/ 13235 h 13234"/>
                    <a:gd name="connsiteX1" fmla="*/ 6617 w 39705"/>
                    <a:gd name="connsiteY1" fmla="*/ 13235 h 13234"/>
                    <a:gd name="connsiteX2" fmla="*/ 0 w 39705"/>
                    <a:gd name="connsiteY2" fmla="*/ 6618 h 13234"/>
                    <a:gd name="connsiteX3" fmla="*/ 6617 w 39705"/>
                    <a:gd name="connsiteY3" fmla="*/ 0 h 13234"/>
                    <a:gd name="connsiteX4" fmla="*/ 33088 w 39705"/>
                    <a:gd name="connsiteY4" fmla="*/ 0 h 13234"/>
                    <a:gd name="connsiteX5" fmla="*/ 39705 w 39705"/>
                    <a:gd name="connsiteY5" fmla="*/ 6618 h 13234"/>
                    <a:gd name="connsiteX6" fmla="*/ 33088 w 39705"/>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05" h="13234">
                      <a:moveTo>
                        <a:pt x="33088" y="13235"/>
                      </a:moveTo>
                      <a:lnTo>
                        <a:pt x="6617" y="13235"/>
                      </a:lnTo>
                      <a:cubicBezTo>
                        <a:pt x="2964" y="13235"/>
                        <a:pt x="0" y="10271"/>
                        <a:pt x="0" y="6618"/>
                      </a:cubicBezTo>
                      <a:cubicBezTo>
                        <a:pt x="0" y="2964"/>
                        <a:pt x="2964" y="0"/>
                        <a:pt x="6617" y="0"/>
                      </a:cubicBezTo>
                      <a:lnTo>
                        <a:pt x="33088" y="0"/>
                      </a:lnTo>
                      <a:cubicBezTo>
                        <a:pt x="36741" y="0"/>
                        <a:pt x="39705" y="2964"/>
                        <a:pt x="39705" y="6618"/>
                      </a:cubicBezTo>
                      <a:cubicBezTo>
                        <a:pt x="39705" y="10271"/>
                        <a:pt x="36741" y="13235"/>
                        <a:pt x="33088" y="13235"/>
                      </a:cubicBezTo>
                      <a:close/>
                    </a:path>
                  </a:pathLst>
                </a:custGeom>
                <a:solidFill>
                  <a:schemeClr val="accent1"/>
                </a:solidFill>
                <a:ln w="2991" cap="flat">
                  <a:noFill/>
                  <a:prstDash val="solid"/>
                  <a:miter/>
                </a:ln>
              </p:spPr>
              <p:txBody>
                <a:bodyPr rtlCol="0" anchor="ctr"/>
                <a:lstStyle/>
                <a:p>
                  <a:endParaRPr lang="en-GB" dirty="0"/>
                </a:p>
              </p:txBody>
            </p:sp>
          </p:grpSp>
          <p:grpSp>
            <p:nvGrpSpPr>
              <p:cNvPr id="257" name="Grafik 306">
                <a:extLst>
                  <a:ext uri="{FF2B5EF4-FFF2-40B4-BE49-F238E27FC236}">
                    <a16:creationId xmlns:a16="http://schemas.microsoft.com/office/drawing/2014/main" id="{7BBE4CB9-FDF2-4EBA-9F71-886E8113923A}"/>
                  </a:ext>
                </a:extLst>
              </p:cNvPr>
              <p:cNvGrpSpPr/>
              <p:nvPr/>
            </p:nvGrpSpPr>
            <p:grpSpPr>
              <a:xfrm>
                <a:off x="1157931" y="3642406"/>
                <a:ext cx="39705" cy="39704"/>
                <a:chOff x="1157931" y="3642406"/>
                <a:chExt cx="39705" cy="39704"/>
              </a:xfrm>
              <a:solidFill>
                <a:schemeClr val="accent1"/>
              </a:solidFill>
            </p:grpSpPr>
            <p:sp>
              <p:nvSpPr>
                <p:cNvPr id="261" name="Freihandform: Form 260">
                  <a:extLst>
                    <a:ext uri="{FF2B5EF4-FFF2-40B4-BE49-F238E27FC236}">
                      <a16:creationId xmlns:a16="http://schemas.microsoft.com/office/drawing/2014/main" id="{68DA8AF5-F9FE-49E6-8A7B-FF29519A9CB9}"/>
                    </a:ext>
                  </a:extLst>
                </p:cNvPr>
                <p:cNvSpPr/>
                <p:nvPr/>
              </p:nvSpPr>
              <p:spPr>
                <a:xfrm>
                  <a:off x="1171166" y="3642406"/>
                  <a:ext cx="13235" cy="39704"/>
                </a:xfrm>
                <a:custGeom>
                  <a:avLst/>
                  <a:gdLst>
                    <a:gd name="connsiteX0" fmla="*/ 6618 w 13235"/>
                    <a:gd name="connsiteY0" fmla="*/ 39705 h 39704"/>
                    <a:gd name="connsiteX1" fmla="*/ 0 w 13235"/>
                    <a:gd name="connsiteY1" fmla="*/ 33088 h 39704"/>
                    <a:gd name="connsiteX2" fmla="*/ 0 w 13235"/>
                    <a:gd name="connsiteY2" fmla="*/ 6617 h 39704"/>
                    <a:gd name="connsiteX3" fmla="*/ 6618 w 13235"/>
                    <a:gd name="connsiteY3" fmla="*/ 0 h 39704"/>
                    <a:gd name="connsiteX4" fmla="*/ 13235 w 13235"/>
                    <a:gd name="connsiteY4" fmla="*/ 6617 h 39704"/>
                    <a:gd name="connsiteX5" fmla="*/ 13235 w 13235"/>
                    <a:gd name="connsiteY5" fmla="*/ 33088 h 39704"/>
                    <a:gd name="connsiteX6" fmla="*/ 6618 w 13235"/>
                    <a:gd name="connsiteY6" fmla="*/ 39705 h 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39704">
                      <a:moveTo>
                        <a:pt x="6618" y="39705"/>
                      </a:moveTo>
                      <a:cubicBezTo>
                        <a:pt x="2964" y="39705"/>
                        <a:pt x="0" y="36741"/>
                        <a:pt x="0" y="33088"/>
                      </a:cubicBezTo>
                      <a:lnTo>
                        <a:pt x="0" y="6617"/>
                      </a:lnTo>
                      <a:cubicBezTo>
                        <a:pt x="0" y="2964"/>
                        <a:pt x="2964" y="0"/>
                        <a:pt x="6618" y="0"/>
                      </a:cubicBezTo>
                      <a:cubicBezTo>
                        <a:pt x="10271" y="0"/>
                        <a:pt x="13235" y="2964"/>
                        <a:pt x="13235" y="6617"/>
                      </a:cubicBezTo>
                      <a:lnTo>
                        <a:pt x="13235" y="33088"/>
                      </a:lnTo>
                      <a:cubicBezTo>
                        <a:pt x="13235" y="36741"/>
                        <a:pt x="10271" y="39705"/>
                        <a:pt x="6618" y="39705"/>
                      </a:cubicBezTo>
                      <a:close/>
                    </a:path>
                  </a:pathLst>
                </a:custGeom>
                <a:solidFill>
                  <a:schemeClr val="accent1"/>
                </a:solidFill>
                <a:ln w="2991" cap="flat">
                  <a:noFill/>
                  <a:prstDash val="solid"/>
                  <a:miter/>
                </a:ln>
              </p:spPr>
              <p:txBody>
                <a:bodyPr rtlCol="0" anchor="ctr"/>
                <a:lstStyle/>
                <a:p>
                  <a:endParaRPr lang="en-GB" dirty="0"/>
                </a:p>
              </p:txBody>
            </p:sp>
            <p:sp>
              <p:nvSpPr>
                <p:cNvPr id="262" name="Freihandform: Form 261">
                  <a:extLst>
                    <a:ext uri="{FF2B5EF4-FFF2-40B4-BE49-F238E27FC236}">
                      <a16:creationId xmlns:a16="http://schemas.microsoft.com/office/drawing/2014/main" id="{F6EBA3D8-A7FF-4544-8CCE-C3C41294F768}"/>
                    </a:ext>
                  </a:extLst>
                </p:cNvPr>
                <p:cNvSpPr/>
                <p:nvPr/>
              </p:nvSpPr>
              <p:spPr>
                <a:xfrm>
                  <a:off x="1157931" y="3655641"/>
                  <a:ext cx="39705" cy="13234"/>
                </a:xfrm>
                <a:custGeom>
                  <a:avLst/>
                  <a:gdLst>
                    <a:gd name="connsiteX0" fmla="*/ 33088 w 39705"/>
                    <a:gd name="connsiteY0" fmla="*/ 13235 h 13234"/>
                    <a:gd name="connsiteX1" fmla="*/ 6618 w 39705"/>
                    <a:gd name="connsiteY1" fmla="*/ 13235 h 13234"/>
                    <a:gd name="connsiteX2" fmla="*/ 0 w 39705"/>
                    <a:gd name="connsiteY2" fmla="*/ 6618 h 13234"/>
                    <a:gd name="connsiteX3" fmla="*/ 6618 w 39705"/>
                    <a:gd name="connsiteY3" fmla="*/ 0 h 13234"/>
                    <a:gd name="connsiteX4" fmla="*/ 33088 w 39705"/>
                    <a:gd name="connsiteY4" fmla="*/ 0 h 13234"/>
                    <a:gd name="connsiteX5" fmla="*/ 39705 w 39705"/>
                    <a:gd name="connsiteY5" fmla="*/ 6618 h 13234"/>
                    <a:gd name="connsiteX6" fmla="*/ 33088 w 39705"/>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05" h="13234">
                      <a:moveTo>
                        <a:pt x="33088" y="13235"/>
                      </a:moveTo>
                      <a:lnTo>
                        <a:pt x="6618" y="13235"/>
                      </a:lnTo>
                      <a:cubicBezTo>
                        <a:pt x="2964" y="13235"/>
                        <a:pt x="0" y="10271"/>
                        <a:pt x="0" y="6618"/>
                      </a:cubicBezTo>
                      <a:cubicBezTo>
                        <a:pt x="0" y="2964"/>
                        <a:pt x="2964" y="0"/>
                        <a:pt x="6618" y="0"/>
                      </a:cubicBezTo>
                      <a:lnTo>
                        <a:pt x="33088" y="0"/>
                      </a:lnTo>
                      <a:cubicBezTo>
                        <a:pt x="36741" y="0"/>
                        <a:pt x="39705" y="2964"/>
                        <a:pt x="39705" y="6618"/>
                      </a:cubicBezTo>
                      <a:cubicBezTo>
                        <a:pt x="39705" y="10271"/>
                        <a:pt x="36741" y="13235"/>
                        <a:pt x="33088" y="13235"/>
                      </a:cubicBezTo>
                      <a:close/>
                    </a:path>
                  </a:pathLst>
                </a:custGeom>
                <a:solidFill>
                  <a:schemeClr val="accent1"/>
                </a:solidFill>
                <a:ln w="2991" cap="flat">
                  <a:noFill/>
                  <a:prstDash val="solid"/>
                  <a:miter/>
                </a:ln>
              </p:spPr>
              <p:txBody>
                <a:bodyPr rtlCol="0" anchor="ctr"/>
                <a:lstStyle/>
                <a:p>
                  <a:endParaRPr lang="en-GB" dirty="0"/>
                </a:p>
              </p:txBody>
            </p:sp>
          </p:grpSp>
          <p:grpSp>
            <p:nvGrpSpPr>
              <p:cNvPr id="258" name="Grafik 306">
                <a:extLst>
                  <a:ext uri="{FF2B5EF4-FFF2-40B4-BE49-F238E27FC236}">
                    <a16:creationId xmlns:a16="http://schemas.microsoft.com/office/drawing/2014/main" id="{31BB3C77-33D7-4A98-8022-201D970BF409}"/>
                  </a:ext>
                </a:extLst>
              </p:cNvPr>
              <p:cNvGrpSpPr/>
              <p:nvPr/>
            </p:nvGrpSpPr>
            <p:grpSpPr>
              <a:xfrm>
                <a:off x="1112148" y="3490083"/>
                <a:ext cx="39705" cy="39704"/>
                <a:chOff x="1112148" y="3490083"/>
                <a:chExt cx="39705" cy="39704"/>
              </a:xfrm>
              <a:solidFill>
                <a:schemeClr val="accent1"/>
              </a:solidFill>
            </p:grpSpPr>
            <p:sp>
              <p:nvSpPr>
                <p:cNvPr id="259" name="Freihandform: Form 258">
                  <a:extLst>
                    <a:ext uri="{FF2B5EF4-FFF2-40B4-BE49-F238E27FC236}">
                      <a16:creationId xmlns:a16="http://schemas.microsoft.com/office/drawing/2014/main" id="{811E1008-E2F7-4E04-AA0D-F70A7B6A25B2}"/>
                    </a:ext>
                  </a:extLst>
                </p:cNvPr>
                <p:cNvSpPr/>
                <p:nvPr/>
              </p:nvSpPr>
              <p:spPr>
                <a:xfrm>
                  <a:off x="1125383" y="3490083"/>
                  <a:ext cx="13235" cy="39704"/>
                </a:xfrm>
                <a:custGeom>
                  <a:avLst/>
                  <a:gdLst>
                    <a:gd name="connsiteX0" fmla="*/ 6618 w 13235"/>
                    <a:gd name="connsiteY0" fmla="*/ 39705 h 39704"/>
                    <a:gd name="connsiteX1" fmla="*/ 0 w 13235"/>
                    <a:gd name="connsiteY1" fmla="*/ 33088 h 39704"/>
                    <a:gd name="connsiteX2" fmla="*/ 0 w 13235"/>
                    <a:gd name="connsiteY2" fmla="*/ 6617 h 39704"/>
                    <a:gd name="connsiteX3" fmla="*/ 6618 w 13235"/>
                    <a:gd name="connsiteY3" fmla="*/ 0 h 39704"/>
                    <a:gd name="connsiteX4" fmla="*/ 13235 w 13235"/>
                    <a:gd name="connsiteY4" fmla="*/ 6617 h 39704"/>
                    <a:gd name="connsiteX5" fmla="*/ 13235 w 13235"/>
                    <a:gd name="connsiteY5" fmla="*/ 33088 h 39704"/>
                    <a:gd name="connsiteX6" fmla="*/ 6618 w 13235"/>
                    <a:gd name="connsiteY6" fmla="*/ 39705 h 39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39704">
                      <a:moveTo>
                        <a:pt x="6618" y="39705"/>
                      </a:moveTo>
                      <a:cubicBezTo>
                        <a:pt x="2964" y="39705"/>
                        <a:pt x="0" y="36741"/>
                        <a:pt x="0" y="33088"/>
                      </a:cubicBezTo>
                      <a:lnTo>
                        <a:pt x="0" y="6617"/>
                      </a:lnTo>
                      <a:cubicBezTo>
                        <a:pt x="0" y="2964"/>
                        <a:pt x="2964" y="0"/>
                        <a:pt x="6618" y="0"/>
                      </a:cubicBezTo>
                      <a:cubicBezTo>
                        <a:pt x="10271" y="0"/>
                        <a:pt x="13235" y="2964"/>
                        <a:pt x="13235" y="6617"/>
                      </a:cubicBezTo>
                      <a:lnTo>
                        <a:pt x="13235" y="33088"/>
                      </a:lnTo>
                      <a:cubicBezTo>
                        <a:pt x="13235" y="36741"/>
                        <a:pt x="10271" y="39705"/>
                        <a:pt x="6618" y="39705"/>
                      </a:cubicBezTo>
                      <a:close/>
                    </a:path>
                  </a:pathLst>
                </a:custGeom>
                <a:solidFill>
                  <a:schemeClr val="accent1"/>
                </a:solidFill>
                <a:ln w="2991" cap="flat">
                  <a:noFill/>
                  <a:prstDash val="solid"/>
                  <a:miter/>
                </a:ln>
              </p:spPr>
              <p:txBody>
                <a:bodyPr rtlCol="0" anchor="ctr"/>
                <a:lstStyle/>
                <a:p>
                  <a:endParaRPr lang="en-GB" dirty="0"/>
                </a:p>
              </p:txBody>
            </p:sp>
            <p:sp>
              <p:nvSpPr>
                <p:cNvPr id="260" name="Freihandform: Form 259">
                  <a:extLst>
                    <a:ext uri="{FF2B5EF4-FFF2-40B4-BE49-F238E27FC236}">
                      <a16:creationId xmlns:a16="http://schemas.microsoft.com/office/drawing/2014/main" id="{CB183B95-610F-452E-8A94-1479A269A2B2}"/>
                    </a:ext>
                  </a:extLst>
                </p:cNvPr>
                <p:cNvSpPr/>
                <p:nvPr/>
              </p:nvSpPr>
              <p:spPr>
                <a:xfrm>
                  <a:off x="1112148" y="3503318"/>
                  <a:ext cx="39705" cy="13234"/>
                </a:xfrm>
                <a:custGeom>
                  <a:avLst/>
                  <a:gdLst>
                    <a:gd name="connsiteX0" fmla="*/ 33088 w 39705"/>
                    <a:gd name="connsiteY0" fmla="*/ 13235 h 13234"/>
                    <a:gd name="connsiteX1" fmla="*/ 6618 w 39705"/>
                    <a:gd name="connsiteY1" fmla="*/ 13235 h 13234"/>
                    <a:gd name="connsiteX2" fmla="*/ 0 w 39705"/>
                    <a:gd name="connsiteY2" fmla="*/ 6617 h 13234"/>
                    <a:gd name="connsiteX3" fmla="*/ 6618 w 39705"/>
                    <a:gd name="connsiteY3" fmla="*/ 0 h 13234"/>
                    <a:gd name="connsiteX4" fmla="*/ 33088 w 39705"/>
                    <a:gd name="connsiteY4" fmla="*/ 0 h 13234"/>
                    <a:gd name="connsiteX5" fmla="*/ 39705 w 39705"/>
                    <a:gd name="connsiteY5" fmla="*/ 6617 h 13234"/>
                    <a:gd name="connsiteX6" fmla="*/ 33088 w 39705"/>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705" h="13234">
                      <a:moveTo>
                        <a:pt x="33088" y="13235"/>
                      </a:moveTo>
                      <a:lnTo>
                        <a:pt x="6618" y="13235"/>
                      </a:lnTo>
                      <a:cubicBezTo>
                        <a:pt x="2964" y="13235"/>
                        <a:pt x="0" y="10271"/>
                        <a:pt x="0" y="6617"/>
                      </a:cubicBezTo>
                      <a:cubicBezTo>
                        <a:pt x="0" y="2964"/>
                        <a:pt x="2964" y="0"/>
                        <a:pt x="6618" y="0"/>
                      </a:cubicBezTo>
                      <a:lnTo>
                        <a:pt x="33088" y="0"/>
                      </a:lnTo>
                      <a:cubicBezTo>
                        <a:pt x="36741" y="0"/>
                        <a:pt x="39705" y="2964"/>
                        <a:pt x="39705" y="6617"/>
                      </a:cubicBezTo>
                      <a:cubicBezTo>
                        <a:pt x="39705" y="10271"/>
                        <a:pt x="36741" y="13235"/>
                        <a:pt x="33088" y="13235"/>
                      </a:cubicBezTo>
                      <a:close/>
                    </a:path>
                  </a:pathLst>
                </a:custGeom>
                <a:solidFill>
                  <a:schemeClr val="accent1"/>
                </a:solidFill>
                <a:ln w="2991" cap="flat">
                  <a:noFill/>
                  <a:prstDash val="solid"/>
                  <a:miter/>
                </a:ln>
              </p:spPr>
              <p:txBody>
                <a:bodyPr rtlCol="0" anchor="ctr"/>
                <a:lstStyle/>
                <a:p>
                  <a:endParaRPr lang="en-GB" dirty="0"/>
                </a:p>
              </p:txBody>
            </p:sp>
          </p:grpSp>
        </p:grpSp>
      </p:grpSp>
      <p:grpSp>
        <p:nvGrpSpPr>
          <p:cNvPr id="17" name="Group 16">
            <a:extLst>
              <a:ext uri="{FF2B5EF4-FFF2-40B4-BE49-F238E27FC236}">
                <a16:creationId xmlns:a16="http://schemas.microsoft.com/office/drawing/2014/main" id="{28BAEF06-4112-A93C-0994-2E0043F0BBA1}"/>
              </a:ext>
            </a:extLst>
          </p:cNvPr>
          <p:cNvGrpSpPr/>
          <p:nvPr/>
        </p:nvGrpSpPr>
        <p:grpSpPr>
          <a:xfrm>
            <a:off x="567555" y="4097456"/>
            <a:ext cx="452986" cy="432000"/>
            <a:chOff x="567555" y="4097456"/>
            <a:chExt cx="452986" cy="432000"/>
          </a:xfrm>
        </p:grpSpPr>
        <p:grpSp>
          <p:nvGrpSpPr>
            <p:cNvPr id="284" name="Group 1090">
              <a:extLst>
                <a:ext uri="{FF2B5EF4-FFF2-40B4-BE49-F238E27FC236}">
                  <a16:creationId xmlns:a16="http://schemas.microsoft.com/office/drawing/2014/main" id="{364997EA-7AFB-4E27-8E11-BD52B10231D5}"/>
                </a:ext>
              </a:extLst>
            </p:cNvPr>
            <p:cNvGrpSpPr/>
            <p:nvPr/>
          </p:nvGrpSpPr>
          <p:grpSpPr>
            <a:xfrm>
              <a:off x="567555" y="4097456"/>
              <a:ext cx="452986" cy="432000"/>
              <a:chOff x="897003" y="4093236"/>
              <a:chExt cx="456339" cy="435198"/>
            </a:xfrm>
            <a:solidFill>
              <a:schemeClr val="accent1"/>
            </a:solidFill>
          </p:grpSpPr>
          <p:sp>
            <p:nvSpPr>
              <p:cNvPr id="291" name="Freihandform: Form 290">
                <a:extLst>
                  <a:ext uri="{FF2B5EF4-FFF2-40B4-BE49-F238E27FC236}">
                    <a16:creationId xmlns:a16="http://schemas.microsoft.com/office/drawing/2014/main" id="{C918BDAA-6579-4C21-B1A1-097010987249}"/>
                  </a:ext>
                </a:extLst>
              </p:cNvPr>
              <p:cNvSpPr/>
              <p:nvPr/>
            </p:nvSpPr>
            <p:spPr>
              <a:xfrm>
                <a:off x="897003" y="4184354"/>
                <a:ext cx="456339" cy="253591"/>
              </a:xfrm>
              <a:custGeom>
                <a:avLst/>
                <a:gdLst>
                  <a:gd name="connsiteX0" fmla="*/ 228170 w 456339"/>
                  <a:gd name="connsiteY0" fmla="*/ 253592 h 253591"/>
                  <a:gd name="connsiteX1" fmla="*/ 1078 w 456339"/>
                  <a:gd name="connsiteY1" fmla="*/ 130404 h 253591"/>
                  <a:gd name="connsiteX2" fmla="*/ 1078 w 456339"/>
                  <a:gd name="connsiteY2" fmla="*/ 123188 h 253591"/>
                  <a:gd name="connsiteX3" fmla="*/ 228170 w 456339"/>
                  <a:gd name="connsiteY3" fmla="*/ 0 h 253591"/>
                  <a:gd name="connsiteX4" fmla="*/ 228170 w 456339"/>
                  <a:gd name="connsiteY4" fmla="*/ 0 h 253591"/>
                  <a:gd name="connsiteX5" fmla="*/ 455261 w 456339"/>
                  <a:gd name="connsiteY5" fmla="*/ 123188 h 253591"/>
                  <a:gd name="connsiteX6" fmla="*/ 455261 w 456339"/>
                  <a:gd name="connsiteY6" fmla="*/ 130404 h 253591"/>
                  <a:gd name="connsiteX7" fmla="*/ 273384 w 456339"/>
                  <a:gd name="connsiteY7" fmla="*/ 249819 h 253591"/>
                  <a:gd name="connsiteX8" fmla="*/ 228170 w 456339"/>
                  <a:gd name="connsiteY8" fmla="*/ 253592 h 253591"/>
                  <a:gd name="connsiteX9" fmla="*/ 14553 w 456339"/>
                  <a:gd name="connsiteY9" fmla="*/ 126811 h 253591"/>
                  <a:gd name="connsiteX10" fmla="*/ 228170 w 456339"/>
                  <a:gd name="connsiteY10" fmla="*/ 240357 h 253591"/>
                  <a:gd name="connsiteX11" fmla="*/ 271199 w 456339"/>
                  <a:gd name="connsiteY11" fmla="*/ 236763 h 253591"/>
                  <a:gd name="connsiteX12" fmla="*/ 441787 w 456339"/>
                  <a:gd name="connsiteY12" fmla="*/ 126781 h 253591"/>
                  <a:gd name="connsiteX13" fmla="*/ 228170 w 456339"/>
                  <a:gd name="connsiteY13" fmla="*/ 13235 h 253591"/>
                  <a:gd name="connsiteX14" fmla="*/ 14553 w 456339"/>
                  <a:gd name="connsiteY14" fmla="*/ 126811 h 253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6339" h="253591">
                    <a:moveTo>
                      <a:pt x="228170" y="253592"/>
                    </a:moveTo>
                    <a:cubicBezTo>
                      <a:pt x="136273" y="253592"/>
                      <a:pt x="51383" y="207539"/>
                      <a:pt x="1078" y="130404"/>
                    </a:cubicBezTo>
                    <a:cubicBezTo>
                      <a:pt x="-359" y="128218"/>
                      <a:pt x="-359" y="125374"/>
                      <a:pt x="1078" y="123188"/>
                    </a:cubicBezTo>
                    <a:cubicBezTo>
                      <a:pt x="51383" y="46053"/>
                      <a:pt x="136273" y="0"/>
                      <a:pt x="228170" y="0"/>
                    </a:cubicBezTo>
                    <a:cubicBezTo>
                      <a:pt x="228170" y="0"/>
                      <a:pt x="228170" y="0"/>
                      <a:pt x="228170" y="0"/>
                    </a:cubicBezTo>
                    <a:cubicBezTo>
                      <a:pt x="320066" y="0"/>
                      <a:pt x="404956" y="46053"/>
                      <a:pt x="455261" y="123188"/>
                    </a:cubicBezTo>
                    <a:cubicBezTo>
                      <a:pt x="456699" y="125374"/>
                      <a:pt x="456699" y="128218"/>
                      <a:pt x="455261" y="130404"/>
                    </a:cubicBezTo>
                    <a:cubicBezTo>
                      <a:pt x="413909" y="193824"/>
                      <a:pt x="347614" y="237332"/>
                      <a:pt x="273384" y="249819"/>
                    </a:cubicBezTo>
                    <a:cubicBezTo>
                      <a:pt x="258532" y="252334"/>
                      <a:pt x="243321" y="253592"/>
                      <a:pt x="228170" y="253592"/>
                    </a:cubicBezTo>
                    <a:close/>
                    <a:moveTo>
                      <a:pt x="14553" y="126811"/>
                    </a:moveTo>
                    <a:cubicBezTo>
                      <a:pt x="62672" y="198017"/>
                      <a:pt x="142202" y="240357"/>
                      <a:pt x="228170" y="240357"/>
                    </a:cubicBezTo>
                    <a:cubicBezTo>
                      <a:pt x="242573" y="240357"/>
                      <a:pt x="257065" y="239159"/>
                      <a:pt x="271199" y="236763"/>
                    </a:cubicBezTo>
                    <a:cubicBezTo>
                      <a:pt x="340368" y="225145"/>
                      <a:pt x="402291" y="185141"/>
                      <a:pt x="441787" y="126781"/>
                    </a:cubicBezTo>
                    <a:cubicBezTo>
                      <a:pt x="393668" y="55575"/>
                      <a:pt x="314138" y="13235"/>
                      <a:pt x="228170" y="13235"/>
                    </a:cubicBezTo>
                    <a:cubicBezTo>
                      <a:pt x="142202" y="13235"/>
                      <a:pt x="62672" y="55605"/>
                      <a:pt x="14553" y="126811"/>
                    </a:cubicBezTo>
                    <a:close/>
                  </a:path>
                </a:pathLst>
              </a:custGeom>
              <a:solidFill>
                <a:schemeClr val="accent1"/>
              </a:solidFill>
              <a:ln w="2991" cap="flat">
                <a:noFill/>
                <a:prstDash val="solid"/>
                <a:miter/>
              </a:ln>
            </p:spPr>
            <p:txBody>
              <a:bodyPr rtlCol="0" anchor="ctr"/>
              <a:lstStyle/>
              <a:p>
                <a:endParaRPr lang="en-GB" dirty="0"/>
              </a:p>
            </p:txBody>
          </p:sp>
          <p:grpSp>
            <p:nvGrpSpPr>
              <p:cNvPr id="292" name="Grafik 306">
                <a:extLst>
                  <a:ext uri="{FF2B5EF4-FFF2-40B4-BE49-F238E27FC236}">
                    <a16:creationId xmlns:a16="http://schemas.microsoft.com/office/drawing/2014/main" id="{331989F8-B173-4BBA-8D4E-06EA942AAE4F}"/>
                  </a:ext>
                </a:extLst>
              </p:cNvPr>
              <p:cNvGrpSpPr/>
              <p:nvPr/>
            </p:nvGrpSpPr>
            <p:grpSpPr>
              <a:xfrm>
                <a:off x="998791" y="4453226"/>
                <a:ext cx="133238" cy="75208"/>
                <a:chOff x="998791" y="4453226"/>
                <a:chExt cx="133238" cy="75208"/>
              </a:xfrm>
              <a:solidFill>
                <a:schemeClr val="accent1"/>
              </a:solidFill>
            </p:grpSpPr>
            <p:sp>
              <p:nvSpPr>
                <p:cNvPr id="297" name="Freihandform: Form 296">
                  <a:extLst>
                    <a:ext uri="{FF2B5EF4-FFF2-40B4-BE49-F238E27FC236}">
                      <a16:creationId xmlns:a16="http://schemas.microsoft.com/office/drawing/2014/main" id="{3E5DA9E1-33FE-402B-AF14-5C1F3A36F8D6}"/>
                    </a:ext>
                  </a:extLst>
                </p:cNvPr>
                <p:cNvSpPr/>
                <p:nvPr/>
              </p:nvSpPr>
              <p:spPr>
                <a:xfrm>
                  <a:off x="1118795" y="4476483"/>
                  <a:ext cx="13235" cy="51951"/>
                </a:xfrm>
                <a:custGeom>
                  <a:avLst/>
                  <a:gdLst>
                    <a:gd name="connsiteX0" fmla="*/ 6618 w 13235"/>
                    <a:gd name="connsiteY0" fmla="*/ 51952 h 51951"/>
                    <a:gd name="connsiteX1" fmla="*/ 0 w 13235"/>
                    <a:gd name="connsiteY1" fmla="*/ 45335 h 51951"/>
                    <a:gd name="connsiteX2" fmla="*/ 0 w 13235"/>
                    <a:gd name="connsiteY2" fmla="*/ 6617 h 51951"/>
                    <a:gd name="connsiteX3" fmla="*/ 6618 w 13235"/>
                    <a:gd name="connsiteY3" fmla="*/ 0 h 51951"/>
                    <a:gd name="connsiteX4" fmla="*/ 13235 w 13235"/>
                    <a:gd name="connsiteY4" fmla="*/ 6617 h 51951"/>
                    <a:gd name="connsiteX5" fmla="*/ 13235 w 13235"/>
                    <a:gd name="connsiteY5" fmla="*/ 45335 h 51951"/>
                    <a:gd name="connsiteX6" fmla="*/ 6618 w 13235"/>
                    <a:gd name="connsiteY6" fmla="*/ 51952 h 5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51951">
                      <a:moveTo>
                        <a:pt x="6618" y="51952"/>
                      </a:moveTo>
                      <a:cubicBezTo>
                        <a:pt x="2964" y="51952"/>
                        <a:pt x="0" y="48988"/>
                        <a:pt x="0" y="45335"/>
                      </a:cubicBezTo>
                      <a:lnTo>
                        <a:pt x="0" y="6617"/>
                      </a:lnTo>
                      <a:cubicBezTo>
                        <a:pt x="0" y="2964"/>
                        <a:pt x="2964" y="0"/>
                        <a:pt x="6618" y="0"/>
                      </a:cubicBezTo>
                      <a:cubicBezTo>
                        <a:pt x="10271" y="0"/>
                        <a:pt x="13235" y="2964"/>
                        <a:pt x="13235" y="6617"/>
                      </a:cubicBezTo>
                      <a:lnTo>
                        <a:pt x="13235" y="45335"/>
                      </a:lnTo>
                      <a:cubicBezTo>
                        <a:pt x="13235" y="49018"/>
                        <a:pt x="10271" y="51952"/>
                        <a:pt x="6618" y="51952"/>
                      </a:cubicBezTo>
                      <a:close/>
                    </a:path>
                  </a:pathLst>
                </a:custGeom>
                <a:solidFill>
                  <a:schemeClr val="accent1"/>
                </a:solidFill>
                <a:ln w="2991" cap="flat">
                  <a:noFill/>
                  <a:prstDash val="solid"/>
                  <a:miter/>
                </a:ln>
              </p:spPr>
              <p:txBody>
                <a:bodyPr rtlCol="0" anchor="ctr"/>
                <a:lstStyle/>
                <a:p>
                  <a:endParaRPr lang="en-GB" dirty="0"/>
                </a:p>
              </p:txBody>
            </p:sp>
            <p:sp>
              <p:nvSpPr>
                <p:cNvPr id="298" name="Freihandform: Form 297">
                  <a:extLst>
                    <a:ext uri="{FF2B5EF4-FFF2-40B4-BE49-F238E27FC236}">
                      <a16:creationId xmlns:a16="http://schemas.microsoft.com/office/drawing/2014/main" id="{E2D60393-68A3-404C-9489-76BE09AFEB04}"/>
                    </a:ext>
                  </a:extLst>
                </p:cNvPr>
                <p:cNvSpPr/>
                <p:nvPr/>
              </p:nvSpPr>
              <p:spPr>
                <a:xfrm>
                  <a:off x="998791" y="4453226"/>
                  <a:ext cx="32588" cy="46791"/>
                </a:xfrm>
                <a:custGeom>
                  <a:avLst/>
                  <a:gdLst>
                    <a:gd name="connsiteX0" fmla="*/ 6608 w 32588"/>
                    <a:gd name="connsiteY0" fmla="*/ 46792 h 46791"/>
                    <a:gd name="connsiteX1" fmla="*/ 3314 w 32588"/>
                    <a:gd name="connsiteY1" fmla="*/ 45894 h 46791"/>
                    <a:gd name="connsiteX2" fmla="*/ 888 w 32588"/>
                    <a:gd name="connsiteY2" fmla="*/ 36851 h 46791"/>
                    <a:gd name="connsiteX3" fmla="*/ 20232 w 32588"/>
                    <a:gd name="connsiteY3" fmla="*/ 3314 h 46791"/>
                    <a:gd name="connsiteX4" fmla="*/ 29275 w 32588"/>
                    <a:gd name="connsiteY4" fmla="*/ 888 h 46791"/>
                    <a:gd name="connsiteX5" fmla="*/ 31700 w 32588"/>
                    <a:gd name="connsiteY5" fmla="*/ 9931 h 46791"/>
                    <a:gd name="connsiteX6" fmla="*/ 12357 w 32588"/>
                    <a:gd name="connsiteY6" fmla="*/ 43468 h 46791"/>
                    <a:gd name="connsiteX7" fmla="*/ 6608 w 32588"/>
                    <a:gd name="connsiteY7" fmla="*/ 46792 h 4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88" h="46791">
                      <a:moveTo>
                        <a:pt x="6608" y="46792"/>
                      </a:moveTo>
                      <a:cubicBezTo>
                        <a:pt x="5500" y="46792"/>
                        <a:pt x="4362" y="46522"/>
                        <a:pt x="3314" y="45894"/>
                      </a:cubicBezTo>
                      <a:cubicBezTo>
                        <a:pt x="140" y="44067"/>
                        <a:pt x="-938" y="40025"/>
                        <a:pt x="888" y="36851"/>
                      </a:cubicBezTo>
                      <a:lnTo>
                        <a:pt x="20232" y="3314"/>
                      </a:lnTo>
                      <a:cubicBezTo>
                        <a:pt x="22059" y="140"/>
                        <a:pt x="26101" y="-938"/>
                        <a:pt x="29275" y="888"/>
                      </a:cubicBezTo>
                      <a:cubicBezTo>
                        <a:pt x="32449" y="2715"/>
                        <a:pt x="33527" y="6757"/>
                        <a:pt x="31700" y="9931"/>
                      </a:cubicBezTo>
                      <a:lnTo>
                        <a:pt x="12357" y="43468"/>
                      </a:lnTo>
                      <a:cubicBezTo>
                        <a:pt x="11129" y="45624"/>
                        <a:pt x="8883" y="46792"/>
                        <a:pt x="6608" y="46792"/>
                      </a:cubicBezTo>
                      <a:close/>
                    </a:path>
                  </a:pathLst>
                </a:custGeom>
                <a:solidFill>
                  <a:schemeClr val="accent1"/>
                </a:solidFill>
                <a:ln w="2991" cap="flat">
                  <a:noFill/>
                  <a:prstDash val="solid"/>
                  <a:miter/>
                </a:ln>
              </p:spPr>
              <p:txBody>
                <a:bodyPr rtlCol="0" anchor="ctr"/>
                <a:lstStyle/>
                <a:p>
                  <a:endParaRPr lang="en-GB" dirty="0"/>
                </a:p>
              </p:txBody>
            </p:sp>
          </p:grpSp>
          <p:sp>
            <p:nvSpPr>
              <p:cNvPr id="293" name="Freihandform: Form 292">
                <a:extLst>
                  <a:ext uri="{FF2B5EF4-FFF2-40B4-BE49-F238E27FC236}">
                    <a16:creationId xmlns:a16="http://schemas.microsoft.com/office/drawing/2014/main" id="{C9C87E73-CE5F-49E1-B4DB-0B0B6D1CFCB9}"/>
                  </a:ext>
                </a:extLst>
              </p:cNvPr>
              <p:cNvSpPr/>
              <p:nvPr/>
            </p:nvSpPr>
            <p:spPr>
              <a:xfrm>
                <a:off x="1118795" y="4093236"/>
                <a:ext cx="13235" cy="51951"/>
              </a:xfrm>
              <a:custGeom>
                <a:avLst/>
                <a:gdLst>
                  <a:gd name="connsiteX0" fmla="*/ 6618 w 13235"/>
                  <a:gd name="connsiteY0" fmla="*/ 51952 h 51951"/>
                  <a:gd name="connsiteX1" fmla="*/ 0 w 13235"/>
                  <a:gd name="connsiteY1" fmla="*/ 45334 h 51951"/>
                  <a:gd name="connsiteX2" fmla="*/ 0 w 13235"/>
                  <a:gd name="connsiteY2" fmla="*/ 6617 h 51951"/>
                  <a:gd name="connsiteX3" fmla="*/ 6618 w 13235"/>
                  <a:gd name="connsiteY3" fmla="*/ 0 h 51951"/>
                  <a:gd name="connsiteX4" fmla="*/ 13235 w 13235"/>
                  <a:gd name="connsiteY4" fmla="*/ 6617 h 51951"/>
                  <a:gd name="connsiteX5" fmla="*/ 13235 w 13235"/>
                  <a:gd name="connsiteY5" fmla="*/ 45334 h 51951"/>
                  <a:gd name="connsiteX6" fmla="*/ 6618 w 13235"/>
                  <a:gd name="connsiteY6" fmla="*/ 51952 h 51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51951">
                    <a:moveTo>
                      <a:pt x="6618" y="51952"/>
                    </a:moveTo>
                    <a:cubicBezTo>
                      <a:pt x="2964" y="51952"/>
                      <a:pt x="0" y="48988"/>
                      <a:pt x="0" y="45334"/>
                    </a:cubicBezTo>
                    <a:lnTo>
                      <a:pt x="0" y="6617"/>
                    </a:lnTo>
                    <a:cubicBezTo>
                      <a:pt x="0" y="2964"/>
                      <a:pt x="2964" y="0"/>
                      <a:pt x="6618" y="0"/>
                    </a:cubicBezTo>
                    <a:cubicBezTo>
                      <a:pt x="10271" y="0"/>
                      <a:pt x="13235" y="2964"/>
                      <a:pt x="13235" y="6617"/>
                    </a:cubicBezTo>
                    <a:lnTo>
                      <a:pt x="13235" y="45334"/>
                    </a:lnTo>
                    <a:cubicBezTo>
                      <a:pt x="13235" y="48988"/>
                      <a:pt x="10271" y="51952"/>
                      <a:pt x="6618" y="51952"/>
                    </a:cubicBezTo>
                    <a:close/>
                  </a:path>
                </a:pathLst>
              </a:custGeom>
              <a:solidFill>
                <a:schemeClr val="accent1"/>
              </a:solidFill>
              <a:ln w="2991" cap="flat">
                <a:noFill/>
                <a:prstDash val="solid"/>
                <a:miter/>
              </a:ln>
            </p:spPr>
            <p:txBody>
              <a:bodyPr rtlCol="0" anchor="ctr"/>
              <a:lstStyle/>
              <a:p>
                <a:endParaRPr lang="en-GB" dirty="0"/>
              </a:p>
            </p:txBody>
          </p:sp>
          <p:sp>
            <p:nvSpPr>
              <p:cNvPr id="294" name="Freihandform: Form 293">
                <a:extLst>
                  <a:ext uri="{FF2B5EF4-FFF2-40B4-BE49-F238E27FC236}">
                    <a16:creationId xmlns:a16="http://schemas.microsoft.com/office/drawing/2014/main" id="{38583758-609C-45FE-81F8-D4CAE010BD51}"/>
                  </a:ext>
                </a:extLst>
              </p:cNvPr>
              <p:cNvSpPr/>
              <p:nvPr/>
            </p:nvSpPr>
            <p:spPr>
              <a:xfrm>
                <a:off x="998791" y="4121632"/>
                <a:ext cx="32588" cy="46791"/>
              </a:xfrm>
              <a:custGeom>
                <a:avLst/>
                <a:gdLst>
                  <a:gd name="connsiteX0" fmla="*/ 25981 w 32588"/>
                  <a:gd name="connsiteY0" fmla="*/ 46792 h 46791"/>
                  <a:gd name="connsiteX1" fmla="*/ 20232 w 32588"/>
                  <a:gd name="connsiteY1" fmla="*/ 43468 h 46791"/>
                  <a:gd name="connsiteX2" fmla="*/ 888 w 32588"/>
                  <a:gd name="connsiteY2" fmla="*/ 9931 h 46791"/>
                  <a:gd name="connsiteX3" fmla="*/ 3314 w 32588"/>
                  <a:gd name="connsiteY3" fmla="*/ 888 h 46791"/>
                  <a:gd name="connsiteX4" fmla="*/ 12357 w 32588"/>
                  <a:gd name="connsiteY4" fmla="*/ 3314 h 46791"/>
                  <a:gd name="connsiteX5" fmla="*/ 31700 w 32588"/>
                  <a:gd name="connsiteY5" fmla="*/ 36851 h 46791"/>
                  <a:gd name="connsiteX6" fmla="*/ 29275 w 32588"/>
                  <a:gd name="connsiteY6" fmla="*/ 45894 h 46791"/>
                  <a:gd name="connsiteX7" fmla="*/ 25981 w 32588"/>
                  <a:gd name="connsiteY7" fmla="*/ 46792 h 4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88" h="46791">
                    <a:moveTo>
                      <a:pt x="25981" y="46792"/>
                    </a:moveTo>
                    <a:cubicBezTo>
                      <a:pt x="23705" y="46792"/>
                      <a:pt x="21460" y="45594"/>
                      <a:pt x="20232" y="43468"/>
                    </a:cubicBezTo>
                    <a:lnTo>
                      <a:pt x="888" y="9931"/>
                    </a:lnTo>
                    <a:cubicBezTo>
                      <a:pt x="-938" y="6757"/>
                      <a:pt x="140" y="2715"/>
                      <a:pt x="3314" y="888"/>
                    </a:cubicBezTo>
                    <a:cubicBezTo>
                      <a:pt x="6488" y="-938"/>
                      <a:pt x="10530" y="140"/>
                      <a:pt x="12357" y="3314"/>
                    </a:cubicBezTo>
                    <a:lnTo>
                      <a:pt x="31700" y="36851"/>
                    </a:lnTo>
                    <a:cubicBezTo>
                      <a:pt x="33527" y="40025"/>
                      <a:pt x="32449" y="44067"/>
                      <a:pt x="29275" y="45894"/>
                    </a:cubicBezTo>
                    <a:cubicBezTo>
                      <a:pt x="28227" y="46492"/>
                      <a:pt x="27089" y="46792"/>
                      <a:pt x="25981" y="46792"/>
                    </a:cubicBezTo>
                    <a:close/>
                  </a:path>
                </a:pathLst>
              </a:custGeom>
              <a:solidFill>
                <a:schemeClr val="accent1"/>
              </a:solidFill>
              <a:ln w="2991" cap="flat">
                <a:noFill/>
                <a:prstDash val="solid"/>
                <a:miter/>
              </a:ln>
            </p:spPr>
            <p:txBody>
              <a:bodyPr rtlCol="0" anchor="ctr"/>
              <a:lstStyle/>
              <a:p>
                <a:endParaRPr lang="en-GB" dirty="0"/>
              </a:p>
            </p:txBody>
          </p:sp>
          <p:sp>
            <p:nvSpPr>
              <p:cNvPr id="295" name="Freihandform: Form 294">
                <a:extLst>
                  <a:ext uri="{FF2B5EF4-FFF2-40B4-BE49-F238E27FC236}">
                    <a16:creationId xmlns:a16="http://schemas.microsoft.com/office/drawing/2014/main" id="{F620B631-1B10-48D2-B2F7-F3ACAE6F6A63}"/>
                  </a:ext>
                </a:extLst>
              </p:cNvPr>
              <p:cNvSpPr/>
              <p:nvPr/>
            </p:nvSpPr>
            <p:spPr>
              <a:xfrm>
                <a:off x="1223338" y="4121632"/>
                <a:ext cx="32588" cy="46791"/>
              </a:xfrm>
              <a:custGeom>
                <a:avLst/>
                <a:gdLst>
                  <a:gd name="connsiteX0" fmla="*/ 6608 w 32588"/>
                  <a:gd name="connsiteY0" fmla="*/ 46792 h 46791"/>
                  <a:gd name="connsiteX1" fmla="*/ 3314 w 32588"/>
                  <a:gd name="connsiteY1" fmla="*/ 45894 h 46791"/>
                  <a:gd name="connsiteX2" fmla="*/ 888 w 32588"/>
                  <a:gd name="connsiteY2" fmla="*/ 36851 h 46791"/>
                  <a:gd name="connsiteX3" fmla="*/ 20232 w 32588"/>
                  <a:gd name="connsiteY3" fmla="*/ 3314 h 46791"/>
                  <a:gd name="connsiteX4" fmla="*/ 29275 w 32588"/>
                  <a:gd name="connsiteY4" fmla="*/ 888 h 46791"/>
                  <a:gd name="connsiteX5" fmla="*/ 31700 w 32588"/>
                  <a:gd name="connsiteY5" fmla="*/ 9931 h 46791"/>
                  <a:gd name="connsiteX6" fmla="*/ 12357 w 32588"/>
                  <a:gd name="connsiteY6" fmla="*/ 43468 h 46791"/>
                  <a:gd name="connsiteX7" fmla="*/ 6608 w 32588"/>
                  <a:gd name="connsiteY7" fmla="*/ 46792 h 4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88" h="46791">
                    <a:moveTo>
                      <a:pt x="6608" y="46792"/>
                    </a:moveTo>
                    <a:cubicBezTo>
                      <a:pt x="5500" y="46792"/>
                      <a:pt x="4362" y="46522"/>
                      <a:pt x="3314" y="45894"/>
                    </a:cubicBezTo>
                    <a:cubicBezTo>
                      <a:pt x="140" y="44067"/>
                      <a:pt x="-938" y="40025"/>
                      <a:pt x="888" y="36851"/>
                    </a:cubicBezTo>
                    <a:lnTo>
                      <a:pt x="20232" y="3314"/>
                    </a:lnTo>
                    <a:cubicBezTo>
                      <a:pt x="22058" y="140"/>
                      <a:pt x="26101" y="-938"/>
                      <a:pt x="29275" y="888"/>
                    </a:cubicBezTo>
                    <a:cubicBezTo>
                      <a:pt x="32449" y="2715"/>
                      <a:pt x="33527" y="6757"/>
                      <a:pt x="31700" y="9931"/>
                    </a:cubicBezTo>
                    <a:lnTo>
                      <a:pt x="12357" y="43468"/>
                    </a:lnTo>
                    <a:cubicBezTo>
                      <a:pt x="11099" y="45594"/>
                      <a:pt x="8883" y="46792"/>
                      <a:pt x="6608" y="46792"/>
                    </a:cubicBezTo>
                    <a:close/>
                  </a:path>
                </a:pathLst>
              </a:custGeom>
              <a:solidFill>
                <a:schemeClr val="accent1"/>
              </a:solidFill>
              <a:ln w="2991" cap="flat">
                <a:noFill/>
                <a:prstDash val="solid"/>
                <a:miter/>
              </a:ln>
            </p:spPr>
            <p:txBody>
              <a:bodyPr rtlCol="0" anchor="ctr"/>
              <a:lstStyle/>
              <a:p>
                <a:endParaRPr lang="en-GB" dirty="0"/>
              </a:p>
            </p:txBody>
          </p:sp>
          <p:sp>
            <p:nvSpPr>
              <p:cNvPr id="296" name="Freihandform: Form 295">
                <a:extLst>
                  <a:ext uri="{FF2B5EF4-FFF2-40B4-BE49-F238E27FC236}">
                    <a16:creationId xmlns:a16="http://schemas.microsoft.com/office/drawing/2014/main" id="{1CD3CFEE-7127-458A-957C-EA2E3AED89EE}"/>
                  </a:ext>
                </a:extLst>
              </p:cNvPr>
              <p:cNvSpPr/>
              <p:nvPr/>
            </p:nvSpPr>
            <p:spPr>
              <a:xfrm>
                <a:off x="1220433" y="4453226"/>
                <a:ext cx="32588" cy="46791"/>
              </a:xfrm>
              <a:custGeom>
                <a:avLst/>
                <a:gdLst>
                  <a:gd name="connsiteX0" fmla="*/ 25981 w 32588"/>
                  <a:gd name="connsiteY0" fmla="*/ 46792 h 46791"/>
                  <a:gd name="connsiteX1" fmla="*/ 20232 w 32588"/>
                  <a:gd name="connsiteY1" fmla="*/ 43468 h 46791"/>
                  <a:gd name="connsiteX2" fmla="*/ 888 w 32588"/>
                  <a:gd name="connsiteY2" fmla="*/ 9931 h 46791"/>
                  <a:gd name="connsiteX3" fmla="*/ 3314 w 32588"/>
                  <a:gd name="connsiteY3" fmla="*/ 888 h 46791"/>
                  <a:gd name="connsiteX4" fmla="*/ 12357 w 32588"/>
                  <a:gd name="connsiteY4" fmla="*/ 3314 h 46791"/>
                  <a:gd name="connsiteX5" fmla="*/ 31700 w 32588"/>
                  <a:gd name="connsiteY5" fmla="*/ 36851 h 46791"/>
                  <a:gd name="connsiteX6" fmla="*/ 29275 w 32588"/>
                  <a:gd name="connsiteY6" fmla="*/ 45894 h 46791"/>
                  <a:gd name="connsiteX7" fmla="*/ 25981 w 32588"/>
                  <a:gd name="connsiteY7" fmla="*/ 46792 h 46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588" h="46791">
                    <a:moveTo>
                      <a:pt x="25981" y="46792"/>
                    </a:moveTo>
                    <a:cubicBezTo>
                      <a:pt x="23705" y="46792"/>
                      <a:pt x="21460" y="45594"/>
                      <a:pt x="20232" y="43468"/>
                    </a:cubicBezTo>
                    <a:lnTo>
                      <a:pt x="888" y="9931"/>
                    </a:lnTo>
                    <a:cubicBezTo>
                      <a:pt x="-938" y="6757"/>
                      <a:pt x="140" y="2715"/>
                      <a:pt x="3314" y="888"/>
                    </a:cubicBezTo>
                    <a:cubicBezTo>
                      <a:pt x="6458" y="-938"/>
                      <a:pt x="10530" y="140"/>
                      <a:pt x="12357" y="3314"/>
                    </a:cubicBezTo>
                    <a:lnTo>
                      <a:pt x="31700" y="36851"/>
                    </a:lnTo>
                    <a:cubicBezTo>
                      <a:pt x="33527" y="40025"/>
                      <a:pt x="32449" y="44067"/>
                      <a:pt x="29275" y="45894"/>
                    </a:cubicBezTo>
                    <a:cubicBezTo>
                      <a:pt x="28227" y="46522"/>
                      <a:pt x="27089" y="46792"/>
                      <a:pt x="25981" y="46792"/>
                    </a:cubicBezTo>
                    <a:close/>
                  </a:path>
                </a:pathLst>
              </a:custGeom>
              <a:solidFill>
                <a:schemeClr val="accent1"/>
              </a:solidFill>
              <a:ln w="2991" cap="flat">
                <a:noFill/>
                <a:prstDash val="solid"/>
                <a:miter/>
              </a:ln>
            </p:spPr>
            <p:txBody>
              <a:bodyPr rtlCol="0" anchor="ctr"/>
              <a:lstStyle/>
              <a:p>
                <a:endParaRPr lang="en-GB" dirty="0"/>
              </a:p>
            </p:txBody>
          </p:sp>
        </p:grpSp>
        <p:grpSp>
          <p:nvGrpSpPr>
            <p:cNvPr id="285" name="Grafik 306">
              <a:extLst>
                <a:ext uri="{FF2B5EF4-FFF2-40B4-BE49-F238E27FC236}">
                  <a16:creationId xmlns:a16="http://schemas.microsoft.com/office/drawing/2014/main" id="{24E2B2DD-85E3-4A6B-9B1D-4EFBBDFEE48B}"/>
                </a:ext>
              </a:extLst>
            </p:cNvPr>
            <p:cNvGrpSpPr/>
            <p:nvPr/>
          </p:nvGrpSpPr>
          <p:grpSpPr>
            <a:xfrm>
              <a:off x="722387" y="4221123"/>
              <a:ext cx="144575" cy="170820"/>
              <a:chOff x="1052979" y="4217831"/>
              <a:chExt cx="145645" cy="172085"/>
            </a:xfrm>
            <a:solidFill>
              <a:schemeClr val="tx2"/>
            </a:solidFill>
          </p:grpSpPr>
          <p:sp>
            <p:nvSpPr>
              <p:cNvPr id="286" name="Freihandform: Form 285">
                <a:extLst>
                  <a:ext uri="{FF2B5EF4-FFF2-40B4-BE49-F238E27FC236}">
                    <a16:creationId xmlns:a16="http://schemas.microsoft.com/office/drawing/2014/main" id="{F17D1399-1952-4B27-9ECF-65A7BA364CE1}"/>
                  </a:ext>
                </a:extLst>
              </p:cNvPr>
              <p:cNvSpPr/>
              <p:nvPr/>
            </p:nvSpPr>
            <p:spPr>
              <a:xfrm>
                <a:off x="1052979" y="4244271"/>
                <a:ext cx="145645" cy="145645"/>
              </a:xfrm>
              <a:custGeom>
                <a:avLst/>
                <a:gdLst>
                  <a:gd name="connsiteX0" fmla="*/ 72823 w 145645"/>
                  <a:gd name="connsiteY0" fmla="*/ 145645 h 145645"/>
                  <a:gd name="connsiteX1" fmla="*/ 0 w 145645"/>
                  <a:gd name="connsiteY1" fmla="*/ 72822 h 145645"/>
                  <a:gd name="connsiteX2" fmla="*/ 72823 w 145645"/>
                  <a:gd name="connsiteY2" fmla="*/ 0 h 145645"/>
                  <a:gd name="connsiteX3" fmla="*/ 145645 w 145645"/>
                  <a:gd name="connsiteY3" fmla="*/ 72822 h 145645"/>
                  <a:gd name="connsiteX4" fmla="*/ 72823 w 145645"/>
                  <a:gd name="connsiteY4" fmla="*/ 145645 h 145645"/>
                  <a:gd name="connsiteX5" fmla="*/ 72823 w 145645"/>
                  <a:gd name="connsiteY5" fmla="*/ 13265 h 145645"/>
                  <a:gd name="connsiteX6" fmla="*/ 13265 w 145645"/>
                  <a:gd name="connsiteY6" fmla="*/ 72822 h 145645"/>
                  <a:gd name="connsiteX7" fmla="*/ 72823 w 145645"/>
                  <a:gd name="connsiteY7" fmla="*/ 132380 h 145645"/>
                  <a:gd name="connsiteX8" fmla="*/ 132380 w 145645"/>
                  <a:gd name="connsiteY8" fmla="*/ 72822 h 145645"/>
                  <a:gd name="connsiteX9" fmla="*/ 72823 w 145645"/>
                  <a:gd name="connsiteY9" fmla="*/ 13265 h 145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5645" h="145645">
                    <a:moveTo>
                      <a:pt x="72823" y="145645"/>
                    </a:moveTo>
                    <a:cubicBezTo>
                      <a:pt x="32668" y="145645"/>
                      <a:pt x="0" y="112977"/>
                      <a:pt x="0" y="72822"/>
                    </a:cubicBezTo>
                    <a:cubicBezTo>
                      <a:pt x="0" y="32668"/>
                      <a:pt x="32668" y="0"/>
                      <a:pt x="72823" y="0"/>
                    </a:cubicBezTo>
                    <a:cubicBezTo>
                      <a:pt x="112977" y="0"/>
                      <a:pt x="145645" y="32668"/>
                      <a:pt x="145645" y="72822"/>
                    </a:cubicBezTo>
                    <a:cubicBezTo>
                      <a:pt x="145645" y="112977"/>
                      <a:pt x="112977" y="145645"/>
                      <a:pt x="72823" y="145645"/>
                    </a:cubicBezTo>
                    <a:close/>
                    <a:moveTo>
                      <a:pt x="72823" y="13265"/>
                    </a:moveTo>
                    <a:cubicBezTo>
                      <a:pt x="39975" y="13265"/>
                      <a:pt x="13265" y="39975"/>
                      <a:pt x="13265" y="72822"/>
                    </a:cubicBezTo>
                    <a:cubicBezTo>
                      <a:pt x="13265" y="105671"/>
                      <a:pt x="40005" y="132380"/>
                      <a:pt x="72823" y="132380"/>
                    </a:cubicBezTo>
                    <a:cubicBezTo>
                      <a:pt x="105641" y="132380"/>
                      <a:pt x="132380" y="105671"/>
                      <a:pt x="132380" y="72822"/>
                    </a:cubicBezTo>
                    <a:cubicBezTo>
                      <a:pt x="132410" y="39975"/>
                      <a:pt x="105671" y="13265"/>
                      <a:pt x="72823" y="13265"/>
                    </a:cubicBezTo>
                    <a:close/>
                  </a:path>
                </a:pathLst>
              </a:custGeom>
              <a:grpFill/>
              <a:ln w="2991" cap="flat">
                <a:noFill/>
                <a:prstDash val="solid"/>
                <a:miter/>
              </a:ln>
            </p:spPr>
            <p:txBody>
              <a:bodyPr rtlCol="0" anchor="ctr"/>
              <a:lstStyle/>
              <a:p>
                <a:endParaRPr lang="en-GB" dirty="0"/>
              </a:p>
            </p:txBody>
          </p:sp>
          <p:sp>
            <p:nvSpPr>
              <p:cNvPr id="287" name="Freihandform: Form 286">
                <a:extLst>
                  <a:ext uri="{FF2B5EF4-FFF2-40B4-BE49-F238E27FC236}">
                    <a16:creationId xmlns:a16="http://schemas.microsoft.com/office/drawing/2014/main" id="{C91B5D86-9118-4DD3-A1C5-726DCA404F1A}"/>
                  </a:ext>
                </a:extLst>
              </p:cNvPr>
              <p:cNvSpPr/>
              <p:nvPr/>
            </p:nvSpPr>
            <p:spPr>
              <a:xfrm>
                <a:off x="1112567" y="4217831"/>
                <a:ext cx="26470" cy="13234"/>
              </a:xfrm>
              <a:custGeom>
                <a:avLst/>
                <a:gdLst>
                  <a:gd name="connsiteX0" fmla="*/ 19853 w 26470"/>
                  <a:gd name="connsiteY0" fmla="*/ 13235 h 13234"/>
                  <a:gd name="connsiteX1" fmla="*/ 6618 w 26470"/>
                  <a:gd name="connsiteY1" fmla="*/ 13235 h 13234"/>
                  <a:gd name="connsiteX2" fmla="*/ 0 w 26470"/>
                  <a:gd name="connsiteY2" fmla="*/ 6618 h 13234"/>
                  <a:gd name="connsiteX3" fmla="*/ 6618 w 26470"/>
                  <a:gd name="connsiteY3" fmla="*/ 0 h 13234"/>
                  <a:gd name="connsiteX4" fmla="*/ 19853 w 26470"/>
                  <a:gd name="connsiteY4" fmla="*/ 0 h 13234"/>
                  <a:gd name="connsiteX5" fmla="*/ 26470 w 26470"/>
                  <a:gd name="connsiteY5" fmla="*/ 6618 h 13234"/>
                  <a:gd name="connsiteX6" fmla="*/ 19853 w 26470"/>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 h="13234">
                    <a:moveTo>
                      <a:pt x="19853" y="13235"/>
                    </a:moveTo>
                    <a:lnTo>
                      <a:pt x="6618" y="13235"/>
                    </a:lnTo>
                    <a:cubicBezTo>
                      <a:pt x="2964" y="13235"/>
                      <a:pt x="0" y="10271"/>
                      <a:pt x="0" y="6618"/>
                    </a:cubicBezTo>
                    <a:cubicBezTo>
                      <a:pt x="0" y="2964"/>
                      <a:pt x="2964" y="0"/>
                      <a:pt x="6618" y="0"/>
                    </a:cubicBezTo>
                    <a:lnTo>
                      <a:pt x="19853" y="0"/>
                    </a:lnTo>
                    <a:cubicBezTo>
                      <a:pt x="23506" y="0"/>
                      <a:pt x="26470" y="2964"/>
                      <a:pt x="26470" y="6618"/>
                    </a:cubicBezTo>
                    <a:cubicBezTo>
                      <a:pt x="26470" y="10271"/>
                      <a:pt x="23506" y="13235"/>
                      <a:pt x="19853" y="13235"/>
                    </a:cubicBezTo>
                    <a:close/>
                  </a:path>
                </a:pathLst>
              </a:custGeom>
              <a:grpFill/>
              <a:ln w="2991" cap="flat">
                <a:noFill/>
                <a:prstDash val="solid"/>
                <a:miter/>
              </a:ln>
            </p:spPr>
            <p:txBody>
              <a:bodyPr rtlCol="0" anchor="ctr"/>
              <a:lstStyle/>
              <a:p>
                <a:endParaRPr lang="en-GB" dirty="0"/>
              </a:p>
            </p:txBody>
          </p:sp>
          <p:sp>
            <p:nvSpPr>
              <p:cNvPr id="288" name="Freihandform: Form 287">
                <a:extLst>
                  <a:ext uri="{FF2B5EF4-FFF2-40B4-BE49-F238E27FC236}">
                    <a16:creationId xmlns:a16="http://schemas.microsoft.com/office/drawing/2014/main" id="{3611B922-26F2-4276-95BA-674B4C2A4ECF}"/>
                  </a:ext>
                </a:extLst>
              </p:cNvPr>
              <p:cNvSpPr/>
              <p:nvPr/>
            </p:nvSpPr>
            <p:spPr>
              <a:xfrm>
                <a:off x="1158934" y="4244286"/>
                <a:ext cx="26470" cy="26485"/>
              </a:xfrm>
              <a:custGeom>
                <a:avLst/>
                <a:gdLst>
                  <a:gd name="connsiteX0" fmla="*/ 6603 w 26470"/>
                  <a:gd name="connsiteY0" fmla="*/ 26485 h 26485"/>
                  <a:gd name="connsiteX1" fmla="*/ 1931 w 26470"/>
                  <a:gd name="connsiteY1" fmla="*/ 24539 h 26485"/>
                  <a:gd name="connsiteX2" fmla="*/ 1931 w 26470"/>
                  <a:gd name="connsiteY2" fmla="*/ 15166 h 26485"/>
                  <a:gd name="connsiteX3" fmla="*/ 15166 w 26470"/>
                  <a:gd name="connsiteY3" fmla="*/ 1931 h 26485"/>
                  <a:gd name="connsiteX4" fmla="*/ 24539 w 26470"/>
                  <a:gd name="connsiteY4" fmla="*/ 1931 h 26485"/>
                  <a:gd name="connsiteX5" fmla="*/ 24539 w 26470"/>
                  <a:gd name="connsiteY5" fmla="*/ 11304 h 26485"/>
                  <a:gd name="connsiteX6" fmla="*/ 11304 w 26470"/>
                  <a:gd name="connsiteY6" fmla="*/ 24539 h 26485"/>
                  <a:gd name="connsiteX7" fmla="*/ 6603 w 26470"/>
                  <a:gd name="connsiteY7" fmla="*/ 26485 h 2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70" h="26485">
                    <a:moveTo>
                      <a:pt x="6603" y="26485"/>
                    </a:moveTo>
                    <a:cubicBezTo>
                      <a:pt x="4896" y="26485"/>
                      <a:pt x="3219" y="25826"/>
                      <a:pt x="1931" y="24539"/>
                    </a:cubicBezTo>
                    <a:cubicBezTo>
                      <a:pt x="-644" y="21964"/>
                      <a:pt x="-644" y="17772"/>
                      <a:pt x="1931" y="15166"/>
                    </a:cubicBezTo>
                    <a:lnTo>
                      <a:pt x="15166" y="1931"/>
                    </a:lnTo>
                    <a:cubicBezTo>
                      <a:pt x="17742" y="-644"/>
                      <a:pt x="21934" y="-644"/>
                      <a:pt x="24539" y="1931"/>
                    </a:cubicBezTo>
                    <a:cubicBezTo>
                      <a:pt x="27114" y="4506"/>
                      <a:pt x="27114" y="8699"/>
                      <a:pt x="24539" y="11304"/>
                    </a:cubicBezTo>
                    <a:lnTo>
                      <a:pt x="11304" y="24539"/>
                    </a:lnTo>
                    <a:cubicBezTo>
                      <a:pt x="9986" y="25826"/>
                      <a:pt x="8279" y="26485"/>
                      <a:pt x="6603" y="26485"/>
                    </a:cubicBezTo>
                    <a:close/>
                  </a:path>
                </a:pathLst>
              </a:custGeom>
              <a:grpFill/>
              <a:ln w="2991" cap="flat">
                <a:noFill/>
                <a:prstDash val="solid"/>
                <a:miter/>
              </a:ln>
            </p:spPr>
            <p:txBody>
              <a:bodyPr rtlCol="0" anchor="ctr"/>
              <a:lstStyle/>
              <a:p>
                <a:endParaRPr lang="en-GB" dirty="0"/>
              </a:p>
            </p:txBody>
          </p:sp>
          <p:sp>
            <p:nvSpPr>
              <p:cNvPr id="289" name="Freihandform: Form 288">
                <a:extLst>
                  <a:ext uri="{FF2B5EF4-FFF2-40B4-BE49-F238E27FC236}">
                    <a16:creationId xmlns:a16="http://schemas.microsoft.com/office/drawing/2014/main" id="{2DF0AAD0-67B1-46C5-92C6-F8F260A56327}"/>
                  </a:ext>
                </a:extLst>
              </p:cNvPr>
              <p:cNvSpPr/>
              <p:nvPr/>
            </p:nvSpPr>
            <p:spPr>
              <a:xfrm>
                <a:off x="1065720" y="4243747"/>
                <a:ext cx="26470" cy="26485"/>
              </a:xfrm>
              <a:custGeom>
                <a:avLst/>
                <a:gdLst>
                  <a:gd name="connsiteX0" fmla="*/ 19838 w 26470"/>
                  <a:gd name="connsiteY0" fmla="*/ 26485 h 26485"/>
                  <a:gd name="connsiteX1" fmla="*/ 15166 w 26470"/>
                  <a:gd name="connsiteY1" fmla="*/ 24539 h 26485"/>
                  <a:gd name="connsiteX2" fmla="*/ 1931 w 26470"/>
                  <a:gd name="connsiteY2" fmla="*/ 11304 h 26485"/>
                  <a:gd name="connsiteX3" fmla="*/ 1931 w 26470"/>
                  <a:gd name="connsiteY3" fmla="*/ 1931 h 26485"/>
                  <a:gd name="connsiteX4" fmla="*/ 11304 w 26470"/>
                  <a:gd name="connsiteY4" fmla="*/ 1931 h 26485"/>
                  <a:gd name="connsiteX5" fmla="*/ 24539 w 26470"/>
                  <a:gd name="connsiteY5" fmla="*/ 15166 h 26485"/>
                  <a:gd name="connsiteX6" fmla="*/ 24539 w 26470"/>
                  <a:gd name="connsiteY6" fmla="*/ 24539 h 26485"/>
                  <a:gd name="connsiteX7" fmla="*/ 19838 w 26470"/>
                  <a:gd name="connsiteY7" fmla="*/ 26485 h 2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470" h="26485">
                    <a:moveTo>
                      <a:pt x="19838" y="26485"/>
                    </a:moveTo>
                    <a:cubicBezTo>
                      <a:pt x="18131" y="26485"/>
                      <a:pt x="16454" y="25826"/>
                      <a:pt x="15166" y="24539"/>
                    </a:cubicBezTo>
                    <a:lnTo>
                      <a:pt x="1931" y="11304"/>
                    </a:lnTo>
                    <a:cubicBezTo>
                      <a:pt x="-644" y="8729"/>
                      <a:pt x="-644" y="4536"/>
                      <a:pt x="1931" y="1931"/>
                    </a:cubicBezTo>
                    <a:cubicBezTo>
                      <a:pt x="4507" y="-644"/>
                      <a:pt x="8699" y="-644"/>
                      <a:pt x="11304" y="1931"/>
                    </a:cubicBezTo>
                    <a:lnTo>
                      <a:pt x="24539" y="15166"/>
                    </a:lnTo>
                    <a:cubicBezTo>
                      <a:pt x="27114" y="17742"/>
                      <a:pt x="27114" y="21934"/>
                      <a:pt x="24539" y="24539"/>
                    </a:cubicBezTo>
                    <a:cubicBezTo>
                      <a:pt x="23221" y="25826"/>
                      <a:pt x="21514" y="26485"/>
                      <a:pt x="19838" y="26485"/>
                    </a:cubicBezTo>
                    <a:close/>
                  </a:path>
                </a:pathLst>
              </a:custGeom>
              <a:grpFill/>
              <a:ln w="2991" cap="flat">
                <a:noFill/>
                <a:prstDash val="solid"/>
                <a:miter/>
              </a:ln>
            </p:spPr>
            <p:txBody>
              <a:bodyPr rtlCol="0" anchor="ctr"/>
              <a:lstStyle/>
              <a:p>
                <a:endParaRPr lang="en-GB" dirty="0"/>
              </a:p>
            </p:txBody>
          </p:sp>
          <p:sp>
            <p:nvSpPr>
              <p:cNvPr id="290" name="Freihandform: Form 289">
                <a:extLst>
                  <a:ext uri="{FF2B5EF4-FFF2-40B4-BE49-F238E27FC236}">
                    <a16:creationId xmlns:a16="http://schemas.microsoft.com/office/drawing/2014/main" id="{89A0999C-BE9A-418B-BD2C-785A3EEBA372}"/>
                  </a:ext>
                </a:extLst>
              </p:cNvPr>
              <p:cNvSpPr/>
              <p:nvPr/>
            </p:nvSpPr>
            <p:spPr>
              <a:xfrm>
                <a:off x="1119184" y="4285218"/>
                <a:ext cx="32684" cy="64993"/>
              </a:xfrm>
              <a:custGeom>
                <a:avLst/>
                <a:gdLst>
                  <a:gd name="connsiteX0" fmla="*/ 6618 w 32684"/>
                  <a:gd name="connsiteY0" fmla="*/ 64993 h 64993"/>
                  <a:gd name="connsiteX1" fmla="*/ 0 w 32684"/>
                  <a:gd name="connsiteY1" fmla="*/ 58376 h 64993"/>
                  <a:gd name="connsiteX2" fmla="*/ 0 w 32684"/>
                  <a:gd name="connsiteY2" fmla="*/ 31906 h 64993"/>
                  <a:gd name="connsiteX3" fmla="*/ 1377 w 32684"/>
                  <a:gd name="connsiteY3" fmla="*/ 27863 h 64993"/>
                  <a:gd name="connsiteX4" fmla="*/ 20811 w 32684"/>
                  <a:gd name="connsiteY4" fmla="*/ 2591 h 64993"/>
                  <a:gd name="connsiteX5" fmla="*/ 30093 w 32684"/>
                  <a:gd name="connsiteY5" fmla="*/ 1363 h 64993"/>
                  <a:gd name="connsiteX6" fmla="*/ 31321 w 32684"/>
                  <a:gd name="connsiteY6" fmla="*/ 10646 h 64993"/>
                  <a:gd name="connsiteX7" fmla="*/ 13265 w 32684"/>
                  <a:gd name="connsiteY7" fmla="*/ 34151 h 64993"/>
                  <a:gd name="connsiteX8" fmla="*/ 13265 w 32684"/>
                  <a:gd name="connsiteY8" fmla="*/ 58376 h 64993"/>
                  <a:gd name="connsiteX9" fmla="*/ 6618 w 32684"/>
                  <a:gd name="connsiteY9" fmla="*/ 64993 h 64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684" h="64993">
                    <a:moveTo>
                      <a:pt x="6618" y="64993"/>
                    </a:moveTo>
                    <a:cubicBezTo>
                      <a:pt x="2964" y="64993"/>
                      <a:pt x="0" y="62029"/>
                      <a:pt x="0" y="58376"/>
                    </a:cubicBezTo>
                    <a:lnTo>
                      <a:pt x="0" y="31906"/>
                    </a:lnTo>
                    <a:cubicBezTo>
                      <a:pt x="0" y="30438"/>
                      <a:pt x="479" y="29031"/>
                      <a:pt x="1377" y="27863"/>
                    </a:cubicBezTo>
                    <a:lnTo>
                      <a:pt x="20811" y="2591"/>
                    </a:lnTo>
                    <a:cubicBezTo>
                      <a:pt x="23027" y="-314"/>
                      <a:pt x="27189" y="-853"/>
                      <a:pt x="30093" y="1363"/>
                    </a:cubicBezTo>
                    <a:cubicBezTo>
                      <a:pt x="32998" y="3579"/>
                      <a:pt x="33537" y="7741"/>
                      <a:pt x="31321" y="10646"/>
                    </a:cubicBezTo>
                    <a:lnTo>
                      <a:pt x="13265" y="34151"/>
                    </a:lnTo>
                    <a:lnTo>
                      <a:pt x="13265" y="58376"/>
                    </a:lnTo>
                    <a:cubicBezTo>
                      <a:pt x="13235" y="62029"/>
                      <a:pt x="10271" y="64993"/>
                      <a:pt x="6618" y="64993"/>
                    </a:cubicBezTo>
                    <a:close/>
                  </a:path>
                </a:pathLst>
              </a:custGeom>
              <a:grpFill/>
              <a:ln w="2991" cap="flat">
                <a:noFill/>
                <a:prstDash val="solid"/>
                <a:miter/>
              </a:ln>
            </p:spPr>
            <p:txBody>
              <a:bodyPr rtlCol="0" anchor="ctr"/>
              <a:lstStyle/>
              <a:p>
                <a:endParaRPr lang="en-GB" dirty="0"/>
              </a:p>
            </p:txBody>
          </p:sp>
        </p:grpSp>
      </p:grpSp>
      <p:grpSp>
        <p:nvGrpSpPr>
          <p:cNvPr id="11" name="Group 10">
            <a:extLst>
              <a:ext uri="{FF2B5EF4-FFF2-40B4-BE49-F238E27FC236}">
                <a16:creationId xmlns:a16="http://schemas.microsoft.com/office/drawing/2014/main" id="{AF856D3B-89BE-2912-C617-4496FBB47F98}"/>
              </a:ext>
            </a:extLst>
          </p:cNvPr>
          <p:cNvGrpSpPr/>
          <p:nvPr/>
        </p:nvGrpSpPr>
        <p:grpSpPr>
          <a:xfrm>
            <a:off x="544273" y="2449338"/>
            <a:ext cx="499550" cy="431996"/>
            <a:chOff x="544273" y="2449338"/>
            <a:chExt cx="499550" cy="431996"/>
          </a:xfrm>
        </p:grpSpPr>
        <p:grpSp>
          <p:nvGrpSpPr>
            <p:cNvPr id="300" name="Group 1071">
              <a:extLst>
                <a:ext uri="{FF2B5EF4-FFF2-40B4-BE49-F238E27FC236}">
                  <a16:creationId xmlns:a16="http://schemas.microsoft.com/office/drawing/2014/main" id="{09526B87-00FE-4DC5-9525-865F44CB9796}"/>
                </a:ext>
              </a:extLst>
            </p:cNvPr>
            <p:cNvGrpSpPr/>
            <p:nvPr/>
          </p:nvGrpSpPr>
          <p:grpSpPr>
            <a:xfrm>
              <a:off x="544273" y="2449338"/>
              <a:ext cx="310517" cy="269992"/>
              <a:chOff x="880475" y="2457511"/>
              <a:chExt cx="304465" cy="264730"/>
            </a:xfrm>
            <a:solidFill>
              <a:schemeClr val="accent1"/>
            </a:solidFill>
          </p:grpSpPr>
          <p:sp>
            <p:nvSpPr>
              <p:cNvPr id="306" name="Freihandform: Form 305">
                <a:extLst>
                  <a:ext uri="{FF2B5EF4-FFF2-40B4-BE49-F238E27FC236}">
                    <a16:creationId xmlns:a16="http://schemas.microsoft.com/office/drawing/2014/main" id="{7DB5DA90-69A1-4F88-9771-2A10FFB8D47C}"/>
                  </a:ext>
                </a:extLst>
              </p:cNvPr>
              <p:cNvSpPr/>
              <p:nvPr/>
            </p:nvSpPr>
            <p:spPr>
              <a:xfrm>
                <a:off x="959924" y="2503770"/>
                <a:ext cx="142745" cy="124598"/>
              </a:xfrm>
              <a:custGeom>
                <a:avLst/>
                <a:gdLst>
                  <a:gd name="connsiteX0" fmla="*/ 72125 w 142745"/>
                  <a:gd name="connsiteY0" fmla="*/ 124599 h 124598"/>
                  <a:gd name="connsiteX1" fmla="*/ 64998 w 142745"/>
                  <a:gd name="connsiteY1" fmla="*/ 120197 h 124598"/>
                  <a:gd name="connsiteX2" fmla="*/ 34516 w 142745"/>
                  <a:gd name="connsiteY2" fmla="*/ 93577 h 124598"/>
                  <a:gd name="connsiteX3" fmla="*/ 27389 w 142745"/>
                  <a:gd name="connsiteY3" fmla="*/ 89475 h 124598"/>
                  <a:gd name="connsiteX4" fmla="*/ 4961 w 142745"/>
                  <a:gd name="connsiteY4" fmla="*/ 63933 h 124598"/>
                  <a:gd name="connsiteX5" fmla="*/ 4482 w 142745"/>
                  <a:gd name="connsiteY5" fmla="*/ 63035 h 124598"/>
                  <a:gd name="connsiteX6" fmla="*/ 410 w 142745"/>
                  <a:gd name="connsiteY6" fmla="*/ 36115 h 124598"/>
                  <a:gd name="connsiteX7" fmla="*/ 440 w 142745"/>
                  <a:gd name="connsiteY7" fmla="*/ 35906 h 124598"/>
                  <a:gd name="connsiteX8" fmla="*/ 26191 w 142745"/>
                  <a:gd name="connsiteY8" fmla="*/ 4076 h 124598"/>
                  <a:gd name="connsiteX9" fmla="*/ 60087 w 142745"/>
                  <a:gd name="connsiteY9" fmla="*/ 3896 h 124598"/>
                  <a:gd name="connsiteX10" fmla="*/ 71316 w 142745"/>
                  <a:gd name="connsiteY10" fmla="*/ 12730 h 124598"/>
                  <a:gd name="connsiteX11" fmla="*/ 82066 w 142745"/>
                  <a:gd name="connsiteY11" fmla="*/ 3776 h 124598"/>
                  <a:gd name="connsiteX12" fmla="*/ 115902 w 142745"/>
                  <a:gd name="connsiteY12" fmla="*/ 3327 h 124598"/>
                  <a:gd name="connsiteX13" fmla="*/ 142193 w 142745"/>
                  <a:gd name="connsiteY13" fmla="*/ 34708 h 124598"/>
                  <a:gd name="connsiteX14" fmla="*/ 138629 w 142745"/>
                  <a:gd name="connsiteY14" fmla="*/ 61867 h 124598"/>
                  <a:gd name="connsiteX15" fmla="*/ 138180 w 142745"/>
                  <a:gd name="connsiteY15" fmla="*/ 62765 h 124598"/>
                  <a:gd name="connsiteX16" fmla="*/ 115932 w 142745"/>
                  <a:gd name="connsiteY16" fmla="*/ 88846 h 124598"/>
                  <a:gd name="connsiteX17" fmla="*/ 109195 w 142745"/>
                  <a:gd name="connsiteY17" fmla="*/ 92888 h 124598"/>
                  <a:gd name="connsiteX18" fmla="*/ 79371 w 142745"/>
                  <a:gd name="connsiteY18" fmla="*/ 119868 h 124598"/>
                  <a:gd name="connsiteX19" fmla="*/ 72903 w 142745"/>
                  <a:gd name="connsiteY19" fmla="*/ 124539 h 124598"/>
                  <a:gd name="connsiteX20" fmla="*/ 72125 w 142745"/>
                  <a:gd name="connsiteY20" fmla="*/ 124599 h 124598"/>
                  <a:gd name="connsiteX21" fmla="*/ 66915 w 142745"/>
                  <a:gd name="connsiteY21" fmla="*/ 115286 h 124598"/>
                  <a:gd name="connsiteX22" fmla="*/ 66915 w 142745"/>
                  <a:gd name="connsiteY22" fmla="*/ 115286 h 124598"/>
                  <a:gd name="connsiteX23" fmla="*/ 66915 w 142745"/>
                  <a:gd name="connsiteY23" fmla="*/ 115286 h 124598"/>
                  <a:gd name="connsiteX24" fmla="*/ 76646 w 142745"/>
                  <a:gd name="connsiteY24" fmla="*/ 113909 h 124598"/>
                  <a:gd name="connsiteX25" fmla="*/ 76736 w 142745"/>
                  <a:gd name="connsiteY25" fmla="*/ 114088 h 124598"/>
                  <a:gd name="connsiteX26" fmla="*/ 76646 w 142745"/>
                  <a:gd name="connsiteY26" fmla="*/ 113909 h 124598"/>
                  <a:gd name="connsiteX27" fmla="*/ 13525 w 142745"/>
                  <a:gd name="connsiteY27" fmla="*/ 37882 h 124598"/>
                  <a:gd name="connsiteX28" fmla="*/ 16550 w 142745"/>
                  <a:gd name="connsiteY28" fmla="*/ 57615 h 124598"/>
                  <a:gd name="connsiteX29" fmla="*/ 34695 w 142745"/>
                  <a:gd name="connsiteY29" fmla="*/ 78456 h 124598"/>
                  <a:gd name="connsiteX30" fmla="*/ 40714 w 142745"/>
                  <a:gd name="connsiteY30" fmla="*/ 81899 h 124598"/>
                  <a:gd name="connsiteX31" fmla="*/ 71975 w 142745"/>
                  <a:gd name="connsiteY31" fmla="*/ 106543 h 124598"/>
                  <a:gd name="connsiteX32" fmla="*/ 102697 w 142745"/>
                  <a:gd name="connsiteY32" fmla="*/ 81360 h 124598"/>
                  <a:gd name="connsiteX33" fmla="*/ 108386 w 142745"/>
                  <a:gd name="connsiteY33" fmla="*/ 78006 h 124598"/>
                  <a:gd name="connsiteX34" fmla="*/ 126382 w 142745"/>
                  <a:gd name="connsiteY34" fmla="*/ 56747 h 124598"/>
                  <a:gd name="connsiteX35" fmla="*/ 129077 w 142745"/>
                  <a:gd name="connsiteY35" fmla="*/ 36804 h 124598"/>
                  <a:gd name="connsiteX36" fmla="*/ 111471 w 142745"/>
                  <a:gd name="connsiteY36" fmla="*/ 15874 h 124598"/>
                  <a:gd name="connsiteX37" fmla="*/ 88234 w 142745"/>
                  <a:gd name="connsiteY37" fmla="*/ 15514 h 124598"/>
                  <a:gd name="connsiteX38" fmla="*/ 77814 w 142745"/>
                  <a:gd name="connsiteY38" fmla="*/ 27881 h 124598"/>
                  <a:gd name="connsiteX39" fmla="*/ 71526 w 142745"/>
                  <a:gd name="connsiteY39" fmla="*/ 32612 h 124598"/>
                  <a:gd name="connsiteX40" fmla="*/ 65148 w 142745"/>
                  <a:gd name="connsiteY40" fmla="*/ 28061 h 124598"/>
                  <a:gd name="connsiteX41" fmla="*/ 54099 w 142745"/>
                  <a:gd name="connsiteY41" fmla="*/ 15784 h 124598"/>
                  <a:gd name="connsiteX42" fmla="*/ 30713 w 142745"/>
                  <a:gd name="connsiteY42" fmla="*/ 16532 h 124598"/>
                  <a:gd name="connsiteX43" fmla="*/ 13525 w 142745"/>
                  <a:gd name="connsiteY43" fmla="*/ 37882 h 124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42745" h="124598">
                    <a:moveTo>
                      <a:pt x="72125" y="124599"/>
                    </a:moveTo>
                    <a:cubicBezTo>
                      <a:pt x="69100" y="124599"/>
                      <a:pt x="66376" y="122922"/>
                      <a:pt x="64998" y="120197"/>
                    </a:cubicBezTo>
                    <a:cubicBezTo>
                      <a:pt x="57303" y="105704"/>
                      <a:pt x="43589" y="98428"/>
                      <a:pt x="34516" y="93577"/>
                    </a:cubicBezTo>
                    <a:cubicBezTo>
                      <a:pt x="31701" y="92080"/>
                      <a:pt x="29276" y="90792"/>
                      <a:pt x="27389" y="89475"/>
                    </a:cubicBezTo>
                    <a:cubicBezTo>
                      <a:pt x="14244" y="81180"/>
                      <a:pt x="7716" y="69113"/>
                      <a:pt x="4961" y="63933"/>
                    </a:cubicBezTo>
                    <a:cubicBezTo>
                      <a:pt x="4902" y="63783"/>
                      <a:pt x="4572" y="63154"/>
                      <a:pt x="4482" y="63035"/>
                    </a:cubicBezTo>
                    <a:cubicBezTo>
                      <a:pt x="560" y="54351"/>
                      <a:pt x="-758" y="45548"/>
                      <a:pt x="410" y="36115"/>
                    </a:cubicBezTo>
                    <a:cubicBezTo>
                      <a:pt x="410" y="36056"/>
                      <a:pt x="440" y="35996"/>
                      <a:pt x="440" y="35906"/>
                    </a:cubicBezTo>
                    <a:cubicBezTo>
                      <a:pt x="3464" y="16502"/>
                      <a:pt x="20053" y="6352"/>
                      <a:pt x="26191" y="4076"/>
                    </a:cubicBezTo>
                    <a:cubicBezTo>
                      <a:pt x="39127" y="-685"/>
                      <a:pt x="50535" y="-745"/>
                      <a:pt x="60087" y="3896"/>
                    </a:cubicBezTo>
                    <a:cubicBezTo>
                      <a:pt x="64938" y="6262"/>
                      <a:pt x="68621" y="9526"/>
                      <a:pt x="71316" y="12730"/>
                    </a:cubicBezTo>
                    <a:cubicBezTo>
                      <a:pt x="73861" y="9496"/>
                      <a:pt x="77365" y="6202"/>
                      <a:pt x="82066" y="3776"/>
                    </a:cubicBezTo>
                    <a:cubicBezTo>
                      <a:pt x="91438" y="-1104"/>
                      <a:pt x="102847" y="-1254"/>
                      <a:pt x="115902" y="3327"/>
                    </a:cubicBezTo>
                    <a:cubicBezTo>
                      <a:pt x="122071" y="5483"/>
                      <a:pt x="138839" y="15335"/>
                      <a:pt x="142193" y="34708"/>
                    </a:cubicBezTo>
                    <a:cubicBezTo>
                      <a:pt x="143570" y="44320"/>
                      <a:pt x="142372" y="53153"/>
                      <a:pt x="138629" y="61867"/>
                    </a:cubicBezTo>
                    <a:cubicBezTo>
                      <a:pt x="138569" y="62017"/>
                      <a:pt x="138240" y="62645"/>
                      <a:pt x="138180" y="62765"/>
                    </a:cubicBezTo>
                    <a:cubicBezTo>
                      <a:pt x="135485" y="67975"/>
                      <a:pt x="129197" y="80162"/>
                      <a:pt x="115932" y="88846"/>
                    </a:cubicBezTo>
                    <a:cubicBezTo>
                      <a:pt x="114345" y="90014"/>
                      <a:pt x="111950" y="91331"/>
                      <a:pt x="109195" y="92888"/>
                    </a:cubicBezTo>
                    <a:cubicBezTo>
                      <a:pt x="100302" y="97829"/>
                      <a:pt x="86887" y="105315"/>
                      <a:pt x="79371" y="119868"/>
                    </a:cubicBezTo>
                    <a:cubicBezTo>
                      <a:pt x="78263" y="122473"/>
                      <a:pt x="75808" y="124269"/>
                      <a:pt x="72903" y="124539"/>
                    </a:cubicBezTo>
                    <a:cubicBezTo>
                      <a:pt x="72604" y="124569"/>
                      <a:pt x="72364" y="124599"/>
                      <a:pt x="72125" y="124599"/>
                    </a:cubicBezTo>
                    <a:close/>
                    <a:moveTo>
                      <a:pt x="66915" y="115286"/>
                    </a:moveTo>
                    <a:cubicBezTo>
                      <a:pt x="66915" y="115286"/>
                      <a:pt x="66915" y="115286"/>
                      <a:pt x="66915" y="115286"/>
                    </a:cubicBezTo>
                    <a:cubicBezTo>
                      <a:pt x="66915" y="115286"/>
                      <a:pt x="66915" y="115286"/>
                      <a:pt x="66915" y="115286"/>
                    </a:cubicBezTo>
                    <a:close/>
                    <a:moveTo>
                      <a:pt x="76646" y="113909"/>
                    </a:moveTo>
                    <a:cubicBezTo>
                      <a:pt x="76676" y="113969"/>
                      <a:pt x="76706" y="114029"/>
                      <a:pt x="76736" y="114088"/>
                    </a:cubicBezTo>
                    <a:cubicBezTo>
                      <a:pt x="76706" y="114029"/>
                      <a:pt x="76676" y="113969"/>
                      <a:pt x="76646" y="113909"/>
                    </a:cubicBezTo>
                    <a:close/>
                    <a:moveTo>
                      <a:pt x="13525" y="37882"/>
                    </a:moveTo>
                    <a:cubicBezTo>
                      <a:pt x="12657" y="44859"/>
                      <a:pt x="13615" y="51117"/>
                      <a:pt x="16550" y="57615"/>
                    </a:cubicBezTo>
                    <a:cubicBezTo>
                      <a:pt x="19095" y="62286"/>
                      <a:pt x="24245" y="71868"/>
                      <a:pt x="34695" y="78456"/>
                    </a:cubicBezTo>
                    <a:cubicBezTo>
                      <a:pt x="36163" y="79474"/>
                      <a:pt x="38289" y="80582"/>
                      <a:pt x="40714" y="81899"/>
                    </a:cubicBezTo>
                    <a:cubicBezTo>
                      <a:pt x="49098" y="86361"/>
                      <a:pt x="62303" y="93368"/>
                      <a:pt x="71975" y="106543"/>
                    </a:cubicBezTo>
                    <a:cubicBezTo>
                      <a:pt x="81437" y="93218"/>
                      <a:pt x="94433" y="85971"/>
                      <a:pt x="102697" y="81360"/>
                    </a:cubicBezTo>
                    <a:cubicBezTo>
                      <a:pt x="105093" y="80013"/>
                      <a:pt x="107189" y="78875"/>
                      <a:pt x="108386" y="78006"/>
                    </a:cubicBezTo>
                    <a:cubicBezTo>
                      <a:pt x="118986" y="71060"/>
                      <a:pt x="123987" y="61388"/>
                      <a:pt x="126382" y="56747"/>
                    </a:cubicBezTo>
                    <a:cubicBezTo>
                      <a:pt x="129257" y="50159"/>
                      <a:pt x="130095" y="43841"/>
                      <a:pt x="129077" y="36804"/>
                    </a:cubicBezTo>
                    <a:cubicBezTo>
                      <a:pt x="126802" y="23779"/>
                      <a:pt x="114615" y="16982"/>
                      <a:pt x="111471" y="15874"/>
                    </a:cubicBezTo>
                    <a:cubicBezTo>
                      <a:pt x="102068" y="12580"/>
                      <a:pt x="94253" y="12460"/>
                      <a:pt x="88234" y="15514"/>
                    </a:cubicBezTo>
                    <a:cubicBezTo>
                      <a:pt x="80449" y="19467"/>
                      <a:pt x="77844" y="27791"/>
                      <a:pt x="77814" y="27881"/>
                    </a:cubicBezTo>
                    <a:cubicBezTo>
                      <a:pt x="76976" y="30666"/>
                      <a:pt x="74430" y="32582"/>
                      <a:pt x="71526" y="32612"/>
                    </a:cubicBezTo>
                    <a:cubicBezTo>
                      <a:pt x="68651" y="32402"/>
                      <a:pt x="66046" y="30815"/>
                      <a:pt x="65148" y="28061"/>
                    </a:cubicBezTo>
                    <a:cubicBezTo>
                      <a:pt x="65148" y="28031"/>
                      <a:pt x="62213" y="19647"/>
                      <a:pt x="54099" y="15784"/>
                    </a:cubicBezTo>
                    <a:cubicBezTo>
                      <a:pt x="47930" y="12849"/>
                      <a:pt x="40055" y="13089"/>
                      <a:pt x="30713" y="16532"/>
                    </a:cubicBezTo>
                    <a:cubicBezTo>
                      <a:pt x="27659" y="17670"/>
                      <a:pt x="15651" y="24677"/>
                      <a:pt x="13525" y="37882"/>
                    </a:cubicBezTo>
                    <a:close/>
                  </a:path>
                </a:pathLst>
              </a:custGeom>
              <a:solidFill>
                <a:schemeClr val="accent1"/>
              </a:solidFill>
              <a:ln w="2991" cap="flat">
                <a:noFill/>
                <a:prstDash val="solid"/>
                <a:miter/>
              </a:ln>
            </p:spPr>
            <p:txBody>
              <a:bodyPr rtlCol="0" anchor="ctr"/>
              <a:lstStyle/>
              <a:p>
                <a:endParaRPr lang="en-GB" dirty="0"/>
              </a:p>
            </p:txBody>
          </p:sp>
          <p:sp>
            <p:nvSpPr>
              <p:cNvPr id="307" name="Freihandform: Form 306">
                <a:extLst>
                  <a:ext uri="{FF2B5EF4-FFF2-40B4-BE49-F238E27FC236}">
                    <a16:creationId xmlns:a16="http://schemas.microsoft.com/office/drawing/2014/main" id="{505AFBF6-AB2D-452D-AF3D-7945CA5C5DE2}"/>
                  </a:ext>
                </a:extLst>
              </p:cNvPr>
              <p:cNvSpPr/>
              <p:nvPr/>
            </p:nvSpPr>
            <p:spPr>
              <a:xfrm>
                <a:off x="880475" y="2457511"/>
                <a:ext cx="304465" cy="264730"/>
              </a:xfrm>
              <a:custGeom>
                <a:avLst/>
                <a:gdLst>
                  <a:gd name="connsiteX0" fmla="*/ 66175 w 304465"/>
                  <a:gd name="connsiteY0" fmla="*/ 264731 h 264730"/>
                  <a:gd name="connsiteX1" fmla="*/ 63301 w 304465"/>
                  <a:gd name="connsiteY1" fmla="*/ 264072 h 264730"/>
                  <a:gd name="connsiteX2" fmla="*/ 59558 w 304465"/>
                  <a:gd name="connsiteY2" fmla="*/ 258113 h 264730"/>
                  <a:gd name="connsiteX3" fmla="*/ 59558 w 304465"/>
                  <a:gd name="connsiteY3" fmla="*/ 211791 h 264730"/>
                  <a:gd name="connsiteX4" fmla="*/ 39705 w 304465"/>
                  <a:gd name="connsiteY4" fmla="*/ 211791 h 264730"/>
                  <a:gd name="connsiteX5" fmla="*/ 0 w 304465"/>
                  <a:gd name="connsiteY5" fmla="*/ 172085 h 264730"/>
                  <a:gd name="connsiteX6" fmla="*/ 0 w 304465"/>
                  <a:gd name="connsiteY6" fmla="*/ 39705 h 264730"/>
                  <a:gd name="connsiteX7" fmla="*/ 39705 w 304465"/>
                  <a:gd name="connsiteY7" fmla="*/ 0 h 264730"/>
                  <a:gd name="connsiteX8" fmla="*/ 264761 w 304465"/>
                  <a:gd name="connsiteY8" fmla="*/ 0 h 264730"/>
                  <a:gd name="connsiteX9" fmla="*/ 304466 w 304465"/>
                  <a:gd name="connsiteY9" fmla="*/ 39705 h 264730"/>
                  <a:gd name="connsiteX10" fmla="*/ 304466 w 304465"/>
                  <a:gd name="connsiteY10" fmla="*/ 165468 h 264730"/>
                  <a:gd name="connsiteX11" fmla="*/ 297848 w 304465"/>
                  <a:gd name="connsiteY11" fmla="*/ 172085 h 264730"/>
                  <a:gd name="connsiteX12" fmla="*/ 291231 w 304465"/>
                  <a:gd name="connsiteY12" fmla="*/ 165468 h 264730"/>
                  <a:gd name="connsiteX13" fmla="*/ 291231 w 304465"/>
                  <a:gd name="connsiteY13" fmla="*/ 39705 h 264730"/>
                  <a:gd name="connsiteX14" fmla="*/ 264761 w 304465"/>
                  <a:gd name="connsiteY14" fmla="*/ 13235 h 264730"/>
                  <a:gd name="connsiteX15" fmla="*/ 39705 w 304465"/>
                  <a:gd name="connsiteY15" fmla="*/ 13235 h 264730"/>
                  <a:gd name="connsiteX16" fmla="*/ 13235 w 304465"/>
                  <a:gd name="connsiteY16" fmla="*/ 39705 h 264730"/>
                  <a:gd name="connsiteX17" fmla="*/ 13235 w 304465"/>
                  <a:gd name="connsiteY17" fmla="*/ 172085 h 264730"/>
                  <a:gd name="connsiteX18" fmla="*/ 39705 w 304465"/>
                  <a:gd name="connsiteY18" fmla="*/ 198556 h 264730"/>
                  <a:gd name="connsiteX19" fmla="*/ 66175 w 304465"/>
                  <a:gd name="connsiteY19" fmla="*/ 198556 h 264730"/>
                  <a:gd name="connsiteX20" fmla="*/ 72793 w 304465"/>
                  <a:gd name="connsiteY20" fmla="*/ 205173 h 264730"/>
                  <a:gd name="connsiteX21" fmla="*/ 72793 w 304465"/>
                  <a:gd name="connsiteY21" fmla="*/ 244369 h 264730"/>
                  <a:gd name="connsiteX22" fmla="*/ 128218 w 304465"/>
                  <a:gd name="connsiteY22" fmla="*/ 200023 h 264730"/>
                  <a:gd name="connsiteX23" fmla="*/ 132350 w 304465"/>
                  <a:gd name="connsiteY23" fmla="*/ 198585 h 264730"/>
                  <a:gd name="connsiteX24" fmla="*/ 191908 w 304465"/>
                  <a:gd name="connsiteY24" fmla="*/ 198585 h 264730"/>
                  <a:gd name="connsiteX25" fmla="*/ 198526 w 304465"/>
                  <a:gd name="connsiteY25" fmla="*/ 205203 h 264730"/>
                  <a:gd name="connsiteX26" fmla="*/ 191908 w 304465"/>
                  <a:gd name="connsiteY26" fmla="*/ 211820 h 264730"/>
                  <a:gd name="connsiteX27" fmla="*/ 134686 w 304465"/>
                  <a:gd name="connsiteY27" fmla="*/ 211820 h 264730"/>
                  <a:gd name="connsiteX28" fmla="*/ 70307 w 304465"/>
                  <a:gd name="connsiteY28" fmla="*/ 263323 h 264730"/>
                  <a:gd name="connsiteX29" fmla="*/ 66175 w 304465"/>
                  <a:gd name="connsiteY29" fmla="*/ 264731 h 264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4465" h="264730">
                    <a:moveTo>
                      <a:pt x="66175" y="264731"/>
                    </a:moveTo>
                    <a:cubicBezTo>
                      <a:pt x="65187" y="264731"/>
                      <a:pt x="64229" y="264521"/>
                      <a:pt x="63301" y="264072"/>
                    </a:cubicBezTo>
                    <a:cubicBezTo>
                      <a:pt x="60995" y="262964"/>
                      <a:pt x="59558" y="260658"/>
                      <a:pt x="59558" y="258113"/>
                    </a:cubicBezTo>
                    <a:lnTo>
                      <a:pt x="59558" y="211791"/>
                    </a:lnTo>
                    <a:lnTo>
                      <a:pt x="39705" y="211791"/>
                    </a:lnTo>
                    <a:cubicBezTo>
                      <a:pt x="17816" y="211791"/>
                      <a:pt x="0" y="193974"/>
                      <a:pt x="0" y="172085"/>
                    </a:cubicBezTo>
                    <a:lnTo>
                      <a:pt x="0" y="39705"/>
                    </a:lnTo>
                    <a:cubicBezTo>
                      <a:pt x="0" y="17816"/>
                      <a:pt x="17816" y="0"/>
                      <a:pt x="39705" y="0"/>
                    </a:cubicBezTo>
                    <a:lnTo>
                      <a:pt x="264761" y="0"/>
                    </a:lnTo>
                    <a:cubicBezTo>
                      <a:pt x="286649" y="0"/>
                      <a:pt x="304466" y="17816"/>
                      <a:pt x="304466" y="39705"/>
                    </a:cubicBezTo>
                    <a:lnTo>
                      <a:pt x="304466" y="165468"/>
                    </a:lnTo>
                    <a:cubicBezTo>
                      <a:pt x="304466" y="169121"/>
                      <a:pt x="301501" y="172085"/>
                      <a:pt x="297848" y="172085"/>
                    </a:cubicBezTo>
                    <a:cubicBezTo>
                      <a:pt x="294195" y="172085"/>
                      <a:pt x="291231" y="169121"/>
                      <a:pt x="291231" y="165468"/>
                    </a:cubicBezTo>
                    <a:lnTo>
                      <a:pt x="291231" y="39705"/>
                    </a:lnTo>
                    <a:cubicBezTo>
                      <a:pt x="291231" y="25093"/>
                      <a:pt x="279343" y="13235"/>
                      <a:pt x="264761" y="13235"/>
                    </a:cubicBezTo>
                    <a:lnTo>
                      <a:pt x="39705" y="13235"/>
                    </a:lnTo>
                    <a:cubicBezTo>
                      <a:pt x="25093" y="13235"/>
                      <a:pt x="13235" y="25123"/>
                      <a:pt x="13235" y="39705"/>
                    </a:cubicBezTo>
                    <a:lnTo>
                      <a:pt x="13235" y="172085"/>
                    </a:lnTo>
                    <a:cubicBezTo>
                      <a:pt x="13235" y="186698"/>
                      <a:pt x="25123" y="198556"/>
                      <a:pt x="39705" y="198556"/>
                    </a:cubicBezTo>
                    <a:lnTo>
                      <a:pt x="66175" y="198556"/>
                    </a:lnTo>
                    <a:cubicBezTo>
                      <a:pt x="69828" y="198556"/>
                      <a:pt x="72793" y="201520"/>
                      <a:pt x="72793" y="205173"/>
                    </a:cubicBezTo>
                    <a:lnTo>
                      <a:pt x="72793" y="244369"/>
                    </a:lnTo>
                    <a:lnTo>
                      <a:pt x="128218" y="200023"/>
                    </a:lnTo>
                    <a:cubicBezTo>
                      <a:pt x="129386" y="199094"/>
                      <a:pt x="130853" y="198585"/>
                      <a:pt x="132350" y="198585"/>
                    </a:cubicBezTo>
                    <a:lnTo>
                      <a:pt x="191908" y="198585"/>
                    </a:lnTo>
                    <a:cubicBezTo>
                      <a:pt x="195561" y="198585"/>
                      <a:pt x="198526" y="201550"/>
                      <a:pt x="198526" y="205203"/>
                    </a:cubicBezTo>
                    <a:cubicBezTo>
                      <a:pt x="198526" y="208856"/>
                      <a:pt x="195561" y="211820"/>
                      <a:pt x="191908" y="211820"/>
                    </a:cubicBezTo>
                    <a:lnTo>
                      <a:pt x="134686" y="211820"/>
                    </a:lnTo>
                    <a:lnTo>
                      <a:pt x="70307" y="263323"/>
                    </a:lnTo>
                    <a:cubicBezTo>
                      <a:pt x="69110" y="264252"/>
                      <a:pt x="67672" y="264731"/>
                      <a:pt x="66175" y="264731"/>
                    </a:cubicBezTo>
                    <a:close/>
                  </a:path>
                </a:pathLst>
              </a:custGeom>
              <a:solidFill>
                <a:schemeClr val="accent1"/>
              </a:solidFill>
              <a:ln w="2991" cap="flat">
                <a:noFill/>
                <a:prstDash val="solid"/>
                <a:miter/>
              </a:ln>
            </p:spPr>
            <p:txBody>
              <a:bodyPr rtlCol="0" anchor="ctr"/>
              <a:lstStyle/>
              <a:p>
                <a:endParaRPr lang="en-GB" dirty="0"/>
              </a:p>
            </p:txBody>
          </p:sp>
        </p:grpSp>
        <p:grpSp>
          <p:nvGrpSpPr>
            <p:cNvPr id="301" name="Group 1070">
              <a:extLst>
                <a:ext uri="{FF2B5EF4-FFF2-40B4-BE49-F238E27FC236}">
                  <a16:creationId xmlns:a16="http://schemas.microsoft.com/office/drawing/2014/main" id="{3FE65D4B-CCC8-4F77-A9F6-B549F5565F5C}"/>
                </a:ext>
              </a:extLst>
            </p:cNvPr>
            <p:cNvGrpSpPr/>
            <p:nvPr/>
          </p:nvGrpSpPr>
          <p:grpSpPr>
            <a:xfrm>
              <a:off x="733306" y="2611342"/>
              <a:ext cx="310517" cy="269992"/>
              <a:chOff x="1065825" y="2616361"/>
              <a:chExt cx="304465" cy="264730"/>
            </a:xfrm>
            <a:solidFill>
              <a:schemeClr val="tx2"/>
            </a:solidFill>
          </p:grpSpPr>
          <p:sp>
            <p:nvSpPr>
              <p:cNvPr id="302" name="Freihandform: Form 301">
                <a:extLst>
                  <a:ext uri="{FF2B5EF4-FFF2-40B4-BE49-F238E27FC236}">
                    <a16:creationId xmlns:a16="http://schemas.microsoft.com/office/drawing/2014/main" id="{88FDE8BC-54A3-48B6-8142-4128780A97C2}"/>
                  </a:ext>
                </a:extLst>
              </p:cNvPr>
              <p:cNvSpPr/>
              <p:nvPr/>
            </p:nvSpPr>
            <p:spPr>
              <a:xfrm>
                <a:off x="1065825" y="2616361"/>
                <a:ext cx="304465" cy="264730"/>
              </a:xfrm>
              <a:custGeom>
                <a:avLst/>
                <a:gdLst>
                  <a:gd name="connsiteX0" fmla="*/ 238261 w 304465"/>
                  <a:gd name="connsiteY0" fmla="*/ 264731 h 264730"/>
                  <a:gd name="connsiteX1" fmla="*/ 234128 w 304465"/>
                  <a:gd name="connsiteY1" fmla="*/ 263293 h 264730"/>
                  <a:gd name="connsiteX2" fmla="*/ 169750 w 304465"/>
                  <a:gd name="connsiteY2" fmla="*/ 211791 h 264730"/>
                  <a:gd name="connsiteX3" fmla="*/ 39705 w 304465"/>
                  <a:gd name="connsiteY3" fmla="*/ 211791 h 264730"/>
                  <a:gd name="connsiteX4" fmla="*/ 0 w 304465"/>
                  <a:gd name="connsiteY4" fmla="*/ 172085 h 264730"/>
                  <a:gd name="connsiteX5" fmla="*/ 0 w 304465"/>
                  <a:gd name="connsiteY5" fmla="*/ 39705 h 264730"/>
                  <a:gd name="connsiteX6" fmla="*/ 39705 w 304465"/>
                  <a:gd name="connsiteY6" fmla="*/ 0 h 264730"/>
                  <a:gd name="connsiteX7" fmla="*/ 264761 w 304465"/>
                  <a:gd name="connsiteY7" fmla="*/ 0 h 264730"/>
                  <a:gd name="connsiteX8" fmla="*/ 304466 w 304465"/>
                  <a:gd name="connsiteY8" fmla="*/ 39705 h 264730"/>
                  <a:gd name="connsiteX9" fmla="*/ 304466 w 304465"/>
                  <a:gd name="connsiteY9" fmla="*/ 172085 h 264730"/>
                  <a:gd name="connsiteX10" fmla="*/ 264761 w 304465"/>
                  <a:gd name="connsiteY10" fmla="*/ 211791 h 264730"/>
                  <a:gd name="connsiteX11" fmla="*/ 244908 w 304465"/>
                  <a:gd name="connsiteY11" fmla="*/ 211791 h 264730"/>
                  <a:gd name="connsiteX12" fmla="*/ 244908 w 304465"/>
                  <a:gd name="connsiteY12" fmla="*/ 258113 h 264730"/>
                  <a:gd name="connsiteX13" fmla="*/ 241165 w 304465"/>
                  <a:gd name="connsiteY13" fmla="*/ 264072 h 264730"/>
                  <a:gd name="connsiteX14" fmla="*/ 238261 w 304465"/>
                  <a:gd name="connsiteY14" fmla="*/ 264731 h 264730"/>
                  <a:gd name="connsiteX15" fmla="*/ 39705 w 304465"/>
                  <a:gd name="connsiteY15" fmla="*/ 13205 h 264730"/>
                  <a:gd name="connsiteX16" fmla="*/ 13235 w 304465"/>
                  <a:gd name="connsiteY16" fmla="*/ 39675 h 264730"/>
                  <a:gd name="connsiteX17" fmla="*/ 13235 w 304465"/>
                  <a:gd name="connsiteY17" fmla="*/ 172056 h 264730"/>
                  <a:gd name="connsiteX18" fmla="*/ 39705 w 304465"/>
                  <a:gd name="connsiteY18" fmla="*/ 198526 h 264730"/>
                  <a:gd name="connsiteX19" fmla="*/ 172085 w 304465"/>
                  <a:gd name="connsiteY19" fmla="*/ 198526 h 264730"/>
                  <a:gd name="connsiteX20" fmla="*/ 176218 w 304465"/>
                  <a:gd name="connsiteY20" fmla="*/ 199963 h 264730"/>
                  <a:gd name="connsiteX21" fmla="*/ 231643 w 304465"/>
                  <a:gd name="connsiteY21" fmla="*/ 244309 h 264730"/>
                  <a:gd name="connsiteX22" fmla="*/ 231643 w 304465"/>
                  <a:gd name="connsiteY22" fmla="*/ 205113 h 264730"/>
                  <a:gd name="connsiteX23" fmla="*/ 238261 w 304465"/>
                  <a:gd name="connsiteY23" fmla="*/ 198496 h 264730"/>
                  <a:gd name="connsiteX24" fmla="*/ 264731 w 304465"/>
                  <a:gd name="connsiteY24" fmla="*/ 198496 h 264730"/>
                  <a:gd name="connsiteX25" fmla="*/ 291201 w 304465"/>
                  <a:gd name="connsiteY25" fmla="*/ 172026 h 264730"/>
                  <a:gd name="connsiteX26" fmla="*/ 291201 w 304465"/>
                  <a:gd name="connsiteY26" fmla="*/ 39645 h 264730"/>
                  <a:gd name="connsiteX27" fmla="*/ 264731 w 304465"/>
                  <a:gd name="connsiteY27" fmla="*/ 13175 h 264730"/>
                  <a:gd name="connsiteX28" fmla="*/ 39705 w 304465"/>
                  <a:gd name="connsiteY28" fmla="*/ 13175 h 264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4465" h="264730">
                    <a:moveTo>
                      <a:pt x="238261" y="264731"/>
                    </a:moveTo>
                    <a:cubicBezTo>
                      <a:pt x="236793" y="264731"/>
                      <a:pt x="235326" y="264222"/>
                      <a:pt x="234128" y="263293"/>
                    </a:cubicBezTo>
                    <a:lnTo>
                      <a:pt x="169750" y="211791"/>
                    </a:lnTo>
                    <a:lnTo>
                      <a:pt x="39705" y="211791"/>
                    </a:lnTo>
                    <a:cubicBezTo>
                      <a:pt x="17816" y="211791"/>
                      <a:pt x="0" y="193974"/>
                      <a:pt x="0" y="172085"/>
                    </a:cubicBezTo>
                    <a:lnTo>
                      <a:pt x="0" y="39705"/>
                    </a:lnTo>
                    <a:cubicBezTo>
                      <a:pt x="0" y="17816"/>
                      <a:pt x="17816" y="0"/>
                      <a:pt x="39705" y="0"/>
                    </a:cubicBezTo>
                    <a:lnTo>
                      <a:pt x="264761" y="0"/>
                    </a:lnTo>
                    <a:cubicBezTo>
                      <a:pt x="286649" y="0"/>
                      <a:pt x="304466" y="17816"/>
                      <a:pt x="304466" y="39705"/>
                    </a:cubicBezTo>
                    <a:lnTo>
                      <a:pt x="304466" y="172085"/>
                    </a:lnTo>
                    <a:cubicBezTo>
                      <a:pt x="304466" y="193974"/>
                      <a:pt x="286649" y="211791"/>
                      <a:pt x="264761" y="211791"/>
                    </a:cubicBezTo>
                    <a:lnTo>
                      <a:pt x="244908" y="211791"/>
                    </a:lnTo>
                    <a:lnTo>
                      <a:pt x="244908" y="258113"/>
                    </a:lnTo>
                    <a:cubicBezTo>
                      <a:pt x="244908" y="260658"/>
                      <a:pt x="243441" y="262964"/>
                      <a:pt x="241165" y="264072"/>
                    </a:cubicBezTo>
                    <a:cubicBezTo>
                      <a:pt x="240237" y="264521"/>
                      <a:pt x="239249" y="264731"/>
                      <a:pt x="238261" y="264731"/>
                    </a:cubicBezTo>
                    <a:close/>
                    <a:moveTo>
                      <a:pt x="39705" y="13205"/>
                    </a:moveTo>
                    <a:cubicBezTo>
                      <a:pt x="25093" y="13205"/>
                      <a:pt x="13235" y="25093"/>
                      <a:pt x="13235" y="39675"/>
                    </a:cubicBezTo>
                    <a:lnTo>
                      <a:pt x="13235" y="172056"/>
                    </a:lnTo>
                    <a:cubicBezTo>
                      <a:pt x="13235" y="186668"/>
                      <a:pt x="25123" y="198526"/>
                      <a:pt x="39705" y="198526"/>
                    </a:cubicBezTo>
                    <a:lnTo>
                      <a:pt x="172085" y="198526"/>
                    </a:lnTo>
                    <a:cubicBezTo>
                      <a:pt x="173583" y="198526"/>
                      <a:pt x="175050" y="199035"/>
                      <a:pt x="176218" y="199963"/>
                    </a:cubicBezTo>
                    <a:lnTo>
                      <a:pt x="231643" y="244309"/>
                    </a:lnTo>
                    <a:lnTo>
                      <a:pt x="231643" y="205113"/>
                    </a:lnTo>
                    <a:cubicBezTo>
                      <a:pt x="231643" y="201460"/>
                      <a:pt x="234608" y="198496"/>
                      <a:pt x="238261" y="198496"/>
                    </a:cubicBezTo>
                    <a:lnTo>
                      <a:pt x="264731" y="198496"/>
                    </a:lnTo>
                    <a:cubicBezTo>
                      <a:pt x="279343" y="198496"/>
                      <a:pt x="291201" y="186608"/>
                      <a:pt x="291201" y="172026"/>
                    </a:cubicBezTo>
                    <a:lnTo>
                      <a:pt x="291201" y="39645"/>
                    </a:lnTo>
                    <a:cubicBezTo>
                      <a:pt x="291201" y="25033"/>
                      <a:pt x="279313" y="13175"/>
                      <a:pt x="264731" y="13175"/>
                    </a:cubicBezTo>
                    <a:lnTo>
                      <a:pt x="39705" y="13175"/>
                    </a:lnTo>
                    <a:close/>
                  </a:path>
                </a:pathLst>
              </a:custGeom>
              <a:grpFill/>
              <a:ln w="2991" cap="flat">
                <a:noFill/>
                <a:prstDash val="solid"/>
                <a:miter/>
              </a:ln>
            </p:spPr>
            <p:txBody>
              <a:bodyPr rtlCol="0" anchor="ctr"/>
              <a:lstStyle/>
              <a:p>
                <a:endParaRPr lang="en-GB" dirty="0"/>
              </a:p>
            </p:txBody>
          </p:sp>
          <p:sp>
            <p:nvSpPr>
              <p:cNvPr id="303" name="Freihandform: Form 302">
                <a:extLst>
                  <a:ext uri="{FF2B5EF4-FFF2-40B4-BE49-F238E27FC236}">
                    <a16:creationId xmlns:a16="http://schemas.microsoft.com/office/drawing/2014/main" id="{A16266D2-E0DE-44BA-96CF-83DA2DCF51F9}"/>
                  </a:ext>
                </a:extLst>
              </p:cNvPr>
              <p:cNvSpPr/>
              <p:nvPr/>
            </p:nvSpPr>
            <p:spPr>
              <a:xfrm>
                <a:off x="1170741" y="2675859"/>
                <a:ext cx="100070" cy="96298"/>
              </a:xfrm>
              <a:custGeom>
                <a:avLst/>
                <a:gdLst>
                  <a:gd name="connsiteX0" fmla="*/ 26536 w 100070"/>
                  <a:gd name="connsiteY0" fmla="*/ 96298 h 96298"/>
                  <a:gd name="connsiteX1" fmla="*/ 19500 w 100070"/>
                  <a:gd name="connsiteY1" fmla="*/ 93993 h 96298"/>
                  <a:gd name="connsiteX2" fmla="*/ 14739 w 100070"/>
                  <a:gd name="connsiteY2" fmla="*/ 82285 h 96298"/>
                  <a:gd name="connsiteX3" fmla="*/ 18152 w 100070"/>
                  <a:gd name="connsiteY3" fmla="*/ 62313 h 96298"/>
                  <a:gd name="connsiteX4" fmla="*/ 3629 w 100070"/>
                  <a:gd name="connsiteY4" fmla="*/ 48179 h 96298"/>
                  <a:gd name="connsiteX5" fmla="*/ 605 w 100070"/>
                  <a:gd name="connsiteY5" fmla="*/ 35902 h 96298"/>
                  <a:gd name="connsiteX6" fmla="*/ 10277 w 100070"/>
                  <a:gd name="connsiteY6" fmla="*/ 27758 h 96298"/>
                  <a:gd name="connsiteX7" fmla="*/ 30339 w 100070"/>
                  <a:gd name="connsiteY7" fmla="*/ 24853 h 96298"/>
                  <a:gd name="connsiteX8" fmla="*/ 39292 w 100070"/>
                  <a:gd name="connsiteY8" fmla="*/ 6677 h 96298"/>
                  <a:gd name="connsiteX9" fmla="*/ 50042 w 100070"/>
                  <a:gd name="connsiteY9" fmla="*/ 0 h 96298"/>
                  <a:gd name="connsiteX10" fmla="*/ 60792 w 100070"/>
                  <a:gd name="connsiteY10" fmla="*/ 6677 h 96298"/>
                  <a:gd name="connsiteX11" fmla="*/ 60792 w 100070"/>
                  <a:gd name="connsiteY11" fmla="*/ 6677 h 96298"/>
                  <a:gd name="connsiteX12" fmla="*/ 69745 w 100070"/>
                  <a:gd name="connsiteY12" fmla="*/ 24853 h 96298"/>
                  <a:gd name="connsiteX13" fmla="*/ 89807 w 100070"/>
                  <a:gd name="connsiteY13" fmla="*/ 27758 h 96298"/>
                  <a:gd name="connsiteX14" fmla="*/ 99479 w 100070"/>
                  <a:gd name="connsiteY14" fmla="*/ 35902 h 96298"/>
                  <a:gd name="connsiteX15" fmla="*/ 96454 w 100070"/>
                  <a:gd name="connsiteY15" fmla="*/ 48179 h 96298"/>
                  <a:gd name="connsiteX16" fmla="*/ 81932 w 100070"/>
                  <a:gd name="connsiteY16" fmla="*/ 62313 h 96298"/>
                  <a:gd name="connsiteX17" fmla="*/ 85345 w 100070"/>
                  <a:gd name="connsiteY17" fmla="*/ 82285 h 96298"/>
                  <a:gd name="connsiteX18" fmla="*/ 80584 w 100070"/>
                  <a:gd name="connsiteY18" fmla="*/ 93993 h 96298"/>
                  <a:gd name="connsiteX19" fmla="*/ 67978 w 100070"/>
                  <a:gd name="connsiteY19" fmla="*/ 94891 h 96298"/>
                  <a:gd name="connsiteX20" fmla="*/ 50042 w 100070"/>
                  <a:gd name="connsiteY20" fmla="*/ 85459 h 96298"/>
                  <a:gd name="connsiteX21" fmla="*/ 32106 w 100070"/>
                  <a:gd name="connsiteY21" fmla="*/ 94891 h 96298"/>
                  <a:gd name="connsiteX22" fmla="*/ 26536 w 100070"/>
                  <a:gd name="connsiteY22" fmla="*/ 96298 h 96298"/>
                  <a:gd name="connsiteX23" fmla="*/ 14739 w 100070"/>
                  <a:gd name="connsiteY23" fmla="*/ 40484 h 96298"/>
                  <a:gd name="connsiteX24" fmla="*/ 29920 w 100070"/>
                  <a:gd name="connsiteY24" fmla="*/ 55276 h 96298"/>
                  <a:gd name="connsiteX25" fmla="*/ 31836 w 100070"/>
                  <a:gd name="connsiteY25" fmla="*/ 61145 h 96298"/>
                  <a:gd name="connsiteX26" fmla="*/ 28243 w 100070"/>
                  <a:gd name="connsiteY26" fmla="*/ 82015 h 96298"/>
                  <a:gd name="connsiteX27" fmla="*/ 46988 w 100070"/>
                  <a:gd name="connsiteY27" fmla="*/ 72164 h 96298"/>
                  <a:gd name="connsiteX28" fmla="*/ 53156 w 100070"/>
                  <a:gd name="connsiteY28" fmla="*/ 72164 h 96298"/>
                  <a:gd name="connsiteX29" fmla="*/ 71901 w 100070"/>
                  <a:gd name="connsiteY29" fmla="*/ 82015 h 96298"/>
                  <a:gd name="connsiteX30" fmla="*/ 68308 w 100070"/>
                  <a:gd name="connsiteY30" fmla="*/ 61145 h 96298"/>
                  <a:gd name="connsiteX31" fmla="*/ 70224 w 100070"/>
                  <a:gd name="connsiteY31" fmla="*/ 55276 h 96298"/>
                  <a:gd name="connsiteX32" fmla="*/ 85405 w 100070"/>
                  <a:gd name="connsiteY32" fmla="*/ 40484 h 96298"/>
                  <a:gd name="connsiteX33" fmla="*/ 64445 w 100070"/>
                  <a:gd name="connsiteY33" fmla="*/ 37429 h 96298"/>
                  <a:gd name="connsiteX34" fmla="*/ 59444 w 100070"/>
                  <a:gd name="connsiteY34" fmla="*/ 33806 h 96298"/>
                  <a:gd name="connsiteX35" fmla="*/ 50072 w 100070"/>
                  <a:gd name="connsiteY35" fmla="*/ 14822 h 96298"/>
                  <a:gd name="connsiteX36" fmla="*/ 40700 w 100070"/>
                  <a:gd name="connsiteY36" fmla="*/ 33806 h 96298"/>
                  <a:gd name="connsiteX37" fmla="*/ 35699 w 100070"/>
                  <a:gd name="connsiteY37" fmla="*/ 37429 h 96298"/>
                  <a:gd name="connsiteX38" fmla="*/ 14739 w 100070"/>
                  <a:gd name="connsiteY38" fmla="*/ 40484 h 9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0070" h="96298">
                    <a:moveTo>
                      <a:pt x="26536" y="96298"/>
                    </a:moveTo>
                    <a:cubicBezTo>
                      <a:pt x="24081" y="96298"/>
                      <a:pt x="21596" y="95520"/>
                      <a:pt x="19500" y="93993"/>
                    </a:cubicBezTo>
                    <a:cubicBezTo>
                      <a:pt x="15787" y="91298"/>
                      <a:pt x="13960" y="86806"/>
                      <a:pt x="14739" y="82285"/>
                    </a:cubicBezTo>
                    <a:lnTo>
                      <a:pt x="18152" y="62313"/>
                    </a:lnTo>
                    <a:lnTo>
                      <a:pt x="3629" y="48179"/>
                    </a:lnTo>
                    <a:cubicBezTo>
                      <a:pt x="336" y="44975"/>
                      <a:pt x="-832" y="40274"/>
                      <a:pt x="605" y="35902"/>
                    </a:cubicBezTo>
                    <a:cubicBezTo>
                      <a:pt x="2013" y="31531"/>
                      <a:pt x="5726" y="28416"/>
                      <a:pt x="10277" y="27758"/>
                    </a:cubicBezTo>
                    <a:lnTo>
                      <a:pt x="30339" y="24853"/>
                    </a:lnTo>
                    <a:lnTo>
                      <a:pt x="39292" y="6677"/>
                    </a:lnTo>
                    <a:cubicBezTo>
                      <a:pt x="41328" y="2575"/>
                      <a:pt x="45431" y="0"/>
                      <a:pt x="50042" y="0"/>
                    </a:cubicBezTo>
                    <a:cubicBezTo>
                      <a:pt x="54623" y="0"/>
                      <a:pt x="58756" y="2575"/>
                      <a:pt x="60792" y="6677"/>
                    </a:cubicBezTo>
                    <a:lnTo>
                      <a:pt x="60792" y="6677"/>
                    </a:lnTo>
                    <a:lnTo>
                      <a:pt x="69745" y="24853"/>
                    </a:lnTo>
                    <a:lnTo>
                      <a:pt x="89807" y="27758"/>
                    </a:lnTo>
                    <a:cubicBezTo>
                      <a:pt x="94358" y="28416"/>
                      <a:pt x="98071" y="31531"/>
                      <a:pt x="99479" y="35902"/>
                    </a:cubicBezTo>
                    <a:cubicBezTo>
                      <a:pt x="100886" y="40274"/>
                      <a:pt x="99748" y="44975"/>
                      <a:pt x="96454" y="48179"/>
                    </a:cubicBezTo>
                    <a:lnTo>
                      <a:pt x="81932" y="62313"/>
                    </a:lnTo>
                    <a:lnTo>
                      <a:pt x="85345" y="82285"/>
                    </a:lnTo>
                    <a:cubicBezTo>
                      <a:pt x="86124" y="86806"/>
                      <a:pt x="84297" y="91298"/>
                      <a:pt x="80584" y="93993"/>
                    </a:cubicBezTo>
                    <a:cubicBezTo>
                      <a:pt x="76871" y="96688"/>
                      <a:pt x="72050" y="97047"/>
                      <a:pt x="67978" y="94891"/>
                    </a:cubicBezTo>
                    <a:lnTo>
                      <a:pt x="50042" y="85459"/>
                    </a:lnTo>
                    <a:lnTo>
                      <a:pt x="32106" y="94891"/>
                    </a:lnTo>
                    <a:cubicBezTo>
                      <a:pt x="30369" y="95849"/>
                      <a:pt x="28453" y="96298"/>
                      <a:pt x="26536" y="96298"/>
                    </a:cubicBezTo>
                    <a:close/>
                    <a:moveTo>
                      <a:pt x="14739" y="40484"/>
                    </a:moveTo>
                    <a:lnTo>
                      <a:pt x="29920" y="55276"/>
                    </a:lnTo>
                    <a:cubicBezTo>
                      <a:pt x="31477" y="56803"/>
                      <a:pt x="32196" y="58989"/>
                      <a:pt x="31836" y="61145"/>
                    </a:cubicBezTo>
                    <a:lnTo>
                      <a:pt x="28243" y="82015"/>
                    </a:lnTo>
                    <a:lnTo>
                      <a:pt x="46988" y="72164"/>
                    </a:lnTo>
                    <a:cubicBezTo>
                      <a:pt x="48904" y="71146"/>
                      <a:pt x="51210" y="71146"/>
                      <a:pt x="53156" y="72164"/>
                    </a:cubicBezTo>
                    <a:lnTo>
                      <a:pt x="71901" y="82015"/>
                    </a:lnTo>
                    <a:lnTo>
                      <a:pt x="68308" y="61145"/>
                    </a:lnTo>
                    <a:cubicBezTo>
                      <a:pt x="67948" y="58989"/>
                      <a:pt x="68667" y="56803"/>
                      <a:pt x="70224" y="55276"/>
                    </a:cubicBezTo>
                    <a:lnTo>
                      <a:pt x="85405" y="40484"/>
                    </a:lnTo>
                    <a:lnTo>
                      <a:pt x="64445" y="37429"/>
                    </a:lnTo>
                    <a:cubicBezTo>
                      <a:pt x="62289" y="37130"/>
                      <a:pt x="60432" y="35753"/>
                      <a:pt x="59444" y="33806"/>
                    </a:cubicBezTo>
                    <a:lnTo>
                      <a:pt x="50072" y="14822"/>
                    </a:lnTo>
                    <a:lnTo>
                      <a:pt x="40700" y="33806"/>
                    </a:lnTo>
                    <a:cubicBezTo>
                      <a:pt x="39741" y="35753"/>
                      <a:pt x="37885" y="37130"/>
                      <a:pt x="35699" y="37429"/>
                    </a:cubicBezTo>
                    <a:lnTo>
                      <a:pt x="14739" y="40484"/>
                    </a:lnTo>
                    <a:close/>
                  </a:path>
                </a:pathLst>
              </a:custGeom>
              <a:grpFill/>
              <a:ln w="2991" cap="flat">
                <a:noFill/>
                <a:prstDash val="solid"/>
                <a:miter/>
              </a:ln>
            </p:spPr>
            <p:txBody>
              <a:bodyPr rtlCol="0" anchor="ctr"/>
              <a:lstStyle/>
              <a:p>
                <a:endParaRPr lang="en-GB" dirty="0"/>
              </a:p>
            </p:txBody>
          </p:sp>
          <p:sp>
            <p:nvSpPr>
              <p:cNvPr id="304" name="Freihandform: Form 303">
                <a:extLst>
                  <a:ext uri="{FF2B5EF4-FFF2-40B4-BE49-F238E27FC236}">
                    <a16:creationId xmlns:a16="http://schemas.microsoft.com/office/drawing/2014/main" id="{F7D18FF0-A124-4E24-A140-C3332FCD8F4C}"/>
                  </a:ext>
                </a:extLst>
              </p:cNvPr>
              <p:cNvSpPr/>
              <p:nvPr/>
            </p:nvSpPr>
            <p:spPr>
              <a:xfrm>
                <a:off x="1267151" y="2684453"/>
                <a:ext cx="71982" cy="80710"/>
              </a:xfrm>
              <a:custGeom>
                <a:avLst/>
                <a:gdLst>
                  <a:gd name="connsiteX0" fmla="*/ 10974 w 71982"/>
                  <a:gd name="connsiteY0" fmla="*/ 80698 h 80710"/>
                  <a:gd name="connsiteX1" fmla="*/ 4536 w 71982"/>
                  <a:gd name="connsiteY1" fmla="*/ 78602 h 80710"/>
                  <a:gd name="connsiteX2" fmla="*/ 164 w 71982"/>
                  <a:gd name="connsiteY2" fmla="*/ 67882 h 80710"/>
                  <a:gd name="connsiteX3" fmla="*/ 3428 w 71982"/>
                  <a:gd name="connsiteY3" fmla="*/ 48868 h 80710"/>
                  <a:gd name="connsiteX4" fmla="*/ 6362 w 71982"/>
                  <a:gd name="connsiteY4" fmla="*/ 49377 h 80710"/>
                  <a:gd name="connsiteX5" fmla="*/ 11932 w 71982"/>
                  <a:gd name="connsiteY5" fmla="*/ 42939 h 80710"/>
                  <a:gd name="connsiteX6" fmla="*/ 14297 w 71982"/>
                  <a:gd name="connsiteY6" fmla="*/ 44975 h 80710"/>
                  <a:gd name="connsiteX7" fmla="*/ 16483 w 71982"/>
                  <a:gd name="connsiteY7" fmla="*/ 51114 h 80710"/>
                  <a:gd name="connsiteX8" fmla="*/ 13998 w 71982"/>
                  <a:gd name="connsiteY8" fmla="*/ 65606 h 80710"/>
                  <a:gd name="connsiteX9" fmla="*/ 26993 w 71982"/>
                  <a:gd name="connsiteY9" fmla="*/ 58779 h 80710"/>
                  <a:gd name="connsiteX10" fmla="*/ 33162 w 71982"/>
                  <a:gd name="connsiteY10" fmla="*/ 58779 h 80710"/>
                  <a:gd name="connsiteX11" fmla="*/ 46157 w 71982"/>
                  <a:gd name="connsiteY11" fmla="*/ 65606 h 80710"/>
                  <a:gd name="connsiteX12" fmla="*/ 43672 w 71982"/>
                  <a:gd name="connsiteY12" fmla="*/ 51114 h 80710"/>
                  <a:gd name="connsiteX13" fmla="*/ 45588 w 71982"/>
                  <a:gd name="connsiteY13" fmla="*/ 45245 h 80710"/>
                  <a:gd name="connsiteX14" fmla="*/ 56098 w 71982"/>
                  <a:gd name="connsiteY14" fmla="*/ 35004 h 80710"/>
                  <a:gd name="connsiteX15" fmla="*/ 41546 w 71982"/>
                  <a:gd name="connsiteY15" fmla="*/ 32908 h 80710"/>
                  <a:gd name="connsiteX16" fmla="*/ 36575 w 71982"/>
                  <a:gd name="connsiteY16" fmla="*/ 29285 h 80710"/>
                  <a:gd name="connsiteX17" fmla="*/ 30078 w 71982"/>
                  <a:gd name="connsiteY17" fmla="*/ 16110 h 80710"/>
                  <a:gd name="connsiteX18" fmla="*/ 23580 w 71982"/>
                  <a:gd name="connsiteY18" fmla="*/ 29285 h 80710"/>
                  <a:gd name="connsiteX19" fmla="*/ 18370 w 71982"/>
                  <a:gd name="connsiteY19" fmla="*/ 32938 h 80710"/>
                  <a:gd name="connsiteX20" fmla="*/ 15525 w 71982"/>
                  <a:gd name="connsiteY20" fmla="*/ 33237 h 80710"/>
                  <a:gd name="connsiteX21" fmla="*/ 14627 w 71982"/>
                  <a:gd name="connsiteY21" fmla="*/ 24853 h 80710"/>
                  <a:gd name="connsiteX22" fmla="*/ 11722 w 71982"/>
                  <a:gd name="connsiteY22" fmla="*/ 23416 h 80710"/>
                  <a:gd name="connsiteX23" fmla="*/ 20256 w 71982"/>
                  <a:gd name="connsiteY23" fmla="*/ 6108 h 80710"/>
                  <a:gd name="connsiteX24" fmla="*/ 30078 w 71982"/>
                  <a:gd name="connsiteY24" fmla="*/ 0 h 80710"/>
                  <a:gd name="connsiteX25" fmla="*/ 30078 w 71982"/>
                  <a:gd name="connsiteY25" fmla="*/ 0 h 80710"/>
                  <a:gd name="connsiteX26" fmla="*/ 39929 w 71982"/>
                  <a:gd name="connsiteY26" fmla="*/ 6108 h 80710"/>
                  <a:gd name="connsiteX27" fmla="*/ 46936 w 71982"/>
                  <a:gd name="connsiteY27" fmla="*/ 20272 h 80710"/>
                  <a:gd name="connsiteX28" fmla="*/ 62566 w 71982"/>
                  <a:gd name="connsiteY28" fmla="*/ 22547 h 80710"/>
                  <a:gd name="connsiteX29" fmla="*/ 71430 w 71982"/>
                  <a:gd name="connsiteY29" fmla="*/ 30003 h 80710"/>
                  <a:gd name="connsiteX30" fmla="*/ 68645 w 71982"/>
                  <a:gd name="connsiteY30" fmla="*/ 41262 h 80710"/>
                  <a:gd name="connsiteX31" fmla="*/ 57326 w 71982"/>
                  <a:gd name="connsiteY31" fmla="*/ 52311 h 80710"/>
                  <a:gd name="connsiteX32" fmla="*/ 59991 w 71982"/>
                  <a:gd name="connsiteY32" fmla="*/ 67882 h 80710"/>
                  <a:gd name="connsiteX33" fmla="*/ 55619 w 71982"/>
                  <a:gd name="connsiteY33" fmla="*/ 78602 h 80710"/>
                  <a:gd name="connsiteX34" fmla="*/ 44061 w 71982"/>
                  <a:gd name="connsiteY34" fmla="*/ 79440 h 80710"/>
                  <a:gd name="connsiteX35" fmla="*/ 30078 w 71982"/>
                  <a:gd name="connsiteY35" fmla="*/ 72074 h 80710"/>
                  <a:gd name="connsiteX36" fmla="*/ 16094 w 71982"/>
                  <a:gd name="connsiteY36" fmla="*/ 79440 h 80710"/>
                  <a:gd name="connsiteX37" fmla="*/ 10974 w 71982"/>
                  <a:gd name="connsiteY37" fmla="*/ 80698 h 8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1982" h="80710">
                    <a:moveTo>
                      <a:pt x="10974" y="80698"/>
                    </a:moveTo>
                    <a:cubicBezTo>
                      <a:pt x="8698" y="80698"/>
                      <a:pt x="6452" y="79979"/>
                      <a:pt x="4536" y="78602"/>
                    </a:cubicBezTo>
                    <a:cubicBezTo>
                      <a:pt x="1122" y="76116"/>
                      <a:pt x="-555" y="72014"/>
                      <a:pt x="164" y="67882"/>
                    </a:cubicBezTo>
                    <a:lnTo>
                      <a:pt x="3428" y="48868"/>
                    </a:lnTo>
                    <a:lnTo>
                      <a:pt x="6362" y="49377"/>
                    </a:lnTo>
                    <a:lnTo>
                      <a:pt x="11932" y="42939"/>
                    </a:lnTo>
                    <a:lnTo>
                      <a:pt x="14297" y="44975"/>
                    </a:lnTo>
                    <a:cubicBezTo>
                      <a:pt x="16064" y="46502"/>
                      <a:pt x="16872" y="48808"/>
                      <a:pt x="16483" y="51114"/>
                    </a:cubicBezTo>
                    <a:lnTo>
                      <a:pt x="13998" y="65606"/>
                    </a:lnTo>
                    <a:lnTo>
                      <a:pt x="26993" y="58779"/>
                    </a:lnTo>
                    <a:cubicBezTo>
                      <a:pt x="28910" y="57761"/>
                      <a:pt x="31215" y="57761"/>
                      <a:pt x="33162" y="58779"/>
                    </a:cubicBezTo>
                    <a:lnTo>
                      <a:pt x="46157" y="65606"/>
                    </a:lnTo>
                    <a:lnTo>
                      <a:pt x="43672" y="51114"/>
                    </a:lnTo>
                    <a:cubicBezTo>
                      <a:pt x="43313" y="48958"/>
                      <a:pt x="44031" y="46772"/>
                      <a:pt x="45588" y="45245"/>
                    </a:cubicBezTo>
                    <a:lnTo>
                      <a:pt x="56098" y="35004"/>
                    </a:lnTo>
                    <a:lnTo>
                      <a:pt x="41546" y="32908"/>
                    </a:lnTo>
                    <a:cubicBezTo>
                      <a:pt x="39390" y="32608"/>
                      <a:pt x="37534" y="31231"/>
                      <a:pt x="36575" y="29285"/>
                    </a:cubicBezTo>
                    <a:lnTo>
                      <a:pt x="30078" y="16110"/>
                    </a:lnTo>
                    <a:lnTo>
                      <a:pt x="23580" y="29285"/>
                    </a:lnTo>
                    <a:cubicBezTo>
                      <a:pt x="22592" y="31321"/>
                      <a:pt x="20615" y="32698"/>
                      <a:pt x="18370" y="32938"/>
                    </a:cubicBezTo>
                    <a:lnTo>
                      <a:pt x="15525" y="33237"/>
                    </a:lnTo>
                    <a:lnTo>
                      <a:pt x="14627" y="24853"/>
                    </a:lnTo>
                    <a:lnTo>
                      <a:pt x="11722" y="23416"/>
                    </a:lnTo>
                    <a:lnTo>
                      <a:pt x="20256" y="6108"/>
                    </a:lnTo>
                    <a:cubicBezTo>
                      <a:pt x="22113" y="2336"/>
                      <a:pt x="25885" y="0"/>
                      <a:pt x="30078" y="0"/>
                    </a:cubicBezTo>
                    <a:cubicBezTo>
                      <a:pt x="30078" y="0"/>
                      <a:pt x="30078" y="0"/>
                      <a:pt x="30078" y="0"/>
                    </a:cubicBezTo>
                    <a:cubicBezTo>
                      <a:pt x="34300" y="0"/>
                      <a:pt x="38043" y="2336"/>
                      <a:pt x="39929" y="6108"/>
                    </a:cubicBezTo>
                    <a:lnTo>
                      <a:pt x="46936" y="20272"/>
                    </a:lnTo>
                    <a:lnTo>
                      <a:pt x="62566" y="22547"/>
                    </a:lnTo>
                    <a:cubicBezTo>
                      <a:pt x="66728" y="23146"/>
                      <a:pt x="70112" y="26021"/>
                      <a:pt x="71430" y="30003"/>
                    </a:cubicBezTo>
                    <a:cubicBezTo>
                      <a:pt x="72747" y="34016"/>
                      <a:pt x="71669" y="38328"/>
                      <a:pt x="68645" y="41262"/>
                    </a:cubicBezTo>
                    <a:lnTo>
                      <a:pt x="57326" y="52311"/>
                    </a:lnTo>
                    <a:lnTo>
                      <a:pt x="59991" y="67882"/>
                    </a:lnTo>
                    <a:cubicBezTo>
                      <a:pt x="60710" y="72014"/>
                      <a:pt x="59033" y="76146"/>
                      <a:pt x="55619" y="78602"/>
                    </a:cubicBezTo>
                    <a:cubicBezTo>
                      <a:pt x="52236" y="81087"/>
                      <a:pt x="47774" y="81386"/>
                      <a:pt x="44061" y="79440"/>
                    </a:cubicBezTo>
                    <a:lnTo>
                      <a:pt x="30078" y="72074"/>
                    </a:lnTo>
                    <a:lnTo>
                      <a:pt x="16094" y="79440"/>
                    </a:lnTo>
                    <a:cubicBezTo>
                      <a:pt x="14477" y="80279"/>
                      <a:pt x="12710" y="80698"/>
                      <a:pt x="10974" y="80698"/>
                    </a:cubicBezTo>
                    <a:close/>
                  </a:path>
                </a:pathLst>
              </a:custGeom>
              <a:grpFill/>
              <a:ln w="2991" cap="flat">
                <a:noFill/>
                <a:prstDash val="solid"/>
                <a:miter/>
              </a:ln>
            </p:spPr>
            <p:txBody>
              <a:bodyPr rtlCol="0" anchor="ctr"/>
              <a:lstStyle/>
              <a:p>
                <a:endParaRPr lang="en-GB" dirty="0"/>
              </a:p>
            </p:txBody>
          </p:sp>
          <p:sp>
            <p:nvSpPr>
              <p:cNvPr id="305" name="Freihandform: Form 304">
                <a:extLst>
                  <a:ext uri="{FF2B5EF4-FFF2-40B4-BE49-F238E27FC236}">
                    <a16:creationId xmlns:a16="http://schemas.microsoft.com/office/drawing/2014/main" id="{8D75ABCE-FCA0-4925-B580-20B76FDC4C35}"/>
                  </a:ext>
                </a:extLst>
              </p:cNvPr>
              <p:cNvSpPr/>
              <p:nvPr/>
            </p:nvSpPr>
            <p:spPr>
              <a:xfrm>
                <a:off x="1101546" y="2684483"/>
                <a:ext cx="71969" cy="80680"/>
              </a:xfrm>
              <a:custGeom>
                <a:avLst/>
                <a:gdLst>
                  <a:gd name="connsiteX0" fmla="*/ 60996 w 71969"/>
                  <a:gd name="connsiteY0" fmla="*/ 80668 h 80680"/>
                  <a:gd name="connsiteX1" fmla="*/ 55876 w 71969"/>
                  <a:gd name="connsiteY1" fmla="*/ 79410 h 80680"/>
                  <a:gd name="connsiteX2" fmla="*/ 41892 w 71969"/>
                  <a:gd name="connsiteY2" fmla="*/ 72044 h 80680"/>
                  <a:gd name="connsiteX3" fmla="*/ 27909 w 71969"/>
                  <a:gd name="connsiteY3" fmla="*/ 79410 h 80680"/>
                  <a:gd name="connsiteX4" fmla="*/ 16350 w 71969"/>
                  <a:gd name="connsiteY4" fmla="*/ 78572 h 80680"/>
                  <a:gd name="connsiteX5" fmla="*/ 11979 w 71969"/>
                  <a:gd name="connsiteY5" fmla="*/ 67852 h 80680"/>
                  <a:gd name="connsiteX6" fmla="*/ 14644 w 71969"/>
                  <a:gd name="connsiteY6" fmla="*/ 52281 h 80680"/>
                  <a:gd name="connsiteX7" fmla="*/ 3325 w 71969"/>
                  <a:gd name="connsiteY7" fmla="*/ 41262 h 80680"/>
                  <a:gd name="connsiteX8" fmla="*/ 540 w 71969"/>
                  <a:gd name="connsiteY8" fmla="*/ 30003 h 80680"/>
                  <a:gd name="connsiteX9" fmla="*/ 9403 w 71969"/>
                  <a:gd name="connsiteY9" fmla="*/ 22547 h 80680"/>
                  <a:gd name="connsiteX10" fmla="*/ 25034 w 71969"/>
                  <a:gd name="connsiteY10" fmla="*/ 20272 h 80680"/>
                  <a:gd name="connsiteX11" fmla="*/ 32041 w 71969"/>
                  <a:gd name="connsiteY11" fmla="*/ 6109 h 80680"/>
                  <a:gd name="connsiteX12" fmla="*/ 41892 w 71969"/>
                  <a:gd name="connsiteY12" fmla="*/ 0 h 80680"/>
                  <a:gd name="connsiteX13" fmla="*/ 51744 w 71969"/>
                  <a:gd name="connsiteY13" fmla="*/ 6109 h 80680"/>
                  <a:gd name="connsiteX14" fmla="*/ 60277 w 71969"/>
                  <a:gd name="connsiteY14" fmla="*/ 23416 h 80680"/>
                  <a:gd name="connsiteX15" fmla="*/ 57373 w 71969"/>
                  <a:gd name="connsiteY15" fmla="*/ 24853 h 80680"/>
                  <a:gd name="connsiteX16" fmla="*/ 56475 w 71969"/>
                  <a:gd name="connsiteY16" fmla="*/ 33237 h 80680"/>
                  <a:gd name="connsiteX17" fmla="*/ 53630 w 71969"/>
                  <a:gd name="connsiteY17" fmla="*/ 32938 h 80680"/>
                  <a:gd name="connsiteX18" fmla="*/ 48420 w 71969"/>
                  <a:gd name="connsiteY18" fmla="*/ 29285 h 80680"/>
                  <a:gd name="connsiteX19" fmla="*/ 41922 w 71969"/>
                  <a:gd name="connsiteY19" fmla="*/ 16110 h 80680"/>
                  <a:gd name="connsiteX20" fmla="*/ 35424 w 71969"/>
                  <a:gd name="connsiteY20" fmla="*/ 29285 h 80680"/>
                  <a:gd name="connsiteX21" fmla="*/ 30424 w 71969"/>
                  <a:gd name="connsiteY21" fmla="*/ 32908 h 80680"/>
                  <a:gd name="connsiteX22" fmla="*/ 15871 w 71969"/>
                  <a:gd name="connsiteY22" fmla="*/ 35004 h 80680"/>
                  <a:gd name="connsiteX23" fmla="*/ 26381 w 71969"/>
                  <a:gd name="connsiteY23" fmla="*/ 45245 h 80680"/>
                  <a:gd name="connsiteX24" fmla="*/ 28298 w 71969"/>
                  <a:gd name="connsiteY24" fmla="*/ 51114 h 80680"/>
                  <a:gd name="connsiteX25" fmla="*/ 25812 w 71969"/>
                  <a:gd name="connsiteY25" fmla="*/ 65606 h 80680"/>
                  <a:gd name="connsiteX26" fmla="*/ 38808 w 71969"/>
                  <a:gd name="connsiteY26" fmla="*/ 58779 h 80680"/>
                  <a:gd name="connsiteX27" fmla="*/ 44976 w 71969"/>
                  <a:gd name="connsiteY27" fmla="*/ 58779 h 80680"/>
                  <a:gd name="connsiteX28" fmla="*/ 57972 w 71969"/>
                  <a:gd name="connsiteY28" fmla="*/ 65606 h 80680"/>
                  <a:gd name="connsiteX29" fmla="*/ 55487 w 71969"/>
                  <a:gd name="connsiteY29" fmla="*/ 51114 h 80680"/>
                  <a:gd name="connsiteX30" fmla="*/ 57672 w 71969"/>
                  <a:gd name="connsiteY30" fmla="*/ 45005 h 80680"/>
                  <a:gd name="connsiteX31" fmla="*/ 60038 w 71969"/>
                  <a:gd name="connsiteY31" fmla="*/ 42969 h 80680"/>
                  <a:gd name="connsiteX32" fmla="*/ 65607 w 71969"/>
                  <a:gd name="connsiteY32" fmla="*/ 49407 h 80680"/>
                  <a:gd name="connsiteX33" fmla="*/ 68542 w 71969"/>
                  <a:gd name="connsiteY33" fmla="*/ 48898 h 80680"/>
                  <a:gd name="connsiteX34" fmla="*/ 71806 w 71969"/>
                  <a:gd name="connsiteY34" fmla="*/ 67912 h 80680"/>
                  <a:gd name="connsiteX35" fmla="*/ 67434 w 71969"/>
                  <a:gd name="connsiteY35" fmla="*/ 78632 h 80680"/>
                  <a:gd name="connsiteX36" fmla="*/ 60996 w 71969"/>
                  <a:gd name="connsiteY36" fmla="*/ 80668 h 80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71969" h="80680">
                    <a:moveTo>
                      <a:pt x="60996" y="80668"/>
                    </a:moveTo>
                    <a:cubicBezTo>
                      <a:pt x="59259" y="80668"/>
                      <a:pt x="57493" y="80249"/>
                      <a:pt x="55876" y="79410"/>
                    </a:cubicBezTo>
                    <a:lnTo>
                      <a:pt x="41892" y="72044"/>
                    </a:lnTo>
                    <a:lnTo>
                      <a:pt x="27909" y="79410"/>
                    </a:lnTo>
                    <a:cubicBezTo>
                      <a:pt x="24196" y="81357"/>
                      <a:pt x="19764" y="81057"/>
                      <a:pt x="16350" y="78572"/>
                    </a:cubicBezTo>
                    <a:cubicBezTo>
                      <a:pt x="12937" y="76116"/>
                      <a:pt x="11260" y="71984"/>
                      <a:pt x="11979" y="67852"/>
                    </a:cubicBezTo>
                    <a:lnTo>
                      <a:pt x="14644" y="52281"/>
                    </a:lnTo>
                    <a:lnTo>
                      <a:pt x="3325" y="41262"/>
                    </a:lnTo>
                    <a:cubicBezTo>
                      <a:pt x="301" y="38328"/>
                      <a:pt x="-747" y="34016"/>
                      <a:pt x="540" y="30003"/>
                    </a:cubicBezTo>
                    <a:cubicBezTo>
                      <a:pt x="1858" y="25991"/>
                      <a:pt x="5241" y="23146"/>
                      <a:pt x="9403" y="22547"/>
                    </a:cubicBezTo>
                    <a:lnTo>
                      <a:pt x="25034" y="20272"/>
                    </a:lnTo>
                    <a:lnTo>
                      <a:pt x="32041" y="6109"/>
                    </a:lnTo>
                    <a:cubicBezTo>
                      <a:pt x="33897" y="2336"/>
                      <a:pt x="37670" y="0"/>
                      <a:pt x="41892" y="0"/>
                    </a:cubicBezTo>
                    <a:cubicBezTo>
                      <a:pt x="46114" y="0"/>
                      <a:pt x="49857" y="2336"/>
                      <a:pt x="51744" y="6109"/>
                    </a:cubicBezTo>
                    <a:lnTo>
                      <a:pt x="60277" y="23416"/>
                    </a:lnTo>
                    <a:lnTo>
                      <a:pt x="57373" y="24853"/>
                    </a:lnTo>
                    <a:lnTo>
                      <a:pt x="56475" y="33237"/>
                    </a:lnTo>
                    <a:lnTo>
                      <a:pt x="53630" y="32938"/>
                    </a:lnTo>
                    <a:cubicBezTo>
                      <a:pt x="51384" y="32698"/>
                      <a:pt x="49408" y="31321"/>
                      <a:pt x="48420" y="29285"/>
                    </a:cubicBezTo>
                    <a:lnTo>
                      <a:pt x="41922" y="16110"/>
                    </a:lnTo>
                    <a:lnTo>
                      <a:pt x="35424" y="29285"/>
                    </a:lnTo>
                    <a:cubicBezTo>
                      <a:pt x="34466" y="31231"/>
                      <a:pt x="32610" y="32609"/>
                      <a:pt x="30424" y="32908"/>
                    </a:cubicBezTo>
                    <a:lnTo>
                      <a:pt x="15871" y="35004"/>
                    </a:lnTo>
                    <a:lnTo>
                      <a:pt x="26381" y="45245"/>
                    </a:lnTo>
                    <a:cubicBezTo>
                      <a:pt x="27938" y="46772"/>
                      <a:pt x="28657" y="48958"/>
                      <a:pt x="28298" y="51114"/>
                    </a:cubicBezTo>
                    <a:lnTo>
                      <a:pt x="25812" y="65606"/>
                    </a:lnTo>
                    <a:lnTo>
                      <a:pt x="38808" y="58779"/>
                    </a:lnTo>
                    <a:cubicBezTo>
                      <a:pt x="40724" y="57761"/>
                      <a:pt x="43030" y="57761"/>
                      <a:pt x="44976" y="58779"/>
                    </a:cubicBezTo>
                    <a:lnTo>
                      <a:pt x="57972" y="65606"/>
                    </a:lnTo>
                    <a:lnTo>
                      <a:pt x="55487" y="51114"/>
                    </a:lnTo>
                    <a:cubicBezTo>
                      <a:pt x="55097" y="48838"/>
                      <a:pt x="55936" y="46502"/>
                      <a:pt x="57672" y="45005"/>
                    </a:cubicBezTo>
                    <a:lnTo>
                      <a:pt x="60038" y="42969"/>
                    </a:lnTo>
                    <a:lnTo>
                      <a:pt x="65607" y="49407"/>
                    </a:lnTo>
                    <a:lnTo>
                      <a:pt x="68542" y="48898"/>
                    </a:lnTo>
                    <a:lnTo>
                      <a:pt x="71806" y="67912"/>
                    </a:lnTo>
                    <a:cubicBezTo>
                      <a:pt x="72524" y="72074"/>
                      <a:pt x="70848" y="76176"/>
                      <a:pt x="67434" y="78632"/>
                    </a:cubicBezTo>
                    <a:cubicBezTo>
                      <a:pt x="65518" y="79949"/>
                      <a:pt x="63272" y="80668"/>
                      <a:pt x="60996" y="80668"/>
                    </a:cubicBezTo>
                    <a:close/>
                  </a:path>
                </a:pathLst>
              </a:custGeom>
              <a:grpFill/>
              <a:ln w="2991" cap="flat">
                <a:noFill/>
                <a:prstDash val="solid"/>
                <a:miter/>
              </a:ln>
            </p:spPr>
            <p:txBody>
              <a:bodyPr rtlCol="0" anchor="ctr"/>
              <a:lstStyle/>
              <a:p>
                <a:endParaRPr lang="en-GB" dirty="0"/>
              </a:p>
            </p:txBody>
          </p:sp>
        </p:grpSp>
      </p:grpSp>
      <p:sp>
        <p:nvSpPr>
          <p:cNvPr id="308" name="TextBox 1397">
            <a:extLst>
              <a:ext uri="{FF2B5EF4-FFF2-40B4-BE49-F238E27FC236}">
                <a16:creationId xmlns:a16="http://schemas.microsoft.com/office/drawing/2014/main" id="{A8205BE6-E382-4BA3-B33F-BDD15CB87F7C}"/>
              </a:ext>
            </a:extLst>
          </p:cNvPr>
          <p:cNvSpPr txBox="1"/>
          <p:nvPr/>
        </p:nvSpPr>
        <p:spPr>
          <a:xfrm>
            <a:off x="579248" y="2077494"/>
            <a:ext cx="429605" cy="107722"/>
          </a:xfrm>
          <a:prstGeom prst="rect">
            <a:avLst/>
          </a:prstGeom>
          <a:noFill/>
          <a:effectLst/>
        </p:spPr>
        <p:txBody>
          <a:bodyPr wrap="none" lIns="0" tIns="0" rIns="0" bIns="0" rtlCol="0" anchor="t">
            <a:spAutoFit/>
          </a:bodyPr>
          <a:lstStyle/>
          <a:p>
            <a:pPr algn="ctr"/>
            <a:r>
              <a:rPr lang="en-GB" sz="700" dirty="0">
                <a:solidFill>
                  <a:schemeClr val="tx2"/>
                </a:solidFill>
              </a:rPr>
              <a:t>Post reach</a:t>
            </a:r>
          </a:p>
        </p:txBody>
      </p:sp>
      <p:sp>
        <p:nvSpPr>
          <p:cNvPr id="309" name="TextBox 1401">
            <a:extLst>
              <a:ext uri="{FF2B5EF4-FFF2-40B4-BE49-F238E27FC236}">
                <a16:creationId xmlns:a16="http://schemas.microsoft.com/office/drawing/2014/main" id="{BE89B02A-341A-4436-A776-DC822D4DECB1}"/>
              </a:ext>
            </a:extLst>
          </p:cNvPr>
          <p:cNvSpPr txBox="1"/>
          <p:nvPr/>
        </p:nvSpPr>
        <p:spPr>
          <a:xfrm>
            <a:off x="543180" y="2899619"/>
            <a:ext cx="501740" cy="107722"/>
          </a:xfrm>
          <a:prstGeom prst="rect">
            <a:avLst/>
          </a:prstGeom>
          <a:noFill/>
          <a:effectLst/>
        </p:spPr>
        <p:txBody>
          <a:bodyPr wrap="none" lIns="0" tIns="0" rIns="0" bIns="0" rtlCol="0" anchor="t">
            <a:spAutoFit/>
          </a:bodyPr>
          <a:lstStyle/>
          <a:p>
            <a:pPr algn="ctr"/>
            <a:r>
              <a:rPr lang="en-GB" sz="700" dirty="0">
                <a:solidFill>
                  <a:schemeClr val="tx2"/>
                </a:solidFill>
              </a:rPr>
              <a:t>Testimonials</a:t>
            </a:r>
          </a:p>
        </p:txBody>
      </p:sp>
      <p:sp>
        <p:nvSpPr>
          <p:cNvPr id="310" name="TextBox 1407">
            <a:extLst>
              <a:ext uri="{FF2B5EF4-FFF2-40B4-BE49-F238E27FC236}">
                <a16:creationId xmlns:a16="http://schemas.microsoft.com/office/drawing/2014/main" id="{8BBE1075-FB19-4AD6-8551-B180550D5664}"/>
              </a:ext>
            </a:extLst>
          </p:cNvPr>
          <p:cNvSpPr txBox="1"/>
          <p:nvPr/>
        </p:nvSpPr>
        <p:spPr>
          <a:xfrm>
            <a:off x="600087" y="4547732"/>
            <a:ext cx="387927" cy="107722"/>
          </a:xfrm>
          <a:prstGeom prst="rect">
            <a:avLst/>
          </a:prstGeom>
          <a:noFill/>
          <a:effectLst/>
        </p:spPr>
        <p:txBody>
          <a:bodyPr wrap="none" lIns="0" tIns="0" rIns="0" bIns="0" rtlCol="0" anchor="t">
            <a:spAutoFit/>
          </a:bodyPr>
          <a:lstStyle/>
          <a:p>
            <a:pPr algn="ctr"/>
            <a:r>
              <a:rPr lang="en-GB" sz="700" dirty="0">
                <a:solidFill>
                  <a:schemeClr val="tx2"/>
                </a:solidFill>
              </a:rPr>
              <a:t>View time</a:t>
            </a:r>
          </a:p>
        </p:txBody>
      </p:sp>
      <p:sp>
        <p:nvSpPr>
          <p:cNvPr id="311" name="TextBox 1405">
            <a:extLst>
              <a:ext uri="{FF2B5EF4-FFF2-40B4-BE49-F238E27FC236}">
                <a16:creationId xmlns:a16="http://schemas.microsoft.com/office/drawing/2014/main" id="{4011E155-5E13-48C8-A8BA-8066F6EE4F68}"/>
              </a:ext>
            </a:extLst>
          </p:cNvPr>
          <p:cNvSpPr txBox="1"/>
          <p:nvPr/>
        </p:nvSpPr>
        <p:spPr>
          <a:xfrm>
            <a:off x="532761" y="3723675"/>
            <a:ext cx="522579" cy="107722"/>
          </a:xfrm>
          <a:prstGeom prst="rect">
            <a:avLst/>
          </a:prstGeom>
          <a:noFill/>
          <a:effectLst/>
        </p:spPr>
        <p:txBody>
          <a:bodyPr wrap="none" lIns="0" tIns="0" rIns="0" bIns="0" rtlCol="0" anchor="t">
            <a:spAutoFit/>
          </a:bodyPr>
          <a:lstStyle/>
          <a:p>
            <a:pPr algn="ctr"/>
            <a:r>
              <a:rPr lang="en-GB" sz="700" dirty="0">
                <a:solidFill>
                  <a:schemeClr val="tx2"/>
                </a:solidFill>
              </a:rPr>
              <a:t>Photo editing</a:t>
            </a:r>
          </a:p>
        </p:txBody>
      </p:sp>
      <p:grpSp>
        <p:nvGrpSpPr>
          <p:cNvPr id="7" name="Group 6">
            <a:extLst>
              <a:ext uri="{FF2B5EF4-FFF2-40B4-BE49-F238E27FC236}">
                <a16:creationId xmlns:a16="http://schemas.microsoft.com/office/drawing/2014/main" id="{9321D8D2-6AD7-0AAD-C486-0CE713B9334A}"/>
              </a:ext>
            </a:extLst>
          </p:cNvPr>
          <p:cNvGrpSpPr/>
          <p:nvPr/>
        </p:nvGrpSpPr>
        <p:grpSpPr>
          <a:xfrm>
            <a:off x="3624350" y="1760194"/>
            <a:ext cx="612002" cy="298522"/>
            <a:chOff x="3624350" y="1760194"/>
            <a:chExt cx="612002" cy="298522"/>
          </a:xfrm>
        </p:grpSpPr>
        <p:grpSp>
          <p:nvGrpSpPr>
            <p:cNvPr id="313" name="Group 1067">
              <a:extLst>
                <a:ext uri="{FF2B5EF4-FFF2-40B4-BE49-F238E27FC236}">
                  <a16:creationId xmlns:a16="http://schemas.microsoft.com/office/drawing/2014/main" id="{71FF0D13-8B95-4BAB-82F9-6630F9DF5F13}"/>
                </a:ext>
              </a:extLst>
            </p:cNvPr>
            <p:cNvGrpSpPr/>
            <p:nvPr/>
          </p:nvGrpSpPr>
          <p:grpSpPr>
            <a:xfrm>
              <a:off x="3878048" y="1775117"/>
              <a:ext cx="358304" cy="283599"/>
              <a:chOff x="3593426" y="1729943"/>
              <a:chExt cx="317782" cy="251525"/>
            </a:xfrm>
            <a:solidFill>
              <a:schemeClr val="tx2"/>
            </a:solidFill>
          </p:grpSpPr>
          <p:grpSp>
            <p:nvGrpSpPr>
              <p:cNvPr id="320" name="Grafik 306">
                <a:extLst>
                  <a:ext uri="{FF2B5EF4-FFF2-40B4-BE49-F238E27FC236}">
                    <a16:creationId xmlns:a16="http://schemas.microsoft.com/office/drawing/2014/main" id="{0DFD28AE-9599-45E3-8647-3DA7BE14E44D}"/>
                  </a:ext>
                </a:extLst>
              </p:cNvPr>
              <p:cNvGrpSpPr/>
              <p:nvPr/>
            </p:nvGrpSpPr>
            <p:grpSpPr>
              <a:xfrm>
                <a:off x="3593426" y="1729943"/>
                <a:ext cx="178784" cy="251525"/>
                <a:chOff x="3593426" y="1729943"/>
                <a:chExt cx="178784" cy="251525"/>
              </a:xfrm>
              <a:grpFill/>
            </p:grpSpPr>
            <p:sp>
              <p:nvSpPr>
                <p:cNvPr id="325" name="Freihandform: Form 324">
                  <a:extLst>
                    <a:ext uri="{FF2B5EF4-FFF2-40B4-BE49-F238E27FC236}">
                      <a16:creationId xmlns:a16="http://schemas.microsoft.com/office/drawing/2014/main" id="{4732F657-52DC-41F2-AEB5-1AA79B9D1BC5}"/>
                    </a:ext>
                  </a:extLst>
                </p:cNvPr>
                <p:cNvSpPr/>
                <p:nvPr/>
              </p:nvSpPr>
              <p:spPr>
                <a:xfrm>
                  <a:off x="3593426" y="1729943"/>
                  <a:ext cx="178784" cy="251525"/>
                </a:xfrm>
                <a:custGeom>
                  <a:avLst/>
                  <a:gdLst>
                    <a:gd name="connsiteX0" fmla="*/ 52992 w 178784"/>
                    <a:gd name="connsiteY0" fmla="*/ 251526 h 251525"/>
                    <a:gd name="connsiteX1" fmla="*/ 4034 w 178784"/>
                    <a:gd name="connsiteY1" fmla="*/ 241644 h 251525"/>
                    <a:gd name="connsiteX2" fmla="*/ 531 w 178784"/>
                    <a:gd name="connsiteY2" fmla="*/ 232961 h 251525"/>
                    <a:gd name="connsiteX3" fmla="*/ 9214 w 178784"/>
                    <a:gd name="connsiteY3" fmla="*/ 229457 h 251525"/>
                    <a:gd name="connsiteX4" fmla="*/ 53022 w 178784"/>
                    <a:gd name="connsiteY4" fmla="*/ 238291 h 251525"/>
                    <a:gd name="connsiteX5" fmla="*/ 165549 w 178784"/>
                    <a:gd name="connsiteY5" fmla="*/ 125763 h 251525"/>
                    <a:gd name="connsiteX6" fmla="*/ 53022 w 178784"/>
                    <a:gd name="connsiteY6" fmla="*/ 13235 h 251525"/>
                    <a:gd name="connsiteX7" fmla="*/ 19545 w 178784"/>
                    <a:gd name="connsiteY7" fmla="*/ 18295 h 251525"/>
                    <a:gd name="connsiteX8" fmla="*/ 11250 w 178784"/>
                    <a:gd name="connsiteY8" fmla="*/ 13954 h 251525"/>
                    <a:gd name="connsiteX9" fmla="*/ 15622 w 178784"/>
                    <a:gd name="connsiteY9" fmla="*/ 5659 h 251525"/>
                    <a:gd name="connsiteX10" fmla="*/ 53022 w 178784"/>
                    <a:gd name="connsiteY10" fmla="*/ 0 h 251525"/>
                    <a:gd name="connsiteX11" fmla="*/ 178784 w 178784"/>
                    <a:gd name="connsiteY11" fmla="*/ 125763 h 251525"/>
                    <a:gd name="connsiteX12" fmla="*/ 52992 w 178784"/>
                    <a:gd name="connsiteY12" fmla="*/ 251526 h 251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8784" h="251525">
                      <a:moveTo>
                        <a:pt x="52992" y="251526"/>
                      </a:moveTo>
                      <a:cubicBezTo>
                        <a:pt x="36014" y="251526"/>
                        <a:pt x="19545" y="248202"/>
                        <a:pt x="4034" y="241644"/>
                      </a:cubicBezTo>
                      <a:cubicBezTo>
                        <a:pt x="680" y="240207"/>
                        <a:pt x="-907" y="236344"/>
                        <a:pt x="531" y="232961"/>
                      </a:cubicBezTo>
                      <a:cubicBezTo>
                        <a:pt x="1968" y="229577"/>
                        <a:pt x="5861" y="228020"/>
                        <a:pt x="9214" y="229457"/>
                      </a:cubicBezTo>
                      <a:cubicBezTo>
                        <a:pt x="23078" y="235326"/>
                        <a:pt x="37810" y="238291"/>
                        <a:pt x="53022" y="238291"/>
                      </a:cubicBezTo>
                      <a:cubicBezTo>
                        <a:pt x="115065" y="238291"/>
                        <a:pt x="165549" y="187806"/>
                        <a:pt x="165549" y="125763"/>
                      </a:cubicBezTo>
                      <a:cubicBezTo>
                        <a:pt x="165549" y="63720"/>
                        <a:pt x="115065" y="13235"/>
                        <a:pt x="53022" y="13235"/>
                      </a:cubicBezTo>
                      <a:cubicBezTo>
                        <a:pt x="41613" y="13235"/>
                        <a:pt x="30354" y="14942"/>
                        <a:pt x="19545" y="18295"/>
                      </a:cubicBezTo>
                      <a:cubicBezTo>
                        <a:pt x="16041" y="19373"/>
                        <a:pt x="12358" y="17427"/>
                        <a:pt x="11250" y="13954"/>
                      </a:cubicBezTo>
                      <a:cubicBezTo>
                        <a:pt x="10172" y="10450"/>
                        <a:pt x="12119" y="6767"/>
                        <a:pt x="15622" y="5659"/>
                      </a:cubicBezTo>
                      <a:cubicBezTo>
                        <a:pt x="27689" y="1916"/>
                        <a:pt x="40266" y="0"/>
                        <a:pt x="53022" y="0"/>
                      </a:cubicBezTo>
                      <a:cubicBezTo>
                        <a:pt x="122371" y="0"/>
                        <a:pt x="178784" y="56414"/>
                        <a:pt x="178784" y="125763"/>
                      </a:cubicBezTo>
                      <a:cubicBezTo>
                        <a:pt x="178754" y="195112"/>
                        <a:pt x="122341" y="251526"/>
                        <a:pt x="52992" y="251526"/>
                      </a:cubicBezTo>
                      <a:close/>
                    </a:path>
                  </a:pathLst>
                </a:custGeom>
                <a:grpFill/>
                <a:ln w="2991" cap="flat">
                  <a:noFill/>
                  <a:prstDash val="solid"/>
                  <a:miter/>
                </a:ln>
              </p:spPr>
              <p:txBody>
                <a:bodyPr rtlCol="0" anchor="ctr"/>
                <a:lstStyle/>
                <a:p>
                  <a:endParaRPr lang="en-GB" dirty="0"/>
                </a:p>
              </p:txBody>
            </p:sp>
            <p:sp>
              <p:nvSpPr>
                <p:cNvPr id="326" name="Freihandform: Form 325">
                  <a:extLst>
                    <a:ext uri="{FF2B5EF4-FFF2-40B4-BE49-F238E27FC236}">
                      <a16:creationId xmlns:a16="http://schemas.microsoft.com/office/drawing/2014/main" id="{58AEB806-1482-4B7A-9C38-08ACC6B0DDB5}"/>
                    </a:ext>
                  </a:extLst>
                </p:cNvPr>
                <p:cNvSpPr/>
                <p:nvPr/>
              </p:nvSpPr>
              <p:spPr>
                <a:xfrm>
                  <a:off x="3613592" y="1882206"/>
                  <a:ext cx="97541" cy="39675"/>
                </a:xfrm>
                <a:custGeom>
                  <a:avLst/>
                  <a:gdLst>
                    <a:gd name="connsiteX0" fmla="*/ 90917 w 97541"/>
                    <a:gd name="connsiteY0" fmla="*/ 39675 h 39675"/>
                    <a:gd name="connsiteX1" fmla="*/ 85527 w 97541"/>
                    <a:gd name="connsiteY1" fmla="*/ 36920 h 39675"/>
                    <a:gd name="connsiteX2" fmla="*/ 32826 w 97541"/>
                    <a:gd name="connsiteY2" fmla="*/ 13235 h 39675"/>
                    <a:gd name="connsiteX3" fmla="*/ 8782 w 97541"/>
                    <a:gd name="connsiteY3" fmla="*/ 17547 h 39675"/>
                    <a:gd name="connsiteX4" fmla="*/ 367 w 97541"/>
                    <a:gd name="connsiteY4" fmla="*/ 13475 h 39675"/>
                    <a:gd name="connsiteX5" fmla="*/ 4440 w 97541"/>
                    <a:gd name="connsiteY5" fmla="*/ 5031 h 39675"/>
                    <a:gd name="connsiteX6" fmla="*/ 32856 w 97541"/>
                    <a:gd name="connsiteY6" fmla="*/ 0 h 39675"/>
                    <a:gd name="connsiteX7" fmla="*/ 96307 w 97541"/>
                    <a:gd name="connsiteY7" fmla="*/ 29225 h 39675"/>
                    <a:gd name="connsiteX8" fmla="*/ 94780 w 97541"/>
                    <a:gd name="connsiteY8" fmla="*/ 38447 h 39675"/>
                    <a:gd name="connsiteX9" fmla="*/ 90917 w 97541"/>
                    <a:gd name="connsiteY9" fmla="*/ 39675 h 3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541" h="39675">
                      <a:moveTo>
                        <a:pt x="90917" y="39675"/>
                      </a:moveTo>
                      <a:cubicBezTo>
                        <a:pt x="88851" y="39675"/>
                        <a:pt x="86814" y="38717"/>
                        <a:pt x="85527" y="36920"/>
                      </a:cubicBezTo>
                      <a:cubicBezTo>
                        <a:pt x="75855" y="23416"/>
                        <a:pt x="53188" y="13235"/>
                        <a:pt x="32826" y="13235"/>
                      </a:cubicBezTo>
                      <a:cubicBezTo>
                        <a:pt x="25161" y="13235"/>
                        <a:pt x="16866" y="14732"/>
                        <a:pt x="8782" y="17547"/>
                      </a:cubicBezTo>
                      <a:cubicBezTo>
                        <a:pt x="5368" y="18775"/>
                        <a:pt x="1565" y="16918"/>
                        <a:pt x="367" y="13475"/>
                      </a:cubicBezTo>
                      <a:cubicBezTo>
                        <a:pt x="-830" y="10031"/>
                        <a:pt x="996" y="6258"/>
                        <a:pt x="4440" y="5031"/>
                      </a:cubicBezTo>
                      <a:cubicBezTo>
                        <a:pt x="13902" y="1737"/>
                        <a:pt x="23724" y="0"/>
                        <a:pt x="32856" y="0"/>
                      </a:cubicBezTo>
                      <a:cubicBezTo>
                        <a:pt x="57500" y="0"/>
                        <a:pt x="84180" y="12277"/>
                        <a:pt x="96307" y="29225"/>
                      </a:cubicBezTo>
                      <a:cubicBezTo>
                        <a:pt x="98433" y="32189"/>
                        <a:pt x="97744" y="36322"/>
                        <a:pt x="94780" y="38447"/>
                      </a:cubicBezTo>
                      <a:cubicBezTo>
                        <a:pt x="93582" y="39286"/>
                        <a:pt x="92234" y="39675"/>
                        <a:pt x="90917" y="39675"/>
                      </a:cubicBezTo>
                      <a:close/>
                    </a:path>
                  </a:pathLst>
                </a:custGeom>
                <a:grpFill/>
                <a:ln w="2991" cap="flat">
                  <a:noFill/>
                  <a:prstDash val="solid"/>
                  <a:miter/>
                </a:ln>
              </p:spPr>
              <p:txBody>
                <a:bodyPr rtlCol="0" anchor="ctr"/>
                <a:lstStyle/>
                <a:p>
                  <a:endParaRPr lang="en-GB" dirty="0"/>
                </a:p>
              </p:txBody>
            </p:sp>
            <p:sp>
              <p:nvSpPr>
                <p:cNvPr id="327" name="Freihandform: Form 326">
                  <a:extLst>
                    <a:ext uri="{FF2B5EF4-FFF2-40B4-BE49-F238E27FC236}">
                      <a16:creationId xmlns:a16="http://schemas.microsoft.com/office/drawing/2014/main" id="{53A83FB1-601E-458D-A245-133DA88C7597}"/>
                    </a:ext>
                  </a:extLst>
                </p:cNvPr>
                <p:cNvSpPr/>
                <p:nvPr/>
              </p:nvSpPr>
              <p:spPr>
                <a:xfrm>
                  <a:off x="3678178" y="1802755"/>
                  <a:ext cx="41042" cy="18754"/>
                </a:xfrm>
                <a:custGeom>
                  <a:avLst/>
                  <a:gdLst>
                    <a:gd name="connsiteX0" fmla="*/ 6628 w 41042"/>
                    <a:gd name="connsiteY0" fmla="*/ 18755 h 18754"/>
                    <a:gd name="connsiteX1" fmla="*/ 130 w 41042"/>
                    <a:gd name="connsiteY1" fmla="*/ 13425 h 18754"/>
                    <a:gd name="connsiteX2" fmla="*/ 5340 w 41042"/>
                    <a:gd name="connsiteY2" fmla="*/ 5640 h 18754"/>
                    <a:gd name="connsiteX3" fmla="*/ 33128 w 41042"/>
                    <a:gd name="connsiteY3" fmla="*/ 130 h 18754"/>
                    <a:gd name="connsiteX4" fmla="*/ 40913 w 41042"/>
                    <a:gd name="connsiteY4" fmla="*/ 5340 h 18754"/>
                    <a:gd name="connsiteX5" fmla="*/ 35703 w 41042"/>
                    <a:gd name="connsiteY5" fmla="*/ 13125 h 18754"/>
                    <a:gd name="connsiteX6" fmla="*/ 7915 w 41042"/>
                    <a:gd name="connsiteY6" fmla="*/ 18635 h 18754"/>
                    <a:gd name="connsiteX7" fmla="*/ 6628 w 41042"/>
                    <a:gd name="connsiteY7" fmla="*/ 18755 h 18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042" h="18754">
                      <a:moveTo>
                        <a:pt x="6628" y="18755"/>
                      </a:moveTo>
                      <a:cubicBezTo>
                        <a:pt x="3543" y="18755"/>
                        <a:pt x="759" y="16569"/>
                        <a:pt x="130" y="13425"/>
                      </a:cubicBezTo>
                      <a:cubicBezTo>
                        <a:pt x="-589" y="9832"/>
                        <a:pt x="1747" y="6358"/>
                        <a:pt x="5340" y="5640"/>
                      </a:cubicBezTo>
                      <a:lnTo>
                        <a:pt x="33128" y="130"/>
                      </a:lnTo>
                      <a:cubicBezTo>
                        <a:pt x="36691" y="-589"/>
                        <a:pt x="40194" y="1747"/>
                        <a:pt x="40913" y="5340"/>
                      </a:cubicBezTo>
                      <a:cubicBezTo>
                        <a:pt x="41632" y="8933"/>
                        <a:pt x="39296" y="12407"/>
                        <a:pt x="35703" y="13125"/>
                      </a:cubicBezTo>
                      <a:lnTo>
                        <a:pt x="7915" y="18635"/>
                      </a:lnTo>
                      <a:cubicBezTo>
                        <a:pt x="7496" y="18725"/>
                        <a:pt x="7047" y="18755"/>
                        <a:pt x="6628" y="18755"/>
                      </a:cubicBezTo>
                      <a:close/>
                    </a:path>
                  </a:pathLst>
                </a:custGeom>
                <a:grpFill/>
                <a:ln w="2991" cap="flat">
                  <a:noFill/>
                  <a:prstDash val="solid"/>
                  <a:miter/>
                </a:ln>
              </p:spPr>
              <p:txBody>
                <a:bodyPr rtlCol="0" anchor="ctr"/>
                <a:lstStyle/>
                <a:p>
                  <a:endParaRPr lang="en-GB" dirty="0"/>
                </a:p>
              </p:txBody>
            </p:sp>
          </p:grpSp>
          <p:grpSp>
            <p:nvGrpSpPr>
              <p:cNvPr id="321" name="Grafik 306">
                <a:extLst>
                  <a:ext uri="{FF2B5EF4-FFF2-40B4-BE49-F238E27FC236}">
                    <a16:creationId xmlns:a16="http://schemas.microsoft.com/office/drawing/2014/main" id="{FAAD12D9-25E5-4D06-9C56-C2F2CCF6BA34}"/>
                  </a:ext>
                </a:extLst>
              </p:cNvPr>
              <p:cNvGrpSpPr/>
              <p:nvPr/>
            </p:nvGrpSpPr>
            <p:grpSpPr>
              <a:xfrm>
                <a:off x="3749495" y="1743178"/>
                <a:ext cx="161713" cy="225055"/>
                <a:chOff x="3749495" y="1743178"/>
                <a:chExt cx="161713" cy="225055"/>
              </a:xfrm>
              <a:grpFill/>
            </p:grpSpPr>
            <p:sp>
              <p:nvSpPr>
                <p:cNvPr id="322" name="Freihandform: Form 321">
                  <a:extLst>
                    <a:ext uri="{FF2B5EF4-FFF2-40B4-BE49-F238E27FC236}">
                      <a16:creationId xmlns:a16="http://schemas.microsoft.com/office/drawing/2014/main" id="{33B2AF70-9F22-4D13-894B-11FE4E333EB3}"/>
                    </a:ext>
                  </a:extLst>
                </p:cNvPr>
                <p:cNvSpPr/>
                <p:nvPr/>
              </p:nvSpPr>
              <p:spPr>
                <a:xfrm>
                  <a:off x="3749495" y="1743178"/>
                  <a:ext cx="161713" cy="225055"/>
                </a:xfrm>
                <a:custGeom>
                  <a:avLst/>
                  <a:gdLst>
                    <a:gd name="connsiteX0" fmla="*/ 49156 w 161713"/>
                    <a:gd name="connsiteY0" fmla="*/ 225056 h 225055"/>
                    <a:gd name="connsiteX1" fmla="*/ 3971 w 161713"/>
                    <a:gd name="connsiteY1" fmla="*/ 215623 h 225055"/>
                    <a:gd name="connsiteX2" fmla="*/ 558 w 161713"/>
                    <a:gd name="connsiteY2" fmla="*/ 206910 h 225055"/>
                    <a:gd name="connsiteX3" fmla="*/ 9271 w 161713"/>
                    <a:gd name="connsiteY3" fmla="*/ 203496 h 225055"/>
                    <a:gd name="connsiteX4" fmla="*/ 49156 w 161713"/>
                    <a:gd name="connsiteY4" fmla="*/ 211821 h 225055"/>
                    <a:gd name="connsiteX5" fmla="*/ 148449 w 161713"/>
                    <a:gd name="connsiteY5" fmla="*/ 112528 h 225055"/>
                    <a:gd name="connsiteX6" fmla="*/ 49156 w 161713"/>
                    <a:gd name="connsiteY6" fmla="*/ 13235 h 225055"/>
                    <a:gd name="connsiteX7" fmla="*/ 9271 w 161713"/>
                    <a:gd name="connsiteY7" fmla="*/ 21559 h 225055"/>
                    <a:gd name="connsiteX8" fmla="*/ 558 w 161713"/>
                    <a:gd name="connsiteY8" fmla="*/ 18176 h 225055"/>
                    <a:gd name="connsiteX9" fmla="*/ 3971 w 161713"/>
                    <a:gd name="connsiteY9" fmla="*/ 9462 h 225055"/>
                    <a:gd name="connsiteX10" fmla="*/ 49186 w 161713"/>
                    <a:gd name="connsiteY10" fmla="*/ 0 h 225055"/>
                    <a:gd name="connsiteX11" fmla="*/ 161714 w 161713"/>
                    <a:gd name="connsiteY11" fmla="*/ 112528 h 225055"/>
                    <a:gd name="connsiteX12" fmla="*/ 49156 w 161713"/>
                    <a:gd name="connsiteY12" fmla="*/ 225056 h 225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61713" h="225055">
                      <a:moveTo>
                        <a:pt x="49156" y="225056"/>
                      </a:moveTo>
                      <a:cubicBezTo>
                        <a:pt x="33436" y="225056"/>
                        <a:pt x="18224" y="221882"/>
                        <a:pt x="3971" y="215623"/>
                      </a:cubicBezTo>
                      <a:cubicBezTo>
                        <a:pt x="618" y="214156"/>
                        <a:pt x="-909" y="210263"/>
                        <a:pt x="558" y="206910"/>
                      </a:cubicBezTo>
                      <a:cubicBezTo>
                        <a:pt x="2025" y="203556"/>
                        <a:pt x="5918" y="202029"/>
                        <a:pt x="9271" y="203496"/>
                      </a:cubicBezTo>
                      <a:cubicBezTo>
                        <a:pt x="21848" y="209006"/>
                        <a:pt x="35262" y="211821"/>
                        <a:pt x="49156" y="211821"/>
                      </a:cubicBezTo>
                      <a:cubicBezTo>
                        <a:pt x="103893" y="211821"/>
                        <a:pt x="148449" y="167294"/>
                        <a:pt x="148449" y="112528"/>
                      </a:cubicBezTo>
                      <a:cubicBezTo>
                        <a:pt x="148449" y="57761"/>
                        <a:pt x="103893" y="13235"/>
                        <a:pt x="49156" y="13235"/>
                      </a:cubicBezTo>
                      <a:cubicBezTo>
                        <a:pt x="35292" y="13235"/>
                        <a:pt x="21878" y="16050"/>
                        <a:pt x="9271" y="21559"/>
                      </a:cubicBezTo>
                      <a:cubicBezTo>
                        <a:pt x="5918" y="23027"/>
                        <a:pt x="2025" y="21499"/>
                        <a:pt x="558" y="18176"/>
                      </a:cubicBezTo>
                      <a:cubicBezTo>
                        <a:pt x="-909" y="14822"/>
                        <a:pt x="618" y="10929"/>
                        <a:pt x="3971" y="9462"/>
                      </a:cubicBezTo>
                      <a:cubicBezTo>
                        <a:pt x="18254" y="3204"/>
                        <a:pt x="33466" y="0"/>
                        <a:pt x="49186" y="0"/>
                      </a:cubicBezTo>
                      <a:cubicBezTo>
                        <a:pt x="111229" y="0"/>
                        <a:pt x="161714" y="50485"/>
                        <a:pt x="161714" y="112528"/>
                      </a:cubicBezTo>
                      <a:cubicBezTo>
                        <a:pt x="161714" y="174571"/>
                        <a:pt x="111199" y="225056"/>
                        <a:pt x="49156" y="225056"/>
                      </a:cubicBezTo>
                      <a:close/>
                    </a:path>
                  </a:pathLst>
                </a:custGeom>
                <a:grpFill/>
                <a:ln w="2991" cap="flat">
                  <a:noFill/>
                  <a:prstDash val="solid"/>
                  <a:miter/>
                </a:ln>
              </p:spPr>
              <p:txBody>
                <a:bodyPr rtlCol="0" anchor="ctr"/>
                <a:lstStyle/>
                <a:p>
                  <a:endParaRPr lang="en-GB" dirty="0"/>
                </a:p>
              </p:txBody>
            </p:sp>
            <p:sp>
              <p:nvSpPr>
                <p:cNvPr id="323" name="Freihandform: Form 322">
                  <a:extLst>
                    <a:ext uri="{FF2B5EF4-FFF2-40B4-BE49-F238E27FC236}">
                      <a16:creationId xmlns:a16="http://schemas.microsoft.com/office/drawing/2014/main" id="{B72E8399-4859-4673-A903-2D3A8306DED2}"/>
                    </a:ext>
                  </a:extLst>
                </p:cNvPr>
                <p:cNvSpPr/>
                <p:nvPr/>
              </p:nvSpPr>
              <p:spPr>
                <a:xfrm>
                  <a:off x="3831739" y="1822618"/>
                  <a:ext cx="26469" cy="13235"/>
                </a:xfrm>
                <a:custGeom>
                  <a:avLst/>
                  <a:gdLst>
                    <a:gd name="connsiteX0" fmla="*/ 19853 w 26469"/>
                    <a:gd name="connsiteY0" fmla="*/ 13235 h 13235"/>
                    <a:gd name="connsiteX1" fmla="*/ 6617 w 26469"/>
                    <a:gd name="connsiteY1" fmla="*/ 13235 h 13235"/>
                    <a:gd name="connsiteX2" fmla="*/ 0 w 26469"/>
                    <a:gd name="connsiteY2" fmla="*/ 6618 h 13235"/>
                    <a:gd name="connsiteX3" fmla="*/ 6617 w 26469"/>
                    <a:gd name="connsiteY3" fmla="*/ 0 h 13235"/>
                    <a:gd name="connsiteX4" fmla="*/ 19853 w 26469"/>
                    <a:gd name="connsiteY4" fmla="*/ 0 h 13235"/>
                    <a:gd name="connsiteX5" fmla="*/ 26470 w 26469"/>
                    <a:gd name="connsiteY5" fmla="*/ 6618 h 13235"/>
                    <a:gd name="connsiteX6" fmla="*/ 19853 w 26469"/>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 h="13235">
                      <a:moveTo>
                        <a:pt x="19853" y="13235"/>
                      </a:moveTo>
                      <a:lnTo>
                        <a:pt x="6617" y="13235"/>
                      </a:lnTo>
                      <a:cubicBezTo>
                        <a:pt x="2964" y="13235"/>
                        <a:pt x="0" y="10271"/>
                        <a:pt x="0" y="6618"/>
                      </a:cubicBezTo>
                      <a:cubicBezTo>
                        <a:pt x="0" y="2964"/>
                        <a:pt x="2964" y="0"/>
                        <a:pt x="6617" y="0"/>
                      </a:cubicBezTo>
                      <a:lnTo>
                        <a:pt x="19853" y="0"/>
                      </a:lnTo>
                      <a:cubicBezTo>
                        <a:pt x="23506" y="0"/>
                        <a:pt x="26470" y="2964"/>
                        <a:pt x="26470" y="6618"/>
                      </a:cubicBezTo>
                      <a:cubicBezTo>
                        <a:pt x="26470" y="10271"/>
                        <a:pt x="23536" y="13235"/>
                        <a:pt x="19853" y="13235"/>
                      </a:cubicBezTo>
                      <a:close/>
                    </a:path>
                  </a:pathLst>
                </a:custGeom>
                <a:grpFill/>
                <a:ln w="2991" cap="flat">
                  <a:noFill/>
                  <a:prstDash val="solid"/>
                  <a:miter/>
                </a:ln>
              </p:spPr>
              <p:txBody>
                <a:bodyPr rtlCol="0" anchor="ctr"/>
                <a:lstStyle/>
                <a:p>
                  <a:endParaRPr lang="en-GB" dirty="0"/>
                </a:p>
              </p:txBody>
            </p:sp>
            <p:sp>
              <p:nvSpPr>
                <p:cNvPr id="324" name="Freihandform: Form 323">
                  <a:extLst>
                    <a:ext uri="{FF2B5EF4-FFF2-40B4-BE49-F238E27FC236}">
                      <a16:creationId xmlns:a16="http://schemas.microsoft.com/office/drawing/2014/main" id="{F9FE75ED-7316-4DC1-844F-3BF446EE6C38}"/>
                    </a:ext>
                  </a:extLst>
                </p:cNvPr>
                <p:cNvSpPr/>
                <p:nvPr/>
              </p:nvSpPr>
              <p:spPr>
                <a:xfrm>
                  <a:off x="3752298" y="1895441"/>
                  <a:ext cx="92675" cy="13235"/>
                </a:xfrm>
                <a:custGeom>
                  <a:avLst/>
                  <a:gdLst>
                    <a:gd name="connsiteX0" fmla="*/ 86058 w 92675"/>
                    <a:gd name="connsiteY0" fmla="*/ 13235 h 13235"/>
                    <a:gd name="connsiteX1" fmla="*/ 6618 w 92675"/>
                    <a:gd name="connsiteY1" fmla="*/ 13235 h 13235"/>
                    <a:gd name="connsiteX2" fmla="*/ 0 w 92675"/>
                    <a:gd name="connsiteY2" fmla="*/ 6618 h 13235"/>
                    <a:gd name="connsiteX3" fmla="*/ 6618 w 92675"/>
                    <a:gd name="connsiteY3" fmla="*/ 0 h 13235"/>
                    <a:gd name="connsiteX4" fmla="*/ 86058 w 92675"/>
                    <a:gd name="connsiteY4" fmla="*/ 0 h 13235"/>
                    <a:gd name="connsiteX5" fmla="*/ 92675 w 92675"/>
                    <a:gd name="connsiteY5" fmla="*/ 6618 h 13235"/>
                    <a:gd name="connsiteX6" fmla="*/ 86058 w 92675"/>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2675" h="13235">
                      <a:moveTo>
                        <a:pt x="86058" y="13235"/>
                      </a:moveTo>
                      <a:lnTo>
                        <a:pt x="6618" y="13235"/>
                      </a:lnTo>
                      <a:cubicBezTo>
                        <a:pt x="2964" y="13235"/>
                        <a:pt x="0" y="10271"/>
                        <a:pt x="0" y="6618"/>
                      </a:cubicBezTo>
                      <a:cubicBezTo>
                        <a:pt x="0" y="2964"/>
                        <a:pt x="2964" y="0"/>
                        <a:pt x="6618" y="0"/>
                      </a:cubicBezTo>
                      <a:lnTo>
                        <a:pt x="86058" y="0"/>
                      </a:lnTo>
                      <a:cubicBezTo>
                        <a:pt x="89711" y="0"/>
                        <a:pt x="92675" y="2964"/>
                        <a:pt x="92675" y="6618"/>
                      </a:cubicBezTo>
                      <a:cubicBezTo>
                        <a:pt x="92675" y="10271"/>
                        <a:pt x="89741" y="13235"/>
                        <a:pt x="86058" y="13235"/>
                      </a:cubicBezTo>
                      <a:close/>
                    </a:path>
                  </a:pathLst>
                </a:custGeom>
                <a:grpFill/>
                <a:ln w="2991" cap="flat">
                  <a:noFill/>
                  <a:prstDash val="solid"/>
                  <a:miter/>
                </a:ln>
              </p:spPr>
              <p:txBody>
                <a:bodyPr rtlCol="0" anchor="ctr"/>
                <a:lstStyle/>
                <a:p>
                  <a:endParaRPr lang="en-GB" dirty="0"/>
                </a:p>
              </p:txBody>
            </p:sp>
          </p:grpSp>
        </p:grpSp>
        <p:grpSp>
          <p:nvGrpSpPr>
            <p:cNvPr id="314" name="Grafik 306">
              <a:extLst>
                <a:ext uri="{FF2B5EF4-FFF2-40B4-BE49-F238E27FC236}">
                  <a16:creationId xmlns:a16="http://schemas.microsoft.com/office/drawing/2014/main" id="{DA4A79B1-9E0C-4933-A8D9-F29CA1151CF7}"/>
                </a:ext>
              </a:extLst>
            </p:cNvPr>
            <p:cNvGrpSpPr/>
            <p:nvPr/>
          </p:nvGrpSpPr>
          <p:grpSpPr>
            <a:xfrm>
              <a:off x="3624350" y="1760194"/>
              <a:ext cx="298521" cy="298522"/>
              <a:chOff x="3368422" y="1716708"/>
              <a:chExt cx="264760" cy="264760"/>
            </a:xfrm>
            <a:solidFill>
              <a:schemeClr val="accent1"/>
            </a:solidFill>
          </p:grpSpPr>
          <p:sp>
            <p:nvSpPr>
              <p:cNvPr id="315" name="Freihandform: Form 314">
                <a:extLst>
                  <a:ext uri="{FF2B5EF4-FFF2-40B4-BE49-F238E27FC236}">
                    <a16:creationId xmlns:a16="http://schemas.microsoft.com/office/drawing/2014/main" id="{B8DC785E-FA4D-4BE6-97A7-265BAC3706CE}"/>
                  </a:ext>
                </a:extLst>
              </p:cNvPr>
              <p:cNvSpPr/>
              <p:nvPr/>
            </p:nvSpPr>
            <p:spPr>
              <a:xfrm>
                <a:off x="3368422" y="1716708"/>
                <a:ext cx="264760" cy="264760"/>
              </a:xfrm>
              <a:custGeom>
                <a:avLst/>
                <a:gdLst>
                  <a:gd name="connsiteX0" fmla="*/ 132380 w 264760"/>
                  <a:gd name="connsiteY0" fmla="*/ 264761 h 264760"/>
                  <a:gd name="connsiteX1" fmla="*/ 0 w 264760"/>
                  <a:gd name="connsiteY1" fmla="*/ 132380 h 264760"/>
                  <a:gd name="connsiteX2" fmla="*/ 132380 w 264760"/>
                  <a:gd name="connsiteY2" fmla="*/ 0 h 264760"/>
                  <a:gd name="connsiteX3" fmla="*/ 264761 w 264760"/>
                  <a:gd name="connsiteY3" fmla="*/ 132380 h 264760"/>
                  <a:gd name="connsiteX4" fmla="*/ 132380 w 264760"/>
                  <a:gd name="connsiteY4" fmla="*/ 264761 h 264760"/>
                  <a:gd name="connsiteX5" fmla="*/ 132380 w 264760"/>
                  <a:gd name="connsiteY5" fmla="*/ 13235 h 264760"/>
                  <a:gd name="connsiteX6" fmla="*/ 13235 w 264760"/>
                  <a:gd name="connsiteY6" fmla="*/ 132380 h 264760"/>
                  <a:gd name="connsiteX7" fmla="*/ 132380 w 264760"/>
                  <a:gd name="connsiteY7" fmla="*/ 251526 h 264760"/>
                  <a:gd name="connsiteX8" fmla="*/ 251526 w 264760"/>
                  <a:gd name="connsiteY8" fmla="*/ 132380 h 264760"/>
                  <a:gd name="connsiteX9" fmla="*/ 132380 w 264760"/>
                  <a:gd name="connsiteY9" fmla="*/ 13235 h 264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4760" h="264760">
                    <a:moveTo>
                      <a:pt x="132380" y="264761"/>
                    </a:moveTo>
                    <a:cubicBezTo>
                      <a:pt x="59378" y="264761"/>
                      <a:pt x="0" y="205383"/>
                      <a:pt x="0" y="132380"/>
                    </a:cubicBezTo>
                    <a:cubicBezTo>
                      <a:pt x="0" y="59378"/>
                      <a:pt x="59378" y="0"/>
                      <a:pt x="132380" y="0"/>
                    </a:cubicBezTo>
                    <a:cubicBezTo>
                      <a:pt x="205383" y="0"/>
                      <a:pt x="264761" y="59378"/>
                      <a:pt x="264761" y="132380"/>
                    </a:cubicBezTo>
                    <a:cubicBezTo>
                      <a:pt x="264761" y="205383"/>
                      <a:pt x="205353" y="264761"/>
                      <a:pt x="132380" y="264761"/>
                    </a:cubicBezTo>
                    <a:close/>
                    <a:moveTo>
                      <a:pt x="132380" y="13235"/>
                    </a:moveTo>
                    <a:cubicBezTo>
                      <a:pt x="66684" y="13235"/>
                      <a:pt x="13235" y="66684"/>
                      <a:pt x="13235" y="132380"/>
                    </a:cubicBezTo>
                    <a:cubicBezTo>
                      <a:pt x="13235" y="198076"/>
                      <a:pt x="66684" y="251526"/>
                      <a:pt x="132380" y="251526"/>
                    </a:cubicBezTo>
                    <a:cubicBezTo>
                      <a:pt x="198077" y="251526"/>
                      <a:pt x="251526" y="198076"/>
                      <a:pt x="251526" y="132380"/>
                    </a:cubicBezTo>
                    <a:cubicBezTo>
                      <a:pt x="251526" y="66684"/>
                      <a:pt x="198047" y="13235"/>
                      <a:pt x="132380" y="13235"/>
                    </a:cubicBezTo>
                    <a:close/>
                  </a:path>
                </a:pathLst>
              </a:custGeom>
              <a:solidFill>
                <a:schemeClr val="accent1"/>
              </a:solidFill>
              <a:ln w="2991" cap="flat">
                <a:noFill/>
                <a:prstDash val="solid"/>
                <a:miter/>
              </a:ln>
            </p:spPr>
            <p:txBody>
              <a:bodyPr rtlCol="0" anchor="ctr"/>
              <a:lstStyle/>
              <a:p>
                <a:endParaRPr lang="en-GB" dirty="0"/>
              </a:p>
            </p:txBody>
          </p:sp>
          <p:grpSp>
            <p:nvGrpSpPr>
              <p:cNvPr id="316" name="Grafik 306">
                <a:extLst>
                  <a:ext uri="{FF2B5EF4-FFF2-40B4-BE49-F238E27FC236}">
                    <a16:creationId xmlns:a16="http://schemas.microsoft.com/office/drawing/2014/main" id="{14FCD8D7-E2C4-4EAE-9152-391803D55DBE}"/>
                  </a:ext>
                </a:extLst>
              </p:cNvPr>
              <p:cNvGrpSpPr/>
              <p:nvPr/>
            </p:nvGrpSpPr>
            <p:grpSpPr>
              <a:xfrm>
                <a:off x="3418031" y="1774050"/>
                <a:ext cx="165562" cy="33117"/>
                <a:chOff x="3418031" y="1774050"/>
                <a:chExt cx="165562" cy="33117"/>
              </a:xfrm>
              <a:solidFill>
                <a:schemeClr val="accent1"/>
              </a:solidFill>
            </p:grpSpPr>
            <p:sp>
              <p:nvSpPr>
                <p:cNvPr id="318" name="Freihandform: Form 317">
                  <a:extLst>
                    <a:ext uri="{FF2B5EF4-FFF2-40B4-BE49-F238E27FC236}">
                      <a16:creationId xmlns:a16="http://schemas.microsoft.com/office/drawing/2014/main" id="{0E113298-5179-4F80-8FD5-39A62215BED5}"/>
                    </a:ext>
                  </a:extLst>
                </p:cNvPr>
                <p:cNvSpPr/>
                <p:nvPr/>
              </p:nvSpPr>
              <p:spPr>
                <a:xfrm>
                  <a:off x="3519072" y="1774080"/>
                  <a:ext cx="64520" cy="33087"/>
                </a:xfrm>
                <a:custGeom>
                  <a:avLst/>
                  <a:gdLst>
                    <a:gd name="connsiteX0" fmla="*/ 57877 w 64520"/>
                    <a:gd name="connsiteY0" fmla="*/ 33088 h 33087"/>
                    <a:gd name="connsiteX1" fmla="*/ 51469 w 64520"/>
                    <a:gd name="connsiteY1" fmla="*/ 28117 h 33087"/>
                    <a:gd name="connsiteX2" fmla="*/ 32245 w 64520"/>
                    <a:gd name="connsiteY2" fmla="*/ 13235 h 33087"/>
                    <a:gd name="connsiteX3" fmla="*/ 13022 w 64520"/>
                    <a:gd name="connsiteY3" fmla="*/ 28087 h 33087"/>
                    <a:gd name="connsiteX4" fmla="*/ 4967 w 64520"/>
                    <a:gd name="connsiteY4" fmla="*/ 32848 h 33087"/>
                    <a:gd name="connsiteX5" fmla="*/ 206 w 64520"/>
                    <a:gd name="connsiteY5" fmla="*/ 24793 h 33087"/>
                    <a:gd name="connsiteX6" fmla="*/ 32245 w 64520"/>
                    <a:gd name="connsiteY6" fmla="*/ 0 h 33087"/>
                    <a:gd name="connsiteX7" fmla="*/ 64315 w 64520"/>
                    <a:gd name="connsiteY7" fmla="*/ 24823 h 33087"/>
                    <a:gd name="connsiteX8" fmla="*/ 59554 w 64520"/>
                    <a:gd name="connsiteY8" fmla="*/ 32878 h 33087"/>
                    <a:gd name="connsiteX9" fmla="*/ 57877 w 64520"/>
                    <a:gd name="connsiteY9" fmla="*/ 33088 h 330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20" h="33087">
                      <a:moveTo>
                        <a:pt x="57877" y="33088"/>
                      </a:moveTo>
                      <a:cubicBezTo>
                        <a:pt x="54943" y="33088"/>
                        <a:pt x="52248" y="31111"/>
                        <a:pt x="51469" y="28117"/>
                      </a:cubicBezTo>
                      <a:cubicBezTo>
                        <a:pt x="49223" y="19344"/>
                        <a:pt x="41318" y="13235"/>
                        <a:pt x="32245" y="13235"/>
                      </a:cubicBezTo>
                      <a:cubicBezTo>
                        <a:pt x="23202" y="13235"/>
                        <a:pt x="15297" y="19344"/>
                        <a:pt x="13022" y="28087"/>
                      </a:cubicBezTo>
                      <a:cubicBezTo>
                        <a:pt x="12123" y="31620"/>
                        <a:pt x="8470" y="33746"/>
                        <a:pt x="4967" y="32848"/>
                      </a:cubicBezTo>
                      <a:cubicBezTo>
                        <a:pt x="1434" y="31920"/>
                        <a:pt x="-693" y="28327"/>
                        <a:pt x="206" y="24793"/>
                      </a:cubicBezTo>
                      <a:cubicBezTo>
                        <a:pt x="3979" y="10211"/>
                        <a:pt x="17154" y="0"/>
                        <a:pt x="32245" y="0"/>
                      </a:cubicBezTo>
                      <a:cubicBezTo>
                        <a:pt x="47337" y="0"/>
                        <a:pt x="60542" y="10211"/>
                        <a:pt x="64315" y="24823"/>
                      </a:cubicBezTo>
                      <a:cubicBezTo>
                        <a:pt x="65213" y="28357"/>
                        <a:pt x="63087" y="31980"/>
                        <a:pt x="59554" y="32878"/>
                      </a:cubicBezTo>
                      <a:cubicBezTo>
                        <a:pt x="58985" y="32998"/>
                        <a:pt x="58416" y="33088"/>
                        <a:pt x="57877" y="33088"/>
                      </a:cubicBezTo>
                      <a:close/>
                    </a:path>
                  </a:pathLst>
                </a:custGeom>
                <a:solidFill>
                  <a:schemeClr val="accent1"/>
                </a:solidFill>
                <a:ln w="2991" cap="flat">
                  <a:noFill/>
                  <a:prstDash val="solid"/>
                  <a:miter/>
                </a:ln>
              </p:spPr>
              <p:txBody>
                <a:bodyPr rtlCol="0" anchor="ctr"/>
                <a:lstStyle/>
                <a:p>
                  <a:endParaRPr lang="en-GB" dirty="0"/>
                </a:p>
              </p:txBody>
            </p:sp>
            <p:sp>
              <p:nvSpPr>
                <p:cNvPr id="319" name="Freihandform: Form 318">
                  <a:extLst>
                    <a:ext uri="{FF2B5EF4-FFF2-40B4-BE49-F238E27FC236}">
                      <a16:creationId xmlns:a16="http://schemas.microsoft.com/office/drawing/2014/main" id="{51817BB0-C82C-4F0E-B09D-D2BD821CDF30}"/>
                    </a:ext>
                  </a:extLst>
                </p:cNvPr>
                <p:cNvSpPr/>
                <p:nvPr/>
              </p:nvSpPr>
              <p:spPr>
                <a:xfrm>
                  <a:off x="3418031" y="1774050"/>
                  <a:ext cx="64502" cy="33117"/>
                </a:xfrm>
                <a:custGeom>
                  <a:avLst/>
                  <a:gdLst>
                    <a:gd name="connsiteX0" fmla="*/ 57859 w 64502"/>
                    <a:gd name="connsiteY0" fmla="*/ 33118 h 33117"/>
                    <a:gd name="connsiteX1" fmla="*/ 51451 w 64502"/>
                    <a:gd name="connsiteY1" fmla="*/ 28147 h 33117"/>
                    <a:gd name="connsiteX2" fmla="*/ 32227 w 64502"/>
                    <a:gd name="connsiteY2" fmla="*/ 13265 h 33117"/>
                    <a:gd name="connsiteX3" fmla="*/ 13004 w 64502"/>
                    <a:gd name="connsiteY3" fmla="*/ 28117 h 33117"/>
                    <a:gd name="connsiteX4" fmla="*/ 4949 w 64502"/>
                    <a:gd name="connsiteY4" fmla="*/ 32878 h 33117"/>
                    <a:gd name="connsiteX5" fmla="*/ 218 w 64502"/>
                    <a:gd name="connsiteY5" fmla="*/ 24793 h 33117"/>
                    <a:gd name="connsiteX6" fmla="*/ 32257 w 64502"/>
                    <a:gd name="connsiteY6" fmla="*/ 0 h 33117"/>
                    <a:gd name="connsiteX7" fmla="*/ 64297 w 64502"/>
                    <a:gd name="connsiteY7" fmla="*/ 24823 h 33117"/>
                    <a:gd name="connsiteX8" fmla="*/ 59536 w 64502"/>
                    <a:gd name="connsiteY8" fmla="*/ 32878 h 33117"/>
                    <a:gd name="connsiteX9" fmla="*/ 57859 w 64502"/>
                    <a:gd name="connsiteY9" fmla="*/ 33118 h 3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502" h="33117">
                      <a:moveTo>
                        <a:pt x="57859" y="33118"/>
                      </a:moveTo>
                      <a:cubicBezTo>
                        <a:pt x="54925" y="33118"/>
                        <a:pt x="52230" y="31141"/>
                        <a:pt x="51451" y="28147"/>
                      </a:cubicBezTo>
                      <a:cubicBezTo>
                        <a:pt x="49205" y="19373"/>
                        <a:pt x="41300" y="13265"/>
                        <a:pt x="32227" y="13265"/>
                      </a:cubicBezTo>
                      <a:cubicBezTo>
                        <a:pt x="23184" y="13265"/>
                        <a:pt x="15279" y="19373"/>
                        <a:pt x="13004" y="28117"/>
                      </a:cubicBezTo>
                      <a:cubicBezTo>
                        <a:pt x="12105" y="31650"/>
                        <a:pt x="8482" y="33776"/>
                        <a:pt x="4949" y="32878"/>
                      </a:cubicBezTo>
                      <a:cubicBezTo>
                        <a:pt x="1416" y="31950"/>
                        <a:pt x="-710" y="28357"/>
                        <a:pt x="218" y="24793"/>
                      </a:cubicBezTo>
                      <a:cubicBezTo>
                        <a:pt x="3991" y="10211"/>
                        <a:pt x="17166" y="0"/>
                        <a:pt x="32257" y="0"/>
                      </a:cubicBezTo>
                      <a:cubicBezTo>
                        <a:pt x="47379" y="0"/>
                        <a:pt x="60554" y="10211"/>
                        <a:pt x="64297" y="24823"/>
                      </a:cubicBezTo>
                      <a:cubicBezTo>
                        <a:pt x="65195" y="28357"/>
                        <a:pt x="63069" y="31980"/>
                        <a:pt x="59536" y="32878"/>
                      </a:cubicBezTo>
                      <a:cubicBezTo>
                        <a:pt x="58967" y="33028"/>
                        <a:pt x="58398" y="33118"/>
                        <a:pt x="57859" y="33118"/>
                      </a:cubicBezTo>
                      <a:close/>
                    </a:path>
                  </a:pathLst>
                </a:custGeom>
                <a:solidFill>
                  <a:schemeClr val="accent1"/>
                </a:solidFill>
                <a:ln w="2991" cap="flat">
                  <a:noFill/>
                  <a:prstDash val="solid"/>
                  <a:miter/>
                </a:ln>
              </p:spPr>
              <p:txBody>
                <a:bodyPr rtlCol="0" anchor="ctr"/>
                <a:lstStyle/>
                <a:p>
                  <a:endParaRPr lang="en-GB" dirty="0"/>
                </a:p>
              </p:txBody>
            </p:sp>
          </p:grpSp>
          <p:sp>
            <p:nvSpPr>
              <p:cNvPr id="317" name="Freihandform: Form 316">
                <a:extLst>
                  <a:ext uri="{FF2B5EF4-FFF2-40B4-BE49-F238E27FC236}">
                    <a16:creationId xmlns:a16="http://schemas.microsoft.com/office/drawing/2014/main" id="{183D7A40-AC63-4F40-B08A-AA3FE3A7A257}"/>
                  </a:ext>
                </a:extLst>
              </p:cNvPr>
              <p:cNvSpPr/>
              <p:nvPr/>
            </p:nvSpPr>
            <p:spPr>
              <a:xfrm>
                <a:off x="3426842" y="1867863"/>
                <a:ext cx="147831" cy="80518"/>
              </a:xfrm>
              <a:custGeom>
                <a:avLst/>
                <a:gdLst>
                  <a:gd name="connsiteX0" fmla="*/ 73931 w 147831"/>
                  <a:gd name="connsiteY0" fmla="*/ 80518 h 80518"/>
                  <a:gd name="connsiteX1" fmla="*/ 0 w 147831"/>
                  <a:gd name="connsiteY1" fmla="*/ 6618 h 80518"/>
                  <a:gd name="connsiteX2" fmla="*/ 6618 w 147831"/>
                  <a:gd name="connsiteY2" fmla="*/ 0 h 80518"/>
                  <a:gd name="connsiteX3" fmla="*/ 141214 w 147831"/>
                  <a:gd name="connsiteY3" fmla="*/ 0 h 80518"/>
                  <a:gd name="connsiteX4" fmla="*/ 147831 w 147831"/>
                  <a:gd name="connsiteY4" fmla="*/ 6618 h 80518"/>
                  <a:gd name="connsiteX5" fmla="*/ 73931 w 147831"/>
                  <a:gd name="connsiteY5" fmla="*/ 80518 h 80518"/>
                  <a:gd name="connsiteX6" fmla="*/ 13624 w 147831"/>
                  <a:gd name="connsiteY6" fmla="*/ 13205 h 80518"/>
                  <a:gd name="connsiteX7" fmla="*/ 73961 w 147831"/>
                  <a:gd name="connsiteY7" fmla="*/ 67253 h 80518"/>
                  <a:gd name="connsiteX8" fmla="*/ 134297 w 147831"/>
                  <a:gd name="connsiteY8" fmla="*/ 13205 h 80518"/>
                  <a:gd name="connsiteX9" fmla="*/ 13624 w 147831"/>
                  <a:gd name="connsiteY9" fmla="*/ 13205 h 8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831" h="80518">
                    <a:moveTo>
                      <a:pt x="73931" y="80518"/>
                    </a:moveTo>
                    <a:cubicBezTo>
                      <a:pt x="33177" y="80518"/>
                      <a:pt x="0" y="47371"/>
                      <a:pt x="0" y="6618"/>
                    </a:cubicBezTo>
                    <a:cubicBezTo>
                      <a:pt x="0" y="2964"/>
                      <a:pt x="2964" y="0"/>
                      <a:pt x="6618" y="0"/>
                    </a:cubicBezTo>
                    <a:lnTo>
                      <a:pt x="141214" y="0"/>
                    </a:lnTo>
                    <a:cubicBezTo>
                      <a:pt x="144867" y="0"/>
                      <a:pt x="147831" y="2964"/>
                      <a:pt x="147831" y="6618"/>
                    </a:cubicBezTo>
                    <a:cubicBezTo>
                      <a:pt x="147861" y="47371"/>
                      <a:pt x="114714" y="80518"/>
                      <a:pt x="73931" y="80518"/>
                    </a:cubicBezTo>
                    <a:close/>
                    <a:moveTo>
                      <a:pt x="13624" y="13205"/>
                    </a:moveTo>
                    <a:cubicBezTo>
                      <a:pt x="16948" y="43568"/>
                      <a:pt x="42729" y="67253"/>
                      <a:pt x="73961" y="67253"/>
                    </a:cubicBezTo>
                    <a:cubicBezTo>
                      <a:pt x="105192" y="67253"/>
                      <a:pt x="130973" y="43568"/>
                      <a:pt x="134297" y="13205"/>
                    </a:cubicBezTo>
                    <a:lnTo>
                      <a:pt x="13624" y="13205"/>
                    </a:lnTo>
                    <a:close/>
                  </a:path>
                </a:pathLst>
              </a:custGeom>
              <a:solidFill>
                <a:schemeClr val="accent1"/>
              </a:solidFill>
              <a:ln w="2991" cap="flat">
                <a:noFill/>
                <a:prstDash val="solid"/>
                <a:miter/>
              </a:ln>
            </p:spPr>
            <p:txBody>
              <a:bodyPr rtlCol="0" anchor="ctr"/>
              <a:lstStyle/>
              <a:p>
                <a:endParaRPr lang="en-GB" dirty="0"/>
              </a:p>
            </p:txBody>
          </p:sp>
        </p:grpSp>
      </p:grpSp>
      <p:grpSp>
        <p:nvGrpSpPr>
          <p:cNvPr id="15" name="Group 14">
            <a:extLst>
              <a:ext uri="{FF2B5EF4-FFF2-40B4-BE49-F238E27FC236}">
                <a16:creationId xmlns:a16="http://schemas.microsoft.com/office/drawing/2014/main" id="{8EBF3B96-A1C7-BC51-588B-AE4471A6D011}"/>
              </a:ext>
            </a:extLst>
          </p:cNvPr>
          <p:cNvGrpSpPr/>
          <p:nvPr/>
        </p:nvGrpSpPr>
        <p:grpSpPr>
          <a:xfrm>
            <a:off x="3667694" y="4097454"/>
            <a:ext cx="525311" cy="432013"/>
            <a:chOff x="3667694" y="4097454"/>
            <a:chExt cx="525311" cy="432013"/>
          </a:xfrm>
        </p:grpSpPr>
        <p:grpSp>
          <p:nvGrpSpPr>
            <p:cNvPr id="329" name="Grafik 306">
              <a:extLst>
                <a:ext uri="{FF2B5EF4-FFF2-40B4-BE49-F238E27FC236}">
                  <a16:creationId xmlns:a16="http://schemas.microsoft.com/office/drawing/2014/main" id="{0A725291-7A3A-4583-A9FC-C18928DED7DA}"/>
                </a:ext>
              </a:extLst>
            </p:cNvPr>
            <p:cNvGrpSpPr/>
            <p:nvPr/>
          </p:nvGrpSpPr>
          <p:grpSpPr>
            <a:xfrm>
              <a:off x="3667694" y="4097454"/>
              <a:ext cx="399146" cy="399147"/>
              <a:chOff x="3396420" y="4126114"/>
              <a:chExt cx="370700" cy="370700"/>
            </a:xfrm>
            <a:solidFill>
              <a:schemeClr val="tx2"/>
            </a:solidFill>
          </p:grpSpPr>
          <p:sp>
            <p:nvSpPr>
              <p:cNvPr id="331" name="Freihandform: Form 330">
                <a:extLst>
                  <a:ext uri="{FF2B5EF4-FFF2-40B4-BE49-F238E27FC236}">
                    <a16:creationId xmlns:a16="http://schemas.microsoft.com/office/drawing/2014/main" id="{EA971D00-84DB-41AD-BB22-23BDF8D6FB32}"/>
                  </a:ext>
                </a:extLst>
              </p:cNvPr>
              <p:cNvSpPr/>
              <p:nvPr/>
            </p:nvSpPr>
            <p:spPr>
              <a:xfrm>
                <a:off x="3396420" y="4126114"/>
                <a:ext cx="370700" cy="370700"/>
              </a:xfrm>
              <a:custGeom>
                <a:avLst/>
                <a:gdLst>
                  <a:gd name="connsiteX0" fmla="*/ 185350 w 370700"/>
                  <a:gd name="connsiteY0" fmla="*/ 370701 h 370700"/>
                  <a:gd name="connsiteX1" fmla="*/ 0 w 370700"/>
                  <a:gd name="connsiteY1" fmla="*/ 185350 h 370700"/>
                  <a:gd name="connsiteX2" fmla="*/ 185350 w 370700"/>
                  <a:gd name="connsiteY2" fmla="*/ 0 h 370700"/>
                  <a:gd name="connsiteX3" fmla="*/ 370701 w 370700"/>
                  <a:gd name="connsiteY3" fmla="*/ 185350 h 370700"/>
                  <a:gd name="connsiteX4" fmla="*/ 361239 w 370700"/>
                  <a:gd name="connsiteY4" fmla="*/ 243920 h 370700"/>
                  <a:gd name="connsiteX5" fmla="*/ 352854 w 370700"/>
                  <a:gd name="connsiteY5" fmla="*/ 248112 h 370700"/>
                  <a:gd name="connsiteX6" fmla="*/ 348662 w 370700"/>
                  <a:gd name="connsiteY6" fmla="*/ 239728 h 370700"/>
                  <a:gd name="connsiteX7" fmla="*/ 357436 w 370700"/>
                  <a:gd name="connsiteY7" fmla="*/ 185321 h 370700"/>
                  <a:gd name="connsiteX8" fmla="*/ 185350 w 370700"/>
                  <a:gd name="connsiteY8" fmla="*/ 13235 h 370700"/>
                  <a:gd name="connsiteX9" fmla="*/ 13265 w 370700"/>
                  <a:gd name="connsiteY9" fmla="*/ 185321 h 370700"/>
                  <a:gd name="connsiteX10" fmla="*/ 185350 w 370700"/>
                  <a:gd name="connsiteY10" fmla="*/ 357406 h 370700"/>
                  <a:gd name="connsiteX11" fmla="*/ 280751 w 370700"/>
                  <a:gd name="connsiteY11" fmla="*/ 328540 h 370700"/>
                  <a:gd name="connsiteX12" fmla="*/ 289943 w 370700"/>
                  <a:gd name="connsiteY12" fmla="*/ 330367 h 370700"/>
                  <a:gd name="connsiteX13" fmla="*/ 288117 w 370700"/>
                  <a:gd name="connsiteY13" fmla="*/ 339560 h 370700"/>
                  <a:gd name="connsiteX14" fmla="*/ 185350 w 370700"/>
                  <a:gd name="connsiteY14" fmla="*/ 370701 h 37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0700" h="370700">
                    <a:moveTo>
                      <a:pt x="185350" y="370701"/>
                    </a:moveTo>
                    <a:cubicBezTo>
                      <a:pt x="83153" y="370701"/>
                      <a:pt x="0" y="287548"/>
                      <a:pt x="0" y="185350"/>
                    </a:cubicBezTo>
                    <a:cubicBezTo>
                      <a:pt x="0" y="83153"/>
                      <a:pt x="83153" y="0"/>
                      <a:pt x="185350" y="0"/>
                    </a:cubicBezTo>
                    <a:cubicBezTo>
                      <a:pt x="287548" y="0"/>
                      <a:pt x="370701" y="83153"/>
                      <a:pt x="370701" y="185350"/>
                    </a:cubicBezTo>
                    <a:cubicBezTo>
                      <a:pt x="370701" y="205383"/>
                      <a:pt x="367527" y="225085"/>
                      <a:pt x="361239" y="243920"/>
                    </a:cubicBezTo>
                    <a:cubicBezTo>
                      <a:pt x="360071" y="247393"/>
                      <a:pt x="356328" y="249250"/>
                      <a:pt x="352854" y="248112"/>
                    </a:cubicBezTo>
                    <a:cubicBezTo>
                      <a:pt x="349381" y="246944"/>
                      <a:pt x="347495" y="243201"/>
                      <a:pt x="348662" y="239728"/>
                    </a:cubicBezTo>
                    <a:cubicBezTo>
                      <a:pt x="354501" y="222211"/>
                      <a:pt x="357436" y="203915"/>
                      <a:pt x="357436" y="185321"/>
                    </a:cubicBezTo>
                    <a:cubicBezTo>
                      <a:pt x="357436" y="90429"/>
                      <a:pt x="280241" y="13235"/>
                      <a:pt x="185350" y="13235"/>
                    </a:cubicBezTo>
                    <a:cubicBezTo>
                      <a:pt x="90459" y="13235"/>
                      <a:pt x="13265" y="90429"/>
                      <a:pt x="13265" y="185321"/>
                    </a:cubicBezTo>
                    <a:cubicBezTo>
                      <a:pt x="13265" y="280212"/>
                      <a:pt x="90459" y="357406"/>
                      <a:pt x="185350" y="357406"/>
                    </a:cubicBezTo>
                    <a:cubicBezTo>
                      <a:pt x="219486" y="357406"/>
                      <a:pt x="252484" y="347435"/>
                      <a:pt x="280751" y="328540"/>
                    </a:cubicBezTo>
                    <a:cubicBezTo>
                      <a:pt x="283805" y="326504"/>
                      <a:pt x="287907" y="327343"/>
                      <a:pt x="289943" y="330367"/>
                    </a:cubicBezTo>
                    <a:cubicBezTo>
                      <a:pt x="291979" y="333421"/>
                      <a:pt x="291141" y="337523"/>
                      <a:pt x="288117" y="339560"/>
                    </a:cubicBezTo>
                    <a:cubicBezTo>
                      <a:pt x="257664" y="359951"/>
                      <a:pt x="222121" y="370701"/>
                      <a:pt x="185350" y="370701"/>
                    </a:cubicBezTo>
                    <a:close/>
                  </a:path>
                </a:pathLst>
              </a:custGeom>
              <a:grpFill/>
              <a:ln w="2991" cap="flat">
                <a:noFill/>
                <a:prstDash val="solid"/>
                <a:miter/>
              </a:ln>
            </p:spPr>
            <p:txBody>
              <a:bodyPr rtlCol="0" anchor="ctr"/>
              <a:lstStyle/>
              <a:p>
                <a:endParaRPr lang="en-GB" dirty="0"/>
              </a:p>
            </p:txBody>
          </p:sp>
          <p:grpSp>
            <p:nvGrpSpPr>
              <p:cNvPr id="332" name="Grafik 306">
                <a:extLst>
                  <a:ext uri="{FF2B5EF4-FFF2-40B4-BE49-F238E27FC236}">
                    <a16:creationId xmlns:a16="http://schemas.microsoft.com/office/drawing/2014/main" id="{BE0B6257-B3EF-43C2-8544-36CD38D942C6}"/>
                  </a:ext>
                </a:extLst>
              </p:cNvPr>
              <p:cNvGrpSpPr/>
              <p:nvPr/>
            </p:nvGrpSpPr>
            <p:grpSpPr>
              <a:xfrm>
                <a:off x="3466928" y="4207650"/>
                <a:ext cx="229671" cy="41441"/>
                <a:chOff x="3466928" y="4207650"/>
                <a:chExt cx="229671" cy="41441"/>
              </a:xfrm>
              <a:grpFill/>
            </p:grpSpPr>
            <p:sp>
              <p:nvSpPr>
                <p:cNvPr id="334" name="Freihandform: Form 333">
                  <a:extLst>
                    <a:ext uri="{FF2B5EF4-FFF2-40B4-BE49-F238E27FC236}">
                      <a16:creationId xmlns:a16="http://schemas.microsoft.com/office/drawing/2014/main" id="{5D695CD4-F5AA-4F48-9390-6BCB173BC3EB}"/>
                    </a:ext>
                  </a:extLst>
                </p:cNvPr>
                <p:cNvSpPr/>
                <p:nvPr/>
              </p:nvSpPr>
              <p:spPr>
                <a:xfrm>
                  <a:off x="3610508" y="4207650"/>
                  <a:ext cx="86091" cy="41441"/>
                </a:xfrm>
                <a:custGeom>
                  <a:avLst/>
                  <a:gdLst>
                    <a:gd name="connsiteX0" fmla="*/ 79478 w 86091"/>
                    <a:gd name="connsiteY0" fmla="*/ 41442 h 41441"/>
                    <a:gd name="connsiteX1" fmla="*/ 73070 w 86091"/>
                    <a:gd name="connsiteY1" fmla="*/ 36471 h 41441"/>
                    <a:gd name="connsiteX2" fmla="*/ 43037 w 86091"/>
                    <a:gd name="connsiteY2" fmla="*/ 13235 h 41441"/>
                    <a:gd name="connsiteX3" fmla="*/ 13004 w 86091"/>
                    <a:gd name="connsiteY3" fmla="*/ 36441 h 41441"/>
                    <a:gd name="connsiteX4" fmla="*/ 4949 w 86091"/>
                    <a:gd name="connsiteY4" fmla="*/ 41172 h 41441"/>
                    <a:gd name="connsiteX5" fmla="*/ 218 w 86091"/>
                    <a:gd name="connsiteY5" fmla="*/ 33118 h 41441"/>
                    <a:gd name="connsiteX6" fmla="*/ 43037 w 86091"/>
                    <a:gd name="connsiteY6" fmla="*/ 0 h 41441"/>
                    <a:gd name="connsiteX7" fmla="*/ 85886 w 86091"/>
                    <a:gd name="connsiteY7" fmla="*/ 33177 h 41441"/>
                    <a:gd name="connsiteX8" fmla="*/ 81125 w 86091"/>
                    <a:gd name="connsiteY8" fmla="*/ 41232 h 41441"/>
                    <a:gd name="connsiteX9" fmla="*/ 79478 w 86091"/>
                    <a:gd name="connsiteY9" fmla="*/ 41442 h 41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091" h="41441">
                      <a:moveTo>
                        <a:pt x="79478" y="41442"/>
                      </a:moveTo>
                      <a:cubicBezTo>
                        <a:pt x="76544" y="41442"/>
                        <a:pt x="73849" y="39466"/>
                        <a:pt x="73070" y="36471"/>
                      </a:cubicBezTo>
                      <a:cubicBezTo>
                        <a:pt x="69567" y="22787"/>
                        <a:pt x="57200" y="13235"/>
                        <a:pt x="43037" y="13235"/>
                      </a:cubicBezTo>
                      <a:cubicBezTo>
                        <a:pt x="28904" y="13235"/>
                        <a:pt x="16567" y="22787"/>
                        <a:pt x="13004" y="36441"/>
                      </a:cubicBezTo>
                      <a:cubicBezTo>
                        <a:pt x="12105" y="39975"/>
                        <a:pt x="8452" y="42131"/>
                        <a:pt x="4949" y="41172"/>
                      </a:cubicBezTo>
                      <a:cubicBezTo>
                        <a:pt x="1415" y="40274"/>
                        <a:pt x="-710" y="36651"/>
                        <a:pt x="218" y="33118"/>
                      </a:cubicBezTo>
                      <a:cubicBezTo>
                        <a:pt x="5278" y="13624"/>
                        <a:pt x="22885" y="0"/>
                        <a:pt x="43037" y="0"/>
                      </a:cubicBezTo>
                      <a:cubicBezTo>
                        <a:pt x="63249" y="0"/>
                        <a:pt x="80856" y="13654"/>
                        <a:pt x="85886" y="33177"/>
                      </a:cubicBezTo>
                      <a:cubicBezTo>
                        <a:pt x="86784" y="36711"/>
                        <a:pt x="84658" y="40334"/>
                        <a:pt x="81125" y="41232"/>
                      </a:cubicBezTo>
                      <a:cubicBezTo>
                        <a:pt x="80586" y="41382"/>
                        <a:pt x="80047" y="41442"/>
                        <a:pt x="79478" y="41442"/>
                      </a:cubicBezTo>
                      <a:close/>
                    </a:path>
                  </a:pathLst>
                </a:custGeom>
                <a:grpFill/>
                <a:ln w="2991" cap="flat">
                  <a:noFill/>
                  <a:prstDash val="solid"/>
                  <a:miter/>
                </a:ln>
              </p:spPr>
              <p:txBody>
                <a:bodyPr rtlCol="0" anchor="ctr"/>
                <a:lstStyle/>
                <a:p>
                  <a:endParaRPr lang="en-GB" dirty="0"/>
                </a:p>
              </p:txBody>
            </p:sp>
            <p:sp>
              <p:nvSpPr>
                <p:cNvPr id="335" name="Freihandform: Form 334">
                  <a:extLst>
                    <a:ext uri="{FF2B5EF4-FFF2-40B4-BE49-F238E27FC236}">
                      <a16:creationId xmlns:a16="http://schemas.microsoft.com/office/drawing/2014/main" id="{D54209DB-9D05-463D-BBC7-A156ED5C2CD3}"/>
                    </a:ext>
                  </a:extLst>
                </p:cNvPr>
                <p:cNvSpPr/>
                <p:nvPr/>
              </p:nvSpPr>
              <p:spPr>
                <a:xfrm>
                  <a:off x="3466928" y="4207650"/>
                  <a:ext cx="86091" cy="41441"/>
                </a:xfrm>
                <a:custGeom>
                  <a:avLst/>
                  <a:gdLst>
                    <a:gd name="connsiteX0" fmla="*/ 79478 w 86091"/>
                    <a:gd name="connsiteY0" fmla="*/ 41442 h 41441"/>
                    <a:gd name="connsiteX1" fmla="*/ 73070 w 86091"/>
                    <a:gd name="connsiteY1" fmla="*/ 36471 h 41441"/>
                    <a:gd name="connsiteX2" fmla="*/ 43037 w 86091"/>
                    <a:gd name="connsiteY2" fmla="*/ 13235 h 41441"/>
                    <a:gd name="connsiteX3" fmla="*/ 13004 w 86091"/>
                    <a:gd name="connsiteY3" fmla="*/ 36441 h 41441"/>
                    <a:gd name="connsiteX4" fmla="*/ 4949 w 86091"/>
                    <a:gd name="connsiteY4" fmla="*/ 41172 h 41441"/>
                    <a:gd name="connsiteX5" fmla="*/ 218 w 86091"/>
                    <a:gd name="connsiteY5" fmla="*/ 33118 h 41441"/>
                    <a:gd name="connsiteX6" fmla="*/ 43037 w 86091"/>
                    <a:gd name="connsiteY6" fmla="*/ 0 h 41441"/>
                    <a:gd name="connsiteX7" fmla="*/ 85886 w 86091"/>
                    <a:gd name="connsiteY7" fmla="*/ 33177 h 41441"/>
                    <a:gd name="connsiteX8" fmla="*/ 81125 w 86091"/>
                    <a:gd name="connsiteY8" fmla="*/ 41232 h 41441"/>
                    <a:gd name="connsiteX9" fmla="*/ 79478 w 86091"/>
                    <a:gd name="connsiteY9" fmla="*/ 41442 h 414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091" h="41441">
                      <a:moveTo>
                        <a:pt x="79478" y="41442"/>
                      </a:moveTo>
                      <a:cubicBezTo>
                        <a:pt x="76544" y="41442"/>
                        <a:pt x="73849" y="39466"/>
                        <a:pt x="73070" y="36471"/>
                      </a:cubicBezTo>
                      <a:cubicBezTo>
                        <a:pt x="69567" y="22787"/>
                        <a:pt x="57200" y="13235"/>
                        <a:pt x="43037" y="13235"/>
                      </a:cubicBezTo>
                      <a:cubicBezTo>
                        <a:pt x="28904" y="13235"/>
                        <a:pt x="16567" y="22787"/>
                        <a:pt x="13004" y="36441"/>
                      </a:cubicBezTo>
                      <a:cubicBezTo>
                        <a:pt x="12105" y="39975"/>
                        <a:pt x="8452" y="42131"/>
                        <a:pt x="4949" y="41172"/>
                      </a:cubicBezTo>
                      <a:cubicBezTo>
                        <a:pt x="1415" y="40274"/>
                        <a:pt x="-710" y="36651"/>
                        <a:pt x="218" y="33118"/>
                      </a:cubicBezTo>
                      <a:cubicBezTo>
                        <a:pt x="5278" y="13624"/>
                        <a:pt x="22885" y="0"/>
                        <a:pt x="43037" y="0"/>
                      </a:cubicBezTo>
                      <a:cubicBezTo>
                        <a:pt x="63249" y="0"/>
                        <a:pt x="80856" y="13654"/>
                        <a:pt x="85886" y="33177"/>
                      </a:cubicBezTo>
                      <a:cubicBezTo>
                        <a:pt x="86784" y="36711"/>
                        <a:pt x="84659" y="40334"/>
                        <a:pt x="81125" y="41232"/>
                      </a:cubicBezTo>
                      <a:cubicBezTo>
                        <a:pt x="80556" y="41382"/>
                        <a:pt x="80017" y="41442"/>
                        <a:pt x="79478" y="41442"/>
                      </a:cubicBezTo>
                      <a:close/>
                    </a:path>
                  </a:pathLst>
                </a:custGeom>
                <a:grpFill/>
                <a:ln w="2991" cap="flat">
                  <a:noFill/>
                  <a:prstDash val="solid"/>
                  <a:miter/>
                </a:ln>
              </p:spPr>
              <p:txBody>
                <a:bodyPr rtlCol="0" anchor="ctr"/>
                <a:lstStyle/>
                <a:p>
                  <a:endParaRPr lang="en-GB" dirty="0"/>
                </a:p>
              </p:txBody>
            </p:sp>
          </p:grpSp>
          <p:sp>
            <p:nvSpPr>
              <p:cNvPr id="333" name="Freihandform: Form 332">
                <a:extLst>
                  <a:ext uri="{FF2B5EF4-FFF2-40B4-BE49-F238E27FC236}">
                    <a16:creationId xmlns:a16="http://schemas.microsoft.com/office/drawing/2014/main" id="{A21DC2AF-8753-4999-81C8-C37383F5D7D9}"/>
                  </a:ext>
                </a:extLst>
              </p:cNvPr>
              <p:cNvSpPr/>
              <p:nvPr/>
            </p:nvSpPr>
            <p:spPr>
              <a:xfrm>
                <a:off x="3479513" y="4340898"/>
                <a:ext cx="204514" cy="108874"/>
              </a:xfrm>
              <a:custGeom>
                <a:avLst/>
                <a:gdLst>
                  <a:gd name="connsiteX0" fmla="*/ 102257 w 204514"/>
                  <a:gd name="connsiteY0" fmla="*/ 108875 h 108874"/>
                  <a:gd name="connsiteX1" fmla="*/ 0 w 204514"/>
                  <a:gd name="connsiteY1" fmla="*/ 6618 h 108874"/>
                  <a:gd name="connsiteX2" fmla="*/ 6617 w 204514"/>
                  <a:gd name="connsiteY2" fmla="*/ 0 h 108874"/>
                  <a:gd name="connsiteX3" fmla="*/ 197897 w 204514"/>
                  <a:gd name="connsiteY3" fmla="*/ 0 h 108874"/>
                  <a:gd name="connsiteX4" fmla="*/ 204514 w 204514"/>
                  <a:gd name="connsiteY4" fmla="*/ 6618 h 108874"/>
                  <a:gd name="connsiteX5" fmla="*/ 102257 w 204514"/>
                  <a:gd name="connsiteY5" fmla="*/ 108875 h 108874"/>
                  <a:gd name="connsiteX6" fmla="*/ 13475 w 204514"/>
                  <a:gd name="connsiteY6" fmla="*/ 13265 h 108874"/>
                  <a:gd name="connsiteX7" fmla="*/ 102227 w 204514"/>
                  <a:gd name="connsiteY7" fmla="*/ 95670 h 108874"/>
                  <a:gd name="connsiteX8" fmla="*/ 191010 w 204514"/>
                  <a:gd name="connsiteY8" fmla="*/ 13265 h 108874"/>
                  <a:gd name="connsiteX9" fmla="*/ 13475 w 204514"/>
                  <a:gd name="connsiteY9" fmla="*/ 13265 h 10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514" h="108874">
                    <a:moveTo>
                      <a:pt x="102257" y="108875"/>
                    </a:moveTo>
                    <a:cubicBezTo>
                      <a:pt x="45874" y="108875"/>
                      <a:pt x="0" y="63001"/>
                      <a:pt x="0" y="6618"/>
                    </a:cubicBezTo>
                    <a:cubicBezTo>
                      <a:pt x="0" y="2964"/>
                      <a:pt x="2964" y="0"/>
                      <a:pt x="6617" y="0"/>
                    </a:cubicBezTo>
                    <a:lnTo>
                      <a:pt x="197897" y="0"/>
                    </a:lnTo>
                    <a:cubicBezTo>
                      <a:pt x="201550" y="0"/>
                      <a:pt x="204514" y="2964"/>
                      <a:pt x="204514" y="6618"/>
                    </a:cubicBezTo>
                    <a:cubicBezTo>
                      <a:pt x="204514" y="63001"/>
                      <a:pt x="158641" y="108875"/>
                      <a:pt x="102257" y="108875"/>
                    </a:cubicBezTo>
                    <a:close/>
                    <a:moveTo>
                      <a:pt x="13475" y="13265"/>
                    </a:moveTo>
                    <a:cubicBezTo>
                      <a:pt x="16858" y="59258"/>
                      <a:pt x="55396" y="95670"/>
                      <a:pt x="102227" y="95670"/>
                    </a:cubicBezTo>
                    <a:cubicBezTo>
                      <a:pt x="149089" y="95670"/>
                      <a:pt x="187596" y="59288"/>
                      <a:pt x="191010" y="13265"/>
                    </a:cubicBezTo>
                    <a:lnTo>
                      <a:pt x="13475" y="13265"/>
                    </a:lnTo>
                    <a:close/>
                  </a:path>
                </a:pathLst>
              </a:custGeom>
              <a:grpFill/>
              <a:ln w="2991" cap="flat">
                <a:noFill/>
                <a:prstDash val="solid"/>
                <a:miter/>
              </a:ln>
            </p:spPr>
            <p:txBody>
              <a:bodyPr rtlCol="0" anchor="ctr"/>
              <a:lstStyle/>
              <a:p>
                <a:endParaRPr lang="en-GB" dirty="0"/>
              </a:p>
            </p:txBody>
          </p:sp>
        </p:grpSp>
        <p:sp>
          <p:nvSpPr>
            <p:cNvPr id="330" name="Freihandform: Form 329">
              <a:extLst>
                <a:ext uri="{FF2B5EF4-FFF2-40B4-BE49-F238E27FC236}">
                  <a16:creationId xmlns:a16="http://schemas.microsoft.com/office/drawing/2014/main" id="{34BA036F-FDB1-4DBF-B34A-F36304610319}"/>
                </a:ext>
              </a:extLst>
            </p:cNvPr>
            <p:cNvSpPr/>
            <p:nvPr/>
          </p:nvSpPr>
          <p:spPr>
            <a:xfrm>
              <a:off x="3987557" y="4350839"/>
              <a:ext cx="205448" cy="178628"/>
            </a:xfrm>
            <a:custGeom>
              <a:avLst/>
              <a:gdLst>
                <a:gd name="connsiteX0" fmla="*/ 96512 w 190806"/>
                <a:gd name="connsiteY0" fmla="*/ 165898 h 165897"/>
                <a:gd name="connsiteX1" fmla="*/ 88907 w 190806"/>
                <a:gd name="connsiteY1" fmla="*/ 161227 h 165897"/>
                <a:gd name="connsiteX2" fmla="*/ 46057 w 190806"/>
                <a:gd name="connsiteY2" fmla="*/ 123678 h 165897"/>
                <a:gd name="connsiteX3" fmla="*/ 36535 w 190806"/>
                <a:gd name="connsiteY3" fmla="*/ 118198 h 165897"/>
                <a:gd name="connsiteX4" fmla="*/ 6532 w 190806"/>
                <a:gd name="connsiteY4" fmla="*/ 84062 h 165897"/>
                <a:gd name="connsiteX5" fmla="*/ 6143 w 190806"/>
                <a:gd name="connsiteY5" fmla="*/ 83374 h 165897"/>
                <a:gd name="connsiteX6" fmla="*/ 543 w 190806"/>
                <a:gd name="connsiteY6" fmla="*/ 47352 h 165897"/>
                <a:gd name="connsiteX7" fmla="*/ 573 w 190806"/>
                <a:gd name="connsiteY7" fmla="*/ 47142 h 165897"/>
                <a:gd name="connsiteX8" fmla="*/ 34290 w 190806"/>
                <a:gd name="connsiteY8" fmla="*/ 5431 h 165897"/>
                <a:gd name="connsiteX9" fmla="*/ 78846 w 190806"/>
                <a:gd name="connsiteY9" fmla="*/ 5101 h 165897"/>
                <a:gd name="connsiteX10" fmla="*/ 95374 w 190806"/>
                <a:gd name="connsiteY10" fmla="*/ 19025 h 165897"/>
                <a:gd name="connsiteX11" fmla="*/ 111185 w 190806"/>
                <a:gd name="connsiteY11" fmla="*/ 4892 h 165897"/>
                <a:gd name="connsiteX12" fmla="*/ 155621 w 190806"/>
                <a:gd name="connsiteY12" fmla="*/ 4413 h 165897"/>
                <a:gd name="connsiteX13" fmla="*/ 190086 w 190806"/>
                <a:gd name="connsiteY13" fmla="*/ 45525 h 165897"/>
                <a:gd name="connsiteX14" fmla="*/ 185355 w 190806"/>
                <a:gd name="connsiteY14" fmla="*/ 81397 h 165897"/>
                <a:gd name="connsiteX15" fmla="*/ 184816 w 190806"/>
                <a:gd name="connsiteY15" fmla="*/ 82475 h 165897"/>
                <a:gd name="connsiteX16" fmla="*/ 155142 w 190806"/>
                <a:gd name="connsiteY16" fmla="*/ 117330 h 165897"/>
                <a:gd name="connsiteX17" fmla="*/ 146039 w 190806"/>
                <a:gd name="connsiteY17" fmla="*/ 122779 h 165897"/>
                <a:gd name="connsiteX18" fmla="*/ 104088 w 190806"/>
                <a:gd name="connsiteY18" fmla="*/ 160897 h 165897"/>
                <a:gd name="connsiteX19" fmla="*/ 97261 w 190806"/>
                <a:gd name="connsiteY19" fmla="*/ 165868 h 165897"/>
                <a:gd name="connsiteX20" fmla="*/ 96512 w 190806"/>
                <a:gd name="connsiteY20" fmla="*/ 165898 h 165897"/>
                <a:gd name="connsiteX21" fmla="*/ 91721 w 190806"/>
                <a:gd name="connsiteY21" fmla="*/ 156286 h 165897"/>
                <a:gd name="connsiteX22" fmla="*/ 91721 w 190806"/>
                <a:gd name="connsiteY22" fmla="*/ 156286 h 165897"/>
                <a:gd name="connsiteX23" fmla="*/ 91721 w 190806"/>
                <a:gd name="connsiteY23" fmla="*/ 156286 h 165897"/>
                <a:gd name="connsiteX24" fmla="*/ 100585 w 190806"/>
                <a:gd name="connsiteY24" fmla="*/ 154969 h 165897"/>
                <a:gd name="connsiteX25" fmla="*/ 100674 w 190806"/>
                <a:gd name="connsiteY25" fmla="*/ 155118 h 165897"/>
                <a:gd name="connsiteX26" fmla="*/ 100585 w 190806"/>
                <a:gd name="connsiteY26" fmla="*/ 154969 h 165897"/>
                <a:gd name="connsiteX27" fmla="*/ 13688 w 190806"/>
                <a:gd name="connsiteY27" fmla="*/ 49088 h 165897"/>
                <a:gd name="connsiteX28" fmla="*/ 18000 w 190806"/>
                <a:gd name="connsiteY28" fmla="*/ 77475 h 165897"/>
                <a:gd name="connsiteX29" fmla="*/ 18180 w 190806"/>
                <a:gd name="connsiteY29" fmla="*/ 77744 h 165897"/>
                <a:gd name="connsiteX30" fmla="*/ 43842 w 190806"/>
                <a:gd name="connsiteY30" fmla="*/ 107119 h 165897"/>
                <a:gd name="connsiteX31" fmla="*/ 52256 w 190806"/>
                <a:gd name="connsiteY31" fmla="*/ 111940 h 165897"/>
                <a:gd name="connsiteX32" fmla="*/ 96333 w 190806"/>
                <a:gd name="connsiteY32" fmla="*/ 147902 h 165897"/>
                <a:gd name="connsiteX33" fmla="*/ 139631 w 190806"/>
                <a:gd name="connsiteY33" fmla="*/ 111191 h 165897"/>
                <a:gd name="connsiteX34" fmla="*/ 147656 w 190806"/>
                <a:gd name="connsiteY34" fmla="*/ 106430 h 165897"/>
                <a:gd name="connsiteX35" fmla="*/ 173078 w 190806"/>
                <a:gd name="connsiteY35" fmla="*/ 76397 h 165897"/>
                <a:gd name="connsiteX36" fmla="*/ 173437 w 190806"/>
                <a:gd name="connsiteY36" fmla="*/ 75708 h 165897"/>
                <a:gd name="connsiteX37" fmla="*/ 177030 w 190806"/>
                <a:gd name="connsiteY37" fmla="*/ 47561 h 165897"/>
                <a:gd name="connsiteX38" fmla="*/ 151279 w 190806"/>
                <a:gd name="connsiteY38" fmla="*/ 16869 h 165897"/>
                <a:gd name="connsiteX39" fmla="*/ 117293 w 190806"/>
                <a:gd name="connsiteY39" fmla="*/ 16600 h 165897"/>
                <a:gd name="connsiteX40" fmla="*/ 101962 w 190806"/>
                <a:gd name="connsiteY40" fmla="*/ 34925 h 165897"/>
                <a:gd name="connsiteX41" fmla="*/ 95704 w 190806"/>
                <a:gd name="connsiteY41" fmla="*/ 39716 h 165897"/>
                <a:gd name="connsiteX42" fmla="*/ 89296 w 190806"/>
                <a:gd name="connsiteY42" fmla="*/ 35135 h 165897"/>
                <a:gd name="connsiteX43" fmla="*/ 72917 w 190806"/>
                <a:gd name="connsiteY43" fmla="*/ 16869 h 165897"/>
                <a:gd name="connsiteX44" fmla="*/ 38871 w 190806"/>
                <a:gd name="connsiteY44" fmla="*/ 17797 h 165897"/>
                <a:gd name="connsiteX45" fmla="*/ 13688 w 190806"/>
                <a:gd name="connsiteY45" fmla="*/ 49088 h 165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90806" h="165897">
                  <a:moveTo>
                    <a:pt x="96512" y="165898"/>
                  </a:moveTo>
                  <a:cubicBezTo>
                    <a:pt x="93308" y="165898"/>
                    <a:pt x="90374" y="164131"/>
                    <a:pt x="88907" y="161227"/>
                  </a:cubicBezTo>
                  <a:cubicBezTo>
                    <a:pt x="77977" y="140656"/>
                    <a:pt x="58753" y="130415"/>
                    <a:pt x="46057" y="123678"/>
                  </a:cubicBezTo>
                  <a:cubicBezTo>
                    <a:pt x="42255" y="121641"/>
                    <a:pt x="38991" y="119905"/>
                    <a:pt x="36535" y="118198"/>
                  </a:cubicBezTo>
                  <a:cubicBezTo>
                    <a:pt x="18958" y="107119"/>
                    <a:pt x="10574" y="91548"/>
                    <a:pt x="6532" y="84062"/>
                  </a:cubicBezTo>
                  <a:lnTo>
                    <a:pt x="6143" y="83374"/>
                  </a:lnTo>
                  <a:cubicBezTo>
                    <a:pt x="753" y="71456"/>
                    <a:pt x="-1014" y="59808"/>
                    <a:pt x="543" y="47352"/>
                  </a:cubicBezTo>
                  <a:cubicBezTo>
                    <a:pt x="543" y="47292"/>
                    <a:pt x="573" y="47202"/>
                    <a:pt x="573" y="47142"/>
                  </a:cubicBezTo>
                  <a:cubicBezTo>
                    <a:pt x="4106" y="24564"/>
                    <a:pt x="23151" y="9563"/>
                    <a:pt x="34290" y="5431"/>
                  </a:cubicBezTo>
                  <a:cubicBezTo>
                    <a:pt x="51357" y="-858"/>
                    <a:pt x="66359" y="-977"/>
                    <a:pt x="78846" y="5101"/>
                  </a:cubicBezTo>
                  <a:cubicBezTo>
                    <a:pt x="86421" y="8784"/>
                    <a:pt x="91751" y="14144"/>
                    <a:pt x="95374" y="19025"/>
                  </a:cubicBezTo>
                  <a:cubicBezTo>
                    <a:pt x="98788" y="14084"/>
                    <a:pt x="103878" y="8694"/>
                    <a:pt x="111185" y="4892"/>
                  </a:cubicBezTo>
                  <a:cubicBezTo>
                    <a:pt x="123432" y="-1456"/>
                    <a:pt x="138373" y="-1636"/>
                    <a:pt x="155621" y="4413"/>
                  </a:cubicBezTo>
                  <a:cubicBezTo>
                    <a:pt x="166880" y="8335"/>
                    <a:pt x="186163" y="22978"/>
                    <a:pt x="190086" y="45525"/>
                  </a:cubicBezTo>
                  <a:cubicBezTo>
                    <a:pt x="191883" y="58191"/>
                    <a:pt x="190325" y="69839"/>
                    <a:pt x="185355" y="81397"/>
                  </a:cubicBezTo>
                  <a:lnTo>
                    <a:pt x="184816" y="82475"/>
                  </a:lnTo>
                  <a:cubicBezTo>
                    <a:pt x="180923" y="90051"/>
                    <a:pt x="172778" y="105771"/>
                    <a:pt x="155142" y="117330"/>
                  </a:cubicBezTo>
                  <a:cubicBezTo>
                    <a:pt x="152986" y="118887"/>
                    <a:pt x="149782" y="120683"/>
                    <a:pt x="146039" y="122779"/>
                  </a:cubicBezTo>
                  <a:cubicBezTo>
                    <a:pt x="133552" y="129726"/>
                    <a:pt x="114748" y="140206"/>
                    <a:pt x="104088" y="160897"/>
                  </a:cubicBezTo>
                  <a:cubicBezTo>
                    <a:pt x="102920" y="163682"/>
                    <a:pt x="100345" y="165599"/>
                    <a:pt x="97261" y="165868"/>
                  </a:cubicBezTo>
                  <a:cubicBezTo>
                    <a:pt x="97021" y="165868"/>
                    <a:pt x="96782" y="165898"/>
                    <a:pt x="96512" y="165898"/>
                  </a:cubicBezTo>
                  <a:close/>
                  <a:moveTo>
                    <a:pt x="91721" y="156286"/>
                  </a:moveTo>
                  <a:cubicBezTo>
                    <a:pt x="91721" y="156286"/>
                    <a:pt x="91721" y="156286"/>
                    <a:pt x="91721" y="156286"/>
                  </a:cubicBezTo>
                  <a:cubicBezTo>
                    <a:pt x="91721" y="156286"/>
                    <a:pt x="91721" y="156286"/>
                    <a:pt x="91721" y="156286"/>
                  </a:cubicBezTo>
                  <a:close/>
                  <a:moveTo>
                    <a:pt x="100585" y="154969"/>
                  </a:moveTo>
                  <a:cubicBezTo>
                    <a:pt x="100615" y="155028"/>
                    <a:pt x="100645" y="155058"/>
                    <a:pt x="100674" y="155118"/>
                  </a:cubicBezTo>
                  <a:cubicBezTo>
                    <a:pt x="100645" y="155058"/>
                    <a:pt x="100615" y="155028"/>
                    <a:pt x="100585" y="154969"/>
                  </a:cubicBezTo>
                  <a:close/>
                  <a:moveTo>
                    <a:pt x="13688" y="49088"/>
                  </a:moveTo>
                  <a:cubicBezTo>
                    <a:pt x="12461" y="59149"/>
                    <a:pt x="13808" y="68192"/>
                    <a:pt x="18000" y="77475"/>
                  </a:cubicBezTo>
                  <a:lnTo>
                    <a:pt x="18180" y="77744"/>
                  </a:lnTo>
                  <a:cubicBezTo>
                    <a:pt x="21683" y="84242"/>
                    <a:pt x="28960" y="97746"/>
                    <a:pt x="43842" y="107119"/>
                  </a:cubicBezTo>
                  <a:cubicBezTo>
                    <a:pt x="45878" y="108526"/>
                    <a:pt x="48842" y="110113"/>
                    <a:pt x="52256" y="111940"/>
                  </a:cubicBezTo>
                  <a:cubicBezTo>
                    <a:pt x="64143" y="118258"/>
                    <a:pt x="83217" y="128409"/>
                    <a:pt x="96333" y="147902"/>
                  </a:cubicBezTo>
                  <a:cubicBezTo>
                    <a:pt x="109089" y="128199"/>
                    <a:pt x="127893" y="117719"/>
                    <a:pt x="139631" y="111191"/>
                  </a:cubicBezTo>
                  <a:cubicBezTo>
                    <a:pt x="142985" y="109335"/>
                    <a:pt x="145889" y="107688"/>
                    <a:pt x="147656" y="106430"/>
                  </a:cubicBezTo>
                  <a:cubicBezTo>
                    <a:pt x="162657" y="96609"/>
                    <a:pt x="169694" y="82954"/>
                    <a:pt x="173078" y="76397"/>
                  </a:cubicBezTo>
                  <a:lnTo>
                    <a:pt x="173437" y="75708"/>
                  </a:lnTo>
                  <a:cubicBezTo>
                    <a:pt x="177270" y="66755"/>
                    <a:pt x="178468" y="57682"/>
                    <a:pt x="177030" y="47561"/>
                  </a:cubicBezTo>
                  <a:cubicBezTo>
                    <a:pt x="173707" y="28427"/>
                    <a:pt x="155860" y="18486"/>
                    <a:pt x="151279" y="16869"/>
                  </a:cubicBezTo>
                  <a:cubicBezTo>
                    <a:pt x="137625" y="12078"/>
                    <a:pt x="126186" y="11988"/>
                    <a:pt x="117293" y="16600"/>
                  </a:cubicBezTo>
                  <a:cubicBezTo>
                    <a:pt x="105765" y="22558"/>
                    <a:pt x="101992" y="34775"/>
                    <a:pt x="101962" y="34925"/>
                  </a:cubicBezTo>
                  <a:cubicBezTo>
                    <a:pt x="101154" y="37710"/>
                    <a:pt x="98638" y="39686"/>
                    <a:pt x="95704" y="39716"/>
                  </a:cubicBezTo>
                  <a:cubicBezTo>
                    <a:pt x="92530" y="39596"/>
                    <a:pt x="90194" y="37919"/>
                    <a:pt x="89296" y="35135"/>
                  </a:cubicBezTo>
                  <a:cubicBezTo>
                    <a:pt x="89266" y="35045"/>
                    <a:pt x="84984" y="22648"/>
                    <a:pt x="72917" y="16869"/>
                  </a:cubicBezTo>
                  <a:cubicBezTo>
                    <a:pt x="63814" y="12497"/>
                    <a:pt x="52346" y="12827"/>
                    <a:pt x="38871" y="17797"/>
                  </a:cubicBezTo>
                  <a:cubicBezTo>
                    <a:pt x="34379" y="19534"/>
                    <a:pt x="16773" y="29775"/>
                    <a:pt x="13688" y="49088"/>
                  </a:cubicBezTo>
                  <a:close/>
                </a:path>
              </a:pathLst>
            </a:custGeom>
            <a:solidFill>
              <a:schemeClr val="accent1"/>
            </a:solidFill>
            <a:ln w="2991" cap="flat">
              <a:noFill/>
              <a:prstDash val="solid"/>
              <a:miter/>
            </a:ln>
          </p:spPr>
          <p:txBody>
            <a:bodyPr rtlCol="0" anchor="ctr"/>
            <a:lstStyle/>
            <a:p>
              <a:endParaRPr lang="en-GB" dirty="0"/>
            </a:p>
          </p:txBody>
        </p:sp>
      </p:grpSp>
      <p:grpSp>
        <p:nvGrpSpPr>
          <p:cNvPr id="8" name="Group 7">
            <a:extLst>
              <a:ext uri="{FF2B5EF4-FFF2-40B4-BE49-F238E27FC236}">
                <a16:creationId xmlns:a16="http://schemas.microsoft.com/office/drawing/2014/main" id="{56A4ACF2-E701-7783-D047-29F91A8BAD0D}"/>
              </a:ext>
            </a:extLst>
          </p:cNvPr>
          <p:cNvGrpSpPr/>
          <p:nvPr/>
        </p:nvGrpSpPr>
        <p:grpSpPr>
          <a:xfrm>
            <a:off x="3762400" y="2449341"/>
            <a:ext cx="335897" cy="432000"/>
            <a:chOff x="3762400" y="2449341"/>
            <a:chExt cx="335897" cy="432000"/>
          </a:xfrm>
        </p:grpSpPr>
        <p:grpSp>
          <p:nvGrpSpPr>
            <p:cNvPr id="337" name="Grafik 306">
              <a:extLst>
                <a:ext uri="{FF2B5EF4-FFF2-40B4-BE49-F238E27FC236}">
                  <a16:creationId xmlns:a16="http://schemas.microsoft.com/office/drawing/2014/main" id="{D3E9303B-2FAC-4B53-8AB6-AEF7B90D1CC8}"/>
                </a:ext>
              </a:extLst>
            </p:cNvPr>
            <p:cNvGrpSpPr/>
            <p:nvPr/>
          </p:nvGrpSpPr>
          <p:grpSpPr>
            <a:xfrm>
              <a:off x="3762400" y="2699694"/>
              <a:ext cx="335897" cy="181647"/>
              <a:chOff x="3460828" y="2698975"/>
              <a:chExt cx="360130" cy="194752"/>
            </a:xfrm>
            <a:solidFill>
              <a:schemeClr val="tx2"/>
            </a:solidFill>
          </p:grpSpPr>
          <p:sp>
            <p:nvSpPr>
              <p:cNvPr id="346" name="Freihandform: Form 345">
                <a:extLst>
                  <a:ext uri="{FF2B5EF4-FFF2-40B4-BE49-F238E27FC236}">
                    <a16:creationId xmlns:a16="http://schemas.microsoft.com/office/drawing/2014/main" id="{7CDE9E65-F136-47E4-946F-CDCE86CD759E}"/>
                  </a:ext>
                </a:extLst>
              </p:cNvPr>
              <p:cNvSpPr/>
              <p:nvPr/>
            </p:nvSpPr>
            <p:spPr>
              <a:xfrm>
                <a:off x="3475950" y="2824738"/>
                <a:ext cx="157293" cy="68989"/>
              </a:xfrm>
              <a:custGeom>
                <a:avLst/>
                <a:gdLst>
                  <a:gd name="connsiteX0" fmla="*/ 130973 w 157293"/>
                  <a:gd name="connsiteY0" fmla="*/ 68990 h 68989"/>
                  <a:gd name="connsiteX1" fmla="*/ 130284 w 157293"/>
                  <a:gd name="connsiteY1" fmla="*/ 68990 h 68989"/>
                  <a:gd name="connsiteX2" fmla="*/ 112378 w 157293"/>
                  <a:gd name="connsiteY2" fmla="*/ 60755 h 68989"/>
                  <a:gd name="connsiteX3" fmla="*/ 61684 w 157293"/>
                  <a:gd name="connsiteY3" fmla="*/ 13235 h 68989"/>
                  <a:gd name="connsiteX4" fmla="*/ 6617 w 157293"/>
                  <a:gd name="connsiteY4" fmla="*/ 13235 h 68989"/>
                  <a:gd name="connsiteX5" fmla="*/ 0 w 157293"/>
                  <a:gd name="connsiteY5" fmla="*/ 6618 h 68989"/>
                  <a:gd name="connsiteX6" fmla="*/ 6617 w 157293"/>
                  <a:gd name="connsiteY6" fmla="*/ 0 h 68989"/>
                  <a:gd name="connsiteX7" fmla="*/ 64319 w 157293"/>
                  <a:gd name="connsiteY7" fmla="*/ 0 h 68989"/>
                  <a:gd name="connsiteX8" fmla="*/ 68840 w 157293"/>
                  <a:gd name="connsiteY8" fmla="*/ 1797 h 68989"/>
                  <a:gd name="connsiteX9" fmla="*/ 121840 w 157293"/>
                  <a:gd name="connsiteY9" fmla="*/ 51503 h 68989"/>
                  <a:gd name="connsiteX10" fmla="*/ 130644 w 157293"/>
                  <a:gd name="connsiteY10" fmla="*/ 55755 h 68989"/>
                  <a:gd name="connsiteX11" fmla="*/ 140136 w 157293"/>
                  <a:gd name="connsiteY11" fmla="*/ 51922 h 68989"/>
                  <a:gd name="connsiteX12" fmla="*/ 143998 w 157293"/>
                  <a:gd name="connsiteY12" fmla="*/ 42580 h 68989"/>
                  <a:gd name="connsiteX13" fmla="*/ 140106 w 157293"/>
                  <a:gd name="connsiteY13" fmla="*/ 33237 h 68989"/>
                  <a:gd name="connsiteX14" fmla="*/ 131243 w 157293"/>
                  <a:gd name="connsiteY14" fmla="*/ 24674 h 68989"/>
                  <a:gd name="connsiteX15" fmla="*/ 131093 w 157293"/>
                  <a:gd name="connsiteY15" fmla="*/ 15301 h 68989"/>
                  <a:gd name="connsiteX16" fmla="*/ 140465 w 157293"/>
                  <a:gd name="connsiteY16" fmla="*/ 15152 h 68989"/>
                  <a:gd name="connsiteX17" fmla="*/ 149418 w 157293"/>
                  <a:gd name="connsiteY17" fmla="*/ 23805 h 68989"/>
                  <a:gd name="connsiteX18" fmla="*/ 157293 w 157293"/>
                  <a:gd name="connsiteY18" fmla="*/ 42610 h 68989"/>
                  <a:gd name="connsiteX19" fmla="*/ 149538 w 157293"/>
                  <a:gd name="connsiteY19" fmla="*/ 61354 h 68989"/>
                  <a:gd name="connsiteX20" fmla="*/ 130973 w 157293"/>
                  <a:gd name="connsiteY20" fmla="*/ 68990 h 6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7293" h="68989">
                    <a:moveTo>
                      <a:pt x="130973" y="68990"/>
                    </a:moveTo>
                    <a:cubicBezTo>
                      <a:pt x="130733" y="68990"/>
                      <a:pt x="130524" y="68990"/>
                      <a:pt x="130284" y="68990"/>
                    </a:cubicBezTo>
                    <a:cubicBezTo>
                      <a:pt x="123337" y="68810"/>
                      <a:pt x="116989" y="65876"/>
                      <a:pt x="112378" y="60755"/>
                    </a:cubicBezTo>
                    <a:lnTo>
                      <a:pt x="61684" y="13235"/>
                    </a:lnTo>
                    <a:lnTo>
                      <a:pt x="6617" y="13235"/>
                    </a:lnTo>
                    <a:cubicBezTo>
                      <a:pt x="2964" y="13235"/>
                      <a:pt x="0" y="10271"/>
                      <a:pt x="0" y="6618"/>
                    </a:cubicBezTo>
                    <a:cubicBezTo>
                      <a:pt x="0" y="2964"/>
                      <a:pt x="2964" y="0"/>
                      <a:pt x="6617" y="0"/>
                    </a:cubicBezTo>
                    <a:lnTo>
                      <a:pt x="64319" y="0"/>
                    </a:lnTo>
                    <a:cubicBezTo>
                      <a:pt x="65995" y="0"/>
                      <a:pt x="67613" y="629"/>
                      <a:pt x="68840" y="1797"/>
                    </a:cubicBezTo>
                    <a:lnTo>
                      <a:pt x="121840" y="51503"/>
                    </a:lnTo>
                    <a:cubicBezTo>
                      <a:pt x="124385" y="54288"/>
                      <a:pt x="127380" y="55665"/>
                      <a:pt x="130644" y="55755"/>
                    </a:cubicBezTo>
                    <a:cubicBezTo>
                      <a:pt x="134207" y="55935"/>
                      <a:pt x="137620" y="54437"/>
                      <a:pt x="140136" y="51922"/>
                    </a:cubicBezTo>
                    <a:cubicBezTo>
                      <a:pt x="142651" y="49437"/>
                      <a:pt x="143998" y="46083"/>
                      <a:pt x="143998" y="42580"/>
                    </a:cubicBezTo>
                    <a:cubicBezTo>
                      <a:pt x="143998" y="39046"/>
                      <a:pt x="142621" y="35723"/>
                      <a:pt x="140106" y="33237"/>
                    </a:cubicBezTo>
                    <a:lnTo>
                      <a:pt x="131243" y="24674"/>
                    </a:lnTo>
                    <a:cubicBezTo>
                      <a:pt x="128607" y="22128"/>
                      <a:pt x="128548" y="17936"/>
                      <a:pt x="131093" y="15301"/>
                    </a:cubicBezTo>
                    <a:cubicBezTo>
                      <a:pt x="133638" y="12666"/>
                      <a:pt x="137830" y="12606"/>
                      <a:pt x="140465" y="15152"/>
                    </a:cubicBezTo>
                    <a:lnTo>
                      <a:pt x="149418" y="23805"/>
                    </a:lnTo>
                    <a:cubicBezTo>
                      <a:pt x="154509" y="28866"/>
                      <a:pt x="157263" y="35513"/>
                      <a:pt x="157293" y="42610"/>
                    </a:cubicBezTo>
                    <a:cubicBezTo>
                      <a:pt x="157293" y="49676"/>
                      <a:pt x="154539" y="56354"/>
                      <a:pt x="149538" y="61354"/>
                    </a:cubicBezTo>
                    <a:cubicBezTo>
                      <a:pt x="144567" y="66205"/>
                      <a:pt x="137860" y="68990"/>
                      <a:pt x="130973" y="68990"/>
                    </a:cubicBezTo>
                    <a:close/>
                  </a:path>
                </a:pathLst>
              </a:custGeom>
              <a:grpFill/>
              <a:ln w="2991" cap="flat">
                <a:noFill/>
                <a:prstDash val="solid"/>
                <a:miter/>
              </a:ln>
            </p:spPr>
            <p:txBody>
              <a:bodyPr rtlCol="0" anchor="ctr"/>
              <a:lstStyle/>
              <a:p>
                <a:endParaRPr lang="en-GB" dirty="0"/>
              </a:p>
            </p:txBody>
          </p:sp>
          <p:sp>
            <p:nvSpPr>
              <p:cNvPr id="347" name="Freihandform: Form 346">
                <a:extLst>
                  <a:ext uri="{FF2B5EF4-FFF2-40B4-BE49-F238E27FC236}">
                    <a16:creationId xmlns:a16="http://schemas.microsoft.com/office/drawing/2014/main" id="{BB71E8C1-B8F0-4CB0-ADF7-9B78E9578D34}"/>
                  </a:ext>
                </a:extLst>
              </p:cNvPr>
              <p:cNvSpPr/>
              <p:nvPr/>
            </p:nvSpPr>
            <p:spPr>
              <a:xfrm>
                <a:off x="3460828" y="2698975"/>
                <a:ext cx="360130" cy="13265"/>
              </a:xfrm>
              <a:custGeom>
                <a:avLst/>
                <a:gdLst>
                  <a:gd name="connsiteX0" fmla="*/ 353513 w 360130"/>
                  <a:gd name="connsiteY0" fmla="*/ 13265 h 13265"/>
                  <a:gd name="connsiteX1" fmla="*/ 353513 w 360130"/>
                  <a:gd name="connsiteY1" fmla="*/ 13265 h 13265"/>
                  <a:gd name="connsiteX2" fmla="*/ 6617 w 360130"/>
                  <a:gd name="connsiteY2" fmla="*/ 13235 h 13265"/>
                  <a:gd name="connsiteX3" fmla="*/ 0 w 360130"/>
                  <a:gd name="connsiteY3" fmla="*/ 6618 h 13265"/>
                  <a:gd name="connsiteX4" fmla="*/ 6617 w 360130"/>
                  <a:gd name="connsiteY4" fmla="*/ 0 h 13265"/>
                  <a:gd name="connsiteX5" fmla="*/ 6617 w 360130"/>
                  <a:gd name="connsiteY5" fmla="*/ 0 h 13265"/>
                  <a:gd name="connsiteX6" fmla="*/ 353513 w 360130"/>
                  <a:gd name="connsiteY6" fmla="*/ 30 h 13265"/>
                  <a:gd name="connsiteX7" fmla="*/ 360131 w 360130"/>
                  <a:gd name="connsiteY7" fmla="*/ 6647 h 13265"/>
                  <a:gd name="connsiteX8" fmla="*/ 353513 w 360130"/>
                  <a:gd name="connsiteY8" fmla="*/ 13265 h 13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0130" h="13265">
                    <a:moveTo>
                      <a:pt x="353513" y="13265"/>
                    </a:moveTo>
                    <a:lnTo>
                      <a:pt x="353513" y="13265"/>
                    </a:lnTo>
                    <a:lnTo>
                      <a:pt x="6617" y="13235"/>
                    </a:lnTo>
                    <a:cubicBezTo>
                      <a:pt x="2964" y="13235"/>
                      <a:pt x="0" y="10271"/>
                      <a:pt x="0" y="6618"/>
                    </a:cubicBezTo>
                    <a:cubicBezTo>
                      <a:pt x="0" y="2964"/>
                      <a:pt x="2964" y="0"/>
                      <a:pt x="6617" y="0"/>
                    </a:cubicBezTo>
                    <a:lnTo>
                      <a:pt x="6617" y="0"/>
                    </a:lnTo>
                    <a:lnTo>
                      <a:pt x="353513" y="30"/>
                    </a:lnTo>
                    <a:cubicBezTo>
                      <a:pt x="357166" y="30"/>
                      <a:pt x="360131" y="2994"/>
                      <a:pt x="360131" y="6647"/>
                    </a:cubicBezTo>
                    <a:cubicBezTo>
                      <a:pt x="360131" y="10301"/>
                      <a:pt x="357136" y="13265"/>
                      <a:pt x="353513" y="13265"/>
                    </a:cubicBezTo>
                    <a:close/>
                  </a:path>
                </a:pathLst>
              </a:custGeom>
              <a:grpFill/>
              <a:ln w="2991" cap="flat">
                <a:noFill/>
                <a:prstDash val="solid"/>
                <a:miter/>
              </a:ln>
            </p:spPr>
            <p:txBody>
              <a:bodyPr rtlCol="0" anchor="ctr"/>
              <a:lstStyle/>
              <a:p>
                <a:endParaRPr lang="en-GB" dirty="0"/>
              </a:p>
            </p:txBody>
          </p:sp>
          <p:sp>
            <p:nvSpPr>
              <p:cNvPr id="348" name="Freihandform: Form 347">
                <a:extLst>
                  <a:ext uri="{FF2B5EF4-FFF2-40B4-BE49-F238E27FC236}">
                    <a16:creationId xmlns:a16="http://schemas.microsoft.com/office/drawing/2014/main" id="{565282EE-5EFD-45D9-9D59-D2289378BA62}"/>
                  </a:ext>
                </a:extLst>
              </p:cNvPr>
              <p:cNvSpPr/>
              <p:nvPr/>
            </p:nvSpPr>
            <p:spPr>
              <a:xfrm>
                <a:off x="3661255" y="2739519"/>
                <a:ext cx="102601" cy="118127"/>
              </a:xfrm>
              <a:custGeom>
                <a:avLst/>
                <a:gdLst>
                  <a:gd name="connsiteX0" fmla="*/ 76161 w 102601"/>
                  <a:gd name="connsiteY0" fmla="*/ 118127 h 118127"/>
                  <a:gd name="connsiteX1" fmla="*/ 57447 w 102601"/>
                  <a:gd name="connsiteY1" fmla="*/ 110402 h 118127"/>
                  <a:gd name="connsiteX2" fmla="*/ 1931 w 102601"/>
                  <a:gd name="connsiteY2" fmla="*/ 54916 h 118127"/>
                  <a:gd name="connsiteX3" fmla="*/ 1931 w 102601"/>
                  <a:gd name="connsiteY3" fmla="*/ 45544 h 118127"/>
                  <a:gd name="connsiteX4" fmla="*/ 11304 w 102601"/>
                  <a:gd name="connsiteY4" fmla="*/ 45544 h 118127"/>
                  <a:gd name="connsiteX5" fmla="*/ 66789 w 102601"/>
                  <a:gd name="connsiteY5" fmla="*/ 101029 h 118127"/>
                  <a:gd name="connsiteX6" fmla="*/ 85474 w 102601"/>
                  <a:gd name="connsiteY6" fmla="*/ 101029 h 118127"/>
                  <a:gd name="connsiteX7" fmla="*/ 89366 w 102601"/>
                  <a:gd name="connsiteY7" fmla="*/ 91657 h 118127"/>
                  <a:gd name="connsiteX8" fmla="*/ 85474 w 102601"/>
                  <a:gd name="connsiteY8" fmla="*/ 82315 h 118127"/>
                  <a:gd name="connsiteX9" fmla="*/ 14148 w 102601"/>
                  <a:gd name="connsiteY9" fmla="*/ 11319 h 118127"/>
                  <a:gd name="connsiteX10" fmla="*/ 14118 w 102601"/>
                  <a:gd name="connsiteY10" fmla="*/ 1946 h 118127"/>
                  <a:gd name="connsiteX11" fmla="*/ 23491 w 102601"/>
                  <a:gd name="connsiteY11" fmla="*/ 1916 h 118127"/>
                  <a:gd name="connsiteX12" fmla="*/ 94816 w 102601"/>
                  <a:gd name="connsiteY12" fmla="*/ 72943 h 118127"/>
                  <a:gd name="connsiteX13" fmla="*/ 102601 w 102601"/>
                  <a:gd name="connsiteY13" fmla="*/ 91657 h 118127"/>
                  <a:gd name="connsiteX14" fmla="*/ 94846 w 102601"/>
                  <a:gd name="connsiteY14" fmla="*/ 110402 h 118127"/>
                  <a:gd name="connsiteX15" fmla="*/ 76161 w 102601"/>
                  <a:gd name="connsiteY15" fmla="*/ 118127 h 118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2601" h="118127">
                    <a:moveTo>
                      <a:pt x="76161" y="118127"/>
                    </a:moveTo>
                    <a:cubicBezTo>
                      <a:pt x="69394" y="118127"/>
                      <a:pt x="62627" y="115552"/>
                      <a:pt x="57447" y="110402"/>
                    </a:cubicBezTo>
                    <a:lnTo>
                      <a:pt x="1931" y="54916"/>
                    </a:lnTo>
                    <a:cubicBezTo>
                      <a:pt x="-644" y="52341"/>
                      <a:pt x="-644" y="48149"/>
                      <a:pt x="1931" y="45544"/>
                    </a:cubicBezTo>
                    <a:cubicBezTo>
                      <a:pt x="4507" y="42969"/>
                      <a:pt x="8699" y="42969"/>
                      <a:pt x="11304" y="45544"/>
                    </a:cubicBezTo>
                    <a:lnTo>
                      <a:pt x="66789" y="101029"/>
                    </a:lnTo>
                    <a:cubicBezTo>
                      <a:pt x="71939" y="106180"/>
                      <a:pt x="80323" y="106180"/>
                      <a:pt x="85474" y="101029"/>
                    </a:cubicBezTo>
                    <a:cubicBezTo>
                      <a:pt x="87989" y="98514"/>
                      <a:pt x="89366" y="95191"/>
                      <a:pt x="89366" y="91657"/>
                    </a:cubicBezTo>
                    <a:cubicBezTo>
                      <a:pt x="89366" y="88124"/>
                      <a:pt x="87989" y="84800"/>
                      <a:pt x="85474" y="82315"/>
                    </a:cubicBezTo>
                    <a:lnTo>
                      <a:pt x="14148" y="11319"/>
                    </a:lnTo>
                    <a:cubicBezTo>
                      <a:pt x="11573" y="8744"/>
                      <a:pt x="11543" y="4552"/>
                      <a:pt x="14118" y="1946"/>
                    </a:cubicBezTo>
                    <a:cubicBezTo>
                      <a:pt x="16693" y="-629"/>
                      <a:pt x="20886" y="-659"/>
                      <a:pt x="23491" y="1916"/>
                    </a:cubicBezTo>
                    <a:lnTo>
                      <a:pt x="94816" y="72943"/>
                    </a:lnTo>
                    <a:cubicBezTo>
                      <a:pt x="99817" y="77943"/>
                      <a:pt x="102601" y="84591"/>
                      <a:pt x="102601" y="91657"/>
                    </a:cubicBezTo>
                    <a:cubicBezTo>
                      <a:pt x="102601" y="98724"/>
                      <a:pt x="99847" y="105401"/>
                      <a:pt x="94846" y="110402"/>
                    </a:cubicBezTo>
                    <a:cubicBezTo>
                      <a:pt x="89696" y="115552"/>
                      <a:pt x="82929" y="118127"/>
                      <a:pt x="76161" y="118127"/>
                    </a:cubicBezTo>
                    <a:close/>
                  </a:path>
                </a:pathLst>
              </a:custGeom>
              <a:grpFill/>
              <a:ln w="2991" cap="flat">
                <a:noFill/>
                <a:prstDash val="solid"/>
                <a:miter/>
              </a:ln>
            </p:spPr>
            <p:txBody>
              <a:bodyPr rtlCol="0" anchor="ctr"/>
              <a:lstStyle/>
              <a:p>
                <a:endParaRPr lang="en-GB" dirty="0"/>
              </a:p>
            </p:txBody>
          </p:sp>
          <p:sp>
            <p:nvSpPr>
              <p:cNvPr id="349" name="Freihandform: Form 348">
                <a:extLst>
                  <a:ext uri="{FF2B5EF4-FFF2-40B4-BE49-F238E27FC236}">
                    <a16:creationId xmlns:a16="http://schemas.microsoft.com/office/drawing/2014/main" id="{BDA1CEE9-027E-40CC-B2C5-0881FB749C4B}"/>
                  </a:ext>
                </a:extLst>
              </p:cNvPr>
              <p:cNvSpPr/>
              <p:nvPr/>
            </p:nvSpPr>
            <p:spPr>
              <a:xfrm>
                <a:off x="3632689" y="2781470"/>
                <a:ext cx="81012" cy="83003"/>
              </a:xfrm>
              <a:custGeom>
                <a:avLst/>
                <a:gdLst>
                  <a:gd name="connsiteX0" fmla="*/ 54632 w 81012"/>
                  <a:gd name="connsiteY0" fmla="*/ 83004 h 83003"/>
                  <a:gd name="connsiteX1" fmla="*/ 54063 w 81012"/>
                  <a:gd name="connsiteY1" fmla="*/ 83004 h 83003"/>
                  <a:gd name="connsiteX2" fmla="*/ 36157 w 81012"/>
                  <a:gd name="connsiteY2" fmla="*/ 73691 h 83003"/>
                  <a:gd name="connsiteX3" fmla="*/ 1931 w 81012"/>
                  <a:gd name="connsiteY3" fmla="*/ 39496 h 83003"/>
                  <a:gd name="connsiteX4" fmla="*/ 1931 w 81012"/>
                  <a:gd name="connsiteY4" fmla="*/ 30123 h 83003"/>
                  <a:gd name="connsiteX5" fmla="*/ 11304 w 81012"/>
                  <a:gd name="connsiteY5" fmla="*/ 30123 h 83003"/>
                  <a:gd name="connsiteX6" fmla="*/ 45769 w 81012"/>
                  <a:gd name="connsiteY6" fmla="*/ 64588 h 83003"/>
                  <a:gd name="connsiteX7" fmla="*/ 54422 w 81012"/>
                  <a:gd name="connsiteY7" fmla="*/ 69768 h 83003"/>
                  <a:gd name="connsiteX8" fmla="*/ 63914 w 81012"/>
                  <a:gd name="connsiteY8" fmla="*/ 64858 h 83003"/>
                  <a:gd name="connsiteX9" fmla="*/ 67777 w 81012"/>
                  <a:gd name="connsiteY9" fmla="*/ 55485 h 83003"/>
                  <a:gd name="connsiteX10" fmla="*/ 63884 w 81012"/>
                  <a:gd name="connsiteY10" fmla="*/ 46143 h 83003"/>
                  <a:gd name="connsiteX11" fmla="*/ 28851 w 81012"/>
                  <a:gd name="connsiteY11" fmla="*/ 11319 h 83003"/>
                  <a:gd name="connsiteX12" fmla="*/ 28821 w 81012"/>
                  <a:gd name="connsiteY12" fmla="*/ 1946 h 83003"/>
                  <a:gd name="connsiteX13" fmla="*/ 38193 w 81012"/>
                  <a:gd name="connsiteY13" fmla="*/ 1916 h 83003"/>
                  <a:gd name="connsiteX14" fmla="*/ 73227 w 81012"/>
                  <a:gd name="connsiteY14" fmla="*/ 36741 h 83003"/>
                  <a:gd name="connsiteX15" fmla="*/ 81012 w 81012"/>
                  <a:gd name="connsiteY15" fmla="*/ 55455 h 83003"/>
                  <a:gd name="connsiteX16" fmla="*/ 73257 w 81012"/>
                  <a:gd name="connsiteY16" fmla="*/ 74200 h 83003"/>
                  <a:gd name="connsiteX17" fmla="*/ 54632 w 81012"/>
                  <a:gd name="connsiteY17" fmla="*/ 83004 h 8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012" h="83003">
                    <a:moveTo>
                      <a:pt x="54632" y="83004"/>
                    </a:moveTo>
                    <a:cubicBezTo>
                      <a:pt x="54452" y="83004"/>
                      <a:pt x="54243" y="83004"/>
                      <a:pt x="54063" y="83004"/>
                    </a:cubicBezTo>
                    <a:cubicBezTo>
                      <a:pt x="47565" y="82824"/>
                      <a:pt x="41547" y="79680"/>
                      <a:pt x="36157" y="73691"/>
                    </a:cubicBezTo>
                    <a:lnTo>
                      <a:pt x="1931" y="39496"/>
                    </a:lnTo>
                    <a:cubicBezTo>
                      <a:pt x="-644" y="36920"/>
                      <a:pt x="-644" y="32728"/>
                      <a:pt x="1931" y="30123"/>
                    </a:cubicBezTo>
                    <a:cubicBezTo>
                      <a:pt x="4506" y="27548"/>
                      <a:pt x="8699" y="27548"/>
                      <a:pt x="11304" y="30123"/>
                    </a:cubicBezTo>
                    <a:lnTo>
                      <a:pt x="45769" y="64588"/>
                    </a:lnTo>
                    <a:cubicBezTo>
                      <a:pt x="48883" y="68032"/>
                      <a:pt x="51697" y="69709"/>
                      <a:pt x="54422" y="69768"/>
                    </a:cubicBezTo>
                    <a:cubicBezTo>
                      <a:pt x="58135" y="69918"/>
                      <a:pt x="61609" y="67163"/>
                      <a:pt x="63914" y="64858"/>
                    </a:cubicBezTo>
                    <a:cubicBezTo>
                      <a:pt x="66430" y="62343"/>
                      <a:pt x="67777" y="59019"/>
                      <a:pt x="67777" y="55485"/>
                    </a:cubicBezTo>
                    <a:cubicBezTo>
                      <a:pt x="67777" y="51952"/>
                      <a:pt x="66400" y="48628"/>
                      <a:pt x="63884" y="46143"/>
                    </a:cubicBezTo>
                    <a:lnTo>
                      <a:pt x="28851" y="11319"/>
                    </a:lnTo>
                    <a:cubicBezTo>
                      <a:pt x="26245" y="8744"/>
                      <a:pt x="26245" y="4551"/>
                      <a:pt x="28821" y="1946"/>
                    </a:cubicBezTo>
                    <a:cubicBezTo>
                      <a:pt x="31396" y="-629"/>
                      <a:pt x="35588" y="-659"/>
                      <a:pt x="38193" y="1916"/>
                    </a:cubicBezTo>
                    <a:lnTo>
                      <a:pt x="73227" y="36741"/>
                    </a:lnTo>
                    <a:cubicBezTo>
                      <a:pt x="78257" y="41741"/>
                      <a:pt x="81012" y="48389"/>
                      <a:pt x="81012" y="55455"/>
                    </a:cubicBezTo>
                    <a:cubicBezTo>
                      <a:pt x="81012" y="62522"/>
                      <a:pt x="78257" y="69200"/>
                      <a:pt x="73257" y="74200"/>
                    </a:cubicBezTo>
                    <a:cubicBezTo>
                      <a:pt x="67508" y="79979"/>
                      <a:pt x="61100" y="83004"/>
                      <a:pt x="54632" y="83004"/>
                    </a:cubicBezTo>
                    <a:close/>
                  </a:path>
                </a:pathLst>
              </a:custGeom>
              <a:grpFill/>
              <a:ln w="2991" cap="flat">
                <a:noFill/>
                <a:prstDash val="solid"/>
                <a:miter/>
              </a:ln>
            </p:spPr>
            <p:txBody>
              <a:bodyPr rtlCol="0" anchor="ctr"/>
              <a:lstStyle/>
              <a:p>
                <a:endParaRPr lang="en-GB" dirty="0"/>
              </a:p>
            </p:txBody>
          </p:sp>
          <p:sp>
            <p:nvSpPr>
              <p:cNvPr id="350" name="Freihandform: Form 349">
                <a:extLst>
                  <a:ext uri="{FF2B5EF4-FFF2-40B4-BE49-F238E27FC236}">
                    <a16:creationId xmlns:a16="http://schemas.microsoft.com/office/drawing/2014/main" id="{E72C2DDE-2E93-46CC-BBAC-CD682870F6D1}"/>
                  </a:ext>
                </a:extLst>
              </p:cNvPr>
              <p:cNvSpPr/>
              <p:nvPr/>
            </p:nvSpPr>
            <p:spPr>
              <a:xfrm>
                <a:off x="3605530" y="2809710"/>
                <a:ext cx="69573" cy="70243"/>
              </a:xfrm>
              <a:custGeom>
                <a:avLst/>
                <a:gdLst>
                  <a:gd name="connsiteX0" fmla="*/ 43313 w 69573"/>
                  <a:gd name="connsiteY0" fmla="*/ 70244 h 70243"/>
                  <a:gd name="connsiteX1" fmla="*/ 42625 w 69573"/>
                  <a:gd name="connsiteY1" fmla="*/ 70244 h 70243"/>
                  <a:gd name="connsiteX2" fmla="*/ 24718 w 69573"/>
                  <a:gd name="connsiteY2" fmla="*/ 62009 h 70243"/>
                  <a:gd name="connsiteX3" fmla="*/ 1931 w 69573"/>
                  <a:gd name="connsiteY3" fmla="*/ 39252 h 70243"/>
                  <a:gd name="connsiteX4" fmla="*/ 1931 w 69573"/>
                  <a:gd name="connsiteY4" fmla="*/ 29880 h 70243"/>
                  <a:gd name="connsiteX5" fmla="*/ 11304 w 69573"/>
                  <a:gd name="connsiteY5" fmla="*/ 29880 h 70243"/>
                  <a:gd name="connsiteX6" fmla="*/ 34330 w 69573"/>
                  <a:gd name="connsiteY6" fmla="*/ 52907 h 70243"/>
                  <a:gd name="connsiteX7" fmla="*/ 42984 w 69573"/>
                  <a:gd name="connsiteY7" fmla="*/ 57009 h 70243"/>
                  <a:gd name="connsiteX8" fmla="*/ 52476 w 69573"/>
                  <a:gd name="connsiteY8" fmla="*/ 53176 h 70243"/>
                  <a:gd name="connsiteX9" fmla="*/ 56339 w 69573"/>
                  <a:gd name="connsiteY9" fmla="*/ 43804 h 70243"/>
                  <a:gd name="connsiteX10" fmla="*/ 52446 w 69573"/>
                  <a:gd name="connsiteY10" fmla="*/ 34461 h 70243"/>
                  <a:gd name="connsiteX11" fmla="*/ 29030 w 69573"/>
                  <a:gd name="connsiteY11" fmla="*/ 11345 h 70243"/>
                  <a:gd name="connsiteX12" fmla="*/ 28970 w 69573"/>
                  <a:gd name="connsiteY12" fmla="*/ 1973 h 70243"/>
                  <a:gd name="connsiteX13" fmla="*/ 38343 w 69573"/>
                  <a:gd name="connsiteY13" fmla="*/ 1913 h 70243"/>
                  <a:gd name="connsiteX14" fmla="*/ 61758 w 69573"/>
                  <a:gd name="connsiteY14" fmla="*/ 25029 h 70243"/>
                  <a:gd name="connsiteX15" fmla="*/ 69574 w 69573"/>
                  <a:gd name="connsiteY15" fmla="*/ 43774 h 70243"/>
                  <a:gd name="connsiteX16" fmla="*/ 61818 w 69573"/>
                  <a:gd name="connsiteY16" fmla="*/ 62518 h 70243"/>
                  <a:gd name="connsiteX17" fmla="*/ 43313 w 69573"/>
                  <a:gd name="connsiteY17" fmla="*/ 70244 h 70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9573" h="70243">
                    <a:moveTo>
                      <a:pt x="43313" y="70244"/>
                    </a:moveTo>
                    <a:cubicBezTo>
                      <a:pt x="43074" y="70244"/>
                      <a:pt x="42864" y="70244"/>
                      <a:pt x="42625" y="70244"/>
                    </a:cubicBezTo>
                    <a:cubicBezTo>
                      <a:pt x="35678" y="70064"/>
                      <a:pt x="29330" y="67130"/>
                      <a:pt x="24718" y="62009"/>
                    </a:cubicBezTo>
                    <a:lnTo>
                      <a:pt x="1931" y="39252"/>
                    </a:lnTo>
                    <a:cubicBezTo>
                      <a:pt x="-644" y="36677"/>
                      <a:pt x="-644" y="32485"/>
                      <a:pt x="1931" y="29880"/>
                    </a:cubicBezTo>
                    <a:cubicBezTo>
                      <a:pt x="4506" y="27305"/>
                      <a:pt x="8699" y="27305"/>
                      <a:pt x="11304" y="29880"/>
                    </a:cubicBezTo>
                    <a:lnTo>
                      <a:pt x="34330" y="52907"/>
                    </a:lnTo>
                    <a:cubicBezTo>
                      <a:pt x="36726" y="55572"/>
                      <a:pt x="39720" y="56919"/>
                      <a:pt x="42984" y="57009"/>
                    </a:cubicBezTo>
                    <a:cubicBezTo>
                      <a:pt x="46487" y="57099"/>
                      <a:pt x="49961" y="55691"/>
                      <a:pt x="52476" y="53176"/>
                    </a:cubicBezTo>
                    <a:cubicBezTo>
                      <a:pt x="54991" y="50661"/>
                      <a:pt x="56339" y="47337"/>
                      <a:pt x="56339" y="43804"/>
                    </a:cubicBezTo>
                    <a:cubicBezTo>
                      <a:pt x="56339" y="40270"/>
                      <a:pt x="54961" y="36947"/>
                      <a:pt x="52446" y="34461"/>
                    </a:cubicBezTo>
                    <a:lnTo>
                      <a:pt x="29030" y="11345"/>
                    </a:lnTo>
                    <a:cubicBezTo>
                      <a:pt x="26425" y="8770"/>
                      <a:pt x="26395" y="4578"/>
                      <a:pt x="28970" y="1973"/>
                    </a:cubicBezTo>
                    <a:cubicBezTo>
                      <a:pt x="31546" y="-632"/>
                      <a:pt x="35738" y="-662"/>
                      <a:pt x="38343" y="1913"/>
                    </a:cubicBezTo>
                    <a:lnTo>
                      <a:pt x="61758" y="25029"/>
                    </a:lnTo>
                    <a:cubicBezTo>
                      <a:pt x="66789" y="30030"/>
                      <a:pt x="69574" y="36677"/>
                      <a:pt x="69574" y="43774"/>
                    </a:cubicBezTo>
                    <a:cubicBezTo>
                      <a:pt x="69574" y="50841"/>
                      <a:pt x="66819" y="57518"/>
                      <a:pt x="61818" y="62518"/>
                    </a:cubicBezTo>
                    <a:cubicBezTo>
                      <a:pt x="56908" y="67459"/>
                      <a:pt x="50200" y="70244"/>
                      <a:pt x="43313" y="70244"/>
                    </a:cubicBezTo>
                    <a:close/>
                  </a:path>
                </a:pathLst>
              </a:custGeom>
              <a:grpFill/>
              <a:ln w="2991" cap="flat">
                <a:noFill/>
                <a:prstDash val="solid"/>
                <a:miter/>
              </a:ln>
            </p:spPr>
            <p:txBody>
              <a:bodyPr rtlCol="0" anchor="ctr"/>
              <a:lstStyle/>
              <a:p>
                <a:endParaRPr lang="en-GB" dirty="0"/>
              </a:p>
            </p:txBody>
          </p:sp>
          <p:sp>
            <p:nvSpPr>
              <p:cNvPr id="351" name="Freihandform: Form 350">
                <a:extLst>
                  <a:ext uri="{FF2B5EF4-FFF2-40B4-BE49-F238E27FC236}">
                    <a16:creationId xmlns:a16="http://schemas.microsoft.com/office/drawing/2014/main" id="{6234478F-22DF-41A4-A677-2655AFC177A1}"/>
                  </a:ext>
                </a:extLst>
              </p:cNvPr>
              <p:cNvSpPr/>
              <p:nvPr/>
            </p:nvSpPr>
            <p:spPr>
              <a:xfrm>
                <a:off x="3575212" y="2698990"/>
                <a:ext cx="110671" cy="95834"/>
              </a:xfrm>
              <a:custGeom>
                <a:avLst/>
                <a:gdLst>
                  <a:gd name="connsiteX0" fmla="*/ 26470 w 110671"/>
                  <a:gd name="connsiteY0" fmla="*/ 95834 h 95834"/>
                  <a:gd name="connsiteX1" fmla="*/ 7755 w 110671"/>
                  <a:gd name="connsiteY1" fmla="*/ 88079 h 95834"/>
                  <a:gd name="connsiteX2" fmla="*/ 0 w 110671"/>
                  <a:gd name="connsiteY2" fmla="*/ 69364 h 95834"/>
                  <a:gd name="connsiteX3" fmla="*/ 7755 w 110671"/>
                  <a:gd name="connsiteY3" fmla="*/ 50649 h 95834"/>
                  <a:gd name="connsiteX4" fmla="*/ 56474 w 110671"/>
                  <a:gd name="connsiteY4" fmla="*/ 1931 h 95834"/>
                  <a:gd name="connsiteX5" fmla="*/ 65846 w 110671"/>
                  <a:gd name="connsiteY5" fmla="*/ 1931 h 95834"/>
                  <a:gd name="connsiteX6" fmla="*/ 65846 w 110671"/>
                  <a:gd name="connsiteY6" fmla="*/ 11304 h 95834"/>
                  <a:gd name="connsiteX7" fmla="*/ 17128 w 110671"/>
                  <a:gd name="connsiteY7" fmla="*/ 60022 h 95834"/>
                  <a:gd name="connsiteX8" fmla="*/ 13235 w 110671"/>
                  <a:gd name="connsiteY8" fmla="*/ 69394 h 95834"/>
                  <a:gd name="connsiteX9" fmla="*/ 17128 w 110671"/>
                  <a:gd name="connsiteY9" fmla="*/ 78766 h 95834"/>
                  <a:gd name="connsiteX10" fmla="*/ 35842 w 110671"/>
                  <a:gd name="connsiteY10" fmla="*/ 78766 h 95834"/>
                  <a:gd name="connsiteX11" fmla="*/ 72943 w 110671"/>
                  <a:gd name="connsiteY11" fmla="*/ 41666 h 95834"/>
                  <a:gd name="connsiteX12" fmla="*/ 77614 w 110671"/>
                  <a:gd name="connsiteY12" fmla="*/ 39720 h 95834"/>
                  <a:gd name="connsiteX13" fmla="*/ 104054 w 110671"/>
                  <a:gd name="connsiteY13" fmla="*/ 39720 h 95834"/>
                  <a:gd name="connsiteX14" fmla="*/ 110671 w 110671"/>
                  <a:gd name="connsiteY14" fmla="*/ 46338 h 95834"/>
                  <a:gd name="connsiteX15" fmla="*/ 104054 w 110671"/>
                  <a:gd name="connsiteY15" fmla="*/ 52955 h 95834"/>
                  <a:gd name="connsiteX16" fmla="*/ 80369 w 110671"/>
                  <a:gd name="connsiteY16" fmla="*/ 52955 h 95834"/>
                  <a:gd name="connsiteX17" fmla="*/ 45215 w 110671"/>
                  <a:gd name="connsiteY17" fmla="*/ 88109 h 95834"/>
                  <a:gd name="connsiteX18" fmla="*/ 26470 w 110671"/>
                  <a:gd name="connsiteY18" fmla="*/ 95834 h 95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0671" h="95834">
                    <a:moveTo>
                      <a:pt x="26470" y="95834"/>
                    </a:moveTo>
                    <a:cubicBezTo>
                      <a:pt x="19703" y="95834"/>
                      <a:pt x="12906" y="93259"/>
                      <a:pt x="7755" y="88079"/>
                    </a:cubicBezTo>
                    <a:cubicBezTo>
                      <a:pt x="2755" y="83078"/>
                      <a:pt x="0" y="76431"/>
                      <a:pt x="0" y="69364"/>
                    </a:cubicBezTo>
                    <a:cubicBezTo>
                      <a:pt x="0" y="62298"/>
                      <a:pt x="2755" y="55650"/>
                      <a:pt x="7755" y="50649"/>
                    </a:cubicBezTo>
                    <a:lnTo>
                      <a:pt x="56474" y="1931"/>
                    </a:lnTo>
                    <a:cubicBezTo>
                      <a:pt x="59049" y="-644"/>
                      <a:pt x="63241" y="-644"/>
                      <a:pt x="65846" y="1931"/>
                    </a:cubicBezTo>
                    <a:cubicBezTo>
                      <a:pt x="68421" y="4506"/>
                      <a:pt x="68421" y="8699"/>
                      <a:pt x="65846" y="11304"/>
                    </a:cubicBezTo>
                    <a:lnTo>
                      <a:pt x="17128" y="60022"/>
                    </a:lnTo>
                    <a:cubicBezTo>
                      <a:pt x="14612" y="62537"/>
                      <a:pt x="13235" y="65861"/>
                      <a:pt x="13235" y="69394"/>
                    </a:cubicBezTo>
                    <a:cubicBezTo>
                      <a:pt x="13235" y="72927"/>
                      <a:pt x="14612" y="76251"/>
                      <a:pt x="17128" y="78766"/>
                    </a:cubicBezTo>
                    <a:cubicBezTo>
                      <a:pt x="22278" y="83917"/>
                      <a:pt x="30692" y="83917"/>
                      <a:pt x="35842" y="78766"/>
                    </a:cubicBezTo>
                    <a:lnTo>
                      <a:pt x="72943" y="41666"/>
                    </a:lnTo>
                    <a:cubicBezTo>
                      <a:pt x="74170" y="40439"/>
                      <a:pt x="75877" y="39720"/>
                      <a:pt x="77614" y="39720"/>
                    </a:cubicBezTo>
                    <a:lnTo>
                      <a:pt x="104054" y="39720"/>
                    </a:lnTo>
                    <a:cubicBezTo>
                      <a:pt x="107707" y="39720"/>
                      <a:pt x="110671" y="42684"/>
                      <a:pt x="110671" y="46338"/>
                    </a:cubicBezTo>
                    <a:cubicBezTo>
                      <a:pt x="110671" y="49991"/>
                      <a:pt x="107707" y="52955"/>
                      <a:pt x="104054" y="52955"/>
                    </a:cubicBezTo>
                    <a:lnTo>
                      <a:pt x="80369" y="52955"/>
                    </a:lnTo>
                    <a:lnTo>
                      <a:pt x="45215" y="88109"/>
                    </a:lnTo>
                    <a:cubicBezTo>
                      <a:pt x="40034" y="93229"/>
                      <a:pt x="33237" y="95834"/>
                      <a:pt x="26470" y="95834"/>
                    </a:cubicBezTo>
                    <a:close/>
                  </a:path>
                </a:pathLst>
              </a:custGeom>
              <a:grpFill/>
              <a:ln w="2991" cap="flat">
                <a:noFill/>
                <a:prstDash val="solid"/>
                <a:miter/>
              </a:ln>
            </p:spPr>
            <p:txBody>
              <a:bodyPr rtlCol="0" anchor="ctr"/>
              <a:lstStyle/>
              <a:p>
                <a:endParaRPr lang="en-GB" dirty="0"/>
              </a:p>
            </p:txBody>
          </p:sp>
          <p:sp>
            <p:nvSpPr>
              <p:cNvPr id="352" name="Freihandform: Form 351">
                <a:extLst>
                  <a:ext uri="{FF2B5EF4-FFF2-40B4-BE49-F238E27FC236}">
                    <a16:creationId xmlns:a16="http://schemas.microsoft.com/office/drawing/2014/main" id="{9D10C6A4-E111-404B-9134-BB8B448E89A5}"/>
                  </a:ext>
                </a:extLst>
              </p:cNvPr>
              <p:cNvSpPr/>
              <p:nvPr/>
            </p:nvSpPr>
            <p:spPr>
              <a:xfrm>
                <a:off x="3750412" y="2824738"/>
                <a:ext cx="57072" cy="13235"/>
              </a:xfrm>
              <a:custGeom>
                <a:avLst/>
                <a:gdLst>
                  <a:gd name="connsiteX0" fmla="*/ 50455 w 57072"/>
                  <a:gd name="connsiteY0" fmla="*/ 13235 h 13235"/>
                  <a:gd name="connsiteX1" fmla="*/ 6618 w 57072"/>
                  <a:gd name="connsiteY1" fmla="*/ 13235 h 13235"/>
                  <a:gd name="connsiteX2" fmla="*/ 0 w 57072"/>
                  <a:gd name="connsiteY2" fmla="*/ 6618 h 13235"/>
                  <a:gd name="connsiteX3" fmla="*/ 6618 w 57072"/>
                  <a:gd name="connsiteY3" fmla="*/ 0 h 13235"/>
                  <a:gd name="connsiteX4" fmla="*/ 50455 w 57072"/>
                  <a:gd name="connsiteY4" fmla="*/ 0 h 13235"/>
                  <a:gd name="connsiteX5" fmla="*/ 57072 w 57072"/>
                  <a:gd name="connsiteY5" fmla="*/ 6618 h 13235"/>
                  <a:gd name="connsiteX6" fmla="*/ 50455 w 57072"/>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072" h="13235">
                    <a:moveTo>
                      <a:pt x="50455" y="13235"/>
                    </a:moveTo>
                    <a:lnTo>
                      <a:pt x="6618" y="13235"/>
                    </a:lnTo>
                    <a:cubicBezTo>
                      <a:pt x="2964" y="13235"/>
                      <a:pt x="0" y="10271"/>
                      <a:pt x="0" y="6618"/>
                    </a:cubicBezTo>
                    <a:cubicBezTo>
                      <a:pt x="0" y="2964"/>
                      <a:pt x="2964" y="0"/>
                      <a:pt x="6618" y="0"/>
                    </a:cubicBezTo>
                    <a:lnTo>
                      <a:pt x="50455" y="0"/>
                    </a:lnTo>
                    <a:cubicBezTo>
                      <a:pt x="54108" y="0"/>
                      <a:pt x="57072" y="2964"/>
                      <a:pt x="57072" y="6618"/>
                    </a:cubicBezTo>
                    <a:cubicBezTo>
                      <a:pt x="57072" y="10271"/>
                      <a:pt x="54108" y="13235"/>
                      <a:pt x="50455" y="13235"/>
                    </a:cubicBezTo>
                    <a:close/>
                  </a:path>
                </a:pathLst>
              </a:custGeom>
              <a:grpFill/>
              <a:ln w="2991" cap="flat">
                <a:noFill/>
                <a:prstDash val="solid"/>
                <a:miter/>
              </a:ln>
            </p:spPr>
            <p:txBody>
              <a:bodyPr rtlCol="0" anchor="ctr"/>
              <a:lstStyle/>
              <a:p>
                <a:endParaRPr lang="en-GB" dirty="0"/>
              </a:p>
            </p:txBody>
          </p:sp>
        </p:grpSp>
        <p:grpSp>
          <p:nvGrpSpPr>
            <p:cNvPr id="338" name="Grafik 306">
              <a:extLst>
                <a:ext uri="{FF2B5EF4-FFF2-40B4-BE49-F238E27FC236}">
                  <a16:creationId xmlns:a16="http://schemas.microsoft.com/office/drawing/2014/main" id="{6E7B85AF-DC82-47C5-AE82-733710127B30}"/>
                </a:ext>
              </a:extLst>
            </p:cNvPr>
            <p:cNvGrpSpPr/>
            <p:nvPr/>
          </p:nvGrpSpPr>
          <p:grpSpPr>
            <a:xfrm>
              <a:off x="3769412" y="2449341"/>
              <a:ext cx="274343" cy="229182"/>
              <a:chOff x="3468343" y="2430561"/>
              <a:chExt cx="294135" cy="245716"/>
            </a:xfrm>
            <a:solidFill>
              <a:schemeClr val="accent1"/>
            </a:solidFill>
          </p:grpSpPr>
          <p:sp>
            <p:nvSpPr>
              <p:cNvPr id="339" name="Freihandform: Form 338">
                <a:extLst>
                  <a:ext uri="{FF2B5EF4-FFF2-40B4-BE49-F238E27FC236}">
                    <a16:creationId xmlns:a16="http://schemas.microsoft.com/office/drawing/2014/main" id="{D29310C4-DFD7-4B8D-8861-ACD9E9B603DA}"/>
                  </a:ext>
                </a:extLst>
              </p:cNvPr>
              <p:cNvSpPr/>
              <p:nvPr/>
            </p:nvSpPr>
            <p:spPr>
              <a:xfrm>
                <a:off x="3516763" y="2430561"/>
                <a:ext cx="245716" cy="245716"/>
              </a:xfrm>
              <a:custGeom>
                <a:avLst/>
                <a:gdLst>
                  <a:gd name="connsiteX0" fmla="*/ 122888 w 245716"/>
                  <a:gd name="connsiteY0" fmla="*/ 245717 h 245716"/>
                  <a:gd name="connsiteX1" fmla="*/ 36262 w 245716"/>
                  <a:gd name="connsiteY1" fmla="*/ 209994 h 245716"/>
                  <a:gd name="connsiteX2" fmla="*/ 36232 w 245716"/>
                  <a:gd name="connsiteY2" fmla="*/ 200622 h 245716"/>
                  <a:gd name="connsiteX3" fmla="*/ 45604 w 245716"/>
                  <a:gd name="connsiteY3" fmla="*/ 200592 h 245716"/>
                  <a:gd name="connsiteX4" fmla="*/ 122888 w 245716"/>
                  <a:gd name="connsiteY4" fmla="*/ 232481 h 245716"/>
                  <a:gd name="connsiteX5" fmla="*/ 232511 w 245716"/>
                  <a:gd name="connsiteY5" fmla="*/ 122858 h 245716"/>
                  <a:gd name="connsiteX6" fmla="*/ 122888 w 245716"/>
                  <a:gd name="connsiteY6" fmla="*/ 13235 h 245716"/>
                  <a:gd name="connsiteX7" fmla="*/ 13265 w 245716"/>
                  <a:gd name="connsiteY7" fmla="*/ 122858 h 245716"/>
                  <a:gd name="connsiteX8" fmla="*/ 27787 w 245716"/>
                  <a:gd name="connsiteY8" fmla="*/ 177415 h 245716"/>
                  <a:gd name="connsiteX9" fmla="*/ 25332 w 245716"/>
                  <a:gd name="connsiteY9" fmla="*/ 186458 h 245716"/>
                  <a:gd name="connsiteX10" fmla="*/ 16289 w 245716"/>
                  <a:gd name="connsiteY10" fmla="*/ 184003 h 245716"/>
                  <a:gd name="connsiteX11" fmla="*/ 0 w 245716"/>
                  <a:gd name="connsiteY11" fmla="*/ 122858 h 245716"/>
                  <a:gd name="connsiteX12" fmla="*/ 122858 w 245716"/>
                  <a:gd name="connsiteY12" fmla="*/ 0 h 245716"/>
                  <a:gd name="connsiteX13" fmla="*/ 245717 w 245716"/>
                  <a:gd name="connsiteY13" fmla="*/ 122858 h 245716"/>
                  <a:gd name="connsiteX14" fmla="*/ 122888 w 245716"/>
                  <a:gd name="connsiteY14" fmla="*/ 245717 h 245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5716" h="245716">
                    <a:moveTo>
                      <a:pt x="122888" y="245717"/>
                    </a:moveTo>
                    <a:cubicBezTo>
                      <a:pt x="90220" y="245717"/>
                      <a:pt x="59438" y="233021"/>
                      <a:pt x="36262" y="209994"/>
                    </a:cubicBezTo>
                    <a:cubicBezTo>
                      <a:pt x="33656" y="207419"/>
                      <a:pt x="33656" y="203227"/>
                      <a:pt x="36232" y="200622"/>
                    </a:cubicBezTo>
                    <a:cubicBezTo>
                      <a:pt x="38807" y="198017"/>
                      <a:pt x="42999" y="198017"/>
                      <a:pt x="45604" y="200592"/>
                    </a:cubicBezTo>
                    <a:cubicBezTo>
                      <a:pt x="66295" y="221163"/>
                      <a:pt x="93723" y="232481"/>
                      <a:pt x="122888" y="232481"/>
                    </a:cubicBezTo>
                    <a:cubicBezTo>
                      <a:pt x="183344" y="232481"/>
                      <a:pt x="232511" y="183314"/>
                      <a:pt x="232511" y="122858"/>
                    </a:cubicBezTo>
                    <a:cubicBezTo>
                      <a:pt x="232511" y="62402"/>
                      <a:pt x="183344" y="13235"/>
                      <a:pt x="122888" y="13235"/>
                    </a:cubicBezTo>
                    <a:cubicBezTo>
                      <a:pt x="62432" y="13235"/>
                      <a:pt x="13265" y="62402"/>
                      <a:pt x="13265" y="122858"/>
                    </a:cubicBezTo>
                    <a:cubicBezTo>
                      <a:pt x="13265" y="142022"/>
                      <a:pt x="18295" y="160887"/>
                      <a:pt x="27787" y="177415"/>
                    </a:cubicBezTo>
                    <a:cubicBezTo>
                      <a:pt x="29614" y="180589"/>
                      <a:pt x="28506" y="184632"/>
                      <a:pt x="25332" y="186458"/>
                    </a:cubicBezTo>
                    <a:cubicBezTo>
                      <a:pt x="22158" y="188285"/>
                      <a:pt x="18116" y="187177"/>
                      <a:pt x="16289" y="184003"/>
                    </a:cubicBezTo>
                    <a:cubicBezTo>
                      <a:pt x="5629" y="165468"/>
                      <a:pt x="0" y="144328"/>
                      <a:pt x="0" y="122858"/>
                    </a:cubicBezTo>
                    <a:cubicBezTo>
                      <a:pt x="0" y="55126"/>
                      <a:pt x="55126" y="0"/>
                      <a:pt x="122858" y="0"/>
                    </a:cubicBezTo>
                    <a:cubicBezTo>
                      <a:pt x="190590" y="0"/>
                      <a:pt x="245717" y="55126"/>
                      <a:pt x="245717" y="122858"/>
                    </a:cubicBezTo>
                    <a:cubicBezTo>
                      <a:pt x="245747" y="190620"/>
                      <a:pt x="190650" y="245717"/>
                      <a:pt x="122888" y="245717"/>
                    </a:cubicBezTo>
                    <a:close/>
                  </a:path>
                </a:pathLst>
              </a:custGeom>
              <a:solidFill>
                <a:schemeClr val="accent1"/>
              </a:solidFill>
              <a:ln w="2991" cap="flat">
                <a:noFill/>
                <a:prstDash val="solid"/>
                <a:miter/>
              </a:ln>
            </p:spPr>
            <p:txBody>
              <a:bodyPr rtlCol="0" anchor="ctr"/>
              <a:lstStyle/>
              <a:p>
                <a:endParaRPr lang="en-GB" dirty="0"/>
              </a:p>
            </p:txBody>
          </p:sp>
          <p:sp>
            <p:nvSpPr>
              <p:cNvPr id="340" name="Freihandform: Form 339">
                <a:extLst>
                  <a:ext uri="{FF2B5EF4-FFF2-40B4-BE49-F238E27FC236}">
                    <a16:creationId xmlns:a16="http://schemas.microsoft.com/office/drawing/2014/main" id="{D12445E2-4F70-44B9-827A-D770C1475888}"/>
                  </a:ext>
                </a:extLst>
              </p:cNvPr>
              <p:cNvSpPr/>
              <p:nvPr/>
            </p:nvSpPr>
            <p:spPr>
              <a:xfrm>
                <a:off x="3595843" y="2509642"/>
                <a:ext cx="87614" cy="87614"/>
              </a:xfrm>
              <a:custGeom>
                <a:avLst/>
                <a:gdLst>
                  <a:gd name="connsiteX0" fmla="*/ 43807 w 87614"/>
                  <a:gd name="connsiteY0" fmla="*/ 87615 h 87614"/>
                  <a:gd name="connsiteX1" fmla="*/ 27967 w 87614"/>
                  <a:gd name="connsiteY1" fmla="*/ 84650 h 87614"/>
                  <a:gd name="connsiteX2" fmla="*/ 24194 w 87614"/>
                  <a:gd name="connsiteY2" fmla="*/ 76087 h 87614"/>
                  <a:gd name="connsiteX3" fmla="*/ 32758 w 87614"/>
                  <a:gd name="connsiteY3" fmla="*/ 72314 h 87614"/>
                  <a:gd name="connsiteX4" fmla="*/ 43837 w 87614"/>
                  <a:gd name="connsiteY4" fmla="*/ 74380 h 87614"/>
                  <a:gd name="connsiteX5" fmla="*/ 74410 w 87614"/>
                  <a:gd name="connsiteY5" fmla="*/ 43807 h 87614"/>
                  <a:gd name="connsiteX6" fmla="*/ 43837 w 87614"/>
                  <a:gd name="connsiteY6" fmla="*/ 13235 h 87614"/>
                  <a:gd name="connsiteX7" fmla="*/ 13265 w 87614"/>
                  <a:gd name="connsiteY7" fmla="*/ 43807 h 87614"/>
                  <a:gd name="connsiteX8" fmla="*/ 16948 w 87614"/>
                  <a:gd name="connsiteY8" fmla="*/ 58390 h 87614"/>
                  <a:gd name="connsiteX9" fmla="*/ 14283 w 87614"/>
                  <a:gd name="connsiteY9" fmla="*/ 67373 h 87614"/>
                  <a:gd name="connsiteX10" fmla="*/ 5300 w 87614"/>
                  <a:gd name="connsiteY10" fmla="*/ 64708 h 87614"/>
                  <a:gd name="connsiteX11" fmla="*/ 0 w 87614"/>
                  <a:gd name="connsiteY11" fmla="*/ 43807 h 87614"/>
                  <a:gd name="connsiteX12" fmla="*/ 43807 w 87614"/>
                  <a:gd name="connsiteY12" fmla="*/ 0 h 87614"/>
                  <a:gd name="connsiteX13" fmla="*/ 87615 w 87614"/>
                  <a:gd name="connsiteY13" fmla="*/ 43807 h 87614"/>
                  <a:gd name="connsiteX14" fmla="*/ 43807 w 87614"/>
                  <a:gd name="connsiteY14" fmla="*/ 87615 h 87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614" h="87614">
                    <a:moveTo>
                      <a:pt x="43807" y="87615"/>
                    </a:moveTo>
                    <a:cubicBezTo>
                      <a:pt x="38358" y="87615"/>
                      <a:pt x="33028" y="86627"/>
                      <a:pt x="27967" y="84650"/>
                    </a:cubicBezTo>
                    <a:cubicBezTo>
                      <a:pt x="24554" y="83333"/>
                      <a:pt x="22877" y="79500"/>
                      <a:pt x="24194" y="76087"/>
                    </a:cubicBezTo>
                    <a:cubicBezTo>
                      <a:pt x="25512" y="72673"/>
                      <a:pt x="29375" y="70966"/>
                      <a:pt x="32758" y="72314"/>
                    </a:cubicBezTo>
                    <a:cubicBezTo>
                      <a:pt x="36292" y="73691"/>
                      <a:pt x="40005" y="74380"/>
                      <a:pt x="43837" y="74380"/>
                    </a:cubicBezTo>
                    <a:cubicBezTo>
                      <a:pt x="60696" y="74380"/>
                      <a:pt x="74410" y="60666"/>
                      <a:pt x="74410" y="43807"/>
                    </a:cubicBezTo>
                    <a:cubicBezTo>
                      <a:pt x="74410" y="26949"/>
                      <a:pt x="60696" y="13235"/>
                      <a:pt x="43837" y="13235"/>
                    </a:cubicBezTo>
                    <a:cubicBezTo>
                      <a:pt x="26979" y="13235"/>
                      <a:pt x="13265" y="26949"/>
                      <a:pt x="13265" y="43807"/>
                    </a:cubicBezTo>
                    <a:cubicBezTo>
                      <a:pt x="13265" y="48898"/>
                      <a:pt x="14553" y="53928"/>
                      <a:pt x="16948" y="58390"/>
                    </a:cubicBezTo>
                    <a:cubicBezTo>
                      <a:pt x="18685" y="61594"/>
                      <a:pt x="17517" y="65636"/>
                      <a:pt x="14283" y="67373"/>
                    </a:cubicBezTo>
                    <a:cubicBezTo>
                      <a:pt x="11079" y="69110"/>
                      <a:pt x="7037" y="67912"/>
                      <a:pt x="5300" y="64708"/>
                    </a:cubicBezTo>
                    <a:cubicBezTo>
                      <a:pt x="1827" y="58330"/>
                      <a:pt x="0" y="51114"/>
                      <a:pt x="0" y="43807"/>
                    </a:cubicBezTo>
                    <a:cubicBezTo>
                      <a:pt x="0" y="19643"/>
                      <a:pt x="19643" y="0"/>
                      <a:pt x="43807" y="0"/>
                    </a:cubicBezTo>
                    <a:cubicBezTo>
                      <a:pt x="67972" y="0"/>
                      <a:pt x="87615" y="19643"/>
                      <a:pt x="87615" y="43807"/>
                    </a:cubicBezTo>
                    <a:cubicBezTo>
                      <a:pt x="87645" y="67942"/>
                      <a:pt x="67972" y="87615"/>
                      <a:pt x="43807" y="87615"/>
                    </a:cubicBezTo>
                    <a:close/>
                  </a:path>
                </a:pathLst>
              </a:custGeom>
              <a:solidFill>
                <a:schemeClr val="accent1"/>
              </a:solidFill>
              <a:ln w="2991" cap="flat">
                <a:noFill/>
                <a:prstDash val="solid"/>
                <a:miter/>
              </a:ln>
            </p:spPr>
            <p:txBody>
              <a:bodyPr rtlCol="0" anchor="ctr"/>
              <a:lstStyle/>
              <a:p>
                <a:endParaRPr lang="en-GB" dirty="0"/>
              </a:p>
            </p:txBody>
          </p:sp>
          <p:sp>
            <p:nvSpPr>
              <p:cNvPr id="341" name="Freihandform: Form 340">
                <a:extLst>
                  <a:ext uri="{FF2B5EF4-FFF2-40B4-BE49-F238E27FC236}">
                    <a16:creationId xmlns:a16="http://schemas.microsoft.com/office/drawing/2014/main" id="{F4183AB5-1659-47C4-8DCF-7C743E9D6A3D}"/>
                  </a:ext>
                </a:extLst>
              </p:cNvPr>
              <p:cNvSpPr/>
              <p:nvPr/>
            </p:nvSpPr>
            <p:spPr>
              <a:xfrm>
                <a:off x="3554012" y="2467781"/>
                <a:ext cx="171336" cy="171306"/>
              </a:xfrm>
              <a:custGeom>
                <a:avLst/>
                <a:gdLst>
                  <a:gd name="connsiteX0" fmla="*/ 85638 w 171336"/>
                  <a:gd name="connsiteY0" fmla="*/ 171307 h 171306"/>
                  <a:gd name="connsiteX1" fmla="*/ 31261 w 171336"/>
                  <a:gd name="connsiteY1" fmla="*/ 151844 h 171306"/>
                  <a:gd name="connsiteX2" fmla="*/ 30363 w 171336"/>
                  <a:gd name="connsiteY2" fmla="*/ 142531 h 171306"/>
                  <a:gd name="connsiteX3" fmla="*/ 39675 w 171336"/>
                  <a:gd name="connsiteY3" fmla="*/ 141633 h 171306"/>
                  <a:gd name="connsiteX4" fmla="*/ 85638 w 171336"/>
                  <a:gd name="connsiteY4" fmla="*/ 158072 h 171306"/>
                  <a:gd name="connsiteX5" fmla="*/ 158042 w 171336"/>
                  <a:gd name="connsiteY5" fmla="*/ 85639 h 171306"/>
                  <a:gd name="connsiteX6" fmla="*/ 85638 w 171336"/>
                  <a:gd name="connsiteY6" fmla="*/ 13205 h 171306"/>
                  <a:gd name="connsiteX7" fmla="*/ 13205 w 171336"/>
                  <a:gd name="connsiteY7" fmla="*/ 85639 h 171306"/>
                  <a:gd name="connsiteX8" fmla="*/ 22937 w 171336"/>
                  <a:gd name="connsiteY8" fmla="*/ 121930 h 171306"/>
                  <a:gd name="connsiteX9" fmla="*/ 20541 w 171336"/>
                  <a:gd name="connsiteY9" fmla="*/ 130973 h 171306"/>
                  <a:gd name="connsiteX10" fmla="*/ 11498 w 171336"/>
                  <a:gd name="connsiteY10" fmla="*/ 128578 h 171306"/>
                  <a:gd name="connsiteX11" fmla="*/ 0 w 171336"/>
                  <a:gd name="connsiteY11" fmla="*/ 85668 h 171306"/>
                  <a:gd name="connsiteX12" fmla="*/ 85668 w 171336"/>
                  <a:gd name="connsiteY12" fmla="*/ 0 h 171306"/>
                  <a:gd name="connsiteX13" fmla="*/ 171337 w 171336"/>
                  <a:gd name="connsiteY13" fmla="*/ 85668 h 171306"/>
                  <a:gd name="connsiteX14" fmla="*/ 85638 w 171336"/>
                  <a:gd name="connsiteY14" fmla="*/ 171307 h 171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336" h="171306">
                    <a:moveTo>
                      <a:pt x="85638" y="171307"/>
                    </a:moveTo>
                    <a:cubicBezTo>
                      <a:pt x="65846" y="171307"/>
                      <a:pt x="46532" y="164390"/>
                      <a:pt x="31261" y="151844"/>
                    </a:cubicBezTo>
                    <a:cubicBezTo>
                      <a:pt x="28446" y="149508"/>
                      <a:pt x="28027" y="145346"/>
                      <a:pt x="30363" y="142531"/>
                    </a:cubicBezTo>
                    <a:cubicBezTo>
                      <a:pt x="32668" y="139717"/>
                      <a:pt x="36860" y="139297"/>
                      <a:pt x="39675" y="141633"/>
                    </a:cubicBezTo>
                    <a:cubicBezTo>
                      <a:pt x="52581" y="152233"/>
                      <a:pt x="68900" y="158072"/>
                      <a:pt x="85638" y="158072"/>
                    </a:cubicBezTo>
                    <a:cubicBezTo>
                      <a:pt x="125553" y="158072"/>
                      <a:pt x="158042" y="125583"/>
                      <a:pt x="158042" y="85639"/>
                    </a:cubicBezTo>
                    <a:cubicBezTo>
                      <a:pt x="158042" y="45694"/>
                      <a:pt x="125553" y="13205"/>
                      <a:pt x="85638" y="13205"/>
                    </a:cubicBezTo>
                    <a:cubicBezTo>
                      <a:pt x="45694" y="13205"/>
                      <a:pt x="13205" y="45694"/>
                      <a:pt x="13205" y="85639"/>
                    </a:cubicBezTo>
                    <a:cubicBezTo>
                      <a:pt x="13205" y="98394"/>
                      <a:pt x="16559" y="110941"/>
                      <a:pt x="22937" y="121930"/>
                    </a:cubicBezTo>
                    <a:cubicBezTo>
                      <a:pt x="24763" y="125104"/>
                      <a:pt x="23685" y="129146"/>
                      <a:pt x="20541" y="130973"/>
                    </a:cubicBezTo>
                    <a:cubicBezTo>
                      <a:pt x="17367" y="132800"/>
                      <a:pt x="13325" y="131722"/>
                      <a:pt x="11498" y="128578"/>
                    </a:cubicBezTo>
                    <a:cubicBezTo>
                      <a:pt x="3982" y="115582"/>
                      <a:pt x="0" y="100760"/>
                      <a:pt x="0" y="85668"/>
                    </a:cubicBezTo>
                    <a:cubicBezTo>
                      <a:pt x="0" y="38447"/>
                      <a:pt x="38417" y="0"/>
                      <a:pt x="85668" y="0"/>
                    </a:cubicBezTo>
                    <a:cubicBezTo>
                      <a:pt x="132889" y="0"/>
                      <a:pt x="171337" y="38418"/>
                      <a:pt x="171337" y="85668"/>
                    </a:cubicBezTo>
                    <a:cubicBezTo>
                      <a:pt x="171307" y="132889"/>
                      <a:pt x="132889" y="171307"/>
                      <a:pt x="85638" y="171307"/>
                    </a:cubicBezTo>
                    <a:close/>
                  </a:path>
                </a:pathLst>
              </a:custGeom>
              <a:solidFill>
                <a:schemeClr val="accent1"/>
              </a:solidFill>
              <a:ln w="2991" cap="flat">
                <a:noFill/>
                <a:prstDash val="solid"/>
                <a:miter/>
              </a:ln>
            </p:spPr>
            <p:txBody>
              <a:bodyPr rtlCol="0" anchor="ctr"/>
              <a:lstStyle/>
              <a:p>
                <a:endParaRPr lang="en-GB" dirty="0"/>
              </a:p>
            </p:txBody>
          </p:sp>
          <p:grpSp>
            <p:nvGrpSpPr>
              <p:cNvPr id="342" name="Grafik 306">
                <a:extLst>
                  <a:ext uri="{FF2B5EF4-FFF2-40B4-BE49-F238E27FC236}">
                    <a16:creationId xmlns:a16="http://schemas.microsoft.com/office/drawing/2014/main" id="{7D97703F-F3EE-4D7A-95FB-32F7631A3291}"/>
                  </a:ext>
                </a:extLst>
              </p:cNvPr>
              <p:cNvGrpSpPr/>
              <p:nvPr/>
            </p:nvGrpSpPr>
            <p:grpSpPr>
              <a:xfrm>
                <a:off x="3468343" y="2546812"/>
                <a:ext cx="177885" cy="121740"/>
                <a:chOff x="3468343" y="2546812"/>
                <a:chExt cx="177885" cy="121740"/>
              </a:xfrm>
              <a:solidFill>
                <a:schemeClr val="accent1"/>
              </a:solidFill>
            </p:grpSpPr>
            <p:sp>
              <p:nvSpPr>
                <p:cNvPr id="343" name="Freihandform: Form 342">
                  <a:extLst>
                    <a:ext uri="{FF2B5EF4-FFF2-40B4-BE49-F238E27FC236}">
                      <a16:creationId xmlns:a16="http://schemas.microsoft.com/office/drawing/2014/main" id="{0A2EAC30-4D42-4656-AABB-D6360E673D3D}"/>
                    </a:ext>
                  </a:extLst>
                </p:cNvPr>
                <p:cNvSpPr/>
                <p:nvPr/>
              </p:nvSpPr>
              <p:spPr>
                <a:xfrm>
                  <a:off x="3468343" y="2598799"/>
                  <a:ext cx="65158" cy="42624"/>
                </a:xfrm>
                <a:custGeom>
                  <a:avLst/>
                  <a:gdLst>
                    <a:gd name="connsiteX0" fmla="*/ 30333 w 65158"/>
                    <a:gd name="connsiteY0" fmla="*/ 42625 h 42624"/>
                    <a:gd name="connsiteX1" fmla="*/ 27129 w 65158"/>
                    <a:gd name="connsiteY1" fmla="*/ 41786 h 42624"/>
                    <a:gd name="connsiteX2" fmla="*/ 3414 w 65158"/>
                    <a:gd name="connsiteY2" fmla="*/ 28641 h 42624"/>
                    <a:gd name="connsiteX3" fmla="*/ 1 w 65158"/>
                    <a:gd name="connsiteY3" fmla="*/ 22922 h 42624"/>
                    <a:gd name="connsiteX4" fmla="*/ 3324 w 65158"/>
                    <a:gd name="connsiteY4" fmla="*/ 17143 h 42624"/>
                    <a:gd name="connsiteX5" fmla="*/ 31501 w 65158"/>
                    <a:gd name="connsiteY5" fmla="*/ 884 h 42624"/>
                    <a:gd name="connsiteX6" fmla="*/ 38029 w 65158"/>
                    <a:gd name="connsiteY6" fmla="*/ 824 h 42624"/>
                    <a:gd name="connsiteX7" fmla="*/ 61744 w 65158"/>
                    <a:gd name="connsiteY7" fmla="*/ 13969 h 42624"/>
                    <a:gd name="connsiteX8" fmla="*/ 65158 w 65158"/>
                    <a:gd name="connsiteY8" fmla="*/ 19688 h 42624"/>
                    <a:gd name="connsiteX9" fmla="*/ 61834 w 65158"/>
                    <a:gd name="connsiteY9" fmla="*/ 25467 h 42624"/>
                    <a:gd name="connsiteX10" fmla="*/ 33657 w 65158"/>
                    <a:gd name="connsiteY10" fmla="*/ 41726 h 42624"/>
                    <a:gd name="connsiteX11" fmla="*/ 30333 w 65158"/>
                    <a:gd name="connsiteY11" fmla="*/ 42625 h 42624"/>
                    <a:gd name="connsiteX12" fmla="*/ 20063 w 65158"/>
                    <a:gd name="connsiteY12" fmla="*/ 22742 h 42624"/>
                    <a:gd name="connsiteX13" fmla="*/ 30274 w 65158"/>
                    <a:gd name="connsiteY13" fmla="*/ 28402 h 42624"/>
                    <a:gd name="connsiteX14" fmla="*/ 45095 w 65158"/>
                    <a:gd name="connsiteY14" fmla="*/ 19838 h 42624"/>
                    <a:gd name="connsiteX15" fmla="*/ 34885 w 65158"/>
                    <a:gd name="connsiteY15" fmla="*/ 14178 h 42624"/>
                    <a:gd name="connsiteX16" fmla="*/ 20063 w 65158"/>
                    <a:gd name="connsiteY16" fmla="*/ 22742 h 42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5158" h="42624">
                      <a:moveTo>
                        <a:pt x="30333" y="42625"/>
                      </a:moveTo>
                      <a:cubicBezTo>
                        <a:pt x="29225" y="42625"/>
                        <a:pt x="28118" y="42355"/>
                        <a:pt x="27129" y="41786"/>
                      </a:cubicBezTo>
                      <a:lnTo>
                        <a:pt x="3414" y="28641"/>
                      </a:lnTo>
                      <a:cubicBezTo>
                        <a:pt x="1318" y="27473"/>
                        <a:pt x="30" y="25287"/>
                        <a:pt x="1" y="22922"/>
                      </a:cubicBezTo>
                      <a:cubicBezTo>
                        <a:pt x="-29" y="20526"/>
                        <a:pt x="1258" y="18341"/>
                        <a:pt x="3324" y="17143"/>
                      </a:cubicBezTo>
                      <a:lnTo>
                        <a:pt x="31501" y="884"/>
                      </a:lnTo>
                      <a:cubicBezTo>
                        <a:pt x="33507" y="-284"/>
                        <a:pt x="35993" y="-284"/>
                        <a:pt x="38029" y="824"/>
                      </a:cubicBezTo>
                      <a:lnTo>
                        <a:pt x="61744" y="13969"/>
                      </a:lnTo>
                      <a:cubicBezTo>
                        <a:pt x="63840" y="15137"/>
                        <a:pt x="65128" y="17322"/>
                        <a:pt x="65158" y="19688"/>
                      </a:cubicBezTo>
                      <a:cubicBezTo>
                        <a:pt x="65188" y="22083"/>
                        <a:pt x="63900" y="24269"/>
                        <a:pt x="61834" y="25467"/>
                      </a:cubicBezTo>
                      <a:lnTo>
                        <a:pt x="33657" y="41726"/>
                      </a:lnTo>
                      <a:cubicBezTo>
                        <a:pt x="32609" y="42325"/>
                        <a:pt x="31471" y="42625"/>
                        <a:pt x="30333" y="42625"/>
                      </a:cubicBezTo>
                      <a:close/>
                      <a:moveTo>
                        <a:pt x="20063" y="22742"/>
                      </a:moveTo>
                      <a:lnTo>
                        <a:pt x="30274" y="28402"/>
                      </a:lnTo>
                      <a:lnTo>
                        <a:pt x="45095" y="19838"/>
                      </a:lnTo>
                      <a:lnTo>
                        <a:pt x="34885" y="14178"/>
                      </a:lnTo>
                      <a:lnTo>
                        <a:pt x="20063" y="22742"/>
                      </a:lnTo>
                      <a:close/>
                    </a:path>
                  </a:pathLst>
                </a:custGeom>
                <a:solidFill>
                  <a:schemeClr val="accent1"/>
                </a:solidFill>
                <a:ln w="2991" cap="flat">
                  <a:noFill/>
                  <a:prstDash val="solid"/>
                  <a:miter/>
                </a:ln>
              </p:spPr>
              <p:txBody>
                <a:bodyPr rtlCol="0" anchor="ctr"/>
                <a:lstStyle/>
                <a:p>
                  <a:endParaRPr lang="en-GB" dirty="0"/>
                </a:p>
              </p:txBody>
            </p:sp>
            <p:sp>
              <p:nvSpPr>
                <p:cNvPr id="344" name="Freihandform: Form 343">
                  <a:extLst>
                    <a:ext uri="{FF2B5EF4-FFF2-40B4-BE49-F238E27FC236}">
                      <a16:creationId xmlns:a16="http://schemas.microsoft.com/office/drawing/2014/main" id="{AE3F8332-2C16-48DD-AA56-0B0F243AA94F}"/>
                    </a:ext>
                  </a:extLst>
                </p:cNvPr>
                <p:cNvSpPr/>
                <p:nvPr/>
              </p:nvSpPr>
              <p:spPr>
                <a:xfrm>
                  <a:off x="3491609" y="2611944"/>
                  <a:ext cx="41892" cy="56608"/>
                </a:xfrm>
                <a:custGeom>
                  <a:avLst/>
                  <a:gdLst>
                    <a:gd name="connsiteX0" fmla="*/ 6618 w 41892"/>
                    <a:gd name="connsiteY0" fmla="*/ 56608 h 56608"/>
                    <a:gd name="connsiteX1" fmla="*/ 3264 w 41892"/>
                    <a:gd name="connsiteY1" fmla="*/ 55680 h 56608"/>
                    <a:gd name="connsiteX2" fmla="*/ 1 w 41892"/>
                    <a:gd name="connsiteY2" fmla="*/ 49871 h 56608"/>
                    <a:gd name="connsiteX3" fmla="*/ 450 w 41892"/>
                    <a:gd name="connsiteY3" fmla="*/ 22772 h 56608"/>
                    <a:gd name="connsiteX4" fmla="*/ 3773 w 41892"/>
                    <a:gd name="connsiteY4" fmla="*/ 17143 h 56608"/>
                    <a:gd name="connsiteX5" fmla="*/ 31950 w 41892"/>
                    <a:gd name="connsiteY5" fmla="*/ 883 h 56608"/>
                    <a:gd name="connsiteX6" fmla="*/ 38628 w 41892"/>
                    <a:gd name="connsiteY6" fmla="*/ 913 h 56608"/>
                    <a:gd name="connsiteX7" fmla="*/ 41892 w 41892"/>
                    <a:gd name="connsiteY7" fmla="*/ 6722 h 56608"/>
                    <a:gd name="connsiteX8" fmla="*/ 41442 w 41892"/>
                    <a:gd name="connsiteY8" fmla="*/ 33821 h 56608"/>
                    <a:gd name="connsiteX9" fmla="*/ 38119 w 41892"/>
                    <a:gd name="connsiteY9" fmla="*/ 39451 h 56608"/>
                    <a:gd name="connsiteX10" fmla="*/ 9942 w 41892"/>
                    <a:gd name="connsiteY10" fmla="*/ 55710 h 56608"/>
                    <a:gd name="connsiteX11" fmla="*/ 6618 w 41892"/>
                    <a:gd name="connsiteY11" fmla="*/ 56608 h 56608"/>
                    <a:gd name="connsiteX12" fmla="*/ 13625 w 41892"/>
                    <a:gd name="connsiteY12" fmla="*/ 26725 h 56608"/>
                    <a:gd name="connsiteX13" fmla="*/ 13445 w 41892"/>
                    <a:gd name="connsiteY13" fmla="*/ 38403 h 56608"/>
                    <a:gd name="connsiteX14" fmla="*/ 28267 w 41892"/>
                    <a:gd name="connsiteY14" fmla="*/ 29839 h 56608"/>
                    <a:gd name="connsiteX15" fmla="*/ 28477 w 41892"/>
                    <a:gd name="connsiteY15" fmla="*/ 18161 h 56608"/>
                    <a:gd name="connsiteX16" fmla="*/ 13625 w 41892"/>
                    <a:gd name="connsiteY16" fmla="*/ 26725 h 56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1892" h="56608">
                      <a:moveTo>
                        <a:pt x="6618" y="56608"/>
                      </a:moveTo>
                      <a:cubicBezTo>
                        <a:pt x="5450" y="56608"/>
                        <a:pt x="4312" y="56309"/>
                        <a:pt x="3264" y="55680"/>
                      </a:cubicBezTo>
                      <a:cubicBezTo>
                        <a:pt x="1198" y="54482"/>
                        <a:pt x="-29" y="52237"/>
                        <a:pt x="1" y="49871"/>
                      </a:cubicBezTo>
                      <a:lnTo>
                        <a:pt x="450" y="22772"/>
                      </a:lnTo>
                      <a:cubicBezTo>
                        <a:pt x="480" y="20437"/>
                        <a:pt x="1737" y="18311"/>
                        <a:pt x="3773" y="17143"/>
                      </a:cubicBezTo>
                      <a:lnTo>
                        <a:pt x="31950" y="883"/>
                      </a:lnTo>
                      <a:cubicBezTo>
                        <a:pt x="34016" y="-314"/>
                        <a:pt x="36562" y="-284"/>
                        <a:pt x="38628" y="913"/>
                      </a:cubicBezTo>
                      <a:cubicBezTo>
                        <a:pt x="40664" y="2111"/>
                        <a:pt x="41921" y="4357"/>
                        <a:pt x="41892" y="6722"/>
                      </a:cubicBezTo>
                      <a:lnTo>
                        <a:pt x="41442" y="33821"/>
                      </a:lnTo>
                      <a:cubicBezTo>
                        <a:pt x="41412" y="36157"/>
                        <a:pt x="40155" y="38283"/>
                        <a:pt x="38119" y="39451"/>
                      </a:cubicBezTo>
                      <a:lnTo>
                        <a:pt x="9942" y="55710"/>
                      </a:lnTo>
                      <a:cubicBezTo>
                        <a:pt x="8894" y="56309"/>
                        <a:pt x="7756" y="56608"/>
                        <a:pt x="6618" y="56608"/>
                      </a:cubicBezTo>
                      <a:close/>
                      <a:moveTo>
                        <a:pt x="13625" y="26725"/>
                      </a:moveTo>
                      <a:lnTo>
                        <a:pt x="13445" y="38403"/>
                      </a:lnTo>
                      <a:lnTo>
                        <a:pt x="28267" y="29839"/>
                      </a:lnTo>
                      <a:lnTo>
                        <a:pt x="28477" y="18161"/>
                      </a:lnTo>
                      <a:lnTo>
                        <a:pt x="13625" y="26725"/>
                      </a:lnTo>
                      <a:close/>
                    </a:path>
                  </a:pathLst>
                </a:custGeom>
                <a:solidFill>
                  <a:schemeClr val="accent1"/>
                </a:solidFill>
                <a:ln w="2991" cap="flat">
                  <a:noFill/>
                  <a:prstDash val="solid"/>
                  <a:miter/>
                </a:ln>
              </p:spPr>
              <p:txBody>
                <a:bodyPr rtlCol="0" anchor="ctr"/>
                <a:lstStyle/>
                <a:p>
                  <a:endParaRPr lang="en-GB" dirty="0"/>
                </a:p>
              </p:txBody>
            </p:sp>
            <p:sp>
              <p:nvSpPr>
                <p:cNvPr id="345" name="Freihandform: Form 344">
                  <a:extLst>
                    <a:ext uri="{FF2B5EF4-FFF2-40B4-BE49-F238E27FC236}">
                      <a16:creationId xmlns:a16="http://schemas.microsoft.com/office/drawing/2014/main" id="{3E5B2FF2-2481-4BFC-8C8F-069484D7AEAA}"/>
                    </a:ext>
                  </a:extLst>
                </p:cNvPr>
                <p:cNvSpPr/>
                <p:nvPr/>
              </p:nvSpPr>
              <p:spPr>
                <a:xfrm>
                  <a:off x="3479972" y="2546812"/>
                  <a:ext cx="166256" cy="101588"/>
                </a:xfrm>
                <a:custGeom>
                  <a:avLst/>
                  <a:gdLst>
                    <a:gd name="connsiteX0" fmla="*/ 6638 w 166256"/>
                    <a:gd name="connsiteY0" fmla="*/ 101589 h 101588"/>
                    <a:gd name="connsiteX1" fmla="*/ 889 w 166256"/>
                    <a:gd name="connsiteY1" fmla="*/ 98265 h 101588"/>
                    <a:gd name="connsiteX2" fmla="*/ 3314 w 166256"/>
                    <a:gd name="connsiteY2" fmla="*/ 89222 h 101588"/>
                    <a:gd name="connsiteX3" fmla="*/ 156325 w 166256"/>
                    <a:gd name="connsiteY3" fmla="*/ 888 h 101588"/>
                    <a:gd name="connsiteX4" fmla="*/ 165368 w 166256"/>
                    <a:gd name="connsiteY4" fmla="*/ 3314 h 101588"/>
                    <a:gd name="connsiteX5" fmla="*/ 162943 w 166256"/>
                    <a:gd name="connsiteY5" fmla="*/ 12357 h 101588"/>
                    <a:gd name="connsiteX6" fmla="*/ 9931 w 166256"/>
                    <a:gd name="connsiteY6" fmla="*/ 100690 h 101588"/>
                    <a:gd name="connsiteX7" fmla="*/ 6638 w 166256"/>
                    <a:gd name="connsiteY7" fmla="*/ 101589 h 101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256" h="101588">
                      <a:moveTo>
                        <a:pt x="6638" y="101589"/>
                      </a:moveTo>
                      <a:cubicBezTo>
                        <a:pt x="4362" y="101589"/>
                        <a:pt x="2116" y="100391"/>
                        <a:pt x="889" y="98265"/>
                      </a:cubicBezTo>
                      <a:cubicBezTo>
                        <a:pt x="-938" y="95091"/>
                        <a:pt x="140" y="91048"/>
                        <a:pt x="3314" y="89222"/>
                      </a:cubicBezTo>
                      <a:lnTo>
                        <a:pt x="156325" y="888"/>
                      </a:lnTo>
                      <a:cubicBezTo>
                        <a:pt x="159469" y="-938"/>
                        <a:pt x="163542" y="140"/>
                        <a:pt x="165368" y="3314"/>
                      </a:cubicBezTo>
                      <a:cubicBezTo>
                        <a:pt x="167195" y="6488"/>
                        <a:pt x="166117" y="10530"/>
                        <a:pt x="162943" y="12357"/>
                      </a:cubicBezTo>
                      <a:lnTo>
                        <a:pt x="9931" y="100690"/>
                      </a:lnTo>
                      <a:cubicBezTo>
                        <a:pt x="8883" y="101319"/>
                        <a:pt x="7746" y="101589"/>
                        <a:pt x="6638" y="101589"/>
                      </a:cubicBezTo>
                      <a:close/>
                    </a:path>
                  </a:pathLst>
                </a:custGeom>
                <a:solidFill>
                  <a:schemeClr val="accent1"/>
                </a:solidFill>
                <a:ln w="2991" cap="flat">
                  <a:noFill/>
                  <a:prstDash val="solid"/>
                  <a:miter/>
                </a:ln>
              </p:spPr>
              <p:txBody>
                <a:bodyPr rtlCol="0" anchor="ctr"/>
                <a:lstStyle/>
                <a:p>
                  <a:endParaRPr lang="en-GB" dirty="0"/>
                </a:p>
              </p:txBody>
            </p:sp>
          </p:grpSp>
        </p:grpSp>
      </p:grpSp>
      <p:grpSp>
        <p:nvGrpSpPr>
          <p:cNvPr id="14" name="Group 13">
            <a:extLst>
              <a:ext uri="{FF2B5EF4-FFF2-40B4-BE49-F238E27FC236}">
                <a16:creationId xmlns:a16="http://schemas.microsoft.com/office/drawing/2014/main" id="{0CC5283E-036E-582D-5051-6C6FFB8F3260}"/>
              </a:ext>
            </a:extLst>
          </p:cNvPr>
          <p:cNvGrpSpPr/>
          <p:nvPr/>
        </p:nvGrpSpPr>
        <p:grpSpPr>
          <a:xfrm>
            <a:off x="3659396" y="3273400"/>
            <a:ext cx="541914" cy="432000"/>
            <a:chOff x="3659396" y="3273400"/>
            <a:chExt cx="541914" cy="432000"/>
          </a:xfrm>
        </p:grpSpPr>
        <p:grpSp>
          <p:nvGrpSpPr>
            <p:cNvPr id="354" name="Group 1088">
              <a:extLst>
                <a:ext uri="{FF2B5EF4-FFF2-40B4-BE49-F238E27FC236}">
                  <a16:creationId xmlns:a16="http://schemas.microsoft.com/office/drawing/2014/main" id="{BB6052D5-5462-42CB-941B-B27867E9E703}"/>
                </a:ext>
              </a:extLst>
            </p:cNvPr>
            <p:cNvGrpSpPr/>
            <p:nvPr/>
          </p:nvGrpSpPr>
          <p:grpSpPr>
            <a:xfrm>
              <a:off x="3659396" y="3273400"/>
              <a:ext cx="541914" cy="432000"/>
              <a:chOff x="3395761" y="3284910"/>
              <a:chExt cx="489846" cy="390493"/>
            </a:xfrm>
            <a:solidFill>
              <a:schemeClr val="tx2"/>
            </a:solidFill>
          </p:grpSpPr>
          <p:grpSp>
            <p:nvGrpSpPr>
              <p:cNvPr id="361" name="Grafik 306">
                <a:extLst>
                  <a:ext uri="{FF2B5EF4-FFF2-40B4-BE49-F238E27FC236}">
                    <a16:creationId xmlns:a16="http://schemas.microsoft.com/office/drawing/2014/main" id="{534D6B64-A0CB-4BAE-997F-C2C5104E43DC}"/>
                  </a:ext>
                </a:extLst>
              </p:cNvPr>
              <p:cNvGrpSpPr/>
              <p:nvPr/>
            </p:nvGrpSpPr>
            <p:grpSpPr>
              <a:xfrm>
                <a:off x="3713492" y="3483466"/>
                <a:ext cx="172115" cy="191937"/>
                <a:chOff x="3713492" y="3483466"/>
                <a:chExt cx="172115" cy="191937"/>
              </a:xfrm>
              <a:grpFill/>
            </p:grpSpPr>
            <p:sp>
              <p:nvSpPr>
                <p:cNvPr id="375" name="Freihandform: Form 374">
                  <a:extLst>
                    <a:ext uri="{FF2B5EF4-FFF2-40B4-BE49-F238E27FC236}">
                      <a16:creationId xmlns:a16="http://schemas.microsoft.com/office/drawing/2014/main" id="{8C256FE5-FAF4-4E36-B6D7-F03BD1B813EF}"/>
                    </a:ext>
                  </a:extLst>
                </p:cNvPr>
                <p:cNvSpPr/>
                <p:nvPr/>
              </p:nvSpPr>
              <p:spPr>
                <a:xfrm>
                  <a:off x="3713492" y="3602581"/>
                  <a:ext cx="172115" cy="72822"/>
                </a:xfrm>
                <a:custGeom>
                  <a:avLst/>
                  <a:gdLst>
                    <a:gd name="connsiteX0" fmla="*/ 165468 w 172115"/>
                    <a:gd name="connsiteY0" fmla="*/ 72823 h 72822"/>
                    <a:gd name="connsiteX1" fmla="*/ 6617 w 172115"/>
                    <a:gd name="connsiteY1" fmla="*/ 72823 h 72822"/>
                    <a:gd name="connsiteX2" fmla="*/ 0 w 172115"/>
                    <a:gd name="connsiteY2" fmla="*/ 66205 h 72822"/>
                    <a:gd name="connsiteX3" fmla="*/ 66205 w 172115"/>
                    <a:gd name="connsiteY3" fmla="*/ 0 h 72822"/>
                    <a:gd name="connsiteX4" fmla="*/ 105910 w 172115"/>
                    <a:gd name="connsiteY4" fmla="*/ 0 h 72822"/>
                    <a:gd name="connsiteX5" fmla="*/ 172115 w 172115"/>
                    <a:gd name="connsiteY5" fmla="*/ 66205 h 72822"/>
                    <a:gd name="connsiteX6" fmla="*/ 165468 w 172115"/>
                    <a:gd name="connsiteY6" fmla="*/ 72823 h 72822"/>
                    <a:gd name="connsiteX7" fmla="*/ 13624 w 172115"/>
                    <a:gd name="connsiteY7" fmla="*/ 59588 h 72822"/>
                    <a:gd name="connsiteX8" fmla="*/ 158431 w 172115"/>
                    <a:gd name="connsiteY8" fmla="*/ 59588 h 72822"/>
                    <a:gd name="connsiteX9" fmla="*/ 105880 w 172115"/>
                    <a:gd name="connsiteY9" fmla="*/ 13265 h 72822"/>
                    <a:gd name="connsiteX10" fmla="*/ 66175 w 172115"/>
                    <a:gd name="connsiteY10" fmla="*/ 13265 h 72822"/>
                    <a:gd name="connsiteX11" fmla="*/ 13624 w 172115"/>
                    <a:gd name="connsiteY11" fmla="*/ 59588 h 7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115" h="72822">
                      <a:moveTo>
                        <a:pt x="165468" y="72823"/>
                      </a:moveTo>
                      <a:lnTo>
                        <a:pt x="6617" y="72823"/>
                      </a:lnTo>
                      <a:cubicBezTo>
                        <a:pt x="2964" y="72823"/>
                        <a:pt x="0" y="69858"/>
                        <a:pt x="0" y="66205"/>
                      </a:cubicBezTo>
                      <a:cubicBezTo>
                        <a:pt x="0" y="29704"/>
                        <a:pt x="29704" y="0"/>
                        <a:pt x="66205" y="0"/>
                      </a:cubicBezTo>
                      <a:lnTo>
                        <a:pt x="105910" y="0"/>
                      </a:lnTo>
                      <a:cubicBezTo>
                        <a:pt x="142411" y="0"/>
                        <a:pt x="172115" y="29704"/>
                        <a:pt x="172115" y="66205"/>
                      </a:cubicBezTo>
                      <a:cubicBezTo>
                        <a:pt x="172085" y="69858"/>
                        <a:pt x="169121" y="72823"/>
                        <a:pt x="165468" y="72823"/>
                      </a:cubicBezTo>
                      <a:close/>
                      <a:moveTo>
                        <a:pt x="13624" y="59588"/>
                      </a:moveTo>
                      <a:lnTo>
                        <a:pt x="158431" y="59588"/>
                      </a:lnTo>
                      <a:cubicBezTo>
                        <a:pt x="155167" y="33507"/>
                        <a:pt x="132859" y="13265"/>
                        <a:pt x="105880" y="13265"/>
                      </a:cubicBezTo>
                      <a:lnTo>
                        <a:pt x="66175" y="13265"/>
                      </a:lnTo>
                      <a:cubicBezTo>
                        <a:pt x="39226" y="13265"/>
                        <a:pt x="16888" y="33507"/>
                        <a:pt x="13624" y="59588"/>
                      </a:cubicBezTo>
                      <a:close/>
                    </a:path>
                  </a:pathLst>
                </a:custGeom>
                <a:grpFill/>
                <a:ln w="2991" cap="flat">
                  <a:noFill/>
                  <a:prstDash val="solid"/>
                  <a:miter/>
                </a:ln>
              </p:spPr>
              <p:txBody>
                <a:bodyPr rtlCol="0" anchor="ctr"/>
                <a:lstStyle/>
                <a:p>
                  <a:endParaRPr lang="en-GB" dirty="0"/>
                </a:p>
              </p:txBody>
            </p:sp>
            <p:sp>
              <p:nvSpPr>
                <p:cNvPr id="376" name="Freihandform: Form 375">
                  <a:extLst>
                    <a:ext uri="{FF2B5EF4-FFF2-40B4-BE49-F238E27FC236}">
                      <a16:creationId xmlns:a16="http://schemas.microsoft.com/office/drawing/2014/main" id="{635A871B-07B5-423D-B6F1-A03D53595050}"/>
                    </a:ext>
                  </a:extLst>
                </p:cNvPr>
                <p:cNvSpPr/>
                <p:nvPr/>
              </p:nvSpPr>
              <p:spPr>
                <a:xfrm>
                  <a:off x="3753197" y="3483466"/>
                  <a:ext cx="92645" cy="105880"/>
                </a:xfrm>
                <a:custGeom>
                  <a:avLst/>
                  <a:gdLst>
                    <a:gd name="connsiteX0" fmla="*/ 46323 w 92645"/>
                    <a:gd name="connsiteY0" fmla="*/ 105880 h 105880"/>
                    <a:gd name="connsiteX1" fmla="*/ 0 w 92645"/>
                    <a:gd name="connsiteY1" fmla="*/ 52940 h 105880"/>
                    <a:gd name="connsiteX2" fmla="*/ 46323 w 92645"/>
                    <a:gd name="connsiteY2" fmla="*/ 0 h 105880"/>
                    <a:gd name="connsiteX3" fmla="*/ 92645 w 92645"/>
                    <a:gd name="connsiteY3" fmla="*/ 52940 h 105880"/>
                    <a:gd name="connsiteX4" fmla="*/ 46323 w 92645"/>
                    <a:gd name="connsiteY4" fmla="*/ 105880 h 105880"/>
                    <a:gd name="connsiteX5" fmla="*/ 46323 w 92645"/>
                    <a:gd name="connsiteY5" fmla="*/ 13235 h 105880"/>
                    <a:gd name="connsiteX6" fmla="*/ 13235 w 92645"/>
                    <a:gd name="connsiteY6" fmla="*/ 52940 h 105880"/>
                    <a:gd name="connsiteX7" fmla="*/ 46323 w 92645"/>
                    <a:gd name="connsiteY7" fmla="*/ 92645 h 105880"/>
                    <a:gd name="connsiteX8" fmla="*/ 79410 w 92645"/>
                    <a:gd name="connsiteY8" fmla="*/ 52940 h 105880"/>
                    <a:gd name="connsiteX9" fmla="*/ 46323 w 92645"/>
                    <a:gd name="connsiteY9" fmla="*/ 13235 h 1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45" h="105880">
                      <a:moveTo>
                        <a:pt x="46323" y="105880"/>
                      </a:moveTo>
                      <a:cubicBezTo>
                        <a:pt x="18625" y="105880"/>
                        <a:pt x="0" y="84590"/>
                        <a:pt x="0" y="52940"/>
                      </a:cubicBezTo>
                      <a:cubicBezTo>
                        <a:pt x="0" y="21260"/>
                        <a:pt x="18625" y="0"/>
                        <a:pt x="46323" y="0"/>
                      </a:cubicBezTo>
                      <a:cubicBezTo>
                        <a:pt x="74020" y="0"/>
                        <a:pt x="92645" y="21290"/>
                        <a:pt x="92645" y="52940"/>
                      </a:cubicBezTo>
                      <a:cubicBezTo>
                        <a:pt x="92645" y="84620"/>
                        <a:pt x="74020" y="105880"/>
                        <a:pt x="46323" y="105880"/>
                      </a:cubicBezTo>
                      <a:close/>
                      <a:moveTo>
                        <a:pt x="46323" y="13235"/>
                      </a:moveTo>
                      <a:cubicBezTo>
                        <a:pt x="21889" y="13235"/>
                        <a:pt x="13235" y="34645"/>
                        <a:pt x="13235" y="52940"/>
                      </a:cubicBezTo>
                      <a:cubicBezTo>
                        <a:pt x="13235" y="71236"/>
                        <a:pt x="21889" y="92645"/>
                        <a:pt x="46323" y="92645"/>
                      </a:cubicBezTo>
                      <a:cubicBezTo>
                        <a:pt x="70757" y="92645"/>
                        <a:pt x="79410" y="71236"/>
                        <a:pt x="79410" y="52940"/>
                      </a:cubicBezTo>
                      <a:cubicBezTo>
                        <a:pt x="79410" y="34645"/>
                        <a:pt x="70757" y="13235"/>
                        <a:pt x="46323" y="13235"/>
                      </a:cubicBezTo>
                      <a:close/>
                    </a:path>
                  </a:pathLst>
                </a:custGeom>
                <a:grpFill/>
                <a:ln w="2991" cap="flat">
                  <a:noFill/>
                  <a:prstDash val="solid"/>
                  <a:miter/>
                </a:ln>
              </p:spPr>
              <p:txBody>
                <a:bodyPr rtlCol="0" anchor="ctr"/>
                <a:lstStyle/>
                <a:p>
                  <a:endParaRPr lang="en-GB" dirty="0"/>
                </a:p>
              </p:txBody>
            </p:sp>
          </p:grpSp>
          <p:grpSp>
            <p:nvGrpSpPr>
              <p:cNvPr id="362" name="Grafik 306">
                <a:extLst>
                  <a:ext uri="{FF2B5EF4-FFF2-40B4-BE49-F238E27FC236}">
                    <a16:creationId xmlns:a16="http://schemas.microsoft.com/office/drawing/2014/main" id="{1BB560EB-6878-43C0-8DE1-AA70DAB9E843}"/>
                  </a:ext>
                </a:extLst>
              </p:cNvPr>
              <p:cNvGrpSpPr/>
              <p:nvPr/>
            </p:nvGrpSpPr>
            <p:grpSpPr>
              <a:xfrm>
                <a:off x="3700256" y="3284910"/>
                <a:ext cx="132380" cy="191907"/>
                <a:chOff x="3700256" y="3284910"/>
                <a:chExt cx="132380" cy="191907"/>
              </a:xfrm>
              <a:grpFill/>
            </p:grpSpPr>
            <p:sp>
              <p:nvSpPr>
                <p:cNvPr id="373" name="Freihandform: Form 372">
                  <a:extLst>
                    <a:ext uri="{FF2B5EF4-FFF2-40B4-BE49-F238E27FC236}">
                      <a16:creationId xmlns:a16="http://schemas.microsoft.com/office/drawing/2014/main" id="{22414C6A-17C1-4A92-81EB-B6E7F2606E17}"/>
                    </a:ext>
                  </a:extLst>
                </p:cNvPr>
                <p:cNvSpPr/>
                <p:nvPr/>
              </p:nvSpPr>
              <p:spPr>
                <a:xfrm>
                  <a:off x="3720109" y="3404025"/>
                  <a:ext cx="112527" cy="72792"/>
                </a:xfrm>
                <a:custGeom>
                  <a:avLst/>
                  <a:gdLst>
                    <a:gd name="connsiteX0" fmla="*/ 105880 w 112527"/>
                    <a:gd name="connsiteY0" fmla="*/ 72793 h 72792"/>
                    <a:gd name="connsiteX1" fmla="*/ 99263 w 112527"/>
                    <a:gd name="connsiteY1" fmla="*/ 66175 h 72792"/>
                    <a:gd name="connsiteX2" fmla="*/ 46323 w 112527"/>
                    <a:gd name="connsiteY2" fmla="*/ 13235 h 72792"/>
                    <a:gd name="connsiteX3" fmla="*/ 6618 w 112527"/>
                    <a:gd name="connsiteY3" fmla="*/ 13235 h 72792"/>
                    <a:gd name="connsiteX4" fmla="*/ 0 w 112527"/>
                    <a:gd name="connsiteY4" fmla="*/ 6618 h 72792"/>
                    <a:gd name="connsiteX5" fmla="*/ 6618 w 112527"/>
                    <a:gd name="connsiteY5" fmla="*/ 0 h 72792"/>
                    <a:gd name="connsiteX6" fmla="*/ 46323 w 112527"/>
                    <a:gd name="connsiteY6" fmla="*/ 0 h 72792"/>
                    <a:gd name="connsiteX7" fmla="*/ 112528 w 112527"/>
                    <a:gd name="connsiteY7" fmla="*/ 66205 h 72792"/>
                    <a:gd name="connsiteX8" fmla="*/ 105880 w 112527"/>
                    <a:gd name="connsiteY8" fmla="*/ 72793 h 72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527" h="72792">
                      <a:moveTo>
                        <a:pt x="105880" y="72793"/>
                      </a:moveTo>
                      <a:cubicBezTo>
                        <a:pt x="102227" y="72793"/>
                        <a:pt x="99263" y="69828"/>
                        <a:pt x="99263" y="66175"/>
                      </a:cubicBezTo>
                      <a:cubicBezTo>
                        <a:pt x="99263" y="36980"/>
                        <a:pt x="75518" y="13235"/>
                        <a:pt x="46323" y="13235"/>
                      </a:cubicBezTo>
                      <a:lnTo>
                        <a:pt x="6618" y="13235"/>
                      </a:lnTo>
                      <a:cubicBezTo>
                        <a:pt x="2964" y="13235"/>
                        <a:pt x="0" y="10271"/>
                        <a:pt x="0" y="6618"/>
                      </a:cubicBezTo>
                      <a:cubicBezTo>
                        <a:pt x="0" y="2965"/>
                        <a:pt x="2964" y="0"/>
                        <a:pt x="6618" y="0"/>
                      </a:cubicBezTo>
                      <a:lnTo>
                        <a:pt x="46323" y="0"/>
                      </a:lnTo>
                      <a:cubicBezTo>
                        <a:pt x="82824" y="0"/>
                        <a:pt x="112528" y="29704"/>
                        <a:pt x="112528" y="66205"/>
                      </a:cubicBezTo>
                      <a:cubicBezTo>
                        <a:pt x="112498" y="69858"/>
                        <a:pt x="109533" y="72793"/>
                        <a:pt x="105880" y="72793"/>
                      </a:cubicBezTo>
                      <a:close/>
                    </a:path>
                  </a:pathLst>
                </a:custGeom>
                <a:grpFill/>
                <a:ln w="2991" cap="flat">
                  <a:noFill/>
                  <a:prstDash val="solid"/>
                  <a:miter/>
                </a:ln>
              </p:spPr>
              <p:txBody>
                <a:bodyPr rtlCol="0" anchor="ctr"/>
                <a:lstStyle/>
                <a:p>
                  <a:endParaRPr lang="en-GB" dirty="0"/>
                </a:p>
              </p:txBody>
            </p:sp>
            <p:sp>
              <p:nvSpPr>
                <p:cNvPr id="374" name="Freihandform: Form 373">
                  <a:extLst>
                    <a:ext uri="{FF2B5EF4-FFF2-40B4-BE49-F238E27FC236}">
                      <a16:creationId xmlns:a16="http://schemas.microsoft.com/office/drawing/2014/main" id="{8C2FAC84-4AA9-4A91-B9B6-CDF9ACAAB705}"/>
                    </a:ext>
                  </a:extLst>
                </p:cNvPr>
                <p:cNvSpPr/>
                <p:nvPr/>
              </p:nvSpPr>
              <p:spPr>
                <a:xfrm>
                  <a:off x="3700256" y="3284910"/>
                  <a:ext cx="92645" cy="105880"/>
                </a:xfrm>
                <a:custGeom>
                  <a:avLst/>
                  <a:gdLst>
                    <a:gd name="connsiteX0" fmla="*/ 46323 w 92645"/>
                    <a:gd name="connsiteY0" fmla="*/ 105880 h 105880"/>
                    <a:gd name="connsiteX1" fmla="*/ 0 w 92645"/>
                    <a:gd name="connsiteY1" fmla="*/ 52940 h 105880"/>
                    <a:gd name="connsiteX2" fmla="*/ 46323 w 92645"/>
                    <a:gd name="connsiteY2" fmla="*/ 0 h 105880"/>
                    <a:gd name="connsiteX3" fmla="*/ 92645 w 92645"/>
                    <a:gd name="connsiteY3" fmla="*/ 52940 h 105880"/>
                    <a:gd name="connsiteX4" fmla="*/ 46323 w 92645"/>
                    <a:gd name="connsiteY4" fmla="*/ 105880 h 105880"/>
                    <a:gd name="connsiteX5" fmla="*/ 46323 w 92645"/>
                    <a:gd name="connsiteY5" fmla="*/ 13205 h 105880"/>
                    <a:gd name="connsiteX6" fmla="*/ 13235 w 92645"/>
                    <a:gd name="connsiteY6" fmla="*/ 52910 h 105880"/>
                    <a:gd name="connsiteX7" fmla="*/ 46323 w 92645"/>
                    <a:gd name="connsiteY7" fmla="*/ 92615 h 105880"/>
                    <a:gd name="connsiteX8" fmla="*/ 79410 w 92645"/>
                    <a:gd name="connsiteY8" fmla="*/ 52910 h 105880"/>
                    <a:gd name="connsiteX9" fmla="*/ 46323 w 92645"/>
                    <a:gd name="connsiteY9" fmla="*/ 13205 h 1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45" h="105880">
                      <a:moveTo>
                        <a:pt x="46323" y="105880"/>
                      </a:moveTo>
                      <a:cubicBezTo>
                        <a:pt x="18625" y="105880"/>
                        <a:pt x="0" y="84590"/>
                        <a:pt x="0" y="52940"/>
                      </a:cubicBezTo>
                      <a:cubicBezTo>
                        <a:pt x="0" y="21260"/>
                        <a:pt x="18625" y="0"/>
                        <a:pt x="46323" y="0"/>
                      </a:cubicBezTo>
                      <a:cubicBezTo>
                        <a:pt x="74020" y="0"/>
                        <a:pt x="92645" y="21290"/>
                        <a:pt x="92645" y="52940"/>
                      </a:cubicBezTo>
                      <a:cubicBezTo>
                        <a:pt x="92645" y="84590"/>
                        <a:pt x="74020" y="105880"/>
                        <a:pt x="46323" y="105880"/>
                      </a:cubicBezTo>
                      <a:close/>
                      <a:moveTo>
                        <a:pt x="46323" y="13205"/>
                      </a:moveTo>
                      <a:cubicBezTo>
                        <a:pt x="21889" y="13205"/>
                        <a:pt x="13235" y="34615"/>
                        <a:pt x="13235" y="52910"/>
                      </a:cubicBezTo>
                      <a:cubicBezTo>
                        <a:pt x="13235" y="71206"/>
                        <a:pt x="21889" y="92615"/>
                        <a:pt x="46323" y="92615"/>
                      </a:cubicBezTo>
                      <a:cubicBezTo>
                        <a:pt x="70757" y="92615"/>
                        <a:pt x="79410" y="71206"/>
                        <a:pt x="79410" y="52910"/>
                      </a:cubicBezTo>
                      <a:cubicBezTo>
                        <a:pt x="79410" y="34615"/>
                        <a:pt x="70727" y="13205"/>
                        <a:pt x="46323" y="13205"/>
                      </a:cubicBezTo>
                      <a:close/>
                    </a:path>
                  </a:pathLst>
                </a:custGeom>
                <a:grpFill/>
                <a:ln w="2991" cap="flat">
                  <a:noFill/>
                  <a:prstDash val="solid"/>
                  <a:miter/>
                </a:ln>
              </p:spPr>
              <p:txBody>
                <a:bodyPr rtlCol="0" anchor="ctr"/>
                <a:lstStyle/>
                <a:p>
                  <a:endParaRPr lang="en-GB" dirty="0"/>
                </a:p>
              </p:txBody>
            </p:sp>
          </p:grpSp>
          <p:grpSp>
            <p:nvGrpSpPr>
              <p:cNvPr id="363" name="Grafik 306">
                <a:extLst>
                  <a:ext uri="{FF2B5EF4-FFF2-40B4-BE49-F238E27FC236}">
                    <a16:creationId xmlns:a16="http://schemas.microsoft.com/office/drawing/2014/main" id="{43220EB5-5A01-4554-A40D-006EB2A23BDF}"/>
                  </a:ext>
                </a:extLst>
              </p:cNvPr>
              <p:cNvGrpSpPr/>
              <p:nvPr/>
            </p:nvGrpSpPr>
            <p:grpSpPr>
              <a:xfrm>
                <a:off x="3448701" y="3284910"/>
                <a:ext cx="132380" cy="191907"/>
                <a:chOff x="3448701" y="3284910"/>
                <a:chExt cx="132380" cy="191907"/>
              </a:xfrm>
              <a:grpFill/>
            </p:grpSpPr>
            <p:sp>
              <p:nvSpPr>
                <p:cNvPr id="371" name="Freihandform: Form 370">
                  <a:extLst>
                    <a:ext uri="{FF2B5EF4-FFF2-40B4-BE49-F238E27FC236}">
                      <a16:creationId xmlns:a16="http://schemas.microsoft.com/office/drawing/2014/main" id="{8F436B6E-0974-462A-A22F-3060A6D511CB}"/>
                    </a:ext>
                  </a:extLst>
                </p:cNvPr>
                <p:cNvSpPr/>
                <p:nvPr/>
              </p:nvSpPr>
              <p:spPr>
                <a:xfrm>
                  <a:off x="3448701" y="3403996"/>
                  <a:ext cx="112527" cy="72822"/>
                </a:xfrm>
                <a:custGeom>
                  <a:avLst/>
                  <a:gdLst>
                    <a:gd name="connsiteX0" fmla="*/ 6618 w 112527"/>
                    <a:gd name="connsiteY0" fmla="*/ 72822 h 72822"/>
                    <a:gd name="connsiteX1" fmla="*/ 0 w 112527"/>
                    <a:gd name="connsiteY1" fmla="*/ 66205 h 72822"/>
                    <a:gd name="connsiteX2" fmla="*/ 66205 w 112527"/>
                    <a:gd name="connsiteY2" fmla="*/ 0 h 72822"/>
                    <a:gd name="connsiteX3" fmla="*/ 105910 w 112527"/>
                    <a:gd name="connsiteY3" fmla="*/ 0 h 72822"/>
                    <a:gd name="connsiteX4" fmla="*/ 112528 w 112527"/>
                    <a:gd name="connsiteY4" fmla="*/ 6617 h 72822"/>
                    <a:gd name="connsiteX5" fmla="*/ 105910 w 112527"/>
                    <a:gd name="connsiteY5" fmla="*/ 13235 h 72822"/>
                    <a:gd name="connsiteX6" fmla="*/ 66205 w 112527"/>
                    <a:gd name="connsiteY6" fmla="*/ 13235 h 72822"/>
                    <a:gd name="connsiteX7" fmla="*/ 13265 w 112527"/>
                    <a:gd name="connsiteY7" fmla="*/ 66175 h 72822"/>
                    <a:gd name="connsiteX8" fmla="*/ 6618 w 112527"/>
                    <a:gd name="connsiteY8" fmla="*/ 72822 h 7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527" h="72822">
                      <a:moveTo>
                        <a:pt x="6618" y="72822"/>
                      </a:moveTo>
                      <a:cubicBezTo>
                        <a:pt x="2965" y="72822"/>
                        <a:pt x="0" y="69858"/>
                        <a:pt x="0" y="66205"/>
                      </a:cubicBezTo>
                      <a:cubicBezTo>
                        <a:pt x="0" y="29704"/>
                        <a:pt x="29704" y="0"/>
                        <a:pt x="66205" y="0"/>
                      </a:cubicBezTo>
                      <a:lnTo>
                        <a:pt x="105910" y="0"/>
                      </a:lnTo>
                      <a:cubicBezTo>
                        <a:pt x="109563" y="0"/>
                        <a:pt x="112528" y="2964"/>
                        <a:pt x="112528" y="6617"/>
                      </a:cubicBezTo>
                      <a:cubicBezTo>
                        <a:pt x="112528" y="10271"/>
                        <a:pt x="109563" y="13235"/>
                        <a:pt x="105910" y="13235"/>
                      </a:cubicBezTo>
                      <a:lnTo>
                        <a:pt x="66205" y="13235"/>
                      </a:lnTo>
                      <a:cubicBezTo>
                        <a:pt x="37010" y="13235"/>
                        <a:pt x="13265" y="36980"/>
                        <a:pt x="13265" y="66175"/>
                      </a:cubicBezTo>
                      <a:cubicBezTo>
                        <a:pt x="13235" y="69888"/>
                        <a:pt x="10271" y="72822"/>
                        <a:pt x="6618" y="72822"/>
                      </a:cubicBezTo>
                      <a:close/>
                    </a:path>
                  </a:pathLst>
                </a:custGeom>
                <a:grpFill/>
                <a:ln w="2991" cap="flat">
                  <a:noFill/>
                  <a:prstDash val="solid"/>
                  <a:miter/>
                </a:ln>
              </p:spPr>
              <p:txBody>
                <a:bodyPr rtlCol="0" anchor="ctr"/>
                <a:lstStyle/>
                <a:p>
                  <a:endParaRPr lang="en-GB" dirty="0"/>
                </a:p>
              </p:txBody>
            </p:sp>
            <p:sp>
              <p:nvSpPr>
                <p:cNvPr id="372" name="Freihandform: Form 371">
                  <a:extLst>
                    <a:ext uri="{FF2B5EF4-FFF2-40B4-BE49-F238E27FC236}">
                      <a16:creationId xmlns:a16="http://schemas.microsoft.com/office/drawing/2014/main" id="{D6B97BD8-F915-46CD-91F8-480445470DDB}"/>
                    </a:ext>
                  </a:extLst>
                </p:cNvPr>
                <p:cNvSpPr/>
                <p:nvPr/>
              </p:nvSpPr>
              <p:spPr>
                <a:xfrm>
                  <a:off x="3488436" y="3284910"/>
                  <a:ext cx="92645" cy="105880"/>
                </a:xfrm>
                <a:custGeom>
                  <a:avLst/>
                  <a:gdLst>
                    <a:gd name="connsiteX0" fmla="*/ 46323 w 92645"/>
                    <a:gd name="connsiteY0" fmla="*/ 105880 h 105880"/>
                    <a:gd name="connsiteX1" fmla="*/ 0 w 92645"/>
                    <a:gd name="connsiteY1" fmla="*/ 52940 h 105880"/>
                    <a:gd name="connsiteX2" fmla="*/ 46323 w 92645"/>
                    <a:gd name="connsiteY2" fmla="*/ 0 h 105880"/>
                    <a:gd name="connsiteX3" fmla="*/ 92645 w 92645"/>
                    <a:gd name="connsiteY3" fmla="*/ 52940 h 105880"/>
                    <a:gd name="connsiteX4" fmla="*/ 46323 w 92645"/>
                    <a:gd name="connsiteY4" fmla="*/ 105880 h 105880"/>
                    <a:gd name="connsiteX5" fmla="*/ 46323 w 92645"/>
                    <a:gd name="connsiteY5" fmla="*/ 13205 h 105880"/>
                    <a:gd name="connsiteX6" fmla="*/ 13235 w 92645"/>
                    <a:gd name="connsiteY6" fmla="*/ 52910 h 105880"/>
                    <a:gd name="connsiteX7" fmla="*/ 46323 w 92645"/>
                    <a:gd name="connsiteY7" fmla="*/ 92615 h 105880"/>
                    <a:gd name="connsiteX8" fmla="*/ 79410 w 92645"/>
                    <a:gd name="connsiteY8" fmla="*/ 52910 h 105880"/>
                    <a:gd name="connsiteX9" fmla="*/ 46323 w 92645"/>
                    <a:gd name="connsiteY9" fmla="*/ 13205 h 1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45" h="105880">
                      <a:moveTo>
                        <a:pt x="46323" y="105880"/>
                      </a:moveTo>
                      <a:cubicBezTo>
                        <a:pt x="18625" y="105880"/>
                        <a:pt x="0" y="84590"/>
                        <a:pt x="0" y="52940"/>
                      </a:cubicBezTo>
                      <a:cubicBezTo>
                        <a:pt x="0" y="21260"/>
                        <a:pt x="18625" y="0"/>
                        <a:pt x="46323" y="0"/>
                      </a:cubicBezTo>
                      <a:cubicBezTo>
                        <a:pt x="74020" y="0"/>
                        <a:pt x="92645" y="21290"/>
                        <a:pt x="92645" y="52940"/>
                      </a:cubicBezTo>
                      <a:cubicBezTo>
                        <a:pt x="92645" y="84590"/>
                        <a:pt x="74020" y="105880"/>
                        <a:pt x="46323" y="105880"/>
                      </a:cubicBezTo>
                      <a:close/>
                      <a:moveTo>
                        <a:pt x="46323" y="13205"/>
                      </a:moveTo>
                      <a:cubicBezTo>
                        <a:pt x="21889" y="13205"/>
                        <a:pt x="13235" y="34615"/>
                        <a:pt x="13235" y="52910"/>
                      </a:cubicBezTo>
                      <a:cubicBezTo>
                        <a:pt x="13235" y="71206"/>
                        <a:pt x="21889" y="92615"/>
                        <a:pt x="46323" y="92615"/>
                      </a:cubicBezTo>
                      <a:cubicBezTo>
                        <a:pt x="70757" y="92615"/>
                        <a:pt x="79410" y="71206"/>
                        <a:pt x="79410" y="52910"/>
                      </a:cubicBezTo>
                      <a:cubicBezTo>
                        <a:pt x="79410" y="34615"/>
                        <a:pt x="70757" y="13205"/>
                        <a:pt x="46323" y="13205"/>
                      </a:cubicBezTo>
                      <a:close/>
                    </a:path>
                  </a:pathLst>
                </a:custGeom>
                <a:grpFill/>
                <a:ln w="2991" cap="flat">
                  <a:noFill/>
                  <a:prstDash val="solid"/>
                  <a:miter/>
                </a:ln>
              </p:spPr>
              <p:txBody>
                <a:bodyPr rtlCol="0" anchor="ctr"/>
                <a:lstStyle/>
                <a:p>
                  <a:endParaRPr lang="en-GB" dirty="0"/>
                </a:p>
              </p:txBody>
            </p:sp>
          </p:grpSp>
          <p:grpSp>
            <p:nvGrpSpPr>
              <p:cNvPr id="364" name="Grafik 306">
                <a:extLst>
                  <a:ext uri="{FF2B5EF4-FFF2-40B4-BE49-F238E27FC236}">
                    <a16:creationId xmlns:a16="http://schemas.microsoft.com/office/drawing/2014/main" id="{E3CBDE21-882C-4073-86C8-012F6D306178}"/>
                  </a:ext>
                </a:extLst>
              </p:cNvPr>
              <p:cNvGrpSpPr/>
              <p:nvPr/>
            </p:nvGrpSpPr>
            <p:grpSpPr>
              <a:xfrm>
                <a:off x="3395761" y="3483466"/>
                <a:ext cx="172115" cy="191937"/>
                <a:chOff x="3395761" y="3483466"/>
                <a:chExt cx="172115" cy="191937"/>
              </a:xfrm>
              <a:grpFill/>
            </p:grpSpPr>
            <p:sp>
              <p:nvSpPr>
                <p:cNvPr id="369" name="Freihandform: Form 368">
                  <a:extLst>
                    <a:ext uri="{FF2B5EF4-FFF2-40B4-BE49-F238E27FC236}">
                      <a16:creationId xmlns:a16="http://schemas.microsoft.com/office/drawing/2014/main" id="{F06B496C-7F85-41DE-ADAB-1B2DA9A40FE5}"/>
                    </a:ext>
                  </a:extLst>
                </p:cNvPr>
                <p:cNvSpPr/>
                <p:nvPr/>
              </p:nvSpPr>
              <p:spPr>
                <a:xfrm>
                  <a:off x="3395761" y="3602581"/>
                  <a:ext cx="172115" cy="72822"/>
                </a:xfrm>
                <a:custGeom>
                  <a:avLst/>
                  <a:gdLst>
                    <a:gd name="connsiteX0" fmla="*/ 165468 w 172115"/>
                    <a:gd name="connsiteY0" fmla="*/ 72823 h 72822"/>
                    <a:gd name="connsiteX1" fmla="*/ 6618 w 172115"/>
                    <a:gd name="connsiteY1" fmla="*/ 72823 h 72822"/>
                    <a:gd name="connsiteX2" fmla="*/ 0 w 172115"/>
                    <a:gd name="connsiteY2" fmla="*/ 66205 h 72822"/>
                    <a:gd name="connsiteX3" fmla="*/ 66205 w 172115"/>
                    <a:gd name="connsiteY3" fmla="*/ 0 h 72822"/>
                    <a:gd name="connsiteX4" fmla="*/ 105910 w 172115"/>
                    <a:gd name="connsiteY4" fmla="*/ 0 h 72822"/>
                    <a:gd name="connsiteX5" fmla="*/ 172116 w 172115"/>
                    <a:gd name="connsiteY5" fmla="*/ 66205 h 72822"/>
                    <a:gd name="connsiteX6" fmla="*/ 165468 w 172115"/>
                    <a:gd name="connsiteY6" fmla="*/ 72823 h 72822"/>
                    <a:gd name="connsiteX7" fmla="*/ 13654 w 172115"/>
                    <a:gd name="connsiteY7" fmla="*/ 59588 h 72822"/>
                    <a:gd name="connsiteX8" fmla="*/ 158461 w 172115"/>
                    <a:gd name="connsiteY8" fmla="*/ 59588 h 72822"/>
                    <a:gd name="connsiteX9" fmla="*/ 105910 w 172115"/>
                    <a:gd name="connsiteY9" fmla="*/ 13265 h 72822"/>
                    <a:gd name="connsiteX10" fmla="*/ 66205 w 172115"/>
                    <a:gd name="connsiteY10" fmla="*/ 13265 h 72822"/>
                    <a:gd name="connsiteX11" fmla="*/ 13654 w 172115"/>
                    <a:gd name="connsiteY11" fmla="*/ 59588 h 7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115" h="72822">
                      <a:moveTo>
                        <a:pt x="165468" y="72823"/>
                      </a:moveTo>
                      <a:lnTo>
                        <a:pt x="6618" y="72823"/>
                      </a:lnTo>
                      <a:cubicBezTo>
                        <a:pt x="2964" y="72823"/>
                        <a:pt x="0" y="69858"/>
                        <a:pt x="0" y="66205"/>
                      </a:cubicBezTo>
                      <a:cubicBezTo>
                        <a:pt x="0" y="29704"/>
                        <a:pt x="29704" y="0"/>
                        <a:pt x="66205" y="0"/>
                      </a:cubicBezTo>
                      <a:lnTo>
                        <a:pt x="105910" y="0"/>
                      </a:lnTo>
                      <a:cubicBezTo>
                        <a:pt x="142411" y="0"/>
                        <a:pt x="172116" y="29704"/>
                        <a:pt x="172116" y="66205"/>
                      </a:cubicBezTo>
                      <a:cubicBezTo>
                        <a:pt x="172086" y="69858"/>
                        <a:pt x="169121" y="72823"/>
                        <a:pt x="165468" y="72823"/>
                      </a:cubicBezTo>
                      <a:close/>
                      <a:moveTo>
                        <a:pt x="13654" y="59588"/>
                      </a:moveTo>
                      <a:lnTo>
                        <a:pt x="158461" y="59588"/>
                      </a:lnTo>
                      <a:cubicBezTo>
                        <a:pt x="155197" y="33507"/>
                        <a:pt x="132889" y="13265"/>
                        <a:pt x="105910" y="13265"/>
                      </a:cubicBezTo>
                      <a:lnTo>
                        <a:pt x="66205" y="13265"/>
                      </a:lnTo>
                      <a:cubicBezTo>
                        <a:pt x="39226" y="13265"/>
                        <a:pt x="16918" y="33507"/>
                        <a:pt x="13654" y="59588"/>
                      </a:cubicBezTo>
                      <a:close/>
                    </a:path>
                  </a:pathLst>
                </a:custGeom>
                <a:grpFill/>
                <a:ln w="2991" cap="flat">
                  <a:noFill/>
                  <a:prstDash val="solid"/>
                  <a:miter/>
                </a:ln>
              </p:spPr>
              <p:txBody>
                <a:bodyPr rtlCol="0" anchor="ctr"/>
                <a:lstStyle/>
                <a:p>
                  <a:endParaRPr lang="en-GB" dirty="0"/>
                </a:p>
              </p:txBody>
            </p:sp>
            <p:sp>
              <p:nvSpPr>
                <p:cNvPr id="370" name="Freihandform: Form 369">
                  <a:extLst>
                    <a:ext uri="{FF2B5EF4-FFF2-40B4-BE49-F238E27FC236}">
                      <a16:creationId xmlns:a16="http://schemas.microsoft.com/office/drawing/2014/main" id="{FB9DF736-510C-49B3-B995-EEDC3F28CBB8}"/>
                    </a:ext>
                  </a:extLst>
                </p:cNvPr>
                <p:cNvSpPr/>
                <p:nvPr/>
              </p:nvSpPr>
              <p:spPr>
                <a:xfrm>
                  <a:off x="3435466" y="3483466"/>
                  <a:ext cx="92645" cy="105880"/>
                </a:xfrm>
                <a:custGeom>
                  <a:avLst/>
                  <a:gdLst>
                    <a:gd name="connsiteX0" fmla="*/ 46323 w 92645"/>
                    <a:gd name="connsiteY0" fmla="*/ 105880 h 105880"/>
                    <a:gd name="connsiteX1" fmla="*/ 0 w 92645"/>
                    <a:gd name="connsiteY1" fmla="*/ 52940 h 105880"/>
                    <a:gd name="connsiteX2" fmla="*/ 46323 w 92645"/>
                    <a:gd name="connsiteY2" fmla="*/ 0 h 105880"/>
                    <a:gd name="connsiteX3" fmla="*/ 92645 w 92645"/>
                    <a:gd name="connsiteY3" fmla="*/ 52940 h 105880"/>
                    <a:gd name="connsiteX4" fmla="*/ 46323 w 92645"/>
                    <a:gd name="connsiteY4" fmla="*/ 105880 h 105880"/>
                    <a:gd name="connsiteX5" fmla="*/ 46323 w 92645"/>
                    <a:gd name="connsiteY5" fmla="*/ 13235 h 105880"/>
                    <a:gd name="connsiteX6" fmla="*/ 13235 w 92645"/>
                    <a:gd name="connsiteY6" fmla="*/ 52940 h 105880"/>
                    <a:gd name="connsiteX7" fmla="*/ 46323 w 92645"/>
                    <a:gd name="connsiteY7" fmla="*/ 92645 h 105880"/>
                    <a:gd name="connsiteX8" fmla="*/ 79410 w 92645"/>
                    <a:gd name="connsiteY8" fmla="*/ 52940 h 105880"/>
                    <a:gd name="connsiteX9" fmla="*/ 46323 w 92645"/>
                    <a:gd name="connsiteY9" fmla="*/ 13235 h 1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45" h="105880">
                      <a:moveTo>
                        <a:pt x="46323" y="105880"/>
                      </a:moveTo>
                      <a:cubicBezTo>
                        <a:pt x="18625" y="105880"/>
                        <a:pt x="0" y="84590"/>
                        <a:pt x="0" y="52940"/>
                      </a:cubicBezTo>
                      <a:cubicBezTo>
                        <a:pt x="0" y="21260"/>
                        <a:pt x="18625" y="0"/>
                        <a:pt x="46323" y="0"/>
                      </a:cubicBezTo>
                      <a:cubicBezTo>
                        <a:pt x="74020" y="0"/>
                        <a:pt x="92645" y="21290"/>
                        <a:pt x="92645" y="52940"/>
                      </a:cubicBezTo>
                      <a:cubicBezTo>
                        <a:pt x="92675" y="84620"/>
                        <a:pt x="74050" y="105880"/>
                        <a:pt x="46323" y="105880"/>
                      </a:cubicBezTo>
                      <a:close/>
                      <a:moveTo>
                        <a:pt x="46323" y="13235"/>
                      </a:moveTo>
                      <a:cubicBezTo>
                        <a:pt x="21889" y="13235"/>
                        <a:pt x="13235" y="34645"/>
                        <a:pt x="13235" y="52940"/>
                      </a:cubicBezTo>
                      <a:cubicBezTo>
                        <a:pt x="13235" y="71236"/>
                        <a:pt x="21889" y="92645"/>
                        <a:pt x="46323" y="92645"/>
                      </a:cubicBezTo>
                      <a:cubicBezTo>
                        <a:pt x="70757" y="92645"/>
                        <a:pt x="79410" y="71236"/>
                        <a:pt x="79410" y="52940"/>
                      </a:cubicBezTo>
                      <a:cubicBezTo>
                        <a:pt x="79410" y="34645"/>
                        <a:pt x="70757" y="13235"/>
                        <a:pt x="46323" y="13235"/>
                      </a:cubicBezTo>
                      <a:close/>
                    </a:path>
                  </a:pathLst>
                </a:custGeom>
                <a:grpFill/>
                <a:ln w="2991" cap="flat">
                  <a:noFill/>
                  <a:prstDash val="solid"/>
                  <a:miter/>
                </a:ln>
              </p:spPr>
              <p:txBody>
                <a:bodyPr rtlCol="0" anchor="ctr"/>
                <a:lstStyle/>
                <a:p>
                  <a:endParaRPr lang="en-GB" dirty="0"/>
                </a:p>
              </p:txBody>
            </p:sp>
          </p:grpSp>
          <p:grpSp>
            <p:nvGrpSpPr>
              <p:cNvPr id="365" name="Grafik 306">
                <a:extLst>
                  <a:ext uri="{FF2B5EF4-FFF2-40B4-BE49-F238E27FC236}">
                    <a16:creationId xmlns:a16="http://schemas.microsoft.com/office/drawing/2014/main" id="{4153170C-A0BE-4FDE-BA98-DCC31A609BA4}"/>
                  </a:ext>
                </a:extLst>
              </p:cNvPr>
              <p:cNvGrpSpPr/>
              <p:nvPr/>
            </p:nvGrpSpPr>
            <p:grpSpPr>
              <a:xfrm>
                <a:off x="3554611" y="3450378"/>
                <a:ext cx="172085" cy="225025"/>
                <a:chOff x="3554611" y="3450378"/>
                <a:chExt cx="172085" cy="225025"/>
              </a:xfrm>
              <a:grpFill/>
            </p:grpSpPr>
            <p:sp>
              <p:nvSpPr>
                <p:cNvPr id="366" name="Freihandform: Form 365">
                  <a:extLst>
                    <a:ext uri="{FF2B5EF4-FFF2-40B4-BE49-F238E27FC236}">
                      <a16:creationId xmlns:a16="http://schemas.microsoft.com/office/drawing/2014/main" id="{9EF87CFD-F687-45C7-820A-2E50C96AA26D}"/>
                    </a:ext>
                  </a:extLst>
                </p:cNvPr>
                <p:cNvSpPr/>
                <p:nvPr/>
              </p:nvSpPr>
              <p:spPr>
                <a:xfrm>
                  <a:off x="3554611" y="3597942"/>
                  <a:ext cx="172085" cy="77461"/>
                </a:xfrm>
                <a:custGeom>
                  <a:avLst/>
                  <a:gdLst>
                    <a:gd name="connsiteX0" fmla="*/ 165468 w 172085"/>
                    <a:gd name="connsiteY0" fmla="*/ 77461 h 77461"/>
                    <a:gd name="connsiteX1" fmla="*/ 6618 w 172085"/>
                    <a:gd name="connsiteY1" fmla="*/ 77461 h 77461"/>
                    <a:gd name="connsiteX2" fmla="*/ 0 w 172085"/>
                    <a:gd name="connsiteY2" fmla="*/ 70844 h 77461"/>
                    <a:gd name="connsiteX3" fmla="*/ 0 w 172085"/>
                    <a:gd name="connsiteY3" fmla="*/ 37756 h 77461"/>
                    <a:gd name="connsiteX4" fmla="*/ 9941 w 172085"/>
                    <a:gd name="connsiteY4" fmla="*/ 3171 h 77461"/>
                    <a:gd name="connsiteX5" fmla="*/ 19134 w 172085"/>
                    <a:gd name="connsiteY5" fmla="*/ 1375 h 77461"/>
                    <a:gd name="connsiteX6" fmla="*/ 20931 w 172085"/>
                    <a:gd name="connsiteY6" fmla="*/ 10567 h 77461"/>
                    <a:gd name="connsiteX7" fmla="*/ 13235 w 172085"/>
                    <a:gd name="connsiteY7" fmla="*/ 37756 h 77461"/>
                    <a:gd name="connsiteX8" fmla="*/ 13235 w 172085"/>
                    <a:gd name="connsiteY8" fmla="*/ 64226 h 77461"/>
                    <a:gd name="connsiteX9" fmla="*/ 158851 w 172085"/>
                    <a:gd name="connsiteY9" fmla="*/ 64226 h 77461"/>
                    <a:gd name="connsiteX10" fmla="*/ 158851 w 172085"/>
                    <a:gd name="connsiteY10" fmla="*/ 37756 h 77461"/>
                    <a:gd name="connsiteX11" fmla="*/ 150706 w 172085"/>
                    <a:gd name="connsiteY11" fmla="*/ 10447 h 77461"/>
                    <a:gd name="connsiteX12" fmla="*/ 152263 w 172085"/>
                    <a:gd name="connsiteY12" fmla="*/ 1225 h 77461"/>
                    <a:gd name="connsiteX13" fmla="*/ 161486 w 172085"/>
                    <a:gd name="connsiteY13" fmla="*/ 2782 h 77461"/>
                    <a:gd name="connsiteX14" fmla="*/ 172086 w 172085"/>
                    <a:gd name="connsiteY14" fmla="*/ 37786 h 77461"/>
                    <a:gd name="connsiteX15" fmla="*/ 172086 w 172085"/>
                    <a:gd name="connsiteY15" fmla="*/ 70873 h 77461"/>
                    <a:gd name="connsiteX16" fmla="*/ 165468 w 172085"/>
                    <a:gd name="connsiteY16" fmla="*/ 77461 h 77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2085" h="77461">
                      <a:moveTo>
                        <a:pt x="165468" y="77461"/>
                      </a:moveTo>
                      <a:lnTo>
                        <a:pt x="6618" y="77461"/>
                      </a:lnTo>
                      <a:cubicBezTo>
                        <a:pt x="2965" y="77461"/>
                        <a:pt x="0" y="74497"/>
                        <a:pt x="0" y="70844"/>
                      </a:cubicBezTo>
                      <a:lnTo>
                        <a:pt x="0" y="37756"/>
                      </a:lnTo>
                      <a:cubicBezTo>
                        <a:pt x="0" y="23892"/>
                        <a:pt x="2965" y="13562"/>
                        <a:pt x="9941" y="3171"/>
                      </a:cubicBezTo>
                      <a:cubicBezTo>
                        <a:pt x="11977" y="147"/>
                        <a:pt x="16080" y="-691"/>
                        <a:pt x="19134" y="1375"/>
                      </a:cubicBezTo>
                      <a:cubicBezTo>
                        <a:pt x="22158" y="3411"/>
                        <a:pt x="22967" y="7513"/>
                        <a:pt x="20931" y="10567"/>
                      </a:cubicBezTo>
                      <a:cubicBezTo>
                        <a:pt x="15451" y="18712"/>
                        <a:pt x="13235" y="26587"/>
                        <a:pt x="13235" y="37756"/>
                      </a:cubicBezTo>
                      <a:lnTo>
                        <a:pt x="13235" y="64226"/>
                      </a:lnTo>
                      <a:lnTo>
                        <a:pt x="158851" y="64226"/>
                      </a:lnTo>
                      <a:lnTo>
                        <a:pt x="158851" y="37756"/>
                      </a:lnTo>
                      <a:cubicBezTo>
                        <a:pt x="158851" y="26048"/>
                        <a:pt x="156725" y="18892"/>
                        <a:pt x="150706" y="10447"/>
                      </a:cubicBezTo>
                      <a:cubicBezTo>
                        <a:pt x="148580" y="7453"/>
                        <a:pt x="149269" y="3351"/>
                        <a:pt x="152263" y="1225"/>
                      </a:cubicBezTo>
                      <a:cubicBezTo>
                        <a:pt x="155257" y="-901"/>
                        <a:pt x="159390" y="-182"/>
                        <a:pt x="161486" y="2782"/>
                      </a:cubicBezTo>
                      <a:cubicBezTo>
                        <a:pt x="169121" y="13502"/>
                        <a:pt x="172086" y="23323"/>
                        <a:pt x="172086" y="37786"/>
                      </a:cubicBezTo>
                      <a:lnTo>
                        <a:pt x="172086" y="70873"/>
                      </a:lnTo>
                      <a:cubicBezTo>
                        <a:pt x="172086" y="74497"/>
                        <a:pt x="169121" y="77461"/>
                        <a:pt x="165468" y="77461"/>
                      </a:cubicBezTo>
                      <a:close/>
                    </a:path>
                  </a:pathLst>
                </a:custGeom>
                <a:grpFill/>
                <a:ln w="2991" cap="flat">
                  <a:noFill/>
                  <a:prstDash val="solid"/>
                  <a:miter/>
                </a:ln>
              </p:spPr>
              <p:txBody>
                <a:bodyPr rtlCol="0" anchor="ctr"/>
                <a:lstStyle/>
                <a:p>
                  <a:endParaRPr lang="en-GB" dirty="0"/>
                </a:p>
              </p:txBody>
            </p:sp>
            <p:sp>
              <p:nvSpPr>
                <p:cNvPr id="367" name="Freihandform: Form 366">
                  <a:extLst>
                    <a:ext uri="{FF2B5EF4-FFF2-40B4-BE49-F238E27FC236}">
                      <a16:creationId xmlns:a16="http://schemas.microsoft.com/office/drawing/2014/main" id="{58F5A83E-8AD0-479D-A3C5-9820EBE09006}"/>
                    </a:ext>
                  </a:extLst>
                </p:cNvPr>
                <p:cNvSpPr/>
                <p:nvPr/>
              </p:nvSpPr>
              <p:spPr>
                <a:xfrm>
                  <a:off x="3581458" y="3569493"/>
                  <a:ext cx="117691" cy="23026"/>
                </a:xfrm>
                <a:custGeom>
                  <a:avLst/>
                  <a:gdLst>
                    <a:gd name="connsiteX0" fmla="*/ 6630 w 117691"/>
                    <a:gd name="connsiteY0" fmla="*/ 23027 h 23026"/>
                    <a:gd name="connsiteX1" fmla="*/ 1090 w 117691"/>
                    <a:gd name="connsiteY1" fmla="*/ 20062 h 23026"/>
                    <a:gd name="connsiteX2" fmla="*/ 2977 w 117691"/>
                    <a:gd name="connsiteY2" fmla="*/ 10899 h 23026"/>
                    <a:gd name="connsiteX3" fmla="*/ 39358 w 117691"/>
                    <a:gd name="connsiteY3" fmla="*/ 0 h 23026"/>
                    <a:gd name="connsiteX4" fmla="*/ 79064 w 117691"/>
                    <a:gd name="connsiteY4" fmla="*/ 0 h 23026"/>
                    <a:gd name="connsiteX5" fmla="*/ 114636 w 117691"/>
                    <a:gd name="connsiteY5" fmla="*/ 10361 h 23026"/>
                    <a:gd name="connsiteX6" fmla="*/ 116643 w 117691"/>
                    <a:gd name="connsiteY6" fmla="*/ 19493 h 23026"/>
                    <a:gd name="connsiteX7" fmla="*/ 107510 w 117691"/>
                    <a:gd name="connsiteY7" fmla="*/ 21499 h 23026"/>
                    <a:gd name="connsiteX8" fmla="*/ 79064 w 117691"/>
                    <a:gd name="connsiteY8" fmla="*/ 13205 h 23026"/>
                    <a:gd name="connsiteX9" fmla="*/ 39358 w 117691"/>
                    <a:gd name="connsiteY9" fmla="*/ 13205 h 23026"/>
                    <a:gd name="connsiteX10" fmla="*/ 10283 w 117691"/>
                    <a:gd name="connsiteY10" fmla="*/ 21919 h 23026"/>
                    <a:gd name="connsiteX11" fmla="*/ 6630 w 117691"/>
                    <a:gd name="connsiteY11" fmla="*/ 23027 h 2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7691" h="23026">
                      <a:moveTo>
                        <a:pt x="6630" y="23027"/>
                      </a:moveTo>
                      <a:cubicBezTo>
                        <a:pt x="4474" y="23027"/>
                        <a:pt x="2378" y="21979"/>
                        <a:pt x="1090" y="20062"/>
                      </a:cubicBezTo>
                      <a:cubicBezTo>
                        <a:pt x="-916" y="17008"/>
                        <a:pt x="-77" y="12906"/>
                        <a:pt x="2977" y="10899"/>
                      </a:cubicBezTo>
                      <a:cubicBezTo>
                        <a:pt x="13787" y="3773"/>
                        <a:pt x="26363" y="0"/>
                        <a:pt x="39358" y="0"/>
                      </a:cubicBezTo>
                      <a:lnTo>
                        <a:pt x="79064" y="0"/>
                      </a:lnTo>
                      <a:cubicBezTo>
                        <a:pt x="91730" y="0"/>
                        <a:pt x="104006" y="3593"/>
                        <a:pt x="114636" y="10361"/>
                      </a:cubicBezTo>
                      <a:cubicBezTo>
                        <a:pt x="117721" y="12337"/>
                        <a:pt x="118619" y="16409"/>
                        <a:pt x="116643" y="19493"/>
                      </a:cubicBezTo>
                      <a:cubicBezTo>
                        <a:pt x="114666" y="22578"/>
                        <a:pt x="110594" y="23476"/>
                        <a:pt x="107510" y="21499"/>
                      </a:cubicBezTo>
                      <a:cubicBezTo>
                        <a:pt x="99036" y="16080"/>
                        <a:pt x="89184" y="13205"/>
                        <a:pt x="79064" y="13205"/>
                      </a:cubicBezTo>
                      <a:lnTo>
                        <a:pt x="39358" y="13205"/>
                      </a:lnTo>
                      <a:cubicBezTo>
                        <a:pt x="28968" y="13205"/>
                        <a:pt x="18907" y="16200"/>
                        <a:pt x="10283" y="21919"/>
                      </a:cubicBezTo>
                      <a:cubicBezTo>
                        <a:pt x="9115" y="22667"/>
                        <a:pt x="7858" y="23027"/>
                        <a:pt x="6630" y="23027"/>
                      </a:cubicBezTo>
                      <a:close/>
                    </a:path>
                  </a:pathLst>
                </a:custGeom>
                <a:grpFill/>
                <a:ln w="2991" cap="flat">
                  <a:noFill/>
                  <a:prstDash val="solid"/>
                  <a:miter/>
                </a:ln>
              </p:spPr>
              <p:txBody>
                <a:bodyPr rtlCol="0" anchor="ctr"/>
                <a:lstStyle/>
                <a:p>
                  <a:endParaRPr lang="en-GB" dirty="0"/>
                </a:p>
              </p:txBody>
            </p:sp>
            <p:sp>
              <p:nvSpPr>
                <p:cNvPr id="368" name="Freihandform: Form 367">
                  <a:extLst>
                    <a:ext uri="{FF2B5EF4-FFF2-40B4-BE49-F238E27FC236}">
                      <a16:creationId xmlns:a16="http://schemas.microsoft.com/office/drawing/2014/main" id="{C32B9137-11C3-4AFC-B661-B3DECE526EDF}"/>
                    </a:ext>
                  </a:extLst>
                </p:cNvPr>
                <p:cNvSpPr/>
                <p:nvPr/>
              </p:nvSpPr>
              <p:spPr>
                <a:xfrm>
                  <a:off x="3594346" y="3450378"/>
                  <a:ext cx="92645" cy="105880"/>
                </a:xfrm>
                <a:custGeom>
                  <a:avLst/>
                  <a:gdLst>
                    <a:gd name="connsiteX0" fmla="*/ 46323 w 92645"/>
                    <a:gd name="connsiteY0" fmla="*/ 105880 h 105880"/>
                    <a:gd name="connsiteX1" fmla="*/ 0 w 92645"/>
                    <a:gd name="connsiteY1" fmla="*/ 52940 h 105880"/>
                    <a:gd name="connsiteX2" fmla="*/ 46323 w 92645"/>
                    <a:gd name="connsiteY2" fmla="*/ 0 h 105880"/>
                    <a:gd name="connsiteX3" fmla="*/ 92645 w 92645"/>
                    <a:gd name="connsiteY3" fmla="*/ 52940 h 105880"/>
                    <a:gd name="connsiteX4" fmla="*/ 46323 w 92645"/>
                    <a:gd name="connsiteY4" fmla="*/ 105880 h 105880"/>
                    <a:gd name="connsiteX5" fmla="*/ 46323 w 92645"/>
                    <a:gd name="connsiteY5" fmla="*/ 13205 h 105880"/>
                    <a:gd name="connsiteX6" fmla="*/ 13235 w 92645"/>
                    <a:gd name="connsiteY6" fmla="*/ 52910 h 105880"/>
                    <a:gd name="connsiteX7" fmla="*/ 46323 w 92645"/>
                    <a:gd name="connsiteY7" fmla="*/ 92615 h 105880"/>
                    <a:gd name="connsiteX8" fmla="*/ 79410 w 92645"/>
                    <a:gd name="connsiteY8" fmla="*/ 52910 h 105880"/>
                    <a:gd name="connsiteX9" fmla="*/ 46323 w 92645"/>
                    <a:gd name="connsiteY9" fmla="*/ 13205 h 105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45" h="105880">
                      <a:moveTo>
                        <a:pt x="46323" y="105880"/>
                      </a:moveTo>
                      <a:cubicBezTo>
                        <a:pt x="18625" y="105880"/>
                        <a:pt x="0" y="84590"/>
                        <a:pt x="0" y="52940"/>
                      </a:cubicBezTo>
                      <a:cubicBezTo>
                        <a:pt x="0" y="21260"/>
                        <a:pt x="18625" y="0"/>
                        <a:pt x="46323" y="0"/>
                      </a:cubicBezTo>
                      <a:cubicBezTo>
                        <a:pt x="74020" y="0"/>
                        <a:pt x="92645" y="21290"/>
                        <a:pt x="92645" y="52940"/>
                      </a:cubicBezTo>
                      <a:cubicBezTo>
                        <a:pt x="92645" y="84590"/>
                        <a:pt x="74020" y="105880"/>
                        <a:pt x="46323" y="105880"/>
                      </a:cubicBezTo>
                      <a:close/>
                      <a:moveTo>
                        <a:pt x="46323" y="13205"/>
                      </a:moveTo>
                      <a:cubicBezTo>
                        <a:pt x="21889" y="13205"/>
                        <a:pt x="13235" y="34615"/>
                        <a:pt x="13235" y="52910"/>
                      </a:cubicBezTo>
                      <a:cubicBezTo>
                        <a:pt x="13235" y="71206"/>
                        <a:pt x="21889" y="92615"/>
                        <a:pt x="46323" y="92615"/>
                      </a:cubicBezTo>
                      <a:cubicBezTo>
                        <a:pt x="70757" y="92615"/>
                        <a:pt x="79410" y="71206"/>
                        <a:pt x="79410" y="52910"/>
                      </a:cubicBezTo>
                      <a:cubicBezTo>
                        <a:pt x="79410" y="34615"/>
                        <a:pt x="70727" y="13205"/>
                        <a:pt x="46323" y="13205"/>
                      </a:cubicBezTo>
                      <a:close/>
                    </a:path>
                  </a:pathLst>
                </a:custGeom>
                <a:grpFill/>
                <a:ln w="2991" cap="flat">
                  <a:noFill/>
                  <a:prstDash val="solid"/>
                  <a:miter/>
                </a:ln>
              </p:spPr>
              <p:txBody>
                <a:bodyPr rtlCol="0" anchor="ctr"/>
                <a:lstStyle/>
                <a:p>
                  <a:endParaRPr lang="en-GB" dirty="0"/>
                </a:p>
              </p:txBody>
            </p:sp>
          </p:grpSp>
        </p:grpSp>
        <p:grpSp>
          <p:nvGrpSpPr>
            <p:cNvPr id="355" name="Grafik 306">
              <a:extLst>
                <a:ext uri="{FF2B5EF4-FFF2-40B4-BE49-F238E27FC236}">
                  <a16:creationId xmlns:a16="http://schemas.microsoft.com/office/drawing/2014/main" id="{B6192DCC-C05A-4D96-8F54-A916DC2188C6}"/>
                </a:ext>
              </a:extLst>
            </p:cNvPr>
            <p:cNvGrpSpPr/>
            <p:nvPr/>
          </p:nvGrpSpPr>
          <p:grpSpPr>
            <a:xfrm>
              <a:off x="3813167" y="3405174"/>
              <a:ext cx="234302" cy="234335"/>
              <a:chOff x="3534759" y="3404025"/>
              <a:chExt cx="211790" cy="211820"/>
            </a:xfrm>
            <a:solidFill>
              <a:schemeClr val="accent1"/>
            </a:solidFill>
          </p:grpSpPr>
          <p:sp>
            <p:nvSpPr>
              <p:cNvPr id="356" name="Freihandform: Form 355">
                <a:extLst>
                  <a:ext uri="{FF2B5EF4-FFF2-40B4-BE49-F238E27FC236}">
                    <a16:creationId xmlns:a16="http://schemas.microsoft.com/office/drawing/2014/main" id="{E1E1A681-0AA3-4F71-82C3-E4BDF5FB9412}"/>
                  </a:ext>
                </a:extLst>
              </p:cNvPr>
              <p:cNvSpPr/>
              <p:nvPr/>
            </p:nvSpPr>
            <p:spPr>
              <a:xfrm>
                <a:off x="3541376" y="3410613"/>
                <a:ext cx="198585" cy="198585"/>
              </a:xfrm>
              <a:custGeom>
                <a:avLst/>
                <a:gdLst>
                  <a:gd name="connsiteX0" fmla="*/ 99293 w 198585"/>
                  <a:gd name="connsiteY0" fmla="*/ 198585 h 198585"/>
                  <a:gd name="connsiteX1" fmla="*/ 0 w 198585"/>
                  <a:gd name="connsiteY1" fmla="*/ 99293 h 198585"/>
                  <a:gd name="connsiteX2" fmla="*/ 99293 w 198585"/>
                  <a:gd name="connsiteY2" fmla="*/ 0 h 198585"/>
                  <a:gd name="connsiteX3" fmla="*/ 198585 w 198585"/>
                  <a:gd name="connsiteY3" fmla="*/ 99293 h 198585"/>
                  <a:gd name="connsiteX4" fmla="*/ 99293 w 198585"/>
                  <a:gd name="connsiteY4" fmla="*/ 198585 h 198585"/>
                  <a:gd name="connsiteX5" fmla="*/ 99293 w 198585"/>
                  <a:gd name="connsiteY5" fmla="*/ 13265 h 198585"/>
                  <a:gd name="connsiteX6" fmla="*/ 13235 w 198585"/>
                  <a:gd name="connsiteY6" fmla="*/ 99323 h 198585"/>
                  <a:gd name="connsiteX7" fmla="*/ 99293 w 198585"/>
                  <a:gd name="connsiteY7" fmla="*/ 185380 h 198585"/>
                  <a:gd name="connsiteX8" fmla="*/ 185351 w 198585"/>
                  <a:gd name="connsiteY8" fmla="*/ 99323 h 198585"/>
                  <a:gd name="connsiteX9" fmla="*/ 99293 w 198585"/>
                  <a:gd name="connsiteY9" fmla="*/ 13265 h 19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8585" h="198585">
                    <a:moveTo>
                      <a:pt x="99293" y="198585"/>
                    </a:moveTo>
                    <a:cubicBezTo>
                      <a:pt x="44556" y="198585"/>
                      <a:pt x="0" y="154059"/>
                      <a:pt x="0" y="99293"/>
                    </a:cubicBezTo>
                    <a:cubicBezTo>
                      <a:pt x="0" y="44556"/>
                      <a:pt x="44526" y="0"/>
                      <a:pt x="99293" y="0"/>
                    </a:cubicBezTo>
                    <a:cubicBezTo>
                      <a:pt x="154030" y="0"/>
                      <a:pt x="198585" y="44526"/>
                      <a:pt x="198585" y="99293"/>
                    </a:cubicBezTo>
                    <a:cubicBezTo>
                      <a:pt x="198556" y="154059"/>
                      <a:pt x="154030" y="198585"/>
                      <a:pt x="99293" y="198585"/>
                    </a:cubicBezTo>
                    <a:close/>
                    <a:moveTo>
                      <a:pt x="99293" y="13265"/>
                    </a:moveTo>
                    <a:cubicBezTo>
                      <a:pt x="51832" y="13265"/>
                      <a:pt x="13235" y="51862"/>
                      <a:pt x="13235" y="99323"/>
                    </a:cubicBezTo>
                    <a:cubicBezTo>
                      <a:pt x="13235" y="146783"/>
                      <a:pt x="51832" y="185380"/>
                      <a:pt x="99293" y="185380"/>
                    </a:cubicBezTo>
                    <a:cubicBezTo>
                      <a:pt x="146753" y="185380"/>
                      <a:pt x="185351" y="146783"/>
                      <a:pt x="185351" y="99323"/>
                    </a:cubicBezTo>
                    <a:cubicBezTo>
                      <a:pt x="185321" y="51862"/>
                      <a:pt x="146723" y="13265"/>
                      <a:pt x="99293" y="13265"/>
                    </a:cubicBezTo>
                    <a:close/>
                  </a:path>
                </a:pathLst>
              </a:custGeom>
              <a:solidFill>
                <a:schemeClr val="accent1"/>
              </a:solidFill>
              <a:ln w="2991" cap="flat">
                <a:noFill/>
                <a:prstDash val="solid"/>
                <a:miter/>
              </a:ln>
            </p:spPr>
            <p:txBody>
              <a:bodyPr rtlCol="0" anchor="ctr"/>
              <a:lstStyle/>
              <a:p>
                <a:endParaRPr lang="en-GB" dirty="0"/>
              </a:p>
            </p:txBody>
          </p:sp>
          <p:sp>
            <p:nvSpPr>
              <p:cNvPr id="357" name="Freihandform: Form 356">
                <a:extLst>
                  <a:ext uri="{FF2B5EF4-FFF2-40B4-BE49-F238E27FC236}">
                    <a16:creationId xmlns:a16="http://schemas.microsoft.com/office/drawing/2014/main" id="{8CCC462A-D2FD-4016-ABF7-318693CF50B6}"/>
                  </a:ext>
                </a:extLst>
              </p:cNvPr>
              <p:cNvSpPr/>
              <p:nvPr/>
            </p:nvSpPr>
            <p:spPr>
              <a:xfrm>
                <a:off x="3634051" y="3589376"/>
                <a:ext cx="13234" cy="26470"/>
              </a:xfrm>
              <a:custGeom>
                <a:avLst/>
                <a:gdLst>
                  <a:gd name="connsiteX0" fmla="*/ 6618 w 13234"/>
                  <a:gd name="connsiteY0" fmla="*/ 26470 h 26470"/>
                  <a:gd name="connsiteX1" fmla="*/ 0 w 13234"/>
                  <a:gd name="connsiteY1" fmla="*/ 19853 h 26470"/>
                  <a:gd name="connsiteX2" fmla="*/ 0 w 13234"/>
                  <a:gd name="connsiteY2" fmla="*/ 6618 h 26470"/>
                  <a:gd name="connsiteX3" fmla="*/ 6618 w 13234"/>
                  <a:gd name="connsiteY3" fmla="*/ 0 h 26470"/>
                  <a:gd name="connsiteX4" fmla="*/ 13235 w 13234"/>
                  <a:gd name="connsiteY4" fmla="*/ 6618 h 26470"/>
                  <a:gd name="connsiteX5" fmla="*/ 13235 w 13234"/>
                  <a:gd name="connsiteY5" fmla="*/ 19853 h 26470"/>
                  <a:gd name="connsiteX6" fmla="*/ 6618 w 13234"/>
                  <a:gd name="connsiteY6" fmla="*/ 26470 h 2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4" h="26470">
                    <a:moveTo>
                      <a:pt x="6618" y="26470"/>
                    </a:moveTo>
                    <a:cubicBezTo>
                      <a:pt x="2964" y="26470"/>
                      <a:pt x="0" y="23506"/>
                      <a:pt x="0" y="19853"/>
                    </a:cubicBezTo>
                    <a:lnTo>
                      <a:pt x="0" y="6618"/>
                    </a:lnTo>
                    <a:cubicBezTo>
                      <a:pt x="0" y="2964"/>
                      <a:pt x="2964" y="0"/>
                      <a:pt x="6618" y="0"/>
                    </a:cubicBezTo>
                    <a:cubicBezTo>
                      <a:pt x="10271" y="0"/>
                      <a:pt x="13235" y="2964"/>
                      <a:pt x="13235" y="6618"/>
                    </a:cubicBezTo>
                    <a:lnTo>
                      <a:pt x="13235" y="19853"/>
                    </a:lnTo>
                    <a:cubicBezTo>
                      <a:pt x="13235" y="23506"/>
                      <a:pt x="10271" y="26470"/>
                      <a:pt x="6618" y="26470"/>
                    </a:cubicBezTo>
                    <a:close/>
                  </a:path>
                </a:pathLst>
              </a:custGeom>
              <a:solidFill>
                <a:schemeClr val="accent1"/>
              </a:solidFill>
              <a:ln w="2991" cap="flat">
                <a:noFill/>
                <a:prstDash val="solid"/>
                <a:miter/>
              </a:ln>
            </p:spPr>
            <p:txBody>
              <a:bodyPr rtlCol="0" anchor="ctr"/>
              <a:lstStyle/>
              <a:p>
                <a:endParaRPr lang="en-GB" dirty="0"/>
              </a:p>
            </p:txBody>
          </p:sp>
          <p:sp>
            <p:nvSpPr>
              <p:cNvPr id="358" name="Freihandform: Form 357">
                <a:extLst>
                  <a:ext uri="{FF2B5EF4-FFF2-40B4-BE49-F238E27FC236}">
                    <a16:creationId xmlns:a16="http://schemas.microsoft.com/office/drawing/2014/main" id="{F5D4A156-8238-4CC4-9C5F-FF16A8A6D2E6}"/>
                  </a:ext>
                </a:extLst>
              </p:cNvPr>
              <p:cNvSpPr/>
              <p:nvPr/>
            </p:nvSpPr>
            <p:spPr>
              <a:xfrm>
                <a:off x="3634051" y="3404025"/>
                <a:ext cx="13234" cy="26470"/>
              </a:xfrm>
              <a:custGeom>
                <a:avLst/>
                <a:gdLst>
                  <a:gd name="connsiteX0" fmla="*/ 6618 w 13234"/>
                  <a:gd name="connsiteY0" fmla="*/ 26470 h 26470"/>
                  <a:gd name="connsiteX1" fmla="*/ 0 w 13234"/>
                  <a:gd name="connsiteY1" fmla="*/ 19853 h 26470"/>
                  <a:gd name="connsiteX2" fmla="*/ 0 w 13234"/>
                  <a:gd name="connsiteY2" fmla="*/ 6618 h 26470"/>
                  <a:gd name="connsiteX3" fmla="*/ 6618 w 13234"/>
                  <a:gd name="connsiteY3" fmla="*/ 0 h 26470"/>
                  <a:gd name="connsiteX4" fmla="*/ 13235 w 13234"/>
                  <a:gd name="connsiteY4" fmla="*/ 6618 h 26470"/>
                  <a:gd name="connsiteX5" fmla="*/ 13235 w 13234"/>
                  <a:gd name="connsiteY5" fmla="*/ 19853 h 26470"/>
                  <a:gd name="connsiteX6" fmla="*/ 6618 w 13234"/>
                  <a:gd name="connsiteY6" fmla="*/ 26470 h 26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4" h="26470">
                    <a:moveTo>
                      <a:pt x="6618" y="26470"/>
                    </a:moveTo>
                    <a:cubicBezTo>
                      <a:pt x="2964" y="26470"/>
                      <a:pt x="0" y="23506"/>
                      <a:pt x="0" y="19853"/>
                    </a:cubicBezTo>
                    <a:lnTo>
                      <a:pt x="0" y="6618"/>
                    </a:lnTo>
                    <a:cubicBezTo>
                      <a:pt x="0" y="2965"/>
                      <a:pt x="2964" y="0"/>
                      <a:pt x="6618" y="0"/>
                    </a:cubicBezTo>
                    <a:cubicBezTo>
                      <a:pt x="10271" y="0"/>
                      <a:pt x="13235" y="2965"/>
                      <a:pt x="13235" y="6618"/>
                    </a:cubicBezTo>
                    <a:lnTo>
                      <a:pt x="13235" y="19853"/>
                    </a:lnTo>
                    <a:cubicBezTo>
                      <a:pt x="13235" y="23506"/>
                      <a:pt x="10271" y="26470"/>
                      <a:pt x="6618" y="26470"/>
                    </a:cubicBezTo>
                    <a:close/>
                  </a:path>
                </a:pathLst>
              </a:custGeom>
              <a:solidFill>
                <a:schemeClr val="accent1"/>
              </a:solidFill>
              <a:ln w="2991" cap="flat">
                <a:noFill/>
                <a:prstDash val="solid"/>
                <a:miter/>
              </a:ln>
            </p:spPr>
            <p:txBody>
              <a:bodyPr rtlCol="0" anchor="ctr"/>
              <a:lstStyle/>
              <a:p>
                <a:endParaRPr lang="en-GB" dirty="0"/>
              </a:p>
            </p:txBody>
          </p:sp>
          <p:sp>
            <p:nvSpPr>
              <p:cNvPr id="359" name="Freihandform: Form 358">
                <a:extLst>
                  <a:ext uri="{FF2B5EF4-FFF2-40B4-BE49-F238E27FC236}">
                    <a16:creationId xmlns:a16="http://schemas.microsoft.com/office/drawing/2014/main" id="{6B398EAA-0B86-4001-9DD6-B97DF3C9C078}"/>
                  </a:ext>
                </a:extLst>
              </p:cNvPr>
              <p:cNvSpPr/>
              <p:nvPr/>
            </p:nvSpPr>
            <p:spPr>
              <a:xfrm>
                <a:off x="3720079" y="3503318"/>
                <a:ext cx="26470" cy="13234"/>
              </a:xfrm>
              <a:custGeom>
                <a:avLst/>
                <a:gdLst>
                  <a:gd name="connsiteX0" fmla="*/ 19853 w 26470"/>
                  <a:gd name="connsiteY0" fmla="*/ 13235 h 13234"/>
                  <a:gd name="connsiteX1" fmla="*/ 6618 w 26470"/>
                  <a:gd name="connsiteY1" fmla="*/ 13235 h 13234"/>
                  <a:gd name="connsiteX2" fmla="*/ 0 w 26470"/>
                  <a:gd name="connsiteY2" fmla="*/ 6617 h 13234"/>
                  <a:gd name="connsiteX3" fmla="*/ 6618 w 26470"/>
                  <a:gd name="connsiteY3" fmla="*/ 0 h 13234"/>
                  <a:gd name="connsiteX4" fmla="*/ 19853 w 26470"/>
                  <a:gd name="connsiteY4" fmla="*/ 0 h 13234"/>
                  <a:gd name="connsiteX5" fmla="*/ 26470 w 26470"/>
                  <a:gd name="connsiteY5" fmla="*/ 6617 h 13234"/>
                  <a:gd name="connsiteX6" fmla="*/ 19853 w 26470"/>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 h="13234">
                    <a:moveTo>
                      <a:pt x="19853" y="13235"/>
                    </a:moveTo>
                    <a:lnTo>
                      <a:pt x="6618" y="13235"/>
                    </a:lnTo>
                    <a:cubicBezTo>
                      <a:pt x="2964" y="13235"/>
                      <a:pt x="0" y="10271"/>
                      <a:pt x="0" y="6617"/>
                    </a:cubicBezTo>
                    <a:cubicBezTo>
                      <a:pt x="0" y="2964"/>
                      <a:pt x="2964" y="0"/>
                      <a:pt x="6618" y="0"/>
                    </a:cubicBezTo>
                    <a:lnTo>
                      <a:pt x="19853" y="0"/>
                    </a:lnTo>
                    <a:cubicBezTo>
                      <a:pt x="23506" y="0"/>
                      <a:pt x="26470" y="2964"/>
                      <a:pt x="26470" y="6617"/>
                    </a:cubicBezTo>
                    <a:cubicBezTo>
                      <a:pt x="26500" y="10271"/>
                      <a:pt x="23536" y="13235"/>
                      <a:pt x="19853" y="13235"/>
                    </a:cubicBezTo>
                    <a:close/>
                  </a:path>
                </a:pathLst>
              </a:custGeom>
              <a:solidFill>
                <a:schemeClr val="accent1"/>
              </a:solidFill>
              <a:ln w="2991" cap="flat">
                <a:noFill/>
                <a:prstDash val="solid"/>
                <a:miter/>
              </a:ln>
            </p:spPr>
            <p:txBody>
              <a:bodyPr rtlCol="0" anchor="ctr"/>
              <a:lstStyle/>
              <a:p>
                <a:endParaRPr lang="en-GB" dirty="0"/>
              </a:p>
            </p:txBody>
          </p:sp>
          <p:sp>
            <p:nvSpPr>
              <p:cNvPr id="360" name="Freihandform: Form 359">
                <a:extLst>
                  <a:ext uri="{FF2B5EF4-FFF2-40B4-BE49-F238E27FC236}">
                    <a16:creationId xmlns:a16="http://schemas.microsoft.com/office/drawing/2014/main" id="{245BC9A3-0901-47A2-B952-9D2DA1784A80}"/>
                  </a:ext>
                </a:extLst>
              </p:cNvPr>
              <p:cNvSpPr/>
              <p:nvPr/>
            </p:nvSpPr>
            <p:spPr>
              <a:xfrm>
                <a:off x="3534759" y="3503318"/>
                <a:ext cx="26469" cy="13234"/>
              </a:xfrm>
              <a:custGeom>
                <a:avLst/>
                <a:gdLst>
                  <a:gd name="connsiteX0" fmla="*/ 19852 w 26469"/>
                  <a:gd name="connsiteY0" fmla="*/ 13235 h 13234"/>
                  <a:gd name="connsiteX1" fmla="*/ 6617 w 26469"/>
                  <a:gd name="connsiteY1" fmla="*/ 13235 h 13234"/>
                  <a:gd name="connsiteX2" fmla="*/ 0 w 26469"/>
                  <a:gd name="connsiteY2" fmla="*/ 6617 h 13234"/>
                  <a:gd name="connsiteX3" fmla="*/ 6617 w 26469"/>
                  <a:gd name="connsiteY3" fmla="*/ 0 h 13234"/>
                  <a:gd name="connsiteX4" fmla="*/ 19852 w 26469"/>
                  <a:gd name="connsiteY4" fmla="*/ 0 h 13234"/>
                  <a:gd name="connsiteX5" fmla="*/ 26470 w 26469"/>
                  <a:gd name="connsiteY5" fmla="*/ 6617 h 13234"/>
                  <a:gd name="connsiteX6" fmla="*/ 19852 w 26469"/>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69" h="13234">
                    <a:moveTo>
                      <a:pt x="19852" y="13235"/>
                    </a:moveTo>
                    <a:lnTo>
                      <a:pt x="6617" y="13235"/>
                    </a:lnTo>
                    <a:cubicBezTo>
                      <a:pt x="2964" y="13235"/>
                      <a:pt x="0" y="10271"/>
                      <a:pt x="0" y="6617"/>
                    </a:cubicBezTo>
                    <a:cubicBezTo>
                      <a:pt x="0" y="2964"/>
                      <a:pt x="2964" y="0"/>
                      <a:pt x="6617" y="0"/>
                    </a:cubicBezTo>
                    <a:lnTo>
                      <a:pt x="19852" y="0"/>
                    </a:lnTo>
                    <a:cubicBezTo>
                      <a:pt x="23506" y="0"/>
                      <a:pt x="26470" y="2964"/>
                      <a:pt x="26470" y="6617"/>
                    </a:cubicBezTo>
                    <a:cubicBezTo>
                      <a:pt x="26470" y="10271"/>
                      <a:pt x="23506" y="13235"/>
                      <a:pt x="19852" y="13235"/>
                    </a:cubicBezTo>
                    <a:close/>
                  </a:path>
                </a:pathLst>
              </a:custGeom>
              <a:solidFill>
                <a:schemeClr val="accent1"/>
              </a:solidFill>
              <a:ln w="2991" cap="flat">
                <a:noFill/>
                <a:prstDash val="solid"/>
                <a:miter/>
              </a:ln>
            </p:spPr>
            <p:txBody>
              <a:bodyPr rtlCol="0" anchor="ctr"/>
              <a:lstStyle/>
              <a:p>
                <a:endParaRPr lang="en-GB" dirty="0"/>
              </a:p>
            </p:txBody>
          </p:sp>
        </p:grpSp>
      </p:grpSp>
      <p:sp>
        <p:nvSpPr>
          <p:cNvPr id="377" name="TextBox 1398">
            <a:extLst>
              <a:ext uri="{FF2B5EF4-FFF2-40B4-BE49-F238E27FC236}">
                <a16:creationId xmlns:a16="http://schemas.microsoft.com/office/drawing/2014/main" id="{360634A0-C133-4513-91DA-427DBBDBB755}"/>
              </a:ext>
            </a:extLst>
          </p:cNvPr>
          <p:cNvSpPr txBox="1"/>
          <p:nvPr/>
        </p:nvSpPr>
        <p:spPr>
          <a:xfrm>
            <a:off x="3688298" y="2077494"/>
            <a:ext cx="484107" cy="107722"/>
          </a:xfrm>
          <a:prstGeom prst="rect">
            <a:avLst/>
          </a:prstGeom>
          <a:noFill/>
          <a:effectLst/>
        </p:spPr>
        <p:txBody>
          <a:bodyPr wrap="none" lIns="0" tIns="0" rIns="0" bIns="0" rtlCol="0" anchor="t">
            <a:spAutoFit/>
          </a:bodyPr>
          <a:lstStyle/>
          <a:p>
            <a:pPr algn="ctr"/>
            <a:r>
              <a:rPr lang="en-GB" sz="700" dirty="0">
                <a:solidFill>
                  <a:schemeClr val="tx2"/>
                </a:solidFill>
              </a:rPr>
              <a:t>Impressions</a:t>
            </a:r>
          </a:p>
        </p:txBody>
      </p:sp>
      <p:sp>
        <p:nvSpPr>
          <p:cNvPr id="378" name="TextBox 1402">
            <a:extLst>
              <a:ext uri="{FF2B5EF4-FFF2-40B4-BE49-F238E27FC236}">
                <a16:creationId xmlns:a16="http://schemas.microsoft.com/office/drawing/2014/main" id="{615B9438-F940-496A-9774-60AA700FE77E}"/>
              </a:ext>
            </a:extLst>
          </p:cNvPr>
          <p:cNvSpPr txBox="1"/>
          <p:nvPr/>
        </p:nvSpPr>
        <p:spPr>
          <a:xfrm>
            <a:off x="3801309" y="2899619"/>
            <a:ext cx="258084" cy="107722"/>
          </a:xfrm>
          <a:prstGeom prst="rect">
            <a:avLst/>
          </a:prstGeom>
          <a:noFill/>
          <a:effectLst/>
        </p:spPr>
        <p:txBody>
          <a:bodyPr wrap="none" lIns="0" tIns="0" rIns="0" bIns="0" rtlCol="0" anchor="t">
            <a:spAutoFit/>
          </a:bodyPr>
          <a:lstStyle/>
          <a:p>
            <a:pPr algn="ctr"/>
            <a:r>
              <a:rPr lang="en-GB" sz="700" dirty="0">
                <a:solidFill>
                  <a:schemeClr val="tx2"/>
                </a:solidFill>
              </a:rPr>
              <a:t>Reach</a:t>
            </a:r>
          </a:p>
        </p:txBody>
      </p:sp>
      <p:sp>
        <p:nvSpPr>
          <p:cNvPr id="379" name="TextBox 1408">
            <a:extLst>
              <a:ext uri="{FF2B5EF4-FFF2-40B4-BE49-F238E27FC236}">
                <a16:creationId xmlns:a16="http://schemas.microsoft.com/office/drawing/2014/main" id="{D61FB232-D5DC-4E87-BF56-1FFAA98412AF}"/>
              </a:ext>
            </a:extLst>
          </p:cNvPr>
          <p:cNvSpPr txBox="1"/>
          <p:nvPr/>
        </p:nvSpPr>
        <p:spPr>
          <a:xfrm>
            <a:off x="3735587" y="4547732"/>
            <a:ext cx="389529" cy="215444"/>
          </a:xfrm>
          <a:prstGeom prst="rect">
            <a:avLst/>
          </a:prstGeom>
          <a:noFill/>
          <a:effectLst/>
        </p:spPr>
        <p:txBody>
          <a:bodyPr wrap="none" lIns="0" tIns="0" rIns="0" bIns="0" rtlCol="0" anchor="t">
            <a:spAutoFit/>
          </a:bodyPr>
          <a:lstStyle/>
          <a:p>
            <a:pPr algn="ctr"/>
            <a:r>
              <a:rPr lang="en-GB" sz="700" dirty="0">
                <a:solidFill>
                  <a:schemeClr val="tx2"/>
                </a:solidFill>
              </a:rPr>
              <a:t>Positive</a:t>
            </a:r>
            <a:br>
              <a:rPr lang="en-GB" sz="700" dirty="0">
                <a:solidFill>
                  <a:schemeClr val="tx2"/>
                </a:solidFill>
              </a:rPr>
            </a:br>
            <a:r>
              <a:rPr lang="en-GB" sz="700" dirty="0">
                <a:solidFill>
                  <a:schemeClr val="tx2"/>
                </a:solidFill>
              </a:rPr>
              <a:t>sentiment</a:t>
            </a:r>
          </a:p>
        </p:txBody>
      </p:sp>
      <p:sp>
        <p:nvSpPr>
          <p:cNvPr id="380" name="TextBox 1406">
            <a:extLst>
              <a:ext uri="{FF2B5EF4-FFF2-40B4-BE49-F238E27FC236}">
                <a16:creationId xmlns:a16="http://schemas.microsoft.com/office/drawing/2014/main" id="{E861F040-A204-4379-BE5E-7C42FD37BA12}"/>
              </a:ext>
            </a:extLst>
          </p:cNvPr>
          <p:cNvSpPr txBox="1"/>
          <p:nvPr/>
        </p:nvSpPr>
        <p:spPr>
          <a:xfrm>
            <a:off x="3744403" y="3723675"/>
            <a:ext cx="371897" cy="215444"/>
          </a:xfrm>
          <a:prstGeom prst="rect">
            <a:avLst/>
          </a:prstGeom>
          <a:noFill/>
          <a:effectLst/>
        </p:spPr>
        <p:txBody>
          <a:bodyPr wrap="none" lIns="0" tIns="0" rIns="0" bIns="0" rtlCol="0" anchor="t">
            <a:spAutoFit/>
          </a:bodyPr>
          <a:lstStyle/>
          <a:p>
            <a:pPr algn="ctr"/>
            <a:r>
              <a:rPr lang="en-GB" sz="700" dirty="0">
                <a:solidFill>
                  <a:schemeClr val="tx2"/>
                </a:solidFill>
              </a:rPr>
              <a:t>Audience</a:t>
            </a:r>
            <a:br>
              <a:rPr lang="en-GB" sz="700" dirty="0">
                <a:solidFill>
                  <a:schemeClr val="tx2"/>
                </a:solidFill>
              </a:rPr>
            </a:br>
            <a:r>
              <a:rPr lang="en-GB" sz="700" dirty="0">
                <a:solidFill>
                  <a:schemeClr val="tx2"/>
                </a:solidFill>
              </a:rPr>
              <a:t>research</a:t>
            </a:r>
          </a:p>
        </p:txBody>
      </p:sp>
      <p:grpSp>
        <p:nvGrpSpPr>
          <p:cNvPr id="6" name="Group 5">
            <a:extLst>
              <a:ext uri="{FF2B5EF4-FFF2-40B4-BE49-F238E27FC236}">
                <a16:creationId xmlns:a16="http://schemas.microsoft.com/office/drawing/2014/main" id="{543A4633-DCED-52C6-EAB3-0F1703179D1C}"/>
              </a:ext>
            </a:extLst>
          </p:cNvPr>
          <p:cNvGrpSpPr/>
          <p:nvPr/>
        </p:nvGrpSpPr>
        <p:grpSpPr>
          <a:xfrm>
            <a:off x="2635165" y="1626714"/>
            <a:ext cx="499503" cy="431997"/>
            <a:chOff x="2635165" y="1626714"/>
            <a:chExt cx="499503" cy="431997"/>
          </a:xfrm>
        </p:grpSpPr>
        <p:grpSp>
          <p:nvGrpSpPr>
            <p:cNvPr id="382" name="Group 1064">
              <a:extLst>
                <a:ext uri="{FF2B5EF4-FFF2-40B4-BE49-F238E27FC236}">
                  <a16:creationId xmlns:a16="http://schemas.microsoft.com/office/drawing/2014/main" id="{0FCE7507-22BC-4379-8943-495721C6B6C7}"/>
                </a:ext>
              </a:extLst>
            </p:cNvPr>
            <p:cNvGrpSpPr/>
            <p:nvPr/>
          </p:nvGrpSpPr>
          <p:grpSpPr>
            <a:xfrm>
              <a:off x="2635165" y="1626714"/>
              <a:ext cx="499503" cy="241233"/>
              <a:chOff x="2559831" y="1626731"/>
              <a:chExt cx="489868" cy="236580"/>
            </a:xfrm>
            <a:solidFill>
              <a:schemeClr val="tx2"/>
            </a:solidFill>
          </p:grpSpPr>
          <p:sp>
            <p:nvSpPr>
              <p:cNvPr id="389" name="Freihandform: Form 388">
                <a:extLst>
                  <a:ext uri="{FF2B5EF4-FFF2-40B4-BE49-F238E27FC236}">
                    <a16:creationId xmlns:a16="http://schemas.microsoft.com/office/drawing/2014/main" id="{FB180248-3B7A-4A30-B450-7A09C7027794}"/>
                  </a:ext>
                </a:extLst>
              </p:cNvPr>
              <p:cNvSpPr/>
              <p:nvPr/>
            </p:nvSpPr>
            <p:spPr>
              <a:xfrm>
                <a:off x="2707614" y="1771070"/>
                <a:ext cx="23984" cy="24029"/>
              </a:xfrm>
              <a:custGeom>
                <a:avLst/>
                <a:gdLst>
                  <a:gd name="connsiteX0" fmla="*/ 17382 w 23984"/>
                  <a:gd name="connsiteY0" fmla="*/ 24030 h 24029"/>
                  <a:gd name="connsiteX1" fmla="*/ 12681 w 23984"/>
                  <a:gd name="connsiteY1" fmla="*/ 22083 h 24029"/>
                  <a:gd name="connsiteX2" fmla="*/ 1931 w 23984"/>
                  <a:gd name="connsiteY2" fmla="*/ 11304 h 24029"/>
                  <a:gd name="connsiteX3" fmla="*/ 1931 w 23984"/>
                  <a:gd name="connsiteY3" fmla="*/ 1931 h 24029"/>
                  <a:gd name="connsiteX4" fmla="*/ 11304 w 23984"/>
                  <a:gd name="connsiteY4" fmla="*/ 1931 h 24029"/>
                  <a:gd name="connsiteX5" fmla="*/ 22053 w 23984"/>
                  <a:gd name="connsiteY5" fmla="*/ 12711 h 24029"/>
                  <a:gd name="connsiteX6" fmla="*/ 22053 w 23984"/>
                  <a:gd name="connsiteY6" fmla="*/ 22083 h 24029"/>
                  <a:gd name="connsiteX7" fmla="*/ 17382 w 23984"/>
                  <a:gd name="connsiteY7" fmla="*/ 24030 h 24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984" h="24029">
                    <a:moveTo>
                      <a:pt x="17382" y="24030"/>
                    </a:moveTo>
                    <a:cubicBezTo>
                      <a:pt x="15675" y="24030"/>
                      <a:pt x="13999" y="23371"/>
                      <a:pt x="12681" y="22083"/>
                    </a:cubicBezTo>
                    <a:lnTo>
                      <a:pt x="1931" y="11304"/>
                    </a:lnTo>
                    <a:cubicBezTo>
                      <a:pt x="-644" y="8729"/>
                      <a:pt x="-644" y="4536"/>
                      <a:pt x="1931" y="1931"/>
                    </a:cubicBezTo>
                    <a:cubicBezTo>
                      <a:pt x="4536" y="-644"/>
                      <a:pt x="8699" y="-644"/>
                      <a:pt x="11304" y="1931"/>
                    </a:cubicBezTo>
                    <a:lnTo>
                      <a:pt x="22053" y="12711"/>
                    </a:lnTo>
                    <a:cubicBezTo>
                      <a:pt x="24629" y="15286"/>
                      <a:pt x="24629" y="19478"/>
                      <a:pt x="22053" y="22083"/>
                    </a:cubicBezTo>
                    <a:cubicBezTo>
                      <a:pt x="20736" y="23401"/>
                      <a:pt x="19059" y="24030"/>
                      <a:pt x="17382" y="24030"/>
                    </a:cubicBezTo>
                    <a:close/>
                  </a:path>
                </a:pathLst>
              </a:custGeom>
              <a:grpFill/>
              <a:ln w="2991" cap="flat">
                <a:noFill/>
                <a:prstDash val="solid"/>
                <a:miter/>
              </a:ln>
            </p:spPr>
            <p:txBody>
              <a:bodyPr rtlCol="0" anchor="ctr"/>
              <a:lstStyle/>
              <a:p>
                <a:endParaRPr lang="en-GB" dirty="0"/>
              </a:p>
            </p:txBody>
          </p:sp>
          <p:sp>
            <p:nvSpPr>
              <p:cNvPr id="390" name="Freihandform: Form 389">
                <a:extLst>
                  <a:ext uri="{FF2B5EF4-FFF2-40B4-BE49-F238E27FC236}">
                    <a16:creationId xmlns:a16="http://schemas.microsoft.com/office/drawing/2014/main" id="{7DCC4FB1-52A2-4F76-9214-3EC43351EEB4}"/>
                  </a:ext>
                </a:extLst>
              </p:cNvPr>
              <p:cNvSpPr/>
              <p:nvPr/>
            </p:nvSpPr>
            <p:spPr>
              <a:xfrm>
                <a:off x="2681982" y="1796702"/>
                <a:ext cx="37369" cy="37444"/>
              </a:xfrm>
              <a:custGeom>
                <a:avLst/>
                <a:gdLst>
                  <a:gd name="connsiteX0" fmla="*/ 30767 w 37369"/>
                  <a:gd name="connsiteY0" fmla="*/ 37444 h 37444"/>
                  <a:gd name="connsiteX1" fmla="*/ 26066 w 37369"/>
                  <a:gd name="connsiteY1" fmla="*/ 35498 h 37444"/>
                  <a:gd name="connsiteX2" fmla="*/ 1931 w 37369"/>
                  <a:gd name="connsiteY2" fmla="*/ 11304 h 37444"/>
                  <a:gd name="connsiteX3" fmla="*/ 1931 w 37369"/>
                  <a:gd name="connsiteY3" fmla="*/ 1931 h 37444"/>
                  <a:gd name="connsiteX4" fmla="*/ 11304 w 37369"/>
                  <a:gd name="connsiteY4" fmla="*/ 1931 h 37444"/>
                  <a:gd name="connsiteX5" fmla="*/ 35438 w 37369"/>
                  <a:gd name="connsiteY5" fmla="*/ 26126 h 37444"/>
                  <a:gd name="connsiteX6" fmla="*/ 35438 w 37369"/>
                  <a:gd name="connsiteY6" fmla="*/ 35498 h 37444"/>
                  <a:gd name="connsiteX7" fmla="*/ 30767 w 37369"/>
                  <a:gd name="connsiteY7" fmla="*/ 37444 h 37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369" h="37444">
                    <a:moveTo>
                      <a:pt x="30767" y="37444"/>
                    </a:moveTo>
                    <a:cubicBezTo>
                      <a:pt x="29060" y="37444"/>
                      <a:pt x="27383" y="36786"/>
                      <a:pt x="26066" y="35498"/>
                    </a:cubicBezTo>
                    <a:lnTo>
                      <a:pt x="1931" y="11304"/>
                    </a:lnTo>
                    <a:cubicBezTo>
                      <a:pt x="-644" y="8729"/>
                      <a:pt x="-644" y="4536"/>
                      <a:pt x="1931" y="1931"/>
                    </a:cubicBezTo>
                    <a:cubicBezTo>
                      <a:pt x="4506" y="-644"/>
                      <a:pt x="8699" y="-644"/>
                      <a:pt x="11304" y="1931"/>
                    </a:cubicBezTo>
                    <a:lnTo>
                      <a:pt x="35438" y="26126"/>
                    </a:lnTo>
                    <a:cubicBezTo>
                      <a:pt x="38013" y="28701"/>
                      <a:pt x="38013" y="32893"/>
                      <a:pt x="35438" y="35498"/>
                    </a:cubicBezTo>
                    <a:cubicBezTo>
                      <a:pt x="34151" y="36786"/>
                      <a:pt x="32444" y="37444"/>
                      <a:pt x="30767" y="37444"/>
                    </a:cubicBezTo>
                    <a:close/>
                  </a:path>
                </a:pathLst>
              </a:custGeom>
              <a:grpFill/>
              <a:ln w="2991" cap="flat">
                <a:noFill/>
                <a:prstDash val="solid"/>
                <a:miter/>
              </a:ln>
            </p:spPr>
            <p:txBody>
              <a:bodyPr rtlCol="0" anchor="ctr"/>
              <a:lstStyle/>
              <a:p>
                <a:endParaRPr lang="en-GB" dirty="0"/>
              </a:p>
            </p:txBody>
          </p:sp>
          <p:sp>
            <p:nvSpPr>
              <p:cNvPr id="391" name="Freihandform: Form 390">
                <a:extLst>
                  <a:ext uri="{FF2B5EF4-FFF2-40B4-BE49-F238E27FC236}">
                    <a16:creationId xmlns:a16="http://schemas.microsoft.com/office/drawing/2014/main" id="{7CA1FD80-843C-4D33-9916-ACF0F7D1ABE2}"/>
                  </a:ext>
                </a:extLst>
              </p:cNvPr>
              <p:cNvSpPr/>
              <p:nvPr/>
            </p:nvSpPr>
            <p:spPr>
              <a:xfrm>
                <a:off x="2559831" y="1693546"/>
                <a:ext cx="137931" cy="169765"/>
              </a:xfrm>
              <a:custGeom>
                <a:avLst/>
                <a:gdLst>
                  <a:gd name="connsiteX0" fmla="*/ 131299 w 137931"/>
                  <a:gd name="connsiteY0" fmla="*/ 169765 h 169765"/>
                  <a:gd name="connsiteX1" fmla="*/ 126598 w 137931"/>
                  <a:gd name="connsiteY1" fmla="*/ 167819 h 169765"/>
                  <a:gd name="connsiteX2" fmla="*/ 62608 w 137931"/>
                  <a:gd name="connsiteY2" fmla="*/ 103710 h 169765"/>
                  <a:gd name="connsiteX3" fmla="*/ 39732 w 137931"/>
                  <a:gd name="connsiteY3" fmla="*/ 49662 h 169765"/>
                  <a:gd name="connsiteX4" fmla="*/ 1913 w 137931"/>
                  <a:gd name="connsiteY4" fmla="*/ 11274 h 169765"/>
                  <a:gd name="connsiteX5" fmla="*/ 1973 w 137931"/>
                  <a:gd name="connsiteY5" fmla="*/ 1902 h 169765"/>
                  <a:gd name="connsiteX6" fmla="*/ 11345 w 137931"/>
                  <a:gd name="connsiteY6" fmla="*/ 1962 h 169765"/>
                  <a:gd name="connsiteX7" fmla="*/ 51080 w 137931"/>
                  <a:gd name="connsiteY7" fmla="*/ 42266 h 169765"/>
                  <a:gd name="connsiteX8" fmla="*/ 52996 w 137931"/>
                  <a:gd name="connsiteY8" fmla="*/ 47027 h 169765"/>
                  <a:gd name="connsiteX9" fmla="*/ 72011 w 137931"/>
                  <a:gd name="connsiteY9" fmla="*/ 94337 h 169765"/>
                  <a:gd name="connsiteX10" fmla="*/ 136000 w 137931"/>
                  <a:gd name="connsiteY10" fmla="*/ 158446 h 169765"/>
                  <a:gd name="connsiteX11" fmla="*/ 136000 w 137931"/>
                  <a:gd name="connsiteY11" fmla="*/ 167819 h 169765"/>
                  <a:gd name="connsiteX12" fmla="*/ 131299 w 137931"/>
                  <a:gd name="connsiteY12" fmla="*/ 169765 h 169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931" h="169765">
                    <a:moveTo>
                      <a:pt x="131299" y="169765"/>
                    </a:moveTo>
                    <a:cubicBezTo>
                      <a:pt x="129592" y="169765"/>
                      <a:pt x="127915" y="169106"/>
                      <a:pt x="126598" y="167819"/>
                    </a:cubicBezTo>
                    <a:lnTo>
                      <a:pt x="62608" y="103710"/>
                    </a:lnTo>
                    <a:cubicBezTo>
                      <a:pt x="48176" y="89247"/>
                      <a:pt x="40121" y="70143"/>
                      <a:pt x="39732" y="49662"/>
                    </a:cubicBezTo>
                    <a:lnTo>
                      <a:pt x="1913" y="11274"/>
                    </a:lnTo>
                    <a:cubicBezTo>
                      <a:pt x="-662" y="8669"/>
                      <a:pt x="-632" y="4477"/>
                      <a:pt x="1973" y="1902"/>
                    </a:cubicBezTo>
                    <a:cubicBezTo>
                      <a:pt x="4578" y="-673"/>
                      <a:pt x="8770" y="-614"/>
                      <a:pt x="11345" y="1962"/>
                    </a:cubicBezTo>
                    <a:lnTo>
                      <a:pt x="51080" y="42266"/>
                    </a:lnTo>
                    <a:cubicBezTo>
                      <a:pt x="52338" y="43523"/>
                      <a:pt x="53026" y="45230"/>
                      <a:pt x="52996" y="47027"/>
                    </a:cubicBezTo>
                    <a:cubicBezTo>
                      <a:pt x="52727" y="64963"/>
                      <a:pt x="59464" y="81761"/>
                      <a:pt x="72011" y="94337"/>
                    </a:cubicBezTo>
                    <a:lnTo>
                      <a:pt x="136000" y="158446"/>
                    </a:lnTo>
                    <a:cubicBezTo>
                      <a:pt x="138575" y="161022"/>
                      <a:pt x="138575" y="165214"/>
                      <a:pt x="136000" y="167819"/>
                    </a:cubicBezTo>
                    <a:cubicBezTo>
                      <a:pt x="134682" y="169136"/>
                      <a:pt x="132976" y="169765"/>
                      <a:pt x="131299" y="169765"/>
                    </a:cubicBezTo>
                    <a:close/>
                  </a:path>
                </a:pathLst>
              </a:custGeom>
              <a:grpFill/>
              <a:ln w="2991" cap="flat">
                <a:noFill/>
                <a:prstDash val="solid"/>
                <a:miter/>
              </a:ln>
            </p:spPr>
            <p:txBody>
              <a:bodyPr rtlCol="0" anchor="ctr"/>
              <a:lstStyle/>
              <a:p>
                <a:endParaRPr lang="en-GB" dirty="0"/>
              </a:p>
            </p:txBody>
          </p:sp>
          <p:sp>
            <p:nvSpPr>
              <p:cNvPr id="392" name="Freihandform: Form 391">
                <a:extLst>
                  <a:ext uri="{FF2B5EF4-FFF2-40B4-BE49-F238E27FC236}">
                    <a16:creationId xmlns:a16="http://schemas.microsoft.com/office/drawing/2014/main" id="{0220D4A0-EFF4-41B1-BEB8-E9DC76FB2CEC}"/>
                  </a:ext>
                </a:extLst>
              </p:cNvPr>
              <p:cNvSpPr/>
              <p:nvPr/>
            </p:nvSpPr>
            <p:spPr>
              <a:xfrm>
                <a:off x="2625703" y="1626731"/>
                <a:ext cx="185246" cy="124142"/>
              </a:xfrm>
              <a:custGeom>
                <a:avLst/>
                <a:gdLst>
                  <a:gd name="connsiteX0" fmla="*/ 156545 w 185246"/>
                  <a:gd name="connsiteY0" fmla="*/ 124142 h 124142"/>
                  <a:gd name="connsiteX1" fmla="*/ 151754 w 185246"/>
                  <a:gd name="connsiteY1" fmla="*/ 122106 h 124142"/>
                  <a:gd name="connsiteX2" fmla="*/ 119355 w 185246"/>
                  <a:gd name="connsiteY2" fmla="*/ 88210 h 124142"/>
                  <a:gd name="connsiteX3" fmla="*/ 118217 w 185246"/>
                  <a:gd name="connsiteY3" fmla="*/ 80694 h 124142"/>
                  <a:gd name="connsiteX4" fmla="*/ 124925 w 185246"/>
                  <a:gd name="connsiteY4" fmla="*/ 77071 h 124142"/>
                  <a:gd name="connsiteX5" fmla="*/ 160228 w 185246"/>
                  <a:gd name="connsiteY5" fmla="*/ 81293 h 124142"/>
                  <a:gd name="connsiteX6" fmla="*/ 167774 w 185246"/>
                  <a:gd name="connsiteY6" fmla="*/ 79137 h 124142"/>
                  <a:gd name="connsiteX7" fmla="*/ 171637 w 185246"/>
                  <a:gd name="connsiteY7" fmla="*/ 72280 h 124142"/>
                  <a:gd name="connsiteX8" fmla="*/ 171906 w 185246"/>
                  <a:gd name="connsiteY8" fmla="*/ 69885 h 124142"/>
                  <a:gd name="connsiteX9" fmla="*/ 162923 w 185246"/>
                  <a:gd name="connsiteY9" fmla="*/ 58446 h 124142"/>
                  <a:gd name="connsiteX10" fmla="*/ 71655 w 185246"/>
                  <a:gd name="connsiteY10" fmla="*/ 47547 h 124142"/>
                  <a:gd name="connsiteX11" fmla="*/ 42460 w 185246"/>
                  <a:gd name="connsiteY11" fmla="*/ 48235 h 124142"/>
                  <a:gd name="connsiteX12" fmla="*/ 36412 w 185246"/>
                  <a:gd name="connsiteY12" fmla="*/ 46379 h 124142"/>
                  <a:gd name="connsiteX13" fmla="*/ 1887 w 185246"/>
                  <a:gd name="connsiteY13" fmla="*/ 11285 h 124142"/>
                  <a:gd name="connsiteX14" fmla="*/ 1976 w 185246"/>
                  <a:gd name="connsiteY14" fmla="*/ 1913 h 124142"/>
                  <a:gd name="connsiteX15" fmla="*/ 11349 w 185246"/>
                  <a:gd name="connsiteY15" fmla="*/ 1973 h 124142"/>
                  <a:gd name="connsiteX16" fmla="*/ 43418 w 185246"/>
                  <a:gd name="connsiteY16" fmla="*/ 34581 h 124142"/>
                  <a:gd name="connsiteX17" fmla="*/ 73572 w 185246"/>
                  <a:gd name="connsiteY17" fmla="*/ 34402 h 124142"/>
                  <a:gd name="connsiteX18" fmla="*/ 164510 w 185246"/>
                  <a:gd name="connsiteY18" fmla="*/ 45241 h 124142"/>
                  <a:gd name="connsiteX19" fmla="*/ 185081 w 185246"/>
                  <a:gd name="connsiteY19" fmla="*/ 71412 h 124142"/>
                  <a:gd name="connsiteX20" fmla="*/ 184782 w 185246"/>
                  <a:gd name="connsiteY20" fmla="*/ 73807 h 124142"/>
                  <a:gd name="connsiteX21" fmla="*/ 175978 w 185246"/>
                  <a:gd name="connsiteY21" fmla="*/ 89498 h 124142"/>
                  <a:gd name="connsiteX22" fmla="*/ 158671 w 185246"/>
                  <a:gd name="connsiteY22" fmla="*/ 94408 h 124142"/>
                  <a:gd name="connsiteX23" fmla="*/ 141663 w 185246"/>
                  <a:gd name="connsiteY23" fmla="*/ 92372 h 124142"/>
                  <a:gd name="connsiteX24" fmla="*/ 161336 w 185246"/>
                  <a:gd name="connsiteY24" fmla="*/ 112943 h 124142"/>
                  <a:gd name="connsiteX25" fmla="*/ 161126 w 185246"/>
                  <a:gd name="connsiteY25" fmla="*/ 122286 h 124142"/>
                  <a:gd name="connsiteX26" fmla="*/ 156545 w 185246"/>
                  <a:gd name="connsiteY26" fmla="*/ 124142 h 124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5246" h="124142">
                    <a:moveTo>
                      <a:pt x="156545" y="124142"/>
                    </a:moveTo>
                    <a:cubicBezTo>
                      <a:pt x="154808" y="124142"/>
                      <a:pt x="153072" y="123454"/>
                      <a:pt x="151754" y="122106"/>
                    </a:cubicBezTo>
                    <a:lnTo>
                      <a:pt x="119355" y="88210"/>
                    </a:lnTo>
                    <a:cubicBezTo>
                      <a:pt x="117409" y="86204"/>
                      <a:pt x="116960" y="83180"/>
                      <a:pt x="118217" y="80694"/>
                    </a:cubicBezTo>
                    <a:cubicBezTo>
                      <a:pt x="119475" y="78209"/>
                      <a:pt x="122200" y="76772"/>
                      <a:pt x="124925" y="77071"/>
                    </a:cubicBezTo>
                    <a:lnTo>
                      <a:pt x="160228" y="81293"/>
                    </a:lnTo>
                    <a:cubicBezTo>
                      <a:pt x="162923" y="81622"/>
                      <a:pt x="165618" y="80844"/>
                      <a:pt x="167774" y="79137"/>
                    </a:cubicBezTo>
                    <a:cubicBezTo>
                      <a:pt x="169930" y="77430"/>
                      <a:pt x="171307" y="74975"/>
                      <a:pt x="171637" y="72280"/>
                    </a:cubicBezTo>
                    <a:lnTo>
                      <a:pt x="171906" y="69885"/>
                    </a:lnTo>
                    <a:cubicBezTo>
                      <a:pt x="172565" y="64225"/>
                      <a:pt x="168552" y="59105"/>
                      <a:pt x="162923" y="58446"/>
                    </a:cubicBezTo>
                    <a:lnTo>
                      <a:pt x="71655" y="47547"/>
                    </a:lnTo>
                    <a:cubicBezTo>
                      <a:pt x="61654" y="46109"/>
                      <a:pt x="51832" y="46349"/>
                      <a:pt x="42460" y="48235"/>
                    </a:cubicBezTo>
                    <a:cubicBezTo>
                      <a:pt x="40274" y="48655"/>
                      <a:pt x="37999" y="47996"/>
                      <a:pt x="36412" y="46379"/>
                    </a:cubicBezTo>
                    <a:lnTo>
                      <a:pt x="1887" y="11285"/>
                    </a:lnTo>
                    <a:cubicBezTo>
                      <a:pt x="-658" y="8680"/>
                      <a:pt x="-629" y="4488"/>
                      <a:pt x="1976" y="1913"/>
                    </a:cubicBezTo>
                    <a:cubicBezTo>
                      <a:pt x="4582" y="-662"/>
                      <a:pt x="8774" y="-632"/>
                      <a:pt x="11349" y="1973"/>
                    </a:cubicBezTo>
                    <a:lnTo>
                      <a:pt x="43418" y="34581"/>
                    </a:lnTo>
                    <a:cubicBezTo>
                      <a:pt x="53180" y="32964"/>
                      <a:pt x="63301" y="32934"/>
                      <a:pt x="73572" y="34402"/>
                    </a:cubicBezTo>
                    <a:lnTo>
                      <a:pt x="164510" y="45241"/>
                    </a:lnTo>
                    <a:cubicBezTo>
                      <a:pt x="177386" y="46768"/>
                      <a:pt x="186608" y="58506"/>
                      <a:pt x="185081" y="71412"/>
                    </a:cubicBezTo>
                    <a:lnTo>
                      <a:pt x="184782" y="73807"/>
                    </a:lnTo>
                    <a:cubicBezTo>
                      <a:pt x="184033" y="80035"/>
                      <a:pt x="180919" y="85605"/>
                      <a:pt x="175978" y="89498"/>
                    </a:cubicBezTo>
                    <a:cubicBezTo>
                      <a:pt x="171038" y="93390"/>
                      <a:pt x="164869" y="95097"/>
                      <a:pt x="158671" y="94408"/>
                    </a:cubicBezTo>
                    <a:lnTo>
                      <a:pt x="141663" y="92372"/>
                    </a:lnTo>
                    <a:lnTo>
                      <a:pt x="161336" y="112943"/>
                    </a:lnTo>
                    <a:cubicBezTo>
                      <a:pt x="163851" y="115578"/>
                      <a:pt x="163761" y="119771"/>
                      <a:pt x="161126" y="122286"/>
                    </a:cubicBezTo>
                    <a:cubicBezTo>
                      <a:pt x="159809" y="123543"/>
                      <a:pt x="158192" y="124142"/>
                      <a:pt x="156545" y="124142"/>
                    </a:cubicBezTo>
                    <a:close/>
                  </a:path>
                </a:pathLst>
              </a:custGeom>
              <a:grpFill/>
              <a:ln w="2991" cap="flat">
                <a:noFill/>
                <a:prstDash val="solid"/>
                <a:miter/>
              </a:ln>
            </p:spPr>
            <p:txBody>
              <a:bodyPr rtlCol="0" anchor="ctr"/>
              <a:lstStyle/>
              <a:p>
                <a:endParaRPr lang="en-GB" dirty="0"/>
              </a:p>
            </p:txBody>
          </p:sp>
          <p:sp>
            <p:nvSpPr>
              <p:cNvPr id="393" name="Freihandform: Form 392">
                <a:extLst>
                  <a:ext uri="{FF2B5EF4-FFF2-40B4-BE49-F238E27FC236}">
                    <a16:creationId xmlns:a16="http://schemas.microsoft.com/office/drawing/2014/main" id="{9B70B5C7-50E9-4968-AD79-8750427ECCA0}"/>
                  </a:ext>
                </a:extLst>
              </p:cNvPr>
              <p:cNvSpPr/>
              <p:nvPr/>
            </p:nvSpPr>
            <p:spPr>
              <a:xfrm>
                <a:off x="2733185" y="1745409"/>
                <a:ext cx="21559" cy="21604"/>
              </a:xfrm>
              <a:custGeom>
                <a:avLst/>
                <a:gdLst>
                  <a:gd name="connsiteX0" fmla="*/ 14957 w 21559"/>
                  <a:gd name="connsiteY0" fmla="*/ 21604 h 21604"/>
                  <a:gd name="connsiteX1" fmla="*/ 10256 w 21559"/>
                  <a:gd name="connsiteY1" fmla="*/ 19658 h 21604"/>
                  <a:gd name="connsiteX2" fmla="*/ 1931 w 21559"/>
                  <a:gd name="connsiteY2" fmla="*/ 11304 h 21604"/>
                  <a:gd name="connsiteX3" fmla="*/ 1931 w 21559"/>
                  <a:gd name="connsiteY3" fmla="*/ 1931 h 21604"/>
                  <a:gd name="connsiteX4" fmla="*/ 11304 w 21559"/>
                  <a:gd name="connsiteY4" fmla="*/ 1931 h 21604"/>
                  <a:gd name="connsiteX5" fmla="*/ 19628 w 21559"/>
                  <a:gd name="connsiteY5" fmla="*/ 10286 h 21604"/>
                  <a:gd name="connsiteX6" fmla="*/ 19628 w 21559"/>
                  <a:gd name="connsiteY6" fmla="*/ 19658 h 21604"/>
                  <a:gd name="connsiteX7" fmla="*/ 14957 w 21559"/>
                  <a:gd name="connsiteY7" fmla="*/ 21604 h 21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59" h="21604">
                    <a:moveTo>
                      <a:pt x="14957" y="21604"/>
                    </a:moveTo>
                    <a:cubicBezTo>
                      <a:pt x="13250" y="21604"/>
                      <a:pt x="11573" y="20945"/>
                      <a:pt x="10256" y="19658"/>
                    </a:cubicBezTo>
                    <a:lnTo>
                      <a:pt x="1931" y="11304"/>
                    </a:lnTo>
                    <a:cubicBezTo>
                      <a:pt x="-644" y="8729"/>
                      <a:pt x="-644" y="4536"/>
                      <a:pt x="1931" y="1931"/>
                    </a:cubicBezTo>
                    <a:cubicBezTo>
                      <a:pt x="4536" y="-644"/>
                      <a:pt x="8699" y="-644"/>
                      <a:pt x="11304" y="1931"/>
                    </a:cubicBezTo>
                    <a:lnTo>
                      <a:pt x="19628" y="10286"/>
                    </a:lnTo>
                    <a:cubicBezTo>
                      <a:pt x="22203" y="12861"/>
                      <a:pt x="22203" y="17053"/>
                      <a:pt x="19628" y="19658"/>
                    </a:cubicBezTo>
                    <a:cubicBezTo>
                      <a:pt x="18341" y="20975"/>
                      <a:pt x="16664" y="21604"/>
                      <a:pt x="14957" y="21604"/>
                    </a:cubicBezTo>
                    <a:close/>
                  </a:path>
                </a:pathLst>
              </a:custGeom>
              <a:grpFill/>
              <a:ln w="2991" cap="flat">
                <a:noFill/>
                <a:prstDash val="solid"/>
                <a:miter/>
              </a:ln>
            </p:spPr>
            <p:txBody>
              <a:bodyPr rtlCol="0" anchor="ctr"/>
              <a:lstStyle/>
              <a:p>
                <a:endParaRPr lang="en-GB" dirty="0"/>
              </a:p>
            </p:txBody>
          </p:sp>
          <p:sp>
            <p:nvSpPr>
              <p:cNvPr id="394" name="Freihandform: Form 393">
                <a:extLst>
                  <a:ext uri="{FF2B5EF4-FFF2-40B4-BE49-F238E27FC236}">
                    <a16:creationId xmlns:a16="http://schemas.microsoft.com/office/drawing/2014/main" id="{7BCBBB31-163B-49A5-A783-C0619DD1614D}"/>
                  </a:ext>
                </a:extLst>
              </p:cNvPr>
              <p:cNvSpPr/>
              <p:nvPr/>
            </p:nvSpPr>
            <p:spPr>
              <a:xfrm>
                <a:off x="2883681" y="1768768"/>
                <a:ext cx="19224" cy="19056"/>
              </a:xfrm>
              <a:custGeom>
                <a:avLst/>
                <a:gdLst>
                  <a:gd name="connsiteX0" fmla="*/ 6603 w 19224"/>
                  <a:gd name="connsiteY0" fmla="*/ 19056 h 19056"/>
                  <a:gd name="connsiteX1" fmla="*/ 1872 w 19224"/>
                  <a:gd name="connsiteY1" fmla="*/ 17050 h 19056"/>
                  <a:gd name="connsiteX2" fmla="*/ 1992 w 19224"/>
                  <a:gd name="connsiteY2" fmla="*/ 7678 h 19056"/>
                  <a:gd name="connsiteX3" fmla="*/ 7981 w 19224"/>
                  <a:gd name="connsiteY3" fmla="*/ 1869 h 19056"/>
                  <a:gd name="connsiteX4" fmla="*/ 17353 w 19224"/>
                  <a:gd name="connsiteY4" fmla="*/ 2018 h 19056"/>
                  <a:gd name="connsiteX5" fmla="*/ 17233 w 19224"/>
                  <a:gd name="connsiteY5" fmla="*/ 11391 h 19056"/>
                  <a:gd name="connsiteX6" fmla="*/ 11244 w 19224"/>
                  <a:gd name="connsiteY6" fmla="*/ 17200 h 19056"/>
                  <a:gd name="connsiteX7" fmla="*/ 6603 w 19224"/>
                  <a:gd name="connsiteY7" fmla="*/ 19056 h 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24" h="19056">
                    <a:moveTo>
                      <a:pt x="6603" y="19056"/>
                    </a:moveTo>
                    <a:cubicBezTo>
                      <a:pt x="4866" y="19056"/>
                      <a:pt x="3160" y="18397"/>
                      <a:pt x="1872" y="17050"/>
                    </a:cubicBezTo>
                    <a:cubicBezTo>
                      <a:pt x="-673" y="14415"/>
                      <a:pt x="-613" y="10253"/>
                      <a:pt x="1992" y="7678"/>
                    </a:cubicBezTo>
                    <a:lnTo>
                      <a:pt x="7981" y="1869"/>
                    </a:lnTo>
                    <a:cubicBezTo>
                      <a:pt x="10616" y="-677"/>
                      <a:pt x="14808" y="-617"/>
                      <a:pt x="17353" y="2018"/>
                    </a:cubicBezTo>
                    <a:cubicBezTo>
                      <a:pt x="19898" y="4653"/>
                      <a:pt x="19838" y="8815"/>
                      <a:pt x="17233" y="11391"/>
                    </a:cubicBezTo>
                    <a:lnTo>
                      <a:pt x="11244" y="17200"/>
                    </a:lnTo>
                    <a:cubicBezTo>
                      <a:pt x="9927" y="18427"/>
                      <a:pt x="8250" y="19056"/>
                      <a:pt x="6603" y="19056"/>
                    </a:cubicBezTo>
                    <a:close/>
                  </a:path>
                </a:pathLst>
              </a:custGeom>
              <a:grpFill/>
              <a:ln w="2991" cap="flat">
                <a:noFill/>
                <a:prstDash val="solid"/>
                <a:miter/>
              </a:ln>
            </p:spPr>
            <p:txBody>
              <a:bodyPr rtlCol="0" anchor="ctr"/>
              <a:lstStyle/>
              <a:p>
                <a:endParaRPr lang="en-GB" dirty="0"/>
              </a:p>
            </p:txBody>
          </p:sp>
          <p:sp>
            <p:nvSpPr>
              <p:cNvPr id="395" name="Freihandform: Form 394">
                <a:extLst>
                  <a:ext uri="{FF2B5EF4-FFF2-40B4-BE49-F238E27FC236}">
                    <a16:creationId xmlns:a16="http://schemas.microsoft.com/office/drawing/2014/main" id="{6882648F-D062-416B-9143-7010E65BCFF7}"/>
                  </a:ext>
                </a:extLst>
              </p:cNvPr>
              <p:cNvSpPr/>
              <p:nvPr/>
            </p:nvSpPr>
            <p:spPr>
              <a:xfrm>
                <a:off x="2909316" y="1794389"/>
                <a:ext cx="19187" cy="19096"/>
              </a:xfrm>
              <a:custGeom>
                <a:avLst/>
                <a:gdLst>
                  <a:gd name="connsiteX0" fmla="*/ 6629 w 19187"/>
                  <a:gd name="connsiteY0" fmla="*/ 19097 h 19096"/>
                  <a:gd name="connsiteX1" fmla="*/ 1898 w 19187"/>
                  <a:gd name="connsiteY1" fmla="*/ 17120 h 19096"/>
                  <a:gd name="connsiteX2" fmla="*/ 1988 w 19187"/>
                  <a:gd name="connsiteY2" fmla="*/ 7748 h 19096"/>
                  <a:gd name="connsiteX3" fmla="*/ 7917 w 19187"/>
                  <a:gd name="connsiteY3" fmla="*/ 1909 h 19096"/>
                  <a:gd name="connsiteX4" fmla="*/ 17289 w 19187"/>
                  <a:gd name="connsiteY4" fmla="*/ 1999 h 19096"/>
                  <a:gd name="connsiteX5" fmla="*/ 17199 w 19187"/>
                  <a:gd name="connsiteY5" fmla="*/ 11371 h 19096"/>
                  <a:gd name="connsiteX6" fmla="*/ 11270 w 19187"/>
                  <a:gd name="connsiteY6" fmla="*/ 17210 h 19096"/>
                  <a:gd name="connsiteX7" fmla="*/ 6629 w 19187"/>
                  <a:gd name="connsiteY7" fmla="*/ 19097 h 19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187" h="19096">
                    <a:moveTo>
                      <a:pt x="6629" y="19097"/>
                    </a:moveTo>
                    <a:cubicBezTo>
                      <a:pt x="4922" y="19097"/>
                      <a:pt x="3216" y="18438"/>
                      <a:pt x="1898" y="17120"/>
                    </a:cubicBezTo>
                    <a:cubicBezTo>
                      <a:pt x="-677" y="14515"/>
                      <a:pt x="-617" y="10323"/>
                      <a:pt x="1988" y="7748"/>
                    </a:cubicBezTo>
                    <a:lnTo>
                      <a:pt x="7917" y="1909"/>
                    </a:lnTo>
                    <a:cubicBezTo>
                      <a:pt x="10522" y="-666"/>
                      <a:pt x="14714" y="-636"/>
                      <a:pt x="17289" y="1999"/>
                    </a:cubicBezTo>
                    <a:cubicBezTo>
                      <a:pt x="19864" y="4604"/>
                      <a:pt x="19804" y="8796"/>
                      <a:pt x="17199" y="11371"/>
                    </a:cubicBezTo>
                    <a:lnTo>
                      <a:pt x="11270" y="17210"/>
                    </a:lnTo>
                    <a:cubicBezTo>
                      <a:pt x="9983" y="18468"/>
                      <a:pt x="8276" y="19097"/>
                      <a:pt x="6629" y="19097"/>
                    </a:cubicBezTo>
                    <a:close/>
                  </a:path>
                </a:pathLst>
              </a:custGeom>
              <a:grpFill/>
              <a:ln w="2991" cap="flat">
                <a:noFill/>
                <a:prstDash val="solid"/>
                <a:miter/>
              </a:ln>
            </p:spPr>
            <p:txBody>
              <a:bodyPr rtlCol="0" anchor="ctr"/>
              <a:lstStyle/>
              <a:p>
                <a:endParaRPr lang="en-GB" dirty="0"/>
              </a:p>
            </p:txBody>
          </p:sp>
          <p:sp>
            <p:nvSpPr>
              <p:cNvPr id="396" name="Freihandform: Form 395">
                <a:extLst>
                  <a:ext uri="{FF2B5EF4-FFF2-40B4-BE49-F238E27FC236}">
                    <a16:creationId xmlns:a16="http://schemas.microsoft.com/office/drawing/2014/main" id="{863CD167-144F-4401-B4A1-B56339FEC46E}"/>
                  </a:ext>
                </a:extLst>
              </p:cNvPr>
              <p:cNvSpPr/>
              <p:nvPr/>
            </p:nvSpPr>
            <p:spPr>
              <a:xfrm>
                <a:off x="2911746" y="1693535"/>
                <a:ext cx="137953" cy="169776"/>
              </a:xfrm>
              <a:custGeom>
                <a:avLst/>
                <a:gdLst>
                  <a:gd name="connsiteX0" fmla="*/ 6625 w 137953"/>
                  <a:gd name="connsiteY0" fmla="*/ 169776 h 169776"/>
                  <a:gd name="connsiteX1" fmla="*/ 1954 w 137953"/>
                  <a:gd name="connsiteY1" fmla="*/ 167830 h 169776"/>
                  <a:gd name="connsiteX2" fmla="*/ 1954 w 137953"/>
                  <a:gd name="connsiteY2" fmla="*/ 158458 h 169776"/>
                  <a:gd name="connsiteX3" fmla="*/ 65913 w 137953"/>
                  <a:gd name="connsiteY3" fmla="*/ 94348 h 169776"/>
                  <a:gd name="connsiteX4" fmla="*/ 84957 w 137953"/>
                  <a:gd name="connsiteY4" fmla="*/ 47038 h 169776"/>
                  <a:gd name="connsiteX5" fmla="*/ 86874 w 137953"/>
                  <a:gd name="connsiteY5" fmla="*/ 42277 h 169776"/>
                  <a:gd name="connsiteX6" fmla="*/ 126609 w 137953"/>
                  <a:gd name="connsiteY6" fmla="*/ 1973 h 169776"/>
                  <a:gd name="connsiteX7" fmla="*/ 135981 w 137953"/>
                  <a:gd name="connsiteY7" fmla="*/ 1913 h 169776"/>
                  <a:gd name="connsiteX8" fmla="*/ 136041 w 137953"/>
                  <a:gd name="connsiteY8" fmla="*/ 11285 h 169776"/>
                  <a:gd name="connsiteX9" fmla="*/ 98222 w 137953"/>
                  <a:gd name="connsiteY9" fmla="*/ 49673 h 169776"/>
                  <a:gd name="connsiteX10" fmla="*/ 75345 w 137953"/>
                  <a:gd name="connsiteY10" fmla="*/ 103721 h 169776"/>
                  <a:gd name="connsiteX11" fmla="*/ 11296 w 137953"/>
                  <a:gd name="connsiteY11" fmla="*/ 167830 h 169776"/>
                  <a:gd name="connsiteX12" fmla="*/ 6625 w 137953"/>
                  <a:gd name="connsiteY12" fmla="*/ 169776 h 169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7953" h="169776">
                    <a:moveTo>
                      <a:pt x="6625" y="169776"/>
                    </a:moveTo>
                    <a:cubicBezTo>
                      <a:pt x="4918" y="169776"/>
                      <a:pt x="3241" y="169147"/>
                      <a:pt x="1954" y="167830"/>
                    </a:cubicBezTo>
                    <a:cubicBezTo>
                      <a:pt x="-651" y="165255"/>
                      <a:pt x="-651" y="161063"/>
                      <a:pt x="1954" y="158458"/>
                    </a:cubicBezTo>
                    <a:lnTo>
                      <a:pt x="65913" y="94348"/>
                    </a:lnTo>
                    <a:cubicBezTo>
                      <a:pt x="78459" y="81772"/>
                      <a:pt x="85227" y="64974"/>
                      <a:pt x="84957" y="47038"/>
                    </a:cubicBezTo>
                    <a:cubicBezTo>
                      <a:pt x="84927" y="45271"/>
                      <a:pt x="85616" y="43564"/>
                      <a:pt x="86874" y="42277"/>
                    </a:cubicBezTo>
                    <a:lnTo>
                      <a:pt x="126609" y="1973"/>
                    </a:lnTo>
                    <a:cubicBezTo>
                      <a:pt x="129154" y="-632"/>
                      <a:pt x="133346" y="-662"/>
                      <a:pt x="135981" y="1913"/>
                    </a:cubicBezTo>
                    <a:cubicBezTo>
                      <a:pt x="138586" y="4488"/>
                      <a:pt x="138616" y="8680"/>
                      <a:pt x="136041" y="11285"/>
                    </a:cubicBezTo>
                    <a:lnTo>
                      <a:pt x="98222" y="49673"/>
                    </a:lnTo>
                    <a:cubicBezTo>
                      <a:pt x="97833" y="70154"/>
                      <a:pt x="89778" y="89258"/>
                      <a:pt x="75345" y="103721"/>
                    </a:cubicBezTo>
                    <a:lnTo>
                      <a:pt x="11296" y="167830"/>
                    </a:lnTo>
                    <a:cubicBezTo>
                      <a:pt x="10009" y="169117"/>
                      <a:pt x="8302" y="169776"/>
                      <a:pt x="6625" y="169776"/>
                    </a:cubicBezTo>
                    <a:close/>
                  </a:path>
                </a:pathLst>
              </a:custGeom>
              <a:grpFill/>
              <a:ln w="2991" cap="flat">
                <a:noFill/>
                <a:prstDash val="solid"/>
                <a:miter/>
              </a:ln>
            </p:spPr>
            <p:txBody>
              <a:bodyPr rtlCol="0" anchor="ctr"/>
              <a:lstStyle/>
              <a:p>
                <a:endParaRPr lang="en-GB" dirty="0"/>
              </a:p>
            </p:txBody>
          </p:sp>
          <p:sp>
            <p:nvSpPr>
              <p:cNvPr id="397" name="Freihandform: Form 396">
                <a:extLst>
                  <a:ext uri="{FF2B5EF4-FFF2-40B4-BE49-F238E27FC236}">
                    <a16:creationId xmlns:a16="http://schemas.microsoft.com/office/drawing/2014/main" id="{F3441131-7D40-4711-A42A-9806DFE6270F}"/>
                  </a:ext>
                </a:extLst>
              </p:cNvPr>
              <p:cNvSpPr/>
              <p:nvPr/>
            </p:nvSpPr>
            <p:spPr>
              <a:xfrm>
                <a:off x="2798521" y="1626761"/>
                <a:ext cx="185276" cy="124112"/>
              </a:xfrm>
              <a:custGeom>
                <a:avLst/>
                <a:gdLst>
                  <a:gd name="connsiteX0" fmla="*/ 26725 w 185276"/>
                  <a:gd name="connsiteY0" fmla="*/ 124112 h 124112"/>
                  <a:gd name="connsiteX1" fmla="*/ 22024 w 185276"/>
                  <a:gd name="connsiteY1" fmla="*/ 122136 h 124112"/>
                  <a:gd name="connsiteX2" fmla="*/ 22084 w 185276"/>
                  <a:gd name="connsiteY2" fmla="*/ 112764 h 124112"/>
                  <a:gd name="connsiteX3" fmla="*/ 42685 w 185276"/>
                  <a:gd name="connsiteY3" fmla="*/ 92462 h 124112"/>
                  <a:gd name="connsiteX4" fmla="*/ 26576 w 185276"/>
                  <a:gd name="connsiteY4" fmla="*/ 94378 h 124112"/>
                  <a:gd name="connsiteX5" fmla="*/ 9268 w 185276"/>
                  <a:gd name="connsiteY5" fmla="*/ 89468 h 124112"/>
                  <a:gd name="connsiteX6" fmla="*/ 465 w 185276"/>
                  <a:gd name="connsiteY6" fmla="*/ 73777 h 124112"/>
                  <a:gd name="connsiteX7" fmla="*/ 165 w 185276"/>
                  <a:gd name="connsiteY7" fmla="*/ 71382 h 124112"/>
                  <a:gd name="connsiteX8" fmla="*/ 20737 w 185276"/>
                  <a:gd name="connsiteY8" fmla="*/ 45211 h 124112"/>
                  <a:gd name="connsiteX9" fmla="*/ 111076 w 185276"/>
                  <a:gd name="connsiteY9" fmla="*/ 34431 h 124112"/>
                  <a:gd name="connsiteX10" fmla="*/ 141828 w 185276"/>
                  <a:gd name="connsiteY10" fmla="*/ 34521 h 124112"/>
                  <a:gd name="connsiteX11" fmla="*/ 173928 w 185276"/>
                  <a:gd name="connsiteY11" fmla="*/ 1973 h 124112"/>
                  <a:gd name="connsiteX12" fmla="*/ 183300 w 185276"/>
                  <a:gd name="connsiteY12" fmla="*/ 1913 h 124112"/>
                  <a:gd name="connsiteX13" fmla="*/ 183390 w 185276"/>
                  <a:gd name="connsiteY13" fmla="*/ 11285 h 124112"/>
                  <a:gd name="connsiteX14" fmla="*/ 148835 w 185276"/>
                  <a:gd name="connsiteY14" fmla="*/ 46379 h 124112"/>
                  <a:gd name="connsiteX15" fmla="*/ 142786 w 185276"/>
                  <a:gd name="connsiteY15" fmla="*/ 48235 h 124112"/>
                  <a:gd name="connsiteX16" fmla="*/ 113621 w 185276"/>
                  <a:gd name="connsiteY16" fmla="*/ 47547 h 124112"/>
                  <a:gd name="connsiteX17" fmla="*/ 112693 w 185276"/>
                  <a:gd name="connsiteY17" fmla="*/ 47666 h 124112"/>
                  <a:gd name="connsiteX18" fmla="*/ 22353 w 185276"/>
                  <a:gd name="connsiteY18" fmla="*/ 58446 h 124112"/>
                  <a:gd name="connsiteX19" fmla="*/ 13370 w 185276"/>
                  <a:gd name="connsiteY19" fmla="*/ 69885 h 124112"/>
                  <a:gd name="connsiteX20" fmla="*/ 13670 w 185276"/>
                  <a:gd name="connsiteY20" fmla="*/ 72280 h 124112"/>
                  <a:gd name="connsiteX21" fmla="*/ 17533 w 185276"/>
                  <a:gd name="connsiteY21" fmla="*/ 79167 h 124112"/>
                  <a:gd name="connsiteX22" fmla="*/ 25078 w 185276"/>
                  <a:gd name="connsiteY22" fmla="*/ 81323 h 124112"/>
                  <a:gd name="connsiteX23" fmla="*/ 60382 w 185276"/>
                  <a:gd name="connsiteY23" fmla="*/ 77101 h 124112"/>
                  <a:gd name="connsiteX24" fmla="*/ 67119 w 185276"/>
                  <a:gd name="connsiteY24" fmla="*/ 80814 h 124112"/>
                  <a:gd name="connsiteX25" fmla="*/ 65802 w 185276"/>
                  <a:gd name="connsiteY25" fmla="*/ 88390 h 124112"/>
                  <a:gd name="connsiteX26" fmla="*/ 31396 w 185276"/>
                  <a:gd name="connsiteY26" fmla="*/ 122226 h 124112"/>
                  <a:gd name="connsiteX27" fmla="*/ 26725 w 185276"/>
                  <a:gd name="connsiteY27" fmla="*/ 124112 h 12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5276" h="124112">
                    <a:moveTo>
                      <a:pt x="26725" y="124112"/>
                    </a:moveTo>
                    <a:cubicBezTo>
                      <a:pt x="25018" y="124112"/>
                      <a:pt x="23312" y="123454"/>
                      <a:pt x="22024" y="122136"/>
                    </a:cubicBezTo>
                    <a:cubicBezTo>
                      <a:pt x="19449" y="119531"/>
                      <a:pt x="19479" y="115339"/>
                      <a:pt x="22084" y="112764"/>
                    </a:cubicBezTo>
                    <a:lnTo>
                      <a:pt x="42685" y="92462"/>
                    </a:lnTo>
                    <a:lnTo>
                      <a:pt x="26576" y="94378"/>
                    </a:lnTo>
                    <a:cubicBezTo>
                      <a:pt x="20347" y="95097"/>
                      <a:pt x="14209" y="93390"/>
                      <a:pt x="9268" y="89468"/>
                    </a:cubicBezTo>
                    <a:cubicBezTo>
                      <a:pt x="4327" y="85575"/>
                      <a:pt x="1213" y="80006"/>
                      <a:pt x="465" y="73777"/>
                    </a:cubicBezTo>
                    <a:lnTo>
                      <a:pt x="165" y="71382"/>
                    </a:lnTo>
                    <a:cubicBezTo>
                      <a:pt x="-1362" y="58476"/>
                      <a:pt x="7861" y="46738"/>
                      <a:pt x="20737" y="45211"/>
                    </a:cubicBezTo>
                    <a:lnTo>
                      <a:pt x="111076" y="34431"/>
                    </a:lnTo>
                    <a:cubicBezTo>
                      <a:pt x="121886" y="32874"/>
                      <a:pt x="132067" y="32934"/>
                      <a:pt x="141828" y="34521"/>
                    </a:cubicBezTo>
                    <a:lnTo>
                      <a:pt x="173928" y="1973"/>
                    </a:lnTo>
                    <a:cubicBezTo>
                      <a:pt x="176503" y="-632"/>
                      <a:pt x="180695" y="-662"/>
                      <a:pt x="183300" y="1913"/>
                    </a:cubicBezTo>
                    <a:cubicBezTo>
                      <a:pt x="185905" y="4488"/>
                      <a:pt x="185935" y="8680"/>
                      <a:pt x="183390" y="11285"/>
                    </a:cubicBezTo>
                    <a:lnTo>
                      <a:pt x="148835" y="46379"/>
                    </a:lnTo>
                    <a:cubicBezTo>
                      <a:pt x="147248" y="47966"/>
                      <a:pt x="144972" y="48655"/>
                      <a:pt x="142786" y="48235"/>
                    </a:cubicBezTo>
                    <a:cubicBezTo>
                      <a:pt x="133414" y="46319"/>
                      <a:pt x="123592" y="46079"/>
                      <a:pt x="113621" y="47547"/>
                    </a:cubicBezTo>
                    <a:lnTo>
                      <a:pt x="112693" y="47666"/>
                    </a:lnTo>
                    <a:lnTo>
                      <a:pt x="22353" y="58446"/>
                    </a:lnTo>
                    <a:cubicBezTo>
                      <a:pt x="16724" y="59105"/>
                      <a:pt x="12712" y="64255"/>
                      <a:pt x="13370" y="69885"/>
                    </a:cubicBezTo>
                    <a:lnTo>
                      <a:pt x="13670" y="72280"/>
                    </a:lnTo>
                    <a:cubicBezTo>
                      <a:pt x="13999" y="75005"/>
                      <a:pt x="15347" y="77460"/>
                      <a:pt x="17533" y="79167"/>
                    </a:cubicBezTo>
                    <a:cubicBezTo>
                      <a:pt x="19688" y="80874"/>
                      <a:pt x="22383" y="81622"/>
                      <a:pt x="25078" y="81323"/>
                    </a:cubicBezTo>
                    <a:lnTo>
                      <a:pt x="60382" y="77101"/>
                    </a:lnTo>
                    <a:cubicBezTo>
                      <a:pt x="63136" y="76772"/>
                      <a:pt x="65891" y="78269"/>
                      <a:pt x="67119" y="80814"/>
                    </a:cubicBezTo>
                    <a:cubicBezTo>
                      <a:pt x="68347" y="83359"/>
                      <a:pt x="67808" y="86413"/>
                      <a:pt x="65802" y="88390"/>
                    </a:cubicBezTo>
                    <a:lnTo>
                      <a:pt x="31396" y="122226"/>
                    </a:lnTo>
                    <a:cubicBezTo>
                      <a:pt x="30079" y="123484"/>
                      <a:pt x="28432" y="124112"/>
                      <a:pt x="26725" y="124112"/>
                    </a:cubicBezTo>
                    <a:close/>
                  </a:path>
                </a:pathLst>
              </a:custGeom>
              <a:grpFill/>
              <a:ln w="2991" cap="flat">
                <a:noFill/>
                <a:prstDash val="solid"/>
                <a:miter/>
              </a:ln>
            </p:spPr>
            <p:txBody>
              <a:bodyPr rtlCol="0" anchor="ctr"/>
              <a:lstStyle/>
              <a:p>
                <a:endParaRPr lang="en-GB" dirty="0"/>
              </a:p>
            </p:txBody>
          </p:sp>
          <p:sp>
            <p:nvSpPr>
              <p:cNvPr id="398" name="Freihandform: Form 397">
                <a:extLst>
                  <a:ext uri="{FF2B5EF4-FFF2-40B4-BE49-F238E27FC236}">
                    <a16:creationId xmlns:a16="http://schemas.microsoft.com/office/drawing/2014/main" id="{4F3560F5-D04D-4866-9E94-26E9D322EEE7}"/>
                  </a:ext>
                </a:extLst>
              </p:cNvPr>
              <p:cNvSpPr/>
              <p:nvPr/>
            </p:nvSpPr>
            <p:spPr>
              <a:xfrm>
                <a:off x="2857769" y="1743148"/>
                <a:ext cx="19515" cy="19523"/>
              </a:xfrm>
              <a:custGeom>
                <a:avLst/>
                <a:gdLst>
                  <a:gd name="connsiteX0" fmla="*/ 6614 w 19515"/>
                  <a:gd name="connsiteY0" fmla="*/ 19523 h 19523"/>
                  <a:gd name="connsiteX1" fmla="*/ 1943 w 19515"/>
                  <a:gd name="connsiteY1" fmla="*/ 17607 h 19523"/>
                  <a:gd name="connsiteX2" fmla="*/ 1943 w 19515"/>
                  <a:gd name="connsiteY2" fmla="*/ 8235 h 19523"/>
                  <a:gd name="connsiteX3" fmla="*/ 8201 w 19515"/>
                  <a:gd name="connsiteY3" fmla="*/ 1946 h 19523"/>
                  <a:gd name="connsiteX4" fmla="*/ 17573 w 19515"/>
                  <a:gd name="connsiteY4" fmla="*/ 1916 h 19523"/>
                  <a:gd name="connsiteX5" fmla="*/ 17573 w 19515"/>
                  <a:gd name="connsiteY5" fmla="*/ 11289 h 19523"/>
                  <a:gd name="connsiteX6" fmla="*/ 11315 w 19515"/>
                  <a:gd name="connsiteY6" fmla="*/ 17577 h 19523"/>
                  <a:gd name="connsiteX7" fmla="*/ 6614 w 19515"/>
                  <a:gd name="connsiteY7" fmla="*/ 19523 h 19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5" h="19523">
                    <a:moveTo>
                      <a:pt x="6614" y="19523"/>
                    </a:moveTo>
                    <a:cubicBezTo>
                      <a:pt x="4937" y="19523"/>
                      <a:pt x="3230" y="18894"/>
                      <a:pt x="1943" y="17607"/>
                    </a:cubicBezTo>
                    <a:cubicBezTo>
                      <a:pt x="-633" y="15032"/>
                      <a:pt x="-662" y="10840"/>
                      <a:pt x="1943" y="8235"/>
                    </a:cubicBezTo>
                    <a:lnTo>
                      <a:pt x="8201" y="1946"/>
                    </a:lnTo>
                    <a:cubicBezTo>
                      <a:pt x="10776" y="-629"/>
                      <a:pt x="14968" y="-659"/>
                      <a:pt x="17573" y="1916"/>
                    </a:cubicBezTo>
                    <a:cubicBezTo>
                      <a:pt x="20148" y="4492"/>
                      <a:pt x="20178" y="8684"/>
                      <a:pt x="17573" y="11289"/>
                    </a:cubicBezTo>
                    <a:lnTo>
                      <a:pt x="11315" y="17577"/>
                    </a:lnTo>
                    <a:cubicBezTo>
                      <a:pt x="9997" y="18894"/>
                      <a:pt x="8321" y="19523"/>
                      <a:pt x="6614" y="19523"/>
                    </a:cubicBezTo>
                    <a:close/>
                  </a:path>
                </a:pathLst>
              </a:custGeom>
              <a:grpFill/>
              <a:ln w="2991" cap="flat">
                <a:noFill/>
                <a:prstDash val="solid"/>
                <a:miter/>
              </a:ln>
            </p:spPr>
            <p:txBody>
              <a:bodyPr rtlCol="0" anchor="ctr"/>
              <a:lstStyle/>
              <a:p>
                <a:endParaRPr lang="en-GB" dirty="0"/>
              </a:p>
            </p:txBody>
          </p:sp>
        </p:grpSp>
        <p:grpSp>
          <p:nvGrpSpPr>
            <p:cNvPr id="383" name="Grafik 306">
              <a:extLst>
                <a:ext uri="{FF2B5EF4-FFF2-40B4-BE49-F238E27FC236}">
                  <a16:creationId xmlns:a16="http://schemas.microsoft.com/office/drawing/2014/main" id="{8062AAB0-6DAF-451E-BF2E-6F52414542A3}"/>
                </a:ext>
              </a:extLst>
            </p:cNvPr>
            <p:cNvGrpSpPr/>
            <p:nvPr/>
          </p:nvGrpSpPr>
          <p:grpSpPr>
            <a:xfrm>
              <a:off x="2766648" y="1756868"/>
              <a:ext cx="215266" cy="301843"/>
              <a:chOff x="2688782" y="1754377"/>
              <a:chExt cx="211114" cy="296021"/>
            </a:xfrm>
            <a:solidFill>
              <a:schemeClr val="accent1"/>
            </a:solidFill>
          </p:grpSpPr>
          <p:sp>
            <p:nvSpPr>
              <p:cNvPr id="384" name="Freihandform: Form 383">
                <a:extLst>
                  <a:ext uri="{FF2B5EF4-FFF2-40B4-BE49-F238E27FC236}">
                    <a16:creationId xmlns:a16="http://schemas.microsoft.com/office/drawing/2014/main" id="{76747F15-6EDE-4A37-84BD-E46C0E5C0A77}"/>
                  </a:ext>
                </a:extLst>
              </p:cNvPr>
              <p:cNvSpPr/>
              <p:nvPr/>
            </p:nvSpPr>
            <p:spPr>
              <a:xfrm>
                <a:off x="2850039" y="1800430"/>
                <a:ext cx="49527" cy="86357"/>
              </a:xfrm>
              <a:custGeom>
                <a:avLst/>
                <a:gdLst>
                  <a:gd name="connsiteX0" fmla="*/ 42880 w 49527"/>
                  <a:gd name="connsiteY0" fmla="*/ 86357 h 86357"/>
                  <a:gd name="connsiteX1" fmla="*/ 36263 w 49527"/>
                  <a:gd name="connsiteY1" fmla="*/ 79770 h 86357"/>
                  <a:gd name="connsiteX2" fmla="*/ 35933 w 49527"/>
                  <a:gd name="connsiteY2" fmla="*/ 25033 h 86357"/>
                  <a:gd name="connsiteX3" fmla="*/ 24435 w 49527"/>
                  <a:gd name="connsiteY3" fmla="*/ 13265 h 86357"/>
                  <a:gd name="connsiteX4" fmla="*/ 24375 w 49527"/>
                  <a:gd name="connsiteY4" fmla="*/ 13265 h 86357"/>
                  <a:gd name="connsiteX5" fmla="*/ 16590 w 49527"/>
                  <a:gd name="connsiteY5" fmla="*/ 16529 h 86357"/>
                  <a:gd name="connsiteX6" fmla="*/ 13236 w 49527"/>
                  <a:gd name="connsiteY6" fmla="*/ 24733 h 86357"/>
                  <a:gd name="connsiteX7" fmla="*/ 13566 w 49527"/>
                  <a:gd name="connsiteY7" fmla="*/ 79470 h 86357"/>
                  <a:gd name="connsiteX8" fmla="*/ 6978 w 49527"/>
                  <a:gd name="connsiteY8" fmla="*/ 86118 h 86357"/>
                  <a:gd name="connsiteX9" fmla="*/ 6948 w 49527"/>
                  <a:gd name="connsiteY9" fmla="*/ 86118 h 86357"/>
                  <a:gd name="connsiteX10" fmla="*/ 331 w 49527"/>
                  <a:gd name="connsiteY10" fmla="*/ 79530 h 86357"/>
                  <a:gd name="connsiteX11" fmla="*/ 1 w 49527"/>
                  <a:gd name="connsiteY11" fmla="*/ 24793 h 86357"/>
                  <a:gd name="connsiteX12" fmla="*/ 7218 w 49527"/>
                  <a:gd name="connsiteY12" fmla="*/ 7127 h 86357"/>
                  <a:gd name="connsiteX13" fmla="*/ 24375 w 49527"/>
                  <a:gd name="connsiteY13" fmla="*/ 0 h 86357"/>
                  <a:gd name="connsiteX14" fmla="*/ 24525 w 49527"/>
                  <a:gd name="connsiteY14" fmla="*/ 0 h 86357"/>
                  <a:gd name="connsiteX15" fmla="*/ 49198 w 49527"/>
                  <a:gd name="connsiteY15" fmla="*/ 24943 h 86357"/>
                  <a:gd name="connsiteX16" fmla="*/ 49528 w 49527"/>
                  <a:gd name="connsiteY16" fmla="*/ 79680 h 86357"/>
                  <a:gd name="connsiteX17" fmla="*/ 42940 w 49527"/>
                  <a:gd name="connsiteY17" fmla="*/ 86327 h 86357"/>
                  <a:gd name="connsiteX18" fmla="*/ 42880 w 49527"/>
                  <a:gd name="connsiteY18" fmla="*/ 86357 h 86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527" h="86357">
                    <a:moveTo>
                      <a:pt x="42880" y="86357"/>
                    </a:moveTo>
                    <a:cubicBezTo>
                      <a:pt x="39227" y="86357"/>
                      <a:pt x="36293" y="83423"/>
                      <a:pt x="36263" y="79770"/>
                    </a:cubicBezTo>
                    <a:lnTo>
                      <a:pt x="35933" y="25033"/>
                    </a:lnTo>
                    <a:cubicBezTo>
                      <a:pt x="35903" y="18565"/>
                      <a:pt x="30723" y="13295"/>
                      <a:pt x="24435" y="13265"/>
                    </a:cubicBezTo>
                    <a:cubicBezTo>
                      <a:pt x="24405" y="13265"/>
                      <a:pt x="24375" y="13265"/>
                      <a:pt x="24375" y="13265"/>
                    </a:cubicBezTo>
                    <a:cubicBezTo>
                      <a:pt x="21441" y="13265"/>
                      <a:pt x="18686" y="14433"/>
                      <a:pt x="16590" y="16529"/>
                    </a:cubicBezTo>
                    <a:cubicBezTo>
                      <a:pt x="14404" y="18715"/>
                      <a:pt x="13206" y="21619"/>
                      <a:pt x="13236" y="24733"/>
                    </a:cubicBezTo>
                    <a:lnTo>
                      <a:pt x="13566" y="79470"/>
                    </a:lnTo>
                    <a:cubicBezTo>
                      <a:pt x="13595" y="83123"/>
                      <a:pt x="10631" y="86118"/>
                      <a:pt x="6978" y="86118"/>
                    </a:cubicBezTo>
                    <a:cubicBezTo>
                      <a:pt x="6978" y="86118"/>
                      <a:pt x="6948" y="86118"/>
                      <a:pt x="6948" y="86118"/>
                    </a:cubicBezTo>
                    <a:cubicBezTo>
                      <a:pt x="3295" y="86118"/>
                      <a:pt x="360" y="83183"/>
                      <a:pt x="331" y="79530"/>
                    </a:cubicBezTo>
                    <a:lnTo>
                      <a:pt x="1" y="24793"/>
                    </a:lnTo>
                    <a:cubicBezTo>
                      <a:pt x="-59" y="18116"/>
                      <a:pt x="2516" y="11828"/>
                      <a:pt x="7218" y="7127"/>
                    </a:cubicBezTo>
                    <a:cubicBezTo>
                      <a:pt x="11829" y="2515"/>
                      <a:pt x="17907" y="0"/>
                      <a:pt x="24375" y="0"/>
                    </a:cubicBezTo>
                    <a:cubicBezTo>
                      <a:pt x="24435" y="0"/>
                      <a:pt x="24465" y="0"/>
                      <a:pt x="24525" y="0"/>
                    </a:cubicBezTo>
                    <a:cubicBezTo>
                      <a:pt x="38059" y="90"/>
                      <a:pt x="49108" y="11259"/>
                      <a:pt x="49198" y="24943"/>
                    </a:cubicBezTo>
                    <a:lnTo>
                      <a:pt x="49528" y="79680"/>
                    </a:lnTo>
                    <a:cubicBezTo>
                      <a:pt x="49558" y="83333"/>
                      <a:pt x="46593" y="86327"/>
                      <a:pt x="42940" y="86327"/>
                    </a:cubicBezTo>
                    <a:cubicBezTo>
                      <a:pt x="42910" y="86357"/>
                      <a:pt x="42910" y="86357"/>
                      <a:pt x="42880" y="86357"/>
                    </a:cubicBezTo>
                    <a:close/>
                  </a:path>
                </a:pathLst>
              </a:custGeom>
              <a:solidFill>
                <a:schemeClr val="accent1"/>
              </a:solidFill>
              <a:ln w="2991" cap="flat">
                <a:noFill/>
                <a:prstDash val="solid"/>
                <a:miter/>
              </a:ln>
            </p:spPr>
            <p:txBody>
              <a:bodyPr rtlCol="0" anchor="ctr"/>
              <a:lstStyle/>
              <a:p>
                <a:endParaRPr lang="en-GB" dirty="0"/>
              </a:p>
            </p:txBody>
          </p:sp>
          <p:sp>
            <p:nvSpPr>
              <p:cNvPr id="385" name="Freihandform: Form 384">
                <a:extLst>
                  <a:ext uri="{FF2B5EF4-FFF2-40B4-BE49-F238E27FC236}">
                    <a16:creationId xmlns:a16="http://schemas.microsoft.com/office/drawing/2014/main" id="{D1EDB768-4D29-4FCC-BF3D-990048A854A9}"/>
                  </a:ext>
                </a:extLst>
              </p:cNvPr>
              <p:cNvSpPr/>
              <p:nvPr/>
            </p:nvSpPr>
            <p:spPr>
              <a:xfrm>
                <a:off x="2813868" y="1772822"/>
                <a:ext cx="49706" cy="113725"/>
              </a:xfrm>
              <a:custGeom>
                <a:avLst/>
                <a:gdLst>
                  <a:gd name="connsiteX0" fmla="*/ 43089 w 49706"/>
                  <a:gd name="connsiteY0" fmla="*/ 113726 h 113725"/>
                  <a:gd name="connsiteX1" fmla="*/ 36471 w 49706"/>
                  <a:gd name="connsiteY1" fmla="*/ 107138 h 113725"/>
                  <a:gd name="connsiteX2" fmla="*/ 35962 w 49706"/>
                  <a:gd name="connsiteY2" fmla="*/ 25033 h 113725"/>
                  <a:gd name="connsiteX3" fmla="*/ 24464 w 49706"/>
                  <a:gd name="connsiteY3" fmla="*/ 13265 h 113725"/>
                  <a:gd name="connsiteX4" fmla="*/ 24374 w 49706"/>
                  <a:gd name="connsiteY4" fmla="*/ 13265 h 113725"/>
                  <a:gd name="connsiteX5" fmla="*/ 16589 w 49706"/>
                  <a:gd name="connsiteY5" fmla="*/ 16499 h 113725"/>
                  <a:gd name="connsiteX6" fmla="*/ 13235 w 49706"/>
                  <a:gd name="connsiteY6" fmla="*/ 24733 h 113725"/>
                  <a:gd name="connsiteX7" fmla="*/ 13744 w 49706"/>
                  <a:gd name="connsiteY7" fmla="*/ 106838 h 113725"/>
                  <a:gd name="connsiteX8" fmla="*/ 7157 w 49706"/>
                  <a:gd name="connsiteY8" fmla="*/ 113486 h 113725"/>
                  <a:gd name="connsiteX9" fmla="*/ 7127 w 49706"/>
                  <a:gd name="connsiteY9" fmla="*/ 113486 h 113725"/>
                  <a:gd name="connsiteX10" fmla="*/ 509 w 49706"/>
                  <a:gd name="connsiteY10" fmla="*/ 106898 h 113725"/>
                  <a:gd name="connsiteX11" fmla="*/ 0 w 49706"/>
                  <a:gd name="connsiteY11" fmla="*/ 24793 h 113725"/>
                  <a:gd name="connsiteX12" fmla="*/ 7247 w 49706"/>
                  <a:gd name="connsiteY12" fmla="*/ 7127 h 113725"/>
                  <a:gd name="connsiteX13" fmla="*/ 24374 w 49706"/>
                  <a:gd name="connsiteY13" fmla="*/ 0 h 113725"/>
                  <a:gd name="connsiteX14" fmla="*/ 24524 w 49706"/>
                  <a:gd name="connsiteY14" fmla="*/ 0 h 113725"/>
                  <a:gd name="connsiteX15" fmla="*/ 49197 w 49706"/>
                  <a:gd name="connsiteY15" fmla="*/ 24943 h 113725"/>
                  <a:gd name="connsiteX16" fmla="*/ 49706 w 49706"/>
                  <a:gd name="connsiteY16" fmla="*/ 107048 h 113725"/>
                  <a:gd name="connsiteX17" fmla="*/ 43119 w 49706"/>
                  <a:gd name="connsiteY17" fmla="*/ 113696 h 113725"/>
                  <a:gd name="connsiteX18" fmla="*/ 43089 w 49706"/>
                  <a:gd name="connsiteY18" fmla="*/ 113726 h 11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706" h="113725">
                    <a:moveTo>
                      <a:pt x="43089" y="113726"/>
                    </a:moveTo>
                    <a:cubicBezTo>
                      <a:pt x="39436" y="113726"/>
                      <a:pt x="36501" y="110791"/>
                      <a:pt x="36471" y="107138"/>
                    </a:cubicBezTo>
                    <a:lnTo>
                      <a:pt x="35962" y="25033"/>
                    </a:lnTo>
                    <a:cubicBezTo>
                      <a:pt x="35932" y="18565"/>
                      <a:pt x="30752" y="13295"/>
                      <a:pt x="24464" y="13265"/>
                    </a:cubicBezTo>
                    <a:cubicBezTo>
                      <a:pt x="24434" y="13265"/>
                      <a:pt x="24404" y="13265"/>
                      <a:pt x="24374" y="13265"/>
                    </a:cubicBezTo>
                    <a:cubicBezTo>
                      <a:pt x="21440" y="13265"/>
                      <a:pt x="18685" y="14403"/>
                      <a:pt x="16589" y="16499"/>
                    </a:cubicBezTo>
                    <a:cubicBezTo>
                      <a:pt x="14403" y="18685"/>
                      <a:pt x="13205" y="21619"/>
                      <a:pt x="13235" y="24733"/>
                    </a:cubicBezTo>
                    <a:lnTo>
                      <a:pt x="13744" y="106838"/>
                    </a:lnTo>
                    <a:cubicBezTo>
                      <a:pt x="13774" y="110492"/>
                      <a:pt x="10810" y="113486"/>
                      <a:pt x="7157" y="113486"/>
                    </a:cubicBezTo>
                    <a:cubicBezTo>
                      <a:pt x="7157" y="113486"/>
                      <a:pt x="7127" y="113486"/>
                      <a:pt x="7127" y="113486"/>
                    </a:cubicBezTo>
                    <a:cubicBezTo>
                      <a:pt x="3474" y="113486"/>
                      <a:pt x="539" y="110551"/>
                      <a:pt x="509" y="106898"/>
                    </a:cubicBezTo>
                    <a:lnTo>
                      <a:pt x="0" y="24793"/>
                    </a:lnTo>
                    <a:cubicBezTo>
                      <a:pt x="-30" y="18086"/>
                      <a:pt x="2545" y="11828"/>
                      <a:pt x="7247" y="7127"/>
                    </a:cubicBezTo>
                    <a:cubicBezTo>
                      <a:pt x="11858" y="2545"/>
                      <a:pt x="17936" y="0"/>
                      <a:pt x="24374" y="0"/>
                    </a:cubicBezTo>
                    <a:cubicBezTo>
                      <a:pt x="24434" y="0"/>
                      <a:pt x="24464" y="0"/>
                      <a:pt x="24524" y="0"/>
                    </a:cubicBezTo>
                    <a:cubicBezTo>
                      <a:pt x="38058" y="90"/>
                      <a:pt x="49108" y="11259"/>
                      <a:pt x="49197" y="24943"/>
                    </a:cubicBezTo>
                    <a:lnTo>
                      <a:pt x="49706" y="107048"/>
                    </a:lnTo>
                    <a:cubicBezTo>
                      <a:pt x="49736" y="110701"/>
                      <a:pt x="46772" y="113696"/>
                      <a:pt x="43119" y="113696"/>
                    </a:cubicBezTo>
                    <a:cubicBezTo>
                      <a:pt x="43119" y="113726"/>
                      <a:pt x="43089" y="113726"/>
                      <a:pt x="43089" y="113726"/>
                    </a:cubicBezTo>
                    <a:close/>
                  </a:path>
                </a:pathLst>
              </a:custGeom>
              <a:solidFill>
                <a:schemeClr val="accent1"/>
              </a:solidFill>
              <a:ln w="2991" cap="flat">
                <a:noFill/>
                <a:prstDash val="solid"/>
                <a:miter/>
              </a:ln>
            </p:spPr>
            <p:txBody>
              <a:bodyPr rtlCol="0" anchor="ctr"/>
              <a:lstStyle/>
              <a:p>
                <a:endParaRPr lang="en-GB" dirty="0"/>
              </a:p>
            </p:txBody>
          </p:sp>
          <p:sp>
            <p:nvSpPr>
              <p:cNvPr id="386" name="Freihandform: Form 385">
                <a:extLst>
                  <a:ext uri="{FF2B5EF4-FFF2-40B4-BE49-F238E27FC236}">
                    <a16:creationId xmlns:a16="http://schemas.microsoft.com/office/drawing/2014/main" id="{9B677A7A-32C3-4845-A890-A46BBAA50D0C}"/>
                  </a:ext>
                </a:extLst>
              </p:cNvPr>
              <p:cNvSpPr/>
              <p:nvPr/>
            </p:nvSpPr>
            <p:spPr>
              <a:xfrm>
                <a:off x="2777815" y="1754377"/>
                <a:ext cx="49827" cy="131961"/>
              </a:xfrm>
              <a:custGeom>
                <a:avLst/>
                <a:gdLst>
                  <a:gd name="connsiteX0" fmla="*/ 43180 w 49827"/>
                  <a:gd name="connsiteY0" fmla="*/ 131961 h 131961"/>
                  <a:gd name="connsiteX1" fmla="*/ 36562 w 49827"/>
                  <a:gd name="connsiteY1" fmla="*/ 125374 h 131961"/>
                  <a:gd name="connsiteX2" fmla="*/ 35933 w 49827"/>
                  <a:gd name="connsiteY2" fmla="*/ 25033 h 131961"/>
                  <a:gd name="connsiteX3" fmla="*/ 24435 w 49827"/>
                  <a:gd name="connsiteY3" fmla="*/ 13265 h 131961"/>
                  <a:gd name="connsiteX4" fmla="*/ 24375 w 49827"/>
                  <a:gd name="connsiteY4" fmla="*/ 13265 h 131961"/>
                  <a:gd name="connsiteX5" fmla="*/ 16590 w 49827"/>
                  <a:gd name="connsiteY5" fmla="*/ 16529 h 131961"/>
                  <a:gd name="connsiteX6" fmla="*/ 13236 w 49827"/>
                  <a:gd name="connsiteY6" fmla="*/ 24733 h 131961"/>
                  <a:gd name="connsiteX7" fmla="*/ 13835 w 49827"/>
                  <a:gd name="connsiteY7" fmla="*/ 125074 h 131961"/>
                  <a:gd name="connsiteX8" fmla="*/ 7247 w 49827"/>
                  <a:gd name="connsiteY8" fmla="*/ 131722 h 131961"/>
                  <a:gd name="connsiteX9" fmla="*/ 7218 w 49827"/>
                  <a:gd name="connsiteY9" fmla="*/ 131722 h 131961"/>
                  <a:gd name="connsiteX10" fmla="*/ 600 w 49827"/>
                  <a:gd name="connsiteY10" fmla="*/ 125134 h 131961"/>
                  <a:gd name="connsiteX11" fmla="*/ 1 w 49827"/>
                  <a:gd name="connsiteY11" fmla="*/ 24793 h 131961"/>
                  <a:gd name="connsiteX12" fmla="*/ 7218 w 49827"/>
                  <a:gd name="connsiteY12" fmla="*/ 7127 h 131961"/>
                  <a:gd name="connsiteX13" fmla="*/ 24375 w 49827"/>
                  <a:gd name="connsiteY13" fmla="*/ 0 h 131961"/>
                  <a:gd name="connsiteX14" fmla="*/ 24525 w 49827"/>
                  <a:gd name="connsiteY14" fmla="*/ 0 h 131961"/>
                  <a:gd name="connsiteX15" fmla="*/ 49198 w 49827"/>
                  <a:gd name="connsiteY15" fmla="*/ 24943 h 131961"/>
                  <a:gd name="connsiteX16" fmla="*/ 49827 w 49827"/>
                  <a:gd name="connsiteY16" fmla="*/ 125284 h 131961"/>
                  <a:gd name="connsiteX17" fmla="*/ 43239 w 49827"/>
                  <a:gd name="connsiteY17" fmla="*/ 131931 h 131961"/>
                  <a:gd name="connsiteX18" fmla="*/ 43180 w 49827"/>
                  <a:gd name="connsiteY18" fmla="*/ 131961 h 131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827" h="131961">
                    <a:moveTo>
                      <a:pt x="43180" y="131961"/>
                    </a:moveTo>
                    <a:cubicBezTo>
                      <a:pt x="39527" y="131961"/>
                      <a:pt x="36592" y="129027"/>
                      <a:pt x="36562" y="125374"/>
                    </a:cubicBezTo>
                    <a:lnTo>
                      <a:pt x="35933" y="25033"/>
                    </a:lnTo>
                    <a:cubicBezTo>
                      <a:pt x="35903" y="18565"/>
                      <a:pt x="30723" y="13295"/>
                      <a:pt x="24435" y="13265"/>
                    </a:cubicBezTo>
                    <a:cubicBezTo>
                      <a:pt x="24405" y="13265"/>
                      <a:pt x="24375" y="13265"/>
                      <a:pt x="24375" y="13265"/>
                    </a:cubicBezTo>
                    <a:cubicBezTo>
                      <a:pt x="21441" y="13265"/>
                      <a:pt x="18686" y="14433"/>
                      <a:pt x="16590" y="16529"/>
                    </a:cubicBezTo>
                    <a:cubicBezTo>
                      <a:pt x="14404" y="18715"/>
                      <a:pt x="13206" y="21619"/>
                      <a:pt x="13236" y="24733"/>
                    </a:cubicBezTo>
                    <a:lnTo>
                      <a:pt x="13835" y="125074"/>
                    </a:lnTo>
                    <a:cubicBezTo>
                      <a:pt x="13865" y="128727"/>
                      <a:pt x="10901" y="131722"/>
                      <a:pt x="7247" y="131722"/>
                    </a:cubicBezTo>
                    <a:cubicBezTo>
                      <a:pt x="7247" y="131722"/>
                      <a:pt x="7218" y="131722"/>
                      <a:pt x="7218" y="131722"/>
                    </a:cubicBezTo>
                    <a:cubicBezTo>
                      <a:pt x="3564" y="131722"/>
                      <a:pt x="630" y="128787"/>
                      <a:pt x="600" y="125134"/>
                    </a:cubicBezTo>
                    <a:lnTo>
                      <a:pt x="1" y="24793"/>
                    </a:lnTo>
                    <a:cubicBezTo>
                      <a:pt x="-59" y="18116"/>
                      <a:pt x="2516" y="11828"/>
                      <a:pt x="7218" y="7127"/>
                    </a:cubicBezTo>
                    <a:cubicBezTo>
                      <a:pt x="11829" y="2515"/>
                      <a:pt x="17907" y="0"/>
                      <a:pt x="24375" y="0"/>
                    </a:cubicBezTo>
                    <a:cubicBezTo>
                      <a:pt x="24435" y="0"/>
                      <a:pt x="24465" y="0"/>
                      <a:pt x="24525" y="0"/>
                    </a:cubicBezTo>
                    <a:cubicBezTo>
                      <a:pt x="38059" y="90"/>
                      <a:pt x="49108" y="11259"/>
                      <a:pt x="49198" y="24943"/>
                    </a:cubicBezTo>
                    <a:lnTo>
                      <a:pt x="49827" y="125284"/>
                    </a:lnTo>
                    <a:cubicBezTo>
                      <a:pt x="49857" y="128937"/>
                      <a:pt x="46893" y="131931"/>
                      <a:pt x="43239" y="131931"/>
                    </a:cubicBezTo>
                    <a:cubicBezTo>
                      <a:pt x="43210" y="131961"/>
                      <a:pt x="43180" y="131961"/>
                      <a:pt x="43180" y="131961"/>
                    </a:cubicBezTo>
                    <a:close/>
                  </a:path>
                </a:pathLst>
              </a:custGeom>
              <a:solidFill>
                <a:schemeClr val="accent1"/>
              </a:solidFill>
              <a:ln w="2991" cap="flat">
                <a:noFill/>
                <a:prstDash val="solid"/>
                <a:miter/>
              </a:ln>
            </p:spPr>
            <p:txBody>
              <a:bodyPr rtlCol="0" anchor="ctr"/>
              <a:lstStyle/>
              <a:p>
                <a:endParaRPr lang="en-GB" dirty="0"/>
              </a:p>
            </p:txBody>
          </p:sp>
          <p:sp>
            <p:nvSpPr>
              <p:cNvPr id="387" name="Freihandform: Form 386">
                <a:extLst>
                  <a:ext uri="{FF2B5EF4-FFF2-40B4-BE49-F238E27FC236}">
                    <a16:creationId xmlns:a16="http://schemas.microsoft.com/office/drawing/2014/main" id="{682459D0-DF2A-4AF8-A170-10638128F74D}"/>
                  </a:ext>
                </a:extLst>
              </p:cNvPr>
              <p:cNvSpPr/>
              <p:nvPr/>
            </p:nvSpPr>
            <p:spPr>
              <a:xfrm>
                <a:off x="2865161" y="1837051"/>
                <a:ext cx="34735" cy="213347"/>
              </a:xfrm>
              <a:custGeom>
                <a:avLst/>
                <a:gdLst>
                  <a:gd name="connsiteX0" fmla="*/ 6618 w 34735"/>
                  <a:gd name="connsiteY0" fmla="*/ 213348 h 213347"/>
                  <a:gd name="connsiteX1" fmla="*/ 0 w 34735"/>
                  <a:gd name="connsiteY1" fmla="*/ 206730 h 213347"/>
                  <a:gd name="connsiteX2" fmla="*/ 0 w 34735"/>
                  <a:gd name="connsiteY2" fmla="*/ 149718 h 213347"/>
                  <a:gd name="connsiteX3" fmla="*/ 1976 w 34735"/>
                  <a:gd name="connsiteY3" fmla="*/ 144987 h 213347"/>
                  <a:gd name="connsiteX4" fmla="*/ 21500 w 34735"/>
                  <a:gd name="connsiteY4" fmla="*/ 97885 h 213347"/>
                  <a:gd name="connsiteX5" fmla="*/ 20931 w 34735"/>
                  <a:gd name="connsiteY5" fmla="*/ 6647 h 213347"/>
                  <a:gd name="connsiteX6" fmla="*/ 27518 w 34735"/>
                  <a:gd name="connsiteY6" fmla="*/ 0 h 213347"/>
                  <a:gd name="connsiteX7" fmla="*/ 27548 w 34735"/>
                  <a:gd name="connsiteY7" fmla="*/ 0 h 213347"/>
                  <a:gd name="connsiteX8" fmla="*/ 34166 w 34735"/>
                  <a:gd name="connsiteY8" fmla="*/ 6588 h 213347"/>
                  <a:gd name="connsiteX9" fmla="*/ 34735 w 34735"/>
                  <a:gd name="connsiteY9" fmla="*/ 97825 h 213347"/>
                  <a:gd name="connsiteX10" fmla="*/ 13235 w 34735"/>
                  <a:gd name="connsiteY10" fmla="*/ 152442 h 213347"/>
                  <a:gd name="connsiteX11" fmla="*/ 13235 w 34735"/>
                  <a:gd name="connsiteY11" fmla="*/ 206730 h 213347"/>
                  <a:gd name="connsiteX12" fmla="*/ 6618 w 34735"/>
                  <a:gd name="connsiteY12" fmla="*/ 213348 h 213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35" h="213347">
                    <a:moveTo>
                      <a:pt x="6618" y="213348"/>
                    </a:moveTo>
                    <a:cubicBezTo>
                      <a:pt x="2965" y="213348"/>
                      <a:pt x="0" y="210383"/>
                      <a:pt x="0" y="206730"/>
                    </a:cubicBezTo>
                    <a:lnTo>
                      <a:pt x="0" y="149718"/>
                    </a:lnTo>
                    <a:cubicBezTo>
                      <a:pt x="0" y="147951"/>
                      <a:pt x="719" y="146244"/>
                      <a:pt x="1976" y="144987"/>
                    </a:cubicBezTo>
                    <a:cubicBezTo>
                      <a:pt x="14672" y="132500"/>
                      <a:pt x="21589" y="115792"/>
                      <a:pt x="21500" y="97885"/>
                    </a:cubicBezTo>
                    <a:lnTo>
                      <a:pt x="20931" y="6647"/>
                    </a:lnTo>
                    <a:cubicBezTo>
                      <a:pt x="20901" y="2994"/>
                      <a:pt x="23865" y="0"/>
                      <a:pt x="27518" y="0"/>
                    </a:cubicBezTo>
                    <a:cubicBezTo>
                      <a:pt x="27518" y="0"/>
                      <a:pt x="27548" y="0"/>
                      <a:pt x="27548" y="0"/>
                    </a:cubicBezTo>
                    <a:cubicBezTo>
                      <a:pt x="31201" y="0"/>
                      <a:pt x="34136" y="2934"/>
                      <a:pt x="34166" y="6588"/>
                    </a:cubicBezTo>
                    <a:lnTo>
                      <a:pt x="34735" y="97825"/>
                    </a:lnTo>
                    <a:cubicBezTo>
                      <a:pt x="34854" y="118397"/>
                      <a:pt x="27249" y="137680"/>
                      <a:pt x="13235" y="152442"/>
                    </a:cubicBezTo>
                    <a:lnTo>
                      <a:pt x="13235" y="206730"/>
                    </a:lnTo>
                    <a:cubicBezTo>
                      <a:pt x="13235" y="210383"/>
                      <a:pt x="10271" y="213348"/>
                      <a:pt x="6618" y="213348"/>
                    </a:cubicBezTo>
                    <a:close/>
                  </a:path>
                </a:pathLst>
              </a:custGeom>
              <a:solidFill>
                <a:schemeClr val="accent1"/>
              </a:solidFill>
              <a:ln w="2991" cap="flat">
                <a:noFill/>
                <a:prstDash val="solid"/>
                <a:miter/>
              </a:ln>
            </p:spPr>
            <p:txBody>
              <a:bodyPr rtlCol="0" anchor="ctr"/>
              <a:lstStyle/>
              <a:p>
                <a:endParaRPr lang="en-GB" dirty="0"/>
              </a:p>
            </p:txBody>
          </p:sp>
          <p:sp>
            <p:nvSpPr>
              <p:cNvPr id="388" name="Freihandform: Form 387">
                <a:extLst>
                  <a:ext uri="{FF2B5EF4-FFF2-40B4-BE49-F238E27FC236}">
                    <a16:creationId xmlns:a16="http://schemas.microsoft.com/office/drawing/2014/main" id="{C1056623-08D7-4881-B5E7-6FFBA80EF19E}"/>
                  </a:ext>
                </a:extLst>
              </p:cNvPr>
              <p:cNvSpPr/>
              <p:nvPr/>
            </p:nvSpPr>
            <p:spPr>
              <a:xfrm>
                <a:off x="2688782" y="1772403"/>
                <a:ext cx="102867" cy="277995"/>
              </a:xfrm>
              <a:custGeom>
                <a:avLst/>
                <a:gdLst>
                  <a:gd name="connsiteX0" fmla="*/ 89842 w 102867"/>
                  <a:gd name="connsiteY0" fmla="*/ 277996 h 277995"/>
                  <a:gd name="connsiteX1" fmla="*/ 89842 w 102867"/>
                  <a:gd name="connsiteY1" fmla="*/ 277996 h 277995"/>
                  <a:gd name="connsiteX2" fmla="*/ 83225 w 102867"/>
                  <a:gd name="connsiteY2" fmla="*/ 271378 h 277995"/>
                  <a:gd name="connsiteX3" fmla="*/ 83255 w 102867"/>
                  <a:gd name="connsiteY3" fmla="*/ 225205 h 277995"/>
                  <a:gd name="connsiteX4" fmla="*/ 61785 w 102867"/>
                  <a:gd name="connsiteY4" fmla="*/ 203706 h 277995"/>
                  <a:gd name="connsiteX5" fmla="*/ 5042 w 102867"/>
                  <a:gd name="connsiteY5" fmla="*/ 130793 h 277995"/>
                  <a:gd name="connsiteX6" fmla="*/ 8785 w 102867"/>
                  <a:gd name="connsiteY6" fmla="*/ 97646 h 277995"/>
                  <a:gd name="connsiteX7" fmla="*/ 10672 w 102867"/>
                  <a:gd name="connsiteY7" fmla="*/ 96149 h 277995"/>
                  <a:gd name="connsiteX8" fmla="*/ 27799 w 102867"/>
                  <a:gd name="connsiteY8" fmla="*/ 91298 h 277995"/>
                  <a:gd name="connsiteX9" fmla="*/ 43609 w 102867"/>
                  <a:gd name="connsiteY9" fmla="*/ 100251 h 277995"/>
                  <a:gd name="connsiteX10" fmla="*/ 53700 w 102867"/>
                  <a:gd name="connsiteY10" fmla="*/ 113187 h 277995"/>
                  <a:gd name="connsiteX11" fmla="*/ 53161 w 102867"/>
                  <a:gd name="connsiteY11" fmla="*/ 24793 h 277995"/>
                  <a:gd name="connsiteX12" fmla="*/ 60408 w 102867"/>
                  <a:gd name="connsiteY12" fmla="*/ 7127 h 277995"/>
                  <a:gd name="connsiteX13" fmla="*/ 77685 w 102867"/>
                  <a:gd name="connsiteY13" fmla="*/ 0 h 277995"/>
                  <a:gd name="connsiteX14" fmla="*/ 102359 w 102867"/>
                  <a:gd name="connsiteY14" fmla="*/ 24943 h 277995"/>
                  <a:gd name="connsiteX15" fmla="*/ 102868 w 102867"/>
                  <a:gd name="connsiteY15" fmla="*/ 87196 h 277995"/>
                  <a:gd name="connsiteX16" fmla="*/ 96310 w 102867"/>
                  <a:gd name="connsiteY16" fmla="*/ 93873 h 277995"/>
                  <a:gd name="connsiteX17" fmla="*/ 89633 w 102867"/>
                  <a:gd name="connsiteY17" fmla="*/ 87315 h 277995"/>
                  <a:gd name="connsiteX18" fmla="*/ 89124 w 102867"/>
                  <a:gd name="connsiteY18" fmla="*/ 25033 h 277995"/>
                  <a:gd name="connsiteX19" fmla="*/ 77625 w 102867"/>
                  <a:gd name="connsiteY19" fmla="*/ 13235 h 277995"/>
                  <a:gd name="connsiteX20" fmla="*/ 77565 w 102867"/>
                  <a:gd name="connsiteY20" fmla="*/ 13235 h 277995"/>
                  <a:gd name="connsiteX21" fmla="*/ 69780 w 102867"/>
                  <a:gd name="connsiteY21" fmla="*/ 16469 h 277995"/>
                  <a:gd name="connsiteX22" fmla="*/ 66426 w 102867"/>
                  <a:gd name="connsiteY22" fmla="*/ 24703 h 277995"/>
                  <a:gd name="connsiteX23" fmla="*/ 67085 w 102867"/>
                  <a:gd name="connsiteY23" fmla="*/ 132560 h 277995"/>
                  <a:gd name="connsiteX24" fmla="*/ 62623 w 102867"/>
                  <a:gd name="connsiteY24" fmla="*/ 138848 h 277995"/>
                  <a:gd name="connsiteX25" fmla="*/ 55227 w 102867"/>
                  <a:gd name="connsiteY25" fmla="*/ 136662 h 277995"/>
                  <a:gd name="connsiteX26" fmla="*/ 33189 w 102867"/>
                  <a:gd name="connsiteY26" fmla="*/ 108366 h 277995"/>
                  <a:gd name="connsiteX27" fmla="*/ 26272 w 102867"/>
                  <a:gd name="connsiteY27" fmla="*/ 104443 h 277995"/>
                  <a:gd name="connsiteX28" fmla="*/ 18966 w 102867"/>
                  <a:gd name="connsiteY28" fmla="*/ 106509 h 277995"/>
                  <a:gd name="connsiteX29" fmla="*/ 17079 w 102867"/>
                  <a:gd name="connsiteY29" fmla="*/ 108006 h 277995"/>
                  <a:gd name="connsiteX30" fmla="*/ 15522 w 102867"/>
                  <a:gd name="connsiteY30" fmla="*/ 122649 h 277995"/>
                  <a:gd name="connsiteX31" fmla="*/ 72475 w 102867"/>
                  <a:gd name="connsiteY31" fmla="*/ 195831 h 277995"/>
                  <a:gd name="connsiteX32" fmla="*/ 93615 w 102867"/>
                  <a:gd name="connsiteY32" fmla="*/ 216282 h 277995"/>
                  <a:gd name="connsiteX33" fmla="*/ 96520 w 102867"/>
                  <a:gd name="connsiteY33" fmla="*/ 221762 h 277995"/>
                  <a:gd name="connsiteX34" fmla="*/ 96490 w 102867"/>
                  <a:gd name="connsiteY34" fmla="*/ 271348 h 277995"/>
                  <a:gd name="connsiteX35" fmla="*/ 89842 w 102867"/>
                  <a:gd name="connsiteY35" fmla="*/ 277996 h 27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2867" h="277995">
                    <a:moveTo>
                      <a:pt x="89842" y="277996"/>
                    </a:moveTo>
                    <a:cubicBezTo>
                      <a:pt x="89842" y="277996"/>
                      <a:pt x="89842" y="277996"/>
                      <a:pt x="89842" y="277996"/>
                    </a:cubicBezTo>
                    <a:cubicBezTo>
                      <a:pt x="86189" y="277996"/>
                      <a:pt x="83225" y="275031"/>
                      <a:pt x="83225" y="271378"/>
                    </a:cubicBezTo>
                    <a:lnTo>
                      <a:pt x="83255" y="225205"/>
                    </a:lnTo>
                    <a:cubicBezTo>
                      <a:pt x="75230" y="219336"/>
                      <a:pt x="68013" y="212120"/>
                      <a:pt x="61785" y="203706"/>
                    </a:cubicBezTo>
                    <a:lnTo>
                      <a:pt x="5042" y="130793"/>
                    </a:lnTo>
                    <a:cubicBezTo>
                      <a:pt x="-2953" y="120523"/>
                      <a:pt x="-1246" y="105671"/>
                      <a:pt x="8785" y="97646"/>
                    </a:cubicBezTo>
                    <a:lnTo>
                      <a:pt x="10672" y="96149"/>
                    </a:lnTo>
                    <a:cubicBezTo>
                      <a:pt x="15522" y="92286"/>
                      <a:pt x="21631" y="90579"/>
                      <a:pt x="27799" y="91298"/>
                    </a:cubicBezTo>
                    <a:cubicBezTo>
                      <a:pt x="34087" y="92046"/>
                      <a:pt x="39717" y="95220"/>
                      <a:pt x="43609" y="100251"/>
                    </a:cubicBezTo>
                    <a:lnTo>
                      <a:pt x="53700" y="113187"/>
                    </a:lnTo>
                    <a:lnTo>
                      <a:pt x="53161" y="24793"/>
                    </a:lnTo>
                    <a:cubicBezTo>
                      <a:pt x="53131" y="18116"/>
                      <a:pt x="55707" y="11828"/>
                      <a:pt x="60408" y="7127"/>
                    </a:cubicBezTo>
                    <a:cubicBezTo>
                      <a:pt x="65049" y="2485"/>
                      <a:pt x="70888" y="30"/>
                      <a:pt x="77685" y="0"/>
                    </a:cubicBezTo>
                    <a:cubicBezTo>
                      <a:pt x="91220" y="90"/>
                      <a:pt x="102269" y="11259"/>
                      <a:pt x="102359" y="24943"/>
                    </a:cubicBezTo>
                    <a:lnTo>
                      <a:pt x="102868" y="87196"/>
                    </a:lnTo>
                    <a:cubicBezTo>
                      <a:pt x="102898" y="90849"/>
                      <a:pt x="99963" y="93843"/>
                      <a:pt x="96310" y="93873"/>
                    </a:cubicBezTo>
                    <a:cubicBezTo>
                      <a:pt x="92537" y="94053"/>
                      <a:pt x="89663" y="90968"/>
                      <a:pt x="89633" y="87315"/>
                    </a:cubicBezTo>
                    <a:lnTo>
                      <a:pt x="89124" y="25033"/>
                    </a:lnTo>
                    <a:cubicBezTo>
                      <a:pt x="89094" y="18565"/>
                      <a:pt x="83913" y="13295"/>
                      <a:pt x="77625" y="13235"/>
                    </a:cubicBezTo>
                    <a:cubicBezTo>
                      <a:pt x="77595" y="13235"/>
                      <a:pt x="77565" y="13235"/>
                      <a:pt x="77565" y="13235"/>
                    </a:cubicBezTo>
                    <a:cubicBezTo>
                      <a:pt x="74631" y="13235"/>
                      <a:pt x="71876" y="14373"/>
                      <a:pt x="69780" y="16469"/>
                    </a:cubicBezTo>
                    <a:cubicBezTo>
                      <a:pt x="67594" y="18655"/>
                      <a:pt x="66396" y="21589"/>
                      <a:pt x="66426" y="24703"/>
                    </a:cubicBezTo>
                    <a:lnTo>
                      <a:pt x="67085" y="132560"/>
                    </a:lnTo>
                    <a:cubicBezTo>
                      <a:pt x="67115" y="135405"/>
                      <a:pt x="65318" y="137920"/>
                      <a:pt x="62623" y="138848"/>
                    </a:cubicBezTo>
                    <a:cubicBezTo>
                      <a:pt x="59929" y="139776"/>
                      <a:pt x="56994" y="138908"/>
                      <a:pt x="55227" y="136662"/>
                    </a:cubicBezTo>
                    <a:lnTo>
                      <a:pt x="33189" y="108366"/>
                    </a:lnTo>
                    <a:cubicBezTo>
                      <a:pt x="31482" y="106150"/>
                      <a:pt x="28997" y="104772"/>
                      <a:pt x="26272" y="104443"/>
                    </a:cubicBezTo>
                    <a:cubicBezTo>
                      <a:pt x="23607" y="104114"/>
                      <a:pt x="21032" y="104862"/>
                      <a:pt x="18966" y="106509"/>
                    </a:cubicBezTo>
                    <a:lnTo>
                      <a:pt x="17079" y="108006"/>
                    </a:lnTo>
                    <a:cubicBezTo>
                      <a:pt x="12678" y="111510"/>
                      <a:pt x="11959" y="118097"/>
                      <a:pt x="15522" y="122649"/>
                    </a:cubicBezTo>
                    <a:lnTo>
                      <a:pt x="72475" y="195831"/>
                    </a:lnTo>
                    <a:cubicBezTo>
                      <a:pt x="78553" y="204035"/>
                      <a:pt x="85680" y="210922"/>
                      <a:pt x="93615" y="216282"/>
                    </a:cubicBezTo>
                    <a:cubicBezTo>
                      <a:pt x="95442" y="217510"/>
                      <a:pt x="96520" y="219576"/>
                      <a:pt x="96520" y="221762"/>
                    </a:cubicBezTo>
                    <a:lnTo>
                      <a:pt x="96490" y="271348"/>
                    </a:lnTo>
                    <a:cubicBezTo>
                      <a:pt x="96460" y="275031"/>
                      <a:pt x="93495" y="277996"/>
                      <a:pt x="89842" y="277996"/>
                    </a:cubicBezTo>
                    <a:close/>
                  </a:path>
                </a:pathLst>
              </a:custGeom>
              <a:solidFill>
                <a:schemeClr val="accent1"/>
              </a:solidFill>
              <a:ln w="2991" cap="flat">
                <a:noFill/>
                <a:prstDash val="solid"/>
                <a:miter/>
              </a:ln>
            </p:spPr>
            <p:txBody>
              <a:bodyPr rtlCol="0" anchor="ctr"/>
              <a:lstStyle/>
              <a:p>
                <a:endParaRPr lang="en-GB" dirty="0"/>
              </a:p>
            </p:txBody>
          </p:sp>
        </p:grpSp>
      </p:grpSp>
      <p:grpSp>
        <p:nvGrpSpPr>
          <p:cNvPr id="9" name="Group 8">
            <a:extLst>
              <a:ext uri="{FF2B5EF4-FFF2-40B4-BE49-F238E27FC236}">
                <a16:creationId xmlns:a16="http://schemas.microsoft.com/office/drawing/2014/main" id="{15B796E7-8FB4-693A-E02A-FCF04CD9490E}"/>
              </a:ext>
            </a:extLst>
          </p:cNvPr>
          <p:cNvGrpSpPr/>
          <p:nvPr/>
        </p:nvGrpSpPr>
        <p:grpSpPr>
          <a:xfrm>
            <a:off x="2706692" y="2449344"/>
            <a:ext cx="356451" cy="432004"/>
            <a:chOff x="2706692" y="2449344"/>
            <a:chExt cx="356451" cy="432004"/>
          </a:xfrm>
        </p:grpSpPr>
        <p:grpSp>
          <p:nvGrpSpPr>
            <p:cNvPr id="400" name="Group 1076">
              <a:extLst>
                <a:ext uri="{FF2B5EF4-FFF2-40B4-BE49-F238E27FC236}">
                  <a16:creationId xmlns:a16="http://schemas.microsoft.com/office/drawing/2014/main" id="{4BF7DD1F-54F1-4721-AD26-1AB2271F03A1}"/>
                </a:ext>
              </a:extLst>
            </p:cNvPr>
            <p:cNvGrpSpPr/>
            <p:nvPr/>
          </p:nvGrpSpPr>
          <p:grpSpPr>
            <a:xfrm>
              <a:off x="2845155" y="2449344"/>
              <a:ext cx="217988" cy="264497"/>
              <a:chOff x="2764864" y="2455805"/>
              <a:chExt cx="221339" cy="268562"/>
            </a:xfrm>
            <a:solidFill>
              <a:schemeClr val="tx2"/>
            </a:solidFill>
          </p:grpSpPr>
          <p:sp>
            <p:nvSpPr>
              <p:cNvPr id="412" name="Freihandform: Form 411">
                <a:extLst>
                  <a:ext uri="{FF2B5EF4-FFF2-40B4-BE49-F238E27FC236}">
                    <a16:creationId xmlns:a16="http://schemas.microsoft.com/office/drawing/2014/main" id="{6DB6B96E-2187-4D69-BD32-56330D885867}"/>
                  </a:ext>
                </a:extLst>
              </p:cNvPr>
              <p:cNvSpPr/>
              <p:nvPr/>
            </p:nvSpPr>
            <p:spPr>
              <a:xfrm>
                <a:off x="2764864" y="2477508"/>
                <a:ext cx="98066" cy="86212"/>
              </a:xfrm>
              <a:custGeom>
                <a:avLst/>
                <a:gdLst>
                  <a:gd name="connsiteX0" fmla="*/ 75744 w 98066"/>
                  <a:gd name="connsiteY0" fmla="*/ 86213 h 86212"/>
                  <a:gd name="connsiteX1" fmla="*/ 71492 w 98066"/>
                  <a:gd name="connsiteY1" fmla="*/ 84656 h 86212"/>
                  <a:gd name="connsiteX2" fmla="*/ 53436 w 98066"/>
                  <a:gd name="connsiteY2" fmla="*/ 69504 h 86212"/>
                  <a:gd name="connsiteX3" fmla="*/ 15019 w 98066"/>
                  <a:gd name="connsiteY3" fmla="*/ 51927 h 86212"/>
                  <a:gd name="connsiteX4" fmla="*/ 14090 w 98066"/>
                  <a:gd name="connsiteY4" fmla="*/ 51418 h 86212"/>
                  <a:gd name="connsiteX5" fmla="*/ 227 w 98066"/>
                  <a:gd name="connsiteY5" fmla="*/ 28841 h 86212"/>
                  <a:gd name="connsiteX6" fmla="*/ 8371 w 98066"/>
                  <a:gd name="connsiteY6" fmla="*/ 3659 h 86212"/>
                  <a:gd name="connsiteX7" fmla="*/ 9779 w 98066"/>
                  <a:gd name="connsiteY7" fmla="*/ 2131 h 86212"/>
                  <a:gd name="connsiteX8" fmla="*/ 17893 w 98066"/>
                  <a:gd name="connsiteY8" fmla="*/ 874 h 86212"/>
                  <a:gd name="connsiteX9" fmla="*/ 79577 w 98066"/>
                  <a:gd name="connsiteY9" fmla="*/ 35758 h 86212"/>
                  <a:gd name="connsiteX10" fmla="*/ 81134 w 98066"/>
                  <a:gd name="connsiteY10" fmla="*/ 36986 h 86212"/>
                  <a:gd name="connsiteX11" fmla="*/ 96255 w 98066"/>
                  <a:gd name="connsiteY11" fmla="*/ 53005 h 86212"/>
                  <a:gd name="connsiteX12" fmla="*/ 95986 w 98066"/>
                  <a:gd name="connsiteY12" fmla="*/ 62348 h 86212"/>
                  <a:gd name="connsiteX13" fmla="*/ 86614 w 98066"/>
                  <a:gd name="connsiteY13" fmla="*/ 62078 h 86212"/>
                  <a:gd name="connsiteX14" fmla="*/ 72181 w 98066"/>
                  <a:gd name="connsiteY14" fmla="*/ 46777 h 86212"/>
                  <a:gd name="connsiteX15" fmla="*/ 16186 w 98066"/>
                  <a:gd name="connsiteY15" fmla="*/ 15097 h 86212"/>
                  <a:gd name="connsiteX16" fmla="*/ 13342 w 98066"/>
                  <a:gd name="connsiteY16" fmla="*/ 27284 h 86212"/>
                  <a:gd name="connsiteX17" fmla="*/ 21007 w 98066"/>
                  <a:gd name="connsiteY17" fmla="*/ 40130 h 86212"/>
                  <a:gd name="connsiteX18" fmla="*/ 59724 w 98066"/>
                  <a:gd name="connsiteY18" fmla="*/ 57856 h 86212"/>
                  <a:gd name="connsiteX19" fmla="*/ 61221 w 98066"/>
                  <a:gd name="connsiteY19" fmla="*/ 58815 h 86212"/>
                  <a:gd name="connsiteX20" fmla="*/ 79966 w 98066"/>
                  <a:gd name="connsiteY20" fmla="*/ 74535 h 86212"/>
                  <a:gd name="connsiteX21" fmla="*/ 80775 w 98066"/>
                  <a:gd name="connsiteY21" fmla="*/ 83847 h 86212"/>
                  <a:gd name="connsiteX22" fmla="*/ 75744 w 98066"/>
                  <a:gd name="connsiteY22" fmla="*/ 86213 h 86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8066" h="86212">
                    <a:moveTo>
                      <a:pt x="75744" y="86213"/>
                    </a:moveTo>
                    <a:cubicBezTo>
                      <a:pt x="74247" y="86213"/>
                      <a:pt x="72750" y="85704"/>
                      <a:pt x="71492" y="84656"/>
                    </a:cubicBezTo>
                    <a:lnTo>
                      <a:pt x="53436" y="69504"/>
                    </a:lnTo>
                    <a:lnTo>
                      <a:pt x="15019" y="51927"/>
                    </a:lnTo>
                    <a:cubicBezTo>
                      <a:pt x="14689" y="51778"/>
                      <a:pt x="14390" y="51598"/>
                      <a:pt x="14090" y="51418"/>
                    </a:cubicBezTo>
                    <a:cubicBezTo>
                      <a:pt x="6365" y="46268"/>
                      <a:pt x="1334" y="38034"/>
                      <a:pt x="227" y="28841"/>
                    </a:cubicBezTo>
                    <a:cubicBezTo>
                      <a:pt x="-881" y="19648"/>
                      <a:pt x="2113" y="10456"/>
                      <a:pt x="8371" y="3659"/>
                    </a:cubicBezTo>
                    <a:lnTo>
                      <a:pt x="9779" y="2131"/>
                    </a:lnTo>
                    <a:cubicBezTo>
                      <a:pt x="11875" y="-144"/>
                      <a:pt x="15258" y="-653"/>
                      <a:pt x="17893" y="874"/>
                    </a:cubicBezTo>
                    <a:lnTo>
                      <a:pt x="79577" y="35758"/>
                    </a:lnTo>
                    <a:cubicBezTo>
                      <a:pt x="80146" y="36087"/>
                      <a:pt x="80685" y="36507"/>
                      <a:pt x="81134" y="36986"/>
                    </a:cubicBezTo>
                    <a:lnTo>
                      <a:pt x="96255" y="53005"/>
                    </a:lnTo>
                    <a:cubicBezTo>
                      <a:pt x="98771" y="55670"/>
                      <a:pt x="98651" y="59862"/>
                      <a:pt x="95986" y="62348"/>
                    </a:cubicBezTo>
                    <a:cubicBezTo>
                      <a:pt x="93321" y="64863"/>
                      <a:pt x="89129" y="64743"/>
                      <a:pt x="86614" y="62078"/>
                    </a:cubicBezTo>
                    <a:lnTo>
                      <a:pt x="72181" y="46777"/>
                    </a:lnTo>
                    <a:lnTo>
                      <a:pt x="16186" y="15097"/>
                    </a:lnTo>
                    <a:cubicBezTo>
                      <a:pt x="13851" y="18690"/>
                      <a:pt x="12833" y="22972"/>
                      <a:pt x="13342" y="27284"/>
                    </a:cubicBezTo>
                    <a:cubicBezTo>
                      <a:pt x="13971" y="32464"/>
                      <a:pt x="16755" y="37135"/>
                      <a:pt x="21007" y="40130"/>
                    </a:cubicBezTo>
                    <a:lnTo>
                      <a:pt x="59724" y="57856"/>
                    </a:lnTo>
                    <a:cubicBezTo>
                      <a:pt x="60263" y="58096"/>
                      <a:pt x="60772" y="58425"/>
                      <a:pt x="61221" y="58815"/>
                    </a:cubicBezTo>
                    <a:lnTo>
                      <a:pt x="79966" y="74535"/>
                    </a:lnTo>
                    <a:cubicBezTo>
                      <a:pt x="82751" y="76870"/>
                      <a:pt x="83140" y="81063"/>
                      <a:pt x="80775" y="83847"/>
                    </a:cubicBezTo>
                    <a:cubicBezTo>
                      <a:pt x="79517" y="85404"/>
                      <a:pt x="77631" y="86213"/>
                      <a:pt x="75744" y="86213"/>
                    </a:cubicBezTo>
                    <a:close/>
                  </a:path>
                </a:pathLst>
              </a:custGeom>
              <a:grpFill/>
              <a:ln w="2991" cap="flat">
                <a:noFill/>
                <a:prstDash val="solid"/>
                <a:miter/>
              </a:ln>
            </p:spPr>
            <p:txBody>
              <a:bodyPr rtlCol="0" anchor="ctr"/>
              <a:lstStyle/>
              <a:p>
                <a:endParaRPr lang="en-GB" dirty="0"/>
              </a:p>
            </p:txBody>
          </p:sp>
          <p:sp>
            <p:nvSpPr>
              <p:cNvPr id="413" name="Freihandform: Form 412">
                <a:extLst>
                  <a:ext uri="{FF2B5EF4-FFF2-40B4-BE49-F238E27FC236}">
                    <a16:creationId xmlns:a16="http://schemas.microsoft.com/office/drawing/2014/main" id="{DAA4821B-3937-4A6E-8F55-4DA0368E052F}"/>
                  </a:ext>
                </a:extLst>
              </p:cNvPr>
              <p:cNvSpPr/>
              <p:nvPr/>
            </p:nvSpPr>
            <p:spPr>
              <a:xfrm>
                <a:off x="2881903" y="2608788"/>
                <a:ext cx="104300" cy="115579"/>
              </a:xfrm>
              <a:custGeom>
                <a:avLst/>
                <a:gdLst>
                  <a:gd name="connsiteX0" fmla="*/ 27635 w 104300"/>
                  <a:gd name="connsiteY0" fmla="*/ 115580 h 115579"/>
                  <a:gd name="connsiteX1" fmla="*/ 25748 w 104300"/>
                  <a:gd name="connsiteY1" fmla="*/ 115310 h 115579"/>
                  <a:gd name="connsiteX2" fmla="*/ 24311 w 104300"/>
                  <a:gd name="connsiteY2" fmla="*/ 114891 h 115579"/>
                  <a:gd name="connsiteX3" fmla="*/ 865 w 104300"/>
                  <a:gd name="connsiteY3" fmla="*/ 74797 h 115579"/>
                  <a:gd name="connsiteX4" fmla="*/ 9309 w 104300"/>
                  <a:gd name="connsiteY4" fmla="*/ 29342 h 115579"/>
                  <a:gd name="connsiteX5" fmla="*/ 17035 w 104300"/>
                  <a:gd name="connsiteY5" fmla="*/ 24042 h 115579"/>
                  <a:gd name="connsiteX6" fmla="*/ 22335 w 104300"/>
                  <a:gd name="connsiteY6" fmla="*/ 31768 h 115579"/>
                  <a:gd name="connsiteX7" fmla="*/ 13831 w 104300"/>
                  <a:gd name="connsiteY7" fmla="*/ 77492 h 115579"/>
                  <a:gd name="connsiteX8" fmla="*/ 24072 w 104300"/>
                  <a:gd name="connsiteY8" fmla="*/ 100548 h 115579"/>
                  <a:gd name="connsiteX9" fmla="*/ 38085 w 104300"/>
                  <a:gd name="connsiteY9" fmla="*/ 68389 h 115579"/>
                  <a:gd name="connsiteX10" fmla="*/ 74018 w 104300"/>
                  <a:gd name="connsiteY10" fmla="*/ 18653 h 115579"/>
                  <a:gd name="connsiteX11" fmla="*/ 93301 w 104300"/>
                  <a:gd name="connsiteY11" fmla="*/ 1645 h 115579"/>
                  <a:gd name="connsiteX12" fmla="*/ 102644 w 104300"/>
                  <a:gd name="connsiteY12" fmla="*/ 2244 h 115579"/>
                  <a:gd name="connsiteX13" fmla="*/ 102045 w 104300"/>
                  <a:gd name="connsiteY13" fmla="*/ 11586 h 115579"/>
                  <a:gd name="connsiteX14" fmla="*/ 82761 w 104300"/>
                  <a:gd name="connsiteY14" fmla="*/ 28594 h 115579"/>
                  <a:gd name="connsiteX15" fmla="*/ 50242 w 104300"/>
                  <a:gd name="connsiteY15" fmla="*/ 73659 h 115579"/>
                  <a:gd name="connsiteX16" fmla="*/ 33683 w 104300"/>
                  <a:gd name="connsiteY16" fmla="*/ 111627 h 115579"/>
                  <a:gd name="connsiteX17" fmla="*/ 27635 w 104300"/>
                  <a:gd name="connsiteY17" fmla="*/ 115580 h 115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4300" h="115579">
                    <a:moveTo>
                      <a:pt x="27635" y="115580"/>
                    </a:moveTo>
                    <a:cubicBezTo>
                      <a:pt x="27006" y="115580"/>
                      <a:pt x="26377" y="115490"/>
                      <a:pt x="25748" y="115310"/>
                    </a:cubicBezTo>
                    <a:lnTo>
                      <a:pt x="24311" y="114891"/>
                    </a:lnTo>
                    <a:cubicBezTo>
                      <a:pt x="7154" y="109831"/>
                      <a:pt x="-3147" y="92224"/>
                      <a:pt x="865" y="74797"/>
                    </a:cubicBezTo>
                    <a:lnTo>
                      <a:pt x="9309" y="29342"/>
                    </a:lnTo>
                    <a:cubicBezTo>
                      <a:pt x="9968" y="25749"/>
                      <a:pt x="13412" y="23354"/>
                      <a:pt x="17035" y="24042"/>
                    </a:cubicBezTo>
                    <a:cubicBezTo>
                      <a:pt x="20628" y="24701"/>
                      <a:pt x="22994" y="28175"/>
                      <a:pt x="22335" y="31768"/>
                    </a:cubicBezTo>
                    <a:lnTo>
                      <a:pt x="13831" y="77492"/>
                    </a:lnTo>
                    <a:cubicBezTo>
                      <a:pt x="11675" y="86924"/>
                      <a:pt x="16077" y="96236"/>
                      <a:pt x="24072" y="100548"/>
                    </a:cubicBezTo>
                    <a:lnTo>
                      <a:pt x="38085" y="68389"/>
                    </a:lnTo>
                    <a:cubicBezTo>
                      <a:pt x="46140" y="49494"/>
                      <a:pt x="58567" y="32277"/>
                      <a:pt x="74018" y="18653"/>
                    </a:cubicBezTo>
                    <a:lnTo>
                      <a:pt x="93301" y="1645"/>
                    </a:lnTo>
                    <a:cubicBezTo>
                      <a:pt x="96026" y="-751"/>
                      <a:pt x="100218" y="-511"/>
                      <a:pt x="102644" y="2244"/>
                    </a:cubicBezTo>
                    <a:cubicBezTo>
                      <a:pt x="105069" y="4998"/>
                      <a:pt x="104799" y="9161"/>
                      <a:pt x="102045" y="11586"/>
                    </a:cubicBezTo>
                    <a:lnTo>
                      <a:pt x="82761" y="28594"/>
                    </a:lnTo>
                    <a:cubicBezTo>
                      <a:pt x="68777" y="40931"/>
                      <a:pt x="57519" y="56501"/>
                      <a:pt x="50242" y="73659"/>
                    </a:cubicBezTo>
                    <a:lnTo>
                      <a:pt x="33683" y="111627"/>
                    </a:lnTo>
                    <a:cubicBezTo>
                      <a:pt x="32636" y="114083"/>
                      <a:pt x="30210" y="115580"/>
                      <a:pt x="27635" y="115580"/>
                    </a:cubicBezTo>
                    <a:close/>
                  </a:path>
                </a:pathLst>
              </a:custGeom>
              <a:grpFill/>
              <a:ln w="2991" cap="flat">
                <a:noFill/>
                <a:prstDash val="solid"/>
                <a:miter/>
              </a:ln>
            </p:spPr>
            <p:txBody>
              <a:bodyPr rtlCol="0" anchor="ctr"/>
              <a:lstStyle/>
              <a:p>
                <a:endParaRPr lang="en-GB" dirty="0"/>
              </a:p>
            </p:txBody>
          </p:sp>
          <p:sp>
            <p:nvSpPr>
              <p:cNvPr id="414" name="Freihandform: Form 413">
                <a:extLst>
                  <a:ext uri="{FF2B5EF4-FFF2-40B4-BE49-F238E27FC236}">
                    <a16:creationId xmlns:a16="http://schemas.microsoft.com/office/drawing/2014/main" id="{E03D7D4F-1C6C-499F-B246-5A7A73DECCC3}"/>
                  </a:ext>
                </a:extLst>
              </p:cNvPr>
              <p:cNvSpPr/>
              <p:nvPr/>
            </p:nvSpPr>
            <p:spPr>
              <a:xfrm>
                <a:off x="2766516" y="2518202"/>
                <a:ext cx="70767" cy="67586"/>
              </a:xfrm>
              <a:custGeom>
                <a:avLst/>
                <a:gdLst>
                  <a:gd name="connsiteX0" fmla="*/ 64091 w 70767"/>
                  <a:gd name="connsiteY0" fmla="*/ 67586 h 67586"/>
                  <a:gd name="connsiteX1" fmla="*/ 59989 w 70767"/>
                  <a:gd name="connsiteY1" fmla="*/ 66149 h 67586"/>
                  <a:gd name="connsiteX2" fmla="*/ 51784 w 70767"/>
                  <a:gd name="connsiteY2" fmla="*/ 59621 h 67586"/>
                  <a:gd name="connsiteX3" fmla="*/ 20134 w 70767"/>
                  <a:gd name="connsiteY3" fmla="*/ 47494 h 67586"/>
                  <a:gd name="connsiteX4" fmla="*/ 1329 w 70767"/>
                  <a:gd name="connsiteY4" fmla="*/ 28061 h 67586"/>
                  <a:gd name="connsiteX5" fmla="*/ 4503 w 70767"/>
                  <a:gd name="connsiteY5" fmla="*/ 4615 h 67586"/>
                  <a:gd name="connsiteX6" fmla="*/ 5551 w 70767"/>
                  <a:gd name="connsiteY6" fmla="*/ 2998 h 67586"/>
                  <a:gd name="connsiteX7" fmla="*/ 13247 w 70767"/>
                  <a:gd name="connsiteY7" fmla="*/ 363 h 67586"/>
                  <a:gd name="connsiteX8" fmla="*/ 47652 w 70767"/>
                  <a:gd name="connsiteY8" fmla="*/ 12251 h 67586"/>
                  <a:gd name="connsiteX9" fmla="*/ 51754 w 70767"/>
                  <a:gd name="connsiteY9" fmla="*/ 20665 h 67586"/>
                  <a:gd name="connsiteX10" fmla="*/ 43340 w 70767"/>
                  <a:gd name="connsiteY10" fmla="*/ 24767 h 67586"/>
                  <a:gd name="connsiteX11" fmla="*/ 14145 w 70767"/>
                  <a:gd name="connsiteY11" fmla="*/ 14676 h 67586"/>
                  <a:gd name="connsiteX12" fmla="*/ 13965 w 70767"/>
                  <a:gd name="connsiteY12" fmla="*/ 24019 h 67586"/>
                  <a:gd name="connsiteX13" fmla="*/ 24925 w 70767"/>
                  <a:gd name="connsiteY13" fmla="*/ 35128 h 67586"/>
                  <a:gd name="connsiteX14" fmla="*/ 57503 w 70767"/>
                  <a:gd name="connsiteY14" fmla="*/ 47614 h 67586"/>
                  <a:gd name="connsiteX15" fmla="*/ 59240 w 70767"/>
                  <a:gd name="connsiteY15" fmla="*/ 48602 h 67586"/>
                  <a:gd name="connsiteX16" fmla="*/ 68253 w 70767"/>
                  <a:gd name="connsiteY16" fmla="*/ 55759 h 67586"/>
                  <a:gd name="connsiteX17" fmla="*/ 69331 w 70767"/>
                  <a:gd name="connsiteY17" fmla="*/ 65071 h 67586"/>
                  <a:gd name="connsiteX18" fmla="*/ 64091 w 70767"/>
                  <a:gd name="connsiteY18" fmla="*/ 67586 h 6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0767" h="67586">
                    <a:moveTo>
                      <a:pt x="64091" y="67586"/>
                    </a:moveTo>
                    <a:cubicBezTo>
                      <a:pt x="62654" y="67586"/>
                      <a:pt x="61186" y="67107"/>
                      <a:pt x="59989" y="66149"/>
                    </a:cubicBezTo>
                    <a:lnTo>
                      <a:pt x="51784" y="59621"/>
                    </a:lnTo>
                    <a:lnTo>
                      <a:pt x="20134" y="47494"/>
                    </a:lnTo>
                    <a:cubicBezTo>
                      <a:pt x="11001" y="43931"/>
                      <a:pt x="4144" y="36864"/>
                      <a:pt x="1329" y="28061"/>
                    </a:cubicBezTo>
                    <a:cubicBezTo>
                      <a:pt x="-1216" y="20096"/>
                      <a:pt x="-78" y="11562"/>
                      <a:pt x="4503" y="4615"/>
                    </a:cubicBezTo>
                    <a:lnTo>
                      <a:pt x="5551" y="2998"/>
                    </a:lnTo>
                    <a:cubicBezTo>
                      <a:pt x="7198" y="453"/>
                      <a:pt x="10372" y="-625"/>
                      <a:pt x="13247" y="363"/>
                    </a:cubicBezTo>
                    <a:lnTo>
                      <a:pt x="47652" y="12251"/>
                    </a:lnTo>
                    <a:cubicBezTo>
                      <a:pt x="51125" y="13448"/>
                      <a:pt x="52952" y="17221"/>
                      <a:pt x="51754" y="20665"/>
                    </a:cubicBezTo>
                    <a:cubicBezTo>
                      <a:pt x="50556" y="24108"/>
                      <a:pt x="46784" y="25935"/>
                      <a:pt x="43340" y="24767"/>
                    </a:cubicBezTo>
                    <a:lnTo>
                      <a:pt x="14145" y="14676"/>
                    </a:lnTo>
                    <a:cubicBezTo>
                      <a:pt x="13037" y="17641"/>
                      <a:pt x="12947" y="20845"/>
                      <a:pt x="13965" y="24019"/>
                    </a:cubicBezTo>
                    <a:cubicBezTo>
                      <a:pt x="15552" y="28989"/>
                      <a:pt x="19535" y="33031"/>
                      <a:pt x="24925" y="35128"/>
                    </a:cubicBezTo>
                    <a:lnTo>
                      <a:pt x="57503" y="47614"/>
                    </a:lnTo>
                    <a:cubicBezTo>
                      <a:pt x="58132" y="47854"/>
                      <a:pt x="58731" y="48183"/>
                      <a:pt x="59240" y="48602"/>
                    </a:cubicBezTo>
                    <a:lnTo>
                      <a:pt x="68253" y="55759"/>
                    </a:lnTo>
                    <a:cubicBezTo>
                      <a:pt x="71128" y="58034"/>
                      <a:pt x="71607" y="62197"/>
                      <a:pt x="69331" y="65071"/>
                    </a:cubicBezTo>
                    <a:cubicBezTo>
                      <a:pt x="67983" y="66718"/>
                      <a:pt x="66067" y="67586"/>
                      <a:pt x="64091" y="67586"/>
                    </a:cubicBezTo>
                    <a:close/>
                  </a:path>
                </a:pathLst>
              </a:custGeom>
              <a:grpFill/>
              <a:ln w="2991" cap="flat">
                <a:noFill/>
                <a:prstDash val="solid"/>
                <a:miter/>
              </a:ln>
            </p:spPr>
            <p:txBody>
              <a:bodyPr rtlCol="0" anchor="ctr"/>
              <a:lstStyle/>
              <a:p>
                <a:endParaRPr lang="en-GB" dirty="0"/>
              </a:p>
            </p:txBody>
          </p:sp>
          <p:sp>
            <p:nvSpPr>
              <p:cNvPr id="415" name="Freihandform: Form 414">
                <a:extLst>
                  <a:ext uri="{FF2B5EF4-FFF2-40B4-BE49-F238E27FC236}">
                    <a16:creationId xmlns:a16="http://schemas.microsoft.com/office/drawing/2014/main" id="{6279C92A-C39D-4ECC-BED4-2FB0A06C5F7A}"/>
                  </a:ext>
                </a:extLst>
              </p:cNvPr>
              <p:cNvSpPr/>
              <p:nvPr/>
            </p:nvSpPr>
            <p:spPr>
              <a:xfrm>
                <a:off x="2770768" y="2551500"/>
                <a:ext cx="59593" cy="61358"/>
              </a:xfrm>
              <a:custGeom>
                <a:avLst/>
                <a:gdLst>
                  <a:gd name="connsiteX0" fmla="*/ 52922 w 59593"/>
                  <a:gd name="connsiteY0" fmla="*/ 61358 h 61358"/>
                  <a:gd name="connsiteX1" fmla="*/ 50257 w 59593"/>
                  <a:gd name="connsiteY1" fmla="*/ 60789 h 61358"/>
                  <a:gd name="connsiteX2" fmla="*/ 19804 w 59593"/>
                  <a:gd name="connsiteY2" fmla="*/ 47345 h 61358"/>
                  <a:gd name="connsiteX3" fmla="*/ 1329 w 59593"/>
                  <a:gd name="connsiteY3" fmla="*/ 28061 h 61358"/>
                  <a:gd name="connsiteX4" fmla="*/ 4503 w 59593"/>
                  <a:gd name="connsiteY4" fmla="*/ 4615 h 61358"/>
                  <a:gd name="connsiteX5" fmla="*/ 5551 w 59593"/>
                  <a:gd name="connsiteY5" fmla="*/ 2998 h 61358"/>
                  <a:gd name="connsiteX6" fmla="*/ 13247 w 59593"/>
                  <a:gd name="connsiteY6" fmla="*/ 363 h 61358"/>
                  <a:gd name="connsiteX7" fmla="*/ 47652 w 59593"/>
                  <a:gd name="connsiteY7" fmla="*/ 12251 h 61358"/>
                  <a:gd name="connsiteX8" fmla="*/ 51754 w 59593"/>
                  <a:gd name="connsiteY8" fmla="*/ 20665 h 61358"/>
                  <a:gd name="connsiteX9" fmla="*/ 43340 w 59593"/>
                  <a:gd name="connsiteY9" fmla="*/ 24767 h 61358"/>
                  <a:gd name="connsiteX10" fmla="*/ 14145 w 59593"/>
                  <a:gd name="connsiteY10" fmla="*/ 14676 h 61358"/>
                  <a:gd name="connsiteX11" fmla="*/ 13965 w 59593"/>
                  <a:gd name="connsiteY11" fmla="*/ 24018 h 61358"/>
                  <a:gd name="connsiteX12" fmla="*/ 24925 w 59593"/>
                  <a:gd name="connsiteY12" fmla="*/ 35128 h 61358"/>
                  <a:gd name="connsiteX13" fmla="*/ 55647 w 59593"/>
                  <a:gd name="connsiteY13" fmla="*/ 48692 h 61358"/>
                  <a:gd name="connsiteX14" fmla="*/ 59030 w 59593"/>
                  <a:gd name="connsiteY14" fmla="*/ 57435 h 61358"/>
                  <a:gd name="connsiteX15" fmla="*/ 52922 w 59593"/>
                  <a:gd name="connsiteY15" fmla="*/ 61358 h 6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9593" h="61358">
                    <a:moveTo>
                      <a:pt x="52922" y="61358"/>
                    </a:moveTo>
                    <a:cubicBezTo>
                      <a:pt x="52024" y="61358"/>
                      <a:pt x="51125" y="61178"/>
                      <a:pt x="50257" y="60789"/>
                    </a:cubicBezTo>
                    <a:lnTo>
                      <a:pt x="19804" y="47345"/>
                    </a:lnTo>
                    <a:cubicBezTo>
                      <a:pt x="10971" y="43901"/>
                      <a:pt x="4144" y="36834"/>
                      <a:pt x="1329" y="28061"/>
                    </a:cubicBezTo>
                    <a:cubicBezTo>
                      <a:pt x="-1216" y="20096"/>
                      <a:pt x="-78" y="11562"/>
                      <a:pt x="4503" y="4615"/>
                    </a:cubicBezTo>
                    <a:lnTo>
                      <a:pt x="5551" y="2998"/>
                    </a:lnTo>
                    <a:cubicBezTo>
                      <a:pt x="7198" y="453"/>
                      <a:pt x="10372" y="-625"/>
                      <a:pt x="13247" y="363"/>
                    </a:cubicBezTo>
                    <a:lnTo>
                      <a:pt x="47652" y="12251"/>
                    </a:lnTo>
                    <a:cubicBezTo>
                      <a:pt x="51095" y="13448"/>
                      <a:pt x="52952" y="17221"/>
                      <a:pt x="51754" y="20665"/>
                    </a:cubicBezTo>
                    <a:cubicBezTo>
                      <a:pt x="50556" y="24108"/>
                      <a:pt x="46784" y="25935"/>
                      <a:pt x="43340" y="24767"/>
                    </a:cubicBezTo>
                    <a:lnTo>
                      <a:pt x="14145" y="14676"/>
                    </a:lnTo>
                    <a:cubicBezTo>
                      <a:pt x="13037" y="17640"/>
                      <a:pt x="12947" y="20844"/>
                      <a:pt x="13965" y="24018"/>
                    </a:cubicBezTo>
                    <a:cubicBezTo>
                      <a:pt x="15552" y="28989"/>
                      <a:pt x="19565" y="33031"/>
                      <a:pt x="24925" y="35128"/>
                    </a:cubicBezTo>
                    <a:lnTo>
                      <a:pt x="55647" y="48692"/>
                    </a:lnTo>
                    <a:cubicBezTo>
                      <a:pt x="59001" y="50159"/>
                      <a:pt x="60498" y="54082"/>
                      <a:pt x="59030" y="57435"/>
                    </a:cubicBezTo>
                    <a:cubicBezTo>
                      <a:pt x="57893" y="59891"/>
                      <a:pt x="55467" y="61358"/>
                      <a:pt x="52922" y="61358"/>
                    </a:cubicBezTo>
                    <a:close/>
                  </a:path>
                </a:pathLst>
              </a:custGeom>
              <a:grpFill/>
              <a:ln w="2991" cap="flat">
                <a:noFill/>
                <a:prstDash val="solid"/>
                <a:miter/>
              </a:ln>
            </p:spPr>
            <p:txBody>
              <a:bodyPr rtlCol="0" anchor="ctr"/>
              <a:lstStyle/>
              <a:p>
                <a:endParaRPr lang="en-GB" dirty="0"/>
              </a:p>
            </p:txBody>
          </p:sp>
          <p:sp>
            <p:nvSpPr>
              <p:cNvPr id="416" name="Freihandform: Form 415">
                <a:extLst>
                  <a:ext uri="{FF2B5EF4-FFF2-40B4-BE49-F238E27FC236}">
                    <a16:creationId xmlns:a16="http://schemas.microsoft.com/office/drawing/2014/main" id="{1E34067C-8489-4BD4-A3F7-2072282A2171}"/>
                  </a:ext>
                </a:extLst>
              </p:cNvPr>
              <p:cNvSpPr/>
              <p:nvPr/>
            </p:nvSpPr>
            <p:spPr>
              <a:xfrm>
                <a:off x="2790539" y="2455805"/>
                <a:ext cx="194075" cy="84828"/>
              </a:xfrm>
              <a:custGeom>
                <a:avLst/>
                <a:gdLst>
                  <a:gd name="connsiteX0" fmla="*/ 137145 w 194075"/>
                  <a:gd name="connsiteY0" fmla="*/ 84829 h 84828"/>
                  <a:gd name="connsiteX1" fmla="*/ 93966 w 194075"/>
                  <a:gd name="connsiteY1" fmla="*/ 68929 h 84828"/>
                  <a:gd name="connsiteX2" fmla="*/ 15814 w 194075"/>
                  <a:gd name="connsiteY2" fmla="*/ 15449 h 84828"/>
                  <a:gd name="connsiteX3" fmla="*/ 13388 w 194075"/>
                  <a:gd name="connsiteY3" fmla="*/ 26289 h 84828"/>
                  <a:gd name="connsiteX4" fmla="*/ 21712 w 194075"/>
                  <a:gd name="connsiteY4" fmla="*/ 39374 h 84828"/>
                  <a:gd name="connsiteX5" fmla="*/ 23539 w 194075"/>
                  <a:gd name="connsiteY5" fmla="*/ 48567 h 84828"/>
                  <a:gd name="connsiteX6" fmla="*/ 14346 w 194075"/>
                  <a:gd name="connsiteY6" fmla="*/ 50393 h 84828"/>
                  <a:gd name="connsiteX7" fmla="*/ 213 w 194075"/>
                  <a:gd name="connsiteY7" fmla="*/ 27876 h 84828"/>
                  <a:gd name="connsiteX8" fmla="*/ 8208 w 194075"/>
                  <a:gd name="connsiteY8" fmla="*/ 3652 h 84828"/>
                  <a:gd name="connsiteX9" fmla="*/ 9645 w 194075"/>
                  <a:gd name="connsiteY9" fmla="*/ 2124 h 84828"/>
                  <a:gd name="connsiteX10" fmla="*/ 18239 w 194075"/>
                  <a:gd name="connsiteY10" fmla="*/ 1166 h 84828"/>
                  <a:gd name="connsiteX11" fmla="*/ 101452 w 194075"/>
                  <a:gd name="connsiteY11" fmla="*/ 58119 h 84828"/>
                  <a:gd name="connsiteX12" fmla="*/ 140109 w 194075"/>
                  <a:gd name="connsiteY12" fmla="*/ 71563 h 84828"/>
                  <a:gd name="connsiteX13" fmla="*/ 187120 w 194075"/>
                  <a:gd name="connsiteY13" fmla="*/ 69078 h 84828"/>
                  <a:gd name="connsiteX14" fmla="*/ 194067 w 194075"/>
                  <a:gd name="connsiteY14" fmla="*/ 75336 h 84828"/>
                  <a:gd name="connsiteX15" fmla="*/ 187809 w 194075"/>
                  <a:gd name="connsiteY15" fmla="*/ 82283 h 84828"/>
                  <a:gd name="connsiteX16" fmla="*/ 140798 w 194075"/>
                  <a:gd name="connsiteY16" fmla="*/ 84769 h 84828"/>
                  <a:gd name="connsiteX17" fmla="*/ 137145 w 194075"/>
                  <a:gd name="connsiteY17" fmla="*/ 84829 h 8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4075" h="84828">
                    <a:moveTo>
                      <a:pt x="137145" y="84829"/>
                    </a:moveTo>
                    <a:cubicBezTo>
                      <a:pt x="122592" y="84829"/>
                      <a:pt x="109776" y="80067"/>
                      <a:pt x="93966" y="68929"/>
                    </a:cubicBezTo>
                    <a:lnTo>
                      <a:pt x="15814" y="15449"/>
                    </a:lnTo>
                    <a:cubicBezTo>
                      <a:pt x="13777" y="18713"/>
                      <a:pt x="12939" y="22456"/>
                      <a:pt x="13388" y="26289"/>
                    </a:cubicBezTo>
                    <a:cubicBezTo>
                      <a:pt x="14017" y="31469"/>
                      <a:pt x="17041" y="36260"/>
                      <a:pt x="21712" y="39374"/>
                    </a:cubicBezTo>
                    <a:cubicBezTo>
                      <a:pt x="24767" y="41410"/>
                      <a:pt x="25575" y="45513"/>
                      <a:pt x="23539" y="48567"/>
                    </a:cubicBezTo>
                    <a:cubicBezTo>
                      <a:pt x="21503" y="51621"/>
                      <a:pt x="17400" y="52430"/>
                      <a:pt x="14346" y="50393"/>
                    </a:cubicBezTo>
                    <a:cubicBezTo>
                      <a:pt x="6441" y="45123"/>
                      <a:pt x="1291" y="36919"/>
                      <a:pt x="213" y="27876"/>
                    </a:cubicBezTo>
                    <a:cubicBezTo>
                      <a:pt x="-835" y="19013"/>
                      <a:pt x="2009" y="10389"/>
                      <a:pt x="8208" y="3652"/>
                    </a:cubicBezTo>
                    <a:lnTo>
                      <a:pt x="9645" y="2124"/>
                    </a:lnTo>
                    <a:cubicBezTo>
                      <a:pt x="11861" y="-301"/>
                      <a:pt x="15574" y="-690"/>
                      <a:pt x="18239" y="1166"/>
                    </a:cubicBezTo>
                    <a:lnTo>
                      <a:pt x="101452" y="58119"/>
                    </a:lnTo>
                    <a:cubicBezTo>
                      <a:pt x="116214" y="68509"/>
                      <a:pt x="127084" y="72252"/>
                      <a:pt x="140109" y="71563"/>
                    </a:cubicBezTo>
                    <a:lnTo>
                      <a:pt x="187120" y="69078"/>
                    </a:lnTo>
                    <a:cubicBezTo>
                      <a:pt x="190744" y="68869"/>
                      <a:pt x="193888" y="71683"/>
                      <a:pt x="194067" y="75336"/>
                    </a:cubicBezTo>
                    <a:cubicBezTo>
                      <a:pt x="194247" y="78989"/>
                      <a:pt x="191462" y="82104"/>
                      <a:pt x="187809" y="82283"/>
                    </a:cubicBezTo>
                    <a:lnTo>
                      <a:pt x="140798" y="84769"/>
                    </a:lnTo>
                    <a:cubicBezTo>
                      <a:pt x="139570" y="84799"/>
                      <a:pt x="138342" y="84829"/>
                      <a:pt x="137145" y="84829"/>
                    </a:cubicBezTo>
                    <a:close/>
                  </a:path>
                </a:pathLst>
              </a:custGeom>
              <a:grpFill/>
              <a:ln w="2991" cap="flat">
                <a:noFill/>
                <a:prstDash val="solid"/>
                <a:miter/>
              </a:ln>
            </p:spPr>
            <p:txBody>
              <a:bodyPr rtlCol="0" anchor="ctr"/>
              <a:lstStyle/>
              <a:p>
                <a:endParaRPr lang="en-GB" dirty="0"/>
              </a:p>
            </p:txBody>
          </p:sp>
        </p:grpSp>
        <p:grpSp>
          <p:nvGrpSpPr>
            <p:cNvPr id="401" name="Grafik 306">
              <a:extLst>
                <a:ext uri="{FF2B5EF4-FFF2-40B4-BE49-F238E27FC236}">
                  <a16:creationId xmlns:a16="http://schemas.microsoft.com/office/drawing/2014/main" id="{F6E66ADD-F55C-44DE-860C-3402220F368D}"/>
                </a:ext>
              </a:extLst>
            </p:cNvPr>
            <p:cNvGrpSpPr/>
            <p:nvPr/>
          </p:nvGrpSpPr>
          <p:grpSpPr>
            <a:xfrm>
              <a:off x="2706692" y="2545136"/>
              <a:ext cx="279769" cy="336212"/>
              <a:chOff x="2624271" y="2553066"/>
              <a:chExt cx="284070" cy="341380"/>
            </a:xfrm>
            <a:solidFill>
              <a:schemeClr val="accent1"/>
            </a:solidFill>
          </p:grpSpPr>
          <p:grpSp>
            <p:nvGrpSpPr>
              <p:cNvPr id="402" name="Grafik 306">
                <a:extLst>
                  <a:ext uri="{FF2B5EF4-FFF2-40B4-BE49-F238E27FC236}">
                    <a16:creationId xmlns:a16="http://schemas.microsoft.com/office/drawing/2014/main" id="{10D74D3B-3036-4822-BC32-86BABEEE31B3}"/>
                  </a:ext>
                </a:extLst>
              </p:cNvPr>
              <p:cNvGrpSpPr/>
              <p:nvPr/>
            </p:nvGrpSpPr>
            <p:grpSpPr>
              <a:xfrm>
                <a:off x="2624271" y="2659938"/>
                <a:ext cx="247448" cy="203037"/>
                <a:chOff x="2624271" y="2659938"/>
                <a:chExt cx="247448" cy="203037"/>
              </a:xfrm>
              <a:solidFill>
                <a:schemeClr val="accent1"/>
              </a:solidFill>
            </p:grpSpPr>
            <p:sp>
              <p:nvSpPr>
                <p:cNvPr id="408" name="Freihandform: Form 407">
                  <a:extLst>
                    <a:ext uri="{FF2B5EF4-FFF2-40B4-BE49-F238E27FC236}">
                      <a16:creationId xmlns:a16="http://schemas.microsoft.com/office/drawing/2014/main" id="{71EE84C0-0D09-46D4-899E-0E1085F436F8}"/>
                    </a:ext>
                  </a:extLst>
                </p:cNvPr>
                <p:cNvSpPr/>
                <p:nvPr/>
              </p:nvSpPr>
              <p:spPr>
                <a:xfrm>
                  <a:off x="2776266" y="2687128"/>
                  <a:ext cx="95452" cy="108475"/>
                </a:xfrm>
                <a:custGeom>
                  <a:avLst/>
                  <a:gdLst>
                    <a:gd name="connsiteX0" fmla="*/ 58712 w 95452"/>
                    <a:gd name="connsiteY0" fmla="*/ 108475 h 108475"/>
                    <a:gd name="connsiteX1" fmla="*/ 53891 w 95452"/>
                    <a:gd name="connsiteY1" fmla="*/ 107877 h 108475"/>
                    <a:gd name="connsiteX2" fmla="*/ 27840 w 95452"/>
                    <a:gd name="connsiteY2" fmla="*/ 101289 h 108475"/>
                    <a:gd name="connsiteX3" fmla="*/ 23049 w 95452"/>
                    <a:gd name="connsiteY3" fmla="*/ 93264 h 108475"/>
                    <a:gd name="connsiteX4" fmla="*/ 31104 w 95452"/>
                    <a:gd name="connsiteY4" fmla="*/ 88473 h 108475"/>
                    <a:gd name="connsiteX5" fmla="*/ 57155 w 95452"/>
                    <a:gd name="connsiteY5" fmla="*/ 95061 h 108475"/>
                    <a:gd name="connsiteX6" fmla="*/ 62305 w 95452"/>
                    <a:gd name="connsiteY6" fmla="*/ 94222 h 108475"/>
                    <a:gd name="connsiteX7" fmla="*/ 65240 w 95452"/>
                    <a:gd name="connsiteY7" fmla="*/ 89910 h 108475"/>
                    <a:gd name="connsiteX8" fmla="*/ 66887 w 95452"/>
                    <a:gd name="connsiteY8" fmla="*/ 81287 h 108475"/>
                    <a:gd name="connsiteX9" fmla="*/ 62036 w 95452"/>
                    <a:gd name="connsiteY9" fmla="*/ 73651 h 108475"/>
                    <a:gd name="connsiteX10" fmla="*/ 24816 w 95452"/>
                    <a:gd name="connsiteY10" fmla="*/ 62692 h 108475"/>
                    <a:gd name="connsiteX11" fmla="*/ 20355 w 95452"/>
                    <a:gd name="connsiteY11" fmla="*/ 54487 h 108475"/>
                    <a:gd name="connsiteX12" fmla="*/ 28559 w 95452"/>
                    <a:gd name="connsiteY12" fmla="*/ 49996 h 108475"/>
                    <a:gd name="connsiteX13" fmla="*/ 70600 w 95452"/>
                    <a:gd name="connsiteY13" fmla="*/ 62302 h 108475"/>
                    <a:gd name="connsiteX14" fmla="*/ 78325 w 95452"/>
                    <a:gd name="connsiteY14" fmla="*/ 57781 h 108475"/>
                    <a:gd name="connsiteX15" fmla="*/ 81888 w 95452"/>
                    <a:gd name="connsiteY15" fmla="*/ 46103 h 108475"/>
                    <a:gd name="connsiteX16" fmla="*/ 77726 w 95452"/>
                    <a:gd name="connsiteY16" fmla="*/ 37928 h 108475"/>
                    <a:gd name="connsiteX17" fmla="*/ 4485 w 95452"/>
                    <a:gd name="connsiteY17" fmla="*/ 12896 h 108475"/>
                    <a:gd name="connsiteX18" fmla="*/ 352 w 95452"/>
                    <a:gd name="connsiteY18" fmla="*/ 4482 h 108475"/>
                    <a:gd name="connsiteX19" fmla="*/ 8766 w 95452"/>
                    <a:gd name="connsiteY19" fmla="*/ 349 h 108475"/>
                    <a:gd name="connsiteX20" fmla="*/ 82008 w 95452"/>
                    <a:gd name="connsiteY20" fmla="*/ 25412 h 108475"/>
                    <a:gd name="connsiteX21" fmla="*/ 94585 w 95452"/>
                    <a:gd name="connsiteY21" fmla="*/ 49966 h 108475"/>
                    <a:gd name="connsiteX22" fmla="*/ 91021 w 95452"/>
                    <a:gd name="connsiteY22" fmla="*/ 61644 h 108475"/>
                    <a:gd name="connsiteX23" fmla="*/ 79433 w 95452"/>
                    <a:gd name="connsiteY23" fmla="*/ 74280 h 108475"/>
                    <a:gd name="connsiteX24" fmla="*/ 79942 w 95452"/>
                    <a:gd name="connsiteY24" fmla="*/ 83772 h 108475"/>
                    <a:gd name="connsiteX25" fmla="*/ 78295 w 95452"/>
                    <a:gd name="connsiteY25" fmla="*/ 92396 h 108475"/>
                    <a:gd name="connsiteX26" fmla="*/ 69492 w 95452"/>
                    <a:gd name="connsiteY26" fmla="*/ 105391 h 108475"/>
                    <a:gd name="connsiteX27" fmla="*/ 58712 w 95452"/>
                    <a:gd name="connsiteY27" fmla="*/ 108475 h 108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5452" h="108475">
                      <a:moveTo>
                        <a:pt x="58712" y="108475"/>
                      </a:moveTo>
                      <a:cubicBezTo>
                        <a:pt x="57095" y="108475"/>
                        <a:pt x="55478" y="108266"/>
                        <a:pt x="53891" y="107877"/>
                      </a:cubicBezTo>
                      <a:lnTo>
                        <a:pt x="27840" y="101289"/>
                      </a:lnTo>
                      <a:cubicBezTo>
                        <a:pt x="24307" y="100391"/>
                        <a:pt x="22151" y="96797"/>
                        <a:pt x="23049" y="93264"/>
                      </a:cubicBezTo>
                      <a:cubicBezTo>
                        <a:pt x="23948" y="89701"/>
                        <a:pt x="27511" y="87545"/>
                        <a:pt x="31104" y="88473"/>
                      </a:cubicBezTo>
                      <a:lnTo>
                        <a:pt x="57155" y="95061"/>
                      </a:lnTo>
                      <a:cubicBezTo>
                        <a:pt x="58922" y="95510"/>
                        <a:pt x="60778" y="95210"/>
                        <a:pt x="62305" y="94222"/>
                      </a:cubicBezTo>
                      <a:cubicBezTo>
                        <a:pt x="63862" y="93234"/>
                        <a:pt x="64881" y="91707"/>
                        <a:pt x="65240" y="89910"/>
                      </a:cubicBezTo>
                      <a:lnTo>
                        <a:pt x="66887" y="81287"/>
                      </a:lnTo>
                      <a:cubicBezTo>
                        <a:pt x="67546" y="77873"/>
                        <a:pt x="65420" y="74519"/>
                        <a:pt x="62036" y="73651"/>
                      </a:cubicBezTo>
                      <a:lnTo>
                        <a:pt x="24816" y="62692"/>
                      </a:lnTo>
                      <a:cubicBezTo>
                        <a:pt x="21313" y="61674"/>
                        <a:pt x="19306" y="57991"/>
                        <a:pt x="20355" y="54487"/>
                      </a:cubicBezTo>
                      <a:cubicBezTo>
                        <a:pt x="21373" y="50984"/>
                        <a:pt x="25056" y="48978"/>
                        <a:pt x="28559" y="49996"/>
                      </a:cubicBezTo>
                      <a:lnTo>
                        <a:pt x="70600" y="62302"/>
                      </a:lnTo>
                      <a:cubicBezTo>
                        <a:pt x="73774" y="63111"/>
                        <a:pt x="77307" y="61165"/>
                        <a:pt x="78325" y="57781"/>
                      </a:cubicBezTo>
                      <a:lnTo>
                        <a:pt x="81888" y="46103"/>
                      </a:lnTo>
                      <a:cubicBezTo>
                        <a:pt x="82936" y="42689"/>
                        <a:pt x="81110" y="39096"/>
                        <a:pt x="77726" y="37928"/>
                      </a:cubicBezTo>
                      <a:lnTo>
                        <a:pt x="4485" y="12896"/>
                      </a:lnTo>
                      <a:cubicBezTo>
                        <a:pt x="1011" y="11698"/>
                        <a:pt x="-816" y="7955"/>
                        <a:pt x="352" y="4482"/>
                      </a:cubicBezTo>
                      <a:cubicBezTo>
                        <a:pt x="1550" y="1038"/>
                        <a:pt x="5323" y="-818"/>
                        <a:pt x="8766" y="349"/>
                      </a:cubicBezTo>
                      <a:lnTo>
                        <a:pt x="82008" y="25412"/>
                      </a:lnTo>
                      <a:cubicBezTo>
                        <a:pt x="92189" y="28885"/>
                        <a:pt x="97699" y="39665"/>
                        <a:pt x="94585" y="49966"/>
                      </a:cubicBezTo>
                      <a:lnTo>
                        <a:pt x="91021" y="61644"/>
                      </a:lnTo>
                      <a:cubicBezTo>
                        <a:pt x="89195" y="67632"/>
                        <a:pt x="84823" y="72124"/>
                        <a:pt x="79433" y="74280"/>
                      </a:cubicBezTo>
                      <a:cubicBezTo>
                        <a:pt x="80331" y="77274"/>
                        <a:pt x="80571" y="80508"/>
                        <a:pt x="79942" y="83772"/>
                      </a:cubicBezTo>
                      <a:lnTo>
                        <a:pt x="78295" y="92396"/>
                      </a:lnTo>
                      <a:cubicBezTo>
                        <a:pt x="77277" y="97726"/>
                        <a:pt x="74043" y="102457"/>
                        <a:pt x="69492" y="105391"/>
                      </a:cubicBezTo>
                      <a:cubicBezTo>
                        <a:pt x="66198" y="107397"/>
                        <a:pt x="62455" y="108475"/>
                        <a:pt x="58712" y="108475"/>
                      </a:cubicBezTo>
                      <a:close/>
                    </a:path>
                  </a:pathLst>
                </a:custGeom>
                <a:solidFill>
                  <a:schemeClr val="accent1"/>
                </a:solidFill>
                <a:ln w="2991" cap="flat">
                  <a:noFill/>
                  <a:prstDash val="solid"/>
                  <a:miter/>
                </a:ln>
              </p:spPr>
              <p:txBody>
                <a:bodyPr rtlCol="0" anchor="ctr"/>
                <a:lstStyle/>
                <a:p>
                  <a:endParaRPr lang="en-GB" dirty="0"/>
                </a:p>
              </p:txBody>
            </p:sp>
            <p:sp>
              <p:nvSpPr>
                <p:cNvPr id="409" name="Freihandform: Form 408">
                  <a:extLst>
                    <a:ext uri="{FF2B5EF4-FFF2-40B4-BE49-F238E27FC236}">
                      <a16:creationId xmlns:a16="http://schemas.microsoft.com/office/drawing/2014/main" id="{62ED355A-F6E2-4971-9FF4-E5CA095CFB11}"/>
                    </a:ext>
                  </a:extLst>
                </p:cNvPr>
                <p:cNvSpPr/>
                <p:nvPr/>
              </p:nvSpPr>
              <p:spPr>
                <a:xfrm>
                  <a:off x="2653226" y="2659938"/>
                  <a:ext cx="162608" cy="35024"/>
                </a:xfrm>
                <a:custGeom>
                  <a:avLst/>
                  <a:gdLst>
                    <a:gd name="connsiteX0" fmla="*/ 35059 w 162608"/>
                    <a:gd name="connsiteY0" fmla="*/ 35025 h 35024"/>
                    <a:gd name="connsiteX1" fmla="*/ 33322 w 162608"/>
                    <a:gd name="connsiteY1" fmla="*/ 34785 h 35024"/>
                    <a:gd name="connsiteX2" fmla="*/ 4876 w 162608"/>
                    <a:gd name="connsiteY2" fmla="*/ 27030 h 35024"/>
                    <a:gd name="connsiteX3" fmla="*/ 234 w 162608"/>
                    <a:gd name="connsiteY3" fmla="*/ 18915 h 35024"/>
                    <a:gd name="connsiteX4" fmla="*/ 8379 w 162608"/>
                    <a:gd name="connsiteY4" fmla="*/ 14274 h 35024"/>
                    <a:gd name="connsiteX5" fmla="*/ 34969 w 162608"/>
                    <a:gd name="connsiteY5" fmla="*/ 21550 h 35024"/>
                    <a:gd name="connsiteX6" fmla="*/ 96443 w 162608"/>
                    <a:gd name="connsiteY6" fmla="*/ 2716 h 35024"/>
                    <a:gd name="connsiteX7" fmla="*/ 114199 w 162608"/>
                    <a:gd name="connsiteY7" fmla="*/ 919 h 35024"/>
                    <a:gd name="connsiteX8" fmla="*/ 157797 w 162608"/>
                    <a:gd name="connsiteY8" fmla="*/ 13256 h 35024"/>
                    <a:gd name="connsiteX9" fmla="*/ 162348 w 162608"/>
                    <a:gd name="connsiteY9" fmla="*/ 21430 h 35024"/>
                    <a:gd name="connsiteX10" fmla="*/ 154174 w 162608"/>
                    <a:gd name="connsiteY10" fmla="*/ 26012 h 35024"/>
                    <a:gd name="connsiteX11" fmla="*/ 110576 w 162608"/>
                    <a:gd name="connsiteY11" fmla="*/ 13675 h 35024"/>
                    <a:gd name="connsiteX12" fmla="*/ 102222 w 162608"/>
                    <a:gd name="connsiteY12" fmla="*/ 14663 h 35024"/>
                    <a:gd name="connsiteX13" fmla="*/ 100934 w 162608"/>
                    <a:gd name="connsiteY13" fmla="*/ 15202 h 35024"/>
                    <a:gd name="connsiteX14" fmla="*/ 37005 w 162608"/>
                    <a:gd name="connsiteY14" fmla="*/ 34785 h 35024"/>
                    <a:gd name="connsiteX15" fmla="*/ 35059 w 162608"/>
                    <a:gd name="connsiteY15" fmla="*/ 35025 h 35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2608" h="35024">
                      <a:moveTo>
                        <a:pt x="35059" y="35025"/>
                      </a:moveTo>
                      <a:cubicBezTo>
                        <a:pt x="34460" y="35025"/>
                        <a:pt x="33891" y="34935"/>
                        <a:pt x="33322" y="34785"/>
                      </a:cubicBezTo>
                      <a:lnTo>
                        <a:pt x="4876" y="27030"/>
                      </a:lnTo>
                      <a:cubicBezTo>
                        <a:pt x="1342" y="26072"/>
                        <a:pt x="-724" y="22418"/>
                        <a:pt x="234" y="18915"/>
                      </a:cubicBezTo>
                      <a:cubicBezTo>
                        <a:pt x="1193" y="15382"/>
                        <a:pt x="4816" y="13316"/>
                        <a:pt x="8379" y="14274"/>
                      </a:cubicBezTo>
                      <a:lnTo>
                        <a:pt x="34969" y="21550"/>
                      </a:lnTo>
                      <a:lnTo>
                        <a:pt x="96443" y="2716"/>
                      </a:lnTo>
                      <a:cubicBezTo>
                        <a:pt x="101952" y="-129"/>
                        <a:pt x="108211" y="-758"/>
                        <a:pt x="114199" y="919"/>
                      </a:cubicBezTo>
                      <a:lnTo>
                        <a:pt x="157797" y="13256"/>
                      </a:lnTo>
                      <a:cubicBezTo>
                        <a:pt x="161300" y="14244"/>
                        <a:pt x="163367" y="17897"/>
                        <a:pt x="162348" y="21430"/>
                      </a:cubicBezTo>
                      <a:cubicBezTo>
                        <a:pt x="161360" y="24964"/>
                        <a:pt x="157647" y="26940"/>
                        <a:pt x="154174" y="26012"/>
                      </a:cubicBezTo>
                      <a:lnTo>
                        <a:pt x="110576" y="13675"/>
                      </a:lnTo>
                      <a:cubicBezTo>
                        <a:pt x="107731" y="12866"/>
                        <a:pt x="104797" y="13226"/>
                        <a:pt x="102222" y="14663"/>
                      </a:cubicBezTo>
                      <a:cubicBezTo>
                        <a:pt x="101803" y="14903"/>
                        <a:pt x="101383" y="15082"/>
                        <a:pt x="100934" y="15202"/>
                      </a:cubicBezTo>
                      <a:lnTo>
                        <a:pt x="37005" y="34785"/>
                      </a:lnTo>
                      <a:cubicBezTo>
                        <a:pt x="36346" y="34935"/>
                        <a:pt x="35687" y="35025"/>
                        <a:pt x="35059" y="35025"/>
                      </a:cubicBezTo>
                      <a:close/>
                    </a:path>
                  </a:pathLst>
                </a:custGeom>
                <a:solidFill>
                  <a:schemeClr val="accent1"/>
                </a:solidFill>
                <a:ln w="2991" cap="flat">
                  <a:noFill/>
                  <a:prstDash val="solid"/>
                  <a:miter/>
                </a:ln>
              </p:spPr>
              <p:txBody>
                <a:bodyPr rtlCol="0" anchor="ctr"/>
                <a:lstStyle/>
                <a:p>
                  <a:endParaRPr lang="en-GB" dirty="0"/>
                </a:p>
              </p:txBody>
            </p:sp>
            <p:sp>
              <p:nvSpPr>
                <p:cNvPr id="410" name="Freihandform: Form 409">
                  <a:extLst>
                    <a:ext uri="{FF2B5EF4-FFF2-40B4-BE49-F238E27FC236}">
                      <a16:creationId xmlns:a16="http://schemas.microsoft.com/office/drawing/2014/main" id="{704BD846-3E79-416C-AF5E-2C5B0305CE45}"/>
                    </a:ext>
                  </a:extLst>
                </p:cNvPr>
                <p:cNvSpPr/>
                <p:nvPr/>
              </p:nvSpPr>
              <p:spPr>
                <a:xfrm>
                  <a:off x="2624271" y="2796506"/>
                  <a:ext cx="195401" cy="66469"/>
                </a:xfrm>
                <a:custGeom>
                  <a:avLst/>
                  <a:gdLst>
                    <a:gd name="connsiteX0" fmla="*/ 173847 w 195401"/>
                    <a:gd name="connsiteY0" fmla="*/ 66470 h 66469"/>
                    <a:gd name="connsiteX1" fmla="*/ 170164 w 195401"/>
                    <a:gd name="connsiteY1" fmla="*/ 66110 h 66469"/>
                    <a:gd name="connsiteX2" fmla="*/ 71021 w 195401"/>
                    <a:gd name="connsiteY2" fmla="*/ 42006 h 66469"/>
                    <a:gd name="connsiteX3" fmla="*/ 68536 w 195401"/>
                    <a:gd name="connsiteY3" fmla="*/ 40808 h 66469"/>
                    <a:gd name="connsiteX4" fmla="*/ 50480 w 195401"/>
                    <a:gd name="connsiteY4" fmla="*/ 26854 h 66469"/>
                    <a:gd name="connsiteX5" fmla="*/ 4696 w 195401"/>
                    <a:gd name="connsiteY5" fmla="*/ 12960 h 66469"/>
                    <a:gd name="connsiteX6" fmla="*/ 294 w 195401"/>
                    <a:gd name="connsiteY6" fmla="*/ 4696 h 66469"/>
                    <a:gd name="connsiteX7" fmla="*/ 8559 w 195401"/>
                    <a:gd name="connsiteY7" fmla="*/ 294 h 66469"/>
                    <a:gd name="connsiteX8" fmla="*/ 55510 w 195401"/>
                    <a:gd name="connsiteY8" fmla="*/ 14547 h 66469"/>
                    <a:gd name="connsiteX9" fmla="*/ 57636 w 195401"/>
                    <a:gd name="connsiteY9" fmla="*/ 15655 h 66469"/>
                    <a:gd name="connsiteX10" fmla="*/ 75542 w 195401"/>
                    <a:gd name="connsiteY10" fmla="*/ 29489 h 66469"/>
                    <a:gd name="connsiteX11" fmla="*/ 173039 w 195401"/>
                    <a:gd name="connsiteY11" fmla="*/ 53205 h 66469"/>
                    <a:gd name="connsiteX12" fmla="*/ 179776 w 195401"/>
                    <a:gd name="connsiteY12" fmla="*/ 48473 h 66469"/>
                    <a:gd name="connsiteX13" fmla="*/ 182052 w 195401"/>
                    <a:gd name="connsiteY13" fmla="*/ 37754 h 66469"/>
                    <a:gd name="connsiteX14" fmla="*/ 177740 w 195401"/>
                    <a:gd name="connsiteY14" fmla="*/ 30717 h 66469"/>
                    <a:gd name="connsiteX15" fmla="*/ 161241 w 195401"/>
                    <a:gd name="connsiteY15" fmla="*/ 26225 h 66469"/>
                    <a:gd name="connsiteX16" fmla="*/ 156600 w 195401"/>
                    <a:gd name="connsiteY16" fmla="*/ 18111 h 66469"/>
                    <a:gd name="connsiteX17" fmla="*/ 164714 w 195401"/>
                    <a:gd name="connsiteY17" fmla="*/ 13469 h 66469"/>
                    <a:gd name="connsiteX18" fmla="*/ 181213 w 195401"/>
                    <a:gd name="connsiteY18" fmla="*/ 17961 h 66469"/>
                    <a:gd name="connsiteX19" fmla="*/ 194987 w 195401"/>
                    <a:gd name="connsiteY19" fmla="*/ 40508 h 66469"/>
                    <a:gd name="connsiteX20" fmla="*/ 192711 w 195401"/>
                    <a:gd name="connsiteY20" fmla="*/ 51228 h 66469"/>
                    <a:gd name="connsiteX21" fmla="*/ 173847 w 195401"/>
                    <a:gd name="connsiteY21" fmla="*/ 66470 h 66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5401" h="66469">
                      <a:moveTo>
                        <a:pt x="173847" y="66470"/>
                      </a:moveTo>
                      <a:cubicBezTo>
                        <a:pt x="172619" y="66470"/>
                        <a:pt x="171392" y="66350"/>
                        <a:pt x="170164" y="66110"/>
                      </a:cubicBezTo>
                      <a:lnTo>
                        <a:pt x="71021" y="42006"/>
                      </a:lnTo>
                      <a:cubicBezTo>
                        <a:pt x="70123" y="41796"/>
                        <a:pt x="69284" y="41377"/>
                        <a:pt x="68536" y="40808"/>
                      </a:cubicBezTo>
                      <a:lnTo>
                        <a:pt x="50480" y="26854"/>
                      </a:lnTo>
                      <a:lnTo>
                        <a:pt x="4696" y="12960"/>
                      </a:lnTo>
                      <a:cubicBezTo>
                        <a:pt x="1193" y="11882"/>
                        <a:pt x="-784" y="8199"/>
                        <a:pt x="294" y="4696"/>
                      </a:cubicBezTo>
                      <a:cubicBezTo>
                        <a:pt x="1342" y="1193"/>
                        <a:pt x="5025" y="-784"/>
                        <a:pt x="8559" y="294"/>
                      </a:cubicBezTo>
                      <a:lnTo>
                        <a:pt x="55510" y="14547"/>
                      </a:lnTo>
                      <a:cubicBezTo>
                        <a:pt x="56289" y="14787"/>
                        <a:pt x="57007" y="15146"/>
                        <a:pt x="57636" y="15655"/>
                      </a:cubicBezTo>
                      <a:lnTo>
                        <a:pt x="75542" y="29489"/>
                      </a:lnTo>
                      <a:lnTo>
                        <a:pt x="173039" y="53205"/>
                      </a:lnTo>
                      <a:cubicBezTo>
                        <a:pt x="175973" y="53773"/>
                        <a:pt x="179117" y="51677"/>
                        <a:pt x="179776" y="48473"/>
                      </a:cubicBezTo>
                      <a:lnTo>
                        <a:pt x="182052" y="37754"/>
                      </a:lnTo>
                      <a:cubicBezTo>
                        <a:pt x="182710" y="34640"/>
                        <a:pt x="180824" y="31555"/>
                        <a:pt x="177740" y="30717"/>
                      </a:cubicBezTo>
                      <a:lnTo>
                        <a:pt x="161241" y="26225"/>
                      </a:lnTo>
                      <a:cubicBezTo>
                        <a:pt x="157707" y="25267"/>
                        <a:pt x="155641" y="21614"/>
                        <a:pt x="156600" y="18111"/>
                      </a:cubicBezTo>
                      <a:cubicBezTo>
                        <a:pt x="157558" y="14577"/>
                        <a:pt x="161241" y="12511"/>
                        <a:pt x="164714" y="13469"/>
                      </a:cubicBezTo>
                      <a:lnTo>
                        <a:pt x="181213" y="17961"/>
                      </a:lnTo>
                      <a:cubicBezTo>
                        <a:pt x="191035" y="20656"/>
                        <a:pt x="197083" y="30537"/>
                        <a:pt x="194987" y="40508"/>
                      </a:cubicBezTo>
                      <a:lnTo>
                        <a:pt x="192711" y="51228"/>
                      </a:lnTo>
                      <a:cubicBezTo>
                        <a:pt x="190795" y="60211"/>
                        <a:pt x="182740" y="66470"/>
                        <a:pt x="173847" y="66470"/>
                      </a:cubicBezTo>
                      <a:close/>
                    </a:path>
                  </a:pathLst>
                </a:custGeom>
                <a:solidFill>
                  <a:schemeClr val="accent1"/>
                </a:solidFill>
                <a:ln w="2991" cap="flat">
                  <a:noFill/>
                  <a:prstDash val="solid"/>
                  <a:miter/>
                </a:ln>
              </p:spPr>
              <p:txBody>
                <a:bodyPr rtlCol="0" anchor="ctr"/>
                <a:lstStyle/>
                <a:p>
                  <a:endParaRPr lang="en-GB" dirty="0"/>
                </a:p>
              </p:txBody>
            </p:sp>
            <p:sp>
              <p:nvSpPr>
                <p:cNvPr id="411" name="Freihandform: Form 410">
                  <a:extLst>
                    <a:ext uri="{FF2B5EF4-FFF2-40B4-BE49-F238E27FC236}">
                      <a16:creationId xmlns:a16="http://schemas.microsoft.com/office/drawing/2014/main" id="{25C9F42D-E3DF-4AB5-A7F6-FF4B02D30ABF}"/>
                    </a:ext>
                  </a:extLst>
                </p:cNvPr>
                <p:cNvSpPr/>
                <p:nvPr/>
              </p:nvSpPr>
              <p:spPr>
                <a:xfrm>
                  <a:off x="2787807" y="2773300"/>
                  <a:ext cx="50850" cy="57156"/>
                </a:xfrm>
                <a:custGeom>
                  <a:avLst/>
                  <a:gdLst>
                    <a:gd name="connsiteX0" fmla="*/ 28846 w 50850"/>
                    <a:gd name="connsiteY0" fmla="*/ 57157 h 57156"/>
                    <a:gd name="connsiteX1" fmla="*/ 23785 w 50850"/>
                    <a:gd name="connsiteY1" fmla="*/ 56498 h 57156"/>
                    <a:gd name="connsiteX2" fmla="*/ 4921 w 50850"/>
                    <a:gd name="connsiteY2" fmla="*/ 51498 h 57156"/>
                    <a:gd name="connsiteX3" fmla="*/ 220 w 50850"/>
                    <a:gd name="connsiteY3" fmla="*/ 43413 h 57156"/>
                    <a:gd name="connsiteX4" fmla="*/ 8304 w 50850"/>
                    <a:gd name="connsiteY4" fmla="*/ 38712 h 57156"/>
                    <a:gd name="connsiteX5" fmla="*/ 27169 w 50850"/>
                    <a:gd name="connsiteY5" fmla="*/ 43712 h 57156"/>
                    <a:gd name="connsiteX6" fmla="*/ 32349 w 50850"/>
                    <a:gd name="connsiteY6" fmla="*/ 42934 h 57156"/>
                    <a:gd name="connsiteX7" fmla="*/ 35314 w 50850"/>
                    <a:gd name="connsiteY7" fmla="*/ 38592 h 57156"/>
                    <a:gd name="connsiteX8" fmla="*/ 37499 w 50850"/>
                    <a:gd name="connsiteY8" fmla="*/ 27243 h 57156"/>
                    <a:gd name="connsiteX9" fmla="*/ 32768 w 50850"/>
                    <a:gd name="connsiteY9" fmla="*/ 19638 h 57156"/>
                    <a:gd name="connsiteX10" fmla="*/ 8634 w 50850"/>
                    <a:gd name="connsiteY10" fmla="*/ 13020 h 57156"/>
                    <a:gd name="connsiteX11" fmla="*/ 3993 w 50850"/>
                    <a:gd name="connsiteY11" fmla="*/ 4876 h 57156"/>
                    <a:gd name="connsiteX12" fmla="*/ 12137 w 50850"/>
                    <a:gd name="connsiteY12" fmla="*/ 234 h 57156"/>
                    <a:gd name="connsiteX13" fmla="*/ 36272 w 50850"/>
                    <a:gd name="connsiteY13" fmla="*/ 6852 h 57156"/>
                    <a:gd name="connsiteX14" fmla="*/ 50495 w 50850"/>
                    <a:gd name="connsiteY14" fmla="*/ 29759 h 57156"/>
                    <a:gd name="connsiteX15" fmla="*/ 48309 w 50850"/>
                    <a:gd name="connsiteY15" fmla="*/ 41107 h 57156"/>
                    <a:gd name="connsiteX16" fmla="*/ 39386 w 50850"/>
                    <a:gd name="connsiteY16" fmla="*/ 54133 h 57156"/>
                    <a:gd name="connsiteX17" fmla="*/ 28846 w 50850"/>
                    <a:gd name="connsiteY17" fmla="*/ 57157 h 5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850" h="57156">
                      <a:moveTo>
                        <a:pt x="28846" y="57157"/>
                      </a:moveTo>
                      <a:cubicBezTo>
                        <a:pt x="27169" y="57157"/>
                        <a:pt x="25462" y="56947"/>
                        <a:pt x="23785" y="56498"/>
                      </a:cubicBezTo>
                      <a:lnTo>
                        <a:pt x="4921" y="51498"/>
                      </a:lnTo>
                      <a:cubicBezTo>
                        <a:pt x="1387" y="50569"/>
                        <a:pt x="-708" y="46946"/>
                        <a:pt x="220" y="43413"/>
                      </a:cubicBezTo>
                      <a:cubicBezTo>
                        <a:pt x="1148" y="39880"/>
                        <a:pt x="4801" y="37783"/>
                        <a:pt x="8304" y="38712"/>
                      </a:cubicBezTo>
                      <a:lnTo>
                        <a:pt x="27169" y="43712"/>
                      </a:lnTo>
                      <a:cubicBezTo>
                        <a:pt x="28966" y="44191"/>
                        <a:pt x="30792" y="43892"/>
                        <a:pt x="32349" y="42934"/>
                      </a:cubicBezTo>
                      <a:cubicBezTo>
                        <a:pt x="33906" y="41946"/>
                        <a:pt x="34954" y="40418"/>
                        <a:pt x="35314" y="38592"/>
                      </a:cubicBezTo>
                      <a:lnTo>
                        <a:pt x="37499" y="27243"/>
                      </a:lnTo>
                      <a:cubicBezTo>
                        <a:pt x="38158" y="23890"/>
                        <a:pt x="36062" y="20536"/>
                        <a:pt x="32768" y="19638"/>
                      </a:cubicBezTo>
                      <a:lnTo>
                        <a:pt x="8634" y="13020"/>
                      </a:lnTo>
                      <a:cubicBezTo>
                        <a:pt x="5101" y="12062"/>
                        <a:pt x="3034" y="8409"/>
                        <a:pt x="3993" y="4876"/>
                      </a:cubicBezTo>
                      <a:cubicBezTo>
                        <a:pt x="4951" y="1342"/>
                        <a:pt x="8604" y="-724"/>
                        <a:pt x="12137" y="234"/>
                      </a:cubicBezTo>
                      <a:lnTo>
                        <a:pt x="36272" y="6852"/>
                      </a:lnTo>
                      <a:cubicBezTo>
                        <a:pt x="46213" y="9577"/>
                        <a:pt x="52441" y="19638"/>
                        <a:pt x="50495" y="29759"/>
                      </a:cubicBezTo>
                      <a:lnTo>
                        <a:pt x="48309" y="41107"/>
                      </a:lnTo>
                      <a:cubicBezTo>
                        <a:pt x="47261" y="46467"/>
                        <a:pt x="44027" y="51228"/>
                        <a:pt x="39386" y="54133"/>
                      </a:cubicBezTo>
                      <a:cubicBezTo>
                        <a:pt x="36212" y="56109"/>
                        <a:pt x="32559" y="57157"/>
                        <a:pt x="28846" y="57157"/>
                      </a:cubicBezTo>
                      <a:close/>
                    </a:path>
                  </a:pathLst>
                </a:custGeom>
                <a:solidFill>
                  <a:schemeClr val="accent1"/>
                </a:solidFill>
                <a:ln w="2991" cap="flat">
                  <a:noFill/>
                  <a:prstDash val="solid"/>
                  <a:miter/>
                </a:ln>
              </p:spPr>
              <p:txBody>
                <a:bodyPr rtlCol="0" anchor="ctr"/>
                <a:lstStyle/>
                <a:p>
                  <a:endParaRPr lang="en-GB" dirty="0"/>
                </a:p>
              </p:txBody>
            </p:sp>
          </p:grpSp>
          <p:grpSp>
            <p:nvGrpSpPr>
              <p:cNvPr id="403" name="Grafik 306">
                <a:extLst>
                  <a:ext uri="{FF2B5EF4-FFF2-40B4-BE49-F238E27FC236}">
                    <a16:creationId xmlns:a16="http://schemas.microsoft.com/office/drawing/2014/main" id="{74471C45-93BA-406B-A212-CF0585A155DD}"/>
                  </a:ext>
                </a:extLst>
              </p:cNvPr>
              <p:cNvGrpSpPr/>
              <p:nvPr/>
            </p:nvGrpSpPr>
            <p:grpSpPr>
              <a:xfrm>
                <a:off x="2720991" y="2553066"/>
                <a:ext cx="187350" cy="341380"/>
                <a:chOff x="2720991" y="2553066"/>
                <a:chExt cx="187350" cy="341380"/>
              </a:xfrm>
              <a:solidFill>
                <a:schemeClr val="accent1"/>
              </a:solidFill>
            </p:grpSpPr>
            <p:sp>
              <p:nvSpPr>
                <p:cNvPr id="404" name="Freihandform: Form 403">
                  <a:extLst>
                    <a:ext uri="{FF2B5EF4-FFF2-40B4-BE49-F238E27FC236}">
                      <a16:creationId xmlns:a16="http://schemas.microsoft.com/office/drawing/2014/main" id="{75CBC4DF-2908-4B2B-A55D-B206B562FF6E}"/>
                    </a:ext>
                  </a:extLst>
                </p:cNvPr>
                <p:cNvSpPr/>
                <p:nvPr/>
              </p:nvSpPr>
              <p:spPr>
                <a:xfrm>
                  <a:off x="2757772" y="2846674"/>
                  <a:ext cx="27153" cy="44208"/>
                </a:xfrm>
                <a:custGeom>
                  <a:avLst/>
                  <a:gdLst>
                    <a:gd name="connsiteX0" fmla="*/ 6600 w 27153"/>
                    <a:gd name="connsiteY0" fmla="*/ 44209 h 44208"/>
                    <a:gd name="connsiteX1" fmla="*/ 3905 w 27153"/>
                    <a:gd name="connsiteY1" fmla="*/ 43610 h 44208"/>
                    <a:gd name="connsiteX2" fmla="*/ 581 w 27153"/>
                    <a:gd name="connsiteY2" fmla="*/ 34866 h 44208"/>
                    <a:gd name="connsiteX3" fmla="*/ 14505 w 27153"/>
                    <a:gd name="connsiteY3" fmla="*/ 3905 h 44208"/>
                    <a:gd name="connsiteX4" fmla="*/ 23248 w 27153"/>
                    <a:gd name="connsiteY4" fmla="*/ 581 h 44208"/>
                    <a:gd name="connsiteX5" fmla="*/ 26572 w 27153"/>
                    <a:gd name="connsiteY5" fmla="*/ 9325 h 44208"/>
                    <a:gd name="connsiteX6" fmla="*/ 12648 w 27153"/>
                    <a:gd name="connsiteY6" fmla="*/ 40286 h 44208"/>
                    <a:gd name="connsiteX7" fmla="*/ 6600 w 27153"/>
                    <a:gd name="connsiteY7" fmla="*/ 44209 h 44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153" h="44208">
                      <a:moveTo>
                        <a:pt x="6600" y="44209"/>
                      </a:moveTo>
                      <a:cubicBezTo>
                        <a:pt x="5702" y="44209"/>
                        <a:pt x="4773" y="44029"/>
                        <a:pt x="3905" y="43610"/>
                      </a:cubicBezTo>
                      <a:cubicBezTo>
                        <a:pt x="581" y="42113"/>
                        <a:pt x="-916" y="38190"/>
                        <a:pt x="581" y="34866"/>
                      </a:cubicBezTo>
                      <a:lnTo>
                        <a:pt x="14505" y="3905"/>
                      </a:lnTo>
                      <a:cubicBezTo>
                        <a:pt x="16002" y="581"/>
                        <a:pt x="19925" y="-916"/>
                        <a:pt x="23248" y="581"/>
                      </a:cubicBezTo>
                      <a:cubicBezTo>
                        <a:pt x="26572" y="2078"/>
                        <a:pt x="28069" y="6001"/>
                        <a:pt x="26572" y="9325"/>
                      </a:cubicBezTo>
                      <a:lnTo>
                        <a:pt x="12648" y="40286"/>
                      </a:lnTo>
                      <a:cubicBezTo>
                        <a:pt x="11541" y="42742"/>
                        <a:pt x="9145" y="44209"/>
                        <a:pt x="6600" y="44209"/>
                      </a:cubicBezTo>
                      <a:close/>
                    </a:path>
                  </a:pathLst>
                </a:custGeom>
                <a:solidFill>
                  <a:schemeClr val="accent1"/>
                </a:solidFill>
                <a:ln w="2991" cap="flat">
                  <a:noFill/>
                  <a:prstDash val="solid"/>
                  <a:miter/>
                </a:ln>
              </p:spPr>
              <p:txBody>
                <a:bodyPr rtlCol="0" anchor="ctr"/>
                <a:lstStyle/>
                <a:p>
                  <a:endParaRPr lang="en-GB" dirty="0"/>
                </a:p>
              </p:txBody>
            </p:sp>
            <p:sp>
              <p:nvSpPr>
                <p:cNvPr id="405" name="Freihandform: Form 404">
                  <a:extLst>
                    <a:ext uri="{FF2B5EF4-FFF2-40B4-BE49-F238E27FC236}">
                      <a16:creationId xmlns:a16="http://schemas.microsoft.com/office/drawing/2014/main" id="{DE15B051-4D90-4062-B238-B322A0094E21}"/>
                    </a:ext>
                  </a:extLst>
                </p:cNvPr>
                <p:cNvSpPr/>
                <p:nvPr/>
              </p:nvSpPr>
              <p:spPr>
                <a:xfrm>
                  <a:off x="2721144" y="2837535"/>
                  <a:ext cx="23603" cy="36879"/>
                </a:xfrm>
                <a:custGeom>
                  <a:avLst/>
                  <a:gdLst>
                    <a:gd name="connsiteX0" fmla="*/ 6636 w 23603"/>
                    <a:gd name="connsiteY0" fmla="*/ 36879 h 36879"/>
                    <a:gd name="connsiteX1" fmla="*/ 3971 w 23603"/>
                    <a:gd name="connsiteY1" fmla="*/ 36310 h 36879"/>
                    <a:gd name="connsiteX2" fmla="*/ 558 w 23603"/>
                    <a:gd name="connsiteY2" fmla="*/ 27597 h 36879"/>
                    <a:gd name="connsiteX3" fmla="*/ 10918 w 23603"/>
                    <a:gd name="connsiteY3" fmla="*/ 3971 h 36879"/>
                    <a:gd name="connsiteX4" fmla="*/ 19632 w 23603"/>
                    <a:gd name="connsiteY4" fmla="*/ 558 h 36879"/>
                    <a:gd name="connsiteX5" fmla="*/ 23045 w 23603"/>
                    <a:gd name="connsiteY5" fmla="*/ 9271 h 36879"/>
                    <a:gd name="connsiteX6" fmla="*/ 12685 w 23603"/>
                    <a:gd name="connsiteY6" fmla="*/ 32897 h 36879"/>
                    <a:gd name="connsiteX7" fmla="*/ 6636 w 23603"/>
                    <a:gd name="connsiteY7" fmla="*/ 36879 h 36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603" h="36879">
                      <a:moveTo>
                        <a:pt x="6636" y="36879"/>
                      </a:moveTo>
                      <a:cubicBezTo>
                        <a:pt x="5738" y="36879"/>
                        <a:pt x="4840" y="36700"/>
                        <a:pt x="3971" y="36310"/>
                      </a:cubicBezTo>
                      <a:cubicBezTo>
                        <a:pt x="618" y="34843"/>
                        <a:pt x="-909" y="30950"/>
                        <a:pt x="558" y="27597"/>
                      </a:cubicBezTo>
                      <a:lnTo>
                        <a:pt x="10918" y="3971"/>
                      </a:lnTo>
                      <a:cubicBezTo>
                        <a:pt x="12385" y="618"/>
                        <a:pt x="16278" y="-910"/>
                        <a:pt x="19632" y="558"/>
                      </a:cubicBezTo>
                      <a:cubicBezTo>
                        <a:pt x="22985" y="2025"/>
                        <a:pt x="24513" y="5918"/>
                        <a:pt x="23045" y="9271"/>
                      </a:cubicBezTo>
                      <a:lnTo>
                        <a:pt x="12685" y="32897"/>
                      </a:lnTo>
                      <a:cubicBezTo>
                        <a:pt x="11607" y="35412"/>
                        <a:pt x="9181" y="36879"/>
                        <a:pt x="6636" y="36879"/>
                      </a:cubicBezTo>
                      <a:close/>
                    </a:path>
                  </a:pathLst>
                </a:custGeom>
                <a:solidFill>
                  <a:schemeClr val="accent1"/>
                </a:solidFill>
                <a:ln w="2991" cap="flat">
                  <a:noFill/>
                  <a:prstDash val="solid"/>
                  <a:miter/>
                </a:ln>
              </p:spPr>
              <p:txBody>
                <a:bodyPr rtlCol="0" anchor="ctr"/>
                <a:lstStyle/>
                <a:p>
                  <a:endParaRPr lang="en-GB" dirty="0"/>
                </a:p>
              </p:txBody>
            </p:sp>
            <p:sp>
              <p:nvSpPr>
                <p:cNvPr id="406" name="Freihandform: Form 405">
                  <a:extLst>
                    <a:ext uri="{FF2B5EF4-FFF2-40B4-BE49-F238E27FC236}">
                      <a16:creationId xmlns:a16="http://schemas.microsoft.com/office/drawing/2014/main" id="{3BA9A467-CB56-4A0B-B7DF-52320AE76E7F}"/>
                    </a:ext>
                  </a:extLst>
                </p:cNvPr>
                <p:cNvSpPr/>
                <p:nvPr/>
              </p:nvSpPr>
              <p:spPr>
                <a:xfrm>
                  <a:off x="2796878" y="2553066"/>
                  <a:ext cx="111463" cy="166360"/>
                </a:xfrm>
                <a:custGeom>
                  <a:avLst/>
                  <a:gdLst>
                    <a:gd name="connsiteX0" fmla="*/ 44628 w 111463"/>
                    <a:gd name="connsiteY0" fmla="*/ 166361 h 166360"/>
                    <a:gd name="connsiteX1" fmla="*/ 41933 w 111463"/>
                    <a:gd name="connsiteY1" fmla="*/ 165762 h 166360"/>
                    <a:gd name="connsiteX2" fmla="*/ 38609 w 111463"/>
                    <a:gd name="connsiteY2" fmla="*/ 157018 h 166360"/>
                    <a:gd name="connsiteX3" fmla="*/ 98018 w 111463"/>
                    <a:gd name="connsiteY3" fmla="*/ 24968 h 166360"/>
                    <a:gd name="connsiteX4" fmla="*/ 87447 w 111463"/>
                    <a:gd name="connsiteY4" fmla="*/ 15685 h 166360"/>
                    <a:gd name="connsiteX5" fmla="*/ 73464 w 111463"/>
                    <a:gd name="connsiteY5" fmla="*/ 14008 h 166360"/>
                    <a:gd name="connsiteX6" fmla="*/ 12648 w 111463"/>
                    <a:gd name="connsiteY6" fmla="*/ 149203 h 166360"/>
                    <a:gd name="connsiteX7" fmla="*/ 3905 w 111463"/>
                    <a:gd name="connsiteY7" fmla="*/ 152527 h 166360"/>
                    <a:gd name="connsiteX8" fmla="*/ 581 w 111463"/>
                    <a:gd name="connsiteY8" fmla="*/ 143783 h 166360"/>
                    <a:gd name="connsiteX9" fmla="*/ 62205 w 111463"/>
                    <a:gd name="connsiteY9" fmla="*/ 6762 h 166360"/>
                    <a:gd name="connsiteX10" fmla="*/ 63762 w 111463"/>
                    <a:gd name="connsiteY10" fmla="*/ 4606 h 166360"/>
                    <a:gd name="connsiteX11" fmla="*/ 92867 w 111463"/>
                    <a:gd name="connsiteY11" fmla="*/ 3618 h 166360"/>
                    <a:gd name="connsiteX12" fmla="*/ 111462 w 111463"/>
                    <a:gd name="connsiteY12" fmla="*/ 26045 h 166360"/>
                    <a:gd name="connsiteX13" fmla="*/ 110893 w 111463"/>
                    <a:gd name="connsiteY13" fmla="*/ 28621 h 166360"/>
                    <a:gd name="connsiteX14" fmla="*/ 50707 w 111463"/>
                    <a:gd name="connsiteY14" fmla="*/ 162438 h 166360"/>
                    <a:gd name="connsiteX15" fmla="*/ 44628 w 111463"/>
                    <a:gd name="connsiteY15" fmla="*/ 166361 h 166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463" h="166360">
                      <a:moveTo>
                        <a:pt x="44628" y="166361"/>
                      </a:moveTo>
                      <a:cubicBezTo>
                        <a:pt x="43730" y="166361"/>
                        <a:pt x="42802" y="166181"/>
                        <a:pt x="41933" y="165762"/>
                      </a:cubicBezTo>
                      <a:cubicBezTo>
                        <a:pt x="38609" y="164265"/>
                        <a:pt x="37112" y="160342"/>
                        <a:pt x="38609" y="157018"/>
                      </a:cubicBezTo>
                      <a:lnTo>
                        <a:pt x="98018" y="24968"/>
                      </a:lnTo>
                      <a:cubicBezTo>
                        <a:pt x="97419" y="23261"/>
                        <a:pt x="95263" y="19188"/>
                        <a:pt x="87447" y="15685"/>
                      </a:cubicBezTo>
                      <a:cubicBezTo>
                        <a:pt x="79752" y="12212"/>
                        <a:pt x="75290" y="13230"/>
                        <a:pt x="73464" y="14008"/>
                      </a:cubicBezTo>
                      <a:lnTo>
                        <a:pt x="12648" y="149203"/>
                      </a:lnTo>
                      <a:cubicBezTo>
                        <a:pt x="11151" y="152527"/>
                        <a:pt x="7229" y="154024"/>
                        <a:pt x="3905" y="152527"/>
                      </a:cubicBezTo>
                      <a:cubicBezTo>
                        <a:pt x="581" y="151030"/>
                        <a:pt x="-916" y="147107"/>
                        <a:pt x="581" y="143783"/>
                      </a:cubicBezTo>
                      <a:lnTo>
                        <a:pt x="62205" y="6762"/>
                      </a:lnTo>
                      <a:cubicBezTo>
                        <a:pt x="62564" y="5953"/>
                        <a:pt x="63103" y="5205"/>
                        <a:pt x="63762" y="4606"/>
                      </a:cubicBezTo>
                      <a:cubicBezTo>
                        <a:pt x="64810" y="3648"/>
                        <a:pt x="74542" y="-4617"/>
                        <a:pt x="92867" y="3618"/>
                      </a:cubicBezTo>
                      <a:cubicBezTo>
                        <a:pt x="111193" y="11852"/>
                        <a:pt x="111492" y="24608"/>
                        <a:pt x="111462" y="26045"/>
                      </a:cubicBezTo>
                      <a:cubicBezTo>
                        <a:pt x="111432" y="26944"/>
                        <a:pt x="111253" y="27812"/>
                        <a:pt x="110893" y="28621"/>
                      </a:cubicBezTo>
                      <a:lnTo>
                        <a:pt x="50707" y="162438"/>
                      </a:lnTo>
                      <a:cubicBezTo>
                        <a:pt x="49569" y="164894"/>
                        <a:pt x="47143" y="166361"/>
                        <a:pt x="44628" y="166361"/>
                      </a:cubicBezTo>
                      <a:close/>
                    </a:path>
                  </a:pathLst>
                </a:custGeom>
                <a:solidFill>
                  <a:schemeClr val="accent1"/>
                </a:solidFill>
                <a:ln w="2991" cap="flat">
                  <a:noFill/>
                  <a:prstDash val="solid"/>
                  <a:miter/>
                </a:ln>
              </p:spPr>
              <p:txBody>
                <a:bodyPr rtlCol="0" anchor="ctr"/>
                <a:lstStyle/>
                <a:p>
                  <a:endParaRPr lang="en-GB" dirty="0"/>
                </a:p>
              </p:txBody>
            </p:sp>
            <p:sp>
              <p:nvSpPr>
                <p:cNvPr id="407" name="Freihandform: Form 406">
                  <a:extLst>
                    <a:ext uri="{FF2B5EF4-FFF2-40B4-BE49-F238E27FC236}">
                      <a16:creationId xmlns:a16="http://schemas.microsoft.com/office/drawing/2014/main" id="{7307E576-2233-4DB3-AA85-EB528EE04E27}"/>
                    </a:ext>
                  </a:extLst>
                </p:cNvPr>
                <p:cNvSpPr/>
                <p:nvPr/>
              </p:nvSpPr>
              <p:spPr>
                <a:xfrm>
                  <a:off x="2720991" y="2861179"/>
                  <a:ext cx="50039" cy="33267"/>
                </a:xfrm>
                <a:custGeom>
                  <a:avLst/>
                  <a:gdLst>
                    <a:gd name="connsiteX0" fmla="*/ 35057 w 50039"/>
                    <a:gd name="connsiteY0" fmla="*/ 33268 h 33267"/>
                    <a:gd name="connsiteX1" fmla="*/ 18618 w 50039"/>
                    <a:gd name="connsiteY1" fmla="*/ 28836 h 33267"/>
                    <a:gd name="connsiteX2" fmla="*/ 592 w 50039"/>
                    <a:gd name="connsiteY2" fmla="*/ 4372 h 33267"/>
                    <a:gd name="connsiteX3" fmla="*/ 9066 w 50039"/>
                    <a:gd name="connsiteY3" fmla="*/ 390 h 33267"/>
                    <a:gd name="connsiteX4" fmla="*/ 13288 w 50039"/>
                    <a:gd name="connsiteY4" fmla="*/ 7995 h 33267"/>
                    <a:gd name="connsiteX5" fmla="*/ 24367 w 50039"/>
                    <a:gd name="connsiteY5" fmla="*/ 16919 h 33267"/>
                    <a:gd name="connsiteX6" fmla="*/ 37871 w 50039"/>
                    <a:gd name="connsiteY6" fmla="*/ 19464 h 33267"/>
                    <a:gd name="connsiteX7" fmla="*/ 46525 w 50039"/>
                    <a:gd name="connsiteY7" fmla="*/ 17248 h 33267"/>
                    <a:gd name="connsiteX8" fmla="*/ 49250 w 50039"/>
                    <a:gd name="connsiteY8" fmla="*/ 26201 h 33267"/>
                    <a:gd name="connsiteX9" fmla="*/ 35057 w 50039"/>
                    <a:gd name="connsiteY9" fmla="*/ 33268 h 33267"/>
                    <a:gd name="connsiteX10" fmla="*/ 37572 w 50039"/>
                    <a:gd name="connsiteY10" fmla="*/ 19943 h 33267"/>
                    <a:gd name="connsiteX11" fmla="*/ 37572 w 50039"/>
                    <a:gd name="connsiteY11" fmla="*/ 19943 h 33267"/>
                    <a:gd name="connsiteX12" fmla="*/ 37572 w 50039"/>
                    <a:gd name="connsiteY12" fmla="*/ 19943 h 33267"/>
                    <a:gd name="connsiteX13" fmla="*/ 37572 w 50039"/>
                    <a:gd name="connsiteY13" fmla="*/ 19943 h 33267"/>
                    <a:gd name="connsiteX14" fmla="*/ 37572 w 50039"/>
                    <a:gd name="connsiteY14" fmla="*/ 19943 h 33267"/>
                    <a:gd name="connsiteX15" fmla="*/ 37572 w 50039"/>
                    <a:gd name="connsiteY15" fmla="*/ 19943 h 33267"/>
                    <a:gd name="connsiteX16" fmla="*/ 37572 w 50039"/>
                    <a:gd name="connsiteY16" fmla="*/ 19943 h 33267"/>
                    <a:gd name="connsiteX17" fmla="*/ 37572 w 50039"/>
                    <a:gd name="connsiteY17" fmla="*/ 19943 h 33267"/>
                    <a:gd name="connsiteX18" fmla="*/ 37572 w 50039"/>
                    <a:gd name="connsiteY18" fmla="*/ 19943 h 33267"/>
                    <a:gd name="connsiteX19" fmla="*/ 37931 w 50039"/>
                    <a:gd name="connsiteY19" fmla="*/ 19404 h 33267"/>
                    <a:gd name="connsiteX20" fmla="*/ 37931 w 50039"/>
                    <a:gd name="connsiteY20" fmla="*/ 19404 h 33267"/>
                    <a:gd name="connsiteX21" fmla="*/ 37931 w 50039"/>
                    <a:gd name="connsiteY21" fmla="*/ 19404 h 33267"/>
                    <a:gd name="connsiteX22" fmla="*/ 13018 w 50039"/>
                    <a:gd name="connsiteY22" fmla="*/ 8864 h 33267"/>
                    <a:gd name="connsiteX23" fmla="*/ 13018 w 50039"/>
                    <a:gd name="connsiteY23" fmla="*/ 8864 h 33267"/>
                    <a:gd name="connsiteX24" fmla="*/ 13018 w 50039"/>
                    <a:gd name="connsiteY24" fmla="*/ 8864 h 33267"/>
                    <a:gd name="connsiteX25" fmla="*/ 13018 w 50039"/>
                    <a:gd name="connsiteY25" fmla="*/ 8864 h 33267"/>
                    <a:gd name="connsiteX26" fmla="*/ 13018 w 50039"/>
                    <a:gd name="connsiteY26" fmla="*/ 8864 h 33267"/>
                    <a:gd name="connsiteX27" fmla="*/ 13018 w 50039"/>
                    <a:gd name="connsiteY27" fmla="*/ 8864 h 33267"/>
                    <a:gd name="connsiteX28" fmla="*/ 13018 w 50039"/>
                    <a:gd name="connsiteY28" fmla="*/ 8834 h 33267"/>
                    <a:gd name="connsiteX29" fmla="*/ 13018 w 50039"/>
                    <a:gd name="connsiteY29" fmla="*/ 8834 h 33267"/>
                    <a:gd name="connsiteX30" fmla="*/ 13018 w 50039"/>
                    <a:gd name="connsiteY30" fmla="*/ 8834 h 3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0039" h="33267">
                      <a:moveTo>
                        <a:pt x="35057" y="33268"/>
                      </a:moveTo>
                      <a:cubicBezTo>
                        <a:pt x="30775" y="33268"/>
                        <a:pt x="25355" y="32100"/>
                        <a:pt x="18618" y="28836"/>
                      </a:cubicBezTo>
                      <a:cubicBezTo>
                        <a:pt x="-3151" y="18296"/>
                        <a:pt x="-217" y="6588"/>
                        <a:pt x="592" y="4372"/>
                      </a:cubicBezTo>
                      <a:cubicBezTo>
                        <a:pt x="1849" y="929"/>
                        <a:pt x="5622" y="-838"/>
                        <a:pt x="9066" y="390"/>
                      </a:cubicBezTo>
                      <a:cubicBezTo>
                        <a:pt x="12210" y="1528"/>
                        <a:pt x="13976" y="4821"/>
                        <a:pt x="13288" y="7995"/>
                      </a:cubicBezTo>
                      <a:cubicBezTo>
                        <a:pt x="13467" y="8654"/>
                        <a:pt x="14815" y="12277"/>
                        <a:pt x="24367" y="16919"/>
                      </a:cubicBezTo>
                      <a:cubicBezTo>
                        <a:pt x="32991" y="21081"/>
                        <a:pt x="37003" y="20152"/>
                        <a:pt x="37871" y="19464"/>
                      </a:cubicBezTo>
                      <a:cubicBezTo>
                        <a:pt x="39728" y="16619"/>
                        <a:pt x="43441" y="15601"/>
                        <a:pt x="46525" y="17248"/>
                      </a:cubicBezTo>
                      <a:cubicBezTo>
                        <a:pt x="49759" y="18955"/>
                        <a:pt x="50987" y="22967"/>
                        <a:pt x="49250" y="26201"/>
                      </a:cubicBezTo>
                      <a:cubicBezTo>
                        <a:pt x="49010" y="26590"/>
                        <a:pt x="45297" y="33268"/>
                        <a:pt x="35057" y="33268"/>
                      </a:cubicBezTo>
                      <a:close/>
                      <a:moveTo>
                        <a:pt x="37572" y="19943"/>
                      </a:moveTo>
                      <a:cubicBezTo>
                        <a:pt x="37572" y="19943"/>
                        <a:pt x="37572" y="19973"/>
                        <a:pt x="37572" y="19943"/>
                      </a:cubicBezTo>
                      <a:cubicBezTo>
                        <a:pt x="37572" y="19973"/>
                        <a:pt x="37572" y="19973"/>
                        <a:pt x="37572" y="19943"/>
                      </a:cubicBezTo>
                      <a:close/>
                      <a:moveTo>
                        <a:pt x="37572" y="19943"/>
                      </a:moveTo>
                      <a:cubicBezTo>
                        <a:pt x="37572" y="19943"/>
                        <a:pt x="37572" y="19943"/>
                        <a:pt x="37572" y="19943"/>
                      </a:cubicBezTo>
                      <a:cubicBezTo>
                        <a:pt x="37572" y="19943"/>
                        <a:pt x="37572" y="19943"/>
                        <a:pt x="37572" y="19943"/>
                      </a:cubicBezTo>
                      <a:close/>
                      <a:moveTo>
                        <a:pt x="37572" y="19943"/>
                      </a:moveTo>
                      <a:cubicBezTo>
                        <a:pt x="37572" y="19943"/>
                        <a:pt x="37572" y="19943"/>
                        <a:pt x="37572" y="19943"/>
                      </a:cubicBezTo>
                      <a:cubicBezTo>
                        <a:pt x="37572" y="19943"/>
                        <a:pt x="37572" y="19943"/>
                        <a:pt x="37572" y="19943"/>
                      </a:cubicBezTo>
                      <a:close/>
                      <a:moveTo>
                        <a:pt x="37931" y="19404"/>
                      </a:moveTo>
                      <a:lnTo>
                        <a:pt x="37931" y="19404"/>
                      </a:lnTo>
                      <a:lnTo>
                        <a:pt x="37931" y="19404"/>
                      </a:lnTo>
                      <a:close/>
                      <a:moveTo>
                        <a:pt x="13018" y="8864"/>
                      </a:moveTo>
                      <a:lnTo>
                        <a:pt x="13018" y="8864"/>
                      </a:lnTo>
                      <a:lnTo>
                        <a:pt x="13018" y="8864"/>
                      </a:lnTo>
                      <a:close/>
                      <a:moveTo>
                        <a:pt x="13018" y="8864"/>
                      </a:moveTo>
                      <a:cubicBezTo>
                        <a:pt x="13018" y="8864"/>
                        <a:pt x="13018" y="8864"/>
                        <a:pt x="13018" y="8864"/>
                      </a:cubicBezTo>
                      <a:cubicBezTo>
                        <a:pt x="13018" y="8864"/>
                        <a:pt x="13018" y="8864"/>
                        <a:pt x="13018" y="8864"/>
                      </a:cubicBezTo>
                      <a:close/>
                      <a:moveTo>
                        <a:pt x="13018" y="8834"/>
                      </a:moveTo>
                      <a:lnTo>
                        <a:pt x="13018" y="8834"/>
                      </a:lnTo>
                      <a:lnTo>
                        <a:pt x="13018" y="8834"/>
                      </a:lnTo>
                      <a:close/>
                    </a:path>
                  </a:pathLst>
                </a:custGeom>
                <a:solidFill>
                  <a:schemeClr val="accent1"/>
                </a:solidFill>
                <a:ln w="2991" cap="flat">
                  <a:noFill/>
                  <a:prstDash val="solid"/>
                  <a:miter/>
                </a:ln>
              </p:spPr>
              <p:txBody>
                <a:bodyPr rtlCol="0" anchor="ctr"/>
                <a:lstStyle/>
                <a:p>
                  <a:endParaRPr lang="en-GB" dirty="0"/>
                </a:p>
              </p:txBody>
            </p:sp>
          </p:grpSp>
        </p:grpSp>
      </p:grpSp>
      <p:grpSp>
        <p:nvGrpSpPr>
          <p:cNvPr id="13" name="Group 12">
            <a:extLst>
              <a:ext uri="{FF2B5EF4-FFF2-40B4-BE49-F238E27FC236}">
                <a16:creationId xmlns:a16="http://schemas.microsoft.com/office/drawing/2014/main" id="{12D61C20-82F8-19EB-F6C9-A5F8BD0ACB46}"/>
              </a:ext>
            </a:extLst>
          </p:cNvPr>
          <p:cNvGrpSpPr/>
          <p:nvPr/>
        </p:nvGrpSpPr>
        <p:grpSpPr>
          <a:xfrm>
            <a:off x="2615038" y="3273393"/>
            <a:ext cx="539761" cy="431999"/>
            <a:chOff x="2615038" y="3273393"/>
            <a:chExt cx="539761" cy="431999"/>
          </a:xfrm>
        </p:grpSpPr>
        <p:grpSp>
          <p:nvGrpSpPr>
            <p:cNvPr id="418" name="Group 1085">
              <a:extLst>
                <a:ext uri="{FF2B5EF4-FFF2-40B4-BE49-F238E27FC236}">
                  <a16:creationId xmlns:a16="http://schemas.microsoft.com/office/drawing/2014/main" id="{839B9D08-0EBE-4EBE-96BF-D49FE98FCE7C}"/>
                </a:ext>
              </a:extLst>
            </p:cNvPr>
            <p:cNvGrpSpPr/>
            <p:nvPr/>
          </p:nvGrpSpPr>
          <p:grpSpPr>
            <a:xfrm>
              <a:off x="2725442" y="3273393"/>
              <a:ext cx="316220" cy="431999"/>
              <a:chOff x="2678425" y="3312516"/>
              <a:chExt cx="260786" cy="356270"/>
            </a:xfrm>
            <a:solidFill>
              <a:schemeClr val="tx2"/>
            </a:solidFill>
          </p:grpSpPr>
          <p:sp>
            <p:nvSpPr>
              <p:cNvPr id="429" name="Freihandform: Form 428">
                <a:extLst>
                  <a:ext uri="{FF2B5EF4-FFF2-40B4-BE49-F238E27FC236}">
                    <a16:creationId xmlns:a16="http://schemas.microsoft.com/office/drawing/2014/main" id="{0328A283-C9DA-49BB-A388-C44039528602}"/>
                  </a:ext>
                </a:extLst>
              </p:cNvPr>
              <p:cNvSpPr/>
              <p:nvPr/>
            </p:nvSpPr>
            <p:spPr>
              <a:xfrm>
                <a:off x="2678425" y="3312516"/>
                <a:ext cx="260786" cy="286591"/>
              </a:xfrm>
              <a:custGeom>
                <a:avLst/>
                <a:gdLst>
                  <a:gd name="connsiteX0" fmla="*/ 188952 w 260786"/>
                  <a:gd name="connsiteY0" fmla="*/ 286592 h 286591"/>
                  <a:gd name="connsiteX1" fmla="*/ 188324 w 260786"/>
                  <a:gd name="connsiteY1" fmla="*/ 286562 h 286591"/>
                  <a:gd name="connsiteX2" fmla="*/ 182365 w 260786"/>
                  <a:gd name="connsiteY2" fmla="*/ 279345 h 286591"/>
                  <a:gd name="connsiteX3" fmla="*/ 183143 w 260786"/>
                  <a:gd name="connsiteY3" fmla="*/ 271290 h 286591"/>
                  <a:gd name="connsiteX4" fmla="*/ 213416 w 260786"/>
                  <a:gd name="connsiteY4" fmla="*/ 211493 h 286591"/>
                  <a:gd name="connsiteX5" fmla="*/ 247492 w 260786"/>
                  <a:gd name="connsiteY5" fmla="*/ 129538 h 286591"/>
                  <a:gd name="connsiteX6" fmla="*/ 208745 w 260786"/>
                  <a:gd name="connsiteY6" fmla="*/ 43121 h 286591"/>
                  <a:gd name="connsiteX7" fmla="*/ 116788 w 260786"/>
                  <a:gd name="connsiteY7" fmla="*/ 13986 h 286591"/>
                  <a:gd name="connsiteX8" fmla="*/ 14112 w 260786"/>
                  <a:gd name="connsiteY8" fmla="*/ 114716 h 286591"/>
                  <a:gd name="connsiteX9" fmla="*/ 49056 w 260786"/>
                  <a:gd name="connsiteY9" fmla="*/ 213290 h 286591"/>
                  <a:gd name="connsiteX10" fmla="*/ 78131 w 260786"/>
                  <a:gd name="connsiteY10" fmla="*/ 277129 h 286591"/>
                  <a:gd name="connsiteX11" fmla="*/ 78311 w 260786"/>
                  <a:gd name="connsiteY11" fmla="*/ 279465 h 286591"/>
                  <a:gd name="connsiteX12" fmla="*/ 72232 w 260786"/>
                  <a:gd name="connsiteY12" fmla="*/ 286562 h 286591"/>
                  <a:gd name="connsiteX13" fmla="*/ 65136 w 260786"/>
                  <a:gd name="connsiteY13" fmla="*/ 280483 h 286591"/>
                  <a:gd name="connsiteX14" fmla="*/ 64956 w 260786"/>
                  <a:gd name="connsiteY14" fmla="*/ 278058 h 286591"/>
                  <a:gd name="connsiteX15" fmla="*/ 39953 w 260786"/>
                  <a:gd name="connsiteY15" fmla="*/ 222842 h 286591"/>
                  <a:gd name="connsiteX16" fmla="*/ 1027 w 260786"/>
                  <a:gd name="connsiteY16" fmla="*/ 113069 h 286591"/>
                  <a:gd name="connsiteX17" fmla="*/ 115381 w 260786"/>
                  <a:gd name="connsiteY17" fmla="*/ 811 h 286591"/>
                  <a:gd name="connsiteX18" fmla="*/ 217638 w 260786"/>
                  <a:gd name="connsiteY18" fmla="*/ 33239 h 286591"/>
                  <a:gd name="connsiteX19" fmla="*/ 260787 w 260786"/>
                  <a:gd name="connsiteY19" fmla="*/ 129508 h 286591"/>
                  <a:gd name="connsiteX20" fmla="*/ 222849 w 260786"/>
                  <a:gd name="connsiteY20" fmla="*/ 220835 h 286591"/>
                  <a:gd name="connsiteX21" fmla="*/ 196348 w 260786"/>
                  <a:gd name="connsiteY21" fmla="*/ 272758 h 286591"/>
                  <a:gd name="connsiteX22" fmla="*/ 195600 w 260786"/>
                  <a:gd name="connsiteY22" fmla="*/ 280573 h 286591"/>
                  <a:gd name="connsiteX23" fmla="*/ 188952 w 260786"/>
                  <a:gd name="connsiteY23" fmla="*/ 286592 h 286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0786" h="286591">
                    <a:moveTo>
                      <a:pt x="188952" y="286592"/>
                    </a:moveTo>
                    <a:cubicBezTo>
                      <a:pt x="188743" y="286592"/>
                      <a:pt x="188533" y="286592"/>
                      <a:pt x="188324" y="286562"/>
                    </a:cubicBezTo>
                    <a:cubicBezTo>
                      <a:pt x="184671" y="286232"/>
                      <a:pt x="182006" y="282998"/>
                      <a:pt x="182365" y="279345"/>
                    </a:cubicBezTo>
                    <a:lnTo>
                      <a:pt x="183143" y="271290"/>
                    </a:lnTo>
                    <a:cubicBezTo>
                      <a:pt x="186108" y="248923"/>
                      <a:pt x="196558" y="228321"/>
                      <a:pt x="213416" y="211493"/>
                    </a:cubicBezTo>
                    <a:cubicBezTo>
                      <a:pt x="235395" y="189545"/>
                      <a:pt x="247492" y="160439"/>
                      <a:pt x="247492" y="129538"/>
                    </a:cubicBezTo>
                    <a:cubicBezTo>
                      <a:pt x="247492" y="96660"/>
                      <a:pt x="233389" y="65159"/>
                      <a:pt x="208745" y="43121"/>
                    </a:cubicBezTo>
                    <a:cubicBezTo>
                      <a:pt x="183503" y="20543"/>
                      <a:pt x="150834" y="10213"/>
                      <a:pt x="116788" y="13986"/>
                    </a:cubicBezTo>
                    <a:cubicBezTo>
                      <a:pt x="63818" y="19885"/>
                      <a:pt x="20610" y="62225"/>
                      <a:pt x="14112" y="114716"/>
                    </a:cubicBezTo>
                    <a:cubicBezTo>
                      <a:pt x="9501" y="151726"/>
                      <a:pt x="22257" y="187658"/>
                      <a:pt x="49056" y="213290"/>
                    </a:cubicBezTo>
                    <a:cubicBezTo>
                      <a:pt x="66244" y="229729"/>
                      <a:pt x="76574" y="252396"/>
                      <a:pt x="78131" y="277129"/>
                    </a:cubicBezTo>
                    <a:lnTo>
                      <a:pt x="78311" y="279465"/>
                    </a:lnTo>
                    <a:cubicBezTo>
                      <a:pt x="78580" y="283118"/>
                      <a:pt x="75856" y="286292"/>
                      <a:pt x="72232" y="286562"/>
                    </a:cubicBezTo>
                    <a:cubicBezTo>
                      <a:pt x="68519" y="286831"/>
                      <a:pt x="65405" y="284106"/>
                      <a:pt x="65136" y="280483"/>
                    </a:cubicBezTo>
                    <a:lnTo>
                      <a:pt x="64956" y="278058"/>
                    </a:lnTo>
                    <a:cubicBezTo>
                      <a:pt x="63609" y="256558"/>
                      <a:pt x="54716" y="236975"/>
                      <a:pt x="39953" y="222842"/>
                    </a:cubicBezTo>
                    <a:cubicBezTo>
                      <a:pt x="10100" y="194276"/>
                      <a:pt x="-4094" y="154271"/>
                      <a:pt x="1027" y="113069"/>
                    </a:cubicBezTo>
                    <a:cubicBezTo>
                      <a:pt x="8303" y="54589"/>
                      <a:pt x="56392" y="7368"/>
                      <a:pt x="115381" y="811"/>
                    </a:cubicBezTo>
                    <a:cubicBezTo>
                      <a:pt x="152691" y="-3322"/>
                      <a:pt x="189970" y="8476"/>
                      <a:pt x="217638" y="33239"/>
                    </a:cubicBezTo>
                    <a:cubicBezTo>
                      <a:pt x="245067" y="57793"/>
                      <a:pt x="260787" y="92887"/>
                      <a:pt x="260787" y="129508"/>
                    </a:cubicBezTo>
                    <a:cubicBezTo>
                      <a:pt x="260787" y="163973"/>
                      <a:pt x="247312" y="196402"/>
                      <a:pt x="222849" y="220835"/>
                    </a:cubicBezTo>
                    <a:cubicBezTo>
                      <a:pt x="208056" y="235598"/>
                      <a:pt x="198894" y="253564"/>
                      <a:pt x="196348" y="272758"/>
                    </a:cubicBezTo>
                    <a:lnTo>
                      <a:pt x="195600" y="280573"/>
                    </a:lnTo>
                    <a:cubicBezTo>
                      <a:pt x="195211" y="284046"/>
                      <a:pt x="192336" y="286592"/>
                      <a:pt x="188952" y="286592"/>
                    </a:cubicBezTo>
                    <a:close/>
                  </a:path>
                </a:pathLst>
              </a:custGeom>
              <a:grpFill/>
              <a:ln w="2991" cap="flat">
                <a:noFill/>
                <a:prstDash val="solid"/>
                <a:miter/>
              </a:ln>
            </p:spPr>
            <p:txBody>
              <a:bodyPr rtlCol="0" anchor="ctr"/>
              <a:lstStyle/>
              <a:p>
                <a:endParaRPr lang="en-GB" dirty="0"/>
              </a:p>
            </p:txBody>
          </p:sp>
          <p:sp>
            <p:nvSpPr>
              <p:cNvPr id="430" name="Freihandform: Form 429">
                <a:extLst>
                  <a:ext uri="{FF2B5EF4-FFF2-40B4-BE49-F238E27FC236}">
                    <a16:creationId xmlns:a16="http://schemas.microsoft.com/office/drawing/2014/main" id="{FB19B1F1-CC7E-488B-9241-657AFC2743FC}"/>
                  </a:ext>
                </a:extLst>
              </p:cNvPr>
              <p:cNvSpPr/>
              <p:nvPr/>
            </p:nvSpPr>
            <p:spPr>
              <a:xfrm>
                <a:off x="2739788" y="3622463"/>
                <a:ext cx="136153" cy="13234"/>
              </a:xfrm>
              <a:custGeom>
                <a:avLst/>
                <a:gdLst>
                  <a:gd name="connsiteX0" fmla="*/ 129536 w 136153"/>
                  <a:gd name="connsiteY0" fmla="*/ 13235 h 13234"/>
                  <a:gd name="connsiteX1" fmla="*/ 6618 w 136153"/>
                  <a:gd name="connsiteY1" fmla="*/ 13235 h 13234"/>
                  <a:gd name="connsiteX2" fmla="*/ 0 w 136153"/>
                  <a:gd name="connsiteY2" fmla="*/ 6618 h 13234"/>
                  <a:gd name="connsiteX3" fmla="*/ 6618 w 136153"/>
                  <a:gd name="connsiteY3" fmla="*/ 0 h 13234"/>
                  <a:gd name="connsiteX4" fmla="*/ 129536 w 136153"/>
                  <a:gd name="connsiteY4" fmla="*/ 0 h 13234"/>
                  <a:gd name="connsiteX5" fmla="*/ 136153 w 136153"/>
                  <a:gd name="connsiteY5" fmla="*/ 6618 h 13234"/>
                  <a:gd name="connsiteX6" fmla="*/ 129536 w 136153"/>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153" h="13234">
                    <a:moveTo>
                      <a:pt x="129536" y="13235"/>
                    </a:moveTo>
                    <a:lnTo>
                      <a:pt x="6618" y="13235"/>
                    </a:lnTo>
                    <a:cubicBezTo>
                      <a:pt x="2965" y="13235"/>
                      <a:pt x="0" y="10271"/>
                      <a:pt x="0" y="6618"/>
                    </a:cubicBezTo>
                    <a:cubicBezTo>
                      <a:pt x="0" y="2964"/>
                      <a:pt x="2965" y="0"/>
                      <a:pt x="6618" y="0"/>
                    </a:cubicBezTo>
                    <a:lnTo>
                      <a:pt x="129536" y="0"/>
                    </a:lnTo>
                    <a:cubicBezTo>
                      <a:pt x="133189" y="0"/>
                      <a:pt x="136153" y="2964"/>
                      <a:pt x="136153" y="6618"/>
                    </a:cubicBezTo>
                    <a:cubicBezTo>
                      <a:pt x="136153" y="10271"/>
                      <a:pt x="133189" y="13235"/>
                      <a:pt x="129536" y="13235"/>
                    </a:cubicBezTo>
                    <a:close/>
                  </a:path>
                </a:pathLst>
              </a:custGeom>
              <a:grpFill/>
              <a:ln w="2991" cap="flat">
                <a:noFill/>
                <a:prstDash val="solid"/>
                <a:miter/>
              </a:ln>
            </p:spPr>
            <p:txBody>
              <a:bodyPr rtlCol="0" anchor="ctr"/>
              <a:lstStyle/>
              <a:p>
                <a:endParaRPr lang="en-GB" dirty="0"/>
              </a:p>
            </p:txBody>
          </p:sp>
          <p:sp>
            <p:nvSpPr>
              <p:cNvPr id="431" name="Freihandform: Form 430">
                <a:extLst>
                  <a:ext uri="{FF2B5EF4-FFF2-40B4-BE49-F238E27FC236}">
                    <a16:creationId xmlns:a16="http://schemas.microsoft.com/office/drawing/2014/main" id="{2CB38541-14C6-4058-8845-0AE0DA93083F}"/>
                  </a:ext>
                </a:extLst>
              </p:cNvPr>
              <p:cNvSpPr/>
              <p:nvPr/>
            </p:nvSpPr>
            <p:spPr>
              <a:xfrm>
                <a:off x="2762844" y="3655551"/>
                <a:ext cx="90040" cy="13235"/>
              </a:xfrm>
              <a:custGeom>
                <a:avLst/>
                <a:gdLst>
                  <a:gd name="connsiteX0" fmla="*/ 83423 w 90040"/>
                  <a:gd name="connsiteY0" fmla="*/ 13235 h 13235"/>
                  <a:gd name="connsiteX1" fmla="*/ 6618 w 90040"/>
                  <a:gd name="connsiteY1" fmla="*/ 13235 h 13235"/>
                  <a:gd name="connsiteX2" fmla="*/ 0 w 90040"/>
                  <a:gd name="connsiteY2" fmla="*/ 6618 h 13235"/>
                  <a:gd name="connsiteX3" fmla="*/ 6618 w 90040"/>
                  <a:gd name="connsiteY3" fmla="*/ 0 h 13235"/>
                  <a:gd name="connsiteX4" fmla="*/ 83423 w 90040"/>
                  <a:gd name="connsiteY4" fmla="*/ 0 h 13235"/>
                  <a:gd name="connsiteX5" fmla="*/ 90040 w 90040"/>
                  <a:gd name="connsiteY5" fmla="*/ 6618 h 13235"/>
                  <a:gd name="connsiteX6" fmla="*/ 83423 w 90040"/>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040" h="13235">
                    <a:moveTo>
                      <a:pt x="83423" y="13235"/>
                    </a:moveTo>
                    <a:lnTo>
                      <a:pt x="6618" y="13235"/>
                    </a:lnTo>
                    <a:cubicBezTo>
                      <a:pt x="2964" y="13235"/>
                      <a:pt x="0" y="10271"/>
                      <a:pt x="0" y="6618"/>
                    </a:cubicBezTo>
                    <a:cubicBezTo>
                      <a:pt x="0" y="2965"/>
                      <a:pt x="2964" y="0"/>
                      <a:pt x="6618" y="0"/>
                    </a:cubicBezTo>
                    <a:lnTo>
                      <a:pt x="83423" y="0"/>
                    </a:lnTo>
                    <a:cubicBezTo>
                      <a:pt x="87076" y="0"/>
                      <a:pt x="90040" y="2965"/>
                      <a:pt x="90040" y="6618"/>
                    </a:cubicBezTo>
                    <a:cubicBezTo>
                      <a:pt x="90040" y="10271"/>
                      <a:pt x="87076" y="13235"/>
                      <a:pt x="83423" y="13235"/>
                    </a:cubicBezTo>
                    <a:close/>
                  </a:path>
                </a:pathLst>
              </a:custGeom>
              <a:grpFill/>
              <a:ln w="2991" cap="flat">
                <a:noFill/>
                <a:prstDash val="solid"/>
                <a:miter/>
              </a:ln>
            </p:spPr>
            <p:txBody>
              <a:bodyPr rtlCol="0" anchor="ctr"/>
              <a:lstStyle/>
              <a:p>
                <a:endParaRPr lang="en-GB" dirty="0"/>
              </a:p>
            </p:txBody>
          </p:sp>
        </p:grpSp>
        <p:grpSp>
          <p:nvGrpSpPr>
            <p:cNvPr id="419" name="Group 1084">
              <a:extLst>
                <a:ext uri="{FF2B5EF4-FFF2-40B4-BE49-F238E27FC236}">
                  <a16:creationId xmlns:a16="http://schemas.microsoft.com/office/drawing/2014/main" id="{C86101CF-B0C9-4F61-A4BD-6DE506928691}"/>
                </a:ext>
              </a:extLst>
            </p:cNvPr>
            <p:cNvGrpSpPr/>
            <p:nvPr/>
          </p:nvGrpSpPr>
          <p:grpSpPr>
            <a:xfrm>
              <a:off x="2615038" y="3288044"/>
              <a:ext cx="539761" cy="272883"/>
              <a:chOff x="2587375" y="3324594"/>
              <a:chExt cx="445140" cy="225046"/>
            </a:xfrm>
            <a:solidFill>
              <a:schemeClr val="accent1"/>
            </a:solidFill>
          </p:grpSpPr>
          <p:grpSp>
            <p:nvGrpSpPr>
              <p:cNvPr id="420" name="Grafik 306">
                <a:extLst>
                  <a:ext uri="{FF2B5EF4-FFF2-40B4-BE49-F238E27FC236}">
                    <a16:creationId xmlns:a16="http://schemas.microsoft.com/office/drawing/2014/main" id="{4900A2AC-618D-4E52-82E2-BC2DB0975023}"/>
                  </a:ext>
                </a:extLst>
              </p:cNvPr>
              <p:cNvGrpSpPr/>
              <p:nvPr/>
            </p:nvGrpSpPr>
            <p:grpSpPr>
              <a:xfrm>
                <a:off x="2965502" y="3324594"/>
                <a:ext cx="67013" cy="225046"/>
                <a:chOff x="2965502" y="3324594"/>
                <a:chExt cx="67013" cy="225046"/>
              </a:xfrm>
              <a:solidFill>
                <a:schemeClr val="accent1"/>
              </a:solidFill>
            </p:grpSpPr>
            <p:sp>
              <p:nvSpPr>
                <p:cNvPr id="426" name="Freihandform: Form 425">
                  <a:extLst>
                    <a:ext uri="{FF2B5EF4-FFF2-40B4-BE49-F238E27FC236}">
                      <a16:creationId xmlns:a16="http://schemas.microsoft.com/office/drawing/2014/main" id="{78602A58-E24B-4924-8352-7886E36BC3C2}"/>
                    </a:ext>
                  </a:extLst>
                </p:cNvPr>
                <p:cNvSpPr/>
                <p:nvPr/>
              </p:nvSpPr>
              <p:spPr>
                <a:xfrm>
                  <a:off x="2965502" y="3429537"/>
                  <a:ext cx="67013" cy="13234"/>
                </a:xfrm>
                <a:custGeom>
                  <a:avLst/>
                  <a:gdLst>
                    <a:gd name="connsiteX0" fmla="*/ 60396 w 67013"/>
                    <a:gd name="connsiteY0" fmla="*/ 13235 h 13234"/>
                    <a:gd name="connsiteX1" fmla="*/ 6618 w 67013"/>
                    <a:gd name="connsiteY1" fmla="*/ 13235 h 13234"/>
                    <a:gd name="connsiteX2" fmla="*/ 0 w 67013"/>
                    <a:gd name="connsiteY2" fmla="*/ 6618 h 13234"/>
                    <a:gd name="connsiteX3" fmla="*/ 6618 w 67013"/>
                    <a:gd name="connsiteY3" fmla="*/ 0 h 13234"/>
                    <a:gd name="connsiteX4" fmla="*/ 60396 w 67013"/>
                    <a:gd name="connsiteY4" fmla="*/ 0 h 13234"/>
                    <a:gd name="connsiteX5" fmla="*/ 67014 w 67013"/>
                    <a:gd name="connsiteY5" fmla="*/ 6618 h 13234"/>
                    <a:gd name="connsiteX6" fmla="*/ 60396 w 67013"/>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13" h="13234">
                      <a:moveTo>
                        <a:pt x="60396" y="13235"/>
                      </a:moveTo>
                      <a:lnTo>
                        <a:pt x="6618" y="13235"/>
                      </a:lnTo>
                      <a:cubicBezTo>
                        <a:pt x="2964" y="13235"/>
                        <a:pt x="0" y="10271"/>
                        <a:pt x="0" y="6618"/>
                      </a:cubicBezTo>
                      <a:cubicBezTo>
                        <a:pt x="0" y="2964"/>
                        <a:pt x="2964" y="0"/>
                        <a:pt x="6618" y="0"/>
                      </a:cubicBezTo>
                      <a:lnTo>
                        <a:pt x="60396" y="0"/>
                      </a:lnTo>
                      <a:cubicBezTo>
                        <a:pt x="64049" y="0"/>
                        <a:pt x="67014" y="2964"/>
                        <a:pt x="67014" y="6618"/>
                      </a:cubicBezTo>
                      <a:cubicBezTo>
                        <a:pt x="67014" y="10301"/>
                        <a:pt x="64049" y="13235"/>
                        <a:pt x="60396" y="13235"/>
                      </a:cubicBezTo>
                      <a:close/>
                    </a:path>
                  </a:pathLst>
                </a:custGeom>
                <a:solidFill>
                  <a:schemeClr val="accent1"/>
                </a:solidFill>
                <a:ln w="2991" cap="flat">
                  <a:noFill/>
                  <a:prstDash val="solid"/>
                  <a:miter/>
                </a:ln>
              </p:spPr>
              <p:txBody>
                <a:bodyPr rtlCol="0" anchor="ctr"/>
                <a:lstStyle/>
                <a:p>
                  <a:endParaRPr lang="en-GB" dirty="0"/>
                </a:p>
              </p:txBody>
            </p:sp>
            <p:sp>
              <p:nvSpPr>
                <p:cNvPr id="427" name="Freihandform: Form 426">
                  <a:extLst>
                    <a:ext uri="{FF2B5EF4-FFF2-40B4-BE49-F238E27FC236}">
                      <a16:creationId xmlns:a16="http://schemas.microsoft.com/office/drawing/2014/main" id="{3EB26EA3-FAE0-4CEE-BB2F-E75F64CC3B8B}"/>
                    </a:ext>
                  </a:extLst>
                </p:cNvPr>
                <p:cNvSpPr/>
                <p:nvPr/>
              </p:nvSpPr>
              <p:spPr>
                <a:xfrm>
                  <a:off x="2972607" y="3324594"/>
                  <a:ext cx="52743" cy="49428"/>
                </a:xfrm>
                <a:custGeom>
                  <a:avLst/>
                  <a:gdLst>
                    <a:gd name="connsiteX0" fmla="*/ 6609 w 52743"/>
                    <a:gd name="connsiteY0" fmla="*/ 49428 h 49428"/>
                    <a:gd name="connsiteX1" fmla="*/ 1728 w 52743"/>
                    <a:gd name="connsiteY1" fmla="*/ 47272 h 49428"/>
                    <a:gd name="connsiteX2" fmla="*/ 2148 w 52743"/>
                    <a:gd name="connsiteY2" fmla="*/ 37930 h 49428"/>
                    <a:gd name="connsiteX3" fmla="*/ 41673 w 52743"/>
                    <a:gd name="connsiteY3" fmla="*/ 1728 h 49428"/>
                    <a:gd name="connsiteX4" fmla="*/ 51015 w 52743"/>
                    <a:gd name="connsiteY4" fmla="*/ 2147 h 49428"/>
                    <a:gd name="connsiteX5" fmla="*/ 50596 w 52743"/>
                    <a:gd name="connsiteY5" fmla="*/ 11490 h 49428"/>
                    <a:gd name="connsiteX6" fmla="*/ 11071 w 52743"/>
                    <a:gd name="connsiteY6" fmla="*/ 47692 h 49428"/>
                    <a:gd name="connsiteX7" fmla="*/ 6609 w 52743"/>
                    <a:gd name="connsiteY7" fmla="*/ 49428 h 4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43" h="49428">
                      <a:moveTo>
                        <a:pt x="6609" y="49428"/>
                      </a:moveTo>
                      <a:cubicBezTo>
                        <a:pt x="4813" y="49428"/>
                        <a:pt x="3046" y="48710"/>
                        <a:pt x="1728" y="47272"/>
                      </a:cubicBezTo>
                      <a:cubicBezTo>
                        <a:pt x="-727" y="44577"/>
                        <a:pt x="-547" y="40385"/>
                        <a:pt x="2148" y="37930"/>
                      </a:cubicBezTo>
                      <a:lnTo>
                        <a:pt x="41673" y="1728"/>
                      </a:lnTo>
                      <a:cubicBezTo>
                        <a:pt x="44368" y="-727"/>
                        <a:pt x="48560" y="-547"/>
                        <a:pt x="51015" y="2147"/>
                      </a:cubicBezTo>
                      <a:cubicBezTo>
                        <a:pt x="53471" y="4842"/>
                        <a:pt x="53291" y="9035"/>
                        <a:pt x="50596" y="11490"/>
                      </a:cubicBezTo>
                      <a:lnTo>
                        <a:pt x="11071" y="47692"/>
                      </a:lnTo>
                      <a:cubicBezTo>
                        <a:pt x="9813" y="48859"/>
                        <a:pt x="8226" y="49428"/>
                        <a:pt x="6609" y="49428"/>
                      </a:cubicBezTo>
                      <a:close/>
                    </a:path>
                  </a:pathLst>
                </a:custGeom>
                <a:solidFill>
                  <a:schemeClr val="accent1"/>
                </a:solidFill>
                <a:ln w="2991" cap="flat">
                  <a:noFill/>
                  <a:prstDash val="solid"/>
                  <a:miter/>
                </a:ln>
              </p:spPr>
              <p:txBody>
                <a:bodyPr rtlCol="0" anchor="ctr"/>
                <a:lstStyle/>
                <a:p>
                  <a:endParaRPr lang="en-GB" dirty="0"/>
                </a:p>
              </p:txBody>
            </p:sp>
            <p:sp>
              <p:nvSpPr>
                <p:cNvPr id="428" name="Freihandform: Form 427">
                  <a:extLst>
                    <a:ext uri="{FF2B5EF4-FFF2-40B4-BE49-F238E27FC236}">
                      <a16:creationId xmlns:a16="http://schemas.microsoft.com/office/drawing/2014/main" id="{790912C2-C053-42DF-AF53-03E488604CB6}"/>
                    </a:ext>
                  </a:extLst>
                </p:cNvPr>
                <p:cNvSpPr/>
                <p:nvPr/>
              </p:nvSpPr>
              <p:spPr>
                <a:xfrm>
                  <a:off x="2972667" y="3500212"/>
                  <a:ext cx="52743" cy="49428"/>
                </a:xfrm>
                <a:custGeom>
                  <a:avLst/>
                  <a:gdLst>
                    <a:gd name="connsiteX0" fmla="*/ 46135 w 52743"/>
                    <a:gd name="connsiteY0" fmla="*/ 49428 h 49428"/>
                    <a:gd name="connsiteX1" fmla="*/ 41673 w 52743"/>
                    <a:gd name="connsiteY1" fmla="*/ 47692 h 49428"/>
                    <a:gd name="connsiteX2" fmla="*/ 2148 w 52743"/>
                    <a:gd name="connsiteY2" fmla="*/ 11490 h 49428"/>
                    <a:gd name="connsiteX3" fmla="*/ 1728 w 52743"/>
                    <a:gd name="connsiteY3" fmla="*/ 2148 h 49428"/>
                    <a:gd name="connsiteX4" fmla="*/ 11071 w 52743"/>
                    <a:gd name="connsiteY4" fmla="*/ 1728 h 49428"/>
                    <a:gd name="connsiteX5" fmla="*/ 50596 w 52743"/>
                    <a:gd name="connsiteY5" fmla="*/ 37930 h 49428"/>
                    <a:gd name="connsiteX6" fmla="*/ 51015 w 52743"/>
                    <a:gd name="connsiteY6" fmla="*/ 47272 h 49428"/>
                    <a:gd name="connsiteX7" fmla="*/ 46135 w 52743"/>
                    <a:gd name="connsiteY7" fmla="*/ 49428 h 4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43" h="49428">
                      <a:moveTo>
                        <a:pt x="46135" y="49428"/>
                      </a:moveTo>
                      <a:cubicBezTo>
                        <a:pt x="44548" y="49428"/>
                        <a:pt x="42931" y="48859"/>
                        <a:pt x="41673" y="47692"/>
                      </a:cubicBezTo>
                      <a:lnTo>
                        <a:pt x="2148" y="11490"/>
                      </a:lnTo>
                      <a:cubicBezTo>
                        <a:pt x="-547" y="9035"/>
                        <a:pt x="-727" y="4843"/>
                        <a:pt x="1728" y="2148"/>
                      </a:cubicBezTo>
                      <a:cubicBezTo>
                        <a:pt x="4184" y="-547"/>
                        <a:pt x="8376" y="-727"/>
                        <a:pt x="11071" y="1728"/>
                      </a:cubicBezTo>
                      <a:lnTo>
                        <a:pt x="50596" y="37930"/>
                      </a:lnTo>
                      <a:cubicBezTo>
                        <a:pt x="53291" y="40385"/>
                        <a:pt x="53471" y="44577"/>
                        <a:pt x="51015" y="47272"/>
                      </a:cubicBezTo>
                      <a:cubicBezTo>
                        <a:pt x="49698" y="48710"/>
                        <a:pt x="47931" y="49428"/>
                        <a:pt x="46135" y="49428"/>
                      </a:cubicBezTo>
                      <a:close/>
                    </a:path>
                  </a:pathLst>
                </a:custGeom>
                <a:solidFill>
                  <a:schemeClr val="accent1"/>
                </a:solidFill>
                <a:ln w="2991" cap="flat">
                  <a:noFill/>
                  <a:prstDash val="solid"/>
                  <a:miter/>
                </a:ln>
              </p:spPr>
              <p:txBody>
                <a:bodyPr rtlCol="0" anchor="ctr"/>
                <a:lstStyle/>
                <a:p>
                  <a:endParaRPr lang="en-GB" dirty="0"/>
                </a:p>
              </p:txBody>
            </p:sp>
          </p:grpSp>
          <p:grpSp>
            <p:nvGrpSpPr>
              <p:cNvPr id="421" name="Grafik 306">
                <a:extLst>
                  <a:ext uri="{FF2B5EF4-FFF2-40B4-BE49-F238E27FC236}">
                    <a16:creationId xmlns:a16="http://schemas.microsoft.com/office/drawing/2014/main" id="{40581D5E-53A4-4FAC-8B07-37C0DFBD4D72}"/>
                  </a:ext>
                </a:extLst>
              </p:cNvPr>
              <p:cNvGrpSpPr/>
              <p:nvPr/>
            </p:nvGrpSpPr>
            <p:grpSpPr>
              <a:xfrm>
                <a:off x="2587375" y="3324594"/>
                <a:ext cx="67013" cy="225046"/>
                <a:chOff x="2587375" y="3324594"/>
                <a:chExt cx="67013" cy="225046"/>
              </a:xfrm>
              <a:solidFill>
                <a:schemeClr val="accent1"/>
              </a:solidFill>
            </p:grpSpPr>
            <p:sp>
              <p:nvSpPr>
                <p:cNvPr id="423" name="Freihandform: Form 422">
                  <a:extLst>
                    <a:ext uri="{FF2B5EF4-FFF2-40B4-BE49-F238E27FC236}">
                      <a16:creationId xmlns:a16="http://schemas.microsoft.com/office/drawing/2014/main" id="{6EA6352B-6155-4B0D-8B62-5C550C0F45C0}"/>
                    </a:ext>
                  </a:extLst>
                </p:cNvPr>
                <p:cNvSpPr/>
                <p:nvPr/>
              </p:nvSpPr>
              <p:spPr>
                <a:xfrm>
                  <a:off x="2587375" y="3429537"/>
                  <a:ext cx="67013" cy="13234"/>
                </a:xfrm>
                <a:custGeom>
                  <a:avLst/>
                  <a:gdLst>
                    <a:gd name="connsiteX0" fmla="*/ 60396 w 67013"/>
                    <a:gd name="connsiteY0" fmla="*/ 13235 h 13234"/>
                    <a:gd name="connsiteX1" fmla="*/ 6617 w 67013"/>
                    <a:gd name="connsiteY1" fmla="*/ 13235 h 13234"/>
                    <a:gd name="connsiteX2" fmla="*/ 0 w 67013"/>
                    <a:gd name="connsiteY2" fmla="*/ 6618 h 13234"/>
                    <a:gd name="connsiteX3" fmla="*/ 6617 w 67013"/>
                    <a:gd name="connsiteY3" fmla="*/ 0 h 13234"/>
                    <a:gd name="connsiteX4" fmla="*/ 60396 w 67013"/>
                    <a:gd name="connsiteY4" fmla="*/ 0 h 13234"/>
                    <a:gd name="connsiteX5" fmla="*/ 67014 w 67013"/>
                    <a:gd name="connsiteY5" fmla="*/ 6618 h 13234"/>
                    <a:gd name="connsiteX6" fmla="*/ 60396 w 67013"/>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013" h="13234">
                      <a:moveTo>
                        <a:pt x="60396" y="13235"/>
                      </a:moveTo>
                      <a:lnTo>
                        <a:pt x="6617" y="13235"/>
                      </a:lnTo>
                      <a:cubicBezTo>
                        <a:pt x="2964" y="13235"/>
                        <a:pt x="0" y="10271"/>
                        <a:pt x="0" y="6618"/>
                      </a:cubicBezTo>
                      <a:cubicBezTo>
                        <a:pt x="0" y="2964"/>
                        <a:pt x="2964" y="0"/>
                        <a:pt x="6617" y="0"/>
                      </a:cubicBezTo>
                      <a:lnTo>
                        <a:pt x="60396" y="0"/>
                      </a:lnTo>
                      <a:cubicBezTo>
                        <a:pt x="64049" y="0"/>
                        <a:pt x="67014" y="2964"/>
                        <a:pt x="67014" y="6618"/>
                      </a:cubicBezTo>
                      <a:cubicBezTo>
                        <a:pt x="67014" y="10301"/>
                        <a:pt x="64079" y="13235"/>
                        <a:pt x="60396" y="13235"/>
                      </a:cubicBezTo>
                      <a:close/>
                    </a:path>
                  </a:pathLst>
                </a:custGeom>
                <a:solidFill>
                  <a:schemeClr val="accent1"/>
                </a:solidFill>
                <a:ln w="2991" cap="flat">
                  <a:noFill/>
                  <a:prstDash val="solid"/>
                  <a:miter/>
                </a:ln>
              </p:spPr>
              <p:txBody>
                <a:bodyPr rtlCol="0" anchor="ctr"/>
                <a:lstStyle/>
                <a:p>
                  <a:endParaRPr lang="en-GB" dirty="0"/>
                </a:p>
              </p:txBody>
            </p:sp>
            <p:sp>
              <p:nvSpPr>
                <p:cNvPr id="424" name="Freihandform: Form 423">
                  <a:extLst>
                    <a:ext uri="{FF2B5EF4-FFF2-40B4-BE49-F238E27FC236}">
                      <a16:creationId xmlns:a16="http://schemas.microsoft.com/office/drawing/2014/main" id="{03B54801-AC61-4F9C-A1A0-371D6D3AEBCA}"/>
                    </a:ext>
                  </a:extLst>
                </p:cNvPr>
                <p:cNvSpPr/>
                <p:nvPr/>
              </p:nvSpPr>
              <p:spPr>
                <a:xfrm>
                  <a:off x="2594540" y="3324594"/>
                  <a:ext cx="52743" cy="49428"/>
                </a:xfrm>
                <a:custGeom>
                  <a:avLst/>
                  <a:gdLst>
                    <a:gd name="connsiteX0" fmla="*/ 46135 w 52743"/>
                    <a:gd name="connsiteY0" fmla="*/ 49428 h 49428"/>
                    <a:gd name="connsiteX1" fmla="*/ 41673 w 52743"/>
                    <a:gd name="connsiteY1" fmla="*/ 47692 h 49428"/>
                    <a:gd name="connsiteX2" fmla="*/ 2148 w 52743"/>
                    <a:gd name="connsiteY2" fmla="*/ 11490 h 49428"/>
                    <a:gd name="connsiteX3" fmla="*/ 1728 w 52743"/>
                    <a:gd name="connsiteY3" fmla="*/ 2147 h 49428"/>
                    <a:gd name="connsiteX4" fmla="*/ 11071 w 52743"/>
                    <a:gd name="connsiteY4" fmla="*/ 1728 h 49428"/>
                    <a:gd name="connsiteX5" fmla="*/ 50596 w 52743"/>
                    <a:gd name="connsiteY5" fmla="*/ 37930 h 49428"/>
                    <a:gd name="connsiteX6" fmla="*/ 51015 w 52743"/>
                    <a:gd name="connsiteY6" fmla="*/ 47272 h 49428"/>
                    <a:gd name="connsiteX7" fmla="*/ 46135 w 52743"/>
                    <a:gd name="connsiteY7" fmla="*/ 49428 h 4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43" h="49428">
                      <a:moveTo>
                        <a:pt x="46135" y="49428"/>
                      </a:moveTo>
                      <a:cubicBezTo>
                        <a:pt x="44548" y="49428"/>
                        <a:pt x="42931" y="48859"/>
                        <a:pt x="41673" y="47692"/>
                      </a:cubicBezTo>
                      <a:lnTo>
                        <a:pt x="2148" y="11490"/>
                      </a:lnTo>
                      <a:cubicBezTo>
                        <a:pt x="-547" y="9035"/>
                        <a:pt x="-727" y="4842"/>
                        <a:pt x="1728" y="2147"/>
                      </a:cubicBezTo>
                      <a:cubicBezTo>
                        <a:pt x="4184" y="-547"/>
                        <a:pt x="8376" y="-727"/>
                        <a:pt x="11071" y="1728"/>
                      </a:cubicBezTo>
                      <a:lnTo>
                        <a:pt x="50596" y="37930"/>
                      </a:lnTo>
                      <a:cubicBezTo>
                        <a:pt x="53291" y="40385"/>
                        <a:pt x="53471" y="44577"/>
                        <a:pt x="51015" y="47272"/>
                      </a:cubicBezTo>
                      <a:cubicBezTo>
                        <a:pt x="49728" y="48710"/>
                        <a:pt x="47931" y="49428"/>
                        <a:pt x="46135" y="49428"/>
                      </a:cubicBezTo>
                      <a:close/>
                    </a:path>
                  </a:pathLst>
                </a:custGeom>
                <a:solidFill>
                  <a:schemeClr val="accent1"/>
                </a:solidFill>
                <a:ln w="2991" cap="flat">
                  <a:noFill/>
                  <a:prstDash val="solid"/>
                  <a:miter/>
                </a:ln>
              </p:spPr>
              <p:txBody>
                <a:bodyPr rtlCol="0" anchor="ctr"/>
                <a:lstStyle/>
                <a:p>
                  <a:endParaRPr lang="en-GB" dirty="0"/>
                </a:p>
              </p:txBody>
            </p:sp>
            <p:sp>
              <p:nvSpPr>
                <p:cNvPr id="425" name="Freihandform: Form 424">
                  <a:extLst>
                    <a:ext uri="{FF2B5EF4-FFF2-40B4-BE49-F238E27FC236}">
                      <a16:creationId xmlns:a16="http://schemas.microsoft.com/office/drawing/2014/main" id="{46B69B2E-B9DA-4D2E-AAC9-E358389DDD43}"/>
                    </a:ext>
                  </a:extLst>
                </p:cNvPr>
                <p:cNvSpPr/>
                <p:nvPr/>
              </p:nvSpPr>
              <p:spPr>
                <a:xfrm>
                  <a:off x="2594510" y="3500212"/>
                  <a:ext cx="52743" cy="49428"/>
                </a:xfrm>
                <a:custGeom>
                  <a:avLst/>
                  <a:gdLst>
                    <a:gd name="connsiteX0" fmla="*/ 6609 w 52743"/>
                    <a:gd name="connsiteY0" fmla="*/ 49428 h 49428"/>
                    <a:gd name="connsiteX1" fmla="*/ 1728 w 52743"/>
                    <a:gd name="connsiteY1" fmla="*/ 47272 h 49428"/>
                    <a:gd name="connsiteX2" fmla="*/ 2147 w 52743"/>
                    <a:gd name="connsiteY2" fmla="*/ 37930 h 49428"/>
                    <a:gd name="connsiteX3" fmla="*/ 41673 w 52743"/>
                    <a:gd name="connsiteY3" fmla="*/ 1728 h 49428"/>
                    <a:gd name="connsiteX4" fmla="*/ 51015 w 52743"/>
                    <a:gd name="connsiteY4" fmla="*/ 2148 h 49428"/>
                    <a:gd name="connsiteX5" fmla="*/ 50596 w 52743"/>
                    <a:gd name="connsiteY5" fmla="*/ 11490 h 49428"/>
                    <a:gd name="connsiteX6" fmla="*/ 11071 w 52743"/>
                    <a:gd name="connsiteY6" fmla="*/ 47692 h 49428"/>
                    <a:gd name="connsiteX7" fmla="*/ 6609 w 52743"/>
                    <a:gd name="connsiteY7" fmla="*/ 49428 h 4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743" h="49428">
                      <a:moveTo>
                        <a:pt x="6609" y="49428"/>
                      </a:moveTo>
                      <a:cubicBezTo>
                        <a:pt x="4812" y="49428"/>
                        <a:pt x="3046" y="48710"/>
                        <a:pt x="1728" y="47272"/>
                      </a:cubicBezTo>
                      <a:cubicBezTo>
                        <a:pt x="-727" y="44577"/>
                        <a:pt x="-547" y="40385"/>
                        <a:pt x="2147" y="37930"/>
                      </a:cubicBezTo>
                      <a:lnTo>
                        <a:pt x="41673" y="1728"/>
                      </a:lnTo>
                      <a:cubicBezTo>
                        <a:pt x="44368" y="-727"/>
                        <a:pt x="48560" y="-547"/>
                        <a:pt x="51015" y="2148"/>
                      </a:cubicBezTo>
                      <a:cubicBezTo>
                        <a:pt x="53471" y="4843"/>
                        <a:pt x="53291" y="9035"/>
                        <a:pt x="50596" y="11490"/>
                      </a:cubicBezTo>
                      <a:lnTo>
                        <a:pt x="11071" y="47692"/>
                      </a:lnTo>
                      <a:cubicBezTo>
                        <a:pt x="9813" y="48859"/>
                        <a:pt x="8196" y="49428"/>
                        <a:pt x="6609" y="49428"/>
                      </a:cubicBezTo>
                      <a:close/>
                    </a:path>
                  </a:pathLst>
                </a:custGeom>
                <a:solidFill>
                  <a:schemeClr val="accent1"/>
                </a:solidFill>
                <a:ln w="2991" cap="flat">
                  <a:noFill/>
                  <a:prstDash val="solid"/>
                  <a:miter/>
                </a:ln>
              </p:spPr>
              <p:txBody>
                <a:bodyPr rtlCol="0" anchor="ctr"/>
                <a:lstStyle/>
                <a:p>
                  <a:endParaRPr lang="en-GB" dirty="0"/>
                </a:p>
              </p:txBody>
            </p:sp>
          </p:grpSp>
          <p:sp>
            <p:nvSpPr>
              <p:cNvPr id="422" name="Freihandform: Form 421">
                <a:extLst>
                  <a:ext uri="{FF2B5EF4-FFF2-40B4-BE49-F238E27FC236}">
                    <a16:creationId xmlns:a16="http://schemas.microsoft.com/office/drawing/2014/main" id="{6E703331-ED19-4132-9462-90F036FF0A8F}"/>
                  </a:ext>
                </a:extLst>
              </p:cNvPr>
              <p:cNvSpPr/>
              <p:nvPr/>
            </p:nvSpPr>
            <p:spPr>
              <a:xfrm>
                <a:off x="2728859" y="3402282"/>
                <a:ext cx="165557" cy="110947"/>
              </a:xfrm>
              <a:custGeom>
                <a:avLst/>
                <a:gdLst>
                  <a:gd name="connsiteX0" fmla="*/ 54138 w 165557"/>
                  <a:gd name="connsiteY0" fmla="*/ 110947 h 110947"/>
                  <a:gd name="connsiteX1" fmla="*/ 39016 w 165557"/>
                  <a:gd name="connsiteY1" fmla="*/ 100707 h 110947"/>
                  <a:gd name="connsiteX2" fmla="*/ 22248 w 165557"/>
                  <a:gd name="connsiteY2" fmla="*/ 58277 h 110947"/>
                  <a:gd name="connsiteX3" fmla="*/ 16709 w 165557"/>
                  <a:gd name="connsiteY3" fmla="*/ 58307 h 110947"/>
                  <a:gd name="connsiteX4" fmla="*/ 0 w 165557"/>
                  <a:gd name="connsiteY4" fmla="*/ 58187 h 110947"/>
                  <a:gd name="connsiteX5" fmla="*/ 0 w 165557"/>
                  <a:gd name="connsiteY5" fmla="*/ 44952 h 110947"/>
                  <a:gd name="connsiteX6" fmla="*/ 16978 w 165557"/>
                  <a:gd name="connsiteY6" fmla="*/ 45072 h 110947"/>
                  <a:gd name="connsiteX7" fmla="*/ 26590 w 165557"/>
                  <a:gd name="connsiteY7" fmla="*/ 44952 h 110947"/>
                  <a:gd name="connsiteX8" fmla="*/ 26740 w 165557"/>
                  <a:gd name="connsiteY8" fmla="*/ 44952 h 110947"/>
                  <a:gd name="connsiteX9" fmla="*/ 32908 w 165557"/>
                  <a:gd name="connsiteY9" fmla="*/ 49204 h 110947"/>
                  <a:gd name="connsiteX10" fmla="*/ 51263 w 165557"/>
                  <a:gd name="connsiteY10" fmla="*/ 95796 h 110947"/>
                  <a:gd name="connsiteX11" fmla="*/ 54437 w 165557"/>
                  <a:gd name="connsiteY11" fmla="*/ 97712 h 110947"/>
                  <a:gd name="connsiteX12" fmla="*/ 57222 w 165557"/>
                  <a:gd name="connsiteY12" fmla="*/ 95227 h 110947"/>
                  <a:gd name="connsiteX13" fmla="*/ 73481 w 165557"/>
                  <a:gd name="connsiteY13" fmla="*/ 13152 h 110947"/>
                  <a:gd name="connsiteX14" fmla="*/ 88333 w 165557"/>
                  <a:gd name="connsiteY14" fmla="*/ 36 h 110947"/>
                  <a:gd name="connsiteX15" fmla="*/ 104982 w 165557"/>
                  <a:gd name="connsiteY15" fmla="*/ 10846 h 110947"/>
                  <a:gd name="connsiteX16" fmla="*/ 124116 w 165557"/>
                  <a:gd name="connsiteY16" fmla="*/ 64535 h 110947"/>
                  <a:gd name="connsiteX17" fmla="*/ 126931 w 165557"/>
                  <a:gd name="connsiteY17" fmla="*/ 66571 h 110947"/>
                  <a:gd name="connsiteX18" fmla="*/ 129925 w 165557"/>
                  <a:gd name="connsiteY18" fmla="*/ 64774 h 110947"/>
                  <a:gd name="connsiteX19" fmla="*/ 141513 w 165557"/>
                  <a:gd name="connsiteY19" fmla="*/ 39831 h 110947"/>
                  <a:gd name="connsiteX20" fmla="*/ 147532 w 165557"/>
                  <a:gd name="connsiteY20" fmla="*/ 35999 h 110947"/>
                  <a:gd name="connsiteX21" fmla="*/ 165558 w 165557"/>
                  <a:gd name="connsiteY21" fmla="*/ 35999 h 110947"/>
                  <a:gd name="connsiteX22" fmla="*/ 165558 w 165557"/>
                  <a:gd name="connsiteY22" fmla="*/ 49234 h 110947"/>
                  <a:gd name="connsiteX23" fmla="*/ 151754 w 165557"/>
                  <a:gd name="connsiteY23" fmla="*/ 49234 h 110947"/>
                  <a:gd name="connsiteX24" fmla="*/ 141962 w 165557"/>
                  <a:gd name="connsiteY24" fmla="*/ 70344 h 110947"/>
                  <a:gd name="connsiteX25" fmla="*/ 126332 w 165557"/>
                  <a:gd name="connsiteY25" fmla="*/ 79776 h 110947"/>
                  <a:gd name="connsiteX26" fmla="*/ 111659 w 165557"/>
                  <a:gd name="connsiteY26" fmla="*/ 68936 h 110947"/>
                  <a:gd name="connsiteX27" fmla="*/ 92525 w 165557"/>
                  <a:gd name="connsiteY27" fmla="*/ 15248 h 110947"/>
                  <a:gd name="connsiteX28" fmla="*/ 89322 w 165557"/>
                  <a:gd name="connsiteY28" fmla="*/ 13212 h 110947"/>
                  <a:gd name="connsiteX29" fmla="*/ 86477 w 165557"/>
                  <a:gd name="connsiteY29" fmla="*/ 15697 h 110947"/>
                  <a:gd name="connsiteX30" fmla="*/ 70218 w 165557"/>
                  <a:gd name="connsiteY30" fmla="*/ 97772 h 110947"/>
                  <a:gd name="connsiteX31" fmla="*/ 55665 w 165557"/>
                  <a:gd name="connsiteY31" fmla="*/ 110887 h 110947"/>
                  <a:gd name="connsiteX32" fmla="*/ 54138 w 165557"/>
                  <a:gd name="connsiteY32" fmla="*/ 110947 h 11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557" h="110947">
                    <a:moveTo>
                      <a:pt x="54138" y="110947"/>
                    </a:moveTo>
                    <a:cubicBezTo>
                      <a:pt x="47490" y="110947"/>
                      <a:pt x="41532" y="106965"/>
                      <a:pt x="39016" y="100707"/>
                    </a:cubicBezTo>
                    <a:cubicBezTo>
                      <a:pt x="33776" y="87651"/>
                      <a:pt x="27638" y="72200"/>
                      <a:pt x="22248" y="58277"/>
                    </a:cubicBezTo>
                    <a:cubicBezTo>
                      <a:pt x="18894" y="58337"/>
                      <a:pt x="18265" y="58337"/>
                      <a:pt x="16709" y="58307"/>
                    </a:cubicBezTo>
                    <a:cubicBezTo>
                      <a:pt x="14852" y="58277"/>
                      <a:pt x="11558" y="58187"/>
                      <a:pt x="0" y="58187"/>
                    </a:cubicBezTo>
                    <a:lnTo>
                      <a:pt x="0" y="44952"/>
                    </a:lnTo>
                    <a:cubicBezTo>
                      <a:pt x="11738" y="44952"/>
                      <a:pt x="15091" y="45012"/>
                      <a:pt x="16978" y="45072"/>
                    </a:cubicBezTo>
                    <a:cubicBezTo>
                      <a:pt x="18984" y="45102"/>
                      <a:pt x="19314" y="45132"/>
                      <a:pt x="26590" y="44952"/>
                    </a:cubicBezTo>
                    <a:cubicBezTo>
                      <a:pt x="26650" y="44952"/>
                      <a:pt x="26680" y="44952"/>
                      <a:pt x="26740" y="44952"/>
                    </a:cubicBezTo>
                    <a:cubicBezTo>
                      <a:pt x="29464" y="44952"/>
                      <a:pt x="31920" y="46629"/>
                      <a:pt x="32908" y="49204"/>
                    </a:cubicBezTo>
                    <a:cubicBezTo>
                      <a:pt x="38657" y="64146"/>
                      <a:pt x="45514" y="81423"/>
                      <a:pt x="51263" y="95796"/>
                    </a:cubicBezTo>
                    <a:cubicBezTo>
                      <a:pt x="52012" y="97652"/>
                      <a:pt x="53599" y="97772"/>
                      <a:pt x="54437" y="97712"/>
                    </a:cubicBezTo>
                    <a:cubicBezTo>
                      <a:pt x="55156" y="97652"/>
                      <a:pt x="56833" y="97263"/>
                      <a:pt x="57222" y="95227"/>
                    </a:cubicBezTo>
                    <a:lnTo>
                      <a:pt x="73481" y="13152"/>
                    </a:lnTo>
                    <a:cubicBezTo>
                      <a:pt x="74919" y="5845"/>
                      <a:pt x="80877" y="605"/>
                      <a:pt x="88333" y="36"/>
                    </a:cubicBezTo>
                    <a:cubicBezTo>
                      <a:pt x="95909" y="-443"/>
                      <a:pt x="102467" y="3839"/>
                      <a:pt x="104982" y="10846"/>
                    </a:cubicBezTo>
                    <a:lnTo>
                      <a:pt x="124116" y="64535"/>
                    </a:lnTo>
                    <a:cubicBezTo>
                      <a:pt x="124745" y="66301"/>
                      <a:pt x="126302" y="66541"/>
                      <a:pt x="126931" y="66571"/>
                    </a:cubicBezTo>
                    <a:cubicBezTo>
                      <a:pt x="127589" y="66571"/>
                      <a:pt x="129146" y="66481"/>
                      <a:pt x="129925" y="64774"/>
                    </a:cubicBezTo>
                    <a:lnTo>
                      <a:pt x="141513" y="39831"/>
                    </a:lnTo>
                    <a:cubicBezTo>
                      <a:pt x="142591" y="37496"/>
                      <a:pt x="144927" y="35999"/>
                      <a:pt x="147532" y="35999"/>
                    </a:cubicBezTo>
                    <a:lnTo>
                      <a:pt x="165558" y="35999"/>
                    </a:lnTo>
                    <a:lnTo>
                      <a:pt x="165558" y="49234"/>
                    </a:lnTo>
                    <a:lnTo>
                      <a:pt x="151754" y="49234"/>
                    </a:lnTo>
                    <a:lnTo>
                      <a:pt x="141962" y="70344"/>
                    </a:lnTo>
                    <a:cubicBezTo>
                      <a:pt x="139147" y="76392"/>
                      <a:pt x="133219" y="80016"/>
                      <a:pt x="126332" y="79776"/>
                    </a:cubicBezTo>
                    <a:cubicBezTo>
                      <a:pt x="119654" y="79477"/>
                      <a:pt x="113905" y="75225"/>
                      <a:pt x="111659" y="68936"/>
                    </a:cubicBezTo>
                    <a:lnTo>
                      <a:pt x="92525" y="15248"/>
                    </a:lnTo>
                    <a:cubicBezTo>
                      <a:pt x="91837" y="13302"/>
                      <a:pt x="90250" y="13122"/>
                      <a:pt x="89322" y="13212"/>
                    </a:cubicBezTo>
                    <a:cubicBezTo>
                      <a:pt x="88423" y="13272"/>
                      <a:pt x="86866" y="13691"/>
                      <a:pt x="86477" y="15697"/>
                    </a:cubicBezTo>
                    <a:lnTo>
                      <a:pt x="70218" y="97772"/>
                    </a:lnTo>
                    <a:cubicBezTo>
                      <a:pt x="68810" y="104929"/>
                      <a:pt x="62941" y="110199"/>
                      <a:pt x="55665" y="110887"/>
                    </a:cubicBezTo>
                    <a:cubicBezTo>
                      <a:pt x="55156" y="110917"/>
                      <a:pt x="54647" y="110947"/>
                      <a:pt x="54138" y="110947"/>
                    </a:cubicBezTo>
                    <a:close/>
                  </a:path>
                </a:pathLst>
              </a:custGeom>
              <a:solidFill>
                <a:schemeClr val="accent1"/>
              </a:solidFill>
              <a:ln w="2991" cap="flat">
                <a:noFill/>
                <a:prstDash val="solid"/>
                <a:miter/>
              </a:ln>
            </p:spPr>
            <p:txBody>
              <a:bodyPr rtlCol="0" anchor="ctr"/>
              <a:lstStyle/>
              <a:p>
                <a:endParaRPr lang="en-GB" dirty="0"/>
              </a:p>
            </p:txBody>
          </p:sp>
        </p:grpSp>
      </p:grpSp>
      <p:grpSp>
        <p:nvGrpSpPr>
          <p:cNvPr id="432" name="Group 1096">
            <a:extLst>
              <a:ext uri="{FF2B5EF4-FFF2-40B4-BE49-F238E27FC236}">
                <a16:creationId xmlns:a16="http://schemas.microsoft.com/office/drawing/2014/main" id="{23F4D6FD-E5E5-44DA-9830-D01FE07B6DA9}"/>
              </a:ext>
            </a:extLst>
          </p:cNvPr>
          <p:cNvGrpSpPr>
            <a:grpSpLocks noChangeAspect="1"/>
          </p:cNvGrpSpPr>
          <p:nvPr/>
        </p:nvGrpSpPr>
        <p:grpSpPr>
          <a:xfrm>
            <a:off x="2571509" y="4097454"/>
            <a:ext cx="626812" cy="432000"/>
            <a:chOff x="2562011" y="4131953"/>
            <a:chExt cx="489816" cy="337582"/>
          </a:xfrm>
        </p:grpSpPr>
        <p:grpSp>
          <p:nvGrpSpPr>
            <p:cNvPr id="433" name="Group 1094">
              <a:extLst>
                <a:ext uri="{FF2B5EF4-FFF2-40B4-BE49-F238E27FC236}">
                  <a16:creationId xmlns:a16="http://schemas.microsoft.com/office/drawing/2014/main" id="{9C348365-B43D-448C-95B6-BBE921496CB7}"/>
                </a:ext>
              </a:extLst>
            </p:cNvPr>
            <p:cNvGrpSpPr/>
            <p:nvPr/>
          </p:nvGrpSpPr>
          <p:grpSpPr>
            <a:xfrm>
              <a:off x="2562011" y="4131953"/>
              <a:ext cx="489816" cy="337582"/>
              <a:chOff x="2562013" y="4131953"/>
              <a:chExt cx="489816" cy="337582"/>
            </a:xfrm>
          </p:grpSpPr>
          <p:sp>
            <p:nvSpPr>
              <p:cNvPr id="440" name="Freihandform: Form 439">
                <a:extLst>
                  <a:ext uri="{FF2B5EF4-FFF2-40B4-BE49-F238E27FC236}">
                    <a16:creationId xmlns:a16="http://schemas.microsoft.com/office/drawing/2014/main" id="{E5CCE210-C962-4723-BEC0-7D9B6430AA27}"/>
                  </a:ext>
                </a:extLst>
              </p:cNvPr>
              <p:cNvSpPr/>
              <p:nvPr/>
            </p:nvSpPr>
            <p:spPr>
              <a:xfrm>
                <a:off x="2562013" y="4171687"/>
                <a:ext cx="489816" cy="297848"/>
              </a:xfrm>
              <a:custGeom>
                <a:avLst/>
                <a:gdLst>
                  <a:gd name="connsiteX0" fmla="*/ 483199 w 489816"/>
                  <a:gd name="connsiteY0" fmla="*/ 297848 h 297848"/>
                  <a:gd name="connsiteX1" fmla="*/ 6618 w 489816"/>
                  <a:gd name="connsiteY1" fmla="*/ 297848 h 297848"/>
                  <a:gd name="connsiteX2" fmla="*/ 0 w 489816"/>
                  <a:gd name="connsiteY2" fmla="*/ 291231 h 297848"/>
                  <a:gd name="connsiteX3" fmla="*/ 0 w 489816"/>
                  <a:gd name="connsiteY3" fmla="*/ 6618 h 297848"/>
                  <a:gd name="connsiteX4" fmla="*/ 6618 w 489816"/>
                  <a:gd name="connsiteY4" fmla="*/ 0 h 297848"/>
                  <a:gd name="connsiteX5" fmla="*/ 46323 w 489816"/>
                  <a:gd name="connsiteY5" fmla="*/ 0 h 297848"/>
                  <a:gd name="connsiteX6" fmla="*/ 46323 w 489816"/>
                  <a:gd name="connsiteY6" fmla="*/ 13235 h 297848"/>
                  <a:gd name="connsiteX7" fmla="*/ 13235 w 489816"/>
                  <a:gd name="connsiteY7" fmla="*/ 13235 h 297848"/>
                  <a:gd name="connsiteX8" fmla="*/ 13235 w 489816"/>
                  <a:gd name="connsiteY8" fmla="*/ 284613 h 297848"/>
                  <a:gd name="connsiteX9" fmla="*/ 476581 w 489816"/>
                  <a:gd name="connsiteY9" fmla="*/ 284613 h 297848"/>
                  <a:gd name="connsiteX10" fmla="*/ 476581 w 489816"/>
                  <a:gd name="connsiteY10" fmla="*/ 13235 h 297848"/>
                  <a:gd name="connsiteX11" fmla="*/ 443494 w 489816"/>
                  <a:gd name="connsiteY11" fmla="*/ 13235 h 297848"/>
                  <a:gd name="connsiteX12" fmla="*/ 443494 w 489816"/>
                  <a:gd name="connsiteY12" fmla="*/ 0 h 297848"/>
                  <a:gd name="connsiteX13" fmla="*/ 483199 w 489816"/>
                  <a:gd name="connsiteY13" fmla="*/ 0 h 297848"/>
                  <a:gd name="connsiteX14" fmla="*/ 489816 w 489816"/>
                  <a:gd name="connsiteY14" fmla="*/ 6618 h 297848"/>
                  <a:gd name="connsiteX15" fmla="*/ 489816 w 489816"/>
                  <a:gd name="connsiteY15" fmla="*/ 291231 h 297848"/>
                  <a:gd name="connsiteX16" fmla="*/ 483199 w 489816"/>
                  <a:gd name="connsiteY16" fmla="*/ 297848 h 297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9816" h="297848">
                    <a:moveTo>
                      <a:pt x="483199" y="297848"/>
                    </a:moveTo>
                    <a:lnTo>
                      <a:pt x="6618" y="297848"/>
                    </a:lnTo>
                    <a:cubicBezTo>
                      <a:pt x="2964" y="297848"/>
                      <a:pt x="0" y="294884"/>
                      <a:pt x="0" y="291231"/>
                    </a:cubicBezTo>
                    <a:lnTo>
                      <a:pt x="0" y="6618"/>
                    </a:lnTo>
                    <a:cubicBezTo>
                      <a:pt x="0" y="2965"/>
                      <a:pt x="2964" y="0"/>
                      <a:pt x="6618" y="0"/>
                    </a:cubicBezTo>
                    <a:lnTo>
                      <a:pt x="46323" y="0"/>
                    </a:lnTo>
                    <a:lnTo>
                      <a:pt x="46323" y="13235"/>
                    </a:lnTo>
                    <a:lnTo>
                      <a:pt x="13235" y="13235"/>
                    </a:lnTo>
                    <a:lnTo>
                      <a:pt x="13235" y="284613"/>
                    </a:lnTo>
                    <a:lnTo>
                      <a:pt x="476581" y="284613"/>
                    </a:lnTo>
                    <a:lnTo>
                      <a:pt x="476581" y="13235"/>
                    </a:lnTo>
                    <a:lnTo>
                      <a:pt x="443494" y="13235"/>
                    </a:lnTo>
                    <a:lnTo>
                      <a:pt x="443494" y="0"/>
                    </a:lnTo>
                    <a:lnTo>
                      <a:pt x="483199" y="0"/>
                    </a:lnTo>
                    <a:cubicBezTo>
                      <a:pt x="486852" y="0"/>
                      <a:pt x="489816" y="2965"/>
                      <a:pt x="489816" y="6618"/>
                    </a:cubicBezTo>
                    <a:lnTo>
                      <a:pt x="489816" y="291231"/>
                    </a:lnTo>
                    <a:cubicBezTo>
                      <a:pt x="489816" y="294914"/>
                      <a:pt x="486852" y="297848"/>
                      <a:pt x="483199" y="297848"/>
                    </a:cubicBezTo>
                    <a:close/>
                  </a:path>
                </a:pathLst>
              </a:custGeom>
              <a:solidFill>
                <a:schemeClr val="tx2"/>
              </a:solidFill>
              <a:ln w="2991" cap="flat">
                <a:noFill/>
                <a:prstDash val="solid"/>
                <a:miter/>
              </a:ln>
            </p:spPr>
            <p:txBody>
              <a:bodyPr rtlCol="0" anchor="ctr"/>
              <a:lstStyle/>
              <a:p>
                <a:endParaRPr lang="en-GB" dirty="0"/>
              </a:p>
            </p:txBody>
          </p:sp>
          <p:sp>
            <p:nvSpPr>
              <p:cNvPr id="441" name="Freihandform: Form 440">
                <a:extLst>
                  <a:ext uri="{FF2B5EF4-FFF2-40B4-BE49-F238E27FC236}">
                    <a16:creationId xmlns:a16="http://schemas.microsoft.com/office/drawing/2014/main" id="{9053F5AA-8318-4739-BC94-05D83F298AAF}"/>
                  </a:ext>
                </a:extLst>
              </p:cNvPr>
              <p:cNvSpPr/>
              <p:nvPr/>
            </p:nvSpPr>
            <p:spPr>
              <a:xfrm>
                <a:off x="2601718" y="4131953"/>
                <a:ext cx="209455" cy="336056"/>
              </a:xfrm>
              <a:custGeom>
                <a:avLst/>
                <a:gdLst>
                  <a:gd name="connsiteX0" fmla="*/ 200951 w 209455"/>
                  <a:gd name="connsiteY0" fmla="*/ 336056 h 336056"/>
                  <a:gd name="connsiteX1" fmla="*/ 6588 w 209455"/>
                  <a:gd name="connsiteY1" fmla="*/ 297878 h 336056"/>
                  <a:gd name="connsiteX2" fmla="*/ 0 w 209455"/>
                  <a:gd name="connsiteY2" fmla="*/ 291261 h 336056"/>
                  <a:gd name="connsiteX3" fmla="*/ 0 w 209455"/>
                  <a:gd name="connsiteY3" fmla="*/ 6647 h 336056"/>
                  <a:gd name="connsiteX4" fmla="*/ 1946 w 209455"/>
                  <a:gd name="connsiteY4" fmla="*/ 1946 h 336056"/>
                  <a:gd name="connsiteX5" fmla="*/ 6648 w 209455"/>
                  <a:gd name="connsiteY5" fmla="*/ 0 h 336056"/>
                  <a:gd name="connsiteX6" fmla="*/ 209455 w 209455"/>
                  <a:gd name="connsiteY6" fmla="*/ 41711 h 336056"/>
                  <a:gd name="connsiteX7" fmla="*/ 200951 w 209455"/>
                  <a:gd name="connsiteY7" fmla="*/ 51862 h 336056"/>
                  <a:gd name="connsiteX8" fmla="*/ 13235 w 209455"/>
                  <a:gd name="connsiteY8" fmla="*/ 13295 h 336056"/>
                  <a:gd name="connsiteX9" fmla="*/ 13235 w 209455"/>
                  <a:gd name="connsiteY9" fmla="*/ 284673 h 336056"/>
                  <a:gd name="connsiteX10" fmla="*/ 209425 w 209455"/>
                  <a:gd name="connsiteY10" fmla="*/ 325875 h 336056"/>
                  <a:gd name="connsiteX11" fmla="*/ 200951 w 209455"/>
                  <a:gd name="connsiteY11" fmla="*/ 336056 h 336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455" h="336056">
                    <a:moveTo>
                      <a:pt x="200951" y="336056"/>
                    </a:moveTo>
                    <a:cubicBezTo>
                      <a:pt x="200532" y="335697"/>
                      <a:pt x="152892" y="298267"/>
                      <a:pt x="6588" y="297878"/>
                    </a:cubicBezTo>
                    <a:cubicBezTo>
                      <a:pt x="2934" y="297878"/>
                      <a:pt x="0" y="294914"/>
                      <a:pt x="0" y="291261"/>
                    </a:cubicBezTo>
                    <a:lnTo>
                      <a:pt x="0" y="6647"/>
                    </a:lnTo>
                    <a:cubicBezTo>
                      <a:pt x="0" y="4881"/>
                      <a:pt x="689" y="3204"/>
                      <a:pt x="1946" y="1946"/>
                    </a:cubicBezTo>
                    <a:cubicBezTo>
                      <a:pt x="3204" y="689"/>
                      <a:pt x="5150" y="0"/>
                      <a:pt x="6648" y="0"/>
                    </a:cubicBezTo>
                    <a:cubicBezTo>
                      <a:pt x="158731" y="419"/>
                      <a:pt x="207479" y="40005"/>
                      <a:pt x="209455" y="41711"/>
                    </a:cubicBezTo>
                    <a:lnTo>
                      <a:pt x="200951" y="51862"/>
                    </a:lnTo>
                    <a:cubicBezTo>
                      <a:pt x="200502" y="51473"/>
                      <a:pt x="154299" y="14792"/>
                      <a:pt x="13235" y="13295"/>
                    </a:cubicBezTo>
                    <a:lnTo>
                      <a:pt x="13235" y="284673"/>
                    </a:lnTo>
                    <a:cubicBezTo>
                      <a:pt x="160108" y="286170"/>
                      <a:pt x="207449" y="324228"/>
                      <a:pt x="209425" y="325875"/>
                    </a:cubicBezTo>
                    <a:lnTo>
                      <a:pt x="200951" y="336056"/>
                    </a:lnTo>
                    <a:close/>
                  </a:path>
                </a:pathLst>
              </a:custGeom>
              <a:solidFill>
                <a:schemeClr val="tx2"/>
              </a:solidFill>
              <a:ln w="2991" cap="flat">
                <a:noFill/>
                <a:prstDash val="solid"/>
                <a:miter/>
              </a:ln>
            </p:spPr>
            <p:txBody>
              <a:bodyPr rtlCol="0" anchor="ctr"/>
              <a:lstStyle/>
              <a:p>
                <a:endParaRPr lang="en-GB" dirty="0"/>
              </a:p>
            </p:txBody>
          </p:sp>
          <p:sp>
            <p:nvSpPr>
              <p:cNvPr id="442" name="Freihandform: Form 441">
                <a:extLst>
                  <a:ext uri="{FF2B5EF4-FFF2-40B4-BE49-F238E27FC236}">
                    <a16:creationId xmlns:a16="http://schemas.microsoft.com/office/drawing/2014/main" id="{CB91A7F5-D0B8-4483-8FCA-30BD6D042327}"/>
                  </a:ext>
                </a:extLst>
              </p:cNvPr>
              <p:cNvSpPr/>
              <p:nvPr/>
            </p:nvSpPr>
            <p:spPr>
              <a:xfrm>
                <a:off x="2800304" y="4132012"/>
                <a:ext cx="211820" cy="337523"/>
              </a:xfrm>
              <a:custGeom>
                <a:avLst/>
                <a:gdLst>
                  <a:gd name="connsiteX0" fmla="*/ 6618 w 211820"/>
                  <a:gd name="connsiteY0" fmla="*/ 337524 h 337523"/>
                  <a:gd name="connsiteX1" fmla="*/ 3803 w 211820"/>
                  <a:gd name="connsiteY1" fmla="*/ 336895 h 337523"/>
                  <a:gd name="connsiteX2" fmla="*/ 0 w 211820"/>
                  <a:gd name="connsiteY2" fmla="*/ 330936 h 337523"/>
                  <a:gd name="connsiteX3" fmla="*/ 0 w 211820"/>
                  <a:gd name="connsiteY3" fmla="*/ 277636 h 337523"/>
                  <a:gd name="connsiteX4" fmla="*/ 6618 w 211820"/>
                  <a:gd name="connsiteY4" fmla="*/ 271019 h 337523"/>
                  <a:gd name="connsiteX5" fmla="*/ 13235 w 211820"/>
                  <a:gd name="connsiteY5" fmla="*/ 277636 h 337523"/>
                  <a:gd name="connsiteX6" fmla="*/ 13235 w 211820"/>
                  <a:gd name="connsiteY6" fmla="*/ 318929 h 337523"/>
                  <a:gd name="connsiteX7" fmla="*/ 198585 w 211820"/>
                  <a:gd name="connsiteY7" fmla="*/ 284643 h 337523"/>
                  <a:gd name="connsiteX8" fmla="*/ 198585 w 211820"/>
                  <a:gd name="connsiteY8" fmla="*/ 13265 h 337523"/>
                  <a:gd name="connsiteX9" fmla="*/ 13235 w 211820"/>
                  <a:gd name="connsiteY9" fmla="*/ 50126 h 337523"/>
                  <a:gd name="connsiteX10" fmla="*/ 13235 w 211820"/>
                  <a:gd name="connsiteY10" fmla="*/ 80369 h 337523"/>
                  <a:gd name="connsiteX11" fmla="*/ 6618 w 211820"/>
                  <a:gd name="connsiteY11" fmla="*/ 86986 h 337523"/>
                  <a:gd name="connsiteX12" fmla="*/ 0 w 211820"/>
                  <a:gd name="connsiteY12" fmla="*/ 80369 h 337523"/>
                  <a:gd name="connsiteX13" fmla="*/ 0 w 211820"/>
                  <a:gd name="connsiteY13" fmla="*/ 46772 h 337523"/>
                  <a:gd name="connsiteX14" fmla="*/ 2365 w 211820"/>
                  <a:gd name="connsiteY14" fmla="*/ 41711 h 337523"/>
                  <a:gd name="connsiteX15" fmla="*/ 205173 w 211820"/>
                  <a:gd name="connsiteY15" fmla="*/ 0 h 337523"/>
                  <a:gd name="connsiteX16" fmla="*/ 205203 w 211820"/>
                  <a:gd name="connsiteY16" fmla="*/ 0 h 337523"/>
                  <a:gd name="connsiteX17" fmla="*/ 209874 w 211820"/>
                  <a:gd name="connsiteY17" fmla="*/ 1946 h 337523"/>
                  <a:gd name="connsiteX18" fmla="*/ 211820 w 211820"/>
                  <a:gd name="connsiteY18" fmla="*/ 6648 h 337523"/>
                  <a:gd name="connsiteX19" fmla="*/ 211820 w 211820"/>
                  <a:gd name="connsiteY19" fmla="*/ 291261 h 337523"/>
                  <a:gd name="connsiteX20" fmla="*/ 205233 w 211820"/>
                  <a:gd name="connsiteY20" fmla="*/ 297878 h 337523"/>
                  <a:gd name="connsiteX21" fmla="*/ 10840 w 211820"/>
                  <a:gd name="connsiteY21" fmla="*/ 336086 h 337523"/>
                  <a:gd name="connsiteX22" fmla="*/ 6618 w 211820"/>
                  <a:gd name="connsiteY22" fmla="*/ 337524 h 33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1820" h="337523">
                    <a:moveTo>
                      <a:pt x="6618" y="337524"/>
                    </a:moveTo>
                    <a:cubicBezTo>
                      <a:pt x="5659" y="337524"/>
                      <a:pt x="4701" y="337314"/>
                      <a:pt x="3803" y="336895"/>
                    </a:cubicBezTo>
                    <a:cubicBezTo>
                      <a:pt x="1497" y="335787"/>
                      <a:pt x="0" y="333481"/>
                      <a:pt x="0" y="330936"/>
                    </a:cubicBezTo>
                    <a:lnTo>
                      <a:pt x="0" y="277636"/>
                    </a:lnTo>
                    <a:cubicBezTo>
                      <a:pt x="0" y="273983"/>
                      <a:pt x="2964" y="271019"/>
                      <a:pt x="6618" y="271019"/>
                    </a:cubicBezTo>
                    <a:cubicBezTo>
                      <a:pt x="10271" y="271019"/>
                      <a:pt x="13235" y="273983"/>
                      <a:pt x="13235" y="277636"/>
                    </a:cubicBezTo>
                    <a:lnTo>
                      <a:pt x="13235" y="318929"/>
                    </a:lnTo>
                    <a:cubicBezTo>
                      <a:pt x="34285" y="307460"/>
                      <a:pt x="88453" y="285781"/>
                      <a:pt x="198585" y="284643"/>
                    </a:cubicBezTo>
                    <a:lnTo>
                      <a:pt x="198585" y="13265"/>
                    </a:lnTo>
                    <a:cubicBezTo>
                      <a:pt x="74230" y="14583"/>
                      <a:pt x="24105" y="42849"/>
                      <a:pt x="13235" y="50126"/>
                    </a:cubicBezTo>
                    <a:lnTo>
                      <a:pt x="13235" y="80369"/>
                    </a:lnTo>
                    <a:cubicBezTo>
                      <a:pt x="13235" y="84022"/>
                      <a:pt x="10271" y="86986"/>
                      <a:pt x="6618" y="86986"/>
                    </a:cubicBezTo>
                    <a:cubicBezTo>
                      <a:pt x="2964" y="86986"/>
                      <a:pt x="0" y="84022"/>
                      <a:pt x="0" y="80369"/>
                    </a:cubicBezTo>
                    <a:lnTo>
                      <a:pt x="0" y="46772"/>
                    </a:lnTo>
                    <a:cubicBezTo>
                      <a:pt x="0" y="44826"/>
                      <a:pt x="868" y="42969"/>
                      <a:pt x="2365" y="41711"/>
                    </a:cubicBezTo>
                    <a:cubicBezTo>
                      <a:pt x="4372" y="40035"/>
                      <a:pt x="53120" y="419"/>
                      <a:pt x="205173" y="0"/>
                    </a:cubicBezTo>
                    <a:cubicBezTo>
                      <a:pt x="205173" y="0"/>
                      <a:pt x="205173" y="0"/>
                      <a:pt x="205203" y="0"/>
                    </a:cubicBezTo>
                    <a:cubicBezTo>
                      <a:pt x="206940" y="0"/>
                      <a:pt x="208646" y="689"/>
                      <a:pt x="209874" y="1946"/>
                    </a:cubicBezTo>
                    <a:cubicBezTo>
                      <a:pt x="211132" y="3174"/>
                      <a:pt x="211820" y="4881"/>
                      <a:pt x="211820" y="6648"/>
                    </a:cubicBezTo>
                    <a:lnTo>
                      <a:pt x="211820" y="291261"/>
                    </a:lnTo>
                    <a:cubicBezTo>
                      <a:pt x="211820" y="294914"/>
                      <a:pt x="208856" y="297878"/>
                      <a:pt x="205233" y="297878"/>
                    </a:cubicBezTo>
                    <a:cubicBezTo>
                      <a:pt x="58959" y="298268"/>
                      <a:pt x="11319" y="335697"/>
                      <a:pt x="10840" y="336086"/>
                    </a:cubicBezTo>
                    <a:cubicBezTo>
                      <a:pt x="9612" y="337015"/>
                      <a:pt x="8115" y="337524"/>
                      <a:pt x="6618" y="337524"/>
                    </a:cubicBezTo>
                    <a:close/>
                  </a:path>
                </a:pathLst>
              </a:custGeom>
              <a:solidFill>
                <a:schemeClr val="tx2"/>
              </a:solidFill>
              <a:ln w="2991" cap="flat">
                <a:noFill/>
                <a:prstDash val="solid"/>
                <a:miter/>
              </a:ln>
            </p:spPr>
            <p:txBody>
              <a:bodyPr rtlCol="0" anchor="ctr"/>
              <a:lstStyle/>
              <a:p>
                <a:endParaRPr lang="en-GB" dirty="0"/>
              </a:p>
            </p:txBody>
          </p:sp>
        </p:grpSp>
        <p:grpSp>
          <p:nvGrpSpPr>
            <p:cNvPr id="434" name="Group 1095">
              <a:extLst>
                <a:ext uri="{FF2B5EF4-FFF2-40B4-BE49-F238E27FC236}">
                  <a16:creationId xmlns:a16="http://schemas.microsoft.com/office/drawing/2014/main" id="{10624E1A-27B4-4B2D-A138-7F8A25F09AEB}"/>
                </a:ext>
              </a:extLst>
            </p:cNvPr>
            <p:cNvGrpSpPr/>
            <p:nvPr/>
          </p:nvGrpSpPr>
          <p:grpSpPr>
            <a:xfrm>
              <a:off x="2727212" y="4228071"/>
              <a:ext cx="158880" cy="158880"/>
              <a:chOff x="2727212" y="4228071"/>
              <a:chExt cx="158880" cy="158880"/>
            </a:xfrm>
          </p:grpSpPr>
          <p:sp>
            <p:nvSpPr>
              <p:cNvPr id="435" name="Freihandform: Form 434">
                <a:extLst>
                  <a:ext uri="{FF2B5EF4-FFF2-40B4-BE49-F238E27FC236}">
                    <a16:creationId xmlns:a16="http://schemas.microsoft.com/office/drawing/2014/main" id="{72799BD3-5213-4E81-A09F-36B2D497CCE6}"/>
                  </a:ext>
                </a:extLst>
              </p:cNvPr>
              <p:cNvSpPr/>
              <p:nvPr/>
            </p:nvSpPr>
            <p:spPr>
              <a:xfrm>
                <a:off x="2727212" y="4228071"/>
                <a:ext cx="158880" cy="158880"/>
              </a:xfrm>
              <a:custGeom>
                <a:avLst/>
                <a:gdLst>
                  <a:gd name="connsiteX0" fmla="*/ 79440 w 158880"/>
                  <a:gd name="connsiteY0" fmla="*/ 158880 h 158880"/>
                  <a:gd name="connsiteX1" fmla="*/ 0 w 158880"/>
                  <a:gd name="connsiteY1" fmla="*/ 79440 h 158880"/>
                  <a:gd name="connsiteX2" fmla="*/ 79440 w 158880"/>
                  <a:gd name="connsiteY2" fmla="*/ 0 h 158880"/>
                  <a:gd name="connsiteX3" fmla="*/ 158880 w 158880"/>
                  <a:gd name="connsiteY3" fmla="*/ 79440 h 158880"/>
                  <a:gd name="connsiteX4" fmla="*/ 79440 w 158880"/>
                  <a:gd name="connsiteY4" fmla="*/ 158880 h 158880"/>
                  <a:gd name="connsiteX5" fmla="*/ 79440 w 158880"/>
                  <a:gd name="connsiteY5" fmla="*/ 13265 h 158880"/>
                  <a:gd name="connsiteX6" fmla="*/ 13235 w 158880"/>
                  <a:gd name="connsiteY6" fmla="*/ 79470 h 158880"/>
                  <a:gd name="connsiteX7" fmla="*/ 79440 w 158880"/>
                  <a:gd name="connsiteY7" fmla="*/ 145675 h 158880"/>
                  <a:gd name="connsiteX8" fmla="*/ 145645 w 158880"/>
                  <a:gd name="connsiteY8" fmla="*/ 79470 h 158880"/>
                  <a:gd name="connsiteX9" fmla="*/ 79440 w 158880"/>
                  <a:gd name="connsiteY9" fmla="*/ 13265 h 15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880" h="158880">
                    <a:moveTo>
                      <a:pt x="79440" y="158880"/>
                    </a:moveTo>
                    <a:cubicBezTo>
                      <a:pt x="35633" y="158880"/>
                      <a:pt x="0" y="123248"/>
                      <a:pt x="0" y="79440"/>
                    </a:cubicBezTo>
                    <a:cubicBezTo>
                      <a:pt x="0" y="35633"/>
                      <a:pt x="35633" y="0"/>
                      <a:pt x="79440" y="0"/>
                    </a:cubicBezTo>
                    <a:cubicBezTo>
                      <a:pt x="123247" y="0"/>
                      <a:pt x="158880" y="35633"/>
                      <a:pt x="158880" y="79440"/>
                    </a:cubicBezTo>
                    <a:cubicBezTo>
                      <a:pt x="158880" y="123248"/>
                      <a:pt x="123218" y="158880"/>
                      <a:pt x="79440" y="158880"/>
                    </a:cubicBezTo>
                    <a:close/>
                    <a:moveTo>
                      <a:pt x="79440" y="13265"/>
                    </a:moveTo>
                    <a:cubicBezTo>
                      <a:pt x="42939" y="13265"/>
                      <a:pt x="13235" y="42969"/>
                      <a:pt x="13235" y="79470"/>
                    </a:cubicBezTo>
                    <a:cubicBezTo>
                      <a:pt x="13235" y="115971"/>
                      <a:pt x="42939" y="145675"/>
                      <a:pt x="79440" y="145675"/>
                    </a:cubicBezTo>
                    <a:cubicBezTo>
                      <a:pt x="115941" y="145675"/>
                      <a:pt x="145645" y="115971"/>
                      <a:pt x="145645" y="79470"/>
                    </a:cubicBezTo>
                    <a:cubicBezTo>
                      <a:pt x="145645" y="42969"/>
                      <a:pt x="115941" y="13265"/>
                      <a:pt x="79440" y="13265"/>
                    </a:cubicBezTo>
                    <a:close/>
                  </a:path>
                </a:pathLst>
              </a:custGeom>
              <a:solidFill>
                <a:schemeClr val="accent1"/>
              </a:solidFill>
              <a:ln w="2991" cap="flat">
                <a:noFill/>
                <a:prstDash val="solid"/>
                <a:miter/>
              </a:ln>
            </p:spPr>
            <p:txBody>
              <a:bodyPr rtlCol="0" anchor="ctr"/>
              <a:lstStyle/>
              <a:p>
                <a:endParaRPr lang="en-GB" dirty="0"/>
              </a:p>
            </p:txBody>
          </p:sp>
          <p:sp>
            <p:nvSpPr>
              <p:cNvPr id="436" name="Freihandform: Form 435">
                <a:extLst>
                  <a:ext uri="{FF2B5EF4-FFF2-40B4-BE49-F238E27FC236}">
                    <a16:creationId xmlns:a16="http://schemas.microsoft.com/office/drawing/2014/main" id="{29F0BAA0-15A7-42E7-89FF-0D279A611868}"/>
                  </a:ext>
                </a:extLst>
              </p:cNvPr>
              <p:cNvSpPr/>
              <p:nvPr/>
            </p:nvSpPr>
            <p:spPr>
              <a:xfrm>
                <a:off x="2793417" y="4284724"/>
                <a:ext cx="27937" cy="13235"/>
              </a:xfrm>
              <a:custGeom>
                <a:avLst/>
                <a:gdLst>
                  <a:gd name="connsiteX0" fmla="*/ 21320 w 27937"/>
                  <a:gd name="connsiteY0" fmla="*/ 13235 h 13235"/>
                  <a:gd name="connsiteX1" fmla="*/ 6617 w 27937"/>
                  <a:gd name="connsiteY1" fmla="*/ 13235 h 13235"/>
                  <a:gd name="connsiteX2" fmla="*/ 0 w 27937"/>
                  <a:gd name="connsiteY2" fmla="*/ 6618 h 13235"/>
                  <a:gd name="connsiteX3" fmla="*/ 6617 w 27937"/>
                  <a:gd name="connsiteY3" fmla="*/ 0 h 13235"/>
                  <a:gd name="connsiteX4" fmla="*/ 21320 w 27937"/>
                  <a:gd name="connsiteY4" fmla="*/ 0 h 13235"/>
                  <a:gd name="connsiteX5" fmla="*/ 27937 w 27937"/>
                  <a:gd name="connsiteY5" fmla="*/ 6618 h 13235"/>
                  <a:gd name="connsiteX6" fmla="*/ 21320 w 27937"/>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37" h="13235">
                    <a:moveTo>
                      <a:pt x="21320" y="13235"/>
                    </a:moveTo>
                    <a:lnTo>
                      <a:pt x="6617" y="13235"/>
                    </a:lnTo>
                    <a:cubicBezTo>
                      <a:pt x="2964" y="13235"/>
                      <a:pt x="0" y="10271"/>
                      <a:pt x="0" y="6618"/>
                    </a:cubicBezTo>
                    <a:cubicBezTo>
                      <a:pt x="0" y="2965"/>
                      <a:pt x="2964" y="0"/>
                      <a:pt x="6617" y="0"/>
                    </a:cubicBezTo>
                    <a:lnTo>
                      <a:pt x="21320" y="0"/>
                    </a:lnTo>
                    <a:cubicBezTo>
                      <a:pt x="24973" y="0"/>
                      <a:pt x="27937" y="2965"/>
                      <a:pt x="27937" y="6618"/>
                    </a:cubicBezTo>
                    <a:cubicBezTo>
                      <a:pt x="27937" y="10301"/>
                      <a:pt x="24973" y="13235"/>
                      <a:pt x="21320" y="13235"/>
                    </a:cubicBezTo>
                    <a:close/>
                  </a:path>
                </a:pathLst>
              </a:custGeom>
              <a:solidFill>
                <a:schemeClr val="accent1"/>
              </a:solidFill>
              <a:ln w="2991" cap="flat">
                <a:noFill/>
                <a:prstDash val="solid"/>
                <a:miter/>
              </a:ln>
            </p:spPr>
            <p:txBody>
              <a:bodyPr rtlCol="0" anchor="ctr"/>
              <a:lstStyle/>
              <a:p>
                <a:endParaRPr lang="en-GB" dirty="0"/>
              </a:p>
            </p:txBody>
          </p:sp>
          <p:sp>
            <p:nvSpPr>
              <p:cNvPr id="437" name="Freihandform: Form 436">
                <a:extLst>
                  <a:ext uri="{FF2B5EF4-FFF2-40B4-BE49-F238E27FC236}">
                    <a16:creationId xmlns:a16="http://schemas.microsoft.com/office/drawing/2014/main" id="{BAC169E8-03F6-4648-ACD6-66661DA85363}"/>
                  </a:ext>
                </a:extLst>
              </p:cNvPr>
              <p:cNvSpPr/>
              <p:nvPr/>
            </p:nvSpPr>
            <p:spPr>
              <a:xfrm>
                <a:off x="2800034" y="4284754"/>
                <a:ext cx="13235" cy="69858"/>
              </a:xfrm>
              <a:custGeom>
                <a:avLst/>
                <a:gdLst>
                  <a:gd name="connsiteX0" fmla="*/ 6618 w 13235"/>
                  <a:gd name="connsiteY0" fmla="*/ 69858 h 69858"/>
                  <a:gd name="connsiteX1" fmla="*/ 0 w 13235"/>
                  <a:gd name="connsiteY1" fmla="*/ 63241 h 69858"/>
                  <a:gd name="connsiteX2" fmla="*/ 0 w 13235"/>
                  <a:gd name="connsiteY2" fmla="*/ 6618 h 69858"/>
                  <a:gd name="connsiteX3" fmla="*/ 6618 w 13235"/>
                  <a:gd name="connsiteY3" fmla="*/ 0 h 69858"/>
                  <a:gd name="connsiteX4" fmla="*/ 13235 w 13235"/>
                  <a:gd name="connsiteY4" fmla="*/ 6618 h 69858"/>
                  <a:gd name="connsiteX5" fmla="*/ 13235 w 13235"/>
                  <a:gd name="connsiteY5" fmla="*/ 63241 h 69858"/>
                  <a:gd name="connsiteX6" fmla="*/ 6618 w 13235"/>
                  <a:gd name="connsiteY6" fmla="*/ 69858 h 69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69858">
                    <a:moveTo>
                      <a:pt x="6618" y="69858"/>
                    </a:moveTo>
                    <a:cubicBezTo>
                      <a:pt x="2965" y="69858"/>
                      <a:pt x="0" y="66894"/>
                      <a:pt x="0" y="63241"/>
                    </a:cubicBezTo>
                    <a:lnTo>
                      <a:pt x="0" y="6618"/>
                    </a:lnTo>
                    <a:cubicBezTo>
                      <a:pt x="0" y="2964"/>
                      <a:pt x="2965" y="0"/>
                      <a:pt x="6618" y="0"/>
                    </a:cubicBezTo>
                    <a:cubicBezTo>
                      <a:pt x="10271" y="0"/>
                      <a:pt x="13235" y="2964"/>
                      <a:pt x="13235" y="6618"/>
                    </a:cubicBezTo>
                    <a:lnTo>
                      <a:pt x="13235" y="63241"/>
                    </a:lnTo>
                    <a:cubicBezTo>
                      <a:pt x="13235" y="66894"/>
                      <a:pt x="10271" y="69858"/>
                      <a:pt x="6618" y="69858"/>
                    </a:cubicBezTo>
                    <a:close/>
                  </a:path>
                </a:pathLst>
              </a:custGeom>
              <a:solidFill>
                <a:schemeClr val="accent1"/>
              </a:solidFill>
              <a:ln w="2991" cap="flat">
                <a:noFill/>
                <a:prstDash val="solid"/>
                <a:miter/>
              </a:ln>
            </p:spPr>
            <p:txBody>
              <a:bodyPr rtlCol="0" anchor="ctr"/>
              <a:lstStyle/>
              <a:p>
                <a:endParaRPr lang="en-GB" dirty="0"/>
              </a:p>
            </p:txBody>
          </p:sp>
          <p:sp>
            <p:nvSpPr>
              <p:cNvPr id="438" name="Freihandform: Form 437">
                <a:extLst>
                  <a:ext uri="{FF2B5EF4-FFF2-40B4-BE49-F238E27FC236}">
                    <a16:creationId xmlns:a16="http://schemas.microsoft.com/office/drawing/2014/main" id="{49A849D5-22D4-4C7C-B207-C49809D70831}"/>
                  </a:ext>
                </a:extLst>
              </p:cNvPr>
              <p:cNvSpPr/>
              <p:nvPr/>
            </p:nvSpPr>
            <p:spPr>
              <a:xfrm>
                <a:off x="2783835" y="4341378"/>
                <a:ext cx="45603" cy="13234"/>
              </a:xfrm>
              <a:custGeom>
                <a:avLst/>
                <a:gdLst>
                  <a:gd name="connsiteX0" fmla="*/ 38987 w 45603"/>
                  <a:gd name="connsiteY0" fmla="*/ 13235 h 13234"/>
                  <a:gd name="connsiteX1" fmla="*/ 6618 w 45603"/>
                  <a:gd name="connsiteY1" fmla="*/ 13235 h 13234"/>
                  <a:gd name="connsiteX2" fmla="*/ 0 w 45603"/>
                  <a:gd name="connsiteY2" fmla="*/ 6617 h 13234"/>
                  <a:gd name="connsiteX3" fmla="*/ 6618 w 45603"/>
                  <a:gd name="connsiteY3" fmla="*/ 0 h 13234"/>
                  <a:gd name="connsiteX4" fmla="*/ 38987 w 45603"/>
                  <a:gd name="connsiteY4" fmla="*/ 0 h 13234"/>
                  <a:gd name="connsiteX5" fmla="*/ 45604 w 45603"/>
                  <a:gd name="connsiteY5" fmla="*/ 6617 h 13234"/>
                  <a:gd name="connsiteX6" fmla="*/ 38987 w 45603"/>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603" h="13234">
                    <a:moveTo>
                      <a:pt x="38987" y="13235"/>
                    </a:moveTo>
                    <a:lnTo>
                      <a:pt x="6618" y="13235"/>
                    </a:lnTo>
                    <a:cubicBezTo>
                      <a:pt x="2964" y="13235"/>
                      <a:pt x="0" y="10271"/>
                      <a:pt x="0" y="6617"/>
                    </a:cubicBezTo>
                    <a:cubicBezTo>
                      <a:pt x="0" y="2964"/>
                      <a:pt x="2964" y="0"/>
                      <a:pt x="6618" y="0"/>
                    </a:cubicBezTo>
                    <a:lnTo>
                      <a:pt x="38987" y="0"/>
                    </a:lnTo>
                    <a:cubicBezTo>
                      <a:pt x="42640" y="0"/>
                      <a:pt x="45604" y="2964"/>
                      <a:pt x="45604" y="6617"/>
                    </a:cubicBezTo>
                    <a:cubicBezTo>
                      <a:pt x="45604" y="10271"/>
                      <a:pt x="42640" y="13235"/>
                      <a:pt x="38987" y="13235"/>
                    </a:cubicBezTo>
                    <a:close/>
                  </a:path>
                </a:pathLst>
              </a:custGeom>
              <a:solidFill>
                <a:schemeClr val="accent1"/>
              </a:solidFill>
              <a:ln w="2991" cap="flat">
                <a:noFill/>
                <a:prstDash val="solid"/>
                <a:miter/>
              </a:ln>
            </p:spPr>
            <p:txBody>
              <a:bodyPr rtlCol="0" anchor="ctr"/>
              <a:lstStyle/>
              <a:p>
                <a:endParaRPr lang="en-GB" dirty="0"/>
              </a:p>
            </p:txBody>
          </p:sp>
          <p:sp>
            <p:nvSpPr>
              <p:cNvPr id="439" name="Freihandform: Form 438">
                <a:extLst>
                  <a:ext uri="{FF2B5EF4-FFF2-40B4-BE49-F238E27FC236}">
                    <a16:creationId xmlns:a16="http://schemas.microsoft.com/office/drawing/2014/main" id="{41A9258B-3DC4-427D-A113-957719BF218C}"/>
                  </a:ext>
                </a:extLst>
              </p:cNvPr>
              <p:cNvSpPr/>
              <p:nvPr/>
            </p:nvSpPr>
            <p:spPr>
              <a:xfrm>
                <a:off x="2793417" y="4260470"/>
                <a:ext cx="27937" cy="13234"/>
              </a:xfrm>
              <a:custGeom>
                <a:avLst/>
                <a:gdLst>
                  <a:gd name="connsiteX0" fmla="*/ 21320 w 27937"/>
                  <a:gd name="connsiteY0" fmla="*/ 13235 h 13234"/>
                  <a:gd name="connsiteX1" fmla="*/ 6617 w 27937"/>
                  <a:gd name="connsiteY1" fmla="*/ 13235 h 13234"/>
                  <a:gd name="connsiteX2" fmla="*/ 0 w 27937"/>
                  <a:gd name="connsiteY2" fmla="*/ 6618 h 13234"/>
                  <a:gd name="connsiteX3" fmla="*/ 6617 w 27937"/>
                  <a:gd name="connsiteY3" fmla="*/ 0 h 13234"/>
                  <a:gd name="connsiteX4" fmla="*/ 21320 w 27937"/>
                  <a:gd name="connsiteY4" fmla="*/ 0 h 13234"/>
                  <a:gd name="connsiteX5" fmla="*/ 27937 w 27937"/>
                  <a:gd name="connsiteY5" fmla="*/ 6618 h 13234"/>
                  <a:gd name="connsiteX6" fmla="*/ 21320 w 27937"/>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37" h="13234">
                    <a:moveTo>
                      <a:pt x="21320" y="13235"/>
                    </a:moveTo>
                    <a:lnTo>
                      <a:pt x="6617" y="13235"/>
                    </a:lnTo>
                    <a:cubicBezTo>
                      <a:pt x="2964" y="13235"/>
                      <a:pt x="0" y="10271"/>
                      <a:pt x="0" y="6618"/>
                    </a:cubicBezTo>
                    <a:cubicBezTo>
                      <a:pt x="0" y="2964"/>
                      <a:pt x="2964" y="0"/>
                      <a:pt x="6617" y="0"/>
                    </a:cubicBezTo>
                    <a:lnTo>
                      <a:pt x="21320" y="0"/>
                    </a:lnTo>
                    <a:cubicBezTo>
                      <a:pt x="24973" y="0"/>
                      <a:pt x="27937" y="2964"/>
                      <a:pt x="27937" y="6618"/>
                    </a:cubicBezTo>
                    <a:cubicBezTo>
                      <a:pt x="27937" y="10271"/>
                      <a:pt x="24973" y="13235"/>
                      <a:pt x="21320" y="13235"/>
                    </a:cubicBezTo>
                    <a:close/>
                  </a:path>
                </a:pathLst>
              </a:custGeom>
              <a:solidFill>
                <a:schemeClr val="accent1"/>
              </a:solidFill>
              <a:ln w="2991" cap="flat">
                <a:noFill/>
                <a:prstDash val="solid"/>
                <a:miter/>
              </a:ln>
            </p:spPr>
            <p:txBody>
              <a:bodyPr rtlCol="0" anchor="ctr"/>
              <a:lstStyle/>
              <a:p>
                <a:endParaRPr lang="en-GB" dirty="0"/>
              </a:p>
            </p:txBody>
          </p:sp>
        </p:grpSp>
      </p:grpSp>
      <p:sp>
        <p:nvSpPr>
          <p:cNvPr id="443" name="TextBox 1399">
            <a:extLst>
              <a:ext uri="{FF2B5EF4-FFF2-40B4-BE49-F238E27FC236}">
                <a16:creationId xmlns:a16="http://schemas.microsoft.com/office/drawing/2014/main" id="{9A2540C4-90F4-43B3-B823-197E1E2F3181}"/>
              </a:ext>
            </a:extLst>
          </p:cNvPr>
          <p:cNvSpPr txBox="1"/>
          <p:nvPr/>
        </p:nvSpPr>
        <p:spPr>
          <a:xfrm>
            <a:off x="2629239" y="2077494"/>
            <a:ext cx="511358" cy="215444"/>
          </a:xfrm>
          <a:prstGeom prst="rect">
            <a:avLst/>
          </a:prstGeom>
          <a:noFill/>
          <a:effectLst/>
        </p:spPr>
        <p:txBody>
          <a:bodyPr wrap="none" lIns="0" tIns="0" rIns="0" bIns="0" rtlCol="0" anchor="t">
            <a:spAutoFit/>
          </a:bodyPr>
          <a:lstStyle/>
          <a:p>
            <a:pPr algn="ctr"/>
            <a:r>
              <a:rPr lang="en-GB" sz="700" dirty="0">
                <a:solidFill>
                  <a:schemeClr val="tx2"/>
                </a:solidFill>
              </a:rPr>
              <a:t>Social media</a:t>
            </a:r>
            <a:br>
              <a:rPr lang="en-GB" sz="700" dirty="0">
                <a:solidFill>
                  <a:schemeClr val="tx2"/>
                </a:solidFill>
              </a:rPr>
            </a:br>
            <a:r>
              <a:rPr lang="en-GB" sz="700" dirty="0">
                <a:solidFill>
                  <a:schemeClr val="tx2"/>
                </a:solidFill>
              </a:rPr>
              <a:t>engagement</a:t>
            </a:r>
          </a:p>
        </p:txBody>
      </p:sp>
      <p:sp>
        <p:nvSpPr>
          <p:cNvPr id="444" name="TextBox 1403">
            <a:extLst>
              <a:ext uri="{FF2B5EF4-FFF2-40B4-BE49-F238E27FC236}">
                <a16:creationId xmlns:a16="http://schemas.microsoft.com/office/drawing/2014/main" id="{64F7A315-AD27-492A-BEE4-4BA478ECC56E}"/>
              </a:ext>
            </a:extLst>
          </p:cNvPr>
          <p:cNvSpPr txBox="1"/>
          <p:nvPr/>
        </p:nvSpPr>
        <p:spPr>
          <a:xfrm>
            <a:off x="2694161" y="2899619"/>
            <a:ext cx="381515" cy="107722"/>
          </a:xfrm>
          <a:prstGeom prst="rect">
            <a:avLst/>
          </a:prstGeom>
          <a:noFill/>
          <a:effectLst/>
        </p:spPr>
        <p:txBody>
          <a:bodyPr wrap="none" lIns="0" tIns="0" rIns="0" bIns="0" rtlCol="0" anchor="t">
            <a:spAutoFit/>
          </a:bodyPr>
          <a:lstStyle/>
          <a:p>
            <a:pPr algn="ctr"/>
            <a:r>
              <a:rPr lang="en-GB" sz="700" dirty="0">
                <a:solidFill>
                  <a:schemeClr val="tx2"/>
                </a:solidFill>
              </a:rPr>
              <a:t>Followers</a:t>
            </a:r>
          </a:p>
        </p:txBody>
      </p:sp>
      <p:sp>
        <p:nvSpPr>
          <p:cNvPr id="445" name="TextBox 1409">
            <a:extLst>
              <a:ext uri="{FF2B5EF4-FFF2-40B4-BE49-F238E27FC236}">
                <a16:creationId xmlns:a16="http://schemas.microsoft.com/office/drawing/2014/main" id="{AF8910D3-9FDA-4F6E-AAAC-E2695535E37B}"/>
              </a:ext>
            </a:extLst>
          </p:cNvPr>
          <p:cNvSpPr txBox="1"/>
          <p:nvPr/>
        </p:nvSpPr>
        <p:spPr>
          <a:xfrm>
            <a:off x="2731030" y="4547732"/>
            <a:ext cx="307777" cy="215444"/>
          </a:xfrm>
          <a:prstGeom prst="rect">
            <a:avLst/>
          </a:prstGeom>
          <a:noFill/>
          <a:effectLst/>
        </p:spPr>
        <p:txBody>
          <a:bodyPr wrap="none" lIns="0" tIns="0" rIns="0" bIns="0" rtlCol="0" anchor="t">
            <a:spAutoFit/>
          </a:bodyPr>
          <a:lstStyle/>
          <a:p>
            <a:pPr algn="ctr"/>
            <a:r>
              <a:rPr lang="en-GB" sz="700" dirty="0">
                <a:solidFill>
                  <a:schemeClr val="tx2"/>
                </a:solidFill>
              </a:rPr>
              <a:t>Original</a:t>
            </a:r>
            <a:br>
              <a:rPr lang="en-GB" sz="700" dirty="0">
                <a:solidFill>
                  <a:schemeClr val="tx2"/>
                </a:solidFill>
              </a:rPr>
            </a:br>
            <a:r>
              <a:rPr lang="en-GB" sz="700" dirty="0">
                <a:solidFill>
                  <a:schemeClr val="tx2"/>
                </a:solidFill>
              </a:rPr>
              <a:t>content</a:t>
            </a:r>
          </a:p>
        </p:txBody>
      </p:sp>
      <p:sp>
        <p:nvSpPr>
          <p:cNvPr id="446" name="TextBox 1411">
            <a:extLst>
              <a:ext uri="{FF2B5EF4-FFF2-40B4-BE49-F238E27FC236}">
                <a16:creationId xmlns:a16="http://schemas.microsoft.com/office/drawing/2014/main" id="{17AAD425-19C0-4D32-BD29-91438E90E021}"/>
              </a:ext>
            </a:extLst>
          </p:cNvPr>
          <p:cNvSpPr txBox="1"/>
          <p:nvPr/>
        </p:nvSpPr>
        <p:spPr>
          <a:xfrm>
            <a:off x="2775914" y="3723675"/>
            <a:ext cx="218008" cy="107722"/>
          </a:xfrm>
          <a:prstGeom prst="rect">
            <a:avLst/>
          </a:prstGeom>
          <a:noFill/>
          <a:effectLst/>
        </p:spPr>
        <p:txBody>
          <a:bodyPr wrap="none" lIns="0" tIns="0" rIns="0" bIns="0" rtlCol="0" anchor="t">
            <a:spAutoFit/>
          </a:bodyPr>
          <a:lstStyle/>
          <a:p>
            <a:pPr algn="ctr"/>
            <a:r>
              <a:rPr lang="en-GB" sz="700" dirty="0">
                <a:solidFill>
                  <a:schemeClr val="tx2"/>
                </a:solidFill>
              </a:rPr>
              <a:t>Topic</a:t>
            </a:r>
          </a:p>
        </p:txBody>
      </p:sp>
      <p:grpSp>
        <p:nvGrpSpPr>
          <p:cNvPr id="16" name="Group 15">
            <a:extLst>
              <a:ext uri="{FF2B5EF4-FFF2-40B4-BE49-F238E27FC236}">
                <a16:creationId xmlns:a16="http://schemas.microsoft.com/office/drawing/2014/main" id="{27C5356B-042F-24A0-ECD1-319DFBA09228}"/>
              </a:ext>
            </a:extLst>
          </p:cNvPr>
          <p:cNvGrpSpPr/>
          <p:nvPr/>
        </p:nvGrpSpPr>
        <p:grpSpPr>
          <a:xfrm>
            <a:off x="1576685" y="4097454"/>
            <a:ext cx="525598" cy="432000"/>
            <a:chOff x="1576685" y="4097454"/>
            <a:chExt cx="525598" cy="432000"/>
          </a:xfrm>
        </p:grpSpPr>
        <p:grpSp>
          <p:nvGrpSpPr>
            <p:cNvPr id="448" name="Grafik 306">
              <a:extLst>
                <a:ext uri="{FF2B5EF4-FFF2-40B4-BE49-F238E27FC236}">
                  <a16:creationId xmlns:a16="http://schemas.microsoft.com/office/drawing/2014/main" id="{0B916791-7F51-40DD-9704-8855CEC9706A}"/>
                </a:ext>
              </a:extLst>
            </p:cNvPr>
            <p:cNvGrpSpPr/>
            <p:nvPr/>
          </p:nvGrpSpPr>
          <p:grpSpPr>
            <a:xfrm>
              <a:off x="1660952" y="4232484"/>
              <a:ext cx="309543" cy="175199"/>
              <a:chOff x="1817737" y="4204416"/>
              <a:chExt cx="257274" cy="145615"/>
            </a:xfrm>
            <a:solidFill>
              <a:schemeClr val="accent1"/>
            </a:solidFill>
          </p:grpSpPr>
          <p:sp>
            <p:nvSpPr>
              <p:cNvPr id="454" name="Freihandform: Form 453">
                <a:extLst>
                  <a:ext uri="{FF2B5EF4-FFF2-40B4-BE49-F238E27FC236}">
                    <a16:creationId xmlns:a16="http://schemas.microsoft.com/office/drawing/2014/main" id="{5E7A5C72-10D3-484E-998D-AAB70E0F1535}"/>
                  </a:ext>
                </a:extLst>
              </p:cNvPr>
              <p:cNvSpPr/>
              <p:nvPr/>
            </p:nvSpPr>
            <p:spPr>
              <a:xfrm>
                <a:off x="1817737" y="4204416"/>
                <a:ext cx="257274" cy="145615"/>
              </a:xfrm>
              <a:custGeom>
                <a:avLst/>
                <a:gdLst>
                  <a:gd name="connsiteX0" fmla="*/ 128637 w 257274"/>
                  <a:gd name="connsiteY0" fmla="*/ 145615 h 145615"/>
                  <a:gd name="connsiteX1" fmla="*/ 1078 w 257274"/>
                  <a:gd name="connsiteY1" fmla="*/ 76416 h 145615"/>
                  <a:gd name="connsiteX2" fmla="*/ 1078 w 257274"/>
                  <a:gd name="connsiteY2" fmla="*/ 69199 h 145615"/>
                  <a:gd name="connsiteX3" fmla="*/ 128637 w 257274"/>
                  <a:gd name="connsiteY3" fmla="*/ 0 h 145615"/>
                  <a:gd name="connsiteX4" fmla="*/ 256197 w 257274"/>
                  <a:gd name="connsiteY4" fmla="*/ 69199 h 145615"/>
                  <a:gd name="connsiteX5" fmla="*/ 256197 w 257274"/>
                  <a:gd name="connsiteY5" fmla="*/ 76416 h 145615"/>
                  <a:gd name="connsiteX6" fmla="*/ 128637 w 257274"/>
                  <a:gd name="connsiteY6" fmla="*/ 145615 h 145615"/>
                  <a:gd name="connsiteX7" fmla="*/ 14612 w 257274"/>
                  <a:gd name="connsiteY7" fmla="*/ 72822 h 145615"/>
                  <a:gd name="connsiteX8" fmla="*/ 128667 w 257274"/>
                  <a:gd name="connsiteY8" fmla="*/ 132380 h 145615"/>
                  <a:gd name="connsiteX9" fmla="*/ 242722 w 257274"/>
                  <a:gd name="connsiteY9" fmla="*/ 72822 h 145615"/>
                  <a:gd name="connsiteX10" fmla="*/ 128667 w 257274"/>
                  <a:gd name="connsiteY10" fmla="*/ 13265 h 145615"/>
                  <a:gd name="connsiteX11" fmla="*/ 14612 w 257274"/>
                  <a:gd name="connsiteY11" fmla="*/ 72822 h 14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7274" h="145615">
                    <a:moveTo>
                      <a:pt x="128637" y="145615"/>
                    </a:moveTo>
                    <a:cubicBezTo>
                      <a:pt x="77015" y="145615"/>
                      <a:pt x="29345" y="119744"/>
                      <a:pt x="1078" y="76416"/>
                    </a:cubicBezTo>
                    <a:cubicBezTo>
                      <a:pt x="-359" y="74230"/>
                      <a:pt x="-359" y="71385"/>
                      <a:pt x="1078" y="69199"/>
                    </a:cubicBezTo>
                    <a:cubicBezTo>
                      <a:pt x="29345" y="25871"/>
                      <a:pt x="77015" y="0"/>
                      <a:pt x="128637" y="0"/>
                    </a:cubicBezTo>
                    <a:cubicBezTo>
                      <a:pt x="180260" y="0"/>
                      <a:pt x="227960" y="25871"/>
                      <a:pt x="256197" y="69199"/>
                    </a:cubicBezTo>
                    <a:cubicBezTo>
                      <a:pt x="257634" y="71385"/>
                      <a:pt x="257634" y="74230"/>
                      <a:pt x="256197" y="76416"/>
                    </a:cubicBezTo>
                    <a:cubicBezTo>
                      <a:pt x="227960" y="119744"/>
                      <a:pt x="180260" y="145615"/>
                      <a:pt x="128637" y="145615"/>
                    </a:cubicBezTo>
                    <a:close/>
                    <a:moveTo>
                      <a:pt x="14612" y="72822"/>
                    </a:moveTo>
                    <a:cubicBezTo>
                      <a:pt x="40663" y="110222"/>
                      <a:pt x="82974" y="132380"/>
                      <a:pt x="128667" y="132380"/>
                    </a:cubicBezTo>
                    <a:cubicBezTo>
                      <a:pt x="174331" y="132380"/>
                      <a:pt x="216641" y="110192"/>
                      <a:pt x="242722" y="72822"/>
                    </a:cubicBezTo>
                    <a:cubicBezTo>
                      <a:pt x="216671" y="35423"/>
                      <a:pt x="174361" y="13265"/>
                      <a:pt x="128667" y="13265"/>
                    </a:cubicBezTo>
                    <a:cubicBezTo>
                      <a:pt x="82974" y="13235"/>
                      <a:pt x="40663" y="35423"/>
                      <a:pt x="14612" y="72822"/>
                    </a:cubicBezTo>
                    <a:close/>
                  </a:path>
                </a:pathLst>
              </a:custGeom>
              <a:solidFill>
                <a:schemeClr val="accent1"/>
              </a:solidFill>
              <a:ln w="2991" cap="flat">
                <a:noFill/>
                <a:prstDash val="solid"/>
                <a:miter/>
              </a:ln>
            </p:spPr>
            <p:txBody>
              <a:bodyPr rtlCol="0" anchor="ctr"/>
              <a:lstStyle/>
              <a:p>
                <a:endParaRPr lang="en-GB" dirty="0"/>
              </a:p>
            </p:txBody>
          </p:sp>
          <p:sp>
            <p:nvSpPr>
              <p:cNvPr id="455" name="Freihandform: Form 454">
                <a:extLst>
                  <a:ext uri="{FF2B5EF4-FFF2-40B4-BE49-F238E27FC236}">
                    <a16:creationId xmlns:a16="http://schemas.microsoft.com/office/drawing/2014/main" id="{A23B4D31-A51B-4763-B992-DDF112ECD4E4}"/>
                  </a:ext>
                </a:extLst>
              </p:cNvPr>
              <p:cNvSpPr/>
              <p:nvPr/>
            </p:nvSpPr>
            <p:spPr>
              <a:xfrm>
                <a:off x="1906669" y="4237533"/>
                <a:ext cx="79410" cy="79410"/>
              </a:xfrm>
              <a:custGeom>
                <a:avLst/>
                <a:gdLst>
                  <a:gd name="connsiteX0" fmla="*/ 39705 w 79410"/>
                  <a:gd name="connsiteY0" fmla="*/ 79410 h 79410"/>
                  <a:gd name="connsiteX1" fmla="*/ 0 w 79410"/>
                  <a:gd name="connsiteY1" fmla="*/ 39705 h 79410"/>
                  <a:gd name="connsiteX2" fmla="*/ 39705 w 79410"/>
                  <a:gd name="connsiteY2" fmla="*/ 0 h 79410"/>
                  <a:gd name="connsiteX3" fmla="*/ 79410 w 79410"/>
                  <a:gd name="connsiteY3" fmla="*/ 39705 h 79410"/>
                  <a:gd name="connsiteX4" fmla="*/ 39705 w 79410"/>
                  <a:gd name="connsiteY4" fmla="*/ 79410 h 79410"/>
                  <a:gd name="connsiteX5" fmla="*/ 39705 w 79410"/>
                  <a:gd name="connsiteY5" fmla="*/ 13205 h 79410"/>
                  <a:gd name="connsiteX6" fmla="*/ 13235 w 79410"/>
                  <a:gd name="connsiteY6" fmla="*/ 39675 h 79410"/>
                  <a:gd name="connsiteX7" fmla="*/ 39705 w 79410"/>
                  <a:gd name="connsiteY7" fmla="*/ 66145 h 79410"/>
                  <a:gd name="connsiteX8" fmla="*/ 66175 w 79410"/>
                  <a:gd name="connsiteY8" fmla="*/ 39675 h 79410"/>
                  <a:gd name="connsiteX9" fmla="*/ 39705 w 79410"/>
                  <a:gd name="connsiteY9" fmla="*/ 13205 h 7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410" h="79410">
                    <a:moveTo>
                      <a:pt x="39705" y="79410"/>
                    </a:moveTo>
                    <a:cubicBezTo>
                      <a:pt x="17816" y="79410"/>
                      <a:pt x="0" y="61594"/>
                      <a:pt x="0" y="39705"/>
                    </a:cubicBezTo>
                    <a:cubicBezTo>
                      <a:pt x="0" y="17816"/>
                      <a:pt x="17816" y="0"/>
                      <a:pt x="39705" y="0"/>
                    </a:cubicBezTo>
                    <a:cubicBezTo>
                      <a:pt x="61594" y="0"/>
                      <a:pt x="79410" y="17816"/>
                      <a:pt x="79410" y="39705"/>
                    </a:cubicBezTo>
                    <a:cubicBezTo>
                      <a:pt x="79410" y="61594"/>
                      <a:pt x="61594" y="79410"/>
                      <a:pt x="39705" y="79410"/>
                    </a:cubicBezTo>
                    <a:close/>
                    <a:moveTo>
                      <a:pt x="39705" y="13205"/>
                    </a:moveTo>
                    <a:cubicBezTo>
                      <a:pt x="25093" y="13205"/>
                      <a:pt x="13235" y="25093"/>
                      <a:pt x="13235" y="39675"/>
                    </a:cubicBezTo>
                    <a:cubicBezTo>
                      <a:pt x="13235" y="54258"/>
                      <a:pt x="25123" y="66145"/>
                      <a:pt x="39705" y="66145"/>
                    </a:cubicBezTo>
                    <a:cubicBezTo>
                      <a:pt x="54288" y="66145"/>
                      <a:pt x="66175" y="54258"/>
                      <a:pt x="66175" y="39675"/>
                    </a:cubicBezTo>
                    <a:cubicBezTo>
                      <a:pt x="66175" y="25093"/>
                      <a:pt x="54318" y="13205"/>
                      <a:pt x="39705" y="13205"/>
                    </a:cubicBezTo>
                    <a:close/>
                  </a:path>
                </a:pathLst>
              </a:custGeom>
              <a:solidFill>
                <a:schemeClr val="accent1"/>
              </a:solidFill>
              <a:ln w="2991" cap="flat">
                <a:noFill/>
                <a:prstDash val="solid"/>
                <a:miter/>
              </a:ln>
            </p:spPr>
            <p:txBody>
              <a:bodyPr rtlCol="0" anchor="ctr"/>
              <a:lstStyle/>
              <a:p>
                <a:endParaRPr lang="en-GB" dirty="0"/>
              </a:p>
            </p:txBody>
          </p:sp>
        </p:grpSp>
        <p:grpSp>
          <p:nvGrpSpPr>
            <p:cNvPr id="449" name="Group 1092">
              <a:extLst>
                <a:ext uri="{FF2B5EF4-FFF2-40B4-BE49-F238E27FC236}">
                  <a16:creationId xmlns:a16="http://schemas.microsoft.com/office/drawing/2014/main" id="{B8420F06-1B7C-4EF3-ABF7-1BB18C9B772F}"/>
                </a:ext>
              </a:extLst>
            </p:cNvPr>
            <p:cNvGrpSpPr/>
            <p:nvPr/>
          </p:nvGrpSpPr>
          <p:grpSpPr>
            <a:xfrm>
              <a:off x="1576685" y="4097454"/>
              <a:ext cx="525598" cy="432000"/>
              <a:chOff x="1747699" y="4092187"/>
              <a:chExt cx="436846" cy="359053"/>
            </a:xfrm>
            <a:solidFill>
              <a:schemeClr val="tx2"/>
            </a:solidFill>
          </p:grpSpPr>
          <p:grpSp>
            <p:nvGrpSpPr>
              <p:cNvPr id="450" name="Grafik 306">
                <a:extLst>
                  <a:ext uri="{FF2B5EF4-FFF2-40B4-BE49-F238E27FC236}">
                    <a16:creationId xmlns:a16="http://schemas.microsoft.com/office/drawing/2014/main" id="{953C4334-8CBC-4F70-A670-FF263A433549}"/>
                  </a:ext>
                </a:extLst>
              </p:cNvPr>
              <p:cNvGrpSpPr/>
              <p:nvPr/>
            </p:nvGrpSpPr>
            <p:grpSpPr>
              <a:xfrm>
                <a:off x="1747699" y="4092187"/>
                <a:ext cx="397141" cy="317700"/>
                <a:chOff x="1747699" y="4092187"/>
                <a:chExt cx="397141" cy="317700"/>
              </a:xfrm>
              <a:grpFill/>
            </p:grpSpPr>
            <p:sp>
              <p:nvSpPr>
                <p:cNvPr id="452" name="Freihandform: Form 451">
                  <a:extLst>
                    <a:ext uri="{FF2B5EF4-FFF2-40B4-BE49-F238E27FC236}">
                      <a16:creationId xmlns:a16="http://schemas.microsoft.com/office/drawing/2014/main" id="{82A53069-1EE2-401B-BB35-95CA34ADFC7F}"/>
                    </a:ext>
                  </a:extLst>
                </p:cNvPr>
                <p:cNvSpPr/>
                <p:nvPr/>
              </p:nvSpPr>
              <p:spPr>
                <a:xfrm>
                  <a:off x="1747699" y="4092187"/>
                  <a:ext cx="397141" cy="317700"/>
                </a:xfrm>
                <a:custGeom>
                  <a:avLst/>
                  <a:gdLst>
                    <a:gd name="connsiteX0" fmla="*/ 357406 w 397141"/>
                    <a:gd name="connsiteY0" fmla="*/ 317701 h 317700"/>
                    <a:gd name="connsiteX1" fmla="*/ 39705 w 397141"/>
                    <a:gd name="connsiteY1" fmla="*/ 317701 h 317700"/>
                    <a:gd name="connsiteX2" fmla="*/ 0 w 397141"/>
                    <a:gd name="connsiteY2" fmla="*/ 277996 h 317700"/>
                    <a:gd name="connsiteX3" fmla="*/ 0 w 397141"/>
                    <a:gd name="connsiteY3" fmla="*/ 39705 h 317700"/>
                    <a:gd name="connsiteX4" fmla="*/ 39705 w 397141"/>
                    <a:gd name="connsiteY4" fmla="*/ 0 h 317700"/>
                    <a:gd name="connsiteX5" fmla="*/ 357436 w 397141"/>
                    <a:gd name="connsiteY5" fmla="*/ 0 h 317700"/>
                    <a:gd name="connsiteX6" fmla="*/ 397141 w 397141"/>
                    <a:gd name="connsiteY6" fmla="*/ 39705 h 317700"/>
                    <a:gd name="connsiteX7" fmla="*/ 397141 w 397141"/>
                    <a:gd name="connsiteY7" fmla="*/ 277996 h 317700"/>
                    <a:gd name="connsiteX8" fmla="*/ 357406 w 397141"/>
                    <a:gd name="connsiteY8" fmla="*/ 317701 h 317700"/>
                    <a:gd name="connsiteX9" fmla="*/ 39705 w 397141"/>
                    <a:gd name="connsiteY9" fmla="*/ 13205 h 317700"/>
                    <a:gd name="connsiteX10" fmla="*/ 13235 w 397141"/>
                    <a:gd name="connsiteY10" fmla="*/ 39675 h 317700"/>
                    <a:gd name="connsiteX11" fmla="*/ 13235 w 397141"/>
                    <a:gd name="connsiteY11" fmla="*/ 277966 h 317700"/>
                    <a:gd name="connsiteX12" fmla="*/ 39705 w 397141"/>
                    <a:gd name="connsiteY12" fmla="*/ 304436 h 317700"/>
                    <a:gd name="connsiteX13" fmla="*/ 357436 w 397141"/>
                    <a:gd name="connsiteY13" fmla="*/ 304436 h 317700"/>
                    <a:gd name="connsiteX14" fmla="*/ 383906 w 397141"/>
                    <a:gd name="connsiteY14" fmla="*/ 277966 h 317700"/>
                    <a:gd name="connsiteX15" fmla="*/ 383906 w 397141"/>
                    <a:gd name="connsiteY15" fmla="*/ 39675 h 317700"/>
                    <a:gd name="connsiteX16" fmla="*/ 357436 w 397141"/>
                    <a:gd name="connsiteY16" fmla="*/ 13205 h 317700"/>
                    <a:gd name="connsiteX17" fmla="*/ 39705 w 397141"/>
                    <a:gd name="connsiteY17" fmla="*/ 13205 h 31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97141" h="317700">
                      <a:moveTo>
                        <a:pt x="357406" y="317701"/>
                      </a:moveTo>
                      <a:lnTo>
                        <a:pt x="39705" y="317701"/>
                      </a:lnTo>
                      <a:cubicBezTo>
                        <a:pt x="17816" y="317701"/>
                        <a:pt x="0" y="299884"/>
                        <a:pt x="0" y="277996"/>
                      </a:cubicBezTo>
                      <a:lnTo>
                        <a:pt x="0" y="39705"/>
                      </a:lnTo>
                      <a:cubicBezTo>
                        <a:pt x="0" y="17816"/>
                        <a:pt x="17816" y="0"/>
                        <a:pt x="39705" y="0"/>
                      </a:cubicBezTo>
                      <a:lnTo>
                        <a:pt x="357436" y="0"/>
                      </a:lnTo>
                      <a:cubicBezTo>
                        <a:pt x="379325" y="0"/>
                        <a:pt x="397141" y="17816"/>
                        <a:pt x="397141" y="39705"/>
                      </a:cubicBezTo>
                      <a:lnTo>
                        <a:pt x="397141" y="277996"/>
                      </a:lnTo>
                      <a:cubicBezTo>
                        <a:pt x="397141" y="299884"/>
                        <a:pt x="379325" y="317701"/>
                        <a:pt x="357406" y="317701"/>
                      </a:cubicBezTo>
                      <a:close/>
                      <a:moveTo>
                        <a:pt x="39705" y="13205"/>
                      </a:moveTo>
                      <a:cubicBezTo>
                        <a:pt x="25093" y="13205"/>
                        <a:pt x="13235" y="25093"/>
                        <a:pt x="13235" y="39675"/>
                      </a:cubicBezTo>
                      <a:lnTo>
                        <a:pt x="13235" y="277966"/>
                      </a:lnTo>
                      <a:cubicBezTo>
                        <a:pt x="13235" y="292578"/>
                        <a:pt x="25123" y="304436"/>
                        <a:pt x="39705" y="304436"/>
                      </a:cubicBezTo>
                      <a:lnTo>
                        <a:pt x="357436" y="304436"/>
                      </a:lnTo>
                      <a:cubicBezTo>
                        <a:pt x="372048" y="304436"/>
                        <a:pt x="383906" y="292548"/>
                        <a:pt x="383906" y="277966"/>
                      </a:cubicBezTo>
                      <a:lnTo>
                        <a:pt x="383906" y="39675"/>
                      </a:lnTo>
                      <a:cubicBezTo>
                        <a:pt x="383906" y="25063"/>
                        <a:pt x="372018" y="13205"/>
                        <a:pt x="357436" y="13205"/>
                      </a:cubicBezTo>
                      <a:lnTo>
                        <a:pt x="39705" y="13205"/>
                      </a:lnTo>
                      <a:close/>
                    </a:path>
                  </a:pathLst>
                </a:custGeom>
                <a:grpFill/>
                <a:ln w="2991" cap="flat">
                  <a:noFill/>
                  <a:prstDash val="solid"/>
                  <a:miter/>
                </a:ln>
              </p:spPr>
              <p:txBody>
                <a:bodyPr rtlCol="0" anchor="ctr"/>
                <a:lstStyle/>
                <a:p>
                  <a:endParaRPr lang="en-GB" dirty="0"/>
                </a:p>
              </p:txBody>
            </p:sp>
            <p:sp>
              <p:nvSpPr>
                <p:cNvPr id="453" name="Freihandform: Form 452">
                  <a:extLst>
                    <a:ext uri="{FF2B5EF4-FFF2-40B4-BE49-F238E27FC236}">
                      <a16:creationId xmlns:a16="http://schemas.microsoft.com/office/drawing/2014/main" id="{3BFBB0C5-2D03-40E6-BDEA-8581C2938917}"/>
                    </a:ext>
                  </a:extLst>
                </p:cNvPr>
                <p:cNvSpPr/>
                <p:nvPr/>
              </p:nvSpPr>
              <p:spPr>
                <a:xfrm>
                  <a:off x="1754287" y="4138510"/>
                  <a:ext cx="383905" cy="13235"/>
                </a:xfrm>
                <a:custGeom>
                  <a:avLst/>
                  <a:gdLst>
                    <a:gd name="connsiteX0" fmla="*/ 0 w 383905"/>
                    <a:gd name="connsiteY0" fmla="*/ 0 h 13235"/>
                    <a:gd name="connsiteX1" fmla="*/ 383906 w 383905"/>
                    <a:gd name="connsiteY1" fmla="*/ 0 h 13235"/>
                    <a:gd name="connsiteX2" fmla="*/ 383906 w 383905"/>
                    <a:gd name="connsiteY2" fmla="*/ 13235 h 13235"/>
                    <a:gd name="connsiteX3" fmla="*/ 0 w 383905"/>
                    <a:gd name="connsiteY3" fmla="*/ 13235 h 13235"/>
                  </a:gdLst>
                  <a:ahLst/>
                  <a:cxnLst>
                    <a:cxn ang="0">
                      <a:pos x="connsiteX0" y="connsiteY0"/>
                    </a:cxn>
                    <a:cxn ang="0">
                      <a:pos x="connsiteX1" y="connsiteY1"/>
                    </a:cxn>
                    <a:cxn ang="0">
                      <a:pos x="connsiteX2" y="connsiteY2"/>
                    </a:cxn>
                    <a:cxn ang="0">
                      <a:pos x="connsiteX3" y="connsiteY3"/>
                    </a:cxn>
                  </a:cxnLst>
                  <a:rect l="l" t="t" r="r" b="b"/>
                  <a:pathLst>
                    <a:path w="383905" h="13235">
                      <a:moveTo>
                        <a:pt x="0" y="0"/>
                      </a:moveTo>
                      <a:lnTo>
                        <a:pt x="383906" y="0"/>
                      </a:lnTo>
                      <a:lnTo>
                        <a:pt x="383906" y="13235"/>
                      </a:lnTo>
                      <a:lnTo>
                        <a:pt x="0" y="13235"/>
                      </a:lnTo>
                      <a:close/>
                    </a:path>
                  </a:pathLst>
                </a:custGeom>
                <a:grpFill/>
                <a:ln w="2991" cap="flat">
                  <a:noFill/>
                  <a:prstDash val="solid"/>
                  <a:miter/>
                </a:ln>
              </p:spPr>
              <p:txBody>
                <a:bodyPr rtlCol="0" anchor="ctr"/>
                <a:lstStyle/>
                <a:p>
                  <a:endParaRPr lang="en-GB" dirty="0"/>
                </a:p>
              </p:txBody>
            </p:sp>
          </p:grpSp>
          <p:sp>
            <p:nvSpPr>
              <p:cNvPr id="451" name="Freihandform: Form 450">
                <a:extLst>
                  <a:ext uri="{FF2B5EF4-FFF2-40B4-BE49-F238E27FC236}">
                    <a16:creationId xmlns:a16="http://schemas.microsoft.com/office/drawing/2014/main" id="{335714B2-0A01-41F3-8EA9-E4BD259FF743}"/>
                  </a:ext>
                </a:extLst>
              </p:cNvPr>
              <p:cNvSpPr/>
              <p:nvPr/>
            </p:nvSpPr>
            <p:spPr>
              <a:xfrm>
                <a:off x="1797091" y="4140242"/>
                <a:ext cx="387454" cy="310998"/>
              </a:xfrm>
              <a:custGeom>
                <a:avLst/>
                <a:gdLst>
                  <a:gd name="connsiteX0" fmla="*/ 347749 w 387454"/>
                  <a:gd name="connsiteY0" fmla="*/ 310998 h 310998"/>
                  <a:gd name="connsiteX1" fmla="*/ 30018 w 387454"/>
                  <a:gd name="connsiteY1" fmla="*/ 310998 h 310998"/>
                  <a:gd name="connsiteX2" fmla="*/ 1931 w 387454"/>
                  <a:gd name="connsiteY2" fmla="*/ 299350 h 310998"/>
                  <a:gd name="connsiteX3" fmla="*/ 1931 w 387454"/>
                  <a:gd name="connsiteY3" fmla="*/ 289978 h 310998"/>
                  <a:gd name="connsiteX4" fmla="*/ 11304 w 387454"/>
                  <a:gd name="connsiteY4" fmla="*/ 289978 h 310998"/>
                  <a:gd name="connsiteX5" fmla="*/ 30018 w 387454"/>
                  <a:gd name="connsiteY5" fmla="*/ 297733 h 310998"/>
                  <a:gd name="connsiteX6" fmla="*/ 347749 w 387454"/>
                  <a:gd name="connsiteY6" fmla="*/ 297733 h 310998"/>
                  <a:gd name="connsiteX7" fmla="*/ 374219 w 387454"/>
                  <a:gd name="connsiteY7" fmla="*/ 271263 h 310998"/>
                  <a:gd name="connsiteX8" fmla="*/ 374219 w 387454"/>
                  <a:gd name="connsiteY8" fmla="*/ 32972 h 310998"/>
                  <a:gd name="connsiteX9" fmla="*/ 363769 w 387454"/>
                  <a:gd name="connsiteY9" fmla="*/ 11892 h 310998"/>
                  <a:gd name="connsiteX10" fmla="*/ 362511 w 387454"/>
                  <a:gd name="connsiteY10" fmla="*/ 2610 h 310998"/>
                  <a:gd name="connsiteX11" fmla="*/ 371794 w 387454"/>
                  <a:gd name="connsiteY11" fmla="*/ 1352 h 310998"/>
                  <a:gd name="connsiteX12" fmla="*/ 387454 w 387454"/>
                  <a:gd name="connsiteY12" fmla="*/ 32972 h 310998"/>
                  <a:gd name="connsiteX13" fmla="*/ 387454 w 387454"/>
                  <a:gd name="connsiteY13" fmla="*/ 271263 h 310998"/>
                  <a:gd name="connsiteX14" fmla="*/ 347749 w 387454"/>
                  <a:gd name="connsiteY14" fmla="*/ 310998 h 31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454" h="310998">
                    <a:moveTo>
                      <a:pt x="347749" y="310998"/>
                    </a:moveTo>
                    <a:lnTo>
                      <a:pt x="30018" y="310998"/>
                    </a:lnTo>
                    <a:cubicBezTo>
                      <a:pt x="19418" y="310998"/>
                      <a:pt x="9447" y="306866"/>
                      <a:pt x="1931" y="299350"/>
                    </a:cubicBezTo>
                    <a:cubicBezTo>
                      <a:pt x="-644" y="296775"/>
                      <a:pt x="-644" y="292583"/>
                      <a:pt x="1931" y="289978"/>
                    </a:cubicBezTo>
                    <a:cubicBezTo>
                      <a:pt x="4506" y="287403"/>
                      <a:pt x="8699" y="287403"/>
                      <a:pt x="11304" y="289978"/>
                    </a:cubicBezTo>
                    <a:cubicBezTo>
                      <a:pt x="16304" y="294978"/>
                      <a:pt x="22952" y="297733"/>
                      <a:pt x="30018" y="297733"/>
                    </a:cubicBezTo>
                    <a:lnTo>
                      <a:pt x="347749" y="297733"/>
                    </a:lnTo>
                    <a:cubicBezTo>
                      <a:pt x="362362" y="297733"/>
                      <a:pt x="374219" y="285846"/>
                      <a:pt x="374219" y="271263"/>
                    </a:cubicBezTo>
                    <a:lnTo>
                      <a:pt x="374219" y="32972"/>
                    </a:lnTo>
                    <a:cubicBezTo>
                      <a:pt x="374219" y="24648"/>
                      <a:pt x="370416" y="16953"/>
                      <a:pt x="363769" y="11892"/>
                    </a:cubicBezTo>
                    <a:cubicBezTo>
                      <a:pt x="360864" y="9676"/>
                      <a:pt x="360296" y="5514"/>
                      <a:pt x="362511" y="2610"/>
                    </a:cubicBezTo>
                    <a:cubicBezTo>
                      <a:pt x="364727" y="-295"/>
                      <a:pt x="368859" y="-864"/>
                      <a:pt x="371794" y="1352"/>
                    </a:cubicBezTo>
                    <a:cubicBezTo>
                      <a:pt x="381735" y="8928"/>
                      <a:pt x="387454" y="20456"/>
                      <a:pt x="387454" y="32972"/>
                    </a:cubicBezTo>
                    <a:lnTo>
                      <a:pt x="387454" y="271263"/>
                    </a:lnTo>
                    <a:cubicBezTo>
                      <a:pt x="387454" y="293212"/>
                      <a:pt x="369638" y="310998"/>
                      <a:pt x="347749" y="310998"/>
                    </a:cubicBezTo>
                    <a:close/>
                  </a:path>
                </a:pathLst>
              </a:custGeom>
              <a:grpFill/>
              <a:ln w="2991" cap="flat">
                <a:noFill/>
                <a:prstDash val="solid"/>
                <a:miter/>
              </a:ln>
            </p:spPr>
            <p:txBody>
              <a:bodyPr rtlCol="0" anchor="ctr"/>
              <a:lstStyle/>
              <a:p>
                <a:endParaRPr lang="en-GB" dirty="0"/>
              </a:p>
            </p:txBody>
          </p:sp>
        </p:grpSp>
      </p:grpSp>
      <p:grpSp>
        <p:nvGrpSpPr>
          <p:cNvPr id="5" name="Group 4">
            <a:extLst>
              <a:ext uri="{FF2B5EF4-FFF2-40B4-BE49-F238E27FC236}">
                <a16:creationId xmlns:a16="http://schemas.microsoft.com/office/drawing/2014/main" id="{71684A4C-D21C-AE5A-81FB-044E720FA953}"/>
              </a:ext>
            </a:extLst>
          </p:cNvPr>
          <p:cNvGrpSpPr/>
          <p:nvPr/>
        </p:nvGrpSpPr>
        <p:grpSpPr>
          <a:xfrm>
            <a:off x="1571104" y="1626714"/>
            <a:ext cx="536753" cy="431999"/>
            <a:chOff x="1571104" y="1626714"/>
            <a:chExt cx="536753" cy="431999"/>
          </a:xfrm>
        </p:grpSpPr>
        <p:grpSp>
          <p:nvGrpSpPr>
            <p:cNvPr id="457" name="Group 1062">
              <a:extLst>
                <a:ext uri="{FF2B5EF4-FFF2-40B4-BE49-F238E27FC236}">
                  <a16:creationId xmlns:a16="http://schemas.microsoft.com/office/drawing/2014/main" id="{2E7EF5B9-743D-48C9-AB5E-DAE17F3EE1BD}"/>
                </a:ext>
              </a:extLst>
            </p:cNvPr>
            <p:cNvGrpSpPr/>
            <p:nvPr/>
          </p:nvGrpSpPr>
          <p:grpSpPr>
            <a:xfrm>
              <a:off x="1571104" y="1626714"/>
              <a:ext cx="500001" cy="431999"/>
              <a:chOff x="1747902" y="1668564"/>
              <a:chExt cx="406658" cy="351352"/>
            </a:xfrm>
            <a:solidFill>
              <a:schemeClr val="accent1"/>
            </a:solidFill>
          </p:grpSpPr>
          <p:sp>
            <p:nvSpPr>
              <p:cNvPr id="461" name="Freihandform: Form 460">
                <a:extLst>
                  <a:ext uri="{FF2B5EF4-FFF2-40B4-BE49-F238E27FC236}">
                    <a16:creationId xmlns:a16="http://schemas.microsoft.com/office/drawing/2014/main" id="{0E4FC85C-F8D5-459F-8898-BFE767382397}"/>
                  </a:ext>
                </a:extLst>
              </p:cNvPr>
              <p:cNvSpPr/>
              <p:nvPr/>
            </p:nvSpPr>
            <p:spPr>
              <a:xfrm>
                <a:off x="2030646" y="1863196"/>
                <a:ext cx="92497" cy="73926"/>
              </a:xfrm>
              <a:custGeom>
                <a:avLst/>
                <a:gdLst>
                  <a:gd name="connsiteX0" fmla="*/ 6637 w 92497"/>
                  <a:gd name="connsiteY0" fmla="*/ 73926 h 73926"/>
                  <a:gd name="connsiteX1" fmla="*/ 947 w 92497"/>
                  <a:gd name="connsiteY1" fmla="*/ 70722 h 73926"/>
                  <a:gd name="connsiteX2" fmla="*/ 3223 w 92497"/>
                  <a:gd name="connsiteY2" fmla="*/ 61649 h 73926"/>
                  <a:gd name="connsiteX3" fmla="*/ 22417 w 92497"/>
                  <a:gd name="connsiteY3" fmla="*/ 50660 h 73926"/>
                  <a:gd name="connsiteX4" fmla="*/ 41012 w 92497"/>
                  <a:gd name="connsiteY4" fmla="*/ 39581 h 73926"/>
                  <a:gd name="connsiteX5" fmla="*/ 80477 w 92497"/>
                  <a:gd name="connsiteY5" fmla="*/ 2810 h 73926"/>
                  <a:gd name="connsiteX6" fmla="*/ 89700 w 92497"/>
                  <a:gd name="connsiteY6" fmla="*/ 1223 h 73926"/>
                  <a:gd name="connsiteX7" fmla="*/ 91287 w 92497"/>
                  <a:gd name="connsiteY7" fmla="*/ 10446 h 73926"/>
                  <a:gd name="connsiteX8" fmla="*/ 48498 w 92497"/>
                  <a:gd name="connsiteY8" fmla="*/ 50480 h 73926"/>
                  <a:gd name="connsiteX9" fmla="*/ 28825 w 92497"/>
                  <a:gd name="connsiteY9" fmla="*/ 62248 h 73926"/>
                  <a:gd name="connsiteX10" fmla="*/ 9990 w 92497"/>
                  <a:gd name="connsiteY10" fmla="*/ 73028 h 73926"/>
                  <a:gd name="connsiteX11" fmla="*/ 6637 w 92497"/>
                  <a:gd name="connsiteY11" fmla="*/ 73926 h 73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2497" h="73926">
                    <a:moveTo>
                      <a:pt x="6637" y="73926"/>
                    </a:moveTo>
                    <a:cubicBezTo>
                      <a:pt x="4391" y="73926"/>
                      <a:pt x="2205" y="72788"/>
                      <a:pt x="947" y="70722"/>
                    </a:cubicBezTo>
                    <a:cubicBezTo>
                      <a:pt x="-939" y="67578"/>
                      <a:pt x="79" y="63536"/>
                      <a:pt x="3223" y="61649"/>
                    </a:cubicBezTo>
                    <a:cubicBezTo>
                      <a:pt x="10110" y="57517"/>
                      <a:pt x="16608" y="53894"/>
                      <a:pt x="22417" y="50660"/>
                    </a:cubicBezTo>
                    <a:cubicBezTo>
                      <a:pt x="30083" y="46378"/>
                      <a:pt x="36730" y="42695"/>
                      <a:pt x="41012" y="39581"/>
                    </a:cubicBezTo>
                    <a:cubicBezTo>
                      <a:pt x="58948" y="27843"/>
                      <a:pt x="70327" y="17243"/>
                      <a:pt x="80477" y="2810"/>
                    </a:cubicBezTo>
                    <a:cubicBezTo>
                      <a:pt x="82574" y="-184"/>
                      <a:pt x="86706" y="-903"/>
                      <a:pt x="89700" y="1223"/>
                    </a:cubicBezTo>
                    <a:cubicBezTo>
                      <a:pt x="92695" y="3319"/>
                      <a:pt x="93383" y="7451"/>
                      <a:pt x="91287" y="10446"/>
                    </a:cubicBezTo>
                    <a:cubicBezTo>
                      <a:pt x="80088" y="26316"/>
                      <a:pt x="67692" y="37904"/>
                      <a:pt x="48498" y="50480"/>
                    </a:cubicBezTo>
                    <a:cubicBezTo>
                      <a:pt x="43827" y="53894"/>
                      <a:pt x="36880" y="57757"/>
                      <a:pt x="28825" y="62248"/>
                    </a:cubicBezTo>
                    <a:cubicBezTo>
                      <a:pt x="23106" y="65422"/>
                      <a:pt x="16728" y="68985"/>
                      <a:pt x="9990" y="73028"/>
                    </a:cubicBezTo>
                    <a:cubicBezTo>
                      <a:pt x="8972" y="73627"/>
                      <a:pt x="7805" y="73926"/>
                      <a:pt x="6637" y="73926"/>
                    </a:cubicBezTo>
                    <a:close/>
                  </a:path>
                </a:pathLst>
              </a:custGeom>
              <a:solidFill>
                <a:schemeClr val="accent1"/>
              </a:solidFill>
              <a:ln w="2991" cap="flat">
                <a:noFill/>
                <a:prstDash val="solid"/>
                <a:miter/>
              </a:ln>
            </p:spPr>
            <p:txBody>
              <a:bodyPr rtlCol="0" anchor="ctr"/>
              <a:lstStyle/>
              <a:p>
                <a:endParaRPr lang="en-GB" dirty="0"/>
              </a:p>
            </p:txBody>
          </p:sp>
          <p:sp>
            <p:nvSpPr>
              <p:cNvPr id="462" name="Freihandform: Form 461">
                <a:extLst>
                  <a:ext uri="{FF2B5EF4-FFF2-40B4-BE49-F238E27FC236}">
                    <a16:creationId xmlns:a16="http://schemas.microsoft.com/office/drawing/2014/main" id="{46789498-5E6F-4E75-A162-7C84F47030F7}"/>
                  </a:ext>
                </a:extLst>
              </p:cNvPr>
              <p:cNvSpPr/>
              <p:nvPr/>
            </p:nvSpPr>
            <p:spPr>
              <a:xfrm>
                <a:off x="1747902" y="1668564"/>
                <a:ext cx="406658" cy="351352"/>
              </a:xfrm>
              <a:custGeom>
                <a:avLst/>
                <a:gdLst>
                  <a:gd name="connsiteX0" fmla="*/ 205719 w 406658"/>
                  <a:gd name="connsiteY0" fmla="*/ 351352 h 351352"/>
                  <a:gd name="connsiteX1" fmla="*/ 196047 w 406658"/>
                  <a:gd name="connsiteY1" fmla="*/ 345394 h 351352"/>
                  <a:gd name="connsiteX2" fmla="*/ 97713 w 406658"/>
                  <a:gd name="connsiteY2" fmla="*/ 258737 h 351352"/>
                  <a:gd name="connsiteX3" fmla="*/ 77441 w 406658"/>
                  <a:gd name="connsiteY3" fmla="*/ 247119 h 351352"/>
                  <a:gd name="connsiteX4" fmla="*/ 13421 w 406658"/>
                  <a:gd name="connsiteY4" fmla="*/ 174236 h 351352"/>
                  <a:gd name="connsiteX5" fmla="*/ 12613 w 406658"/>
                  <a:gd name="connsiteY5" fmla="*/ 172769 h 351352"/>
                  <a:gd name="connsiteX6" fmla="*/ 1145 w 406658"/>
                  <a:gd name="connsiteY6" fmla="*/ 97821 h 351352"/>
                  <a:gd name="connsiteX7" fmla="*/ 70733 w 406658"/>
                  <a:gd name="connsiteY7" fmla="*/ 11523 h 351352"/>
                  <a:gd name="connsiteX8" fmla="*/ 163139 w 406658"/>
                  <a:gd name="connsiteY8" fmla="*/ 10445 h 351352"/>
                  <a:gd name="connsiteX9" fmla="*/ 203473 w 406658"/>
                  <a:gd name="connsiteY9" fmla="*/ 49102 h 351352"/>
                  <a:gd name="connsiteX10" fmla="*/ 241980 w 406658"/>
                  <a:gd name="connsiteY10" fmla="*/ 9906 h 351352"/>
                  <a:gd name="connsiteX11" fmla="*/ 334087 w 406658"/>
                  <a:gd name="connsiteY11" fmla="*/ 9278 h 351352"/>
                  <a:gd name="connsiteX12" fmla="*/ 405143 w 406658"/>
                  <a:gd name="connsiteY12" fmla="*/ 94138 h 351352"/>
                  <a:gd name="connsiteX13" fmla="*/ 401969 w 406658"/>
                  <a:gd name="connsiteY13" fmla="*/ 149862 h 351352"/>
                  <a:gd name="connsiteX14" fmla="*/ 399723 w 406658"/>
                  <a:gd name="connsiteY14" fmla="*/ 157229 h 351352"/>
                  <a:gd name="connsiteX15" fmla="*/ 391339 w 406658"/>
                  <a:gd name="connsiteY15" fmla="*/ 161421 h 351352"/>
                  <a:gd name="connsiteX16" fmla="*/ 387147 w 406658"/>
                  <a:gd name="connsiteY16" fmla="*/ 153036 h 351352"/>
                  <a:gd name="connsiteX17" fmla="*/ 389183 w 406658"/>
                  <a:gd name="connsiteY17" fmla="*/ 146359 h 351352"/>
                  <a:gd name="connsiteX18" fmla="*/ 392057 w 406658"/>
                  <a:gd name="connsiteY18" fmla="*/ 96204 h 351352"/>
                  <a:gd name="connsiteX19" fmla="*/ 329685 w 406658"/>
                  <a:gd name="connsiteY19" fmla="*/ 21764 h 351352"/>
                  <a:gd name="connsiteX20" fmla="*/ 248059 w 406658"/>
                  <a:gd name="connsiteY20" fmla="*/ 21644 h 351352"/>
                  <a:gd name="connsiteX21" fmla="*/ 210091 w 406658"/>
                  <a:gd name="connsiteY21" fmla="*/ 67158 h 351352"/>
                  <a:gd name="connsiteX22" fmla="*/ 203832 w 406658"/>
                  <a:gd name="connsiteY22" fmla="*/ 71949 h 351352"/>
                  <a:gd name="connsiteX23" fmla="*/ 197424 w 406658"/>
                  <a:gd name="connsiteY23" fmla="*/ 67368 h 351352"/>
                  <a:gd name="connsiteX24" fmla="*/ 157180 w 406658"/>
                  <a:gd name="connsiteY24" fmla="*/ 22243 h 351352"/>
                  <a:gd name="connsiteX25" fmla="*/ 75285 w 406658"/>
                  <a:gd name="connsiteY25" fmla="*/ 23890 h 351352"/>
                  <a:gd name="connsiteX26" fmla="*/ 14200 w 406658"/>
                  <a:gd name="connsiteY26" fmla="*/ 99617 h 351352"/>
                  <a:gd name="connsiteX27" fmla="*/ 24411 w 406658"/>
                  <a:gd name="connsiteY27" fmla="*/ 166870 h 351352"/>
                  <a:gd name="connsiteX28" fmla="*/ 25010 w 406658"/>
                  <a:gd name="connsiteY28" fmla="*/ 167948 h 351352"/>
                  <a:gd name="connsiteX29" fmla="*/ 84687 w 406658"/>
                  <a:gd name="connsiteY29" fmla="*/ 236100 h 351352"/>
                  <a:gd name="connsiteX30" fmla="*/ 103851 w 406658"/>
                  <a:gd name="connsiteY30" fmla="*/ 247059 h 351352"/>
                  <a:gd name="connsiteX31" fmla="*/ 205419 w 406658"/>
                  <a:gd name="connsiteY31" fmla="*/ 335093 h 351352"/>
                  <a:gd name="connsiteX32" fmla="*/ 234075 w 406658"/>
                  <a:gd name="connsiteY32" fmla="*/ 296286 h 351352"/>
                  <a:gd name="connsiteX33" fmla="*/ 244975 w 406658"/>
                  <a:gd name="connsiteY33" fmla="*/ 285836 h 351352"/>
                  <a:gd name="connsiteX34" fmla="*/ 254317 w 406658"/>
                  <a:gd name="connsiteY34" fmla="*/ 286375 h 351352"/>
                  <a:gd name="connsiteX35" fmla="*/ 253778 w 406658"/>
                  <a:gd name="connsiteY35" fmla="*/ 295717 h 351352"/>
                  <a:gd name="connsiteX36" fmla="*/ 243597 w 406658"/>
                  <a:gd name="connsiteY36" fmla="*/ 305479 h 351352"/>
                  <a:gd name="connsiteX37" fmla="*/ 215151 w 406658"/>
                  <a:gd name="connsiteY37" fmla="*/ 344974 h 351352"/>
                  <a:gd name="connsiteX38" fmla="*/ 206617 w 406658"/>
                  <a:gd name="connsiteY38" fmla="*/ 351322 h 351352"/>
                  <a:gd name="connsiteX39" fmla="*/ 205719 w 406658"/>
                  <a:gd name="connsiteY39" fmla="*/ 351352 h 351352"/>
                  <a:gd name="connsiteX40" fmla="*/ 202784 w 406658"/>
                  <a:gd name="connsiteY40" fmla="*/ 340423 h 351352"/>
                  <a:gd name="connsiteX41" fmla="*/ 202784 w 406658"/>
                  <a:gd name="connsiteY41" fmla="*/ 340423 h 351352"/>
                  <a:gd name="connsiteX42" fmla="*/ 202784 w 406658"/>
                  <a:gd name="connsiteY42" fmla="*/ 340423 h 351352"/>
                  <a:gd name="connsiteX43" fmla="*/ 207785 w 406658"/>
                  <a:gd name="connsiteY43" fmla="*/ 339255 h 351352"/>
                  <a:gd name="connsiteX44" fmla="*/ 207815 w 406658"/>
                  <a:gd name="connsiteY44" fmla="*/ 339315 h 351352"/>
                  <a:gd name="connsiteX45" fmla="*/ 207785 w 406658"/>
                  <a:gd name="connsiteY45" fmla="*/ 339255 h 351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406658" h="351352">
                    <a:moveTo>
                      <a:pt x="205719" y="351352"/>
                    </a:moveTo>
                    <a:cubicBezTo>
                      <a:pt x="201647" y="351352"/>
                      <a:pt x="197904" y="349077"/>
                      <a:pt x="196047" y="345394"/>
                    </a:cubicBezTo>
                    <a:cubicBezTo>
                      <a:pt x="170625" y="297514"/>
                      <a:pt x="126758" y="274158"/>
                      <a:pt x="97713" y="258737"/>
                    </a:cubicBezTo>
                    <a:cubicBezTo>
                      <a:pt x="89538" y="254395"/>
                      <a:pt x="82471" y="250622"/>
                      <a:pt x="77441" y="247119"/>
                    </a:cubicBezTo>
                    <a:cubicBezTo>
                      <a:pt x="39951" y="223494"/>
                      <a:pt x="22045" y="190226"/>
                      <a:pt x="13421" y="174236"/>
                    </a:cubicBezTo>
                    <a:lnTo>
                      <a:pt x="12613" y="172769"/>
                    </a:lnTo>
                    <a:cubicBezTo>
                      <a:pt x="1564" y="148245"/>
                      <a:pt x="-2119" y="123871"/>
                      <a:pt x="1145" y="97821"/>
                    </a:cubicBezTo>
                    <a:cubicBezTo>
                      <a:pt x="9349" y="45360"/>
                      <a:pt x="55283" y="17243"/>
                      <a:pt x="70733" y="11523"/>
                    </a:cubicBezTo>
                    <a:cubicBezTo>
                      <a:pt x="106426" y="-1652"/>
                      <a:pt x="137507" y="-1981"/>
                      <a:pt x="163139" y="10445"/>
                    </a:cubicBezTo>
                    <a:cubicBezTo>
                      <a:pt x="184189" y="20656"/>
                      <a:pt x="196736" y="37215"/>
                      <a:pt x="203473" y="49102"/>
                    </a:cubicBezTo>
                    <a:cubicBezTo>
                      <a:pt x="209761" y="37155"/>
                      <a:pt x="221589" y="20476"/>
                      <a:pt x="241980" y="9906"/>
                    </a:cubicBezTo>
                    <a:cubicBezTo>
                      <a:pt x="267073" y="-3089"/>
                      <a:pt x="298065" y="-3299"/>
                      <a:pt x="334087" y="9278"/>
                    </a:cubicBezTo>
                    <a:cubicBezTo>
                      <a:pt x="349657" y="14727"/>
                      <a:pt x="396100" y="42006"/>
                      <a:pt x="405143" y="94138"/>
                    </a:cubicBezTo>
                    <a:cubicBezTo>
                      <a:pt x="407927" y="113721"/>
                      <a:pt x="406880" y="131866"/>
                      <a:pt x="401969" y="149862"/>
                    </a:cubicBezTo>
                    <a:cubicBezTo>
                      <a:pt x="401310" y="152318"/>
                      <a:pt x="400561" y="154773"/>
                      <a:pt x="399723" y="157229"/>
                    </a:cubicBezTo>
                    <a:cubicBezTo>
                      <a:pt x="398555" y="160702"/>
                      <a:pt x="394842" y="162588"/>
                      <a:pt x="391339" y="161421"/>
                    </a:cubicBezTo>
                    <a:cubicBezTo>
                      <a:pt x="387865" y="160253"/>
                      <a:pt x="386009" y="156510"/>
                      <a:pt x="387147" y="153036"/>
                    </a:cubicBezTo>
                    <a:cubicBezTo>
                      <a:pt x="387895" y="150791"/>
                      <a:pt x="388584" y="148575"/>
                      <a:pt x="389183" y="146359"/>
                    </a:cubicBezTo>
                    <a:cubicBezTo>
                      <a:pt x="393614" y="130160"/>
                      <a:pt x="394543" y="113751"/>
                      <a:pt x="392057" y="96204"/>
                    </a:cubicBezTo>
                    <a:cubicBezTo>
                      <a:pt x="384721" y="53953"/>
                      <a:pt x="346873" y="27783"/>
                      <a:pt x="329685" y="21764"/>
                    </a:cubicBezTo>
                    <a:cubicBezTo>
                      <a:pt x="297256" y="10415"/>
                      <a:pt x="269768" y="10385"/>
                      <a:pt x="248059" y="21644"/>
                    </a:cubicBezTo>
                    <a:cubicBezTo>
                      <a:pt x="219074" y="36676"/>
                      <a:pt x="210180" y="66859"/>
                      <a:pt x="210091" y="67158"/>
                    </a:cubicBezTo>
                    <a:cubicBezTo>
                      <a:pt x="209282" y="69973"/>
                      <a:pt x="206767" y="71919"/>
                      <a:pt x="203832" y="71949"/>
                    </a:cubicBezTo>
                    <a:cubicBezTo>
                      <a:pt x="200988" y="71979"/>
                      <a:pt x="198323" y="70153"/>
                      <a:pt x="197424" y="67368"/>
                    </a:cubicBezTo>
                    <a:cubicBezTo>
                      <a:pt x="197335" y="67069"/>
                      <a:pt x="187034" y="36676"/>
                      <a:pt x="157180" y="22243"/>
                    </a:cubicBezTo>
                    <a:cubicBezTo>
                      <a:pt x="134932" y="11493"/>
                      <a:pt x="107384" y="12062"/>
                      <a:pt x="75285" y="23890"/>
                    </a:cubicBezTo>
                    <a:cubicBezTo>
                      <a:pt x="58247" y="30208"/>
                      <a:pt x="20877" y="57038"/>
                      <a:pt x="14200" y="99617"/>
                    </a:cubicBezTo>
                    <a:cubicBezTo>
                      <a:pt x="11266" y="123003"/>
                      <a:pt x="14589" y="145042"/>
                      <a:pt x="24411" y="166870"/>
                    </a:cubicBezTo>
                    <a:lnTo>
                      <a:pt x="25010" y="167948"/>
                    </a:lnTo>
                    <a:cubicBezTo>
                      <a:pt x="33094" y="182950"/>
                      <a:pt x="49893" y="214121"/>
                      <a:pt x="84687" y="236100"/>
                    </a:cubicBezTo>
                    <a:cubicBezTo>
                      <a:pt x="89298" y="239304"/>
                      <a:pt x="96036" y="242897"/>
                      <a:pt x="103851" y="247059"/>
                    </a:cubicBezTo>
                    <a:cubicBezTo>
                      <a:pt x="131669" y="261851"/>
                      <a:pt x="177722" y="286315"/>
                      <a:pt x="205419" y="335093"/>
                    </a:cubicBezTo>
                    <a:cubicBezTo>
                      <a:pt x="212995" y="321169"/>
                      <a:pt x="222637" y="308144"/>
                      <a:pt x="234075" y="296286"/>
                    </a:cubicBezTo>
                    <a:cubicBezTo>
                      <a:pt x="237519" y="292723"/>
                      <a:pt x="241202" y="289190"/>
                      <a:pt x="244975" y="285836"/>
                    </a:cubicBezTo>
                    <a:cubicBezTo>
                      <a:pt x="247700" y="283381"/>
                      <a:pt x="251892" y="283650"/>
                      <a:pt x="254317" y="286375"/>
                    </a:cubicBezTo>
                    <a:cubicBezTo>
                      <a:pt x="256743" y="289100"/>
                      <a:pt x="256503" y="293292"/>
                      <a:pt x="253778" y="295717"/>
                    </a:cubicBezTo>
                    <a:cubicBezTo>
                      <a:pt x="250245" y="298861"/>
                      <a:pt x="246831" y="302155"/>
                      <a:pt x="243597" y="305479"/>
                    </a:cubicBezTo>
                    <a:cubicBezTo>
                      <a:pt x="232009" y="317486"/>
                      <a:pt x="222427" y="330751"/>
                      <a:pt x="215151" y="344974"/>
                    </a:cubicBezTo>
                    <a:cubicBezTo>
                      <a:pt x="213774" y="348508"/>
                      <a:pt x="210510" y="350963"/>
                      <a:pt x="206617" y="351322"/>
                    </a:cubicBezTo>
                    <a:cubicBezTo>
                      <a:pt x="206348" y="351322"/>
                      <a:pt x="206048" y="351352"/>
                      <a:pt x="205719" y="351352"/>
                    </a:cubicBezTo>
                    <a:close/>
                    <a:moveTo>
                      <a:pt x="202784" y="340423"/>
                    </a:moveTo>
                    <a:cubicBezTo>
                      <a:pt x="202784" y="340423"/>
                      <a:pt x="202784" y="340453"/>
                      <a:pt x="202784" y="340423"/>
                    </a:cubicBezTo>
                    <a:cubicBezTo>
                      <a:pt x="202784" y="340453"/>
                      <a:pt x="202784" y="340423"/>
                      <a:pt x="202784" y="340423"/>
                    </a:cubicBezTo>
                    <a:close/>
                    <a:moveTo>
                      <a:pt x="207785" y="339255"/>
                    </a:moveTo>
                    <a:cubicBezTo>
                      <a:pt x="207785" y="339285"/>
                      <a:pt x="207815" y="339285"/>
                      <a:pt x="207815" y="339315"/>
                    </a:cubicBezTo>
                    <a:cubicBezTo>
                      <a:pt x="207785" y="339285"/>
                      <a:pt x="207785" y="339255"/>
                      <a:pt x="207785" y="339255"/>
                    </a:cubicBezTo>
                    <a:close/>
                  </a:path>
                </a:pathLst>
              </a:custGeom>
              <a:solidFill>
                <a:schemeClr val="accent1"/>
              </a:solidFill>
              <a:ln w="2991" cap="flat">
                <a:noFill/>
                <a:prstDash val="solid"/>
                <a:miter/>
              </a:ln>
            </p:spPr>
            <p:txBody>
              <a:bodyPr rtlCol="0" anchor="ctr"/>
              <a:lstStyle/>
              <a:p>
                <a:endParaRPr lang="en-GB" dirty="0"/>
              </a:p>
            </p:txBody>
          </p:sp>
        </p:grpSp>
        <p:grpSp>
          <p:nvGrpSpPr>
            <p:cNvPr id="458" name="Group 1061">
              <a:extLst>
                <a:ext uri="{FF2B5EF4-FFF2-40B4-BE49-F238E27FC236}">
                  <a16:creationId xmlns:a16="http://schemas.microsoft.com/office/drawing/2014/main" id="{80DE22C9-E7C3-4910-B94A-E4BA85E6C0F9}"/>
                </a:ext>
              </a:extLst>
            </p:cNvPr>
            <p:cNvGrpSpPr/>
            <p:nvPr/>
          </p:nvGrpSpPr>
          <p:grpSpPr>
            <a:xfrm>
              <a:off x="1847417" y="1782844"/>
              <a:ext cx="260440" cy="260440"/>
              <a:chOff x="1972635" y="1795549"/>
              <a:chExt cx="211820" cy="211820"/>
            </a:xfrm>
            <a:solidFill>
              <a:schemeClr val="tx2"/>
            </a:solidFill>
          </p:grpSpPr>
          <p:sp>
            <p:nvSpPr>
              <p:cNvPr id="459" name="Freihandform: Form 458">
                <a:extLst>
                  <a:ext uri="{FF2B5EF4-FFF2-40B4-BE49-F238E27FC236}">
                    <a16:creationId xmlns:a16="http://schemas.microsoft.com/office/drawing/2014/main" id="{C1BD3189-F3EC-4FFB-8161-DAED0FE99D7A}"/>
                  </a:ext>
                </a:extLst>
              </p:cNvPr>
              <p:cNvSpPr/>
              <p:nvPr/>
            </p:nvSpPr>
            <p:spPr>
              <a:xfrm>
                <a:off x="2097285" y="1942580"/>
                <a:ext cx="40553" cy="54309"/>
              </a:xfrm>
              <a:custGeom>
                <a:avLst/>
                <a:gdLst>
                  <a:gd name="connsiteX0" fmla="*/ 33931 w 40553"/>
                  <a:gd name="connsiteY0" fmla="*/ 54309 h 54309"/>
                  <a:gd name="connsiteX1" fmla="*/ 28421 w 40553"/>
                  <a:gd name="connsiteY1" fmla="*/ 51345 h 54309"/>
                  <a:gd name="connsiteX2" fmla="*/ 1113 w 40553"/>
                  <a:gd name="connsiteY2" fmla="*/ 10262 h 54309"/>
                  <a:gd name="connsiteX3" fmla="*/ 2969 w 40553"/>
                  <a:gd name="connsiteY3" fmla="*/ 1100 h 54309"/>
                  <a:gd name="connsiteX4" fmla="*/ 12132 w 40553"/>
                  <a:gd name="connsiteY4" fmla="*/ 2956 h 54309"/>
                  <a:gd name="connsiteX5" fmla="*/ 39441 w 40553"/>
                  <a:gd name="connsiteY5" fmla="*/ 44039 h 54309"/>
                  <a:gd name="connsiteX6" fmla="*/ 37584 w 40553"/>
                  <a:gd name="connsiteY6" fmla="*/ 53201 h 54309"/>
                  <a:gd name="connsiteX7" fmla="*/ 33931 w 40553"/>
                  <a:gd name="connsiteY7" fmla="*/ 54309 h 5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53" h="54309">
                    <a:moveTo>
                      <a:pt x="33931" y="54309"/>
                    </a:moveTo>
                    <a:cubicBezTo>
                      <a:pt x="31775" y="54309"/>
                      <a:pt x="29679" y="53261"/>
                      <a:pt x="28421" y="51345"/>
                    </a:cubicBezTo>
                    <a:lnTo>
                      <a:pt x="1113" y="10262"/>
                    </a:lnTo>
                    <a:cubicBezTo>
                      <a:pt x="-923" y="7208"/>
                      <a:pt x="-85" y="3106"/>
                      <a:pt x="2969" y="1100"/>
                    </a:cubicBezTo>
                    <a:cubicBezTo>
                      <a:pt x="6024" y="-906"/>
                      <a:pt x="10126" y="-98"/>
                      <a:pt x="12132" y="2956"/>
                    </a:cubicBezTo>
                    <a:lnTo>
                      <a:pt x="39441" y="44039"/>
                    </a:lnTo>
                    <a:cubicBezTo>
                      <a:pt x="41477" y="47093"/>
                      <a:pt x="40638" y="51195"/>
                      <a:pt x="37584" y="53201"/>
                    </a:cubicBezTo>
                    <a:cubicBezTo>
                      <a:pt x="36476" y="53950"/>
                      <a:pt x="35189" y="54309"/>
                      <a:pt x="33931" y="54309"/>
                    </a:cubicBezTo>
                    <a:close/>
                  </a:path>
                </a:pathLst>
              </a:custGeom>
              <a:grpFill/>
              <a:ln w="2991" cap="flat">
                <a:noFill/>
                <a:prstDash val="solid"/>
                <a:miter/>
              </a:ln>
            </p:spPr>
            <p:txBody>
              <a:bodyPr rtlCol="0" anchor="ctr"/>
              <a:lstStyle/>
              <a:p>
                <a:endParaRPr lang="en-GB" dirty="0"/>
              </a:p>
            </p:txBody>
          </p:sp>
          <p:sp>
            <p:nvSpPr>
              <p:cNvPr id="460" name="Freihandform: Form 459">
                <a:extLst>
                  <a:ext uri="{FF2B5EF4-FFF2-40B4-BE49-F238E27FC236}">
                    <a16:creationId xmlns:a16="http://schemas.microsoft.com/office/drawing/2014/main" id="{9523AED6-4FDF-43FF-818A-855B99CA2E1F}"/>
                  </a:ext>
                </a:extLst>
              </p:cNvPr>
              <p:cNvSpPr/>
              <p:nvPr/>
            </p:nvSpPr>
            <p:spPr>
              <a:xfrm>
                <a:off x="1972635" y="1795549"/>
                <a:ext cx="211820" cy="211820"/>
              </a:xfrm>
              <a:custGeom>
                <a:avLst/>
                <a:gdLst>
                  <a:gd name="connsiteX0" fmla="*/ 105910 w 211820"/>
                  <a:gd name="connsiteY0" fmla="*/ 211821 h 211820"/>
                  <a:gd name="connsiteX1" fmla="*/ 0 w 211820"/>
                  <a:gd name="connsiteY1" fmla="*/ 105910 h 211820"/>
                  <a:gd name="connsiteX2" fmla="*/ 105910 w 211820"/>
                  <a:gd name="connsiteY2" fmla="*/ 0 h 211820"/>
                  <a:gd name="connsiteX3" fmla="*/ 211821 w 211820"/>
                  <a:gd name="connsiteY3" fmla="*/ 105910 h 211820"/>
                  <a:gd name="connsiteX4" fmla="*/ 195292 w 211820"/>
                  <a:gd name="connsiteY4" fmla="*/ 162563 h 211820"/>
                  <a:gd name="connsiteX5" fmla="*/ 190830 w 211820"/>
                  <a:gd name="connsiteY5" fmla="*/ 165528 h 211820"/>
                  <a:gd name="connsiteX6" fmla="*/ 185620 w 211820"/>
                  <a:gd name="connsiteY6" fmla="*/ 164210 h 211820"/>
                  <a:gd name="connsiteX7" fmla="*/ 148849 w 211820"/>
                  <a:gd name="connsiteY7" fmla="*/ 135375 h 211820"/>
                  <a:gd name="connsiteX8" fmla="*/ 147053 w 211820"/>
                  <a:gd name="connsiteY8" fmla="*/ 127140 h 211820"/>
                  <a:gd name="connsiteX9" fmla="*/ 152233 w 211820"/>
                  <a:gd name="connsiteY9" fmla="*/ 105910 h 211820"/>
                  <a:gd name="connsiteX10" fmla="*/ 105910 w 211820"/>
                  <a:gd name="connsiteY10" fmla="*/ 59588 h 211820"/>
                  <a:gd name="connsiteX11" fmla="*/ 59588 w 211820"/>
                  <a:gd name="connsiteY11" fmla="*/ 105910 h 211820"/>
                  <a:gd name="connsiteX12" fmla="*/ 105910 w 211820"/>
                  <a:gd name="connsiteY12" fmla="*/ 152233 h 211820"/>
                  <a:gd name="connsiteX13" fmla="*/ 110731 w 211820"/>
                  <a:gd name="connsiteY13" fmla="*/ 154179 h 211820"/>
                  <a:gd name="connsiteX14" fmla="*/ 112797 w 211820"/>
                  <a:gd name="connsiteY14" fmla="*/ 158880 h 211820"/>
                  <a:gd name="connsiteX15" fmla="*/ 112618 w 211820"/>
                  <a:gd name="connsiteY15" fmla="*/ 205233 h 211820"/>
                  <a:gd name="connsiteX16" fmla="*/ 106389 w 211820"/>
                  <a:gd name="connsiteY16" fmla="*/ 211821 h 211820"/>
                  <a:gd name="connsiteX17" fmla="*/ 105910 w 211820"/>
                  <a:gd name="connsiteY17" fmla="*/ 211821 h 211820"/>
                  <a:gd name="connsiteX18" fmla="*/ 105910 w 211820"/>
                  <a:gd name="connsiteY18" fmla="*/ 13265 h 211820"/>
                  <a:gd name="connsiteX19" fmla="*/ 13235 w 211820"/>
                  <a:gd name="connsiteY19" fmla="*/ 105940 h 211820"/>
                  <a:gd name="connsiteX20" fmla="*/ 99413 w 211820"/>
                  <a:gd name="connsiteY20" fmla="*/ 198376 h 211820"/>
                  <a:gd name="connsiteX21" fmla="*/ 99532 w 211820"/>
                  <a:gd name="connsiteY21" fmla="*/ 165139 h 211820"/>
                  <a:gd name="connsiteX22" fmla="*/ 46323 w 211820"/>
                  <a:gd name="connsiteY22" fmla="*/ 105940 h 211820"/>
                  <a:gd name="connsiteX23" fmla="*/ 105880 w 211820"/>
                  <a:gd name="connsiteY23" fmla="*/ 46383 h 211820"/>
                  <a:gd name="connsiteX24" fmla="*/ 165438 w 211820"/>
                  <a:gd name="connsiteY24" fmla="*/ 105940 h 211820"/>
                  <a:gd name="connsiteX25" fmla="*/ 161096 w 211820"/>
                  <a:gd name="connsiteY25" fmla="*/ 128218 h 211820"/>
                  <a:gd name="connsiteX26" fmla="*/ 187776 w 211820"/>
                  <a:gd name="connsiteY26" fmla="*/ 149149 h 211820"/>
                  <a:gd name="connsiteX27" fmla="*/ 198556 w 211820"/>
                  <a:gd name="connsiteY27" fmla="*/ 105940 h 211820"/>
                  <a:gd name="connsiteX28" fmla="*/ 105910 w 211820"/>
                  <a:gd name="connsiteY28" fmla="*/ 13265 h 211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11820" h="211820">
                    <a:moveTo>
                      <a:pt x="105910" y="211821"/>
                    </a:moveTo>
                    <a:cubicBezTo>
                      <a:pt x="47520" y="211821"/>
                      <a:pt x="0" y="164300"/>
                      <a:pt x="0" y="105910"/>
                    </a:cubicBezTo>
                    <a:cubicBezTo>
                      <a:pt x="0" y="47520"/>
                      <a:pt x="47520" y="0"/>
                      <a:pt x="105910" y="0"/>
                    </a:cubicBezTo>
                    <a:cubicBezTo>
                      <a:pt x="164300" y="0"/>
                      <a:pt x="211821" y="47520"/>
                      <a:pt x="211821" y="105910"/>
                    </a:cubicBezTo>
                    <a:cubicBezTo>
                      <a:pt x="211821" y="125942"/>
                      <a:pt x="206101" y="145555"/>
                      <a:pt x="195292" y="162563"/>
                    </a:cubicBezTo>
                    <a:cubicBezTo>
                      <a:pt x="194304" y="164150"/>
                      <a:pt x="192657" y="165228"/>
                      <a:pt x="190830" y="165528"/>
                    </a:cubicBezTo>
                    <a:cubicBezTo>
                      <a:pt x="188974" y="165827"/>
                      <a:pt x="187087" y="165378"/>
                      <a:pt x="185620" y="164210"/>
                    </a:cubicBezTo>
                    <a:lnTo>
                      <a:pt x="148849" y="135375"/>
                    </a:lnTo>
                    <a:cubicBezTo>
                      <a:pt x="146334" y="133428"/>
                      <a:pt x="145585" y="129955"/>
                      <a:pt x="147053" y="127140"/>
                    </a:cubicBezTo>
                    <a:cubicBezTo>
                      <a:pt x="150496" y="120493"/>
                      <a:pt x="152233" y="113366"/>
                      <a:pt x="152233" y="105910"/>
                    </a:cubicBezTo>
                    <a:cubicBezTo>
                      <a:pt x="152233" y="80368"/>
                      <a:pt x="131452" y="59588"/>
                      <a:pt x="105910" y="59588"/>
                    </a:cubicBezTo>
                    <a:cubicBezTo>
                      <a:pt x="80368" y="59588"/>
                      <a:pt x="59588" y="80368"/>
                      <a:pt x="59588" y="105910"/>
                    </a:cubicBezTo>
                    <a:cubicBezTo>
                      <a:pt x="59588" y="131452"/>
                      <a:pt x="80368" y="152233"/>
                      <a:pt x="105910" y="152233"/>
                    </a:cubicBezTo>
                    <a:cubicBezTo>
                      <a:pt x="107677" y="152233"/>
                      <a:pt x="109504" y="152922"/>
                      <a:pt x="110731" y="154179"/>
                    </a:cubicBezTo>
                    <a:cubicBezTo>
                      <a:pt x="111989" y="155437"/>
                      <a:pt x="112797" y="157114"/>
                      <a:pt x="112797" y="158880"/>
                    </a:cubicBezTo>
                    <a:lnTo>
                      <a:pt x="112618" y="205233"/>
                    </a:lnTo>
                    <a:cubicBezTo>
                      <a:pt x="112618" y="208736"/>
                      <a:pt x="109863" y="211611"/>
                      <a:pt x="106389" y="211821"/>
                    </a:cubicBezTo>
                    <a:cubicBezTo>
                      <a:pt x="106210" y="211821"/>
                      <a:pt x="106060" y="211821"/>
                      <a:pt x="105910" y="211821"/>
                    </a:cubicBezTo>
                    <a:close/>
                    <a:moveTo>
                      <a:pt x="105910" y="13265"/>
                    </a:moveTo>
                    <a:cubicBezTo>
                      <a:pt x="54827" y="13265"/>
                      <a:pt x="13235" y="54827"/>
                      <a:pt x="13235" y="105940"/>
                    </a:cubicBezTo>
                    <a:cubicBezTo>
                      <a:pt x="13235" y="154868"/>
                      <a:pt x="51323" y="195052"/>
                      <a:pt x="99413" y="198376"/>
                    </a:cubicBezTo>
                    <a:lnTo>
                      <a:pt x="99532" y="165139"/>
                    </a:lnTo>
                    <a:cubicBezTo>
                      <a:pt x="69559" y="161875"/>
                      <a:pt x="46323" y="136572"/>
                      <a:pt x="46323" y="105940"/>
                    </a:cubicBezTo>
                    <a:cubicBezTo>
                      <a:pt x="46323" y="73092"/>
                      <a:pt x="73062" y="46383"/>
                      <a:pt x="105880" y="46383"/>
                    </a:cubicBezTo>
                    <a:cubicBezTo>
                      <a:pt x="138728" y="46383"/>
                      <a:pt x="165438" y="73122"/>
                      <a:pt x="165438" y="105940"/>
                    </a:cubicBezTo>
                    <a:cubicBezTo>
                      <a:pt x="165438" y="113666"/>
                      <a:pt x="163971" y="121152"/>
                      <a:pt x="161096" y="128218"/>
                    </a:cubicBezTo>
                    <a:lnTo>
                      <a:pt x="187776" y="149149"/>
                    </a:lnTo>
                    <a:cubicBezTo>
                      <a:pt x="194843" y="135824"/>
                      <a:pt x="198556" y="121032"/>
                      <a:pt x="198556" y="105940"/>
                    </a:cubicBezTo>
                    <a:cubicBezTo>
                      <a:pt x="198556" y="54827"/>
                      <a:pt x="156994" y="13265"/>
                      <a:pt x="105910" y="13265"/>
                    </a:cubicBezTo>
                    <a:close/>
                  </a:path>
                </a:pathLst>
              </a:custGeom>
              <a:grpFill/>
              <a:ln w="2991" cap="flat">
                <a:noFill/>
                <a:prstDash val="solid"/>
                <a:miter/>
              </a:ln>
            </p:spPr>
            <p:txBody>
              <a:bodyPr rtlCol="0" anchor="ctr"/>
              <a:lstStyle/>
              <a:p>
                <a:endParaRPr lang="en-GB" dirty="0"/>
              </a:p>
            </p:txBody>
          </p:sp>
        </p:grpSp>
      </p:grpSp>
      <p:grpSp>
        <p:nvGrpSpPr>
          <p:cNvPr id="10" name="Group 9">
            <a:extLst>
              <a:ext uri="{FF2B5EF4-FFF2-40B4-BE49-F238E27FC236}">
                <a16:creationId xmlns:a16="http://schemas.microsoft.com/office/drawing/2014/main" id="{E1E4EBB3-EBBF-1205-50ED-FC577CA914E5}"/>
              </a:ext>
            </a:extLst>
          </p:cNvPr>
          <p:cNvGrpSpPr/>
          <p:nvPr/>
        </p:nvGrpSpPr>
        <p:grpSpPr>
          <a:xfrm>
            <a:off x="1506414" y="2449339"/>
            <a:ext cx="666141" cy="432000"/>
            <a:chOff x="1506414" y="2449339"/>
            <a:chExt cx="666141" cy="432000"/>
          </a:xfrm>
        </p:grpSpPr>
        <p:grpSp>
          <p:nvGrpSpPr>
            <p:cNvPr id="464" name="Group 1073">
              <a:extLst>
                <a:ext uri="{FF2B5EF4-FFF2-40B4-BE49-F238E27FC236}">
                  <a16:creationId xmlns:a16="http://schemas.microsoft.com/office/drawing/2014/main" id="{53A4427A-2CC6-4C58-B967-84804439200E}"/>
                </a:ext>
              </a:extLst>
            </p:cNvPr>
            <p:cNvGrpSpPr/>
            <p:nvPr/>
          </p:nvGrpSpPr>
          <p:grpSpPr>
            <a:xfrm>
              <a:off x="1621059" y="2449339"/>
              <a:ext cx="441500" cy="432000"/>
              <a:chOff x="1787604" y="2455969"/>
              <a:chExt cx="360200" cy="352449"/>
            </a:xfrm>
            <a:solidFill>
              <a:schemeClr val="tx2"/>
            </a:solidFill>
          </p:grpSpPr>
          <p:sp>
            <p:nvSpPr>
              <p:cNvPr id="473" name="Freihandform: Form 472">
                <a:extLst>
                  <a:ext uri="{FF2B5EF4-FFF2-40B4-BE49-F238E27FC236}">
                    <a16:creationId xmlns:a16="http://schemas.microsoft.com/office/drawing/2014/main" id="{DA6C144F-3CF6-4A0A-832D-E4012B688071}"/>
                  </a:ext>
                </a:extLst>
              </p:cNvPr>
              <p:cNvSpPr/>
              <p:nvPr/>
            </p:nvSpPr>
            <p:spPr>
              <a:xfrm>
                <a:off x="1791327" y="2575278"/>
                <a:ext cx="356477" cy="233140"/>
              </a:xfrm>
              <a:custGeom>
                <a:avLst/>
                <a:gdLst>
                  <a:gd name="connsiteX0" fmla="*/ 312311 w 356477"/>
                  <a:gd name="connsiteY0" fmla="*/ 233140 h 233140"/>
                  <a:gd name="connsiteX1" fmla="*/ 44167 w 356477"/>
                  <a:gd name="connsiteY1" fmla="*/ 233140 h 233140"/>
                  <a:gd name="connsiteX2" fmla="*/ 0 w 356477"/>
                  <a:gd name="connsiteY2" fmla="*/ 188974 h 233140"/>
                  <a:gd name="connsiteX3" fmla="*/ 0 w 356477"/>
                  <a:gd name="connsiteY3" fmla="*/ 6618 h 233140"/>
                  <a:gd name="connsiteX4" fmla="*/ 6617 w 356477"/>
                  <a:gd name="connsiteY4" fmla="*/ 0 h 233140"/>
                  <a:gd name="connsiteX5" fmla="*/ 349860 w 356477"/>
                  <a:gd name="connsiteY5" fmla="*/ 0 h 233140"/>
                  <a:gd name="connsiteX6" fmla="*/ 356478 w 356477"/>
                  <a:gd name="connsiteY6" fmla="*/ 6618 h 233140"/>
                  <a:gd name="connsiteX7" fmla="*/ 356478 w 356477"/>
                  <a:gd name="connsiteY7" fmla="*/ 188974 h 233140"/>
                  <a:gd name="connsiteX8" fmla="*/ 312311 w 356477"/>
                  <a:gd name="connsiteY8" fmla="*/ 233140 h 233140"/>
                  <a:gd name="connsiteX9" fmla="*/ 13235 w 356477"/>
                  <a:gd name="connsiteY9" fmla="*/ 13235 h 233140"/>
                  <a:gd name="connsiteX10" fmla="*/ 13235 w 356477"/>
                  <a:gd name="connsiteY10" fmla="*/ 188974 h 233140"/>
                  <a:gd name="connsiteX11" fmla="*/ 44167 w 356477"/>
                  <a:gd name="connsiteY11" fmla="*/ 219905 h 233140"/>
                  <a:gd name="connsiteX12" fmla="*/ 312311 w 356477"/>
                  <a:gd name="connsiteY12" fmla="*/ 219905 h 233140"/>
                  <a:gd name="connsiteX13" fmla="*/ 343243 w 356477"/>
                  <a:gd name="connsiteY13" fmla="*/ 188974 h 233140"/>
                  <a:gd name="connsiteX14" fmla="*/ 343243 w 356477"/>
                  <a:gd name="connsiteY14" fmla="*/ 13235 h 233140"/>
                  <a:gd name="connsiteX15" fmla="*/ 13235 w 356477"/>
                  <a:gd name="connsiteY15" fmla="*/ 13235 h 23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56477" h="233140">
                    <a:moveTo>
                      <a:pt x="312311" y="233140"/>
                    </a:moveTo>
                    <a:lnTo>
                      <a:pt x="44167" y="233140"/>
                    </a:lnTo>
                    <a:cubicBezTo>
                      <a:pt x="19823" y="233140"/>
                      <a:pt x="0" y="213318"/>
                      <a:pt x="0" y="188974"/>
                    </a:cubicBezTo>
                    <a:lnTo>
                      <a:pt x="0" y="6618"/>
                    </a:lnTo>
                    <a:cubicBezTo>
                      <a:pt x="0" y="2964"/>
                      <a:pt x="2964" y="0"/>
                      <a:pt x="6617" y="0"/>
                    </a:cubicBezTo>
                    <a:lnTo>
                      <a:pt x="349860" y="0"/>
                    </a:lnTo>
                    <a:cubicBezTo>
                      <a:pt x="353513" y="0"/>
                      <a:pt x="356478" y="2964"/>
                      <a:pt x="356478" y="6618"/>
                    </a:cubicBezTo>
                    <a:lnTo>
                      <a:pt x="356478" y="188974"/>
                    </a:lnTo>
                    <a:cubicBezTo>
                      <a:pt x="356448" y="213318"/>
                      <a:pt x="336655" y="233140"/>
                      <a:pt x="312311" y="233140"/>
                    </a:cubicBezTo>
                    <a:close/>
                    <a:moveTo>
                      <a:pt x="13235" y="13235"/>
                    </a:moveTo>
                    <a:lnTo>
                      <a:pt x="13235" y="188974"/>
                    </a:lnTo>
                    <a:cubicBezTo>
                      <a:pt x="13235" y="206012"/>
                      <a:pt x="27099" y="219905"/>
                      <a:pt x="44167" y="219905"/>
                    </a:cubicBezTo>
                    <a:lnTo>
                      <a:pt x="312311" y="219905"/>
                    </a:lnTo>
                    <a:cubicBezTo>
                      <a:pt x="329349" y="219905"/>
                      <a:pt x="343243" y="206041"/>
                      <a:pt x="343243" y="188974"/>
                    </a:cubicBezTo>
                    <a:lnTo>
                      <a:pt x="343243" y="13235"/>
                    </a:lnTo>
                    <a:lnTo>
                      <a:pt x="13235" y="13235"/>
                    </a:lnTo>
                    <a:close/>
                  </a:path>
                </a:pathLst>
              </a:custGeom>
              <a:grpFill/>
              <a:ln w="2991" cap="flat">
                <a:noFill/>
                <a:prstDash val="solid"/>
                <a:miter/>
              </a:ln>
            </p:spPr>
            <p:txBody>
              <a:bodyPr rtlCol="0" anchor="ctr"/>
              <a:lstStyle/>
              <a:p>
                <a:endParaRPr lang="en-GB" dirty="0"/>
              </a:p>
            </p:txBody>
          </p:sp>
          <p:sp>
            <p:nvSpPr>
              <p:cNvPr id="474" name="Freihandform: Form 473">
                <a:extLst>
                  <a:ext uri="{FF2B5EF4-FFF2-40B4-BE49-F238E27FC236}">
                    <a16:creationId xmlns:a16="http://schemas.microsoft.com/office/drawing/2014/main" id="{61901490-7AEA-4FC8-AA75-F581A677CB89}"/>
                  </a:ext>
                </a:extLst>
              </p:cNvPr>
              <p:cNvSpPr/>
              <p:nvPr/>
            </p:nvSpPr>
            <p:spPr>
              <a:xfrm>
                <a:off x="1796687" y="2623577"/>
                <a:ext cx="351117" cy="13235"/>
              </a:xfrm>
              <a:custGeom>
                <a:avLst/>
                <a:gdLst>
                  <a:gd name="connsiteX0" fmla="*/ 344470 w 351117"/>
                  <a:gd name="connsiteY0" fmla="*/ 13235 h 13235"/>
                  <a:gd name="connsiteX1" fmla="*/ 6617 w 351117"/>
                  <a:gd name="connsiteY1" fmla="*/ 13235 h 13235"/>
                  <a:gd name="connsiteX2" fmla="*/ 0 w 351117"/>
                  <a:gd name="connsiteY2" fmla="*/ 6617 h 13235"/>
                  <a:gd name="connsiteX3" fmla="*/ 6617 w 351117"/>
                  <a:gd name="connsiteY3" fmla="*/ 0 h 13235"/>
                  <a:gd name="connsiteX4" fmla="*/ 344500 w 351117"/>
                  <a:gd name="connsiteY4" fmla="*/ 0 h 13235"/>
                  <a:gd name="connsiteX5" fmla="*/ 351118 w 351117"/>
                  <a:gd name="connsiteY5" fmla="*/ 6617 h 13235"/>
                  <a:gd name="connsiteX6" fmla="*/ 344470 w 351117"/>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117" h="13235">
                    <a:moveTo>
                      <a:pt x="344470" y="13235"/>
                    </a:moveTo>
                    <a:lnTo>
                      <a:pt x="6617" y="13235"/>
                    </a:lnTo>
                    <a:cubicBezTo>
                      <a:pt x="2964" y="13235"/>
                      <a:pt x="0" y="10271"/>
                      <a:pt x="0" y="6617"/>
                    </a:cubicBezTo>
                    <a:cubicBezTo>
                      <a:pt x="0" y="2964"/>
                      <a:pt x="2964" y="0"/>
                      <a:pt x="6617" y="0"/>
                    </a:cubicBezTo>
                    <a:lnTo>
                      <a:pt x="344500" y="0"/>
                    </a:lnTo>
                    <a:cubicBezTo>
                      <a:pt x="348153" y="0"/>
                      <a:pt x="351118" y="2964"/>
                      <a:pt x="351118" y="6617"/>
                    </a:cubicBezTo>
                    <a:cubicBezTo>
                      <a:pt x="351088" y="10271"/>
                      <a:pt x="348123" y="13235"/>
                      <a:pt x="344470" y="13235"/>
                    </a:cubicBezTo>
                    <a:close/>
                  </a:path>
                </a:pathLst>
              </a:custGeom>
              <a:grpFill/>
              <a:ln w="2991" cap="flat">
                <a:noFill/>
                <a:prstDash val="solid"/>
                <a:miter/>
              </a:ln>
            </p:spPr>
            <p:txBody>
              <a:bodyPr rtlCol="0" anchor="ctr"/>
              <a:lstStyle/>
              <a:p>
                <a:endParaRPr lang="en-GB" dirty="0"/>
              </a:p>
            </p:txBody>
          </p:sp>
          <p:grpSp>
            <p:nvGrpSpPr>
              <p:cNvPr id="475" name="Grafik 306">
                <a:extLst>
                  <a:ext uri="{FF2B5EF4-FFF2-40B4-BE49-F238E27FC236}">
                    <a16:creationId xmlns:a16="http://schemas.microsoft.com/office/drawing/2014/main" id="{396B3CDD-E8C9-4083-8653-CF38BA42F1BC}"/>
                  </a:ext>
                </a:extLst>
              </p:cNvPr>
              <p:cNvGrpSpPr/>
              <p:nvPr/>
            </p:nvGrpSpPr>
            <p:grpSpPr>
              <a:xfrm>
                <a:off x="1818120" y="2575302"/>
                <a:ext cx="77626" cy="61510"/>
                <a:chOff x="1818120" y="2575302"/>
                <a:chExt cx="77626" cy="61510"/>
              </a:xfrm>
              <a:grpFill/>
            </p:grpSpPr>
            <p:sp>
              <p:nvSpPr>
                <p:cNvPr id="494" name="Freihandform: Form 493">
                  <a:extLst>
                    <a:ext uri="{FF2B5EF4-FFF2-40B4-BE49-F238E27FC236}">
                      <a16:creationId xmlns:a16="http://schemas.microsoft.com/office/drawing/2014/main" id="{99515256-E128-4FD3-93CD-AA3A7EDF0AB8}"/>
                    </a:ext>
                  </a:extLst>
                </p:cNvPr>
                <p:cNvSpPr/>
                <p:nvPr/>
              </p:nvSpPr>
              <p:spPr>
                <a:xfrm>
                  <a:off x="1818120" y="2575302"/>
                  <a:ext cx="45437" cy="61510"/>
                </a:xfrm>
                <a:custGeom>
                  <a:avLst/>
                  <a:gdLst>
                    <a:gd name="connsiteX0" fmla="*/ 38813 w 45437"/>
                    <a:gd name="connsiteY0" fmla="*/ 61511 h 61510"/>
                    <a:gd name="connsiteX1" fmla="*/ 33304 w 45437"/>
                    <a:gd name="connsiteY1" fmla="*/ 58576 h 61510"/>
                    <a:gd name="connsiteX2" fmla="*/ 1114 w 45437"/>
                    <a:gd name="connsiteY2" fmla="*/ 10307 h 61510"/>
                    <a:gd name="connsiteX3" fmla="*/ 2941 w 45437"/>
                    <a:gd name="connsiteY3" fmla="*/ 1114 h 61510"/>
                    <a:gd name="connsiteX4" fmla="*/ 12134 w 45437"/>
                    <a:gd name="connsiteY4" fmla="*/ 2941 h 61510"/>
                    <a:gd name="connsiteX5" fmla="*/ 44323 w 45437"/>
                    <a:gd name="connsiteY5" fmla="*/ 51210 h 61510"/>
                    <a:gd name="connsiteX6" fmla="*/ 42496 w 45437"/>
                    <a:gd name="connsiteY6" fmla="*/ 60403 h 61510"/>
                    <a:gd name="connsiteX7" fmla="*/ 38813 w 45437"/>
                    <a:gd name="connsiteY7" fmla="*/ 6151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37" h="61510">
                      <a:moveTo>
                        <a:pt x="38813" y="61511"/>
                      </a:moveTo>
                      <a:cubicBezTo>
                        <a:pt x="36687" y="61511"/>
                        <a:pt x="34591" y="60463"/>
                        <a:pt x="33304" y="58576"/>
                      </a:cubicBezTo>
                      <a:lnTo>
                        <a:pt x="1114" y="10307"/>
                      </a:lnTo>
                      <a:cubicBezTo>
                        <a:pt x="-922" y="7253"/>
                        <a:pt x="-83" y="3151"/>
                        <a:pt x="2941" y="1114"/>
                      </a:cubicBezTo>
                      <a:cubicBezTo>
                        <a:pt x="5965" y="-922"/>
                        <a:pt x="10098" y="-83"/>
                        <a:pt x="12134" y="2941"/>
                      </a:cubicBezTo>
                      <a:lnTo>
                        <a:pt x="44323" y="51210"/>
                      </a:lnTo>
                      <a:cubicBezTo>
                        <a:pt x="46359" y="54264"/>
                        <a:pt x="45521" y="58366"/>
                        <a:pt x="42496" y="60403"/>
                      </a:cubicBezTo>
                      <a:cubicBezTo>
                        <a:pt x="41359" y="61151"/>
                        <a:pt x="40071" y="61511"/>
                        <a:pt x="38813" y="61511"/>
                      </a:cubicBezTo>
                      <a:close/>
                    </a:path>
                  </a:pathLst>
                </a:custGeom>
                <a:grpFill/>
                <a:ln w="2991" cap="flat">
                  <a:noFill/>
                  <a:prstDash val="solid"/>
                  <a:miter/>
                </a:ln>
              </p:spPr>
              <p:txBody>
                <a:bodyPr rtlCol="0" anchor="ctr"/>
                <a:lstStyle/>
                <a:p>
                  <a:endParaRPr lang="en-GB" dirty="0"/>
                </a:p>
              </p:txBody>
            </p:sp>
            <p:sp>
              <p:nvSpPr>
                <p:cNvPr id="495" name="Freihandform: Form 494">
                  <a:extLst>
                    <a:ext uri="{FF2B5EF4-FFF2-40B4-BE49-F238E27FC236}">
                      <a16:creationId xmlns:a16="http://schemas.microsoft.com/office/drawing/2014/main" id="{B49BC579-5E48-4BFC-86B1-BD132D9D8719}"/>
                    </a:ext>
                  </a:extLst>
                </p:cNvPr>
                <p:cNvSpPr/>
                <p:nvPr/>
              </p:nvSpPr>
              <p:spPr>
                <a:xfrm>
                  <a:off x="1850309" y="2575302"/>
                  <a:ext cx="45437" cy="61510"/>
                </a:xfrm>
                <a:custGeom>
                  <a:avLst/>
                  <a:gdLst>
                    <a:gd name="connsiteX0" fmla="*/ 38813 w 45437"/>
                    <a:gd name="connsiteY0" fmla="*/ 61511 h 61510"/>
                    <a:gd name="connsiteX1" fmla="*/ 33304 w 45437"/>
                    <a:gd name="connsiteY1" fmla="*/ 58576 h 61510"/>
                    <a:gd name="connsiteX2" fmla="*/ 1114 w 45437"/>
                    <a:gd name="connsiteY2" fmla="*/ 10307 h 61510"/>
                    <a:gd name="connsiteX3" fmla="*/ 2941 w 45437"/>
                    <a:gd name="connsiteY3" fmla="*/ 1114 h 61510"/>
                    <a:gd name="connsiteX4" fmla="*/ 12134 w 45437"/>
                    <a:gd name="connsiteY4" fmla="*/ 2941 h 61510"/>
                    <a:gd name="connsiteX5" fmla="*/ 44323 w 45437"/>
                    <a:gd name="connsiteY5" fmla="*/ 51210 h 61510"/>
                    <a:gd name="connsiteX6" fmla="*/ 42496 w 45437"/>
                    <a:gd name="connsiteY6" fmla="*/ 60403 h 61510"/>
                    <a:gd name="connsiteX7" fmla="*/ 38813 w 45437"/>
                    <a:gd name="connsiteY7" fmla="*/ 6151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37" h="61510">
                      <a:moveTo>
                        <a:pt x="38813" y="61511"/>
                      </a:moveTo>
                      <a:cubicBezTo>
                        <a:pt x="36687" y="61511"/>
                        <a:pt x="34591" y="60463"/>
                        <a:pt x="33304" y="58576"/>
                      </a:cubicBezTo>
                      <a:lnTo>
                        <a:pt x="1114" y="10307"/>
                      </a:lnTo>
                      <a:cubicBezTo>
                        <a:pt x="-922" y="7253"/>
                        <a:pt x="-83" y="3151"/>
                        <a:pt x="2941" y="1114"/>
                      </a:cubicBezTo>
                      <a:cubicBezTo>
                        <a:pt x="5965" y="-922"/>
                        <a:pt x="10098" y="-83"/>
                        <a:pt x="12134" y="2941"/>
                      </a:cubicBezTo>
                      <a:lnTo>
                        <a:pt x="44323" y="51210"/>
                      </a:lnTo>
                      <a:cubicBezTo>
                        <a:pt x="46359" y="54264"/>
                        <a:pt x="45521" y="58366"/>
                        <a:pt x="42496" y="60403"/>
                      </a:cubicBezTo>
                      <a:cubicBezTo>
                        <a:pt x="41329" y="61151"/>
                        <a:pt x="40071" y="61511"/>
                        <a:pt x="38813" y="61511"/>
                      </a:cubicBezTo>
                      <a:close/>
                    </a:path>
                  </a:pathLst>
                </a:custGeom>
                <a:grpFill/>
                <a:ln w="2991" cap="flat">
                  <a:noFill/>
                  <a:prstDash val="solid"/>
                  <a:miter/>
                </a:ln>
              </p:spPr>
              <p:txBody>
                <a:bodyPr rtlCol="0" anchor="ctr"/>
                <a:lstStyle/>
                <a:p>
                  <a:endParaRPr lang="en-GB" dirty="0"/>
                </a:p>
              </p:txBody>
            </p:sp>
          </p:grpSp>
          <p:grpSp>
            <p:nvGrpSpPr>
              <p:cNvPr id="476" name="Grafik 306">
                <a:extLst>
                  <a:ext uri="{FF2B5EF4-FFF2-40B4-BE49-F238E27FC236}">
                    <a16:creationId xmlns:a16="http://schemas.microsoft.com/office/drawing/2014/main" id="{43197F4D-7DD2-4FCA-8899-CCCDC9BA5AB0}"/>
                  </a:ext>
                </a:extLst>
              </p:cNvPr>
              <p:cNvGrpSpPr/>
              <p:nvPr/>
            </p:nvGrpSpPr>
            <p:grpSpPr>
              <a:xfrm>
                <a:off x="2043355" y="2575302"/>
                <a:ext cx="77626" cy="61510"/>
                <a:chOff x="2043355" y="2575302"/>
                <a:chExt cx="77626" cy="61510"/>
              </a:xfrm>
              <a:grpFill/>
            </p:grpSpPr>
            <p:sp>
              <p:nvSpPr>
                <p:cNvPr id="492" name="Freihandform: Form 491">
                  <a:extLst>
                    <a:ext uri="{FF2B5EF4-FFF2-40B4-BE49-F238E27FC236}">
                      <a16:creationId xmlns:a16="http://schemas.microsoft.com/office/drawing/2014/main" id="{FEA7AA96-9CF2-4BCC-8186-828560ED4B03}"/>
                    </a:ext>
                  </a:extLst>
                </p:cNvPr>
                <p:cNvSpPr/>
                <p:nvPr/>
              </p:nvSpPr>
              <p:spPr>
                <a:xfrm>
                  <a:off x="2043355" y="2575302"/>
                  <a:ext cx="45437" cy="61510"/>
                </a:xfrm>
                <a:custGeom>
                  <a:avLst/>
                  <a:gdLst>
                    <a:gd name="connsiteX0" fmla="*/ 38813 w 45437"/>
                    <a:gd name="connsiteY0" fmla="*/ 61511 h 61510"/>
                    <a:gd name="connsiteX1" fmla="*/ 33304 w 45437"/>
                    <a:gd name="connsiteY1" fmla="*/ 58576 h 61510"/>
                    <a:gd name="connsiteX2" fmla="*/ 1114 w 45437"/>
                    <a:gd name="connsiteY2" fmla="*/ 10307 h 61510"/>
                    <a:gd name="connsiteX3" fmla="*/ 2941 w 45437"/>
                    <a:gd name="connsiteY3" fmla="*/ 1114 h 61510"/>
                    <a:gd name="connsiteX4" fmla="*/ 12134 w 45437"/>
                    <a:gd name="connsiteY4" fmla="*/ 2941 h 61510"/>
                    <a:gd name="connsiteX5" fmla="*/ 44323 w 45437"/>
                    <a:gd name="connsiteY5" fmla="*/ 51210 h 61510"/>
                    <a:gd name="connsiteX6" fmla="*/ 42496 w 45437"/>
                    <a:gd name="connsiteY6" fmla="*/ 60403 h 61510"/>
                    <a:gd name="connsiteX7" fmla="*/ 38813 w 45437"/>
                    <a:gd name="connsiteY7" fmla="*/ 6151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37" h="61510">
                      <a:moveTo>
                        <a:pt x="38813" y="61511"/>
                      </a:moveTo>
                      <a:cubicBezTo>
                        <a:pt x="36687" y="61511"/>
                        <a:pt x="34561" y="60463"/>
                        <a:pt x="33304" y="58576"/>
                      </a:cubicBezTo>
                      <a:lnTo>
                        <a:pt x="1114" y="10307"/>
                      </a:lnTo>
                      <a:cubicBezTo>
                        <a:pt x="-922" y="7253"/>
                        <a:pt x="-83" y="3151"/>
                        <a:pt x="2941" y="1114"/>
                      </a:cubicBezTo>
                      <a:cubicBezTo>
                        <a:pt x="5965" y="-922"/>
                        <a:pt x="10098" y="-83"/>
                        <a:pt x="12134" y="2941"/>
                      </a:cubicBezTo>
                      <a:lnTo>
                        <a:pt x="44323" y="51210"/>
                      </a:lnTo>
                      <a:cubicBezTo>
                        <a:pt x="46359" y="54264"/>
                        <a:pt x="45521" y="58366"/>
                        <a:pt x="42496" y="60403"/>
                      </a:cubicBezTo>
                      <a:cubicBezTo>
                        <a:pt x="41359" y="61151"/>
                        <a:pt x="40101" y="61511"/>
                        <a:pt x="38813" y="61511"/>
                      </a:cubicBezTo>
                      <a:close/>
                    </a:path>
                  </a:pathLst>
                </a:custGeom>
                <a:grpFill/>
                <a:ln w="2991" cap="flat">
                  <a:noFill/>
                  <a:prstDash val="solid"/>
                  <a:miter/>
                </a:ln>
              </p:spPr>
              <p:txBody>
                <a:bodyPr rtlCol="0" anchor="ctr"/>
                <a:lstStyle/>
                <a:p>
                  <a:endParaRPr lang="en-GB" dirty="0"/>
                </a:p>
              </p:txBody>
            </p:sp>
            <p:sp>
              <p:nvSpPr>
                <p:cNvPr id="493" name="Freihandform: Form 492">
                  <a:extLst>
                    <a:ext uri="{FF2B5EF4-FFF2-40B4-BE49-F238E27FC236}">
                      <a16:creationId xmlns:a16="http://schemas.microsoft.com/office/drawing/2014/main" id="{E773C637-3D12-4563-A19A-5E730B3834B5}"/>
                    </a:ext>
                  </a:extLst>
                </p:cNvPr>
                <p:cNvSpPr/>
                <p:nvPr/>
              </p:nvSpPr>
              <p:spPr>
                <a:xfrm>
                  <a:off x="2075544" y="2575302"/>
                  <a:ext cx="45437" cy="61510"/>
                </a:xfrm>
                <a:custGeom>
                  <a:avLst/>
                  <a:gdLst>
                    <a:gd name="connsiteX0" fmla="*/ 38813 w 45437"/>
                    <a:gd name="connsiteY0" fmla="*/ 61511 h 61510"/>
                    <a:gd name="connsiteX1" fmla="*/ 33304 w 45437"/>
                    <a:gd name="connsiteY1" fmla="*/ 58576 h 61510"/>
                    <a:gd name="connsiteX2" fmla="*/ 1114 w 45437"/>
                    <a:gd name="connsiteY2" fmla="*/ 10307 h 61510"/>
                    <a:gd name="connsiteX3" fmla="*/ 2941 w 45437"/>
                    <a:gd name="connsiteY3" fmla="*/ 1114 h 61510"/>
                    <a:gd name="connsiteX4" fmla="*/ 12134 w 45437"/>
                    <a:gd name="connsiteY4" fmla="*/ 2941 h 61510"/>
                    <a:gd name="connsiteX5" fmla="*/ 44323 w 45437"/>
                    <a:gd name="connsiteY5" fmla="*/ 51210 h 61510"/>
                    <a:gd name="connsiteX6" fmla="*/ 42496 w 45437"/>
                    <a:gd name="connsiteY6" fmla="*/ 60403 h 61510"/>
                    <a:gd name="connsiteX7" fmla="*/ 38813 w 45437"/>
                    <a:gd name="connsiteY7" fmla="*/ 6151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37" h="61510">
                      <a:moveTo>
                        <a:pt x="38813" y="61511"/>
                      </a:moveTo>
                      <a:cubicBezTo>
                        <a:pt x="36687" y="61511"/>
                        <a:pt x="34591" y="60463"/>
                        <a:pt x="33304" y="58576"/>
                      </a:cubicBezTo>
                      <a:lnTo>
                        <a:pt x="1114" y="10307"/>
                      </a:lnTo>
                      <a:cubicBezTo>
                        <a:pt x="-922" y="7253"/>
                        <a:pt x="-83" y="3151"/>
                        <a:pt x="2941" y="1114"/>
                      </a:cubicBezTo>
                      <a:cubicBezTo>
                        <a:pt x="5965" y="-922"/>
                        <a:pt x="10098" y="-83"/>
                        <a:pt x="12134" y="2941"/>
                      </a:cubicBezTo>
                      <a:lnTo>
                        <a:pt x="44323" y="51210"/>
                      </a:lnTo>
                      <a:cubicBezTo>
                        <a:pt x="46359" y="54264"/>
                        <a:pt x="45521" y="58366"/>
                        <a:pt x="42496" y="60403"/>
                      </a:cubicBezTo>
                      <a:cubicBezTo>
                        <a:pt x="41359" y="61151"/>
                        <a:pt x="40071" y="61511"/>
                        <a:pt x="38813" y="61511"/>
                      </a:cubicBezTo>
                      <a:close/>
                    </a:path>
                  </a:pathLst>
                </a:custGeom>
                <a:grpFill/>
                <a:ln w="2991" cap="flat">
                  <a:noFill/>
                  <a:prstDash val="solid"/>
                  <a:miter/>
                </a:ln>
              </p:spPr>
              <p:txBody>
                <a:bodyPr rtlCol="0" anchor="ctr"/>
                <a:lstStyle/>
                <a:p>
                  <a:endParaRPr lang="en-GB" dirty="0"/>
                </a:p>
              </p:txBody>
            </p:sp>
          </p:grpSp>
          <p:grpSp>
            <p:nvGrpSpPr>
              <p:cNvPr id="477" name="Grafik 306">
                <a:extLst>
                  <a:ext uri="{FF2B5EF4-FFF2-40B4-BE49-F238E27FC236}">
                    <a16:creationId xmlns:a16="http://schemas.microsoft.com/office/drawing/2014/main" id="{4B9CE5C0-4259-451F-BEAA-0B89FF1C61BB}"/>
                  </a:ext>
                </a:extLst>
              </p:cNvPr>
              <p:cNvGrpSpPr/>
              <p:nvPr/>
            </p:nvGrpSpPr>
            <p:grpSpPr>
              <a:xfrm>
                <a:off x="1930737" y="2575302"/>
                <a:ext cx="77626" cy="61510"/>
                <a:chOff x="1930737" y="2575302"/>
                <a:chExt cx="77626" cy="61510"/>
              </a:xfrm>
              <a:grpFill/>
            </p:grpSpPr>
            <p:sp>
              <p:nvSpPr>
                <p:cNvPr id="490" name="Freihandform: Form 489">
                  <a:extLst>
                    <a:ext uri="{FF2B5EF4-FFF2-40B4-BE49-F238E27FC236}">
                      <a16:creationId xmlns:a16="http://schemas.microsoft.com/office/drawing/2014/main" id="{B368780A-D661-4A41-B1E4-20DC548194B1}"/>
                    </a:ext>
                  </a:extLst>
                </p:cNvPr>
                <p:cNvSpPr/>
                <p:nvPr/>
              </p:nvSpPr>
              <p:spPr>
                <a:xfrm>
                  <a:off x="1930737" y="2575302"/>
                  <a:ext cx="45437" cy="61510"/>
                </a:xfrm>
                <a:custGeom>
                  <a:avLst/>
                  <a:gdLst>
                    <a:gd name="connsiteX0" fmla="*/ 38813 w 45437"/>
                    <a:gd name="connsiteY0" fmla="*/ 61511 h 61510"/>
                    <a:gd name="connsiteX1" fmla="*/ 33304 w 45437"/>
                    <a:gd name="connsiteY1" fmla="*/ 58576 h 61510"/>
                    <a:gd name="connsiteX2" fmla="*/ 1114 w 45437"/>
                    <a:gd name="connsiteY2" fmla="*/ 10307 h 61510"/>
                    <a:gd name="connsiteX3" fmla="*/ 2941 w 45437"/>
                    <a:gd name="connsiteY3" fmla="*/ 1114 h 61510"/>
                    <a:gd name="connsiteX4" fmla="*/ 12134 w 45437"/>
                    <a:gd name="connsiteY4" fmla="*/ 2941 h 61510"/>
                    <a:gd name="connsiteX5" fmla="*/ 44323 w 45437"/>
                    <a:gd name="connsiteY5" fmla="*/ 51210 h 61510"/>
                    <a:gd name="connsiteX6" fmla="*/ 42496 w 45437"/>
                    <a:gd name="connsiteY6" fmla="*/ 60403 h 61510"/>
                    <a:gd name="connsiteX7" fmla="*/ 38813 w 45437"/>
                    <a:gd name="connsiteY7" fmla="*/ 6151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37" h="61510">
                      <a:moveTo>
                        <a:pt x="38813" y="61511"/>
                      </a:moveTo>
                      <a:cubicBezTo>
                        <a:pt x="36687" y="61511"/>
                        <a:pt x="34591" y="60463"/>
                        <a:pt x="33304" y="58576"/>
                      </a:cubicBezTo>
                      <a:lnTo>
                        <a:pt x="1114" y="10307"/>
                      </a:lnTo>
                      <a:cubicBezTo>
                        <a:pt x="-922" y="7253"/>
                        <a:pt x="-83" y="3151"/>
                        <a:pt x="2941" y="1114"/>
                      </a:cubicBezTo>
                      <a:cubicBezTo>
                        <a:pt x="5995" y="-922"/>
                        <a:pt x="10097" y="-83"/>
                        <a:pt x="12134" y="2941"/>
                      </a:cubicBezTo>
                      <a:lnTo>
                        <a:pt x="44323" y="51210"/>
                      </a:lnTo>
                      <a:cubicBezTo>
                        <a:pt x="46359" y="54264"/>
                        <a:pt x="45521" y="58366"/>
                        <a:pt x="42496" y="60403"/>
                      </a:cubicBezTo>
                      <a:cubicBezTo>
                        <a:pt x="41359" y="61151"/>
                        <a:pt x="40071" y="61511"/>
                        <a:pt x="38813" y="61511"/>
                      </a:cubicBezTo>
                      <a:close/>
                    </a:path>
                  </a:pathLst>
                </a:custGeom>
                <a:grpFill/>
                <a:ln w="2991" cap="flat">
                  <a:noFill/>
                  <a:prstDash val="solid"/>
                  <a:miter/>
                </a:ln>
              </p:spPr>
              <p:txBody>
                <a:bodyPr rtlCol="0" anchor="ctr"/>
                <a:lstStyle/>
                <a:p>
                  <a:endParaRPr lang="en-GB" dirty="0"/>
                </a:p>
              </p:txBody>
            </p:sp>
            <p:sp>
              <p:nvSpPr>
                <p:cNvPr id="491" name="Freihandform: Form 490">
                  <a:extLst>
                    <a:ext uri="{FF2B5EF4-FFF2-40B4-BE49-F238E27FC236}">
                      <a16:creationId xmlns:a16="http://schemas.microsoft.com/office/drawing/2014/main" id="{F98963E7-566C-49E2-92A7-D09D4CD5EDE5}"/>
                    </a:ext>
                  </a:extLst>
                </p:cNvPr>
                <p:cNvSpPr/>
                <p:nvPr/>
              </p:nvSpPr>
              <p:spPr>
                <a:xfrm>
                  <a:off x="1962927" y="2575302"/>
                  <a:ext cx="45437" cy="61510"/>
                </a:xfrm>
                <a:custGeom>
                  <a:avLst/>
                  <a:gdLst>
                    <a:gd name="connsiteX0" fmla="*/ 38813 w 45437"/>
                    <a:gd name="connsiteY0" fmla="*/ 61511 h 61510"/>
                    <a:gd name="connsiteX1" fmla="*/ 33304 w 45437"/>
                    <a:gd name="connsiteY1" fmla="*/ 58576 h 61510"/>
                    <a:gd name="connsiteX2" fmla="*/ 1114 w 45437"/>
                    <a:gd name="connsiteY2" fmla="*/ 10307 h 61510"/>
                    <a:gd name="connsiteX3" fmla="*/ 2941 w 45437"/>
                    <a:gd name="connsiteY3" fmla="*/ 1114 h 61510"/>
                    <a:gd name="connsiteX4" fmla="*/ 12134 w 45437"/>
                    <a:gd name="connsiteY4" fmla="*/ 2941 h 61510"/>
                    <a:gd name="connsiteX5" fmla="*/ 44323 w 45437"/>
                    <a:gd name="connsiteY5" fmla="*/ 51210 h 61510"/>
                    <a:gd name="connsiteX6" fmla="*/ 42496 w 45437"/>
                    <a:gd name="connsiteY6" fmla="*/ 60403 h 61510"/>
                    <a:gd name="connsiteX7" fmla="*/ 38813 w 45437"/>
                    <a:gd name="connsiteY7" fmla="*/ 61511 h 61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37" h="61510">
                      <a:moveTo>
                        <a:pt x="38813" y="61511"/>
                      </a:moveTo>
                      <a:cubicBezTo>
                        <a:pt x="36687" y="61511"/>
                        <a:pt x="34561" y="60463"/>
                        <a:pt x="33304" y="58576"/>
                      </a:cubicBezTo>
                      <a:lnTo>
                        <a:pt x="1114" y="10307"/>
                      </a:lnTo>
                      <a:cubicBezTo>
                        <a:pt x="-922" y="7253"/>
                        <a:pt x="-83" y="3151"/>
                        <a:pt x="2941" y="1114"/>
                      </a:cubicBezTo>
                      <a:cubicBezTo>
                        <a:pt x="5965" y="-922"/>
                        <a:pt x="10097" y="-83"/>
                        <a:pt x="12134" y="2941"/>
                      </a:cubicBezTo>
                      <a:lnTo>
                        <a:pt x="44323" y="51210"/>
                      </a:lnTo>
                      <a:cubicBezTo>
                        <a:pt x="46359" y="54264"/>
                        <a:pt x="45521" y="58366"/>
                        <a:pt x="42496" y="60403"/>
                      </a:cubicBezTo>
                      <a:cubicBezTo>
                        <a:pt x="41359" y="61151"/>
                        <a:pt x="40071" y="61511"/>
                        <a:pt x="38813" y="61511"/>
                      </a:cubicBezTo>
                      <a:close/>
                    </a:path>
                  </a:pathLst>
                </a:custGeom>
                <a:grpFill/>
                <a:ln w="2991" cap="flat">
                  <a:noFill/>
                  <a:prstDash val="solid"/>
                  <a:miter/>
                </a:ln>
              </p:spPr>
              <p:txBody>
                <a:bodyPr rtlCol="0" anchor="ctr"/>
                <a:lstStyle/>
                <a:p>
                  <a:endParaRPr lang="en-GB" dirty="0"/>
                </a:p>
              </p:txBody>
            </p:sp>
          </p:grpSp>
          <p:grpSp>
            <p:nvGrpSpPr>
              <p:cNvPr id="478" name="Grafik 306">
                <a:extLst>
                  <a:ext uri="{FF2B5EF4-FFF2-40B4-BE49-F238E27FC236}">
                    <a16:creationId xmlns:a16="http://schemas.microsoft.com/office/drawing/2014/main" id="{3EFD7011-4B85-49C4-809A-AE74C3048A7D}"/>
                  </a:ext>
                </a:extLst>
              </p:cNvPr>
              <p:cNvGrpSpPr/>
              <p:nvPr/>
            </p:nvGrpSpPr>
            <p:grpSpPr>
              <a:xfrm>
                <a:off x="1787604" y="2455969"/>
                <a:ext cx="350915" cy="130778"/>
                <a:chOff x="1787604" y="2455969"/>
                <a:chExt cx="350915" cy="130778"/>
              </a:xfrm>
              <a:grpFill/>
            </p:grpSpPr>
            <p:grpSp>
              <p:nvGrpSpPr>
                <p:cNvPr id="479" name="Grafik 306">
                  <a:extLst>
                    <a:ext uri="{FF2B5EF4-FFF2-40B4-BE49-F238E27FC236}">
                      <a16:creationId xmlns:a16="http://schemas.microsoft.com/office/drawing/2014/main" id="{09B2315C-2C18-489F-AB2B-04C9D91E12EA}"/>
                    </a:ext>
                  </a:extLst>
                </p:cNvPr>
                <p:cNvGrpSpPr/>
                <p:nvPr/>
              </p:nvGrpSpPr>
              <p:grpSpPr>
                <a:xfrm>
                  <a:off x="1808061" y="2461924"/>
                  <a:ext cx="304379" cy="111408"/>
                  <a:chOff x="1808061" y="2461924"/>
                  <a:chExt cx="304379" cy="111408"/>
                </a:xfrm>
                <a:grpFill/>
              </p:grpSpPr>
              <p:grpSp>
                <p:nvGrpSpPr>
                  <p:cNvPr id="481" name="Grafik 306">
                    <a:extLst>
                      <a:ext uri="{FF2B5EF4-FFF2-40B4-BE49-F238E27FC236}">
                        <a16:creationId xmlns:a16="http://schemas.microsoft.com/office/drawing/2014/main" id="{8ED43688-9235-47AE-93D2-A1797B7F76FD}"/>
                      </a:ext>
                    </a:extLst>
                  </p:cNvPr>
                  <p:cNvGrpSpPr/>
                  <p:nvPr/>
                </p:nvGrpSpPr>
                <p:grpSpPr>
                  <a:xfrm>
                    <a:off x="1808061" y="2513128"/>
                    <a:ext cx="85013" cy="60204"/>
                    <a:chOff x="1808061" y="2513128"/>
                    <a:chExt cx="85013" cy="60204"/>
                  </a:xfrm>
                  <a:grpFill/>
                </p:grpSpPr>
                <p:sp>
                  <p:nvSpPr>
                    <p:cNvPr id="488" name="Freihandform: Form 487">
                      <a:extLst>
                        <a:ext uri="{FF2B5EF4-FFF2-40B4-BE49-F238E27FC236}">
                          <a16:creationId xmlns:a16="http://schemas.microsoft.com/office/drawing/2014/main" id="{501E52F3-BE63-4173-969B-9585AEE1C0BD}"/>
                        </a:ext>
                      </a:extLst>
                    </p:cNvPr>
                    <p:cNvSpPr/>
                    <p:nvPr/>
                  </p:nvSpPr>
                  <p:spPr>
                    <a:xfrm>
                      <a:off x="1808061" y="2522514"/>
                      <a:ext cx="53667" cy="50818"/>
                    </a:xfrm>
                    <a:custGeom>
                      <a:avLst/>
                      <a:gdLst>
                        <a:gd name="connsiteX0" fmla="*/ 47075 w 53667"/>
                        <a:gd name="connsiteY0" fmla="*/ 50818 h 50818"/>
                        <a:gd name="connsiteX1" fmla="*/ 42554 w 53667"/>
                        <a:gd name="connsiteY1" fmla="*/ 49052 h 50818"/>
                        <a:gd name="connsiteX2" fmla="*/ 2100 w 53667"/>
                        <a:gd name="connsiteY2" fmla="*/ 11443 h 50818"/>
                        <a:gd name="connsiteX3" fmla="*/ 1771 w 53667"/>
                        <a:gd name="connsiteY3" fmla="*/ 2100 h 50818"/>
                        <a:gd name="connsiteX4" fmla="*/ 11113 w 53667"/>
                        <a:gd name="connsiteY4" fmla="*/ 1771 h 50818"/>
                        <a:gd name="connsiteX5" fmla="*/ 51567 w 53667"/>
                        <a:gd name="connsiteY5" fmla="*/ 39380 h 50818"/>
                        <a:gd name="connsiteX6" fmla="*/ 51896 w 53667"/>
                        <a:gd name="connsiteY6" fmla="*/ 48722 h 50818"/>
                        <a:gd name="connsiteX7" fmla="*/ 47075 w 53667"/>
                        <a:gd name="connsiteY7" fmla="*/ 50818 h 50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667" h="50818">
                          <a:moveTo>
                            <a:pt x="47075" y="50818"/>
                          </a:moveTo>
                          <a:cubicBezTo>
                            <a:pt x="45458" y="50818"/>
                            <a:pt x="43841" y="50220"/>
                            <a:pt x="42554" y="49052"/>
                          </a:cubicBezTo>
                          <a:lnTo>
                            <a:pt x="2100" y="11443"/>
                          </a:lnTo>
                          <a:cubicBezTo>
                            <a:pt x="-565" y="8957"/>
                            <a:pt x="-714" y="4765"/>
                            <a:pt x="1771" y="2100"/>
                          </a:cubicBezTo>
                          <a:cubicBezTo>
                            <a:pt x="4256" y="-565"/>
                            <a:pt x="8448" y="-714"/>
                            <a:pt x="11113" y="1771"/>
                          </a:cubicBezTo>
                          <a:lnTo>
                            <a:pt x="51567" y="39380"/>
                          </a:lnTo>
                          <a:cubicBezTo>
                            <a:pt x="54232" y="41865"/>
                            <a:pt x="54382" y="46057"/>
                            <a:pt x="51896" y="48722"/>
                          </a:cubicBezTo>
                          <a:cubicBezTo>
                            <a:pt x="50609" y="50130"/>
                            <a:pt x="48842" y="50818"/>
                            <a:pt x="47075" y="50818"/>
                          </a:cubicBezTo>
                          <a:close/>
                        </a:path>
                      </a:pathLst>
                    </a:custGeom>
                    <a:grpFill/>
                    <a:ln w="2991" cap="flat">
                      <a:noFill/>
                      <a:prstDash val="solid"/>
                      <a:miter/>
                    </a:ln>
                  </p:spPr>
                  <p:txBody>
                    <a:bodyPr rtlCol="0" anchor="ctr"/>
                    <a:lstStyle/>
                    <a:p>
                      <a:endParaRPr lang="en-GB" dirty="0"/>
                    </a:p>
                  </p:txBody>
                </p:sp>
                <p:sp>
                  <p:nvSpPr>
                    <p:cNvPr id="489" name="Freihandform: Form 488">
                      <a:extLst>
                        <a:ext uri="{FF2B5EF4-FFF2-40B4-BE49-F238E27FC236}">
                          <a16:creationId xmlns:a16="http://schemas.microsoft.com/office/drawing/2014/main" id="{05339E53-F6A7-4B5F-8338-173634532F69}"/>
                        </a:ext>
                      </a:extLst>
                    </p:cNvPr>
                    <p:cNvSpPr/>
                    <p:nvPr/>
                  </p:nvSpPr>
                  <p:spPr>
                    <a:xfrm>
                      <a:off x="1837530" y="2513128"/>
                      <a:ext cx="55545" cy="52898"/>
                    </a:xfrm>
                    <a:custGeom>
                      <a:avLst/>
                      <a:gdLst>
                        <a:gd name="connsiteX0" fmla="*/ 48928 w 55545"/>
                        <a:gd name="connsiteY0" fmla="*/ 52898 h 52898"/>
                        <a:gd name="connsiteX1" fmla="*/ 44406 w 55545"/>
                        <a:gd name="connsiteY1" fmla="*/ 51102 h 52898"/>
                        <a:gd name="connsiteX2" fmla="*/ 2096 w 55545"/>
                        <a:gd name="connsiteY2" fmla="*/ 11427 h 52898"/>
                        <a:gd name="connsiteX3" fmla="*/ 1797 w 55545"/>
                        <a:gd name="connsiteY3" fmla="*/ 2084 h 52898"/>
                        <a:gd name="connsiteX4" fmla="*/ 11139 w 55545"/>
                        <a:gd name="connsiteY4" fmla="*/ 1785 h 52898"/>
                        <a:gd name="connsiteX5" fmla="*/ 53449 w 55545"/>
                        <a:gd name="connsiteY5" fmla="*/ 41460 h 52898"/>
                        <a:gd name="connsiteX6" fmla="*/ 53749 w 55545"/>
                        <a:gd name="connsiteY6" fmla="*/ 50802 h 52898"/>
                        <a:gd name="connsiteX7" fmla="*/ 48928 w 55545"/>
                        <a:gd name="connsiteY7" fmla="*/ 52898 h 5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45" h="52898">
                          <a:moveTo>
                            <a:pt x="48928" y="52898"/>
                          </a:moveTo>
                          <a:cubicBezTo>
                            <a:pt x="47311" y="52898"/>
                            <a:pt x="45664" y="52300"/>
                            <a:pt x="44406" y="51102"/>
                          </a:cubicBezTo>
                          <a:lnTo>
                            <a:pt x="2096" y="11427"/>
                          </a:lnTo>
                          <a:cubicBezTo>
                            <a:pt x="-569" y="8911"/>
                            <a:pt x="-719" y="4749"/>
                            <a:pt x="1797" y="2084"/>
                          </a:cubicBezTo>
                          <a:cubicBezTo>
                            <a:pt x="4312" y="-581"/>
                            <a:pt x="8504" y="-700"/>
                            <a:pt x="11139" y="1785"/>
                          </a:cubicBezTo>
                          <a:lnTo>
                            <a:pt x="53449" y="41460"/>
                          </a:lnTo>
                          <a:cubicBezTo>
                            <a:pt x="56114" y="43975"/>
                            <a:pt x="56264" y="48137"/>
                            <a:pt x="53749" y="50802"/>
                          </a:cubicBezTo>
                          <a:cubicBezTo>
                            <a:pt x="52461" y="52210"/>
                            <a:pt x="50694" y="52898"/>
                            <a:pt x="48928" y="52898"/>
                          </a:cubicBezTo>
                          <a:close/>
                        </a:path>
                      </a:pathLst>
                    </a:custGeom>
                    <a:grpFill/>
                    <a:ln w="2991" cap="flat">
                      <a:noFill/>
                      <a:prstDash val="solid"/>
                      <a:miter/>
                    </a:ln>
                  </p:spPr>
                  <p:txBody>
                    <a:bodyPr rtlCol="0" anchor="ctr"/>
                    <a:lstStyle/>
                    <a:p>
                      <a:endParaRPr lang="en-GB" dirty="0"/>
                    </a:p>
                  </p:txBody>
                </p:sp>
              </p:grpSp>
              <p:grpSp>
                <p:nvGrpSpPr>
                  <p:cNvPr id="482" name="Grafik 306">
                    <a:extLst>
                      <a:ext uri="{FF2B5EF4-FFF2-40B4-BE49-F238E27FC236}">
                        <a16:creationId xmlns:a16="http://schemas.microsoft.com/office/drawing/2014/main" id="{7AC87227-C507-42B1-9FCB-811431E60300}"/>
                      </a:ext>
                    </a:extLst>
                  </p:cNvPr>
                  <p:cNvGrpSpPr/>
                  <p:nvPr/>
                </p:nvGrpSpPr>
                <p:grpSpPr>
                  <a:xfrm>
                    <a:off x="2025545" y="2461924"/>
                    <a:ext cx="86895" cy="60204"/>
                    <a:chOff x="2025545" y="2461924"/>
                    <a:chExt cx="86895" cy="60204"/>
                  </a:xfrm>
                  <a:grpFill/>
                </p:grpSpPr>
                <p:sp>
                  <p:nvSpPr>
                    <p:cNvPr id="486" name="Freihandform: Form 485">
                      <a:extLst>
                        <a:ext uri="{FF2B5EF4-FFF2-40B4-BE49-F238E27FC236}">
                          <a16:creationId xmlns:a16="http://schemas.microsoft.com/office/drawing/2014/main" id="{53030495-D474-4DFE-95D6-9C59E7A39AF4}"/>
                        </a:ext>
                      </a:extLst>
                    </p:cNvPr>
                    <p:cNvSpPr/>
                    <p:nvPr/>
                  </p:nvSpPr>
                  <p:spPr>
                    <a:xfrm>
                      <a:off x="2025545" y="2469230"/>
                      <a:ext cx="55545" cy="52898"/>
                    </a:xfrm>
                    <a:custGeom>
                      <a:avLst/>
                      <a:gdLst>
                        <a:gd name="connsiteX0" fmla="*/ 48928 w 55545"/>
                        <a:gd name="connsiteY0" fmla="*/ 52898 h 52898"/>
                        <a:gd name="connsiteX1" fmla="*/ 44406 w 55545"/>
                        <a:gd name="connsiteY1" fmla="*/ 51102 h 52898"/>
                        <a:gd name="connsiteX2" fmla="*/ 2096 w 55545"/>
                        <a:gd name="connsiteY2" fmla="*/ 11427 h 52898"/>
                        <a:gd name="connsiteX3" fmla="*/ 1797 w 55545"/>
                        <a:gd name="connsiteY3" fmla="*/ 2084 h 52898"/>
                        <a:gd name="connsiteX4" fmla="*/ 11139 w 55545"/>
                        <a:gd name="connsiteY4" fmla="*/ 1785 h 52898"/>
                        <a:gd name="connsiteX5" fmla="*/ 53449 w 55545"/>
                        <a:gd name="connsiteY5" fmla="*/ 41460 h 52898"/>
                        <a:gd name="connsiteX6" fmla="*/ 53749 w 55545"/>
                        <a:gd name="connsiteY6" fmla="*/ 50802 h 52898"/>
                        <a:gd name="connsiteX7" fmla="*/ 48928 w 55545"/>
                        <a:gd name="connsiteY7" fmla="*/ 52898 h 5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45" h="52898">
                          <a:moveTo>
                            <a:pt x="48928" y="52898"/>
                          </a:moveTo>
                          <a:cubicBezTo>
                            <a:pt x="47311" y="52898"/>
                            <a:pt x="45664" y="52300"/>
                            <a:pt x="44406" y="51102"/>
                          </a:cubicBezTo>
                          <a:lnTo>
                            <a:pt x="2096" y="11427"/>
                          </a:lnTo>
                          <a:cubicBezTo>
                            <a:pt x="-569" y="8911"/>
                            <a:pt x="-719" y="4749"/>
                            <a:pt x="1797" y="2084"/>
                          </a:cubicBezTo>
                          <a:cubicBezTo>
                            <a:pt x="4312" y="-581"/>
                            <a:pt x="8504" y="-700"/>
                            <a:pt x="11139" y="1785"/>
                          </a:cubicBezTo>
                          <a:lnTo>
                            <a:pt x="53449" y="41460"/>
                          </a:lnTo>
                          <a:cubicBezTo>
                            <a:pt x="56114" y="43975"/>
                            <a:pt x="56264" y="48137"/>
                            <a:pt x="53749" y="50802"/>
                          </a:cubicBezTo>
                          <a:cubicBezTo>
                            <a:pt x="52461" y="52210"/>
                            <a:pt x="50694" y="52898"/>
                            <a:pt x="48928" y="52898"/>
                          </a:cubicBezTo>
                          <a:close/>
                        </a:path>
                      </a:pathLst>
                    </a:custGeom>
                    <a:grpFill/>
                    <a:ln w="2991" cap="flat">
                      <a:noFill/>
                      <a:prstDash val="solid"/>
                      <a:miter/>
                    </a:ln>
                  </p:spPr>
                  <p:txBody>
                    <a:bodyPr rtlCol="0" anchor="ctr"/>
                    <a:lstStyle/>
                    <a:p>
                      <a:endParaRPr lang="en-GB" dirty="0"/>
                    </a:p>
                  </p:txBody>
                </p:sp>
                <p:sp>
                  <p:nvSpPr>
                    <p:cNvPr id="487" name="Freihandform: Form 486">
                      <a:extLst>
                        <a:ext uri="{FF2B5EF4-FFF2-40B4-BE49-F238E27FC236}">
                          <a16:creationId xmlns:a16="http://schemas.microsoft.com/office/drawing/2014/main" id="{D1DBE504-E8A5-4731-99C0-42FD0F29EA90}"/>
                        </a:ext>
                      </a:extLst>
                    </p:cNvPr>
                    <p:cNvSpPr/>
                    <p:nvPr/>
                  </p:nvSpPr>
                  <p:spPr>
                    <a:xfrm>
                      <a:off x="2056896" y="2461924"/>
                      <a:ext cx="55545" cy="52898"/>
                    </a:xfrm>
                    <a:custGeom>
                      <a:avLst/>
                      <a:gdLst>
                        <a:gd name="connsiteX0" fmla="*/ 48928 w 55545"/>
                        <a:gd name="connsiteY0" fmla="*/ 52898 h 52898"/>
                        <a:gd name="connsiteX1" fmla="*/ 44406 w 55545"/>
                        <a:gd name="connsiteY1" fmla="*/ 51102 h 52898"/>
                        <a:gd name="connsiteX2" fmla="*/ 2096 w 55545"/>
                        <a:gd name="connsiteY2" fmla="*/ 11427 h 52898"/>
                        <a:gd name="connsiteX3" fmla="*/ 1797 w 55545"/>
                        <a:gd name="connsiteY3" fmla="*/ 2084 h 52898"/>
                        <a:gd name="connsiteX4" fmla="*/ 11139 w 55545"/>
                        <a:gd name="connsiteY4" fmla="*/ 1785 h 52898"/>
                        <a:gd name="connsiteX5" fmla="*/ 53449 w 55545"/>
                        <a:gd name="connsiteY5" fmla="*/ 41460 h 52898"/>
                        <a:gd name="connsiteX6" fmla="*/ 53749 w 55545"/>
                        <a:gd name="connsiteY6" fmla="*/ 50802 h 52898"/>
                        <a:gd name="connsiteX7" fmla="*/ 48928 w 55545"/>
                        <a:gd name="connsiteY7" fmla="*/ 52898 h 5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45" h="52898">
                          <a:moveTo>
                            <a:pt x="48928" y="52898"/>
                          </a:moveTo>
                          <a:cubicBezTo>
                            <a:pt x="47311" y="52898"/>
                            <a:pt x="45664" y="52300"/>
                            <a:pt x="44406" y="51102"/>
                          </a:cubicBezTo>
                          <a:lnTo>
                            <a:pt x="2096" y="11427"/>
                          </a:lnTo>
                          <a:cubicBezTo>
                            <a:pt x="-569" y="8911"/>
                            <a:pt x="-719" y="4749"/>
                            <a:pt x="1797" y="2084"/>
                          </a:cubicBezTo>
                          <a:cubicBezTo>
                            <a:pt x="4312" y="-581"/>
                            <a:pt x="8474" y="-700"/>
                            <a:pt x="11139" y="1785"/>
                          </a:cubicBezTo>
                          <a:lnTo>
                            <a:pt x="53449" y="41460"/>
                          </a:lnTo>
                          <a:cubicBezTo>
                            <a:pt x="56114" y="43975"/>
                            <a:pt x="56264" y="48137"/>
                            <a:pt x="53749" y="50802"/>
                          </a:cubicBezTo>
                          <a:cubicBezTo>
                            <a:pt x="52461" y="52180"/>
                            <a:pt x="50694" y="52898"/>
                            <a:pt x="48928" y="52898"/>
                          </a:cubicBezTo>
                          <a:close/>
                        </a:path>
                      </a:pathLst>
                    </a:custGeom>
                    <a:grpFill/>
                    <a:ln w="2991" cap="flat">
                      <a:noFill/>
                      <a:prstDash val="solid"/>
                      <a:miter/>
                    </a:ln>
                  </p:spPr>
                  <p:txBody>
                    <a:bodyPr rtlCol="0" anchor="ctr"/>
                    <a:lstStyle/>
                    <a:p>
                      <a:endParaRPr lang="en-GB" dirty="0"/>
                    </a:p>
                  </p:txBody>
                </p:sp>
              </p:grpSp>
              <p:grpSp>
                <p:nvGrpSpPr>
                  <p:cNvPr id="483" name="Grafik 306">
                    <a:extLst>
                      <a:ext uri="{FF2B5EF4-FFF2-40B4-BE49-F238E27FC236}">
                        <a16:creationId xmlns:a16="http://schemas.microsoft.com/office/drawing/2014/main" id="{17A63767-7C81-403C-B0B6-87D8D04ED576}"/>
                      </a:ext>
                    </a:extLst>
                  </p:cNvPr>
                  <p:cNvGrpSpPr/>
                  <p:nvPr/>
                </p:nvGrpSpPr>
                <p:grpSpPr>
                  <a:xfrm>
                    <a:off x="1915892" y="2487526"/>
                    <a:ext cx="86865" cy="60204"/>
                    <a:chOff x="1915892" y="2487526"/>
                    <a:chExt cx="86865" cy="60204"/>
                  </a:xfrm>
                  <a:grpFill/>
                </p:grpSpPr>
                <p:sp>
                  <p:nvSpPr>
                    <p:cNvPr id="484" name="Freihandform: Form 483">
                      <a:extLst>
                        <a:ext uri="{FF2B5EF4-FFF2-40B4-BE49-F238E27FC236}">
                          <a16:creationId xmlns:a16="http://schemas.microsoft.com/office/drawing/2014/main" id="{5D5424B9-306B-4784-B9D5-2F1644F1282F}"/>
                        </a:ext>
                      </a:extLst>
                    </p:cNvPr>
                    <p:cNvSpPr/>
                    <p:nvPr/>
                  </p:nvSpPr>
                  <p:spPr>
                    <a:xfrm>
                      <a:off x="1915892" y="2494832"/>
                      <a:ext cx="55545" cy="52898"/>
                    </a:xfrm>
                    <a:custGeom>
                      <a:avLst/>
                      <a:gdLst>
                        <a:gd name="connsiteX0" fmla="*/ 48928 w 55545"/>
                        <a:gd name="connsiteY0" fmla="*/ 52898 h 52898"/>
                        <a:gd name="connsiteX1" fmla="*/ 44406 w 55545"/>
                        <a:gd name="connsiteY1" fmla="*/ 51102 h 52898"/>
                        <a:gd name="connsiteX2" fmla="*/ 2096 w 55545"/>
                        <a:gd name="connsiteY2" fmla="*/ 11427 h 52898"/>
                        <a:gd name="connsiteX3" fmla="*/ 1796 w 55545"/>
                        <a:gd name="connsiteY3" fmla="*/ 2084 h 52898"/>
                        <a:gd name="connsiteX4" fmla="*/ 11139 w 55545"/>
                        <a:gd name="connsiteY4" fmla="*/ 1785 h 52898"/>
                        <a:gd name="connsiteX5" fmla="*/ 53449 w 55545"/>
                        <a:gd name="connsiteY5" fmla="*/ 41460 h 52898"/>
                        <a:gd name="connsiteX6" fmla="*/ 53749 w 55545"/>
                        <a:gd name="connsiteY6" fmla="*/ 50802 h 52898"/>
                        <a:gd name="connsiteX7" fmla="*/ 48928 w 55545"/>
                        <a:gd name="connsiteY7" fmla="*/ 52898 h 5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45" h="52898">
                          <a:moveTo>
                            <a:pt x="48928" y="52898"/>
                          </a:moveTo>
                          <a:cubicBezTo>
                            <a:pt x="47311" y="52898"/>
                            <a:pt x="45664" y="52300"/>
                            <a:pt x="44406" y="51102"/>
                          </a:cubicBezTo>
                          <a:lnTo>
                            <a:pt x="2096" y="11427"/>
                          </a:lnTo>
                          <a:cubicBezTo>
                            <a:pt x="-569" y="8911"/>
                            <a:pt x="-719" y="4749"/>
                            <a:pt x="1796" y="2084"/>
                          </a:cubicBezTo>
                          <a:cubicBezTo>
                            <a:pt x="4282" y="-581"/>
                            <a:pt x="8504" y="-700"/>
                            <a:pt x="11139" y="1785"/>
                          </a:cubicBezTo>
                          <a:lnTo>
                            <a:pt x="53449" y="41460"/>
                          </a:lnTo>
                          <a:cubicBezTo>
                            <a:pt x="56114" y="43975"/>
                            <a:pt x="56264" y="48137"/>
                            <a:pt x="53749" y="50802"/>
                          </a:cubicBezTo>
                          <a:cubicBezTo>
                            <a:pt x="52431" y="52210"/>
                            <a:pt x="50694" y="52898"/>
                            <a:pt x="48928" y="52898"/>
                          </a:cubicBezTo>
                          <a:close/>
                        </a:path>
                      </a:pathLst>
                    </a:custGeom>
                    <a:grpFill/>
                    <a:ln w="2991" cap="flat">
                      <a:noFill/>
                      <a:prstDash val="solid"/>
                      <a:miter/>
                    </a:ln>
                  </p:spPr>
                  <p:txBody>
                    <a:bodyPr rtlCol="0" anchor="ctr"/>
                    <a:lstStyle/>
                    <a:p>
                      <a:endParaRPr lang="en-GB" dirty="0"/>
                    </a:p>
                  </p:txBody>
                </p:sp>
                <p:sp>
                  <p:nvSpPr>
                    <p:cNvPr id="485" name="Freihandform: Form 484">
                      <a:extLst>
                        <a:ext uri="{FF2B5EF4-FFF2-40B4-BE49-F238E27FC236}">
                          <a16:creationId xmlns:a16="http://schemas.microsoft.com/office/drawing/2014/main" id="{883BB2E0-F1A7-4827-AF17-86CCCD20F291}"/>
                        </a:ext>
                      </a:extLst>
                    </p:cNvPr>
                    <p:cNvSpPr/>
                    <p:nvPr/>
                  </p:nvSpPr>
                  <p:spPr>
                    <a:xfrm>
                      <a:off x="1947213" y="2487526"/>
                      <a:ext cx="55545" cy="52898"/>
                    </a:xfrm>
                    <a:custGeom>
                      <a:avLst/>
                      <a:gdLst>
                        <a:gd name="connsiteX0" fmla="*/ 48928 w 55545"/>
                        <a:gd name="connsiteY0" fmla="*/ 52898 h 52898"/>
                        <a:gd name="connsiteX1" fmla="*/ 44406 w 55545"/>
                        <a:gd name="connsiteY1" fmla="*/ 51102 h 52898"/>
                        <a:gd name="connsiteX2" fmla="*/ 2096 w 55545"/>
                        <a:gd name="connsiteY2" fmla="*/ 11427 h 52898"/>
                        <a:gd name="connsiteX3" fmla="*/ 1797 w 55545"/>
                        <a:gd name="connsiteY3" fmla="*/ 2084 h 52898"/>
                        <a:gd name="connsiteX4" fmla="*/ 11139 w 55545"/>
                        <a:gd name="connsiteY4" fmla="*/ 1785 h 52898"/>
                        <a:gd name="connsiteX5" fmla="*/ 53449 w 55545"/>
                        <a:gd name="connsiteY5" fmla="*/ 41460 h 52898"/>
                        <a:gd name="connsiteX6" fmla="*/ 53748 w 55545"/>
                        <a:gd name="connsiteY6" fmla="*/ 50802 h 52898"/>
                        <a:gd name="connsiteX7" fmla="*/ 48928 w 55545"/>
                        <a:gd name="connsiteY7" fmla="*/ 52898 h 52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545" h="52898">
                          <a:moveTo>
                            <a:pt x="48928" y="52898"/>
                          </a:moveTo>
                          <a:cubicBezTo>
                            <a:pt x="47311" y="52898"/>
                            <a:pt x="45664" y="52300"/>
                            <a:pt x="44406" y="51102"/>
                          </a:cubicBezTo>
                          <a:lnTo>
                            <a:pt x="2096" y="11427"/>
                          </a:lnTo>
                          <a:cubicBezTo>
                            <a:pt x="-569" y="8911"/>
                            <a:pt x="-719" y="4749"/>
                            <a:pt x="1797" y="2084"/>
                          </a:cubicBezTo>
                          <a:cubicBezTo>
                            <a:pt x="4282" y="-581"/>
                            <a:pt x="8474" y="-700"/>
                            <a:pt x="11139" y="1785"/>
                          </a:cubicBezTo>
                          <a:lnTo>
                            <a:pt x="53449" y="41460"/>
                          </a:lnTo>
                          <a:cubicBezTo>
                            <a:pt x="56114" y="43975"/>
                            <a:pt x="56264" y="48137"/>
                            <a:pt x="53748" y="50802"/>
                          </a:cubicBezTo>
                          <a:cubicBezTo>
                            <a:pt x="52461" y="52180"/>
                            <a:pt x="50694" y="52898"/>
                            <a:pt x="48928" y="52898"/>
                          </a:cubicBezTo>
                          <a:close/>
                        </a:path>
                      </a:pathLst>
                    </a:custGeom>
                    <a:grpFill/>
                    <a:ln w="2991" cap="flat">
                      <a:noFill/>
                      <a:prstDash val="solid"/>
                      <a:miter/>
                    </a:ln>
                  </p:spPr>
                  <p:txBody>
                    <a:bodyPr rtlCol="0" anchor="ctr"/>
                    <a:lstStyle/>
                    <a:p>
                      <a:endParaRPr lang="en-GB" dirty="0"/>
                    </a:p>
                  </p:txBody>
                </p:sp>
              </p:grpSp>
            </p:grpSp>
            <p:sp>
              <p:nvSpPr>
                <p:cNvPr id="480" name="Freihandform: Form 479">
                  <a:extLst>
                    <a:ext uri="{FF2B5EF4-FFF2-40B4-BE49-F238E27FC236}">
                      <a16:creationId xmlns:a16="http://schemas.microsoft.com/office/drawing/2014/main" id="{42A9E38B-B3B2-476C-BA1A-A8B7085BF9B0}"/>
                    </a:ext>
                  </a:extLst>
                </p:cNvPr>
                <p:cNvSpPr/>
                <p:nvPr/>
              </p:nvSpPr>
              <p:spPr>
                <a:xfrm>
                  <a:off x="1787604" y="2455969"/>
                  <a:ext cx="350915" cy="130778"/>
                </a:xfrm>
                <a:custGeom>
                  <a:avLst/>
                  <a:gdLst>
                    <a:gd name="connsiteX0" fmla="*/ 10070 w 350915"/>
                    <a:gd name="connsiteY0" fmla="*/ 130778 h 130778"/>
                    <a:gd name="connsiteX1" fmla="*/ 6567 w 350915"/>
                    <a:gd name="connsiteY1" fmla="*/ 129790 h 130778"/>
                    <a:gd name="connsiteX2" fmla="*/ 3602 w 350915"/>
                    <a:gd name="connsiteY2" fmla="*/ 125658 h 130778"/>
                    <a:gd name="connsiteX3" fmla="*/ 1177 w 350915"/>
                    <a:gd name="connsiteY3" fmla="*/ 115207 h 130778"/>
                    <a:gd name="connsiteX4" fmla="*/ 6657 w 350915"/>
                    <a:gd name="connsiteY4" fmla="*/ 81850 h 130778"/>
                    <a:gd name="connsiteX5" fmla="*/ 34115 w 350915"/>
                    <a:gd name="connsiteY5" fmla="*/ 62148 h 130778"/>
                    <a:gd name="connsiteX6" fmla="*/ 295252 w 350915"/>
                    <a:gd name="connsiteY6" fmla="*/ 1183 h 130778"/>
                    <a:gd name="connsiteX7" fmla="*/ 328610 w 350915"/>
                    <a:gd name="connsiteY7" fmla="*/ 6662 h 130778"/>
                    <a:gd name="connsiteX8" fmla="*/ 348312 w 350915"/>
                    <a:gd name="connsiteY8" fmla="*/ 34120 h 130778"/>
                    <a:gd name="connsiteX9" fmla="*/ 350738 w 350915"/>
                    <a:gd name="connsiteY9" fmla="*/ 44571 h 130778"/>
                    <a:gd name="connsiteX10" fmla="*/ 345797 w 350915"/>
                    <a:gd name="connsiteY10" fmla="*/ 52506 h 130778"/>
                    <a:gd name="connsiteX11" fmla="*/ 11538 w 350915"/>
                    <a:gd name="connsiteY11" fmla="*/ 130539 h 130778"/>
                    <a:gd name="connsiteX12" fmla="*/ 10070 w 350915"/>
                    <a:gd name="connsiteY12" fmla="*/ 130778 h 130778"/>
                    <a:gd name="connsiteX13" fmla="*/ 305403 w 350915"/>
                    <a:gd name="connsiteY13" fmla="*/ 13280 h 130778"/>
                    <a:gd name="connsiteX14" fmla="*/ 298307 w 350915"/>
                    <a:gd name="connsiteY14" fmla="*/ 14088 h 130778"/>
                    <a:gd name="connsiteX15" fmla="*/ 298307 w 350915"/>
                    <a:gd name="connsiteY15" fmla="*/ 14088 h 130778"/>
                    <a:gd name="connsiteX16" fmla="*/ 37169 w 350915"/>
                    <a:gd name="connsiteY16" fmla="*/ 75083 h 130778"/>
                    <a:gd name="connsiteX17" fmla="*/ 17945 w 350915"/>
                    <a:gd name="connsiteY17" fmla="*/ 88887 h 130778"/>
                    <a:gd name="connsiteX18" fmla="*/ 14083 w 350915"/>
                    <a:gd name="connsiteY18" fmla="*/ 112243 h 130778"/>
                    <a:gd name="connsiteX19" fmla="*/ 15011 w 350915"/>
                    <a:gd name="connsiteY19" fmla="*/ 116255 h 130778"/>
                    <a:gd name="connsiteX20" fmla="*/ 336365 w 350915"/>
                    <a:gd name="connsiteY20" fmla="*/ 41217 h 130778"/>
                    <a:gd name="connsiteX21" fmla="*/ 335437 w 350915"/>
                    <a:gd name="connsiteY21" fmla="*/ 37205 h 130778"/>
                    <a:gd name="connsiteX22" fmla="*/ 321633 w 350915"/>
                    <a:gd name="connsiteY22" fmla="*/ 17981 h 130778"/>
                    <a:gd name="connsiteX23" fmla="*/ 305403 w 350915"/>
                    <a:gd name="connsiteY23" fmla="*/ 13280 h 130778"/>
                    <a:gd name="connsiteX24" fmla="*/ 296810 w 350915"/>
                    <a:gd name="connsiteY24" fmla="*/ 7650 h 130778"/>
                    <a:gd name="connsiteX25" fmla="*/ 296869 w 350915"/>
                    <a:gd name="connsiteY25" fmla="*/ 7650 h 130778"/>
                    <a:gd name="connsiteX26" fmla="*/ 296810 w 350915"/>
                    <a:gd name="connsiteY26" fmla="*/ 7650 h 130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50915" h="130778">
                      <a:moveTo>
                        <a:pt x="10070" y="130778"/>
                      </a:moveTo>
                      <a:cubicBezTo>
                        <a:pt x="8843" y="130778"/>
                        <a:pt x="7645" y="130449"/>
                        <a:pt x="6567" y="129790"/>
                      </a:cubicBezTo>
                      <a:cubicBezTo>
                        <a:pt x="5070" y="128862"/>
                        <a:pt x="4022" y="127394"/>
                        <a:pt x="3602" y="125658"/>
                      </a:cubicBezTo>
                      <a:lnTo>
                        <a:pt x="1177" y="115207"/>
                      </a:lnTo>
                      <a:cubicBezTo>
                        <a:pt x="-1518" y="103709"/>
                        <a:pt x="458" y="91881"/>
                        <a:pt x="6657" y="81850"/>
                      </a:cubicBezTo>
                      <a:cubicBezTo>
                        <a:pt x="12885" y="71819"/>
                        <a:pt x="22647" y="64842"/>
                        <a:pt x="34115" y="62148"/>
                      </a:cubicBezTo>
                      <a:lnTo>
                        <a:pt x="295252" y="1183"/>
                      </a:lnTo>
                      <a:cubicBezTo>
                        <a:pt x="306751" y="-1512"/>
                        <a:pt x="318578" y="434"/>
                        <a:pt x="328610" y="6662"/>
                      </a:cubicBezTo>
                      <a:cubicBezTo>
                        <a:pt x="338641" y="12890"/>
                        <a:pt x="345617" y="22652"/>
                        <a:pt x="348312" y="34120"/>
                      </a:cubicBezTo>
                      <a:lnTo>
                        <a:pt x="350738" y="44571"/>
                      </a:lnTo>
                      <a:cubicBezTo>
                        <a:pt x="351576" y="48134"/>
                        <a:pt x="349360" y="51697"/>
                        <a:pt x="345797" y="52506"/>
                      </a:cubicBezTo>
                      <a:lnTo>
                        <a:pt x="11538" y="130539"/>
                      </a:lnTo>
                      <a:cubicBezTo>
                        <a:pt x="11088" y="130718"/>
                        <a:pt x="10579" y="130778"/>
                        <a:pt x="10070" y="130778"/>
                      </a:cubicBezTo>
                      <a:close/>
                      <a:moveTo>
                        <a:pt x="305403" y="13280"/>
                      </a:moveTo>
                      <a:cubicBezTo>
                        <a:pt x="303038" y="13280"/>
                        <a:pt x="300672" y="13549"/>
                        <a:pt x="298307" y="14088"/>
                      </a:cubicBezTo>
                      <a:lnTo>
                        <a:pt x="298307" y="14088"/>
                      </a:lnTo>
                      <a:lnTo>
                        <a:pt x="37169" y="75083"/>
                      </a:lnTo>
                      <a:cubicBezTo>
                        <a:pt x="29114" y="76970"/>
                        <a:pt x="22287" y="81850"/>
                        <a:pt x="17945" y="88887"/>
                      </a:cubicBezTo>
                      <a:cubicBezTo>
                        <a:pt x="13574" y="95894"/>
                        <a:pt x="12226" y="104188"/>
                        <a:pt x="14083" y="112243"/>
                      </a:cubicBezTo>
                      <a:lnTo>
                        <a:pt x="15011" y="116255"/>
                      </a:lnTo>
                      <a:lnTo>
                        <a:pt x="336365" y="41217"/>
                      </a:lnTo>
                      <a:lnTo>
                        <a:pt x="335437" y="37205"/>
                      </a:lnTo>
                      <a:cubicBezTo>
                        <a:pt x="333550" y="29150"/>
                        <a:pt x="328669" y="22323"/>
                        <a:pt x="321633" y="17981"/>
                      </a:cubicBezTo>
                      <a:cubicBezTo>
                        <a:pt x="316692" y="14867"/>
                        <a:pt x="311093" y="13280"/>
                        <a:pt x="305403" y="13280"/>
                      </a:cubicBezTo>
                      <a:close/>
                      <a:moveTo>
                        <a:pt x="296810" y="7650"/>
                      </a:moveTo>
                      <a:lnTo>
                        <a:pt x="296869" y="7650"/>
                      </a:lnTo>
                      <a:lnTo>
                        <a:pt x="296810" y="7650"/>
                      </a:lnTo>
                      <a:close/>
                    </a:path>
                  </a:pathLst>
                </a:custGeom>
                <a:grpFill/>
                <a:ln w="2991" cap="flat">
                  <a:noFill/>
                  <a:prstDash val="solid"/>
                  <a:miter/>
                </a:ln>
              </p:spPr>
              <p:txBody>
                <a:bodyPr rtlCol="0" anchor="ctr"/>
                <a:lstStyle/>
                <a:p>
                  <a:endParaRPr lang="en-GB" dirty="0"/>
                </a:p>
              </p:txBody>
            </p:sp>
          </p:grpSp>
        </p:grpSp>
        <p:grpSp>
          <p:nvGrpSpPr>
            <p:cNvPr id="465" name="Group 1074">
              <a:extLst>
                <a:ext uri="{FF2B5EF4-FFF2-40B4-BE49-F238E27FC236}">
                  <a16:creationId xmlns:a16="http://schemas.microsoft.com/office/drawing/2014/main" id="{B88F4B29-7D68-41C3-84A7-AED60D204F61}"/>
                </a:ext>
              </a:extLst>
            </p:cNvPr>
            <p:cNvGrpSpPr/>
            <p:nvPr/>
          </p:nvGrpSpPr>
          <p:grpSpPr>
            <a:xfrm>
              <a:off x="1506414" y="2617048"/>
              <a:ext cx="666141" cy="216176"/>
              <a:chOff x="1694070" y="2592794"/>
              <a:chExt cx="543474" cy="176368"/>
            </a:xfrm>
            <a:solidFill>
              <a:schemeClr val="accent1"/>
            </a:solidFill>
          </p:grpSpPr>
          <p:sp>
            <p:nvSpPr>
              <p:cNvPr id="466" name="Freihandform: Form 465">
                <a:extLst>
                  <a:ext uri="{FF2B5EF4-FFF2-40B4-BE49-F238E27FC236}">
                    <a16:creationId xmlns:a16="http://schemas.microsoft.com/office/drawing/2014/main" id="{84EF302F-79BF-4DD8-9C24-A064D0B5372C}"/>
                  </a:ext>
                </a:extLst>
              </p:cNvPr>
              <p:cNvSpPr/>
              <p:nvPr/>
            </p:nvSpPr>
            <p:spPr>
              <a:xfrm>
                <a:off x="1930744" y="2673546"/>
                <a:ext cx="92196" cy="95616"/>
              </a:xfrm>
              <a:custGeom>
                <a:avLst/>
                <a:gdLst>
                  <a:gd name="connsiteX0" fmla="*/ 17337 w 92196"/>
                  <a:gd name="connsiteY0" fmla="*/ 95616 h 95616"/>
                  <a:gd name="connsiteX1" fmla="*/ 8414 w 92196"/>
                  <a:gd name="connsiteY1" fmla="*/ 93101 h 95616"/>
                  <a:gd name="connsiteX2" fmla="*/ 0 w 92196"/>
                  <a:gd name="connsiteY2" fmla="*/ 78249 h 95616"/>
                  <a:gd name="connsiteX3" fmla="*/ 0 w 92196"/>
                  <a:gd name="connsiteY3" fmla="*/ 17344 h 95616"/>
                  <a:gd name="connsiteX4" fmla="*/ 8384 w 92196"/>
                  <a:gd name="connsiteY4" fmla="*/ 2492 h 95616"/>
                  <a:gd name="connsiteX5" fmla="*/ 25452 w 92196"/>
                  <a:gd name="connsiteY5" fmla="*/ 2013 h 95616"/>
                  <a:gd name="connsiteX6" fmla="*/ 82973 w 92196"/>
                  <a:gd name="connsiteY6" fmla="*/ 32466 h 95616"/>
                  <a:gd name="connsiteX7" fmla="*/ 92196 w 92196"/>
                  <a:gd name="connsiteY7" fmla="*/ 47797 h 95616"/>
                  <a:gd name="connsiteX8" fmla="*/ 82973 w 92196"/>
                  <a:gd name="connsiteY8" fmla="*/ 63128 h 95616"/>
                  <a:gd name="connsiteX9" fmla="*/ 25452 w 92196"/>
                  <a:gd name="connsiteY9" fmla="*/ 93580 h 95616"/>
                  <a:gd name="connsiteX10" fmla="*/ 17337 w 92196"/>
                  <a:gd name="connsiteY10" fmla="*/ 95616 h 95616"/>
                  <a:gd name="connsiteX11" fmla="*/ 17367 w 92196"/>
                  <a:gd name="connsiteY11" fmla="*/ 13242 h 95616"/>
                  <a:gd name="connsiteX12" fmla="*/ 15241 w 92196"/>
                  <a:gd name="connsiteY12" fmla="*/ 13841 h 95616"/>
                  <a:gd name="connsiteX13" fmla="*/ 13265 w 92196"/>
                  <a:gd name="connsiteY13" fmla="*/ 17374 h 95616"/>
                  <a:gd name="connsiteX14" fmla="*/ 13265 w 92196"/>
                  <a:gd name="connsiteY14" fmla="*/ 78279 h 95616"/>
                  <a:gd name="connsiteX15" fmla="*/ 15241 w 92196"/>
                  <a:gd name="connsiteY15" fmla="*/ 81813 h 95616"/>
                  <a:gd name="connsiteX16" fmla="*/ 19284 w 92196"/>
                  <a:gd name="connsiteY16" fmla="*/ 81932 h 95616"/>
                  <a:gd name="connsiteX17" fmla="*/ 76805 w 92196"/>
                  <a:gd name="connsiteY17" fmla="*/ 51480 h 95616"/>
                  <a:gd name="connsiteX18" fmla="*/ 78991 w 92196"/>
                  <a:gd name="connsiteY18" fmla="*/ 47857 h 95616"/>
                  <a:gd name="connsiteX19" fmla="*/ 76805 w 92196"/>
                  <a:gd name="connsiteY19" fmla="*/ 44233 h 95616"/>
                  <a:gd name="connsiteX20" fmla="*/ 19284 w 92196"/>
                  <a:gd name="connsiteY20" fmla="*/ 13781 h 95616"/>
                  <a:gd name="connsiteX21" fmla="*/ 17367 w 92196"/>
                  <a:gd name="connsiteY21" fmla="*/ 13242 h 9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2196" h="95616">
                    <a:moveTo>
                      <a:pt x="17337" y="95616"/>
                    </a:moveTo>
                    <a:cubicBezTo>
                      <a:pt x="14253" y="95616"/>
                      <a:pt x="11169" y="94778"/>
                      <a:pt x="8414" y="93101"/>
                    </a:cubicBezTo>
                    <a:cubicBezTo>
                      <a:pt x="3144" y="89927"/>
                      <a:pt x="0" y="84388"/>
                      <a:pt x="0" y="78249"/>
                    </a:cubicBezTo>
                    <a:lnTo>
                      <a:pt x="0" y="17344"/>
                    </a:lnTo>
                    <a:cubicBezTo>
                      <a:pt x="0" y="11206"/>
                      <a:pt x="3144" y="5636"/>
                      <a:pt x="8384" y="2492"/>
                    </a:cubicBezTo>
                    <a:cubicBezTo>
                      <a:pt x="13654" y="-652"/>
                      <a:pt x="20032" y="-832"/>
                      <a:pt x="25452" y="2013"/>
                    </a:cubicBezTo>
                    <a:lnTo>
                      <a:pt x="82973" y="32466"/>
                    </a:lnTo>
                    <a:cubicBezTo>
                      <a:pt x="88663" y="35490"/>
                      <a:pt x="92196" y="41359"/>
                      <a:pt x="92196" y="47797"/>
                    </a:cubicBezTo>
                    <a:cubicBezTo>
                      <a:pt x="92196" y="54235"/>
                      <a:pt x="88663" y="60103"/>
                      <a:pt x="82973" y="63128"/>
                    </a:cubicBezTo>
                    <a:lnTo>
                      <a:pt x="25452" y="93580"/>
                    </a:lnTo>
                    <a:cubicBezTo>
                      <a:pt x="22907" y="94958"/>
                      <a:pt x="20122" y="95616"/>
                      <a:pt x="17337" y="95616"/>
                    </a:cubicBezTo>
                    <a:close/>
                    <a:moveTo>
                      <a:pt x="17367" y="13242"/>
                    </a:moveTo>
                    <a:cubicBezTo>
                      <a:pt x="16379" y="13242"/>
                      <a:pt x="15601" y="13631"/>
                      <a:pt x="15241" y="13841"/>
                    </a:cubicBezTo>
                    <a:cubicBezTo>
                      <a:pt x="14642" y="14200"/>
                      <a:pt x="13265" y="15278"/>
                      <a:pt x="13265" y="17374"/>
                    </a:cubicBezTo>
                    <a:lnTo>
                      <a:pt x="13265" y="78279"/>
                    </a:lnTo>
                    <a:cubicBezTo>
                      <a:pt x="13265" y="80375"/>
                      <a:pt x="14672" y="81453"/>
                      <a:pt x="15241" y="81813"/>
                    </a:cubicBezTo>
                    <a:cubicBezTo>
                      <a:pt x="15840" y="82172"/>
                      <a:pt x="17427" y="82890"/>
                      <a:pt x="19284" y="81932"/>
                    </a:cubicBezTo>
                    <a:lnTo>
                      <a:pt x="76805" y="51480"/>
                    </a:lnTo>
                    <a:cubicBezTo>
                      <a:pt x="78781" y="50432"/>
                      <a:pt x="78991" y="48605"/>
                      <a:pt x="78991" y="47857"/>
                    </a:cubicBezTo>
                    <a:cubicBezTo>
                      <a:pt x="78991" y="47108"/>
                      <a:pt x="78781" y="45281"/>
                      <a:pt x="76805" y="44233"/>
                    </a:cubicBezTo>
                    <a:lnTo>
                      <a:pt x="19284" y="13781"/>
                    </a:lnTo>
                    <a:cubicBezTo>
                      <a:pt x="18595" y="13362"/>
                      <a:pt x="17936" y="13242"/>
                      <a:pt x="17367" y="13242"/>
                    </a:cubicBezTo>
                    <a:close/>
                  </a:path>
                </a:pathLst>
              </a:custGeom>
              <a:solidFill>
                <a:schemeClr val="accent1"/>
              </a:solidFill>
              <a:ln w="2991" cap="flat">
                <a:noFill/>
                <a:prstDash val="solid"/>
                <a:miter/>
              </a:ln>
            </p:spPr>
            <p:txBody>
              <a:bodyPr rtlCol="0" anchor="ctr"/>
              <a:lstStyle/>
              <a:p>
                <a:endParaRPr lang="en-GB" dirty="0"/>
              </a:p>
            </p:txBody>
          </p:sp>
          <p:grpSp>
            <p:nvGrpSpPr>
              <p:cNvPr id="467" name="Grafik 306">
                <a:extLst>
                  <a:ext uri="{FF2B5EF4-FFF2-40B4-BE49-F238E27FC236}">
                    <a16:creationId xmlns:a16="http://schemas.microsoft.com/office/drawing/2014/main" id="{5B1D9DF8-4E39-4CA6-9888-18F346A160AD}"/>
                  </a:ext>
                </a:extLst>
              </p:cNvPr>
              <p:cNvGrpSpPr/>
              <p:nvPr/>
            </p:nvGrpSpPr>
            <p:grpSpPr>
              <a:xfrm>
                <a:off x="1694070" y="2593354"/>
                <a:ext cx="65248" cy="164909"/>
                <a:chOff x="1694070" y="2593354"/>
                <a:chExt cx="65248" cy="164909"/>
              </a:xfrm>
              <a:solidFill>
                <a:schemeClr val="accent1"/>
              </a:solidFill>
            </p:grpSpPr>
            <p:sp>
              <p:nvSpPr>
                <p:cNvPr id="471" name="Freihandform: Form 470">
                  <a:extLst>
                    <a:ext uri="{FF2B5EF4-FFF2-40B4-BE49-F238E27FC236}">
                      <a16:creationId xmlns:a16="http://schemas.microsoft.com/office/drawing/2014/main" id="{9234218E-14E5-4913-9DE4-73CB8D6249D7}"/>
                    </a:ext>
                  </a:extLst>
                </p:cNvPr>
                <p:cNvSpPr/>
                <p:nvPr/>
              </p:nvSpPr>
              <p:spPr>
                <a:xfrm>
                  <a:off x="1694070" y="2593354"/>
                  <a:ext cx="47491" cy="164909"/>
                </a:xfrm>
                <a:custGeom>
                  <a:avLst/>
                  <a:gdLst>
                    <a:gd name="connsiteX0" fmla="*/ 39765 w 47491"/>
                    <a:gd name="connsiteY0" fmla="*/ 164910 h 164909"/>
                    <a:gd name="connsiteX1" fmla="*/ 35543 w 47491"/>
                    <a:gd name="connsiteY1" fmla="*/ 163383 h 164909"/>
                    <a:gd name="connsiteX2" fmla="*/ 0 w 47491"/>
                    <a:gd name="connsiteY2" fmla="*/ 82894 h 164909"/>
                    <a:gd name="connsiteX3" fmla="*/ 36741 w 47491"/>
                    <a:gd name="connsiteY3" fmla="*/ 1448 h 164909"/>
                    <a:gd name="connsiteX4" fmla="*/ 46053 w 47491"/>
                    <a:gd name="connsiteY4" fmla="*/ 2496 h 164909"/>
                    <a:gd name="connsiteX5" fmla="*/ 45005 w 47491"/>
                    <a:gd name="connsiteY5" fmla="*/ 11808 h 164909"/>
                    <a:gd name="connsiteX6" fmla="*/ 13265 w 47491"/>
                    <a:gd name="connsiteY6" fmla="*/ 82924 h 164909"/>
                    <a:gd name="connsiteX7" fmla="*/ 44017 w 47491"/>
                    <a:gd name="connsiteY7" fmla="*/ 153202 h 164909"/>
                    <a:gd name="connsiteX8" fmla="*/ 44885 w 47491"/>
                    <a:gd name="connsiteY8" fmla="*/ 162514 h 164909"/>
                    <a:gd name="connsiteX9" fmla="*/ 39765 w 47491"/>
                    <a:gd name="connsiteY9" fmla="*/ 164910 h 16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91" h="164909">
                      <a:moveTo>
                        <a:pt x="39765" y="164910"/>
                      </a:moveTo>
                      <a:cubicBezTo>
                        <a:pt x="38268" y="164910"/>
                        <a:pt x="36771" y="164401"/>
                        <a:pt x="35543" y="163383"/>
                      </a:cubicBezTo>
                      <a:cubicBezTo>
                        <a:pt x="13295" y="144967"/>
                        <a:pt x="0" y="114874"/>
                        <a:pt x="0" y="82894"/>
                      </a:cubicBezTo>
                      <a:cubicBezTo>
                        <a:pt x="0" y="50226"/>
                        <a:pt x="13744" y="19773"/>
                        <a:pt x="36741" y="1448"/>
                      </a:cubicBezTo>
                      <a:cubicBezTo>
                        <a:pt x="39615" y="-828"/>
                        <a:pt x="43777" y="-379"/>
                        <a:pt x="46053" y="2496"/>
                      </a:cubicBezTo>
                      <a:cubicBezTo>
                        <a:pt x="48329" y="5371"/>
                        <a:pt x="47850" y="9533"/>
                        <a:pt x="45005" y="11808"/>
                      </a:cubicBezTo>
                      <a:cubicBezTo>
                        <a:pt x="25123" y="27649"/>
                        <a:pt x="13265" y="54239"/>
                        <a:pt x="13265" y="82924"/>
                      </a:cubicBezTo>
                      <a:cubicBezTo>
                        <a:pt x="13265" y="111011"/>
                        <a:pt x="24763" y="137302"/>
                        <a:pt x="44017" y="153202"/>
                      </a:cubicBezTo>
                      <a:cubicBezTo>
                        <a:pt x="46832" y="155537"/>
                        <a:pt x="47221" y="159700"/>
                        <a:pt x="44885" y="162514"/>
                      </a:cubicBezTo>
                      <a:cubicBezTo>
                        <a:pt x="43568" y="164101"/>
                        <a:pt x="41651" y="164910"/>
                        <a:pt x="39765" y="164910"/>
                      </a:cubicBezTo>
                      <a:close/>
                    </a:path>
                  </a:pathLst>
                </a:custGeom>
                <a:solidFill>
                  <a:schemeClr val="accent1"/>
                </a:solidFill>
                <a:ln w="2991" cap="flat">
                  <a:noFill/>
                  <a:prstDash val="solid"/>
                  <a:miter/>
                </a:ln>
              </p:spPr>
              <p:txBody>
                <a:bodyPr rtlCol="0" anchor="ctr"/>
                <a:lstStyle/>
                <a:p>
                  <a:endParaRPr lang="en-GB" dirty="0"/>
                </a:p>
              </p:txBody>
            </p:sp>
            <p:sp>
              <p:nvSpPr>
                <p:cNvPr id="472" name="Freihandform: Form 471">
                  <a:extLst>
                    <a:ext uri="{FF2B5EF4-FFF2-40B4-BE49-F238E27FC236}">
                      <a16:creationId xmlns:a16="http://schemas.microsoft.com/office/drawing/2014/main" id="{6E66BF6B-67F4-4B4E-9187-33290F9B0CA8}"/>
                    </a:ext>
                  </a:extLst>
                </p:cNvPr>
                <p:cNvSpPr/>
                <p:nvPr/>
              </p:nvSpPr>
              <p:spPr>
                <a:xfrm>
                  <a:off x="1725930" y="2624864"/>
                  <a:ext cx="33388" cy="102528"/>
                </a:xfrm>
                <a:custGeom>
                  <a:avLst/>
                  <a:gdLst>
                    <a:gd name="connsiteX0" fmla="*/ 26380 w 33388"/>
                    <a:gd name="connsiteY0" fmla="*/ 102528 h 102528"/>
                    <a:gd name="connsiteX1" fmla="*/ 22218 w 33388"/>
                    <a:gd name="connsiteY1" fmla="*/ 101061 h 102528"/>
                    <a:gd name="connsiteX2" fmla="*/ 0 w 33388"/>
                    <a:gd name="connsiteY2" fmla="*/ 51414 h 102528"/>
                    <a:gd name="connsiteX3" fmla="*/ 22637 w 33388"/>
                    <a:gd name="connsiteY3" fmla="*/ 1439 h 102528"/>
                    <a:gd name="connsiteX4" fmla="*/ 31950 w 33388"/>
                    <a:gd name="connsiteY4" fmla="*/ 2487 h 102528"/>
                    <a:gd name="connsiteX5" fmla="*/ 30902 w 33388"/>
                    <a:gd name="connsiteY5" fmla="*/ 11799 h 102528"/>
                    <a:gd name="connsiteX6" fmla="*/ 13265 w 33388"/>
                    <a:gd name="connsiteY6" fmla="*/ 51414 h 102528"/>
                    <a:gd name="connsiteX7" fmla="*/ 30602 w 33388"/>
                    <a:gd name="connsiteY7" fmla="*/ 90790 h 102528"/>
                    <a:gd name="connsiteX8" fmla="*/ 31560 w 33388"/>
                    <a:gd name="connsiteY8" fmla="*/ 100103 h 102528"/>
                    <a:gd name="connsiteX9" fmla="*/ 26380 w 33388"/>
                    <a:gd name="connsiteY9" fmla="*/ 102528 h 102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88" h="102528">
                      <a:moveTo>
                        <a:pt x="26380" y="102528"/>
                      </a:moveTo>
                      <a:cubicBezTo>
                        <a:pt x="24913" y="102528"/>
                        <a:pt x="23446" y="102049"/>
                        <a:pt x="22218" y="101061"/>
                      </a:cubicBezTo>
                      <a:cubicBezTo>
                        <a:pt x="8294" y="89772"/>
                        <a:pt x="0" y="71207"/>
                        <a:pt x="0" y="51414"/>
                      </a:cubicBezTo>
                      <a:cubicBezTo>
                        <a:pt x="0" y="31382"/>
                        <a:pt x="8474" y="12697"/>
                        <a:pt x="22637" y="1439"/>
                      </a:cubicBezTo>
                      <a:cubicBezTo>
                        <a:pt x="25512" y="-837"/>
                        <a:pt x="29644" y="-358"/>
                        <a:pt x="31950" y="2487"/>
                      </a:cubicBezTo>
                      <a:cubicBezTo>
                        <a:pt x="34225" y="5361"/>
                        <a:pt x="33746" y="9523"/>
                        <a:pt x="30902" y="11799"/>
                      </a:cubicBezTo>
                      <a:cubicBezTo>
                        <a:pt x="19853" y="20573"/>
                        <a:pt x="13265" y="35395"/>
                        <a:pt x="13265" y="51414"/>
                      </a:cubicBezTo>
                      <a:cubicBezTo>
                        <a:pt x="13265" y="67255"/>
                        <a:pt x="19733" y="81987"/>
                        <a:pt x="30602" y="90790"/>
                      </a:cubicBezTo>
                      <a:cubicBezTo>
                        <a:pt x="33447" y="93096"/>
                        <a:pt x="33866" y="97258"/>
                        <a:pt x="31560" y="100103"/>
                      </a:cubicBezTo>
                      <a:cubicBezTo>
                        <a:pt x="30213" y="101690"/>
                        <a:pt x="28297" y="102528"/>
                        <a:pt x="26380" y="102528"/>
                      </a:cubicBezTo>
                      <a:close/>
                    </a:path>
                  </a:pathLst>
                </a:custGeom>
                <a:solidFill>
                  <a:schemeClr val="accent1"/>
                </a:solidFill>
                <a:ln w="2991" cap="flat">
                  <a:noFill/>
                  <a:prstDash val="solid"/>
                  <a:miter/>
                </a:ln>
              </p:spPr>
              <p:txBody>
                <a:bodyPr rtlCol="0" anchor="ctr"/>
                <a:lstStyle/>
                <a:p>
                  <a:endParaRPr lang="en-GB" dirty="0"/>
                </a:p>
              </p:txBody>
            </p:sp>
          </p:grpSp>
          <p:grpSp>
            <p:nvGrpSpPr>
              <p:cNvPr id="468" name="Grafik 306">
                <a:extLst>
                  <a:ext uri="{FF2B5EF4-FFF2-40B4-BE49-F238E27FC236}">
                    <a16:creationId xmlns:a16="http://schemas.microsoft.com/office/drawing/2014/main" id="{A052835A-85CF-4DB6-BAE7-3F24F2E131AB}"/>
                  </a:ext>
                </a:extLst>
              </p:cNvPr>
              <p:cNvGrpSpPr/>
              <p:nvPr/>
            </p:nvGrpSpPr>
            <p:grpSpPr>
              <a:xfrm>
                <a:off x="2172287" y="2592794"/>
                <a:ext cx="65257" cy="164930"/>
                <a:chOff x="2172287" y="2592794"/>
                <a:chExt cx="65257" cy="164930"/>
              </a:xfrm>
              <a:solidFill>
                <a:schemeClr val="accent1"/>
              </a:solidFill>
            </p:grpSpPr>
            <p:sp>
              <p:nvSpPr>
                <p:cNvPr id="469" name="Freihandform: Form 468">
                  <a:extLst>
                    <a:ext uri="{FF2B5EF4-FFF2-40B4-BE49-F238E27FC236}">
                      <a16:creationId xmlns:a16="http://schemas.microsoft.com/office/drawing/2014/main" id="{951A5314-2361-4B49-9681-C8205E4F8EFE}"/>
                    </a:ext>
                  </a:extLst>
                </p:cNvPr>
                <p:cNvSpPr/>
                <p:nvPr/>
              </p:nvSpPr>
              <p:spPr>
                <a:xfrm>
                  <a:off x="2190053" y="2592794"/>
                  <a:ext cx="47491" cy="164930"/>
                </a:xfrm>
                <a:custGeom>
                  <a:avLst/>
                  <a:gdLst>
                    <a:gd name="connsiteX0" fmla="*/ 7697 w 47491"/>
                    <a:gd name="connsiteY0" fmla="*/ 164930 h 164930"/>
                    <a:gd name="connsiteX1" fmla="*/ 2606 w 47491"/>
                    <a:gd name="connsiteY1" fmla="*/ 162535 h 164930"/>
                    <a:gd name="connsiteX2" fmla="*/ 3475 w 47491"/>
                    <a:gd name="connsiteY2" fmla="*/ 153222 h 164930"/>
                    <a:gd name="connsiteX3" fmla="*/ 34227 w 47491"/>
                    <a:gd name="connsiteY3" fmla="*/ 82915 h 164930"/>
                    <a:gd name="connsiteX4" fmla="*/ 2487 w 47491"/>
                    <a:gd name="connsiteY4" fmla="*/ 11799 h 164930"/>
                    <a:gd name="connsiteX5" fmla="*/ 1439 w 47491"/>
                    <a:gd name="connsiteY5" fmla="*/ 2487 h 164930"/>
                    <a:gd name="connsiteX6" fmla="*/ 10751 w 47491"/>
                    <a:gd name="connsiteY6" fmla="*/ 1439 h 164930"/>
                    <a:gd name="connsiteX7" fmla="*/ 47492 w 47491"/>
                    <a:gd name="connsiteY7" fmla="*/ 82885 h 164930"/>
                    <a:gd name="connsiteX8" fmla="*/ 11949 w 47491"/>
                    <a:gd name="connsiteY8" fmla="*/ 163373 h 164930"/>
                    <a:gd name="connsiteX9" fmla="*/ 7697 w 47491"/>
                    <a:gd name="connsiteY9" fmla="*/ 164930 h 16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491" h="164930">
                      <a:moveTo>
                        <a:pt x="7697" y="164930"/>
                      </a:moveTo>
                      <a:cubicBezTo>
                        <a:pt x="5780" y="164930"/>
                        <a:pt x="3894" y="164122"/>
                        <a:pt x="2606" y="162535"/>
                      </a:cubicBezTo>
                      <a:cubicBezTo>
                        <a:pt x="271" y="159720"/>
                        <a:pt x="660" y="155558"/>
                        <a:pt x="3475" y="153222"/>
                      </a:cubicBezTo>
                      <a:cubicBezTo>
                        <a:pt x="22729" y="137292"/>
                        <a:pt x="34227" y="111032"/>
                        <a:pt x="34227" y="82915"/>
                      </a:cubicBezTo>
                      <a:cubicBezTo>
                        <a:pt x="34227" y="54229"/>
                        <a:pt x="22369" y="27669"/>
                        <a:pt x="2487" y="11799"/>
                      </a:cubicBezTo>
                      <a:cubicBezTo>
                        <a:pt x="-358" y="9523"/>
                        <a:pt x="-837" y="5361"/>
                        <a:pt x="1439" y="2487"/>
                      </a:cubicBezTo>
                      <a:cubicBezTo>
                        <a:pt x="3714" y="-358"/>
                        <a:pt x="7877" y="-837"/>
                        <a:pt x="10751" y="1439"/>
                      </a:cubicBezTo>
                      <a:cubicBezTo>
                        <a:pt x="33748" y="19764"/>
                        <a:pt x="47492" y="50217"/>
                        <a:pt x="47492" y="82885"/>
                      </a:cubicBezTo>
                      <a:cubicBezTo>
                        <a:pt x="47492" y="114865"/>
                        <a:pt x="34197" y="144958"/>
                        <a:pt x="11949" y="163373"/>
                      </a:cubicBezTo>
                      <a:cubicBezTo>
                        <a:pt x="10691" y="164421"/>
                        <a:pt x="9194" y="164930"/>
                        <a:pt x="7697" y="164930"/>
                      </a:cubicBezTo>
                      <a:close/>
                    </a:path>
                  </a:pathLst>
                </a:custGeom>
                <a:solidFill>
                  <a:schemeClr val="accent1"/>
                </a:solidFill>
                <a:ln w="2991" cap="flat">
                  <a:noFill/>
                  <a:prstDash val="solid"/>
                  <a:miter/>
                </a:ln>
              </p:spPr>
              <p:txBody>
                <a:bodyPr rtlCol="0" anchor="ctr"/>
                <a:lstStyle/>
                <a:p>
                  <a:endParaRPr lang="en-GB" dirty="0"/>
                </a:p>
              </p:txBody>
            </p:sp>
            <p:sp>
              <p:nvSpPr>
                <p:cNvPr id="470" name="Freihandform: Form 469">
                  <a:extLst>
                    <a:ext uri="{FF2B5EF4-FFF2-40B4-BE49-F238E27FC236}">
                      <a16:creationId xmlns:a16="http://schemas.microsoft.com/office/drawing/2014/main" id="{1A18372C-F589-42E0-89CD-A408E128897E}"/>
                    </a:ext>
                  </a:extLst>
                </p:cNvPr>
                <p:cNvSpPr/>
                <p:nvPr/>
              </p:nvSpPr>
              <p:spPr>
                <a:xfrm>
                  <a:off x="2172287" y="2624285"/>
                  <a:ext cx="33397" cy="102567"/>
                </a:xfrm>
                <a:custGeom>
                  <a:avLst/>
                  <a:gdLst>
                    <a:gd name="connsiteX0" fmla="*/ 6988 w 33397"/>
                    <a:gd name="connsiteY0" fmla="*/ 102567 h 102567"/>
                    <a:gd name="connsiteX1" fmla="*/ 1837 w 33397"/>
                    <a:gd name="connsiteY1" fmla="*/ 100112 h 102567"/>
                    <a:gd name="connsiteX2" fmla="*/ 2796 w 33397"/>
                    <a:gd name="connsiteY2" fmla="*/ 90800 h 102567"/>
                    <a:gd name="connsiteX3" fmla="*/ 20133 w 33397"/>
                    <a:gd name="connsiteY3" fmla="*/ 51424 h 102567"/>
                    <a:gd name="connsiteX4" fmla="*/ 2496 w 33397"/>
                    <a:gd name="connsiteY4" fmla="*/ 11808 h 102567"/>
                    <a:gd name="connsiteX5" fmla="*/ 1448 w 33397"/>
                    <a:gd name="connsiteY5" fmla="*/ 2496 h 102567"/>
                    <a:gd name="connsiteX6" fmla="*/ 10761 w 33397"/>
                    <a:gd name="connsiteY6" fmla="*/ 1448 h 102567"/>
                    <a:gd name="connsiteX7" fmla="*/ 33398 w 33397"/>
                    <a:gd name="connsiteY7" fmla="*/ 51424 h 102567"/>
                    <a:gd name="connsiteX8" fmla="*/ 11180 w 33397"/>
                    <a:gd name="connsiteY8" fmla="*/ 101070 h 102567"/>
                    <a:gd name="connsiteX9" fmla="*/ 6988 w 33397"/>
                    <a:gd name="connsiteY9" fmla="*/ 102567 h 102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97" h="102567">
                      <a:moveTo>
                        <a:pt x="6988" y="102567"/>
                      </a:moveTo>
                      <a:cubicBezTo>
                        <a:pt x="5071" y="102567"/>
                        <a:pt x="3155" y="101729"/>
                        <a:pt x="1837" y="100112"/>
                      </a:cubicBezTo>
                      <a:cubicBezTo>
                        <a:pt x="-468" y="97267"/>
                        <a:pt x="-49" y="93105"/>
                        <a:pt x="2796" y="90800"/>
                      </a:cubicBezTo>
                      <a:cubicBezTo>
                        <a:pt x="13635" y="81996"/>
                        <a:pt x="20133" y="67264"/>
                        <a:pt x="20133" y="51424"/>
                      </a:cubicBezTo>
                      <a:cubicBezTo>
                        <a:pt x="20133" y="35404"/>
                        <a:pt x="13545" y="20582"/>
                        <a:pt x="2496" y="11808"/>
                      </a:cubicBezTo>
                      <a:cubicBezTo>
                        <a:pt x="-378" y="9533"/>
                        <a:pt x="-828" y="5371"/>
                        <a:pt x="1448" y="2496"/>
                      </a:cubicBezTo>
                      <a:cubicBezTo>
                        <a:pt x="3724" y="-378"/>
                        <a:pt x="7886" y="-828"/>
                        <a:pt x="10761" y="1448"/>
                      </a:cubicBezTo>
                      <a:cubicBezTo>
                        <a:pt x="24924" y="12707"/>
                        <a:pt x="33398" y="31392"/>
                        <a:pt x="33398" y="51424"/>
                      </a:cubicBezTo>
                      <a:cubicBezTo>
                        <a:pt x="33398" y="71217"/>
                        <a:pt x="25074" y="89781"/>
                        <a:pt x="11180" y="101070"/>
                      </a:cubicBezTo>
                      <a:cubicBezTo>
                        <a:pt x="9922" y="102058"/>
                        <a:pt x="8455" y="102567"/>
                        <a:pt x="6988" y="102567"/>
                      </a:cubicBezTo>
                      <a:close/>
                    </a:path>
                  </a:pathLst>
                </a:custGeom>
                <a:solidFill>
                  <a:schemeClr val="accent1"/>
                </a:solidFill>
                <a:ln w="2991" cap="flat">
                  <a:noFill/>
                  <a:prstDash val="solid"/>
                  <a:miter/>
                </a:ln>
              </p:spPr>
              <p:txBody>
                <a:bodyPr rtlCol="0" anchor="ctr"/>
                <a:lstStyle/>
                <a:p>
                  <a:endParaRPr lang="en-GB" dirty="0"/>
                </a:p>
              </p:txBody>
            </p:sp>
          </p:grpSp>
        </p:grpSp>
      </p:grpSp>
      <p:grpSp>
        <p:nvGrpSpPr>
          <p:cNvPr id="496" name="Group 1083">
            <a:extLst>
              <a:ext uri="{FF2B5EF4-FFF2-40B4-BE49-F238E27FC236}">
                <a16:creationId xmlns:a16="http://schemas.microsoft.com/office/drawing/2014/main" id="{106EA733-C325-4763-BD27-CF50A2C3A4F2}"/>
              </a:ext>
            </a:extLst>
          </p:cNvPr>
          <p:cNvGrpSpPr>
            <a:grpSpLocks noChangeAspect="1"/>
          </p:cNvGrpSpPr>
          <p:nvPr/>
        </p:nvGrpSpPr>
        <p:grpSpPr>
          <a:xfrm>
            <a:off x="1542479" y="3273401"/>
            <a:ext cx="594010" cy="431999"/>
            <a:chOff x="1747579" y="3298145"/>
            <a:chExt cx="436846" cy="317700"/>
          </a:xfrm>
        </p:grpSpPr>
        <p:grpSp>
          <p:nvGrpSpPr>
            <p:cNvPr id="497" name="Group 1082">
              <a:extLst>
                <a:ext uri="{FF2B5EF4-FFF2-40B4-BE49-F238E27FC236}">
                  <a16:creationId xmlns:a16="http://schemas.microsoft.com/office/drawing/2014/main" id="{6A84D459-05F9-4E0E-B168-FB49BF648E30}"/>
                </a:ext>
              </a:extLst>
            </p:cNvPr>
            <p:cNvGrpSpPr/>
            <p:nvPr/>
          </p:nvGrpSpPr>
          <p:grpSpPr>
            <a:xfrm>
              <a:off x="1829309" y="3337852"/>
              <a:ext cx="273475" cy="277991"/>
              <a:chOff x="1829309" y="3337855"/>
              <a:chExt cx="273475" cy="277991"/>
            </a:xfrm>
            <a:solidFill>
              <a:schemeClr val="accent1"/>
            </a:solidFill>
          </p:grpSpPr>
          <p:sp>
            <p:nvSpPr>
              <p:cNvPr id="499" name="Freihandform: Form 498">
                <a:extLst>
                  <a:ext uri="{FF2B5EF4-FFF2-40B4-BE49-F238E27FC236}">
                    <a16:creationId xmlns:a16="http://schemas.microsoft.com/office/drawing/2014/main" id="{F2CAC236-4AED-4E76-9BE6-F9ADC5E2534B}"/>
                  </a:ext>
                </a:extLst>
              </p:cNvPr>
              <p:cNvSpPr/>
              <p:nvPr/>
            </p:nvSpPr>
            <p:spPr>
              <a:xfrm>
                <a:off x="1919695" y="3410643"/>
                <a:ext cx="26470" cy="13234"/>
              </a:xfrm>
              <a:custGeom>
                <a:avLst/>
                <a:gdLst>
                  <a:gd name="connsiteX0" fmla="*/ 19853 w 26470"/>
                  <a:gd name="connsiteY0" fmla="*/ 13235 h 13234"/>
                  <a:gd name="connsiteX1" fmla="*/ 6617 w 26470"/>
                  <a:gd name="connsiteY1" fmla="*/ 13235 h 13234"/>
                  <a:gd name="connsiteX2" fmla="*/ 0 w 26470"/>
                  <a:gd name="connsiteY2" fmla="*/ 6618 h 13234"/>
                  <a:gd name="connsiteX3" fmla="*/ 6617 w 26470"/>
                  <a:gd name="connsiteY3" fmla="*/ 0 h 13234"/>
                  <a:gd name="connsiteX4" fmla="*/ 19853 w 26470"/>
                  <a:gd name="connsiteY4" fmla="*/ 0 h 13234"/>
                  <a:gd name="connsiteX5" fmla="*/ 26470 w 26470"/>
                  <a:gd name="connsiteY5" fmla="*/ 6618 h 13234"/>
                  <a:gd name="connsiteX6" fmla="*/ 19853 w 26470"/>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 h="13234">
                    <a:moveTo>
                      <a:pt x="19853" y="13235"/>
                    </a:moveTo>
                    <a:lnTo>
                      <a:pt x="6617" y="13235"/>
                    </a:lnTo>
                    <a:cubicBezTo>
                      <a:pt x="2964" y="13235"/>
                      <a:pt x="0" y="10271"/>
                      <a:pt x="0" y="6618"/>
                    </a:cubicBezTo>
                    <a:cubicBezTo>
                      <a:pt x="0" y="2964"/>
                      <a:pt x="2964" y="0"/>
                      <a:pt x="6617" y="0"/>
                    </a:cubicBezTo>
                    <a:lnTo>
                      <a:pt x="19853" y="0"/>
                    </a:lnTo>
                    <a:cubicBezTo>
                      <a:pt x="23506" y="0"/>
                      <a:pt x="26470" y="2964"/>
                      <a:pt x="26470" y="6618"/>
                    </a:cubicBezTo>
                    <a:cubicBezTo>
                      <a:pt x="26470" y="10271"/>
                      <a:pt x="23506" y="13235"/>
                      <a:pt x="19853" y="13235"/>
                    </a:cubicBezTo>
                    <a:close/>
                  </a:path>
                </a:pathLst>
              </a:custGeom>
              <a:solidFill>
                <a:schemeClr val="accent1"/>
              </a:solidFill>
              <a:ln w="2991" cap="flat">
                <a:noFill/>
                <a:prstDash val="solid"/>
                <a:miter/>
              </a:ln>
            </p:spPr>
            <p:txBody>
              <a:bodyPr rtlCol="0" anchor="ctr"/>
              <a:lstStyle/>
              <a:p>
                <a:endParaRPr lang="en-GB" dirty="0"/>
              </a:p>
            </p:txBody>
          </p:sp>
          <p:sp>
            <p:nvSpPr>
              <p:cNvPr id="500" name="Freihandform: Form 499">
                <a:extLst>
                  <a:ext uri="{FF2B5EF4-FFF2-40B4-BE49-F238E27FC236}">
                    <a16:creationId xmlns:a16="http://schemas.microsoft.com/office/drawing/2014/main" id="{70A1DC55-5BCC-4C3B-93E9-B705D094E009}"/>
                  </a:ext>
                </a:extLst>
              </p:cNvPr>
              <p:cNvSpPr/>
              <p:nvPr/>
            </p:nvSpPr>
            <p:spPr>
              <a:xfrm>
                <a:off x="1985870" y="3410643"/>
                <a:ext cx="26470" cy="13234"/>
              </a:xfrm>
              <a:custGeom>
                <a:avLst/>
                <a:gdLst>
                  <a:gd name="connsiteX0" fmla="*/ 19853 w 26470"/>
                  <a:gd name="connsiteY0" fmla="*/ 13235 h 13234"/>
                  <a:gd name="connsiteX1" fmla="*/ 6617 w 26470"/>
                  <a:gd name="connsiteY1" fmla="*/ 13235 h 13234"/>
                  <a:gd name="connsiteX2" fmla="*/ 0 w 26470"/>
                  <a:gd name="connsiteY2" fmla="*/ 6618 h 13234"/>
                  <a:gd name="connsiteX3" fmla="*/ 6617 w 26470"/>
                  <a:gd name="connsiteY3" fmla="*/ 0 h 13234"/>
                  <a:gd name="connsiteX4" fmla="*/ 19853 w 26470"/>
                  <a:gd name="connsiteY4" fmla="*/ 0 h 13234"/>
                  <a:gd name="connsiteX5" fmla="*/ 26470 w 26470"/>
                  <a:gd name="connsiteY5" fmla="*/ 6618 h 13234"/>
                  <a:gd name="connsiteX6" fmla="*/ 19853 w 26470"/>
                  <a:gd name="connsiteY6" fmla="*/ 13235 h 13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70" h="13234">
                    <a:moveTo>
                      <a:pt x="19853" y="13235"/>
                    </a:moveTo>
                    <a:lnTo>
                      <a:pt x="6617" y="13235"/>
                    </a:lnTo>
                    <a:cubicBezTo>
                      <a:pt x="2964" y="13235"/>
                      <a:pt x="0" y="10271"/>
                      <a:pt x="0" y="6618"/>
                    </a:cubicBezTo>
                    <a:cubicBezTo>
                      <a:pt x="0" y="2964"/>
                      <a:pt x="2964" y="0"/>
                      <a:pt x="6617" y="0"/>
                    </a:cubicBezTo>
                    <a:lnTo>
                      <a:pt x="19853" y="0"/>
                    </a:lnTo>
                    <a:cubicBezTo>
                      <a:pt x="23506" y="0"/>
                      <a:pt x="26470" y="2964"/>
                      <a:pt x="26470" y="6618"/>
                    </a:cubicBezTo>
                    <a:cubicBezTo>
                      <a:pt x="26470" y="10271"/>
                      <a:pt x="23506" y="13235"/>
                      <a:pt x="19853" y="13235"/>
                    </a:cubicBezTo>
                    <a:close/>
                  </a:path>
                </a:pathLst>
              </a:custGeom>
              <a:solidFill>
                <a:schemeClr val="accent1"/>
              </a:solidFill>
              <a:ln w="2991" cap="flat">
                <a:noFill/>
                <a:prstDash val="solid"/>
                <a:miter/>
              </a:ln>
            </p:spPr>
            <p:txBody>
              <a:bodyPr rtlCol="0" anchor="ctr"/>
              <a:lstStyle/>
              <a:p>
                <a:endParaRPr lang="en-GB" dirty="0"/>
              </a:p>
            </p:txBody>
          </p:sp>
          <p:sp>
            <p:nvSpPr>
              <p:cNvPr id="501" name="Freihandform: Form 500">
                <a:extLst>
                  <a:ext uri="{FF2B5EF4-FFF2-40B4-BE49-F238E27FC236}">
                    <a16:creationId xmlns:a16="http://schemas.microsoft.com/office/drawing/2014/main" id="{52DE5FC1-97F4-4795-9FD4-827CC9AAABB9}"/>
                  </a:ext>
                </a:extLst>
              </p:cNvPr>
              <p:cNvSpPr/>
              <p:nvPr/>
            </p:nvSpPr>
            <p:spPr>
              <a:xfrm>
                <a:off x="1939547" y="3456966"/>
                <a:ext cx="52940" cy="13235"/>
              </a:xfrm>
              <a:custGeom>
                <a:avLst/>
                <a:gdLst>
                  <a:gd name="connsiteX0" fmla="*/ 46323 w 52940"/>
                  <a:gd name="connsiteY0" fmla="*/ 13235 h 13235"/>
                  <a:gd name="connsiteX1" fmla="*/ 6617 w 52940"/>
                  <a:gd name="connsiteY1" fmla="*/ 13235 h 13235"/>
                  <a:gd name="connsiteX2" fmla="*/ 0 w 52940"/>
                  <a:gd name="connsiteY2" fmla="*/ 6618 h 13235"/>
                  <a:gd name="connsiteX3" fmla="*/ 6617 w 52940"/>
                  <a:gd name="connsiteY3" fmla="*/ 0 h 13235"/>
                  <a:gd name="connsiteX4" fmla="*/ 46323 w 52940"/>
                  <a:gd name="connsiteY4" fmla="*/ 0 h 13235"/>
                  <a:gd name="connsiteX5" fmla="*/ 52940 w 52940"/>
                  <a:gd name="connsiteY5" fmla="*/ 6618 h 13235"/>
                  <a:gd name="connsiteX6" fmla="*/ 46323 w 52940"/>
                  <a:gd name="connsiteY6" fmla="*/ 13235 h 13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940" h="13235">
                    <a:moveTo>
                      <a:pt x="46323" y="13235"/>
                    </a:moveTo>
                    <a:lnTo>
                      <a:pt x="6617" y="13235"/>
                    </a:lnTo>
                    <a:cubicBezTo>
                      <a:pt x="2964" y="13235"/>
                      <a:pt x="0" y="10271"/>
                      <a:pt x="0" y="6618"/>
                    </a:cubicBezTo>
                    <a:cubicBezTo>
                      <a:pt x="0" y="2965"/>
                      <a:pt x="2964" y="0"/>
                      <a:pt x="6617" y="0"/>
                    </a:cubicBezTo>
                    <a:lnTo>
                      <a:pt x="46323" y="0"/>
                    </a:lnTo>
                    <a:cubicBezTo>
                      <a:pt x="49976" y="0"/>
                      <a:pt x="52940" y="2965"/>
                      <a:pt x="52940" y="6618"/>
                    </a:cubicBezTo>
                    <a:cubicBezTo>
                      <a:pt x="52940" y="10271"/>
                      <a:pt x="49976" y="13235"/>
                      <a:pt x="46323" y="13235"/>
                    </a:cubicBezTo>
                    <a:close/>
                  </a:path>
                </a:pathLst>
              </a:custGeom>
              <a:solidFill>
                <a:schemeClr val="accent1"/>
              </a:solidFill>
              <a:ln w="2991" cap="flat">
                <a:noFill/>
                <a:prstDash val="solid"/>
                <a:miter/>
              </a:ln>
            </p:spPr>
            <p:txBody>
              <a:bodyPr rtlCol="0" anchor="ctr"/>
              <a:lstStyle/>
              <a:p>
                <a:endParaRPr lang="en-GB" dirty="0"/>
              </a:p>
            </p:txBody>
          </p:sp>
          <p:sp>
            <p:nvSpPr>
              <p:cNvPr id="502" name="Freihandform: Form 501">
                <a:extLst>
                  <a:ext uri="{FF2B5EF4-FFF2-40B4-BE49-F238E27FC236}">
                    <a16:creationId xmlns:a16="http://schemas.microsoft.com/office/drawing/2014/main" id="{D14B2253-959C-41B5-BD7A-2919C4B1D8F2}"/>
                  </a:ext>
                </a:extLst>
              </p:cNvPr>
              <p:cNvSpPr/>
              <p:nvPr/>
            </p:nvSpPr>
            <p:spPr>
              <a:xfrm>
                <a:off x="1829309" y="3337855"/>
                <a:ext cx="273475" cy="277991"/>
              </a:xfrm>
              <a:custGeom>
                <a:avLst/>
                <a:gdLst>
                  <a:gd name="connsiteX0" fmla="*/ 242618 w 273475"/>
                  <a:gd name="connsiteY0" fmla="*/ 277991 h 277991"/>
                  <a:gd name="connsiteX1" fmla="*/ 30797 w 273475"/>
                  <a:gd name="connsiteY1" fmla="*/ 277991 h 277991"/>
                  <a:gd name="connsiteX2" fmla="*/ 25497 w 273475"/>
                  <a:gd name="connsiteY2" fmla="*/ 275326 h 277991"/>
                  <a:gd name="connsiteX3" fmla="*/ 24479 w 273475"/>
                  <a:gd name="connsiteY3" fmla="*/ 269487 h 277991"/>
                  <a:gd name="connsiteX4" fmla="*/ 46937 w 273475"/>
                  <a:gd name="connsiteY4" fmla="*/ 194629 h 277991"/>
                  <a:gd name="connsiteX5" fmla="*/ 13221 w 273475"/>
                  <a:gd name="connsiteY5" fmla="*/ 175165 h 277991"/>
                  <a:gd name="connsiteX6" fmla="*/ 914 w 273475"/>
                  <a:gd name="connsiteY6" fmla="*/ 159086 h 277991"/>
                  <a:gd name="connsiteX7" fmla="*/ 3549 w 273475"/>
                  <a:gd name="connsiteY7" fmla="*/ 138993 h 277991"/>
                  <a:gd name="connsiteX8" fmla="*/ 19629 w 273475"/>
                  <a:gd name="connsiteY8" fmla="*/ 126687 h 277991"/>
                  <a:gd name="connsiteX9" fmla="*/ 39721 w 273475"/>
                  <a:gd name="connsiteY9" fmla="*/ 129292 h 277991"/>
                  <a:gd name="connsiteX10" fmla="*/ 62598 w 273475"/>
                  <a:gd name="connsiteY10" fmla="*/ 142497 h 277991"/>
                  <a:gd name="connsiteX11" fmla="*/ 63855 w 273475"/>
                  <a:gd name="connsiteY11" fmla="*/ 138365 h 277991"/>
                  <a:gd name="connsiteX12" fmla="*/ 50740 w 273475"/>
                  <a:gd name="connsiteY12" fmla="*/ 7302 h 277991"/>
                  <a:gd name="connsiteX13" fmla="*/ 54483 w 273475"/>
                  <a:gd name="connsiteY13" fmla="*/ 654 h 277991"/>
                  <a:gd name="connsiteX14" fmla="*/ 61999 w 273475"/>
                  <a:gd name="connsiteY14" fmla="*/ 1942 h 277991"/>
                  <a:gd name="connsiteX15" fmla="*/ 92451 w 273475"/>
                  <a:gd name="connsiteY15" fmla="*/ 32395 h 277991"/>
                  <a:gd name="connsiteX16" fmla="*/ 136828 w 273475"/>
                  <a:gd name="connsiteY16" fmla="*/ 26466 h 277991"/>
                  <a:gd name="connsiteX17" fmla="*/ 180964 w 273475"/>
                  <a:gd name="connsiteY17" fmla="*/ 32455 h 277991"/>
                  <a:gd name="connsiteX18" fmla="*/ 211477 w 273475"/>
                  <a:gd name="connsiteY18" fmla="*/ 1942 h 277991"/>
                  <a:gd name="connsiteX19" fmla="*/ 218993 w 273475"/>
                  <a:gd name="connsiteY19" fmla="*/ 654 h 277991"/>
                  <a:gd name="connsiteX20" fmla="*/ 222736 w 273475"/>
                  <a:gd name="connsiteY20" fmla="*/ 7302 h 277991"/>
                  <a:gd name="connsiteX21" fmla="*/ 209620 w 273475"/>
                  <a:gd name="connsiteY21" fmla="*/ 138365 h 277991"/>
                  <a:gd name="connsiteX22" fmla="*/ 210878 w 273475"/>
                  <a:gd name="connsiteY22" fmla="*/ 142497 h 277991"/>
                  <a:gd name="connsiteX23" fmla="*/ 233755 w 273475"/>
                  <a:gd name="connsiteY23" fmla="*/ 129292 h 277991"/>
                  <a:gd name="connsiteX24" fmla="*/ 253847 w 273475"/>
                  <a:gd name="connsiteY24" fmla="*/ 126687 h 277991"/>
                  <a:gd name="connsiteX25" fmla="*/ 269926 w 273475"/>
                  <a:gd name="connsiteY25" fmla="*/ 138993 h 277991"/>
                  <a:gd name="connsiteX26" fmla="*/ 269926 w 273475"/>
                  <a:gd name="connsiteY26" fmla="*/ 138993 h 277991"/>
                  <a:gd name="connsiteX27" fmla="*/ 272562 w 273475"/>
                  <a:gd name="connsiteY27" fmla="*/ 159086 h 277991"/>
                  <a:gd name="connsiteX28" fmla="*/ 260255 w 273475"/>
                  <a:gd name="connsiteY28" fmla="*/ 175165 h 277991"/>
                  <a:gd name="connsiteX29" fmla="*/ 226538 w 273475"/>
                  <a:gd name="connsiteY29" fmla="*/ 194629 h 277991"/>
                  <a:gd name="connsiteX30" fmla="*/ 248996 w 273475"/>
                  <a:gd name="connsiteY30" fmla="*/ 269487 h 277991"/>
                  <a:gd name="connsiteX31" fmla="*/ 247978 w 273475"/>
                  <a:gd name="connsiteY31" fmla="*/ 275326 h 277991"/>
                  <a:gd name="connsiteX32" fmla="*/ 242618 w 273475"/>
                  <a:gd name="connsiteY32" fmla="*/ 277991 h 277991"/>
                  <a:gd name="connsiteX33" fmla="*/ 39691 w 273475"/>
                  <a:gd name="connsiteY33" fmla="*/ 264726 h 277991"/>
                  <a:gd name="connsiteX34" fmla="*/ 233695 w 273475"/>
                  <a:gd name="connsiteY34" fmla="*/ 264726 h 277991"/>
                  <a:gd name="connsiteX35" fmla="*/ 212285 w 273475"/>
                  <a:gd name="connsiteY35" fmla="*/ 193371 h 277991"/>
                  <a:gd name="connsiteX36" fmla="*/ 215309 w 273475"/>
                  <a:gd name="connsiteY36" fmla="*/ 185735 h 277991"/>
                  <a:gd name="connsiteX37" fmla="*/ 253547 w 273475"/>
                  <a:gd name="connsiteY37" fmla="*/ 163667 h 277991"/>
                  <a:gd name="connsiteX38" fmla="*/ 259686 w 273475"/>
                  <a:gd name="connsiteY38" fmla="*/ 155612 h 277991"/>
                  <a:gd name="connsiteX39" fmla="*/ 258398 w 273475"/>
                  <a:gd name="connsiteY39" fmla="*/ 145581 h 277991"/>
                  <a:gd name="connsiteX40" fmla="*/ 258398 w 273475"/>
                  <a:gd name="connsiteY40" fmla="*/ 145581 h 277991"/>
                  <a:gd name="connsiteX41" fmla="*/ 250343 w 273475"/>
                  <a:gd name="connsiteY41" fmla="*/ 139443 h 277991"/>
                  <a:gd name="connsiteX42" fmla="*/ 240312 w 273475"/>
                  <a:gd name="connsiteY42" fmla="*/ 140730 h 277991"/>
                  <a:gd name="connsiteX43" fmla="*/ 210189 w 273475"/>
                  <a:gd name="connsiteY43" fmla="*/ 158127 h 277991"/>
                  <a:gd name="connsiteX44" fmla="*/ 204440 w 273475"/>
                  <a:gd name="connsiteY44" fmla="*/ 158547 h 277991"/>
                  <a:gd name="connsiteX45" fmla="*/ 200547 w 273475"/>
                  <a:gd name="connsiteY45" fmla="*/ 154295 h 277991"/>
                  <a:gd name="connsiteX46" fmla="*/ 196535 w 273475"/>
                  <a:gd name="connsiteY46" fmla="*/ 140880 h 277991"/>
                  <a:gd name="connsiteX47" fmla="*/ 196295 w 273475"/>
                  <a:gd name="connsiteY47" fmla="*/ 138335 h 277991"/>
                  <a:gd name="connsiteX48" fmla="*/ 207674 w 273475"/>
                  <a:gd name="connsiteY48" fmla="*/ 24400 h 277991"/>
                  <a:gd name="connsiteX49" fmla="*/ 187702 w 273475"/>
                  <a:gd name="connsiteY49" fmla="*/ 44372 h 277991"/>
                  <a:gd name="connsiteX50" fmla="*/ 181503 w 273475"/>
                  <a:gd name="connsiteY50" fmla="*/ 46139 h 277991"/>
                  <a:gd name="connsiteX51" fmla="*/ 136618 w 273475"/>
                  <a:gd name="connsiteY51" fmla="*/ 39701 h 277991"/>
                  <a:gd name="connsiteX52" fmla="*/ 92032 w 273475"/>
                  <a:gd name="connsiteY52" fmla="*/ 46109 h 277991"/>
                  <a:gd name="connsiteX53" fmla="*/ 85714 w 273475"/>
                  <a:gd name="connsiteY53" fmla="*/ 44372 h 277991"/>
                  <a:gd name="connsiteX54" fmla="*/ 65742 w 273475"/>
                  <a:gd name="connsiteY54" fmla="*/ 24400 h 277991"/>
                  <a:gd name="connsiteX55" fmla="*/ 77120 w 273475"/>
                  <a:gd name="connsiteY55" fmla="*/ 138335 h 277991"/>
                  <a:gd name="connsiteX56" fmla="*/ 76881 w 273475"/>
                  <a:gd name="connsiteY56" fmla="*/ 140880 h 277991"/>
                  <a:gd name="connsiteX57" fmla="*/ 72868 w 273475"/>
                  <a:gd name="connsiteY57" fmla="*/ 154295 h 277991"/>
                  <a:gd name="connsiteX58" fmla="*/ 68975 w 273475"/>
                  <a:gd name="connsiteY58" fmla="*/ 158547 h 277991"/>
                  <a:gd name="connsiteX59" fmla="*/ 63226 w 273475"/>
                  <a:gd name="connsiteY59" fmla="*/ 158127 h 277991"/>
                  <a:gd name="connsiteX60" fmla="*/ 33103 w 273475"/>
                  <a:gd name="connsiteY60" fmla="*/ 140730 h 277991"/>
                  <a:gd name="connsiteX61" fmla="*/ 23072 w 273475"/>
                  <a:gd name="connsiteY61" fmla="*/ 139443 h 277991"/>
                  <a:gd name="connsiteX62" fmla="*/ 15017 w 273475"/>
                  <a:gd name="connsiteY62" fmla="*/ 145581 h 277991"/>
                  <a:gd name="connsiteX63" fmla="*/ 13700 w 273475"/>
                  <a:gd name="connsiteY63" fmla="*/ 155612 h 277991"/>
                  <a:gd name="connsiteX64" fmla="*/ 19838 w 273475"/>
                  <a:gd name="connsiteY64" fmla="*/ 163667 h 277991"/>
                  <a:gd name="connsiteX65" fmla="*/ 58076 w 273475"/>
                  <a:gd name="connsiteY65" fmla="*/ 185735 h 277991"/>
                  <a:gd name="connsiteX66" fmla="*/ 61100 w 273475"/>
                  <a:gd name="connsiteY66" fmla="*/ 193371 h 277991"/>
                  <a:gd name="connsiteX67" fmla="*/ 39691 w 273475"/>
                  <a:gd name="connsiteY67" fmla="*/ 264726 h 27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273475" h="277991">
                    <a:moveTo>
                      <a:pt x="242618" y="277991"/>
                    </a:moveTo>
                    <a:lnTo>
                      <a:pt x="30797" y="277991"/>
                    </a:lnTo>
                    <a:cubicBezTo>
                      <a:pt x="28701" y="277991"/>
                      <a:pt x="26725" y="277003"/>
                      <a:pt x="25497" y="275326"/>
                    </a:cubicBezTo>
                    <a:cubicBezTo>
                      <a:pt x="24240" y="273650"/>
                      <a:pt x="23851" y="271494"/>
                      <a:pt x="24479" y="269487"/>
                    </a:cubicBezTo>
                    <a:lnTo>
                      <a:pt x="46937" y="194629"/>
                    </a:lnTo>
                    <a:lnTo>
                      <a:pt x="13221" y="175165"/>
                    </a:lnTo>
                    <a:cubicBezTo>
                      <a:pt x="7112" y="171632"/>
                      <a:pt x="2740" y="165943"/>
                      <a:pt x="914" y="159086"/>
                    </a:cubicBezTo>
                    <a:cubicBezTo>
                      <a:pt x="-913" y="152229"/>
                      <a:pt x="16" y="145102"/>
                      <a:pt x="3549" y="138993"/>
                    </a:cubicBezTo>
                    <a:cubicBezTo>
                      <a:pt x="7082" y="132885"/>
                      <a:pt x="12771" y="128513"/>
                      <a:pt x="19629" y="126687"/>
                    </a:cubicBezTo>
                    <a:cubicBezTo>
                      <a:pt x="26486" y="124830"/>
                      <a:pt x="33612" y="125788"/>
                      <a:pt x="39721" y="129292"/>
                    </a:cubicBezTo>
                    <a:lnTo>
                      <a:pt x="62598" y="142497"/>
                    </a:lnTo>
                    <a:lnTo>
                      <a:pt x="63855" y="138365"/>
                    </a:lnTo>
                    <a:lnTo>
                      <a:pt x="50740" y="7302"/>
                    </a:lnTo>
                    <a:cubicBezTo>
                      <a:pt x="50470" y="4517"/>
                      <a:pt x="51968" y="1852"/>
                      <a:pt x="54483" y="654"/>
                    </a:cubicBezTo>
                    <a:cubicBezTo>
                      <a:pt x="57028" y="-573"/>
                      <a:pt x="60022" y="-4"/>
                      <a:pt x="61999" y="1942"/>
                    </a:cubicBezTo>
                    <a:lnTo>
                      <a:pt x="92451" y="32395"/>
                    </a:lnTo>
                    <a:cubicBezTo>
                      <a:pt x="100656" y="30478"/>
                      <a:pt x="120778" y="26136"/>
                      <a:pt x="136828" y="26466"/>
                    </a:cubicBezTo>
                    <a:cubicBezTo>
                      <a:pt x="152787" y="26675"/>
                      <a:pt x="172850" y="30688"/>
                      <a:pt x="180964" y="32455"/>
                    </a:cubicBezTo>
                    <a:lnTo>
                      <a:pt x="211477" y="1942"/>
                    </a:lnTo>
                    <a:cubicBezTo>
                      <a:pt x="213453" y="-34"/>
                      <a:pt x="216447" y="-573"/>
                      <a:pt x="218993" y="654"/>
                    </a:cubicBezTo>
                    <a:cubicBezTo>
                      <a:pt x="221508" y="1852"/>
                      <a:pt x="223035" y="4517"/>
                      <a:pt x="222736" y="7302"/>
                    </a:cubicBezTo>
                    <a:lnTo>
                      <a:pt x="209620" y="138365"/>
                    </a:lnTo>
                    <a:lnTo>
                      <a:pt x="210878" y="142497"/>
                    </a:lnTo>
                    <a:lnTo>
                      <a:pt x="233755" y="129292"/>
                    </a:lnTo>
                    <a:cubicBezTo>
                      <a:pt x="239863" y="125788"/>
                      <a:pt x="246990" y="124830"/>
                      <a:pt x="253847" y="126687"/>
                    </a:cubicBezTo>
                    <a:cubicBezTo>
                      <a:pt x="260704" y="128513"/>
                      <a:pt x="266393" y="132885"/>
                      <a:pt x="269926" y="138993"/>
                    </a:cubicBezTo>
                    <a:lnTo>
                      <a:pt x="269926" y="138993"/>
                    </a:lnTo>
                    <a:cubicBezTo>
                      <a:pt x="273460" y="145102"/>
                      <a:pt x="274388" y="152229"/>
                      <a:pt x="272562" y="159086"/>
                    </a:cubicBezTo>
                    <a:cubicBezTo>
                      <a:pt x="270735" y="165943"/>
                      <a:pt x="266363" y="171632"/>
                      <a:pt x="260255" y="175165"/>
                    </a:cubicBezTo>
                    <a:lnTo>
                      <a:pt x="226538" y="194629"/>
                    </a:lnTo>
                    <a:lnTo>
                      <a:pt x="248996" y="269487"/>
                    </a:lnTo>
                    <a:cubicBezTo>
                      <a:pt x="249595" y="271494"/>
                      <a:pt x="249206" y="273650"/>
                      <a:pt x="247978" y="275326"/>
                    </a:cubicBezTo>
                    <a:cubicBezTo>
                      <a:pt x="246660" y="277003"/>
                      <a:pt x="244684" y="277991"/>
                      <a:pt x="242618" y="277991"/>
                    </a:cubicBezTo>
                    <a:close/>
                    <a:moveTo>
                      <a:pt x="39691" y="264726"/>
                    </a:moveTo>
                    <a:lnTo>
                      <a:pt x="233695" y="264726"/>
                    </a:lnTo>
                    <a:lnTo>
                      <a:pt x="212285" y="193371"/>
                    </a:lnTo>
                    <a:cubicBezTo>
                      <a:pt x="211417" y="190436"/>
                      <a:pt x="212674" y="187262"/>
                      <a:pt x="215309" y="185735"/>
                    </a:cubicBezTo>
                    <a:lnTo>
                      <a:pt x="253547" y="163667"/>
                    </a:lnTo>
                    <a:cubicBezTo>
                      <a:pt x="256602" y="161900"/>
                      <a:pt x="258758" y="159056"/>
                      <a:pt x="259686" y="155612"/>
                    </a:cubicBezTo>
                    <a:cubicBezTo>
                      <a:pt x="260614" y="152169"/>
                      <a:pt x="260135" y="148605"/>
                      <a:pt x="258398" y="145581"/>
                    </a:cubicBezTo>
                    <a:lnTo>
                      <a:pt x="258398" y="145581"/>
                    </a:lnTo>
                    <a:cubicBezTo>
                      <a:pt x="256632" y="142527"/>
                      <a:pt x="253787" y="140341"/>
                      <a:pt x="250343" y="139443"/>
                    </a:cubicBezTo>
                    <a:cubicBezTo>
                      <a:pt x="246930" y="138514"/>
                      <a:pt x="243367" y="138993"/>
                      <a:pt x="240312" y="140730"/>
                    </a:cubicBezTo>
                    <a:lnTo>
                      <a:pt x="210189" y="158127"/>
                    </a:lnTo>
                    <a:cubicBezTo>
                      <a:pt x="208423" y="159146"/>
                      <a:pt x="206296" y="159295"/>
                      <a:pt x="204440" y="158547"/>
                    </a:cubicBezTo>
                    <a:cubicBezTo>
                      <a:pt x="202554" y="157798"/>
                      <a:pt x="201116" y="156241"/>
                      <a:pt x="200547" y="154295"/>
                    </a:cubicBezTo>
                    <a:lnTo>
                      <a:pt x="196535" y="140880"/>
                    </a:lnTo>
                    <a:cubicBezTo>
                      <a:pt x="196295" y="140042"/>
                      <a:pt x="196206" y="139173"/>
                      <a:pt x="196295" y="138335"/>
                    </a:cubicBezTo>
                    <a:lnTo>
                      <a:pt x="207674" y="24400"/>
                    </a:lnTo>
                    <a:lnTo>
                      <a:pt x="187702" y="44372"/>
                    </a:lnTo>
                    <a:cubicBezTo>
                      <a:pt x="186085" y="45989"/>
                      <a:pt x="183719" y="46678"/>
                      <a:pt x="181503" y="46139"/>
                    </a:cubicBezTo>
                    <a:cubicBezTo>
                      <a:pt x="181234" y="46079"/>
                      <a:pt x="155213" y="39940"/>
                      <a:pt x="136618" y="39701"/>
                    </a:cubicBezTo>
                    <a:cubicBezTo>
                      <a:pt x="117963" y="39312"/>
                      <a:pt x="92272" y="46049"/>
                      <a:pt x="92032" y="46109"/>
                    </a:cubicBezTo>
                    <a:cubicBezTo>
                      <a:pt x="89786" y="46678"/>
                      <a:pt x="87361" y="46049"/>
                      <a:pt x="85714" y="44372"/>
                    </a:cubicBezTo>
                    <a:lnTo>
                      <a:pt x="65742" y="24400"/>
                    </a:lnTo>
                    <a:lnTo>
                      <a:pt x="77120" y="138335"/>
                    </a:lnTo>
                    <a:cubicBezTo>
                      <a:pt x="77210" y="139203"/>
                      <a:pt x="77120" y="140071"/>
                      <a:pt x="76881" y="140880"/>
                    </a:cubicBezTo>
                    <a:lnTo>
                      <a:pt x="72868" y="154295"/>
                    </a:lnTo>
                    <a:cubicBezTo>
                      <a:pt x="72299" y="156241"/>
                      <a:pt x="70862" y="157798"/>
                      <a:pt x="68975" y="158547"/>
                    </a:cubicBezTo>
                    <a:cubicBezTo>
                      <a:pt x="67089" y="159295"/>
                      <a:pt x="64963" y="159146"/>
                      <a:pt x="63226" y="158127"/>
                    </a:cubicBezTo>
                    <a:lnTo>
                      <a:pt x="33103" y="140730"/>
                    </a:lnTo>
                    <a:cubicBezTo>
                      <a:pt x="30049" y="138963"/>
                      <a:pt x="26486" y="138514"/>
                      <a:pt x="23072" y="139443"/>
                    </a:cubicBezTo>
                    <a:cubicBezTo>
                      <a:pt x="19629" y="140371"/>
                      <a:pt x="16784" y="142557"/>
                      <a:pt x="15017" y="145581"/>
                    </a:cubicBezTo>
                    <a:cubicBezTo>
                      <a:pt x="13251" y="148635"/>
                      <a:pt x="12801" y="152199"/>
                      <a:pt x="13700" y="155612"/>
                    </a:cubicBezTo>
                    <a:cubicBezTo>
                      <a:pt x="14628" y="159026"/>
                      <a:pt x="16814" y="161900"/>
                      <a:pt x="19838" y="163667"/>
                    </a:cubicBezTo>
                    <a:lnTo>
                      <a:pt x="58076" y="185735"/>
                    </a:lnTo>
                    <a:cubicBezTo>
                      <a:pt x="60741" y="187262"/>
                      <a:pt x="61999" y="190436"/>
                      <a:pt x="61100" y="193371"/>
                    </a:cubicBezTo>
                    <a:lnTo>
                      <a:pt x="39691" y="264726"/>
                    </a:lnTo>
                    <a:close/>
                  </a:path>
                </a:pathLst>
              </a:custGeom>
              <a:solidFill>
                <a:schemeClr val="accent1"/>
              </a:solidFill>
              <a:ln w="2991" cap="flat">
                <a:noFill/>
                <a:prstDash val="solid"/>
                <a:miter/>
              </a:ln>
            </p:spPr>
            <p:txBody>
              <a:bodyPr rtlCol="0" anchor="ctr"/>
              <a:lstStyle/>
              <a:p>
                <a:endParaRPr lang="en-GB" dirty="0"/>
              </a:p>
            </p:txBody>
          </p:sp>
          <p:sp>
            <p:nvSpPr>
              <p:cNvPr id="503" name="Freihandform: Form 502">
                <a:extLst>
                  <a:ext uri="{FF2B5EF4-FFF2-40B4-BE49-F238E27FC236}">
                    <a16:creationId xmlns:a16="http://schemas.microsoft.com/office/drawing/2014/main" id="{6FD2EFC3-8387-4C1D-8F8C-F812FAF441C0}"/>
                  </a:ext>
                </a:extLst>
              </p:cNvPr>
              <p:cNvSpPr/>
              <p:nvPr/>
            </p:nvSpPr>
            <p:spPr>
              <a:xfrm>
                <a:off x="1913077" y="3529788"/>
                <a:ext cx="105880" cy="52940"/>
              </a:xfrm>
              <a:custGeom>
                <a:avLst/>
                <a:gdLst>
                  <a:gd name="connsiteX0" fmla="*/ 99263 w 105880"/>
                  <a:gd name="connsiteY0" fmla="*/ 52940 h 52940"/>
                  <a:gd name="connsiteX1" fmla="*/ 92645 w 105880"/>
                  <a:gd name="connsiteY1" fmla="*/ 46323 h 52940"/>
                  <a:gd name="connsiteX2" fmla="*/ 52940 w 105880"/>
                  <a:gd name="connsiteY2" fmla="*/ 13235 h 52940"/>
                  <a:gd name="connsiteX3" fmla="*/ 13235 w 105880"/>
                  <a:gd name="connsiteY3" fmla="*/ 46323 h 52940"/>
                  <a:gd name="connsiteX4" fmla="*/ 6617 w 105880"/>
                  <a:gd name="connsiteY4" fmla="*/ 52940 h 52940"/>
                  <a:gd name="connsiteX5" fmla="*/ 0 w 105880"/>
                  <a:gd name="connsiteY5" fmla="*/ 46323 h 52940"/>
                  <a:gd name="connsiteX6" fmla="*/ 52940 w 105880"/>
                  <a:gd name="connsiteY6" fmla="*/ 0 h 52940"/>
                  <a:gd name="connsiteX7" fmla="*/ 105880 w 105880"/>
                  <a:gd name="connsiteY7" fmla="*/ 46323 h 52940"/>
                  <a:gd name="connsiteX8" fmla="*/ 99263 w 105880"/>
                  <a:gd name="connsiteY8" fmla="*/ 52940 h 5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880" h="52940">
                    <a:moveTo>
                      <a:pt x="99263" y="52940"/>
                    </a:moveTo>
                    <a:cubicBezTo>
                      <a:pt x="95610" y="52940"/>
                      <a:pt x="92645" y="49976"/>
                      <a:pt x="92645" y="46323"/>
                    </a:cubicBezTo>
                    <a:cubicBezTo>
                      <a:pt x="92645" y="21889"/>
                      <a:pt x="71266" y="13235"/>
                      <a:pt x="52940" y="13235"/>
                    </a:cubicBezTo>
                    <a:cubicBezTo>
                      <a:pt x="34615" y="13235"/>
                      <a:pt x="13235" y="21889"/>
                      <a:pt x="13235" y="46323"/>
                    </a:cubicBezTo>
                    <a:cubicBezTo>
                      <a:pt x="13235" y="49976"/>
                      <a:pt x="10271" y="52940"/>
                      <a:pt x="6617" y="52940"/>
                    </a:cubicBezTo>
                    <a:cubicBezTo>
                      <a:pt x="2964" y="52940"/>
                      <a:pt x="0" y="49976"/>
                      <a:pt x="0" y="46323"/>
                    </a:cubicBezTo>
                    <a:cubicBezTo>
                      <a:pt x="0" y="19044"/>
                      <a:pt x="21769" y="0"/>
                      <a:pt x="52940" y="0"/>
                    </a:cubicBezTo>
                    <a:cubicBezTo>
                      <a:pt x="84111" y="0"/>
                      <a:pt x="105880" y="19044"/>
                      <a:pt x="105880" y="46323"/>
                    </a:cubicBezTo>
                    <a:cubicBezTo>
                      <a:pt x="105880" y="49976"/>
                      <a:pt x="102916" y="52940"/>
                      <a:pt x="99263" y="52940"/>
                    </a:cubicBezTo>
                    <a:close/>
                  </a:path>
                </a:pathLst>
              </a:custGeom>
              <a:solidFill>
                <a:schemeClr val="accent1"/>
              </a:solidFill>
              <a:ln w="2991" cap="flat">
                <a:noFill/>
                <a:prstDash val="solid"/>
                <a:miter/>
              </a:ln>
            </p:spPr>
            <p:txBody>
              <a:bodyPr rtlCol="0" anchor="ctr"/>
              <a:lstStyle/>
              <a:p>
                <a:endParaRPr lang="en-GB" dirty="0"/>
              </a:p>
            </p:txBody>
          </p:sp>
          <p:sp>
            <p:nvSpPr>
              <p:cNvPr id="504" name="Freihandform: Form 503">
                <a:extLst>
                  <a:ext uri="{FF2B5EF4-FFF2-40B4-BE49-F238E27FC236}">
                    <a16:creationId xmlns:a16="http://schemas.microsoft.com/office/drawing/2014/main" id="{EF421182-541D-454C-84A6-9694B65C7851}"/>
                  </a:ext>
                </a:extLst>
              </p:cNvPr>
              <p:cNvSpPr/>
              <p:nvPr/>
            </p:nvSpPr>
            <p:spPr>
              <a:xfrm>
                <a:off x="1939547" y="3366806"/>
                <a:ext cx="13234" cy="23984"/>
              </a:xfrm>
              <a:custGeom>
                <a:avLst/>
                <a:gdLst>
                  <a:gd name="connsiteX0" fmla="*/ 6617 w 13234"/>
                  <a:gd name="connsiteY0" fmla="*/ 23985 h 23984"/>
                  <a:gd name="connsiteX1" fmla="*/ 0 w 13234"/>
                  <a:gd name="connsiteY1" fmla="*/ 17367 h 23984"/>
                  <a:gd name="connsiteX2" fmla="*/ 0 w 13234"/>
                  <a:gd name="connsiteY2" fmla="*/ 6618 h 23984"/>
                  <a:gd name="connsiteX3" fmla="*/ 6617 w 13234"/>
                  <a:gd name="connsiteY3" fmla="*/ 0 h 23984"/>
                  <a:gd name="connsiteX4" fmla="*/ 13235 w 13234"/>
                  <a:gd name="connsiteY4" fmla="*/ 6618 h 23984"/>
                  <a:gd name="connsiteX5" fmla="*/ 13235 w 13234"/>
                  <a:gd name="connsiteY5" fmla="*/ 17367 h 23984"/>
                  <a:gd name="connsiteX6" fmla="*/ 6617 w 13234"/>
                  <a:gd name="connsiteY6" fmla="*/ 23985 h 23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4" h="23984">
                    <a:moveTo>
                      <a:pt x="6617" y="23985"/>
                    </a:moveTo>
                    <a:cubicBezTo>
                      <a:pt x="2964" y="23985"/>
                      <a:pt x="0" y="21020"/>
                      <a:pt x="0" y="17367"/>
                    </a:cubicBezTo>
                    <a:lnTo>
                      <a:pt x="0" y="6618"/>
                    </a:lnTo>
                    <a:cubicBezTo>
                      <a:pt x="0" y="2964"/>
                      <a:pt x="2964" y="0"/>
                      <a:pt x="6617" y="0"/>
                    </a:cubicBezTo>
                    <a:cubicBezTo>
                      <a:pt x="10271" y="0"/>
                      <a:pt x="13235" y="2964"/>
                      <a:pt x="13235" y="6618"/>
                    </a:cubicBezTo>
                    <a:lnTo>
                      <a:pt x="13235" y="17367"/>
                    </a:lnTo>
                    <a:cubicBezTo>
                      <a:pt x="13235" y="21020"/>
                      <a:pt x="10271" y="23985"/>
                      <a:pt x="6617" y="23985"/>
                    </a:cubicBezTo>
                    <a:close/>
                  </a:path>
                </a:pathLst>
              </a:custGeom>
              <a:solidFill>
                <a:schemeClr val="accent1"/>
              </a:solidFill>
              <a:ln w="2991" cap="flat">
                <a:noFill/>
                <a:prstDash val="solid"/>
                <a:miter/>
              </a:ln>
            </p:spPr>
            <p:txBody>
              <a:bodyPr rtlCol="0" anchor="ctr"/>
              <a:lstStyle/>
              <a:p>
                <a:endParaRPr lang="en-GB" dirty="0"/>
              </a:p>
            </p:txBody>
          </p:sp>
          <p:sp>
            <p:nvSpPr>
              <p:cNvPr id="505" name="Freihandform: Form 504">
                <a:extLst>
                  <a:ext uri="{FF2B5EF4-FFF2-40B4-BE49-F238E27FC236}">
                    <a16:creationId xmlns:a16="http://schemas.microsoft.com/office/drawing/2014/main" id="{29648485-6A55-4F2E-9B23-BBCE93A6D22A}"/>
                  </a:ext>
                </a:extLst>
              </p:cNvPr>
              <p:cNvSpPr/>
              <p:nvPr/>
            </p:nvSpPr>
            <p:spPr>
              <a:xfrm>
                <a:off x="1979252" y="3366806"/>
                <a:ext cx="13235" cy="23984"/>
              </a:xfrm>
              <a:custGeom>
                <a:avLst/>
                <a:gdLst>
                  <a:gd name="connsiteX0" fmla="*/ 6618 w 13235"/>
                  <a:gd name="connsiteY0" fmla="*/ 23985 h 23984"/>
                  <a:gd name="connsiteX1" fmla="*/ 0 w 13235"/>
                  <a:gd name="connsiteY1" fmla="*/ 17367 h 23984"/>
                  <a:gd name="connsiteX2" fmla="*/ 0 w 13235"/>
                  <a:gd name="connsiteY2" fmla="*/ 6618 h 23984"/>
                  <a:gd name="connsiteX3" fmla="*/ 6618 w 13235"/>
                  <a:gd name="connsiteY3" fmla="*/ 0 h 23984"/>
                  <a:gd name="connsiteX4" fmla="*/ 13235 w 13235"/>
                  <a:gd name="connsiteY4" fmla="*/ 6618 h 23984"/>
                  <a:gd name="connsiteX5" fmla="*/ 13235 w 13235"/>
                  <a:gd name="connsiteY5" fmla="*/ 17367 h 23984"/>
                  <a:gd name="connsiteX6" fmla="*/ 6618 w 13235"/>
                  <a:gd name="connsiteY6" fmla="*/ 23985 h 23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235" h="23984">
                    <a:moveTo>
                      <a:pt x="6618" y="23985"/>
                    </a:moveTo>
                    <a:cubicBezTo>
                      <a:pt x="2964" y="23985"/>
                      <a:pt x="0" y="21020"/>
                      <a:pt x="0" y="17367"/>
                    </a:cubicBezTo>
                    <a:lnTo>
                      <a:pt x="0" y="6618"/>
                    </a:lnTo>
                    <a:cubicBezTo>
                      <a:pt x="0" y="2964"/>
                      <a:pt x="2964" y="0"/>
                      <a:pt x="6618" y="0"/>
                    </a:cubicBezTo>
                    <a:cubicBezTo>
                      <a:pt x="10271" y="0"/>
                      <a:pt x="13235" y="2964"/>
                      <a:pt x="13235" y="6618"/>
                    </a:cubicBezTo>
                    <a:lnTo>
                      <a:pt x="13235" y="17367"/>
                    </a:lnTo>
                    <a:cubicBezTo>
                      <a:pt x="13235" y="21020"/>
                      <a:pt x="10271" y="23985"/>
                      <a:pt x="6618" y="23985"/>
                    </a:cubicBezTo>
                    <a:close/>
                  </a:path>
                </a:pathLst>
              </a:custGeom>
              <a:solidFill>
                <a:schemeClr val="accent1"/>
              </a:solidFill>
              <a:ln w="2991" cap="flat">
                <a:noFill/>
                <a:prstDash val="solid"/>
                <a:miter/>
              </a:ln>
            </p:spPr>
            <p:txBody>
              <a:bodyPr rtlCol="0" anchor="ctr"/>
              <a:lstStyle/>
              <a:p>
                <a:endParaRPr lang="en-GB" dirty="0"/>
              </a:p>
            </p:txBody>
          </p:sp>
        </p:grpSp>
        <p:sp>
          <p:nvSpPr>
            <p:cNvPr id="498" name="Freihandform: Form 497">
              <a:extLst>
                <a:ext uri="{FF2B5EF4-FFF2-40B4-BE49-F238E27FC236}">
                  <a16:creationId xmlns:a16="http://schemas.microsoft.com/office/drawing/2014/main" id="{FC81BD3C-F2C0-4963-95E2-6AEA2CDBB737}"/>
                </a:ext>
              </a:extLst>
            </p:cNvPr>
            <p:cNvSpPr/>
            <p:nvPr/>
          </p:nvSpPr>
          <p:spPr>
            <a:xfrm>
              <a:off x="1747579" y="3298145"/>
              <a:ext cx="436846" cy="317700"/>
            </a:xfrm>
            <a:custGeom>
              <a:avLst/>
              <a:gdLst>
                <a:gd name="connsiteX0" fmla="*/ 397141 w 436846"/>
                <a:gd name="connsiteY0" fmla="*/ 317701 h 317700"/>
                <a:gd name="connsiteX1" fmla="*/ 39705 w 436846"/>
                <a:gd name="connsiteY1" fmla="*/ 317701 h 317700"/>
                <a:gd name="connsiteX2" fmla="*/ 0 w 436846"/>
                <a:gd name="connsiteY2" fmla="*/ 277996 h 317700"/>
                <a:gd name="connsiteX3" fmla="*/ 0 w 436846"/>
                <a:gd name="connsiteY3" fmla="*/ 39705 h 317700"/>
                <a:gd name="connsiteX4" fmla="*/ 39705 w 436846"/>
                <a:gd name="connsiteY4" fmla="*/ 0 h 317700"/>
                <a:gd name="connsiteX5" fmla="*/ 397141 w 436846"/>
                <a:gd name="connsiteY5" fmla="*/ 0 h 317700"/>
                <a:gd name="connsiteX6" fmla="*/ 436846 w 436846"/>
                <a:gd name="connsiteY6" fmla="*/ 39705 h 317700"/>
                <a:gd name="connsiteX7" fmla="*/ 436846 w 436846"/>
                <a:gd name="connsiteY7" fmla="*/ 277996 h 317700"/>
                <a:gd name="connsiteX8" fmla="*/ 397141 w 436846"/>
                <a:gd name="connsiteY8" fmla="*/ 317701 h 317700"/>
                <a:gd name="connsiteX9" fmla="*/ 39705 w 436846"/>
                <a:gd name="connsiteY9" fmla="*/ 13205 h 317700"/>
                <a:gd name="connsiteX10" fmla="*/ 13235 w 436846"/>
                <a:gd name="connsiteY10" fmla="*/ 39675 h 317700"/>
                <a:gd name="connsiteX11" fmla="*/ 13235 w 436846"/>
                <a:gd name="connsiteY11" fmla="*/ 277966 h 317700"/>
                <a:gd name="connsiteX12" fmla="*/ 39705 w 436846"/>
                <a:gd name="connsiteY12" fmla="*/ 304436 h 317700"/>
                <a:gd name="connsiteX13" fmla="*/ 397141 w 436846"/>
                <a:gd name="connsiteY13" fmla="*/ 304436 h 317700"/>
                <a:gd name="connsiteX14" fmla="*/ 423611 w 436846"/>
                <a:gd name="connsiteY14" fmla="*/ 277966 h 317700"/>
                <a:gd name="connsiteX15" fmla="*/ 423611 w 436846"/>
                <a:gd name="connsiteY15" fmla="*/ 39675 h 317700"/>
                <a:gd name="connsiteX16" fmla="*/ 397141 w 436846"/>
                <a:gd name="connsiteY16" fmla="*/ 13205 h 317700"/>
                <a:gd name="connsiteX17" fmla="*/ 39705 w 436846"/>
                <a:gd name="connsiteY17" fmla="*/ 13205 h 31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6846" h="317700">
                  <a:moveTo>
                    <a:pt x="397141" y="317701"/>
                  </a:moveTo>
                  <a:lnTo>
                    <a:pt x="39705" y="317701"/>
                  </a:lnTo>
                  <a:cubicBezTo>
                    <a:pt x="17816" y="317701"/>
                    <a:pt x="0" y="299884"/>
                    <a:pt x="0" y="277996"/>
                  </a:cubicBezTo>
                  <a:lnTo>
                    <a:pt x="0" y="39705"/>
                  </a:lnTo>
                  <a:cubicBezTo>
                    <a:pt x="0" y="17816"/>
                    <a:pt x="17816" y="0"/>
                    <a:pt x="39705" y="0"/>
                  </a:cubicBezTo>
                  <a:lnTo>
                    <a:pt x="397141" y="0"/>
                  </a:lnTo>
                  <a:cubicBezTo>
                    <a:pt x="419030" y="0"/>
                    <a:pt x="436846" y="17816"/>
                    <a:pt x="436846" y="39705"/>
                  </a:cubicBezTo>
                  <a:lnTo>
                    <a:pt x="436846" y="277996"/>
                  </a:lnTo>
                  <a:cubicBezTo>
                    <a:pt x="436876" y="299884"/>
                    <a:pt x="419060" y="317701"/>
                    <a:pt x="397141" y="317701"/>
                  </a:cubicBezTo>
                  <a:close/>
                  <a:moveTo>
                    <a:pt x="39705" y="13205"/>
                  </a:moveTo>
                  <a:cubicBezTo>
                    <a:pt x="25093" y="13205"/>
                    <a:pt x="13235" y="25093"/>
                    <a:pt x="13235" y="39675"/>
                  </a:cubicBezTo>
                  <a:lnTo>
                    <a:pt x="13235" y="277966"/>
                  </a:lnTo>
                  <a:cubicBezTo>
                    <a:pt x="13235" y="292578"/>
                    <a:pt x="25123" y="304436"/>
                    <a:pt x="39705" y="304436"/>
                  </a:cubicBezTo>
                  <a:lnTo>
                    <a:pt x="397141" y="304436"/>
                  </a:lnTo>
                  <a:cubicBezTo>
                    <a:pt x="411753" y="304436"/>
                    <a:pt x="423611" y="292548"/>
                    <a:pt x="423611" y="277966"/>
                  </a:cubicBezTo>
                  <a:lnTo>
                    <a:pt x="423611" y="39675"/>
                  </a:lnTo>
                  <a:cubicBezTo>
                    <a:pt x="423611" y="25063"/>
                    <a:pt x="411724" y="13205"/>
                    <a:pt x="397141" y="13205"/>
                  </a:cubicBezTo>
                  <a:lnTo>
                    <a:pt x="39705" y="13205"/>
                  </a:lnTo>
                  <a:close/>
                </a:path>
              </a:pathLst>
            </a:custGeom>
            <a:solidFill>
              <a:schemeClr val="tx2"/>
            </a:solidFill>
            <a:ln w="2991" cap="flat">
              <a:noFill/>
              <a:prstDash val="solid"/>
              <a:miter/>
            </a:ln>
          </p:spPr>
          <p:txBody>
            <a:bodyPr rtlCol="0" anchor="ctr"/>
            <a:lstStyle/>
            <a:p>
              <a:endParaRPr lang="en-GB" dirty="0"/>
            </a:p>
          </p:txBody>
        </p:sp>
      </p:grpSp>
      <p:sp>
        <p:nvSpPr>
          <p:cNvPr id="506" name="TextBox 1400">
            <a:extLst>
              <a:ext uri="{FF2B5EF4-FFF2-40B4-BE49-F238E27FC236}">
                <a16:creationId xmlns:a16="http://schemas.microsoft.com/office/drawing/2014/main" id="{DC15D963-25C8-48ED-A072-5009E4D1B2DE}"/>
              </a:ext>
            </a:extLst>
          </p:cNvPr>
          <p:cNvSpPr txBox="1"/>
          <p:nvPr/>
        </p:nvSpPr>
        <p:spPr>
          <a:xfrm>
            <a:off x="1607850" y="2077494"/>
            <a:ext cx="463268" cy="215444"/>
          </a:xfrm>
          <a:prstGeom prst="rect">
            <a:avLst/>
          </a:prstGeom>
          <a:noFill/>
          <a:effectLst/>
        </p:spPr>
        <p:txBody>
          <a:bodyPr wrap="none" lIns="0" tIns="0" rIns="0" bIns="0" rtlCol="0" anchor="t">
            <a:spAutoFit/>
          </a:bodyPr>
          <a:lstStyle/>
          <a:p>
            <a:pPr algn="ctr"/>
            <a:r>
              <a:rPr lang="en-GB" sz="700" dirty="0">
                <a:solidFill>
                  <a:schemeClr val="tx2"/>
                </a:solidFill>
              </a:rPr>
              <a:t>Satisfaction</a:t>
            </a:r>
            <a:br>
              <a:rPr lang="en-GB" sz="700" dirty="0">
                <a:solidFill>
                  <a:schemeClr val="tx2"/>
                </a:solidFill>
              </a:rPr>
            </a:br>
            <a:r>
              <a:rPr lang="en-GB" sz="700" dirty="0">
                <a:solidFill>
                  <a:schemeClr val="tx2"/>
                </a:solidFill>
              </a:rPr>
              <a:t>score</a:t>
            </a:r>
          </a:p>
        </p:txBody>
      </p:sp>
      <p:sp>
        <p:nvSpPr>
          <p:cNvPr id="507" name="TextBox 1404">
            <a:extLst>
              <a:ext uri="{FF2B5EF4-FFF2-40B4-BE49-F238E27FC236}">
                <a16:creationId xmlns:a16="http://schemas.microsoft.com/office/drawing/2014/main" id="{0119D7AB-8AF1-453E-BA3B-0ECF59B82190}"/>
              </a:ext>
            </a:extLst>
          </p:cNvPr>
          <p:cNvSpPr txBox="1"/>
          <p:nvPr/>
        </p:nvSpPr>
        <p:spPr>
          <a:xfrm>
            <a:off x="1694412" y="2899619"/>
            <a:ext cx="290144" cy="107722"/>
          </a:xfrm>
          <a:prstGeom prst="rect">
            <a:avLst/>
          </a:prstGeom>
          <a:noFill/>
          <a:effectLst/>
        </p:spPr>
        <p:txBody>
          <a:bodyPr wrap="none" lIns="0" tIns="0" rIns="0" bIns="0" rtlCol="0" anchor="t">
            <a:spAutoFit/>
          </a:bodyPr>
          <a:lstStyle/>
          <a:p>
            <a:pPr algn="ctr"/>
            <a:r>
              <a:rPr lang="en-GB" sz="700" dirty="0">
                <a:solidFill>
                  <a:schemeClr val="tx2"/>
                </a:solidFill>
              </a:rPr>
              <a:t>Stream</a:t>
            </a:r>
          </a:p>
        </p:txBody>
      </p:sp>
      <p:sp>
        <p:nvSpPr>
          <p:cNvPr id="508" name="TextBox 1410">
            <a:extLst>
              <a:ext uri="{FF2B5EF4-FFF2-40B4-BE49-F238E27FC236}">
                <a16:creationId xmlns:a16="http://schemas.microsoft.com/office/drawing/2014/main" id="{21A5DE8E-DC56-4F24-9801-B466B75A9021}"/>
              </a:ext>
            </a:extLst>
          </p:cNvPr>
          <p:cNvSpPr txBox="1"/>
          <p:nvPr/>
        </p:nvSpPr>
        <p:spPr>
          <a:xfrm>
            <a:off x="1611056" y="4547732"/>
            <a:ext cx="456856" cy="107722"/>
          </a:xfrm>
          <a:prstGeom prst="rect">
            <a:avLst/>
          </a:prstGeom>
          <a:noFill/>
          <a:effectLst/>
        </p:spPr>
        <p:txBody>
          <a:bodyPr wrap="none" lIns="0" tIns="0" rIns="0" bIns="0" rtlCol="0" anchor="t">
            <a:spAutoFit/>
          </a:bodyPr>
          <a:lstStyle/>
          <a:p>
            <a:pPr algn="ctr"/>
            <a:r>
              <a:rPr lang="en-GB" sz="700" dirty="0">
                <a:solidFill>
                  <a:schemeClr val="tx2"/>
                </a:solidFill>
              </a:rPr>
              <a:t>Page views</a:t>
            </a:r>
          </a:p>
        </p:txBody>
      </p:sp>
      <p:sp>
        <p:nvSpPr>
          <p:cNvPr id="509" name="TextBox 1412">
            <a:extLst>
              <a:ext uri="{FF2B5EF4-FFF2-40B4-BE49-F238E27FC236}">
                <a16:creationId xmlns:a16="http://schemas.microsoft.com/office/drawing/2014/main" id="{DC90EC28-E48A-480B-91E7-7F25ED3C836A}"/>
              </a:ext>
            </a:extLst>
          </p:cNvPr>
          <p:cNvSpPr txBox="1"/>
          <p:nvPr/>
        </p:nvSpPr>
        <p:spPr>
          <a:xfrm>
            <a:off x="1732083" y="3723675"/>
            <a:ext cx="214802" cy="107722"/>
          </a:xfrm>
          <a:prstGeom prst="rect">
            <a:avLst/>
          </a:prstGeom>
          <a:noFill/>
          <a:effectLst/>
        </p:spPr>
        <p:txBody>
          <a:bodyPr wrap="none" lIns="0" tIns="0" rIns="0" bIns="0" rtlCol="0" anchor="t">
            <a:spAutoFit/>
          </a:bodyPr>
          <a:lstStyle/>
          <a:p>
            <a:pPr algn="ctr"/>
            <a:r>
              <a:rPr lang="en-GB" sz="700" dirty="0">
                <a:solidFill>
                  <a:schemeClr val="tx2"/>
                </a:solidFill>
              </a:rPr>
              <a:t>GIF’s</a:t>
            </a:r>
          </a:p>
        </p:txBody>
      </p:sp>
      <p:grpSp>
        <p:nvGrpSpPr>
          <p:cNvPr id="510" name="Gruppieren 509">
            <a:extLst>
              <a:ext uri="{FF2B5EF4-FFF2-40B4-BE49-F238E27FC236}">
                <a16:creationId xmlns:a16="http://schemas.microsoft.com/office/drawing/2014/main" id="{A71B25F5-C239-466C-9677-568EA96C9BC2}"/>
              </a:ext>
            </a:extLst>
          </p:cNvPr>
          <p:cNvGrpSpPr>
            <a:grpSpLocks noChangeAspect="1"/>
          </p:cNvGrpSpPr>
          <p:nvPr/>
        </p:nvGrpSpPr>
        <p:grpSpPr>
          <a:xfrm>
            <a:off x="5012732" y="1626716"/>
            <a:ext cx="401082" cy="432000"/>
            <a:chOff x="4949053" y="1619614"/>
            <a:chExt cx="551666" cy="594193"/>
          </a:xfrm>
        </p:grpSpPr>
        <p:grpSp>
          <p:nvGrpSpPr>
            <p:cNvPr id="511" name="Gruppieren 510">
              <a:extLst>
                <a:ext uri="{FF2B5EF4-FFF2-40B4-BE49-F238E27FC236}">
                  <a16:creationId xmlns:a16="http://schemas.microsoft.com/office/drawing/2014/main" id="{CF68652B-CB2F-4261-BC0A-B22D5F3DF159}"/>
                </a:ext>
              </a:extLst>
            </p:cNvPr>
            <p:cNvGrpSpPr/>
            <p:nvPr/>
          </p:nvGrpSpPr>
          <p:grpSpPr>
            <a:xfrm>
              <a:off x="5093660" y="1619614"/>
              <a:ext cx="407059" cy="458083"/>
              <a:chOff x="5093667" y="1619614"/>
              <a:chExt cx="407060" cy="458083"/>
            </a:xfrm>
          </p:grpSpPr>
          <p:sp>
            <p:nvSpPr>
              <p:cNvPr id="515" name="Freihandform: Form 514">
                <a:extLst>
                  <a:ext uri="{FF2B5EF4-FFF2-40B4-BE49-F238E27FC236}">
                    <a16:creationId xmlns:a16="http://schemas.microsoft.com/office/drawing/2014/main" id="{715D9019-C809-47A9-B5EA-EB6A8BAAD93B}"/>
                  </a:ext>
                </a:extLst>
              </p:cNvPr>
              <p:cNvSpPr/>
              <p:nvPr/>
            </p:nvSpPr>
            <p:spPr>
              <a:xfrm>
                <a:off x="5136186" y="1662157"/>
                <a:ext cx="321997" cy="296462"/>
              </a:xfrm>
              <a:custGeom>
                <a:avLst/>
                <a:gdLst>
                  <a:gd name="connsiteX0" fmla="*/ 314117 w 321997"/>
                  <a:gd name="connsiteY0" fmla="*/ 296462 h 296462"/>
                  <a:gd name="connsiteX1" fmla="*/ 212046 w 321997"/>
                  <a:gd name="connsiteY1" fmla="*/ 296462 h 296462"/>
                  <a:gd name="connsiteX2" fmla="*/ 204165 w 321997"/>
                  <a:gd name="connsiteY2" fmla="*/ 288581 h 296462"/>
                  <a:gd name="connsiteX3" fmla="*/ 212046 w 321997"/>
                  <a:gd name="connsiteY3" fmla="*/ 280700 h 296462"/>
                  <a:gd name="connsiteX4" fmla="*/ 306236 w 321997"/>
                  <a:gd name="connsiteY4" fmla="*/ 280700 h 296462"/>
                  <a:gd name="connsiteX5" fmla="*/ 306236 w 321997"/>
                  <a:gd name="connsiteY5" fmla="*/ 15762 h 296462"/>
                  <a:gd name="connsiteX6" fmla="*/ 15762 w 321997"/>
                  <a:gd name="connsiteY6" fmla="*/ 15762 h 296462"/>
                  <a:gd name="connsiteX7" fmla="*/ 15762 w 321997"/>
                  <a:gd name="connsiteY7" fmla="*/ 101448 h 296462"/>
                  <a:gd name="connsiteX8" fmla="*/ 7881 w 321997"/>
                  <a:gd name="connsiteY8" fmla="*/ 109329 h 296462"/>
                  <a:gd name="connsiteX9" fmla="*/ 0 w 321997"/>
                  <a:gd name="connsiteY9" fmla="*/ 101448 h 296462"/>
                  <a:gd name="connsiteX10" fmla="*/ 0 w 321997"/>
                  <a:gd name="connsiteY10" fmla="*/ 7881 h 296462"/>
                  <a:gd name="connsiteX11" fmla="*/ 7881 w 321997"/>
                  <a:gd name="connsiteY11" fmla="*/ 0 h 296462"/>
                  <a:gd name="connsiteX12" fmla="*/ 314117 w 321997"/>
                  <a:gd name="connsiteY12" fmla="*/ 0 h 296462"/>
                  <a:gd name="connsiteX13" fmla="*/ 321998 w 321997"/>
                  <a:gd name="connsiteY13" fmla="*/ 7881 h 296462"/>
                  <a:gd name="connsiteX14" fmla="*/ 321998 w 321997"/>
                  <a:gd name="connsiteY14" fmla="*/ 288581 h 296462"/>
                  <a:gd name="connsiteX15" fmla="*/ 314117 w 321997"/>
                  <a:gd name="connsiteY15" fmla="*/ 296462 h 29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1997" h="296462">
                    <a:moveTo>
                      <a:pt x="314117" y="296462"/>
                    </a:moveTo>
                    <a:lnTo>
                      <a:pt x="212046" y="296462"/>
                    </a:lnTo>
                    <a:cubicBezTo>
                      <a:pt x="207686" y="296462"/>
                      <a:pt x="204165" y="292941"/>
                      <a:pt x="204165" y="288581"/>
                    </a:cubicBezTo>
                    <a:cubicBezTo>
                      <a:pt x="204165" y="284221"/>
                      <a:pt x="207686" y="280700"/>
                      <a:pt x="212046" y="280700"/>
                    </a:cubicBezTo>
                    <a:lnTo>
                      <a:pt x="306236" y="280700"/>
                    </a:lnTo>
                    <a:lnTo>
                      <a:pt x="306236" y="15762"/>
                    </a:lnTo>
                    <a:lnTo>
                      <a:pt x="15762" y="15762"/>
                    </a:lnTo>
                    <a:lnTo>
                      <a:pt x="15762" y="101448"/>
                    </a:lnTo>
                    <a:cubicBezTo>
                      <a:pt x="15762" y="105807"/>
                      <a:pt x="12241" y="109329"/>
                      <a:pt x="7881" y="109329"/>
                    </a:cubicBezTo>
                    <a:cubicBezTo>
                      <a:pt x="3521" y="109329"/>
                      <a:pt x="0" y="105807"/>
                      <a:pt x="0" y="101448"/>
                    </a:cubicBezTo>
                    <a:lnTo>
                      <a:pt x="0" y="7881"/>
                    </a:lnTo>
                    <a:cubicBezTo>
                      <a:pt x="0" y="3521"/>
                      <a:pt x="3521" y="0"/>
                      <a:pt x="7881" y="0"/>
                    </a:cubicBezTo>
                    <a:lnTo>
                      <a:pt x="314117" y="0"/>
                    </a:lnTo>
                    <a:cubicBezTo>
                      <a:pt x="318477" y="0"/>
                      <a:pt x="321998" y="3521"/>
                      <a:pt x="321998" y="7881"/>
                    </a:cubicBezTo>
                    <a:lnTo>
                      <a:pt x="321998" y="288581"/>
                    </a:lnTo>
                    <a:cubicBezTo>
                      <a:pt x="321998" y="292941"/>
                      <a:pt x="318453" y="296462"/>
                      <a:pt x="314117" y="296462"/>
                    </a:cubicBezTo>
                    <a:close/>
                  </a:path>
                </a:pathLst>
              </a:custGeom>
              <a:solidFill>
                <a:schemeClr val="accent1"/>
              </a:solidFill>
              <a:ln w="2392" cap="flat">
                <a:noFill/>
                <a:prstDash val="solid"/>
                <a:miter/>
              </a:ln>
            </p:spPr>
            <p:txBody>
              <a:bodyPr rtlCol="0" anchor="ctr"/>
              <a:lstStyle/>
              <a:p>
                <a:endParaRPr lang="en-GB" dirty="0"/>
              </a:p>
            </p:txBody>
          </p:sp>
          <p:sp>
            <p:nvSpPr>
              <p:cNvPr id="516" name="Freihandform: Form 515">
                <a:extLst>
                  <a:ext uri="{FF2B5EF4-FFF2-40B4-BE49-F238E27FC236}">
                    <a16:creationId xmlns:a16="http://schemas.microsoft.com/office/drawing/2014/main" id="{D50AF76F-95B3-4500-8FA8-AABFA31F0070}"/>
                  </a:ext>
                </a:extLst>
              </p:cNvPr>
              <p:cNvSpPr/>
              <p:nvPr/>
            </p:nvSpPr>
            <p:spPr>
              <a:xfrm>
                <a:off x="5093667" y="1619614"/>
                <a:ext cx="407060" cy="458083"/>
              </a:xfrm>
              <a:custGeom>
                <a:avLst/>
                <a:gdLst>
                  <a:gd name="connsiteX0" fmla="*/ 399156 w 407060"/>
                  <a:gd name="connsiteY0" fmla="*/ 458084 h 458083"/>
                  <a:gd name="connsiteX1" fmla="*/ 254542 w 407060"/>
                  <a:gd name="connsiteY1" fmla="*/ 458084 h 458083"/>
                  <a:gd name="connsiteX2" fmla="*/ 246661 w 407060"/>
                  <a:gd name="connsiteY2" fmla="*/ 450203 h 458083"/>
                  <a:gd name="connsiteX3" fmla="*/ 254542 w 407060"/>
                  <a:gd name="connsiteY3" fmla="*/ 442322 h 458083"/>
                  <a:gd name="connsiteX4" fmla="*/ 391275 w 407060"/>
                  <a:gd name="connsiteY4" fmla="*/ 442322 h 458083"/>
                  <a:gd name="connsiteX5" fmla="*/ 391275 w 407060"/>
                  <a:gd name="connsiteY5" fmla="*/ 15762 h 458083"/>
                  <a:gd name="connsiteX6" fmla="*/ 15762 w 407060"/>
                  <a:gd name="connsiteY6" fmla="*/ 15762 h 458083"/>
                  <a:gd name="connsiteX7" fmla="*/ 15762 w 407060"/>
                  <a:gd name="connsiteY7" fmla="*/ 143991 h 458083"/>
                  <a:gd name="connsiteX8" fmla="*/ 7881 w 407060"/>
                  <a:gd name="connsiteY8" fmla="*/ 151872 h 458083"/>
                  <a:gd name="connsiteX9" fmla="*/ 0 w 407060"/>
                  <a:gd name="connsiteY9" fmla="*/ 143991 h 458083"/>
                  <a:gd name="connsiteX10" fmla="*/ 0 w 407060"/>
                  <a:gd name="connsiteY10" fmla="*/ 7881 h 458083"/>
                  <a:gd name="connsiteX11" fmla="*/ 7881 w 407060"/>
                  <a:gd name="connsiteY11" fmla="*/ 0 h 458083"/>
                  <a:gd name="connsiteX12" fmla="*/ 399180 w 407060"/>
                  <a:gd name="connsiteY12" fmla="*/ 0 h 458083"/>
                  <a:gd name="connsiteX13" fmla="*/ 407061 w 407060"/>
                  <a:gd name="connsiteY13" fmla="*/ 7881 h 458083"/>
                  <a:gd name="connsiteX14" fmla="*/ 407061 w 407060"/>
                  <a:gd name="connsiteY14" fmla="*/ 450203 h 458083"/>
                  <a:gd name="connsiteX15" fmla="*/ 399156 w 407060"/>
                  <a:gd name="connsiteY15" fmla="*/ 458084 h 45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7060" h="458083">
                    <a:moveTo>
                      <a:pt x="399156" y="458084"/>
                    </a:moveTo>
                    <a:lnTo>
                      <a:pt x="254542" y="458084"/>
                    </a:lnTo>
                    <a:cubicBezTo>
                      <a:pt x="250182" y="458084"/>
                      <a:pt x="246661" y="454563"/>
                      <a:pt x="246661" y="450203"/>
                    </a:cubicBezTo>
                    <a:cubicBezTo>
                      <a:pt x="246661" y="445843"/>
                      <a:pt x="250182" y="442322"/>
                      <a:pt x="254542" y="442322"/>
                    </a:cubicBezTo>
                    <a:lnTo>
                      <a:pt x="391275" y="442322"/>
                    </a:lnTo>
                    <a:lnTo>
                      <a:pt x="391275" y="15762"/>
                    </a:lnTo>
                    <a:lnTo>
                      <a:pt x="15762" y="15762"/>
                    </a:lnTo>
                    <a:lnTo>
                      <a:pt x="15762" y="143991"/>
                    </a:lnTo>
                    <a:cubicBezTo>
                      <a:pt x="15762" y="148351"/>
                      <a:pt x="12241" y="151872"/>
                      <a:pt x="7881" y="151872"/>
                    </a:cubicBezTo>
                    <a:cubicBezTo>
                      <a:pt x="3521" y="151872"/>
                      <a:pt x="0" y="148351"/>
                      <a:pt x="0" y="143991"/>
                    </a:cubicBezTo>
                    <a:lnTo>
                      <a:pt x="0" y="7881"/>
                    </a:lnTo>
                    <a:cubicBezTo>
                      <a:pt x="0" y="3521"/>
                      <a:pt x="3521" y="0"/>
                      <a:pt x="7881" y="0"/>
                    </a:cubicBezTo>
                    <a:lnTo>
                      <a:pt x="399180" y="0"/>
                    </a:lnTo>
                    <a:cubicBezTo>
                      <a:pt x="403539" y="0"/>
                      <a:pt x="407061" y="3521"/>
                      <a:pt x="407061" y="7881"/>
                    </a:cubicBezTo>
                    <a:lnTo>
                      <a:pt x="407061" y="450203"/>
                    </a:lnTo>
                    <a:cubicBezTo>
                      <a:pt x="407037" y="454563"/>
                      <a:pt x="403515" y="458084"/>
                      <a:pt x="399156" y="458084"/>
                    </a:cubicBezTo>
                    <a:close/>
                  </a:path>
                </a:pathLst>
              </a:custGeom>
              <a:solidFill>
                <a:schemeClr val="accent1"/>
              </a:solidFill>
              <a:ln w="2392" cap="flat">
                <a:noFill/>
                <a:prstDash val="solid"/>
                <a:miter/>
              </a:ln>
            </p:spPr>
            <p:txBody>
              <a:bodyPr rtlCol="0" anchor="ctr"/>
              <a:lstStyle/>
              <a:p>
                <a:endParaRPr lang="en-GB" dirty="0"/>
              </a:p>
            </p:txBody>
          </p:sp>
        </p:grpSp>
        <p:grpSp>
          <p:nvGrpSpPr>
            <p:cNvPr id="512" name="Gruppieren 511">
              <a:extLst>
                <a:ext uri="{FF2B5EF4-FFF2-40B4-BE49-F238E27FC236}">
                  <a16:creationId xmlns:a16="http://schemas.microsoft.com/office/drawing/2014/main" id="{DBF29275-AC61-465F-99CD-F076C31E0C48}"/>
                </a:ext>
              </a:extLst>
            </p:cNvPr>
            <p:cNvGrpSpPr/>
            <p:nvPr/>
          </p:nvGrpSpPr>
          <p:grpSpPr>
            <a:xfrm>
              <a:off x="4949053" y="1755724"/>
              <a:ext cx="407059" cy="458083"/>
              <a:chOff x="4949053" y="1755724"/>
              <a:chExt cx="407060" cy="458083"/>
            </a:xfrm>
          </p:grpSpPr>
          <p:sp>
            <p:nvSpPr>
              <p:cNvPr id="513" name="Freihandform: Form 512">
                <a:extLst>
                  <a:ext uri="{FF2B5EF4-FFF2-40B4-BE49-F238E27FC236}">
                    <a16:creationId xmlns:a16="http://schemas.microsoft.com/office/drawing/2014/main" id="{B5FB53CA-2520-4D22-A4C5-A792F5FE370A}"/>
                  </a:ext>
                </a:extLst>
              </p:cNvPr>
              <p:cNvSpPr/>
              <p:nvPr/>
            </p:nvSpPr>
            <p:spPr>
              <a:xfrm>
                <a:off x="4949053" y="1755724"/>
                <a:ext cx="407060" cy="458083"/>
              </a:xfrm>
              <a:custGeom>
                <a:avLst/>
                <a:gdLst>
                  <a:gd name="connsiteX0" fmla="*/ 399180 w 407060"/>
                  <a:gd name="connsiteY0" fmla="*/ 458084 h 458083"/>
                  <a:gd name="connsiteX1" fmla="*/ 7881 w 407060"/>
                  <a:gd name="connsiteY1" fmla="*/ 458084 h 458083"/>
                  <a:gd name="connsiteX2" fmla="*/ 0 w 407060"/>
                  <a:gd name="connsiteY2" fmla="*/ 450203 h 458083"/>
                  <a:gd name="connsiteX3" fmla="*/ 0 w 407060"/>
                  <a:gd name="connsiteY3" fmla="*/ 7881 h 458083"/>
                  <a:gd name="connsiteX4" fmla="*/ 7881 w 407060"/>
                  <a:gd name="connsiteY4" fmla="*/ 0 h 458083"/>
                  <a:gd name="connsiteX5" fmla="*/ 399180 w 407060"/>
                  <a:gd name="connsiteY5" fmla="*/ 0 h 458083"/>
                  <a:gd name="connsiteX6" fmla="*/ 407061 w 407060"/>
                  <a:gd name="connsiteY6" fmla="*/ 7881 h 458083"/>
                  <a:gd name="connsiteX7" fmla="*/ 407061 w 407060"/>
                  <a:gd name="connsiteY7" fmla="*/ 450203 h 458083"/>
                  <a:gd name="connsiteX8" fmla="*/ 399180 w 407060"/>
                  <a:gd name="connsiteY8" fmla="*/ 458084 h 458083"/>
                  <a:gd name="connsiteX9" fmla="*/ 15762 w 407060"/>
                  <a:gd name="connsiteY9" fmla="*/ 442322 h 458083"/>
                  <a:gd name="connsiteX10" fmla="*/ 391299 w 407060"/>
                  <a:gd name="connsiteY10" fmla="*/ 442322 h 458083"/>
                  <a:gd name="connsiteX11" fmla="*/ 391299 w 407060"/>
                  <a:gd name="connsiteY11" fmla="*/ 15762 h 458083"/>
                  <a:gd name="connsiteX12" fmla="*/ 15762 w 407060"/>
                  <a:gd name="connsiteY12" fmla="*/ 15762 h 458083"/>
                  <a:gd name="connsiteX13" fmla="*/ 15762 w 407060"/>
                  <a:gd name="connsiteY13" fmla="*/ 442322 h 45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7060" h="458083">
                    <a:moveTo>
                      <a:pt x="399180" y="458084"/>
                    </a:moveTo>
                    <a:lnTo>
                      <a:pt x="7881" y="458084"/>
                    </a:lnTo>
                    <a:cubicBezTo>
                      <a:pt x="3521" y="458084"/>
                      <a:pt x="0" y="454563"/>
                      <a:pt x="0" y="450203"/>
                    </a:cubicBezTo>
                    <a:lnTo>
                      <a:pt x="0" y="7881"/>
                    </a:lnTo>
                    <a:cubicBezTo>
                      <a:pt x="0" y="3521"/>
                      <a:pt x="3521" y="0"/>
                      <a:pt x="7881" y="0"/>
                    </a:cubicBezTo>
                    <a:lnTo>
                      <a:pt x="399180" y="0"/>
                    </a:lnTo>
                    <a:cubicBezTo>
                      <a:pt x="403539" y="0"/>
                      <a:pt x="407061" y="3521"/>
                      <a:pt x="407061" y="7881"/>
                    </a:cubicBezTo>
                    <a:lnTo>
                      <a:pt x="407061" y="450203"/>
                    </a:lnTo>
                    <a:cubicBezTo>
                      <a:pt x="407061" y="454563"/>
                      <a:pt x="403515" y="458084"/>
                      <a:pt x="399180" y="458084"/>
                    </a:cubicBezTo>
                    <a:close/>
                    <a:moveTo>
                      <a:pt x="15762" y="442322"/>
                    </a:moveTo>
                    <a:lnTo>
                      <a:pt x="391299" y="442322"/>
                    </a:lnTo>
                    <a:lnTo>
                      <a:pt x="391299" y="15762"/>
                    </a:lnTo>
                    <a:lnTo>
                      <a:pt x="15762" y="15762"/>
                    </a:lnTo>
                    <a:lnTo>
                      <a:pt x="15762" y="442322"/>
                    </a:lnTo>
                    <a:close/>
                  </a:path>
                </a:pathLst>
              </a:custGeom>
              <a:solidFill>
                <a:schemeClr val="tx2"/>
              </a:solidFill>
              <a:ln w="2392" cap="flat">
                <a:noFill/>
                <a:prstDash val="solid"/>
                <a:miter/>
              </a:ln>
            </p:spPr>
            <p:txBody>
              <a:bodyPr rtlCol="0" anchor="ctr"/>
              <a:lstStyle/>
              <a:p>
                <a:endParaRPr lang="en-GB" dirty="0"/>
              </a:p>
            </p:txBody>
          </p:sp>
          <p:sp>
            <p:nvSpPr>
              <p:cNvPr id="514" name="Freihandform: Form 513">
                <a:extLst>
                  <a:ext uri="{FF2B5EF4-FFF2-40B4-BE49-F238E27FC236}">
                    <a16:creationId xmlns:a16="http://schemas.microsoft.com/office/drawing/2014/main" id="{DAFFEB66-565A-4A6A-8496-BB3DCFC1C2C1}"/>
                  </a:ext>
                </a:extLst>
              </p:cNvPr>
              <p:cNvSpPr/>
              <p:nvPr/>
            </p:nvSpPr>
            <p:spPr>
              <a:xfrm>
                <a:off x="4991572" y="1798243"/>
                <a:ext cx="321997" cy="296462"/>
              </a:xfrm>
              <a:custGeom>
                <a:avLst/>
                <a:gdLst>
                  <a:gd name="connsiteX0" fmla="*/ 314117 w 321997"/>
                  <a:gd name="connsiteY0" fmla="*/ 296462 h 296462"/>
                  <a:gd name="connsiteX1" fmla="*/ 7881 w 321997"/>
                  <a:gd name="connsiteY1" fmla="*/ 296462 h 296462"/>
                  <a:gd name="connsiteX2" fmla="*/ 0 w 321997"/>
                  <a:gd name="connsiteY2" fmla="*/ 288581 h 296462"/>
                  <a:gd name="connsiteX3" fmla="*/ 0 w 321997"/>
                  <a:gd name="connsiteY3" fmla="*/ 7881 h 296462"/>
                  <a:gd name="connsiteX4" fmla="*/ 7881 w 321997"/>
                  <a:gd name="connsiteY4" fmla="*/ 0 h 296462"/>
                  <a:gd name="connsiteX5" fmla="*/ 314117 w 321997"/>
                  <a:gd name="connsiteY5" fmla="*/ 0 h 296462"/>
                  <a:gd name="connsiteX6" fmla="*/ 321998 w 321997"/>
                  <a:gd name="connsiteY6" fmla="*/ 7881 h 296462"/>
                  <a:gd name="connsiteX7" fmla="*/ 321998 w 321997"/>
                  <a:gd name="connsiteY7" fmla="*/ 288581 h 296462"/>
                  <a:gd name="connsiteX8" fmla="*/ 314117 w 321997"/>
                  <a:gd name="connsiteY8" fmla="*/ 296462 h 296462"/>
                  <a:gd name="connsiteX9" fmla="*/ 15762 w 321997"/>
                  <a:gd name="connsiteY9" fmla="*/ 280700 h 296462"/>
                  <a:gd name="connsiteX10" fmla="*/ 306236 w 321997"/>
                  <a:gd name="connsiteY10" fmla="*/ 280700 h 296462"/>
                  <a:gd name="connsiteX11" fmla="*/ 306236 w 321997"/>
                  <a:gd name="connsiteY11" fmla="*/ 15762 h 296462"/>
                  <a:gd name="connsiteX12" fmla="*/ 15762 w 321997"/>
                  <a:gd name="connsiteY12" fmla="*/ 15762 h 296462"/>
                  <a:gd name="connsiteX13" fmla="*/ 15762 w 321997"/>
                  <a:gd name="connsiteY13" fmla="*/ 280700 h 296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21997" h="296462">
                    <a:moveTo>
                      <a:pt x="314117" y="296462"/>
                    </a:moveTo>
                    <a:lnTo>
                      <a:pt x="7881" y="296462"/>
                    </a:lnTo>
                    <a:cubicBezTo>
                      <a:pt x="3521" y="296462"/>
                      <a:pt x="0" y="292941"/>
                      <a:pt x="0" y="288581"/>
                    </a:cubicBezTo>
                    <a:lnTo>
                      <a:pt x="0" y="7881"/>
                    </a:lnTo>
                    <a:cubicBezTo>
                      <a:pt x="0" y="3521"/>
                      <a:pt x="3521" y="0"/>
                      <a:pt x="7881" y="0"/>
                    </a:cubicBezTo>
                    <a:lnTo>
                      <a:pt x="314117" y="0"/>
                    </a:lnTo>
                    <a:cubicBezTo>
                      <a:pt x="318477" y="0"/>
                      <a:pt x="321998" y="3521"/>
                      <a:pt x="321998" y="7881"/>
                    </a:cubicBezTo>
                    <a:lnTo>
                      <a:pt x="321998" y="288581"/>
                    </a:lnTo>
                    <a:cubicBezTo>
                      <a:pt x="321998" y="292941"/>
                      <a:pt x="318477" y="296462"/>
                      <a:pt x="314117" y="296462"/>
                    </a:cubicBezTo>
                    <a:close/>
                    <a:moveTo>
                      <a:pt x="15762" y="280700"/>
                    </a:moveTo>
                    <a:lnTo>
                      <a:pt x="306236" y="280700"/>
                    </a:lnTo>
                    <a:lnTo>
                      <a:pt x="306236" y="15762"/>
                    </a:lnTo>
                    <a:lnTo>
                      <a:pt x="15762" y="15762"/>
                    </a:lnTo>
                    <a:lnTo>
                      <a:pt x="15762" y="280700"/>
                    </a:lnTo>
                    <a:close/>
                  </a:path>
                </a:pathLst>
              </a:custGeom>
              <a:solidFill>
                <a:schemeClr val="tx2"/>
              </a:solidFill>
              <a:ln w="2392" cap="flat">
                <a:noFill/>
                <a:prstDash val="solid"/>
                <a:miter/>
              </a:ln>
            </p:spPr>
            <p:txBody>
              <a:bodyPr rtlCol="0" anchor="ctr"/>
              <a:lstStyle/>
              <a:p>
                <a:endParaRPr lang="en-GB" dirty="0"/>
              </a:p>
            </p:txBody>
          </p:sp>
        </p:grpSp>
      </p:grpSp>
      <p:grpSp>
        <p:nvGrpSpPr>
          <p:cNvPr id="18" name="Group 17">
            <a:extLst>
              <a:ext uri="{FF2B5EF4-FFF2-40B4-BE49-F238E27FC236}">
                <a16:creationId xmlns:a16="http://schemas.microsoft.com/office/drawing/2014/main" id="{4AC153D5-5FB6-65D5-29A8-B6CC33D1C41C}"/>
              </a:ext>
            </a:extLst>
          </p:cNvPr>
          <p:cNvGrpSpPr/>
          <p:nvPr/>
        </p:nvGrpSpPr>
        <p:grpSpPr>
          <a:xfrm>
            <a:off x="5946716" y="1626715"/>
            <a:ext cx="623973" cy="432000"/>
            <a:chOff x="5946304" y="1626715"/>
            <a:chExt cx="623973" cy="432000"/>
          </a:xfrm>
        </p:grpSpPr>
        <p:grpSp>
          <p:nvGrpSpPr>
            <p:cNvPr id="518" name="Grafik 14">
              <a:extLst>
                <a:ext uri="{FF2B5EF4-FFF2-40B4-BE49-F238E27FC236}">
                  <a16:creationId xmlns:a16="http://schemas.microsoft.com/office/drawing/2014/main" id="{7714CD79-1068-4F90-9062-0BF43D0AE28D}"/>
                </a:ext>
              </a:extLst>
            </p:cNvPr>
            <p:cNvGrpSpPr/>
            <p:nvPr/>
          </p:nvGrpSpPr>
          <p:grpSpPr>
            <a:xfrm>
              <a:off x="5946304" y="1626715"/>
              <a:ext cx="623973" cy="432000"/>
              <a:chOff x="5942043" y="1796107"/>
              <a:chExt cx="614702" cy="425581"/>
            </a:xfrm>
            <a:solidFill>
              <a:schemeClr val="tx2"/>
            </a:solidFill>
          </p:grpSpPr>
          <p:sp>
            <p:nvSpPr>
              <p:cNvPr id="520" name="Freihandform: Form 519">
                <a:extLst>
                  <a:ext uri="{FF2B5EF4-FFF2-40B4-BE49-F238E27FC236}">
                    <a16:creationId xmlns:a16="http://schemas.microsoft.com/office/drawing/2014/main" id="{1921063D-E0F4-4866-8315-4C21AF290DBB}"/>
                  </a:ext>
                </a:extLst>
              </p:cNvPr>
              <p:cNvSpPr/>
              <p:nvPr/>
            </p:nvSpPr>
            <p:spPr>
              <a:xfrm>
                <a:off x="5942043" y="1796111"/>
                <a:ext cx="614699" cy="425577"/>
              </a:xfrm>
              <a:custGeom>
                <a:avLst/>
                <a:gdLst>
                  <a:gd name="connsiteX0" fmla="*/ 606818 w 614699"/>
                  <a:gd name="connsiteY0" fmla="*/ 425578 h 425577"/>
                  <a:gd name="connsiteX1" fmla="*/ 7881 w 614699"/>
                  <a:gd name="connsiteY1" fmla="*/ 425578 h 425577"/>
                  <a:gd name="connsiteX2" fmla="*/ 0 w 614699"/>
                  <a:gd name="connsiteY2" fmla="*/ 417696 h 425577"/>
                  <a:gd name="connsiteX3" fmla="*/ 0 w 614699"/>
                  <a:gd name="connsiteY3" fmla="*/ 7881 h 425577"/>
                  <a:gd name="connsiteX4" fmla="*/ 7881 w 614699"/>
                  <a:gd name="connsiteY4" fmla="*/ 0 h 425577"/>
                  <a:gd name="connsiteX5" fmla="*/ 472840 w 614699"/>
                  <a:gd name="connsiteY5" fmla="*/ 0 h 425577"/>
                  <a:gd name="connsiteX6" fmla="*/ 478421 w 614699"/>
                  <a:gd name="connsiteY6" fmla="*/ 2300 h 425577"/>
                  <a:gd name="connsiteX7" fmla="*/ 612400 w 614699"/>
                  <a:gd name="connsiteY7" fmla="*/ 136278 h 425577"/>
                  <a:gd name="connsiteX8" fmla="*/ 614699 w 614699"/>
                  <a:gd name="connsiteY8" fmla="*/ 141859 h 425577"/>
                  <a:gd name="connsiteX9" fmla="*/ 614699 w 614699"/>
                  <a:gd name="connsiteY9" fmla="*/ 417696 h 425577"/>
                  <a:gd name="connsiteX10" fmla="*/ 606818 w 614699"/>
                  <a:gd name="connsiteY10" fmla="*/ 425578 h 425577"/>
                  <a:gd name="connsiteX11" fmla="*/ 15762 w 614699"/>
                  <a:gd name="connsiteY11" fmla="*/ 409815 h 425577"/>
                  <a:gd name="connsiteX12" fmla="*/ 598937 w 614699"/>
                  <a:gd name="connsiteY12" fmla="*/ 409815 h 425577"/>
                  <a:gd name="connsiteX13" fmla="*/ 598937 w 614699"/>
                  <a:gd name="connsiteY13" fmla="*/ 145117 h 425577"/>
                  <a:gd name="connsiteX14" fmla="*/ 469582 w 614699"/>
                  <a:gd name="connsiteY14" fmla="*/ 15762 h 425577"/>
                  <a:gd name="connsiteX15" fmla="*/ 15762 w 614699"/>
                  <a:gd name="connsiteY15" fmla="*/ 15762 h 425577"/>
                  <a:gd name="connsiteX16" fmla="*/ 15762 w 614699"/>
                  <a:gd name="connsiteY16" fmla="*/ 409815 h 425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14699" h="425577">
                    <a:moveTo>
                      <a:pt x="606818" y="425578"/>
                    </a:moveTo>
                    <a:lnTo>
                      <a:pt x="7881" y="425578"/>
                    </a:lnTo>
                    <a:cubicBezTo>
                      <a:pt x="3521" y="425578"/>
                      <a:pt x="0" y="422056"/>
                      <a:pt x="0" y="417696"/>
                    </a:cubicBezTo>
                    <a:lnTo>
                      <a:pt x="0" y="7881"/>
                    </a:lnTo>
                    <a:cubicBezTo>
                      <a:pt x="0" y="3521"/>
                      <a:pt x="3521" y="0"/>
                      <a:pt x="7881" y="0"/>
                    </a:cubicBezTo>
                    <a:lnTo>
                      <a:pt x="472840" y="0"/>
                    </a:lnTo>
                    <a:cubicBezTo>
                      <a:pt x="474924" y="0"/>
                      <a:pt x="476936" y="838"/>
                      <a:pt x="478421" y="2300"/>
                    </a:cubicBezTo>
                    <a:lnTo>
                      <a:pt x="612400" y="136278"/>
                    </a:lnTo>
                    <a:cubicBezTo>
                      <a:pt x="613885" y="137763"/>
                      <a:pt x="614699" y="139751"/>
                      <a:pt x="614699" y="141859"/>
                    </a:cubicBezTo>
                    <a:lnTo>
                      <a:pt x="614699" y="417696"/>
                    </a:lnTo>
                    <a:cubicBezTo>
                      <a:pt x="614699" y="422056"/>
                      <a:pt x="611178" y="425578"/>
                      <a:pt x="606818" y="425578"/>
                    </a:cubicBezTo>
                    <a:close/>
                    <a:moveTo>
                      <a:pt x="15762" y="409815"/>
                    </a:moveTo>
                    <a:lnTo>
                      <a:pt x="598937" y="409815"/>
                    </a:lnTo>
                    <a:lnTo>
                      <a:pt x="598937" y="145117"/>
                    </a:lnTo>
                    <a:lnTo>
                      <a:pt x="469582" y="15762"/>
                    </a:lnTo>
                    <a:lnTo>
                      <a:pt x="15762" y="15762"/>
                    </a:lnTo>
                    <a:lnTo>
                      <a:pt x="15762" y="409815"/>
                    </a:lnTo>
                    <a:close/>
                  </a:path>
                </a:pathLst>
              </a:custGeom>
              <a:grpFill/>
              <a:ln w="2392" cap="flat">
                <a:noFill/>
                <a:prstDash val="solid"/>
                <a:miter/>
              </a:ln>
            </p:spPr>
            <p:txBody>
              <a:bodyPr rtlCol="0" anchor="ctr"/>
              <a:lstStyle/>
              <a:p>
                <a:endParaRPr lang="en-GB" dirty="0"/>
              </a:p>
            </p:txBody>
          </p:sp>
          <p:sp>
            <p:nvSpPr>
              <p:cNvPr id="521" name="Freihandform: Form 520">
                <a:extLst>
                  <a:ext uri="{FF2B5EF4-FFF2-40B4-BE49-F238E27FC236}">
                    <a16:creationId xmlns:a16="http://schemas.microsoft.com/office/drawing/2014/main" id="{663F4B33-899B-48BF-8C8A-CD105A6BBA21}"/>
                  </a:ext>
                </a:extLst>
              </p:cNvPr>
              <p:cNvSpPr/>
              <p:nvPr/>
            </p:nvSpPr>
            <p:spPr>
              <a:xfrm>
                <a:off x="6407002" y="1796107"/>
                <a:ext cx="149743" cy="149743"/>
              </a:xfrm>
              <a:custGeom>
                <a:avLst/>
                <a:gdLst>
                  <a:gd name="connsiteX0" fmla="*/ 141859 w 149743"/>
                  <a:gd name="connsiteY0" fmla="*/ 149744 h 149743"/>
                  <a:gd name="connsiteX1" fmla="*/ 7881 w 149743"/>
                  <a:gd name="connsiteY1" fmla="*/ 149744 h 149743"/>
                  <a:gd name="connsiteX2" fmla="*/ 0 w 149743"/>
                  <a:gd name="connsiteY2" fmla="*/ 141863 h 149743"/>
                  <a:gd name="connsiteX3" fmla="*/ 0 w 149743"/>
                  <a:gd name="connsiteY3" fmla="*/ 7885 h 149743"/>
                  <a:gd name="connsiteX4" fmla="*/ 4863 w 149743"/>
                  <a:gd name="connsiteY4" fmla="*/ 602 h 149743"/>
                  <a:gd name="connsiteX5" fmla="*/ 13462 w 149743"/>
                  <a:gd name="connsiteY5" fmla="*/ 2303 h 149743"/>
                  <a:gd name="connsiteX6" fmla="*/ 147441 w 149743"/>
                  <a:gd name="connsiteY6" fmla="*/ 136281 h 149743"/>
                  <a:gd name="connsiteX7" fmla="*/ 149141 w 149743"/>
                  <a:gd name="connsiteY7" fmla="*/ 144881 h 149743"/>
                  <a:gd name="connsiteX8" fmla="*/ 141859 w 149743"/>
                  <a:gd name="connsiteY8" fmla="*/ 149744 h 149743"/>
                  <a:gd name="connsiteX9" fmla="*/ 15762 w 149743"/>
                  <a:gd name="connsiteY9" fmla="*/ 133982 h 149743"/>
                  <a:gd name="connsiteX10" fmla="*/ 122839 w 149743"/>
                  <a:gd name="connsiteY10" fmla="*/ 133982 h 149743"/>
                  <a:gd name="connsiteX11" fmla="*/ 15762 w 149743"/>
                  <a:gd name="connsiteY11" fmla="*/ 26905 h 149743"/>
                  <a:gd name="connsiteX12" fmla="*/ 15762 w 149743"/>
                  <a:gd name="connsiteY12" fmla="*/ 133982 h 14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9743" h="149743">
                    <a:moveTo>
                      <a:pt x="141859" y="149744"/>
                    </a:moveTo>
                    <a:lnTo>
                      <a:pt x="7881" y="149744"/>
                    </a:lnTo>
                    <a:cubicBezTo>
                      <a:pt x="3521" y="149744"/>
                      <a:pt x="0" y="146222"/>
                      <a:pt x="0" y="141863"/>
                    </a:cubicBezTo>
                    <a:lnTo>
                      <a:pt x="0" y="7885"/>
                    </a:lnTo>
                    <a:cubicBezTo>
                      <a:pt x="0" y="4699"/>
                      <a:pt x="1916" y="1824"/>
                      <a:pt x="4863" y="602"/>
                    </a:cubicBezTo>
                    <a:cubicBezTo>
                      <a:pt x="7809" y="-619"/>
                      <a:pt x="11187" y="51"/>
                      <a:pt x="13462" y="2303"/>
                    </a:cubicBezTo>
                    <a:lnTo>
                      <a:pt x="147441" y="136281"/>
                    </a:lnTo>
                    <a:cubicBezTo>
                      <a:pt x="149692" y="138533"/>
                      <a:pt x="150363" y="141911"/>
                      <a:pt x="149141" y="144881"/>
                    </a:cubicBezTo>
                    <a:cubicBezTo>
                      <a:pt x="147920" y="147827"/>
                      <a:pt x="145045" y="149744"/>
                      <a:pt x="141859" y="149744"/>
                    </a:cubicBezTo>
                    <a:close/>
                    <a:moveTo>
                      <a:pt x="15762" y="133982"/>
                    </a:moveTo>
                    <a:lnTo>
                      <a:pt x="122839" y="133982"/>
                    </a:lnTo>
                    <a:lnTo>
                      <a:pt x="15762" y="26905"/>
                    </a:lnTo>
                    <a:lnTo>
                      <a:pt x="15762" y="133982"/>
                    </a:lnTo>
                    <a:close/>
                  </a:path>
                </a:pathLst>
              </a:custGeom>
              <a:grpFill/>
              <a:ln w="2392" cap="flat">
                <a:noFill/>
                <a:prstDash val="solid"/>
                <a:miter/>
              </a:ln>
            </p:spPr>
            <p:txBody>
              <a:bodyPr rtlCol="0" anchor="ctr"/>
              <a:lstStyle/>
              <a:p>
                <a:endParaRPr lang="en-GB" dirty="0"/>
              </a:p>
            </p:txBody>
          </p:sp>
          <p:sp>
            <p:nvSpPr>
              <p:cNvPr id="522" name="Freihandform: Form 521">
                <a:extLst>
                  <a:ext uri="{FF2B5EF4-FFF2-40B4-BE49-F238E27FC236}">
                    <a16:creationId xmlns:a16="http://schemas.microsoft.com/office/drawing/2014/main" id="{6AB424BA-4A01-40F2-ACDE-D3F572F41F60}"/>
                  </a:ext>
                </a:extLst>
              </p:cNvPr>
              <p:cNvSpPr/>
              <p:nvPr/>
            </p:nvSpPr>
            <p:spPr>
              <a:xfrm>
                <a:off x="6005092" y="179611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17" y="55167"/>
                      <a:pt x="7881" y="55167"/>
                    </a:cubicBezTo>
                    <a:close/>
                  </a:path>
                </a:pathLst>
              </a:custGeom>
              <a:grpFill/>
              <a:ln w="2392" cap="flat">
                <a:noFill/>
                <a:prstDash val="solid"/>
                <a:miter/>
              </a:ln>
            </p:spPr>
            <p:txBody>
              <a:bodyPr rtlCol="0" anchor="ctr"/>
              <a:lstStyle/>
              <a:p>
                <a:endParaRPr lang="en-GB" dirty="0"/>
              </a:p>
            </p:txBody>
          </p:sp>
          <p:sp>
            <p:nvSpPr>
              <p:cNvPr id="523" name="Freihandform: Form 522">
                <a:extLst>
                  <a:ext uri="{FF2B5EF4-FFF2-40B4-BE49-F238E27FC236}">
                    <a16:creationId xmlns:a16="http://schemas.microsoft.com/office/drawing/2014/main" id="{DBF1BA01-81B7-4825-B5DE-7326E8CFFFF5}"/>
                  </a:ext>
                </a:extLst>
              </p:cNvPr>
              <p:cNvSpPr/>
              <p:nvPr/>
            </p:nvSpPr>
            <p:spPr>
              <a:xfrm>
                <a:off x="6072859" y="179611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sp>
            <p:nvSpPr>
              <p:cNvPr id="524" name="Freihandform: Form 523">
                <a:extLst>
                  <a:ext uri="{FF2B5EF4-FFF2-40B4-BE49-F238E27FC236}">
                    <a16:creationId xmlns:a16="http://schemas.microsoft.com/office/drawing/2014/main" id="{D1ED8770-F810-47C2-9884-A9DA8A00EBF0}"/>
                  </a:ext>
                </a:extLst>
              </p:cNvPr>
              <p:cNvSpPr/>
              <p:nvPr/>
            </p:nvSpPr>
            <p:spPr>
              <a:xfrm>
                <a:off x="6140627" y="179611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sp>
            <p:nvSpPr>
              <p:cNvPr id="525" name="Freihandform: Form 524">
                <a:extLst>
                  <a:ext uri="{FF2B5EF4-FFF2-40B4-BE49-F238E27FC236}">
                    <a16:creationId xmlns:a16="http://schemas.microsoft.com/office/drawing/2014/main" id="{697DD87D-F8B0-40AA-A89F-5AC1368595ED}"/>
                  </a:ext>
                </a:extLst>
              </p:cNvPr>
              <p:cNvSpPr/>
              <p:nvPr/>
            </p:nvSpPr>
            <p:spPr>
              <a:xfrm>
                <a:off x="6208395" y="179611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sp>
            <p:nvSpPr>
              <p:cNvPr id="526" name="Freihandform: Form 525">
                <a:extLst>
                  <a:ext uri="{FF2B5EF4-FFF2-40B4-BE49-F238E27FC236}">
                    <a16:creationId xmlns:a16="http://schemas.microsoft.com/office/drawing/2014/main" id="{48817BB1-A2D3-4FF1-953B-228106F6A35D}"/>
                  </a:ext>
                </a:extLst>
              </p:cNvPr>
              <p:cNvSpPr/>
              <p:nvPr/>
            </p:nvSpPr>
            <p:spPr>
              <a:xfrm>
                <a:off x="6276186" y="179611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sp>
            <p:nvSpPr>
              <p:cNvPr id="527" name="Freihandform: Form 526">
                <a:extLst>
                  <a:ext uri="{FF2B5EF4-FFF2-40B4-BE49-F238E27FC236}">
                    <a16:creationId xmlns:a16="http://schemas.microsoft.com/office/drawing/2014/main" id="{944C876E-3963-422C-96EA-2594F1A26702}"/>
                  </a:ext>
                </a:extLst>
              </p:cNvPr>
              <p:cNvSpPr/>
              <p:nvPr/>
            </p:nvSpPr>
            <p:spPr>
              <a:xfrm>
                <a:off x="6343954" y="179611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sp>
            <p:nvSpPr>
              <p:cNvPr id="528" name="Freihandform: Form 527">
                <a:extLst>
                  <a:ext uri="{FF2B5EF4-FFF2-40B4-BE49-F238E27FC236}">
                    <a16:creationId xmlns:a16="http://schemas.microsoft.com/office/drawing/2014/main" id="{530F923F-588A-4CF1-86CA-42144079C0FC}"/>
                  </a:ext>
                </a:extLst>
              </p:cNvPr>
              <p:cNvSpPr/>
              <p:nvPr/>
            </p:nvSpPr>
            <p:spPr>
              <a:xfrm>
                <a:off x="6020854" y="216652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17" y="55167"/>
                      <a:pt x="7881" y="55167"/>
                    </a:cubicBezTo>
                    <a:close/>
                  </a:path>
                </a:pathLst>
              </a:custGeom>
              <a:grpFill/>
              <a:ln w="2392" cap="flat">
                <a:noFill/>
                <a:prstDash val="solid"/>
                <a:miter/>
              </a:ln>
            </p:spPr>
            <p:txBody>
              <a:bodyPr rtlCol="0" anchor="ctr"/>
              <a:lstStyle/>
              <a:p>
                <a:endParaRPr lang="en-GB" dirty="0"/>
              </a:p>
            </p:txBody>
          </p:sp>
          <p:sp>
            <p:nvSpPr>
              <p:cNvPr id="529" name="Freihandform: Form 528">
                <a:extLst>
                  <a:ext uri="{FF2B5EF4-FFF2-40B4-BE49-F238E27FC236}">
                    <a16:creationId xmlns:a16="http://schemas.microsoft.com/office/drawing/2014/main" id="{CCD26C3A-4893-4BF4-8FA2-1A1BF5204CAC}"/>
                  </a:ext>
                </a:extLst>
              </p:cNvPr>
              <p:cNvSpPr/>
              <p:nvPr/>
            </p:nvSpPr>
            <p:spPr>
              <a:xfrm>
                <a:off x="6083902" y="216652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17" y="55167"/>
                      <a:pt x="7881" y="55167"/>
                    </a:cubicBezTo>
                    <a:close/>
                  </a:path>
                </a:pathLst>
              </a:custGeom>
              <a:grpFill/>
              <a:ln w="2392" cap="flat">
                <a:noFill/>
                <a:prstDash val="solid"/>
                <a:miter/>
              </a:ln>
            </p:spPr>
            <p:txBody>
              <a:bodyPr rtlCol="0" anchor="ctr"/>
              <a:lstStyle/>
              <a:p>
                <a:endParaRPr lang="en-GB" dirty="0"/>
              </a:p>
            </p:txBody>
          </p:sp>
          <p:sp>
            <p:nvSpPr>
              <p:cNvPr id="530" name="Freihandform: Form 529">
                <a:extLst>
                  <a:ext uri="{FF2B5EF4-FFF2-40B4-BE49-F238E27FC236}">
                    <a16:creationId xmlns:a16="http://schemas.microsoft.com/office/drawing/2014/main" id="{79A3D759-4843-4AA2-8BC5-88E0F4C64079}"/>
                  </a:ext>
                </a:extLst>
              </p:cNvPr>
              <p:cNvSpPr/>
              <p:nvPr/>
            </p:nvSpPr>
            <p:spPr>
              <a:xfrm>
                <a:off x="6146927" y="216652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sp>
            <p:nvSpPr>
              <p:cNvPr id="531" name="Freihandform: Form 530">
                <a:extLst>
                  <a:ext uri="{FF2B5EF4-FFF2-40B4-BE49-F238E27FC236}">
                    <a16:creationId xmlns:a16="http://schemas.microsoft.com/office/drawing/2014/main" id="{19B9C256-3CE6-4B43-BFF5-2939739EC025}"/>
                  </a:ext>
                </a:extLst>
              </p:cNvPr>
              <p:cNvSpPr/>
              <p:nvPr/>
            </p:nvSpPr>
            <p:spPr>
              <a:xfrm>
                <a:off x="6209976" y="216652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sp>
            <p:nvSpPr>
              <p:cNvPr id="532" name="Freihandform: Form 531">
                <a:extLst>
                  <a:ext uri="{FF2B5EF4-FFF2-40B4-BE49-F238E27FC236}">
                    <a16:creationId xmlns:a16="http://schemas.microsoft.com/office/drawing/2014/main" id="{56E6225C-84CC-4662-8F1F-7D255D47FE8B}"/>
                  </a:ext>
                </a:extLst>
              </p:cNvPr>
              <p:cNvSpPr/>
              <p:nvPr/>
            </p:nvSpPr>
            <p:spPr>
              <a:xfrm>
                <a:off x="6273024" y="216652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sp>
            <p:nvSpPr>
              <p:cNvPr id="533" name="Freihandform: Form 532">
                <a:extLst>
                  <a:ext uri="{FF2B5EF4-FFF2-40B4-BE49-F238E27FC236}">
                    <a16:creationId xmlns:a16="http://schemas.microsoft.com/office/drawing/2014/main" id="{2F4693C9-AE63-4DAE-9032-7209A6311009}"/>
                  </a:ext>
                </a:extLst>
              </p:cNvPr>
              <p:cNvSpPr/>
              <p:nvPr/>
            </p:nvSpPr>
            <p:spPr>
              <a:xfrm>
                <a:off x="6336073" y="216652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sp>
            <p:nvSpPr>
              <p:cNvPr id="534" name="Freihandform: Form 533">
                <a:extLst>
                  <a:ext uri="{FF2B5EF4-FFF2-40B4-BE49-F238E27FC236}">
                    <a16:creationId xmlns:a16="http://schemas.microsoft.com/office/drawing/2014/main" id="{8E5D3FCA-5D05-4A50-81E2-FF4753509AD5}"/>
                  </a:ext>
                </a:extLst>
              </p:cNvPr>
              <p:cNvSpPr/>
              <p:nvPr/>
            </p:nvSpPr>
            <p:spPr>
              <a:xfrm>
                <a:off x="6462170" y="216652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sp>
            <p:nvSpPr>
              <p:cNvPr id="535" name="Freihandform: Form 534">
                <a:extLst>
                  <a:ext uri="{FF2B5EF4-FFF2-40B4-BE49-F238E27FC236}">
                    <a16:creationId xmlns:a16="http://schemas.microsoft.com/office/drawing/2014/main" id="{2ECA0D66-3A87-4615-AD77-FD81B16E226F}"/>
                  </a:ext>
                </a:extLst>
              </p:cNvPr>
              <p:cNvSpPr/>
              <p:nvPr/>
            </p:nvSpPr>
            <p:spPr>
              <a:xfrm>
                <a:off x="6399121" y="2166521"/>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grpFill/>
              <a:ln w="2392" cap="flat">
                <a:noFill/>
                <a:prstDash val="solid"/>
                <a:miter/>
              </a:ln>
            </p:spPr>
            <p:txBody>
              <a:bodyPr rtlCol="0" anchor="ctr"/>
              <a:lstStyle/>
              <a:p>
                <a:endParaRPr lang="en-GB" dirty="0"/>
              </a:p>
            </p:txBody>
          </p:sp>
        </p:grpSp>
        <p:sp>
          <p:nvSpPr>
            <p:cNvPr id="519" name="Freihandform: Form 518">
              <a:extLst>
                <a:ext uri="{FF2B5EF4-FFF2-40B4-BE49-F238E27FC236}">
                  <a16:creationId xmlns:a16="http://schemas.microsoft.com/office/drawing/2014/main" id="{3EDAB16B-F0C8-4A95-B320-CFE7953BDF28}"/>
                </a:ext>
              </a:extLst>
            </p:cNvPr>
            <p:cNvSpPr/>
            <p:nvPr/>
          </p:nvSpPr>
          <p:spPr>
            <a:xfrm>
              <a:off x="5998272" y="1802608"/>
              <a:ext cx="486003" cy="132171"/>
            </a:xfrm>
            <a:custGeom>
              <a:avLst/>
              <a:gdLst>
                <a:gd name="connsiteX0" fmla="*/ 388204 w 478782"/>
                <a:gd name="connsiteY0" fmla="*/ 130207 h 130207"/>
                <a:gd name="connsiteX1" fmla="*/ 240716 w 478782"/>
                <a:gd name="connsiteY1" fmla="*/ 50989 h 130207"/>
                <a:gd name="connsiteX2" fmla="*/ 157641 w 478782"/>
                <a:gd name="connsiteY2" fmla="*/ 15848 h 130207"/>
                <a:gd name="connsiteX3" fmla="*/ 13865 w 478782"/>
                <a:gd name="connsiteY3" fmla="*/ 97821 h 130207"/>
                <a:gd name="connsiteX4" fmla="*/ 2751 w 478782"/>
                <a:gd name="connsiteY4" fmla="*/ 98659 h 130207"/>
                <a:gd name="connsiteX5" fmla="*/ 1912 w 478782"/>
                <a:gd name="connsiteY5" fmla="*/ 87544 h 130207"/>
                <a:gd name="connsiteX6" fmla="*/ 157066 w 478782"/>
                <a:gd name="connsiteY6" fmla="*/ 86 h 130207"/>
                <a:gd name="connsiteX7" fmla="*/ 251878 w 478782"/>
                <a:gd name="connsiteY7" fmla="*/ 39826 h 130207"/>
                <a:gd name="connsiteX8" fmla="*/ 412350 w 478782"/>
                <a:gd name="connsiteY8" fmla="*/ 110924 h 130207"/>
                <a:gd name="connsiteX9" fmla="*/ 463158 w 478782"/>
                <a:gd name="connsiteY9" fmla="*/ 51876 h 130207"/>
                <a:gd name="connsiteX10" fmla="*/ 472309 w 478782"/>
                <a:gd name="connsiteY10" fmla="*/ 45528 h 130207"/>
                <a:gd name="connsiteX11" fmla="*/ 478657 w 478782"/>
                <a:gd name="connsiteY11" fmla="*/ 54678 h 130207"/>
                <a:gd name="connsiteX12" fmla="*/ 417045 w 478782"/>
                <a:gd name="connsiteY12" fmla="*/ 125967 h 130207"/>
                <a:gd name="connsiteX13" fmla="*/ 388204 w 478782"/>
                <a:gd name="connsiteY13" fmla="*/ 130207 h 130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8782" h="130207">
                  <a:moveTo>
                    <a:pt x="388204" y="130207"/>
                  </a:moveTo>
                  <a:cubicBezTo>
                    <a:pt x="354763" y="130207"/>
                    <a:pt x="304603" y="114876"/>
                    <a:pt x="240716" y="50989"/>
                  </a:cubicBezTo>
                  <a:cubicBezTo>
                    <a:pt x="216234" y="26508"/>
                    <a:pt x="188279" y="14722"/>
                    <a:pt x="157641" y="15848"/>
                  </a:cubicBezTo>
                  <a:cubicBezTo>
                    <a:pt x="82687" y="18699"/>
                    <a:pt x="14536" y="97030"/>
                    <a:pt x="13865" y="97821"/>
                  </a:cubicBezTo>
                  <a:cubicBezTo>
                    <a:pt x="11039" y="101126"/>
                    <a:pt x="6056" y="101510"/>
                    <a:pt x="2751" y="98659"/>
                  </a:cubicBezTo>
                  <a:cubicBezTo>
                    <a:pt x="-555" y="95832"/>
                    <a:pt x="-938" y="90850"/>
                    <a:pt x="1912" y="87544"/>
                  </a:cubicBezTo>
                  <a:cubicBezTo>
                    <a:pt x="4882" y="84095"/>
                    <a:pt x="75285" y="3176"/>
                    <a:pt x="157066" y="86"/>
                  </a:cubicBezTo>
                  <a:cubicBezTo>
                    <a:pt x="192327" y="-1208"/>
                    <a:pt x="224163" y="12135"/>
                    <a:pt x="251878" y="39826"/>
                  </a:cubicBezTo>
                  <a:cubicBezTo>
                    <a:pt x="332246" y="120194"/>
                    <a:pt x="386934" y="118877"/>
                    <a:pt x="412350" y="110924"/>
                  </a:cubicBezTo>
                  <a:cubicBezTo>
                    <a:pt x="438557" y="102731"/>
                    <a:pt x="458008" y="80118"/>
                    <a:pt x="463158" y="51876"/>
                  </a:cubicBezTo>
                  <a:cubicBezTo>
                    <a:pt x="463949" y="47588"/>
                    <a:pt x="468021" y="44761"/>
                    <a:pt x="472309" y="45528"/>
                  </a:cubicBezTo>
                  <a:cubicBezTo>
                    <a:pt x="476597" y="46294"/>
                    <a:pt x="479423" y="50414"/>
                    <a:pt x="478657" y="54678"/>
                  </a:cubicBezTo>
                  <a:cubicBezTo>
                    <a:pt x="472476" y="88718"/>
                    <a:pt x="448857" y="116026"/>
                    <a:pt x="417045" y="125967"/>
                  </a:cubicBezTo>
                  <a:cubicBezTo>
                    <a:pt x="409572" y="128339"/>
                    <a:pt x="399918" y="130207"/>
                    <a:pt x="388204" y="130207"/>
                  </a:cubicBezTo>
                  <a:close/>
                </a:path>
              </a:pathLst>
            </a:custGeom>
            <a:solidFill>
              <a:schemeClr val="accent1"/>
            </a:solidFill>
            <a:ln w="2392" cap="flat">
              <a:noFill/>
              <a:prstDash val="solid"/>
              <a:miter/>
            </a:ln>
          </p:spPr>
          <p:txBody>
            <a:bodyPr rtlCol="0" anchor="ctr"/>
            <a:lstStyle/>
            <a:p>
              <a:endParaRPr lang="en-GB" dirty="0"/>
            </a:p>
          </p:txBody>
        </p:sp>
      </p:grpSp>
      <p:grpSp>
        <p:nvGrpSpPr>
          <p:cNvPr id="21" name="Group 20">
            <a:extLst>
              <a:ext uri="{FF2B5EF4-FFF2-40B4-BE49-F238E27FC236}">
                <a16:creationId xmlns:a16="http://schemas.microsoft.com/office/drawing/2014/main" id="{D73E53A1-1029-8A12-8938-9D1F5E4C0235}"/>
              </a:ext>
            </a:extLst>
          </p:cNvPr>
          <p:cNvGrpSpPr/>
          <p:nvPr/>
        </p:nvGrpSpPr>
        <p:grpSpPr>
          <a:xfrm>
            <a:off x="4956778" y="2449341"/>
            <a:ext cx="512980" cy="432000"/>
            <a:chOff x="4956366" y="2449341"/>
            <a:chExt cx="512980" cy="432000"/>
          </a:xfrm>
        </p:grpSpPr>
        <p:sp>
          <p:nvSpPr>
            <p:cNvPr id="537" name="Freihandform: Form 536">
              <a:extLst>
                <a:ext uri="{FF2B5EF4-FFF2-40B4-BE49-F238E27FC236}">
                  <a16:creationId xmlns:a16="http://schemas.microsoft.com/office/drawing/2014/main" id="{F1F9DC79-5601-409A-B353-6D7D32CD474F}"/>
                </a:ext>
              </a:extLst>
            </p:cNvPr>
            <p:cNvSpPr/>
            <p:nvPr/>
          </p:nvSpPr>
          <p:spPr>
            <a:xfrm>
              <a:off x="5253345" y="2496591"/>
              <a:ext cx="168750" cy="148500"/>
            </a:xfrm>
            <a:custGeom>
              <a:avLst/>
              <a:gdLst>
                <a:gd name="connsiteX0" fmla="*/ 189146 w 197026"/>
                <a:gd name="connsiteY0" fmla="*/ 173383 h 173383"/>
                <a:gd name="connsiteX1" fmla="*/ 7881 w 197026"/>
                <a:gd name="connsiteY1" fmla="*/ 173383 h 173383"/>
                <a:gd name="connsiteX2" fmla="*/ 0 w 197026"/>
                <a:gd name="connsiteY2" fmla="*/ 165502 h 173383"/>
                <a:gd name="connsiteX3" fmla="*/ 0 w 197026"/>
                <a:gd name="connsiteY3" fmla="*/ 7881 h 173383"/>
                <a:gd name="connsiteX4" fmla="*/ 7881 w 197026"/>
                <a:gd name="connsiteY4" fmla="*/ 0 h 173383"/>
                <a:gd name="connsiteX5" fmla="*/ 189146 w 197026"/>
                <a:gd name="connsiteY5" fmla="*/ 0 h 173383"/>
                <a:gd name="connsiteX6" fmla="*/ 197027 w 197026"/>
                <a:gd name="connsiteY6" fmla="*/ 7881 h 173383"/>
                <a:gd name="connsiteX7" fmla="*/ 197027 w 197026"/>
                <a:gd name="connsiteY7" fmla="*/ 165502 h 173383"/>
                <a:gd name="connsiteX8" fmla="*/ 189146 w 197026"/>
                <a:gd name="connsiteY8" fmla="*/ 173383 h 173383"/>
                <a:gd name="connsiteX9" fmla="*/ 15786 w 197026"/>
                <a:gd name="connsiteY9" fmla="*/ 157621 h 173383"/>
                <a:gd name="connsiteX10" fmla="*/ 181288 w 197026"/>
                <a:gd name="connsiteY10" fmla="*/ 157621 h 173383"/>
                <a:gd name="connsiteX11" fmla="*/ 181288 w 197026"/>
                <a:gd name="connsiteY11" fmla="*/ 15762 h 173383"/>
                <a:gd name="connsiteX12" fmla="*/ 15786 w 197026"/>
                <a:gd name="connsiteY12" fmla="*/ 15762 h 173383"/>
                <a:gd name="connsiteX13" fmla="*/ 15786 w 197026"/>
                <a:gd name="connsiteY13" fmla="*/ 157621 h 173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7026" h="173383">
                  <a:moveTo>
                    <a:pt x="189146" y="173383"/>
                  </a:moveTo>
                  <a:lnTo>
                    <a:pt x="7881" y="173383"/>
                  </a:lnTo>
                  <a:cubicBezTo>
                    <a:pt x="3521" y="173383"/>
                    <a:pt x="0" y="169862"/>
                    <a:pt x="0" y="165502"/>
                  </a:cubicBezTo>
                  <a:lnTo>
                    <a:pt x="0" y="7881"/>
                  </a:lnTo>
                  <a:cubicBezTo>
                    <a:pt x="0" y="3521"/>
                    <a:pt x="3521" y="0"/>
                    <a:pt x="7881" y="0"/>
                  </a:cubicBezTo>
                  <a:lnTo>
                    <a:pt x="189146" y="0"/>
                  </a:lnTo>
                  <a:cubicBezTo>
                    <a:pt x="193505" y="0"/>
                    <a:pt x="197027" y="3521"/>
                    <a:pt x="197027" y="7881"/>
                  </a:cubicBezTo>
                  <a:lnTo>
                    <a:pt x="197027" y="165502"/>
                  </a:lnTo>
                  <a:cubicBezTo>
                    <a:pt x="197027" y="169862"/>
                    <a:pt x="193505" y="173383"/>
                    <a:pt x="189146" y="173383"/>
                  </a:cubicBezTo>
                  <a:close/>
                  <a:moveTo>
                    <a:pt x="15786" y="157621"/>
                  </a:moveTo>
                  <a:lnTo>
                    <a:pt x="181288" y="157621"/>
                  </a:lnTo>
                  <a:lnTo>
                    <a:pt x="181288" y="15762"/>
                  </a:lnTo>
                  <a:lnTo>
                    <a:pt x="15786" y="15762"/>
                  </a:lnTo>
                  <a:lnTo>
                    <a:pt x="15786" y="157621"/>
                  </a:lnTo>
                  <a:close/>
                </a:path>
              </a:pathLst>
            </a:custGeom>
            <a:solidFill>
              <a:schemeClr val="accent1"/>
            </a:solidFill>
            <a:ln w="2392" cap="flat">
              <a:noFill/>
              <a:prstDash val="solid"/>
              <a:miter/>
            </a:ln>
          </p:spPr>
          <p:txBody>
            <a:bodyPr rtlCol="0" anchor="ctr"/>
            <a:lstStyle/>
            <a:p>
              <a:endParaRPr lang="en-GB" dirty="0"/>
            </a:p>
          </p:txBody>
        </p:sp>
        <p:sp>
          <p:nvSpPr>
            <p:cNvPr id="538" name="Freihandform: Form 537">
              <a:extLst>
                <a:ext uri="{FF2B5EF4-FFF2-40B4-BE49-F238E27FC236}">
                  <a16:creationId xmlns:a16="http://schemas.microsoft.com/office/drawing/2014/main" id="{EC6DC966-303E-4F5E-9F6E-9AEB040F6600}"/>
                </a:ext>
              </a:extLst>
            </p:cNvPr>
            <p:cNvSpPr/>
            <p:nvPr/>
          </p:nvSpPr>
          <p:spPr>
            <a:xfrm>
              <a:off x="5253342" y="2496588"/>
              <a:ext cx="168757" cy="148503"/>
            </a:xfrm>
            <a:custGeom>
              <a:avLst/>
              <a:gdLst>
                <a:gd name="connsiteX0" fmla="*/ 189150 w 197035"/>
                <a:gd name="connsiteY0" fmla="*/ 173388 h 173387"/>
                <a:gd name="connsiteX1" fmla="*/ 183976 w 197035"/>
                <a:gd name="connsiteY1" fmla="*/ 171447 h 173387"/>
                <a:gd name="connsiteX2" fmla="*/ 2711 w 197035"/>
                <a:gd name="connsiteY2" fmla="*/ 13826 h 173387"/>
                <a:gd name="connsiteX3" fmla="*/ 1945 w 197035"/>
                <a:gd name="connsiteY3" fmla="*/ 2711 h 173387"/>
                <a:gd name="connsiteX4" fmla="*/ 13060 w 197035"/>
                <a:gd name="connsiteY4" fmla="*/ 1945 h 173387"/>
                <a:gd name="connsiteX5" fmla="*/ 194324 w 197035"/>
                <a:gd name="connsiteY5" fmla="*/ 159566 h 173387"/>
                <a:gd name="connsiteX6" fmla="*/ 195091 w 197035"/>
                <a:gd name="connsiteY6" fmla="*/ 170681 h 173387"/>
                <a:gd name="connsiteX7" fmla="*/ 189150 w 197035"/>
                <a:gd name="connsiteY7" fmla="*/ 173388 h 173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035" h="173387">
                  <a:moveTo>
                    <a:pt x="189150" y="173388"/>
                  </a:moveTo>
                  <a:cubicBezTo>
                    <a:pt x="187329" y="173388"/>
                    <a:pt x="185485" y="172741"/>
                    <a:pt x="183976" y="171447"/>
                  </a:cubicBezTo>
                  <a:lnTo>
                    <a:pt x="2711" y="13826"/>
                  </a:lnTo>
                  <a:cubicBezTo>
                    <a:pt x="-571" y="10976"/>
                    <a:pt x="-930" y="5993"/>
                    <a:pt x="1945" y="2711"/>
                  </a:cubicBezTo>
                  <a:cubicBezTo>
                    <a:pt x="4795" y="-571"/>
                    <a:pt x="9778" y="-930"/>
                    <a:pt x="13060" y="1945"/>
                  </a:cubicBezTo>
                  <a:lnTo>
                    <a:pt x="194324" y="159566"/>
                  </a:lnTo>
                  <a:cubicBezTo>
                    <a:pt x="197606" y="162417"/>
                    <a:pt x="197965" y="167399"/>
                    <a:pt x="195091" y="170681"/>
                  </a:cubicBezTo>
                  <a:cubicBezTo>
                    <a:pt x="193558" y="172477"/>
                    <a:pt x="191354" y="173388"/>
                    <a:pt x="189150" y="173388"/>
                  </a:cubicBezTo>
                  <a:close/>
                </a:path>
              </a:pathLst>
            </a:custGeom>
            <a:solidFill>
              <a:schemeClr val="accent1"/>
            </a:solidFill>
            <a:ln w="2392" cap="flat">
              <a:noFill/>
              <a:prstDash val="solid"/>
              <a:miter/>
            </a:ln>
          </p:spPr>
          <p:txBody>
            <a:bodyPr rtlCol="0" anchor="ctr"/>
            <a:lstStyle/>
            <a:p>
              <a:endParaRPr lang="en-GB" dirty="0"/>
            </a:p>
          </p:txBody>
        </p:sp>
        <p:grpSp>
          <p:nvGrpSpPr>
            <p:cNvPr id="539" name="Gruppieren 538">
              <a:extLst>
                <a:ext uri="{FF2B5EF4-FFF2-40B4-BE49-F238E27FC236}">
                  <a16:creationId xmlns:a16="http://schemas.microsoft.com/office/drawing/2014/main" id="{ECF1A8AE-8A88-4072-8746-BF2836AE12F3}"/>
                </a:ext>
              </a:extLst>
            </p:cNvPr>
            <p:cNvGrpSpPr/>
            <p:nvPr/>
          </p:nvGrpSpPr>
          <p:grpSpPr>
            <a:xfrm>
              <a:off x="4956366" y="2449341"/>
              <a:ext cx="512980" cy="432000"/>
              <a:chOff x="4901767" y="2560550"/>
              <a:chExt cx="598937" cy="504388"/>
            </a:xfrm>
            <a:solidFill>
              <a:schemeClr val="tx2"/>
            </a:solidFill>
          </p:grpSpPr>
          <p:sp>
            <p:nvSpPr>
              <p:cNvPr id="540" name="Freihandform: Form 539">
                <a:extLst>
                  <a:ext uri="{FF2B5EF4-FFF2-40B4-BE49-F238E27FC236}">
                    <a16:creationId xmlns:a16="http://schemas.microsoft.com/office/drawing/2014/main" id="{FB58E43E-4A81-43FF-B86D-097E191279FF}"/>
                  </a:ext>
                </a:extLst>
              </p:cNvPr>
              <p:cNvSpPr/>
              <p:nvPr/>
            </p:nvSpPr>
            <p:spPr>
              <a:xfrm>
                <a:off x="4901767" y="2560550"/>
                <a:ext cx="598937" cy="504388"/>
              </a:xfrm>
              <a:custGeom>
                <a:avLst/>
                <a:gdLst>
                  <a:gd name="connsiteX0" fmla="*/ 591056 w 598937"/>
                  <a:gd name="connsiteY0" fmla="*/ 504388 h 504388"/>
                  <a:gd name="connsiteX1" fmla="*/ 7881 w 598937"/>
                  <a:gd name="connsiteY1" fmla="*/ 504388 h 504388"/>
                  <a:gd name="connsiteX2" fmla="*/ 0 w 598937"/>
                  <a:gd name="connsiteY2" fmla="*/ 496507 h 504388"/>
                  <a:gd name="connsiteX3" fmla="*/ 0 w 598937"/>
                  <a:gd name="connsiteY3" fmla="*/ 7881 h 504388"/>
                  <a:gd name="connsiteX4" fmla="*/ 7881 w 598937"/>
                  <a:gd name="connsiteY4" fmla="*/ 0 h 504388"/>
                  <a:gd name="connsiteX5" fmla="*/ 591056 w 598937"/>
                  <a:gd name="connsiteY5" fmla="*/ 0 h 504388"/>
                  <a:gd name="connsiteX6" fmla="*/ 598937 w 598937"/>
                  <a:gd name="connsiteY6" fmla="*/ 7881 h 504388"/>
                  <a:gd name="connsiteX7" fmla="*/ 598937 w 598937"/>
                  <a:gd name="connsiteY7" fmla="*/ 496483 h 504388"/>
                  <a:gd name="connsiteX8" fmla="*/ 591056 w 598937"/>
                  <a:gd name="connsiteY8" fmla="*/ 504388 h 504388"/>
                  <a:gd name="connsiteX9" fmla="*/ 15762 w 598937"/>
                  <a:gd name="connsiteY9" fmla="*/ 488626 h 504388"/>
                  <a:gd name="connsiteX10" fmla="*/ 583175 w 598937"/>
                  <a:gd name="connsiteY10" fmla="*/ 488626 h 504388"/>
                  <a:gd name="connsiteX11" fmla="*/ 583175 w 598937"/>
                  <a:gd name="connsiteY11" fmla="*/ 15762 h 504388"/>
                  <a:gd name="connsiteX12" fmla="*/ 15762 w 598937"/>
                  <a:gd name="connsiteY12" fmla="*/ 15762 h 504388"/>
                  <a:gd name="connsiteX13" fmla="*/ 15762 w 598937"/>
                  <a:gd name="connsiteY13" fmla="*/ 488626 h 50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98937" h="504388">
                    <a:moveTo>
                      <a:pt x="591056" y="504388"/>
                    </a:moveTo>
                    <a:lnTo>
                      <a:pt x="7881" y="504388"/>
                    </a:lnTo>
                    <a:cubicBezTo>
                      <a:pt x="3521" y="504388"/>
                      <a:pt x="0" y="500867"/>
                      <a:pt x="0" y="496507"/>
                    </a:cubicBezTo>
                    <a:lnTo>
                      <a:pt x="0" y="7881"/>
                    </a:lnTo>
                    <a:cubicBezTo>
                      <a:pt x="0" y="3521"/>
                      <a:pt x="3521" y="0"/>
                      <a:pt x="7881" y="0"/>
                    </a:cubicBezTo>
                    <a:lnTo>
                      <a:pt x="591056" y="0"/>
                    </a:lnTo>
                    <a:cubicBezTo>
                      <a:pt x="595416" y="0"/>
                      <a:pt x="598937" y="3521"/>
                      <a:pt x="598937" y="7881"/>
                    </a:cubicBezTo>
                    <a:lnTo>
                      <a:pt x="598937" y="496483"/>
                    </a:lnTo>
                    <a:cubicBezTo>
                      <a:pt x="598937" y="500867"/>
                      <a:pt x="595416" y="504388"/>
                      <a:pt x="591056" y="504388"/>
                    </a:cubicBezTo>
                    <a:close/>
                    <a:moveTo>
                      <a:pt x="15762" y="488626"/>
                    </a:moveTo>
                    <a:lnTo>
                      <a:pt x="583175" y="488626"/>
                    </a:lnTo>
                    <a:lnTo>
                      <a:pt x="583175" y="15762"/>
                    </a:lnTo>
                    <a:lnTo>
                      <a:pt x="15762" y="15762"/>
                    </a:lnTo>
                    <a:lnTo>
                      <a:pt x="15762" y="488626"/>
                    </a:lnTo>
                    <a:close/>
                  </a:path>
                </a:pathLst>
              </a:custGeom>
              <a:grpFill/>
              <a:ln w="2392" cap="flat">
                <a:noFill/>
                <a:prstDash val="solid"/>
                <a:miter/>
              </a:ln>
            </p:spPr>
            <p:txBody>
              <a:bodyPr rtlCol="0" anchor="ctr"/>
              <a:lstStyle/>
              <a:p>
                <a:endParaRPr lang="en-GB" dirty="0"/>
              </a:p>
            </p:txBody>
          </p:sp>
          <p:sp>
            <p:nvSpPr>
              <p:cNvPr id="541" name="Freihandform: Form 540">
                <a:extLst>
                  <a:ext uri="{FF2B5EF4-FFF2-40B4-BE49-F238E27FC236}">
                    <a16:creationId xmlns:a16="http://schemas.microsoft.com/office/drawing/2014/main" id="{AFA15F33-36F8-426E-9ECD-32B70EF00D9A}"/>
                  </a:ext>
                </a:extLst>
              </p:cNvPr>
              <p:cNvSpPr/>
              <p:nvPr/>
            </p:nvSpPr>
            <p:spPr>
              <a:xfrm>
                <a:off x="5193366" y="2615718"/>
                <a:ext cx="15762" cy="94572"/>
              </a:xfrm>
              <a:custGeom>
                <a:avLst/>
                <a:gdLst>
                  <a:gd name="connsiteX0" fmla="*/ 7881 w 15762"/>
                  <a:gd name="connsiteY0" fmla="*/ 94573 h 94572"/>
                  <a:gd name="connsiteX1" fmla="*/ 0 w 15762"/>
                  <a:gd name="connsiteY1" fmla="*/ 86692 h 94572"/>
                  <a:gd name="connsiteX2" fmla="*/ 0 w 15762"/>
                  <a:gd name="connsiteY2" fmla="*/ 7881 h 94572"/>
                  <a:gd name="connsiteX3" fmla="*/ 7881 w 15762"/>
                  <a:gd name="connsiteY3" fmla="*/ 0 h 94572"/>
                  <a:gd name="connsiteX4" fmla="*/ 15762 w 15762"/>
                  <a:gd name="connsiteY4" fmla="*/ 7881 h 94572"/>
                  <a:gd name="connsiteX5" fmla="*/ 15762 w 15762"/>
                  <a:gd name="connsiteY5" fmla="*/ 86692 h 94572"/>
                  <a:gd name="connsiteX6" fmla="*/ 7881 w 15762"/>
                  <a:gd name="connsiteY6" fmla="*/ 94573 h 9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94572">
                    <a:moveTo>
                      <a:pt x="7881" y="94573"/>
                    </a:moveTo>
                    <a:cubicBezTo>
                      <a:pt x="3521" y="94573"/>
                      <a:pt x="0" y="91051"/>
                      <a:pt x="0" y="86692"/>
                    </a:cubicBezTo>
                    <a:lnTo>
                      <a:pt x="0" y="7881"/>
                    </a:lnTo>
                    <a:cubicBezTo>
                      <a:pt x="0" y="3521"/>
                      <a:pt x="3521" y="0"/>
                      <a:pt x="7881" y="0"/>
                    </a:cubicBezTo>
                    <a:cubicBezTo>
                      <a:pt x="12241" y="0"/>
                      <a:pt x="15762" y="3521"/>
                      <a:pt x="15762" y="7881"/>
                    </a:cubicBezTo>
                    <a:lnTo>
                      <a:pt x="15762" y="86692"/>
                    </a:lnTo>
                    <a:cubicBezTo>
                      <a:pt x="15762" y="91051"/>
                      <a:pt x="12217" y="94573"/>
                      <a:pt x="7881" y="94573"/>
                    </a:cubicBezTo>
                    <a:close/>
                  </a:path>
                </a:pathLst>
              </a:custGeom>
              <a:grpFill/>
              <a:ln w="2392" cap="flat">
                <a:noFill/>
                <a:prstDash val="solid"/>
                <a:miter/>
              </a:ln>
            </p:spPr>
            <p:txBody>
              <a:bodyPr rtlCol="0" anchor="ctr"/>
              <a:lstStyle/>
              <a:p>
                <a:endParaRPr lang="en-GB" dirty="0"/>
              </a:p>
            </p:txBody>
          </p:sp>
          <p:sp>
            <p:nvSpPr>
              <p:cNvPr id="542" name="Freihandform: Form 541">
                <a:extLst>
                  <a:ext uri="{FF2B5EF4-FFF2-40B4-BE49-F238E27FC236}">
                    <a16:creationId xmlns:a16="http://schemas.microsoft.com/office/drawing/2014/main" id="{223AB99C-D93D-480B-B995-F36C2B0ED13A}"/>
                  </a:ext>
                </a:extLst>
              </p:cNvPr>
              <p:cNvSpPr/>
              <p:nvPr/>
            </p:nvSpPr>
            <p:spPr>
              <a:xfrm>
                <a:off x="5193366" y="2765458"/>
                <a:ext cx="15762" cy="94572"/>
              </a:xfrm>
              <a:custGeom>
                <a:avLst/>
                <a:gdLst>
                  <a:gd name="connsiteX0" fmla="*/ 7881 w 15762"/>
                  <a:gd name="connsiteY0" fmla="*/ 94573 h 94572"/>
                  <a:gd name="connsiteX1" fmla="*/ 0 w 15762"/>
                  <a:gd name="connsiteY1" fmla="*/ 86692 h 94572"/>
                  <a:gd name="connsiteX2" fmla="*/ 0 w 15762"/>
                  <a:gd name="connsiteY2" fmla="*/ 7881 h 94572"/>
                  <a:gd name="connsiteX3" fmla="*/ 7881 w 15762"/>
                  <a:gd name="connsiteY3" fmla="*/ 0 h 94572"/>
                  <a:gd name="connsiteX4" fmla="*/ 15762 w 15762"/>
                  <a:gd name="connsiteY4" fmla="*/ 7881 h 94572"/>
                  <a:gd name="connsiteX5" fmla="*/ 15762 w 15762"/>
                  <a:gd name="connsiteY5" fmla="*/ 86692 h 94572"/>
                  <a:gd name="connsiteX6" fmla="*/ 7881 w 15762"/>
                  <a:gd name="connsiteY6" fmla="*/ 94573 h 9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94572">
                    <a:moveTo>
                      <a:pt x="7881" y="94573"/>
                    </a:moveTo>
                    <a:cubicBezTo>
                      <a:pt x="3521" y="94573"/>
                      <a:pt x="0" y="91051"/>
                      <a:pt x="0" y="86692"/>
                    </a:cubicBezTo>
                    <a:lnTo>
                      <a:pt x="0" y="7881"/>
                    </a:lnTo>
                    <a:cubicBezTo>
                      <a:pt x="0" y="3521"/>
                      <a:pt x="3521" y="0"/>
                      <a:pt x="7881" y="0"/>
                    </a:cubicBezTo>
                    <a:cubicBezTo>
                      <a:pt x="12241" y="0"/>
                      <a:pt x="15762" y="3521"/>
                      <a:pt x="15762" y="7881"/>
                    </a:cubicBezTo>
                    <a:lnTo>
                      <a:pt x="15762" y="86692"/>
                    </a:lnTo>
                    <a:cubicBezTo>
                      <a:pt x="15762" y="91051"/>
                      <a:pt x="12217" y="94573"/>
                      <a:pt x="7881" y="94573"/>
                    </a:cubicBezTo>
                    <a:close/>
                  </a:path>
                </a:pathLst>
              </a:custGeom>
              <a:grpFill/>
              <a:ln w="2392" cap="flat">
                <a:noFill/>
                <a:prstDash val="solid"/>
                <a:miter/>
              </a:ln>
            </p:spPr>
            <p:txBody>
              <a:bodyPr rtlCol="0" anchor="ctr"/>
              <a:lstStyle/>
              <a:p>
                <a:endParaRPr lang="en-GB" dirty="0"/>
              </a:p>
            </p:txBody>
          </p:sp>
          <p:sp>
            <p:nvSpPr>
              <p:cNvPr id="543" name="Freihandform: Form 542">
                <a:extLst>
                  <a:ext uri="{FF2B5EF4-FFF2-40B4-BE49-F238E27FC236}">
                    <a16:creationId xmlns:a16="http://schemas.microsoft.com/office/drawing/2014/main" id="{4E7A4258-B4CF-4798-BA8B-595B868148E0}"/>
                  </a:ext>
                </a:extLst>
              </p:cNvPr>
              <p:cNvSpPr/>
              <p:nvPr/>
            </p:nvSpPr>
            <p:spPr>
              <a:xfrm>
                <a:off x="5193366" y="2915198"/>
                <a:ext cx="15762" cy="94572"/>
              </a:xfrm>
              <a:custGeom>
                <a:avLst/>
                <a:gdLst>
                  <a:gd name="connsiteX0" fmla="*/ 7881 w 15762"/>
                  <a:gd name="connsiteY0" fmla="*/ 94573 h 94572"/>
                  <a:gd name="connsiteX1" fmla="*/ 0 w 15762"/>
                  <a:gd name="connsiteY1" fmla="*/ 86692 h 94572"/>
                  <a:gd name="connsiteX2" fmla="*/ 0 w 15762"/>
                  <a:gd name="connsiteY2" fmla="*/ 7881 h 94572"/>
                  <a:gd name="connsiteX3" fmla="*/ 7881 w 15762"/>
                  <a:gd name="connsiteY3" fmla="*/ 0 h 94572"/>
                  <a:gd name="connsiteX4" fmla="*/ 15762 w 15762"/>
                  <a:gd name="connsiteY4" fmla="*/ 7881 h 94572"/>
                  <a:gd name="connsiteX5" fmla="*/ 15762 w 15762"/>
                  <a:gd name="connsiteY5" fmla="*/ 86692 h 94572"/>
                  <a:gd name="connsiteX6" fmla="*/ 7881 w 15762"/>
                  <a:gd name="connsiteY6" fmla="*/ 94573 h 94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94572">
                    <a:moveTo>
                      <a:pt x="7881" y="94573"/>
                    </a:moveTo>
                    <a:cubicBezTo>
                      <a:pt x="3521" y="94573"/>
                      <a:pt x="0" y="91051"/>
                      <a:pt x="0" y="86692"/>
                    </a:cubicBezTo>
                    <a:lnTo>
                      <a:pt x="0" y="7881"/>
                    </a:lnTo>
                    <a:cubicBezTo>
                      <a:pt x="0" y="3521"/>
                      <a:pt x="3521" y="0"/>
                      <a:pt x="7881" y="0"/>
                    </a:cubicBezTo>
                    <a:cubicBezTo>
                      <a:pt x="12241" y="0"/>
                      <a:pt x="15762" y="3521"/>
                      <a:pt x="15762" y="7881"/>
                    </a:cubicBezTo>
                    <a:lnTo>
                      <a:pt x="15762" y="86692"/>
                    </a:lnTo>
                    <a:cubicBezTo>
                      <a:pt x="15762" y="91051"/>
                      <a:pt x="12217" y="94573"/>
                      <a:pt x="7881" y="94573"/>
                    </a:cubicBezTo>
                    <a:close/>
                  </a:path>
                </a:pathLst>
              </a:custGeom>
              <a:grpFill/>
              <a:ln w="2392" cap="flat">
                <a:noFill/>
                <a:prstDash val="solid"/>
                <a:miter/>
              </a:ln>
            </p:spPr>
            <p:txBody>
              <a:bodyPr rtlCol="0" anchor="ctr"/>
              <a:lstStyle/>
              <a:p>
                <a:endParaRPr lang="en-GB" dirty="0"/>
              </a:p>
            </p:txBody>
          </p:sp>
          <p:sp>
            <p:nvSpPr>
              <p:cNvPr id="544" name="Freihandform: Form 543">
                <a:extLst>
                  <a:ext uri="{FF2B5EF4-FFF2-40B4-BE49-F238E27FC236}">
                    <a16:creationId xmlns:a16="http://schemas.microsoft.com/office/drawing/2014/main" id="{7D2BB343-D999-471E-9BFF-A4B6E0CBB36E}"/>
                  </a:ext>
                </a:extLst>
              </p:cNvPr>
              <p:cNvSpPr/>
              <p:nvPr/>
            </p:nvSpPr>
            <p:spPr>
              <a:xfrm>
                <a:off x="5248509" y="2828507"/>
                <a:ext cx="102453" cy="15762"/>
              </a:xfrm>
              <a:custGeom>
                <a:avLst/>
                <a:gdLst>
                  <a:gd name="connsiteX0" fmla="*/ 94573 w 102453"/>
                  <a:gd name="connsiteY0" fmla="*/ 15762 h 15762"/>
                  <a:gd name="connsiteX1" fmla="*/ 7881 w 102453"/>
                  <a:gd name="connsiteY1" fmla="*/ 15762 h 15762"/>
                  <a:gd name="connsiteX2" fmla="*/ 0 w 102453"/>
                  <a:gd name="connsiteY2" fmla="*/ 7881 h 15762"/>
                  <a:gd name="connsiteX3" fmla="*/ 7881 w 102453"/>
                  <a:gd name="connsiteY3" fmla="*/ 0 h 15762"/>
                  <a:gd name="connsiteX4" fmla="*/ 94573 w 102453"/>
                  <a:gd name="connsiteY4" fmla="*/ 0 h 15762"/>
                  <a:gd name="connsiteX5" fmla="*/ 102454 w 102453"/>
                  <a:gd name="connsiteY5" fmla="*/ 7881 h 15762"/>
                  <a:gd name="connsiteX6" fmla="*/ 94573 w 102453"/>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53" h="15762">
                    <a:moveTo>
                      <a:pt x="94573" y="15762"/>
                    </a:moveTo>
                    <a:lnTo>
                      <a:pt x="7881" y="15762"/>
                    </a:lnTo>
                    <a:cubicBezTo>
                      <a:pt x="3521" y="15762"/>
                      <a:pt x="0" y="12241"/>
                      <a:pt x="0" y="7881"/>
                    </a:cubicBezTo>
                    <a:cubicBezTo>
                      <a:pt x="0" y="3521"/>
                      <a:pt x="3521" y="0"/>
                      <a:pt x="7881" y="0"/>
                    </a:cubicBezTo>
                    <a:lnTo>
                      <a:pt x="94573" y="0"/>
                    </a:lnTo>
                    <a:cubicBezTo>
                      <a:pt x="98933" y="0"/>
                      <a:pt x="102454" y="3521"/>
                      <a:pt x="102454" y="7881"/>
                    </a:cubicBezTo>
                    <a:cubicBezTo>
                      <a:pt x="102454" y="12241"/>
                      <a:pt x="98933" y="15762"/>
                      <a:pt x="94573" y="15762"/>
                    </a:cubicBezTo>
                    <a:close/>
                  </a:path>
                </a:pathLst>
              </a:custGeom>
              <a:grpFill/>
              <a:ln w="2392" cap="flat">
                <a:noFill/>
                <a:prstDash val="solid"/>
                <a:miter/>
              </a:ln>
            </p:spPr>
            <p:txBody>
              <a:bodyPr rtlCol="0" anchor="ctr"/>
              <a:lstStyle/>
              <a:p>
                <a:endParaRPr lang="en-GB" dirty="0"/>
              </a:p>
            </p:txBody>
          </p:sp>
          <p:sp>
            <p:nvSpPr>
              <p:cNvPr id="545" name="Freihandform: Form 544">
                <a:extLst>
                  <a:ext uri="{FF2B5EF4-FFF2-40B4-BE49-F238E27FC236}">
                    <a16:creationId xmlns:a16="http://schemas.microsoft.com/office/drawing/2014/main" id="{8D15B1E4-38C2-42B0-8ED7-F59F44555A4E}"/>
                  </a:ext>
                </a:extLst>
              </p:cNvPr>
              <p:cNvSpPr/>
              <p:nvPr/>
            </p:nvSpPr>
            <p:spPr>
              <a:xfrm>
                <a:off x="5248509" y="2883674"/>
                <a:ext cx="197026" cy="15762"/>
              </a:xfrm>
              <a:custGeom>
                <a:avLst/>
                <a:gdLst>
                  <a:gd name="connsiteX0" fmla="*/ 189146 w 197026"/>
                  <a:gd name="connsiteY0" fmla="*/ 15762 h 15762"/>
                  <a:gd name="connsiteX1" fmla="*/ 7881 w 197026"/>
                  <a:gd name="connsiteY1" fmla="*/ 15762 h 15762"/>
                  <a:gd name="connsiteX2" fmla="*/ 0 w 197026"/>
                  <a:gd name="connsiteY2" fmla="*/ 7881 h 15762"/>
                  <a:gd name="connsiteX3" fmla="*/ 7881 w 197026"/>
                  <a:gd name="connsiteY3" fmla="*/ 0 h 15762"/>
                  <a:gd name="connsiteX4" fmla="*/ 189146 w 197026"/>
                  <a:gd name="connsiteY4" fmla="*/ 0 h 15762"/>
                  <a:gd name="connsiteX5" fmla="*/ 197027 w 197026"/>
                  <a:gd name="connsiteY5" fmla="*/ 7881 h 15762"/>
                  <a:gd name="connsiteX6" fmla="*/ 189146 w 19702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26" h="15762">
                    <a:moveTo>
                      <a:pt x="189146" y="15762"/>
                    </a:moveTo>
                    <a:lnTo>
                      <a:pt x="7881" y="15762"/>
                    </a:lnTo>
                    <a:cubicBezTo>
                      <a:pt x="3521" y="15762"/>
                      <a:pt x="0" y="12241"/>
                      <a:pt x="0" y="7881"/>
                    </a:cubicBezTo>
                    <a:cubicBezTo>
                      <a:pt x="0" y="3521"/>
                      <a:pt x="3521" y="0"/>
                      <a:pt x="7881" y="0"/>
                    </a:cubicBezTo>
                    <a:lnTo>
                      <a:pt x="189146" y="0"/>
                    </a:lnTo>
                    <a:cubicBezTo>
                      <a:pt x="193505" y="0"/>
                      <a:pt x="197027" y="3521"/>
                      <a:pt x="197027" y="7881"/>
                    </a:cubicBezTo>
                    <a:cubicBezTo>
                      <a:pt x="197027" y="12241"/>
                      <a:pt x="193505" y="15762"/>
                      <a:pt x="189146" y="15762"/>
                    </a:cubicBezTo>
                    <a:close/>
                  </a:path>
                </a:pathLst>
              </a:custGeom>
              <a:grpFill/>
              <a:ln w="2392" cap="flat">
                <a:noFill/>
                <a:prstDash val="solid"/>
                <a:miter/>
              </a:ln>
            </p:spPr>
            <p:txBody>
              <a:bodyPr rtlCol="0" anchor="ctr"/>
              <a:lstStyle/>
              <a:p>
                <a:endParaRPr lang="en-GB" dirty="0"/>
              </a:p>
            </p:txBody>
          </p:sp>
          <p:sp>
            <p:nvSpPr>
              <p:cNvPr id="546" name="Freihandform: Form 545">
                <a:extLst>
                  <a:ext uri="{FF2B5EF4-FFF2-40B4-BE49-F238E27FC236}">
                    <a16:creationId xmlns:a16="http://schemas.microsoft.com/office/drawing/2014/main" id="{1C48E5BF-E528-4C70-8678-3955701D5D89}"/>
                  </a:ext>
                </a:extLst>
              </p:cNvPr>
              <p:cNvSpPr/>
              <p:nvPr/>
            </p:nvSpPr>
            <p:spPr>
              <a:xfrm>
                <a:off x="5248509" y="2938841"/>
                <a:ext cx="197026" cy="15762"/>
              </a:xfrm>
              <a:custGeom>
                <a:avLst/>
                <a:gdLst>
                  <a:gd name="connsiteX0" fmla="*/ 189146 w 197026"/>
                  <a:gd name="connsiteY0" fmla="*/ 15762 h 15762"/>
                  <a:gd name="connsiteX1" fmla="*/ 7881 w 197026"/>
                  <a:gd name="connsiteY1" fmla="*/ 15762 h 15762"/>
                  <a:gd name="connsiteX2" fmla="*/ 0 w 197026"/>
                  <a:gd name="connsiteY2" fmla="*/ 7881 h 15762"/>
                  <a:gd name="connsiteX3" fmla="*/ 7881 w 197026"/>
                  <a:gd name="connsiteY3" fmla="*/ 0 h 15762"/>
                  <a:gd name="connsiteX4" fmla="*/ 189146 w 197026"/>
                  <a:gd name="connsiteY4" fmla="*/ 0 h 15762"/>
                  <a:gd name="connsiteX5" fmla="*/ 197027 w 197026"/>
                  <a:gd name="connsiteY5" fmla="*/ 7881 h 15762"/>
                  <a:gd name="connsiteX6" fmla="*/ 189146 w 19702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26" h="15762">
                    <a:moveTo>
                      <a:pt x="189146" y="15762"/>
                    </a:moveTo>
                    <a:lnTo>
                      <a:pt x="7881" y="15762"/>
                    </a:lnTo>
                    <a:cubicBezTo>
                      <a:pt x="3521" y="15762"/>
                      <a:pt x="0" y="12241"/>
                      <a:pt x="0" y="7881"/>
                    </a:cubicBezTo>
                    <a:cubicBezTo>
                      <a:pt x="0" y="3521"/>
                      <a:pt x="3521" y="0"/>
                      <a:pt x="7881" y="0"/>
                    </a:cubicBezTo>
                    <a:lnTo>
                      <a:pt x="189146" y="0"/>
                    </a:lnTo>
                    <a:cubicBezTo>
                      <a:pt x="193505" y="0"/>
                      <a:pt x="197027" y="3521"/>
                      <a:pt x="197027" y="7881"/>
                    </a:cubicBezTo>
                    <a:cubicBezTo>
                      <a:pt x="197027" y="12241"/>
                      <a:pt x="193505" y="15762"/>
                      <a:pt x="189146" y="15762"/>
                    </a:cubicBezTo>
                    <a:close/>
                  </a:path>
                </a:pathLst>
              </a:custGeom>
              <a:grpFill/>
              <a:ln w="2392" cap="flat">
                <a:noFill/>
                <a:prstDash val="solid"/>
                <a:miter/>
              </a:ln>
            </p:spPr>
            <p:txBody>
              <a:bodyPr rtlCol="0" anchor="ctr"/>
              <a:lstStyle/>
              <a:p>
                <a:endParaRPr lang="en-GB" dirty="0"/>
              </a:p>
            </p:txBody>
          </p:sp>
          <p:sp>
            <p:nvSpPr>
              <p:cNvPr id="547" name="Freihandform: Form 546">
                <a:extLst>
                  <a:ext uri="{FF2B5EF4-FFF2-40B4-BE49-F238E27FC236}">
                    <a16:creationId xmlns:a16="http://schemas.microsoft.com/office/drawing/2014/main" id="{3386512E-5477-40A4-98A3-9373BE5E0773}"/>
                  </a:ext>
                </a:extLst>
              </p:cNvPr>
              <p:cNvSpPr/>
              <p:nvPr/>
            </p:nvSpPr>
            <p:spPr>
              <a:xfrm>
                <a:off x="5248509" y="2994009"/>
                <a:ext cx="197026" cy="15762"/>
              </a:xfrm>
              <a:custGeom>
                <a:avLst/>
                <a:gdLst>
                  <a:gd name="connsiteX0" fmla="*/ 189146 w 197026"/>
                  <a:gd name="connsiteY0" fmla="*/ 15762 h 15762"/>
                  <a:gd name="connsiteX1" fmla="*/ 7881 w 197026"/>
                  <a:gd name="connsiteY1" fmla="*/ 15762 h 15762"/>
                  <a:gd name="connsiteX2" fmla="*/ 0 w 197026"/>
                  <a:gd name="connsiteY2" fmla="*/ 7881 h 15762"/>
                  <a:gd name="connsiteX3" fmla="*/ 7881 w 197026"/>
                  <a:gd name="connsiteY3" fmla="*/ 0 h 15762"/>
                  <a:gd name="connsiteX4" fmla="*/ 189146 w 197026"/>
                  <a:gd name="connsiteY4" fmla="*/ 0 h 15762"/>
                  <a:gd name="connsiteX5" fmla="*/ 197027 w 197026"/>
                  <a:gd name="connsiteY5" fmla="*/ 7881 h 15762"/>
                  <a:gd name="connsiteX6" fmla="*/ 189146 w 19702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26" h="15762">
                    <a:moveTo>
                      <a:pt x="189146" y="15762"/>
                    </a:moveTo>
                    <a:lnTo>
                      <a:pt x="7881" y="15762"/>
                    </a:lnTo>
                    <a:cubicBezTo>
                      <a:pt x="3521" y="15762"/>
                      <a:pt x="0" y="12241"/>
                      <a:pt x="0" y="7881"/>
                    </a:cubicBezTo>
                    <a:cubicBezTo>
                      <a:pt x="0" y="3521"/>
                      <a:pt x="3521" y="0"/>
                      <a:pt x="7881" y="0"/>
                    </a:cubicBezTo>
                    <a:lnTo>
                      <a:pt x="189146" y="0"/>
                    </a:lnTo>
                    <a:cubicBezTo>
                      <a:pt x="193505" y="0"/>
                      <a:pt x="197027" y="3521"/>
                      <a:pt x="197027" y="7881"/>
                    </a:cubicBezTo>
                    <a:cubicBezTo>
                      <a:pt x="197027" y="12241"/>
                      <a:pt x="193505" y="15762"/>
                      <a:pt x="189146" y="15762"/>
                    </a:cubicBezTo>
                    <a:close/>
                  </a:path>
                </a:pathLst>
              </a:custGeom>
              <a:grpFill/>
              <a:ln w="2392" cap="flat">
                <a:noFill/>
                <a:prstDash val="solid"/>
                <a:miter/>
              </a:ln>
            </p:spPr>
            <p:txBody>
              <a:bodyPr rtlCol="0" anchor="ctr"/>
              <a:lstStyle/>
              <a:p>
                <a:endParaRPr lang="en-GB" dirty="0"/>
              </a:p>
            </p:txBody>
          </p:sp>
          <p:grpSp>
            <p:nvGrpSpPr>
              <p:cNvPr id="548" name="Grafik 14">
                <a:extLst>
                  <a:ext uri="{FF2B5EF4-FFF2-40B4-BE49-F238E27FC236}">
                    <a16:creationId xmlns:a16="http://schemas.microsoft.com/office/drawing/2014/main" id="{D6943606-D086-498C-BCBF-E6CEF1CD2569}"/>
                  </a:ext>
                </a:extLst>
              </p:cNvPr>
              <p:cNvGrpSpPr/>
              <p:nvPr/>
            </p:nvGrpSpPr>
            <p:grpSpPr>
              <a:xfrm>
                <a:off x="4956934" y="2883674"/>
                <a:ext cx="197026" cy="126097"/>
                <a:chOff x="4956934" y="2883674"/>
                <a:chExt cx="197026" cy="126097"/>
              </a:xfrm>
              <a:grpFill/>
            </p:grpSpPr>
            <p:sp>
              <p:nvSpPr>
                <p:cNvPr id="554" name="Freihandform: Form 553">
                  <a:extLst>
                    <a:ext uri="{FF2B5EF4-FFF2-40B4-BE49-F238E27FC236}">
                      <a16:creationId xmlns:a16="http://schemas.microsoft.com/office/drawing/2014/main" id="{F2EC2440-C7E2-4A03-AD2D-18CBF8A5DCB2}"/>
                    </a:ext>
                  </a:extLst>
                </p:cNvPr>
                <p:cNvSpPr/>
                <p:nvPr/>
              </p:nvSpPr>
              <p:spPr>
                <a:xfrm>
                  <a:off x="4956934" y="2883674"/>
                  <a:ext cx="197026" cy="15762"/>
                </a:xfrm>
                <a:custGeom>
                  <a:avLst/>
                  <a:gdLst>
                    <a:gd name="connsiteX0" fmla="*/ 189146 w 197026"/>
                    <a:gd name="connsiteY0" fmla="*/ 15762 h 15762"/>
                    <a:gd name="connsiteX1" fmla="*/ 7881 w 197026"/>
                    <a:gd name="connsiteY1" fmla="*/ 15762 h 15762"/>
                    <a:gd name="connsiteX2" fmla="*/ 0 w 197026"/>
                    <a:gd name="connsiteY2" fmla="*/ 7881 h 15762"/>
                    <a:gd name="connsiteX3" fmla="*/ 7881 w 197026"/>
                    <a:gd name="connsiteY3" fmla="*/ 0 h 15762"/>
                    <a:gd name="connsiteX4" fmla="*/ 189146 w 197026"/>
                    <a:gd name="connsiteY4" fmla="*/ 0 h 15762"/>
                    <a:gd name="connsiteX5" fmla="*/ 197027 w 197026"/>
                    <a:gd name="connsiteY5" fmla="*/ 7881 h 15762"/>
                    <a:gd name="connsiteX6" fmla="*/ 189146 w 19702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26" h="15762">
                      <a:moveTo>
                        <a:pt x="189146" y="15762"/>
                      </a:moveTo>
                      <a:lnTo>
                        <a:pt x="7881" y="15762"/>
                      </a:lnTo>
                      <a:cubicBezTo>
                        <a:pt x="3521" y="15762"/>
                        <a:pt x="0" y="12241"/>
                        <a:pt x="0" y="7881"/>
                      </a:cubicBezTo>
                      <a:cubicBezTo>
                        <a:pt x="0" y="3521"/>
                        <a:pt x="3521" y="0"/>
                        <a:pt x="7881" y="0"/>
                      </a:cubicBezTo>
                      <a:lnTo>
                        <a:pt x="189146" y="0"/>
                      </a:lnTo>
                      <a:cubicBezTo>
                        <a:pt x="193505" y="0"/>
                        <a:pt x="197027" y="3521"/>
                        <a:pt x="197027" y="7881"/>
                      </a:cubicBezTo>
                      <a:cubicBezTo>
                        <a:pt x="197027" y="12241"/>
                        <a:pt x="193481" y="15762"/>
                        <a:pt x="189146" y="15762"/>
                      </a:cubicBezTo>
                      <a:close/>
                    </a:path>
                  </a:pathLst>
                </a:custGeom>
                <a:grpFill/>
                <a:ln w="2392" cap="flat">
                  <a:noFill/>
                  <a:prstDash val="solid"/>
                  <a:miter/>
                </a:ln>
              </p:spPr>
              <p:txBody>
                <a:bodyPr rtlCol="0" anchor="ctr"/>
                <a:lstStyle/>
                <a:p>
                  <a:endParaRPr lang="en-GB" dirty="0"/>
                </a:p>
              </p:txBody>
            </p:sp>
            <p:sp>
              <p:nvSpPr>
                <p:cNvPr id="555" name="Freihandform: Form 554">
                  <a:extLst>
                    <a:ext uri="{FF2B5EF4-FFF2-40B4-BE49-F238E27FC236}">
                      <a16:creationId xmlns:a16="http://schemas.microsoft.com/office/drawing/2014/main" id="{50D861E1-FA12-4181-8E14-0CE8125F50FF}"/>
                    </a:ext>
                  </a:extLst>
                </p:cNvPr>
                <p:cNvSpPr/>
                <p:nvPr/>
              </p:nvSpPr>
              <p:spPr>
                <a:xfrm>
                  <a:off x="4956934" y="2938841"/>
                  <a:ext cx="197026" cy="15762"/>
                </a:xfrm>
                <a:custGeom>
                  <a:avLst/>
                  <a:gdLst>
                    <a:gd name="connsiteX0" fmla="*/ 189146 w 197026"/>
                    <a:gd name="connsiteY0" fmla="*/ 15762 h 15762"/>
                    <a:gd name="connsiteX1" fmla="*/ 7881 w 197026"/>
                    <a:gd name="connsiteY1" fmla="*/ 15762 h 15762"/>
                    <a:gd name="connsiteX2" fmla="*/ 0 w 197026"/>
                    <a:gd name="connsiteY2" fmla="*/ 7881 h 15762"/>
                    <a:gd name="connsiteX3" fmla="*/ 7881 w 197026"/>
                    <a:gd name="connsiteY3" fmla="*/ 0 h 15762"/>
                    <a:gd name="connsiteX4" fmla="*/ 189146 w 197026"/>
                    <a:gd name="connsiteY4" fmla="*/ 0 h 15762"/>
                    <a:gd name="connsiteX5" fmla="*/ 197027 w 197026"/>
                    <a:gd name="connsiteY5" fmla="*/ 7881 h 15762"/>
                    <a:gd name="connsiteX6" fmla="*/ 189146 w 19702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26" h="15762">
                      <a:moveTo>
                        <a:pt x="189146" y="15762"/>
                      </a:moveTo>
                      <a:lnTo>
                        <a:pt x="7881" y="15762"/>
                      </a:lnTo>
                      <a:cubicBezTo>
                        <a:pt x="3521" y="15762"/>
                        <a:pt x="0" y="12241"/>
                        <a:pt x="0" y="7881"/>
                      </a:cubicBezTo>
                      <a:cubicBezTo>
                        <a:pt x="0" y="3521"/>
                        <a:pt x="3521" y="0"/>
                        <a:pt x="7881" y="0"/>
                      </a:cubicBezTo>
                      <a:lnTo>
                        <a:pt x="189146" y="0"/>
                      </a:lnTo>
                      <a:cubicBezTo>
                        <a:pt x="193505" y="0"/>
                        <a:pt x="197027" y="3521"/>
                        <a:pt x="197027" y="7881"/>
                      </a:cubicBezTo>
                      <a:cubicBezTo>
                        <a:pt x="197027" y="12241"/>
                        <a:pt x="193481" y="15762"/>
                        <a:pt x="189146" y="15762"/>
                      </a:cubicBezTo>
                      <a:close/>
                    </a:path>
                  </a:pathLst>
                </a:custGeom>
                <a:grpFill/>
                <a:ln w="2392" cap="flat">
                  <a:noFill/>
                  <a:prstDash val="solid"/>
                  <a:miter/>
                </a:ln>
              </p:spPr>
              <p:txBody>
                <a:bodyPr rtlCol="0" anchor="ctr"/>
                <a:lstStyle/>
                <a:p>
                  <a:endParaRPr lang="en-GB" dirty="0"/>
                </a:p>
              </p:txBody>
            </p:sp>
            <p:sp>
              <p:nvSpPr>
                <p:cNvPr id="556" name="Freihandform: Form 555">
                  <a:extLst>
                    <a:ext uri="{FF2B5EF4-FFF2-40B4-BE49-F238E27FC236}">
                      <a16:creationId xmlns:a16="http://schemas.microsoft.com/office/drawing/2014/main" id="{A720024C-7CA9-415F-93F6-A4C051B3A6EA}"/>
                    </a:ext>
                  </a:extLst>
                </p:cNvPr>
                <p:cNvSpPr/>
                <p:nvPr/>
              </p:nvSpPr>
              <p:spPr>
                <a:xfrm>
                  <a:off x="4956934" y="2994009"/>
                  <a:ext cx="197026" cy="15762"/>
                </a:xfrm>
                <a:custGeom>
                  <a:avLst/>
                  <a:gdLst>
                    <a:gd name="connsiteX0" fmla="*/ 189146 w 197026"/>
                    <a:gd name="connsiteY0" fmla="*/ 15762 h 15762"/>
                    <a:gd name="connsiteX1" fmla="*/ 7881 w 197026"/>
                    <a:gd name="connsiteY1" fmla="*/ 15762 h 15762"/>
                    <a:gd name="connsiteX2" fmla="*/ 0 w 197026"/>
                    <a:gd name="connsiteY2" fmla="*/ 7881 h 15762"/>
                    <a:gd name="connsiteX3" fmla="*/ 7881 w 197026"/>
                    <a:gd name="connsiteY3" fmla="*/ 0 h 15762"/>
                    <a:gd name="connsiteX4" fmla="*/ 189146 w 197026"/>
                    <a:gd name="connsiteY4" fmla="*/ 0 h 15762"/>
                    <a:gd name="connsiteX5" fmla="*/ 197027 w 197026"/>
                    <a:gd name="connsiteY5" fmla="*/ 7881 h 15762"/>
                    <a:gd name="connsiteX6" fmla="*/ 189146 w 19702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26" h="15762">
                      <a:moveTo>
                        <a:pt x="189146" y="15762"/>
                      </a:moveTo>
                      <a:lnTo>
                        <a:pt x="7881" y="15762"/>
                      </a:lnTo>
                      <a:cubicBezTo>
                        <a:pt x="3521" y="15762"/>
                        <a:pt x="0" y="12241"/>
                        <a:pt x="0" y="7881"/>
                      </a:cubicBezTo>
                      <a:cubicBezTo>
                        <a:pt x="0" y="3521"/>
                        <a:pt x="3521" y="0"/>
                        <a:pt x="7881" y="0"/>
                      </a:cubicBezTo>
                      <a:lnTo>
                        <a:pt x="189146" y="0"/>
                      </a:lnTo>
                      <a:cubicBezTo>
                        <a:pt x="193505" y="0"/>
                        <a:pt x="197027" y="3521"/>
                        <a:pt x="197027" y="7881"/>
                      </a:cubicBezTo>
                      <a:cubicBezTo>
                        <a:pt x="197027" y="12241"/>
                        <a:pt x="193481" y="15762"/>
                        <a:pt x="189146" y="15762"/>
                      </a:cubicBezTo>
                      <a:close/>
                    </a:path>
                  </a:pathLst>
                </a:custGeom>
                <a:grpFill/>
                <a:ln w="2392" cap="flat">
                  <a:noFill/>
                  <a:prstDash val="solid"/>
                  <a:miter/>
                </a:ln>
              </p:spPr>
              <p:txBody>
                <a:bodyPr rtlCol="0" anchor="ctr"/>
                <a:lstStyle/>
                <a:p>
                  <a:endParaRPr lang="en-GB" dirty="0"/>
                </a:p>
              </p:txBody>
            </p:sp>
          </p:grpSp>
          <p:grpSp>
            <p:nvGrpSpPr>
              <p:cNvPr id="549" name="Grafik 14">
                <a:extLst>
                  <a:ext uri="{FF2B5EF4-FFF2-40B4-BE49-F238E27FC236}">
                    <a16:creationId xmlns:a16="http://schemas.microsoft.com/office/drawing/2014/main" id="{48632A24-8025-42CB-80DC-3F7C785A4092}"/>
                  </a:ext>
                </a:extLst>
              </p:cNvPr>
              <p:cNvGrpSpPr/>
              <p:nvPr/>
            </p:nvGrpSpPr>
            <p:grpSpPr>
              <a:xfrm>
                <a:off x="4956934" y="2615718"/>
                <a:ext cx="197026" cy="181264"/>
                <a:chOff x="4956934" y="2615718"/>
                <a:chExt cx="197026" cy="181264"/>
              </a:xfrm>
              <a:grpFill/>
            </p:grpSpPr>
            <p:sp>
              <p:nvSpPr>
                <p:cNvPr id="550" name="Freihandform: Form 549">
                  <a:extLst>
                    <a:ext uri="{FF2B5EF4-FFF2-40B4-BE49-F238E27FC236}">
                      <a16:creationId xmlns:a16="http://schemas.microsoft.com/office/drawing/2014/main" id="{4BFED022-31AA-4508-9ED2-05622E6FA236}"/>
                    </a:ext>
                  </a:extLst>
                </p:cNvPr>
                <p:cNvSpPr/>
                <p:nvPr/>
              </p:nvSpPr>
              <p:spPr>
                <a:xfrm>
                  <a:off x="4956934" y="2615718"/>
                  <a:ext cx="102453" cy="15762"/>
                </a:xfrm>
                <a:custGeom>
                  <a:avLst/>
                  <a:gdLst>
                    <a:gd name="connsiteX0" fmla="*/ 94573 w 102453"/>
                    <a:gd name="connsiteY0" fmla="*/ 15762 h 15762"/>
                    <a:gd name="connsiteX1" fmla="*/ 7881 w 102453"/>
                    <a:gd name="connsiteY1" fmla="*/ 15762 h 15762"/>
                    <a:gd name="connsiteX2" fmla="*/ 0 w 102453"/>
                    <a:gd name="connsiteY2" fmla="*/ 7881 h 15762"/>
                    <a:gd name="connsiteX3" fmla="*/ 7881 w 102453"/>
                    <a:gd name="connsiteY3" fmla="*/ 0 h 15762"/>
                    <a:gd name="connsiteX4" fmla="*/ 94573 w 102453"/>
                    <a:gd name="connsiteY4" fmla="*/ 0 h 15762"/>
                    <a:gd name="connsiteX5" fmla="*/ 102454 w 102453"/>
                    <a:gd name="connsiteY5" fmla="*/ 7881 h 15762"/>
                    <a:gd name="connsiteX6" fmla="*/ 94573 w 102453"/>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53" h="15762">
                      <a:moveTo>
                        <a:pt x="94573" y="15762"/>
                      </a:moveTo>
                      <a:lnTo>
                        <a:pt x="7881" y="15762"/>
                      </a:lnTo>
                      <a:cubicBezTo>
                        <a:pt x="3521" y="15762"/>
                        <a:pt x="0" y="12241"/>
                        <a:pt x="0" y="7881"/>
                      </a:cubicBezTo>
                      <a:cubicBezTo>
                        <a:pt x="0" y="3521"/>
                        <a:pt x="3521" y="0"/>
                        <a:pt x="7881" y="0"/>
                      </a:cubicBezTo>
                      <a:lnTo>
                        <a:pt x="94573" y="0"/>
                      </a:lnTo>
                      <a:cubicBezTo>
                        <a:pt x="98933" y="0"/>
                        <a:pt x="102454" y="3521"/>
                        <a:pt x="102454" y="7881"/>
                      </a:cubicBezTo>
                      <a:cubicBezTo>
                        <a:pt x="102454" y="12241"/>
                        <a:pt x="98909" y="15762"/>
                        <a:pt x="94573" y="15762"/>
                      </a:cubicBezTo>
                      <a:close/>
                    </a:path>
                  </a:pathLst>
                </a:custGeom>
                <a:grpFill/>
                <a:ln w="2392" cap="flat">
                  <a:noFill/>
                  <a:prstDash val="solid"/>
                  <a:miter/>
                </a:ln>
              </p:spPr>
              <p:txBody>
                <a:bodyPr rtlCol="0" anchor="ctr"/>
                <a:lstStyle/>
                <a:p>
                  <a:endParaRPr lang="en-GB" dirty="0"/>
                </a:p>
              </p:txBody>
            </p:sp>
            <p:sp>
              <p:nvSpPr>
                <p:cNvPr id="551" name="Freihandform: Form 550">
                  <a:extLst>
                    <a:ext uri="{FF2B5EF4-FFF2-40B4-BE49-F238E27FC236}">
                      <a16:creationId xmlns:a16="http://schemas.microsoft.com/office/drawing/2014/main" id="{3B2D484D-4EEA-4090-B34D-786DFFE978E4}"/>
                    </a:ext>
                  </a:extLst>
                </p:cNvPr>
                <p:cNvSpPr/>
                <p:nvPr/>
              </p:nvSpPr>
              <p:spPr>
                <a:xfrm>
                  <a:off x="4956934" y="2670885"/>
                  <a:ext cx="197026" cy="15762"/>
                </a:xfrm>
                <a:custGeom>
                  <a:avLst/>
                  <a:gdLst>
                    <a:gd name="connsiteX0" fmla="*/ 189146 w 197026"/>
                    <a:gd name="connsiteY0" fmla="*/ 15762 h 15762"/>
                    <a:gd name="connsiteX1" fmla="*/ 7881 w 197026"/>
                    <a:gd name="connsiteY1" fmla="*/ 15762 h 15762"/>
                    <a:gd name="connsiteX2" fmla="*/ 0 w 197026"/>
                    <a:gd name="connsiteY2" fmla="*/ 7881 h 15762"/>
                    <a:gd name="connsiteX3" fmla="*/ 7881 w 197026"/>
                    <a:gd name="connsiteY3" fmla="*/ 0 h 15762"/>
                    <a:gd name="connsiteX4" fmla="*/ 189146 w 197026"/>
                    <a:gd name="connsiteY4" fmla="*/ 0 h 15762"/>
                    <a:gd name="connsiteX5" fmla="*/ 197027 w 197026"/>
                    <a:gd name="connsiteY5" fmla="*/ 7881 h 15762"/>
                    <a:gd name="connsiteX6" fmla="*/ 189146 w 19702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26" h="15762">
                      <a:moveTo>
                        <a:pt x="189146" y="15762"/>
                      </a:moveTo>
                      <a:lnTo>
                        <a:pt x="7881" y="15762"/>
                      </a:lnTo>
                      <a:cubicBezTo>
                        <a:pt x="3521" y="15762"/>
                        <a:pt x="0" y="12241"/>
                        <a:pt x="0" y="7881"/>
                      </a:cubicBezTo>
                      <a:cubicBezTo>
                        <a:pt x="0" y="3521"/>
                        <a:pt x="3521" y="0"/>
                        <a:pt x="7881" y="0"/>
                      </a:cubicBezTo>
                      <a:lnTo>
                        <a:pt x="189146" y="0"/>
                      </a:lnTo>
                      <a:cubicBezTo>
                        <a:pt x="193505" y="0"/>
                        <a:pt x="197027" y="3521"/>
                        <a:pt x="197027" y="7881"/>
                      </a:cubicBezTo>
                      <a:cubicBezTo>
                        <a:pt x="197027" y="12241"/>
                        <a:pt x="193481" y="15762"/>
                        <a:pt x="189146" y="15762"/>
                      </a:cubicBezTo>
                      <a:close/>
                    </a:path>
                  </a:pathLst>
                </a:custGeom>
                <a:grpFill/>
                <a:ln w="2392" cap="flat">
                  <a:noFill/>
                  <a:prstDash val="solid"/>
                  <a:miter/>
                </a:ln>
              </p:spPr>
              <p:txBody>
                <a:bodyPr rtlCol="0" anchor="ctr"/>
                <a:lstStyle/>
                <a:p>
                  <a:endParaRPr lang="en-GB" dirty="0"/>
                </a:p>
              </p:txBody>
            </p:sp>
            <p:sp>
              <p:nvSpPr>
                <p:cNvPr id="552" name="Freihandform: Form 551">
                  <a:extLst>
                    <a:ext uri="{FF2B5EF4-FFF2-40B4-BE49-F238E27FC236}">
                      <a16:creationId xmlns:a16="http://schemas.microsoft.com/office/drawing/2014/main" id="{15082D3A-BFDC-44B7-8006-599286BAD5F0}"/>
                    </a:ext>
                  </a:extLst>
                </p:cNvPr>
                <p:cNvSpPr/>
                <p:nvPr/>
              </p:nvSpPr>
              <p:spPr>
                <a:xfrm>
                  <a:off x="4956934" y="2726053"/>
                  <a:ext cx="197026" cy="15762"/>
                </a:xfrm>
                <a:custGeom>
                  <a:avLst/>
                  <a:gdLst>
                    <a:gd name="connsiteX0" fmla="*/ 189146 w 197026"/>
                    <a:gd name="connsiteY0" fmla="*/ 15762 h 15762"/>
                    <a:gd name="connsiteX1" fmla="*/ 7881 w 197026"/>
                    <a:gd name="connsiteY1" fmla="*/ 15762 h 15762"/>
                    <a:gd name="connsiteX2" fmla="*/ 0 w 197026"/>
                    <a:gd name="connsiteY2" fmla="*/ 7881 h 15762"/>
                    <a:gd name="connsiteX3" fmla="*/ 7881 w 197026"/>
                    <a:gd name="connsiteY3" fmla="*/ 0 h 15762"/>
                    <a:gd name="connsiteX4" fmla="*/ 189146 w 197026"/>
                    <a:gd name="connsiteY4" fmla="*/ 0 h 15762"/>
                    <a:gd name="connsiteX5" fmla="*/ 197027 w 197026"/>
                    <a:gd name="connsiteY5" fmla="*/ 7881 h 15762"/>
                    <a:gd name="connsiteX6" fmla="*/ 189146 w 19702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26" h="15762">
                      <a:moveTo>
                        <a:pt x="189146" y="15762"/>
                      </a:moveTo>
                      <a:lnTo>
                        <a:pt x="7881" y="15762"/>
                      </a:lnTo>
                      <a:cubicBezTo>
                        <a:pt x="3521" y="15762"/>
                        <a:pt x="0" y="12241"/>
                        <a:pt x="0" y="7881"/>
                      </a:cubicBezTo>
                      <a:cubicBezTo>
                        <a:pt x="0" y="3521"/>
                        <a:pt x="3521" y="0"/>
                        <a:pt x="7881" y="0"/>
                      </a:cubicBezTo>
                      <a:lnTo>
                        <a:pt x="189146" y="0"/>
                      </a:lnTo>
                      <a:cubicBezTo>
                        <a:pt x="193505" y="0"/>
                        <a:pt x="197027" y="3521"/>
                        <a:pt x="197027" y="7881"/>
                      </a:cubicBezTo>
                      <a:cubicBezTo>
                        <a:pt x="197027" y="12241"/>
                        <a:pt x="193481" y="15762"/>
                        <a:pt x="189146" y="15762"/>
                      </a:cubicBezTo>
                      <a:close/>
                    </a:path>
                  </a:pathLst>
                </a:custGeom>
                <a:grpFill/>
                <a:ln w="2392" cap="flat">
                  <a:noFill/>
                  <a:prstDash val="solid"/>
                  <a:miter/>
                </a:ln>
              </p:spPr>
              <p:txBody>
                <a:bodyPr rtlCol="0" anchor="ctr"/>
                <a:lstStyle/>
                <a:p>
                  <a:endParaRPr lang="en-GB" dirty="0"/>
                </a:p>
              </p:txBody>
            </p:sp>
            <p:sp>
              <p:nvSpPr>
                <p:cNvPr id="553" name="Freihandform: Form 552">
                  <a:extLst>
                    <a:ext uri="{FF2B5EF4-FFF2-40B4-BE49-F238E27FC236}">
                      <a16:creationId xmlns:a16="http://schemas.microsoft.com/office/drawing/2014/main" id="{0BABFE5B-A04B-4D68-9554-D50D501C97E3}"/>
                    </a:ext>
                  </a:extLst>
                </p:cNvPr>
                <p:cNvSpPr/>
                <p:nvPr/>
              </p:nvSpPr>
              <p:spPr>
                <a:xfrm>
                  <a:off x="4956934" y="2781220"/>
                  <a:ext cx="197026" cy="15762"/>
                </a:xfrm>
                <a:custGeom>
                  <a:avLst/>
                  <a:gdLst>
                    <a:gd name="connsiteX0" fmla="*/ 189146 w 197026"/>
                    <a:gd name="connsiteY0" fmla="*/ 15762 h 15762"/>
                    <a:gd name="connsiteX1" fmla="*/ 7881 w 197026"/>
                    <a:gd name="connsiteY1" fmla="*/ 15762 h 15762"/>
                    <a:gd name="connsiteX2" fmla="*/ 0 w 197026"/>
                    <a:gd name="connsiteY2" fmla="*/ 7881 h 15762"/>
                    <a:gd name="connsiteX3" fmla="*/ 7881 w 197026"/>
                    <a:gd name="connsiteY3" fmla="*/ 0 h 15762"/>
                    <a:gd name="connsiteX4" fmla="*/ 189146 w 197026"/>
                    <a:gd name="connsiteY4" fmla="*/ 0 h 15762"/>
                    <a:gd name="connsiteX5" fmla="*/ 197027 w 197026"/>
                    <a:gd name="connsiteY5" fmla="*/ 7881 h 15762"/>
                    <a:gd name="connsiteX6" fmla="*/ 189146 w 19702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7026" h="15762">
                      <a:moveTo>
                        <a:pt x="189146" y="15762"/>
                      </a:moveTo>
                      <a:lnTo>
                        <a:pt x="7881" y="15762"/>
                      </a:lnTo>
                      <a:cubicBezTo>
                        <a:pt x="3521" y="15762"/>
                        <a:pt x="0" y="12241"/>
                        <a:pt x="0" y="7881"/>
                      </a:cubicBezTo>
                      <a:cubicBezTo>
                        <a:pt x="0" y="3521"/>
                        <a:pt x="3521" y="0"/>
                        <a:pt x="7881" y="0"/>
                      </a:cubicBezTo>
                      <a:lnTo>
                        <a:pt x="189146" y="0"/>
                      </a:lnTo>
                      <a:cubicBezTo>
                        <a:pt x="193505" y="0"/>
                        <a:pt x="197027" y="3521"/>
                        <a:pt x="197027" y="7881"/>
                      </a:cubicBezTo>
                      <a:cubicBezTo>
                        <a:pt x="197027" y="12241"/>
                        <a:pt x="193481" y="15762"/>
                        <a:pt x="189146" y="15762"/>
                      </a:cubicBezTo>
                      <a:close/>
                    </a:path>
                  </a:pathLst>
                </a:custGeom>
                <a:grpFill/>
                <a:ln w="2392" cap="flat">
                  <a:noFill/>
                  <a:prstDash val="solid"/>
                  <a:miter/>
                </a:ln>
              </p:spPr>
              <p:txBody>
                <a:bodyPr rtlCol="0" anchor="ctr"/>
                <a:lstStyle/>
                <a:p>
                  <a:endParaRPr lang="en-GB" dirty="0"/>
                </a:p>
              </p:txBody>
            </p:sp>
          </p:grpSp>
        </p:grpSp>
      </p:grpSp>
      <p:grpSp>
        <p:nvGrpSpPr>
          <p:cNvPr id="557" name="Gruppieren 556">
            <a:extLst>
              <a:ext uri="{FF2B5EF4-FFF2-40B4-BE49-F238E27FC236}">
                <a16:creationId xmlns:a16="http://schemas.microsoft.com/office/drawing/2014/main" id="{A8CE4502-E944-4CBC-8213-E02380A17E3D}"/>
              </a:ext>
            </a:extLst>
          </p:cNvPr>
          <p:cNvGrpSpPr>
            <a:grpSpLocks noChangeAspect="1"/>
          </p:cNvGrpSpPr>
          <p:nvPr/>
        </p:nvGrpSpPr>
        <p:grpSpPr>
          <a:xfrm>
            <a:off x="8171001" y="1626716"/>
            <a:ext cx="357138" cy="432000"/>
            <a:chOff x="8061978" y="1622748"/>
            <a:chExt cx="488633" cy="591059"/>
          </a:xfrm>
        </p:grpSpPr>
        <p:grpSp>
          <p:nvGrpSpPr>
            <p:cNvPr id="558" name="Gruppieren 557">
              <a:extLst>
                <a:ext uri="{FF2B5EF4-FFF2-40B4-BE49-F238E27FC236}">
                  <a16:creationId xmlns:a16="http://schemas.microsoft.com/office/drawing/2014/main" id="{F9C38FAD-EF31-4E4E-9B2D-96AD74D53470}"/>
                </a:ext>
              </a:extLst>
            </p:cNvPr>
            <p:cNvGrpSpPr/>
            <p:nvPr/>
          </p:nvGrpSpPr>
          <p:grpSpPr>
            <a:xfrm>
              <a:off x="8156558" y="1622748"/>
              <a:ext cx="394053" cy="496487"/>
              <a:chOff x="8156551" y="1622748"/>
              <a:chExt cx="394053" cy="496487"/>
            </a:xfrm>
          </p:grpSpPr>
          <p:sp>
            <p:nvSpPr>
              <p:cNvPr id="568" name="Freihandform: Form 567">
                <a:extLst>
                  <a:ext uri="{FF2B5EF4-FFF2-40B4-BE49-F238E27FC236}">
                    <a16:creationId xmlns:a16="http://schemas.microsoft.com/office/drawing/2014/main" id="{FD04DD70-0A56-480C-8A36-23B5C090CBDB}"/>
                  </a:ext>
                </a:extLst>
              </p:cNvPr>
              <p:cNvSpPr/>
              <p:nvPr/>
            </p:nvSpPr>
            <p:spPr>
              <a:xfrm>
                <a:off x="8424483" y="1622748"/>
                <a:ext cx="126100" cy="126076"/>
              </a:xfrm>
              <a:custGeom>
                <a:avLst/>
                <a:gdLst>
                  <a:gd name="connsiteX0" fmla="*/ 118216 w 126100"/>
                  <a:gd name="connsiteY0" fmla="*/ 126077 h 126076"/>
                  <a:gd name="connsiteX1" fmla="*/ 7881 w 126100"/>
                  <a:gd name="connsiteY1" fmla="*/ 126077 h 126076"/>
                  <a:gd name="connsiteX2" fmla="*/ 0 w 126100"/>
                  <a:gd name="connsiteY2" fmla="*/ 118196 h 126076"/>
                  <a:gd name="connsiteX3" fmla="*/ 0 w 126100"/>
                  <a:gd name="connsiteY3" fmla="*/ 7885 h 126076"/>
                  <a:gd name="connsiteX4" fmla="*/ 4863 w 126100"/>
                  <a:gd name="connsiteY4" fmla="*/ 602 h 126076"/>
                  <a:gd name="connsiteX5" fmla="*/ 13462 w 126100"/>
                  <a:gd name="connsiteY5" fmla="*/ 2303 h 126076"/>
                  <a:gd name="connsiteX6" fmla="*/ 123798 w 126100"/>
                  <a:gd name="connsiteY6" fmla="*/ 112638 h 126076"/>
                  <a:gd name="connsiteX7" fmla="*/ 125498 w 126100"/>
                  <a:gd name="connsiteY7" fmla="*/ 121238 h 126076"/>
                  <a:gd name="connsiteX8" fmla="*/ 118216 w 126100"/>
                  <a:gd name="connsiteY8" fmla="*/ 126077 h 126076"/>
                  <a:gd name="connsiteX9" fmla="*/ 15786 w 126100"/>
                  <a:gd name="connsiteY9" fmla="*/ 110315 h 126076"/>
                  <a:gd name="connsiteX10" fmla="*/ 99220 w 126100"/>
                  <a:gd name="connsiteY10" fmla="*/ 110315 h 126076"/>
                  <a:gd name="connsiteX11" fmla="*/ 15786 w 126100"/>
                  <a:gd name="connsiteY11" fmla="*/ 26881 h 126076"/>
                  <a:gd name="connsiteX12" fmla="*/ 15786 w 126100"/>
                  <a:gd name="connsiteY12" fmla="*/ 110315 h 126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00" h="126076">
                    <a:moveTo>
                      <a:pt x="118216" y="126077"/>
                    </a:moveTo>
                    <a:lnTo>
                      <a:pt x="7881" y="126077"/>
                    </a:lnTo>
                    <a:cubicBezTo>
                      <a:pt x="3522" y="126077"/>
                      <a:pt x="0" y="122555"/>
                      <a:pt x="0" y="118196"/>
                    </a:cubicBezTo>
                    <a:lnTo>
                      <a:pt x="0" y="7885"/>
                    </a:lnTo>
                    <a:cubicBezTo>
                      <a:pt x="0" y="4699"/>
                      <a:pt x="1916" y="1824"/>
                      <a:pt x="4863" y="602"/>
                    </a:cubicBezTo>
                    <a:cubicBezTo>
                      <a:pt x="7809" y="-619"/>
                      <a:pt x="11187" y="51"/>
                      <a:pt x="13462" y="2303"/>
                    </a:cubicBezTo>
                    <a:lnTo>
                      <a:pt x="123798" y="112638"/>
                    </a:lnTo>
                    <a:cubicBezTo>
                      <a:pt x="126049" y="114890"/>
                      <a:pt x="126720" y="118267"/>
                      <a:pt x="125498" y="121238"/>
                    </a:cubicBezTo>
                    <a:cubicBezTo>
                      <a:pt x="124301" y="124160"/>
                      <a:pt x="121402" y="126077"/>
                      <a:pt x="118216" y="126077"/>
                    </a:cubicBezTo>
                    <a:close/>
                    <a:moveTo>
                      <a:pt x="15786" y="110315"/>
                    </a:moveTo>
                    <a:lnTo>
                      <a:pt x="99220" y="110315"/>
                    </a:lnTo>
                    <a:lnTo>
                      <a:pt x="15786" y="26881"/>
                    </a:lnTo>
                    <a:lnTo>
                      <a:pt x="15786" y="110315"/>
                    </a:lnTo>
                    <a:close/>
                  </a:path>
                </a:pathLst>
              </a:custGeom>
              <a:solidFill>
                <a:schemeClr val="accent1"/>
              </a:solidFill>
              <a:ln w="2392" cap="flat">
                <a:noFill/>
                <a:prstDash val="solid"/>
                <a:miter/>
              </a:ln>
            </p:spPr>
            <p:txBody>
              <a:bodyPr rtlCol="0" anchor="ctr"/>
              <a:lstStyle/>
              <a:p>
                <a:endParaRPr lang="en-GB" dirty="0"/>
              </a:p>
            </p:txBody>
          </p:sp>
          <p:sp>
            <p:nvSpPr>
              <p:cNvPr id="569" name="Freihandform: Form 568">
                <a:extLst>
                  <a:ext uri="{FF2B5EF4-FFF2-40B4-BE49-F238E27FC236}">
                    <a16:creationId xmlns:a16="http://schemas.microsoft.com/office/drawing/2014/main" id="{FCB5E66F-DAEF-43E7-92DF-130D002242F9}"/>
                  </a:ext>
                </a:extLst>
              </p:cNvPr>
              <p:cNvSpPr/>
              <p:nvPr/>
            </p:nvSpPr>
            <p:spPr>
              <a:xfrm>
                <a:off x="8156551" y="1622752"/>
                <a:ext cx="394053" cy="496483"/>
              </a:xfrm>
              <a:custGeom>
                <a:avLst/>
                <a:gdLst>
                  <a:gd name="connsiteX0" fmla="*/ 386148 w 394053"/>
                  <a:gd name="connsiteY0" fmla="*/ 496483 h 496483"/>
                  <a:gd name="connsiteX1" fmla="*/ 291575 w 394053"/>
                  <a:gd name="connsiteY1" fmla="*/ 496483 h 496483"/>
                  <a:gd name="connsiteX2" fmla="*/ 283695 w 394053"/>
                  <a:gd name="connsiteY2" fmla="*/ 488602 h 496483"/>
                  <a:gd name="connsiteX3" fmla="*/ 291575 w 394053"/>
                  <a:gd name="connsiteY3" fmla="*/ 480721 h 496483"/>
                  <a:gd name="connsiteX4" fmla="*/ 378267 w 394053"/>
                  <a:gd name="connsiteY4" fmla="*/ 480721 h 496483"/>
                  <a:gd name="connsiteX5" fmla="*/ 378267 w 394053"/>
                  <a:gd name="connsiteY5" fmla="*/ 121474 h 496483"/>
                  <a:gd name="connsiteX6" fmla="*/ 272556 w 394053"/>
                  <a:gd name="connsiteY6" fmla="*/ 15762 h 496483"/>
                  <a:gd name="connsiteX7" fmla="*/ 15762 w 394053"/>
                  <a:gd name="connsiteY7" fmla="*/ 15762 h 496483"/>
                  <a:gd name="connsiteX8" fmla="*/ 15762 w 394053"/>
                  <a:gd name="connsiteY8" fmla="*/ 102454 h 496483"/>
                  <a:gd name="connsiteX9" fmla="*/ 7881 w 394053"/>
                  <a:gd name="connsiteY9" fmla="*/ 110335 h 496483"/>
                  <a:gd name="connsiteX10" fmla="*/ 0 w 394053"/>
                  <a:gd name="connsiteY10" fmla="*/ 102454 h 496483"/>
                  <a:gd name="connsiteX11" fmla="*/ 0 w 394053"/>
                  <a:gd name="connsiteY11" fmla="*/ 7881 h 496483"/>
                  <a:gd name="connsiteX12" fmla="*/ 7881 w 394053"/>
                  <a:gd name="connsiteY12" fmla="*/ 0 h 496483"/>
                  <a:gd name="connsiteX13" fmla="*/ 275837 w 394053"/>
                  <a:gd name="connsiteY13" fmla="*/ 0 h 496483"/>
                  <a:gd name="connsiteX14" fmla="*/ 281419 w 394053"/>
                  <a:gd name="connsiteY14" fmla="*/ 2300 h 496483"/>
                  <a:gd name="connsiteX15" fmla="*/ 391754 w 394053"/>
                  <a:gd name="connsiteY15" fmla="*/ 112635 h 496483"/>
                  <a:gd name="connsiteX16" fmla="*/ 394053 w 394053"/>
                  <a:gd name="connsiteY16" fmla="*/ 118216 h 496483"/>
                  <a:gd name="connsiteX17" fmla="*/ 394053 w 394053"/>
                  <a:gd name="connsiteY17" fmla="*/ 488626 h 496483"/>
                  <a:gd name="connsiteX18" fmla="*/ 386148 w 394053"/>
                  <a:gd name="connsiteY18" fmla="*/ 496483 h 496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94053" h="496483">
                    <a:moveTo>
                      <a:pt x="386148" y="496483"/>
                    </a:moveTo>
                    <a:lnTo>
                      <a:pt x="291575" y="496483"/>
                    </a:lnTo>
                    <a:cubicBezTo>
                      <a:pt x="287216" y="496483"/>
                      <a:pt x="283695" y="492962"/>
                      <a:pt x="283695" y="488602"/>
                    </a:cubicBezTo>
                    <a:cubicBezTo>
                      <a:pt x="283695" y="484242"/>
                      <a:pt x="287216" y="480721"/>
                      <a:pt x="291575" y="480721"/>
                    </a:cubicBezTo>
                    <a:lnTo>
                      <a:pt x="378267" y="480721"/>
                    </a:lnTo>
                    <a:lnTo>
                      <a:pt x="378267" y="121474"/>
                    </a:lnTo>
                    <a:lnTo>
                      <a:pt x="272556" y="15762"/>
                    </a:lnTo>
                    <a:lnTo>
                      <a:pt x="15762" y="15762"/>
                    </a:lnTo>
                    <a:lnTo>
                      <a:pt x="15762" y="102454"/>
                    </a:lnTo>
                    <a:cubicBezTo>
                      <a:pt x="15762" y="106814"/>
                      <a:pt x="12241" y="110335"/>
                      <a:pt x="7881" y="110335"/>
                    </a:cubicBezTo>
                    <a:cubicBezTo>
                      <a:pt x="3521" y="110335"/>
                      <a:pt x="0" y="106814"/>
                      <a:pt x="0" y="102454"/>
                    </a:cubicBezTo>
                    <a:lnTo>
                      <a:pt x="0" y="7881"/>
                    </a:lnTo>
                    <a:cubicBezTo>
                      <a:pt x="0" y="3521"/>
                      <a:pt x="3521" y="0"/>
                      <a:pt x="7881" y="0"/>
                    </a:cubicBezTo>
                    <a:lnTo>
                      <a:pt x="275837" y="0"/>
                    </a:lnTo>
                    <a:cubicBezTo>
                      <a:pt x="277921" y="0"/>
                      <a:pt x="279934" y="838"/>
                      <a:pt x="281419" y="2300"/>
                    </a:cubicBezTo>
                    <a:lnTo>
                      <a:pt x="391754" y="112635"/>
                    </a:lnTo>
                    <a:cubicBezTo>
                      <a:pt x="393239" y="114120"/>
                      <a:pt x="394053" y="116108"/>
                      <a:pt x="394053" y="118216"/>
                    </a:cubicBezTo>
                    <a:lnTo>
                      <a:pt x="394053" y="488626"/>
                    </a:lnTo>
                    <a:cubicBezTo>
                      <a:pt x="394029" y="492962"/>
                      <a:pt x="390508" y="496483"/>
                      <a:pt x="386148" y="496483"/>
                    </a:cubicBezTo>
                    <a:close/>
                  </a:path>
                </a:pathLst>
              </a:custGeom>
              <a:solidFill>
                <a:schemeClr val="accent1"/>
              </a:solidFill>
              <a:ln w="2392" cap="flat">
                <a:noFill/>
                <a:prstDash val="solid"/>
                <a:miter/>
              </a:ln>
            </p:spPr>
            <p:txBody>
              <a:bodyPr rtlCol="0" anchor="ctr"/>
              <a:lstStyle/>
              <a:p>
                <a:endParaRPr lang="en-GB" dirty="0"/>
              </a:p>
            </p:txBody>
          </p:sp>
        </p:grpSp>
        <p:grpSp>
          <p:nvGrpSpPr>
            <p:cNvPr id="559" name="Gruppieren 558">
              <a:extLst>
                <a:ext uri="{FF2B5EF4-FFF2-40B4-BE49-F238E27FC236}">
                  <a16:creationId xmlns:a16="http://schemas.microsoft.com/office/drawing/2014/main" id="{825C33B2-32E3-4CC7-AFA2-083B615A3B64}"/>
                </a:ext>
              </a:extLst>
            </p:cNvPr>
            <p:cNvGrpSpPr/>
            <p:nvPr/>
          </p:nvGrpSpPr>
          <p:grpSpPr>
            <a:xfrm>
              <a:off x="8061978" y="1717297"/>
              <a:ext cx="394057" cy="496510"/>
              <a:chOff x="8061978" y="1717297"/>
              <a:chExt cx="394056" cy="496510"/>
            </a:xfrm>
          </p:grpSpPr>
          <p:grpSp>
            <p:nvGrpSpPr>
              <p:cNvPr id="560" name="Grafik 14">
                <a:extLst>
                  <a:ext uri="{FF2B5EF4-FFF2-40B4-BE49-F238E27FC236}">
                    <a16:creationId xmlns:a16="http://schemas.microsoft.com/office/drawing/2014/main" id="{E2B97593-DC2E-4A80-8C87-1D4E08FEFF87}"/>
                  </a:ext>
                </a:extLst>
              </p:cNvPr>
              <p:cNvGrpSpPr/>
              <p:nvPr/>
            </p:nvGrpSpPr>
            <p:grpSpPr>
              <a:xfrm>
                <a:off x="8061978" y="1717297"/>
                <a:ext cx="394056" cy="496510"/>
                <a:chOff x="8061978" y="1717297"/>
                <a:chExt cx="394056" cy="496510"/>
              </a:xfrm>
              <a:solidFill>
                <a:schemeClr val="tx2"/>
              </a:solidFill>
            </p:grpSpPr>
            <p:sp>
              <p:nvSpPr>
                <p:cNvPr id="566" name="Freihandform: Form 565">
                  <a:extLst>
                    <a:ext uri="{FF2B5EF4-FFF2-40B4-BE49-F238E27FC236}">
                      <a16:creationId xmlns:a16="http://schemas.microsoft.com/office/drawing/2014/main" id="{9BDDBD53-C612-4456-8BDF-BDB5C0904553}"/>
                    </a:ext>
                  </a:extLst>
                </p:cNvPr>
                <p:cNvSpPr/>
                <p:nvPr/>
              </p:nvSpPr>
              <p:spPr>
                <a:xfrm>
                  <a:off x="8061978" y="1717300"/>
                  <a:ext cx="394053" cy="496507"/>
                </a:xfrm>
                <a:custGeom>
                  <a:avLst/>
                  <a:gdLst>
                    <a:gd name="connsiteX0" fmla="*/ 386172 w 394053"/>
                    <a:gd name="connsiteY0" fmla="*/ 496507 h 496507"/>
                    <a:gd name="connsiteX1" fmla="*/ 7881 w 394053"/>
                    <a:gd name="connsiteY1" fmla="*/ 496507 h 496507"/>
                    <a:gd name="connsiteX2" fmla="*/ 0 w 394053"/>
                    <a:gd name="connsiteY2" fmla="*/ 488626 h 496507"/>
                    <a:gd name="connsiteX3" fmla="*/ 0 w 394053"/>
                    <a:gd name="connsiteY3" fmla="*/ 7881 h 496507"/>
                    <a:gd name="connsiteX4" fmla="*/ 7881 w 394053"/>
                    <a:gd name="connsiteY4" fmla="*/ 0 h 496507"/>
                    <a:gd name="connsiteX5" fmla="*/ 275837 w 394053"/>
                    <a:gd name="connsiteY5" fmla="*/ 0 h 496507"/>
                    <a:gd name="connsiteX6" fmla="*/ 281419 w 394053"/>
                    <a:gd name="connsiteY6" fmla="*/ 2300 h 496507"/>
                    <a:gd name="connsiteX7" fmla="*/ 391754 w 394053"/>
                    <a:gd name="connsiteY7" fmla="*/ 112635 h 496507"/>
                    <a:gd name="connsiteX8" fmla="*/ 394053 w 394053"/>
                    <a:gd name="connsiteY8" fmla="*/ 118216 h 496507"/>
                    <a:gd name="connsiteX9" fmla="*/ 394053 w 394053"/>
                    <a:gd name="connsiteY9" fmla="*/ 488626 h 496507"/>
                    <a:gd name="connsiteX10" fmla="*/ 386172 w 394053"/>
                    <a:gd name="connsiteY10" fmla="*/ 496507 h 496507"/>
                    <a:gd name="connsiteX11" fmla="*/ 15762 w 394053"/>
                    <a:gd name="connsiteY11" fmla="*/ 480745 h 496507"/>
                    <a:gd name="connsiteX12" fmla="*/ 378291 w 394053"/>
                    <a:gd name="connsiteY12" fmla="*/ 480745 h 496507"/>
                    <a:gd name="connsiteX13" fmla="*/ 378291 w 394053"/>
                    <a:gd name="connsiteY13" fmla="*/ 121474 h 496507"/>
                    <a:gd name="connsiteX14" fmla="*/ 272580 w 394053"/>
                    <a:gd name="connsiteY14" fmla="*/ 15762 h 496507"/>
                    <a:gd name="connsiteX15" fmla="*/ 15786 w 394053"/>
                    <a:gd name="connsiteY15" fmla="*/ 15762 h 496507"/>
                    <a:gd name="connsiteX16" fmla="*/ 15786 w 394053"/>
                    <a:gd name="connsiteY16" fmla="*/ 480745 h 49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4053" h="496507">
                      <a:moveTo>
                        <a:pt x="386172" y="496507"/>
                      </a:moveTo>
                      <a:lnTo>
                        <a:pt x="7881" y="496507"/>
                      </a:lnTo>
                      <a:cubicBezTo>
                        <a:pt x="3521" y="496507"/>
                        <a:pt x="0" y="492986"/>
                        <a:pt x="0" y="488626"/>
                      </a:cubicBezTo>
                      <a:lnTo>
                        <a:pt x="0" y="7881"/>
                      </a:lnTo>
                      <a:cubicBezTo>
                        <a:pt x="0" y="3521"/>
                        <a:pt x="3521" y="0"/>
                        <a:pt x="7881" y="0"/>
                      </a:cubicBezTo>
                      <a:lnTo>
                        <a:pt x="275837" y="0"/>
                      </a:lnTo>
                      <a:cubicBezTo>
                        <a:pt x="277921" y="0"/>
                        <a:pt x="279934" y="838"/>
                        <a:pt x="281419" y="2300"/>
                      </a:cubicBezTo>
                      <a:lnTo>
                        <a:pt x="391754" y="112635"/>
                      </a:lnTo>
                      <a:cubicBezTo>
                        <a:pt x="393239" y="114120"/>
                        <a:pt x="394053" y="116108"/>
                        <a:pt x="394053" y="118216"/>
                      </a:cubicBezTo>
                      <a:lnTo>
                        <a:pt x="394053" y="488626"/>
                      </a:lnTo>
                      <a:cubicBezTo>
                        <a:pt x="394053" y="492986"/>
                        <a:pt x="390508" y="496507"/>
                        <a:pt x="386172" y="496507"/>
                      </a:cubicBezTo>
                      <a:close/>
                      <a:moveTo>
                        <a:pt x="15762" y="480745"/>
                      </a:moveTo>
                      <a:lnTo>
                        <a:pt x="378291" y="480745"/>
                      </a:lnTo>
                      <a:lnTo>
                        <a:pt x="378291" y="121474"/>
                      </a:lnTo>
                      <a:lnTo>
                        <a:pt x="272580" y="15762"/>
                      </a:lnTo>
                      <a:lnTo>
                        <a:pt x="15786" y="15762"/>
                      </a:lnTo>
                      <a:lnTo>
                        <a:pt x="15786" y="480745"/>
                      </a:lnTo>
                      <a:close/>
                    </a:path>
                  </a:pathLst>
                </a:custGeom>
                <a:solidFill>
                  <a:schemeClr val="accent1"/>
                </a:solidFill>
                <a:ln w="2392" cap="flat">
                  <a:noFill/>
                  <a:prstDash val="solid"/>
                  <a:miter/>
                </a:ln>
              </p:spPr>
              <p:txBody>
                <a:bodyPr rtlCol="0" anchor="ctr"/>
                <a:lstStyle/>
                <a:p>
                  <a:endParaRPr lang="en-GB" dirty="0"/>
                </a:p>
              </p:txBody>
            </p:sp>
            <p:sp>
              <p:nvSpPr>
                <p:cNvPr id="567" name="Freihandform: Form 566">
                  <a:extLst>
                    <a:ext uri="{FF2B5EF4-FFF2-40B4-BE49-F238E27FC236}">
                      <a16:creationId xmlns:a16="http://schemas.microsoft.com/office/drawing/2014/main" id="{16183A73-1F7D-4C99-B7AF-7FF8771BD05C}"/>
                    </a:ext>
                  </a:extLst>
                </p:cNvPr>
                <p:cNvSpPr/>
                <p:nvPr/>
              </p:nvSpPr>
              <p:spPr>
                <a:xfrm>
                  <a:off x="8329934" y="1717297"/>
                  <a:ext cx="126100" cy="126100"/>
                </a:xfrm>
                <a:custGeom>
                  <a:avLst/>
                  <a:gdLst>
                    <a:gd name="connsiteX0" fmla="*/ 118216 w 126100"/>
                    <a:gd name="connsiteY0" fmla="*/ 126101 h 126100"/>
                    <a:gd name="connsiteX1" fmla="*/ 7881 w 126100"/>
                    <a:gd name="connsiteY1" fmla="*/ 126101 h 126100"/>
                    <a:gd name="connsiteX2" fmla="*/ 0 w 126100"/>
                    <a:gd name="connsiteY2" fmla="*/ 118220 h 126100"/>
                    <a:gd name="connsiteX3" fmla="*/ 0 w 126100"/>
                    <a:gd name="connsiteY3" fmla="*/ 7885 h 126100"/>
                    <a:gd name="connsiteX4" fmla="*/ 4863 w 126100"/>
                    <a:gd name="connsiteY4" fmla="*/ 602 h 126100"/>
                    <a:gd name="connsiteX5" fmla="*/ 13462 w 126100"/>
                    <a:gd name="connsiteY5" fmla="*/ 2303 h 126100"/>
                    <a:gd name="connsiteX6" fmla="*/ 123798 w 126100"/>
                    <a:gd name="connsiteY6" fmla="*/ 112638 h 126100"/>
                    <a:gd name="connsiteX7" fmla="*/ 125498 w 126100"/>
                    <a:gd name="connsiteY7" fmla="*/ 121238 h 126100"/>
                    <a:gd name="connsiteX8" fmla="*/ 118216 w 126100"/>
                    <a:gd name="connsiteY8" fmla="*/ 126101 h 126100"/>
                    <a:gd name="connsiteX9" fmla="*/ 15762 w 126100"/>
                    <a:gd name="connsiteY9" fmla="*/ 110338 h 126100"/>
                    <a:gd name="connsiteX10" fmla="*/ 99196 w 126100"/>
                    <a:gd name="connsiteY10" fmla="*/ 110338 h 126100"/>
                    <a:gd name="connsiteX11" fmla="*/ 15762 w 126100"/>
                    <a:gd name="connsiteY11" fmla="*/ 26905 h 126100"/>
                    <a:gd name="connsiteX12" fmla="*/ 15762 w 126100"/>
                    <a:gd name="connsiteY12" fmla="*/ 110338 h 12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6100" h="126100">
                      <a:moveTo>
                        <a:pt x="118216" y="126101"/>
                      </a:moveTo>
                      <a:lnTo>
                        <a:pt x="7881" y="126101"/>
                      </a:lnTo>
                      <a:cubicBezTo>
                        <a:pt x="3521" y="126101"/>
                        <a:pt x="0" y="122579"/>
                        <a:pt x="0" y="118220"/>
                      </a:cubicBezTo>
                      <a:lnTo>
                        <a:pt x="0" y="7885"/>
                      </a:lnTo>
                      <a:cubicBezTo>
                        <a:pt x="0" y="4699"/>
                        <a:pt x="1916" y="1824"/>
                        <a:pt x="4863" y="602"/>
                      </a:cubicBezTo>
                      <a:cubicBezTo>
                        <a:pt x="7809" y="-619"/>
                        <a:pt x="11187" y="51"/>
                        <a:pt x="13462" y="2303"/>
                      </a:cubicBezTo>
                      <a:lnTo>
                        <a:pt x="123798" y="112638"/>
                      </a:lnTo>
                      <a:cubicBezTo>
                        <a:pt x="126049" y="114890"/>
                        <a:pt x="126720" y="118267"/>
                        <a:pt x="125498" y="121238"/>
                      </a:cubicBezTo>
                      <a:cubicBezTo>
                        <a:pt x="124277" y="124184"/>
                        <a:pt x="121402" y="126101"/>
                        <a:pt x="118216" y="126101"/>
                      </a:cubicBezTo>
                      <a:close/>
                      <a:moveTo>
                        <a:pt x="15762" y="110338"/>
                      </a:moveTo>
                      <a:lnTo>
                        <a:pt x="99196" y="110338"/>
                      </a:lnTo>
                      <a:lnTo>
                        <a:pt x="15762" y="26905"/>
                      </a:lnTo>
                      <a:lnTo>
                        <a:pt x="15762" y="110338"/>
                      </a:lnTo>
                      <a:close/>
                    </a:path>
                  </a:pathLst>
                </a:custGeom>
                <a:solidFill>
                  <a:schemeClr val="accent1"/>
                </a:solidFill>
                <a:ln w="2392" cap="flat">
                  <a:noFill/>
                  <a:prstDash val="solid"/>
                  <a:miter/>
                </a:ln>
              </p:spPr>
              <p:txBody>
                <a:bodyPr rtlCol="0" anchor="ctr"/>
                <a:lstStyle/>
                <a:p>
                  <a:endParaRPr lang="en-GB" dirty="0"/>
                </a:p>
              </p:txBody>
            </p:sp>
          </p:grpSp>
          <p:sp>
            <p:nvSpPr>
              <p:cNvPr id="561" name="Freihandform: Form 560">
                <a:extLst>
                  <a:ext uri="{FF2B5EF4-FFF2-40B4-BE49-F238E27FC236}">
                    <a16:creationId xmlns:a16="http://schemas.microsoft.com/office/drawing/2014/main" id="{7A6097B2-66BA-4742-8552-18187AA68DCB}"/>
                  </a:ext>
                </a:extLst>
              </p:cNvPr>
              <p:cNvSpPr/>
              <p:nvPr/>
            </p:nvSpPr>
            <p:spPr>
              <a:xfrm>
                <a:off x="8117146" y="1985257"/>
                <a:ext cx="283718" cy="181264"/>
              </a:xfrm>
              <a:custGeom>
                <a:avLst/>
                <a:gdLst>
                  <a:gd name="connsiteX0" fmla="*/ 275837 w 283718"/>
                  <a:gd name="connsiteY0" fmla="*/ 181265 h 181264"/>
                  <a:gd name="connsiteX1" fmla="*/ 7881 w 283718"/>
                  <a:gd name="connsiteY1" fmla="*/ 181265 h 181264"/>
                  <a:gd name="connsiteX2" fmla="*/ 0 w 283718"/>
                  <a:gd name="connsiteY2" fmla="*/ 173383 h 181264"/>
                  <a:gd name="connsiteX3" fmla="*/ 0 w 283718"/>
                  <a:gd name="connsiteY3" fmla="*/ 7881 h 181264"/>
                  <a:gd name="connsiteX4" fmla="*/ 7881 w 283718"/>
                  <a:gd name="connsiteY4" fmla="*/ 0 h 181264"/>
                  <a:gd name="connsiteX5" fmla="*/ 275837 w 283718"/>
                  <a:gd name="connsiteY5" fmla="*/ 0 h 181264"/>
                  <a:gd name="connsiteX6" fmla="*/ 283718 w 283718"/>
                  <a:gd name="connsiteY6" fmla="*/ 7881 h 181264"/>
                  <a:gd name="connsiteX7" fmla="*/ 283718 w 283718"/>
                  <a:gd name="connsiteY7" fmla="*/ 173383 h 181264"/>
                  <a:gd name="connsiteX8" fmla="*/ 275837 w 283718"/>
                  <a:gd name="connsiteY8" fmla="*/ 181265 h 181264"/>
                  <a:gd name="connsiteX9" fmla="*/ 15762 w 283718"/>
                  <a:gd name="connsiteY9" fmla="*/ 165502 h 181264"/>
                  <a:gd name="connsiteX10" fmla="*/ 267956 w 283718"/>
                  <a:gd name="connsiteY10" fmla="*/ 165502 h 181264"/>
                  <a:gd name="connsiteX11" fmla="*/ 267956 w 283718"/>
                  <a:gd name="connsiteY11" fmla="*/ 15762 h 181264"/>
                  <a:gd name="connsiteX12" fmla="*/ 15762 w 283718"/>
                  <a:gd name="connsiteY12" fmla="*/ 15762 h 181264"/>
                  <a:gd name="connsiteX13" fmla="*/ 15762 w 283718"/>
                  <a:gd name="connsiteY13" fmla="*/ 165502 h 181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3718" h="181264">
                    <a:moveTo>
                      <a:pt x="275837" y="181265"/>
                    </a:moveTo>
                    <a:lnTo>
                      <a:pt x="7881" y="181265"/>
                    </a:lnTo>
                    <a:cubicBezTo>
                      <a:pt x="3521" y="181265"/>
                      <a:pt x="0" y="177743"/>
                      <a:pt x="0" y="173383"/>
                    </a:cubicBezTo>
                    <a:lnTo>
                      <a:pt x="0" y="7881"/>
                    </a:lnTo>
                    <a:cubicBezTo>
                      <a:pt x="0" y="3521"/>
                      <a:pt x="3521" y="0"/>
                      <a:pt x="7881" y="0"/>
                    </a:cubicBezTo>
                    <a:lnTo>
                      <a:pt x="275837" y="0"/>
                    </a:lnTo>
                    <a:cubicBezTo>
                      <a:pt x="280197" y="0"/>
                      <a:pt x="283718" y="3521"/>
                      <a:pt x="283718" y="7881"/>
                    </a:cubicBezTo>
                    <a:lnTo>
                      <a:pt x="283718" y="173383"/>
                    </a:lnTo>
                    <a:cubicBezTo>
                      <a:pt x="283718" y="177743"/>
                      <a:pt x="280173" y="181265"/>
                      <a:pt x="275837" y="181265"/>
                    </a:cubicBezTo>
                    <a:close/>
                    <a:moveTo>
                      <a:pt x="15762" y="165502"/>
                    </a:moveTo>
                    <a:lnTo>
                      <a:pt x="267956" y="165502"/>
                    </a:lnTo>
                    <a:lnTo>
                      <a:pt x="267956" y="15762"/>
                    </a:lnTo>
                    <a:lnTo>
                      <a:pt x="15762" y="15762"/>
                    </a:lnTo>
                    <a:lnTo>
                      <a:pt x="15762" y="165502"/>
                    </a:lnTo>
                    <a:close/>
                  </a:path>
                </a:pathLst>
              </a:custGeom>
              <a:solidFill>
                <a:schemeClr val="tx2"/>
              </a:solidFill>
              <a:ln w="2392" cap="flat">
                <a:noFill/>
                <a:prstDash val="solid"/>
                <a:miter/>
              </a:ln>
            </p:spPr>
            <p:txBody>
              <a:bodyPr rtlCol="0" anchor="ctr"/>
              <a:lstStyle/>
              <a:p>
                <a:endParaRPr lang="en-GB" dirty="0"/>
              </a:p>
            </p:txBody>
          </p:sp>
          <p:sp>
            <p:nvSpPr>
              <p:cNvPr id="562" name="Freihandform: Form 561">
                <a:extLst>
                  <a:ext uri="{FF2B5EF4-FFF2-40B4-BE49-F238E27FC236}">
                    <a16:creationId xmlns:a16="http://schemas.microsoft.com/office/drawing/2014/main" id="{5A4C5C63-D3F4-4559-B304-5366C11D9F07}"/>
                  </a:ext>
                </a:extLst>
              </p:cNvPr>
              <p:cNvSpPr/>
              <p:nvPr/>
            </p:nvSpPr>
            <p:spPr>
              <a:xfrm>
                <a:off x="8117121" y="1985245"/>
                <a:ext cx="283719" cy="181275"/>
              </a:xfrm>
              <a:custGeom>
                <a:avLst/>
                <a:gdLst>
                  <a:gd name="connsiteX0" fmla="*/ 275838 w 283719"/>
                  <a:gd name="connsiteY0" fmla="*/ 181276 h 181275"/>
                  <a:gd name="connsiteX1" fmla="*/ 271694 w 283719"/>
                  <a:gd name="connsiteY1" fmla="*/ 180102 h 181275"/>
                  <a:gd name="connsiteX2" fmla="*/ 3737 w 283719"/>
                  <a:gd name="connsiteY2" fmla="*/ 14600 h 181275"/>
                  <a:gd name="connsiteX3" fmla="*/ 1174 w 283719"/>
                  <a:gd name="connsiteY3" fmla="*/ 3748 h 181275"/>
                  <a:gd name="connsiteX4" fmla="*/ 12026 w 283719"/>
                  <a:gd name="connsiteY4" fmla="*/ 1185 h 181275"/>
                  <a:gd name="connsiteX5" fmla="*/ 279982 w 283719"/>
                  <a:gd name="connsiteY5" fmla="*/ 166687 h 181275"/>
                  <a:gd name="connsiteX6" fmla="*/ 282545 w 283719"/>
                  <a:gd name="connsiteY6" fmla="*/ 177539 h 181275"/>
                  <a:gd name="connsiteX7" fmla="*/ 275838 w 283719"/>
                  <a:gd name="connsiteY7" fmla="*/ 181276 h 18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719" h="181275">
                    <a:moveTo>
                      <a:pt x="275838" y="181276"/>
                    </a:moveTo>
                    <a:cubicBezTo>
                      <a:pt x="274424" y="181276"/>
                      <a:pt x="272987" y="180892"/>
                      <a:pt x="271694" y="180102"/>
                    </a:cubicBezTo>
                    <a:lnTo>
                      <a:pt x="3737" y="14600"/>
                    </a:lnTo>
                    <a:cubicBezTo>
                      <a:pt x="24" y="12324"/>
                      <a:pt x="-1101" y="7461"/>
                      <a:pt x="1174" y="3748"/>
                    </a:cubicBezTo>
                    <a:cubicBezTo>
                      <a:pt x="3450" y="35"/>
                      <a:pt x="8313" y="-1115"/>
                      <a:pt x="12026" y="1185"/>
                    </a:cubicBezTo>
                    <a:lnTo>
                      <a:pt x="279982" y="166687"/>
                    </a:lnTo>
                    <a:cubicBezTo>
                      <a:pt x="283695" y="168963"/>
                      <a:pt x="284821" y="173826"/>
                      <a:pt x="282545" y="177539"/>
                    </a:cubicBezTo>
                    <a:cubicBezTo>
                      <a:pt x="281060" y="179934"/>
                      <a:pt x="278497" y="181276"/>
                      <a:pt x="275838" y="181276"/>
                    </a:cubicBezTo>
                    <a:close/>
                  </a:path>
                </a:pathLst>
              </a:custGeom>
              <a:solidFill>
                <a:schemeClr val="tx2"/>
              </a:solidFill>
              <a:ln w="2392" cap="flat">
                <a:noFill/>
                <a:prstDash val="solid"/>
                <a:miter/>
              </a:ln>
            </p:spPr>
            <p:txBody>
              <a:bodyPr rtlCol="0" anchor="ctr"/>
              <a:lstStyle/>
              <a:p>
                <a:endParaRPr lang="en-GB" dirty="0"/>
              </a:p>
            </p:txBody>
          </p:sp>
          <p:sp>
            <p:nvSpPr>
              <p:cNvPr id="563" name="Freihandform: Form 562">
                <a:extLst>
                  <a:ext uri="{FF2B5EF4-FFF2-40B4-BE49-F238E27FC236}">
                    <a16:creationId xmlns:a16="http://schemas.microsoft.com/office/drawing/2014/main" id="{9A468A9F-AF13-4B30-9603-89079ADA5631}"/>
                  </a:ext>
                </a:extLst>
              </p:cNvPr>
              <p:cNvSpPr/>
              <p:nvPr/>
            </p:nvSpPr>
            <p:spPr>
              <a:xfrm>
                <a:off x="8117145" y="1985245"/>
                <a:ext cx="283719" cy="181275"/>
              </a:xfrm>
              <a:custGeom>
                <a:avLst/>
                <a:gdLst>
                  <a:gd name="connsiteX0" fmla="*/ 7882 w 283719"/>
                  <a:gd name="connsiteY0" fmla="*/ 181276 h 181275"/>
                  <a:gd name="connsiteX1" fmla="*/ 1174 w 283719"/>
                  <a:gd name="connsiteY1" fmla="*/ 177539 h 181275"/>
                  <a:gd name="connsiteX2" fmla="*/ 3737 w 283719"/>
                  <a:gd name="connsiteY2" fmla="*/ 166687 h 181275"/>
                  <a:gd name="connsiteX3" fmla="*/ 271694 w 283719"/>
                  <a:gd name="connsiteY3" fmla="*/ 1185 h 181275"/>
                  <a:gd name="connsiteX4" fmla="*/ 282545 w 283719"/>
                  <a:gd name="connsiteY4" fmla="*/ 3748 h 181275"/>
                  <a:gd name="connsiteX5" fmla="*/ 279982 w 283719"/>
                  <a:gd name="connsiteY5" fmla="*/ 14600 h 181275"/>
                  <a:gd name="connsiteX6" fmla="*/ 12026 w 283719"/>
                  <a:gd name="connsiteY6" fmla="*/ 180102 h 181275"/>
                  <a:gd name="connsiteX7" fmla="*/ 7882 w 283719"/>
                  <a:gd name="connsiteY7" fmla="*/ 181276 h 18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719" h="181275">
                    <a:moveTo>
                      <a:pt x="7882" y="181276"/>
                    </a:moveTo>
                    <a:cubicBezTo>
                      <a:pt x="5247" y="181276"/>
                      <a:pt x="2660" y="179958"/>
                      <a:pt x="1174" y="177539"/>
                    </a:cubicBezTo>
                    <a:cubicBezTo>
                      <a:pt x="-1101" y="173826"/>
                      <a:pt x="25" y="168987"/>
                      <a:pt x="3737" y="166687"/>
                    </a:cubicBezTo>
                    <a:lnTo>
                      <a:pt x="271694" y="1185"/>
                    </a:lnTo>
                    <a:cubicBezTo>
                      <a:pt x="275407" y="-1115"/>
                      <a:pt x="280270" y="35"/>
                      <a:pt x="282545" y="3748"/>
                    </a:cubicBezTo>
                    <a:cubicBezTo>
                      <a:pt x="284821" y="7461"/>
                      <a:pt x="283695" y="12300"/>
                      <a:pt x="279982" y="14600"/>
                    </a:cubicBezTo>
                    <a:lnTo>
                      <a:pt x="12026" y="180102"/>
                    </a:lnTo>
                    <a:cubicBezTo>
                      <a:pt x="10732" y="180892"/>
                      <a:pt x="9295" y="181276"/>
                      <a:pt x="7882" y="181276"/>
                    </a:cubicBezTo>
                    <a:close/>
                  </a:path>
                </a:pathLst>
              </a:custGeom>
              <a:solidFill>
                <a:schemeClr val="tx2"/>
              </a:solidFill>
              <a:ln w="2392" cap="flat">
                <a:noFill/>
                <a:prstDash val="solid"/>
                <a:miter/>
              </a:ln>
            </p:spPr>
            <p:txBody>
              <a:bodyPr rtlCol="0" anchor="ctr"/>
              <a:lstStyle/>
              <a:p>
                <a:endParaRPr lang="en-GB" dirty="0"/>
              </a:p>
            </p:txBody>
          </p:sp>
          <p:sp>
            <p:nvSpPr>
              <p:cNvPr id="564" name="Freihandform: Form 563">
                <a:extLst>
                  <a:ext uri="{FF2B5EF4-FFF2-40B4-BE49-F238E27FC236}">
                    <a16:creationId xmlns:a16="http://schemas.microsoft.com/office/drawing/2014/main" id="{57F38D5B-087F-430B-B366-E9177DFAD939}"/>
                  </a:ext>
                </a:extLst>
              </p:cNvPr>
              <p:cNvSpPr/>
              <p:nvPr/>
            </p:nvSpPr>
            <p:spPr>
              <a:xfrm>
                <a:off x="8117146" y="1930089"/>
                <a:ext cx="283718" cy="15762"/>
              </a:xfrm>
              <a:custGeom>
                <a:avLst/>
                <a:gdLst>
                  <a:gd name="connsiteX0" fmla="*/ 275837 w 283718"/>
                  <a:gd name="connsiteY0" fmla="*/ 15762 h 15762"/>
                  <a:gd name="connsiteX1" fmla="*/ 7881 w 283718"/>
                  <a:gd name="connsiteY1" fmla="*/ 15762 h 15762"/>
                  <a:gd name="connsiteX2" fmla="*/ 0 w 283718"/>
                  <a:gd name="connsiteY2" fmla="*/ 7881 h 15762"/>
                  <a:gd name="connsiteX3" fmla="*/ 7881 w 283718"/>
                  <a:gd name="connsiteY3" fmla="*/ 0 h 15762"/>
                  <a:gd name="connsiteX4" fmla="*/ 275837 w 283718"/>
                  <a:gd name="connsiteY4" fmla="*/ 0 h 15762"/>
                  <a:gd name="connsiteX5" fmla="*/ 283718 w 283718"/>
                  <a:gd name="connsiteY5" fmla="*/ 7881 h 15762"/>
                  <a:gd name="connsiteX6" fmla="*/ 275837 w 283718"/>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718" h="15762">
                    <a:moveTo>
                      <a:pt x="275837" y="15762"/>
                    </a:moveTo>
                    <a:lnTo>
                      <a:pt x="7881" y="15762"/>
                    </a:lnTo>
                    <a:cubicBezTo>
                      <a:pt x="3521" y="15762"/>
                      <a:pt x="0" y="12241"/>
                      <a:pt x="0" y="7881"/>
                    </a:cubicBezTo>
                    <a:cubicBezTo>
                      <a:pt x="0" y="3521"/>
                      <a:pt x="3521" y="0"/>
                      <a:pt x="7881" y="0"/>
                    </a:cubicBezTo>
                    <a:lnTo>
                      <a:pt x="275837" y="0"/>
                    </a:lnTo>
                    <a:cubicBezTo>
                      <a:pt x="280197" y="0"/>
                      <a:pt x="283718" y="3521"/>
                      <a:pt x="283718" y="7881"/>
                    </a:cubicBezTo>
                    <a:cubicBezTo>
                      <a:pt x="283718" y="12241"/>
                      <a:pt x="280173" y="15762"/>
                      <a:pt x="275837" y="15762"/>
                    </a:cubicBezTo>
                    <a:close/>
                  </a:path>
                </a:pathLst>
              </a:custGeom>
              <a:solidFill>
                <a:schemeClr val="tx2"/>
              </a:solidFill>
              <a:ln w="2392" cap="flat">
                <a:noFill/>
                <a:prstDash val="solid"/>
                <a:miter/>
              </a:ln>
            </p:spPr>
            <p:txBody>
              <a:bodyPr rtlCol="0" anchor="ctr"/>
              <a:lstStyle/>
              <a:p>
                <a:endParaRPr lang="en-GB" dirty="0"/>
              </a:p>
            </p:txBody>
          </p:sp>
          <p:sp>
            <p:nvSpPr>
              <p:cNvPr id="565" name="Freihandform: Form 564">
                <a:extLst>
                  <a:ext uri="{FF2B5EF4-FFF2-40B4-BE49-F238E27FC236}">
                    <a16:creationId xmlns:a16="http://schemas.microsoft.com/office/drawing/2014/main" id="{F142F556-6C59-49AD-9425-935665342411}"/>
                  </a:ext>
                </a:extLst>
              </p:cNvPr>
              <p:cNvSpPr/>
              <p:nvPr/>
            </p:nvSpPr>
            <p:spPr>
              <a:xfrm>
                <a:off x="8188075" y="1874922"/>
                <a:ext cx="141859" cy="15762"/>
              </a:xfrm>
              <a:custGeom>
                <a:avLst/>
                <a:gdLst>
                  <a:gd name="connsiteX0" fmla="*/ 133978 w 141859"/>
                  <a:gd name="connsiteY0" fmla="*/ 15762 h 15762"/>
                  <a:gd name="connsiteX1" fmla="*/ 7881 w 141859"/>
                  <a:gd name="connsiteY1" fmla="*/ 15762 h 15762"/>
                  <a:gd name="connsiteX2" fmla="*/ 0 w 141859"/>
                  <a:gd name="connsiteY2" fmla="*/ 7881 h 15762"/>
                  <a:gd name="connsiteX3" fmla="*/ 7881 w 141859"/>
                  <a:gd name="connsiteY3" fmla="*/ 0 h 15762"/>
                  <a:gd name="connsiteX4" fmla="*/ 133978 w 141859"/>
                  <a:gd name="connsiteY4" fmla="*/ 0 h 15762"/>
                  <a:gd name="connsiteX5" fmla="*/ 141859 w 141859"/>
                  <a:gd name="connsiteY5" fmla="*/ 7881 h 15762"/>
                  <a:gd name="connsiteX6" fmla="*/ 133978 w 141859"/>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59" h="15762">
                    <a:moveTo>
                      <a:pt x="133978" y="15762"/>
                    </a:moveTo>
                    <a:lnTo>
                      <a:pt x="7881" y="15762"/>
                    </a:lnTo>
                    <a:cubicBezTo>
                      <a:pt x="3521" y="15762"/>
                      <a:pt x="0" y="12241"/>
                      <a:pt x="0" y="7881"/>
                    </a:cubicBezTo>
                    <a:cubicBezTo>
                      <a:pt x="0" y="3521"/>
                      <a:pt x="3521" y="0"/>
                      <a:pt x="7881" y="0"/>
                    </a:cubicBezTo>
                    <a:lnTo>
                      <a:pt x="133978" y="0"/>
                    </a:lnTo>
                    <a:cubicBezTo>
                      <a:pt x="138338" y="0"/>
                      <a:pt x="141859" y="3521"/>
                      <a:pt x="141859" y="7881"/>
                    </a:cubicBezTo>
                    <a:cubicBezTo>
                      <a:pt x="141859" y="12241"/>
                      <a:pt x="138338" y="15762"/>
                      <a:pt x="133978" y="15762"/>
                    </a:cubicBezTo>
                    <a:close/>
                  </a:path>
                </a:pathLst>
              </a:custGeom>
              <a:solidFill>
                <a:schemeClr val="tx2"/>
              </a:solidFill>
              <a:ln w="2392" cap="flat">
                <a:noFill/>
                <a:prstDash val="solid"/>
                <a:miter/>
              </a:ln>
            </p:spPr>
            <p:txBody>
              <a:bodyPr rtlCol="0" anchor="ctr"/>
              <a:lstStyle/>
              <a:p>
                <a:endParaRPr lang="en-GB" dirty="0"/>
              </a:p>
            </p:txBody>
          </p:sp>
        </p:grpSp>
      </p:grpSp>
      <p:grpSp>
        <p:nvGrpSpPr>
          <p:cNvPr id="20" name="Group 19">
            <a:extLst>
              <a:ext uri="{FF2B5EF4-FFF2-40B4-BE49-F238E27FC236}">
                <a16:creationId xmlns:a16="http://schemas.microsoft.com/office/drawing/2014/main" id="{9FEAE62F-FBF8-596D-12B5-D227D674288D}"/>
              </a:ext>
            </a:extLst>
          </p:cNvPr>
          <p:cNvGrpSpPr/>
          <p:nvPr/>
        </p:nvGrpSpPr>
        <p:grpSpPr>
          <a:xfrm>
            <a:off x="5968230" y="2449343"/>
            <a:ext cx="580942" cy="432000"/>
            <a:chOff x="5967818" y="2449343"/>
            <a:chExt cx="580942" cy="432000"/>
          </a:xfrm>
        </p:grpSpPr>
        <p:grpSp>
          <p:nvGrpSpPr>
            <p:cNvPr id="571" name="Gruppieren 570">
              <a:extLst>
                <a:ext uri="{FF2B5EF4-FFF2-40B4-BE49-F238E27FC236}">
                  <a16:creationId xmlns:a16="http://schemas.microsoft.com/office/drawing/2014/main" id="{C6C1B296-E4C8-4DAE-8DC5-C80FC8BD5639}"/>
                </a:ext>
              </a:extLst>
            </p:cNvPr>
            <p:cNvGrpSpPr/>
            <p:nvPr/>
          </p:nvGrpSpPr>
          <p:grpSpPr>
            <a:xfrm>
              <a:off x="5967818" y="2449343"/>
              <a:ext cx="580942" cy="432000"/>
              <a:chOff x="5942043" y="2552669"/>
              <a:chExt cx="614699" cy="457102"/>
            </a:xfrm>
            <a:solidFill>
              <a:schemeClr val="tx2"/>
            </a:solidFill>
          </p:grpSpPr>
          <p:grpSp>
            <p:nvGrpSpPr>
              <p:cNvPr id="586" name="Grafik 14">
                <a:extLst>
                  <a:ext uri="{FF2B5EF4-FFF2-40B4-BE49-F238E27FC236}">
                    <a16:creationId xmlns:a16="http://schemas.microsoft.com/office/drawing/2014/main" id="{AF84BF46-C7BA-455E-9768-A381C71B25E1}"/>
                  </a:ext>
                </a:extLst>
              </p:cNvPr>
              <p:cNvGrpSpPr/>
              <p:nvPr/>
            </p:nvGrpSpPr>
            <p:grpSpPr>
              <a:xfrm>
                <a:off x="5981449" y="2552669"/>
                <a:ext cx="535888" cy="409815"/>
                <a:chOff x="5981449" y="2552669"/>
                <a:chExt cx="535888" cy="409815"/>
              </a:xfrm>
              <a:grpFill/>
            </p:grpSpPr>
            <p:sp>
              <p:nvSpPr>
                <p:cNvPr id="588" name="Freihandform: Form 587">
                  <a:extLst>
                    <a:ext uri="{FF2B5EF4-FFF2-40B4-BE49-F238E27FC236}">
                      <a16:creationId xmlns:a16="http://schemas.microsoft.com/office/drawing/2014/main" id="{CFA6BE67-1EDB-4535-98DA-0AB61D849809}"/>
                    </a:ext>
                  </a:extLst>
                </p:cNvPr>
                <p:cNvSpPr/>
                <p:nvPr/>
              </p:nvSpPr>
              <p:spPr>
                <a:xfrm>
                  <a:off x="5981449" y="2552669"/>
                  <a:ext cx="535888" cy="409815"/>
                </a:xfrm>
                <a:custGeom>
                  <a:avLst/>
                  <a:gdLst>
                    <a:gd name="connsiteX0" fmla="*/ 528008 w 535888"/>
                    <a:gd name="connsiteY0" fmla="*/ 409815 h 409815"/>
                    <a:gd name="connsiteX1" fmla="*/ 7881 w 535888"/>
                    <a:gd name="connsiteY1" fmla="*/ 409815 h 409815"/>
                    <a:gd name="connsiteX2" fmla="*/ 0 w 535888"/>
                    <a:gd name="connsiteY2" fmla="*/ 401934 h 409815"/>
                    <a:gd name="connsiteX3" fmla="*/ 0 w 535888"/>
                    <a:gd name="connsiteY3" fmla="*/ 7881 h 409815"/>
                    <a:gd name="connsiteX4" fmla="*/ 7881 w 535888"/>
                    <a:gd name="connsiteY4" fmla="*/ 0 h 409815"/>
                    <a:gd name="connsiteX5" fmla="*/ 528008 w 535888"/>
                    <a:gd name="connsiteY5" fmla="*/ 0 h 409815"/>
                    <a:gd name="connsiteX6" fmla="*/ 535889 w 535888"/>
                    <a:gd name="connsiteY6" fmla="*/ 7881 h 409815"/>
                    <a:gd name="connsiteX7" fmla="*/ 535889 w 535888"/>
                    <a:gd name="connsiteY7" fmla="*/ 401934 h 409815"/>
                    <a:gd name="connsiteX8" fmla="*/ 528008 w 535888"/>
                    <a:gd name="connsiteY8" fmla="*/ 409815 h 409815"/>
                    <a:gd name="connsiteX9" fmla="*/ 15762 w 535888"/>
                    <a:gd name="connsiteY9" fmla="*/ 394053 h 409815"/>
                    <a:gd name="connsiteX10" fmla="*/ 520126 w 535888"/>
                    <a:gd name="connsiteY10" fmla="*/ 394053 h 409815"/>
                    <a:gd name="connsiteX11" fmla="*/ 520126 w 535888"/>
                    <a:gd name="connsiteY11" fmla="*/ 15762 h 409815"/>
                    <a:gd name="connsiteX12" fmla="*/ 15762 w 535888"/>
                    <a:gd name="connsiteY12" fmla="*/ 15762 h 409815"/>
                    <a:gd name="connsiteX13" fmla="*/ 15762 w 535888"/>
                    <a:gd name="connsiteY13" fmla="*/ 394053 h 40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5888" h="409815">
                      <a:moveTo>
                        <a:pt x="528008" y="409815"/>
                      </a:moveTo>
                      <a:lnTo>
                        <a:pt x="7881" y="409815"/>
                      </a:lnTo>
                      <a:cubicBezTo>
                        <a:pt x="3521" y="409815"/>
                        <a:pt x="0" y="406294"/>
                        <a:pt x="0" y="401934"/>
                      </a:cubicBezTo>
                      <a:lnTo>
                        <a:pt x="0" y="7881"/>
                      </a:lnTo>
                      <a:cubicBezTo>
                        <a:pt x="0" y="3521"/>
                        <a:pt x="3521" y="0"/>
                        <a:pt x="7881" y="0"/>
                      </a:cubicBezTo>
                      <a:lnTo>
                        <a:pt x="528008" y="0"/>
                      </a:lnTo>
                      <a:cubicBezTo>
                        <a:pt x="532367" y="0"/>
                        <a:pt x="535889" y="3521"/>
                        <a:pt x="535889" y="7881"/>
                      </a:cubicBezTo>
                      <a:lnTo>
                        <a:pt x="535889" y="401934"/>
                      </a:lnTo>
                      <a:cubicBezTo>
                        <a:pt x="535889" y="406294"/>
                        <a:pt x="532367" y="409815"/>
                        <a:pt x="528008" y="409815"/>
                      </a:cubicBezTo>
                      <a:close/>
                      <a:moveTo>
                        <a:pt x="15762" y="394053"/>
                      </a:moveTo>
                      <a:lnTo>
                        <a:pt x="520126" y="394053"/>
                      </a:lnTo>
                      <a:lnTo>
                        <a:pt x="520126" y="15762"/>
                      </a:lnTo>
                      <a:lnTo>
                        <a:pt x="15762" y="15762"/>
                      </a:lnTo>
                      <a:lnTo>
                        <a:pt x="15762" y="394053"/>
                      </a:lnTo>
                      <a:close/>
                    </a:path>
                  </a:pathLst>
                </a:custGeom>
                <a:grpFill/>
                <a:ln w="2392" cap="flat">
                  <a:noFill/>
                  <a:prstDash val="solid"/>
                  <a:miter/>
                </a:ln>
              </p:spPr>
              <p:txBody>
                <a:bodyPr rtlCol="0" anchor="ctr"/>
                <a:lstStyle/>
                <a:p>
                  <a:endParaRPr lang="en-GB" dirty="0"/>
                </a:p>
              </p:txBody>
            </p:sp>
            <p:sp>
              <p:nvSpPr>
                <p:cNvPr id="589" name="Freihandform: Form 588">
                  <a:extLst>
                    <a:ext uri="{FF2B5EF4-FFF2-40B4-BE49-F238E27FC236}">
                      <a16:creationId xmlns:a16="http://schemas.microsoft.com/office/drawing/2014/main" id="{E6098321-93E1-402A-8FAC-D8060F15A5C3}"/>
                    </a:ext>
                  </a:extLst>
                </p:cNvPr>
                <p:cNvSpPr/>
                <p:nvPr/>
              </p:nvSpPr>
              <p:spPr>
                <a:xfrm>
                  <a:off x="6241500" y="2552669"/>
                  <a:ext cx="15762" cy="409815"/>
                </a:xfrm>
                <a:custGeom>
                  <a:avLst/>
                  <a:gdLst>
                    <a:gd name="connsiteX0" fmla="*/ 7881 w 15762"/>
                    <a:gd name="connsiteY0" fmla="*/ 409815 h 409815"/>
                    <a:gd name="connsiteX1" fmla="*/ 0 w 15762"/>
                    <a:gd name="connsiteY1" fmla="*/ 401934 h 409815"/>
                    <a:gd name="connsiteX2" fmla="*/ 0 w 15762"/>
                    <a:gd name="connsiteY2" fmla="*/ 7881 h 409815"/>
                    <a:gd name="connsiteX3" fmla="*/ 7881 w 15762"/>
                    <a:gd name="connsiteY3" fmla="*/ 0 h 409815"/>
                    <a:gd name="connsiteX4" fmla="*/ 15762 w 15762"/>
                    <a:gd name="connsiteY4" fmla="*/ 7881 h 409815"/>
                    <a:gd name="connsiteX5" fmla="*/ 15762 w 15762"/>
                    <a:gd name="connsiteY5" fmla="*/ 401934 h 409815"/>
                    <a:gd name="connsiteX6" fmla="*/ 7881 w 15762"/>
                    <a:gd name="connsiteY6" fmla="*/ 409815 h 409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409815">
                      <a:moveTo>
                        <a:pt x="7881" y="409815"/>
                      </a:moveTo>
                      <a:cubicBezTo>
                        <a:pt x="3521" y="409815"/>
                        <a:pt x="0" y="406294"/>
                        <a:pt x="0" y="401934"/>
                      </a:cubicBezTo>
                      <a:lnTo>
                        <a:pt x="0" y="7881"/>
                      </a:lnTo>
                      <a:cubicBezTo>
                        <a:pt x="0" y="3521"/>
                        <a:pt x="3521" y="0"/>
                        <a:pt x="7881" y="0"/>
                      </a:cubicBezTo>
                      <a:cubicBezTo>
                        <a:pt x="12241" y="0"/>
                        <a:pt x="15762" y="3521"/>
                        <a:pt x="15762" y="7881"/>
                      </a:cubicBezTo>
                      <a:lnTo>
                        <a:pt x="15762" y="401934"/>
                      </a:lnTo>
                      <a:cubicBezTo>
                        <a:pt x="15762" y="406294"/>
                        <a:pt x="12241" y="409815"/>
                        <a:pt x="7881" y="409815"/>
                      </a:cubicBezTo>
                      <a:close/>
                    </a:path>
                  </a:pathLst>
                </a:custGeom>
                <a:grpFill/>
                <a:ln w="2392" cap="flat">
                  <a:noFill/>
                  <a:prstDash val="solid"/>
                  <a:miter/>
                </a:ln>
              </p:spPr>
              <p:txBody>
                <a:bodyPr rtlCol="0" anchor="ctr"/>
                <a:lstStyle/>
                <a:p>
                  <a:endParaRPr lang="en-GB" dirty="0"/>
                </a:p>
              </p:txBody>
            </p:sp>
          </p:grpSp>
          <p:sp>
            <p:nvSpPr>
              <p:cNvPr id="587" name="Freihandform: Form 586">
                <a:extLst>
                  <a:ext uri="{FF2B5EF4-FFF2-40B4-BE49-F238E27FC236}">
                    <a16:creationId xmlns:a16="http://schemas.microsoft.com/office/drawing/2014/main" id="{6219FC07-B595-408F-A1BF-B4C372FBA931}"/>
                  </a:ext>
                </a:extLst>
              </p:cNvPr>
              <p:cNvSpPr/>
              <p:nvPr/>
            </p:nvSpPr>
            <p:spPr>
              <a:xfrm>
                <a:off x="5942043" y="2592075"/>
                <a:ext cx="614699" cy="417696"/>
              </a:xfrm>
              <a:custGeom>
                <a:avLst/>
                <a:gdLst>
                  <a:gd name="connsiteX0" fmla="*/ 606818 w 614699"/>
                  <a:gd name="connsiteY0" fmla="*/ 417697 h 417696"/>
                  <a:gd name="connsiteX1" fmla="*/ 7881 w 614699"/>
                  <a:gd name="connsiteY1" fmla="*/ 417697 h 417696"/>
                  <a:gd name="connsiteX2" fmla="*/ 0 w 614699"/>
                  <a:gd name="connsiteY2" fmla="*/ 409815 h 417696"/>
                  <a:gd name="connsiteX3" fmla="*/ 0 w 614699"/>
                  <a:gd name="connsiteY3" fmla="*/ 7881 h 417696"/>
                  <a:gd name="connsiteX4" fmla="*/ 7881 w 614699"/>
                  <a:gd name="connsiteY4" fmla="*/ 0 h 417696"/>
                  <a:gd name="connsiteX5" fmla="*/ 47286 w 614699"/>
                  <a:gd name="connsiteY5" fmla="*/ 0 h 417696"/>
                  <a:gd name="connsiteX6" fmla="*/ 55167 w 614699"/>
                  <a:gd name="connsiteY6" fmla="*/ 7881 h 417696"/>
                  <a:gd name="connsiteX7" fmla="*/ 47286 w 614699"/>
                  <a:gd name="connsiteY7" fmla="*/ 15762 h 417696"/>
                  <a:gd name="connsiteX8" fmla="*/ 15762 w 614699"/>
                  <a:gd name="connsiteY8" fmla="*/ 15762 h 417696"/>
                  <a:gd name="connsiteX9" fmla="*/ 15762 w 614699"/>
                  <a:gd name="connsiteY9" fmla="*/ 401934 h 417696"/>
                  <a:gd name="connsiteX10" fmla="*/ 598937 w 614699"/>
                  <a:gd name="connsiteY10" fmla="*/ 401934 h 417696"/>
                  <a:gd name="connsiteX11" fmla="*/ 598937 w 614699"/>
                  <a:gd name="connsiteY11" fmla="*/ 15762 h 417696"/>
                  <a:gd name="connsiteX12" fmla="*/ 567413 w 614699"/>
                  <a:gd name="connsiteY12" fmla="*/ 15762 h 417696"/>
                  <a:gd name="connsiteX13" fmla="*/ 559532 w 614699"/>
                  <a:gd name="connsiteY13" fmla="*/ 7881 h 417696"/>
                  <a:gd name="connsiteX14" fmla="*/ 567413 w 614699"/>
                  <a:gd name="connsiteY14" fmla="*/ 0 h 417696"/>
                  <a:gd name="connsiteX15" fmla="*/ 606818 w 614699"/>
                  <a:gd name="connsiteY15" fmla="*/ 0 h 417696"/>
                  <a:gd name="connsiteX16" fmla="*/ 614699 w 614699"/>
                  <a:gd name="connsiteY16" fmla="*/ 7881 h 417696"/>
                  <a:gd name="connsiteX17" fmla="*/ 614699 w 614699"/>
                  <a:gd name="connsiteY17" fmla="*/ 409815 h 417696"/>
                  <a:gd name="connsiteX18" fmla="*/ 606818 w 614699"/>
                  <a:gd name="connsiteY18" fmla="*/ 417697 h 417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14699" h="417696">
                    <a:moveTo>
                      <a:pt x="606818" y="417697"/>
                    </a:moveTo>
                    <a:lnTo>
                      <a:pt x="7881" y="417697"/>
                    </a:lnTo>
                    <a:cubicBezTo>
                      <a:pt x="3521" y="417697"/>
                      <a:pt x="0" y="414175"/>
                      <a:pt x="0" y="409815"/>
                    </a:cubicBezTo>
                    <a:lnTo>
                      <a:pt x="0" y="7881"/>
                    </a:lnTo>
                    <a:cubicBezTo>
                      <a:pt x="0" y="3521"/>
                      <a:pt x="3521" y="0"/>
                      <a:pt x="7881" y="0"/>
                    </a:cubicBezTo>
                    <a:lnTo>
                      <a:pt x="47286" y="0"/>
                    </a:lnTo>
                    <a:cubicBezTo>
                      <a:pt x="51646" y="0"/>
                      <a:pt x="55167" y="3521"/>
                      <a:pt x="55167" y="7881"/>
                    </a:cubicBezTo>
                    <a:cubicBezTo>
                      <a:pt x="55167" y="12241"/>
                      <a:pt x="51646" y="15762"/>
                      <a:pt x="47286" y="15762"/>
                    </a:cubicBezTo>
                    <a:lnTo>
                      <a:pt x="15762" y="15762"/>
                    </a:lnTo>
                    <a:lnTo>
                      <a:pt x="15762" y="401934"/>
                    </a:lnTo>
                    <a:lnTo>
                      <a:pt x="598937" y="401934"/>
                    </a:lnTo>
                    <a:lnTo>
                      <a:pt x="598937" y="15762"/>
                    </a:lnTo>
                    <a:lnTo>
                      <a:pt x="567413" y="15762"/>
                    </a:lnTo>
                    <a:cubicBezTo>
                      <a:pt x="563053" y="15762"/>
                      <a:pt x="559532" y="12241"/>
                      <a:pt x="559532" y="7881"/>
                    </a:cubicBezTo>
                    <a:cubicBezTo>
                      <a:pt x="559532" y="3521"/>
                      <a:pt x="563053" y="0"/>
                      <a:pt x="567413" y="0"/>
                    </a:cubicBezTo>
                    <a:lnTo>
                      <a:pt x="606818" y="0"/>
                    </a:lnTo>
                    <a:cubicBezTo>
                      <a:pt x="611178" y="0"/>
                      <a:pt x="614699" y="3521"/>
                      <a:pt x="614699" y="7881"/>
                    </a:cubicBezTo>
                    <a:lnTo>
                      <a:pt x="614699" y="409815"/>
                    </a:lnTo>
                    <a:cubicBezTo>
                      <a:pt x="614699" y="414175"/>
                      <a:pt x="611178" y="417697"/>
                      <a:pt x="606818" y="417697"/>
                    </a:cubicBezTo>
                    <a:close/>
                  </a:path>
                </a:pathLst>
              </a:custGeom>
              <a:grpFill/>
              <a:ln w="2392" cap="flat">
                <a:noFill/>
                <a:prstDash val="solid"/>
                <a:miter/>
              </a:ln>
            </p:spPr>
            <p:txBody>
              <a:bodyPr rtlCol="0" anchor="ctr"/>
              <a:lstStyle/>
              <a:p>
                <a:endParaRPr lang="en-GB" dirty="0"/>
              </a:p>
            </p:txBody>
          </p:sp>
        </p:grpSp>
        <p:grpSp>
          <p:nvGrpSpPr>
            <p:cNvPr id="572" name="Gruppieren 571">
              <a:extLst>
                <a:ext uri="{FF2B5EF4-FFF2-40B4-BE49-F238E27FC236}">
                  <a16:creationId xmlns:a16="http://schemas.microsoft.com/office/drawing/2014/main" id="{9066C370-0653-46EC-BB45-2E92DFC4A47C}"/>
                </a:ext>
              </a:extLst>
            </p:cNvPr>
            <p:cNvGrpSpPr/>
            <p:nvPr/>
          </p:nvGrpSpPr>
          <p:grpSpPr>
            <a:xfrm>
              <a:off x="6057176" y="2501484"/>
              <a:ext cx="402206" cy="275586"/>
              <a:chOff x="6036592" y="2607837"/>
              <a:chExt cx="425577" cy="291599"/>
            </a:xfrm>
          </p:grpSpPr>
          <p:sp>
            <p:nvSpPr>
              <p:cNvPr id="573" name="Freihandform: Form 572">
                <a:extLst>
                  <a:ext uri="{FF2B5EF4-FFF2-40B4-BE49-F238E27FC236}">
                    <a16:creationId xmlns:a16="http://schemas.microsoft.com/office/drawing/2014/main" id="{416B35ED-BEC5-43F0-A415-444DA3BC35BF}"/>
                  </a:ext>
                </a:extLst>
              </p:cNvPr>
              <p:cNvSpPr/>
              <p:nvPr/>
            </p:nvSpPr>
            <p:spPr>
              <a:xfrm>
                <a:off x="6099641" y="2607837"/>
                <a:ext cx="102453" cy="15762"/>
              </a:xfrm>
              <a:custGeom>
                <a:avLst/>
                <a:gdLst>
                  <a:gd name="connsiteX0" fmla="*/ 94573 w 102453"/>
                  <a:gd name="connsiteY0" fmla="*/ 15762 h 15762"/>
                  <a:gd name="connsiteX1" fmla="*/ 7881 w 102453"/>
                  <a:gd name="connsiteY1" fmla="*/ 15762 h 15762"/>
                  <a:gd name="connsiteX2" fmla="*/ 0 w 102453"/>
                  <a:gd name="connsiteY2" fmla="*/ 7881 h 15762"/>
                  <a:gd name="connsiteX3" fmla="*/ 7881 w 102453"/>
                  <a:gd name="connsiteY3" fmla="*/ 0 h 15762"/>
                  <a:gd name="connsiteX4" fmla="*/ 94573 w 102453"/>
                  <a:gd name="connsiteY4" fmla="*/ 0 h 15762"/>
                  <a:gd name="connsiteX5" fmla="*/ 102454 w 102453"/>
                  <a:gd name="connsiteY5" fmla="*/ 7881 h 15762"/>
                  <a:gd name="connsiteX6" fmla="*/ 94573 w 102453"/>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53" h="15762">
                    <a:moveTo>
                      <a:pt x="94573" y="15762"/>
                    </a:moveTo>
                    <a:lnTo>
                      <a:pt x="7881" y="15762"/>
                    </a:lnTo>
                    <a:cubicBezTo>
                      <a:pt x="3521" y="15762"/>
                      <a:pt x="0" y="12241"/>
                      <a:pt x="0" y="7881"/>
                    </a:cubicBezTo>
                    <a:cubicBezTo>
                      <a:pt x="0" y="3521"/>
                      <a:pt x="3521" y="0"/>
                      <a:pt x="7881" y="0"/>
                    </a:cubicBezTo>
                    <a:lnTo>
                      <a:pt x="94573" y="0"/>
                    </a:lnTo>
                    <a:cubicBezTo>
                      <a:pt x="98933" y="0"/>
                      <a:pt x="102454" y="3521"/>
                      <a:pt x="102454" y="7881"/>
                    </a:cubicBezTo>
                    <a:cubicBezTo>
                      <a:pt x="102454" y="12241"/>
                      <a:pt x="98933" y="15762"/>
                      <a:pt x="94573" y="15762"/>
                    </a:cubicBezTo>
                    <a:close/>
                  </a:path>
                </a:pathLst>
              </a:custGeom>
              <a:solidFill>
                <a:schemeClr val="accent1"/>
              </a:solidFill>
              <a:ln w="2392" cap="flat">
                <a:noFill/>
                <a:prstDash val="solid"/>
                <a:miter/>
              </a:ln>
            </p:spPr>
            <p:txBody>
              <a:bodyPr rtlCol="0" anchor="ctr"/>
              <a:lstStyle/>
              <a:p>
                <a:endParaRPr lang="en-GB" dirty="0"/>
              </a:p>
            </p:txBody>
          </p:sp>
          <p:sp>
            <p:nvSpPr>
              <p:cNvPr id="574" name="Freihandform: Form 573">
                <a:extLst>
                  <a:ext uri="{FF2B5EF4-FFF2-40B4-BE49-F238E27FC236}">
                    <a16:creationId xmlns:a16="http://schemas.microsoft.com/office/drawing/2014/main" id="{9E3F6D49-1E00-400D-ACD5-DB81892610E1}"/>
                  </a:ext>
                </a:extLst>
              </p:cNvPr>
              <p:cNvSpPr/>
              <p:nvPr/>
            </p:nvSpPr>
            <p:spPr>
              <a:xfrm>
                <a:off x="6036592" y="2663004"/>
                <a:ext cx="165502" cy="15762"/>
              </a:xfrm>
              <a:custGeom>
                <a:avLst/>
                <a:gdLst>
                  <a:gd name="connsiteX0" fmla="*/ 157621 w 165502"/>
                  <a:gd name="connsiteY0" fmla="*/ 15762 h 15762"/>
                  <a:gd name="connsiteX1" fmla="*/ 7881 w 165502"/>
                  <a:gd name="connsiteY1" fmla="*/ 15762 h 15762"/>
                  <a:gd name="connsiteX2" fmla="*/ 0 w 165502"/>
                  <a:gd name="connsiteY2" fmla="*/ 7881 h 15762"/>
                  <a:gd name="connsiteX3" fmla="*/ 7881 w 165502"/>
                  <a:gd name="connsiteY3" fmla="*/ 0 h 15762"/>
                  <a:gd name="connsiteX4" fmla="*/ 157621 w 165502"/>
                  <a:gd name="connsiteY4" fmla="*/ 0 h 15762"/>
                  <a:gd name="connsiteX5" fmla="*/ 165502 w 165502"/>
                  <a:gd name="connsiteY5" fmla="*/ 7881 h 15762"/>
                  <a:gd name="connsiteX6" fmla="*/ 157621 w 16550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02" h="15762">
                    <a:moveTo>
                      <a:pt x="157621" y="15762"/>
                    </a:moveTo>
                    <a:lnTo>
                      <a:pt x="7881" y="15762"/>
                    </a:lnTo>
                    <a:cubicBezTo>
                      <a:pt x="3521" y="15762"/>
                      <a:pt x="0" y="12241"/>
                      <a:pt x="0" y="7881"/>
                    </a:cubicBezTo>
                    <a:cubicBezTo>
                      <a:pt x="0" y="3521"/>
                      <a:pt x="3521" y="0"/>
                      <a:pt x="7881" y="0"/>
                    </a:cubicBezTo>
                    <a:lnTo>
                      <a:pt x="157621" y="0"/>
                    </a:lnTo>
                    <a:cubicBezTo>
                      <a:pt x="161981" y="0"/>
                      <a:pt x="165502" y="3521"/>
                      <a:pt x="165502" y="7881"/>
                    </a:cubicBezTo>
                    <a:cubicBezTo>
                      <a:pt x="165502" y="12241"/>
                      <a:pt x="161981" y="15762"/>
                      <a:pt x="157621" y="15762"/>
                    </a:cubicBezTo>
                    <a:close/>
                  </a:path>
                </a:pathLst>
              </a:custGeom>
              <a:solidFill>
                <a:schemeClr val="accent1"/>
              </a:solidFill>
              <a:ln w="2392" cap="flat">
                <a:noFill/>
                <a:prstDash val="solid"/>
                <a:miter/>
              </a:ln>
            </p:spPr>
            <p:txBody>
              <a:bodyPr rtlCol="0" anchor="ctr"/>
              <a:lstStyle/>
              <a:p>
                <a:endParaRPr lang="en-GB" dirty="0"/>
              </a:p>
            </p:txBody>
          </p:sp>
          <p:sp>
            <p:nvSpPr>
              <p:cNvPr id="575" name="Freihandform: Form 574">
                <a:extLst>
                  <a:ext uri="{FF2B5EF4-FFF2-40B4-BE49-F238E27FC236}">
                    <a16:creationId xmlns:a16="http://schemas.microsoft.com/office/drawing/2014/main" id="{9056564F-C4B9-4583-A6E6-9BC1C1386344}"/>
                  </a:ext>
                </a:extLst>
              </p:cNvPr>
              <p:cNvSpPr/>
              <p:nvPr/>
            </p:nvSpPr>
            <p:spPr>
              <a:xfrm>
                <a:off x="6036592" y="2718172"/>
                <a:ext cx="165502" cy="15762"/>
              </a:xfrm>
              <a:custGeom>
                <a:avLst/>
                <a:gdLst>
                  <a:gd name="connsiteX0" fmla="*/ 157621 w 165502"/>
                  <a:gd name="connsiteY0" fmla="*/ 15762 h 15762"/>
                  <a:gd name="connsiteX1" fmla="*/ 7881 w 165502"/>
                  <a:gd name="connsiteY1" fmla="*/ 15762 h 15762"/>
                  <a:gd name="connsiteX2" fmla="*/ 0 w 165502"/>
                  <a:gd name="connsiteY2" fmla="*/ 7881 h 15762"/>
                  <a:gd name="connsiteX3" fmla="*/ 7881 w 165502"/>
                  <a:gd name="connsiteY3" fmla="*/ 0 h 15762"/>
                  <a:gd name="connsiteX4" fmla="*/ 157621 w 165502"/>
                  <a:gd name="connsiteY4" fmla="*/ 0 h 15762"/>
                  <a:gd name="connsiteX5" fmla="*/ 165502 w 165502"/>
                  <a:gd name="connsiteY5" fmla="*/ 7881 h 15762"/>
                  <a:gd name="connsiteX6" fmla="*/ 157621 w 16550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02" h="15762">
                    <a:moveTo>
                      <a:pt x="157621" y="15762"/>
                    </a:moveTo>
                    <a:lnTo>
                      <a:pt x="7881" y="15762"/>
                    </a:lnTo>
                    <a:cubicBezTo>
                      <a:pt x="3521" y="15762"/>
                      <a:pt x="0" y="12241"/>
                      <a:pt x="0" y="7881"/>
                    </a:cubicBezTo>
                    <a:cubicBezTo>
                      <a:pt x="0" y="3521"/>
                      <a:pt x="3521" y="0"/>
                      <a:pt x="7881" y="0"/>
                    </a:cubicBezTo>
                    <a:lnTo>
                      <a:pt x="157621" y="0"/>
                    </a:lnTo>
                    <a:cubicBezTo>
                      <a:pt x="161981" y="0"/>
                      <a:pt x="165502" y="3521"/>
                      <a:pt x="165502" y="7881"/>
                    </a:cubicBezTo>
                    <a:cubicBezTo>
                      <a:pt x="165502" y="12241"/>
                      <a:pt x="161981" y="15762"/>
                      <a:pt x="157621" y="15762"/>
                    </a:cubicBezTo>
                    <a:close/>
                  </a:path>
                </a:pathLst>
              </a:custGeom>
              <a:solidFill>
                <a:schemeClr val="accent1"/>
              </a:solidFill>
              <a:ln w="2392" cap="flat">
                <a:noFill/>
                <a:prstDash val="solid"/>
                <a:miter/>
              </a:ln>
            </p:spPr>
            <p:txBody>
              <a:bodyPr rtlCol="0" anchor="ctr"/>
              <a:lstStyle/>
              <a:p>
                <a:endParaRPr lang="en-GB" dirty="0"/>
              </a:p>
            </p:txBody>
          </p:sp>
          <p:sp>
            <p:nvSpPr>
              <p:cNvPr id="576" name="Freihandform: Form 575">
                <a:extLst>
                  <a:ext uri="{FF2B5EF4-FFF2-40B4-BE49-F238E27FC236}">
                    <a16:creationId xmlns:a16="http://schemas.microsoft.com/office/drawing/2014/main" id="{3C0011FD-233F-4EEE-8E6B-3FB412310C8E}"/>
                  </a:ext>
                </a:extLst>
              </p:cNvPr>
              <p:cNvSpPr/>
              <p:nvPr/>
            </p:nvSpPr>
            <p:spPr>
              <a:xfrm>
                <a:off x="6036592" y="2773339"/>
                <a:ext cx="165502" cy="15762"/>
              </a:xfrm>
              <a:custGeom>
                <a:avLst/>
                <a:gdLst>
                  <a:gd name="connsiteX0" fmla="*/ 157621 w 165502"/>
                  <a:gd name="connsiteY0" fmla="*/ 15762 h 15762"/>
                  <a:gd name="connsiteX1" fmla="*/ 7881 w 165502"/>
                  <a:gd name="connsiteY1" fmla="*/ 15762 h 15762"/>
                  <a:gd name="connsiteX2" fmla="*/ 0 w 165502"/>
                  <a:gd name="connsiteY2" fmla="*/ 7881 h 15762"/>
                  <a:gd name="connsiteX3" fmla="*/ 7881 w 165502"/>
                  <a:gd name="connsiteY3" fmla="*/ 0 h 15762"/>
                  <a:gd name="connsiteX4" fmla="*/ 157621 w 165502"/>
                  <a:gd name="connsiteY4" fmla="*/ 0 h 15762"/>
                  <a:gd name="connsiteX5" fmla="*/ 165502 w 165502"/>
                  <a:gd name="connsiteY5" fmla="*/ 7881 h 15762"/>
                  <a:gd name="connsiteX6" fmla="*/ 157621 w 16550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02" h="15762">
                    <a:moveTo>
                      <a:pt x="157621" y="15762"/>
                    </a:moveTo>
                    <a:lnTo>
                      <a:pt x="7881" y="15762"/>
                    </a:lnTo>
                    <a:cubicBezTo>
                      <a:pt x="3521" y="15762"/>
                      <a:pt x="0" y="12241"/>
                      <a:pt x="0" y="7881"/>
                    </a:cubicBezTo>
                    <a:cubicBezTo>
                      <a:pt x="0" y="3521"/>
                      <a:pt x="3521" y="0"/>
                      <a:pt x="7881" y="0"/>
                    </a:cubicBezTo>
                    <a:lnTo>
                      <a:pt x="157621" y="0"/>
                    </a:lnTo>
                    <a:cubicBezTo>
                      <a:pt x="161981" y="0"/>
                      <a:pt x="165502" y="3521"/>
                      <a:pt x="165502" y="7881"/>
                    </a:cubicBezTo>
                    <a:cubicBezTo>
                      <a:pt x="165502" y="12241"/>
                      <a:pt x="161981" y="15762"/>
                      <a:pt x="157621" y="15762"/>
                    </a:cubicBezTo>
                    <a:close/>
                  </a:path>
                </a:pathLst>
              </a:custGeom>
              <a:solidFill>
                <a:schemeClr val="accent1"/>
              </a:solidFill>
              <a:ln w="2392" cap="flat">
                <a:noFill/>
                <a:prstDash val="solid"/>
                <a:miter/>
              </a:ln>
            </p:spPr>
            <p:txBody>
              <a:bodyPr rtlCol="0" anchor="ctr"/>
              <a:lstStyle/>
              <a:p>
                <a:endParaRPr lang="en-GB" dirty="0"/>
              </a:p>
            </p:txBody>
          </p:sp>
          <p:sp>
            <p:nvSpPr>
              <p:cNvPr id="577" name="Freihandform: Form 576">
                <a:extLst>
                  <a:ext uri="{FF2B5EF4-FFF2-40B4-BE49-F238E27FC236}">
                    <a16:creationId xmlns:a16="http://schemas.microsoft.com/office/drawing/2014/main" id="{DAEAABCB-5726-47B2-ACFF-645F61161E09}"/>
                  </a:ext>
                </a:extLst>
              </p:cNvPr>
              <p:cNvSpPr/>
              <p:nvPr/>
            </p:nvSpPr>
            <p:spPr>
              <a:xfrm>
                <a:off x="6036592" y="2828507"/>
                <a:ext cx="165502" cy="15762"/>
              </a:xfrm>
              <a:custGeom>
                <a:avLst/>
                <a:gdLst>
                  <a:gd name="connsiteX0" fmla="*/ 157621 w 165502"/>
                  <a:gd name="connsiteY0" fmla="*/ 15762 h 15762"/>
                  <a:gd name="connsiteX1" fmla="*/ 7881 w 165502"/>
                  <a:gd name="connsiteY1" fmla="*/ 15762 h 15762"/>
                  <a:gd name="connsiteX2" fmla="*/ 0 w 165502"/>
                  <a:gd name="connsiteY2" fmla="*/ 7881 h 15762"/>
                  <a:gd name="connsiteX3" fmla="*/ 7881 w 165502"/>
                  <a:gd name="connsiteY3" fmla="*/ 0 h 15762"/>
                  <a:gd name="connsiteX4" fmla="*/ 157621 w 165502"/>
                  <a:gd name="connsiteY4" fmla="*/ 0 h 15762"/>
                  <a:gd name="connsiteX5" fmla="*/ 165502 w 165502"/>
                  <a:gd name="connsiteY5" fmla="*/ 7881 h 15762"/>
                  <a:gd name="connsiteX6" fmla="*/ 157621 w 16550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02" h="15762">
                    <a:moveTo>
                      <a:pt x="157621" y="15762"/>
                    </a:moveTo>
                    <a:lnTo>
                      <a:pt x="7881" y="15762"/>
                    </a:lnTo>
                    <a:cubicBezTo>
                      <a:pt x="3521" y="15762"/>
                      <a:pt x="0" y="12241"/>
                      <a:pt x="0" y="7881"/>
                    </a:cubicBezTo>
                    <a:cubicBezTo>
                      <a:pt x="0" y="3521"/>
                      <a:pt x="3521" y="0"/>
                      <a:pt x="7881" y="0"/>
                    </a:cubicBezTo>
                    <a:lnTo>
                      <a:pt x="157621" y="0"/>
                    </a:lnTo>
                    <a:cubicBezTo>
                      <a:pt x="161981" y="0"/>
                      <a:pt x="165502" y="3521"/>
                      <a:pt x="165502" y="7881"/>
                    </a:cubicBezTo>
                    <a:cubicBezTo>
                      <a:pt x="165502" y="12241"/>
                      <a:pt x="161981" y="15762"/>
                      <a:pt x="157621" y="15762"/>
                    </a:cubicBezTo>
                    <a:close/>
                  </a:path>
                </a:pathLst>
              </a:custGeom>
              <a:solidFill>
                <a:schemeClr val="accent1"/>
              </a:solidFill>
              <a:ln w="2392" cap="flat">
                <a:noFill/>
                <a:prstDash val="solid"/>
                <a:miter/>
              </a:ln>
            </p:spPr>
            <p:txBody>
              <a:bodyPr rtlCol="0" anchor="ctr"/>
              <a:lstStyle/>
              <a:p>
                <a:endParaRPr lang="en-GB" dirty="0"/>
              </a:p>
            </p:txBody>
          </p:sp>
          <p:sp>
            <p:nvSpPr>
              <p:cNvPr id="578" name="Freihandform: Form 577">
                <a:extLst>
                  <a:ext uri="{FF2B5EF4-FFF2-40B4-BE49-F238E27FC236}">
                    <a16:creationId xmlns:a16="http://schemas.microsoft.com/office/drawing/2014/main" id="{DEF395FF-932A-4674-AB3E-7E704AF9E32E}"/>
                  </a:ext>
                </a:extLst>
              </p:cNvPr>
              <p:cNvSpPr/>
              <p:nvPr/>
            </p:nvSpPr>
            <p:spPr>
              <a:xfrm>
                <a:off x="6036592" y="2883674"/>
                <a:ext cx="165502" cy="15762"/>
              </a:xfrm>
              <a:custGeom>
                <a:avLst/>
                <a:gdLst>
                  <a:gd name="connsiteX0" fmla="*/ 157621 w 165502"/>
                  <a:gd name="connsiteY0" fmla="*/ 15762 h 15762"/>
                  <a:gd name="connsiteX1" fmla="*/ 7881 w 165502"/>
                  <a:gd name="connsiteY1" fmla="*/ 15762 h 15762"/>
                  <a:gd name="connsiteX2" fmla="*/ 0 w 165502"/>
                  <a:gd name="connsiteY2" fmla="*/ 7881 h 15762"/>
                  <a:gd name="connsiteX3" fmla="*/ 7881 w 165502"/>
                  <a:gd name="connsiteY3" fmla="*/ 0 h 15762"/>
                  <a:gd name="connsiteX4" fmla="*/ 157621 w 165502"/>
                  <a:gd name="connsiteY4" fmla="*/ 0 h 15762"/>
                  <a:gd name="connsiteX5" fmla="*/ 165502 w 165502"/>
                  <a:gd name="connsiteY5" fmla="*/ 7881 h 15762"/>
                  <a:gd name="connsiteX6" fmla="*/ 157621 w 16550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02" h="15762">
                    <a:moveTo>
                      <a:pt x="157621" y="15762"/>
                    </a:moveTo>
                    <a:lnTo>
                      <a:pt x="7881" y="15762"/>
                    </a:lnTo>
                    <a:cubicBezTo>
                      <a:pt x="3521" y="15762"/>
                      <a:pt x="0" y="12241"/>
                      <a:pt x="0" y="7881"/>
                    </a:cubicBezTo>
                    <a:cubicBezTo>
                      <a:pt x="0" y="3521"/>
                      <a:pt x="3521" y="0"/>
                      <a:pt x="7881" y="0"/>
                    </a:cubicBezTo>
                    <a:lnTo>
                      <a:pt x="157621" y="0"/>
                    </a:lnTo>
                    <a:cubicBezTo>
                      <a:pt x="161981" y="0"/>
                      <a:pt x="165502" y="3521"/>
                      <a:pt x="165502" y="7881"/>
                    </a:cubicBezTo>
                    <a:cubicBezTo>
                      <a:pt x="165502" y="12241"/>
                      <a:pt x="161981" y="15762"/>
                      <a:pt x="157621" y="15762"/>
                    </a:cubicBezTo>
                    <a:close/>
                  </a:path>
                </a:pathLst>
              </a:custGeom>
              <a:solidFill>
                <a:schemeClr val="accent1"/>
              </a:solidFill>
              <a:ln w="2392" cap="flat">
                <a:noFill/>
                <a:prstDash val="solid"/>
                <a:miter/>
              </a:ln>
            </p:spPr>
            <p:txBody>
              <a:bodyPr rtlCol="0" anchor="ctr"/>
              <a:lstStyle/>
              <a:p>
                <a:endParaRPr lang="en-GB" dirty="0"/>
              </a:p>
            </p:txBody>
          </p:sp>
          <p:grpSp>
            <p:nvGrpSpPr>
              <p:cNvPr id="579" name="Grafik 14">
                <a:extLst>
                  <a:ext uri="{FF2B5EF4-FFF2-40B4-BE49-F238E27FC236}">
                    <a16:creationId xmlns:a16="http://schemas.microsoft.com/office/drawing/2014/main" id="{3C2C837F-013C-466F-B121-AA03E41C051C}"/>
                  </a:ext>
                </a:extLst>
              </p:cNvPr>
              <p:cNvGrpSpPr/>
              <p:nvPr/>
            </p:nvGrpSpPr>
            <p:grpSpPr>
              <a:xfrm>
                <a:off x="6296667" y="2607837"/>
                <a:ext cx="165502" cy="291599"/>
                <a:chOff x="6296667" y="2607837"/>
                <a:chExt cx="165502" cy="291599"/>
              </a:xfrm>
              <a:solidFill>
                <a:schemeClr val="accent1"/>
              </a:solidFill>
            </p:grpSpPr>
            <p:sp>
              <p:nvSpPr>
                <p:cNvPr id="580" name="Freihandform: Form 579">
                  <a:extLst>
                    <a:ext uri="{FF2B5EF4-FFF2-40B4-BE49-F238E27FC236}">
                      <a16:creationId xmlns:a16="http://schemas.microsoft.com/office/drawing/2014/main" id="{BF2573C1-96D7-4929-93F7-A0DC35610F65}"/>
                    </a:ext>
                  </a:extLst>
                </p:cNvPr>
                <p:cNvSpPr/>
                <p:nvPr/>
              </p:nvSpPr>
              <p:spPr>
                <a:xfrm>
                  <a:off x="6296667" y="2607837"/>
                  <a:ext cx="165502" cy="15762"/>
                </a:xfrm>
                <a:custGeom>
                  <a:avLst/>
                  <a:gdLst>
                    <a:gd name="connsiteX0" fmla="*/ 157621 w 165502"/>
                    <a:gd name="connsiteY0" fmla="*/ 15762 h 15762"/>
                    <a:gd name="connsiteX1" fmla="*/ 7881 w 165502"/>
                    <a:gd name="connsiteY1" fmla="*/ 15762 h 15762"/>
                    <a:gd name="connsiteX2" fmla="*/ 0 w 165502"/>
                    <a:gd name="connsiteY2" fmla="*/ 7881 h 15762"/>
                    <a:gd name="connsiteX3" fmla="*/ 7881 w 165502"/>
                    <a:gd name="connsiteY3" fmla="*/ 0 h 15762"/>
                    <a:gd name="connsiteX4" fmla="*/ 157621 w 165502"/>
                    <a:gd name="connsiteY4" fmla="*/ 0 h 15762"/>
                    <a:gd name="connsiteX5" fmla="*/ 165502 w 165502"/>
                    <a:gd name="connsiteY5" fmla="*/ 7881 h 15762"/>
                    <a:gd name="connsiteX6" fmla="*/ 157621 w 16550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02" h="15762">
                      <a:moveTo>
                        <a:pt x="157621" y="15762"/>
                      </a:moveTo>
                      <a:lnTo>
                        <a:pt x="7881" y="15762"/>
                      </a:lnTo>
                      <a:cubicBezTo>
                        <a:pt x="3521" y="15762"/>
                        <a:pt x="0" y="12241"/>
                        <a:pt x="0" y="7881"/>
                      </a:cubicBezTo>
                      <a:cubicBezTo>
                        <a:pt x="0" y="3521"/>
                        <a:pt x="3521" y="0"/>
                        <a:pt x="7881" y="0"/>
                      </a:cubicBezTo>
                      <a:lnTo>
                        <a:pt x="157621" y="0"/>
                      </a:lnTo>
                      <a:cubicBezTo>
                        <a:pt x="161981" y="0"/>
                        <a:pt x="165502" y="3521"/>
                        <a:pt x="165502" y="7881"/>
                      </a:cubicBezTo>
                      <a:cubicBezTo>
                        <a:pt x="165502" y="12241"/>
                        <a:pt x="161981" y="15762"/>
                        <a:pt x="157621" y="15762"/>
                      </a:cubicBezTo>
                      <a:close/>
                    </a:path>
                  </a:pathLst>
                </a:custGeom>
                <a:solidFill>
                  <a:schemeClr val="accent1"/>
                </a:solidFill>
                <a:ln w="2392" cap="flat">
                  <a:noFill/>
                  <a:prstDash val="solid"/>
                  <a:miter/>
                </a:ln>
              </p:spPr>
              <p:txBody>
                <a:bodyPr rtlCol="0" anchor="ctr"/>
                <a:lstStyle/>
                <a:p>
                  <a:endParaRPr lang="en-GB" dirty="0"/>
                </a:p>
              </p:txBody>
            </p:sp>
            <p:sp>
              <p:nvSpPr>
                <p:cNvPr id="581" name="Freihandform: Form 580">
                  <a:extLst>
                    <a:ext uri="{FF2B5EF4-FFF2-40B4-BE49-F238E27FC236}">
                      <a16:creationId xmlns:a16="http://schemas.microsoft.com/office/drawing/2014/main" id="{417EBB7C-F3B7-4368-8B68-702C75695C15}"/>
                    </a:ext>
                  </a:extLst>
                </p:cNvPr>
                <p:cNvSpPr/>
                <p:nvPr/>
              </p:nvSpPr>
              <p:spPr>
                <a:xfrm>
                  <a:off x="6296667" y="2663004"/>
                  <a:ext cx="165502" cy="15762"/>
                </a:xfrm>
                <a:custGeom>
                  <a:avLst/>
                  <a:gdLst>
                    <a:gd name="connsiteX0" fmla="*/ 157621 w 165502"/>
                    <a:gd name="connsiteY0" fmla="*/ 15762 h 15762"/>
                    <a:gd name="connsiteX1" fmla="*/ 7881 w 165502"/>
                    <a:gd name="connsiteY1" fmla="*/ 15762 h 15762"/>
                    <a:gd name="connsiteX2" fmla="*/ 0 w 165502"/>
                    <a:gd name="connsiteY2" fmla="*/ 7881 h 15762"/>
                    <a:gd name="connsiteX3" fmla="*/ 7881 w 165502"/>
                    <a:gd name="connsiteY3" fmla="*/ 0 h 15762"/>
                    <a:gd name="connsiteX4" fmla="*/ 157621 w 165502"/>
                    <a:gd name="connsiteY4" fmla="*/ 0 h 15762"/>
                    <a:gd name="connsiteX5" fmla="*/ 165502 w 165502"/>
                    <a:gd name="connsiteY5" fmla="*/ 7881 h 15762"/>
                    <a:gd name="connsiteX6" fmla="*/ 157621 w 16550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02" h="15762">
                      <a:moveTo>
                        <a:pt x="157621" y="15762"/>
                      </a:moveTo>
                      <a:lnTo>
                        <a:pt x="7881" y="15762"/>
                      </a:lnTo>
                      <a:cubicBezTo>
                        <a:pt x="3521" y="15762"/>
                        <a:pt x="0" y="12241"/>
                        <a:pt x="0" y="7881"/>
                      </a:cubicBezTo>
                      <a:cubicBezTo>
                        <a:pt x="0" y="3521"/>
                        <a:pt x="3521" y="0"/>
                        <a:pt x="7881" y="0"/>
                      </a:cubicBezTo>
                      <a:lnTo>
                        <a:pt x="157621" y="0"/>
                      </a:lnTo>
                      <a:cubicBezTo>
                        <a:pt x="161981" y="0"/>
                        <a:pt x="165502" y="3521"/>
                        <a:pt x="165502" y="7881"/>
                      </a:cubicBezTo>
                      <a:cubicBezTo>
                        <a:pt x="165502" y="12241"/>
                        <a:pt x="161981" y="15762"/>
                        <a:pt x="157621" y="15762"/>
                      </a:cubicBezTo>
                      <a:close/>
                    </a:path>
                  </a:pathLst>
                </a:custGeom>
                <a:solidFill>
                  <a:schemeClr val="accent1"/>
                </a:solidFill>
                <a:ln w="2392" cap="flat">
                  <a:noFill/>
                  <a:prstDash val="solid"/>
                  <a:miter/>
                </a:ln>
              </p:spPr>
              <p:txBody>
                <a:bodyPr rtlCol="0" anchor="ctr"/>
                <a:lstStyle/>
                <a:p>
                  <a:endParaRPr lang="en-GB" dirty="0"/>
                </a:p>
              </p:txBody>
            </p:sp>
            <p:sp>
              <p:nvSpPr>
                <p:cNvPr id="582" name="Freihandform: Form 581">
                  <a:extLst>
                    <a:ext uri="{FF2B5EF4-FFF2-40B4-BE49-F238E27FC236}">
                      <a16:creationId xmlns:a16="http://schemas.microsoft.com/office/drawing/2014/main" id="{A81CB528-38F2-46F5-97E1-744462BF764D}"/>
                    </a:ext>
                  </a:extLst>
                </p:cNvPr>
                <p:cNvSpPr/>
                <p:nvPr/>
              </p:nvSpPr>
              <p:spPr>
                <a:xfrm>
                  <a:off x="6296667" y="2718172"/>
                  <a:ext cx="165502" cy="15762"/>
                </a:xfrm>
                <a:custGeom>
                  <a:avLst/>
                  <a:gdLst>
                    <a:gd name="connsiteX0" fmla="*/ 157621 w 165502"/>
                    <a:gd name="connsiteY0" fmla="*/ 15762 h 15762"/>
                    <a:gd name="connsiteX1" fmla="*/ 7881 w 165502"/>
                    <a:gd name="connsiteY1" fmla="*/ 15762 h 15762"/>
                    <a:gd name="connsiteX2" fmla="*/ 0 w 165502"/>
                    <a:gd name="connsiteY2" fmla="*/ 7881 h 15762"/>
                    <a:gd name="connsiteX3" fmla="*/ 7881 w 165502"/>
                    <a:gd name="connsiteY3" fmla="*/ 0 h 15762"/>
                    <a:gd name="connsiteX4" fmla="*/ 157621 w 165502"/>
                    <a:gd name="connsiteY4" fmla="*/ 0 h 15762"/>
                    <a:gd name="connsiteX5" fmla="*/ 165502 w 165502"/>
                    <a:gd name="connsiteY5" fmla="*/ 7881 h 15762"/>
                    <a:gd name="connsiteX6" fmla="*/ 157621 w 16550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02" h="15762">
                      <a:moveTo>
                        <a:pt x="157621" y="15762"/>
                      </a:moveTo>
                      <a:lnTo>
                        <a:pt x="7881" y="15762"/>
                      </a:lnTo>
                      <a:cubicBezTo>
                        <a:pt x="3521" y="15762"/>
                        <a:pt x="0" y="12241"/>
                        <a:pt x="0" y="7881"/>
                      </a:cubicBezTo>
                      <a:cubicBezTo>
                        <a:pt x="0" y="3521"/>
                        <a:pt x="3521" y="0"/>
                        <a:pt x="7881" y="0"/>
                      </a:cubicBezTo>
                      <a:lnTo>
                        <a:pt x="157621" y="0"/>
                      </a:lnTo>
                      <a:cubicBezTo>
                        <a:pt x="161981" y="0"/>
                        <a:pt x="165502" y="3521"/>
                        <a:pt x="165502" y="7881"/>
                      </a:cubicBezTo>
                      <a:cubicBezTo>
                        <a:pt x="165502" y="12241"/>
                        <a:pt x="161981" y="15762"/>
                        <a:pt x="157621" y="15762"/>
                      </a:cubicBezTo>
                      <a:close/>
                    </a:path>
                  </a:pathLst>
                </a:custGeom>
                <a:solidFill>
                  <a:schemeClr val="accent1"/>
                </a:solidFill>
                <a:ln w="2392" cap="flat">
                  <a:noFill/>
                  <a:prstDash val="solid"/>
                  <a:miter/>
                </a:ln>
              </p:spPr>
              <p:txBody>
                <a:bodyPr rtlCol="0" anchor="ctr"/>
                <a:lstStyle/>
                <a:p>
                  <a:endParaRPr lang="en-GB" dirty="0"/>
                </a:p>
              </p:txBody>
            </p:sp>
            <p:sp>
              <p:nvSpPr>
                <p:cNvPr id="583" name="Freihandform: Form 582">
                  <a:extLst>
                    <a:ext uri="{FF2B5EF4-FFF2-40B4-BE49-F238E27FC236}">
                      <a16:creationId xmlns:a16="http://schemas.microsoft.com/office/drawing/2014/main" id="{76253B4C-DD69-4744-8604-A4FF850C54B4}"/>
                    </a:ext>
                  </a:extLst>
                </p:cNvPr>
                <p:cNvSpPr/>
                <p:nvPr/>
              </p:nvSpPr>
              <p:spPr>
                <a:xfrm>
                  <a:off x="6296667" y="2773339"/>
                  <a:ext cx="165502" cy="15762"/>
                </a:xfrm>
                <a:custGeom>
                  <a:avLst/>
                  <a:gdLst>
                    <a:gd name="connsiteX0" fmla="*/ 157621 w 165502"/>
                    <a:gd name="connsiteY0" fmla="*/ 15762 h 15762"/>
                    <a:gd name="connsiteX1" fmla="*/ 7881 w 165502"/>
                    <a:gd name="connsiteY1" fmla="*/ 15762 h 15762"/>
                    <a:gd name="connsiteX2" fmla="*/ 0 w 165502"/>
                    <a:gd name="connsiteY2" fmla="*/ 7881 h 15762"/>
                    <a:gd name="connsiteX3" fmla="*/ 7881 w 165502"/>
                    <a:gd name="connsiteY3" fmla="*/ 0 h 15762"/>
                    <a:gd name="connsiteX4" fmla="*/ 157621 w 165502"/>
                    <a:gd name="connsiteY4" fmla="*/ 0 h 15762"/>
                    <a:gd name="connsiteX5" fmla="*/ 165502 w 165502"/>
                    <a:gd name="connsiteY5" fmla="*/ 7881 h 15762"/>
                    <a:gd name="connsiteX6" fmla="*/ 157621 w 16550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02" h="15762">
                      <a:moveTo>
                        <a:pt x="157621" y="15762"/>
                      </a:moveTo>
                      <a:lnTo>
                        <a:pt x="7881" y="15762"/>
                      </a:lnTo>
                      <a:cubicBezTo>
                        <a:pt x="3521" y="15762"/>
                        <a:pt x="0" y="12241"/>
                        <a:pt x="0" y="7881"/>
                      </a:cubicBezTo>
                      <a:cubicBezTo>
                        <a:pt x="0" y="3521"/>
                        <a:pt x="3521" y="0"/>
                        <a:pt x="7881" y="0"/>
                      </a:cubicBezTo>
                      <a:lnTo>
                        <a:pt x="157621" y="0"/>
                      </a:lnTo>
                      <a:cubicBezTo>
                        <a:pt x="161981" y="0"/>
                        <a:pt x="165502" y="3521"/>
                        <a:pt x="165502" y="7881"/>
                      </a:cubicBezTo>
                      <a:cubicBezTo>
                        <a:pt x="165502" y="12241"/>
                        <a:pt x="161981" y="15762"/>
                        <a:pt x="157621" y="15762"/>
                      </a:cubicBezTo>
                      <a:close/>
                    </a:path>
                  </a:pathLst>
                </a:custGeom>
                <a:solidFill>
                  <a:schemeClr val="accent1"/>
                </a:solidFill>
                <a:ln w="2392" cap="flat">
                  <a:noFill/>
                  <a:prstDash val="solid"/>
                  <a:miter/>
                </a:ln>
              </p:spPr>
              <p:txBody>
                <a:bodyPr rtlCol="0" anchor="ctr"/>
                <a:lstStyle/>
                <a:p>
                  <a:endParaRPr lang="en-GB" dirty="0"/>
                </a:p>
              </p:txBody>
            </p:sp>
            <p:sp>
              <p:nvSpPr>
                <p:cNvPr id="584" name="Freihandform: Form 583">
                  <a:extLst>
                    <a:ext uri="{FF2B5EF4-FFF2-40B4-BE49-F238E27FC236}">
                      <a16:creationId xmlns:a16="http://schemas.microsoft.com/office/drawing/2014/main" id="{2495B5DE-CDD7-4704-8F94-D060DF86478A}"/>
                    </a:ext>
                  </a:extLst>
                </p:cNvPr>
                <p:cNvSpPr/>
                <p:nvPr/>
              </p:nvSpPr>
              <p:spPr>
                <a:xfrm>
                  <a:off x="6296667" y="2828507"/>
                  <a:ext cx="165502" cy="15762"/>
                </a:xfrm>
                <a:custGeom>
                  <a:avLst/>
                  <a:gdLst>
                    <a:gd name="connsiteX0" fmla="*/ 157621 w 165502"/>
                    <a:gd name="connsiteY0" fmla="*/ 15762 h 15762"/>
                    <a:gd name="connsiteX1" fmla="*/ 7881 w 165502"/>
                    <a:gd name="connsiteY1" fmla="*/ 15762 h 15762"/>
                    <a:gd name="connsiteX2" fmla="*/ 0 w 165502"/>
                    <a:gd name="connsiteY2" fmla="*/ 7881 h 15762"/>
                    <a:gd name="connsiteX3" fmla="*/ 7881 w 165502"/>
                    <a:gd name="connsiteY3" fmla="*/ 0 h 15762"/>
                    <a:gd name="connsiteX4" fmla="*/ 157621 w 165502"/>
                    <a:gd name="connsiteY4" fmla="*/ 0 h 15762"/>
                    <a:gd name="connsiteX5" fmla="*/ 165502 w 165502"/>
                    <a:gd name="connsiteY5" fmla="*/ 7881 h 15762"/>
                    <a:gd name="connsiteX6" fmla="*/ 157621 w 16550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02" h="15762">
                      <a:moveTo>
                        <a:pt x="157621" y="15762"/>
                      </a:moveTo>
                      <a:lnTo>
                        <a:pt x="7881" y="15762"/>
                      </a:lnTo>
                      <a:cubicBezTo>
                        <a:pt x="3521" y="15762"/>
                        <a:pt x="0" y="12241"/>
                        <a:pt x="0" y="7881"/>
                      </a:cubicBezTo>
                      <a:cubicBezTo>
                        <a:pt x="0" y="3521"/>
                        <a:pt x="3521" y="0"/>
                        <a:pt x="7881" y="0"/>
                      </a:cubicBezTo>
                      <a:lnTo>
                        <a:pt x="157621" y="0"/>
                      </a:lnTo>
                      <a:cubicBezTo>
                        <a:pt x="161981" y="0"/>
                        <a:pt x="165502" y="3521"/>
                        <a:pt x="165502" y="7881"/>
                      </a:cubicBezTo>
                      <a:cubicBezTo>
                        <a:pt x="165502" y="12241"/>
                        <a:pt x="161981" y="15762"/>
                        <a:pt x="157621" y="15762"/>
                      </a:cubicBezTo>
                      <a:close/>
                    </a:path>
                  </a:pathLst>
                </a:custGeom>
                <a:solidFill>
                  <a:schemeClr val="accent1"/>
                </a:solidFill>
                <a:ln w="2392" cap="flat">
                  <a:noFill/>
                  <a:prstDash val="solid"/>
                  <a:miter/>
                </a:ln>
              </p:spPr>
              <p:txBody>
                <a:bodyPr rtlCol="0" anchor="ctr"/>
                <a:lstStyle/>
                <a:p>
                  <a:endParaRPr lang="en-GB" dirty="0"/>
                </a:p>
              </p:txBody>
            </p:sp>
            <p:sp>
              <p:nvSpPr>
                <p:cNvPr id="585" name="Freihandform: Form 584">
                  <a:extLst>
                    <a:ext uri="{FF2B5EF4-FFF2-40B4-BE49-F238E27FC236}">
                      <a16:creationId xmlns:a16="http://schemas.microsoft.com/office/drawing/2014/main" id="{C31615DB-0B06-4084-A971-157BF964A3C2}"/>
                    </a:ext>
                  </a:extLst>
                </p:cNvPr>
                <p:cNvSpPr/>
                <p:nvPr/>
              </p:nvSpPr>
              <p:spPr>
                <a:xfrm>
                  <a:off x="6296667" y="2883674"/>
                  <a:ext cx="94572" cy="15762"/>
                </a:xfrm>
                <a:custGeom>
                  <a:avLst/>
                  <a:gdLst>
                    <a:gd name="connsiteX0" fmla="*/ 86692 w 94572"/>
                    <a:gd name="connsiteY0" fmla="*/ 15762 h 15762"/>
                    <a:gd name="connsiteX1" fmla="*/ 7881 w 94572"/>
                    <a:gd name="connsiteY1" fmla="*/ 15762 h 15762"/>
                    <a:gd name="connsiteX2" fmla="*/ 0 w 94572"/>
                    <a:gd name="connsiteY2" fmla="*/ 7881 h 15762"/>
                    <a:gd name="connsiteX3" fmla="*/ 7881 w 94572"/>
                    <a:gd name="connsiteY3" fmla="*/ 0 h 15762"/>
                    <a:gd name="connsiteX4" fmla="*/ 86692 w 94572"/>
                    <a:gd name="connsiteY4" fmla="*/ 0 h 15762"/>
                    <a:gd name="connsiteX5" fmla="*/ 94573 w 94572"/>
                    <a:gd name="connsiteY5" fmla="*/ 7881 h 15762"/>
                    <a:gd name="connsiteX6" fmla="*/ 86692 w 94572"/>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572" h="15762">
                      <a:moveTo>
                        <a:pt x="86692" y="15762"/>
                      </a:moveTo>
                      <a:lnTo>
                        <a:pt x="7881" y="15762"/>
                      </a:lnTo>
                      <a:cubicBezTo>
                        <a:pt x="3521" y="15762"/>
                        <a:pt x="0" y="12241"/>
                        <a:pt x="0" y="7881"/>
                      </a:cubicBezTo>
                      <a:cubicBezTo>
                        <a:pt x="0" y="3521"/>
                        <a:pt x="3521" y="0"/>
                        <a:pt x="7881" y="0"/>
                      </a:cubicBezTo>
                      <a:lnTo>
                        <a:pt x="86692" y="0"/>
                      </a:lnTo>
                      <a:cubicBezTo>
                        <a:pt x="91051" y="0"/>
                        <a:pt x="94573" y="3521"/>
                        <a:pt x="94573" y="7881"/>
                      </a:cubicBezTo>
                      <a:cubicBezTo>
                        <a:pt x="94573" y="12241"/>
                        <a:pt x="91051" y="15762"/>
                        <a:pt x="86692" y="15762"/>
                      </a:cubicBezTo>
                      <a:close/>
                    </a:path>
                  </a:pathLst>
                </a:custGeom>
                <a:solidFill>
                  <a:schemeClr val="accent1"/>
                </a:solidFill>
                <a:ln w="2392" cap="flat">
                  <a:noFill/>
                  <a:prstDash val="solid"/>
                  <a:miter/>
                </a:ln>
              </p:spPr>
              <p:txBody>
                <a:bodyPr rtlCol="0" anchor="ctr"/>
                <a:lstStyle/>
                <a:p>
                  <a:endParaRPr lang="en-GB" dirty="0"/>
                </a:p>
              </p:txBody>
            </p:sp>
          </p:grpSp>
        </p:grpSp>
      </p:grpSp>
      <p:sp>
        <p:nvSpPr>
          <p:cNvPr id="590" name="Freihandform: Form 589">
            <a:extLst>
              <a:ext uri="{FF2B5EF4-FFF2-40B4-BE49-F238E27FC236}">
                <a16:creationId xmlns:a16="http://schemas.microsoft.com/office/drawing/2014/main" id="{57357CA3-2598-4036-B2FF-B56922A1303F}"/>
              </a:ext>
            </a:extLst>
          </p:cNvPr>
          <p:cNvSpPr>
            <a:spLocks noChangeAspect="1"/>
          </p:cNvSpPr>
          <p:nvPr/>
        </p:nvSpPr>
        <p:spPr>
          <a:xfrm>
            <a:off x="4963985" y="3273397"/>
            <a:ext cx="498567" cy="432000"/>
          </a:xfrm>
          <a:custGeom>
            <a:avLst/>
            <a:gdLst>
              <a:gd name="connsiteX0" fmla="*/ 581939 w 584598"/>
              <a:gd name="connsiteY0" fmla="*/ 264291 h 506544"/>
              <a:gd name="connsiteX1" fmla="*/ 483318 w 584598"/>
              <a:gd name="connsiteY1" fmla="*/ 8983 h 506544"/>
              <a:gd name="connsiteX2" fmla="*/ 480467 w 584598"/>
              <a:gd name="connsiteY2" fmla="*/ 5534 h 506544"/>
              <a:gd name="connsiteX3" fmla="*/ 473065 w 584598"/>
              <a:gd name="connsiteY3" fmla="*/ 0 h 506544"/>
              <a:gd name="connsiteX4" fmla="*/ 110656 w 584598"/>
              <a:gd name="connsiteY4" fmla="*/ 0 h 506544"/>
              <a:gd name="connsiteX5" fmla="*/ 104500 w 584598"/>
              <a:gd name="connsiteY5" fmla="*/ 3186 h 506544"/>
              <a:gd name="connsiteX6" fmla="*/ 100284 w 584598"/>
              <a:gd name="connsiteY6" fmla="*/ 7546 h 506544"/>
              <a:gd name="connsiteX7" fmla="*/ 71874 w 584598"/>
              <a:gd name="connsiteY7" fmla="*/ 80248 h 506544"/>
              <a:gd name="connsiteX8" fmla="*/ 71442 w 584598"/>
              <a:gd name="connsiteY8" fmla="*/ 81374 h 506544"/>
              <a:gd name="connsiteX9" fmla="*/ 513 w 584598"/>
              <a:gd name="connsiteY9" fmla="*/ 262854 h 506544"/>
              <a:gd name="connsiteX10" fmla="*/ 1208 w 584598"/>
              <a:gd name="connsiteY10" fmla="*/ 269729 h 506544"/>
              <a:gd name="connsiteX11" fmla="*/ 776 w 584598"/>
              <a:gd name="connsiteY11" fmla="*/ 271861 h 506544"/>
              <a:gd name="connsiteX12" fmla="*/ 776 w 584598"/>
              <a:gd name="connsiteY12" fmla="*/ 319147 h 506544"/>
              <a:gd name="connsiteX13" fmla="*/ 1423 w 584598"/>
              <a:gd name="connsiteY13" fmla="*/ 322261 h 506544"/>
              <a:gd name="connsiteX14" fmla="*/ 1423 w 584598"/>
              <a:gd name="connsiteY14" fmla="*/ 449173 h 506544"/>
              <a:gd name="connsiteX15" fmla="*/ 1423 w 584598"/>
              <a:gd name="connsiteY15" fmla="*/ 496459 h 506544"/>
              <a:gd name="connsiteX16" fmla="*/ 1423 w 584598"/>
              <a:gd name="connsiteY16" fmla="*/ 498663 h 506544"/>
              <a:gd name="connsiteX17" fmla="*/ 9304 w 584598"/>
              <a:gd name="connsiteY17" fmla="*/ 506544 h 506544"/>
              <a:gd name="connsiteX18" fmla="*/ 576717 w 584598"/>
              <a:gd name="connsiteY18" fmla="*/ 506544 h 506544"/>
              <a:gd name="connsiteX19" fmla="*/ 584598 w 584598"/>
              <a:gd name="connsiteY19" fmla="*/ 498663 h 506544"/>
              <a:gd name="connsiteX20" fmla="*/ 584598 w 584598"/>
              <a:gd name="connsiteY20" fmla="*/ 496459 h 506544"/>
              <a:gd name="connsiteX21" fmla="*/ 584598 w 584598"/>
              <a:gd name="connsiteY21" fmla="*/ 449173 h 506544"/>
              <a:gd name="connsiteX22" fmla="*/ 584598 w 584598"/>
              <a:gd name="connsiteY22" fmla="*/ 270112 h 506544"/>
              <a:gd name="connsiteX23" fmla="*/ 581939 w 584598"/>
              <a:gd name="connsiteY23" fmla="*/ 264291 h 506544"/>
              <a:gd name="connsiteX24" fmla="*/ 568860 w 584598"/>
              <a:gd name="connsiteY24" fmla="*/ 488578 h 506544"/>
              <a:gd name="connsiteX25" fmla="*/ 538126 w 584598"/>
              <a:gd name="connsiteY25" fmla="*/ 488578 h 506544"/>
              <a:gd name="connsiteX26" fmla="*/ 568860 w 584598"/>
              <a:gd name="connsiteY26" fmla="*/ 457844 h 506544"/>
              <a:gd name="connsiteX27" fmla="*/ 568860 w 584598"/>
              <a:gd name="connsiteY27" fmla="*/ 488578 h 506544"/>
              <a:gd name="connsiteX28" fmla="*/ 521885 w 584598"/>
              <a:gd name="connsiteY28" fmla="*/ 490782 h 506544"/>
              <a:gd name="connsiteX29" fmla="*/ 64208 w 584598"/>
              <a:gd name="connsiteY29" fmla="*/ 490782 h 506544"/>
              <a:gd name="connsiteX30" fmla="*/ 17209 w 584598"/>
              <a:gd name="connsiteY30" fmla="*/ 441939 h 506544"/>
              <a:gd name="connsiteX31" fmla="*/ 17209 w 584598"/>
              <a:gd name="connsiteY31" fmla="*/ 326310 h 506544"/>
              <a:gd name="connsiteX32" fmla="*/ 63466 w 584598"/>
              <a:gd name="connsiteY32" fmla="*/ 278017 h 506544"/>
              <a:gd name="connsiteX33" fmla="*/ 190689 w 584598"/>
              <a:gd name="connsiteY33" fmla="*/ 278017 h 506544"/>
              <a:gd name="connsiteX34" fmla="*/ 203648 w 584598"/>
              <a:gd name="connsiteY34" fmla="*/ 350336 h 506544"/>
              <a:gd name="connsiteX35" fmla="*/ 211409 w 584598"/>
              <a:gd name="connsiteY35" fmla="*/ 356828 h 506544"/>
              <a:gd name="connsiteX36" fmla="*/ 374636 w 584598"/>
              <a:gd name="connsiteY36" fmla="*/ 356828 h 506544"/>
              <a:gd name="connsiteX37" fmla="*/ 382397 w 584598"/>
              <a:gd name="connsiteY37" fmla="*/ 350336 h 506544"/>
              <a:gd name="connsiteX38" fmla="*/ 395357 w 584598"/>
              <a:gd name="connsiteY38" fmla="*/ 278017 h 506544"/>
              <a:gd name="connsiteX39" fmla="*/ 521262 w 584598"/>
              <a:gd name="connsiteY39" fmla="*/ 278017 h 506544"/>
              <a:gd name="connsiteX40" fmla="*/ 568836 w 584598"/>
              <a:gd name="connsiteY40" fmla="*/ 326525 h 506544"/>
              <a:gd name="connsiteX41" fmla="*/ 568836 w 584598"/>
              <a:gd name="connsiteY41" fmla="*/ 441962 h 506544"/>
              <a:gd name="connsiteX42" fmla="*/ 521885 w 584598"/>
              <a:gd name="connsiteY42" fmla="*/ 490782 h 506544"/>
              <a:gd name="connsiteX43" fmla="*/ 568213 w 584598"/>
              <a:gd name="connsiteY43" fmla="*/ 279742 h 506544"/>
              <a:gd name="connsiteX44" fmla="*/ 568213 w 584598"/>
              <a:gd name="connsiteY44" fmla="*/ 310476 h 506544"/>
              <a:gd name="connsiteX45" fmla="*/ 537479 w 584598"/>
              <a:gd name="connsiteY45" fmla="*/ 279742 h 506544"/>
              <a:gd name="connsiteX46" fmla="*/ 568213 w 584598"/>
              <a:gd name="connsiteY46" fmla="*/ 279742 h 506544"/>
              <a:gd name="connsiteX47" fmla="*/ 17209 w 584598"/>
              <a:gd name="connsiteY47" fmla="*/ 279742 h 506544"/>
              <a:gd name="connsiteX48" fmla="*/ 47272 w 584598"/>
              <a:gd name="connsiteY48" fmla="*/ 279742 h 506544"/>
              <a:gd name="connsiteX49" fmla="*/ 17209 w 584598"/>
              <a:gd name="connsiteY49" fmla="*/ 310284 h 506544"/>
              <a:gd name="connsiteX50" fmla="*/ 17209 w 584598"/>
              <a:gd name="connsiteY50" fmla="*/ 279742 h 506544"/>
              <a:gd name="connsiteX51" fmla="*/ 17688 w 584598"/>
              <a:gd name="connsiteY51" fmla="*/ 262231 h 506544"/>
              <a:gd name="connsiteX52" fmla="*/ 48757 w 584598"/>
              <a:gd name="connsiteY52" fmla="*/ 182702 h 506544"/>
              <a:gd name="connsiteX53" fmla="*/ 533527 w 584598"/>
              <a:gd name="connsiteY53" fmla="*/ 182702 h 506544"/>
              <a:gd name="connsiteX54" fmla="*/ 564237 w 584598"/>
              <a:gd name="connsiteY54" fmla="*/ 262231 h 506544"/>
              <a:gd name="connsiteX55" fmla="*/ 388769 w 584598"/>
              <a:gd name="connsiteY55" fmla="*/ 262231 h 506544"/>
              <a:gd name="connsiteX56" fmla="*/ 381008 w 584598"/>
              <a:gd name="connsiteY56" fmla="*/ 268723 h 506544"/>
              <a:gd name="connsiteX57" fmla="*/ 368048 w 584598"/>
              <a:gd name="connsiteY57" fmla="*/ 341042 h 506544"/>
              <a:gd name="connsiteX58" fmla="*/ 218021 w 584598"/>
              <a:gd name="connsiteY58" fmla="*/ 341042 h 506544"/>
              <a:gd name="connsiteX59" fmla="*/ 205061 w 584598"/>
              <a:gd name="connsiteY59" fmla="*/ 268723 h 506544"/>
              <a:gd name="connsiteX60" fmla="*/ 197300 w 584598"/>
              <a:gd name="connsiteY60" fmla="*/ 262231 h 506544"/>
              <a:gd name="connsiteX61" fmla="*/ 17688 w 584598"/>
              <a:gd name="connsiteY61" fmla="*/ 262231 h 506544"/>
              <a:gd name="connsiteX62" fmla="*/ 84354 w 584598"/>
              <a:gd name="connsiteY62" fmla="*/ 91626 h 506544"/>
              <a:gd name="connsiteX63" fmla="*/ 498361 w 584598"/>
              <a:gd name="connsiteY63" fmla="*/ 91626 h 506544"/>
              <a:gd name="connsiteX64" fmla="*/ 527442 w 584598"/>
              <a:gd name="connsiteY64" fmla="*/ 166940 h 506544"/>
              <a:gd name="connsiteX65" fmla="*/ 54938 w 584598"/>
              <a:gd name="connsiteY65" fmla="*/ 166940 h 506544"/>
              <a:gd name="connsiteX66" fmla="*/ 84354 w 584598"/>
              <a:gd name="connsiteY66" fmla="*/ 91626 h 506544"/>
              <a:gd name="connsiteX67" fmla="*/ 469065 w 584598"/>
              <a:gd name="connsiteY67" fmla="*/ 15738 h 506544"/>
              <a:gd name="connsiteX68" fmla="*/ 492277 w 584598"/>
              <a:gd name="connsiteY68" fmla="*/ 75864 h 506544"/>
              <a:gd name="connsiteX69" fmla="*/ 90510 w 584598"/>
              <a:gd name="connsiteY69" fmla="*/ 75864 h 506544"/>
              <a:gd name="connsiteX70" fmla="*/ 114010 w 584598"/>
              <a:gd name="connsiteY70" fmla="*/ 15738 h 506544"/>
              <a:gd name="connsiteX71" fmla="*/ 469065 w 584598"/>
              <a:gd name="connsiteY71" fmla="*/ 15738 h 506544"/>
              <a:gd name="connsiteX72" fmla="*/ 17209 w 584598"/>
              <a:gd name="connsiteY72" fmla="*/ 457844 h 506544"/>
              <a:gd name="connsiteX73" fmla="*/ 47943 w 584598"/>
              <a:gd name="connsiteY73" fmla="*/ 488578 h 506544"/>
              <a:gd name="connsiteX74" fmla="*/ 17209 w 584598"/>
              <a:gd name="connsiteY74" fmla="*/ 488578 h 506544"/>
              <a:gd name="connsiteX75" fmla="*/ 17209 w 584598"/>
              <a:gd name="connsiteY75" fmla="*/ 457844 h 506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584598" h="506544">
                <a:moveTo>
                  <a:pt x="581939" y="264291"/>
                </a:moveTo>
                <a:lnTo>
                  <a:pt x="483318" y="8983"/>
                </a:lnTo>
                <a:cubicBezTo>
                  <a:pt x="482743" y="7498"/>
                  <a:pt x="481689" y="6396"/>
                  <a:pt x="480467" y="5534"/>
                </a:cubicBezTo>
                <a:cubicBezTo>
                  <a:pt x="479461" y="2348"/>
                  <a:pt x="476587" y="0"/>
                  <a:pt x="473065" y="0"/>
                </a:cubicBezTo>
                <a:lnTo>
                  <a:pt x="110656" y="0"/>
                </a:lnTo>
                <a:cubicBezTo>
                  <a:pt x="108093" y="0"/>
                  <a:pt x="105937" y="1293"/>
                  <a:pt x="104500" y="3186"/>
                </a:cubicBezTo>
                <a:cubicBezTo>
                  <a:pt x="102631" y="4000"/>
                  <a:pt x="101098" y="5510"/>
                  <a:pt x="100284" y="7546"/>
                </a:cubicBezTo>
                <a:lnTo>
                  <a:pt x="71874" y="80248"/>
                </a:lnTo>
                <a:cubicBezTo>
                  <a:pt x="71682" y="80607"/>
                  <a:pt x="71562" y="80967"/>
                  <a:pt x="71442" y="81374"/>
                </a:cubicBezTo>
                <a:lnTo>
                  <a:pt x="513" y="262854"/>
                </a:lnTo>
                <a:cubicBezTo>
                  <a:pt x="-421" y="265225"/>
                  <a:pt x="-14" y="267693"/>
                  <a:pt x="1208" y="269729"/>
                </a:cubicBezTo>
                <a:cubicBezTo>
                  <a:pt x="1016" y="270423"/>
                  <a:pt x="776" y="271094"/>
                  <a:pt x="776" y="271861"/>
                </a:cubicBezTo>
                <a:lnTo>
                  <a:pt x="776" y="319147"/>
                </a:lnTo>
                <a:cubicBezTo>
                  <a:pt x="776" y="320273"/>
                  <a:pt x="1016" y="321303"/>
                  <a:pt x="1423" y="322261"/>
                </a:cubicBezTo>
                <a:lnTo>
                  <a:pt x="1423" y="449173"/>
                </a:lnTo>
                <a:lnTo>
                  <a:pt x="1423" y="496459"/>
                </a:lnTo>
                <a:lnTo>
                  <a:pt x="1423" y="498663"/>
                </a:lnTo>
                <a:cubicBezTo>
                  <a:pt x="1423" y="503023"/>
                  <a:pt x="4944" y="506544"/>
                  <a:pt x="9304" y="506544"/>
                </a:cubicBezTo>
                <a:lnTo>
                  <a:pt x="576717" y="506544"/>
                </a:lnTo>
                <a:cubicBezTo>
                  <a:pt x="581077" y="506544"/>
                  <a:pt x="584598" y="503023"/>
                  <a:pt x="584598" y="498663"/>
                </a:cubicBezTo>
                <a:lnTo>
                  <a:pt x="584598" y="496459"/>
                </a:lnTo>
                <a:lnTo>
                  <a:pt x="584598" y="449173"/>
                </a:lnTo>
                <a:lnTo>
                  <a:pt x="584598" y="270112"/>
                </a:lnTo>
                <a:cubicBezTo>
                  <a:pt x="584622" y="267765"/>
                  <a:pt x="583568" y="265728"/>
                  <a:pt x="581939" y="264291"/>
                </a:cubicBezTo>
                <a:close/>
                <a:moveTo>
                  <a:pt x="568860" y="488578"/>
                </a:moveTo>
                <a:lnTo>
                  <a:pt x="538126" y="488578"/>
                </a:lnTo>
                <a:cubicBezTo>
                  <a:pt x="541264" y="473151"/>
                  <a:pt x="553433" y="460982"/>
                  <a:pt x="568860" y="457844"/>
                </a:cubicBezTo>
                <a:lnTo>
                  <a:pt x="568860" y="488578"/>
                </a:lnTo>
                <a:close/>
                <a:moveTo>
                  <a:pt x="521885" y="490782"/>
                </a:moveTo>
                <a:lnTo>
                  <a:pt x="64208" y="490782"/>
                </a:lnTo>
                <a:cubicBezTo>
                  <a:pt x="61621" y="465630"/>
                  <a:pt x="42050" y="445508"/>
                  <a:pt x="17209" y="441939"/>
                </a:cubicBezTo>
                <a:lnTo>
                  <a:pt x="17209" y="326310"/>
                </a:lnTo>
                <a:cubicBezTo>
                  <a:pt x="41595" y="322501"/>
                  <a:pt x="60735" y="302714"/>
                  <a:pt x="63466" y="278017"/>
                </a:cubicBezTo>
                <a:lnTo>
                  <a:pt x="190689" y="278017"/>
                </a:lnTo>
                <a:lnTo>
                  <a:pt x="203648" y="350336"/>
                </a:lnTo>
                <a:cubicBezTo>
                  <a:pt x="204319" y="354097"/>
                  <a:pt x="207577" y="356828"/>
                  <a:pt x="211409" y="356828"/>
                </a:cubicBezTo>
                <a:lnTo>
                  <a:pt x="374636" y="356828"/>
                </a:lnTo>
                <a:cubicBezTo>
                  <a:pt x="378445" y="356828"/>
                  <a:pt x="381727" y="354097"/>
                  <a:pt x="382397" y="350336"/>
                </a:cubicBezTo>
                <a:lnTo>
                  <a:pt x="395357" y="278017"/>
                </a:lnTo>
                <a:lnTo>
                  <a:pt x="521262" y="278017"/>
                </a:lnTo>
                <a:cubicBezTo>
                  <a:pt x="524065" y="303170"/>
                  <a:pt x="543827" y="323219"/>
                  <a:pt x="568836" y="326525"/>
                </a:cubicBezTo>
                <a:lnTo>
                  <a:pt x="568836" y="441962"/>
                </a:lnTo>
                <a:cubicBezTo>
                  <a:pt x="544019" y="445508"/>
                  <a:pt x="524472" y="465630"/>
                  <a:pt x="521885" y="490782"/>
                </a:cubicBezTo>
                <a:close/>
                <a:moveTo>
                  <a:pt x="568213" y="279742"/>
                </a:moveTo>
                <a:lnTo>
                  <a:pt x="568213" y="310476"/>
                </a:lnTo>
                <a:cubicBezTo>
                  <a:pt x="552786" y="307338"/>
                  <a:pt x="540617" y="295169"/>
                  <a:pt x="537479" y="279742"/>
                </a:cubicBezTo>
                <a:lnTo>
                  <a:pt x="568213" y="279742"/>
                </a:lnTo>
                <a:close/>
                <a:moveTo>
                  <a:pt x="17209" y="279742"/>
                </a:moveTo>
                <a:lnTo>
                  <a:pt x="47272" y="279742"/>
                </a:lnTo>
                <a:cubicBezTo>
                  <a:pt x="44182" y="294929"/>
                  <a:pt x="32301" y="306930"/>
                  <a:pt x="17209" y="310284"/>
                </a:cubicBezTo>
                <a:lnTo>
                  <a:pt x="17209" y="279742"/>
                </a:lnTo>
                <a:close/>
                <a:moveTo>
                  <a:pt x="17688" y="262231"/>
                </a:moveTo>
                <a:lnTo>
                  <a:pt x="48757" y="182702"/>
                </a:lnTo>
                <a:lnTo>
                  <a:pt x="533527" y="182702"/>
                </a:lnTo>
                <a:lnTo>
                  <a:pt x="564237" y="262231"/>
                </a:lnTo>
                <a:lnTo>
                  <a:pt x="388769" y="262231"/>
                </a:lnTo>
                <a:cubicBezTo>
                  <a:pt x="384960" y="262231"/>
                  <a:pt x="381679" y="264962"/>
                  <a:pt x="381008" y="268723"/>
                </a:cubicBezTo>
                <a:lnTo>
                  <a:pt x="368048" y="341042"/>
                </a:lnTo>
                <a:lnTo>
                  <a:pt x="218021" y="341042"/>
                </a:lnTo>
                <a:lnTo>
                  <a:pt x="205061" y="268723"/>
                </a:lnTo>
                <a:cubicBezTo>
                  <a:pt x="204391" y="264962"/>
                  <a:pt x="201133" y="262231"/>
                  <a:pt x="197300" y="262231"/>
                </a:cubicBezTo>
                <a:lnTo>
                  <a:pt x="17688" y="262231"/>
                </a:lnTo>
                <a:close/>
                <a:moveTo>
                  <a:pt x="84354" y="91626"/>
                </a:moveTo>
                <a:lnTo>
                  <a:pt x="498361" y="91626"/>
                </a:lnTo>
                <a:lnTo>
                  <a:pt x="527442" y="166940"/>
                </a:lnTo>
                <a:lnTo>
                  <a:pt x="54938" y="166940"/>
                </a:lnTo>
                <a:lnTo>
                  <a:pt x="84354" y="91626"/>
                </a:lnTo>
                <a:close/>
                <a:moveTo>
                  <a:pt x="469065" y="15738"/>
                </a:moveTo>
                <a:lnTo>
                  <a:pt x="492277" y="75864"/>
                </a:lnTo>
                <a:lnTo>
                  <a:pt x="90510" y="75864"/>
                </a:lnTo>
                <a:lnTo>
                  <a:pt x="114010" y="15738"/>
                </a:lnTo>
                <a:lnTo>
                  <a:pt x="469065" y="15738"/>
                </a:lnTo>
                <a:close/>
                <a:moveTo>
                  <a:pt x="17209" y="457844"/>
                </a:moveTo>
                <a:cubicBezTo>
                  <a:pt x="32636" y="460982"/>
                  <a:pt x="44805" y="473151"/>
                  <a:pt x="47943" y="488578"/>
                </a:cubicBezTo>
                <a:lnTo>
                  <a:pt x="17209" y="488578"/>
                </a:lnTo>
                <a:lnTo>
                  <a:pt x="17209" y="457844"/>
                </a:lnTo>
                <a:close/>
              </a:path>
            </a:pathLst>
          </a:custGeom>
          <a:solidFill>
            <a:schemeClr val="tx2"/>
          </a:solidFill>
          <a:ln w="2392" cap="flat">
            <a:noFill/>
            <a:prstDash val="solid"/>
            <a:miter/>
          </a:ln>
        </p:spPr>
        <p:txBody>
          <a:bodyPr rtlCol="0" anchor="ctr"/>
          <a:lstStyle/>
          <a:p>
            <a:endParaRPr lang="en-GB" dirty="0"/>
          </a:p>
        </p:txBody>
      </p:sp>
      <p:grpSp>
        <p:nvGrpSpPr>
          <p:cNvPr id="22" name="Group 21">
            <a:extLst>
              <a:ext uri="{FF2B5EF4-FFF2-40B4-BE49-F238E27FC236}">
                <a16:creationId xmlns:a16="http://schemas.microsoft.com/office/drawing/2014/main" id="{9F992513-31E1-A203-E144-B3F209DE5951}"/>
              </a:ext>
            </a:extLst>
          </p:cNvPr>
          <p:cNvGrpSpPr/>
          <p:nvPr/>
        </p:nvGrpSpPr>
        <p:grpSpPr>
          <a:xfrm>
            <a:off x="6031647" y="3273396"/>
            <a:ext cx="454107" cy="432000"/>
            <a:chOff x="6031235" y="3273396"/>
            <a:chExt cx="454107" cy="432000"/>
          </a:xfrm>
        </p:grpSpPr>
        <p:grpSp>
          <p:nvGrpSpPr>
            <p:cNvPr id="592" name="Grafik 14">
              <a:extLst>
                <a:ext uri="{FF2B5EF4-FFF2-40B4-BE49-F238E27FC236}">
                  <a16:creationId xmlns:a16="http://schemas.microsoft.com/office/drawing/2014/main" id="{8E078F61-21DA-43C8-84C6-4C57EC8DBE9D}"/>
                </a:ext>
              </a:extLst>
            </p:cNvPr>
            <p:cNvGrpSpPr/>
            <p:nvPr/>
          </p:nvGrpSpPr>
          <p:grpSpPr>
            <a:xfrm>
              <a:off x="6031235" y="3273396"/>
              <a:ext cx="454107" cy="432000"/>
              <a:chOff x="5944103" y="3324990"/>
              <a:chExt cx="604758" cy="575317"/>
            </a:xfrm>
            <a:solidFill>
              <a:schemeClr val="tx2"/>
            </a:solidFill>
          </p:grpSpPr>
          <p:sp>
            <p:nvSpPr>
              <p:cNvPr id="596" name="Freihandform: Form 595">
                <a:extLst>
                  <a:ext uri="{FF2B5EF4-FFF2-40B4-BE49-F238E27FC236}">
                    <a16:creationId xmlns:a16="http://schemas.microsoft.com/office/drawing/2014/main" id="{A7981AEF-205D-4B8A-BB4C-0197453990DC}"/>
                  </a:ext>
                </a:extLst>
              </p:cNvPr>
              <p:cNvSpPr/>
              <p:nvPr/>
            </p:nvSpPr>
            <p:spPr>
              <a:xfrm>
                <a:off x="5958835" y="3398626"/>
                <a:ext cx="575293" cy="428044"/>
              </a:xfrm>
              <a:custGeom>
                <a:avLst/>
                <a:gdLst>
                  <a:gd name="connsiteX0" fmla="*/ 567413 w 575293"/>
                  <a:gd name="connsiteY0" fmla="*/ 428045 h 428044"/>
                  <a:gd name="connsiteX1" fmla="*/ 7881 w 575293"/>
                  <a:gd name="connsiteY1" fmla="*/ 428045 h 428044"/>
                  <a:gd name="connsiteX2" fmla="*/ 0 w 575293"/>
                  <a:gd name="connsiteY2" fmla="*/ 420164 h 428044"/>
                  <a:gd name="connsiteX3" fmla="*/ 0 w 575293"/>
                  <a:gd name="connsiteY3" fmla="*/ 7881 h 428044"/>
                  <a:gd name="connsiteX4" fmla="*/ 7881 w 575293"/>
                  <a:gd name="connsiteY4" fmla="*/ 0 h 428044"/>
                  <a:gd name="connsiteX5" fmla="*/ 567413 w 575293"/>
                  <a:gd name="connsiteY5" fmla="*/ 0 h 428044"/>
                  <a:gd name="connsiteX6" fmla="*/ 575294 w 575293"/>
                  <a:gd name="connsiteY6" fmla="*/ 7881 h 428044"/>
                  <a:gd name="connsiteX7" fmla="*/ 575294 w 575293"/>
                  <a:gd name="connsiteY7" fmla="*/ 420188 h 428044"/>
                  <a:gd name="connsiteX8" fmla="*/ 567413 w 575293"/>
                  <a:gd name="connsiteY8" fmla="*/ 428045 h 428044"/>
                  <a:gd name="connsiteX9" fmla="*/ 15762 w 575293"/>
                  <a:gd name="connsiteY9" fmla="*/ 412283 h 428044"/>
                  <a:gd name="connsiteX10" fmla="*/ 559532 w 575293"/>
                  <a:gd name="connsiteY10" fmla="*/ 412283 h 428044"/>
                  <a:gd name="connsiteX11" fmla="*/ 559532 w 575293"/>
                  <a:gd name="connsiteY11" fmla="*/ 15762 h 428044"/>
                  <a:gd name="connsiteX12" fmla="*/ 15762 w 575293"/>
                  <a:gd name="connsiteY12" fmla="*/ 15762 h 428044"/>
                  <a:gd name="connsiteX13" fmla="*/ 15762 w 575293"/>
                  <a:gd name="connsiteY13" fmla="*/ 412283 h 428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5293" h="428044">
                    <a:moveTo>
                      <a:pt x="567413" y="428045"/>
                    </a:moveTo>
                    <a:lnTo>
                      <a:pt x="7881" y="428045"/>
                    </a:lnTo>
                    <a:cubicBezTo>
                      <a:pt x="3521" y="428045"/>
                      <a:pt x="0" y="424524"/>
                      <a:pt x="0" y="420164"/>
                    </a:cubicBezTo>
                    <a:lnTo>
                      <a:pt x="0" y="7881"/>
                    </a:lnTo>
                    <a:cubicBezTo>
                      <a:pt x="0" y="3521"/>
                      <a:pt x="3521" y="0"/>
                      <a:pt x="7881" y="0"/>
                    </a:cubicBezTo>
                    <a:lnTo>
                      <a:pt x="567413" y="0"/>
                    </a:lnTo>
                    <a:cubicBezTo>
                      <a:pt x="571773" y="0"/>
                      <a:pt x="575294" y="3521"/>
                      <a:pt x="575294" y="7881"/>
                    </a:cubicBezTo>
                    <a:lnTo>
                      <a:pt x="575294" y="420188"/>
                    </a:lnTo>
                    <a:cubicBezTo>
                      <a:pt x="575294" y="424524"/>
                      <a:pt x="571773" y="428045"/>
                      <a:pt x="567413" y="428045"/>
                    </a:cubicBezTo>
                    <a:close/>
                    <a:moveTo>
                      <a:pt x="15762" y="412283"/>
                    </a:moveTo>
                    <a:lnTo>
                      <a:pt x="559532" y="412283"/>
                    </a:lnTo>
                    <a:lnTo>
                      <a:pt x="559532" y="15762"/>
                    </a:lnTo>
                    <a:lnTo>
                      <a:pt x="15762" y="15762"/>
                    </a:lnTo>
                    <a:lnTo>
                      <a:pt x="15762" y="412283"/>
                    </a:lnTo>
                    <a:close/>
                  </a:path>
                </a:pathLst>
              </a:custGeom>
              <a:grpFill/>
              <a:ln w="2392" cap="flat">
                <a:noFill/>
                <a:prstDash val="solid"/>
                <a:miter/>
              </a:ln>
            </p:spPr>
            <p:txBody>
              <a:bodyPr rtlCol="0" anchor="ctr"/>
              <a:lstStyle/>
              <a:p>
                <a:endParaRPr lang="en-GB" dirty="0"/>
              </a:p>
            </p:txBody>
          </p:sp>
          <p:grpSp>
            <p:nvGrpSpPr>
              <p:cNvPr id="597" name="Grafik 14">
                <a:extLst>
                  <a:ext uri="{FF2B5EF4-FFF2-40B4-BE49-F238E27FC236}">
                    <a16:creationId xmlns:a16="http://schemas.microsoft.com/office/drawing/2014/main" id="{0AC347FB-BC62-4D62-8A95-B34928CB5D50}"/>
                  </a:ext>
                </a:extLst>
              </p:cNvPr>
              <p:cNvGrpSpPr/>
              <p:nvPr/>
            </p:nvGrpSpPr>
            <p:grpSpPr>
              <a:xfrm>
                <a:off x="5944103" y="3324990"/>
                <a:ext cx="604758" cy="89398"/>
                <a:chOff x="5944103" y="3324990"/>
                <a:chExt cx="604758" cy="89398"/>
              </a:xfrm>
              <a:grpFill/>
            </p:grpSpPr>
            <p:sp>
              <p:nvSpPr>
                <p:cNvPr id="605" name="Freihandform: Form 604">
                  <a:extLst>
                    <a:ext uri="{FF2B5EF4-FFF2-40B4-BE49-F238E27FC236}">
                      <a16:creationId xmlns:a16="http://schemas.microsoft.com/office/drawing/2014/main" id="{D1D8318C-821E-4BE7-9376-A17D627415D3}"/>
                    </a:ext>
                  </a:extLst>
                </p:cNvPr>
                <p:cNvSpPr/>
                <p:nvPr/>
              </p:nvSpPr>
              <p:spPr>
                <a:xfrm>
                  <a:off x="5944103" y="3324990"/>
                  <a:ext cx="604758" cy="15762"/>
                </a:xfrm>
                <a:custGeom>
                  <a:avLst/>
                  <a:gdLst>
                    <a:gd name="connsiteX0" fmla="*/ 596877 w 604758"/>
                    <a:gd name="connsiteY0" fmla="*/ 15762 h 15762"/>
                    <a:gd name="connsiteX1" fmla="*/ 7881 w 604758"/>
                    <a:gd name="connsiteY1" fmla="*/ 15762 h 15762"/>
                    <a:gd name="connsiteX2" fmla="*/ 0 w 604758"/>
                    <a:gd name="connsiteY2" fmla="*/ 7881 h 15762"/>
                    <a:gd name="connsiteX3" fmla="*/ 7881 w 604758"/>
                    <a:gd name="connsiteY3" fmla="*/ 0 h 15762"/>
                    <a:gd name="connsiteX4" fmla="*/ 596877 w 604758"/>
                    <a:gd name="connsiteY4" fmla="*/ 0 h 15762"/>
                    <a:gd name="connsiteX5" fmla="*/ 604758 w 604758"/>
                    <a:gd name="connsiteY5" fmla="*/ 7881 h 15762"/>
                    <a:gd name="connsiteX6" fmla="*/ 596877 w 604758"/>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758" h="15762">
                      <a:moveTo>
                        <a:pt x="596877" y="15762"/>
                      </a:moveTo>
                      <a:lnTo>
                        <a:pt x="7881" y="15762"/>
                      </a:lnTo>
                      <a:cubicBezTo>
                        <a:pt x="3521" y="15762"/>
                        <a:pt x="0" y="12241"/>
                        <a:pt x="0" y="7881"/>
                      </a:cubicBezTo>
                      <a:cubicBezTo>
                        <a:pt x="0" y="3521"/>
                        <a:pt x="3521" y="0"/>
                        <a:pt x="7881" y="0"/>
                      </a:cubicBezTo>
                      <a:lnTo>
                        <a:pt x="596877" y="0"/>
                      </a:lnTo>
                      <a:cubicBezTo>
                        <a:pt x="601237" y="0"/>
                        <a:pt x="604758" y="3521"/>
                        <a:pt x="604758" y="7881"/>
                      </a:cubicBezTo>
                      <a:cubicBezTo>
                        <a:pt x="604758" y="12241"/>
                        <a:pt x="601237" y="15762"/>
                        <a:pt x="596877" y="15762"/>
                      </a:cubicBezTo>
                      <a:close/>
                    </a:path>
                  </a:pathLst>
                </a:custGeom>
                <a:grpFill/>
                <a:ln w="2392" cap="flat">
                  <a:noFill/>
                  <a:prstDash val="solid"/>
                  <a:miter/>
                </a:ln>
              </p:spPr>
              <p:txBody>
                <a:bodyPr rtlCol="0" anchor="ctr"/>
                <a:lstStyle/>
                <a:p>
                  <a:endParaRPr lang="en-GB" dirty="0"/>
                </a:p>
              </p:txBody>
            </p:sp>
            <p:sp>
              <p:nvSpPr>
                <p:cNvPr id="606" name="Freihandform: Form 605">
                  <a:extLst>
                    <a:ext uri="{FF2B5EF4-FFF2-40B4-BE49-F238E27FC236}">
                      <a16:creationId xmlns:a16="http://schemas.microsoft.com/office/drawing/2014/main" id="{8B6D528C-D49A-46AE-937D-1E7CE4634E26}"/>
                    </a:ext>
                  </a:extLst>
                </p:cNvPr>
                <p:cNvSpPr/>
                <p:nvPr/>
              </p:nvSpPr>
              <p:spPr>
                <a:xfrm>
                  <a:off x="6003008" y="3325014"/>
                  <a:ext cx="15762" cy="89374"/>
                </a:xfrm>
                <a:custGeom>
                  <a:avLst/>
                  <a:gdLst>
                    <a:gd name="connsiteX0" fmla="*/ 7881 w 15762"/>
                    <a:gd name="connsiteY0" fmla="*/ 89375 h 89374"/>
                    <a:gd name="connsiteX1" fmla="*/ 0 w 15762"/>
                    <a:gd name="connsiteY1" fmla="*/ 81494 h 89374"/>
                    <a:gd name="connsiteX2" fmla="*/ 0 w 15762"/>
                    <a:gd name="connsiteY2" fmla="*/ 7881 h 89374"/>
                    <a:gd name="connsiteX3" fmla="*/ 7881 w 15762"/>
                    <a:gd name="connsiteY3" fmla="*/ 0 h 89374"/>
                    <a:gd name="connsiteX4" fmla="*/ 15762 w 15762"/>
                    <a:gd name="connsiteY4" fmla="*/ 7881 h 89374"/>
                    <a:gd name="connsiteX5" fmla="*/ 15762 w 15762"/>
                    <a:gd name="connsiteY5" fmla="*/ 81494 h 89374"/>
                    <a:gd name="connsiteX6" fmla="*/ 7881 w 15762"/>
                    <a:gd name="connsiteY6" fmla="*/ 89375 h 8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89374">
                      <a:moveTo>
                        <a:pt x="7881" y="89375"/>
                      </a:moveTo>
                      <a:cubicBezTo>
                        <a:pt x="3521" y="89375"/>
                        <a:pt x="0" y="85853"/>
                        <a:pt x="0" y="81494"/>
                      </a:cubicBezTo>
                      <a:lnTo>
                        <a:pt x="0" y="7881"/>
                      </a:lnTo>
                      <a:cubicBezTo>
                        <a:pt x="0" y="3521"/>
                        <a:pt x="3521" y="0"/>
                        <a:pt x="7881" y="0"/>
                      </a:cubicBezTo>
                      <a:cubicBezTo>
                        <a:pt x="12241" y="0"/>
                        <a:pt x="15762" y="3521"/>
                        <a:pt x="15762" y="7881"/>
                      </a:cubicBezTo>
                      <a:lnTo>
                        <a:pt x="15762" y="81494"/>
                      </a:lnTo>
                      <a:cubicBezTo>
                        <a:pt x="15762" y="85853"/>
                        <a:pt x="12241" y="89375"/>
                        <a:pt x="7881" y="89375"/>
                      </a:cubicBezTo>
                      <a:close/>
                    </a:path>
                  </a:pathLst>
                </a:custGeom>
                <a:grpFill/>
                <a:ln w="2392" cap="flat">
                  <a:noFill/>
                  <a:prstDash val="solid"/>
                  <a:miter/>
                </a:ln>
              </p:spPr>
              <p:txBody>
                <a:bodyPr rtlCol="0" anchor="ctr"/>
                <a:lstStyle/>
                <a:p>
                  <a:endParaRPr lang="en-GB" dirty="0"/>
                </a:p>
              </p:txBody>
            </p:sp>
            <p:sp>
              <p:nvSpPr>
                <p:cNvPr id="607" name="Freihandform: Form 606">
                  <a:extLst>
                    <a:ext uri="{FF2B5EF4-FFF2-40B4-BE49-F238E27FC236}">
                      <a16:creationId xmlns:a16="http://schemas.microsoft.com/office/drawing/2014/main" id="{0F7F527A-D589-4FD4-A4E4-345623C73072}"/>
                    </a:ext>
                  </a:extLst>
                </p:cNvPr>
                <p:cNvSpPr/>
                <p:nvPr/>
              </p:nvSpPr>
              <p:spPr>
                <a:xfrm>
                  <a:off x="6120816" y="3325014"/>
                  <a:ext cx="15762" cy="89374"/>
                </a:xfrm>
                <a:custGeom>
                  <a:avLst/>
                  <a:gdLst>
                    <a:gd name="connsiteX0" fmla="*/ 7881 w 15762"/>
                    <a:gd name="connsiteY0" fmla="*/ 89375 h 89374"/>
                    <a:gd name="connsiteX1" fmla="*/ 0 w 15762"/>
                    <a:gd name="connsiteY1" fmla="*/ 81494 h 89374"/>
                    <a:gd name="connsiteX2" fmla="*/ 0 w 15762"/>
                    <a:gd name="connsiteY2" fmla="*/ 7881 h 89374"/>
                    <a:gd name="connsiteX3" fmla="*/ 7881 w 15762"/>
                    <a:gd name="connsiteY3" fmla="*/ 0 h 89374"/>
                    <a:gd name="connsiteX4" fmla="*/ 15762 w 15762"/>
                    <a:gd name="connsiteY4" fmla="*/ 7881 h 89374"/>
                    <a:gd name="connsiteX5" fmla="*/ 15762 w 15762"/>
                    <a:gd name="connsiteY5" fmla="*/ 81494 h 89374"/>
                    <a:gd name="connsiteX6" fmla="*/ 7881 w 15762"/>
                    <a:gd name="connsiteY6" fmla="*/ 89375 h 8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89374">
                      <a:moveTo>
                        <a:pt x="7881" y="89375"/>
                      </a:moveTo>
                      <a:cubicBezTo>
                        <a:pt x="3521" y="89375"/>
                        <a:pt x="0" y="85853"/>
                        <a:pt x="0" y="81494"/>
                      </a:cubicBezTo>
                      <a:lnTo>
                        <a:pt x="0" y="7881"/>
                      </a:lnTo>
                      <a:cubicBezTo>
                        <a:pt x="0" y="3521"/>
                        <a:pt x="3521" y="0"/>
                        <a:pt x="7881" y="0"/>
                      </a:cubicBezTo>
                      <a:cubicBezTo>
                        <a:pt x="12241" y="0"/>
                        <a:pt x="15762" y="3521"/>
                        <a:pt x="15762" y="7881"/>
                      </a:cubicBezTo>
                      <a:lnTo>
                        <a:pt x="15762" y="81494"/>
                      </a:lnTo>
                      <a:cubicBezTo>
                        <a:pt x="15762" y="85853"/>
                        <a:pt x="12217" y="89375"/>
                        <a:pt x="7881" y="89375"/>
                      </a:cubicBezTo>
                      <a:close/>
                    </a:path>
                  </a:pathLst>
                </a:custGeom>
                <a:grpFill/>
                <a:ln w="2392" cap="flat">
                  <a:noFill/>
                  <a:prstDash val="solid"/>
                  <a:miter/>
                </a:ln>
              </p:spPr>
              <p:txBody>
                <a:bodyPr rtlCol="0" anchor="ctr"/>
                <a:lstStyle/>
                <a:p>
                  <a:endParaRPr lang="en-GB" dirty="0"/>
                </a:p>
              </p:txBody>
            </p:sp>
            <p:sp>
              <p:nvSpPr>
                <p:cNvPr id="608" name="Freihandform: Form 607">
                  <a:extLst>
                    <a:ext uri="{FF2B5EF4-FFF2-40B4-BE49-F238E27FC236}">
                      <a16:creationId xmlns:a16="http://schemas.microsoft.com/office/drawing/2014/main" id="{6BEE27FE-CC8D-42AA-924F-BBFDE20A5929}"/>
                    </a:ext>
                  </a:extLst>
                </p:cNvPr>
                <p:cNvSpPr/>
                <p:nvPr/>
              </p:nvSpPr>
              <p:spPr>
                <a:xfrm>
                  <a:off x="6474195" y="3325014"/>
                  <a:ext cx="15762" cy="89374"/>
                </a:xfrm>
                <a:custGeom>
                  <a:avLst/>
                  <a:gdLst>
                    <a:gd name="connsiteX0" fmla="*/ 7881 w 15762"/>
                    <a:gd name="connsiteY0" fmla="*/ 89375 h 89374"/>
                    <a:gd name="connsiteX1" fmla="*/ 0 w 15762"/>
                    <a:gd name="connsiteY1" fmla="*/ 81494 h 89374"/>
                    <a:gd name="connsiteX2" fmla="*/ 0 w 15762"/>
                    <a:gd name="connsiteY2" fmla="*/ 7881 h 89374"/>
                    <a:gd name="connsiteX3" fmla="*/ 7881 w 15762"/>
                    <a:gd name="connsiteY3" fmla="*/ 0 h 89374"/>
                    <a:gd name="connsiteX4" fmla="*/ 15762 w 15762"/>
                    <a:gd name="connsiteY4" fmla="*/ 7881 h 89374"/>
                    <a:gd name="connsiteX5" fmla="*/ 15762 w 15762"/>
                    <a:gd name="connsiteY5" fmla="*/ 81494 h 89374"/>
                    <a:gd name="connsiteX6" fmla="*/ 7881 w 15762"/>
                    <a:gd name="connsiteY6" fmla="*/ 89375 h 8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89374">
                      <a:moveTo>
                        <a:pt x="7881" y="89375"/>
                      </a:moveTo>
                      <a:cubicBezTo>
                        <a:pt x="3521" y="89375"/>
                        <a:pt x="0" y="85853"/>
                        <a:pt x="0" y="81494"/>
                      </a:cubicBezTo>
                      <a:lnTo>
                        <a:pt x="0" y="7881"/>
                      </a:lnTo>
                      <a:cubicBezTo>
                        <a:pt x="0" y="3521"/>
                        <a:pt x="3521" y="0"/>
                        <a:pt x="7881" y="0"/>
                      </a:cubicBezTo>
                      <a:cubicBezTo>
                        <a:pt x="12241" y="0"/>
                        <a:pt x="15762" y="3521"/>
                        <a:pt x="15762" y="7881"/>
                      </a:cubicBezTo>
                      <a:lnTo>
                        <a:pt x="15762" y="81494"/>
                      </a:lnTo>
                      <a:cubicBezTo>
                        <a:pt x="15762" y="85853"/>
                        <a:pt x="12241" y="89375"/>
                        <a:pt x="7881" y="89375"/>
                      </a:cubicBezTo>
                      <a:close/>
                    </a:path>
                  </a:pathLst>
                </a:custGeom>
                <a:grpFill/>
                <a:ln w="2392" cap="flat">
                  <a:noFill/>
                  <a:prstDash val="solid"/>
                  <a:miter/>
                </a:ln>
              </p:spPr>
              <p:txBody>
                <a:bodyPr rtlCol="0" anchor="ctr"/>
                <a:lstStyle/>
                <a:p>
                  <a:endParaRPr lang="en-GB" dirty="0"/>
                </a:p>
              </p:txBody>
            </p:sp>
            <p:sp>
              <p:nvSpPr>
                <p:cNvPr id="609" name="Freihandform: Form 608">
                  <a:extLst>
                    <a:ext uri="{FF2B5EF4-FFF2-40B4-BE49-F238E27FC236}">
                      <a16:creationId xmlns:a16="http://schemas.microsoft.com/office/drawing/2014/main" id="{12303940-1E40-4295-AD09-2F3147501C36}"/>
                    </a:ext>
                  </a:extLst>
                </p:cNvPr>
                <p:cNvSpPr/>
                <p:nvPr/>
              </p:nvSpPr>
              <p:spPr>
                <a:xfrm>
                  <a:off x="6356410" y="3325014"/>
                  <a:ext cx="15762" cy="89374"/>
                </a:xfrm>
                <a:custGeom>
                  <a:avLst/>
                  <a:gdLst>
                    <a:gd name="connsiteX0" fmla="*/ 7881 w 15762"/>
                    <a:gd name="connsiteY0" fmla="*/ 89375 h 89374"/>
                    <a:gd name="connsiteX1" fmla="*/ 0 w 15762"/>
                    <a:gd name="connsiteY1" fmla="*/ 81494 h 89374"/>
                    <a:gd name="connsiteX2" fmla="*/ 0 w 15762"/>
                    <a:gd name="connsiteY2" fmla="*/ 7881 h 89374"/>
                    <a:gd name="connsiteX3" fmla="*/ 7881 w 15762"/>
                    <a:gd name="connsiteY3" fmla="*/ 0 h 89374"/>
                    <a:gd name="connsiteX4" fmla="*/ 15762 w 15762"/>
                    <a:gd name="connsiteY4" fmla="*/ 7881 h 89374"/>
                    <a:gd name="connsiteX5" fmla="*/ 15762 w 15762"/>
                    <a:gd name="connsiteY5" fmla="*/ 81494 h 89374"/>
                    <a:gd name="connsiteX6" fmla="*/ 7881 w 15762"/>
                    <a:gd name="connsiteY6" fmla="*/ 89375 h 8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89374">
                      <a:moveTo>
                        <a:pt x="7881" y="89375"/>
                      </a:moveTo>
                      <a:cubicBezTo>
                        <a:pt x="3521" y="89375"/>
                        <a:pt x="0" y="85853"/>
                        <a:pt x="0" y="81494"/>
                      </a:cubicBezTo>
                      <a:lnTo>
                        <a:pt x="0" y="7881"/>
                      </a:lnTo>
                      <a:cubicBezTo>
                        <a:pt x="0" y="3521"/>
                        <a:pt x="3521" y="0"/>
                        <a:pt x="7881" y="0"/>
                      </a:cubicBezTo>
                      <a:cubicBezTo>
                        <a:pt x="12241" y="0"/>
                        <a:pt x="15762" y="3521"/>
                        <a:pt x="15762" y="7881"/>
                      </a:cubicBezTo>
                      <a:lnTo>
                        <a:pt x="15762" y="81494"/>
                      </a:lnTo>
                      <a:cubicBezTo>
                        <a:pt x="15762" y="85853"/>
                        <a:pt x="12217" y="89375"/>
                        <a:pt x="7881" y="89375"/>
                      </a:cubicBezTo>
                      <a:close/>
                    </a:path>
                  </a:pathLst>
                </a:custGeom>
                <a:grpFill/>
                <a:ln w="2392" cap="flat">
                  <a:noFill/>
                  <a:prstDash val="solid"/>
                  <a:miter/>
                </a:ln>
              </p:spPr>
              <p:txBody>
                <a:bodyPr rtlCol="0" anchor="ctr"/>
                <a:lstStyle/>
                <a:p>
                  <a:endParaRPr lang="en-GB" dirty="0"/>
                </a:p>
              </p:txBody>
            </p:sp>
            <p:sp>
              <p:nvSpPr>
                <p:cNvPr id="610" name="Freihandform: Form 609">
                  <a:extLst>
                    <a:ext uri="{FF2B5EF4-FFF2-40B4-BE49-F238E27FC236}">
                      <a16:creationId xmlns:a16="http://schemas.microsoft.com/office/drawing/2014/main" id="{F795DE28-399C-47A2-9B6D-61DBCFCAE8EC}"/>
                    </a:ext>
                  </a:extLst>
                </p:cNvPr>
                <p:cNvSpPr/>
                <p:nvPr/>
              </p:nvSpPr>
              <p:spPr>
                <a:xfrm>
                  <a:off x="6238601" y="3325014"/>
                  <a:ext cx="15762" cy="89374"/>
                </a:xfrm>
                <a:custGeom>
                  <a:avLst/>
                  <a:gdLst>
                    <a:gd name="connsiteX0" fmla="*/ 7881 w 15762"/>
                    <a:gd name="connsiteY0" fmla="*/ 89375 h 89374"/>
                    <a:gd name="connsiteX1" fmla="*/ 0 w 15762"/>
                    <a:gd name="connsiteY1" fmla="*/ 81494 h 89374"/>
                    <a:gd name="connsiteX2" fmla="*/ 0 w 15762"/>
                    <a:gd name="connsiteY2" fmla="*/ 7881 h 89374"/>
                    <a:gd name="connsiteX3" fmla="*/ 7881 w 15762"/>
                    <a:gd name="connsiteY3" fmla="*/ 0 h 89374"/>
                    <a:gd name="connsiteX4" fmla="*/ 15762 w 15762"/>
                    <a:gd name="connsiteY4" fmla="*/ 7881 h 89374"/>
                    <a:gd name="connsiteX5" fmla="*/ 15762 w 15762"/>
                    <a:gd name="connsiteY5" fmla="*/ 81494 h 89374"/>
                    <a:gd name="connsiteX6" fmla="*/ 7881 w 15762"/>
                    <a:gd name="connsiteY6" fmla="*/ 89375 h 8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89374">
                      <a:moveTo>
                        <a:pt x="7881" y="89375"/>
                      </a:moveTo>
                      <a:cubicBezTo>
                        <a:pt x="3521" y="89375"/>
                        <a:pt x="0" y="85853"/>
                        <a:pt x="0" y="81494"/>
                      </a:cubicBezTo>
                      <a:lnTo>
                        <a:pt x="0" y="7881"/>
                      </a:lnTo>
                      <a:cubicBezTo>
                        <a:pt x="0" y="3521"/>
                        <a:pt x="3521" y="0"/>
                        <a:pt x="7881" y="0"/>
                      </a:cubicBezTo>
                      <a:cubicBezTo>
                        <a:pt x="12241" y="0"/>
                        <a:pt x="15762" y="3521"/>
                        <a:pt x="15762" y="7881"/>
                      </a:cubicBezTo>
                      <a:lnTo>
                        <a:pt x="15762" y="81494"/>
                      </a:lnTo>
                      <a:cubicBezTo>
                        <a:pt x="15762" y="85853"/>
                        <a:pt x="12241" y="89375"/>
                        <a:pt x="7881" y="89375"/>
                      </a:cubicBezTo>
                      <a:close/>
                    </a:path>
                  </a:pathLst>
                </a:custGeom>
                <a:grpFill/>
                <a:ln w="2392" cap="flat">
                  <a:noFill/>
                  <a:prstDash val="solid"/>
                  <a:miter/>
                </a:ln>
              </p:spPr>
              <p:txBody>
                <a:bodyPr rtlCol="0" anchor="ctr"/>
                <a:lstStyle/>
                <a:p>
                  <a:endParaRPr lang="en-GB" dirty="0"/>
                </a:p>
              </p:txBody>
            </p:sp>
          </p:grpSp>
          <p:grpSp>
            <p:nvGrpSpPr>
              <p:cNvPr id="598" name="Grafik 14">
                <a:extLst>
                  <a:ext uri="{FF2B5EF4-FFF2-40B4-BE49-F238E27FC236}">
                    <a16:creationId xmlns:a16="http://schemas.microsoft.com/office/drawing/2014/main" id="{59A265C4-276B-440E-ABD4-450C44588A79}"/>
                  </a:ext>
                </a:extLst>
              </p:cNvPr>
              <p:cNvGrpSpPr/>
              <p:nvPr/>
            </p:nvGrpSpPr>
            <p:grpSpPr>
              <a:xfrm>
                <a:off x="5944103" y="3810933"/>
                <a:ext cx="604758" cy="89374"/>
                <a:chOff x="5944103" y="3810933"/>
                <a:chExt cx="604758" cy="89374"/>
              </a:xfrm>
              <a:grpFill/>
            </p:grpSpPr>
            <p:sp>
              <p:nvSpPr>
                <p:cNvPr id="599" name="Freihandform: Form 598">
                  <a:extLst>
                    <a:ext uri="{FF2B5EF4-FFF2-40B4-BE49-F238E27FC236}">
                      <a16:creationId xmlns:a16="http://schemas.microsoft.com/office/drawing/2014/main" id="{060FE657-7FEB-4D39-95E5-1ACB1B9C0E09}"/>
                    </a:ext>
                  </a:extLst>
                </p:cNvPr>
                <p:cNvSpPr/>
                <p:nvPr/>
              </p:nvSpPr>
              <p:spPr>
                <a:xfrm>
                  <a:off x="5944103" y="3884545"/>
                  <a:ext cx="604758" cy="15762"/>
                </a:xfrm>
                <a:custGeom>
                  <a:avLst/>
                  <a:gdLst>
                    <a:gd name="connsiteX0" fmla="*/ 596877 w 604758"/>
                    <a:gd name="connsiteY0" fmla="*/ 15762 h 15762"/>
                    <a:gd name="connsiteX1" fmla="*/ 7881 w 604758"/>
                    <a:gd name="connsiteY1" fmla="*/ 15762 h 15762"/>
                    <a:gd name="connsiteX2" fmla="*/ 0 w 604758"/>
                    <a:gd name="connsiteY2" fmla="*/ 7881 h 15762"/>
                    <a:gd name="connsiteX3" fmla="*/ 7881 w 604758"/>
                    <a:gd name="connsiteY3" fmla="*/ 0 h 15762"/>
                    <a:gd name="connsiteX4" fmla="*/ 596877 w 604758"/>
                    <a:gd name="connsiteY4" fmla="*/ 0 h 15762"/>
                    <a:gd name="connsiteX5" fmla="*/ 604758 w 604758"/>
                    <a:gd name="connsiteY5" fmla="*/ 7881 h 15762"/>
                    <a:gd name="connsiteX6" fmla="*/ 596877 w 604758"/>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4758" h="15762">
                      <a:moveTo>
                        <a:pt x="596877" y="15762"/>
                      </a:moveTo>
                      <a:lnTo>
                        <a:pt x="7881" y="15762"/>
                      </a:lnTo>
                      <a:cubicBezTo>
                        <a:pt x="3521" y="15762"/>
                        <a:pt x="0" y="12241"/>
                        <a:pt x="0" y="7881"/>
                      </a:cubicBezTo>
                      <a:cubicBezTo>
                        <a:pt x="0" y="3521"/>
                        <a:pt x="3521" y="0"/>
                        <a:pt x="7881" y="0"/>
                      </a:cubicBezTo>
                      <a:lnTo>
                        <a:pt x="596877" y="0"/>
                      </a:lnTo>
                      <a:cubicBezTo>
                        <a:pt x="601237" y="0"/>
                        <a:pt x="604758" y="3521"/>
                        <a:pt x="604758" y="7881"/>
                      </a:cubicBezTo>
                      <a:cubicBezTo>
                        <a:pt x="604758" y="12241"/>
                        <a:pt x="601237" y="15762"/>
                        <a:pt x="596877" y="15762"/>
                      </a:cubicBezTo>
                      <a:close/>
                    </a:path>
                  </a:pathLst>
                </a:custGeom>
                <a:grpFill/>
                <a:ln w="2392" cap="flat">
                  <a:noFill/>
                  <a:prstDash val="solid"/>
                  <a:miter/>
                </a:ln>
              </p:spPr>
              <p:txBody>
                <a:bodyPr rtlCol="0" anchor="ctr"/>
                <a:lstStyle/>
                <a:p>
                  <a:endParaRPr lang="en-GB" dirty="0"/>
                </a:p>
              </p:txBody>
            </p:sp>
            <p:sp>
              <p:nvSpPr>
                <p:cNvPr id="600" name="Freihandform: Form 599">
                  <a:extLst>
                    <a:ext uri="{FF2B5EF4-FFF2-40B4-BE49-F238E27FC236}">
                      <a16:creationId xmlns:a16="http://schemas.microsoft.com/office/drawing/2014/main" id="{D031A979-9A16-4248-8BCF-55DFD05863F8}"/>
                    </a:ext>
                  </a:extLst>
                </p:cNvPr>
                <p:cNvSpPr/>
                <p:nvPr/>
              </p:nvSpPr>
              <p:spPr>
                <a:xfrm>
                  <a:off x="6003008" y="3810933"/>
                  <a:ext cx="15762" cy="89374"/>
                </a:xfrm>
                <a:custGeom>
                  <a:avLst/>
                  <a:gdLst>
                    <a:gd name="connsiteX0" fmla="*/ 7881 w 15762"/>
                    <a:gd name="connsiteY0" fmla="*/ 89375 h 89374"/>
                    <a:gd name="connsiteX1" fmla="*/ 0 w 15762"/>
                    <a:gd name="connsiteY1" fmla="*/ 81493 h 89374"/>
                    <a:gd name="connsiteX2" fmla="*/ 0 w 15762"/>
                    <a:gd name="connsiteY2" fmla="*/ 7881 h 89374"/>
                    <a:gd name="connsiteX3" fmla="*/ 7881 w 15762"/>
                    <a:gd name="connsiteY3" fmla="*/ 0 h 89374"/>
                    <a:gd name="connsiteX4" fmla="*/ 15762 w 15762"/>
                    <a:gd name="connsiteY4" fmla="*/ 7881 h 89374"/>
                    <a:gd name="connsiteX5" fmla="*/ 15762 w 15762"/>
                    <a:gd name="connsiteY5" fmla="*/ 81493 h 89374"/>
                    <a:gd name="connsiteX6" fmla="*/ 7881 w 15762"/>
                    <a:gd name="connsiteY6" fmla="*/ 89375 h 8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89374">
                      <a:moveTo>
                        <a:pt x="7881" y="89375"/>
                      </a:moveTo>
                      <a:cubicBezTo>
                        <a:pt x="3521" y="89375"/>
                        <a:pt x="0" y="85853"/>
                        <a:pt x="0" y="81493"/>
                      </a:cubicBezTo>
                      <a:lnTo>
                        <a:pt x="0" y="7881"/>
                      </a:lnTo>
                      <a:cubicBezTo>
                        <a:pt x="0" y="3521"/>
                        <a:pt x="3521" y="0"/>
                        <a:pt x="7881" y="0"/>
                      </a:cubicBezTo>
                      <a:cubicBezTo>
                        <a:pt x="12241" y="0"/>
                        <a:pt x="15762" y="3521"/>
                        <a:pt x="15762" y="7881"/>
                      </a:cubicBezTo>
                      <a:lnTo>
                        <a:pt x="15762" y="81493"/>
                      </a:lnTo>
                      <a:cubicBezTo>
                        <a:pt x="15762" y="85853"/>
                        <a:pt x="12241" y="89375"/>
                        <a:pt x="7881" y="89375"/>
                      </a:cubicBezTo>
                      <a:close/>
                    </a:path>
                  </a:pathLst>
                </a:custGeom>
                <a:grpFill/>
                <a:ln w="2392" cap="flat">
                  <a:noFill/>
                  <a:prstDash val="solid"/>
                  <a:miter/>
                </a:ln>
              </p:spPr>
              <p:txBody>
                <a:bodyPr rtlCol="0" anchor="ctr"/>
                <a:lstStyle/>
                <a:p>
                  <a:endParaRPr lang="en-GB" dirty="0"/>
                </a:p>
              </p:txBody>
            </p:sp>
            <p:sp>
              <p:nvSpPr>
                <p:cNvPr id="601" name="Freihandform: Form 600">
                  <a:extLst>
                    <a:ext uri="{FF2B5EF4-FFF2-40B4-BE49-F238E27FC236}">
                      <a16:creationId xmlns:a16="http://schemas.microsoft.com/office/drawing/2014/main" id="{FD87BDFF-6D27-442D-8D6E-D595690D989E}"/>
                    </a:ext>
                  </a:extLst>
                </p:cNvPr>
                <p:cNvSpPr/>
                <p:nvPr/>
              </p:nvSpPr>
              <p:spPr>
                <a:xfrm>
                  <a:off x="6120816" y="3810933"/>
                  <a:ext cx="15762" cy="89374"/>
                </a:xfrm>
                <a:custGeom>
                  <a:avLst/>
                  <a:gdLst>
                    <a:gd name="connsiteX0" fmla="*/ 7881 w 15762"/>
                    <a:gd name="connsiteY0" fmla="*/ 89375 h 89374"/>
                    <a:gd name="connsiteX1" fmla="*/ 0 w 15762"/>
                    <a:gd name="connsiteY1" fmla="*/ 81493 h 89374"/>
                    <a:gd name="connsiteX2" fmla="*/ 0 w 15762"/>
                    <a:gd name="connsiteY2" fmla="*/ 7881 h 89374"/>
                    <a:gd name="connsiteX3" fmla="*/ 7881 w 15762"/>
                    <a:gd name="connsiteY3" fmla="*/ 0 h 89374"/>
                    <a:gd name="connsiteX4" fmla="*/ 15762 w 15762"/>
                    <a:gd name="connsiteY4" fmla="*/ 7881 h 89374"/>
                    <a:gd name="connsiteX5" fmla="*/ 15762 w 15762"/>
                    <a:gd name="connsiteY5" fmla="*/ 81493 h 89374"/>
                    <a:gd name="connsiteX6" fmla="*/ 7881 w 15762"/>
                    <a:gd name="connsiteY6" fmla="*/ 89375 h 8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89374">
                      <a:moveTo>
                        <a:pt x="7881" y="89375"/>
                      </a:moveTo>
                      <a:cubicBezTo>
                        <a:pt x="3521" y="89375"/>
                        <a:pt x="0" y="85853"/>
                        <a:pt x="0" y="81493"/>
                      </a:cubicBezTo>
                      <a:lnTo>
                        <a:pt x="0" y="7881"/>
                      </a:lnTo>
                      <a:cubicBezTo>
                        <a:pt x="0" y="3521"/>
                        <a:pt x="3521" y="0"/>
                        <a:pt x="7881" y="0"/>
                      </a:cubicBezTo>
                      <a:cubicBezTo>
                        <a:pt x="12241" y="0"/>
                        <a:pt x="15762" y="3521"/>
                        <a:pt x="15762" y="7881"/>
                      </a:cubicBezTo>
                      <a:lnTo>
                        <a:pt x="15762" y="81493"/>
                      </a:lnTo>
                      <a:cubicBezTo>
                        <a:pt x="15762" y="85853"/>
                        <a:pt x="12217" y="89375"/>
                        <a:pt x="7881" y="89375"/>
                      </a:cubicBezTo>
                      <a:close/>
                    </a:path>
                  </a:pathLst>
                </a:custGeom>
                <a:grpFill/>
                <a:ln w="2392" cap="flat">
                  <a:noFill/>
                  <a:prstDash val="solid"/>
                  <a:miter/>
                </a:ln>
              </p:spPr>
              <p:txBody>
                <a:bodyPr rtlCol="0" anchor="ctr"/>
                <a:lstStyle/>
                <a:p>
                  <a:endParaRPr lang="en-GB" dirty="0"/>
                </a:p>
              </p:txBody>
            </p:sp>
            <p:sp>
              <p:nvSpPr>
                <p:cNvPr id="602" name="Freihandform: Form 601">
                  <a:extLst>
                    <a:ext uri="{FF2B5EF4-FFF2-40B4-BE49-F238E27FC236}">
                      <a16:creationId xmlns:a16="http://schemas.microsoft.com/office/drawing/2014/main" id="{68009575-CA6E-41C3-908B-BF8EDC0304DC}"/>
                    </a:ext>
                  </a:extLst>
                </p:cNvPr>
                <p:cNvSpPr/>
                <p:nvPr/>
              </p:nvSpPr>
              <p:spPr>
                <a:xfrm>
                  <a:off x="6474195" y="3810933"/>
                  <a:ext cx="15762" cy="89374"/>
                </a:xfrm>
                <a:custGeom>
                  <a:avLst/>
                  <a:gdLst>
                    <a:gd name="connsiteX0" fmla="*/ 7881 w 15762"/>
                    <a:gd name="connsiteY0" fmla="*/ 89375 h 89374"/>
                    <a:gd name="connsiteX1" fmla="*/ 0 w 15762"/>
                    <a:gd name="connsiteY1" fmla="*/ 81493 h 89374"/>
                    <a:gd name="connsiteX2" fmla="*/ 0 w 15762"/>
                    <a:gd name="connsiteY2" fmla="*/ 7881 h 89374"/>
                    <a:gd name="connsiteX3" fmla="*/ 7881 w 15762"/>
                    <a:gd name="connsiteY3" fmla="*/ 0 h 89374"/>
                    <a:gd name="connsiteX4" fmla="*/ 15762 w 15762"/>
                    <a:gd name="connsiteY4" fmla="*/ 7881 h 89374"/>
                    <a:gd name="connsiteX5" fmla="*/ 15762 w 15762"/>
                    <a:gd name="connsiteY5" fmla="*/ 81493 h 89374"/>
                    <a:gd name="connsiteX6" fmla="*/ 7881 w 15762"/>
                    <a:gd name="connsiteY6" fmla="*/ 89375 h 8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89374">
                      <a:moveTo>
                        <a:pt x="7881" y="89375"/>
                      </a:moveTo>
                      <a:cubicBezTo>
                        <a:pt x="3521" y="89375"/>
                        <a:pt x="0" y="85853"/>
                        <a:pt x="0" y="81493"/>
                      </a:cubicBezTo>
                      <a:lnTo>
                        <a:pt x="0" y="7881"/>
                      </a:lnTo>
                      <a:cubicBezTo>
                        <a:pt x="0" y="3521"/>
                        <a:pt x="3521" y="0"/>
                        <a:pt x="7881" y="0"/>
                      </a:cubicBezTo>
                      <a:cubicBezTo>
                        <a:pt x="12241" y="0"/>
                        <a:pt x="15762" y="3521"/>
                        <a:pt x="15762" y="7881"/>
                      </a:cubicBezTo>
                      <a:lnTo>
                        <a:pt x="15762" y="81493"/>
                      </a:lnTo>
                      <a:cubicBezTo>
                        <a:pt x="15762" y="85853"/>
                        <a:pt x="12241" y="89375"/>
                        <a:pt x="7881" y="89375"/>
                      </a:cubicBezTo>
                      <a:close/>
                    </a:path>
                  </a:pathLst>
                </a:custGeom>
                <a:grpFill/>
                <a:ln w="2392" cap="flat">
                  <a:noFill/>
                  <a:prstDash val="solid"/>
                  <a:miter/>
                </a:ln>
              </p:spPr>
              <p:txBody>
                <a:bodyPr rtlCol="0" anchor="ctr"/>
                <a:lstStyle/>
                <a:p>
                  <a:endParaRPr lang="en-GB" dirty="0"/>
                </a:p>
              </p:txBody>
            </p:sp>
            <p:sp>
              <p:nvSpPr>
                <p:cNvPr id="603" name="Freihandform: Form 602">
                  <a:extLst>
                    <a:ext uri="{FF2B5EF4-FFF2-40B4-BE49-F238E27FC236}">
                      <a16:creationId xmlns:a16="http://schemas.microsoft.com/office/drawing/2014/main" id="{DFC63EB1-186A-4096-B95E-FE5E5496FA5A}"/>
                    </a:ext>
                  </a:extLst>
                </p:cNvPr>
                <p:cNvSpPr/>
                <p:nvPr/>
              </p:nvSpPr>
              <p:spPr>
                <a:xfrm>
                  <a:off x="6356410" y="3810933"/>
                  <a:ext cx="15762" cy="89374"/>
                </a:xfrm>
                <a:custGeom>
                  <a:avLst/>
                  <a:gdLst>
                    <a:gd name="connsiteX0" fmla="*/ 7881 w 15762"/>
                    <a:gd name="connsiteY0" fmla="*/ 89375 h 89374"/>
                    <a:gd name="connsiteX1" fmla="*/ 0 w 15762"/>
                    <a:gd name="connsiteY1" fmla="*/ 81493 h 89374"/>
                    <a:gd name="connsiteX2" fmla="*/ 0 w 15762"/>
                    <a:gd name="connsiteY2" fmla="*/ 7881 h 89374"/>
                    <a:gd name="connsiteX3" fmla="*/ 7881 w 15762"/>
                    <a:gd name="connsiteY3" fmla="*/ 0 h 89374"/>
                    <a:gd name="connsiteX4" fmla="*/ 15762 w 15762"/>
                    <a:gd name="connsiteY4" fmla="*/ 7881 h 89374"/>
                    <a:gd name="connsiteX5" fmla="*/ 15762 w 15762"/>
                    <a:gd name="connsiteY5" fmla="*/ 81493 h 89374"/>
                    <a:gd name="connsiteX6" fmla="*/ 7881 w 15762"/>
                    <a:gd name="connsiteY6" fmla="*/ 89375 h 8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89374">
                      <a:moveTo>
                        <a:pt x="7881" y="89375"/>
                      </a:moveTo>
                      <a:cubicBezTo>
                        <a:pt x="3521" y="89375"/>
                        <a:pt x="0" y="85853"/>
                        <a:pt x="0" y="81493"/>
                      </a:cubicBezTo>
                      <a:lnTo>
                        <a:pt x="0" y="7881"/>
                      </a:lnTo>
                      <a:cubicBezTo>
                        <a:pt x="0" y="3521"/>
                        <a:pt x="3521" y="0"/>
                        <a:pt x="7881" y="0"/>
                      </a:cubicBezTo>
                      <a:cubicBezTo>
                        <a:pt x="12241" y="0"/>
                        <a:pt x="15762" y="3521"/>
                        <a:pt x="15762" y="7881"/>
                      </a:cubicBezTo>
                      <a:lnTo>
                        <a:pt x="15762" y="81493"/>
                      </a:lnTo>
                      <a:cubicBezTo>
                        <a:pt x="15762" y="85853"/>
                        <a:pt x="12217" y="89375"/>
                        <a:pt x="7881" y="89375"/>
                      </a:cubicBezTo>
                      <a:close/>
                    </a:path>
                  </a:pathLst>
                </a:custGeom>
                <a:grpFill/>
                <a:ln w="2392" cap="flat">
                  <a:noFill/>
                  <a:prstDash val="solid"/>
                  <a:miter/>
                </a:ln>
              </p:spPr>
              <p:txBody>
                <a:bodyPr rtlCol="0" anchor="ctr"/>
                <a:lstStyle/>
                <a:p>
                  <a:endParaRPr lang="en-GB" dirty="0"/>
                </a:p>
              </p:txBody>
            </p:sp>
            <p:sp>
              <p:nvSpPr>
                <p:cNvPr id="604" name="Freihandform: Form 603">
                  <a:extLst>
                    <a:ext uri="{FF2B5EF4-FFF2-40B4-BE49-F238E27FC236}">
                      <a16:creationId xmlns:a16="http://schemas.microsoft.com/office/drawing/2014/main" id="{1FA7285C-26FB-4A55-86F0-C3693B61FA2F}"/>
                    </a:ext>
                  </a:extLst>
                </p:cNvPr>
                <p:cNvSpPr/>
                <p:nvPr/>
              </p:nvSpPr>
              <p:spPr>
                <a:xfrm>
                  <a:off x="6238601" y="3810933"/>
                  <a:ext cx="15762" cy="89374"/>
                </a:xfrm>
                <a:custGeom>
                  <a:avLst/>
                  <a:gdLst>
                    <a:gd name="connsiteX0" fmla="*/ 7881 w 15762"/>
                    <a:gd name="connsiteY0" fmla="*/ 89375 h 89374"/>
                    <a:gd name="connsiteX1" fmla="*/ 0 w 15762"/>
                    <a:gd name="connsiteY1" fmla="*/ 81493 h 89374"/>
                    <a:gd name="connsiteX2" fmla="*/ 0 w 15762"/>
                    <a:gd name="connsiteY2" fmla="*/ 7881 h 89374"/>
                    <a:gd name="connsiteX3" fmla="*/ 7881 w 15762"/>
                    <a:gd name="connsiteY3" fmla="*/ 0 h 89374"/>
                    <a:gd name="connsiteX4" fmla="*/ 15762 w 15762"/>
                    <a:gd name="connsiteY4" fmla="*/ 7881 h 89374"/>
                    <a:gd name="connsiteX5" fmla="*/ 15762 w 15762"/>
                    <a:gd name="connsiteY5" fmla="*/ 81493 h 89374"/>
                    <a:gd name="connsiteX6" fmla="*/ 7881 w 15762"/>
                    <a:gd name="connsiteY6" fmla="*/ 89375 h 8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89374">
                      <a:moveTo>
                        <a:pt x="7881" y="89375"/>
                      </a:moveTo>
                      <a:cubicBezTo>
                        <a:pt x="3521" y="89375"/>
                        <a:pt x="0" y="85853"/>
                        <a:pt x="0" y="81493"/>
                      </a:cubicBezTo>
                      <a:lnTo>
                        <a:pt x="0" y="7881"/>
                      </a:lnTo>
                      <a:cubicBezTo>
                        <a:pt x="0" y="3521"/>
                        <a:pt x="3521" y="0"/>
                        <a:pt x="7881" y="0"/>
                      </a:cubicBezTo>
                      <a:cubicBezTo>
                        <a:pt x="12241" y="0"/>
                        <a:pt x="15762" y="3521"/>
                        <a:pt x="15762" y="7881"/>
                      </a:cubicBezTo>
                      <a:lnTo>
                        <a:pt x="15762" y="81493"/>
                      </a:lnTo>
                      <a:cubicBezTo>
                        <a:pt x="15762" y="85853"/>
                        <a:pt x="12241" y="89375"/>
                        <a:pt x="7881" y="89375"/>
                      </a:cubicBezTo>
                      <a:close/>
                    </a:path>
                  </a:pathLst>
                </a:custGeom>
                <a:grpFill/>
                <a:ln w="2392" cap="flat">
                  <a:noFill/>
                  <a:prstDash val="solid"/>
                  <a:miter/>
                </a:ln>
              </p:spPr>
              <p:txBody>
                <a:bodyPr rtlCol="0" anchor="ctr"/>
                <a:lstStyle/>
                <a:p>
                  <a:endParaRPr lang="en-GB" dirty="0"/>
                </a:p>
              </p:txBody>
            </p:sp>
          </p:grpSp>
        </p:grpSp>
        <p:grpSp>
          <p:nvGrpSpPr>
            <p:cNvPr id="593" name="Gruppieren 592">
              <a:extLst>
                <a:ext uri="{FF2B5EF4-FFF2-40B4-BE49-F238E27FC236}">
                  <a16:creationId xmlns:a16="http://schemas.microsoft.com/office/drawing/2014/main" id="{DD8AFF37-9016-4D64-A768-C66B8342A092}"/>
                </a:ext>
              </a:extLst>
            </p:cNvPr>
            <p:cNvGrpSpPr/>
            <p:nvPr/>
          </p:nvGrpSpPr>
          <p:grpSpPr>
            <a:xfrm>
              <a:off x="6155611" y="3386713"/>
              <a:ext cx="205342" cy="205342"/>
              <a:chOff x="6109749" y="3475904"/>
              <a:chExt cx="273465" cy="273465"/>
            </a:xfrm>
          </p:grpSpPr>
          <p:sp>
            <p:nvSpPr>
              <p:cNvPr id="594" name="Freihandform: Form 593">
                <a:extLst>
                  <a:ext uri="{FF2B5EF4-FFF2-40B4-BE49-F238E27FC236}">
                    <a16:creationId xmlns:a16="http://schemas.microsoft.com/office/drawing/2014/main" id="{A192BAD3-DDB3-4DDE-A47E-21E70170F78A}"/>
                  </a:ext>
                </a:extLst>
              </p:cNvPr>
              <p:cNvSpPr/>
              <p:nvPr/>
            </p:nvSpPr>
            <p:spPr>
              <a:xfrm>
                <a:off x="6109749" y="3475904"/>
                <a:ext cx="273465" cy="273465"/>
              </a:xfrm>
              <a:custGeom>
                <a:avLst/>
                <a:gdLst>
                  <a:gd name="connsiteX0" fmla="*/ 136733 w 273465"/>
                  <a:gd name="connsiteY0" fmla="*/ 273466 h 273465"/>
                  <a:gd name="connsiteX1" fmla="*/ 0 w 273465"/>
                  <a:gd name="connsiteY1" fmla="*/ 136733 h 273465"/>
                  <a:gd name="connsiteX2" fmla="*/ 136733 w 273465"/>
                  <a:gd name="connsiteY2" fmla="*/ 0 h 273465"/>
                  <a:gd name="connsiteX3" fmla="*/ 273466 w 273465"/>
                  <a:gd name="connsiteY3" fmla="*/ 136733 h 273465"/>
                  <a:gd name="connsiteX4" fmla="*/ 136733 w 273465"/>
                  <a:gd name="connsiteY4" fmla="*/ 273466 h 273465"/>
                  <a:gd name="connsiteX5" fmla="*/ 136733 w 273465"/>
                  <a:gd name="connsiteY5" fmla="*/ 15786 h 273465"/>
                  <a:gd name="connsiteX6" fmla="*/ 15762 w 273465"/>
                  <a:gd name="connsiteY6" fmla="*/ 136757 h 273465"/>
                  <a:gd name="connsiteX7" fmla="*/ 136733 w 273465"/>
                  <a:gd name="connsiteY7" fmla="*/ 257728 h 273465"/>
                  <a:gd name="connsiteX8" fmla="*/ 257704 w 273465"/>
                  <a:gd name="connsiteY8" fmla="*/ 136757 h 273465"/>
                  <a:gd name="connsiteX9" fmla="*/ 136733 w 273465"/>
                  <a:gd name="connsiteY9" fmla="*/ 15786 h 27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3465" h="273465">
                    <a:moveTo>
                      <a:pt x="136733" y="273466"/>
                    </a:moveTo>
                    <a:cubicBezTo>
                      <a:pt x="61348" y="273466"/>
                      <a:pt x="0" y="212142"/>
                      <a:pt x="0" y="136733"/>
                    </a:cubicBezTo>
                    <a:cubicBezTo>
                      <a:pt x="0" y="61324"/>
                      <a:pt x="61324" y="0"/>
                      <a:pt x="136733" y="0"/>
                    </a:cubicBezTo>
                    <a:cubicBezTo>
                      <a:pt x="212118" y="0"/>
                      <a:pt x="273466" y="61324"/>
                      <a:pt x="273466" y="136733"/>
                    </a:cubicBezTo>
                    <a:cubicBezTo>
                      <a:pt x="273466" y="212142"/>
                      <a:pt x="212118" y="273466"/>
                      <a:pt x="136733" y="273466"/>
                    </a:cubicBezTo>
                    <a:close/>
                    <a:moveTo>
                      <a:pt x="136733" y="15786"/>
                    </a:moveTo>
                    <a:cubicBezTo>
                      <a:pt x="70043" y="15786"/>
                      <a:pt x="15762" y="70043"/>
                      <a:pt x="15762" y="136757"/>
                    </a:cubicBezTo>
                    <a:cubicBezTo>
                      <a:pt x="15762" y="203470"/>
                      <a:pt x="70019" y="257728"/>
                      <a:pt x="136733" y="257728"/>
                    </a:cubicBezTo>
                    <a:cubicBezTo>
                      <a:pt x="203423" y="257728"/>
                      <a:pt x="257704" y="203470"/>
                      <a:pt x="257704" y="136757"/>
                    </a:cubicBezTo>
                    <a:cubicBezTo>
                      <a:pt x="257704" y="70043"/>
                      <a:pt x="203423" y="15786"/>
                      <a:pt x="136733" y="15786"/>
                    </a:cubicBezTo>
                    <a:close/>
                  </a:path>
                </a:pathLst>
              </a:custGeom>
              <a:solidFill>
                <a:schemeClr val="accent1"/>
              </a:solidFill>
              <a:ln w="2392" cap="flat">
                <a:noFill/>
                <a:prstDash val="solid"/>
                <a:miter/>
              </a:ln>
            </p:spPr>
            <p:txBody>
              <a:bodyPr rtlCol="0" anchor="ctr"/>
              <a:lstStyle/>
              <a:p>
                <a:endParaRPr lang="en-GB" dirty="0"/>
              </a:p>
            </p:txBody>
          </p:sp>
          <p:sp>
            <p:nvSpPr>
              <p:cNvPr id="595" name="Freihandform: Form 594">
                <a:extLst>
                  <a:ext uri="{FF2B5EF4-FFF2-40B4-BE49-F238E27FC236}">
                    <a16:creationId xmlns:a16="http://schemas.microsoft.com/office/drawing/2014/main" id="{9E32FEFD-0D4B-4C37-8750-01CF27866E1D}"/>
                  </a:ext>
                </a:extLst>
              </p:cNvPr>
              <p:cNvSpPr/>
              <p:nvPr/>
            </p:nvSpPr>
            <p:spPr>
              <a:xfrm>
                <a:off x="6200561" y="3532643"/>
                <a:ext cx="121330" cy="153893"/>
              </a:xfrm>
              <a:custGeom>
                <a:avLst/>
                <a:gdLst>
                  <a:gd name="connsiteX0" fmla="*/ 7881 w 121330"/>
                  <a:gd name="connsiteY0" fmla="*/ 153894 h 153893"/>
                  <a:gd name="connsiteX1" fmla="*/ 4144 w 121330"/>
                  <a:gd name="connsiteY1" fmla="*/ 152936 h 153893"/>
                  <a:gd name="connsiteX2" fmla="*/ 0 w 121330"/>
                  <a:gd name="connsiteY2" fmla="*/ 146013 h 153893"/>
                  <a:gd name="connsiteX3" fmla="*/ 0 w 121330"/>
                  <a:gd name="connsiteY3" fmla="*/ 7867 h 153893"/>
                  <a:gd name="connsiteX4" fmla="*/ 4144 w 121330"/>
                  <a:gd name="connsiteY4" fmla="*/ 944 h 153893"/>
                  <a:gd name="connsiteX5" fmla="*/ 12217 w 121330"/>
                  <a:gd name="connsiteY5" fmla="*/ 1279 h 153893"/>
                  <a:gd name="connsiteX6" fmla="*/ 117761 w 121330"/>
                  <a:gd name="connsiteY6" fmla="*/ 70340 h 153893"/>
                  <a:gd name="connsiteX7" fmla="*/ 121330 w 121330"/>
                  <a:gd name="connsiteY7" fmla="*/ 76928 h 153893"/>
                  <a:gd name="connsiteX8" fmla="*/ 117761 w 121330"/>
                  <a:gd name="connsiteY8" fmla="*/ 83515 h 153893"/>
                  <a:gd name="connsiteX9" fmla="*/ 12217 w 121330"/>
                  <a:gd name="connsiteY9" fmla="*/ 152600 h 153893"/>
                  <a:gd name="connsiteX10" fmla="*/ 7881 w 121330"/>
                  <a:gd name="connsiteY10" fmla="*/ 153894 h 153893"/>
                  <a:gd name="connsiteX11" fmla="*/ 15762 w 121330"/>
                  <a:gd name="connsiteY11" fmla="*/ 22431 h 153893"/>
                  <a:gd name="connsiteX12" fmla="*/ 15762 w 121330"/>
                  <a:gd name="connsiteY12" fmla="*/ 131425 h 153893"/>
                  <a:gd name="connsiteX13" fmla="*/ 99028 w 121330"/>
                  <a:gd name="connsiteY13" fmla="*/ 76928 h 153893"/>
                  <a:gd name="connsiteX14" fmla="*/ 15762 w 121330"/>
                  <a:gd name="connsiteY14" fmla="*/ 22431 h 153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330" h="153893">
                    <a:moveTo>
                      <a:pt x="7881" y="153894"/>
                    </a:moveTo>
                    <a:cubicBezTo>
                      <a:pt x="6588" y="153894"/>
                      <a:pt x="5318" y="153583"/>
                      <a:pt x="4144" y="152936"/>
                    </a:cubicBezTo>
                    <a:cubicBezTo>
                      <a:pt x="1605" y="151546"/>
                      <a:pt x="0" y="148888"/>
                      <a:pt x="0" y="146013"/>
                    </a:cubicBezTo>
                    <a:lnTo>
                      <a:pt x="0" y="7867"/>
                    </a:lnTo>
                    <a:cubicBezTo>
                      <a:pt x="0" y="4968"/>
                      <a:pt x="1581" y="2309"/>
                      <a:pt x="4144" y="944"/>
                    </a:cubicBezTo>
                    <a:cubicBezTo>
                      <a:pt x="6707" y="-422"/>
                      <a:pt x="9774" y="-302"/>
                      <a:pt x="12217" y="1279"/>
                    </a:cubicBezTo>
                    <a:lnTo>
                      <a:pt x="117761" y="70340"/>
                    </a:lnTo>
                    <a:cubicBezTo>
                      <a:pt x="119989" y="71802"/>
                      <a:pt x="121330" y="74269"/>
                      <a:pt x="121330" y="76928"/>
                    </a:cubicBezTo>
                    <a:cubicBezTo>
                      <a:pt x="121330" y="79587"/>
                      <a:pt x="119989" y="82078"/>
                      <a:pt x="117761" y="83515"/>
                    </a:cubicBezTo>
                    <a:lnTo>
                      <a:pt x="12217" y="152600"/>
                    </a:lnTo>
                    <a:cubicBezTo>
                      <a:pt x="10875" y="153463"/>
                      <a:pt x="9390" y="153894"/>
                      <a:pt x="7881" y="153894"/>
                    </a:cubicBezTo>
                    <a:close/>
                    <a:moveTo>
                      <a:pt x="15762" y="22431"/>
                    </a:moveTo>
                    <a:lnTo>
                      <a:pt x="15762" y="131425"/>
                    </a:lnTo>
                    <a:lnTo>
                      <a:pt x="99028" y="76928"/>
                    </a:lnTo>
                    <a:lnTo>
                      <a:pt x="15762" y="22431"/>
                    </a:lnTo>
                    <a:close/>
                  </a:path>
                </a:pathLst>
              </a:custGeom>
              <a:solidFill>
                <a:schemeClr val="accent1"/>
              </a:solidFill>
              <a:ln w="2392" cap="flat">
                <a:noFill/>
                <a:prstDash val="solid"/>
                <a:miter/>
              </a:ln>
            </p:spPr>
            <p:txBody>
              <a:bodyPr rtlCol="0" anchor="ctr"/>
              <a:lstStyle/>
              <a:p>
                <a:endParaRPr lang="en-GB" dirty="0"/>
              </a:p>
            </p:txBody>
          </p:sp>
        </p:grpSp>
      </p:grpSp>
      <p:grpSp>
        <p:nvGrpSpPr>
          <p:cNvPr id="611" name="Gruppieren 610">
            <a:extLst>
              <a:ext uri="{FF2B5EF4-FFF2-40B4-BE49-F238E27FC236}">
                <a16:creationId xmlns:a16="http://schemas.microsoft.com/office/drawing/2014/main" id="{A448CFD8-2C1C-451D-A3FB-A8A23E9B8D1F}"/>
              </a:ext>
            </a:extLst>
          </p:cNvPr>
          <p:cNvGrpSpPr>
            <a:grpSpLocks noChangeAspect="1"/>
          </p:cNvGrpSpPr>
          <p:nvPr/>
        </p:nvGrpSpPr>
        <p:grpSpPr>
          <a:xfrm>
            <a:off x="6058162" y="4097454"/>
            <a:ext cx="401087" cy="432000"/>
            <a:chOff x="5949925" y="4149388"/>
            <a:chExt cx="551653" cy="594170"/>
          </a:xfrm>
        </p:grpSpPr>
        <p:grpSp>
          <p:nvGrpSpPr>
            <p:cNvPr id="612" name="Gruppieren 611">
              <a:extLst>
                <a:ext uri="{FF2B5EF4-FFF2-40B4-BE49-F238E27FC236}">
                  <a16:creationId xmlns:a16="http://schemas.microsoft.com/office/drawing/2014/main" id="{9BDD1335-CCA4-4F6C-891E-6688A334B994}"/>
                </a:ext>
              </a:extLst>
            </p:cNvPr>
            <p:cNvGrpSpPr/>
            <p:nvPr/>
          </p:nvGrpSpPr>
          <p:grpSpPr>
            <a:xfrm>
              <a:off x="5949925" y="4149388"/>
              <a:ext cx="551653" cy="594170"/>
              <a:chOff x="5949921" y="4149387"/>
              <a:chExt cx="551653" cy="594170"/>
            </a:xfrm>
          </p:grpSpPr>
          <p:sp>
            <p:nvSpPr>
              <p:cNvPr id="632" name="Freihandform: Form 631">
                <a:extLst>
                  <a:ext uri="{FF2B5EF4-FFF2-40B4-BE49-F238E27FC236}">
                    <a16:creationId xmlns:a16="http://schemas.microsoft.com/office/drawing/2014/main" id="{43C12A41-F055-4D96-836E-D0C9079F5FCE}"/>
                  </a:ext>
                </a:extLst>
              </p:cNvPr>
              <p:cNvSpPr/>
              <p:nvPr/>
            </p:nvSpPr>
            <p:spPr>
              <a:xfrm>
                <a:off x="5949924" y="4285474"/>
                <a:ext cx="407036" cy="458083"/>
              </a:xfrm>
              <a:custGeom>
                <a:avLst/>
                <a:gdLst>
                  <a:gd name="connsiteX0" fmla="*/ 399156 w 407036"/>
                  <a:gd name="connsiteY0" fmla="*/ 458084 h 458083"/>
                  <a:gd name="connsiteX1" fmla="*/ 133978 w 407036"/>
                  <a:gd name="connsiteY1" fmla="*/ 458084 h 458083"/>
                  <a:gd name="connsiteX2" fmla="*/ 128397 w 407036"/>
                  <a:gd name="connsiteY2" fmla="*/ 455784 h 458083"/>
                  <a:gd name="connsiteX3" fmla="*/ 2300 w 407036"/>
                  <a:gd name="connsiteY3" fmla="*/ 329687 h 458083"/>
                  <a:gd name="connsiteX4" fmla="*/ 0 w 407036"/>
                  <a:gd name="connsiteY4" fmla="*/ 324106 h 458083"/>
                  <a:gd name="connsiteX5" fmla="*/ 0 w 407036"/>
                  <a:gd name="connsiteY5" fmla="*/ 7881 h 458083"/>
                  <a:gd name="connsiteX6" fmla="*/ 7881 w 407036"/>
                  <a:gd name="connsiteY6" fmla="*/ 0 h 458083"/>
                  <a:gd name="connsiteX7" fmla="*/ 399156 w 407036"/>
                  <a:gd name="connsiteY7" fmla="*/ 0 h 458083"/>
                  <a:gd name="connsiteX8" fmla="*/ 407037 w 407036"/>
                  <a:gd name="connsiteY8" fmla="*/ 7881 h 458083"/>
                  <a:gd name="connsiteX9" fmla="*/ 407037 w 407036"/>
                  <a:gd name="connsiteY9" fmla="*/ 450203 h 458083"/>
                  <a:gd name="connsiteX10" fmla="*/ 399156 w 407036"/>
                  <a:gd name="connsiteY10" fmla="*/ 458084 h 458083"/>
                  <a:gd name="connsiteX11" fmla="*/ 137236 w 407036"/>
                  <a:gd name="connsiteY11" fmla="*/ 442322 h 458083"/>
                  <a:gd name="connsiteX12" fmla="*/ 391275 w 407036"/>
                  <a:gd name="connsiteY12" fmla="*/ 442322 h 458083"/>
                  <a:gd name="connsiteX13" fmla="*/ 391275 w 407036"/>
                  <a:gd name="connsiteY13" fmla="*/ 15762 h 458083"/>
                  <a:gd name="connsiteX14" fmla="*/ 15762 w 407036"/>
                  <a:gd name="connsiteY14" fmla="*/ 15762 h 458083"/>
                  <a:gd name="connsiteX15" fmla="*/ 15762 w 407036"/>
                  <a:gd name="connsiteY15" fmla="*/ 320848 h 458083"/>
                  <a:gd name="connsiteX16" fmla="*/ 137236 w 407036"/>
                  <a:gd name="connsiteY16" fmla="*/ 442322 h 458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07036" h="458083">
                    <a:moveTo>
                      <a:pt x="399156" y="458084"/>
                    </a:moveTo>
                    <a:lnTo>
                      <a:pt x="133978" y="458084"/>
                    </a:lnTo>
                    <a:cubicBezTo>
                      <a:pt x="131894" y="458084"/>
                      <a:pt x="129882" y="457246"/>
                      <a:pt x="128397" y="455784"/>
                    </a:cubicBezTo>
                    <a:lnTo>
                      <a:pt x="2300" y="329687"/>
                    </a:lnTo>
                    <a:cubicBezTo>
                      <a:pt x="814" y="328202"/>
                      <a:pt x="0" y="326214"/>
                      <a:pt x="0" y="324106"/>
                    </a:cubicBezTo>
                    <a:lnTo>
                      <a:pt x="0" y="7881"/>
                    </a:lnTo>
                    <a:cubicBezTo>
                      <a:pt x="0" y="3521"/>
                      <a:pt x="3521" y="0"/>
                      <a:pt x="7881" y="0"/>
                    </a:cubicBezTo>
                    <a:lnTo>
                      <a:pt x="399156" y="0"/>
                    </a:lnTo>
                    <a:cubicBezTo>
                      <a:pt x="403515" y="0"/>
                      <a:pt x="407037" y="3521"/>
                      <a:pt x="407037" y="7881"/>
                    </a:cubicBezTo>
                    <a:lnTo>
                      <a:pt x="407037" y="450203"/>
                    </a:lnTo>
                    <a:cubicBezTo>
                      <a:pt x="407037" y="454563"/>
                      <a:pt x="403515" y="458084"/>
                      <a:pt x="399156" y="458084"/>
                    </a:cubicBezTo>
                    <a:close/>
                    <a:moveTo>
                      <a:pt x="137236" y="442322"/>
                    </a:moveTo>
                    <a:lnTo>
                      <a:pt x="391275" y="442322"/>
                    </a:lnTo>
                    <a:lnTo>
                      <a:pt x="391275" y="15762"/>
                    </a:lnTo>
                    <a:lnTo>
                      <a:pt x="15762" y="15762"/>
                    </a:lnTo>
                    <a:lnTo>
                      <a:pt x="15762" y="320848"/>
                    </a:lnTo>
                    <a:lnTo>
                      <a:pt x="137236" y="442322"/>
                    </a:lnTo>
                    <a:close/>
                  </a:path>
                </a:pathLst>
              </a:custGeom>
              <a:solidFill>
                <a:schemeClr val="tx2"/>
              </a:solidFill>
              <a:ln w="2392" cap="flat">
                <a:noFill/>
                <a:prstDash val="solid"/>
                <a:miter/>
              </a:ln>
            </p:spPr>
            <p:txBody>
              <a:bodyPr rtlCol="0" anchor="ctr"/>
              <a:lstStyle/>
              <a:p>
                <a:endParaRPr lang="en-GB" dirty="0"/>
              </a:p>
            </p:txBody>
          </p:sp>
          <p:sp>
            <p:nvSpPr>
              <p:cNvPr id="633" name="Freihandform: Form 632">
                <a:extLst>
                  <a:ext uri="{FF2B5EF4-FFF2-40B4-BE49-F238E27FC236}">
                    <a16:creationId xmlns:a16="http://schemas.microsoft.com/office/drawing/2014/main" id="{72878E5F-E0D4-4589-B820-67786A767083}"/>
                  </a:ext>
                </a:extLst>
              </p:cNvPr>
              <p:cNvSpPr/>
              <p:nvPr/>
            </p:nvSpPr>
            <p:spPr>
              <a:xfrm>
                <a:off x="6094538" y="4149387"/>
                <a:ext cx="407036" cy="458060"/>
              </a:xfrm>
              <a:custGeom>
                <a:avLst/>
                <a:gdLst>
                  <a:gd name="connsiteX0" fmla="*/ 399156 w 407036"/>
                  <a:gd name="connsiteY0" fmla="*/ 458060 h 458060"/>
                  <a:gd name="connsiteX1" fmla="*/ 254542 w 407036"/>
                  <a:gd name="connsiteY1" fmla="*/ 458060 h 458060"/>
                  <a:gd name="connsiteX2" fmla="*/ 246661 w 407036"/>
                  <a:gd name="connsiteY2" fmla="*/ 450179 h 458060"/>
                  <a:gd name="connsiteX3" fmla="*/ 254542 w 407036"/>
                  <a:gd name="connsiteY3" fmla="*/ 442298 h 458060"/>
                  <a:gd name="connsiteX4" fmla="*/ 391275 w 407036"/>
                  <a:gd name="connsiteY4" fmla="*/ 442298 h 458060"/>
                  <a:gd name="connsiteX5" fmla="*/ 391275 w 407036"/>
                  <a:gd name="connsiteY5" fmla="*/ 15738 h 458060"/>
                  <a:gd name="connsiteX6" fmla="*/ 15762 w 407036"/>
                  <a:gd name="connsiteY6" fmla="*/ 15738 h 458060"/>
                  <a:gd name="connsiteX7" fmla="*/ 15762 w 407036"/>
                  <a:gd name="connsiteY7" fmla="*/ 143967 h 458060"/>
                  <a:gd name="connsiteX8" fmla="*/ 7881 w 407036"/>
                  <a:gd name="connsiteY8" fmla="*/ 151848 h 458060"/>
                  <a:gd name="connsiteX9" fmla="*/ 0 w 407036"/>
                  <a:gd name="connsiteY9" fmla="*/ 143967 h 458060"/>
                  <a:gd name="connsiteX10" fmla="*/ 0 w 407036"/>
                  <a:gd name="connsiteY10" fmla="*/ 7881 h 458060"/>
                  <a:gd name="connsiteX11" fmla="*/ 7881 w 407036"/>
                  <a:gd name="connsiteY11" fmla="*/ 0 h 458060"/>
                  <a:gd name="connsiteX12" fmla="*/ 399156 w 407036"/>
                  <a:gd name="connsiteY12" fmla="*/ 0 h 458060"/>
                  <a:gd name="connsiteX13" fmla="*/ 407037 w 407036"/>
                  <a:gd name="connsiteY13" fmla="*/ 7881 h 458060"/>
                  <a:gd name="connsiteX14" fmla="*/ 407037 w 407036"/>
                  <a:gd name="connsiteY14" fmla="*/ 450179 h 458060"/>
                  <a:gd name="connsiteX15" fmla="*/ 399156 w 407036"/>
                  <a:gd name="connsiteY15" fmla="*/ 458060 h 458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07036" h="458060">
                    <a:moveTo>
                      <a:pt x="399156" y="458060"/>
                    </a:moveTo>
                    <a:lnTo>
                      <a:pt x="254542" y="458060"/>
                    </a:lnTo>
                    <a:cubicBezTo>
                      <a:pt x="250182" y="458060"/>
                      <a:pt x="246661" y="454539"/>
                      <a:pt x="246661" y="450179"/>
                    </a:cubicBezTo>
                    <a:cubicBezTo>
                      <a:pt x="246661" y="445819"/>
                      <a:pt x="250182" y="442298"/>
                      <a:pt x="254542" y="442298"/>
                    </a:cubicBezTo>
                    <a:lnTo>
                      <a:pt x="391275" y="442298"/>
                    </a:lnTo>
                    <a:lnTo>
                      <a:pt x="391275" y="15738"/>
                    </a:lnTo>
                    <a:lnTo>
                      <a:pt x="15762" y="15738"/>
                    </a:lnTo>
                    <a:lnTo>
                      <a:pt x="15762" y="143967"/>
                    </a:lnTo>
                    <a:cubicBezTo>
                      <a:pt x="15762" y="148327"/>
                      <a:pt x="12241" y="151848"/>
                      <a:pt x="7881" y="151848"/>
                    </a:cubicBezTo>
                    <a:cubicBezTo>
                      <a:pt x="3521" y="151848"/>
                      <a:pt x="0" y="148327"/>
                      <a:pt x="0" y="143967"/>
                    </a:cubicBezTo>
                    <a:lnTo>
                      <a:pt x="0" y="7881"/>
                    </a:lnTo>
                    <a:cubicBezTo>
                      <a:pt x="0" y="3522"/>
                      <a:pt x="3521" y="0"/>
                      <a:pt x="7881" y="0"/>
                    </a:cubicBezTo>
                    <a:lnTo>
                      <a:pt x="399156" y="0"/>
                    </a:lnTo>
                    <a:cubicBezTo>
                      <a:pt x="403515" y="0"/>
                      <a:pt x="407037" y="3522"/>
                      <a:pt x="407037" y="7881"/>
                    </a:cubicBezTo>
                    <a:lnTo>
                      <a:pt x="407037" y="450179"/>
                    </a:lnTo>
                    <a:cubicBezTo>
                      <a:pt x="407037" y="454539"/>
                      <a:pt x="403515" y="458060"/>
                      <a:pt x="399156" y="458060"/>
                    </a:cubicBezTo>
                    <a:close/>
                  </a:path>
                </a:pathLst>
              </a:custGeom>
              <a:solidFill>
                <a:schemeClr val="tx2"/>
              </a:solidFill>
              <a:ln w="2392" cap="flat">
                <a:noFill/>
                <a:prstDash val="solid"/>
                <a:miter/>
              </a:ln>
            </p:spPr>
            <p:txBody>
              <a:bodyPr rtlCol="0" anchor="ctr"/>
              <a:lstStyle/>
              <a:p>
                <a:endParaRPr lang="en-GB" dirty="0"/>
              </a:p>
            </p:txBody>
          </p:sp>
          <p:sp>
            <p:nvSpPr>
              <p:cNvPr id="634" name="Freihandform: Form 633">
                <a:extLst>
                  <a:ext uri="{FF2B5EF4-FFF2-40B4-BE49-F238E27FC236}">
                    <a16:creationId xmlns:a16="http://schemas.microsoft.com/office/drawing/2014/main" id="{950F3099-9F8B-4274-9EED-8F28A143A922}"/>
                  </a:ext>
                </a:extLst>
              </p:cNvPr>
              <p:cNvSpPr/>
              <p:nvPr/>
            </p:nvSpPr>
            <p:spPr>
              <a:xfrm>
                <a:off x="5949921" y="4601698"/>
                <a:ext cx="141862" cy="141859"/>
              </a:xfrm>
              <a:custGeom>
                <a:avLst/>
                <a:gdLst>
                  <a:gd name="connsiteX0" fmla="*/ 133982 w 141862"/>
                  <a:gd name="connsiteY0" fmla="*/ 141859 h 141859"/>
                  <a:gd name="connsiteX1" fmla="*/ 128400 w 141862"/>
                  <a:gd name="connsiteY1" fmla="*/ 139560 h 141859"/>
                  <a:gd name="connsiteX2" fmla="*/ 2303 w 141862"/>
                  <a:gd name="connsiteY2" fmla="*/ 13462 h 141859"/>
                  <a:gd name="connsiteX3" fmla="*/ 602 w 141862"/>
                  <a:gd name="connsiteY3" fmla="*/ 4863 h 141859"/>
                  <a:gd name="connsiteX4" fmla="*/ 7885 w 141862"/>
                  <a:gd name="connsiteY4" fmla="*/ 0 h 141859"/>
                  <a:gd name="connsiteX5" fmla="*/ 133982 w 141862"/>
                  <a:gd name="connsiteY5" fmla="*/ 0 h 141859"/>
                  <a:gd name="connsiteX6" fmla="*/ 141863 w 141862"/>
                  <a:gd name="connsiteY6" fmla="*/ 7881 h 141859"/>
                  <a:gd name="connsiteX7" fmla="*/ 141863 w 141862"/>
                  <a:gd name="connsiteY7" fmla="*/ 133978 h 141859"/>
                  <a:gd name="connsiteX8" fmla="*/ 137000 w 141862"/>
                  <a:gd name="connsiteY8" fmla="*/ 141260 h 141859"/>
                  <a:gd name="connsiteX9" fmla="*/ 133982 w 141862"/>
                  <a:gd name="connsiteY9" fmla="*/ 141859 h 141859"/>
                  <a:gd name="connsiteX10" fmla="*/ 26905 w 141862"/>
                  <a:gd name="connsiteY10" fmla="*/ 15762 h 141859"/>
                  <a:gd name="connsiteX11" fmla="*/ 126101 w 141862"/>
                  <a:gd name="connsiteY11" fmla="*/ 114958 h 141859"/>
                  <a:gd name="connsiteX12" fmla="*/ 126101 w 141862"/>
                  <a:gd name="connsiteY12" fmla="*/ 15762 h 141859"/>
                  <a:gd name="connsiteX13" fmla="*/ 26905 w 141862"/>
                  <a:gd name="connsiteY13" fmla="*/ 15762 h 14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1862" h="141859">
                    <a:moveTo>
                      <a:pt x="133982" y="141859"/>
                    </a:moveTo>
                    <a:cubicBezTo>
                      <a:pt x="131922" y="141859"/>
                      <a:pt x="129909" y="141069"/>
                      <a:pt x="128400" y="139560"/>
                    </a:cubicBezTo>
                    <a:lnTo>
                      <a:pt x="2303" y="13462"/>
                    </a:lnTo>
                    <a:cubicBezTo>
                      <a:pt x="51" y="11211"/>
                      <a:pt x="-619" y="7833"/>
                      <a:pt x="602" y="4863"/>
                    </a:cubicBezTo>
                    <a:cubicBezTo>
                      <a:pt x="1824" y="1916"/>
                      <a:pt x="4699" y="0"/>
                      <a:pt x="7885" y="0"/>
                    </a:cubicBezTo>
                    <a:lnTo>
                      <a:pt x="133982" y="0"/>
                    </a:lnTo>
                    <a:cubicBezTo>
                      <a:pt x="138341" y="0"/>
                      <a:pt x="141863" y="3521"/>
                      <a:pt x="141863" y="7881"/>
                    </a:cubicBezTo>
                    <a:lnTo>
                      <a:pt x="141863" y="133978"/>
                    </a:lnTo>
                    <a:cubicBezTo>
                      <a:pt x="141863" y="137164"/>
                      <a:pt x="139946" y="140039"/>
                      <a:pt x="137000" y="141260"/>
                    </a:cubicBezTo>
                    <a:cubicBezTo>
                      <a:pt x="136018" y="141668"/>
                      <a:pt x="134988" y="141859"/>
                      <a:pt x="133982" y="141859"/>
                    </a:cubicBezTo>
                    <a:close/>
                    <a:moveTo>
                      <a:pt x="26905" y="15762"/>
                    </a:moveTo>
                    <a:lnTo>
                      <a:pt x="126101" y="114958"/>
                    </a:lnTo>
                    <a:lnTo>
                      <a:pt x="126101" y="15762"/>
                    </a:lnTo>
                    <a:lnTo>
                      <a:pt x="26905" y="15762"/>
                    </a:lnTo>
                    <a:close/>
                  </a:path>
                </a:pathLst>
              </a:custGeom>
              <a:solidFill>
                <a:schemeClr val="tx2"/>
              </a:solidFill>
              <a:ln w="2392" cap="flat">
                <a:noFill/>
                <a:prstDash val="solid"/>
                <a:miter/>
              </a:ln>
            </p:spPr>
            <p:txBody>
              <a:bodyPr rtlCol="0" anchor="ctr"/>
              <a:lstStyle/>
              <a:p>
                <a:endParaRPr lang="en-GB" dirty="0"/>
              </a:p>
            </p:txBody>
          </p:sp>
        </p:grpSp>
        <p:grpSp>
          <p:nvGrpSpPr>
            <p:cNvPr id="613" name="Gruppieren 612">
              <a:extLst>
                <a:ext uri="{FF2B5EF4-FFF2-40B4-BE49-F238E27FC236}">
                  <a16:creationId xmlns:a16="http://schemas.microsoft.com/office/drawing/2014/main" id="{6892F3AD-B00C-4B23-81D5-D9CF2F569E38}"/>
                </a:ext>
              </a:extLst>
            </p:cNvPr>
            <p:cNvGrpSpPr/>
            <p:nvPr/>
          </p:nvGrpSpPr>
          <p:grpSpPr>
            <a:xfrm>
              <a:off x="6005067" y="4341623"/>
              <a:ext cx="291599" cy="291600"/>
              <a:chOff x="6005068" y="4341623"/>
              <a:chExt cx="291599" cy="291600"/>
            </a:xfrm>
          </p:grpSpPr>
          <p:sp>
            <p:nvSpPr>
              <p:cNvPr id="614" name="Freihandform: Form 613">
                <a:extLst>
                  <a:ext uri="{FF2B5EF4-FFF2-40B4-BE49-F238E27FC236}">
                    <a16:creationId xmlns:a16="http://schemas.microsoft.com/office/drawing/2014/main" id="{5A4BB290-C270-40BF-AF43-703CE8704DA6}"/>
                  </a:ext>
                </a:extLst>
              </p:cNvPr>
              <p:cNvSpPr/>
              <p:nvPr/>
            </p:nvSpPr>
            <p:spPr>
              <a:xfrm>
                <a:off x="6005092" y="4341623"/>
                <a:ext cx="86691" cy="15762"/>
              </a:xfrm>
              <a:custGeom>
                <a:avLst/>
                <a:gdLst>
                  <a:gd name="connsiteX0" fmla="*/ 78811 w 86691"/>
                  <a:gd name="connsiteY0" fmla="*/ 15762 h 15762"/>
                  <a:gd name="connsiteX1" fmla="*/ 7881 w 86691"/>
                  <a:gd name="connsiteY1" fmla="*/ 15762 h 15762"/>
                  <a:gd name="connsiteX2" fmla="*/ 0 w 86691"/>
                  <a:gd name="connsiteY2" fmla="*/ 7881 h 15762"/>
                  <a:gd name="connsiteX3" fmla="*/ 7881 w 86691"/>
                  <a:gd name="connsiteY3" fmla="*/ 0 h 15762"/>
                  <a:gd name="connsiteX4" fmla="*/ 78811 w 86691"/>
                  <a:gd name="connsiteY4" fmla="*/ 0 h 15762"/>
                  <a:gd name="connsiteX5" fmla="*/ 86692 w 86691"/>
                  <a:gd name="connsiteY5" fmla="*/ 7881 h 15762"/>
                  <a:gd name="connsiteX6" fmla="*/ 78811 w 86691"/>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91" h="15762">
                    <a:moveTo>
                      <a:pt x="78811" y="15762"/>
                    </a:moveTo>
                    <a:lnTo>
                      <a:pt x="7881" y="15762"/>
                    </a:lnTo>
                    <a:cubicBezTo>
                      <a:pt x="3521" y="15762"/>
                      <a:pt x="0" y="12241"/>
                      <a:pt x="0" y="7881"/>
                    </a:cubicBezTo>
                    <a:cubicBezTo>
                      <a:pt x="0" y="3522"/>
                      <a:pt x="3521" y="0"/>
                      <a:pt x="7881" y="0"/>
                    </a:cubicBezTo>
                    <a:lnTo>
                      <a:pt x="78811" y="0"/>
                    </a:lnTo>
                    <a:cubicBezTo>
                      <a:pt x="83170" y="0"/>
                      <a:pt x="86692" y="3522"/>
                      <a:pt x="86692" y="7881"/>
                    </a:cubicBezTo>
                    <a:cubicBezTo>
                      <a:pt x="86692" y="12241"/>
                      <a:pt x="83146" y="15762"/>
                      <a:pt x="78811" y="15762"/>
                    </a:cubicBezTo>
                    <a:close/>
                  </a:path>
                </a:pathLst>
              </a:custGeom>
              <a:solidFill>
                <a:schemeClr val="accent1"/>
              </a:solidFill>
              <a:ln w="2392" cap="flat">
                <a:noFill/>
                <a:prstDash val="solid"/>
                <a:miter/>
              </a:ln>
            </p:spPr>
            <p:txBody>
              <a:bodyPr rtlCol="0" anchor="ctr"/>
              <a:lstStyle/>
              <a:p>
                <a:endParaRPr lang="en-GB" dirty="0"/>
              </a:p>
            </p:txBody>
          </p:sp>
          <p:sp>
            <p:nvSpPr>
              <p:cNvPr id="615" name="Freihandform: Form 614">
                <a:extLst>
                  <a:ext uri="{FF2B5EF4-FFF2-40B4-BE49-F238E27FC236}">
                    <a16:creationId xmlns:a16="http://schemas.microsoft.com/office/drawing/2014/main" id="{F0154409-D51A-4512-ACBD-4CCCEF67EC14}"/>
                  </a:ext>
                </a:extLst>
              </p:cNvPr>
              <p:cNvSpPr/>
              <p:nvPr/>
            </p:nvSpPr>
            <p:spPr>
              <a:xfrm>
                <a:off x="6036592" y="4451958"/>
                <a:ext cx="86691" cy="15762"/>
              </a:xfrm>
              <a:custGeom>
                <a:avLst/>
                <a:gdLst>
                  <a:gd name="connsiteX0" fmla="*/ 78811 w 86691"/>
                  <a:gd name="connsiteY0" fmla="*/ 15762 h 15762"/>
                  <a:gd name="connsiteX1" fmla="*/ 7881 w 86691"/>
                  <a:gd name="connsiteY1" fmla="*/ 15762 h 15762"/>
                  <a:gd name="connsiteX2" fmla="*/ 0 w 86691"/>
                  <a:gd name="connsiteY2" fmla="*/ 7881 h 15762"/>
                  <a:gd name="connsiteX3" fmla="*/ 7881 w 86691"/>
                  <a:gd name="connsiteY3" fmla="*/ 0 h 15762"/>
                  <a:gd name="connsiteX4" fmla="*/ 78811 w 86691"/>
                  <a:gd name="connsiteY4" fmla="*/ 0 h 15762"/>
                  <a:gd name="connsiteX5" fmla="*/ 86692 w 86691"/>
                  <a:gd name="connsiteY5" fmla="*/ 7881 h 15762"/>
                  <a:gd name="connsiteX6" fmla="*/ 78811 w 86691"/>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691" h="15762">
                    <a:moveTo>
                      <a:pt x="78811" y="15762"/>
                    </a:moveTo>
                    <a:lnTo>
                      <a:pt x="7881" y="15762"/>
                    </a:lnTo>
                    <a:cubicBezTo>
                      <a:pt x="3521" y="15762"/>
                      <a:pt x="0" y="12241"/>
                      <a:pt x="0" y="7881"/>
                    </a:cubicBezTo>
                    <a:cubicBezTo>
                      <a:pt x="0" y="3521"/>
                      <a:pt x="3521" y="0"/>
                      <a:pt x="7881" y="0"/>
                    </a:cubicBezTo>
                    <a:lnTo>
                      <a:pt x="78811" y="0"/>
                    </a:lnTo>
                    <a:cubicBezTo>
                      <a:pt x="83170" y="0"/>
                      <a:pt x="86692" y="3521"/>
                      <a:pt x="86692" y="7881"/>
                    </a:cubicBezTo>
                    <a:cubicBezTo>
                      <a:pt x="86692" y="12241"/>
                      <a:pt x="83170" y="15762"/>
                      <a:pt x="78811" y="15762"/>
                    </a:cubicBezTo>
                    <a:close/>
                  </a:path>
                </a:pathLst>
              </a:custGeom>
              <a:solidFill>
                <a:schemeClr val="accent1"/>
              </a:solidFill>
              <a:ln w="2392" cap="flat">
                <a:noFill/>
                <a:prstDash val="solid"/>
                <a:miter/>
              </a:ln>
            </p:spPr>
            <p:txBody>
              <a:bodyPr rtlCol="0" anchor="ctr"/>
              <a:lstStyle/>
              <a:p>
                <a:endParaRPr lang="en-GB" dirty="0"/>
              </a:p>
            </p:txBody>
          </p:sp>
          <p:sp>
            <p:nvSpPr>
              <p:cNvPr id="616" name="Freihandform: Form 615">
                <a:extLst>
                  <a:ext uri="{FF2B5EF4-FFF2-40B4-BE49-F238E27FC236}">
                    <a16:creationId xmlns:a16="http://schemas.microsoft.com/office/drawing/2014/main" id="{41182300-69E0-4CB4-ADF2-5427F1D4B433}"/>
                  </a:ext>
                </a:extLst>
              </p:cNvPr>
              <p:cNvSpPr/>
              <p:nvPr/>
            </p:nvSpPr>
            <p:spPr>
              <a:xfrm>
                <a:off x="6225738" y="4451958"/>
                <a:ext cx="70929" cy="15762"/>
              </a:xfrm>
              <a:custGeom>
                <a:avLst/>
                <a:gdLst>
                  <a:gd name="connsiteX0" fmla="*/ 63049 w 70929"/>
                  <a:gd name="connsiteY0" fmla="*/ 15762 h 15762"/>
                  <a:gd name="connsiteX1" fmla="*/ 7881 w 70929"/>
                  <a:gd name="connsiteY1" fmla="*/ 15762 h 15762"/>
                  <a:gd name="connsiteX2" fmla="*/ 0 w 70929"/>
                  <a:gd name="connsiteY2" fmla="*/ 7881 h 15762"/>
                  <a:gd name="connsiteX3" fmla="*/ 7881 w 70929"/>
                  <a:gd name="connsiteY3" fmla="*/ 0 h 15762"/>
                  <a:gd name="connsiteX4" fmla="*/ 63049 w 70929"/>
                  <a:gd name="connsiteY4" fmla="*/ 0 h 15762"/>
                  <a:gd name="connsiteX5" fmla="*/ 70930 w 70929"/>
                  <a:gd name="connsiteY5" fmla="*/ 7881 h 15762"/>
                  <a:gd name="connsiteX6" fmla="*/ 63049 w 70929"/>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29" h="15762">
                    <a:moveTo>
                      <a:pt x="63049" y="15762"/>
                    </a:moveTo>
                    <a:lnTo>
                      <a:pt x="7881" y="15762"/>
                    </a:lnTo>
                    <a:cubicBezTo>
                      <a:pt x="3521" y="15762"/>
                      <a:pt x="0" y="12241"/>
                      <a:pt x="0" y="7881"/>
                    </a:cubicBezTo>
                    <a:cubicBezTo>
                      <a:pt x="0" y="3521"/>
                      <a:pt x="3521" y="0"/>
                      <a:pt x="7881" y="0"/>
                    </a:cubicBezTo>
                    <a:lnTo>
                      <a:pt x="63049" y="0"/>
                    </a:lnTo>
                    <a:cubicBezTo>
                      <a:pt x="67408" y="0"/>
                      <a:pt x="70930" y="3521"/>
                      <a:pt x="70930" y="7881"/>
                    </a:cubicBezTo>
                    <a:cubicBezTo>
                      <a:pt x="70930" y="12241"/>
                      <a:pt x="67408" y="15762"/>
                      <a:pt x="63049" y="15762"/>
                    </a:cubicBezTo>
                    <a:close/>
                  </a:path>
                </a:pathLst>
              </a:custGeom>
              <a:solidFill>
                <a:schemeClr val="accent1"/>
              </a:solidFill>
              <a:ln w="2392" cap="flat">
                <a:noFill/>
                <a:prstDash val="solid"/>
                <a:miter/>
              </a:ln>
            </p:spPr>
            <p:txBody>
              <a:bodyPr rtlCol="0" anchor="ctr"/>
              <a:lstStyle/>
              <a:p>
                <a:endParaRPr lang="en-GB" dirty="0"/>
              </a:p>
            </p:txBody>
          </p:sp>
          <p:sp>
            <p:nvSpPr>
              <p:cNvPr id="617" name="Freihandform: Form 616">
                <a:extLst>
                  <a:ext uri="{FF2B5EF4-FFF2-40B4-BE49-F238E27FC236}">
                    <a16:creationId xmlns:a16="http://schemas.microsoft.com/office/drawing/2014/main" id="{0E82E561-A376-4070-95FE-983C0A07D035}"/>
                  </a:ext>
                </a:extLst>
              </p:cNvPr>
              <p:cNvSpPr/>
              <p:nvPr/>
            </p:nvSpPr>
            <p:spPr>
              <a:xfrm>
                <a:off x="6107522" y="4507126"/>
                <a:ext cx="118216" cy="15762"/>
              </a:xfrm>
              <a:custGeom>
                <a:avLst/>
                <a:gdLst>
                  <a:gd name="connsiteX0" fmla="*/ 110335 w 118216"/>
                  <a:gd name="connsiteY0" fmla="*/ 15762 h 15762"/>
                  <a:gd name="connsiteX1" fmla="*/ 7881 w 118216"/>
                  <a:gd name="connsiteY1" fmla="*/ 15762 h 15762"/>
                  <a:gd name="connsiteX2" fmla="*/ 0 w 118216"/>
                  <a:gd name="connsiteY2" fmla="*/ 7881 h 15762"/>
                  <a:gd name="connsiteX3" fmla="*/ 7881 w 118216"/>
                  <a:gd name="connsiteY3" fmla="*/ 0 h 15762"/>
                  <a:gd name="connsiteX4" fmla="*/ 110335 w 118216"/>
                  <a:gd name="connsiteY4" fmla="*/ 0 h 15762"/>
                  <a:gd name="connsiteX5" fmla="*/ 118216 w 118216"/>
                  <a:gd name="connsiteY5" fmla="*/ 7881 h 15762"/>
                  <a:gd name="connsiteX6" fmla="*/ 110335 w 11821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216" h="15762">
                    <a:moveTo>
                      <a:pt x="110335" y="15762"/>
                    </a:moveTo>
                    <a:lnTo>
                      <a:pt x="7881" y="15762"/>
                    </a:lnTo>
                    <a:cubicBezTo>
                      <a:pt x="3521" y="15762"/>
                      <a:pt x="0" y="12241"/>
                      <a:pt x="0" y="7881"/>
                    </a:cubicBezTo>
                    <a:cubicBezTo>
                      <a:pt x="0" y="3521"/>
                      <a:pt x="3521" y="0"/>
                      <a:pt x="7881" y="0"/>
                    </a:cubicBezTo>
                    <a:lnTo>
                      <a:pt x="110335" y="0"/>
                    </a:lnTo>
                    <a:cubicBezTo>
                      <a:pt x="114695" y="0"/>
                      <a:pt x="118216" y="3521"/>
                      <a:pt x="118216" y="7881"/>
                    </a:cubicBezTo>
                    <a:cubicBezTo>
                      <a:pt x="118216" y="12241"/>
                      <a:pt x="114695" y="15762"/>
                      <a:pt x="110335" y="15762"/>
                    </a:cubicBezTo>
                    <a:close/>
                  </a:path>
                </a:pathLst>
              </a:custGeom>
              <a:solidFill>
                <a:schemeClr val="accent1"/>
              </a:solidFill>
              <a:ln w="2392" cap="flat">
                <a:noFill/>
                <a:prstDash val="solid"/>
                <a:miter/>
              </a:ln>
            </p:spPr>
            <p:txBody>
              <a:bodyPr rtlCol="0" anchor="ctr"/>
              <a:lstStyle/>
              <a:p>
                <a:endParaRPr lang="en-GB" dirty="0"/>
              </a:p>
            </p:txBody>
          </p:sp>
          <p:sp>
            <p:nvSpPr>
              <p:cNvPr id="618" name="Freihandform: Form 617">
                <a:extLst>
                  <a:ext uri="{FF2B5EF4-FFF2-40B4-BE49-F238E27FC236}">
                    <a16:creationId xmlns:a16="http://schemas.microsoft.com/office/drawing/2014/main" id="{D2FBDC06-E657-44EB-A6DF-5E41970E90B5}"/>
                  </a:ext>
                </a:extLst>
              </p:cNvPr>
              <p:cNvSpPr/>
              <p:nvPr/>
            </p:nvSpPr>
            <p:spPr>
              <a:xfrm>
                <a:off x="6146927" y="4451958"/>
                <a:ext cx="47286" cy="15762"/>
              </a:xfrm>
              <a:custGeom>
                <a:avLst/>
                <a:gdLst>
                  <a:gd name="connsiteX0" fmla="*/ 39405 w 47286"/>
                  <a:gd name="connsiteY0" fmla="*/ 15762 h 15762"/>
                  <a:gd name="connsiteX1" fmla="*/ 7881 w 47286"/>
                  <a:gd name="connsiteY1" fmla="*/ 15762 h 15762"/>
                  <a:gd name="connsiteX2" fmla="*/ 0 w 47286"/>
                  <a:gd name="connsiteY2" fmla="*/ 7881 h 15762"/>
                  <a:gd name="connsiteX3" fmla="*/ 7881 w 47286"/>
                  <a:gd name="connsiteY3" fmla="*/ 0 h 15762"/>
                  <a:gd name="connsiteX4" fmla="*/ 39405 w 47286"/>
                  <a:gd name="connsiteY4" fmla="*/ 0 h 15762"/>
                  <a:gd name="connsiteX5" fmla="*/ 47286 w 47286"/>
                  <a:gd name="connsiteY5" fmla="*/ 7881 h 15762"/>
                  <a:gd name="connsiteX6" fmla="*/ 39405 w 4728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86" h="15762">
                    <a:moveTo>
                      <a:pt x="39405" y="15762"/>
                    </a:moveTo>
                    <a:lnTo>
                      <a:pt x="7881" y="15762"/>
                    </a:lnTo>
                    <a:cubicBezTo>
                      <a:pt x="3521" y="15762"/>
                      <a:pt x="0" y="12241"/>
                      <a:pt x="0" y="7881"/>
                    </a:cubicBezTo>
                    <a:cubicBezTo>
                      <a:pt x="0" y="3521"/>
                      <a:pt x="3521" y="0"/>
                      <a:pt x="7881" y="0"/>
                    </a:cubicBezTo>
                    <a:lnTo>
                      <a:pt x="39405" y="0"/>
                    </a:lnTo>
                    <a:cubicBezTo>
                      <a:pt x="43765" y="0"/>
                      <a:pt x="47286" y="3521"/>
                      <a:pt x="47286" y="7881"/>
                    </a:cubicBezTo>
                    <a:cubicBezTo>
                      <a:pt x="47286" y="12241"/>
                      <a:pt x="43765" y="15762"/>
                      <a:pt x="39405" y="15762"/>
                    </a:cubicBezTo>
                    <a:close/>
                  </a:path>
                </a:pathLst>
              </a:custGeom>
              <a:solidFill>
                <a:schemeClr val="accent1"/>
              </a:solidFill>
              <a:ln w="2392" cap="flat">
                <a:noFill/>
                <a:prstDash val="solid"/>
                <a:miter/>
              </a:ln>
            </p:spPr>
            <p:txBody>
              <a:bodyPr rtlCol="0" anchor="ctr"/>
              <a:lstStyle/>
              <a:p>
                <a:endParaRPr lang="en-GB" dirty="0"/>
              </a:p>
            </p:txBody>
          </p:sp>
          <p:sp>
            <p:nvSpPr>
              <p:cNvPr id="619" name="Freihandform: Form 618">
                <a:extLst>
                  <a:ext uri="{FF2B5EF4-FFF2-40B4-BE49-F238E27FC236}">
                    <a16:creationId xmlns:a16="http://schemas.microsoft.com/office/drawing/2014/main" id="{FE8E778C-18EA-4385-B2B8-56CCDF74B038}"/>
                  </a:ext>
                </a:extLst>
              </p:cNvPr>
              <p:cNvSpPr/>
              <p:nvPr/>
            </p:nvSpPr>
            <p:spPr>
              <a:xfrm>
                <a:off x="6036616" y="4507126"/>
                <a:ext cx="47286" cy="15762"/>
              </a:xfrm>
              <a:custGeom>
                <a:avLst/>
                <a:gdLst>
                  <a:gd name="connsiteX0" fmla="*/ 39405 w 47286"/>
                  <a:gd name="connsiteY0" fmla="*/ 15762 h 15762"/>
                  <a:gd name="connsiteX1" fmla="*/ 7881 w 47286"/>
                  <a:gd name="connsiteY1" fmla="*/ 15762 h 15762"/>
                  <a:gd name="connsiteX2" fmla="*/ 0 w 47286"/>
                  <a:gd name="connsiteY2" fmla="*/ 7881 h 15762"/>
                  <a:gd name="connsiteX3" fmla="*/ 7881 w 47286"/>
                  <a:gd name="connsiteY3" fmla="*/ 0 h 15762"/>
                  <a:gd name="connsiteX4" fmla="*/ 39405 w 47286"/>
                  <a:gd name="connsiteY4" fmla="*/ 0 h 15762"/>
                  <a:gd name="connsiteX5" fmla="*/ 47286 w 47286"/>
                  <a:gd name="connsiteY5" fmla="*/ 7881 h 15762"/>
                  <a:gd name="connsiteX6" fmla="*/ 39405 w 4728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86" h="15762">
                    <a:moveTo>
                      <a:pt x="39405" y="15762"/>
                    </a:moveTo>
                    <a:lnTo>
                      <a:pt x="7881" y="15762"/>
                    </a:lnTo>
                    <a:cubicBezTo>
                      <a:pt x="3521" y="15762"/>
                      <a:pt x="0" y="12241"/>
                      <a:pt x="0" y="7881"/>
                    </a:cubicBezTo>
                    <a:cubicBezTo>
                      <a:pt x="0" y="3521"/>
                      <a:pt x="3521" y="0"/>
                      <a:pt x="7881" y="0"/>
                    </a:cubicBezTo>
                    <a:lnTo>
                      <a:pt x="39405" y="0"/>
                    </a:lnTo>
                    <a:cubicBezTo>
                      <a:pt x="43765" y="0"/>
                      <a:pt x="47286" y="3521"/>
                      <a:pt x="47286" y="7881"/>
                    </a:cubicBezTo>
                    <a:cubicBezTo>
                      <a:pt x="47286" y="12241"/>
                      <a:pt x="43741" y="15762"/>
                      <a:pt x="39405" y="15762"/>
                    </a:cubicBezTo>
                    <a:close/>
                  </a:path>
                </a:pathLst>
              </a:custGeom>
              <a:solidFill>
                <a:schemeClr val="accent1"/>
              </a:solidFill>
              <a:ln w="2392" cap="flat">
                <a:noFill/>
                <a:prstDash val="solid"/>
                <a:miter/>
              </a:ln>
            </p:spPr>
            <p:txBody>
              <a:bodyPr rtlCol="0" anchor="ctr"/>
              <a:lstStyle/>
              <a:p>
                <a:endParaRPr lang="en-GB" dirty="0"/>
              </a:p>
            </p:txBody>
          </p:sp>
          <p:sp>
            <p:nvSpPr>
              <p:cNvPr id="620" name="Freihandform: Form 619">
                <a:extLst>
                  <a:ext uri="{FF2B5EF4-FFF2-40B4-BE49-F238E27FC236}">
                    <a16:creationId xmlns:a16="http://schemas.microsoft.com/office/drawing/2014/main" id="{693B97A4-190D-4E8B-90F6-ECB6DF0FAFDC}"/>
                  </a:ext>
                </a:extLst>
              </p:cNvPr>
              <p:cNvSpPr/>
              <p:nvPr/>
            </p:nvSpPr>
            <p:spPr>
              <a:xfrm>
                <a:off x="6249381" y="4507126"/>
                <a:ext cx="47286" cy="15762"/>
              </a:xfrm>
              <a:custGeom>
                <a:avLst/>
                <a:gdLst>
                  <a:gd name="connsiteX0" fmla="*/ 39405 w 47286"/>
                  <a:gd name="connsiteY0" fmla="*/ 15762 h 15762"/>
                  <a:gd name="connsiteX1" fmla="*/ 7881 w 47286"/>
                  <a:gd name="connsiteY1" fmla="*/ 15762 h 15762"/>
                  <a:gd name="connsiteX2" fmla="*/ 0 w 47286"/>
                  <a:gd name="connsiteY2" fmla="*/ 7881 h 15762"/>
                  <a:gd name="connsiteX3" fmla="*/ 7881 w 47286"/>
                  <a:gd name="connsiteY3" fmla="*/ 0 h 15762"/>
                  <a:gd name="connsiteX4" fmla="*/ 39405 w 47286"/>
                  <a:gd name="connsiteY4" fmla="*/ 0 h 15762"/>
                  <a:gd name="connsiteX5" fmla="*/ 47286 w 47286"/>
                  <a:gd name="connsiteY5" fmla="*/ 7881 h 15762"/>
                  <a:gd name="connsiteX6" fmla="*/ 39405 w 4728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86" h="15762">
                    <a:moveTo>
                      <a:pt x="39405" y="15762"/>
                    </a:moveTo>
                    <a:lnTo>
                      <a:pt x="7881" y="15762"/>
                    </a:lnTo>
                    <a:cubicBezTo>
                      <a:pt x="3521" y="15762"/>
                      <a:pt x="0" y="12241"/>
                      <a:pt x="0" y="7881"/>
                    </a:cubicBezTo>
                    <a:cubicBezTo>
                      <a:pt x="0" y="3521"/>
                      <a:pt x="3521" y="0"/>
                      <a:pt x="7881" y="0"/>
                    </a:cubicBezTo>
                    <a:lnTo>
                      <a:pt x="39405" y="0"/>
                    </a:lnTo>
                    <a:cubicBezTo>
                      <a:pt x="43765" y="0"/>
                      <a:pt x="47286" y="3521"/>
                      <a:pt x="47286" y="7881"/>
                    </a:cubicBezTo>
                    <a:cubicBezTo>
                      <a:pt x="47286" y="12241"/>
                      <a:pt x="43765" y="15762"/>
                      <a:pt x="39405" y="15762"/>
                    </a:cubicBezTo>
                    <a:close/>
                  </a:path>
                </a:pathLst>
              </a:custGeom>
              <a:solidFill>
                <a:schemeClr val="accent1"/>
              </a:solidFill>
              <a:ln w="2392" cap="flat">
                <a:noFill/>
                <a:prstDash val="solid"/>
                <a:miter/>
              </a:ln>
            </p:spPr>
            <p:txBody>
              <a:bodyPr rtlCol="0" anchor="ctr"/>
              <a:lstStyle/>
              <a:p>
                <a:endParaRPr lang="en-GB" dirty="0"/>
              </a:p>
            </p:txBody>
          </p:sp>
          <p:sp>
            <p:nvSpPr>
              <p:cNvPr id="621" name="Freihandform: Form 620">
                <a:extLst>
                  <a:ext uri="{FF2B5EF4-FFF2-40B4-BE49-F238E27FC236}">
                    <a16:creationId xmlns:a16="http://schemas.microsoft.com/office/drawing/2014/main" id="{5980F6C7-7442-4961-9A99-B8ED7001E3E5}"/>
                  </a:ext>
                </a:extLst>
              </p:cNvPr>
              <p:cNvSpPr/>
              <p:nvPr/>
            </p:nvSpPr>
            <p:spPr>
              <a:xfrm>
                <a:off x="6123284" y="4341623"/>
                <a:ext cx="102453" cy="15762"/>
              </a:xfrm>
              <a:custGeom>
                <a:avLst/>
                <a:gdLst>
                  <a:gd name="connsiteX0" fmla="*/ 94573 w 102453"/>
                  <a:gd name="connsiteY0" fmla="*/ 15762 h 15762"/>
                  <a:gd name="connsiteX1" fmla="*/ 7881 w 102453"/>
                  <a:gd name="connsiteY1" fmla="*/ 15762 h 15762"/>
                  <a:gd name="connsiteX2" fmla="*/ 0 w 102453"/>
                  <a:gd name="connsiteY2" fmla="*/ 7881 h 15762"/>
                  <a:gd name="connsiteX3" fmla="*/ 7881 w 102453"/>
                  <a:gd name="connsiteY3" fmla="*/ 0 h 15762"/>
                  <a:gd name="connsiteX4" fmla="*/ 94573 w 102453"/>
                  <a:gd name="connsiteY4" fmla="*/ 0 h 15762"/>
                  <a:gd name="connsiteX5" fmla="*/ 102454 w 102453"/>
                  <a:gd name="connsiteY5" fmla="*/ 7881 h 15762"/>
                  <a:gd name="connsiteX6" fmla="*/ 94573 w 102453"/>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53" h="15762">
                    <a:moveTo>
                      <a:pt x="94573" y="15762"/>
                    </a:moveTo>
                    <a:lnTo>
                      <a:pt x="7881" y="15762"/>
                    </a:lnTo>
                    <a:cubicBezTo>
                      <a:pt x="3521" y="15762"/>
                      <a:pt x="0" y="12241"/>
                      <a:pt x="0" y="7881"/>
                    </a:cubicBezTo>
                    <a:cubicBezTo>
                      <a:pt x="0" y="3522"/>
                      <a:pt x="3521" y="0"/>
                      <a:pt x="7881" y="0"/>
                    </a:cubicBezTo>
                    <a:lnTo>
                      <a:pt x="94573" y="0"/>
                    </a:lnTo>
                    <a:cubicBezTo>
                      <a:pt x="98933" y="0"/>
                      <a:pt x="102454" y="3522"/>
                      <a:pt x="102454" y="7881"/>
                    </a:cubicBezTo>
                    <a:cubicBezTo>
                      <a:pt x="102454" y="12241"/>
                      <a:pt x="98933" y="15762"/>
                      <a:pt x="94573" y="15762"/>
                    </a:cubicBezTo>
                    <a:close/>
                  </a:path>
                </a:pathLst>
              </a:custGeom>
              <a:solidFill>
                <a:schemeClr val="accent1"/>
              </a:solidFill>
              <a:ln w="2392" cap="flat">
                <a:noFill/>
                <a:prstDash val="solid"/>
                <a:miter/>
              </a:ln>
            </p:spPr>
            <p:txBody>
              <a:bodyPr rtlCol="0" anchor="ctr"/>
              <a:lstStyle/>
              <a:p>
                <a:endParaRPr lang="en-GB" dirty="0"/>
              </a:p>
            </p:txBody>
          </p:sp>
          <p:grpSp>
            <p:nvGrpSpPr>
              <p:cNvPr id="622" name="Grafik 14">
                <a:extLst>
                  <a:ext uri="{FF2B5EF4-FFF2-40B4-BE49-F238E27FC236}">
                    <a16:creationId xmlns:a16="http://schemas.microsoft.com/office/drawing/2014/main" id="{696FFE37-EC32-499F-949C-E08B94990B7C}"/>
                  </a:ext>
                </a:extLst>
              </p:cNvPr>
              <p:cNvGrpSpPr/>
              <p:nvPr/>
            </p:nvGrpSpPr>
            <p:grpSpPr>
              <a:xfrm>
                <a:off x="6133153" y="4617461"/>
                <a:ext cx="163514" cy="15762"/>
                <a:chOff x="6133153" y="4617461"/>
                <a:chExt cx="163514" cy="15762"/>
              </a:xfrm>
              <a:solidFill>
                <a:schemeClr val="accent1"/>
              </a:solidFill>
            </p:grpSpPr>
            <p:sp>
              <p:nvSpPr>
                <p:cNvPr id="630" name="Freihandform: Form 629">
                  <a:extLst>
                    <a:ext uri="{FF2B5EF4-FFF2-40B4-BE49-F238E27FC236}">
                      <a16:creationId xmlns:a16="http://schemas.microsoft.com/office/drawing/2014/main" id="{DAE4BD8C-B07B-4A95-9520-83ABD3F0138A}"/>
                    </a:ext>
                  </a:extLst>
                </p:cNvPr>
                <p:cNvSpPr/>
                <p:nvPr/>
              </p:nvSpPr>
              <p:spPr>
                <a:xfrm>
                  <a:off x="6133153" y="4617461"/>
                  <a:ext cx="39405" cy="15762"/>
                </a:xfrm>
                <a:custGeom>
                  <a:avLst/>
                  <a:gdLst>
                    <a:gd name="connsiteX0" fmla="*/ 31524 w 39405"/>
                    <a:gd name="connsiteY0" fmla="*/ 15762 h 15762"/>
                    <a:gd name="connsiteX1" fmla="*/ 7881 w 39405"/>
                    <a:gd name="connsiteY1" fmla="*/ 15762 h 15762"/>
                    <a:gd name="connsiteX2" fmla="*/ 0 w 39405"/>
                    <a:gd name="connsiteY2" fmla="*/ 7881 h 15762"/>
                    <a:gd name="connsiteX3" fmla="*/ 7881 w 39405"/>
                    <a:gd name="connsiteY3" fmla="*/ 0 h 15762"/>
                    <a:gd name="connsiteX4" fmla="*/ 31524 w 39405"/>
                    <a:gd name="connsiteY4" fmla="*/ 0 h 15762"/>
                    <a:gd name="connsiteX5" fmla="*/ 39405 w 39405"/>
                    <a:gd name="connsiteY5" fmla="*/ 7881 h 15762"/>
                    <a:gd name="connsiteX6" fmla="*/ 31524 w 39405"/>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05" h="15762">
                      <a:moveTo>
                        <a:pt x="31524" y="15762"/>
                      </a:moveTo>
                      <a:lnTo>
                        <a:pt x="7881" y="15762"/>
                      </a:lnTo>
                      <a:cubicBezTo>
                        <a:pt x="3521" y="15762"/>
                        <a:pt x="0" y="12241"/>
                        <a:pt x="0" y="7881"/>
                      </a:cubicBezTo>
                      <a:cubicBezTo>
                        <a:pt x="0" y="3521"/>
                        <a:pt x="3521" y="0"/>
                        <a:pt x="7881" y="0"/>
                      </a:cubicBezTo>
                      <a:lnTo>
                        <a:pt x="31524" y="0"/>
                      </a:lnTo>
                      <a:cubicBezTo>
                        <a:pt x="35884" y="0"/>
                        <a:pt x="39405" y="3521"/>
                        <a:pt x="39405" y="7881"/>
                      </a:cubicBezTo>
                      <a:cubicBezTo>
                        <a:pt x="39405" y="12241"/>
                        <a:pt x="35860" y="15762"/>
                        <a:pt x="31524" y="15762"/>
                      </a:cubicBezTo>
                      <a:close/>
                    </a:path>
                  </a:pathLst>
                </a:custGeom>
                <a:solidFill>
                  <a:schemeClr val="accent1"/>
                </a:solidFill>
                <a:ln w="2392" cap="flat">
                  <a:noFill/>
                  <a:prstDash val="solid"/>
                  <a:miter/>
                </a:ln>
              </p:spPr>
              <p:txBody>
                <a:bodyPr rtlCol="0" anchor="ctr"/>
                <a:lstStyle/>
                <a:p>
                  <a:endParaRPr lang="en-GB" dirty="0"/>
                </a:p>
              </p:txBody>
            </p:sp>
            <p:sp>
              <p:nvSpPr>
                <p:cNvPr id="631" name="Freihandform: Form 630">
                  <a:extLst>
                    <a:ext uri="{FF2B5EF4-FFF2-40B4-BE49-F238E27FC236}">
                      <a16:creationId xmlns:a16="http://schemas.microsoft.com/office/drawing/2014/main" id="{EA822055-ADFF-4372-9668-B733A63B4FE5}"/>
                    </a:ext>
                  </a:extLst>
                </p:cNvPr>
                <p:cNvSpPr/>
                <p:nvPr/>
              </p:nvSpPr>
              <p:spPr>
                <a:xfrm>
                  <a:off x="6194213" y="4617461"/>
                  <a:ext cx="102453" cy="15762"/>
                </a:xfrm>
                <a:custGeom>
                  <a:avLst/>
                  <a:gdLst>
                    <a:gd name="connsiteX0" fmla="*/ 94573 w 102453"/>
                    <a:gd name="connsiteY0" fmla="*/ 15762 h 15762"/>
                    <a:gd name="connsiteX1" fmla="*/ 7881 w 102453"/>
                    <a:gd name="connsiteY1" fmla="*/ 15762 h 15762"/>
                    <a:gd name="connsiteX2" fmla="*/ 0 w 102453"/>
                    <a:gd name="connsiteY2" fmla="*/ 7881 h 15762"/>
                    <a:gd name="connsiteX3" fmla="*/ 7881 w 102453"/>
                    <a:gd name="connsiteY3" fmla="*/ 0 h 15762"/>
                    <a:gd name="connsiteX4" fmla="*/ 94573 w 102453"/>
                    <a:gd name="connsiteY4" fmla="*/ 0 h 15762"/>
                    <a:gd name="connsiteX5" fmla="*/ 102454 w 102453"/>
                    <a:gd name="connsiteY5" fmla="*/ 7881 h 15762"/>
                    <a:gd name="connsiteX6" fmla="*/ 94573 w 102453"/>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53" h="15762">
                      <a:moveTo>
                        <a:pt x="94573" y="15762"/>
                      </a:moveTo>
                      <a:lnTo>
                        <a:pt x="7881" y="15762"/>
                      </a:lnTo>
                      <a:cubicBezTo>
                        <a:pt x="3521" y="15762"/>
                        <a:pt x="0" y="12241"/>
                        <a:pt x="0" y="7881"/>
                      </a:cubicBezTo>
                      <a:cubicBezTo>
                        <a:pt x="0" y="3521"/>
                        <a:pt x="3521" y="0"/>
                        <a:pt x="7881" y="0"/>
                      </a:cubicBezTo>
                      <a:lnTo>
                        <a:pt x="94573" y="0"/>
                      </a:lnTo>
                      <a:cubicBezTo>
                        <a:pt x="98933" y="0"/>
                        <a:pt x="102454" y="3521"/>
                        <a:pt x="102454" y="7881"/>
                      </a:cubicBezTo>
                      <a:cubicBezTo>
                        <a:pt x="102454" y="12241"/>
                        <a:pt x="98933" y="15762"/>
                        <a:pt x="94573" y="15762"/>
                      </a:cubicBezTo>
                      <a:close/>
                    </a:path>
                  </a:pathLst>
                </a:custGeom>
                <a:solidFill>
                  <a:schemeClr val="accent1"/>
                </a:solidFill>
                <a:ln w="2392" cap="flat">
                  <a:noFill/>
                  <a:prstDash val="solid"/>
                  <a:miter/>
                </a:ln>
              </p:spPr>
              <p:txBody>
                <a:bodyPr rtlCol="0" anchor="ctr"/>
                <a:lstStyle/>
                <a:p>
                  <a:endParaRPr lang="en-GB" dirty="0"/>
                </a:p>
              </p:txBody>
            </p:sp>
          </p:grpSp>
          <p:sp>
            <p:nvSpPr>
              <p:cNvPr id="623" name="Freihandform: Form 622">
                <a:extLst>
                  <a:ext uri="{FF2B5EF4-FFF2-40B4-BE49-F238E27FC236}">
                    <a16:creationId xmlns:a16="http://schemas.microsoft.com/office/drawing/2014/main" id="{992E2BDC-076F-4E04-A42C-3BD3AC745113}"/>
                  </a:ext>
                </a:extLst>
              </p:cNvPr>
              <p:cNvSpPr/>
              <p:nvPr/>
            </p:nvSpPr>
            <p:spPr>
              <a:xfrm>
                <a:off x="6005068" y="4396791"/>
                <a:ext cx="110334" cy="15762"/>
              </a:xfrm>
              <a:custGeom>
                <a:avLst/>
                <a:gdLst>
                  <a:gd name="connsiteX0" fmla="*/ 102454 w 110334"/>
                  <a:gd name="connsiteY0" fmla="*/ 15762 h 15762"/>
                  <a:gd name="connsiteX1" fmla="*/ 7881 w 110334"/>
                  <a:gd name="connsiteY1" fmla="*/ 15762 h 15762"/>
                  <a:gd name="connsiteX2" fmla="*/ 0 w 110334"/>
                  <a:gd name="connsiteY2" fmla="*/ 7881 h 15762"/>
                  <a:gd name="connsiteX3" fmla="*/ 7881 w 110334"/>
                  <a:gd name="connsiteY3" fmla="*/ 0 h 15762"/>
                  <a:gd name="connsiteX4" fmla="*/ 102454 w 110334"/>
                  <a:gd name="connsiteY4" fmla="*/ 0 h 15762"/>
                  <a:gd name="connsiteX5" fmla="*/ 110335 w 110334"/>
                  <a:gd name="connsiteY5" fmla="*/ 7881 h 15762"/>
                  <a:gd name="connsiteX6" fmla="*/ 102454 w 110334"/>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334" h="15762">
                    <a:moveTo>
                      <a:pt x="102454" y="15762"/>
                    </a:moveTo>
                    <a:lnTo>
                      <a:pt x="7881" y="15762"/>
                    </a:lnTo>
                    <a:cubicBezTo>
                      <a:pt x="3521" y="15762"/>
                      <a:pt x="0" y="12241"/>
                      <a:pt x="0" y="7881"/>
                    </a:cubicBezTo>
                    <a:cubicBezTo>
                      <a:pt x="0" y="3521"/>
                      <a:pt x="3521" y="0"/>
                      <a:pt x="7881" y="0"/>
                    </a:cubicBezTo>
                    <a:lnTo>
                      <a:pt x="102454" y="0"/>
                    </a:lnTo>
                    <a:cubicBezTo>
                      <a:pt x="106814" y="0"/>
                      <a:pt x="110335" y="3521"/>
                      <a:pt x="110335" y="7881"/>
                    </a:cubicBezTo>
                    <a:cubicBezTo>
                      <a:pt x="110335" y="12241"/>
                      <a:pt x="106814" y="15762"/>
                      <a:pt x="102454" y="15762"/>
                    </a:cubicBezTo>
                    <a:close/>
                  </a:path>
                </a:pathLst>
              </a:custGeom>
              <a:solidFill>
                <a:schemeClr val="accent1"/>
              </a:solidFill>
              <a:ln w="2392" cap="flat">
                <a:noFill/>
                <a:prstDash val="solid"/>
                <a:miter/>
              </a:ln>
            </p:spPr>
            <p:txBody>
              <a:bodyPr rtlCol="0" anchor="ctr"/>
              <a:lstStyle/>
              <a:p>
                <a:endParaRPr lang="en-GB" dirty="0"/>
              </a:p>
            </p:txBody>
          </p:sp>
          <p:sp>
            <p:nvSpPr>
              <p:cNvPr id="624" name="Freihandform: Form 623">
                <a:extLst>
                  <a:ext uri="{FF2B5EF4-FFF2-40B4-BE49-F238E27FC236}">
                    <a16:creationId xmlns:a16="http://schemas.microsoft.com/office/drawing/2014/main" id="{17482287-FA02-4870-AFD2-00401333C63A}"/>
                  </a:ext>
                </a:extLst>
              </p:cNvPr>
              <p:cNvSpPr/>
              <p:nvPr/>
            </p:nvSpPr>
            <p:spPr>
              <a:xfrm>
                <a:off x="6146927" y="4396791"/>
                <a:ext cx="70929" cy="15762"/>
              </a:xfrm>
              <a:custGeom>
                <a:avLst/>
                <a:gdLst>
                  <a:gd name="connsiteX0" fmla="*/ 63049 w 70929"/>
                  <a:gd name="connsiteY0" fmla="*/ 15762 h 15762"/>
                  <a:gd name="connsiteX1" fmla="*/ 7881 w 70929"/>
                  <a:gd name="connsiteY1" fmla="*/ 15762 h 15762"/>
                  <a:gd name="connsiteX2" fmla="*/ 0 w 70929"/>
                  <a:gd name="connsiteY2" fmla="*/ 7881 h 15762"/>
                  <a:gd name="connsiteX3" fmla="*/ 7881 w 70929"/>
                  <a:gd name="connsiteY3" fmla="*/ 0 h 15762"/>
                  <a:gd name="connsiteX4" fmla="*/ 63049 w 70929"/>
                  <a:gd name="connsiteY4" fmla="*/ 0 h 15762"/>
                  <a:gd name="connsiteX5" fmla="*/ 70930 w 70929"/>
                  <a:gd name="connsiteY5" fmla="*/ 7881 h 15762"/>
                  <a:gd name="connsiteX6" fmla="*/ 63049 w 70929"/>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29" h="15762">
                    <a:moveTo>
                      <a:pt x="63049" y="15762"/>
                    </a:moveTo>
                    <a:lnTo>
                      <a:pt x="7881" y="15762"/>
                    </a:lnTo>
                    <a:cubicBezTo>
                      <a:pt x="3521" y="15762"/>
                      <a:pt x="0" y="12241"/>
                      <a:pt x="0" y="7881"/>
                    </a:cubicBezTo>
                    <a:cubicBezTo>
                      <a:pt x="0" y="3521"/>
                      <a:pt x="3521" y="0"/>
                      <a:pt x="7881" y="0"/>
                    </a:cubicBezTo>
                    <a:lnTo>
                      <a:pt x="63049" y="0"/>
                    </a:lnTo>
                    <a:cubicBezTo>
                      <a:pt x="67408" y="0"/>
                      <a:pt x="70930" y="3521"/>
                      <a:pt x="70930" y="7881"/>
                    </a:cubicBezTo>
                    <a:cubicBezTo>
                      <a:pt x="70930" y="12241"/>
                      <a:pt x="67408" y="15762"/>
                      <a:pt x="63049" y="15762"/>
                    </a:cubicBezTo>
                    <a:close/>
                  </a:path>
                </a:pathLst>
              </a:custGeom>
              <a:solidFill>
                <a:schemeClr val="accent1"/>
              </a:solidFill>
              <a:ln w="2392" cap="flat">
                <a:noFill/>
                <a:prstDash val="solid"/>
                <a:miter/>
              </a:ln>
            </p:spPr>
            <p:txBody>
              <a:bodyPr rtlCol="0" anchor="ctr"/>
              <a:lstStyle/>
              <a:p>
                <a:endParaRPr lang="en-GB" dirty="0"/>
              </a:p>
            </p:txBody>
          </p:sp>
          <p:sp>
            <p:nvSpPr>
              <p:cNvPr id="625" name="Freihandform: Form 624">
                <a:extLst>
                  <a:ext uri="{FF2B5EF4-FFF2-40B4-BE49-F238E27FC236}">
                    <a16:creationId xmlns:a16="http://schemas.microsoft.com/office/drawing/2014/main" id="{C9E806F3-5D85-4CE9-9135-FA106DF8FB0F}"/>
                  </a:ext>
                </a:extLst>
              </p:cNvPr>
              <p:cNvSpPr/>
              <p:nvPr/>
            </p:nvSpPr>
            <p:spPr>
              <a:xfrm>
                <a:off x="6241500" y="4396791"/>
                <a:ext cx="55167" cy="15762"/>
              </a:xfrm>
              <a:custGeom>
                <a:avLst/>
                <a:gdLst>
                  <a:gd name="connsiteX0" fmla="*/ 47286 w 55167"/>
                  <a:gd name="connsiteY0" fmla="*/ 15762 h 15762"/>
                  <a:gd name="connsiteX1" fmla="*/ 7881 w 55167"/>
                  <a:gd name="connsiteY1" fmla="*/ 15762 h 15762"/>
                  <a:gd name="connsiteX2" fmla="*/ 0 w 55167"/>
                  <a:gd name="connsiteY2" fmla="*/ 7881 h 15762"/>
                  <a:gd name="connsiteX3" fmla="*/ 7881 w 55167"/>
                  <a:gd name="connsiteY3" fmla="*/ 0 h 15762"/>
                  <a:gd name="connsiteX4" fmla="*/ 47286 w 55167"/>
                  <a:gd name="connsiteY4" fmla="*/ 0 h 15762"/>
                  <a:gd name="connsiteX5" fmla="*/ 55167 w 55167"/>
                  <a:gd name="connsiteY5" fmla="*/ 7881 h 15762"/>
                  <a:gd name="connsiteX6" fmla="*/ 47286 w 55167"/>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7" h="15762">
                    <a:moveTo>
                      <a:pt x="47286" y="15762"/>
                    </a:moveTo>
                    <a:lnTo>
                      <a:pt x="7881" y="15762"/>
                    </a:lnTo>
                    <a:cubicBezTo>
                      <a:pt x="3521" y="15762"/>
                      <a:pt x="0" y="12241"/>
                      <a:pt x="0" y="7881"/>
                    </a:cubicBezTo>
                    <a:cubicBezTo>
                      <a:pt x="0" y="3521"/>
                      <a:pt x="3521" y="0"/>
                      <a:pt x="7881" y="0"/>
                    </a:cubicBezTo>
                    <a:lnTo>
                      <a:pt x="47286" y="0"/>
                    </a:lnTo>
                    <a:cubicBezTo>
                      <a:pt x="51646" y="0"/>
                      <a:pt x="55167" y="3521"/>
                      <a:pt x="55167" y="7881"/>
                    </a:cubicBezTo>
                    <a:cubicBezTo>
                      <a:pt x="55167" y="12241"/>
                      <a:pt x="51646" y="15762"/>
                      <a:pt x="47286" y="15762"/>
                    </a:cubicBezTo>
                    <a:close/>
                  </a:path>
                </a:pathLst>
              </a:custGeom>
              <a:solidFill>
                <a:schemeClr val="accent1"/>
              </a:solidFill>
              <a:ln w="2392" cap="flat">
                <a:noFill/>
                <a:prstDash val="solid"/>
                <a:miter/>
              </a:ln>
            </p:spPr>
            <p:txBody>
              <a:bodyPr rtlCol="0" anchor="ctr"/>
              <a:lstStyle/>
              <a:p>
                <a:endParaRPr lang="en-GB" dirty="0"/>
              </a:p>
            </p:txBody>
          </p:sp>
          <p:grpSp>
            <p:nvGrpSpPr>
              <p:cNvPr id="626" name="Grafik 14">
                <a:extLst>
                  <a:ext uri="{FF2B5EF4-FFF2-40B4-BE49-F238E27FC236}">
                    <a16:creationId xmlns:a16="http://schemas.microsoft.com/office/drawing/2014/main" id="{8150FCB7-CA09-4F79-A0AA-5A00DEC0B2D5}"/>
                  </a:ext>
                </a:extLst>
              </p:cNvPr>
              <p:cNvGrpSpPr/>
              <p:nvPr/>
            </p:nvGrpSpPr>
            <p:grpSpPr>
              <a:xfrm>
                <a:off x="6005068" y="4562293"/>
                <a:ext cx="291599" cy="15762"/>
                <a:chOff x="6005068" y="4562293"/>
                <a:chExt cx="291599" cy="15762"/>
              </a:xfrm>
              <a:solidFill>
                <a:schemeClr val="accent1"/>
              </a:solidFill>
            </p:grpSpPr>
            <p:sp>
              <p:nvSpPr>
                <p:cNvPr id="627" name="Freihandform: Form 626">
                  <a:extLst>
                    <a:ext uri="{FF2B5EF4-FFF2-40B4-BE49-F238E27FC236}">
                      <a16:creationId xmlns:a16="http://schemas.microsoft.com/office/drawing/2014/main" id="{C4CA5D40-B007-4948-A6EC-37F027EA37B5}"/>
                    </a:ext>
                  </a:extLst>
                </p:cNvPr>
                <p:cNvSpPr/>
                <p:nvPr/>
              </p:nvSpPr>
              <p:spPr>
                <a:xfrm>
                  <a:off x="6005068" y="4562293"/>
                  <a:ext cx="110334" cy="15762"/>
                </a:xfrm>
                <a:custGeom>
                  <a:avLst/>
                  <a:gdLst>
                    <a:gd name="connsiteX0" fmla="*/ 102454 w 110334"/>
                    <a:gd name="connsiteY0" fmla="*/ 15762 h 15762"/>
                    <a:gd name="connsiteX1" fmla="*/ 7881 w 110334"/>
                    <a:gd name="connsiteY1" fmla="*/ 15762 h 15762"/>
                    <a:gd name="connsiteX2" fmla="*/ 0 w 110334"/>
                    <a:gd name="connsiteY2" fmla="*/ 7881 h 15762"/>
                    <a:gd name="connsiteX3" fmla="*/ 7881 w 110334"/>
                    <a:gd name="connsiteY3" fmla="*/ 0 h 15762"/>
                    <a:gd name="connsiteX4" fmla="*/ 102454 w 110334"/>
                    <a:gd name="connsiteY4" fmla="*/ 0 h 15762"/>
                    <a:gd name="connsiteX5" fmla="*/ 110335 w 110334"/>
                    <a:gd name="connsiteY5" fmla="*/ 7881 h 15762"/>
                    <a:gd name="connsiteX6" fmla="*/ 102454 w 110334"/>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334" h="15762">
                      <a:moveTo>
                        <a:pt x="102454" y="15762"/>
                      </a:moveTo>
                      <a:lnTo>
                        <a:pt x="7881" y="15762"/>
                      </a:lnTo>
                      <a:cubicBezTo>
                        <a:pt x="3521" y="15762"/>
                        <a:pt x="0" y="12241"/>
                        <a:pt x="0" y="7881"/>
                      </a:cubicBezTo>
                      <a:cubicBezTo>
                        <a:pt x="0" y="3522"/>
                        <a:pt x="3521" y="0"/>
                        <a:pt x="7881" y="0"/>
                      </a:cubicBezTo>
                      <a:lnTo>
                        <a:pt x="102454" y="0"/>
                      </a:lnTo>
                      <a:cubicBezTo>
                        <a:pt x="106814" y="0"/>
                        <a:pt x="110335" y="3522"/>
                        <a:pt x="110335" y="7881"/>
                      </a:cubicBezTo>
                      <a:cubicBezTo>
                        <a:pt x="110335" y="12241"/>
                        <a:pt x="106814" y="15762"/>
                        <a:pt x="102454" y="15762"/>
                      </a:cubicBezTo>
                      <a:close/>
                    </a:path>
                  </a:pathLst>
                </a:custGeom>
                <a:solidFill>
                  <a:schemeClr val="accent1"/>
                </a:solidFill>
                <a:ln w="2392" cap="flat">
                  <a:noFill/>
                  <a:prstDash val="solid"/>
                  <a:miter/>
                </a:ln>
              </p:spPr>
              <p:txBody>
                <a:bodyPr rtlCol="0" anchor="ctr"/>
                <a:lstStyle/>
                <a:p>
                  <a:endParaRPr lang="en-GB" dirty="0"/>
                </a:p>
              </p:txBody>
            </p:sp>
            <p:sp>
              <p:nvSpPr>
                <p:cNvPr id="628" name="Freihandform: Form 627">
                  <a:extLst>
                    <a:ext uri="{FF2B5EF4-FFF2-40B4-BE49-F238E27FC236}">
                      <a16:creationId xmlns:a16="http://schemas.microsoft.com/office/drawing/2014/main" id="{F2F621AD-07F9-4FB1-936A-A1B0483F440E}"/>
                    </a:ext>
                  </a:extLst>
                </p:cNvPr>
                <p:cNvSpPr/>
                <p:nvPr/>
              </p:nvSpPr>
              <p:spPr>
                <a:xfrm>
                  <a:off x="6146927" y="4562293"/>
                  <a:ext cx="70929" cy="15762"/>
                </a:xfrm>
                <a:custGeom>
                  <a:avLst/>
                  <a:gdLst>
                    <a:gd name="connsiteX0" fmla="*/ 63049 w 70929"/>
                    <a:gd name="connsiteY0" fmla="*/ 15762 h 15762"/>
                    <a:gd name="connsiteX1" fmla="*/ 7881 w 70929"/>
                    <a:gd name="connsiteY1" fmla="*/ 15762 h 15762"/>
                    <a:gd name="connsiteX2" fmla="*/ 0 w 70929"/>
                    <a:gd name="connsiteY2" fmla="*/ 7881 h 15762"/>
                    <a:gd name="connsiteX3" fmla="*/ 7881 w 70929"/>
                    <a:gd name="connsiteY3" fmla="*/ 0 h 15762"/>
                    <a:gd name="connsiteX4" fmla="*/ 63049 w 70929"/>
                    <a:gd name="connsiteY4" fmla="*/ 0 h 15762"/>
                    <a:gd name="connsiteX5" fmla="*/ 70930 w 70929"/>
                    <a:gd name="connsiteY5" fmla="*/ 7881 h 15762"/>
                    <a:gd name="connsiteX6" fmla="*/ 63049 w 70929"/>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929" h="15762">
                      <a:moveTo>
                        <a:pt x="63049" y="15762"/>
                      </a:moveTo>
                      <a:lnTo>
                        <a:pt x="7881" y="15762"/>
                      </a:lnTo>
                      <a:cubicBezTo>
                        <a:pt x="3521" y="15762"/>
                        <a:pt x="0" y="12241"/>
                        <a:pt x="0" y="7881"/>
                      </a:cubicBezTo>
                      <a:cubicBezTo>
                        <a:pt x="0" y="3522"/>
                        <a:pt x="3521" y="0"/>
                        <a:pt x="7881" y="0"/>
                      </a:cubicBezTo>
                      <a:lnTo>
                        <a:pt x="63049" y="0"/>
                      </a:lnTo>
                      <a:cubicBezTo>
                        <a:pt x="67408" y="0"/>
                        <a:pt x="70930" y="3522"/>
                        <a:pt x="70930" y="7881"/>
                      </a:cubicBezTo>
                      <a:cubicBezTo>
                        <a:pt x="70930" y="12241"/>
                        <a:pt x="67408" y="15762"/>
                        <a:pt x="63049" y="15762"/>
                      </a:cubicBezTo>
                      <a:close/>
                    </a:path>
                  </a:pathLst>
                </a:custGeom>
                <a:solidFill>
                  <a:schemeClr val="accent1"/>
                </a:solidFill>
                <a:ln w="2392" cap="flat">
                  <a:noFill/>
                  <a:prstDash val="solid"/>
                  <a:miter/>
                </a:ln>
              </p:spPr>
              <p:txBody>
                <a:bodyPr rtlCol="0" anchor="ctr"/>
                <a:lstStyle/>
                <a:p>
                  <a:endParaRPr lang="en-GB" dirty="0"/>
                </a:p>
              </p:txBody>
            </p:sp>
            <p:sp>
              <p:nvSpPr>
                <p:cNvPr id="629" name="Freihandform: Form 628">
                  <a:extLst>
                    <a:ext uri="{FF2B5EF4-FFF2-40B4-BE49-F238E27FC236}">
                      <a16:creationId xmlns:a16="http://schemas.microsoft.com/office/drawing/2014/main" id="{6A5020FE-4207-4B6B-B5E3-9B582889FB7B}"/>
                    </a:ext>
                  </a:extLst>
                </p:cNvPr>
                <p:cNvSpPr/>
                <p:nvPr/>
              </p:nvSpPr>
              <p:spPr>
                <a:xfrm>
                  <a:off x="6241500" y="4562293"/>
                  <a:ext cx="55167" cy="15762"/>
                </a:xfrm>
                <a:custGeom>
                  <a:avLst/>
                  <a:gdLst>
                    <a:gd name="connsiteX0" fmla="*/ 47286 w 55167"/>
                    <a:gd name="connsiteY0" fmla="*/ 15762 h 15762"/>
                    <a:gd name="connsiteX1" fmla="*/ 7881 w 55167"/>
                    <a:gd name="connsiteY1" fmla="*/ 15762 h 15762"/>
                    <a:gd name="connsiteX2" fmla="*/ 0 w 55167"/>
                    <a:gd name="connsiteY2" fmla="*/ 7881 h 15762"/>
                    <a:gd name="connsiteX3" fmla="*/ 7881 w 55167"/>
                    <a:gd name="connsiteY3" fmla="*/ 0 h 15762"/>
                    <a:gd name="connsiteX4" fmla="*/ 47286 w 55167"/>
                    <a:gd name="connsiteY4" fmla="*/ 0 h 15762"/>
                    <a:gd name="connsiteX5" fmla="*/ 55167 w 55167"/>
                    <a:gd name="connsiteY5" fmla="*/ 7881 h 15762"/>
                    <a:gd name="connsiteX6" fmla="*/ 47286 w 55167"/>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167" h="15762">
                      <a:moveTo>
                        <a:pt x="47286" y="15762"/>
                      </a:moveTo>
                      <a:lnTo>
                        <a:pt x="7881" y="15762"/>
                      </a:lnTo>
                      <a:cubicBezTo>
                        <a:pt x="3521" y="15762"/>
                        <a:pt x="0" y="12241"/>
                        <a:pt x="0" y="7881"/>
                      </a:cubicBezTo>
                      <a:cubicBezTo>
                        <a:pt x="0" y="3522"/>
                        <a:pt x="3521" y="0"/>
                        <a:pt x="7881" y="0"/>
                      </a:cubicBezTo>
                      <a:lnTo>
                        <a:pt x="47286" y="0"/>
                      </a:lnTo>
                      <a:cubicBezTo>
                        <a:pt x="51646" y="0"/>
                        <a:pt x="55167" y="3522"/>
                        <a:pt x="55167" y="7881"/>
                      </a:cubicBezTo>
                      <a:cubicBezTo>
                        <a:pt x="55167" y="12241"/>
                        <a:pt x="51646" y="15762"/>
                        <a:pt x="47286" y="15762"/>
                      </a:cubicBezTo>
                      <a:close/>
                    </a:path>
                  </a:pathLst>
                </a:custGeom>
                <a:solidFill>
                  <a:schemeClr val="accent1"/>
                </a:solidFill>
                <a:ln w="2392" cap="flat">
                  <a:noFill/>
                  <a:prstDash val="solid"/>
                  <a:miter/>
                </a:ln>
              </p:spPr>
              <p:txBody>
                <a:bodyPr rtlCol="0" anchor="ctr"/>
                <a:lstStyle/>
                <a:p>
                  <a:endParaRPr lang="en-GB" dirty="0"/>
                </a:p>
              </p:txBody>
            </p:sp>
          </p:grpSp>
        </p:grpSp>
      </p:grpSp>
      <p:grpSp>
        <p:nvGrpSpPr>
          <p:cNvPr id="635" name="Gruppieren 634">
            <a:extLst>
              <a:ext uri="{FF2B5EF4-FFF2-40B4-BE49-F238E27FC236}">
                <a16:creationId xmlns:a16="http://schemas.microsoft.com/office/drawing/2014/main" id="{8E082E0E-F1CD-4CF9-A52A-6F0ADAE3843A}"/>
              </a:ext>
            </a:extLst>
          </p:cNvPr>
          <p:cNvGrpSpPr>
            <a:grpSpLocks noChangeAspect="1"/>
          </p:cNvGrpSpPr>
          <p:nvPr/>
        </p:nvGrpSpPr>
        <p:grpSpPr>
          <a:xfrm>
            <a:off x="8144956" y="4097452"/>
            <a:ext cx="409225" cy="432000"/>
            <a:chOff x="8054075" y="4152452"/>
            <a:chExt cx="567405" cy="598985"/>
          </a:xfrm>
        </p:grpSpPr>
        <p:grpSp>
          <p:nvGrpSpPr>
            <p:cNvPr id="636" name="Gruppieren 635">
              <a:extLst>
                <a:ext uri="{FF2B5EF4-FFF2-40B4-BE49-F238E27FC236}">
                  <a16:creationId xmlns:a16="http://schemas.microsoft.com/office/drawing/2014/main" id="{4C504391-3C0A-4A56-8650-BE8047AD2258}"/>
                </a:ext>
              </a:extLst>
            </p:cNvPr>
            <p:cNvGrpSpPr/>
            <p:nvPr/>
          </p:nvGrpSpPr>
          <p:grpSpPr>
            <a:xfrm>
              <a:off x="8054075" y="4152452"/>
              <a:ext cx="567405" cy="598985"/>
              <a:chOff x="8054104" y="4152454"/>
              <a:chExt cx="567407" cy="598985"/>
            </a:xfrm>
          </p:grpSpPr>
          <p:sp>
            <p:nvSpPr>
              <p:cNvPr id="648" name="Freihandform: Form 647">
                <a:extLst>
                  <a:ext uri="{FF2B5EF4-FFF2-40B4-BE49-F238E27FC236}">
                    <a16:creationId xmlns:a16="http://schemas.microsoft.com/office/drawing/2014/main" id="{425D846C-39E6-40C6-92E2-7427D5805291}"/>
                  </a:ext>
                </a:extLst>
              </p:cNvPr>
              <p:cNvSpPr/>
              <p:nvPr/>
            </p:nvSpPr>
            <p:spPr>
              <a:xfrm>
                <a:off x="8085621" y="4152502"/>
                <a:ext cx="78810" cy="417672"/>
              </a:xfrm>
              <a:custGeom>
                <a:avLst/>
                <a:gdLst>
                  <a:gd name="connsiteX0" fmla="*/ 70930 w 78810"/>
                  <a:gd name="connsiteY0" fmla="*/ 417672 h 417672"/>
                  <a:gd name="connsiteX1" fmla="*/ 7881 w 78810"/>
                  <a:gd name="connsiteY1" fmla="*/ 417672 h 417672"/>
                  <a:gd name="connsiteX2" fmla="*/ 0 w 78810"/>
                  <a:gd name="connsiteY2" fmla="*/ 409791 h 417672"/>
                  <a:gd name="connsiteX3" fmla="*/ 0 w 78810"/>
                  <a:gd name="connsiteY3" fmla="*/ 7881 h 417672"/>
                  <a:gd name="connsiteX4" fmla="*/ 7881 w 78810"/>
                  <a:gd name="connsiteY4" fmla="*/ 0 h 417672"/>
                  <a:gd name="connsiteX5" fmla="*/ 70930 w 78810"/>
                  <a:gd name="connsiteY5" fmla="*/ 0 h 417672"/>
                  <a:gd name="connsiteX6" fmla="*/ 78811 w 78810"/>
                  <a:gd name="connsiteY6" fmla="*/ 7881 h 417672"/>
                  <a:gd name="connsiteX7" fmla="*/ 78811 w 78810"/>
                  <a:gd name="connsiteY7" fmla="*/ 409791 h 417672"/>
                  <a:gd name="connsiteX8" fmla="*/ 70930 w 78810"/>
                  <a:gd name="connsiteY8" fmla="*/ 417672 h 417672"/>
                  <a:gd name="connsiteX9" fmla="*/ 15762 w 78810"/>
                  <a:gd name="connsiteY9" fmla="*/ 401910 h 417672"/>
                  <a:gd name="connsiteX10" fmla="*/ 63048 w 78810"/>
                  <a:gd name="connsiteY10" fmla="*/ 401910 h 417672"/>
                  <a:gd name="connsiteX11" fmla="*/ 63048 w 78810"/>
                  <a:gd name="connsiteY11" fmla="*/ 15738 h 417672"/>
                  <a:gd name="connsiteX12" fmla="*/ 15762 w 78810"/>
                  <a:gd name="connsiteY12" fmla="*/ 15738 h 417672"/>
                  <a:gd name="connsiteX13" fmla="*/ 15762 w 78810"/>
                  <a:gd name="connsiteY13" fmla="*/ 401910 h 417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810" h="417672">
                    <a:moveTo>
                      <a:pt x="70930" y="417672"/>
                    </a:moveTo>
                    <a:lnTo>
                      <a:pt x="7881" y="417672"/>
                    </a:lnTo>
                    <a:cubicBezTo>
                      <a:pt x="3521" y="417672"/>
                      <a:pt x="0" y="414151"/>
                      <a:pt x="0" y="409791"/>
                    </a:cubicBezTo>
                    <a:lnTo>
                      <a:pt x="0" y="7881"/>
                    </a:lnTo>
                    <a:cubicBezTo>
                      <a:pt x="0" y="3521"/>
                      <a:pt x="3521" y="0"/>
                      <a:pt x="7881" y="0"/>
                    </a:cubicBezTo>
                    <a:lnTo>
                      <a:pt x="70930" y="0"/>
                    </a:lnTo>
                    <a:cubicBezTo>
                      <a:pt x="75289" y="0"/>
                      <a:pt x="78811" y="3521"/>
                      <a:pt x="78811" y="7881"/>
                    </a:cubicBezTo>
                    <a:lnTo>
                      <a:pt x="78811" y="409791"/>
                    </a:lnTo>
                    <a:cubicBezTo>
                      <a:pt x="78811" y="414151"/>
                      <a:pt x="75289" y="417672"/>
                      <a:pt x="70930" y="417672"/>
                    </a:cubicBezTo>
                    <a:close/>
                    <a:moveTo>
                      <a:pt x="15762" y="401910"/>
                    </a:moveTo>
                    <a:lnTo>
                      <a:pt x="63048" y="401910"/>
                    </a:lnTo>
                    <a:lnTo>
                      <a:pt x="63048" y="15738"/>
                    </a:lnTo>
                    <a:lnTo>
                      <a:pt x="15762" y="15738"/>
                    </a:lnTo>
                    <a:lnTo>
                      <a:pt x="15762" y="401910"/>
                    </a:lnTo>
                    <a:close/>
                  </a:path>
                </a:pathLst>
              </a:custGeom>
              <a:solidFill>
                <a:schemeClr val="tx2"/>
              </a:solidFill>
              <a:ln w="2392" cap="flat">
                <a:noFill/>
                <a:prstDash val="solid"/>
                <a:miter/>
              </a:ln>
            </p:spPr>
            <p:txBody>
              <a:bodyPr rtlCol="0" anchor="ctr"/>
              <a:lstStyle/>
              <a:p>
                <a:endParaRPr lang="en-GB" dirty="0"/>
              </a:p>
            </p:txBody>
          </p:sp>
          <p:sp>
            <p:nvSpPr>
              <p:cNvPr id="649" name="Freihandform: Form 648">
                <a:extLst>
                  <a:ext uri="{FF2B5EF4-FFF2-40B4-BE49-F238E27FC236}">
                    <a16:creationId xmlns:a16="http://schemas.microsoft.com/office/drawing/2014/main" id="{3C3C90CD-3E15-4323-A1AF-3340E0FB1F96}"/>
                  </a:ext>
                </a:extLst>
              </p:cNvPr>
              <p:cNvSpPr/>
              <p:nvPr/>
            </p:nvSpPr>
            <p:spPr>
              <a:xfrm>
                <a:off x="8069859" y="4554412"/>
                <a:ext cx="110334" cy="39405"/>
              </a:xfrm>
              <a:custGeom>
                <a:avLst/>
                <a:gdLst>
                  <a:gd name="connsiteX0" fmla="*/ 102454 w 110334"/>
                  <a:gd name="connsiteY0" fmla="*/ 39405 h 39405"/>
                  <a:gd name="connsiteX1" fmla="*/ 7881 w 110334"/>
                  <a:gd name="connsiteY1" fmla="*/ 39405 h 39405"/>
                  <a:gd name="connsiteX2" fmla="*/ 0 w 110334"/>
                  <a:gd name="connsiteY2" fmla="*/ 31524 h 39405"/>
                  <a:gd name="connsiteX3" fmla="*/ 0 w 110334"/>
                  <a:gd name="connsiteY3" fmla="*/ 7881 h 39405"/>
                  <a:gd name="connsiteX4" fmla="*/ 7881 w 110334"/>
                  <a:gd name="connsiteY4" fmla="*/ 0 h 39405"/>
                  <a:gd name="connsiteX5" fmla="*/ 102454 w 110334"/>
                  <a:gd name="connsiteY5" fmla="*/ 0 h 39405"/>
                  <a:gd name="connsiteX6" fmla="*/ 110335 w 110334"/>
                  <a:gd name="connsiteY6" fmla="*/ 7881 h 39405"/>
                  <a:gd name="connsiteX7" fmla="*/ 110335 w 110334"/>
                  <a:gd name="connsiteY7" fmla="*/ 31524 h 39405"/>
                  <a:gd name="connsiteX8" fmla="*/ 102454 w 110334"/>
                  <a:gd name="connsiteY8" fmla="*/ 39405 h 39405"/>
                  <a:gd name="connsiteX9" fmla="*/ 15762 w 110334"/>
                  <a:gd name="connsiteY9" fmla="*/ 23643 h 39405"/>
                  <a:gd name="connsiteX10" fmla="*/ 94573 w 110334"/>
                  <a:gd name="connsiteY10" fmla="*/ 23643 h 39405"/>
                  <a:gd name="connsiteX11" fmla="*/ 94573 w 110334"/>
                  <a:gd name="connsiteY11" fmla="*/ 15762 h 39405"/>
                  <a:gd name="connsiteX12" fmla="*/ 15762 w 110334"/>
                  <a:gd name="connsiteY12" fmla="*/ 15762 h 39405"/>
                  <a:gd name="connsiteX13" fmla="*/ 15762 w 110334"/>
                  <a:gd name="connsiteY13" fmla="*/ 23643 h 39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0334" h="39405">
                    <a:moveTo>
                      <a:pt x="102454" y="39405"/>
                    </a:moveTo>
                    <a:lnTo>
                      <a:pt x="7881" y="39405"/>
                    </a:lnTo>
                    <a:cubicBezTo>
                      <a:pt x="3521" y="39405"/>
                      <a:pt x="0" y="35884"/>
                      <a:pt x="0" y="31524"/>
                    </a:cubicBezTo>
                    <a:lnTo>
                      <a:pt x="0" y="7881"/>
                    </a:lnTo>
                    <a:cubicBezTo>
                      <a:pt x="0" y="3521"/>
                      <a:pt x="3521" y="0"/>
                      <a:pt x="7881" y="0"/>
                    </a:cubicBezTo>
                    <a:lnTo>
                      <a:pt x="102454" y="0"/>
                    </a:lnTo>
                    <a:cubicBezTo>
                      <a:pt x="106814" y="0"/>
                      <a:pt x="110335" y="3521"/>
                      <a:pt x="110335" y="7881"/>
                    </a:cubicBezTo>
                    <a:lnTo>
                      <a:pt x="110335" y="31524"/>
                    </a:lnTo>
                    <a:cubicBezTo>
                      <a:pt x="110335" y="35884"/>
                      <a:pt x="106814" y="39405"/>
                      <a:pt x="102454" y="39405"/>
                    </a:cubicBezTo>
                    <a:close/>
                    <a:moveTo>
                      <a:pt x="15762" y="23643"/>
                    </a:moveTo>
                    <a:lnTo>
                      <a:pt x="94573" y="23643"/>
                    </a:lnTo>
                    <a:lnTo>
                      <a:pt x="94573" y="15762"/>
                    </a:lnTo>
                    <a:lnTo>
                      <a:pt x="15762" y="15762"/>
                    </a:lnTo>
                    <a:lnTo>
                      <a:pt x="15762" y="23643"/>
                    </a:lnTo>
                    <a:close/>
                  </a:path>
                </a:pathLst>
              </a:custGeom>
              <a:solidFill>
                <a:schemeClr val="tx2"/>
              </a:solidFill>
              <a:ln w="2392" cap="flat">
                <a:noFill/>
                <a:prstDash val="solid"/>
                <a:miter/>
              </a:ln>
            </p:spPr>
            <p:txBody>
              <a:bodyPr rtlCol="0" anchor="ctr"/>
              <a:lstStyle/>
              <a:p>
                <a:endParaRPr lang="en-GB" dirty="0"/>
              </a:p>
            </p:txBody>
          </p:sp>
          <p:sp>
            <p:nvSpPr>
              <p:cNvPr id="650" name="Freihandform: Form 649">
                <a:extLst>
                  <a:ext uri="{FF2B5EF4-FFF2-40B4-BE49-F238E27FC236}">
                    <a16:creationId xmlns:a16="http://schemas.microsoft.com/office/drawing/2014/main" id="{3A3617E7-E437-4BA5-96EB-48CC785C4494}"/>
                  </a:ext>
                </a:extLst>
              </p:cNvPr>
              <p:cNvSpPr/>
              <p:nvPr/>
            </p:nvSpPr>
            <p:spPr>
              <a:xfrm>
                <a:off x="8085621" y="4578055"/>
                <a:ext cx="78810" cy="47286"/>
              </a:xfrm>
              <a:custGeom>
                <a:avLst/>
                <a:gdLst>
                  <a:gd name="connsiteX0" fmla="*/ 70930 w 78810"/>
                  <a:gd name="connsiteY0" fmla="*/ 47286 h 47286"/>
                  <a:gd name="connsiteX1" fmla="*/ 7881 w 78810"/>
                  <a:gd name="connsiteY1" fmla="*/ 47286 h 47286"/>
                  <a:gd name="connsiteX2" fmla="*/ 0 w 78810"/>
                  <a:gd name="connsiteY2" fmla="*/ 39405 h 47286"/>
                  <a:gd name="connsiteX3" fmla="*/ 0 w 78810"/>
                  <a:gd name="connsiteY3" fmla="*/ 7881 h 47286"/>
                  <a:gd name="connsiteX4" fmla="*/ 7881 w 78810"/>
                  <a:gd name="connsiteY4" fmla="*/ 0 h 47286"/>
                  <a:gd name="connsiteX5" fmla="*/ 70930 w 78810"/>
                  <a:gd name="connsiteY5" fmla="*/ 0 h 47286"/>
                  <a:gd name="connsiteX6" fmla="*/ 78811 w 78810"/>
                  <a:gd name="connsiteY6" fmla="*/ 7881 h 47286"/>
                  <a:gd name="connsiteX7" fmla="*/ 78811 w 78810"/>
                  <a:gd name="connsiteY7" fmla="*/ 39405 h 47286"/>
                  <a:gd name="connsiteX8" fmla="*/ 70930 w 78810"/>
                  <a:gd name="connsiteY8" fmla="*/ 47286 h 47286"/>
                  <a:gd name="connsiteX9" fmla="*/ 15762 w 78810"/>
                  <a:gd name="connsiteY9" fmla="*/ 31524 h 47286"/>
                  <a:gd name="connsiteX10" fmla="*/ 63048 w 78810"/>
                  <a:gd name="connsiteY10" fmla="*/ 31524 h 47286"/>
                  <a:gd name="connsiteX11" fmla="*/ 63048 w 78810"/>
                  <a:gd name="connsiteY11" fmla="*/ 15762 h 47286"/>
                  <a:gd name="connsiteX12" fmla="*/ 15762 w 78810"/>
                  <a:gd name="connsiteY12" fmla="*/ 15762 h 47286"/>
                  <a:gd name="connsiteX13" fmla="*/ 15762 w 78810"/>
                  <a:gd name="connsiteY13" fmla="*/ 31524 h 4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810" h="47286">
                    <a:moveTo>
                      <a:pt x="70930" y="47286"/>
                    </a:moveTo>
                    <a:lnTo>
                      <a:pt x="7881" y="47286"/>
                    </a:lnTo>
                    <a:cubicBezTo>
                      <a:pt x="3521" y="47286"/>
                      <a:pt x="0" y="43765"/>
                      <a:pt x="0" y="39405"/>
                    </a:cubicBezTo>
                    <a:lnTo>
                      <a:pt x="0" y="7881"/>
                    </a:lnTo>
                    <a:cubicBezTo>
                      <a:pt x="0" y="3521"/>
                      <a:pt x="3521" y="0"/>
                      <a:pt x="7881" y="0"/>
                    </a:cubicBezTo>
                    <a:lnTo>
                      <a:pt x="70930" y="0"/>
                    </a:lnTo>
                    <a:cubicBezTo>
                      <a:pt x="75289" y="0"/>
                      <a:pt x="78811" y="3521"/>
                      <a:pt x="78811" y="7881"/>
                    </a:cubicBezTo>
                    <a:lnTo>
                      <a:pt x="78811" y="39405"/>
                    </a:lnTo>
                    <a:cubicBezTo>
                      <a:pt x="78811" y="43765"/>
                      <a:pt x="75289" y="47286"/>
                      <a:pt x="70930" y="47286"/>
                    </a:cubicBezTo>
                    <a:close/>
                    <a:moveTo>
                      <a:pt x="15762" y="31524"/>
                    </a:moveTo>
                    <a:lnTo>
                      <a:pt x="63048" y="31524"/>
                    </a:lnTo>
                    <a:lnTo>
                      <a:pt x="63048" y="15762"/>
                    </a:lnTo>
                    <a:lnTo>
                      <a:pt x="15762" y="15762"/>
                    </a:lnTo>
                    <a:lnTo>
                      <a:pt x="15762" y="31524"/>
                    </a:lnTo>
                    <a:close/>
                  </a:path>
                </a:pathLst>
              </a:custGeom>
              <a:solidFill>
                <a:schemeClr val="tx2"/>
              </a:solidFill>
              <a:ln w="2392" cap="flat">
                <a:noFill/>
                <a:prstDash val="solid"/>
                <a:miter/>
              </a:ln>
            </p:spPr>
            <p:txBody>
              <a:bodyPr rtlCol="0" anchor="ctr"/>
              <a:lstStyle/>
              <a:p>
                <a:endParaRPr lang="en-GB" dirty="0"/>
              </a:p>
            </p:txBody>
          </p:sp>
          <p:sp>
            <p:nvSpPr>
              <p:cNvPr id="651" name="Freihandform: Form 650">
                <a:extLst>
                  <a:ext uri="{FF2B5EF4-FFF2-40B4-BE49-F238E27FC236}">
                    <a16:creationId xmlns:a16="http://schemas.microsoft.com/office/drawing/2014/main" id="{77D2CA82-31B0-4DDC-9509-70173C99D93B}"/>
                  </a:ext>
                </a:extLst>
              </p:cNvPr>
              <p:cNvSpPr/>
              <p:nvPr/>
            </p:nvSpPr>
            <p:spPr>
              <a:xfrm>
                <a:off x="8054104" y="4609580"/>
                <a:ext cx="141845" cy="141859"/>
              </a:xfrm>
              <a:custGeom>
                <a:avLst/>
                <a:gdLst>
                  <a:gd name="connsiteX0" fmla="*/ 70923 w 141845"/>
                  <a:gd name="connsiteY0" fmla="*/ 141859 h 141859"/>
                  <a:gd name="connsiteX1" fmla="*/ 64216 w 141845"/>
                  <a:gd name="connsiteY1" fmla="*/ 138122 h 141859"/>
                  <a:gd name="connsiteX2" fmla="*/ 1167 w 141845"/>
                  <a:gd name="connsiteY2" fmla="*/ 35668 h 141859"/>
                  <a:gd name="connsiteX3" fmla="*/ 3155 w 141845"/>
                  <a:gd name="connsiteY3" fmla="*/ 25224 h 141859"/>
                  <a:gd name="connsiteX4" fmla="*/ 34679 w 141845"/>
                  <a:gd name="connsiteY4" fmla="*/ 1581 h 141859"/>
                  <a:gd name="connsiteX5" fmla="*/ 39399 w 141845"/>
                  <a:gd name="connsiteY5" fmla="*/ 0 h 141859"/>
                  <a:gd name="connsiteX6" fmla="*/ 102447 w 141845"/>
                  <a:gd name="connsiteY6" fmla="*/ 0 h 141859"/>
                  <a:gd name="connsiteX7" fmla="*/ 107166 w 141845"/>
                  <a:gd name="connsiteY7" fmla="*/ 1581 h 141859"/>
                  <a:gd name="connsiteX8" fmla="*/ 138690 w 141845"/>
                  <a:gd name="connsiteY8" fmla="*/ 25224 h 141859"/>
                  <a:gd name="connsiteX9" fmla="*/ 140678 w 141845"/>
                  <a:gd name="connsiteY9" fmla="*/ 35668 h 141859"/>
                  <a:gd name="connsiteX10" fmla="*/ 77630 w 141845"/>
                  <a:gd name="connsiteY10" fmla="*/ 138122 h 141859"/>
                  <a:gd name="connsiteX11" fmla="*/ 70923 w 141845"/>
                  <a:gd name="connsiteY11" fmla="*/ 141859 h 141859"/>
                  <a:gd name="connsiteX12" fmla="*/ 18366 w 141845"/>
                  <a:gd name="connsiteY12" fmla="*/ 33512 h 141859"/>
                  <a:gd name="connsiteX13" fmla="*/ 70923 w 141845"/>
                  <a:gd name="connsiteY13" fmla="*/ 118934 h 141859"/>
                  <a:gd name="connsiteX14" fmla="*/ 123479 w 141845"/>
                  <a:gd name="connsiteY14" fmla="*/ 33512 h 141859"/>
                  <a:gd name="connsiteX15" fmla="*/ 99812 w 141845"/>
                  <a:gd name="connsiteY15" fmla="*/ 15762 h 141859"/>
                  <a:gd name="connsiteX16" fmla="*/ 42010 w 141845"/>
                  <a:gd name="connsiteY16" fmla="*/ 15762 h 141859"/>
                  <a:gd name="connsiteX17" fmla="*/ 18366 w 141845"/>
                  <a:gd name="connsiteY17" fmla="*/ 33512 h 141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1845" h="141859">
                    <a:moveTo>
                      <a:pt x="70923" y="141859"/>
                    </a:moveTo>
                    <a:cubicBezTo>
                      <a:pt x="68192" y="141859"/>
                      <a:pt x="65653" y="140446"/>
                      <a:pt x="64216" y="138122"/>
                    </a:cubicBezTo>
                    <a:lnTo>
                      <a:pt x="1167" y="35668"/>
                    </a:lnTo>
                    <a:cubicBezTo>
                      <a:pt x="-965" y="32195"/>
                      <a:pt x="-103" y="27667"/>
                      <a:pt x="3155" y="25224"/>
                    </a:cubicBezTo>
                    <a:lnTo>
                      <a:pt x="34679" y="1581"/>
                    </a:lnTo>
                    <a:cubicBezTo>
                      <a:pt x="36045" y="551"/>
                      <a:pt x="37698" y="0"/>
                      <a:pt x="39399" y="0"/>
                    </a:cubicBezTo>
                    <a:lnTo>
                      <a:pt x="102447" y="0"/>
                    </a:lnTo>
                    <a:cubicBezTo>
                      <a:pt x="104148" y="0"/>
                      <a:pt x="105801" y="551"/>
                      <a:pt x="107166" y="1581"/>
                    </a:cubicBezTo>
                    <a:lnTo>
                      <a:pt x="138690" y="25224"/>
                    </a:lnTo>
                    <a:cubicBezTo>
                      <a:pt x="141948" y="27667"/>
                      <a:pt x="142810" y="32195"/>
                      <a:pt x="140678" y="35668"/>
                    </a:cubicBezTo>
                    <a:lnTo>
                      <a:pt x="77630" y="138122"/>
                    </a:lnTo>
                    <a:cubicBezTo>
                      <a:pt x="76193" y="140446"/>
                      <a:pt x="73654" y="141859"/>
                      <a:pt x="70923" y="141859"/>
                    </a:cubicBezTo>
                    <a:close/>
                    <a:moveTo>
                      <a:pt x="18366" y="33512"/>
                    </a:moveTo>
                    <a:lnTo>
                      <a:pt x="70923" y="118934"/>
                    </a:lnTo>
                    <a:lnTo>
                      <a:pt x="123479" y="33512"/>
                    </a:lnTo>
                    <a:lnTo>
                      <a:pt x="99812" y="15762"/>
                    </a:lnTo>
                    <a:lnTo>
                      <a:pt x="42010" y="15762"/>
                    </a:lnTo>
                    <a:lnTo>
                      <a:pt x="18366" y="33512"/>
                    </a:lnTo>
                    <a:close/>
                  </a:path>
                </a:pathLst>
              </a:custGeom>
              <a:solidFill>
                <a:schemeClr val="tx2"/>
              </a:solidFill>
              <a:ln w="2392" cap="flat">
                <a:noFill/>
                <a:prstDash val="solid"/>
                <a:miter/>
              </a:ln>
            </p:spPr>
            <p:txBody>
              <a:bodyPr rtlCol="0" anchor="ctr"/>
              <a:lstStyle/>
              <a:p>
                <a:endParaRPr lang="en-GB" dirty="0"/>
              </a:p>
            </p:txBody>
          </p:sp>
          <p:sp>
            <p:nvSpPr>
              <p:cNvPr id="652" name="Freihandform: Form 651">
                <a:extLst>
                  <a:ext uri="{FF2B5EF4-FFF2-40B4-BE49-F238E27FC236}">
                    <a16:creationId xmlns:a16="http://schemas.microsoft.com/office/drawing/2014/main" id="{0E939F43-7171-4ED8-9AC6-A56109269A50}"/>
                  </a:ext>
                </a:extLst>
              </p:cNvPr>
              <p:cNvSpPr/>
              <p:nvPr/>
            </p:nvSpPr>
            <p:spPr>
              <a:xfrm>
                <a:off x="8117146" y="4609580"/>
                <a:ext cx="15762" cy="55167"/>
              </a:xfrm>
              <a:custGeom>
                <a:avLst/>
                <a:gdLst>
                  <a:gd name="connsiteX0" fmla="*/ 7881 w 15762"/>
                  <a:gd name="connsiteY0" fmla="*/ 55167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7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7"/>
                    </a:moveTo>
                    <a:cubicBezTo>
                      <a:pt x="3521" y="55167"/>
                      <a:pt x="0" y="51646"/>
                      <a:pt x="0" y="47286"/>
                    </a:cubicBezTo>
                    <a:lnTo>
                      <a:pt x="0" y="7881"/>
                    </a:lnTo>
                    <a:cubicBezTo>
                      <a:pt x="0" y="3521"/>
                      <a:pt x="3521" y="0"/>
                      <a:pt x="7881" y="0"/>
                    </a:cubicBezTo>
                    <a:cubicBezTo>
                      <a:pt x="12241" y="0"/>
                      <a:pt x="15762" y="3521"/>
                      <a:pt x="15762" y="7881"/>
                    </a:cubicBezTo>
                    <a:lnTo>
                      <a:pt x="15762" y="47286"/>
                    </a:lnTo>
                    <a:cubicBezTo>
                      <a:pt x="15762" y="51646"/>
                      <a:pt x="12241" y="55167"/>
                      <a:pt x="7881" y="55167"/>
                    </a:cubicBezTo>
                    <a:close/>
                  </a:path>
                </a:pathLst>
              </a:custGeom>
              <a:solidFill>
                <a:schemeClr val="tx2"/>
              </a:solidFill>
              <a:ln w="2392" cap="flat">
                <a:noFill/>
                <a:prstDash val="solid"/>
                <a:miter/>
              </a:ln>
            </p:spPr>
            <p:txBody>
              <a:bodyPr rtlCol="0" anchor="ctr"/>
              <a:lstStyle/>
              <a:p>
                <a:endParaRPr lang="en-GB" dirty="0"/>
              </a:p>
            </p:txBody>
          </p:sp>
          <p:sp>
            <p:nvSpPr>
              <p:cNvPr id="653" name="Freihandform: Form 652">
                <a:extLst>
                  <a:ext uri="{FF2B5EF4-FFF2-40B4-BE49-F238E27FC236}">
                    <a16:creationId xmlns:a16="http://schemas.microsoft.com/office/drawing/2014/main" id="{96C2EF3C-CDD0-4A86-BFF9-0630F249BD76}"/>
                  </a:ext>
                </a:extLst>
              </p:cNvPr>
              <p:cNvSpPr/>
              <p:nvPr/>
            </p:nvSpPr>
            <p:spPr>
              <a:xfrm>
                <a:off x="8085621" y="4199764"/>
                <a:ext cx="39405" cy="15762"/>
              </a:xfrm>
              <a:custGeom>
                <a:avLst/>
                <a:gdLst>
                  <a:gd name="connsiteX0" fmla="*/ 31524 w 39405"/>
                  <a:gd name="connsiteY0" fmla="*/ 15762 h 15762"/>
                  <a:gd name="connsiteX1" fmla="*/ 7881 w 39405"/>
                  <a:gd name="connsiteY1" fmla="*/ 15762 h 15762"/>
                  <a:gd name="connsiteX2" fmla="*/ 0 w 39405"/>
                  <a:gd name="connsiteY2" fmla="*/ 7881 h 15762"/>
                  <a:gd name="connsiteX3" fmla="*/ 7881 w 39405"/>
                  <a:gd name="connsiteY3" fmla="*/ 0 h 15762"/>
                  <a:gd name="connsiteX4" fmla="*/ 31524 w 39405"/>
                  <a:gd name="connsiteY4" fmla="*/ 0 h 15762"/>
                  <a:gd name="connsiteX5" fmla="*/ 39405 w 39405"/>
                  <a:gd name="connsiteY5" fmla="*/ 7881 h 15762"/>
                  <a:gd name="connsiteX6" fmla="*/ 31524 w 39405"/>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05" h="15762">
                    <a:moveTo>
                      <a:pt x="31524" y="15762"/>
                    </a:moveTo>
                    <a:lnTo>
                      <a:pt x="7881" y="15762"/>
                    </a:lnTo>
                    <a:cubicBezTo>
                      <a:pt x="3521" y="15762"/>
                      <a:pt x="0" y="12241"/>
                      <a:pt x="0" y="7881"/>
                    </a:cubicBezTo>
                    <a:cubicBezTo>
                      <a:pt x="0" y="3521"/>
                      <a:pt x="3521" y="0"/>
                      <a:pt x="7881" y="0"/>
                    </a:cubicBezTo>
                    <a:lnTo>
                      <a:pt x="31524" y="0"/>
                    </a:lnTo>
                    <a:cubicBezTo>
                      <a:pt x="35884" y="0"/>
                      <a:pt x="39405" y="3521"/>
                      <a:pt x="39405" y="7881"/>
                    </a:cubicBezTo>
                    <a:cubicBezTo>
                      <a:pt x="39405" y="12241"/>
                      <a:pt x="35884" y="15762"/>
                      <a:pt x="31524" y="15762"/>
                    </a:cubicBezTo>
                    <a:close/>
                  </a:path>
                </a:pathLst>
              </a:custGeom>
              <a:solidFill>
                <a:schemeClr val="tx2"/>
              </a:solidFill>
              <a:ln w="2392" cap="flat">
                <a:noFill/>
                <a:prstDash val="solid"/>
                <a:miter/>
              </a:ln>
            </p:spPr>
            <p:txBody>
              <a:bodyPr rtlCol="0" anchor="ctr"/>
              <a:lstStyle/>
              <a:p>
                <a:endParaRPr lang="en-GB" dirty="0"/>
              </a:p>
            </p:txBody>
          </p:sp>
          <p:sp>
            <p:nvSpPr>
              <p:cNvPr id="654" name="Freihandform: Form 653">
                <a:extLst>
                  <a:ext uri="{FF2B5EF4-FFF2-40B4-BE49-F238E27FC236}">
                    <a16:creationId xmlns:a16="http://schemas.microsoft.com/office/drawing/2014/main" id="{5C050F82-D2CF-420C-8C22-C68CCDF76519}"/>
                  </a:ext>
                </a:extLst>
              </p:cNvPr>
              <p:cNvSpPr/>
              <p:nvPr/>
            </p:nvSpPr>
            <p:spPr>
              <a:xfrm>
                <a:off x="8085621" y="4254932"/>
                <a:ext cx="39405" cy="15762"/>
              </a:xfrm>
              <a:custGeom>
                <a:avLst/>
                <a:gdLst>
                  <a:gd name="connsiteX0" fmla="*/ 31524 w 39405"/>
                  <a:gd name="connsiteY0" fmla="*/ 15762 h 15762"/>
                  <a:gd name="connsiteX1" fmla="*/ 7881 w 39405"/>
                  <a:gd name="connsiteY1" fmla="*/ 15762 h 15762"/>
                  <a:gd name="connsiteX2" fmla="*/ 0 w 39405"/>
                  <a:gd name="connsiteY2" fmla="*/ 7881 h 15762"/>
                  <a:gd name="connsiteX3" fmla="*/ 7881 w 39405"/>
                  <a:gd name="connsiteY3" fmla="*/ 0 h 15762"/>
                  <a:gd name="connsiteX4" fmla="*/ 31524 w 39405"/>
                  <a:gd name="connsiteY4" fmla="*/ 0 h 15762"/>
                  <a:gd name="connsiteX5" fmla="*/ 39405 w 39405"/>
                  <a:gd name="connsiteY5" fmla="*/ 7881 h 15762"/>
                  <a:gd name="connsiteX6" fmla="*/ 31524 w 39405"/>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05" h="15762">
                    <a:moveTo>
                      <a:pt x="31524" y="15762"/>
                    </a:moveTo>
                    <a:lnTo>
                      <a:pt x="7881" y="15762"/>
                    </a:lnTo>
                    <a:cubicBezTo>
                      <a:pt x="3521" y="15762"/>
                      <a:pt x="0" y="12241"/>
                      <a:pt x="0" y="7881"/>
                    </a:cubicBezTo>
                    <a:cubicBezTo>
                      <a:pt x="0" y="3521"/>
                      <a:pt x="3521" y="0"/>
                      <a:pt x="7881" y="0"/>
                    </a:cubicBezTo>
                    <a:lnTo>
                      <a:pt x="31524" y="0"/>
                    </a:lnTo>
                    <a:cubicBezTo>
                      <a:pt x="35884" y="0"/>
                      <a:pt x="39405" y="3521"/>
                      <a:pt x="39405" y="7881"/>
                    </a:cubicBezTo>
                    <a:cubicBezTo>
                      <a:pt x="39405" y="12241"/>
                      <a:pt x="35884" y="15762"/>
                      <a:pt x="31524" y="15762"/>
                    </a:cubicBezTo>
                    <a:close/>
                  </a:path>
                </a:pathLst>
              </a:custGeom>
              <a:solidFill>
                <a:schemeClr val="tx2"/>
              </a:solidFill>
              <a:ln w="2392" cap="flat">
                <a:noFill/>
                <a:prstDash val="solid"/>
                <a:miter/>
              </a:ln>
            </p:spPr>
            <p:txBody>
              <a:bodyPr rtlCol="0" anchor="ctr"/>
              <a:lstStyle/>
              <a:p>
                <a:endParaRPr lang="en-GB" dirty="0"/>
              </a:p>
            </p:txBody>
          </p:sp>
          <p:sp>
            <p:nvSpPr>
              <p:cNvPr id="655" name="Freihandform: Form 654">
                <a:extLst>
                  <a:ext uri="{FF2B5EF4-FFF2-40B4-BE49-F238E27FC236}">
                    <a16:creationId xmlns:a16="http://schemas.microsoft.com/office/drawing/2014/main" id="{FE24D4B6-535A-4B26-85DB-11C4EDE03AB6}"/>
                  </a:ext>
                </a:extLst>
              </p:cNvPr>
              <p:cNvSpPr/>
              <p:nvPr/>
            </p:nvSpPr>
            <p:spPr>
              <a:xfrm>
                <a:off x="8085621" y="4451958"/>
                <a:ext cx="39405" cy="15762"/>
              </a:xfrm>
              <a:custGeom>
                <a:avLst/>
                <a:gdLst>
                  <a:gd name="connsiteX0" fmla="*/ 31524 w 39405"/>
                  <a:gd name="connsiteY0" fmla="*/ 15762 h 15762"/>
                  <a:gd name="connsiteX1" fmla="*/ 7881 w 39405"/>
                  <a:gd name="connsiteY1" fmla="*/ 15762 h 15762"/>
                  <a:gd name="connsiteX2" fmla="*/ 0 w 39405"/>
                  <a:gd name="connsiteY2" fmla="*/ 7881 h 15762"/>
                  <a:gd name="connsiteX3" fmla="*/ 7881 w 39405"/>
                  <a:gd name="connsiteY3" fmla="*/ 0 h 15762"/>
                  <a:gd name="connsiteX4" fmla="*/ 31524 w 39405"/>
                  <a:gd name="connsiteY4" fmla="*/ 0 h 15762"/>
                  <a:gd name="connsiteX5" fmla="*/ 39405 w 39405"/>
                  <a:gd name="connsiteY5" fmla="*/ 7881 h 15762"/>
                  <a:gd name="connsiteX6" fmla="*/ 31524 w 39405"/>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05" h="15762">
                    <a:moveTo>
                      <a:pt x="31524" y="15762"/>
                    </a:moveTo>
                    <a:lnTo>
                      <a:pt x="7881" y="15762"/>
                    </a:lnTo>
                    <a:cubicBezTo>
                      <a:pt x="3521" y="15762"/>
                      <a:pt x="0" y="12241"/>
                      <a:pt x="0" y="7881"/>
                    </a:cubicBezTo>
                    <a:cubicBezTo>
                      <a:pt x="0" y="3521"/>
                      <a:pt x="3521" y="0"/>
                      <a:pt x="7881" y="0"/>
                    </a:cubicBezTo>
                    <a:lnTo>
                      <a:pt x="31524" y="0"/>
                    </a:lnTo>
                    <a:cubicBezTo>
                      <a:pt x="35884" y="0"/>
                      <a:pt x="39405" y="3521"/>
                      <a:pt x="39405" y="7881"/>
                    </a:cubicBezTo>
                    <a:cubicBezTo>
                      <a:pt x="39405" y="12241"/>
                      <a:pt x="35884" y="15762"/>
                      <a:pt x="31524" y="15762"/>
                    </a:cubicBezTo>
                    <a:close/>
                  </a:path>
                </a:pathLst>
              </a:custGeom>
              <a:solidFill>
                <a:schemeClr val="tx2"/>
              </a:solidFill>
              <a:ln w="2392" cap="flat">
                <a:noFill/>
                <a:prstDash val="solid"/>
                <a:miter/>
              </a:ln>
            </p:spPr>
            <p:txBody>
              <a:bodyPr rtlCol="0" anchor="ctr"/>
              <a:lstStyle/>
              <a:p>
                <a:endParaRPr lang="en-GB" dirty="0"/>
              </a:p>
            </p:txBody>
          </p:sp>
          <p:sp>
            <p:nvSpPr>
              <p:cNvPr id="656" name="Freihandform: Form 655">
                <a:extLst>
                  <a:ext uri="{FF2B5EF4-FFF2-40B4-BE49-F238E27FC236}">
                    <a16:creationId xmlns:a16="http://schemas.microsoft.com/office/drawing/2014/main" id="{0CDD24D2-6082-425B-8906-50F563DE13AA}"/>
                  </a:ext>
                </a:extLst>
              </p:cNvPr>
              <p:cNvSpPr/>
              <p:nvPr/>
            </p:nvSpPr>
            <p:spPr>
              <a:xfrm>
                <a:off x="8085621" y="4507126"/>
                <a:ext cx="39405" cy="15762"/>
              </a:xfrm>
              <a:custGeom>
                <a:avLst/>
                <a:gdLst>
                  <a:gd name="connsiteX0" fmla="*/ 31524 w 39405"/>
                  <a:gd name="connsiteY0" fmla="*/ 15762 h 15762"/>
                  <a:gd name="connsiteX1" fmla="*/ 7881 w 39405"/>
                  <a:gd name="connsiteY1" fmla="*/ 15762 h 15762"/>
                  <a:gd name="connsiteX2" fmla="*/ 0 w 39405"/>
                  <a:gd name="connsiteY2" fmla="*/ 7881 h 15762"/>
                  <a:gd name="connsiteX3" fmla="*/ 7881 w 39405"/>
                  <a:gd name="connsiteY3" fmla="*/ 0 h 15762"/>
                  <a:gd name="connsiteX4" fmla="*/ 31524 w 39405"/>
                  <a:gd name="connsiteY4" fmla="*/ 0 h 15762"/>
                  <a:gd name="connsiteX5" fmla="*/ 39405 w 39405"/>
                  <a:gd name="connsiteY5" fmla="*/ 7881 h 15762"/>
                  <a:gd name="connsiteX6" fmla="*/ 31524 w 39405"/>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05" h="15762">
                    <a:moveTo>
                      <a:pt x="31524" y="15762"/>
                    </a:moveTo>
                    <a:lnTo>
                      <a:pt x="7881" y="15762"/>
                    </a:lnTo>
                    <a:cubicBezTo>
                      <a:pt x="3521" y="15762"/>
                      <a:pt x="0" y="12241"/>
                      <a:pt x="0" y="7881"/>
                    </a:cubicBezTo>
                    <a:cubicBezTo>
                      <a:pt x="0" y="3521"/>
                      <a:pt x="3521" y="0"/>
                      <a:pt x="7881" y="0"/>
                    </a:cubicBezTo>
                    <a:lnTo>
                      <a:pt x="31524" y="0"/>
                    </a:lnTo>
                    <a:cubicBezTo>
                      <a:pt x="35884" y="0"/>
                      <a:pt x="39405" y="3521"/>
                      <a:pt x="39405" y="7881"/>
                    </a:cubicBezTo>
                    <a:cubicBezTo>
                      <a:pt x="39405" y="12241"/>
                      <a:pt x="35884" y="15762"/>
                      <a:pt x="31524" y="15762"/>
                    </a:cubicBezTo>
                    <a:close/>
                  </a:path>
                </a:pathLst>
              </a:custGeom>
              <a:solidFill>
                <a:schemeClr val="tx2"/>
              </a:solidFill>
              <a:ln w="2392" cap="flat">
                <a:noFill/>
                <a:prstDash val="solid"/>
                <a:miter/>
              </a:ln>
            </p:spPr>
            <p:txBody>
              <a:bodyPr rtlCol="0" anchor="ctr"/>
              <a:lstStyle/>
              <a:p>
                <a:endParaRPr lang="en-GB" dirty="0"/>
              </a:p>
            </p:txBody>
          </p:sp>
          <p:sp>
            <p:nvSpPr>
              <p:cNvPr id="657" name="Freihandform: Form 656">
                <a:extLst>
                  <a:ext uri="{FF2B5EF4-FFF2-40B4-BE49-F238E27FC236}">
                    <a16:creationId xmlns:a16="http://schemas.microsoft.com/office/drawing/2014/main" id="{9AA74953-C6E7-4205-871D-3304400E43C0}"/>
                  </a:ext>
                </a:extLst>
              </p:cNvPr>
              <p:cNvSpPr/>
              <p:nvPr/>
            </p:nvSpPr>
            <p:spPr>
              <a:xfrm>
                <a:off x="8542699" y="4262837"/>
                <a:ext cx="78810" cy="449196"/>
              </a:xfrm>
              <a:custGeom>
                <a:avLst/>
                <a:gdLst>
                  <a:gd name="connsiteX0" fmla="*/ 70930 w 78810"/>
                  <a:gd name="connsiteY0" fmla="*/ 449197 h 449196"/>
                  <a:gd name="connsiteX1" fmla="*/ 7881 w 78810"/>
                  <a:gd name="connsiteY1" fmla="*/ 449197 h 449196"/>
                  <a:gd name="connsiteX2" fmla="*/ 0 w 78810"/>
                  <a:gd name="connsiteY2" fmla="*/ 441316 h 449196"/>
                  <a:gd name="connsiteX3" fmla="*/ 0 w 78810"/>
                  <a:gd name="connsiteY3" fmla="*/ 7881 h 449196"/>
                  <a:gd name="connsiteX4" fmla="*/ 7881 w 78810"/>
                  <a:gd name="connsiteY4" fmla="*/ 0 h 449196"/>
                  <a:gd name="connsiteX5" fmla="*/ 70930 w 78810"/>
                  <a:gd name="connsiteY5" fmla="*/ 0 h 449196"/>
                  <a:gd name="connsiteX6" fmla="*/ 78810 w 78810"/>
                  <a:gd name="connsiteY6" fmla="*/ 7881 h 449196"/>
                  <a:gd name="connsiteX7" fmla="*/ 78810 w 78810"/>
                  <a:gd name="connsiteY7" fmla="*/ 441316 h 449196"/>
                  <a:gd name="connsiteX8" fmla="*/ 70930 w 78810"/>
                  <a:gd name="connsiteY8" fmla="*/ 449197 h 449196"/>
                  <a:gd name="connsiteX9" fmla="*/ 15762 w 78810"/>
                  <a:gd name="connsiteY9" fmla="*/ 433435 h 449196"/>
                  <a:gd name="connsiteX10" fmla="*/ 63048 w 78810"/>
                  <a:gd name="connsiteY10" fmla="*/ 433435 h 449196"/>
                  <a:gd name="connsiteX11" fmla="*/ 63048 w 78810"/>
                  <a:gd name="connsiteY11" fmla="*/ 15738 h 449196"/>
                  <a:gd name="connsiteX12" fmla="*/ 15762 w 78810"/>
                  <a:gd name="connsiteY12" fmla="*/ 15738 h 449196"/>
                  <a:gd name="connsiteX13" fmla="*/ 15762 w 78810"/>
                  <a:gd name="connsiteY13" fmla="*/ 433435 h 449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810" h="449196">
                    <a:moveTo>
                      <a:pt x="70930" y="449197"/>
                    </a:moveTo>
                    <a:lnTo>
                      <a:pt x="7881" y="449197"/>
                    </a:lnTo>
                    <a:cubicBezTo>
                      <a:pt x="3521" y="449197"/>
                      <a:pt x="0" y="445675"/>
                      <a:pt x="0" y="441316"/>
                    </a:cubicBezTo>
                    <a:lnTo>
                      <a:pt x="0" y="7881"/>
                    </a:lnTo>
                    <a:cubicBezTo>
                      <a:pt x="0" y="3521"/>
                      <a:pt x="3521" y="0"/>
                      <a:pt x="7881" y="0"/>
                    </a:cubicBezTo>
                    <a:lnTo>
                      <a:pt x="70930" y="0"/>
                    </a:lnTo>
                    <a:cubicBezTo>
                      <a:pt x="75289" y="0"/>
                      <a:pt x="78810" y="3521"/>
                      <a:pt x="78810" y="7881"/>
                    </a:cubicBezTo>
                    <a:lnTo>
                      <a:pt x="78810" y="441316"/>
                    </a:lnTo>
                    <a:cubicBezTo>
                      <a:pt x="78810" y="445675"/>
                      <a:pt x="75289" y="449197"/>
                      <a:pt x="70930" y="449197"/>
                    </a:cubicBezTo>
                    <a:close/>
                    <a:moveTo>
                      <a:pt x="15762" y="433435"/>
                    </a:moveTo>
                    <a:lnTo>
                      <a:pt x="63048" y="433435"/>
                    </a:lnTo>
                    <a:lnTo>
                      <a:pt x="63048" y="15738"/>
                    </a:lnTo>
                    <a:lnTo>
                      <a:pt x="15762" y="15738"/>
                    </a:lnTo>
                    <a:lnTo>
                      <a:pt x="15762" y="433435"/>
                    </a:lnTo>
                    <a:close/>
                  </a:path>
                </a:pathLst>
              </a:custGeom>
              <a:solidFill>
                <a:schemeClr val="tx2"/>
              </a:solidFill>
              <a:ln w="2392" cap="flat">
                <a:noFill/>
                <a:prstDash val="solid"/>
                <a:miter/>
              </a:ln>
            </p:spPr>
            <p:txBody>
              <a:bodyPr rtlCol="0" anchor="ctr"/>
              <a:lstStyle/>
              <a:p>
                <a:endParaRPr lang="en-GB" dirty="0"/>
              </a:p>
            </p:txBody>
          </p:sp>
          <p:sp>
            <p:nvSpPr>
              <p:cNvPr id="658" name="Freihandform: Form 657">
                <a:extLst>
                  <a:ext uri="{FF2B5EF4-FFF2-40B4-BE49-F238E27FC236}">
                    <a16:creationId xmlns:a16="http://schemas.microsoft.com/office/drawing/2014/main" id="{AAE49432-FE63-43DE-AC59-C9181430FA20}"/>
                  </a:ext>
                </a:extLst>
              </p:cNvPr>
              <p:cNvSpPr/>
              <p:nvPr/>
            </p:nvSpPr>
            <p:spPr>
              <a:xfrm>
                <a:off x="8582105" y="4648985"/>
                <a:ext cx="39405" cy="15762"/>
              </a:xfrm>
              <a:custGeom>
                <a:avLst/>
                <a:gdLst>
                  <a:gd name="connsiteX0" fmla="*/ 31524 w 39405"/>
                  <a:gd name="connsiteY0" fmla="*/ 15762 h 15762"/>
                  <a:gd name="connsiteX1" fmla="*/ 7881 w 39405"/>
                  <a:gd name="connsiteY1" fmla="*/ 15762 h 15762"/>
                  <a:gd name="connsiteX2" fmla="*/ 0 w 39405"/>
                  <a:gd name="connsiteY2" fmla="*/ 7881 h 15762"/>
                  <a:gd name="connsiteX3" fmla="*/ 7881 w 39405"/>
                  <a:gd name="connsiteY3" fmla="*/ 0 h 15762"/>
                  <a:gd name="connsiteX4" fmla="*/ 31524 w 39405"/>
                  <a:gd name="connsiteY4" fmla="*/ 0 h 15762"/>
                  <a:gd name="connsiteX5" fmla="*/ 39405 w 39405"/>
                  <a:gd name="connsiteY5" fmla="*/ 7881 h 15762"/>
                  <a:gd name="connsiteX6" fmla="*/ 31524 w 39405"/>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05" h="15762">
                    <a:moveTo>
                      <a:pt x="31524" y="15762"/>
                    </a:moveTo>
                    <a:lnTo>
                      <a:pt x="7881" y="15762"/>
                    </a:lnTo>
                    <a:cubicBezTo>
                      <a:pt x="3521" y="15762"/>
                      <a:pt x="0" y="12241"/>
                      <a:pt x="0" y="7881"/>
                    </a:cubicBezTo>
                    <a:cubicBezTo>
                      <a:pt x="0" y="3521"/>
                      <a:pt x="3521" y="0"/>
                      <a:pt x="7881" y="0"/>
                    </a:cubicBezTo>
                    <a:lnTo>
                      <a:pt x="31524" y="0"/>
                    </a:lnTo>
                    <a:cubicBezTo>
                      <a:pt x="35884" y="0"/>
                      <a:pt x="39405" y="3521"/>
                      <a:pt x="39405" y="7881"/>
                    </a:cubicBezTo>
                    <a:cubicBezTo>
                      <a:pt x="39405" y="12241"/>
                      <a:pt x="35884" y="15762"/>
                      <a:pt x="31524" y="15762"/>
                    </a:cubicBezTo>
                    <a:close/>
                  </a:path>
                </a:pathLst>
              </a:custGeom>
              <a:solidFill>
                <a:schemeClr val="tx2"/>
              </a:solidFill>
              <a:ln w="2392" cap="flat">
                <a:noFill/>
                <a:prstDash val="solid"/>
                <a:miter/>
              </a:ln>
            </p:spPr>
            <p:txBody>
              <a:bodyPr rtlCol="0" anchor="ctr"/>
              <a:lstStyle/>
              <a:p>
                <a:endParaRPr lang="en-GB" dirty="0"/>
              </a:p>
            </p:txBody>
          </p:sp>
          <p:sp>
            <p:nvSpPr>
              <p:cNvPr id="659" name="Freihandform: Form 658">
                <a:extLst>
                  <a:ext uri="{FF2B5EF4-FFF2-40B4-BE49-F238E27FC236}">
                    <a16:creationId xmlns:a16="http://schemas.microsoft.com/office/drawing/2014/main" id="{EF38BE19-6946-4EC2-922D-F0218241E382}"/>
                  </a:ext>
                </a:extLst>
              </p:cNvPr>
              <p:cNvSpPr/>
              <p:nvPr/>
            </p:nvSpPr>
            <p:spPr>
              <a:xfrm>
                <a:off x="8582105" y="4593817"/>
                <a:ext cx="39405" cy="15762"/>
              </a:xfrm>
              <a:custGeom>
                <a:avLst/>
                <a:gdLst>
                  <a:gd name="connsiteX0" fmla="*/ 31524 w 39405"/>
                  <a:gd name="connsiteY0" fmla="*/ 15762 h 15762"/>
                  <a:gd name="connsiteX1" fmla="*/ 7881 w 39405"/>
                  <a:gd name="connsiteY1" fmla="*/ 15762 h 15762"/>
                  <a:gd name="connsiteX2" fmla="*/ 0 w 39405"/>
                  <a:gd name="connsiteY2" fmla="*/ 7881 h 15762"/>
                  <a:gd name="connsiteX3" fmla="*/ 7881 w 39405"/>
                  <a:gd name="connsiteY3" fmla="*/ 0 h 15762"/>
                  <a:gd name="connsiteX4" fmla="*/ 31524 w 39405"/>
                  <a:gd name="connsiteY4" fmla="*/ 0 h 15762"/>
                  <a:gd name="connsiteX5" fmla="*/ 39405 w 39405"/>
                  <a:gd name="connsiteY5" fmla="*/ 7881 h 15762"/>
                  <a:gd name="connsiteX6" fmla="*/ 31524 w 39405"/>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05" h="15762">
                    <a:moveTo>
                      <a:pt x="31524" y="15762"/>
                    </a:moveTo>
                    <a:lnTo>
                      <a:pt x="7881" y="15762"/>
                    </a:lnTo>
                    <a:cubicBezTo>
                      <a:pt x="3521" y="15762"/>
                      <a:pt x="0" y="12241"/>
                      <a:pt x="0" y="7881"/>
                    </a:cubicBezTo>
                    <a:cubicBezTo>
                      <a:pt x="0" y="3521"/>
                      <a:pt x="3521" y="0"/>
                      <a:pt x="7881" y="0"/>
                    </a:cubicBezTo>
                    <a:lnTo>
                      <a:pt x="31524" y="0"/>
                    </a:lnTo>
                    <a:cubicBezTo>
                      <a:pt x="35884" y="0"/>
                      <a:pt x="39405" y="3521"/>
                      <a:pt x="39405" y="7881"/>
                    </a:cubicBezTo>
                    <a:cubicBezTo>
                      <a:pt x="39405" y="12241"/>
                      <a:pt x="35884" y="15762"/>
                      <a:pt x="31524" y="15762"/>
                    </a:cubicBezTo>
                    <a:close/>
                  </a:path>
                </a:pathLst>
              </a:custGeom>
              <a:solidFill>
                <a:schemeClr val="tx2"/>
              </a:solidFill>
              <a:ln w="2392" cap="flat">
                <a:noFill/>
                <a:prstDash val="solid"/>
                <a:miter/>
              </a:ln>
            </p:spPr>
            <p:txBody>
              <a:bodyPr rtlCol="0" anchor="ctr"/>
              <a:lstStyle/>
              <a:p>
                <a:endParaRPr lang="en-GB" dirty="0"/>
              </a:p>
            </p:txBody>
          </p:sp>
          <p:sp>
            <p:nvSpPr>
              <p:cNvPr id="660" name="Freihandform: Form 659">
                <a:extLst>
                  <a:ext uri="{FF2B5EF4-FFF2-40B4-BE49-F238E27FC236}">
                    <a16:creationId xmlns:a16="http://schemas.microsoft.com/office/drawing/2014/main" id="{7EE5F7F8-CA69-480A-928F-B97ACBF1102A}"/>
                  </a:ext>
                </a:extLst>
              </p:cNvPr>
              <p:cNvSpPr/>
              <p:nvPr/>
            </p:nvSpPr>
            <p:spPr>
              <a:xfrm>
                <a:off x="8582105" y="4365266"/>
                <a:ext cx="39405" cy="15762"/>
              </a:xfrm>
              <a:custGeom>
                <a:avLst/>
                <a:gdLst>
                  <a:gd name="connsiteX0" fmla="*/ 31524 w 39405"/>
                  <a:gd name="connsiteY0" fmla="*/ 15762 h 15762"/>
                  <a:gd name="connsiteX1" fmla="*/ 7881 w 39405"/>
                  <a:gd name="connsiteY1" fmla="*/ 15762 h 15762"/>
                  <a:gd name="connsiteX2" fmla="*/ 0 w 39405"/>
                  <a:gd name="connsiteY2" fmla="*/ 7881 h 15762"/>
                  <a:gd name="connsiteX3" fmla="*/ 7881 w 39405"/>
                  <a:gd name="connsiteY3" fmla="*/ 0 h 15762"/>
                  <a:gd name="connsiteX4" fmla="*/ 31524 w 39405"/>
                  <a:gd name="connsiteY4" fmla="*/ 0 h 15762"/>
                  <a:gd name="connsiteX5" fmla="*/ 39405 w 39405"/>
                  <a:gd name="connsiteY5" fmla="*/ 7881 h 15762"/>
                  <a:gd name="connsiteX6" fmla="*/ 31524 w 39405"/>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05" h="15762">
                    <a:moveTo>
                      <a:pt x="31524" y="15762"/>
                    </a:moveTo>
                    <a:lnTo>
                      <a:pt x="7881" y="15762"/>
                    </a:lnTo>
                    <a:cubicBezTo>
                      <a:pt x="3521" y="15762"/>
                      <a:pt x="0" y="12241"/>
                      <a:pt x="0" y="7881"/>
                    </a:cubicBezTo>
                    <a:cubicBezTo>
                      <a:pt x="0" y="3522"/>
                      <a:pt x="3521" y="0"/>
                      <a:pt x="7881" y="0"/>
                    </a:cubicBezTo>
                    <a:lnTo>
                      <a:pt x="31524" y="0"/>
                    </a:lnTo>
                    <a:cubicBezTo>
                      <a:pt x="35884" y="0"/>
                      <a:pt x="39405" y="3522"/>
                      <a:pt x="39405" y="7881"/>
                    </a:cubicBezTo>
                    <a:cubicBezTo>
                      <a:pt x="39405" y="12241"/>
                      <a:pt x="35884" y="15762"/>
                      <a:pt x="31524" y="15762"/>
                    </a:cubicBezTo>
                    <a:close/>
                  </a:path>
                </a:pathLst>
              </a:custGeom>
              <a:solidFill>
                <a:schemeClr val="tx2"/>
              </a:solidFill>
              <a:ln w="2392" cap="flat">
                <a:noFill/>
                <a:prstDash val="solid"/>
                <a:miter/>
              </a:ln>
            </p:spPr>
            <p:txBody>
              <a:bodyPr rtlCol="0" anchor="ctr"/>
              <a:lstStyle/>
              <a:p>
                <a:endParaRPr lang="en-GB" dirty="0"/>
              </a:p>
            </p:txBody>
          </p:sp>
          <p:sp>
            <p:nvSpPr>
              <p:cNvPr id="661" name="Freihandform: Form 660">
                <a:extLst>
                  <a:ext uri="{FF2B5EF4-FFF2-40B4-BE49-F238E27FC236}">
                    <a16:creationId xmlns:a16="http://schemas.microsoft.com/office/drawing/2014/main" id="{7ACB0FA8-6874-4EA7-BACC-289531077126}"/>
                  </a:ext>
                </a:extLst>
              </p:cNvPr>
              <p:cNvSpPr/>
              <p:nvPr/>
            </p:nvSpPr>
            <p:spPr>
              <a:xfrm>
                <a:off x="8582105" y="4310099"/>
                <a:ext cx="39405" cy="15762"/>
              </a:xfrm>
              <a:custGeom>
                <a:avLst/>
                <a:gdLst>
                  <a:gd name="connsiteX0" fmla="*/ 31524 w 39405"/>
                  <a:gd name="connsiteY0" fmla="*/ 15762 h 15762"/>
                  <a:gd name="connsiteX1" fmla="*/ 7881 w 39405"/>
                  <a:gd name="connsiteY1" fmla="*/ 15762 h 15762"/>
                  <a:gd name="connsiteX2" fmla="*/ 0 w 39405"/>
                  <a:gd name="connsiteY2" fmla="*/ 7881 h 15762"/>
                  <a:gd name="connsiteX3" fmla="*/ 7881 w 39405"/>
                  <a:gd name="connsiteY3" fmla="*/ 0 h 15762"/>
                  <a:gd name="connsiteX4" fmla="*/ 31524 w 39405"/>
                  <a:gd name="connsiteY4" fmla="*/ 0 h 15762"/>
                  <a:gd name="connsiteX5" fmla="*/ 39405 w 39405"/>
                  <a:gd name="connsiteY5" fmla="*/ 7881 h 15762"/>
                  <a:gd name="connsiteX6" fmla="*/ 31524 w 39405"/>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405" h="15762">
                    <a:moveTo>
                      <a:pt x="31524" y="15762"/>
                    </a:moveTo>
                    <a:lnTo>
                      <a:pt x="7881" y="15762"/>
                    </a:lnTo>
                    <a:cubicBezTo>
                      <a:pt x="3521" y="15762"/>
                      <a:pt x="0" y="12241"/>
                      <a:pt x="0" y="7881"/>
                    </a:cubicBezTo>
                    <a:cubicBezTo>
                      <a:pt x="0" y="3521"/>
                      <a:pt x="3521" y="0"/>
                      <a:pt x="7881" y="0"/>
                    </a:cubicBezTo>
                    <a:lnTo>
                      <a:pt x="31524" y="0"/>
                    </a:lnTo>
                    <a:cubicBezTo>
                      <a:pt x="35884" y="0"/>
                      <a:pt x="39405" y="3521"/>
                      <a:pt x="39405" y="7881"/>
                    </a:cubicBezTo>
                    <a:cubicBezTo>
                      <a:pt x="39405" y="12241"/>
                      <a:pt x="35884" y="15762"/>
                      <a:pt x="31524" y="15762"/>
                    </a:cubicBezTo>
                    <a:close/>
                  </a:path>
                </a:pathLst>
              </a:custGeom>
              <a:solidFill>
                <a:schemeClr val="tx2"/>
              </a:solidFill>
              <a:ln w="2392" cap="flat">
                <a:noFill/>
                <a:prstDash val="solid"/>
                <a:miter/>
              </a:ln>
            </p:spPr>
            <p:txBody>
              <a:bodyPr rtlCol="0" anchor="ctr"/>
              <a:lstStyle/>
              <a:p>
                <a:endParaRPr lang="en-GB" dirty="0"/>
              </a:p>
            </p:txBody>
          </p:sp>
          <p:sp>
            <p:nvSpPr>
              <p:cNvPr id="662" name="Freihandform: Form 661">
                <a:extLst>
                  <a:ext uri="{FF2B5EF4-FFF2-40B4-BE49-F238E27FC236}">
                    <a16:creationId xmlns:a16="http://schemas.microsoft.com/office/drawing/2014/main" id="{EE910E7F-9A7F-488C-9C23-BD42FB4797B1}"/>
                  </a:ext>
                </a:extLst>
              </p:cNvPr>
              <p:cNvSpPr/>
              <p:nvPr/>
            </p:nvSpPr>
            <p:spPr>
              <a:xfrm>
                <a:off x="8542711" y="4199764"/>
                <a:ext cx="78800" cy="78810"/>
              </a:xfrm>
              <a:custGeom>
                <a:avLst/>
                <a:gdLst>
                  <a:gd name="connsiteX0" fmla="*/ 70918 w 78800"/>
                  <a:gd name="connsiteY0" fmla="*/ 78811 h 78810"/>
                  <a:gd name="connsiteX1" fmla="*/ 7869 w 78800"/>
                  <a:gd name="connsiteY1" fmla="*/ 78811 h 78810"/>
                  <a:gd name="connsiteX2" fmla="*/ 1665 w 78800"/>
                  <a:gd name="connsiteY2" fmla="*/ 75768 h 78810"/>
                  <a:gd name="connsiteX3" fmla="*/ 228 w 78800"/>
                  <a:gd name="connsiteY3" fmla="*/ 69013 h 78810"/>
                  <a:gd name="connsiteX4" fmla="*/ 15990 w 78800"/>
                  <a:gd name="connsiteY4" fmla="*/ 5965 h 78810"/>
                  <a:gd name="connsiteX5" fmla="*/ 23631 w 78800"/>
                  <a:gd name="connsiteY5" fmla="*/ 0 h 78810"/>
                  <a:gd name="connsiteX6" fmla="*/ 55155 w 78800"/>
                  <a:gd name="connsiteY6" fmla="*/ 0 h 78810"/>
                  <a:gd name="connsiteX7" fmla="*/ 62797 w 78800"/>
                  <a:gd name="connsiteY7" fmla="*/ 5965 h 78810"/>
                  <a:gd name="connsiteX8" fmla="*/ 78559 w 78800"/>
                  <a:gd name="connsiteY8" fmla="*/ 69013 h 78810"/>
                  <a:gd name="connsiteX9" fmla="*/ 77122 w 78800"/>
                  <a:gd name="connsiteY9" fmla="*/ 75768 h 78810"/>
                  <a:gd name="connsiteX10" fmla="*/ 70918 w 78800"/>
                  <a:gd name="connsiteY10" fmla="*/ 78811 h 78810"/>
                  <a:gd name="connsiteX11" fmla="*/ 17978 w 78800"/>
                  <a:gd name="connsiteY11" fmla="*/ 63049 h 78810"/>
                  <a:gd name="connsiteX12" fmla="*/ 60833 w 78800"/>
                  <a:gd name="connsiteY12" fmla="*/ 63049 h 78810"/>
                  <a:gd name="connsiteX13" fmla="*/ 49023 w 78800"/>
                  <a:gd name="connsiteY13" fmla="*/ 15762 h 78810"/>
                  <a:gd name="connsiteX14" fmla="*/ 29811 w 78800"/>
                  <a:gd name="connsiteY14" fmla="*/ 15762 h 78810"/>
                  <a:gd name="connsiteX15" fmla="*/ 17978 w 78800"/>
                  <a:gd name="connsiteY15" fmla="*/ 63049 h 78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800" h="78810">
                    <a:moveTo>
                      <a:pt x="70918" y="78811"/>
                    </a:moveTo>
                    <a:lnTo>
                      <a:pt x="7869" y="78811"/>
                    </a:lnTo>
                    <a:cubicBezTo>
                      <a:pt x="5450" y="78811"/>
                      <a:pt x="3150" y="77685"/>
                      <a:pt x="1665" y="75768"/>
                    </a:cubicBezTo>
                    <a:cubicBezTo>
                      <a:pt x="180" y="73852"/>
                      <a:pt x="-347" y="71361"/>
                      <a:pt x="228" y="69013"/>
                    </a:cubicBezTo>
                    <a:lnTo>
                      <a:pt x="15990" y="5965"/>
                    </a:lnTo>
                    <a:cubicBezTo>
                      <a:pt x="16876" y="2467"/>
                      <a:pt x="20014" y="0"/>
                      <a:pt x="23631" y="0"/>
                    </a:cubicBezTo>
                    <a:lnTo>
                      <a:pt x="55155" y="0"/>
                    </a:lnTo>
                    <a:cubicBezTo>
                      <a:pt x="58773" y="0"/>
                      <a:pt x="61911" y="2467"/>
                      <a:pt x="62797" y="5965"/>
                    </a:cubicBezTo>
                    <a:lnTo>
                      <a:pt x="78559" y="69013"/>
                    </a:lnTo>
                    <a:cubicBezTo>
                      <a:pt x="79158" y="71361"/>
                      <a:pt x="78631" y="73852"/>
                      <a:pt x="77122" y="75768"/>
                    </a:cubicBezTo>
                    <a:cubicBezTo>
                      <a:pt x="75637" y="77709"/>
                      <a:pt x="73361" y="78811"/>
                      <a:pt x="70918" y="78811"/>
                    </a:cubicBezTo>
                    <a:close/>
                    <a:moveTo>
                      <a:pt x="17978" y="63049"/>
                    </a:moveTo>
                    <a:lnTo>
                      <a:pt x="60833" y="63049"/>
                    </a:lnTo>
                    <a:lnTo>
                      <a:pt x="49023" y="15762"/>
                    </a:lnTo>
                    <a:lnTo>
                      <a:pt x="29811" y="15762"/>
                    </a:lnTo>
                    <a:lnTo>
                      <a:pt x="17978" y="63049"/>
                    </a:lnTo>
                    <a:close/>
                  </a:path>
                </a:pathLst>
              </a:custGeom>
              <a:solidFill>
                <a:schemeClr val="tx2"/>
              </a:solidFill>
              <a:ln w="2392" cap="flat">
                <a:noFill/>
                <a:prstDash val="solid"/>
                <a:miter/>
              </a:ln>
            </p:spPr>
            <p:txBody>
              <a:bodyPr rtlCol="0" anchor="ctr"/>
              <a:lstStyle/>
              <a:p>
                <a:endParaRPr lang="en-GB" dirty="0"/>
              </a:p>
            </p:txBody>
          </p:sp>
          <p:sp>
            <p:nvSpPr>
              <p:cNvPr id="663" name="Freihandform: Form 662">
                <a:extLst>
                  <a:ext uri="{FF2B5EF4-FFF2-40B4-BE49-F238E27FC236}">
                    <a16:creationId xmlns:a16="http://schemas.microsoft.com/office/drawing/2014/main" id="{27718689-AAD9-424C-BAB2-CDB09174129B}"/>
                  </a:ext>
                </a:extLst>
              </p:cNvPr>
              <p:cNvSpPr/>
              <p:nvPr/>
            </p:nvSpPr>
            <p:spPr>
              <a:xfrm>
                <a:off x="8558456" y="4152454"/>
                <a:ext cx="47297" cy="63072"/>
              </a:xfrm>
              <a:custGeom>
                <a:avLst/>
                <a:gdLst>
                  <a:gd name="connsiteX0" fmla="*/ 39411 w 47297"/>
                  <a:gd name="connsiteY0" fmla="*/ 63073 h 63072"/>
                  <a:gd name="connsiteX1" fmla="*/ 7887 w 47297"/>
                  <a:gd name="connsiteY1" fmla="*/ 63073 h 63072"/>
                  <a:gd name="connsiteX2" fmla="*/ 1491 w 47297"/>
                  <a:gd name="connsiteY2" fmla="*/ 59791 h 63072"/>
                  <a:gd name="connsiteX3" fmla="*/ 413 w 47297"/>
                  <a:gd name="connsiteY3" fmla="*/ 52676 h 63072"/>
                  <a:gd name="connsiteX4" fmla="*/ 16175 w 47297"/>
                  <a:gd name="connsiteY4" fmla="*/ 5390 h 63072"/>
                  <a:gd name="connsiteX5" fmla="*/ 23649 w 47297"/>
                  <a:gd name="connsiteY5" fmla="*/ 0 h 63072"/>
                  <a:gd name="connsiteX6" fmla="*/ 31123 w 47297"/>
                  <a:gd name="connsiteY6" fmla="*/ 5390 h 63072"/>
                  <a:gd name="connsiteX7" fmla="*/ 46885 w 47297"/>
                  <a:gd name="connsiteY7" fmla="*/ 52676 h 63072"/>
                  <a:gd name="connsiteX8" fmla="*/ 45807 w 47297"/>
                  <a:gd name="connsiteY8" fmla="*/ 59791 h 63072"/>
                  <a:gd name="connsiteX9" fmla="*/ 39411 w 47297"/>
                  <a:gd name="connsiteY9" fmla="*/ 63073 h 63072"/>
                  <a:gd name="connsiteX10" fmla="*/ 18834 w 47297"/>
                  <a:gd name="connsiteY10" fmla="*/ 47310 h 63072"/>
                  <a:gd name="connsiteX11" fmla="*/ 28488 w 47297"/>
                  <a:gd name="connsiteY11" fmla="*/ 47310 h 63072"/>
                  <a:gd name="connsiteX12" fmla="*/ 23673 w 47297"/>
                  <a:gd name="connsiteY12" fmla="*/ 32818 h 63072"/>
                  <a:gd name="connsiteX13" fmla="*/ 18834 w 47297"/>
                  <a:gd name="connsiteY13" fmla="*/ 47310 h 63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297" h="63072">
                    <a:moveTo>
                      <a:pt x="39411" y="63073"/>
                    </a:moveTo>
                    <a:lnTo>
                      <a:pt x="7887" y="63073"/>
                    </a:lnTo>
                    <a:cubicBezTo>
                      <a:pt x="5347" y="63073"/>
                      <a:pt x="2976" y="61851"/>
                      <a:pt x="1491" y="59791"/>
                    </a:cubicBezTo>
                    <a:cubicBezTo>
                      <a:pt x="6" y="57731"/>
                      <a:pt x="-402" y="55096"/>
                      <a:pt x="413" y="52676"/>
                    </a:cubicBezTo>
                    <a:lnTo>
                      <a:pt x="16175" y="5390"/>
                    </a:lnTo>
                    <a:cubicBezTo>
                      <a:pt x="17253" y="2180"/>
                      <a:pt x="20247" y="0"/>
                      <a:pt x="23649" y="0"/>
                    </a:cubicBezTo>
                    <a:cubicBezTo>
                      <a:pt x="27050" y="0"/>
                      <a:pt x="30045" y="2180"/>
                      <a:pt x="31123" y="5390"/>
                    </a:cubicBezTo>
                    <a:lnTo>
                      <a:pt x="46885" y="52676"/>
                    </a:lnTo>
                    <a:cubicBezTo>
                      <a:pt x="47699" y="55072"/>
                      <a:pt x="47292" y="57731"/>
                      <a:pt x="45807" y="59791"/>
                    </a:cubicBezTo>
                    <a:cubicBezTo>
                      <a:pt x="44322" y="61875"/>
                      <a:pt x="41950" y="63073"/>
                      <a:pt x="39411" y="63073"/>
                    </a:cubicBezTo>
                    <a:close/>
                    <a:moveTo>
                      <a:pt x="18834" y="47310"/>
                    </a:moveTo>
                    <a:lnTo>
                      <a:pt x="28488" y="47310"/>
                    </a:lnTo>
                    <a:lnTo>
                      <a:pt x="23673" y="32818"/>
                    </a:lnTo>
                    <a:lnTo>
                      <a:pt x="18834" y="47310"/>
                    </a:lnTo>
                    <a:close/>
                  </a:path>
                </a:pathLst>
              </a:custGeom>
              <a:solidFill>
                <a:schemeClr val="tx2"/>
              </a:solidFill>
              <a:ln w="2392" cap="flat">
                <a:noFill/>
                <a:prstDash val="solid"/>
                <a:miter/>
              </a:ln>
            </p:spPr>
            <p:txBody>
              <a:bodyPr rtlCol="0" anchor="ctr"/>
              <a:lstStyle/>
              <a:p>
                <a:endParaRPr lang="en-GB" dirty="0"/>
              </a:p>
            </p:txBody>
          </p:sp>
          <p:sp>
            <p:nvSpPr>
              <p:cNvPr id="664" name="Freihandform: Form 663">
                <a:extLst>
                  <a:ext uri="{FF2B5EF4-FFF2-40B4-BE49-F238E27FC236}">
                    <a16:creationId xmlns:a16="http://schemas.microsoft.com/office/drawing/2014/main" id="{D30F6BD2-5111-43EB-8D77-271AA3CCF6F9}"/>
                  </a:ext>
                </a:extLst>
              </p:cNvPr>
              <p:cNvSpPr/>
              <p:nvPr/>
            </p:nvSpPr>
            <p:spPr>
              <a:xfrm>
                <a:off x="8550580" y="4696271"/>
                <a:ext cx="63048" cy="47286"/>
              </a:xfrm>
              <a:custGeom>
                <a:avLst/>
                <a:gdLst>
                  <a:gd name="connsiteX0" fmla="*/ 55168 w 63048"/>
                  <a:gd name="connsiteY0" fmla="*/ 47286 h 47286"/>
                  <a:gd name="connsiteX1" fmla="*/ 7881 w 63048"/>
                  <a:gd name="connsiteY1" fmla="*/ 47286 h 47286"/>
                  <a:gd name="connsiteX2" fmla="*/ 0 w 63048"/>
                  <a:gd name="connsiteY2" fmla="*/ 39405 h 47286"/>
                  <a:gd name="connsiteX3" fmla="*/ 0 w 63048"/>
                  <a:gd name="connsiteY3" fmla="*/ 7881 h 47286"/>
                  <a:gd name="connsiteX4" fmla="*/ 7881 w 63048"/>
                  <a:gd name="connsiteY4" fmla="*/ 0 h 47286"/>
                  <a:gd name="connsiteX5" fmla="*/ 55168 w 63048"/>
                  <a:gd name="connsiteY5" fmla="*/ 0 h 47286"/>
                  <a:gd name="connsiteX6" fmla="*/ 63049 w 63048"/>
                  <a:gd name="connsiteY6" fmla="*/ 7881 h 47286"/>
                  <a:gd name="connsiteX7" fmla="*/ 63049 w 63048"/>
                  <a:gd name="connsiteY7" fmla="*/ 39405 h 47286"/>
                  <a:gd name="connsiteX8" fmla="*/ 55168 w 63048"/>
                  <a:gd name="connsiteY8" fmla="*/ 47286 h 47286"/>
                  <a:gd name="connsiteX9" fmla="*/ 15762 w 63048"/>
                  <a:gd name="connsiteY9" fmla="*/ 31524 h 47286"/>
                  <a:gd name="connsiteX10" fmla="*/ 47286 w 63048"/>
                  <a:gd name="connsiteY10" fmla="*/ 31524 h 47286"/>
                  <a:gd name="connsiteX11" fmla="*/ 47286 w 63048"/>
                  <a:gd name="connsiteY11" fmla="*/ 15762 h 47286"/>
                  <a:gd name="connsiteX12" fmla="*/ 15762 w 63048"/>
                  <a:gd name="connsiteY12" fmla="*/ 15762 h 47286"/>
                  <a:gd name="connsiteX13" fmla="*/ 15762 w 63048"/>
                  <a:gd name="connsiteY13" fmla="*/ 31524 h 47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048" h="47286">
                    <a:moveTo>
                      <a:pt x="55168" y="47286"/>
                    </a:moveTo>
                    <a:lnTo>
                      <a:pt x="7881" y="47286"/>
                    </a:lnTo>
                    <a:cubicBezTo>
                      <a:pt x="3521" y="47286"/>
                      <a:pt x="0" y="43765"/>
                      <a:pt x="0" y="39405"/>
                    </a:cubicBezTo>
                    <a:lnTo>
                      <a:pt x="0" y="7881"/>
                    </a:lnTo>
                    <a:cubicBezTo>
                      <a:pt x="0" y="3521"/>
                      <a:pt x="3521" y="0"/>
                      <a:pt x="7881" y="0"/>
                    </a:cubicBezTo>
                    <a:lnTo>
                      <a:pt x="55168" y="0"/>
                    </a:lnTo>
                    <a:cubicBezTo>
                      <a:pt x="59527" y="0"/>
                      <a:pt x="63049" y="3521"/>
                      <a:pt x="63049" y="7881"/>
                    </a:cubicBezTo>
                    <a:lnTo>
                      <a:pt x="63049" y="39405"/>
                    </a:lnTo>
                    <a:cubicBezTo>
                      <a:pt x="63049" y="43765"/>
                      <a:pt x="59527" y="47286"/>
                      <a:pt x="55168" y="47286"/>
                    </a:cubicBezTo>
                    <a:close/>
                    <a:moveTo>
                      <a:pt x="15762" y="31524"/>
                    </a:moveTo>
                    <a:lnTo>
                      <a:pt x="47286" y="31524"/>
                    </a:lnTo>
                    <a:lnTo>
                      <a:pt x="47286" y="15762"/>
                    </a:lnTo>
                    <a:lnTo>
                      <a:pt x="15762" y="15762"/>
                    </a:lnTo>
                    <a:lnTo>
                      <a:pt x="15762" y="31524"/>
                    </a:lnTo>
                    <a:close/>
                  </a:path>
                </a:pathLst>
              </a:custGeom>
              <a:solidFill>
                <a:schemeClr val="tx2"/>
              </a:solidFill>
              <a:ln w="2392" cap="flat">
                <a:noFill/>
                <a:prstDash val="solid"/>
                <a:miter/>
              </a:ln>
            </p:spPr>
            <p:txBody>
              <a:bodyPr rtlCol="0" anchor="ctr"/>
              <a:lstStyle/>
              <a:p>
                <a:endParaRPr lang="en-GB" dirty="0"/>
              </a:p>
            </p:txBody>
          </p:sp>
        </p:grpSp>
        <p:grpSp>
          <p:nvGrpSpPr>
            <p:cNvPr id="637" name="Gruppieren 636">
              <a:extLst>
                <a:ext uri="{FF2B5EF4-FFF2-40B4-BE49-F238E27FC236}">
                  <a16:creationId xmlns:a16="http://schemas.microsoft.com/office/drawing/2014/main" id="{3659F403-A542-446C-95F7-3760A1B9BA24}"/>
                </a:ext>
              </a:extLst>
            </p:cNvPr>
            <p:cNvGrpSpPr/>
            <p:nvPr/>
          </p:nvGrpSpPr>
          <p:grpSpPr>
            <a:xfrm>
              <a:off x="8298410" y="4152503"/>
              <a:ext cx="118216" cy="591055"/>
              <a:chOff x="8298410" y="4152502"/>
              <a:chExt cx="118216" cy="591055"/>
            </a:xfrm>
          </p:grpSpPr>
          <p:sp>
            <p:nvSpPr>
              <p:cNvPr id="638" name="Freihandform: Form 637">
                <a:extLst>
                  <a:ext uri="{FF2B5EF4-FFF2-40B4-BE49-F238E27FC236}">
                    <a16:creationId xmlns:a16="http://schemas.microsoft.com/office/drawing/2014/main" id="{868BEA26-FF7A-428C-970C-1E5545B0778D}"/>
                  </a:ext>
                </a:extLst>
              </p:cNvPr>
              <p:cNvSpPr/>
              <p:nvPr/>
            </p:nvSpPr>
            <p:spPr>
              <a:xfrm>
                <a:off x="8298410" y="4152502"/>
                <a:ext cx="118216" cy="591055"/>
              </a:xfrm>
              <a:custGeom>
                <a:avLst/>
                <a:gdLst>
                  <a:gd name="connsiteX0" fmla="*/ 110335 w 118216"/>
                  <a:gd name="connsiteY0" fmla="*/ 591056 h 591055"/>
                  <a:gd name="connsiteX1" fmla="*/ 7881 w 118216"/>
                  <a:gd name="connsiteY1" fmla="*/ 591056 h 591055"/>
                  <a:gd name="connsiteX2" fmla="*/ 0 w 118216"/>
                  <a:gd name="connsiteY2" fmla="*/ 583175 h 591055"/>
                  <a:gd name="connsiteX3" fmla="*/ 0 w 118216"/>
                  <a:gd name="connsiteY3" fmla="*/ 7881 h 591055"/>
                  <a:gd name="connsiteX4" fmla="*/ 7881 w 118216"/>
                  <a:gd name="connsiteY4" fmla="*/ 0 h 591055"/>
                  <a:gd name="connsiteX5" fmla="*/ 110335 w 118216"/>
                  <a:gd name="connsiteY5" fmla="*/ 0 h 591055"/>
                  <a:gd name="connsiteX6" fmla="*/ 118216 w 118216"/>
                  <a:gd name="connsiteY6" fmla="*/ 7881 h 591055"/>
                  <a:gd name="connsiteX7" fmla="*/ 118216 w 118216"/>
                  <a:gd name="connsiteY7" fmla="*/ 583175 h 591055"/>
                  <a:gd name="connsiteX8" fmla="*/ 110335 w 118216"/>
                  <a:gd name="connsiteY8" fmla="*/ 591056 h 591055"/>
                  <a:gd name="connsiteX9" fmla="*/ 15762 w 118216"/>
                  <a:gd name="connsiteY9" fmla="*/ 575294 h 591055"/>
                  <a:gd name="connsiteX10" fmla="*/ 102454 w 118216"/>
                  <a:gd name="connsiteY10" fmla="*/ 575294 h 591055"/>
                  <a:gd name="connsiteX11" fmla="*/ 102454 w 118216"/>
                  <a:gd name="connsiteY11" fmla="*/ 15762 h 591055"/>
                  <a:gd name="connsiteX12" fmla="*/ 15762 w 118216"/>
                  <a:gd name="connsiteY12" fmla="*/ 15762 h 591055"/>
                  <a:gd name="connsiteX13" fmla="*/ 15762 w 118216"/>
                  <a:gd name="connsiteY13" fmla="*/ 575294 h 59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8216" h="591055">
                    <a:moveTo>
                      <a:pt x="110335" y="591056"/>
                    </a:moveTo>
                    <a:lnTo>
                      <a:pt x="7881" y="591056"/>
                    </a:lnTo>
                    <a:cubicBezTo>
                      <a:pt x="3522" y="591056"/>
                      <a:pt x="0" y="587535"/>
                      <a:pt x="0" y="583175"/>
                    </a:cubicBezTo>
                    <a:lnTo>
                      <a:pt x="0" y="7881"/>
                    </a:lnTo>
                    <a:cubicBezTo>
                      <a:pt x="0" y="3521"/>
                      <a:pt x="3522" y="0"/>
                      <a:pt x="7881" y="0"/>
                    </a:cubicBezTo>
                    <a:lnTo>
                      <a:pt x="110335" y="0"/>
                    </a:lnTo>
                    <a:cubicBezTo>
                      <a:pt x="114695" y="0"/>
                      <a:pt x="118216" y="3521"/>
                      <a:pt x="118216" y="7881"/>
                    </a:cubicBezTo>
                    <a:lnTo>
                      <a:pt x="118216" y="583175"/>
                    </a:lnTo>
                    <a:cubicBezTo>
                      <a:pt x="118216" y="587535"/>
                      <a:pt x="114671" y="591056"/>
                      <a:pt x="110335" y="591056"/>
                    </a:cubicBezTo>
                    <a:close/>
                    <a:moveTo>
                      <a:pt x="15762" y="575294"/>
                    </a:moveTo>
                    <a:lnTo>
                      <a:pt x="102454" y="575294"/>
                    </a:lnTo>
                    <a:lnTo>
                      <a:pt x="102454" y="15762"/>
                    </a:lnTo>
                    <a:lnTo>
                      <a:pt x="15762" y="15762"/>
                    </a:lnTo>
                    <a:lnTo>
                      <a:pt x="15762" y="575294"/>
                    </a:lnTo>
                    <a:close/>
                  </a:path>
                </a:pathLst>
              </a:custGeom>
              <a:solidFill>
                <a:schemeClr val="accent1"/>
              </a:solidFill>
              <a:ln w="2392" cap="flat">
                <a:noFill/>
                <a:prstDash val="solid"/>
                <a:miter/>
              </a:ln>
            </p:spPr>
            <p:txBody>
              <a:bodyPr rtlCol="0" anchor="ctr"/>
              <a:lstStyle/>
              <a:p>
                <a:endParaRPr lang="en-GB" dirty="0"/>
              </a:p>
            </p:txBody>
          </p:sp>
          <p:sp>
            <p:nvSpPr>
              <p:cNvPr id="639" name="Freihandform: Form 638">
                <a:extLst>
                  <a:ext uri="{FF2B5EF4-FFF2-40B4-BE49-F238E27FC236}">
                    <a16:creationId xmlns:a16="http://schemas.microsoft.com/office/drawing/2014/main" id="{6BAF05EC-5B7E-4D24-86E7-B9F0E73C7A75}"/>
                  </a:ext>
                </a:extLst>
              </p:cNvPr>
              <p:cNvSpPr/>
              <p:nvPr/>
            </p:nvSpPr>
            <p:spPr>
              <a:xfrm>
                <a:off x="8369340" y="4223407"/>
                <a:ext cx="47286" cy="15762"/>
              </a:xfrm>
              <a:custGeom>
                <a:avLst/>
                <a:gdLst>
                  <a:gd name="connsiteX0" fmla="*/ 39405 w 47286"/>
                  <a:gd name="connsiteY0" fmla="*/ 15762 h 15762"/>
                  <a:gd name="connsiteX1" fmla="*/ 7881 w 47286"/>
                  <a:gd name="connsiteY1" fmla="*/ 15762 h 15762"/>
                  <a:gd name="connsiteX2" fmla="*/ 0 w 47286"/>
                  <a:gd name="connsiteY2" fmla="*/ 7881 h 15762"/>
                  <a:gd name="connsiteX3" fmla="*/ 7881 w 47286"/>
                  <a:gd name="connsiteY3" fmla="*/ 0 h 15762"/>
                  <a:gd name="connsiteX4" fmla="*/ 39405 w 47286"/>
                  <a:gd name="connsiteY4" fmla="*/ 0 h 15762"/>
                  <a:gd name="connsiteX5" fmla="*/ 47286 w 47286"/>
                  <a:gd name="connsiteY5" fmla="*/ 7881 h 15762"/>
                  <a:gd name="connsiteX6" fmla="*/ 39405 w 4728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86" h="15762">
                    <a:moveTo>
                      <a:pt x="39405" y="15762"/>
                    </a:moveTo>
                    <a:lnTo>
                      <a:pt x="7881" y="15762"/>
                    </a:lnTo>
                    <a:cubicBezTo>
                      <a:pt x="3521" y="15762"/>
                      <a:pt x="0" y="12241"/>
                      <a:pt x="0" y="7881"/>
                    </a:cubicBezTo>
                    <a:cubicBezTo>
                      <a:pt x="0" y="3521"/>
                      <a:pt x="3521" y="0"/>
                      <a:pt x="7881" y="0"/>
                    </a:cubicBezTo>
                    <a:lnTo>
                      <a:pt x="39405" y="0"/>
                    </a:lnTo>
                    <a:cubicBezTo>
                      <a:pt x="43765" y="0"/>
                      <a:pt x="47286" y="3521"/>
                      <a:pt x="47286" y="7881"/>
                    </a:cubicBezTo>
                    <a:cubicBezTo>
                      <a:pt x="47286" y="12241"/>
                      <a:pt x="43741" y="15762"/>
                      <a:pt x="39405" y="15762"/>
                    </a:cubicBezTo>
                    <a:close/>
                  </a:path>
                </a:pathLst>
              </a:custGeom>
              <a:solidFill>
                <a:schemeClr val="accent1"/>
              </a:solidFill>
              <a:ln w="2392" cap="flat">
                <a:noFill/>
                <a:prstDash val="solid"/>
                <a:miter/>
              </a:ln>
            </p:spPr>
            <p:txBody>
              <a:bodyPr rtlCol="0" anchor="ctr"/>
              <a:lstStyle/>
              <a:p>
                <a:endParaRPr lang="en-GB" dirty="0"/>
              </a:p>
            </p:txBody>
          </p:sp>
          <p:sp>
            <p:nvSpPr>
              <p:cNvPr id="640" name="Freihandform: Form 639">
                <a:extLst>
                  <a:ext uri="{FF2B5EF4-FFF2-40B4-BE49-F238E27FC236}">
                    <a16:creationId xmlns:a16="http://schemas.microsoft.com/office/drawing/2014/main" id="{7BC023C0-449E-4B6F-912F-5DC6C09D25A6}"/>
                  </a:ext>
                </a:extLst>
              </p:cNvPr>
              <p:cNvSpPr/>
              <p:nvPr/>
            </p:nvSpPr>
            <p:spPr>
              <a:xfrm>
                <a:off x="8369340" y="4278575"/>
                <a:ext cx="47286" cy="15762"/>
              </a:xfrm>
              <a:custGeom>
                <a:avLst/>
                <a:gdLst>
                  <a:gd name="connsiteX0" fmla="*/ 39405 w 47286"/>
                  <a:gd name="connsiteY0" fmla="*/ 15762 h 15762"/>
                  <a:gd name="connsiteX1" fmla="*/ 7881 w 47286"/>
                  <a:gd name="connsiteY1" fmla="*/ 15762 h 15762"/>
                  <a:gd name="connsiteX2" fmla="*/ 0 w 47286"/>
                  <a:gd name="connsiteY2" fmla="*/ 7881 h 15762"/>
                  <a:gd name="connsiteX3" fmla="*/ 7881 w 47286"/>
                  <a:gd name="connsiteY3" fmla="*/ 0 h 15762"/>
                  <a:gd name="connsiteX4" fmla="*/ 39405 w 47286"/>
                  <a:gd name="connsiteY4" fmla="*/ 0 h 15762"/>
                  <a:gd name="connsiteX5" fmla="*/ 47286 w 47286"/>
                  <a:gd name="connsiteY5" fmla="*/ 7881 h 15762"/>
                  <a:gd name="connsiteX6" fmla="*/ 39405 w 4728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86" h="15762">
                    <a:moveTo>
                      <a:pt x="39405" y="15762"/>
                    </a:moveTo>
                    <a:lnTo>
                      <a:pt x="7881" y="15762"/>
                    </a:lnTo>
                    <a:cubicBezTo>
                      <a:pt x="3521" y="15762"/>
                      <a:pt x="0" y="12241"/>
                      <a:pt x="0" y="7881"/>
                    </a:cubicBezTo>
                    <a:cubicBezTo>
                      <a:pt x="0" y="3521"/>
                      <a:pt x="3521" y="0"/>
                      <a:pt x="7881" y="0"/>
                    </a:cubicBezTo>
                    <a:lnTo>
                      <a:pt x="39405" y="0"/>
                    </a:lnTo>
                    <a:cubicBezTo>
                      <a:pt x="43765" y="0"/>
                      <a:pt x="47286" y="3521"/>
                      <a:pt x="47286" y="7881"/>
                    </a:cubicBezTo>
                    <a:cubicBezTo>
                      <a:pt x="47286" y="12241"/>
                      <a:pt x="43741" y="15762"/>
                      <a:pt x="39405" y="15762"/>
                    </a:cubicBezTo>
                    <a:close/>
                  </a:path>
                </a:pathLst>
              </a:custGeom>
              <a:solidFill>
                <a:schemeClr val="accent1"/>
              </a:solidFill>
              <a:ln w="2392" cap="flat">
                <a:noFill/>
                <a:prstDash val="solid"/>
                <a:miter/>
              </a:ln>
            </p:spPr>
            <p:txBody>
              <a:bodyPr rtlCol="0" anchor="ctr"/>
              <a:lstStyle/>
              <a:p>
                <a:endParaRPr lang="en-GB" dirty="0"/>
              </a:p>
            </p:txBody>
          </p:sp>
          <p:sp>
            <p:nvSpPr>
              <p:cNvPr id="641" name="Freihandform: Form 640">
                <a:extLst>
                  <a:ext uri="{FF2B5EF4-FFF2-40B4-BE49-F238E27FC236}">
                    <a16:creationId xmlns:a16="http://schemas.microsoft.com/office/drawing/2014/main" id="{94CA8DC3-FBA8-4339-8E3C-0231D7941158}"/>
                  </a:ext>
                </a:extLst>
              </p:cNvPr>
              <p:cNvSpPr/>
              <p:nvPr/>
            </p:nvSpPr>
            <p:spPr>
              <a:xfrm>
                <a:off x="8353578" y="4333742"/>
                <a:ext cx="63048" cy="15762"/>
              </a:xfrm>
              <a:custGeom>
                <a:avLst/>
                <a:gdLst>
                  <a:gd name="connsiteX0" fmla="*/ 55168 w 63048"/>
                  <a:gd name="connsiteY0" fmla="*/ 15762 h 15762"/>
                  <a:gd name="connsiteX1" fmla="*/ 7881 w 63048"/>
                  <a:gd name="connsiteY1" fmla="*/ 15762 h 15762"/>
                  <a:gd name="connsiteX2" fmla="*/ 0 w 63048"/>
                  <a:gd name="connsiteY2" fmla="*/ 7881 h 15762"/>
                  <a:gd name="connsiteX3" fmla="*/ 7881 w 63048"/>
                  <a:gd name="connsiteY3" fmla="*/ 0 h 15762"/>
                  <a:gd name="connsiteX4" fmla="*/ 55168 w 63048"/>
                  <a:gd name="connsiteY4" fmla="*/ 0 h 15762"/>
                  <a:gd name="connsiteX5" fmla="*/ 63049 w 63048"/>
                  <a:gd name="connsiteY5" fmla="*/ 7881 h 15762"/>
                  <a:gd name="connsiteX6" fmla="*/ 55168 w 63048"/>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48" h="15762">
                    <a:moveTo>
                      <a:pt x="55168" y="15762"/>
                    </a:moveTo>
                    <a:lnTo>
                      <a:pt x="7881" y="15762"/>
                    </a:lnTo>
                    <a:cubicBezTo>
                      <a:pt x="3521" y="15762"/>
                      <a:pt x="0" y="12241"/>
                      <a:pt x="0" y="7881"/>
                    </a:cubicBezTo>
                    <a:cubicBezTo>
                      <a:pt x="0" y="3521"/>
                      <a:pt x="3521" y="0"/>
                      <a:pt x="7881" y="0"/>
                    </a:cubicBezTo>
                    <a:lnTo>
                      <a:pt x="55168" y="0"/>
                    </a:lnTo>
                    <a:cubicBezTo>
                      <a:pt x="59527" y="0"/>
                      <a:pt x="63049" y="3521"/>
                      <a:pt x="63049" y="7881"/>
                    </a:cubicBezTo>
                    <a:cubicBezTo>
                      <a:pt x="63049" y="12241"/>
                      <a:pt x="59503" y="15762"/>
                      <a:pt x="55168" y="15762"/>
                    </a:cubicBezTo>
                    <a:close/>
                  </a:path>
                </a:pathLst>
              </a:custGeom>
              <a:solidFill>
                <a:schemeClr val="accent1"/>
              </a:solidFill>
              <a:ln w="2392" cap="flat">
                <a:noFill/>
                <a:prstDash val="solid"/>
                <a:miter/>
              </a:ln>
            </p:spPr>
            <p:txBody>
              <a:bodyPr rtlCol="0" anchor="ctr"/>
              <a:lstStyle/>
              <a:p>
                <a:endParaRPr lang="en-GB" dirty="0"/>
              </a:p>
            </p:txBody>
          </p:sp>
          <p:sp>
            <p:nvSpPr>
              <p:cNvPr id="642" name="Freihandform: Form 641">
                <a:extLst>
                  <a:ext uri="{FF2B5EF4-FFF2-40B4-BE49-F238E27FC236}">
                    <a16:creationId xmlns:a16="http://schemas.microsoft.com/office/drawing/2014/main" id="{52E7E9E3-8232-483A-A770-6F0DAFD4C576}"/>
                  </a:ext>
                </a:extLst>
              </p:cNvPr>
              <p:cNvSpPr/>
              <p:nvPr/>
            </p:nvSpPr>
            <p:spPr>
              <a:xfrm>
                <a:off x="8369340" y="4388910"/>
                <a:ext cx="47286" cy="15762"/>
              </a:xfrm>
              <a:custGeom>
                <a:avLst/>
                <a:gdLst>
                  <a:gd name="connsiteX0" fmla="*/ 39405 w 47286"/>
                  <a:gd name="connsiteY0" fmla="*/ 15762 h 15762"/>
                  <a:gd name="connsiteX1" fmla="*/ 7881 w 47286"/>
                  <a:gd name="connsiteY1" fmla="*/ 15762 h 15762"/>
                  <a:gd name="connsiteX2" fmla="*/ 0 w 47286"/>
                  <a:gd name="connsiteY2" fmla="*/ 7881 h 15762"/>
                  <a:gd name="connsiteX3" fmla="*/ 7881 w 47286"/>
                  <a:gd name="connsiteY3" fmla="*/ 0 h 15762"/>
                  <a:gd name="connsiteX4" fmla="*/ 39405 w 47286"/>
                  <a:gd name="connsiteY4" fmla="*/ 0 h 15762"/>
                  <a:gd name="connsiteX5" fmla="*/ 47286 w 47286"/>
                  <a:gd name="connsiteY5" fmla="*/ 7881 h 15762"/>
                  <a:gd name="connsiteX6" fmla="*/ 39405 w 4728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86" h="15762">
                    <a:moveTo>
                      <a:pt x="39405" y="15762"/>
                    </a:moveTo>
                    <a:lnTo>
                      <a:pt x="7881" y="15762"/>
                    </a:lnTo>
                    <a:cubicBezTo>
                      <a:pt x="3521" y="15762"/>
                      <a:pt x="0" y="12241"/>
                      <a:pt x="0" y="7881"/>
                    </a:cubicBezTo>
                    <a:cubicBezTo>
                      <a:pt x="0" y="3521"/>
                      <a:pt x="3521" y="0"/>
                      <a:pt x="7881" y="0"/>
                    </a:cubicBezTo>
                    <a:lnTo>
                      <a:pt x="39405" y="0"/>
                    </a:lnTo>
                    <a:cubicBezTo>
                      <a:pt x="43765" y="0"/>
                      <a:pt x="47286" y="3521"/>
                      <a:pt x="47286" y="7881"/>
                    </a:cubicBezTo>
                    <a:cubicBezTo>
                      <a:pt x="47286" y="12241"/>
                      <a:pt x="43741" y="15762"/>
                      <a:pt x="39405" y="15762"/>
                    </a:cubicBezTo>
                    <a:close/>
                  </a:path>
                </a:pathLst>
              </a:custGeom>
              <a:solidFill>
                <a:schemeClr val="accent1"/>
              </a:solidFill>
              <a:ln w="2392" cap="flat">
                <a:noFill/>
                <a:prstDash val="solid"/>
                <a:miter/>
              </a:ln>
            </p:spPr>
            <p:txBody>
              <a:bodyPr rtlCol="0" anchor="ctr"/>
              <a:lstStyle/>
              <a:p>
                <a:endParaRPr lang="en-GB" dirty="0"/>
              </a:p>
            </p:txBody>
          </p:sp>
          <p:sp>
            <p:nvSpPr>
              <p:cNvPr id="643" name="Freihandform: Form 642">
                <a:extLst>
                  <a:ext uri="{FF2B5EF4-FFF2-40B4-BE49-F238E27FC236}">
                    <a16:creationId xmlns:a16="http://schemas.microsoft.com/office/drawing/2014/main" id="{91F554CB-2136-4888-B61A-86006202EA23}"/>
                  </a:ext>
                </a:extLst>
              </p:cNvPr>
              <p:cNvSpPr/>
              <p:nvPr/>
            </p:nvSpPr>
            <p:spPr>
              <a:xfrm>
                <a:off x="8369340" y="4444077"/>
                <a:ext cx="47286" cy="15762"/>
              </a:xfrm>
              <a:custGeom>
                <a:avLst/>
                <a:gdLst>
                  <a:gd name="connsiteX0" fmla="*/ 39405 w 47286"/>
                  <a:gd name="connsiteY0" fmla="*/ 15762 h 15762"/>
                  <a:gd name="connsiteX1" fmla="*/ 7881 w 47286"/>
                  <a:gd name="connsiteY1" fmla="*/ 15762 h 15762"/>
                  <a:gd name="connsiteX2" fmla="*/ 0 w 47286"/>
                  <a:gd name="connsiteY2" fmla="*/ 7881 h 15762"/>
                  <a:gd name="connsiteX3" fmla="*/ 7881 w 47286"/>
                  <a:gd name="connsiteY3" fmla="*/ 0 h 15762"/>
                  <a:gd name="connsiteX4" fmla="*/ 39405 w 47286"/>
                  <a:gd name="connsiteY4" fmla="*/ 0 h 15762"/>
                  <a:gd name="connsiteX5" fmla="*/ 47286 w 47286"/>
                  <a:gd name="connsiteY5" fmla="*/ 7881 h 15762"/>
                  <a:gd name="connsiteX6" fmla="*/ 39405 w 4728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86" h="15762">
                    <a:moveTo>
                      <a:pt x="39405" y="15762"/>
                    </a:moveTo>
                    <a:lnTo>
                      <a:pt x="7881" y="15762"/>
                    </a:lnTo>
                    <a:cubicBezTo>
                      <a:pt x="3521" y="15762"/>
                      <a:pt x="0" y="12241"/>
                      <a:pt x="0" y="7881"/>
                    </a:cubicBezTo>
                    <a:cubicBezTo>
                      <a:pt x="0" y="3522"/>
                      <a:pt x="3521" y="0"/>
                      <a:pt x="7881" y="0"/>
                    </a:cubicBezTo>
                    <a:lnTo>
                      <a:pt x="39405" y="0"/>
                    </a:lnTo>
                    <a:cubicBezTo>
                      <a:pt x="43765" y="0"/>
                      <a:pt x="47286" y="3522"/>
                      <a:pt x="47286" y="7881"/>
                    </a:cubicBezTo>
                    <a:cubicBezTo>
                      <a:pt x="47286" y="12241"/>
                      <a:pt x="43741" y="15762"/>
                      <a:pt x="39405" y="15762"/>
                    </a:cubicBezTo>
                    <a:close/>
                  </a:path>
                </a:pathLst>
              </a:custGeom>
              <a:solidFill>
                <a:schemeClr val="accent1"/>
              </a:solidFill>
              <a:ln w="2392" cap="flat">
                <a:noFill/>
                <a:prstDash val="solid"/>
                <a:miter/>
              </a:ln>
            </p:spPr>
            <p:txBody>
              <a:bodyPr rtlCol="0" anchor="ctr"/>
              <a:lstStyle/>
              <a:p>
                <a:endParaRPr lang="en-GB" dirty="0"/>
              </a:p>
            </p:txBody>
          </p:sp>
          <p:sp>
            <p:nvSpPr>
              <p:cNvPr id="644" name="Freihandform: Form 643">
                <a:extLst>
                  <a:ext uri="{FF2B5EF4-FFF2-40B4-BE49-F238E27FC236}">
                    <a16:creationId xmlns:a16="http://schemas.microsoft.com/office/drawing/2014/main" id="{4E35863F-C05E-47AA-97C8-93EDAB7CE1FF}"/>
                  </a:ext>
                </a:extLst>
              </p:cNvPr>
              <p:cNvSpPr/>
              <p:nvPr/>
            </p:nvSpPr>
            <p:spPr>
              <a:xfrm>
                <a:off x="8369340" y="4554412"/>
                <a:ext cx="47286" cy="15762"/>
              </a:xfrm>
              <a:custGeom>
                <a:avLst/>
                <a:gdLst>
                  <a:gd name="connsiteX0" fmla="*/ 39405 w 47286"/>
                  <a:gd name="connsiteY0" fmla="*/ 15762 h 15762"/>
                  <a:gd name="connsiteX1" fmla="*/ 7881 w 47286"/>
                  <a:gd name="connsiteY1" fmla="*/ 15762 h 15762"/>
                  <a:gd name="connsiteX2" fmla="*/ 0 w 47286"/>
                  <a:gd name="connsiteY2" fmla="*/ 7881 h 15762"/>
                  <a:gd name="connsiteX3" fmla="*/ 7881 w 47286"/>
                  <a:gd name="connsiteY3" fmla="*/ 0 h 15762"/>
                  <a:gd name="connsiteX4" fmla="*/ 39405 w 47286"/>
                  <a:gd name="connsiteY4" fmla="*/ 0 h 15762"/>
                  <a:gd name="connsiteX5" fmla="*/ 47286 w 47286"/>
                  <a:gd name="connsiteY5" fmla="*/ 7881 h 15762"/>
                  <a:gd name="connsiteX6" fmla="*/ 39405 w 4728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86" h="15762">
                    <a:moveTo>
                      <a:pt x="39405" y="15762"/>
                    </a:moveTo>
                    <a:lnTo>
                      <a:pt x="7881" y="15762"/>
                    </a:lnTo>
                    <a:cubicBezTo>
                      <a:pt x="3521" y="15762"/>
                      <a:pt x="0" y="12241"/>
                      <a:pt x="0" y="7881"/>
                    </a:cubicBezTo>
                    <a:cubicBezTo>
                      <a:pt x="0" y="3521"/>
                      <a:pt x="3521" y="0"/>
                      <a:pt x="7881" y="0"/>
                    </a:cubicBezTo>
                    <a:lnTo>
                      <a:pt x="39405" y="0"/>
                    </a:lnTo>
                    <a:cubicBezTo>
                      <a:pt x="43765" y="0"/>
                      <a:pt x="47286" y="3521"/>
                      <a:pt x="47286" y="7881"/>
                    </a:cubicBezTo>
                    <a:cubicBezTo>
                      <a:pt x="47286" y="12241"/>
                      <a:pt x="43741" y="15762"/>
                      <a:pt x="39405" y="15762"/>
                    </a:cubicBezTo>
                    <a:close/>
                  </a:path>
                </a:pathLst>
              </a:custGeom>
              <a:solidFill>
                <a:schemeClr val="accent1"/>
              </a:solidFill>
              <a:ln w="2392" cap="flat">
                <a:noFill/>
                <a:prstDash val="solid"/>
                <a:miter/>
              </a:ln>
            </p:spPr>
            <p:txBody>
              <a:bodyPr rtlCol="0" anchor="ctr"/>
              <a:lstStyle/>
              <a:p>
                <a:endParaRPr lang="en-GB" dirty="0"/>
              </a:p>
            </p:txBody>
          </p:sp>
          <p:sp>
            <p:nvSpPr>
              <p:cNvPr id="645" name="Freihandform: Form 644">
                <a:extLst>
                  <a:ext uri="{FF2B5EF4-FFF2-40B4-BE49-F238E27FC236}">
                    <a16:creationId xmlns:a16="http://schemas.microsoft.com/office/drawing/2014/main" id="{D5883904-EF3D-472A-8453-475277A0A718}"/>
                  </a:ext>
                </a:extLst>
              </p:cNvPr>
              <p:cNvSpPr/>
              <p:nvPr/>
            </p:nvSpPr>
            <p:spPr>
              <a:xfrm>
                <a:off x="8369340" y="4609580"/>
                <a:ext cx="47286" cy="15762"/>
              </a:xfrm>
              <a:custGeom>
                <a:avLst/>
                <a:gdLst>
                  <a:gd name="connsiteX0" fmla="*/ 39405 w 47286"/>
                  <a:gd name="connsiteY0" fmla="*/ 15762 h 15762"/>
                  <a:gd name="connsiteX1" fmla="*/ 7881 w 47286"/>
                  <a:gd name="connsiteY1" fmla="*/ 15762 h 15762"/>
                  <a:gd name="connsiteX2" fmla="*/ 0 w 47286"/>
                  <a:gd name="connsiteY2" fmla="*/ 7881 h 15762"/>
                  <a:gd name="connsiteX3" fmla="*/ 7881 w 47286"/>
                  <a:gd name="connsiteY3" fmla="*/ 0 h 15762"/>
                  <a:gd name="connsiteX4" fmla="*/ 39405 w 47286"/>
                  <a:gd name="connsiteY4" fmla="*/ 0 h 15762"/>
                  <a:gd name="connsiteX5" fmla="*/ 47286 w 47286"/>
                  <a:gd name="connsiteY5" fmla="*/ 7881 h 15762"/>
                  <a:gd name="connsiteX6" fmla="*/ 39405 w 47286"/>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286" h="15762">
                    <a:moveTo>
                      <a:pt x="39405" y="15762"/>
                    </a:moveTo>
                    <a:lnTo>
                      <a:pt x="7881" y="15762"/>
                    </a:lnTo>
                    <a:cubicBezTo>
                      <a:pt x="3521" y="15762"/>
                      <a:pt x="0" y="12241"/>
                      <a:pt x="0" y="7881"/>
                    </a:cubicBezTo>
                    <a:cubicBezTo>
                      <a:pt x="0" y="3521"/>
                      <a:pt x="3521" y="0"/>
                      <a:pt x="7881" y="0"/>
                    </a:cubicBezTo>
                    <a:lnTo>
                      <a:pt x="39405" y="0"/>
                    </a:lnTo>
                    <a:cubicBezTo>
                      <a:pt x="43765" y="0"/>
                      <a:pt x="47286" y="3521"/>
                      <a:pt x="47286" y="7881"/>
                    </a:cubicBezTo>
                    <a:cubicBezTo>
                      <a:pt x="47286" y="12241"/>
                      <a:pt x="43741" y="15762"/>
                      <a:pt x="39405" y="15762"/>
                    </a:cubicBezTo>
                    <a:close/>
                  </a:path>
                </a:pathLst>
              </a:custGeom>
              <a:solidFill>
                <a:schemeClr val="accent1"/>
              </a:solidFill>
              <a:ln w="2392" cap="flat">
                <a:noFill/>
                <a:prstDash val="solid"/>
                <a:miter/>
              </a:ln>
            </p:spPr>
            <p:txBody>
              <a:bodyPr rtlCol="0" anchor="ctr"/>
              <a:lstStyle/>
              <a:p>
                <a:endParaRPr lang="en-GB" dirty="0"/>
              </a:p>
            </p:txBody>
          </p:sp>
          <p:sp>
            <p:nvSpPr>
              <p:cNvPr id="646" name="Freihandform: Form 645">
                <a:extLst>
                  <a:ext uri="{FF2B5EF4-FFF2-40B4-BE49-F238E27FC236}">
                    <a16:creationId xmlns:a16="http://schemas.microsoft.com/office/drawing/2014/main" id="{11807648-F6C1-4913-911B-326D7237E8E2}"/>
                  </a:ext>
                </a:extLst>
              </p:cNvPr>
              <p:cNvSpPr/>
              <p:nvPr/>
            </p:nvSpPr>
            <p:spPr>
              <a:xfrm>
                <a:off x="8353578" y="4499245"/>
                <a:ext cx="63048" cy="15762"/>
              </a:xfrm>
              <a:custGeom>
                <a:avLst/>
                <a:gdLst>
                  <a:gd name="connsiteX0" fmla="*/ 55168 w 63048"/>
                  <a:gd name="connsiteY0" fmla="*/ 15762 h 15762"/>
                  <a:gd name="connsiteX1" fmla="*/ 7881 w 63048"/>
                  <a:gd name="connsiteY1" fmla="*/ 15762 h 15762"/>
                  <a:gd name="connsiteX2" fmla="*/ 0 w 63048"/>
                  <a:gd name="connsiteY2" fmla="*/ 7881 h 15762"/>
                  <a:gd name="connsiteX3" fmla="*/ 7881 w 63048"/>
                  <a:gd name="connsiteY3" fmla="*/ 0 h 15762"/>
                  <a:gd name="connsiteX4" fmla="*/ 55168 w 63048"/>
                  <a:gd name="connsiteY4" fmla="*/ 0 h 15762"/>
                  <a:gd name="connsiteX5" fmla="*/ 63049 w 63048"/>
                  <a:gd name="connsiteY5" fmla="*/ 7881 h 15762"/>
                  <a:gd name="connsiteX6" fmla="*/ 55168 w 63048"/>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48" h="15762">
                    <a:moveTo>
                      <a:pt x="55168" y="15762"/>
                    </a:moveTo>
                    <a:lnTo>
                      <a:pt x="7881" y="15762"/>
                    </a:lnTo>
                    <a:cubicBezTo>
                      <a:pt x="3521" y="15762"/>
                      <a:pt x="0" y="12241"/>
                      <a:pt x="0" y="7881"/>
                    </a:cubicBezTo>
                    <a:cubicBezTo>
                      <a:pt x="0" y="3521"/>
                      <a:pt x="3521" y="0"/>
                      <a:pt x="7881" y="0"/>
                    </a:cubicBezTo>
                    <a:lnTo>
                      <a:pt x="55168" y="0"/>
                    </a:lnTo>
                    <a:cubicBezTo>
                      <a:pt x="59527" y="0"/>
                      <a:pt x="63049" y="3521"/>
                      <a:pt x="63049" y="7881"/>
                    </a:cubicBezTo>
                    <a:cubicBezTo>
                      <a:pt x="63049" y="12241"/>
                      <a:pt x="59503" y="15762"/>
                      <a:pt x="55168" y="15762"/>
                    </a:cubicBezTo>
                    <a:close/>
                  </a:path>
                </a:pathLst>
              </a:custGeom>
              <a:solidFill>
                <a:schemeClr val="accent1"/>
              </a:solidFill>
              <a:ln w="2392" cap="flat">
                <a:noFill/>
                <a:prstDash val="solid"/>
                <a:miter/>
              </a:ln>
            </p:spPr>
            <p:txBody>
              <a:bodyPr rtlCol="0" anchor="ctr"/>
              <a:lstStyle/>
              <a:p>
                <a:endParaRPr lang="en-GB" dirty="0"/>
              </a:p>
            </p:txBody>
          </p:sp>
          <p:sp>
            <p:nvSpPr>
              <p:cNvPr id="647" name="Freihandform: Form 646">
                <a:extLst>
                  <a:ext uri="{FF2B5EF4-FFF2-40B4-BE49-F238E27FC236}">
                    <a16:creationId xmlns:a16="http://schemas.microsoft.com/office/drawing/2014/main" id="{6B199F9E-29D1-439D-989C-3C564E8913B1}"/>
                  </a:ext>
                </a:extLst>
              </p:cNvPr>
              <p:cNvSpPr/>
              <p:nvPr/>
            </p:nvSpPr>
            <p:spPr>
              <a:xfrm>
                <a:off x="8353578" y="4664747"/>
                <a:ext cx="63048" cy="15762"/>
              </a:xfrm>
              <a:custGeom>
                <a:avLst/>
                <a:gdLst>
                  <a:gd name="connsiteX0" fmla="*/ 55168 w 63048"/>
                  <a:gd name="connsiteY0" fmla="*/ 15762 h 15762"/>
                  <a:gd name="connsiteX1" fmla="*/ 7881 w 63048"/>
                  <a:gd name="connsiteY1" fmla="*/ 15762 h 15762"/>
                  <a:gd name="connsiteX2" fmla="*/ 0 w 63048"/>
                  <a:gd name="connsiteY2" fmla="*/ 7881 h 15762"/>
                  <a:gd name="connsiteX3" fmla="*/ 7881 w 63048"/>
                  <a:gd name="connsiteY3" fmla="*/ 0 h 15762"/>
                  <a:gd name="connsiteX4" fmla="*/ 55168 w 63048"/>
                  <a:gd name="connsiteY4" fmla="*/ 0 h 15762"/>
                  <a:gd name="connsiteX5" fmla="*/ 63049 w 63048"/>
                  <a:gd name="connsiteY5" fmla="*/ 7881 h 15762"/>
                  <a:gd name="connsiteX6" fmla="*/ 55168 w 63048"/>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48" h="15762">
                    <a:moveTo>
                      <a:pt x="55168" y="15762"/>
                    </a:moveTo>
                    <a:lnTo>
                      <a:pt x="7881" y="15762"/>
                    </a:lnTo>
                    <a:cubicBezTo>
                      <a:pt x="3521" y="15762"/>
                      <a:pt x="0" y="12241"/>
                      <a:pt x="0" y="7881"/>
                    </a:cubicBezTo>
                    <a:cubicBezTo>
                      <a:pt x="0" y="3522"/>
                      <a:pt x="3521" y="0"/>
                      <a:pt x="7881" y="0"/>
                    </a:cubicBezTo>
                    <a:lnTo>
                      <a:pt x="55168" y="0"/>
                    </a:lnTo>
                    <a:cubicBezTo>
                      <a:pt x="59527" y="0"/>
                      <a:pt x="63049" y="3522"/>
                      <a:pt x="63049" y="7881"/>
                    </a:cubicBezTo>
                    <a:cubicBezTo>
                      <a:pt x="63049" y="12241"/>
                      <a:pt x="59503" y="15762"/>
                      <a:pt x="55168" y="15762"/>
                    </a:cubicBezTo>
                    <a:close/>
                  </a:path>
                </a:pathLst>
              </a:custGeom>
              <a:solidFill>
                <a:schemeClr val="accent1"/>
              </a:solidFill>
              <a:ln w="2392" cap="flat">
                <a:noFill/>
                <a:prstDash val="solid"/>
                <a:miter/>
              </a:ln>
            </p:spPr>
            <p:txBody>
              <a:bodyPr rtlCol="0" anchor="ctr"/>
              <a:lstStyle/>
              <a:p>
                <a:endParaRPr lang="en-GB" dirty="0"/>
              </a:p>
            </p:txBody>
          </p:sp>
        </p:grpSp>
      </p:grpSp>
      <p:grpSp>
        <p:nvGrpSpPr>
          <p:cNvPr id="665" name="Gruppieren 664">
            <a:extLst>
              <a:ext uri="{FF2B5EF4-FFF2-40B4-BE49-F238E27FC236}">
                <a16:creationId xmlns:a16="http://schemas.microsoft.com/office/drawing/2014/main" id="{B3CC21DD-FB51-4824-A4A5-D6AC8E2E0A67}"/>
              </a:ext>
            </a:extLst>
          </p:cNvPr>
          <p:cNvGrpSpPr>
            <a:grpSpLocks noChangeAspect="1"/>
          </p:cNvGrpSpPr>
          <p:nvPr/>
        </p:nvGrpSpPr>
        <p:grpSpPr>
          <a:xfrm>
            <a:off x="7071169" y="3273397"/>
            <a:ext cx="465934" cy="432000"/>
            <a:chOff x="7002777" y="3346145"/>
            <a:chExt cx="597692" cy="554162"/>
          </a:xfrm>
        </p:grpSpPr>
        <p:grpSp>
          <p:nvGrpSpPr>
            <p:cNvPr id="666" name="Gruppieren 665">
              <a:extLst>
                <a:ext uri="{FF2B5EF4-FFF2-40B4-BE49-F238E27FC236}">
                  <a16:creationId xmlns:a16="http://schemas.microsoft.com/office/drawing/2014/main" id="{324E8751-5016-4061-B7FB-7F716367DC78}"/>
                </a:ext>
              </a:extLst>
            </p:cNvPr>
            <p:cNvGrpSpPr/>
            <p:nvPr/>
          </p:nvGrpSpPr>
          <p:grpSpPr>
            <a:xfrm>
              <a:off x="7163561" y="3411681"/>
              <a:ext cx="283718" cy="338885"/>
              <a:chOff x="7163561" y="3411681"/>
              <a:chExt cx="283718" cy="338886"/>
            </a:xfrm>
          </p:grpSpPr>
          <p:sp>
            <p:nvSpPr>
              <p:cNvPr id="671" name="Freihandform: Form 670">
                <a:extLst>
                  <a:ext uri="{FF2B5EF4-FFF2-40B4-BE49-F238E27FC236}">
                    <a16:creationId xmlns:a16="http://schemas.microsoft.com/office/drawing/2014/main" id="{F45A2B57-4309-44BC-94BC-32D314E21125}"/>
                  </a:ext>
                </a:extLst>
              </p:cNvPr>
              <p:cNvSpPr/>
              <p:nvPr/>
            </p:nvSpPr>
            <p:spPr>
              <a:xfrm>
                <a:off x="7163561" y="3537779"/>
                <a:ext cx="283718" cy="149740"/>
              </a:xfrm>
              <a:custGeom>
                <a:avLst/>
                <a:gdLst>
                  <a:gd name="connsiteX0" fmla="*/ 275837 w 283718"/>
                  <a:gd name="connsiteY0" fmla="*/ 149740 h 149740"/>
                  <a:gd name="connsiteX1" fmla="*/ 7881 w 283718"/>
                  <a:gd name="connsiteY1" fmla="*/ 149740 h 149740"/>
                  <a:gd name="connsiteX2" fmla="*/ 0 w 283718"/>
                  <a:gd name="connsiteY2" fmla="*/ 141859 h 149740"/>
                  <a:gd name="connsiteX3" fmla="*/ 0 w 283718"/>
                  <a:gd name="connsiteY3" fmla="*/ 7881 h 149740"/>
                  <a:gd name="connsiteX4" fmla="*/ 7881 w 283718"/>
                  <a:gd name="connsiteY4" fmla="*/ 0 h 149740"/>
                  <a:gd name="connsiteX5" fmla="*/ 275837 w 283718"/>
                  <a:gd name="connsiteY5" fmla="*/ 0 h 149740"/>
                  <a:gd name="connsiteX6" fmla="*/ 283718 w 283718"/>
                  <a:gd name="connsiteY6" fmla="*/ 7881 h 149740"/>
                  <a:gd name="connsiteX7" fmla="*/ 283718 w 283718"/>
                  <a:gd name="connsiteY7" fmla="*/ 141859 h 149740"/>
                  <a:gd name="connsiteX8" fmla="*/ 275837 w 283718"/>
                  <a:gd name="connsiteY8" fmla="*/ 149740 h 149740"/>
                  <a:gd name="connsiteX9" fmla="*/ 15762 w 283718"/>
                  <a:gd name="connsiteY9" fmla="*/ 133978 h 149740"/>
                  <a:gd name="connsiteX10" fmla="*/ 267956 w 283718"/>
                  <a:gd name="connsiteY10" fmla="*/ 133978 h 149740"/>
                  <a:gd name="connsiteX11" fmla="*/ 267956 w 283718"/>
                  <a:gd name="connsiteY11" fmla="*/ 15762 h 149740"/>
                  <a:gd name="connsiteX12" fmla="*/ 15762 w 283718"/>
                  <a:gd name="connsiteY12" fmla="*/ 15762 h 149740"/>
                  <a:gd name="connsiteX13" fmla="*/ 15762 w 283718"/>
                  <a:gd name="connsiteY13" fmla="*/ 133978 h 149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83718" h="149740">
                    <a:moveTo>
                      <a:pt x="275837" y="149740"/>
                    </a:moveTo>
                    <a:lnTo>
                      <a:pt x="7881" y="149740"/>
                    </a:lnTo>
                    <a:cubicBezTo>
                      <a:pt x="3521" y="149740"/>
                      <a:pt x="0" y="146219"/>
                      <a:pt x="0" y="141859"/>
                    </a:cubicBezTo>
                    <a:lnTo>
                      <a:pt x="0" y="7881"/>
                    </a:lnTo>
                    <a:cubicBezTo>
                      <a:pt x="0" y="3521"/>
                      <a:pt x="3521" y="0"/>
                      <a:pt x="7881" y="0"/>
                    </a:cubicBezTo>
                    <a:lnTo>
                      <a:pt x="275837" y="0"/>
                    </a:lnTo>
                    <a:cubicBezTo>
                      <a:pt x="280197" y="0"/>
                      <a:pt x="283718" y="3521"/>
                      <a:pt x="283718" y="7881"/>
                    </a:cubicBezTo>
                    <a:lnTo>
                      <a:pt x="283718" y="141859"/>
                    </a:lnTo>
                    <a:cubicBezTo>
                      <a:pt x="283718" y="146219"/>
                      <a:pt x="280197" y="149740"/>
                      <a:pt x="275837" y="149740"/>
                    </a:cubicBezTo>
                    <a:close/>
                    <a:moveTo>
                      <a:pt x="15762" y="133978"/>
                    </a:moveTo>
                    <a:lnTo>
                      <a:pt x="267956" y="133978"/>
                    </a:lnTo>
                    <a:lnTo>
                      <a:pt x="267956" y="15762"/>
                    </a:lnTo>
                    <a:lnTo>
                      <a:pt x="15762" y="15762"/>
                    </a:lnTo>
                    <a:lnTo>
                      <a:pt x="15762" y="133978"/>
                    </a:lnTo>
                    <a:close/>
                  </a:path>
                </a:pathLst>
              </a:custGeom>
              <a:solidFill>
                <a:schemeClr val="accent1"/>
              </a:solidFill>
              <a:ln w="2392" cap="flat">
                <a:noFill/>
                <a:prstDash val="solid"/>
                <a:miter/>
              </a:ln>
            </p:spPr>
            <p:txBody>
              <a:bodyPr rtlCol="0" anchor="ctr"/>
              <a:lstStyle/>
              <a:p>
                <a:endParaRPr lang="en-GB" dirty="0"/>
              </a:p>
            </p:txBody>
          </p:sp>
          <p:sp>
            <p:nvSpPr>
              <p:cNvPr id="672" name="Freihandform: Form 671">
                <a:extLst>
                  <a:ext uri="{FF2B5EF4-FFF2-40B4-BE49-F238E27FC236}">
                    <a16:creationId xmlns:a16="http://schemas.microsoft.com/office/drawing/2014/main" id="{C164F08A-6287-4F73-8970-C83C21AFD31D}"/>
                  </a:ext>
                </a:extLst>
              </p:cNvPr>
              <p:cNvSpPr/>
              <p:nvPr/>
            </p:nvSpPr>
            <p:spPr>
              <a:xfrm>
                <a:off x="7163561" y="3734805"/>
                <a:ext cx="283718" cy="15762"/>
              </a:xfrm>
              <a:custGeom>
                <a:avLst/>
                <a:gdLst>
                  <a:gd name="connsiteX0" fmla="*/ 275837 w 283718"/>
                  <a:gd name="connsiteY0" fmla="*/ 15762 h 15762"/>
                  <a:gd name="connsiteX1" fmla="*/ 7881 w 283718"/>
                  <a:gd name="connsiteY1" fmla="*/ 15762 h 15762"/>
                  <a:gd name="connsiteX2" fmla="*/ 0 w 283718"/>
                  <a:gd name="connsiteY2" fmla="*/ 7881 h 15762"/>
                  <a:gd name="connsiteX3" fmla="*/ 7881 w 283718"/>
                  <a:gd name="connsiteY3" fmla="*/ 0 h 15762"/>
                  <a:gd name="connsiteX4" fmla="*/ 275837 w 283718"/>
                  <a:gd name="connsiteY4" fmla="*/ 0 h 15762"/>
                  <a:gd name="connsiteX5" fmla="*/ 283718 w 283718"/>
                  <a:gd name="connsiteY5" fmla="*/ 7881 h 15762"/>
                  <a:gd name="connsiteX6" fmla="*/ 275837 w 283718"/>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718" h="15762">
                    <a:moveTo>
                      <a:pt x="275837" y="15762"/>
                    </a:moveTo>
                    <a:lnTo>
                      <a:pt x="7881" y="15762"/>
                    </a:lnTo>
                    <a:cubicBezTo>
                      <a:pt x="3521" y="15762"/>
                      <a:pt x="0" y="12241"/>
                      <a:pt x="0" y="7881"/>
                    </a:cubicBezTo>
                    <a:cubicBezTo>
                      <a:pt x="0" y="3521"/>
                      <a:pt x="3521" y="0"/>
                      <a:pt x="7881" y="0"/>
                    </a:cubicBezTo>
                    <a:lnTo>
                      <a:pt x="275837" y="0"/>
                    </a:lnTo>
                    <a:cubicBezTo>
                      <a:pt x="280197" y="0"/>
                      <a:pt x="283718" y="3521"/>
                      <a:pt x="283718" y="7881"/>
                    </a:cubicBezTo>
                    <a:cubicBezTo>
                      <a:pt x="283718" y="12241"/>
                      <a:pt x="280197" y="15762"/>
                      <a:pt x="275837" y="15762"/>
                    </a:cubicBezTo>
                    <a:close/>
                  </a:path>
                </a:pathLst>
              </a:custGeom>
              <a:solidFill>
                <a:schemeClr val="accent1"/>
              </a:solidFill>
              <a:ln w="2392" cap="flat">
                <a:noFill/>
                <a:prstDash val="solid"/>
                <a:miter/>
              </a:ln>
            </p:spPr>
            <p:txBody>
              <a:bodyPr rtlCol="0" anchor="ctr"/>
              <a:lstStyle/>
              <a:p>
                <a:endParaRPr lang="en-GB" dirty="0"/>
              </a:p>
            </p:txBody>
          </p:sp>
          <p:sp>
            <p:nvSpPr>
              <p:cNvPr id="673" name="Freihandform: Form 672">
                <a:extLst>
                  <a:ext uri="{FF2B5EF4-FFF2-40B4-BE49-F238E27FC236}">
                    <a16:creationId xmlns:a16="http://schemas.microsoft.com/office/drawing/2014/main" id="{7F9BAEF5-19AD-4D7F-B5F6-4723A6FE3EFC}"/>
                  </a:ext>
                </a:extLst>
              </p:cNvPr>
              <p:cNvSpPr/>
              <p:nvPr/>
            </p:nvSpPr>
            <p:spPr>
              <a:xfrm>
                <a:off x="7163561" y="3411681"/>
                <a:ext cx="283718" cy="15762"/>
              </a:xfrm>
              <a:custGeom>
                <a:avLst/>
                <a:gdLst>
                  <a:gd name="connsiteX0" fmla="*/ 275837 w 283718"/>
                  <a:gd name="connsiteY0" fmla="*/ 15762 h 15762"/>
                  <a:gd name="connsiteX1" fmla="*/ 7881 w 283718"/>
                  <a:gd name="connsiteY1" fmla="*/ 15762 h 15762"/>
                  <a:gd name="connsiteX2" fmla="*/ 0 w 283718"/>
                  <a:gd name="connsiteY2" fmla="*/ 7881 h 15762"/>
                  <a:gd name="connsiteX3" fmla="*/ 7881 w 283718"/>
                  <a:gd name="connsiteY3" fmla="*/ 0 h 15762"/>
                  <a:gd name="connsiteX4" fmla="*/ 275837 w 283718"/>
                  <a:gd name="connsiteY4" fmla="*/ 0 h 15762"/>
                  <a:gd name="connsiteX5" fmla="*/ 283718 w 283718"/>
                  <a:gd name="connsiteY5" fmla="*/ 7881 h 15762"/>
                  <a:gd name="connsiteX6" fmla="*/ 275837 w 283718"/>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718" h="15762">
                    <a:moveTo>
                      <a:pt x="275837" y="15762"/>
                    </a:moveTo>
                    <a:lnTo>
                      <a:pt x="7881" y="15762"/>
                    </a:lnTo>
                    <a:cubicBezTo>
                      <a:pt x="3521" y="15762"/>
                      <a:pt x="0" y="12241"/>
                      <a:pt x="0" y="7881"/>
                    </a:cubicBezTo>
                    <a:cubicBezTo>
                      <a:pt x="0" y="3521"/>
                      <a:pt x="3521" y="0"/>
                      <a:pt x="7881" y="0"/>
                    </a:cubicBezTo>
                    <a:lnTo>
                      <a:pt x="275837" y="0"/>
                    </a:lnTo>
                    <a:cubicBezTo>
                      <a:pt x="280197" y="0"/>
                      <a:pt x="283718" y="3521"/>
                      <a:pt x="283718" y="7881"/>
                    </a:cubicBezTo>
                    <a:cubicBezTo>
                      <a:pt x="283718" y="12241"/>
                      <a:pt x="280197" y="15762"/>
                      <a:pt x="275837" y="15762"/>
                    </a:cubicBezTo>
                    <a:close/>
                  </a:path>
                </a:pathLst>
              </a:custGeom>
              <a:solidFill>
                <a:schemeClr val="accent1"/>
              </a:solidFill>
              <a:ln w="2392" cap="flat">
                <a:noFill/>
                <a:prstDash val="solid"/>
                <a:miter/>
              </a:ln>
            </p:spPr>
            <p:txBody>
              <a:bodyPr rtlCol="0" anchor="ctr"/>
              <a:lstStyle/>
              <a:p>
                <a:endParaRPr lang="en-GB" dirty="0"/>
              </a:p>
            </p:txBody>
          </p:sp>
          <p:sp>
            <p:nvSpPr>
              <p:cNvPr id="674" name="Freihandform: Form 673">
                <a:extLst>
                  <a:ext uri="{FF2B5EF4-FFF2-40B4-BE49-F238E27FC236}">
                    <a16:creationId xmlns:a16="http://schemas.microsoft.com/office/drawing/2014/main" id="{09E33EC7-3C78-4626-9420-8362D24324DE}"/>
                  </a:ext>
                </a:extLst>
              </p:cNvPr>
              <p:cNvSpPr/>
              <p:nvPr/>
            </p:nvSpPr>
            <p:spPr>
              <a:xfrm>
                <a:off x="7163561" y="3474730"/>
                <a:ext cx="283718" cy="15762"/>
              </a:xfrm>
              <a:custGeom>
                <a:avLst/>
                <a:gdLst>
                  <a:gd name="connsiteX0" fmla="*/ 275837 w 283718"/>
                  <a:gd name="connsiteY0" fmla="*/ 15762 h 15762"/>
                  <a:gd name="connsiteX1" fmla="*/ 7881 w 283718"/>
                  <a:gd name="connsiteY1" fmla="*/ 15762 h 15762"/>
                  <a:gd name="connsiteX2" fmla="*/ 0 w 283718"/>
                  <a:gd name="connsiteY2" fmla="*/ 7881 h 15762"/>
                  <a:gd name="connsiteX3" fmla="*/ 7881 w 283718"/>
                  <a:gd name="connsiteY3" fmla="*/ 0 h 15762"/>
                  <a:gd name="connsiteX4" fmla="*/ 275837 w 283718"/>
                  <a:gd name="connsiteY4" fmla="*/ 0 h 15762"/>
                  <a:gd name="connsiteX5" fmla="*/ 283718 w 283718"/>
                  <a:gd name="connsiteY5" fmla="*/ 7881 h 15762"/>
                  <a:gd name="connsiteX6" fmla="*/ 275837 w 283718"/>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3718" h="15762">
                    <a:moveTo>
                      <a:pt x="275837" y="15762"/>
                    </a:moveTo>
                    <a:lnTo>
                      <a:pt x="7881" y="15762"/>
                    </a:lnTo>
                    <a:cubicBezTo>
                      <a:pt x="3521" y="15762"/>
                      <a:pt x="0" y="12241"/>
                      <a:pt x="0" y="7881"/>
                    </a:cubicBezTo>
                    <a:cubicBezTo>
                      <a:pt x="0" y="3521"/>
                      <a:pt x="3521" y="0"/>
                      <a:pt x="7881" y="0"/>
                    </a:cubicBezTo>
                    <a:lnTo>
                      <a:pt x="275837" y="0"/>
                    </a:lnTo>
                    <a:cubicBezTo>
                      <a:pt x="280197" y="0"/>
                      <a:pt x="283718" y="3521"/>
                      <a:pt x="283718" y="7881"/>
                    </a:cubicBezTo>
                    <a:cubicBezTo>
                      <a:pt x="283718" y="12241"/>
                      <a:pt x="280197" y="15762"/>
                      <a:pt x="275837" y="15762"/>
                    </a:cubicBezTo>
                    <a:close/>
                  </a:path>
                </a:pathLst>
              </a:custGeom>
              <a:solidFill>
                <a:schemeClr val="accent1"/>
              </a:solidFill>
              <a:ln w="2392" cap="flat">
                <a:noFill/>
                <a:prstDash val="solid"/>
                <a:miter/>
              </a:ln>
            </p:spPr>
            <p:txBody>
              <a:bodyPr rtlCol="0" anchor="ctr"/>
              <a:lstStyle/>
              <a:p>
                <a:endParaRPr lang="en-GB" dirty="0"/>
              </a:p>
            </p:txBody>
          </p:sp>
        </p:grpSp>
        <p:grpSp>
          <p:nvGrpSpPr>
            <p:cNvPr id="667" name="Gruppieren 666">
              <a:extLst>
                <a:ext uri="{FF2B5EF4-FFF2-40B4-BE49-F238E27FC236}">
                  <a16:creationId xmlns:a16="http://schemas.microsoft.com/office/drawing/2014/main" id="{B62D1472-03A1-4191-A0C9-50ED60B252D1}"/>
                </a:ext>
              </a:extLst>
            </p:cNvPr>
            <p:cNvGrpSpPr/>
            <p:nvPr/>
          </p:nvGrpSpPr>
          <p:grpSpPr>
            <a:xfrm>
              <a:off x="7002777" y="3346145"/>
              <a:ext cx="597692" cy="554162"/>
              <a:chOff x="7002777" y="3346145"/>
              <a:chExt cx="597692" cy="554162"/>
            </a:xfrm>
          </p:grpSpPr>
          <p:sp>
            <p:nvSpPr>
              <p:cNvPr id="668" name="Freihandform: Form 667">
                <a:extLst>
                  <a:ext uri="{FF2B5EF4-FFF2-40B4-BE49-F238E27FC236}">
                    <a16:creationId xmlns:a16="http://schemas.microsoft.com/office/drawing/2014/main" id="{3946FF3A-5495-461F-924E-044040A1AC51}"/>
                  </a:ext>
                </a:extLst>
              </p:cNvPr>
              <p:cNvSpPr/>
              <p:nvPr/>
            </p:nvSpPr>
            <p:spPr>
              <a:xfrm>
                <a:off x="7151943" y="3818167"/>
                <a:ext cx="448526" cy="82140"/>
              </a:xfrm>
              <a:custGeom>
                <a:avLst/>
                <a:gdLst>
                  <a:gd name="connsiteX0" fmla="*/ 395826 w 448526"/>
                  <a:gd name="connsiteY0" fmla="*/ 82140 h 82140"/>
                  <a:gd name="connsiteX1" fmla="*/ 7881 w 448526"/>
                  <a:gd name="connsiteY1" fmla="*/ 82140 h 82140"/>
                  <a:gd name="connsiteX2" fmla="*/ 0 w 448526"/>
                  <a:gd name="connsiteY2" fmla="*/ 74259 h 82140"/>
                  <a:gd name="connsiteX3" fmla="*/ 7881 w 448526"/>
                  <a:gd name="connsiteY3" fmla="*/ 66378 h 82140"/>
                  <a:gd name="connsiteX4" fmla="*/ 44819 w 448526"/>
                  <a:gd name="connsiteY4" fmla="*/ 29440 h 82140"/>
                  <a:gd name="connsiteX5" fmla="*/ 40292 w 448526"/>
                  <a:gd name="connsiteY5" fmla="*/ 11666 h 82140"/>
                  <a:gd name="connsiteX6" fmla="*/ 40411 w 448526"/>
                  <a:gd name="connsiteY6" fmla="*/ 3857 h 82140"/>
                  <a:gd name="connsiteX7" fmla="*/ 47191 w 448526"/>
                  <a:gd name="connsiteY7" fmla="*/ 0 h 82140"/>
                  <a:gd name="connsiteX8" fmla="*/ 435136 w 448526"/>
                  <a:gd name="connsiteY8" fmla="*/ 0 h 82140"/>
                  <a:gd name="connsiteX9" fmla="*/ 442034 w 448526"/>
                  <a:gd name="connsiteY9" fmla="*/ 4072 h 82140"/>
                  <a:gd name="connsiteX10" fmla="*/ 448526 w 448526"/>
                  <a:gd name="connsiteY10" fmla="*/ 29440 h 82140"/>
                  <a:gd name="connsiteX11" fmla="*/ 395826 w 448526"/>
                  <a:gd name="connsiteY11" fmla="*/ 82140 h 82140"/>
                  <a:gd name="connsiteX12" fmla="*/ 45418 w 448526"/>
                  <a:gd name="connsiteY12" fmla="*/ 66378 h 82140"/>
                  <a:gd name="connsiteX13" fmla="*/ 395826 w 448526"/>
                  <a:gd name="connsiteY13" fmla="*/ 66378 h 82140"/>
                  <a:gd name="connsiteX14" fmla="*/ 432764 w 448526"/>
                  <a:gd name="connsiteY14" fmla="*/ 29440 h 82140"/>
                  <a:gd name="connsiteX15" fmla="*/ 430153 w 448526"/>
                  <a:gd name="connsiteY15" fmla="*/ 15762 h 82140"/>
                  <a:gd name="connsiteX16" fmla="*/ 58761 w 448526"/>
                  <a:gd name="connsiteY16" fmla="*/ 15762 h 82140"/>
                  <a:gd name="connsiteX17" fmla="*/ 60557 w 448526"/>
                  <a:gd name="connsiteY17" fmla="*/ 29440 h 82140"/>
                  <a:gd name="connsiteX18" fmla="*/ 45418 w 448526"/>
                  <a:gd name="connsiteY18" fmla="*/ 66378 h 82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8526" h="82140">
                    <a:moveTo>
                      <a:pt x="395826" y="82140"/>
                    </a:moveTo>
                    <a:lnTo>
                      <a:pt x="7881" y="82140"/>
                    </a:lnTo>
                    <a:cubicBezTo>
                      <a:pt x="3521" y="82140"/>
                      <a:pt x="0" y="78619"/>
                      <a:pt x="0" y="74259"/>
                    </a:cubicBezTo>
                    <a:cubicBezTo>
                      <a:pt x="0" y="69900"/>
                      <a:pt x="3521" y="66378"/>
                      <a:pt x="7881" y="66378"/>
                    </a:cubicBezTo>
                    <a:cubicBezTo>
                      <a:pt x="28243" y="66378"/>
                      <a:pt x="44819" y="49802"/>
                      <a:pt x="44819" y="29440"/>
                    </a:cubicBezTo>
                    <a:cubicBezTo>
                      <a:pt x="44819" y="23140"/>
                      <a:pt x="43286" y="17152"/>
                      <a:pt x="40292" y="11666"/>
                    </a:cubicBezTo>
                    <a:cubicBezTo>
                      <a:pt x="38950" y="9223"/>
                      <a:pt x="38998" y="6252"/>
                      <a:pt x="40411" y="3857"/>
                    </a:cubicBezTo>
                    <a:cubicBezTo>
                      <a:pt x="41825" y="1461"/>
                      <a:pt x="44412" y="0"/>
                      <a:pt x="47191" y="0"/>
                    </a:cubicBezTo>
                    <a:lnTo>
                      <a:pt x="435136" y="0"/>
                    </a:lnTo>
                    <a:cubicBezTo>
                      <a:pt x="438010" y="0"/>
                      <a:pt x="440645" y="1557"/>
                      <a:pt x="442034" y="4072"/>
                    </a:cubicBezTo>
                    <a:cubicBezTo>
                      <a:pt x="446274" y="11786"/>
                      <a:pt x="448526" y="20553"/>
                      <a:pt x="448526" y="29440"/>
                    </a:cubicBezTo>
                    <a:cubicBezTo>
                      <a:pt x="448550" y="58497"/>
                      <a:pt x="424907" y="82140"/>
                      <a:pt x="395826" y="82140"/>
                    </a:cubicBezTo>
                    <a:close/>
                    <a:moveTo>
                      <a:pt x="45418" y="66378"/>
                    </a:moveTo>
                    <a:lnTo>
                      <a:pt x="395826" y="66378"/>
                    </a:lnTo>
                    <a:cubicBezTo>
                      <a:pt x="416187" y="66378"/>
                      <a:pt x="432764" y="49802"/>
                      <a:pt x="432764" y="29440"/>
                    </a:cubicBezTo>
                    <a:cubicBezTo>
                      <a:pt x="432764" y="24673"/>
                      <a:pt x="431878" y="20074"/>
                      <a:pt x="430153" y="15762"/>
                    </a:cubicBezTo>
                    <a:lnTo>
                      <a:pt x="58761" y="15762"/>
                    </a:lnTo>
                    <a:cubicBezTo>
                      <a:pt x="59958" y="20194"/>
                      <a:pt x="60557" y="24817"/>
                      <a:pt x="60557" y="29440"/>
                    </a:cubicBezTo>
                    <a:cubicBezTo>
                      <a:pt x="60557" y="43789"/>
                      <a:pt x="54784" y="56844"/>
                      <a:pt x="45418" y="66378"/>
                    </a:cubicBezTo>
                    <a:close/>
                  </a:path>
                </a:pathLst>
              </a:custGeom>
              <a:solidFill>
                <a:schemeClr val="tx2"/>
              </a:solidFill>
              <a:ln w="2392" cap="flat">
                <a:noFill/>
                <a:prstDash val="solid"/>
                <a:miter/>
              </a:ln>
            </p:spPr>
            <p:txBody>
              <a:bodyPr rtlCol="0" anchor="ctr"/>
              <a:lstStyle/>
              <a:p>
                <a:endParaRPr lang="en-GB" dirty="0"/>
              </a:p>
            </p:txBody>
          </p:sp>
          <p:sp>
            <p:nvSpPr>
              <p:cNvPr id="669" name="Freihandform: Form 668">
                <a:extLst>
                  <a:ext uri="{FF2B5EF4-FFF2-40B4-BE49-F238E27FC236}">
                    <a16:creationId xmlns:a16="http://schemas.microsoft.com/office/drawing/2014/main" id="{F3CA245E-C876-41E9-8427-B8D9D4970C9F}"/>
                  </a:ext>
                </a:extLst>
              </p:cNvPr>
              <p:cNvSpPr/>
              <p:nvPr/>
            </p:nvSpPr>
            <p:spPr>
              <a:xfrm>
                <a:off x="7002777" y="3346309"/>
                <a:ext cx="109568" cy="82116"/>
              </a:xfrm>
              <a:custGeom>
                <a:avLst/>
                <a:gdLst>
                  <a:gd name="connsiteX0" fmla="*/ 109568 w 109568"/>
                  <a:gd name="connsiteY0" fmla="*/ 66354 h 82116"/>
                  <a:gd name="connsiteX1" fmla="*/ 18373 w 109568"/>
                  <a:gd name="connsiteY1" fmla="*/ 66354 h 82116"/>
                  <a:gd name="connsiteX2" fmla="*/ 15762 w 109568"/>
                  <a:gd name="connsiteY2" fmla="*/ 52700 h 82116"/>
                  <a:gd name="connsiteX3" fmla="*/ 52700 w 109568"/>
                  <a:gd name="connsiteY3" fmla="*/ 15762 h 82116"/>
                  <a:gd name="connsiteX4" fmla="*/ 109568 w 109568"/>
                  <a:gd name="connsiteY4" fmla="*/ 15762 h 82116"/>
                  <a:gd name="connsiteX5" fmla="*/ 109568 w 109568"/>
                  <a:gd name="connsiteY5" fmla="*/ 0 h 82116"/>
                  <a:gd name="connsiteX6" fmla="*/ 52700 w 109568"/>
                  <a:gd name="connsiteY6" fmla="*/ 0 h 82116"/>
                  <a:gd name="connsiteX7" fmla="*/ 0 w 109568"/>
                  <a:gd name="connsiteY7" fmla="*/ 52700 h 82116"/>
                  <a:gd name="connsiteX8" fmla="*/ 6492 w 109568"/>
                  <a:gd name="connsiteY8" fmla="*/ 78044 h 82116"/>
                  <a:gd name="connsiteX9" fmla="*/ 13391 w 109568"/>
                  <a:gd name="connsiteY9" fmla="*/ 82116 h 82116"/>
                  <a:gd name="connsiteX10" fmla="*/ 109568 w 109568"/>
                  <a:gd name="connsiteY10" fmla="*/ 82116 h 82116"/>
                  <a:gd name="connsiteX11" fmla="*/ 109568 w 109568"/>
                  <a:gd name="connsiteY11" fmla="*/ 66354 h 82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9568" h="82116">
                    <a:moveTo>
                      <a:pt x="109568" y="66354"/>
                    </a:moveTo>
                    <a:lnTo>
                      <a:pt x="18373" y="66354"/>
                    </a:lnTo>
                    <a:cubicBezTo>
                      <a:pt x="16648" y="62042"/>
                      <a:pt x="15762" y="57395"/>
                      <a:pt x="15762" y="52700"/>
                    </a:cubicBezTo>
                    <a:cubicBezTo>
                      <a:pt x="15762" y="32339"/>
                      <a:pt x="32339" y="15762"/>
                      <a:pt x="52700" y="15762"/>
                    </a:cubicBezTo>
                    <a:lnTo>
                      <a:pt x="109568" y="15762"/>
                    </a:lnTo>
                    <a:lnTo>
                      <a:pt x="109568" y="0"/>
                    </a:lnTo>
                    <a:lnTo>
                      <a:pt x="52700" y="0"/>
                    </a:lnTo>
                    <a:cubicBezTo>
                      <a:pt x="23643" y="0"/>
                      <a:pt x="0" y="23643"/>
                      <a:pt x="0" y="52700"/>
                    </a:cubicBezTo>
                    <a:cubicBezTo>
                      <a:pt x="0" y="61563"/>
                      <a:pt x="2252" y="70307"/>
                      <a:pt x="6492" y="78044"/>
                    </a:cubicBezTo>
                    <a:cubicBezTo>
                      <a:pt x="7881" y="80559"/>
                      <a:pt x="10516" y="82116"/>
                      <a:pt x="13391" y="82116"/>
                    </a:cubicBezTo>
                    <a:lnTo>
                      <a:pt x="109568" y="82116"/>
                    </a:lnTo>
                    <a:lnTo>
                      <a:pt x="109568" y="66354"/>
                    </a:lnTo>
                    <a:close/>
                  </a:path>
                </a:pathLst>
              </a:custGeom>
              <a:solidFill>
                <a:schemeClr val="tx2"/>
              </a:solidFill>
              <a:ln w="2392" cap="flat">
                <a:noFill/>
                <a:prstDash val="solid"/>
                <a:miter/>
              </a:ln>
            </p:spPr>
            <p:txBody>
              <a:bodyPr rtlCol="0" anchor="ctr"/>
              <a:lstStyle/>
              <a:p>
                <a:endParaRPr lang="en-GB" dirty="0"/>
              </a:p>
            </p:txBody>
          </p:sp>
          <p:sp>
            <p:nvSpPr>
              <p:cNvPr id="670" name="Freihandform: Form 669">
                <a:extLst>
                  <a:ext uri="{FF2B5EF4-FFF2-40B4-BE49-F238E27FC236}">
                    <a16:creationId xmlns:a16="http://schemas.microsoft.com/office/drawing/2014/main" id="{90ED5C8C-EA64-48D1-B2BE-E47B35F34C64}"/>
                  </a:ext>
                </a:extLst>
              </p:cNvPr>
              <p:cNvSpPr/>
              <p:nvPr/>
            </p:nvSpPr>
            <p:spPr>
              <a:xfrm>
                <a:off x="7051075" y="3346145"/>
                <a:ext cx="457168" cy="554138"/>
              </a:xfrm>
              <a:custGeom>
                <a:avLst/>
                <a:gdLst>
                  <a:gd name="connsiteX0" fmla="*/ 429693 w 457168"/>
                  <a:gd name="connsiteY0" fmla="*/ 550210 h 554138"/>
                  <a:gd name="connsiteX1" fmla="*/ 429693 w 457168"/>
                  <a:gd name="connsiteY1" fmla="*/ 540700 h 554138"/>
                  <a:gd name="connsiteX2" fmla="*/ 118211 w 457168"/>
                  <a:gd name="connsiteY2" fmla="*/ 538137 h 554138"/>
                  <a:gd name="connsiteX3" fmla="*/ 117253 w 457168"/>
                  <a:gd name="connsiteY3" fmla="*/ 538184 h 554138"/>
                  <a:gd name="connsiteX4" fmla="*/ 113372 w 457168"/>
                  <a:gd name="connsiteY4" fmla="*/ 538352 h 554138"/>
                  <a:gd name="connsiteX5" fmla="*/ 70901 w 457168"/>
                  <a:gd name="connsiteY5" fmla="*/ 490826 h 554138"/>
                  <a:gd name="connsiteX6" fmla="*/ 70901 w 457168"/>
                  <a:gd name="connsiteY6" fmla="*/ 77010 h 554138"/>
                  <a:gd name="connsiteX7" fmla="*/ 50970 w 457168"/>
                  <a:gd name="connsiteY7" fmla="*/ 15926 h 554138"/>
                  <a:gd name="connsiteX8" fmla="*/ 394096 w 457168"/>
                  <a:gd name="connsiteY8" fmla="*/ 15926 h 554138"/>
                  <a:gd name="connsiteX9" fmla="*/ 441407 w 457168"/>
                  <a:gd name="connsiteY9" fmla="*/ 63213 h 554138"/>
                  <a:gd name="connsiteX10" fmla="*/ 441407 w 457168"/>
                  <a:gd name="connsiteY10" fmla="*/ 475352 h 554138"/>
                  <a:gd name="connsiteX11" fmla="*/ 457169 w 457168"/>
                  <a:gd name="connsiteY11" fmla="*/ 475352 h 554138"/>
                  <a:gd name="connsiteX12" fmla="*/ 457169 w 457168"/>
                  <a:gd name="connsiteY12" fmla="*/ 63213 h 554138"/>
                  <a:gd name="connsiteX13" fmla="*/ 394096 w 457168"/>
                  <a:gd name="connsiteY13" fmla="*/ 164 h 554138"/>
                  <a:gd name="connsiteX14" fmla="*/ 15613 w 457168"/>
                  <a:gd name="connsiteY14" fmla="*/ 164 h 554138"/>
                  <a:gd name="connsiteX15" fmla="*/ 6870 w 457168"/>
                  <a:gd name="connsiteY15" fmla="*/ 236 h 554138"/>
                  <a:gd name="connsiteX16" fmla="*/ 19 w 457168"/>
                  <a:gd name="connsiteY16" fmla="*/ 8572 h 554138"/>
                  <a:gd name="connsiteX17" fmla="*/ 7852 w 457168"/>
                  <a:gd name="connsiteY17" fmla="*/ 15926 h 554138"/>
                  <a:gd name="connsiteX18" fmla="*/ 14991 w 457168"/>
                  <a:gd name="connsiteY18" fmla="*/ 15926 h 554138"/>
                  <a:gd name="connsiteX19" fmla="*/ 55162 w 457168"/>
                  <a:gd name="connsiteY19" fmla="*/ 77010 h 554138"/>
                  <a:gd name="connsiteX20" fmla="*/ 55162 w 457168"/>
                  <a:gd name="connsiteY20" fmla="*/ 490850 h 554138"/>
                  <a:gd name="connsiteX21" fmla="*/ 113396 w 457168"/>
                  <a:gd name="connsiteY21" fmla="*/ 554138 h 554138"/>
                  <a:gd name="connsiteX22" fmla="*/ 118642 w 457168"/>
                  <a:gd name="connsiteY22" fmla="*/ 553899 h 554138"/>
                  <a:gd name="connsiteX23" fmla="*/ 449288 w 457168"/>
                  <a:gd name="connsiteY23" fmla="*/ 553899 h 554138"/>
                  <a:gd name="connsiteX24" fmla="*/ 455803 w 457168"/>
                  <a:gd name="connsiteY24" fmla="*/ 550210 h 554138"/>
                  <a:gd name="connsiteX25" fmla="*/ 429693 w 457168"/>
                  <a:gd name="connsiteY25" fmla="*/ 550210 h 554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7168" h="554138">
                    <a:moveTo>
                      <a:pt x="429693" y="550210"/>
                    </a:moveTo>
                    <a:lnTo>
                      <a:pt x="429693" y="540700"/>
                    </a:lnTo>
                    <a:lnTo>
                      <a:pt x="118211" y="538137"/>
                    </a:lnTo>
                    <a:cubicBezTo>
                      <a:pt x="117900" y="538137"/>
                      <a:pt x="117564" y="538161"/>
                      <a:pt x="117253" y="538184"/>
                    </a:cubicBezTo>
                    <a:cubicBezTo>
                      <a:pt x="117037" y="538208"/>
                      <a:pt x="115624" y="538352"/>
                      <a:pt x="113372" y="538352"/>
                    </a:cubicBezTo>
                    <a:cubicBezTo>
                      <a:pt x="97514" y="538352"/>
                      <a:pt x="70901" y="532172"/>
                      <a:pt x="70901" y="490826"/>
                    </a:cubicBezTo>
                    <a:lnTo>
                      <a:pt x="70901" y="77010"/>
                    </a:lnTo>
                    <a:cubicBezTo>
                      <a:pt x="70901" y="45630"/>
                      <a:pt x="62037" y="26969"/>
                      <a:pt x="50970" y="15926"/>
                    </a:cubicBezTo>
                    <a:lnTo>
                      <a:pt x="394096" y="15926"/>
                    </a:lnTo>
                    <a:cubicBezTo>
                      <a:pt x="396036" y="15926"/>
                      <a:pt x="441407" y="16453"/>
                      <a:pt x="441407" y="63213"/>
                    </a:cubicBezTo>
                    <a:lnTo>
                      <a:pt x="441407" y="475352"/>
                    </a:lnTo>
                    <a:lnTo>
                      <a:pt x="457169" y="475352"/>
                    </a:lnTo>
                    <a:lnTo>
                      <a:pt x="457169" y="63213"/>
                    </a:lnTo>
                    <a:cubicBezTo>
                      <a:pt x="457169" y="13339"/>
                      <a:pt x="415919" y="164"/>
                      <a:pt x="394096" y="164"/>
                    </a:cubicBezTo>
                    <a:lnTo>
                      <a:pt x="15613" y="164"/>
                    </a:lnTo>
                    <a:cubicBezTo>
                      <a:pt x="10200" y="-243"/>
                      <a:pt x="6870" y="236"/>
                      <a:pt x="6870" y="236"/>
                    </a:cubicBezTo>
                    <a:cubicBezTo>
                      <a:pt x="2750" y="787"/>
                      <a:pt x="-269" y="4428"/>
                      <a:pt x="19" y="8572"/>
                    </a:cubicBezTo>
                    <a:cubicBezTo>
                      <a:pt x="306" y="12716"/>
                      <a:pt x="3708" y="15926"/>
                      <a:pt x="7852" y="15926"/>
                    </a:cubicBezTo>
                    <a:lnTo>
                      <a:pt x="14991" y="15926"/>
                    </a:lnTo>
                    <a:cubicBezTo>
                      <a:pt x="30130" y="17268"/>
                      <a:pt x="55162" y="27041"/>
                      <a:pt x="55162" y="77010"/>
                    </a:cubicBezTo>
                    <a:lnTo>
                      <a:pt x="55162" y="490850"/>
                    </a:lnTo>
                    <a:cubicBezTo>
                      <a:pt x="55162" y="537514"/>
                      <a:pt x="85249" y="554138"/>
                      <a:pt x="113396" y="554138"/>
                    </a:cubicBezTo>
                    <a:cubicBezTo>
                      <a:pt x="115935" y="554138"/>
                      <a:pt x="117780" y="553995"/>
                      <a:pt x="118642" y="553899"/>
                    </a:cubicBezTo>
                    <a:lnTo>
                      <a:pt x="449288" y="553899"/>
                    </a:lnTo>
                    <a:cubicBezTo>
                      <a:pt x="452066" y="553899"/>
                      <a:pt x="454390" y="552366"/>
                      <a:pt x="455803" y="550210"/>
                    </a:cubicBezTo>
                    <a:lnTo>
                      <a:pt x="429693" y="550210"/>
                    </a:lnTo>
                    <a:close/>
                  </a:path>
                </a:pathLst>
              </a:custGeom>
              <a:solidFill>
                <a:schemeClr val="tx2"/>
              </a:solidFill>
              <a:ln w="2392" cap="flat">
                <a:noFill/>
                <a:prstDash val="solid"/>
                <a:miter/>
              </a:ln>
            </p:spPr>
            <p:txBody>
              <a:bodyPr rtlCol="0" anchor="ctr"/>
              <a:lstStyle/>
              <a:p>
                <a:endParaRPr lang="en-GB" dirty="0"/>
              </a:p>
            </p:txBody>
          </p:sp>
        </p:grpSp>
      </p:grpSp>
      <p:grpSp>
        <p:nvGrpSpPr>
          <p:cNvPr id="25" name="Group 24">
            <a:extLst>
              <a:ext uri="{FF2B5EF4-FFF2-40B4-BE49-F238E27FC236}">
                <a16:creationId xmlns:a16="http://schemas.microsoft.com/office/drawing/2014/main" id="{0CFF060C-A286-A824-5AF1-457F022751F1}"/>
              </a:ext>
            </a:extLst>
          </p:cNvPr>
          <p:cNvGrpSpPr/>
          <p:nvPr/>
        </p:nvGrpSpPr>
        <p:grpSpPr>
          <a:xfrm>
            <a:off x="5042077" y="4097453"/>
            <a:ext cx="342379" cy="432000"/>
            <a:chOff x="5041665" y="4097453"/>
            <a:chExt cx="342379" cy="432000"/>
          </a:xfrm>
        </p:grpSpPr>
        <p:grpSp>
          <p:nvGrpSpPr>
            <p:cNvPr id="676" name="Gruppieren 675">
              <a:extLst>
                <a:ext uri="{FF2B5EF4-FFF2-40B4-BE49-F238E27FC236}">
                  <a16:creationId xmlns:a16="http://schemas.microsoft.com/office/drawing/2014/main" id="{F9881D2C-9F0B-47CD-8AC7-43924FEFD827}"/>
                </a:ext>
              </a:extLst>
            </p:cNvPr>
            <p:cNvGrpSpPr/>
            <p:nvPr/>
          </p:nvGrpSpPr>
          <p:grpSpPr>
            <a:xfrm>
              <a:off x="5041665" y="4097453"/>
              <a:ext cx="342379" cy="432000"/>
              <a:chOff x="4964815" y="4152474"/>
              <a:chExt cx="468459" cy="591083"/>
            </a:xfrm>
            <a:solidFill>
              <a:schemeClr val="tx2"/>
            </a:solidFill>
          </p:grpSpPr>
          <p:grpSp>
            <p:nvGrpSpPr>
              <p:cNvPr id="686" name="Grafik 14">
                <a:extLst>
                  <a:ext uri="{FF2B5EF4-FFF2-40B4-BE49-F238E27FC236}">
                    <a16:creationId xmlns:a16="http://schemas.microsoft.com/office/drawing/2014/main" id="{B0685B16-0745-429E-AF0A-6E6E14EE3766}"/>
                  </a:ext>
                </a:extLst>
              </p:cNvPr>
              <p:cNvGrpSpPr/>
              <p:nvPr/>
            </p:nvGrpSpPr>
            <p:grpSpPr>
              <a:xfrm>
                <a:off x="4964815" y="4152474"/>
                <a:ext cx="468459" cy="591083"/>
                <a:chOff x="4964815" y="4152474"/>
                <a:chExt cx="468459" cy="591083"/>
              </a:xfrm>
              <a:grpFill/>
            </p:grpSpPr>
            <p:sp>
              <p:nvSpPr>
                <p:cNvPr id="690" name="Freihandform: Form 689">
                  <a:extLst>
                    <a:ext uri="{FF2B5EF4-FFF2-40B4-BE49-F238E27FC236}">
                      <a16:creationId xmlns:a16="http://schemas.microsoft.com/office/drawing/2014/main" id="{B3157C35-1028-4FA3-AA21-561845B5C6A3}"/>
                    </a:ext>
                  </a:extLst>
                </p:cNvPr>
                <p:cNvSpPr/>
                <p:nvPr/>
              </p:nvSpPr>
              <p:spPr>
                <a:xfrm>
                  <a:off x="4964815" y="4152502"/>
                  <a:ext cx="468456" cy="591055"/>
                </a:xfrm>
                <a:custGeom>
                  <a:avLst/>
                  <a:gdLst>
                    <a:gd name="connsiteX0" fmla="*/ 460575 w 468456"/>
                    <a:gd name="connsiteY0" fmla="*/ 591056 h 591055"/>
                    <a:gd name="connsiteX1" fmla="*/ 7881 w 468456"/>
                    <a:gd name="connsiteY1" fmla="*/ 591056 h 591055"/>
                    <a:gd name="connsiteX2" fmla="*/ 0 w 468456"/>
                    <a:gd name="connsiteY2" fmla="*/ 583175 h 591055"/>
                    <a:gd name="connsiteX3" fmla="*/ 0 w 468456"/>
                    <a:gd name="connsiteY3" fmla="*/ 7881 h 591055"/>
                    <a:gd name="connsiteX4" fmla="*/ 7881 w 468456"/>
                    <a:gd name="connsiteY4" fmla="*/ 0 h 591055"/>
                    <a:gd name="connsiteX5" fmla="*/ 328537 w 468456"/>
                    <a:gd name="connsiteY5" fmla="*/ 0 h 591055"/>
                    <a:gd name="connsiteX6" fmla="*/ 334119 w 468456"/>
                    <a:gd name="connsiteY6" fmla="*/ 2300 h 591055"/>
                    <a:gd name="connsiteX7" fmla="*/ 466157 w 468456"/>
                    <a:gd name="connsiteY7" fmla="*/ 134337 h 591055"/>
                    <a:gd name="connsiteX8" fmla="*/ 468456 w 468456"/>
                    <a:gd name="connsiteY8" fmla="*/ 139919 h 591055"/>
                    <a:gd name="connsiteX9" fmla="*/ 468456 w 468456"/>
                    <a:gd name="connsiteY9" fmla="*/ 583175 h 591055"/>
                    <a:gd name="connsiteX10" fmla="*/ 460575 w 468456"/>
                    <a:gd name="connsiteY10" fmla="*/ 591056 h 591055"/>
                    <a:gd name="connsiteX11" fmla="*/ 15762 w 468456"/>
                    <a:gd name="connsiteY11" fmla="*/ 575294 h 591055"/>
                    <a:gd name="connsiteX12" fmla="*/ 452694 w 468456"/>
                    <a:gd name="connsiteY12" fmla="*/ 575294 h 591055"/>
                    <a:gd name="connsiteX13" fmla="*/ 452694 w 468456"/>
                    <a:gd name="connsiteY13" fmla="*/ 143177 h 591055"/>
                    <a:gd name="connsiteX14" fmla="*/ 325280 w 468456"/>
                    <a:gd name="connsiteY14" fmla="*/ 15762 h 591055"/>
                    <a:gd name="connsiteX15" fmla="*/ 15762 w 468456"/>
                    <a:gd name="connsiteY15" fmla="*/ 15762 h 591055"/>
                    <a:gd name="connsiteX16" fmla="*/ 15762 w 468456"/>
                    <a:gd name="connsiteY16" fmla="*/ 575294 h 591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68456" h="591055">
                      <a:moveTo>
                        <a:pt x="460575" y="591056"/>
                      </a:moveTo>
                      <a:lnTo>
                        <a:pt x="7881" y="591056"/>
                      </a:lnTo>
                      <a:cubicBezTo>
                        <a:pt x="3521" y="591056"/>
                        <a:pt x="0" y="587535"/>
                        <a:pt x="0" y="583175"/>
                      </a:cubicBezTo>
                      <a:lnTo>
                        <a:pt x="0" y="7881"/>
                      </a:lnTo>
                      <a:cubicBezTo>
                        <a:pt x="0" y="3521"/>
                        <a:pt x="3521" y="0"/>
                        <a:pt x="7881" y="0"/>
                      </a:cubicBezTo>
                      <a:lnTo>
                        <a:pt x="328537" y="0"/>
                      </a:lnTo>
                      <a:cubicBezTo>
                        <a:pt x="330622" y="0"/>
                        <a:pt x="332634" y="838"/>
                        <a:pt x="334119" y="2300"/>
                      </a:cubicBezTo>
                      <a:lnTo>
                        <a:pt x="466157" y="134337"/>
                      </a:lnTo>
                      <a:cubicBezTo>
                        <a:pt x="467642" y="135823"/>
                        <a:pt x="468456" y="137811"/>
                        <a:pt x="468456" y="139919"/>
                      </a:cubicBezTo>
                      <a:lnTo>
                        <a:pt x="468456" y="583175"/>
                      </a:lnTo>
                      <a:cubicBezTo>
                        <a:pt x="468456" y="587535"/>
                        <a:pt x="464935" y="591056"/>
                        <a:pt x="460575" y="591056"/>
                      </a:cubicBezTo>
                      <a:close/>
                      <a:moveTo>
                        <a:pt x="15762" y="575294"/>
                      </a:moveTo>
                      <a:lnTo>
                        <a:pt x="452694" y="575294"/>
                      </a:lnTo>
                      <a:lnTo>
                        <a:pt x="452694" y="143177"/>
                      </a:lnTo>
                      <a:lnTo>
                        <a:pt x="325280" y="15762"/>
                      </a:lnTo>
                      <a:lnTo>
                        <a:pt x="15762" y="15762"/>
                      </a:lnTo>
                      <a:lnTo>
                        <a:pt x="15762" y="575294"/>
                      </a:lnTo>
                      <a:close/>
                    </a:path>
                  </a:pathLst>
                </a:custGeom>
                <a:grpFill/>
                <a:ln w="2392" cap="flat">
                  <a:noFill/>
                  <a:prstDash val="solid"/>
                  <a:miter/>
                </a:ln>
              </p:spPr>
              <p:txBody>
                <a:bodyPr rtlCol="0" anchor="ctr"/>
                <a:lstStyle/>
                <a:p>
                  <a:endParaRPr lang="en-GB" dirty="0"/>
                </a:p>
              </p:txBody>
            </p:sp>
            <p:sp>
              <p:nvSpPr>
                <p:cNvPr id="691" name="Freihandform: Form 690">
                  <a:extLst>
                    <a:ext uri="{FF2B5EF4-FFF2-40B4-BE49-F238E27FC236}">
                      <a16:creationId xmlns:a16="http://schemas.microsoft.com/office/drawing/2014/main" id="{429173CD-2099-490F-B3D4-5436CEBE720E}"/>
                    </a:ext>
                  </a:extLst>
                </p:cNvPr>
                <p:cNvSpPr/>
                <p:nvPr/>
              </p:nvSpPr>
              <p:spPr>
                <a:xfrm>
                  <a:off x="5285471" y="4152474"/>
                  <a:ext cx="147803" cy="147803"/>
                </a:xfrm>
                <a:custGeom>
                  <a:avLst/>
                  <a:gdLst>
                    <a:gd name="connsiteX0" fmla="*/ 139919 w 147803"/>
                    <a:gd name="connsiteY0" fmla="*/ 147804 h 147803"/>
                    <a:gd name="connsiteX1" fmla="*/ 7881 w 147803"/>
                    <a:gd name="connsiteY1" fmla="*/ 147804 h 147803"/>
                    <a:gd name="connsiteX2" fmla="*/ 0 w 147803"/>
                    <a:gd name="connsiteY2" fmla="*/ 139923 h 147803"/>
                    <a:gd name="connsiteX3" fmla="*/ 0 w 147803"/>
                    <a:gd name="connsiteY3" fmla="*/ 7885 h 147803"/>
                    <a:gd name="connsiteX4" fmla="*/ 4863 w 147803"/>
                    <a:gd name="connsiteY4" fmla="*/ 602 h 147803"/>
                    <a:gd name="connsiteX5" fmla="*/ 13463 w 147803"/>
                    <a:gd name="connsiteY5" fmla="*/ 2303 h 147803"/>
                    <a:gd name="connsiteX6" fmla="*/ 145500 w 147803"/>
                    <a:gd name="connsiteY6" fmla="*/ 134341 h 147803"/>
                    <a:gd name="connsiteX7" fmla="*/ 147201 w 147803"/>
                    <a:gd name="connsiteY7" fmla="*/ 142941 h 147803"/>
                    <a:gd name="connsiteX8" fmla="*/ 139919 w 147803"/>
                    <a:gd name="connsiteY8" fmla="*/ 147804 h 147803"/>
                    <a:gd name="connsiteX9" fmla="*/ 15762 w 147803"/>
                    <a:gd name="connsiteY9" fmla="*/ 132041 h 147803"/>
                    <a:gd name="connsiteX10" fmla="*/ 120899 w 147803"/>
                    <a:gd name="connsiteY10" fmla="*/ 132041 h 147803"/>
                    <a:gd name="connsiteX11" fmla="*/ 15762 w 147803"/>
                    <a:gd name="connsiteY11" fmla="*/ 26905 h 147803"/>
                    <a:gd name="connsiteX12" fmla="*/ 15762 w 147803"/>
                    <a:gd name="connsiteY12" fmla="*/ 132041 h 14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7803" h="147803">
                      <a:moveTo>
                        <a:pt x="139919" y="147804"/>
                      </a:moveTo>
                      <a:lnTo>
                        <a:pt x="7881" y="147804"/>
                      </a:lnTo>
                      <a:cubicBezTo>
                        <a:pt x="3521" y="147804"/>
                        <a:pt x="0" y="144282"/>
                        <a:pt x="0" y="139923"/>
                      </a:cubicBezTo>
                      <a:lnTo>
                        <a:pt x="0" y="7885"/>
                      </a:lnTo>
                      <a:cubicBezTo>
                        <a:pt x="0" y="4699"/>
                        <a:pt x="1916" y="1824"/>
                        <a:pt x="4863" y="602"/>
                      </a:cubicBezTo>
                      <a:cubicBezTo>
                        <a:pt x="7809" y="-619"/>
                        <a:pt x="11187" y="52"/>
                        <a:pt x="13463" y="2303"/>
                      </a:cubicBezTo>
                      <a:lnTo>
                        <a:pt x="145500" y="134341"/>
                      </a:lnTo>
                      <a:cubicBezTo>
                        <a:pt x="147752" y="136593"/>
                        <a:pt x="148423" y="139970"/>
                        <a:pt x="147201" y="142941"/>
                      </a:cubicBezTo>
                      <a:cubicBezTo>
                        <a:pt x="145979" y="145887"/>
                        <a:pt x="143105" y="147804"/>
                        <a:pt x="139919" y="147804"/>
                      </a:cubicBezTo>
                      <a:close/>
                      <a:moveTo>
                        <a:pt x="15762" y="132041"/>
                      </a:moveTo>
                      <a:lnTo>
                        <a:pt x="120899" y="132041"/>
                      </a:lnTo>
                      <a:lnTo>
                        <a:pt x="15762" y="26905"/>
                      </a:lnTo>
                      <a:lnTo>
                        <a:pt x="15762" y="132041"/>
                      </a:lnTo>
                      <a:close/>
                    </a:path>
                  </a:pathLst>
                </a:custGeom>
                <a:grpFill/>
                <a:ln w="2392" cap="flat">
                  <a:noFill/>
                  <a:prstDash val="solid"/>
                  <a:miter/>
                </a:ln>
              </p:spPr>
              <p:txBody>
                <a:bodyPr rtlCol="0" anchor="ctr"/>
                <a:lstStyle/>
                <a:p>
                  <a:endParaRPr lang="en-GB" dirty="0"/>
                </a:p>
              </p:txBody>
            </p:sp>
          </p:grpSp>
          <p:grpSp>
            <p:nvGrpSpPr>
              <p:cNvPr id="687" name="Grafik 14">
                <a:extLst>
                  <a:ext uri="{FF2B5EF4-FFF2-40B4-BE49-F238E27FC236}">
                    <a16:creationId xmlns:a16="http://schemas.microsoft.com/office/drawing/2014/main" id="{41F86352-095C-4F3F-A36B-7767E7B7DAB6}"/>
                  </a:ext>
                </a:extLst>
              </p:cNvPr>
              <p:cNvGrpSpPr/>
              <p:nvPr/>
            </p:nvGrpSpPr>
            <p:grpSpPr>
              <a:xfrm>
                <a:off x="5017779" y="4656866"/>
                <a:ext cx="362529" cy="15762"/>
                <a:chOff x="5017779" y="4656866"/>
                <a:chExt cx="362529" cy="15762"/>
              </a:xfrm>
              <a:grpFill/>
            </p:grpSpPr>
            <p:sp>
              <p:nvSpPr>
                <p:cNvPr id="688" name="Freihandform: Form 687">
                  <a:extLst>
                    <a:ext uri="{FF2B5EF4-FFF2-40B4-BE49-F238E27FC236}">
                      <a16:creationId xmlns:a16="http://schemas.microsoft.com/office/drawing/2014/main" id="{5055DFB5-9101-4CBB-A98D-12D927E55971}"/>
                    </a:ext>
                  </a:extLst>
                </p:cNvPr>
                <p:cNvSpPr/>
                <p:nvPr/>
              </p:nvSpPr>
              <p:spPr>
                <a:xfrm>
                  <a:off x="5017779" y="4656866"/>
                  <a:ext cx="223520" cy="15762"/>
                </a:xfrm>
                <a:custGeom>
                  <a:avLst/>
                  <a:gdLst>
                    <a:gd name="connsiteX0" fmla="*/ 223520 w 223520"/>
                    <a:gd name="connsiteY0" fmla="*/ 0 h 15762"/>
                    <a:gd name="connsiteX1" fmla="*/ 7881 w 223520"/>
                    <a:gd name="connsiteY1" fmla="*/ 0 h 15762"/>
                    <a:gd name="connsiteX2" fmla="*/ 0 w 223520"/>
                    <a:gd name="connsiteY2" fmla="*/ 7881 h 15762"/>
                    <a:gd name="connsiteX3" fmla="*/ 7881 w 223520"/>
                    <a:gd name="connsiteY3" fmla="*/ 15762 h 15762"/>
                    <a:gd name="connsiteX4" fmla="*/ 223520 w 223520"/>
                    <a:gd name="connsiteY4" fmla="*/ 15762 h 15762"/>
                    <a:gd name="connsiteX5" fmla="*/ 223520 w 223520"/>
                    <a:gd name="connsiteY5" fmla="*/ 0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3520" h="15762">
                      <a:moveTo>
                        <a:pt x="223520" y="0"/>
                      </a:moveTo>
                      <a:lnTo>
                        <a:pt x="7881" y="0"/>
                      </a:lnTo>
                      <a:cubicBezTo>
                        <a:pt x="3521" y="0"/>
                        <a:pt x="0" y="3521"/>
                        <a:pt x="0" y="7881"/>
                      </a:cubicBezTo>
                      <a:cubicBezTo>
                        <a:pt x="0" y="12241"/>
                        <a:pt x="3521" y="15762"/>
                        <a:pt x="7881" y="15762"/>
                      </a:cubicBezTo>
                      <a:lnTo>
                        <a:pt x="223520" y="15762"/>
                      </a:lnTo>
                      <a:lnTo>
                        <a:pt x="223520" y="0"/>
                      </a:lnTo>
                      <a:close/>
                    </a:path>
                  </a:pathLst>
                </a:custGeom>
                <a:grpFill/>
                <a:ln w="2392" cap="flat">
                  <a:noFill/>
                  <a:prstDash val="solid"/>
                  <a:miter/>
                </a:ln>
              </p:spPr>
              <p:txBody>
                <a:bodyPr rtlCol="0" anchor="ctr"/>
                <a:lstStyle/>
                <a:p>
                  <a:endParaRPr lang="en-GB" dirty="0"/>
                </a:p>
              </p:txBody>
            </p:sp>
            <p:sp>
              <p:nvSpPr>
                <p:cNvPr id="689" name="Freihandform: Form 688">
                  <a:extLst>
                    <a:ext uri="{FF2B5EF4-FFF2-40B4-BE49-F238E27FC236}">
                      <a16:creationId xmlns:a16="http://schemas.microsoft.com/office/drawing/2014/main" id="{DD6D25B0-3651-4479-B548-B250246AB05C}"/>
                    </a:ext>
                  </a:extLst>
                </p:cNvPr>
                <p:cNvSpPr/>
                <p:nvPr/>
              </p:nvSpPr>
              <p:spPr>
                <a:xfrm>
                  <a:off x="5285639" y="4656866"/>
                  <a:ext cx="94668" cy="15762"/>
                </a:xfrm>
                <a:custGeom>
                  <a:avLst/>
                  <a:gdLst>
                    <a:gd name="connsiteX0" fmla="*/ 86788 w 94668"/>
                    <a:gd name="connsiteY0" fmla="*/ 0 h 15762"/>
                    <a:gd name="connsiteX1" fmla="*/ 0 w 94668"/>
                    <a:gd name="connsiteY1" fmla="*/ 0 h 15762"/>
                    <a:gd name="connsiteX2" fmla="*/ 0 w 94668"/>
                    <a:gd name="connsiteY2" fmla="*/ 15762 h 15762"/>
                    <a:gd name="connsiteX3" fmla="*/ 86788 w 94668"/>
                    <a:gd name="connsiteY3" fmla="*/ 15762 h 15762"/>
                    <a:gd name="connsiteX4" fmla="*/ 94669 w 94668"/>
                    <a:gd name="connsiteY4" fmla="*/ 7881 h 15762"/>
                    <a:gd name="connsiteX5" fmla="*/ 86788 w 94668"/>
                    <a:gd name="connsiteY5" fmla="*/ 0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4668" h="15762">
                      <a:moveTo>
                        <a:pt x="86788" y="0"/>
                      </a:moveTo>
                      <a:lnTo>
                        <a:pt x="0" y="0"/>
                      </a:lnTo>
                      <a:lnTo>
                        <a:pt x="0" y="15762"/>
                      </a:lnTo>
                      <a:lnTo>
                        <a:pt x="86788" y="15762"/>
                      </a:lnTo>
                      <a:cubicBezTo>
                        <a:pt x="91147" y="15762"/>
                        <a:pt x="94669" y="12241"/>
                        <a:pt x="94669" y="7881"/>
                      </a:cubicBezTo>
                      <a:cubicBezTo>
                        <a:pt x="94669" y="3521"/>
                        <a:pt x="91123" y="0"/>
                        <a:pt x="86788" y="0"/>
                      </a:cubicBezTo>
                      <a:close/>
                    </a:path>
                  </a:pathLst>
                </a:custGeom>
                <a:grpFill/>
                <a:ln w="2392" cap="flat">
                  <a:noFill/>
                  <a:prstDash val="solid"/>
                  <a:miter/>
                </a:ln>
              </p:spPr>
              <p:txBody>
                <a:bodyPr rtlCol="0" anchor="ctr"/>
                <a:lstStyle/>
                <a:p>
                  <a:endParaRPr lang="en-GB" dirty="0"/>
                </a:p>
              </p:txBody>
            </p:sp>
          </p:grpSp>
        </p:grpSp>
        <p:grpSp>
          <p:nvGrpSpPr>
            <p:cNvPr id="677" name="Gruppieren 676">
              <a:extLst>
                <a:ext uri="{FF2B5EF4-FFF2-40B4-BE49-F238E27FC236}">
                  <a16:creationId xmlns:a16="http://schemas.microsoft.com/office/drawing/2014/main" id="{052B800D-A70D-4558-A34D-BB31D327AECE}"/>
                </a:ext>
              </a:extLst>
            </p:cNvPr>
            <p:cNvGrpSpPr/>
            <p:nvPr/>
          </p:nvGrpSpPr>
          <p:grpSpPr>
            <a:xfrm>
              <a:off x="5114945" y="4229931"/>
              <a:ext cx="184302" cy="264959"/>
              <a:chOff x="5065089" y="4333742"/>
              <a:chExt cx="252170" cy="362529"/>
            </a:xfrm>
          </p:grpSpPr>
          <p:grpSp>
            <p:nvGrpSpPr>
              <p:cNvPr id="678" name="Grafik 14">
                <a:extLst>
                  <a:ext uri="{FF2B5EF4-FFF2-40B4-BE49-F238E27FC236}">
                    <a16:creationId xmlns:a16="http://schemas.microsoft.com/office/drawing/2014/main" id="{9CE3F031-2FEC-45F5-AEFF-FCD34BB52A47}"/>
                  </a:ext>
                </a:extLst>
              </p:cNvPr>
              <p:cNvGrpSpPr/>
              <p:nvPr/>
            </p:nvGrpSpPr>
            <p:grpSpPr>
              <a:xfrm>
                <a:off x="5065089" y="4333742"/>
                <a:ext cx="252170" cy="275837"/>
                <a:chOff x="5065089" y="4333742"/>
                <a:chExt cx="252170" cy="275837"/>
              </a:xfrm>
              <a:solidFill>
                <a:schemeClr val="accent1"/>
              </a:solidFill>
            </p:grpSpPr>
            <p:sp>
              <p:nvSpPr>
                <p:cNvPr id="680" name="Freihandform: Form 679">
                  <a:extLst>
                    <a:ext uri="{FF2B5EF4-FFF2-40B4-BE49-F238E27FC236}">
                      <a16:creationId xmlns:a16="http://schemas.microsoft.com/office/drawing/2014/main" id="{81745DAF-A63F-44BA-8C8A-7BD30EEECB6F}"/>
                    </a:ext>
                  </a:extLst>
                </p:cNvPr>
                <p:cNvSpPr/>
                <p:nvPr/>
              </p:nvSpPr>
              <p:spPr>
                <a:xfrm>
                  <a:off x="5135995" y="4333742"/>
                  <a:ext cx="181264" cy="55167"/>
                </a:xfrm>
                <a:custGeom>
                  <a:avLst/>
                  <a:gdLst>
                    <a:gd name="connsiteX0" fmla="*/ 7881 w 181264"/>
                    <a:gd name="connsiteY0" fmla="*/ 55168 h 55167"/>
                    <a:gd name="connsiteX1" fmla="*/ 216 w 181264"/>
                    <a:gd name="connsiteY1" fmla="*/ 49107 h 55167"/>
                    <a:gd name="connsiteX2" fmla="*/ 6060 w 181264"/>
                    <a:gd name="connsiteY2" fmla="*/ 39621 h 55167"/>
                    <a:gd name="connsiteX3" fmla="*/ 171563 w 181264"/>
                    <a:gd name="connsiteY3" fmla="*/ 216 h 55167"/>
                    <a:gd name="connsiteX4" fmla="*/ 181049 w 181264"/>
                    <a:gd name="connsiteY4" fmla="*/ 6061 h 55167"/>
                    <a:gd name="connsiteX5" fmla="*/ 175204 w 181264"/>
                    <a:gd name="connsiteY5" fmla="*/ 15547 h 55167"/>
                    <a:gd name="connsiteX6" fmla="*/ 9702 w 181264"/>
                    <a:gd name="connsiteY6" fmla="*/ 54952 h 55167"/>
                    <a:gd name="connsiteX7" fmla="*/ 7881 w 181264"/>
                    <a:gd name="connsiteY7" fmla="*/ 55168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264" h="55167">
                      <a:moveTo>
                        <a:pt x="7881" y="55168"/>
                      </a:moveTo>
                      <a:cubicBezTo>
                        <a:pt x="4312" y="55168"/>
                        <a:pt x="1078" y="52724"/>
                        <a:pt x="216" y="49107"/>
                      </a:cubicBezTo>
                      <a:cubicBezTo>
                        <a:pt x="-791" y="44867"/>
                        <a:pt x="1821" y="40627"/>
                        <a:pt x="6060" y="39621"/>
                      </a:cubicBezTo>
                      <a:lnTo>
                        <a:pt x="171563" y="216"/>
                      </a:lnTo>
                      <a:cubicBezTo>
                        <a:pt x="175779" y="-791"/>
                        <a:pt x="180043" y="1821"/>
                        <a:pt x="181049" y="6061"/>
                      </a:cubicBezTo>
                      <a:cubicBezTo>
                        <a:pt x="182055" y="10300"/>
                        <a:pt x="179444" y="14540"/>
                        <a:pt x="175204" y="15547"/>
                      </a:cubicBezTo>
                      <a:lnTo>
                        <a:pt x="9702" y="54952"/>
                      </a:lnTo>
                      <a:cubicBezTo>
                        <a:pt x="9103" y="55096"/>
                        <a:pt x="8480" y="55168"/>
                        <a:pt x="7881" y="55168"/>
                      </a:cubicBezTo>
                      <a:close/>
                    </a:path>
                  </a:pathLst>
                </a:custGeom>
                <a:solidFill>
                  <a:schemeClr val="accent1"/>
                </a:solidFill>
                <a:ln w="2392" cap="flat">
                  <a:noFill/>
                  <a:prstDash val="solid"/>
                  <a:miter/>
                </a:ln>
              </p:spPr>
              <p:txBody>
                <a:bodyPr rtlCol="0" anchor="ctr"/>
                <a:lstStyle/>
                <a:p>
                  <a:endParaRPr lang="en-GB" dirty="0"/>
                </a:p>
              </p:txBody>
            </p:sp>
            <p:sp>
              <p:nvSpPr>
                <p:cNvPr id="681" name="Freihandform: Form 680">
                  <a:extLst>
                    <a:ext uri="{FF2B5EF4-FFF2-40B4-BE49-F238E27FC236}">
                      <a16:creationId xmlns:a16="http://schemas.microsoft.com/office/drawing/2014/main" id="{08E515E5-E47E-4632-B9CF-0664FF67C958}"/>
                    </a:ext>
                  </a:extLst>
                </p:cNvPr>
                <p:cNvSpPr/>
                <p:nvPr/>
              </p:nvSpPr>
              <p:spPr>
                <a:xfrm>
                  <a:off x="5135995" y="4381029"/>
                  <a:ext cx="181264" cy="55167"/>
                </a:xfrm>
                <a:custGeom>
                  <a:avLst/>
                  <a:gdLst>
                    <a:gd name="connsiteX0" fmla="*/ 7881 w 181264"/>
                    <a:gd name="connsiteY0" fmla="*/ 55168 h 55167"/>
                    <a:gd name="connsiteX1" fmla="*/ 216 w 181264"/>
                    <a:gd name="connsiteY1" fmla="*/ 49107 h 55167"/>
                    <a:gd name="connsiteX2" fmla="*/ 6060 w 181264"/>
                    <a:gd name="connsiteY2" fmla="*/ 39621 h 55167"/>
                    <a:gd name="connsiteX3" fmla="*/ 171563 w 181264"/>
                    <a:gd name="connsiteY3" fmla="*/ 216 h 55167"/>
                    <a:gd name="connsiteX4" fmla="*/ 181049 w 181264"/>
                    <a:gd name="connsiteY4" fmla="*/ 6061 h 55167"/>
                    <a:gd name="connsiteX5" fmla="*/ 175204 w 181264"/>
                    <a:gd name="connsiteY5" fmla="*/ 15547 h 55167"/>
                    <a:gd name="connsiteX6" fmla="*/ 9702 w 181264"/>
                    <a:gd name="connsiteY6" fmla="*/ 54952 h 55167"/>
                    <a:gd name="connsiteX7" fmla="*/ 7881 w 181264"/>
                    <a:gd name="connsiteY7" fmla="*/ 55168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264" h="55167">
                      <a:moveTo>
                        <a:pt x="7881" y="55168"/>
                      </a:moveTo>
                      <a:cubicBezTo>
                        <a:pt x="4312" y="55168"/>
                        <a:pt x="1078" y="52724"/>
                        <a:pt x="216" y="49107"/>
                      </a:cubicBezTo>
                      <a:cubicBezTo>
                        <a:pt x="-791" y="44867"/>
                        <a:pt x="1821" y="40627"/>
                        <a:pt x="6060" y="39621"/>
                      </a:cubicBezTo>
                      <a:lnTo>
                        <a:pt x="171563" y="216"/>
                      </a:lnTo>
                      <a:cubicBezTo>
                        <a:pt x="175779" y="-791"/>
                        <a:pt x="180043" y="1821"/>
                        <a:pt x="181049" y="6061"/>
                      </a:cubicBezTo>
                      <a:cubicBezTo>
                        <a:pt x="182055" y="10300"/>
                        <a:pt x="179444" y="14540"/>
                        <a:pt x="175204" y="15547"/>
                      </a:cubicBezTo>
                      <a:lnTo>
                        <a:pt x="9702" y="54952"/>
                      </a:lnTo>
                      <a:cubicBezTo>
                        <a:pt x="9103" y="55096"/>
                        <a:pt x="8480" y="55168"/>
                        <a:pt x="7881" y="55168"/>
                      </a:cubicBezTo>
                      <a:close/>
                    </a:path>
                  </a:pathLst>
                </a:custGeom>
                <a:solidFill>
                  <a:schemeClr val="accent1"/>
                </a:solidFill>
                <a:ln w="2392" cap="flat">
                  <a:noFill/>
                  <a:prstDash val="solid"/>
                  <a:miter/>
                </a:ln>
              </p:spPr>
              <p:txBody>
                <a:bodyPr rtlCol="0" anchor="ctr"/>
                <a:lstStyle/>
                <a:p>
                  <a:endParaRPr lang="en-GB" dirty="0"/>
                </a:p>
              </p:txBody>
            </p:sp>
            <p:sp>
              <p:nvSpPr>
                <p:cNvPr id="682" name="Freihandform: Form 681">
                  <a:extLst>
                    <a:ext uri="{FF2B5EF4-FFF2-40B4-BE49-F238E27FC236}">
                      <a16:creationId xmlns:a16="http://schemas.microsoft.com/office/drawing/2014/main" id="{42203BD8-E876-4C09-AA96-A587FB7315B3}"/>
                    </a:ext>
                  </a:extLst>
                </p:cNvPr>
                <p:cNvSpPr/>
                <p:nvPr/>
              </p:nvSpPr>
              <p:spPr>
                <a:xfrm>
                  <a:off x="5135995" y="4373148"/>
                  <a:ext cx="15762" cy="191083"/>
                </a:xfrm>
                <a:custGeom>
                  <a:avLst/>
                  <a:gdLst>
                    <a:gd name="connsiteX0" fmla="*/ 7881 w 15762"/>
                    <a:gd name="connsiteY0" fmla="*/ 189145 h 191083"/>
                    <a:gd name="connsiteX1" fmla="*/ 0 w 15762"/>
                    <a:gd name="connsiteY1" fmla="*/ 181265 h 191083"/>
                    <a:gd name="connsiteX2" fmla="*/ 0 w 15762"/>
                    <a:gd name="connsiteY2" fmla="*/ 7881 h 191083"/>
                    <a:gd name="connsiteX3" fmla="*/ 7881 w 15762"/>
                    <a:gd name="connsiteY3" fmla="*/ 0 h 191083"/>
                    <a:gd name="connsiteX4" fmla="*/ 15762 w 15762"/>
                    <a:gd name="connsiteY4" fmla="*/ 7881 h 191083"/>
                    <a:gd name="connsiteX5" fmla="*/ 15762 w 15762"/>
                    <a:gd name="connsiteY5" fmla="*/ 189145 h 191083"/>
                    <a:gd name="connsiteX6" fmla="*/ 7881 w 15762"/>
                    <a:gd name="connsiteY6" fmla="*/ 189145 h 19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191083">
                      <a:moveTo>
                        <a:pt x="7881" y="189145"/>
                      </a:moveTo>
                      <a:cubicBezTo>
                        <a:pt x="3521" y="189145"/>
                        <a:pt x="0" y="185624"/>
                        <a:pt x="0" y="181265"/>
                      </a:cubicBezTo>
                      <a:lnTo>
                        <a:pt x="0" y="7881"/>
                      </a:lnTo>
                      <a:cubicBezTo>
                        <a:pt x="0" y="3521"/>
                        <a:pt x="3521" y="0"/>
                        <a:pt x="7881" y="0"/>
                      </a:cubicBezTo>
                      <a:cubicBezTo>
                        <a:pt x="12241" y="0"/>
                        <a:pt x="15762" y="3521"/>
                        <a:pt x="15762" y="7881"/>
                      </a:cubicBezTo>
                      <a:lnTo>
                        <a:pt x="15762" y="189145"/>
                      </a:lnTo>
                      <a:cubicBezTo>
                        <a:pt x="15762" y="193505"/>
                        <a:pt x="12241" y="189145"/>
                        <a:pt x="7881" y="189145"/>
                      </a:cubicBezTo>
                      <a:close/>
                    </a:path>
                  </a:pathLst>
                </a:custGeom>
                <a:solidFill>
                  <a:schemeClr val="accent1"/>
                </a:solidFill>
                <a:ln w="2392" cap="flat">
                  <a:noFill/>
                  <a:prstDash val="solid"/>
                  <a:miter/>
                </a:ln>
              </p:spPr>
              <p:txBody>
                <a:bodyPr rtlCol="0" anchor="ctr"/>
                <a:lstStyle/>
                <a:p>
                  <a:endParaRPr lang="en-GB" dirty="0"/>
                </a:p>
              </p:txBody>
            </p:sp>
            <p:sp>
              <p:nvSpPr>
                <p:cNvPr id="683" name="Freihandform: Form 682">
                  <a:extLst>
                    <a:ext uri="{FF2B5EF4-FFF2-40B4-BE49-F238E27FC236}">
                      <a16:creationId xmlns:a16="http://schemas.microsoft.com/office/drawing/2014/main" id="{7DDA9ADC-BC87-426C-ABF5-D43CBEEC67F7}"/>
                    </a:ext>
                  </a:extLst>
                </p:cNvPr>
                <p:cNvSpPr/>
                <p:nvPr/>
              </p:nvSpPr>
              <p:spPr>
                <a:xfrm>
                  <a:off x="5301497" y="4333742"/>
                  <a:ext cx="15762" cy="191083"/>
                </a:xfrm>
                <a:custGeom>
                  <a:avLst/>
                  <a:gdLst>
                    <a:gd name="connsiteX0" fmla="*/ 7881 w 15762"/>
                    <a:gd name="connsiteY0" fmla="*/ 189145 h 191083"/>
                    <a:gd name="connsiteX1" fmla="*/ 0 w 15762"/>
                    <a:gd name="connsiteY1" fmla="*/ 181264 h 191083"/>
                    <a:gd name="connsiteX2" fmla="*/ 0 w 15762"/>
                    <a:gd name="connsiteY2" fmla="*/ 7881 h 191083"/>
                    <a:gd name="connsiteX3" fmla="*/ 7881 w 15762"/>
                    <a:gd name="connsiteY3" fmla="*/ 0 h 191083"/>
                    <a:gd name="connsiteX4" fmla="*/ 15762 w 15762"/>
                    <a:gd name="connsiteY4" fmla="*/ 7881 h 191083"/>
                    <a:gd name="connsiteX5" fmla="*/ 15762 w 15762"/>
                    <a:gd name="connsiteY5" fmla="*/ 189145 h 191083"/>
                    <a:gd name="connsiteX6" fmla="*/ 7881 w 15762"/>
                    <a:gd name="connsiteY6" fmla="*/ 189145 h 191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191083">
                      <a:moveTo>
                        <a:pt x="7881" y="189145"/>
                      </a:moveTo>
                      <a:cubicBezTo>
                        <a:pt x="3521" y="189145"/>
                        <a:pt x="0" y="185624"/>
                        <a:pt x="0" y="181264"/>
                      </a:cubicBezTo>
                      <a:lnTo>
                        <a:pt x="0" y="7881"/>
                      </a:lnTo>
                      <a:cubicBezTo>
                        <a:pt x="0" y="3521"/>
                        <a:pt x="3521" y="0"/>
                        <a:pt x="7881" y="0"/>
                      </a:cubicBezTo>
                      <a:cubicBezTo>
                        <a:pt x="12241" y="0"/>
                        <a:pt x="15762" y="3521"/>
                        <a:pt x="15762" y="7881"/>
                      </a:cubicBezTo>
                      <a:lnTo>
                        <a:pt x="15762" y="189145"/>
                      </a:lnTo>
                      <a:cubicBezTo>
                        <a:pt x="15762" y="193505"/>
                        <a:pt x="12217" y="189145"/>
                        <a:pt x="7881" y="189145"/>
                      </a:cubicBezTo>
                      <a:close/>
                    </a:path>
                  </a:pathLst>
                </a:custGeom>
                <a:solidFill>
                  <a:schemeClr val="accent1"/>
                </a:solidFill>
                <a:ln w="2392" cap="flat">
                  <a:noFill/>
                  <a:prstDash val="solid"/>
                  <a:miter/>
                </a:ln>
              </p:spPr>
              <p:txBody>
                <a:bodyPr rtlCol="0" anchor="ctr"/>
                <a:lstStyle/>
                <a:p>
                  <a:endParaRPr lang="en-GB" dirty="0"/>
                </a:p>
              </p:txBody>
            </p:sp>
            <p:sp>
              <p:nvSpPr>
                <p:cNvPr id="684" name="Freihandform: Form 683">
                  <a:extLst>
                    <a:ext uri="{FF2B5EF4-FFF2-40B4-BE49-F238E27FC236}">
                      <a16:creationId xmlns:a16="http://schemas.microsoft.com/office/drawing/2014/main" id="{773424CF-6864-4E8B-82ED-F5649EBA7341}"/>
                    </a:ext>
                  </a:extLst>
                </p:cNvPr>
                <p:cNvSpPr/>
                <p:nvPr/>
              </p:nvSpPr>
              <p:spPr>
                <a:xfrm>
                  <a:off x="5065089" y="4522912"/>
                  <a:ext cx="86667" cy="86667"/>
                </a:xfrm>
                <a:custGeom>
                  <a:avLst/>
                  <a:gdLst>
                    <a:gd name="connsiteX0" fmla="*/ 43334 w 86667"/>
                    <a:gd name="connsiteY0" fmla="*/ 86668 h 86667"/>
                    <a:gd name="connsiteX1" fmla="*/ 0 w 86667"/>
                    <a:gd name="connsiteY1" fmla="*/ 43334 h 86667"/>
                    <a:gd name="connsiteX2" fmla="*/ 43334 w 86667"/>
                    <a:gd name="connsiteY2" fmla="*/ 0 h 86667"/>
                    <a:gd name="connsiteX3" fmla="*/ 86668 w 86667"/>
                    <a:gd name="connsiteY3" fmla="*/ 43334 h 86667"/>
                    <a:gd name="connsiteX4" fmla="*/ 43334 w 86667"/>
                    <a:gd name="connsiteY4" fmla="*/ 86668 h 86667"/>
                    <a:gd name="connsiteX5" fmla="*/ 43334 w 86667"/>
                    <a:gd name="connsiteY5" fmla="*/ 15738 h 86667"/>
                    <a:gd name="connsiteX6" fmla="*/ 15762 w 86667"/>
                    <a:gd name="connsiteY6" fmla="*/ 43310 h 86667"/>
                    <a:gd name="connsiteX7" fmla="*/ 43334 w 86667"/>
                    <a:gd name="connsiteY7" fmla="*/ 70882 h 86667"/>
                    <a:gd name="connsiteX8" fmla="*/ 70906 w 86667"/>
                    <a:gd name="connsiteY8" fmla="*/ 43310 h 86667"/>
                    <a:gd name="connsiteX9" fmla="*/ 43334 w 86667"/>
                    <a:gd name="connsiteY9" fmla="*/ 15738 h 8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667" h="86667">
                      <a:moveTo>
                        <a:pt x="43334" y="86668"/>
                      </a:moveTo>
                      <a:cubicBezTo>
                        <a:pt x="19427" y="86668"/>
                        <a:pt x="0" y="67217"/>
                        <a:pt x="0" y="43334"/>
                      </a:cubicBezTo>
                      <a:cubicBezTo>
                        <a:pt x="0" y="19427"/>
                        <a:pt x="19451" y="0"/>
                        <a:pt x="43334" y="0"/>
                      </a:cubicBezTo>
                      <a:cubicBezTo>
                        <a:pt x="67217" y="0"/>
                        <a:pt x="86668" y="19451"/>
                        <a:pt x="86668" y="43334"/>
                      </a:cubicBezTo>
                      <a:cubicBezTo>
                        <a:pt x="86668" y="67217"/>
                        <a:pt x="67217" y="86668"/>
                        <a:pt x="43334" y="86668"/>
                      </a:cubicBezTo>
                      <a:close/>
                      <a:moveTo>
                        <a:pt x="43334" y="15738"/>
                      </a:moveTo>
                      <a:cubicBezTo>
                        <a:pt x="28123" y="15738"/>
                        <a:pt x="15762" y="28123"/>
                        <a:pt x="15762" y="43310"/>
                      </a:cubicBezTo>
                      <a:cubicBezTo>
                        <a:pt x="15762" y="58497"/>
                        <a:pt x="28147" y="70882"/>
                        <a:pt x="43334" y="70882"/>
                      </a:cubicBezTo>
                      <a:cubicBezTo>
                        <a:pt x="58545" y="70882"/>
                        <a:pt x="70906" y="58497"/>
                        <a:pt x="70906" y="43310"/>
                      </a:cubicBezTo>
                      <a:cubicBezTo>
                        <a:pt x="70906" y="28123"/>
                        <a:pt x="58521" y="15738"/>
                        <a:pt x="43334" y="15738"/>
                      </a:cubicBezTo>
                      <a:close/>
                    </a:path>
                  </a:pathLst>
                </a:custGeom>
                <a:solidFill>
                  <a:schemeClr val="accent1"/>
                </a:solidFill>
                <a:ln w="2392" cap="flat">
                  <a:noFill/>
                  <a:prstDash val="solid"/>
                  <a:miter/>
                </a:ln>
              </p:spPr>
              <p:txBody>
                <a:bodyPr rtlCol="0" anchor="ctr"/>
                <a:lstStyle/>
                <a:p>
                  <a:endParaRPr lang="en-GB" dirty="0"/>
                </a:p>
              </p:txBody>
            </p:sp>
            <p:sp>
              <p:nvSpPr>
                <p:cNvPr id="685" name="Freihandform: Form 684">
                  <a:extLst>
                    <a:ext uri="{FF2B5EF4-FFF2-40B4-BE49-F238E27FC236}">
                      <a16:creationId xmlns:a16="http://schemas.microsoft.com/office/drawing/2014/main" id="{DD3FFF4F-4E86-4CCB-A3C7-9BFAF942F03A}"/>
                    </a:ext>
                  </a:extLst>
                </p:cNvPr>
                <p:cNvSpPr/>
                <p:nvPr/>
              </p:nvSpPr>
              <p:spPr>
                <a:xfrm>
                  <a:off x="5230567" y="4481542"/>
                  <a:ext cx="86667" cy="86667"/>
                </a:xfrm>
                <a:custGeom>
                  <a:avLst/>
                  <a:gdLst>
                    <a:gd name="connsiteX0" fmla="*/ 43334 w 86667"/>
                    <a:gd name="connsiteY0" fmla="*/ 86668 h 86667"/>
                    <a:gd name="connsiteX1" fmla="*/ 0 w 86667"/>
                    <a:gd name="connsiteY1" fmla="*/ 43334 h 86667"/>
                    <a:gd name="connsiteX2" fmla="*/ 43334 w 86667"/>
                    <a:gd name="connsiteY2" fmla="*/ 0 h 86667"/>
                    <a:gd name="connsiteX3" fmla="*/ 86668 w 86667"/>
                    <a:gd name="connsiteY3" fmla="*/ 43334 h 86667"/>
                    <a:gd name="connsiteX4" fmla="*/ 43334 w 86667"/>
                    <a:gd name="connsiteY4" fmla="*/ 86668 h 86667"/>
                    <a:gd name="connsiteX5" fmla="*/ 43334 w 86667"/>
                    <a:gd name="connsiteY5" fmla="*/ 15738 h 86667"/>
                    <a:gd name="connsiteX6" fmla="*/ 15762 w 86667"/>
                    <a:gd name="connsiteY6" fmla="*/ 43310 h 86667"/>
                    <a:gd name="connsiteX7" fmla="*/ 43334 w 86667"/>
                    <a:gd name="connsiteY7" fmla="*/ 70882 h 86667"/>
                    <a:gd name="connsiteX8" fmla="*/ 70906 w 86667"/>
                    <a:gd name="connsiteY8" fmla="*/ 43310 h 86667"/>
                    <a:gd name="connsiteX9" fmla="*/ 43334 w 86667"/>
                    <a:gd name="connsiteY9" fmla="*/ 15738 h 86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6667" h="86667">
                      <a:moveTo>
                        <a:pt x="43334" y="86668"/>
                      </a:moveTo>
                      <a:cubicBezTo>
                        <a:pt x="19427" y="86668"/>
                        <a:pt x="0" y="67217"/>
                        <a:pt x="0" y="43334"/>
                      </a:cubicBezTo>
                      <a:cubicBezTo>
                        <a:pt x="0" y="19427"/>
                        <a:pt x="19451" y="0"/>
                        <a:pt x="43334" y="0"/>
                      </a:cubicBezTo>
                      <a:cubicBezTo>
                        <a:pt x="67241" y="0"/>
                        <a:pt x="86668" y="19451"/>
                        <a:pt x="86668" y="43334"/>
                      </a:cubicBezTo>
                      <a:cubicBezTo>
                        <a:pt x="86692" y="67217"/>
                        <a:pt x="67241" y="86668"/>
                        <a:pt x="43334" y="86668"/>
                      </a:cubicBezTo>
                      <a:close/>
                      <a:moveTo>
                        <a:pt x="43334" y="15738"/>
                      </a:moveTo>
                      <a:cubicBezTo>
                        <a:pt x="28123" y="15738"/>
                        <a:pt x="15762" y="28123"/>
                        <a:pt x="15762" y="43310"/>
                      </a:cubicBezTo>
                      <a:cubicBezTo>
                        <a:pt x="15762" y="58521"/>
                        <a:pt x="28147" y="70882"/>
                        <a:pt x="43334" y="70882"/>
                      </a:cubicBezTo>
                      <a:cubicBezTo>
                        <a:pt x="58545" y="70882"/>
                        <a:pt x="70906" y="58497"/>
                        <a:pt x="70906" y="43310"/>
                      </a:cubicBezTo>
                      <a:cubicBezTo>
                        <a:pt x="70930" y="28123"/>
                        <a:pt x="58545" y="15738"/>
                        <a:pt x="43334" y="15738"/>
                      </a:cubicBezTo>
                      <a:close/>
                    </a:path>
                  </a:pathLst>
                </a:custGeom>
                <a:solidFill>
                  <a:schemeClr val="accent1"/>
                </a:solidFill>
                <a:ln w="2392" cap="flat">
                  <a:noFill/>
                  <a:prstDash val="solid"/>
                  <a:miter/>
                </a:ln>
              </p:spPr>
              <p:txBody>
                <a:bodyPr rtlCol="0" anchor="ctr"/>
                <a:lstStyle/>
                <a:p>
                  <a:endParaRPr lang="en-GB" dirty="0"/>
                </a:p>
              </p:txBody>
            </p:sp>
          </p:grpSp>
          <p:sp>
            <p:nvSpPr>
              <p:cNvPr id="679" name="Freihandform: Form 678">
                <a:extLst>
                  <a:ext uri="{FF2B5EF4-FFF2-40B4-BE49-F238E27FC236}">
                    <a16:creationId xmlns:a16="http://schemas.microsoft.com/office/drawing/2014/main" id="{4CCC70CD-143A-4BED-9CDC-5275DB398F79}"/>
                  </a:ext>
                </a:extLst>
              </p:cNvPr>
              <p:cNvSpPr/>
              <p:nvPr/>
            </p:nvSpPr>
            <p:spPr>
              <a:xfrm>
                <a:off x="5230567" y="4633223"/>
                <a:ext cx="63048" cy="63048"/>
              </a:xfrm>
              <a:custGeom>
                <a:avLst/>
                <a:gdLst>
                  <a:gd name="connsiteX0" fmla="*/ 55167 w 63048"/>
                  <a:gd name="connsiteY0" fmla="*/ 63048 h 63048"/>
                  <a:gd name="connsiteX1" fmla="*/ 7881 w 63048"/>
                  <a:gd name="connsiteY1" fmla="*/ 63048 h 63048"/>
                  <a:gd name="connsiteX2" fmla="*/ 0 w 63048"/>
                  <a:gd name="connsiteY2" fmla="*/ 55167 h 63048"/>
                  <a:gd name="connsiteX3" fmla="*/ 0 w 63048"/>
                  <a:gd name="connsiteY3" fmla="*/ 7881 h 63048"/>
                  <a:gd name="connsiteX4" fmla="*/ 7881 w 63048"/>
                  <a:gd name="connsiteY4" fmla="*/ 0 h 63048"/>
                  <a:gd name="connsiteX5" fmla="*/ 55167 w 63048"/>
                  <a:gd name="connsiteY5" fmla="*/ 0 h 63048"/>
                  <a:gd name="connsiteX6" fmla="*/ 63049 w 63048"/>
                  <a:gd name="connsiteY6" fmla="*/ 7881 h 63048"/>
                  <a:gd name="connsiteX7" fmla="*/ 63049 w 63048"/>
                  <a:gd name="connsiteY7" fmla="*/ 55167 h 63048"/>
                  <a:gd name="connsiteX8" fmla="*/ 55167 w 63048"/>
                  <a:gd name="connsiteY8" fmla="*/ 63048 h 63048"/>
                  <a:gd name="connsiteX9" fmla="*/ 15762 w 63048"/>
                  <a:gd name="connsiteY9" fmla="*/ 47286 h 63048"/>
                  <a:gd name="connsiteX10" fmla="*/ 47286 w 63048"/>
                  <a:gd name="connsiteY10" fmla="*/ 47286 h 63048"/>
                  <a:gd name="connsiteX11" fmla="*/ 47286 w 63048"/>
                  <a:gd name="connsiteY11" fmla="*/ 15762 h 63048"/>
                  <a:gd name="connsiteX12" fmla="*/ 15762 w 63048"/>
                  <a:gd name="connsiteY12" fmla="*/ 15762 h 63048"/>
                  <a:gd name="connsiteX13" fmla="*/ 15762 w 63048"/>
                  <a:gd name="connsiteY13" fmla="*/ 47286 h 63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048" h="63048">
                    <a:moveTo>
                      <a:pt x="55167" y="63048"/>
                    </a:moveTo>
                    <a:lnTo>
                      <a:pt x="7881" y="63048"/>
                    </a:lnTo>
                    <a:cubicBezTo>
                      <a:pt x="3521" y="63048"/>
                      <a:pt x="0" y="59527"/>
                      <a:pt x="0" y="55167"/>
                    </a:cubicBezTo>
                    <a:lnTo>
                      <a:pt x="0" y="7881"/>
                    </a:lnTo>
                    <a:cubicBezTo>
                      <a:pt x="0" y="3521"/>
                      <a:pt x="3521" y="0"/>
                      <a:pt x="7881" y="0"/>
                    </a:cubicBezTo>
                    <a:lnTo>
                      <a:pt x="55167" y="0"/>
                    </a:lnTo>
                    <a:cubicBezTo>
                      <a:pt x="59527" y="0"/>
                      <a:pt x="63049" y="3521"/>
                      <a:pt x="63049" y="7881"/>
                    </a:cubicBezTo>
                    <a:lnTo>
                      <a:pt x="63049" y="55167"/>
                    </a:lnTo>
                    <a:cubicBezTo>
                      <a:pt x="63049" y="59527"/>
                      <a:pt x="59503" y="63048"/>
                      <a:pt x="55167" y="63048"/>
                    </a:cubicBezTo>
                    <a:close/>
                    <a:moveTo>
                      <a:pt x="15762" y="47286"/>
                    </a:moveTo>
                    <a:lnTo>
                      <a:pt x="47286" y="47286"/>
                    </a:lnTo>
                    <a:lnTo>
                      <a:pt x="47286" y="15762"/>
                    </a:lnTo>
                    <a:lnTo>
                      <a:pt x="15762" y="15762"/>
                    </a:lnTo>
                    <a:lnTo>
                      <a:pt x="15762" y="47286"/>
                    </a:lnTo>
                    <a:close/>
                  </a:path>
                </a:pathLst>
              </a:custGeom>
              <a:solidFill>
                <a:schemeClr val="accent1"/>
              </a:solidFill>
              <a:ln w="2392" cap="flat">
                <a:noFill/>
                <a:prstDash val="solid"/>
                <a:miter/>
              </a:ln>
            </p:spPr>
            <p:txBody>
              <a:bodyPr rtlCol="0" anchor="ctr"/>
              <a:lstStyle/>
              <a:p>
                <a:endParaRPr lang="en-GB" dirty="0"/>
              </a:p>
            </p:txBody>
          </p:sp>
        </p:grpSp>
      </p:grpSp>
      <p:grpSp>
        <p:nvGrpSpPr>
          <p:cNvPr id="692" name="Gruppieren 691">
            <a:extLst>
              <a:ext uri="{FF2B5EF4-FFF2-40B4-BE49-F238E27FC236}">
                <a16:creationId xmlns:a16="http://schemas.microsoft.com/office/drawing/2014/main" id="{7C4B9CC6-20F1-4509-91B0-6F4D0CFC17F4}"/>
              </a:ext>
            </a:extLst>
          </p:cNvPr>
          <p:cNvGrpSpPr>
            <a:grpSpLocks noChangeAspect="1"/>
          </p:cNvGrpSpPr>
          <p:nvPr/>
        </p:nvGrpSpPr>
        <p:grpSpPr>
          <a:xfrm>
            <a:off x="7059110" y="4097454"/>
            <a:ext cx="490052" cy="432000"/>
            <a:chOff x="7005939" y="4207669"/>
            <a:chExt cx="598960" cy="528007"/>
          </a:xfrm>
        </p:grpSpPr>
        <p:grpSp>
          <p:nvGrpSpPr>
            <p:cNvPr id="693" name="Gruppieren 692">
              <a:extLst>
                <a:ext uri="{FF2B5EF4-FFF2-40B4-BE49-F238E27FC236}">
                  <a16:creationId xmlns:a16="http://schemas.microsoft.com/office/drawing/2014/main" id="{BFA786CA-5717-45D3-B19D-30257858BB68}"/>
                </a:ext>
              </a:extLst>
            </p:cNvPr>
            <p:cNvGrpSpPr/>
            <p:nvPr/>
          </p:nvGrpSpPr>
          <p:grpSpPr>
            <a:xfrm>
              <a:off x="7128132" y="4311895"/>
              <a:ext cx="295529" cy="297875"/>
              <a:chOff x="7128132" y="4311895"/>
              <a:chExt cx="295529" cy="297876"/>
            </a:xfrm>
          </p:grpSpPr>
          <p:sp>
            <p:nvSpPr>
              <p:cNvPr id="695" name="Freihandform: Form 694">
                <a:extLst>
                  <a:ext uri="{FF2B5EF4-FFF2-40B4-BE49-F238E27FC236}">
                    <a16:creationId xmlns:a16="http://schemas.microsoft.com/office/drawing/2014/main" id="{BE3A6748-2920-4D52-9568-AF23806F2135}"/>
                  </a:ext>
                </a:extLst>
              </p:cNvPr>
              <p:cNvSpPr/>
              <p:nvPr/>
            </p:nvSpPr>
            <p:spPr>
              <a:xfrm>
                <a:off x="7128132" y="4333304"/>
                <a:ext cx="276555" cy="276467"/>
              </a:xfrm>
              <a:custGeom>
                <a:avLst/>
                <a:gdLst>
                  <a:gd name="connsiteX0" fmla="*/ 268651 w 276555"/>
                  <a:gd name="connsiteY0" fmla="*/ 130296 h 276467"/>
                  <a:gd name="connsiteX1" fmla="*/ 143776 w 276555"/>
                  <a:gd name="connsiteY1" fmla="*/ 130296 h 276467"/>
                  <a:gd name="connsiteX2" fmla="*/ 143776 w 276555"/>
                  <a:gd name="connsiteY2" fmla="*/ 7888 h 276467"/>
                  <a:gd name="connsiteX3" fmla="*/ 141428 w 276555"/>
                  <a:gd name="connsiteY3" fmla="*/ 2259 h 276467"/>
                  <a:gd name="connsiteX4" fmla="*/ 135775 w 276555"/>
                  <a:gd name="connsiteY4" fmla="*/ 7 h 276467"/>
                  <a:gd name="connsiteX5" fmla="*/ 0 w 276555"/>
                  <a:gd name="connsiteY5" fmla="*/ 138178 h 276467"/>
                  <a:gd name="connsiteX6" fmla="*/ 138290 w 276555"/>
                  <a:gd name="connsiteY6" fmla="*/ 276467 h 276467"/>
                  <a:gd name="connsiteX7" fmla="*/ 276556 w 276555"/>
                  <a:gd name="connsiteY7" fmla="*/ 138178 h 276467"/>
                  <a:gd name="connsiteX8" fmla="*/ 268651 w 276555"/>
                  <a:gd name="connsiteY8" fmla="*/ 130296 h 276467"/>
                  <a:gd name="connsiteX9" fmla="*/ 138242 w 276555"/>
                  <a:gd name="connsiteY9" fmla="*/ 260705 h 276467"/>
                  <a:gd name="connsiteX10" fmla="*/ 15714 w 276555"/>
                  <a:gd name="connsiteY10" fmla="*/ 138178 h 276467"/>
                  <a:gd name="connsiteX11" fmla="*/ 127990 w 276555"/>
                  <a:gd name="connsiteY11" fmla="*/ 16177 h 276467"/>
                  <a:gd name="connsiteX12" fmla="*/ 127990 w 276555"/>
                  <a:gd name="connsiteY12" fmla="*/ 138178 h 276467"/>
                  <a:gd name="connsiteX13" fmla="*/ 135871 w 276555"/>
                  <a:gd name="connsiteY13" fmla="*/ 146058 h 276467"/>
                  <a:gd name="connsiteX14" fmla="*/ 260507 w 276555"/>
                  <a:gd name="connsiteY14" fmla="*/ 146058 h 276467"/>
                  <a:gd name="connsiteX15" fmla="*/ 138242 w 276555"/>
                  <a:gd name="connsiteY15" fmla="*/ 260705 h 276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6555" h="276467">
                    <a:moveTo>
                      <a:pt x="268651" y="130296"/>
                    </a:moveTo>
                    <a:lnTo>
                      <a:pt x="143776" y="130296"/>
                    </a:lnTo>
                    <a:lnTo>
                      <a:pt x="143776" y="7888"/>
                    </a:lnTo>
                    <a:cubicBezTo>
                      <a:pt x="143776" y="5780"/>
                      <a:pt x="142937" y="3744"/>
                      <a:pt x="141428" y="2259"/>
                    </a:cubicBezTo>
                    <a:cubicBezTo>
                      <a:pt x="139919" y="774"/>
                      <a:pt x="137763" y="-88"/>
                      <a:pt x="135775" y="7"/>
                    </a:cubicBezTo>
                    <a:cubicBezTo>
                      <a:pt x="60917" y="1349"/>
                      <a:pt x="0" y="63343"/>
                      <a:pt x="0" y="138178"/>
                    </a:cubicBezTo>
                    <a:cubicBezTo>
                      <a:pt x="0" y="214425"/>
                      <a:pt x="62042" y="276467"/>
                      <a:pt x="138290" y="276467"/>
                    </a:cubicBezTo>
                    <a:cubicBezTo>
                      <a:pt x="214537" y="276467"/>
                      <a:pt x="276556" y="214425"/>
                      <a:pt x="276556" y="138178"/>
                    </a:cubicBezTo>
                    <a:cubicBezTo>
                      <a:pt x="276532" y="133842"/>
                      <a:pt x="273011" y="130296"/>
                      <a:pt x="268651" y="130296"/>
                    </a:cubicBezTo>
                    <a:close/>
                    <a:moveTo>
                      <a:pt x="138242" y="260705"/>
                    </a:moveTo>
                    <a:cubicBezTo>
                      <a:pt x="70690" y="260705"/>
                      <a:pt x="15714" y="205729"/>
                      <a:pt x="15714" y="138178"/>
                    </a:cubicBezTo>
                    <a:cubicBezTo>
                      <a:pt x="15714" y="74578"/>
                      <a:pt x="65396" y="21447"/>
                      <a:pt x="127990" y="16177"/>
                    </a:cubicBezTo>
                    <a:lnTo>
                      <a:pt x="127990" y="138178"/>
                    </a:lnTo>
                    <a:cubicBezTo>
                      <a:pt x="127990" y="142537"/>
                      <a:pt x="131511" y="146058"/>
                      <a:pt x="135871" y="146058"/>
                    </a:cubicBezTo>
                    <a:lnTo>
                      <a:pt x="260507" y="146058"/>
                    </a:lnTo>
                    <a:cubicBezTo>
                      <a:pt x="256434" y="209969"/>
                      <a:pt x="203159" y="260705"/>
                      <a:pt x="138242" y="260705"/>
                    </a:cubicBezTo>
                    <a:close/>
                  </a:path>
                </a:pathLst>
              </a:custGeom>
              <a:solidFill>
                <a:schemeClr val="accent1"/>
              </a:solidFill>
              <a:ln w="2392" cap="flat">
                <a:noFill/>
                <a:prstDash val="solid"/>
                <a:miter/>
              </a:ln>
            </p:spPr>
            <p:txBody>
              <a:bodyPr rtlCol="0" anchor="ctr"/>
              <a:lstStyle/>
              <a:p>
                <a:endParaRPr lang="en-GB" dirty="0"/>
              </a:p>
            </p:txBody>
          </p:sp>
          <p:sp>
            <p:nvSpPr>
              <p:cNvPr id="696" name="Freihandform: Form 695">
                <a:extLst>
                  <a:ext uri="{FF2B5EF4-FFF2-40B4-BE49-F238E27FC236}">
                    <a16:creationId xmlns:a16="http://schemas.microsoft.com/office/drawing/2014/main" id="{F189E0E9-D3DF-4E39-8667-77A23BDC3C41}"/>
                  </a:ext>
                </a:extLst>
              </p:cNvPr>
              <p:cNvSpPr/>
              <p:nvPr/>
            </p:nvSpPr>
            <p:spPr>
              <a:xfrm>
                <a:off x="7295982" y="4311895"/>
                <a:ext cx="127679" cy="123654"/>
              </a:xfrm>
              <a:custGeom>
                <a:avLst/>
                <a:gdLst>
                  <a:gd name="connsiteX0" fmla="*/ 8863 w 127679"/>
                  <a:gd name="connsiteY0" fmla="*/ 49 h 123654"/>
                  <a:gd name="connsiteX1" fmla="*/ 2659 w 127679"/>
                  <a:gd name="connsiteY1" fmla="*/ 1965 h 123654"/>
                  <a:gd name="connsiteX2" fmla="*/ 0 w 127679"/>
                  <a:gd name="connsiteY2" fmla="*/ 7882 h 123654"/>
                  <a:gd name="connsiteX3" fmla="*/ 0 w 127679"/>
                  <a:gd name="connsiteY3" fmla="*/ 115773 h 123654"/>
                  <a:gd name="connsiteX4" fmla="*/ 7881 w 127679"/>
                  <a:gd name="connsiteY4" fmla="*/ 123654 h 123654"/>
                  <a:gd name="connsiteX5" fmla="*/ 119797 w 127679"/>
                  <a:gd name="connsiteY5" fmla="*/ 123654 h 123654"/>
                  <a:gd name="connsiteX6" fmla="*/ 125810 w 127679"/>
                  <a:gd name="connsiteY6" fmla="*/ 120876 h 123654"/>
                  <a:gd name="connsiteX7" fmla="*/ 127582 w 127679"/>
                  <a:gd name="connsiteY7" fmla="*/ 114504 h 123654"/>
                  <a:gd name="connsiteX8" fmla="*/ 8863 w 127679"/>
                  <a:gd name="connsiteY8" fmla="*/ 49 h 123654"/>
                  <a:gd name="connsiteX9" fmla="*/ 15738 w 127679"/>
                  <a:gd name="connsiteY9" fmla="*/ 107868 h 123654"/>
                  <a:gd name="connsiteX10" fmla="*/ 15738 w 127679"/>
                  <a:gd name="connsiteY10" fmla="*/ 17152 h 123654"/>
                  <a:gd name="connsiteX11" fmla="*/ 110119 w 127679"/>
                  <a:gd name="connsiteY11" fmla="*/ 107868 h 123654"/>
                  <a:gd name="connsiteX12" fmla="*/ 15738 w 127679"/>
                  <a:gd name="connsiteY12" fmla="*/ 107868 h 123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7679" h="123654">
                    <a:moveTo>
                      <a:pt x="8863" y="49"/>
                    </a:moveTo>
                    <a:cubicBezTo>
                      <a:pt x="6635" y="-191"/>
                      <a:pt x="4360" y="456"/>
                      <a:pt x="2659" y="1965"/>
                    </a:cubicBezTo>
                    <a:cubicBezTo>
                      <a:pt x="958" y="3450"/>
                      <a:pt x="0" y="5606"/>
                      <a:pt x="0" y="7882"/>
                    </a:cubicBezTo>
                    <a:lnTo>
                      <a:pt x="0" y="115773"/>
                    </a:lnTo>
                    <a:cubicBezTo>
                      <a:pt x="0" y="120133"/>
                      <a:pt x="3521" y="123654"/>
                      <a:pt x="7881" y="123654"/>
                    </a:cubicBezTo>
                    <a:lnTo>
                      <a:pt x="119797" y="123654"/>
                    </a:lnTo>
                    <a:cubicBezTo>
                      <a:pt x="122121" y="123654"/>
                      <a:pt x="124301" y="122648"/>
                      <a:pt x="125810" y="120876"/>
                    </a:cubicBezTo>
                    <a:cubicBezTo>
                      <a:pt x="127295" y="119103"/>
                      <a:pt x="127942" y="116779"/>
                      <a:pt x="127582" y="114504"/>
                    </a:cubicBezTo>
                    <a:cubicBezTo>
                      <a:pt x="117713" y="54761"/>
                      <a:pt x="68893" y="7690"/>
                      <a:pt x="8863" y="49"/>
                    </a:cubicBezTo>
                    <a:close/>
                    <a:moveTo>
                      <a:pt x="15738" y="107868"/>
                    </a:moveTo>
                    <a:lnTo>
                      <a:pt x="15738" y="17152"/>
                    </a:lnTo>
                    <a:cubicBezTo>
                      <a:pt x="61755" y="26566"/>
                      <a:pt x="98885" y="62283"/>
                      <a:pt x="110119" y="107868"/>
                    </a:cubicBezTo>
                    <a:lnTo>
                      <a:pt x="15738" y="107868"/>
                    </a:lnTo>
                    <a:close/>
                  </a:path>
                </a:pathLst>
              </a:custGeom>
              <a:solidFill>
                <a:schemeClr val="accent1"/>
              </a:solidFill>
              <a:ln w="2392" cap="flat">
                <a:noFill/>
                <a:prstDash val="solid"/>
                <a:miter/>
              </a:ln>
            </p:spPr>
            <p:txBody>
              <a:bodyPr rtlCol="0" anchor="ctr"/>
              <a:lstStyle/>
              <a:p>
                <a:endParaRPr lang="en-GB" dirty="0"/>
              </a:p>
            </p:txBody>
          </p:sp>
        </p:grpSp>
        <p:sp>
          <p:nvSpPr>
            <p:cNvPr id="694" name="Freihandform: Form 693">
              <a:extLst>
                <a:ext uri="{FF2B5EF4-FFF2-40B4-BE49-F238E27FC236}">
                  <a16:creationId xmlns:a16="http://schemas.microsoft.com/office/drawing/2014/main" id="{ECF1A390-1FC2-4B9E-B154-1E6E8EF53DFD}"/>
                </a:ext>
              </a:extLst>
            </p:cNvPr>
            <p:cNvSpPr/>
            <p:nvPr/>
          </p:nvSpPr>
          <p:spPr>
            <a:xfrm>
              <a:off x="7005939" y="4207669"/>
              <a:ext cx="598960" cy="528007"/>
            </a:xfrm>
            <a:custGeom>
              <a:avLst/>
              <a:gdLst>
                <a:gd name="connsiteX0" fmla="*/ 598961 w 598960"/>
                <a:gd name="connsiteY0" fmla="*/ 70906 h 528007"/>
                <a:gd name="connsiteX1" fmla="*/ 598721 w 598960"/>
                <a:gd name="connsiteY1" fmla="*/ 66690 h 528007"/>
                <a:gd name="connsiteX2" fmla="*/ 598721 w 598960"/>
                <a:gd name="connsiteY2" fmla="*/ 66235 h 528007"/>
                <a:gd name="connsiteX3" fmla="*/ 598578 w 598960"/>
                <a:gd name="connsiteY3" fmla="*/ 64127 h 528007"/>
                <a:gd name="connsiteX4" fmla="*/ 520150 w 598960"/>
                <a:gd name="connsiteY4" fmla="*/ 0 h 528007"/>
                <a:gd name="connsiteX5" fmla="*/ 7881 w 598960"/>
                <a:gd name="connsiteY5" fmla="*/ 0 h 528007"/>
                <a:gd name="connsiteX6" fmla="*/ 0 w 598960"/>
                <a:gd name="connsiteY6" fmla="*/ 7881 h 528007"/>
                <a:gd name="connsiteX7" fmla="*/ 0 w 598960"/>
                <a:gd name="connsiteY7" fmla="*/ 472840 h 528007"/>
                <a:gd name="connsiteX8" fmla="*/ 7881 w 598960"/>
                <a:gd name="connsiteY8" fmla="*/ 480721 h 528007"/>
                <a:gd name="connsiteX9" fmla="*/ 488602 w 598960"/>
                <a:gd name="connsiteY9" fmla="*/ 480721 h 528007"/>
                <a:gd name="connsiteX10" fmla="*/ 488602 w 598960"/>
                <a:gd name="connsiteY10" fmla="*/ 520126 h 528007"/>
                <a:gd name="connsiteX11" fmla="*/ 496483 w 598960"/>
                <a:gd name="connsiteY11" fmla="*/ 528007 h 528007"/>
                <a:gd name="connsiteX12" fmla="*/ 591056 w 598960"/>
                <a:gd name="connsiteY12" fmla="*/ 528007 h 528007"/>
                <a:gd name="connsiteX13" fmla="*/ 598937 w 598960"/>
                <a:gd name="connsiteY13" fmla="*/ 520126 h 528007"/>
                <a:gd name="connsiteX14" fmla="*/ 598913 w 598960"/>
                <a:gd name="connsiteY14" fmla="*/ 472960 h 528007"/>
                <a:gd name="connsiteX15" fmla="*/ 598937 w 598960"/>
                <a:gd name="connsiteY15" fmla="*/ 472840 h 528007"/>
                <a:gd name="connsiteX16" fmla="*/ 598937 w 598960"/>
                <a:gd name="connsiteY16" fmla="*/ 70906 h 528007"/>
                <a:gd name="connsiteX17" fmla="*/ 488626 w 598960"/>
                <a:gd name="connsiteY17" fmla="*/ 86668 h 528007"/>
                <a:gd name="connsiteX18" fmla="*/ 488626 w 598960"/>
                <a:gd name="connsiteY18" fmla="*/ 464959 h 528007"/>
                <a:gd name="connsiteX19" fmla="*/ 15762 w 598960"/>
                <a:gd name="connsiteY19" fmla="*/ 464959 h 528007"/>
                <a:gd name="connsiteX20" fmla="*/ 15762 w 598960"/>
                <a:gd name="connsiteY20" fmla="*/ 15762 h 528007"/>
                <a:gd name="connsiteX21" fmla="*/ 520126 w 598960"/>
                <a:gd name="connsiteY21" fmla="*/ 15762 h 528007"/>
                <a:gd name="connsiteX22" fmla="*/ 581354 w 598960"/>
                <a:gd name="connsiteY22" fmla="*/ 56341 h 528007"/>
                <a:gd name="connsiteX23" fmla="*/ 496483 w 598960"/>
                <a:gd name="connsiteY23" fmla="*/ 78811 h 528007"/>
                <a:gd name="connsiteX24" fmla="*/ 488626 w 598960"/>
                <a:gd name="connsiteY24" fmla="*/ 86668 h 528007"/>
                <a:gd name="connsiteX25" fmla="*/ 583199 w 598960"/>
                <a:gd name="connsiteY25" fmla="*/ 512245 h 528007"/>
                <a:gd name="connsiteX26" fmla="*/ 504388 w 598960"/>
                <a:gd name="connsiteY26" fmla="*/ 512245 h 528007"/>
                <a:gd name="connsiteX27" fmla="*/ 504388 w 598960"/>
                <a:gd name="connsiteY27" fmla="*/ 94477 h 528007"/>
                <a:gd name="connsiteX28" fmla="*/ 583199 w 598960"/>
                <a:gd name="connsiteY28" fmla="*/ 75864 h 528007"/>
                <a:gd name="connsiteX29" fmla="*/ 583199 w 598960"/>
                <a:gd name="connsiteY29" fmla="*/ 429482 h 528007"/>
                <a:gd name="connsiteX30" fmla="*/ 583199 w 598960"/>
                <a:gd name="connsiteY30" fmla="*/ 512245 h 528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98960" h="528007">
                  <a:moveTo>
                    <a:pt x="598961" y="70906"/>
                  </a:moveTo>
                  <a:cubicBezTo>
                    <a:pt x="598961" y="69420"/>
                    <a:pt x="598793" y="68103"/>
                    <a:pt x="598721" y="66690"/>
                  </a:cubicBezTo>
                  <a:lnTo>
                    <a:pt x="598721" y="66235"/>
                  </a:lnTo>
                  <a:cubicBezTo>
                    <a:pt x="598721" y="65707"/>
                    <a:pt x="598673" y="64965"/>
                    <a:pt x="598578" y="64127"/>
                  </a:cubicBezTo>
                  <a:cubicBezTo>
                    <a:pt x="594529" y="13702"/>
                    <a:pt x="546261" y="0"/>
                    <a:pt x="520150" y="0"/>
                  </a:cubicBezTo>
                  <a:lnTo>
                    <a:pt x="7881" y="0"/>
                  </a:lnTo>
                  <a:cubicBezTo>
                    <a:pt x="3521" y="0"/>
                    <a:pt x="0" y="3521"/>
                    <a:pt x="0" y="7881"/>
                  </a:cubicBezTo>
                  <a:lnTo>
                    <a:pt x="0" y="472840"/>
                  </a:lnTo>
                  <a:cubicBezTo>
                    <a:pt x="0" y="477200"/>
                    <a:pt x="3521" y="480721"/>
                    <a:pt x="7881" y="480721"/>
                  </a:cubicBezTo>
                  <a:lnTo>
                    <a:pt x="488602" y="480721"/>
                  </a:lnTo>
                  <a:lnTo>
                    <a:pt x="488602" y="520126"/>
                  </a:lnTo>
                  <a:cubicBezTo>
                    <a:pt x="488602" y="524486"/>
                    <a:pt x="492123" y="528007"/>
                    <a:pt x="496483" y="528007"/>
                  </a:cubicBezTo>
                  <a:lnTo>
                    <a:pt x="591056" y="528007"/>
                  </a:lnTo>
                  <a:cubicBezTo>
                    <a:pt x="595416" y="528007"/>
                    <a:pt x="598937" y="524486"/>
                    <a:pt x="598937" y="520126"/>
                  </a:cubicBezTo>
                  <a:lnTo>
                    <a:pt x="598913" y="472960"/>
                  </a:lnTo>
                  <a:cubicBezTo>
                    <a:pt x="598913" y="472912"/>
                    <a:pt x="598937" y="472888"/>
                    <a:pt x="598937" y="472840"/>
                  </a:cubicBezTo>
                  <a:lnTo>
                    <a:pt x="598937" y="70906"/>
                  </a:lnTo>
                  <a:close/>
                  <a:moveTo>
                    <a:pt x="488626" y="86668"/>
                  </a:moveTo>
                  <a:lnTo>
                    <a:pt x="488626" y="464959"/>
                  </a:lnTo>
                  <a:lnTo>
                    <a:pt x="15762" y="464959"/>
                  </a:lnTo>
                  <a:lnTo>
                    <a:pt x="15762" y="15762"/>
                  </a:lnTo>
                  <a:lnTo>
                    <a:pt x="520126" y="15762"/>
                  </a:lnTo>
                  <a:cubicBezTo>
                    <a:pt x="522450" y="15762"/>
                    <a:pt x="571581" y="16409"/>
                    <a:pt x="581354" y="56341"/>
                  </a:cubicBezTo>
                  <a:cubicBezTo>
                    <a:pt x="575821" y="63336"/>
                    <a:pt x="556801" y="78811"/>
                    <a:pt x="496483" y="78811"/>
                  </a:cubicBezTo>
                  <a:cubicBezTo>
                    <a:pt x="492147" y="78787"/>
                    <a:pt x="488626" y="82308"/>
                    <a:pt x="488626" y="86668"/>
                  </a:cubicBezTo>
                  <a:close/>
                  <a:moveTo>
                    <a:pt x="583199" y="512245"/>
                  </a:moveTo>
                  <a:lnTo>
                    <a:pt x="504388" y="512245"/>
                  </a:lnTo>
                  <a:lnTo>
                    <a:pt x="504388" y="94477"/>
                  </a:lnTo>
                  <a:cubicBezTo>
                    <a:pt x="546812" y="93495"/>
                    <a:pt x="570263" y="84727"/>
                    <a:pt x="583199" y="75864"/>
                  </a:cubicBezTo>
                  <a:lnTo>
                    <a:pt x="583199" y="429482"/>
                  </a:lnTo>
                  <a:lnTo>
                    <a:pt x="583199" y="512245"/>
                  </a:lnTo>
                  <a:close/>
                </a:path>
              </a:pathLst>
            </a:custGeom>
            <a:solidFill>
              <a:schemeClr val="tx2"/>
            </a:solidFill>
            <a:ln w="2392" cap="flat">
              <a:noFill/>
              <a:prstDash val="solid"/>
              <a:miter/>
            </a:ln>
          </p:spPr>
          <p:txBody>
            <a:bodyPr rtlCol="0" anchor="ctr"/>
            <a:lstStyle/>
            <a:p>
              <a:endParaRPr lang="en-GB" dirty="0"/>
            </a:p>
          </p:txBody>
        </p:sp>
      </p:grpSp>
      <p:grpSp>
        <p:nvGrpSpPr>
          <p:cNvPr id="697" name="Gruppieren 696">
            <a:extLst>
              <a:ext uri="{FF2B5EF4-FFF2-40B4-BE49-F238E27FC236}">
                <a16:creationId xmlns:a16="http://schemas.microsoft.com/office/drawing/2014/main" id="{ABAABD63-ED88-4B6E-91E8-AEFB4A5534DF}"/>
              </a:ext>
            </a:extLst>
          </p:cNvPr>
          <p:cNvGrpSpPr>
            <a:grpSpLocks noChangeAspect="1"/>
          </p:cNvGrpSpPr>
          <p:nvPr/>
        </p:nvGrpSpPr>
        <p:grpSpPr>
          <a:xfrm>
            <a:off x="7138425" y="2449341"/>
            <a:ext cx="331422" cy="432000"/>
            <a:chOff x="7068970" y="2481764"/>
            <a:chExt cx="441353" cy="575293"/>
          </a:xfrm>
        </p:grpSpPr>
        <p:grpSp>
          <p:nvGrpSpPr>
            <p:cNvPr id="698" name="Gruppieren 697">
              <a:extLst>
                <a:ext uri="{FF2B5EF4-FFF2-40B4-BE49-F238E27FC236}">
                  <a16:creationId xmlns:a16="http://schemas.microsoft.com/office/drawing/2014/main" id="{870CB6E4-0AE5-476E-BFF3-CB1033C79EBC}"/>
                </a:ext>
              </a:extLst>
            </p:cNvPr>
            <p:cNvGrpSpPr/>
            <p:nvPr/>
          </p:nvGrpSpPr>
          <p:grpSpPr>
            <a:xfrm>
              <a:off x="7163562" y="2686647"/>
              <a:ext cx="252194" cy="236432"/>
              <a:chOff x="7163561" y="2686647"/>
              <a:chExt cx="252194" cy="236432"/>
            </a:xfrm>
          </p:grpSpPr>
          <p:sp>
            <p:nvSpPr>
              <p:cNvPr id="721" name="Freihandform: Form 720">
                <a:extLst>
                  <a:ext uri="{FF2B5EF4-FFF2-40B4-BE49-F238E27FC236}">
                    <a16:creationId xmlns:a16="http://schemas.microsoft.com/office/drawing/2014/main" id="{D4260912-A098-4489-998E-05C4717C79F2}"/>
                  </a:ext>
                </a:extLst>
              </p:cNvPr>
              <p:cNvSpPr/>
              <p:nvPr/>
            </p:nvSpPr>
            <p:spPr>
              <a:xfrm>
                <a:off x="7226609" y="2686647"/>
                <a:ext cx="133977" cy="15762"/>
              </a:xfrm>
              <a:custGeom>
                <a:avLst/>
                <a:gdLst>
                  <a:gd name="connsiteX0" fmla="*/ 126097 w 133977"/>
                  <a:gd name="connsiteY0" fmla="*/ 15762 h 15762"/>
                  <a:gd name="connsiteX1" fmla="*/ 7881 w 133977"/>
                  <a:gd name="connsiteY1" fmla="*/ 15762 h 15762"/>
                  <a:gd name="connsiteX2" fmla="*/ 0 w 133977"/>
                  <a:gd name="connsiteY2" fmla="*/ 7881 h 15762"/>
                  <a:gd name="connsiteX3" fmla="*/ 7881 w 133977"/>
                  <a:gd name="connsiteY3" fmla="*/ 0 h 15762"/>
                  <a:gd name="connsiteX4" fmla="*/ 126097 w 133977"/>
                  <a:gd name="connsiteY4" fmla="*/ 0 h 15762"/>
                  <a:gd name="connsiteX5" fmla="*/ 133978 w 133977"/>
                  <a:gd name="connsiteY5" fmla="*/ 7881 h 15762"/>
                  <a:gd name="connsiteX6" fmla="*/ 126097 w 133977"/>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977" h="15762">
                    <a:moveTo>
                      <a:pt x="126097" y="15762"/>
                    </a:moveTo>
                    <a:lnTo>
                      <a:pt x="7881" y="15762"/>
                    </a:lnTo>
                    <a:cubicBezTo>
                      <a:pt x="3521" y="15762"/>
                      <a:pt x="0" y="12241"/>
                      <a:pt x="0" y="7881"/>
                    </a:cubicBezTo>
                    <a:cubicBezTo>
                      <a:pt x="0" y="3521"/>
                      <a:pt x="3521" y="0"/>
                      <a:pt x="7881" y="0"/>
                    </a:cubicBezTo>
                    <a:lnTo>
                      <a:pt x="126097" y="0"/>
                    </a:lnTo>
                    <a:cubicBezTo>
                      <a:pt x="130457" y="0"/>
                      <a:pt x="133978" y="3521"/>
                      <a:pt x="133978" y="7881"/>
                    </a:cubicBezTo>
                    <a:cubicBezTo>
                      <a:pt x="133978" y="12241"/>
                      <a:pt x="130457" y="15762"/>
                      <a:pt x="126097" y="15762"/>
                    </a:cubicBezTo>
                    <a:close/>
                  </a:path>
                </a:pathLst>
              </a:custGeom>
              <a:solidFill>
                <a:schemeClr val="accent1"/>
              </a:solidFill>
              <a:ln w="2392" cap="flat">
                <a:noFill/>
                <a:prstDash val="solid"/>
                <a:miter/>
              </a:ln>
            </p:spPr>
            <p:txBody>
              <a:bodyPr rtlCol="0" anchor="ctr"/>
              <a:lstStyle/>
              <a:p>
                <a:endParaRPr lang="en-GB" dirty="0"/>
              </a:p>
            </p:txBody>
          </p:sp>
          <p:sp>
            <p:nvSpPr>
              <p:cNvPr id="722" name="Freihandform: Form 721">
                <a:extLst>
                  <a:ext uri="{FF2B5EF4-FFF2-40B4-BE49-F238E27FC236}">
                    <a16:creationId xmlns:a16="http://schemas.microsoft.com/office/drawing/2014/main" id="{E10A9086-867C-4890-A373-C2BD283A8954}"/>
                  </a:ext>
                </a:extLst>
              </p:cNvPr>
              <p:cNvSpPr/>
              <p:nvPr/>
            </p:nvSpPr>
            <p:spPr>
              <a:xfrm>
                <a:off x="7163561" y="2796982"/>
                <a:ext cx="252194" cy="15762"/>
              </a:xfrm>
              <a:custGeom>
                <a:avLst/>
                <a:gdLst>
                  <a:gd name="connsiteX0" fmla="*/ 244313 w 252194"/>
                  <a:gd name="connsiteY0" fmla="*/ 15762 h 15762"/>
                  <a:gd name="connsiteX1" fmla="*/ 7881 w 252194"/>
                  <a:gd name="connsiteY1" fmla="*/ 15762 h 15762"/>
                  <a:gd name="connsiteX2" fmla="*/ 0 w 252194"/>
                  <a:gd name="connsiteY2" fmla="*/ 7881 h 15762"/>
                  <a:gd name="connsiteX3" fmla="*/ 7881 w 252194"/>
                  <a:gd name="connsiteY3" fmla="*/ 0 h 15762"/>
                  <a:gd name="connsiteX4" fmla="*/ 244313 w 252194"/>
                  <a:gd name="connsiteY4" fmla="*/ 0 h 15762"/>
                  <a:gd name="connsiteX5" fmla="*/ 252194 w 252194"/>
                  <a:gd name="connsiteY5" fmla="*/ 7881 h 15762"/>
                  <a:gd name="connsiteX6" fmla="*/ 244313 w 252194"/>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194" h="15762">
                    <a:moveTo>
                      <a:pt x="244313" y="15762"/>
                    </a:moveTo>
                    <a:lnTo>
                      <a:pt x="7881" y="15762"/>
                    </a:lnTo>
                    <a:cubicBezTo>
                      <a:pt x="3521" y="15762"/>
                      <a:pt x="0" y="12241"/>
                      <a:pt x="0" y="7881"/>
                    </a:cubicBezTo>
                    <a:cubicBezTo>
                      <a:pt x="0" y="3521"/>
                      <a:pt x="3521" y="0"/>
                      <a:pt x="7881" y="0"/>
                    </a:cubicBezTo>
                    <a:lnTo>
                      <a:pt x="244313" y="0"/>
                    </a:lnTo>
                    <a:cubicBezTo>
                      <a:pt x="248673" y="0"/>
                      <a:pt x="252194" y="3521"/>
                      <a:pt x="252194" y="7881"/>
                    </a:cubicBezTo>
                    <a:cubicBezTo>
                      <a:pt x="252194" y="12241"/>
                      <a:pt x="248673" y="15762"/>
                      <a:pt x="244313" y="15762"/>
                    </a:cubicBezTo>
                    <a:close/>
                  </a:path>
                </a:pathLst>
              </a:custGeom>
              <a:solidFill>
                <a:schemeClr val="accent1"/>
              </a:solidFill>
              <a:ln w="2392" cap="flat">
                <a:noFill/>
                <a:prstDash val="solid"/>
                <a:miter/>
              </a:ln>
            </p:spPr>
            <p:txBody>
              <a:bodyPr rtlCol="0" anchor="ctr"/>
              <a:lstStyle/>
              <a:p>
                <a:endParaRPr lang="en-GB" dirty="0"/>
              </a:p>
            </p:txBody>
          </p:sp>
          <p:sp>
            <p:nvSpPr>
              <p:cNvPr id="723" name="Freihandform: Form 722">
                <a:extLst>
                  <a:ext uri="{FF2B5EF4-FFF2-40B4-BE49-F238E27FC236}">
                    <a16:creationId xmlns:a16="http://schemas.microsoft.com/office/drawing/2014/main" id="{45DDA641-3912-4320-A60F-932423F585C0}"/>
                  </a:ext>
                </a:extLst>
              </p:cNvPr>
              <p:cNvSpPr/>
              <p:nvPr/>
            </p:nvSpPr>
            <p:spPr>
              <a:xfrm>
                <a:off x="7163561" y="2852150"/>
                <a:ext cx="252194" cy="15762"/>
              </a:xfrm>
              <a:custGeom>
                <a:avLst/>
                <a:gdLst>
                  <a:gd name="connsiteX0" fmla="*/ 244313 w 252194"/>
                  <a:gd name="connsiteY0" fmla="*/ 15762 h 15762"/>
                  <a:gd name="connsiteX1" fmla="*/ 7881 w 252194"/>
                  <a:gd name="connsiteY1" fmla="*/ 15762 h 15762"/>
                  <a:gd name="connsiteX2" fmla="*/ 0 w 252194"/>
                  <a:gd name="connsiteY2" fmla="*/ 7881 h 15762"/>
                  <a:gd name="connsiteX3" fmla="*/ 7881 w 252194"/>
                  <a:gd name="connsiteY3" fmla="*/ 0 h 15762"/>
                  <a:gd name="connsiteX4" fmla="*/ 244313 w 252194"/>
                  <a:gd name="connsiteY4" fmla="*/ 0 h 15762"/>
                  <a:gd name="connsiteX5" fmla="*/ 252194 w 252194"/>
                  <a:gd name="connsiteY5" fmla="*/ 7881 h 15762"/>
                  <a:gd name="connsiteX6" fmla="*/ 244313 w 252194"/>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194" h="15762">
                    <a:moveTo>
                      <a:pt x="244313" y="15762"/>
                    </a:moveTo>
                    <a:lnTo>
                      <a:pt x="7881" y="15762"/>
                    </a:lnTo>
                    <a:cubicBezTo>
                      <a:pt x="3521" y="15762"/>
                      <a:pt x="0" y="12241"/>
                      <a:pt x="0" y="7881"/>
                    </a:cubicBezTo>
                    <a:cubicBezTo>
                      <a:pt x="0" y="3521"/>
                      <a:pt x="3521" y="0"/>
                      <a:pt x="7881" y="0"/>
                    </a:cubicBezTo>
                    <a:lnTo>
                      <a:pt x="244313" y="0"/>
                    </a:lnTo>
                    <a:cubicBezTo>
                      <a:pt x="248673" y="0"/>
                      <a:pt x="252194" y="3521"/>
                      <a:pt x="252194" y="7881"/>
                    </a:cubicBezTo>
                    <a:cubicBezTo>
                      <a:pt x="252194" y="12241"/>
                      <a:pt x="248673" y="15762"/>
                      <a:pt x="244313" y="15762"/>
                    </a:cubicBezTo>
                    <a:close/>
                  </a:path>
                </a:pathLst>
              </a:custGeom>
              <a:solidFill>
                <a:schemeClr val="accent1"/>
              </a:solidFill>
              <a:ln w="2392" cap="flat">
                <a:noFill/>
                <a:prstDash val="solid"/>
                <a:miter/>
              </a:ln>
            </p:spPr>
            <p:txBody>
              <a:bodyPr rtlCol="0" anchor="ctr"/>
              <a:lstStyle/>
              <a:p>
                <a:endParaRPr lang="en-GB" dirty="0"/>
              </a:p>
            </p:txBody>
          </p:sp>
          <p:sp>
            <p:nvSpPr>
              <p:cNvPr id="724" name="Freihandform: Form 723">
                <a:extLst>
                  <a:ext uri="{FF2B5EF4-FFF2-40B4-BE49-F238E27FC236}">
                    <a16:creationId xmlns:a16="http://schemas.microsoft.com/office/drawing/2014/main" id="{77612A8C-6D1D-4ABC-9873-B99F10D93109}"/>
                  </a:ext>
                </a:extLst>
              </p:cNvPr>
              <p:cNvSpPr/>
              <p:nvPr/>
            </p:nvSpPr>
            <p:spPr>
              <a:xfrm>
                <a:off x="7163561" y="2907317"/>
                <a:ext cx="252194" cy="15762"/>
              </a:xfrm>
              <a:custGeom>
                <a:avLst/>
                <a:gdLst>
                  <a:gd name="connsiteX0" fmla="*/ 244313 w 252194"/>
                  <a:gd name="connsiteY0" fmla="*/ 15762 h 15762"/>
                  <a:gd name="connsiteX1" fmla="*/ 7881 w 252194"/>
                  <a:gd name="connsiteY1" fmla="*/ 15762 h 15762"/>
                  <a:gd name="connsiteX2" fmla="*/ 0 w 252194"/>
                  <a:gd name="connsiteY2" fmla="*/ 7881 h 15762"/>
                  <a:gd name="connsiteX3" fmla="*/ 7881 w 252194"/>
                  <a:gd name="connsiteY3" fmla="*/ 0 h 15762"/>
                  <a:gd name="connsiteX4" fmla="*/ 244313 w 252194"/>
                  <a:gd name="connsiteY4" fmla="*/ 0 h 15762"/>
                  <a:gd name="connsiteX5" fmla="*/ 252194 w 252194"/>
                  <a:gd name="connsiteY5" fmla="*/ 7881 h 15762"/>
                  <a:gd name="connsiteX6" fmla="*/ 244313 w 252194"/>
                  <a:gd name="connsiteY6" fmla="*/ 15762 h 1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194" h="15762">
                    <a:moveTo>
                      <a:pt x="244313" y="15762"/>
                    </a:moveTo>
                    <a:lnTo>
                      <a:pt x="7881" y="15762"/>
                    </a:lnTo>
                    <a:cubicBezTo>
                      <a:pt x="3521" y="15762"/>
                      <a:pt x="0" y="12241"/>
                      <a:pt x="0" y="7881"/>
                    </a:cubicBezTo>
                    <a:cubicBezTo>
                      <a:pt x="0" y="3521"/>
                      <a:pt x="3521" y="0"/>
                      <a:pt x="7881" y="0"/>
                    </a:cubicBezTo>
                    <a:lnTo>
                      <a:pt x="244313" y="0"/>
                    </a:lnTo>
                    <a:cubicBezTo>
                      <a:pt x="248673" y="0"/>
                      <a:pt x="252194" y="3521"/>
                      <a:pt x="252194" y="7881"/>
                    </a:cubicBezTo>
                    <a:cubicBezTo>
                      <a:pt x="252194" y="12241"/>
                      <a:pt x="248673" y="15762"/>
                      <a:pt x="244313" y="15762"/>
                    </a:cubicBezTo>
                    <a:close/>
                  </a:path>
                </a:pathLst>
              </a:custGeom>
              <a:solidFill>
                <a:schemeClr val="accent1"/>
              </a:solidFill>
              <a:ln w="2392" cap="flat">
                <a:noFill/>
                <a:prstDash val="solid"/>
                <a:miter/>
              </a:ln>
            </p:spPr>
            <p:txBody>
              <a:bodyPr rtlCol="0" anchor="ctr"/>
              <a:lstStyle/>
              <a:p>
                <a:endParaRPr lang="en-GB" dirty="0"/>
              </a:p>
            </p:txBody>
          </p:sp>
        </p:grpSp>
        <p:grpSp>
          <p:nvGrpSpPr>
            <p:cNvPr id="699" name="Gruppieren 698">
              <a:extLst>
                <a:ext uri="{FF2B5EF4-FFF2-40B4-BE49-F238E27FC236}">
                  <a16:creationId xmlns:a16="http://schemas.microsoft.com/office/drawing/2014/main" id="{D89F8ADE-CE06-44C2-ACF0-6CDD2B82C803}"/>
                </a:ext>
              </a:extLst>
            </p:cNvPr>
            <p:cNvGrpSpPr/>
            <p:nvPr/>
          </p:nvGrpSpPr>
          <p:grpSpPr>
            <a:xfrm>
              <a:off x="7068970" y="2481764"/>
              <a:ext cx="441353" cy="575293"/>
              <a:chOff x="7068970" y="2481764"/>
              <a:chExt cx="441353" cy="575293"/>
            </a:xfrm>
          </p:grpSpPr>
          <p:sp>
            <p:nvSpPr>
              <p:cNvPr id="700" name="Freihandform: Form 699">
                <a:extLst>
                  <a:ext uri="{FF2B5EF4-FFF2-40B4-BE49-F238E27FC236}">
                    <a16:creationId xmlns:a16="http://schemas.microsoft.com/office/drawing/2014/main" id="{CD85A565-1C6A-44EC-9975-FD6FC4EDD1B6}"/>
                  </a:ext>
                </a:extLst>
              </p:cNvPr>
              <p:cNvSpPr/>
              <p:nvPr/>
            </p:nvSpPr>
            <p:spPr>
              <a:xfrm>
                <a:off x="7195085" y="2481764"/>
                <a:ext cx="189145" cy="102429"/>
              </a:xfrm>
              <a:custGeom>
                <a:avLst/>
                <a:gdLst>
                  <a:gd name="connsiteX0" fmla="*/ 181265 w 189145"/>
                  <a:gd name="connsiteY0" fmla="*/ 102430 h 102429"/>
                  <a:gd name="connsiteX1" fmla="*/ 7881 w 189145"/>
                  <a:gd name="connsiteY1" fmla="*/ 102430 h 102429"/>
                  <a:gd name="connsiteX2" fmla="*/ 0 w 189145"/>
                  <a:gd name="connsiteY2" fmla="*/ 94549 h 102429"/>
                  <a:gd name="connsiteX3" fmla="*/ 0 w 189145"/>
                  <a:gd name="connsiteY3" fmla="*/ 7881 h 102429"/>
                  <a:gd name="connsiteX4" fmla="*/ 7881 w 189145"/>
                  <a:gd name="connsiteY4" fmla="*/ 0 h 102429"/>
                  <a:gd name="connsiteX5" fmla="*/ 181265 w 189145"/>
                  <a:gd name="connsiteY5" fmla="*/ 0 h 102429"/>
                  <a:gd name="connsiteX6" fmla="*/ 189145 w 189145"/>
                  <a:gd name="connsiteY6" fmla="*/ 7881 h 102429"/>
                  <a:gd name="connsiteX7" fmla="*/ 189145 w 189145"/>
                  <a:gd name="connsiteY7" fmla="*/ 94573 h 102429"/>
                  <a:gd name="connsiteX8" fmla="*/ 181265 w 189145"/>
                  <a:gd name="connsiteY8" fmla="*/ 102430 h 102429"/>
                  <a:gd name="connsiteX9" fmla="*/ 15762 w 189145"/>
                  <a:gd name="connsiteY9" fmla="*/ 86668 h 102429"/>
                  <a:gd name="connsiteX10" fmla="*/ 173383 w 189145"/>
                  <a:gd name="connsiteY10" fmla="*/ 86668 h 102429"/>
                  <a:gd name="connsiteX11" fmla="*/ 173383 w 189145"/>
                  <a:gd name="connsiteY11" fmla="*/ 15738 h 102429"/>
                  <a:gd name="connsiteX12" fmla="*/ 15762 w 189145"/>
                  <a:gd name="connsiteY12" fmla="*/ 15738 h 102429"/>
                  <a:gd name="connsiteX13" fmla="*/ 15762 w 189145"/>
                  <a:gd name="connsiteY13" fmla="*/ 86668 h 102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9145" h="102429">
                    <a:moveTo>
                      <a:pt x="181265" y="102430"/>
                    </a:moveTo>
                    <a:lnTo>
                      <a:pt x="7881" y="102430"/>
                    </a:lnTo>
                    <a:cubicBezTo>
                      <a:pt x="3521" y="102430"/>
                      <a:pt x="0" y="98909"/>
                      <a:pt x="0" y="94549"/>
                    </a:cubicBezTo>
                    <a:lnTo>
                      <a:pt x="0" y="7881"/>
                    </a:lnTo>
                    <a:cubicBezTo>
                      <a:pt x="0" y="3521"/>
                      <a:pt x="3521" y="0"/>
                      <a:pt x="7881" y="0"/>
                    </a:cubicBezTo>
                    <a:lnTo>
                      <a:pt x="181265" y="0"/>
                    </a:lnTo>
                    <a:cubicBezTo>
                      <a:pt x="185624" y="0"/>
                      <a:pt x="189145" y="3521"/>
                      <a:pt x="189145" y="7881"/>
                    </a:cubicBezTo>
                    <a:lnTo>
                      <a:pt x="189145" y="94573"/>
                    </a:lnTo>
                    <a:cubicBezTo>
                      <a:pt x="189145" y="98909"/>
                      <a:pt x="185624" y="102430"/>
                      <a:pt x="181265" y="102430"/>
                    </a:cubicBezTo>
                    <a:close/>
                    <a:moveTo>
                      <a:pt x="15762" y="86668"/>
                    </a:moveTo>
                    <a:lnTo>
                      <a:pt x="173383" y="86668"/>
                    </a:lnTo>
                    <a:lnTo>
                      <a:pt x="173383" y="15738"/>
                    </a:lnTo>
                    <a:lnTo>
                      <a:pt x="15762" y="15738"/>
                    </a:lnTo>
                    <a:lnTo>
                      <a:pt x="15762" y="86668"/>
                    </a:lnTo>
                    <a:close/>
                  </a:path>
                </a:pathLst>
              </a:custGeom>
              <a:solidFill>
                <a:schemeClr val="tx2"/>
              </a:solidFill>
              <a:ln w="2392" cap="flat">
                <a:noFill/>
                <a:prstDash val="solid"/>
                <a:miter/>
              </a:ln>
            </p:spPr>
            <p:txBody>
              <a:bodyPr rtlCol="0" anchor="ctr"/>
              <a:lstStyle/>
              <a:p>
                <a:endParaRPr lang="en-GB" dirty="0"/>
              </a:p>
            </p:txBody>
          </p:sp>
          <p:sp>
            <p:nvSpPr>
              <p:cNvPr id="701" name="Freihandform: Form 700">
                <a:extLst>
                  <a:ext uri="{FF2B5EF4-FFF2-40B4-BE49-F238E27FC236}">
                    <a16:creationId xmlns:a16="http://schemas.microsoft.com/office/drawing/2014/main" id="{859BB4FB-73CD-4BE9-B5D9-A408AAB7BB96}"/>
                  </a:ext>
                </a:extLst>
              </p:cNvPr>
              <p:cNvSpPr/>
              <p:nvPr/>
            </p:nvSpPr>
            <p:spPr>
              <a:xfrm>
                <a:off x="7068988" y="2505383"/>
                <a:ext cx="441315" cy="551674"/>
              </a:xfrm>
              <a:custGeom>
                <a:avLst/>
                <a:gdLst>
                  <a:gd name="connsiteX0" fmla="*/ 433459 w 441315"/>
                  <a:gd name="connsiteY0" fmla="*/ 551675 h 551674"/>
                  <a:gd name="connsiteX1" fmla="*/ 7881 w 441315"/>
                  <a:gd name="connsiteY1" fmla="*/ 551675 h 551674"/>
                  <a:gd name="connsiteX2" fmla="*/ 0 w 441315"/>
                  <a:gd name="connsiteY2" fmla="*/ 543794 h 551674"/>
                  <a:gd name="connsiteX3" fmla="*/ 0 w 441315"/>
                  <a:gd name="connsiteY3" fmla="*/ 7881 h 551674"/>
                  <a:gd name="connsiteX4" fmla="*/ 7881 w 441315"/>
                  <a:gd name="connsiteY4" fmla="*/ 0 h 551674"/>
                  <a:gd name="connsiteX5" fmla="*/ 133978 w 441315"/>
                  <a:gd name="connsiteY5" fmla="*/ 0 h 551674"/>
                  <a:gd name="connsiteX6" fmla="*/ 141859 w 441315"/>
                  <a:gd name="connsiteY6" fmla="*/ 7881 h 551674"/>
                  <a:gd name="connsiteX7" fmla="*/ 133978 w 441315"/>
                  <a:gd name="connsiteY7" fmla="*/ 15762 h 551674"/>
                  <a:gd name="connsiteX8" fmla="*/ 15762 w 441315"/>
                  <a:gd name="connsiteY8" fmla="*/ 15762 h 551674"/>
                  <a:gd name="connsiteX9" fmla="*/ 15762 w 441315"/>
                  <a:gd name="connsiteY9" fmla="*/ 535889 h 551674"/>
                  <a:gd name="connsiteX10" fmla="*/ 425554 w 441315"/>
                  <a:gd name="connsiteY10" fmla="*/ 535889 h 551674"/>
                  <a:gd name="connsiteX11" fmla="*/ 425554 w 441315"/>
                  <a:gd name="connsiteY11" fmla="*/ 15762 h 551674"/>
                  <a:gd name="connsiteX12" fmla="*/ 307338 w 441315"/>
                  <a:gd name="connsiteY12" fmla="*/ 15762 h 551674"/>
                  <a:gd name="connsiteX13" fmla="*/ 299457 w 441315"/>
                  <a:gd name="connsiteY13" fmla="*/ 7881 h 551674"/>
                  <a:gd name="connsiteX14" fmla="*/ 307338 w 441315"/>
                  <a:gd name="connsiteY14" fmla="*/ 0 h 551674"/>
                  <a:gd name="connsiteX15" fmla="*/ 433435 w 441315"/>
                  <a:gd name="connsiteY15" fmla="*/ 0 h 551674"/>
                  <a:gd name="connsiteX16" fmla="*/ 441316 w 441315"/>
                  <a:gd name="connsiteY16" fmla="*/ 7881 h 551674"/>
                  <a:gd name="connsiteX17" fmla="*/ 441316 w 441315"/>
                  <a:gd name="connsiteY17" fmla="*/ 543770 h 551674"/>
                  <a:gd name="connsiteX18" fmla="*/ 433459 w 441315"/>
                  <a:gd name="connsiteY18" fmla="*/ 551675 h 55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41315" h="551674">
                    <a:moveTo>
                      <a:pt x="433459" y="551675"/>
                    </a:moveTo>
                    <a:lnTo>
                      <a:pt x="7881" y="551675"/>
                    </a:lnTo>
                    <a:cubicBezTo>
                      <a:pt x="3521" y="551675"/>
                      <a:pt x="0" y="548153"/>
                      <a:pt x="0" y="543794"/>
                    </a:cubicBezTo>
                    <a:lnTo>
                      <a:pt x="0" y="7881"/>
                    </a:lnTo>
                    <a:cubicBezTo>
                      <a:pt x="0" y="3521"/>
                      <a:pt x="3521" y="0"/>
                      <a:pt x="7881" y="0"/>
                    </a:cubicBezTo>
                    <a:lnTo>
                      <a:pt x="133978" y="0"/>
                    </a:lnTo>
                    <a:cubicBezTo>
                      <a:pt x="138338" y="0"/>
                      <a:pt x="141859" y="3521"/>
                      <a:pt x="141859" y="7881"/>
                    </a:cubicBezTo>
                    <a:cubicBezTo>
                      <a:pt x="141859" y="12241"/>
                      <a:pt x="138338" y="15762"/>
                      <a:pt x="133978" y="15762"/>
                    </a:cubicBezTo>
                    <a:lnTo>
                      <a:pt x="15762" y="15762"/>
                    </a:lnTo>
                    <a:lnTo>
                      <a:pt x="15762" y="535889"/>
                    </a:lnTo>
                    <a:lnTo>
                      <a:pt x="425554" y="535889"/>
                    </a:lnTo>
                    <a:lnTo>
                      <a:pt x="425554" y="15762"/>
                    </a:lnTo>
                    <a:lnTo>
                      <a:pt x="307338" y="15762"/>
                    </a:lnTo>
                    <a:cubicBezTo>
                      <a:pt x="302978" y="15762"/>
                      <a:pt x="299457" y="12241"/>
                      <a:pt x="299457" y="7881"/>
                    </a:cubicBezTo>
                    <a:cubicBezTo>
                      <a:pt x="299457" y="3521"/>
                      <a:pt x="302978" y="0"/>
                      <a:pt x="307338" y="0"/>
                    </a:cubicBezTo>
                    <a:lnTo>
                      <a:pt x="433435" y="0"/>
                    </a:lnTo>
                    <a:cubicBezTo>
                      <a:pt x="437794" y="0"/>
                      <a:pt x="441316" y="3521"/>
                      <a:pt x="441316" y="7881"/>
                    </a:cubicBezTo>
                    <a:lnTo>
                      <a:pt x="441316" y="543770"/>
                    </a:lnTo>
                    <a:cubicBezTo>
                      <a:pt x="441340" y="548153"/>
                      <a:pt x="437818" y="551675"/>
                      <a:pt x="433459" y="551675"/>
                    </a:cubicBezTo>
                    <a:close/>
                  </a:path>
                </a:pathLst>
              </a:custGeom>
              <a:solidFill>
                <a:schemeClr val="tx2"/>
              </a:solidFill>
              <a:ln w="2392" cap="flat">
                <a:noFill/>
                <a:prstDash val="solid"/>
                <a:miter/>
              </a:ln>
            </p:spPr>
            <p:txBody>
              <a:bodyPr rtlCol="0" anchor="ctr"/>
              <a:lstStyle/>
              <a:p>
                <a:endParaRPr lang="en-GB" dirty="0"/>
              </a:p>
            </p:txBody>
          </p:sp>
          <p:sp>
            <p:nvSpPr>
              <p:cNvPr id="702" name="Freihandform: Form 701">
                <a:extLst>
                  <a:ext uri="{FF2B5EF4-FFF2-40B4-BE49-F238E27FC236}">
                    <a16:creationId xmlns:a16="http://schemas.microsoft.com/office/drawing/2014/main" id="{5846B7AF-5C93-4ADC-B801-EA1527FBF061}"/>
                  </a:ext>
                </a:extLst>
              </p:cNvPr>
              <p:cNvSpPr/>
              <p:nvPr/>
            </p:nvSpPr>
            <p:spPr>
              <a:xfrm>
                <a:off x="7147780" y="3001872"/>
                <a:ext cx="55203" cy="55185"/>
              </a:xfrm>
              <a:custGeom>
                <a:avLst/>
                <a:gdLst>
                  <a:gd name="connsiteX0" fmla="*/ 7899 w 55203"/>
                  <a:gd name="connsiteY0" fmla="*/ 55185 h 55185"/>
                  <a:gd name="connsiteX1" fmla="*/ 2318 w 55203"/>
                  <a:gd name="connsiteY1" fmla="*/ 52886 h 55185"/>
                  <a:gd name="connsiteX2" fmla="*/ 2318 w 55203"/>
                  <a:gd name="connsiteY2" fmla="*/ 41747 h 55185"/>
                  <a:gd name="connsiteX3" fmla="*/ 41747 w 55203"/>
                  <a:gd name="connsiteY3" fmla="*/ 2318 h 55185"/>
                  <a:gd name="connsiteX4" fmla="*/ 52886 w 55203"/>
                  <a:gd name="connsiteY4" fmla="*/ 2318 h 55185"/>
                  <a:gd name="connsiteX5" fmla="*/ 52886 w 55203"/>
                  <a:gd name="connsiteY5" fmla="*/ 13457 h 55185"/>
                  <a:gd name="connsiteX6" fmla="*/ 13480 w 55203"/>
                  <a:gd name="connsiteY6" fmla="*/ 52862 h 55185"/>
                  <a:gd name="connsiteX7" fmla="*/ 7899 w 55203"/>
                  <a:gd name="connsiteY7" fmla="*/ 55185 h 5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203" h="55185">
                    <a:moveTo>
                      <a:pt x="7899" y="55185"/>
                    </a:moveTo>
                    <a:cubicBezTo>
                      <a:pt x="5887" y="55185"/>
                      <a:pt x="3875" y="54419"/>
                      <a:pt x="2318" y="52886"/>
                    </a:cubicBezTo>
                    <a:cubicBezTo>
                      <a:pt x="-773" y="49796"/>
                      <a:pt x="-773" y="44813"/>
                      <a:pt x="2318" y="41747"/>
                    </a:cubicBezTo>
                    <a:lnTo>
                      <a:pt x="41747" y="2318"/>
                    </a:lnTo>
                    <a:cubicBezTo>
                      <a:pt x="44813" y="-773"/>
                      <a:pt x="49820" y="-773"/>
                      <a:pt x="52886" y="2318"/>
                    </a:cubicBezTo>
                    <a:cubicBezTo>
                      <a:pt x="55976" y="5408"/>
                      <a:pt x="55976" y="10390"/>
                      <a:pt x="52886" y="13457"/>
                    </a:cubicBezTo>
                    <a:lnTo>
                      <a:pt x="13480" y="52862"/>
                    </a:lnTo>
                    <a:cubicBezTo>
                      <a:pt x="11947" y="54419"/>
                      <a:pt x="9911" y="55185"/>
                      <a:pt x="7899" y="55185"/>
                    </a:cubicBezTo>
                    <a:close/>
                  </a:path>
                </a:pathLst>
              </a:custGeom>
              <a:solidFill>
                <a:schemeClr val="tx2"/>
              </a:solidFill>
              <a:ln w="2392" cap="flat">
                <a:noFill/>
                <a:prstDash val="solid"/>
                <a:miter/>
              </a:ln>
            </p:spPr>
            <p:txBody>
              <a:bodyPr rtlCol="0" anchor="ctr"/>
              <a:lstStyle/>
              <a:p>
                <a:endParaRPr lang="en-GB" dirty="0"/>
              </a:p>
            </p:txBody>
          </p:sp>
          <p:sp>
            <p:nvSpPr>
              <p:cNvPr id="703" name="Freihandform: Form 702">
                <a:extLst>
                  <a:ext uri="{FF2B5EF4-FFF2-40B4-BE49-F238E27FC236}">
                    <a16:creationId xmlns:a16="http://schemas.microsoft.com/office/drawing/2014/main" id="{7292BA88-44D1-438F-A317-ABB32D38734D}"/>
                  </a:ext>
                </a:extLst>
              </p:cNvPr>
              <p:cNvSpPr/>
              <p:nvPr/>
            </p:nvSpPr>
            <p:spPr>
              <a:xfrm>
                <a:off x="7242353" y="3001872"/>
                <a:ext cx="55179" cy="55185"/>
              </a:xfrm>
              <a:custGeom>
                <a:avLst/>
                <a:gdLst>
                  <a:gd name="connsiteX0" fmla="*/ 7899 w 55179"/>
                  <a:gd name="connsiteY0" fmla="*/ 55185 h 55185"/>
                  <a:gd name="connsiteX1" fmla="*/ 2318 w 55179"/>
                  <a:gd name="connsiteY1" fmla="*/ 52886 h 55185"/>
                  <a:gd name="connsiteX2" fmla="*/ 2318 w 55179"/>
                  <a:gd name="connsiteY2" fmla="*/ 41747 h 55185"/>
                  <a:gd name="connsiteX3" fmla="*/ 41723 w 55179"/>
                  <a:gd name="connsiteY3" fmla="*/ 2318 h 55185"/>
                  <a:gd name="connsiteX4" fmla="*/ 52862 w 55179"/>
                  <a:gd name="connsiteY4" fmla="*/ 2318 h 55185"/>
                  <a:gd name="connsiteX5" fmla="*/ 52862 w 55179"/>
                  <a:gd name="connsiteY5" fmla="*/ 13457 h 55185"/>
                  <a:gd name="connsiteX6" fmla="*/ 13457 w 55179"/>
                  <a:gd name="connsiteY6" fmla="*/ 52862 h 55185"/>
                  <a:gd name="connsiteX7" fmla="*/ 7899 w 55179"/>
                  <a:gd name="connsiteY7" fmla="*/ 55185 h 55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79" h="55185">
                    <a:moveTo>
                      <a:pt x="7899" y="55185"/>
                    </a:moveTo>
                    <a:cubicBezTo>
                      <a:pt x="5887" y="55185"/>
                      <a:pt x="3875" y="54419"/>
                      <a:pt x="2318" y="52886"/>
                    </a:cubicBezTo>
                    <a:cubicBezTo>
                      <a:pt x="-773" y="49796"/>
                      <a:pt x="-773" y="44813"/>
                      <a:pt x="2318" y="41747"/>
                    </a:cubicBezTo>
                    <a:lnTo>
                      <a:pt x="41723" y="2318"/>
                    </a:lnTo>
                    <a:cubicBezTo>
                      <a:pt x="44789" y="-773"/>
                      <a:pt x="49796" y="-773"/>
                      <a:pt x="52862" y="2318"/>
                    </a:cubicBezTo>
                    <a:cubicBezTo>
                      <a:pt x="55952" y="5408"/>
                      <a:pt x="55952" y="10390"/>
                      <a:pt x="52862" y="13457"/>
                    </a:cubicBezTo>
                    <a:lnTo>
                      <a:pt x="13457" y="52862"/>
                    </a:lnTo>
                    <a:cubicBezTo>
                      <a:pt x="11923" y="54419"/>
                      <a:pt x="9911" y="55185"/>
                      <a:pt x="7899" y="55185"/>
                    </a:cubicBezTo>
                    <a:close/>
                  </a:path>
                </a:pathLst>
              </a:custGeom>
              <a:solidFill>
                <a:schemeClr val="tx2"/>
              </a:solidFill>
              <a:ln w="2392" cap="flat">
                <a:noFill/>
                <a:prstDash val="solid"/>
                <a:miter/>
              </a:ln>
            </p:spPr>
            <p:txBody>
              <a:bodyPr rtlCol="0" anchor="ctr"/>
              <a:lstStyle/>
              <a:p>
                <a:endParaRPr lang="en-GB" dirty="0"/>
              </a:p>
            </p:txBody>
          </p:sp>
          <p:sp>
            <p:nvSpPr>
              <p:cNvPr id="704" name="Freihandform: Form 703">
                <a:extLst>
                  <a:ext uri="{FF2B5EF4-FFF2-40B4-BE49-F238E27FC236}">
                    <a16:creationId xmlns:a16="http://schemas.microsoft.com/office/drawing/2014/main" id="{CDF3A738-084B-4489-8C38-AC131B3C9860}"/>
                  </a:ext>
                </a:extLst>
              </p:cNvPr>
              <p:cNvSpPr/>
              <p:nvPr/>
            </p:nvSpPr>
            <p:spPr>
              <a:xfrm>
                <a:off x="7336926" y="3001896"/>
                <a:ext cx="55179" cy="55161"/>
              </a:xfrm>
              <a:custGeom>
                <a:avLst/>
                <a:gdLst>
                  <a:gd name="connsiteX0" fmla="*/ 7899 w 55179"/>
                  <a:gd name="connsiteY0" fmla="*/ 55162 h 55161"/>
                  <a:gd name="connsiteX1" fmla="*/ 2318 w 55179"/>
                  <a:gd name="connsiteY1" fmla="*/ 52862 h 55161"/>
                  <a:gd name="connsiteX2" fmla="*/ 2318 w 55179"/>
                  <a:gd name="connsiteY2" fmla="*/ 41723 h 55161"/>
                  <a:gd name="connsiteX3" fmla="*/ 41723 w 55179"/>
                  <a:gd name="connsiteY3" fmla="*/ 2318 h 55161"/>
                  <a:gd name="connsiteX4" fmla="*/ 52862 w 55179"/>
                  <a:gd name="connsiteY4" fmla="*/ 2318 h 55161"/>
                  <a:gd name="connsiteX5" fmla="*/ 52862 w 55179"/>
                  <a:gd name="connsiteY5" fmla="*/ 13456 h 55161"/>
                  <a:gd name="connsiteX6" fmla="*/ 13457 w 55179"/>
                  <a:gd name="connsiteY6" fmla="*/ 52862 h 55161"/>
                  <a:gd name="connsiteX7" fmla="*/ 7899 w 55179"/>
                  <a:gd name="connsiteY7" fmla="*/ 55162 h 5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79" h="55161">
                    <a:moveTo>
                      <a:pt x="7899" y="55162"/>
                    </a:moveTo>
                    <a:cubicBezTo>
                      <a:pt x="5887" y="55162"/>
                      <a:pt x="3875" y="54395"/>
                      <a:pt x="2318" y="52862"/>
                    </a:cubicBezTo>
                    <a:cubicBezTo>
                      <a:pt x="-773" y="49772"/>
                      <a:pt x="-773" y="44789"/>
                      <a:pt x="2318" y="41723"/>
                    </a:cubicBezTo>
                    <a:lnTo>
                      <a:pt x="41723" y="2318"/>
                    </a:lnTo>
                    <a:cubicBezTo>
                      <a:pt x="44813" y="-773"/>
                      <a:pt x="49796" y="-773"/>
                      <a:pt x="52862" y="2318"/>
                    </a:cubicBezTo>
                    <a:cubicBezTo>
                      <a:pt x="55952" y="5408"/>
                      <a:pt x="55952" y="10390"/>
                      <a:pt x="52862" y="13456"/>
                    </a:cubicBezTo>
                    <a:lnTo>
                      <a:pt x="13457" y="52862"/>
                    </a:lnTo>
                    <a:cubicBezTo>
                      <a:pt x="11923" y="54395"/>
                      <a:pt x="9911" y="55162"/>
                      <a:pt x="7899" y="55162"/>
                    </a:cubicBezTo>
                    <a:close/>
                  </a:path>
                </a:pathLst>
              </a:custGeom>
              <a:solidFill>
                <a:schemeClr val="tx2"/>
              </a:solidFill>
              <a:ln w="2392" cap="flat">
                <a:noFill/>
                <a:prstDash val="solid"/>
                <a:miter/>
              </a:ln>
            </p:spPr>
            <p:txBody>
              <a:bodyPr rtlCol="0" anchor="ctr"/>
              <a:lstStyle/>
              <a:p>
                <a:endParaRPr lang="en-GB" dirty="0"/>
              </a:p>
            </p:txBody>
          </p:sp>
          <p:sp>
            <p:nvSpPr>
              <p:cNvPr id="705" name="Freihandform: Form 704">
                <a:extLst>
                  <a:ext uri="{FF2B5EF4-FFF2-40B4-BE49-F238E27FC236}">
                    <a16:creationId xmlns:a16="http://schemas.microsoft.com/office/drawing/2014/main" id="{42753073-5862-4F9A-80F2-293A0DFDA3FA}"/>
                  </a:ext>
                </a:extLst>
              </p:cNvPr>
              <p:cNvSpPr/>
              <p:nvPr/>
            </p:nvSpPr>
            <p:spPr>
              <a:xfrm>
                <a:off x="7392094" y="2505389"/>
                <a:ext cx="55179" cy="55161"/>
              </a:xfrm>
              <a:custGeom>
                <a:avLst/>
                <a:gdLst>
                  <a:gd name="connsiteX0" fmla="*/ 7899 w 55179"/>
                  <a:gd name="connsiteY0" fmla="*/ 55161 h 55161"/>
                  <a:gd name="connsiteX1" fmla="*/ 2317 w 55179"/>
                  <a:gd name="connsiteY1" fmla="*/ 52862 h 55161"/>
                  <a:gd name="connsiteX2" fmla="*/ 2317 w 55179"/>
                  <a:gd name="connsiteY2" fmla="*/ 41723 h 55161"/>
                  <a:gd name="connsiteX3" fmla="*/ 41723 w 55179"/>
                  <a:gd name="connsiteY3" fmla="*/ 2318 h 55161"/>
                  <a:gd name="connsiteX4" fmla="*/ 52862 w 55179"/>
                  <a:gd name="connsiteY4" fmla="*/ 2318 h 55161"/>
                  <a:gd name="connsiteX5" fmla="*/ 52862 w 55179"/>
                  <a:gd name="connsiteY5" fmla="*/ 13457 h 55161"/>
                  <a:gd name="connsiteX6" fmla="*/ 13456 w 55179"/>
                  <a:gd name="connsiteY6" fmla="*/ 52862 h 55161"/>
                  <a:gd name="connsiteX7" fmla="*/ 7899 w 55179"/>
                  <a:gd name="connsiteY7" fmla="*/ 55161 h 5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79" h="55161">
                    <a:moveTo>
                      <a:pt x="7899" y="55161"/>
                    </a:moveTo>
                    <a:cubicBezTo>
                      <a:pt x="5887" y="55161"/>
                      <a:pt x="3875" y="54395"/>
                      <a:pt x="2317" y="52862"/>
                    </a:cubicBezTo>
                    <a:cubicBezTo>
                      <a:pt x="-772" y="49772"/>
                      <a:pt x="-772" y="44789"/>
                      <a:pt x="2317" y="41723"/>
                    </a:cubicBezTo>
                    <a:lnTo>
                      <a:pt x="41723" y="2318"/>
                    </a:lnTo>
                    <a:cubicBezTo>
                      <a:pt x="44813" y="-773"/>
                      <a:pt x="49796" y="-773"/>
                      <a:pt x="52862" y="2318"/>
                    </a:cubicBezTo>
                    <a:cubicBezTo>
                      <a:pt x="55952" y="5408"/>
                      <a:pt x="55952" y="10390"/>
                      <a:pt x="52862" y="13457"/>
                    </a:cubicBezTo>
                    <a:lnTo>
                      <a:pt x="13456" y="52862"/>
                    </a:lnTo>
                    <a:cubicBezTo>
                      <a:pt x="11923" y="54395"/>
                      <a:pt x="9911" y="55161"/>
                      <a:pt x="7899" y="55161"/>
                    </a:cubicBezTo>
                    <a:close/>
                  </a:path>
                </a:pathLst>
              </a:custGeom>
              <a:solidFill>
                <a:schemeClr val="tx2"/>
              </a:solidFill>
              <a:ln w="2392" cap="flat">
                <a:noFill/>
                <a:prstDash val="solid"/>
                <a:miter/>
              </a:ln>
            </p:spPr>
            <p:txBody>
              <a:bodyPr rtlCol="0" anchor="ctr"/>
              <a:lstStyle/>
              <a:p>
                <a:endParaRPr lang="en-GB" dirty="0"/>
              </a:p>
            </p:txBody>
          </p:sp>
          <p:sp>
            <p:nvSpPr>
              <p:cNvPr id="706" name="Freihandform: Form 705">
                <a:extLst>
                  <a:ext uri="{FF2B5EF4-FFF2-40B4-BE49-F238E27FC236}">
                    <a16:creationId xmlns:a16="http://schemas.microsoft.com/office/drawing/2014/main" id="{98C09747-0F9B-4CB5-85B7-5797B239A663}"/>
                  </a:ext>
                </a:extLst>
              </p:cNvPr>
              <p:cNvSpPr/>
              <p:nvPr/>
            </p:nvSpPr>
            <p:spPr>
              <a:xfrm>
                <a:off x="7163543" y="2513270"/>
                <a:ext cx="47298" cy="47280"/>
              </a:xfrm>
              <a:custGeom>
                <a:avLst/>
                <a:gdLst>
                  <a:gd name="connsiteX0" fmla="*/ 7899 w 47298"/>
                  <a:gd name="connsiteY0" fmla="*/ 47280 h 47280"/>
                  <a:gd name="connsiteX1" fmla="*/ 2318 w 47298"/>
                  <a:gd name="connsiteY1" fmla="*/ 44981 h 47280"/>
                  <a:gd name="connsiteX2" fmla="*/ 2318 w 47298"/>
                  <a:gd name="connsiteY2" fmla="*/ 33842 h 47280"/>
                  <a:gd name="connsiteX3" fmla="*/ 33842 w 47298"/>
                  <a:gd name="connsiteY3" fmla="*/ 2318 h 47280"/>
                  <a:gd name="connsiteX4" fmla="*/ 44981 w 47298"/>
                  <a:gd name="connsiteY4" fmla="*/ 2318 h 47280"/>
                  <a:gd name="connsiteX5" fmla="*/ 44981 w 47298"/>
                  <a:gd name="connsiteY5" fmla="*/ 13457 h 47280"/>
                  <a:gd name="connsiteX6" fmla="*/ 13457 w 47298"/>
                  <a:gd name="connsiteY6" fmla="*/ 44981 h 47280"/>
                  <a:gd name="connsiteX7" fmla="*/ 7899 w 47298"/>
                  <a:gd name="connsiteY7" fmla="*/ 47280 h 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298" h="47280">
                    <a:moveTo>
                      <a:pt x="7899" y="47280"/>
                    </a:moveTo>
                    <a:cubicBezTo>
                      <a:pt x="5887" y="47280"/>
                      <a:pt x="3875" y="46514"/>
                      <a:pt x="2318" y="44981"/>
                    </a:cubicBezTo>
                    <a:cubicBezTo>
                      <a:pt x="-773" y="41891"/>
                      <a:pt x="-773" y="36908"/>
                      <a:pt x="2318" y="33842"/>
                    </a:cubicBezTo>
                    <a:lnTo>
                      <a:pt x="33842" y="2318"/>
                    </a:lnTo>
                    <a:cubicBezTo>
                      <a:pt x="36908" y="-773"/>
                      <a:pt x="41915" y="-773"/>
                      <a:pt x="44981" y="2318"/>
                    </a:cubicBezTo>
                    <a:cubicBezTo>
                      <a:pt x="48071" y="5408"/>
                      <a:pt x="48071" y="10390"/>
                      <a:pt x="44981" y="13457"/>
                    </a:cubicBezTo>
                    <a:lnTo>
                      <a:pt x="13457" y="44981"/>
                    </a:lnTo>
                    <a:cubicBezTo>
                      <a:pt x="11947" y="46514"/>
                      <a:pt x="9911" y="47280"/>
                      <a:pt x="7899" y="47280"/>
                    </a:cubicBezTo>
                    <a:close/>
                  </a:path>
                </a:pathLst>
              </a:custGeom>
              <a:solidFill>
                <a:schemeClr val="tx2"/>
              </a:solidFill>
              <a:ln w="2392" cap="flat">
                <a:noFill/>
                <a:prstDash val="solid"/>
                <a:miter/>
              </a:ln>
            </p:spPr>
            <p:txBody>
              <a:bodyPr rtlCol="0" anchor="ctr"/>
              <a:lstStyle/>
              <a:p>
                <a:endParaRPr lang="en-GB" dirty="0"/>
              </a:p>
            </p:txBody>
          </p:sp>
          <p:sp>
            <p:nvSpPr>
              <p:cNvPr id="707" name="Freihandform: Form 706">
                <a:extLst>
                  <a:ext uri="{FF2B5EF4-FFF2-40B4-BE49-F238E27FC236}">
                    <a16:creationId xmlns:a16="http://schemas.microsoft.com/office/drawing/2014/main" id="{0CA8C003-FD4B-4D2D-92F9-8E21557627D5}"/>
                  </a:ext>
                </a:extLst>
              </p:cNvPr>
              <p:cNvSpPr/>
              <p:nvPr/>
            </p:nvSpPr>
            <p:spPr>
              <a:xfrm>
                <a:off x="7431499" y="2978253"/>
                <a:ext cx="78822" cy="78804"/>
              </a:xfrm>
              <a:custGeom>
                <a:avLst/>
                <a:gdLst>
                  <a:gd name="connsiteX0" fmla="*/ 7899 w 78822"/>
                  <a:gd name="connsiteY0" fmla="*/ 78805 h 78804"/>
                  <a:gd name="connsiteX1" fmla="*/ 2318 w 78822"/>
                  <a:gd name="connsiteY1" fmla="*/ 76505 h 78804"/>
                  <a:gd name="connsiteX2" fmla="*/ 2318 w 78822"/>
                  <a:gd name="connsiteY2" fmla="*/ 65366 h 78804"/>
                  <a:gd name="connsiteX3" fmla="*/ 65366 w 78822"/>
                  <a:gd name="connsiteY3" fmla="*/ 2318 h 78804"/>
                  <a:gd name="connsiteX4" fmla="*/ 76505 w 78822"/>
                  <a:gd name="connsiteY4" fmla="*/ 2318 h 78804"/>
                  <a:gd name="connsiteX5" fmla="*/ 76505 w 78822"/>
                  <a:gd name="connsiteY5" fmla="*/ 13456 h 78804"/>
                  <a:gd name="connsiteX6" fmla="*/ 13457 w 78822"/>
                  <a:gd name="connsiteY6" fmla="*/ 76505 h 78804"/>
                  <a:gd name="connsiteX7" fmla="*/ 7899 w 78822"/>
                  <a:gd name="connsiteY7" fmla="*/ 78805 h 7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22" h="78804">
                    <a:moveTo>
                      <a:pt x="7899" y="78805"/>
                    </a:moveTo>
                    <a:cubicBezTo>
                      <a:pt x="5887" y="78805"/>
                      <a:pt x="3875" y="78038"/>
                      <a:pt x="2318" y="76505"/>
                    </a:cubicBezTo>
                    <a:cubicBezTo>
                      <a:pt x="-773" y="73415"/>
                      <a:pt x="-773" y="68432"/>
                      <a:pt x="2318" y="65366"/>
                    </a:cubicBezTo>
                    <a:lnTo>
                      <a:pt x="65366" y="2318"/>
                    </a:lnTo>
                    <a:cubicBezTo>
                      <a:pt x="68456" y="-773"/>
                      <a:pt x="73439" y="-773"/>
                      <a:pt x="76505" y="2318"/>
                    </a:cubicBezTo>
                    <a:cubicBezTo>
                      <a:pt x="79595" y="5408"/>
                      <a:pt x="79595" y="10390"/>
                      <a:pt x="76505" y="13456"/>
                    </a:cubicBezTo>
                    <a:lnTo>
                      <a:pt x="13457" y="76505"/>
                    </a:lnTo>
                    <a:cubicBezTo>
                      <a:pt x="11924" y="78038"/>
                      <a:pt x="9911" y="78805"/>
                      <a:pt x="7899" y="78805"/>
                    </a:cubicBezTo>
                    <a:close/>
                  </a:path>
                </a:pathLst>
              </a:custGeom>
              <a:solidFill>
                <a:schemeClr val="tx2"/>
              </a:solidFill>
              <a:ln w="2392" cap="flat">
                <a:noFill/>
                <a:prstDash val="solid"/>
                <a:miter/>
              </a:ln>
            </p:spPr>
            <p:txBody>
              <a:bodyPr rtlCol="0" anchor="ctr"/>
              <a:lstStyle/>
              <a:p>
                <a:endParaRPr lang="en-GB" dirty="0"/>
              </a:p>
            </p:txBody>
          </p:sp>
          <p:sp>
            <p:nvSpPr>
              <p:cNvPr id="708" name="Freihandform: Form 707">
                <a:extLst>
                  <a:ext uri="{FF2B5EF4-FFF2-40B4-BE49-F238E27FC236}">
                    <a16:creationId xmlns:a16="http://schemas.microsoft.com/office/drawing/2014/main" id="{596C17ED-8D77-4661-AF31-BF2D84AC6465}"/>
                  </a:ext>
                </a:extLst>
              </p:cNvPr>
              <p:cNvSpPr/>
              <p:nvPr/>
            </p:nvSpPr>
            <p:spPr>
              <a:xfrm>
                <a:off x="7068970" y="2986134"/>
                <a:ext cx="55179" cy="55161"/>
              </a:xfrm>
              <a:custGeom>
                <a:avLst/>
                <a:gdLst>
                  <a:gd name="connsiteX0" fmla="*/ 7899 w 55179"/>
                  <a:gd name="connsiteY0" fmla="*/ 55161 h 55161"/>
                  <a:gd name="connsiteX1" fmla="*/ 2318 w 55179"/>
                  <a:gd name="connsiteY1" fmla="*/ 52862 h 55161"/>
                  <a:gd name="connsiteX2" fmla="*/ 2318 w 55179"/>
                  <a:gd name="connsiteY2" fmla="*/ 41723 h 55161"/>
                  <a:gd name="connsiteX3" fmla="*/ 41723 w 55179"/>
                  <a:gd name="connsiteY3" fmla="*/ 2318 h 55161"/>
                  <a:gd name="connsiteX4" fmla="*/ 52862 w 55179"/>
                  <a:gd name="connsiteY4" fmla="*/ 2318 h 55161"/>
                  <a:gd name="connsiteX5" fmla="*/ 52862 w 55179"/>
                  <a:gd name="connsiteY5" fmla="*/ 13457 h 55161"/>
                  <a:gd name="connsiteX6" fmla="*/ 13457 w 55179"/>
                  <a:gd name="connsiteY6" fmla="*/ 52862 h 55161"/>
                  <a:gd name="connsiteX7" fmla="*/ 7899 w 55179"/>
                  <a:gd name="connsiteY7" fmla="*/ 55161 h 5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79" h="55161">
                    <a:moveTo>
                      <a:pt x="7899" y="55161"/>
                    </a:moveTo>
                    <a:cubicBezTo>
                      <a:pt x="5887" y="55161"/>
                      <a:pt x="3875" y="54395"/>
                      <a:pt x="2318" y="52862"/>
                    </a:cubicBezTo>
                    <a:cubicBezTo>
                      <a:pt x="-773" y="49772"/>
                      <a:pt x="-773" y="44789"/>
                      <a:pt x="2318" y="41723"/>
                    </a:cubicBezTo>
                    <a:lnTo>
                      <a:pt x="41723" y="2318"/>
                    </a:lnTo>
                    <a:cubicBezTo>
                      <a:pt x="44813" y="-773"/>
                      <a:pt x="49796" y="-773"/>
                      <a:pt x="52862" y="2318"/>
                    </a:cubicBezTo>
                    <a:cubicBezTo>
                      <a:pt x="55952" y="5408"/>
                      <a:pt x="55952" y="10390"/>
                      <a:pt x="52862" y="13457"/>
                    </a:cubicBezTo>
                    <a:lnTo>
                      <a:pt x="13457" y="52862"/>
                    </a:lnTo>
                    <a:cubicBezTo>
                      <a:pt x="11947" y="54395"/>
                      <a:pt x="9911" y="55161"/>
                      <a:pt x="7899" y="55161"/>
                    </a:cubicBezTo>
                    <a:close/>
                  </a:path>
                </a:pathLst>
              </a:custGeom>
              <a:solidFill>
                <a:schemeClr val="tx2"/>
              </a:solidFill>
              <a:ln w="2392" cap="flat">
                <a:noFill/>
                <a:prstDash val="solid"/>
                <a:miter/>
              </a:ln>
            </p:spPr>
            <p:txBody>
              <a:bodyPr rtlCol="0" anchor="ctr"/>
              <a:lstStyle/>
              <a:p>
                <a:endParaRPr lang="en-GB" dirty="0"/>
              </a:p>
            </p:txBody>
          </p:sp>
          <p:sp>
            <p:nvSpPr>
              <p:cNvPr id="709" name="Freihandform: Form 708">
                <a:extLst>
                  <a:ext uri="{FF2B5EF4-FFF2-40B4-BE49-F238E27FC236}">
                    <a16:creationId xmlns:a16="http://schemas.microsoft.com/office/drawing/2014/main" id="{EDD6AD8F-2355-4E21-B6C5-B8F138181159}"/>
                  </a:ext>
                </a:extLst>
              </p:cNvPr>
              <p:cNvSpPr/>
              <p:nvPr/>
            </p:nvSpPr>
            <p:spPr>
              <a:xfrm>
                <a:off x="7068970" y="2899442"/>
                <a:ext cx="55179" cy="55161"/>
              </a:xfrm>
              <a:custGeom>
                <a:avLst/>
                <a:gdLst>
                  <a:gd name="connsiteX0" fmla="*/ 7899 w 55179"/>
                  <a:gd name="connsiteY0" fmla="*/ 55161 h 55161"/>
                  <a:gd name="connsiteX1" fmla="*/ 2318 w 55179"/>
                  <a:gd name="connsiteY1" fmla="*/ 52862 h 55161"/>
                  <a:gd name="connsiteX2" fmla="*/ 2318 w 55179"/>
                  <a:gd name="connsiteY2" fmla="*/ 41723 h 55161"/>
                  <a:gd name="connsiteX3" fmla="*/ 41723 w 55179"/>
                  <a:gd name="connsiteY3" fmla="*/ 2318 h 55161"/>
                  <a:gd name="connsiteX4" fmla="*/ 52862 w 55179"/>
                  <a:gd name="connsiteY4" fmla="*/ 2318 h 55161"/>
                  <a:gd name="connsiteX5" fmla="*/ 52862 w 55179"/>
                  <a:gd name="connsiteY5" fmla="*/ 13457 h 55161"/>
                  <a:gd name="connsiteX6" fmla="*/ 13457 w 55179"/>
                  <a:gd name="connsiteY6" fmla="*/ 52862 h 55161"/>
                  <a:gd name="connsiteX7" fmla="*/ 7899 w 55179"/>
                  <a:gd name="connsiteY7" fmla="*/ 55161 h 5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79" h="55161">
                    <a:moveTo>
                      <a:pt x="7899" y="55161"/>
                    </a:moveTo>
                    <a:cubicBezTo>
                      <a:pt x="5887" y="55161"/>
                      <a:pt x="3875" y="54395"/>
                      <a:pt x="2318" y="52862"/>
                    </a:cubicBezTo>
                    <a:cubicBezTo>
                      <a:pt x="-773" y="49772"/>
                      <a:pt x="-773" y="44789"/>
                      <a:pt x="2318" y="41723"/>
                    </a:cubicBezTo>
                    <a:lnTo>
                      <a:pt x="41723" y="2318"/>
                    </a:lnTo>
                    <a:cubicBezTo>
                      <a:pt x="44813" y="-773"/>
                      <a:pt x="49796" y="-773"/>
                      <a:pt x="52862" y="2318"/>
                    </a:cubicBezTo>
                    <a:cubicBezTo>
                      <a:pt x="55952" y="5408"/>
                      <a:pt x="55952" y="10390"/>
                      <a:pt x="52862" y="13457"/>
                    </a:cubicBezTo>
                    <a:lnTo>
                      <a:pt x="13457" y="52862"/>
                    </a:lnTo>
                    <a:cubicBezTo>
                      <a:pt x="11947" y="54395"/>
                      <a:pt x="9911" y="55161"/>
                      <a:pt x="7899" y="55161"/>
                    </a:cubicBezTo>
                    <a:close/>
                  </a:path>
                </a:pathLst>
              </a:custGeom>
              <a:solidFill>
                <a:schemeClr val="tx2"/>
              </a:solidFill>
              <a:ln w="2392" cap="flat">
                <a:noFill/>
                <a:prstDash val="solid"/>
                <a:miter/>
              </a:ln>
            </p:spPr>
            <p:txBody>
              <a:bodyPr rtlCol="0" anchor="ctr"/>
              <a:lstStyle/>
              <a:p>
                <a:endParaRPr lang="en-GB" dirty="0"/>
              </a:p>
            </p:txBody>
          </p:sp>
          <p:sp>
            <p:nvSpPr>
              <p:cNvPr id="710" name="Freihandform: Form 709">
                <a:extLst>
                  <a:ext uri="{FF2B5EF4-FFF2-40B4-BE49-F238E27FC236}">
                    <a16:creationId xmlns:a16="http://schemas.microsoft.com/office/drawing/2014/main" id="{349078B3-7301-4E8A-88FA-B132AF433AA1}"/>
                  </a:ext>
                </a:extLst>
              </p:cNvPr>
              <p:cNvSpPr/>
              <p:nvPr/>
            </p:nvSpPr>
            <p:spPr>
              <a:xfrm>
                <a:off x="7068970" y="2804869"/>
                <a:ext cx="55179" cy="55161"/>
              </a:xfrm>
              <a:custGeom>
                <a:avLst/>
                <a:gdLst>
                  <a:gd name="connsiteX0" fmla="*/ 7899 w 55179"/>
                  <a:gd name="connsiteY0" fmla="*/ 55161 h 55161"/>
                  <a:gd name="connsiteX1" fmla="*/ 2318 w 55179"/>
                  <a:gd name="connsiteY1" fmla="*/ 52862 h 55161"/>
                  <a:gd name="connsiteX2" fmla="*/ 2318 w 55179"/>
                  <a:gd name="connsiteY2" fmla="*/ 41723 h 55161"/>
                  <a:gd name="connsiteX3" fmla="*/ 41723 w 55179"/>
                  <a:gd name="connsiteY3" fmla="*/ 2318 h 55161"/>
                  <a:gd name="connsiteX4" fmla="*/ 52862 w 55179"/>
                  <a:gd name="connsiteY4" fmla="*/ 2318 h 55161"/>
                  <a:gd name="connsiteX5" fmla="*/ 52862 w 55179"/>
                  <a:gd name="connsiteY5" fmla="*/ 13457 h 55161"/>
                  <a:gd name="connsiteX6" fmla="*/ 13457 w 55179"/>
                  <a:gd name="connsiteY6" fmla="*/ 52862 h 55161"/>
                  <a:gd name="connsiteX7" fmla="*/ 7899 w 55179"/>
                  <a:gd name="connsiteY7" fmla="*/ 55161 h 5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79" h="55161">
                    <a:moveTo>
                      <a:pt x="7899" y="55161"/>
                    </a:moveTo>
                    <a:cubicBezTo>
                      <a:pt x="5887" y="55161"/>
                      <a:pt x="3875" y="54395"/>
                      <a:pt x="2318" y="52862"/>
                    </a:cubicBezTo>
                    <a:cubicBezTo>
                      <a:pt x="-773" y="49772"/>
                      <a:pt x="-773" y="44789"/>
                      <a:pt x="2318" y="41723"/>
                    </a:cubicBezTo>
                    <a:lnTo>
                      <a:pt x="41723" y="2318"/>
                    </a:lnTo>
                    <a:cubicBezTo>
                      <a:pt x="44813" y="-773"/>
                      <a:pt x="49796" y="-773"/>
                      <a:pt x="52862" y="2318"/>
                    </a:cubicBezTo>
                    <a:cubicBezTo>
                      <a:pt x="55952" y="5408"/>
                      <a:pt x="55952" y="10390"/>
                      <a:pt x="52862" y="13457"/>
                    </a:cubicBezTo>
                    <a:lnTo>
                      <a:pt x="13457" y="52862"/>
                    </a:lnTo>
                    <a:cubicBezTo>
                      <a:pt x="11947" y="54395"/>
                      <a:pt x="9911" y="55161"/>
                      <a:pt x="7899" y="55161"/>
                    </a:cubicBezTo>
                    <a:close/>
                  </a:path>
                </a:pathLst>
              </a:custGeom>
              <a:solidFill>
                <a:schemeClr val="tx2"/>
              </a:solidFill>
              <a:ln w="2392" cap="flat">
                <a:noFill/>
                <a:prstDash val="solid"/>
                <a:miter/>
              </a:ln>
            </p:spPr>
            <p:txBody>
              <a:bodyPr rtlCol="0" anchor="ctr"/>
              <a:lstStyle/>
              <a:p>
                <a:endParaRPr lang="en-GB" dirty="0"/>
              </a:p>
            </p:txBody>
          </p:sp>
          <p:sp>
            <p:nvSpPr>
              <p:cNvPr id="711" name="Freihandform: Form 710">
                <a:extLst>
                  <a:ext uri="{FF2B5EF4-FFF2-40B4-BE49-F238E27FC236}">
                    <a16:creationId xmlns:a16="http://schemas.microsoft.com/office/drawing/2014/main" id="{2B676250-2F1A-4571-8B5C-225B5DBACCB5}"/>
                  </a:ext>
                </a:extLst>
              </p:cNvPr>
              <p:cNvSpPr/>
              <p:nvPr/>
            </p:nvSpPr>
            <p:spPr>
              <a:xfrm>
                <a:off x="7068970" y="2710297"/>
                <a:ext cx="55179" cy="55161"/>
              </a:xfrm>
              <a:custGeom>
                <a:avLst/>
                <a:gdLst>
                  <a:gd name="connsiteX0" fmla="*/ 7899 w 55179"/>
                  <a:gd name="connsiteY0" fmla="*/ 55161 h 55161"/>
                  <a:gd name="connsiteX1" fmla="*/ 2318 w 55179"/>
                  <a:gd name="connsiteY1" fmla="*/ 52862 h 55161"/>
                  <a:gd name="connsiteX2" fmla="*/ 2318 w 55179"/>
                  <a:gd name="connsiteY2" fmla="*/ 41723 h 55161"/>
                  <a:gd name="connsiteX3" fmla="*/ 41723 w 55179"/>
                  <a:gd name="connsiteY3" fmla="*/ 2318 h 55161"/>
                  <a:gd name="connsiteX4" fmla="*/ 52862 w 55179"/>
                  <a:gd name="connsiteY4" fmla="*/ 2318 h 55161"/>
                  <a:gd name="connsiteX5" fmla="*/ 52862 w 55179"/>
                  <a:gd name="connsiteY5" fmla="*/ 13457 h 55161"/>
                  <a:gd name="connsiteX6" fmla="*/ 13457 w 55179"/>
                  <a:gd name="connsiteY6" fmla="*/ 52862 h 55161"/>
                  <a:gd name="connsiteX7" fmla="*/ 7899 w 55179"/>
                  <a:gd name="connsiteY7" fmla="*/ 55161 h 5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79" h="55161">
                    <a:moveTo>
                      <a:pt x="7899" y="55161"/>
                    </a:moveTo>
                    <a:cubicBezTo>
                      <a:pt x="5887" y="55161"/>
                      <a:pt x="3875" y="54395"/>
                      <a:pt x="2318" y="52862"/>
                    </a:cubicBezTo>
                    <a:cubicBezTo>
                      <a:pt x="-773" y="49772"/>
                      <a:pt x="-773" y="44789"/>
                      <a:pt x="2318" y="41723"/>
                    </a:cubicBezTo>
                    <a:lnTo>
                      <a:pt x="41723" y="2318"/>
                    </a:lnTo>
                    <a:cubicBezTo>
                      <a:pt x="44813" y="-773"/>
                      <a:pt x="49796" y="-773"/>
                      <a:pt x="52862" y="2318"/>
                    </a:cubicBezTo>
                    <a:cubicBezTo>
                      <a:pt x="55952" y="5408"/>
                      <a:pt x="55952" y="10390"/>
                      <a:pt x="52862" y="13457"/>
                    </a:cubicBezTo>
                    <a:lnTo>
                      <a:pt x="13457" y="52862"/>
                    </a:lnTo>
                    <a:cubicBezTo>
                      <a:pt x="11947" y="54395"/>
                      <a:pt x="9911" y="55161"/>
                      <a:pt x="7899" y="55161"/>
                    </a:cubicBezTo>
                    <a:close/>
                  </a:path>
                </a:pathLst>
              </a:custGeom>
              <a:solidFill>
                <a:schemeClr val="tx2"/>
              </a:solidFill>
              <a:ln w="2392" cap="flat">
                <a:noFill/>
                <a:prstDash val="solid"/>
                <a:miter/>
              </a:ln>
            </p:spPr>
            <p:txBody>
              <a:bodyPr rtlCol="0" anchor="ctr"/>
              <a:lstStyle/>
              <a:p>
                <a:endParaRPr lang="en-GB" dirty="0"/>
              </a:p>
            </p:txBody>
          </p:sp>
          <p:sp>
            <p:nvSpPr>
              <p:cNvPr id="712" name="Freihandform: Form 711">
                <a:extLst>
                  <a:ext uri="{FF2B5EF4-FFF2-40B4-BE49-F238E27FC236}">
                    <a16:creationId xmlns:a16="http://schemas.microsoft.com/office/drawing/2014/main" id="{B0F9D50C-AE16-47E3-BFC2-824009C0F730}"/>
                  </a:ext>
                </a:extLst>
              </p:cNvPr>
              <p:cNvSpPr/>
              <p:nvPr/>
            </p:nvSpPr>
            <p:spPr>
              <a:xfrm>
                <a:off x="7068970" y="2615724"/>
                <a:ext cx="55179" cy="55161"/>
              </a:xfrm>
              <a:custGeom>
                <a:avLst/>
                <a:gdLst>
                  <a:gd name="connsiteX0" fmla="*/ 7899 w 55179"/>
                  <a:gd name="connsiteY0" fmla="*/ 55161 h 55161"/>
                  <a:gd name="connsiteX1" fmla="*/ 2318 w 55179"/>
                  <a:gd name="connsiteY1" fmla="*/ 52862 h 55161"/>
                  <a:gd name="connsiteX2" fmla="*/ 2318 w 55179"/>
                  <a:gd name="connsiteY2" fmla="*/ 41723 h 55161"/>
                  <a:gd name="connsiteX3" fmla="*/ 41723 w 55179"/>
                  <a:gd name="connsiteY3" fmla="*/ 2318 h 55161"/>
                  <a:gd name="connsiteX4" fmla="*/ 52862 w 55179"/>
                  <a:gd name="connsiteY4" fmla="*/ 2318 h 55161"/>
                  <a:gd name="connsiteX5" fmla="*/ 52862 w 55179"/>
                  <a:gd name="connsiteY5" fmla="*/ 13457 h 55161"/>
                  <a:gd name="connsiteX6" fmla="*/ 13457 w 55179"/>
                  <a:gd name="connsiteY6" fmla="*/ 52862 h 55161"/>
                  <a:gd name="connsiteX7" fmla="*/ 7899 w 55179"/>
                  <a:gd name="connsiteY7" fmla="*/ 55161 h 55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179" h="55161">
                    <a:moveTo>
                      <a:pt x="7899" y="55161"/>
                    </a:moveTo>
                    <a:cubicBezTo>
                      <a:pt x="5887" y="55161"/>
                      <a:pt x="3875" y="54395"/>
                      <a:pt x="2318" y="52862"/>
                    </a:cubicBezTo>
                    <a:cubicBezTo>
                      <a:pt x="-773" y="49772"/>
                      <a:pt x="-773" y="44789"/>
                      <a:pt x="2318" y="41723"/>
                    </a:cubicBezTo>
                    <a:lnTo>
                      <a:pt x="41723" y="2318"/>
                    </a:lnTo>
                    <a:cubicBezTo>
                      <a:pt x="44813" y="-773"/>
                      <a:pt x="49796" y="-773"/>
                      <a:pt x="52862" y="2318"/>
                    </a:cubicBezTo>
                    <a:cubicBezTo>
                      <a:pt x="55952" y="5408"/>
                      <a:pt x="55952" y="10390"/>
                      <a:pt x="52862" y="13457"/>
                    </a:cubicBezTo>
                    <a:lnTo>
                      <a:pt x="13457" y="52862"/>
                    </a:lnTo>
                    <a:cubicBezTo>
                      <a:pt x="11947" y="54395"/>
                      <a:pt x="9911" y="55161"/>
                      <a:pt x="7899" y="55161"/>
                    </a:cubicBezTo>
                    <a:close/>
                  </a:path>
                </a:pathLst>
              </a:custGeom>
              <a:solidFill>
                <a:schemeClr val="tx2"/>
              </a:solidFill>
              <a:ln w="2392" cap="flat">
                <a:noFill/>
                <a:prstDash val="solid"/>
                <a:miter/>
              </a:ln>
            </p:spPr>
            <p:txBody>
              <a:bodyPr rtlCol="0" anchor="ctr"/>
              <a:lstStyle/>
              <a:p>
                <a:endParaRPr lang="en-GB" dirty="0"/>
              </a:p>
            </p:txBody>
          </p:sp>
          <p:sp>
            <p:nvSpPr>
              <p:cNvPr id="713" name="Freihandform: Form 712">
                <a:extLst>
                  <a:ext uri="{FF2B5EF4-FFF2-40B4-BE49-F238E27FC236}">
                    <a16:creationId xmlns:a16="http://schemas.microsoft.com/office/drawing/2014/main" id="{B118A20A-3AE6-436B-BB86-23975B70E17E}"/>
                  </a:ext>
                </a:extLst>
              </p:cNvPr>
              <p:cNvSpPr/>
              <p:nvPr/>
            </p:nvSpPr>
            <p:spPr>
              <a:xfrm>
                <a:off x="7068970" y="2505389"/>
                <a:ext cx="78822" cy="78804"/>
              </a:xfrm>
              <a:custGeom>
                <a:avLst/>
                <a:gdLst>
                  <a:gd name="connsiteX0" fmla="*/ 7899 w 78822"/>
                  <a:gd name="connsiteY0" fmla="*/ 78805 h 78804"/>
                  <a:gd name="connsiteX1" fmla="*/ 2318 w 78822"/>
                  <a:gd name="connsiteY1" fmla="*/ 76505 h 78804"/>
                  <a:gd name="connsiteX2" fmla="*/ 2318 w 78822"/>
                  <a:gd name="connsiteY2" fmla="*/ 65366 h 78804"/>
                  <a:gd name="connsiteX3" fmla="*/ 65366 w 78822"/>
                  <a:gd name="connsiteY3" fmla="*/ 2318 h 78804"/>
                  <a:gd name="connsiteX4" fmla="*/ 76505 w 78822"/>
                  <a:gd name="connsiteY4" fmla="*/ 2318 h 78804"/>
                  <a:gd name="connsiteX5" fmla="*/ 76505 w 78822"/>
                  <a:gd name="connsiteY5" fmla="*/ 13457 h 78804"/>
                  <a:gd name="connsiteX6" fmla="*/ 13457 w 78822"/>
                  <a:gd name="connsiteY6" fmla="*/ 76505 h 78804"/>
                  <a:gd name="connsiteX7" fmla="*/ 7899 w 78822"/>
                  <a:gd name="connsiteY7" fmla="*/ 78805 h 78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822" h="78804">
                    <a:moveTo>
                      <a:pt x="7899" y="78805"/>
                    </a:moveTo>
                    <a:cubicBezTo>
                      <a:pt x="5887" y="78805"/>
                      <a:pt x="3875" y="78038"/>
                      <a:pt x="2318" y="76505"/>
                    </a:cubicBezTo>
                    <a:cubicBezTo>
                      <a:pt x="-773" y="73415"/>
                      <a:pt x="-773" y="68432"/>
                      <a:pt x="2318" y="65366"/>
                    </a:cubicBezTo>
                    <a:lnTo>
                      <a:pt x="65366" y="2318"/>
                    </a:lnTo>
                    <a:cubicBezTo>
                      <a:pt x="68432" y="-773"/>
                      <a:pt x="73439" y="-773"/>
                      <a:pt x="76505" y="2318"/>
                    </a:cubicBezTo>
                    <a:cubicBezTo>
                      <a:pt x="79595" y="5408"/>
                      <a:pt x="79595" y="10390"/>
                      <a:pt x="76505" y="13457"/>
                    </a:cubicBezTo>
                    <a:lnTo>
                      <a:pt x="13457" y="76505"/>
                    </a:lnTo>
                    <a:cubicBezTo>
                      <a:pt x="11947" y="78038"/>
                      <a:pt x="9911" y="78805"/>
                      <a:pt x="7899" y="78805"/>
                    </a:cubicBezTo>
                    <a:close/>
                  </a:path>
                </a:pathLst>
              </a:custGeom>
              <a:solidFill>
                <a:schemeClr val="tx2"/>
              </a:solidFill>
              <a:ln w="2392" cap="flat">
                <a:noFill/>
                <a:prstDash val="solid"/>
                <a:miter/>
              </a:ln>
            </p:spPr>
            <p:txBody>
              <a:bodyPr rtlCol="0" anchor="ctr"/>
              <a:lstStyle/>
              <a:p>
                <a:endParaRPr lang="en-GB" dirty="0"/>
              </a:p>
            </p:txBody>
          </p:sp>
          <p:grpSp>
            <p:nvGrpSpPr>
              <p:cNvPr id="714" name="Grafik 14">
                <a:extLst>
                  <a:ext uri="{FF2B5EF4-FFF2-40B4-BE49-F238E27FC236}">
                    <a16:creationId xmlns:a16="http://schemas.microsoft.com/office/drawing/2014/main" id="{0B921B29-7DE9-496A-B56C-DF164BC34821}"/>
                  </a:ext>
                </a:extLst>
              </p:cNvPr>
              <p:cNvGrpSpPr/>
              <p:nvPr/>
            </p:nvGrpSpPr>
            <p:grpSpPr>
              <a:xfrm>
                <a:off x="7459087" y="2529030"/>
                <a:ext cx="51236" cy="425573"/>
                <a:chOff x="7459087" y="2529030"/>
                <a:chExt cx="51236" cy="425573"/>
              </a:xfrm>
              <a:solidFill>
                <a:schemeClr val="tx2"/>
              </a:solidFill>
            </p:grpSpPr>
            <p:sp>
              <p:nvSpPr>
                <p:cNvPr id="716" name="Freihandform: Form 715">
                  <a:extLst>
                    <a:ext uri="{FF2B5EF4-FFF2-40B4-BE49-F238E27FC236}">
                      <a16:creationId xmlns:a16="http://schemas.microsoft.com/office/drawing/2014/main" id="{CD15707C-C71A-4CBE-AC52-E59ED4D7EEA4}"/>
                    </a:ext>
                  </a:extLst>
                </p:cNvPr>
                <p:cNvSpPr/>
                <p:nvPr/>
              </p:nvSpPr>
              <p:spPr>
                <a:xfrm>
                  <a:off x="7459091" y="2904047"/>
                  <a:ext cx="49916" cy="50556"/>
                </a:xfrm>
                <a:custGeom>
                  <a:avLst/>
                  <a:gdLst>
                    <a:gd name="connsiteX0" fmla="*/ 7878 w 49916"/>
                    <a:gd name="connsiteY0" fmla="*/ 50556 h 50556"/>
                    <a:gd name="connsiteX1" fmla="*/ 2369 w 49916"/>
                    <a:gd name="connsiteY1" fmla="*/ 48305 h 50556"/>
                    <a:gd name="connsiteX2" fmla="*/ 2249 w 49916"/>
                    <a:gd name="connsiteY2" fmla="*/ 37166 h 50556"/>
                    <a:gd name="connsiteX3" fmla="*/ 36408 w 49916"/>
                    <a:gd name="connsiteY3" fmla="*/ 2360 h 50556"/>
                    <a:gd name="connsiteX4" fmla="*/ 47547 w 49916"/>
                    <a:gd name="connsiteY4" fmla="*/ 2240 h 50556"/>
                    <a:gd name="connsiteX5" fmla="*/ 47667 w 49916"/>
                    <a:gd name="connsiteY5" fmla="*/ 13379 h 50556"/>
                    <a:gd name="connsiteX6" fmla="*/ 13508 w 49916"/>
                    <a:gd name="connsiteY6" fmla="*/ 48185 h 50556"/>
                    <a:gd name="connsiteX7" fmla="*/ 7878 w 49916"/>
                    <a:gd name="connsiteY7" fmla="*/ 50556 h 50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16" h="50556">
                      <a:moveTo>
                        <a:pt x="7878" y="50556"/>
                      </a:moveTo>
                      <a:cubicBezTo>
                        <a:pt x="5890" y="50556"/>
                        <a:pt x="3902" y="49814"/>
                        <a:pt x="2369" y="48305"/>
                      </a:cubicBezTo>
                      <a:cubicBezTo>
                        <a:pt x="-745" y="45263"/>
                        <a:pt x="-793" y="40256"/>
                        <a:pt x="2249" y="37166"/>
                      </a:cubicBezTo>
                      <a:lnTo>
                        <a:pt x="36408" y="2360"/>
                      </a:lnTo>
                      <a:cubicBezTo>
                        <a:pt x="39475" y="-754"/>
                        <a:pt x="44457" y="-778"/>
                        <a:pt x="47547" y="2240"/>
                      </a:cubicBezTo>
                      <a:cubicBezTo>
                        <a:pt x="50661" y="5282"/>
                        <a:pt x="50709" y="10289"/>
                        <a:pt x="47667" y="13379"/>
                      </a:cubicBezTo>
                      <a:lnTo>
                        <a:pt x="13508" y="48185"/>
                      </a:lnTo>
                      <a:cubicBezTo>
                        <a:pt x="11975" y="49766"/>
                        <a:pt x="9915" y="50556"/>
                        <a:pt x="7878" y="50556"/>
                      </a:cubicBezTo>
                      <a:close/>
                    </a:path>
                  </a:pathLst>
                </a:custGeom>
                <a:solidFill>
                  <a:schemeClr val="accent1"/>
                </a:solidFill>
                <a:ln w="2392" cap="flat">
                  <a:noFill/>
                  <a:prstDash val="solid"/>
                  <a:miter/>
                </a:ln>
              </p:spPr>
              <p:txBody>
                <a:bodyPr rtlCol="0" anchor="ctr"/>
                <a:lstStyle/>
                <a:p>
                  <a:endParaRPr lang="en-GB" dirty="0"/>
                </a:p>
              </p:txBody>
            </p:sp>
            <p:sp>
              <p:nvSpPr>
                <p:cNvPr id="717" name="Freihandform: Form 716">
                  <a:extLst>
                    <a:ext uri="{FF2B5EF4-FFF2-40B4-BE49-F238E27FC236}">
                      <a16:creationId xmlns:a16="http://schemas.microsoft.com/office/drawing/2014/main" id="{BFDF2AB5-589F-431B-B65B-7E6AAA2B3C62}"/>
                    </a:ext>
                  </a:extLst>
                </p:cNvPr>
                <p:cNvSpPr/>
                <p:nvPr/>
              </p:nvSpPr>
              <p:spPr>
                <a:xfrm>
                  <a:off x="7459090" y="2808817"/>
                  <a:ext cx="49918" cy="51213"/>
                </a:xfrm>
                <a:custGeom>
                  <a:avLst/>
                  <a:gdLst>
                    <a:gd name="connsiteX0" fmla="*/ 7880 w 49918"/>
                    <a:gd name="connsiteY0" fmla="*/ 51213 h 51213"/>
                    <a:gd name="connsiteX1" fmla="*/ 2418 w 49918"/>
                    <a:gd name="connsiteY1" fmla="*/ 49010 h 51213"/>
                    <a:gd name="connsiteX2" fmla="*/ 2202 w 49918"/>
                    <a:gd name="connsiteY2" fmla="*/ 37871 h 51213"/>
                    <a:gd name="connsiteX3" fmla="*/ 36362 w 49918"/>
                    <a:gd name="connsiteY3" fmla="*/ 2418 h 51213"/>
                    <a:gd name="connsiteX4" fmla="*/ 47501 w 49918"/>
                    <a:gd name="connsiteY4" fmla="*/ 2202 h 51213"/>
                    <a:gd name="connsiteX5" fmla="*/ 47716 w 49918"/>
                    <a:gd name="connsiteY5" fmla="*/ 13341 h 51213"/>
                    <a:gd name="connsiteX6" fmla="*/ 13557 w 49918"/>
                    <a:gd name="connsiteY6" fmla="*/ 48794 h 51213"/>
                    <a:gd name="connsiteX7" fmla="*/ 7880 w 49918"/>
                    <a:gd name="connsiteY7" fmla="*/ 51213 h 51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18" h="51213">
                      <a:moveTo>
                        <a:pt x="7880" y="51213"/>
                      </a:moveTo>
                      <a:cubicBezTo>
                        <a:pt x="5915" y="51213"/>
                        <a:pt x="3951" y="50471"/>
                        <a:pt x="2418" y="49010"/>
                      </a:cubicBezTo>
                      <a:cubicBezTo>
                        <a:pt x="-720" y="45991"/>
                        <a:pt x="-816" y="41009"/>
                        <a:pt x="2202" y="37871"/>
                      </a:cubicBezTo>
                      <a:lnTo>
                        <a:pt x="36362" y="2418"/>
                      </a:lnTo>
                      <a:cubicBezTo>
                        <a:pt x="39380" y="-720"/>
                        <a:pt x="44386" y="-816"/>
                        <a:pt x="47501" y="2202"/>
                      </a:cubicBezTo>
                      <a:cubicBezTo>
                        <a:pt x="50638" y="5221"/>
                        <a:pt x="50734" y="10203"/>
                        <a:pt x="47716" y="13341"/>
                      </a:cubicBezTo>
                      <a:lnTo>
                        <a:pt x="13557" y="48794"/>
                      </a:lnTo>
                      <a:cubicBezTo>
                        <a:pt x="12024" y="50399"/>
                        <a:pt x="9940" y="51213"/>
                        <a:pt x="7880" y="51213"/>
                      </a:cubicBezTo>
                      <a:close/>
                    </a:path>
                  </a:pathLst>
                </a:custGeom>
                <a:solidFill>
                  <a:schemeClr val="accent1"/>
                </a:solidFill>
                <a:ln w="2392" cap="flat">
                  <a:noFill/>
                  <a:prstDash val="solid"/>
                  <a:miter/>
                </a:ln>
              </p:spPr>
              <p:txBody>
                <a:bodyPr rtlCol="0" anchor="ctr"/>
                <a:lstStyle/>
                <a:p>
                  <a:endParaRPr lang="en-GB" dirty="0"/>
                </a:p>
              </p:txBody>
            </p:sp>
            <p:sp>
              <p:nvSpPr>
                <p:cNvPr id="718" name="Freihandform: Form 717">
                  <a:extLst>
                    <a:ext uri="{FF2B5EF4-FFF2-40B4-BE49-F238E27FC236}">
                      <a16:creationId xmlns:a16="http://schemas.microsoft.com/office/drawing/2014/main" id="{622677B4-E9E1-440F-8A8D-1A5443EBB0A1}"/>
                    </a:ext>
                  </a:extLst>
                </p:cNvPr>
                <p:cNvSpPr/>
                <p:nvPr/>
              </p:nvSpPr>
              <p:spPr>
                <a:xfrm>
                  <a:off x="7459091" y="2714249"/>
                  <a:ext cx="50563" cy="51209"/>
                </a:xfrm>
                <a:custGeom>
                  <a:avLst/>
                  <a:gdLst>
                    <a:gd name="connsiteX0" fmla="*/ 7878 w 50563"/>
                    <a:gd name="connsiteY0" fmla="*/ 51209 h 51209"/>
                    <a:gd name="connsiteX1" fmla="*/ 2369 w 50563"/>
                    <a:gd name="connsiteY1" fmla="*/ 48958 h 51209"/>
                    <a:gd name="connsiteX2" fmla="*/ 2249 w 50563"/>
                    <a:gd name="connsiteY2" fmla="*/ 37819 h 51209"/>
                    <a:gd name="connsiteX3" fmla="*/ 37055 w 50563"/>
                    <a:gd name="connsiteY3" fmla="*/ 2366 h 51209"/>
                    <a:gd name="connsiteX4" fmla="*/ 48194 w 50563"/>
                    <a:gd name="connsiteY4" fmla="*/ 2270 h 51209"/>
                    <a:gd name="connsiteX5" fmla="*/ 48314 w 50563"/>
                    <a:gd name="connsiteY5" fmla="*/ 13409 h 51209"/>
                    <a:gd name="connsiteX6" fmla="*/ 13508 w 50563"/>
                    <a:gd name="connsiteY6" fmla="*/ 48862 h 51209"/>
                    <a:gd name="connsiteX7" fmla="*/ 7878 w 50563"/>
                    <a:gd name="connsiteY7" fmla="*/ 51209 h 5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563" h="51209">
                      <a:moveTo>
                        <a:pt x="7878" y="51209"/>
                      </a:moveTo>
                      <a:cubicBezTo>
                        <a:pt x="5890" y="51209"/>
                        <a:pt x="3902" y="50467"/>
                        <a:pt x="2369" y="48958"/>
                      </a:cubicBezTo>
                      <a:cubicBezTo>
                        <a:pt x="-745" y="45915"/>
                        <a:pt x="-793" y="40909"/>
                        <a:pt x="2249" y="37819"/>
                      </a:cubicBezTo>
                      <a:lnTo>
                        <a:pt x="37055" y="2366"/>
                      </a:lnTo>
                      <a:cubicBezTo>
                        <a:pt x="40121" y="-748"/>
                        <a:pt x="45104" y="-796"/>
                        <a:pt x="48194" y="2270"/>
                      </a:cubicBezTo>
                      <a:cubicBezTo>
                        <a:pt x="51308" y="5312"/>
                        <a:pt x="51356" y="10319"/>
                        <a:pt x="48314" y="13409"/>
                      </a:cubicBezTo>
                      <a:lnTo>
                        <a:pt x="13508" y="48862"/>
                      </a:lnTo>
                      <a:cubicBezTo>
                        <a:pt x="11975" y="50419"/>
                        <a:pt x="9915" y="51209"/>
                        <a:pt x="7878" y="51209"/>
                      </a:cubicBezTo>
                      <a:close/>
                    </a:path>
                  </a:pathLst>
                </a:custGeom>
                <a:solidFill>
                  <a:schemeClr val="accent1"/>
                </a:solidFill>
                <a:ln w="2392" cap="flat">
                  <a:noFill/>
                  <a:prstDash val="solid"/>
                  <a:miter/>
                </a:ln>
              </p:spPr>
              <p:txBody>
                <a:bodyPr rtlCol="0" anchor="ctr"/>
                <a:lstStyle/>
                <a:p>
                  <a:endParaRPr lang="en-GB" dirty="0"/>
                </a:p>
              </p:txBody>
            </p:sp>
            <p:sp>
              <p:nvSpPr>
                <p:cNvPr id="719" name="Freihandform: Form 718">
                  <a:extLst>
                    <a:ext uri="{FF2B5EF4-FFF2-40B4-BE49-F238E27FC236}">
                      <a16:creationId xmlns:a16="http://schemas.microsoft.com/office/drawing/2014/main" id="{A8895FC2-A335-4D88-BAE6-BE7CFEF76475}"/>
                    </a:ext>
                  </a:extLst>
                </p:cNvPr>
                <p:cNvSpPr/>
                <p:nvPr/>
              </p:nvSpPr>
              <p:spPr>
                <a:xfrm>
                  <a:off x="7459087" y="2621644"/>
                  <a:ext cx="47937" cy="49241"/>
                </a:xfrm>
                <a:custGeom>
                  <a:avLst/>
                  <a:gdLst>
                    <a:gd name="connsiteX0" fmla="*/ 7284 w 47937"/>
                    <a:gd name="connsiteY0" fmla="*/ 49241 h 49241"/>
                    <a:gd name="connsiteX1" fmla="*/ 1942 w 47937"/>
                    <a:gd name="connsiteY1" fmla="*/ 46726 h 49241"/>
                    <a:gd name="connsiteX2" fmla="*/ 2326 w 47937"/>
                    <a:gd name="connsiteY2" fmla="*/ 35587 h 49241"/>
                    <a:gd name="connsiteX3" fmla="*/ 35694 w 47937"/>
                    <a:gd name="connsiteY3" fmla="*/ 2098 h 49241"/>
                    <a:gd name="connsiteX4" fmla="*/ 45995 w 47937"/>
                    <a:gd name="connsiteY4" fmla="*/ 2530 h 49241"/>
                    <a:gd name="connsiteX5" fmla="*/ 45612 w 47937"/>
                    <a:gd name="connsiteY5" fmla="*/ 13669 h 49241"/>
                    <a:gd name="connsiteX6" fmla="*/ 12243 w 47937"/>
                    <a:gd name="connsiteY6" fmla="*/ 47157 h 49241"/>
                    <a:gd name="connsiteX7" fmla="*/ 7284 w 47937"/>
                    <a:gd name="connsiteY7" fmla="*/ 49241 h 49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937" h="49241">
                      <a:moveTo>
                        <a:pt x="7284" y="49241"/>
                      </a:moveTo>
                      <a:cubicBezTo>
                        <a:pt x="5320" y="49241"/>
                        <a:pt x="3380" y="48403"/>
                        <a:pt x="1942" y="46726"/>
                      </a:cubicBezTo>
                      <a:cubicBezTo>
                        <a:pt x="-789" y="43540"/>
                        <a:pt x="-621" y="38533"/>
                        <a:pt x="2326" y="35587"/>
                      </a:cubicBezTo>
                      <a:lnTo>
                        <a:pt x="35694" y="2098"/>
                      </a:lnTo>
                      <a:cubicBezTo>
                        <a:pt x="38641" y="-848"/>
                        <a:pt x="43240" y="-680"/>
                        <a:pt x="45995" y="2530"/>
                      </a:cubicBezTo>
                      <a:cubicBezTo>
                        <a:pt x="48726" y="5716"/>
                        <a:pt x="48558" y="10722"/>
                        <a:pt x="45612" y="13669"/>
                      </a:cubicBezTo>
                      <a:lnTo>
                        <a:pt x="12243" y="47157"/>
                      </a:lnTo>
                      <a:cubicBezTo>
                        <a:pt x="10829" y="48546"/>
                        <a:pt x="9057" y="49241"/>
                        <a:pt x="7284" y="49241"/>
                      </a:cubicBezTo>
                      <a:close/>
                    </a:path>
                  </a:pathLst>
                </a:custGeom>
                <a:solidFill>
                  <a:schemeClr val="accent1"/>
                </a:solidFill>
                <a:ln w="2392" cap="flat">
                  <a:noFill/>
                  <a:prstDash val="solid"/>
                  <a:miter/>
                </a:ln>
              </p:spPr>
              <p:txBody>
                <a:bodyPr rtlCol="0" anchor="ctr"/>
                <a:lstStyle/>
                <a:p>
                  <a:endParaRPr lang="en-GB" dirty="0"/>
                </a:p>
              </p:txBody>
            </p:sp>
            <p:sp>
              <p:nvSpPr>
                <p:cNvPr id="720" name="Freihandform: Form 719">
                  <a:extLst>
                    <a:ext uri="{FF2B5EF4-FFF2-40B4-BE49-F238E27FC236}">
                      <a16:creationId xmlns:a16="http://schemas.microsoft.com/office/drawing/2014/main" id="{FCB1529D-8E17-45D1-BEC2-EF0A049D4B93}"/>
                    </a:ext>
                  </a:extLst>
                </p:cNvPr>
                <p:cNvSpPr/>
                <p:nvPr/>
              </p:nvSpPr>
              <p:spPr>
                <a:xfrm>
                  <a:off x="7459093" y="2529030"/>
                  <a:ext cx="51230" cy="55163"/>
                </a:xfrm>
                <a:custGeom>
                  <a:avLst/>
                  <a:gdLst>
                    <a:gd name="connsiteX0" fmla="*/ 7877 w 51230"/>
                    <a:gd name="connsiteY0" fmla="*/ 55163 h 55163"/>
                    <a:gd name="connsiteX1" fmla="*/ 2607 w 51230"/>
                    <a:gd name="connsiteY1" fmla="*/ 53151 h 55163"/>
                    <a:gd name="connsiteX2" fmla="*/ 2032 w 51230"/>
                    <a:gd name="connsiteY2" fmla="*/ 42012 h 55163"/>
                    <a:gd name="connsiteX3" fmla="*/ 37485 w 51230"/>
                    <a:gd name="connsiteY3" fmla="*/ 2607 h 55163"/>
                    <a:gd name="connsiteX4" fmla="*/ 48624 w 51230"/>
                    <a:gd name="connsiteY4" fmla="*/ 2032 h 55163"/>
                    <a:gd name="connsiteX5" fmla="*/ 49198 w 51230"/>
                    <a:gd name="connsiteY5" fmla="*/ 13171 h 55163"/>
                    <a:gd name="connsiteX6" fmla="*/ 13746 w 51230"/>
                    <a:gd name="connsiteY6" fmla="*/ 52576 h 55163"/>
                    <a:gd name="connsiteX7" fmla="*/ 7877 w 51230"/>
                    <a:gd name="connsiteY7" fmla="*/ 55163 h 55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230" h="55163">
                      <a:moveTo>
                        <a:pt x="7877" y="55163"/>
                      </a:moveTo>
                      <a:cubicBezTo>
                        <a:pt x="6008" y="55163"/>
                        <a:pt x="4116" y="54492"/>
                        <a:pt x="2607" y="53151"/>
                      </a:cubicBezTo>
                      <a:cubicBezTo>
                        <a:pt x="-627" y="50252"/>
                        <a:pt x="-891" y="45270"/>
                        <a:pt x="2032" y="42012"/>
                      </a:cubicBezTo>
                      <a:lnTo>
                        <a:pt x="37485" y="2607"/>
                      </a:lnTo>
                      <a:cubicBezTo>
                        <a:pt x="40383" y="-627"/>
                        <a:pt x="45366" y="-891"/>
                        <a:pt x="48624" y="2032"/>
                      </a:cubicBezTo>
                      <a:cubicBezTo>
                        <a:pt x="51857" y="4930"/>
                        <a:pt x="52121" y="9913"/>
                        <a:pt x="49198" y="13171"/>
                      </a:cubicBezTo>
                      <a:lnTo>
                        <a:pt x="13746" y="52576"/>
                      </a:lnTo>
                      <a:cubicBezTo>
                        <a:pt x="12189" y="54301"/>
                        <a:pt x="10033" y="55163"/>
                        <a:pt x="7877" y="55163"/>
                      </a:cubicBezTo>
                      <a:close/>
                    </a:path>
                  </a:pathLst>
                </a:custGeom>
                <a:solidFill>
                  <a:schemeClr val="accent1"/>
                </a:solidFill>
                <a:ln w="2392" cap="flat">
                  <a:noFill/>
                  <a:prstDash val="solid"/>
                  <a:miter/>
                </a:ln>
              </p:spPr>
              <p:txBody>
                <a:bodyPr rtlCol="0" anchor="ctr"/>
                <a:lstStyle/>
                <a:p>
                  <a:endParaRPr lang="en-GB" dirty="0"/>
                </a:p>
              </p:txBody>
            </p:sp>
          </p:grpSp>
          <p:sp>
            <p:nvSpPr>
              <p:cNvPr id="715" name="Freihandform: Form 714">
                <a:extLst>
                  <a:ext uri="{FF2B5EF4-FFF2-40B4-BE49-F238E27FC236}">
                    <a16:creationId xmlns:a16="http://schemas.microsoft.com/office/drawing/2014/main" id="{B980651C-2E3A-4032-B582-C047A9BB6058}"/>
                  </a:ext>
                </a:extLst>
              </p:cNvPr>
              <p:cNvSpPr/>
              <p:nvPr/>
            </p:nvSpPr>
            <p:spPr>
              <a:xfrm>
                <a:off x="7108393" y="2544788"/>
                <a:ext cx="362529" cy="472839"/>
              </a:xfrm>
              <a:custGeom>
                <a:avLst/>
                <a:gdLst>
                  <a:gd name="connsiteX0" fmla="*/ 354648 w 362529"/>
                  <a:gd name="connsiteY0" fmla="*/ 0 h 472839"/>
                  <a:gd name="connsiteX1" fmla="*/ 269921 w 362529"/>
                  <a:gd name="connsiteY1" fmla="*/ 0 h 472839"/>
                  <a:gd name="connsiteX2" fmla="*/ 269921 w 362529"/>
                  <a:gd name="connsiteY2" fmla="*/ 15762 h 472839"/>
                  <a:gd name="connsiteX3" fmla="*/ 346767 w 362529"/>
                  <a:gd name="connsiteY3" fmla="*/ 15762 h 472839"/>
                  <a:gd name="connsiteX4" fmla="*/ 346767 w 362529"/>
                  <a:gd name="connsiteY4" fmla="*/ 457078 h 472839"/>
                  <a:gd name="connsiteX5" fmla="*/ 15762 w 362529"/>
                  <a:gd name="connsiteY5" fmla="*/ 457078 h 472839"/>
                  <a:gd name="connsiteX6" fmla="*/ 15762 w 362529"/>
                  <a:gd name="connsiteY6" fmla="*/ 15762 h 472839"/>
                  <a:gd name="connsiteX7" fmla="*/ 95555 w 362529"/>
                  <a:gd name="connsiteY7" fmla="*/ 15762 h 472839"/>
                  <a:gd name="connsiteX8" fmla="*/ 95555 w 362529"/>
                  <a:gd name="connsiteY8" fmla="*/ 0 h 472839"/>
                  <a:gd name="connsiteX9" fmla="*/ 7881 w 362529"/>
                  <a:gd name="connsiteY9" fmla="*/ 0 h 472839"/>
                  <a:gd name="connsiteX10" fmla="*/ 0 w 362529"/>
                  <a:gd name="connsiteY10" fmla="*/ 7881 h 472839"/>
                  <a:gd name="connsiteX11" fmla="*/ 0 w 362529"/>
                  <a:gd name="connsiteY11" fmla="*/ 464959 h 472839"/>
                  <a:gd name="connsiteX12" fmla="*/ 7881 w 362529"/>
                  <a:gd name="connsiteY12" fmla="*/ 472840 h 472839"/>
                  <a:gd name="connsiteX13" fmla="*/ 354648 w 362529"/>
                  <a:gd name="connsiteY13" fmla="*/ 472840 h 472839"/>
                  <a:gd name="connsiteX14" fmla="*/ 362529 w 362529"/>
                  <a:gd name="connsiteY14" fmla="*/ 464959 h 472839"/>
                  <a:gd name="connsiteX15" fmla="*/ 362529 w 362529"/>
                  <a:gd name="connsiteY15" fmla="*/ 7881 h 472839"/>
                  <a:gd name="connsiteX16" fmla="*/ 354648 w 362529"/>
                  <a:gd name="connsiteY16" fmla="*/ 0 h 47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62529" h="472839">
                    <a:moveTo>
                      <a:pt x="354648" y="0"/>
                    </a:moveTo>
                    <a:lnTo>
                      <a:pt x="269921" y="0"/>
                    </a:lnTo>
                    <a:lnTo>
                      <a:pt x="269921" y="15762"/>
                    </a:lnTo>
                    <a:lnTo>
                      <a:pt x="346767" y="15762"/>
                    </a:lnTo>
                    <a:lnTo>
                      <a:pt x="346767" y="457078"/>
                    </a:lnTo>
                    <a:lnTo>
                      <a:pt x="15762" y="457078"/>
                    </a:lnTo>
                    <a:lnTo>
                      <a:pt x="15762" y="15762"/>
                    </a:lnTo>
                    <a:lnTo>
                      <a:pt x="95555" y="15762"/>
                    </a:lnTo>
                    <a:lnTo>
                      <a:pt x="95555" y="0"/>
                    </a:lnTo>
                    <a:lnTo>
                      <a:pt x="7881" y="0"/>
                    </a:lnTo>
                    <a:cubicBezTo>
                      <a:pt x="3521" y="0"/>
                      <a:pt x="0" y="3521"/>
                      <a:pt x="0" y="7881"/>
                    </a:cubicBezTo>
                    <a:lnTo>
                      <a:pt x="0" y="464959"/>
                    </a:lnTo>
                    <a:cubicBezTo>
                      <a:pt x="0" y="469319"/>
                      <a:pt x="3521" y="472840"/>
                      <a:pt x="7881" y="472840"/>
                    </a:cubicBezTo>
                    <a:lnTo>
                      <a:pt x="354648" y="472840"/>
                    </a:lnTo>
                    <a:cubicBezTo>
                      <a:pt x="359008" y="472840"/>
                      <a:pt x="362529" y="469319"/>
                      <a:pt x="362529" y="464959"/>
                    </a:cubicBezTo>
                    <a:lnTo>
                      <a:pt x="362529" y="7881"/>
                    </a:lnTo>
                    <a:cubicBezTo>
                      <a:pt x="362529" y="3545"/>
                      <a:pt x="359008" y="0"/>
                      <a:pt x="354648" y="0"/>
                    </a:cubicBezTo>
                    <a:close/>
                  </a:path>
                </a:pathLst>
              </a:custGeom>
              <a:solidFill>
                <a:schemeClr val="tx2"/>
              </a:solidFill>
              <a:ln w="2392" cap="flat">
                <a:noFill/>
                <a:prstDash val="solid"/>
                <a:miter/>
              </a:ln>
            </p:spPr>
            <p:txBody>
              <a:bodyPr rtlCol="0" anchor="ctr"/>
              <a:lstStyle/>
              <a:p>
                <a:endParaRPr lang="en-GB" dirty="0"/>
              </a:p>
            </p:txBody>
          </p:sp>
        </p:grpSp>
      </p:grpSp>
      <p:grpSp>
        <p:nvGrpSpPr>
          <p:cNvPr id="19" name="Group 18">
            <a:extLst>
              <a:ext uri="{FF2B5EF4-FFF2-40B4-BE49-F238E27FC236}">
                <a16:creationId xmlns:a16="http://schemas.microsoft.com/office/drawing/2014/main" id="{7990BD88-8973-99E9-159E-FA072A17346A}"/>
              </a:ext>
            </a:extLst>
          </p:cNvPr>
          <p:cNvGrpSpPr/>
          <p:nvPr/>
        </p:nvGrpSpPr>
        <p:grpSpPr>
          <a:xfrm>
            <a:off x="6986507" y="1626718"/>
            <a:ext cx="635257" cy="431999"/>
            <a:chOff x="6986095" y="1626718"/>
            <a:chExt cx="635257" cy="431999"/>
          </a:xfrm>
        </p:grpSpPr>
        <p:grpSp>
          <p:nvGrpSpPr>
            <p:cNvPr id="726" name="Gruppieren 725">
              <a:extLst>
                <a:ext uri="{FF2B5EF4-FFF2-40B4-BE49-F238E27FC236}">
                  <a16:creationId xmlns:a16="http://schemas.microsoft.com/office/drawing/2014/main" id="{92E05268-21B4-4D2E-9D5C-B8A135E58C7D}"/>
                </a:ext>
              </a:extLst>
            </p:cNvPr>
            <p:cNvGrpSpPr/>
            <p:nvPr/>
          </p:nvGrpSpPr>
          <p:grpSpPr>
            <a:xfrm>
              <a:off x="7053858" y="1626718"/>
              <a:ext cx="567494" cy="347294"/>
              <a:chOff x="7068988" y="1819748"/>
              <a:chExt cx="528007" cy="323129"/>
            </a:xfrm>
          </p:grpSpPr>
          <p:sp>
            <p:nvSpPr>
              <p:cNvPr id="733" name="Freihandform: Form 732">
                <a:extLst>
                  <a:ext uri="{FF2B5EF4-FFF2-40B4-BE49-F238E27FC236}">
                    <a16:creationId xmlns:a16="http://schemas.microsoft.com/office/drawing/2014/main" id="{E9302CFD-A39A-4C3F-9685-95EA49A60592}"/>
                  </a:ext>
                </a:extLst>
              </p:cNvPr>
              <p:cNvSpPr/>
              <p:nvPr/>
            </p:nvSpPr>
            <p:spPr>
              <a:xfrm>
                <a:off x="7077396" y="1819748"/>
                <a:ext cx="511207" cy="91632"/>
              </a:xfrm>
              <a:custGeom>
                <a:avLst/>
                <a:gdLst>
                  <a:gd name="connsiteX0" fmla="*/ 117689 w 511207"/>
                  <a:gd name="connsiteY0" fmla="*/ 91632 h 91632"/>
                  <a:gd name="connsiteX1" fmla="*/ 113209 w 511207"/>
                  <a:gd name="connsiteY1" fmla="*/ 90243 h 91632"/>
                  <a:gd name="connsiteX2" fmla="*/ 3401 w 511207"/>
                  <a:gd name="connsiteY2" fmla="*/ 14379 h 91632"/>
                  <a:gd name="connsiteX3" fmla="*/ 1389 w 511207"/>
                  <a:gd name="connsiteY3" fmla="*/ 3408 h 91632"/>
                  <a:gd name="connsiteX4" fmla="*/ 12360 w 511207"/>
                  <a:gd name="connsiteY4" fmla="*/ 1395 h 91632"/>
                  <a:gd name="connsiteX5" fmla="*/ 120132 w 511207"/>
                  <a:gd name="connsiteY5" fmla="*/ 75846 h 91632"/>
                  <a:gd name="connsiteX6" fmla="*/ 395897 w 511207"/>
                  <a:gd name="connsiteY6" fmla="*/ 75367 h 91632"/>
                  <a:gd name="connsiteX7" fmla="*/ 498735 w 511207"/>
                  <a:gd name="connsiteY7" fmla="*/ 1491 h 91632"/>
                  <a:gd name="connsiteX8" fmla="*/ 509730 w 511207"/>
                  <a:gd name="connsiteY8" fmla="*/ 3288 h 91632"/>
                  <a:gd name="connsiteX9" fmla="*/ 507909 w 511207"/>
                  <a:gd name="connsiteY9" fmla="*/ 14283 h 91632"/>
                  <a:gd name="connsiteX10" fmla="*/ 403012 w 511207"/>
                  <a:gd name="connsiteY10" fmla="*/ 89644 h 91632"/>
                  <a:gd name="connsiteX11" fmla="*/ 398437 w 511207"/>
                  <a:gd name="connsiteY11" fmla="*/ 91129 h 91632"/>
                  <a:gd name="connsiteX12" fmla="*/ 117689 w 511207"/>
                  <a:gd name="connsiteY12" fmla="*/ 91632 h 91632"/>
                  <a:gd name="connsiteX13" fmla="*/ 117689 w 511207"/>
                  <a:gd name="connsiteY13" fmla="*/ 91632 h 91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1207" h="91632">
                    <a:moveTo>
                      <a:pt x="117689" y="91632"/>
                    </a:moveTo>
                    <a:cubicBezTo>
                      <a:pt x="116084" y="91632"/>
                      <a:pt x="114527" y="91153"/>
                      <a:pt x="113209" y="90243"/>
                    </a:cubicBezTo>
                    <a:lnTo>
                      <a:pt x="3401" y="14379"/>
                    </a:lnTo>
                    <a:cubicBezTo>
                      <a:pt x="-168" y="11912"/>
                      <a:pt x="-1078" y="7001"/>
                      <a:pt x="1389" y="3408"/>
                    </a:cubicBezTo>
                    <a:cubicBezTo>
                      <a:pt x="3856" y="-186"/>
                      <a:pt x="8767" y="-1072"/>
                      <a:pt x="12360" y="1395"/>
                    </a:cubicBezTo>
                    <a:lnTo>
                      <a:pt x="120132" y="75846"/>
                    </a:lnTo>
                    <a:lnTo>
                      <a:pt x="395897" y="75367"/>
                    </a:lnTo>
                    <a:lnTo>
                      <a:pt x="498735" y="1491"/>
                    </a:lnTo>
                    <a:cubicBezTo>
                      <a:pt x="502256" y="-1048"/>
                      <a:pt x="507190" y="-233"/>
                      <a:pt x="509730" y="3288"/>
                    </a:cubicBezTo>
                    <a:cubicBezTo>
                      <a:pt x="512269" y="6833"/>
                      <a:pt x="511454" y="11744"/>
                      <a:pt x="507909" y="14283"/>
                    </a:cubicBezTo>
                    <a:lnTo>
                      <a:pt x="403012" y="89644"/>
                    </a:lnTo>
                    <a:cubicBezTo>
                      <a:pt x="401671" y="90602"/>
                      <a:pt x="400090" y="91129"/>
                      <a:pt x="398437" y="91129"/>
                    </a:cubicBezTo>
                    <a:lnTo>
                      <a:pt x="117689" y="91632"/>
                    </a:lnTo>
                    <a:cubicBezTo>
                      <a:pt x="117689" y="91632"/>
                      <a:pt x="117689" y="91632"/>
                      <a:pt x="117689" y="91632"/>
                    </a:cubicBezTo>
                    <a:close/>
                  </a:path>
                </a:pathLst>
              </a:custGeom>
              <a:solidFill>
                <a:schemeClr val="accent1"/>
              </a:solidFill>
              <a:ln w="2392" cap="flat">
                <a:noFill/>
                <a:prstDash val="solid"/>
                <a:miter/>
              </a:ln>
            </p:spPr>
            <p:txBody>
              <a:bodyPr rtlCol="0" anchor="ctr"/>
              <a:lstStyle/>
              <a:p>
                <a:endParaRPr lang="en-GB" dirty="0"/>
              </a:p>
            </p:txBody>
          </p:sp>
          <p:sp>
            <p:nvSpPr>
              <p:cNvPr id="734" name="Freihandform: Form 733">
                <a:extLst>
                  <a:ext uri="{FF2B5EF4-FFF2-40B4-BE49-F238E27FC236}">
                    <a16:creationId xmlns:a16="http://schemas.microsoft.com/office/drawing/2014/main" id="{E5F5C6E1-0413-4711-BEDE-9603D35CACC8}"/>
                  </a:ext>
                </a:extLst>
              </p:cNvPr>
              <p:cNvSpPr/>
              <p:nvPr/>
            </p:nvSpPr>
            <p:spPr>
              <a:xfrm>
                <a:off x="7068988" y="1819754"/>
                <a:ext cx="528007" cy="323123"/>
              </a:xfrm>
              <a:custGeom>
                <a:avLst/>
                <a:gdLst>
                  <a:gd name="connsiteX0" fmla="*/ 520150 w 528007"/>
                  <a:gd name="connsiteY0" fmla="*/ 323124 h 323123"/>
                  <a:gd name="connsiteX1" fmla="*/ 457102 w 528007"/>
                  <a:gd name="connsiteY1" fmla="*/ 323124 h 323123"/>
                  <a:gd name="connsiteX2" fmla="*/ 449221 w 528007"/>
                  <a:gd name="connsiteY2" fmla="*/ 315243 h 323123"/>
                  <a:gd name="connsiteX3" fmla="*/ 457102 w 528007"/>
                  <a:gd name="connsiteY3" fmla="*/ 307362 h 323123"/>
                  <a:gd name="connsiteX4" fmla="*/ 512269 w 528007"/>
                  <a:gd name="connsiteY4" fmla="*/ 307362 h 323123"/>
                  <a:gd name="connsiteX5" fmla="*/ 512269 w 528007"/>
                  <a:gd name="connsiteY5" fmla="*/ 15762 h 323123"/>
                  <a:gd name="connsiteX6" fmla="*/ 15762 w 528007"/>
                  <a:gd name="connsiteY6" fmla="*/ 15762 h 323123"/>
                  <a:gd name="connsiteX7" fmla="*/ 15762 w 528007"/>
                  <a:gd name="connsiteY7" fmla="*/ 78811 h 323123"/>
                  <a:gd name="connsiteX8" fmla="*/ 7881 w 528007"/>
                  <a:gd name="connsiteY8" fmla="*/ 86692 h 323123"/>
                  <a:gd name="connsiteX9" fmla="*/ 0 w 528007"/>
                  <a:gd name="connsiteY9" fmla="*/ 78811 h 323123"/>
                  <a:gd name="connsiteX10" fmla="*/ 0 w 528007"/>
                  <a:gd name="connsiteY10" fmla="*/ 7881 h 323123"/>
                  <a:gd name="connsiteX11" fmla="*/ 7881 w 528007"/>
                  <a:gd name="connsiteY11" fmla="*/ 0 h 323123"/>
                  <a:gd name="connsiteX12" fmla="*/ 520126 w 528007"/>
                  <a:gd name="connsiteY12" fmla="*/ 0 h 323123"/>
                  <a:gd name="connsiteX13" fmla="*/ 528008 w 528007"/>
                  <a:gd name="connsiteY13" fmla="*/ 7881 h 323123"/>
                  <a:gd name="connsiteX14" fmla="*/ 528008 w 528007"/>
                  <a:gd name="connsiteY14" fmla="*/ 315243 h 323123"/>
                  <a:gd name="connsiteX15" fmla="*/ 520150 w 528007"/>
                  <a:gd name="connsiteY15" fmla="*/ 323124 h 323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8007" h="323123">
                    <a:moveTo>
                      <a:pt x="520150" y="323124"/>
                    </a:moveTo>
                    <a:lnTo>
                      <a:pt x="457102" y="323124"/>
                    </a:lnTo>
                    <a:cubicBezTo>
                      <a:pt x="452742" y="323124"/>
                      <a:pt x="449221" y="319602"/>
                      <a:pt x="449221" y="315243"/>
                    </a:cubicBezTo>
                    <a:cubicBezTo>
                      <a:pt x="449221" y="310883"/>
                      <a:pt x="452742" y="307362"/>
                      <a:pt x="457102" y="307362"/>
                    </a:cubicBezTo>
                    <a:lnTo>
                      <a:pt x="512269" y="307362"/>
                    </a:lnTo>
                    <a:lnTo>
                      <a:pt x="512269" y="15762"/>
                    </a:lnTo>
                    <a:lnTo>
                      <a:pt x="15762" y="15762"/>
                    </a:lnTo>
                    <a:lnTo>
                      <a:pt x="15762" y="78811"/>
                    </a:lnTo>
                    <a:cubicBezTo>
                      <a:pt x="15762" y="83170"/>
                      <a:pt x="12241" y="86692"/>
                      <a:pt x="7881" y="86692"/>
                    </a:cubicBezTo>
                    <a:cubicBezTo>
                      <a:pt x="3521" y="86692"/>
                      <a:pt x="0" y="83170"/>
                      <a:pt x="0" y="78811"/>
                    </a:cubicBezTo>
                    <a:lnTo>
                      <a:pt x="0" y="7881"/>
                    </a:lnTo>
                    <a:cubicBezTo>
                      <a:pt x="0" y="3521"/>
                      <a:pt x="3521" y="0"/>
                      <a:pt x="7881" y="0"/>
                    </a:cubicBezTo>
                    <a:lnTo>
                      <a:pt x="520126" y="0"/>
                    </a:lnTo>
                    <a:cubicBezTo>
                      <a:pt x="524486" y="0"/>
                      <a:pt x="528008" y="3521"/>
                      <a:pt x="528008" y="7881"/>
                    </a:cubicBezTo>
                    <a:lnTo>
                      <a:pt x="528008" y="315243"/>
                    </a:lnTo>
                    <a:cubicBezTo>
                      <a:pt x="528032" y="319602"/>
                      <a:pt x="524486" y="323124"/>
                      <a:pt x="520150" y="323124"/>
                    </a:cubicBezTo>
                    <a:close/>
                  </a:path>
                </a:pathLst>
              </a:custGeom>
              <a:solidFill>
                <a:schemeClr val="accent1"/>
              </a:solidFill>
              <a:ln w="2392" cap="flat">
                <a:noFill/>
                <a:prstDash val="solid"/>
                <a:miter/>
              </a:ln>
            </p:spPr>
            <p:txBody>
              <a:bodyPr rtlCol="0" anchor="ctr"/>
              <a:lstStyle/>
              <a:p>
                <a:endParaRPr lang="en-GB" dirty="0"/>
              </a:p>
            </p:txBody>
          </p:sp>
        </p:grpSp>
        <p:grpSp>
          <p:nvGrpSpPr>
            <p:cNvPr id="727" name="Grafik 14">
              <a:extLst>
                <a:ext uri="{FF2B5EF4-FFF2-40B4-BE49-F238E27FC236}">
                  <a16:creationId xmlns:a16="http://schemas.microsoft.com/office/drawing/2014/main" id="{8E5E6306-8184-4212-B34F-90D194C98302}"/>
                </a:ext>
              </a:extLst>
            </p:cNvPr>
            <p:cNvGrpSpPr/>
            <p:nvPr/>
          </p:nvGrpSpPr>
          <p:grpSpPr>
            <a:xfrm>
              <a:off x="6986095" y="1707814"/>
              <a:ext cx="567494" cy="350903"/>
              <a:chOff x="7005939" y="1895202"/>
              <a:chExt cx="528007" cy="326487"/>
            </a:xfrm>
            <a:solidFill>
              <a:schemeClr val="tx2"/>
            </a:solidFill>
          </p:grpSpPr>
          <p:grpSp>
            <p:nvGrpSpPr>
              <p:cNvPr id="728" name="Grafik 14">
                <a:extLst>
                  <a:ext uri="{FF2B5EF4-FFF2-40B4-BE49-F238E27FC236}">
                    <a16:creationId xmlns:a16="http://schemas.microsoft.com/office/drawing/2014/main" id="{55E3A945-F848-4EA4-B660-E9F9906FE58F}"/>
                  </a:ext>
                </a:extLst>
              </p:cNvPr>
              <p:cNvGrpSpPr/>
              <p:nvPr/>
            </p:nvGrpSpPr>
            <p:grpSpPr>
              <a:xfrm>
                <a:off x="7005939" y="1895202"/>
                <a:ext cx="528007" cy="326487"/>
                <a:chOff x="7005939" y="1895202"/>
                <a:chExt cx="528007" cy="326487"/>
              </a:xfrm>
              <a:grpFill/>
            </p:grpSpPr>
            <p:sp>
              <p:nvSpPr>
                <p:cNvPr id="731" name="Freihandform: Form 730">
                  <a:extLst>
                    <a:ext uri="{FF2B5EF4-FFF2-40B4-BE49-F238E27FC236}">
                      <a16:creationId xmlns:a16="http://schemas.microsoft.com/office/drawing/2014/main" id="{B8A812AF-56B7-469F-858C-1B67A9E183C9}"/>
                    </a:ext>
                  </a:extLst>
                </p:cNvPr>
                <p:cNvSpPr/>
                <p:nvPr/>
              </p:nvSpPr>
              <p:spPr>
                <a:xfrm>
                  <a:off x="7005939" y="1895211"/>
                  <a:ext cx="528007" cy="326477"/>
                </a:xfrm>
                <a:custGeom>
                  <a:avLst/>
                  <a:gdLst>
                    <a:gd name="connsiteX0" fmla="*/ 520150 w 528007"/>
                    <a:gd name="connsiteY0" fmla="*/ 326477 h 326477"/>
                    <a:gd name="connsiteX1" fmla="*/ 7881 w 528007"/>
                    <a:gd name="connsiteY1" fmla="*/ 326477 h 326477"/>
                    <a:gd name="connsiteX2" fmla="*/ 0 w 528007"/>
                    <a:gd name="connsiteY2" fmla="*/ 318596 h 326477"/>
                    <a:gd name="connsiteX3" fmla="*/ 0 w 528007"/>
                    <a:gd name="connsiteY3" fmla="*/ 7881 h 326477"/>
                    <a:gd name="connsiteX4" fmla="*/ 7881 w 528007"/>
                    <a:gd name="connsiteY4" fmla="*/ 0 h 326477"/>
                    <a:gd name="connsiteX5" fmla="*/ 520126 w 528007"/>
                    <a:gd name="connsiteY5" fmla="*/ 0 h 326477"/>
                    <a:gd name="connsiteX6" fmla="*/ 528007 w 528007"/>
                    <a:gd name="connsiteY6" fmla="*/ 7881 h 326477"/>
                    <a:gd name="connsiteX7" fmla="*/ 528007 w 528007"/>
                    <a:gd name="connsiteY7" fmla="*/ 318596 h 326477"/>
                    <a:gd name="connsiteX8" fmla="*/ 520150 w 528007"/>
                    <a:gd name="connsiteY8" fmla="*/ 326477 h 326477"/>
                    <a:gd name="connsiteX9" fmla="*/ 15762 w 528007"/>
                    <a:gd name="connsiteY9" fmla="*/ 310715 h 326477"/>
                    <a:gd name="connsiteX10" fmla="*/ 512245 w 528007"/>
                    <a:gd name="connsiteY10" fmla="*/ 310715 h 326477"/>
                    <a:gd name="connsiteX11" fmla="*/ 512245 w 528007"/>
                    <a:gd name="connsiteY11" fmla="*/ 15762 h 326477"/>
                    <a:gd name="connsiteX12" fmla="*/ 15762 w 528007"/>
                    <a:gd name="connsiteY12" fmla="*/ 15762 h 326477"/>
                    <a:gd name="connsiteX13" fmla="*/ 15762 w 528007"/>
                    <a:gd name="connsiteY13" fmla="*/ 310715 h 32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8007" h="326477">
                      <a:moveTo>
                        <a:pt x="520150" y="326477"/>
                      </a:moveTo>
                      <a:lnTo>
                        <a:pt x="7881" y="326477"/>
                      </a:lnTo>
                      <a:cubicBezTo>
                        <a:pt x="3521" y="326477"/>
                        <a:pt x="0" y="322956"/>
                        <a:pt x="0" y="318596"/>
                      </a:cubicBezTo>
                      <a:lnTo>
                        <a:pt x="0" y="7881"/>
                      </a:lnTo>
                      <a:cubicBezTo>
                        <a:pt x="0" y="3521"/>
                        <a:pt x="3521" y="0"/>
                        <a:pt x="7881" y="0"/>
                      </a:cubicBezTo>
                      <a:lnTo>
                        <a:pt x="520126" y="0"/>
                      </a:lnTo>
                      <a:cubicBezTo>
                        <a:pt x="524486" y="0"/>
                        <a:pt x="528007" y="3521"/>
                        <a:pt x="528007" y="7881"/>
                      </a:cubicBezTo>
                      <a:lnTo>
                        <a:pt x="528007" y="318596"/>
                      </a:lnTo>
                      <a:cubicBezTo>
                        <a:pt x="528031" y="322956"/>
                        <a:pt x="524510" y="326477"/>
                        <a:pt x="520150" y="326477"/>
                      </a:cubicBezTo>
                      <a:close/>
                      <a:moveTo>
                        <a:pt x="15762" y="310715"/>
                      </a:moveTo>
                      <a:lnTo>
                        <a:pt x="512245" y="310715"/>
                      </a:lnTo>
                      <a:lnTo>
                        <a:pt x="512245" y="15762"/>
                      </a:lnTo>
                      <a:lnTo>
                        <a:pt x="15762" y="15762"/>
                      </a:lnTo>
                      <a:lnTo>
                        <a:pt x="15762" y="310715"/>
                      </a:lnTo>
                      <a:close/>
                    </a:path>
                  </a:pathLst>
                </a:custGeom>
                <a:grpFill/>
                <a:ln w="2392" cap="flat">
                  <a:noFill/>
                  <a:prstDash val="solid"/>
                  <a:miter/>
                </a:ln>
              </p:spPr>
              <p:txBody>
                <a:bodyPr rtlCol="0" anchor="ctr"/>
                <a:lstStyle/>
                <a:p>
                  <a:endParaRPr lang="en-GB" dirty="0"/>
                </a:p>
              </p:txBody>
            </p:sp>
            <p:sp>
              <p:nvSpPr>
                <p:cNvPr id="732" name="Freihandform: Form 731">
                  <a:extLst>
                    <a:ext uri="{FF2B5EF4-FFF2-40B4-BE49-F238E27FC236}">
                      <a16:creationId xmlns:a16="http://schemas.microsoft.com/office/drawing/2014/main" id="{6820594F-EE82-48D9-AA1D-E001AAEF3004}"/>
                    </a:ext>
                  </a:extLst>
                </p:cNvPr>
                <p:cNvSpPr/>
                <p:nvPr/>
              </p:nvSpPr>
              <p:spPr>
                <a:xfrm>
                  <a:off x="7014350" y="1895202"/>
                  <a:ext cx="511197" cy="192125"/>
                </a:xfrm>
                <a:custGeom>
                  <a:avLst/>
                  <a:gdLst>
                    <a:gd name="connsiteX0" fmla="*/ 251400 w 511197"/>
                    <a:gd name="connsiteY0" fmla="*/ 192126 h 192125"/>
                    <a:gd name="connsiteX1" fmla="*/ 246777 w 511197"/>
                    <a:gd name="connsiteY1" fmla="*/ 190617 h 192125"/>
                    <a:gd name="connsiteX2" fmla="*/ 3255 w 511197"/>
                    <a:gd name="connsiteY2" fmla="*/ 14263 h 192125"/>
                    <a:gd name="connsiteX3" fmla="*/ 1506 w 511197"/>
                    <a:gd name="connsiteY3" fmla="*/ 3268 h 192125"/>
                    <a:gd name="connsiteX4" fmla="*/ 12501 w 511197"/>
                    <a:gd name="connsiteY4" fmla="*/ 1495 h 192125"/>
                    <a:gd name="connsiteX5" fmla="*/ 251472 w 511197"/>
                    <a:gd name="connsiteY5" fmla="*/ 174543 h 192125"/>
                    <a:gd name="connsiteX6" fmla="*/ 498804 w 511197"/>
                    <a:gd name="connsiteY6" fmla="*/ 1423 h 192125"/>
                    <a:gd name="connsiteX7" fmla="*/ 509775 w 511197"/>
                    <a:gd name="connsiteY7" fmla="*/ 3363 h 192125"/>
                    <a:gd name="connsiteX8" fmla="*/ 507835 w 511197"/>
                    <a:gd name="connsiteY8" fmla="*/ 14335 h 192125"/>
                    <a:gd name="connsiteX9" fmla="*/ 255904 w 511197"/>
                    <a:gd name="connsiteY9" fmla="*/ 190688 h 192125"/>
                    <a:gd name="connsiteX10" fmla="*/ 251400 w 511197"/>
                    <a:gd name="connsiteY10" fmla="*/ 192126 h 192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1197" h="192125">
                      <a:moveTo>
                        <a:pt x="251400" y="192126"/>
                      </a:moveTo>
                      <a:cubicBezTo>
                        <a:pt x="249772" y="192126"/>
                        <a:pt x="248143" y="191623"/>
                        <a:pt x="246777" y="190617"/>
                      </a:cubicBezTo>
                      <a:lnTo>
                        <a:pt x="3255" y="14263"/>
                      </a:lnTo>
                      <a:cubicBezTo>
                        <a:pt x="-267" y="11700"/>
                        <a:pt x="-1057" y="6789"/>
                        <a:pt x="1506" y="3268"/>
                      </a:cubicBezTo>
                      <a:cubicBezTo>
                        <a:pt x="4069" y="-254"/>
                        <a:pt x="8980" y="-1044"/>
                        <a:pt x="12501" y="1495"/>
                      </a:cubicBezTo>
                      <a:lnTo>
                        <a:pt x="251472" y="174543"/>
                      </a:lnTo>
                      <a:lnTo>
                        <a:pt x="498804" y="1423"/>
                      </a:lnTo>
                      <a:cubicBezTo>
                        <a:pt x="502349" y="-1068"/>
                        <a:pt x="507284" y="-206"/>
                        <a:pt x="509775" y="3363"/>
                      </a:cubicBezTo>
                      <a:cubicBezTo>
                        <a:pt x="512266" y="6933"/>
                        <a:pt x="511404" y="11843"/>
                        <a:pt x="507835" y="14335"/>
                      </a:cubicBezTo>
                      <a:lnTo>
                        <a:pt x="255904" y="190688"/>
                      </a:lnTo>
                      <a:cubicBezTo>
                        <a:pt x="254562" y="191647"/>
                        <a:pt x="252982" y="192126"/>
                        <a:pt x="251400" y="192126"/>
                      </a:cubicBezTo>
                      <a:close/>
                    </a:path>
                  </a:pathLst>
                </a:custGeom>
                <a:grpFill/>
                <a:ln w="2392" cap="flat">
                  <a:noFill/>
                  <a:prstDash val="solid"/>
                  <a:miter/>
                </a:ln>
              </p:spPr>
              <p:txBody>
                <a:bodyPr rtlCol="0" anchor="ctr"/>
                <a:lstStyle/>
                <a:p>
                  <a:endParaRPr lang="en-GB" dirty="0"/>
                </a:p>
              </p:txBody>
            </p:sp>
          </p:grpSp>
          <p:sp>
            <p:nvSpPr>
              <p:cNvPr id="729" name="Freihandform: Form 728">
                <a:extLst>
                  <a:ext uri="{FF2B5EF4-FFF2-40B4-BE49-F238E27FC236}">
                    <a16:creationId xmlns:a16="http://schemas.microsoft.com/office/drawing/2014/main" id="{6ED5EBE7-0A5E-4558-886C-ED9DC692CAE8}"/>
                  </a:ext>
                </a:extLst>
              </p:cNvPr>
              <p:cNvSpPr/>
              <p:nvPr/>
            </p:nvSpPr>
            <p:spPr>
              <a:xfrm>
                <a:off x="7009618" y="2054740"/>
                <a:ext cx="238823" cy="164313"/>
              </a:xfrm>
              <a:custGeom>
                <a:avLst/>
                <a:gdLst>
                  <a:gd name="connsiteX0" fmla="*/ 7891 w 238823"/>
                  <a:gd name="connsiteY0" fmla="*/ 164313 h 164313"/>
                  <a:gd name="connsiteX1" fmla="*/ 1327 w 238823"/>
                  <a:gd name="connsiteY1" fmla="*/ 160792 h 164313"/>
                  <a:gd name="connsiteX2" fmla="*/ 3507 w 238823"/>
                  <a:gd name="connsiteY2" fmla="*/ 149869 h 164313"/>
                  <a:gd name="connsiteX3" fmla="*/ 226573 w 238823"/>
                  <a:gd name="connsiteY3" fmla="*/ 1326 h 164313"/>
                  <a:gd name="connsiteX4" fmla="*/ 237496 w 238823"/>
                  <a:gd name="connsiteY4" fmla="*/ 3530 h 164313"/>
                  <a:gd name="connsiteX5" fmla="*/ 235316 w 238823"/>
                  <a:gd name="connsiteY5" fmla="*/ 14453 h 164313"/>
                  <a:gd name="connsiteX6" fmla="*/ 12251 w 238823"/>
                  <a:gd name="connsiteY6" fmla="*/ 162996 h 164313"/>
                  <a:gd name="connsiteX7" fmla="*/ 7891 w 238823"/>
                  <a:gd name="connsiteY7" fmla="*/ 164313 h 164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823" h="164313">
                    <a:moveTo>
                      <a:pt x="7891" y="164313"/>
                    </a:moveTo>
                    <a:cubicBezTo>
                      <a:pt x="5352" y="164313"/>
                      <a:pt x="2837" y="163092"/>
                      <a:pt x="1327" y="160792"/>
                    </a:cubicBezTo>
                    <a:cubicBezTo>
                      <a:pt x="-1092" y="157175"/>
                      <a:pt x="-110" y="152264"/>
                      <a:pt x="3507" y="149869"/>
                    </a:cubicBezTo>
                    <a:lnTo>
                      <a:pt x="226573" y="1326"/>
                    </a:lnTo>
                    <a:cubicBezTo>
                      <a:pt x="230214" y="-1093"/>
                      <a:pt x="235100" y="-111"/>
                      <a:pt x="237496" y="3530"/>
                    </a:cubicBezTo>
                    <a:cubicBezTo>
                      <a:pt x="239915" y="7147"/>
                      <a:pt x="238933" y="12058"/>
                      <a:pt x="235316" y="14453"/>
                    </a:cubicBezTo>
                    <a:lnTo>
                      <a:pt x="12251" y="162996"/>
                    </a:lnTo>
                    <a:cubicBezTo>
                      <a:pt x="10909" y="163882"/>
                      <a:pt x="9400" y="164313"/>
                      <a:pt x="7891" y="164313"/>
                    </a:cubicBezTo>
                    <a:close/>
                  </a:path>
                </a:pathLst>
              </a:custGeom>
              <a:grpFill/>
              <a:ln w="2392" cap="flat">
                <a:noFill/>
                <a:prstDash val="solid"/>
                <a:miter/>
              </a:ln>
            </p:spPr>
            <p:txBody>
              <a:bodyPr rtlCol="0" anchor="ctr"/>
              <a:lstStyle/>
              <a:p>
                <a:endParaRPr lang="en-GB" dirty="0"/>
              </a:p>
            </p:txBody>
          </p:sp>
          <p:sp>
            <p:nvSpPr>
              <p:cNvPr id="730" name="Freihandform: Form 729">
                <a:extLst>
                  <a:ext uri="{FF2B5EF4-FFF2-40B4-BE49-F238E27FC236}">
                    <a16:creationId xmlns:a16="http://schemas.microsoft.com/office/drawing/2014/main" id="{0F0B2BBC-EC34-4056-B31F-0BD72BD53D39}"/>
                  </a:ext>
                </a:extLst>
              </p:cNvPr>
              <p:cNvSpPr/>
              <p:nvPr/>
            </p:nvSpPr>
            <p:spPr>
              <a:xfrm>
                <a:off x="7291468" y="2054757"/>
                <a:ext cx="238823" cy="164296"/>
              </a:xfrm>
              <a:custGeom>
                <a:avLst/>
                <a:gdLst>
                  <a:gd name="connsiteX0" fmla="*/ 230932 w 238823"/>
                  <a:gd name="connsiteY0" fmla="*/ 164297 h 164296"/>
                  <a:gd name="connsiteX1" fmla="*/ 226573 w 238823"/>
                  <a:gd name="connsiteY1" fmla="*/ 162979 h 164296"/>
                  <a:gd name="connsiteX2" fmla="*/ 3507 w 238823"/>
                  <a:gd name="connsiteY2" fmla="*/ 14437 h 164296"/>
                  <a:gd name="connsiteX3" fmla="*/ 1327 w 238823"/>
                  <a:gd name="connsiteY3" fmla="*/ 3513 h 164296"/>
                  <a:gd name="connsiteX4" fmla="*/ 12251 w 238823"/>
                  <a:gd name="connsiteY4" fmla="*/ 1309 h 164296"/>
                  <a:gd name="connsiteX5" fmla="*/ 235316 w 238823"/>
                  <a:gd name="connsiteY5" fmla="*/ 149852 h 164296"/>
                  <a:gd name="connsiteX6" fmla="*/ 237496 w 238823"/>
                  <a:gd name="connsiteY6" fmla="*/ 160775 h 164296"/>
                  <a:gd name="connsiteX7" fmla="*/ 230932 w 238823"/>
                  <a:gd name="connsiteY7" fmla="*/ 164297 h 164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8823" h="164296">
                    <a:moveTo>
                      <a:pt x="230932" y="164297"/>
                    </a:moveTo>
                    <a:cubicBezTo>
                      <a:pt x="229423" y="164297"/>
                      <a:pt x="227914" y="163865"/>
                      <a:pt x="226573" y="162979"/>
                    </a:cubicBezTo>
                    <a:lnTo>
                      <a:pt x="3507" y="14437"/>
                    </a:lnTo>
                    <a:cubicBezTo>
                      <a:pt x="-110" y="12017"/>
                      <a:pt x="-1092" y="7130"/>
                      <a:pt x="1327" y="3513"/>
                    </a:cubicBezTo>
                    <a:cubicBezTo>
                      <a:pt x="3747" y="-104"/>
                      <a:pt x="8610" y="-1086"/>
                      <a:pt x="12251" y="1309"/>
                    </a:cubicBezTo>
                    <a:lnTo>
                      <a:pt x="235316" y="149852"/>
                    </a:lnTo>
                    <a:cubicBezTo>
                      <a:pt x="238933" y="152271"/>
                      <a:pt x="239915" y="157158"/>
                      <a:pt x="237496" y="160775"/>
                    </a:cubicBezTo>
                    <a:cubicBezTo>
                      <a:pt x="235987" y="163075"/>
                      <a:pt x="233472" y="164297"/>
                      <a:pt x="230932" y="164297"/>
                    </a:cubicBezTo>
                    <a:close/>
                  </a:path>
                </a:pathLst>
              </a:custGeom>
              <a:grpFill/>
              <a:ln w="2392" cap="flat">
                <a:noFill/>
                <a:prstDash val="solid"/>
                <a:miter/>
              </a:ln>
            </p:spPr>
            <p:txBody>
              <a:bodyPr rtlCol="0" anchor="ctr"/>
              <a:lstStyle/>
              <a:p>
                <a:endParaRPr lang="en-GB" dirty="0"/>
              </a:p>
            </p:txBody>
          </p:sp>
        </p:grpSp>
      </p:grpSp>
      <p:grpSp>
        <p:nvGrpSpPr>
          <p:cNvPr id="23" name="Group 22">
            <a:extLst>
              <a:ext uri="{FF2B5EF4-FFF2-40B4-BE49-F238E27FC236}">
                <a16:creationId xmlns:a16="http://schemas.microsoft.com/office/drawing/2014/main" id="{FCB988D0-6CE1-A04A-3EB6-324D9B3DF951}"/>
              </a:ext>
            </a:extLst>
          </p:cNvPr>
          <p:cNvGrpSpPr/>
          <p:nvPr/>
        </p:nvGrpSpPr>
        <p:grpSpPr>
          <a:xfrm>
            <a:off x="8111666" y="2449341"/>
            <a:ext cx="475807" cy="432000"/>
            <a:chOff x="8111254" y="2449341"/>
            <a:chExt cx="475807" cy="432000"/>
          </a:xfrm>
        </p:grpSpPr>
        <p:grpSp>
          <p:nvGrpSpPr>
            <p:cNvPr id="736" name="Grafik 14">
              <a:extLst>
                <a:ext uri="{FF2B5EF4-FFF2-40B4-BE49-F238E27FC236}">
                  <a16:creationId xmlns:a16="http://schemas.microsoft.com/office/drawing/2014/main" id="{1F92D0F6-62BA-4961-B673-28A16F21A9FC}"/>
                </a:ext>
              </a:extLst>
            </p:cNvPr>
            <p:cNvGrpSpPr/>
            <p:nvPr/>
          </p:nvGrpSpPr>
          <p:grpSpPr>
            <a:xfrm>
              <a:off x="8111259" y="2536998"/>
              <a:ext cx="438270" cy="300498"/>
              <a:chOff x="8061984" y="2623605"/>
              <a:chExt cx="551686" cy="378261"/>
            </a:xfrm>
            <a:solidFill>
              <a:schemeClr val="accent1"/>
            </a:solidFill>
          </p:grpSpPr>
          <p:sp>
            <p:nvSpPr>
              <p:cNvPr id="740" name="Freihandform: Form 739">
                <a:extLst>
                  <a:ext uri="{FF2B5EF4-FFF2-40B4-BE49-F238E27FC236}">
                    <a16:creationId xmlns:a16="http://schemas.microsoft.com/office/drawing/2014/main" id="{E02E882B-5268-474F-AD63-D5D9B333CE1B}"/>
                  </a:ext>
                </a:extLst>
              </p:cNvPr>
              <p:cNvSpPr/>
              <p:nvPr/>
            </p:nvSpPr>
            <p:spPr>
              <a:xfrm>
                <a:off x="8550610" y="2867918"/>
                <a:ext cx="63060" cy="63042"/>
              </a:xfrm>
              <a:custGeom>
                <a:avLst/>
                <a:gdLst>
                  <a:gd name="connsiteX0" fmla="*/ 49580 w 63060"/>
                  <a:gd name="connsiteY0" fmla="*/ 60743 h 63042"/>
                  <a:gd name="connsiteX1" fmla="*/ 55161 w 63060"/>
                  <a:gd name="connsiteY1" fmla="*/ 63043 h 63042"/>
                  <a:gd name="connsiteX2" fmla="*/ 60743 w 63060"/>
                  <a:gd name="connsiteY2" fmla="*/ 60743 h 63042"/>
                  <a:gd name="connsiteX3" fmla="*/ 60743 w 63060"/>
                  <a:gd name="connsiteY3" fmla="*/ 49604 h 63042"/>
                  <a:gd name="connsiteX4" fmla="*/ 13456 w 63060"/>
                  <a:gd name="connsiteY4" fmla="*/ 2318 h 63042"/>
                  <a:gd name="connsiteX5" fmla="*/ 2317 w 63060"/>
                  <a:gd name="connsiteY5" fmla="*/ 2318 h 63042"/>
                  <a:gd name="connsiteX6" fmla="*/ 2317 w 63060"/>
                  <a:gd name="connsiteY6" fmla="*/ 13456 h 63042"/>
                  <a:gd name="connsiteX7" fmla="*/ 49580 w 63060"/>
                  <a:gd name="connsiteY7" fmla="*/ 60743 h 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60" h="63042">
                    <a:moveTo>
                      <a:pt x="49580" y="60743"/>
                    </a:moveTo>
                    <a:cubicBezTo>
                      <a:pt x="51113" y="62276"/>
                      <a:pt x="53125" y="63043"/>
                      <a:pt x="55161" y="63043"/>
                    </a:cubicBezTo>
                    <a:cubicBezTo>
                      <a:pt x="57198" y="63043"/>
                      <a:pt x="59186" y="62276"/>
                      <a:pt x="60743" y="60743"/>
                    </a:cubicBezTo>
                    <a:cubicBezTo>
                      <a:pt x="63833" y="57653"/>
                      <a:pt x="63833" y="52670"/>
                      <a:pt x="60743" y="49604"/>
                    </a:cubicBezTo>
                    <a:lnTo>
                      <a:pt x="13456" y="2318"/>
                    </a:lnTo>
                    <a:cubicBezTo>
                      <a:pt x="10366" y="-773"/>
                      <a:pt x="5384" y="-773"/>
                      <a:pt x="2317" y="2318"/>
                    </a:cubicBezTo>
                    <a:cubicBezTo>
                      <a:pt x="-772" y="5408"/>
                      <a:pt x="-772" y="10390"/>
                      <a:pt x="2317" y="13456"/>
                    </a:cubicBezTo>
                    <a:lnTo>
                      <a:pt x="49580" y="60743"/>
                    </a:lnTo>
                    <a:close/>
                  </a:path>
                </a:pathLst>
              </a:custGeom>
              <a:solidFill>
                <a:schemeClr val="accent1"/>
              </a:solidFill>
              <a:ln w="2392" cap="flat">
                <a:noFill/>
                <a:prstDash val="solid"/>
                <a:miter/>
              </a:ln>
            </p:spPr>
            <p:txBody>
              <a:bodyPr rtlCol="0" anchor="ctr"/>
              <a:lstStyle/>
              <a:p>
                <a:endParaRPr lang="en-GB" dirty="0"/>
              </a:p>
            </p:txBody>
          </p:sp>
          <p:sp>
            <p:nvSpPr>
              <p:cNvPr id="741" name="Freihandform: Form 740">
                <a:extLst>
                  <a:ext uri="{FF2B5EF4-FFF2-40B4-BE49-F238E27FC236}">
                    <a16:creationId xmlns:a16="http://schemas.microsoft.com/office/drawing/2014/main" id="{875341DC-0ED0-4864-88B6-F2CB9E5EC970}"/>
                  </a:ext>
                </a:extLst>
              </p:cNvPr>
              <p:cNvSpPr/>
              <p:nvPr/>
            </p:nvSpPr>
            <p:spPr>
              <a:xfrm>
                <a:off x="8550586" y="2938824"/>
                <a:ext cx="63084" cy="63042"/>
              </a:xfrm>
              <a:custGeom>
                <a:avLst/>
                <a:gdLst>
                  <a:gd name="connsiteX0" fmla="*/ 13456 w 63084"/>
                  <a:gd name="connsiteY0" fmla="*/ 2318 h 63042"/>
                  <a:gd name="connsiteX1" fmla="*/ 2317 w 63084"/>
                  <a:gd name="connsiteY1" fmla="*/ 2318 h 63042"/>
                  <a:gd name="connsiteX2" fmla="*/ 2317 w 63084"/>
                  <a:gd name="connsiteY2" fmla="*/ 13457 h 63042"/>
                  <a:gd name="connsiteX3" fmla="*/ 49604 w 63084"/>
                  <a:gd name="connsiteY3" fmla="*/ 60743 h 63042"/>
                  <a:gd name="connsiteX4" fmla="*/ 55185 w 63084"/>
                  <a:gd name="connsiteY4" fmla="*/ 63043 h 63042"/>
                  <a:gd name="connsiteX5" fmla="*/ 60767 w 63084"/>
                  <a:gd name="connsiteY5" fmla="*/ 60743 h 63042"/>
                  <a:gd name="connsiteX6" fmla="*/ 60767 w 63084"/>
                  <a:gd name="connsiteY6" fmla="*/ 49604 h 63042"/>
                  <a:gd name="connsiteX7" fmla="*/ 13456 w 63084"/>
                  <a:gd name="connsiteY7" fmla="*/ 2318 h 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84" h="63042">
                    <a:moveTo>
                      <a:pt x="13456" y="2318"/>
                    </a:moveTo>
                    <a:cubicBezTo>
                      <a:pt x="10366" y="-773"/>
                      <a:pt x="5384" y="-773"/>
                      <a:pt x="2317" y="2318"/>
                    </a:cubicBezTo>
                    <a:cubicBezTo>
                      <a:pt x="-772" y="5408"/>
                      <a:pt x="-772" y="10390"/>
                      <a:pt x="2317" y="13457"/>
                    </a:cubicBezTo>
                    <a:lnTo>
                      <a:pt x="49604" y="60743"/>
                    </a:lnTo>
                    <a:cubicBezTo>
                      <a:pt x="51137" y="62276"/>
                      <a:pt x="53149" y="63043"/>
                      <a:pt x="55185" y="63043"/>
                    </a:cubicBezTo>
                    <a:cubicBezTo>
                      <a:pt x="57222" y="63043"/>
                      <a:pt x="59210" y="62276"/>
                      <a:pt x="60767" y="60743"/>
                    </a:cubicBezTo>
                    <a:cubicBezTo>
                      <a:pt x="63857" y="57653"/>
                      <a:pt x="63857" y="52670"/>
                      <a:pt x="60767" y="49604"/>
                    </a:cubicBezTo>
                    <a:lnTo>
                      <a:pt x="13456" y="2318"/>
                    </a:lnTo>
                    <a:close/>
                  </a:path>
                </a:pathLst>
              </a:custGeom>
              <a:solidFill>
                <a:schemeClr val="accent1"/>
              </a:solidFill>
              <a:ln w="2392" cap="flat">
                <a:noFill/>
                <a:prstDash val="solid"/>
                <a:miter/>
              </a:ln>
            </p:spPr>
            <p:txBody>
              <a:bodyPr rtlCol="0" anchor="ctr"/>
              <a:lstStyle/>
              <a:p>
                <a:endParaRPr lang="en-GB" dirty="0"/>
              </a:p>
            </p:txBody>
          </p:sp>
          <p:sp>
            <p:nvSpPr>
              <p:cNvPr id="742" name="Freihandform: Form 741">
                <a:extLst>
                  <a:ext uri="{FF2B5EF4-FFF2-40B4-BE49-F238E27FC236}">
                    <a16:creationId xmlns:a16="http://schemas.microsoft.com/office/drawing/2014/main" id="{E3BFC32C-49A8-4BA0-AC3C-DD144A6C0248}"/>
                  </a:ext>
                </a:extLst>
              </p:cNvPr>
              <p:cNvSpPr/>
              <p:nvPr/>
            </p:nvSpPr>
            <p:spPr>
              <a:xfrm>
                <a:off x="8061984" y="2623605"/>
                <a:ext cx="63084" cy="63042"/>
              </a:xfrm>
              <a:custGeom>
                <a:avLst/>
                <a:gdLst>
                  <a:gd name="connsiteX0" fmla="*/ 13456 w 63084"/>
                  <a:gd name="connsiteY0" fmla="*/ 2318 h 63042"/>
                  <a:gd name="connsiteX1" fmla="*/ 2317 w 63084"/>
                  <a:gd name="connsiteY1" fmla="*/ 2318 h 63042"/>
                  <a:gd name="connsiteX2" fmla="*/ 2317 w 63084"/>
                  <a:gd name="connsiteY2" fmla="*/ 13457 h 63042"/>
                  <a:gd name="connsiteX3" fmla="*/ 49604 w 63084"/>
                  <a:gd name="connsiteY3" fmla="*/ 60743 h 63042"/>
                  <a:gd name="connsiteX4" fmla="*/ 55185 w 63084"/>
                  <a:gd name="connsiteY4" fmla="*/ 63043 h 63042"/>
                  <a:gd name="connsiteX5" fmla="*/ 60767 w 63084"/>
                  <a:gd name="connsiteY5" fmla="*/ 60743 h 63042"/>
                  <a:gd name="connsiteX6" fmla="*/ 60767 w 63084"/>
                  <a:gd name="connsiteY6" fmla="*/ 49604 h 63042"/>
                  <a:gd name="connsiteX7" fmla="*/ 13456 w 63084"/>
                  <a:gd name="connsiteY7" fmla="*/ 2318 h 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84" h="63042">
                    <a:moveTo>
                      <a:pt x="13456" y="2318"/>
                    </a:moveTo>
                    <a:cubicBezTo>
                      <a:pt x="10366" y="-773"/>
                      <a:pt x="5384" y="-773"/>
                      <a:pt x="2317" y="2318"/>
                    </a:cubicBezTo>
                    <a:cubicBezTo>
                      <a:pt x="-772" y="5408"/>
                      <a:pt x="-772" y="10390"/>
                      <a:pt x="2317" y="13457"/>
                    </a:cubicBezTo>
                    <a:lnTo>
                      <a:pt x="49604" y="60743"/>
                    </a:lnTo>
                    <a:cubicBezTo>
                      <a:pt x="51137" y="62276"/>
                      <a:pt x="53149" y="63043"/>
                      <a:pt x="55185" y="63043"/>
                    </a:cubicBezTo>
                    <a:cubicBezTo>
                      <a:pt x="57222" y="63043"/>
                      <a:pt x="59210" y="62276"/>
                      <a:pt x="60767" y="60743"/>
                    </a:cubicBezTo>
                    <a:cubicBezTo>
                      <a:pt x="63857" y="57653"/>
                      <a:pt x="63857" y="52670"/>
                      <a:pt x="60767" y="49604"/>
                    </a:cubicBezTo>
                    <a:lnTo>
                      <a:pt x="13456" y="2318"/>
                    </a:lnTo>
                    <a:close/>
                  </a:path>
                </a:pathLst>
              </a:custGeom>
              <a:solidFill>
                <a:schemeClr val="accent1"/>
              </a:solidFill>
              <a:ln w="2392" cap="flat">
                <a:noFill/>
                <a:prstDash val="solid"/>
                <a:miter/>
              </a:ln>
            </p:spPr>
            <p:txBody>
              <a:bodyPr rtlCol="0" anchor="ctr"/>
              <a:lstStyle/>
              <a:p>
                <a:endParaRPr lang="en-GB" dirty="0"/>
              </a:p>
            </p:txBody>
          </p:sp>
          <p:sp>
            <p:nvSpPr>
              <p:cNvPr id="743" name="Freihandform: Form 742">
                <a:extLst>
                  <a:ext uri="{FF2B5EF4-FFF2-40B4-BE49-F238E27FC236}">
                    <a16:creationId xmlns:a16="http://schemas.microsoft.com/office/drawing/2014/main" id="{B1030632-A0E8-4A99-A9A1-273BEDAAEC28}"/>
                  </a:ext>
                </a:extLst>
              </p:cNvPr>
              <p:cNvSpPr/>
              <p:nvPr/>
            </p:nvSpPr>
            <p:spPr>
              <a:xfrm>
                <a:off x="8061984" y="2694535"/>
                <a:ext cx="63084" cy="63042"/>
              </a:xfrm>
              <a:custGeom>
                <a:avLst/>
                <a:gdLst>
                  <a:gd name="connsiteX0" fmla="*/ 13456 w 63084"/>
                  <a:gd name="connsiteY0" fmla="*/ 2318 h 63042"/>
                  <a:gd name="connsiteX1" fmla="*/ 2317 w 63084"/>
                  <a:gd name="connsiteY1" fmla="*/ 2318 h 63042"/>
                  <a:gd name="connsiteX2" fmla="*/ 2317 w 63084"/>
                  <a:gd name="connsiteY2" fmla="*/ 13457 h 63042"/>
                  <a:gd name="connsiteX3" fmla="*/ 49604 w 63084"/>
                  <a:gd name="connsiteY3" fmla="*/ 60743 h 63042"/>
                  <a:gd name="connsiteX4" fmla="*/ 55185 w 63084"/>
                  <a:gd name="connsiteY4" fmla="*/ 63042 h 63042"/>
                  <a:gd name="connsiteX5" fmla="*/ 60767 w 63084"/>
                  <a:gd name="connsiteY5" fmla="*/ 60743 h 63042"/>
                  <a:gd name="connsiteX6" fmla="*/ 60767 w 63084"/>
                  <a:gd name="connsiteY6" fmla="*/ 49604 h 63042"/>
                  <a:gd name="connsiteX7" fmla="*/ 13456 w 63084"/>
                  <a:gd name="connsiteY7" fmla="*/ 2318 h 63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084" h="63042">
                    <a:moveTo>
                      <a:pt x="13456" y="2318"/>
                    </a:moveTo>
                    <a:cubicBezTo>
                      <a:pt x="10366" y="-773"/>
                      <a:pt x="5384" y="-773"/>
                      <a:pt x="2317" y="2318"/>
                    </a:cubicBezTo>
                    <a:cubicBezTo>
                      <a:pt x="-772" y="5408"/>
                      <a:pt x="-772" y="10390"/>
                      <a:pt x="2317" y="13457"/>
                    </a:cubicBezTo>
                    <a:lnTo>
                      <a:pt x="49604" y="60743"/>
                    </a:lnTo>
                    <a:cubicBezTo>
                      <a:pt x="51137" y="62276"/>
                      <a:pt x="53149" y="63042"/>
                      <a:pt x="55185" y="63042"/>
                    </a:cubicBezTo>
                    <a:cubicBezTo>
                      <a:pt x="57222" y="63042"/>
                      <a:pt x="59210" y="62276"/>
                      <a:pt x="60767" y="60743"/>
                    </a:cubicBezTo>
                    <a:cubicBezTo>
                      <a:pt x="63857" y="57653"/>
                      <a:pt x="63857" y="52670"/>
                      <a:pt x="60767" y="49604"/>
                    </a:cubicBezTo>
                    <a:lnTo>
                      <a:pt x="13456" y="2318"/>
                    </a:lnTo>
                    <a:close/>
                  </a:path>
                </a:pathLst>
              </a:custGeom>
              <a:solidFill>
                <a:schemeClr val="accent1"/>
              </a:solidFill>
              <a:ln w="2392" cap="flat">
                <a:noFill/>
                <a:prstDash val="solid"/>
                <a:miter/>
              </a:ln>
            </p:spPr>
            <p:txBody>
              <a:bodyPr rtlCol="0" anchor="ctr"/>
              <a:lstStyle/>
              <a:p>
                <a:endParaRPr lang="en-GB" dirty="0"/>
              </a:p>
            </p:txBody>
          </p:sp>
        </p:grpSp>
        <p:grpSp>
          <p:nvGrpSpPr>
            <p:cNvPr id="737" name="Grafik 14">
              <a:extLst>
                <a:ext uri="{FF2B5EF4-FFF2-40B4-BE49-F238E27FC236}">
                  <a16:creationId xmlns:a16="http://schemas.microsoft.com/office/drawing/2014/main" id="{DD796910-1014-470F-8F75-D7229C41AAEB}"/>
                </a:ext>
              </a:extLst>
            </p:cNvPr>
            <p:cNvGrpSpPr/>
            <p:nvPr/>
          </p:nvGrpSpPr>
          <p:grpSpPr>
            <a:xfrm>
              <a:off x="8111254" y="2449341"/>
              <a:ext cx="475807" cy="432000"/>
              <a:chOff x="8061978" y="2513264"/>
              <a:chExt cx="598937" cy="543793"/>
            </a:xfrm>
            <a:solidFill>
              <a:schemeClr val="tx2"/>
            </a:solidFill>
          </p:grpSpPr>
          <p:sp>
            <p:nvSpPr>
              <p:cNvPr id="738" name="Freihandform: Form 737">
                <a:extLst>
                  <a:ext uri="{FF2B5EF4-FFF2-40B4-BE49-F238E27FC236}">
                    <a16:creationId xmlns:a16="http://schemas.microsoft.com/office/drawing/2014/main" id="{DB386579-0F8D-433E-B3EF-11AE8255CAAE}"/>
                  </a:ext>
                </a:extLst>
              </p:cNvPr>
              <p:cNvSpPr/>
              <p:nvPr/>
            </p:nvSpPr>
            <p:spPr>
              <a:xfrm>
                <a:off x="8061978" y="2560550"/>
                <a:ext cx="551650" cy="496507"/>
              </a:xfrm>
              <a:custGeom>
                <a:avLst/>
                <a:gdLst>
                  <a:gd name="connsiteX0" fmla="*/ 543770 w 551650"/>
                  <a:gd name="connsiteY0" fmla="*/ 496507 h 496507"/>
                  <a:gd name="connsiteX1" fmla="*/ 7881 w 551650"/>
                  <a:gd name="connsiteY1" fmla="*/ 496507 h 496507"/>
                  <a:gd name="connsiteX2" fmla="*/ 0 w 551650"/>
                  <a:gd name="connsiteY2" fmla="*/ 488626 h 496507"/>
                  <a:gd name="connsiteX3" fmla="*/ 0 w 551650"/>
                  <a:gd name="connsiteY3" fmla="*/ 7881 h 496507"/>
                  <a:gd name="connsiteX4" fmla="*/ 7881 w 551650"/>
                  <a:gd name="connsiteY4" fmla="*/ 0 h 496507"/>
                  <a:gd name="connsiteX5" fmla="*/ 212789 w 551650"/>
                  <a:gd name="connsiteY5" fmla="*/ 0 h 496507"/>
                  <a:gd name="connsiteX6" fmla="*/ 220191 w 551650"/>
                  <a:gd name="connsiteY6" fmla="*/ 5198 h 496507"/>
                  <a:gd name="connsiteX7" fmla="*/ 249823 w 551650"/>
                  <a:gd name="connsiteY7" fmla="*/ 86692 h 496507"/>
                  <a:gd name="connsiteX8" fmla="*/ 543770 w 551650"/>
                  <a:gd name="connsiteY8" fmla="*/ 86692 h 496507"/>
                  <a:gd name="connsiteX9" fmla="*/ 551651 w 551650"/>
                  <a:gd name="connsiteY9" fmla="*/ 94573 h 496507"/>
                  <a:gd name="connsiteX10" fmla="*/ 551651 w 551650"/>
                  <a:gd name="connsiteY10" fmla="*/ 488626 h 496507"/>
                  <a:gd name="connsiteX11" fmla="*/ 543770 w 551650"/>
                  <a:gd name="connsiteY11" fmla="*/ 496507 h 496507"/>
                  <a:gd name="connsiteX12" fmla="*/ 15762 w 551650"/>
                  <a:gd name="connsiteY12" fmla="*/ 480745 h 496507"/>
                  <a:gd name="connsiteX13" fmla="*/ 535888 w 551650"/>
                  <a:gd name="connsiteY13" fmla="*/ 480745 h 496507"/>
                  <a:gd name="connsiteX14" fmla="*/ 535888 w 551650"/>
                  <a:gd name="connsiteY14" fmla="*/ 102454 h 496507"/>
                  <a:gd name="connsiteX15" fmla="*/ 244289 w 551650"/>
                  <a:gd name="connsiteY15" fmla="*/ 102454 h 496507"/>
                  <a:gd name="connsiteX16" fmla="*/ 236887 w 551650"/>
                  <a:gd name="connsiteY16" fmla="*/ 97256 h 496507"/>
                  <a:gd name="connsiteX17" fmla="*/ 207255 w 551650"/>
                  <a:gd name="connsiteY17" fmla="*/ 15762 h 496507"/>
                  <a:gd name="connsiteX18" fmla="*/ 15762 w 551650"/>
                  <a:gd name="connsiteY18" fmla="*/ 15762 h 496507"/>
                  <a:gd name="connsiteX19" fmla="*/ 15762 w 551650"/>
                  <a:gd name="connsiteY19" fmla="*/ 480745 h 496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1650" h="496507">
                    <a:moveTo>
                      <a:pt x="543770" y="496507"/>
                    </a:moveTo>
                    <a:lnTo>
                      <a:pt x="7881" y="496507"/>
                    </a:lnTo>
                    <a:cubicBezTo>
                      <a:pt x="3521" y="496507"/>
                      <a:pt x="0" y="492986"/>
                      <a:pt x="0" y="488626"/>
                    </a:cubicBezTo>
                    <a:lnTo>
                      <a:pt x="0" y="7881"/>
                    </a:lnTo>
                    <a:cubicBezTo>
                      <a:pt x="0" y="3521"/>
                      <a:pt x="3521" y="0"/>
                      <a:pt x="7881" y="0"/>
                    </a:cubicBezTo>
                    <a:lnTo>
                      <a:pt x="212789" y="0"/>
                    </a:lnTo>
                    <a:cubicBezTo>
                      <a:pt x="216094" y="0"/>
                      <a:pt x="219065" y="2084"/>
                      <a:pt x="220191" y="5198"/>
                    </a:cubicBezTo>
                    <a:lnTo>
                      <a:pt x="249823" y="86692"/>
                    </a:lnTo>
                    <a:lnTo>
                      <a:pt x="543770" y="86692"/>
                    </a:lnTo>
                    <a:cubicBezTo>
                      <a:pt x="548129" y="86692"/>
                      <a:pt x="551651" y="90213"/>
                      <a:pt x="551651" y="94573"/>
                    </a:cubicBezTo>
                    <a:lnTo>
                      <a:pt x="551651" y="488626"/>
                    </a:lnTo>
                    <a:cubicBezTo>
                      <a:pt x="551651" y="492986"/>
                      <a:pt x="548129" y="496507"/>
                      <a:pt x="543770" y="496507"/>
                    </a:cubicBezTo>
                    <a:close/>
                    <a:moveTo>
                      <a:pt x="15762" y="480745"/>
                    </a:moveTo>
                    <a:lnTo>
                      <a:pt x="535888" y="480745"/>
                    </a:lnTo>
                    <a:lnTo>
                      <a:pt x="535888" y="102454"/>
                    </a:lnTo>
                    <a:lnTo>
                      <a:pt x="244289" y="102454"/>
                    </a:lnTo>
                    <a:cubicBezTo>
                      <a:pt x="240983" y="102454"/>
                      <a:pt x="238013" y="100370"/>
                      <a:pt x="236887" y="97256"/>
                    </a:cubicBezTo>
                    <a:lnTo>
                      <a:pt x="207255" y="15762"/>
                    </a:lnTo>
                    <a:lnTo>
                      <a:pt x="15762" y="15762"/>
                    </a:lnTo>
                    <a:lnTo>
                      <a:pt x="15762" y="480745"/>
                    </a:lnTo>
                    <a:close/>
                  </a:path>
                </a:pathLst>
              </a:custGeom>
              <a:grpFill/>
              <a:ln w="2392" cap="flat">
                <a:noFill/>
                <a:prstDash val="solid"/>
                <a:miter/>
              </a:ln>
            </p:spPr>
            <p:txBody>
              <a:bodyPr rtlCol="0" anchor="ctr"/>
              <a:lstStyle/>
              <a:p>
                <a:endParaRPr lang="en-GB" dirty="0"/>
              </a:p>
            </p:txBody>
          </p:sp>
          <p:sp>
            <p:nvSpPr>
              <p:cNvPr id="739" name="Freihandform: Form 738">
                <a:extLst>
                  <a:ext uri="{FF2B5EF4-FFF2-40B4-BE49-F238E27FC236}">
                    <a16:creationId xmlns:a16="http://schemas.microsoft.com/office/drawing/2014/main" id="{EE286CBB-89E0-4588-A770-CFCA6D8FD607}"/>
                  </a:ext>
                </a:extLst>
              </p:cNvPr>
              <p:cNvSpPr/>
              <p:nvPr/>
            </p:nvSpPr>
            <p:spPr>
              <a:xfrm>
                <a:off x="8109265" y="2513264"/>
                <a:ext cx="551650" cy="496531"/>
              </a:xfrm>
              <a:custGeom>
                <a:avLst/>
                <a:gdLst>
                  <a:gd name="connsiteX0" fmla="*/ 543770 w 551650"/>
                  <a:gd name="connsiteY0" fmla="*/ 86692 h 496531"/>
                  <a:gd name="connsiteX1" fmla="*/ 249823 w 551650"/>
                  <a:gd name="connsiteY1" fmla="*/ 86692 h 496531"/>
                  <a:gd name="connsiteX2" fmla="*/ 220191 w 551650"/>
                  <a:gd name="connsiteY2" fmla="*/ 5198 h 496531"/>
                  <a:gd name="connsiteX3" fmla="*/ 212789 w 551650"/>
                  <a:gd name="connsiteY3" fmla="*/ 0 h 496531"/>
                  <a:gd name="connsiteX4" fmla="*/ 7881 w 551650"/>
                  <a:gd name="connsiteY4" fmla="*/ 0 h 496531"/>
                  <a:gd name="connsiteX5" fmla="*/ 0 w 551650"/>
                  <a:gd name="connsiteY5" fmla="*/ 7881 h 496531"/>
                  <a:gd name="connsiteX6" fmla="*/ 0 w 551650"/>
                  <a:gd name="connsiteY6" fmla="*/ 52556 h 496531"/>
                  <a:gd name="connsiteX7" fmla="*/ 15762 w 551650"/>
                  <a:gd name="connsiteY7" fmla="*/ 52556 h 496531"/>
                  <a:gd name="connsiteX8" fmla="*/ 15762 w 551650"/>
                  <a:gd name="connsiteY8" fmla="*/ 15786 h 496531"/>
                  <a:gd name="connsiteX9" fmla="*/ 207255 w 551650"/>
                  <a:gd name="connsiteY9" fmla="*/ 15786 h 496531"/>
                  <a:gd name="connsiteX10" fmla="*/ 236887 w 551650"/>
                  <a:gd name="connsiteY10" fmla="*/ 97280 h 496531"/>
                  <a:gd name="connsiteX11" fmla="*/ 244289 w 551650"/>
                  <a:gd name="connsiteY11" fmla="*/ 102478 h 496531"/>
                  <a:gd name="connsiteX12" fmla="*/ 535888 w 551650"/>
                  <a:gd name="connsiteY12" fmla="*/ 102478 h 496531"/>
                  <a:gd name="connsiteX13" fmla="*/ 535888 w 551650"/>
                  <a:gd name="connsiteY13" fmla="*/ 480769 h 496531"/>
                  <a:gd name="connsiteX14" fmla="*/ 495166 w 551650"/>
                  <a:gd name="connsiteY14" fmla="*/ 480769 h 496531"/>
                  <a:gd name="connsiteX15" fmla="*/ 495166 w 551650"/>
                  <a:gd name="connsiteY15" fmla="*/ 496531 h 496531"/>
                  <a:gd name="connsiteX16" fmla="*/ 543770 w 551650"/>
                  <a:gd name="connsiteY16" fmla="*/ 496531 h 496531"/>
                  <a:gd name="connsiteX17" fmla="*/ 551651 w 551650"/>
                  <a:gd name="connsiteY17" fmla="*/ 488650 h 496531"/>
                  <a:gd name="connsiteX18" fmla="*/ 551651 w 551650"/>
                  <a:gd name="connsiteY18" fmla="*/ 94597 h 496531"/>
                  <a:gd name="connsiteX19" fmla="*/ 543770 w 551650"/>
                  <a:gd name="connsiteY19" fmla="*/ 86692 h 496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51650" h="496531">
                    <a:moveTo>
                      <a:pt x="543770" y="86692"/>
                    </a:moveTo>
                    <a:lnTo>
                      <a:pt x="249823" y="86692"/>
                    </a:lnTo>
                    <a:lnTo>
                      <a:pt x="220191" y="5198"/>
                    </a:lnTo>
                    <a:cubicBezTo>
                      <a:pt x="219065" y="2084"/>
                      <a:pt x="216094" y="0"/>
                      <a:pt x="212789" y="0"/>
                    </a:cubicBezTo>
                    <a:lnTo>
                      <a:pt x="7881" y="0"/>
                    </a:lnTo>
                    <a:cubicBezTo>
                      <a:pt x="3521" y="0"/>
                      <a:pt x="0" y="3521"/>
                      <a:pt x="0" y="7881"/>
                    </a:cubicBezTo>
                    <a:lnTo>
                      <a:pt x="0" y="52556"/>
                    </a:lnTo>
                    <a:lnTo>
                      <a:pt x="15762" y="52556"/>
                    </a:lnTo>
                    <a:lnTo>
                      <a:pt x="15762" y="15786"/>
                    </a:lnTo>
                    <a:lnTo>
                      <a:pt x="207255" y="15786"/>
                    </a:lnTo>
                    <a:lnTo>
                      <a:pt x="236887" y="97280"/>
                    </a:lnTo>
                    <a:cubicBezTo>
                      <a:pt x="238013" y="100394"/>
                      <a:pt x="240983" y="102478"/>
                      <a:pt x="244289" y="102478"/>
                    </a:cubicBezTo>
                    <a:lnTo>
                      <a:pt x="535888" y="102478"/>
                    </a:lnTo>
                    <a:lnTo>
                      <a:pt x="535888" y="480769"/>
                    </a:lnTo>
                    <a:lnTo>
                      <a:pt x="495166" y="480769"/>
                    </a:lnTo>
                    <a:lnTo>
                      <a:pt x="495166" y="496531"/>
                    </a:lnTo>
                    <a:lnTo>
                      <a:pt x="543770" y="496531"/>
                    </a:lnTo>
                    <a:cubicBezTo>
                      <a:pt x="548130" y="496531"/>
                      <a:pt x="551651" y="493010"/>
                      <a:pt x="551651" y="488650"/>
                    </a:cubicBezTo>
                    <a:lnTo>
                      <a:pt x="551651" y="94597"/>
                    </a:lnTo>
                    <a:cubicBezTo>
                      <a:pt x="551651" y="90237"/>
                      <a:pt x="548130" y="86692"/>
                      <a:pt x="543770" y="86692"/>
                    </a:cubicBezTo>
                    <a:close/>
                  </a:path>
                </a:pathLst>
              </a:custGeom>
              <a:grpFill/>
              <a:ln w="2392" cap="flat">
                <a:noFill/>
                <a:prstDash val="solid"/>
                <a:miter/>
              </a:ln>
            </p:spPr>
            <p:txBody>
              <a:bodyPr rtlCol="0" anchor="ctr"/>
              <a:lstStyle/>
              <a:p>
                <a:endParaRPr lang="en-GB" dirty="0"/>
              </a:p>
            </p:txBody>
          </p:sp>
        </p:grpSp>
      </p:grpSp>
      <p:grpSp>
        <p:nvGrpSpPr>
          <p:cNvPr id="24" name="Group 23">
            <a:extLst>
              <a:ext uri="{FF2B5EF4-FFF2-40B4-BE49-F238E27FC236}">
                <a16:creationId xmlns:a16="http://schemas.microsoft.com/office/drawing/2014/main" id="{F3AED7C0-4E71-F3D2-4179-7A60C0D4DE44}"/>
              </a:ext>
            </a:extLst>
          </p:cNvPr>
          <p:cNvGrpSpPr/>
          <p:nvPr/>
        </p:nvGrpSpPr>
        <p:grpSpPr>
          <a:xfrm>
            <a:off x="8099934" y="3273397"/>
            <a:ext cx="499275" cy="432000"/>
            <a:chOff x="8099522" y="3273397"/>
            <a:chExt cx="499275" cy="432000"/>
          </a:xfrm>
        </p:grpSpPr>
        <p:grpSp>
          <p:nvGrpSpPr>
            <p:cNvPr id="745" name="Gruppieren 744">
              <a:extLst>
                <a:ext uri="{FF2B5EF4-FFF2-40B4-BE49-F238E27FC236}">
                  <a16:creationId xmlns:a16="http://schemas.microsoft.com/office/drawing/2014/main" id="{AF7AABE3-C1E2-4665-9189-1727F9BCBA4F}"/>
                </a:ext>
              </a:extLst>
            </p:cNvPr>
            <p:cNvGrpSpPr/>
            <p:nvPr/>
          </p:nvGrpSpPr>
          <p:grpSpPr>
            <a:xfrm>
              <a:off x="8099522" y="3273397"/>
              <a:ext cx="499275" cy="432000"/>
              <a:chOff x="8061571" y="3385140"/>
              <a:chExt cx="591463" cy="511766"/>
            </a:xfrm>
            <a:solidFill>
              <a:schemeClr val="tx2"/>
            </a:solidFill>
          </p:grpSpPr>
          <p:sp>
            <p:nvSpPr>
              <p:cNvPr id="749" name="Freihandform: Form 748">
                <a:extLst>
                  <a:ext uri="{FF2B5EF4-FFF2-40B4-BE49-F238E27FC236}">
                    <a16:creationId xmlns:a16="http://schemas.microsoft.com/office/drawing/2014/main" id="{3C565376-B9E5-4ECF-82B3-5055DD463901}"/>
                  </a:ext>
                </a:extLst>
              </p:cNvPr>
              <p:cNvSpPr/>
              <p:nvPr/>
            </p:nvSpPr>
            <p:spPr>
              <a:xfrm>
                <a:off x="8088137" y="3633166"/>
                <a:ext cx="538331" cy="263740"/>
              </a:xfrm>
              <a:custGeom>
                <a:avLst/>
                <a:gdLst>
                  <a:gd name="connsiteX0" fmla="*/ 530451 w 538331"/>
                  <a:gd name="connsiteY0" fmla="*/ 263740 h 263740"/>
                  <a:gd name="connsiteX1" fmla="*/ 7881 w 538331"/>
                  <a:gd name="connsiteY1" fmla="*/ 263740 h 263740"/>
                  <a:gd name="connsiteX2" fmla="*/ 0 w 538331"/>
                  <a:gd name="connsiteY2" fmla="*/ 255859 h 263740"/>
                  <a:gd name="connsiteX3" fmla="*/ 0 w 538331"/>
                  <a:gd name="connsiteY3" fmla="*/ 7881 h 263740"/>
                  <a:gd name="connsiteX4" fmla="*/ 7881 w 538331"/>
                  <a:gd name="connsiteY4" fmla="*/ 0 h 263740"/>
                  <a:gd name="connsiteX5" fmla="*/ 15762 w 538331"/>
                  <a:gd name="connsiteY5" fmla="*/ 7881 h 263740"/>
                  <a:gd name="connsiteX6" fmla="*/ 15762 w 538331"/>
                  <a:gd name="connsiteY6" fmla="*/ 248002 h 263740"/>
                  <a:gd name="connsiteX7" fmla="*/ 522570 w 538331"/>
                  <a:gd name="connsiteY7" fmla="*/ 248002 h 263740"/>
                  <a:gd name="connsiteX8" fmla="*/ 522570 w 538331"/>
                  <a:gd name="connsiteY8" fmla="*/ 7881 h 263740"/>
                  <a:gd name="connsiteX9" fmla="*/ 530451 w 538331"/>
                  <a:gd name="connsiteY9" fmla="*/ 0 h 263740"/>
                  <a:gd name="connsiteX10" fmla="*/ 538332 w 538331"/>
                  <a:gd name="connsiteY10" fmla="*/ 7881 h 263740"/>
                  <a:gd name="connsiteX11" fmla="*/ 538332 w 538331"/>
                  <a:gd name="connsiteY11" fmla="*/ 255883 h 263740"/>
                  <a:gd name="connsiteX12" fmla="*/ 530451 w 538331"/>
                  <a:gd name="connsiteY12" fmla="*/ 263740 h 26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8331" h="263740">
                    <a:moveTo>
                      <a:pt x="530451" y="263740"/>
                    </a:moveTo>
                    <a:lnTo>
                      <a:pt x="7881" y="263740"/>
                    </a:lnTo>
                    <a:cubicBezTo>
                      <a:pt x="3521" y="263740"/>
                      <a:pt x="0" y="260219"/>
                      <a:pt x="0" y="255859"/>
                    </a:cubicBezTo>
                    <a:lnTo>
                      <a:pt x="0" y="7881"/>
                    </a:lnTo>
                    <a:cubicBezTo>
                      <a:pt x="0" y="3521"/>
                      <a:pt x="3521" y="0"/>
                      <a:pt x="7881" y="0"/>
                    </a:cubicBezTo>
                    <a:cubicBezTo>
                      <a:pt x="12241" y="0"/>
                      <a:pt x="15762" y="3521"/>
                      <a:pt x="15762" y="7881"/>
                    </a:cubicBezTo>
                    <a:lnTo>
                      <a:pt x="15762" y="248002"/>
                    </a:lnTo>
                    <a:lnTo>
                      <a:pt x="522570" y="248002"/>
                    </a:lnTo>
                    <a:lnTo>
                      <a:pt x="522570" y="7881"/>
                    </a:lnTo>
                    <a:cubicBezTo>
                      <a:pt x="522570" y="3521"/>
                      <a:pt x="526091" y="0"/>
                      <a:pt x="530451" y="0"/>
                    </a:cubicBezTo>
                    <a:cubicBezTo>
                      <a:pt x="534811" y="0"/>
                      <a:pt x="538332" y="3521"/>
                      <a:pt x="538332" y="7881"/>
                    </a:cubicBezTo>
                    <a:lnTo>
                      <a:pt x="538332" y="255883"/>
                    </a:lnTo>
                    <a:cubicBezTo>
                      <a:pt x="538332" y="260219"/>
                      <a:pt x="534811" y="263740"/>
                      <a:pt x="530451" y="263740"/>
                    </a:cubicBezTo>
                    <a:close/>
                  </a:path>
                </a:pathLst>
              </a:custGeom>
              <a:grpFill/>
              <a:ln w="2392" cap="flat">
                <a:noFill/>
                <a:prstDash val="solid"/>
                <a:miter/>
              </a:ln>
            </p:spPr>
            <p:txBody>
              <a:bodyPr rtlCol="0" anchor="ctr"/>
              <a:lstStyle/>
              <a:p>
                <a:endParaRPr lang="en-GB" dirty="0"/>
              </a:p>
            </p:txBody>
          </p:sp>
          <p:sp>
            <p:nvSpPr>
              <p:cNvPr id="750" name="Freihandform: Form 749">
                <a:extLst>
                  <a:ext uri="{FF2B5EF4-FFF2-40B4-BE49-F238E27FC236}">
                    <a16:creationId xmlns:a16="http://schemas.microsoft.com/office/drawing/2014/main" id="{7F4F5E59-0536-4091-8C8C-8EC11B8730C3}"/>
                  </a:ext>
                </a:extLst>
              </p:cNvPr>
              <p:cNvSpPr/>
              <p:nvPr/>
            </p:nvSpPr>
            <p:spPr>
              <a:xfrm>
                <a:off x="8282001" y="3385140"/>
                <a:ext cx="150626" cy="55622"/>
              </a:xfrm>
              <a:custGeom>
                <a:avLst/>
                <a:gdLst>
                  <a:gd name="connsiteX0" fmla="*/ 126241 w 150626"/>
                  <a:gd name="connsiteY0" fmla="*/ 55623 h 55622"/>
                  <a:gd name="connsiteX1" fmla="*/ 24386 w 150626"/>
                  <a:gd name="connsiteY1" fmla="*/ 55623 h 55622"/>
                  <a:gd name="connsiteX2" fmla="*/ 0 w 150626"/>
                  <a:gd name="connsiteY2" fmla="*/ 27811 h 55622"/>
                  <a:gd name="connsiteX3" fmla="*/ 24386 w 150626"/>
                  <a:gd name="connsiteY3" fmla="*/ 0 h 55622"/>
                  <a:gd name="connsiteX4" fmla="*/ 126241 w 150626"/>
                  <a:gd name="connsiteY4" fmla="*/ 0 h 55622"/>
                  <a:gd name="connsiteX5" fmla="*/ 150627 w 150626"/>
                  <a:gd name="connsiteY5" fmla="*/ 27811 h 55622"/>
                  <a:gd name="connsiteX6" fmla="*/ 126241 w 150626"/>
                  <a:gd name="connsiteY6" fmla="*/ 55623 h 55622"/>
                  <a:gd name="connsiteX7" fmla="*/ 24386 w 150626"/>
                  <a:gd name="connsiteY7" fmla="*/ 15762 h 55622"/>
                  <a:gd name="connsiteX8" fmla="*/ 15762 w 150626"/>
                  <a:gd name="connsiteY8" fmla="*/ 27811 h 55622"/>
                  <a:gd name="connsiteX9" fmla="*/ 24386 w 150626"/>
                  <a:gd name="connsiteY9" fmla="*/ 39860 h 55622"/>
                  <a:gd name="connsiteX10" fmla="*/ 126241 w 150626"/>
                  <a:gd name="connsiteY10" fmla="*/ 39860 h 55622"/>
                  <a:gd name="connsiteX11" fmla="*/ 134865 w 150626"/>
                  <a:gd name="connsiteY11" fmla="*/ 27811 h 55622"/>
                  <a:gd name="connsiteX12" fmla="*/ 126241 w 150626"/>
                  <a:gd name="connsiteY12" fmla="*/ 15762 h 55622"/>
                  <a:gd name="connsiteX13" fmla="*/ 24386 w 150626"/>
                  <a:gd name="connsiteY13" fmla="*/ 15762 h 55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0626" h="55622">
                    <a:moveTo>
                      <a:pt x="126241" y="55623"/>
                    </a:moveTo>
                    <a:lnTo>
                      <a:pt x="24386" y="55623"/>
                    </a:lnTo>
                    <a:cubicBezTo>
                      <a:pt x="10947" y="55623"/>
                      <a:pt x="0" y="43142"/>
                      <a:pt x="0" y="27811"/>
                    </a:cubicBezTo>
                    <a:cubicBezTo>
                      <a:pt x="0" y="12480"/>
                      <a:pt x="10947" y="0"/>
                      <a:pt x="24386" y="0"/>
                    </a:cubicBezTo>
                    <a:lnTo>
                      <a:pt x="126241" y="0"/>
                    </a:lnTo>
                    <a:cubicBezTo>
                      <a:pt x="139679" y="0"/>
                      <a:pt x="150627" y="12480"/>
                      <a:pt x="150627" y="27811"/>
                    </a:cubicBezTo>
                    <a:cubicBezTo>
                      <a:pt x="150627" y="43142"/>
                      <a:pt x="139679" y="55623"/>
                      <a:pt x="126241" y="55623"/>
                    </a:cubicBezTo>
                    <a:close/>
                    <a:moveTo>
                      <a:pt x="24386" y="15762"/>
                    </a:moveTo>
                    <a:cubicBezTo>
                      <a:pt x="19715" y="15762"/>
                      <a:pt x="15762" y="21296"/>
                      <a:pt x="15762" y="27811"/>
                    </a:cubicBezTo>
                    <a:cubicBezTo>
                      <a:pt x="15762" y="34327"/>
                      <a:pt x="19715" y="39860"/>
                      <a:pt x="24386" y="39860"/>
                    </a:cubicBezTo>
                    <a:lnTo>
                      <a:pt x="126241" y="39860"/>
                    </a:lnTo>
                    <a:cubicBezTo>
                      <a:pt x="130912" y="39860"/>
                      <a:pt x="134865" y="34351"/>
                      <a:pt x="134865" y="27811"/>
                    </a:cubicBezTo>
                    <a:cubicBezTo>
                      <a:pt x="134865" y="21272"/>
                      <a:pt x="130912" y="15762"/>
                      <a:pt x="126241" y="15762"/>
                    </a:cubicBezTo>
                    <a:lnTo>
                      <a:pt x="24386" y="15762"/>
                    </a:lnTo>
                    <a:close/>
                  </a:path>
                </a:pathLst>
              </a:custGeom>
              <a:grpFill/>
              <a:ln w="2392" cap="flat">
                <a:noFill/>
                <a:prstDash val="solid"/>
                <a:miter/>
              </a:ln>
            </p:spPr>
            <p:txBody>
              <a:bodyPr rtlCol="0" anchor="ctr"/>
              <a:lstStyle/>
              <a:p>
                <a:endParaRPr lang="en-GB" dirty="0"/>
              </a:p>
            </p:txBody>
          </p:sp>
          <p:grpSp>
            <p:nvGrpSpPr>
              <p:cNvPr id="751" name="Grafik 14">
                <a:extLst>
                  <a:ext uri="{FF2B5EF4-FFF2-40B4-BE49-F238E27FC236}">
                    <a16:creationId xmlns:a16="http://schemas.microsoft.com/office/drawing/2014/main" id="{B91DC4BB-CC02-4825-BEBC-EFBC2C523695}"/>
                  </a:ext>
                </a:extLst>
              </p:cNvPr>
              <p:cNvGrpSpPr/>
              <p:nvPr/>
            </p:nvGrpSpPr>
            <p:grpSpPr>
              <a:xfrm>
                <a:off x="8247578" y="3402866"/>
                <a:ext cx="219472" cy="86619"/>
                <a:chOff x="8247578" y="3402866"/>
                <a:chExt cx="219472" cy="86619"/>
              </a:xfrm>
              <a:grpFill/>
            </p:grpSpPr>
            <p:sp>
              <p:nvSpPr>
                <p:cNvPr id="759" name="Freihandform: Form 758">
                  <a:extLst>
                    <a:ext uri="{FF2B5EF4-FFF2-40B4-BE49-F238E27FC236}">
                      <a16:creationId xmlns:a16="http://schemas.microsoft.com/office/drawing/2014/main" id="{0691F70A-2226-441F-BC93-0936A801DE2F}"/>
                    </a:ext>
                  </a:extLst>
                </p:cNvPr>
                <p:cNvSpPr/>
                <p:nvPr/>
              </p:nvSpPr>
              <p:spPr>
                <a:xfrm>
                  <a:off x="8247578" y="3402866"/>
                  <a:ext cx="51190" cy="77732"/>
                </a:xfrm>
                <a:custGeom>
                  <a:avLst/>
                  <a:gdLst>
                    <a:gd name="connsiteX0" fmla="*/ 7881 w 51190"/>
                    <a:gd name="connsiteY0" fmla="*/ 77733 h 77732"/>
                    <a:gd name="connsiteX1" fmla="*/ 0 w 51190"/>
                    <a:gd name="connsiteY1" fmla="*/ 69852 h 77732"/>
                    <a:gd name="connsiteX2" fmla="*/ 0 w 51190"/>
                    <a:gd name="connsiteY2" fmla="*/ 7881 h 77732"/>
                    <a:gd name="connsiteX3" fmla="*/ 7881 w 51190"/>
                    <a:gd name="connsiteY3" fmla="*/ 0 h 77732"/>
                    <a:gd name="connsiteX4" fmla="*/ 43310 w 51190"/>
                    <a:gd name="connsiteY4" fmla="*/ 0 h 77732"/>
                    <a:gd name="connsiteX5" fmla="*/ 51191 w 51190"/>
                    <a:gd name="connsiteY5" fmla="*/ 7881 h 77732"/>
                    <a:gd name="connsiteX6" fmla="*/ 43310 w 51190"/>
                    <a:gd name="connsiteY6" fmla="*/ 15762 h 77732"/>
                    <a:gd name="connsiteX7" fmla="*/ 15762 w 51190"/>
                    <a:gd name="connsiteY7" fmla="*/ 15762 h 77732"/>
                    <a:gd name="connsiteX8" fmla="*/ 15762 w 51190"/>
                    <a:gd name="connsiteY8" fmla="*/ 69852 h 77732"/>
                    <a:gd name="connsiteX9" fmla="*/ 7881 w 51190"/>
                    <a:gd name="connsiteY9" fmla="*/ 77733 h 77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190" h="77732">
                      <a:moveTo>
                        <a:pt x="7881" y="77733"/>
                      </a:moveTo>
                      <a:cubicBezTo>
                        <a:pt x="3521" y="77733"/>
                        <a:pt x="0" y="74211"/>
                        <a:pt x="0" y="69852"/>
                      </a:cubicBezTo>
                      <a:lnTo>
                        <a:pt x="0" y="7881"/>
                      </a:lnTo>
                      <a:cubicBezTo>
                        <a:pt x="0" y="3521"/>
                        <a:pt x="3521" y="0"/>
                        <a:pt x="7881" y="0"/>
                      </a:cubicBezTo>
                      <a:lnTo>
                        <a:pt x="43310" y="0"/>
                      </a:lnTo>
                      <a:cubicBezTo>
                        <a:pt x="47670" y="0"/>
                        <a:pt x="51191" y="3521"/>
                        <a:pt x="51191" y="7881"/>
                      </a:cubicBezTo>
                      <a:cubicBezTo>
                        <a:pt x="51191" y="12241"/>
                        <a:pt x="47670" y="15762"/>
                        <a:pt x="43310" y="15762"/>
                      </a:cubicBezTo>
                      <a:lnTo>
                        <a:pt x="15762" y="15762"/>
                      </a:lnTo>
                      <a:lnTo>
                        <a:pt x="15762" y="69852"/>
                      </a:lnTo>
                      <a:cubicBezTo>
                        <a:pt x="15762" y="74211"/>
                        <a:pt x="12241" y="77733"/>
                        <a:pt x="7881" y="77733"/>
                      </a:cubicBezTo>
                      <a:close/>
                    </a:path>
                  </a:pathLst>
                </a:custGeom>
                <a:grpFill/>
                <a:ln w="2392" cap="flat">
                  <a:noFill/>
                  <a:prstDash val="solid"/>
                  <a:miter/>
                </a:ln>
              </p:spPr>
              <p:txBody>
                <a:bodyPr rtlCol="0" anchor="ctr"/>
                <a:lstStyle/>
                <a:p>
                  <a:endParaRPr lang="en-GB" dirty="0"/>
                </a:p>
              </p:txBody>
            </p:sp>
            <p:sp>
              <p:nvSpPr>
                <p:cNvPr id="760" name="Freihandform: Form 759">
                  <a:extLst>
                    <a:ext uri="{FF2B5EF4-FFF2-40B4-BE49-F238E27FC236}">
                      <a16:creationId xmlns:a16="http://schemas.microsoft.com/office/drawing/2014/main" id="{167C0BA5-DBDA-41EA-B6CC-D922E65ECCBA}"/>
                    </a:ext>
                  </a:extLst>
                </p:cNvPr>
                <p:cNvSpPr/>
                <p:nvPr/>
              </p:nvSpPr>
              <p:spPr>
                <a:xfrm>
                  <a:off x="8424723" y="3402866"/>
                  <a:ext cx="42327" cy="86619"/>
                </a:xfrm>
                <a:custGeom>
                  <a:avLst/>
                  <a:gdLst>
                    <a:gd name="connsiteX0" fmla="*/ 34447 w 42327"/>
                    <a:gd name="connsiteY0" fmla="*/ 86620 h 86619"/>
                    <a:gd name="connsiteX1" fmla="*/ 26566 w 42327"/>
                    <a:gd name="connsiteY1" fmla="*/ 78739 h 86619"/>
                    <a:gd name="connsiteX2" fmla="*/ 26566 w 42327"/>
                    <a:gd name="connsiteY2" fmla="*/ 15762 h 86619"/>
                    <a:gd name="connsiteX3" fmla="*/ 7881 w 42327"/>
                    <a:gd name="connsiteY3" fmla="*/ 15762 h 86619"/>
                    <a:gd name="connsiteX4" fmla="*/ 0 w 42327"/>
                    <a:gd name="connsiteY4" fmla="*/ 7881 h 86619"/>
                    <a:gd name="connsiteX5" fmla="*/ 7881 w 42327"/>
                    <a:gd name="connsiteY5" fmla="*/ 0 h 86619"/>
                    <a:gd name="connsiteX6" fmla="*/ 34447 w 42327"/>
                    <a:gd name="connsiteY6" fmla="*/ 0 h 86619"/>
                    <a:gd name="connsiteX7" fmla="*/ 42328 w 42327"/>
                    <a:gd name="connsiteY7" fmla="*/ 7881 h 86619"/>
                    <a:gd name="connsiteX8" fmla="*/ 42328 w 42327"/>
                    <a:gd name="connsiteY8" fmla="*/ 78739 h 86619"/>
                    <a:gd name="connsiteX9" fmla="*/ 34447 w 42327"/>
                    <a:gd name="connsiteY9" fmla="*/ 86620 h 86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327" h="86619">
                      <a:moveTo>
                        <a:pt x="34447" y="86620"/>
                      </a:moveTo>
                      <a:cubicBezTo>
                        <a:pt x="30087" y="86620"/>
                        <a:pt x="26566" y="83099"/>
                        <a:pt x="26566" y="78739"/>
                      </a:cubicBezTo>
                      <a:lnTo>
                        <a:pt x="26566" y="15762"/>
                      </a:lnTo>
                      <a:lnTo>
                        <a:pt x="7881" y="15762"/>
                      </a:lnTo>
                      <a:cubicBezTo>
                        <a:pt x="3521" y="15762"/>
                        <a:pt x="0" y="12241"/>
                        <a:pt x="0" y="7881"/>
                      </a:cubicBezTo>
                      <a:cubicBezTo>
                        <a:pt x="0" y="3521"/>
                        <a:pt x="3521" y="0"/>
                        <a:pt x="7881" y="0"/>
                      </a:cubicBezTo>
                      <a:lnTo>
                        <a:pt x="34447" y="0"/>
                      </a:lnTo>
                      <a:cubicBezTo>
                        <a:pt x="38806" y="0"/>
                        <a:pt x="42328" y="3521"/>
                        <a:pt x="42328" y="7881"/>
                      </a:cubicBezTo>
                      <a:lnTo>
                        <a:pt x="42328" y="78739"/>
                      </a:lnTo>
                      <a:cubicBezTo>
                        <a:pt x="42328" y="83099"/>
                        <a:pt x="38806" y="86620"/>
                        <a:pt x="34447" y="86620"/>
                      </a:cubicBezTo>
                      <a:close/>
                    </a:path>
                  </a:pathLst>
                </a:custGeom>
                <a:grpFill/>
                <a:ln w="2392" cap="flat">
                  <a:noFill/>
                  <a:prstDash val="solid"/>
                  <a:miter/>
                </a:ln>
              </p:spPr>
              <p:txBody>
                <a:bodyPr rtlCol="0" anchor="ctr"/>
                <a:lstStyle/>
                <a:p>
                  <a:endParaRPr lang="en-GB" dirty="0"/>
                </a:p>
              </p:txBody>
            </p:sp>
          </p:grpSp>
          <p:grpSp>
            <p:nvGrpSpPr>
              <p:cNvPr id="752" name="Grafik 14">
                <a:extLst>
                  <a:ext uri="{FF2B5EF4-FFF2-40B4-BE49-F238E27FC236}">
                    <a16:creationId xmlns:a16="http://schemas.microsoft.com/office/drawing/2014/main" id="{6CC17FCE-1640-4B90-8347-53701B537E04}"/>
                  </a:ext>
                </a:extLst>
              </p:cNvPr>
              <p:cNvGrpSpPr/>
              <p:nvPr/>
            </p:nvGrpSpPr>
            <p:grpSpPr>
              <a:xfrm>
                <a:off x="8125027" y="3474730"/>
                <a:ext cx="78810" cy="55167"/>
                <a:chOff x="8125027" y="3474730"/>
                <a:chExt cx="78810" cy="55167"/>
              </a:xfrm>
              <a:grpFill/>
            </p:grpSpPr>
            <p:sp>
              <p:nvSpPr>
                <p:cNvPr id="757" name="Freihandform: Form 756">
                  <a:extLst>
                    <a:ext uri="{FF2B5EF4-FFF2-40B4-BE49-F238E27FC236}">
                      <a16:creationId xmlns:a16="http://schemas.microsoft.com/office/drawing/2014/main" id="{DD56A95C-CADE-4DC2-A153-92D6A7D844CE}"/>
                    </a:ext>
                  </a:extLst>
                </p:cNvPr>
                <p:cNvSpPr/>
                <p:nvPr/>
              </p:nvSpPr>
              <p:spPr>
                <a:xfrm>
                  <a:off x="8125027" y="3474730"/>
                  <a:ext cx="15762" cy="55167"/>
                </a:xfrm>
                <a:custGeom>
                  <a:avLst/>
                  <a:gdLst>
                    <a:gd name="connsiteX0" fmla="*/ 7881 w 15762"/>
                    <a:gd name="connsiteY0" fmla="*/ 55168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8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8"/>
                      </a:moveTo>
                      <a:cubicBezTo>
                        <a:pt x="3522" y="55168"/>
                        <a:pt x="0" y="51646"/>
                        <a:pt x="0" y="47286"/>
                      </a:cubicBezTo>
                      <a:lnTo>
                        <a:pt x="0" y="7881"/>
                      </a:lnTo>
                      <a:cubicBezTo>
                        <a:pt x="0" y="3521"/>
                        <a:pt x="3522" y="0"/>
                        <a:pt x="7881" y="0"/>
                      </a:cubicBezTo>
                      <a:cubicBezTo>
                        <a:pt x="12241" y="0"/>
                        <a:pt x="15762" y="3521"/>
                        <a:pt x="15762" y="7881"/>
                      </a:cubicBezTo>
                      <a:lnTo>
                        <a:pt x="15762" y="47286"/>
                      </a:lnTo>
                      <a:cubicBezTo>
                        <a:pt x="15762" y="51646"/>
                        <a:pt x="12241" y="55168"/>
                        <a:pt x="7881" y="55168"/>
                      </a:cubicBezTo>
                      <a:close/>
                    </a:path>
                  </a:pathLst>
                </a:custGeom>
                <a:grpFill/>
                <a:ln w="2392" cap="flat">
                  <a:noFill/>
                  <a:prstDash val="solid"/>
                  <a:miter/>
                </a:ln>
              </p:spPr>
              <p:txBody>
                <a:bodyPr rtlCol="0" anchor="ctr"/>
                <a:lstStyle/>
                <a:p>
                  <a:endParaRPr lang="en-GB" dirty="0"/>
                </a:p>
              </p:txBody>
            </p:sp>
            <p:sp>
              <p:nvSpPr>
                <p:cNvPr id="758" name="Freihandform: Form 757">
                  <a:extLst>
                    <a:ext uri="{FF2B5EF4-FFF2-40B4-BE49-F238E27FC236}">
                      <a16:creationId xmlns:a16="http://schemas.microsoft.com/office/drawing/2014/main" id="{D064BC26-1417-4887-B998-A09DC7336B60}"/>
                    </a:ext>
                  </a:extLst>
                </p:cNvPr>
                <p:cNvSpPr/>
                <p:nvPr/>
              </p:nvSpPr>
              <p:spPr>
                <a:xfrm>
                  <a:off x="8188075" y="3474730"/>
                  <a:ext cx="15762" cy="55167"/>
                </a:xfrm>
                <a:custGeom>
                  <a:avLst/>
                  <a:gdLst>
                    <a:gd name="connsiteX0" fmla="*/ 7881 w 15762"/>
                    <a:gd name="connsiteY0" fmla="*/ 55168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8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8"/>
                      </a:moveTo>
                      <a:cubicBezTo>
                        <a:pt x="3521" y="55168"/>
                        <a:pt x="0" y="51646"/>
                        <a:pt x="0" y="47286"/>
                      </a:cubicBezTo>
                      <a:lnTo>
                        <a:pt x="0" y="7881"/>
                      </a:lnTo>
                      <a:cubicBezTo>
                        <a:pt x="0" y="3521"/>
                        <a:pt x="3521" y="0"/>
                        <a:pt x="7881" y="0"/>
                      </a:cubicBezTo>
                      <a:cubicBezTo>
                        <a:pt x="12241" y="0"/>
                        <a:pt x="15762" y="3521"/>
                        <a:pt x="15762" y="7881"/>
                      </a:cubicBezTo>
                      <a:lnTo>
                        <a:pt x="15762" y="47286"/>
                      </a:lnTo>
                      <a:cubicBezTo>
                        <a:pt x="15762" y="51646"/>
                        <a:pt x="12241" y="55168"/>
                        <a:pt x="7881" y="55168"/>
                      </a:cubicBezTo>
                      <a:close/>
                    </a:path>
                  </a:pathLst>
                </a:custGeom>
                <a:grpFill/>
                <a:ln w="2392" cap="flat">
                  <a:noFill/>
                  <a:prstDash val="solid"/>
                  <a:miter/>
                </a:ln>
              </p:spPr>
              <p:txBody>
                <a:bodyPr rtlCol="0" anchor="ctr"/>
                <a:lstStyle/>
                <a:p>
                  <a:endParaRPr lang="en-GB" dirty="0"/>
                </a:p>
              </p:txBody>
            </p:sp>
          </p:grpSp>
          <p:grpSp>
            <p:nvGrpSpPr>
              <p:cNvPr id="753" name="Grafik 14">
                <a:extLst>
                  <a:ext uri="{FF2B5EF4-FFF2-40B4-BE49-F238E27FC236}">
                    <a16:creationId xmlns:a16="http://schemas.microsoft.com/office/drawing/2014/main" id="{B88B3B08-B315-4056-AD06-4DE7DB5A4A58}"/>
                  </a:ext>
                </a:extLst>
              </p:cNvPr>
              <p:cNvGrpSpPr/>
              <p:nvPr/>
            </p:nvGrpSpPr>
            <p:grpSpPr>
              <a:xfrm>
                <a:off x="8511175" y="3474730"/>
                <a:ext cx="78810" cy="55167"/>
                <a:chOff x="8511175" y="3474730"/>
                <a:chExt cx="78810" cy="55167"/>
              </a:xfrm>
              <a:grpFill/>
            </p:grpSpPr>
            <p:sp>
              <p:nvSpPr>
                <p:cNvPr id="755" name="Freihandform: Form 754">
                  <a:extLst>
                    <a:ext uri="{FF2B5EF4-FFF2-40B4-BE49-F238E27FC236}">
                      <a16:creationId xmlns:a16="http://schemas.microsoft.com/office/drawing/2014/main" id="{CE74F716-130A-4766-B0BD-9098E0352576}"/>
                    </a:ext>
                  </a:extLst>
                </p:cNvPr>
                <p:cNvSpPr/>
                <p:nvPr/>
              </p:nvSpPr>
              <p:spPr>
                <a:xfrm>
                  <a:off x="8511175" y="3474730"/>
                  <a:ext cx="15762" cy="55167"/>
                </a:xfrm>
                <a:custGeom>
                  <a:avLst/>
                  <a:gdLst>
                    <a:gd name="connsiteX0" fmla="*/ 7881 w 15762"/>
                    <a:gd name="connsiteY0" fmla="*/ 55168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8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8"/>
                      </a:moveTo>
                      <a:cubicBezTo>
                        <a:pt x="3521" y="55168"/>
                        <a:pt x="0" y="51646"/>
                        <a:pt x="0" y="47286"/>
                      </a:cubicBezTo>
                      <a:lnTo>
                        <a:pt x="0" y="7881"/>
                      </a:lnTo>
                      <a:cubicBezTo>
                        <a:pt x="0" y="3521"/>
                        <a:pt x="3521" y="0"/>
                        <a:pt x="7881" y="0"/>
                      </a:cubicBezTo>
                      <a:cubicBezTo>
                        <a:pt x="12241" y="0"/>
                        <a:pt x="15762" y="3521"/>
                        <a:pt x="15762" y="7881"/>
                      </a:cubicBezTo>
                      <a:lnTo>
                        <a:pt x="15762" y="47286"/>
                      </a:lnTo>
                      <a:cubicBezTo>
                        <a:pt x="15762" y="51646"/>
                        <a:pt x="12241" y="55168"/>
                        <a:pt x="7881" y="55168"/>
                      </a:cubicBezTo>
                      <a:close/>
                    </a:path>
                  </a:pathLst>
                </a:custGeom>
                <a:grpFill/>
                <a:ln w="2392" cap="flat">
                  <a:noFill/>
                  <a:prstDash val="solid"/>
                  <a:miter/>
                </a:ln>
              </p:spPr>
              <p:txBody>
                <a:bodyPr rtlCol="0" anchor="ctr"/>
                <a:lstStyle/>
                <a:p>
                  <a:endParaRPr lang="en-GB" dirty="0"/>
                </a:p>
              </p:txBody>
            </p:sp>
            <p:sp>
              <p:nvSpPr>
                <p:cNvPr id="756" name="Freihandform: Form 755">
                  <a:extLst>
                    <a:ext uri="{FF2B5EF4-FFF2-40B4-BE49-F238E27FC236}">
                      <a16:creationId xmlns:a16="http://schemas.microsoft.com/office/drawing/2014/main" id="{074F9556-4D41-43E0-9E5D-7DDE534EB353}"/>
                    </a:ext>
                  </a:extLst>
                </p:cNvPr>
                <p:cNvSpPr/>
                <p:nvPr/>
              </p:nvSpPr>
              <p:spPr>
                <a:xfrm>
                  <a:off x="8574223" y="3474730"/>
                  <a:ext cx="15762" cy="55167"/>
                </a:xfrm>
                <a:custGeom>
                  <a:avLst/>
                  <a:gdLst>
                    <a:gd name="connsiteX0" fmla="*/ 7881 w 15762"/>
                    <a:gd name="connsiteY0" fmla="*/ 55168 h 55167"/>
                    <a:gd name="connsiteX1" fmla="*/ 0 w 15762"/>
                    <a:gd name="connsiteY1" fmla="*/ 47286 h 55167"/>
                    <a:gd name="connsiteX2" fmla="*/ 0 w 15762"/>
                    <a:gd name="connsiteY2" fmla="*/ 7881 h 55167"/>
                    <a:gd name="connsiteX3" fmla="*/ 7881 w 15762"/>
                    <a:gd name="connsiteY3" fmla="*/ 0 h 55167"/>
                    <a:gd name="connsiteX4" fmla="*/ 15762 w 15762"/>
                    <a:gd name="connsiteY4" fmla="*/ 7881 h 55167"/>
                    <a:gd name="connsiteX5" fmla="*/ 15762 w 15762"/>
                    <a:gd name="connsiteY5" fmla="*/ 47286 h 55167"/>
                    <a:gd name="connsiteX6" fmla="*/ 7881 w 15762"/>
                    <a:gd name="connsiteY6" fmla="*/ 55168 h 55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2" h="55167">
                      <a:moveTo>
                        <a:pt x="7881" y="55168"/>
                      </a:moveTo>
                      <a:cubicBezTo>
                        <a:pt x="3522" y="55168"/>
                        <a:pt x="0" y="51646"/>
                        <a:pt x="0" y="47286"/>
                      </a:cubicBezTo>
                      <a:lnTo>
                        <a:pt x="0" y="7881"/>
                      </a:lnTo>
                      <a:cubicBezTo>
                        <a:pt x="0" y="3521"/>
                        <a:pt x="3522" y="0"/>
                        <a:pt x="7881" y="0"/>
                      </a:cubicBezTo>
                      <a:cubicBezTo>
                        <a:pt x="12241" y="0"/>
                        <a:pt x="15762" y="3521"/>
                        <a:pt x="15762" y="7881"/>
                      </a:cubicBezTo>
                      <a:lnTo>
                        <a:pt x="15762" y="47286"/>
                      </a:lnTo>
                      <a:cubicBezTo>
                        <a:pt x="15762" y="51646"/>
                        <a:pt x="12241" y="55168"/>
                        <a:pt x="7881" y="55168"/>
                      </a:cubicBezTo>
                      <a:close/>
                    </a:path>
                  </a:pathLst>
                </a:custGeom>
                <a:grpFill/>
                <a:ln w="2392" cap="flat">
                  <a:noFill/>
                  <a:prstDash val="solid"/>
                  <a:miter/>
                </a:ln>
              </p:spPr>
              <p:txBody>
                <a:bodyPr rtlCol="0" anchor="ctr"/>
                <a:lstStyle/>
                <a:p>
                  <a:endParaRPr lang="en-GB" dirty="0"/>
                </a:p>
              </p:txBody>
            </p:sp>
          </p:grpSp>
          <p:sp>
            <p:nvSpPr>
              <p:cNvPr id="754" name="Freihandform: Form 753">
                <a:extLst>
                  <a:ext uri="{FF2B5EF4-FFF2-40B4-BE49-F238E27FC236}">
                    <a16:creationId xmlns:a16="http://schemas.microsoft.com/office/drawing/2014/main" id="{1F1BBD80-AA79-491D-A5E1-F65C1C76C866}"/>
                  </a:ext>
                </a:extLst>
              </p:cNvPr>
              <p:cNvSpPr/>
              <p:nvPr/>
            </p:nvSpPr>
            <p:spPr>
              <a:xfrm>
                <a:off x="8061571" y="3473724"/>
                <a:ext cx="591463" cy="218058"/>
              </a:xfrm>
              <a:custGeom>
                <a:avLst/>
                <a:gdLst>
                  <a:gd name="connsiteX0" fmla="*/ 583582 w 591463"/>
                  <a:gd name="connsiteY0" fmla="*/ 0 h 218058"/>
                  <a:gd name="connsiteX1" fmla="*/ 7881 w 591463"/>
                  <a:gd name="connsiteY1" fmla="*/ 0 h 218058"/>
                  <a:gd name="connsiteX2" fmla="*/ 0 w 591463"/>
                  <a:gd name="connsiteY2" fmla="*/ 7881 h 218058"/>
                  <a:gd name="connsiteX3" fmla="*/ 0 w 591463"/>
                  <a:gd name="connsiteY3" fmla="*/ 149573 h 218058"/>
                  <a:gd name="connsiteX4" fmla="*/ 4144 w 591463"/>
                  <a:gd name="connsiteY4" fmla="*/ 156519 h 218058"/>
                  <a:gd name="connsiteX5" fmla="*/ 253583 w 591463"/>
                  <a:gd name="connsiteY5" fmla="*/ 218059 h 218058"/>
                  <a:gd name="connsiteX6" fmla="*/ 253583 w 591463"/>
                  <a:gd name="connsiteY6" fmla="*/ 202225 h 218058"/>
                  <a:gd name="connsiteX7" fmla="*/ 15762 w 591463"/>
                  <a:gd name="connsiteY7" fmla="*/ 144734 h 218058"/>
                  <a:gd name="connsiteX8" fmla="*/ 15762 w 591463"/>
                  <a:gd name="connsiteY8" fmla="*/ 15786 h 218058"/>
                  <a:gd name="connsiteX9" fmla="*/ 575701 w 591463"/>
                  <a:gd name="connsiteY9" fmla="*/ 15786 h 218058"/>
                  <a:gd name="connsiteX10" fmla="*/ 575701 w 591463"/>
                  <a:gd name="connsiteY10" fmla="*/ 144901 h 218058"/>
                  <a:gd name="connsiteX11" fmla="*/ 349138 w 591463"/>
                  <a:gd name="connsiteY11" fmla="*/ 202057 h 218058"/>
                  <a:gd name="connsiteX12" fmla="*/ 349138 w 591463"/>
                  <a:gd name="connsiteY12" fmla="*/ 217915 h 218058"/>
                  <a:gd name="connsiteX13" fmla="*/ 587559 w 591463"/>
                  <a:gd name="connsiteY13" fmla="*/ 156400 h 218058"/>
                  <a:gd name="connsiteX14" fmla="*/ 591463 w 591463"/>
                  <a:gd name="connsiteY14" fmla="*/ 149597 h 218058"/>
                  <a:gd name="connsiteX15" fmla="*/ 591463 w 591463"/>
                  <a:gd name="connsiteY15" fmla="*/ 7881 h 218058"/>
                  <a:gd name="connsiteX16" fmla="*/ 583582 w 591463"/>
                  <a:gd name="connsiteY16" fmla="*/ 0 h 21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91463" h="218058">
                    <a:moveTo>
                      <a:pt x="583582" y="0"/>
                    </a:moveTo>
                    <a:lnTo>
                      <a:pt x="7881" y="0"/>
                    </a:lnTo>
                    <a:cubicBezTo>
                      <a:pt x="3522" y="0"/>
                      <a:pt x="0" y="3521"/>
                      <a:pt x="0" y="7881"/>
                    </a:cubicBezTo>
                    <a:lnTo>
                      <a:pt x="0" y="149573"/>
                    </a:lnTo>
                    <a:cubicBezTo>
                      <a:pt x="0" y="152471"/>
                      <a:pt x="1605" y="155130"/>
                      <a:pt x="4144" y="156519"/>
                    </a:cubicBezTo>
                    <a:cubicBezTo>
                      <a:pt x="8504" y="158867"/>
                      <a:pt x="103268" y="208980"/>
                      <a:pt x="253583" y="218059"/>
                    </a:cubicBezTo>
                    <a:lnTo>
                      <a:pt x="253583" y="202225"/>
                    </a:lnTo>
                    <a:cubicBezTo>
                      <a:pt x="124229" y="194056"/>
                      <a:pt x="35501" y="154316"/>
                      <a:pt x="15762" y="144734"/>
                    </a:cubicBezTo>
                    <a:lnTo>
                      <a:pt x="15762" y="15786"/>
                    </a:lnTo>
                    <a:lnTo>
                      <a:pt x="575701" y="15786"/>
                    </a:lnTo>
                    <a:lnTo>
                      <a:pt x="575701" y="144901"/>
                    </a:lnTo>
                    <a:cubicBezTo>
                      <a:pt x="557352" y="154483"/>
                      <a:pt x="475499" y="193553"/>
                      <a:pt x="349138" y="202057"/>
                    </a:cubicBezTo>
                    <a:lnTo>
                      <a:pt x="349138" y="217915"/>
                    </a:lnTo>
                    <a:cubicBezTo>
                      <a:pt x="496723" y="208405"/>
                      <a:pt x="583558" y="158723"/>
                      <a:pt x="587559" y="156400"/>
                    </a:cubicBezTo>
                    <a:cubicBezTo>
                      <a:pt x="589978" y="154986"/>
                      <a:pt x="591463" y="152399"/>
                      <a:pt x="591463" y="149597"/>
                    </a:cubicBezTo>
                    <a:lnTo>
                      <a:pt x="591463" y="7881"/>
                    </a:lnTo>
                    <a:cubicBezTo>
                      <a:pt x="591463" y="3521"/>
                      <a:pt x="587942" y="0"/>
                      <a:pt x="583582" y="0"/>
                    </a:cubicBezTo>
                    <a:close/>
                  </a:path>
                </a:pathLst>
              </a:custGeom>
              <a:grpFill/>
              <a:ln w="2392" cap="flat">
                <a:noFill/>
                <a:prstDash val="solid"/>
                <a:miter/>
              </a:ln>
            </p:spPr>
            <p:txBody>
              <a:bodyPr rtlCol="0" anchor="ctr"/>
              <a:lstStyle/>
              <a:p>
                <a:endParaRPr lang="en-GB" dirty="0"/>
              </a:p>
            </p:txBody>
          </p:sp>
        </p:grpSp>
        <p:grpSp>
          <p:nvGrpSpPr>
            <p:cNvPr id="746" name="Gruppieren 745">
              <a:extLst>
                <a:ext uri="{FF2B5EF4-FFF2-40B4-BE49-F238E27FC236}">
                  <a16:creationId xmlns:a16="http://schemas.microsoft.com/office/drawing/2014/main" id="{1A5797D1-C542-4AF1-A16E-819513DCAB87}"/>
                </a:ext>
              </a:extLst>
            </p:cNvPr>
            <p:cNvGrpSpPr/>
            <p:nvPr/>
          </p:nvGrpSpPr>
          <p:grpSpPr>
            <a:xfrm>
              <a:off x="8306121" y="3462124"/>
              <a:ext cx="93138" cy="166317"/>
              <a:chOff x="8306291" y="3608708"/>
              <a:chExt cx="110335" cy="197026"/>
            </a:xfrm>
          </p:grpSpPr>
          <p:sp>
            <p:nvSpPr>
              <p:cNvPr id="747" name="Freihandform: Form 746">
                <a:extLst>
                  <a:ext uri="{FF2B5EF4-FFF2-40B4-BE49-F238E27FC236}">
                    <a16:creationId xmlns:a16="http://schemas.microsoft.com/office/drawing/2014/main" id="{36AB5EC8-0170-4E66-B810-38887FF796C3}"/>
                  </a:ext>
                </a:extLst>
              </p:cNvPr>
              <p:cNvSpPr/>
              <p:nvPr/>
            </p:nvSpPr>
            <p:spPr>
              <a:xfrm>
                <a:off x="8329815" y="3695328"/>
                <a:ext cx="63144" cy="63120"/>
              </a:xfrm>
              <a:custGeom>
                <a:avLst/>
                <a:gdLst>
                  <a:gd name="connsiteX0" fmla="*/ 31572 w 63144"/>
                  <a:gd name="connsiteY0" fmla="*/ 63120 h 63120"/>
                  <a:gd name="connsiteX1" fmla="*/ 0 w 63144"/>
                  <a:gd name="connsiteY1" fmla="*/ 31548 h 63120"/>
                  <a:gd name="connsiteX2" fmla="*/ 31572 w 63144"/>
                  <a:gd name="connsiteY2" fmla="*/ 0 h 63120"/>
                  <a:gd name="connsiteX3" fmla="*/ 63144 w 63144"/>
                  <a:gd name="connsiteY3" fmla="*/ 31548 h 63120"/>
                  <a:gd name="connsiteX4" fmla="*/ 31572 w 63144"/>
                  <a:gd name="connsiteY4" fmla="*/ 63120 h 63120"/>
                  <a:gd name="connsiteX5" fmla="*/ 31572 w 63144"/>
                  <a:gd name="connsiteY5" fmla="*/ 15738 h 63120"/>
                  <a:gd name="connsiteX6" fmla="*/ 15762 w 63144"/>
                  <a:gd name="connsiteY6" fmla="*/ 31524 h 63120"/>
                  <a:gd name="connsiteX7" fmla="*/ 31572 w 63144"/>
                  <a:gd name="connsiteY7" fmla="*/ 47334 h 63120"/>
                  <a:gd name="connsiteX8" fmla="*/ 47382 w 63144"/>
                  <a:gd name="connsiteY8" fmla="*/ 31524 h 63120"/>
                  <a:gd name="connsiteX9" fmla="*/ 31572 w 63144"/>
                  <a:gd name="connsiteY9" fmla="*/ 15738 h 63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144" h="63120">
                    <a:moveTo>
                      <a:pt x="31572" y="63120"/>
                    </a:moveTo>
                    <a:cubicBezTo>
                      <a:pt x="14181" y="63120"/>
                      <a:pt x="0" y="48963"/>
                      <a:pt x="0" y="31548"/>
                    </a:cubicBezTo>
                    <a:cubicBezTo>
                      <a:pt x="0" y="14157"/>
                      <a:pt x="14157" y="0"/>
                      <a:pt x="31572" y="0"/>
                    </a:cubicBezTo>
                    <a:cubicBezTo>
                      <a:pt x="48987" y="0"/>
                      <a:pt x="63144" y="14157"/>
                      <a:pt x="63144" y="31548"/>
                    </a:cubicBezTo>
                    <a:cubicBezTo>
                      <a:pt x="63168" y="48939"/>
                      <a:pt x="48987" y="63120"/>
                      <a:pt x="31572" y="63120"/>
                    </a:cubicBezTo>
                    <a:close/>
                    <a:moveTo>
                      <a:pt x="31572" y="15738"/>
                    </a:moveTo>
                    <a:cubicBezTo>
                      <a:pt x="22852" y="15738"/>
                      <a:pt x="15762" y="22829"/>
                      <a:pt x="15762" y="31524"/>
                    </a:cubicBezTo>
                    <a:cubicBezTo>
                      <a:pt x="15762" y="40244"/>
                      <a:pt x="22852" y="47334"/>
                      <a:pt x="31572" y="47334"/>
                    </a:cubicBezTo>
                    <a:cubicBezTo>
                      <a:pt x="40292" y="47334"/>
                      <a:pt x="47382" y="40244"/>
                      <a:pt x="47382" y="31524"/>
                    </a:cubicBezTo>
                    <a:cubicBezTo>
                      <a:pt x="47406" y="22829"/>
                      <a:pt x="40292" y="15738"/>
                      <a:pt x="31572" y="15738"/>
                    </a:cubicBezTo>
                    <a:close/>
                  </a:path>
                </a:pathLst>
              </a:custGeom>
              <a:solidFill>
                <a:schemeClr val="accent1"/>
              </a:solidFill>
              <a:ln w="2392" cap="flat">
                <a:noFill/>
                <a:prstDash val="solid"/>
                <a:miter/>
              </a:ln>
            </p:spPr>
            <p:txBody>
              <a:bodyPr rtlCol="0" anchor="ctr"/>
              <a:lstStyle/>
              <a:p>
                <a:endParaRPr lang="en-GB" dirty="0"/>
              </a:p>
            </p:txBody>
          </p:sp>
          <p:sp>
            <p:nvSpPr>
              <p:cNvPr id="748" name="Freihandform: Form 747">
                <a:extLst>
                  <a:ext uri="{FF2B5EF4-FFF2-40B4-BE49-F238E27FC236}">
                    <a16:creationId xmlns:a16="http://schemas.microsoft.com/office/drawing/2014/main" id="{904BACE7-23E3-4B20-AD9F-973F5903AFBF}"/>
                  </a:ext>
                </a:extLst>
              </p:cNvPr>
              <p:cNvSpPr/>
              <p:nvPr/>
            </p:nvSpPr>
            <p:spPr>
              <a:xfrm>
                <a:off x="8306291" y="3608708"/>
                <a:ext cx="110335" cy="197026"/>
              </a:xfrm>
              <a:custGeom>
                <a:avLst/>
                <a:gdLst>
                  <a:gd name="connsiteX0" fmla="*/ 55168 w 110335"/>
                  <a:gd name="connsiteY0" fmla="*/ 197027 h 197026"/>
                  <a:gd name="connsiteX1" fmla="*/ 50281 w 110335"/>
                  <a:gd name="connsiteY1" fmla="*/ 195326 h 197026"/>
                  <a:gd name="connsiteX2" fmla="*/ 2994 w 110335"/>
                  <a:gd name="connsiteY2" fmla="*/ 157813 h 197026"/>
                  <a:gd name="connsiteX3" fmla="*/ 0 w 110335"/>
                  <a:gd name="connsiteY3" fmla="*/ 151633 h 197026"/>
                  <a:gd name="connsiteX4" fmla="*/ 0 w 110335"/>
                  <a:gd name="connsiteY4" fmla="*/ 7881 h 197026"/>
                  <a:gd name="connsiteX5" fmla="*/ 7881 w 110335"/>
                  <a:gd name="connsiteY5" fmla="*/ 0 h 197026"/>
                  <a:gd name="connsiteX6" fmla="*/ 102454 w 110335"/>
                  <a:gd name="connsiteY6" fmla="*/ 0 h 197026"/>
                  <a:gd name="connsiteX7" fmla="*/ 110335 w 110335"/>
                  <a:gd name="connsiteY7" fmla="*/ 7881 h 197026"/>
                  <a:gd name="connsiteX8" fmla="*/ 110335 w 110335"/>
                  <a:gd name="connsiteY8" fmla="*/ 151633 h 197026"/>
                  <a:gd name="connsiteX9" fmla="*/ 107341 w 110335"/>
                  <a:gd name="connsiteY9" fmla="*/ 157813 h 197026"/>
                  <a:gd name="connsiteX10" fmla="*/ 60054 w 110335"/>
                  <a:gd name="connsiteY10" fmla="*/ 195326 h 197026"/>
                  <a:gd name="connsiteX11" fmla="*/ 55168 w 110335"/>
                  <a:gd name="connsiteY11" fmla="*/ 197027 h 197026"/>
                  <a:gd name="connsiteX12" fmla="*/ 15762 w 110335"/>
                  <a:gd name="connsiteY12" fmla="*/ 147824 h 197026"/>
                  <a:gd name="connsiteX13" fmla="*/ 55168 w 110335"/>
                  <a:gd name="connsiteY13" fmla="*/ 179085 h 197026"/>
                  <a:gd name="connsiteX14" fmla="*/ 94573 w 110335"/>
                  <a:gd name="connsiteY14" fmla="*/ 147824 h 197026"/>
                  <a:gd name="connsiteX15" fmla="*/ 94573 w 110335"/>
                  <a:gd name="connsiteY15" fmla="*/ 15762 h 197026"/>
                  <a:gd name="connsiteX16" fmla="*/ 15762 w 110335"/>
                  <a:gd name="connsiteY16" fmla="*/ 15762 h 197026"/>
                  <a:gd name="connsiteX17" fmla="*/ 15762 w 110335"/>
                  <a:gd name="connsiteY17" fmla="*/ 147824 h 19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0335" h="197026">
                    <a:moveTo>
                      <a:pt x="55168" y="197027"/>
                    </a:moveTo>
                    <a:cubicBezTo>
                      <a:pt x="53443" y="197027"/>
                      <a:pt x="51694" y="196452"/>
                      <a:pt x="50281" y="195326"/>
                    </a:cubicBezTo>
                    <a:lnTo>
                      <a:pt x="2994" y="157813"/>
                    </a:lnTo>
                    <a:cubicBezTo>
                      <a:pt x="1102" y="156328"/>
                      <a:pt x="0" y="154052"/>
                      <a:pt x="0" y="151633"/>
                    </a:cubicBezTo>
                    <a:lnTo>
                      <a:pt x="0" y="7881"/>
                    </a:lnTo>
                    <a:cubicBezTo>
                      <a:pt x="0" y="3521"/>
                      <a:pt x="3521" y="0"/>
                      <a:pt x="7881" y="0"/>
                    </a:cubicBezTo>
                    <a:lnTo>
                      <a:pt x="102454" y="0"/>
                    </a:lnTo>
                    <a:cubicBezTo>
                      <a:pt x="106814" y="0"/>
                      <a:pt x="110335" y="3521"/>
                      <a:pt x="110335" y="7881"/>
                    </a:cubicBezTo>
                    <a:lnTo>
                      <a:pt x="110335" y="151633"/>
                    </a:lnTo>
                    <a:cubicBezTo>
                      <a:pt x="110335" y="154052"/>
                      <a:pt x="109233" y="156304"/>
                      <a:pt x="107341" y="157813"/>
                    </a:cubicBezTo>
                    <a:lnTo>
                      <a:pt x="60054" y="195326"/>
                    </a:lnTo>
                    <a:cubicBezTo>
                      <a:pt x="58617" y="196452"/>
                      <a:pt x="56892" y="197027"/>
                      <a:pt x="55168" y="197027"/>
                    </a:cubicBezTo>
                    <a:close/>
                    <a:moveTo>
                      <a:pt x="15762" y="147824"/>
                    </a:moveTo>
                    <a:lnTo>
                      <a:pt x="55168" y="179085"/>
                    </a:lnTo>
                    <a:lnTo>
                      <a:pt x="94573" y="147824"/>
                    </a:lnTo>
                    <a:lnTo>
                      <a:pt x="94573" y="15762"/>
                    </a:lnTo>
                    <a:lnTo>
                      <a:pt x="15762" y="15762"/>
                    </a:lnTo>
                    <a:lnTo>
                      <a:pt x="15762" y="147824"/>
                    </a:lnTo>
                    <a:close/>
                  </a:path>
                </a:pathLst>
              </a:custGeom>
              <a:solidFill>
                <a:schemeClr val="accent1"/>
              </a:solidFill>
              <a:ln w="2392" cap="flat">
                <a:noFill/>
                <a:prstDash val="solid"/>
                <a:miter/>
              </a:ln>
            </p:spPr>
            <p:txBody>
              <a:bodyPr rtlCol="0" anchor="ctr"/>
              <a:lstStyle/>
              <a:p>
                <a:endParaRPr lang="en-GB" dirty="0"/>
              </a:p>
            </p:txBody>
          </p:sp>
        </p:grpSp>
      </p:grpSp>
      <p:sp>
        <p:nvSpPr>
          <p:cNvPr id="761" name="TextBox 620">
            <a:extLst>
              <a:ext uri="{FF2B5EF4-FFF2-40B4-BE49-F238E27FC236}">
                <a16:creationId xmlns:a16="http://schemas.microsoft.com/office/drawing/2014/main" id="{A2E4725C-F904-4028-995E-941E7D0AA974}"/>
              </a:ext>
            </a:extLst>
          </p:cNvPr>
          <p:cNvSpPr txBox="1"/>
          <p:nvPr/>
        </p:nvSpPr>
        <p:spPr>
          <a:xfrm>
            <a:off x="4959194" y="2077494"/>
            <a:ext cx="508152" cy="107722"/>
          </a:xfrm>
          <a:prstGeom prst="rect">
            <a:avLst/>
          </a:prstGeom>
          <a:noFill/>
          <a:effectLst/>
        </p:spPr>
        <p:txBody>
          <a:bodyPr wrap="none" lIns="0" tIns="0" rIns="0" bIns="0" rtlCol="0" anchor="t">
            <a:spAutoFit/>
          </a:bodyPr>
          <a:lstStyle/>
          <a:p>
            <a:pPr algn="ctr"/>
            <a:r>
              <a:rPr lang="en-GB" sz="700" dirty="0">
                <a:solidFill>
                  <a:schemeClr val="tx2"/>
                </a:solidFill>
              </a:rPr>
              <a:t>Photographs</a:t>
            </a:r>
          </a:p>
        </p:txBody>
      </p:sp>
      <p:sp>
        <p:nvSpPr>
          <p:cNvPr id="762" name="TextBox 621">
            <a:extLst>
              <a:ext uri="{FF2B5EF4-FFF2-40B4-BE49-F238E27FC236}">
                <a16:creationId xmlns:a16="http://schemas.microsoft.com/office/drawing/2014/main" id="{387C3241-650C-4A7D-8BCF-A20E372FBA4A}"/>
              </a:ext>
            </a:extLst>
          </p:cNvPr>
          <p:cNvSpPr txBox="1"/>
          <p:nvPr/>
        </p:nvSpPr>
        <p:spPr>
          <a:xfrm>
            <a:off x="5089036" y="2899619"/>
            <a:ext cx="248466" cy="107722"/>
          </a:xfrm>
          <a:prstGeom prst="rect">
            <a:avLst/>
          </a:prstGeom>
          <a:noFill/>
          <a:effectLst/>
        </p:spPr>
        <p:txBody>
          <a:bodyPr wrap="none" lIns="0" tIns="0" rIns="0" bIns="0" rtlCol="0" anchor="t">
            <a:spAutoFit/>
          </a:bodyPr>
          <a:lstStyle/>
          <a:p>
            <a:pPr algn="ctr"/>
            <a:r>
              <a:rPr lang="en-GB" sz="700" dirty="0">
                <a:solidFill>
                  <a:schemeClr val="tx2"/>
                </a:solidFill>
              </a:rPr>
              <a:t>Article</a:t>
            </a:r>
          </a:p>
        </p:txBody>
      </p:sp>
      <p:sp>
        <p:nvSpPr>
          <p:cNvPr id="763" name="TextBox 622">
            <a:extLst>
              <a:ext uri="{FF2B5EF4-FFF2-40B4-BE49-F238E27FC236}">
                <a16:creationId xmlns:a16="http://schemas.microsoft.com/office/drawing/2014/main" id="{0DBE47BC-DDD3-4609-891E-21D5E7FBB50F}"/>
              </a:ext>
            </a:extLst>
          </p:cNvPr>
          <p:cNvSpPr txBox="1"/>
          <p:nvPr/>
        </p:nvSpPr>
        <p:spPr>
          <a:xfrm>
            <a:off x="5064189" y="3723675"/>
            <a:ext cx="298159" cy="107722"/>
          </a:xfrm>
          <a:prstGeom prst="rect">
            <a:avLst/>
          </a:prstGeom>
          <a:noFill/>
          <a:effectLst/>
        </p:spPr>
        <p:txBody>
          <a:bodyPr wrap="none" lIns="0" tIns="0" rIns="0" bIns="0" rtlCol="0" anchor="t">
            <a:spAutoFit/>
          </a:bodyPr>
          <a:lstStyle/>
          <a:p>
            <a:pPr algn="ctr"/>
            <a:r>
              <a:rPr lang="en-GB" sz="700" dirty="0">
                <a:solidFill>
                  <a:schemeClr val="tx2"/>
                </a:solidFill>
              </a:rPr>
              <a:t>Archive</a:t>
            </a:r>
          </a:p>
        </p:txBody>
      </p:sp>
      <p:sp>
        <p:nvSpPr>
          <p:cNvPr id="764" name="TextBox 623">
            <a:extLst>
              <a:ext uri="{FF2B5EF4-FFF2-40B4-BE49-F238E27FC236}">
                <a16:creationId xmlns:a16="http://schemas.microsoft.com/office/drawing/2014/main" id="{859835DA-7F9E-4E32-9F35-B2014D24AE8B}"/>
              </a:ext>
            </a:extLst>
          </p:cNvPr>
          <p:cNvSpPr txBox="1"/>
          <p:nvPr/>
        </p:nvSpPr>
        <p:spPr>
          <a:xfrm>
            <a:off x="5029726" y="4547732"/>
            <a:ext cx="367088" cy="107722"/>
          </a:xfrm>
          <a:prstGeom prst="rect">
            <a:avLst/>
          </a:prstGeom>
          <a:noFill/>
          <a:effectLst/>
        </p:spPr>
        <p:txBody>
          <a:bodyPr wrap="none" lIns="0" tIns="0" rIns="0" bIns="0" rtlCol="0" anchor="t">
            <a:spAutoFit/>
          </a:bodyPr>
          <a:lstStyle/>
          <a:p>
            <a:pPr algn="ctr"/>
            <a:r>
              <a:rPr lang="en-GB" sz="700" dirty="0">
                <a:solidFill>
                  <a:schemeClr val="tx2"/>
                </a:solidFill>
              </a:rPr>
              <a:t>Audio file</a:t>
            </a:r>
          </a:p>
        </p:txBody>
      </p:sp>
      <p:sp>
        <p:nvSpPr>
          <p:cNvPr id="765" name="TextBox 625">
            <a:extLst>
              <a:ext uri="{FF2B5EF4-FFF2-40B4-BE49-F238E27FC236}">
                <a16:creationId xmlns:a16="http://schemas.microsoft.com/office/drawing/2014/main" id="{67A1C855-C502-4329-8CC4-5E5EA893766D}"/>
              </a:ext>
            </a:extLst>
          </p:cNvPr>
          <p:cNvSpPr txBox="1"/>
          <p:nvPr/>
        </p:nvSpPr>
        <p:spPr>
          <a:xfrm>
            <a:off x="6067144" y="2077494"/>
            <a:ext cx="383118" cy="107722"/>
          </a:xfrm>
          <a:prstGeom prst="rect">
            <a:avLst/>
          </a:prstGeom>
          <a:noFill/>
          <a:effectLst/>
        </p:spPr>
        <p:txBody>
          <a:bodyPr wrap="none" lIns="0" tIns="0" rIns="0" bIns="0" rtlCol="0" anchor="t">
            <a:spAutoFit/>
          </a:bodyPr>
          <a:lstStyle/>
          <a:p>
            <a:pPr algn="ctr"/>
            <a:r>
              <a:rPr lang="en-GB" sz="700" dirty="0">
                <a:solidFill>
                  <a:schemeClr val="tx2"/>
                </a:solidFill>
              </a:rPr>
              <a:t>Media file</a:t>
            </a:r>
          </a:p>
        </p:txBody>
      </p:sp>
      <p:sp>
        <p:nvSpPr>
          <p:cNvPr id="766" name="TextBox 626">
            <a:extLst>
              <a:ext uri="{FF2B5EF4-FFF2-40B4-BE49-F238E27FC236}">
                <a16:creationId xmlns:a16="http://schemas.microsoft.com/office/drawing/2014/main" id="{58B099D6-CF36-4258-8FF8-5DDDE2E264CE}"/>
              </a:ext>
            </a:extLst>
          </p:cNvPr>
          <p:cNvSpPr txBox="1"/>
          <p:nvPr/>
        </p:nvSpPr>
        <p:spPr>
          <a:xfrm>
            <a:off x="6156912" y="2899619"/>
            <a:ext cx="203582" cy="107722"/>
          </a:xfrm>
          <a:prstGeom prst="rect">
            <a:avLst/>
          </a:prstGeom>
          <a:noFill/>
          <a:effectLst/>
        </p:spPr>
        <p:txBody>
          <a:bodyPr wrap="none" lIns="0" tIns="0" rIns="0" bIns="0" rtlCol="0" anchor="t">
            <a:spAutoFit/>
          </a:bodyPr>
          <a:lstStyle/>
          <a:p>
            <a:pPr algn="ctr"/>
            <a:r>
              <a:rPr lang="en-GB" sz="700" dirty="0">
                <a:solidFill>
                  <a:schemeClr val="tx2"/>
                </a:solidFill>
              </a:rPr>
              <a:t>Book</a:t>
            </a:r>
          </a:p>
        </p:txBody>
      </p:sp>
      <p:sp>
        <p:nvSpPr>
          <p:cNvPr id="767" name="TextBox 627">
            <a:extLst>
              <a:ext uri="{FF2B5EF4-FFF2-40B4-BE49-F238E27FC236}">
                <a16:creationId xmlns:a16="http://schemas.microsoft.com/office/drawing/2014/main" id="{00FD32BD-353E-4C60-9CD7-E1EDB4FD9167}"/>
              </a:ext>
            </a:extLst>
          </p:cNvPr>
          <p:cNvSpPr txBox="1"/>
          <p:nvPr/>
        </p:nvSpPr>
        <p:spPr>
          <a:xfrm>
            <a:off x="6075160" y="3723675"/>
            <a:ext cx="367088" cy="107722"/>
          </a:xfrm>
          <a:prstGeom prst="rect">
            <a:avLst/>
          </a:prstGeom>
          <a:noFill/>
          <a:effectLst/>
        </p:spPr>
        <p:txBody>
          <a:bodyPr wrap="none" lIns="0" tIns="0" rIns="0" bIns="0" rtlCol="0" anchor="t">
            <a:spAutoFit/>
          </a:bodyPr>
          <a:lstStyle/>
          <a:p>
            <a:pPr algn="ctr"/>
            <a:r>
              <a:rPr lang="en-GB" sz="700" dirty="0">
                <a:solidFill>
                  <a:schemeClr val="tx2"/>
                </a:solidFill>
              </a:rPr>
              <a:t>Video file</a:t>
            </a:r>
          </a:p>
        </p:txBody>
      </p:sp>
      <p:sp>
        <p:nvSpPr>
          <p:cNvPr id="768" name="TextBox 628">
            <a:extLst>
              <a:ext uri="{FF2B5EF4-FFF2-40B4-BE49-F238E27FC236}">
                <a16:creationId xmlns:a16="http://schemas.microsoft.com/office/drawing/2014/main" id="{8161C1EA-1605-4653-B0A8-C8021A0087EB}"/>
              </a:ext>
            </a:extLst>
          </p:cNvPr>
          <p:cNvSpPr txBox="1"/>
          <p:nvPr/>
        </p:nvSpPr>
        <p:spPr>
          <a:xfrm>
            <a:off x="6031878" y="4547732"/>
            <a:ext cx="453650" cy="107722"/>
          </a:xfrm>
          <a:prstGeom prst="rect">
            <a:avLst/>
          </a:prstGeom>
          <a:noFill/>
          <a:effectLst/>
        </p:spPr>
        <p:txBody>
          <a:bodyPr wrap="none" lIns="0" tIns="0" rIns="0" bIns="0" rtlCol="0" anchor="t">
            <a:spAutoFit/>
          </a:bodyPr>
          <a:lstStyle/>
          <a:p>
            <a:pPr algn="ctr"/>
            <a:r>
              <a:rPr lang="en-GB" sz="700" dirty="0">
                <a:solidFill>
                  <a:schemeClr val="tx2"/>
                </a:solidFill>
              </a:rPr>
              <a:t>Documents</a:t>
            </a:r>
          </a:p>
        </p:txBody>
      </p:sp>
      <p:sp>
        <p:nvSpPr>
          <p:cNvPr id="769" name="TextBox 630">
            <a:extLst>
              <a:ext uri="{FF2B5EF4-FFF2-40B4-BE49-F238E27FC236}">
                <a16:creationId xmlns:a16="http://schemas.microsoft.com/office/drawing/2014/main" id="{C718C4B3-C810-4F5A-88DA-28C7C239F042}"/>
              </a:ext>
            </a:extLst>
          </p:cNvPr>
          <p:cNvSpPr txBox="1"/>
          <p:nvPr/>
        </p:nvSpPr>
        <p:spPr>
          <a:xfrm>
            <a:off x="7222384" y="2077494"/>
            <a:ext cx="163506" cy="107722"/>
          </a:xfrm>
          <a:prstGeom prst="rect">
            <a:avLst/>
          </a:prstGeom>
          <a:noFill/>
          <a:effectLst/>
        </p:spPr>
        <p:txBody>
          <a:bodyPr wrap="none" lIns="0" tIns="0" rIns="0" bIns="0" rtlCol="0" anchor="t">
            <a:spAutoFit/>
          </a:bodyPr>
          <a:lstStyle/>
          <a:p>
            <a:pPr algn="ctr"/>
            <a:r>
              <a:rPr lang="en-GB" sz="700" dirty="0">
                <a:solidFill>
                  <a:schemeClr val="tx2"/>
                </a:solidFill>
              </a:rPr>
              <a:t>Mail</a:t>
            </a:r>
          </a:p>
        </p:txBody>
      </p:sp>
      <p:sp>
        <p:nvSpPr>
          <p:cNvPr id="770" name="TextBox 631">
            <a:extLst>
              <a:ext uri="{FF2B5EF4-FFF2-40B4-BE49-F238E27FC236}">
                <a16:creationId xmlns:a16="http://schemas.microsoft.com/office/drawing/2014/main" id="{6A0D4767-C56A-45CF-AA19-09E2559C3645}"/>
              </a:ext>
            </a:extLst>
          </p:cNvPr>
          <p:cNvSpPr txBox="1"/>
          <p:nvPr/>
        </p:nvSpPr>
        <p:spPr>
          <a:xfrm>
            <a:off x="7113380" y="2899619"/>
            <a:ext cx="381515" cy="107722"/>
          </a:xfrm>
          <a:prstGeom prst="rect">
            <a:avLst/>
          </a:prstGeom>
          <a:noFill/>
          <a:effectLst/>
        </p:spPr>
        <p:txBody>
          <a:bodyPr wrap="none" lIns="0" tIns="0" rIns="0" bIns="0" rtlCol="0" anchor="t">
            <a:spAutoFit/>
          </a:bodyPr>
          <a:lstStyle/>
          <a:p>
            <a:pPr algn="ctr"/>
            <a:r>
              <a:rPr lang="en-GB" sz="700" dirty="0">
                <a:solidFill>
                  <a:schemeClr val="tx2"/>
                </a:solidFill>
              </a:rPr>
              <a:t>Clipboard</a:t>
            </a:r>
          </a:p>
        </p:txBody>
      </p:sp>
      <p:sp>
        <p:nvSpPr>
          <p:cNvPr id="771" name="TextBox 632">
            <a:extLst>
              <a:ext uri="{FF2B5EF4-FFF2-40B4-BE49-F238E27FC236}">
                <a16:creationId xmlns:a16="http://schemas.microsoft.com/office/drawing/2014/main" id="{D88A5256-17F1-43C2-A412-E64FAA835C67}"/>
              </a:ext>
            </a:extLst>
          </p:cNvPr>
          <p:cNvSpPr txBox="1"/>
          <p:nvPr/>
        </p:nvSpPr>
        <p:spPr>
          <a:xfrm>
            <a:off x="7192727" y="3723675"/>
            <a:ext cx="222818" cy="107722"/>
          </a:xfrm>
          <a:prstGeom prst="rect">
            <a:avLst/>
          </a:prstGeom>
          <a:noFill/>
          <a:effectLst/>
        </p:spPr>
        <p:txBody>
          <a:bodyPr wrap="none" lIns="0" tIns="0" rIns="0" bIns="0" rtlCol="0" anchor="t">
            <a:spAutoFit/>
          </a:bodyPr>
          <a:lstStyle/>
          <a:p>
            <a:pPr algn="ctr"/>
            <a:r>
              <a:rPr lang="en-GB" sz="700" dirty="0">
                <a:solidFill>
                  <a:schemeClr val="tx2"/>
                </a:solidFill>
              </a:rPr>
              <a:t>News</a:t>
            </a:r>
          </a:p>
        </p:txBody>
      </p:sp>
      <p:sp>
        <p:nvSpPr>
          <p:cNvPr id="772" name="TextBox 633">
            <a:extLst>
              <a:ext uri="{FF2B5EF4-FFF2-40B4-BE49-F238E27FC236}">
                <a16:creationId xmlns:a16="http://schemas.microsoft.com/office/drawing/2014/main" id="{7EBAACD3-CA03-4C35-AB40-87785E2460B5}"/>
              </a:ext>
            </a:extLst>
          </p:cNvPr>
          <p:cNvSpPr txBox="1"/>
          <p:nvPr/>
        </p:nvSpPr>
        <p:spPr>
          <a:xfrm>
            <a:off x="7112578" y="4547732"/>
            <a:ext cx="383118" cy="107722"/>
          </a:xfrm>
          <a:prstGeom prst="rect">
            <a:avLst/>
          </a:prstGeom>
          <a:noFill/>
          <a:effectLst/>
        </p:spPr>
        <p:txBody>
          <a:bodyPr wrap="none" lIns="0" tIns="0" rIns="0" bIns="0" rtlCol="0" anchor="t">
            <a:spAutoFit/>
          </a:bodyPr>
          <a:lstStyle/>
          <a:p>
            <a:pPr algn="ctr"/>
            <a:r>
              <a:rPr lang="en-GB" sz="700" dirty="0">
                <a:solidFill>
                  <a:schemeClr val="tx2"/>
                </a:solidFill>
              </a:rPr>
              <a:t>Data plan</a:t>
            </a:r>
          </a:p>
        </p:txBody>
      </p:sp>
      <p:sp>
        <p:nvSpPr>
          <p:cNvPr id="773" name="TextBox 635">
            <a:extLst>
              <a:ext uri="{FF2B5EF4-FFF2-40B4-BE49-F238E27FC236}">
                <a16:creationId xmlns:a16="http://schemas.microsoft.com/office/drawing/2014/main" id="{486C40A0-FDF2-4F70-863D-45B51F90CAD6}"/>
              </a:ext>
            </a:extLst>
          </p:cNvPr>
          <p:cNvSpPr txBox="1"/>
          <p:nvPr/>
        </p:nvSpPr>
        <p:spPr>
          <a:xfrm>
            <a:off x="8255793" y="2077494"/>
            <a:ext cx="187552" cy="107722"/>
          </a:xfrm>
          <a:prstGeom prst="rect">
            <a:avLst/>
          </a:prstGeom>
          <a:noFill/>
          <a:effectLst/>
        </p:spPr>
        <p:txBody>
          <a:bodyPr wrap="none" lIns="0" tIns="0" rIns="0" bIns="0" rtlCol="0" anchor="t">
            <a:spAutoFit/>
          </a:bodyPr>
          <a:lstStyle/>
          <a:p>
            <a:pPr algn="ctr"/>
            <a:r>
              <a:rPr lang="en-GB" sz="700" dirty="0">
                <a:solidFill>
                  <a:schemeClr val="tx2"/>
                </a:solidFill>
              </a:rPr>
              <a:t>Files</a:t>
            </a:r>
          </a:p>
        </p:txBody>
      </p:sp>
      <p:sp>
        <p:nvSpPr>
          <p:cNvPr id="774" name="TextBox 636">
            <a:extLst>
              <a:ext uri="{FF2B5EF4-FFF2-40B4-BE49-F238E27FC236}">
                <a16:creationId xmlns:a16="http://schemas.microsoft.com/office/drawing/2014/main" id="{3C966D9C-38A0-4D01-89B2-867733B538DB}"/>
              </a:ext>
            </a:extLst>
          </p:cNvPr>
          <p:cNvSpPr txBox="1"/>
          <p:nvPr/>
        </p:nvSpPr>
        <p:spPr>
          <a:xfrm>
            <a:off x="8237360" y="2899619"/>
            <a:ext cx="224421" cy="107722"/>
          </a:xfrm>
          <a:prstGeom prst="rect">
            <a:avLst/>
          </a:prstGeom>
          <a:noFill/>
          <a:effectLst/>
        </p:spPr>
        <p:txBody>
          <a:bodyPr wrap="none" lIns="0" tIns="0" rIns="0" bIns="0" rtlCol="0" anchor="t">
            <a:spAutoFit/>
          </a:bodyPr>
          <a:lstStyle/>
          <a:p>
            <a:pPr algn="ctr"/>
            <a:r>
              <a:rPr lang="en-GB" sz="700" dirty="0">
                <a:solidFill>
                  <a:schemeClr val="tx2"/>
                </a:solidFill>
              </a:rPr>
              <a:t>folder</a:t>
            </a:r>
          </a:p>
        </p:txBody>
      </p:sp>
      <p:sp>
        <p:nvSpPr>
          <p:cNvPr id="775" name="TextBox 637">
            <a:extLst>
              <a:ext uri="{FF2B5EF4-FFF2-40B4-BE49-F238E27FC236}">
                <a16:creationId xmlns:a16="http://schemas.microsoft.com/office/drawing/2014/main" id="{7CD46E00-C0FE-472C-B062-3A43A556CF94}"/>
              </a:ext>
            </a:extLst>
          </p:cNvPr>
          <p:cNvSpPr txBox="1"/>
          <p:nvPr/>
        </p:nvSpPr>
        <p:spPr>
          <a:xfrm>
            <a:off x="8162819" y="3723675"/>
            <a:ext cx="373500" cy="107722"/>
          </a:xfrm>
          <a:prstGeom prst="rect">
            <a:avLst/>
          </a:prstGeom>
          <a:noFill/>
          <a:effectLst/>
        </p:spPr>
        <p:txBody>
          <a:bodyPr wrap="none" lIns="0" tIns="0" rIns="0" bIns="0" rtlCol="0" anchor="t">
            <a:spAutoFit/>
          </a:bodyPr>
          <a:lstStyle/>
          <a:p>
            <a:pPr algn="ctr"/>
            <a:r>
              <a:rPr lang="en-GB" sz="700" dirty="0">
                <a:solidFill>
                  <a:schemeClr val="tx2"/>
                </a:solidFill>
              </a:rPr>
              <a:t>Briefcase</a:t>
            </a:r>
          </a:p>
        </p:txBody>
      </p:sp>
      <p:sp>
        <p:nvSpPr>
          <p:cNvPr id="776" name="TextBox 638">
            <a:extLst>
              <a:ext uri="{FF2B5EF4-FFF2-40B4-BE49-F238E27FC236}">
                <a16:creationId xmlns:a16="http://schemas.microsoft.com/office/drawing/2014/main" id="{8B2812E2-CC1F-4CD8-88EE-96C7482ED5E7}"/>
              </a:ext>
            </a:extLst>
          </p:cNvPr>
          <p:cNvSpPr txBox="1"/>
          <p:nvPr/>
        </p:nvSpPr>
        <p:spPr>
          <a:xfrm>
            <a:off x="8210910" y="4547732"/>
            <a:ext cx="277320" cy="107722"/>
          </a:xfrm>
          <a:prstGeom prst="rect">
            <a:avLst/>
          </a:prstGeom>
          <a:noFill/>
          <a:effectLst/>
        </p:spPr>
        <p:txBody>
          <a:bodyPr wrap="none" lIns="0" tIns="0" rIns="0" bIns="0" rtlCol="0" anchor="t">
            <a:spAutoFit/>
          </a:bodyPr>
          <a:lstStyle/>
          <a:p>
            <a:pPr algn="ctr"/>
            <a:r>
              <a:rPr lang="en-GB" sz="700" dirty="0">
                <a:solidFill>
                  <a:schemeClr val="tx2"/>
                </a:solidFill>
              </a:rPr>
              <a:t>Design</a:t>
            </a:r>
          </a:p>
        </p:txBody>
      </p:sp>
    </p:spTree>
    <p:extLst>
      <p:ext uri="{BB962C8B-B14F-4D97-AF65-F5344CB8AC3E}">
        <p14:creationId xmlns:p14="http://schemas.microsoft.com/office/powerpoint/2010/main" val="3883033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kt 51" hidden="1">
            <a:extLst>
              <a:ext uri="{FF2B5EF4-FFF2-40B4-BE49-F238E27FC236}">
                <a16:creationId xmlns:a16="http://schemas.microsoft.com/office/drawing/2014/main" id="{002BF553-7A04-45BD-929C-12728FDA67BF}"/>
              </a:ext>
            </a:extLst>
          </p:cNvPr>
          <p:cNvGraphicFramePr>
            <a:graphicFrameLocks noChangeAspect="1"/>
          </p:cNvGraphicFramePr>
          <p:nvPr>
            <p:custDataLst>
              <p:tags r:id="rId1"/>
            </p:custDataLst>
            <p:extLst>
              <p:ext uri="{D42A27DB-BD31-4B8C-83A1-F6EECF244321}">
                <p14:modId xmlns:p14="http://schemas.microsoft.com/office/powerpoint/2010/main" val="2704349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52" name="Objekt 51" hidden="1">
                        <a:extLst>
                          <a:ext uri="{FF2B5EF4-FFF2-40B4-BE49-F238E27FC236}">
                            <a16:creationId xmlns:a16="http://schemas.microsoft.com/office/drawing/2014/main" id="{002BF553-7A04-45BD-929C-12728FDA67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631A6E5-8E71-41F7-849D-26FFDB1B82DE}"/>
              </a:ext>
            </a:extLst>
          </p:cNvPr>
          <p:cNvSpPr>
            <a:spLocks noGrp="1"/>
          </p:cNvSpPr>
          <p:nvPr>
            <p:ph type="sldNum" sz="quarter" idx="11"/>
          </p:nvPr>
        </p:nvSpPr>
        <p:spPr/>
        <p:txBody>
          <a:bodyPr/>
          <a:lstStyle/>
          <a:p>
            <a:fld id="{D56DB8AA-803C-49D2-90AA-1140CE72DCD7}" type="slidenum">
              <a:rPr lang="en-GB" smtClean="0"/>
              <a:pPr/>
              <a:t>36</a:t>
            </a:fld>
            <a:endParaRPr lang="en-GB" dirty="0"/>
          </a:p>
        </p:txBody>
      </p:sp>
      <p:sp>
        <p:nvSpPr>
          <p:cNvPr id="3" name="Title 2">
            <a:extLst>
              <a:ext uri="{FF2B5EF4-FFF2-40B4-BE49-F238E27FC236}">
                <a16:creationId xmlns:a16="http://schemas.microsoft.com/office/drawing/2014/main" id="{CF453907-8AD4-6D40-086A-2DD3D43A0D34}"/>
              </a:ext>
            </a:extLst>
          </p:cNvPr>
          <p:cNvSpPr>
            <a:spLocks noGrp="1"/>
          </p:cNvSpPr>
          <p:nvPr>
            <p:ph type="title"/>
          </p:nvPr>
        </p:nvSpPr>
        <p:spPr>
          <a:xfrm>
            <a:off x="252000" y="252000"/>
            <a:ext cx="6748875" cy="576000"/>
          </a:xfrm>
        </p:spPr>
        <p:txBody>
          <a:bodyPr/>
          <a:lstStyle/>
          <a:p>
            <a:r>
              <a:rPr lang="en-US" dirty="0"/>
              <a:t>Devices</a:t>
            </a:r>
          </a:p>
        </p:txBody>
      </p:sp>
      <p:sp>
        <p:nvSpPr>
          <p:cNvPr id="76" name="Freihandform: Form 75">
            <a:extLst>
              <a:ext uri="{FF2B5EF4-FFF2-40B4-BE49-F238E27FC236}">
                <a16:creationId xmlns:a16="http://schemas.microsoft.com/office/drawing/2014/main" id="{60025F54-8321-4CD7-A6E8-4370588B000C}"/>
              </a:ext>
            </a:extLst>
          </p:cNvPr>
          <p:cNvSpPr>
            <a:spLocks noChangeAspect="1"/>
          </p:cNvSpPr>
          <p:nvPr/>
        </p:nvSpPr>
        <p:spPr>
          <a:xfrm>
            <a:off x="3016285" y="1626716"/>
            <a:ext cx="352454" cy="324000"/>
          </a:xfrm>
          <a:custGeom>
            <a:avLst/>
            <a:gdLst>
              <a:gd name="connsiteX0" fmla="*/ 369733 w 369732"/>
              <a:gd name="connsiteY0" fmla="*/ 169875 h 339883"/>
              <a:gd name="connsiteX1" fmla="*/ 320323 w 369732"/>
              <a:gd name="connsiteY1" fmla="*/ 119385 h 339883"/>
              <a:gd name="connsiteX2" fmla="*/ 320323 w 369732"/>
              <a:gd name="connsiteY2" fmla="*/ 55965 h 339883"/>
              <a:gd name="connsiteX3" fmla="*/ 292278 w 369732"/>
              <a:gd name="connsiteY3" fmla="*/ 7387 h 339883"/>
              <a:gd name="connsiteX4" fmla="*/ 236180 w 369732"/>
              <a:gd name="connsiteY4" fmla="*/ 7387 h 339883"/>
              <a:gd name="connsiteX5" fmla="*/ 151345 w 369732"/>
              <a:gd name="connsiteY5" fmla="*/ 67381 h 339883"/>
              <a:gd name="connsiteX6" fmla="*/ 118487 w 369732"/>
              <a:gd name="connsiteY6" fmla="*/ 91390 h 339883"/>
              <a:gd name="connsiteX7" fmla="*/ 78492 w 369732"/>
              <a:gd name="connsiteY7" fmla="*/ 91390 h 339883"/>
              <a:gd name="connsiteX8" fmla="*/ 0 w 369732"/>
              <a:gd name="connsiteY8" fmla="*/ 169875 h 339883"/>
              <a:gd name="connsiteX9" fmla="*/ 78492 w 369732"/>
              <a:gd name="connsiteY9" fmla="*/ 248360 h 339883"/>
              <a:gd name="connsiteX10" fmla="*/ 118487 w 369732"/>
              <a:gd name="connsiteY10" fmla="*/ 248360 h 339883"/>
              <a:gd name="connsiteX11" fmla="*/ 151408 w 369732"/>
              <a:gd name="connsiteY11" fmla="*/ 272414 h 339883"/>
              <a:gd name="connsiteX12" fmla="*/ 235799 w 369732"/>
              <a:gd name="connsiteY12" fmla="*/ 332115 h 339883"/>
              <a:gd name="connsiteX13" fmla="*/ 236180 w 369732"/>
              <a:gd name="connsiteY13" fmla="*/ 332363 h 339883"/>
              <a:gd name="connsiteX14" fmla="*/ 264277 w 369732"/>
              <a:gd name="connsiteY14" fmla="*/ 339883 h 339883"/>
              <a:gd name="connsiteX15" fmla="*/ 264277 w 369732"/>
              <a:gd name="connsiteY15" fmla="*/ 339883 h 339883"/>
              <a:gd name="connsiteX16" fmla="*/ 292278 w 369732"/>
              <a:gd name="connsiteY16" fmla="*/ 332363 h 339883"/>
              <a:gd name="connsiteX17" fmla="*/ 320323 w 369732"/>
              <a:gd name="connsiteY17" fmla="*/ 283792 h 339883"/>
              <a:gd name="connsiteX18" fmla="*/ 320323 w 369732"/>
              <a:gd name="connsiteY18" fmla="*/ 220366 h 339883"/>
              <a:gd name="connsiteX19" fmla="*/ 369733 w 369732"/>
              <a:gd name="connsiteY19" fmla="*/ 169875 h 339883"/>
              <a:gd name="connsiteX20" fmla="*/ 9904 w 369732"/>
              <a:gd name="connsiteY20" fmla="*/ 169875 h 339883"/>
              <a:gd name="connsiteX21" fmla="*/ 78492 w 369732"/>
              <a:gd name="connsiteY21" fmla="*/ 101294 h 339883"/>
              <a:gd name="connsiteX22" fmla="*/ 115150 w 369732"/>
              <a:gd name="connsiteY22" fmla="*/ 101294 h 339883"/>
              <a:gd name="connsiteX23" fmla="*/ 115150 w 369732"/>
              <a:gd name="connsiteY23" fmla="*/ 238463 h 339883"/>
              <a:gd name="connsiteX24" fmla="*/ 78492 w 369732"/>
              <a:gd name="connsiteY24" fmla="*/ 238463 h 339883"/>
              <a:gd name="connsiteX25" fmla="*/ 9904 w 369732"/>
              <a:gd name="connsiteY25" fmla="*/ 169875 h 339883"/>
              <a:gd name="connsiteX26" fmla="*/ 310419 w 369732"/>
              <a:gd name="connsiteY26" fmla="*/ 283792 h 339883"/>
              <a:gd name="connsiteX27" fmla="*/ 287326 w 369732"/>
              <a:gd name="connsiteY27" fmla="*/ 323788 h 339883"/>
              <a:gd name="connsiteX28" fmla="*/ 241323 w 369732"/>
              <a:gd name="connsiteY28" fmla="*/ 323896 h 339883"/>
              <a:gd name="connsiteX29" fmla="*/ 157187 w 369732"/>
              <a:gd name="connsiteY29" fmla="*/ 264373 h 339883"/>
              <a:gd name="connsiteX30" fmla="*/ 125060 w 369732"/>
              <a:gd name="connsiteY30" fmla="*/ 240898 h 339883"/>
              <a:gd name="connsiteX31" fmla="*/ 125060 w 369732"/>
              <a:gd name="connsiteY31" fmla="*/ 98853 h 339883"/>
              <a:gd name="connsiteX32" fmla="*/ 157129 w 369732"/>
              <a:gd name="connsiteY32" fmla="*/ 75422 h 339883"/>
              <a:gd name="connsiteX33" fmla="*/ 241329 w 369732"/>
              <a:gd name="connsiteY33" fmla="*/ 15854 h 339883"/>
              <a:gd name="connsiteX34" fmla="*/ 287332 w 369732"/>
              <a:gd name="connsiteY34" fmla="*/ 15969 h 339883"/>
              <a:gd name="connsiteX35" fmla="*/ 310426 w 369732"/>
              <a:gd name="connsiteY35" fmla="*/ 55965 h 339883"/>
              <a:gd name="connsiteX36" fmla="*/ 310426 w 369732"/>
              <a:gd name="connsiteY36" fmla="*/ 119327 h 339883"/>
              <a:gd name="connsiteX37" fmla="*/ 310426 w 369732"/>
              <a:gd name="connsiteY37" fmla="*/ 220423 h 339883"/>
              <a:gd name="connsiteX38" fmla="*/ 310426 w 369732"/>
              <a:gd name="connsiteY38" fmla="*/ 283792 h 339883"/>
              <a:gd name="connsiteX39" fmla="*/ 320323 w 369732"/>
              <a:gd name="connsiteY39" fmla="*/ 210507 h 339883"/>
              <a:gd name="connsiteX40" fmla="*/ 320323 w 369732"/>
              <a:gd name="connsiteY40" fmla="*/ 129250 h 339883"/>
              <a:gd name="connsiteX41" fmla="*/ 359829 w 369732"/>
              <a:gd name="connsiteY41" fmla="*/ 169882 h 339883"/>
              <a:gd name="connsiteX42" fmla="*/ 320323 w 369732"/>
              <a:gd name="connsiteY42" fmla="*/ 210507 h 339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69732" h="339883">
                <a:moveTo>
                  <a:pt x="369733" y="169875"/>
                </a:moveTo>
                <a:cubicBezTo>
                  <a:pt x="369733" y="142389"/>
                  <a:pt x="347669" y="120001"/>
                  <a:pt x="320323" y="119385"/>
                </a:cubicBezTo>
                <a:lnTo>
                  <a:pt x="320323" y="55965"/>
                </a:lnTo>
                <a:cubicBezTo>
                  <a:pt x="320323" y="35979"/>
                  <a:pt x="309574" y="17367"/>
                  <a:pt x="292278" y="7387"/>
                </a:cubicBezTo>
                <a:cubicBezTo>
                  <a:pt x="275165" y="-2491"/>
                  <a:pt x="253178" y="-2434"/>
                  <a:pt x="236180" y="7387"/>
                </a:cubicBezTo>
                <a:lnTo>
                  <a:pt x="151345" y="67381"/>
                </a:lnTo>
                <a:lnTo>
                  <a:pt x="118487" y="91390"/>
                </a:lnTo>
                <a:lnTo>
                  <a:pt x="78492" y="91390"/>
                </a:lnTo>
                <a:cubicBezTo>
                  <a:pt x="35209" y="91390"/>
                  <a:pt x="0" y="126599"/>
                  <a:pt x="0" y="169875"/>
                </a:cubicBezTo>
                <a:cubicBezTo>
                  <a:pt x="0" y="213151"/>
                  <a:pt x="35209" y="248360"/>
                  <a:pt x="78492" y="248360"/>
                </a:cubicBezTo>
                <a:lnTo>
                  <a:pt x="118487" y="248360"/>
                </a:lnTo>
                <a:lnTo>
                  <a:pt x="151408" y="272414"/>
                </a:lnTo>
                <a:lnTo>
                  <a:pt x="235799" y="332115"/>
                </a:lnTo>
                <a:lnTo>
                  <a:pt x="236180" y="332363"/>
                </a:lnTo>
                <a:cubicBezTo>
                  <a:pt x="244711" y="337283"/>
                  <a:pt x="254424" y="339883"/>
                  <a:pt x="264277" y="339883"/>
                </a:cubicBezTo>
                <a:cubicBezTo>
                  <a:pt x="264277" y="339883"/>
                  <a:pt x="264277" y="339883"/>
                  <a:pt x="264277" y="339883"/>
                </a:cubicBezTo>
                <a:cubicBezTo>
                  <a:pt x="274066" y="339883"/>
                  <a:pt x="283747" y="337283"/>
                  <a:pt x="292278" y="332363"/>
                </a:cubicBezTo>
                <a:cubicBezTo>
                  <a:pt x="309574" y="322377"/>
                  <a:pt x="320323" y="303765"/>
                  <a:pt x="320323" y="283792"/>
                </a:cubicBezTo>
                <a:lnTo>
                  <a:pt x="320323" y="220366"/>
                </a:lnTo>
                <a:cubicBezTo>
                  <a:pt x="347669" y="219749"/>
                  <a:pt x="369733" y="197361"/>
                  <a:pt x="369733" y="169875"/>
                </a:cubicBezTo>
                <a:close/>
                <a:moveTo>
                  <a:pt x="9904" y="169875"/>
                </a:moveTo>
                <a:cubicBezTo>
                  <a:pt x="9904" y="132060"/>
                  <a:pt x="40670" y="101294"/>
                  <a:pt x="78492" y="101294"/>
                </a:cubicBezTo>
                <a:lnTo>
                  <a:pt x="115150" y="101294"/>
                </a:lnTo>
                <a:lnTo>
                  <a:pt x="115150" y="238463"/>
                </a:lnTo>
                <a:lnTo>
                  <a:pt x="78492" y="238463"/>
                </a:lnTo>
                <a:cubicBezTo>
                  <a:pt x="40670" y="238457"/>
                  <a:pt x="9904" y="207691"/>
                  <a:pt x="9904" y="169875"/>
                </a:cubicBezTo>
                <a:close/>
                <a:moveTo>
                  <a:pt x="310419" y="283792"/>
                </a:moveTo>
                <a:cubicBezTo>
                  <a:pt x="310419" y="300243"/>
                  <a:pt x="301571" y="315569"/>
                  <a:pt x="287326" y="323788"/>
                </a:cubicBezTo>
                <a:cubicBezTo>
                  <a:pt x="273284" y="331893"/>
                  <a:pt x="255288" y="331867"/>
                  <a:pt x="241323" y="323896"/>
                </a:cubicBezTo>
                <a:lnTo>
                  <a:pt x="157187" y="264373"/>
                </a:lnTo>
                <a:lnTo>
                  <a:pt x="125060" y="240898"/>
                </a:lnTo>
                <a:lnTo>
                  <a:pt x="125060" y="98853"/>
                </a:lnTo>
                <a:lnTo>
                  <a:pt x="157129" y="75422"/>
                </a:lnTo>
                <a:lnTo>
                  <a:pt x="241329" y="15854"/>
                </a:lnTo>
                <a:cubicBezTo>
                  <a:pt x="255295" y="7883"/>
                  <a:pt x="273290" y="7858"/>
                  <a:pt x="287332" y="15969"/>
                </a:cubicBezTo>
                <a:cubicBezTo>
                  <a:pt x="301577" y="24188"/>
                  <a:pt x="310426" y="39514"/>
                  <a:pt x="310426" y="55965"/>
                </a:cubicBezTo>
                <a:lnTo>
                  <a:pt x="310426" y="119327"/>
                </a:lnTo>
                <a:lnTo>
                  <a:pt x="310426" y="220423"/>
                </a:lnTo>
                <a:lnTo>
                  <a:pt x="310426" y="283792"/>
                </a:lnTo>
                <a:close/>
                <a:moveTo>
                  <a:pt x="320323" y="210507"/>
                </a:moveTo>
                <a:lnTo>
                  <a:pt x="320323" y="129250"/>
                </a:lnTo>
                <a:cubicBezTo>
                  <a:pt x="342209" y="129860"/>
                  <a:pt x="359829" y="147850"/>
                  <a:pt x="359829" y="169882"/>
                </a:cubicBezTo>
                <a:cubicBezTo>
                  <a:pt x="359829" y="191901"/>
                  <a:pt x="342209" y="209897"/>
                  <a:pt x="320323" y="210507"/>
                </a:cubicBezTo>
                <a:close/>
              </a:path>
            </a:pathLst>
          </a:custGeom>
          <a:solidFill>
            <a:schemeClr val="tx2"/>
          </a:solidFill>
          <a:ln w="635" cap="flat">
            <a:noFill/>
            <a:prstDash val="solid"/>
            <a:miter/>
          </a:ln>
        </p:spPr>
        <p:txBody>
          <a:bodyPr rtlCol="0" anchor="ctr"/>
          <a:lstStyle/>
          <a:p>
            <a:endParaRPr lang="en-GB" dirty="0"/>
          </a:p>
        </p:txBody>
      </p:sp>
      <p:grpSp>
        <p:nvGrpSpPr>
          <p:cNvPr id="77" name="Gruppieren 76">
            <a:extLst>
              <a:ext uri="{FF2B5EF4-FFF2-40B4-BE49-F238E27FC236}">
                <a16:creationId xmlns:a16="http://schemas.microsoft.com/office/drawing/2014/main" id="{B5DC7545-E139-4698-9715-F99898A351CD}"/>
              </a:ext>
            </a:extLst>
          </p:cNvPr>
          <p:cNvGrpSpPr>
            <a:grpSpLocks noChangeAspect="1"/>
          </p:cNvGrpSpPr>
          <p:nvPr/>
        </p:nvGrpSpPr>
        <p:grpSpPr>
          <a:xfrm>
            <a:off x="2099302" y="1626716"/>
            <a:ext cx="523383" cy="324000"/>
            <a:chOff x="2145772" y="1674816"/>
            <a:chExt cx="415951" cy="257494"/>
          </a:xfrm>
        </p:grpSpPr>
        <p:sp>
          <p:nvSpPr>
            <p:cNvPr id="78" name="Freihandform: Form 77">
              <a:extLst>
                <a:ext uri="{FF2B5EF4-FFF2-40B4-BE49-F238E27FC236}">
                  <a16:creationId xmlns:a16="http://schemas.microsoft.com/office/drawing/2014/main" id="{4C5BFC56-8388-4D7A-88AA-4C7E31DF5E2D}"/>
                </a:ext>
              </a:extLst>
            </p:cNvPr>
            <p:cNvSpPr/>
            <p:nvPr/>
          </p:nvSpPr>
          <p:spPr>
            <a:xfrm>
              <a:off x="2145772" y="1674816"/>
              <a:ext cx="415951" cy="257494"/>
            </a:xfrm>
            <a:custGeom>
              <a:avLst/>
              <a:gdLst>
                <a:gd name="connsiteX0" fmla="*/ 401637 w 415951"/>
                <a:gd name="connsiteY0" fmla="*/ 73540 h 257494"/>
                <a:gd name="connsiteX1" fmla="*/ 372988 w 415951"/>
                <a:gd name="connsiteY1" fmla="*/ 73540 h 257494"/>
                <a:gd name="connsiteX2" fmla="*/ 333488 w 415951"/>
                <a:gd name="connsiteY2" fmla="*/ 101553 h 257494"/>
                <a:gd name="connsiteX3" fmla="*/ 333488 w 415951"/>
                <a:gd name="connsiteY3" fmla="*/ 85020 h 257494"/>
                <a:gd name="connsiteX4" fmla="*/ 293740 w 415951"/>
                <a:gd name="connsiteY4" fmla="*/ 45164 h 257494"/>
                <a:gd name="connsiteX5" fmla="*/ 268421 w 415951"/>
                <a:gd name="connsiteY5" fmla="*/ 45164 h 257494"/>
                <a:gd name="connsiteX6" fmla="*/ 259204 w 415951"/>
                <a:gd name="connsiteY6" fmla="*/ 24778 h 257494"/>
                <a:gd name="connsiteX7" fmla="*/ 243662 w 415951"/>
                <a:gd name="connsiteY7" fmla="*/ 6732 h 257494"/>
                <a:gd name="connsiteX8" fmla="*/ 220848 w 415951"/>
                <a:gd name="connsiteY8" fmla="*/ 0 h 257494"/>
                <a:gd name="connsiteX9" fmla="*/ 97053 w 415951"/>
                <a:gd name="connsiteY9" fmla="*/ 0 h 257494"/>
                <a:gd name="connsiteX10" fmla="*/ 97053 w 415951"/>
                <a:gd name="connsiteY10" fmla="*/ 9904 h 257494"/>
                <a:gd name="connsiteX11" fmla="*/ 220842 w 415951"/>
                <a:gd name="connsiteY11" fmla="*/ 9904 h 257494"/>
                <a:gd name="connsiteX12" fmla="*/ 238284 w 415951"/>
                <a:gd name="connsiteY12" fmla="*/ 15052 h 257494"/>
                <a:gd name="connsiteX13" fmla="*/ 250178 w 415951"/>
                <a:gd name="connsiteY13" fmla="*/ 28865 h 257494"/>
                <a:gd name="connsiteX14" fmla="*/ 257551 w 415951"/>
                <a:gd name="connsiteY14" fmla="*/ 45164 h 257494"/>
                <a:gd name="connsiteX15" fmla="*/ 39748 w 415951"/>
                <a:gd name="connsiteY15" fmla="*/ 45164 h 257494"/>
                <a:gd name="connsiteX16" fmla="*/ 0 w 415951"/>
                <a:gd name="connsiteY16" fmla="*/ 85020 h 257494"/>
                <a:gd name="connsiteX17" fmla="*/ 0 w 415951"/>
                <a:gd name="connsiteY17" fmla="*/ 217644 h 257494"/>
                <a:gd name="connsiteX18" fmla="*/ 39748 w 415951"/>
                <a:gd name="connsiteY18" fmla="*/ 257494 h 257494"/>
                <a:gd name="connsiteX19" fmla="*/ 293740 w 415951"/>
                <a:gd name="connsiteY19" fmla="*/ 257494 h 257494"/>
                <a:gd name="connsiteX20" fmla="*/ 333488 w 415951"/>
                <a:gd name="connsiteY20" fmla="*/ 217644 h 257494"/>
                <a:gd name="connsiteX21" fmla="*/ 333488 w 415951"/>
                <a:gd name="connsiteY21" fmla="*/ 200927 h 257494"/>
                <a:gd name="connsiteX22" fmla="*/ 372606 w 415951"/>
                <a:gd name="connsiteY22" fmla="*/ 228870 h 257494"/>
                <a:gd name="connsiteX23" fmla="*/ 372988 w 415951"/>
                <a:gd name="connsiteY23" fmla="*/ 229118 h 257494"/>
                <a:gd name="connsiteX24" fmla="*/ 387335 w 415951"/>
                <a:gd name="connsiteY24" fmla="*/ 232970 h 257494"/>
                <a:gd name="connsiteX25" fmla="*/ 401637 w 415951"/>
                <a:gd name="connsiteY25" fmla="*/ 229118 h 257494"/>
                <a:gd name="connsiteX26" fmla="*/ 415952 w 415951"/>
                <a:gd name="connsiteY26" fmla="*/ 204257 h 257494"/>
                <a:gd name="connsiteX27" fmla="*/ 415952 w 415951"/>
                <a:gd name="connsiteY27" fmla="*/ 98407 h 257494"/>
                <a:gd name="connsiteX28" fmla="*/ 401637 w 415951"/>
                <a:gd name="connsiteY28" fmla="*/ 73540 h 257494"/>
                <a:gd name="connsiteX29" fmla="*/ 323584 w 415951"/>
                <a:gd name="connsiteY29" fmla="*/ 217644 h 257494"/>
                <a:gd name="connsiteX30" fmla="*/ 293740 w 415951"/>
                <a:gd name="connsiteY30" fmla="*/ 247591 h 257494"/>
                <a:gd name="connsiteX31" fmla="*/ 39748 w 415951"/>
                <a:gd name="connsiteY31" fmla="*/ 247591 h 257494"/>
                <a:gd name="connsiteX32" fmla="*/ 9904 w 415951"/>
                <a:gd name="connsiteY32" fmla="*/ 217644 h 257494"/>
                <a:gd name="connsiteX33" fmla="*/ 9904 w 415951"/>
                <a:gd name="connsiteY33" fmla="*/ 85020 h 257494"/>
                <a:gd name="connsiteX34" fmla="*/ 39748 w 415951"/>
                <a:gd name="connsiteY34" fmla="*/ 55067 h 257494"/>
                <a:gd name="connsiteX35" fmla="*/ 293740 w 415951"/>
                <a:gd name="connsiteY35" fmla="*/ 55067 h 257494"/>
                <a:gd name="connsiteX36" fmla="*/ 323584 w 415951"/>
                <a:gd name="connsiteY36" fmla="*/ 85020 h 257494"/>
                <a:gd name="connsiteX37" fmla="*/ 323584 w 415951"/>
                <a:gd name="connsiteY37" fmla="*/ 108813 h 257494"/>
                <a:gd name="connsiteX38" fmla="*/ 323584 w 415951"/>
                <a:gd name="connsiteY38" fmla="*/ 193845 h 257494"/>
                <a:gd name="connsiteX39" fmla="*/ 323584 w 415951"/>
                <a:gd name="connsiteY39" fmla="*/ 217644 h 257494"/>
                <a:gd name="connsiteX40" fmla="*/ 406048 w 415951"/>
                <a:gd name="connsiteY40" fmla="*/ 204251 h 257494"/>
                <a:gd name="connsiteX41" fmla="*/ 396672 w 415951"/>
                <a:gd name="connsiteY41" fmla="*/ 220543 h 257494"/>
                <a:gd name="connsiteX42" fmla="*/ 378136 w 415951"/>
                <a:gd name="connsiteY42" fmla="*/ 220651 h 257494"/>
                <a:gd name="connsiteX43" fmla="*/ 339310 w 415951"/>
                <a:gd name="connsiteY43" fmla="*/ 193102 h 257494"/>
                <a:gd name="connsiteX44" fmla="*/ 333488 w 415951"/>
                <a:gd name="connsiteY44" fmla="*/ 188824 h 257494"/>
                <a:gd name="connsiteX45" fmla="*/ 333488 w 415951"/>
                <a:gd name="connsiteY45" fmla="*/ 113834 h 257494"/>
                <a:gd name="connsiteX46" fmla="*/ 378143 w 415951"/>
                <a:gd name="connsiteY46" fmla="*/ 82007 h 257494"/>
                <a:gd name="connsiteX47" fmla="*/ 396679 w 415951"/>
                <a:gd name="connsiteY47" fmla="*/ 82115 h 257494"/>
                <a:gd name="connsiteX48" fmla="*/ 406055 w 415951"/>
                <a:gd name="connsiteY48" fmla="*/ 98407 h 257494"/>
                <a:gd name="connsiteX49" fmla="*/ 406055 w 415951"/>
                <a:gd name="connsiteY49" fmla="*/ 204251 h 257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15951" h="257494">
                  <a:moveTo>
                    <a:pt x="401637" y="73540"/>
                  </a:moveTo>
                  <a:cubicBezTo>
                    <a:pt x="392909" y="68486"/>
                    <a:pt x="381677" y="68518"/>
                    <a:pt x="372988" y="73540"/>
                  </a:cubicBezTo>
                  <a:lnTo>
                    <a:pt x="333488" y="101553"/>
                  </a:lnTo>
                  <a:lnTo>
                    <a:pt x="333488" y="85020"/>
                  </a:lnTo>
                  <a:cubicBezTo>
                    <a:pt x="333488" y="63045"/>
                    <a:pt x="315657" y="45164"/>
                    <a:pt x="293740" y="45164"/>
                  </a:cubicBezTo>
                  <a:lnTo>
                    <a:pt x="268421" y="45164"/>
                  </a:lnTo>
                  <a:lnTo>
                    <a:pt x="259204" y="24778"/>
                  </a:lnTo>
                  <a:cubicBezTo>
                    <a:pt x="255854" y="17379"/>
                    <a:pt x="250476" y="11137"/>
                    <a:pt x="243662" y="6732"/>
                  </a:cubicBezTo>
                  <a:cubicBezTo>
                    <a:pt x="236848" y="2327"/>
                    <a:pt x="228953" y="0"/>
                    <a:pt x="220848" y="0"/>
                  </a:cubicBezTo>
                  <a:lnTo>
                    <a:pt x="97053" y="0"/>
                  </a:lnTo>
                  <a:lnTo>
                    <a:pt x="97053" y="9904"/>
                  </a:lnTo>
                  <a:lnTo>
                    <a:pt x="220842" y="9904"/>
                  </a:lnTo>
                  <a:cubicBezTo>
                    <a:pt x="227039" y="9904"/>
                    <a:pt x="233072" y="11683"/>
                    <a:pt x="238284" y="15052"/>
                  </a:cubicBezTo>
                  <a:cubicBezTo>
                    <a:pt x="243497" y="18421"/>
                    <a:pt x="247610" y="23202"/>
                    <a:pt x="250178" y="28865"/>
                  </a:cubicBezTo>
                  <a:lnTo>
                    <a:pt x="257551" y="45164"/>
                  </a:lnTo>
                  <a:lnTo>
                    <a:pt x="39748" y="45164"/>
                  </a:lnTo>
                  <a:cubicBezTo>
                    <a:pt x="17830" y="45164"/>
                    <a:pt x="0" y="63045"/>
                    <a:pt x="0" y="85020"/>
                  </a:cubicBezTo>
                  <a:lnTo>
                    <a:pt x="0" y="217644"/>
                  </a:lnTo>
                  <a:cubicBezTo>
                    <a:pt x="0" y="239619"/>
                    <a:pt x="17830" y="257494"/>
                    <a:pt x="39748" y="257494"/>
                  </a:cubicBezTo>
                  <a:lnTo>
                    <a:pt x="293740" y="257494"/>
                  </a:lnTo>
                  <a:cubicBezTo>
                    <a:pt x="315657" y="257494"/>
                    <a:pt x="333488" y="239619"/>
                    <a:pt x="333488" y="217644"/>
                  </a:cubicBezTo>
                  <a:lnTo>
                    <a:pt x="333488" y="200927"/>
                  </a:lnTo>
                  <a:lnTo>
                    <a:pt x="372606" y="228870"/>
                  </a:lnTo>
                  <a:lnTo>
                    <a:pt x="372988" y="229118"/>
                  </a:lnTo>
                  <a:cubicBezTo>
                    <a:pt x="377342" y="231635"/>
                    <a:pt x="382306" y="232970"/>
                    <a:pt x="387335" y="232970"/>
                  </a:cubicBezTo>
                  <a:cubicBezTo>
                    <a:pt x="392337" y="232970"/>
                    <a:pt x="397283" y="231635"/>
                    <a:pt x="401637" y="229118"/>
                  </a:cubicBezTo>
                  <a:cubicBezTo>
                    <a:pt x="410466" y="224007"/>
                    <a:pt x="415952" y="214479"/>
                    <a:pt x="415952" y="204257"/>
                  </a:cubicBezTo>
                  <a:lnTo>
                    <a:pt x="415952" y="98407"/>
                  </a:lnTo>
                  <a:cubicBezTo>
                    <a:pt x="415952" y="88179"/>
                    <a:pt x="410466" y="78657"/>
                    <a:pt x="401637" y="73540"/>
                  </a:cubicBezTo>
                  <a:close/>
                  <a:moveTo>
                    <a:pt x="323584" y="217644"/>
                  </a:moveTo>
                  <a:cubicBezTo>
                    <a:pt x="323584" y="234159"/>
                    <a:pt x="310197" y="247591"/>
                    <a:pt x="293740" y="247591"/>
                  </a:cubicBezTo>
                  <a:lnTo>
                    <a:pt x="39748" y="247591"/>
                  </a:lnTo>
                  <a:cubicBezTo>
                    <a:pt x="23291" y="247591"/>
                    <a:pt x="9904" y="234153"/>
                    <a:pt x="9904" y="217644"/>
                  </a:cubicBezTo>
                  <a:lnTo>
                    <a:pt x="9904" y="85020"/>
                  </a:lnTo>
                  <a:cubicBezTo>
                    <a:pt x="9904" y="68505"/>
                    <a:pt x="23291" y="55067"/>
                    <a:pt x="39748" y="55067"/>
                  </a:cubicBezTo>
                  <a:lnTo>
                    <a:pt x="293740" y="55067"/>
                  </a:lnTo>
                  <a:cubicBezTo>
                    <a:pt x="310197" y="55067"/>
                    <a:pt x="323584" y="68505"/>
                    <a:pt x="323584" y="85020"/>
                  </a:cubicBezTo>
                  <a:lnTo>
                    <a:pt x="323584" y="108813"/>
                  </a:lnTo>
                  <a:lnTo>
                    <a:pt x="323584" y="193845"/>
                  </a:lnTo>
                  <a:lnTo>
                    <a:pt x="323584" y="217644"/>
                  </a:lnTo>
                  <a:close/>
                  <a:moveTo>
                    <a:pt x="406048" y="204251"/>
                  </a:moveTo>
                  <a:cubicBezTo>
                    <a:pt x="406048" y="210951"/>
                    <a:pt x="402457" y="217200"/>
                    <a:pt x="396672" y="220543"/>
                  </a:cubicBezTo>
                  <a:cubicBezTo>
                    <a:pt x="391015" y="223817"/>
                    <a:pt x="383775" y="223829"/>
                    <a:pt x="378136" y="220651"/>
                  </a:cubicBezTo>
                  <a:lnTo>
                    <a:pt x="339310" y="193102"/>
                  </a:lnTo>
                  <a:lnTo>
                    <a:pt x="333488" y="188824"/>
                  </a:lnTo>
                  <a:lnTo>
                    <a:pt x="333488" y="113834"/>
                  </a:lnTo>
                  <a:lnTo>
                    <a:pt x="378143" y="82007"/>
                  </a:lnTo>
                  <a:cubicBezTo>
                    <a:pt x="383788" y="78829"/>
                    <a:pt x="391021" y="78841"/>
                    <a:pt x="396679" y="82115"/>
                  </a:cubicBezTo>
                  <a:cubicBezTo>
                    <a:pt x="402463" y="85465"/>
                    <a:pt x="406055" y="91707"/>
                    <a:pt x="406055" y="98407"/>
                  </a:cubicBezTo>
                  <a:lnTo>
                    <a:pt x="406055" y="204251"/>
                  </a:lnTo>
                  <a:close/>
                </a:path>
              </a:pathLst>
            </a:custGeom>
            <a:solidFill>
              <a:schemeClr val="tx2"/>
            </a:solidFill>
            <a:ln w="635" cap="flat">
              <a:noFill/>
              <a:prstDash val="solid"/>
              <a:miter/>
            </a:ln>
          </p:spPr>
          <p:txBody>
            <a:bodyPr rtlCol="0" anchor="ctr"/>
            <a:lstStyle/>
            <a:p>
              <a:endParaRPr lang="en-GB" dirty="0"/>
            </a:p>
          </p:txBody>
        </p:sp>
        <p:sp>
          <p:nvSpPr>
            <p:cNvPr id="79" name="Freihandform: Form 78">
              <a:extLst>
                <a:ext uri="{FF2B5EF4-FFF2-40B4-BE49-F238E27FC236}">
                  <a16:creationId xmlns:a16="http://schemas.microsoft.com/office/drawing/2014/main" id="{2321EB95-1AF0-4A3C-87B4-D7AC36FE2A9B}"/>
                </a:ext>
              </a:extLst>
            </p:cNvPr>
            <p:cNvSpPr/>
            <p:nvPr/>
          </p:nvSpPr>
          <p:spPr>
            <a:xfrm>
              <a:off x="2195948" y="1775899"/>
              <a:ext cx="233141" cy="100491"/>
            </a:xfrm>
            <a:custGeom>
              <a:avLst/>
              <a:gdLst>
                <a:gd name="connsiteX0" fmla="*/ 64685 w 233141"/>
                <a:gd name="connsiteY0" fmla="*/ 0 h 100491"/>
                <a:gd name="connsiteX1" fmla="*/ 0 w 233141"/>
                <a:gd name="connsiteY1" fmla="*/ 0 h 100491"/>
                <a:gd name="connsiteX2" fmla="*/ 0 w 233141"/>
                <a:gd name="connsiteY2" fmla="*/ 100492 h 100491"/>
                <a:gd name="connsiteX3" fmla="*/ 64679 w 233141"/>
                <a:gd name="connsiteY3" fmla="*/ 100492 h 100491"/>
                <a:gd name="connsiteX4" fmla="*/ 168451 w 233141"/>
                <a:gd name="connsiteY4" fmla="*/ 100492 h 100491"/>
                <a:gd name="connsiteX5" fmla="*/ 233142 w 233141"/>
                <a:gd name="connsiteY5" fmla="*/ 100492 h 100491"/>
                <a:gd name="connsiteX6" fmla="*/ 233142 w 233141"/>
                <a:gd name="connsiteY6" fmla="*/ 0 h 100491"/>
                <a:gd name="connsiteX7" fmla="*/ 168451 w 233141"/>
                <a:gd name="connsiteY7" fmla="*/ 0 h 100491"/>
                <a:gd name="connsiteX8" fmla="*/ 64685 w 233141"/>
                <a:gd name="connsiteY8" fmla="*/ 0 h 100491"/>
                <a:gd name="connsiteX9" fmla="*/ 164026 w 233141"/>
                <a:gd name="connsiteY9" fmla="*/ 9904 h 100491"/>
                <a:gd name="connsiteX10" fmla="*/ 156335 w 233141"/>
                <a:gd name="connsiteY10" fmla="*/ 50243 h 100491"/>
                <a:gd name="connsiteX11" fmla="*/ 164026 w 233141"/>
                <a:gd name="connsiteY11" fmla="*/ 90588 h 100491"/>
                <a:gd name="connsiteX12" fmla="*/ 69109 w 233141"/>
                <a:gd name="connsiteY12" fmla="*/ 90588 h 100491"/>
                <a:gd name="connsiteX13" fmla="*/ 76807 w 233141"/>
                <a:gd name="connsiteY13" fmla="*/ 50243 h 100491"/>
                <a:gd name="connsiteX14" fmla="*/ 69116 w 233141"/>
                <a:gd name="connsiteY14" fmla="*/ 9904 h 100491"/>
                <a:gd name="connsiteX15" fmla="*/ 164026 w 233141"/>
                <a:gd name="connsiteY15" fmla="*/ 9904 h 100491"/>
                <a:gd name="connsiteX16" fmla="*/ 9904 w 233141"/>
                <a:gd name="connsiteY16" fmla="*/ 90588 h 100491"/>
                <a:gd name="connsiteX17" fmla="*/ 9904 w 233141"/>
                <a:gd name="connsiteY17" fmla="*/ 9904 h 100491"/>
                <a:gd name="connsiteX18" fmla="*/ 58405 w 233141"/>
                <a:gd name="connsiteY18" fmla="*/ 9904 h 100491"/>
                <a:gd name="connsiteX19" fmla="*/ 66897 w 233141"/>
                <a:gd name="connsiteY19" fmla="*/ 50243 h 100491"/>
                <a:gd name="connsiteX20" fmla="*/ 58398 w 233141"/>
                <a:gd name="connsiteY20" fmla="*/ 90588 h 100491"/>
                <a:gd name="connsiteX21" fmla="*/ 9904 w 233141"/>
                <a:gd name="connsiteY21" fmla="*/ 90588 h 100491"/>
                <a:gd name="connsiteX22" fmla="*/ 223232 w 233141"/>
                <a:gd name="connsiteY22" fmla="*/ 9904 h 100491"/>
                <a:gd name="connsiteX23" fmla="*/ 223232 w 233141"/>
                <a:gd name="connsiteY23" fmla="*/ 90582 h 100491"/>
                <a:gd name="connsiteX24" fmla="*/ 174725 w 233141"/>
                <a:gd name="connsiteY24" fmla="*/ 90582 h 100491"/>
                <a:gd name="connsiteX25" fmla="*/ 166232 w 233141"/>
                <a:gd name="connsiteY25" fmla="*/ 50236 h 100491"/>
                <a:gd name="connsiteX26" fmla="*/ 174725 w 233141"/>
                <a:gd name="connsiteY26" fmla="*/ 9897 h 100491"/>
                <a:gd name="connsiteX27" fmla="*/ 223232 w 233141"/>
                <a:gd name="connsiteY27" fmla="*/ 9897 h 10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33141" h="100491">
                  <a:moveTo>
                    <a:pt x="64685" y="0"/>
                  </a:moveTo>
                  <a:lnTo>
                    <a:pt x="0" y="0"/>
                  </a:lnTo>
                  <a:lnTo>
                    <a:pt x="0" y="100492"/>
                  </a:lnTo>
                  <a:lnTo>
                    <a:pt x="64679" y="100492"/>
                  </a:lnTo>
                  <a:lnTo>
                    <a:pt x="168451" y="100492"/>
                  </a:lnTo>
                  <a:lnTo>
                    <a:pt x="233142" y="100492"/>
                  </a:lnTo>
                  <a:lnTo>
                    <a:pt x="233142" y="0"/>
                  </a:lnTo>
                  <a:lnTo>
                    <a:pt x="168451" y="0"/>
                  </a:lnTo>
                  <a:lnTo>
                    <a:pt x="64685" y="0"/>
                  </a:lnTo>
                  <a:close/>
                  <a:moveTo>
                    <a:pt x="164026" y="9904"/>
                  </a:moveTo>
                  <a:cubicBezTo>
                    <a:pt x="158941" y="22712"/>
                    <a:pt x="156335" y="36245"/>
                    <a:pt x="156335" y="50243"/>
                  </a:cubicBezTo>
                  <a:cubicBezTo>
                    <a:pt x="156335" y="64240"/>
                    <a:pt x="158941" y="77773"/>
                    <a:pt x="164026" y="90588"/>
                  </a:cubicBezTo>
                  <a:lnTo>
                    <a:pt x="69109" y="90588"/>
                  </a:lnTo>
                  <a:cubicBezTo>
                    <a:pt x="74201" y="77780"/>
                    <a:pt x="76807" y="64246"/>
                    <a:pt x="76807" y="50243"/>
                  </a:cubicBezTo>
                  <a:cubicBezTo>
                    <a:pt x="76807" y="36245"/>
                    <a:pt x="74201" y="22719"/>
                    <a:pt x="69116" y="9904"/>
                  </a:cubicBezTo>
                  <a:lnTo>
                    <a:pt x="164026" y="9904"/>
                  </a:lnTo>
                  <a:close/>
                  <a:moveTo>
                    <a:pt x="9904" y="90588"/>
                  </a:moveTo>
                  <a:lnTo>
                    <a:pt x="9904" y="9904"/>
                  </a:lnTo>
                  <a:lnTo>
                    <a:pt x="58405" y="9904"/>
                  </a:lnTo>
                  <a:cubicBezTo>
                    <a:pt x="64043" y="22617"/>
                    <a:pt x="66897" y="36169"/>
                    <a:pt x="66897" y="50243"/>
                  </a:cubicBezTo>
                  <a:cubicBezTo>
                    <a:pt x="66897" y="64316"/>
                    <a:pt x="64037" y="77875"/>
                    <a:pt x="58398" y="90588"/>
                  </a:cubicBezTo>
                  <a:lnTo>
                    <a:pt x="9904" y="90588"/>
                  </a:lnTo>
                  <a:close/>
                  <a:moveTo>
                    <a:pt x="223232" y="9904"/>
                  </a:moveTo>
                  <a:lnTo>
                    <a:pt x="223232" y="90582"/>
                  </a:lnTo>
                  <a:lnTo>
                    <a:pt x="174725" y="90582"/>
                  </a:lnTo>
                  <a:cubicBezTo>
                    <a:pt x="169086" y="77862"/>
                    <a:pt x="166232" y="64310"/>
                    <a:pt x="166232" y="50236"/>
                  </a:cubicBezTo>
                  <a:cubicBezTo>
                    <a:pt x="166232" y="36163"/>
                    <a:pt x="169086" y="22611"/>
                    <a:pt x="174725" y="9897"/>
                  </a:cubicBezTo>
                  <a:lnTo>
                    <a:pt x="223232" y="9897"/>
                  </a:lnTo>
                  <a:close/>
                </a:path>
              </a:pathLst>
            </a:custGeom>
            <a:solidFill>
              <a:schemeClr val="accent1"/>
            </a:solidFill>
            <a:ln w="635" cap="flat">
              <a:noFill/>
              <a:prstDash val="solid"/>
              <a:miter/>
            </a:ln>
          </p:spPr>
          <p:txBody>
            <a:bodyPr rtlCol="0" anchor="ctr"/>
            <a:lstStyle/>
            <a:p>
              <a:endParaRPr lang="en-GB" dirty="0"/>
            </a:p>
          </p:txBody>
        </p:sp>
      </p:grpSp>
      <p:grpSp>
        <p:nvGrpSpPr>
          <p:cNvPr id="80" name="Gruppieren 79">
            <a:extLst>
              <a:ext uri="{FF2B5EF4-FFF2-40B4-BE49-F238E27FC236}">
                <a16:creationId xmlns:a16="http://schemas.microsoft.com/office/drawing/2014/main" id="{3AAC35EE-86E7-4224-BE30-4FD85B324CAB}"/>
              </a:ext>
            </a:extLst>
          </p:cNvPr>
          <p:cNvGrpSpPr>
            <a:grpSpLocks noChangeAspect="1"/>
          </p:cNvGrpSpPr>
          <p:nvPr/>
        </p:nvGrpSpPr>
        <p:grpSpPr>
          <a:xfrm>
            <a:off x="2175611" y="2274286"/>
            <a:ext cx="370773" cy="324000"/>
            <a:chOff x="2170523" y="2351171"/>
            <a:chExt cx="366440" cy="320214"/>
          </a:xfrm>
        </p:grpSpPr>
        <p:sp>
          <p:nvSpPr>
            <p:cNvPr id="81" name="Freihandform: Form 80">
              <a:extLst>
                <a:ext uri="{FF2B5EF4-FFF2-40B4-BE49-F238E27FC236}">
                  <a16:creationId xmlns:a16="http://schemas.microsoft.com/office/drawing/2014/main" id="{6F5C9596-B082-4E96-8DD5-377D71136812}"/>
                </a:ext>
              </a:extLst>
            </p:cNvPr>
            <p:cNvSpPr/>
            <p:nvPr/>
          </p:nvSpPr>
          <p:spPr>
            <a:xfrm>
              <a:off x="2170523" y="2351171"/>
              <a:ext cx="366440" cy="320214"/>
            </a:xfrm>
            <a:custGeom>
              <a:avLst/>
              <a:gdLst>
                <a:gd name="connsiteX0" fmla="*/ 321582 w 366440"/>
                <a:gd name="connsiteY0" fmla="*/ 0 h 320214"/>
                <a:gd name="connsiteX1" fmla="*/ 44859 w 366440"/>
                <a:gd name="connsiteY1" fmla="*/ 0 h 320214"/>
                <a:gd name="connsiteX2" fmla="*/ 0 w 366440"/>
                <a:gd name="connsiteY2" fmla="*/ 44566 h 320214"/>
                <a:gd name="connsiteX3" fmla="*/ 0 w 366440"/>
                <a:gd name="connsiteY3" fmla="*/ 216227 h 320214"/>
                <a:gd name="connsiteX4" fmla="*/ 44859 w 366440"/>
                <a:gd name="connsiteY4" fmla="*/ 260793 h 320214"/>
                <a:gd name="connsiteX5" fmla="*/ 145497 w 366440"/>
                <a:gd name="connsiteY5" fmla="*/ 260793 h 320214"/>
                <a:gd name="connsiteX6" fmla="*/ 122613 w 366440"/>
                <a:gd name="connsiteY6" fmla="*/ 290574 h 320214"/>
                <a:gd name="connsiteX7" fmla="*/ 122422 w 366440"/>
                <a:gd name="connsiteY7" fmla="*/ 291839 h 320214"/>
                <a:gd name="connsiteX8" fmla="*/ 128137 w 366440"/>
                <a:gd name="connsiteY8" fmla="*/ 311627 h 320214"/>
                <a:gd name="connsiteX9" fmla="*/ 146870 w 366440"/>
                <a:gd name="connsiteY9" fmla="*/ 320215 h 320214"/>
                <a:gd name="connsiteX10" fmla="*/ 219570 w 366440"/>
                <a:gd name="connsiteY10" fmla="*/ 320215 h 320214"/>
                <a:gd name="connsiteX11" fmla="*/ 238304 w 366440"/>
                <a:gd name="connsiteY11" fmla="*/ 311627 h 320214"/>
                <a:gd name="connsiteX12" fmla="*/ 244018 w 366440"/>
                <a:gd name="connsiteY12" fmla="*/ 291833 h 320214"/>
                <a:gd name="connsiteX13" fmla="*/ 243827 w 366440"/>
                <a:gd name="connsiteY13" fmla="*/ 290568 h 320214"/>
                <a:gd name="connsiteX14" fmla="*/ 220944 w 366440"/>
                <a:gd name="connsiteY14" fmla="*/ 260787 h 320214"/>
                <a:gd name="connsiteX15" fmla="*/ 321582 w 366440"/>
                <a:gd name="connsiteY15" fmla="*/ 260787 h 320214"/>
                <a:gd name="connsiteX16" fmla="*/ 366440 w 366440"/>
                <a:gd name="connsiteY16" fmla="*/ 216221 h 320214"/>
                <a:gd name="connsiteX17" fmla="*/ 366440 w 366440"/>
                <a:gd name="connsiteY17" fmla="*/ 44560 h 320214"/>
                <a:gd name="connsiteX18" fmla="*/ 321582 w 366440"/>
                <a:gd name="connsiteY18" fmla="*/ 0 h 320214"/>
                <a:gd name="connsiteX19" fmla="*/ 234356 w 366440"/>
                <a:gd name="connsiteY19" fmla="*/ 294502 h 320214"/>
                <a:gd name="connsiteX20" fmla="*/ 230803 w 366440"/>
                <a:gd name="connsiteY20" fmla="*/ 305169 h 320214"/>
                <a:gd name="connsiteX21" fmla="*/ 219577 w 366440"/>
                <a:gd name="connsiteY21" fmla="*/ 310311 h 320214"/>
                <a:gd name="connsiteX22" fmla="*/ 146876 w 366440"/>
                <a:gd name="connsiteY22" fmla="*/ 310311 h 320214"/>
                <a:gd name="connsiteX23" fmla="*/ 135650 w 366440"/>
                <a:gd name="connsiteY23" fmla="*/ 305162 h 320214"/>
                <a:gd name="connsiteX24" fmla="*/ 132097 w 366440"/>
                <a:gd name="connsiteY24" fmla="*/ 294496 h 320214"/>
                <a:gd name="connsiteX25" fmla="*/ 157994 w 366440"/>
                <a:gd name="connsiteY25" fmla="*/ 260793 h 320214"/>
                <a:gd name="connsiteX26" fmla="*/ 208465 w 366440"/>
                <a:gd name="connsiteY26" fmla="*/ 260793 h 320214"/>
                <a:gd name="connsiteX27" fmla="*/ 234356 w 366440"/>
                <a:gd name="connsiteY27" fmla="*/ 294502 h 320214"/>
                <a:gd name="connsiteX28" fmla="*/ 356537 w 366440"/>
                <a:gd name="connsiteY28" fmla="*/ 216227 h 320214"/>
                <a:gd name="connsiteX29" fmla="*/ 321582 w 366440"/>
                <a:gd name="connsiteY29" fmla="*/ 250890 h 320214"/>
                <a:gd name="connsiteX30" fmla="*/ 213335 w 366440"/>
                <a:gd name="connsiteY30" fmla="*/ 250890 h 320214"/>
                <a:gd name="connsiteX31" fmla="*/ 153106 w 366440"/>
                <a:gd name="connsiteY31" fmla="*/ 250890 h 320214"/>
                <a:gd name="connsiteX32" fmla="*/ 44859 w 366440"/>
                <a:gd name="connsiteY32" fmla="*/ 250890 h 320214"/>
                <a:gd name="connsiteX33" fmla="*/ 9904 w 366440"/>
                <a:gd name="connsiteY33" fmla="*/ 216227 h 320214"/>
                <a:gd name="connsiteX34" fmla="*/ 9904 w 366440"/>
                <a:gd name="connsiteY34" fmla="*/ 44566 h 320214"/>
                <a:gd name="connsiteX35" fmla="*/ 44859 w 366440"/>
                <a:gd name="connsiteY35" fmla="*/ 9904 h 320214"/>
                <a:gd name="connsiteX36" fmla="*/ 321582 w 366440"/>
                <a:gd name="connsiteY36" fmla="*/ 9904 h 320214"/>
                <a:gd name="connsiteX37" fmla="*/ 356537 w 366440"/>
                <a:gd name="connsiteY37" fmla="*/ 44566 h 320214"/>
                <a:gd name="connsiteX38" fmla="*/ 356537 w 366440"/>
                <a:gd name="connsiteY38" fmla="*/ 216227 h 3202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6440" h="320214">
                  <a:moveTo>
                    <a:pt x="321582" y="0"/>
                  </a:moveTo>
                  <a:lnTo>
                    <a:pt x="44859" y="0"/>
                  </a:lnTo>
                  <a:cubicBezTo>
                    <a:pt x="20125" y="0"/>
                    <a:pt x="0" y="19992"/>
                    <a:pt x="0" y="44566"/>
                  </a:cubicBezTo>
                  <a:lnTo>
                    <a:pt x="0" y="216227"/>
                  </a:lnTo>
                  <a:cubicBezTo>
                    <a:pt x="0" y="240802"/>
                    <a:pt x="20125" y="260793"/>
                    <a:pt x="44859" y="260793"/>
                  </a:cubicBezTo>
                  <a:lnTo>
                    <a:pt x="145497" y="260793"/>
                  </a:lnTo>
                  <a:lnTo>
                    <a:pt x="122613" y="290574"/>
                  </a:lnTo>
                  <a:lnTo>
                    <a:pt x="122422" y="291839"/>
                  </a:lnTo>
                  <a:cubicBezTo>
                    <a:pt x="121354" y="298958"/>
                    <a:pt x="123439" y="306173"/>
                    <a:pt x="128137" y="311627"/>
                  </a:cubicBezTo>
                  <a:cubicBezTo>
                    <a:pt x="132834" y="317081"/>
                    <a:pt x="139661" y="320215"/>
                    <a:pt x="146870" y="320215"/>
                  </a:cubicBezTo>
                  <a:lnTo>
                    <a:pt x="219570" y="320215"/>
                  </a:lnTo>
                  <a:cubicBezTo>
                    <a:pt x="226773" y="320215"/>
                    <a:pt x="233606" y="317087"/>
                    <a:pt x="238304" y="311627"/>
                  </a:cubicBezTo>
                  <a:cubicBezTo>
                    <a:pt x="243001" y="306173"/>
                    <a:pt x="245086" y="298958"/>
                    <a:pt x="244018" y="291833"/>
                  </a:cubicBezTo>
                  <a:lnTo>
                    <a:pt x="243827" y="290568"/>
                  </a:lnTo>
                  <a:lnTo>
                    <a:pt x="220944" y="260787"/>
                  </a:lnTo>
                  <a:lnTo>
                    <a:pt x="321582" y="260787"/>
                  </a:lnTo>
                  <a:cubicBezTo>
                    <a:pt x="346315" y="260787"/>
                    <a:pt x="366440" y="240795"/>
                    <a:pt x="366440" y="216221"/>
                  </a:cubicBezTo>
                  <a:lnTo>
                    <a:pt x="366440" y="44560"/>
                  </a:lnTo>
                  <a:cubicBezTo>
                    <a:pt x="366440" y="19992"/>
                    <a:pt x="346315" y="0"/>
                    <a:pt x="321582" y="0"/>
                  </a:cubicBezTo>
                  <a:close/>
                  <a:moveTo>
                    <a:pt x="234356" y="294502"/>
                  </a:moveTo>
                  <a:cubicBezTo>
                    <a:pt x="234623" y="298374"/>
                    <a:pt x="233358" y="302207"/>
                    <a:pt x="230803" y="305169"/>
                  </a:cubicBezTo>
                  <a:cubicBezTo>
                    <a:pt x="227987" y="308442"/>
                    <a:pt x="223893" y="310311"/>
                    <a:pt x="219577" y="310311"/>
                  </a:cubicBezTo>
                  <a:lnTo>
                    <a:pt x="146876" y="310311"/>
                  </a:lnTo>
                  <a:cubicBezTo>
                    <a:pt x="142554" y="310311"/>
                    <a:pt x="138466" y="308436"/>
                    <a:pt x="135650" y="305162"/>
                  </a:cubicBezTo>
                  <a:cubicBezTo>
                    <a:pt x="133095" y="302200"/>
                    <a:pt x="131830" y="298367"/>
                    <a:pt x="132097" y="294496"/>
                  </a:cubicBezTo>
                  <a:lnTo>
                    <a:pt x="157994" y="260793"/>
                  </a:lnTo>
                  <a:lnTo>
                    <a:pt x="208465" y="260793"/>
                  </a:lnTo>
                  <a:lnTo>
                    <a:pt x="234356" y="294502"/>
                  </a:lnTo>
                  <a:close/>
                  <a:moveTo>
                    <a:pt x="356537" y="216227"/>
                  </a:moveTo>
                  <a:cubicBezTo>
                    <a:pt x="356537" y="235341"/>
                    <a:pt x="340855" y="250890"/>
                    <a:pt x="321582" y="250890"/>
                  </a:cubicBezTo>
                  <a:lnTo>
                    <a:pt x="213335" y="250890"/>
                  </a:lnTo>
                  <a:lnTo>
                    <a:pt x="153106" y="250890"/>
                  </a:lnTo>
                  <a:lnTo>
                    <a:pt x="44859" y="250890"/>
                  </a:lnTo>
                  <a:cubicBezTo>
                    <a:pt x="25585" y="250890"/>
                    <a:pt x="9904" y="235341"/>
                    <a:pt x="9904" y="216227"/>
                  </a:cubicBezTo>
                  <a:lnTo>
                    <a:pt x="9904" y="44566"/>
                  </a:lnTo>
                  <a:cubicBezTo>
                    <a:pt x="9904" y="25452"/>
                    <a:pt x="25585" y="9904"/>
                    <a:pt x="44859" y="9904"/>
                  </a:cubicBezTo>
                  <a:lnTo>
                    <a:pt x="321582" y="9904"/>
                  </a:lnTo>
                  <a:cubicBezTo>
                    <a:pt x="340855" y="9904"/>
                    <a:pt x="356537" y="25452"/>
                    <a:pt x="356537" y="44566"/>
                  </a:cubicBezTo>
                  <a:lnTo>
                    <a:pt x="356537" y="216227"/>
                  </a:lnTo>
                  <a:close/>
                </a:path>
              </a:pathLst>
            </a:custGeom>
            <a:solidFill>
              <a:schemeClr val="tx2"/>
            </a:solidFill>
            <a:ln w="635" cap="flat">
              <a:noFill/>
              <a:prstDash val="solid"/>
              <a:miter/>
            </a:ln>
          </p:spPr>
          <p:txBody>
            <a:bodyPr rtlCol="0" anchor="ctr"/>
            <a:lstStyle/>
            <a:p>
              <a:endParaRPr lang="en-GB" dirty="0"/>
            </a:p>
          </p:txBody>
        </p:sp>
        <p:sp>
          <p:nvSpPr>
            <p:cNvPr id="82" name="Freihandform: Form 81">
              <a:extLst>
                <a:ext uri="{FF2B5EF4-FFF2-40B4-BE49-F238E27FC236}">
                  <a16:creationId xmlns:a16="http://schemas.microsoft.com/office/drawing/2014/main" id="{F58FD88B-4D33-4DD2-8CFF-B8017545C446}"/>
                </a:ext>
              </a:extLst>
            </p:cNvPr>
            <p:cNvSpPr/>
            <p:nvPr/>
          </p:nvSpPr>
          <p:spPr>
            <a:xfrm>
              <a:off x="2208496" y="2388989"/>
              <a:ext cx="290504" cy="188168"/>
            </a:xfrm>
            <a:custGeom>
              <a:avLst/>
              <a:gdLst>
                <a:gd name="connsiteX0" fmla="*/ 0 w 290504"/>
                <a:gd name="connsiteY0" fmla="*/ 188169 h 188168"/>
                <a:gd name="connsiteX1" fmla="*/ 290504 w 290504"/>
                <a:gd name="connsiteY1" fmla="*/ 188169 h 188168"/>
                <a:gd name="connsiteX2" fmla="*/ 290504 w 290504"/>
                <a:gd name="connsiteY2" fmla="*/ 0 h 188168"/>
                <a:gd name="connsiteX3" fmla="*/ 0 w 290504"/>
                <a:gd name="connsiteY3" fmla="*/ 0 h 188168"/>
                <a:gd name="connsiteX4" fmla="*/ 0 w 290504"/>
                <a:gd name="connsiteY4" fmla="*/ 188169 h 188168"/>
                <a:gd name="connsiteX5" fmla="*/ 9904 w 290504"/>
                <a:gd name="connsiteY5" fmla="*/ 9904 h 188168"/>
                <a:gd name="connsiteX6" fmla="*/ 280600 w 290504"/>
                <a:gd name="connsiteY6" fmla="*/ 9904 h 188168"/>
                <a:gd name="connsiteX7" fmla="*/ 280600 w 290504"/>
                <a:gd name="connsiteY7" fmla="*/ 178265 h 188168"/>
                <a:gd name="connsiteX8" fmla="*/ 9904 w 290504"/>
                <a:gd name="connsiteY8" fmla="*/ 178265 h 188168"/>
                <a:gd name="connsiteX9" fmla="*/ 9904 w 290504"/>
                <a:gd name="connsiteY9" fmla="*/ 9904 h 188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504" h="188168">
                  <a:moveTo>
                    <a:pt x="0" y="188169"/>
                  </a:moveTo>
                  <a:lnTo>
                    <a:pt x="290504" y="188169"/>
                  </a:lnTo>
                  <a:lnTo>
                    <a:pt x="290504" y="0"/>
                  </a:lnTo>
                  <a:lnTo>
                    <a:pt x="0" y="0"/>
                  </a:lnTo>
                  <a:lnTo>
                    <a:pt x="0" y="188169"/>
                  </a:lnTo>
                  <a:close/>
                  <a:moveTo>
                    <a:pt x="9904" y="9904"/>
                  </a:moveTo>
                  <a:lnTo>
                    <a:pt x="280600" y="9904"/>
                  </a:lnTo>
                  <a:lnTo>
                    <a:pt x="280600" y="178265"/>
                  </a:lnTo>
                  <a:lnTo>
                    <a:pt x="9904" y="178265"/>
                  </a:lnTo>
                  <a:lnTo>
                    <a:pt x="9904" y="9904"/>
                  </a:lnTo>
                  <a:close/>
                </a:path>
              </a:pathLst>
            </a:custGeom>
            <a:solidFill>
              <a:schemeClr val="accent1"/>
            </a:solidFill>
            <a:ln w="635" cap="flat">
              <a:noFill/>
              <a:prstDash val="solid"/>
              <a:miter/>
            </a:ln>
          </p:spPr>
          <p:txBody>
            <a:bodyPr rtlCol="0" anchor="ctr"/>
            <a:lstStyle/>
            <a:p>
              <a:endParaRPr lang="en-GB" dirty="0"/>
            </a:p>
          </p:txBody>
        </p:sp>
      </p:grpSp>
      <p:grpSp>
        <p:nvGrpSpPr>
          <p:cNvPr id="83" name="Gruppieren 82">
            <a:extLst>
              <a:ext uri="{FF2B5EF4-FFF2-40B4-BE49-F238E27FC236}">
                <a16:creationId xmlns:a16="http://schemas.microsoft.com/office/drawing/2014/main" id="{32801D55-82CB-4A8B-9978-A3E09F408702}"/>
              </a:ext>
            </a:extLst>
          </p:cNvPr>
          <p:cNvGrpSpPr>
            <a:grpSpLocks noChangeAspect="1"/>
          </p:cNvGrpSpPr>
          <p:nvPr/>
        </p:nvGrpSpPr>
        <p:grpSpPr>
          <a:xfrm>
            <a:off x="2945748" y="2921469"/>
            <a:ext cx="493528" cy="324000"/>
            <a:chOff x="2837305" y="3058742"/>
            <a:chExt cx="432454" cy="283905"/>
          </a:xfrm>
        </p:grpSpPr>
        <p:sp>
          <p:nvSpPr>
            <p:cNvPr id="84" name="Freihandform: Form 83">
              <a:extLst>
                <a:ext uri="{FF2B5EF4-FFF2-40B4-BE49-F238E27FC236}">
                  <a16:creationId xmlns:a16="http://schemas.microsoft.com/office/drawing/2014/main" id="{14178D97-7784-4433-A0C5-F67DE1F664AE}"/>
                </a:ext>
              </a:extLst>
            </p:cNvPr>
            <p:cNvSpPr/>
            <p:nvPr/>
          </p:nvSpPr>
          <p:spPr>
            <a:xfrm>
              <a:off x="2909931" y="3095109"/>
              <a:ext cx="287205" cy="168361"/>
            </a:xfrm>
            <a:custGeom>
              <a:avLst/>
              <a:gdLst>
                <a:gd name="connsiteX0" fmla="*/ 287205 w 287205"/>
                <a:gd name="connsiteY0" fmla="*/ 0 h 168361"/>
                <a:gd name="connsiteX1" fmla="*/ 0 w 287205"/>
                <a:gd name="connsiteY1" fmla="*/ 0 h 168361"/>
                <a:gd name="connsiteX2" fmla="*/ 0 w 287205"/>
                <a:gd name="connsiteY2" fmla="*/ 168361 h 168361"/>
                <a:gd name="connsiteX3" fmla="*/ 287205 w 287205"/>
                <a:gd name="connsiteY3" fmla="*/ 168361 h 168361"/>
                <a:gd name="connsiteX4" fmla="*/ 287205 w 287205"/>
                <a:gd name="connsiteY4" fmla="*/ 0 h 168361"/>
                <a:gd name="connsiteX5" fmla="*/ 277301 w 287205"/>
                <a:gd name="connsiteY5" fmla="*/ 158458 h 168361"/>
                <a:gd name="connsiteX6" fmla="*/ 9904 w 287205"/>
                <a:gd name="connsiteY6" fmla="*/ 158458 h 168361"/>
                <a:gd name="connsiteX7" fmla="*/ 9904 w 287205"/>
                <a:gd name="connsiteY7" fmla="*/ 9904 h 168361"/>
                <a:gd name="connsiteX8" fmla="*/ 277301 w 287205"/>
                <a:gd name="connsiteY8" fmla="*/ 9904 h 168361"/>
                <a:gd name="connsiteX9" fmla="*/ 277301 w 287205"/>
                <a:gd name="connsiteY9" fmla="*/ 158458 h 168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7205" h="168361">
                  <a:moveTo>
                    <a:pt x="287205" y="0"/>
                  </a:moveTo>
                  <a:lnTo>
                    <a:pt x="0" y="0"/>
                  </a:lnTo>
                  <a:lnTo>
                    <a:pt x="0" y="168361"/>
                  </a:lnTo>
                  <a:lnTo>
                    <a:pt x="287205" y="168361"/>
                  </a:lnTo>
                  <a:lnTo>
                    <a:pt x="287205" y="0"/>
                  </a:lnTo>
                  <a:close/>
                  <a:moveTo>
                    <a:pt x="277301" y="158458"/>
                  </a:moveTo>
                  <a:lnTo>
                    <a:pt x="9904" y="158458"/>
                  </a:lnTo>
                  <a:lnTo>
                    <a:pt x="9904" y="9904"/>
                  </a:lnTo>
                  <a:lnTo>
                    <a:pt x="277301" y="9904"/>
                  </a:lnTo>
                  <a:lnTo>
                    <a:pt x="277301" y="158458"/>
                  </a:lnTo>
                  <a:close/>
                </a:path>
              </a:pathLst>
            </a:custGeom>
            <a:solidFill>
              <a:schemeClr val="accent1"/>
            </a:solidFill>
            <a:ln w="635" cap="flat">
              <a:noFill/>
              <a:prstDash val="solid"/>
              <a:miter/>
            </a:ln>
          </p:spPr>
          <p:txBody>
            <a:bodyPr rtlCol="0" anchor="ctr"/>
            <a:lstStyle/>
            <a:p>
              <a:endParaRPr lang="en-GB" dirty="0"/>
            </a:p>
          </p:txBody>
        </p:sp>
        <p:sp>
          <p:nvSpPr>
            <p:cNvPr id="86" name="Freihandform: Form 85">
              <a:extLst>
                <a:ext uri="{FF2B5EF4-FFF2-40B4-BE49-F238E27FC236}">
                  <a16:creationId xmlns:a16="http://schemas.microsoft.com/office/drawing/2014/main" id="{08125A18-30E4-4D81-8D45-A016F6743128}"/>
                </a:ext>
              </a:extLst>
            </p:cNvPr>
            <p:cNvSpPr/>
            <p:nvPr/>
          </p:nvSpPr>
          <p:spPr>
            <a:xfrm>
              <a:off x="2837305" y="3058742"/>
              <a:ext cx="432454" cy="283905"/>
            </a:xfrm>
            <a:custGeom>
              <a:avLst/>
              <a:gdLst>
                <a:gd name="connsiteX0" fmla="*/ 427624 w 432454"/>
                <a:gd name="connsiteY0" fmla="*/ 257100 h 283905"/>
                <a:gd name="connsiteX1" fmla="*/ 390838 w 432454"/>
                <a:gd name="connsiteY1" fmla="*/ 221693 h 283905"/>
                <a:gd name="connsiteX2" fmla="*/ 390838 w 432454"/>
                <a:gd name="connsiteY2" fmla="*/ 42297 h 283905"/>
                <a:gd name="connsiteX3" fmla="*/ 348598 w 432454"/>
                <a:gd name="connsiteY3" fmla="*/ 0 h 283905"/>
                <a:gd name="connsiteX4" fmla="*/ 83851 w 432454"/>
                <a:gd name="connsiteY4" fmla="*/ 0 h 283905"/>
                <a:gd name="connsiteX5" fmla="*/ 41611 w 432454"/>
                <a:gd name="connsiteY5" fmla="*/ 42297 h 283905"/>
                <a:gd name="connsiteX6" fmla="*/ 41611 w 432454"/>
                <a:gd name="connsiteY6" fmla="*/ 221700 h 283905"/>
                <a:gd name="connsiteX7" fmla="*/ 4959 w 432454"/>
                <a:gd name="connsiteY7" fmla="*/ 256979 h 283905"/>
                <a:gd name="connsiteX8" fmla="*/ 440 w 432454"/>
                <a:gd name="connsiteY8" fmla="*/ 272966 h 283905"/>
                <a:gd name="connsiteX9" fmla="*/ 12409 w 432454"/>
                <a:gd name="connsiteY9" fmla="*/ 283906 h 283905"/>
                <a:gd name="connsiteX10" fmla="*/ 183218 w 432454"/>
                <a:gd name="connsiteY10" fmla="*/ 283906 h 283905"/>
                <a:gd name="connsiteX11" fmla="*/ 249244 w 432454"/>
                <a:gd name="connsiteY11" fmla="*/ 283906 h 283905"/>
                <a:gd name="connsiteX12" fmla="*/ 420047 w 432454"/>
                <a:gd name="connsiteY12" fmla="*/ 283906 h 283905"/>
                <a:gd name="connsiteX13" fmla="*/ 432016 w 432454"/>
                <a:gd name="connsiteY13" fmla="*/ 272966 h 283905"/>
                <a:gd name="connsiteX14" fmla="*/ 427624 w 432454"/>
                <a:gd name="connsiteY14" fmla="*/ 257100 h 283905"/>
                <a:gd name="connsiteX15" fmla="*/ 83858 w 432454"/>
                <a:gd name="connsiteY15" fmla="*/ 9910 h 283905"/>
                <a:gd name="connsiteX16" fmla="*/ 348605 w 432454"/>
                <a:gd name="connsiteY16" fmla="*/ 9910 h 283905"/>
                <a:gd name="connsiteX17" fmla="*/ 380941 w 432454"/>
                <a:gd name="connsiteY17" fmla="*/ 42303 h 283905"/>
                <a:gd name="connsiteX18" fmla="*/ 380941 w 432454"/>
                <a:gd name="connsiteY18" fmla="*/ 219036 h 283905"/>
                <a:gd name="connsiteX19" fmla="*/ 51522 w 432454"/>
                <a:gd name="connsiteY19" fmla="*/ 219036 h 283905"/>
                <a:gd name="connsiteX20" fmla="*/ 51522 w 432454"/>
                <a:gd name="connsiteY20" fmla="*/ 42303 h 283905"/>
                <a:gd name="connsiteX21" fmla="*/ 83858 w 432454"/>
                <a:gd name="connsiteY21" fmla="*/ 9910 h 283905"/>
                <a:gd name="connsiteX22" fmla="*/ 193122 w 432454"/>
                <a:gd name="connsiteY22" fmla="*/ 274002 h 283905"/>
                <a:gd name="connsiteX23" fmla="*/ 193122 w 432454"/>
                <a:gd name="connsiteY23" fmla="*/ 264099 h 283905"/>
                <a:gd name="connsiteX24" fmla="*/ 239341 w 432454"/>
                <a:gd name="connsiteY24" fmla="*/ 264099 h 283905"/>
                <a:gd name="connsiteX25" fmla="*/ 239341 w 432454"/>
                <a:gd name="connsiteY25" fmla="*/ 274002 h 283905"/>
                <a:gd name="connsiteX26" fmla="*/ 193122 w 432454"/>
                <a:gd name="connsiteY26" fmla="*/ 274002 h 283905"/>
                <a:gd name="connsiteX27" fmla="*/ 422354 w 432454"/>
                <a:gd name="connsiteY27" fmla="*/ 270779 h 283905"/>
                <a:gd name="connsiteX28" fmla="*/ 420047 w 432454"/>
                <a:gd name="connsiteY28" fmla="*/ 274002 h 283905"/>
                <a:gd name="connsiteX29" fmla="*/ 249244 w 432454"/>
                <a:gd name="connsiteY29" fmla="*/ 274002 h 283905"/>
                <a:gd name="connsiteX30" fmla="*/ 249244 w 432454"/>
                <a:gd name="connsiteY30" fmla="*/ 254195 h 283905"/>
                <a:gd name="connsiteX31" fmla="*/ 183218 w 432454"/>
                <a:gd name="connsiteY31" fmla="*/ 254195 h 283905"/>
                <a:gd name="connsiteX32" fmla="*/ 183218 w 432454"/>
                <a:gd name="connsiteY32" fmla="*/ 274002 h 283905"/>
                <a:gd name="connsiteX33" fmla="*/ 12409 w 432454"/>
                <a:gd name="connsiteY33" fmla="*/ 274002 h 283905"/>
                <a:gd name="connsiteX34" fmla="*/ 10102 w 432454"/>
                <a:gd name="connsiteY34" fmla="*/ 270779 h 283905"/>
                <a:gd name="connsiteX35" fmla="*/ 11704 w 432454"/>
                <a:gd name="connsiteY35" fmla="*/ 264238 h 283905"/>
                <a:gd name="connsiteX36" fmla="*/ 48381 w 432454"/>
                <a:gd name="connsiteY36" fmla="*/ 228934 h 283905"/>
                <a:gd name="connsiteX37" fmla="*/ 384081 w 432454"/>
                <a:gd name="connsiteY37" fmla="*/ 228934 h 283905"/>
                <a:gd name="connsiteX38" fmla="*/ 420886 w 432454"/>
                <a:gd name="connsiteY38" fmla="*/ 264353 h 283905"/>
                <a:gd name="connsiteX39" fmla="*/ 422354 w 432454"/>
                <a:gd name="connsiteY39" fmla="*/ 270779 h 283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432454" h="283905">
                  <a:moveTo>
                    <a:pt x="427624" y="257100"/>
                  </a:moveTo>
                  <a:lnTo>
                    <a:pt x="390838" y="221693"/>
                  </a:lnTo>
                  <a:lnTo>
                    <a:pt x="390838" y="42297"/>
                  </a:lnTo>
                  <a:cubicBezTo>
                    <a:pt x="390838" y="18974"/>
                    <a:pt x="371889" y="0"/>
                    <a:pt x="348598" y="0"/>
                  </a:cubicBezTo>
                  <a:lnTo>
                    <a:pt x="83851" y="0"/>
                  </a:lnTo>
                  <a:cubicBezTo>
                    <a:pt x="60561" y="0"/>
                    <a:pt x="41611" y="18974"/>
                    <a:pt x="41611" y="42297"/>
                  </a:cubicBezTo>
                  <a:lnTo>
                    <a:pt x="41611" y="221700"/>
                  </a:lnTo>
                  <a:lnTo>
                    <a:pt x="4959" y="256979"/>
                  </a:lnTo>
                  <a:cubicBezTo>
                    <a:pt x="910" y="260609"/>
                    <a:pt x="-908" y="267029"/>
                    <a:pt x="440" y="272966"/>
                  </a:cubicBezTo>
                  <a:cubicBezTo>
                    <a:pt x="1921" y="279507"/>
                    <a:pt x="6733" y="283906"/>
                    <a:pt x="12409" y="283906"/>
                  </a:cubicBezTo>
                  <a:lnTo>
                    <a:pt x="183218" y="283906"/>
                  </a:lnTo>
                  <a:lnTo>
                    <a:pt x="249244" y="283906"/>
                  </a:lnTo>
                  <a:lnTo>
                    <a:pt x="420047" y="283906"/>
                  </a:lnTo>
                  <a:cubicBezTo>
                    <a:pt x="425723" y="283906"/>
                    <a:pt x="430529" y="279507"/>
                    <a:pt x="432016" y="272966"/>
                  </a:cubicBezTo>
                  <a:cubicBezTo>
                    <a:pt x="433358" y="267035"/>
                    <a:pt x="431546" y="260615"/>
                    <a:pt x="427624" y="257100"/>
                  </a:cubicBezTo>
                  <a:close/>
                  <a:moveTo>
                    <a:pt x="83858" y="9910"/>
                  </a:moveTo>
                  <a:lnTo>
                    <a:pt x="348605" y="9910"/>
                  </a:lnTo>
                  <a:cubicBezTo>
                    <a:pt x="366435" y="9910"/>
                    <a:pt x="380941" y="24441"/>
                    <a:pt x="380941" y="42303"/>
                  </a:cubicBezTo>
                  <a:lnTo>
                    <a:pt x="380941" y="219036"/>
                  </a:lnTo>
                  <a:lnTo>
                    <a:pt x="51522" y="219036"/>
                  </a:lnTo>
                  <a:lnTo>
                    <a:pt x="51522" y="42303"/>
                  </a:lnTo>
                  <a:cubicBezTo>
                    <a:pt x="51522" y="24441"/>
                    <a:pt x="66027" y="9910"/>
                    <a:pt x="83858" y="9910"/>
                  </a:cubicBezTo>
                  <a:close/>
                  <a:moveTo>
                    <a:pt x="193122" y="274002"/>
                  </a:moveTo>
                  <a:lnTo>
                    <a:pt x="193122" y="264099"/>
                  </a:lnTo>
                  <a:lnTo>
                    <a:pt x="239341" y="264099"/>
                  </a:lnTo>
                  <a:lnTo>
                    <a:pt x="239341" y="274002"/>
                  </a:lnTo>
                  <a:lnTo>
                    <a:pt x="193122" y="274002"/>
                  </a:lnTo>
                  <a:close/>
                  <a:moveTo>
                    <a:pt x="422354" y="270779"/>
                  </a:moveTo>
                  <a:cubicBezTo>
                    <a:pt x="421839" y="273061"/>
                    <a:pt x="420600" y="274002"/>
                    <a:pt x="420047" y="274002"/>
                  </a:cubicBezTo>
                  <a:lnTo>
                    <a:pt x="249244" y="274002"/>
                  </a:lnTo>
                  <a:lnTo>
                    <a:pt x="249244" y="254195"/>
                  </a:lnTo>
                  <a:lnTo>
                    <a:pt x="183218" y="254195"/>
                  </a:lnTo>
                  <a:lnTo>
                    <a:pt x="183218" y="274002"/>
                  </a:lnTo>
                  <a:lnTo>
                    <a:pt x="12409" y="274002"/>
                  </a:lnTo>
                  <a:cubicBezTo>
                    <a:pt x="11856" y="274002"/>
                    <a:pt x="10617" y="273055"/>
                    <a:pt x="10102" y="270779"/>
                  </a:cubicBezTo>
                  <a:cubicBezTo>
                    <a:pt x="9479" y="268021"/>
                    <a:pt x="10394" y="265414"/>
                    <a:pt x="11704" y="264238"/>
                  </a:cubicBezTo>
                  <a:lnTo>
                    <a:pt x="48381" y="228934"/>
                  </a:lnTo>
                  <a:lnTo>
                    <a:pt x="384081" y="228934"/>
                  </a:lnTo>
                  <a:lnTo>
                    <a:pt x="420886" y="264353"/>
                  </a:lnTo>
                  <a:cubicBezTo>
                    <a:pt x="422068" y="265414"/>
                    <a:pt x="422984" y="268027"/>
                    <a:pt x="422354" y="270779"/>
                  </a:cubicBezTo>
                  <a:close/>
                </a:path>
              </a:pathLst>
            </a:custGeom>
            <a:solidFill>
              <a:schemeClr val="tx2"/>
            </a:solidFill>
            <a:ln w="635" cap="flat">
              <a:noFill/>
              <a:prstDash val="solid"/>
              <a:miter/>
            </a:ln>
          </p:spPr>
          <p:txBody>
            <a:bodyPr rtlCol="0" anchor="ctr"/>
            <a:lstStyle/>
            <a:p>
              <a:endParaRPr lang="en-GB" dirty="0"/>
            </a:p>
          </p:txBody>
        </p:sp>
      </p:grpSp>
      <p:grpSp>
        <p:nvGrpSpPr>
          <p:cNvPr id="91" name="Gruppieren 90">
            <a:extLst>
              <a:ext uri="{FF2B5EF4-FFF2-40B4-BE49-F238E27FC236}">
                <a16:creationId xmlns:a16="http://schemas.microsoft.com/office/drawing/2014/main" id="{ED61894A-46B1-480A-A6D6-7C9FC91F9F50}"/>
              </a:ext>
            </a:extLst>
          </p:cNvPr>
          <p:cNvGrpSpPr>
            <a:grpSpLocks noChangeAspect="1"/>
          </p:cNvGrpSpPr>
          <p:nvPr/>
        </p:nvGrpSpPr>
        <p:grpSpPr>
          <a:xfrm>
            <a:off x="3906063" y="1626716"/>
            <a:ext cx="235919" cy="324000"/>
            <a:chOff x="3614244" y="1633549"/>
            <a:chExt cx="247590" cy="340028"/>
          </a:xfrm>
        </p:grpSpPr>
        <p:sp>
          <p:nvSpPr>
            <p:cNvPr id="92" name="Freihandform: Form 91">
              <a:extLst>
                <a:ext uri="{FF2B5EF4-FFF2-40B4-BE49-F238E27FC236}">
                  <a16:creationId xmlns:a16="http://schemas.microsoft.com/office/drawing/2014/main" id="{39C07EA3-61D9-4304-811D-BBFBFB15071F}"/>
                </a:ext>
              </a:extLst>
            </p:cNvPr>
            <p:cNvSpPr/>
            <p:nvPr/>
          </p:nvSpPr>
          <p:spPr>
            <a:xfrm>
              <a:off x="3614244" y="1633549"/>
              <a:ext cx="247590" cy="340028"/>
            </a:xfrm>
            <a:custGeom>
              <a:avLst/>
              <a:gdLst>
                <a:gd name="connsiteX0" fmla="*/ 206069 w 247590"/>
                <a:gd name="connsiteY0" fmla="*/ 0 h 340028"/>
                <a:gd name="connsiteX1" fmla="*/ 41521 w 247590"/>
                <a:gd name="connsiteY1" fmla="*/ 0 h 340028"/>
                <a:gd name="connsiteX2" fmla="*/ 0 w 247590"/>
                <a:gd name="connsiteY2" fmla="*/ 41229 h 340028"/>
                <a:gd name="connsiteX3" fmla="*/ 0 w 247590"/>
                <a:gd name="connsiteY3" fmla="*/ 298799 h 340028"/>
                <a:gd name="connsiteX4" fmla="*/ 41521 w 247590"/>
                <a:gd name="connsiteY4" fmla="*/ 340029 h 340028"/>
                <a:gd name="connsiteX5" fmla="*/ 206069 w 247590"/>
                <a:gd name="connsiteY5" fmla="*/ 340029 h 340028"/>
                <a:gd name="connsiteX6" fmla="*/ 247591 w 247590"/>
                <a:gd name="connsiteY6" fmla="*/ 298799 h 340028"/>
                <a:gd name="connsiteX7" fmla="*/ 247591 w 247590"/>
                <a:gd name="connsiteY7" fmla="*/ 41229 h 340028"/>
                <a:gd name="connsiteX8" fmla="*/ 206069 w 247590"/>
                <a:gd name="connsiteY8" fmla="*/ 0 h 340028"/>
                <a:gd name="connsiteX9" fmla="*/ 237687 w 247590"/>
                <a:gd name="connsiteY9" fmla="*/ 298799 h 340028"/>
                <a:gd name="connsiteX10" fmla="*/ 206069 w 247590"/>
                <a:gd name="connsiteY10" fmla="*/ 330125 h 340028"/>
                <a:gd name="connsiteX11" fmla="*/ 41521 w 247590"/>
                <a:gd name="connsiteY11" fmla="*/ 330125 h 340028"/>
                <a:gd name="connsiteX12" fmla="*/ 9903 w 247590"/>
                <a:gd name="connsiteY12" fmla="*/ 298799 h 340028"/>
                <a:gd name="connsiteX13" fmla="*/ 9903 w 247590"/>
                <a:gd name="connsiteY13" fmla="*/ 41229 h 340028"/>
                <a:gd name="connsiteX14" fmla="*/ 41521 w 247590"/>
                <a:gd name="connsiteY14" fmla="*/ 9904 h 340028"/>
                <a:gd name="connsiteX15" fmla="*/ 206069 w 247590"/>
                <a:gd name="connsiteY15" fmla="*/ 9904 h 340028"/>
                <a:gd name="connsiteX16" fmla="*/ 237687 w 247590"/>
                <a:gd name="connsiteY16" fmla="*/ 41229 h 340028"/>
                <a:gd name="connsiteX17" fmla="*/ 237687 w 247590"/>
                <a:gd name="connsiteY17" fmla="*/ 298799 h 34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47590" h="340028">
                  <a:moveTo>
                    <a:pt x="206069" y="0"/>
                  </a:moveTo>
                  <a:lnTo>
                    <a:pt x="41521" y="0"/>
                  </a:lnTo>
                  <a:cubicBezTo>
                    <a:pt x="18625" y="0"/>
                    <a:pt x="0" y="18498"/>
                    <a:pt x="0" y="41229"/>
                  </a:cubicBezTo>
                  <a:lnTo>
                    <a:pt x="0" y="298799"/>
                  </a:lnTo>
                  <a:cubicBezTo>
                    <a:pt x="0" y="321531"/>
                    <a:pt x="18625" y="340029"/>
                    <a:pt x="41521" y="340029"/>
                  </a:cubicBezTo>
                  <a:lnTo>
                    <a:pt x="206069" y="340029"/>
                  </a:lnTo>
                  <a:cubicBezTo>
                    <a:pt x="228965" y="340029"/>
                    <a:pt x="247591" y="321531"/>
                    <a:pt x="247591" y="298799"/>
                  </a:cubicBezTo>
                  <a:lnTo>
                    <a:pt x="247591" y="41229"/>
                  </a:lnTo>
                  <a:cubicBezTo>
                    <a:pt x="247591" y="18498"/>
                    <a:pt x="228965" y="0"/>
                    <a:pt x="206069" y="0"/>
                  </a:cubicBezTo>
                  <a:close/>
                  <a:moveTo>
                    <a:pt x="237687" y="298799"/>
                  </a:moveTo>
                  <a:cubicBezTo>
                    <a:pt x="237687" y="316070"/>
                    <a:pt x="223505" y="330125"/>
                    <a:pt x="206069" y="330125"/>
                  </a:cubicBezTo>
                  <a:lnTo>
                    <a:pt x="41521" y="330125"/>
                  </a:lnTo>
                  <a:cubicBezTo>
                    <a:pt x="24085" y="330125"/>
                    <a:pt x="9903" y="316070"/>
                    <a:pt x="9903" y="298799"/>
                  </a:cubicBezTo>
                  <a:lnTo>
                    <a:pt x="9903" y="41229"/>
                  </a:lnTo>
                  <a:cubicBezTo>
                    <a:pt x="9903" y="23958"/>
                    <a:pt x="24085" y="9904"/>
                    <a:pt x="41521" y="9904"/>
                  </a:cubicBezTo>
                  <a:lnTo>
                    <a:pt x="206069" y="9904"/>
                  </a:lnTo>
                  <a:cubicBezTo>
                    <a:pt x="223505" y="9904"/>
                    <a:pt x="237687" y="23958"/>
                    <a:pt x="237687" y="41229"/>
                  </a:cubicBezTo>
                  <a:lnTo>
                    <a:pt x="237687" y="298799"/>
                  </a:lnTo>
                  <a:close/>
                </a:path>
              </a:pathLst>
            </a:custGeom>
            <a:solidFill>
              <a:schemeClr val="tx2"/>
            </a:solidFill>
            <a:ln w="635" cap="flat">
              <a:noFill/>
              <a:prstDash val="solid"/>
              <a:miter/>
            </a:ln>
          </p:spPr>
          <p:txBody>
            <a:bodyPr rtlCol="0" anchor="ctr"/>
            <a:lstStyle/>
            <a:p>
              <a:endParaRPr lang="en-GB" dirty="0"/>
            </a:p>
          </p:txBody>
        </p:sp>
        <p:grpSp>
          <p:nvGrpSpPr>
            <p:cNvPr id="93" name="Gruppieren 92">
              <a:extLst>
                <a:ext uri="{FF2B5EF4-FFF2-40B4-BE49-F238E27FC236}">
                  <a16:creationId xmlns:a16="http://schemas.microsoft.com/office/drawing/2014/main" id="{05080F3B-6EA9-4059-BD73-17E307CD504C}"/>
                </a:ext>
              </a:extLst>
            </p:cNvPr>
            <p:cNvGrpSpPr/>
            <p:nvPr/>
          </p:nvGrpSpPr>
          <p:grpSpPr>
            <a:xfrm>
              <a:off x="3653865" y="1688438"/>
              <a:ext cx="168361" cy="230605"/>
              <a:chOff x="3653865" y="1688438"/>
              <a:chExt cx="168361" cy="230605"/>
            </a:xfrm>
          </p:grpSpPr>
          <p:sp>
            <p:nvSpPr>
              <p:cNvPr id="94" name="Freihandform: Form 93">
                <a:extLst>
                  <a:ext uri="{FF2B5EF4-FFF2-40B4-BE49-F238E27FC236}">
                    <a16:creationId xmlns:a16="http://schemas.microsoft.com/office/drawing/2014/main" id="{AC4493FB-C1D9-4736-A016-CF55570FB5C6}"/>
                  </a:ext>
                </a:extLst>
              </p:cNvPr>
              <p:cNvSpPr/>
              <p:nvPr/>
            </p:nvSpPr>
            <p:spPr>
              <a:xfrm>
                <a:off x="3653865" y="1688438"/>
                <a:ext cx="168361" cy="56122"/>
              </a:xfrm>
              <a:custGeom>
                <a:avLst/>
                <a:gdLst>
                  <a:gd name="connsiteX0" fmla="*/ 0 w 168361"/>
                  <a:gd name="connsiteY0" fmla="*/ 56123 h 56122"/>
                  <a:gd name="connsiteX1" fmla="*/ 168361 w 168361"/>
                  <a:gd name="connsiteY1" fmla="*/ 56123 h 56122"/>
                  <a:gd name="connsiteX2" fmla="*/ 168361 w 168361"/>
                  <a:gd name="connsiteY2" fmla="*/ 0 h 56122"/>
                  <a:gd name="connsiteX3" fmla="*/ 0 w 168361"/>
                  <a:gd name="connsiteY3" fmla="*/ 0 h 56122"/>
                  <a:gd name="connsiteX4" fmla="*/ 0 w 168361"/>
                  <a:gd name="connsiteY4" fmla="*/ 56123 h 56122"/>
                  <a:gd name="connsiteX5" fmla="*/ 9904 w 168361"/>
                  <a:gd name="connsiteY5" fmla="*/ 9904 h 56122"/>
                  <a:gd name="connsiteX6" fmla="*/ 158458 w 168361"/>
                  <a:gd name="connsiteY6" fmla="*/ 9904 h 56122"/>
                  <a:gd name="connsiteX7" fmla="*/ 158458 w 168361"/>
                  <a:gd name="connsiteY7" fmla="*/ 46219 h 56122"/>
                  <a:gd name="connsiteX8" fmla="*/ 9904 w 168361"/>
                  <a:gd name="connsiteY8" fmla="*/ 46219 h 56122"/>
                  <a:gd name="connsiteX9" fmla="*/ 9904 w 168361"/>
                  <a:gd name="connsiteY9" fmla="*/ 9904 h 5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8361" h="56122">
                    <a:moveTo>
                      <a:pt x="0" y="56123"/>
                    </a:moveTo>
                    <a:lnTo>
                      <a:pt x="168361" y="56123"/>
                    </a:lnTo>
                    <a:lnTo>
                      <a:pt x="168361" y="0"/>
                    </a:lnTo>
                    <a:lnTo>
                      <a:pt x="0" y="0"/>
                    </a:lnTo>
                    <a:lnTo>
                      <a:pt x="0" y="56123"/>
                    </a:lnTo>
                    <a:close/>
                    <a:moveTo>
                      <a:pt x="9904" y="9904"/>
                    </a:moveTo>
                    <a:lnTo>
                      <a:pt x="158458" y="9904"/>
                    </a:lnTo>
                    <a:lnTo>
                      <a:pt x="158458" y="46219"/>
                    </a:lnTo>
                    <a:lnTo>
                      <a:pt x="9904" y="46219"/>
                    </a:lnTo>
                    <a:lnTo>
                      <a:pt x="9904" y="9904"/>
                    </a:lnTo>
                    <a:close/>
                  </a:path>
                </a:pathLst>
              </a:custGeom>
              <a:solidFill>
                <a:schemeClr val="accent1"/>
              </a:solidFill>
              <a:ln w="635" cap="flat">
                <a:noFill/>
                <a:prstDash val="solid"/>
                <a:miter/>
              </a:ln>
            </p:spPr>
            <p:txBody>
              <a:bodyPr rtlCol="0" anchor="ctr"/>
              <a:lstStyle/>
              <a:p>
                <a:endParaRPr lang="en-GB" dirty="0"/>
              </a:p>
            </p:txBody>
          </p:sp>
          <p:sp>
            <p:nvSpPr>
              <p:cNvPr id="95" name="Freihandform: Form 94">
                <a:extLst>
                  <a:ext uri="{FF2B5EF4-FFF2-40B4-BE49-F238E27FC236}">
                    <a16:creationId xmlns:a16="http://schemas.microsoft.com/office/drawing/2014/main" id="{35A85F6D-0EC8-4C6B-A510-24CAD8233A7C}"/>
                  </a:ext>
                </a:extLst>
              </p:cNvPr>
              <p:cNvSpPr/>
              <p:nvPr/>
            </p:nvSpPr>
            <p:spPr>
              <a:xfrm>
                <a:off x="3663623" y="1771164"/>
                <a:ext cx="39264" cy="39042"/>
              </a:xfrm>
              <a:custGeom>
                <a:avLst/>
                <a:gdLst>
                  <a:gd name="connsiteX0" fmla="*/ 19636 w 39264"/>
                  <a:gd name="connsiteY0" fmla="*/ 0 h 39042"/>
                  <a:gd name="connsiteX1" fmla="*/ 5759 w 39264"/>
                  <a:gd name="connsiteY1" fmla="*/ 5708 h 39042"/>
                  <a:gd name="connsiteX2" fmla="*/ 0 w 39264"/>
                  <a:gd name="connsiteY2" fmla="*/ 19534 h 39042"/>
                  <a:gd name="connsiteX3" fmla="*/ 5765 w 39264"/>
                  <a:gd name="connsiteY3" fmla="*/ 33347 h 39042"/>
                  <a:gd name="connsiteX4" fmla="*/ 19629 w 39264"/>
                  <a:gd name="connsiteY4" fmla="*/ 39042 h 39042"/>
                  <a:gd name="connsiteX5" fmla="*/ 33506 w 39264"/>
                  <a:gd name="connsiteY5" fmla="*/ 33340 h 39042"/>
                  <a:gd name="connsiteX6" fmla="*/ 39265 w 39264"/>
                  <a:gd name="connsiteY6" fmla="*/ 19528 h 39042"/>
                  <a:gd name="connsiteX7" fmla="*/ 33506 w 39264"/>
                  <a:gd name="connsiteY7" fmla="*/ 5708 h 39042"/>
                  <a:gd name="connsiteX8" fmla="*/ 19636 w 39264"/>
                  <a:gd name="connsiteY8" fmla="*/ 0 h 39042"/>
                  <a:gd name="connsiteX9" fmla="*/ 26532 w 39264"/>
                  <a:gd name="connsiteY9" fmla="*/ 26310 h 39042"/>
                  <a:gd name="connsiteX10" fmla="*/ 12732 w 39264"/>
                  <a:gd name="connsiteY10" fmla="*/ 26316 h 39042"/>
                  <a:gd name="connsiteX11" fmla="*/ 9897 w 39264"/>
                  <a:gd name="connsiteY11" fmla="*/ 19534 h 39042"/>
                  <a:gd name="connsiteX12" fmla="*/ 12732 w 39264"/>
                  <a:gd name="connsiteY12" fmla="*/ 12739 h 39042"/>
                  <a:gd name="connsiteX13" fmla="*/ 19636 w 39264"/>
                  <a:gd name="connsiteY13" fmla="*/ 9904 h 39042"/>
                  <a:gd name="connsiteX14" fmla="*/ 26532 w 39264"/>
                  <a:gd name="connsiteY14" fmla="*/ 12732 h 39042"/>
                  <a:gd name="connsiteX15" fmla="*/ 29367 w 39264"/>
                  <a:gd name="connsiteY15" fmla="*/ 19521 h 39042"/>
                  <a:gd name="connsiteX16" fmla="*/ 26532 w 39264"/>
                  <a:gd name="connsiteY16" fmla="*/ 26310 h 3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64" h="39042">
                    <a:moveTo>
                      <a:pt x="19636" y="0"/>
                    </a:moveTo>
                    <a:cubicBezTo>
                      <a:pt x="14398" y="0"/>
                      <a:pt x="9471" y="2028"/>
                      <a:pt x="5759" y="5708"/>
                    </a:cubicBezTo>
                    <a:cubicBezTo>
                      <a:pt x="2040" y="9401"/>
                      <a:pt x="-7" y="14315"/>
                      <a:pt x="0" y="19534"/>
                    </a:cubicBezTo>
                    <a:cubicBezTo>
                      <a:pt x="0" y="24753"/>
                      <a:pt x="2047" y="29654"/>
                      <a:pt x="5765" y="33347"/>
                    </a:cubicBezTo>
                    <a:cubicBezTo>
                      <a:pt x="9471" y="37021"/>
                      <a:pt x="14398" y="39042"/>
                      <a:pt x="19629" y="39042"/>
                    </a:cubicBezTo>
                    <a:cubicBezTo>
                      <a:pt x="24867" y="39042"/>
                      <a:pt x="29794" y="37015"/>
                      <a:pt x="33506" y="33340"/>
                    </a:cubicBezTo>
                    <a:cubicBezTo>
                      <a:pt x="37224" y="29654"/>
                      <a:pt x="39265" y="24746"/>
                      <a:pt x="39265" y="19528"/>
                    </a:cubicBezTo>
                    <a:cubicBezTo>
                      <a:pt x="39265" y="14309"/>
                      <a:pt x="37218" y="9395"/>
                      <a:pt x="33506" y="5708"/>
                    </a:cubicBezTo>
                    <a:cubicBezTo>
                      <a:pt x="29800" y="2028"/>
                      <a:pt x="24873" y="0"/>
                      <a:pt x="19636" y="0"/>
                    </a:cubicBezTo>
                    <a:close/>
                    <a:moveTo>
                      <a:pt x="26532" y="26310"/>
                    </a:moveTo>
                    <a:cubicBezTo>
                      <a:pt x="22846" y="29959"/>
                      <a:pt x="16413" y="29965"/>
                      <a:pt x="12732" y="26316"/>
                    </a:cubicBezTo>
                    <a:cubicBezTo>
                      <a:pt x="10902" y="24505"/>
                      <a:pt x="9897" y="22096"/>
                      <a:pt x="9897" y="19534"/>
                    </a:cubicBezTo>
                    <a:cubicBezTo>
                      <a:pt x="9897" y="16972"/>
                      <a:pt x="10902" y="14557"/>
                      <a:pt x="12732" y="12739"/>
                    </a:cubicBezTo>
                    <a:cubicBezTo>
                      <a:pt x="14576" y="10914"/>
                      <a:pt x="17029" y="9904"/>
                      <a:pt x="19636" y="9904"/>
                    </a:cubicBezTo>
                    <a:cubicBezTo>
                      <a:pt x="22242" y="9904"/>
                      <a:pt x="24689" y="10908"/>
                      <a:pt x="26532" y="12732"/>
                    </a:cubicBezTo>
                    <a:cubicBezTo>
                      <a:pt x="28363" y="14550"/>
                      <a:pt x="29367" y="16959"/>
                      <a:pt x="29367" y="19521"/>
                    </a:cubicBezTo>
                    <a:cubicBezTo>
                      <a:pt x="29367" y="22083"/>
                      <a:pt x="28357" y="24498"/>
                      <a:pt x="26532" y="26310"/>
                    </a:cubicBezTo>
                    <a:close/>
                  </a:path>
                </a:pathLst>
              </a:custGeom>
              <a:solidFill>
                <a:schemeClr val="accent1"/>
              </a:solidFill>
              <a:ln w="635" cap="flat">
                <a:noFill/>
                <a:prstDash val="solid"/>
                <a:miter/>
              </a:ln>
            </p:spPr>
            <p:txBody>
              <a:bodyPr rtlCol="0" anchor="ctr"/>
              <a:lstStyle/>
              <a:p>
                <a:endParaRPr lang="en-GB" dirty="0"/>
              </a:p>
            </p:txBody>
          </p:sp>
          <p:sp>
            <p:nvSpPr>
              <p:cNvPr id="96" name="Freihandform: Form 95">
                <a:extLst>
                  <a:ext uri="{FF2B5EF4-FFF2-40B4-BE49-F238E27FC236}">
                    <a16:creationId xmlns:a16="http://schemas.microsoft.com/office/drawing/2014/main" id="{BDAFB95E-1610-4231-A8D3-E1DD4470269C}"/>
                  </a:ext>
                </a:extLst>
              </p:cNvPr>
              <p:cNvSpPr/>
              <p:nvPr/>
            </p:nvSpPr>
            <p:spPr>
              <a:xfrm>
                <a:off x="3718474" y="1771164"/>
                <a:ext cx="39264" cy="39042"/>
              </a:xfrm>
              <a:custGeom>
                <a:avLst/>
                <a:gdLst>
                  <a:gd name="connsiteX0" fmla="*/ 19635 w 39264"/>
                  <a:gd name="connsiteY0" fmla="*/ 0 h 39042"/>
                  <a:gd name="connsiteX1" fmla="*/ 5759 w 39264"/>
                  <a:gd name="connsiteY1" fmla="*/ 5708 h 39042"/>
                  <a:gd name="connsiteX2" fmla="*/ 0 w 39264"/>
                  <a:gd name="connsiteY2" fmla="*/ 19534 h 39042"/>
                  <a:gd name="connsiteX3" fmla="*/ 5765 w 39264"/>
                  <a:gd name="connsiteY3" fmla="*/ 33347 h 39042"/>
                  <a:gd name="connsiteX4" fmla="*/ 19629 w 39264"/>
                  <a:gd name="connsiteY4" fmla="*/ 39042 h 39042"/>
                  <a:gd name="connsiteX5" fmla="*/ 33506 w 39264"/>
                  <a:gd name="connsiteY5" fmla="*/ 33340 h 39042"/>
                  <a:gd name="connsiteX6" fmla="*/ 39265 w 39264"/>
                  <a:gd name="connsiteY6" fmla="*/ 19528 h 39042"/>
                  <a:gd name="connsiteX7" fmla="*/ 33506 w 39264"/>
                  <a:gd name="connsiteY7" fmla="*/ 5702 h 39042"/>
                  <a:gd name="connsiteX8" fmla="*/ 19635 w 39264"/>
                  <a:gd name="connsiteY8" fmla="*/ 0 h 39042"/>
                  <a:gd name="connsiteX9" fmla="*/ 26532 w 39264"/>
                  <a:gd name="connsiteY9" fmla="*/ 26310 h 39042"/>
                  <a:gd name="connsiteX10" fmla="*/ 12732 w 39264"/>
                  <a:gd name="connsiteY10" fmla="*/ 26316 h 39042"/>
                  <a:gd name="connsiteX11" fmla="*/ 9897 w 39264"/>
                  <a:gd name="connsiteY11" fmla="*/ 19534 h 39042"/>
                  <a:gd name="connsiteX12" fmla="*/ 12732 w 39264"/>
                  <a:gd name="connsiteY12" fmla="*/ 12739 h 39042"/>
                  <a:gd name="connsiteX13" fmla="*/ 19635 w 39264"/>
                  <a:gd name="connsiteY13" fmla="*/ 9904 h 39042"/>
                  <a:gd name="connsiteX14" fmla="*/ 26532 w 39264"/>
                  <a:gd name="connsiteY14" fmla="*/ 12732 h 39042"/>
                  <a:gd name="connsiteX15" fmla="*/ 29367 w 39264"/>
                  <a:gd name="connsiteY15" fmla="*/ 19528 h 39042"/>
                  <a:gd name="connsiteX16" fmla="*/ 26532 w 39264"/>
                  <a:gd name="connsiteY16" fmla="*/ 26310 h 3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64" h="39042">
                    <a:moveTo>
                      <a:pt x="19635" y="0"/>
                    </a:moveTo>
                    <a:cubicBezTo>
                      <a:pt x="14398" y="0"/>
                      <a:pt x="9471" y="2028"/>
                      <a:pt x="5759" y="5708"/>
                    </a:cubicBezTo>
                    <a:cubicBezTo>
                      <a:pt x="2040" y="9401"/>
                      <a:pt x="-7" y="14315"/>
                      <a:pt x="0" y="19534"/>
                    </a:cubicBezTo>
                    <a:cubicBezTo>
                      <a:pt x="0" y="24753"/>
                      <a:pt x="2047" y="29654"/>
                      <a:pt x="5765" y="33347"/>
                    </a:cubicBezTo>
                    <a:cubicBezTo>
                      <a:pt x="9471" y="37021"/>
                      <a:pt x="14398" y="39042"/>
                      <a:pt x="19629" y="39042"/>
                    </a:cubicBezTo>
                    <a:cubicBezTo>
                      <a:pt x="24867" y="39042"/>
                      <a:pt x="29793" y="37015"/>
                      <a:pt x="33506" y="33340"/>
                    </a:cubicBezTo>
                    <a:cubicBezTo>
                      <a:pt x="37218" y="29654"/>
                      <a:pt x="39265" y="24746"/>
                      <a:pt x="39265" y="19528"/>
                    </a:cubicBezTo>
                    <a:cubicBezTo>
                      <a:pt x="39265" y="14309"/>
                      <a:pt x="37224" y="9401"/>
                      <a:pt x="33506" y="5702"/>
                    </a:cubicBezTo>
                    <a:cubicBezTo>
                      <a:pt x="29793" y="2028"/>
                      <a:pt x="24867" y="0"/>
                      <a:pt x="19635" y="0"/>
                    </a:cubicBezTo>
                    <a:close/>
                    <a:moveTo>
                      <a:pt x="26532" y="26310"/>
                    </a:moveTo>
                    <a:cubicBezTo>
                      <a:pt x="22846" y="29965"/>
                      <a:pt x="16413" y="29965"/>
                      <a:pt x="12732" y="26316"/>
                    </a:cubicBezTo>
                    <a:cubicBezTo>
                      <a:pt x="10902" y="24505"/>
                      <a:pt x="9897" y="22096"/>
                      <a:pt x="9897" y="19534"/>
                    </a:cubicBezTo>
                    <a:cubicBezTo>
                      <a:pt x="9891" y="16972"/>
                      <a:pt x="10902" y="14557"/>
                      <a:pt x="12732" y="12739"/>
                    </a:cubicBezTo>
                    <a:cubicBezTo>
                      <a:pt x="14576" y="10914"/>
                      <a:pt x="17023" y="9904"/>
                      <a:pt x="19635" y="9904"/>
                    </a:cubicBezTo>
                    <a:cubicBezTo>
                      <a:pt x="22248" y="9904"/>
                      <a:pt x="24696" y="10908"/>
                      <a:pt x="26532" y="12732"/>
                    </a:cubicBezTo>
                    <a:cubicBezTo>
                      <a:pt x="28363" y="14550"/>
                      <a:pt x="29367" y="16959"/>
                      <a:pt x="29367" y="19528"/>
                    </a:cubicBezTo>
                    <a:cubicBezTo>
                      <a:pt x="29361" y="22089"/>
                      <a:pt x="28357" y="24498"/>
                      <a:pt x="26532" y="26310"/>
                    </a:cubicBezTo>
                    <a:close/>
                  </a:path>
                </a:pathLst>
              </a:custGeom>
              <a:solidFill>
                <a:schemeClr val="accent1"/>
              </a:solidFill>
              <a:ln w="635" cap="flat">
                <a:noFill/>
                <a:prstDash val="solid"/>
                <a:miter/>
              </a:ln>
            </p:spPr>
            <p:txBody>
              <a:bodyPr rtlCol="0" anchor="ctr"/>
              <a:lstStyle/>
              <a:p>
                <a:endParaRPr lang="en-GB" dirty="0"/>
              </a:p>
            </p:txBody>
          </p:sp>
          <p:sp>
            <p:nvSpPr>
              <p:cNvPr id="97" name="Freihandform: Form 96">
                <a:extLst>
                  <a:ext uri="{FF2B5EF4-FFF2-40B4-BE49-F238E27FC236}">
                    <a16:creationId xmlns:a16="http://schemas.microsoft.com/office/drawing/2014/main" id="{CB9ED7E6-0B81-4C09-9E6B-4CDF0572DF0A}"/>
                  </a:ext>
                </a:extLst>
              </p:cNvPr>
              <p:cNvSpPr/>
              <p:nvPr/>
            </p:nvSpPr>
            <p:spPr>
              <a:xfrm>
                <a:off x="3773319" y="1771164"/>
                <a:ext cx="39277" cy="39042"/>
              </a:xfrm>
              <a:custGeom>
                <a:avLst/>
                <a:gdLst>
                  <a:gd name="connsiteX0" fmla="*/ 19642 w 39277"/>
                  <a:gd name="connsiteY0" fmla="*/ 0 h 39042"/>
                  <a:gd name="connsiteX1" fmla="*/ 5766 w 39277"/>
                  <a:gd name="connsiteY1" fmla="*/ 5702 h 39042"/>
                  <a:gd name="connsiteX2" fmla="*/ 0 w 39277"/>
                  <a:gd name="connsiteY2" fmla="*/ 19528 h 39042"/>
                  <a:gd name="connsiteX3" fmla="*/ 5766 w 39277"/>
                  <a:gd name="connsiteY3" fmla="*/ 33340 h 39042"/>
                  <a:gd name="connsiteX4" fmla="*/ 19636 w 39277"/>
                  <a:gd name="connsiteY4" fmla="*/ 39042 h 39042"/>
                  <a:gd name="connsiteX5" fmla="*/ 33512 w 39277"/>
                  <a:gd name="connsiteY5" fmla="*/ 33340 h 39042"/>
                  <a:gd name="connsiteX6" fmla="*/ 39278 w 39277"/>
                  <a:gd name="connsiteY6" fmla="*/ 19528 h 39042"/>
                  <a:gd name="connsiteX7" fmla="*/ 33518 w 39277"/>
                  <a:gd name="connsiteY7" fmla="*/ 5708 h 39042"/>
                  <a:gd name="connsiteX8" fmla="*/ 19642 w 39277"/>
                  <a:gd name="connsiteY8" fmla="*/ 0 h 39042"/>
                  <a:gd name="connsiteX9" fmla="*/ 26539 w 39277"/>
                  <a:gd name="connsiteY9" fmla="*/ 26310 h 39042"/>
                  <a:gd name="connsiteX10" fmla="*/ 12745 w 39277"/>
                  <a:gd name="connsiteY10" fmla="*/ 26316 h 39042"/>
                  <a:gd name="connsiteX11" fmla="*/ 9904 w 39277"/>
                  <a:gd name="connsiteY11" fmla="*/ 19534 h 39042"/>
                  <a:gd name="connsiteX12" fmla="*/ 12745 w 39277"/>
                  <a:gd name="connsiteY12" fmla="*/ 12739 h 39042"/>
                  <a:gd name="connsiteX13" fmla="*/ 19642 w 39277"/>
                  <a:gd name="connsiteY13" fmla="*/ 9910 h 39042"/>
                  <a:gd name="connsiteX14" fmla="*/ 26539 w 39277"/>
                  <a:gd name="connsiteY14" fmla="*/ 12739 h 39042"/>
                  <a:gd name="connsiteX15" fmla="*/ 29374 w 39277"/>
                  <a:gd name="connsiteY15" fmla="*/ 19528 h 39042"/>
                  <a:gd name="connsiteX16" fmla="*/ 26539 w 39277"/>
                  <a:gd name="connsiteY16" fmla="*/ 26310 h 3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77" h="39042">
                    <a:moveTo>
                      <a:pt x="19642" y="0"/>
                    </a:moveTo>
                    <a:cubicBezTo>
                      <a:pt x="14404" y="0"/>
                      <a:pt x="9478" y="2028"/>
                      <a:pt x="5766" y="5702"/>
                    </a:cubicBezTo>
                    <a:cubicBezTo>
                      <a:pt x="2047" y="9395"/>
                      <a:pt x="0" y="14302"/>
                      <a:pt x="0" y="19528"/>
                    </a:cubicBezTo>
                    <a:cubicBezTo>
                      <a:pt x="0" y="24746"/>
                      <a:pt x="2053" y="29654"/>
                      <a:pt x="5766" y="33340"/>
                    </a:cubicBezTo>
                    <a:cubicBezTo>
                      <a:pt x="9471" y="37015"/>
                      <a:pt x="14398" y="39042"/>
                      <a:pt x="19636" y="39042"/>
                    </a:cubicBezTo>
                    <a:cubicBezTo>
                      <a:pt x="24873" y="39042"/>
                      <a:pt x="29800" y="37015"/>
                      <a:pt x="33512" y="33340"/>
                    </a:cubicBezTo>
                    <a:cubicBezTo>
                      <a:pt x="37231" y="29654"/>
                      <a:pt x="39278" y="24746"/>
                      <a:pt x="39278" y="19528"/>
                    </a:cubicBezTo>
                    <a:cubicBezTo>
                      <a:pt x="39284" y="14302"/>
                      <a:pt x="37231" y="9395"/>
                      <a:pt x="33518" y="5708"/>
                    </a:cubicBezTo>
                    <a:cubicBezTo>
                      <a:pt x="29806" y="2028"/>
                      <a:pt x="24873" y="0"/>
                      <a:pt x="19642" y="0"/>
                    </a:cubicBezTo>
                    <a:close/>
                    <a:moveTo>
                      <a:pt x="26539" y="26310"/>
                    </a:moveTo>
                    <a:cubicBezTo>
                      <a:pt x="22852" y="29965"/>
                      <a:pt x="16419" y="29959"/>
                      <a:pt x="12745" y="26316"/>
                    </a:cubicBezTo>
                    <a:cubicBezTo>
                      <a:pt x="10914" y="24498"/>
                      <a:pt x="9910" y="22089"/>
                      <a:pt x="9904" y="19534"/>
                    </a:cubicBezTo>
                    <a:cubicBezTo>
                      <a:pt x="9904" y="16972"/>
                      <a:pt x="10914" y="14557"/>
                      <a:pt x="12745" y="12739"/>
                    </a:cubicBezTo>
                    <a:cubicBezTo>
                      <a:pt x="14589" y="10914"/>
                      <a:pt x="17036" y="9910"/>
                      <a:pt x="19642" y="9910"/>
                    </a:cubicBezTo>
                    <a:cubicBezTo>
                      <a:pt x="22248" y="9910"/>
                      <a:pt x="24696" y="10914"/>
                      <a:pt x="26539" y="12739"/>
                    </a:cubicBezTo>
                    <a:cubicBezTo>
                      <a:pt x="28370" y="14557"/>
                      <a:pt x="29374" y="16966"/>
                      <a:pt x="29374" y="19528"/>
                    </a:cubicBezTo>
                    <a:cubicBezTo>
                      <a:pt x="29368" y="22083"/>
                      <a:pt x="28363" y="24498"/>
                      <a:pt x="26539" y="26310"/>
                    </a:cubicBezTo>
                    <a:close/>
                  </a:path>
                </a:pathLst>
              </a:custGeom>
              <a:solidFill>
                <a:schemeClr val="accent1"/>
              </a:solidFill>
              <a:ln w="635" cap="flat">
                <a:noFill/>
                <a:prstDash val="solid"/>
                <a:miter/>
              </a:ln>
            </p:spPr>
            <p:txBody>
              <a:bodyPr rtlCol="0" anchor="ctr"/>
              <a:lstStyle/>
              <a:p>
                <a:endParaRPr lang="en-GB" dirty="0"/>
              </a:p>
            </p:txBody>
          </p:sp>
          <p:sp>
            <p:nvSpPr>
              <p:cNvPr id="98" name="Freihandform: Form 97">
                <a:extLst>
                  <a:ext uri="{FF2B5EF4-FFF2-40B4-BE49-F238E27FC236}">
                    <a16:creationId xmlns:a16="http://schemas.microsoft.com/office/drawing/2014/main" id="{1D32696A-65B5-4C1D-8BEC-184C92B10202}"/>
                  </a:ext>
                </a:extLst>
              </p:cNvPr>
              <p:cNvSpPr/>
              <p:nvPr/>
            </p:nvSpPr>
            <p:spPr>
              <a:xfrm>
                <a:off x="3663616" y="1825583"/>
                <a:ext cx="39271" cy="39036"/>
              </a:xfrm>
              <a:custGeom>
                <a:avLst/>
                <a:gdLst>
                  <a:gd name="connsiteX0" fmla="*/ 19642 w 39271"/>
                  <a:gd name="connsiteY0" fmla="*/ 0 h 39036"/>
                  <a:gd name="connsiteX1" fmla="*/ 5766 w 39271"/>
                  <a:gd name="connsiteY1" fmla="*/ 5702 h 39036"/>
                  <a:gd name="connsiteX2" fmla="*/ 0 w 39271"/>
                  <a:gd name="connsiteY2" fmla="*/ 19528 h 39036"/>
                  <a:gd name="connsiteX3" fmla="*/ 5766 w 39271"/>
                  <a:gd name="connsiteY3" fmla="*/ 33334 h 39036"/>
                  <a:gd name="connsiteX4" fmla="*/ 19636 w 39271"/>
                  <a:gd name="connsiteY4" fmla="*/ 39036 h 39036"/>
                  <a:gd name="connsiteX5" fmla="*/ 33512 w 39271"/>
                  <a:gd name="connsiteY5" fmla="*/ 33328 h 39036"/>
                  <a:gd name="connsiteX6" fmla="*/ 39271 w 39271"/>
                  <a:gd name="connsiteY6" fmla="*/ 19515 h 39036"/>
                  <a:gd name="connsiteX7" fmla="*/ 33512 w 39271"/>
                  <a:gd name="connsiteY7" fmla="*/ 5696 h 39036"/>
                  <a:gd name="connsiteX8" fmla="*/ 19642 w 39271"/>
                  <a:gd name="connsiteY8" fmla="*/ 0 h 39036"/>
                  <a:gd name="connsiteX9" fmla="*/ 26539 w 39271"/>
                  <a:gd name="connsiteY9" fmla="*/ 26304 h 39036"/>
                  <a:gd name="connsiteX10" fmla="*/ 12745 w 39271"/>
                  <a:gd name="connsiteY10" fmla="*/ 26304 h 39036"/>
                  <a:gd name="connsiteX11" fmla="*/ 9910 w 39271"/>
                  <a:gd name="connsiteY11" fmla="*/ 19521 h 39036"/>
                  <a:gd name="connsiteX12" fmla="*/ 12745 w 39271"/>
                  <a:gd name="connsiteY12" fmla="*/ 12726 h 39036"/>
                  <a:gd name="connsiteX13" fmla="*/ 19648 w 39271"/>
                  <a:gd name="connsiteY13" fmla="*/ 9897 h 39036"/>
                  <a:gd name="connsiteX14" fmla="*/ 26545 w 39271"/>
                  <a:gd name="connsiteY14" fmla="*/ 12726 h 39036"/>
                  <a:gd name="connsiteX15" fmla="*/ 29380 w 39271"/>
                  <a:gd name="connsiteY15" fmla="*/ 19515 h 39036"/>
                  <a:gd name="connsiteX16" fmla="*/ 26539 w 39271"/>
                  <a:gd name="connsiteY16" fmla="*/ 26304 h 3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71" h="39036">
                    <a:moveTo>
                      <a:pt x="19642" y="0"/>
                    </a:moveTo>
                    <a:cubicBezTo>
                      <a:pt x="14404" y="0"/>
                      <a:pt x="9478" y="2021"/>
                      <a:pt x="5766" y="5702"/>
                    </a:cubicBezTo>
                    <a:cubicBezTo>
                      <a:pt x="2047" y="9395"/>
                      <a:pt x="0" y="14309"/>
                      <a:pt x="0" y="19528"/>
                    </a:cubicBezTo>
                    <a:cubicBezTo>
                      <a:pt x="0" y="24746"/>
                      <a:pt x="2053" y="29647"/>
                      <a:pt x="5766" y="33334"/>
                    </a:cubicBezTo>
                    <a:cubicBezTo>
                      <a:pt x="9472" y="37008"/>
                      <a:pt x="14398" y="39036"/>
                      <a:pt x="19636" y="39036"/>
                    </a:cubicBezTo>
                    <a:cubicBezTo>
                      <a:pt x="24874" y="39036"/>
                      <a:pt x="29806" y="37008"/>
                      <a:pt x="33512" y="33328"/>
                    </a:cubicBezTo>
                    <a:cubicBezTo>
                      <a:pt x="37231" y="29641"/>
                      <a:pt x="39271" y="24734"/>
                      <a:pt x="39271" y="19515"/>
                    </a:cubicBezTo>
                    <a:cubicBezTo>
                      <a:pt x="39271" y="14296"/>
                      <a:pt x="37224" y="9382"/>
                      <a:pt x="33512" y="5696"/>
                    </a:cubicBezTo>
                    <a:cubicBezTo>
                      <a:pt x="29806" y="2021"/>
                      <a:pt x="24880" y="0"/>
                      <a:pt x="19642" y="0"/>
                    </a:cubicBezTo>
                    <a:close/>
                    <a:moveTo>
                      <a:pt x="26539" y="26304"/>
                    </a:moveTo>
                    <a:cubicBezTo>
                      <a:pt x="22858" y="29952"/>
                      <a:pt x="16426" y="29959"/>
                      <a:pt x="12745" y="26304"/>
                    </a:cubicBezTo>
                    <a:cubicBezTo>
                      <a:pt x="10914" y="24492"/>
                      <a:pt x="9910" y="22083"/>
                      <a:pt x="9910" y="19521"/>
                    </a:cubicBezTo>
                    <a:cubicBezTo>
                      <a:pt x="9910" y="16959"/>
                      <a:pt x="10914" y="14544"/>
                      <a:pt x="12745" y="12726"/>
                    </a:cubicBezTo>
                    <a:cubicBezTo>
                      <a:pt x="14589" y="10902"/>
                      <a:pt x="17042" y="9897"/>
                      <a:pt x="19648" y="9897"/>
                    </a:cubicBezTo>
                    <a:cubicBezTo>
                      <a:pt x="22255" y="9897"/>
                      <a:pt x="24708" y="10902"/>
                      <a:pt x="26545" y="12726"/>
                    </a:cubicBezTo>
                    <a:cubicBezTo>
                      <a:pt x="28376" y="14544"/>
                      <a:pt x="29380" y="16953"/>
                      <a:pt x="29380" y="19515"/>
                    </a:cubicBezTo>
                    <a:cubicBezTo>
                      <a:pt x="29374" y="22083"/>
                      <a:pt x="28363" y="24492"/>
                      <a:pt x="26539" y="26304"/>
                    </a:cubicBezTo>
                    <a:close/>
                  </a:path>
                </a:pathLst>
              </a:custGeom>
              <a:solidFill>
                <a:schemeClr val="accent1"/>
              </a:solidFill>
              <a:ln w="635" cap="flat">
                <a:noFill/>
                <a:prstDash val="solid"/>
                <a:miter/>
              </a:ln>
            </p:spPr>
            <p:txBody>
              <a:bodyPr rtlCol="0" anchor="ctr"/>
              <a:lstStyle/>
              <a:p>
                <a:endParaRPr lang="en-GB" dirty="0"/>
              </a:p>
            </p:txBody>
          </p:sp>
          <p:sp>
            <p:nvSpPr>
              <p:cNvPr id="99" name="Freihandform: Form 98">
                <a:extLst>
                  <a:ext uri="{FF2B5EF4-FFF2-40B4-BE49-F238E27FC236}">
                    <a16:creationId xmlns:a16="http://schemas.microsoft.com/office/drawing/2014/main" id="{0B6BF88B-5C6E-46C8-BE3B-7BE0E3DCCA9B}"/>
                  </a:ext>
                </a:extLst>
              </p:cNvPr>
              <p:cNvSpPr/>
              <p:nvPr/>
            </p:nvSpPr>
            <p:spPr>
              <a:xfrm>
                <a:off x="3718468" y="1825583"/>
                <a:ext cx="39271" cy="39036"/>
              </a:xfrm>
              <a:custGeom>
                <a:avLst/>
                <a:gdLst>
                  <a:gd name="connsiteX0" fmla="*/ 19642 w 39271"/>
                  <a:gd name="connsiteY0" fmla="*/ 0 h 39036"/>
                  <a:gd name="connsiteX1" fmla="*/ 5766 w 39271"/>
                  <a:gd name="connsiteY1" fmla="*/ 5702 h 39036"/>
                  <a:gd name="connsiteX2" fmla="*/ 0 w 39271"/>
                  <a:gd name="connsiteY2" fmla="*/ 19528 h 39036"/>
                  <a:gd name="connsiteX3" fmla="*/ 5766 w 39271"/>
                  <a:gd name="connsiteY3" fmla="*/ 33334 h 39036"/>
                  <a:gd name="connsiteX4" fmla="*/ 19636 w 39271"/>
                  <a:gd name="connsiteY4" fmla="*/ 39036 h 39036"/>
                  <a:gd name="connsiteX5" fmla="*/ 33512 w 39271"/>
                  <a:gd name="connsiteY5" fmla="*/ 33328 h 39036"/>
                  <a:gd name="connsiteX6" fmla="*/ 39271 w 39271"/>
                  <a:gd name="connsiteY6" fmla="*/ 19515 h 39036"/>
                  <a:gd name="connsiteX7" fmla="*/ 33512 w 39271"/>
                  <a:gd name="connsiteY7" fmla="*/ 5689 h 39036"/>
                  <a:gd name="connsiteX8" fmla="*/ 19642 w 39271"/>
                  <a:gd name="connsiteY8" fmla="*/ 0 h 39036"/>
                  <a:gd name="connsiteX9" fmla="*/ 26539 w 39271"/>
                  <a:gd name="connsiteY9" fmla="*/ 26304 h 39036"/>
                  <a:gd name="connsiteX10" fmla="*/ 12739 w 39271"/>
                  <a:gd name="connsiteY10" fmla="*/ 26310 h 39036"/>
                  <a:gd name="connsiteX11" fmla="*/ 9904 w 39271"/>
                  <a:gd name="connsiteY11" fmla="*/ 19528 h 39036"/>
                  <a:gd name="connsiteX12" fmla="*/ 12739 w 39271"/>
                  <a:gd name="connsiteY12" fmla="*/ 12732 h 39036"/>
                  <a:gd name="connsiteX13" fmla="*/ 19642 w 39271"/>
                  <a:gd name="connsiteY13" fmla="*/ 9904 h 39036"/>
                  <a:gd name="connsiteX14" fmla="*/ 26539 w 39271"/>
                  <a:gd name="connsiteY14" fmla="*/ 12732 h 39036"/>
                  <a:gd name="connsiteX15" fmla="*/ 29374 w 39271"/>
                  <a:gd name="connsiteY15" fmla="*/ 19521 h 39036"/>
                  <a:gd name="connsiteX16" fmla="*/ 26539 w 39271"/>
                  <a:gd name="connsiteY16" fmla="*/ 26304 h 39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71" h="39036">
                    <a:moveTo>
                      <a:pt x="19642" y="0"/>
                    </a:moveTo>
                    <a:cubicBezTo>
                      <a:pt x="14404" y="0"/>
                      <a:pt x="9478" y="2021"/>
                      <a:pt x="5766" y="5702"/>
                    </a:cubicBezTo>
                    <a:cubicBezTo>
                      <a:pt x="2047" y="9395"/>
                      <a:pt x="0" y="14309"/>
                      <a:pt x="0" y="19528"/>
                    </a:cubicBezTo>
                    <a:cubicBezTo>
                      <a:pt x="0" y="24746"/>
                      <a:pt x="2053" y="29647"/>
                      <a:pt x="5766" y="33334"/>
                    </a:cubicBezTo>
                    <a:cubicBezTo>
                      <a:pt x="9471" y="37008"/>
                      <a:pt x="14398" y="39036"/>
                      <a:pt x="19636" y="39036"/>
                    </a:cubicBezTo>
                    <a:cubicBezTo>
                      <a:pt x="24873" y="39036"/>
                      <a:pt x="29800" y="37008"/>
                      <a:pt x="33512" y="33328"/>
                    </a:cubicBezTo>
                    <a:cubicBezTo>
                      <a:pt x="37224" y="29641"/>
                      <a:pt x="39271" y="24734"/>
                      <a:pt x="39271" y="19515"/>
                    </a:cubicBezTo>
                    <a:cubicBezTo>
                      <a:pt x="39271" y="14296"/>
                      <a:pt x="37231" y="9389"/>
                      <a:pt x="33512" y="5689"/>
                    </a:cubicBezTo>
                    <a:cubicBezTo>
                      <a:pt x="29800" y="2021"/>
                      <a:pt x="24873" y="0"/>
                      <a:pt x="19642" y="0"/>
                    </a:cubicBezTo>
                    <a:close/>
                    <a:moveTo>
                      <a:pt x="26539" y="26304"/>
                    </a:moveTo>
                    <a:cubicBezTo>
                      <a:pt x="22852" y="29959"/>
                      <a:pt x="16419" y="29959"/>
                      <a:pt x="12739" y="26310"/>
                    </a:cubicBezTo>
                    <a:cubicBezTo>
                      <a:pt x="10908" y="24498"/>
                      <a:pt x="9904" y="22089"/>
                      <a:pt x="9904" y="19528"/>
                    </a:cubicBezTo>
                    <a:cubicBezTo>
                      <a:pt x="9897" y="16966"/>
                      <a:pt x="10908" y="14550"/>
                      <a:pt x="12739" y="12732"/>
                    </a:cubicBezTo>
                    <a:cubicBezTo>
                      <a:pt x="14582" y="10908"/>
                      <a:pt x="17029" y="9904"/>
                      <a:pt x="19642" y="9904"/>
                    </a:cubicBezTo>
                    <a:cubicBezTo>
                      <a:pt x="22255" y="9904"/>
                      <a:pt x="24702" y="10908"/>
                      <a:pt x="26539" y="12732"/>
                    </a:cubicBezTo>
                    <a:cubicBezTo>
                      <a:pt x="28370" y="14550"/>
                      <a:pt x="29374" y="16959"/>
                      <a:pt x="29374" y="19521"/>
                    </a:cubicBezTo>
                    <a:cubicBezTo>
                      <a:pt x="29368" y="22083"/>
                      <a:pt x="28363" y="24492"/>
                      <a:pt x="26539" y="26304"/>
                    </a:cubicBezTo>
                    <a:close/>
                  </a:path>
                </a:pathLst>
              </a:custGeom>
              <a:solidFill>
                <a:schemeClr val="accent1"/>
              </a:solidFill>
              <a:ln w="635" cap="flat">
                <a:noFill/>
                <a:prstDash val="solid"/>
                <a:miter/>
              </a:ln>
            </p:spPr>
            <p:txBody>
              <a:bodyPr rtlCol="0" anchor="ctr"/>
              <a:lstStyle/>
              <a:p>
                <a:endParaRPr lang="en-GB" dirty="0"/>
              </a:p>
            </p:txBody>
          </p:sp>
          <p:sp>
            <p:nvSpPr>
              <p:cNvPr id="100" name="Freihandform: Form 99">
                <a:extLst>
                  <a:ext uri="{FF2B5EF4-FFF2-40B4-BE49-F238E27FC236}">
                    <a16:creationId xmlns:a16="http://schemas.microsoft.com/office/drawing/2014/main" id="{CE823444-5C37-4163-9405-E9A323AB0920}"/>
                  </a:ext>
                </a:extLst>
              </p:cNvPr>
              <p:cNvSpPr/>
              <p:nvPr/>
            </p:nvSpPr>
            <p:spPr>
              <a:xfrm>
                <a:off x="3773319" y="1825583"/>
                <a:ext cx="39277" cy="39042"/>
              </a:xfrm>
              <a:custGeom>
                <a:avLst/>
                <a:gdLst>
                  <a:gd name="connsiteX0" fmla="*/ 19642 w 39277"/>
                  <a:gd name="connsiteY0" fmla="*/ 0 h 39042"/>
                  <a:gd name="connsiteX1" fmla="*/ 5766 w 39277"/>
                  <a:gd name="connsiteY1" fmla="*/ 5702 h 39042"/>
                  <a:gd name="connsiteX2" fmla="*/ 0 w 39277"/>
                  <a:gd name="connsiteY2" fmla="*/ 19528 h 39042"/>
                  <a:gd name="connsiteX3" fmla="*/ 5766 w 39277"/>
                  <a:gd name="connsiteY3" fmla="*/ 33340 h 39042"/>
                  <a:gd name="connsiteX4" fmla="*/ 19636 w 39277"/>
                  <a:gd name="connsiteY4" fmla="*/ 39042 h 39042"/>
                  <a:gd name="connsiteX5" fmla="*/ 33512 w 39277"/>
                  <a:gd name="connsiteY5" fmla="*/ 33334 h 39042"/>
                  <a:gd name="connsiteX6" fmla="*/ 39278 w 39277"/>
                  <a:gd name="connsiteY6" fmla="*/ 19521 h 39042"/>
                  <a:gd name="connsiteX7" fmla="*/ 33518 w 39277"/>
                  <a:gd name="connsiteY7" fmla="*/ 5702 h 39042"/>
                  <a:gd name="connsiteX8" fmla="*/ 19642 w 39277"/>
                  <a:gd name="connsiteY8" fmla="*/ 0 h 39042"/>
                  <a:gd name="connsiteX9" fmla="*/ 26533 w 39277"/>
                  <a:gd name="connsiteY9" fmla="*/ 26304 h 39042"/>
                  <a:gd name="connsiteX10" fmla="*/ 12739 w 39277"/>
                  <a:gd name="connsiteY10" fmla="*/ 26304 h 39042"/>
                  <a:gd name="connsiteX11" fmla="*/ 9897 w 39277"/>
                  <a:gd name="connsiteY11" fmla="*/ 19521 h 39042"/>
                  <a:gd name="connsiteX12" fmla="*/ 12732 w 39277"/>
                  <a:gd name="connsiteY12" fmla="*/ 12732 h 39042"/>
                  <a:gd name="connsiteX13" fmla="*/ 19636 w 39277"/>
                  <a:gd name="connsiteY13" fmla="*/ 9904 h 39042"/>
                  <a:gd name="connsiteX14" fmla="*/ 26533 w 39277"/>
                  <a:gd name="connsiteY14" fmla="*/ 12732 h 39042"/>
                  <a:gd name="connsiteX15" fmla="*/ 29368 w 39277"/>
                  <a:gd name="connsiteY15" fmla="*/ 19521 h 39042"/>
                  <a:gd name="connsiteX16" fmla="*/ 26533 w 39277"/>
                  <a:gd name="connsiteY16" fmla="*/ 26304 h 3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77" h="39042">
                    <a:moveTo>
                      <a:pt x="19642" y="0"/>
                    </a:moveTo>
                    <a:cubicBezTo>
                      <a:pt x="14404" y="0"/>
                      <a:pt x="9478" y="2028"/>
                      <a:pt x="5766" y="5702"/>
                    </a:cubicBezTo>
                    <a:cubicBezTo>
                      <a:pt x="2047" y="9395"/>
                      <a:pt x="0" y="14302"/>
                      <a:pt x="0" y="19528"/>
                    </a:cubicBezTo>
                    <a:cubicBezTo>
                      <a:pt x="0" y="24746"/>
                      <a:pt x="2053" y="29654"/>
                      <a:pt x="5766" y="33340"/>
                    </a:cubicBezTo>
                    <a:cubicBezTo>
                      <a:pt x="9471" y="37021"/>
                      <a:pt x="14398" y="39042"/>
                      <a:pt x="19636" y="39042"/>
                    </a:cubicBezTo>
                    <a:cubicBezTo>
                      <a:pt x="24873" y="39042"/>
                      <a:pt x="29800" y="37015"/>
                      <a:pt x="33512" y="33334"/>
                    </a:cubicBezTo>
                    <a:cubicBezTo>
                      <a:pt x="37231" y="29647"/>
                      <a:pt x="39278" y="24740"/>
                      <a:pt x="39278" y="19521"/>
                    </a:cubicBezTo>
                    <a:cubicBezTo>
                      <a:pt x="39284" y="14296"/>
                      <a:pt x="37231" y="9389"/>
                      <a:pt x="33518" y="5702"/>
                    </a:cubicBezTo>
                    <a:cubicBezTo>
                      <a:pt x="29800" y="2021"/>
                      <a:pt x="24873" y="0"/>
                      <a:pt x="19642" y="0"/>
                    </a:cubicBezTo>
                    <a:close/>
                    <a:moveTo>
                      <a:pt x="26533" y="26304"/>
                    </a:moveTo>
                    <a:cubicBezTo>
                      <a:pt x="22852" y="29959"/>
                      <a:pt x="16419" y="29959"/>
                      <a:pt x="12739" y="26304"/>
                    </a:cubicBezTo>
                    <a:cubicBezTo>
                      <a:pt x="10908" y="24486"/>
                      <a:pt x="9904" y="22083"/>
                      <a:pt x="9897" y="19521"/>
                    </a:cubicBezTo>
                    <a:cubicBezTo>
                      <a:pt x="9897" y="16959"/>
                      <a:pt x="10908" y="14544"/>
                      <a:pt x="12732" y="12732"/>
                    </a:cubicBezTo>
                    <a:cubicBezTo>
                      <a:pt x="14576" y="10908"/>
                      <a:pt x="17029" y="9904"/>
                      <a:pt x="19636" y="9904"/>
                    </a:cubicBezTo>
                    <a:cubicBezTo>
                      <a:pt x="22242" y="9904"/>
                      <a:pt x="24696" y="10908"/>
                      <a:pt x="26533" y="12732"/>
                    </a:cubicBezTo>
                    <a:cubicBezTo>
                      <a:pt x="28363" y="14550"/>
                      <a:pt x="29368" y="16959"/>
                      <a:pt x="29368" y="19521"/>
                    </a:cubicBezTo>
                    <a:cubicBezTo>
                      <a:pt x="29368" y="22083"/>
                      <a:pt x="28363" y="24492"/>
                      <a:pt x="26533" y="26304"/>
                    </a:cubicBezTo>
                    <a:close/>
                  </a:path>
                </a:pathLst>
              </a:custGeom>
              <a:solidFill>
                <a:schemeClr val="accent1"/>
              </a:solidFill>
              <a:ln w="635" cap="flat">
                <a:noFill/>
                <a:prstDash val="solid"/>
                <a:miter/>
              </a:ln>
            </p:spPr>
            <p:txBody>
              <a:bodyPr rtlCol="0" anchor="ctr"/>
              <a:lstStyle/>
              <a:p>
                <a:endParaRPr lang="en-GB" dirty="0"/>
              </a:p>
            </p:txBody>
          </p:sp>
          <p:sp>
            <p:nvSpPr>
              <p:cNvPr id="101" name="Freihandform: Form 100">
                <a:extLst>
                  <a:ext uri="{FF2B5EF4-FFF2-40B4-BE49-F238E27FC236}">
                    <a16:creationId xmlns:a16="http://schemas.microsoft.com/office/drawing/2014/main" id="{B93EB722-8ABF-4B25-8002-4ABD86D6F4D2}"/>
                  </a:ext>
                </a:extLst>
              </p:cNvPr>
              <p:cNvSpPr/>
              <p:nvPr/>
            </p:nvSpPr>
            <p:spPr>
              <a:xfrm>
                <a:off x="3663623" y="1879995"/>
                <a:ext cx="39271" cy="39048"/>
              </a:xfrm>
              <a:custGeom>
                <a:avLst/>
                <a:gdLst>
                  <a:gd name="connsiteX0" fmla="*/ 19636 w 39271"/>
                  <a:gd name="connsiteY0" fmla="*/ 0 h 39048"/>
                  <a:gd name="connsiteX1" fmla="*/ 5759 w 39271"/>
                  <a:gd name="connsiteY1" fmla="*/ 5708 h 39048"/>
                  <a:gd name="connsiteX2" fmla="*/ 0 w 39271"/>
                  <a:gd name="connsiteY2" fmla="*/ 19540 h 39048"/>
                  <a:gd name="connsiteX3" fmla="*/ 5765 w 39271"/>
                  <a:gd name="connsiteY3" fmla="*/ 33347 h 39048"/>
                  <a:gd name="connsiteX4" fmla="*/ 19636 w 39271"/>
                  <a:gd name="connsiteY4" fmla="*/ 39049 h 39048"/>
                  <a:gd name="connsiteX5" fmla="*/ 33512 w 39271"/>
                  <a:gd name="connsiteY5" fmla="*/ 33340 h 39048"/>
                  <a:gd name="connsiteX6" fmla="*/ 39271 w 39271"/>
                  <a:gd name="connsiteY6" fmla="*/ 19528 h 39048"/>
                  <a:gd name="connsiteX7" fmla="*/ 33512 w 39271"/>
                  <a:gd name="connsiteY7" fmla="*/ 5708 h 39048"/>
                  <a:gd name="connsiteX8" fmla="*/ 19636 w 39271"/>
                  <a:gd name="connsiteY8" fmla="*/ 0 h 39048"/>
                  <a:gd name="connsiteX9" fmla="*/ 26532 w 39271"/>
                  <a:gd name="connsiteY9" fmla="*/ 26310 h 39048"/>
                  <a:gd name="connsiteX10" fmla="*/ 12739 w 39271"/>
                  <a:gd name="connsiteY10" fmla="*/ 26316 h 39048"/>
                  <a:gd name="connsiteX11" fmla="*/ 9904 w 39271"/>
                  <a:gd name="connsiteY11" fmla="*/ 19534 h 39048"/>
                  <a:gd name="connsiteX12" fmla="*/ 12739 w 39271"/>
                  <a:gd name="connsiteY12" fmla="*/ 12739 h 39048"/>
                  <a:gd name="connsiteX13" fmla="*/ 19642 w 39271"/>
                  <a:gd name="connsiteY13" fmla="*/ 9904 h 39048"/>
                  <a:gd name="connsiteX14" fmla="*/ 26539 w 39271"/>
                  <a:gd name="connsiteY14" fmla="*/ 12732 h 39048"/>
                  <a:gd name="connsiteX15" fmla="*/ 29374 w 39271"/>
                  <a:gd name="connsiteY15" fmla="*/ 19521 h 39048"/>
                  <a:gd name="connsiteX16" fmla="*/ 26532 w 39271"/>
                  <a:gd name="connsiteY16" fmla="*/ 26310 h 3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71" h="39048">
                    <a:moveTo>
                      <a:pt x="19636" y="0"/>
                    </a:moveTo>
                    <a:cubicBezTo>
                      <a:pt x="14398" y="0"/>
                      <a:pt x="9471" y="2028"/>
                      <a:pt x="5759" y="5708"/>
                    </a:cubicBezTo>
                    <a:cubicBezTo>
                      <a:pt x="2040" y="9408"/>
                      <a:pt x="-7" y="14315"/>
                      <a:pt x="0" y="19540"/>
                    </a:cubicBezTo>
                    <a:cubicBezTo>
                      <a:pt x="0" y="24759"/>
                      <a:pt x="2053" y="29660"/>
                      <a:pt x="5765" y="33347"/>
                    </a:cubicBezTo>
                    <a:cubicBezTo>
                      <a:pt x="9471" y="37021"/>
                      <a:pt x="14398" y="39049"/>
                      <a:pt x="19636" y="39049"/>
                    </a:cubicBezTo>
                    <a:cubicBezTo>
                      <a:pt x="24873" y="39049"/>
                      <a:pt x="29800" y="37021"/>
                      <a:pt x="33512" y="33340"/>
                    </a:cubicBezTo>
                    <a:cubicBezTo>
                      <a:pt x="37224" y="29654"/>
                      <a:pt x="39271" y="24746"/>
                      <a:pt x="39271" y="19528"/>
                    </a:cubicBezTo>
                    <a:cubicBezTo>
                      <a:pt x="39271" y="14302"/>
                      <a:pt x="37224" y="9395"/>
                      <a:pt x="33512" y="5708"/>
                    </a:cubicBezTo>
                    <a:cubicBezTo>
                      <a:pt x="29800" y="2028"/>
                      <a:pt x="24873" y="0"/>
                      <a:pt x="19636" y="0"/>
                    </a:cubicBezTo>
                    <a:close/>
                    <a:moveTo>
                      <a:pt x="26532" y="26310"/>
                    </a:moveTo>
                    <a:cubicBezTo>
                      <a:pt x="22852" y="29965"/>
                      <a:pt x="16413" y="29965"/>
                      <a:pt x="12739" y="26316"/>
                    </a:cubicBezTo>
                    <a:cubicBezTo>
                      <a:pt x="10908" y="24505"/>
                      <a:pt x="9904" y="22096"/>
                      <a:pt x="9904" y="19534"/>
                    </a:cubicBezTo>
                    <a:cubicBezTo>
                      <a:pt x="9904" y="16972"/>
                      <a:pt x="10908" y="14557"/>
                      <a:pt x="12739" y="12739"/>
                    </a:cubicBezTo>
                    <a:cubicBezTo>
                      <a:pt x="14582" y="10914"/>
                      <a:pt x="17036" y="9904"/>
                      <a:pt x="19642" y="9904"/>
                    </a:cubicBezTo>
                    <a:cubicBezTo>
                      <a:pt x="22248" y="9904"/>
                      <a:pt x="24696" y="10908"/>
                      <a:pt x="26539" y="12732"/>
                    </a:cubicBezTo>
                    <a:cubicBezTo>
                      <a:pt x="28370" y="14550"/>
                      <a:pt x="29374" y="16959"/>
                      <a:pt x="29374" y="19521"/>
                    </a:cubicBezTo>
                    <a:cubicBezTo>
                      <a:pt x="29367" y="22083"/>
                      <a:pt x="28357" y="24492"/>
                      <a:pt x="26532" y="26310"/>
                    </a:cubicBezTo>
                    <a:close/>
                  </a:path>
                </a:pathLst>
              </a:custGeom>
              <a:solidFill>
                <a:schemeClr val="accent1"/>
              </a:solidFill>
              <a:ln w="635" cap="flat">
                <a:noFill/>
                <a:prstDash val="solid"/>
                <a:miter/>
              </a:ln>
            </p:spPr>
            <p:txBody>
              <a:bodyPr rtlCol="0" anchor="ctr"/>
              <a:lstStyle/>
              <a:p>
                <a:endParaRPr lang="en-GB" dirty="0"/>
              </a:p>
            </p:txBody>
          </p:sp>
          <p:sp>
            <p:nvSpPr>
              <p:cNvPr id="102" name="Freihandform: Form 101">
                <a:extLst>
                  <a:ext uri="{FF2B5EF4-FFF2-40B4-BE49-F238E27FC236}">
                    <a16:creationId xmlns:a16="http://schemas.microsoft.com/office/drawing/2014/main" id="{9E4501F3-3C9A-408A-AD96-A80B90972B91}"/>
                  </a:ext>
                </a:extLst>
              </p:cNvPr>
              <p:cNvSpPr/>
              <p:nvPr/>
            </p:nvSpPr>
            <p:spPr>
              <a:xfrm>
                <a:off x="3718474" y="1879995"/>
                <a:ext cx="39271" cy="39048"/>
              </a:xfrm>
              <a:custGeom>
                <a:avLst/>
                <a:gdLst>
                  <a:gd name="connsiteX0" fmla="*/ 19635 w 39271"/>
                  <a:gd name="connsiteY0" fmla="*/ 0 h 39048"/>
                  <a:gd name="connsiteX1" fmla="*/ 5759 w 39271"/>
                  <a:gd name="connsiteY1" fmla="*/ 5708 h 39048"/>
                  <a:gd name="connsiteX2" fmla="*/ 0 w 39271"/>
                  <a:gd name="connsiteY2" fmla="*/ 19540 h 39048"/>
                  <a:gd name="connsiteX3" fmla="*/ 5765 w 39271"/>
                  <a:gd name="connsiteY3" fmla="*/ 33347 h 39048"/>
                  <a:gd name="connsiteX4" fmla="*/ 19629 w 39271"/>
                  <a:gd name="connsiteY4" fmla="*/ 39049 h 39048"/>
                  <a:gd name="connsiteX5" fmla="*/ 33512 w 39271"/>
                  <a:gd name="connsiteY5" fmla="*/ 33340 h 39048"/>
                  <a:gd name="connsiteX6" fmla="*/ 39271 w 39271"/>
                  <a:gd name="connsiteY6" fmla="*/ 19528 h 39048"/>
                  <a:gd name="connsiteX7" fmla="*/ 33512 w 39271"/>
                  <a:gd name="connsiteY7" fmla="*/ 5702 h 39048"/>
                  <a:gd name="connsiteX8" fmla="*/ 19635 w 39271"/>
                  <a:gd name="connsiteY8" fmla="*/ 0 h 39048"/>
                  <a:gd name="connsiteX9" fmla="*/ 26532 w 39271"/>
                  <a:gd name="connsiteY9" fmla="*/ 26304 h 39048"/>
                  <a:gd name="connsiteX10" fmla="*/ 12732 w 39271"/>
                  <a:gd name="connsiteY10" fmla="*/ 26310 h 39048"/>
                  <a:gd name="connsiteX11" fmla="*/ 9897 w 39271"/>
                  <a:gd name="connsiteY11" fmla="*/ 19528 h 39048"/>
                  <a:gd name="connsiteX12" fmla="*/ 12732 w 39271"/>
                  <a:gd name="connsiteY12" fmla="*/ 12732 h 39048"/>
                  <a:gd name="connsiteX13" fmla="*/ 19635 w 39271"/>
                  <a:gd name="connsiteY13" fmla="*/ 9897 h 39048"/>
                  <a:gd name="connsiteX14" fmla="*/ 26532 w 39271"/>
                  <a:gd name="connsiteY14" fmla="*/ 12726 h 39048"/>
                  <a:gd name="connsiteX15" fmla="*/ 29367 w 39271"/>
                  <a:gd name="connsiteY15" fmla="*/ 19515 h 39048"/>
                  <a:gd name="connsiteX16" fmla="*/ 26532 w 39271"/>
                  <a:gd name="connsiteY16" fmla="*/ 26304 h 39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71" h="39048">
                    <a:moveTo>
                      <a:pt x="19635" y="0"/>
                    </a:moveTo>
                    <a:cubicBezTo>
                      <a:pt x="14398" y="0"/>
                      <a:pt x="9471" y="2028"/>
                      <a:pt x="5759" y="5708"/>
                    </a:cubicBezTo>
                    <a:cubicBezTo>
                      <a:pt x="2040" y="9408"/>
                      <a:pt x="-7" y="14315"/>
                      <a:pt x="0" y="19540"/>
                    </a:cubicBezTo>
                    <a:cubicBezTo>
                      <a:pt x="0" y="24759"/>
                      <a:pt x="2053" y="29660"/>
                      <a:pt x="5765" y="33347"/>
                    </a:cubicBezTo>
                    <a:cubicBezTo>
                      <a:pt x="9471" y="37021"/>
                      <a:pt x="14398" y="39049"/>
                      <a:pt x="19629" y="39049"/>
                    </a:cubicBezTo>
                    <a:cubicBezTo>
                      <a:pt x="24867" y="39049"/>
                      <a:pt x="29800" y="37021"/>
                      <a:pt x="33512" y="33340"/>
                    </a:cubicBezTo>
                    <a:cubicBezTo>
                      <a:pt x="37224" y="29654"/>
                      <a:pt x="39271" y="24753"/>
                      <a:pt x="39271" y="19528"/>
                    </a:cubicBezTo>
                    <a:cubicBezTo>
                      <a:pt x="39271" y="14309"/>
                      <a:pt x="37231" y="9395"/>
                      <a:pt x="33512" y="5702"/>
                    </a:cubicBezTo>
                    <a:cubicBezTo>
                      <a:pt x="29793" y="2028"/>
                      <a:pt x="24867" y="0"/>
                      <a:pt x="19635" y="0"/>
                    </a:cubicBezTo>
                    <a:close/>
                    <a:moveTo>
                      <a:pt x="26532" y="26304"/>
                    </a:moveTo>
                    <a:cubicBezTo>
                      <a:pt x="22839" y="29959"/>
                      <a:pt x="16413" y="29959"/>
                      <a:pt x="12732" y="26310"/>
                    </a:cubicBezTo>
                    <a:cubicBezTo>
                      <a:pt x="10902" y="24498"/>
                      <a:pt x="9897" y="22089"/>
                      <a:pt x="9897" y="19528"/>
                    </a:cubicBezTo>
                    <a:cubicBezTo>
                      <a:pt x="9891" y="16966"/>
                      <a:pt x="10902" y="14550"/>
                      <a:pt x="12732" y="12732"/>
                    </a:cubicBezTo>
                    <a:cubicBezTo>
                      <a:pt x="14576" y="10908"/>
                      <a:pt x="17023" y="9897"/>
                      <a:pt x="19635" y="9897"/>
                    </a:cubicBezTo>
                    <a:cubicBezTo>
                      <a:pt x="22248" y="9897"/>
                      <a:pt x="24696" y="10902"/>
                      <a:pt x="26532" y="12726"/>
                    </a:cubicBezTo>
                    <a:cubicBezTo>
                      <a:pt x="28363" y="14544"/>
                      <a:pt x="29367" y="16953"/>
                      <a:pt x="29367" y="19515"/>
                    </a:cubicBezTo>
                    <a:cubicBezTo>
                      <a:pt x="29361" y="22083"/>
                      <a:pt x="28357" y="24498"/>
                      <a:pt x="26532" y="26304"/>
                    </a:cubicBezTo>
                    <a:close/>
                  </a:path>
                </a:pathLst>
              </a:custGeom>
              <a:solidFill>
                <a:schemeClr val="accent1"/>
              </a:solidFill>
              <a:ln w="635" cap="flat">
                <a:noFill/>
                <a:prstDash val="solid"/>
                <a:miter/>
              </a:ln>
            </p:spPr>
            <p:txBody>
              <a:bodyPr rtlCol="0" anchor="ctr"/>
              <a:lstStyle/>
              <a:p>
                <a:endParaRPr lang="en-GB" dirty="0"/>
              </a:p>
            </p:txBody>
          </p:sp>
          <p:sp>
            <p:nvSpPr>
              <p:cNvPr id="103" name="Freihandform: Form 102">
                <a:extLst>
                  <a:ext uri="{FF2B5EF4-FFF2-40B4-BE49-F238E27FC236}">
                    <a16:creationId xmlns:a16="http://schemas.microsoft.com/office/drawing/2014/main" id="{5BD398B6-E0A4-48CF-A9D5-67D10BD2319A}"/>
                  </a:ext>
                </a:extLst>
              </p:cNvPr>
              <p:cNvSpPr/>
              <p:nvPr/>
            </p:nvSpPr>
            <p:spPr>
              <a:xfrm>
                <a:off x="3773319" y="1879995"/>
                <a:ext cx="39271" cy="39042"/>
              </a:xfrm>
              <a:custGeom>
                <a:avLst/>
                <a:gdLst>
                  <a:gd name="connsiteX0" fmla="*/ 19642 w 39271"/>
                  <a:gd name="connsiteY0" fmla="*/ 0 h 39042"/>
                  <a:gd name="connsiteX1" fmla="*/ 5766 w 39271"/>
                  <a:gd name="connsiteY1" fmla="*/ 5702 h 39042"/>
                  <a:gd name="connsiteX2" fmla="*/ 0 w 39271"/>
                  <a:gd name="connsiteY2" fmla="*/ 19528 h 39042"/>
                  <a:gd name="connsiteX3" fmla="*/ 5766 w 39271"/>
                  <a:gd name="connsiteY3" fmla="*/ 33340 h 39042"/>
                  <a:gd name="connsiteX4" fmla="*/ 19629 w 39271"/>
                  <a:gd name="connsiteY4" fmla="*/ 39042 h 39042"/>
                  <a:gd name="connsiteX5" fmla="*/ 33506 w 39271"/>
                  <a:gd name="connsiteY5" fmla="*/ 33334 h 39042"/>
                  <a:gd name="connsiteX6" fmla="*/ 39271 w 39271"/>
                  <a:gd name="connsiteY6" fmla="*/ 19521 h 39042"/>
                  <a:gd name="connsiteX7" fmla="*/ 33512 w 39271"/>
                  <a:gd name="connsiteY7" fmla="*/ 5702 h 39042"/>
                  <a:gd name="connsiteX8" fmla="*/ 19642 w 39271"/>
                  <a:gd name="connsiteY8" fmla="*/ 0 h 39042"/>
                  <a:gd name="connsiteX9" fmla="*/ 26533 w 39271"/>
                  <a:gd name="connsiteY9" fmla="*/ 26310 h 39042"/>
                  <a:gd name="connsiteX10" fmla="*/ 12739 w 39271"/>
                  <a:gd name="connsiteY10" fmla="*/ 26316 h 39042"/>
                  <a:gd name="connsiteX11" fmla="*/ 9897 w 39271"/>
                  <a:gd name="connsiteY11" fmla="*/ 19534 h 39042"/>
                  <a:gd name="connsiteX12" fmla="*/ 12739 w 39271"/>
                  <a:gd name="connsiteY12" fmla="*/ 12739 h 39042"/>
                  <a:gd name="connsiteX13" fmla="*/ 19636 w 39271"/>
                  <a:gd name="connsiteY13" fmla="*/ 9910 h 39042"/>
                  <a:gd name="connsiteX14" fmla="*/ 26533 w 39271"/>
                  <a:gd name="connsiteY14" fmla="*/ 12739 h 39042"/>
                  <a:gd name="connsiteX15" fmla="*/ 29368 w 39271"/>
                  <a:gd name="connsiteY15" fmla="*/ 19528 h 39042"/>
                  <a:gd name="connsiteX16" fmla="*/ 26533 w 39271"/>
                  <a:gd name="connsiteY16" fmla="*/ 26310 h 39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9271" h="39042">
                    <a:moveTo>
                      <a:pt x="19642" y="0"/>
                    </a:moveTo>
                    <a:cubicBezTo>
                      <a:pt x="14404" y="0"/>
                      <a:pt x="9478" y="2028"/>
                      <a:pt x="5766" y="5702"/>
                    </a:cubicBezTo>
                    <a:cubicBezTo>
                      <a:pt x="2047" y="9395"/>
                      <a:pt x="0" y="14309"/>
                      <a:pt x="0" y="19528"/>
                    </a:cubicBezTo>
                    <a:cubicBezTo>
                      <a:pt x="0" y="24746"/>
                      <a:pt x="2053" y="29654"/>
                      <a:pt x="5766" y="33340"/>
                    </a:cubicBezTo>
                    <a:cubicBezTo>
                      <a:pt x="9471" y="37015"/>
                      <a:pt x="14398" y="39042"/>
                      <a:pt x="19629" y="39042"/>
                    </a:cubicBezTo>
                    <a:cubicBezTo>
                      <a:pt x="24867" y="39042"/>
                      <a:pt x="29800" y="37015"/>
                      <a:pt x="33506" y="33334"/>
                    </a:cubicBezTo>
                    <a:cubicBezTo>
                      <a:pt x="37224" y="29647"/>
                      <a:pt x="39271" y="24740"/>
                      <a:pt x="39271" y="19521"/>
                    </a:cubicBezTo>
                    <a:cubicBezTo>
                      <a:pt x="39278" y="14296"/>
                      <a:pt x="37224" y="9389"/>
                      <a:pt x="33512" y="5702"/>
                    </a:cubicBezTo>
                    <a:cubicBezTo>
                      <a:pt x="29806" y="2028"/>
                      <a:pt x="24873" y="0"/>
                      <a:pt x="19642" y="0"/>
                    </a:cubicBezTo>
                    <a:close/>
                    <a:moveTo>
                      <a:pt x="26533" y="26310"/>
                    </a:moveTo>
                    <a:cubicBezTo>
                      <a:pt x="22852" y="29965"/>
                      <a:pt x="16419" y="29965"/>
                      <a:pt x="12739" y="26316"/>
                    </a:cubicBezTo>
                    <a:cubicBezTo>
                      <a:pt x="10908" y="24498"/>
                      <a:pt x="9904" y="22089"/>
                      <a:pt x="9897" y="19534"/>
                    </a:cubicBezTo>
                    <a:cubicBezTo>
                      <a:pt x="9897" y="16972"/>
                      <a:pt x="10908" y="14557"/>
                      <a:pt x="12739" y="12739"/>
                    </a:cubicBezTo>
                    <a:cubicBezTo>
                      <a:pt x="14582" y="10914"/>
                      <a:pt x="17029" y="9910"/>
                      <a:pt x="19636" y="9910"/>
                    </a:cubicBezTo>
                    <a:cubicBezTo>
                      <a:pt x="22242" y="9910"/>
                      <a:pt x="24689" y="10914"/>
                      <a:pt x="26533" y="12739"/>
                    </a:cubicBezTo>
                    <a:cubicBezTo>
                      <a:pt x="28363" y="14557"/>
                      <a:pt x="29368" y="16966"/>
                      <a:pt x="29368" y="19528"/>
                    </a:cubicBezTo>
                    <a:cubicBezTo>
                      <a:pt x="29368" y="22083"/>
                      <a:pt x="28363" y="24492"/>
                      <a:pt x="26533" y="26310"/>
                    </a:cubicBezTo>
                    <a:close/>
                  </a:path>
                </a:pathLst>
              </a:custGeom>
              <a:solidFill>
                <a:schemeClr val="accent1"/>
              </a:solidFill>
              <a:ln w="635" cap="flat">
                <a:noFill/>
                <a:prstDash val="solid"/>
                <a:miter/>
              </a:ln>
            </p:spPr>
            <p:txBody>
              <a:bodyPr rtlCol="0" anchor="ctr"/>
              <a:lstStyle/>
              <a:p>
                <a:endParaRPr lang="en-GB" dirty="0"/>
              </a:p>
            </p:txBody>
          </p:sp>
        </p:grpSp>
      </p:grpSp>
      <p:grpSp>
        <p:nvGrpSpPr>
          <p:cNvPr id="104" name="Gruppieren 103">
            <a:extLst>
              <a:ext uri="{FF2B5EF4-FFF2-40B4-BE49-F238E27FC236}">
                <a16:creationId xmlns:a16="http://schemas.microsoft.com/office/drawing/2014/main" id="{16103378-7589-4BDE-B6FB-C04FAB360436}"/>
              </a:ext>
            </a:extLst>
          </p:cNvPr>
          <p:cNvGrpSpPr>
            <a:grpSpLocks noChangeAspect="1"/>
          </p:cNvGrpSpPr>
          <p:nvPr/>
        </p:nvGrpSpPr>
        <p:grpSpPr>
          <a:xfrm>
            <a:off x="2189180" y="2921470"/>
            <a:ext cx="343637" cy="324001"/>
            <a:chOff x="2180434" y="3015829"/>
            <a:chExt cx="346626" cy="326819"/>
          </a:xfrm>
        </p:grpSpPr>
        <p:sp>
          <p:nvSpPr>
            <p:cNvPr id="105" name="Freihandform: Form 104">
              <a:extLst>
                <a:ext uri="{FF2B5EF4-FFF2-40B4-BE49-F238E27FC236}">
                  <a16:creationId xmlns:a16="http://schemas.microsoft.com/office/drawing/2014/main" id="{2C1BABA4-38EA-40B7-86B5-5531C3CF25D0}"/>
                </a:ext>
              </a:extLst>
            </p:cNvPr>
            <p:cNvSpPr/>
            <p:nvPr/>
          </p:nvSpPr>
          <p:spPr>
            <a:xfrm>
              <a:off x="2180434" y="3134673"/>
              <a:ext cx="346626" cy="207975"/>
            </a:xfrm>
            <a:custGeom>
              <a:avLst/>
              <a:gdLst>
                <a:gd name="connsiteX0" fmla="*/ 301825 w 346626"/>
                <a:gd name="connsiteY0" fmla="*/ 0 h 207975"/>
                <a:gd name="connsiteX1" fmla="*/ 44801 w 346626"/>
                <a:gd name="connsiteY1" fmla="*/ 0 h 207975"/>
                <a:gd name="connsiteX2" fmla="*/ 0 w 346626"/>
                <a:gd name="connsiteY2" fmla="*/ 44566 h 207975"/>
                <a:gd name="connsiteX3" fmla="*/ 0 w 346626"/>
                <a:gd name="connsiteY3" fmla="*/ 163410 h 207975"/>
                <a:gd name="connsiteX4" fmla="*/ 44801 w 346626"/>
                <a:gd name="connsiteY4" fmla="*/ 207976 h 207975"/>
                <a:gd name="connsiteX5" fmla="*/ 301825 w 346626"/>
                <a:gd name="connsiteY5" fmla="*/ 207976 h 207975"/>
                <a:gd name="connsiteX6" fmla="*/ 346627 w 346626"/>
                <a:gd name="connsiteY6" fmla="*/ 163410 h 207975"/>
                <a:gd name="connsiteX7" fmla="*/ 346627 w 346626"/>
                <a:gd name="connsiteY7" fmla="*/ 44566 h 207975"/>
                <a:gd name="connsiteX8" fmla="*/ 301825 w 346626"/>
                <a:gd name="connsiteY8" fmla="*/ 0 h 207975"/>
                <a:gd name="connsiteX9" fmla="*/ 336723 w 346626"/>
                <a:gd name="connsiteY9" fmla="*/ 163410 h 207975"/>
                <a:gd name="connsiteX10" fmla="*/ 301825 w 346626"/>
                <a:gd name="connsiteY10" fmla="*/ 198072 h 207975"/>
                <a:gd name="connsiteX11" fmla="*/ 44801 w 346626"/>
                <a:gd name="connsiteY11" fmla="*/ 198072 h 207975"/>
                <a:gd name="connsiteX12" fmla="*/ 9904 w 346626"/>
                <a:gd name="connsiteY12" fmla="*/ 163410 h 207975"/>
                <a:gd name="connsiteX13" fmla="*/ 9904 w 346626"/>
                <a:gd name="connsiteY13" fmla="*/ 44566 h 207975"/>
                <a:gd name="connsiteX14" fmla="*/ 44801 w 346626"/>
                <a:gd name="connsiteY14" fmla="*/ 9904 h 207975"/>
                <a:gd name="connsiteX15" fmla="*/ 301825 w 346626"/>
                <a:gd name="connsiteY15" fmla="*/ 9904 h 207975"/>
                <a:gd name="connsiteX16" fmla="*/ 336723 w 346626"/>
                <a:gd name="connsiteY16" fmla="*/ 44566 h 207975"/>
                <a:gd name="connsiteX17" fmla="*/ 336723 w 346626"/>
                <a:gd name="connsiteY17" fmla="*/ 163410 h 207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46626" h="207975">
                  <a:moveTo>
                    <a:pt x="301825" y="0"/>
                  </a:moveTo>
                  <a:lnTo>
                    <a:pt x="44801" y="0"/>
                  </a:lnTo>
                  <a:cubicBezTo>
                    <a:pt x="20100" y="0"/>
                    <a:pt x="0" y="19992"/>
                    <a:pt x="0" y="44566"/>
                  </a:cubicBezTo>
                  <a:lnTo>
                    <a:pt x="0" y="163410"/>
                  </a:lnTo>
                  <a:cubicBezTo>
                    <a:pt x="0" y="187984"/>
                    <a:pt x="20100" y="207976"/>
                    <a:pt x="44801" y="207976"/>
                  </a:cubicBezTo>
                  <a:lnTo>
                    <a:pt x="301825" y="207976"/>
                  </a:lnTo>
                  <a:cubicBezTo>
                    <a:pt x="326527" y="207976"/>
                    <a:pt x="346627" y="187984"/>
                    <a:pt x="346627" y="163410"/>
                  </a:cubicBezTo>
                  <a:lnTo>
                    <a:pt x="346627" y="44566"/>
                  </a:lnTo>
                  <a:cubicBezTo>
                    <a:pt x="346627" y="19992"/>
                    <a:pt x="326527" y="0"/>
                    <a:pt x="301825" y="0"/>
                  </a:cubicBezTo>
                  <a:close/>
                  <a:moveTo>
                    <a:pt x="336723" y="163410"/>
                  </a:moveTo>
                  <a:cubicBezTo>
                    <a:pt x="336723" y="182524"/>
                    <a:pt x="321067" y="198072"/>
                    <a:pt x="301825" y="198072"/>
                  </a:cubicBezTo>
                  <a:lnTo>
                    <a:pt x="44801" y="198072"/>
                  </a:lnTo>
                  <a:cubicBezTo>
                    <a:pt x="25560" y="198072"/>
                    <a:pt x="9904" y="182518"/>
                    <a:pt x="9904" y="163410"/>
                  </a:cubicBezTo>
                  <a:lnTo>
                    <a:pt x="9904" y="44566"/>
                  </a:lnTo>
                  <a:cubicBezTo>
                    <a:pt x="9904" y="25452"/>
                    <a:pt x="25560" y="9904"/>
                    <a:pt x="44801" y="9904"/>
                  </a:cubicBezTo>
                  <a:lnTo>
                    <a:pt x="301825" y="9904"/>
                  </a:lnTo>
                  <a:cubicBezTo>
                    <a:pt x="321067" y="9904"/>
                    <a:pt x="336723" y="25452"/>
                    <a:pt x="336723" y="44566"/>
                  </a:cubicBezTo>
                  <a:lnTo>
                    <a:pt x="336723" y="163410"/>
                  </a:lnTo>
                  <a:close/>
                </a:path>
              </a:pathLst>
            </a:custGeom>
            <a:solidFill>
              <a:schemeClr val="tx2"/>
            </a:solidFill>
            <a:ln w="635" cap="flat">
              <a:noFill/>
              <a:prstDash val="solid"/>
              <a:miter/>
            </a:ln>
          </p:spPr>
          <p:txBody>
            <a:bodyPr rtlCol="0" anchor="ctr"/>
            <a:lstStyle/>
            <a:p>
              <a:endParaRPr lang="en-GB" dirty="0"/>
            </a:p>
          </p:txBody>
        </p:sp>
        <p:grpSp>
          <p:nvGrpSpPr>
            <p:cNvPr id="106" name="Gruppieren 105">
              <a:extLst>
                <a:ext uri="{FF2B5EF4-FFF2-40B4-BE49-F238E27FC236}">
                  <a16:creationId xmlns:a16="http://schemas.microsoft.com/office/drawing/2014/main" id="{A9CB8147-978D-4F53-823D-AAA55338155A}"/>
                </a:ext>
              </a:extLst>
            </p:cNvPr>
            <p:cNvGrpSpPr/>
            <p:nvPr/>
          </p:nvGrpSpPr>
          <p:grpSpPr>
            <a:xfrm>
              <a:off x="2268992" y="3015829"/>
              <a:ext cx="223210" cy="307781"/>
              <a:chOff x="2268992" y="3015829"/>
              <a:chExt cx="223210" cy="307781"/>
            </a:xfrm>
          </p:grpSpPr>
          <p:sp>
            <p:nvSpPr>
              <p:cNvPr id="107" name="Freihandform: Form 106">
                <a:extLst>
                  <a:ext uri="{FF2B5EF4-FFF2-40B4-BE49-F238E27FC236}">
                    <a16:creationId xmlns:a16="http://schemas.microsoft.com/office/drawing/2014/main" id="{C096D8DC-44DE-48C9-8A91-09A40848A868}"/>
                  </a:ext>
                </a:extLst>
              </p:cNvPr>
              <p:cNvSpPr/>
              <p:nvPr/>
            </p:nvSpPr>
            <p:spPr>
              <a:xfrm>
                <a:off x="2268992" y="3154098"/>
                <a:ext cx="169505" cy="169512"/>
              </a:xfrm>
              <a:custGeom>
                <a:avLst/>
                <a:gdLst>
                  <a:gd name="connsiteX0" fmla="*/ 84753 w 169505"/>
                  <a:gd name="connsiteY0" fmla="*/ 0 h 169512"/>
                  <a:gd name="connsiteX1" fmla="*/ 0 w 169505"/>
                  <a:gd name="connsiteY1" fmla="*/ 84753 h 169512"/>
                  <a:gd name="connsiteX2" fmla="*/ 84753 w 169505"/>
                  <a:gd name="connsiteY2" fmla="*/ 169512 h 169512"/>
                  <a:gd name="connsiteX3" fmla="*/ 169506 w 169505"/>
                  <a:gd name="connsiteY3" fmla="*/ 84753 h 169512"/>
                  <a:gd name="connsiteX4" fmla="*/ 84753 w 169505"/>
                  <a:gd name="connsiteY4" fmla="*/ 0 h 169512"/>
                  <a:gd name="connsiteX5" fmla="*/ 84753 w 169505"/>
                  <a:gd name="connsiteY5" fmla="*/ 159609 h 169512"/>
                  <a:gd name="connsiteX6" fmla="*/ 9904 w 169505"/>
                  <a:gd name="connsiteY6" fmla="*/ 84753 h 169512"/>
                  <a:gd name="connsiteX7" fmla="*/ 84753 w 169505"/>
                  <a:gd name="connsiteY7" fmla="*/ 9904 h 169512"/>
                  <a:gd name="connsiteX8" fmla="*/ 159602 w 169505"/>
                  <a:gd name="connsiteY8" fmla="*/ 84753 h 169512"/>
                  <a:gd name="connsiteX9" fmla="*/ 84753 w 169505"/>
                  <a:gd name="connsiteY9" fmla="*/ 159609 h 16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505" h="169512">
                    <a:moveTo>
                      <a:pt x="84753" y="0"/>
                    </a:moveTo>
                    <a:cubicBezTo>
                      <a:pt x="38019" y="0"/>
                      <a:pt x="0" y="38019"/>
                      <a:pt x="0" y="84753"/>
                    </a:cubicBezTo>
                    <a:cubicBezTo>
                      <a:pt x="0" y="131487"/>
                      <a:pt x="38019" y="169512"/>
                      <a:pt x="84753" y="169512"/>
                    </a:cubicBezTo>
                    <a:cubicBezTo>
                      <a:pt x="131487" y="169512"/>
                      <a:pt x="169506" y="131493"/>
                      <a:pt x="169506" y="84753"/>
                    </a:cubicBezTo>
                    <a:cubicBezTo>
                      <a:pt x="169506" y="38019"/>
                      <a:pt x="131480" y="0"/>
                      <a:pt x="84753" y="0"/>
                    </a:cubicBezTo>
                    <a:close/>
                    <a:moveTo>
                      <a:pt x="84753" y="159609"/>
                    </a:moveTo>
                    <a:cubicBezTo>
                      <a:pt x="43486" y="159609"/>
                      <a:pt x="9904" y="126026"/>
                      <a:pt x="9904" y="84753"/>
                    </a:cubicBezTo>
                    <a:cubicBezTo>
                      <a:pt x="9904" y="43479"/>
                      <a:pt x="43479" y="9904"/>
                      <a:pt x="84753" y="9904"/>
                    </a:cubicBezTo>
                    <a:cubicBezTo>
                      <a:pt x="126026" y="9904"/>
                      <a:pt x="159602" y="43479"/>
                      <a:pt x="159602" y="84753"/>
                    </a:cubicBezTo>
                    <a:cubicBezTo>
                      <a:pt x="159602" y="126026"/>
                      <a:pt x="126020" y="159609"/>
                      <a:pt x="84753" y="159609"/>
                    </a:cubicBezTo>
                    <a:close/>
                  </a:path>
                </a:pathLst>
              </a:custGeom>
              <a:solidFill>
                <a:schemeClr val="accent1"/>
              </a:solidFill>
              <a:ln w="635" cap="flat">
                <a:noFill/>
                <a:prstDash val="solid"/>
                <a:miter/>
              </a:ln>
            </p:spPr>
            <p:txBody>
              <a:bodyPr rtlCol="0" anchor="ctr"/>
              <a:lstStyle/>
              <a:p>
                <a:endParaRPr lang="en-GB" dirty="0"/>
              </a:p>
            </p:txBody>
          </p:sp>
          <p:sp>
            <p:nvSpPr>
              <p:cNvPr id="108" name="Freihandform: Form 107">
                <a:extLst>
                  <a:ext uri="{FF2B5EF4-FFF2-40B4-BE49-F238E27FC236}">
                    <a16:creationId xmlns:a16="http://schemas.microsoft.com/office/drawing/2014/main" id="{1DFE4132-4598-44D3-BF6F-6BA7E20AC4F9}"/>
                  </a:ext>
                </a:extLst>
              </p:cNvPr>
              <p:cNvSpPr/>
              <p:nvPr/>
            </p:nvSpPr>
            <p:spPr>
              <a:xfrm>
                <a:off x="2296142" y="3181241"/>
                <a:ext cx="115213" cy="115220"/>
              </a:xfrm>
              <a:custGeom>
                <a:avLst/>
                <a:gdLst>
                  <a:gd name="connsiteX0" fmla="*/ 57604 w 115213"/>
                  <a:gd name="connsiteY0" fmla="*/ 0 h 115220"/>
                  <a:gd name="connsiteX1" fmla="*/ 0 w 115213"/>
                  <a:gd name="connsiteY1" fmla="*/ 57610 h 115220"/>
                  <a:gd name="connsiteX2" fmla="*/ 57604 w 115213"/>
                  <a:gd name="connsiteY2" fmla="*/ 115220 h 115220"/>
                  <a:gd name="connsiteX3" fmla="*/ 115214 w 115213"/>
                  <a:gd name="connsiteY3" fmla="*/ 57610 h 115220"/>
                  <a:gd name="connsiteX4" fmla="*/ 57604 w 115213"/>
                  <a:gd name="connsiteY4" fmla="*/ 0 h 115220"/>
                  <a:gd name="connsiteX5" fmla="*/ 57604 w 115213"/>
                  <a:gd name="connsiteY5" fmla="*/ 105317 h 115220"/>
                  <a:gd name="connsiteX6" fmla="*/ 9904 w 115213"/>
                  <a:gd name="connsiteY6" fmla="*/ 57610 h 115220"/>
                  <a:gd name="connsiteX7" fmla="*/ 57604 w 115213"/>
                  <a:gd name="connsiteY7" fmla="*/ 9910 h 115220"/>
                  <a:gd name="connsiteX8" fmla="*/ 105310 w 115213"/>
                  <a:gd name="connsiteY8" fmla="*/ 57610 h 115220"/>
                  <a:gd name="connsiteX9" fmla="*/ 57604 w 115213"/>
                  <a:gd name="connsiteY9" fmla="*/ 105317 h 11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213" h="115220">
                    <a:moveTo>
                      <a:pt x="57604" y="0"/>
                    </a:moveTo>
                    <a:cubicBezTo>
                      <a:pt x="25840" y="0"/>
                      <a:pt x="0" y="25840"/>
                      <a:pt x="0" y="57610"/>
                    </a:cubicBezTo>
                    <a:cubicBezTo>
                      <a:pt x="0" y="89380"/>
                      <a:pt x="25840" y="115220"/>
                      <a:pt x="57604" y="115220"/>
                    </a:cubicBezTo>
                    <a:cubicBezTo>
                      <a:pt x="89374" y="115220"/>
                      <a:pt x="115214" y="89380"/>
                      <a:pt x="115214" y="57610"/>
                    </a:cubicBezTo>
                    <a:cubicBezTo>
                      <a:pt x="115214" y="25846"/>
                      <a:pt x="89368" y="0"/>
                      <a:pt x="57604" y="0"/>
                    </a:cubicBezTo>
                    <a:close/>
                    <a:moveTo>
                      <a:pt x="57604" y="105317"/>
                    </a:moveTo>
                    <a:cubicBezTo>
                      <a:pt x="31300" y="105317"/>
                      <a:pt x="9904" y="83914"/>
                      <a:pt x="9904" y="57610"/>
                    </a:cubicBezTo>
                    <a:cubicBezTo>
                      <a:pt x="9904" y="31306"/>
                      <a:pt x="31300" y="9910"/>
                      <a:pt x="57604" y="9910"/>
                    </a:cubicBezTo>
                    <a:cubicBezTo>
                      <a:pt x="83907" y="9910"/>
                      <a:pt x="105310" y="31313"/>
                      <a:pt x="105310" y="57610"/>
                    </a:cubicBezTo>
                    <a:cubicBezTo>
                      <a:pt x="105310" y="83914"/>
                      <a:pt x="83907" y="105317"/>
                      <a:pt x="57604" y="105317"/>
                    </a:cubicBezTo>
                    <a:close/>
                  </a:path>
                </a:pathLst>
              </a:custGeom>
              <a:solidFill>
                <a:schemeClr val="accent1"/>
              </a:solidFill>
              <a:ln w="635" cap="flat">
                <a:noFill/>
                <a:prstDash val="solid"/>
                <a:miter/>
              </a:ln>
            </p:spPr>
            <p:txBody>
              <a:bodyPr rtlCol="0" anchor="ctr"/>
              <a:lstStyle/>
              <a:p>
                <a:endParaRPr lang="en-GB" dirty="0"/>
              </a:p>
            </p:txBody>
          </p:sp>
          <p:sp>
            <p:nvSpPr>
              <p:cNvPr id="109" name="Freihandform: Form 108">
                <a:extLst>
                  <a:ext uri="{FF2B5EF4-FFF2-40B4-BE49-F238E27FC236}">
                    <a16:creationId xmlns:a16="http://schemas.microsoft.com/office/drawing/2014/main" id="{0FDA554F-BF5E-4148-AF15-ABD127CB2A73}"/>
                  </a:ext>
                </a:extLst>
              </p:cNvPr>
              <p:cNvSpPr/>
              <p:nvPr/>
            </p:nvSpPr>
            <p:spPr>
              <a:xfrm>
                <a:off x="2458477" y="3169329"/>
                <a:ext cx="33725" cy="33734"/>
              </a:xfrm>
              <a:custGeom>
                <a:avLst/>
                <a:gdLst>
                  <a:gd name="connsiteX0" fmla="*/ 16871 w 33725"/>
                  <a:gd name="connsiteY0" fmla="*/ 0 h 33734"/>
                  <a:gd name="connsiteX1" fmla="*/ 4945 w 33725"/>
                  <a:gd name="connsiteY1" fmla="*/ 4939 h 33734"/>
                  <a:gd name="connsiteX2" fmla="*/ 0 w 33725"/>
                  <a:gd name="connsiteY2" fmla="*/ 16864 h 33734"/>
                  <a:gd name="connsiteX3" fmla="*/ 4945 w 33725"/>
                  <a:gd name="connsiteY3" fmla="*/ 28795 h 33734"/>
                  <a:gd name="connsiteX4" fmla="*/ 16864 w 33725"/>
                  <a:gd name="connsiteY4" fmla="*/ 33734 h 33734"/>
                  <a:gd name="connsiteX5" fmla="*/ 28796 w 33725"/>
                  <a:gd name="connsiteY5" fmla="*/ 28795 h 33734"/>
                  <a:gd name="connsiteX6" fmla="*/ 28796 w 33725"/>
                  <a:gd name="connsiteY6" fmla="*/ 4945 h 33734"/>
                  <a:gd name="connsiteX7" fmla="*/ 16871 w 33725"/>
                  <a:gd name="connsiteY7" fmla="*/ 0 h 33734"/>
                  <a:gd name="connsiteX8" fmla="*/ 21797 w 33725"/>
                  <a:gd name="connsiteY8" fmla="*/ 21784 h 33734"/>
                  <a:gd name="connsiteX9" fmla="*/ 11950 w 33725"/>
                  <a:gd name="connsiteY9" fmla="*/ 21797 h 33734"/>
                  <a:gd name="connsiteX10" fmla="*/ 9904 w 33725"/>
                  <a:gd name="connsiteY10" fmla="*/ 16870 h 33734"/>
                  <a:gd name="connsiteX11" fmla="*/ 11950 w 33725"/>
                  <a:gd name="connsiteY11" fmla="*/ 11944 h 33734"/>
                  <a:gd name="connsiteX12" fmla="*/ 16871 w 33725"/>
                  <a:gd name="connsiteY12" fmla="*/ 9904 h 33734"/>
                  <a:gd name="connsiteX13" fmla="*/ 21791 w 33725"/>
                  <a:gd name="connsiteY13" fmla="*/ 11944 h 33734"/>
                  <a:gd name="connsiteX14" fmla="*/ 21797 w 33725"/>
                  <a:gd name="connsiteY14" fmla="*/ 21784 h 33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725" h="33734">
                    <a:moveTo>
                      <a:pt x="16871" y="0"/>
                    </a:moveTo>
                    <a:cubicBezTo>
                      <a:pt x="12370" y="0"/>
                      <a:pt x="8130" y="1754"/>
                      <a:pt x="4945" y="4939"/>
                    </a:cubicBezTo>
                    <a:cubicBezTo>
                      <a:pt x="1754" y="8124"/>
                      <a:pt x="6" y="12357"/>
                      <a:pt x="0" y="16864"/>
                    </a:cubicBezTo>
                    <a:cubicBezTo>
                      <a:pt x="0" y="21371"/>
                      <a:pt x="1754" y="25611"/>
                      <a:pt x="4945" y="28795"/>
                    </a:cubicBezTo>
                    <a:cubicBezTo>
                      <a:pt x="8130" y="31980"/>
                      <a:pt x="12364" y="33734"/>
                      <a:pt x="16864" y="33734"/>
                    </a:cubicBezTo>
                    <a:cubicBezTo>
                      <a:pt x="21365" y="33734"/>
                      <a:pt x="25605" y="31980"/>
                      <a:pt x="28796" y="28795"/>
                    </a:cubicBezTo>
                    <a:cubicBezTo>
                      <a:pt x="35368" y="22216"/>
                      <a:pt x="35368" y="11524"/>
                      <a:pt x="28796" y="4945"/>
                    </a:cubicBezTo>
                    <a:cubicBezTo>
                      <a:pt x="25611" y="1754"/>
                      <a:pt x="21371" y="0"/>
                      <a:pt x="16871" y="0"/>
                    </a:cubicBezTo>
                    <a:close/>
                    <a:moveTo>
                      <a:pt x="21797" y="21784"/>
                    </a:moveTo>
                    <a:cubicBezTo>
                      <a:pt x="19159" y="24422"/>
                      <a:pt x="14576" y="24422"/>
                      <a:pt x="11950" y="21797"/>
                    </a:cubicBezTo>
                    <a:cubicBezTo>
                      <a:pt x="10635" y="20481"/>
                      <a:pt x="9904" y="18733"/>
                      <a:pt x="9904" y="16870"/>
                    </a:cubicBezTo>
                    <a:cubicBezTo>
                      <a:pt x="9904" y="15008"/>
                      <a:pt x="10628" y="13260"/>
                      <a:pt x="11950" y="11944"/>
                    </a:cubicBezTo>
                    <a:cubicBezTo>
                      <a:pt x="13266" y="10628"/>
                      <a:pt x="15014" y="9904"/>
                      <a:pt x="16871" y="9904"/>
                    </a:cubicBezTo>
                    <a:cubicBezTo>
                      <a:pt x="18727" y="9904"/>
                      <a:pt x="20481" y="10628"/>
                      <a:pt x="21791" y="11944"/>
                    </a:cubicBezTo>
                    <a:cubicBezTo>
                      <a:pt x="24505" y="14658"/>
                      <a:pt x="24505" y="19076"/>
                      <a:pt x="21797" y="21784"/>
                    </a:cubicBezTo>
                    <a:close/>
                  </a:path>
                </a:pathLst>
              </a:custGeom>
              <a:solidFill>
                <a:schemeClr val="accent1"/>
              </a:solidFill>
              <a:ln w="635" cap="flat">
                <a:noFill/>
                <a:prstDash val="solid"/>
                <a:miter/>
              </a:ln>
            </p:spPr>
            <p:txBody>
              <a:bodyPr rtlCol="0" anchor="ctr"/>
              <a:lstStyle/>
              <a:p>
                <a:endParaRPr lang="en-GB" dirty="0"/>
              </a:p>
            </p:txBody>
          </p:sp>
          <p:sp>
            <p:nvSpPr>
              <p:cNvPr id="110" name="Freihandform: Form 109">
                <a:extLst>
                  <a:ext uri="{FF2B5EF4-FFF2-40B4-BE49-F238E27FC236}">
                    <a16:creationId xmlns:a16="http://schemas.microsoft.com/office/drawing/2014/main" id="{09DC71ED-92D8-4ABF-B904-1FEFA25FB259}"/>
                  </a:ext>
                </a:extLst>
              </p:cNvPr>
              <p:cNvSpPr/>
              <p:nvPr/>
            </p:nvSpPr>
            <p:spPr>
              <a:xfrm>
                <a:off x="2276169" y="3015829"/>
                <a:ext cx="155152" cy="95737"/>
              </a:xfrm>
              <a:custGeom>
                <a:avLst/>
                <a:gdLst>
                  <a:gd name="connsiteX0" fmla="*/ 24581 w 155152"/>
                  <a:gd name="connsiteY0" fmla="*/ 95737 h 95737"/>
                  <a:gd name="connsiteX1" fmla="*/ 130578 w 155152"/>
                  <a:gd name="connsiteY1" fmla="*/ 95737 h 95737"/>
                  <a:gd name="connsiteX2" fmla="*/ 147950 w 155152"/>
                  <a:gd name="connsiteY2" fmla="*/ 88579 h 95737"/>
                  <a:gd name="connsiteX3" fmla="*/ 155153 w 155152"/>
                  <a:gd name="connsiteY3" fmla="*/ 71277 h 95737"/>
                  <a:gd name="connsiteX4" fmla="*/ 155153 w 155152"/>
                  <a:gd name="connsiteY4" fmla="*/ 24460 h 95737"/>
                  <a:gd name="connsiteX5" fmla="*/ 147944 w 155152"/>
                  <a:gd name="connsiteY5" fmla="*/ 7151 h 95737"/>
                  <a:gd name="connsiteX6" fmla="*/ 130578 w 155152"/>
                  <a:gd name="connsiteY6" fmla="*/ 0 h 95737"/>
                  <a:gd name="connsiteX7" fmla="*/ 24581 w 155152"/>
                  <a:gd name="connsiteY7" fmla="*/ 0 h 95737"/>
                  <a:gd name="connsiteX8" fmla="*/ 7208 w 155152"/>
                  <a:gd name="connsiteY8" fmla="*/ 7151 h 95737"/>
                  <a:gd name="connsiteX9" fmla="*/ 0 w 155152"/>
                  <a:gd name="connsiteY9" fmla="*/ 24454 h 95737"/>
                  <a:gd name="connsiteX10" fmla="*/ 0 w 155152"/>
                  <a:gd name="connsiteY10" fmla="*/ 71270 h 95737"/>
                  <a:gd name="connsiteX11" fmla="*/ 7215 w 155152"/>
                  <a:gd name="connsiteY11" fmla="*/ 88579 h 95737"/>
                  <a:gd name="connsiteX12" fmla="*/ 24581 w 155152"/>
                  <a:gd name="connsiteY12" fmla="*/ 95737 h 95737"/>
                  <a:gd name="connsiteX13" fmla="*/ 9904 w 155152"/>
                  <a:gd name="connsiteY13" fmla="*/ 24460 h 95737"/>
                  <a:gd name="connsiteX14" fmla="*/ 14194 w 155152"/>
                  <a:gd name="connsiteY14" fmla="*/ 14182 h 95737"/>
                  <a:gd name="connsiteX15" fmla="*/ 24588 w 155152"/>
                  <a:gd name="connsiteY15" fmla="*/ 9910 h 95737"/>
                  <a:gd name="connsiteX16" fmla="*/ 130584 w 155152"/>
                  <a:gd name="connsiteY16" fmla="*/ 9910 h 95737"/>
                  <a:gd name="connsiteX17" fmla="*/ 140971 w 155152"/>
                  <a:gd name="connsiteY17" fmla="*/ 14182 h 95737"/>
                  <a:gd name="connsiteX18" fmla="*/ 145255 w 155152"/>
                  <a:gd name="connsiteY18" fmla="*/ 24467 h 95737"/>
                  <a:gd name="connsiteX19" fmla="*/ 145255 w 155152"/>
                  <a:gd name="connsiteY19" fmla="*/ 71283 h 95737"/>
                  <a:gd name="connsiteX20" fmla="*/ 140971 w 155152"/>
                  <a:gd name="connsiteY20" fmla="*/ 81562 h 95737"/>
                  <a:gd name="connsiteX21" fmla="*/ 130578 w 155152"/>
                  <a:gd name="connsiteY21" fmla="*/ 85840 h 95737"/>
                  <a:gd name="connsiteX22" fmla="*/ 24581 w 155152"/>
                  <a:gd name="connsiteY22" fmla="*/ 85840 h 95737"/>
                  <a:gd name="connsiteX23" fmla="*/ 14194 w 155152"/>
                  <a:gd name="connsiteY23" fmla="*/ 81568 h 95737"/>
                  <a:gd name="connsiteX24" fmla="*/ 9904 w 155152"/>
                  <a:gd name="connsiteY24" fmla="*/ 71283 h 95737"/>
                  <a:gd name="connsiteX25" fmla="*/ 9904 w 155152"/>
                  <a:gd name="connsiteY25" fmla="*/ 24460 h 9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5152" h="95737">
                    <a:moveTo>
                      <a:pt x="24581" y="95737"/>
                    </a:moveTo>
                    <a:lnTo>
                      <a:pt x="130578" y="95737"/>
                    </a:lnTo>
                    <a:cubicBezTo>
                      <a:pt x="137131" y="95737"/>
                      <a:pt x="143304" y="93194"/>
                      <a:pt x="147950" y="88579"/>
                    </a:cubicBezTo>
                    <a:cubicBezTo>
                      <a:pt x="152597" y="83958"/>
                      <a:pt x="155153" y="77811"/>
                      <a:pt x="155153" y="71277"/>
                    </a:cubicBezTo>
                    <a:lnTo>
                      <a:pt x="155153" y="24460"/>
                    </a:lnTo>
                    <a:cubicBezTo>
                      <a:pt x="155153" y="17926"/>
                      <a:pt x="152591" y="11779"/>
                      <a:pt x="147944" y="7151"/>
                    </a:cubicBezTo>
                    <a:cubicBezTo>
                      <a:pt x="143304" y="2543"/>
                      <a:pt x="137131" y="0"/>
                      <a:pt x="130578" y="0"/>
                    </a:cubicBezTo>
                    <a:lnTo>
                      <a:pt x="24581" y="0"/>
                    </a:lnTo>
                    <a:cubicBezTo>
                      <a:pt x="18021" y="0"/>
                      <a:pt x="11855" y="2536"/>
                      <a:pt x="7208" y="7151"/>
                    </a:cubicBezTo>
                    <a:cubicBezTo>
                      <a:pt x="2555" y="11779"/>
                      <a:pt x="0" y="17919"/>
                      <a:pt x="0" y="24454"/>
                    </a:cubicBezTo>
                    <a:lnTo>
                      <a:pt x="0" y="71270"/>
                    </a:lnTo>
                    <a:cubicBezTo>
                      <a:pt x="0" y="77805"/>
                      <a:pt x="2562" y="83952"/>
                      <a:pt x="7215" y="88579"/>
                    </a:cubicBezTo>
                    <a:cubicBezTo>
                      <a:pt x="11855" y="93194"/>
                      <a:pt x="18027" y="95737"/>
                      <a:pt x="24581" y="95737"/>
                    </a:cubicBezTo>
                    <a:close/>
                    <a:moveTo>
                      <a:pt x="9904" y="24460"/>
                    </a:moveTo>
                    <a:cubicBezTo>
                      <a:pt x="9904" y="20583"/>
                      <a:pt x="11429" y="16928"/>
                      <a:pt x="14194" y="14182"/>
                    </a:cubicBezTo>
                    <a:cubicBezTo>
                      <a:pt x="16972" y="11423"/>
                      <a:pt x="20659" y="9910"/>
                      <a:pt x="24588" y="9910"/>
                    </a:cubicBezTo>
                    <a:lnTo>
                      <a:pt x="130584" y="9910"/>
                    </a:lnTo>
                    <a:cubicBezTo>
                      <a:pt x="134513" y="9910"/>
                      <a:pt x="138199" y="11429"/>
                      <a:pt x="140971" y="14182"/>
                    </a:cubicBezTo>
                    <a:cubicBezTo>
                      <a:pt x="143736" y="16934"/>
                      <a:pt x="145255" y="20583"/>
                      <a:pt x="145255" y="24467"/>
                    </a:cubicBezTo>
                    <a:lnTo>
                      <a:pt x="145255" y="71283"/>
                    </a:lnTo>
                    <a:cubicBezTo>
                      <a:pt x="145255" y="75167"/>
                      <a:pt x="143736" y="78816"/>
                      <a:pt x="140971" y="81562"/>
                    </a:cubicBezTo>
                    <a:cubicBezTo>
                      <a:pt x="138193" y="84321"/>
                      <a:pt x="134506" y="85840"/>
                      <a:pt x="130578" y="85840"/>
                    </a:cubicBezTo>
                    <a:lnTo>
                      <a:pt x="24581" y="85840"/>
                    </a:lnTo>
                    <a:cubicBezTo>
                      <a:pt x="20659" y="85840"/>
                      <a:pt x="16966" y="84321"/>
                      <a:pt x="14194" y="81568"/>
                    </a:cubicBezTo>
                    <a:cubicBezTo>
                      <a:pt x="11429" y="78816"/>
                      <a:pt x="9904" y="75167"/>
                      <a:pt x="9904" y="71283"/>
                    </a:cubicBezTo>
                    <a:lnTo>
                      <a:pt x="9904" y="24460"/>
                    </a:lnTo>
                    <a:close/>
                  </a:path>
                </a:pathLst>
              </a:custGeom>
              <a:solidFill>
                <a:schemeClr val="accent1"/>
              </a:solidFill>
              <a:ln w="635" cap="flat">
                <a:noFill/>
                <a:prstDash val="solid"/>
                <a:miter/>
              </a:ln>
            </p:spPr>
            <p:txBody>
              <a:bodyPr rtlCol="0" anchor="ctr"/>
              <a:lstStyle/>
              <a:p>
                <a:endParaRPr lang="en-GB" dirty="0"/>
              </a:p>
            </p:txBody>
          </p:sp>
        </p:grpSp>
      </p:grpSp>
      <p:grpSp>
        <p:nvGrpSpPr>
          <p:cNvPr id="111" name="Gruppieren 110">
            <a:extLst>
              <a:ext uri="{FF2B5EF4-FFF2-40B4-BE49-F238E27FC236}">
                <a16:creationId xmlns:a16="http://schemas.microsoft.com/office/drawing/2014/main" id="{A2E82575-FDD9-4051-B3DF-041579E69BB5}"/>
              </a:ext>
            </a:extLst>
          </p:cNvPr>
          <p:cNvGrpSpPr>
            <a:grpSpLocks noChangeAspect="1"/>
          </p:cNvGrpSpPr>
          <p:nvPr/>
        </p:nvGrpSpPr>
        <p:grpSpPr>
          <a:xfrm>
            <a:off x="3037332" y="2274290"/>
            <a:ext cx="310354" cy="324000"/>
            <a:chOff x="2903331" y="2357743"/>
            <a:chExt cx="300407" cy="313612"/>
          </a:xfrm>
        </p:grpSpPr>
        <p:sp>
          <p:nvSpPr>
            <p:cNvPr id="112" name="Freihandform: Form 111">
              <a:extLst>
                <a:ext uri="{FF2B5EF4-FFF2-40B4-BE49-F238E27FC236}">
                  <a16:creationId xmlns:a16="http://schemas.microsoft.com/office/drawing/2014/main" id="{DABA8C01-2679-4835-BF10-D5B40EDB0050}"/>
                </a:ext>
              </a:extLst>
            </p:cNvPr>
            <p:cNvSpPr/>
            <p:nvPr/>
          </p:nvSpPr>
          <p:spPr>
            <a:xfrm>
              <a:off x="2903331" y="2357743"/>
              <a:ext cx="300407" cy="313612"/>
            </a:xfrm>
            <a:custGeom>
              <a:avLst/>
              <a:gdLst>
                <a:gd name="connsiteX0" fmla="*/ 261086 w 300407"/>
                <a:gd name="connsiteY0" fmla="*/ 0 h 313616"/>
                <a:gd name="connsiteX1" fmla="*/ 39328 w 300407"/>
                <a:gd name="connsiteY1" fmla="*/ 0 h 313616"/>
                <a:gd name="connsiteX2" fmla="*/ 0 w 300407"/>
                <a:gd name="connsiteY2" fmla="*/ 39214 h 313616"/>
                <a:gd name="connsiteX3" fmla="*/ 0 w 300407"/>
                <a:gd name="connsiteY3" fmla="*/ 274403 h 313616"/>
                <a:gd name="connsiteX4" fmla="*/ 39328 w 300407"/>
                <a:gd name="connsiteY4" fmla="*/ 313617 h 313616"/>
                <a:gd name="connsiteX5" fmla="*/ 261086 w 300407"/>
                <a:gd name="connsiteY5" fmla="*/ 313617 h 313616"/>
                <a:gd name="connsiteX6" fmla="*/ 300408 w 300407"/>
                <a:gd name="connsiteY6" fmla="*/ 274403 h 313616"/>
                <a:gd name="connsiteX7" fmla="*/ 300408 w 300407"/>
                <a:gd name="connsiteY7" fmla="*/ 39214 h 313616"/>
                <a:gd name="connsiteX8" fmla="*/ 261086 w 300407"/>
                <a:gd name="connsiteY8" fmla="*/ 0 h 313616"/>
                <a:gd name="connsiteX9" fmla="*/ 39322 w 300407"/>
                <a:gd name="connsiteY9" fmla="*/ 9904 h 313616"/>
                <a:gd name="connsiteX10" fmla="*/ 261079 w 300407"/>
                <a:gd name="connsiteY10" fmla="*/ 9904 h 313616"/>
                <a:gd name="connsiteX11" fmla="*/ 290498 w 300407"/>
                <a:gd name="connsiteY11" fmla="*/ 39214 h 313616"/>
                <a:gd name="connsiteX12" fmla="*/ 290498 w 300407"/>
                <a:gd name="connsiteY12" fmla="*/ 217479 h 313616"/>
                <a:gd name="connsiteX13" fmla="*/ 9897 w 300407"/>
                <a:gd name="connsiteY13" fmla="*/ 217479 h 313616"/>
                <a:gd name="connsiteX14" fmla="*/ 9897 w 300407"/>
                <a:gd name="connsiteY14" fmla="*/ 39214 h 313616"/>
                <a:gd name="connsiteX15" fmla="*/ 39322 w 300407"/>
                <a:gd name="connsiteY15" fmla="*/ 9904 h 313616"/>
                <a:gd name="connsiteX16" fmla="*/ 261086 w 300407"/>
                <a:gd name="connsiteY16" fmla="*/ 303713 h 313616"/>
                <a:gd name="connsiteX17" fmla="*/ 39328 w 300407"/>
                <a:gd name="connsiteY17" fmla="*/ 303713 h 313616"/>
                <a:gd name="connsiteX18" fmla="*/ 9904 w 300407"/>
                <a:gd name="connsiteY18" fmla="*/ 274403 h 313616"/>
                <a:gd name="connsiteX19" fmla="*/ 9904 w 300407"/>
                <a:gd name="connsiteY19" fmla="*/ 227389 h 313616"/>
                <a:gd name="connsiteX20" fmla="*/ 290504 w 300407"/>
                <a:gd name="connsiteY20" fmla="*/ 227389 h 313616"/>
                <a:gd name="connsiteX21" fmla="*/ 290504 w 300407"/>
                <a:gd name="connsiteY21" fmla="*/ 274403 h 313616"/>
                <a:gd name="connsiteX22" fmla="*/ 261086 w 300407"/>
                <a:gd name="connsiteY22" fmla="*/ 303713 h 313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0407" h="313616">
                  <a:moveTo>
                    <a:pt x="261086" y="0"/>
                  </a:moveTo>
                  <a:lnTo>
                    <a:pt x="39328" y="0"/>
                  </a:lnTo>
                  <a:cubicBezTo>
                    <a:pt x="17640" y="0"/>
                    <a:pt x="0" y="17595"/>
                    <a:pt x="0" y="39214"/>
                  </a:cubicBezTo>
                  <a:lnTo>
                    <a:pt x="0" y="274403"/>
                  </a:lnTo>
                  <a:cubicBezTo>
                    <a:pt x="0" y="296028"/>
                    <a:pt x="17640" y="313617"/>
                    <a:pt x="39328" y="313617"/>
                  </a:cubicBezTo>
                  <a:lnTo>
                    <a:pt x="261086" y="313617"/>
                  </a:lnTo>
                  <a:cubicBezTo>
                    <a:pt x="282768" y="313617"/>
                    <a:pt x="300408" y="296022"/>
                    <a:pt x="300408" y="274403"/>
                  </a:cubicBezTo>
                  <a:lnTo>
                    <a:pt x="300408" y="39214"/>
                  </a:lnTo>
                  <a:cubicBezTo>
                    <a:pt x="300408" y="17595"/>
                    <a:pt x="282768" y="0"/>
                    <a:pt x="261086" y="0"/>
                  </a:cubicBezTo>
                  <a:close/>
                  <a:moveTo>
                    <a:pt x="39322" y="9904"/>
                  </a:moveTo>
                  <a:lnTo>
                    <a:pt x="261079" y="9904"/>
                  </a:lnTo>
                  <a:cubicBezTo>
                    <a:pt x="277301" y="9904"/>
                    <a:pt x="290498" y="23055"/>
                    <a:pt x="290498" y="39214"/>
                  </a:cubicBezTo>
                  <a:lnTo>
                    <a:pt x="290498" y="217479"/>
                  </a:lnTo>
                  <a:lnTo>
                    <a:pt x="9897" y="217479"/>
                  </a:lnTo>
                  <a:lnTo>
                    <a:pt x="9897" y="39214"/>
                  </a:lnTo>
                  <a:cubicBezTo>
                    <a:pt x="9904" y="23055"/>
                    <a:pt x="23100" y="9904"/>
                    <a:pt x="39322" y="9904"/>
                  </a:cubicBezTo>
                  <a:close/>
                  <a:moveTo>
                    <a:pt x="261086" y="303713"/>
                  </a:moveTo>
                  <a:lnTo>
                    <a:pt x="39328" y="303713"/>
                  </a:lnTo>
                  <a:cubicBezTo>
                    <a:pt x="23100" y="303713"/>
                    <a:pt x="9904" y="290568"/>
                    <a:pt x="9904" y="274403"/>
                  </a:cubicBezTo>
                  <a:lnTo>
                    <a:pt x="9904" y="227389"/>
                  </a:lnTo>
                  <a:lnTo>
                    <a:pt x="290504" y="227389"/>
                  </a:lnTo>
                  <a:lnTo>
                    <a:pt x="290504" y="274403"/>
                  </a:lnTo>
                  <a:cubicBezTo>
                    <a:pt x="290504" y="290568"/>
                    <a:pt x="277308" y="303713"/>
                    <a:pt x="261086" y="303713"/>
                  </a:cubicBezTo>
                  <a:close/>
                </a:path>
              </a:pathLst>
            </a:custGeom>
            <a:solidFill>
              <a:schemeClr val="tx2"/>
            </a:solidFill>
            <a:ln w="635" cap="flat">
              <a:noFill/>
              <a:prstDash val="solid"/>
              <a:miter/>
            </a:ln>
          </p:spPr>
          <p:txBody>
            <a:bodyPr rtlCol="0" anchor="ctr"/>
            <a:lstStyle/>
            <a:p>
              <a:endParaRPr lang="en-GB" dirty="0"/>
            </a:p>
          </p:txBody>
        </p:sp>
        <p:grpSp>
          <p:nvGrpSpPr>
            <p:cNvPr id="113" name="Gruppieren 112">
              <a:extLst>
                <a:ext uri="{FF2B5EF4-FFF2-40B4-BE49-F238E27FC236}">
                  <a16:creationId xmlns:a16="http://schemas.microsoft.com/office/drawing/2014/main" id="{0947EBC5-CD8D-49AC-BFE8-A8F6FDF04117}"/>
                </a:ext>
              </a:extLst>
            </p:cNvPr>
            <p:cNvGrpSpPr/>
            <p:nvPr/>
          </p:nvGrpSpPr>
          <p:grpSpPr>
            <a:xfrm>
              <a:off x="2973488" y="2388531"/>
              <a:ext cx="199381" cy="168505"/>
              <a:chOff x="2973491" y="2388557"/>
              <a:chExt cx="199381" cy="168507"/>
            </a:xfrm>
          </p:grpSpPr>
          <p:sp>
            <p:nvSpPr>
              <p:cNvPr id="115" name="Freihandform: Form 114">
                <a:extLst>
                  <a:ext uri="{FF2B5EF4-FFF2-40B4-BE49-F238E27FC236}">
                    <a16:creationId xmlns:a16="http://schemas.microsoft.com/office/drawing/2014/main" id="{2F284680-4CC1-4D8C-8BE0-02B6DE668EB4}"/>
                  </a:ext>
                </a:extLst>
              </p:cNvPr>
              <p:cNvSpPr/>
              <p:nvPr/>
            </p:nvSpPr>
            <p:spPr>
              <a:xfrm>
                <a:off x="3139424" y="2388557"/>
                <a:ext cx="33448" cy="33365"/>
              </a:xfrm>
              <a:custGeom>
                <a:avLst/>
                <a:gdLst>
                  <a:gd name="connsiteX0" fmla="*/ 16724 w 33448"/>
                  <a:gd name="connsiteY0" fmla="*/ 33366 h 33365"/>
                  <a:gd name="connsiteX1" fmla="*/ 28548 w 33448"/>
                  <a:gd name="connsiteY1" fmla="*/ 28484 h 33365"/>
                  <a:gd name="connsiteX2" fmla="*/ 33449 w 33448"/>
                  <a:gd name="connsiteY2" fmla="*/ 16686 h 33365"/>
                  <a:gd name="connsiteX3" fmla="*/ 28548 w 33448"/>
                  <a:gd name="connsiteY3" fmla="*/ 4882 h 33365"/>
                  <a:gd name="connsiteX4" fmla="*/ 16731 w 33448"/>
                  <a:gd name="connsiteY4" fmla="*/ 0 h 33365"/>
                  <a:gd name="connsiteX5" fmla="*/ 4907 w 33448"/>
                  <a:gd name="connsiteY5" fmla="*/ 4882 h 33365"/>
                  <a:gd name="connsiteX6" fmla="*/ 0 w 33448"/>
                  <a:gd name="connsiteY6" fmla="*/ 16692 h 33365"/>
                  <a:gd name="connsiteX7" fmla="*/ 4907 w 33448"/>
                  <a:gd name="connsiteY7" fmla="*/ 28497 h 33365"/>
                  <a:gd name="connsiteX8" fmla="*/ 16724 w 33448"/>
                  <a:gd name="connsiteY8" fmla="*/ 33366 h 33365"/>
                  <a:gd name="connsiteX9" fmla="*/ 11900 w 33448"/>
                  <a:gd name="connsiteY9" fmla="*/ 11893 h 33365"/>
                  <a:gd name="connsiteX10" fmla="*/ 16731 w 33448"/>
                  <a:gd name="connsiteY10" fmla="*/ 9897 h 33365"/>
                  <a:gd name="connsiteX11" fmla="*/ 21555 w 33448"/>
                  <a:gd name="connsiteY11" fmla="*/ 11887 h 33365"/>
                  <a:gd name="connsiteX12" fmla="*/ 23545 w 33448"/>
                  <a:gd name="connsiteY12" fmla="*/ 16680 h 33365"/>
                  <a:gd name="connsiteX13" fmla="*/ 21555 w 33448"/>
                  <a:gd name="connsiteY13" fmla="*/ 21466 h 33365"/>
                  <a:gd name="connsiteX14" fmla="*/ 11893 w 33448"/>
                  <a:gd name="connsiteY14" fmla="*/ 21473 h 33365"/>
                  <a:gd name="connsiteX15" fmla="*/ 9904 w 33448"/>
                  <a:gd name="connsiteY15" fmla="*/ 16686 h 33365"/>
                  <a:gd name="connsiteX16" fmla="*/ 11900 w 33448"/>
                  <a:gd name="connsiteY16" fmla="*/ 11893 h 33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448" h="33365">
                    <a:moveTo>
                      <a:pt x="16724" y="33366"/>
                    </a:moveTo>
                    <a:cubicBezTo>
                      <a:pt x="21187" y="33366"/>
                      <a:pt x="25388" y="31630"/>
                      <a:pt x="28548" y="28484"/>
                    </a:cubicBezTo>
                    <a:cubicBezTo>
                      <a:pt x="31707" y="25331"/>
                      <a:pt x="33449" y="21142"/>
                      <a:pt x="33449" y="16686"/>
                    </a:cubicBezTo>
                    <a:cubicBezTo>
                      <a:pt x="33449" y="12224"/>
                      <a:pt x="31707" y="8035"/>
                      <a:pt x="28548" y="4882"/>
                    </a:cubicBezTo>
                    <a:cubicBezTo>
                      <a:pt x="25388" y="1735"/>
                      <a:pt x="21193" y="0"/>
                      <a:pt x="16731" y="0"/>
                    </a:cubicBezTo>
                    <a:cubicBezTo>
                      <a:pt x="12268" y="0"/>
                      <a:pt x="8067" y="1735"/>
                      <a:pt x="4907" y="4882"/>
                    </a:cubicBezTo>
                    <a:cubicBezTo>
                      <a:pt x="1742" y="8035"/>
                      <a:pt x="0" y="12230"/>
                      <a:pt x="0" y="16692"/>
                    </a:cubicBezTo>
                    <a:cubicBezTo>
                      <a:pt x="0" y="21148"/>
                      <a:pt x="1742" y="25344"/>
                      <a:pt x="4907" y="28497"/>
                    </a:cubicBezTo>
                    <a:cubicBezTo>
                      <a:pt x="8067" y="31630"/>
                      <a:pt x="12262" y="33366"/>
                      <a:pt x="16724" y="33366"/>
                    </a:cubicBezTo>
                    <a:close/>
                    <a:moveTo>
                      <a:pt x="11900" y="11893"/>
                    </a:moveTo>
                    <a:cubicBezTo>
                      <a:pt x="13190" y="10609"/>
                      <a:pt x="14906" y="9897"/>
                      <a:pt x="16731" y="9897"/>
                    </a:cubicBezTo>
                    <a:cubicBezTo>
                      <a:pt x="18555" y="9897"/>
                      <a:pt x="20271" y="10609"/>
                      <a:pt x="21555" y="11887"/>
                    </a:cubicBezTo>
                    <a:cubicBezTo>
                      <a:pt x="22839" y="13165"/>
                      <a:pt x="23545" y="14868"/>
                      <a:pt x="23545" y="16680"/>
                    </a:cubicBezTo>
                    <a:cubicBezTo>
                      <a:pt x="23545" y="18485"/>
                      <a:pt x="22833" y="20189"/>
                      <a:pt x="21555" y="21466"/>
                    </a:cubicBezTo>
                    <a:cubicBezTo>
                      <a:pt x="18975" y="24041"/>
                      <a:pt x="14474" y="24034"/>
                      <a:pt x="11893" y="21473"/>
                    </a:cubicBezTo>
                    <a:cubicBezTo>
                      <a:pt x="10609" y="20195"/>
                      <a:pt x="9904" y="18491"/>
                      <a:pt x="9904" y="16686"/>
                    </a:cubicBezTo>
                    <a:cubicBezTo>
                      <a:pt x="9904" y="14874"/>
                      <a:pt x="10616" y="13171"/>
                      <a:pt x="11900" y="11893"/>
                    </a:cubicBezTo>
                    <a:close/>
                  </a:path>
                </a:pathLst>
              </a:custGeom>
              <a:solidFill>
                <a:schemeClr val="accent1"/>
              </a:solidFill>
              <a:ln w="635" cap="flat">
                <a:noFill/>
                <a:prstDash val="solid"/>
                <a:miter/>
              </a:ln>
            </p:spPr>
            <p:txBody>
              <a:bodyPr rtlCol="0" anchor="ctr"/>
              <a:lstStyle/>
              <a:p>
                <a:endParaRPr lang="en-GB" dirty="0"/>
              </a:p>
            </p:txBody>
          </p:sp>
          <p:sp>
            <p:nvSpPr>
              <p:cNvPr id="116" name="Freihandform: Form 115">
                <a:extLst>
                  <a:ext uri="{FF2B5EF4-FFF2-40B4-BE49-F238E27FC236}">
                    <a16:creationId xmlns:a16="http://schemas.microsoft.com/office/drawing/2014/main" id="{681C9B28-3E25-43ED-B372-76CFE3FC1C50}"/>
                  </a:ext>
                </a:extLst>
              </p:cNvPr>
              <p:cNvSpPr/>
              <p:nvPr/>
            </p:nvSpPr>
            <p:spPr>
              <a:xfrm>
                <a:off x="2973491" y="2397475"/>
                <a:ext cx="160097" cy="159589"/>
              </a:xfrm>
              <a:custGeom>
                <a:avLst/>
                <a:gdLst>
                  <a:gd name="connsiteX0" fmla="*/ 80043 w 160097"/>
                  <a:gd name="connsiteY0" fmla="*/ 159589 h 159589"/>
                  <a:gd name="connsiteX1" fmla="*/ 160098 w 160097"/>
                  <a:gd name="connsiteY1" fmla="*/ 79795 h 159589"/>
                  <a:gd name="connsiteX2" fmla="*/ 80043 w 160097"/>
                  <a:gd name="connsiteY2" fmla="*/ 0 h 159589"/>
                  <a:gd name="connsiteX3" fmla="*/ 0 w 160097"/>
                  <a:gd name="connsiteY3" fmla="*/ 79795 h 159589"/>
                  <a:gd name="connsiteX4" fmla="*/ 80043 w 160097"/>
                  <a:gd name="connsiteY4" fmla="*/ 159589 h 159589"/>
                  <a:gd name="connsiteX5" fmla="*/ 80043 w 160097"/>
                  <a:gd name="connsiteY5" fmla="*/ 9910 h 159589"/>
                  <a:gd name="connsiteX6" fmla="*/ 150194 w 160097"/>
                  <a:gd name="connsiteY6" fmla="*/ 79801 h 159589"/>
                  <a:gd name="connsiteX7" fmla="*/ 80043 w 160097"/>
                  <a:gd name="connsiteY7" fmla="*/ 149692 h 159589"/>
                  <a:gd name="connsiteX8" fmla="*/ 9904 w 160097"/>
                  <a:gd name="connsiteY8" fmla="*/ 79801 h 159589"/>
                  <a:gd name="connsiteX9" fmla="*/ 80043 w 160097"/>
                  <a:gd name="connsiteY9" fmla="*/ 9910 h 159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097" h="159589">
                    <a:moveTo>
                      <a:pt x="80043" y="159589"/>
                    </a:moveTo>
                    <a:cubicBezTo>
                      <a:pt x="124183" y="159589"/>
                      <a:pt x="160098" y="123795"/>
                      <a:pt x="160098" y="79795"/>
                    </a:cubicBezTo>
                    <a:cubicBezTo>
                      <a:pt x="160098" y="35794"/>
                      <a:pt x="124183" y="0"/>
                      <a:pt x="80043" y="0"/>
                    </a:cubicBezTo>
                    <a:cubicBezTo>
                      <a:pt x="35909" y="0"/>
                      <a:pt x="0" y="35794"/>
                      <a:pt x="0" y="79795"/>
                    </a:cubicBezTo>
                    <a:cubicBezTo>
                      <a:pt x="0" y="123795"/>
                      <a:pt x="35909" y="159589"/>
                      <a:pt x="80043" y="159589"/>
                    </a:cubicBezTo>
                    <a:close/>
                    <a:moveTo>
                      <a:pt x="80043" y="9910"/>
                    </a:moveTo>
                    <a:cubicBezTo>
                      <a:pt x="118723" y="9910"/>
                      <a:pt x="150194" y="41261"/>
                      <a:pt x="150194" y="79801"/>
                    </a:cubicBezTo>
                    <a:cubicBezTo>
                      <a:pt x="150194" y="118335"/>
                      <a:pt x="118729" y="149692"/>
                      <a:pt x="80043" y="149692"/>
                    </a:cubicBezTo>
                    <a:cubicBezTo>
                      <a:pt x="41369" y="149692"/>
                      <a:pt x="9904" y="118341"/>
                      <a:pt x="9904" y="79801"/>
                    </a:cubicBezTo>
                    <a:cubicBezTo>
                      <a:pt x="9904" y="41261"/>
                      <a:pt x="41369" y="9910"/>
                      <a:pt x="80043" y="9910"/>
                    </a:cubicBezTo>
                    <a:close/>
                  </a:path>
                </a:pathLst>
              </a:custGeom>
              <a:solidFill>
                <a:schemeClr val="accent1"/>
              </a:solidFill>
              <a:ln w="635" cap="flat">
                <a:noFill/>
                <a:prstDash val="solid"/>
                <a:miter/>
              </a:ln>
            </p:spPr>
            <p:txBody>
              <a:bodyPr rtlCol="0" anchor="ctr"/>
              <a:lstStyle/>
              <a:p>
                <a:endParaRPr lang="en-GB" dirty="0"/>
              </a:p>
            </p:txBody>
          </p:sp>
          <p:sp>
            <p:nvSpPr>
              <p:cNvPr id="117" name="Freihandform: Form 116">
                <a:extLst>
                  <a:ext uri="{FF2B5EF4-FFF2-40B4-BE49-F238E27FC236}">
                    <a16:creationId xmlns:a16="http://schemas.microsoft.com/office/drawing/2014/main" id="{A057F25A-EACC-48F8-993F-070536E52439}"/>
                  </a:ext>
                </a:extLst>
              </p:cNvPr>
              <p:cNvSpPr/>
              <p:nvPr/>
            </p:nvSpPr>
            <p:spPr>
              <a:xfrm>
                <a:off x="3007302" y="2431178"/>
                <a:ext cx="92469" cy="92190"/>
              </a:xfrm>
              <a:custGeom>
                <a:avLst/>
                <a:gdLst>
                  <a:gd name="connsiteX0" fmla="*/ 46232 w 92469"/>
                  <a:gd name="connsiteY0" fmla="*/ 92190 h 92190"/>
                  <a:gd name="connsiteX1" fmla="*/ 92470 w 92469"/>
                  <a:gd name="connsiteY1" fmla="*/ 46098 h 92190"/>
                  <a:gd name="connsiteX2" fmla="*/ 46232 w 92469"/>
                  <a:gd name="connsiteY2" fmla="*/ 0 h 92190"/>
                  <a:gd name="connsiteX3" fmla="*/ 0 w 92469"/>
                  <a:gd name="connsiteY3" fmla="*/ 46098 h 92190"/>
                  <a:gd name="connsiteX4" fmla="*/ 46232 w 92469"/>
                  <a:gd name="connsiteY4" fmla="*/ 92190 h 92190"/>
                  <a:gd name="connsiteX5" fmla="*/ 46232 w 92469"/>
                  <a:gd name="connsiteY5" fmla="*/ 9904 h 92190"/>
                  <a:gd name="connsiteX6" fmla="*/ 82566 w 92469"/>
                  <a:gd name="connsiteY6" fmla="*/ 46098 h 92190"/>
                  <a:gd name="connsiteX7" fmla="*/ 46232 w 92469"/>
                  <a:gd name="connsiteY7" fmla="*/ 82287 h 92190"/>
                  <a:gd name="connsiteX8" fmla="*/ 9904 w 92469"/>
                  <a:gd name="connsiteY8" fmla="*/ 46098 h 92190"/>
                  <a:gd name="connsiteX9" fmla="*/ 46232 w 92469"/>
                  <a:gd name="connsiteY9" fmla="*/ 9904 h 9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469" h="92190">
                    <a:moveTo>
                      <a:pt x="46232" y="92190"/>
                    </a:moveTo>
                    <a:cubicBezTo>
                      <a:pt x="71728" y="92190"/>
                      <a:pt x="92470" y="71512"/>
                      <a:pt x="92470" y="46098"/>
                    </a:cubicBezTo>
                    <a:cubicBezTo>
                      <a:pt x="92470" y="20678"/>
                      <a:pt x="71728" y="0"/>
                      <a:pt x="46232" y="0"/>
                    </a:cubicBezTo>
                    <a:cubicBezTo>
                      <a:pt x="20735" y="0"/>
                      <a:pt x="0" y="20678"/>
                      <a:pt x="0" y="46098"/>
                    </a:cubicBezTo>
                    <a:cubicBezTo>
                      <a:pt x="0" y="71512"/>
                      <a:pt x="20735" y="92190"/>
                      <a:pt x="46232" y="92190"/>
                    </a:cubicBezTo>
                    <a:close/>
                    <a:moveTo>
                      <a:pt x="46232" y="9904"/>
                    </a:moveTo>
                    <a:cubicBezTo>
                      <a:pt x="66268" y="9904"/>
                      <a:pt x="82566" y="26138"/>
                      <a:pt x="82566" y="46098"/>
                    </a:cubicBezTo>
                    <a:cubicBezTo>
                      <a:pt x="82566" y="66052"/>
                      <a:pt x="66268" y="82287"/>
                      <a:pt x="46232" y="82287"/>
                    </a:cubicBezTo>
                    <a:cubicBezTo>
                      <a:pt x="26196" y="82287"/>
                      <a:pt x="9904" y="66052"/>
                      <a:pt x="9904" y="46098"/>
                    </a:cubicBezTo>
                    <a:cubicBezTo>
                      <a:pt x="9904" y="26138"/>
                      <a:pt x="26196" y="9904"/>
                      <a:pt x="46232" y="9904"/>
                    </a:cubicBezTo>
                    <a:close/>
                  </a:path>
                </a:pathLst>
              </a:custGeom>
              <a:solidFill>
                <a:schemeClr val="accent1"/>
              </a:solidFill>
              <a:ln w="635" cap="flat">
                <a:noFill/>
                <a:prstDash val="solid"/>
                <a:miter/>
              </a:ln>
            </p:spPr>
            <p:txBody>
              <a:bodyPr rtlCol="0" anchor="ctr"/>
              <a:lstStyle/>
              <a:p>
                <a:endParaRPr lang="en-GB" dirty="0"/>
              </a:p>
            </p:txBody>
          </p:sp>
        </p:grpSp>
        <p:sp>
          <p:nvSpPr>
            <p:cNvPr id="114" name="Freihandform: Form 113">
              <a:extLst>
                <a:ext uri="{FF2B5EF4-FFF2-40B4-BE49-F238E27FC236}">
                  <a16:creationId xmlns:a16="http://schemas.microsoft.com/office/drawing/2014/main" id="{BCEBCF8A-570D-42F4-ABE1-B2010C31E853}"/>
                </a:ext>
              </a:extLst>
            </p:cNvPr>
            <p:cNvSpPr/>
            <p:nvPr/>
          </p:nvSpPr>
          <p:spPr>
            <a:xfrm>
              <a:off x="2959627" y="2617040"/>
              <a:ext cx="187812" cy="9903"/>
            </a:xfrm>
            <a:custGeom>
              <a:avLst/>
              <a:gdLst>
                <a:gd name="connsiteX0" fmla="*/ 0 w 187812"/>
                <a:gd name="connsiteY0" fmla="*/ 0 h 9903"/>
                <a:gd name="connsiteX1" fmla="*/ 187813 w 187812"/>
                <a:gd name="connsiteY1" fmla="*/ 0 h 9903"/>
                <a:gd name="connsiteX2" fmla="*/ 187813 w 187812"/>
                <a:gd name="connsiteY2" fmla="*/ 9904 h 9903"/>
                <a:gd name="connsiteX3" fmla="*/ 0 w 187812"/>
                <a:gd name="connsiteY3" fmla="*/ 9904 h 9903"/>
              </a:gdLst>
              <a:ahLst/>
              <a:cxnLst>
                <a:cxn ang="0">
                  <a:pos x="connsiteX0" y="connsiteY0"/>
                </a:cxn>
                <a:cxn ang="0">
                  <a:pos x="connsiteX1" y="connsiteY1"/>
                </a:cxn>
                <a:cxn ang="0">
                  <a:pos x="connsiteX2" y="connsiteY2"/>
                </a:cxn>
                <a:cxn ang="0">
                  <a:pos x="connsiteX3" y="connsiteY3"/>
                </a:cxn>
              </a:cxnLst>
              <a:rect l="l" t="t" r="r" b="b"/>
              <a:pathLst>
                <a:path w="187812" h="9903">
                  <a:moveTo>
                    <a:pt x="0" y="0"/>
                  </a:moveTo>
                  <a:lnTo>
                    <a:pt x="187813" y="0"/>
                  </a:lnTo>
                  <a:lnTo>
                    <a:pt x="187813" y="9904"/>
                  </a:lnTo>
                  <a:lnTo>
                    <a:pt x="0" y="9904"/>
                  </a:lnTo>
                  <a:close/>
                </a:path>
              </a:pathLst>
            </a:custGeom>
            <a:solidFill>
              <a:schemeClr val="tx2"/>
            </a:solidFill>
            <a:ln w="635" cap="flat">
              <a:noFill/>
              <a:prstDash val="solid"/>
              <a:miter/>
            </a:ln>
          </p:spPr>
          <p:txBody>
            <a:bodyPr rtlCol="0" anchor="ctr"/>
            <a:lstStyle/>
            <a:p>
              <a:endParaRPr lang="en-GB" dirty="0"/>
            </a:p>
          </p:txBody>
        </p:sp>
      </p:grpSp>
      <p:grpSp>
        <p:nvGrpSpPr>
          <p:cNvPr id="118" name="Gruppieren 117">
            <a:extLst>
              <a:ext uri="{FF2B5EF4-FFF2-40B4-BE49-F238E27FC236}">
                <a16:creationId xmlns:a16="http://schemas.microsoft.com/office/drawing/2014/main" id="{6A2B13C0-274A-450E-9352-8CE2C98CC2DF}"/>
              </a:ext>
            </a:extLst>
          </p:cNvPr>
          <p:cNvGrpSpPr>
            <a:grpSpLocks noChangeAspect="1"/>
          </p:cNvGrpSpPr>
          <p:nvPr/>
        </p:nvGrpSpPr>
        <p:grpSpPr>
          <a:xfrm>
            <a:off x="3072186" y="4215828"/>
            <a:ext cx="240652" cy="323999"/>
            <a:chOff x="2902220" y="4342807"/>
            <a:chExt cx="302632" cy="407445"/>
          </a:xfrm>
        </p:grpSpPr>
        <p:sp>
          <p:nvSpPr>
            <p:cNvPr id="119" name="Freihandform: Form 118">
              <a:extLst>
                <a:ext uri="{FF2B5EF4-FFF2-40B4-BE49-F238E27FC236}">
                  <a16:creationId xmlns:a16="http://schemas.microsoft.com/office/drawing/2014/main" id="{720912EF-F0C1-4633-AEDA-9E4743F5CE10}"/>
                </a:ext>
              </a:extLst>
            </p:cNvPr>
            <p:cNvSpPr/>
            <p:nvPr/>
          </p:nvSpPr>
          <p:spPr>
            <a:xfrm>
              <a:off x="2967699" y="4342807"/>
              <a:ext cx="171659" cy="280600"/>
            </a:xfrm>
            <a:custGeom>
              <a:avLst/>
              <a:gdLst>
                <a:gd name="connsiteX0" fmla="*/ 85834 w 171660"/>
                <a:gd name="connsiteY0" fmla="*/ 280600 h 280600"/>
                <a:gd name="connsiteX1" fmla="*/ 171661 w 171660"/>
                <a:gd name="connsiteY1" fmla="*/ 191531 h 280600"/>
                <a:gd name="connsiteX2" fmla="*/ 171661 w 171660"/>
                <a:gd name="connsiteY2" fmla="*/ 89063 h 280600"/>
                <a:gd name="connsiteX3" fmla="*/ 85834 w 171660"/>
                <a:gd name="connsiteY3" fmla="*/ 0 h 280600"/>
                <a:gd name="connsiteX4" fmla="*/ 0 w 171660"/>
                <a:gd name="connsiteY4" fmla="*/ 89063 h 280600"/>
                <a:gd name="connsiteX5" fmla="*/ 0 w 171660"/>
                <a:gd name="connsiteY5" fmla="*/ 191531 h 280600"/>
                <a:gd name="connsiteX6" fmla="*/ 85834 w 171660"/>
                <a:gd name="connsiteY6" fmla="*/ 280600 h 280600"/>
                <a:gd name="connsiteX7" fmla="*/ 85834 w 171660"/>
                <a:gd name="connsiteY7" fmla="*/ 270697 h 280600"/>
                <a:gd name="connsiteX8" fmla="*/ 10921 w 171660"/>
                <a:gd name="connsiteY8" fmla="*/ 204397 h 280600"/>
                <a:gd name="connsiteX9" fmla="*/ 160740 w 171660"/>
                <a:gd name="connsiteY9" fmla="*/ 204397 h 280600"/>
                <a:gd name="connsiteX10" fmla="*/ 85834 w 171660"/>
                <a:gd name="connsiteY10" fmla="*/ 270697 h 280600"/>
                <a:gd name="connsiteX11" fmla="*/ 9904 w 171660"/>
                <a:gd name="connsiteY11" fmla="*/ 191531 h 280600"/>
                <a:gd name="connsiteX12" fmla="*/ 9904 w 171660"/>
                <a:gd name="connsiteY12" fmla="*/ 179161 h 280600"/>
                <a:gd name="connsiteX13" fmla="*/ 161757 w 171660"/>
                <a:gd name="connsiteY13" fmla="*/ 179161 h 280600"/>
                <a:gd name="connsiteX14" fmla="*/ 161757 w 171660"/>
                <a:gd name="connsiteY14" fmla="*/ 191531 h 280600"/>
                <a:gd name="connsiteX15" fmla="*/ 161687 w 171660"/>
                <a:gd name="connsiteY15" fmla="*/ 194493 h 280600"/>
                <a:gd name="connsiteX16" fmla="*/ 9974 w 171660"/>
                <a:gd name="connsiteY16" fmla="*/ 194493 h 280600"/>
                <a:gd name="connsiteX17" fmla="*/ 9904 w 171660"/>
                <a:gd name="connsiteY17" fmla="*/ 191531 h 280600"/>
                <a:gd name="connsiteX18" fmla="*/ 9904 w 171660"/>
                <a:gd name="connsiteY18" fmla="*/ 169258 h 280600"/>
                <a:gd name="connsiteX19" fmla="*/ 9904 w 171660"/>
                <a:gd name="connsiteY19" fmla="*/ 151631 h 280600"/>
                <a:gd name="connsiteX20" fmla="*/ 161757 w 171660"/>
                <a:gd name="connsiteY20" fmla="*/ 151631 h 280600"/>
                <a:gd name="connsiteX21" fmla="*/ 161757 w 171660"/>
                <a:gd name="connsiteY21" fmla="*/ 169258 h 280600"/>
                <a:gd name="connsiteX22" fmla="*/ 9904 w 171660"/>
                <a:gd name="connsiteY22" fmla="*/ 169258 h 280600"/>
                <a:gd name="connsiteX23" fmla="*/ 54019 w 171660"/>
                <a:gd name="connsiteY23" fmla="*/ 17214 h 280600"/>
                <a:gd name="connsiteX24" fmla="*/ 54019 w 171660"/>
                <a:gd name="connsiteY24" fmla="*/ 78752 h 280600"/>
                <a:gd name="connsiteX25" fmla="*/ 63922 w 171660"/>
                <a:gd name="connsiteY25" fmla="*/ 78752 h 280600"/>
                <a:gd name="connsiteX26" fmla="*/ 63922 w 171660"/>
                <a:gd name="connsiteY26" fmla="*/ 13279 h 280600"/>
                <a:gd name="connsiteX27" fmla="*/ 80888 w 171660"/>
                <a:gd name="connsiteY27" fmla="*/ 10088 h 280600"/>
                <a:gd name="connsiteX28" fmla="*/ 80888 w 171660"/>
                <a:gd name="connsiteY28" fmla="*/ 78752 h 280600"/>
                <a:gd name="connsiteX29" fmla="*/ 90792 w 171660"/>
                <a:gd name="connsiteY29" fmla="*/ 78752 h 280600"/>
                <a:gd name="connsiteX30" fmla="*/ 90792 w 171660"/>
                <a:gd name="connsiteY30" fmla="*/ 10088 h 280600"/>
                <a:gd name="connsiteX31" fmla="*/ 107751 w 171660"/>
                <a:gd name="connsiteY31" fmla="*/ 13273 h 280600"/>
                <a:gd name="connsiteX32" fmla="*/ 107751 w 171660"/>
                <a:gd name="connsiteY32" fmla="*/ 78752 h 280600"/>
                <a:gd name="connsiteX33" fmla="*/ 117655 w 171660"/>
                <a:gd name="connsiteY33" fmla="*/ 78752 h 280600"/>
                <a:gd name="connsiteX34" fmla="*/ 117655 w 171660"/>
                <a:gd name="connsiteY34" fmla="*/ 17214 h 280600"/>
                <a:gd name="connsiteX35" fmla="*/ 161770 w 171660"/>
                <a:gd name="connsiteY35" fmla="*/ 89063 h 280600"/>
                <a:gd name="connsiteX36" fmla="*/ 161770 w 171660"/>
                <a:gd name="connsiteY36" fmla="*/ 141727 h 280600"/>
                <a:gd name="connsiteX37" fmla="*/ 9916 w 171660"/>
                <a:gd name="connsiteY37" fmla="*/ 141727 h 280600"/>
                <a:gd name="connsiteX38" fmla="*/ 9916 w 171660"/>
                <a:gd name="connsiteY38" fmla="*/ 89063 h 280600"/>
                <a:gd name="connsiteX39" fmla="*/ 54019 w 171660"/>
                <a:gd name="connsiteY39" fmla="*/ 17214 h 280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71660" h="280600">
                  <a:moveTo>
                    <a:pt x="85834" y="280600"/>
                  </a:moveTo>
                  <a:cubicBezTo>
                    <a:pt x="133159" y="280600"/>
                    <a:pt x="171661" y="240643"/>
                    <a:pt x="171661" y="191531"/>
                  </a:cubicBezTo>
                  <a:lnTo>
                    <a:pt x="171661" y="89063"/>
                  </a:lnTo>
                  <a:cubicBezTo>
                    <a:pt x="171661" y="39951"/>
                    <a:pt x="133159" y="0"/>
                    <a:pt x="85834" y="0"/>
                  </a:cubicBezTo>
                  <a:cubicBezTo>
                    <a:pt x="38502" y="0"/>
                    <a:pt x="0" y="39951"/>
                    <a:pt x="0" y="89063"/>
                  </a:cubicBezTo>
                  <a:lnTo>
                    <a:pt x="0" y="191531"/>
                  </a:lnTo>
                  <a:cubicBezTo>
                    <a:pt x="0" y="240643"/>
                    <a:pt x="38508" y="280600"/>
                    <a:pt x="85834" y="280600"/>
                  </a:cubicBezTo>
                  <a:close/>
                  <a:moveTo>
                    <a:pt x="85834" y="270697"/>
                  </a:moveTo>
                  <a:cubicBezTo>
                    <a:pt x="48171" y="270697"/>
                    <a:pt x="16832" y="241952"/>
                    <a:pt x="10921" y="204397"/>
                  </a:cubicBezTo>
                  <a:lnTo>
                    <a:pt x="160740" y="204397"/>
                  </a:lnTo>
                  <a:cubicBezTo>
                    <a:pt x="154828" y="241952"/>
                    <a:pt x="123497" y="270697"/>
                    <a:pt x="85834" y="270697"/>
                  </a:cubicBezTo>
                  <a:close/>
                  <a:moveTo>
                    <a:pt x="9904" y="191531"/>
                  </a:moveTo>
                  <a:lnTo>
                    <a:pt x="9904" y="179161"/>
                  </a:lnTo>
                  <a:lnTo>
                    <a:pt x="161757" y="179161"/>
                  </a:lnTo>
                  <a:lnTo>
                    <a:pt x="161757" y="191531"/>
                  </a:lnTo>
                  <a:cubicBezTo>
                    <a:pt x="161757" y="192523"/>
                    <a:pt x="161719" y="193508"/>
                    <a:pt x="161687" y="194493"/>
                  </a:cubicBezTo>
                  <a:lnTo>
                    <a:pt x="9974" y="194493"/>
                  </a:lnTo>
                  <a:cubicBezTo>
                    <a:pt x="9942" y="193508"/>
                    <a:pt x="9904" y="192523"/>
                    <a:pt x="9904" y="191531"/>
                  </a:cubicBezTo>
                  <a:close/>
                  <a:moveTo>
                    <a:pt x="9904" y="169258"/>
                  </a:moveTo>
                  <a:lnTo>
                    <a:pt x="9904" y="151631"/>
                  </a:lnTo>
                  <a:lnTo>
                    <a:pt x="161757" y="151631"/>
                  </a:lnTo>
                  <a:lnTo>
                    <a:pt x="161757" y="169258"/>
                  </a:lnTo>
                  <a:lnTo>
                    <a:pt x="9904" y="169258"/>
                  </a:lnTo>
                  <a:close/>
                  <a:moveTo>
                    <a:pt x="54019" y="17214"/>
                  </a:moveTo>
                  <a:lnTo>
                    <a:pt x="54019" y="78752"/>
                  </a:lnTo>
                  <a:lnTo>
                    <a:pt x="63922" y="78752"/>
                  </a:lnTo>
                  <a:lnTo>
                    <a:pt x="63922" y="13279"/>
                  </a:lnTo>
                  <a:cubicBezTo>
                    <a:pt x="69351" y="11569"/>
                    <a:pt x="75027" y="10488"/>
                    <a:pt x="80888" y="10088"/>
                  </a:cubicBezTo>
                  <a:lnTo>
                    <a:pt x="80888" y="78752"/>
                  </a:lnTo>
                  <a:lnTo>
                    <a:pt x="90792" y="78752"/>
                  </a:lnTo>
                  <a:lnTo>
                    <a:pt x="90792" y="10088"/>
                  </a:lnTo>
                  <a:cubicBezTo>
                    <a:pt x="96653" y="10482"/>
                    <a:pt x="102329" y="11569"/>
                    <a:pt x="107751" y="13273"/>
                  </a:cubicBezTo>
                  <a:lnTo>
                    <a:pt x="107751" y="78752"/>
                  </a:lnTo>
                  <a:lnTo>
                    <a:pt x="117655" y="78752"/>
                  </a:lnTo>
                  <a:lnTo>
                    <a:pt x="117655" y="17214"/>
                  </a:lnTo>
                  <a:cubicBezTo>
                    <a:pt x="143672" y="29781"/>
                    <a:pt x="161770" y="57254"/>
                    <a:pt x="161770" y="89063"/>
                  </a:cubicBezTo>
                  <a:lnTo>
                    <a:pt x="161770" y="141727"/>
                  </a:lnTo>
                  <a:lnTo>
                    <a:pt x="9916" y="141727"/>
                  </a:lnTo>
                  <a:lnTo>
                    <a:pt x="9916" y="89063"/>
                  </a:lnTo>
                  <a:cubicBezTo>
                    <a:pt x="9904" y="57254"/>
                    <a:pt x="28001" y="29787"/>
                    <a:pt x="54019" y="17214"/>
                  </a:cubicBezTo>
                  <a:close/>
                </a:path>
              </a:pathLst>
            </a:custGeom>
            <a:solidFill>
              <a:schemeClr val="accent1"/>
            </a:solidFill>
            <a:ln w="635" cap="flat">
              <a:noFill/>
              <a:prstDash val="solid"/>
              <a:miter/>
            </a:ln>
          </p:spPr>
          <p:txBody>
            <a:bodyPr rtlCol="0" anchor="ctr"/>
            <a:lstStyle/>
            <a:p>
              <a:endParaRPr lang="en-GB" dirty="0"/>
            </a:p>
          </p:txBody>
        </p:sp>
        <p:sp>
          <p:nvSpPr>
            <p:cNvPr id="120" name="Freihandform: Form 119">
              <a:extLst>
                <a:ext uri="{FF2B5EF4-FFF2-40B4-BE49-F238E27FC236}">
                  <a16:creationId xmlns:a16="http://schemas.microsoft.com/office/drawing/2014/main" id="{1CBD47F6-91CC-4034-8759-F5F71C966B83}"/>
                </a:ext>
              </a:extLst>
            </p:cNvPr>
            <p:cNvSpPr/>
            <p:nvPr/>
          </p:nvSpPr>
          <p:spPr>
            <a:xfrm>
              <a:off x="2902220" y="4486828"/>
              <a:ext cx="302632" cy="263424"/>
            </a:xfrm>
            <a:custGeom>
              <a:avLst/>
              <a:gdLst>
                <a:gd name="connsiteX0" fmla="*/ 273640 w 302632"/>
                <a:gd name="connsiteY0" fmla="*/ 0 h 263424"/>
                <a:gd name="connsiteX1" fmla="*/ 273640 w 302632"/>
                <a:gd name="connsiteY1" fmla="*/ 52118 h 263424"/>
                <a:gd name="connsiteX2" fmla="*/ 151319 w 302632"/>
                <a:gd name="connsiteY2" fmla="*/ 174445 h 263424"/>
                <a:gd name="connsiteX3" fmla="*/ 28992 w 302632"/>
                <a:gd name="connsiteY3" fmla="*/ 52118 h 263424"/>
                <a:gd name="connsiteX4" fmla="*/ 28992 w 302632"/>
                <a:gd name="connsiteY4" fmla="*/ 0 h 263424"/>
                <a:gd name="connsiteX5" fmla="*/ 0 w 302632"/>
                <a:gd name="connsiteY5" fmla="*/ 0 h 263424"/>
                <a:gd name="connsiteX6" fmla="*/ 0 w 302632"/>
                <a:gd name="connsiteY6" fmla="*/ 9904 h 263424"/>
                <a:gd name="connsiteX7" fmla="*/ 19089 w 302632"/>
                <a:gd name="connsiteY7" fmla="*/ 9904 h 263424"/>
                <a:gd name="connsiteX8" fmla="*/ 19089 w 302632"/>
                <a:gd name="connsiteY8" fmla="*/ 52118 h 263424"/>
                <a:gd name="connsiteX9" fmla="*/ 146368 w 302632"/>
                <a:gd name="connsiteY9" fmla="*/ 184221 h 263424"/>
                <a:gd name="connsiteX10" fmla="*/ 146368 w 302632"/>
                <a:gd name="connsiteY10" fmla="*/ 253521 h 263424"/>
                <a:gd name="connsiteX11" fmla="*/ 119848 w 302632"/>
                <a:gd name="connsiteY11" fmla="*/ 253521 h 263424"/>
                <a:gd name="connsiteX12" fmla="*/ 119848 w 302632"/>
                <a:gd name="connsiteY12" fmla="*/ 263425 h 263424"/>
                <a:gd name="connsiteX13" fmla="*/ 182791 w 302632"/>
                <a:gd name="connsiteY13" fmla="*/ 263425 h 263424"/>
                <a:gd name="connsiteX14" fmla="*/ 182791 w 302632"/>
                <a:gd name="connsiteY14" fmla="*/ 253521 h 263424"/>
                <a:gd name="connsiteX15" fmla="*/ 156271 w 302632"/>
                <a:gd name="connsiteY15" fmla="*/ 253521 h 263424"/>
                <a:gd name="connsiteX16" fmla="*/ 156271 w 302632"/>
                <a:gd name="connsiteY16" fmla="*/ 184221 h 263424"/>
                <a:gd name="connsiteX17" fmla="*/ 283544 w 302632"/>
                <a:gd name="connsiteY17" fmla="*/ 52118 h 263424"/>
                <a:gd name="connsiteX18" fmla="*/ 283544 w 302632"/>
                <a:gd name="connsiteY18" fmla="*/ 9904 h 263424"/>
                <a:gd name="connsiteX19" fmla="*/ 302632 w 302632"/>
                <a:gd name="connsiteY19" fmla="*/ 9904 h 263424"/>
                <a:gd name="connsiteX20" fmla="*/ 302632 w 302632"/>
                <a:gd name="connsiteY20" fmla="*/ 0 h 263424"/>
                <a:gd name="connsiteX21" fmla="*/ 273640 w 302632"/>
                <a:gd name="connsiteY21" fmla="*/ 0 h 263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2632" h="263424">
                  <a:moveTo>
                    <a:pt x="273640" y="0"/>
                  </a:moveTo>
                  <a:lnTo>
                    <a:pt x="273640" y="52118"/>
                  </a:lnTo>
                  <a:cubicBezTo>
                    <a:pt x="273640" y="119568"/>
                    <a:pt x="218770" y="174445"/>
                    <a:pt x="151319" y="174445"/>
                  </a:cubicBezTo>
                  <a:cubicBezTo>
                    <a:pt x="83869" y="174445"/>
                    <a:pt x="28992" y="119568"/>
                    <a:pt x="28992" y="52118"/>
                  </a:cubicBezTo>
                  <a:lnTo>
                    <a:pt x="28992" y="0"/>
                  </a:lnTo>
                  <a:lnTo>
                    <a:pt x="0" y="0"/>
                  </a:lnTo>
                  <a:lnTo>
                    <a:pt x="0" y="9904"/>
                  </a:lnTo>
                  <a:lnTo>
                    <a:pt x="19089" y="9904"/>
                  </a:lnTo>
                  <a:lnTo>
                    <a:pt x="19089" y="52118"/>
                  </a:lnTo>
                  <a:cubicBezTo>
                    <a:pt x="19089" y="123369"/>
                    <a:pt x="75745" y="181602"/>
                    <a:pt x="146368" y="184221"/>
                  </a:cubicBezTo>
                  <a:lnTo>
                    <a:pt x="146368" y="253521"/>
                  </a:lnTo>
                  <a:lnTo>
                    <a:pt x="119848" y="253521"/>
                  </a:lnTo>
                  <a:lnTo>
                    <a:pt x="119848" y="263425"/>
                  </a:lnTo>
                  <a:lnTo>
                    <a:pt x="182791" y="263425"/>
                  </a:lnTo>
                  <a:lnTo>
                    <a:pt x="182791" y="253521"/>
                  </a:lnTo>
                  <a:lnTo>
                    <a:pt x="156271" y="253521"/>
                  </a:lnTo>
                  <a:lnTo>
                    <a:pt x="156271" y="184221"/>
                  </a:lnTo>
                  <a:cubicBezTo>
                    <a:pt x="226893" y="181602"/>
                    <a:pt x="283544" y="123369"/>
                    <a:pt x="283544" y="52118"/>
                  </a:cubicBezTo>
                  <a:lnTo>
                    <a:pt x="283544" y="9904"/>
                  </a:lnTo>
                  <a:lnTo>
                    <a:pt x="302632" y="9904"/>
                  </a:lnTo>
                  <a:lnTo>
                    <a:pt x="302632" y="0"/>
                  </a:lnTo>
                  <a:lnTo>
                    <a:pt x="273640" y="0"/>
                  </a:lnTo>
                  <a:close/>
                </a:path>
              </a:pathLst>
            </a:custGeom>
            <a:solidFill>
              <a:schemeClr val="tx2"/>
            </a:solidFill>
            <a:ln w="635" cap="flat">
              <a:noFill/>
              <a:prstDash val="solid"/>
              <a:miter/>
            </a:ln>
          </p:spPr>
          <p:txBody>
            <a:bodyPr rtlCol="0" anchor="ctr"/>
            <a:lstStyle/>
            <a:p>
              <a:endParaRPr lang="en-GB" dirty="0"/>
            </a:p>
          </p:txBody>
        </p:sp>
      </p:grpSp>
      <p:sp>
        <p:nvSpPr>
          <p:cNvPr id="121" name="Freihandform: Form 120">
            <a:extLst>
              <a:ext uri="{FF2B5EF4-FFF2-40B4-BE49-F238E27FC236}">
                <a16:creationId xmlns:a16="http://schemas.microsoft.com/office/drawing/2014/main" id="{7C6C9445-D841-4B89-A0C9-B98CF46B6526}"/>
              </a:ext>
            </a:extLst>
          </p:cNvPr>
          <p:cNvSpPr>
            <a:spLocks noChangeAspect="1"/>
          </p:cNvSpPr>
          <p:nvPr/>
        </p:nvSpPr>
        <p:spPr>
          <a:xfrm>
            <a:off x="2172107" y="4215829"/>
            <a:ext cx="377779" cy="324000"/>
          </a:xfrm>
          <a:custGeom>
            <a:avLst/>
            <a:gdLst>
              <a:gd name="connsiteX0" fmla="*/ 415717 w 415716"/>
              <a:gd name="connsiteY0" fmla="*/ 273748 h 356536"/>
              <a:gd name="connsiteX1" fmla="*/ 379986 w 415716"/>
              <a:gd name="connsiteY1" fmla="*/ 221045 h 356536"/>
              <a:gd name="connsiteX2" fmla="*/ 379986 w 415716"/>
              <a:gd name="connsiteY2" fmla="*/ 171521 h 356536"/>
              <a:gd name="connsiteX3" fmla="*/ 208033 w 415716"/>
              <a:gd name="connsiteY3" fmla="*/ 0 h 356536"/>
              <a:gd name="connsiteX4" fmla="*/ 36074 w 415716"/>
              <a:gd name="connsiteY4" fmla="*/ 171521 h 356536"/>
              <a:gd name="connsiteX5" fmla="*/ 36074 w 415716"/>
              <a:gd name="connsiteY5" fmla="*/ 221045 h 356536"/>
              <a:gd name="connsiteX6" fmla="*/ 0 w 415716"/>
              <a:gd name="connsiteY6" fmla="*/ 273996 h 356536"/>
              <a:gd name="connsiteX7" fmla="*/ 52029 w 415716"/>
              <a:gd name="connsiteY7" fmla="*/ 330722 h 356536"/>
              <a:gd name="connsiteX8" fmla="*/ 52029 w 415716"/>
              <a:gd name="connsiteY8" fmla="*/ 330824 h 356536"/>
              <a:gd name="connsiteX9" fmla="*/ 77792 w 415716"/>
              <a:gd name="connsiteY9" fmla="*/ 356536 h 356536"/>
              <a:gd name="connsiteX10" fmla="*/ 103556 w 415716"/>
              <a:gd name="connsiteY10" fmla="*/ 330824 h 356536"/>
              <a:gd name="connsiteX11" fmla="*/ 103556 w 415716"/>
              <a:gd name="connsiteY11" fmla="*/ 216665 h 356536"/>
              <a:gd name="connsiteX12" fmla="*/ 77792 w 415716"/>
              <a:gd name="connsiteY12" fmla="*/ 190959 h 356536"/>
              <a:gd name="connsiteX13" fmla="*/ 76197 w 415716"/>
              <a:gd name="connsiteY13" fmla="*/ 191042 h 356536"/>
              <a:gd name="connsiteX14" fmla="*/ 76197 w 415716"/>
              <a:gd name="connsiteY14" fmla="*/ 175112 h 356536"/>
              <a:gd name="connsiteX15" fmla="*/ 208033 w 415716"/>
              <a:gd name="connsiteY15" fmla="*/ 43632 h 356536"/>
              <a:gd name="connsiteX16" fmla="*/ 339863 w 415716"/>
              <a:gd name="connsiteY16" fmla="*/ 175112 h 356536"/>
              <a:gd name="connsiteX17" fmla="*/ 339863 w 415716"/>
              <a:gd name="connsiteY17" fmla="*/ 191054 h 356536"/>
              <a:gd name="connsiteX18" fmla="*/ 337925 w 415716"/>
              <a:gd name="connsiteY18" fmla="*/ 190959 h 356536"/>
              <a:gd name="connsiteX19" fmla="*/ 312161 w 415716"/>
              <a:gd name="connsiteY19" fmla="*/ 216665 h 356536"/>
              <a:gd name="connsiteX20" fmla="*/ 312161 w 415716"/>
              <a:gd name="connsiteY20" fmla="*/ 330824 h 356536"/>
              <a:gd name="connsiteX21" fmla="*/ 337925 w 415716"/>
              <a:gd name="connsiteY21" fmla="*/ 356536 h 356536"/>
              <a:gd name="connsiteX22" fmla="*/ 363688 w 415716"/>
              <a:gd name="connsiteY22" fmla="*/ 330824 h 356536"/>
              <a:gd name="connsiteX23" fmla="*/ 363688 w 415716"/>
              <a:gd name="connsiteY23" fmla="*/ 330335 h 356536"/>
              <a:gd name="connsiteX24" fmla="*/ 415717 w 415716"/>
              <a:gd name="connsiteY24" fmla="*/ 273748 h 356536"/>
              <a:gd name="connsiteX25" fmla="*/ 9910 w 415716"/>
              <a:gd name="connsiteY25" fmla="*/ 274002 h 356536"/>
              <a:gd name="connsiteX26" fmla="*/ 52035 w 415716"/>
              <a:gd name="connsiteY26" fmla="*/ 227192 h 356536"/>
              <a:gd name="connsiteX27" fmla="*/ 52035 w 415716"/>
              <a:gd name="connsiteY27" fmla="*/ 320812 h 356536"/>
              <a:gd name="connsiteX28" fmla="*/ 9910 w 415716"/>
              <a:gd name="connsiteY28" fmla="*/ 274002 h 356536"/>
              <a:gd name="connsiteX29" fmla="*/ 93659 w 415716"/>
              <a:gd name="connsiteY29" fmla="*/ 216672 h 356536"/>
              <a:gd name="connsiteX30" fmla="*/ 93659 w 415716"/>
              <a:gd name="connsiteY30" fmla="*/ 330830 h 356536"/>
              <a:gd name="connsiteX31" fmla="*/ 77799 w 415716"/>
              <a:gd name="connsiteY31" fmla="*/ 346639 h 356536"/>
              <a:gd name="connsiteX32" fmla="*/ 61939 w 415716"/>
              <a:gd name="connsiteY32" fmla="*/ 330830 h 356536"/>
              <a:gd name="connsiteX33" fmla="*/ 61939 w 415716"/>
              <a:gd name="connsiteY33" fmla="*/ 216672 h 356536"/>
              <a:gd name="connsiteX34" fmla="*/ 77799 w 415716"/>
              <a:gd name="connsiteY34" fmla="*/ 200869 h 356536"/>
              <a:gd name="connsiteX35" fmla="*/ 93659 w 415716"/>
              <a:gd name="connsiteY35" fmla="*/ 216672 h 356536"/>
              <a:gd name="connsiteX36" fmla="*/ 353791 w 415716"/>
              <a:gd name="connsiteY36" fmla="*/ 330830 h 356536"/>
              <a:gd name="connsiteX37" fmla="*/ 337931 w 415716"/>
              <a:gd name="connsiteY37" fmla="*/ 346639 h 356536"/>
              <a:gd name="connsiteX38" fmla="*/ 322071 w 415716"/>
              <a:gd name="connsiteY38" fmla="*/ 330830 h 356536"/>
              <a:gd name="connsiteX39" fmla="*/ 322071 w 415716"/>
              <a:gd name="connsiteY39" fmla="*/ 216672 h 356536"/>
              <a:gd name="connsiteX40" fmla="*/ 337931 w 415716"/>
              <a:gd name="connsiteY40" fmla="*/ 200869 h 356536"/>
              <a:gd name="connsiteX41" fmla="*/ 353791 w 415716"/>
              <a:gd name="connsiteY41" fmla="*/ 216672 h 356536"/>
              <a:gd name="connsiteX42" fmla="*/ 353791 w 415716"/>
              <a:gd name="connsiteY42" fmla="*/ 330830 h 356536"/>
              <a:gd name="connsiteX43" fmla="*/ 349773 w 415716"/>
              <a:gd name="connsiteY43" fmla="*/ 193864 h 356536"/>
              <a:gd name="connsiteX44" fmla="*/ 349773 w 415716"/>
              <a:gd name="connsiteY44" fmla="*/ 175112 h 356536"/>
              <a:gd name="connsiteX45" fmla="*/ 208040 w 415716"/>
              <a:gd name="connsiteY45" fmla="*/ 33728 h 356536"/>
              <a:gd name="connsiteX46" fmla="*/ 66300 w 415716"/>
              <a:gd name="connsiteY46" fmla="*/ 175112 h 356536"/>
              <a:gd name="connsiteX47" fmla="*/ 66300 w 415716"/>
              <a:gd name="connsiteY47" fmla="*/ 193699 h 356536"/>
              <a:gd name="connsiteX48" fmla="*/ 52035 w 415716"/>
              <a:gd name="connsiteY48" fmla="*/ 216672 h 356536"/>
              <a:gd name="connsiteX49" fmla="*/ 52035 w 415716"/>
              <a:gd name="connsiteY49" fmla="*/ 217276 h 356536"/>
              <a:gd name="connsiteX50" fmla="*/ 45984 w 415716"/>
              <a:gd name="connsiteY50" fmla="*/ 218115 h 356536"/>
              <a:gd name="connsiteX51" fmla="*/ 45984 w 415716"/>
              <a:gd name="connsiteY51" fmla="*/ 171527 h 356536"/>
              <a:gd name="connsiteX52" fmla="*/ 208040 w 415716"/>
              <a:gd name="connsiteY52" fmla="*/ 9910 h 356536"/>
              <a:gd name="connsiteX53" fmla="*/ 370089 w 415716"/>
              <a:gd name="connsiteY53" fmla="*/ 171527 h 356536"/>
              <a:gd name="connsiteX54" fmla="*/ 370089 w 415716"/>
              <a:gd name="connsiteY54" fmla="*/ 218045 h 356536"/>
              <a:gd name="connsiteX55" fmla="*/ 363694 w 415716"/>
              <a:gd name="connsiteY55" fmla="*/ 217161 h 356536"/>
              <a:gd name="connsiteX56" fmla="*/ 363694 w 415716"/>
              <a:gd name="connsiteY56" fmla="*/ 216672 h 356536"/>
              <a:gd name="connsiteX57" fmla="*/ 349773 w 415716"/>
              <a:gd name="connsiteY57" fmla="*/ 193864 h 356536"/>
              <a:gd name="connsiteX58" fmla="*/ 363694 w 415716"/>
              <a:gd name="connsiteY58" fmla="*/ 320424 h 356536"/>
              <a:gd name="connsiteX59" fmla="*/ 363694 w 415716"/>
              <a:gd name="connsiteY59" fmla="*/ 227078 h 356536"/>
              <a:gd name="connsiteX60" fmla="*/ 405820 w 415716"/>
              <a:gd name="connsiteY60" fmla="*/ 273754 h 356536"/>
              <a:gd name="connsiteX61" fmla="*/ 363694 w 415716"/>
              <a:gd name="connsiteY61" fmla="*/ 320424 h 356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415716" h="356536">
                <a:moveTo>
                  <a:pt x="415717" y="273748"/>
                </a:moveTo>
                <a:cubicBezTo>
                  <a:pt x="415717" y="249898"/>
                  <a:pt x="400906" y="229474"/>
                  <a:pt x="379986" y="221045"/>
                </a:cubicBezTo>
                <a:lnTo>
                  <a:pt x="379986" y="171521"/>
                </a:lnTo>
                <a:cubicBezTo>
                  <a:pt x="379986" y="76947"/>
                  <a:pt x="302849" y="0"/>
                  <a:pt x="208033" y="0"/>
                </a:cubicBezTo>
                <a:cubicBezTo>
                  <a:pt x="113218" y="0"/>
                  <a:pt x="36074" y="76941"/>
                  <a:pt x="36074" y="171521"/>
                </a:cubicBezTo>
                <a:lnTo>
                  <a:pt x="36074" y="221045"/>
                </a:lnTo>
                <a:cubicBezTo>
                  <a:pt x="14976" y="229404"/>
                  <a:pt x="0" y="249968"/>
                  <a:pt x="0" y="273996"/>
                </a:cubicBezTo>
                <a:cubicBezTo>
                  <a:pt x="0" y="303745"/>
                  <a:pt x="22922" y="328199"/>
                  <a:pt x="52029" y="330722"/>
                </a:cubicBezTo>
                <a:lnTo>
                  <a:pt x="52029" y="330824"/>
                </a:lnTo>
                <a:cubicBezTo>
                  <a:pt x="52029" y="344999"/>
                  <a:pt x="63585" y="356536"/>
                  <a:pt x="77792" y="356536"/>
                </a:cubicBezTo>
                <a:cubicBezTo>
                  <a:pt x="91999" y="356536"/>
                  <a:pt x="103556" y="344999"/>
                  <a:pt x="103556" y="330824"/>
                </a:cubicBezTo>
                <a:lnTo>
                  <a:pt x="103556" y="216665"/>
                </a:lnTo>
                <a:cubicBezTo>
                  <a:pt x="103556" y="202490"/>
                  <a:pt x="91999" y="190959"/>
                  <a:pt x="77792" y="190959"/>
                </a:cubicBezTo>
                <a:cubicBezTo>
                  <a:pt x="77252" y="190959"/>
                  <a:pt x="76724" y="191010"/>
                  <a:pt x="76197" y="191042"/>
                </a:cubicBezTo>
                <a:lnTo>
                  <a:pt x="76197" y="175112"/>
                </a:lnTo>
                <a:cubicBezTo>
                  <a:pt x="76197" y="102615"/>
                  <a:pt x="135339" y="43632"/>
                  <a:pt x="208033" y="43632"/>
                </a:cubicBezTo>
                <a:cubicBezTo>
                  <a:pt x="280721" y="43632"/>
                  <a:pt x="339863" y="102615"/>
                  <a:pt x="339863" y="175112"/>
                </a:cubicBezTo>
                <a:lnTo>
                  <a:pt x="339863" y="191054"/>
                </a:lnTo>
                <a:cubicBezTo>
                  <a:pt x="339221" y="191004"/>
                  <a:pt x="338579" y="190959"/>
                  <a:pt x="337925" y="190959"/>
                </a:cubicBezTo>
                <a:cubicBezTo>
                  <a:pt x="323717" y="190959"/>
                  <a:pt x="312161" y="202490"/>
                  <a:pt x="312161" y="216665"/>
                </a:cubicBezTo>
                <a:lnTo>
                  <a:pt x="312161" y="330824"/>
                </a:lnTo>
                <a:cubicBezTo>
                  <a:pt x="312161" y="344999"/>
                  <a:pt x="323717" y="356536"/>
                  <a:pt x="337925" y="356536"/>
                </a:cubicBezTo>
                <a:cubicBezTo>
                  <a:pt x="352132" y="356536"/>
                  <a:pt x="363688" y="344999"/>
                  <a:pt x="363688" y="330824"/>
                </a:cubicBezTo>
                <a:lnTo>
                  <a:pt x="363688" y="330335"/>
                </a:lnTo>
                <a:cubicBezTo>
                  <a:pt x="392795" y="327824"/>
                  <a:pt x="415717" y="303427"/>
                  <a:pt x="415717" y="273748"/>
                </a:cubicBezTo>
                <a:close/>
                <a:moveTo>
                  <a:pt x="9910" y="274002"/>
                </a:moveTo>
                <a:cubicBezTo>
                  <a:pt x="9910" y="249720"/>
                  <a:pt x="28395" y="229677"/>
                  <a:pt x="52035" y="227192"/>
                </a:cubicBezTo>
                <a:lnTo>
                  <a:pt x="52035" y="320812"/>
                </a:lnTo>
                <a:cubicBezTo>
                  <a:pt x="28395" y="318327"/>
                  <a:pt x="9910" y="298285"/>
                  <a:pt x="9910" y="274002"/>
                </a:cubicBezTo>
                <a:close/>
                <a:moveTo>
                  <a:pt x="93659" y="216672"/>
                </a:moveTo>
                <a:lnTo>
                  <a:pt x="93659" y="330830"/>
                </a:lnTo>
                <a:cubicBezTo>
                  <a:pt x="93659" y="339545"/>
                  <a:pt x="86546" y="346639"/>
                  <a:pt x="77799" y="346639"/>
                </a:cubicBezTo>
                <a:cubicBezTo>
                  <a:pt x="69052" y="346639"/>
                  <a:pt x="61939" y="339552"/>
                  <a:pt x="61939" y="330830"/>
                </a:cubicBezTo>
                <a:lnTo>
                  <a:pt x="61939" y="216672"/>
                </a:lnTo>
                <a:cubicBezTo>
                  <a:pt x="61939" y="207957"/>
                  <a:pt x="69052" y="200869"/>
                  <a:pt x="77799" y="200869"/>
                </a:cubicBezTo>
                <a:cubicBezTo>
                  <a:pt x="86539" y="200869"/>
                  <a:pt x="93659" y="207957"/>
                  <a:pt x="93659" y="216672"/>
                </a:cubicBezTo>
                <a:close/>
                <a:moveTo>
                  <a:pt x="353791" y="330830"/>
                </a:moveTo>
                <a:cubicBezTo>
                  <a:pt x="353791" y="339545"/>
                  <a:pt x="346678" y="346639"/>
                  <a:pt x="337931" y="346639"/>
                </a:cubicBezTo>
                <a:cubicBezTo>
                  <a:pt x="329191" y="346639"/>
                  <a:pt x="322071" y="339552"/>
                  <a:pt x="322071" y="330830"/>
                </a:cubicBezTo>
                <a:lnTo>
                  <a:pt x="322071" y="216672"/>
                </a:lnTo>
                <a:cubicBezTo>
                  <a:pt x="322071" y="207957"/>
                  <a:pt x="329184" y="200869"/>
                  <a:pt x="337931" y="200869"/>
                </a:cubicBezTo>
                <a:cubicBezTo>
                  <a:pt x="346671" y="200869"/>
                  <a:pt x="353791" y="207957"/>
                  <a:pt x="353791" y="216672"/>
                </a:cubicBezTo>
                <a:lnTo>
                  <a:pt x="353791" y="330830"/>
                </a:lnTo>
                <a:close/>
                <a:moveTo>
                  <a:pt x="349773" y="193864"/>
                </a:moveTo>
                <a:lnTo>
                  <a:pt x="349773" y="175112"/>
                </a:lnTo>
                <a:cubicBezTo>
                  <a:pt x="349773" y="97155"/>
                  <a:pt x="286188" y="33728"/>
                  <a:pt x="208040" y="33728"/>
                </a:cubicBezTo>
                <a:cubicBezTo>
                  <a:pt x="129885" y="33728"/>
                  <a:pt x="66300" y="97148"/>
                  <a:pt x="66300" y="175112"/>
                </a:cubicBezTo>
                <a:lnTo>
                  <a:pt x="66300" y="193699"/>
                </a:lnTo>
                <a:cubicBezTo>
                  <a:pt x="57858" y="197926"/>
                  <a:pt x="52035" y="206622"/>
                  <a:pt x="52035" y="216672"/>
                </a:cubicBezTo>
                <a:lnTo>
                  <a:pt x="52035" y="217276"/>
                </a:lnTo>
                <a:cubicBezTo>
                  <a:pt x="49989" y="217454"/>
                  <a:pt x="47967" y="217727"/>
                  <a:pt x="45984" y="218115"/>
                </a:cubicBezTo>
                <a:lnTo>
                  <a:pt x="45984" y="171527"/>
                </a:lnTo>
                <a:cubicBezTo>
                  <a:pt x="45984" y="82414"/>
                  <a:pt x="118678" y="9910"/>
                  <a:pt x="208040" y="9910"/>
                </a:cubicBezTo>
                <a:cubicBezTo>
                  <a:pt x="297395" y="9910"/>
                  <a:pt x="370089" y="82414"/>
                  <a:pt x="370089" y="171527"/>
                </a:cubicBezTo>
                <a:lnTo>
                  <a:pt x="370089" y="218045"/>
                </a:lnTo>
                <a:cubicBezTo>
                  <a:pt x="367998" y="217625"/>
                  <a:pt x="365862" y="217346"/>
                  <a:pt x="363694" y="217161"/>
                </a:cubicBezTo>
                <a:lnTo>
                  <a:pt x="363694" y="216672"/>
                </a:lnTo>
                <a:cubicBezTo>
                  <a:pt x="363694" y="206755"/>
                  <a:pt x="358030" y="198155"/>
                  <a:pt x="349773" y="193864"/>
                </a:cubicBezTo>
                <a:close/>
                <a:moveTo>
                  <a:pt x="363694" y="320424"/>
                </a:moveTo>
                <a:lnTo>
                  <a:pt x="363694" y="227078"/>
                </a:lnTo>
                <a:cubicBezTo>
                  <a:pt x="387328" y="229557"/>
                  <a:pt x="405820" y="249535"/>
                  <a:pt x="405820" y="273754"/>
                </a:cubicBezTo>
                <a:cubicBezTo>
                  <a:pt x="405813" y="297967"/>
                  <a:pt x="387328" y="317945"/>
                  <a:pt x="363694" y="320424"/>
                </a:cubicBezTo>
                <a:close/>
              </a:path>
            </a:pathLst>
          </a:custGeom>
          <a:solidFill>
            <a:schemeClr val="tx2"/>
          </a:solidFill>
          <a:ln w="635" cap="flat">
            <a:noFill/>
            <a:prstDash val="solid"/>
            <a:miter/>
          </a:ln>
        </p:spPr>
        <p:txBody>
          <a:bodyPr rtlCol="0" anchor="ctr"/>
          <a:lstStyle/>
          <a:p>
            <a:endParaRPr lang="en-GB" dirty="0"/>
          </a:p>
        </p:txBody>
      </p:sp>
      <p:grpSp>
        <p:nvGrpSpPr>
          <p:cNvPr id="122" name="Gruppieren 121">
            <a:extLst>
              <a:ext uri="{FF2B5EF4-FFF2-40B4-BE49-F238E27FC236}">
                <a16:creationId xmlns:a16="http://schemas.microsoft.com/office/drawing/2014/main" id="{D6A4EF56-E5B8-4EC3-862C-28DC389539BB}"/>
              </a:ext>
            </a:extLst>
          </p:cNvPr>
          <p:cNvGrpSpPr>
            <a:grpSpLocks noChangeAspect="1"/>
          </p:cNvGrpSpPr>
          <p:nvPr/>
        </p:nvGrpSpPr>
        <p:grpSpPr>
          <a:xfrm>
            <a:off x="3862030" y="3568650"/>
            <a:ext cx="324000" cy="324000"/>
            <a:chOff x="3568045" y="3693661"/>
            <a:chExt cx="340029" cy="340028"/>
          </a:xfrm>
        </p:grpSpPr>
        <p:sp>
          <p:nvSpPr>
            <p:cNvPr id="123" name="Freihandform: Form 122">
              <a:extLst>
                <a:ext uri="{FF2B5EF4-FFF2-40B4-BE49-F238E27FC236}">
                  <a16:creationId xmlns:a16="http://schemas.microsoft.com/office/drawing/2014/main" id="{BB3D9087-3E9E-4E74-8792-11C12D4F8AAD}"/>
                </a:ext>
              </a:extLst>
            </p:cNvPr>
            <p:cNvSpPr/>
            <p:nvPr/>
          </p:nvSpPr>
          <p:spPr>
            <a:xfrm>
              <a:off x="3568045" y="3693661"/>
              <a:ext cx="340029" cy="340028"/>
            </a:xfrm>
            <a:custGeom>
              <a:avLst/>
              <a:gdLst>
                <a:gd name="connsiteX0" fmla="*/ 170014 w 340028"/>
                <a:gd name="connsiteY0" fmla="*/ 0 h 340028"/>
                <a:gd name="connsiteX1" fmla="*/ 0 w 340028"/>
                <a:gd name="connsiteY1" fmla="*/ 170014 h 340028"/>
                <a:gd name="connsiteX2" fmla="*/ 170014 w 340028"/>
                <a:gd name="connsiteY2" fmla="*/ 340029 h 340028"/>
                <a:gd name="connsiteX3" fmla="*/ 340028 w 340028"/>
                <a:gd name="connsiteY3" fmla="*/ 170014 h 340028"/>
                <a:gd name="connsiteX4" fmla="*/ 170014 w 340028"/>
                <a:gd name="connsiteY4" fmla="*/ 0 h 340028"/>
                <a:gd name="connsiteX5" fmla="*/ 170014 w 340028"/>
                <a:gd name="connsiteY5" fmla="*/ 330125 h 340028"/>
                <a:gd name="connsiteX6" fmla="*/ 9903 w 340028"/>
                <a:gd name="connsiteY6" fmla="*/ 170014 h 340028"/>
                <a:gd name="connsiteX7" fmla="*/ 170014 w 340028"/>
                <a:gd name="connsiteY7" fmla="*/ 9904 h 340028"/>
                <a:gd name="connsiteX8" fmla="*/ 330125 w 340028"/>
                <a:gd name="connsiteY8" fmla="*/ 170014 h 340028"/>
                <a:gd name="connsiteX9" fmla="*/ 170014 w 340028"/>
                <a:gd name="connsiteY9" fmla="*/ 330125 h 34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028" h="340028">
                  <a:moveTo>
                    <a:pt x="170014" y="0"/>
                  </a:moveTo>
                  <a:cubicBezTo>
                    <a:pt x="76267" y="0"/>
                    <a:pt x="0" y="76267"/>
                    <a:pt x="0" y="170014"/>
                  </a:cubicBezTo>
                  <a:cubicBezTo>
                    <a:pt x="0" y="263762"/>
                    <a:pt x="76267" y="340029"/>
                    <a:pt x="170014" y="340029"/>
                  </a:cubicBezTo>
                  <a:cubicBezTo>
                    <a:pt x="263762" y="340029"/>
                    <a:pt x="340028" y="263762"/>
                    <a:pt x="340028" y="170014"/>
                  </a:cubicBezTo>
                  <a:cubicBezTo>
                    <a:pt x="340022" y="76267"/>
                    <a:pt x="263755" y="0"/>
                    <a:pt x="170014" y="0"/>
                  </a:cubicBezTo>
                  <a:close/>
                  <a:moveTo>
                    <a:pt x="170014" y="330125"/>
                  </a:moveTo>
                  <a:cubicBezTo>
                    <a:pt x="81727" y="330125"/>
                    <a:pt x="9903" y="258301"/>
                    <a:pt x="9903" y="170014"/>
                  </a:cubicBezTo>
                  <a:cubicBezTo>
                    <a:pt x="9903" y="81727"/>
                    <a:pt x="81727" y="9904"/>
                    <a:pt x="170014" y="9904"/>
                  </a:cubicBezTo>
                  <a:cubicBezTo>
                    <a:pt x="258301" y="9904"/>
                    <a:pt x="330125" y="81727"/>
                    <a:pt x="330125" y="170014"/>
                  </a:cubicBezTo>
                  <a:cubicBezTo>
                    <a:pt x="330118" y="258301"/>
                    <a:pt x="258295" y="330125"/>
                    <a:pt x="170014" y="330125"/>
                  </a:cubicBezTo>
                  <a:close/>
                </a:path>
              </a:pathLst>
            </a:custGeom>
            <a:solidFill>
              <a:schemeClr val="tx2"/>
            </a:solidFill>
            <a:ln w="635" cap="flat">
              <a:noFill/>
              <a:prstDash val="solid"/>
              <a:miter/>
            </a:ln>
          </p:spPr>
          <p:txBody>
            <a:bodyPr rtlCol="0" anchor="ctr"/>
            <a:lstStyle/>
            <a:p>
              <a:endParaRPr lang="en-GB" dirty="0"/>
            </a:p>
          </p:txBody>
        </p:sp>
        <p:sp>
          <p:nvSpPr>
            <p:cNvPr id="124" name="Freihandform: Form 123">
              <a:extLst>
                <a:ext uri="{FF2B5EF4-FFF2-40B4-BE49-F238E27FC236}">
                  <a16:creationId xmlns:a16="http://schemas.microsoft.com/office/drawing/2014/main" id="{D3F32802-5EC6-4726-AD62-6733A8ACF7D3}"/>
                </a:ext>
              </a:extLst>
            </p:cNvPr>
            <p:cNvSpPr/>
            <p:nvPr/>
          </p:nvSpPr>
          <p:spPr>
            <a:xfrm>
              <a:off x="3597755" y="3723367"/>
              <a:ext cx="280607" cy="280606"/>
            </a:xfrm>
            <a:custGeom>
              <a:avLst/>
              <a:gdLst>
                <a:gd name="connsiteX0" fmla="*/ 140304 w 280606"/>
                <a:gd name="connsiteY0" fmla="*/ 0 h 280606"/>
                <a:gd name="connsiteX1" fmla="*/ 0 w 280606"/>
                <a:gd name="connsiteY1" fmla="*/ 140310 h 280606"/>
                <a:gd name="connsiteX2" fmla="*/ 140304 w 280606"/>
                <a:gd name="connsiteY2" fmla="*/ 280607 h 280606"/>
                <a:gd name="connsiteX3" fmla="*/ 280607 w 280606"/>
                <a:gd name="connsiteY3" fmla="*/ 140310 h 280606"/>
                <a:gd name="connsiteX4" fmla="*/ 140304 w 280606"/>
                <a:gd name="connsiteY4" fmla="*/ 0 h 280606"/>
                <a:gd name="connsiteX5" fmla="*/ 140304 w 280606"/>
                <a:gd name="connsiteY5" fmla="*/ 270703 h 280606"/>
                <a:gd name="connsiteX6" fmla="*/ 9904 w 280606"/>
                <a:gd name="connsiteY6" fmla="*/ 140310 h 280606"/>
                <a:gd name="connsiteX7" fmla="*/ 140304 w 280606"/>
                <a:gd name="connsiteY7" fmla="*/ 9904 h 280606"/>
                <a:gd name="connsiteX8" fmla="*/ 270703 w 280606"/>
                <a:gd name="connsiteY8" fmla="*/ 140310 h 280606"/>
                <a:gd name="connsiteX9" fmla="*/ 140304 w 280606"/>
                <a:gd name="connsiteY9" fmla="*/ 270703 h 28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06" h="280606">
                  <a:moveTo>
                    <a:pt x="140304" y="0"/>
                  </a:moveTo>
                  <a:cubicBezTo>
                    <a:pt x="62943" y="0"/>
                    <a:pt x="0" y="62943"/>
                    <a:pt x="0" y="140310"/>
                  </a:cubicBezTo>
                  <a:cubicBezTo>
                    <a:pt x="0" y="217670"/>
                    <a:pt x="62937" y="280607"/>
                    <a:pt x="140304" y="280607"/>
                  </a:cubicBezTo>
                  <a:cubicBezTo>
                    <a:pt x="217663" y="280607"/>
                    <a:pt x="280607" y="217670"/>
                    <a:pt x="280607" y="140310"/>
                  </a:cubicBezTo>
                  <a:cubicBezTo>
                    <a:pt x="280601" y="62943"/>
                    <a:pt x="217663" y="0"/>
                    <a:pt x="140304" y="0"/>
                  </a:cubicBezTo>
                  <a:close/>
                  <a:moveTo>
                    <a:pt x="140304" y="270703"/>
                  </a:moveTo>
                  <a:cubicBezTo>
                    <a:pt x="68404" y="270703"/>
                    <a:pt x="9904" y="212210"/>
                    <a:pt x="9904" y="140310"/>
                  </a:cubicBezTo>
                  <a:cubicBezTo>
                    <a:pt x="9904" y="68404"/>
                    <a:pt x="68397" y="9904"/>
                    <a:pt x="140304" y="9904"/>
                  </a:cubicBezTo>
                  <a:cubicBezTo>
                    <a:pt x="212203" y="9904"/>
                    <a:pt x="270703" y="68404"/>
                    <a:pt x="270703" y="140310"/>
                  </a:cubicBezTo>
                  <a:cubicBezTo>
                    <a:pt x="270697" y="212210"/>
                    <a:pt x="212203" y="270703"/>
                    <a:pt x="140304" y="270703"/>
                  </a:cubicBezTo>
                  <a:close/>
                </a:path>
              </a:pathLst>
            </a:custGeom>
            <a:solidFill>
              <a:schemeClr val="tx2"/>
            </a:solidFill>
            <a:ln w="635" cap="flat">
              <a:noFill/>
              <a:prstDash val="solid"/>
              <a:miter/>
            </a:ln>
          </p:spPr>
          <p:txBody>
            <a:bodyPr rtlCol="0" anchor="ctr"/>
            <a:lstStyle/>
            <a:p>
              <a:endParaRPr lang="en-GB" dirty="0"/>
            </a:p>
          </p:txBody>
        </p:sp>
        <p:grpSp>
          <p:nvGrpSpPr>
            <p:cNvPr id="125" name="Gruppieren 124">
              <a:extLst>
                <a:ext uri="{FF2B5EF4-FFF2-40B4-BE49-F238E27FC236}">
                  <a16:creationId xmlns:a16="http://schemas.microsoft.com/office/drawing/2014/main" id="{58D4E52C-DA66-481E-A6BF-F7B4F25202A5}"/>
                </a:ext>
              </a:extLst>
            </p:cNvPr>
            <p:cNvGrpSpPr/>
            <p:nvPr/>
          </p:nvGrpSpPr>
          <p:grpSpPr>
            <a:xfrm>
              <a:off x="3659014" y="3782082"/>
              <a:ext cx="158039" cy="168145"/>
              <a:chOff x="3659014" y="3782082"/>
              <a:chExt cx="158038" cy="168145"/>
            </a:xfrm>
          </p:grpSpPr>
          <p:sp>
            <p:nvSpPr>
              <p:cNvPr id="126" name="Freihandform: Form 125">
                <a:extLst>
                  <a:ext uri="{FF2B5EF4-FFF2-40B4-BE49-F238E27FC236}">
                    <a16:creationId xmlns:a16="http://schemas.microsoft.com/office/drawing/2014/main" id="{C7A1F945-7A25-4E5E-9DFD-E635FD221078}"/>
                  </a:ext>
                </a:extLst>
              </p:cNvPr>
              <p:cNvSpPr/>
              <p:nvPr/>
            </p:nvSpPr>
            <p:spPr>
              <a:xfrm>
                <a:off x="3659014" y="3803351"/>
                <a:ext cx="158038" cy="146876"/>
              </a:xfrm>
              <a:custGeom>
                <a:avLst/>
                <a:gdLst>
                  <a:gd name="connsiteX0" fmla="*/ 119536 w 158038"/>
                  <a:gd name="connsiteY0" fmla="*/ 0 h 146876"/>
                  <a:gd name="connsiteX1" fmla="*/ 114451 w 158038"/>
                  <a:gd name="connsiteY1" fmla="*/ 8499 h 146876"/>
                  <a:gd name="connsiteX2" fmla="*/ 148141 w 158038"/>
                  <a:gd name="connsiteY2" fmla="*/ 67851 h 146876"/>
                  <a:gd name="connsiteX3" fmla="*/ 148103 w 158038"/>
                  <a:gd name="connsiteY3" fmla="*/ 69351 h 146876"/>
                  <a:gd name="connsiteX4" fmla="*/ 148084 w 158038"/>
                  <a:gd name="connsiteY4" fmla="*/ 69974 h 146876"/>
                  <a:gd name="connsiteX5" fmla="*/ 79025 w 158038"/>
                  <a:gd name="connsiteY5" fmla="*/ 136966 h 146876"/>
                  <a:gd name="connsiteX6" fmla="*/ 9961 w 158038"/>
                  <a:gd name="connsiteY6" fmla="*/ 69974 h 146876"/>
                  <a:gd name="connsiteX7" fmla="*/ 9942 w 158038"/>
                  <a:gd name="connsiteY7" fmla="*/ 69440 h 146876"/>
                  <a:gd name="connsiteX8" fmla="*/ 9904 w 158038"/>
                  <a:gd name="connsiteY8" fmla="*/ 67857 h 146876"/>
                  <a:gd name="connsiteX9" fmla="*/ 43613 w 158038"/>
                  <a:gd name="connsiteY9" fmla="*/ 8537 h 146876"/>
                  <a:gd name="connsiteX10" fmla="*/ 38527 w 158038"/>
                  <a:gd name="connsiteY10" fmla="*/ 38 h 146876"/>
                  <a:gd name="connsiteX11" fmla="*/ 0 w 158038"/>
                  <a:gd name="connsiteY11" fmla="*/ 67857 h 146876"/>
                  <a:gd name="connsiteX12" fmla="*/ 44 w 158038"/>
                  <a:gd name="connsiteY12" fmla="*/ 69770 h 146876"/>
                  <a:gd name="connsiteX13" fmla="*/ 64 w 158038"/>
                  <a:gd name="connsiteY13" fmla="*/ 70279 h 146876"/>
                  <a:gd name="connsiteX14" fmla="*/ 79019 w 158038"/>
                  <a:gd name="connsiteY14" fmla="*/ 146876 h 146876"/>
                  <a:gd name="connsiteX15" fmla="*/ 157975 w 158038"/>
                  <a:gd name="connsiteY15" fmla="*/ 70279 h 146876"/>
                  <a:gd name="connsiteX16" fmla="*/ 157994 w 158038"/>
                  <a:gd name="connsiteY16" fmla="*/ 69700 h 146876"/>
                  <a:gd name="connsiteX17" fmla="*/ 158038 w 158038"/>
                  <a:gd name="connsiteY17" fmla="*/ 67857 h 146876"/>
                  <a:gd name="connsiteX18" fmla="*/ 119536 w 158038"/>
                  <a:gd name="connsiteY18" fmla="*/ 0 h 14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8038" h="146876">
                    <a:moveTo>
                      <a:pt x="119536" y="0"/>
                    </a:moveTo>
                    <a:lnTo>
                      <a:pt x="114451" y="8499"/>
                    </a:lnTo>
                    <a:cubicBezTo>
                      <a:pt x="135237" y="20932"/>
                      <a:pt x="148141" y="43676"/>
                      <a:pt x="148141" y="67851"/>
                    </a:cubicBezTo>
                    <a:cubicBezTo>
                      <a:pt x="148141" y="68353"/>
                      <a:pt x="148122" y="68849"/>
                      <a:pt x="148103" y="69351"/>
                    </a:cubicBezTo>
                    <a:lnTo>
                      <a:pt x="148084" y="69974"/>
                    </a:lnTo>
                    <a:cubicBezTo>
                      <a:pt x="146946" y="107535"/>
                      <a:pt x="116619" y="136966"/>
                      <a:pt x="79025" y="136966"/>
                    </a:cubicBezTo>
                    <a:cubicBezTo>
                      <a:pt x="41432" y="136966"/>
                      <a:pt x="11099" y="107541"/>
                      <a:pt x="9961" y="69974"/>
                    </a:cubicBezTo>
                    <a:lnTo>
                      <a:pt x="9942" y="69440"/>
                    </a:lnTo>
                    <a:cubicBezTo>
                      <a:pt x="9929" y="68912"/>
                      <a:pt x="9904" y="68385"/>
                      <a:pt x="9904" y="67857"/>
                    </a:cubicBezTo>
                    <a:cubicBezTo>
                      <a:pt x="9904" y="43346"/>
                      <a:pt x="22509" y="21168"/>
                      <a:pt x="43613" y="8537"/>
                    </a:cubicBezTo>
                    <a:lnTo>
                      <a:pt x="38527" y="38"/>
                    </a:lnTo>
                    <a:cubicBezTo>
                      <a:pt x="14766" y="14258"/>
                      <a:pt x="0" y="40244"/>
                      <a:pt x="0" y="67857"/>
                    </a:cubicBezTo>
                    <a:cubicBezTo>
                      <a:pt x="0" y="68499"/>
                      <a:pt x="19" y="69135"/>
                      <a:pt x="44" y="69770"/>
                    </a:cubicBezTo>
                    <a:lnTo>
                      <a:pt x="64" y="70279"/>
                    </a:lnTo>
                    <a:cubicBezTo>
                      <a:pt x="1360" y="113230"/>
                      <a:pt x="36042" y="146876"/>
                      <a:pt x="79019" y="146876"/>
                    </a:cubicBezTo>
                    <a:cubicBezTo>
                      <a:pt x="121996" y="146876"/>
                      <a:pt x="156678" y="113230"/>
                      <a:pt x="157975" y="70279"/>
                    </a:cubicBezTo>
                    <a:lnTo>
                      <a:pt x="157994" y="69700"/>
                    </a:lnTo>
                    <a:cubicBezTo>
                      <a:pt x="158019" y="69090"/>
                      <a:pt x="158038" y="68474"/>
                      <a:pt x="158038" y="67857"/>
                    </a:cubicBezTo>
                    <a:cubicBezTo>
                      <a:pt x="158045" y="40206"/>
                      <a:pt x="143291" y="14207"/>
                      <a:pt x="119536" y="0"/>
                    </a:cubicBezTo>
                    <a:close/>
                  </a:path>
                </a:pathLst>
              </a:custGeom>
              <a:solidFill>
                <a:schemeClr val="accent1"/>
              </a:solidFill>
              <a:ln w="635" cap="flat">
                <a:noFill/>
                <a:prstDash val="solid"/>
                <a:miter/>
              </a:ln>
            </p:spPr>
            <p:txBody>
              <a:bodyPr rtlCol="0" anchor="ctr"/>
              <a:lstStyle/>
              <a:p>
                <a:endParaRPr lang="en-GB" dirty="0"/>
              </a:p>
            </p:txBody>
          </p:sp>
          <p:sp>
            <p:nvSpPr>
              <p:cNvPr id="127" name="Freihandform: Form 126">
                <a:extLst>
                  <a:ext uri="{FF2B5EF4-FFF2-40B4-BE49-F238E27FC236}">
                    <a16:creationId xmlns:a16="http://schemas.microsoft.com/office/drawing/2014/main" id="{E1D2B0B5-CFC9-4636-92F3-E5AF23B1453F}"/>
                  </a:ext>
                </a:extLst>
              </p:cNvPr>
              <p:cNvSpPr/>
              <p:nvPr/>
            </p:nvSpPr>
            <p:spPr>
              <a:xfrm>
                <a:off x="3733094" y="3782082"/>
                <a:ext cx="9903" cy="60693"/>
              </a:xfrm>
              <a:custGeom>
                <a:avLst/>
                <a:gdLst>
                  <a:gd name="connsiteX0" fmla="*/ 0 w 9903"/>
                  <a:gd name="connsiteY0" fmla="*/ 0 h 60693"/>
                  <a:gd name="connsiteX1" fmla="*/ 9904 w 9903"/>
                  <a:gd name="connsiteY1" fmla="*/ 0 h 60693"/>
                  <a:gd name="connsiteX2" fmla="*/ 9904 w 9903"/>
                  <a:gd name="connsiteY2" fmla="*/ 60693 h 60693"/>
                  <a:gd name="connsiteX3" fmla="*/ 0 w 9903"/>
                  <a:gd name="connsiteY3" fmla="*/ 60693 h 60693"/>
                </a:gdLst>
                <a:ahLst/>
                <a:cxnLst>
                  <a:cxn ang="0">
                    <a:pos x="connsiteX0" y="connsiteY0"/>
                  </a:cxn>
                  <a:cxn ang="0">
                    <a:pos x="connsiteX1" y="connsiteY1"/>
                  </a:cxn>
                  <a:cxn ang="0">
                    <a:pos x="connsiteX2" y="connsiteY2"/>
                  </a:cxn>
                  <a:cxn ang="0">
                    <a:pos x="connsiteX3" y="connsiteY3"/>
                  </a:cxn>
                </a:cxnLst>
                <a:rect l="l" t="t" r="r" b="b"/>
                <a:pathLst>
                  <a:path w="9903" h="60693">
                    <a:moveTo>
                      <a:pt x="0" y="0"/>
                    </a:moveTo>
                    <a:lnTo>
                      <a:pt x="9904" y="0"/>
                    </a:lnTo>
                    <a:lnTo>
                      <a:pt x="9904" y="60693"/>
                    </a:lnTo>
                    <a:lnTo>
                      <a:pt x="0" y="60693"/>
                    </a:lnTo>
                    <a:close/>
                  </a:path>
                </a:pathLst>
              </a:custGeom>
              <a:solidFill>
                <a:schemeClr val="accent1"/>
              </a:solidFill>
              <a:ln w="635" cap="flat">
                <a:noFill/>
                <a:prstDash val="solid"/>
                <a:miter/>
              </a:ln>
            </p:spPr>
            <p:txBody>
              <a:bodyPr rtlCol="0" anchor="ctr"/>
              <a:lstStyle/>
              <a:p>
                <a:endParaRPr lang="en-GB" dirty="0"/>
              </a:p>
            </p:txBody>
          </p:sp>
        </p:grpSp>
      </p:grpSp>
      <p:grpSp>
        <p:nvGrpSpPr>
          <p:cNvPr id="128" name="Gruppieren 127">
            <a:extLst>
              <a:ext uri="{FF2B5EF4-FFF2-40B4-BE49-F238E27FC236}">
                <a16:creationId xmlns:a16="http://schemas.microsoft.com/office/drawing/2014/main" id="{9D03AAAD-E8EE-47FC-8F79-FB0507572DE9}"/>
              </a:ext>
            </a:extLst>
          </p:cNvPr>
          <p:cNvGrpSpPr>
            <a:grpSpLocks noChangeAspect="1"/>
          </p:cNvGrpSpPr>
          <p:nvPr/>
        </p:nvGrpSpPr>
        <p:grpSpPr>
          <a:xfrm>
            <a:off x="2132286" y="3568650"/>
            <a:ext cx="457421" cy="324000"/>
            <a:chOff x="2154020" y="3722209"/>
            <a:chExt cx="399443" cy="282933"/>
          </a:xfrm>
        </p:grpSpPr>
        <p:sp>
          <p:nvSpPr>
            <p:cNvPr id="129" name="Freihandform: Form 128">
              <a:extLst>
                <a:ext uri="{FF2B5EF4-FFF2-40B4-BE49-F238E27FC236}">
                  <a16:creationId xmlns:a16="http://schemas.microsoft.com/office/drawing/2014/main" id="{C164A1C0-7267-43EE-99FF-AE36991C11FC}"/>
                </a:ext>
              </a:extLst>
            </p:cNvPr>
            <p:cNvSpPr/>
            <p:nvPr/>
          </p:nvSpPr>
          <p:spPr>
            <a:xfrm>
              <a:off x="2177133" y="3751919"/>
              <a:ext cx="353231" cy="191467"/>
            </a:xfrm>
            <a:custGeom>
              <a:avLst/>
              <a:gdLst>
                <a:gd name="connsiteX0" fmla="*/ 0 w 353231"/>
                <a:gd name="connsiteY0" fmla="*/ 191468 h 191467"/>
                <a:gd name="connsiteX1" fmla="*/ 353231 w 353231"/>
                <a:gd name="connsiteY1" fmla="*/ 191468 h 191467"/>
                <a:gd name="connsiteX2" fmla="*/ 353231 w 353231"/>
                <a:gd name="connsiteY2" fmla="*/ 0 h 191467"/>
                <a:gd name="connsiteX3" fmla="*/ 0 w 353231"/>
                <a:gd name="connsiteY3" fmla="*/ 0 h 191467"/>
                <a:gd name="connsiteX4" fmla="*/ 0 w 353231"/>
                <a:gd name="connsiteY4" fmla="*/ 191468 h 191467"/>
                <a:gd name="connsiteX5" fmla="*/ 9904 w 353231"/>
                <a:gd name="connsiteY5" fmla="*/ 9904 h 191467"/>
                <a:gd name="connsiteX6" fmla="*/ 343328 w 353231"/>
                <a:gd name="connsiteY6" fmla="*/ 9904 h 191467"/>
                <a:gd name="connsiteX7" fmla="*/ 343328 w 353231"/>
                <a:gd name="connsiteY7" fmla="*/ 181564 h 191467"/>
                <a:gd name="connsiteX8" fmla="*/ 9904 w 353231"/>
                <a:gd name="connsiteY8" fmla="*/ 181564 h 191467"/>
                <a:gd name="connsiteX9" fmla="*/ 9904 w 353231"/>
                <a:gd name="connsiteY9" fmla="*/ 9904 h 19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3231" h="191467">
                  <a:moveTo>
                    <a:pt x="0" y="191468"/>
                  </a:moveTo>
                  <a:lnTo>
                    <a:pt x="353231" y="191468"/>
                  </a:lnTo>
                  <a:lnTo>
                    <a:pt x="353231" y="0"/>
                  </a:lnTo>
                  <a:lnTo>
                    <a:pt x="0" y="0"/>
                  </a:lnTo>
                  <a:lnTo>
                    <a:pt x="0" y="191468"/>
                  </a:lnTo>
                  <a:close/>
                  <a:moveTo>
                    <a:pt x="9904" y="9904"/>
                  </a:moveTo>
                  <a:lnTo>
                    <a:pt x="343328" y="9904"/>
                  </a:lnTo>
                  <a:lnTo>
                    <a:pt x="343328" y="181564"/>
                  </a:lnTo>
                  <a:lnTo>
                    <a:pt x="9904" y="181564"/>
                  </a:lnTo>
                  <a:lnTo>
                    <a:pt x="9904" y="9904"/>
                  </a:lnTo>
                  <a:close/>
                </a:path>
              </a:pathLst>
            </a:custGeom>
            <a:solidFill>
              <a:schemeClr val="accent1"/>
            </a:solidFill>
            <a:ln w="635" cap="flat">
              <a:noFill/>
              <a:prstDash val="solid"/>
              <a:miter/>
            </a:ln>
          </p:spPr>
          <p:txBody>
            <a:bodyPr rtlCol="0" anchor="ctr"/>
            <a:lstStyle/>
            <a:p>
              <a:endParaRPr lang="en-GB" dirty="0"/>
            </a:p>
          </p:txBody>
        </p:sp>
        <p:sp>
          <p:nvSpPr>
            <p:cNvPr id="130" name="Freihandform: Form 129">
              <a:extLst>
                <a:ext uri="{FF2B5EF4-FFF2-40B4-BE49-F238E27FC236}">
                  <a16:creationId xmlns:a16="http://schemas.microsoft.com/office/drawing/2014/main" id="{5A297AEE-1CAF-4899-BA7B-1DADDFD7B04D}"/>
                </a:ext>
              </a:extLst>
            </p:cNvPr>
            <p:cNvSpPr/>
            <p:nvPr/>
          </p:nvSpPr>
          <p:spPr>
            <a:xfrm>
              <a:off x="2154020" y="3722209"/>
              <a:ext cx="399443" cy="282933"/>
            </a:xfrm>
            <a:custGeom>
              <a:avLst/>
              <a:gdLst>
                <a:gd name="connsiteX0" fmla="*/ 392038 w 399443"/>
                <a:gd name="connsiteY0" fmla="*/ 7310 h 282933"/>
                <a:gd name="connsiteX1" fmla="*/ 374202 w 399443"/>
                <a:gd name="connsiteY1" fmla="*/ 0 h 282933"/>
                <a:gd name="connsiteX2" fmla="*/ 25242 w 399443"/>
                <a:gd name="connsiteY2" fmla="*/ 0 h 282933"/>
                <a:gd name="connsiteX3" fmla="*/ 7412 w 399443"/>
                <a:gd name="connsiteY3" fmla="*/ 7310 h 282933"/>
                <a:gd name="connsiteX4" fmla="*/ 0 w 399443"/>
                <a:gd name="connsiteY4" fmla="*/ 25032 h 282933"/>
                <a:gd name="connsiteX5" fmla="*/ 0 w 399443"/>
                <a:gd name="connsiteY5" fmla="*/ 225851 h 282933"/>
                <a:gd name="connsiteX6" fmla="*/ 7412 w 399443"/>
                <a:gd name="connsiteY6" fmla="*/ 243573 h 282933"/>
                <a:gd name="connsiteX7" fmla="*/ 25242 w 399443"/>
                <a:gd name="connsiteY7" fmla="*/ 250890 h 282933"/>
                <a:gd name="connsiteX8" fmla="*/ 176543 w 399443"/>
                <a:gd name="connsiteY8" fmla="*/ 250890 h 282933"/>
                <a:gd name="connsiteX9" fmla="*/ 176543 w 399443"/>
                <a:gd name="connsiteY9" fmla="*/ 273030 h 282933"/>
                <a:gd name="connsiteX10" fmla="*/ 129796 w 399443"/>
                <a:gd name="connsiteY10" fmla="*/ 273030 h 282933"/>
                <a:gd name="connsiteX11" fmla="*/ 129796 w 399443"/>
                <a:gd name="connsiteY11" fmla="*/ 282933 h 282933"/>
                <a:gd name="connsiteX12" fmla="*/ 176543 w 399443"/>
                <a:gd name="connsiteY12" fmla="*/ 282933 h 282933"/>
                <a:gd name="connsiteX13" fmla="*/ 222901 w 399443"/>
                <a:gd name="connsiteY13" fmla="*/ 282933 h 282933"/>
                <a:gd name="connsiteX14" fmla="*/ 269648 w 399443"/>
                <a:gd name="connsiteY14" fmla="*/ 282933 h 282933"/>
                <a:gd name="connsiteX15" fmla="*/ 269648 w 399443"/>
                <a:gd name="connsiteY15" fmla="*/ 273030 h 282933"/>
                <a:gd name="connsiteX16" fmla="*/ 222901 w 399443"/>
                <a:gd name="connsiteY16" fmla="*/ 273030 h 282933"/>
                <a:gd name="connsiteX17" fmla="*/ 222901 w 399443"/>
                <a:gd name="connsiteY17" fmla="*/ 250890 h 282933"/>
                <a:gd name="connsiteX18" fmla="*/ 374202 w 399443"/>
                <a:gd name="connsiteY18" fmla="*/ 250890 h 282933"/>
                <a:gd name="connsiteX19" fmla="*/ 392045 w 399443"/>
                <a:gd name="connsiteY19" fmla="*/ 243567 h 282933"/>
                <a:gd name="connsiteX20" fmla="*/ 399444 w 399443"/>
                <a:gd name="connsiteY20" fmla="*/ 225851 h 282933"/>
                <a:gd name="connsiteX21" fmla="*/ 399444 w 399443"/>
                <a:gd name="connsiteY21" fmla="*/ 25032 h 282933"/>
                <a:gd name="connsiteX22" fmla="*/ 392038 w 399443"/>
                <a:gd name="connsiteY22" fmla="*/ 7310 h 282933"/>
                <a:gd name="connsiteX23" fmla="*/ 213004 w 399443"/>
                <a:gd name="connsiteY23" fmla="*/ 273030 h 282933"/>
                <a:gd name="connsiteX24" fmla="*/ 186453 w 399443"/>
                <a:gd name="connsiteY24" fmla="*/ 273030 h 282933"/>
                <a:gd name="connsiteX25" fmla="*/ 186453 w 399443"/>
                <a:gd name="connsiteY25" fmla="*/ 250890 h 282933"/>
                <a:gd name="connsiteX26" fmla="*/ 213004 w 399443"/>
                <a:gd name="connsiteY26" fmla="*/ 250890 h 282933"/>
                <a:gd name="connsiteX27" fmla="*/ 213004 w 399443"/>
                <a:gd name="connsiteY27" fmla="*/ 273030 h 282933"/>
                <a:gd name="connsiteX28" fmla="*/ 389547 w 399443"/>
                <a:gd name="connsiteY28" fmla="*/ 225851 h 282933"/>
                <a:gd name="connsiteX29" fmla="*/ 385078 w 399443"/>
                <a:gd name="connsiteY29" fmla="*/ 236536 h 282933"/>
                <a:gd name="connsiteX30" fmla="*/ 374202 w 399443"/>
                <a:gd name="connsiteY30" fmla="*/ 240986 h 282933"/>
                <a:gd name="connsiteX31" fmla="*/ 222901 w 399443"/>
                <a:gd name="connsiteY31" fmla="*/ 240986 h 282933"/>
                <a:gd name="connsiteX32" fmla="*/ 222901 w 399443"/>
                <a:gd name="connsiteY32" fmla="*/ 240941 h 282933"/>
                <a:gd name="connsiteX33" fmla="*/ 176543 w 399443"/>
                <a:gd name="connsiteY33" fmla="*/ 240941 h 282933"/>
                <a:gd name="connsiteX34" fmla="*/ 176543 w 399443"/>
                <a:gd name="connsiteY34" fmla="*/ 240986 h 282933"/>
                <a:gd name="connsiteX35" fmla="*/ 25242 w 399443"/>
                <a:gd name="connsiteY35" fmla="*/ 240986 h 282933"/>
                <a:gd name="connsiteX36" fmla="*/ 14379 w 399443"/>
                <a:gd name="connsiteY36" fmla="*/ 236536 h 282933"/>
                <a:gd name="connsiteX37" fmla="*/ 9904 w 399443"/>
                <a:gd name="connsiteY37" fmla="*/ 225851 h 282933"/>
                <a:gd name="connsiteX38" fmla="*/ 9904 w 399443"/>
                <a:gd name="connsiteY38" fmla="*/ 25032 h 282933"/>
                <a:gd name="connsiteX39" fmla="*/ 14379 w 399443"/>
                <a:gd name="connsiteY39" fmla="*/ 14353 h 282933"/>
                <a:gd name="connsiteX40" fmla="*/ 25242 w 399443"/>
                <a:gd name="connsiteY40" fmla="*/ 9904 h 282933"/>
                <a:gd name="connsiteX41" fmla="*/ 374202 w 399443"/>
                <a:gd name="connsiteY41" fmla="*/ 9904 h 282933"/>
                <a:gd name="connsiteX42" fmla="*/ 385072 w 399443"/>
                <a:gd name="connsiteY42" fmla="*/ 14347 h 282933"/>
                <a:gd name="connsiteX43" fmla="*/ 389547 w 399443"/>
                <a:gd name="connsiteY43" fmla="*/ 25032 h 282933"/>
                <a:gd name="connsiteX44" fmla="*/ 389547 w 399443"/>
                <a:gd name="connsiteY44" fmla="*/ 225851 h 282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399443" h="282933">
                  <a:moveTo>
                    <a:pt x="392038" y="7310"/>
                  </a:moveTo>
                  <a:cubicBezTo>
                    <a:pt x="387271" y="2593"/>
                    <a:pt x="380933" y="0"/>
                    <a:pt x="374202" y="0"/>
                  </a:cubicBezTo>
                  <a:lnTo>
                    <a:pt x="25242" y="0"/>
                  </a:lnTo>
                  <a:cubicBezTo>
                    <a:pt x="18511" y="0"/>
                    <a:pt x="12179" y="2593"/>
                    <a:pt x="7412" y="7310"/>
                  </a:cubicBezTo>
                  <a:cubicBezTo>
                    <a:pt x="2632" y="12046"/>
                    <a:pt x="0" y="18332"/>
                    <a:pt x="0" y="25032"/>
                  </a:cubicBezTo>
                  <a:lnTo>
                    <a:pt x="0" y="225851"/>
                  </a:lnTo>
                  <a:cubicBezTo>
                    <a:pt x="0" y="232544"/>
                    <a:pt x="2632" y="238837"/>
                    <a:pt x="7412" y="243573"/>
                  </a:cubicBezTo>
                  <a:cubicBezTo>
                    <a:pt x="12179" y="248290"/>
                    <a:pt x="18511" y="250890"/>
                    <a:pt x="25242" y="250890"/>
                  </a:cubicBezTo>
                  <a:lnTo>
                    <a:pt x="176543" y="250890"/>
                  </a:lnTo>
                  <a:lnTo>
                    <a:pt x="176543" y="273030"/>
                  </a:lnTo>
                  <a:lnTo>
                    <a:pt x="129796" y="273030"/>
                  </a:lnTo>
                  <a:lnTo>
                    <a:pt x="129796" y="282933"/>
                  </a:lnTo>
                  <a:lnTo>
                    <a:pt x="176543" y="282933"/>
                  </a:lnTo>
                  <a:lnTo>
                    <a:pt x="222901" y="282933"/>
                  </a:lnTo>
                  <a:lnTo>
                    <a:pt x="269648" y="282933"/>
                  </a:lnTo>
                  <a:lnTo>
                    <a:pt x="269648" y="273030"/>
                  </a:lnTo>
                  <a:lnTo>
                    <a:pt x="222901" y="273030"/>
                  </a:lnTo>
                  <a:lnTo>
                    <a:pt x="222901" y="250890"/>
                  </a:lnTo>
                  <a:lnTo>
                    <a:pt x="374202" y="250890"/>
                  </a:lnTo>
                  <a:cubicBezTo>
                    <a:pt x="380933" y="250890"/>
                    <a:pt x="387271" y="248290"/>
                    <a:pt x="392045" y="243567"/>
                  </a:cubicBezTo>
                  <a:cubicBezTo>
                    <a:pt x="396819" y="238825"/>
                    <a:pt x="399444" y="232538"/>
                    <a:pt x="399444" y="225851"/>
                  </a:cubicBezTo>
                  <a:lnTo>
                    <a:pt x="399444" y="25032"/>
                  </a:lnTo>
                  <a:cubicBezTo>
                    <a:pt x="399450" y="18339"/>
                    <a:pt x="396819" y="12046"/>
                    <a:pt x="392038" y="7310"/>
                  </a:cubicBezTo>
                  <a:close/>
                  <a:moveTo>
                    <a:pt x="213004" y="273030"/>
                  </a:moveTo>
                  <a:lnTo>
                    <a:pt x="186453" y="273030"/>
                  </a:lnTo>
                  <a:lnTo>
                    <a:pt x="186453" y="250890"/>
                  </a:lnTo>
                  <a:lnTo>
                    <a:pt x="213004" y="250890"/>
                  </a:lnTo>
                  <a:lnTo>
                    <a:pt x="213004" y="273030"/>
                  </a:lnTo>
                  <a:close/>
                  <a:moveTo>
                    <a:pt x="389547" y="225851"/>
                  </a:moveTo>
                  <a:cubicBezTo>
                    <a:pt x="389547" y="229881"/>
                    <a:pt x="387958" y="233676"/>
                    <a:pt x="385078" y="236536"/>
                  </a:cubicBezTo>
                  <a:cubicBezTo>
                    <a:pt x="382173" y="239403"/>
                    <a:pt x="378308" y="240986"/>
                    <a:pt x="374202" y="240986"/>
                  </a:cubicBezTo>
                  <a:lnTo>
                    <a:pt x="222901" y="240986"/>
                  </a:lnTo>
                  <a:lnTo>
                    <a:pt x="222901" y="240941"/>
                  </a:lnTo>
                  <a:lnTo>
                    <a:pt x="176543" y="240941"/>
                  </a:lnTo>
                  <a:lnTo>
                    <a:pt x="176543" y="240986"/>
                  </a:lnTo>
                  <a:lnTo>
                    <a:pt x="25242" y="240986"/>
                  </a:lnTo>
                  <a:cubicBezTo>
                    <a:pt x="21136" y="240986"/>
                    <a:pt x="17277" y="239403"/>
                    <a:pt x="14379" y="236536"/>
                  </a:cubicBezTo>
                  <a:cubicBezTo>
                    <a:pt x="11493" y="233676"/>
                    <a:pt x="9904" y="229881"/>
                    <a:pt x="9904" y="225851"/>
                  </a:cubicBezTo>
                  <a:lnTo>
                    <a:pt x="9904" y="25032"/>
                  </a:lnTo>
                  <a:cubicBezTo>
                    <a:pt x="9904" y="21002"/>
                    <a:pt x="11493" y="17207"/>
                    <a:pt x="14379" y="14353"/>
                  </a:cubicBezTo>
                  <a:cubicBezTo>
                    <a:pt x="17277" y="11486"/>
                    <a:pt x="21142" y="9904"/>
                    <a:pt x="25242" y="9904"/>
                  </a:cubicBezTo>
                  <a:lnTo>
                    <a:pt x="374202" y="9904"/>
                  </a:lnTo>
                  <a:cubicBezTo>
                    <a:pt x="378314" y="9904"/>
                    <a:pt x="382173" y="11486"/>
                    <a:pt x="385072" y="14347"/>
                  </a:cubicBezTo>
                  <a:cubicBezTo>
                    <a:pt x="387958" y="17207"/>
                    <a:pt x="389547" y="21002"/>
                    <a:pt x="389547" y="25032"/>
                  </a:cubicBezTo>
                  <a:lnTo>
                    <a:pt x="389547" y="225851"/>
                  </a:lnTo>
                  <a:close/>
                </a:path>
              </a:pathLst>
            </a:custGeom>
            <a:solidFill>
              <a:schemeClr val="tx2"/>
            </a:solidFill>
            <a:ln w="635" cap="flat">
              <a:noFill/>
              <a:prstDash val="solid"/>
              <a:miter/>
            </a:ln>
          </p:spPr>
          <p:txBody>
            <a:bodyPr rtlCol="0" anchor="ctr"/>
            <a:lstStyle/>
            <a:p>
              <a:endParaRPr lang="en-GB" dirty="0"/>
            </a:p>
          </p:txBody>
        </p:sp>
      </p:grpSp>
      <p:grpSp>
        <p:nvGrpSpPr>
          <p:cNvPr id="131" name="Gruppieren 130">
            <a:extLst>
              <a:ext uri="{FF2B5EF4-FFF2-40B4-BE49-F238E27FC236}">
                <a16:creationId xmlns:a16="http://schemas.microsoft.com/office/drawing/2014/main" id="{6B56C156-9CE9-4750-B396-B2E55F6FB516}"/>
              </a:ext>
            </a:extLst>
          </p:cNvPr>
          <p:cNvGrpSpPr>
            <a:grpSpLocks noChangeAspect="1"/>
          </p:cNvGrpSpPr>
          <p:nvPr/>
        </p:nvGrpSpPr>
        <p:grpSpPr>
          <a:xfrm>
            <a:off x="3849185" y="4215832"/>
            <a:ext cx="349691" cy="323994"/>
            <a:chOff x="3526534" y="4350568"/>
            <a:chExt cx="423014" cy="391930"/>
          </a:xfrm>
        </p:grpSpPr>
        <p:sp>
          <p:nvSpPr>
            <p:cNvPr id="132" name="Freihandform: Form 131">
              <a:extLst>
                <a:ext uri="{FF2B5EF4-FFF2-40B4-BE49-F238E27FC236}">
                  <a16:creationId xmlns:a16="http://schemas.microsoft.com/office/drawing/2014/main" id="{432BDF6A-EC9D-4B70-A698-490485021FFC}"/>
                </a:ext>
              </a:extLst>
            </p:cNvPr>
            <p:cNvSpPr/>
            <p:nvPr/>
          </p:nvSpPr>
          <p:spPr>
            <a:xfrm>
              <a:off x="3526534" y="4350568"/>
              <a:ext cx="414630" cy="298203"/>
            </a:xfrm>
            <a:custGeom>
              <a:avLst/>
              <a:gdLst>
                <a:gd name="connsiteX0" fmla="*/ 221446 w 414630"/>
                <a:gd name="connsiteY0" fmla="*/ 271059 h 298202"/>
                <a:gd name="connsiteX1" fmla="*/ 221325 w 414630"/>
                <a:gd name="connsiteY1" fmla="*/ 270411 h 298202"/>
                <a:gd name="connsiteX2" fmla="*/ 221045 w 414630"/>
                <a:gd name="connsiteY2" fmla="*/ 269820 h 298202"/>
                <a:gd name="connsiteX3" fmla="*/ 218121 w 414630"/>
                <a:gd name="connsiteY3" fmla="*/ 265313 h 298202"/>
                <a:gd name="connsiteX4" fmla="*/ 216634 w 414630"/>
                <a:gd name="connsiteY4" fmla="*/ 263349 h 298202"/>
                <a:gd name="connsiteX5" fmla="*/ 34961 w 414630"/>
                <a:gd name="connsiteY5" fmla="*/ 263349 h 298202"/>
                <a:gd name="connsiteX6" fmla="*/ 34853 w 414630"/>
                <a:gd name="connsiteY6" fmla="*/ 34847 h 298202"/>
                <a:gd name="connsiteX7" fmla="*/ 379662 w 414630"/>
                <a:gd name="connsiteY7" fmla="*/ 34847 h 298202"/>
                <a:gd name="connsiteX8" fmla="*/ 379738 w 414630"/>
                <a:gd name="connsiteY8" fmla="*/ 168781 h 298202"/>
                <a:gd name="connsiteX9" fmla="*/ 383107 w 414630"/>
                <a:gd name="connsiteY9" fmla="*/ 169919 h 298202"/>
                <a:gd name="connsiteX10" fmla="*/ 405737 w 414630"/>
                <a:gd name="connsiteY10" fmla="*/ 187457 h 298202"/>
                <a:gd name="connsiteX11" fmla="*/ 414630 w 414630"/>
                <a:gd name="connsiteY11" fmla="*/ 199153 h 298202"/>
                <a:gd name="connsiteX12" fmla="*/ 414630 w 414630"/>
                <a:gd name="connsiteY12" fmla="*/ 21581 h 298202"/>
                <a:gd name="connsiteX13" fmla="*/ 392928 w 414630"/>
                <a:gd name="connsiteY13" fmla="*/ 0 h 298202"/>
                <a:gd name="connsiteX14" fmla="*/ 21695 w 414630"/>
                <a:gd name="connsiteY14" fmla="*/ 0 h 298202"/>
                <a:gd name="connsiteX15" fmla="*/ 0 w 414630"/>
                <a:gd name="connsiteY15" fmla="*/ 21581 h 298202"/>
                <a:gd name="connsiteX16" fmla="*/ 0 w 414630"/>
                <a:gd name="connsiteY16" fmla="*/ 276621 h 298202"/>
                <a:gd name="connsiteX17" fmla="*/ 21695 w 414630"/>
                <a:gd name="connsiteY17" fmla="*/ 298202 h 298202"/>
                <a:gd name="connsiteX18" fmla="*/ 231534 w 414630"/>
                <a:gd name="connsiteY18" fmla="*/ 298202 h 298202"/>
                <a:gd name="connsiteX19" fmla="*/ 228063 w 414630"/>
                <a:gd name="connsiteY19" fmla="*/ 291082 h 298202"/>
                <a:gd name="connsiteX20" fmla="*/ 221446 w 414630"/>
                <a:gd name="connsiteY20" fmla="*/ 271059 h 298202"/>
                <a:gd name="connsiteX21" fmla="*/ 21689 w 414630"/>
                <a:gd name="connsiteY21" fmla="*/ 288298 h 298202"/>
                <a:gd name="connsiteX22" fmla="*/ 9897 w 414630"/>
                <a:gd name="connsiteY22" fmla="*/ 276621 h 298202"/>
                <a:gd name="connsiteX23" fmla="*/ 9897 w 414630"/>
                <a:gd name="connsiteY23" fmla="*/ 21581 h 298202"/>
                <a:gd name="connsiteX24" fmla="*/ 21689 w 414630"/>
                <a:gd name="connsiteY24" fmla="*/ 9904 h 298202"/>
                <a:gd name="connsiteX25" fmla="*/ 392922 w 414630"/>
                <a:gd name="connsiteY25" fmla="*/ 9904 h 298202"/>
                <a:gd name="connsiteX26" fmla="*/ 404720 w 414630"/>
                <a:gd name="connsiteY26" fmla="*/ 21581 h 298202"/>
                <a:gd name="connsiteX27" fmla="*/ 404720 w 414630"/>
                <a:gd name="connsiteY27" fmla="*/ 171661 h 298202"/>
                <a:gd name="connsiteX28" fmla="*/ 389629 w 414630"/>
                <a:gd name="connsiteY28" fmla="*/ 161814 h 298202"/>
                <a:gd name="connsiteX29" fmla="*/ 389553 w 414630"/>
                <a:gd name="connsiteY29" fmla="*/ 24944 h 298202"/>
                <a:gd name="connsiteX30" fmla="*/ 24937 w 414630"/>
                <a:gd name="connsiteY30" fmla="*/ 24944 h 298202"/>
                <a:gd name="connsiteX31" fmla="*/ 25058 w 414630"/>
                <a:gd name="connsiteY31" fmla="*/ 273252 h 298202"/>
                <a:gd name="connsiteX32" fmla="*/ 211612 w 414630"/>
                <a:gd name="connsiteY32" fmla="*/ 273252 h 298202"/>
                <a:gd name="connsiteX33" fmla="*/ 211847 w 414630"/>
                <a:gd name="connsiteY33" fmla="*/ 273621 h 298202"/>
                <a:gd name="connsiteX34" fmla="*/ 216074 w 414630"/>
                <a:gd name="connsiteY34" fmla="*/ 288298 h 298202"/>
                <a:gd name="connsiteX35" fmla="*/ 21689 w 414630"/>
                <a:gd name="connsiteY35" fmla="*/ 288298 h 29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14630" h="298202">
                  <a:moveTo>
                    <a:pt x="221446" y="271059"/>
                  </a:moveTo>
                  <a:lnTo>
                    <a:pt x="221325" y="270411"/>
                  </a:lnTo>
                  <a:lnTo>
                    <a:pt x="221045" y="269820"/>
                  </a:lnTo>
                  <a:cubicBezTo>
                    <a:pt x="220499" y="268675"/>
                    <a:pt x="219520" y="267156"/>
                    <a:pt x="218121" y="265313"/>
                  </a:cubicBezTo>
                  <a:lnTo>
                    <a:pt x="216634" y="263349"/>
                  </a:lnTo>
                  <a:lnTo>
                    <a:pt x="34961" y="263349"/>
                  </a:lnTo>
                  <a:lnTo>
                    <a:pt x="34853" y="34847"/>
                  </a:lnTo>
                  <a:lnTo>
                    <a:pt x="379662" y="34847"/>
                  </a:lnTo>
                  <a:lnTo>
                    <a:pt x="379738" y="168781"/>
                  </a:lnTo>
                  <a:lnTo>
                    <a:pt x="383107" y="169919"/>
                  </a:lnTo>
                  <a:cubicBezTo>
                    <a:pt x="391403" y="172722"/>
                    <a:pt x="399018" y="178621"/>
                    <a:pt x="405737" y="187457"/>
                  </a:cubicBezTo>
                  <a:lnTo>
                    <a:pt x="414630" y="199153"/>
                  </a:lnTo>
                  <a:lnTo>
                    <a:pt x="414630" y="21581"/>
                  </a:lnTo>
                  <a:cubicBezTo>
                    <a:pt x="414630" y="9681"/>
                    <a:pt x="404892" y="0"/>
                    <a:pt x="392928" y="0"/>
                  </a:cubicBezTo>
                  <a:lnTo>
                    <a:pt x="21695" y="0"/>
                  </a:lnTo>
                  <a:cubicBezTo>
                    <a:pt x="9732" y="0"/>
                    <a:pt x="0" y="9681"/>
                    <a:pt x="0" y="21581"/>
                  </a:cubicBezTo>
                  <a:lnTo>
                    <a:pt x="0" y="276621"/>
                  </a:lnTo>
                  <a:cubicBezTo>
                    <a:pt x="0" y="288521"/>
                    <a:pt x="9732" y="298202"/>
                    <a:pt x="21695" y="298202"/>
                  </a:cubicBezTo>
                  <a:lnTo>
                    <a:pt x="231534" y="298202"/>
                  </a:lnTo>
                  <a:lnTo>
                    <a:pt x="228063" y="291082"/>
                  </a:lnTo>
                  <a:cubicBezTo>
                    <a:pt x="223639" y="282024"/>
                    <a:pt x="221878" y="273468"/>
                    <a:pt x="221446" y="271059"/>
                  </a:cubicBezTo>
                  <a:close/>
                  <a:moveTo>
                    <a:pt x="21689" y="288298"/>
                  </a:moveTo>
                  <a:cubicBezTo>
                    <a:pt x="15186" y="288298"/>
                    <a:pt x="9897" y="283061"/>
                    <a:pt x="9897" y="276621"/>
                  </a:cubicBezTo>
                  <a:lnTo>
                    <a:pt x="9897" y="21581"/>
                  </a:lnTo>
                  <a:cubicBezTo>
                    <a:pt x="9897" y="15142"/>
                    <a:pt x="15186" y="9904"/>
                    <a:pt x="21689" y="9904"/>
                  </a:cubicBezTo>
                  <a:lnTo>
                    <a:pt x="392922" y="9904"/>
                  </a:lnTo>
                  <a:cubicBezTo>
                    <a:pt x="399425" y="9904"/>
                    <a:pt x="404720" y="15142"/>
                    <a:pt x="404720" y="21581"/>
                  </a:cubicBezTo>
                  <a:lnTo>
                    <a:pt x="404720" y="171661"/>
                  </a:lnTo>
                  <a:cubicBezTo>
                    <a:pt x="400016" y="167376"/>
                    <a:pt x="394969" y="164084"/>
                    <a:pt x="389629" y="161814"/>
                  </a:cubicBezTo>
                  <a:lnTo>
                    <a:pt x="389553" y="24944"/>
                  </a:lnTo>
                  <a:lnTo>
                    <a:pt x="24937" y="24944"/>
                  </a:lnTo>
                  <a:lnTo>
                    <a:pt x="25058" y="273252"/>
                  </a:lnTo>
                  <a:lnTo>
                    <a:pt x="211612" y="273252"/>
                  </a:lnTo>
                  <a:cubicBezTo>
                    <a:pt x="211701" y="273392"/>
                    <a:pt x="211777" y="273513"/>
                    <a:pt x="211847" y="273621"/>
                  </a:cubicBezTo>
                  <a:cubicBezTo>
                    <a:pt x="212413" y="276532"/>
                    <a:pt x="213665" y="281961"/>
                    <a:pt x="216074" y="288298"/>
                  </a:cubicBezTo>
                  <a:lnTo>
                    <a:pt x="21689" y="288298"/>
                  </a:lnTo>
                  <a:close/>
                </a:path>
              </a:pathLst>
            </a:custGeom>
            <a:solidFill>
              <a:schemeClr val="tx2"/>
            </a:solidFill>
            <a:ln w="635" cap="flat">
              <a:noFill/>
              <a:prstDash val="solid"/>
              <a:miter/>
            </a:ln>
          </p:spPr>
          <p:txBody>
            <a:bodyPr rtlCol="0" anchor="ctr"/>
            <a:lstStyle/>
            <a:p>
              <a:endParaRPr lang="en-GB" dirty="0"/>
            </a:p>
          </p:txBody>
        </p:sp>
        <p:sp>
          <p:nvSpPr>
            <p:cNvPr id="133" name="Freihandform: Form 132">
              <a:extLst>
                <a:ext uri="{FF2B5EF4-FFF2-40B4-BE49-F238E27FC236}">
                  <a16:creationId xmlns:a16="http://schemas.microsoft.com/office/drawing/2014/main" id="{E0C39110-4BF3-4454-9F34-FEB100A36BAF}"/>
                </a:ext>
              </a:extLst>
            </p:cNvPr>
            <p:cNvSpPr/>
            <p:nvPr/>
          </p:nvSpPr>
          <p:spPr>
            <a:xfrm>
              <a:off x="3731704" y="4449642"/>
              <a:ext cx="217844" cy="292856"/>
            </a:xfrm>
            <a:custGeom>
              <a:avLst/>
              <a:gdLst>
                <a:gd name="connsiteX0" fmla="*/ 207962 w 217844"/>
                <a:gd name="connsiteY0" fmla="*/ 210868 h 292856"/>
                <a:gd name="connsiteX1" fmla="*/ 209023 w 217844"/>
                <a:gd name="connsiteY1" fmla="*/ 204257 h 292856"/>
                <a:gd name="connsiteX2" fmla="*/ 212608 w 217844"/>
                <a:gd name="connsiteY2" fmla="*/ 140113 h 292856"/>
                <a:gd name="connsiteX3" fmla="*/ 166078 w 217844"/>
                <a:gd name="connsiteY3" fmla="*/ 83958 h 292856"/>
                <a:gd name="connsiteX4" fmla="*/ 160300 w 217844"/>
                <a:gd name="connsiteY4" fmla="*/ 84479 h 292856"/>
                <a:gd name="connsiteX5" fmla="*/ 155488 w 217844"/>
                <a:gd name="connsiteY5" fmla="*/ 86101 h 292856"/>
                <a:gd name="connsiteX6" fmla="*/ 140601 w 217844"/>
                <a:gd name="connsiteY6" fmla="*/ 79909 h 292856"/>
                <a:gd name="connsiteX7" fmla="*/ 128383 w 217844"/>
                <a:gd name="connsiteY7" fmla="*/ 83952 h 292856"/>
                <a:gd name="connsiteX8" fmla="*/ 113439 w 217844"/>
                <a:gd name="connsiteY8" fmla="*/ 77773 h 292856"/>
                <a:gd name="connsiteX9" fmla="*/ 109625 w 217844"/>
                <a:gd name="connsiteY9" fmla="*/ 78104 h 292856"/>
                <a:gd name="connsiteX10" fmla="*/ 98011 w 217844"/>
                <a:gd name="connsiteY10" fmla="*/ 83812 h 292856"/>
                <a:gd name="connsiteX11" fmla="*/ 84249 w 217844"/>
                <a:gd name="connsiteY11" fmla="*/ 18892 h 292856"/>
                <a:gd name="connsiteX12" fmla="*/ 62274 w 217844"/>
                <a:gd name="connsiteY12" fmla="*/ 0 h 292856"/>
                <a:gd name="connsiteX13" fmla="*/ 57214 w 217844"/>
                <a:gd name="connsiteY13" fmla="*/ 502 h 292856"/>
                <a:gd name="connsiteX14" fmla="*/ 38863 w 217844"/>
                <a:gd name="connsiteY14" fmla="*/ 27149 h 292856"/>
                <a:gd name="connsiteX15" fmla="*/ 55250 w 217844"/>
                <a:gd name="connsiteY15" fmla="*/ 126262 h 292856"/>
                <a:gd name="connsiteX16" fmla="*/ 16907 w 217844"/>
                <a:gd name="connsiteY16" fmla="*/ 111629 h 292856"/>
                <a:gd name="connsiteX17" fmla="*/ 3031 w 217844"/>
                <a:gd name="connsiteY17" fmla="*/ 116841 h 292856"/>
                <a:gd name="connsiteX18" fmla="*/ 2471 w 217844"/>
                <a:gd name="connsiteY18" fmla="*/ 135250 h 292856"/>
                <a:gd name="connsiteX19" fmla="*/ 15509 w 217844"/>
                <a:gd name="connsiteY19" fmla="*/ 150404 h 292856"/>
                <a:gd name="connsiteX20" fmla="*/ 22793 w 217844"/>
                <a:gd name="connsiteY20" fmla="*/ 157593 h 292856"/>
                <a:gd name="connsiteX21" fmla="*/ 31088 w 217844"/>
                <a:gd name="connsiteY21" fmla="*/ 170078 h 292856"/>
                <a:gd name="connsiteX22" fmla="*/ 42143 w 217844"/>
                <a:gd name="connsiteY22" fmla="*/ 197303 h 292856"/>
                <a:gd name="connsiteX23" fmla="*/ 85794 w 217844"/>
                <a:gd name="connsiteY23" fmla="*/ 239467 h 292856"/>
                <a:gd name="connsiteX24" fmla="*/ 89201 w 217844"/>
                <a:gd name="connsiteY24" fmla="*/ 245270 h 292856"/>
                <a:gd name="connsiteX25" fmla="*/ 94477 w 217844"/>
                <a:gd name="connsiteY25" fmla="*/ 274752 h 292856"/>
                <a:gd name="connsiteX26" fmla="*/ 130373 w 217844"/>
                <a:gd name="connsiteY26" fmla="*/ 292856 h 292856"/>
                <a:gd name="connsiteX27" fmla="*/ 130373 w 217844"/>
                <a:gd name="connsiteY27" fmla="*/ 292856 h 292856"/>
                <a:gd name="connsiteX28" fmla="*/ 153206 w 217844"/>
                <a:gd name="connsiteY28" fmla="*/ 290606 h 292856"/>
                <a:gd name="connsiteX29" fmla="*/ 217802 w 217844"/>
                <a:gd name="connsiteY29" fmla="*/ 248029 h 292856"/>
                <a:gd name="connsiteX30" fmla="*/ 217840 w 217844"/>
                <a:gd name="connsiteY30" fmla="*/ 247495 h 292856"/>
                <a:gd name="connsiteX31" fmla="*/ 207962 w 217844"/>
                <a:gd name="connsiteY31" fmla="*/ 210868 h 292856"/>
                <a:gd name="connsiteX32" fmla="*/ 151998 w 217844"/>
                <a:gd name="connsiteY32" fmla="*/ 280772 h 292856"/>
                <a:gd name="connsiteX33" fmla="*/ 151642 w 217844"/>
                <a:gd name="connsiteY33" fmla="*/ 280823 h 292856"/>
                <a:gd name="connsiteX34" fmla="*/ 130385 w 217844"/>
                <a:gd name="connsiteY34" fmla="*/ 282952 h 292856"/>
                <a:gd name="connsiteX35" fmla="*/ 130385 w 217844"/>
                <a:gd name="connsiteY35" fmla="*/ 282952 h 292856"/>
                <a:gd name="connsiteX36" fmla="*/ 104234 w 217844"/>
                <a:gd name="connsiteY36" fmla="*/ 273004 h 292856"/>
                <a:gd name="connsiteX37" fmla="*/ 98958 w 217844"/>
                <a:gd name="connsiteY37" fmla="*/ 243516 h 292856"/>
                <a:gd name="connsiteX38" fmla="*/ 92011 w 217844"/>
                <a:gd name="connsiteY38" fmla="*/ 231724 h 292856"/>
                <a:gd name="connsiteX39" fmla="*/ 91464 w 217844"/>
                <a:gd name="connsiteY39" fmla="*/ 231324 h 292856"/>
                <a:gd name="connsiteX40" fmla="*/ 50025 w 217844"/>
                <a:gd name="connsiteY40" fmla="*/ 191303 h 292856"/>
                <a:gd name="connsiteX41" fmla="*/ 40865 w 217844"/>
                <a:gd name="connsiteY41" fmla="*/ 168451 h 292856"/>
                <a:gd name="connsiteX42" fmla="*/ 29938 w 217844"/>
                <a:gd name="connsiteY42" fmla="*/ 150728 h 292856"/>
                <a:gd name="connsiteX43" fmla="*/ 22399 w 217844"/>
                <a:gd name="connsiteY43" fmla="*/ 143285 h 292856"/>
                <a:gd name="connsiteX44" fmla="*/ 11491 w 217844"/>
                <a:gd name="connsiteY44" fmla="*/ 131169 h 292856"/>
                <a:gd name="connsiteX45" fmla="*/ 11339 w 217844"/>
                <a:gd name="connsiteY45" fmla="*/ 130838 h 292856"/>
                <a:gd name="connsiteX46" fmla="*/ 10417 w 217844"/>
                <a:gd name="connsiteY46" fmla="*/ 123471 h 292856"/>
                <a:gd name="connsiteX47" fmla="*/ 16907 w 217844"/>
                <a:gd name="connsiteY47" fmla="*/ 121532 h 292856"/>
                <a:gd name="connsiteX48" fmla="*/ 50673 w 217844"/>
                <a:gd name="connsiteY48" fmla="*/ 135104 h 292856"/>
                <a:gd name="connsiteX49" fmla="*/ 61276 w 217844"/>
                <a:gd name="connsiteY49" fmla="*/ 141124 h 292856"/>
                <a:gd name="connsiteX50" fmla="*/ 66044 w 217844"/>
                <a:gd name="connsiteY50" fmla="*/ 138543 h 292856"/>
                <a:gd name="connsiteX51" fmla="*/ 66241 w 217844"/>
                <a:gd name="connsiteY51" fmla="*/ 132065 h 292856"/>
                <a:gd name="connsiteX52" fmla="*/ 48614 w 217844"/>
                <a:gd name="connsiteY52" fmla="*/ 25465 h 292856"/>
                <a:gd name="connsiteX53" fmla="*/ 59433 w 217844"/>
                <a:gd name="connsiteY53" fmla="*/ 10152 h 292856"/>
                <a:gd name="connsiteX54" fmla="*/ 62261 w 217844"/>
                <a:gd name="connsiteY54" fmla="*/ 9897 h 292856"/>
                <a:gd name="connsiteX55" fmla="*/ 74549 w 217844"/>
                <a:gd name="connsiteY55" fmla="*/ 20958 h 292856"/>
                <a:gd name="connsiteX56" fmla="*/ 88775 w 217844"/>
                <a:gd name="connsiteY56" fmla="*/ 88033 h 292856"/>
                <a:gd name="connsiteX57" fmla="*/ 96492 w 217844"/>
                <a:gd name="connsiteY57" fmla="*/ 96869 h 292856"/>
                <a:gd name="connsiteX58" fmla="*/ 103312 w 217844"/>
                <a:gd name="connsiteY58" fmla="*/ 92832 h 292856"/>
                <a:gd name="connsiteX59" fmla="*/ 111074 w 217844"/>
                <a:gd name="connsiteY59" fmla="*/ 87893 h 292856"/>
                <a:gd name="connsiteX60" fmla="*/ 113426 w 217844"/>
                <a:gd name="connsiteY60" fmla="*/ 87677 h 292856"/>
                <a:gd name="connsiteX61" fmla="*/ 123412 w 217844"/>
                <a:gd name="connsiteY61" fmla="*/ 93341 h 292856"/>
                <a:gd name="connsiteX62" fmla="*/ 126559 w 217844"/>
                <a:gd name="connsiteY62" fmla="*/ 98807 h 292856"/>
                <a:gd name="connsiteX63" fmla="*/ 131123 w 217844"/>
                <a:gd name="connsiteY63" fmla="*/ 94459 h 292856"/>
                <a:gd name="connsiteX64" fmla="*/ 140588 w 217844"/>
                <a:gd name="connsiteY64" fmla="*/ 89819 h 292856"/>
                <a:gd name="connsiteX65" fmla="*/ 150669 w 217844"/>
                <a:gd name="connsiteY65" fmla="*/ 95337 h 292856"/>
                <a:gd name="connsiteX66" fmla="*/ 153651 w 217844"/>
                <a:gd name="connsiteY66" fmla="*/ 99310 h 292856"/>
                <a:gd name="connsiteX67" fmla="*/ 157611 w 217844"/>
                <a:gd name="connsiteY67" fmla="*/ 96316 h 292856"/>
                <a:gd name="connsiteX68" fmla="*/ 162016 w 217844"/>
                <a:gd name="connsiteY68" fmla="*/ 94237 h 292856"/>
                <a:gd name="connsiteX69" fmla="*/ 166059 w 217844"/>
                <a:gd name="connsiteY69" fmla="*/ 93868 h 292856"/>
                <a:gd name="connsiteX70" fmla="*/ 202883 w 217844"/>
                <a:gd name="connsiteY70" fmla="*/ 142052 h 292856"/>
                <a:gd name="connsiteX71" fmla="*/ 199800 w 217844"/>
                <a:gd name="connsiteY71" fmla="*/ 200628 h 292856"/>
                <a:gd name="connsiteX72" fmla="*/ 199266 w 217844"/>
                <a:gd name="connsiteY72" fmla="*/ 215699 h 292856"/>
                <a:gd name="connsiteX73" fmla="*/ 199488 w 217844"/>
                <a:gd name="connsiteY73" fmla="*/ 216055 h 292856"/>
                <a:gd name="connsiteX74" fmla="*/ 207930 w 217844"/>
                <a:gd name="connsiteY74" fmla="*/ 247095 h 292856"/>
                <a:gd name="connsiteX75" fmla="*/ 151998 w 217844"/>
                <a:gd name="connsiteY75" fmla="*/ 280772 h 292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17844" h="292856">
                  <a:moveTo>
                    <a:pt x="207962" y="210868"/>
                  </a:moveTo>
                  <a:cubicBezTo>
                    <a:pt x="207790" y="210284"/>
                    <a:pt x="207383" y="208135"/>
                    <a:pt x="209023" y="204257"/>
                  </a:cubicBezTo>
                  <a:cubicBezTo>
                    <a:pt x="209436" y="203120"/>
                    <a:pt x="219054" y="176078"/>
                    <a:pt x="212608" y="140113"/>
                  </a:cubicBezTo>
                  <a:cubicBezTo>
                    <a:pt x="212106" y="137818"/>
                    <a:pt x="199902" y="83958"/>
                    <a:pt x="166078" y="83958"/>
                  </a:cubicBezTo>
                  <a:cubicBezTo>
                    <a:pt x="164177" y="83958"/>
                    <a:pt x="162226" y="84136"/>
                    <a:pt x="160300" y="84479"/>
                  </a:cubicBezTo>
                  <a:cubicBezTo>
                    <a:pt x="159988" y="84537"/>
                    <a:pt x="157992" y="84918"/>
                    <a:pt x="155488" y="86101"/>
                  </a:cubicBezTo>
                  <a:cubicBezTo>
                    <a:pt x="152417" y="83361"/>
                    <a:pt x="147237" y="79909"/>
                    <a:pt x="140601" y="79909"/>
                  </a:cubicBezTo>
                  <a:cubicBezTo>
                    <a:pt x="136405" y="79909"/>
                    <a:pt x="132311" y="81270"/>
                    <a:pt x="128383" y="83952"/>
                  </a:cubicBezTo>
                  <a:cubicBezTo>
                    <a:pt x="125357" y="81041"/>
                    <a:pt x="120406" y="77773"/>
                    <a:pt x="113439" y="77773"/>
                  </a:cubicBezTo>
                  <a:cubicBezTo>
                    <a:pt x="112097" y="77773"/>
                    <a:pt x="110712" y="77900"/>
                    <a:pt x="109625" y="78104"/>
                  </a:cubicBezTo>
                  <a:cubicBezTo>
                    <a:pt x="109313" y="78142"/>
                    <a:pt x="103166" y="78930"/>
                    <a:pt x="98011" y="83812"/>
                  </a:cubicBezTo>
                  <a:lnTo>
                    <a:pt x="84249" y="18892"/>
                  </a:lnTo>
                  <a:cubicBezTo>
                    <a:pt x="82838" y="12357"/>
                    <a:pt x="76437" y="0"/>
                    <a:pt x="62274" y="0"/>
                  </a:cubicBezTo>
                  <a:cubicBezTo>
                    <a:pt x="60742" y="0"/>
                    <a:pt x="59140" y="146"/>
                    <a:pt x="57214" y="502"/>
                  </a:cubicBezTo>
                  <a:cubicBezTo>
                    <a:pt x="49548" y="2371"/>
                    <a:pt x="35862" y="10361"/>
                    <a:pt x="38863" y="27149"/>
                  </a:cubicBezTo>
                  <a:lnTo>
                    <a:pt x="55250" y="126262"/>
                  </a:lnTo>
                  <a:cubicBezTo>
                    <a:pt x="50305" y="123083"/>
                    <a:pt x="31464" y="111629"/>
                    <a:pt x="16907" y="111629"/>
                  </a:cubicBezTo>
                  <a:cubicBezTo>
                    <a:pt x="11211" y="111629"/>
                    <a:pt x="6615" y="113313"/>
                    <a:pt x="3031" y="116841"/>
                  </a:cubicBezTo>
                  <a:cubicBezTo>
                    <a:pt x="653" y="119460"/>
                    <a:pt x="-2118" y="126274"/>
                    <a:pt x="2471" y="135250"/>
                  </a:cubicBezTo>
                  <a:cubicBezTo>
                    <a:pt x="4461" y="139712"/>
                    <a:pt x="9349" y="144442"/>
                    <a:pt x="15509" y="150404"/>
                  </a:cubicBezTo>
                  <a:cubicBezTo>
                    <a:pt x="17841" y="152661"/>
                    <a:pt x="20340" y="155070"/>
                    <a:pt x="22793" y="157593"/>
                  </a:cubicBezTo>
                  <a:cubicBezTo>
                    <a:pt x="25895" y="160861"/>
                    <a:pt x="30523" y="166925"/>
                    <a:pt x="31088" y="170078"/>
                  </a:cubicBezTo>
                  <a:cubicBezTo>
                    <a:pt x="31184" y="170694"/>
                    <a:pt x="33523" y="185308"/>
                    <a:pt x="42143" y="197303"/>
                  </a:cubicBezTo>
                  <a:cubicBezTo>
                    <a:pt x="43115" y="198511"/>
                    <a:pt x="66088" y="226823"/>
                    <a:pt x="85794" y="239467"/>
                  </a:cubicBezTo>
                  <a:cubicBezTo>
                    <a:pt x="86754" y="240382"/>
                    <a:pt x="88737" y="242709"/>
                    <a:pt x="89201" y="245270"/>
                  </a:cubicBezTo>
                  <a:lnTo>
                    <a:pt x="94477" y="274752"/>
                  </a:lnTo>
                  <a:cubicBezTo>
                    <a:pt x="94610" y="275490"/>
                    <a:pt x="98094" y="292856"/>
                    <a:pt x="130373" y="292856"/>
                  </a:cubicBezTo>
                  <a:cubicBezTo>
                    <a:pt x="130373" y="292856"/>
                    <a:pt x="130373" y="292856"/>
                    <a:pt x="130373" y="292856"/>
                  </a:cubicBezTo>
                  <a:cubicBezTo>
                    <a:pt x="137136" y="292856"/>
                    <a:pt x="144815" y="292100"/>
                    <a:pt x="153206" y="290606"/>
                  </a:cubicBezTo>
                  <a:cubicBezTo>
                    <a:pt x="157547" y="290123"/>
                    <a:pt x="213422" y="283251"/>
                    <a:pt x="217802" y="248029"/>
                  </a:cubicBezTo>
                  <a:lnTo>
                    <a:pt x="217840" y="247495"/>
                  </a:lnTo>
                  <a:cubicBezTo>
                    <a:pt x="217865" y="246612"/>
                    <a:pt x="218062" y="225959"/>
                    <a:pt x="207962" y="210868"/>
                  </a:cubicBezTo>
                  <a:close/>
                  <a:moveTo>
                    <a:pt x="151998" y="280772"/>
                  </a:moveTo>
                  <a:lnTo>
                    <a:pt x="151642" y="280823"/>
                  </a:lnTo>
                  <a:cubicBezTo>
                    <a:pt x="143753" y="282234"/>
                    <a:pt x="136608" y="282952"/>
                    <a:pt x="130385" y="282952"/>
                  </a:cubicBezTo>
                  <a:cubicBezTo>
                    <a:pt x="130385" y="282952"/>
                    <a:pt x="130385" y="282952"/>
                    <a:pt x="130385" y="282952"/>
                  </a:cubicBezTo>
                  <a:cubicBezTo>
                    <a:pt x="107095" y="282952"/>
                    <a:pt x="104247" y="273004"/>
                    <a:pt x="104234" y="273004"/>
                  </a:cubicBezTo>
                  <a:lnTo>
                    <a:pt x="98958" y="243516"/>
                  </a:lnTo>
                  <a:cubicBezTo>
                    <a:pt x="97732" y="236727"/>
                    <a:pt x="92589" y="232220"/>
                    <a:pt x="92011" y="231724"/>
                  </a:cubicBezTo>
                  <a:lnTo>
                    <a:pt x="91464" y="231324"/>
                  </a:lnTo>
                  <a:cubicBezTo>
                    <a:pt x="73061" y="219678"/>
                    <a:pt x="50082" y="191360"/>
                    <a:pt x="50025" y="191303"/>
                  </a:cubicBezTo>
                  <a:cubicBezTo>
                    <a:pt x="42994" y="181501"/>
                    <a:pt x="40903" y="168679"/>
                    <a:pt x="40865" y="168451"/>
                  </a:cubicBezTo>
                  <a:cubicBezTo>
                    <a:pt x="39568" y="161159"/>
                    <a:pt x="31572" y="152444"/>
                    <a:pt x="29938" y="150728"/>
                  </a:cubicBezTo>
                  <a:cubicBezTo>
                    <a:pt x="27364" y="148090"/>
                    <a:pt x="24802" y="145605"/>
                    <a:pt x="22399" y="143285"/>
                  </a:cubicBezTo>
                  <a:cubicBezTo>
                    <a:pt x="17384" y="138434"/>
                    <a:pt x="12648" y="133851"/>
                    <a:pt x="11491" y="131169"/>
                  </a:cubicBezTo>
                  <a:lnTo>
                    <a:pt x="11339" y="130838"/>
                  </a:lnTo>
                  <a:cubicBezTo>
                    <a:pt x="9044" y="126427"/>
                    <a:pt x="10054" y="124088"/>
                    <a:pt x="10417" y="123471"/>
                  </a:cubicBezTo>
                  <a:cubicBezTo>
                    <a:pt x="11898" y="122168"/>
                    <a:pt x="14027" y="121532"/>
                    <a:pt x="16907" y="121532"/>
                  </a:cubicBezTo>
                  <a:cubicBezTo>
                    <a:pt x="27961" y="121532"/>
                    <a:pt x="44793" y="131175"/>
                    <a:pt x="50673" y="135104"/>
                  </a:cubicBezTo>
                  <a:cubicBezTo>
                    <a:pt x="56534" y="140113"/>
                    <a:pt x="59083" y="141124"/>
                    <a:pt x="61276" y="141124"/>
                  </a:cubicBezTo>
                  <a:cubicBezTo>
                    <a:pt x="63240" y="141124"/>
                    <a:pt x="65020" y="140157"/>
                    <a:pt x="66044" y="138543"/>
                  </a:cubicBezTo>
                  <a:cubicBezTo>
                    <a:pt x="67461" y="136299"/>
                    <a:pt x="66902" y="133737"/>
                    <a:pt x="66241" y="132065"/>
                  </a:cubicBezTo>
                  <a:lnTo>
                    <a:pt x="48614" y="25465"/>
                  </a:lnTo>
                  <a:cubicBezTo>
                    <a:pt x="46592" y="14150"/>
                    <a:pt x="57558" y="10666"/>
                    <a:pt x="59433" y="10152"/>
                  </a:cubicBezTo>
                  <a:cubicBezTo>
                    <a:pt x="60418" y="9986"/>
                    <a:pt x="61372" y="9897"/>
                    <a:pt x="62261" y="9897"/>
                  </a:cubicBezTo>
                  <a:cubicBezTo>
                    <a:pt x="71924" y="9897"/>
                    <a:pt x="74460" y="20544"/>
                    <a:pt x="74549" y="20958"/>
                  </a:cubicBezTo>
                  <a:lnTo>
                    <a:pt x="88775" y="88033"/>
                  </a:lnTo>
                  <a:cubicBezTo>
                    <a:pt x="90148" y="95724"/>
                    <a:pt x="94197" y="96869"/>
                    <a:pt x="96492" y="96869"/>
                  </a:cubicBezTo>
                  <a:cubicBezTo>
                    <a:pt x="100153" y="96869"/>
                    <a:pt x="102556" y="93887"/>
                    <a:pt x="103312" y="92832"/>
                  </a:cubicBezTo>
                  <a:cubicBezTo>
                    <a:pt x="106065" y="88656"/>
                    <a:pt x="110648" y="87957"/>
                    <a:pt x="111074" y="87893"/>
                  </a:cubicBezTo>
                  <a:cubicBezTo>
                    <a:pt x="111875" y="87747"/>
                    <a:pt x="112670" y="87677"/>
                    <a:pt x="113426" y="87677"/>
                  </a:cubicBezTo>
                  <a:cubicBezTo>
                    <a:pt x="119929" y="87677"/>
                    <a:pt x="123291" y="93143"/>
                    <a:pt x="123412" y="93341"/>
                  </a:cubicBezTo>
                  <a:lnTo>
                    <a:pt x="126559" y="98807"/>
                  </a:lnTo>
                  <a:lnTo>
                    <a:pt x="131123" y="94459"/>
                  </a:lnTo>
                  <a:cubicBezTo>
                    <a:pt x="134352" y="91383"/>
                    <a:pt x="137536" y="89819"/>
                    <a:pt x="140588" y="89819"/>
                  </a:cubicBezTo>
                  <a:cubicBezTo>
                    <a:pt x="146347" y="89819"/>
                    <a:pt x="150644" y="95305"/>
                    <a:pt x="150669" y="95337"/>
                  </a:cubicBezTo>
                  <a:lnTo>
                    <a:pt x="153651" y="99310"/>
                  </a:lnTo>
                  <a:lnTo>
                    <a:pt x="157611" y="96316"/>
                  </a:lnTo>
                  <a:cubicBezTo>
                    <a:pt x="159746" y="94707"/>
                    <a:pt x="162022" y="94237"/>
                    <a:pt x="162016" y="94237"/>
                  </a:cubicBezTo>
                  <a:cubicBezTo>
                    <a:pt x="163389" y="93989"/>
                    <a:pt x="164749" y="93868"/>
                    <a:pt x="166059" y="93868"/>
                  </a:cubicBezTo>
                  <a:cubicBezTo>
                    <a:pt x="191949" y="93868"/>
                    <a:pt x="202813" y="141759"/>
                    <a:pt x="202883" y="142052"/>
                  </a:cubicBezTo>
                  <a:cubicBezTo>
                    <a:pt x="208794" y="175074"/>
                    <a:pt x="199793" y="200628"/>
                    <a:pt x="199800" y="200628"/>
                  </a:cubicBezTo>
                  <a:cubicBezTo>
                    <a:pt x="196088" y="209336"/>
                    <a:pt x="198706" y="214708"/>
                    <a:pt x="199266" y="215699"/>
                  </a:cubicBezTo>
                  <a:lnTo>
                    <a:pt x="199488" y="216055"/>
                  </a:lnTo>
                  <a:cubicBezTo>
                    <a:pt x="207517" y="227739"/>
                    <a:pt x="207911" y="244806"/>
                    <a:pt x="207930" y="247095"/>
                  </a:cubicBezTo>
                  <a:cubicBezTo>
                    <a:pt x="204141" y="274931"/>
                    <a:pt x="152519" y="280721"/>
                    <a:pt x="151998" y="280772"/>
                  </a:cubicBezTo>
                  <a:close/>
                </a:path>
              </a:pathLst>
            </a:custGeom>
            <a:solidFill>
              <a:schemeClr val="accent1"/>
            </a:solidFill>
            <a:ln w="635" cap="flat">
              <a:noFill/>
              <a:prstDash val="solid"/>
              <a:miter/>
            </a:ln>
          </p:spPr>
          <p:txBody>
            <a:bodyPr rtlCol="0" anchor="ctr"/>
            <a:lstStyle/>
            <a:p>
              <a:endParaRPr lang="en-GB" dirty="0"/>
            </a:p>
          </p:txBody>
        </p:sp>
      </p:grpSp>
      <p:grpSp>
        <p:nvGrpSpPr>
          <p:cNvPr id="134" name="Gruppieren 133">
            <a:extLst>
              <a:ext uri="{FF2B5EF4-FFF2-40B4-BE49-F238E27FC236}">
                <a16:creationId xmlns:a16="http://schemas.microsoft.com/office/drawing/2014/main" id="{7D1945B1-F2C8-44D8-AB88-C8711A415DEF}"/>
              </a:ext>
            </a:extLst>
          </p:cNvPr>
          <p:cNvGrpSpPr>
            <a:grpSpLocks noChangeAspect="1"/>
          </p:cNvGrpSpPr>
          <p:nvPr/>
        </p:nvGrpSpPr>
        <p:grpSpPr>
          <a:xfrm>
            <a:off x="3914143" y="2274291"/>
            <a:ext cx="219761" cy="324000"/>
            <a:chOff x="3609279" y="2291748"/>
            <a:chExt cx="257493" cy="379629"/>
          </a:xfrm>
        </p:grpSpPr>
        <p:sp>
          <p:nvSpPr>
            <p:cNvPr id="135" name="Freihandform: Form 134">
              <a:extLst>
                <a:ext uri="{FF2B5EF4-FFF2-40B4-BE49-F238E27FC236}">
                  <a16:creationId xmlns:a16="http://schemas.microsoft.com/office/drawing/2014/main" id="{D9C2BEC8-4832-4F09-85B4-97C928EB20DF}"/>
                </a:ext>
              </a:extLst>
            </p:cNvPr>
            <p:cNvSpPr/>
            <p:nvPr/>
          </p:nvSpPr>
          <p:spPr>
            <a:xfrm>
              <a:off x="3609279" y="2291748"/>
              <a:ext cx="257493" cy="379629"/>
            </a:xfrm>
            <a:custGeom>
              <a:avLst/>
              <a:gdLst>
                <a:gd name="connsiteX0" fmla="*/ 257494 w 257494"/>
                <a:gd name="connsiteY0" fmla="*/ 128245 h 379630"/>
                <a:gd name="connsiteX1" fmla="*/ 128747 w 257494"/>
                <a:gd name="connsiteY1" fmla="*/ 0 h 379630"/>
                <a:gd name="connsiteX2" fmla="*/ 0 w 257494"/>
                <a:gd name="connsiteY2" fmla="*/ 128245 h 379630"/>
                <a:gd name="connsiteX3" fmla="*/ 30645 w 257494"/>
                <a:gd name="connsiteY3" fmla="*/ 211269 h 379630"/>
                <a:gd name="connsiteX4" fmla="*/ 31834 w 257494"/>
                <a:gd name="connsiteY4" fmla="*/ 212616 h 379630"/>
                <a:gd name="connsiteX5" fmla="*/ 33932 w 257494"/>
                <a:gd name="connsiteY5" fmla="*/ 214987 h 379630"/>
                <a:gd name="connsiteX6" fmla="*/ 60782 w 257494"/>
                <a:gd name="connsiteY6" fmla="*/ 244132 h 379630"/>
                <a:gd name="connsiteX7" fmla="*/ 72898 w 257494"/>
                <a:gd name="connsiteY7" fmla="*/ 272699 h 379630"/>
                <a:gd name="connsiteX8" fmla="*/ 72898 w 257494"/>
                <a:gd name="connsiteY8" fmla="*/ 336818 h 379630"/>
                <a:gd name="connsiteX9" fmla="*/ 100663 w 257494"/>
                <a:gd name="connsiteY9" fmla="*/ 367012 h 379630"/>
                <a:gd name="connsiteX10" fmla="*/ 116930 w 257494"/>
                <a:gd name="connsiteY10" fmla="*/ 379630 h 379630"/>
                <a:gd name="connsiteX11" fmla="*/ 140602 w 257494"/>
                <a:gd name="connsiteY11" fmla="*/ 379630 h 379630"/>
                <a:gd name="connsiteX12" fmla="*/ 156869 w 257494"/>
                <a:gd name="connsiteY12" fmla="*/ 367019 h 379630"/>
                <a:gd name="connsiteX13" fmla="*/ 184634 w 257494"/>
                <a:gd name="connsiteY13" fmla="*/ 336825 h 379630"/>
                <a:gd name="connsiteX14" fmla="*/ 184634 w 257494"/>
                <a:gd name="connsiteY14" fmla="*/ 272261 h 379630"/>
                <a:gd name="connsiteX15" fmla="*/ 196731 w 257494"/>
                <a:gd name="connsiteY15" fmla="*/ 244132 h 379630"/>
                <a:gd name="connsiteX16" fmla="*/ 223531 w 257494"/>
                <a:gd name="connsiteY16" fmla="*/ 215038 h 379630"/>
                <a:gd name="connsiteX17" fmla="*/ 225597 w 257494"/>
                <a:gd name="connsiteY17" fmla="*/ 212705 h 379630"/>
                <a:gd name="connsiteX18" fmla="*/ 226830 w 257494"/>
                <a:gd name="connsiteY18" fmla="*/ 211307 h 379630"/>
                <a:gd name="connsiteX19" fmla="*/ 226830 w 257494"/>
                <a:gd name="connsiteY19" fmla="*/ 211307 h 379630"/>
                <a:gd name="connsiteX20" fmla="*/ 257494 w 257494"/>
                <a:gd name="connsiteY20" fmla="*/ 128245 h 379630"/>
                <a:gd name="connsiteX21" fmla="*/ 174724 w 257494"/>
                <a:gd name="connsiteY21" fmla="*/ 277657 h 379630"/>
                <a:gd name="connsiteX22" fmla="*/ 174724 w 257494"/>
                <a:gd name="connsiteY22" fmla="*/ 278630 h 379630"/>
                <a:gd name="connsiteX23" fmla="*/ 82795 w 257494"/>
                <a:gd name="connsiteY23" fmla="*/ 306300 h 379630"/>
                <a:gd name="connsiteX24" fmla="*/ 82795 w 257494"/>
                <a:gd name="connsiteY24" fmla="*/ 277657 h 379630"/>
                <a:gd name="connsiteX25" fmla="*/ 174724 w 257494"/>
                <a:gd name="connsiteY25" fmla="*/ 277657 h 379630"/>
                <a:gd name="connsiteX26" fmla="*/ 174724 w 257494"/>
                <a:gd name="connsiteY26" fmla="*/ 307406 h 379630"/>
                <a:gd name="connsiteX27" fmla="*/ 82795 w 257494"/>
                <a:gd name="connsiteY27" fmla="*/ 335077 h 379630"/>
                <a:gd name="connsiteX28" fmla="*/ 82795 w 257494"/>
                <a:gd name="connsiteY28" fmla="*/ 316643 h 379630"/>
                <a:gd name="connsiteX29" fmla="*/ 174724 w 257494"/>
                <a:gd name="connsiteY29" fmla="*/ 288972 h 379630"/>
                <a:gd name="connsiteX30" fmla="*/ 174724 w 257494"/>
                <a:gd name="connsiteY30" fmla="*/ 307406 h 379630"/>
                <a:gd name="connsiteX31" fmla="*/ 154224 w 257494"/>
                <a:gd name="connsiteY31" fmla="*/ 357230 h 379630"/>
                <a:gd name="connsiteX32" fmla="*/ 147474 w 257494"/>
                <a:gd name="connsiteY32" fmla="*/ 357230 h 379630"/>
                <a:gd name="connsiteX33" fmla="*/ 147474 w 257494"/>
                <a:gd name="connsiteY33" fmla="*/ 362887 h 379630"/>
                <a:gd name="connsiteX34" fmla="*/ 140596 w 257494"/>
                <a:gd name="connsiteY34" fmla="*/ 369733 h 379630"/>
                <a:gd name="connsiteX35" fmla="*/ 116924 w 257494"/>
                <a:gd name="connsiteY35" fmla="*/ 369733 h 379630"/>
                <a:gd name="connsiteX36" fmla="*/ 110046 w 257494"/>
                <a:gd name="connsiteY36" fmla="*/ 362887 h 379630"/>
                <a:gd name="connsiteX37" fmla="*/ 110046 w 257494"/>
                <a:gd name="connsiteY37" fmla="*/ 357230 h 379630"/>
                <a:gd name="connsiteX38" fmla="*/ 103308 w 257494"/>
                <a:gd name="connsiteY38" fmla="*/ 357230 h 379630"/>
                <a:gd name="connsiteX39" fmla="*/ 84486 w 257494"/>
                <a:gd name="connsiteY39" fmla="*/ 344910 h 379630"/>
                <a:gd name="connsiteX40" fmla="*/ 174731 w 257494"/>
                <a:gd name="connsiteY40" fmla="*/ 317749 h 379630"/>
                <a:gd name="connsiteX41" fmla="*/ 174731 w 257494"/>
                <a:gd name="connsiteY41" fmla="*/ 336825 h 379630"/>
                <a:gd name="connsiteX42" fmla="*/ 154224 w 257494"/>
                <a:gd name="connsiteY42" fmla="*/ 357230 h 379630"/>
                <a:gd name="connsiteX43" fmla="*/ 219265 w 257494"/>
                <a:gd name="connsiteY43" fmla="*/ 204899 h 379630"/>
                <a:gd name="connsiteX44" fmla="*/ 218172 w 257494"/>
                <a:gd name="connsiteY44" fmla="*/ 206133 h 379630"/>
                <a:gd name="connsiteX45" fmla="*/ 216163 w 257494"/>
                <a:gd name="connsiteY45" fmla="*/ 208402 h 379630"/>
                <a:gd name="connsiteX46" fmla="*/ 189980 w 257494"/>
                <a:gd name="connsiteY46" fmla="*/ 236867 h 379630"/>
                <a:gd name="connsiteX47" fmla="*/ 189713 w 257494"/>
                <a:gd name="connsiteY47" fmla="*/ 237121 h 379630"/>
                <a:gd name="connsiteX48" fmla="*/ 175068 w 257494"/>
                <a:gd name="connsiteY48" fmla="*/ 267754 h 379630"/>
                <a:gd name="connsiteX49" fmla="*/ 82420 w 257494"/>
                <a:gd name="connsiteY49" fmla="*/ 267754 h 379630"/>
                <a:gd name="connsiteX50" fmla="*/ 67755 w 257494"/>
                <a:gd name="connsiteY50" fmla="*/ 237121 h 379630"/>
                <a:gd name="connsiteX51" fmla="*/ 67488 w 257494"/>
                <a:gd name="connsiteY51" fmla="*/ 236873 h 379630"/>
                <a:gd name="connsiteX52" fmla="*/ 41267 w 257494"/>
                <a:gd name="connsiteY52" fmla="*/ 208357 h 379630"/>
                <a:gd name="connsiteX53" fmla="*/ 39227 w 257494"/>
                <a:gd name="connsiteY53" fmla="*/ 206056 h 379630"/>
                <a:gd name="connsiteX54" fmla="*/ 38184 w 257494"/>
                <a:gd name="connsiteY54" fmla="*/ 204874 h 379630"/>
                <a:gd name="connsiteX55" fmla="*/ 9891 w 257494"/>
                <a:gd name="connsiteY55" fmla="*/ 128251 h 379630"/>
                <a:gd name="connsiteX56" fmla="*/ 128734 w 257494"/>
                <a:gd name="connsiteY56" fmla="*/ 9910 h 379630"/>
                <a:gd name="connsiteX57" fmla="*/ 247578 w 257494"/>
                <a:gd name="connsiteY57" fmla="*/ 128251 h 379630"/>
                <a:gd name="connsiteX58" fmla="*/ 219265 w 257494"/>
                <a:gd name="connsiteY58" fmla="*/ 204899 h 379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57494" h="379630">
                  <a:moveTo>
                    <a:pt x="257494" y="128245"/>
                  </a:moveTo>
                  <a:cubicBezTo>
                    <a:pt x="257494" y="57527"/>
                    <a:pt x="199738" y="0"/>
                    <a:pt x="128747" y="0"/>
                  </a:cubicBezTo>
                  <a:cubicBezTo>
                    <a:pt x="57756" y="0"/>
                    <a:pt x="0" y="57534"/>
                    <a:pt x="0" y="128245"/>
                  </a:cubicBezTo>
                  <a:cubicBezTo>
                    <a:pt x="0" y="158649"/>
                    <a:pt x="10889" y="188143"/>
                    <a:pt x="30645" y="211269"/>
                  </a:cubicBezTo>
                  <a:cubicBezTo>
                    <a:pt x="30645" y="211269"/>
                    <a:pt x="31077" y="211784"/>
                    <a:pt x="31834" y="212616"/>
                  </a:cubicBezTo>
                  <a:cubicBezTo>
                    <a:pt x="32533" y="213424"/>
                    <a:pt x="33245" y="214231"/>
                    <a:pt x="33932" y="214987"/>
                  </a:cubicBezTo>
                  <a:cubicBezTo>
                    <a:pt x="44166" y="226467"/>
                    <a:pt x="57038" y="240738"/>
                    <a:pt x="60782" y="244132"/>
                  </a:cubicBezTo>
                  <a:cubicBezTo>
                    <a:pt x="61894" y="245321"/>
                    <a:pt x="72713" y="257278"/>
                    <a:pt x="72898" y="272699"/>
                  </a:cubicBezTo>
                  <a:lnTo>
                    <a:pt x="72898" y="336818"/>
                  </a:lnTo>
                  <a:cubicBezTo>
                    <a:pt x="72898" y="352640"/>
                    <a:pt x="85128" y="365671"/>
                    <a:pt x="100663" y="367012"/>
                  </a:cubicBezTo>
                  <a:cubicBezTo>
                    <a:pt x="102513" y="374259"/>
                    <a:pt x="109105" y="379630"/>
                    <a:pt x="116930" y="379630"/>
                  </a:cubicBezTo>
                  <a:lnTo>
                    <a:pt x="140602" y="379630"/>
                  </a:lnTo>
                  <a:cubicBezTo>
                    <a:pt x="148427" y="379630"/>
                    <a:pt x="155019" y="374259"/>
                    <a:pt x="156869" y="367019"/>
                  </a:cubicBezTo>
                  <a:cubicBezTo>
                    <a:pt x="172398" y="365684"/>
                    <a:pt x="184634" y="352653"/>
                    <a:pt x="184634" y="336825"/>
                  </a:cubicBezTo>
                  <a:lnTo>
                    <a:pt x="184634" y="272261"/>
                  </a:lnTo>
                  <a:cubicBezTo>
                    <a:pt x="185041" y="257119"/>
                    <a:pt x="195663" y="245289"/>
                    <a:pt x="196731" y="244132"/>
                  </a:cubicBezTo>
                  <a:cubicBezTo>
                    <a:pt x="200768" y="240465"/>
                    <a:pt x="215229" y="224363"/>
                    <a:pt x="223531" y="215038"/>
                  </a:cubicBezTo>
                  <a:cubicBezTo>
                    <a:pt x="224262" y="214237"/>
                    <a:pt x="224974" y="213424"/>
                    <a:pt x="225597" y="212705"/>
                  </a:cubicBezTo>
                  <a:cubicBezTo>
                    <a:pt x="226404" y="211815"/>
                    <a:pt x="226830" y="211307"/>
                    <a:pt x="226830" y="211307"/>
                  </a:cubicBezTo>
                  <a:cubicBezTo>
                    <a:pt x="226830" y="211307"/>
                    <a:pt x="226830" y="211307"/>
                    <a:pt x="226830" y="211307"/>
                  </a:cubicBezTo>
                  <a:cubicBezTo>
                    <a:pt x="246599" y="188143"/>
                    <a:pt x="257494" y="158642"/>
                    <a:pt x="257494" y="128245"/>
                  </a:cubicBezTo>
                  <a:close/>
                  <a:moveTo>
                    <a:pt x="174724" y="277657"/>
                  </a:moveTo>
                  <a:lnTo>
                    <a:pt x="174724" y="278630"/>
                  </a:lnTo>
                  <a:lnTo>
                    <a:pt x="82795" y="306300"/>
                  </a:lnTo>
                  <a:lnTo>
                    <a:pt x="82795" y="277657"/>
                  </a:lnTo>
                  <a:lnTo>
                    <a:pt x="174724" y="277657"/>
                  </a:lnTo>
                  <a:close/>
                  <a:moveTo>
                    <a:pt x="174724" y="307406"/>
                  </a:moveTo>
                  <a:lnTo>
                    <a:pt x="82795" y="335077"/>
                  </a:lnTo>
                  <a:lnTo>
                    <a:pt x="82795" y="316643"/>
                  </a:lnTo>
                  <a:lnTo>
                    <a:pt x="174724" y="288972"/>
                  </a:lnTo>
                  <a:lnTo>
                    <a:pt x="174724" y="307406"/>
                  </a:lnTo>
                  <a:close/>
                  <a:moveTo>
                    <a:pt x="154224" y="357230"/>
                  </a:moveTo>
                  <a:lnTo>
                    <a:pt x="147474" y="357230"/>
                  </a:lnTo>
                  <a:lnTo>
                    <a:pt x="147474" y="362887"/>
                  </a:lnTo>
                  <a:cubicBezTo>
                    <a:pt x="147474" y="366663"/>
                    <a:pt x="144391" y="369733"/>
                    <a:pt x="140596" y="369733"/>
                  </a:cubicBezTo>
                  <a:lnTo>
                    <a:pt x="116924" y="369733"/>
                  </a:lnTo>
                  <a:cubicBezTo>
                    <a:pt x="113129" y="369733"/>
                    <a:pt x="110046" y="366663"/>
                    <a:pt x="110046" y="362887"/>
                  </a:cubicBezTo>
                  <a:lnTo>
                    <a:pt x="110046" y="357230"/>
                  </a:lnTo>
                  <a:lnTo>
                    <a:pt x="103308" y="357230"/>
                  </a:lnTo>
                  <a:cubicBezTo>
                    <a:pt x="94885" y="357230"/>
                    <a:pt x="87645" y="352151"/>
                    <a:pt x="84486" y="344910"/>
                  </a:cubicBezTo>
                  <a:lnTo>
                    <a:pt x="174731" y="317749"/>
                  </a:lnTo>
                  <a:lnTo>
                    <a:pt x="174731" y="336825"/>
                  </a:lnTo>
                  <a:cubicBezTo>
                    <a:pt x="174724" y="348076"/>
                    <a:pt x="165526" y="357230"/>
                    <a:pt x="154224" y="357230"/>
                  </a:cubicBezTo>
                  <a:close/>
                  <a:moveTo>
                    <a:pt x="219265" y="204899"/>
                  </a:moveTo>
                  <a:cubicBezTo>
                    <a:pt x="219233" y="204938"/>
                    <a:pt x="218884" y="205344"/>
                    <a:pt x="218172" y="206133"/>
                  </a:cubicBezTo>
                  <a:cubicBezTo>
                    <a:pt x="217530" y="206876"/>
                    <a:pt x="216882" y="207620"/>
                    <a:pt x="216163" y="208402"/>
                  </a:cubicBezTo>
                  <a:cubicBezTo>
                    <a:pt x="202414" y="223842"/>
                    <a:pt x="192383" y="234750"/>
                    <a:pt x="189980" y="236867"/>
                  </a:cubicBezTo>
                  <a:lnTo>
                    <a:pt x="189713" y="237121"/>
                  </a:lnTo>
                  <a:cubicBezTo>
                    <a:pt x="189167" y="237681"/>
                    <a:pt x="177273" y="250095"/>
                    <a:pt x="175068" y="267754"/>
                  </a:cubicBezTo>
                  <a:lnTo>
                    <a:pt x="82420" y="267754"/>
                  </a:lnTo>
                  <a:cubicBezTo>
                    <a:pt x="80252" y="250146"/>
                    <a:pt x="68308" y="237687"/>
                    <a:pt x="67755" y="237121"/>
                  </a:cubicBezTo>
                  <a:lnTo>
                    <a:pt x="67488" y="236873"/>
                  </a:lnTo>
                  <a:cubicBezTo>
                    <a:pt x="65079" y="234744"/>
                    <a:pt x="55538" y="224370"/>
                    <a:pt x="41267" y="208357"/>
                  </a:cubicBezTo>
                  <a:cubicBezTo>
                    <a:pt x="40593" y="207620"/>
                    <a:pt x="39945" y="206876"/>
                    <a:pt x="39227" y="206056"/>
                  </a:cubicBezTo>
                  <a:cubicBezTo>
                    <a:pt x="38591" y="205351"/>
                    <a:pt x="38241" y="204944"/>
                    <a:pt x="38184" y="204874"/>
                  </a:cubicBezTo>
                  <a:cubicBezTo>
                    <a:pt x="19934" y="183509"/>
                    <a:pt x="9891" y="156297"/>
                    <a:pt x="9891" y="128251"/>
                  </a:cubicBezTo>
                  <a:cubicBezTo>
                    <a:pt x="9891" y="62994"/>
                    <a:pt x="63204" y="9910"/>
                    <a:pt x="128734" y="9910"/>
                  </a:cubicBezTo>
                  <a:cubicBezTo>
                    <a:pt x="194265" y="9910"/>
                    <a:pt x="247578" y="63000"/>
                    <a:pt x="247578" y="128251"/>
                  </a:cubicBezTo>
                  <a:cubicBezTo>
                    <a:pt x="247591" y="156290"/>
                    <a:pt x="237541" y="183503"/>
                    <a:pt x="219265" y="204899"/>
                  </a:cubicBezTo>
                  <a:close/>
                </a:path>
              </a:pathLst>
            </a:custGeom>
            <a:solidFill>
              <a:schemeClr val="tx2"/>
            </a:solidFill>
            <a:ln w="635" cap="flat">
              <a:noFill/>
              <a:prstDash val="solid"/>
              <a:miter/>
            </a:ln>
          </p:spPr>
          <p:txBody>
            <a:bodyPr rtlCol="0" anchor="ctr"/>
            <a:lstStyle/>
            <a:p>
              <a:endParaRPr lang="en-GB" dirty="0"/>
            </a:p>
          </p:txBody>
        </p:sp>
        <p:sp>
          <p:nvSpPr>
            <p:cNvPr id="136" name="Freihandform: Form 135">
              <a:extLst>
                <a:ext uri="{FF2B5EF4-FFF2-40B4-BE49-F238E27FC236}">
                  <a16:creationId xmlns:a16="http://schemas.microsoft.com/office/drawing/2014/main" id="{ED4DF0E7-FE00-4308-8F12-60F35BD7A5FE}"/>
                </a:ext>
              </a:extLst>
            </p:cNvPr>
            <p:cNvSpPr/>
            <p:nvPr/>
          </p:nvSpPr>
          <p:spPr>
            <a:xfrm>
              <a:off x="3778169" y="2333846"/>
              <a:ext cx="42188" cy="39608"/>
            </a:xfrm>
            <a:custGeom>
              <a:avLst/>
              <a:gdLst>
                <a:gd name="connsiteX0" fmla="*/ 4215 w 42188"/>
                <a:gd name="connsiteY0" fmla="*/ 0 h 39608"/>
                <a:gd name="connsiteX1" fmla="*/ 0 w 42188"/>
                <a:gd name="connsiteY1" fmla="*/ 8956 h 39608"/>
                <a:gd name="connsiteX2" fmla="*/ 33658 w 42188"/>
                <a:gd name="connsiteY2" fmla="*/ 39608 h 39608"/>
                <a:gd name="connsiteX3" fmla="*/ 42189 w 42188"/>
                <a:gd name="connsiteY3" fmla="*/ 34574 h 39608"/>
                <a:gd name="connsiteX4" fmla="*/ 4215 w 42188"/>
                <a:gd name="connsiteY4" fmla="*/ 0 h 396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188" h="39608">
                  <a:moveTo>
                    <a:pt x="4215" y="0"/>
                  </a:moveTo>
                  <a:lnTo>
                    <a:pt x="0" y="8956"/>
                  </a:lnTo>
                  <a:cubicBezTo>
                    <a:pt x="14099" y="15593"/>
                    <a:pt x="25738" y="26196"/>
                    <a:pt x="33658" y="39608"/>
                  </a:cubicBezTo>
                  <a:lnTo>
                    <a:pt x="42189" y="34574"/>
                  </a:lnTo>
                  <a:cubicBezTo>
                    <a:pt x="33245" y="19439"/>
                    <a:pt x="20112" y="7488"/>
                    <a:pt x="4215" y="0"/>
                  </a:cubicBezTo>
                  <a:close/>
                </a:path>
              </a:pathLst>
            </a:custGeom>
            <a:solidFill>
              <a:schemeClr val="accent1"/>
            </a:solidFill>
            <a:ln w="635" cap="flat">
              <a:noFill/>
              <a:prstDash val="solid"/>
              <a:miter/>
            </a:ln>
          </p:spPr>
          <p:txBody>
            <a:bodyPr rtlCol="0" anchor="ctr"/>
            <a:lstStyle/>
            <a:p>
              <a:endParaRPr lang="en-GB" dirty="0"/>
            </a:p>
          </p:txBody>
        </p:sp>
      </p:grpSp>
      <p:grpSp>
        <p:nvGrpSpPr>
          <p:cNvPr id="137" name="Gruppieren 136">
            <a:extLst>
              <a:ext uri="{FF2B5EF4-FFF2-40B4-BE49-F238E27FC236}">
                <a16:creationId xmlns:a16="http://schemas.microsoft.com/office/drawing/2014/main" id="{E120D373-D7C6-404A-8FDE-1F9B1155D131}"/>
              </a:ext>
            </a:extLst>
          </p:cNvPr>
          <p:cNvGrpSpPr>
            <a:grpSpLocks noChangeAspect="1"/>
          </p:cNvGrpSpPr>
          <p:nvPr/>
        </p:nvGrpSpPr>
        <p:grpSpPr>
          <a:xfrm>
            <a:off x="3839273" y="2921470"/>
            <a:ext cx="369510" cy="324000"/>
            <a:chOff x="3555427" y="3022415"/>
            <a:chExt cx="365205" cy="320225"/>
          </a:xfrm>
        </p:grpSpPr>
        <p:grpSp>
          <p:nvGrpSpPr>
            <p:cNvPr id="138" name="Gruppieren 137">
              <a:extLst>
                <a:ext uri="{FF2B5EF4-FFF2-40B4-BE49-F238E27FC236}">
                  <a16:creationId xmlns:a16="http://schemas.microsoft.com/office/drawing/2014/main" id="{035085B9-11F5-47E6-B3F3-32A511365DDF}"/>
                </a:ext>
              </a:extLst>
            </p:cNvPr>
            <p:cNvGrpSpPr/>
            <p:nvPr/>
          </p:nvGrpSpPr>
          <p:grpSpPr>
            <a:xfrm>
              <a:off x="3585125" y="3052125"/>
              <a:ext cx="303253" cy="122015"/>
              <a:chOff x="3585144" y="3052144"/>
              <a:chExt cx="303255" cy="122015"/>
            </a:xfrm>
          </p:grpSpPr>
          <p:sp>
            <p:nvSpPr>
              <p:cNvPr id="141" name="Freihandform: Form 140">
                <a:extLst>
                  <a:ext uri="{FF2B5EF4-FFF2-40B4-BE49-F238E27FC236}">
                    <a16:creationId xmlns:a16="http://schemas.microsoft.com/office/drawing/2014/main" id="{D46F191F-9244-443E-A4C3-3CBD6E72CDEF}"/>
                  </a:ext>
                </a:extLst>
              </p:cNvPr>
              <p:cNvSpPr/>
              <p:nvPr/>
            </p:nvSpPr>
            <p:spPr>
              <a:xfrm>
                <a:off x="3791130" y="3076890"/>
                <a:ext cx="97269" cy="97269"/>
              </a:xfrm>
              <a:custGeom>
                <a:avLst/>
                <a:gdLst>
                  <a:gd name="connsiteX0" fmla="*/ 48641 w 97269"/>
                  <a:gd name="connsiteY0" fmla="*/ 0 h 97269"/>
                  <a:gd name="connsiteX1" fmla="*/ 0 w 97269"/>
                  <a:gd name="connsiteY1" fmla="*/ 48635 h 97269"/>
                  <a:gd name="connsiteX2" fmla="*/ 48641 w 97269"/>
                  <a:gd name="connsiteY2" fmla="*/ 97269 h 97269"/>
                  <a:gd name="connsiteX3" fmla="*/ 97269 w 97269"/>
                  <a:gd name="connsiteY3" fmla="*/ 48635 h 97269"/>
                  <a:gd name="connsiteX4" fmla="*/ 48641 w 97269"/>
                  <a:gd name="connsiteY4" fmla="*/ 0 h 97269"/>
                  <a:gd name="connsiteX5" fmla="*/ 48641 w 97269"/>
                  <a:gd name="connsiteY5" fmla="*/ 87359 h 97269"/>
                  <a:gd name="connsiteX6" fmla="*/ 9904 w 97269"/>
                  <a:gd name="connsiteY6" fmla="*/ 48628 h 97269"/>
                  <a:gd name="connsiteX7" fmla="*/ 48641 w 97269"/>
                  <a:gd name="connsiteY7" fmla="*/ 9897 h 97269"/>
                  <a:gd name="connsiteX8" fmla="*/ 87365 w 97269"/>
                  <a:gd name="connsiteY8" fmla="*/ 48628 h 97269"/>
                  <a:gd name="connsiteX9" fmla="*/ 48641 w 97269"/>
                  <a:gd name="connsiteY9" fmla="*/ 87359 h 97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269" h="97269">
                    <a:moveTo>
                      <a:pt x="48641" y="0"/>
                    </a:moveTo>
                    <a:cubicBezTo>
                      <a:pt x="21822" y="0"/>
                      <a:pt x="0" y="21816"/>
                      <a:pt x="0" y="48635"/>
                    </a:cubicBezTo>
                    <a:cubicBezTo>
                      <a:pt x="0" y="75453"/>
                      <a:pt x="21816" y="97269"/>
                      <a:pt x="48641" y="97269"/>
                    </a:cubicBezTo>
                    <a:cubicBezTo>
                      <a:pt x="75459" y="97269"/>
                      <a:pt x="97269" y="75453"/>
                      <a:pt x="97269" y="48635"/>
                    </a:cubicBezTo>
                    <a:cubicBezTo>
                      <a:pt x="97276" y="21816"/>
                      <a:pt x="75459" y="0"/>
                      <a:pt x="48641" y="0"/>
                    </a:cubicBezTo>
                    <a:close/>
                    <a:moveTo>
                      <a:pt x="48641" y="87359"/>
                    </a:moveTo>
                    <a:cubicBezTo>
                      <a:pt x="27283" y="87359"/>
                      <a:pt x="9904" y="69986"/>
                      <a:pt x="9904" y="48628"/>
                    </a:cubicBezTo>
                    <a:cubicBezTo>
                      <a:pt x="9904" y="27270"/>
                      <a:pt x="27283" y="9897"/>
                      <a:pt x="48641" y="9897"/>
                    </a:cubicBezTo>
                    <a:cubicBezTo>
                      <a:pt x="69993" y="9897"/>
                      <a:pt x="87365" y="27270"/>
                      <a:pt x="87365" y="48628"/>
                    </a:cubicBezTo>
                    <a:cubicBezTo>
                      <a:pt x="87372" y="69986"/>
                      <a:pt x="69999" y="87359"/>
                      <a:pt x="48641" y="87359"/>
                    </a:cubicBezTo>
                    <a:close/>
                  </a:path>
                </a:pathLst>
              </a:custGeom>
              <a:solidFill>
                <a:schemeClr val="accent1"/>
              </a:solidFill>
              <a:ln w="635" cap="flat">
                <a:noFill/>
                <a:prstDash val="solid"/>
                <a:miter/>
              </a:ln>
            </p:spPr>
            <p:txBody>
              <a:bodyPr rtlCol="0" anchor="ctr"/>
              <a:lstStyle/>
              <a:p>
                <a:endParaRPr lang="en-GB" dirty="0"/>
              </a:p>
            </p:txBody>
          </p:sp>
          <p:sp>
            <p:nvSpPr>
              <p:cNvPr id="142" name="Freihandform: Form 141">
                <a:extLst>
                  <a:ext uri="{FF2B5EF4-FFF2-40B4-BE49-F238E27FC236}">
                    <a16:creationId xmlns:a16="http://schemas.microsoft.com/office/drawing/2014/main" id="{083A52F0-7C12-41C2-98F3-4305E6CD5DD6}"/>
                  </a:ext>
                </a:extLst>
              </p:cNvPr>
              <p:cNvSpPr/>
              <p:nvPr/>
            </p:nvSpPr>
            <p:spPr>
              <a:xfrm>
                <a:off x="3585144" y="3052144"/>
                <a:ext cx="125454" cy="102335"/>
              </a:xfrm>
              <a:custGeom>
                <a:avLst/>
                <a:gdLst>
                  <a:gd name="connsiteX0" fmla="*/ 113046 w 125454"/>
                  <a:gd name="connsiteY0" fmla="*/ 0 h 102335"/>
                  <a:gd name="connsiteX1" fmla="*/ 12408 w 125454"/>
                  <a:gd name="connsiteY1" fmla="*/ 0 h 102335"/>
                  <a:gd name="connsiteX2" fmla="*/ 0 w 125454"/>
                  <a:gd name="connsiteY2" fmla="*/ 12345 h 102335"/>
                  <a:gd name="connsiteX3" fmla="*/ 0 w 125454"/>
                  <a:gd name="connsiteY3" fmla="*/ 89991 h 102335"/>
                  <a:gd name="connsiteX4" fmla="*/ 12408 w 125454"/>
                  <a:gd name="connsiteY4" fmla="*/ 102335 h 102335"/>
                  <a:gd name="connsiteX5" fmla="*/ 113046 w 125454"/>
                  <a:gd name="connsiteY5" fmla="*/ 102335 h 102335"/>
                  <a:gd name="connsiteX6" fmla="*/ 125454 w 125454"/>
                  <a:gd name="connsiteY6" fmla="*/ 89991 h 102335"/>
                  <a:gd name="connsiteX7" fmla="*/ 125454 w 125454"/>
                  <a:gd name="connsiteY7" fmla="*/ 12345 h 102335"/>
                  <a:gd name="connsiteX8" fmla="*/ 113046 w 125454"/>
                  <a:gd name="connsiteY8" fmla="*/ 0 h 102335"/>
                  <a:gd name="connsiteX9" fmla="*/ 115544 w 125454"/>
                  <a:gd name="connsiteY9" fmla="*/ 89991 h 102335"/>
                  <a:gd name="connsiteX10" fmla="*/ 113040 w 125454"/>
                  <a:gd name="connsiteY10" fmla="*/ 92432 h 102335"/>
                  <a:gd name="connsiteX11" fmla="*/ 12402 w 125454"/>
                  <a:gd name="connsiteY11" fmla="*/ 92432 h 102335"/>
                  <a:gd name="connsiteX12" fmla="*/ 9897 w 125454"/>
                  <a:gd name="connsiteY12" fmla="*/ 89991 h 102335"/>
                  <a:gd name="connsiteX13" fmla="*/ 9897 w 125454"/>
                  <a:gd name="connsiteY13" fmla="*/ 12345 h 102335"/>
                  <a:gd name="connsiteX14" fmla="*/ 12402 w 125454"/>
                  <a:gd name="connsiteY14" fmla="*/ 9904 h 102335"/>
                  <a:gd name="connsiteX15" fmla="*/ 113040 w 125454"/>
                  <a:gd name="connsiteY15" fmla="*/ 9904 h 102335"/>
                  <a:gd name="connsiteX16" fmla="*/ 115544 w 125454"/>
                  <a:gd name="connsiteY16" fmla="*/ 12345 h 102335"/>
                  <a:gd name="connsiteX17" fmla="*/ 115544 w 125454"/>
                  <a:gd name="connsiteY17" fmla="*/ 89991 h 102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5454" h="102335">
                    <a:moveTo>
                      <a:pt x="113046" y="0"/>
                    </a:moveTo>
                    <a:lnTo>
                      <a:pt x="12408" y="0"/>
                    </a:lnTo>
                    <a:cubicBezTo>
                      <a:pt x="5568" y="0"/>
                      <a:pt x="0" y="5537"/>
                      <a:pt x="0" y="12345"/>
                    </a:cubicBezTo>
                    <a:lnTo>
                      <a:pt x="0" y="89991"/>
                    </a:lnTo>
                    <a:cubicBezTo>
                      <a:pt x="0" y="96799"/>
                      <a:pt x="5562" y="102335"/>
                      <a:pt x="12408" y="102335"/>
                    </a:cubicBezTo>
                    <a:lnTo>
                      <a:pt x="113046" y="102335"/>
                    </a:lnTo>
                    <a:cubicBezTo>
                      <a:pt x="119886" y="102335"/>
                      <a:pt x="125454" y="96799"/>
                      <a:pt x="125454" y="89991"/>
                    </a:cubicBezTo>
                    <a:lnTo>
                      <a:pt x="125454" y="12345"/>
                    </a:lnTo>
                    <a:cubicBezTo>
                      <a:pt x="125448" y="5537"/>
                      <a:pt x="119886" y="0"/>
                      <a:pt x="113046" y="0"/>
                    </a:cubicBezTo>
                    <a:close/>
                    <a:moveTo>
                      <a:pt x="115544" y="89991"/>
                    </a:moveTo>
                    <a:cubicBezTo>
                      <a:pt x="115544" y="91338"/>
                      <a:pt x="114425" y="92432"/>
                      <a:pt x="113040" y="92432"/>
                    </a:cubicBezTo>
                    <a:lnTo>
                      <a:pt x="12402" y="92432"/>
                    </a:lnTo>
                    <a:cubicBezTo>
                      <a:pt x="11022" y="92432"/>
                      <a:pt x="9897" y="91338"/>
                      <a:pt x="9897" y="89991"/>
                    </a:cubicBezTo>
                    <a:lnTo>
                      <a:pt x="9897" y="12345"/>
                    </a:lnTo>
                    <a:cubicBezTo>
                      <a:pt x="9897" y="10997"/>
                      <a:pt x="11022" y="9904"/>
                      <a:pt x="12402" y="9904"/>
                    </a:cubicBezTo>
                    <a:lnTo>
                      <a:pt x="113040" y="9904"/>
                    </a:lnTo>
                    <a:cubicBezTo>
                      <a:pt x="114419" y="9904"/>
                      <a:pt x="115544" y="10997"/>
                      <a:pt x="115544" y="12345"/>
                    </a:cubicBezTo>
                    <a:lnTo>
                      <a:pt x="115544" y="89991"/>
                    </a:lnTo>
                    <a:close/>
                  </a:path>
                </a:pathLst>
              </a:custGeom>
              <a:solidFill>
                <a:schemeClr val="accent1"/>
              </a:solidFill>
              <a:ln w="635" cap="flat">
                <a:noFill/>
                <a:prstDash val="solid"/>
                <a:miter/>
              </a:ln>
            </p:spPr>
            <p:txBody>
              <a:bodyPr rtlCol="0" anchor="ctr"/>
              <a:lstStyle/>
              <a:p>
                <a:endParaRPr lang="en-GB" dirty="0"/>
              </a:p>
            </p:txBody>
          </p:sp>
        </p:grpSp>
        <p:sp>
          <p:nvSpPr>
            <p:cNvPr id="139" name="Freihandform: Form 138">
              <a:extLst>
                <a:ext uri="{FF2B5EF4-FFF2-40B4-BE49-F238E27FC236}">
                  <a16:creationId xmlns:a16="http://schemas.microsoft.com/office/drawing/2014/main" id="{3D396960-8B3B-45F5-B074-1B3336CDC4E9}"/>
                </a:ext>
              </a:extLst>
            </p:cNvPr>
            <p:cNvSpPr/>
            <p:nvPr/>
          </p:nvSpPr>
          <p:spPr>
            <a:xfrm>
              <a:off x="3555427" y="3022415"/>
              <a:ext cx="365205" cy="320225"/>
            </a:xfrm>
            <a:custGeom>
              <a:avLst/>
              <a:gdLst>
                <a:gd name="connsiteX0" fmla="*/ 323215 w 365207"/>
                <a:gd name="connsiteY0" fmla="*/ 0 h 320227"/>
                <a:gd name="connsiteX1" fmla="*/ 245436 w 365207"/>
                <a:gd name="connsiteY1" fmla="*/ 0 h 320227"/>
                <a:gd name="connsiteX2" fmla="*/ 203450 w 365207"/>
                <a:gd name="connsiteY2" fmla="*/ 42342 h 320227"/>
                <a:gd name="connsiteX3" fmla="*/ 203450 w 365207"/>
                <a:gd name="connsiteY3" fmla="*/ 67736 h 320227"/>
                <a:gd name="connsiteX4" fmla="*/ 184864 w 365207"/>
                <a:gd name="connsiteY4" fmla="*/ 67736 h 320227"/>
                <a:gd name="connsiteX5" fmla="*/ 184864 w 365207"/>
                <a:gd name="connsiteY5" fmla="*/ 41992 h 320227"/>
                <a:gd name="connsiteX6" fmla="*/ 142687 w 365207"/>
                <a:gd name="connsiteY6" fmla="*/ 0 h 320227"/>
                <a:gd name="connsiteX7" fmla="*/ 42176 w 365207"/>
                <a:gd name="connsiteY7" fmla="*/ 0 h 320227"/>
                <a:gd name="connsiteX8" fmla="*/ 0 w 365207"/>
                <a:gd name="connsiteY8" fmla="*/ 41992 h 320227"/>
                <a:gd name="connsiteX9" fmla="*/ 0 w 365207"/>
                <a:gd name="connsiteY9" fmla="*/ 119771 h 320227"/>
                <a:gd name="connsiteX10" fmla="*/ 42176 w 365207"/>
                <a:gd name="connsiteY10" fmla="*/ 161763 h 320227"/>
                <a:gd name="connsiteX11" fmla="*/ 142687 w 365207"/>
                <a:gd name="connsiteY11" fmla="*/ 161763 h 320227"/>
                <a:gd name="connsiteX12" fmla="*/ 184864 w 365207"/>
                <a:gd name="connsiteY12" fmla="*/ 119771 h 320227"/>
                <a:gd name="connsiteX13" fmla="*/ 184864 w 365207"/>
                <a:gd name="connsiteY13" fmla="*/ 105647 h 320227"/>
                <a:gd name="connsiteX14" fmla="*/ 203450 w 365207"/>
                <a:gd name="connsiteY14" fmla="*/ 105647 h 320227"/>
                <a:gd name="connsiteX15" fmla="*/ 203450 w 365207"/>
                <a:gd name="connsiteY15" fmla="*/ 277886 h 320227"/>
                <a:gd name="connsiteX16" fmla="*/ 245436 w 365207"/>
                <a:gd name="connsiteY16" fmla="*/ 320228 h 320227"/>
                <a:gd name="connsiteX17" fmla="*/ 323215 w 365207"/>
                <a:gd name="connsiteY17" fmla="*/ 320228 h 320227"/>
                <a:gd name="connsiteX18" fmla="*/ 365207 w 365207"/>
                <a:gd name="connsiteY18" fmla="*/ 277886 h 320227"/>
                <a:gd name="connsiteX19" fmla="*/ 365207 w 365207"/>
                <a:gd name="connsiteY19" fmla="*/ 42335 h 320227"/>
                <a:gd name="connsiteX20" fmla="*/ 323215 w 365207"/>
                <a:gd name="connsiteY20" fmla="*/ 0 h 320227"/>
                <a:gd name="connsiteX21" fmla="*/ 174953 w 365207"/>
                <a:gd name="connsiteY21" fmla="*/ 119765 h 320227"/>
                <a:gd name="connsiteX22" fmla="*/ 142681 w 365207"/>
                <a:gd name="connsiteY22" fmla="*/ 151853 h 320227"/>
                <a:gd name="connsiteX23" fmla="*/ 42170 w 365207"/>
                <a:gd name="connsiteY23" fmla="*/ 151853 h 320227"/>
                <a:gd name="connsiteX24" fmla="*/ 9897 w 365207"/>
                <a:gd name="connsiteY24" fmla="*/ 119765 h 320227"/>
                <a:gd name="connsiteX25" fmla="*/ 9897 w 365207"/>
                <a:gd name="connsiteY25" fmla="*/ 41986 h 320227"/>
                <a:gd name="connsiteX26" fmla="*/ 42170 w 365207"/>
                <a:gd name="connsiteY26" fmla="*/ 9897 h 320227"/>
                <a:gd name="connsiteX27" fmla="*/ 142681 w 365207"/>
                <a:gd name="connsiteY27" fmla="*/ 9897 h 320227"/>
                <a:gd name="connsiteX28" fmla="*/ 174953 w 365207"/>
                <a:gd name="connsiteY28" fmla="*/ 41986 h 320227"/>
                <a:gd name="connsiteX29" fmla="*/ 174953 w 365207"/>
                <a:gd name="connsiteY29" fmla="*/ 119765 h 320227"/>
                <a:gd name="connsiteX30" fmla="*/ 184857 w 365207"/>
                <a:gd name="connsiteY30" fmla="*/ 95737 h 320227"/>
                <a:gd name="connsiteX31" fmla="*/ 184857 w 365207"/>
                <a:gd name="connsiteY31" fmla="*/ 77633 h 320227"/>
                <a:gd name="connsiteX32" fmla="*/ 203444 w 365207"/>
                <a:gd name="connsiteY32" fmla="*/ 77633 h 320227"/>
                <a:gd name="connsiteX33" fmla="*/ 203444 w 365207"/>
                <a:gd name="connsiteY33" fmla="*/ 95737 h 320227"/>
                <a:gd name="connsiteX34" fmla="*/ 184857 w 365207"/>
                <a:gd name="connsiteY34" fmla="*/ 95737 h 320227"/>
                <a:gd name="connsiteX35" fmla="*/ 355304 w 365207"/>
                <a:gd name="connsiteY35" fmla="*/ 277880 h 320227"/>
                <a:gd name="connsiteX36" fmla="*/ 323215 w 365207"/>
                <a:gd name="connsiteY36" fmla="*/ 310318 h 320227"/>
                <a:gd name="connsiteX37" fmla="*/ 245436 w 365207"/>
                <a:gd name="connsiteY37" fmla="*/ 310318 h 320227"/>
                <a:gd name="connsiteX38" fmla="*/ 213354 w 365207"/>
                <a:gd name="connsiteY38" fmla="*/ 277880 h 320227"/>
                <a:gd name="connsiteX39" fmla="*/ 213354 w 365207"/>
                <a:gd name="connsiteY39" fmla="*/ 42335 h 320227"/>
                <a:gd name="connsiteX40" fmla="*/ 245436 w 365207"/>
                <a:gd name="connsiteY40" fmla="*/ 9897 h 320227"/>
                <a:gd name="connsiteX41" fmla="*/ 323215 w 365207"/>
                <a:gd name="connsiteY41" fmla="*/ 9897 h 320227"/>
                <a:gd name="connsiteX42" fmla="*/ 355304 w 365207"/>
                <a:gd name="connsiteY42" fmla="*/ 42335 h 320227"/>
                <a:gd name="connsiteX43" fmla="*/ 355304 w 365207"/>
                <a:gd name="connsiteY43" fmla="*/ 277880 h 320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65207" h="320227">
                  <a:moveTo>
                    <a:pt x="323215" y="0"/>
                  </a:moveTo>
                  <a:lnTo>
                    <a:pt x="245436" y="0"/>
                  </a:lnTo>
                  <a:cubicBezTo>
                    <a:pt x="222285" y="0"/>
                    <a:pt x="203450" y="18994"/>
                    <a:pt x="203450" y="42342"/>
                  </a:cubicBezTo>
                  <a:lnTo>
                    <a:pt x="203450" y="67736"/>
                  </a:lnTo>
                  <a:lnTo>
                    <a:pt x="184864" y="67736"/>
                  </a:lnTo>
                  <a:lnTo>
                    <a:pt x="184864" y="41992"/>
                  </a:lnTo>
                  <a:cubicBezTo>
                    <a:pt x="184864" y="18841"/>
                    <a:pt x="165940" y="0"/>
                    <a:pt x="142687" y="0"/>
                  </a:cubicBezTo>
                  <a:lnTo>
                    <a:pt x="42176" y="0"/>
                  </a:lnTo>
                  <a:cubicBezTo>
                    <a:pt x="18917" y="0"/>
                    <a:pt x="0" y="18835"/>
                    <a:pt x="0" y="41992"/>
                  </a:cubicBezTo>
                  <a:lnTo>
                    <a:pt x="0" y="119771"/>
                  </a:lnTo>
                  <a:cubicBezTo>
                    <a:pt x="0" y="142929"/>
                    <a:pt x="18924" y="161763"/>
                    <a:pt x="42176" y="161763"/>
                  </a:cubicBezTo>
                  <a:lnTo>
                    <a:pt x="142687" y="161763"/>
                  </a:lnTo>
                  <a:cubicBezTo>
                    <a:pt x="165946" y="161763"/>
                    <a:pt x="184864" y="142929"/>
                    <a:pt x="184864" y="119771"/>
                  </a:cubicBezTo>
                  <a:lnTo>
                    <a:pt x="184864" y="105647"/>
                  </a:lnTo>
                  <a:lnTo>
                    <a:pt x="203450" y="105647"/>
                  </a:lnTo>
                  <a:lnTo>
                    <a:pt x="203450" y="277886"/>
                  </a:lnTo>
                  <a:cubicBezTo>
                    <a:pt x="203450" y="301234"/>
                    <a:pt x="222285" y="320228"/>
                    <a:pt x="245436" y="320228"/>
                  </a:cubicBezTo>
                  <a:lnTo>
                    <a:pt x="323215" y="320228"/>
                  </a:lnTo>
                  <a:cubicBezTo>
                    <a:pt x="346366" y="320228"/>
                    <a:pt x="365207" y="301234"/>
                    <a:pt x="365207" y="277886"/>
                  </a:cubicBezTo>
                  <a:lnTo>
                    <a:pt x="365207" y="42335"/>
                  </a:lnTo>
                  <a:cubicBezTo>
                    <a:pt x="365207" y="18994"/>
                    <a:pt x="346366" y="0"/>
                    <a:pt x="323215" y="0"/>
                  </a:cubicBezTo>
                  <a:close/>
                  <a:moveTo>
                    <a:pt x="174953" y="119765"/>
                  </a:moveTo>
                  <a:cubicBezTo>
                    <a:pt x="174953" y="137462"/>
                    <a:pt x="160473" y="151853"/>
                    <a:pt x="142681" y="151853"/>
                  </a:cubicBezTo>
                  <a:lnTo>
                    <a:pt x="42170" y="151853"/>
                  </a:lnTo>
                  <a:cubicBezTo>
                    <a:pt x="24371" y="151853"/>
                    <a:pt x="9897" y="137462"/>
                    <a:pt x="9897" y="119765"/>
                  </a:cubicBezTo>
                  <a:lnTo>
                    <a:pt x="9897" y="41986"/>
                  </a:lnTo>
                  <a:cubicBezTo>
                    <a:pt x="9897" y="24295"/>
                    <a:pt x="24378" y="9897"/>
                    <a:pt x="42170" y="9897"/>
                  </a:cubicBezTo>
                  <a:lnTo>
                    <a:pt x="142681" y="9897"/>
                  </a:lnTo>
                  <a:cubicBezTo>
                    <a:pt x="160479" y="9897"/>
                    <a:pt x="174953" y="24289"/>
                    <a:pt x="174953" y="41986"/>
                  </a:cubicBezTo>
                  <a:lnTo>
                    <a:pt x="174953" y="119765"/>
                  </a:lnTo>
                  <a:close/>
                  <a:moveTo>
                    <a:pt x="184857" y="95737"/>
                  </a:moveTo>
                  <a:lnTo>
                    <a:pt x="184857" y="77633"/>
                  </a:lnTo>
                  <a:lnTo>
                    <a:pt x="203444" y="77633"/>
                  </a:lnTo>
                  <a:lnTo>
                    <a:pt x="203444" y="95737"/>
                  </a:lnTo>
                  <a:lnTo>
                    <a:pt x="184857" y="95737"/>
                  </a:lnTo>
                  <a:close/>
                  <a:moveTo>
                    <a:pt x="355304" y="277880"/>
                  </a:moveTo>
                  <a:cubicBezTo>
                    <a:pt x="355304" y="295767"/>
                    <a:pt x="340906" y="310318"/>
                    <a:pt x="323215" y="310318"/>
                  </a:cubicBezTo>
                  <a:lnTo>
                    <a:pt x="245436" y="310318"/>
                  </a:lnTo>
                  <a:cubicBezTo>
                    <a:pt x="227745" y="310318"/>
                    <a:pt x="213354" y="295767"/>
                    <a:pt x="213354" y="277880"/>
                  </a:cubicBezTo>
                  <a:lnTo>
                    <a:pt x="213354" y="42335"/>
                  </a:lnTo>
                  <a:cubicBezTo>
                    <a:pt x="213354" y="24448"/>
                    <a:pt x="227745" y="9897"/>
                    <a:pt x="245436" y="9897"/>
                  </a:cubicBezTo>
                  <a:lnTo>
                    <a:pt x="323215" y="9897"/>
                  </a:lnTo>
                  <a:cubicBezTo>
                    <a:pt x="340906" y="9897"/>
                    <a:pt x="355304" y="24448"/>
                    <a:pt x="355304" y="42335"/>
                  </a:cubicBezTo>
                  <a:lnTo>
                    <a:pt x="355304" y="277880"/>
                  </a:lnTo>
                  <a:close/>
                </a:path>
              </a:pathLst>
            </a:custGeom>
            <a:solidFill>
              <a:schemeClr val="tx2"/>
            </a:solidFill>
            <a:ln w="635" cap="flat">
              <a:noFill/>
              <a:prstDash val="solid"/>
              <a:miter/>
            </a:ln>
          </p:spPr>
          <p:txBody>
            <a:bodyPr rtlCol="0" anchor="ctr"/>
            <a:lstStyle/>
            <a:p>
              <a:endParaRPr lang="en-GB" dirty="0"/>
            </a:p>
          </p:txBody>
        </p:sp>
        <p:sp>
          <p:nvSpPr>
            <p:cNvPr id="140" name="Freihandform: Form 139">
              <a:extLst>
                <a:ext uri="{FF2B5EF4-FFF2-40B4-BE49-F238E27FC236}">
                  <a16:creationId xmlns:a16="http://schemas.microsoft.com/office/drawing/2014/main" id="{4F5AD40F-1641-42F6-B24F-9CB9258607F6}"/>
                </a:ext>
              </a:extLst>
            </p:cNvPr>
            <p:cNvSpPr/>
            <p:nvPr/>
          </p:nvSpPr>
          <p:spPr>
            <a:xfrm>
              <a:off x="3789179" y="3277207"/>
              <a:ext cx="36309" cy="36308"/>
            </a:xfrm>
            <a:custGeom>
              <a:avLst/>
              <a:gdLst>
                <a:gd name="connsiteX0" fmla="*/ 24657 w 36309"/>
                <a:gd name="connsiteY0" fmla="*/ 0 h 36308"/>
                <a:gd name="connsiteX1" fmla="*/ 11645 w 36309"/>
                <a:gd name="connsiteY1" fmla="*/ 0 h 36308"/>
                <a:gd name="connsiteX2" fmla="*/ 3325 w 36309"/>
                <a:gd name="connsiteY2" fmla="*/ 3598 h 36308"/>
                <a:gd name="connsiteX3" fmla="*/ 0 w 36309"/>
                <a:gd name="connsiteY3" fmla="*/ 11989 h 36308"/>
                <a:gd name="connsiteX4" fmla="*/ 0 w 36309"/>
                <a:gd name="connsiteY4" fmla="*/ 24314 h 36308"/>
                <a:gd name="connsiteX5" fmla="*/ 3318 w 36309"/>
                <a:gd name="connsiteY5" fmla="*/ 32698 h 36308"/>
                <a:gd name="connsiteX6" fmla="*/ 11645 w 36309"/>
                <a:gd name="connsiteY6" fmla="*/ 36309 h 36308"/>
                <a:gd name="connsiteX7" fmla="*/ 24657 w 36309"/>
                <a:gd name="connsiteY7" fmla="*/ 36309 h 36308"/>
                <a:gd name="connsiteX8" fmla="*/ 32978 w 36309"/>
                <a:gd name="connsiteY8" fmla="*/ 32711 h 36308"/>
                <a:gd name="connsiteX9" fmla="*/ 36309 w 36309"/>
                <a:gd name="connsiteY9" fmla="*/ 24314 h 36308"/>
                <a:gd name="connsiteX10" fmla="*/ 36309 w 36309"/>
                <a:gd name="connsiteY10" fmla="*/ 11989 h 36308"/>
                <a:gd name="connsiteX11" fmla="*/ 32991 w 36309"/>
                <a:gd name="connsiteY11" fmla="*/ 3604 h 36308"/>
                <a:gd name="connsiteX12" fmla="*/ 24657 w 36309"/>
                <a:gd name="connsiteY12" fmla="*/ 0 h 36308"/>
                <a:gd name="connsiteX13" fmla="*/ 26405 w 36309"/>
                <a:gd name="connsiteY13" fmla="*/ 24314 h 36308"/>
                <a:gd name="connsiteX14" fmla="*/ 25801 w 36309"/>
                <a:gd name="connsiteY14" fmla="*/ 25884 h 36308"/>
                <a:gd name="connsiteX15" fmla="*/ 24657 w 36309"/>
                <a:gd name="connsiteY15" fmla="*/ 26405 h 36308"/>
                <a:gd name="connsiteX16" fmla="*/ 11645 w 36309"/>
                <a:gd name="connsiteY16" fmla="*/ 26405 h 36308"/>
                <a:gd name="connsiteX17" fmla="*/ 10501 w 36309"/>
                <a:gd name="connsiteY17" fmla="*/ 25884 h 36308"/>
                <a:gd name="connsiteX18" fmla="*/ 9897 w 36309"/>
                <a:gd name="connsiteY18" fmla="*/ 24314 h 36308"/>
                <a:gd name="connsiteX19" fmla="*/ 9897 w 36309"/>
                <a:gd name="connsiteY19" fmla="*/ 11989 h 36308"/>
                <a:gd name="connsiteX20" fmla="*/ 10507 w 36309"/>
                <a:gd name="connsiteY20" fmla="*/ 10412 h 36308"/>
                <a:gd name="connsiteX21" fmla="*/ 11645 w 36309"/>
                <a:gd name="connsiteY21" fmla="*/ 9897 h 36308"/>
                <a:gd name="connsiteX22" fmla="*/ 24657 w 36309"/>
                <a:gd name="connsiteY22" fmla="*/ 9897 h 36308"/>
                <a:gd name="connsiteX23" fmla="*/ 25814 w 36309"/>
                <a:gd name="connsiteY23" fmla="*/ 10425 h 36308"/>
                <a:gd name="connsiteX24" fmla="*/ 26405 w 36309"/>
                <a:gd name="connsiteY24" fmla="*/ 11982 h 36308"/>
                <a:gd name="connsiteX25" fmla="*/ 26405 w 36309"/>
                <a:gd name="connsiteY25" fmla="*/ 24314 h 3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309" h="36308">
                  <a:moveTo>
                    <a:pt x="24657" y="0"/>
                  </a:moveTo>
                  <a:lnTo>
                    <a:pt x="11645" y="0"/>
                  </a:lnTo>
                  <a:cubicBezTo>
                    <a:pt x="8518" y="0"/>
                    <a:pt x="5479" y="1316"/>
                    <a:pt x="3325" y="3598"/>
                  </a:cubicBezTo>
                  <a:cubicBezTo>
                    <a:pt x="1176" y="5854"/>
                    <a:pt x="0" y="8836"/>
                    <a:pt x="0" y="11989"/>
                  </a:cubicBezTo>
                  <a:lnTo>
                    <a:pt x="0" y="24314"/>
                  </a:lnTo>
                  <a:cubicBezTo>
                    <a:pt x="0" y="27467"/>
                    <a:pt x="1182" y="30442"/>
                    <a:pt x="3318" y="32698"/>
                  </a:cubicBezTo>
                  <a:cubicBezTo>
                    <a:pt x="5498" y="34993"/>
                    <a:pt x="8531" y="36309"/>
                    <a:pt x="11645" y="36309"/>
                  </a:cubicBezTo>
                  <a:lnTo>
                    <a:pt x="24657" y="36309"/>
                  </a:lnTo>
                  <a:cubicBezTo>
                    <a:pt x="27772" y="36309"/>
                    <a:pt x="30810" y="34993"/>
                    <a:pt x="32978" y="32711"/>
                  </a:cubicBezTo>
                  <a:cubicBezTo>
                    <a:pt x="35127" y="30455"/>
                    <a:pt x="36309" y="27473"/>
                    <a:pt x="36309" y="24314"/>
                  </a:cubicBezTo>
                  <a:lnTo>
                    <a:pt x="36309" y="11989"/>
                  </a:lnTo>
                  <a:cubicBezTo>
                    <a:pt x="36309" y="8823"/>
                    <a:pt x="35127" y="5835"/>
                    <a:pt x="32991" y="3604"/>
                  </a:cubicBezTo>
                  <a:cubicBezTo>
                    <a:pt x="30791" y="1284"/>
                    <a:pt x="27829" y="0"/>
                    <a:pt x="24657" y="0"/>
                  </a:cubicBezTo>
                  <a:close/>
                  <a:moveTo>
                    <a:pt x="26405" y="24314"/>
                  </a:moveTo>
                  <a:cubicBezTo>
                    <a:pt x="26405" y="24664"/>
                    <a:pt x="26329" y="25331"/>
                    <a:pt x="25801" y="25884"/>
                  </a:cubicBezTo>
                  <a:cubicBezTo>
                    <a:pt x="25376" y="26342"/>
                    <a:pt x="24905" y="26405"/>
                    <a:pt x="24657" y="26405"/>
                  </a:cubicBezTo>
                  <a:lnTo>
                    <a:pt x="11645" y="26405"/>
                  </a:lnTo>
                  <a:cubicBezTo>
                    <a:pt x="11404" y="26405"/>
                    <a:pt x="10933" y="26335"/>
                    <a:pt x="10501" y="25884"/>
                  </a:cubicBezTo>
                  <a:cubicBezTo>
                    <a:pt x="10120" y="25477"/>
                    <a:pt x="9897" y="24905"/>
                    <a:pt x="9897" y="24314"/>
                  </a:cubicBezTo>
                  <a:lnTo>
                    <a:pt x="9897" y="11989"/>
                  </a:lnTo>
                  <a:cubicBezTo>
                    <a:pt x="9897" y="11639"/>
                    <a:pt x="9974" y="10972"/>
                    <a:pt x="10507" y="10412"/>
                  </a:cubicBezTo>
                  <a:cubicBezTo>
                    <a:pt x="10908" y="9993"/>
                    <a:pt x="11347" y="9897"/>
                    <a:pt x="11645" y="9897"/>
                  </a:cubicBezTo>
                  <a:lnTo>
                    <a:pt x="24657" y="9897"/>
                  </a:lnTo>
                  <a:cubicBezTo>
                    <a:pt x="24956" y="9897"/>
                    <a:pt x="25395" y="9986"/>
                    <a:pt x="25814" y="10425"/>
                  </a:cubicBezTo>
                  <a:cubicBezTo>
                    <a:pt x="26329" y="10965"/>
                    <a:pt x="26405" y="11633"/>
                    <a:pt x="26405" y="11982"/>
                  </a:cubicBezTo>
                  <a:lnTo>
                    <a:pt x="26405" y="24314"/>
                  </a:lnTo>
                  <a:close/>
                </a:path>
              </a:pathLst>
            </a:custGeom>
            <a:solidFill>
              <a:schemeClr val="tx2"/>
            </a:solidFill>
            <a:ln w="635" cap="flat">
              <a:noFill/>
              <a:prstDash val="solid"/>
              <a:miter/>
            </a:ln>
          </p:spPr>
          <p:txBody>
            <a:bodyPr rtlCol="0" anchor="ctr"/>
            <a:lstStyle/>
            <a:p>
              <a:endParaRPr lang="en-GB" dirty="0"/>
            </a:p>
          </p:txBody>
        </p:sp>
      </p:grpSp>
      <p:grpSp>
        <p:nvGrpSpPr>
          <p:cNvPr id="143" name="Gruppieren 142">
            <a:extLst>
              <a:ext uri="{FF2B5EF4-FFF2-40B4-BE49-F238E27FC236}">
                <a16:creationId xmlns:a16="http://schemas.microsoft.com/office/drawing/2014/main" id="{CCD26629-0C99-481B-80B4-2CFF5AD83DC6}"/>
              </a:ext>
            </a:extLst>
          </p:cNvPr>
          <p:cNvGrpSpPr>
            <a:grpSpLocks noChangeAspect="1"/>
          </p:cNvGrpSpPr>
          <p:nvPr/>
        </p:nvGrpSpPr>
        <p:grpSpPr>
          <a:xfrm>
            <a:off x="3030512" y="3568650"/>
            <a:ext cx="324000" cy="324000"/>
            <a:chOff x="2883519" y="3693661"/>
            <a:chExt cx="340028" cy="340028"/>
          </a:xfrm>
        </p:grpSpPr>
        <p:sp>
          <p:nvSpPr>
            <p:cNvPr id="144" name="Freihandform: Form 143">
              <a:extLst>
                <a:ext uri="{FF2B5EF4-FFF2-40B4-BE49-F238E27FC236}">
                  <a16:creationId xmlns:a16="http://schemas.microsoft.com/office/drawing/2014/main" id="{07645997-9DC1-4230-9000-714D9782C638}"/>
                </a:ext>
              </a:extLst>
            </p:cNvPr>
            <p:cNvSpPr/>
            <p:nvPr/>
          </p:nvSpPr>
          <p:spPr>
            <a:xfrm>
              <a:off x="2883519" y="3693661"/>
              <a:ext cx="340028" cy="340028"/>
            </a:xfrm>
            <a:custGeom>
              <a:avLst/>
              <a:gdLst>
                <a:gd name="connsiteX0" fmla="*/ 170014 w 340028"/>
                <a:gd name="connsiteY0" fmla="*/ 0 h 340028"/>
                <a:gd name="connsiteX1" fmla="*/ 0 w 340028"/>
                <a:gd name="connsiteY1" fmla="*/ 170014 h 340028"/>
                <a:gd name="connsiteX2" fmla="*/ 170014 w 340028"/>
                <a:gd name="connsiteY2" fmla="*/ 340029 h 340028"/>
                <a:gd name="connsiteX3" fmla="*/ 340028 w 340028"/>
                <a:gd name="connsiteY3" fmla="*/ 170014 h 340028"/>
                <a:gd name="connsiteX4" fmla="*/ 170014 w 340028"/>
                <a:gd name="connsiteY4" fmla="*/ 0 h 340028"/>
                <a:gd name="connsiteX5" fmla="*/ 170014 w 340028"/>
                <a:gd name="connsiteY5" fmla="*/ 330125 h 340028"/>
                <a:gd name="connsiteX6" fmla="*/ 9904 w 340028"/>
                <a:gd name="connsiteY6" fmla="*/ 170014 h 340028"/>
                <a:gd name="connsiteX7" fmla="*/ 170014 w 340028"/>
                <a:gd name="connsiteY7" fmla="*/ 9904 h 340028"/>
                <a:gd name="connsiteX8" fmla="*/ 330125 w 340028"/>
                <a:gd name="connsiteY8" fmla="*/ 170014 h 340028"/>
                <a:gd name="connsiteX9" fmla="*/ 170014 w 340028"/>
                <a:gd name="connsiteY9" fmla="*/ 330125 h 34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028" h="340028">
                  <a:moveTo>
                    <a:pt x="170014" y="0"/>
                  </a:moveTo>
                  <a:cubicBezTo>
                    <a:pt x="76267" y="0"/>
                    <a:pt x="0" y="76267"/>
                    <a:pt x="0" y="170014"/>
                  </a:cubicBezTo>
                  <a:cubicBezTo>
                    <a:pt x="0" y="263762"/>
                    <a:pt x="76267" y="340029"/>
                    <a:pt x="170014" y="340029"/>
                  </a:cubicBezTo>
                  <a:cubicBezTo>
                    <a:pt x="263762" y="340029"/>
                    <a:pt x="340028" y="263762"/>
                    <a:pt x="340028" y="170014"/>
                  </a:cubicBezTo>
                  <a:cubicBezTo>
                    <a:pt x="340028" y="76267"/>
                    <a:pt x="263762" y="0"/>
                    <a:pt x="170014" y="0"/>
                  </a:cubicBezTo>
                  <a:close/>
                  <a:moveTo>
                    <a:pt x="170014" y="330125"/>
                  </a:moveTo>
                  <a:cubicBezTo>
                    <a:pt x="81727" y="330125"/>
                    <a:pt x="9904" y="258301"/>
                    <a:pt x="9904" y="170014"/>
                  </a:cubicBezTo>
                  <a:cubicBezTo>
                    <a:pt x="9904" y="81727"/>
                    <a:pt x="81727" y="9904"/>
                    <a:pt x="170014" y="9904"/>
                  </a:cubicBezTo>
                  <a:cubicBezTo>
                    <a:pt x="258301" y="9904"/>
                    <a:pt x="330125" y="81727"/>
                    <a:pt x="330125" y="170014"/>
                  </a:cubicBezTo>
                  <a:cubicBezTo>
                    <a:pt x="330125" y="258301"/>
                    <a:pt x="258301" y="330125"/>
                    <a:pt x="170014" y="330125"/>
                  </a:cubicBezTo>
                  <a:close/>
                </a:path>
              </a:pathLst>
            </a:custGeom>
            <a:solidFill>
              <a:schemeClr val="tx2"/>
            </a:solidFill>
            <a:ln w="635" cap="flat">
              <a:noFill/>
              <a:prstDash val="solid"/>
              <a:miter/>
            </a:ln>
          </p:spPr>
          <p:txBody>
            <a:bodyPr rtlCol="0" anchor="ctr"/>
            <a:lstStyle/>
            <a:p>
              <a:endParaRPr lang="en-GB" dirty="0"/>
            </a:p>
          </p:txBody>
        </p:sp>
        <p:sp>
          <p:nvSpPr>
            <p:cNvPr id="145" name="Freihandform: Form 144">
              <a:extLst>
                <a:ext uri="{FF2B5EF4-FFF2-40B4-BE49-F238E27FC236}">
                  <a16:creationId xmlns:a16="http://schemas.microsoft.com/office/drawing/2014/main" id="{2B3370E3-8C20-4D00-B428-1806E5D0A7BB}"/>
                </a:ext>
              </a:extLst>
            </p:cNvPr>
            <p:cNvSpPr/>
            <p:nvPr/>
          </p:nvSpPr>
          <p:spPr>
            <a:xfrm>
              <a:off x="2913228" y="3723369"/>
              <a:ext cx="280606" cy="280606"/>
            </a:xfrm>
            <a:custGeom>
              <a:avLst/>
              <a:gdLst>
                <a:gd name="connsiteX0" fmla="*/ 140303 w 280606"/>
                <a:gd name="connsiteY0" fmla="*/ 0 h 280606"/>
                <a:gd name="connsiteX1" fmla="*/ 0 w 280606"/>
                <a:gd name="connsiteY1" fmla="*/ 140303 h 280606"/>
                <a:gd name="connsiteX2" fmla="*/ 140303 w 280606"/>
                <a:gd name="connsiteY2" fmla="*/ 280607 h 280606"/>
                <a:gd name="connsiteX3" fmla="*/ 280607 w 280606"/>
                <a:gd name="connsiteY3" fmla="*/ 140303 h 280606"/>
                <a:gd name="connsiteX4" fmla="*/ 140303 w 280606"/>
                <a:gd name="connsiteY4" fmla="*/ 0 h 280606"/>
                <a:gd name="connsiteX5" fmla="*/ 140303 w 280606"/>
                <a:gd name="connsiteY5" fmla="*/ 270703 h 280606"/>
                <a:gd name="connsiteX6" fmla="*/ 9904 w 280606"/>
                <a:gd name="connsiteY6" fmla="*/ 140303 h 280606"/>
                <a:gd name="connsiteX7" fmla="*/ 140303 w 280606"/>
                <a:gd name="connsiteY7" fmla="*/ 9904 h 280606"/>
                <a:gd name="connsiteX8" fmla="*/ 270703 w 280606"/>
                <a:gd name="connsiteY8" fmla="*/ 140303 h 280606"/>
                <a:gd name="connsiteX9" fmla="*/ 140303 w 280606"/>
                <a:gd name="connsiteY9" fmla="*/ 270703 h 28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06" h="280606">
                  <a:moveTo>
                    <a:pt x="140303" y="0"/>
                  </a:moveTo>
                  <a:cubicBezTo>
                    <a:pt x="62943" y="0"/>
                    <a:pt x="0" y="62937"/>
                    <a:pt x="0" y="140303"/>
                  </a:cubicBezTo>
                  <a:cubicBezTo>
                    <a:pt x="0" y="217664"/>
                    <a:pt x="62937" y="280607"/>
                    <a:pt x="140303" y="280607"/>
                  </a:cubicBezTo>
                  <a:cubicBezTo>
                    <a:pt x="217663" y="280607"/>
                    <a:pt x="280607" y="217670"/>
                    <a:pt x="280607" y="140303"/>
                  </a:cubicBezTo>
                  <a:cubicBezTo>
                    <a:pt x="280607" y="62943"/>
                    <a:pt x="217670" y="0"/>
                    <a:pt x="140303" y="0"/>
                  </a:cubicBezTo>
                  <a:close/>
                  <a:moveTo>
                    <a:pt x="140303" y="270703"/>
                  </a:moveTo>
                  <a:cubicBezTo>
                    <a:pt x="68404" y="270703"/>
                    <a:pt x="9904" y="212210"/>
                    <a:pt x="9904" y="140303"/>
                  </a:cubicBezTo>
                  <a:cubicBezTo>
                    <a:pt x="9904" y="68404"/>
                    <a:pt x="68397" y="9904"/>
                    <a:pt x="140303" y="9904"/>
                  </a:cubicBezTo>
                  <a:cubicBezTo>
                    <a:pt x="212203" y="9904"/>
                    <a:pt x="270703" y="68397"/>
                    <a:pt x="270703" y="140303"/>
                  </a:cubicBezTo>
                  <a:cubicBezTo>
                    <a:pt x="270703" y="212203"/>
                    <a:pt x="212209" y="270703"/>
                    <a:pt x="140303" y="270703"/>
                  </a:cubicBezTo>
                  <a:close/>
                </a:path>
              </a:pathLst>
            </a:custGeom>
            <a:solidFill>
              <a:schemeClr val="tx2"/>
            </a:solidFill>
            <a:ln w="635" cap="flat">
              <a:noFill/>
              <a:prstDash val="solid"/>
              <a:miter/>
            </a:ln>
          </p:spPr>
          <p:txBody>
            <a:bodyPr rtlCol="0" anchor="ctr"/>
            <a:lstStyle/>
            <a:p>
              <a:endParaRPr lang="en-GB" dirty="0"/>
            </a:p>
          </p:txBody>
        </p:sp>
        <p:sp>
          <p:nvSpPr>
            <p:cNvPr id="146" name="Freihandform: Form 145">
              <a:extLst>
                <a:ext uri="{FF2B5EF4-FFF2-40B4-BE49-F238E27FC236}">
                  <a16:creationId xmlns:a16="http://schemas.microsoft.com/office/drawing/2014/main" id="{EFE4007A-1FBB-48F7-BC09-BB0F5B3AE2E4}"/>
                </a:ext>
              </a:extLst>
            </p:cNvPr>
            <p:cNvSpPr/>
            <p:nvPr/>
          </p:nvSpPr>
          <p:spPr>
            <a:xfrm>
              <a:off x="2999063" y="3809205"/>
              <a:ext cx="108939" cy="108939"/>
            </a:xfrm>
            <a:custGeom>
              <a:avLst/>
              <a:gdLst>
                <a:gd name="connsiteX0" fmla="*/ 84181 w 108939"/>
                <a:gd name="connsiteY0" fmla="*/ 0 h 108939"/>
                <a:gd name="connsiteX1" fmla="*/ 24759 w 108939"/>
                <a:gd name="connsiteY1" fmla="*/ 0 h 108939"/>
                <a:gd name="connsiteX2" fmla="*/ 0 w 108939"/>
                <a:gd name="connsiteY2" fmla="*/ 24759 h 108939"/>
                <a:gd name="connsiteX3" fmla="*/ 0 w 108939"/>
                <a:gd name="connsiteY3" fmla="*/ 84181 h 108939"/>
                <a:gd name="connsiteX4" fmla="*/ 24759 w 108939"/>
                <a:gd name="connsiteY4" fmla="*/ 108940 h 108939"/>
                <a:gd name="connsiteX5" fmla="*/ 84181 w 108939"/>
                <a:gd name="connsiteY5" fmla="*/ 108940 h 108939"/>
                <a:gd name="connsiteX6" fmla="*/ 108940 w 108939"/>
                <a:gd name="connsiteY6" fmla="*/ 84181 h 108939"/>
                <a:gd name="connsiteX7" fmla="*/ 108940 w 108939"/>
                <a:gd name="connsiteY7" fmla="*/ 24759 h 108939"/>
                <a:gd name="connsiteX8" fmla="*/ 84181 w 108939"/>
                <a:gd name="connsiteY8" fmla="*/ 0 h 108939"/>
                <a:gd name="connsiteX9" fmla="*/ 99036 w 108939"/>
                <a:gd name="connsiteY9" fmla="*/ 84181 h 108939"/>
                <a:gd name="connsiteX10" fmla="*/ 84181 w 108939"/>
                <a:gd name="connsiteY10" fmla="*/ 99036 h 108939"/>
                <a:gd name="connsiteX11" fmla="*/ 24759 w 108939"/>
                <a:gd name="connsiteY11" fmla="*/ 99036 h 108939"/>
                <a:gd name="connsiteX12" fmla="*/ 9904 w 108939"/>
                <a:gd name="connsiteY12" fmla="*/ 84181 h 108939"/>
                <a:gd name="connsiteX13" fmla="*/ 9904 w 108939"/>
                <a:gd name="connsiteY13" fmla="*/ 24759 h 108939"/>
                <a:gd name="connsiteX14" fmla="*/ 24759 w 108939"/>
                <a:gd name="connsiteY14" fmla="*/ 9904 h 108939"/>
                <a:gd name="connsiteX15" fmla="*/ 84181 w 108939"/>
                <a:gd name="connsiteY15" fmla="*/ 9904 h 108939"/>
                <a:gd name="connsiteX16" fmla="*/ 99036 w 108939"/>
                <a:gd name="connsiteY16" fmla="*/ 24759 h 108939"/>
                <a:gd name="connsiteX17" fmla="*/ 99036 w 108939"/>
                <a:gd name="connsiteY17" fmla="*/ 84181 h 108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8939" h="108939">
                  <a:moveTo>
                    <a:pt x="84181" y="0"/>
                  </a:moveTo>
                  <a:lnTo>
                    <a:pt x="24759" y="0"/>
                  </a:lnTo>
                  <a:cubicBezTo>
                    <a:pt x="11105" y="0"/>
                    <a:pt x="0" y="11105"/>
                    <a:pt x="0" y="24759"/>
                  </a:cubicBezTo>
                  <a:lnTo>
                    <a:pt x="0" y="84181"/>
                  </a:lnTo>
                  <a:cubicBezTo>
                    <a:pt x="0" y="97835"/>
                    <a:pt x="11105" y="108940"/>
                    <a:pt x="24759" y="108940"/>
                  </a:cubicBezTo>
                  <a:lnTo>
                    <a:pt x="84181" y="108940"/>
                  </a:lnTo>
                  <a:cubicBezTo>
                    <a:pt x="97835" y="108940"/>
                    <a:pt x="108940" y="97835"/>
                    <a:pt x="108940" y="84181"/>
                  </a:cubicBezTo>
                  <a:lnTo>
                    <a:pt x="108940" y="24759"/>
                  </a:lnTo>
                  <a:cubicBezTo>
                    <a:pt x="108940" y="11105"/>
                    <a:pt x="97835" y="0"/>
                    <a:pt x="84181" y="0"/>
                  </a:cubicBezTo>
                  <a:close/>
                  <a:moveTo>
                    <a:pt x="99036" y="84181"/>
                  </a:moveTo>
                  <a:cubicBezTo>
                    <a:pt x="99036" y="92375"/>
                    <a:pt x="92375" y="99036"/>
                    <a:pt x="84181" y="99036"/>
                  </a:cubicBezTo>
                  <a:lnTo>
                    <a:pt x="24759" y="99036"/>
                  </a:lnTo>
                  <a:cubicBezTo>
                    <a:pt x="16565" y="99036"/>
                    <a:pt x="9904" y="92375"/>
                    <a:pt x="9904" y="84181"/>
                  </a:cubicBezTo>
                  <a:lnTo>
                    <a:pt x="9904" y="24759"/>
                  </a:lnTo>
                  <a:cubicBezTo>
                    <a:pt x="9904" y="16565"/>
                    <a:pt x="16565" y="9904"/>
                    <a:pt x="24759" y="9904"/>
                  </a:cubicBezTo>
                  <a:lnTo>
                    <a:pt x="84181" y="9904"/>
                  </a:lnTo>
                  <a:cubicBezTo>
                    <a:pt x="92375" y="9904"/>
                    <a:pt x="99036" y="16565"/>
                    <a:pt x="99036" y="24759"/>
                  </a:cubicBezTo>
                  <a:lnTo>
                    <a:pt x="99036" y="84181"/>
                  </a:lnTo>
                  <a:close/>
                </a:path>
              </a:pathLst>
            </a:custGeom>
            <a:solidFill>
              <a:schemeClr val="accent1"/>
            </a:solidFill>
            <a:ln w="635" cap="flat">
              <a:noFill/>
              <a:prstDash val="solid"/>
              <a:miter/>
            </a:ln>
          </p:spPr>
          <p:txBody>
            <a:bodyPr rtlCol="0" anchor="ctr"/>
            <a:lstStyle/>
            <a:p>
              <a:endParaRPr lang="en-GB" dirty="0"/>
            </a:p>
          </p:txBody>
        </p:sp>
      </p:grpSp>
      <p:grpSp>
        <p:nvGrpSpPr>
          <p:cNvPr id="147" name="Gruppieren 146">
            <a:extLst>
              <a:ext uri="{FF2B5EF4-FFF2-40B4-BE49-F238E27FC236}">
                <a16:creationId xmlns:a16="http://schemas.microsoft.com/office/drawing/2014/main" id="{73836814-AE2F-4407-A20F-2AFF3A5D9944}"/>
              </a:ext>
            </a:extLst>
          </p:cNvPr>
          <p:cNvGrpSpPr>
            <a:grpSpLocks noChangeAspect="1"/>
          </p:cNvGrpSpPr>
          <p:nvPr/>
        </p:nvGrpSpPr>
        <p:grpSpPr>
          <a:xfrm>
            <a:off x="478135" y="1626718"/>
            <a:ext cx="441108" cy="324000"/>
            <a:chOff x="774952" y="1666561"/>
            <a:chExt cx="373039" cy="274002"/>
          </a:xfrm>
        </p:grpSpPr>
        <p:sp>
          <p:nvSpPr>
            <p:cNvPr id="148" name="Freihandform: Form 147">
              <a:extLst>
                <a:ext uri="{FF2B5EF4-FFF2-40B4-BE49-F238E27FC236}">
                  <a16:creationId xmlns:a16="http://schemas.microsoft.com/office/drawing/2014/main" id="{1B123161-1DA5-4181-B2B2-B3D5B10A1E97}"/>
                </a:ext>
              </a:extLst>
            </p:cNvPr>
            <p:cNvSpPr/>
            <p:nvPr/>
          </p:nvSpPr>
          <p:spPr>
            <a:xfrm>
              <a:off x="774952" y="1666561"/>
              <a:ext cx="373039" cy="274002"/>
            </a:xfrm>
            <a:custGeom>
              <a:avLst/>
              <a:gdLst>
                <a:gd name="connsiteX0" fmla="*/ 325364 w 373038"/>
                <a:gd name="connsiteY0" fmla="*/ 51336 h 274002"/>
                <a:gd name="connsiteX1" fmla="*/ 260539 w 373038"/>
                <a:gd name="connsiteY1" fmla="*/ 51336 h 274002"/>
                <a:gd name="connsiteX2" fmla="*/ 259744 w 373038"/>
                <a:gd name="connsiteY2" fmla="*/ 46607 h 274002"/>
                <a:gd name="connsiteX3" fmla="*/ 212152 w 373038"/>
                <a:gd name="connsiteY3" fmla="*/ 0 h 274002"/>
                <a:gd name="connsiteX4" fmla="*/ 160886 w 373038"/>
                <a:gd name="connsiteY4" fmla="*/ 0 h 274002"/>
                <a:gd name="connsiteX5" fmla="*/ 113281 w 373038"/>
                <a:gd name="connsiteY5" fmla="*/ 46683 h 274002"/>
                <a:gd name="connsiteX6" fmla="*/ 112506 w 373038"/>
                <a:gd name="connsiteY6" fmla="*/ 51330 h 274002"/>
                <a:gd name="connsiteX7" fmla="*/ 47675 w 373038"/>
                <a:gd name="connsiteY7" fmla="*/ 51330 h 274002"/>
                <a:gd name="connsiteX8" fmla="*/ 0 w 373038"/>
                <a:gd name="connsiteY8" fmla="*/ 98839 h 274002"/>
                <a:gd name="connsiteX9" fmla="*/ 0 w 373038"/>
                <a:gd name="connsiteY9" fmla="*/ 226493 h 274002"/>
                <a:gd name="connsiteX10" fmla="*/ 47675 w 373038"/>
                <a:gd name="connsiteY10" fmla="*/ 274002 h 274002"/>
                <a:gd name="connsiteX11" fmla="*/ 325364 w 373038"/>
                <a:gd name="connsiteY11" fmla="*/ 274002 h 274002"/>
                <a:gd name="connsiteX12" fmla="*/ 373038 w 373038"/>
                <a:gd name="connsiteY12" fmla="*/ 226493 h 274002"/>
                <a:gd name="connsiteX13" fmla="*/ 373038 w 373038"/>
                <a:gd name="connsiteY13" fmla="*/ 98846 h 274002"/>
                <a:gd name="connsiteX14" fmla="*/ 325364 w 373038"/>
                <a:gd name="connsiteY14" fmla="*/ 51336 h 274002"/>
                <a:gd name="connsiteX15" fmla="*/ 363135 w 373038"/>
                <a:gd name="connsiteY15" fmla="*/ 226499 h 274002"/>
                <a:gd name="connsiteX16" fmla="*/ 325364 w 373038"/>
                <a:gd name="connsiteY16" fmla="*/ 264105 h 274002"/>
                <a:gd name="connsiteX17" fmla="*/ 47675 w 373038"/>
                <a:gd name="connsiteY17" fmla="*/ 264105 h 274002"/>
                <a:gd name="connsiteX18" fmla="*/ 9904 w 373038"/>
                <a:gd name="connsiteY18" fmla="*/ 226499 h 274002"/>
                <a:gd name="connsiteX19" fmla="*/ 9904 w 373038"/>
                <a:gd name="connsiteY19" fmla="*/ 98846 h 274002"/>
                <a:gd name="connsiteX20" fmla="*/ 47675 w 373038"/>
                <a:gd name="connsiteY20" fmla="*/ 61240 h 274002"/>
                <a:gd name="connsiteX21" fmla="*/ 120884 w 373038"/>
                <a:gd name="connsiteY21" fmla="*/ 61240 h 274002"/>
                <a:gd name="connsiteX22" fmla="*/ 123001 w 373038"/>
                <a:gd name="connsiteY22" fmla="*/ 48558 h 274002"/>
                <a:gd name="connsiteX23" fmla="*/ 160880 w 373038"/>
                <a:gd name="connsiteY23" fmla="*/ 9910 h 274002"/>
                <a:gd name="connsiteX24" fmla="*/ 212146 w 373038"/>
                <a:gd name="connsiteY24" fmla="*/ 9910 h 274002"/>
                <a:gd name="connsiteX25" fmla="*/ 249987 w 373038"/>
                <a:gd name="connsiteY25" fmla="*/ 48329 h 274002"/>
                <a:gd name="connsiteX26" fmla="*/ 252155 w 373038"/>
                <a:gd name="connsiteY26" fmla="*/ 61246 h 274002"/>
                <a:gd name="connsiteX27" fmla="*/ 325364 w 373038"/>
                <a:gd name="connsiteY27" fmla="*/ 61246 h 274002"/>
                <a:gd name="connsiteX28" fmla="*/ 363135 w 373038"/>
                <a:gd name="connsiteY28" fmla="*/ 98852 h 274002"/>
                <a:gd name="connsiteX29" fmla="*/ 363135 w 373038"/>
                <a:gd name="connsiteY29" fmla="*/ 226499 h 274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73038" h="274002">
                  <a:moveTo>
                    <a:pt x="325364" y="51336"/>
                  </a:moveTo>
                  <a:lnTo>
                    <a:pt x="260539" y="51336"/>
                  </a:lnTo>
                  <a:lnTo>
                    <a:pt x="259744" y="46607"/>
                  </a:lnTo>
                  <a:cubicBezTo>
                    <a:pt x="252536" y="7425"/>
                    <a:pt x="237458" y="0"/>
                    <a:pt x="212152" y="0"/>
                  </a:cubicBezTo>
                  <a:lnTo>
                    <a:pt x="160886" y="0"/>
                  </a:lnTo>
                  <a:cubicBezTo>
                    <a:pt x="134265" y="0"/>
                    <a:pt x="120490" y="13457"/>
                    <a:pt x="113281" y="46683"/>
                  </a:cubicBezTo>
                  <a:lnTo>
                    <a:pt x="112506" y="51330"/>
                  </a:lnTo>
                  <a:lnTo>
                    <a:pt x="47675" y="51330"/>
                  </a:lnTo>
                  <a:cubicBezTo>
                    <a:pt x="21390" y="51330"/>
                    <a:pt x="0" y="72644"/>
                    <a:pt x="0" y="98839"/>
                  </a:cubicBezTo>
                  <a:lnTo>
                    <a:pt x="0" y="226493"/>
                  </a:lnTo>
                  <a:cubicBezTo>
                    <a:pt x="0" y="252689"/>
                    <a:pt x="21384" y="274002"/>
                    <a:pt x="47675" y="274002"/>
                  </a:cubicBezTo>
                  <a:lnTo>
                    <a:pt x="325364" y="274002"/>
                  </a:lnTo>
                  <a:cubicBezTo>
                    <a:pt x="351648" y="274002"/>
                    <a:pt x="373038" y="252689"/>
                    <a:pt x="373038" y="226493"/>
                  </a:cubicBezTo>
                  <a:lnTo>
                    <a:pt x="373038" y="98846"/>
                  </a:lnTo>
                  <a:cubicBezTo>
                    <a:pt x="373038" y="72650"/>
                    <a:pt x="351655" y="51336"/>
                    <a:pt x="325364" y="51336"/>
                  </a:cubicBezTo>
                  <a:close/>
                  <a:moveTo>
                    <a:pt x="363135" y="226499"/>
                  </a:moveTo>
                  <a:cubicBezTo>
                    <a:pt x="363135" y="247235"/>
                    <a:pt x="346194" y="264105"/>
                    <a:pt x="325364" y="264105"/>
                  </a:cubicBezTo>
                  <a:lnTo>
                    <a:pt x="47675" y="264105"/>
                  </a:lnTo>
                  <a:cubicBezTo>
                    <a:pt x="26850" y="264105"/>
                    <a:pt x="9904" y="247235"/>
                    <a:pt x="9904" y="226499"/>
                  </a:cubicBezTo>
                  <a:lnTo>
                    <a:pt x="9904" y="98846"/>
                  </a:lnTo>
                  <a:cubicBezTo>
                    <a:pt x="9904" y="78110"/>
                    <a:pt x="26844" y="61240"/>
                    <a:pt x="47675" y="61240"/>
                  </a:cubicBezTo>
                  <a:lnTo>
                    <a:pt x="120884" y="61240"/>
                  </a:lnTo>
                  <a:lnTo>
                    <a:pt x="123001" y="48558"/>
                  </a:lnTo>
                  <a:cubicBezTo>
                    <a:pt x="130018" y="16235"/>
                    <a:pt x="142204" y="9910"/>
                    <a:pt x="160880" y="9910"/>
                  </a:cubicBezTo>
                  <a:lnTo>
                    <a:pt x="212146" y="9910"/>
                  </a:lnTo>
                  <a:cubicBezTo>
                    <a:pt x="233847" y="9910"/>
                    <a:pt x="243904" y="15262"/>
                    <a:pt x="249987" y="48329"/>
                  </a:cubicBezTo>
                  <a:lnTo>
                    <a:pt x="252155" y="61246"/>
                  </a:lnTo>
                  <a:lnTo>
                    <a:pt x="325364" y="61246"/>
                  </a:lnTo>
                  <a:cubicBezTo>
                    <a:pt x="346188" y="61246"/>
                    <a:pt x="363135" y="78117"/>
                    <a:pt x="363135" y="98852"/>
                  </a:cubicBezTo>
                  <a:lnTo>
                    <a:pt x="363135" y="226499"/>
                  </a:lnTo>
                  <a:close/>
                </a:path>
              </a:pathLst>
            </a:custGeom>
            <a:solidFill>
              <a:schemeClr val="tx2"/>
            </a:solidFill>
            <a:ln w="635" cap="flat">
              <a:noFill/>
              <a:prstDash val="solid"/>
              <a:miter/>
            </a:ln>
          </p:spPr>
          <p:txBody>
            <a:bodyPr rtlCol="0" anchor="ctr"/>
            <a:lstStyle/>
            <a:p>
              <a:endParaRPr lang="en-GB" dirty="0"/>
            </a:p>
          </p:txBody>
        </p:sp>
        <p:grpSp>
          <p:nvGrpSpPr>
            <p:cNvPr id="149" name="Gruppieren 148">
              <a:extLst>
                <a:ext uri="{FF2B5EF4-FFF2-40B4-BE49-F238E27FC236}">
                  <a16:creationId xmlns:a16="http://schemas.microsoft.com/office/drawing/2014/main" id="{A401B855-3776-4B45-B53F-2BF870EC908D}"/>
                </a:ext>
              </a:extLst>
            </p:cNvPr>
            <p:cNvGrpSpPr/>
            <p:nvPr/>
          </p:nvGrpSpPr>
          <p:grpSpPr>
            <a:xfrm>
              <a:off x="889096" y="1757700"/>
              <a:ext cx="217345" cy="147168"/>
              <a:chOff x="889096" y="1757700"/>
              <a:chExt cx="217345" cy="147168"/>
            </a:xfrm>
          </p:grpSpPr>
          <p:sp>
            <p:nvSpPr>
              <p:cNvPr id="150" name="Freihandform: Form 149">
                <a:extLst>
                  <a:ext uri="{FF2B5EF4-FFF2-40B4-BE49-F238E27FC236}">
                    <a16:creationId xmlns:a16="http://schemas.microsoft.com/office/drawing/2014/main" id="{95DDFB0C-D4C6-4F02-ACEE-2F987DE658D1}"/>
                  </a:ext>
                </a:extLst>
              </p:cNvPr>
              <p:cNvSpPr/>
              <p:nvPr/>
            </p:nvSpPr>
            <p:spPr>
              <a:xfrm>
                <a:off x="889096" y="1760675"/>
                <a:ext cx="144740" cy="144193"/>
              </a:xfrm>
              <a:custGeom>
                <a:avLst/>
                <a:gdLst>
                  <a:gd name="connsiteX0" fmla="*/ 72370 w 144740"/>
                  <a:gd name="connsiteY0" fmla="*/ 0 h 144193"/>
                  <a:gd name="connsiteX1" fmla="*/ 0 w 144740"/>
                  <a:gd name="connsiteY1" fmla="*/ 72097 h 144193"/>
                  <a:gd name="connsiteX2" fmla="*/ 72370 w 144740"/>
                  <a:gd name="connsiteY2" fmla="*/ 144194 h 144193"/>
                  <a:gd name="connsiteX3" fmla="*/ 144740 w 144740"/>
                  <a:gd name="connsiteY3" fmla="*/ 72097 h 144193"/>
                  <a:gd name="connsiteX4" fmla="*/ 72370 w 144740"/>
                  <a:gd name="connsiteY4" fmla="*/ 0 h 144193"/>
                  <a:gd name="connsiteX5" fmla="*/ 72370 w 144740"/>
                  <a:gd name="connsiteY5" fmla="*/ 134296 h 144193"/>
                  <a:gd name="connsiteX6" fmla="*/ 9904 w 144740"/>
                  <a:gd name="connsiteY6" fmla="*/ 72103 h 144193"/>
                  <a:gd name="connsiteX7" fmla="*/ 72370 w 144740"/>
                  <a:gd name="connsiteY7" fmla="*/ 9910 h 144193"/>
                  <a:gd name="connsiteX8" fmla="*/ 134837 w 144740"/>
                  <a:gd name="connsiteY8" fmla="*/ 72103 h 144193"/>
                  <a:gd name="connsiteX9" fmla="*/ 72370 w 144740"/>
                  <a:gd name="connsiteY9" fmla="*/ 134296 h 144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740" h="144193">
                    <a:moveTo>
                      <a:pt x="72370" y="0"/>
                    </a:moveTo>
                    <a:cubicBezTo>
                      <a:pt x="32463" y="0"/>
                      <a:pt x="0" y="32342"/>
                      <a:pt x="0" y="72097"/>
                    </a:cubicBezTo>
                    <a:cubicBezTo>
                      <a:pt x="0" y="111851"/>
                      <a:pt x="32463" y="144194"/>
                      <a:pt x="72370" y="144194"/>
                    </a:cubicBezTo>
                    <a:cubicBezTo>
                      <a:pt x="112271" y="144194"/>
                      <a:pt x="144740" y="111851"/>
                      <a:pt x="144740" y="72097"/>
                    </a:cubicBezTo>
                    <a:cubicBezTo>
                      <a:pt x="144740" y="32342"/>
                      <a:pt x="112277" y="0"/>
                      <a:pt x="72370" y="0"/>
                    </a:cubicBezTo>
                    <a:close/>
                    <a:moveTo>
                      <a:pt x="72370" y="134296"/>
                    </a:moveTo>
                    <a:cubicBezTo>
                      <a:pt x="37924" y="134296"/>
                      <a:pt x="9904" y="106397"/>
                      <a:pt x="9904" y="72103"/>
                    </a:cubicBezTo>
                    <a:cubicBezTo>
                      <a:pt x="9904" y="37809"/>
                      <a:pt x="37930" y="9910"/>
                      <a:pt x="72370" y="9910"/>
                    </a:cubicBezTo>
                    <a:cubicBezTo>
                      <a:pt x="106810" y="9910"/>
                      <a:pt x="134837" y="37809"/>
                      <a:pt x="134837" y="72103"/>
                    </a:cubicBezTo>
                    <a:cubicBezTo>
                      <a:pt x="134837" y="106397"/>
                      <a:pt x="106817" y="134296"/>
                      <a:pt x="72370" y="134296"/>
                    </a:cubicBezTo>
                    <a:close/>
                  </a:path>
                </a:pathLst>
              </a:custGeom>
              <a:solidFill>
                <a:schemeClr val="accent1"/>
              </a:solidFill>
              <a:ln w="635" cap="flat">
                <a:noFill/>
                <a:prstDash val="solid"/>
                <a:miter/>
              </a:ln>
            </p:spPr>
            <p:txBody>
              <a:bodyPr rtlCol="0" anchor="ctr"/>
              <a:lstStyle/>
              <a:p>
                <a:endParaRPr lang="en-GB" dirty="0"/>
              </a:p>
            </p:txBody>
          </p:sp>
          <p:sp>
            <p:nvSpPr>
              <p:cNvPr id="151" name="Freihandform: Form 150">
                <a:extLst>
                  <a:ext uri="{FF2B5EF4-FFF2-40B4-BE49-F238E27FC236}">
                    <a16:creationId xmlns:a16="http://schemas.microsoft.com/office/drawing/2014/main" id="{1FAF3A8B-6255-45AB-A87D-725718E39355}"/>
                  </a:ext>
                </a:extLst>
              </p:cNvPr>
              <p:cNvSpPr/>
              <p:nvPr/>
            </p:nvSpPr>
            <p:spPr>
              <a:xfrm>
                <a:off x="1045768" y="1757700"/>
                <a:ext cx="60673" cy="41820"/>
              </a:xfrm>
              <a:custGeom>
                <a:avLst/>
                <a:gdLst>
                  <a:gd name="connsiteX0" fmla="*/ 0 w 60673"/>
                  <a:gd name="connsiteY0" fmla="*/ 41820 h 41820"/>
                  <a:gd name="connsiteX1" fmla="*/ 60674 w 60673"/>
                  <a:gd name="connsiteY1" fmla="*/ 41820 h 41820"/>
                  <a:gd name="connsiteX2" fmla="*/ 60674 w 60673"/>
                  <a:gd name="connsiteY2" fmla="*/ 0 h 41820"/>
                  <a:gd name="connsiteX3" fmla="*/ 0 w 60673"/>
                  <a:gd name="connsiteY3" fmla="*/ 0 h 41820"/>
                  <a:gd name="connsiteX4" fmla="*/ 0 w 60673"/>
                  <a:gd name="connsiteY4" fmla="*/ 41820 h 41820"/>
                  <a:gd name="connsiteX5" fmla="*/ 9904 w 60673"/>
                  <a:gd name="connsiteY5" fmla="*/ 9904 h 41820"/>
                  <a:gd name="connsiteX6" fmla="*/ 50770 w 60673"/>
                  <a:gd name="connsiteY6" fmla="*/ 9904 h 41820"/>
                  <a:gd name="connsiteX7" fmla="*/ 50770 w 60673"/>
                  <a:gd name="connsiteY7" fmla="*/ 31917 h 41820"/>
                  <a:gd name="connsiteX8" fmla="*/ 9904 w 60673"/>
                  <a:gd name="connsiteY8" fmla="*/ 31917 h 41820"/>
                  <a:gd name="connsiteX9" fmla="*/ 9904 w 60673"/>
                  <a:gd name="connsiteY9" fmla="*/ 9904 h 41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673" h="41820">
                    <a:moveTo>
                      <a:pt x="0" y="41820"/>
                    </a:moveTo>
                    <a:lnTo>
                      <a:pt x="60674" y="41820"/>
                    </a:lnTo>
                    <a:lnTo>
                      <a:pt x="60674" y="0"/>
                    </a:lnTo>
                    <a:lnTo>
                      <a:pt x="0" y="0"/>
                    </a:lnTo>
                    <a:lnTo>
                      <a:pt x="0" y="41820"/>
                    </a:lnTo>
                    <a:close/>
                    <a:moveTo>
                      <a:pt x="9904" y="9904"/>
                    </a:moveTo>
                    <a:lnTo>
                      <a:pt x="50770" y="9904"/>
                    </a:lnTo>
                    <a:lnTo>
                      <a:pt x="50770" y="31917"/>
                    </a:lnTo>
                    <a:lnTo>
                      <a:pt x="9904" y="31917"/>
                    </a:lnTo>
                    <a:lnTo>
                      <a:pt x="9904" y="9904"/>
                    </a:lnTo>
                    <a:close/>
                  </a:path>
                </a:pathLst>
              </a:custGeom>
              <a:solidFill>
                <a:schemeClr val="accent1"/>
              </a:solidFill>
              <a:ln w="635" cap="flat">
                <a:noFill/>
                <a:prstDash val="solid"/>
                <a:miter/>
              </a:ln>
            </p:spPr>
            <p:txBody>
              <a:bodyPr rtlCol="0" anchor="ctr"/>
              <a:lstStyle/>
              <a:p>
                <a:endParaRPr lang="en-GB" dirty="0"/>
              </a:p>
            </p:txBody>
          </p:sp>
        </p:grpSp>
      </p:grpSp>
      <p:grpSp>
        <p:nvGrpSpPr>
          <p:cNvPr id="152" name="Gruppieren 151">
            <a:extLst>
              <a:ext uri="{FF2B5EF4-FFF2-40B4-BE49-F238E27FC236}">
                <a16:creationId xmlns:a16="http://schemas.microsoft.com/office/drawing/2014/main" id="{76BD3E62-8266-458F-8A24-822488D119CE}"/>
              </a:ext>
            </a:extLst>
          </p:cNvPr>
          <p:cNvGrpSpPr>
            <a:grpSpLocks noChangeAspect="1"/>
          </p:cNvGrpSpPr>
          <p:nvPr/>
        </p:nvGrpSpPr>
        <p:grpSpPr>
          <a:xfrm>
            <a:off x="502070" y="2274289"/>
            <a:ext cx="393232" cy="324000"/>
            <a:chOff x="774950" y="2364027"/>
            <a:chExt cx="373038" cy="307361"/>
          </a:xfrm>
        </p:grpSpPr>
        <p:sp>
          <p:nvSpPr>
            <p:cNvPr id="153" name="Freihandform: Form 152">
              <a:extLst>
                <a:ext uri="{FF2B5EF4-FFF2-40B4-BE49-F238E27FC236}">
                  <a16:creationId xmlns:a16="http://schemas.microsoft.com/office/drawing/2014/main" id="{7C271E53-26D3-412D-9982-A8C7F5CCA535}"/>
                </a:ext>
              </a:extLst>
            </p:cNvPr>
            <p:cNvSpPr/>
            <p:nvPr/>
          </p:nvSpPr>
          <p:spPr>
            <a:xfrm>
              <a:off x="774950" y="2364027"/>
              <a:ext cx="373038" cy="307361"/>
            </a:xfrm>
            <a:custGeom>
              <a:avLst/>
              <a:gdLst>
                <a:gd name="connsiteX0" fmla="*/ 332833 w 373038"/>
                <a:gd name="connsiteY0" fmla="*/ 46569 h 307361"/>
                <a:gd name="connsiteX1" fmla="*/ 196871 w 373038"/>
                <a:gd name="connsiteY1" fmla="*/ 46569 h 307361"/>
                <a:gd name="connsiteX2" fmla="*/ 236428 w 373038"/>
                <a:gd name="connsiteY2" fmla="*/ 7005 h 307361"/>
                <a:gd name="connsiteX3" fmla="*/ 229423 w 373038"/>
                <a:gd name="connsiteY3" fmla="*/ 0 h 307361"/>
                <a:gd name="connsiteX4" fmla="*/ 186516 w 373038"/>
                <a:gd name="connsiteY4" fmla="*/ 42914 h 307361"/>
                <a:gd name="connsiteX5" fmla="*/ 143603 w 373038"/>
                <a:gd name="connsiteY5" fmla="*/ 0 h 307361"/>
                <a:gd name="connsiteX6" fmla="*/ 136597 w 373038"/>
                <a:gd name="connsiteY6" fmla="*/ 7005 h 307361"/>
                <a:gd name="connsiteX7" fmla="*/ 176161 w 373038"/>
                <a:gd name="connsiteY7" fmla="*/ 46569 h 307361"/>
                <a:gd name="connsiteX8" fmla="*/ 40206 w 373038"/>
                <a:gd name="connsiteY8" fmla="*/ 46569 h 307361"/>
                <a:gd name="connsiteX9" fmla="*/ 0 w 373038"/>
                <a:gd name="connsiteY9" fmla="*/ 86857 h 307361"/>
                <a:gd name="connsiteX10" fmla="*/ 0 w 373038"/>
                <a:gd name="connsiteY10" fmla="*/ 267074 h 307361"/>
                <a:gd name="connsiteX11" fmla="*/ 40206 w 373038"/>
                <a:gd name="connsiteY11" fmla="*/ 307362 h 307361"/>
                <a:gd name="connsiteX12" fmla="*/ 332833 w 373038"/>
                <a:gd name="connsiteY12" fmla="*/ 307362 h 307361"/>
                <a:gd name="connsiteX13" fmla="*/ 373038 w 373038"/>
                <a:gd name="connsiteY13" fmla="*/ 267074 h 307361"/>
                <a:gd name="connsiteX14" fmla="*/ 373038 w 373038"/>
                <a:gd name="connsiteY14" fmla="*/ 86857 h 307361"/>
                <a:gd name="connsiteX15" fmla="*/ 332833 w 373038"/>
                <a:gd name="connsiteY15" fmla="*/ 46569 h 307361"/>
                <a:gd name="connsiteX16" fmla="*/ 363135 w 373038"/>
                <a:gd name="connsiteY16" fmla="*/ 267074 h 307361"/>
                <a:gd name="connsiteX17" fmla="*/ 332833 w 373038"/>
                <a:gd name="connsiteY17" fmla="*/ 297458 h 307361"/>
                <a:gd name="connsiteX18" fmla="*/ 40206 w 373038"/>
                <a:gd name="connsiteY18" fmla="*/ 297458 h 307361"/>
                <a:gd name="connsiteX19" fmla="*/ 9904 w 373038"/>
                <a:gd name="connsiteY19" fmla="*/ 267074 h 307361"/>
                <a:gd name="connsiteX20" fmla="*/ 9904 w 373038"/>
                <a:gd name="connsiteY20" fmla="*/ 86857 h 307361"/>
                <a:gd name="connsiteX21" fmla="*/ 40206 w 373038"/>
                <a:gd name="connsiteY21" fmla="*/ 56472 h 307361"/>
                <a:gd name="connsiteX22" fmla="*/ 332833 w 373038"/>
                <a:gd name="connsiteY22" fmla="*/ 56472 h 307361"/>
                <a:gd name="connsiteX23" fmla="*/ 363135 w 373038"/>
                <a:gd name="connsiteY23" fmla="*/ 86857 h 307361"/>
                <a:gd name="connsiteX24" fmla="*/ 363135 w 373038"/>
                <a:gd name="connsiteY24" fmla="*/ 267074 h 30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73038" h="307361">
                  <a:moveTo>
                    <a:pt x="332833" y="46569"/>
                  </a:moveTo>
                  <a:lnTo>
                    <a:pt x="196871" y="46569"/>
                  </a:lnTo>
                  <a:lnTo>
                    <a:pt x="236428" y="7005"/>
                  </a:lnTo>
                  <a:lnTo>
                    <a:pt x="229423" y="0"/>
                  </a:lnTo>
                  <a:lnTo>
                    <a:pt x="186516" y="42914"/>
                  </a:lnTo>
                  <a:lnTo>
                    <a:pt x="143603" y="0"/>
                  </a:lnTo>
                  <a:lnTo>
                    <a:pt x="136597" y="7005"/>
                  </a:lnTo>
                  <a:lnTo>
                    <a:pt x="176161" y="46569"/>
                  </a:lnTo>
                  <a:lnTo>
                    <a:pt x="40206" y="46569"/>
                  </a:lnTo>
                  <a:cubicBezTo>
                    <a:pt x="18034" y="46569"/>
                    <a:pt x="0" y="64641"/>
                    <a:pt x="0" y="86857"/>
                  </a:cubicBezTo>
                  <a:lnTo>
                    <a:pt x="0" y="267074"/>
                  </a:lnTo>
                  <a:cubicBezTo>
                    <a:pt x="0" y="289290"/>
                    <a:pt x="18034" y="307362"/>
                    <a:pt x="40206" y="307362"/>
                  </a:cubicBezTo>
                  <a:lnTo>
                    <a:pt x="332833" y="307362"/>
                  </a:lnTo>
                  <a:cubicBezTo>
                    <a:pt x="355005" y="307362"/>
                    <a:pt x="373038" y="289290"/>
                    <a:pt x="373038" y="267074"/>
                  </a:cubicBezTo>
                  <a:lnTo>
                    <a:pt x="373038" y="86857"/>
                  </a:lnTo>
                  <a:cubicBezTo>
                    <a:pt x="373038" y="64641"/>
                    <a:pt x="354998" y="46569"/>
                    <a:pt x="332833" y="46569"/>
                  </a:cubicBezTo>
                  <a:close/>
                  <a:moveTo>
                    <a:pt x="363135" y="267074"/>
                  </a:moveTo>
                  <a:cubicBezTo>
                    <a:pt x="363135" y="283830"/>
                    <a:pt x="349544" y="297458"/>
                    <a:pt x="332833" y="297458"/>
                  </a:cubicBezTo>
                  <a:lnTo>
                    <a:pt x="40206" y="297458"/>
                  </a:lnTo>
                  <a:cubicBezTo>
                    <a:pt x="23494" y="297458"/>
                    <a:pt x="9904" y="283823"/>
                    <a:pt x="9904" y="267074"/>
                  </a:cubicBezTo>
                  <a:lnTo>
                    <a:pt x="9904" y="86857"/>
                  </a:lnTo>
                  <a:cubicBezTo>
                    <a:pt x="9904" y="70101"/>
                    <a:pt x="23494" y="56472"/>
                    <a:pt x="40206" y="56472"/>
                  </a:cubicBezTo>
                  <a:lnTo>
                    <a:pt x="332833" y="56472"/>
                  </a:lnTo>
                  <a:cubicBezTo>
                    <a:pt x="349544" y="56472"/>
                    <a:pt x="363135" y="70101"/>
                    <a:pt x="363135" y="86857"/>
                  </a:cubicBezTo>
                  <a:lnTo>
                    <a:pt x="363135" y="267074"/>
                  </a:lnTo>
                  <a:close/>
                </a:path>
              </a:pathLst>
            </a:custGeom>
            <a:solidFill>
              <a:schemeClr val="tx2"/>
            </a:solidFill>
            <a:ln w="635" cap="flat">
              <a:noFill/>
              <a:prstDash val="solid"/>
              <a:miter/>
            </a:ln>
          </p:spPr>
          <p:txBody>
            <a:bodyPr rtlCol="0" anchor="ctr"/>
            <a:lstStyle/>
            <a:p>
              <a:endParaRPr lang="en-GB" dirty="0"/>
            </a:p>
          </p:txBody>
        </p:sp>
        <p:grpSp>
          <p:nvGrpSpPr>
            <p:cNvPr id="154" name="Gruppieren 153">
              <a:extLst>
                <a:ext uri="{FF2B5EF4-FFF2-40B4-BE49-F238E27FC236}">
                  <a16:creationId xmlns:a16="http://schemas.microsoft.com/office/drawing/2014/main" id="{AD10216B-718E-4ED2-BF77-247738717C6F}"/>
                </a:ext>
              </a:extLst>
            </p:cNvPr>
            <p:cNvGrpSpPr/>
            <p:nvPr/>
          </p:nvGrpSpPr>
          <p:grpSpPr>
            <a:xfrm>
              <a:off x="809918" y="2445258"/>
              <a:ext cx="310871" cy="191467"/>
              <a:chOff x="809918" y="2445258"/>
              <a:chExt cx="310871" cy="191467"/>
            </a:xfrm>
          </p:grpSpPr>
          <p:sp>
            <p:nvSpPr>
              <p:cNvPr id="155" name="Freihandform: Form 154">
                <a:extLst>
                  <a:ext uri="{FF2B5EF4-FFF2-40B4-BE49-F238E27FC236}">
                    <a16:creationId xmlns:a16="http://schemas.microsoft.com/office/drawing/2014/main" id="{E3CD501C-2ED0-4292-A715-A99D9EA47AA1}"/>
                  </a:ext>
                </a:extLst>
              </p:cNvPr>
              <p:cNvSpPr/>
              <p:nvPr/>
            </p:nvSpPr>
            <p:spPr>
              <a:xfrm>
                <a:off x="809918" y="2445258"/>
                <a:ext cx="260793" cy="191467"/>
              </a:xfrm>
              <a:custGeom>
                <a:avLst/>
                <a:gdLst>
                  <a:gd name="connsiteX0" fmla="*/ 0 w 260793"/>
                  <a:gd name="connsiteY0" fmla="*/ 191468 h 191467"/>
                  <a:gd name="connsiteX1" fmla="*/ 260793 w 260793"/>
                  <a:gd name="connsiteY1" fmla="*/ 191468 h 191467"/>
                  <a:gd name="connsiteX2" fmla="*/ 260793 w 260793"/>
                  <a:gd name="connsiteY2" fmla="*/ 0 h 191467"/>
                  <a:gd name="connsiteX3" fmla="*/ 0 w 260793"/>
                  <a:gd name="connsiteY3" fmla="*/ 0 h 191467"/>
                  <a:gd name="connsiteX4" fmla="*/ 0 w 260793"/>
                  <a:gd name="connsiteY4" fmla="*/ 191468 h 191467"/>
                  <a:gd name="connsiteX5" fmla="*/ 9904 w 260793"/>
                  <a:gd name="connsiteY5" fmla="*/ 9904 h 191467"/>
                  <a:gd name="connsiteX6" fmla="*/ 250890 w 260793"/>
                  <a:gd name="connsiteY6" fmla="*/ 9904 h 191467"/>
                  <a:gd name="connsiteX7" fmla="*/ 250890 w 260793"/>
                  <a:gd name="connsiteY7" fmla="*/ 181564 h 191467"/>
                  <a:gd name="connsiteX8" fmla="*/ 9904 w 260793"/>
                  <a:gd name="connsiteY8" fmla="*/ 181564 h 191467"/>
                  <a:gd name="connsiteX9" fmla="*/ 9904 w 260793"/>
                  <a:gd name="connsiteY9" fmla="*/ 9904 h 191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0793" h="191467">
                    <a:moveTo>
                      <a:pt x="0" y="191468"/>
                    </a:moveTo>
                    <a:lnTo>
                      <a:pt x="260793" y="191468"/>
                    </a:lnTo>
                    <a:lnTo>
                      <a:pt x="260793" y="0"/>
                    </a:lnTo>
                    <a:lnTo>
                      <a:pt x="0" y="0"/>
                    </a:lnTo>
                    <a:lnTo>
                      <a:pt x="0" y="191468"/>
                    </a:lnTo>
                    <a:close/>
                    <a:moveTo>
                      <a:pt x="9904" y="9904"/>
                    </a:moveTo>
                    <a:lnTo>
                      <a:pt x="250890" y="9904"/>
                    </a:lnTo>
                    <a:lnTo>
                      <a:pt x="250890" y="181564"/>
                    </a:lnTo>
                    <a:lnTo>
                      <a:pt x="9904" y="181564"/>
                    </a:lnTo>
                    <a:lnTo>
                      <a:pt x="9904" y="9904"/>
                    </a:lnTo>
                    <a:close/>
                  </a:path>
                </a:pathLst>
              </a:custGeom>
              <a:solidFill>
                <a:schemeClr val="accent1"/>
              </a:solidFill>
              <a:ln w="635" cap="flat">
                <a:noFill/>
                <a:prstDash val="solid"/>
                <a:miter/>
              </a:ln>
            </p:spPr>
            <p:txBody>
              <a:bodyPr rtlCol="0" anchor="ctr"/>
              <a:lstStyle/>
              <a:p>
                <a:endParaRPr lang="en-GB" dirty="0"/>
              </a:p>
            </p:txBody>
          </p:sp>
          <p:sp>
            <p:nvSpPr>
              <p:cNvPr id="156" name="Freihandform: Form 155">
                <a:extLst>
                  <a:ext uri="{FF2B5EF4-FFF2-40B4-BE49-F238E27FC236}">
                    <a16:creationId xmlns:a16="http://schemas.microsoft.com/office/drawing/2014/main" id="{6A315226-F6DE-41BA-BDAC-78A7D33BFF8D}"/>
                  </a:ext>
                </a:extLst>
              </p:cNvPr>
              <p:cNvSpPr/>
              <p:nvPr/>
            </p:nvSpPr>
            <p:spPr>
              <a:xfrm>
                <a:off x="1081595" y="2445932"/>
                <a:ext cx="39193" cy="39271"/>
              </a:xfrm>
              <a:custGeom>
                <a:avLst/>
                <a:gdLst>
                  <a:gd name="connsiteX0" fmla="*/ 19610 w 39193"/>
                  <a:gd name="connsiteY0" fmla="*/ 39271 h 39271"/>
                  <a:gd name="connsiteX1" fmla="*/ 29488 w 39193"/>
                  <a:gd name="connsiteY1" fmla="*/ 36589 h 39271"/>
                  <a:gd name="connsiteX2" fmla="*/ 36524 w 39193"/>
                  <a:gd name="connsiteY2" fmla="*/ 9738 h 39271"/>
                  <a:gd name="connsiteX3" fmla="*/ 19584 w 39193"/>
                  <a:gd name="connsiteY3" fmla="*/ 0 h 39271"/>
                  <a:gd name="connsiteX4" fmla="*/ 9706 w 39193"/>
                  <a:gd name="connsiteY4" fmla="*/ 2689 h 39271"/>
                  <a:gd name="connsiteX5" fmla="*/ 2669 w 39193"/>
                  <a:gd name="connsiteY5" fmla="*/ 29539 h 39271"/>
                  <a:gd name="connsiteX6" fmla="*/ 19610 w 39193"/>
                  <a:gd name="connsiteY6" fmla="*/ 39271 h 39271"/>
                  <a:gd name="connsiteX7" fmla="*/ 14709 w 39193"/>
                  <a:gd name="connsiteY7" fmla="*/ 11232 h 39271"/>
                  <a:gd name="connsiteX8" fmla="*/ 19584 w 39193"/>
                  <a:gd name="connsiteY8" fmla="*/ 9904 h 39271"/>
                  <a:gd name="connsiteX9" fmla="*/ 27968 w 39193"/>
                  <a:gd name="connsiteY9" fmla="*/ 14728 h 39271"/>
                  <a:gd name="connsiteX10" fmla="*/ 24485 w 39193"/>
                  <a:gd name="connsiteY10" fmla="*/ 28045 h 39271"/>
                  <a:gd name="connsiteX11" fmla="*/ 19610 w 39193"/>
                  <a:gd name="connsiteY11" fmla="*/ 29374 h 39271"/>
                  <a:gd name="connsiteX12" fmla="*/ 11225 w 39193"/>
                  <a:gd name="connsiteY12" fmla="*/ 24556 h 39271"/>
                  <a:gd name="connsiteX13" fmla="*/ 14709 w 39193"/>
                  <a:gd name="connsiteY13" fmla="*/ 11232 h 3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193" h="39271">
                    <a:moveTo>
                      <a:pt x="19610" y="39271"/>
                    </a:moveTo>
                    <a:cubicBezTo>
                      <a:pt x="23068" y="39271"/>
                      <a:pt x="26487" y="38343"/>
                      <a:pt x="29488" y="36589"/>
                    </a:cubicBezTo>
                    <a:cubicBezTo>
                      <a:pt x="38813" y="31122"/>
                      <a:pt x="41972" y="19076"/>
                      <a:pt x="36524" y="9738"/>
                    </a:cubicBezTo>
                    <a:cubicBezTo>
                      <a:pt x="33028" y="3731"/>
                      <a:pt x="26532" y="0"/>
                      <a:pt x="19584" y="0"/>
                    </a:cubicBezTo>
                    <a:cubicBezTo>
                      <a:pt x="16126" y="0"/>
                      <a:pt x="12706" y="928"/>
                      <a:pt x="9706" y="2689"/>
                    </a:cubicBezTo>
                    <a:cubicBezTo>
                      <a:pt x="381" y="8149"/>
                      <a:pt x="-2779" y="20195"/>
                      <a:pt x="2669" y="29539"/>
                    </a:cubicBezTo>
                    <a:cubicBezTo>
                      <a:pt x="6165" y="35540"/>
                      <a:pt x="12662" y="39271"/>
                      <a:pt x="19610" y="39271"/>
                    </a:cubicBezTo>
                    <a:close/>
                    <a:moveTo>
                      <a:pt x="14709" y="11232"/>
                    </a:moveTo>
                    <a:cubicBezTo>
                      <a:pt x="16196" y="10361"/>
                      <a:pt x="17881" y="9904"/>
                      <a:pt x="19584" y="9904"/>
                    </a:cubicBezTo>
                    <a:cubicBezTo>
                      <a:pt x="23023" y="9904"/>
                      <a:pt x="26239" y="11753"/>
                      <a:pt x="27968" y="14728"/>
                    </a:cubicBezTo>
                    <a:cubicBezTo>
                      <a:pt x="30670" y="19362"/>
                      <a:pt x="29106" y="25338"/>
                      <a:pt x="24485" y="28045"/>
                    </a:cubicBezTo>
                    <a:cubicBezTo>
                      <a:pt x="22998" y="28916"/>
                      <a:pt x="21313" y="29374"/>
                      <a:pt x="19610" y="29374"/>
                    </a:cubicBezTo>
                    <a:cubicBezTo>
                      <a:pt x="16171" y="29374"/>
                      <a:pt x="12954" y="27524"/>
                      <a:pt x="11225" y="24556"/>
                    </a:cubicBezTo>
                    <a:cubicBezTo>
                      <a:pt x="8524" y="19909"/>
                      <a:pt x="10087" y="13934"/>
                      <a:pt x="14709" y="11232"/>
                    </a:cubicBezTo>
                    <a:close/>
                  </a:path>
                </a:pathLst>
              </a:custGeom>
              <a:solidFill>
                <a:schemeClr val="accent1"/>
              </a:solidFill>
              <a:ln w="635" cap="flat">
                <a:noFill/>
                <a:prstDash val="solid"/>
                <a:miter/>
              </a:ln>
            </p:spPr>
            <p:txBody>
              <a:bodyPr rtlCol="0" anchor="ctr"/>
              <a:lstStyle/>
              <a:p>
                <a:endParaRPr lang="en-GB" dirty="0"/>
              </a:p>
            </p:txBody>
          </p:sp>
          <p:sp>
            <p:nvSpPr>
              <p:cNvPr id="157" name="Freihandform: Form 156">
                <a:extLst>
                  <a:ext uri="{FF2B5EF4-FFF2-40B4-BE49-F238E27FC236}">
                    <a16:creationId xmlns:a16="http://schemas.microsoft.com/office/drawing/2014/main" id="{67E753E3-367B-4C90-A12B-23C4D311CD93}"/>
                  </a:ext>
                </a:extLst>
              </p:cNvPr>
              <p:cNvSpPr/>
              <p:nvPr/>
            </p:nvSpPr>
            <p:spPr>
              <a:xfrm>
                <a:off x="1081595" y="2500701"/>
                <a:ext cx="39194" cy="39271"/>
              </a:xfrm>
              <a:custGeom>
                <a:avLst/>
                <a:gdLst>
                  <a:gd name="connsiteX0" fmla="*/ 19584 w 39194"/>
                  <a:gd name="connsiteY0" fmla="*/ 0 h 39271"/>
                  <a:gd name="connsiteX1" fmla="*/ 9706 w 39194"/>
                  <a:gd name="connsiteY1" fmla="*/ 2682 h 39271"/>
                  <a:gd name="connsiteX2" fmla="*/ 2669 w 39194"/>
                  <a:gd name="connsiteY2" fmla="*/ 29533 h 39271"/>
                  <a:gd name="connsiteX3" fmla="*/ 19610 w 39194"/>
                  <a:gd name="connsiteY3" fmla="*/ 39271 h 39271"/>
                  <a:gd name="connsiteX4" fmla="*/ 29488 w 39194"/>
                  <a:gd name="connsiteY4" fmla="*/ 36589 h 39271"/>
                  <a:gd name="connsiteX5" fmla="*/ 36524 w 39194"/>
                  <a:gd name="connsiteY5" fmla="*/ 9738 h 39271"/>
                  <a:gd name="connsiteX6" fmla="*/ 19584 w 39194"/>
                  <a:gd name="connsiteY6" fmla="*/ 0 h 39271"/>
                  <a:gd name="connsiteX7" fmla="*/ 24485 w 39194"/>
                  <a:gd name="connsiteY7" fmla="*/ 28045 h 39271"/>
                  <a:gd name="connsiteX8" fmla="*/ 19610 w 39194"/>
                  <a:gd name="connsiteY8" fmla="*/ 29374 h 39271"/>
                  <a:gd name="connsiteX9" fmla="*/ 11225 w 39194"/>
                  <a:gd name="connsiteY9" fmla="*/ 24556 h 39271"/>
                  <a:gd name="connsiteX10" fmla="*/ 14709 w 39194"/>
                  <a:gd name="connsiteY10" fmla="*/ 11239 h 39271"/>
                  <a:gd name="connsiteX11" fmla="*/ 19584 w 39194"/>
                  <a:gd name="connsiteY11" fmla="*/ 9910 h 39271"/>
                  <a:gd name="connsiteX12" fmla="*/ 27975 w 39194"/>
                  <a:gd name="connsiteY12" fmla="*/ 14735 h 39271"/>
                  <a:gd name="connsiteX13" fmla="*/ 24485 w 39194"/>
                  <a:gd name="connsiteY13" fmla="*/ 28045 h 3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194" h="39271">
                    <a:moveTo>
                      <a:pt x="19584" y="0"/>
                    </a:moveTo>
                    <a:cubicBezTo>
                      <a:pt x="16126" y="0"/>
                      <a:pt x="12706" y="928"/>
                      <a:pt x="9706" y="2682"/>
                    </a:cubicBezTo>
                    <a:cubicBezTo>
                      <a:pt x="381" y="8143"/>
                      <a:pt x="-2779" y="20189"/>
                      <a:pt x="2669" y="29533"/>
                    </a:cubicBezTo>
                    <a:cubicBezTo>
                      <a:pt x="6165" y="35540"/>
                      <a:pt x="12655" y="39271"/>
                      <a:pt x="19610" y="39271"/>
                    </a:cubicBezTo>
                    <a:cubicBezTo>
                      <a:pt x="23068" y="39271"/>
                      <a:pt x="26487" y="38343"/>
                      <a:pt x="29488" y="36589"/>
                    </a:cubicBezTo>
                    <a:cubicBezTo>
                      <a:pt x="38819" y="31128"/>
                      <a:pt x="41972" y="19083"/>
                      <a:pt x="36524" y="9738"/>
                    </a:cubicBezTo>
                    <a:cubicBezTo>
                      <a:pt x="33028" y="3731"/>
                      <a:pt x="26532" y="0"/>
                      <a:pt x="19584" y="0"/>
                    </a:cubicBezTo>
                    <a:close/>
                    <a:moveTo>
                      <a:pt x="24485" y="28045"/>
                    </a:moveTo>
                    <a:cubicBezTo>
                      <a:pt x="22998" y="28916"/>
                      <a:pt x="21313" y="29374"/>
                      <a:pt x="19610" y="29374"/>
                    </a:cubicBezTo>
                    <a:cubicBezTo>
                      <a:pt x="16171" y="29374"/>
                      <a:pt x="12960" y="27524"/>
                      <a:pt x="11225" y="24556"/>
                    </a:cubicBezTo>
                    <a:cubicBezTo>
                      <a:pt x="8524" y="19915"/>
                      <a:pt x="10087" y="13940"/>
                      <a:pt x="14709" y="11239"/>
                    </a:cubicBezTo>
                    <a:cubicBezTo>
                      <a:pt x="16196" y="10368"/>
                      <a:pt x="17881" y="9910"/>
                      <a:pt x="19584" y="9910"/>
                    </a:cubicBezTo>
                    <a:cubicBezTo>
                      <a:pt x="23023" y="9910"/>
                      <a:pt x="26239" y="11760"/>
                      <a:pt x="27975" y="14735"/>
                    </a:cubicBezTo>
                    <a:cubicBezTo>
                      <a:pt x="30670" y="19362"/>
                      <a:pt x="29106" y="25337"/>
                      <a:pt x="24485" y="28045"/>
                    </a:cubicBezTo>
                    <a:close/>
                  </a:path>
                </a:pathLst>
              </a:custGeom>
              <a:solidFill>
                <a:schemeClr val="accent1"/>
              </a:solidFill>
              <a:ln w="635" cap="flat">
                <a:noFill/>
                <a:prstDash val="solid"/>
                <a:miter/>
              </a:ln>
            </p:spPr>
            <p:txBody>
              <a:bodyPr rtlCol="0" anchor="ctr"/>
              <a:lstStyle/>
              <a:p>
                <a:endParaRPr lang="en-GB" dirty="0"/>
              </a:p>
            </p:txBody>
          </p:sp>
          <p:sp>
            <p:nvSpPr>
              <p:cNvPr id="158" name="Freihandform: Form 157">
                <a:extLst>
                  <a:ext uri="{FF2B5EF4-FFF2-40B4-BE49-F238E27FC236}">
                    <a16:creationId xmlns:a16="http://schemas.microsoft.com/office/drawing/2014/main" id="{00190F76-885F-44BE-A321-DCAC0C4BAAEF}"/>
                  </a:ext>
                </a:extLst>
              </p:cNvPr>
              <p:cNvSpPr/>
              <p:nvPr/>
            </p:nvSpPr>
            <p:spPr>
              <a:xfrm>
                <a:off x="1086539" y="2571647"/>
                <a:ext cx="29304" cy="9903"/>
              </a:xfrm>
              <a:custGeom>
                <a:avLst/>
                <a:gdLst>
                  <a:gd name="connsiteX0" fmla="*/ 0 w 29304"/>
                  <a:gd name="connsiteY0" fmla="*/ 0 h 9903"/>
                  <a:gd name="connsiteX1" fmla="*/ 29304 w 29304"/>
                  <a:gd name="connsiteY1" fmla="*/ 0 h 9903"/>
                  <a:gd name="connsiteX2" fmla="*/ 29304 w 29304"/>
                  <a:gd name="connsiteY2" fmla="*/ 9904 h 9903"/>
                  <a:gd name="connsiteX3" fmla="*/ 0 w 29304"/>
                  <a:gd name="connsiteY3" fmla="*/ 9904 h 9903"/>
                </a:gdLst>
                <a:ahLst/>
                <a:cxnLst>
                  <a:cxn ang="0">
                    <a:pos x="connsiteX0" y="connsiteY0"/>
                  </a:cxn>
                  <a:cxn ang="0">
                    <a:pos x="connsiteX1" y="connsiteY1"/>
                  </a:cxn>
                  <a:cxn ang="0">
                    <a:pos x="connsiteX2" y="connsiteY2"/>
                  </a:cxn>
                  <a:cxn ang="0">
                    <a:pos x="connsiteX3" y="connsiteY3"/>
                  </a:cxn>
                </a:cxnLst>
                <a:rect l="l" t="t" r="r" b="b"/>
                <a:pathLst>
                  <a:path w="29304" h="9903">
                    <a:moveTo>
                      <a:pt x="0" y="0"/>
                    </a:moveTo>
                    <a:lnTo>
                      <a:pt x="29304" y="0"/>
                    </a:lnTo>
                    <a:lnTo>
                      <a:pt x="29304" y="9904"/>
                    </a:lnTo>
                    <a:lnTo>
                      <a:pt x="0" y="9904"/>
                    </a:lnTo>
                    <a:close/>
                  </a:path>
                </a:pathLst>
              </a:custGeom>
              <a:solidFill>
                <a:schemeClr val="accent1"/>
              </a:solidFill>
              <a:ln w="635" cap="flat">
                <a:noFill/>
                <a:prstDash val="solid"/>
                <a:miter/>
              </a:ln>
            </p:spPr>
            <p:txBody>
              <a:bodyPr rtlCol="0" anchor="ctr"/>
              <a:lstStyle/>
              <a:p>
                <a:endParaRPr lang="en-GB" dirty="0"/>
              </a:p>
            </p:txBody>
          </p:sp>
          <p:sp>
            <p:nvSpPr>
              <p:cNvPr id="159" name="Freihandform: Form 158">
                <a:extLst>
                  <a:ext uri="{FF2B5EF4-FFF2-40B4-BE49-F238E27FC236}">
                    <a16:creationId xmlns:a16="http://schemas.microsoft.com/office/drawing/2014/main" id="{1BA9730A-A48A-4DD8-AA51-45AB4EA1CEB9}"/>
                  </a:ext>
                </a:extLst>
              </p:cNvPr>
              <p:cNvSpPr/>
              <p:nvPr/>
            </p:nvSpPr>
            <p:spPr>
              <a:xfrm>
                <a:off x="1086539" y="2589318"/>
                <a:ext cx="29304" cy="9903"/>
              </a:xfrm>
              <a:custGeom>
                <a:avLst/>
                <a:gdLst>
                  <a:gd name="connsiteX0" fmla="*/ 0 w 29304"/>
                  <a:gd name="connsiteY0" fmla="*/ 0 h 9903"/>
                  <a:gd name="connsiteX1" fmla="*/ 29304 w 29304"/>
                  <a:gd name="connsiteY1" fmla="*/ 0 h 9903"/>
                  <a:gd name="connsiteX2" fmla="*/ 29304 w 29304"/>
                  <a:gd name="connsiteY2" fmla="*/ 9904 h 9903"/>
                  <a:gd name="connsiteX3" fmla="*/ 0 w 29304"/>
                  <a:gd name="connsiteY3" fmla="*/ 9904 h 9903"/>
                </a:gdLst>
                <a:ahLst/>
                <a:cxnLst>
                  <a:cxn ang="0">
                    <a:pos x="connsiteX0" y="connsiteY0"/>
                  </a:cxn>
                  <a:cxn ang="0">
                    <a:pos x="connsiteX1" y="connsiteY1"/>
                  </a:cxn>
                  <a:cxn ang="0">
                    <a:pos x="connsiteX2" y="connsiteY2"/>
                  </a:cxn>
                  <a:cxn ang="0">
                    <a:pos x="connsiteX3" y="connsiteY3"/>
                  </a:cxn>
                </a:cxnLst>
                <a:rect l="l" t="t" r="r" b="b"/>
                <a:pathLst>
                  <a:path w="29304" h="9903">
                    <a:moveTo>
                      <a:pt x="0" y="0"/>
                    </a:moveTo>
                    <a:lnTo>
                      <a:pt x="29304" y="0"/>
                    </a:lnTo>
                    <a:lnTo>
                      <a:pt x="29304" y="9904"/>
                    </a:lnTo>
                    <a:lnTo>
                      <a:pt x="0" y="9904"/>
                    </a:lnTo>
                    <a:close/>
                  </a:path>
                </a:pathLst>
              </a:custGeom>
              <a:solidFill>
                <a:schemeClr val="accent1"/>
              </a:solidFill>
              <a:ln w="635" cap="flat">
                <a:noFill/>
                <a:prstDash val="solid"/>
                <a:miter/>
              </a:ln>
            </p:spPr>
            <p:txBody>
              <a:bodyPr rtlCol="0" anchor="ctr"/>
              <a:lstStyle/>
              <a:p>
                <a:endParaRPr lang="en-GB" dirty="0"/>
              </a:p>
            </p:txBody>
          </p:sp>
          <p:sp>
            <p:nvSpPr>
              <p:cNvPr id="160" name="Freihandform: Form 159">
                <a:extLst>
                  <a:ext uri="{FF2B5EF4-FFF2-40B4-BE49-F238E27FC236}">
                    <a16:creationId xmlns:a16="http://schemas.microsoft.com/office/drawing/2014/main" id="{C7739762-DE97-4D92-81E9-0FD97A91F922}"/>
                  </a:ext>
                </a:extLst>
              </p:cNvPr>
              <p:cNvSpPr/>
              <p:nvPr/>
            </p:nvSpPr>
            <p:spPr>
              <a:xfrm>
                <a:off x="1086539" y="2606983"/>
                <a:ext cx="29304" cy="9903"/>
              </a:xfrm>
              <a:custGeom>
                <a:avLst/>
                <a:gdLst>
                  <a:gd name="connsiteX0" fmla="*/ 0 w 29304"/>
                  <a:gd name="connsiteY0" fmla="*/ 0 h 9903"/>
                  <a:gd name="connsiteX1" fmla="*/ 29304 w 29304"/>
                  <a:gd name="connsiteY1" fmla="*/ 0 h 9903"/>
                  <a:gd name="connsiteX2" fmla="*/ 29304 w 29304"/>
                  <a:gd name="connsiteY2" fmla="*/ 9904 h 9903"/>
                  <a:gd name="connsiteX3" fmla="*/ 0 w 29304"/>
                  <a:gd name="connsiteY3" fmla="*/ 9904 h 9903"/>
                </a:gdLst>
                <a:ahLst/>
                <a:cxnLst>
                  <a:cxn ang="0">
                    <a:pos x="connsiteX0" y="connsiteY0"/>
                  </a:cxn>
                  <a:cxn ang="0">
                    <a:pos x="connsiteX1" y="connsiteY1"/>
                  </a:cxn>
                  <a:cxn ang="0">
                    <a:pos x="connsiteX2" y="connsiteY2"/>
                  </a:cxn>
                  <a:cxn ang="0">
                    <a:pos x="connsiteX3" y="connsiteY3"/>
                  </a:cxn>
                </a:cxnLst>
                <a:rect l="l" t="t" r="r" b="b"/>
                <a:pathLst>
                  <a:path w="29304" h="9903">
                    <a:moveTo>
                      <a:pt x="0" y="0"/>
                    </a:moveTo>
                    <a:lnTo>
                      <a:pt x="29304" y="0"/>
                    </a:lnTo>
                    <a:lnTo>
                      <a:pt x="29304" y="9904"/>
                    </a:lnTo>
                    <a:lnTo>
                      <a:pt x="0" y="9904"/>
                    </a:lnTo>
                    <a:close/>
                  </a:path>
                </a:pathLst>
              </a:custGeom>
              <a:solidFill>
                <a:schemeClr val="accent1"/>
              </a:solidFill>
              <a:ln w="635" cap="flat">
                <a:noFill/>
                <a:prstDash val="solid"/>
                <a:miter/>
              </a:ln>
            </p:spPr>
            <p:txBody>
              <a:bodyPr rtlCol="0" anchor="ctr"/>
              <a:lstStyle/>
              <a:p>
                <a:endParaRPr lang="en-GB" dirty="0"/>
              </a:p>
            </p:txBody>
          </p:sp>
        </p:grpSp>
      </p:grpSp>
      <p:grpSp>
        <p:nvGrpSpPr>
          <p:cNvPr id="161" name="Gruppieren 160">
            <a:extLst>
              <a:ext uri="{FF2B5EF4-FFF2-40B4-BE49-F238E27FC236}">
                <a16:creationId xmlns:a16="http://schemas.microsoft.com/office/drawing/2014/main" id="{BBB9BC9F-24BC-466B-A67D-73C64E603438}"/>
              </a:ext>
            </a:extLst>
          </p:cNvPr>
          <p:cNvGrpSpPr>
            <a:grpSpLocks noChangeAspect="1"/>
          </p:cNvGrpSpPr>
          <p:nvPr/>
        </p:nvGrpSpPr>
        <p:grpSpPr>
          <a:xfrm>
            <a:off x="522880" y="2921473"/>
            <a:ext cx="351616" cy="324000"/>
            <a:chOff x="774950" y="2998911"/>
            <a:chExt cx="373037" cy="343740"/>
          </a:xfrm>
        </p:grpSpPr>
        <p:sp>
          <p:nvSpPr>
            <p:cNvPr id="162" name="Freihandform: Form 161">
              <a:extLst>
                <a:ext uri="{FF2B5EF4-FFF2-40B4-BE49-F238E27FC236}">
                  <a16:creationId xmlns:a16="http://schemas.microsoft.com/office/drawing/2014/main" id="{2EE73CB9-76A1-400B-ADAE-D399A8E63E69}"/>
                </a:ext>
              </a:extLst>
            </p:cNvPr>
            <p:cNvSpPr/>
            <p:nvPr/>
          </p:nvSpPr>
          <p:spPr>
            <a:xfrm>
              <a:off x="774950" y="2998911"/>
              <a:ext cx="373037" cy="343740"/>
            </a:xfrm>
            <a:custGeom>
              <a:avLst/>
              <a:gdLst>
                <a:gd name="connsiteX0" fmla="*/ 327055 w 373038"/>
                <a:gd name="connsiteY0" fmla="*/ 109359 h 343740"/>
                <a:gd name="connsiteX1" fmla="*/ 300293 w 373038"/>
                <a:gd name="connsiteY1" fmla="*/ 109359 h 343740"/>
                <a:gd name="connsiteX2" fmla="*/ 300312 w 373038"/>
                <a:gd name="connsiteY2" fmla="*/ 109321 h 343740"/>
                <a:gd name="connsiteX3" fmla="*/ 90372 w 373038"/>
                <a:gd name="connsiteY3" fmla="*/ 0 h 343740"/>
                <a:gd name="connsiteX4" fmla="*/ 85795 w 373038"/>
                <a:gd name="connsiteY4" fmla="*/ 8785 h 343740"/>
                <a:gd name="connsiteX5" fmla="*/ 278941 w 373038"/>
                <a:gd name="connsiteY5" fmla="*/ 109359 h 343740"/>
                <a:gd name="connsiteX6" fmla="*/ 45984 w 373038"/>
                <a:gd name="connsiteY6" fmla="*/ 109359 h 343740"/>
                <a:gd name="connsiteX7" fmla="*/ 0 w 373038"/>
                <a:gd name="connsiteY7" fmla="*/ 155127 h 343740"/>
                <a:gd name="connsiteX8" fmla="*/ 0 w 373038"/>
                <a:gd name="connsiteY8" fmla="*/ 297973 h 343740"/>
                <a:gd name="connsiteX9" fmla="*/ 45984 w 373038"/>
                <a:gd name="connsiteY9" fmla="*/ 343741 h 343740"/>
                <a:gd name="connsiteX10" fmla="*/ 327055 w 373038"/>
                <a:gd name="connsiteY10" fmla="*/ 343741 h 343740"/>
                <a:gd name="connsiteX11" fmla="*/ 373038 w 373038"/>
                <a:gd name="connsiteY11" fmla="*/ 297973 h 343740"/>
                <a:gd name="connsiteX12" fmla="*/ 373038 w 373038"/>
                <a:gd name="connsiteY12" fmla="*/ 155127 h 343740"/>
                <a:gd name="connsiteX13" fmla="*/ 327055 w 373038"/>
                <a:gd name="connsiteY13" fmla="*/ 109359 h 343740"/>
                <a:gd name="connsiteX14" fmla="*/ 363135 w 373038"/>
                <a:gd name="connsiteY14" fmla="*/ 297973 h 343740"/>
                <a:gd name="connsiteX15" fmla="*/ 327055 w 373038"/>
                <a:gd name="connsiteY15" fmla="*/ 333837 h 343740"/>
                <a:gd name="connsiteX16" fmla="*/ 45984 w 373038"/>
                <a:gd name="connsiteY16" fmla="*/ 333837 h 343740"/>
                <a:gd name="connsiteX17" fmla="*/ 9904 w 373038"/>
                <a:gd name="connsiteY17" fmla="*/ 297973 h 343740"/>
                <a:gd name="connsiteX18" fmla="*/ 9904 w 373038"/>
                <a:gd name="connsiteY18" fmla="*/ 155127 h 343740"/>
                <a:gd name="connsiteX19" fmla="*/ 45984 w 373038"/>
                <a:gd name="connsiteY19" fmla="*/ 119263 h 343740"/>
                <a:gd name="connsiteX20" fmla="*/ 327055 w 373038"/>
                <a:gd name="connsiteY20" fmla="*/ 119263 h 343740"/>
                <a:gd name="connsiteX21" fmla="*/ 363135 w 373038"/>
                <a:gd name="connsiteY21" fmla="*/ 155127 h 343740"/>
                <a:gd name="connsiteX22" fmla="*/ 363135 w 373038"/>
                <a:gd name="connsiteY22" fmla="*/ 297973 h 343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73038" h="343740">
                  <a:moveTo>
                    <a:pt x="327055" y="109359"/>
                  </a:moveTo>
                  <a:lnTo>
                    <a:pt x="300293" y="109359"/>
                  </a:lnTo>
                  <a:lnTo>
                    <a:pt x="300312" y="109321"/>
                  </a:lnTo>
                  <a:lnTo>
                    <a:pt x="90372" y="0"/>
                  </a:lnTo>
                  <a:lnTo>
                    <a:pt x="85795" y="8785"/>
                  </a:lnTo>
                  <a:lnTo>
                    <a:pt x="278941" y="109359"/>
                  </a:lnTo>
                  <a:lnTo>
                    <a:pt x="45984" y="109359"/>
                  </a:lnTo>
                  <a:cubicBezTo>
                    <a:pt x="20627" y="109359"/>
                    <a:pt x="0" y="129891"/>
                    <a:pt x="0" y="155127"/>
                  </a:cubicBezTo>
                  <a:lnTo>
                    <a:pt x="0" y="297973"/>
                  </a:lnTo>
                  <a:cubicBezTo>
                    <a:pt x="0" y="323209"/>
                    <a:pt x="20627" y="343741"/>
                    <a:pt x="45984" y="343741"/>
                  </a:cubicBezTo>
                  <a:lnTo>
                    <a:pt x="327055" y="343741"/>
                  </a:lnTo>
                  <a:cubicBezTo>
                    <a:pt x="352411" y="343741"/>
                    <a:pt x="373038" y="323209"/>
                    <a:pt x="373038" y="297973"/>
                  </a:cubicBezTo>
                  <a:lnTo>
                    <a:pt x="373038" y="155127"/>
                  </a:lnTo>
                  <a:cubicBezTo>
                    <a:pt x="373038" y="129885"/>
                    <a:pt x="352411" y="109359"/>
                    <a:pt x="327055" y="109359"/>
                  </a:cubicBezTo>
                  <a:close/>
                  <a:moveTo>
                    <a:pt x="363135" y="297973"/>
                  </a:moveTo>
                  <a:cubicBezTo>
                    <a:pt x="363135" y="317749"/>
                    <a:pt x="346951" y="333837"/>
                    <a:pt x="327055" y="333837"/>
                  </a:cubicBezTo>
                  <a:lnTo>
                    <a:pt x="45984" y="333837"/>
                  </a:lnTo>
                  <a:cubicBezTo>
                    <a:pt x="26088" y="333837"/>
                    <a:pt x="9904" y="317749"/>
                    <a:pt x="9904" y="297973"/>
                  </a:cubicBezTo>
                  <a:lnTo>
                    <a:pt x="9904" y="155127"/>
                  </a:lnTo>
                  <a:cubicBezTo>
                    <a:pt x="9904" y="135352"/>
                    <a:pt x="26088" y="119263"/>
                    <a:pt x="45984" y="119263"/>
                  </a:cubicBezTo>
                  <a:lnTo>
                    <a:pt x="327055" y="119263"/>
                  </a:lnTo>
                  <a:cubicBezTo>
                    <a:pt x="346945" y="119263"/>
                    <a:pt x="363135" y="135352"/>
                    <a:pt x="363135" y="155127"/>
                  </a:cubicBezTo>
                  <a:lnTo>
                    <a:pt x="363135" y="297973"/>
                  </a:lnTo>
                  <a:close/>
                </a:path>
              </a:pathLst>
            </a:custGeom>
            <a:solidFill>
              <a:schemeClr val="tx2"/>
            </a:solidFill>
            <a:ln w="635" cap="flat">
              <a:noFill/>
              <a:prstDash val="solid"/>
              <a:miter/>
            </a:ln>
          </p:spPr>
          <p:txBody>
            <a:bodyPr rtlCol="0" anchor="ctr"/>
            <a:lstStyle/>
            <a:p>
              <a:endParaRPr lang="en-GB" dirty="0"/>
            </a:p>
          </p:txBody>
        </p:sp>
        <p:grpSp>
          <p:nvGrpSpPr>
            <p:cNvPr id="163" name="Gruppieren 162">
              <a:extLst>
                <a:ext uri="{FF2B5EF4-FFF2-40B4-BE49-F238E27FC236}">
                  <a16:creationId xmlns:a16="http://schemas.microsoft.com/office/drawing/2014/main" id="{ACC924CE-E825-49FE-BE5E-B08AAD9E3BE9}"/>
                </a:ext>
              </a:extLst>
            </p:cNvPr>
            <p:cNvGrpSpPr/>
            <p:nvPr/>
          </p:nvGrpSpPr>
          <p:grpSpPr>
            <a:xfrm>
              <a:off x="816447" y="3180980"/>
              <a:ext cx="286987" cy="56122"/>
              <a:chOff x="816447" y="3180980"/>
              <a:chExt cx="286988" cy="56122"/>
            </a:xfrm>
          </p:grpSpPr>
          <p:sp>
            <p:nvSpPr>
              <p:cNvPr id="164" name="Freihandform: Form 163">
                <a:extLst>
                  <a:ext uri="{FF2B5EF4-FFF2-40B4-BE49-F238E27FC236}">
                    <a16:creationId xmlns:a16="http://schemas.microsoft.com/office/drawing/2014/main" id="{BE021CA0-8C68-4F1D-9D94-91CF670D45B3}"/>
                  </a:ext>
                </a:extLst>
              </p:cNvPr>
              <p:cNvSpPr/>
              <p:nvPr/>
            </p:nvSpPr>
            <p:spPr>
              <a:xfrm>
                <a:off x="816447" y="3180980"/>
                <a:ext cx="207976" cy="56122"/>
              </a:xfrm>
              <a:custGeom>
                <a:avLst/>
                <a:gdLst>
                  <a:gd name="connsiteX0" fmla="*/ 0 w 207976"/>
                  <a:gd name="connsiteY0" fmla="*/ 56123 h 56122"/>
                  <a:gd name="connsiteX1" fmla="*/ 207976 w 207976"/>
                  <a:gd name="connsiteY1" fmla="*/ 56123 h 56122"/>
                  <a:gd name="connsiteX2" fmla="*/ 207976 w 207976"/>
                  <a:gd name="connsiteY2" fmla="*/ 0 h 56122"/>
                  <a:gd name="connsiteX3" fmla="*/ 0 w 207976"/>
                  <a:gd name="connsiteY3" fmla="*/ 0 h 56122"/>
                  <a:gd name="connsiteX4" fmla="*/ 0 w 207976"/>
                  <a:gd name="connsiteY4" fmla="*/ 56123 h 56122"/>
                  <a:gd name="connsiteX5" fmla="*/ 9904 w 207976"/>
                  <a:gd name="connsiteY5" fmla="*/ 9910 h 56122"/>
                  <a:gd name="connsiteX6" fmla="*/ 198072 w 207976"/>
                  <a:gd name="connsiteY6" fmla="*/ 9910 h 56122"/>
                  <a:gd name="connsiteX7" fmla="*/ 198072 w 207976"/>
                  <a:gd name="connsiteY7" fmla="*/ 46225 h 56122"/>
                  <a:gd name="connsiteX8" fmla="*/ 9904 w 207976"/>
                  <a:gd name="connsiteY8" fmla="*/ 46225 h 56122"/>
                  <a:gd name="connsiteX9" fmla="*/ 9904 w 207976"/>
                  <a:gd name="connsiteY9" fmla="*/ 9910 h 5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976" h="56122">
                    <a:moveTo>
                      <a:pt x="0" y="56123"/>
                    </a:moveTo>
                    <a:lnTo>
                      <a:pt x="207976" y="56123"/>
                    </a:lnTo>
                    <a:lnTo>
                      <a:pt x="207976" y="0"/>
                    </a:lnTo>
                    <a:lnTo>
                      <a:pt x="0" y="0"/>
                    </a:lnTo>
                    <a:lnTo>
                      <a:pt x="0" y="56123"/>
                    </a:lnTo>
                    <a:close/>
                    <a:moveTo>
                      <a:pt x="9904" y="9910"/>
                    </a:moveTo>
                    <a:lnTo>
                      <a:pt x="198072" y="9910"/>
                    </a:lnTo>
                    <a:lnTo>
                      <a:pt x="198072" y="46225"/>
                    </a:lnTo>
                    <a:lnTo>
                      <a:pt x="9904" y="46225"/>
                    </a:lnTo>
                    <a:lnTo>
                      <a:pt x="9904" y="9910"/>
                    </a:lnTo>
                    <a:close/>
                  </a:path>
                </a:pathLst>
              </a:custGeom>
              <a:solidFill>
                <a:schemeClr val="accent1"/>
              </a:solidFill>
              <a:ln w="635" cap="flat">
                <a:noFill/>
                <a:prstDash val="solid"/>
                <a:miter/>
              </a:ln>
            </p:spPr>
            <p:txBody>
              <a:bodyPr rtlCol="0" anchor="ctr"/>
              <a:lstStyle/>
              <a:p>
                <a:endParaRPr lang="en-GB" dirty="0"/>
              </a:p>
            </p:txBody>
          </p:sp>
          <p:sp>
            <p:nvSpPr>
              <p:cNvPr id="165" name="Freihandform: Form 164">
                <a:extLst>
                  <a:ext uri="{FF2B5EF4-FFF2-40B4-BE49-F238E27FC236}">
                    <a16:creationId xmlns:a16="http://schemas.microsoft.com/office/drawing/2014/main" id="{9952B743-F40A-4C8A-8332-29536A830253}"/>
                  </a:ext>
                </a:extLst>
              </p:cNvPr>
              <p:cNvSpPr/>
              <p:nvPr/>
            </p:nvSpPr>
            <p:spPr>
              <a:xfrm>
                <a:off x="1047319" y="3180986"/>
                <a:ext cx="56116" cy="56116"/>
              </a:xfrm>
              <a:custGeom>
                <a:avLst/>
                <a:gdLst>
                  <a:gd name="connsiteX0" fmla="*/ 28058 w 56116"/>
                  <a:gd name="connsiteY0" fmla="*/ 0 h 56116"/>
                  <a:gd name="connsiteX1" fmla="*/ 0 w 56116"/>
                  <a:gd name="connsiteY1" fmla="*/ 28058 h 56116"/>
                  <a:gd name="connsiteX2" fmla="*/ 28058 w 56116"/>
                  <a:gd name="connsiteY2" fmla="*/ 56116 h 56116"/>
                  <a:gd name="connsiteX3" fmla="*/ 56116 w 56116"/>
                  <a:gd name="connsiteY3" fmla="*/ 28058 h 56116"/>
                  <a:gd name="connsiteX4" fmla="*/ 28058 w 56116"/>
                  <a:gd name="connsiteY4" fmla="*/ 0 h 56116"/>
                  <a:gd name="connsiteX5" fmla="*/ 28058 w 56116"/>
                  <a:gd name="connsiteY5" fmla="*/ 46213 h 56116"/>
                  <a:gd name="connsiteX6" fmla="*/ 9904 w 56116"/>
                  <a:gd name="connsiteY6" fmla="*/ 28058 h 56116"/>
                  <a:gd name="connsiteX7" fmla="*/ 28058 w 56116"/>
                  <a:gd name="connsiteY7" fmla="*/ 9904 h 56116"/>
                  <a:gd name="connsiteX8" fmla="*/ 46213 w 56116"/>
                  <a:gd name="connsiteY8" fmla="*/ 28058 h 56116"/>
                  <a:gd name="connsiteX9" fmla="*/ 28058 w 56116"/>
                  <a:gd name="connsiteY9" fmla="*/ 46213 h 56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116" h="56116">
                    <a:moveTo>
                      <a:pt x="28058" y="0"/>
                    </a:moveTo>
                    <a:cubicBezTo>
                      <a:pt x="12586" y="0"/>
                      <a:pt x="0" y="12586"/>
                      <a:pt x="0" y="28058"/>
                    </a:cubicBezTo>
                    <a:cubicBezTo>
                      <a:pt x="0" y="43530"/>
                      <a:pt x="12586" y="56116"/>
                      <a:pt x="28058" y="56116"/>
                    </a:cubicBezTo>
                    <a:cubicBezTo>
                      <a:pt x="43530" y="56116"/>
                      <a:pt x="56116" y="43530"/>
                      <a:pt x="56116" y="28058"/>
                    </a:cubicBezTo>
                    <a:cubicBezTo>
                      <a:pt x="56116" y="12586"/>
                      <a:pt x="43530" y="0"/>
                      <a:pt x="28058" y="0"/>
                    </a:cubicBezTo>
                    <a:close/>
                    <a:moveTo>
                      <a:pt x="28058" y="46213"/>
                    </a:moveTo>
                    <a:cubicBezTo>
                      <a:pt x="18046" y="46213"/>
                      <a:pt x="9904" y="38064"/>
                      <a:pt x="9904" y="28058"/>
                    </a:cubicBezTo>
                    <a:cubicBezTo>
                      <a:pt x="9904" y="18047"/>
                      <a:pt x="18046" y="9904"/>
                      <a:pt x="28058" y="9904"/>
                    </a:cubicBezTo>
                    <a:cubicBezTo>
                      <a:pt x="38070" y="9904"/>
                      <a:pt x="46213" y="18053"/>
                      <a:pt x="46213" y="28058"/>
                    </a:cubicBezTo>
                    <a:cubicBezTo>
                      <a:pt x="46213" y="38070"/>
                      <a:pt x="38070" y="46213"/>
                      <a:pt x="28058" y="46213"/>
                    </a:cubicBezTo>
                    <a:close/>
                  </a:path>
                </a:pathLst>
              </a:custGeom>
              <a:solidFill>
                <a:schemeClr val="accent1"/>
              </a:solidFill>
              <a:ln w="635" cap="flat">
                <a:noFill/>
                <a:prstDash val="solid"/>
                <a:miter/>
              </a:ln>
            </p:spPr>
            <p:txBody>
              <a:bodyPr rtlCol="0" anchor="ctr"/>
              <a:lstStyle/>
              <a:p>
                <a:endParaRPr lang="en-GB" dirty="0"/>
              </a:p>
            </p:txBody>
          </p:sp>
        </p:grpSp>
      </p:grpSp>
      <p:grpSp>
        <p:nvGrpSpPr>
          <p:cNvPr id="166" name="Gruppieren 165">
            <a:extLst>
              <a:ext uri="{FF2B5EF4-FFF2-40B4-BE49-F238E27FC236}">
                <a16:creationId xmlns:a16="http://schemas.microsoft.com/office/drawing/2014/main" id="{56261BB0-333B-4DF7-A99D-1440C24F37E3}"/>
              </a:ext>
            </a:extLst>
          </p:cNvPr>
          <p:cNvGrpSpPr>
            <a:grpSpLocks noChangeAspect="1"/>
          </p:cNvGrpSpPr>
          <p:nvPr/>
        </p:nvGrpSpPr>
        <p:grpSpPr>
          <a:xfrm>
            <a:off x="536687" y="3568648"/>
            <a:ext cx="324000" cy="324000"/>
            <a:chOff x="791449" y="3693649"/>
            <a:chExt cx="340027" cy="340027"/>
          </a:xfrm>
        </p:grpSpPr>
        <p:sp>
          <p:nvSpPr>
            <p:cNvPr id="167" name="Freihandform: Form 166">
              <a:extLst>
                <a:ext uri="{FF2B5EF4-FFF2-40B4-BE49-F238E27FC236}">
                  <a16:creationId xmlns:a16="http://schemas.microsoft.com/office/drawing/2014/main" id="{086D0000-244D-4763-9E0E-BE5412F646A7}"/>
                </a:ext>
              </a:extLst>
            </p:cNvPr>
            <p:cNvSpPr/>
            <p:nvPr/>
          </p:nvSpPr>
          <p:spPr>
            <a:xfrm>
              <a:off x="791449" y="3693649"/>
              <a:ext cx="340027" cy="340027"/>
            </a:xfrm>
            <a:custGeom>
              <a:avLst/>
              <a:gdLst>
                <a:gd name="connsiteX0" fmla="*/ 170014 w 340028"/>
                <a:gd name="connsiteY0" fmla="*/ 0 h 340028"/>
                <a:gd name="connsiteX1" fmla="*/ 0 w 340028"/>
                <a:gd name="connsiteY1" fmla="*/ 170014 h 340028"/>
                <a:gd name="connsiteX2" fmla="*/ 170014 w 340028"/>
                <a:gd name="connsiteY2" fmla="*/ 340029 h 340028"/>
                <a:gd name="connsiteX3" fmla="*/ 340029 w 340028"/>
                <a:gd name="connsiteY3" fmla="*/ 170014 h 340028"/>
                <a:gd name="connsiteX4" fmla="*/ 170014 w 340028"/>
                <a:gd name="connsiteY4" fmla="*/ 0 h 340028"/>
                <a:gd name="connsiteX5" fmla="*/ 170014 w 340028"/>
                <a:gd name="connsiteY5" fmla="*/ 330125 h 340028"/>
                <a:gd name="connsiteX6" fmla="*/ 9904 w 340028"/>
                <a:gd name="connsiteY6" fmla="*/ 170014 h 340028"/>
                <a:gd name="connsiteX7" fmla="*/ 170014 w 340028"/>
                <a:gd name="connsiteY7" fmla="*/ 9904 h 340028"/>
                <a:gd name="connsiteX8" fmla="*/ 330125 w 340028"/>
                <a:gd name="connsiteY8" fmla="*/ 170014 h 340028"/>
                <a:gd name="connsiteX9" fmla="*/ 170014 w 340028"/>
                <a:gd name="connsiteY9" fmla="*/ 330125 h 34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028" h="340028">
                  <a:moveTo>
                    <a:pt x="170014" y="0"/>
                  </a:moveTo>
                  <a:cubicBezTo>
                    <a:pt x="76267" y="0"/>
                    <a:pt x="0" y="76267"/>
                    <a:pt x="0" y="170014"/>
                  </a:cubicBezTo>
                  <a:cubicBezTo>
                    <a:pt x="0" y="263762"/>
                    <a:pt x="76267" y="340029"/>
                    <a:pt x="170014" y="340029"/>
                  </a:cubicBezTo>
                  <a:cubicBezTo>
                    <a:pt x="263762" y="340029"/>
                    <a:pt x="340029" y="263762"/>
                    <a:pt x="340029" y="170014"/>
                  </a:cubicBezTo>
                  <a:cubicBezTo>
                    <a:pt x="340029" y="76267"/>
                    <a:pt x="263762" y="0"/>
                    <a:pt x="170014" y="0"/>
                  </a:cubicBezTo>
                  <a:close/>
                  <a:moveTo>
                    <a:pt x="170014" y="330125"/>
                  </a:moveTo>
                  <a:cubicBezTo>
                    <a:pt x="81727" y="330125"/>
                    <a:pt x="9904" y="258301"/>
                    <a:pt x="9904" y="170014"/>
                  </a:cubicBezTo>
                  <a:cubicBezTo>
                    <a:pt x="9904" y="81727"/>
                    <a:pt x="81727" y="9904"/>
                    <a:pt x="170014" y="9904"/>
                  </a:cubicBezTo>
                  <a:cubicBezTo>
                    <a:pt x="258301" y="9904"/>
                    <a:pt x="330125" y="81727"/>
                    <a:pt x="330125" y="170014"/>
                  </a:cubicBezTo>
                  <a:cubicBezTo>
                    <a:pt x="330125" y="258301"/>
                    <a:pt x="258301" y="330125"/>
                    <a:pt x="170014" y="330125"/>
                  </a:cubicBezTo>
                  <a:close/>
                </a:path>
              </a:pathLst>
            </a:custGeom>
            <a:solidFill>
              <a:schemeClr val="tx2"/>
            </a:solidFill>
            <a:ln w="635" cap="flat">
              <a:noFill/>
              <a:prstDash val="solid"/>
              <a:miter/>
            </a:ln>
          </p:spPr>
          <p:txBody>
            <a:bodyPr rtlCol="0" anchor="ctr"/>
            <a:lstStyle/>
            <a:p>
              <a:endParaRPr lang="en-GB" dirty="0"/>
            </a:p>
          </p:txBody>
        </p:sp>
        <p:sp>
          <p:nvSpPr>
            <p:cNvPr id="168" name="Freihandform: Form 167">
              <a:extLst>
                <a:ext uri="{FF2B5EF4-FFF2-40B4-BE49-F238E27FC236}">
                  <a16:creationId xmlns:a16="http://schemas.microsoft.com/office/drawing/2014/main" id="{DE8424C6-D6E2-48B2-B2BC-7223D4152A28}"/>
                </a:ext>
              </a:extLst>
            </p:cNvPr>
            <p:cNvSpPr/>
            <p:nvPr/>
          </p:nvSpPr>
          <p:spPr>
            <a:xfrm>
              <a:off x="821160" y="3723361"/>
              <a:ext cx="280605" cy="280605"/>
            </a:xfrm>
            <a:custGeom>
              <a:avLst/>
              <a:gdLst>
                <a:gd name="connsiteX0" fmla="*/ 140303 w 280606"/>
                <a:gd name="connsiteY0" fmla="*/ 0 h 280606"/>
                <a:gd name="connsiteX1" fmla="*/ 0 w 280606"/>
                <a:gd name="connsiteY1" fmla="*/ 140303 h 280606"/>
                <a:gd name="connsiteX2" fmla="*/ 140303 w 280606"/>
                <a:gd name="connsiteY2" fmla="*/ 280607 h 280606"/>
                <a:gd name="connsiteX3" fmla="*/ 280607 w 280606"/>
                <a:gd name="connsiteY3" fmla="*/ 140303 h 280606"/>
                <a:gd name="connsiteX4" fmla="*/ 140303 w 280606"/>
                <a:gd name="connsiteY4" fmla="*/ 0 h 280606"/>
                <a:gd name="connsiteX5" fmla="*/ 140303 w 280606"/>
                <a:gd name="connsiteY5" fmla="*/ 270703 h 280606"/>
                <a:gd name="connsiteX6" fmla="*/ 9904 w 280606"/>
                <a:gd name="connsiteY6" fmla="*/ 140303 h 280606"/>
                <a:gd name="connsiteX7" fmla="*/ 140303 w 280606"/>
                <a:gd name="connsiteY7" fmla="*/ 9904 h 280606"/>
                <a:gd name="connsiteX8" fmla="*/ 270703 w 280606"/>
                <a:gd name="connsiteY8" fmla="*/ 140303 h 280606"/>
                <a:gd name="connsiteX9" fmla="*/ 140303 w 280606"/>
                <a:gd name="connsiteY9" fmla="*/ 270703 h 28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06" h="280606">
                  <a:moveTo>
                    <a:pt x="140303" y="0"/>
                  </a:moveTo>
                  <a:cubicBezTo>
                    <a:pt x="62943" y="0"/>
                    <a:pt x="0" y="62937"/>
                    <a:pt x="0" y="140303"/>
                  </a:cubicBezTo>
                  <a:cubicBezTo>
                    <a:pt x="0" y="217664"/>
                    <a:pt x="62937" y="280607"/>
                    <a:pt x="140303" y="280607"/>
                  </a:cubicBezTo>
                  <a:cubicBezTo>
                    <a:pt x="217670" y="280607"/>
                    <a:pt x="280607" y="217670"/>
                    <a:pt x="280607" y="140303"/>
                  </a:cubicBezTo>
                  <a:cubicBezTo>
                    <a:pt x="280607" y="62943"/>
                    <a:pt x="217670" y="0"/>
                    <a:pt x="140303" y="0"/>
                  </a:cubicBezTo>
                  <a:close/>
                  <a:moveTo>
                    <a:pt x="140303" y="270703"/>
                  </a:moveTo>
                  <a:cubicBezTo>
                    <a:pt x="68404" y="270703"/>
                    <a:pt x="9904" y="212210"/>
                    <a:pt x="9904" y="140303"/>
                  </a:cubicBezTo>
                  <a:cubicBezTo>
                    <a:pt x="9904" y="68404"/>
                    <a:pt x="68397" y="9904"/>
                    <a:pt x="140303" y="9904"/>
                  </a:cubicBezTo>
                  <a:cubicBezTo>
                    <a:pt x="212210" y="9904"/>
                    <a:pt x="270703" y="68397"/>
                    <a:pt x="270703" y="140303"/>
                  </a:cubicBezTo>
                  <a:cubicBezTo>
                    <a:pt x="270703" y="212203"/>
                    <a:pt x="212210" y="270703"/>
                    <a:pt x="140303" y="270703"/>
                  </a:cubicBezTo>
                  <a:close/>
                </a:path>
              </a:pathLst>
            </a:custGeom>
            <a:solidFill>
              <a:schemeClr val="tx2"/>
            </a:solidFill>
            <a:ln w="635" cap="flat">
              <a:noFill/>
              <a:prstDash val="solid"/>
              <a:miter/>
            </a:ln>
          </p:spPr>
          <p:txBody>
            <a:bodyPr rtlCol="0" anchor="ctr"/>
            <a:lstStyle/>
            <a:p>
              <a:endParaRPr lang="en-GB" dirty="0"/>
            </a:p>
          </p:txBody>
        </p:sp>
        <p:sp>
          <p:nvSpPr>
            <p:cNvPr id="169" name="Freihandform: Form 168">
              <a:extLst>
                <a:ext uri="{FF2B5EF4-FFF2-40B4-BE49-F238E27FC236}">
                  <a16:creationId xmlns:a16="http://schemas.microsoft.com/office/drawing/2014/main" id="{1524B3B9-B978-4497-8C5A-FEBAE99B3943}"/>
                </a:ext>
              </a:extLst>
            </p:cNvPr>
            <p:cNvSpPr/>
            <p:nvPr/>
          </p:nvSpPr>
          <p:spPr>
            <a:xfrm>
              <a:off x="913601" y="3805965"/>
              <a:ext cx="108946" cy="115479"/>
            </a:xfrm>
            <a:custGeom>
              <a:avLst/>
              <a:gdLst>
                <a:gd name="connsiteX0" fmla="*/ 96430 w 108946"/>
                <a:gd name="connsiteY0" fmla="*/ 36498 h 115479"/>
                <a:gd name="connsiteX1" fmla="*/ 37352 w 108946"/>
                <a:gd name="connsiteY1" fmla="*/ 3189 h 115479"/>
                <a:gd name="connsiteX2" fmla="*/ 12510 w 108946"/>
                <a:gd name="connsiteY2" fmla="*/ 3189 h 115479"/>
                <a:gd name="connsiteX3" fmla="*/ 0 w 108946"/>
                <a:gd name="connsiteY3" fmla="*/ 24402 h 115479"/>
                <a:gd name="connsiteX4" fmla="*/ 0 w 108946"/>
                <a:gd name="connsiteY4" fmla="*/ 91013 h 115479"/>
                <a:gd name="connsiteX5" fmla="*/ 12516 w 108946"/>
                <a:gd name="connsiteY5" fmla="*/ 112231 h 115479"/>
                <a:gd name="connsiteX6" fmla="*/ 24918 w 108946"/>
                <a:gd name="connsiteY6" fmla="*/ 115479 h 115479"/>
                <a:gd name="connsiteX7" fmla="*/ 37358 w 108946"/>
                <a:gd name="connsiteY7" fmla="*/ 112225 h 115479"/>
                <a:gd name="connsiteX8" fmla="*/ 96430 w 108946"/>
                <a:gd name="connsiteY8" fmla="*/ 78916 h 115479"/>
                <a:gd name="connsiteX9" fmla="*/ 108946 w 108946"/>
                <a:gd name="connsiteY9" fmla="*/ 57710 h 115479"/>
                <a:gd name="connsiteX10" fmla="*/ 96430 w 108946"/>
                <a:gd name="connsiteY10" fmla="*/ 36498 h 115479"/>
                <a:gd name="connsiteX11" fmla="*/ 91561 w 108946"/>
                <a:gd name="connsiteY11" fmla="*/ 70290 h 115479"/>
                <a:gd name="connsiteX12" fmla="*/ 32489 w 108946"/>
                <a:gd name="connsiteY12" fmla="*/ 103599 h 115479"/>
                <a:gd name="connsiteX13" fmla="*/ 17366 w 108946"/>
                <a:gd name="connsiteY13" fmla="*/ 103599 h 115479"/>
                <a:gd name="connsiteX14" fmla="*/ 9897 w 108946"/>
                <a:gd name="connsiteY14" fmla="*/ 91013 h 115479"/>
                <a:gd name="connsiteX15" fmla="*/ 9897 w 108946"/>
                <a:gd name="connsiteY15" fmla="*/ 24402 h 115479"/>
                <a:gd name="connsiteX16" fmla="*/ 17360 w 108946"/>
                <a:gd name="connsiteY16" fmla="*/ 11822 h 115479"/>
                <a:gd name="connsiteX17" fmla="*/ 24905 w 108946"/>
                <a:gd name="connsiteY17" fmla="*/ 9845 h 115479"/>
                <a:gd name="connsiteX18" fmla="*/ 32482 w 108946"/>
                <a:gd name="connsiteY18" fmla="*/ 11822 h 115479"/>
                <a:gd name="connsiteX19" fmla="*/ 91554 w 108946"/>
                <a:gd name="connsiteY19" fmla="*/ 45131 h 115479"/>
                <a:gd name="connsiteX20" fmla="*/ 99030 w 108946"/>
                <a:gd name="connsiteY20" fmla="*/ 57717 h 115479"/>
                <a:gd name="connsiteX21" fmla="*/ 91561 w 108946"/>
                <a:gd name="connsiteY21" fmla="*/ 70290 h 11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946" h="115479">
                  <a:moveTo>
                    <a:pt x="96430" y="36498"/>
                  </a:moveTo>
                  <a:lnTo>
                    <a:pt x="37352" y="3189"/>
                  </a:lnTo>
                  <a:cubicBezTo>
                    <a:pt x="29819" y="-1050"/>
                    <a:pt x="20093" y="-1076"/>
                    <a:pt x="12510" y="3189"/>
                  </a:cubicBezTo>
                  <a:cubicBezTo>
                    <a:pt x="4793" y="7544"/>
                    <a:pt x="0" y="15668"/>
                    <a:pt x="0" y="24402"/>
                  </a:cubicBezTo>
                  <a:lnTo>
                    <a:pt x="0" y="91013"/>
                  </a:lnTo>
                  <a:cubicBezTo>
                    <a:pt x="0" y="99747"/>
                    <a:pt x="4793" y="107870"/>
                    <a:pt x="12516" y="112231"/>
                  </a:cubicBezTo>
                  <a:cubicBezTo>
                    <a:pt x="16292" y="114354"/>
                    <a:pt x="20583" y="115479"/>
                    <a:pt x="24918" y="115479"/>
                  </a:cubicBezTo>
                  <a:cubicBezTo>
                    <a:pt x="29279" y="115479"/>
                    <a:pt x="33576" y="114354"/>
                    <a:pt x="37358" y="112225"/>
                  </a:cubicBezTo>
                  <a:lnTo>
                    <a:pt x="96430" y="78916"/>
                  </a:lnTo>
                  <a:cubicBezTo>
                    <a:pt x="104147" y="74568"/>
                    <a:pt x="108946" y="66444"/>
                    <a:pt x="108946" y="57710"/>
                  </a:cubicBezTo>
                  <a:cubicBezTo>
                    <a:pt x="108940" y="48983"/>
                    <a:pt x="104147" y="40852"/>
                    <a:pt x="96430" y="36498"/>
                  </a:cubicBezTo>
                  <a:close/>
                  <a:moveTo>
                    <a:pt x="91561" y="70290"/>
                  </a:moveTo>
                  <a:lnTo>
                    <a:pt x="32489" y="103599"/>
                  </a:lnTo>
                  <a:cubicBezTo>
                    <a:pt x="27912" y="106173"/>
                    <a:pt x="21975" y="106192"/>
                    <a:pt x="17366" y="103599"/>
                  </a:cubicBezTo>
                  <a:cubicBezTo>
                    <a:pt x="12758" y="100999"/>
                    <a:pt x="9897" y="96174"/>
                    <a:pt x="9897" y="91013"/>
                  </a:cubicBezTo>
                  <a:lnTo>
                    <a:pt x="9897" y="24402"/>
                  </a:lnTo>
                  <a:cubicBezTo>
                    <a:pt x="9897" y="19240"/>
                    <a:pt x="12758" y="14415"/>
                    <a:pt x="17360" y="11822"/>
                  </a:cubicBezTo>
                  <a:cubicBezTo>
                    <a:pt x="19661" y="10525"/>
                    <a:pt x="22267" y="9845"/>
                    <a:pt x="24905" y="9845"/>
                  </a:cubicBezTo>
                  <a:cubicBezTo>
                    <a:pt x="27562" y="9845"/>
                    <a:pt x="30181" y="10525"/>
                    <a:pt x="32482" y="11822"/>
                  </a:cubicBezTo>
                  <a:lnTo>
                    <a:pt x="91554" y="45131"/>
                  </a:lnTo>
                  <a:cubicBezTo>
                    <a:pt x="96163" y="47730"/>
                    <a:pt x="99030" y="52555"/>
                    <a:pt x="99030" y="57717"/>
                  </a:cubicBezTo>
                  <a:cubicBezTo>
                    <a:pt x="99036" y="62872"/>
                    <a:pt x="96176" y="67697"/>
                    <a:pt x="91561" y="70290"/>
                  </a:cubicBezTo>
                  <a:close/>
                </a:path>
              </a:pathLst>
            </a:custGeom>
            <a:solidFill>
              <a:schemeClr val="accent1"/>
            </a:solidFill>
            <a:ln w="635" cap="flat">
              <a:noFill/>
              <a:prstDash val="solid"/>
              <a:miter/>
            </a:ln>
          </p:spPr>
          <p:txBody>
            <a:bodyPr rtlCol="0" anchor="ctr"/>
            <a:lstStyle/>
            <a:p>
              <a:endParaRPr lang="en-GB" dirty="0"/>
            </a:p>
          </p:txBody>
        </p:sp>
      </p:grpSp>
      <p:grpSp>
        <p:nvGrpSpPr>
          <p:cNvPr id="170" name="Gruppieren 169">
            <a:extLst>
              <a:ext uri="{FF2B5EF4-FFF2-40B4-BE49-F238E27FC236}">
                <a16:creationId xmlns:a16="http://schemas.microsoft.com/office/drawing/2014/main" id="{D713DC4A-46B3-4D91-A6F2-4805FA3D1FE7}"/>
              </a:ext>
            </a:extLst>
          </p:cNvPr>
          <p:cNvGrpSpPr>
            <a:grpSpLocks noChangeAspect="1"/>
          </p:cNvGrpSpPr>
          <p:nvPr/>
        </p:nvGrpSpPr>
        <p:grpSpPr>
          <a:xfrm>
            <a:off x="532228" y="4215829"/>
            <a:ext cx="332918" cy="324000"/>
            <a:chOff x="776603" y="4366672"/>
            <a:chExt cx="369739" cy="359840"/>
          </a:xfrm>
        </p:grpSpPr>
        <p:sp>
          <p:nvSpPr>
            <p:cNvPr id="171" name="Freihandform: Form 170">
              <a:extLst>
                <a:ext uri="{FF2B5EF4-FFF2-40B4-BE49-F238E27FC236}">
                  <a16:creationId xmlns:a16="http://schemas.microsoft.com/office/drawing/2014/main" id="{C69AF0CF-9F83-4C77-AC5B-CFA0E8465971}"/>
                </a:ext>
              </a:extLst>
            </p:cNvPr>
            <p:cNvSpPr/>
            <p:nvPr/>
          </p:nvSpPr>
          <p:spPr>
            <a:xfrm>
              <a:off x="891207" y="4406974"/>
              <a:ext cx="140525" cy="9903"/>
            </a:xfrm>
            <a:custGeom>
              <a:avLst/>
              <a:gdLst>
                <a:gd name="connsiteX0" fmla="*/ 0 w 140525"/>
                <a:gd name="connsiteY0" fmla="*/ 0 h 9903"/>
                <a:gd name="connsiteX1" fmla="*/ 140526 w 140525"/>
                <a:gd name="connsiteY1" fmla="*/ 0 h 9903"/>
                <a:gd name="connsiteX2" fmla="*/ 140526 w 140525"/>
                <a:gd name="connsiteY2" fmla="*/ 9904 h 9903"/>
                <a:gd name="connsiteX3" fmla="*/ 0 w 140525"/>
                <a:gd name="connsiteY3" fmla="*/ 9904 h 9903"/>
              </a:gdLst>
              <a:ahLst/>
              <a:cxnLst>
                <a:cxn ang="0">
                  <a:pos x="connsiteX0" y="connsiteY0"/>
                </a:cxn>
                <a:cxn ang="0">
                  <a:pos x="connsiteX1" y="connsiteY1"/>
                </a:cxn>
                <a:cxn ang="0">
                  <a:pos x="connsiteX2" y="connsiteY2"/>
                </a:cxn>
                <a:cxn ang="0">
                  <a:pos x="connsiteX3" y="connsiteY3"/>
                </a:cxn>
              </a:cxnLst>
              <a:rect l="l" t="t" r="r" b="b"/>
              <a:pathLst>
                <a:path w="140525" h="9903">
                  <a:moveTo>
                    <a:pt x="0" y="0"/>
                  </a:moveTo>
                  <a:lnTo>
                    <a:pt x="140526" y="0"/>
                  </a:lnTo>
                  <a:lnTo>
                    <a:pt x="140526" y="9904"/>
                  </a:lnTo>
                  <a:lnTo>
                    <a:pt x="0" y="9904"/>
                  </a:lnTo>
                  <a:close/>
                </a:path>
              </a:pathLst>
            </a:custGeom>
            <a:solidFill>
              <a:schemeClr val="accent1"/>
            </a:solidFill>
            <a:ln w="635" cap="flat">
              <a:noFill/>
              <a:prstDash val="solid"/>
              <a:miter/>
            </a:ln>
          </p:spPr>
          <p:txBody>
            <a:bodyPr rtlCol="0" anchor="ctr"/>
            <a:lstStyle/>
            <a:p>
              <a:endParaRPr lang="en-GB" dirty="0"/>
            </a:p>
          </p:txBody>
        </p:sp>
        <p:sp>
          <p:nvSpPr>
            <p:cNvPr id="172" name="Freihandform: Form 171">
              <a:extLst>
                <a:ext uri="{FF2B5EF4-FFF2-40B4-BE49-F238E27FC236}">
                  <a16:creationId xmlns:a16="http://schemas.microsoft.com/office/drawing/2014/main" id="{6DA5037F-6666-4038-B98B-AE06A27E0C98}"/>
                </a:ext>
              </a:extLst>
            </p:cNvPr>
            <p:cNvSpPr/>
            <p:nvPr/>
          </p:nvSpPr>
          <p:spPr>
            <a:xfrm>
              <a:off x="891207" y="4443029"/>
              <a:ext cx="140525" cy="9903"/>
            </a:xfrm>
            <a:custGeom>
              <a:avLst/>
              <a:gdLst>
                <a:gd name="connsiteX0" fmla="*/ 0 w 140525"/>
                <a:gd name="connsiteY0" fmla="*/ 0 h 9903"/>
                <a:gd name="connsiteX1" fmla="*/ 140526 w 140525"/>
                <a:gd name="connsiteY1" fmla="*/ 0 h 9903"/>
                <a:gd name="connsiteX2" fmla="*/ 140526 w 140525"/>
                <a:gd name="connsiteY2" fmla="*/ 9904 h 9903"/>
                <a:gd name="connsiteX3" fmla="*/ 0 w 140525"/>
                <a:gd name="connsiteY3" fmla="*/ 9904 h 9903"/>
              </a:gdLst>
              <a:ahLst/>
              <a:cxnLst>
                <a:cxn ang="0">
                  <a:pos x="connsiteX0" y="connsiteY0"/>
                </a:cxn>
                <a:cxn ang="0">
                  <a:pos x="connsiteX1" y="connsiteY1"/>
                </a:cxn>
                <a:cxn ang="0">
                  <a:pos x="connsiteX2" y="connsiteY2"/>
                </a:cxn>
                <a:cxn ang="0">
                  <a:pos x="connsiteX3" y="connsiteY3"/>
                </a:cxn>
              </a:cxnLst>
              <a:rect l="l" t="t" r="r" b="b"/>
              <a:pathLst>
                <a:path w="140525" h="9903">
                  <a:moveTo>
                    <a:pt x="0" y="0"/>
                  </a:moveTo>
                  <a:lnTo>
                    <a:pt x="140526" y="0"/>
                  </a:lnTo>
                  <a:lnTo>
                    <a:pt x="140526" y="9904"/>
                  </a:lnTo>
                  <a:lnTo>
                    <a:pt x="0" y="9904"/>
                  </a:lnTo>
                  <a:close/>
                </a:path>
              </a:pathLst>
            </a:custGeom>
            <a:solidFill>
              <a:schemeClr val="accent1"/>
            </a:solidFill>
            <a:ln w="635" cap="flat">
              <a:noFill/>
              <a:prstDash val="solid"/>
              <a:miter/>
            </a:ln>
          </p:spPr>
          <p:txBody>
            <a:bodyPr rtlCol="0" anchor="ctr"/>
            <a:lstStyle/>
            <a:p>
              <a:endParaRPr lang="en-GB" dirty="0"/>
            </a:p>
          </p:txBody>
        </p:sp>
        <p:sp>
          <p:nvSpPr>
            <p:cNvPr id="173" name="Freihandform: Form 172">
              <a:extLst>
                <a:ext uri="{FF2B5EF4-FFF2-40B4-BE49-F238E27FC236}">
                  <a16:creationId xmlns:a16="http://schemas.microsoft.com/office/drawing/2014/main" id="{29257F97-FEFA-4445-B572-3893C01B230F}"/>
                </a:ext>
              </a:extLst>
            </p:cNvPr>
            <p:cNvSpPr/>
            <p:nvPr/>
          </p:nvSpPr>
          <p:spPr>
            <a:xfrm>
              <a:off x="891207" y="4642382"/>
              <a:ext cx="140525" cy="9903"/>
            </a:xfrm>
            <a:custGeom>
              <a:avLst/>
              <a:gdLst>
                <a:gd name="connsiteX0" fmla="*/ 0 w 140525"/>
                <a:gd name="connsiteY0" fmla="*/ 0 h 9903"/>
                <a:gd name="connsiteX1" fmla="*/ 140526 w 140525"/>
                <a:gd name="connsiteY1" fmla="*/ 0 h 9903"/>
                <a:gd name="connsiteX2" fmla="*/ 140526 w 140525"/>
                <a:gd name="connsiteY2" fmla="*/ 9904 h 9903"/>
                <a:gd name="connsiteX3" fmla="*/ 0 w 140525"/>
                <a:gd name="connsiteY3" fmla="*/ 9904 h 9903"/>
              </a:gdLst>
              <a:ahLst/>
              <a:cxnLst>
                <a:cxn ang="0">
                  <a:pos x="connsiteX0" y="connsiteY0"/>
                </a:cxn>
                <a:cxn ang="0">
                  <a:pos x="connsiteX1" y="connsiteY1"/>
                </a:cxn>
                <a:cxn ang="0">
                  <a:pos x="connsiteX2" y="connsiteY2"/>
                </a:cxn>
                <a:cxn ang="0">
                  <a:pos x="connsiteX3" y="connsiteY3"/>
                </a:cxn>
              </a:cxnLst>
              <a:rect l="l" t="t" r="r" b="b"/>
              <a:pathLst>
                <a:path w="140525" h="9903">
                  <a:moveTo>
                    <a:pt x="0" y="0"/>
                  </a:moveTo>
                  <a:lnTo>
                    <a:pt x="140526" y="0"/>
                  </a:lnTo>
                  <a:lnTo>
                    <a:pt x="140526" y="9904"/>
                  </a:lnTo>
                  <a:lnTo>
                    <a:pt x="0" y="9904"/>
                  </a:lnTo>
                  <a:close/>
                </a:path>
              </a:pathLst>
            </a:custGeom>
            <a:solidFill>
              <a:schemeClr val="accent1"/>
            </a:solidFill>
            <a:ln w="635" cap="flat">
              <a:noFill/>
              <a:prstDash val="solid"/>
              <a:miter/>
            </a:ln>
          </p:spPr>
          <p:txBody>
            <a:bodyPr rtlCol="0" anchor="ctr"/>
            <a:lstStyle/>
            <a:p>
              <a:endParaRPr lang="en-GB" dirty="0"/>
            </a:p>
          </p:txBody>
        </p:sp>
        <p:sp>
          <p:nvSpPr>
            <p:cNvPr id="174" name="Freihandform: Form 173">
              <a:extLst>
                <a:ext uri="{FF2B5EF4-FFF2-40B4-BE49-F238E27FC236}">
                  <a16:creationId xmlns:a16="http://schemas.microsoft.com/office/drawing/2014/main" id="{32137564-1504-44BF-9B9E-C47FB999F965}"/>
                </a:ext>
              </a:extLst>
            </p:cNvPr>
            <p:cNvSpPr/>
            <p:nvPr/>
          </p:nvSpPr>
          <p:spPr>
            <a:xfrm>
              <a:off x="891207" y="4678438"/>
              <a:ext cx="140525" cy="9903"/>
            </a:xfrm>
            <a:custGeom>
              <a:avLst/>
              <a:gdLst>
                <a:gd name="connsiteX0" fmla="*/ 0 w 140525"/>
                <a:gd name="connsiteY0" fmla="*/ 0 h 9903"/>
                <a:gd name="connsiteX1" fmla="*/ 140526 w 140525"/>
                <a:gd name="connsiteY1" fmla="*/ 0 h 9903"/>
                <a:gd name="connsiteX2" fmla="*/ 140526 w 140525"/>
                <a:gd name="connsiteY2" fmla="*/ 9904 h 9903"/>
                <a:gd name="connsiteX3" fmla="*/ 0 w 140525"/>
                <a:gd name="connsiteY3" fmla="*/ 9904 h 9903"/>
              </a:gdLst>
              <a:ahLst/>
              <a:cxnLst>
                <a:cxn ang="0">
                  <a:pos x="connsiteX0" y="connsiteY0"/>
                </a:cxn>
                <a:cxn ang="0">
                  <a:pos x="connsiteX1" y="connsiteY1"/>
                </a:cxn>
                <a:cxn ang="0">
                  <a:pos x="connsiteX2" y="connsiteY2"/>
                </a:cxn>
                <a:cxn ang="0">
                  <a:pos x="connsiteX3" y="connsiteY3"/>
                </a:cxn>
              </a:cxnLst>
              <a:rect l="l" t="t" r="r" b="b"/>
              <a:pathLst>
                <a:path w="140525" h="9903">
                  <a:moveTo>
                    <a:pt x="0" y="0"/>
                  </a:moveTo>
                  <a:lnTo>
                    <a:pt x="140526" y="0"/>
                  </a:lnTo>
                  <a:lnTo>
                    <a:pt x="140526" y="9904"/>
                  </a:lnTo>
                  <a:lnTo>
                    <a:pt x="0" y="9904"/>
                  </a:lnTo>
                  <a:close/>
                </a:path>
              </a:pathLst>
            </a:custGeom>
            <a:solidFill>
              <a:schemeClr val="accent1"/>
            </a:solidFill>
            <a:ln w="635" cap="flat">
              <a:noFill/>
              <a:prstDash val="solid"/>
              <a:miter/>
            </a:ln>
          </p:spPr>
          <p:txBody>
            <a:bodyPr rtlCol="0" anchor="ctr"/>
            <a:lstStyle/>
            <a:p>
              <a:endParaRPr lang="en-GB" dirty="0"/>
            </a:p>
          </p:txBody>
        </p:sp>
        <p:sp>
          <p:nvSpPr>
            <p:cNvPr id="175" name="Freihandform: Form 174">
              <a:extLst>
                <a:ext uri="{FF2B5EF4-FFF2-40B4-BE49-F238E27FC236}">
                  <a16:creationId xmlns:a16="http://schemas.microsoft.com/office/drawing/2014/main" id="{4871B7B9-99FA-4ACC-912C-3DA63140B84E}"/>
                </a:ext>
              </a:extLst>
            </p:cNvPr>
            <p:cNvSpPr/>
            <p:nvPr/>
          </p:nvSpPr>
          <p:spPr>
            <a:xfrm>
              <a:off x="776603" y="4366672"/>
              <a:ext cx="369739" cy="359840"/>
            </a:xfrm>
            <a:custGeom>
              <a:avLst/>
              <a:gdLst>
                <a:gd name="connsiteX0" fmla="*/ 322198 w 369739"/>
                <a:gd name="connsiteY0" fmla="*/ 112404 h 359835"/>
                <a:gd name="connsiteX1" fmla="*/ 291998 w 369739"/>
                <a:gd name="connsiteY1" fmla="*/ 112404 h 359835"/>
                <a:gd name="connsiteX2" fmla="*/ 291998 w 369739"/>
                <a:gd name="connsiteY2" fmla="*/ 26164 h 359835"/>
                <a:gd name="connsiteX3" fmla="*/ 284300 w 369739"/>
                <a:gd name="connsiteY3" fmla="*/ 7660 h 359835"/>
                <a:gd name="connsiteX4" fmla="*/ 265758 w 369739"/>
                <a:gd name="connsiteY4" fmla="*/ 0 h 359835"/>
                <a:gd name="connsiteX5" fmla="*/ 103975 w 369739"/>
                <a:gd name="connsiteY5" fmla="*/ 0 h 359835"/>
                <a:gd name="connsiteX6" fmla="*/ 85427 w 369739"/>
                <a:gd name="connsiteY6" fmla="*/ 7660 h 359835"/>
                <a:gd name="connsiteX7" fmla="*/ 77729 w 369739"/>
                <a:gd name="connsiteY7" fmla="*/ 26164 h 359835"/>
                <a:gd name="connsiteX8" fmla="*/ 77729 w 369739"/>
                <a:gd name="connsiteY8" fmla="*/ 112404 h 359835"/>
                <a:gd name="connsiteX9" fmla="*/ 47535 w 369739"/>
                <a:gd name="connsiteY9" fmla="*/ 112404 h 359835"/>
                <a:gd name="connsiteX10" fmla="*/ 0 w 369739"/>
                <a:gd name="connsiteY10" fmla="*/ 159774 h 359835"/>
                <a:gd name="connsiteX11" fmla="*/ 0 w 369739"/>
                <a:gd name="connsiteY11" fmla="*/ 253083 h 359835"/>
                <a:gd name="connsiteX12" fmla="*/ 47535 w 369739"/>
                <a:gd name="connsiteY12" fmla="*/ 300452 h 359835"/>
                <a:gd name="connsiteX13" fmla="*/ 77735 w 369739"/>
                <a:gd name="connsiteY13" fmla="*/ 300452 h 359835"/>
                <a:gd name="connsiteX14" fmla="*/ 77735 w 369739"/>
                <a:gd name="connsiteY14" fmla="*/ 333678 h 359835"/>
                <a:gd name="connsiteX15" fmla="*/ 85433 w 369739"/>
                <a:gd name="connsiteY15" fmla="*/ 352189 h 359835"/>
                <a:gd name="connsiteX16" fmla="*/ 103975 w 369739"/>
                <a:gd name="connsiteY16" fmla="*/ 359836 h 359835"/>
                <a:gd name="connsiteX17" fmla="*/ 265758 w 369739"/>
                <a:gd name="connsiteY17" fmla="*/ 359836 h 359835"/>
                <a:gd name="connsiteX18" fmla="*/ 284306 w 369739"/>
                <a:gd name="connsiteY18" fmla="*/ 352182 h 359835"/>
                <a:gd name="connsiteX19" fmla="*/ 291998 w 369739"/>
                <a:gd name="connsiteY19" fmla="*/ 333678 h 359835"/>
                <a:gd name="connsiteX20" fmla="*/ 291998 w 369739"/>
                <a:gd name="connsiteY20" fmla="*/ 300452 h 359835"/>
                <a:gd name="connsiteX21" fmla="*/ 322974 w 369739"/>
                <a:gd name="connsiteY21" fmla="*/ 300452 h 359835"/>
                <a:gd name="connsiteX22" fmla="*/ 322974 w 369739"/>
                <a:gd name="connsiteY22" fmla="*/ 300446 h 359835"/>
                <a:gd name="connsiteX23" fmla="*/ 369739 w 369739"/>
                <a:gd name="connsiteY23" fmla="*/ 253083 h 359835"/>
                <a:gd name="connsiteX24" fmla="*/ 369739 w 369739"/>
                <a:gd name="connsiteY24" fmla="*/ 159774 h 359835"/>
                <a:gd name="connsiteX25" fmla="*/ 322198 w 369739"/>
                <a:gd name="connsiteY25" fmla="*/ 112404 h 359835"/>
                <a:gd name="connsiteX26" fmla="*/ 87632 w 369739"/>
                <a:gd name="connsiteY26" fmla="*/ 26164 h 359835"/>
                <a:gd name="connsiteX27" fmla="*/ 92413 w 369739"/>
                <a:gd name="connsiteY27" fmla="*/ 14678 h 359835"/>
                <a:gd name="connsiteX28" fmla="*/ 103969 w 369739"/>
                <a:gd name="connsiteY28" fmla="*/ 9904 h 359835"/>
                <a:gd name="connsiteX29" fmla="*/ 265751 w 369739"/>
                <a:gd name="connsiteY29" fmla="*/ 9904 h 359835"/>
                <a:gd name="connsiteX30" fmla="*/ 277308 w 369739"/>
                <a:gd name="connsiteY30" fmla="*/ 14678 h 359835"/>
                <a:gd name="connsiteX31" fmla="*/ 282094 w 369739"/>
                <a:gd name="connsiteY31" fmla="*/ 26164 h 359835"/>
                <a:gd name="connsiteX32" fmla="*/ 282094 w 369739"/>
                <a:gd name="connsiteY32" fmla="*/ 112404 h 359835"/>
                <a:gd name="connsiteX33" fmla="*/ 87632 w 369739"/>
                <a:gd name="connsiteY33" fmla="*/ 112404 h 359835"/>
                <a:gd name="connsiteX34" fmla="*/ 87632 w 369739"/>
                <a:gd name="connsiteY34" fmla="*/ 26164 h 359835"/>
                <a:gd name="connsiteX35" fmla="*/ 282094 w 369739"/>
                <a:gd name="connsiteY35" fmla="*/ 333678 h 359835"/>
                <a:gd name="connsiteX36" fmla="*/ 277314 w 369739"/>
                <a:gd name="connsiteY36" fmla="*/ 345165 h 359835"/>
                <a:gd name="connsiteX37" fmla="*/ 265758 w 369739"/>
                <a:gd name="connsiteY37" fmla="*/ 349932 h 359835"/>
                <a:gd name="connsiteX38" fmla="*/ 103975 w 369739"/>
                <a:gd name="connsiteY38" fmla="*/ 349932 h 359835"/>
                <a:gd name="connsiteX39" fmla="*/ 92419 w 369739"/>
                <a:gd name="connsiteY39" fmla="*/ 345171 h 359835"/>
                <a:gd name="connsiteX40" fmla="*/ 87632 w 369739"/>
                <a:gd name="connsiteY40" fmla="*/ 333678 h 359835"/>
                <a:gd name="connsiteX41" fmla="*/ 87632 w 369739"/>
                <a:gd name="connsiteY41" fmla="*/ 247432 h 359835"/>
                <a:gd name="connsiteX42" fmla="*/ 282094 w 369739"/>
                <a:gd name="connsiteY42" fmla="*/ 247432 h 359835"/>
                <a:gd name="connsiteX43" fmla="*/ 282094 w 369739"/>
                <a:gd name="connsiteY43" fmla="*/ 333678 h 359835"/>
                <a:gd name="connsiteX44" fmla="*/ 359829 w 369739"/>
                <a:gd name="connsiteY44" fmla="*/ 253083 h 359835"/>
                <a:gd name="connsiteX45" fmla="*/ 322198 w 369739"/>
                <a:gd name="connsiteY45" fmla="*/ 290549 h 359835"/>
                <a:gd name="connsiteX46" fmla="*/ 291998 w 369739"/>
                <a:gd name="connsiteY46" fmla="*/ 290549 h 359835"/>
                <a:gd name="connsiteX47" fmla="*/ 291998 w 369739"/>
                <a:gd name="connsiteY47" fmla="*/ 237534 h 359835"/>
                <a:gd name="connsiteX48" fmla="*/ 77729 w 369739"/>
                <a:gd name="connsiteY48" fmla="*/ 237534 h 359835"/>
                <a:gd name="connsiteX49" fmla="*/ 77729 w 369739"/>
                <a:gd name="connsiteY49" fmla="*/ 290549 h 359835"/>
                <a:gd name="connsiteX50" fmla="*/ 47535 w 369739"/>
                <a:gd name="connsiteY50" fmla="*/ 290549 h 359835"/>
                <a:gd name="connsiteX51" fmla="*/ 9904 w 369739"/>
                <a:gd name="connsiteY51" fmla="*/ 253083 h 359835"/>
                <a:gd name="connsiteX52" fmla="*/ 9904 w 369739"/>
                <a:gd name="connsiteY52" fmla="*/ 159774 h 359835"/>
                <a:gd name="connsiteX53" fmla="*/ 47535 w 369739"/>
                <a:gd name="connsiteY53" fmla="*/ 122308 h 359835"/>
                <a:gd name="connsiteX54" fmla="*/ 77735 w 369739"/>
                <a:gd name="connsiteY54" fmla="*/ 122308 h 359835"/>
                <a:gd name="connsiteX55" fmla="*/ 292004 w 369739"/>
                <a:gd name="connsiteY55" fmla="*/ 122308 h 359835"/>
                <a:gd name="connsiteX56" fmla="*/ 322205 w 369739"/>
                <a:gd name="connsiteY56" fmla="*/ 122308 h 359835"/>
                <a:gd name="connsiteX57" fmla="*/ 359836 w 369739"/>
                <a:gd name="connsiteY57" fmla="*/ 159774 h 359835"/>
                <a:gd name="connsiteX58" fmla="*/ 359836 w 369739"/>
                <a:gd name="connsiteY58" fmla="*/ 253083 h 359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369739" h="359835">
                  <a:moveTo>
                    <a:pt x="322198" y="112404"/>
                  </a:moveTo>
                  <a:lnTo>
                    <a:pt x="291998" y="112404"/>
                  </a:lnTo>
                  <a:lnTo>
                    <a:pt x="291998" y="26164"/>
                  </a:lnTo>
                  <a:cubicBezTo>
                    <a:pt x="291998" y="19178"/>
                    <a:pt x="289265" y="12612"/>
                    <a:pt x="284300" y="7660"/>
                  </a:cubicBezTo>
                  <a:cubicBezTo>
                    <a:pt x="279342" y="2721"/>
                    <a:pt x="272756" y="0"/>
                    <a:pt x="265758" y="0"/>
                  </a:cubicBezTo>
                  <a:lnTo>
                    <a:pt x="103975" y="0"/>
                  </a:lnTo>
                  <a:cubicBezTo>
                    <a:pt x="96970" y="0"/>
                    <a:pt x="90385" y="2721"/>
                    <a:pt x="85427" y="7660"/>
                  </a:cubicBezTo>
                  <a:cubicBezTo>
                    <a:pt x="80462" y="12612"/>
                    <a:pt x="77729" y="19178"/>
                    <a:pt x="77729" y="26164"/>
                  </a:cubicBezTo>
                  <a:lnTo>
                    <a:pt x="77729" y="112404"/>
                  </a:lnTo>
                  <a:lnTo>
                    <a:pt x="47535" y="112404"/>
                  </a:lnTo>
                  <a:cubicBezTo>
                    <a:pt x="21326" y="112404"/>
                    <a:pt x="0" y="133655"/>
                    <a:pt x="0" y="159774"/>
                  </a:cubicBezTo>
                  <a:lnTo>
                    <a:pt x="0" y="253083"/>
                  </a:lnTo>
                  <a:cubicBezTo>
                    <a:pt x="0" y="279202"/>
                    <a:pt x="21326" y="300452"/>
                    <a:pt x="47535" y="300452"/>
                  </a:cubicBezTo>
                  <a:lnTo>
                    <a:pt x="77735" y="300452"/>
                  </a:lnTo>
                  <a:lnTo>
                    <a:pt x="77735" y="333678"/>
                  </a:lnTo>
                  <a:cubicBezTo>
                    <a:pt x="77735" y="340664"/>
                    <a:pt x="80469" y="347231"/>
                    <a:pt x="85433" y="352189"/>
                  </a:cubicBezTo>
                  <a:cubicBezTo>
                    <a:pt x="90391" y="357122"/>
                    <a:pt x="96977" y="359836"/>
                    <a:pt x="103975" y="359836"/>
                  </a:cubicBezTo>
                  <a:lnTo>
                    <a:pt x="265758" y="359836"/>
                  </a:lnTo>
                  <a:cubicBezTo>
                    <a:pt x="272756" y="359836"/>
                    <a:pt x="279342" y="357122"/>
                    <a:pt x="284306" y="352182"/>
                  </a:cubicBezTo>
                  <a:cubicBezTo>
                    <a:pt x="289271" y="347237"/>
                    <a:pt x="291998" y="340664"/>
                    <a:pt x="291998" y="333678"/>
                  </a:cubicBezTo>
                  <a:lnTo>
                    <a:pt x="291998" y="300452"/>
                  </a:lnTo>
                  <a:lnTo>
                    <a:pt x="322974" y="300452"/>
                  </a:lnTo>
                  <a:lnTo>
                    <a:pt x="322974" y="300446"/>
                  </a:lnTo>
                  <a:cubicBezTo>
                    <a:pt x="348832" y="300033"/>
                    <a:pt x="369739" y="278948"/>
                    <a:pt x="369739" y="253083"/>
                  </a:cubicBezTo>
                  <a:lnTo>
                    <a:pt x="369739" y="159774"/>
                  </a:lnTo>
                  <a:cubicBezTo>
                    <a:pt x="369733" y="133655"/>
                    <a:pt x="348413" y="112404"/>
                    <a:pt x="322198" y="112404"/>
                  </a:cubicBezTo>
                  <a:close/>
                  <a:moveTo>
                    <a:pt x="87632" y="26164"/>
                  </a:moveTo>
                  <a:cubicBezTo>
                    <a:pt x="87632" y="21829"/>
                    <a:pt x="89330" y="17754"/>
                    <a:pt x="92413" y="14678"/>
                  </a:cubicBezTo>
                  <a:cubicBezTo>
                    <a:pt x="95502" y="11601"/>
                    <a:pt x="99602" y="9904"/>
                    <a:pt x="103969" y="9904"/>
                  </a:cubicBezTo>
                  <a:lnTo>
                    <a:pt x="265751" y="9904"/>
                  </a:lnTo>
                  <a:cubicBezTo>
                    <a:pt x="270112" y="9904"/>
                    <a:pt x="274218" y="11601"/>
                    <a:pt x="277308" y="14678"/>
                  </a:cubicBezTo>
                  <a:cubicBezTo>
                    <a:pt x="280391" y="17754"/>
                    <a:pt x="282094" y="21829"/>
                    <a:pt x="282094" y="26164"/>
                  </a:cubicBezTo>
                  <a:lnTo>
                    <a:pt x="282094" y="112404"/>
                  </a:lnTo>
                  <a:lnTo>
                    <a:pt x="87632" y="112404"/>
                  </a:lnTo>
                  <a:lnTo>
                    <a:pt x="87632" y="26164"/>
                  </a:lnTo>
                  <a:close/>
                  <a:moveTo>
                    <a:pt x="282094" y="333678"/>
                  </a:moveTo>
                  <a:cubicBezTo>
                    <a:pt x="282094" y="338014"/>
                    <a:pt x="280397" y="342094"/>
                    <a:pt x="277314" y="345165"/>
                  </a:cubicBezTo>
                  <a:cubicBezTo>
                    <a:pt x="274225" y="348235"/>
                    <a:pt x="270125" y="349932"/>
                    <a:pt x="265758" y="349932"/>
                  </a:cubicBezTo>
                  <a:lnTo>
                    <a:pt x="103975" y="349932"/>
                  </a:lnTo>
                  <a:cubicBezTo>
                    <a:pt x="99608" y="349932"/>
                    <a:pt x="95502" y="348242"/>
                    <a:pt x="92419" y="345171"/>
                  </a:cubicBezTo>
                  <a:cubicBezTo>
                    <a:pt x="89330" y="342094"/>
                    <a:pt x="87632" y="338014"/>
                    <a:pt x="87632" y="333678"/>
                  </a:cubicBezTo>
                  <a:lnTo>
                    <a:pt x="87632" y="247432"/>
                  </a:lnTo>
                  <a:lnTo>
                    <a:pt x="282094" y="247432"/>
                  </a:lnTo>
                  <a:lnTo>
                    <a:pt x="282094" y="333678"/>
                  </a:lnTo>
                  <a:close/>
                  <a:moveTo>
                    <a:pt x="359829" y="253083"/>
                  </a:moveTo>
                  <a:cubicBezTo>
                    <a:pt x="359829" y="273742"/>
                    <a:pt x="342946" y="290549"/>
                    <a:pt x="322198" y="290549"/>
                  </a:cubicBezTo>
                  <a:lnTo>
                    <a:pt x="291998" y="290549"/>
                  </a:lnTo>
                  <a:lnTo>
                    <a:pt x="291998" y="237534"/>
                  </a:lnTo>
                  <a:lnTo>
                    <a:pt x="77729" y="237534"/>
                  </a:lnTo>
                  <a:lnTo>
                    <a:pt x="77729" y="290549"/>
                  </a:lnTo>
                  <a:lnTo>
                    <a:pt x="47535" y="290549"/>
                  </a:lnTo>
                  <a:cubicBezTo>
                    <a:pt x="26787" y="290549"/>
                    <a:pt x="9904" y="273742"/>
                    <a:pt x="9904" y="253083"/>
                  </a:cubicBezTo>
                  <a:lnTo>
                    <a:pt x="9904" y="159774"/>
                  </a:lnTo>
                  <a:cubicBezTo>
                    <a:pt x="9904" y="139115"/>
                    <a:pt x="26787" y="122308"/>
                    <a:pt x="47535" y="122308"/>
                  </a:cubicBezTo>
                  <a:lnTo>
                    <a:pt x="77735" y="122308"/>
                  </a:lnTo>
                  <a:lnTo>
                    <a:pt x="292004" y="122308"/>
                  </a:lnTo>
                  <a:lnTo>
                    <a:pt x="322205" y="122308"/>
                  </a:lnTo>
                  <a:cubicBezTo>
                    <a:pt x="342953" y="122308"/>
                    <a:pt x="359836" y="139115"/>
                    <a:pt x="359836" y="159774"/>
                  </a:cubicBezTo>
                  <a:lnTo>
                    <a:pt x="359836" y="253083"/>
                  </a:lnTo>
                  <a:close/>
                </a:path>
              </a:pathLst>
            </a:custGeom>
            <a:solidFill>
              <a:schemeClr val="tx2"/>
            </a:solidFill>
            <a:ln w="635" cap="flat">
              <a:noFill/>
              <a:prstDash val="solid"/>
              <a:miter/>
            </a:ln>
          </p:spPr>
          <p:txBody>
            <a:bodyPr rtlCol="0" anchor="ctr"/>
            <a:lstStyle/>
            <a:p>
              <a:endParaRPr lang="en-GB" dirty="0"/>
            </a:p>
          </p:txBody>
        </p:sp>
        <p:sp>
          <p:nvSpPr>
            <p:cNvPr id="176" name="Freihandform: Form 175">
              <a:extLst>
                <a:ext uri="{FF2B5EF4-FFF2-40B4-BE49-F238E27FC236}">
                  <a16:creationId xmlns:a16="http://schemas.microsoft.com/office/drawing/2014/main" id="{10890615-51BB-4A4B-997D-5868E314C860}"/>
                </a:ext>
              </a:extLst>
            </p:cNvPr>
            <p:cNvSpPr/>
            <p:nvPr/>
          </p:nvSpPr>
          <p:spPr>
            <a:xfrm>
              <a:off x="1062886" y="4523531"/>
              <a:ext cx="35336" cy="35241"/>
            </a:xfrm>
            <a:custGeom>
              <a:avLst/>
              <a:gdLst>
                <a:gd name="connsiteX0" fmla="*/ 17665 w 35336"/>
                <a:gd name="connsiteY0" fmla="*/ 0 h 35241"/>
                <a:gd name="connsiteX1" fmla="*/ 5181 w 35336"/>
                <a:gd name="connsiteY1" fmla="*/ 5155 h 35241"/>
                <a:gd name="connsiteX2" fmla="*/ 0 w 35336"/>
                <a:gd name="connsiteY2" fmla="*/ 17627 h 35241"/>
                <a:gd name="connsiteX3" fmla="*/ 5181 w 35336"/>
                <a:gd name="connsiteY3" fmla="*/ 30092 h 35241"/>
                <a:gd name="connsiteX4" fmla="*/ 17659 w 35336"/>
                <a:gd name="connsiteY4" fmla="*/ 35241 h 35241"/>
                <a:gd name="connsiteX5" fmla="*/ 30156 w 35336"/>
                <a:gd name="connsiteY5" fmla="*/ 30086 h 35241"/>
                <a:gd name="connsiteX6" fmla="*/ 35336 w 35336"/>
                <a:gd name="connsiteY6" fmla="*/ 17627 h 35241"/>
                <a:gd name="connsiteX7" fmla="*/ 30156 w 35336"/>
                <a:gd name="connsiteY7" fmla="*/ 5155 h 35241"/>
                <a:gd name="connsiteX8" fmla="*/ 17665 w 35336"/>
                <a:gd name="connsiteY8" fmla="*/ 0 h 35241"/>
                <a:gd name="connsiteX9" fmla="*/ 23164 w 35336"/>
                <a:gd name="connsiteY9" fmla="*/ 23062 h 35241"/>
                <a:gd name="connsiteX10" fmla="*/ 12167 w 35336"/>
                <a:gd name="connsiteY10" fmla="*/ 23068 h 35241"/>
                <a:gd name="connsiteX11" fmla="*/ 9897 w 35336"/>
                <a:gd name="connsiteY11" fmla="*/ 17620 h 35241"/>
                <a:gd name="connsiteX12" fmla="*/ 12167 w 35336"/>
                <a:gd name="connsiteY12" fmla="*/ 12166 h 35241"/>
                <a:gd name="connsiteX13" fmla="*/ 17665 w 35336"/>
                <a:gd name="connsiteY13" fmla="*/ 9897 h 35241"/>
                <a:gd name="connsiteX14" fmla="*/ 23164 w 35336"/>
                <a:gd name="connsiteY14" fmla="*/ 12166 h 35241"/>
                <a:gd name="connsiteX15" fmla="*/ 25433 w 35336"/>
                <a:gd name="connsiteY15" fmla="*/ 17620 h 35241"/>
                <a:gd name="connsiteX16" fmla="*/ 23164 w 35336"/>
                <a:gd name="connsiteY16" fmla="*/ 23062 h 35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336" h="35241">
                  <a:moveTo>
                    <a:pt x="17665" y="0"/>
                  </a:moveTo>
                  <a:cubicBezTo>
                    <a:pt x="12955" y="0"/>
                    <a:pt x="8518" y="1831"/>
                    <a:pt x="5181" y="5155"/>
                  </a:cubicBezTo>
                  <a:cubicBezTo>
                    <a:pt x="1837" y="8486"/>
                    <a:pt x="0" y="12917"/>
                    <a:pt x="0" y="17627"/>
                  </a:cubicBezTo>
                  <a:cubicBezTo>
                    <a:pt x="0" y="22331"/>
                    <a:pt x="1843" y="26761"/>
                    <a:pt x="5181" y="30092"/>
                  </a:cubicBezTo>
                  <a:cubicBezTo>
                    <a:pt x="8518" y="33410"/>
                    <a:pt x="12948" y="35241"/>
                    <a:pt x="17659" y="35241"/>
                  </a:cubicBezTo>
                  <a:cubicBezTo>
                    <a:pt x="22375" y="35241"/>
                    <a:pt x="26812" y="33410"/>
                    <a:pt x="30156" y="30086"/>
                  </a:cubicBezTo>
                  <a:cubicBezTo>
                    <a:pt x="33493" y="26761"/>
                    <a:pt x="35330" y="22331"/>
                    <a:pt x="35336" y="17627"/>
                  </a:cubicBezTo>
                  <a:cubicBezTo>
                    <a:pt x="35336" y="12923"/>
                    <a:pt x="33499" y="8492"/>
                    <a:pt x="30156" y="5155"/>
                  </a:cubicBezTo>
                  <a:cubicBezTo>
                    <a:pt x="26819" y="1831"/>
                    <a:pt x="22382" y="0"/>
                    <a:pt x="17665" y="0"/>
                  </a:cubicBezTo>
                  <a:close/>
                  <a:moveTo>
                    <a:pt x="23164" y="23062"/>
                  </a:moveTo>
                  <a:cubicBezTo>
                    <a:pt x="20220" y="25979"/>
                    <a:pt x="15097" y="25986"/>
                    <a:pt x="12167" y="23068"/>
                  </a:cubicBezTo>
                  <a:cubicBezTo>
                    <a:pt x="10705" y="21613"/>
                    <a:pt x="9897" y="19680"/>
                    <a:pt x="9897" y="17620"/>
                  </a:cubicBezTo>
                  <a:cubicBezTo>
                    <a:pt x="9897" y="15561"/>
                    <a:pt x="10705" y="13622"/>
                    <a:pt x="12167" y="12166"/>
                  </a:cubicBezTo>
                  <a:cubicBezTo>
                    <a:pt x="13635" y="10704"/>
                    <a:pt x="15586" y="9897"/>
                    <a:pt x="17665" y="9897"/>
                  </a:cubicBezTo>
                  <a:cubicBezTo>
                    <a:pt x="19744" y="9897"/>
                    <a:pt x="21695" y="10704"/>
                    <a:pt x="23164" y="12166"/>
                  </a:cubicBezTo>
                  <a:cubicBezTo>
                    <a:pt x="24626" y="13622"/>
                    <a:pt x="25433" y="15554"/>
                    <a:pt x="25433" y="17620"/>
                  </a:cubicBezTo>
                  <a:cubicBezTo>
                    <a:pt x="25426" y="19680"/>
                    <a:pt x="24626" y="21613"/>
                    <a:pt x="23164" y="23062"/>
                  </a:cubicBezTo>
                  <a:close/>
                </a:path>
              </a:pathLst>
            </a:custGeom>
            <a:solidFill>
              <a:schemeClr val="tx2"/>
            </a:solidFill>
            <a:ln w="635" cap="flat">
              <a:noFill/>
              <a:prstDash val="solid"/>
              <a:miter/>
            </a:ln>
          </p:spPr>
          <p:txBody>
            <a:bodyPr rtlCol="0" anchor="ctr"/>
            <a:lstStyle/>
            <a:p>
              <a:endParaRPr lang="en-GB" dirty="0"/>
            </a:p>
          </p:txBody>
        </p:sp>
      </p:grpSp>
      <p:grpSp>
        <p:nvGrpSpPr>
          <p:cNvPr id="177" name="Gruppieren 176">
            <a:extLst>
              <a:ext uri="{FF2B5EF4-FFF2-40B4-BE49-F238E27FC236}">
                <a16:creationId xmlns:a16="http://schemas.microsoft.com/office/drawing/2014/main" id="{9E683F33-6180-484A-8501-35528C78FDD1}"/>
              </a:ext>
            </a:extLst>
          </p:cNvPr>
          <p:cNvGrpSpPr>
            <a:grpSpLocks noChangeAspect="1"/>
          </p:cNvGrpSpPr>
          <p:nvPr/>
        </p:nvGrpSpPr>
        <p:grpSpPr>
          <a:xfrm>
            <a:off x="1438536" y="1626717"/>
            <a:ext cx="181893" cy="324000"/>
            <a:chOff x="1542597" y="1615396"/>
            <a:chExt cx="211275" cy="376337"/>
          </a:xfrm>
        </p:grpSpPr>
        <p:sp>
          <p:nvSpPr>
            <p:cNvPr id="178" name="Freihandform: Form 177">
              <a:extLst>
                <a:ext uri="{FF2B5EF4-FFF2-40B4-BE49-F238E27FC236}">
                  <a16:creationId xmlns:a16="http://schemas.microsoft.com/office/drawing/2014/main" id="{D47FCA8E-481E-4C50-85AA-E2BD5A72EFC7}"/>
                </a:ext>
              </a:extLst>
            </p:cNvPr>
            <p:cNvSpPr/>
            <p:nvPr/>
          </p:nvSpPr>
          <p:spPr>
            <a:xfrm>
              <a:off x="1542597" y="1615396"/>
              <a:ext cx="211275" cy="376337"/>
            </a:xfrm>
            <a:custGeom>
              <a:avLst/>
              <a:gdLst>
                <a:gd name="connsiteX0" fmla="*/ 170281 w 211275"/>
                <a:gd name="connsiteY0" fmla="*/ 0 h 376337"/>
                <a:gd name="connsiteX1" fmla="*/ 41000 w 211275"/>
                <a:gd name="connsiteY1" fmla="*/ 0 h 376337"/>
                <a:gd name="connsiteX2" fmla="*/ 0 w 211275"/>
                <a:gd name="connsiteY2" fmla="*/ 41038 h 376337"/>
                <a:gd name="connsiteX3" fmla="*/ 0 w 211275"/>
                <a:gd name="connsiteY3" fmla="*/ 335299 h 376337"/>
                <a:gd name="connsiteX4" fmla="*/ 40994 w 211275"/>
                <a:gd name="connsiteY4" fmla="*/ 376338 h 376337"/>
                <a:gd name="connsiteX5" fmla="*/ 170275 w 211275"/>
                <a:gd name="connsiteY5" fmla="*/ 376338 h 376337"/>
                <a:gd name="connsiteX6" fmla="*/ 211275 w 211275"/>
                <a:gd name="connsiteY6" fmla="*/ 335299 h 376337"/>
                <a:gd name="connsiteX7" fmla="*/ 211275 w 211275"/>
                <a:gd name="connsiteY7" fmla="*/ 41038 h 376337"/>
                <a:gd name="connsiteX8" fmla="*/ 170281 w 211275"/>
                <a:gd name="connsiteY8" fmla="*/ 0 h 376337"/>
                <a:gd name="connsiteX9" fmla="*/ 201378 w 211275"/>
                <a:gd name="connsiteY9" fmla="*/ 335299 h 376337"/>
                <a:gd name="connsiteX10" fmla="*/ 170281 w 211275"/>
                <a:gd name="connsiteY10" fmla="*/ 366434 h 376337"/>
                <a:gd name="connsiteX11" fmla="*/ 41000 w 211275"/>
                <a:gd name="connsiteY11" fmla="*/ 366434 h 376337"/>
                <a:gd name="connsiteX12" fmla="*/ 9910 w 211275"/>
                <a:gd name="connsiteY12" fmla="*/ 335299 h 376337"/>
                <a:gd name="connsiteX13" fmla="*/ 9910 w 211275"/>
                <a:gd name="connsiteY13" fmla="*/ 41038 h 376337"/>
                <a:gd name="connsiteX14" fmla="*/ 41007 w 211275"/>
                <a:gd name="connsiteY14" fmla="*/ 9904 h 376337"/>
                <a:gd name="connsiteX15" fmla="*/ 170288 w 211275"/>
                <a:gd name="connsiteY15" fmla="*/ 9904 h 376337"/>
                <a:gd name="connsiteX16" fmla="*/ 201384 w 211275"/>
                <a:gd name="connsiteY16" fmla="*/ 41038 h 376337"/>
                <a:gd name="connsiteX17" fmla="*/ 201384 w 211275"/>
                <a:gd name="connsiteY17" fmla="*/ 335299 h 37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1275" h="376337">
                  <a:moveTo>
                    <a:pt x="170281" y="0"/>
                  </a:moveTo>
                  <a:lnTo>
                    <a:pt x="41000" y="0"/>
                  </a:lnTo>
                  <a:cubicBezTo>
                    <a:pt x="18396" y="0"/>
                    <a:pt x="0" y="18409"/>
                    <a:pt x="0" y="41038"/>
                  </a:cubicBezTo>
                  <a:lnTo>
                    <a:pt x="0" y="335299"/>
                  </a:lnTo>
                  <a:cubicBezTo>
                    <a:pt x="0" y="357929"/>
                    <a:pt x="18390" y="376338"/>
                    <a:pt x="40994" y="376338"/>
                  </a:cubicBezTo>
                  <a:lnTo>
                    <a:pt x="170275" y="376338"/>
                  </a:lnTo>
                  <a:cubicBezTo>
                    <a:pt x="192879" y="376338"/>
                    <a:pt x="211275" y="357929"/>
                    <a:pt x="211275" y="335299"/>
                  </a:cubicBezTo>
                  <a:lnTo>
                    <a:pt x="211275" y="41038"/>
                  </a:lnTo>
                  <a:cubicBezTo>
                    <a:pt x="211281" y="18409"/>
                    <a:pt x="192892" y="0"/>
                    <a:pt x="170281" y="0"/>
                  </a:cubicBezTo>
                  <a:close/>
                  <a:moveTo>
                    <a:pt x="201378" y="335299"/>
                  </a:moveTo>
                  <a:cubicBezTo>
                    <a:pt x="201378" y="352468"/>
                    <a:pt x="187431" y="366434"/>
                    <a:pt x="170281" y="366434"/>
                  </a:cubicBezTo>
                  <a:lnTo>
                    <a:pt x="41000" y="366434"/>
                  </a:lnTo>
                  <a:cubicBezTo>
                    <a:pt x="23856" y="366434"/>
                    <a:pt x="9910" y="352468"/>
                    <a:pt x="9910" y="335299"/>
                  </a:cubicBezTo>
                  <a:lnTo>
                    <a:pt x="9910" y="41038"/>
                  </a:lnTo>
                  <a:cubicBezTo>
                    <a:pt x="9910" y="23869"/>
                    <a:pt x="23856" y="9904"/>
                    <a:pt x="41007" y="9904"/>
                  </a:cubicBezTo>
                  <a:lnTo>
                    <a:pt x="170288" y="9904"/>
                  </a:lnTo>
                  <a:cubicBezTo>
                    <a:pt x="187438" y="9904"/>
                    <a:pt x="201384" y="23869"/>
                    <a:pt x="201384" y="41038"/>
                  </a:cubicBezTo>
                  <a:lnTo>
                    <a:pt x="201384" y="335299"/>
                  </a:lnTo>
                  <a:close/>
                </a:path>
              </a:pathLst>
            </a:custGeom>
            <a:solidFill>
              <a:schemeClr val="tx2"/>
            </a:solidFill>
            <a:ln w="635" cap="flat">
              <a:noFill/>
              <a:prstDash val="solid"/>
              <a:miter/>
            </a:ln>
          </p:spPr>
          <p:txBody>
            <a:bodyPr rtlCol="0" anchor="ctr"/>
            <a:lstStyle/>
            <a:p>
              <a:endParaRPr lang="en-GB" dirty="0"/>
            </a:p>
          </p:txBody>
        </p:sp>
        <p:grpSp>
          <p:nvGrpSpPr>
            <p:cNvPr id="179" name="Gruppieren 178">
              <a:extLst>
                <a:ext uri="{FF2B5EF4-FFF2-40B4-BE49-F238E27FC236}">
                  <a16:creationId xmlns:a16="http://schemas.microsoft.com/office/drawing/2014/main" id="{4E0244ED-FA65-432F-B3AC-C0C59999B092}"/>
                </a:ext>
              </a:extLst>
            </p:cNvPr>
            <p:cNvGrpSpPr/>
            <p:nvPr/>
          </p:nvGrpSpPr>
          <p:grpSpPr>
            <a:xfrm>
              <a:off x="1570660" y="1650095"/>
              <a:ext cx="155158" cy="314970"/>
              <a:chOff x="1570660" y="1650095"/>
              <a:chExt cx="155158" cy="314970"/>
            </a:xfrm>
          </p:grpSpPr>
          <p:grpSp>
            <p:nvGrpSpPr>
              <p:cNvPr id="180" name="Gruppieren 179">
                <a:extLst>
                  <a:ext uri="{FF2B5EF4-FFF2-40B4-BE49-F238E27FC236}">
                    <a16:creationId xmlns:a16="http://schemas.microsoft.com/office/drawing/2014/main" id="{F0251F10-4288-42FF-9758-305A78D40860}"/>
                  </a:ext>
                </a:extLst>
              </p:cNvPr>
              <p:cNvGrpSpPr/>
              <p:nvPr/>
            </p:nvGrpSpPr>
            <p:grpSpPr>
              <a:xfrm>
                <a:off x="1570660" y="1670386"/>
                <a:ext cx="155158" cy="294679"/>
                <a:chOff x="1570660" y="1670386"/>
                <a:chExt cx="155158" cy="294679"/>
              </a:xfrm>
            </p:grpSpPr>
            <p:sp>
              <p:nvSpPr>
                <p:cNvPr id="182" name="Freihandform: Form 181">
                  <a:extLst>
                    <a:ext uri="{FF2B5EF4-FFF2-40B4-BE49-F238E27FC236}">
                      <a16:creationId xmlns:a16="http://schemas.microsoft.com/office/drawing/2014/main" id="{B575E55F-D1D0-4E58-BA41-6676C20FFBB2}"/>
                    </a:ext>
                  </a:extLst>
                </p:cNvPr>
                <p:cNvSpPr/>
                <p:nvPr/>
              </p:nvSpPr>
              <p:spPr>
                <a:xfrm>
                  <a:off x="1628467" y="1925483"/>
                  <a:ext cx="39550" cy="39582"/>
                </a:xfrm>
                <a:custGeom>
                  <a:avLst/>
                  <a:gdLst>
                    <a:gd name="connsiteX0" fmla="*/ 19775 w 39550"/>
                    <a:gd name="connsiteY0" fmla="*/ 0 h 39582"/>
                    <a:gd name="connsiteX1" fmla="*/ 0 w 39550"/>
                    <a:gd name="connsiteY1" fmla="*/ 19788 h 39582"/>
                    <a:gd name="connsiteX2" fmla="*/ 19775 w 39550"/>
                    <a:gd name="connsiteY2" fmla="*/ 39583 h 39582"/>
                    <a:gd name="connsiteX3" fmla="*/ 39551 w 39550"/>
                    <a:gd name="connsiteY3" fmla="*/ 19788 h 39582"/>
                    <a:gd name="connsiteX4" fmla="*/ 19775 w 39550"/>
                    <a:gd name="connsiteY4" fmla="*/ 0 h 39582"/>
                    <a:gd name="connsiteX5" fmla="*/ 19775 w 39550"/>
                    <a:gd name="connsiteY5" fmla="*/ 29679 h 39582"/>
                    <a:gd name="connsiteX6" fmla="*/ 9904 w 39550"/>
                    <a:gd name="connsiteY6" fmla="*/ 19788 h 39582"/>
                    <a:gd name="connsiteX7" fmla="*/ 19775 w 39550"/>
                    <a:gd name="connsiteY7" fmla="*/ 9904 h 39582"/>
                    <a:gd name="connsiteX8" fmla="*/ 29647 w 39550"/>
                    <a:gd name="connsiteY8" fmla="*/ 19788 h 39582"/>
                    <a:gd name="connsiteX9" fmla="*/ 19775 w 39550"/>
                    <a:gd name="connsiteY9" fmla="*/ 29679 h 3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50" h="39582">
                      <a:moveTo>
                        <a:pt x="19775" y="0"/>
                      </a:moveTo>
                      <a:cubicBezTo>
                        <a:pt x="8874" y="0"/>
                        <a:pt x="0" y="8874"/>
                        <a:pt x="0" y="19788"/>
                      </a:cubicBezTo>
                      <a:cubicBezTo>
                        <a:pt x="0" y="30702"/>
                        <a:pt x="8868" y="39583"/>
                        <a:pt x="19775" y="39583"/>
                      </a:cubicBezTo>
                      <a:cubicBezTo>
                        <a:pt x="30683" y="39583"/>
                        <a:pt x="39551" y="30702"/>
                        <a:pt x="39551" y="19788"/>
                      </a:cubicBezTo>
                      <a:cubicBezTo>
                        <a:pt x="39551" y="8880"/>
                        <a:pt x="30677" y="0"/>
                        <a:pt x="19775" y="0"/>
                      </a:cubicBezTo>
                      <a:close/>
                      <a:moveTo>
                        <a:pt x="19775" y="29679"/>
                      </a:moveTo>
                      <a:cubicBezTo>
                        <a:pt x="14334" y="29679"/>
                        <a:pt x="9904" y="25242"/>
                        <a:pt x="9904" y="19788"/>
                      </a:cubicBezTo>
                      <a:cubicBezTo>
                        <a:pt x="9904" y="14334"/>
                        <a:pt x="14334" y="9904"/>
                        <a:pt x="19775" y="9904"/>
                      </a:cubicBezTo>
                      <a:cubicBezTo>
                        <a:pt x="25217" y="9904"/>
                        <a:pt x="29647" y="14341"/>
                        <a:pt x="29647" y="19788"/>
                      </a:cubicBezTo>
                      <a:cubicBezTo>
                        <a:pt x="29647" y="25248"/>
                        <a:pt x="25217" y="29679"/>
                        <a:pt x="19775" y="29679"/>
                      </a:cubicBezTo>
                      <a:close/>
                    </a:path>
                  </a:pathLst>
                </a:custGeom>
                <a:solidFill>
                  <a:schemeClr val="accent1"/>
                </a:solidFill>
                <a:ln w="635" cap="flat">
                  <a:noFill/>
                  <a:prstDash val="solid"/>
                  <a:miter/>
                </a:ln>
              </p:spPr>
              <p:txBody>
                <a:bodyPr rtlCol="0" anchor="ctr"/>
                <a:lstStyle/>
                <a:p>
                  <a:endParaRPr lang="en-GB" dirty="0"/>
                </a:p>
              </p:txBody>
            </p:sp>
            <p:sp>
              <p:nvSpPr>
                <p:cNvPr id="183" name="Freihandform: Form 182">
                  <a:extLst>
                    <a:ext uri="{FF2B5EF4-FFF2-40B4-BE49-F238E27FC236}">
                      <a16:creationId xmlns:a16="http://schemas.microsoft.com/office/drawing/2014/main" id="{BE08B17B-6005-4EF8-BE53-000899394D2F}"/>
                    </a:ext>
                  </a:extLst>
                </p:cNvPr>
                <p:cNvSpPr/>
                <p:nvPr/>
              </p:nvSpPr>
              <p:spPr>
                <a:xfrm>
                  <a:off x="1570660" y="1670386"/>
                  <a:ext cx="155158" cy="244285"/>
                </a:xfrm>
                <a:custGeom>
                  <a:avLst/>
                  <a:gdLst>
                    <a:gd name="connsiteX0" fmla="*/ 0 w 155158"/>
                    <a:gd name="connsiteY0" fmla="*/ 244285 h 244285"/>
                    <a:gd name="connsiteX1" fmla="*/ 155159 w 155158"/>
                    <a:gd name="connsiteY1" fmla="*/ 244285 h 244285"/>
                    <a:gd name="connsiteX2" fmla="*/ 155159 w 155158"/>
                    <a:gd name="connsiteY2" fmla="*/ 0 h 244285"/>
                    <a:gd name="connsiteX3" fmla="*/ 0 w 155158"/>
                    <a:gd name="connsiteY3" fmla="*/ 0 h 244285"/>
                    <a:gd name="connsiteX4" fmla="*/ 0 w 155158"/>
                    <a:gd name="connsiteY4" fmla="*/ 244285 h 244285"/>
                    <a:gd name="connsiteX5" fmla="*/ 9904 w 155158"/>
                    <a:gd name="connsiteY5" fmla="*/ 9904 h 244285"/>
                    <a:gd name="connsiteX6" fmla="*/ 145255 w 155158"/>
                    <a:gd name="connsiteY6" fmla="*/ 9904 h 244285"/>
                    <a:gd name="connsiteX7" fmla="*/ 145255 w 155158"/>
                    <a:gd name="connsiteY7" fmla="*/ 234388 h 244285"/>
                    <a:gd name="connsiteX8" fmla="*/ 9904 w 155158"/>
                    <a:gd name="connsiteY8" fmla="*/ 234388 h 244285"/>
                    <a:gd name="connsiteX9" fmla="*/ 9904 w 155158"/>
                    <a:gd name="connsiteY9" fmla="*/ 9904 h 24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5158" h="244285">
                      <a:moveTo>
                        <a:pt x="0" y="244285"/>
                      </a:moveTo>
                      <a:lnTo>
                        <a:pt x="155159" y="244285"/>
                      </a:lnTo>
                      <a:lnTo>
                        <a:pt x="155159" y="0"/>
                      </a:lnTo>
                      <a:lnTo>
                        <a:pt x="0" y="0"/>
                      </a:lnTo>
                      <a:lnTo>
                        <a:pt x="0" y="244285"/>
                      </a:lnTo>
                      <a:close/>
                      <a:moveTo>
                        <a:pt x="9904" y="9904"/>
                      </a:moveTo>
                      <a:lnTo>
                        <a:pt x="145255" y="9904"/>
                      </a:lnTo>
                      <a:lnTo>
                        <a:pt x="145255" y="234388"/>
                      </a:lnTo>
                      <a:lnTo>
                        <a:pt x="9904" y="234388"/>
                      </a:lnTo>
                      <a:lnTo>
                        <a:pt x="9904" y="9904"/>
                      </a:lnTo>
                      <a:close/>
                    </a:path>
                  </a:pathLst>
                </a:custGeom>
                <a:solidFill>
                  <a:schemeClr val="accent1"/>
                </a:solidFill>
                <a:ln w="635" cap="flat">
                  <a:noFill/>
                  <a:prstDash val="solid"/>
                  <a:miter/>
                </a:ln>
              </p:spPr>
              <p:txBody>
                <a:bodyPr rtlCol="0" anchor="ctr"/>
                <a:lstStyle/>
                <a:p>
                  <a:endParaRPr lang="en-GB" dirty="0"/>
                </a:p>
              </p:txBody>
            </p:sp>
          </p:grpSp>
          <p:sp>
            <p:nvSpPr>
              <p:cNvPr id="181" name="Freihandform: Form 180">
                <a:extLst>
                  <a:ext uri="{FF2B5EF4-FFF2-40B4-BE49-F238E27FC236}">
                    <a16:creationId xmlns:a16="http://schemas.microsoft.com/office/drawing/2014/main" id="{16894CE1-563D-4A3F-8DB5-37962EFC32CE}"/>
                  </a:ext>
                </a:extLst>
              </p:cNvPr>
              <p:cNvSpPr/>
              <p:nvPr/>
            </p:nvSpPr>
            <p:spPr>
              <a:xfrm>
                <a:off x="1624081" y="1650095"/>
                <a:ext cx="48323" cy="9903"/>
              </a:xfrm>
              <a:custGeom>
                <a:avLst/>
                <a:gdLst>
                  <a:gd name="connsiteX0" fmla="*/ 0 w 48323"/>
                  <a:gd name="connsiteY0" fmla="*/ 0 h 9903"/>
                  <a:gd name="connsiteX1" fmla="*/ 48323 w 48323"/>
                  <a:gd name="connsiteY1" fmla="*/ 0 h 9903"/>
                  <a:gd name="connsiteX2" fmla="*/ 48323 w 48323"/>
                  <a:gd name="connsiteY2" fmla="*/ 9904 h 9903"/>
                  <a:gd name="connsiteX3" fmla="*/ 0 w 48323"/>
                  <a:gd name="connsiteY3" fmla="*/ 9904 h 9903"/>
                </a:gdLst>
                <a:ahLst/>
                <a:cxnLst>
                  <a:cxn ang="0">
                    <a:pos x="connsiteX0" y="connsiteY0"/>
                  </a:cxn>
                  <a:cxn ang="0">
                    <a:pos x="connsiteX1" y="connsiteY1"/>
                  </a:cxn>
                  <a:cxn ang="0">
                    <a:pos x="connsiteX2" y="connsiteY2"/>
                  </a:cxn>
                  <a:cxn ang="0">
                    <a:pos x="connsiteX3" y="connsiteY3"/>
                  </a:cxn>
                </a:cxnLst>
                <a:rect l="l" t="t" r="r" b="b"/>
                <a:pathLst>
                  <a:path w="48323" h="9903">
                    <a:moveTo>
                      <a:pt x="0" y="0"/>
                    </a:moveTo>
                    <a:lnTo>
                      <a:pt x="48323" y="0"/>
                    </a:lnTo>
                    <a:lnTo>
                      <a:pt x="48323" y="9904"/>
                    </a:lnTo>
                    <a:lnTo>
                      <a:pt x="0" y="9904"/>
                    </a:lnTo>
                    <a:close/>
                  </a:path>
                </a:pathLst>
              </a:custGeom>
              <a:solidFill>
                <a:schemeClr val="accent1"/>
              </a:solidFill>
              <a:ln w="635" cap="flat">
                <a:noFill/>
                <a:prstDash val="solid"/>
                <a:miter/>
              </a:ln>
            </p:spPr>
            <p:txBody>
              <a:bodyPr rtlCol="0" anchor="ctr"/>
              <a:lstStyle/>
              <a:p>
                <a:endParaRPr lang="en-GB" dirty="0"/>
              </a:p>
            </p:txBody>
          </p:sp>
        </p:grpSp>
      </p:grpSp>
      <p:grpSp>
        <p:nvGrpSpPr>
          <p:cNvPr id="184" name="Gruppieren 183">
            <a:extLst>
              <a:ext uri="{FF2B5EF4-FFF2-40B4-BE49-F238E27FC236}">
                <a16:creationId xmlns:a16="http://schemas.microsoft.com/office/drawing/2014/main" id="{05E165CF-F7C3-4709-8907-20966C9F0685}"/>
              </a:ext>
            </a:extLst>
          </p:cNvPr>
          <p:cNvGrpSpPr>
            <a:grpSpLocks noChangeAspect="1"/>
          </p:cNvGrpSpPr>
          <p:nvPr/>
        </p:nvGrpSpPr>
        <p:grpSpPr>
          <a:xfrm>
            <a:off x="1382691" y="2921466"/>
            <a:ext cx="293576" cy="324000"/>
            <a:chOff x="1501677" y="3019131"/>
            <a:chExt cx="293135" cy="323513"/>
          </a:xfrm>
        </p:grpSpPr>
        <p:sp>
          <p:nvSpPr>
            <p:cNvPr id="185" name="Freihandform: Form 184">
              <a:extLst>
                <a:ext uri="{FF2B5EF4-FFF2-40B4-BE49-F238E27FC236}">
                  <a16:creationId xmlns:a16="http://schemas.microsoft.com/office/drawing/2014/main" id="{027EF57A-0EC3-4E18-9066-FFC7DA0AA720}"/>
                </a:ext>
              </a:extLst>
            </p:cNvPr>
            <p:cNvSpPr/>
            <p:nvPr/>
          </p:nvSpPr>
          <p:spPr>
            <a:xfrm>
              <a:off x="1501677" y="3019131"/>
              <a:ext cx="293135" cy="323513"/>
            </a:xfrm>
            <a:custGeom>
              <a:avLst/>
              <a:gdLst>
                <a:gd name="connsiteX0" fmla="*/ 245817 w 293135"/>
                <a:gd name="connsiteY0" fmla="*/ 0 h 323513"/>
                <a:gd name="connsiteX1" fmla="*/ 76356 w 293135"/>
                <a:gd name="connsiteY1" fmla="*/ 0 h 323513"/>
                <a:gd name="connsiteX2" fmla="*/ 29037 w 293135"/>
                <a:gd name="connsiteY2" fmla="*/ 44903 h 323513"/>
                <a:gd name="connsiteX3" fmla="*/ 29037 w 293135"/>
                <a:gd name="connsiteY3" fmla="*/ 56040 h 323513"/>
                <a:gd name="connsiteX4" fmla="*/ 24886 w 293135"/>
                <a:gd name="connsiteY4" fmla="*/ 56040 h 323513"/>
                <a:gd name="connsiteX5" fmla="*/ 7291 w 293135"/>
                <a:gd name="connsiteY5" fmla="*/ 63331 h 323513"/>
                <a:gd name="connsiteX6" fmla="*/ 0 w 293135"/>
                <a:gd name="connsiteY6" fmla="*/ 80926 h 323513"/>
                <a:gd name="connsiteX7" fmla="*/ 0 w 293135"/>
                <a:gd name="connsiteY7" fmla="*/ 111298 h 323513"/>
                <a:gd name="connsiteX8" fmla="*/ 7291 w 293135"/>
                <a:gd name="connsiteY8" fmla="*/ 128900 h 323513"/>
                <a:gd name="connsiteX9" fmla="*/ 24886 w 293135"/>
                <a:gd name="connsiteY9" fmla="*/ 136191 h 323513"/>
                <a:gd name="connsiteX10" fmla="*/ 29037 w 293135"/>
                <a:gd name="connsiteY10" fmla="*/ 136191 h 323513"/>
                <a:gd name="connsiteX11" fmla="*/ 29037 w 293135"/>
                <a:gd name="connsiteY11" fmla="*/ 224274 h 323513"/>
                <a:gd name="connsiteX12" fmla="*/ 28211 w 293135"/>
                <a:gd name="connsiteY12" fmla="*/ 224274 h 323513"/>
                <a:gd name="connsiteX13" fmla="*/ 15313 w 293135"/>
                <a:gd name="connsiteY13" fmla="*/ 229614 h 323513"/>
                <a:gd name="connsiteX14" fmla="*/ 9974 w 293135"/>
                <a:gd name="connsiteY14" fmla="*/ 242518 h 323513"/>
                <a:gd name="connsiteX15" fmla="*/ 9974 w 293135"/>
                <a:gd name="connsiteY15" fmla="*/ 250807 h 323513"/>
                <a:gd name="connsiteX16" fmla="*/ 15313 w 293135"/>
                <a:gd name="connsiteY16" fmla="*/ 263704 h 323513"/>
                <a:gd name="connsiteX17" fmla="*/ 28211 w 293135"/>
                <a:gd name="connsiteY17" fmla="*/ 269044 h 323513"/>
                <a:gd name="connsiteX18" fmla="*/ 29037 w 293135"/>
                <a:gd name="connsiteY18" fmla="*/ 269044 h 323513"/>
                <a:gd name="connsiteX19" fmla="*/ 29037 w 293135"/>
                <a:gd name="connsiteY19" fmla="*/ 278611 h 323513"/>
                <a:gd name="connsiteX20" fmla="*/ 76356 w 293135"/>
                <a:gd name="connsiteY20" fmla="*/ 323514 h 323513"/>
                <a:gd name="connsiteX21" fmla="*/ 245817 w 293135"/>
                <a:gd name="connsiteY21" fmla="*/ 323514 h 323513"/>
                <a:gd name="connsiteX22" fmla="*/ 293136 w 293135"/>
                <a:gd name="connsiteY22" fmla="*/ 278611 h 323513"/>
                <a:gd name="connsiteX23" fmla="*/ 293136 w 293135"/>
                <a:gd name="connsiteY23" fmla="*/ 44897 h 323513"/>
                <a:gd name="connsiteX24" fmla="*/ 245817 w 293135"/>
                <a:gd name="connsiteY24" fmla="*/ 0 h 323513"/>
                <a:gd name="connsiteX25" fmla="*/ 24886 w 293135"/>
                <a:gd name="connsiteY25" fmla="*/ 126287 h 323513"/>
                <a:gd name="connsiteX26" fmla="*/ 14296 w 293135"/>
                <a:gd name="connsiteY26" fmla="*/ 121901 h 323513"/>
                <a:gd name="connsiteX27" fmla="*/ 9904 w 293135"/>
                <a:gd name="connsiteY27" fmla="*/ 111298 h 323513"/>
                <a:gd name="connsiteX28" fmla="*/ 9904 w 293135"/>
                <a:gd name="connsiteY28" fmla="*/ 80926 h 323513"/>
                <a:gd name="connsiteX29" fmla="*/ 14296 w 293135"/>
                <a:gd name="connsiteY29" fmla="*/ 70330 h 323513"/>
                <a:gd name="connsiteX30" fmla="*/ 24893 w 293135"/>
                <a:gd name="connsiteY30" fmla="*/ 65937 h 323513"/>
                <a:gd name="connsiteX31" fmla="*/ 29043 w 293135"/>
                <a:gd name="connsiteY31" fmla="*/ 65937 h 323513"/>
                <a:gd name="connsiteX32" fmla="*/ 29043 w 293135"/>
                <a:gd name="connsiteY32" fmla="*/ 126287 h 323513"/>
                <a:gd name="connsiteX33" fmla="*/ 24886 w 293135"/>
                <a:gd name="connsiteY33" fmla="*/ 126287 h 323513"/>
                <a:gd name="connsiteX34" fmla="*/ 28211 w 293135"/>
                <a:gd name="connsiteY34" fmla="*/ 259140 h 323513"/>
                <a:gd name="connsiteX35" fmla="*/ 22312 w 293135"/>
                <a:gd name="connsiteY35" fmla="*/ 256699 h 323513"/>
                <a:gd name="connsiteX36" fmla="*/ 19871 w 293135"/>
                <a:gd name="connsiteY36" fmla="*/ 250807 h 323513"/>
                <a:gd name="connsiteX37" fmla="*/ 19871 w 293135"/>
                <a:gd name="connsiteY37" fmla="*/ 242518 h 323513"/>
                <a:gd name="connsiteX38" fmla="*/ 22305 w 293135"/>
                <a:gd name="connsiteY38" fmla="*/ 236619 h 323513"/>
                <a:gd name="connsiteX39" fmla="*/ 28204 w 293135"/>
                <a:gd name="connsiteY39" fmla="*/ 234178 h 323513"/>
                <a:gd name="connsiteX40" fmla="*/ 29031 w 293135"/>
                <a:gd name="connsiteY40" fmla="*/ 234178 h 323513"/>
                <a:gd name="connsiteX41" fmla="*/ 29031 w 293135"/>
                <a:gd name="connsiteY41" fmla="*/ 259140 h 323513"/>
                <a:gd name="connsiteX42" fmla="*/ 28211 w 293135"/>
                <a:gd name="connsiteY42" fmla="*/ 259140 h 323513"/>
                <a:gd name="connsiteX43" fmla="*/ 283226 w 293135"/>
                <a:gd name="connsiteY43" fmla="*/ 278617 h 323513"/>
                <a:gd name="connsiteX44" fmla="*/ 245811 w 293135"/>
                <a:gd name="connsiteY44" fmla="*/ 313617 h 323513"/>
                <a:gd name="connsiteX45" fmla="*/ 76349 w 293135"/>
                <a:gd name="connsiteY45" fmla="*/ 313617 h 323513"/>
                <a:gd name="connsiteX46" fmla="*/ 38934 w 293135"/>
                <a:gd name="connsiteY46" fmla="*/ 278617 h 323513"/>
                <a:gd name="connsiteX47" fmla="*/ 38934 w 293135"/>
                <a:gd name="connsiteY47" fmla="*/ 44903 h 323513"/>
                <a:gd name="connsiteX48" fmla="*/ 76349 w 293135"/>
                <a:gd name="connsiteY48" fmla="*/ 9904 h 323513"/>
                <a:gd name="connsiteX49" fmla="*/ 245811 w 293135"/>
                <a:gd name="connsiteY49" fmla="*/ 9904 h 323513"/>
                <a:gd name="connsiteX50" fmla="*/ 283226 w 293135"/>
                <a:gd name="connsiteY50" fmla="*/ 44903 h 323513"/>
                <a:gd name="connsiteX51" fmla="*/ 283226 w 293135"/>
                <a:gd name="connsiteY51" fmla="*/ 278617 h 323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93135" h="323513">
                  <a:moveTo>
                    <a:pt x="245817" y="0"/>
                  </a:moveTo>
                  <a:lnTo>
                    <a:pt x="76356" y="0"/>
                  </a:lnTo>
                  <a:cubicBezTo>
                    <a:pt x="50268" y="0"/>
                    <a:pt x="29043" y="20144"/>
                    <a:pt x="29037" y="44903"/>
                  </a:cubicBezTo>
                  <a:lnTo>
                    <a:pt x="29037" y="56040"/>
                  </a:lnTo>
                  <a:lnTo>
                    <a:pt x="24886" y="56040"/>
                  </a:lnTo>
                  <a:cubicBezTo>
                    <a:pt x="18243" y="56040"/>
                    <a:pt x="11989" y="58633"/>
                    <a:pt x="7291" y="63331"/>
                  </a:cubicBezTo>
                  <a:cubicBezTo>
                    <a:pt x="2587" y="68035"/>
                    <a:pt x="0" y="74283"/>
                    <a:pt x="0" y="80926"/>
                  </a:cubicBezTo>
                  <a:lnTo>
                    <a:pt x="0" y="111298"/>
                  </a:lnTo>
                  <a:cubicBezTo>
                    <a:pt x="0" y="117941"/>
                    <a:pt x="2587" y="124189"/>
                    <a:pt x="7291" y="128900"/>
                  </a:cubicBezTo>
                  <a:cubicBezTo>
                    <a:pt x="11989" y="133597"/>
                    <a:pt x="18243" y="136191"/>
                    <a:pt x="24886" y="136191"/>
                  </a:cubicBezTo>
                  <a:lnTo>
                    <a:pt x="29037" y="136191"/>
                  </a:lnTo>
                  <a:lnTo>
                    <a:pt x="29037" y="224274"/>
                  </a:lnTo>
                  <a:lnTo>
                    <a:pt x="28211" y="224274"/>
                  </a:lnTo>
                  <a:cubicBezTo>
                    <a:pt x="23342" y="224274"/>
                    <a:pt x="18765" y="226169"/>
                    <a:pt x="15313" y="229614"/>
                  </a:cubicBezTo>
                  <a:cubicBezTo>
                    <a:pt x="11868" y="233059"/>
                    <a:pt x="9974" y="237642"/>
                    <a:pt x="9974" y="242518"/>
                  </a:cubicBezTo>
                  <a:lnTo>
                    <a:pt x="9974" y="250807"/>
                  </a:lnTo>
                  <a:cubicBezTo>
                    <a:pt x="9974" y="255682"/>
                    <a:pt x="11868" y="260266"/>
                    <a:pt x="15313" y="263704"/>
                  </a:cubicBezTo>
                  <a:cubicBezTo>
                    <a:pt x="18758" y="267150"/>
                    <a:pt x="23342" y="269044"/>
                    <a:pt x="28211" y="269044"/>
                  </a:cubicBezTo>
                  <a:lnTo>
                    <a:pt x="29037" y="269044"/>
                  </a:lnTo>
                  <a:lnTo>
                    <a:pt x="29037" y="278611"/>
                  </a:lnTo>
                  <a:cubicBezTo>
                    <a:pt x="29037" y="303370"/>
                    <a:pt x="50262" y="323514"/>
                    <a:pt x="76356" y="323514"/>
                  </a:cubicBezTo>
                  <a:lnTo>
                    <a:pt x="245817" y="323514"/>
                  </a:lnTo>
                  <a:cubicBezTo>
                    <a:pt x="271905" y="323514"/>
                    <a:pt x="293136" y="303370"/>
                    <a:pt x="293136" y="278611"/>
                  </a:cubicBezTo>
                  <a:lnTo>
                    <a:pt x="293136" y="44897"/>
                  </a:lnTo>
                  <a:cubicBezTo>
                    <a:pt x="293129" y="20138"/>
                    <a:pt x="271898" y="0"/>
                    <a:pt x="245817" y="0"/>
                  </a:cubicBezTo>
                  <a:close/>
                  <a:moveTo>
                    <a:pt x="24886" y="126287"/>
                  </a:moveTo>
                  <a:cubicBezTo>
                    <a:pt x="20881" y="126287"/>
                    <a:pt x="17125" y="124730"/>
                    <a:pt x="14296" y="121901"/>
                  </a:cubicBezTo>
                  <a:cubicBezTo>
                    <a:pt x="11461" y="119066"/>
                    <a:pt x="9904" y="115303"/>
                    <a:pt x="9904" y="111298"/>
                  </a:cubicBezTo>
                  <a:lnTo>
                    <a:pt x="9904" y="80926"/>
                  </a:lnTo>
                  <a:cubicBezTo>
                    <a:pt x="9904" y="76928"/>
                    <a:pt x="11461" y="73165"/>
                    <a:pt x="14296" y="70330"/>
                  </a:cubicBezTo>
                  <a:cubicBezTo>
                    <a:pt x="17131" y="67495"/>
                    <a:pt x="20888" y="65937"/>
                    <a:pt x="24893" y="65937"/>
                  </a:cubicBezTo>
                  <a:lnTo>
                    <a:pt x="29043" y="65937"/>
                  </a:lnTo>
                  <a:lnTo>
                    <a:pt x="29043" y="126287"/>
                  </a:lnTo>
                  <a:lnTo>
                    <a:pt x="24886" y="126287"/>
                  </a:lnTo>
                  <a:close/>
                  <a:moveTo>
                    <a:pt x="28211" y="259140"/>
                  </a:moveTo>
                  <a:cubicBezTo>
                    <a:pt x="25986" y="259140"/>
                    <a:pt x="23888" y="258276"/>
                    <a:pt x="22312" y="256699"/>
                  </a:cubicBezTo>
                  <a:cubicBezTo>
                    <a:pt x="20735" y="255129"/>
                    <a:pt x="19871" y="253038"/>
                    <a:pt x="19871" y="250807"/>
                  </a:cubicBezTo>
                  <a:lnTo>
                    <a:pt x="19871" y="242518"/>
                  </a:lnTo>
                  <a:cubicBezTo>
                    <a:pt x="19871" y="240287"/>
                    <a:pt x="20735" y="238189"/>
                    <a:pt x="22305" y="236619"/>
                  </a:cubicBezTo>
                  <a:cubicBezTo>
                    <a:pt x="23882" y="235043"/>
                    <a:pt x="25980" y="234178"/>
                    <a:pt x="28204" y="234178"/>
                  </a:cubicBezTo>
                  <a:lnTo>
                    <a:pt x="29031" y="234178"/>
                  </a:lnTo>
                  <a:lnTo>
                    <a:pt x="29031" y="259140"/>
                  </a:lnTo>
                  <a:lnTo>
                    <a:pt x="28211" y="259140"/>
                  </a:lnTo>
                  <a:close/>
                  <a:moveTo>
                    <a:pt x="283226" y="278617"/>
                  </a:moveTo>
                  <a:cubicBezTo>
                    <a:pt x="283226" y="297916"/>
                    <a:pt x="266444" y="313617"/>
                    <a:pt x="245811" y="313617"/>
                  </a:cubicBezTo>
                  <a:lnTo>
                    <a:pt x="76349" y="313617"/>
                  </a:lnTo>
                  <a:cubicBezTo>
                    <a:pt x="55716" y="313617"/>
                    <a:pt x="38934" y="297916"/>
                    <a:pt x="38934" y="278617"/>
                  </a:cubicBezTo>
                  <a:lnTo>
                    <a:pt x="38934" y="44903"/>
                  </a:lnTo>
                  <a:cubicBezTo>
                    <a:pt x="38934" y="25605"/>
                    <a:pt x="55722" y="9904"/>
                    <a:pt x="76349" y="9904"/>
                  </a:cubicBezTo>
                  <a:lnTo>
                    <a:pt x="245811" y="9904"/>
                  </a:lnTo>
                  <a:cubicBezTo>
                    <a:pt x="266438" y="9904"/>
                    <a:pt x="283219" y="25605"/>
                    <a:pt x="283226" y="44903"/>
                  </a:cubicBezTo>
                  <a:lnTo>
                    <a:pt x="283226" y="278617"/>
                  </a:lnTo>
                  <a:close/>
                </a:path>
              </a:pathLst>
            </a:custGeom>
            <a:solidFill>
              <a:schemeClr val="tx2"/>
            </a:solidFill>
            <a:ln w="635" cap="flat">
              <a:noFill/>
              <a:prstDash val="solid"/>
              <a:miter/>
            </a:ln>
          </p:spPr>
          <p:txBody>
            <a:bodyPr rtlCol="0" anchor="ctr"/>
            <a:lstStyle/>
            <a:p>
              <a:endParaRPr lang="en-GB" dirty="0"/>
            </a:p>
          </p:txBody>
        </p:sp>
        <p:grpSp>
          <p:nvGrpSpPr>
            <p:cNvPr id="186" name="Gruppieren 185">
              <a:extLst>
                <a:ext uri="{FF2B5EF4-FFF2-40B4-BE49-F238E27FC236}">
                  <a16:creationId xmlns:a16="http://schemas.microsoft.com/office/drawing/2014/main" id="{A9577A9D-9F0E-4B96-9543-ACBD1D1D7B43}"/>
                </a:ext>
              </a:extLst>
            </p:cNvPr>
            <p:cNvGrpSpPr/>
            <p:nvPr/>
          </p:nvGrpSpPr>
          <p:grpSpPr>
            <a:xfrm>
              <a:off x="1569443" y="3051356"/>
              <a:ext cx="188714" cy="182549"/>
              <a:chOff x="1569443" y="3051356"/>
              <a:chExt cx="188714" cy="182549"/>
            </a:xfrm>
          </p:grpSpPr>
          <p:sp>
            <p:nvSpPr>
              <p:cNvPr id="187" name="Freihandform: Form 186">
                <a:extLst>
                  <a:ext uri="{FF2B5EF4-FFF2-40B4-BE49-F238E27FC236}">
                    <a16:creationId xmlns:a16="http://schemas.microsoft.com/office/drawing/2014/main" id="{68255C02-117E-4B50-B279-DC99B366AD0F}"/>
                  </a:ext>
                </a:extLst>
              </p:cNvPr>
              <p:cNvSpPr/>
              <p:nvPr/>
            </p:nvSpPr>
            <p:spPr>
              <a:xfrm>
                <a:off x="1587117" y="3082618"/>
                <a:ext cx="151287" cy="151287"/>
              </a:xfrm>
              <a:custGeom>
                <a:avLst/>
                <a:gdLst>
                  <a:gd name="connsiteX0" fmla="*/ 75644 w 151287"/>
                  <a:gd name="connsiteY0" fmla="*/ 0 h 151287"/>
                  <a:gd name="connsiteX1" fmla="*/ 0 w 151287"/>
                  <a:gd name="connsiteY1" fmla="*/ 75644 h 151287"/>
                  <a:gd name="connsiteX2" fmla="*/ 75644 w 151287"/>
                  <a:gd name="connsiteY2" fmla="*/ 151288 h 151287"/>
                  <a:gd name="connsiteX3" fmla="*/ 151288 w 151287"/>
                  <a:gd name="connsiteY3" fmla="*/ 75644 h 151287"/>
                  <a:gd name="connsiteX4" fmla="*/ 75644 w 151287"/>
                  <a:gd name="connsiteY4" fmla="*/ 0 h 151287"/>
                  <a:gd name="connsiteX5" fmla="*/ 75644 w 151287"/>
                  <a:gd name="connsiteY5" fmla="*/ 141384 h 151287"/>
                  <a:gd name="connsiteX6" fmla="*/ 9904 w 151287"/>
                  <a:gd name="connsiteY6" fmla="*/ 75644 h 151287"/>
                  <a:gd name="connsiteX7" fmla="*/ 75644 w 151287"/>
                  <a:gd name="connsiteY7" fmla="*/ 9904 h 151287"/>
                  <a:gd name="connsiteX8" fmla="*/ 141384 w 151287"/>
                  <a:gd name="connsiteY8" fmla="*/ 75644 h 151287"/>
                  <a:gd name="connsiteX9" fmla="*/ 75644 w 151287"/>
                  <a:gd name="connsiteY9" fmla="*/ 141384 h 151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287" h="151287">
                    <a:moveTo>
                      <a:pt x="75644" y="0"/>
                    </a:moveTo>
                    <a:cubicBezTo>
                      <a:pt x="33932" y="0"/>
                      <a:pt x="0" y="33932"/>
                      <a:pt x="0" y="75644"/>
                    </a:cubicBezTo>
                    <a:cubicBezTo>
                      <a:pt x="0" y="117356"/>
                      <a:pt x="33932" y="151288"/>
                      <a:pt x="75644" y="151288"/>
                    </a:cubicBezTo>
                    <a:cubicBezTo>
                      <a:pt x="117356" y="151288"/>
                      <a:pt x="151288" y="117356"/>
                      <a:pt x="151288" y="75644"/>
                    </a:cubicBezTo>
                    <a:cubicBezTo>
                      <a:pt x="151288" y="33938"/>
                      <a:pt x="117350" y="0"/>
                      <a:pt x="75644" y="0"/>
                    </a:cubicBezTo>
                    <a:close/>
                    <a:moveTo>
                      <a:pt x="75644" y="141384"/>
                    </a:moveTo>
                    <a:cubicBezTo>
                      <a:pt x="39392" y="141384"/>
                      <a:pt x="9904" y="111889"/>
                      <a:pt x="9904" y="75644"/>
                    </a:cubicBezTo>
                    <a:cubicBezTo>
                      <a:pt x="9904" y="39392"/>
                      <a:pt x="39392" y="9904"/>
                      <a:pt x="75644" y="9904"/>
                    </a:cubicBezTo>
                    <a:cubicBezTo>
                      <a:pt x="111896" y="9904"/>
                      <a:pt x="141384" y="39392"/>
                      <a:pt x="141384" y="75644"/>
                    </a:cubicBezTo>
                    <a:cubicBezTo>
                      <a:pt x="141384" y="111896"/>
                      <a:pt x="111889" y="141384"/>
                      <a:pt x="75644" y="141384"/>
                    </a:cubicBezTo>
                    <a:close/>
                  </a:path>
                </a:pathLst>
              </a:custGeom>
              <a:solidFill>
                <a:schemeClr val="accent1"/>
              </a:solidFill>
              <a:ln w="635" cap="flat">
                <a:noFill/>
                <a:prstDash val="solid"/>
                <a:miter/>
              </a:ln>
            </p:spPr>
            <p:txBody>
              <a:bodyPr rtlCol="0" anchor="ctr"/>
              <a:lstStyle/>
              <a:p>
                <a:endParaRPr lang="en-GB" dirty="0"/>
              </a:p>
            </p:txBody>
          </p:sp>
          <p:sp>
            <p:nvSpPr>
              <p:cNvPr id="188" name="Freihandform: Form 187">
                <a:extLst>
                  <a:ext uri="{FF2B5EF4-FFF2-40B4-BE49-F238E27FC236}">
                    <a16:creationId xmlns:a16="http://schemas.microsoft.com/office/drawing/2014/main" id="{3E18A6B4-4FB3-4F35-88A8-3FE74047707E}"/>
                  </a:ext>
                </a:extLst>
              </p:cNvPr>
              <p:cNvSpPr/>
              <p:nvPr/>
            </p:nvSpPr>
            <p:spPr>
              <a:xfrm>
                <a:off x="1615570" y="3111070"/>
                <a:ext cx="94383" cy="94383"/>
              </a:xfrm>
              <a:custGeom>
                <a:avLst/>
                <a:gdLst>
                  <a:gd name="connsiteX0" fmla="*/ 47192 w 94383"/>
                  <a:gd name="connsiteY0" fmla="*/ 0 h 94383"/>
                  <a:gd name="connsiteX1" fmla="*/ 0 w 94383"/>
                  <a:gd name="connsiteY1" fmla="*/ 47192 h 94383"/>
                  <a:gd name="connsiteX2" fmla="*/ 47192 w 94383"/>
                  <a:gd name="connsiteY2" fmla="*/ 94383 h 94383"/>
                  <a:gd name="connsiteX3" fmla="*/ 94383 w 94383"/>
                  <a:gd name="connsiteY3" fmla="*/ 47192 h 94383"/>
                  <a:gd name="connsiteX4" fmla="*/ 47192 w 94383"/>
                  <a:gd name="connsiteY4" fmla="*/ 0 h 94383"/>
                  <a:gd name="connsiteX5" fmla="*/ 47192 w 94383"/>
                  <a:gd name="connsiteY5" fmla="*/ 84480 h 94383"/>
                  <a:gd name="connsiteX6" fmla="*/ 9904 w 94383"/>
                  <a:gd name="connsiteY6" fmla="*/ 47192 h 94383"/>
                  <a:gd name="connsiteX7" fmla="*/ 47192 w 94383"/>
                  <a:gd name="connsiteY7" fmla="*/ 9904 h 94383"/>
                  <a:gd name="connsiteX8" fmla="*/ 84479 w 94383"/>
                  <a:gd name="connsiteY8" fmla="*/ 47192 h 94383"/>
                  <a:gd name="connsiteX9" fmla="*/ 47192 w 94383"/>
                  <a:gd name="connsiteY9" fmla="*/ 84480 h 94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383" h="94383">
                    <a:moveTo>
                      <a:pt x="47192" y="0"/>
                    </a:moveTo>
                    <a:cubicBezTo>
                      <a:pt x="21168" y="0"/>
                      <a:pt x="0" y="21168"/>
                      <a:pt x="0" y="47192"/>
                    </a:cubicBezTo>
                    <a:cubicBezTo>
                      <a:pt x="0" y="73209"/>
                      <a:pt x="21168" y="94383"/>
                      <a:pt x="47192" y="94383"/>
                    </a:cubicBezTo>
                    <a:cubicBezTo>
                      <a:pt x="73216" y="94383"/>
                      <a:pt x="94383" y="73209"/>
                      <a:pt x="94383" y="47192"/>
                    </a:cubicBezTo>
                    <a:cubicBezTo>
                      <a:pt x="94383" y="21174"/>
                      <a:pt x="73209" y="0"/>
                      <a:pt x="47192" y="0"/>
                    </a:cubicBezTo>
                    <a:close/>
                    <a:moveTo>
                      <a:pt x="47192" y="84480"/>
                    </a:moveTo>
                    <a:cubicBezTo>
                      <a:pt x="26634" y="84480"/>
                      <a:pt x="9904" y="67755"/>
                      <a:pt x="9904" y="47192"/>
                    </a:cubicBezTo>
                    <a:cubicBezTo>
                      <a:pt x="9904" y="26634"/>
                      <a:pt x="26628" y="9904"/>
                      <a:pt x="47192" y="9904"/>
                    </a:cubicBezTo>
                    <a:cubicBezTo>
                      <a:pt x="67755" y="9904"/>
                      <a:pt x="84479" y="26628"/>
                      <a:pt x="84479" y="47192"/>
                    </a:cubicBezTo>
                    <a:cubicBezTo>
                      <a:pt x="84479" y="67755"/>
                      <a:pt x="67749" y="84480"/>
                      <a:pt x="47192" y="84480"/>
                    </a:cubicBezTo>
                    <a:close/>
                  </a:path>
                </a:pathLst>
              </a:custGeom>
              <a:solidFill>
                <a:schemeClr val="accent1"/>
              </a:solidFill>
              <a:ln w="635" cap="flat">
                <a:noFill/>
                <a:prstDash val="solid"/>
                <a:miter/>
              </a:ln>
            </p:spPr>
            <p:txBody>
              <a:bodyPr rtlCol="0" anchor="ctr"/>
              <a:lstStyle/>
              <a:p>
                <a:endParaRPr lang="en-GB" dirty="0"/>
              </a:p>
            </p:txBody>
          </p:sp>
          <p:sp>
            <p:nvSpPr>
              <p:cNvPr id="189" name="Freihandform: Form 188">
                <a:extLst>
                  <a:ext uri="{FF2B5EF4-FFF2-40B4-BE49-F238E27FC236}">
                    <a16:creationId xmlns:a16="http://schemas.microsoft.com/office/drawing/2014/main" id="{E5FCC5E5-B719-4DEA-AED8-E416B53E93E3}"/>
                  </a:ext>
                </a:extLst>
              </p:cNvPr>
              <p:cNvSpPr/>
              <p:nvPr/>
            </p:nvSpPr>
            <p:spPr>
              <a:xfrm>
                <a:off x="1569443" y="3051356"/>
                <a:ext cx="33702" cy="33721"/>
              </a:xfrm>
              <a:custGeom>
                <a:avLst/>
                <a:gdLst>
                  <a:gd name="connsiteX0" fmla="*/ 28773 w 33702"/>
                  <a:gd name="connsiteY0" fmla="*/ 4939 h 33721"/>
                  <a:gd name="connsiteX1" fmla="*/ 16855 w 33702"/>
                  <a:gd name="connsiteY1" fmla="*/ 0 h 33721"/>
                  <a:gd name="connsiteX2" fmla="*/ 4930 w 33702"/>
                  <a:gd name="connsiteY2" fmla="*/ 4939 h 33721"/>
                  <a:gd name="connsiteX3" fmla="*/ 4930 w 33702"/>
                  <a:gd name="connsiteY3" fmla="*/ 28776 h 33721"/>
                  <a:gd name="connsiteX4" fmla="*/ 16855 w 33702"/>
                  <a:gd name="connsiteY4" fmla="*/ 33722 h 33721"/>
                  <a:gd name="connsiteX5" fmla="*/ 28773 w 33702"/>
                  <a:gd name="connsiteY5" fmla="*/ 28783 h 33721"/>
                  <a:gd name="connsiteX6" fmla="*/ 28773 w 33702"/>
                  <a:gd name="connsiteY6" fmla="*/ 4939 h 33721"/>
                  <a:gd name="connsiteX7" fmla="*/ 21768 w 33702"/>
                  <a:gd name="connsiteY7" fmla="*/ 21784 h 33721"/>
                  <a:gd name="connsiteX8" fmla="*/ 11935 w 33702"/>
                  <a:gd name="connsiteY8" fmla="*/ 21778 h 33721"/>
                  <a:gd name="connsiteX9" fmla="*/ 11935 w 33702"/>
                  <a:gd name="connsiteY9" fmla="*/ 11944 h 33721"/>
                  <a:gd name="connsiteX10" fmla="*/ 16855 w 33702"/>
                  <a:gd name="connsiteY10" fmla="*/ 9904 h 33721"/>
                  <a:gd name="connsiteX11" fmla="*/ 21768 w 33702"/>
                  <a:gd name="connsiteY11" fmla="*/ 11938 h 33721"/>
                  <a:gd name="connsiteX12" fmla="*/ 21768 w 33702"/>
                  <a:gd name="connsiteY12" fmla="*/ 21784 h 3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02" h="33721">
                    <a:moveTo>
                      <a:pt x="28773" y="4939"/>
                    </a:moveTo>
                    <a:cubicBezTo>
                      <a:pt x="25589" y="1754"/>
                      <a:pt x="21355" y="0"/>
                      <a:pt x="16855" y="0"/>
                    </a:cubicBezTo>
                    <a:cubicBezTo>
                      <a:pt x="12354" y="0"/>
                      <a:pt x="8121" y="1754"/>
                      <a:pt x="4930" y="4939"/>
                    </a:cubicBezTo>
                    <a:cubicBezTo>
                      <a:pt x="-1643" y="11512"/>
                      <a:pt x="-1643" y="22210"/>
                      <a:pt x="4930" y="28776"/>
                    </a:cubicBezTo>
                    <a:cubicBezTo>
                      <a:pt x="8114" y="31961"/>
                      <a:pt x="12354" y="33716"/>
                      <a:pt x="16855" y="33722"/>
                    </a:cubicBezTo>
                    <a:cubicBezTo>
                      <a:pt x="21355" y="33722"/>
                      <a:pt x="25589" y="31967"/>
                      <a:pt x="28773" y="28783"/>
                    </a:cubicBezTo>
                    <a:cubicBezTo>
                      <a:pt x="35346" y="22210"/>
                      <a:pt x="35346" y="11512"/>
                      <a:pt x="28773" y="4939"/>
                    </a:cubicBezTo>
                    <a:close/>
                    <a:moveTo>
                      <a:pt x="21768" y="21784"/>
                    </a:moveTo>
                    <a:cubicBezTo>
                      <a:pt x="19143" y="24409"/>
                      <a:pt x="14560" y="24409"/>
                      <a:pt x="11935" y="21778"/>
                    </a:cubicBezTo>
                    <a:cubicBezTo>
                      <a:pt x="9227" y="19064"/>
                      <a:pt x="9227" y="14652"/>
                      <a:pt x="11935" y="11944"/>
                    </a:cubicBezTo>
                    <a:cubicBezTo>
                      <a:pt x="13250" y="10628"/>
                      <a:pt x="14998" y="9904"/>
                      <a:pt x="16855" y="9904"/>
                    </a:cubicBezTo>
                    <a:cubicBezTo>
                      <a:pt x="18711" y="9904"/>
                      <a:pt x="20459" y="10628"/>
                      <a:pt x="21768" y="11938"/>
                    </a:cubicBezTo>
                    <a:cubicBezTo>
                      <a:pt x="24483" y="14652"/>
                      <a:pt x="24483" y="19070"/>
                      <a:pt x="21768" y="21784"/>
                    </a:cubicBezTo>
                    <a:close/>
                  </a:path>
                </a:pathLst>
              </a:custGeom>
              <a:solidFill>
                <a:schemeClr val="accent1"/>
              </a:solidFill>
              <a:ln w="635" cap="flat">
                <a:noFill/>
                <a:prstDash val="solid"/>
                <a:miter/>
              </a:ln>
            </p:spPr>
            <p:txBody>
              <a:bodyPr rtlCol="0" anchor="ctr"/>
              <a:lstStyle/>
              <a:p>
                <a:endParaRPr lang="en-GB" dirty="0"/>
              </a:p>
            </p:txBody>
          </p:sp>
          <p:sp>
            <p:nvSpPr>
              <p:cNvPr id="190" name="Freihandform: Form 189">
                <a:extLst>
                  <a:ext uri="{FF2B5EF4-FFF2-40B4-BE49-F238E27FC236}">
                    <a16:creationId xmlns:a16="http://schemas.microsoft.com/office/drawing/2014/main" id="{DBD26E46-A6DE-405F-B4A1-68C84E5CA887}"/>
                  </a:ext>
                </a:extLst>
              </p:cNvPr>
              <p:cNvSpPr/>
              <p:nvPr/>
            </p:nvSpPr>
            <p:spPr>
              <a:xfrm>
                <a:off x="1724455" y="3051356"/>
                <a:ext cx="33702" cy="33721"/>
              </a:xfrm>
              <a:custGeom>
                <a:avLst/>
                <a:gdLst>
                  <a:gd name="connsiteX0" fmla="*/ 16855 w 33702"/>
                  <a:gd name="connsiteY0" fmla="*/ 0 h 33721"/>
                  <a:gd name="connsiteX1" fmla="*/ 4930 w 33702"/>
                  <a:gd name="connsiteY1" fmla="*/ 4939 h 33721"/>
                  <a:gd name="connsiteX2" fmla="*/ 4930 w 33702"/>
                  <a:gd name="connsiteY2" fmla="*/ 28783 h 33721"/>
                  <a:gd name="connsiteX3" fmla="*/ 16848 w 33702"/>
                  <a:gd name="connsiteY3" fmla="*/ 33722 h 33721"/>
                  <a:gd name="connsiteX4" fmla="*/ 28773 w 33702"/>
                  <a:gd name="connsiteY4" fmla="*/ 28783 h 33721"/>
                  <a:gd name="connsiteX5" fmla="*/ 28773 w 33702"/>
                  <a:gd name="connsiteY5" fmla="*/ 4939 h 33721"/>
                  <a:gd name="connsiteX6" fmla="*/ 16855 w 33702"/>
                  <a:gd name="connsiteY6" fmla="*/ 0 h 33721"/>
                  <a:gd name="connsiteX7" fmla="*/ 21768 w 33702"/>
                  <a:gd name="connsiteY7" fmla="*/ 21778 h 33721"/>
                  <a:gd name="connsiteX8" fmla="*/ 11935 w 33702"/>
                  <a:gd name="connsiteY8" fmla="*/ 21778 h 33721"/>
                  <a:gd name="connsiteX9" fmla="*/ 11928 w 33702"/>
                  <a:gd name="connsiteY9" fmla="*/ 11938 h 33721"/>
                  <a:gd name="connsiteX10" fmla="*/ 16848 w 33702"/>
                  <a:gd name="connsiteY10" fmla="*/ 9897 h 33721"/>
                  <a:gd name="connsiteX11" fmla="*/ 21768 w 33702"/>
                  <a:gd name="connsiteY11" fmla="*/ 11931 h 33721"/>
                  <a:gd name="connsiteX12" fmla="*/ 21768 w 33702"/>
                  <a:gd name="connsiteY12" fmla="*/ 21778 h 33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3702" h="33721">
                    <a:moveTo>
                      <a:pt x="16855" y="0"/>
                    </a:moveTo>
                    <a:cubicBezTo>
                      <a:pt x="12354" y="0"/>
                      <a:pt x="8121" y="1754"/>
                      <a:pt x="4930" y="4939"/>
                    </a:cubicBezTo>
                    <a:cubicBezTo>
                      <a:pt x="-1643" y="11512"/>
                      <a:pt x="-1643" y="22210"/>
                      <a:pt x="4930" y="28783"/>
                    </a:cubicBezTo>
                    <a:cubicBezTo>
                      <a:pt x="8114" y="31967"/>
                      <a:pt x="12341" y="33722"/>
                      <a:pt x="16848" y="33722"/>
                    </a:cubicBezTo>
                    <a:cubicBezTo>
                      <a:pt x="21349" y="33722"/>
                      <a:pt x="25589" y="31967"/>
                      <a:pt x="28773" y="28783"/>
                    </a:cubicBezTo>
                    <a:cubicBezTo>
                      <a:pt x="35346" y="22210"/>
                      <a:pt x="35346" y="11512"/>
                      <a:pt x="28773" y="4939"/>
                    </a:cubicBezTo>
                    <a:cubicBezTo>
                      <a:pt x="25589" y="1754"/>
                      <a:pt x="21355" y="0"/>
                      <a:pt x="16855" y="0"/>
                    </a:cubicBezTo>
                    <a:close/>
                    <a:moveTo>
                      <a:pt x="21768" y="21778"/>
                    </a:moveTo>
                    <a:cubicBezTo>
                      <a:pt x="19143" y="24409"/>
                      <a:pt x="14560" y="24409"/>
                      <a:pt x="11935" y="21778"/>
                    </a:cubicBezTo>
                    <a:cubicBezTo>
                      <a:pt x="9220" y="19064"/>
                      <a:pt x="9220" y="14652"/>
                      <a:pt x="11928" y="11938"/>
                    </a:cubicBezTo>
                    <a:cubicBezTo>
                      <a:pt x="13244" y="10622"/>
                      <a:pt x="14992" y="9897"/>
                      <a:pt x="16848" y="9897"/>
                    </a:cubicBezTo>
                    <a:cubicBezTo>
                      <a:pt x="18704" y="9897"/>
                      <a:pt x="20452" y="10622"/>
                      <a:pt x="21768" y="11931"/>
                    </a:cubicBezTo>
                    <a:cubicBezTo>
                      <a:pt x="24483" y="14652"/>
                      <a:pt x="24483" y="19064"/>
                      <a:pt x="21768" y="21778"/>
                    </a:cubicBezTo>
                    <a:close/>
                  </a:path>
                </a:pathLst>
              </a:custGeom>
              <a:solidFill>
                <a:schemeClr val="accent1"/>
              </a:solidFill>
              <a:ln w="635" cap="flat">
                <a:noFill/>
                <a:prstDash val="solid"/>
                <a:miter/>
              </a:ln>
            </p:spPr>
            <p:txBody>
              <a:bodyPr rtlCol="0" anchor="ctr"/>
              <a:lstStyle/>
              <a:p>
                <a:endParaRPr lang="en-GB" dirty="0"/>
              </a:p>
            </p:txBody>
          </p:sp>
        </p:grpSp>
      </p:grpSp>
      <p:grpSp>
        <p:nvGrpSpPr>
          <p:cNvPr id="191" name="Gruppieren 190">
            <a:extLst>
              <a:ext uri="{FF2B5EF4-FFF2-40B4-BE49-F238E27FC236}">
                <a16:creationId xmlns:a16="http://schemas.microsoft.com/office/drawing/2014/main" id="{4E225A6F-1A5B-4B15-B7BE-3DB1A9F664C1}"/>
              </a:ext>
            </a:extLst>
          </p:cNvPr>
          <p:cNvGrpSpPr>
            <a:grpSpLocks noChangeAspect="1"/>
          </p:cNvGrpSpPr>
          <p:nvPr/>
        </p:nvGrpSpPr>
        <p:grpSpPr>
          <a:xfrm>
            <a:off x="1367482" y="3568648"/>
            <a:ext cx="324000" cy="324000"/>
            <a:chOff x="1478212" y="3693648"/>
            <a:chExt cx="340024" cy="340027"/>
          </a:xfrm>
        </p:grpSpPr>
        <p:sp>
          <p:nvSpPr>
            <p:cNvPr id="192" name="Freihandform: Form 191">
              <a:extLst>
                <a:ext uri="{FF2B5EF4-FFF2-40B4-BE49-F238E27FC236}">
                  <a16:creationId xmlns:a16="http://schemas.microsoft.com/office/drawing/2014/main" id="{619A32BE-C084-4F62-A92A-030A07E692E6}"/>
                </a:ext>
              </a:extLst>
            </p:cNvPr>
            <p:cNvSpPr/>
            <p:nvPr/>
          </p:nvSpPr>
          <p:spPr>
            <a:xfrm>
              <a:off x="1478212" y="3693648"/>
              <a:ext cx="340024" cy="340027"/>
            </a:xfrm>
            <a:custGeom>
              <a:avLst/>
              <a:gdLst>
                <a:gd name="connsiteX0" fmla="*/ 170014 w 340028"/>
                <a:gd name="connsiteY0" fmla="*/ 0 h 340028"/>
                <a:gd name="connsiteX1" fmla="*/ 0 w 340028"/>
                <a:gd name="connsiteY1" fmla="*/ 170014 h 340028"/>
                <a:gd name="connsiteX2" fmla="*/ 170014 w 340028"/>
                <a:gd name="connsiteY2" fmla="*/ 340029 h 340028"/>
                <a:gd name="connsiteX3" fmla="*/ 340029 w 340028"/>
                <a:gd name="connsiteY3" fmla="*/ 170014 h 340028"/>
                <a:gd name="connsiteX4" fmla="*/ 170014 w 340028"/>
                <a:gd name="connsiteY4" fmla="*/ 0 h 340028"/>
                <a:gd name="connsiteX5" fmla="*/ 170014 w 340028"/>
                <a:gd name="connsiteY5" fmla="*/ 330125 h 340028"/>
                <a:gd name="connsiteX6" fmla="*/ 9904 w 340028"/>
                <a:gd name="connsiteY6" fmla="*/ 170014 h 340028"/>
                <a:gd name="connsiteX7" fmla="*/ 170014 w 340028"/>
                <a:gd name="connsiteY7" fmla="*/ 9904 h 340028"/>
                <a:gd name="connsiteX8" fmla="*/ 330125 w 340028"/>
                <a:gd name="connsiteY8" fmla="*/ 170014 h 340028"/>
                <a:gd name="connsiteX9" fmla="*/ 170014 w 340028"/>
                <a:gd name="connsiteY9" fmla="*/ 330125 h 340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028" h="340028">
                  <a:moveTo>
                    <a:pt x="170014" y="0"/>
                  </a:moveTo>
                  <a:cubicBezTo>
                    <a:pt x="76273" y="0"/>
                    <a:pt x="0" y="76267"/>
                    <a:pt x="0" y="170014"/>
                  </a:cubicBezTo>
                  <a:cubicBezTo>
                    <a:pt x="0" y="263762"/>
                    <a:pt x="76267" y="340029"/>
                    <a:pt x="170014" y="340029"/>
                  </a:cubicBezTo>
                  <a:cubicBezTo>
                    <a:pt x="263762" y="340029"/>
                    <a:pt x="340029" y="263762"/>
                    <a:pt x="340029" y="170014"/>
                  </a:cubicBezTo>
                  <a:cubicBezTo>
                    <a:pt x="340022" y="76267"/>
                    <a:pt x="263755" y="0"/>
                    <a:pt x="170014" y="0"/>
                  </a:cubicBezTo>
                  <a:close/>
                  <a:moveTo>
                    <a:pt x="170014" y="330125"/>
                  </a:moveTo>
                  <a:cubicBezTo>
                    <a:pt x="81727" y="330125"/>
                    <a:pt x="9904" y="258301"/>
                    <a:pt x="9904" y="170014"/>
                  </a:cubicBezTo>
                  <a:cubicBezTo>
                    <a:pt x="9904" y="81727"/>
                    <a:pt x="81727" y="9904"/>
                    <a:pt x="170014" y="9904"/>
                  </a:cubicBezTo>
                  <a:cubicBezTo>
                    <a:pt x="258301" y="9904"/>
                    <a:pt x="330125" y="81727"/>
                    <a:pt x="330125" y="170014"/>
                  </a:cubicBezTo>
                  <a:cubicBezTo>
                    <a:pt x="330119" y="258301"/>
                    <a:pt x="258295" y="330125"/>
                    <a:pt x="170014" y="330125"/>
                  </a:cubicBezTo>
                  <a:close/>
                </a:path>
              </a:pathLst>
            </a:custGeom>
            <a:solidFill>
              <a:schemeClr val="tx2"/>
            </a:solidFill>
            <a:ln w="635" cap="flat">
              <a:noFill/>
              <a:prstDash val="solid"/>
              <a:miter/>
            </a:ln>
          </p:spPr>
          <p:txBody>
            <a:bodyPr rtlCol="0" anchor="ctr"/>
            <a:lstStyle/>
            <a:p>
              <a:endParaRPr lang="en-GB" dirty="0"/>
            </a:p>
          </p:txBody>
        </p:sp>
        <p:sp>
          <p:nvSpPr>
            <p:cNvPr id="193" name="Freihandform: Form 192">
              <a:extLst>
                <a:ext uri="{FF2B5EF4-FFF2-40B4-BE49-F238E27FC236}">
                  <a16:creationId xmlns:a16="http://schemas.microsoft.com/office/drawing/2014/main" id="{B5FC5E14-FE73-4B03-811A-683D08704300}"/>
                </a:ext>
              </a:extLst>
            </p:cNvPr>
            <p:cNvSpPr/>
            <p:nvPr/>
          </p:nvSpPr>
          <p:spPr>
            <a:xfrm>
              <a:off x="1507924" y="3723359"/>
              <a:ext cx="280603" cy="280605"/>
            </a:xfrm>
            <a:custGeom>
              <a:avLst/>
              <a:gdLst>
                <a:gd name="connsiteX0" fmla="*/ 140303 w 280606"/>
                <a:gd name="connsiteY0" fmla="*/ 0 h 280606"/>
                <a:gd name="connsiteX1" fmla="*/ 0 w 280606"/>
                <a:gd name="connsiteY1" fmla="*/ 140303 h 280606"/>
                <a:gd name="connsiteX2" fmla="*/ 140303 w 280606"/>
                <a:gd name="connsiteY2" fmla="*/ 280607 h 280606"/>
                <a:gd name="connsiteX3" fmla="*/ 280607 w 280606"/>
                <a:gd name="connsiteY3" fmla="*/ 140303 h 280606"/>
                <a:gd name="connsiteX4" fmla="*/ 140303 w 280606"/>
                <a:gd name="connsiteY4" fmla="*/ 0 h 280606"/>
                <a:gd name="connsiteX5" fmla="*/ 140303 w 280606"/>
                <a:gd name="connsiteY5" fmla="*/ 270703 h 280606"/>
                <a:gd name="connsiteX6" fmla="*/ 9904 w 280606"/>
                <a:gd name="connsiteY6" fmla="*/ 140303 h 280606"/>
                <a:gd name="connsiteX7" fmla="*/ 140303 w 280606"/>
                <a:gd name="connsiteY7" fmla="*/ 9904 h 280606"/>
                <a:gd name="connsiteX8" fmla="*/ 270703 w 280606"/>
                <a:gd name="connsiteY8" fmla="*/ 140303 h 280606"/>
                <a:gd name="connsiteX9" fmla="*/ 140303 w 280606"/>
                <a:gd name="connsiteY9" fmla="*/ 270703 h 28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606" h="280606">
                  <a:moveTo>
                    <a:pt x="140303" y="0"/>
                  </a:moveTo>
                  <a:cubicBezTo>
                    <a:pt x="62943" y="0"/>
                    <a:pt x="0" y="62937"/>
                    <a:pt x="0" y="140303"/>
                  </a:cubicBezTo>
                  <a:cubicBezTo>
                    <a:pt x="0" y="217664"/>
                    <a:pt x="62937" y="280607"/>
                    <a:pt x="140303" y="280607"/>
                  </a:cubicBezTo>
                  <a:cubicBezTo>
                    <a:pt x="217664" y="280607"/>
                    <a:pt x="280607" y="217670"/>
                    <a:pt x="280607" y="140303"/>
                  </a:cubicBezTo>
                  <a:cubicBezTo>
                    <a:pt x="280601" y="62943"/>
                    <a:pt x="217664" y="0"/>
                    <a:pt x="140303" y="0"/>
                  </a:cubicBezTo>
                  <a:close/>
                  <a:moveTo>
                    <a:pt x="140303" y="270703"/>
                  </a:moveTo>
                  <a:cubicBezTo>
                    <a:pt x="68404" y="270703"/>
                    <a:pt x="9904" y="212210"/>
                    <a:pt x="9904" y="140303"/>
                  </a:cubicBezTo>
                  <a:cubicBezTo>
                    <a:pt x="9904" y="68404"/>
                    <a:pt x="68404" y="9904"/>
                    <a:pt x="140303" y="9904"/>
                  </a:cubicBezTo>
                  <a:cubicBezTo>
                    <a:pt x="212203" y="9904"/>
                    <a:pt x="270703" y="68397"/>
                    <a:pt x="270703" y="140303"/>
                  </a:cubicBezTo>
                  <a:cubicBezTo>
                    <a:pt x="270697" y="212203"/>
                    <a:pt x="212203" y="270703"/>
                    <a:pt x="140303" y="270703"/>
                  </a:cubicBezTo>
                  <a:close/>
                </a:path>
              </a:pathLst>
            </a:custGeom>
            <a:solidFill>
              <a:schemeClr val="tx2"/>
            </a:solidFill>
            <a:ln w="635" cap="flat">
              <a:noFill/>
              <a:prstDash val="solid"/>
              <a:miter/>
            </a:ln>
          </p:spPr>
          <p:txBody>
            <a:bodyPr rtlCol="0" anchor="ctr"/>
            <a:lstStyle/>
            <a:p>
              <a:endParaRPr lang="en-GB" dirty="0"/>
            </a:p>
          </p:txBody>
        </p:sp>
        <p:sp>
          <p:nvSpPr>
            <p:cNvPr id="194" name="Freihandform: Form 193">
              <a:extLst>
                <a:ext uri="{FF2B5EF4-FFF2-40B4-BE49-F238E27FC236}">
                  <a16:creationId xmlns:a16="http://schemas.microsoft.com/office/drawing/2014/main" id="{F4C73F75-EA07-4453-AA74-A1699CF2ECF9}"/>
                </a:ext>
              </a:extLst>
            </p:cNvPr>
            <p:cNvSpPr/>
            <p:nvPr/>
          </p:nvSpPr>
          <p:spPr>
            <a:xfrm>
              <a:off x="1602003" y="3805901"/>
              <a:ext cx="36308" cy="115538"/>
            </a:xfrm>
            <a:custGeom>
              <a:avLst/>
              <a:gdLst>
                <a:gd name="connsiteX0" fmla="*/ 18155 w 36309"/>
                <a:gd name="connsiteY0" fmla="*/ 0 h 115538"/>
                <a:gd name="connsiteX1" fmla="*/ 0 w 36309"/>
                <a:gd name="connsiteY1" fmla="*/ 18155 h 115538"/>
                <a:gd name="connsiteX2" fmla="*/ 0 w 36309"/>
                <a:gd name="connsiteY2" fmla="*/ 97383 h 115538"/>
                <a:gd name="connsiteX3" fmla="*/ 18155 w 36309"/>
                <a:gd name="connsiteY3" fmla="*/ 115538 h 115538"/>
                <a:gd name="connsiteX4" fmla="*/ 36309 w 36309"/>
                <a:gd name="connsiteY4" fmla="*/ 97383 h 115538"/>
                <a:gd name="connsiteX5" fmla="*/ 36309 w 36309"/>
                <a:gd name="connsiteY5" fmla="*/ 18155 h 115538"/>
                <a:gd name="connsiteX6" fmla="*/ 18155 w 36309"/>
                <a:gd name="connsiteY6" fmla="*/ 0 h 115538"/>
                <a:gd name="connsiteX7" fmla="*/ 26412 w 36309"/>
                <a:gd name="connsiteY7" fmla="*/ 97383 h 115538"/>
                <a:gd name="connsiteX8" fmla="*/ 18161 w 36309"/>
                <a:gd name="connsiteY8" fmla="*/ 105634 h 115538"/>
                <a:gd name="connsiteX9" fmla="*/ 9910 w 36309"/>
                <a:gd name="connsiteY9" fmla="*/ 97383 h 115538"/>
                <a:gd name="connsiteX10" fmla="*/ 9910 w 36309"/>
                <a:gd name="connsiteY10" fmla="*/ 18155 h 115538"/>
                <a:gd name="connsiteX11" fmla="*/ 18161 w 36309"/>
                <a:gd name="connsiteY11" fmla="*/ 9904 h 115538"/>
                <a:gd name="connsiteX12" fmla="*/ 26412 w 36309"/>
                <a:gd name="connsiteY12" fmla="*/ 18155 h 115538"/>
                <a:gd name="connsiteX13" fmla="*/ 26412 w 36309"/>
                <a:gd name="connsiteY13" fmla="*/ 97383 h 11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309" h="115538">
                  <a:moveTo>
                    <a:pt x="18155" y="0"/>
                  </a:moveTo>
                  <a:cubicBezTo>
                    <a:pt x="8143" y="0"/>
                    <a:pt x="0" y="8149"/>
                    <a:pt x="0" y="18155"/>
                  </a:cubicBezTo>
                  <a:lnTo>
                    <a:pt x="0" y="97383"/>
                  </a:lnTo>
                  <a:cubicBezTo>
                    <a:pt x="0" y="107395"/>
                    <a:pt x="8143" y="115538"/>
                    <a:pt x="18155" y="115538"/>
                  </a:cubicBezTo>
                  <a:cubicBezTo>
                    <a:pt x="28166" y="115538"/>
                    <a:pt x="36309" y="107389"/>
                    <a:pt x="36309" y="97383"/>
                  </a:cubicBezTo>
                  <a:lnTo>
                    <a:pt x="36309" y="18155"/>
                  </a:lnTo>
                  <a:cubicBezTo>
                    <a:pt x="36315" y="8143"/>
                    <a:pt x="28166" y="0"/>
                    <a:pt x="18155" y="0"/>
                  </a:cubicBezTo>
                  <a:close/>
                  <a:moveTo>
                    <a:pt x="26412" y="97383"/>
                  </a:moveTo>
                  <a:cubicBezTo>
                    <a:pt x="26412" y="101935"/>
                    <a:pt x="22712" y="105634"/>
                    <a:pt x="18161" y="105634"/>
                  </a:cubicBezTo>
                  <a:cubicBezTo>
                    <a:pt x="13610" y="105634"/>
                    <a:pt x="9910" y="101935"/>
                    <a:pt x="9910" y="97383"/>
                  </a:cubicBezTo>
                  <a:lnTo>
                    <a:pt x="9910" y="18155"/>
                  </a:lnTo>
                  <a:cubicBezTo>
                    <a:pt x="9910" y="13603"/>
                    <a:pt x="13610" y="9904"/>
                    <a:pt x="18161" y="9904"/>
                  </a:cubicBezTo>
                  <a:cubicBezTo>
                    <a:pt x="22712" y="9904"/>
                    <a:pt x="26412" y="13603"/>
                    <a:pt x="26412" y="18155"/>
                  </a:cubicBezTo>
                  <a:lnTo>
                    <a:pt x="26412" y="97383"/>
                  </a:lnTo>
                  <a:close/>
                </a:path>
              </a:pathLst>
            </a:custGeom>
            <a:solidFill>
              <a:schemeClr val="accent1"/>
            </a:solidFill>
            <a:ln w="635" cap="flat">
              <a:noFill/>
              <a:prstDash val="solid"/>
              <a:miter/>
            </a:ln>
          </p:spPr>
          <p:txBody>
            <a:bodyPr rtlCol="0" anchor="ctr"/>
            <a:lstStyle/>
            <a:p>
              <a:endParaRPr lang="en-GB" dirty="0"/>
            </a:p>
          </p:txBody>
        </p:sp>
        <p:sp>
          <p:nvSpPr>
            <p:cNvPr id="195" name="Freihandform: Form 194">
              <a:extLst>
                <a:ext uri="{FF2B5EF4-FFF2-40B4-BE49-F238E27FC236}">
                  <a16:creationId xmlns:a16="http://schemas.microsoft.com/office/drawing/2014/main" id="{26ED7C06-0956-4311-A3A8-48E19FC9F0D2}"/>
                </a:ext>
              </a:extLst>
            </p:cNvPr>
            <p:cNvSpPr/>
            <p:nvPr/>
          </p:nvSpPr>
          <p:spPr>
            <a:xfrm>
              <a:off x="1658146" y="3805906"/>
              <a:ext cx="36308" cy="115538"/>
            </a:xfrm>
            <a:custGeom>
              <a:avLst/>
              <a:gdLst>
                <a:gd name="connsiteX0" fmla="*/ 18154 w 36309"/>
                <a:gd name="connsiteY0" fmla="*/ 0 h 115538"/>
                <a:gd name="connsiteX1" fmla="*/ 0 w 36309"/>
                <a:gd name="connsiteY1" fmla="*/ 18155 h 115538"/>
                <a:gd name="connsiteX2" fmla="*/ 0 w 36309"/>
                <a:gd name="connsiteY2" fmla="*/ 97383 h 115538"/>
                <a:gd name="connsiteX3" fmla="*/ 18154 w 36309"/>
                <a:gd name="connsiteY3" fmla="*/ 115538 h 115538"/>
                <a:gd name="connsiteX4" fmla="*/ 36309 w 36309"/>
                <a:gd name="connsiteY4" fmla="*/ 97383 h 115538"/>
                <a:gd name="connsiteX5" fmla="*/ 36309 w 36309"/>
                <a:gd name="connsiteY5" fmla="*/ 18155 h 115538"/>
                <a:gd name="connsiteX6" fmla="*/ 18154 w 36309"/>
                <a:gd name="connsiteY6" fmla="*/ 0 h 115538"/>
                <a:gd name="connsiteX7" fmla="*/ 26405 w 36309"/>
                <a:gd name="connsiteY7" fmla="*/ 97383 h 115538"/>
                <a:gd name="connsiteX8" fmla="*/ 18154 w 36309"/>
                <a:gd name="connsiteY8" fmla="*/ 105634 h 115538"/>
                <a:gd name="connsiteX9" fmla="*/ 9904 w 36309"/>
                <a:gd name="connsiteY9" fmla="*/ 97383 h 115538"/>
                <a:gd name="connsiteX10" fmla="*/ 9904 w 36309"/>
                <a:gd name="connsiteY10" fmla="*/ 18155 h 115538"/>
                <a:gd name="connsiteX11" fmla="*/ 18154 w 36309"/>
                <a:gd name="connsiteY11" fmla="*/ 9904 h 115538"/>
                <a:gd name="connsiteX12" fmla="*/ 26405 w 36309"/>
                <a:gd name="connsiteY12" fmla="*/ 18155 h 115538"/>
                <a:gd name="connsiteX13" fmla="*/ 26405 w 36309"/>
                <a:gd name="connsiteY13" fmla="*/ 97383 h 115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309" h="115538">
                  <a:moveTo>
                    <a:pt x="18154" y="0"/>
                  </a:moveTo>
                  <a:cubicBezTo>
                    <a:pt x="8143" y="0"/>
                    <a:pt x="0" y="8149"/>
                    <a:pt x="0" y="18155"/>
                  </a:cubicBezTo>
                  <a:lnTo>
                    <a:pt x="0" y="97383"/>
                  </a:lnTo>
                  <a:cubicBezTo>
                    <a:pt x="0" y="107395"/>
                    <a:pt x="8143" y="115538"/>
                    <a:pt x="18154" y="115538"/>
                  </a:cubicBezTo>
                  <a:cubicBezTo>
                    <a:pt x="28166" y="115538"/>
                    <a:pt x="36309" y="107389"/>
                    <a:pt x="36309" y="97383"/>
                  </a:cubicBezTo>
                  <a:lnTo>
                    <a:pt x="36309" y="18155"/>
                  </a:lnTo>
                  <a:cubicBezTo>
                    <a:pt x="36309" y="8143"/>
                    <a:pt x="28166" y="0"/>
                    <a:pt x="18154" y="0"/>
                  </a:cubicBezTo>
                  <a:close/>
                  <a:moveTo>
                    <a:pt x="26405" y="97383"/>
                  </a:moveTo>
                  <a:cubicBezTo>
                    <a:pt x="26405" y="101935"/>
                    <a:pt x="22706" y="105634"/>
                    <a:pt x="18154" y="105634"/>
                  </a:cubicBezTo>
                  <a:cubicBezTo>
                    <a:pt x="13603" y="105634"/>
                    <a:pt x="9904" y="101935"/>
                    <a:pt x="9904" y="97383"/>
                  </a:cubicBezTo>
                  <a:lnTo>
                    <a:pt x="9904" y="18155"/>
                  </a:lnTo>
                  <a:cubicBezTo>
                    <a:pt x="9904" y="13603"/>
                    <a:pt x="13603" y="9904"/>
                    <a:pt x="18154" y="9904"/>
                  </a:cubicBezTo>
                  <a:cubicBezTo>
                    <a:pt x="22706" y="9904"/>
                    <a:pt x="26405" y="13603"/>
                    <a:pt x="26405" y="18155"/>
                  </a:cubicBezTo>
                  <a:lnTo>
                    <a:pt x="26405" y="97383"/>
                  </a:lnTo>
                  <a:close/>
                </a:path>
              </a:pathLst>
            </a:custGeom>
            <a:solidFill>
              <a:schemeClr val="accent1"/>
            </a:solidFill>
            <a:ln w="635" cap="flat">
              <a:noFill/>
              <a:prstDash val="solid"/>
              <a:miter/>
            </a:ln>
          </p:spPr>
          <p:txBody>
            <a:bodyPr rtlCol="0" anchor="ctr"/>
            <a:lstStyle/>
            <a:p>
              <a:endParaRPr lang="en-GB" dirty="0"/>
            </a:p>
          </p:txBody>
        </p:sp>
      </p:grpSp>
      <p:grpSp>
        <p:nvGrpSpPr>
          <p:cNvPr id="196" name="Group 8">
            <a:extLst>
              <a:ext uri="{FF2B5EF4-FFF2-40B4-BE49-F238E27FC236}">
                <a16:creationId xmlns:a16="http://schemas.microsoft.com/office/drawing/2014/main" id="{33389D83-8AE3-4A83-AE11-7B809DEE4339}"/>
              </a:ext>
            </a:extLst>
          </p:cNvPr>
          <p:cNvGrpSpPr>
            <a:grpSpLocks noChangeAspect="1"/>
          </p:cNvGrpSpPr>
          <p:nvPr/>
        </p:nvGrpSpPr>
        <p:grpSpPr>
          <a:xfrm>
            <a:off x="1322428" y="2274288"/>
            <a:ext cx="414104" cy="324000"/>
            <a:chOff x="1445218" y="2353684"/>
            <a:chExt cx="406048" cy="317697"/>
          </a:xfrm>
        </p:grpSpPr>
        <p:grpSp>
          <p:nvGrpSpPr>
            <p:cNvPr id="197" name="Gruppieren 196">
              <a:extLst>
                <a:ext uri="{FF2B5EF4-FFF2-40B4-BE49-F238E27FC236}">
                  <a16:creationId xmlns:a16="http://schemas.microsoft.com/office/drawing/2014/main" id="{B6498B9A-BCE9-4D11-90C8-18A620224112}"/>
                </a:ext>
              </a:extLst>
            </p:cNvPr>
            <p:cNvGrpSpPr>
              <a:grpSpLocks noChangeAspect="1"/>
            </p:cNvGrpSpPr>
            <p:nvPr/>
          </p:nvGrpSpPr>
          <p:grpSpPr>
            <a:xfrm>
              <a:off x="1445218" y="2353684"/>
              <a:ext cx="406048" cy="317697"/>
              <a:chOff x="1445218" y="2353685"/>
              <a:chExt cx="406048" cy="317697"/>
            </a:xfrm>
          </p:grpSpPr>
          <p:sp>
            <p:nvSpPr>
              <p:cNvPr id="204" name="Freihandform: Form 203">
                <a:extLst>
                  <a:ext uri="{FF2B5EF4-FFF2-40B4-BE49-F238E27FC236}">
                    <a16:creationId xmlns:a16="http://schemas.microsoft.com/office/drawing/2014/main" id="{4277D127-E801-4B81-B263-58945B3E65B6}"/>
                  </a:ext>
                </a:extLst>
              </p:cNvPr>
              <p:cNvSpPr/>
              <p:nvPr/>
            </p:nvSpPr>
            <p:spPr>
              <a:xfrm>
                <a:off x="1445218" y="2353685"/>
                <a:ext cx="406048" cy="317697"/>
              </a:xfrm>
              <a:custGeom>
                <a:avLst/>
                <a:gdLst>
                  <a:gd name="connsiteX0" fmla="*/ 309797 w 406048"/>
                  <a:gd name="connsiteY0" fmla="*/ 129535 h 317697"/>
                  <a:gd name="connsiteX1" fmla="*/ 207792 w 406048"/>
                  <a:gd name="connsiteY1" fmla="*/ 129535 h 317697"/>
                  <a:gd name="connsiteX2" fmla="*/ 207792 w 406048"/>
                  <a:gd name="connsiteY2" fmla="*/ 102323 h 317697"/>
                  <a:gd name="connsiteX3" fmla="*/ 211148 w 406048"/>
                  <a:gd name="connsiteY3" fmla="*/ 94224 h 317697"/>
                  <a:gd name="connsiteX4" fmla="*/ 219246 w 406048"/>
                  <a:gd name="connsiteY4" fmla="*/ 90874 h 317697"/>
                  <a:gd name="connsiteX5" fmla="*/ 284529 w 406048"/>
                  <a:gd name="connsiteY5" fmla="*/ 90874 h 317697"/>
                  <a:gd name="connsiteX6" fmla="*/ 299632 w 406048"/>
                  <a:gd name="connsiteY6" fmla="*/ 84619 h 317697"/>
                  <a:gd name="connsiteX7" fmla="*/ 305887 w 406048"/>
                  <a:gd name="connsiteY7" fmla="*/ 69516 h 317697"/>
                  <a:gd name="connsiteX8" fmla="*/ 305887 w 406048"/>
                  <a:gd name="connsiteY8" fmla="*/ 60496 h 317697"/>
                  <a:gd name="connsiteX9" fmla="*/ 299632 w 406048"/>
                  <a:gd name="connsiteY9" fmla="*/ 45399 h 317697"/>
                  <a:gd name="connsiteX10" fmla="*/ 284529 w 406048"/>
                  <a:gd name="connsiteY10" fmla="*/ 39144 h 317697"/>
                  <a:gd name="connsiteX11" fmla="*/ 222018 w 406048"/>
                  <a:gd name="connsiteY11" fmla="*/ 39144 h 317697"/>
                  <a:gd name="connsiteX12" fmla="*/ 212095 w 406048"/>
                  <a:gd name="connsiteY12" fmla="*/ 35038 h 317697"/>
                  <a:gd name="connsiteX13" fmla="*/ 207989 w 406048"/>
                  <a:gd name="connsiteY13" fmla="*/ 25109 h 317697"/>
                  <a:gd name="connsiteX14" fmla="*/ 207989 w 406048"/>
                  <a:gd name="connsiteY14" fmla="*/ 0 h 317697"/>
                  <a:gd name="connsiteX15" fmla="*/ 198085 w 406048"/>
                  <a:gd name="connsiteY15" fmla="*/ 0 h 317697"/>
                  <a:gd name="connsiteX16" fmla="*/ 198085 w 406048"/>
                  <a:gd name="connsiteY16" fmla="*/ 25109 h 317697"/>
                  <a:gd name="connsiteX17" fmla="*/ 205096 w 406048"/>
                  <a:gd name="connsiteY17" fmla="*/ 42036 h 317697"/>
                  <a:gd name="connsiteX18" fmla="*/ 222018 w 406048"/>
                  <a:gd name="connsiteY18" fmla="*/ 49041 h 317697"/>
                  <a:gd name="connsiteX19" fmla="*/ 284529 w 406048"/>
                  <a:gd name="connsiteY19" fmla="*/ 49041 h 317697"/>
                  <a:gd name="connsiteX20" fmla="*/ 292627 w 406048"/>
                  <a:gd name="connsiteY20" fmla="*/ 52398 h 317697"/>
                  <a:gd name="connsiteX21" fmla="*/ 295977 w 406048"/>
                  <a:gd name="connsiteY21" fmla="*/ 60496 h 317697"/>
                  <a:gd name="connsiteX22" fmla="*/ 295977 w 406048"/>
                  <a:gd name="connsiteY22" fmla="*/ 69516 h 317697"/>
                  <a:gd name="connsiteX23" fmla="*/ 292621 w 406048"/>
                  <a:gd name="connsiteY23" fmla="*/ 77614 h 317697"/>
                  <a:gd name="connsiteX24" fmla="*/ 284523 w 406048"/>
                  <a:gd name="connsiteY24" fmla="*/ 80964 h 317697"/>
                  <a:gd name="connsiteX25" fmla="*/ 219240 w 406048"/>
                  <a:gd name="connsiteY25" fmla="*/ 80964 h 317697"/>
                  <a:gd name="connsiteX26" fmla="*/ 204143 w 406048"/>
                  <a:gd name="connsiteY26" fmla="*/ 87219 h 317697"/>
                  <a:gd name="connsiteX27" fmla="*/ 197888 w 406048"/>
                  <a:gd name="connsiteY27" fmla="*/ 102316 h 317697"/>
                  <a:gd name="connsiteX28" fmla="*/ 197888 w 406048"/>
                  <a:gd name="connsiteY28" fmla="*/ 129529 h 317697"/>
                  <a:gd name="connsiteX29" fmla="*/ 96246 w 406048"/>
                  <a:gd name="connsiteY29" fmla="*/ 129529 h 317697"/>
                  <a:gd name="connsiteX30" fmla="*/ 0 w 406048"/>
                  <a:gd name="connsiteY30" fmla="*/ 223613 h 317697"/>
                  <a:gd name="connsiteX31" fmla="*/ 96246 w 406048"/>
                  <a:gd name="connsiteY31" fmla="*/ 317698 h 317697"/>
                  <a:gd name="connsiteX32" fmla="*/ 180223 w 406048"/>
                  <a:gd name="connsiteY32" fmla="*/ 269565 h 317697"/>
                  <a:gd name="connsiteX33" fmla="*/ 225819 w 406048"/>
                  <a:gd name="connsiteY33" fmla="*/ 269565 h 317697"/>
                  <a:gd name="connsiteX34" fmla="*/ 309797 w 406048"/>
                  <a:gd name="connsiteY34" fmla="*/ 317698 h 317697"/>
                  <a:gd name="connsiteX35" fmla="*/ 406048 w 406048"/>
                  <a:gd name="connsiteY35" fmla="*/ 223613 h 317697"/>
                  <a:gd name="connsiteX36" fmla="*/ 309797 w 406048"/>
                  <a:gd name="connsiteY36" fmla="*/ 129535 h 317697"/>
                  <a:gd name="connsiteX37" fmla="*/ 309797 w 406048"/>
                  <a:gd name="connsiteY37" fmla="*/ 307801 h 317697"/>
                  <a:gd name="connsiteX38" fmla="*/ 233110 w 406048"/>
                  <a:gd name="connsiteY38" fmla="*/ 262293 h 317697"/>
                  <a:gd name="connsiteX39" fmla="*/ 231712 w 406048"/>
                  <a:gd name="connsiteY39" fmla="*/ 259668 h 317697"/>
                  <a:gd name="connsiteX40" fmla="*/ 174324 w 406048"/>
                  <a:gd name="connsiteY40" fmla="*/ 259668 h 317697"/>
                  <a:gd name="connsiteX41" fmla="*/ 172926 w 406048"/>
                  <a:gd name="connsiteY41" fmla="*/ 262293 h 317697"/>
                  <a:gd name="connsiteX42" fmla="*/ 96239 w 406048"/>
                  <a:gd name="connsiteY42" fmla="*/ 307801 h 317697"/>
                  <a:gd name="connsiteX43" fmla="*/ 9897 w 406048"/>
                  <a:gd name="connsiteY43" fmla="*/ 223620 h 317697"/>
                  <a:gd name="connsiteX44" fmla="*/ 96239 w 406048"/>
                  <a:gd name="connsiteY44" fmla="*/ 139439 h 317697"/>
                  <a:gd name="connsiteX45" fmla="*/ 309790 w 406048"/>
                  <a:gd name="connsiteY45" fmla="*/ 139439 h 317697"/>
                  <a:gd name="connsiteX46" fmla="*/ 396139 w 406048"/>
                  <a:gd name="connsiteY46" fmla="*/ 223620 h 317697"/>
                  <a:gd name="connsiteX47" fmla="*/ 309797 w 406048"/>
                  <a:gd name="connsiteY47" fmla="*/ 307801 h 317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06048" h="317697">
                    <a:moveTo>
                      <a:pt x="309797" y="129535"/>
                    </a:moveTo>
                    <a:lnTo>
                      <a:pt x="207792" y="129535"/>
                    </a:lnTo>
                    <a:lnTo>
                      <a:pt x="207792" y="102323"/>
                    </a:lnTo>
                    <a:cubicBezTo>
                      <a:pt x="207792" y="99265"/>
                      <a:pt x="208980" y="96392"/>
                      <a:pt x="211148" y="94224"/>
                    </a:cubicBezTo>
                    <a:cubicBezTo>
                      <a:pt x="213309" y="92063"/>
                      <a:pt x="216182" y="90874"/>
                      <a:pt x="219246" y="90874"/>
                    </a:cubicBezTo>
                    <a:lnTo>
                      <a:pt x="284529" y="90874"/>
                    </a:lnTo>
                    <a:cubicBezTo>
                      <a:pt x="290237" y="90874"/>
                      <a:pt x="295602" y="88656"/>
                      <a:pt x="299632" y="84619"/>
                    </a:cubicBezTo>
                    <a:cubicBezTo>
                      <a:pt x="303662" y="80589"/>
                      <a:pt x="305887" y="75224"/>
                      <a:pt x="305887" y="69516"/>
                    </a:cubicBezTo>
                    <a:lnTo>
                      <a:pt x="305887" y="60496"/>
                    </a:lnTo>
                    <a:cubicBezTo>
                      <a:pt x="305887" y="54788"/>
                      <a:pt x="303669" y="49429"/>
                      <a:pt x="299632" y="45399"/>
                    </a:cubicBezTo>
                    <a:cubicBezTo>
                      <a:pt x="295602" y="41363"/>
                      <a:pt x="290237" y="39144"/>
                      <a:pt x="284529" y="39144"/>
                    </a:cubicBezTo>
                    <a:lnTo>
                      <a:pt x="222018" y="39144"/>
                    </a:lnTo>
                    <a:cubicBezTo>
                      <a:pt x="218274" y="39144"/>
                      <a:pt x="214746" y="37688"/>
                      <a:pt x="212095" y="35038"/>
                    </a:cubicBezTo>
                    <a:cubicBezTo>
                      <a:pt x="209444" y="32381"/>
                      <a:pt x="207989" y="28859"/>
                      <a:pt x="207989" y="25109"/>
                    </a:cubicBezTo>
                    <a:lnTo>
                      <a:pt x="207989" y="0"/>
                    </a:lnTo>
                    <a:lnTo>
                      <a:pt x="198085" y="0"/>
                    </a:lnTo>
                    <a:lnTo>
                      <a:pt x="198085" y="25109"/>
                    </a:lnTo>
                    <a:cubicBezTo>
                      <a:pt x="198085" y="31497"/>
                      <a:pt x="200571" y="37510"/>
                      <a:pt x="205096" y="42036"/>
                    </a:cubicBezTo>
                    <a:cubicBezTo>
                      <a:pt x="209622" y="46556"/>
                      <a:pt x="215629" y="49041"/>
                      <a:pt x="222018" y="49041"/>
                    </a:cubicBezTo>
                    <a:lnTo>
                      <a:pt x="284529" y="49041"/>
                    </a:lnTo>
                    <a:cubicBezTo>
                      <a:pt x="287586" y="49041"/>
                      <a:pt x="290466" y="50230"/>
                      <a:pt x="292627" y="52398"/>
                    </a:cubicBezTo>
                    <a:cubicBezTo>
                      <a:pt x="294788" y="54559"/>
                      <a:pt x="295977" y="57432"/>
                      <a:pt x="295977" y="60496"/>
                    </a:cubicBezTo>
                    <a:lnTo>
                      <a:pt x="295977" y="69516"/>
                    </a:lnTo>
                    <a:cubicBezTo>
                      <a:pt x="295977" y="72574"/>
                      <a:pt x="294788" y="75453"/>
                      <a:pt x="292621" y="77614"/>
                    </a:cubicBezTo>
                    <a:cubicBezTo>
                      <a:pt x="290460" y="79776"/>
                      <a:pt x="287586" y="80964"/>
                      <a:pt x="284523" y="80964"/>
                    </a:cubicBezTo>
                    <a:lnTo>
                      <a:pt x="219240" y="80964"/>
                    </a:lnTo>
                    <a:cubicBezTo>
                      <a:pt x="213538" y="80964"/>
                      <a:pt x="208173" y="83183"/>
                      <a:pt x="204143" y="87219"/>
                    </a:cubicBezTo>
                    <a:cubicBezTo>
                      <a:pt x="200107" y="91249"/>
                      <a:pt x="197888" y="96614"/>
                      <a:pt x="197888" y="102316"/>
                    </a:cubicBezTo>
                    <a:lnTo>
                      <a:pt x="197888" y="129529"/>
                    </a:lnTo>
                    <a:lnTo>
                      <a:pt x="96246" y="129529"/>
                    </a:lnTo>
                    <a:cubicBezTo>
                      <a:pt x="43174" y="129529"/>
                      <a:pt x="0" y="171737"/>
                      <a:pt x="0" y="223613"/>
                    </a:cubicBezTo>
                    <a:cubicBezTo>
                      <a:pt x="0" y="275490"/>
                      <a:pt x="43174" y="317698"/>
                      <a:pt x="96246" y="317698"/>
                    </a:cubicBezTo>
                    <a:cubicBezTo>
                      <a:pt x="131271" y="317698"/>
                      <a:pt x="163168" y="299333"/>
                      <a:pt x="180223" y="269565"/>
                    </a:cubicBezTo>
                    <a:lnTo>
                      <a:pt x="225819" y="269565"/>
                    </a:lnTo>
                    <a:cubicBezTo>
                      <a:pt x="242874" y="299333"/>
                      <a:pt x="274771" y="317698"/>
                      <a:pt x="309797" y="317698"/>
                    </a:cubicBezTo>
                    <a:cubicBezTo>
                      <a:pt x="362868" y="317698"/>
                      <a:pt x="406048" y="275496"/>
                      <a:pt x="406048" y="223613"/>
                    </a:cubicBezTo>
                    <a:cubicBezTo>
                      <a:pt x="406048" y="171743"/>
                      <a:pt x="362868" y="129535"/>
                      <a:pt x="309797" y="129535"/>
                    </a:cubicBezTo>
                    <a:close/>
                    <a:moveTo>
                      <a:pt x="309797" y="307801"/>
                    </a:moveTo>
                    <a:cubicBezTo>
                      <a:pt x="277422" y="307801"/>
                      <a:pt x="248036" y="290364"/>
                      <a:pt x="233110" y="262293"/>
                    </a:cubicBezTo>
                    <a:lnTo>
                      <a:pt x="231712" y="259668"/>
                    </a:lnTo>
                    <a:lnTo>
                      <a:pt x="174324" y="259668"/>
                    </a:lnTo>
                    <a:lnTo>
                      <a:pt x="172926" y="262293"/>
                    </a:lnTo>
                    <a:cubicBezTo>
                      <a:pt x="157994" y="290364"/>
                      <a:pt x="128614" y="307801"/>
                      <a:pt x="96239" y="307801"/>
                    </a:cubicBezTo>
                    <a:cubicBezTo>
                      <a:pt x="48628" y="307801"/>
                      <a:pt x="9897" y="270036"/>
                      <a:pt x="9897" y="223620"/>
                    </a:cubicBezTo>
                    <a:cubicBezTo>
                      <a:pt x="9897" y="177204"/>
                      <a:pt x="48635" y="139439"/>
                      <a:pt x="96239" y="139439"/>
                    </a:cubicBezTo>
                    <a:lnTo>
                      <a:pt x="309790" y="139439"/>
                    </a:lnTo>
                    <a:cubicBezTo>
                      <a:pt x="357401" y="139439"/>
                      <a:pt x="396139" y="177204"/>
                      <a:pt x="396139" y="223620"/>
                    </a:cubicBezTo>
                    <a:cubicBezTo>
                      <a:pt x="396145" y="270042"/>
                      <a:pt x="357408" y="307801"/>
                      <a:pt x="309797" y="307801"/>
                    </a:cubicBezTo>
                    <a:close/>
                  </a:path>
                </a:pathLst>
              </a:custGeom>
              <a:solidFill>
                <a:schemeClr val="tx2"/>
              </a:solidFill>
              <a:ln w="635" cap="flat">
                <a:noFill/>
                <a:prstDash val="solid"/>
                <a:miter/>
              </a:ln>
            </p:spPr>
            <p:txBody>
              <a:bodyPr rtlCol="0" anchor="ctr"/>
              <a:lstStyle/>
              <a:p>
                <a:endParaRPr lang="en-GB" dirty="0"/>
              </a:p>
            </p:txBody>
          </p:sp>
          <p:sp>
            <p:nvSpPr>
              <p:cNvPr id="205" name="Freihandform: Form 204">
                <a:extLst>
                  <a:ext uri="{FF2B5EF4-FFF2-40B4-BE49-F238E27FC236}">
                    <a16:creationId xmlns:a16="http://schemas.microsoft.com/office/drawing/2014/main" id="{68BEBC1D-5396-42F9-9A6C-A662F27E84DA}"/>
                  </a:ext>
                </a:extLst>
              </p:cNvPr>
              <p:cNvSpPr/>
              <p:nvPr/>
            </p:nvSpPr>
            <p:spPr>
              <a:xfrm>
                <a:off x="1620362" y="2581417"/>
                <a:ext cx="19387" cy="9903"/>
              </a:xfrm>
              <a:custGeom>
                <a:avLst/>
                <a:gdLst>
                  <a:gd name="connsiteX0" fmla="*/ 0 w 19387"/>
                  <a:gd name="connsiteY0" fmla="*/ 0 h 9903"/>
                  <a:gd name="connsiteX1" fmla="*/ 19388 w 19387"/>
                  <a:gd name="connsiteY1" fmla="*/ 0 h 9903"/>
                  <a:gd name="connsiteX2" fmla="*/ 19388 w 19387"/>
                  <a:gd name="connsiteY2" fmla="*/ 9904 h 9903"/>
                  <a:gd name="connsiteX3" fmla="*/ 0 w 19387"/>
                  <a:gd name="connsiteY3" fmla="*/ 9904 h 9903"/>
                </a:gdLst>
                <a:ahLst/>
                <a:cxnLst>
                  <a:cxn ang="0">
                    <a:pos x="connsiteX0" y="connsiteY0"/>
                  </a:cxn>
                  <a:cxn ang="0">
                    <a:pos x="connsiteX1" y="connsiteY1"/>
                  </a:cxn>
                  <a:cxn ang="0">
                    <a:pos x="connsiteX2" y="connsiteY2"/>
                  </a:cxn>
                  <a:cxn ang="0">
                    <a:pos x="connsiteX3" y="connsiteY3"/>
                  </a:cxn>
                </a:cxnLst>
                <a:rect l="l" t="t" r="r" b="b"/>
                <a:pathLst>
                  <a:path w="19387" h="9903">
                    <a:moveTo>
                      <a:pt x="0" y="0"/>
                    </a:moveTo>
                    <a:lnTo>
                      <a:pt x="19388" y="0"/>
                    </a:lnTo>
                    <a:lnTo>
                      <a:pt x="19388" y="9904"/>
                    </a:lnTo>
                    <a:lnTo>
                      <a:pt x="0" y="9904"/>
                    </a:lnTo>
                    <a:close/>
                  </a:path>
                </a:pathLst>
              </a:custGeom>
              <a:solidFill>
                <a:schemeClr val="tx2"/>
              </a:solidFill>
              <a:ln w="635" cap="flat">
                <a:noFill/>
                <a:prstDash val="solid"/>
                <a:miter/>
              </a:ln>
            </p:spPr>
            <p:txBody>
              <a:bodyPr rtlCol="0" anchor="ctr"/>
              <a:lstStyle/>
              <a:p>
                <a:endParaRPr lang="en-GB" dirty="0"/>
              </a:p>
            </p:txBody>
          </p:sp>
          <p:sp>
            <p:nvSpPr>
              <p:cNvPr id="206" name="Freihandform: Form 205">
                <a:extLst>
                  <a:ext uri="{FF2B5EF4-FFF2-40B4-BE49-F238E27FC236}">
                    <a16:creationId xmlns:a16="http://schemas.microsoft.com/office/drawing/2014/main" id="{0C27672B-C2C2-4021-9059-DACA3B630A84}"/>
                  </a:ext>
                </a:extLst>
              </p:cNvPr>
              <p:cNvSpPr/>
              <p:nvPr/>
            </p:nvSpPr>
            <p:spPr>
              <a:xfrm>
                <a:off x="1658197" y="2581417"/>
                <a:ext cx="19387" cy="9903"/>
              </a:xfrm>
              <a:custGeom>
                <a:avLst/>
                <a:gdLst>
                  <a:gd name="connsiteX0" fmla="*/ 0 w 19387"/>
                  <a:gd name="connsiteY0" fmla="*/ 0 h 9903"/>
                  <a:gd name="connsiteX1" fmla="*/ 19388 w 19387"/>
                  <a:gd name="connsiteY1" fmla="*/ 0 h 9903"/>
                  <a:gd name="connsiteX2" fmla="*/ 19388 w 19387"/>
                  <a:gd name="connsiteY2" fmla="*/ 9904 h 9903"/>
                  <a:gd name="connsiteX3" fmla="*/ 0 w 19387"/>
                  <a:gd name="connsiteY3" fmla="*/ 9904 h 9903"/>
                </a:gdLst>
                <a:ahLst/>
                <a:cxnLst>
                  <a:cxn ang="0">
                    <a:pos x="connsiteX0" y="connsiteY0"/>
                  </a:cxn>
                  <a:cxn ang="0">
                    <a:pos x="connsiteX1" y="connsiteY1"/>
                  </a:cxn>
                  <a:cxn ang="0">
                    <a:pos x="connsiteX2" y="connsiteY2"/>
                  </a:cxn>
                  <a:cxn ang="0">
                    <a:pos x="connsiteX3" y="connsiteY3"/>
                  </a:cxn>
                </a:cxnLst>
                <a:rect l="l" t="t" r="r" b="b"/>
                <a:pathLst>
                  <a:path w="19387" h="9903">
                    <a:moveTo>
                      <a:pt x="0" y="0"/>
                    </a:moveTo>
                    <a:lnTo>
                      <a:pt x="19388" y="0"/>
                    </a:lnTo>
                    <a:lnTo>
                      <a:pt x="19388" y="9904"/>
                    </a:lnTo>
                    <a:lnTo>
                      <a:pt x="0" y="9904"/>
                    </a:lnTo>
                    <a:close/>
                  </a:path>
                </a:pathLst>
              </a:custGeom>
              <a:solidFill>
                <a:schemeClr val="tx2"/>
              </a:solidFill>
              <a:ln w="635" cap="flat">
                <a:noFill/>
                <a:prstDash val="solid"/>
                <a:miter/>
              </a:ln>
            </p:spPr>
            <p:txBody>
              <a:bodyPr rtlCol="0" anchor="ctr"/>
              <a:lstStyle/>
              <a:p>
                <a:endParaRPr lang="en-GB" dirty="0"/>
              </a:p>
            </p:txBody>
          </p:sp>
        </p:grpSp>
        <p:grpSp>
          <p:nvGrpSpPr>
            <p:cNvPr id="198" name="Gruppieren 197">
              <a:extLst>
                <a:ext uri="{FF2B5EF4-FFF2-40B4-BE49-F238E27FC236}">
                  <a16:creationId xmlns:a16="http://schemas.microsoft.com/office/drawing/2014/main" id="{4CF11906-1EE4-441D-B510-5FA71E88030E}"/>
                </a:ext>
              </a:extLst>
            </p:cNvPr>
            <p:cNvGrpSpPr>
              <a:grpSpLocks noChangeAspect="1"/>
            </p:cNvGrpSpPr>
            <p:nvPr/>
          </p:nvGrpSpPr>
          <p:grpSpPr>
            <a:xfrm>
              <a:off x="1490204" y="2523635"/>
              <a:ext cx="321568" cy="104636"/>
              <a:chOff x="1490204" y="2523635"/>
              <a:chExt cx="321568" cy="104636"/>
            </a:xfrm>
          </p:grpSpPr>
          <p:sp>
            <p:nvSpPr>
              <p:cNvPr id="199" name="Freihandform: Form 198">
                <a:extLst>
                  <a:ext uri="{FF2B5EF4-FFF2-40B4-BE49-F238E27FC236}">
                    <a16:creationId xmlns:a16="http://schemas.microsoft.com/office/drawing/2014/main" id="{D3292122-5CE5-446A-BC08-EF779F854546}"/>
                  </a:ext>
                </a:extLst>
              </p:cNvPr>
              <p:cNvSpPr/>
              <p:nvPr/>
            </p:nvSpPr>
            <p:spPr>
              <a:xfrm>
                <a:off x="1742149" y="2523635"/>
                <a:ext cx="32329" cy="31795"/>
              </a:xfrm>
              <a:custGeom>
                <a:avLst/>
                <a:gdLst>
                  <a:gd name="connsiteX0" fmla="*/ 16158 w 32329"/>
                  <a:gd name="connsiteY0" fmla="*/ 0 h 31795"/>
                  <a:gd name="connsiteX1" fmla="*/ 4774 w 32329"/>
                  <a:gd name="connsiteY1" fmla="*/ 4615 h 31795"/>
                  <a:gd name="connsiteX2" fmla="*/ 0 w 32329"/>
                  <a:gd name="connsiteY2" fmla="*/ 15898 h 31795"/>
                  <a:gd name="connsiteX3" fmla="*/ 4774 w 32329"/>
                  <a:gd name="connsiteY3" fmla="*/ 27181 h 31795"/>
                  <a:gd name="connsiteX4" fmla="*/ 16165 w 32329"/>
                  <a:gd name="connsiteY4" fmla="*/ 31796 h 31795"/>
                  <a:gd name="connsiteX5" fmla="*/ 27550 w 32329"/>
                  <a:gd name="connsiteY5" fmla="*/ 27181 h 31795"/>
                  <a:gd name="connsiteX6" fmla="*/ 32330 w 32329"/>
                  <a:gd name="connsiteY6" fmla="*/ 15898 h 31795"/>
                  <a:gd name="connsiteX7" fmla="*/ 27556 w 32329"/>
                  <a:gd name="connsiteY7" fmla="*/ 4615 h 31795"/>
                  <a:gd name="connsiteX8" fmla="*/ 16158 w 32329"/>
                  <a:gd name="connsiteY8" fmla="*/ 0 h 31795"/>
                  <a:gd name="connsiteX9" fmla="*/ 20621 w 32329"/>
                  <a:gd name="connsiteY9" fmla="*/ 20093 h 31795"/>
                  <a:gd name="connsiteX10" fmla="*/ 11683 w 32329"/>
                  <a:gd name="connsiteY10" fmla="*/ 20087 h 31795"/>
                  <a:gd name="connsiteX11" fmla="*/ 9897 w 32329"/>
                  <a:gd name="connsiteY11" fmla="*/ 15892 h 31795"/>
                  <a:gd name="connsiteX12" fmla="*/ 11690 w 32329"/>
                  <a:gd name="connsiteY12" fmla="*/ 11696 h 31795"/>
                  <a:gd name="connsiteX13" fmla="*/ 16158 w 32329"/>
                  <a:gd name="connsiteY13" fmla="*/ 9897 h 31795"/>
                  <a:gd name="connsiteX14" fmla="*/ 20627 w 32329"/>
                  <a:gd name="connsiteY14" fmla="*/ 11696 h 31795"/>
                  <a:gd name="connsiteX15" fmla="*/ 22420 w 32329"/>
                  <a:gd name="connsiteY15" fmla="*/ 15892 h 31795"/>
                  <a:gd name="connsiteX16" fmla="*/ 20621 w 32329"/>
                  <a:gd name="connsiteY16" fmla="*/ 20093 h 31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329" h="31795">
                    <a:moveTo>
                      <a:pt x="16158" y="0"/>
                    </a:moveTo>
                    <a:cubicBezTo>
                      <a:pt x="11861" y="0"/>
                      <a:pt x="7819" y="1640"/>
                      <a:pt x="4774" y="4615"/>
                    </a:cubicBezTo>
                    <a:cubicBezTo>
                      <a:pt x="1691" y="7622"/>
                      <a:pt x="0" y="11626"/>
                      <a:pt x="0" y="15898"/>
                    </a:cubicBezTo>
                    <a:cubicBezTo>
                      <a:pt x="0" y="20170"/>
                      <a:pt x="1697" y="24174"/>
                      <a:pt x="4774" y="27181"/>
                    </a:cubicBezTo>
                    <a:cubicBezTo>
                      <a:pt x="7825" y="30156"/>
                      <a:pt x="11868" y="31796"/>
                      <a:pt x="16165" y="31796"/>
                    </a:cubicBezTo>
                    <a:cubicBezTo>
                      <a:pt x="20462" y="31796"/>
                      <a:pt x="24505" y="30156"/>
                      <a:pt x="27550" y="27181"/>
                    </a:cubicBezTo>
                    <a:cubicBezTo>
                      <a:pt x="30633" y="24174"/>
                      <a:pt x="32330" y="20170"/>
                      <a:pt x="32330" y="15898"/>
                    </a:cubicBezTo>
                    <a:cubicBezTo>
                      <a:pt x="32330" y="11626"/>
                      <a:pt x="30633" y="7622"/>
                      <a:pt x="27556" y="4615"/>
                    </a:cubicBezTo>
                    <a:cubicBezTo>
                      <a:pt x="24498" y="1640"/>
                      <a:pt x="20449" y="0"/>
                      <a:pt x="16158" y="0"/>
                    </a:cubicBezTo>
                    <a:close/>
                    <a:moveTo>
                      <a:pt x="20621" y="20093"/>
                    </a:moveTo>
                    <a:cubicBezTo>
                      <a:pt x="18250" y="22407"/>
                      <a:pt x="14067" y="22413"/>
                      <a:pt x="11683" y="20087"/>
                    </a:cubicBezTo>
                    <a:cubicBezTo>
                      <a:pt x="10527" y="18962"/>
                      <a:pt x="9897" y="17474"/>
                      <a:pt x="9897" y="15892"/>
                    </a:cubicBezTo>
                    <a:cubicBezTo>
                      <a:pt x="9897" y="14309"/>
                      <a:pt x="10533" y="12821"/>
                      <a:pt x="11690" y="11696"/>
                    </a:cubicBezTo>
                    <a:cubicBezTo>
                      <a:pt x="12878" y="10539"/>
                      <a:pt x="14461" y="9897"/>
                      <a:pt x="16158" y="9897"/>
                    </a:cubicBezTo>
                    <a:cubicBezTo>
                      <a:pt x="17849" y="9897"/>
                      <a:pt x="19439" y="10533"/>
                      <a:pt x="20627" y="11696"/>
                    </a:cubicBezTo>
                    <a:cubicBezTo>
                      <a:pt x="21784" y="12821"/>
                      <a:pt x="22420" y="14315"/>
                      <a:pt x="22420" y="15892"/>
                    </a:cubicBezTo>
                    <a:cubicBezTo>
                      <a:pt x="22413" y="17474"/>
                      <a:pt x="21778" y="18968"/>
                      <a:pt x="20621" y="20093"/>
                    </a:cubicBezTo>
                    <a:close/>
                  </a:path>
                </a:pathLst>
              </a:custGeom>
              <a:solidFill>
                <a:schemeClr val="accent1"/>
              </a:solidFill>
              <a:ln w="635" cap="flat">
                <a:noFill/>
                <a:prstDash val="solid"/>
                <a:miter/>
              </a:ln>
            </p:spPr>
            <p:txBody>
              <a:bodyPr rtlCol="0" anchor="ctr"/>
              <a:lstStyle/>
              <a:p>
                <a:endParaRPr lang="en-GB" dirty="0"/>
              </a:p>
            </p:txBody>
          </p:sp>
          <p:sp>
            <p:nvSpPr>
              <p:cNvPr id="200" name="Freihandform: Form 199">
                <a:extLst>
                  <a:ext uri="{FF2B5EF4-FFF2-40B4-BE49-F238E27FC236}">
                    <a16:creationId xmlns:a16="http://schemas.microsoft.com/office/drawing/2014/main" id="{6B5C0DAE-D657-475B-9899-CF516BA4BF4B}"/>
                  </a:ext>
                </a:extLst>
              </p:cNvPr>
              <p:cNvSpPr/>
              <p:nvPr/>
            </p:nvSpPr>
            <p:spPr>
              <a:xfrm>
                <a:off x="1704836" y="2560052"/>
                <a:ext cx="32323" cy="31795"/>
              </a:xfrm>
              <a:custGeom>
                <a:avLst/>
                <a:gdLst>
                  <a:gd name="connsiteX0" fmla="*/ 16165 w 32323"/>
                  <a:gd name="connsiteY0" fmla="*/ 0 h 31795"/>
                  <a:gd name="connsiteX1" fmla="*/ 4774 w 32323"/>
                  <a:gd name="connsiteY1" fmla="*/ 4615 h 31795"/>
                  <a:gd name="connsiteX2" fmla="*/ 0 w 32323"/>
                  <a:gd name="connsiteY2" fmla="*/ 15898 h 31795"/>
                  <a:gd name="connsiteX3" fmla="*/ 4774 w 32323"/>
                  <a:gd name="connsiteY3" fmla="*/ 27181 h 31795"/>
                  <a:gd name="connsiteX4" fmla="*/ 16165 w 32323"/>
                  <a:gd name="connsiteY4" fmla="*/ 31796 h 31795"/>
                  <a:gd name="connsiteX5" fmla="*/ 27550 w 32323"/>
                  <a:gd name="connsiteY5" fmla="*/ 27181 h 31795"/>
                  <a:gd name="connsiteX6" fmla="*/ 32323 w 32323"/>
                  <a:gd name="connsiteY6" fmla="*/ 15898 h 31795"/>
                  <a:gd name="connsiteX7" fmla="*/ 27550 w 32323"/>
                  <a:gd name="connsiteY7" fmla="*/ 4609 h 31795"/>
                  <a:gd name="connsiteX8" fmla="*/ 16165 w 32323"/>
                  <a:gd name="connsiteY8" fmla="*/ 0 h 31795"/>
                  <a:gd name="connsiteX9" fmla="*/ 20634 w 32323"/>
                  <a:gd name="connsiteY9" fmla="*/ 20100 h 31795"/>
                  <a:gd name="connsiteX10" fmla="*/ 11696 w 32323"/>
                  <a:gd name="connsiteY10" fmla="*/ 20093 h 31795"/>
                  <a:gd name="connsiteX11" fmla="*/ 9910 w 32323"/>
                  <a:gd name="connsiteY11" fmla="*/ 15898 h 31795"/>
                  <a:gd name="connsiteX12" fmla="*/ 11696 w 32323"/>
                  <a:gd name="connsiteY12" fmla="*/ 11703 h 31795"/>
                  <a:gd name="connsiteX13" fmla="*/ 16171 w 32323"/>
                  <a:gd name="connsiteY13" fmla="*/ 9904 h 31795"/>
                  <a:gd name="connsiteX14" fmla="*/ 20634 w 32323"/>
                  <a:gd name="connsiteY14" fmla="*/ 11696 h 31795"/>
                  <a:gd name="connsiteX15" fmla="*/ 22426 w 32323"/>
                  <a:gd name="connsiteY15" fmla="*/ 15898 h 31795"/>
                  <a:gd name="connsiteX16" fmla="*/ 20634 w 32323"/>
                  <a:gd name="connsiteY16" fmla="*/ 20100 h 31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323" h="31795">
                    <a:moveTo>
                      <a:pt x="16165" y="0"/>
                    </a:moveTo>
                    <a:cubicBezTo>
                      <a:pt x="11868" y="0"/>
                      <a:pt x="7825" y="1640"/>
                      <a:pt x="4774" y="4615"/>
                    </a:cubicBezTo>
                    <a:cubicBezTo>
                      <a:pt x="1697" y="7622"/>
                      <a:pt x="0" y="11626"/>
                      <a:pt x="0" y="15898"/>
                    </a:cubicBezTo>
                    <a:cubicBezTo>
                      <a:pt x="0" y="20170"/>
                      <a:pt x="1697" y="24174"/>
                      <a:pt x="4774" y="27181"/>
                    </a:cubicBezTo>
                    <a:cubicBezTo>
                      <a:pt x="7825" y="30156"/>
                      <a:pt x="11874" y="31796"/>
                      <a:pt x="16165" y="31796"/>
                    </a:cubicBezTo>
                    <a:cubicBezTo>
                      <a:pt x="20462" y="31796"/>
                      <a:pt x="24505" y="30156"/>
                      <a:pt x="27550" y="27181"/>
                    </a:cubicBezTo>
                    <a:cubicBezTo>
                      <a:pt x="30626" y="24174"/>
                      <a:pt x="32323" y="20170"/>
                      <a:pt x="32323" y="15898"/>
                    </a:cubicBezTo>
                    <a:cubicBezTo>
                      <a:pt x="32323" y="11626"/>
                      <a:pt x="30626" y="7622"/>
                      <a:pt x="27550" y="4609"/>
                    </a:cubicBezTo>
                    <a:cubicBezTo>
                      <a:pt x="24505" y="1640"/>
                      <a:pt x="20462" y="0"/>
                      <a:pt x="16165" y="0"/>
                    </a:cubicBezTo>
                    <a:close/>
                    <a:moveTo>
                      <a:pt x="20634" y="20100"/>
                    </a:moveTo>
                    <a:cubicBezTo>
                      <a:pt x="18263" y="22413"/>
                      <a:pt x="14067" y="22413"/>
                      <a:pt x="11696" y="20093"/>
                    </a:cubicBezTo>
                    <a:cubicBezTo>
                      <a:pt x="10539" y="18968"/>
                      <a:pt x="9910" y="17474"/>
                      <a:pt x="9910" y="15898"/>
                    </a:cubicBezTo>
                    <a:cubicBezTo>
                      <a:pt x="9910" y="14321"/>
                      <a:pt x="10546" y="12828"/>
                      <a:pt x="11696" y="11703"/>
                    </a:cubicBezTo>
                    <a:cubicBezTo>
                      <a:pt x="12885" y="10539"/>
                      <a:pt x="14474" y="9904"/>
                      <a:pt x="16171" y="9904"/>
                    </a:cubicBezTo>
                    <a:cubicBezTo>
                      <a:pt x="17868" y="9904"/>
                      <a:pt x="19451" y="10539"/>
                      <a:pt x="20634" y="11696"/>
                    </a:cubicBezTo>
                    <a:cubicBezTo>
                      <a:pt x="21791" y="12828"/>
                      <a:pt x="22426" y="14321"/>
                      <a:pt x="22426" y="15898"/>
                    </a:cubicBezTo>
                    <a:cubicBezTo>
                      <a:pt x="22426" y="17481"/>
                      <a:pt x="21791" y="18968"/>
                      <a:pt x="20634" y="20100"/>
                    </a:cubicBezTo>
                    <a:close/>
                  </a:path>
                </a:pathLst>
              </a:custGeom>
              <a:solidFill>
                <a:schemeClr val="accent1"/>
              </a:solidFill>
              <a:ln w="635" cap="flat">
                <a:noFill/>
                <a:prstDash val="solid"/>
                <a:miter/>
              </a:ln>
            </p:spPr>
            <p:txBody>
              <a:bodyPr rtlCol="0" anchor="ctr"/>
              <a:lstStyle/>
              <a:p>
                <a:endParaRPr lang="en-GB" dirty="0"/>
              </a:p>
            </p:txBody>
          </p:sp>
          <p:sp>
            <p:nvSpPr>
              <p:cNvPr id="201" name="Freihandform: Form 200">
                <a:extLst>
                  <a:ext uri="{FF2B5EF4-FFF2-40B4-BE49-F238E27FC236}">
                    <a16:creationId xmlns:a16="http://schemas.microsoft.com/office/drawing/2014/main" id="{6E67F83E-9490-480F-94A4-AC9443470771}"/>
                  </a:ext>
                </a:extLst>
              </p:cNvPr>
              <p:cNvSpPr/>
              <p:nvPr/>
            </p:nvSpPr>
            <p:spPr>
              <a:xfrm>
                <a:off x="1779443" y="2560052"/>
                <a:ext cx="32329" cy="31789"/>
              </a:xfrm>
              <a:custGeom>
                <a:avLst/>
                <a:gdLst>
                  <a:gd name="connsiteX0" fmla="*/ 16171 w 32329"/>
                  <a:gd name="connsiteY0" fmla="*/ 0 h 31789"/>
                  <a:gd name="connsiteX1" fmla="*/ 4780 w 32329"/>
                  <a:gd name="connsiteY1" fmla="*/ 4615 h 31789"/>
                  <a:gd name="connsiteX2" fmla="*/ 0 w 32329"/>
                  <a:gd name="connsiteY2" fmla="*/ 15898 h 31789"/>
                  <a:gd name="connsiteX3" fmla="*/ 4780 w 32329"/>
                  <a:gd name="connsiteY3" fmla="*/ 27181 h 31789"/>
                  <a:gd name="connsiteX4" fmla="*/ 16159 w 32329"/>
                  <a:gd name="connsiteY4" fmla="*/ 31789 h 31789"/>
                  <a:gd name="connsiteX5" fmla="*/ 27550 w 32329"/>
                  <a:gd name="connsiteY5" fmla="*/ 27175 h 31789"/>
                  <a:gd name="connsiteX6" fmla="*/ 32330 w 32329"/>
                  <a:gd name="connsiteY6" fmla="*/ 15892 h 31789"/>
                  <a:gd name="connsiteX7" fmla="*/ 27556 w 32329"/>
                  <a:gd name="connsiteY7" fmla="*/ 4609 h 31789"/>
                  <a:gd name="connsiteX8" fmla="*/ 16171 w 32329"/>
                  <a:gd name="connsiteY8" fmla="*/ 0 h 31789"/>
                  <a:gd name="connsiteX9" fmla="*/ 20634 w 32329"/>
                  <a:gd name="connsiteY9" fmla="*/ 20093 h 31789"/>
                  <a:gd name="connsiteX10" fmla="*/ 11703 w 32329"/>
                  <a:gd name="connsiteY10" fmla="*/ 20093 h 31789"/>
                  <a:gd name="connsiteX11" fmla="*/ 9910 w 32329"/>
                  <a:gd name="connsiteY11" fmla="*/ 15898 h 31789"/>
                  <a:gd name="connsiteX12" fmla="*/ 11703 w 32329"/>
                  <a:gd name="connsiteY12" fmla="*/ 11696 h 31789"/>
                  <a:gd name="connsiteX13" fmla="*/ 16171 w 32329"/>
                  <a:gd name="connsiteY13" fmla="*/ 9897 h 31789"/>
                  <a:gd name="connsiteX14" fmla="*/ 20634 w 32329"/>
                  <a:gd name="connsiteY14" fmla="*/ 11696 h 31789"/>
                  <a:gd name="connsiteX15" fmla="*/ 22426 w 32329"/>
                  <a:gd name="connsiteY15" fmla="*/ 15892 h 31789"/>
                  <a:gd name="connsiteX16" fmla="*/ 20634 w 32329"/>
                  <a:gd name="connsiteY16" fmla="*/ 20093 h 31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329" h="31789">
                    <a:moveTo>
                      <a:pt x="16171" y="0"/>
                    </a:moveTo>
                    <a:cubicBezTo>
                      <a:pt x="11874" y="0"/>
                      <a:pt x="7831" y="1640"/>
                      <a:pt x="4780" y="4615"/>
                    </a:cubicBezTo>
                    <a:cubicBezTo>
                      <a:pt x="1697" y="7622"/>
                      <a:pt x="0" y="11633"/>
                      <a:pt x="0" y="15898"/>
                    </a:cubicBezTo>
                    <a:cubicBezTo>
                      <a:pt x="0" y="20163"/>
                      <a:pt x="1697" y="24174"/>
                      <a:pt x="4780" y="27181"/>
                    </a:cubicBezTo>
                    <a:cubicBezTo>
                      <a:pt x="7825" y="30156"/>
                      <a:pt x="11868" y="31789"/>
                      <a:pt x="16159" y="31789"/>
                    </a:cubicBezTo>
                    <a:cubicBezTo>
                      <a:pt x="20456" y="31789"/>
                      <a:pt x="24498" y="30150"/>
                      <a:pt x="27550" y="27175"/>
                    </a:cubicBezTo>
                    <a:cubicBezTo>
                      <a:pt x="30633" y="24168"/>
                      <a:pt x="32330" y="20163"/>
                      <a:pt x="32330" y="15892"/>
                    </a:cubicBezTo>
                    <a:cubicBezTo>
                      <a:pt x="32330" y="11620"/>
                      <a:pt x="30633" y="7615"/>
                      <a:pt x="27556" y="4609"/>
                    </a:cubicBezTo>
                    <a:cubicBezTo>
                      <a:pt x="24505" y="1640"/>
                      <a:pt x="20462" y="0"/>
                      <a:pt x="16171" y="0"/>
                    </a:cubicBezTo>
                    <a:close/>
                    <a:moveTo>
                      <a:pt x="20634" y="20093"/>
                    </a:moveTo>
                    <a:cubicBezTo>
                      <a:pt x="18263" y="22407"/>
                      <a:pt x="14074" y="22413"/>
                      <a:pt x="11703" y="20093"/>
                    </a:cubicBezTo>
                    <a:cubicBezTo>
                      <a:pt x="10546" y="18962"/>
                      <a:pt x="9910" y="17474"/>
                      <a:pt x="9910" y="15898"/>
                    </a:cubicBezTo>
                    <a:cubicBezTo>
                      <a:pt x="9910" y="14321"/>
                      <a:pt x="10546" y="12828"/>
                      <a:pt x="11703" y="11696"/>
                    </a:cubicBezTo>
                    <a:cubicBezTo>
                      <a:pt x="12891" y="10539"/>
                      <a:pt x="14474" y="9897"/>
                      <a:pt x="16171" y="9897"/>
                    </a:cubicBezTo>
                    <a:cubicBezTo>
                      <a:pt x="17862" y="9897"/>
                      <a:pt x="19445" y="10533"/>
                      <a:pt x="20634" y="11696"/>
                    </a:cubicBezTo>
                    <a:cubicBezTo>
                      <a:pt x="21791" y="12821"/>
                      <a:pt x="22426" y="14315"/>
                      <a:pt x="22426" y="15892"/>
                    </a:cubicBezTo>
                    <a:cubicBezTo>
                      <a:pt x="22426" y="17468"/>
                      <a:pt x="21791" y="18962"/>
                      <a:pt x="20634" y="20093"/>
                    </a:cubicBezTo>
                    <a:close/>
                  </a:path>
                </a:pathLst>
              </a:custGeom>
              <a:solidFill>
                <a:schemeClr val="accent1"/>
              </a:solidFill>
              <a:ln w="635" cap="flat">
                <a:noFill/>
                <a:prstDash val="solid"/>
                <a:miter/>
              </a:ln>
            </p:spPr>
            <p:txBody>
              <a:bodyPr rtlCol="0" anchor="ctr"/>
              <a:lstStyle/>
              <a:p>
                <a:endParaRPr lang="en-GB" dirty="0"/>
              </a:p>
            </p:txBody>
          </p:sp>
          <p:sp>
            <p:nvSpPr>
              <p:cNvPr id="202" name="Freihandform: Form 201">
                <a:extLst>
                  <a:ext uri="{FF2B5EF4-FFF2-40B4-BE49-F238E27FC236}">
                    <a16:creationId xmlns:a16="http://schemas.microsoft.com/office/drawing/2014/main" id="{87F4421F-4C74-4ECB-8121-41A2E5374ACF}"/>
                  </a:ext>
                </a:extLst>
              </p:cNvPr>
              <p:cNvSpPr/>
              <p:nvPr/>
            </p:nvSpPr>
            <p:spPr>
              <a:xfrm>
                <a:off x="1742143" y="2596476"/>
                <a:ext cx="32317" cy="31795"/>
              </a:xfrm>
              <a:custGeom>
                <a:avLst/>
                <a:gdLst>
                  <a:gd name="connsiteX0" fmla="*/ 16165 w 32317"/>
                  <a:gd name="connsiteY0" fmla="*/ 0 h 31795"/>
                  <a:gd name="connsiteX1" fmla="*/ 4774 w 32317"/>
                  <a:gd name="connsiteY1" fmla="*/ 4615 h 31795"/>
                  <a:gd name="connsiteX2" fmla="*/ 0 w 32317"/>
                  <a:gd name="connsiteY2" fmla="*/ 15898 h 31795"/>
                  <a:gd name="connsiteX3" fmla="*/ 4780 w 32317"/>
                  <a:gd name="connsiteY3" fmla="*/ 27187 h 31795"/>
                  <a:gd name="connsiteX4" fmla="*/ 16158 w 32317"/>
                  <a:gd name="connsiteY4" fmla="*/ 31796 h 31795"/>
                  <a:gd name="connsiteX5" fmla="*/ 27543 w 32317"/>
                  <a:gd name="connsiteY5" fmla="*/ 27181 h 31795"/>
                  <a:gd name="connsiteX6" fmla="*/ 32317 w 32317"/>
                  <a:gd name="connsiteY6" fmla="*/ 15892 h 31795"/>
                  <a:gd name="connsiteX7" fmla="*/ 27543 w 32317"/>
                  <a:gd name="connsiteY7" fmla="*/ 4615 h 31795"/>
                  <a:gd name="connsiteX8" fmla="*/ 16165 w 32317"/>
                  <a:gd name="connsiteY8" fmla="*/ 0 h 31795"/>
                  <a:gd name="connsiteX9" fmla="*/ 20627 w 32317"/>
                  <a:gd name="connsiteY9" fmla="*/ 20087 h 31795"/>
                  <a:gd name="connsiteX10" fmla="*/ 11696 w 32317"/>
                  <a:gd name="connsiteY10" fmla="*/ 20093 h 31795"/>
                  <a:gd name="connsiteX11" fmla="*/ 9904 w 32317"/>
                  <a:gd name="connsiteY11" fmla="*/ 15892 h 31795"/>
                  <a:gd name="connsiteX12" fmla="*/ 11690 w 32317"/>
                  <a:gd name="connsiteY12" fmla="*/ 11696 h 31795"/>
                  <a:gd name="connsiteX13" fmla="*/ 16165 w 32317"/>
                  <a:gd name="connsiteY13" fmla="*/ 9897 h 31795"/>
                  <a:gd name="connsiteX14" fmla="*/ 20627 w 32317"/>
                  <a:gd name="connsiteY14" fmla="*/ 11696 h 31795"/>
                  <a:gd name="connsiteX15" fmla="*/ 22413 w 32317"/>
                  <a:gd name="connsiteY15" fmla="*/ 15885 h 31795"/>
                  <a:gd name="connsiteX16" fmla="*/ 20627 w 32317"/>
                  <a:gd name="connsiteY16" fmla="*/ 20087 h 31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317" h="31795">
                    <a:moveTo>
                      <a:pt x="16165" y="0"/>
                    </a:moveTo>
                    <a:cubicBezTo>
                      <a:pt x="11868" y="0"/>
                      <a:pt x="7825" y="1640"/>
                      <a:pt x="4774" y="4615"/>
                    </a:cubicBezTo>
                    <a:cubicBezTo>
                      <a:pt x="1691" y="7622"/>
                      <a:pt x="0" y="11626"/>
                      <a:pt x="0" y="15898"/>
                    </a:cubicBezTo>
                    <a:cubicBezTo>
                      <a:pt x="0" y="20170"/>
                      <a:pt x="1697" y="24174"/>
                      <a:pt x="4780" y="27187"/>
                    </a:cubicBezTo>
                    <a:cubicBezTo>
                      <a:pt x="7825" y="30162"/>
                      <a:pt x="11868" y="31796"/>
                      <a:pt x="16158" y="31796"/>
                    </a:cubicBezTo>
                    <a:cubicBezTo>
                      <a:pt x="20456" y="31796"/>
                      <a:pt x="24498" y="30156"/>
                      <a:pt x="27543" y="27181"/>
                    </a:cubicBezTo>
                    <a:cubicBezTo>
                      <a:pt x="30626" y="24174"/>
                      <a:pt x="32323" y="20163"/>
                      <a:pt x="32317" y="15892"/>
                    </a:cubicBezTo>
                    <a:cubicBezTo>
                      <a:pt x="32317" y="11626"/>
                      <a:pt x="30620" y="7622"/>
                      <a:pt x="27543" y="4615"/>
                    </a:cubicBezTo>
                    <a:cubicBezTo>
                      <a:pt x="24505" y="1634"/>
                      <a:pt x="20462" y="0"/>
                      <a:pt x="16165" y="0"/>
                    </a:cubicBezTo>
                    <a:close/>
                    <a:moveTo>
                      <a:pt x="20627" y="20087"/>
                    </a:moveTo>
                    <a:cubicBezTo>
                      <a:pt x="18250" y="22401"/>
                      <a:pt x="14067" y="22401"/>
                      <a:pt x="11696" y="20093"/>
                    </a:cubicBezTo>
                    <a:cubicBezTo>
                      <a:pt x="10539" y="18962"/>
                      <a:pt x="9904" y="17468"/>
                      <a:pt x="9904" y="15892"/>
                    </a:cubicBezTo>
                    <a:cubicBezTo>
                      <a:pt x="9904" y="14315"/>
                      <a:pt x="10539" y="12821"/>
                      <a:pt x="11690" y="11696"/>
                    </a:cubicBezTo>
                    <a:cubicBezTo>
                      <a:pt x="12879" y="10533"/>
                      <a:pt x="14468" y="9897"/>
                      <a:pt x="16165" y="9897"/>
                    </a:cubicBezTo>
                    <a:cubicBezTo>
                      <a:pt x="17856" y="9897"/>
                      <a:pt x="19445" y="10533"/>
                      <a:pt x="20627" y="11696"/>
                    </a:cubicBezTo>
                    <a:cubicBezTo>
                      <a:pt x="21784" y="12821"/>
                      <a:pt x="22413" y="14309"/>
                      <a:pt x="22413" y="15885"/>
                    </a:cubicBezTo>
                    <a:cubicBezTo>
                      <a:pt x="22420" y="17468"/>
                      <a:pt x="21784" y="18962"/>
                      <a:pt x="20627" y="20087"/>
                    </a:cubicBezTo>
                    <a:close/>
                  </a:path>
                </a:pathLst>
              </a:custGeom>
              <a:solidFill>
                <a:schemeClr val="accent1"/>
              </a:solidFill>
              <a:ln w="635" cap="flat">
                <a:noFill/>
                <a:prstDash val="solid"/>
                <a:miter/>
              </a:ln>
            </p:spPr>
            <p:txBody>
              <a:bodyPr rtlCol="0" anchor="ctr"/>
              <a:lstStyle/>
              <a:p>
                <a:endParaRPr lang="en-GB" dirty="0"/>
              </a:p>
            </p:txBody>
          </p:sp>
          <p:sp>
            <p:nvSpPr>
              <p:cNvPr id="203" name="Freihandform: Form 202">
                <a:extLst>
                  <a:ext uri="{FF2B5EF4-FFF2-40B4-BE49-F238E27FC236}">
                    <a16:creationId xmlns:a16="http://schemas.microsoft.com/office/drawing/2014/main" id="{8A969CB3-7E05-43A7-99F5-93100D6A0ACA}"/>
                  </a:ext>
                </a:extLst>
              </p:cNvPr>
              <p:cNvSpPr/>
              <p:nvPr/>
            </p:nvSpPr>
            <p:spPr>
              <a:xfrm>
                <a:off x="1490204" y="2531384"/>
                <a:ext cx="89132" cy="89132"/>
              </a:xfrm>
              <a:custGeom>
                <a:avLst/>
                <a:gdLst>
                  <a:gd name="connsiteX0" fmla="*/ 74277 w 89132"/>
                  <a:gd name="connsiteY0" fmla="*/ 29711 h 89132"/>
                  <a:gd name="connsiteX1" fmla="*/ 59422 w 89132"/>
                  <a:gd name="connsiteY1" fmla="*/ 29711 h 89132"/>
                  <a:gd name="connsiteX2" fmla="*/ 59422 w 89132"/>
                  <a:gd name="connsiteY2" fmla="*/ 14855 h 89132"/>
                  <a:gd name="connsiteX3" fmla="*/ 44566 w 89132"/>
                  <a:gd name="connsiteY3" fmla="*/ 0 h 89132"/>
                  <a:gd name="connsiteX4" fmla="*/ 29711 w 89132"/>
                  <a:gd name="connsiteY4" fmla="*/ 14855 h 89132"/>
                  <a:gd name="connsiteX5" fmla="*/ 29711 w 89132"/>
                  <a:gd name="connsiteY5" fmla="*/ 29711 h 89132"/>
                  <a:gd name="connsiteX6" fmla="*/ 14855 w 89132"/>
                  <a:gd name="connsiteY6" fmla="*/ 29711 h 89132"/>
                  <a:gd name="connsiteX7" fmla="*/ 0 w 89132"/>
                  <a:gd name="connsiteY7" fmla="*/ 44566 h 89132"/>
                  <a:gd name="connsiteX8" fmla="*/ 14855 w 89132"/>
                  <a:gd name="connsiteY8" fmla="*/ 59422 h 89132"/>
                  <a:gd name="connsiteX9" fmla="*/ 29711 w 89132"/>
                  <a:gd name="connsiteY9" fmla="*/ 59422 h 89132"/>
                  <a:gd name="connsiteX10" fmla="*/ 29711 w 89132"/>
                  <a:gd name="connsiteY10" fmla="*/ 74277 h 89132"/>
                  <a:gd name="connsiteX11" fmla="*/ 44566 w 89132"/>
                  <a:gd name="connsiteY11" fmla="*/ 89133 h 89132"/>
                  <a:gd name="connsiteX12" fmla="*/ 59422 w 89132"/>
                  <a:gd name="connsiteY12" fmla="*/ 74277 h 89132"/>
                  <a:gd name="connsiteX13" fmla="*/ 59422 w 89132"/>
                  <a:gd name="connsiteY13" fmla="*/ 59422 h 89132"/>
                  <a:gd name="connsiteX14" fmla="*/ 74277 w 89132"/>
                  <a:gd name="connsiteY14" fmla="*/ 59422 h 89132"/>
                  <a:gd name="connsiteX15" fmla="*/ 89133 w 89132"/>
                  <a:gd name="connsiteY15" fmla="*/ 44566 h 89132"/>
                  <a:gd name="connsiteX16" fmla="*/ 74277 w 89132"/>
                  <a:gd name="connsiteY16" fmla="*/ 29711 h 89132"/>
                  <a:gd name="connsiteX17" fmla="*/ 74277 w 89132"/>
                  <a:gd name="connsiteY17" fmla="*/ 49518 h 89132"/>
                  <a:gd name="connsiteX18" fmla="*/ 49518 w 89132"/>
                  <a:gd name="connsiteY18" fmla="*/ 49518 h 89132"/>
                  <a:gd name="connsiteX19" fmla="*/ 49518 w 89132"/>
                  <a:gd name="connsiteY19" fmla="*/ 74277 h 89132"/>
                  <a:gd name="connsiteX20" fmla="*/ 44566 w 89132"/>
                  <a:gd name="connsiteY20" fmla="*/ 79229 h 89132"/>
                  <a:gd name="connsiteX21" fmla="*/ 39615 w 89132"/>
                  <a:gd name="connsiteY21" fmla="*/ 74277 h 89132"/>
                  <a:gd name="connsiteX22" fmla="*/ 39615 w 89132"/>
                  <a:gd name="connsiteY22" fmla="*/ 49518 h 89132"/>
                  <a:gd name="connsiteX23" fmla="*/ 14855 w 89132"/>
                  <a:gd name="connsiteY23" fmla="*/ 49518 h 89132"/>
                  <a:gd name="connsiteX24" fmla="*/ 9904 w 89132"/>
                  <a:gd name="connsiteY24" fmla="*/ 44566 h 89132"/>
                  <a:gd name="connsiteX25" fmla="*/ 14855 w 89132"/>
                  <a:gd name="connsiteY25" fmla="*/ 39614 h 89132"/>
                  <a:gd name="connsiteX26" fmla="*/ 39615 w 89132"/>
                  <a:gd name="connsiteY26" fmla="*/ 39614 h 89132"/>
                  <a:gd name="connsiteX27" fmla="*/ 39615 w 89132"/>
                  <a:gd name="connsiteY27" fmla="*/ 14855 h 89132"/>
                  <a:gd name="connsiteX28" fmla="*/ 44566 w 89132"/>
                  <a:gd name="connsiteY28" fmla="*/ 9904 h 89132"/>
                  <a:gd name="connsiteX29" fmla="*/ 49518 w 89132"/>
                  <a:gd name="connsiteY29" fmla="*/ 14855 h 89132"/>
                  <a:gd name="connsiteX30" fmla="*/ 49518 w 89132"/>
                  <a:gd name="connsiteY30" fmla="*/ 39614 h 89132"/>
                  <a:gd name="connsiteX31" fmla="*/ 74277 w 89132"/>
                  <a:gd name="connsiteY31" fmla="*/ 39614 h 89132"/>
                  <a:gd name="connsiteX32" fmla="*/ 79229 w 89132"/>
                  <a:gd name="connsiteY32" fmla="*/ 44566 h 89132"/>
                  <a:gd name="connsiteX33" fmla="*/ 74277 w 89132"/>
                  <a:gd name="connsiteY33" fmla="*/ 49518 h 89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89132" h="89132">
                    <a:moveTo>
                      <a:pt x="74277" y="29711"/>
                    </a:moveTo>
                    <a:lnTo>
                      <a:pt x="59422" y="29711"/>
                    </a:lnTo>
                    <a:lnTo>
                      <a:pt x="59422" y="14855"/>
                    </a:lnTo>
                    <a:cubicBezTo>
                      <a:pt x="59422" y="6662"/>
                      <a:pt x="52760" y="0"/>
                      <a:pt x="44566" y="0"/>
                    </a:cubicBezTo>
                    <a:cubicBezTo>
                      <a:pt x="36373" y="0"/>
                      <a:pt x="29711" y="6662"/>
                      <a:pt x="29711" y="14855"/>
                    </a:cubicBezTo>
                    <a:lnTo>
                      <a:pt x="29711" y="29711"/>
                    </a:lnTo>
                    <a:lnTo>
                      <a:pt x="14855" y="29711"/>
                    </a:lnTo>
                    <a:cubicBezTo>
                      <a:pt x="6662" y="29711"/>
                      <a:pt x="0" y="36373"/>
                      <a:pt x="0" y="44566"/>
                    </a:cubicBezTo>
                    <a:cubicBezTo>
                      <a:pt x="0" y="52760"/>
                      <a:pt x="6662" y="59422"/>
                      <a:pt x="14855" y="59422"/>
                    </a:cubicBezTo>
                    <a:lnTo>
                      <a:pt x="29711" y="59422"/>
                    </a:lnTo>
                    <a:lnTo>
                      <a:pt x="29711" y="74277"/>
                    </a:lnTo>
                    <a:cubicBezTo>
                      <a:pt x="29711" y="82471"/>
                      <a:pt x="36373" y="89133"/>
                      <a:pt x="44566" y="89133"/>
                    </a:cubicBezTo>
                    <a:cubicBezTo>
                      <a:pt x="52760" y="89133"/>
                      <a:pt x="59422" y="82471"/>
                      <a:pt x="59422" y="74277"/>
                    </a:cubicBezTo>
                    <a:lnTo>
                      <a:pt x="59422" y="59422"/>
                    </a:lnTo>
                    <a:lnTo>
                      <a:pt x="74277" y="59422"/>
                    </a:lnTo>
                    <a:cubicBezTo>
                      <a:pt x="82471" y="59422"/>
                      <a:pt x="89133" y="52760"/>
                      <a:pt x="89133" y="44566"/>
                    </a:cubicBezTo>
                    <a:cubicBezTo>
                      <a:pt x="89133" y="36373"/>
                      <a:pt x="82464" y="29711"/>
                      <a:pt x="74277" y="29711"/>
                    </a:cubicBezTo>
                    <a:close/>
                    <a:moveTo>
                      <a:pt x="74277" y="49518"/>
                    </a:moveTo>
                    <a:lnTo>
                      <a:pt x="49518" y="49518"/>
                    </a:lnTo>
                    <a:lnTo>
                      <a:pt x="49518" y="74277"/>
                    </a:lnTo>
                    <a:cubicBezTo>
                      <a:pt x="49518" y="77011"/>
                      <a:pt x="47300" y="79229"/>
                      <a:pt x="44566" y="79229"/>
                    </a:cubicBezTo>
                    <a:cubicBezTo>
                      <a:pt x="41833" y="79229"/>
                      <a:pt x="39615" y="77011"/>
                      <a:pt x="39615" y="74277"/>
                    </a:cubicBezTo>
                    <a:lnTo>
                      <a:pt x="39615" y="49518"/>
                    </a:lnTo>
                    <a:lnTo>
                      <a:pt x="14855" y="49518"/>
                    </a:lnTo>
                    <a:cubicBezTo>
                      <a:pt x="12122" y="49518"/>
                      <a:pt x="9904" y="47300"/>
                      <a:pt x="9904" y="44566"/>
                    </a:cubicBezTo>
                    <a:cubicBezTo>
                      <a:pt x="9904" y="41833"/>
                      <a:pt x="12122" y="39614"/>
                      <a:pt x="14855" y="39614"/>
                    </a:cubicBezTo>
                    <a:lnTo>
                      <a:pt x="39615" y="39614"/>
                    </a:lnTo>
                    <a:lnTo>
                      <a:pt x="39615" y="14855"/>
                    </a:lnTo>
                    <a:cubicBezTo>
                      <a:pt x="39615" y="12122"/>
                      <a:pt x="41833" y="9904"/>
                      <a:pt x="44566" y="9904"/>
                    </a:cubicBezTo>
                    <a:cubicBezTo>
                      <a:pt x="47300" y="9904"/>
                      <a:pt x="49518" y="12122"/>
                      <a:pt x="49518" y="14855"/>
                    </a:cubicBezTo>
                    <a:lnTo>
                      <a:pt x="49518" y="39614"/>
                    </a:lnTo>
                    <a:lnTo>
                      <a:pt x="74277" y="39614"/>
                    </a:lnTo>
                    <a:cubicBezTo>
                      <a:pt x="77011" y="39614"/>
                      <a:pt x="79229" y="41833"/>
                      <a:pt x="79229" y="44566"/>
                    </a:cubicBezTo>
                    <a:cubicBezTo>
                      <a:pt x="79229" y="47293"/>
                      <a:pt x="77004" y="49518"/>
                      <a:pt x="74277" y="49518"/>
                    </a:cubicBezTo>
                    <a:close/>
                  </a:path>
                </a:pathLst>
              </a:custGeom>
              <a:solidFill>
                <a:schemeClr val="accent1"/>
              </a:solidFill>
              <a:ln w="635" cap="flat">
                <a:noFill/>
                <a:prstDash val="solid"/>
                <a:miter/>
              </a:ln>
            </p:spPr>
            <p:txBody>
              <a:bodyPr rtlCol="0" anchor="ctr"/>
              <a:lstStyle/>
              <a:p>
                <a:endParaRPr lang="en-GB" dirty="0"/>
              </a:p>
            </p:txBody>
          </p:sp>
        </p:grpSp>
      </p:grpSp>
      <p:grpSp>
        <p:nvGrpSpPr>
          <p:cNvPr id="207" name="Gruppieren 206">
            <a:extLst>
              <a:ext uri="{FF2B5EF4-FFF2-40B4-BE49-F238E27FC236}">
                <a16:creationId xmlns:a16="http://schemas.microsoft.com/office/drawing/2014/main" id="{1BFB9DF5-0A59-4982-9AB4-F771D5943AFC}"/>
              </a:ext>
            </a:extLst>
          </p:cNvPr>
          <p:cNvGrpSpPr>
            <a:grpSpLocks noChangeAspect="1"/>
          </p:cNvGrpSpPr>
          <p:nvPr/>
        </p:nvGrpSpPr>
        <p:grpSpPr>
          <a:xfrm>
            <a:off x="1427687" y="4215829"/>
            <a:ext cx="203582" cy="324000"/>
            <a:chOff x="1531049" y="4360007"/>
            <a:chExt cx="234395" cy="373038"/>
          </a:xfrm>
        </p:grpSpPr>
        <p:sp>
          <p:nvSpPr>
            <p:cNvPr id="208" name="Freihandform: Form 207">
              <a:extLst>
                <a:ext uri="{FF2B5EF4-FFF2-40B4-BE49-F238E27FC236}">
                  <a16:creationId xmlns:a16="http://schemas.microsoft.com/office/drawing/2014/main" id="{E89F332F-F453-4EED-8E3C-42810864D2A7}"/>
                </a:ext>
              </a:extLst>
            </p:cNvPr>
            <p:cNvSpPr/>
            <p:nvPr/>
          </p:nvSpPr>
          <p:spPr>
            <a:xfrm>
              <a:off x="1531049" y="4360007"/>
              <a:ext cx="234395" cy="373038"/>
            </a:xfrm>
            <a:custGeom>
              <a:avLst/>
              <a:gdLst>
                <a:gd name="connsiteX0" fmla="*/ 167688 w 234394"/>
                <a:gd name="connsiteY0" fmla="*/ 37638 h 373038"/>
                <a:gd name="connsiteX1" fmla="*/ 167688 w 234394"/>
                <a:gd name="connsiteY1" fmla="*/ 21072 h 373038"/>
                <a:gd name="connsiteX2" fmla="*/ 146596 w 234394"/>
                <a:gd name="connsiteY2" fmla="*/ 0 h 373038"/>
                <a:gd name="connsiteX3" fmla="*/ 87785 w 234394"/>
                <a:gd name="connsiteY3" fmla="*/ 0 h 373038"/>
                <a:gd name="connsiteX4" fmla="*/ 66694 w 234394"/>
                <a:gd name="connsiteY4" fmla="*/ 21072 h 373038"/>
                <a:gd name="connsiteX5" fmla="*/ 66694 w 234394"/>
                <a:gd name="connsiteY5" fmla="*/ 37638 h 373038"/>
                <a:gd name="connsiteX6" fmla="*/ 0 w 234394"/>
                <a:gd name="connsiteY6" fmla="*/ 37638 h 373038"/>
                <a:gd name="connsiteX7" fmla="*/ 6 w 234394"/>
                <a:gd name="connsiteY7" fmla="*/ 327182 h 373038"/>
                <a:gd name="connsiteX8" fmla="*/ 45927 w 234394"/>
                <a:gd name="connsiteY8" fmla="*/ 373038 h 373038"/>
                <a:gd name="connsiteX9" fmla="*/ 188474 w 234394"/>
                <a:gd name="connsiteY9" fmla="*/ 373038 h 373038"/>
                <a:gd name="connsiteX10" fmla="*/ 234394 w 234394"/>
                <a:gd name="connsiteY10" fmla="*/ 327182 h 373038"/>
                <a:gd name="connsiteX11" fmla="*/ 234394 w 234394"/>
                <a:gd name="connsiteY11" fmla="*/ 37638 h 373038"/>
                <a:gd name="connsiteX12" fmla="*/ 167688 w 234394"/>
                <a:gd name="connsiteY12" fmla="*/ 37638 h 373038"/>
                <a:gd name="connsiteX13" fmla="*/ 76604 w 234394"/>
                <a:gd name="connsiteY13" fmla="*/ 21078 h 373038"/>
                <a:gd name="connsiteX14" fmla="*/ 87791 w 234394"/>
                <a:gd name="connsiteY14" fmla="*/ 9910 h 373038"/>
                <a:gd name="connsiteX15" fmla="*/ 146603 w 234394"/>
                <a:gd name="connsiteY15" fmla="*/ 9910 h 373038"/>
                <a:gd name="connsiteX16" fmla="*/ 157790 w 234394"/>
                <a:gd name="connsiteY16" fmla="*/ 21078 h 373038"/>
                <a:gd name="connsiteX17" fmla="*/ 157790 w 234394"/>
                <a:gd name="connsiteY17" fmla="*/ 37644 h 373038"/>
                <a:gd name="connsiteX18" fmla="*/ 76604 w 234394"/>
                <a:gd name="connsiteY18" fmla="*/ 37644 h 373038"/>
                <a:gd name="connsiteX19" fmla="*/ 76604 w 234394"/>
                <a:gd name="connsiteY19" fmla="*/ 21078 h 373038"/>
                <a:gd name="connsiteX20" fmla="*/ 224484 w 234394"/>
                <a:gd name="connsiteY20" fmla="*/ 327182 h 373038"/>
                <a:gd name="connsiteX21" fmla="*/ 188468 w 234394"/>
                <a:gd name="connsiteY21" fmla="*/ 363135 h 373038"/>
                <a:gd name="connsiteX22" fmla="*/ 45920 w 234394"/>
                <a:gd name="connsiteY22" fmla="*/ 363135 h 373038"/>
                <a:gd name="connsiteX23" fmla="*/ 9904 w 234394"/>
                <a:gd name="connsiteY23" fmla="*/ 327182 h 373038"/>
                <a:gd name="connsiteX24" fmla="*/ 9897 w 234394"/>
                <a:gd name="connsiteY24" fmla="*/ 47541 h 373038"/>
                <a:gd name="connsiteX25" fmla="*/ 224478 w 234394"/>
                <a:gd name="connsiteY25" fmla="*/ 47541 h 373038"/>
                <a:gd name="connsiteX26" fmla="*/ 224478 w 234394"/>
                <a:gd name="connsiteY26" fmla="*/ 327182 h 37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4394" h="373038">
                  <a:moveTo>
                    <a:pt x="167688" y="37638"/>
                  </a:moveTo>
                  <a:lnTo>
                    <a:pt x="167688" y="21072"/>
                  </a:lnTo>
                  <a:cubicBezTo>
                    <a:pt x="167688" y="9452"/>
                    <a:pt x="158229" y="0"/>
                    <a:pt x="146596" y="0"/>
                  </a:cubicBezTo>
                  <a:lnTo>
                    <a:pt x="87785" y="0"/>
                  </a:lnTo>
                  <a:cubicBezTo>
                    <a:pt x="76152" y="0"/>
                    <a:pt x="66694" y="9452"/>
                    <a:pt x="66694" y="21072"/>
                  </a:cubicBezTo>
                  <a:lnTo>
                    <a:pt x="66694" y="37638"/>
                  </a:lnTo>
                  <a:lnTo>
                    <a:pt x="0" y="37638"/>
                  </a:lnTo>
                  <a:lnTo>
                    <a:pt x="6" y="327182"/>
                  </a:lnTo>
                  <a:cubicBezTo>
                    <a:pt x="6" y="352468"/>
                    <a:pt x="20602" y="373038"/>
                    <a:pt x="45927" y="373038"/>
                  </a:cubicBezTo>
                  <a:lnTo>
                    <a:pt x="188474" y="373038"/>
                  </a:lnTo>
                  <a:cubicBezTo>
                    <a:pt x="213792" y="373038"/>
                    <a:pt x="234394" y="352468"/>
                    <a:pt x="234394" y="327182"/>
                  </a:cubicBezTo>
                  <a:lnTo>
                    <a:pt x="234394" y="37638"/>
                  </a:lnTo>
                  <a:lnTo>
                    <a:pt x="167688" y="37638"/>
                  </a:lnTo>
                  <a:close/>
                  <a:moveTo>
                    <a:pt x="76604" y="21078"/>
                  </a:moveTo>
                  <a:cubicBezTo>
                    <a:pt x="76604" y="14919"/>
                    <a:pt x="81625" y="9910"/>
                    <a:pt x="87791" y="9910"/>
                  </a:cubicBezTo>
                  <a:lnTo>
                    <a:pt x="146603" y="9910"/>
                  </a:lnTo>
                  <a:cubicBezTo>
                    <a:pt x="152769" y="9910"/>
                    <a:pt x="157790" y="14919"/>
                    <a:pt x="157790" y="21078"/>
                  </a:cubicBezTo>
                  <a:lnTo>
                    <a:pt x="157790" y="37644"/>
                  </a:lnTo>
                  <a:lnTo>
                    <a:pt x="76604" y="37644"/>
                  </a:lnTo>
                  <a:lnTo>
                    <a:pt x="76604" y="21078"/>
                  </a:lnTo>
                  <a:close/>
                  <a:moveTo>
                    <a:pt x="224484" y="327182"/>
                  </a:moveTo>
                  <a:cubicBezTo>
                    <a:pt x="224484" y="347008"/>
                    <a:pt x="208326" y="363135"/>
                    <a:pt x="188468" y="363135"/>
                  </a:cubicBezTo>
                  <a:lnTo>
                    <a:pt x="45920" y="363135"/>
                  </a:lnTo>
                  <a:cubicBezTo>
                    <a:pt x="26062" y="363135"/>
                    <a:pt x="9904" y="347008"/>
                    <a:pt x="9904" y="327182"/>
                  </a:cubicBezTo>
                  <a:lnTo>
                    <a:pt x="9897" y="47541"/>
                  </a:lnTo>
                  <a:lnTo>
                    <a:pt x="224478" y="47541"/>
                  </a:lnTo>
                  <a:lnTo>
                    <a:pt x="224478" y="327182"/>
                  </a:lnTo>
                  <a:close/>
                </a:path>
              </a:pathLst>
            </a:custGeom>
            <a:solidFill>
              <a:schemeClr val="tx2"/>
            </a:solidFill>
            <a:ln w="635" cap="flat">
              <a:noFill/>
              <a:prstDash val="solid"/>
              <a:miter/>
            </a:ln>
          </p:spPr>
          <p:txBody>
            <a:bodyPr rtlCol="0" anchor="ctr"/>
            <a:lstStyle/>
            <a:p>
              <a:endParaRPr lang="en-GB" dirty="0"/>
            </a:p>
          </p:txBody>
        </p:sp>
        <p:sp>
          <p:nvSpPr>
            <p:cNvPr id="209" name="Freihandform: Form 208">
              <a:extLst>
                <a:ext uri="{FF2B5EF4-FFF2-40B4-BE49-F238E27FC236}">
                  <a16:creationId xmlns:a16="http://schemas.microsoft.com/office/drawing/2014/main" id="{A5ED10EC-3C49-4351-8D2B-25B092424F01}"/>
                </a:ext>
              </a:extLst>
            </p:cNvPr>
            <p:cNvSpPr/>
            <p:nvPr/>
          </p:nvSpPr>
          <p:spPr>
            <a:xfrm>
              <a:off x="1574805" y="4502821"/>
              <a:ext cx="146870" cy="186534"/>
            </a:xfrm>
            <a:custGeom>
              <a:avLst/>
              <a:gdLst>
                <a:gd name="connsiteX0" fmla="*/ 146870 w 146869"/>
                <a:gd name="connsiteY0" fmla="*/ 0 h 186534"/>
                <a:gd name="connsiteX1" fmla="*/ 0 w 146869"/>
                <a:gd name="connsiteY1" fmla="*/ 93722 h 186534"/>
                <a:gd name="connsiteX2" fmla="*/ 0 w 146869"/>
                <a:gd name="connsiteY2" fmla="*/ 186535 h 186534"/>
                <a:gd name="connsiteX3" fmla="*/ 146870 w 146869"/>
                <a:gd name="connsiteY3" fmla="*/ 186535 h 186534"/>
                <a:gd name="connsiteX4" fmla="*/ 146870 w 146869"/>
                <a:gd name="connsiteY4" fmla="*/ 0 h 186534"/>
                <a:gd name="connsiteX5" fmla="*/ 136966 w 146869"/>
                <a:gd name="connsiteY5" fmla="*/ 176625 h 186534"/>
                <a:gd name="connsiteX6" fmla="*/ 9904 w 146869"/>
                <a:gd name="connsiteY6" fmla="*/ 176625 h 186534"/>
                <a:gd name="connsiteX7" fmla="*/ 9904 w 146869"/>
                <a:gd name="connsiteY7" fmla="*/ 99144 h 186534"/>
                <a:gd name="connsiteX8" fmla="*/ 136966 w 146869"/>
                <a:gd name="connsiteY8" fmla="*/ 18059 h 186534"/>
                <a:gd name="connsiteX9" fmla="*/ 136966 w 146869"/>
                <a:gd name="connsiteY9" fmla="*/ 176625 h 18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6869" h="186534">
                  <a:moveTo>
                    <a:pt x="146870" y="0"/>
                  </a:moveTo>
                  <a:lnTo>
                    <a:pt x="0" y="93722"/>
                  </a:lnTo>
                  <a:lnTo>
                    <a:pt x="0" y="186535"/>
                  </a:lnTo>
                  <a:lnTo>
                    <a:pt x="146870" y="186535"/>
                  </a:lnTo>
                  <a:lnTo>
                    <a:pt x="146870" y="0"/>
                  </a:lnTo>
                  <a:close/>
                  <a:moveTo>
                    <a:pt x="136966" y="176625"/>
                  </a:moveTo>
                  <a:lnTo>
                    <a:pt x="9904" y="176625"/>
                  </a:lnTo>
                  <a:lnTo>
                    <a:pt x="9904" y="99144"/>
                  </a:lnTo>
                  <a:lnTo>
                    <a:pt x="136966" y="18059"/>
                  </a:lnTo>
                  <a:lnTo>
                    <a:pt x="136966" y="176625"/>
                  </a:lnTo>
                  <a:close/>
                </a:path>
              </a:pathLst>
            </a:custGeom>
            <a:solidFill>
              <a:schemeClr val="accent1"/>
            </a:solidFill>
            <a:ln w="635" cap="flat">
              <a:noFill/>
              <a:prstDash val="solid"/>
              <a:miter/>
            </a:ln>
          </p:spPr>
          <p:txBody>
            <a:bodyPr rtlCol="0" anchor="ctr"/>
            <a:lstStyle/>
            <a:p>
              <a:endParaRPr lang="en-GB" dirty="0"/>
            </a:p>
          </p:txBody>
        </p:sp>
      </p:grpSp>
      <p:sp>
        <p:nvSpPr>
          <p:cNvPr id="210" name="TextBox 207">
            <a:extLst>
              <a:ext uri="{FF2B5EF4-FFF2-40B4-BE49-F238E27FC236}">
                <a16:creationId xmlns:a16="http://schemas.microsoft.com/office/drawing/2014/main" id="{543BF1D7-66BA-415F-A5D9-536EBB4202E9}"/>
              </a:ext>
            </a:extLst>
          </p:cNvPr>
          <p:cNvSpPr txBox="1"/>
          <p:nvPr/>
        </p:nvSpPr>
        <p:spPr>
          <a:xfrm>
            <a:off x="539189" y="1957874"/>
            <a:ext cx="318998" cy="107722"/>
          </a:xfrm>
          <a:prstGeom prst="rect">
            <a:avLst/>
          </a:prstGeom>
          <a:noFill/>
          <a:effectLst/>
        </p:spPr>
        <p:txBody>
          <a:bodyPr wrap="none" lIns="0" tIns="0" rIns="0" bIns="0" rtlCol="0" anchor="t">
            <a:spAutoFit/>
          </a:bodyPr>
          <a:lstStyle/>
          <a:p>
            <a:pPr algn="ctr"/>
            <a:r>
              <a:rPr lang="en-GB" sz="700" dirty="0">
                <a:solidFill>
                  <a:schemeClr val="tx2"/>
                </a:solidFill>
              </a:rPr>
              <a:t>Camera</a:t>
            </a:r>
          </a:p>
        </p:txBody>
      </p:sp>
      <p:sp>
        <p:nvSpPr>
          <p:cNvPr id="211" name="TextBox 208">
            <a:extLst>
              <a:ext uri="{FF2B5EF4-FFF2-40B4-BE49-F238E27FC236}">
                <a16:creationId xmlns:a16="http://schemas.microsoft.com/office/drawing/2014/main" id="{095C5ABF-5C8D-4798-8F69-D7B1D40DE6CC}"/>
              </a:ext>
            </a:extLst>
          </p:cNvPr>
          <p:cNvSpPr txBox="1"/>
          <p:nvPr/>
        </p:nvSpPr>
        <p:spPr>
          <a:xfrm>
            <a:off x="641780" y="2605054"/>
            <a:ext cx="113814" cy="107722"/>
          </a:xfrm>
          <a:prstGeom prst="rect">
            <a:avLst/>
          </a:prstGeom>
          <a:noFill/>
          <a:effectLst/>
        </p:spPr>
        <p:txBody>
          <a:bodyPr wrap="none" lIns="0" tIns="0" rIns="0" bIns="0" rtlCol="0" anchor="t">
            <a:spAutoFit/>
          </a:bodyPr>
          <a:lstStyle/>
          <a:p>
            <a:pPr algn="ctr"/>
            <a:r>
              <a:rPr lang="en-GB" sz="700" dirty="0">
                <a:solidFill>
                  <a:schemeClr val="tx2"/>
                </a:solidFill>
              </a:rPr>
              <a:t>TV</a:t>
            </a:r>
          </a:p>
        </p:txBody>
      </p:sp>
      <p:sp>
        <p:nvSpPr>
          <p:cNvPr id="212" name="TextBox 209">
            <a:extLst>
              <a:ext uri="{FF2B5EF4-FFF2-40B4-BE49-F238E27FC236}">
                <a16:creationId xmlns:a16="http://schemas.microsoft.com/office/drawing/2014/main" id="{FDE75155-7E74-4E2B-BFDE-0B8E1330D340}"/>
              </a:ext>
            </a:extLst>
          </p:cNvPr>
          <p:cNvSpPr txBox="1"/>
          <p:nvPr/>
        </p:nvSpPr>
        <p:spPr>
          <a:xfrm>
            <a:off x="582470" y="3252234"/>
            <a:ext cx="232436" cy="107722"/>
          </a:xfrm>
          <a:prstGeom prst="rect">
            <a:avLst/>
          </a:prstGeom>
          <a:noFill/>
          <a:effectLst/>
        </p:spPr>
        <p:txBody>
          <a:bodyPr wrap="none" lIns="0" tIns="0" rIns="0" bIns="0" rtlCol="0" anchor="t">
            <a:spAutoFit/>
          </a:bodyPr>
          <a:lstStyle/>
          <a:p>
            <a:pPr algn="ctr"/>
            <a:r>
              <a:rPr lang="en-GB" sz="700" dirty="0">
                <a:solidFill>
                  <a:schemeClr val="tx2"/>
                </a:solidFill>
              </a:rPr>
              <a:t>Radio</a:t>
            </a:r>
          </a:p>
        </p:txBody>
      </p:sp>
      <p:sp>
        <p:nvSpPr>
          <p:cNvPr id="213" name="TextBox 210">
            <a:extLst>
              <a:ext uri="{FF2B5EF4-FFF2-40B4-BE49-F238E27FC236}">
                <a16:creationId xmlns:a16="http://schemas.microsoft.com/office/drawing/2014/main" id="{C194FA67-FA1E-4463-8581-433679F31411}"/>
              </a:ext>
            </a:extLst>
          </p:cNvPr>
          <p:cNvSpPr txBox="1"/>
          <p:nvPr/>
        </p:nvSpPr>
        <p:spPr>
          <a:xfrm>
            <a:off x="612126" y="3899415"/>
            <a:ext cx="173124" cy="107722"/>
          </a:xfrm>
          <a:prstGeom prst="rect">
            <a:avLst/>
          </a:prstGeom>
          <a:noFill/>
          <a:effectLst/>
        </p:spPr>
        <p:txBody>
          <a:bodyPr wrap="none" lIns="0" tIns="0" rIns="0" bIns="0" rtlCol="0" anchor="t">
            <a:spAutoFit/>
          </a:bodyPr>
          <a:lstStyle/>
          <a:p>
            <a:pPr algn="ctr"/>
            <a:r>
              <a:rPr lang="en-GB" sz="700" dirty="0">
                <a:solidFill>
                  <a:schemeClr val="tx2"/>
                </a:solidFill>
              </a:rPr>
              <a:t>Play</a:t>
            </a:r>
          </a:p>
        </p:txBody>
      </p:sp>
      <p:sp>
        <p:nvSpPr>
          <p:cNvPr id="214" name="TextBox 211">
            <a:extLst>
              <a:ext uri="{FF2B5EF4-FFF2-40B4-BE49-F238E27FC236}">
                <a16:creationId xmlns:a16="http://schemas.microsoft.com/office/drawing/2014/main" id="{4F2914BE-560B-49DC-8E18-FB82678084C6}"/>
              </a:ext>
            </a:extLst>
          </p:cNvPr>
          <p:cNvSpPr txBox="1"/>
          <p:nvPr/>
        </p:nvSpPr>
        <p:spPr>
          <a:xfrm>
            <a:off x="566440" y="4546594"/>
            <a:ext cx="264496" cy="107722"/>
          </a:xfrm>
          <a:prstGeom prst="rect">
            <a:avLst/>
          </a:prstGeom>
          <a:noFill/>
          <a:effectLst/>
        </p:spPr>
        <p:txBody>
          <a:bodyPr wrap="none" lIns="0" tIns="0" rIns="0" bIns="0" rtlCol="0" anchor="t">
            <a:spAutoFit/>
          </a:bodyPr>
          <a:lstStyle/>
          <a:p>
            <a:pPr algn="ctr"/>
            <a:r>
              <a:rPr lang="en-GB" sz="700" dirty="0">
                <a:solidFill>
                  <a:schemeClr val="tx2"/>
                </a:solidFill>
              </a:rPr>
              <a:t>Printer</a:t>
            </a:r>
          </a:p>
        </p:txBody>
      </p:sp>
      <p:sp>
        <p:nvSpPr>
          <p:cNvPr id="215" name="TextBox 218">
            <a:extLst>
              <a:ext uri="{FF2B5EF4-FFF2-40B4-BE49-F238E27FC236}">
                <a16:creationId xmlns:a16="http://schemas.microsoft.com/office/drawing/2014/main" id="{1243CB01-958C-405B-B635-B1819651CA77}"/>
              </a:ext>
            </a:extLst>
          </p:cNvPr>
          <p:cNvSpPr txBox="1"/>
          <p:nvPr/>
        </p:nvSpPr>
        <p:spPr>
          <a:xfrm>
            <a:off x="1316282" y="1957874"/>
            <a:ext cx="426400" cy="107722"/>
          </a:xfrm>
          <a:prstGeom prst="rect">
            <a:avLst/>
          </a:prstGeom>
          <a:noFill/>
          <a:effectLst/>
        </p:spPr>
        <p:txBody>
          <a:bodyPr wrap="none" lIns="0" tIns="0" rIns="0" bIns="0" rtlCol="0" anchor="t">
            <a:spAutoFit/>
          </a:bodyPr>
          <a:lstStyle/>
          <a:p>
            <a:pPr algn="ctr"/>
            <a:r>
              <a:rPr lang="en-GB" sz="700" dirty="0">
                <a:solidFill>
                  <a:schemeClr val="tx2"/>
                </a:solidFill>
              </a:rPr>
              <a:t>Cell phone</a:t>
            </a:r>
          </a:p>
        </p:txBody>
      </p:sp>
      <p:sp>
        <p:nvSpPr>
          <p:cNvPr id="216" name="TextBox 219">
            <a:extLst>
              <a:ext uri="{FF2B5EF4-FFF2-40B4-BE49-F238E27FC236}">
                <a16:creationId xmlns:a16="http://schemas.microsoft.com/office/drawing/2014/main" id="{B9A7D80E-D2B6-458B-A85A-3A8F384D77E5}"/>
              </a:ext>
            </a:extLst>
          </p:cNvPr>
          <p:cNvSpPr txBox="1"/>
          <p:nvPr/>
        </p:nvSpPr>
        <p:spPr>
          <a:xfrm>
            <a:off x="1335518" y="2605054"/>
            <a:ext cx="387927" cy="107722"/>
          </a:xfrm>
          <a:prstGeom prst="rect">
            <a:avLst/>
          </a:prstGeom>
          <a:noFill/>
          <a:effectLst/>
        </p:spPr>
        <p:txBody>
          <a:bodyPr wrap="none" lIns="0" tIns="0" rIns="0" bIns="0" rtlCol="0" anchor="t">
            <a:spAutoFit/>
          </a:bodyPr>
          <a:lstStyle/>
          <a:p>
            <a:pPr algn="ctr"/>
            <a:r>
              <a:rPr lang="en-GB" sz="700" dirty="0">
                <a:solidFill>
                  <a:schemeClr val="tx2"/>
                </a:solidFill>
              </a:rPr>
              <a:t>Controller</a:t>
            </a:r>
          </a:p>
        </p:txBody>
      </p:sp>
      <p:sp>
        <p:nvSpPr>
          <p:cNvPr id="217" name="TextBox 220">
            <a:extLst>
              <a:ext uri="{FF2B5EF4-FFF2-40B4-BE49-F238E27FC236}">
                <a16:creationId xmlns:a16="http://schemas.microsoft.com/office/drawing/2014/main" id="{2776511C-BC9F-4ED8-82A5-52A28065C3CD}"/>
              </a:ext>
            </a:extLst>
          </p:cNvPr>
          <p:cNvSpPr txBox="1"/>
          <p:nvPr/>
        </p:nvSpPr>
        <p:spPr>
          <a:xfrm>
            <a:off x="1391622" y="3252234"/>
            <a:ext cx="275718" cy="107722"/>
          </a:xfrm>
          <a:prstGeom prst="rect">
            <a:avLst/>
          </a:prstGeom>
          <a:noFill/>
          <a:effectLst/>
        </p:spPr>
        <p:txBody>
          <a:bodyPr wrap="none" lIns="0" tIns="0" rIns="0" bIns="0" rtlCol="0" anchor="t">
            <a:spAutoFit/>
          </a:bodyPr>
          <a:lstStyle/>
          <a:p>
            <a:pPr algn="ctr"/>
            <a:r>
              <a:rPr lang="en-GB" sz="700" dirty="0">
                <a:solidFill>
                  <a:schemeClr val="tx2"/>
                </a:solidFill>
              </a:rPr>
              <a:t>Go pro</a:t>
            </a:r>
          </a:p>
        </p:txBody>
      </p:sp>
      <p:sp>
        <p:nvSpPr>
          <p:cNvPr id="218" name="TextBox 221">
            <a:extLst>
              <a:ext uri="{FF2B5EF4-FFF2-40B4-BE49-F238E27FC236}">
                <a16:creationId xmlns:a16="http://schemas.microsoft.com/office/drawing/2014/main" id="{FA8B3501-D2A7-4F10-B6B8-7DA6637B029B}"/>
              </a:ext>
            </a:extLst>
          </p:cNvPr>
          <p:cNvSpPr txBox="1"/>
          <p:nvPr/>
        </p:nvSpPr>
        <p:spPr>
          <a:xfrm>
            <a:off x="1402843" y="3899415"/>
            <a:ext cx="253274" cy="215444"/>
          </a:xfrm>
          <a:prstGeom prst="rect">
            <a:avLst/>
          </a:prstGeom>
          <a:noFill/>
          <a:effectLst/>
        </p:spPr>
        <p:txBody>
          <a:bodyPr wrap="none" lIns="0" tIns="0" rIns="0" bIns="0" rtlCol="0" anchor="t">
            <a:spAutoFit/>
          </a:bodyPr>
          <a:lstStyle/>
          <a:p>
            <a:pPr algn="ctr"/>
            <a:r>
              <a:rPr lang="en-GB" sz="700" dirty="0">
                <a:solidFill>
                  <a:schemeClr val="tx2"/>
                </a:solidFill>
              </a:rPr>
              <a:t>Pause</a:t>
            </a:r>
            <a:br>
              <a:rPr lang="en-GB" sz="700" dirty="0">
                <a:solidFill>
                  <a:schemeClr val="tx2"/>
                </a:solidFill>
              </a:rPr>
            </a:br>
            <a:r>
              <a:rPr lang="en-GB" sz="700" dirty="0">
                <a:solidFill>
                  <a:schemeClr val="tx2"/>
                </a:solidFill>
              </a:rPr>
              <a:t>button</a:t>
            </a:r>
          </a:p>
        </p:txBody>
      </p:sp>
      <p:sp>
        <p:nvSpPr>
          <p:cNvPr id="219" name="TextBox 222">
            <a:extLst>
              <a:ext uri="{FF2B5EF4-FFF2-40B4-BE49-F238E27FC236}">
                <a16:creationId xmlns:a16="http://schemas.microsoft.com/office/drawing/2014/main" id="{150E5137-CB15-4770-AAC3-C5A44045248D}"/>
              </a:ext>
            </a:extLst>
          </p:cNvPr>
          <p:cNvSpPr txBox="1"/>
          <p:nvPr/>
        </p:nvSpPr>
        <p:spPr>
          <a:xfrm>
            <a:off x="1386814" y="4546594"/>
            <a:ext cx="285335" cy="215444"/>
          </a:xfrm>
          <a:prstGeom prst="rect">
            <a:avLst/>
          </a:prstGeom>
          <a:noFill/>
          <a:effectLst/>
        </p:spPr>
        <p:txBody>
          <a:bodyPr wrap="none" lIns="0" tIns="0" rIns="0" bIns="0" rtlCol="0" anchor="t">
            <a:spAutoFit/>
          </a:bodyPr>
          <a:lstStyle/>
          <a:p>
            <a:pPr algn="ctr"/>
            <a:r>
              <a:rPr lang="en-GB" sz="700" dirty="0">
                <a:solidFill>
                  <a:schemeClr val="tx2"/>
                </a:solidFill>
              </a:rPr>
              <a:t>Battery</a:t>
            </a:r>
            <a:br>
              <a:rPr lang="en-GB" sz="700" dirty="0">
                <a:solidFill>
                  <a:schemeClr val="tx2"/>
                </a:solidFill>
              </a:rPr>
            </a:br>
            <a:r>
              <a:rPr lang="en-GB" sz="700" dirty="0">
                <a:solidFill>
                  <a:schemeClr val="tx2"/>
                </a:solidFill>
              </a:rPr>
              <a:t>status</a:t>
            </a:r>
          </a:p>
        </p:txBody>
      </p:sp>
      <p:sp>
        <p:nvSpPr>
          <p:cNvPr id="220" name="TextBox 224">
            <a:extLst>
              <a:ext uri="{FF2B5EF4-FFF2-40B4-BE49-F238E27FC236}">
                <a16:creationId xmlns:a16="http://schemas.microsoft.com/office/drawing/2014/main" id="{4B03D017-8B9F-4C92-B528-1390B5D29518}"/>
              </a:ext>
            </a:extLst>
          </p:cNvPr>
          <p:cNvSpPr txBox="1"/>
          <p:nvPr/>
        </p:nvSpPr>
        <p:spPr>
          <a:xfrm>
            <a:off x="2084481" y="1957874"/>
            <a:ext cx="553037" cy="107722"/>
          </a:xfrm>
          <a:prstGeom prst="rect">
            <a:avLst/>
          </a:prstGeom>
          <a:noFill/>
          <a:effectLst/>
        </p:spPr>
        <p:txBody>
          <a:bodyPr wrap="none" lIns="0" tIns="0" rIns="0" bIns="0" rtlCol="0" anchor="t">
            <a:spAutoFit/>
          </a:bodyPr>
          <a:lstStyle/>
          <a:p>
            <a:pPr algn="ctr"/>
            <a:r>
              <a:rPr lang="en-GB" sz="700" dirty="0">
                <a:solidFill>
                  <a:schemeClr val="tx2"/>
                </a:solidFill>
              </a:rPr>
              <a:t>Video camera</a:t>
            </a:r>
          </a:p>
        </p:txBody>
      </p:sp>
      <p:sp>
        <p:nvSpPr>
          <p:cNvPr id="221" name="TextBox 225">
            <a:extLst>
              <a:ext uri="{FF2B5EF4-FFF2-40B4-BE49-F238E27FC236}">
                <a16:creationId xmlns:a16="http://schemas.microsoft.com/office/drawing/2014/main" id="{A0F9B7F0-487C-4091-AED6-F2A6C9340563}"/>
              </a:ext>
            </a:extLst>
          </p:cNvPr>
          <p:cNvSpPr txBox="1"/>
          <p:nvPr/>
        </p:nvSpPr>
        <p:spPr>
          <a:xfrm>
            <a:off x="2219132" y="2605054"/>
            <a:ext cx="283732" cy="107722"/>
          </a:xfrm>
          <a:prstGeom prst="rect">
            <a:avLst/>
          </a:prstGeom>
          <a:noFill/>
          <a:effectLst/>
        </p:spPr>
        <p:txBody>
          <a:bodyPr wrap="none" lIns="0" tIns="0" rIns="0" bIns="0" rtlCol="0" anchor="t">
            <a:spAutoFit/>
          </a:bodyPr>
          <a:lstStyle/>
          <a:p>
            <a:pPr algn="ctr"/>
            <a:r>
              <a:rPr lang="en-GB" sz="700" dirty="0">
                <a:solidFill>
                  <a:schemeClr val="tx2"/>
                </a:solidFill>
              </a:rPr>
              <a:t>Screen</a:t>
            </a:r>
          </a:p>
        </p:txBody>
      </p:sp>
      <p:sp>
        <p:nvSpPr>
          <p:cNvPr id="222" name="TextBox 226">
            <a:extLst>
              <a:ext uri="{FF2B5EF4-FFF2-40B4-BE49-F238E27FC236}">
                <a16:creationId xmlns:a16="http://schemas.microsoft.com/office/drawing/2014/main" id="{36728DC9-DE26-49A1-B455-822A0B5B17E0}"/>
              </a:ext>
            </a:extLst>
          </p:cNvPr>
          <p:cNvSpPr txBox="1"/>
          <p:nvPr/>
        </p:nvSpPr>
        <p:spPr>
          <a:xfrm>
            <a:off x="2201498" y="3252234"/>
            <a:ext cx="318998" cy="107722"/>
          </a:xfrm>
          <a:prstGeom prst="rect">
            <a:avLst/>
          </a:prstGeom>
          <a:noFill/>
          <a:effectLst/>
        </p:spPr>
        <p:txBody>
          <a:bodyPr wrap="none" lIns="0" tIns="0" rIns="0" bIns="0" rtlCol="0" anchor="t">
            <a:spAutoFit/>
          </a:bodyPr>
          <a:lstStyle/>
          <a:p>
            <a:pPr algn="ctr"/>
            <a:r>
              <a:rPr lang="en-GB" sz="700" dirty="0">
                <a:solidFill>
                  <a:schemeClr val="tx2"/>
                </a:solidFill>
              </a:rPr>
              <a:t>Camera</a:t>
            </a:r>
          </a:p>
        </p:txBody>
      </p:sp>
      <p:sp>
        <p:nvSpPr>
          <p:cNvPr id="223" name="TextBox 227">
            <a:extLst>
              <a:ext uri="{FF2B5EF4-FFF2-40B4-BE49-F238E27FC236}">
                <a16:creationId xmlns:a16="http://schemas.microsoft.com/office/drawing/2014/main" id="{A58F9F31-B7A1-410E-A8EB-D61D7DC756FF}"/>
              </a:ext>
            </a:extLst>
          </p:cNvPr>
          <p:cNvSpPr txBox="1"/>
          <p:nvPr/>
        </p:nvSpPr>
        <p:spPr>
          <a:xfrm>
            <a:off x="2219132" y="3899415"/>
            <a:ext cx="283732" cy="107722"/>
          </a:xfrm>
          <a:prstGeom prst="rect">
            <a:avLst/>
          </a:prstGeom>
          <a:noFill/>
          <a:effectLst/>
        </p:spPr>
        <p:txBody>
          <a:bodyPr wrap="none" lIns="0" tIns="0" rIns="0" bIns="0" rtlCol="0" anchor="t">
            <a:spAutoFit/>
          </a:bodyPr>
          <a:lstStyle/>
          <a:p>
            <a:pPr algn="ctr"/>
            <a:r>
              <a:rPr lang="en-GB" sz="700" dirty="0">
                <a:solidFill>
                  <a:schemeClr val="tx2"/>
                </a:solidFill>
              </a:rPr>
              <a:t>Screen</a:t>
            </a:r>
          </a:p>
        </p:txBody>
      </p:sp>
      <p:sp>
        <p:nvSpPr>
          <p:cNvPr id="224" name="TextBox 228">
            <a:extLst>
              <a:ext uri="{FF2B5EF4-FFF2-40B4-BE49-F238E27FC236}">
                <a16:creationId xmlns:a16="http://schemas.microsoft.com/office/drawing/2014/main" id="{ADCCD19B-51A6-4F16-ACE8-3054629FDA9C}"/>
              </a:ext>
            </a:extLst>
          </p:cNvPr>
          <p:cNvSpPr txBox="1"/>
          <p:nvPr/>
        </p:nvSpPr>
        <p:spPr>
          <a:xfrm>
            <a:off x="2107724" y="4546594"/>
            <a:ext cx="506550" cy="107722"/>
          </a:xfrm>
          <a:prstGeom prst="rect">
            <a:avLst/>
          </a:prstGeom>
          <a:noFill/>
          <a:effectLst/>
        </p:spPr>
        <p:txBody>
          <a:bodyPr wrap="none" lIns="0" tIns="0" rIns="0" bIns="0" rtlCol="0" anchor="t">
            <a:spAutoFit/>
          </a:bodyPr>
          <a:lstStyle/>
          <a:p>
            <a:pPr algn="ctr"/>
            <a:r>
              <a:rPr lang="en-GB" sz="700" dirty="0">
                <a:solidFill>
                  <a:schemeClr val="tx2"/>
                </a:solidFill>
              </a:rPr>
              <a:t>Headphones</a:t>
            </a:r>
          </a:p>
        </p:txBody>
      </p:sp>
      <p:sp>
        <p:nvSpPr>
          <p:cNvPr id="225" name="TextBox 230">
            <a:extLst>
              <a:ext uri="{FF2B5EF4-FFF2-40B4-BE49-F238E27FC236}">
                <a16:creationId xmlns:a16="http://schemas.microsoft.com/office/drawing/2014/main" id="{4FE3B337-363F-4EFC-80F7-8A944BFEE9A8}"/>
              </a:ext>
            </a:extLst>
          </p:cNvPr>
          <p:cNvSpPr txBox="1"/>
          <p:nvPr/>
        </p:nvSpPr>
        <p:spPr>
          <a:xfrm>
            <a:off x="3063473" y="1957874"/>
            <a:ext cx="258084" cy="107722"/>
          </a:xfrm>
          <a:prstGeom prst="rect">
            <a:avLst/>
          </a:prstGeom>
          <a:noFill/>
          <a:effectLst/>
        </p:spPr>
        <p:txBody>
          <a:bodyPr wrap="none" lIns="0" tIns="0" rIns="0" bIns="0" rtlCol="0" anchor="t">
            <a:spAutoFit/>
          </a:bodyPr>
          <a:lstStyle/>
          <a:p>
            <a:pPr algn="ctr"/>
            <a:r>
              <a:rPr lang="en-GB" sz="700" dirty="0">
                <a:solidFill>
                  <a:schemeClr val="tx2"/>
                </a:solidFill>
              </a:rPr>
              <a:t>Sound</a:t>
            </a:r>
          </a:p>
        </p:txBody>
      </p:sp>
      <p:sp>
        <p:nvSpPr>
          <p:cNvPr id="226" name="TextBox 231">
            <a:extLst>
              <a:ext uri="{FF2B5EF4-FFF2-40B4-BE49-F238E27FC236}">
                <a16:creationId xmlns:a16="http://schemas.microsoft.com/office/drawing/2014/main" id="{F7668436-EC3C-40A7-B4AA-D74A14DBA09C}"/>
              </a:ext>
            </a:extLst>
          </p:cNvPr>
          <p:cNvSpPr txBox="1"/>
          <p:nvPr/>
        </p:nvSpPr>
        <p:spPr>
          <a:xfrm>
            <a:off x="3015381" y="2605054"/>
            <a:ext cx="354264" cy="107722"/>
          </a:xfrm>
          <a:prstGeom prst="rect">
            <a:avLst/>
          </a:prstGeom>
          <a:noFill/>
          <a:effectLst/>
        </p:spPr>
        <p:txBody>
          <a:bodyPr wrap="none" lIns="0" tIns="0" rIns="0" bIns="0" rtlCol="0" anchor="t">
            <a:spAutoFit/>
          </a:bodyPr>
          <a:lstStyle/>
          <a:p>
            <a:pPr algn="ctr"/>
            <a:r>
              <a:rPr lang="en-GB" sz="700" dirty="0">
                <a:solidFill>
                  <a:schemeClr val="tx2"/>
                </a:solidFill>
              </a:rPr>
              <a:t>Webcam</a:t>
            </a:r>
          </a:p>
        </p:txBody>
      </p:sp>
      <p:sp>
        <p:nvSpPr>
          <p:cNvPr id="227" name="TextBox 232">
            <a:extLst>
              <a:ext uri="{FF2B5EF4-FFF2-40B4-BE49-F238E27FC236}">
                <a16:creationId xmlns:a16="http://schemas.microsoft.com/office/drawing/2014/main" id="{7A44DED6-E8D0-4844-A150-1ED3F5FD22A0}"/>
              </a:ext>
            </a:extLst>
          </p:cNvPr>
          <p:cNvSpPr txBox="1"/>
          <p:nvPr/>
        </p:nvSpPr>
        <p:spPr>
          <a:xfrm>
            <a:off x="3055457" y="3252234"/>
            <a:ext cx="274114" cy="107722"/>
          </a:xfrm>
          <a:prstGeom prst="rect">
            <a:avLst/>
          </a:prstGeom>
          <a:noFill/>
          <a:effectLst/>
        </p:spPr>
        <p:txBody>
          <a:bodyPr wrap="none" lIns="0" tIns="0" rIns="0" bIns="0" rtlCol="0" anchor="t">
            <a:spAutoFit/>
          </a:bodyPr>
          <a:lstStyle/>
          <a:p>
            <a:pPr algn="ctr"/>
            <a:r>
              <a:rPr lang="en-GB" sz="700" dirty="0">
                <a:solidFill>
                  <a:schemeClr val="tx2"/>
                </a:solidFill>
              </a:rPr>
              <a:t>Laptop</a:t>
            </a:r>
          </a:p>
        </p:txBody>
      </p:sp>
      <p:sp>
        <p:nvSpPr>
          <p:cNvPr id="228" name="TextBox 233">
            <a:extLst>
              <a:ext uri="{FF2B5EF4-FFF2-40B4-BE49-F238E27FC236}">
                <a16:creationId xmlns:a16="http://schemas.microsoft.com/office/drawing/2014/main" id="{DA6B2D09-8C28-4BEB-AC1D-93A611888D5A}"/>
              </a:ext>
            </a:extLst>
          </p:cNvPr>
          <p:cNvSpPr txBox="1"/>
          <p:nvPr/>
        </p:nvSpPr>
        <p:spPr>
          <a:xfrm>
            <a:off x="3067478" y="3899415"/>
            <a:ext cx="250068" cy="215444"/>
          </a:xfrm>
          <a:prstGeom prst="rect">
            <a:avLst/>
          </a:prstGeom>
          <a:noFill/>
          <a:effectLst/>
        </p:spPr>
        <p:txBody>
          <a:bodyPr wrap="none" lIns="0" tIns="0" rIns="0" bIns="0" rtlCol="0" anchor="t">
            <a:spAutoFit/>
          </a:bodyPr>
          <a:lstStyle/>
          <a:p>
            <a:pPr algn="ctr"/>
            <a:r>
              <a:rPr lang="en-GB" sz="700" dirty="0">
                <a:solidFill>
                  <a:schemeClr val="tx2"/>
                </a:solidFill>
              </a:rPr>
              <a:t>Stop</a:t>
            </a:r>
            <a:br>
              <a:rPr lang="en-GB" sz="700" dirty="0">
                <a:solidFill>
                  <a:schemeClr val="tx2"/>
                </a:solidFill>
              </a:rPr>
            </a:br>
            <a:r>
              <a:rPr lang="en-GB" sz="700" dirty="0">
                <a:solidFill>
                  <a:schemeClr val="tx2"/>
                </a:solidFill>
              </a:rPr>
              <a:t>button</a:t>
            </a:r>
          </a:p>
        </p:txBody>
      </p:sp>
      <p:sp>
        <p:nvSpPr>
          <p:cNvPr id="229" name="TextBox 234">
            <a:extLst>
              <a:ext uri="{FF2B5EF4-FFF2-40B4-BE49-F238E27FC236}">
                <a16:creationId xmlns:a16="http://schemas.microsoft.com/office/drawing/2014/main" id="{E5DDEA1B-E0EE-45FB-9405-497D075CF535}"/>
              </a:ext>
            </a:extLst>
          </p:cNvPr>
          <p:cNvSpPr txBox="1"/>
          <p:nvPr/>
        </p:nvSpPr>
        <p:spPr>
          <a:xfrm>
            <a:off x="2958476" y="4546594"/>
            <a:ext cx="468077" cy="107722"/>
          </a:xfrm>
          <a:prstGeom prst="rect">
            <a:avLst/>
          </a:prstGeom>
          <a:noFill/>
          <a:effectLst/>
        </p:spPr>
        <p:txBody>
          <a:bodyPr wrap="none" lIns="0" tIns="0" rIns="0" bIns="0" rtlCol="0" anchor="t">
            <a:spAutoFit/>
          </a:bodyPr>
          <a:lstStyle/>
          <a:p>
            <a:pPr algn="ctr"/>
            <a:r>
              <a:rPr lang="en-GB" sz="700" dirty="0">
                <a:solidFill>
                  <a:schemeClr val="tx2"/>
                </a:solidFill>
              </a:rPr>
              <a:t>Microphone</a:t>
            </a:r>
          </a:p>
        </p:txBody>
      </p:sp>
      <p:sp>
        <p:nvSpPr>
          <p:cNvPr id="230" name="TextBox 236">
            <a:extLst>
              <a:ext uri="{FF2B5EF4-FFF2-40B4-BE49-F238E27FC236}">
                <a16:creationId xmlns:a16="http://schemas.microsoft.com/office/drawing/2014/main" id="{0D9ADD33-26F7-4A79-9857-8CA7335C96FF}"/>
              </a:ext>
            </a:extLst>
          </p:cNvPr>
          <p:cNvSpPr txBox="1"/>
          <p:nvPr/>
        </p:nvSpPr>
        <p:spPr>
          <a:xfrm>
            <a:off x="3822852" y="1957874"/>
            <a:ext cx="402354" cy="107722"/>
          </a:xfrm>
          <a:prstGeom prst="rect">
            <a:avLst/>
          </a:prstGeom>
          <a:noFill/>
          <a:effectLst/>
        </p:spPr>
        <p:txBody>
          <a:bodyPr wrap="none" lIns="0" tIns="0" rIns="0" bIns="0" rtlCol="0" anchor="t">
            <a:spAutoFit/>
          </a:bodyPr>
          <a:lstStyle/>
          <a:p>
            <a:pPr algn="ctr"/>
            <a:r>
              <a:rPr lang="en-GB" sz="700" dirty="0">
                <a:solidFill>
                  <a:schemeClr val="tx2"/>
                </a:solidFill>
              </a:rPr>
              <a:t>Calculator</a:t>
            </a:r>
          </a:p>
        </p:txBody>
      </p:sp>
      <p:sp>
        <p:nvSpPr>
          <p:cNvPr id="231" name="TextBox 237">
            <a:extLst>
              <a:ext uri="{FF2B5EF4-FFF2-40B4-BE49-F238E27FC236}">
                <a16:creationId xmlns:a16="http://schemas.microsoft.com/office/drawing/2014/main" id="{5867C5DD-21F3-45D6-8915-7E79AEB18CE5}"/>
              </a:ext>
            </a:extLst>
          </p:cNvPr>
          <p:cNvSpPr txBox="1"/>
          <p:nvPr/>
        </p:nvSpPr>
        <p:spPr>
          <a:xfrm>
            <a:off x="3830066" y="2605054"/>
            <a:ext cx="387927" cy="107722"/>
          </a:xfrm>
          <a:prstGeom prst="rect">
            <a:avLst/>
          </a:prstGeom>
          <a:noFill/>
          <a:effectLst/>
        </p:spPr>
        <p:txBody>
          <a:bodyPr wrap="none" lIns="0" tIns="0" rIns="0" bIns="0" rtlCol="0" anchor="t">
            <a:spAutoFit/>
          </a:bodyPr>
          <a:lstStyle/>
          <a:p>
            <a:pPr algn="ctr"/>
            <a:r>
              <a:rPr lang="en-GB" sz="700" dirty="0">
                <a:solidFill>
                  <a:schemeClr val="tx2"/>
                </a:solidFill>
              </a:rPr>
              <a:t>Light bulb</a:t>
            </a:r>
          </a:p>
        </p:txBody>
      </p:sp>
      <p:sp>
        <p:nvSpPr>
          <p:cNvPr id="232" name="TextBox 238">
            <a:extLst>
              <a:ext uri="{FF2B5EF4-FFF2-40B4-BE49-F238E27FC236}">
                <a16:creationId xmlns:a16="http://schemas.microsoft.com/office/drawing/2014/main" id="{05F17BDF-905E-4A54-B391-10853F45589C}"/>
              </a:ext>
            </a:extLst>
          </p:cNvPr>
          <p:cNvSpPr txBox="1"/>
          <p:nvPr/>
        </p:nvSpPr>
        <p:spPr>
          <a:xfrm>
            <a:off x="3802014" y="3252234"/>
            <a:ext cx="444032" cy="107722"/>
          </a:xfrm>
          <a:prstGeom prst="rect">
            <a:avLst/>
          </a:prstGeom>
          <a:noFill/>
          <a:effectLst/>
        </p:spPr>
        <p:txBody>
          <a:bodyPr wrap="none" lIns="0" tIns="0" rIns="0" bIns="0" rtlCol="0" anchor="t">
            <a:spAutoFit/>
          </a:bodyPr>
          <a:lstStyle/>
          <a:p>
            <a:pPr algn="ctr"/>
            <a:r>
              <a:rPr lang="en-GB" sz="700" dirty="0">
                <a:solidFill>
                  <a:schemeClr val="tx2"/>
                </a:solidFill>
              </a:rPr>
              <a:t>Camcorder</a:t>
            </a:r>
          </a:p>
        </p:txBody>
      </p:sp>
      <p:sp>
        <p:nvSpPr>
          <p:cNvPr id="233" name="TextBox 239">
            <a:extLst>
              <a:ext uri="{FF2B5EF4-FFF2-40B4-BE49-F238E27FC236}">
                <a16:creationId xmlns:a16="http://schemas.microsoft.com/office/drawing/2014/main" id="{F4B8094B-F16D-4B27-AA40-D50EA2BB5EE1}"/>
              </a:ext>
            </a:extLst>
          </p:cNvPr>
          <p:cNvSpPr txBox="1"/>
          <p:nvPr/>
        </p:nvSpPr>
        <p:spPr>
          <a:xfrm>
            <a:off x="3897393" y="3899415"/>
            <a:ext cx="253274" cy="215444"/>
          </a:xfrm>
          <a:prstGeom prst="rect">
            <a:avLst/>
          </a:prstGeom>
          <a:noFill/>
          <a:effectLst/>
        </p:spPr>
        <p:txBody>
          <a:bodyPr wrap="none" lIns="0" tIns="0" rIns="0" bIns="0" rtlCol="0" anchor="t">
            <a:spAutoFit/>
          </a:bodyPr>
          <a:lstStyle/>
          <a:p>
            <a:pPr algn="ctr"/>
            <a:r>
              <a:rPr lang="en-GB" sz="700" dirty="0">
                <a:solidFill>
                  <a:schemeClr val="tx2"/>
                </a:solidFill>
              </a:rPr>
              <a:t>Power</a:t>
            </a:r>
            <a:br>
              <a:rPr lang="en-GB" sz="700" dirty="0">
                <a:solidFill>
                  <a:schemeClr val="tx2"/>
                </a:solidFill>
              </a:rPr>
            </a:br>
            <a:r>
              <a:rPr lang="en-GB" sz="700" dirty="0">
                <a:solidFill>
                  <a:schemeClr val="tx2"/>
                </a:solidFill>
              </a:rPr>
              <a:t>button</a:t>
            </a:r>
          </a:p>
        </p:txBody>
      </p:sp>
      <p:sp>
        <p:nvSpPr>
          <p:cNvPr id="234" name="TextBox 240">
            <a:extLst>
              <a:ext uri="{FF2B5EF4-FFF2-40B4-BE49-F238E27FC236}">
                <a16:creationId xmlns:a16="http://schemas.microsoft.com/office/drawing/2014/main" id="{14C28C55-1700-48E1-A8EF-EB07346AB28F}"/>
              </a:ext>
            </a:extLst>
          </p:cNvPr>
          <p:cNvSpPr txBox="1"/>
          <p:nvPr/>
        </p:nvSpPr>
        <p:spPr>
          <a:xfrm>
            <a:off x="3812433" y="4546594"/>
            <a:ext cx="423193" cy="107722"/>
          </a:xfrm>
          <a:prstGeom prst="rect">
            <a:avLst/>
          </a:prstGeom>
          <a:noFill/>
          <a:effectLst/>
        </p:spPr>
        <p:txBody>
          <a:bodyPr wrap="none" lIns="0" tIns="0" rIns="0" bIns="0" rtlCol="0" anchor="t">
            <a:spAutoFit/>
          </a:bodyPr>
          <a:lstStyle/>
          <a:p>
            <a:pPr algn="ctr"/>
            <a:r>
              <a:rPr lang="en-GB" sz="700" dirty="0">
                <a:solidFill>
                  <a:schemeClr val="tx2"/>
                </a:solidFill>
              </a:rPr>
              <a:t>Touch pad</a:t>
            </a:r>
          </a:p>
        </p:txBody>
      </p:sp>
    </p:spTree>
    <p:extLst>
      <p:ext uri="{BB962C8B-B14F-4D97-AF65-F5344CB8AC3E}">
        <p14:creationId xmlns:p14="http://schemas.microsoft.com/office/powerpoint/2010/main" val="185386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kt 37" hidden="1">
            <a:extLst>
              <a:ext uri="{FF2B5EF4-FFF2-40B4-BE49-F238E27FC236}">
                <a16:creationId xmlns:a16="http://schemas.microsoft.com/office/drawing/2014/main" id="{30214445-917E-4B0D-9787-3F86852FA593}"/>
              </a:ext>
            </a:extLst>
          </p:cNvPr>
          <p:cNvGraphicFramePr>
            <a:graphicFrameLocks noChangeAspect="1"/>
          </p:cNvGraphicFramePr>
          <p:nvPr>
            <p:custDataLst>
              <p:tags r:id="rId1"/>
            </p:custDataLst>
            <p:extLst>
              <p:ext uri="{D42A27DB-BD31-4B8C-83A1-F6EECF244321}">
                <p14:modId xmlns:p14="http://schemas.microsoft.com/office/powerpoint/2010/main" val="2739370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8" name="Objekt 37" hidden="1">
                        <a:extLst>
                          <a:ext uri="{FF2B5EF4-FFF2-40B4-BE49-F238E27FC236}">
                            <a16:creationId xmlns:a16="http://schemas.microsoft.com/office/drawing/2014/main" id="{30214445-917E-4B0D-9787-3F86852FA59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B90C743-D42F-4F3F-AFD1-38F7C90197DB}"/>
              </a:ext>
            </a:extLst>
          </p:cNvPr>
          <p:cNvSpPr>
            <a:spLocks noGrp="1"/>
          </p:cNvSpPr>
          <p:nvPr>
            <p:ph type="sldNum" sz="quarter" idx="11"/>
          </p:nvPr>
        </p:nvSpPr>
        <p:spPr/>
        <p:txBody>
          <a:bodyPr/>
          <a:lstStyle/>
          <a:p>
            <a:fld id="{D56DB8AA-803C-49D2-90AA-1140CE72DCD7}" type="slidenum">
              <a:rPr lang="en-GB" smtClean="0"/>
              <a:pPr/>
              <a:t>37</a:t>
            </a:fld>
            <a:endParaRPr lang="en-GB" dirty="0"/>
          </a:p>
        </p:txBody>
      </p:sp>
      <p:sp>
        <p:nvSpPr>
          <p:cNvPr id="3" name="Title 2">
            <a:extLst>
              <a:ext uri="{FF2B5EF4-FFF2-40B4-BE49-F238E27FC236}">
                <a16:creationId xmlns:a16="http://schemas.microsoft.com/office/drawing/2014/main" id="{0F019D3A-6693-AD50-2D38-E261FDCBD7AA}"/>
              </a:ext>
            </a:extLst>
          </p:cNvPr>
          <p:cNvSpPr>
            <a:spLocks noGrp="1"/>
          </p:cNvSpPr>
          <p:nvPr>
            <p:ph type="title"/>
          </p:nvPr>
        </p:nvSpPr>
        <p:spPr>
          <a:xfrm>
            <a:off x="252000" y="252000"/>
            <a:ext cx="6748875" cy="576000"/>
          </a:xfrm>
        </p:spPr>
        <p:txBody>
          <a:bodyPr/>
          <a:lstStyle/>
          <a:p>
            <a:r>
              <a:rPr lang="en-US" dirty="0"/>
              <a:t>Transport</a:t>
            </a:r>
          </a:p>
        </p:txBody>
      </p:sp>
      <p:sp>
        <p:nvSpPr>
          <p:cNvPr id="6" name="TextBox 5">
            <a:extLst>
              <a:ext uri="{FF2B5EF4-FFF2-40B4-BE49-F238E27FC236}">
                <a16:creationId xmlns:a16="http://schemas.microsoft.com/office/drawing/2014/main" id="{D3C1A687-0D51-4280-AE1E-2ADF074CF30A}"/>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irports</a:t>
            </a:r>
          </a:p>
        </p:txBody>
      </p:sp>
      <p:sp>
        <p:nvSpPr>
          <p:cNvPr id="7" name="TextBox 6">
            <a:extLst>
              <a:ext uri="{FF2B5EF4-FFF2-40B4-BE49-F238E27FC236}">
                <a16:creationId xmlns:a16="http://schemas.microsoft.com/office/drawing/2014/main" id="{B7B6B4F5-2ABA-40EA-A785-5BF0FF36CF88}"/>
              </a:ext>
            </a:extLst>
          </p:cNvPr>
          <p:cNvSpPr txBox="1"/>
          <p:nvPr/>
        </p:nvSpPr>
        <p:spPr>
          <a:xfrm>
            <a:off x="3588420"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Lighthouses</a:t>
            </a:r>
          </a:p>
        </p:txBody>
      </p:sp>
      <p:sp>
        <p:nvSpPr>
          <p:cNvPr id="8" name="TextBox 7">
            <a:extLst>
              <a:ext uri="{FF2B5EF4-FFF2-40B4-BE49-F238E27FC236}">
                <a16:creationId xmlns:a16="http://schemas.microsoft.com/office/drawing/2014/main" id="{CDA45B52-A318-4D99-8383-D49195C36983}"/>
              </a:ext>
            </a:extLst>
          </p:cNvPr>
          <p:cNvSpPr txBox="1"/>
          <p:nvPr/>
        </p:nvSpPr>
        <p:spPr>
          <a:xfrm>
            <a:off x="254298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eaports</a:t>
            </a:r>
          </a:p>
        </p:txBody>
      </p:sp>
      <p:sp>
        <p:nvSpPr>
          <p:cNvPr id="9" name="TextBox 8">
            <a:extLst>
              <a:ext uri="{FF2B5EF4-FFF2-40B4-BE49-F238E27FC236}">
                <a16:creationId xmlns:a16="http://schemas.microsoft.com/office/drawing/2014/main" id="{B3B5316D-6009-42B0-9BF5-63420133DD4C}"/>
              </a:ext>
            </a:extLst>
          </p:cNvPr>
          <p:cNvSpPr txBox="1"/>
          <p:nvPr/>
        </p:nvSpPr>
        <p:spPr>
          <a:xfrm>
            <a:off x="1497553"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Bus</a:t>
            </a:r>
            <a:br>
              <a:rPr lang="en-GB" sz="700" dirty="0">
                <a:solidFill>
                  <a:schemeClr val="tx2"/>
                </a:solidFill>
              </a:rPr>
            </a:br>
            <a:r>
              <a:rPr lang="en-GB" sz="700" dirty="0">
                <a:solidFill>
                  <a:schemeClr val="tx2"/>
                </a:solidFill>
              </a:rPr>
              <a:t>transportation</a:t>
            </a:r>
          </a:p>
        </p:txBody>
      </p:sp>
      <p:sp>
        <p:nvSpPr>
          <p:cNvPr id="10" name="TextBox 9">
            <a:extLst>
              <a:ext uri="{FF2B5EF4-FFF2-40B4-BE49-F238E27FC236}">
                <a16:creationId xmlns:a16="http://schemas.microsoft.com/office/drawing/2014/main" id="{4D5B7906-0E18-4337-BE43-9BDAC8E5AC53}"/>
              </a:ext>
            </a:extLst>
          </p:cNvPr>
          <p:cNvSpPr txBox="1"/>
          <p:nvPr/>
        </p:nvSpPr>
        <p:spPr>
          <a:xfrm>
            <a:off x="3588420"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ostal</a:t>
            </a:r>
            <a:br>
              <a:rPr lang="en-GB" sz="700" dirty="0">
                <a:solidFill>
                  <a:schemeClr val="tx2"/>
                </a:solidFill>
              </a:rPr>
            </a:br>
            <a:r>
              <a:rPr lang="en-GB" sz="700" dirty="0">
                <a:solidFill>
                  <a:schemeClr val="tx2"/>
                </a:solidFill>
              </a:rPr>
              <a:t>service</a:t>
            </a:r>
          </a:p>
        </p:txBody>
      </p:sp>
      <p:sp>
        <p:nvSpPr>
          <p:cNvPr id="11" name="TextBox 10">
            <a:extLst>
              <a:ext uri="{FF2B5EF4-FFF2-40B4-BE49-F238E27FC236}">
                <a16:creationId xmlns:a16="http://schemas.microsoft.com/office/drawing/2014/main" id="{D1D2064C-CC2D-4B31-B262-7082F72F8B77}"/>
              </a:ext>
            </a:extLst>
          </p:cNvPr>
          <p:cNvSpPr txBox="1"/>
          <p:nvPr/>
        </p:nvSpPr>
        <p:spPr>
          <a:xfrm>
            <a:off x="2542987"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harging</a:t>
            </a:r>
            <a:br>
              <a:rPr lang="en-GB" sz="700" dirty="0">
                <a:solidFill>
                  <a:schemeClr val="tx2"/>
                </a:solidFill>
              </a:rPr>
            </a:br>
            <a:r>
              <a:rPr lang="en-GB" sz="700" dirty="0">
                <a:solidFill>
                  <a:schemeClr val="tx2"/>
                </a:solidFill>
              </a:rPr>
              <a:t>station</a:t>
            </a:r>
          </a:p>
        </p:txBody>
      </p:sp>
      <p:sp>
        <p:nvSpPr>
          <p:cNvPr id="12" name="TextBox 11">
            <a:extLst>
              <a:ext uri="{FF2B5EF4-FFF2-40B4-BE49-F238E27FC236}">
                <a16:creationId xmlns:a16="http://schemas.microsoft.com/office/drawing/2014/main" id="{2A241786-88FD-4B12-8636-AC3AA0779F11}"/>
              </a:ext>
            </a:extLst>
          </p:cNvPr>
          <p:cNvSpPr txBox="1"/>
          <p:nvPr/>
        </p:nvSpPr>
        <p:spPr>
          <a:xfrm>
            <a:off x="1497553"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District</a:t>
            </a:r>
            <a:br>
              <a:rPr lang="en-GB" sz="700" dirty="0">
                <a:solidFill>
                  <a:schemeClr val="tx2"/>
                </a:solidFill>
              </a:rPr>
            </a:br>
            <a:r>
              <a:rPr lang="en-GB" sz="700" dirty="0">
                <a:solidFill>
                  <a:schemeClr val="tx2"/>
                </a:solidFill>
              </a:rPr>
              <a:t>heating</a:t>
            </a:r>
          </a:p>
        </p:txBody>
      </p:sp>
      <p:sp>
        <p:nvSpPr>
          <p:cNvPr id="13" name="TextBox 12">
            <a:extLst>
              <a:ext uri="{FF2B5EF4-FFF2-40B4-BE49-F238E27FC236}">
                <a16:creationId xmlns:a16="http://schemas.microsoft.com/office/drawing/2014/main" id="{3B23F0C8-6D5D-49AC-A4D6-ACBCE1960A51}"/>
              </a:ext>
            </a:extLst>
          </p:cNvPr>
          <p:cNvSpPr txBox="1"/>
          <p:nvPr/>
        </p:nvSpPr>
        <p:spPr>
          <a:xfrm>
            <a:off x="452119"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ommunications</a:t>
            </a:r>
            <a:br>
              <a:rPr lang="en-GB" sz="700" dirty="0">
                <a:solidFill>
                  <a:schemeClr val="tx2"/>
                </a:solidFill>
              </a:rPr>
            </a:br>
            <a:r>
              <a:rPr lang="en-GB" sz="700" dirty="0">
                <a:solidFill>
                  <a:schemeClr val="tx2"/>
                </a:solidFill>
              </a:rPr>
              <a:t>satellites</a:t>
            </a:r>
          </a:p>
        </p:txBody>
      </p:sp>
      <p:sp>
        <p:nvSpPr>
          <p:cNvPr id="14" name="TextBox 13">
            <a:extLst>
              <a:ext uri="{FF2B5EF4-FFF2-40B4-BE49-F238E27FC236}">
                <a16:creationId xmlns:a16="http://schemas.microsoft.com/office/drawing/2014/main" id="{48C2D154-36A4-49EA-96E3-A625509BCD11}"/>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anals</a:t>
            </a:r>
          </a:p>
        </p:txBody>
      </p:sp>
      <p:sp>
        <p:nvSpPr>
          <p:cNvPr id="15" name="TextBox 14">
            <a:extLst>
              <a:ext uri="{FF2B5EF4-FFF2-40B4-BE49-F238E27FC236}">
                <a16:creationId xmlns:a16="http://schemas.microsoft.com/office/drawing/2014/main" id="{7C1B6927-09EF-4414-8FF0-FEB1FA6A1A54}"/>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arking</a:t>
            </a:r>
          </a:p>
        </p:txBody>
      </p:sp>
      <p:sp>
        <p:nvSpPr>
          <p:cNvPr id="16" name="TextBox 15">
            <a:extLst>
              <a:ext uri="{FF2B5EF4-FFF2-40B4-BE49-F238E27FC236}">
                <a16:creationId xmlns:a16="http://schemas.microsoft.com/office/drawing/2014/main" id="{C9D1C871-852C-4A60-BD12-B9BE0C50ACFE}"/>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Highways</a:t>
            </a:r>
          </a:p>
        </p:txBody>
      </p:sp>
      <p:sp>
        <p:nvSpPr>
          <p:cNvPr id="17" name="TextBox 16">
            <a:extLst>
              <a:ext uri="{FF2B5EF4-FFF2-40B4-BE49-F238E27FC236}">
                <a16:creationId xmlns:a16="http://schemas.microsoft.com/office/drawing/2014/main" id="{13748324-CDE1-4EFC-8ABE-D0E963A654B5}"/>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ailways</a:t>
            </a:r>
          </a:p>
        </p:txBody>
      </p:sp>
      <p:sp>
        <p:nvSpPr>
          <p:cNvPr id="18" name="TextBox 17">
            <a:extLst>
              <a:ext uri="{FF2B5EF4-FFF2-40B4-BE49-F238E27FC236}">
                <a16:creationId xmlns:a16="http://schemas.microsoft.com/office/drawing/2014/main" id="{A55B9377-B9A1-4033-BB40-B3EBDC6DA629}"/>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ipelines</a:t>
            </a:r>
          </a:p>
        </p:txBody>
      </p:sp>
      <p:sp>
        <p:nvSpPr>
          <p:cNvPr id="19" name="TextBox 18">
            <a:extLst>
              <a:ext uri="{FF2B5EF4-FFF2-40B4-BE49-F238E27FC236}">
                <a16:creationId xmlns:a16="http://schemas.microsoft.com/office/drawing/2014/main" id="{457DFBA2-F830-4388-9031-D2DE37CE958D}"/>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irways</a:t>
            </a:r>
          </a:p>
        </p:txBody>
      </p:sp>
      <p:sp>
        <p:nvSpPr>
          <p:cNvPr id="20" name="TextBox 19">
            <a:extLst>
              <a:ext uri="{FF2B5EF4-FFF2-40B4-BE49-F238E27FC236}">
                <a16:creationId xmlns:a16="http://schemas.microsoft.com/office/drawing/2014/main" id="{4FDE5131-02D3-4759-B57B-8F2CE8A92AD4}"/>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ridges</a:t>
            </a:r>
          </a:p>
        </p:txBody>
      </p:sp>
      <p:sp>
        <p:nvSpPr>
          <p:cNvPr id="37" name="TextBox 36">
            <a:extLst>
              <a:ext uri="{FF2B5EF4-FFF2-40B4-BE49-F238E27FC236}">
                <a16:creationId xmlns:a16="http://schemas.microsoft.com/office/drawing/2014/main" id="{5C9FFC1B-1D01-48C6-98F1-60FD873377D2}"/>
              </a:ext>
            </a:extLst>
          </p:cNvPr>
          <p:cNvSpPr txBox="1"/>
          <p:nvPr/>
        </p:nvSpPr>
        <p:spPr>
          <a:xfrm>
            <a:off x="452119"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etroleum</a:t>
            </a:r>
            <a:br>
              <a:rPr lang="en-GB" sz="700" dirty="0">
                <a:solidFill>
                  <a:schemeClr val="tx2"/>
                </a:solidFill>
              </a:rPr>
            </a:br>
            <a:r>
              <a:rPr lang="en-GB" sz="700" dirty="0">
                <a:solidFill>
                  <a:schemeClr val="tx2"/>
                </a:solidFill>
              </a:rPr>
              <a:t>pipelines</a:t>
            </a:r>
          </a:p>
        </p:txBody>
      </p:sp>
      <p:grpSp>
        <p:nvGrpSpPr>
          <p:cNvPr id="288" name="Gruppieren 1026">
            <a:extLst>
              <a:ext uri="{FF2B5EF4-FFF2-40B4-BE49-F238E27FC236}">
                <a16:creationId xmlns:a16="http://schemas.microsoft.com/office/drawing/2014/main" id="{E0BD52F3-362C-43AA-948C-5D198CF45BFE}"/>
              </a:ext>
            </a:extLst>
          </p:cNvPr>
          <p:cNvGrpSpPr>
            <a:grpSpLocks noChangeAspect="1"/>
          </p:cNvGrpSpPr>
          <p:nvPr/>
        </p:nvGrpSpPr>
        <p:grpSpPr>
          <a:xfrm>
            <a:off x="578060" y="4040086"/>
            <a:ext cx="431971" cy="432001"/>
            <a:chOff x="7842863" y="1626758"/>
            <a:chExt cx="413154" cy="413182"/>
          </a:xfrm>
        </p:grpSpPr>
        <p:grpSp>
          <p:nvGrpSpPr>
            <p:cNvPr id="289" name="Gruppieren 1024">
              <a:extLst>
                <a:ext uri="{FF2B5EF4-FFF2-40B4-BE49-F238E27FC236}">
                  <a16:creationId xmlns:a16="http://schemas.microsoft.com/office/drawing/2014/main" id="{EB53D1C6-96F6-4C3A-8151-588275B06DBA}"/>
                </a:ext>
              </a:extLst>
            </p:cNvPr>
            <p:cNvGrpSpPr/>
            <p:nvPr/>
          </p:nvGrpSpPr>
          <p:grpSpPr>
            <a:xfrm>
              <a:off x="7842863" y="1928445"/>
              <a:ext cx="413154" cy="111495"/>
              <a:chOff x="7842849" y="1928444"/>
              <a:chExt cx="413153" cy="111495"/>
            </a:xfrm>
          </p:grpSpPr>
          <p:sp>
            <p:nvSpPr>
              <p:cNvPr id="297" name="Freihandform: Form 807">
                <a:extLst>
                  <a:ext uri="{FF2B5EF4-FFF2-40B4-BE49-F238E27FC236}">
                    <a16:creationId xmlns:a16="http://schemas.microsoft.com/office/drawing/2014/main" id="{37D7714E-C3C1-4D5A-A492-92EAB9B61028}"/>
                  </a:ext>
                </a:extLst>
              </p:cNvPr>
              <p:cNvSpPr/>
              <p:nvPr/>
            </p:nvSpPr>
            <p:spPr>
              <a:xfrm>
                <a:off x="8136105" y="1928444"/>
                <a:ext cx="111495" cy="111495"/>
              </a:xfrm>
              <a:custGeom>
                <a:avLst/>
                <a:gdLst>
                  <a:gd name="connsiteX0" fmla="*/ 104947 w 111495"/>
                  <a:gd name="connsiteY0" fmla="*/ 111496 h 111495"/>
                  <a:gd name="connsiteX1" fmla="*/ 100311 w 111495"/>
                  <a:gd name="connsiteY1" fmla="*/ 109583 h 111495"/>
                  <a:gd name="connsiteX2" fmla="*/ 1912 w 111495"/>
                  <a:gd name="connsiteY2" fmla="*/ 11184 h 111495"/>
                  <a:gd name="connsiteX3" fmla="*/ 1912 w 111495"/>
                  <a:gd name="connsiteY3" fmla="*/ 1912 h 111495"/>
                  <a:gd name="connsiteX4" fmla="*/ 11184 w 111495"/>
                  <a:gd name="connsiteY4" fmla="*/ 1912 h 111495"/>
                  <a:gd name="connsiteX5" fmla="*/ 109583 w 111495"/>
                  <a:gd name="connsiteY5" fmla="*/ 100311 h 111495"/>
                  <a:gd name="connsiteX6" fmla="*/ 109583 w 111495"/>
                  <a:gd name="connsiteY6" fmla="*/ 109583 h 111495"/>
                  <a:gd name="connsiteX7" fmla="*/ 104947 w 111495"/>
                  <a:gd name="connsiteY7" fmla="*/ 111496 h 11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95" h="111495">
                    <a:moveTo>
                      <a:pt x="104947" y="111496"/>
                    </a:moveTo>
                    <a:cubicBezTo>
                      <a:pt x="103267" y="111496"/>
                      <a:pt x="101586" y="110858"/>
                      <a:pt x="100311" y="109583"/>
                    </a:cubicBezTo>
                    <a:lnTo>
                      <a:pt x="1912" y="11184"/>
                    </a:lnTo>
                    <a:cubicBezTo>
                      <a:pt x="-637" y="8635"/>
                      <a:pt x="-637" y="4462"/>
                      <a:pt x="1912" y="1912"/>
                    </a:cubicBezTo>
                    <a:cubicBezTo>
                      <a:pt x="4462" y="-637"/>
                      <a:pt x="8634" y="-637"/>
                      <a:pt x="11184" y="1912"/>
                    </a:cubicBezTo>
                    <a:lnTo>
                      <a:pt x="109583" y="100311"/>
                    </a:lnTo>
                    <a:cubicBezTo>
                      <a:pt x="112133" y="102861"/>
                      <a:pt x="112133" y="107033"/>
                      <a:pt x="109583" y="109583"/>
                    </a:cubicBezTo>
                    <a:cubicBezTo>
                      <a:pt x="108308" y="110858"/>
                      <a:pt x="106628" y="111496"/>
                      <a:pt x="104947" y="111496"/>
                    </a:cubicBezTo>
                    <a:close/>
                  </a:path>
                </a:pathLst>
              </a:custGeom>
              <a:solidFill>
                <a:schemeClr val="accent1"/>
              </a:solidFill>
              <a:ln w="2891" cap="flat">
                <a:noFill/>
                <a:prstDash val="solid"/>
                <a:miter/>
              </a:ln>
            </p:spPr>
            <p:txBody>
              <a:bodyPr rtlCol="0" anchor="ctr"/>
              <a:lstStyle/>
              <a:p>
                <a:endParaRPr lang="en-GB" dirty="0"/>
              </a:p>
            </p:txBody>
          </p:sp>
          <p:sp>
            <p:nvSpPr>
              <p:cNvPr id="298" name="Freihandform: Form 808">
                <a:extLst>
                  <a:ext uri="{FF2B5EF4-FFF2-40B4-BE49-F238E27FC236}">
                    <a16:creationId xmlns:a16="http://schemas.microsoft.com/office/drawing/2014/main" id="{218782EE-6B08-49DF-BAC3-E656A8E6D747}"/>
                  </a:ext>
                </a:extLst>
              </p:cNvPr>
              <p:cNvSpPr/>
              <p:nvPr/>
            </p:nvSpPr>
            <p:spPr>
              <a:xfrm>
                <a:off x="7854121" y="1928473"/>
                <a:ext cx="111466" cy="111466"/>
              </a:xfrm>
              <a:custGeom>
                <a:avLst/>
                <a:gdLst>
                  <a:gd name="connsiteX0" fmla="*/ 6548 w 111466"/>
                  <a:gd name="connsiteY0" fmla="*/ 111467 h 111466"/>
                  <a:gd name="connsiteX1" fmla="*/ 1912 w 111466"/>
                  <a:gd name="connsiteY1" fmla="*/ 109554 h 111466"/>
                  <a:gd name="connsiteX2" fmla="*/ 1912 w 111466"/>
                  <a:gd name="connsiteY2" fmla="*/ 100282 h 111466"/>
                  <a:gd name="connsiteX3" fmla="*/ 100282 w 111466"/>
                  <a:gd name="connsiteY3" fmla="*/ 1912 h 111466"/>
                  <a:gd name="connsiteX4" fmla="*/ 109554 w 111466"/>
                  <a:gd name="connsiteY4" fmla="*/ 1912 h 111466"/>
                  <a:gd name="connsiteX5" fmla="*/ 109554 w 111466"/>
                  <a:gd name="connsiteY5" fmla="*/ 11184 h 111466"/>
                  <a:gd name="connsiteX6" fmla="*/ 11184 w 111466"/>
                  <a:gd name="connsiteY6" fmla="*/ 109554 h 111466"/>
                  <a:gd name="connsiteX7" fmla="*/ 6548 w 111466"/>
                  <a:gd name="connsiteY7" fmla="*/ 111467 h 111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1466" h="111466">
                    <a:moveTo>
                      <a:pt x="6548" y="111467"/>
                    </a:moveTo>
                    <a:cubicBezTo>
                      <a:pt x="4868" y="111467"/>
                      <a:pt x="3187" y="110829"/>
                      <a:pt x="1912" y="109554"/>
                    </a:cubicBezTo>
                    <a:cubicBezTo>
                      <a:pt x="-637" y="107004"/>
                      <a:pt x="-637" y="102832"/>
                      <a:pt x="1912" y="100282"/>
                    </a:cubicBezTo>
                    <a:lnTo>
                      <a:pt x="100282" y="1912"/>
                    </a:lnTo>
                    <a:cubicBezTo>
                      <a:pt x="102832" y="-637"/>
                      <a:pt x="107004" y="-637"/>
                      <a:pt x="109554" y="1912"/>
                    </a:cubicBezTo>
                    <a:cubicBezTo>
                      <a:pt x="112104" y="4462"/>
                      <a:pt x="112104" y="8635"/>
                      <a:pt x="109554" y="11184"/>
                    </a:cubicBezTo>
                    <a:lnTo>
                      <a:pt x="11184" y="109554"/>
                    </a:lnTo>
                    <a:cubicBezTo>
                      <a:pt x="9909" y="110800"/>
                      <a:pt x="8229" y="111467"/>
                      <a:pt x="6548" y="111467"/>
                    </a:cubicBezTo>
                    <a:close/>
                  </a:path>
                </a:pathLst>
              </a:custGeom>
              <a:solidFill>
                <a:schemeClr val="accent1"/>
              </a:solidFill>
              <a:ln w="2891" cap="flat">
                <a:noFill/>
                <a:prstDash val="solid"/>
                <a:miter/>
              </a:ln>
            </p:spPr>
            <p:txBody>
              <a:bodyPr rtlCol="0" anchor="ctr"/>
              <a:lstStyle/>
              <a:p>
                <a:endParaRPr lang="en-GB" dirty="0"/>
              </a:p>
            </p:txBody>
          </p:sp>
          <p:sp>
            <p:nvSpPr>
              <p:cNvPr id="299" name="Freihandform: Form 809">
                <a:extLst>
                  <a:ext uri="{FF2B5EF4-FFF2-40B4-BE49-F238E27FC236}">
                    <a16:creationId xmlns:a16="http://schemas.microsoft.com/office/drawing/2014/main" id="{FB63749F-6255-4132-8C19-DD9C13D775D1}"/>
                  </a:ext>
                </a:extLst>
              </p:cNvPr>
              <p:cNvSpPr/>
              <p:nvPr/>
            </p:nvSpPr>
            <p:spPr>
              <a:xfrm>
                <a:off x="7842849" y="2007140"/>
                <a:ext cx="413153" cy="13096"/>
              </a:xfrm>
              <a:custGeom>
                <a:avLst/>
                <a:gdLst>
                  <a:gd name="connsiteX0" fmla="*/ 406605 w 413153"/>
                  <a:gd name="connsiteY0" fmla="*/ 13097 h 13096"/>
                  <a:gd name="connsiteX1" fmla="*/ 6548 w 413153"/>
                  <a:gd name="connsiteY1" fmla="*/ 13097 h 13096"/>
                  <a:gd name="connsiteX2" fmla="*/ 0 w 413153"/>
                  <a:gd name="connsiteY2" fmla="*/ 6548 h 13096"/>
                  <a:gd name="connsiteX3" fmla="*/ 6548 w 413153"/>
                  <a:gd name="connsiteY3" fmla="*/ 0 h 13096"/>
                  <a:gd name="connsiteX4" fmla="*/ 406605 w 413153"/>
                  <a:gd name="connsiteY4" fmla="*/ 0 h 13096"/>
                  <a:gd name="connsiteX5" fmla="*/ 413154 w 413153"/>
                  <a:gd name="connsiteY5" fmla="*/ 6548 h 13096"/>
                  <a:gd name="connsiteX6" fmla="*/ 406605 w 413153"/>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3153" h="13096">
                    <a:moveTo>
                      <a:pt x="406605" y="13097"/>
                    </a:moveTo>
                    <a:lnTo>
                      <a:pt x="6548" y="13097"/>
                    </a:lnTo>
                    <a:cubicBezTo>
                      <a:pt x="2926" y="13097"/>
                      <a:pt x="0" y="10170"/>
                      <a:pt x="0" y="6548"/>
                    </a:cubicBezTo>
                    <a:cubicBezTo>
                      <a:pt x="0" y="2926"/>
                      <a:pt x="2926" y="0"/>
                      <a:pt x="6548" y="0"/>
                    </a:cubicBezTo>
                    <a:lnTo>
                      <a:pt x="406605" y="0"/>
                    </a:lnTo>
                    <a:cubicBezTo>
                      <a:pt x="410227" y="0"/>
                      <a:pt x="413154" y="2926"/>
                      <a:pt x="413154" y="6548"/>
                    </a:cubicBezTo>
                    <a:cubicBezTo>
                      <a:pt x="413154" y="10170"/>
                      <a:pt x="410227" y="13097"/>
                      <a:pt x="406605" y="13097"/>
                    </a:cubicBezTo>
                    <a:close/>
                  </a:path>
                </a:pathLst>
              </a:custGeom>
              <a:solidFill>
                <a:schemeClr val="accent1"/>
              </a:solidFill>
              <a:ln w="2891" cap="flat">
                <a:noFill/>
                <a:prstDash val="solid"/>
                <a:miter/>
              </a:ln>
            </p:spPr>
            <p:txBody>
              <a:bodyPr rtlCol="0" anchor="ctr"/>
              <a:lstStyle/>
              <a:p>
                <a:endParaRPr lang="en-GB" dirty="0"/>
              </a:p>
            </p:txBody>
          </p:sp>
          <p:sp>
            <p:nvSpPr>
              <p:cNvPr id="300" name="Freihandform: Form 810">
                <a:extLst>
                  <a:ext uri="{FF2B5EF4-FFF2-40B4-BE49-F238E27FC236}">
                    <a16:creationId xmlns:a16="http://schemas.microsoft.com/office/drawing/2014/main" id="{2BB81638-C101-4C25-A6BC-9EF03AAB9079}"/>
                  </a:ext>
                </a:extLst>
              </p:cNvPr>
              <p:cNvSpPr/>
              <p:nvPr/>
            </p:nvSpPr>
            <p:spPr>
              <a:xfrm>
                <a:off x="7886920" y="1961244"/>
                <a:ext cx="327880" cy="13096"/>
              </a:xfrm>
              <a:custGeom>
                <a:avLst/>
                <a:gdLst>
                  <a:gd name="connsiteX0" fmla="*/ 321332 w 327880"/>
                  <a:gd name="connsiteY0" fmla="*/ 13097 h 13096"/>
                  <a:gd name="connsiteX1" fmla="*/ 6548 w 327880"/>
                  <a:gd name="connsiteY1" fmla="*/ 13097 h 13096"/>
                  <a:gd name="connsiteX2" fmla="*/ 0 w 327880"/>
                  <a:gd name="connsiteY2" fmla="*/ 6548 h 13096"/>
                  <a:gd name="connsiteX3" fmla="*/ 6548 w 327880"/>
                  <a:gd name="connsiteY3" fmla="*/ 0 h 13096"/>
                  <a:gd name="connsiteX4" fmla="*/ 321332 w 327880"/>
                  <a:gd name="connsiteY4" fmla="*/ 0 h 13096"/>
                  <a:gd name="connsiteX5" fmla="*/ 327880 w 327880"/>
                  <a:gd name="connsiteY5" fmla="*/ 6548 h 13096"/>
                  <a:gd name="connsiteX6" fmla="*/ 321332 w 327880"/>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880" h="13096">
                    <a:moveTo>
                      <a:pt x="321332" y="13097"/>
                    </a:moveTo>
                    <a:lnTo>
                      <a:pt x="6548" y="13097"/>
                    </a:lnTo>
                    <a:cubicBezTo>
                      <a:pt x="2926" y="13097"/>
                      <a:pt x="0" y="10170"/>
                      <a:pt x="0" y="6548"/>
                    </a:cubicBezTo>
                    <a:cubicBezTo>
                      <a:pt x="0" y="2926"/>
                      <a:pt x="2926" y="0"/>
                      <a:pt x="6548" y="0"/>
                    </a:cubicBezTo>
                    <a:lnTo>
                      <a:pt x="321332" y="0"/>
                    </a:lnTo>
                    <a:cubicBezTo>
                      <a:pt x="324954" y="0"/>
                      <a:pt x="327880" y="2926"/>
                      <a:pt x="327880" y="6548"/>
                    </a:cubicBezTo>
                    <a:cubicBezTo>
                      <a:pt x="327880" y="10170"/>
                      <a:pt x="324954" y="13097"/>
                      <a:pt x="321332" y="13097"/>
                    </a:cubicBezTo>
                    <a:close/>
                  </a:path>
                </a:pathLst>
              </a:custGeom>
              <a:solidFill>
                <a:schemeClr val="accent1"/>
              </a:solidFill>
              <a:ln w="2891" cap="flat">
                <a:noFill/>
                <a:prstDash val="solid"/>
                <a:miter/>
              </a:ln>
            </p:spPr>
            <p:txBody>
              <a:bodyPr rtlCol="0" anchor="ctr"/>
              <a:lstStyle/>
              <a:p>
                <a:endParaRPr lang="en-GB" dirty="0"/>
              </a:p>
            </p:txBody>
          </p:sp>
        </p:grpSp>
        <p:grpSp>
          <p:nvGrpSpPr>
            <p:cNvPr id="290" name="Gruppieren 1025">
              <a:extLst>
                <a:ext uri="{FF2B5EF4-FFF2-40B4-BE49-F238E27FC236}">
                  <a16:creationId xmlns:a16="http://schemas.microsoft.com/office/drawing/2014/main" id="{3337965F-6DA7-4F0A-AFA4-7862C1BE04C3}"/>
                </a:ext>
              </a:extLst>
            </p:cNvPr>
            <p:cNvGrpSpPr/>
            <p:nvPr/>
          </p:nvGrpSpPr>
          <p:grpSpPr>
            <a:xfrm>
              <a:off x="7932788" y="1626758"/>
              <a:ext cx="236116" cy="314782"/>
              <a:chOff x="7932788" y="1626758"/>
              <a:chExt cx="236116" cy="314782"/>
            </a:xfrm>
          </p:grpSpPr>
          <p:sp>
            <p:nvSpPr>
              <p:cNvPr id="291" name="Freihandform: Form 802">
                <a:extLst>
                  <a:ext uri="{FF2B5EF4-FFF2-40B4-BE49-F238E27FC236}">
                    <a16:creationId xmlns:a16="http://schemas.microsoft.com/office/drawing/2014/main" id="{9DE860F2-D1CD-4275-A3B7-7887E1424C80}"/>
                  </a:ext>
                </a:extLst>
              </p:cNvPr>
              <p:cNvSpPr/>
              <p:nvPr/>
            </p:nvSpPr>
            <p:spPr>
              <a:xfrm>
                <a:off x="7932788" y="1666105"/>
                <a:ext cx="236116" cy="275435"/>
              </a:xfrm>
              <a:custGeom>
                <a:avLst/>
                <a:gdLst>
                  <a:gd name="connsiteX0" fmla="*/ 203317 w 236116"/>
                  <a:gd name="connsiteY0" fmla="*/ 275436 h 275435"/>
                  <a:gd name="connsiteX1" fmla="*/ 32800 w 236116"/>
                  <a:gd name="connsiteY1" fmla="*/ 275436 h 275435"/>
                  <a:gd name="connsiteX2" fmla="*/ 0 w 236116"/>
                  <a:gd name="connsiteY2" fmla="*/ 242636 h 275435"/>
                  <a:gd name="connsiteX3" fmla="*/ 0 w 236116"/>
                  <a:gd name="connsiteY3" fmla="*/ 52474 h 275435"/>
                  <a:gd name="connsiteX4" fmla="*/ 52474 w 236116"/>
                  <a:gd name="connsiteY4" fmla="*/ 0 h 275435"/>
                  <a:gd name="connsiteX5" fmla="*/ 183643 w 236116"/>
                  <a:gd name="connsiteY5" fmla="*/ 0 h 275435"/>
                  <a:gd name="connsiteX6" fmla="*/ 236117 w 236116"/>
                  <a:gd name="connsiteY6" fmla="*/ 52474 h 275435"/>
                  <a:gd name="connsiteX7" fmla="*/ 236117 w 236116"/>
                  <a:gd name="connsiteY7" fmla="*/ 242665 h 275435"/>
                  <a:gd name="connsiteX8" fmla="*/ 203317 w 236116"/>
                  <a:gd name="connsiteY8" fmla="*/ 275436 h 275435"/>
                  <a:gd name="connsiteX9" fmla="*/ 52474 w 236116"/>
                  <a:gd name="connsiteY9" fmla="*/ 13126 h 275435"/>
                  <a:gd name="connsiteX10" fmla="*/ 13126 w 236116"/>
                  <a:gd name="connsiteY10" fmla="*/ 52474 h 275435"/>
                  <a:gd name="connsiteX11" fmla="*/ 13126 w 236116"/>
                  <a:gd name="connsiteY11" fmla="*/ 242665 h 275435"/>
                  <a:gd name="connsiteX12" fmla="*/ 32800 w 236116"/>
                  <a:gd name="connsiteY12" fmla="*/ 262339 h 275435"/>
                  <a:gd name="connsiteX13" fmla="*/ 203317 w 236116"/>
                  <a:gd name="connsiteY13" fmla="*/ 262339 h 275435"/>
                  <a:gd name="connsiteX14" fmla="*/ 222991 w 236116"/>
                  <a:gd name="connsiteY14" fmla="*/ 242665 h 275435"/>
                  <a:gd name="connsiteX15" fmla="*/ 222991 w 236116"/>
                  <a:gd name="connsiteY15" fmla="*/ 52474 h 275435"/>
                  <a:gd name="connsiteX16" fmla="*/ 183643 w 236116"/>
                  <a:gd name="connsiteY16" fmla="*/ 13126 h 275435"/>
                  <a:gd name="connsiteX17" fmla="*/ 52474 w 236116"/>
                  <a:gd name="connsiteY17" fmla="*/ 13126 h 27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6116" h="275435">
                    <a:moveTo>
                      <a:pt x="203317" y="275436"/>
                    </a:moveTo>
                    <a:lnTo>
                      <a:pt x="32800" y="275436"/>
                    </a:lnTo>
                    <a:cubicBezTo>
                      <a:pt x="14719" y="275436"/>
                      <a:pt x="0" y="260716"/>
                      <a:pt x="0" y="242636"/>
                    </a:cubicBezTo>
                    <a:lnTo>
                      <a:pt x="0" y="52474"/>
                    </a:lnTo>
                    <a:cubicBezTo>
                      <a:pt x="0" y="23557"/>
                      <a:pt x="23528" y="0"/>
                      <a:pt x="52474" y="0"/>
                    </a:cubicBezTo>
                    <a:lnTo>
                      <a:pt x="183643" y="0"/>
                    </a:lnTo>
                    <a:cubicBezTo>
                      <a:pt x="212560" y="0"/>
                      <a:pt x="236117" y="23528"/>
                      <a:pt x="236117" y="52474"/>
                    </a:cubicBezTo>
                    <a:lnTo>
                      <a:pt x="236117" y="242665"/>
                    </a:lnTo>
                    <a:cubicBezTo>
                      <a:pt x="236117" y="260745"/>
                      <a:pt x="221397" y="275436"/>
                      <a:pt x="203317" y="275436"/>
                    </a:cubicBezTo>
                    <a:close/>
                    <a:moveTo>
                      <a:pt x="52474" y="13126"/>
                    </a:moveTo>
                    <a:cubicBezTo>
                      <a:pt x="30771" y="13126"/>
                      <a:pt x="13126" y="30771"/>
                      <a:pt x="13126" y="52474"/>
                    </a:cubicBezTo>
                    <a:lnTo>
                      <a:pt x="13126" y="242665"/>
                    </a:lnTo>
                    <a:cubicBezTo>
                      <a:pt x="13126" y="253502"/>
                      <a:pt x="21963" y="262339"/>
                      <a:pt x="32800" y="262339"/>
                    </a:cubicBezTo>
                    <a:lnTo>
                      <a:pt x="203317" y="262339"/>
                    </a:lnTo>
                    <a:cubicBezTo>
                      <a:pt x="214154" y="262339"/>
                      <a:pt x="222991" y="253502"/>
                      <a:pt x="222991" y="242665"/>
                    </a:cubicBezTo>
                    <a:lnTo>
                      <a:pt x="222991" y="52474"/>
                    </a:lnTo>
                    <a:cubicBezTo>
                      <a:pt x="222991" y="30771"/>
                      <a:pt x="205345" y="13126"/>
                      <a:pt x="183643" y="13126"/>
                    </a:cubicBezTo>
                    <a:lnTo>
                      <a:pt x="52474" y="13126"/>
                    </a:lnTo>
                    <a:close/>
                  </a:path>
                </a:pathLst>
              </a:custGeom>
              <a:solidFill>
                <a:schemeClr val="tx2"/>
              </a:solidFill>
              <a:ln w="2891" cap="flat">
                <a:noFill/>
                <a:prstDash val="solid"/>
                <a:miter/>
              </a:ln>
            </p:spPr>
            <p:txBody>
              <a:bodyPr rtlCol="0" anchor="ctr"/>
              <a:lstStyle/>
              <a:p>
                <a:endParaRPr lang="en-GB" dirty="0"/>
              </a:p>
            </p:txBody>
          </p:sp>
          <p:sp>
            <p:nvSpPr>
              <p:cNvPr id="292" name="Freihandform: Form 803">
                <a:extLst>
                  <a:ext uri="{FF2B5EF4-FFF2-40B4-BE49-F238E27FC236}">
                    <a16:creationId xmlns:a16="http://schemas.microsoft.com/office/drawing/2014/main" id="{8B68ECC1-EDE4-4CDE-BB72-85853E1D8C88}"/>
                  </a:ext>
                </a:extLst>
              </p:cNvPr>
              <p:cNvSpPr/>
              <p:nvPr/>
            </p:nvSpPr>
            <p:spPr>
              <a:xfrm>
                <a:off x="8044312" y="1626758"/>
                <a:ext cx="13096" cy="52473"/>
              </a:xfrm>
              <a:custGeom>
                <a:avLst/>
                <a:gdLst>
                  <a:gd name="connsiteX0" fmla="*/ 6548 w 13096"/>
                  <a:gd name="connsiteY0" fmla="*/ 52474 h 52473"/>
                  <a:gd name="connsiteX1" fmla="*/ 0 w 13096"/>
                  <a:gd name="connsiteY1" fmla="*/ 45925 h 52473"/>
                  <a:gd name="connsiteX2" fmla="*/ 0 w 13096"/>
                  <a:gd name="connsiteY2" fmla="*/ 6548 h 52473"/>
                  <a:gd name="connsiteX3" fmla="*/ 6548 w 13096"/>
                  <a:gd name="connsiteY3" fmla="*/ 0 h 52473"/>
                  <a:gd name="connsiteX4" fmla="*/ 13097 w 13096"/>
                  <a:gd name="connsiteY4" fmla="*/ 6548 h 52473"/>
                  <a:gd name="connsiteX5" fmla="*/ 13097 w 13096"/>
                  <a:gd name="connsiteY5" fmla="*/ 45896 h 52473"/>
                  <a:gd name="connsiteX6" fmla="*/ 6548 w 13096"/>
                  <a:gd name="connsiteY6" fmla="*/ 52474 h 5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52473">
                    <a:moveTo>
                      <a:pt x="6548" y="52474"/>
                    </a:moveTo>
                    <a:cubicBezTo>
                      <a:pt x="2926" y="52474"/>
                      <a:pt x="0" y="49547"/>
                      <a:pt x="0" y="45925"/>
                    </a:cubicBezTo>
                    <a:lnTo>
                      <a:pt x="0" y="6548"/>
                    </a:lnTo>
                    <a:cubicBezTo>
                      <a:pt x="0" y="2926"/>
                      <a:pt x="2926" y="0"/>
                      <a:pt x="6548" y="0"/>
                    </a:cubicBezTo>
                    <a:cubicBezTo>
                      <a:pt x="10170" y="0"/>
                      <a:pt x="13097" y="2926"/>
                      <a:pt x="13097" y="6548"/>
                    </a:cubicBezTo>
                    <a:lnTo>
                      <a:pt x="13097" y="45896"/>
                    </a:lnTo>
                    <a:cubicBezTo>
                      <a:pt x="13097" y="49518"/>
                      <a:pt x="10170" y="52474"/>
                      <a:pt x="6548" y="52474"/>
                    </a:cubicBezTo>
                    <a:close/>
                  </a:path>
                </a:pathLst>
              </a:custGeom>
              <a:solidFill>
                <a:schemeClr val="tx2"/>
              </a:solidFill>
              <a:ln w="2891" cap="flat">
                <a:noFill/>
                <a:prstDash val="solid"/>
                <a:miter/>
              </a:ln>
            </p:spPr>
            <p:txBody>
              <a:bodyPr rtlCol="0" anchor="ctr"/>
              <a:lstStyle/>
              <a:p>
                <a:endParaRPr lang="en-GB" dirty="0"/>
              </a:p>
            </p:txBody>
          </p:sp>
          <p:sp>
            <p:nvSpPr>
              <p:cNvPr id="293" name="Freihandform: Form 804">
                <a:extLst>
                  <a:ext uri="{FF2B5EF4-FFF2-40B4-BE49-F238E27FC236}">
                    <a16:creationId xmlns:a16="http://schemas.microsoft.com/office/drawing/2014/main" id="{A56D56AE-D919-4819-8217-1B6EA4DABF46}"/>
                  </a:ext>
                </a:extLst>
              </p:cNvPr>
              <p:cNvSpPr/>
              <p:nvPr/>
            </p:nvSpPr>
            <p:spPr>
              <a:xfrm>
                <a:off x="7932788" y="1718579"/>
                <a:ext cx="236087" cy="144266"/>
              </a:xfrm>
              <a:custGeom>
                <a:avLst/>
                <a:gdLst>
                  <a:gd name="connsiteX0" fmla="*/ 229539 w 236087"/>
                  <a:gd name="connsiteY0" fmla="*/ 144266 h 144266"/>
                  <a:gd name="connsiteX1" fmla="*/ 6548 w 236087"/>
                  <a:gd name="connsiteY1" fmla="*/ 144266 h 144266"/>
                  <a:gd name="connsiteX2" fmla="*/ 0 w 236087"/>
                  <a:gd name="connsiteY2" fmla="*/ 137718 h 144266"/>
                  <a:gd name="connsiteX3" fmla="*/ 0 w 236087"/>
                  <a:gd name="connsiteY3" fmla="*/ 6548 h 144266"/>
                  <a:gd name="connsiteX4" fmla="*/ 6548 w 236087"/>
                  <a:gd name="connsiteY4" fmla="*/ 0 h 144266"/>
                  <a:gd name="connsiteX5" fmla="*/ 229539 w 236087"/>
                  <a:gd name="connsiteY5" fmla="*/ 0 h 144266"/>
                  <a:gd name="connsiteX6" fmla="*/ 236088 w 236087"/>
                  <a:gd name="connsiteY6" fmla="*/ 6548 h 144266"/>
                  <a:gd name="connsiteX7" fmla="*/ 236088 w 236087"/>
                  <a:gd name="connsiteY7" fmla="*/ 137718 h 144266"/>
                  <a:gd name="connsiteX8" fmla="*/ 229539 w 236087"/>
                  <a:gd name="connsiteY8" fmla="*/ 144266 h 144266"/>
                  <a:gd name="connsiteX9" fmla="*/ 13126 w 236087"/>
                  <a:gd name="connsiteY9" fmla="*/ 131169 h 144266"/>
                  <a:gd name="connsiteX10" fmla="*/ 222991 w 236087"/>
                  <a:gd name="connsiteY10" fmla="*/ 131169 h 144266"/>
                  <a:gd name="connsiteX11" fmla="*/ 222991 w 236087"/>
                  <a:gd name="connsiteY11" fmla="*/ 13097 h 144266"/>
                  <a:gd name="connsiteX12" fmla="*/ 13126 w 236087"/>
                  <a:gd name="connsiteY12" fmla="*/ 13097 h 144266"/>
                  <a:gd name="connsiteX13" fmla="*/ 13126 w 236087"/>
                  <a:gd name="connsiteY13" fmla="*/ 131169 h 144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6087" h="144266">
                    <a:moveTo>
                      <a:pt x="229539" y="144266"/>
                    </a:moveTo>
                    <a:lnTo>
                      <a:pt x="6548" y="144266"/>
                    </a:lnTo>
                    <a:cubicBezTo>
                      <a:pt x="2926" y="144266"/>
                      <a:pt x="0" y="141340"/>
                      <a:pt x="0" y="137718"/>
                    </a:cubicBezTo>
                    <a:lnTo>
                      <a:pt x="0" y="6548"/>
                    </a:lnTo>
                    <a:cubicBezTo>
                      <a:pt x="0" y="2926"/>
                      <a:pt x="2926" y="0"/>
                      <a:pt x="6548" y="0"/>
                    </a:cubicBezTo>
                    <a:lnTo>
                      <a:pt x="229539" y="0"/>
                    </a:lnTo>
                    <a:cubicBezTo>
                      <a:pt x="233161" y="0"/>
                      <a:pt x="236088" y="2926"/>
                      <a:pt x="236088" y="6548"/>
                    </a:cubicBezTo>
                    <a:lnTo>
                      <a:pt x="236088" y="137718"/>
                    </a:lnTo>
                    <a:cubicBezTo>
                      <a:pt x="236117" y="141340"/>
                      <a:pt x="233190" y="144266"/>
                      <a:pt x="229539" y="144266"/>
                    </a:cubicBezTo>
                    <a:close/>
                    <a:moveTo>
                      <a:pt x="13126" y="131169"/>
                    </a:moveTo>
                    <a:lnTo>
                      <a:pt x="222991" y="131169"/>
                    </a:lnTo>
                    <a:lnTo>
                      <a:pt x="222991" y="13097"/>
                    </a:lnTo>
                    <a:lnTo>
                      <a:pt x="13126" y="13097"/>
                    </a:lnTo>
                    <a:lnTo>
                      <a:pt x="13126" y="131169"/>
                    </a:lnTo>
                    <a:close/>
                  </a:path>
                </a:pathLst>
              </a:custGeom>
              <a:solidFill>
                <a:schemeClr val="tx2"/>
              </a:solidFill>
              <a:ln w="2891" cap="flat">
                <a:noFill/>
                <a:prstDash val="solid"/>
                <a:miter/>
              </a:ln>
            </p:spPr>
            <p:txBody>
              <a:bodyPr rtlCol="0" anchor="ctr"/>
              <a:lstStyle/>
              <a:p>
                <a:endParaRPr lang="en-GB" dirty="0"/>
              </a:p>
            </p:txBody>
          </p:sp>
          <p:sp>
            <p:nvSpPr>
              <p:cNvPr id="294" name="Freihandform: Form 805">
                <a:extLst>
                  <a:ext uri="{FF2B5EF4-FFF2-40B4-BE49-F238E27FC236}">
                    <a16:creationId xmlns:a16="http://schemas.microsoft.com/office/drawing/2014/main" id="{46FCB623-F1B4-48ED-A8F6-CC864BD84005}"/>
                  </a:ext>
                </a:extLst>
              </p:cNvPr>
              <p:cNvSpPr/>
              <p:nvPr/>
            </p:nvSpPr>
            <p:spPr>
              <a:xfrm>
                <a:off x="7965645" y="1882548"/>
                <a:ext cx="39347" cy="26222"/>
              </a:xfrm>
              <a:custGeom>
                <a:avLst/>
                <a:gdLst>
                  <a:gd name="connsiteX0" fmla="*/ 32742 w 39347"/>
                  <a:gd name="connsiteY0" fmla="*/ 26222 h 26222"/>
                  <a:gd name="connsiteX1" fmla="*/ 26193 w 39347"/>
                  <a:gd name="connsiteY1" fmla="*/ 19674 h 26222"/>
                  <a:gd name="connsiteX2" fmla="*/ 19645 w 39347"/>
                  <a:gd name="connsiteY2" fmla="*/ 13126 h 26222"/>
                  <a:gd name="connsiteX3" fmla="*/ 13097 w 39347"/>
                  <a:gd name="connsiteY3" fmla="*/ 19674 h 26222"/>
                  <a:gd name="connsiteX4" fmla="*/ 6548 w 39347"/>
                  <a:gd name="connsiteY4" fmla="*/ 26222 h 26222"/>
                  <a:gd name="connsiteX5" fmla="*/ 0 w 39347"/>
                  <a:gd name="connsiteY5" fmla="*/ 19674 h 26222"/>
                  <a:gd name="connsiteX6" fmla="*/ 19674 w 39347"/>
                  <a:gd name="connsiteY6" fmla="*/ 0 h 26222"/>
                  <a:gd name="connsiteX7" fmla="*/ 39348 w 39347"/>
                  <a:gd name="connsiteY7" fmla="*/ 19674 h 26222"/>
                  <a:gd name="connsiteX8" fmla="*/ 32742 w 39347"/>
                  <a:gd name="connsiteY8" fmla="*/ 26222 h 2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7" h="26222">
                    <a:moveTo>
                      <a:pt x="32742" y="26222"/>
                    </a:moveTo>
                    <a:cubicBezTo>
                      <a:pt x="29120" y="26222"/>
                      <a:pt x="26193" y="23296"/>
                      <a:pt x="26193" y="19674"/>
                    </a:cubicBezTo>
                    <a:cubicBezTo>
                      <a:pt x="26193" y="16052"/>
                      <a:pt x="23267" y="13126"/>
                      <a:pt x="19645" y="13126"/>
                    </a:cubicBezTo>
                    <a:cubicBezTo>
                      <a:pt x="16023" y="13126"/>
                      <a:pt x="13097" y="16081"/>
                      <a:pt x="13097" y="19674"/>
                    </a:cubicBezTo>
                    <a:cubicBezTo>
                      <a:pt x="13097" y="23296"/>
                      <a:pt x="10170" y="26222"/>
                      <a:pt x="6548" y="26222"/>
                    </a:cubicBezTo>
                    <a:cubicBezTo>
                      <a:pt x="2926" y="26222"/>
                      <a:pt x="0" y="23296"/>
                      <a:pt x="0" y="19674"/>
                    </a:cubicBezTo>
                    <a:cubicBezTo>
                      <a:pt x="0" y="8837"/>
                      <a:pt x="8837" y="0"/>
                      <a:pt x="19674" y="0"/>
                    </a:cubicBezTo>
                    <a:cubicBezTo>
                      <a:pt x="30511" y="0"/>
                      <a:pt x="39348" y="8837"/>
                      <a:pt x="39348" y="19674"/>
                    </a:cubicBezTo>
                    <a:cubicBezTo>
                      <a:pt x="39290" y="23267"/>
                      <a:pt x="36364" y="26222"/>
                      <a:pt x="32742" y="26222"/>
                    </a:cubicBezTo>
                    <a:close/>
                  </a:path>
                </a:pathLst>
              </a:custGeom>
              <a:solidFill>
                <a:schemeClr val="tx2"/>
              </a:solidFill>
              <a:ln w="2891" cap="flat">
                <a:noFill/>
                <a:prstDash val="solid"/>
                <a:miter/>
              </a:ln>
            </p:spPr>
            <p:txBody>
              <a:bodyPr rtlCol="0" anchor="ctr"/>
              <a:lstStyle/>
              <a:p>
                <a:endParaRPr lang="en-GB" dirty="0"/>
              </a:p>
            </p:txBody>
          </p:sp>
          <p:sp>
            <p:nvSpPr>
              <p:cNvPr id="295" name="Freihandform: Form 806">
                <a:extLst>
                  <a:ext uri="{FF2B5EF4-FFF2-40B4-BE49-F238E27FC236}">
                    <a16:creationId xmlns:a16="http://schemas.microsoft.com/office/drawing/2014/main" id="{C0A556FD-78CE-4BD1-ABAD-4A5EA18CA222}"/>
                  </a:ext>
                </a:extLst>
              </p:cNvPr>
              <p:cNvSpPr/>
              <p:nvPr/>
            </p:nvSpPr>
            <p:spPr>
              <a:xfrm>
                <a:off x="8096815" y="1882548"/>
                <a:ext cx="39347" cy="26222"/>
              </a:xfrm>
              <a:custGeom>
                <a:avLst/>
                <a:gdLst>
                  <a:gd name="connsiteX0" fmla="*/ 32742 w 39347"/>
                  <a:gd name="connsiteY0" fmla="*/ 26222 h 26222"/>
                  <a:gd name="connsiteX1" fmla="*/ 26193 w 39347"/>
                  <a:gd name="connsiteY1" fmla="*/ 19674 h 26222"/>
                  <a:gd name="connsiteX2" fmla="*/ 19645 w 39347"/>
                  <a:gd name="connsiteY2" fmla="*/ 13126 h 26222"/>
                  <a:gd name="connsiteX3" fmla="*/ 13097 w 39347"/>
                  <a:gd name="connsiteY3" fmla="*/ 19674 h 26222"/>
                  <a:gd name="connsiteX4" fmla="*/ 6548 w 39347"/>
                  <a:gd name="connsiteY4" fmla="*/ 26222 h 26222"/>
                  <a:gd name="connsiteX5" fmla="*/ 0 w 39347"/>
                  <a:gd name="connsiteY5" fmla="*/ 19674 h 26222"/>
                  <a:gd name="connsiteX6" fmla="*/ 19674 w 39347"/>
                  <a:gd name="connsiteY6" fmla="*/ 0 h 26222"/>
                  <a:gd name="connsiteX7" fmla="*/ 39348 w 39347"/>
                  <a:gd name="connsiteY7" fmla="*/ 19674 h 26222"/>
                  <a:gd name="connsiteX8" fmla="*/ 32742 w 39347"/>
                  <a:gd name="connsiteY8" fmla="*/ 26222 h 26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347" h="26222">
                    <a:moveTo>
                      <a:pt x="32742" y="26222"/>
                    </a:moveTo>
                    <a:cubicBezTo>
                      <a:pt x="29120" y="26222"/>
                      <a:pt x="26193" y="23296"/>
                      <a:pt x="26193" y="19674"/>
                    </a:cubicBezTo>
                    <a:cubicBezTo>
                      <a:pt x="26193" y="16052"/>
                      <a:pt x="23267" y="13126"/>
                      <a:pt x="19645" y="13126"/>
                    </a:cubicBezTo>
                    <a:cubicBezTo>
                      <a:pt x="16023" y="13126"/>
                      <a:pt x="13097" y="16081"/>
                      <a:pt x="13097" y="19674"/>
                    </a:cubicBezTo>
                    <a:cubicBezTo>
                      <a:pt x="13097" y="23296"/>
                      <a:pt x="10170" y="26222"/>
                      <a:pt x="6548" y="26222"/>
                    </a:cubicBezTo>
                    <a:cubicBezTo>
                      <a:pt x="2926" y="26222"/>
                      <a:pt x="0" y="23296"/>
                      <a:pt x="0" y="19674"/>
                    </a:cubicBezTo>
                    <a:cubicBezTo>
                      <a:pt x="0" y="8837"/>
                      <a:pt x="8837" y="0"/>
                      <a:pt x="19674" y="0"/>
                    </a:cubicBezTo>
                    <a:cubicBezTo>
                      <a:pt x="30511" y="0"/>
                      <a:pt x="39348" y="8837"/>
                      <a:pt x="39348" y="19674"/>
                    </a:cubicBezTo>
                    <a:cubicBezTo>
                      <a:pt x="39290" y="23267"/>
                      <a:pt x="36363" y="26222"/>
                      <a:pt x="32742" y="26222"/>
                    </a:cubicBezTo>
                    <a:close/>
                  </a:path>
                </a:pathLst>
              </a:custGeom>
              <a:solidFill>
                <a:schemeClr val="tx2"/>
              </a:solidFill>
              <a:ln w="2891" cap="flat">
                <a:noFill/>
                <a:prstDash val="solid"/>
                <a:miter/>
              </a:ln>
            </p:spPr>
            <p:txBody>
              <a:bodyPr rtlCol="0" anchor="ctr"/>
              <a:lstStyle/>
              <a:p>
                <a:endParaRPr lang="en-GB" dirty="0"/>
              </a:p>
            </p:txBody>
          </p:sp>
          <p:sp>
            <p:nvSpPr>
              <p:cNvPr id="296" name="Freihandform: Form 811">
                <a:extLst>
                  <a:ext uri="{FF2B5EF4-FFF2-40B4-BE49-F238E27FC236}">
                    <a16:creationId xmlns:a16="http://schemas.microsoft.com/office/drawing/2014/main" id="{D4FAA9E9-01EA-439C-8363-F2D3A7EB29C0}"/>
                  </a:ext>
                </a:extLst>
              </p:cNvPr>
              <p:cNvSpPr/>
              <p:nvPr/>
            </p:nvSpPr>
            <p:spPr>
              <a:xfrm>
                <a:off x="8004964" y="1626758"/>
                <a:ext cx="91792" cy="13125"/>
              </a:xfrm>
              <a:custGeom>
                <a:avLst/>
                <a:gdLst>
                  <a:gd name="connsiteX0" fmla="*/ 85244 w 91792"/>
                  <a:gd name="connsiteY0" fmla="*/ 13126 h 13125"/>
                  <a:gd name="connsiteX1" fmla="*/ 6548 w 91792"/>
                  <a:gd name="connsiteY1" fmla="*/ 13126 h 13125"/>
                  <a:gd name="connsiteX2" fmla="*/ 0 w 91792"/>
                  <a:gd name="connsiteY2" fmla="*/ 6577 h 13125"/>
                  <a:gd name="connsiteX3" fmla="*/ 6548 w 91792"/>
                  <a:gd name="connsiteY3" fmla="*/ 0 h 13125"/>
                  <a:gd name="connsiteX4" fmla="*/ 85244 w 91792"/>
                  <a:gd name="connsiteY4" fmla="*/ 0 h 13125"/>
                  <a:gd name="connsiteX5" fmla="*/ 91793 w 91792"/>
                  <a:gd name="connsiteY5" fmla="*/ 6548 h 13125"/>
                  <a:gd name="connsiteX6" fmla="*/ 85244 w 91792"/>
                  <a:gd name="connsiteY6" fmla="*/ 13126 h 1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792" h="13125">
                    <a:moveTo>
                      <a:pt x="85244" y="13126"/>
                    </a:moveTo>
                    <a:lnTo>
                      <a:pt x="6548" y="13126"/>
                    </a:lnTo>
                    <a:cubicBezTo>
                      <a:pt x="2926" y="13126"/>
                      <a:pt x="0" y="10199"/>
                      <a:pt x="0" y="6577"/>
                    </a:cubicBezTo>
                    <a:cubicBezTo>
                      <a:pt x="0" y="2955"/>
                      <a:pt x="2926" y="0"/>
                      <a:pt x="6548" y="0"/>
                    </a:cubicBezTo>
                    <a:lnTo>
                      <a:pt x="85244" y="0"/>
                    </a:lnTo>
                    <a:cubicBezTo>
                      <a:pt x="88866" y="0"/>
                      <a:pt x="91793" y="2926"/>
                      <a:pt x="91793" y="6548"/>
                    </a:cubicBezTo>
                    <a:cubicBezTo>
                      <a:pt x="91793" y="10170"/>
                      <a:pt x="88866" y="13126"/>
                      <a:pt x="85244" y="13126"/>
                    </a:cubicBezTo>
                    <a:close/>
                  </a:path>
                </a:pathLst>
              </a:custGeom>
              <a:solidFill>
                <a:schemeClr val="tx2"/>
              </a:solidFill>
              <a:ln w="2891" cap="flat">
                <a:noFill/>
                <a:prstDash val="solid"/>
                <a:miter/>
              </a:ln>
            </p:spPr>
            <p:txBody>
              <a:bodyPr rtlCol="0" anchor="ctr"/>
              <a:lstStyle/>
              <a:p>
                <a:endParaRPr lang="en-GB" dirty="0"/>
              </a:p>
            </p:txBody>
          </p:sp>
        </p:grpSp>
      </p:grpSp>
      <p:grpSp>
        <p:nvGrpSpPr>
          <p:cNvPr id="41" name="Group 40">
            <a:extLst>
              <a:ext uri="{FF2B5EF4-FFF2-40B4-BE49-F238E27FC236}">
                <a16:creationId xmlns:a16="http://schemas.microsoft.com/office/drawing/2014/main" id="{D2D6F002-0928-E532-4E76-AA8612613F51}"/>
              </a:ext>
            </a:extLst>
          </p:cNvPr>
          <p:cNvGrpSpPr/>
          <p:nvPr/>
        </p:nvGrpSpPr>
        <p:grpSpPr>
          <a:xfrm>
            <a:off x="1531871" y="4040086"/>
            <a:ext cx="615219" cy="432013"/>
            <a:chOff x="1531871" y="4040086"/>
            <a:chExt cx="615219" cy="432013"/>
          </a:xfrm>
        </p:grpSpPr>
        <p:grpSp>
          <p:nvGrpSpPr>
            <p:cNvPr id="302" name="Grafik 219">
              <a:extLst>
                <a:ext uri="{FF2B5EF4-FFF2-40B4-BE49-F238E27FC236}">
                  <a16:creationId xmlns:a16="http://schemas.microsoft.com/office/drawing/2014/main" id="{F5208120-1594-46AE-9908-D1DF9D190E2A}"/>
                </a:ext>
              </a:extLst>
            </p:cNvPr>
            <p:cNvGrpSpPr/>
            <p:nvPr/>
          </p:nvGrpSpPr>
          <p:grpSpPr>
            <a:xfrm>
              <a:off x="1531871" y="4040086"/>
              <a:ext cx="615162" cy="349177"/>
              <a:chOff x="5316101" y="2492412"/>
              <a:chExt cx="485299" cy="275464"/>
            </a:xfrm>
            <a:solidFill>
              <a:schemeClr val="tx2"/>
            </a:solidFill>
          </p:grpSpPr>
          <p:sp>
            <p:nvSpPr>
              <p:cNvPr id="307" name="Freihandform: Form 931">
                <a:extLst>
                  <a:ext uri="{FF2B5EF4-FFF2-40B4-BE49-F238E27FC236}">
                    <a16:creationId xmlns:a16="http://schemas.microsoft.com/office/drawing/2014/main" id="{4A3A0488-D6B4-49F9-B346-7F3E3568F61F}"/>
                  </a:ext>
                </a:extLst>
              </p:cNvPr>
              <p:cNvSpPr/>
              <p:nvPr/>
            </p:nvSpPr>
            <p:spPr>
              <a:xfrm>
                <a:off x="5394816" y="2662930"/>
                <a:ext cx="321360" cy="13125"/>
              </a:xfrm>
              <a:custGeom>
                <a:avLst/>
                <a:gdLst>
                  <a:gd name="connsiteX0" fmla="*/ 0 w 321360"/>
                  <a:gd name="connsiteY0" fmla="*/ 0 h 13125"/>
                  <a:gd name="connsiteX1" fmla="*/ 321361 w 321360"/>
                  <a:gd name="connsiteY1" fmla="*/ 0 h 13125"/>
                  <a:gd name="connsiteX2" fmla="*/ 321361 w 321360"/>
                  <a:gd name="connsiteY2" fmla="*/ 13126 h 13125"/>
                  <a:gd name="connsiteX3" fmla="*/ 0 w 321360"/>
                  <a:gd name="connsiteY3" fmla="*/ 13126 h 13125"/>
                </a:gdLst>
                <a:ahLst/>
                <a:cxnLst>
                  <a:cxn ang="0">
                    <a:pos x="connsiteX0" y="connsiteY0"/>
                  </a:cxn>
                  <a:cxn ang="0">
                    <a:pos x="connsiteX1" y="connsiteY1"/>
                  </a:cxn>
                  <a:cxn ang="0">
                    <a:pos x="connsiteX2" y="connsiteY2"/>
                  </a:cxn>
                  <a:cxn ang="0">
                    <a:pos x="connsiteX3" y="connsiteY3"/>
                  </a:cxn>
                </a:cxnLst>
                <a:rect l="l" t="t" r="r" b="b"/>
                <a:pathLst>
                  <a:path w="321360" h="13125">
                    <a:moveTo>
                      <a:pt x="0" y="0"/>
                    </a:moveTo>
                    <a:lnTo>
                      <a:pt x="321361" y="0"/>
                    </a:lnTo>
                    <a:lnTo>
                      <a:pt x="321361" y="13126"/>
                    </a:lnTo>
                    <a:lnTo>
                      <a:pt x="0" y="13126"/>
                    </a:lnTo>
                    <a:close/>
                  </a:path>
                </a:pathLst>
              </a:custGeom>
              <a:grpFill/>
              <a:ln w="2891" cap="flat">
                <a:noFill/>
                <a:prstDash val="solid"/>
                <a:miter/>
              </a:ln>
            </p:spPr>
            <p:txBody>
              <a:bodyPr rtlCol="0" anchor="ctr"/>
              <a:lstStyle/>
              <a:p>
                <a:endParaRPr lang="en-GB" dirty="0"/>
              </a:p>
            </p:txBody>
          </p:sp>
          <p:sp>
            <p:nvSpPr>
              <p:cNvPr id="308" name="Freihandform: Form 932">
                <a:extLst>
                  <a:ext uri="{FF2B5EF4-FFF2-40B4-BE49-F238E27FC236}">
                    <a16:creationId xmlns:a16="http://schemas.microsoft.com/office/drawing/2014/main" id="{B8D9F43B-1AA3-4507-A222-1D28FF2B9425}"/>
                  </a:ext>
                </a:extLst>
              </p:cNvPr>
              <p:cNvSpPr/>
              <p:nvPr/>
            </p:nvSpPr>
            <p:spPr>
              <a:xfrm>
                <a:off x="5394816" y="2630159"/>
                <a:ext cx="321360" cy="13125"/>
              </a:xfrm>
              <a:custGeom>
                <a:avLst/>
                <a:gdLst>
                  <a:gd name="connsiteX0" fmla="*/ 0 w 321360"/>
                  <a:gd name="connsiteY0" fmla="*/ 0 h 13125"/>
                  <a:gd name="connsiteX1" fmla="*/ 321361 w 321360"/>
                  <a:gd name="connsiteY1" fmla="*/ 0 h 13125"/>
                  <a:gd name="connsiteX2" fmla="*/ 321361 w 321360"/>
                  <a:gd name="connsiteY2" fmla="*/ 13126 h 13125"/>
                  <a:gd name="connsiteX3" fmla="*/ 0 w 321360"/>
                  <a:gd name="connsiteY3" fmla="*/ 13126 h 13125"/>
                </a:gdLst>
                <a:ahLst/>
                <a:cxnLst>
                  <a:cxn ang="0">
                    <a:pos x="connsiteX0" y="connsiteY0"/>
                  </a:cxn>
                  <a:cxn ang="0">
                    <a:pos x="connsiteX1" y="connsiteY1"/>
                  </a:cxn>
                  <a:cxn ang="0">
                    <a:pos x="connsiteX2" y="connsiteY2"/>
                  </a:cxn>
                  <a:cxn ang="0">
                    <a:pos x="connsiteX3" y="connsiteY3"/>
                  </a:cxn>
                </a:cxnLst>
                <a:rect l="l" t="t" r="r" b="b"/>
                <a:pathLst>
                  <a:path w="321360" h="13125">
                    <a:moveTo>
                      <a:pt x="0" y="0"/>
                    </a:moveTo>
                    <a:lnTo>
                      <a:pt x="321361" y="0"/>
                    </a:lnTo>
                    <a:lnTo>
                      <a:pt x="321361" y="13126"/>
                    </a:lnTo>
                    <a:lnTo>
                      <a:pt x="0" y="13126"/>
                    </a:lnTo>
                    <a:close/>
                  </a:path>
                </a:pathLst>
              </a:custGeom>
              <a:grpFill/>
              <a:ln w="2891" cap="flat">
                <a:noFill/>
                <a:prstDash val="solid"/>
                <a:miter/>
              </a:ln>
            </p:spPr>
            <p:txBody>
              <a:bodyPr rtlCol="0" anchor="ctr"/>
              <a:lstStyle/>
              <a:p>
                <a:endParaRPr lang="en-GB" dirty="0"/>
              </a:p>
            </p:txBody>
          </p:sp>
          <p:sp>
            <p:nvSpPr>
              <p:cNvPr id="309" name="Freihandform: Form 933">
                <a:extLst>
                  <a:ext uri="{FF2B5EF4-FFF2-40B4-BE49-F238E27FC236}">
                    <a16:creationId xmlns:a16="http://schemas.microsoft.com/office/drawing/2014/main" id="{F8262060-AC1F-4CDA-A1A4-E72D5A891F52}"/>
                  </a:ext>
                </a:extLst>
              </p:cNvPr>
              <p:cNvSpPr/>
              <p:nvPr/>
            </p:nvSpPr>
            <p:spPr>
              <a:xfrm>
                <a:off x="5368565" y="2492412"/>
                <a:ext cx="39347" cy="262338"/>
              </a:xfrm>
              <a:custGeom>
                <a:avLst/>
                <a:gdLst>
                  <a:gd name="connsiteX0" fmla="*/ 13126 w 39347"/>
                  <a:gd name="connsiteY0" fmla="*/ 262339 h 262338"/>
                  <a:gd name="connsiteX1" fmla="*/ 0 w 39347"/>
                  <a:gd name="connsiteY1" fmla="*/ 262339 h 262338"/>
                  <a:gd name="connsiteX2" fmla="*/ 0 w 39347"/>
                  <a:gd name="connsiteY2" fmla="*/ 19674 h 262338"/>
                  <a:gd name="connsiteX3" fmla="*/ 19674 w 39347"/>
                  <a:gd name="connsiteY3" fmla="*/ 0 h 262338"/>
                  <a:gd name="connsiteX4" fmla="*/ 39348 w 39347"/>
                  <a:gd name="connsiteY4" fmla="*/ 19674 h 262338"/>
                  <a:gd name="connsiteX5" fmla="*/ 39348 w 39347"/>
                  <a:gd name="connsiteY5" fmla="*/ 249213 h 262338"/>
                  <a:gd name="connsiteX6" fmla="*/ 26222 w 39347"/>
                  <a:gd name="connsiteY6" fmla="*/ 249213 h 262338"/>
                  <a:gd name="connsiteX7" fmla="*/ 26222 w 39347"/>
                  <a:gd name="connsiteY7" fmla="*/ 19674 h 262338"/>
                  <a:gd name="connsiteX8" fmla="*/ 19674 w 39347"/>
                  <a:gd name="connsiteY8" fmla="*/ 13126 h 262338"/>
                  <a:gd name="connsiteX9" fmla="*/ 13126 w 39347"/>
                  <a:gd name="connsiteY9" fmla="*/ 19674 h 262338"/>
                  <a:gd name="connsiteX10" fmla="*/ 13126 w 39347"/>
                  <a:gd name="connsiteY10" fmla="*/ 262339 h 262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7" h="262338">
                    <a:moveTo>
                      <a:pt x="13126" y="262339"/>
                    </a:moveTo>
                    <a:lnTo>
                      <a:pt x="0" y="262339"/>
                    </a:lnTo>
                    <a:lnTo>
                      <a:pt x="0" y="19674"/>
                    </a:lnTo>
                    <a:cubicBezTo>
                      <a:pt x="0" y="8837"/>
                      <a:pt x="8837" y="0"/>
                      <a:pt x="19674" y="0"/>
                    </a:cubicBezTo>
                    <a:cubicBezTo>
                      <a:pt x="30511" y="0"/>
                      <a:pt x="39348" y="8837"/>
                      <a:pt x="39348" y="19674"/>
                    </a:cubicBezTo>
                    <a:lnTo>
                      <a:pt x="39348" y="249213"/>
                    </a:lnTo>
                    <a:lnTo>
                      <a:pt x="26222" y="249213"/>
                    </a:lnTo>
                    <a:lnTo>
                      <a:pt x="26222" y="19674"/>
                    </a:lnTo>
                    <a:cubicBezTo>
                      <a:pt x="26222" y="16052"/>
                      <a:pt x="23267" y="13126"/>
                      <a:pt x="19674" y="13126"/>
                    </a:cubicBezTo>
                    <a:cubicBezTo>
                      <a:pt x="16052" y="13126"/>
                      <a:pt x="13126" y="16081"/>
                      <a:pt x="13126" y="19674"/>
                    </a:cubicBezTo>
                    <a:lnTo>
                      <a:pt x="13126" y="262339"/>
                    </a:lnTo>
                    <a:close/>
                  </a:path>
                </a:pathLst>
              </a:custGeom>
              <a:grpFill/>
              <a:ln w="2891" cap="flat">
                <a:noFill/>
                <a:prstDash val="solid"/>
                <a:miter/>
              </a:ln>
            </p:spPr>
            <p:txBody>
              <a:bodyPr rtlCol="0" anchor="ctr"/>
              <a:lstStyle/>
              <a:p>
                <a:endParaRPr lang="en-GB" dirty="0"/>
              </a:p>
            </p:txBody>
          </p:sp>
          <p:sp>
            <p:nvSpPr>
              <p:cNvPr id="310" name="Freihandform: Form 934">
                <a:extLst>
                  <a:ext uri="{FF2B5EF4-FFF2-40B4-BE49-F238E27FC236}">
                    <a16:creationId xmlns:a16="http://schemas.microsoft.com/office/drawing/2014/main" id="{F1875245-AF63-4BDF-8665-47199A95DEDB}"/>
                  </a:ext>
                </a:extLst>
              </p:cNvPr>
              <p:cNvSpPr/>
              <p:nvPr/>
            </p:nvSpPr>
            <p:spPr>
              <a:xfrm>
                <a:off x="5709600" y="2492441"/>
                <a:ext cx="39347" cy="275435"/>
              </a:xfrm>
              <a:custGeom>
                <a:avLst/>
                <a:gdLst>
                  <a:gd name="connsiteX0" fmla="*/ 39348 w 39347"/>
                  <a:gd name="connsiteY0" fmla="*/ 275436 h 275435"/>
                  <a:gd name="connsiteX1" fmla="*/ 26222 w 39347"/>
                  <a:gd name="connsiteY1" fmla="*/ 275436 h 275435"/>
                  <a:gd name="connsiteX2" fmla="*/ 26222 w 39347"/>
                  <a:gd name="connsiteY2" fmla="*/ 19674 h 275435"/>
                  <a:gd name="connsiteX3" fmla="*/ 19674 w 39347"/>
                  <a:gd name="connsiteY3" fmla="*/ 13126 h 275435"/>
                  <a:gd name="connsiteX4" fmla="*/ 13126 w 39347"/>
                  <a:gd name="connsiteY4" fmla="*/ 19674 h 275435"/>
                  <a:gd name="connsiteX5" fmla="*/ 13126 w 39347"/>
                  <a:gd name="connsiteY5" fmla="*/ 262339 h 275435"/>
                  <a:gd name="connsiteX6" fmla="*/ 0 w 39347"/>
                  <a:gd name="connsiteY6" fmla="*/ 262339 h 275435"/>
                  <a:gd name="connsiteX7" fmla="*/ 0 w 39347"/>
                  <a:gd name="connsiteY7" fmla="*/ 19674 h 275435"/>
                  <a:gd name="connsiteX8" fmla="*/ 19674 w 39347"/>
                  <a:gd name="connsiteY8" fmla="*/ 0 h 275435"/>
                  <a:gd name="connsiteX9" fmla="*/ 39348 w 39347"/>
                  <a:gd name="connsiteY9" fmla="*/ 19674 h 275435"/>
                  <a:gd name="connsiteX10" fmla="*/ 39348 w 39347"/>
                  <a:gd name="connsiteY10" fmla="*/ 275436 h 275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47" h="275435">
                    <a:moveTo>
                      <a:pt x="39348" y="275436"/>
                    </a:moveTo>
                    <a:lnTo>
                      <a:pt x="26222" y="275436"/>
                    </a:lnTo>
                    <a:lnTo>
                      <a:pt x="26222" y="19674"/>
                    </a:lnTo>
                    <a:cubicBezTo>
                      <a:pt x="26222" y="16052"/>
                      <a:pt x="23267" y="13126"/>
                      <a:pt x="19674" y="13126"/>
                    </a:cubicBezTo>
                    <a:cubicBezTo>
                      <a:pt x="16081" y="13126"/>
                      <a:pt x="13126" y="16081"/>
                      <a:pt x="13126" y="19674"/>
                    </a:cubicBezTo>
                    <a:lnTo>
                      <a:pt x="13126" y="262339"/>
                    </a:lnTo>
                    <a:lnTo>
                      <a:pt x="0" y="262339"/>
                    </a:lnTo>
                    <a:lnTo>
                      <a:pt x="0" y="19674"/>
                    </a:lnTo>
                    <a:cubicBezTo>
                      <a:pt x="0" y="8837"/>
                      <a:pt x="8837" y="0"/>
                      <a:pt x="19674" y="0"/>
                    </a:cubicBezTo>
                    <a:cubicBezTo>
                      <a:pt x="30511" y="0"/>
                      <a:pt x="39348" y="8837"/>
                      <a:pt x="39348" y="19674"/>
                    </a:cubicBezTo>
                    <a:lnTo>
                      <a:pt x="39348" y="275436"/>
                    </a:lnTo>
                    <a:close/>
                  </a:path>
                </a:pathLst>
              </a:custGeom>
              <a:grpFill/>
              <a:ln w="2891" cap="flat">
                <a:noFill/>
                <a:prstDash val="solid"/>
                <a:miter/>
              </a:ln>
            </p:spPr>
            <p:txBody>
              <a:bodyPr rtlCol="0" anchor="ctr"/>
              <a:lstStyle/>
              <a:p>
                <a:endParaRPr lang="en-GB" dirty="0"/>
              </a:p>
            </p:txBody>
          </p:sp>
          <p:sp>
            <p:nvSpPr>
              <p:cNvPr id="311" name="Freihandform: Form 935">
                <a:extLst>
                  <a:ext uri="{FF2B5EF4-FFF2-40B4-BE49-F238E27FC236}">
                    <a16:creationId xmlns:a16="http://schemas.microsoft.com/office/drawing/2014/main" id="{EFC45A75-50C0-4B74-9438-2D69B5234932}"/>
                  </a:ext>
                </a:extLst>
              </p:cNvPr>
              <p:cNvSpPr/>
              <p:nvPr/>
            </p:nvSpPr>
            <p:spPr>
              <a:xfrm>
                <a:off x="5316120" y="2630188"/>
                <a:ext cx="65570" cy="45867"/>
              </a:xfrm>
              <a:custGeom>
                <a:avLst/>
                <a:gdLst>
                  <a:gd name="connsiteX0" fmla="*/ 59022 w 65570"/>
                  <a:gd name="connsiteY0" fmla="*/ 45867 h 45867"/>
                  <a:gd name="connsiteX1" fmla="*/ 6548 w 65570"/>
                  <a:gd name="connsiteY1" fmla="*/ 45867 h 45867"/>
                  <a:gd name="connsiteX2" fmla="*/ 0 w 65570"/>
                  <a:gd name="connsiteY2" fmla="*/ 39319 h 45867"/>
                  <a:gd name="connsiteX3" fmla="*/ 6548 w 65570"/>
                  <a:gd name="connsiteY3" fmla="*/ 32771 h 45867"/>
                  <a:gd name="connsiteX4" fmla="*/ 52445 w 65570"/>
                  <a:gd name="connsiteY4" fmla="*/ 32771 h 45867"/>
                  <a:gd name="connsiteX5" fmla="*/ 52445 w 65570"/>
                  <a:gd name="connsiteY5" fmla="*/ 13097 h 45867"/>
                  <a:gd name="connsiteX6" fmla="*/ 6548 w 65570"/>
                  <a:gd name="connsiteY6" fmla="*/ 13097 h 45867"/>
                  <a:gd name="connsiteX7" fmla="*/ 0 w 65570"/>
                  <a:gd name="connsiteY7" fmla="*/ 6548 h 45867"/>
                  <a:gd name="connsiteX8" fmla="*/ 6548 w 65570"/>
                  <a:gd name="connsiteY8" fmla="*/ 0 h 45867"/>
                  <a:gd name="connsiteX9" fmla="*/ 59022 w 65570"/>
                  <a:gd name="connsiteY9" fmla="*/ 0 h 45867"/>
                  <a:gd name="connsiteX10" fmla="*/ 65570 w 65570"/>
                  <a:gd name="connsiteY10" fmla="*/ 6548 h 45867"/>
                  <a:gd name="connsiteX11" fmla="*/ 65570 w 65570"/>
                  <a:gd name="connsiteY11" fmla="*/ 39348 h 45867"/>
                  <a:gd name="connsiteX12" fmla="*/ 59022 w 65570"/>
                  <a:gd name="connsiteY12" fmla="*/ 45867 h 4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570" h="45867">
                    <a:moveTo>
                      <a:pt x="59022" y="45867"/>
                    </a:moveTo>
                    <a:lnTo>
                      <a:pt x="6548" y="45867"/>
                    </a:lnTo>
                    <a:cubicBezTo>
                      <a:pt x="2926" y="45867"/>
                      <a:pt x="0" y="42941"/>
                      <a:pt x="0" y="39319"/>
                    </a:cubicBezTo>
                    <a:cubicBezTo>
                      <a:pt x="0" y="35697"/>
                      <a:pt x="2926" y="32771"/>
                      <a:pt x="6548" y="32771"/>
                    </a:cubicBezTo>
                    <a:lnTo>
                      <a:pt x="52445" y="32771"/>
                    </a:lnTo>
                    <a:lnTo>
                      <a:pt x="52445" y="13097"/>
                    </a:lnTo>
                    <a:lnTo>
                      <a:pt x="6548" y="13097"/>
                    </a:lnTo>
                    <a:cubicBezTo>
                      <a:pt x="2926" y="13097"/>
                      <a:pt x="0" y="10170"/>
                      <a:pt x="0" y="6548"/>
                    </a:cubicBezTo>
                    <a:cubicBezTo>
                      <a:pt x="0" y="2926"/>
                      <a:pt x="2926" y="0"/>
                      <a:pt x="6548" y="0"/>
                    </a:cubicBezTo>
                    <a:lnTo>
                      <a:pt x="59022" y="0"/>
                    </a:lnTo>
                    <a:cubicBezTo>
                      <a:pt x="62644" y="0"/>
                      <a:pt x="65570" y="2926"/>
                      <a:pt x="65570" y="6548"/>
                    </a:cubicBezTo>
                    <a:lnTo>
                      <a:pt x="65570" y="39348"/>
                    </a:lnTo>
                    <a:cubicBezTo>
                      <a:pt x="65570" y="42941"/>
                      <a:pt x="62644" y="45867"/>
                      <a:pt x="59022" y="45867"/>
                    </a:cubicBezTo>
                    <a:close/>
                  </a:path>
                </a:pathLst>
              </a:custGeom>
              <a:grpFill/>
              <a:ln w="2891" cap="flat">
                <a:noFill/>
                <a:prstDash val="solid"/>
                <a:miter/>
              </a:ln>
            </p:spPr>
            <p:txBody>
              <a:bodyPr rtlCol="0" anchor="ctr"/>
              <a:lstStyle/>
              <a:p>
                <a:endParaRPr lang="en-GB" dirty="0"/>
              </a:p>
            </p:txBody>
          </p:sp>
          <p:sp>
            <p:nvSpPr>
              <p:cNvPr id="312" name="Freihandform: Form 936">
                <a:extLst>
                  <a:ext uri="{FF2B5EF4-FFF2-40B4-BE49-F238E27FC236}">
                    <a16:creationId xmlns:a16="http://schemas.microsoft.com/office/drawing/2014/main" id="{91C604D7-1564-41B8-9296-210624589BB5}"/>
                  </a:ext>
                </a:extLst>
              </p:cNvPr>
              <p:cNvSpPr/>
              <p:nvPr/>
            </p:nvSpPr>
            <p:spPr>
              <a:xfrm>
                <a:off x="5735822" y="2630159"/>
                <a:ext cx="65570" cy="45896"/>
              </a:xfrm>
              <a:custGeom>
                <a:avLst/>
                <a:gdLst>
                  <a:gd name="connsiteX0" fmla="*/ 59022 w 65570"/>
                  <a:gd name="connsiteY0" fmla="*/ 45896 h 45896"/>
                  <a:gd name="connsiteX1" fmla="*/ 6548 w 65570"/>
                  <a:gd name="connsiteY1" fmla="*/ 45896 h 45896"/>
                  <a:gd name="connsiteX2" fmla="*/ 0 w 65570"/>
                  <a:gd name="connsiteY2" fmla="*/ 39348 h 45896"/>
                  <a:gd name="connsiteX3" fmla="*/ 0 w 65570"/>
                  <a:gd name="connsiteY3" fmla="*/ 6548 h 45896"/>
                  <a:gd name="connsiteX4" fmla="*/ 6548 w 65570"/>
                  <a:gd name="connsiteY4" fmla="*/ 0 h 45896"/>
                  <a:gd name="connsiteX5" fmla="*/ 59022 w 65570"/>
                  <a:gd name="connsiteY5" fmla="*/ 0 h 45896"/>
                  <a:gd name="connsiteX6" fmla="*/ 65570 w 65570"/>
                  <a:gd name="connsiteY6" fmla="*/ 6548 h 45896"/>
                  <a:gd name="connsiteX7" fmla="*/ 59022 w 65570"/>
                  <a:gd name="connsiteY7" fmla="*/ 13097 h 45896"/>
                  <a:gd name="connsiteX8" fmla="*/ 13126 w 65570"/>
                  <a:gd name="connsiteY8" fmla="*/ 13097 h 45896"/>
                  <a:gd name="connsiteX9" fmla="*/ 13126 w 65570"/>
                  <a:gd name="connsiteY9" fmla="*/ 32771 h 45896"/>
                  <a:gd name="connsiteX10" fmla="*/ 59022 w 65570"/>
                  <a:gd name="connsiteY10" fmla="*/ 32771 h 45896"/>
                  <a:gd name="connsiteX11" fmla="*/ 65570 w 65570"/>
                  <a:gd name="connsiteY11" fmla="*/ 39319 h 45896"/>
                  <a:gd name="connsiteX12" fmla="*/ 59022 w 65570"/>
                  <a:gd name="connsiteY12" fmla="*/ 45896 h 4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5570" h="45896">
                    <a:moveTo>
                      <a:pt x="59022" y="45896"/>
                    </a:moveTo>
                    <a:lnTo>
                      <a:pt x="6548" y="45896"/>
                    </a:lnTo>
                    <a:cubicBezTo>
                      <a:pt x="2926" y="45896"/>
                      <a:pt x="0" y="42970"/>
                      <a:pt x="0" y="39348"/>
                    </a:cubicBezTo>
                    <a:lnTo>
                      <a:pt x="0" y="6548"/>
                    </a:lnTo>
                    <a:cubicBezTo>
                      <a:pt x="0" y="2926"/>
                      <a:pt x="2926" y="0"/>
                      <a:pt x="6548" y="0"/>
                    </a:cubicBezTo>
                    <a:lnTo>
                      <a:pt x="59022" y="0"/>
                    </a:lnTo>
                    <a:cubicBezTo>
                      <a:pt x="62644" y="0"/>
                      <a:pt x="65570" y="2926"/>
                      <a:pt x="65570" y="6548"/>
                    </a:cubicBezTo>
                    <a:cubicBezTo>
                      <a:pt x="65570" y="10170"/>
                      <a:pt x="62644" y="13097"/>
                      <a:pt x="59022" y="13097"/>
                    </a:cubicBezTo>
                    <a:lnTo>
                      <a:pt x="13126" y="13097"/>
                    </a:lnTo>
                    <a:lnTo>
                      <a:pt x="13126" y="32771"/>
                    </a:lnTo>
                    <a:lnTo>
                      <a:pt x="59022" y="32771"/>
                    </a:lnTo>
                    <a:cubicBezTo>
                      <a:pt x="62644" y="32771"/>
                      <a:pt x="65570" y="35697"/>
                      <a:pt x="65570" y="39319"/>
                    </a:cubicBezTo>
                    <a:cubicBezTo>
                      <a:pt x="65599" y="42970"/>
                      <a:pt x="62644" y="45896"/>
                      <a:pt x="59022" y="45896"/>
                    </a:cubicBezTo>
                    <a:close/>
                  </a:path>
                </a:pathLst>
              </a:custGeom>
              <a:grpFill/>
              <a:ln w="2891" cap="flat">
                <a:noFill/>
                <a:prstDash val="solid"/>
                <a:miter/>
              </a:ln>
            </p:spPr>
            <p:txBody>
              <a:bodyPr rtlCol="0" anchor="ctr"/>
              <a:lstStyle/>
              <a:p>
                <a:endParaRPr lang="en-GB" dirty="0"/>
              </a:p>
            </p:txBody>
          </p:sp>
          <p:sp>
            <p:nvSpPr>
              <p:cNvPr id="313" name="Freihandform: Form 937">
                <a:extLst>
                  <a:ext uri="{FF2B5EF4-FFF2-40B4-BE49-F238E27FC236}">
                    <a16:creationId xmlns:a16="http://schemas.microsoft.com/office/drawing/2014/main" id="{D9D54CFB-7A3E-40A9-92EB-B211F62BEF06}"/>
                  </a:ext>
                </a:extLst>
              </p:cNvPr>
              <p:cNvSpPr/>
              <p:nvPr/>
            </p:nvSpPr>
            <p:spPr>
              <a:xfrm>
                <a:off x="5394788" y="2531746"/>
                <a:ext cx="327936" cy="72161"/>
              </a:xfrm>
              <a:custGeom>
                <a:avLst/>
                <a:gdLst>
                  <a:gd name="connsiteX0" fmla="*/ 163968 w 327936"/>
                  <a:gd name="connsiteY0" fmla="*/ 72162 h 72161"/>
                  <a:gd name="connsiteX1" fmla="*/ 2056 w 327936"/>
                  <a:gd name="connsiteY1" fmla="*/ 11344 h 72161"/>
                  <a:gd name="connsiteX2" fmla="*/ 1795 w 327936"/>
                  <a:gd name="connsiteY2" fmla="*/ 2071 h 72161"/>
                  <a:gd name="connsiteX3" fmla="*/ 11067 w 327936"/>
                  <a:gd name="connsiteY3" fmla="*/ 1782 h 72161"/>
                  <a:gd name="connsiteX4" fmla="*/ 163968 w 327936"/>
                  <a:gd name="connsiteY4" fmla="*/ 59007 h 72161"/>
                  <a:gd name="connsiteX5" fmla="*/ 316869 w 327936"/>
                  <a:gd name="connsiteY5" fmla="*/ 1782 h 72161"/>
                  <a:gd name="connsiteX6" fmla="*/ 326141 w 327936"/>
                  <a:gd name="connsiteY6" fmla="*/ 2071 h 72161"/>
                  <a:gd name="connsiteX7" fmla="*/ 325880 w 327936"/>
                  <a:gd name="connsiteY7" fmla="*/ 11344 h 72161"/>
                  <a:gd name="connsiteX8" fmla="*/ 163968 w 327936"/>
                  <a:gd name="connsiteY8" fmla="*/ 72162 h 72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7936" h="72161">
                    <a:moveTo>
                      <a:pt x="163968" y="72162"/>
                    </a:moveTo>
                    <a:cubicBezTo>
                      <a:pt x="67540" y="72162"/>
                      <a:pt x="4693" y="13835"/>
                      <a:pt x="2056" y="11344"/>
                    </a:cubicBezTo>
                    <a:cubicBezTo>
                      <a:pt x="-581" y="8852"/>
                      <a:pt x="-696" y="4708"/>
                      <a:pt x="1795" y="2071"/>
                    </a:cubicBezTo>
                    <a:cubicBezTo>
                      <a:pt x="4287" y="-565"/>
                      <a:pt x="8431" y="-681"/>
                      <a:pt x="11067" y="1782"/>
                    </a:cubicBezTo>
                    <a:cubicBezTo>
                      <a:pt x="11676" y="2361"/>
                      <a:pt x="72929" y="59007"/>
                      <a:pt x="163968" y="59007"/>
                    </a:cubicBezTo>
                    <a:cubicBezTo>
                      <a:pt x="255007" y="59007"/>
                      <a:pt x="316260" y="2332"/>
                      <a:pt x="316869" y="1782"/>
                    </a:cubicBezTo>
                    <a:cubicBezTo>
                      <a:pt x="319505" y="-710"/>
                      <a:pt x="323649" y="-565"/>
                      <a:pt x="326141" y="2071"/>
                    </a:cubicBezTo>
                    <a:cubicBezTo>
                      <a:pt x="328633" y="4708"/>
                      <a:pt x="328517" y="8852"/>
                      <a:pt x="325880" y="11344"/>
                    </a:cubicBezTo>
                    <a:cubicBezTo>
                      <a:pt x="323243" y="13835"/>
                      <a:pt x="260397" y="72162"/>
                      <a:pt x="163968" y="72162"/>
                    </a:cubicBezTo>
                    <a:close/>
                  </a:path>
                </a:pathLst>
              </a:custGeom>
              <a:grpFill/>
              <a:ln w="2891" cap="flat">
                <a:noFill/>
                <a:prstDash val="solid"/>
                <a:miter/>
              </a:ln>
            </p:spPr>
            <p:txBody>
              <a:bodyPr rtlCol="0" anchor="ctr"/>
              <a:lstStyle/>
              <a:p>
                <a:endParaRPr lang="en-GB" dirty="0"/>
              </a:p>
            </p:txBody>
          </p:sp>
          <p:sp>
            <p:nvSpPr>
              <p:cNvPr id="314" name="Freihandform: Form 938">
                <a:extLst>
                  <a:ext uri="{FF2B5EF4-FFF2-40B4-BE49-F238E27FC236}">
                    <a16:creationId xmlns:a16="http://schemas.microsoft.com/office/drawing/2014/main" id="{74FB5FEC-B22D-42A6-9F48-481905EC9829}"/>
                  </a:ext>
                </a:extLst>
              </p:cNvPr>
              <p:cNvSpPr/>
              <p:nvPr/>
            </p:nvSpPr>
            <p:spPr>
              <a:xfrm>
                <a:off x="5316101" y="2531760"/>
                <a:ext cx="65599" cy="111495"/>
              </a:xfrm>
              <a:custGeom>
                <a:avLst/>
                <a:gdLst>
                  <a:gd name="connsiteX0" fmla="*/ 6567 w 65599"/>
                  <a:gd name="connsiteY0" fmla="*/ 111496 h 111495"/>
                  <a:gd name="connsiteX1" fmla="*/ 2163 w 65599"/>
                  <a:gd name="connsiteY1" fmla="*/ 109815 h 111495"/>
                  <a:gd name="connsiteX2" fmla="*/ 1700 w 65599"/>
                  <a:gd name="connsiteY2" fmla="*/ 100543 h 111495"/>
                  <a:gd name="connsiteX3" fmla="*/ 52464 w 65599"/>
                  <a:gd name="connsiteY3" fmla="*/ 6693 h 111495"/>
                  <a:gd name="connsiteX4" fmla="*/ 58896 w 65599"/>
                  <a:gd name="connsiteY4" fmla="*/ 0 h 111495"/>
                  <a:gd name="connsiteX5" fmla="*/ 65589 w 65599"/>
                  <a:gd name="connsiteY5" fmla="*/ 6432 h 111495"/>
                  <a:gd name="connsiteX6" fmla="*/ 11435 w 65599"/>
                  <a:gd name="connsiteY6" fmla="*/ 109322 h 111495"/>
                  <a:gd name="connsiteX7" fmla="*/ 6567 w 65599"/>
                  <a:gd name="connsiteY7" fmla="*/ 111496 h 11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99" h="111495">
                    <a:moveTo>
                      <a:pt x="6567" y="111496"/>
                    </a:moveTo>
                    <a:cubicBezTo>
                      <a:pt x="5003" y="111496"/>
                      <a:pt x="3438" y="110945"/>
                      <a:pt x="2163" y="109815"/>
                    </a:cubicBezTo>
                    <a:cubicBezTo>
                      <a:pt x="-532" y="107381"/>
                      <a:pt x="-734" y="103238"/>
                      <a:pt x="1700" y="100543"/>
                    </a:cubicBezTo>
                    <a:cubicBezTo>
                      <a:pt x="2221" y="99963"/>
                      <a:pt x="53246" y="42999"/>
                      <a:pt x="52464" y="6693"/>
                    </a:cubicBezTo>
                    <a:cubicBezTo>
                      <a:pt x="52377" y="3071"/>
                      <a:pt x="55274" y="87"/>
                      <a:pt x="58896" y="0"/>
                    </a:cubicBezTo>
                    <a:cubicBezTo>
                      <a:pt x="62721" y="145"/>
                      <a:pt x="65502" y="2811"/>
                      <a:pt x="65589" y="6432"/>
                    </a:cubicBezTo>
                    <a:cubicBezTo>
                      <a:pt x="66458" y="47896"/>
                      <a:pt x="13695" y="106860"/>
                      <a:pt x="11435" y="109322"/>
                    </a:cubicBezTo>
                    <a:cubicBezTo>
                      <a:pt x="10131" y="110771"/>
                      <a:pt x="8364" y="111496"/>
                      <a:pt x="6567" y="111496"/>
                    </a:cubicBezTo>
                    <a:close/>
                  </a:path>
                </a:pathLst>
              </a:custGeom>
              <a:grpFill/>
              <a:ln w="2891" cap="flat">
                <a:noFill/>
                <a:prstDash val="solid"/>
                <a:miter/>
              </a:ln>
            </p:spPr>
            <p:txBody>
              <a:bodyPr rtlCol="0" anchor="ctr"/>
              <a:lstStyle/>
              <a:p>
                <a:endParaRPr lang="en-GB" dirty="0"/>
              </a:p>
            </p:txBody>
          </p:sp>
          <p:sp>
            <p:nvSpPr>
              <p:cNvPr id="315" name="Freihandform: Form 939">
                <a:extLst>
                  <a:ext uri="{FF2B5EF4-FFF2-40B4-BE49-F238E27FC236}">
                    <a16:creationId xmlns:a16="http://schemas.microsoft.com/office/drawing/2014/main" id="{0A202682-94B1-4355-BC53-87F36426750B}"/>
                  </a:ext>
                </a:extLst>
              </p:cNvPr>
              <p:cNvSpPr/>
              <p:nvPr/>
            </p:nvSpPr>
            <p:spPr>
              <a:xfrm>
                <a:off x="5735811" y="2531760"/>
                <a:ext cx="65589" cy="111495"/>
              </a:xfrm>
              <a:custGeom>
                <a:avLst/>
                <a:gdLst>
                  <a:gd name="connsiteX0" fmla="*/ 59033 w 65589"/>
                  <a:gd name="connsiteY0" fmla="*/ 111496 h 111495"/>
                  <a:gd name="connsiteX1" fmla="*/ 54165 w 65589"/>
                  <a:gd name="connsiteY1" fmla="*/ 109322 h 111495"/>
                  <a:gd name="connsiteX2" fmla="*/ 11 w 65589"/>
                  <a:gd name="connsiteY2" fmla="*/ 6432 h 111495"/>
                  <a:gd name="connsiteX3" fmla="*/ 6704 w 65589"/>
                  <a:gd name="connsiteY3" fmla="*/ 0 h 111495"/>
                  <a:gd name="connsiteX4" fmla="*/ 13136 w 65589"/>
                  <a:gd name="connsiteY4" fmla="*/ 6693 h 111495"/>
                  <a:gd name="connsiteX5" fmla="*/ 63900 w 65589"/>
                  <a:gd name="connsiteY5" fmla="*/ 100543 h 111495"/>
                  <a:gd name="connsiteX6" fmla="*/ 63437 w 65589"/>
                  <a:gd name="connsiteY6" fmla="*/ 109815 h 111495"/>
                  <a:gd name="connsiteX7" fmla="*/ 59033 w 65589"/>
                  <a:gd name="connsiteY7" fmla="*/ 111496 h 111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589" h="111495">
                    <a:moveTo>
                      <a:pt x="59033" y="111496"/>
                    </a:moveTo>
                    <a:cubicBezTo>
                      <a:pt x="57236" y="111496"/>
                      <a:pt x="55469" y="110771"/>
                      <a:pt x="54165" y="109322"/>
                    </a:cubicBezTo>
                    <a:cubicBezTo>
                      <a:pt x="51905" y="106831"/>
                      <a:pt x="-859" y="47896"/>
                      <a:pt x="11" y="6432"/>
                    </a:cubicBezTo>
                    <a:cubicBezTo>
                      <a:pt x="98" y="2811"/>
                      <a:pt x="3285" y="116"/>
                      <a:pt x="6704" y="0"/>
                    </a:cubicBezTo>
                    <a:cubicBezTo>
                      <a:pt x="10326" y="87"/>
                      <a:pt x="13194" y="3071"/>
                      <a:pt x="13136" y="6693"/>
                    </a:cubicBezTo>
                    <a:cubicBezTo>
                      <a:pt x="12383" y="42970"/>
                      <a:pt x="63408" y="99963"/>
                      <a:pt x="63900" y="100543"/>
                    </a:cubicBezTo>
                    <a:cubicBezTo>
                      <a:pt x="66334" y="103238"/>
                      <a:pt x="66102" y="107381"/>
                      <a:pt x="63437" y="109815"/>
                    </a:cubicBezTo>
                    <a:cubicBezTo>
                      <a:pt x="62191" y="110945"/>
                      <a:pt x="60597" y="111496"/>
                      <a:pt x="59033" y="111496"/>
                    </a:cubicBezTo>
                    <a:close/>
                  </a:path>
                </a:pathLst>
              </a:custGeom>
              <a:grpFill/>
              <a:ln w="2891" cap="flat">
                <a:noFill/>
                <a:prstDash val="solid"/>
                <a:miter/>
              </a:ln>
            </p:spPr>
            <p:txBody>
              <a:bodyPr rtlCol="0" anchor="ctr"/>
              <a:lstStyle/>
              <a:p>
                <a:endParaRPr lang="en-GB" dirty="0"/>
              </a:p>
            </p:txBody>
          </p:sp>
          <p:sp>
            <p:nvSpPr>
              <p:cNvPr id="316" name="Freihandform: Form 940">
                <a:extLst>
                  <a:ext uri="{FF2B5EF4-FFF2-40B4-BE49-F238E27FC236}">
                    <a16:creationId xmlns:a16="http://schemas.microsoft.com/office/drawing/2014/main" id="{C74D613E-110B-4131-AB24-EA9F92156EAE}"/>
                  </a:ext>
                </a:extLst>
              </p:cNvPr>
              <p:cNvSpPr/>
              <p:nvPr/>
            </p:nvSpPr>
            <p:spPr>
              <a:xfrm>
                <a:off x="5552208" y="2590811"/>
                <a:ext cx="13096" cy="52444"/>
              </a:xfrm>
              <a:custGeom>
                <a:avLst/>
                <a:gdLst>
                  <a:gd name="connsiteX0" fmla="*/ 6548 w 13096"/>
                  <a:gd name="connsiteY0" fmla="*/ 52445 h 52444"/>
                  <a:gd name="connsiteX1" fmla="*/ 0 w 13096"/>
                  <a:gd name="connsiteY1" fmla="*/ 45896 h 52444"/>
                  <a:gd name="connsiteX2" fmla="*/ 0 w 13096"/>
                  <a:gd name="connsiteY2" fmla="*/ 6548 h 52444"/>
                  <a:gd name="connsiteX3" fmla="*/ 6548 w 13096"/>
                  <a:gd name="connsiteY3" fmla="*/ 0 h 52444"/>
                  <a:gd name="connsiteX4" fmla="*/ 13097 w 13096"/>
                  <a:gd name="connsiteY4" fmla="*/ 6548 h 52444"/>
                  <a:gd name="connsiteX5" fmla="*/ 13097 w 13096"/>
                  <a:gd name="connsiteY5" fmla="*/ 45896 h 52444"/>
                  <a:gd name="connsiteX6" fmla="*/ 6548 w 13096"/>
                  <a:gd name="connsiteY6" fmla="*/ 52445 h 5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52444">
                    <a:moveTo>
                      <a:pt x="6548" y="52445"/>
                    </a:moveTo>
                    <a:cubicBezTo>
                      <a:pt x="2926" y="52445"/>
                      <a:pt x="0" y="49518"/>
                      <a:pt x="0" y="45896"/>
                    </a:cubicBezTo>
                    <a:lnTo>
                      <a:pt x="0" y="6548"/>
                    </a:lnTo>
                    <a:cubicBezTo>
                      <a:pt x="0" y="2926"/>
                      <a:pt x="2926" y="0"/>
                      <a:pt x="6548" y="0"/>
                    </a:cubicBezTo>
                    <a:cubicBezTo>
                      <a:pt x="10170" y="0"/>
                      <a:pt x="13097" y="2926"/>
                      <a:pt x="13097" y="6548"/>
                    </a:cubicBezTo>
                    <a:lnTo>
                      <a:pt x="13097" y="45896"/>
                    </a:lnTo>
                    <a:cubicBezTo>
                      <a:pt x="13097" y="49518"/>
                      <a:pt x="10170" y="52445"/>
                      <a:pt x="6548" y="52445"/>
                    </a:cubicBezTo>
                    <a:close/>
                  </a:path>
                </a:pathLst>
              </a:custGeom>
              <a:grpFill/>
              <a:ln w="2891" cap="flat">
                <a:noFill/>
                <a:prstDash val="solid"/>
                <a:miter/>
              </a:ln>
            </p:spPr>
            <p:txBody>
              <a:bodyPr rtlCol="0" anchor="ctr"/>
              <a:lstStyle/>
              <a:p>
                <a:endParaRPr lang="en-GB" dirty="0"/>
              </a:p>
            </p:txBody>
          </p:sp>
          <p:sp>
            <p:nvSpPr>
              <p:cNvPr id="317" name="Freihandform: Form 941">
                <a:extLst>
                  <a:ext uri="{FF2B5EF4-FFF2-40B4-BE49-F238E27FC236}">
                    <a16:creationId xmlns:a16="http://schemas.microsoft.com/office/drawing/2014/main" id="{1F63E5A6-AC43-4566-8649-4696FE1237E8}"/>
                  </a:ext>
                </a:extLst>
              </p:cNvPr>
              <p:cNvSpPr/>
              <p:nvPr/>
            </p:nvSpPr>
            <p:spPr>
              <a:xfrm>
                <a:off x="5604682" y="2590811"/>
                <a:ext cx="13096" cy="52444"/>
              </a:xfrm>
              <a:custGeom>
                <a:avLst/>
                <a:gdLst>
                  <a:gd name="connsiteX0" fmla="*/ 6548 w 13096"/>
                  <a:gd name="connsiteY0" fmla="*/ 52445 h 52444"/>
                  <a:gd name="connsiteX1" fmla="*/ 0 w 13096"/>
                  <a:gd name="connsiteY1" fmla="*/ 45896 h 52444"/>
                  <a:gd name="connsiteX2" fmla="*/ 0 w 13096"/>
                  <a:gd name="connsiteY2" fmla="*/ 6548 h 52444"/>
                  <a:gd name="connsiteX3" fmla="*/ 6548 w 13096"/>
                  <a:gd name="connsiteY3" fmla="*/ 0 h 52444"/>
                  <a:gd name="connsiteX4" fmla="*/ 13097 w 13096"/>
                  <a:gd name="connsiteY4" fmla="*/ 6548 h 52444"/>
                  <a:gd name="connsiteX5" fmla="*/ 13097 w 13096"/>
                  <a:gd name="connsiteY5" fmla="*/ 45896 h 52444"/>
                  <a:gd name="connsiteX6" fmla="*/ 6548 w 13096"/>
                  <a:gd name="connsiteY6" fmla="*/ 52445 h 5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52444">
                    <a:moveTo>
                      <a:pt x="6548" y="52445"/>
                    </a:moveTo>
                    <a:cubicBezTo>
                      <a:pt x="2926" y="52445"/>
                      <a:pt x="0" y="49518"/>
                      <a:pt x="0" y="45896"/>
                    </a:cubicBezTo>
                    <a:lnTo>
                      <a:pt x="0" y="6548"/>
                    </a:lnTo>
                    <a:cubicBezTo>
                      <a:pt x="0" y="2926"/>
                      <a:pt x="2926" y="0"/>
                      <a:pt x="6548" y="0"/>
                    </a:cubicBezTo>
                    <a:cubicBezTo>
                      <a:pt x="10170" y="0"/>
                      <a:pt x="13097" y="2926"/>
                      <a:pt x="13097" y="6548"/>
                    </a:cubicBezTo>
                    <a:lnTo>
                      <a:pt x="13097" y="45896"/>
                    </a:lnTo>
                    <a:cubicBezTo>
                      <a:pt x="13097" y="49518"/>
                      <a:pt x="10170" y="52445"/>
                      <a:pt x="6548" y="52445"/>
                    </a:cubicBezTo>
                    <a:close/>
                  </a:path>
                </a:pathLst>
              </a:custGeom>
              <a:grpFill/>
              <a:ln w="2891" cap="flat">
                <a:noFill/>
                <a:prstDash val="solid"/>
                <a:miter/>
              </a:ln>
            </p:spPr>
            <p:txBody>
              <a:bodyPr rtlCol="0" anchor="ctr"/>
              <a:lstStyle/>
              <a:p>
                <a:endParaRPr lang="en-GB" dirty="0"/>
              </a:p>
            </p:txBody>
          </p:sp>
          <p:sp>
            <p:nvSpPr>
              <p:cNvPr id="318" name="Freihandform: Form 942">
                <a:extLst>
                  <a:ext uri="{FF2B5EF4-FFF2-40B4-BE49-F238E27FC236}">
                    <a16:creationId xmlns:a16="http://schemas.microsoft.com/office/drawing/2014/main" id="{E611B180-6C76-406B-A3E7-54C6FF63BEE6}"/>
                  </a:ext>
                </a:extLst>
              </p:cNvPr>
              <p:cNvSpPr/>
              <p:nvPr/>
            </p:nvSpPr>
            <p:spPr>
              <a:xfrm>
                <a:off x="5657155" y="2571137"/>
                <a:ext cx="13096" cy="72118"/>
              </a:xfrm>
              <a:custGeom>
                <a:avLst/>
                <a:gdLst>
                  <a:gd name="connsiteX0" fmla="*/ 6548 w 13096"/>
                  <a:gd name="connsiteY0" fmla="*/ 72119 h 72118"/>
                  <a:gd name="connsiteX1" fmla="*/ 0 w 13096"/>
                  <a:gd name="connsiteY1" fmla="*/ 65570 h 72118"/>
                  <a:gd name="connsiteX2" fmla="*/ 0 w 13096"/>
                  <a:gd name="connsiteY2" fmla="*/ 6548 h 72118"/>
                  <a:gd name="connsiteX3" fmla="*/ 6548 w 13096"/>
                  <a:gd name="connsiteY3" fmla="*/ 0 h 72118"/>
                  <a:gd name="connsiteX4" fmla="*/ 13097 w 13096"/>
                  <a:gd name="connsiteY4" fmla="*/ 6548 h 72118"/>
                  <a:gd name="connsiteX5" fmla="*/ 13097 w 13096"/>
                  <a:gd name="connsiteY5" fmla="*/ 65570 h 72118"/>
                  <a:gd name="connsiteX6" fmla="*/ 6548 w 13096"/>
                  <a:gd name="connsiteY6" fmla="*/ 72119 h 7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72118">
                    <a:moveTo>
                      <a:pt x="6548" y="72119"/>
                    </a:moveTo>
                    <a:cubicBezTo>
                      <a:pt x="2926" y="72119"/>
                      <a:pt x="0" y="69192"/>
                      <a:pt x="0" y="65570"/>
                    </a:cubicBezTo>
                    <a:lnTo>
                      <a:pt x="0" y="6548"/>
                    </a:lnTo>
                    <a:cubicBezTo>
                      <a:pt x="0" y="2926"/>
                      <a:pt x="2926" y="0"/>
                      <a:pt x="6548" y="0"/>
                    </a:cubicBezTo>
                    <a:cubicBezTo>
                      <a:pt x="10170" y="0"/>
                      <a:pt x="13097" y="2926"/>
                      <a:pt x="13097" y="6548"/>
                    </a:cubicBezTo>
                    <a:lnTo>
                      <a:pt x="13097" y="65570"/>
                    </a:lnTo>
                    <a:cubicBezTo>
                      <a:pt x="13097" y="69192"/>
                      <a:pt x="10170" y="72119"/>
                      <a:pt x="6548" y="72119"/>
                    </a:cubicBezTo>
                    <a:close/>
                  </a:path>
                </a:pathLst>
              </a:custGeom>
              <a:grpFill/>
              <a:ln w="2891" cap="flat">
                <a:noFill/>
                <a:prstDash val="solid"/>
                <a:miter/>
              </a:ln>
            </p:spPr>
            <p:txBody>
              <a:bodyPr rtlCol="0" anchor="ctr"/>
              <a:lstStyle/>
              <a:p>
                <a:endParaRPr lang="en-GB" dirty="0"/>
              </a:p>
            </p:txBody>
          </p:sp>
          <p:grpSp>
            <p:nvGrpSpPr>
              <p:cNvPr id="319" name="Grafik 219">
                <a:extLst>
                  <a:ext uri="{FF2B5EF4-FFF2-40B4-BE49-F238E27FC236}">
                    <a16:creationId xmlns:a16="http://schemas.microsoft.com/office/drawing/2014/main" id="{74DDF7F3-1E0B-4ED6-BACF-DD1855DBD854}"/>
                  </a:ext>
                </a:extLst>
              </p:cNvPr>
              <p:cNvGrpSpPr/>
              <p:nvPr/>
            </p:nvGrpSpPr>
            <p:grpSpPr>
              <a:xfrm>
                <a:off x="5447290" y="2571137"/>
                <a:ext cx="65541" cy="72118"/>
                <a:chOff x="5447290" y="2571137"/>
                <a:chExt cx="65541" cy="72118"/>
              </a:xfrm>
              <a:grpFill/>
            </p:grpSpPr>
            <p:sp>
              <p:nvSpPr>
                <p:cNvPr id="320" name="Freihandform: Form 944">
                  <a:extLst>
                    <a:ext uri="{FF2B5EF4-FFF2-40B4-BE49-F238E27FC236}">
                      <a16:creationId xmlns:a16="http://schemas.microsoft.com/office/drawing/2014/main" id="{52DCD631-5CFB-448C-8AC6-F335FDF1EE90}"/>
                    </a:ext>
                  </a:extLst>
                </p:cNvPr>
                <p:cNvSpPr/>
                <p:nvPr/>
              </p:nvSpPr>
              <p:spPr>
                <a:xfrm>
                  <a:off x="5499734" y="2590811"/>
                  <a:ext cx="13096" cy="52444"/>
                </a:xfrm>
                <a:custGeom>
                  <a:avLst/>
                  <a:gdLst>
                    <a:gd name="connsiteX0" fmla="*/ 6548 w 13096"/>
                    <a:gd name="connsiteY0" fmla="*/ 52445 h 52444"/>
                    <a:gd name="connsiteX1" fmla="*/ 0 w 13096"/>
                    <a:gd name="connsiteY1" fmla="*/ 45896 h 52444"/>
                    <a:gd name="connsiteX2" fmla="*/ 0 w 13096"/>
                    <a:gd name="connsiteY2" fmla="*/ 6548 h 52444"/>
                    <a:gd name="connsiteX3" fmla="*/ 6548 w 13096"/>
                    <a:gd name="connsiteY3" fmla="*/ 0 h 52444"/>
                    <a:gd name="connsiteX4" fmla="*/ 13097 w 13096"/>
                    <a:gd name="connsiteY4" fmla="*/ 6548 h 52444"/>
                    <a:gd name="connsiteX5" fmla="*/ 13097 w 13096"/>
                    <a:gd name="connsiteY5" fmla="*/ 45896 h 52444"/>
                    <a:gd name="connsiteX6" fmla="*/ 6548 w 13096"/>
                    <a:gd name="connsiteY6" fmla="*/ 52445 h 52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52444">
                      <a:moveTo>
                        <a:pt x="6548" y="52445"/>
                      </a:moveTo>
                      <a:cubicBezTo>
                        <a:pt x="2926" y="52445"/>
                        <a:pt x="0" y="49518"/>
                        <a:pt x="0" y="45896"/>
                      </a:cubicBezTo>
                      <a:lnTo>
                        <a:pt x="0" y="6548"/>
                      </a:lnTo>
                      <a:cubicBezTo>
                        <a:pt x="0" y="2926"/>
                        <a:pt x="2926" y="0"/>
                        <a:pt x="6548" y="0"/>
                      </a:cubicBezTo>
                      <a:cubicBezTo>
                        <a:pt x="10170" y="0"/>
                        <a:pt x="13097" y="2926"/>
                        <a:pt x="13097" y="6548"/>
                      </a:cubicBezTo>
                      <a:lnTo>
                        <a:pt x="13097" y="45896"/>
                      </a:lnTo>
                      <a:cubicBezTo>
                        <a:pt x="13126" y="49518"/>
                        <a:pt x="10170" y="52445"/>
                        <a:pt x="6548" y="52445"/>
                      </a:cubicBezTo>
                      <a:close/>
                    </a:path>
                  </a:pathLst>
                </a:custGeom>
                <a:grpFill/>
                <a:ln w="2891" cap="flat">
                  <a:noFill/>
                  <a:prstDash val="solid"/>
                  <a:miter/>
                </a:ln>
              </p:spPr>
              <p:txBody>
                <a:bodyPr rtlCol="0" anchor="ctr"/>
                <a:lstStyle/>
                <a:p>
                  <a:endParaRPr lang="en-GB" dirty="0"/>
                </a:p>
              </p:txBody>
            </p:sp>
            <p:sp>
              <p:nvSpPr>
                <p:cNvPr id="321" name="Freihandform: Form 945">
                  <a:extLst>
                    <a:ext uri="{FF2B5EF4-FFF2-40B4-BE49-F238E27FC236}">
                      <a16:creationId xmlns:a16="http://schemas.microsoft.com/office/drawing/2014/main" id="{127A9C2C-7A46-40DA-91AC-A6BD2CBA80BE}"/>
                    </a:ext>
                  </a:extLst>
                </p:cNvPr>
                <p:cNvSpPr/>
                <p:nvPr/>
              </p:nvSpPr>
              <p:spPr>
                <a:xfrm>
                  <a:off x="5447290" y="2571137"/>
                  <a:ext cx="13096" cy="72118"/>
                </a:xfrm>
                <a:custGeom>
                  <a:avLst/>
                  <a:gdLst>
                    <a:gd name="connsiteX0" fmla="*/ 6548 w 13096"/>
                    <a:gd name="connsiteY0" fmla="*/ 72119 h 72118"/>
                    <a:gd name="connsiteX1" fmla="*/ 0 w 13096"/>
                    <a:gd name="connsiteY1" fmla="*/ 65570 h 72118"/>
                    <a:gd name="connsiteX2" fmla="*/ 0 w 13096"/>
                    <a:gd name="connsiteY2" fmla="*/ 6548 h 72118"/>
                    <a:gd name="connsiteX3" fmla="*/ 6548 w 13096"/>
                    <a:gd name="connsiteY3" fmla="*/ 0 h 72118"/>
                    <a:gd name="connsiteX4" fmla="*/ 13097 w 13096"/>
                    <a:gd name="connsiteY4" fmla="*/ 6548 h 72118"/>
                    <a:gd name="connsiteX5" fmla="*/ 13097 w 13096"/>
                    <a:gd name="connsiteY5" fmla="*/ 65570 h 72118"/>
                    <a:gd name="connsiteX6" fmla="*/ 6548 w 13096"/>
                    <a:gd name="connsiteY6" fmla="*/ 72119 h 7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72118">
                      <a:moveTo>
                        <a:pt x="6548" y="72119"/>
                      </a:moveTo>
                      <a:cubicBezTo>
                        <a:pt x="2926" y="72119"/>
                        <a:pt x="0" y="69192"/>
                        <a:pt x="0" y="65570"/>
                      </a:cubicBezTo>
                      <a:lnTo>
                        <a:pt x="0" y="6548"/>
                      </a:lnTo>
                      <a:cubicBezTo>
                        <a:pt x="0" y="2926"/>
                        <a:pt x="2926" y="0"/>
                        <a:pt x="6548" y="0"/>
                      </a:cubicBezTo>
                      <a:cubicBezTo>
                        <a:pt x="10170" y="0"/>
                        <a:pt x="13097" y="2926"/>
                        <a:pt x="13097" y="6548"/>
                      </a:cubicBezTo>
                      <a:lnTo>
                        <a:pt x="13097" y="65570"/>
                      </a:lnTo>
                      <a:cubicBezTo>
                        <a:pt x="13097" y="69192"/>
                        <a:pt x="10170" y="72119"/>
                        <a:pt x="6548" y="72119"/>
                      </a:cubicBezTo>
                      <a:close/>
                    </a:path>
                  </a:pathLst>
                </a:custGeom>
                <a:grpFill/>
                <a:ln w="2891" cap="flat">
                  <a:noFill/>
                  <a:prstDash val="solid"/>
                  <a:miter/>
                </a:ln>
              </p:spPr>
              <p:txBody>
                <a:bodyPr rtlCol="0" anchor="ctr"/>
                <a:lstStyle/>
                <a:p>
                  <a:endParaRPr lang="en-GB" dirty="0"/>
                </a:p>
              </p:txBody>
            </p:sp>
          </p:grpSp>
        </p:grpSp>
        <p:grpSp>
          <p:nvGrpSpPr>
            <p:cNvPr id="303" name="Grafik 219">
              <a:extLst>
                <a:ext uri="{FF2B5EF4-FFF2-40B4-BE49-F238E27FC236}">
                  <a16:creationId xmlns:a16="http://schemas.microsoft.com/office/drawing/2014/main" id="{801A1D96-BE65-4DCC-A39C-BD74D15A507E}"/>
                </a:ext>
              </a:extLst>
            </p:cNvPr>
            <p:cNvGrpSpPr/>
            <p:nvPr/>
          </p:nvGrpSpPr>
          <p:grpSpPr>
            <a:xfrm>
              <a:off x="1532507" y="4349204"/>
              <a:ext cx="614583" cy="122895"/>
              <a:chOff x="5316602" y="2736264"/>
              <a:chExt cx="484842" cy="96951"/>
            </a:xfrm>
            <a:solidFill>
              <a:schemeClr val="accent1"/>
            </a:solidFill>
          </p:grpSpPr>
          <p:sp>
            <p:nvSpPr>
              <p:cNvPr id="304" name="Freihandform: Form 947">
                <a:extLst>
                  <a:ext uri="{FF2B5EF4-FFF2-40B4-BE49-F238E27FC236}">
                    <a16:creationId xmlns:a16="http://schemas.microsoft.com/office/drawing/2014/main" id="{19F0689E-091B-4070-B0DF-2E83186D3825}"/>
                  </a:ext>
                </a:extLst>
              </p:cNvPr>
              <p:cNvSpPr/>
              <p:nvPr/>
            </p:nvSpPr>
            <p:spPr>
              <a:xfrm>
                <a:off x="5316602" y="2736264"/>
                <a:ext cx="254091" cy="34517"/>
              </a:xfrm>
              <a:custGeom>
                <a:avLst/>
                <a:gdLst>
                  <a:gd name="connsiteX0" fmla="*/ 159895 w 254091"/>
                  <a:gd name="connsiteY0" fmla="*/ 34481 h 34517"/>
                  <a:gd name="connsiteX1" fmla="*/ 126110 w 254091"/>
                  <a:gd name="connsiteY1" fmla="*/ 23297 h 34517"/>
                  <a:gd name="connsiteX2" fmla="*/ 124053 w 254091"/>
                  <a:gd name="connsiteY2" fmla="*/ 21761 h 34517"/>
                  <a:gd name="connsiteX3" fmla="*/ 72245 w 254091"/>
                  <a:gd name="connsiteY3" fmla="*/ 21761 h 34517"/>
                  <a:gd name="connsiteX4" fmla="*/ 70159 w 254091"/>
                  <a:gd name="connsiteY4" fmla="*/ 23326 h 34517"/>
                  <a:gd name="connsiteX5" fmla="*/ 2619 w 254091"/>
                  <a:gd name="connsiteY5" fmla="*/ 23326 h 34517"/>
                  <a:gd name="connsiteX6" fmla="*/ 1315 w 254091"/>
                  <a:gd name="connsiteY6" fmla="*/ 14141 h 34517"/>
                  <a:gd name="connsiteX7" fmla="*/ 10500 w 254091"/>
                  <a:gd name="connsiteY7" fmla="*/ 12837 h 34517"/>
                  <a:gd name="connsiteX8" fmla="*/ 62307 w 254091"/>
                  <a:gd name="connsiteY8" fmla="*/ 12837 h 34517"/>
                  <a:gd name="connsiteX9" fmla="*/ 64393 w 254091"/>
                  <a:gd name="connsiteY9" fmla="*/ 11272 h 34517"/>
                  <a:gd name="connsiteX10" fmla="*/ 131934 w 254091"/>
                  <a:gd name="connsiteY10" fmla="*/ 11272 h 34517"/>
                  <a:gd name="connsiteX11" fmla="*/ 133991 w 254091"/>
                  <a:gd name="connsiteY11" fmla="*/ 12808 h 34517"/>
                  <a:gd name="connsiteX12" fmla="*/ 185798 w 254091"/>
                  <a:gd name="connsiteY12" fmla="*/ 12808 h 34517"/>
                  <a:gd name="connsiteX13" fmla="*/ 187884 w 254091"/>
                  <a:gd name="connsiteY13" fmla="*/ 11243 h 34517"/>
                  <a:gd name="connsiteX14" fmla="*/ 244327 w 254091"/>
                  <a:gd name="connsiteY14" fmla="*/ 4753 h 34517"/>
                  <a:gd name="connsiteX15" fmla="*/ 250934 w 254091"/>
                  <a:gd name="connsiteY15" fmla="*/ 8201 h 34517"/>
                  <a:gd name="connsiteX16" fmla="*/ 253136 w 254091"/>
                  <a:gd name="connsiteY16" fmla="*/ 17212 h 34517"/>
                  <a:gd name="connsiteX17" fmla="*/ 244125 w 254091"/>
                  <a:gd name="connsiteY17" fmla="*/ 19414 h 34517"/>
                  <a:gd name="connsiteX18" fmla="*/ 239054 w 254091"/>
                  <a:gd name="connsiteY18" fmla="*/ 16778 h 34517"/>
                  <a:gd name="connsiteX19" fmla="*/ 195766 w 254091"/>
                  <a:gd name="connsiteY19" fmla="*/ 21761 h 34517"/>
                  <a:gd name="connsiteX20" fmla="*/ 193679 w 254091"/>
                  <a:gd name="connsiteY20" fmla="*/ 23326 h 34517"/>
                  <a:gd name="connsiteX21" fmla="*/ 159895 w 254091"/>
                  <a:gd name="connsiteY21" fmla="*/ 34481 h 34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4091" h="34517">
                    <a:moveTo>
                      <a:pt x="159895" y="34481"/>
                    </a:moveTo>
                    <a:cubicBezTo>
                      <a:pt x="147986" y="34481"/>
                      <a:pt x="136077" y="30744"/>
                      <a:pt x="126110" y="23297"/>
                    </a:cubicBezTo>
                    <a:lnTo>
                      <a:pt x="124053" y="21761"/>
                    </a:lnTo>
                    <a:cubicBezTo>
                      <a:pt x="108812" y="10316"/>
                      <a:pt x="87486" y="10316"/>
                      <a:pt x="72245" y="21761"/>
                    </a:cubicBezTo>
                    <a:lnTo>
                      <a:pt x="70159" y="23326"/>
                    </a:lnTo>
                    <a:cubicBezTo>
                      <a:pt x="50282" y="38248"/>
                      <a:pt x="22495" y="38248"/>
                      <a:pt x="2619" y="23326"/>
                    </a:cubicBezTo>
                    <a:cubicBezTo>
                      <a:pt x="-279" y="21153"/>
                      <a:pt x="-858" y="17038"/>
                      <a:pt x="1315" y="14141"/>
                    </a:cubicBezTo>
                    <a:cubicBezTo>
                      <a:pt x="3488" y="11243"/>
                      <a:pt x="7602" y="10664"/>
                      <a:pt x="10500" y="12837"/>
                    </a:cubicBezTo>
                    <a:cubicBezTo>
                      <a:pt x="25741" y="24282"/>
                      <a:pt x="47066" y="24282"/>
                      <a:pt x="62307" y="12837"/>
                    </a:cubicBezTo>
                    <a:lnTo>
                      <a:pt x="64393" y="11272"/>
                    </a:lnTo>
                    <a:cubicBezTo>
                      <a:pt x="84270" y="-3650"/>
                      <a:pt x="112057" y="-3650"/>
                      <a:pt x="131934" y="11272"/>
                    </a:cubicBezTo>
                    <a:lnTo>
                      <a:pt x="133991" y="12808"/>
                    </a:lnTo>
                    <a:cubicBezTo>
                      <a:pt x="149261" y="24253"/>
                      <a:pt x="170557" y="24253"/>
                      <a:pt x="185798" y="12808"/>
                    </a:cubicBezTo>
                    <a:lnTo>
                      <a:pt x="187884" y="11243"/>
                    </a:lnTo>
                    <a:cubicBezTo>
                      <a:pt x="204110" y="-926"/>
                      <a:pt x="225726" y="-3418"/>
                      <a:pt x="244327" y="4753"/>
                    </a:cubicBezTo>
                    <a:cubicBezTo>
                      <a:pt x="246587" y="5738"/>
                      <a:pt x="248819" y="6897"/>
                      <a:pt x="250934" y="8201"/>
                    </a:cubicBezTo>
                    <a:cubicBezTo>
                      <a:pt x="254034" y="10084"/>
                      <a:pt x="255019" y="14112"/>
                      <a:pt x="253136" y="17212"/>
                    </a:cubicBezTo>
                    <a:cubicBezTo>
                      <a:pt x="251252" y="20313"/>
                      <a:pt x="247225" y="21269"/>
                      <a:pt x="244125" y="19414"/>
                    </a:cubicBezTo>
                    <a:cubicBezTo>
                      <a:pt x="242473" y="18429"/>
                      <a:pt x="240793" y="17531"/>
                      <a:pt x="239054" y="16778"/>
                    </a:cubicBezTo>
                    <a:cubicBezTo>
                      <a:pt x="224798" y="10490"/>
                      <a:pt x="208225" y="12431"/>
                      <a:pt x="195766" y="21761"/>
                    </a:cubicBezTo>
                    <a:lnTo>
                      <a:pt x="193679" y="23326"/>
                    </a:lnTo>
                    <a:cubicBezTo>
                      <a:pt x="183712" y="30744"/>
                      <a:pt x="171803" y="34481"/>
                      <a:pt x="159895" y="34481"/>
                    </a:cubicBezTo>
                    <a:close/>
                  </a:path>
                </a:pathLst>
              </a:custGeom>
              <a:solidFill>
                <a:schemeClr val="accent1"/>
              </a:solidFill>
              <a:ln w="2891" cap="flat">
                <a:noFill/>
                <a:prstDash val="solid"/>
                <a:miter/>
              </a:ln>
            </p:spPr>
            <p:txBody>
              <a:bodyPr rtlCol="0" anchor="ctr"/>
              <a:lstStyle/>
              <a:p>
                <a:endParaRPr lang="en-GB" dirty="0"/>
              </a:p>
            </p:txBody>
          </p:sp>
          <p:sp>
            <p:nvSpPr>
              <p:cNvPr id="305" name="Freihandform: Form 948">
                <a:extLst>
                  <a:ext uri="{FF2B5EF4-FFF2-40B4-BE49-F238E27FC236}">
                    <a16:creationId xmlns:a16="http://schemas.microsoft.com/office/drawing/2014/main" id="{C7BEBA46-CB27-472C-82DB-06514BE8B90F}"/>
                  </a:ext>
                </a:extLst>
              </p:cNvPr>
              <p:cNvSpPr/>
              <p:nvPr/>
            </p:nvSpPr>
            <p:spPr>
              <a:xfrm>
                <a:off x="5541864" y="2742807"/>
                <a:ext cx="259581" cy="35820"/>
              </a:xfrm>
              <a:custGeom>
                <a:avLst/>
                <a:gdLst>
                  <a:gd name="connsiteX0" fmla="*/ 225425 w 259581"/>
                  <a:gd name="connsiteY0" fmla="*/ 35820 h 35820"/>
                  <a:gd name="connsiteX1" fmla="*/ 191641 w 259581"/>
                  <a:gd name="connsiteY1" fmla="*/ 24578 h 35820"/>
                  <a:gd name="connsiteX2" fmla="*/ 187874 w 259581"/>
                  <a:gd name="connsiteY2" fmla="*/ 21767 h 35820"/>
                  <a:gd name="connsiteX3" fmla="*/ 136067 w 259581"/>
                  <a:gd name="connsiteY3" fmla="*/ 21767 h 35820"/>
                  <a:gd name="connsiteX4" fmla="*/ 133980 w 259581"/>
                  <a:gd name="connsiteY4" fmla="*/ 23332 h 35820"/>
                  <a:gd name="connsiteX5" fmla="*/ 66440 w 259581"/>
                  <a:gd name="connsiteY5" fmla="*/ 23332 h 35820"/>
                  <a:gd name="connsiteX6" fmla="*/ 64383 w 259581"/>
                  <a:gd name="connsiteY6" fmla="*/ 21796 h 35820"/>
                  <a:gd name="connsiteX7" fmla="*/ 39696 w 259581"/>
                  <a:gd name="connsiteY7" fmla="*/ 13162 h 35820"/>
                  <a:gd name="connsiteX8" fmla="*/ 18863 w 259581"/>
                  <a:gd name="connsiteY8" fmla="*/ 17856 h 35820"/>
                  <a:gd name="connsiteX9" fmla="*/ 12576 w 259581"/>
                  <a:gd name="connsiteY9" fmla="*/ 21767 h 35820"/>
                  <a:gd name="connsiteX10" fmla="*/ 10489 w 259581"/>
                  <a:gd name="connsiteY10" fmla="*/ 23332 h 35820"/>
                  <a:gd name="connsiteX11" fmla="*/ 1304 w 259581"/>
                  <a:gd name="connsiteY11" fmla="*/ 21999 h 35820"/>
                  <a:gd name="connsiteX12" fmla="*/ 2637 w 259581"/>
                  <a:gd name="connsiteY12" fmla="*/ 12814 h 35820"/>
                  <a:gd name="connsiteX13" fmla="*/ 4723 w 259581"/>
                  <a:gd name="connsiteY13" fmla="*/ 11249 h 35820"/>
                  <a:gd name="connsiteX14" fmla="*/ 12894 w 259581"/>
                  <a:gd name="connsiteY14" fmla="*/ 6150 h 35820"/>
                  <a:gd name="connsiteX15" fmla="*/ 40073 w 259581"/>
                  <a:gd name="connsiteY15" fmla="*/ 36 h 35820"/>
                  <a:gd name="connsiteX16" fmla="*/ 72264 w 259581"/>
                  <a:gd name="connsiteY16" fmla="*/ 11278 h 35820"/>
                  <a:gd name="connsiteX17" fmla="*/ 74321 w 259581"/>
                  <a:gd name="connsiteY17" fmla="*/ 12814 h 35820"/>
                  <a:gd name="connsiteX18" fmla="*/ 126128 w 259581"/>
                  <a:gd name="connsiteY18" fmla="*/ 12814 h 35820"/>
                  <a:gd name="connsiteX19" fmla="*/ 128214 w 259581"/>
                  <a:gd name="connsiteY19" fmla="*/ 11249 h 35820"/>
                  <a:gd name="connsiteX20" fmla="*/ 195755 w 259581"/>
                  <a:gd name="connsiteY20" fmla="*/ 11249 h 35820"/>
                  <a:gd name="connsiteX21" fmla="*/ 199522 w 259581"/>
                  <a:gd name="connsiteY21" fmla="*/ 14060 h 35820"/>
                  <a:gd name="connsiteX22" fmla="*/ 249388 w 259581"/>
                  <a:gd name="connsiteY22" fmla="*/ 15451 h 35820"/>
                  <a:gd name="connsiteX23" fmla="*/ 258486 w 259581"/>
                  <a:gd name="connsiteY23" fmla="*/ 17276 h 35820"/>
                  <a:gd name="connsiteX24" fmla="*/ 256660 w 259581"/>
                  <a:gd name="connsiteY24" fmla="*/ 26374 h 35820"/>
                  <a:gd name="connsiteX25" fmla="*/ 225425 w 259581"/>
                  <a:gd name="connsiteY25" fmla="*/ 35820 h 35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59581" h="35820">
                    <a:moveTo>
                      <a:pt x="225425" y="35820"/>
                    </a:moveTo>
                    <a:cubicBezTo>
                      <a:pt x="213517" y="35820"/>
                      <a:pt x="201608" y="32053"/>
                      <a:pt x="191641" y="24578"/>
                    </a:cubicBezTo>
                    <a:lnTo>
                      <a:pt x="187874" y="21767"/>
                    </a:lnTo>
                    <a:cubicBezTo>
                      <a:pt x="172604" y="10322"/>
                      <a:pt x="151307" y="10322"/>
                      <a:pt x="136067" y="21767"/>
                    </a:cubicBezTo>
                    <a:lnTo>
                      <a:pt x="133980" y="23332"/>
                    </a:lnTo>
                    <a:cubicBezTo>
                      <a:pt x="114104" y="38254"/>
                      <a:pt x="86317" y="38254"/>
                      <a:pt x="66440" y="23332"/>
                    </a:cubicBezTo>
                    <a:lnTo>
                      <a:pt x="64383" y="21796"/>
                    </a:lnTo>
                    <a:cubicBezTo>
                      <a:pt x="57197" y="16407"/>
                      <a:pt x="48649" y="13423"/>
                      <a:pt x="39696" y="13162"/>
                    </a:cubicBezTo>
                    <a:cubicBezTo>
                      <a:pt x="32539" y="13017"/>
                      <a:pt x="25267" y="14581"/>
                      <a:pt x="18863" y="17856"/>
                    </a:cubicBezTo>
                    <a:cubicBezTo>
                      <a:pt x="16661" y="18986"/>
                      <a:pt x="14546" y="20290"/>
                      <a:pt x="12576" y="21767"/>
                    </a:cubicBezTo>
                    <a:lnTo>
                      <a:pt x="10489" y="23332"/>
                    </a:lnTo>
                    <a:cubicBezTo>
                      <a:pt x="7592" y="25505"/>
                      <a:pt x="3477" y="24897"/>
                      <a:pt x="1304" y="21999"/>
                    </a:cubicBezTo>
                    <a:cubicBezTo>
                      <a:pt x="-869" y="19102"/>
                      <a:pt x="-260" y="14987"/>
                      <a:pt x="2637" y="12814"/>
                    </a:cubicBezTo>
                    <a:lnTo>
                      <a:pt x="4723" y="11249"/>
                    </a:lnTo>
                    <a:cubicBezTo>
                      <a:pt x="7302" y="9337"/>
                      <a:pt x="10055" y="7599"/>
                      <a:pt x="12894" y="6150"/>
                    </a:cubicBezTo>
                    <a:cubicBezTo>
                      <a:pt x="21268" y="1862"/>
                      <a:pt x="30656" y="-312"/>
                      <a:pt x="40073" y="36"/>
                    </a:cubicBezTo>
                    <a:cubicBezTo>
                      <a:pt x="51779" y="355"/>
                      <a:pt x="62905" y="4238"/>
                      <a:pt x="72264" y="11278"/>
                    </a:cubicBezTo>
                    <a:lnTo>
                      <a:pt x="74321" y="12814"/>
                    </a:lnTo>
                    <a:cubicBezTo>
                      <a:pt x="89591" y="24259"/>
                      <a:pt x="110887" y="24259"/>
                      <a:pt x="126128" y="12814"/>
                    </a:cubicBezTo>
                    <a:lnTo>
                      <a:pt x="128214" y="11249"/>
                    </a:lnTo>
                    <a:cubicBezTo>
                      <a:pt x="148091" y="-3673"/>
                      <a:pt x="175878" y="-3673"/>
                      <a:pt x="195755" y="11249"/>
                    </a:cubicBezTo>
                    <a:lnTo>
                      <a:pt x="199522" y="14060"/>
                    </a:lnTo>
                    <a:cubicBezTo>
                      <a:pt x="214125" y="25012"/>
                      <a:pt x="234176" y="25592"/>
                      <a:pt x="249388" y="15451"/>
                    </a:cubicBezTo>
                    <a:cubicBezTo>
                      <a:pt x="252401" y="13423"/>
                      <a:pt x="256457" y="14263"/>
                      <a:pt x="258486" y="17276"/>
                    </a:cubicBezTo>
                    <a:cubicBezTo>
                      <a:pt x="260485" y="20290"/>
                      <a:pt x="259674" y="24375"/>
                      <a:pt x="256660" y="26374"/>
                    </a:cubicBezTo>
                    <a:cubicBezTo>
                      <a:pt x="247185" y="32691"/>
                      <a:pt x="236291" y="35820"/>
                      <a:pt x="225425" y="35820"/>
                    </a:cubicBezTo>
                    <a:close/>
                  </a:path>
                </a:pathLst>
              </a:custGeom>
              <a:solidFill>
                <a:schemeClr val="accent1"/>
              </a:solidFill>
              <a:ln w="2891" cap="flat">
                <a:noFill/>
                <a:prstDash val="solid"/>
                <a:miter/>
              </a:ln>
            </p:spPr>
            <p:txBody>
              <a:bodyPr rtlCol="0" anchor="ctr"/>
              <a:lstStyle/>
              <a:p>
                <a:endParaRPr lang="en-GB" dirty="0"/>
              </a:p>
            </p:txBody>
          </p:sp>
          <p:sp>
            <p:nvSpPr>
              <p:cNvPr id="306" name="Freihandform: Form 949">
                <a:extLst>
                  <a:ext uri="{FF2B5EF4-FFF2-40B4-BE49-F238E27FC236}">
                    <a16:creationId xmlns:a16="http://schemas.microsoft.com/office/drawing/2014/main" id="{D690B5CD-22D7-4CEF-858A-635C9ABC97B2}"/>
                  </a:ext>
                </a:extLst>
              </p:cNvPr>
              <p:cNvSpPr/>
              <p:nvPr/>
            </p:nvSpPr>
            <p:spPr>
              <a:xfrm>
                <a:off x="5415522" y="2800081"/>
                <a:ext cx="284133" cy="33134"/>
              </a:xfrm>
              <a:custGeom>
                <a:avLst/>
                <a:gdLst>
                  <a:gd name="connsiteX0" fmla="*/ 87660 w 284133"/>
                  <a:gd name="connsiteY0" fmla="*/ 33135 h 33134"/>
                  <a:gd name="connsiteX1" fmla="*/ 57294 w 284133"/>
                  <a:gd name="connsiteY1" fmla="*/ 23080 h 33134"/>
                  <a:gd name="connsiteX2" fmla="*/ 55469 w 284133"/>
                  <a:gd name="connsiteY2" fmla="*/ 21689 h 33134"/>
                  <a:gd name="connsiteX3" fmla="*/ 10500 w 284133"/>
                  <a:gd name="connsiteY3" fmla="*/ 21689 h 33134"/>
                  <a:gd name="connsiteX4" fmla="*/ 1315 w 284133"/>
                  <a:gd name="connsiteY4" fmla="*/ 20386 h 33134"/>
                  <a:gd name="connsiteX5" fmla="*/ 2619 w 284133"/>
                  <a:gd name="connsiteY5" fmla="*/ 11201 h 33134"/>
                  <a:gd name="connsiteX6" fmla="*/ 63321 w 284133"/>
                  <a:gd name="connsiteY6" fmla="*/ 11201 h 33134"/>
                  <a:gd name="connsiteX7" fmla="*/ 65147 w 284133"/>
                  <a:gd name="connsiteY7" fmla="*/ 12591 h 33134"/>
                  <a:gd name="connsiteX8" fmla="*/ 110116 w 284133"/>
                  <a:gd name="connsiteY8" fmla="*/ 12591 h 33134"/>
                  <a:gd name="connsiteX9" fmla="*/ 111970 w 284133"/>
                  <a:gd name="connsiteY9" fmla="*/ 11201 h 33134"/>
                  <a:gd name="connsiteX10" fmla="*/ 172672 w 284133"/>
                  <a:gd name="connsiteY10" fmla="*/ 11201 h 33134"/>
                  <a:gd name="connsiteX11" fmla="*/ 174498 w 284133"/>
                  <a:gd name="connsiteY11" fmla="*/ 12591 h 33134"/>
                  <a:gd name="connsiteX12" fmla="*/ 219467 w 284133"/>
                  <a:gd name="connsiteY12" fmla="*/ 12591 h 33134"/>
                  <a:gd name="connsiteX13" fmla="*/ 222799 w 284133"/>
                  <a:gd name="connsiteY13" fmla="*/ 10100 h 33134"/>
                  <a:gd name="connsiteX14" fmla="*/ 281213 w 284133"/>
                  <a:gd name="connsiteY14" fmla="*/ 8477 h 33134"/>
                  <a:gd name="connsiteX15" fmla="*/ 283038 w 284133"/>
                  <a:gd name="connsiteY15" fmla="*/ 17575 h 33134"/>
                  <a:gd name="connsiteX16" fmla="*/ 273940 w 284133"/>
                  <a:gd name="connsiteY16" fmla="*/ 19401 h 33134"/>
                  <a:gd name="connsiteX17" fmla="*/ 230680 w 284133"/>
                  <a:gd name="connsiteY17" fmla="*/ 20588 h 33134"/>
                  <a:gd name="connsiteX18" fmla="*/ 227348 w 284133"/>
                  <a:gd name="connsiteY18" fmla="*/ 23080 h 33134"/>
                  <a:gd name="connsiteX19" fmla="*/ 166646 w 284133"/>
                  <a:gd name="connsiteY19" fmla="*/ 23080 h 33134"/>
                  <a:gd name="connsiteX20" fmla="*/ 164820 w 284133"/>
                  <a:gd name="connsiteY20" fmla="*/ 21689 h 33134"/>
                  <a:gd name="connsiteX21" fmla="*/ 119851 w 284133"/>
                  <a:gd name="connsiteY21" fmla="*/ 21689 h 33134"/>
                  <a:gd name="connsiteX22" fmla="*/ 117997 w 284133"/>
                  <a:gd name="connsiteY22" fmla="*/ 23080 h 33134"/>
                  <a:gd name="connsiteX23" fmla="*/ 87660 w 284133"/>
                  <a:gd name="connsiteY23" fmla="*/ 33135 h 3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4133" h="33134">
                    <a:moveTo>
                      <a:pt x="87660" y="33135"/>
                    </a:moveTo>
                    <a:cubicBezTo>
                      <a:pt x="76939" y="33135"/>
                      <a:pt x="66248" y="29774"/>
                      <a:pt x="57294" y="23080"/>
                    </a:cubicBezTo>
                    <a:lnTo>
                      <a:pt x="55469" y="21689"/>
                    </a:lnTo>
                    <a:cubicBezTo>
                      <a:pt x="42227" y="11751"/>
                      <a:pt x="23741" y="11751"/>
                      <a:pt x="10500" y="21689"/>
                    </a:cubicBezTo>
                    <a:cubicBezTo>
                      <a:pt x="7602" y="23863"/>
                      <a:pt x="3488" y="23283"/>
                      <a:pt x="1315" y="20386"/>
                    </a:cubicBezTo>
                    <a:cubicBezTo>
                      <a:pt x="-858" y="17488"/>
                      <a:pt x="-279" y="13374"/>
                      <a:pt x="2619" y="11201"/>
                    </a:cubicBezTo>
                    <a:cubicBezTo>
                      <a:pt x="20496" y="-2186"/>
                      <a:pt x="45444" y="-2215"/>
                      <a:pt x="63321" y="11201"/>
                    </a:cubicBezTo>
                    <a:lnTo>
                      <a:pt x="65147" y="12591"/>
                    </a:lnTo>
                    <a:cubicBezTo>
                      <a:pt x="78388" y="22530"/>
                      <a:pt x="96874" y="22530"/>
                      <a:pt x="110116" y="12591"/>
                    </a:cubicBezTo>
                    <a:lnTo>
                      <a:pt x="111970" y="11201"/>
                    </a:lnTo>
                    <a:cubicBezTo>
                      <a:pt x="129848" y="-2186"/>
                      <a:pt x="154795" y="-2215"/>
                      <a:pt x="172672" y="11201"/>
                    </a:cubicBezTo>
                    <a:lnTo>
                      <a:pt x="174498" y="12591"/>
                    </a:lnTo>
                    <a:cubicBezTo>
                      <a:pt x="187739" y="22530"/>
                      <a:pt x="206225" y="22501"/>
                      <a:pt x="219467" y="12591"/>
                    </a:cubicBezTo>
                    <a:lnTo>
                      <a:pt x="222799" y="10100"/>
                    </a:lnTo>
                    <a:cubicBezTo>
                      <a:pt x="239923" y="-2736"/>
                      <a:pt x="263393" y="-3403"/>
                      <a:pt x="281213" y="8477"/>
                    </a:cubicBezTo>
                    <a:cubicBezTo>
                      <a:pt x="284226" y="10476"/>
                      <a:pt x="285037" y="14562"/>
                      <a:pt x="283038" y="17575"/>
                    </a:cubicBezTo>
                    <a:cubicBezTo>
                      <a:pt x="281039" y="20588"/>
                      <a:pt x="276953" y="21400"/>
                      <a:pt x="273940" y="19401"/>
                    </a:cubicBezTo>
                    <a:cubicBezTo>
                      <a:pt x="260756" y="10592"/>
                      <a:pt x="243342" y="11085"/>
                      <a:pt x="230680" y="20588"/>
                    </a:cubicBezTo>
                    <a:lnTo>
                      <a:pt x="227348" y="23080"/>
                    </a:lnTo>
                    <a:cubicBezTo>
                      <a:pt x="209471" y="36496"/>
                      <a:pt x="184523" y="36467"/>
                      <a:pt x="166646" y="23080"/>
                    </a:cubicBezTo>
                    <a:lnTo>
                      <a:pt x="164820" y="21689"/>
                    </a:lnTo>
                    <a:cubicBezTo>
                      <a:pt x="151579" y="11751"/>
                      <a:pt x="133093" y="11751"/>
                      <a:pt x="119851" y="21689"/>
                    </a:cubicBezTo>
                    <a:lnTo>
                      <a:pt x="117997" y="23080"/>
                    </a:lnTo>
                    <a:cubicBezTo>
                      <a:pt x="109073" y="29774"/>
                      <a:pt x="98381" y="33135"/>
                      <a:pt x="87660" y="33135"/>
                    </a:cubicBezTo>
                    <a:close/>
                  </a:path>
                </a:pathLst>
              </a:custGeom>
              <a:solidFill>
                <a:schemeClr val="accent1"/>
              </a:solidFill>
              <a:ln w="2891" cap="flat">
                <a:noFill/>
                <a:prstDash val="solid"/>
                <a:miter/>
              </a:ln>
            </p:spPr>
            <p:txBody>
              <a:bodyPr rtlCol="0" anchor="ctr"/>
              <a:lstStyle/>
              <a:p>
                <a:endParaRPr lang="en-GB" dirty="0"/>
              </a:p>
            </p:txBody>
          </p:sp>
        </p:grpSp>
      </p:grpSp>
      <p:grpSp>
        <p:nvGrpSpPr>
          <p:cNvPr id="43" name="Group 42">
            <a:extLst>
              <a:ext uri="{FF2B5EF4-FFF2-40B4-BE49-F238E27FC236}">
                <a16:creationId xmlns:a16="http://schemas.microsoft.com/office/drawing/2014/main" id="{C2D026EC-7EAE-5A5F-6A8F-80C253C56087}"/>
              </a:ext>
            </a:extLst>
          </p:cNvPr>
          <p:cNvGrpSpPr/>
          <p:nvPr/>
        </p:nvGrpSpPr>
        <p:grpSpPr>
          <a:xfrm>
            <a:off x="3737623" y="4040084"/>
            <a:ext cx="439459" cy="431997"/>
            <a:chOff x="3737623" y="4040084"/>
            <a:chExt cx="439459" cy="431997"/>
          </a:xfrm>
        </p:grpSpPr>
        <p:grpSp>
          <p:nvGrpSpPr>
            <p:cNvPr id="323" name="Gruppieren 1030">
              <a:extLst>
                <a:ext uri="{FF2B5EF4-FFF2-40B4-BE49-F238E27FC236}">
                  <a16:creationId xmlns:a16="http://schemas.microsoft.com/office/drawing/2014/main" id="{D7E69BF6-1744-4F91-B273-2ACEEC75A637}"/>
                </a:ext>
              </a:extLst>
            </p:cNvPr>
            <p:cNvGrpSpPr/>
            <p:nvPr/>
          </p:nvGrpSpPr>
          <p:grpSpPr>
            <a:xfrm>
              <a:off x="3863277" y="4040084"/>
              <a:ext cx="188498" cy="141374"/>
              <a:chOff x="7145829" y="2485864"/>
              <a:chExt cx="157391" cy="118044"/>
            </a:xfrm>
          </p:grpSpPr>
          <p:sp>
            <p:nvSpPr>
              <p:cNvPr id="337" name="Freihandform: Form 857">
                <a:extLst>
                  <a:ext uri="{FF2B5EF4-FFF2-40B4-BE49-F238E27FC236}">
                    <a16:creationId xmlns:a16="http://schemas.microsoft.com/office/drawing/2014/main" id="{41B4D516-2498-4BFF-819D-DDDE4E989168}"/>
                  </a:ext>
                </a:extLst>
              </p:cNvPr>
              <p:cNvSpPr/>
              <p:nvPr/>
            </p:nvSpPr>
            <p:spPr>
              <a:xfrm>
                <a:off x="7198302" y="2558012"/>
                <a:ext cx="52444" cy="45896"/>
              </a:xfrm>
              <a:custGeom>
                <a:avLst/>
                <a:gdLst>
                  <a:gd name="connsiteX0" fmla="*/ 45896 w 52444"/>
                  <a:gd name="connsiteY0" fmla="*/ 45896 h 45896"/>
                  <a:gd name="connsiteX1" fmla="*/ 6548 w 52444"/>
                  <a:gd name="connsiteY1" fmla="*/ 45896 h 45896"/>
                  <a:gd name="connsiteX2" fmla="*/ 0 w 52444"/>
                  <a:gd name="connsiteY2" fmla="*/ 39348 h 45896"/>
                  <a:gd name="connsiteX3" fmla="*/ 0 w 52444"/>
                  <a:gd name="connsiteY3" fmla="*/ 6548 h 45896"/>
                  <a:gd name="connsiteX4" fmla="*/ 6548 w 52444"/>
                  <a:gd name="connsiteY4" fmla="*/ 0 h 45896"/>
                  <a:gd name="connsiteX5" fmla="*/ 45896 w 52444"/>
                  <a:gd name="connsiteY5" fmla="*/ 0 h 45896"/>
                  <a:gd name="connsiteX6" fmla="*/ 52445 w 52444"/>
                  <a:gd name="connsiteY6" fmla="*/ 6548 h 45896"/>
                  <a:gd name="connsiteX7" fmla="*/ 52445 w 52444"/>
                  <a:gd name="connsiteY7" fmla="*/ 39348 h 45896"/>
                  <a:gd name="connsiteX8" fmla="*/ 45896 w 52444"/>
                  <a:gd name="connsiteY8" fmla="*/ 45896 h 45896"/>
                  <a:gd name="connsiteX9" fmla="*/ 13097 w 52444"/>
                  <a:gd name="connsiteY9" fmla="*/ 32800 h 45896"/>
                  <a:gd name="connsiteX10" fmla="*/ 39319 w 52444"/>
                  <a:gd name="connsiteY10" fmla="*/ 32800 h 45896"/>
                  <a:gd name="connsiteX11" fmla="*/ 39319 w 52444"/>
                  <a:gd name="connsiteY11" fmla="*/ 13126 h 45896"/>
                  <a:gd name="connsiteX12" fmla="*/ 13097 w 52444"/>
                  <a:gd name="connsiteY12" fmla="*/ 13126 h 45896"/>
                  <a:gd name="connsiteX13" fmla="*/ 13097 w 52444"/>
                  <a:gd name="connsiteY13" fmla="*/ 32800 h 4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444" h="45896">
                    <a:moveTo>
                      <a:pt x="45896" y="45896"/>
                    </a:moveTo>
                    <a:lnTo>
                      <a:pt x="6548" y="45896"/>
                    </a:lnTo>
                    <a:cubicBezTo>
                      <a:pt x="2926" y="45896"/>
                      <a:pt x="0" y="42970"/>
                      <a:pt x="0" y="39348"/>
                    </a:cubicBezTo>
                    <a:lnTo>
                      <a:pt x="0" y="6548"/>
                    </a:lnTo>
                    <a:cubicBezTo>
                      <a:pt x="0" y="2926"/>
                      <a:pt x="2926" y="0"/>
                      <a:pt x="6548" y="0"/>
                    </a:cubicBezTo>
                    <a:lnTo>
                      <a:pt x="45896" y="0"/>
                    </a:lnTo>
                    <a:cubicBezTo>
                      <a:pt x="49518" y="0"/>
                      <a:pt x="52445" y="2926"/>
                      <a:pt x="52445" y="6548"/>
                    </a:cubicBezTo>
                    <a:lnTo>
                      <a:pt x="52445" y="39348"/>
                    </a:lnTo>
                    <a:cubicBezTo>
                      <a:pt x="52445" y="42970"/>
                      <a:pt x="49518" y="45896"/>
                      <a:pt x="45896" y="45896"/>
                    </a:cubicBezTo>
                    <a:close/>
                    <a:moveTo>
                      <a:pt x="13097" y="32800"/>
                    </a:moveTo>
                    <a:lnTo>
                      <a:pt x="39319" y="32800"/>
                    </a:lnTo>
                    <a:lnTo>
                      <a:pt x="39319" y="13126"/>
                    </a:lnTo>
                    <a:lnTo>
                      <a:pt x="13097" y="13126"/>
                    </a:lnTo>
                    <a:lnTo>
                      <a:pt x="13097" y="32800"/>
                    </a:lnTo>
                    <a:close/>
                  </a:path>
                </a:pathLst>
              </a:custGeom>
              <a:solidFill>
                <a:schemeClr val="accent1"/>
              </a:solidFill>
              <a:ln w="2891" cap="flat">
                <a:noFill/>
                <a:prstDash val="solid"/>
                <a:miter/>
              </a:ln>
            </p:spPr>
            <p:txBody>
              <a:bodyPr rtlCol="0" anchor="ctr"/>
              <a:lstStyle/>
              <a:p>
                <a:endParaRPr lang="en-GB" dirty="0"/>
              </a:p>
            </p:txBody>
          </p:sp>
          <p:grpSp>
            <p:nvGrpSpPr>
              <p:cNvPr id="338" name="Gruppieren 1029">
                <a:extLst>
                  <a:ext uri="{FF2B5EF4-FFF2-40B4-BE49-F238E27FC236}">
                    <a16:creationId xmlns:a16="http://schemas.microsoft.com/office/drawing/2014/main" id="{6417D3B8-D54B-4B48-88B7-434C036C66DD}"/>
                  </a:ext>
                </a:extLst>
              </p:cNvPr>
              <p:cNvGrpSpPr/>
              <p:nvPr/>
            </p:nvGrpSpPr>
            <p:grpSpPr>
              <a:xfrm>
                <a:off x="7145829" y="2485864"/>
                <a:ext cx="157391" cy="85273"/>
                <a:chOff x="7145829" y="2485864"/>
                <a:chExt cx="157391" cy="85273"/>
              </a:xfrm>
              <a:solidFill>
                <a:schemeClr val="accent1"/>
              </a:solidFill>
            </p:grpSpPr>
            <p:sp>
              <p:nvSpPr>
                <p:cNvPr id="339" name="Freihandform: Form 858">
                  <a:extLst>
                    <a:ext uri="{FF2B5EF4-FFF2-40B4-BE49-F238E27FC236}">
                      <a16:creationId xmlns:a16="http://schemas.microsoft.com/office/drawing/2014/main" id="{BCCB9ECB-32FE-41BA-A480-5C05C501811B}"/>
                    </a:ext>
                  </a:extLst>
                </p:cNvPr>
                <p:cNvSpPr/>
                <p:nvPr/>
              </p:nvSpPr>
              <p:spPr>
                <a:xfrm>
                  <a:off x="7145829" y="2485864"/>
                  <a:ext cx="157391" cy="39347"/>
                </a:xfrm>
                <a:custGeom>
                  <a:avLst/>
                  <a:gdLst>
                    <a:gd name="connsiteX0" fmla="*/ 137718 w 157391"/>
                    <a:gd name="connsiteY0" fmla="*/ 39348 h 39347"/>
                    <a:gd name="connsiteX1" fmla="*/ 19674 w 157391"/>
                    <a:gd name="connsiteY1" fmla="*/ 39348 h 39347"/>
                    <a:gd name="connsiteX2" fmla="*/ 0 w 157391"/>
                    <a:gd name="connsiteY2" fmla="*/ 19674 h 39347"/>
                    <a:gd name="connsiteX3" fmla="*/ 19674 w 157391"/>
                    <a:gd name="connsiteY3" fmla="*/ 0 h 39347"/>
                    <a:gd name="connsiteX4" fmla="*/ 137718 w 157391"/>
                    <a:gd name="connsiteY4" fmla="*/ 0 h 39347"/>
                    <a:gd name="connsiteX5" fmla="*/ 157392 w 157391"/>
                    <a:gd name="connsiteY5" fmla="*/ 19674 h 39347"/>
                    <a:gd name="connsiteX6" fmla="*/ 137718 w 157391"/>
                    <a:gd name="connsiteY6" fmla="*/ 39348 h 39347"/>
                    <a:gd name="connsiteX7" fmla="*/ 19674 w 157391"/>
                    <a:gd name="connsiteY7" fmla="*/ 13126 h 39347"/>
                    <a:gd name="connsiteX8" fmla="*/ 13126 w 157391"/>
                    <a:gd name="connsiteY8" fmla="*/ 19674 h 39347"/>
                    <a:gd name="connsiteX9" fmla="*/ 19674 w 157391"/>
                    <a:gd name="connsiteY9" fmla="*/ 26222 h 39347"/>
                    <a:gd name="connsiteX10" fmla="*/ 137718 w 157391"/>
                    <a:gd name="connsiteY10" fmla="*/ 26222 h 39347"/>
                    <a:gd name="connsiteX11" fmla="*/ 144266 w 157391"/>
                    <a:gd name="connsiteY11" fmla="*/ 19674 h 39347"/>
                    <a:gd name="connsiteX12" fmla="*/ 137718 w 157391"/>
                    <a:gd name="connsiteY12" fmla="*/ 13126 h 39347"/>
                    <a:gd name="connsiteX13" fmla="*/ 19674 w 157391"/>
                    <a:gd name="connsiteY13" fmla="*/ 13126 h 39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7391" h="39347">
                      <a:moveTo>
                        <a:pt x="137718" y="39348"/>
                      </a:moveTo>
                      <a:lnTo>
                        <a:pt x="19674" y="39348"/>
                      </a:lnTo>
                      <a:cubicBezTo>
                        <a:pt x="8837" y="39348"/>
                        <a:pt x="0" y="30511"/>
                        <a:pt x="0" y="19674"/>
                      </a:cubicBezTo>
                      <a:cubicBezTo>
                        <a:pt x="0" y="8837"/>
                        <a:pt x="8837" y="0"/>
                        <a:pt x="19674" y="0"/>
                      </a:cubicBezTo>
                      <a:lnTo>
                        <a:pt x="137718" y="0"/>
                      </a:lnTo>
                      <a:cubicBezTo>
                        <a:pt x="148554" y="0"/>
                        <a:pt x="157392" y="8837"/>
                        <a:pt x="157392" y="19674"/>
                      </a:cubicBezTo>
                      <a:cubicBezTo>
                        <a:pt x="157392" y="30511"/>
                        <a:pt x="148583" y="39348"/>
                        <a:pt x="137718" y="39348"/>
                      </a:cubicBezTo>
                      <a:close/>
                      <a:moveTo>
                        <a:pt x="19674" y="13126"/>
                      </a:moveTo>
                      <a:cubicBezTo>
                        <a:pt x="16052" y="13126"/>
                        <a:pt x="13126" y="16081"/>
                        <a:pt x="13126" y="19674"/>
                      </a:cubicBezTo>
                      <a:cubicBezTo>
                        <a:pt x="13126" y="23267"/>
                        <a:pt x="16052" y="26222"/>
                        <a:pt x="19674" y="26222"/>
                      </a:cubicBezTo>
                      <a:lnTo>
                        <a:pt x="137718" y="26222"/>
                      </a:lnTo>
                      <a:cubicBezTo>
                        <a:pt x="141340" y="26222"/>
                        <a:pt x="144266" y="23267"/>
                        <a:pt x="144266" y="19674"/>
                      </a:cubicBezTo>
                      <a:cubicBezTo>
                        <a:pt x="144266" y="16081"/>
                        <a:pt x="141340" y="13126"/>
                        <a:pt x="137718" y="13126"/>
                      </a:cubicBezTo>
                      <a:lnTo>
                        <a:pt x="19674" y="13126"/>
                      </a:lnTo>
                      <a:close/>
                    </a:path>
                  </a:pathLst>
                </a:custGeom>
                <a:solidFill>
                  <a:schemeClr val="accent1"/>
                </a:solidFill>
                <a:ln w="2891" cap="flat">
                  <a:noFill/>
                  <a:prstDash val="solid"/>
                  <a:miter/>
                </a:ln>
              </p:spPr>
              <p:txBody>
                <a:bodyPr rtlCol="0" anchor="ctr"/>
                <a:lstStyle/>
                <a:p>
                  <a:endParaRPr lang="en-GB" dirty="0"/>
                </a:p>
              </p:txBody>
            </p:sp>
            <p:sp>
              <p:nvSpPr>
                <p:cNvPr id="340" name="Freihandform: Form 859">
                  <a:extLst>
                    <a:ext uri="{FF2B5EF4-FFF2-40B4-BE49-F238E27FC236}">
                      <a16:creationId xmlns:a16="http://schemas.microsoft.com/office/drawing/2014/main" id="{E6DDD702-B036-4FAE-A4CB-7BF0F3DF53B3}"/>
                    </a:ext>
                  </a:extLst>
                </p:cNvPr>
                <p:cNvSpPr/>
                <p:nvPr/>
              </p:nvSpPr>
              <p:spPr>
                <a:xfrm>
                  <a:off x="7237645" y="2512139"/>
                  <a:ext cx="52455" cy="58998"/>
                </a:xfrm>
                <a:custGeom>
                  <a:avLst/>
                  <a:gdLst>
                    <a:gd name="connsiteX0" fmla="*/ 6554 w 52455"/>
                    <a:gd name="connsiteY0" fmla="*/ 58998 h 58998"/>
                    <a:gd name="connsiteX1" fmla="*/ 2295 w 52455"/>
                    <a:gd name="connsiteY1" fmla="*/ 57434 h 58998"/>
                    <a:gd name="connsiteX2" fmla="*/ 1570 w 52455"/>
                    <a:gd name="connsiteY2" fmla="*/ 48191 h 58998"/>
                    <a:gd name="connsiteX3" fmla="*/ 40918 w 52455"/>
                    <a:gd name="connsiteY3" fmla="*/ 2294 h 58998"/>
                    <a:gd name="connsiteX4" fmla="*/ 50161 w 52455"/>
                    <a:gd name="connsiteY4" fmla="*/ 1570 h 58998"/>
                    <a:gd name="connsiteX5" fmla="*/ 50885 w 52455"/>
                    <a:gd name="connsiteY5" fmla="*/ 10813 h 58998"/>
                    <a:gd name="connsiteX6" fmla="*/ 11538 w 52455"/>
                    <a:gd name="connsiteY6" fmla="*/ 56709 h 58998"/>
                    <a:gd name="connsiteX7" fmla="*/ 6554 w 52455"/>
                    <a:gd name="connsiteY7" fmla="*/ 58998 h 5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455" h="58998">
                      <a:moveTo>
                        <a:pt x="6554" y="58998"/>
                      </a:moveTo>
                      <a:cubicBezTo>
                        <a:pt x="5047" y="58998"/>
                        <a:pt x="3511" y="58477"/>
                        <a:pt x="2295" y="57434"/>
                      </a:cubicBezTo>
                      <a:cubicBezTo>
                        <a:pt x="-458" y="55087"/>
                        <a:pt x="-777" y="50943"/>
                        <a:pt x="1570" y="48191"/>
                      </a:cubicBezTo>
                      <a:lnTo>
                        <a:pt x="40918" y="2294"/>
                      </a:lnTo>
                      <a:cubicBezTo>
                        <a:pt x="43265" y="-458"/>
                        <a:pt x="47408" y="-777"/>
                        <a:pt x="50161" y="1570"/>
                      </a:cubicBezTo>
                      <a:cubicBezTo>
                        <a:pt x="52914" y="3917"/>
                        <a:pt x="53232" y="8061"/>
                        <a:pt x="50885" y="10813"/>
                      </a:cubicBezTo>
                      <a:lnTo>
                        <a:pt x="11538" y="56709"/>
                      </a:lnTo>
                      <a:cubicBezTo>
                        <a:pt x="10234" y="58216"/>
                        <a:pt x="8408" y="58998"/>
                        <a:pt x="6554" y="58998"/>
                      </a:cubicBezTo>
                      <a:close/>
                    </a:path>
                  </a:pathLst>
                </a:custGeom>
                <a:solidFill>
                  <a:schemeClr val="accent1"/>
                </a:solidFill>
                <a:ln w="2891" cap="flat">
                  <a:noFill/>
                  <a:prstDash val="solid"/>
                  <a:miter/>
                </a:ln>
              </p:spPr>
              <p:txBody>
                <a:bodyPr rtlCol="0" anchor="ctr"/>
                <a:lstStyle/>
                <a:p>
                  <a:endParaRPr lang="en-GB" dirty="0"/>
                </a:p>
              </p:txBody>
            </p:sp>
            <p:sp>
              <p:nvSpPr>
                <p:cNvPr id="341" name="Freihandform: Form 860">
                  <a:extLst>
                    <a:ext uri="{FF2B5EF4-FFF2-40B4-BE49-F238E27FC236}">
                      <a16:creationId xmlns:a16="http://schemas.microsoft.com/office/drawing/2014/main" id="{21B53039-BEB7-48AB-9DF7-20C8F5E25DF4}"/>
                    </a:ext>
                  </a:extLst>
                </p:cNvPr>
                <p:cNvSpPr/>
                <p:nvPr/>
              </p:nvSpPr>
              <p:spPr>
                <a:xfrm>
                  <a:off x="7158927" y="2512139"/>
                  <a:ext cx="52498" cy="58998"/>
                </a:xfrm>
                <a:custGeom>
                  <a:avLst/>
                  <a:gdLst>
                    <a:gd name="connsiteX0" fmla="*/ 45923 w 52498"/>
                    <a:gd name="connsiteY0" fmla="*/ 58998 h 58998"/>
                    <a:gd name="connsiteX1" fmla="*/ 40940 w 52498"/>
                    <a:gd name="connsiteY1" fmla="*/ 56709 h 58998"/>
                    <a:gd name="connsiteX2" fmla="*/ 1592 w 52498"/>
                    <a:gd name="connsiteY2" fmla="*/ 10813 h 58998"/>
                    <a:gd name="connsiteX3" fmla="*/ 2316 w 52498"/>
                    <a:gd name="connsiteY3" fmla="*/ 1570 h 58998"/>
                    <a:gd name="connsiteX4" fmla="*/ 11559 w 52498"/>
                    <a:gd name="connsiteY4" fmla="*/ 2294 h 58998"/>
                    <a:gd name="connsiteX5" fmla="*/ 50907 w 52498"/>
                    <a:gd name="connsiteY5" fmla="*/ 48162 h 58998"/>
                    <a:gd name="connsiteX6" fmla="*/ 50183 w 52498"/>
                    <a:gd name="connsiteY6" fmla="*/ 57405 h 58998"/>
                    <a:gd name="connsiteX7" fmla="*/ 45923 w 52498"/>
                    <a:gd name="connsiteY7" fmla="*/ 58998 h 58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498" h="58998">
                      <a:moveTo>
                        <a:pt x="45923" y="58998"/>
                      </a:moveTo>
                      <a:cubicBezTo>
                        <a:pt x="44069" y="58998"/>
                        <a:pt x="42244" y="58216"/>
                        <a:pt x="40940" y="56709"/>
                      </a:cubicBezTo>
                      <a:lnTo>
                        <a:pt x="1592" y="10813"/>
                      </a:lnTo>
                      <a:cubicBezTo>
                        <a:pt x="-784" y="8061"/>
                        <a:pt x="-465" y="3917"/>
                        <a:pt x="2316" y="1570"/>
                      </a:cubicBezTo>
                      <a:cubicBezTo>
                        <a:pt x="5069" y="-777"/>
                        <a:pt x="9212" y="-458"/>
                        <a:pt x="11559" y="2294"/>
                      </a:cubicBezTo>
                      <a:lnTo>
                        <a:pt x="50907" y="48162"/>
                      </a:lnTo>
                      <a:cubicBezTo>
                        <a:pt x="53283" y="50914"/>
                        <a:pt x="52964" y="55058"/>
                        <a:pt x="50183" y="57405"/>
                      </a:cubicBezTo>
                      <a:cubicBezTo>
                        <a:pt x="48966" y="58477"/>
                        <a:pt x="47430" y="58998"/>
                        <a:pt x="45923" y="58998"/>
                      </a:cubicBezTo>
                      <a:close/>
                    </a:path>
                  </a:pathLst>
                </a:custGeom>
                <a:solidFill>
                  <a:schemeClr val="accent1"/>
                </a:solidFill>
                <a:ln w="2891" cap="flat">
                  <a:noFill/>
                  <a:prstDash val="solid"/>
                  <a:miter/>
                </a:ln>
              </p:spPr>
              <p:txBody>
                <a:bodyPr rtlCol="0" anchor="ctr"/>
                <a:lstStyle/>
                <a:p>
                  <a:endParaRPr lang="en-GB" dirty="0"/>
                </a:p>
              </p:txBody>
            </p:sp>
            <p:sp>
              <p:nvSpPr>
                <p:cNvPr id="342" name="Freihandform: Form 861">
                  <a:extLst>
                    <a:ext uri="{FF2B5EF4-FFF2-40B4-BE49-F238E27FC236}">
                      <a16:creationId xmlns:a16="http://schemas.microsoft.com/office/drawing/2014/main" id="{07DD2562-9DA1-4400-A50F-74668222D148}"/>
                    </a:ext>
                  </a:extLst>
                </p:cNvPr>
                <p:cNvSpPr/>
                <p:nvPr/>
              </p:nvSpPr>
              <p:spPr>
                <a:xfrm>
                  <a:off x="7217976" y="2512115"/>
                  <a:ext cx="13096" cy="59021"/>
                </a:xfrm>
                <a:custGeom>
                  <a:avLst/>
                  <a:gdLst>
                    <a:gd name="connsiteX0" fmla="*/ 6548 w 13096"/>
                    <a:gd name="connsiteY0" fmla="*/ 59022 h 59021"/>
                    <a:gd name="connsiteX1" fmla="*/ 0 w 13096"/>
                    <a:gd name="connsiteY1" fmla="*/ 52474 h 59021"/>
                    <a:gd name="connsiteX2" fmla="*/ 0 w 13096"/>
                    <a:gd name="connsiteY2" fmla="*/ 6548 h 59021"/>
                    <a:gd name="connsiteX3" fmla="*/ 6548 w 13096"/>
                    <a:gd name="connsiteY3" fmla="*/ 0 h 59021"/>
                    <a:gd name="connsiteX4" fmla="*/ 13097 w 13096"/>
                    <a:gd name="connsiteY4" fmla="*/ 6548 h 59021"/>
                    <a:gd name="connsiteX5" fmla="*/ 13097 w 13096"/>
                    <a:gd name="connsiteY5" fmla="*/ 52474 h 59021"/>
                    <a:gd name="connsiteX6" fmla="*/ 6548 w 13096"/>
                    <a:gd name="connsiteY6" fmla="*/ 59022 h 59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59021">
                      <a:moveTo>
                        <a:pt x="6548" y="59022"/>
                      </a:moveTo>
                      <a:cubicBezTo>
                        <a:pt x="2926" y="59022"/>
                        <a:pt x="0" y="56096"/>
                        <a:pt x="0" y="52474"/>
                      </a:cubicBezTo>
                      <a:lnTo>
                        <a:pt x="0" y="6548"/>
                      </a:lnTo>
                      <a:cubicBezTo>
                        <a:pt x="0" y="2926"/>
                        <a:pt x="2926" y="0"/>
                        <a:pt x="6548" y="0"/>
                      </a:cubicBezTo>
                      <a:cubicBezTo>
                        <a:pt x="10170" y="0"/>
                        <a:pt x="13097" y="2926"/>
                        <a:pt x="13097" y="6548"/>
                      </a:cubicBezTo>
                      <a:lnTo>
                        <a:pt x="13097" y="52474"/>
                      </a:lnTo>
                      <a:cubicBezTo>
                        <a:pt x="13097" y="56067"/>
                        <a:pt x="10170" y="59022"/>
                        <a:pt x="6548" y="59022"/>
                      </a:cubicBezTo>
                      <a:close/>
                    </a:path>
                  </a:pathLst>
                </a:custGeom>
                <a:solidFill>
                  <a:schemeClr val="accent1"/>
                </a:solidFill>
                <a:ln w="2891" cap="flat">
                  <a:noFill/>
                  <a:prstDash val="solid"/>
                  <a:miter/>
                </a:ln>
              </p:spPr>
              <p:txBody>
                <a:bodyPr rtlCol="0" anchor="ctr"/>
                <a:lstStyle/>
                <a:p>
                  <a:endParaRPr lang="en-GB" dirty="0"/>
                </a:p>
              </p:txBody>
            </p:sp>
          </p:grpSp>
        </p:grpSp>
        <p:grpSp>
          <p:nvGrpSpPr>
            <p:cNvPr id="324" name="Gruppieren 1031">
              <a:extLst>
                <a:ext uri="{FF2B5EF4-FFF2-40B4-BE49-F238E27FC236}">
                  <a16:creationId xmlns:a16="http://schemas.microsoft.com/office/drawing/2014/main" id="{6E2A7D05-F391-4107-87BA-37D1F2A611F3}"/>
                </a:ext>
              </a:extLst>
            </p:cNvPr>
            <p:cNvGrpSpPr/>
            <p:nvPr/>
          </p:nvGrpSpPr>
          <p:grpSpPr>
            <a:xfrm>
              <a:off x="3737623" y="4165770"/>
              <a:ext cx="439459" cy="306311"/>
              <a:chOff x="7040911" y="2590811"/>
              <a:chExt cx="366937" cy="255762"/>
            </a:xfrm>
            <a:solidFill>
              <a:schemeClr val="tx2"/>
            </a:solidFill>
          </p:grpSpPr>
          <p:sp>
            <p:nvSpPr>
              <p:cNvPr id="325" name="Freihandform: Form 845">
                <a:extLst>
                  <a:ext uri="{FF2B5EF4-FFF2-40B4-BE49-F238E27FC236}">
                    <a16:creationId xmlns:a16="http://schemas.microsoft.com/office/drawing/2014/main" id="{1F129D49-9E89-43CD-AC52-91116C407E16}"/>
                  </a:ext>
                </a:extLst>
              </p:cNvPr>
              <p:cNvSpPr/>
              <p:nvPr/>
            </p:nvSpPr>
            <p:spPr>
              <a:xfrm>
                <a:off x="7139302" y="2617084"/>
                <a:ext cx="170416" cy="170408"/>
              </a:xfrm>
              <a:custGeom>
                <a:avLst/>
                <a:gdLst>
                  <a:gd name="connsiteX0" fmla="*/ 85223 w 170416"/>
                  <a:gd name="connsiteY0" fmla="*/ 170409 h 170408"/>
                  <a:gd name="connsiteX1" fmla="*/ 24926 w 170416"/>
                  <a:gd name="connsiteY1" fmla="*/ 145490 h 170408"/>
                  <a:gd name="connsiteX2" fmla="*/ 24926 w 170416"/>
                  <a:gd name="connsiteY2" fmla="*/ 24926 h 170408"/>
                  <a:gd name="connsiteX3" fmla="*/ 145490 w 170416"/>
                  <a:gd name="connsiteY3" fmla="*/ 24926 h 170408"/>
                  <a:gd name="connsiteX4" fmla="*/ 145490 w 170416"/>
                  <a:gd name="connsiteY4" fmla="*/ 24926 h 170408"/>
                  <a:gd name="connsiteX5" fmla="*/ 145490 w 170416"/>
                  <a:gd name="connsiteY5" fmla="*/ 145490 h 170408"/>
                  <a:gd name="connsiteX6" fmla="*/ 85223 w 170416"/>
                  <a:gd name="connsiteY6" fmla="*/ 170409 h 170408"/>
                  <a:gd name="connsiteX7" fmla="*/ 85223 w 170416"/>
                  <a:gd name="connsiteY7" fmla="*/ 13104 h 170408"/>
                  <a:gd name="connsiteX8" fmla="*/ 34198 w 170416"/>
                  <a:gd name="connsiteY8" fmla="*/ 34198 h 170408"/>
                  <a:gd name="connsiteX9" fmla="*/ 34198 w 170416"/>
                  <a:gd name="connsiteY9" fmla="*/ 136218 h 170408"/>
                  <a:gd name="connsiteX10" fmla="*/ 136218 w 170416"/>
                  <a:gd name="connsiteY10" fmla="*/ 136218 h 170408"/>
                  <a:gd name="connsiteX11" fmla="*/ 136218 w 170416"/>
                  <a:gd name="connsiteY11" fmla="*/ 34198 h 170408"/>
                  <a:gd name="connsiteX12" fmla="*/ 85223 w 170416"/>
                  <a:gd name="connsiteY12" fmla="*/ 13104 h 170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0416" h="170408">
                    <a:moveTo>
                      <a:pt x="85223" y="170409"/>
                    </a:moveTo>
                    <a:cubicBezTo>
                      <a:pt x="63376" y="170409"/>
                      <a:pt x="41557" y="162093"/>
                      <a:pt x="24926" y="145490"/>
                    </a:cubicBezTo>
                    <a:cubicBezTo>
                      <a:pt x="-8309" y="112256"/>
                      <a:pt x="-8309" y="58160"/>
                      <a:pt x="24926" y="24926"/>
                    </a:cubicBezTo>
                    <a:cubicBezTo>
                      <a:pt x="58160" y="-8309"/>
                      <a:pt x="112256" y="-8309"/>
                      <a:pt x="145490" y="24926"/>
                    </a:cubicBezTo>
                    <a:lnTo>
                      <a:pt x="145490" y="24926"/>
                    </a:lnTo>
                    <a:cubicBezTo>
                      <a:pt x="178725" y="58160"/>
                      <a:pt x="178725" y="112256"/>
                      <a:pt x="145490" y="145490"/>
                    </a:cubicBezTo>
                    <a:cubicBezTo>
                      <a:pt x="128888" y="162122"/>
                      <a:pt x="107070" y="170409"/>
                      <a:pt x="85223" y="170409"/>
                    </a:cubicBezTo>
                    <a:close/>
                    <a:moveTo>
                      <a:pt x="85223" y="13104"/>
                    </a:moveTo>
                    <a:cubicBezTo>
                      <a:pt x="66737" y="13104"/>
                      <a:pt x="48280" y="20145"/>
                      <a:pt x="34198" y="34198"/>
                    </a:cubicBezTo>
                    <a:cubicBezTo>
                      <a:pt x="6063" y="62332"/>
                      <a:pt x="6063" y="108084"/>
                      <a:pt x="34198" y="136218"/>
                    </a:cubicBezTo>
                    <a:cubicBezTo>
                      <a:pt x="62332" y="164353"/>
                      <a:pt x="108084" y="164353"/>
                      <a:pt x="136218" y="136218"/>
                    </a:cubicBezTo>
                    <a:cubicBezTo>
                      <a:pt x="164353" y="108084"/>
                      <a:pt x="164353" y="62332"/>
                      <a:pt x="136218" y="34198"/>
                    </a:cubicBezTo>
                    <a:cubicBezTo>
                      <a:pt x="122166" y="20145"/>
                      <a:pt x="103709" y="13104"/>
                      <a:pt x="85223" y="13104"/>
                    </a:cubicBezTo>
                    <a:close/>
                  </a:path>
                </a:pathLst>
              </a:custGeom>
              <a:grpFill/>
              <a:ln w="2891" cap="flat">
                <a:noFill/>
                <a:prstDash val="solid"/>
                <a:miter/>
              </a:ln>
            </p:spPr>
            <p:txBody>
              <a:bodyPr rtlCol="0" anchor="ctr"/>
              <a:lstStyle/>
              <a:p>
                <a:endParaRPr lang="en-GB" dirty="0"/>
              </a:p>
            </p:txBody>
          </p:sp>
          <p:grpSp>
            <p:nvGrpSpPr>
              <p:cNvPr id="326" name="Grafik 219">
                <a:extLst>
                  <a:ext uri="{FF2B5EF4-FFF2-40B4-BE49-F238E27FC236}">
                    <a16:creationId xmlns:a16="http://schemas.microsoft.com/office/drawing/2014/main" id="{55148322-129B-4A8D-A562-72CD81BB38AE}"/>
                  </a:ext>
                </a:extLst>
              </p:cNvPr>
              <p:cNvGrpSpPr/>
              <p:nvPr/>
            </p:nvGrpSpPr>
            <p:grpSpPr>
              <a:xfrm>
                <a:off x="7161649" y="2640011"/>
                <a:ext cx="125809" cy="69452"/>
                <a:chOff x="7161649" y="2640011"/>
                <a:chExt cx="125809" cy="69452"/>
              </a:xfrm>
              <a:grpFill/>
            </p:grpSpPr>
            <p:sp>
              <p:nvSpPr>
                <p:cNvPr id="335" name="Freihandform: Form 847">
                  <a:extLst>
                    <a:ext uri="{FF2B5EF4-FFF2-40B4-BE49-F238E27FC236}">
                      <a16:creationId xmlns:a16="http://schemas.microsoft.com/office/drawing/2014/main" id="{BB117BF4-1F4D-4CA2-A674-FA81D02745BA}"/>
                    </a:ext>
                  </a:extLst>
                </p:cNvPr>
                <p:cNvSpPr/>
                <p:nvPr/>
              </p:nvSpPr>
              <p:spPr>
                <a:xfrm>
                  <a:off x="7264481" y="2664502"/>
                  <a:ext cx="22977" cy="44961"/>
                </a:xfrm>
                <a:custGeom>
                  <a:avLst/>
                  <a:gdLst>
                    <a:gd name="connsiteX0" fmla="*/ 16400 w 22977"/>
                    <a:gd name="connsiteY0" fmla="*/ 44962 h 44961"/>
                    <a:gd name="connsiteX1" fmla="*/ 9852 w 22977"/>
                    <a:gd name="connsiteY1" fmla="*/ 38414 h 44961"/>
                    <a:gd name="connsiteX2" fmla="*/ 1160 w 22977"/>
                    <a:gd name="connsiteY2" fmla="*/ 10279 h 44961"/>
                    <a:gd name="connsiteX3" fmla="*/ 2840 w 22977"/>
                    <a:gd name="connsiteY3" fmla="*/ 1152 h 44961"/>
                    <a:gd name="connsiteX4" fmla="*/ 11967 w 22977"/>
                    <a:gd name="connsiteY4" fmla="*/ 2832 h 44961"/>
                    <a:gd name="connsiteX5" fmla="*/ 22978 w 22977"/>
                    <a:gd name="connsiteY5" fmla="*/ 38385 h 44961"/>
                    <a:gd name="connsiteX6" fmla="*/ 16400 w 22977"/>
                    <a:gd name="connsiteY6" fmla="*/ 44962 h 44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977" h="44961">
                      <a:moveTo>
                        <a:pt x="16400" y="44962"/>
                      </a:moveTo>
                      <a:cubicBezTo>
                        <a:pt x="12779" y="44962"/>
                        <a:pt x="9852" y="42035"/>
                        <a:pt x="9852" y="38414"/>
                      </a:cubicBezTo>
                      <a:cubicBezTo>
                        <a:pt x="9852" y="28301"/>
                        <a:pt x="6839" y="18566"/>
                        <a:pt x="1160" y="10279"/>
                      </a:cubicBezTo>
                      <a:cubicBezTo>
                        <a:pt x="-898" y="7294"/>
                        <a:pt x="-144" y="3209"/>
                        <a:pt x="2840" y="1152"/>
                      </a:cubicBezTo>
                      <a:cubicBezTo>
                        <a:pt x="5853" y="-905"/>
                        <a:pt x="9910" y="-123"/>
                        <a:pt x="11967" y="2832"/>
                      </a:cubicBezTo>
                      <a:cubicBezTo>
                        <a:pt x="19182" y="13321"/>
                        <a:pt x="22978" y="25607"/>
                        <a:pt x="22978" y="38385"/>
                      </a:cubicBezTo>
                      <a:cubicBezTo>
                        <a:pt x="22949" y="42006"/>
                        <a:pt x="20022" y="44962"/>
                        <a:pt x="16400" y="44962"/>
                      </a:cubicBezTo>
                      <a:close/>
                    </a:path>
                  </a:pathLst>
                </a:custGeom>
                <a:grpFill/>
                <a:ln w="2891" cap="flat">
                  <a:noFill/>
                  <a:prstDash val="solid"/>
                  <a:miter/>
                </a:ln>
              </p:spPr>
              <p:txBody>
                <a:bodyPr rtlCol="0" anchor="ctr"/>
                <a:lstStyle/>
                <a:p>
                  <a:endParaRPr lang="en-GB" dirty="0"/>
                </a:p>
              </p:txBody>
            </p:sp>
            <p:sp>
              <p:nvSpPr>
                <p:cNvPr id="336" name="Freihandform: Form 848">
                  <a:extLst>
                    <a:ext uri="{FF2B5EF4-FFF2-40B4-BE49-F238E27FC236}">
                      <a16:creationId xmlns:a16="http://schemas.microsoft.com/office/drawing/2014/main" id="{BF770187-FBA5-41FC-A371-0D1C31877244}"/>
                    </a:ext>
                  </a:extLst>
                </p:cNvPr>
                <p:cNvSpPr/>
                <p:nvPr/>
              </p:nvSpPr>
              <p:spPr>
                <a:xfrm>
                  <a:off x="7161649" y="2640011"/>
                  <a:ext cx="77186" cy="69452"/>
                </a:xfrm>
                <a:custGeom>
                  <a:avLst/>
                  <a:gdLst>
                    <a:gd name="connsiteX0" fmla="*/ 6548 w 77186"/>
                    <a:gd name="connsiteY0" fmla="*/ 69453 h 69452"/>
                    <a:gd name="connsiteX1" fmla="*/ 0 w 77186"/>
                    <a:gd name="connsiteY1" fmla="*/ 62905 h 69452"/>
                    <a:gd name="connsiteX2" fmla="*/ 62905 w 77186"/>
                    <a:gd name="connsiteY2" fmla="*/ 0 h 69452"/>
                    <a:gd name="connsiteX3" fmla="*/ 71510 w 77186"/>
                    <a:gd name="connsiteY3" fmla="*/ 579 h 69452"/>
                    <a:gd name="connsiteX4" fmla="*/ 77131 w 77186"/>
                    <a:gd name="connsiteY4" fmla="*/ 7968 h 69452"/>
                    <a:gd name="connsiteX5" fmla="*/ 69743 w 77186"/>
                    <a:gd name="connsiteY5" fmla="*/ 13589 h 69452"/>
                    <a:gd name="connsiteX6" fmla="*/ 62905 w 77186"/>
                    <a:gd name="connsiteY6" fmla="*/ 13126 h 69452"/>
                    <a:gd name="connsiteX7" fmla="*/ 13126 w 77186"/>
                    <a:gd name="connsiteY7" fmla="*/ 62905 h 69452"/>
                    <a:gd name="connsiteX8" fmla="*/ 6548 w 77186"/>
                    <a:gd name="connsiteY8" fmla="*/ 69453 h 69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186" h="69452">
                      <a:moveTo>
                        <a:pt x="6548" y="69453"/>
                      </a:moveTo>
                      <a:cubicBezTo>
                        <a:pt x="2926" y="69453"/>
                        <a:pt x="0" y="66526"/>
                        <a:pt x="0" y="62905"/>
                      </a:cubicBezTo>
                      <a:cubicBezTo>
                        <a:pt x="0" y="28222"/>
                        <a:pt x="28222" y="0"/>
                        <a:pt x="62905" y="0"/>
                      </a:cubicBezTo>
                      <a:cubicBezTo>
                        <a:pt x="65773" y="0"/>
                        <a:pt x="68671" y="203"/>
                        <a:pt x="71510" y="579"/>
                      </a:cubicBezTo>
                      <a:cubicBezTo>
                        <a:pt x="75103" y="1072"/>
                        <a:pt x="77595" y="4375"/>
                        <a:pt x="77131" y="7968"/>
                      </a:cubicBezTo>
                      <a:cubicBezTo>
                        <a:pt x="76639" y="11561"/>
                        <a:pt x="73307" y="14053"/>
                        <a:pt x="69743" y="13589"/>
                      </a:cubicBezTo>
                      <a:cubicBezTo>
                        <a:pt x="67483" y="13270"/>
                        <a:pt x="65194" y="13126"/>
                        <a:pt x="62905" y="13126"/>
                      </a:cubicBezTo>
                      <a:cubicBezTo>
                        <a:pt x="35465" y="13126"/>
                        <a:pt x="13126" y="35465"/>
                        <a:pt x="13126" y="62905"/>
                      </a:cubicBezTo>
                      <a:cubicBezTo>
                        <a:pt x="13097" y="66497"/>
                        <a:pt x="10170" y="69453"/>
                        <a:pt x="6548" y="69453"/>
                      </a:cubicBezTo>
                      <a:close/>
                    </a:path>
                  </a:pathLst>
                </a:custGeom>
                <a:grpFill/>
                <a:ln w="2891" cap="flat">
                  <a:noFill/>
                  <a:prstDash val="solid"/>
                  <a:miter/>
                </a:ln>
              </p:spPr>
              <p:txBody>
                <a:bodyPr rtlCol="0" anchor="ctr"/>
                <a:lstStyle/>
                <a:p>
                  <a:endParaRPr lang="en-GB" dirty="0"/>
                </a:p>
              </p:txBody>
            </p:sp>
          </p:grpSp>
          <p:sp>
            <p:nvSpPr>
              <p:cNvPr id="327" name="Freihandform: Form 849">
                <a:extLst>
                  <a:ext uri="{FF2B5EF4-FFF2-40B4-BE49-F238E27FC236}">
                    <a16:creationId xmlns:a16="http://schemas.microsoft.com/office/drawing/2014/main" id="{0260C81D-C8B2-4E18-A2D2-AC58EEC62D3B}"/>
                  </a:ext>
                </a:extLst>
              </p:cNvPr>
              <p:cNvSpPr/>
              <p:nvPr/>
            </p:nvSpPr>
            <p:spPr>
              <a:xfrm>
                <a:off x="7217993" y="2650661"/>
                <a:ext cx="42211" cy="58193"/>
              </a:xfrm>
              <a:custGeom>
                <a:avLst/>
                <a:gdLst>
                  <a:gd name="connsiteX0" fmla="*/ 6531 w 42211"/>
                  <a:gd name="connsiteY0" fmla="*/ 58194 h 58193"/>
                  <a:gd name="connsiteX1" fmla="*/ 2996 w 42211"/>
                  <a:gd name="connsiteY1" fmla="*/ 57151 h 58193"/>
                  <a:gd name="connsiteX2" fmla="*/ 1055 w 42211"/>
                  <a:gd name="connsiteY2" fmla="*/ 48081 h 58193"/>
                  <a:gd name="connsiteX3" fmla="*/ 30146 w 42211"/>
                  <a:gd name="connsiteY3" fmla="*/ 2996 h 58193"/>
                  <a:gd name="connsiteX4" fmla="*/ 39215 w 42211"/>
                  <a:gd name="connsiteY4" fmla="*/ 1055 h 58193"/>
                  <a:gd name="connsiteX5" fmla="*/ 41156 w 42211"/>
                  <a:gd name="connsiteY5" fmla="*/ 10124 h 58193"/>
                  <a:gd name="connsiteX6" fmla="*/ 12065 w 42211"/>
                  <a:gd name="connsiteY6" fmla="*/ 55209 h 58193"/>
                  <a:gd name="connsiteX7" fmla="*/ 6531 w 42211"/>
                  <a:gd name="connsiteY7" fmla="*/ 58194 h 58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211" h="58193">
                    <a:moveTo>
                      <a:pt x="6531" y="58194"/>
                    </a:moveTo>
                    <a:cubicBezTo>
                      <a:pt x="5314" y="58194"/>
                      <a:pt x="4068" y="57846"/>
                      <a:pt x="2996" y="57151"/>
                    </a:cubicBezTo>
                    <a:cubicBezTo>
                      <a:pt x="-46" y="55180"/>
                      <a:pt x="-915" y="51124"/>
                      <a:pt x="1055" y="48081"/>
                    </a:cubicBezTo>
                    <a:lnTo>
                      <a:pt x="30146" y="2996"/>
                    </a:lnTo>
                    <a:cubicBezTo>
                      <a:pt x="32116" y="-46"/>
                      <a:pt x="36173" y="-915"/>
                      <a:pt x="39215" y="1055"/>
                    </a:cubicBezTo>
                    <a:cubicBezTo>
                      <a:pt x="42257" y="3025"/>
                      <a:pt x="43127" y="7082"/>
                      <a:pt x="41156" y="10124"/>
                    </a:cubicBezTo>
                    <a:lnTo>
                      <a:pt x="12065" y="55209"/>
                    </a:lnTo>
                    <a:cubicBezTo>
                      <a:pt x="10791" y="57122"/>
                      <a:pt x="8675" y="58194"/>
                      <a:pt x="6531" y="58194"/>
                    </a:cubicBezTo>
                    <a:close/>
                  </a:path>
                </a:pathLst>
              </a:custGeom>
              <a:grpFill/>
              <a:ln w="2891" cap="flat">
                <a:noFill/>
                <a:prstDash val="solid"/>
                <a:miter/>
              </a:ln>
            </p:spPr>
            <p:txBody>
              <a:bodyPr rtlCol="0" anchor="ctr"/>
              <a:lstStyle/>
              <a:p>
                <a:endParaRPr lang="en-GB" dirty="0"/>
              </a:p>
            </p:txBody>
          </p:sp>
          <p:sp>
            <p:nvSpPr>
              <p:cNvPr id="328" name="Freihandform: Form 850">
                <a:extLst>
                  <a:ext uri="{FF2B5EF4-FFF2-40B4-BE49-F238E27FC236}">
                    <a16:creationId xmlns:a16="http://schemas.microsoft.com/office/drawing/2014/main" id="{528AD06F-D314-4146-8E3A-7EFFCDFD5B95}"/>
                  </a:ext>
                </a:extLst>
              </p:cNvPr>
              <p:cNvSpPr/>
              <p:nvPr/>
            </p:nvSpPr>
            <p:spPr>
              <a:xfrm>
                <a:off x="7263873" y="2761329"/>
                <a:ext cx="13096" cy="85244"/>
              </a:xfrm>
              <a:custGeom>
                <a:avLst/>
                <a:gdLst>
                  <a:gd name="connsiteX0" fmla="*/ 6548 w 13096"/>
                  <a:gd name="connsiteY0" fmla="*/ 85244 h 85244"/>
                  <a:gd name="connsiteX1" fmla="*/ 0 w 13096"/>
                  <a:gd name="connsiteY1" fmla="*/ 78696 h 85244"/>
                  <a:gd name="connsiteX2" fmla="*/ 0 w 13096"/>
                  <a:gd name="connsiteY2" fmla="*/ 6548 h 85244"/>
                  <a:gd name="connsiteX3" fmla="*/ 6548 w 13096"/>
                  <a:gd name="connsiteY3" fmla="*/ 0 h 85244"/>
                  <a:gd name="connsiteX4" fmla="*/ 13097 w 13096"/>
                  <a:gd name="connsiteY4" fmla="*/ 6548 h 85244"/>
                  <a:gd name="connsiteX5" fmla="*/ 13097 w 13096"/>
                  <a:gd name="connsiteY5" fmla="*/ 78696 h 85244"/>
                  <a:gd name="connsiteX6" fmla="*/ 6548 w 13096"/>
                  <a:gd name="connsiteY6" fmla="*/ 85244 h 8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85244">
                    <a:moveTo>
                      <a:pt x="6548" y="85244"/>
                    </a:moveTo>
                    <a:cubicBezTo>
                      <a:pt x="2926" y="85244"/>
                      <a:pt x="0" y="82318"/>
                      <a:pt x="0" y="78696"/>
                    </a:cubicBezTo>
                    <a:lnTo>
                      <a:pt x="0" y="6548"/>
                    </a:lnTo>
                    <a:cubicBezTo>
                      <a:pt x="0" y="2926"/>
                      <a:pt x="2926" y="0"/>
                      <a:pt x="6548" y="0"/>
                    </a:cubicBezTo>
                    <a:cubicBezTo>
                      <a:pt x="10170" y="0"/>
                      <a:pt x="13097" y="2926"/>
                      <a:pt x="13097" y="6548"/>
                    </a:cubicBezTo>
                    <a:lnTo>
                      <a:pt x="13097" y="78696"/>
                    </a:lnTo>
                    <a:cubicBezTo>
                      <a:pt x="13126" y="82318"/>
                      <a:pt x="10199" y="85244"/>
                      <a:pt x="6548" y="85244"/>
                    </a:cubicBezTo>
                    <a:close/>
                  </a:path>
                </a:pathLst>
              </a:custGeom>
              <a:grpFill/>
              <a:ln w="2891" cap="flat">
                <a:noFill/>
                <a:prstDash val="solid"/>
                <a:miter/>
              </a:ln>
            </p:spPr>
            <p:txBody>
              <a:bodyPr rtlCol="0" anchor="ctr"/>
              <a:lstStyle/>
              <a:p>
                <a:endParaRPr lang="en-GB" dirty="0"/>
              </a:p>
            </p:txBody>
          </p:sp>
          <p:sp>
            <p:nvSpPr>
              <p:cNvPr id="329" name="Freihandform: Form 851">
                <a:extLst>
                  <a:ext uri="{FF2B5EF4-FFF2-40B4-BE49-F238E27FC236}">
                    <a16:creationId xmlns:a16="http://schemas.microsoft.com/office/drawing/2014/main" id="{3D9073DC-D191-4ABD-80D6-4FDE10D7A538}"/>
                  </a:ext>
                </a:extLst>
              </p:cNvPr>
              <p:cNvSpPr/>
              <p:nvPr/>
            </p:nvSpPr>
            <p:spPr>
              <a:xfrm>
                <a:off x="7172080" y="2761329"/>
                <a:ext cx="13096" cy="85244"/>
              </a:xfrm>
              <a:custGeom>
                <a:avLst/>
                <a:gdLst>
                  <a:gd name="connsiteX0" fmla="*/ 6548 w 13096"/>
                  <a:gd name="connsiteY0" fmla="*/ 85244 h 85244"/>
                  <a:gd name="connsiteX1" fmla="*/ 0 w 13096"/>
                  <a:gd name="connsiteY1" fmla="*/ 78696 h 85244"/>
                  <a:gd name="connsiteX2" fmla="*/ 0 w 13096"/>
                  <a:gd name="connsiteY2" fmla="*/ 6548 h 85244"/>
                  <a:gd name="connsiteX3" fmla="*/ 6548 w 13096"/>
                  <a:gd name="connsiteY3" fmla="*/ 0 h 85244"/>
                  <a:gd name="connsiteX4" fmla="*/ 13097 w 13096"/>
                  <a:gd name="connsiteY4" fmla="*/ 6548 h 85244"/>
                  <a:gd name="connsiteX5" fmla="*/ 13097 w 13096"/>
                  <a:gd name="connsiteY5" fmla="*/ 78696 h 85244"/>
                  <a:gd name="connsiteX6" fmla="*/ 6548 w 13096"/>
                  <a:gd name="connsiteY6" fmla="*/ 85244 h 8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85244">
                    <a:moveTo>
                      <a:pt x="6548" y="85244"/>
                    </a:moveTo>
                    <a:cubicBezTo>
                      <a:pt x="2926" y="85244"/>
                      <a:pt x="0" y="82318"/>
                      <a:pt x="0" y="78696"/>
                    </a:cubicBezTo>
                    <a:lnTo>
                      <a:pt x="0" y="6548"/>
                    </a:lnTo>
                    <a:cubicBezTo>
                      <a:pt x="0" y="2926"/>
                      <a:pt x="2926" y="0"/>
                      <a:pt x="6548" y="0"/>
                    </a:cubicBezTo>
                    <a:cubicBezTo>
                      <a:pt x="10170" y="0"/>
                      <a:pt x="13097" y="2926"/>
                      <a:pt x="13097" y="6548"/>
                    </a:cubicBezTo>
                    <a:lnTo>
                      <a:pt x="13097" y="78696"/>
                    </a:lnTo>
                    <a:cubicBezTo>
                      <a:pt x="13097" y="82318"/>
                      <a:pt x="10170" y="85244"/>
                      <a:pt x="6548" y="85244"/>
                    </a:cubicBezTo>
                    <a:close/>
                  </a:path>
                </a:pathLst>
              </a:custGeom>
              <a:grpFill/>
              <a:ln w="2891" cap="flat">
                <a:noFill/>
                <a:prstDash val="solid"/>
                <a:miter/>
              </a:ln>
            </p:spPr>
            <p:txBody>
              <a:bodyPr rtlCol="0" anchor="ctr"/>
              <a:lstStyle/>
              <a:p>
                <a:endParaRPr lang="en-GB" dirty="0"/>
              </a:p>
            </p:txBody>
          </p:sp>
          <p:sp>
            <p:nvSpPr>
              <p:cNvPr id="330" name="Freihandform: Form 852">
                <a:extLst>
                  <a:ext uri="{FF2B5EF4-FFF2-40B4-BE49-F238E27FC236}">
                    <a16:creationId xmlns:a16="http://schemas.microsoft.com/office/drawing/2014/main" id="{31D0CF6F-3167-4F4D-BAD4-6C7C3D4589F2}"/>
                  </a:ext>
                </a:extLst>
              </p:cNvPr>
              <p:cNvSpPr/>
              <p:nvPr/>
            </p:nvSpPr>
            <p:spPr>
              <a:xfrm>
                <a:off x="7283547" y="2649862"/>
                <a:ext cx="91792" cy="104889"/>
              </a:xfrm>
              <a:custGeom>
                <a:avLst/>
                <a:gdLst>
                  <a:gd name="connsiteX0" fmla="*/ 85273 w 91792"/>
                  <a:gd name="connsiteY0" fmla="*/ 104889 h 104889"/>
                  <a:gd name="connsiteX1" fmla="*/ 6548 w 91792"/>
                  <a:gd name="connsiteY1" fmla="*/ 104889 h 104889"/>
                  <a:gd name="connsiteX2" fmla="*/ 0 w 91792"/>
                  <a:gd name="connsiteY2" fmla="*/ 98341 h 104889"/>
                  <a:gd name="connsiteX3" fmla="*/ 6548 w 91792"/>
                  <a:gd name="connsiteY3" fmla="*/ 91793 h 104889"/>
                  <a:gd name="connsiteX4" fmla="*/ 78696 w 91792"/>
                  <a:gd name="connsiteY4" fmla="*/ 91793 h 104889"/>
                  <a:gd name="connsiteX5" fmla="*/ 78696 w 91792"/>
                  <a:gd name="connsiteY5" fmla="*/ 13097 h 104889"/>
                  <a:gd name="connsiteX6" fmla="*/ 6548 w 91792"/>
                  <a:gd name="connsiteY6" fmla="*/ 13097 h 104889"/>
                  <a:gd name="connsiteX7" fmla="*/ 0 w 91792"/>
                  <a:gd name="connsiteY7" fmla="*/ 6548 h 104889"/>
                  <a:gd name="connsiteX8" fmla="*/ 6548 w 91792"/>
                  <a:gd name="connsiteY8" fmla="*/ 0 h 104889"/>
                  <a:gd name="connsiteX9" fmla="*/ 85244 w 91792"/>
                  <a:gd name="connsiteY9" fmla="*/ 0 h 104889"/>
                  <a:gd name="connsiteX10" fmla="*/ 91793 w 91792"/>
                  <a:gd name="connsiteY10" fmla="*/ 6548 h 104889"/>
                  <a:gd name="connsiteX11" fmla="*/ 91793 w 91792"/>
                  <a:gd name="connsiteY11" fmla="*/ 98370 h 104889"/>
                  <a:gd name="connsiteX12" fmla="*/ 85273 w 91792"/>
                  <a:gd name="connsiteY12" fmla="*/ 104889 h 104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92" h="104889">
                    <a:moveTo>
                      <a:pt x="85273" y="104889"/>
                    </a:moveTo>
                    <a:lnTo>
                      <a:pt x="6548" y="104889"/>
                    </a:lnTo>
                    <a:cubicBezTo>
                      <a:pt x="2926" y="104889"/>
                      <a:pt x="0" y="101963"/>
                      <a:pt x="0" y="98341"/>
                    </a:cubicBezTo>
                    <a:cubicBezTo>
                      <a:pt x="0" y="94719"/>
                      <a:pt x="2926" y="91793"/>
                      <a:pt x="6548" y="91793"/>
                    </a:cubicBezTo>
                    <a:lnTo>
                      <a:pt x="78696" y="91793"/>
                    </a:lnTo>
                    <a:lnTo>
                      <a:pt x="78696" y="13097"/>
                    </a:lnTo>
                    <a:lnTo>
                      <a:pt x="6548" y="13097"/>
                    </a:lnTo>
                    <a:cubicBezTo>
                      <a:pt x="2926" y="13097"/>
                      <a:pt x="0" y="10170"/>
                      <a:pt x="0" y="6548"/>
                    </a:cubicBezTo>
                    <a:cubicBezTo>
                      <a:pt x="0" y="2926"/>
                      <a:pt x="2926" y="0"/>
                      <a:pt x="6548" y="0"/>
                    </a:cubicBezTo>
                    <a:lnTo>
                      <a:pt x="85244" y="0"/>
                    </a:lnTo>
                    <a:cubicBezTo>
                      <a:pt x="88866" y="0"/>
                      <a:pt x="91793" y="2926"/>
                      <a:pt x="91793" y="6548"/>
                    </a:cubicBezTo>
                    <a:lnTo>
                      <a:pt x="91793" y="98370"/>
                    </a:lnTo>
                    <a:cubicBezTo>
                      <a:pt x="91822" y="101963"/>
                      <a:pt x="88895" y="104889"/>
                      <a:pt x="85273" y="104889"/>
                    </a:cubicBezTo>
                    <a:close/>
                  </a:path>
                </a:pathLst>
              </a:custGeom>
              <a:grpFill/>
              <a:ln w="2891" cap="flat">
                <a:noFill/>
                <a:prstDash val="solid"/>
                <a:miter/>
              </a:ln>
            </p:spPr>
            <p:txBody>
              <a:bodyPr rtlCol="0" anchor="ctr"/>
              <a:lstStyle/>
              <a:p>
                <a:endParaRPr lang="en-GB" dirty="0"/>
              </a:p>
            </p:txBody>
          </p:sp>
          <p:sp>
            <p:nvSpPr>
              <p:cNvPr id="331" name="Freihandform: Form 853">
                <a:extLst>
                  <a:ext uri="{FF2B5EF4-FFF2-40B4-BE49-F238E27FC236}">
                    <a16:creationId xmlns:a16="http://schemas.microsoft.com/office/drawing/2014/main" id="{37000263-173B-4E8D-AD85-E57804F0139B}"/>
                  </a:ext>
                </a:extLst>
              </p:cNvPr>
              <p:cNvSpPr/>
              <p:nvPr/>
            </p:nvSpPr>
            <p:spPr>
              <a:xfrm>
                <a:off x="7073710" y="2649833"/>
                <a:ext cx="91792" cy="104918"/>
              </a:xfrm>
              <a:custGeom>
                <a:avLst/>
                <a:gdLst>
                  <a:gd name="connsiteX0" fmla="*/ 85244 w 91792"/>
                  <a:gd name="connsiteY0" fmla="*/ 104918 h 104918"/>
                  <a:gd name="connsiteX1" fmla="*/ 6548 w 91792"/>
                  <a:gd name="connsiteY1" fmla="*/ 104918 h 104918"/>
                  <a:gd name="connsiteX2" fmla="*/ 0 w 91792"/>
                  <a:gd name="connsiteY2" fmla="*/ 98370 h 104918"/>
                  <a:gd name="connsiteX3" fmla="*/ 0 w 91792"/>
                  <a:gd name="connsiteY3" fmla="*/ 6548 h 104918"/>
                  <a:gd name="connsiteX4" fmla="*/ 6548 w 91792"/>
                  <a:gd name="connsiteY4" fmla="*/ 0 h 104918"/>
                  <a:gd name="connsiteX5" fmla="*/ 85244 w 91792"/>
                  <a:gd name="connsiteY5" fmla="*/ 0 h 104918"/>
                  <a:gd name="connsiteX6" fmla="*/ 91793 w 91792"/>
                  <a:gd name="connsiteY6" fmla="*/ 6548 h 104918"/>
                  <a:gd name="connsiteX7" fmla="*/ 85244 w 91792"/>
                  <a:gd name="connsiteY7" fmla="*/ 13097 h 104918"/>
                  <a:gd name="connsiteX8" fmla="*/ 13097 w 91792"/>
                  <a:gd name="connsiteY8" fmla="*/ 13097 h 104918"/>
                  <a:gd name="connsiteX9" fmla="*/ 13097 w 91792"/>
                  <a:gd name="connsiteY9" fmla="*/ 91793 h 104918"/>
                  <a:gd name="connsiteX10" fmla="*/ 85244 w 91792"/>
                  <a:gd name="connsiteY10" fmla="*/ 91793 h 104918"/>
                  <a:gd name="connsiteX11" fmla="*/ 91793 w 91792"/>
                  <a:gd name="connsiteY11" fmla="*/ 98341 h 104918"/>
                  <a:gd name="connsiteX12" fmla="*/ 85244 w 91792"/>
                  <a:gd name="connsiteY12" fmla="*/ 104918 h 10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792" h="104918">
                    <a:moveTo>
                      <a:pt x="85244" y="104918"/>
                    </a:moveTo>
                    <a:lnTo>
                      <a:pt x="6548" y="104918"/>
                    </a:lnTo>
                    <a:cubicBezTo>
                      <a:pt x="2926" y="104918"/>
                      <a:pt x="0" y="101992"/>
                      <a:pt x="0" y="98370"/>
                    </a:cubicBezTo>
                    <a:lnTo>
                      <a:pt x="0" y="6548"/>
                    </a:lnTo>
                    <a:cubicBezTo>
                      <a:pt x="0" y="2926"/>
                      <a:pt x="2926" y="0"/>
                      <a:pt x="6548" y="0"/>
                    </a:cubicBezTo>
                    <a:lnTo>
                      <a:pt x="85244" y="0"/>
                    </a:lnTo>
                    <a:cubicBezTo>
                      <a:pt x="88866" y="0"/>
                      <a:pt x="91793" y="2926"/>
                      <a:pt x="91793" y="6548"/>
                    </a:cubicBezTo>
                    <a:cubicBezTo>
                      <a:pt x="91793" y="10170"/>
                      <a:pt x="88866" y="13097"/>
                      <a:pt x="85244" y="13097"/>
                    </a:cubicBezTo>
                    <a:lnTo>
                      <a:pt x="13097" y="13097"/>
                    </a:lnTo>
                    <a:lnTo>
                      <a:pt x="13097" y="91793"/>
                    </a:lnTo>
                    <a:lnTo>
                      <a:pt x="85244" y="91793"/>
                    </a:lnTo>
                    <a:cubicBezTo>
                      <a:pt x="88866" y="91793"/>
                      <a:pt x="91793" y="94719"/>
                      <a:pt x="91793" y="98341"/>
                    </a:cubicBezTo>
                    <a:cubicBezTo>
                      <a:pt x="91793" y="101992"/>
                      <a:pt x="88866" y="104918"/>
                      <a:pt x="85244" y="104918"/>
                    </a:cubicBezTo>
                    <a:close/>
                  </a:path>
                </a:pathLst>
              </a:custGeom>
              <a:grpFill/>
              <a:ln w="2891" cap="flat">
                <a:noFill/>
                <a:prstDash val="solid"/>
                <a:miter/>
              </a:ln>
            </p:spPr>
            <p:txBody>
              <a:bodyPr rtlCol="0" anchor="ctr"/>
              <a:lstStyle/>
              <a:p>
                <a:endParaRPr lang="en-GB" dirty="0"/>
              </a:p>
            </p:txBody>
          </p:sp>
          <p:sp>
            <p:nvSpPr>
              <p:cNvPr id="332" name="Freihandform: Form 854">
                <a:extLst>
                  <a:ext uri="{FF2B5EF4-FFF2-40B4-BE49-F238E27FC236}">
                    <a16:creationId xmlns:a16="http://schemas.microsoft.com/office/drawing/2014/main" id="{B8B3AB69-6B0B-44F8-B0C4-836D4491613C}"/>
                  </a:ext>
                </a:extLst>
              </p:cNvPr>
              <p:cNvSpPr/>
              <p:nvPr/>
            </p:nvSpPr>
            <p:spPr>
              <a:xfrm>
                <a:off x="7185206" y="2590811"/>
                <a:ext cx="78666" cy="45896"/>
              </a:xfrm>
              <a:custGeom>
                <a:avLst/>
                <a:gdLst>
                  <a:gd name="connsiteX0" fmla="*/ 72119 w 78666"/>
                  <a:gd name="connsiteY0" fmla="*/ 45896 h 45896"/>
                  <a:gd name="connsiteX1" fmla="*/ 65570 w 78666"/>
                  <a:gd name="connsiteY1" fmla="*/ 39348 h 45896"/>
                  <a:gd name="connsiteX2" fmla="*/ 65570 w 78666"/>
                  <a:gd name="connsiteY2" fmla="*/ 13126 h 45896"/>
                  <a:gd name="connsiteX3" fmla="*/ 13097 w 78666"/>
                  <a:gd name="connsiteY3" fmla="*/ 13126 h 45896"/>
                  <a:gd name="connsiteX4" fmla="*/ 13097 w 78666"/>
                  <a:gd name="connsiteY4" fmla="*/ 39348 h 45896"/>
                  <a:gd name="connsiteX5" fmla="*/ 6548 w 78666"/>
                  <a:gd name="connsiteY5" fmla="*/ 45896 h 45896"/>
                  <a:gd name="connsiteX6" fmla="*/ 0 w 78666"/>
                  <a:gd name="connsiteY6" fmla="*/ 39348 h 45896"/>
                  <a:gd name="connsiteX7" fmla="*/ 0 w 78666"/>
                  <a:gd name="connsiteY7" fmla="*/ 6548 h 45896"/>
                  <a:gd name="connsiteX8" fmla="*/ 6548 w 78666"/>
                  <a:gd name="connsiteY8" fmla="*/ 0 h 45896"/>
                  <a:gd name="connsiteX9" fmla="*/ 72119 w 78666"/>
                  <a:gd name="connsiteY9" fmla="*/ 0 h 45896"/>
                  <a:gd name="connsiteX10" fmla="*/ 78667 w 78666"/>
                  <a:gd name="connsiteY10" fmla="*/ 6548 h 45896"/>
                  <a:gd name="connsiteX11" fmla="*/ 78667 w 78666"/>
                  <a:gd name="connsiteY11" fmla="*/ 39348 h 45896"/>
                  <a:gd name="connsiteX12" fmla="*/ 72119 w 78666"/>
                  <a:gd name="connsiteY12" fmla="*/ 45896 h 4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8666" h="45896">
                    <a:moveTo>
                      <a:pt x="72119" y="45896"/>
                    </a:moveTo>
                    <a:cubicBezTo>
                      <a:pt x="68497" y="45896"/>
                      <a:pt x="65570" y="42970"/>
                      <a:pt x="65570" y="39348"/>
                    </a:cubicBezTo>
                    <a:lnTo>
                      <a:pt x="65570" y="13126"/>
                    </a:lnTo>
                    <a:lnTo>
                      <a:pt x="13097" y="13126"/>
                    </a:lnTo>
                    <a:lnTo>
                      <a:pt x="13097" y="39348"/>
                    </a:lnTo>
                    <a:cubicBezTo>
                      <a:pt x="13097" y="42970"/>
                      <a:pt x="10170" y="45896"/>
                      <a:pt x="6548" y="45896"/>
                    </a:cubicBezTo>
                    <a:cubicBezTo>
                      <a:pt x="2926" y="45896"/>
                      <a:pt x="0" y="42970"/>
                      <a:pt x="0" y="39348"/>
                    </a:cubicBezTo>
                    <a:lnTo>
                      <a:pt x="0" y="6548"/>
                    </a:lnTo>
                    <a:cubicBezTo>
                      <a:pt x="0" y="2926"/>
                      <a:pt x="2926" y="0"/>
                      <a:pt x="6548" y="0"/>
                    </a:cubicBezTo>
                    <a:lnTo>
                      <a:pt x="72119" y="0"/>
                    </a:lnTo>
                    <a:cubicBezTo>
                      <a:pt x="75740" y="0"/>
                      <a:pt x="78667" y="2926"/>
                      <a:pt x="78667" y="6548"/>
                    </a:cubicBezTo>
                    <a:lnTo>
                      <a:pt x="78667" y="39348"/>
                    </a:lnTo>
                    <a:cubicBezTo>
                      <a:pt x="78667" y="42970"/>
                      <a:pt x="75740" y="45896"/>
                      <a:pt x="72119" y="45896"/>
                    </a:cubicBezTo>
                    <a:close/>
                  </a:path>
                </a:pathLst>
              </a:custGeom>
              <a:grpFill/>
              <a:ln w="2891" cap="flat">
                <a:noFill/>
                <a:prstDash val="solid"/>
                <a:miter/>
              </a:ln>
            </p:spPr>
            <p:txBody>
              <a:bodyPr rtlCol="0" anchor="ctr"/>
              <a:lstStyle/>
              <a:p>
                <a:endParaRPr lang="en-GB" dirty="0"/>
              </a:p>
            </p:txBody>
          </p:sp>
          <p:sp>
            <p:nvSpPr>
              <p:cNvPr id="333" name="Freihandform: Form 855">
                <a:extLst>
                  <a:ext uri="{FF2B5EF4-FFF2-40B4-BE49-F238E27FC236}">
                    <a16:creationId xmlns:a16="http://schemas.microsoft.com/office/drawing/2014/main" id="{1E33D7A1-5828-4C2A-85CA-B5241A2DB644}"/>
                  </a:ext>
                </a:extLst>
              </p:cNvPr>
              <p:cNvSpPr/>
              <p:nvPr/>
            </p:nvSpPr>
            <p:spPr>
              <a:xfrm>
                <a:off x="7040911" y="2636737"/>
                <a:ext cx="45896" cy="131140"/>
              </a:xfrm>
              <a:custGeom>
                <a:avLst/>
                <a:gdLst>
                  <a:gd name="connsiteX0" fmla="*/ 39348 w 45896"/>
                  <a:gd name="connsiteY0" fmla="*/ 131140 h 131140"/>
                  <a:gd name="connsiteX1" fmla="*/ 6548 w 45896"/>
                  <a:gd name="connsiteY1" fmla="*/ 131140 h 131140"/>
                  <a:gd name="connsiteX2" fmla="*/ 0 w 45896"/>
                  <a:gd name="connsiteY2" fmla="*/ 124592 h 131140"/>
                  <a:gd name="connsiteX3" fmla="*/ 0 w 45896"/>
                  <a:gd name="connsiteY3" fmla="*/ 6548 h 131140"/>
                  <a:gd name="connsiteX4" fmla="*/ 6548 w 45896"/>
                  <a:gd name="connsiteY4" fmla="*/ 0 h 131140"/>
                  <a:gd name="connsiteX5" fmla="*/ 39348 w 45896"/>
                  <a:gd name="connsiteY5" fmla="*/ 0 h 131140"/>
                  <a:gd name="connsiteX6" fmla="*/ 45896 w 45896"/>
                  <a:gd name="connsiteY6" fmla="*/ 6548 h 131140"/>
                  <a:gd name="connsiteX7" fmla="*/ 45896 w 45896"/>
                  <a:gd name="connsiteY7" fmla="*/ 124592 h 131140"/>
                  <a:gd name="connsiteX8" fmla="*/ 39348 w 45896"/>
                  <a:gd name="connsiteY8" fmla="*/ 131140 h 131140"/>
                  <a:gd name="connsiteX9" fmla="*/ 13097 w 45896"/>
                  <a:gd name="connsiteY9" fmla="*/ 118015 h 131140"/>
                  <a:gd name="connsiteX10" fmla="*/ 32771 w 45896"/>
                  <a:gd name="connsiteY10" fmla="*/ 118015 h 131140"/>
                  <a:gd name="connsiteX11" fmla="*/ 32771 w 45896"/>
                  <a:gd name="connsiteY11" fmla="*/ 13097 h 131140"/>
                  <a:gd name="connsiteX12" fmla="*/ 13097 w 45896"/>
                  <a:gd name="connsiteY12" fmla="*/ 13097 h 131140"/>
                  <a:gd name="connsiteX13" fmla="*/ 13097 w 45896"/>
                  <a:gd name="connsiteY13" fmla="*/ 118015 h 13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896" h="131140">
                    <a:moveTo>
                      <a:pt x="39348" y="131140"/>
                    </a:moveTo>
                    <a:lnTo>
                      <a:pt x="6548" y="131140"/>
                    </a:lnTo>
                    <a:cubicBezTo>
                      <a:pt x="2926" y="131140"/>
                      <a:pt x="0" y="128214"/>
                      <a:pt x="0" y="124592"/>
                    </a:cubicBezTo>
                    <a:lnTo>
                      <a:pt x="0" y="6548"/>
                    </a:lnTo>
                    <a:cubicBezTo>
                      <a:pt x="0" y="2926"/>
                      <a:pt x="2926" y="0"/>
                      <a:pt x="6548" y="0"/>
                    </a:cubicBezTo>
                    <a:lnTo>
                      <a:pt x="39348" y="0"/>
                    </a:lnTo>
                    <a:cubicBezTo>
                      <a:pt x="42970" y="0"/>
                      <a:pt x="45896" y="2926"/>
                      <a:pt x="45896" y="6548"/>
                    </a:cubicBezTo>
                    <a:lnTo>
                      <a:pt x="45896" y="124592"/>
                    </a:lnTo>
                    <a:cubicBezTo>
                      <a:pt x="45896" y="128214"/>
                      <a:pt x="42970" y="131140"/>
                      <a:pt x="39348" y="131140"/>
                    </a:cubicBezTo>
                    <a:close/>
                    <a:moveTo>
                      <a:pt x="13097" y="118015"/>
                    </a:moveTo>
                    <a:lnTo>
                      <a:pt x="32771" y="118015"/>
                    </a:lnTo>
                    <a:lnTo>
                      <a:pt x="32771" y="13097"/>
                    </a:lnTo>
                    <a:lnTo>
                      <a:pt x="13097" y="13097"/>
                    </a:lnTo>
                    <a:lnTo>
                      <a:pt x="13097" y="118015"/>
                    </a:lnTo>
                    <a:close/>
                  </a:path>
                </a:pathLst>
              </a:custGeom>
              <a:grpFill/>
              <a:ln w="2891" cap="flat">
                <a:noFill/>
                <a:prstDash val="solid"/>
                <a:miter/>
              </a:ln>
            </p:spPr>
            <p:txBody>
              <a:bodyPr rtlCol="0" anchor="ctr"/>
              <a:lstStyle/>
              <a:p>
                <a:endParaRPr lang="en-GB" dirty="0"/>
              </a:p>
            </p:txBody>
          </p:sp>
          <p:sp>
            <p:nvSpPr>
              <p:cNvPr id="334" name="Freihandform: Form 856">
                <a:extLst>
                  <a:ext uri="{FF2B5EF4-FFF2-40B4-BE49-F238E27FC236}">
                    <a16:creationId xmlns:a16="http://schemas.microsoft.com/office/drawing/2014/main" id="{5AE8E7BE-806B-4224-AD01-A6F55950D7C6}"/>
                  </a:ext>
                </a:extLst>
              </p:cNvPr>
              <p:cNvSpPr/>
              <p:nvPr/>
            </p:nvSpPr>
            <p:spPr>
              <a:xfrm>
                <a:off x="7362271" y="2636737"/>
                <a:ext cx="45577" cy="131140"/>
              </a:xfrm>
              <a:custGeom>
                <a:avLst/>
                <a:gdLst>
                  <a:gd name="connsiteX0" fmla="*/ 39029 w 45577"/>
                  <a:gd name="connsiteY0" fmla="*/ 131140 h 131140"/>
                  <a:gd name="connsiteX1" fmla="*/ 6548 w 45577"/>
                  <a:gd name="connsiteY1" fmla="*/ 131140 h 131140"/>
                  <a:gd name="connsiteX2" fmla="*/ 0 w 45577"/>
                  <a:gd name="connsiteY2" fmla="*/ 124592 h 131140"/>
                  <a:gd name="connsiteX3" fmla="*/ 0 w 45577"/>
                  <a:gd name="connsiteY3" fmla="*/ 6548 h 131140"/>
                  <a:gd name="connsiteX4" fmla="*/ 6548 w 45577"/>
                  <a:gd name="connsiteY4" fmla="*/ 0 h 131140"/>
                  <a:gd name="connsiteX5" fmla="*/ 39029 w 45577"/>
                  <a:gd name="connsiteY5" fmla="*/ 0 h 131140"/>
                  <a:gd name="connsiteX6" fmla="*/ 45578 w 45577"/>
                  <a:gd name="connsiteY6" fmla="*/ 6548 h 131140"/>
                  <a:gd name="connsiteX7" fmla="*/ 45578 w 45577"/>
                  <a:gd name="connsiteY7" fmla="*/ 124592 h 131140"/>
                  <a:gd name="connsiteX8" fmla="*/ 39029 w 45577"/>
                  <a:gd name="connsiteY8" fmla="*/ 131140 h 131140"/>
                  <a:gd name="connsiteX9" fmla="*/ 13097 w 45577"/>
                  <a:gd name="connsiteY9" fmla="*/ 118015 h 131140"/>
                  <a:gd name="connsiteX10" fmla="*/ 32452 w 45577"/>
                  <a:gd name="connsiteY10" fmla="*/ 118015 h 131140"/>
                  <a:gd name="connsiteX11" fmla="*/ 32452 w 45577"/>
                  <a:gd name="connsiteY11" fmla="*/ 13097 h 131140"/>
                  <a:gd name="connsiteX12" fmla="*/ 13097 w 45577"/>
                  <a:gd name="connsiteY12" fmla="*/ 13097 h 131140"/>
                  <a:gd name="connsiteX13" fmla="*/ 13097 w 45577"/>
                  <a:gd name="connsiteY13" fmla="*/ 118015 h 13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577" h="131140">
                    <a:moveTo>
                      <a:pt x="39029" y="131140"/>
                    </a:moveTo>
                    <a:lnTo>
                      <a:pt x="6548" y="131140"/>
                    </a:lnTo>
                    <a:cubicBezTo>
                      <a:pt x="2926" y="131140"/>
                      <a:pt x="0" y="128214"/>
                      <a:pt x="0" y="124592"/>
                    </a:cubicBezTo>
                    <a:lnTo>
                      <a:pt x="0" y="6548"/>
                    </a:lnTo>
                    <a:cubicBezTo>
                      <a:pt x="0" y="2926"/>
                      <a:pt x="2926" y="0"/>
                      <a:pt x="6548" y="0"/>
                    </a:cubicBezTo>
                    <a:lnTo>
                      <a:pt x="39029" y="0"/>
                    </a:lnTo>
                    <a:cubicBezTo>
                      <a:pt x="42651" y="0"/>
                      <a:pt x="45578" y="2926"/>
                      <a:pt x="45578" y="6548"/>
                    </a:cubicBezTo>
                    <a:lnTo>
                      <a:pt x="45578" y="124592"/>
                    </a:lnTo>
                    <a:cubicBezTo>
                      <a:pt x="45578" y="128214"/>
                      <a:pt x="42651" y="131140"/>
                      <a:pt x="39029" y="131140"/>
                    </a:cubicBezTo>
                    <a:close/>
                    <a:moveTo>
                      <a:pt x="13097" y="118015"/>
                    </a:moveTo>
                    <a:lnTo>
                      <a:pt x="32452" y="118015"/>
                    </a:lnTo>
                    <a:lnTo>
                      <a:pt x="32452" y="13097"/>
                    </a:lnTo>
                    <a:lnTo>
                      <a:pt x="13097" y="13097"/>
                    </a:lnTo>
                    <a:lnTo>
                      <a:pt x="13097" y="118015"/>
                    </a:lnTo>
                    <a:close/>
                  </a:path>
                </a:pathLst>
              </a:custGeom>
              <a:grpFill/>
              <a:ln w="2891" cap="flat">
                <a:noFill/>
                <a:prstDash val="solid"/>
                <a:miter/>
              </a:ln>
            </p:spPr>
            <p:txBody>
              <a:bodyPr rtlCol="0" anchor="ctr"/>
              <a:lstStyle/>
              <a:p>
                <a:endParaRPr lang="en-GB" dirty="0"/>
              </a:p>
            </p:txBody>
          </p:sp>
        </p:grpSp>
      </p:grpSp>
      <p:grpSp>
        <p:nvGrpSpPr>
          <p:cNvPr id="42" name="Group 41">
            <a:extLst>
              <a:ext uri="{FF2B5EF4-FFF2-40B4-BE49-F238E27FC236}">
                <a16:creationId xmlns:a16="http://schemas.microsoft.com/office/drawing/2014/main" id="{75CEAB41-2CA5-1562-4AD1-ABA5429B55DA}"/>
              </a:ext>
            </a:extLst>
          </p:cNvPr>
          <p:cNvGrpSpPr/>
          <p:nvPr/>
        </p:nvGrpSpPr>
        <p:grpSpPr>
          <a:xfrm>
            <a:off x="2669048" y="4040089"/>
            <a:ext cx="431740" cy="432004"/>
            <a:chOff x="2669048" y="4040089"/>
            <a:chExt cx="431740" cy="432004"/>
          </a:xfrm>
        </p:grpSpPr>
        <p:grpSp>
          <p:nvGrpSpPr>
            <p:cNvPr id="344" name="Grafik 219">
              <a:extLst>
                <a:ext uri="{FF2B5EF4-FFF2-40B4-BE49-F238E27FC236}">
                  <a16:creationId xmlns:a16="http://schemas.microsoft.com/office/drawing/2014/main" id="{EA230E4F-D0DE-489F-8D95-D187FFF9D482}"/>
                </a:ext>
              </a:extLst>
            </p:cNvPr>
            <p:cNvGrpSpPr/>
            <p:nvPr/>
          </p:nvGrpSpPr>
          <p:grpSpPr>
            <a:xfrm>
              <a:off x="2819166" y="4040089"/>
              <a:ext cx="280495" cy="267691"/>
              <a:chOff x="6325723" y="2446284"/>
              <a:chExt cx="281201" cy="268365"/>
            </a:xfrm>
            <a:solidFill>
              <a:schemeClr val="tx2"/>
            </a:solidFill>
          </p:grpSpPr>
          <p:sp>
            <p:nvSpPr>
              <p:cNvPr id="349" name="Freihandform: Form 833">
                <a:extLst>
                  <a:ext uri="{FF2B5EF4-FFF2-40B4-BE49-F238E27FC236}">
                    <a16:creationId xmlns:a16="http://schemas.microsoft.com/office/drawing/2014/main" id="{4B809680-D51B-4BB7-8B7A-15F2CDB6045C}"/>
                  </a:ext>
                </a:extLst>
              </p:cNvPr>
              <p:cNvSpPr/>
              <p:nvPr/>
            </p:nvSpPr>
            <p:spPr>
              <a:xfrm>
                <a:off x="6325723" y="2446284"/>
                <a:ext cx="281201" cy="268365"/>
              </a:xfrm>
              <a:custGeom>
                <a:avLst/>
                <a:gdLst>
                  <a:gd name="connsiteX0" fmla="*/ 131372 w 281201"/>
                  <a:gd name="connsiteY0" fmla="*/ 268366 h 268365"/>
                  <a:gd name="connsiteX1" fmla="*/ 101470 w 281201"/>
                  <a:gd name="connsiteY1" fmla="*/ 268366 h 268365"/>
                  <a:gd name="connsiteX2" fmla="*/ 96226 w 281201"/>
                  <a:gd name="connsiteY2" fmla="*/ 265758 h 268365"/>
                  <a:gd name="connsiteX3" fmla="*/ 95154 w 281201"/>
                  <a:gd name="connsiteY3" fmla="*/ 260021 h 268365"/>
                  <a:gd name="connsiteX4" fmla="*/ 122999 w 281201"/>
                  <a:gd name="connsiteY4" fmla="*/ 162433 h 268365"/>
                  <a:gd name="connsiteX5" fmla="*/ 58993 w 281201"/>
                  <a:gd name="connsiteY5" fmla="*/ 158000 h 268365"/>
                  <a:gd name="connsiteX6" fmla="*/ 49895 w 281201"/>
                  <a:gd name="connsiteY6" fmla="*/ 178978 h 268365"/>
                  <a:gd name="connsiteX7" fmla="*/ 45491 w 281201"/>
                  <a:gd name="connsiteY7" fmla="*/ 182716 h 268365"/>
                  <a:gd name="connsiteX8" fmla="*/ 22253 w 281201"/>
                  <a:gd name="connsiteY8" fmla="*/ 188598 h 268365"/>
                  <a:gd name="connsiteX9" fmla="*/ 15849 w 281201"/>
                  <a:gd name="connsiteY9" fmla="*/ 186714 h 268365"/>
                  <a:gd name="connsiteX10" fmla="*/ 14430 w 281201"/>
                  <a:gd name="connsiteY10" fmla="*/ 180166 h 268365"/>
                  <a:gd name="connsiteX11" fmla="*/ 23296 w 281201"/>
                  <a:gd name="connsiteY11" fmla="*/ 153567 h 268365"/>
                  <a:gd name="connsiteX12" fmla="*/ 8200 w 281201"/>
                  <a:gd name="connsiteY12" fmla="*/ 144643 h 268365"/>
                  <a:gd name="connsiteX13" fmla="*/ 2260 w 281201"/>
                  <a:gd name="connsiteY13" fmla="*/ 139514 h 268365"/>
                  <a:gd name="connsiteX14" fmla="*/ 0 w 281201"/>
                  <a:gd name="connsiteY14" fmla="*/ 134560 h 268365"/>
                  <a:gd name="connsiteX15" fmla="*/ 0 w 281201"/>
                  <a:gd name="connsiteY15" fmla="*/ 133401 h 268365"/>
                  <a:gd name="connsiteX16" fmla="*/ 2260 w 281201"/>
                  <a:gd name="connsiteY16" fmla="*/ 128446 h 268365"/>
                  <a:gd name="connsiteX17" fmla="*/ 8200 w 281201"/>
                  <a:gd name="connsiteY17" fmla="*/ 123317 h 268365"/>
                  <a:gd name="connsiteX18" fmla="*/ 23093 w 281201"/>
                  <a:gd name="connsiteY18" fmla="*/ 114451 h 268365"/>
                  <a:gd name="connsiteX19" fmla="*/ 14430 w 281201"/>
                  <a:gd name="connsiteY19" fmla="*/ 88460 h 268365"/>
                  <a:gd name="connsiteX20" fmla="*/ 15849 w 281201"/>
                  <a:gd name="connsiteY20" fmla="*/ 81912 h 268365"/>
                  <a:gd name="connsiteX21" fmla="*/ 22253 w 281201"/>
                  <a:gd name="connsiteY21" fmla="*/ 80000 h 268365"/>
                  <a:gd name="connsiteX22" fmla="*/ 45491 w 281201"/>
                  <a:gd name="connsiteY22" fmla="*/ 85882 h 268365"/>
                  <a:gd name="connsiteX23" fmla="*/ 49895 w 281201"/>
                  <a:gd name="connsiteY23" fmla="*/ 89619 h 268365"/>
                  <a:gd name="connsiteX24" fmla="*/ 58703 w 281201"/>
                  <a:gd name="connsiteY24" fmla="*/ 109960 h 268365"/>
                  <a:gd name="connsiteX25" fmla="*/ 122883 w 281201"/>
                  <a:gd name="connsiteY25" fmla="*/ 105527 h 268365"/>
                  <a:gd name="connsiteX26" fmla="*/ 95154 w 281201"/>
                  <a:gd name="connsiteY26" fmla="*/ 8345 h 268365"/>
                  <a:gd name="connsiteX27" fmla="*/ 96226 w 281201"/>
                  <a:gd name="connsiteY27" fmla="*/ 2608 h 268365"/>
                  <a:gd name="connsiteX28" fmla="*/ 101470 w 281201"/>
                  <a:gd name="connsiteY28" fmla="*/ 0 h 268365"/>
                  <a:gd name="connsiteX29" fmla="*/ 131372 w 281201"/>
                  <a:gd name="connsiteY29" fmla="*/ 0 h 268365"/>
                  <a:gd name="connsiteX30" fmla="*/ 137138 w 281201"/>
                  <a:gd name="connsiteY30" fmla="*/ 3448 h 268365"/>
                  <a:gd name="connsiteX31" fmla="*/ 189641 w 281201"/>
                  <a:gd name="connsiteY31" fmla="*/ 101296 h 268365"/>
                  <a:gd name="connsiteX32" fmla="*/ 226004 w 281201"/>
                  <a:gd name="connsiteY32" fmla="*/ 99645 h 268365"/>
                  <a:gd name="connsiteX33" fmla="*/ 279869 w 281201"/>
                  <a:gd name="connsiteY33" fmla="*/ 129982 h 268365"/>
                  <a:gd name="connsiteX34" fmla="*/ 279840 w 281201"/>
                  <a:gd name="connsiteY34" fmla="*/ 137950 h 268365"/>
                  <a:gd name="connsiteX35" fmla="*/ 226323 w 281201"/>
                  <a:gd name="connsiteY35" fmla="*/ 168286 h 268365"/>
                  <a:gd name="connsiteX36" fmla="*/ 226004 w 281201"/>
                  <a:gd name="connsiteY36" fmla="*/ 168286 h 268365"/>
                  <a:gd name="connsiteX37" fmla="*/ 189873 w 281201"/>
                  <a:gd name="connsiteY37" fmla="*/ 166664 h 268365"/>
                  <a:gd name="connsiteX38" fmla="*/ 137138 w 281201"/>
                  <a:gd name="connsiteY38" fmla="*/ 264918 h 268365"/>
                  <a:gd name="connsiteX39" fmla="*/ 131372 w 281201"/>
                  <a:gd name="connsiteY39" fmla="*/ 268366 h 268365"/>
                  <a:gd name="connsiteX40" fmla="*/ 110134 w 281201"/>
                  <a:gd name="connsiteY40" fmla="*/ 255240 h 268365"/>
                  <a:gd name="connsiteX41" fmla="*/ 127432 w 281201"/>
                  <a:gd name="connsiteY41" fmla="*/ 255240 h 268365"/>
                  <a:gd name="connsiteX42" fmla="*/ 180282 w 281201"/>
                  <a:gd name="connsiteY42" fmla="*/ 156754 h 268365"/>
                  <a:gd name="connsiteX43" fmla="*/ 186454 w 281201"/>
                  <a:gd name="connsiteY43" fmla="*/ 153306 h 268365"/>
                  <a:gd name="connsiteX44" fmla="*/ 226091 w 281201"/>
                  <a:gd name="connsiteY44" fmla="*/ 155161 h 268365"/>
                  <a:gd name="connsiteX45" fmla="*/ 226323 w 281201"/>
                  <a:gd name="connsiteY45" fmla="*/ 155161 h 268365"/>
                  <a:gd name="connsiteX46" fmla="*/ 265990 w 281201"/>
                  <a:gd name="connsiteY46" fmla="*/ 133951 h 268365"/>
                  <a:gd name="connsiteX47" fmla="*/ 226091 w 281201"/>
                  <a:gd name="connsiteY47" fmla="*/ 112741 h 268365"/>
                  <a:gd name="connsiteX48" fmla="*/ 186222 w 281201"/>
                  <a:gd name="connsiteY48" fmla="*/ 114596 h 268365"/>
                  <a:gd name="connsiteX49" fmla="*/ 180050 w 281201"/>
                  <a:gd name="connsiteY49" fmla="*/ 111148 h 268365"/>
                  <a:gd name="connsiteX50" fmla="*/ 127432 w 281201"/>
                  <a:gd name="connsiteY50" fmla="*/ 13068 h 268365"/>
                  <a:gd name="connsiteX51" fmla="*/ 110134 w 281201"/>
                  <a:gd name="connsiteY51" fmla="*/ 13068 h 268365"/>
                  <a:gd name="connsiteX52" fmla="*/ 137689 w 281201"/>
                  <a:gd name="connsiteY52" fmla="*/ 109699 h 268365"/>
                  <a:gd name="connsiteX53" fmla="*/ 136762 w 281201"/>
                  <a:gd name="connsiteY53" fmla="*/ 115262 h 268365"/>
                  <a:gd name="connsiteX54" fmla="*/ 131836 w 281201"/>
                  <a:gd name="connsiteY54" fmla="*/ 118015 h 268365"/>
                  <a:gd name="connsiteX55" fmla="*/ 54994 w 281201"/>
                  <a:gd name="connsiteY55" fmla="*/ 123317 h 268365"/>
                  <a:gd name="connsiteX56" fmla="*/ 48504 w 281201"/>
                  <a:gd name="connsiteY56" fmla="*/ 119377 h 268365"/>
                  <a:gd name="connsiteX57" fmla="*/ 39116 w 281201"/>
                  <a:gd name="connsiteY57" fmla="*/ 97732 h 268365"/>
                  <a:gd name="connsiteX58" fmla="*/ 30627 w 281201"/>
                  <a:gd name="connsiteY58" fmla="*/ 95588 h 268365"/>
                  <a:gd name="connsiteX59" fmla="*/ 37667 w 281201"/>
                  <a:gd name="connsiteY59" fmla="*/ 116682 h 268365"/>
                  <a:gd name="connsiteX60" fmla="*/ 37117 w 281201"/>
                  <a:gd name="connsiteY60" fmla="*/ 122042 h 268365"/>
                  <a:gd name="connsiteX61" fmla="*/ 32742 w 281201"/>
                  <a:gd name="connsiteY61" fmla="*/ 125201 h 268365"/>
                  <a:gd name="connsiteX62" fmla="*/ 16748 w 281201"/>
                  <a:gd name="connsiteY62" fmla="*/ 133169 h 268365"/>
                  <a:gd name="connsiteX63" fmla="*/ 15878 w 281201"/>
                  <a:gd name="connsiteY63" fmla="*/ 133922 h 268365"/>
                  <a:gd name="connsiteX64" fmla="*/ 16748 w 281201"/>
                  <a:gd name="connsiteY64" fmla="*/ 134675 h 268365"/>
                  <a:gd name="connsiteX65" fmla="*/ 32916 w 281201"/>
                  <a:gd name="connsiteY65" fmla="*/ 142673 h 268365"/>
                  <a:gd name="connsiteX66" fmla="*/ 37320 w 281201"/>
                  <a:gd name="connsiteY66" fmla="*/ 145802 h 268365"/>
                  <a:gd name="connsiteX67" fmla="*/ 37870 w 281201"/>
                  <a:gd name="connsiteY67" fmla="*/ 151162 h 268365"/>
                  <a:gd name="connsiteX68" fmla="*/ 30627 w 281201"/>
                  <a:gd name="connsiteY68" fmla="*/ 172893 h 268365"/>
                  <a:gd name="connsiteX69" fmla="*/ 39116 w 281201"/>
                  <a:gd name="connsiteY69" fmla="*/ 170749 h 268365"/>
                  <a:gd name="connsiteX70" fmla="*/ 48765 w 281201"/>
                  <a:gd name="connsiteY70" fmla="*/ 148468 h 268365"/>
                  <a:gd name="connsiteX71" fmla="*/ 55255 w 281201"/>
                  <a:gd name="connsiteY71" fmla="*/ 144527 h 268365"/>
                  <a:gd name="connsiteX72" fmla="*/ 131923 w 281201"/>
                  <a:gd name="connsiteY72" fmla="*/ 149829 h 268365"/>
                  <a:gd name="connsiteX73" fmla="*/ 136849 w 281201"/>
                  <a:gd name="connsiteY73" fmla="*/ 152582 h 268365"/>
                  <a:gd name="connsiteX74" fmla="*/ 137805 w 281201"/>
                  <a:gd name="connsiteY74" fmla="*/ 158145 h 268365"/>
                  <a:gd name="connsiteX75" fmla="*/ 110134 w 281201"/>
                  <a:gd name="connsiteY75" fmla="*/ 255240 h 26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Lst>
                <a:rect l="l" t="t" r="r" b="b"/>
                <a:pathLst>
                  <a:path w="281201" h="268365">
                    <a:moveTo>
                      <a:pt x="131372" y="268366"/>
                    </a:moveTo>
                    <a:lnTo>
                      <a:pt x="101470" y="268366"/>
                    </a:lnTo>
                    <a:cubicBezTo>
                      <a:pt x="99413" y="268366"/>
                      <a:pt x="97472" y="267410"/>
                      <a:pt x="96226" y="265758"/>
                    </a:cubicBezTo>
                    <a:cubicBezTo>
                      <a:pt x="94980" y="264106"/>
                      <a:pt x="94603" y="261991"/>
                      <a:pt x="95154" y="260021"/>
                    </a:cubicBezTo>
                    <a:lnTo>
                      <a:pt x="122999" y="162433"/>
                    </a:lnTo>
                    <a:cubicBezTo>
                      <a:pt x="98631" y="160811"/>
                      <a:pt x="75161" y="159159"/>
                      <a:pt x="58993" y="158000"/>
                    </a:cubicBezTo>
                    <a:lnTo>
                      <a:pt x="49895" y="178978"/>
                    </a:lnTo>
                    <a:cubicBezTo>
                      <a:pt x="49084" y="180833"/>
                      <a:pt x="47461" y="182223"/>
                      <a:pt x="45491" y="182716"/>
                    </a:cubicBezTo>
                    <a:lnTo>
                      <a:pt x="22253" y="188598"/>
                    </a:lnTo>
                    <a:cubicBezTo>
                      <a:pt x="19935" y="189206"/>
                      <a:pt x="17472" y="188453"/>
                      <a:pt x="15849" y="186714"/>
                    </a:cubicBezTo>
                    <a:cubicBezTo>
                      <a:pt x="14227" y="184947"/>
                      <a:pt x="13676" y="182455"/>
                      <a:pt x="14430" y="180166"/>
                    </a:cubicBezTo>
                    <a:lnTo>
                      <a:pt x="23296" y="153567"/>
                    </a:lnTo>
                    <a:cubicBezTo>
                      <a:pt x="17849" y="151539"/>
                      <a:pt x="12720" y="148526"/>
                      <a:pt x="8200" y="144643"/>
                    </a:cubicBezTo>
                    <a:lnTo>
                      <a:pt x="2260" y="139514"/>
                    </a:lnTo>
                    <a:cubicBezTo>
                      <a:pt x="811" y="138268"/>
                      <a:pt x="0" y="136472"/>
                      <a:pt x="0" y="134560"/>
                    </a:cubicBezTo>
                    <a:lnTo>
                      <a:pt x="0" y="133401"/>
                    </a:lnTo>
                    <a:cubicBezTo>
                      <a:pt x="0" y="131488"/>
                      <a:pt x="840" y="129692"/>
                      <a:pt x="2260" y="128446"/>
                    </a:cubicBezTo>
                    <a:lnTo>
                      <a:pt x="8200" y="123317"/>
                    </a:lnTo>
                    <a:cubicBezTo>
                      <a:pt x="12662" y="119464"/>
                      <a:pt x="17704" y="116479"/>
                      <a:pt x="23093" y="114451"/>
                    </a:cubicBezTo>
                    <a:lnTo>
                      <a:pt x="14430" y="88460"/>
                    </a:lnTo>
                    <a:cubicBezTo>
                      <a:pt x="13676" y="86200"/>
                      <a:pt x="14227" y="83680"/>
                      <a:pt x="15849" y="81912"/>
                    </a:cubicBezTo>
                    <a:cubicBezTo>
                      <a:pt x="17472" y="80145"/>
                      <a:pt x="19935" y="79420"/>
                      <a:pt x="22253" y="80000"/>
                    </a:cubicBezTo>
                    <a:lnTo>
                      <a:pt x="45491" y="85882"/>
                    </a:lnTo>
                    <a:cubicBezTo>
                      <a:pt x="47461" y="86374"/>
                      <a:pt x="49084" y="87765"/>
                      <a:pt x="49895" y="89619"/>
                    </a:cubicBezTo>
                    <a:lnTo>
                      <a:pt x="58703" y="109960"/>
                    </a:lnTo>
                    <a:cubicBezTo>
                      <a:pt x="74871" y="108801"/>
                      <a:pt x="98399" y="107149"/>
                      <a:pt x="122883" y="105527"/>
                    </a:cubicBezTo>
                    <a:lnTo>
                      <a:pt x="95154" y="8345"/>
                    </a:lnTo>
                    <a:cubicBezTo>
                      <a:pt x="94574" y="6375"/>
                      <a:pt x="94980" y="4230"/>
                      <a:pt x="96226" y="2608"/>
                    </a:cubicBezTo>
                    <a:cubicBezTo>
                      <a:pt x="97472" y="956"/>
                      <a:pt x="99413" y="0"/>
                      <a:pt x="101470" y="0"/>
                    </a:cubicBezTo>
                    <a:lnTo>
                      <a:pt x="131372" y="0"/>
                    </a:lnTo>
                    <a:cubicBezTo>
                      <a:pt x="133777" y="0"/>
                      <a:pt x="136008" y="1333"/>
                      <a:pt x="137138" y="3448"/>
                    </a:cubicBezTo>
                    <a:lnTo>
                      <a:pt x="189641" y="101296"/>
                    </a:lnTo>
                    <a:cubicBezTo>
                      <a:pt x="208069" y="100224"/>
                      <a:pt x="219978" y="99703"/>
                      <a:pt x="226004" y="99645"/>
                    </a:cubicBezTo>
                    <a:cubicBezTo>
                      <a:pt x="256399" y="99732"/>
                      <a:pt x="278942" y="128736"/>
                      <a:pt x="279869" y="129982"/>
                    </a:cubicBezTo>
                    <a:cubicBezTo>
                      <a:pt x="281665" y="132329"/>
                      <a:pt x="281636" y="135603"/>
                      <a:pt x="279840" y="137950"/>
                    </a:cubicBezTo>
                    <a:cubicBezTo>
                      <a:pt x="278884" y="139196"/>
                      <a:pt x="256254" y="168286"/>
                      <a:pt x="226323" y="168286"/>
                    </a:cubicBezTo>
                    <a:cubicBezTo>
                      <a:pt x="226207" y="168286"/>
                      <a:pt x="226091" y="168286"/>
                      <a:pt x="226004" y="168286"/>
                    </a:cubicBezTo>
                    <a:cubicBezTo>
                      <a:pt x="220093" y="168257"/>
                      <a:pt x="207924" y="167707"/>
                      <a:pt x="189873" y="166664"/>
                    </a:cubicBezTo>
                    <a:lnTo>
                      <a:pt x="137138" y="264918"/>
                    </a:lnTo>
                    <a:cubicBezTo>
                      <a:pt x="136008" y="267033"/>
                      <a:pt x="133777" y="268366"/>
                      <a:pt x="131372" y="268366"/>
                    </a:cubicBezTo>
                    <a:close/>
                    <a:moveTo>
                      <a:pt x="110134" y="255240"/>
                    </a:moveTo>
                    <a:lnTo>
                      <a:pt x="127432" y="255240"/>
                    </a:lnTo>
                    <a:lnTo>
                      <a:pt x="180282" y="156754"/>
                    </a:lnTo>
                    <a:cubicBezTo>
                      <a:pt x="181499" y="154494"/>
                      <a:pt x="183875" y="153104"/>
                      <a:pt x="186454" y="153306"/>
                    </a:cubicBezTo>
                    <a:cubicBezTo>
                      <a:pt x="206620" y="154494"/>
                      <a:pt x="219949" y="155103"/>
                      <a:pt x="226091" y="155161"/>
                    </a:cubicBezTo>
                    <a:cubicBezTo>
                      <a:pt x="226178" y="155161"/>
                      <a:pt x="226236" y="155161"/>
                      <a:pt x="226323" y="155161"/>
                    </a:cubicBezTo>
                    <a:cubicBezTo>
                      <a:pt x="244085" y="155161"/>
                      <a:pt x="259412" y="141021"/>
                      <a:pt x="265990" y="133951"/>
                    </a:cubicBezTo>
                    <a:cubicBezTo>
                      <a:pt x="259412" y="126852"/>
                      <a:pt x="243766" y="112626"/>
                      <a:pt x="226091" y="112741"/>
                    </a:cubicBezTo>
                    <a:cubicBezTo>
                      <a:pt x="219949" y="112770"/>
                      <a:pt x="206533" y="113408"/>
                      <a:pt x="186222" y="114596"/>
                    </a:cubicBezTo>
                    <a:cubicBezTo>
                      <a:pt x="183585" y="114799"/>
                      <a:pt x="181267" y="113408"/>
                      <a:pt x="180050" y="111148"/>
                    </a:cubicBezTo>
                    <a:lnTo>
                      <a:pt x="127432" y="13068"/>
                    </a:lnTo>
                    <a:lnTo>
                      <a:pt x="110134" y="13068"/>
                    </a:lnTo>
                    <a:lnTo>
                      <a:pt x="137689" y="109699"/>
                    </a:lnTo>
                    <a:cubicBezTo>
                      <a:pt x="138239" y="111611"/>
                      <a:pt x="137892" y="113640"/>
                      <a:pt x="136762" y="115262"/>
                    </a:cubicBezTo>
                    <a:cubicBezTo>
                      <a:pt x="135632" y="116885"/>
                      <a:pt x="133806" y="117899"/>
                      <a:pt x="131836" y="118015"/>
                    </a:cubicBezTo>
                    <a:cubicBezTo>
                      <a:pt x="102079" y="119985"/>
                      <a:pt x="72669" y="122071"/>
                      <a:pt x="54994" y="123317"/>
                    </a:cubicBezTo>
                    <a:cubicBezTo>
                      <a:pt x="52213" y="123491"/>
                      <a:pt x="49605" y="121927"/>
                      <a:pt x="48504" y="119377"/>
                    </a:cubicBezTo>
                    <a:lnTo>
                      <a:pt x="39116" y="97732"/>
                    </a:lnTo>
                    <a:lnTo>
                      <a:pt x="30627" y="95588"/>
                    </a:lnTo>
                    <a:lnTo>
                      <a:pt x="37667" y="116682"/>
                    </a:lnTo>
                    <a:cubicBezTo>
                      <a:pt x="38247" y="118450"/>
                      <a:pt x="38073" y="120420"/>
                      <a:pt x="37117" y="122042"/>
                    </a:cubicBezTo>
                    <a:cubicBezTo>
                      <a:pt x="36190" y="123665"/>
                      <a:pt x="34596" y="124824"/>
                      <a:pt x="32742" y="125201"/>
                    </a:cubicBezTo>
                    <a:cubicBezTo>
                      <a:pt x="26918" y="126389"/>
                      <a:pt x="21413" y="129141"/>
                      <a:pt x="16748" y="133169"/>
                    </a:cubicBezTo>
                    <a:lnTo>
                      <a:pt x="15878" y="133922"/>
                    </a:lnTo>
                    <a:lnTo>
                      <a:pt x="16748" y="134675"/>
                    </a:lnTo>
                    <a:cubicBezTo>
                      <a:pt x="21441" y="138732"/>
                      <a:pt x="27034" y="141514"/>
                      <a:pt x="32916" y="142673"/>
                    </a:cubicBezTo>
                    <a:cubicBezTo>
                      <a:pt x="34770" y="143049"/>
                      <a:pt x="36364" y="144179"/>
                      <a:pt x="37320" y="145802"/>
                    </a:cubicBezTo>
                    <a:cubicBezTo>
                      <a:pt x="38276" y="147424"/>
                      <a:pt x="38479" y="149395"/>
                      <a:pt x="37870" y="151162"/>
                    </a:cubicBezTo>
                    <a:lnTo>
                      <a:pt x="30627" y="172893"/>
                    </a:lnTo>
                    <a:lnTo>
                      <a:pt x="39116" y="170749"/>
                    </a:lnTo>
                    <a:lnTo>
                      <a:pt x="48765" y="148468"/>
                    </a:lnTo>
                    <a:cubicBezTo>
                      <a:pt x="49866" y="145918"/>
                      <a:pt x="52445" y="144353"/>
                      <a:pt x="55255" y="144527"/>
                    </a:cubicBezTo>
                    <a:cubicBezTo>
                      <a:pt x="72988" y="145802"/>
                      <a:pt x="102310" y="147859"/>
                      <a:pt x="131923" y="149829"/>
                    </a:cubicBezTo>
                    <a:cubicBezTo>
                      <a:pt x="133893" y="149974"/>
                      <a:pt x="135719" y="150988"/>
                      <a:pt x="136849" y="152582"/>
                    </a:cubicBezTo>
                    <a:cubicBezTo>
                      <a:pt x="137979" y="154205"/>
                      <a:pt x="138326" y="156262"/>
                      <a:pt x="137805" y="158145"/>
                    </a:cubicBezTo>
                    <a:lnTo>
                      <a:pt x="110134" y="255240"/>
                    </a:lnTo>
                    <a:close/>
                  </a:path>
                </a:pathLst>
              </a:custGeom>
              <a:grpFill/>
              <a:ln w="2891" cap="flat">
                <a:noFill/>
                <a:prstDash val="solid"/>
                <a:miter/>
              </a:ln>
            </p:spPr>
            <p:txBody>
              <a:bodyPr rtlCol="0" anchor="ctr"/>
              <a:lstStyle/>
              <a:p>
                <a:endParaRPr lang="en-GB" dirty="0"/>
              </a:p>
            </p:txBody>
          </p:sp>
          <p:sp>
            <p:nvSpPr>
              <p:cNvPr id="350" name="Freihandform: Form 834">
                <a:extLst>
                  <a:ext uri="{FF2B5EF4-FFF2-40B4-BE49-F238E27FC236}">
                    <a16:creationId xmlns:a16="http://schemas.microsoft.com/office/drawing/2014/main" id="{B29D21D8-F42C-4BD6-AFDA-6401B7FEA1BC}"/>
                  </a:ext>
                </a:extLst>
              </p:cNvPr>
              <p:cNvSpPr/>
              <p:nvPr/>
            </p:nvSpPr>
            <p:spPr>
              <a:xfrm>
                <a:off x="6450681" y="2596129"/>
                <a:ext cx="67677" cy="16558"/>
              </a:xfrm>
              <a:custGeom>
                <a:avLst/>
                <a:gdLst>
                  <a:gd name="connsiteX0" fmla="*/ 61119 w 67677"/>
                  <a:gd name="connsiteY0" fmla="*/ 16558 h 16558"/>
                  <a:gd name="connsiteX1" fmla="*/ 60713 w 67677"/>
                  <a:gd name="connsiteY1" fmla="*/ 16558 h 16558"/>
                  <a:gd name="connsiteX2" fmla="*/ 6153 w 67677"/>
                  <a:gd name="connsiteY2" fmla="*/ 13110 h 16558"/>
                  <a:gd name="connsiteX3" fmla="*/ 11 w 67677"/>
                  <a:gd name="connsiteY3" fmla="*/ 6156 h 16558"/>
                  <a:gd name="connsiteX4" fmla="*/ 6965 w 67677"/>
                  <a:gd name="connsiteY4" fmla="*/ 14 h 16558"/>
                  <a:gd name="connsiteX5" fmla="*/ 61524 w 67677"/>
                  <a:gd name="connsiteY5" fmla="*/ 3462 h 16558"/>
                  <a:gd name="connsiteX6" fmla="*/ 67667 w 67677"/>
                  <a:gd name="connsiteY6" fmla="*/ 10416 h 16558"/>
                  <a:gd name="connsiteX7" fmla="*/ 61119 w 67677"/>
                  <a:gd name="connsiteY7" fmla="*/ 16558 h 16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77" h="16558">
                    <a:moveTo>
                      <a:pt x="61119" y="16558"/>
                    </a:moveTo>
                    <a:cubicBezTo>
                      <a:pt x="60974" y="16558"/>
                      <a:pt x="60829" y="16558"/>
                      <a:pt x="60713" y="16558"/>
                    </a:cubicBezTo>
                    <a:lnTo>
                      <a:pt x="6153" y="13110"/>
                    </a:lnTo>
                    <a:cubicBezTo>
                      <a:pt x="2531" y="12878"/>
                      <a:pt x="-192" y="9778"/>
                      <a:pt x="11" y="6156"/>
                    </a:cubicBezTo>
                    <a:cubicBezTo>
                      <a:pt x="242" y="2534"/>
                      <a:pt x="3372" y="-218"/>
                      <a:pt x="6965" y="14"/>
                    </a:cubicBezTo>
                    <a:lnTo>
                      <a:pt x="61524" y="3462"/>
                    </a:lnTo>
                    <a:cubicBezTo>
                      <a:pt x="65146" y="3693"/>
                      <a:pt x="67870" y="6794"/>
                      <a:pt x="67667" y="10416"/>
                    </a:cubicBezTo>
                    <a:cubicBezTo>
                      <a:pt x="67435" y="13893"/>
                      <a:pt x="64538" y="16558"/>
                      <a:pt x="61119" y="16558"/>
                    </a:cubicBezTo>
                    <a:close/>
                  </a:path>
                </a:pathLst>
              </a:custGeom>
              <a:grpFill/>
              <a:ln w="2891" cap="flat">
                <a:noFill/>
                <a:prstDash val="solid"/>
                <a:miter/>
              </a:ln>
            </p:spPr>
            <p:txBody>
              <a:bodyPr rtlCol="0" anchor="ctr"/>
              <a:lstStyle/>
              <a:p>
                <a:endParaRPr lang="en-GB" dirty="0"/>
              </a:p>
            </p:txBody>
          </p:sp>
          <p:sp>
            <p:nvSpPr>
              <p:cNvPr id="351" name="Freihandform: Form 835">
                <a:extLst>
                  <a:ext uri="{FF2B5EF4-FFF2-40B4-BE49-F238E27FC236}">
                    <a16:creationId xmlns:a16="http://schemas.microsoft.com/office/drawing/2014/main" id="{ED144C99-1D8D-4459-BF4D-E5B9C1B6A7B5}"/>
                  </a:ext>
                </a:extLst>
              </p:cNvPr>
              <p:cNvSpPr/>
              <p:nvPr/>
            </p:nvSpPr>
            <p:spPr>
              <a:xfrm>
                <a:off x="6350818" y="2588844"/>
                <a:ext cx="36270" cy="15092"/>
              </a:xfrm>
              <a:custGeom>
                <a:avLst/>
                <a:gdLst>
                  <a:gd name="connsiteX0" fmla="*/ 29696 w 36270"/>
                  <a:gd name="connsiteY0" fmla="*/ 15093 h 15092"/>
                  <a:gd name="connsiteX1" fmla="*/ 29146 w 36270"/>
                  <a:gd name="connsiteY1" fmla="*/ 15064 h 15092"/>
                  <a:gd name="connsiteX2" fmla="*/ 5995 w 36270"/>
                  <a:gd name="connsiteY2" fmla="*/ 13094 h 15092"/>
                  <a:gd name="connsiteX3" fmla="*/ 26 w 36270"/>
                  <a:gd name="connsiteY3" fmla="*/ 5995 h 15092"/>
                  <a:gd name="connsiteX4" fmla="*/ 7125 w 36270"/>
                  <a:gd name="connsiteY4" fmla="*/ 26 h 15092"/>
                  <a:gd name="connsiteX5" fmla="*/ 30276 w 36270"/>
                  <a:gd name="connsiteY5" fmla="*/ 1996 h 15092"/>
                  <a:gd name="connsiteX6" fmla="*/ 36245 w 36270"/>
                  <a:gd name="connsiteY6" fmla="*/ 9095 h 15092"/>
                  <a:gd name="connsiteX7" fmla="*/ 29696 w 36270"/>
                  <a:gd name="connsiteY7" fmla="*/ 15093 h 15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270" h="15092">
                    <a:moveTo>
                      <a:pt x="29696" y="15093"/>
                    </a:moveTo>
                    <a:cubicBezTo>
                      <a:pt x="29522" y="15093"/>
                      <a:pt x="29319" y="15093"/>
                      <a:pt x="29146" y="15064"/>
                    </a:cubicBezTo>
                    <a:lnTo>
                      <a:pt x="5995" y="13094"/>
                    </a:lnTo>
                    <a:cubicBezTo>
                      <a:pt x="2373" y="12775"/>
                      <a:pt x="-293" y="9617"/>
                      <a:pt x="26" y="5995"/>
                    </a:cubicBezTo>
                    <a:cubicBezTo>
                      <a:pt x="345" y="2373"/>
                      <a:pt x="3503" y="-293"/>
                      <a:pt x="7125" y="26"/>
                    </a:cubicBezTo>
                    <a:lnTo>
                      <a:pt x="30276" y="1996"/>
                    </a:lnTo>
                    <a:cubicBezTo>
                      <a:pt x="33898" y="2315"/>
                      <a:pt x="36563" y="5473"/>
                      <a:pt x="36245" y="9095"/>
                    </a:cubicBezTo>
                    <a:cubicBezTo>
                      <a:pt x="35955" y="12514"/>
                      <a:pt x="33086" y="15093"/>
                      <a:pt x="29696" y="15093"/>
                    </a:cubicBezTo>
                    <a:close/>
                  </a:path>
                </a:pathLst>
              </a:custGeom>
              <a:grpFill/>
              <a:ln w="2891" cap="flat">
                <a:noFill/>
                <a:prstDash val="solid"/>
                <a:miter/>
              </a:ln>
            </p:spPr>
            <p:txBody>
              <a:bodyPr rtlCol="0" anchor="ctr"/>
              <a:lstStyle/>
              <a:p>
                <a:endParaRPr lang="en-GB" dirty="0"/>
              </a:p>
            </p:txBody>
          </p:sp>
          <p:sp>
            <p:nvSpPr>
              <p:cNvPr id="352" name="Freihandform: Form 836">
                <a:extLst>
                  <a:ext uri="{FF2B5EF4-FFF2-40B4-BE49-F238E27FC236}">
                    <a16:creationId xmlns:a16="http://schemas.microsoft.com/office/drawing/2014/main" id="{1174F930-4474-4F6F-8D70-072B82907D84}"/>
                  </a:ext>
                </a:extLst>
              </p:cNvPr>
              <p:cNvSpPr/>
              <p:nvPr/>
            </p:nvSpPr>
            <p:spPr>
              <a:xfrm>
                <a:off x="6350471" y="2556628"/>
                <a:ext cx="36269" cy="15088"/>
              </a:xfrm>
              <a:custGeom>
                <a:avLst/>
                <a:gdLst>
                  <a:gd name="connsiteX0" fmla="*/ 6545 w 36269"/>
                  <a:gd name="connsiteY0" fmla="*/ 15089 h 15088"/>
                  <a:gd name="connsiteX1" fmla="*/ 26 w 36269"/>
                  <a:gd name="connsiteY1" fmla="*/ 9091 h 15088"/>
                  <a:gd name="connsiteX2" fmla="*/ 5994 w 36269"/>
                  <a:gd name="connsiteY2" fmla="*/ 1992 h 15088"/>
                  <a:gd name="connsiteX3" fmla="*/ 29145 w 36269"/>
                  <a:gd name="connsiteY3" fmla="*/ 22 h 15088"/>
                  <a:gd name="connsiteX4" fmla="*/ 36244 w 36269"/>
                  <a:gd name="connsiteY4" fmla="*/ 5990 h 15088"/>
                  <a:gd name="connsiteX5" fmla="*/ 30275 w 36269"/>
                  <a:gd name="connsiteY5" fmla="*/ 13089 h 15088"/>
                  <a:gd name="connsiteX6" fmla="*/ 7124 w 36269"/>
                  <a:gd name="connsiteY6" fmla="*/ 15060 h 15088"/>
                  <a:gd name="connsiteX7" fmla="*/ 6545 w 36269"/>
                  <a:gd name="connsiteY7" fmla="*/ 15089 h 150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269" h="15088">
                    <a:moveTo>
                      <a:pt x="6545" y="15089"/>
                    </a:moveTo>
                    <a:cubicBezTo>
                      <a:pt x="3184" y="15089"/>
                      <a:pt x="315" y="12510"/>
                      <a:pt x="26" y="9091"/>
                    </a:cubicBezTo>
                    <a:cubicBezTo>
                      <a:pt x="-293" y="5469"/>
                      <a:pt x="2401" y="2311"/>
                      <a:pt x="5994" y="1992"/>
                    </a:cubicBezTo>
                    <a:lnTo>
                      <a:pt x="29145" y="22"/>
                    </a:lnTo>
                    <a:cubicBezTo>
                      <a:pt x="32738" y="-268"/>
                      <a:pt x="35925" y="2398"/>
                      <a:pt x="36244" y="5990"/>
                    </a:cubicBezTo>
                    <a:cubicBezTo>
                      <a:pt x="36563" y="9612"/>
                      <a:pt x="33868" y="12771"/>
                      <a:pt x="30275" y="13089"/>
                    </a:cubicBezTo>
                    <a:lnTo>
                      <a:pt x="7124" y="15060"/>
                    </a:lnTo>
                    <a:cubicBezTo>
                      <a:pt x="6922" y="15089"/>
                      <a:pt x="6719" y="15089"/>
                      <a:pt x="6545" y="15089"/>
                    </a:cubicBezTo>
                    <a:close/>
                  </a:path>
                </a:pathLst>
              </a:custGeom>
              <a:grpFill/>
              <a:ln w="2891" cap="flat">
                <a:noFill/>
                <a:prstDash val="solid"/>
                <a:miter/>
              </a:ln>
            </p:spPr>
            <p:txBody>
              <a:bodyPr rtlCol="0" anchor="ctr"/>
              <a:lstStyle/>
              <a:p>
                <a:endParaRPr lang="en-GB" dirty="0"/>
              </a:p>
            </p:txBody>
          </p:sp>
          <p:sp>
            <p:nvSpPr>
              <p:cNvPr id="353" name="Freihandform: Form 837">
                <a:extLst>
                  <a:ext uri="{FF2B5EF4-FFF2-40B4-BE49-F238E27FC236}">
                    <a16:creationId xmlns:a16="http://schemas.microsoft.com/office/drawing/2014/main" id="{001A39A4-5646-4A5B-9098-4C781D32EAFA}"/>
                  </a:ext>
                </a:extLst>
              </p:cNvPr>
              <p:cNvSpPr/>
              <p:nvPr/>
            </p:nvSpPr>
            <p:spPr>
              <a:xfrm>
                <a:off x="6450939" y="2547796"/>
                <a:ext cx="67683" cy="16561"/>
              </a:xfrm>
              <a:custGeom>
                <a:avLst/>
                <a:gdLst>
                  <a:gd name="connsiteX0" fmla="*/ 6562 w 67683"/>
                  <a:gd name="connsiteY0" fmla="*/ 16562 h 16561"/>
                  <a:gd name="connsiteX1" fmla="*/ 14 w 67683"/>
                  <a:gd name="connsiteY1" fmla="*/ 10419 h 16561"/>
                  <a:gd name="connsiteX2" fmla="*/ 6156 w 67683"/>
                  <a:gd name="connsiteY2" fmla="*/ 3465 h 16561"/>
                  <a:gd name="connsiteX3" fmla="*/ 60716 w 67683"/>
                  <a:gd name="connsiteY3" fmla="*/ 17 h 16561"/>
                  <a:gd name="connsiteX4" fmla="*/ 67670 w 67683"/>
                  <a:gd name="connsiteY4" fmla="*/ 6160 h 16561"/>
                  <a:gd name="connsiteX5" fmla="*/ 61527 w 67683"/>
                  <a:gd name="connsiteY5" fmla="*/ 13114 h 16561"/>
                  <a:gd name="connsiteX6" fmla="*/ 6968 w 67683"/>
                  <a:gd name="connsiteY6" fmla="*/ 16562 h 16561"/>
                  <a:gd name="connsiteX7" fmla="*/ 6562 w 67683"/>
                  <a:gd name="connsiteY7" fmla="*/ 16562 h 16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83" h="16561">
                    <a:moveTo>
                      <a:pt x="6562" y="16562"/>
                    </a:moveTo>
                    <a:cubicBezTo>
                      <a:pt x="3143" y="16562"/>
                      <a:pt x="245" y="13896"/>
                      <a:pt x="14" y="10419"/>
                    </a:cubicBezTo>
                    <a:cubicBezTo>
                      <a:pt x="-218" y="6797"/>
                      <a:pt x="2534" y="3697"/>
                      <a:pt x="6156" y="3465"/>
                    </a:cubicBezTo>
                    <a:lnTo>
                      <a:pt x="60716" y="17"/>
                    </a:lnTo>
                    <a:cubicBezTo>
                      <a:pt x="64280" y="-244"/>
                      <a:pt x="67438" y="2538"/>
                      <a:pt x="67670" y="6160"/>
                    </a:cubicBezTo>
                    <a:cubicBezTo>
                      <a:pt x="67902" y="9781"/>
                      <a:pt x="65149" y="12882"/>
                      <a:pt x="61527" y="13114"/>
                    </a:cubicBezTo>
                    <a:lnTo>
                      <a:pt x="6968" y="16562"/>
                    </a:lnTo>
                    <a:cubicBezTo>
                      <a:pt x="6823" y="16562"/>
                      <a:pt x="6707" y="16562"/>
                      <a:pt x="6562" y="16562"/>
                    </a:cubicBezTo>
                    <a:close/>
                  </a:path>
                </a:pathLst>
              </a:custGeom>
              <a:grpFill/>
              <a:ln w="2891" cap="flat">
                <a:noFill/>
                <a:prstDash val="solid"/>
                <a:miter/>
              </a:ln>
            </p:spPr>
            <p:txBody>
              <a:bodyPr rtlCol="0" anchor="ctr"/>
              <a:lstStyle/>
              <a:p>
                <a:endParaRPr lang="en-GB" dirty="0"/>
              </a:p>
            </p:txBody>
          </p:sp>
        </p:grpSp>
        <p:grpSp>
          <p:nvGrpSpPr>
            <p:cNvPr id="345" name="Grafik 219">
              <a:extLst>
                <a:ext uri="{FF2B5EF4-FFF2-40B4-BE49-F238E27FC236}">
                  <a16:creationId xmlns:a16="http://schemas.microsoft.com/office/drawing/2014/main" id="{52C1E97C-C8F2-4F88-BFA1-9C1B1F9D4035}"/>
                </a:ext>
              </a:extLst>
            </p:cNvPr>
            <p:cNvGrpSpPr/>
            <p:nvPr/>
          </p:nvGrpSpPr>
          <p:grpSpPr>
            <a:xfrm>
              <a:off x="2669048" y="4164603"/>
              <a:ext cx="431740" cy="307490"/>
              <a:chOff x="6175227" y="2571108"/>
              <a:chExt cx="432827" cy="308264"/>
            </a:xfrm>
            <a:solidFill>
              <a:schemeClr val="accent1"/>
            </a:solidFill>
          </p:grpSpPr>
          <p:sp>
            <p:nvSpPr>
              <p:cNvPr id="346" name="Freihandform: Form 839">
                <a:extLst>
                  <a:ext uri="{FF2B5EF4-FFF2-40B4-BE49-F238E27FC236}">
                    <a16:creationId xmlns:a16="http://schemas.microsoft.com/office/drawing/2014/main" id="{FFDAA782-F131-4335-B4A6-C4BE5F45F9A4}"/>
                  </a:ext>
                </a:extLst>
              </p:cNvPr>
              <p:cNvSpPr/>
              <p:nvPr/>
            </p:nvSpPr>
            <p:spPr>
              <a:xfrm>
                <a:off x="6270322" y="2571137"/>
                <a:ext cx="36044" cy="13096"/>
              </a:xfrm>
              <a:custGeom>
                <a:avLst/>
                <a:gdLst>
                  <a:gd name="connsiteX0" fmla="*/ 29496 w 36044"/>
                  <a:gd name="connsiteY0" fmla="*/ 13097 h 13096"/>
                  <a:gd name="connsiteX1" fmla="*/ 6548 w 36044"/>
                  <a:gd name="connsiteY1" fmla="*/ 13097 h 13096"/>
                  <a:gd name="connsiteX2" fmla="*/ 0 w 36044"/>
                  <a:gd name="connsiteY2" fmla="*/ 6548 h 13096"/>
                  <a:gd name="connsiteX3" fmla="*/ 6548 w 36044"/>
                  <a:gd name="connsiteY3" fmla="*/ 0 h 13096"/>
                  <a:gd name="connsiteX4" fmla="*/ 29496 w 36044"/>
                  <a:gd name="connsiteY4" fmla="*/ 0 h 13096"/>
                  <a:gd name="connsiteX5" fmla="*/ 36045 w 36044"/>
                  <a:gd name="connsiteY5" fmla="*/ 6548 h 13096"/>
                  <a:gd name="connsiteX6" fmla="*/ 29496 w 36044"/>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44" h="13096">
                    <a:moveTo>
                      <a:pt x="29496" y="13097"/>
                    </a:moveTo>
                    <a:lnTo>
                      <a:pt x="6548" y="13097"/>
                    </a:lnTo>
                    <a:cubicBezTo>
                      <a:pt x="2926" y="13097"/>
                      <a:pt x="0" y="10170"/>
                      <a:pt x="0" y="6548"/>
                    </a:cubicBezTo>
                    <a:cubicBezTo>
                      <a:pt x="0" y="2926"/>
                      <a:pt x="2926" y="0"/>
                      <a:pt x="6548" y="0"/>
                    </a:cubicBezTo>
                    <a:lnTo>
                      <a:pt x="29496" y="0"/>
                    </a:lnTo>
                    <a:cubicBezTo>
                      <a:pt x="33118" y="0"/>
                      <a:pt x="36045" y="2926"/>
                      <a:pt x="36045" y="6548"/>
                    </a:cubicBezTo>
                    <a:cubicBezTo>
                      <a:pt x="36045" y="10170"/>
                      <a:pt x="33118" y="13097"/>
                      <a:pt x="29496" y="13097"/>
                    </a:cubicBezTo>
                    <a:close/>
                  </a:path>
                </a:pathLst>
              </a:custGeom>
              <a:solidFill>
                <a:schemeClr val="accent1"/>
              </a:solidFill>
              <a:ln w="2891" cap="flat">
                <a:noFill/>
                <a:prstDash val="solid"/>
                <a:miter/>
              </a:ln>
            </p:spPr>
            <p:txBody>
              <a:bodyPr rtlCol="0" anchor="ctr"/>
              <a:lstStyle/>
              <a:p>
                <a:endParaRPr lang="en-GB" dirty="0"/>
              </a:p>
            </p:txBody>
          </p:sp>
          <p:sp>
            <p:nvSpPr>
              <p:cNvPr id="347" name="Freihandform: Form 840">
                <a:extLst>
                  <a:ext uri="{FF2B5EF4-FFF2-40B4-BE49-F238E27FC236}">
                    <a16:creationId xmlns:a16="http://schemas.microsoft.com/office/drawing/2014/main" id="{17CCDCA3-CFBD-4861-B45B-40330DFFACE4}"/>
                  </a:ext>
                </a:extLst>
              </p:cNvPr>
              <p:cNvSpPr/>
              <p:nvPr/>
            </p:nvSpPr>
            <p:spPr>
              <a:xfrm>
                <a:off x="6175227" y="2571108"/>
                <a:ext cx="432827" cy="308264"/>
              </a:xfrm>
              <a:custGeom>
                <a:avLst/>
                <a:gdLst>
                  <a:gd name="connsiteX0" fmla="*/ 413153 w 432827"/>
                  <a:gd name="connsiteY0" fmla="*/ 308264 h 308264"/>
                  <a:gd name="connsiteX1" fmla="*/ 384294 w 432827"/>
                  <a:gd name="connsiteY1" fmla="*/ 308264 h 308264"/>
                  <a:gd name="connsiteX2" fmla="*/ 377746 w 432827"/>
                  <a:gd name="connsiteY2" fmla="*/ 301716 h 308264"/>
                  <a:gd name="connsiteX3" fmla="*/ 384294 w 432827"/>
                  <a:gd name="connsiteY3" fmla="*/ 295168 h 308264"/>
                  <a:gd name="connsiteX4" fmla="*/ 413153 w 432827"/>
                  <a:gd name="connsiteY4" fmla="*/ 295168 h 308264"/>
                  <a:gd name="connsiteX5" fmla="*/ 419499 w 432827"/>
                  <a:gd name="connsiteY5" fmla="*/ 290271 h 308264"/>
                  <a:gd name="connsiteX6" fmla="*/ 427496 w 432827"/>
                  <a:gd name="connsiteY6" fmla="*/ 285606 h 308264"/>
                  <a:gd name="connsiteX7" fmla="*/ 432161 w 432827"/>
                  <a:gd name="connsiteY7" fmla="*/ 293603 h 308264"/>
                  <a:gd name="connsiteX8" fmla="*/ 413153 w 432827"/>
                  <a:gd name="connsiteY8" fmla="*/ 308264 h 308264"/>
                  <a:gd name="connsiteX9" fmla="*/ 338224 w 432827"/>
                  <a:gd name="connsiteY9" fmla="*/ 308264 h 308264"/>
                  <a:gd name="connsiteX10" fmla="*/ 292154 w 432827"/>
                  <a:gd name="connsiteY10" fmla="*/ 308264 h 308264"/>
                  <a:gd name="connsiteX11" fmla="*/ 285606 w 432827"/>
                  <a:gd name="connsiteY11" fmla="*/ 301716 h 308264"/>
                  <a:gd name="connsiteX12" fmla="*/ 292154 w 432827"/>
                  <a:gd name="connsiteY12" fmla="*/ 295168 h 308264"/>
                  <a:gd name="connsiteX13" fmla="*/ 338224 w 432827"/>
                  <a:gd name="connsiteY13" fmla="*/ 295168 h 308264"/>
                  <a:gd name="connsiteX14" fmla="*/ 344773 w 432827"/>
                  <a:gd name="connsiteY14" fmla="*/ 301716 h 308264"/>
                  <a:gd name="connsiteX15" fmla="*/ 338224 w 432827"/>
                  <a:gd name="connsiteY15" fmla="*/ 308264 h 308264"/>
                  <a:gd name="connsiteX16" fmla="*/ 426279 w 432827"/>
                  <a:gd name="connsiteY16" fmla="*/ 252430 h 308264"/>
                  <a:gd name="connsiteX17" fmla="*/ 419731 w 432827"/>
                  <a:gd name="connsiteY17" fmla="*/ 245881 h 308264"/>
                  <a:gd name="connsiteX18" fmla="*/ 419731 w 432827"/>
                  <a:gd name="connsiteY18" fmla="*/ 199811 h 308264"/>
                  <a:gd name="connsiteX19" fmla="*/ 426279 w 432827"/>
                  <a:gd name="connsiteY19" fmla="*/ 193263 h 308264"/>
                  <a:gd name="connsiteX20" fmla="*/ 432827 w 432827"/>
                  <a:gd name="connsiteY20" fmla="*/ 199811 h 308264"/>
                  <a:gd name="connsiteX21" fmla="*/ 432827 w 432827"/>
                  <a:gd name="connsiteY21" fmla="*/ 245881 h 308264"/>
                  <a:gd name="connsiteX22" fmla="*/ 426279 w 432827"/>
                  <a:gd name="connsiteY22" fmla="*/ 252430 h 308264"/>
                  <a:gd name="connsiteX23" fmla="*/ 206417 w 432827"/>
                  <a:gd name="connsiteY23" fmla="*/ 190220 h 308264"/>
                  <a:gd name="connsiteX24" fmla="*/ 160347 w 432827"/>
                  <a:gd name="connsiteY24" fmla="*/ 190220 h 308264"/>
                  <a:gd name="connsiteX25" fmla="*/ 153799 w 432827"/>
                  <a:gd name="connsiteY25" fmla="*/ 183672 h 308264"/>
                  <a:gd name="connsiteX26" fmla="*/ 160347 w 432827"/>
                  <a:gd name="connsiteY26" fmla="*/ 177124 h 308264"/>
                  <a:gd name="connsiteX27" fmla="*/ 206417 w 432827"/>
                  <a:gd name="connsiteY27" fmla="*/ 177124 h 308264"/>
                  <a:gd name="connsiteX28" fmla="*/ 212966 w 432827"/>
                  <a:gd name="connsiteY28" fmla="*/ 183672 h 308264"/>
                  <a:gd name="connsiteX29" fmla="*/ 206417 w 432827"/>
                  <a:gd name="connsiteY29" fmla="*/ 190220 h 308264"/>
                  <a:gd name="connsiteX30" fmla="*/ 114248 w 432827"/>
                  <a:gd name="connsiteY30" fmla="*/ 190220 h 308264"/>
                  <a:gd name="connsiteX31" fmla="*/ 68178 w 432827"/>
                  <a:gd name="connsiteY31" fmla="*/ 190220 h 308264"/>
                  <a:gd name="connsiteX32" fmla="*/ 61630 w 432827"/>
                  <a:gd name="connsiteY32" fmla="*/ 183672 h 308264"/>
                  <a:gd name="connsiteX33" fmla="*/ 68178 w 432827"/>
                  <a:gd name="connsiteY33" fmla="*/ 177124 h 308264"/>
                  <a:gd name="connsiteX34" fmla="*/ 114248 w 432827"/>
                  <a:gd name="connsiteY34" fmla="*/ 177124 h 308264"/>
                  <a:gd name="connsiteX35" fmla="*/ 120796 w 432827"/>
                  <a:gd name="connsiteY35" fmla="*/ 183672 h 308264"/>
                  <a:gd name="connsiteX36" fmla="*/ 114248 w 432827"/>
                  <a:gd name="connsiteY36" fmla="*/ 190220 h 308264"/>
                  <a:gd name="connsiteX37" fmla="*/ 22108 w 432827"/>
                  <a:gd name="connsiteY37" fmla="*/ 190220 h 308264"/>
                  <a:gd name="connsiteX38" fmla="*/ 19674 w 432827"/>
                  <a:gd name="connsiteY38" fmla="*/ 190220 h 308264"/>
                  <a:gd name="connsiteX39" fmla="*/ 0 w 432827"/>
                  <a:gd name="connsiteY39" fmla="*/ 170546 h 308264"/>
                  <a:gd name="connsiteX40" fmla="*/ 0 w 432827"/>
                  <a:gd name="connsiteY40" fmla="*/ 147511 h 308264"/>
                  <a:gd name="connsiteX41" fmla="*/ 6548 w 432827"/>
                  <a:gd name="connsiteY41" fmla="*/ 140963 h 308264"/>
                  <a:gd name="connsiteX42" fmla="*/ 13097 w 432827"/>
                  <a:gd name="connsiteY42" fmla="*/ 147511 h 308264"/>
                  <a:gd name="connsiteX43" fmla="*/ 13097 w 432827"/>
                  <a:gd name="connsiteY43" fmla="*/ 170546 h 308264"/>
                  <a:gd name="connsiteX44" fmla="*/ 19645 w 432827"/>
                  <a:gd name="connsiteY44" fmla="*/ 177095 h 308264"/>
                  <a:gd name="connsiteX45" fmla="*/ 22079 w 432827"/>
                  <a:gd name="connsiteY45" fmla="*/ 177095 h 308264"/>
                  <a:gd name="connsiteX46" fmla="*/ 28627 w 432827"/>
                  <a:gd name="connsiteY46" fmla="*/ 183643 h 308264"/>
                  <a:gd name="connsiteX47" fmla="*/ 22108 w 432827"/>
                  <a:gd name="connsiteY47" fmla="*/ 190220 h 308264"/>
                  <a:gd name="connsiteX48" fmla="*/ 390727 w 432827"/>
                  <a:gd name="connsiteY48" fmla="*/ 190191 h 308264"/>
                  <a:gd name="connsiteX49" fmla="*/ 344657 w 432827"/>
                  <a:gd name="connsiteY49" fmla="*/ 190191 h 308264"/>
                  <a:gd name="connsiteX50" fmla="*/ 338108 w 432827"/>
                  <a:gd name="connsiteY50" fmla="*/ 183643 h 308264"/>
                  <a:gd name="connsiteX51" fmla="*/ 344657 w 432827"/>
                  <a:gd name="connsiteY51" fmla="*/ 177095 h 308264"/>
                  <a:gd name="connsiteX52" fmla="*/ 390727 w 432827"/>
                  <a:gd name="connsiteY52" fmla="*/ 177095 h 308264"/>
                  <a:gd name="connsiteX53" fmla="*/ 397275 w 432827"/>
                  <a:gd name="connsiteY53" fmla="*/ 183643 h 308264"/>
                  <a:gd name="connsiteX54" fmla="*/ 390727 w 432827"/>
                  <a:gd name="connsiteY54" fmla="*/ 190191 h 308264"/>
                  <a:gd name="connsiteX55" fmla="*/ 298587 w 432827"/>
                  <a:gd name="connsiteY55" fmla="*/ 190191 h 308264"/>
                  <a:gd name="connsiteX56" fmla="*/ 252516 w 432827"/>
                  <a:gd name="connsiteY56" fmla="*/ 190191 h 308264"/>
                  <a:gd name="connsiteX57" fmla="*/ 245968 w 432827"/>
                  <a:gd name="connsiteY57" fmla="*/ 183643 h 308264"/>
                  <a:gd name="connsiteX58" fmla="*/ 252516 w 432827"/>
                  <a:gd name="connsiteY58" fmla="*/ 177095 h 308264"/>
                  <a:gd name="connsiteX59" fmla="*/ 298587 w 432827"/>
                  <a:gd name="connsiteY59" fmla="*/ 177095 h 308264"/>
                  <a:gd name="connsiteX60" fmla="*/ 305135 w 432827"/>
                  <a:gd name="connsiteY60" fmla="*/ 183643 h 308264"/>
                  <a:gd name="connsiteX61" fmla="*/ 298587 w 432827"/>
                  <a:gd name="connsiteY61" fmla="*/ 190191 h 308264"/>
                  <a:gd name="connsiteX62" fmla="*/ 6548 w 432827"/>
                  <a:gd name="connsiteY62" fmla="*/ 107990 h 308264"/>
                  <a:gd name="connsiteX63" fmla="*/ 0 w 432827"/>
                  <a:gd name="connsiteY63" fmla="*/ 101441 h 308264"/>
                  <a:gd name="connsiteX64" fmla="*/ 0 w 432827"/>
                  <a:gd name="connsiteY64" fmla="*/ 55371 h 308264"/>
                  <a:gd name="connsiteX65" fmla="*/ 6548 w 432827"/>
                  <a:gd name="connsiteY65" fmla="*/ 48823 h 308264"/>
                  <a:gd name="connsiteX66" fmla="*/ 13097 w 432827"/>
                  <a:gd name="connsiteY66" fmla="*/ 55371 h 308264"/>
                  <a:gd name="connsiteX67" fmla="*/ 13097 w 432827"/>
                  <a:gd name="connsiteY67" fmla="*/ 101441 h 308264"/>
                  <a:gd name="connsiteX68" fmla="*/ 6548 w 432827"/>
                  <a:gd name="connsiteY68" fmla="*/ 107990 h 308264"/>
                  <a:gd name="connsiteX69" fmla="*/ 10489 w 432827"/>
                  <a:gd name="connsiteY69" fmla="*/ 16892 h 308264"/>
                  <a:gd name="connsiteX70" fmla="*/ 5824 w 432827"/>
                  <a:gd name="connsiteY70" fmla="*/ 14922 h 308264"/>
                  <a:gd name="connsiteX71" fmla="*/ 5911 w 432827"/>
                  <a:gd name="connsiteY71" fmla="*/ 5650 h 308264"/>
                  <a:gd name="connsiteX72" fmla="*/ 19703 w 432827"/>
                  <a:gd name="connsiteY72" fmla="*/ 0 h 308264"/>
                  <a:gd name="connsiteX73" fmla="*/ 55603 w 432827"/>
                  <a:gd name="connsiteY73" fmla="*/ 0 h 308264"/>
                  <a:gd name="connsiteX74" fmla="*/ 62151 w 432827"/>
                  <a:gd name="connsiteY74" fmla="*/ 6548 h 308264"/>
                  <a:gd name="connsiteX75" fmla="*/ 55603 w 432827"/>
                  <a:gd name="connsiteY75" fmla="*/ 13097 h 308264"/>
                  <a:gd name="connsiteX76" fmla="*/ 19703 w 432827"/>
                  <a:gd name="connsiteY76" fmla="*/ 13097 h 308264"/>
                  <a:gd name="connsiteX77" fmla="*/ 15125 w 432827"/>
                  <a:gd name="connsiteY77" fmla="*/ 14980 h 308264"/>
                  <a:gd name="connsiteX78" fmla="*/ 10489 w 432827"/>
                  <a:gd name="connsiteY78" fmla="*/ 16892 h 308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432827" h="308264">
                    <a:moveTo>
                      <a:pt x="413153" y="308264"/>
                    </a:moveTo>
                    <a:lnTo>
                      <a:pt x="384294" y="308264"/>
                    </a:lnTo>
                    <a:cubicBezTo>
                      <a:pt x="380673" y="308264"/>
                      <a:pt x="377746" y="305338"/>
                      <a:pt x="377746" y="301716"/>
                    </a:cubicBezTo>
                    <a:cubicBezTo>
                      <a:pt x="377746" y="298094"/>
                      <a:pt x="380673" y="295168"/>
                      <a:pt x="384294" y="295168"/>
                    </a:cubicBezTo>
                    <a:lnTo>
                      <a:pt x="413153" y="295168"/>
                    </a:lnTo>
                    <a:cubicBezTo>
                      <a:pt x="416138" y="295168"/>
                      <a:pt x="418746" y="293168"/>
                      <a:pt x="419499" y="290271"/>
                    </a:cubicBezTo>
                    <a:cubicBezTo>
                      <a:pt x="420426" y="286765"/>
                      <a:pt x="423990" y="284650"/>
                      <a:pt x="427496" y="285606"/>
                    </a:cubicBezTo>
                    <a:cubicBezTo>
                      <a:pt x="431002" y="286533"/>
                      <a:pt x="433088" y="290097"/>
                      <a:pt x="432161" y="293603"/>
                    </a:cubicBezTo>
                    <a:cubicBezTo>
                      <a:pt x="429930" y="302208"/>
                      <a:pt x="422107" y="308264"/>
                      <a:pt x="413153" y="308264"/>
                    </a:cubicBezTo>
                    <a:close/>
                    <a:moveTo>
                      <a:pt x="338224" y="308264"/>
                    </a:moveTo>
                    <a:lnTo>
                      <a:pt x="292154" y="308264"/>
                    </a:lnTo>
                    <a:cubicBezTo>
                      <a:pt x="288532" y="308264"/>
                      <a:pt x="285606" y="305338"/>
                      <a:pt x="285606" y="301716"/>
                    </a:cubicBezTo>
                    <a:cubicBezTo>
                      <a:pt x="285606" y="298094"/>
                      <a:pt x="288532" y="295168"/>
                      <a:pt x="292154" y="295168"/>
                    </a:cubicBezTo>
                    <a:lnTo>
                      <a:pt x="338224" y="295168"/>
                    </a:lnTo>
                    <a:cubicBezTo>
                      <a:pt x="341846" y="295168"/>
                      <a:pt x="344773" y="298094"/>
                      <a:pt x="344773" y="301716"/>
                    </a:cubicBezTo>
                    <a:cubicBezTo>
                      <a:pt x="344802" y="305309"/>
                      <a:pt x="341846" y="308264"/>
                      <a:pt x="338224" y="308264"/>
                    </a:cubicBezTo>
                    <a:close/>
                    <a:moveTo>
                      <a:pt x="426279" y="252430"/>
                    </a:moveTo>
                    <a:cubicBezTo>
                      <a:pt x="422657" y="252430"/>
                      <a:pt x="419731" y="249503"/>
                      <a:pt x="419731" y="245881"/>
                    </a:cubicBezTo>
                    <a:lnTo>
                      <a:pt x="419731" y="199811"/>
                    </a:lnTo>
                    <a:cubicBezTo>
                      <a:pt x="419731" y="196189"/>
                      <a:pt x="422657" y="193263"/>
                      <a:pt x="426279" y="193263"/>
                    </a:cubicBezTo>
                    <a:cubicBezTo>
                      <a:pt x="429901" y="193263"/>
                      <a:pt x="432827" y="196189"/>
                      <a:pt x="432827" y="199811"/>
                    </a:cubicBezTo>
                    <a:lnTo>
                      <a:pt x="432827" y="245881"/>
                    </a:lnTo>
                    <a:cubicBezTo>
                      <a:pt x="432827" y="249503"/>
                      <a:pt x="429901" y="252430"/>
                      <a:pt x="426279" y="252430"/>
                    </a:cubicBezTo>
                    <a:close/>
                    <a:moveTo>
                      <a:pt x="206417" y="190220"/>
                    </a:moveTo>
                    <a:lnTo>
                      <a:pt x="160347" y="190220"/>
                    </a:lnTo>
                    <a:cubicBezTo>
                      <a:pt x="156725" y="190220"/>
                      <a:pt x="153799" y="187294"/>
                      <a:pt x="153799" y="183672"/>
                    </a:cubicBezTo>
                    <a:cubicBezTo>
                      <a:pt x="153799" y="180050"/>
                      <a:pt x="156725" y="177124"/>
                      <a:pt x="160347" y="177124"/>
                    </a:cubicBezTo>
                    <a:lnTo>
                      <a:pt x="206417" y="177124"/>
                    </a:lnTo>
                    <a:cubicBezTo>
                      <a:pt x="210039" y="177124"/>
                      <a:pt x="212966" y="180050"/>
                      <a:pt x="212966" y="183672"/>
                    </a:cubicBezTo>
                    <a:cubicBezTo>
                      <a:pt x="212966" y="187294"/>
                      <a:pt x="210039" y="190220"/>
                      <a:pt x="206417" y="190220"/>
                    </a:cubicBezTo>
                    <a:close/>
                    <a:moveTo>
                      <a:pt x="114248" y="190220"/>
                    </a:moveTo>
                    <a:lnTo>
                      <a:pt x="68178" y="190220"/>
                    </a:lnTo>
                    <a:cubicBezTo>
                      <a:pt x="64556" y="190220"/>
                      <a:pt x="61630" y="187294"/>
                      <a:pt x="61630" y="183672"/>
                    </a:cubicBezTo>
                    <a:cubicBezTo>
                      <a:pt x="61630" y="180050"/>
                      <a:pt x="64556" y="177124"/>
                      <a:pt x="68178" y="177124"/>
                    </a:cubicBezTo>
                    <a:lnTo>
                      <a:pt x="114248" y="177124"/>
                    </a:lnTo>
                    <a:cubicBezTo>
                      <a:pt x="117870" y="177124"/>
                      <a:pt x="120796" y="180050"/>
                      <a:pt x="120796" y="183672"/>
                    </a:cubicBezTo>
                    <a:cubicBezTo>
                      <a:pt x="120796" y="187294"/>
                      <a:pt x="117870" y="190220"/>
                      <a:pt x="114248" y="190220"/>
                    </a:cubicBezTo>
                    <a:close/>
                    <a:moveTo>
                      <a:pt x="22108" y="190220"/>
                    </a:moveTo>
                    <a:lnTo>
                      <a:pt x="19674" y="190220"/>
                    </a:lnTo>
                    <a:cubicBezTo>
                      <a:pt x="8837" y="190220"/>
                      <a:pt x="0" y="181383"/>
                      <a:pt x="0" y="170546"/>
                    </a:cubicBezTo>
                    <a:lnTo>
                      <a:pt x="0" y="147511"/>
                    </a:lnTo>
                    <a:cubicBezTo>
                      <a:pt x="0" y="143889"/>
                      <a:pt x="2926" y="140963"/>
                      <a:pt x="6548" y="140963"/>
                    </a:cubicBezTo>
                    <a:cubicBezTo>
                      <a:pt x="10170" y="140963"/>
                      <a:pt x="13097" y="143889"/>
                      <a:pt x="13097" y="147511"/>
                    </a:cubicBezTo>
                    <a:lnTo>
                      <a:pt x="13097" y="170546"/>
                    </a:lnTo>
                    <a:cubicBezTo>
                      <a:pt x="13097" y="174168"/>
                      <a:pt x="16052" y="177095"/>
                      <a:pt x="19645" y="177095"/>
                    </a:cubicBezTo>
                    <a:lnTo>
                      <a:pt x="22079" y="177095"/>
                    </a:lnTo>
                    <a:cubicBezTo>
                      <a:pt x="25701" y="177095"/>
                      <a:pt x="28627" y="180021"/>
                      <a:pt x="28627" y="183643"/>
                    </a:cubicBezTo>
                    <a:cubicBezTo>
                      <a:pt x="28627" y="187265"/>
                      <a:pt x="25730" y="190220"/>
                      <a:pt x="22108" y="190220"/>
                    </a:cubicBezTo>
                    <a:close/>
                    <a:moveTo>
                      <a:pt x="390727" y="190191"/>
                    </a:moveTo>
                    <a:lnTo>
                      <a:pt x="344657" y="190191"/>
                    </a:lnTo>
                    <a:cubicBezTo>
                      <a:pt x="341035" y="190191"/>
                      <a:pt x="338108" y="187265"/>
                      <a:pt x="338108" y="183643"/>
                    </a:cubicBezTo>
                    <a:cubicBezTo>
                      <a:pt x="338108" y="180021"/>
                      <a:pt x="341035" y="177095"/>
                      <a:pt x="344657" y="177095"/>
                    </a:cubicBezTo>
                    <a:lnTo>
                      <a:pt x="390727" y="177095"/>
                    </a:lnTo>
                    <a:cubicBezTo>
                      <a:pt x="394349" y="177095"/>
                      <a:pt x="397275" y="180021"/>
                      <a:pt x="397275" y="183643"/>
                    </a:cubicBezTo>
                    <a:cubicBezTo>
                      <a:pt x="397304" y="187265"/>
                      <a:pt x="394349" y="190191"/>
                      <a:pt x="390727" y="190191"/>
                    </a:cubicBezTo>
                    <a:close/>
                    <a:moveTo>
                      <a:pt x="298587" y="190191"/>
                    </a:moveTo>
                    <a:lnTo>
                      <a:pt x="252516" y="190191"/>
                    </a:lnTo>
                    <a:cubicBezTo>
                      <a:pt x="248895" y="190191"/>
                      <a:pt x="245968" y="187265"/>
                      <a:pt x="245968" y="183643"/>
                    </a:cubicBezTo>
                    <a:cubicBezTo>
                      <a:pt x="245968" y="180021"/>
                      <a:pt x="248895" y="177095"/>
                      <a:pt x="252516" y="177095"/>
                    </a:cubicBezTo>
                    <a:lnTo>
                      <a:pt x="298587" y="177095"/>
                    </a:lnTo>
                    <a:cubicBezTo>
                      <a:pt x="302209" y="177095"/>
                      <a:pt x="305135" y="180021"/>
                      <a:pt x="305135" y="183643"/>
                    </a:cubicBezTo>
                    <a:cubicBezTo>
                      <a:pt x="305135" y="187265"/>
                      <a:pt x="302209" y="190191"/>
                      <a:pt x="298587" y="190191"/>
                    </a:cubicBezTo>
                    <a:close/>
                    <a:moveTo>
                      <a:pt x="6548" y="107990"/>
                    </a:moveTo>
                    <a:cubicBezTo>
                      <a:pt x="2926" y="107990"/>
                      <a:pt x="0" y="105063"/>
                      <a:pt x="0" y="101441"/>
                    </a:cubicBezTo>
                    <a:lnTo>
                      <a:pt x="0" y="55371"/>
                    </a:lnTo>
                    <a:cubicBezTo>
                      <a:pt x="0" y="51749"/>
                      <a:pt x="2926" y="48823"/>
                      <a:pt x="6548" y="48823"/>
                    </a:cubicBezTo>
                    <a:cubicBezTo>
                      <a:pt x="10170" y="48823"/>
                      <a:pt x="13097" y="51749"/>
                      <a:pt x="13097" y="55371"/>
                    </a:cubicBezTo>
                    <a:lnTo>
                      <a:pt x="13097" y="101441"/>
                    </a:lnTo>
                    <a:cubicBezTo>
                      <a:pt x="13126" y="105034"/>
                      <a:pt x="10170" y="107990"/>
                      <a:pt x="6548" y="107990"/>
                    </a:cubicBezTo>
                    <a:close/>
                    <a:moveTo>
                      <a:pt x="10489" y="16892"/>
                    </a:moveTo>
                    <a:cubicBezTo>
                      <a:pt x="8779" y="16892"/>
                      <a:pt x="7099" y="16226"/>
                      <a:pt x="5824" y="14922"/>
                    </a:cubicBezTo>
                    <a:cubicBezTo>
                      <a:pt x="3274" y="12343"/>
                      <a:pt x="3332" y="8200"/>
                      <a:pt x="5911" y="5650"/>
                    </a:cubicBezTo>
                    <a:cubicBezTo>
                      <a:pt x="9620" y="2028"/>
                      <a:pt x="14516" y="0"/>
                      <a:pt x="19703" y="0"/>
                    </a:cubicBezTo>
                    <a:lnTo>
                      <a:pt x="55603" y="0"/>
                    </a:lnTo>
                    <a:cubicBezTo>
                      <a:pt x="59225" y="0"/>
                      <a:pt x="62151" y="2926"/>
                      <a:pt x="62151" y="6548"/>
                    </a:cubicBezTo>
                    <a:cubicBezTo>
                      <a:pt x="62151" y="10170"/>
                      <a:pt x="59225" y="13097"/>
                      <a:pt x="55603" y="13097"/>
                    </a:cubicBezTo>
                    <a:lnTo>
                      <a:pt x="19703" y="13097"/>
                    </a:lnTo>
                    <a:cubicBezTo>
                      <a:pt x="17964" y="13097"/>
                      <a:pt x="16342" y="13763"/>
                      <a:pt x="15125" y="14980"/>
                    </a:cubicBezTo>
                    <a:cubicBezTo>
                      <a:pt x="13792" y="16255"/>
                      <a:pt x="12140" y="16892"/>
                      <a:pt x="10489" y="16892"/>
                    </a:cubicBezTo>
                    <a:close/>
                  </a:path>
                </a:pathLst>
              </a:custGeom>
              <a:solidFill>
                <a:schemeClr val="accent1"/>
              </a:solidFill>
              <a:ln w="2891" cap="flat">
                <a:noFill/>
                <a:prstDash val="solid"/>
                <a:miter/>
              </a:ln>
            </p:spPr>
            <p:txBody>
              <a:bodyPr rtlCol="0" anchor="ctr"/>
              <a:lstStyle/>
              <a:p>
                <a:endParaRPr lang="en-GB" dirty="0"/>
              </a:p>
            </p:txBody>
          </p:sp>
          <p:sp>
            <p:nvSpPr>
              <p:cNvPr id="348" name="Freihandform: Form 841">
                <a:extLst>
                  <a:ext uri="{FF2B5EF4-FFF2-40B4-BE49-F238E27FC236}">
                    <a16:creationId xmlns:a16="http://schemas.microsoft.com/office/drawing/2014/main" id="{58E35A37-B90C-439D-8BB7-D415EE21B970}"/>
                  </a:ext>
                </a:extLst>
              </p:cNvPr>
              <p:cNvSpPr/>
              <p:nvPr/>
            </p:nvSpPr>
            <p:spPr>
              <a:xfrm>
                <a:off x="6391669" y="2866276"/>
                <a:ext cx="36044" cy="13096"/>
              </a:xfrm>
              <a:custGeom>
                <a:avLst/>
                <a:gdLst>
                  <a:gd name="connsiteX0" fmla="*/ 29496 w 36044"/>
                  <a:gd name="connsiteY0" fmla="*/ 13097 h 13096"/>
                  <a:gd name="connsiteX1" fmla="*/ 6548 w 36044"/>
                  <a:gd name="connsiteY1" fmla="*/ 13097 h 13096"/>
                  <a:gd name="connsiteX2" fmla="*/ 0 w 36044"/>
                  <a:gd name="connsiteY2" fmla="*/ 6548 h 13096"/>
                  <a:gd name="connsiteX3" fmla="*/ 6548 w 36044"/>
                  <a:gd name="connsiteY3" fmla="*/ 0 h 13096"/>
                  <a:gd name="connsiteX4" fmla="*/ 29496 w 36044"/>
                  <a:gd name="connsiteY4" fmla="*/ 0 h 13096"/>
                  <a:gd name="connsiteX5" fmla="*/ 36045 w 36044"/>
                  <a:gd name="connsiteY5" fmla="*/ 6548 h 13096"/>
                  <a:gd name="connsiteX6" fmla="*/ 29496 w 36044"/>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044" h="13096">
                    <a:moveTo>
                      <a:pt x="29496" y="13097"/>
                    </a:moveTo>
                    <a:lnTo>
                      <a:pt x="6548" y="13097"/>
                    </a:lnTo>
                    <a:cubicBezTo>
                      <a:pt x="2926" y="13097"/>
                      <a:pt x="0" y="10170"/>
                      <a:pt x="0" y="6548"/>
                    </a:cubicBezTo>
                    <a:cubicBezTo>
                      <a:pt x="0" y="2926"/>
                      <a:pt x="2926" y="0"/>
                      <a:pt x="6548" y="0"/>
                    </a:cubicBezTo>
                    <a:lnTo>
                      <a:pt x="29496" y="0"/>
                    </a:lnTo>
                    <a:cubicBezTo>
                      <a:pt x="33118" y="0"/>
                      <a:pt x="36045" y="2926"/>
                      <a:pt x="36045" y="6548"/>
                    </a:cubicBezTo>
                    <a:cubicBezTo>
                      <a:pt x="36045" y="10141"/>
                      <a:pt x="33118" y="13097"/>
                      <a:pt x="29496" y="13097"/>
                    </a:cubicBezTo>
                    <a:close/>
                  </a:path>
                </a:pathLst>
              </a:custGeom>
              <a:solidFill>
                <a:schemeClr val="accent1"/>
              </a:solidFill>
              <a:ln w="2891" cap="flat">
                <a:noFill/>
                <a:prstDash val="solid"/>
                <a:miter/>
              </a:ln>
            </p:spPr>
            <p:txBody>
              <a:bodyPr rtlCol="0" anchor="ctr"/>
              <a:lstStyle/>
              <a:p>
                <a:endParaRPr lang="en-GB" dirty="0"/>
              </a:p>
            </p:txBody>
          </p:sp>
        </p:grpSp>
      </p:grpSp>
      <p:grpSp>
        <p:nvGrpSpPr>
          <p:cNvPr id="5" name="Group 4">
            <a:extLst>
              <a:ext uri="{FF2B5EF4-FFF2-40B4-BE49-F238E27FC236}">
                <a16:creationId xmlns:a16="http://schemas.microsoft.com/office/drawing/2014/main" id="{6A34EB51-40B4-FA76-50FE-5C80928C0A40}"/>
              </a:ext>
            </a:extLst>
          </p:cNvPr>
          <p:cNvGrpSpPr/>
          <p:nvPr/>
        </p:nvGrpSpPr>
        <p:grpSpPr>
          <a:xfrm>
            <a:off x="578065" y="3197068"/>
            <a:ext cx="431970" cy="432000"/>
            <a:chOff x="578065" y="3197068"/>
            <a:chExt cx="431970" cy="432000"/>
          </a:xfrm>
        </p:grpSpPr>
        <p:grpSp>
          <p:nvGrpSpPr>
            <p:cNvPr id="227" name="Gruppieren 1012">
              <a:extLst>
                <a:ext uri="{FF2B5EF4-FFF2-40B4-BE49-F238E27FC236}">
                  <a16:creationId xmlns:a16="http://schemas.microsoft.com/office/drawing/2014/main" id="{BA66E533-60FD-490C-84D9-72AEADAC84B2}"/>
                </a:ext>
              </a:extLst>
            </p:cNvPr>
            <p:cNvGrpSpPr/>
            <p:nvPr/>
          </p:nvGrpSpPr>
          <p:grpSpPr>
            <a:xfrm>
              <a:off x="614082" y="3428345"/>
              <a:ext cx="164161" cy="164095"/>
              <a:chOff x="1768106" y="4342579"/>
              <a:chExt cx="154765" cy="154703"/>
            </a:xfrm>
          </p:grpSpPr>
          <p:sp>
            <p:nvSpPr>
              <p:cNvPr id="246" name="Freihandform: Form 456">
                <a:extLst>
                  <a:ext uri="{FF2B5EF4-FFF2-40B4-BE49-F238E27FC236}">
                    <a16:creationId xmlns:a16="http://schemas.microsoft.com/office/drawing/2014/main" id="{38AD5169-0E52-40F6-9974-17EABF8D8D83}"/>
                  </a:ext>
                </a:extLst>
              </p:cNvPr>
              <p:cNvSpPr/>
              <p:nvPr/>
            </p:nvSpPr>
            <p:spPr>
              <a:xfrm>
                <a:off x="1768106" y="4350673"/>
                <a:ext cx="146575" cy="146609"/>
              </a:xfrm>
              <a:custGeom>
                <a:avLst/>
                <a:gdLst>
                  <a:gd name="connsiteX0" fmla="*/ 129963 w 146575"/>
                  <a:gd name="connsiteY0" fmla="*/ 146609 h 146609"/>
                  <a:gd name="connsiteX1" fmla="*/ 80071 w 146575"/>
                  <a:gd name="connsiteY1" fmla="*/ 122365 h 146609"/>
                  <a:gd name="connsiteX2" fmla="*/ 78839 w 146575"/>
                  <a:gd name="connsiteY2" fmla="*/ 113281 h 146609"/>
                  <a:gd name="connsiteX3" fmla="*/ 87923 w 146575"/>
                  <a:gd name="connsiteY3" fmla="*/ 112049 h 146609"/>
                  <a:gd name="connsiteX4" fmla="*/ 132886 w 146575"/>
                  <a:gd name="connsiteY4" fmla="*/ 132882 h 146609"/>
                  <a:gd name="connsiteX5" fmla="*/ 125980 w 146575"/>
                  <a:gd name="connsiteY5" fmla="*/ 108839 h 146609"/>
                  <a:gd name="connsiteX6" fmla="*/ 87035 w 146575"/>
                  <a:gd name="connsiteY6" fmla="*/ 59520 h 146609"/>
                  <a:gd name="connsiteX7" fmla="*/ 37716 w 146575"/>
                  <a:gd name="connsiteY7" fmla="*/ 20575 h 146609"/>
                  <a:gd name="connsiteX8" fmla="*/ 13673 w 146575"/>
                  <a:gd name="connsiteY8" fmla="*/ 13669 h 146609"/>
                  <a:gd name="connsiteX9" fmla="*/ 38547 w 146575"/>
                  <a:gd name="connsiteY9" fmla="*/ 63761 h 146609"/>
                  <a:gd name="connsiteX10" fmla="*/ 50554 w 146575"/>
                  <a:gd name="connsiteY10" fmla="*/ 77689 h 146609"/>
                  <a:gd name="connsiteX11" fmla="*/ 50182 w 146575"/>
                  <a:gd name="connsiteY11" fmla="*/ 86859 h 146609"/>
                  <a:gd name="connsiteX12" fmla="*/ 41012 w 146575"/>
                  <a:gd name="connsiteY12" fmla="*/ 86486 h 146609"/>
                  <a:gd name="connsiteX13" fmla="*/ 28460 w 146575"/>
                  <a:gd name="connsiteY13" fmla="*/ 71929 h 146609"/>
                  <a:gd name="connsiteX14" fmla="*/ 4531 w 146575"/>
                  <a:gd name="connsiteY14" fmla="*/ 4527 h 146609"/>
                  <a:gd name="connsiteX15" fmla="*/ 44021 w 146575"/>
                  <a:gd name="connsiteY15" fmla="*/ 9284 h 146609"/>
                  <a:gd name="connsiteX16" fmla="*/ 96205 w 146575"/>
                  <a:gd name="connsiteY16" fmla="*/ 50378 h 146609"/>
                  <a:gd name="connsiteX17" fmla="*/ 137300 w 146575"/>
                  <a:gd name="connsiteY17" fmla="*/ 102563 h 146609"/>
                  <a:gd name="connsiteX18" fmla="*/ 142057 w 146575"/>
                  <a:gd name="connsiteY18" fmla="*/ 142053 h 146609"/>
                  <a:gd name="connsiteX19" fmla="*/ 129963 w 146575"/>
                  <a:gd name="connsiteY19" fmla="*/ 146609 h 146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6575" h="146609">
                    <a:moveTo>
                      <a:pt x="129963" y="146609"/>
                    </a:moveTo>
                    <a:cubicBezTo>
                      <a:pt x="114603" y="146609"/>
                      <a:pt x="93311" y="132452"/>
                      <a:pt x="80071" y="122365"/>
                    </a:cubicBezTo>
                    <a:cubicBezTo>
                      <a:pt x="77234" y="120187"/>
                      <a:pt x="76690" y="116118"/>
                      <a:pt x="78839" y="113281"/>
                    </a:cubicBezTo>
                    <a:cubicBezTo>
                      <a:pt x="81017" y="110444"/>
                      <a:pt x="85058" y="109871"/>
                      <a:pt x="87923" y="112049"/>
                    </a:cubicBezTo>
                    <a:cubicBezTo>
                      <a:pt x="116408" y="133771"/>
                      <a:pt x="130852" y="134946"/>
                      <a:pt x="132886" y="132882"/>
                    </a:cubicBezTo>
                    <a:cubicBezTo>
                      <a:pt x="133947" y="131793"/>
                      <a:pt x="134978" y="125088"/>
                      <a:pt x="125980" y="108839"/>
                    </a:cubicBezTo>
                    <a:cubicBezTo>
                      <a:pt x="117612" y="93765"/>
                      <a:pt x="103771" y="76256"/>
                      <a:pt x="87035" y="59520"/>
                    </a:cubicBezTo>
                    <a:cubicBezTo>
                      <a:pt x="70299" y="42784"/>
                      <a:pt x="52790" y="28972"/>
                      <a:pt x="37716" y="20575"/>
                    </a:cubicBezTo>
                    <a:cubicBezTo>
                      <a:pt x="21467" y="11548"/>
                      <a:pt x="14762" y="12580"/>
                      <a:pt x="13673" y="13669"/>
                    </a:cubicBezTo>
                    <a:cubicBezTo>
                      <a:pt x="10778" y="16563"/>
                      <a:pt x="15192" y="34789"/>
                      <a:pt x="38547" y="63761"/>
                    </a:cubicBezTo>
                    <a:cubicBezTo>
                      <a:pt x="42244" y="68346"/>
                      <a:pt x="46285" y="73046"/>
                      <a:pt x="50554" y="77689"/>
                    </a:cubicBezTo>
                    <a:cubicBezTo>
                      <a:pt x="52990" y="80325"/>
                      <a:pt x="52818" y="84423"/>
                      <a:pt x="50182" y="86859"/>
                    </a:cubicBezTo>
                    <a:cubicBezTo>
                      <a:pt x="47545" y="89295"/>
                      <a:pt x="43448" y="89123"/>
                      <a:pt x="41012" y="86486"/>
                    </a:cubicBezTo>
                    <a:cubicBezTo>
                      <a:pt x="36541" y="81643"/>
                      <a:pt x="32329" y="76743"/>
                      <a:pt x="28460" y="71929"/>
                    </a:cubicBezTo>
                    <a:cubicBezTo>
                      <a:pt x="16195" y="56712"/>
                      <a:pt x="-10657" y="19715"/>
                      <a:pt x="4531" y="4527"/>
                    </a:cubicBezTo>
                    <a:cubicBezTo>
                      <a:pt x="11867" y="-2809"/>
                      <a:pt x="25136" y="-1233"/>
                      <a:pt x="44021" y="9284"/>
                    </a:cubicBezTo>
                    <a:cubicBezTo>
                      <a:pt x="60126" y="18225"/>
                      <a:pt x="78667" y="32840"/>
                      <a:pt x="96205" y="50378"/>
                    </a:cubicBezTo>
                    <a:cubicBezTo>
                      <a:pt x="113772" y="67945"/>
                      <a:pt x="128359" y="86458"/>
                      <a:pt x="137300" y="102563"/>
                    </a:cubicBezTo>
                    <a:cubicBezTo>
                      <a:pt x="147788" y="121448"/>
                      <a:pt x="149393" y="134716"/>
                      <a:pt x="142057" y="142053"/>
                    </a:cubicBezTo>
                    <a:cubicBezTo>
                      <a:pt x="138876" y="145291"/>
                      <a:pt x="134692" y="146609"/>
                      <a:pt x="129963" y="146609"/>
                    </a:cubicBezTo>
                    <a:close/>
                  </a:path>
                </a:pathLst>
              </a:custGeom>
              <a:solidFill>
                <a:schemeClr val="accent1"/>
              </a:solidFill>
              <a:ln w="2860" cap="flat">
                <a:noFill/>
                <a:prstDash val="solid"/>
                <a:miter/>
              </a:ln>
            </p:spPr>
            <p:txBody>
              <a:bodyPr rtlCol="0" anchor="ctr"/>
              <a:lstStyle/>
              <a:p>
                <a:endParaRPr lang="en-GB" dirty="0"/>
              </a:p>
            </p:txBody>
          </p:sp>
          <p:sp>
            <p:nvSpPr>
              <p:cNvPr id="247" name="Freihandform: Form 458">
                <a:extLst>
                  <a:ext uri="{FF2B5EF4-FFF2-40B4-BE49-F238E27FC236}">
                    <a16:creationId xmlns:a16="http://schemas.microsoft.com/office/drawing/2014/main" id="{074D7938-8B24-498C-80BF-AA842329C1FA}"/>
                  </a:ext>
                </a:extLst>
              </p:cNvPr>
              <p:cNvSpPr/>
              <p:nvPr/>
            </p:nvSpPr>
            <p:spPr>
              <a:xfrm>
                <a:off x="1775298" y="4342579"/>
                <a:ext cx="147573" cy="146879"/>
              </a:xfrm>
              <a:custGeom>
                <a:avLst/>
                <a:gdLst>
                  <a:gd name="connsiteX0" fmla="*/ 133431 w 147573"/>
                  <a:gd name="connsiteY0" fmla="*/ 146880 h 146879"/>
                  <a:gd name="connsiteX1" fmla="*/ 131826 w 147573"/>
                  <a:gd name="connsiteY1" fmla="*/ 146679 h 146879"/>
                  <a:gd name="connsiteX2" fmla="*/ 127127 w 147573"/>
                  <a:gd name="connsiteY2" fmla="*/ 138799 h 146879"/>
                  <a:gd name="connsiteX3" fmla="*/ 125894 w 147573"/>
                  <a:gd name="connsiteY3" fmla="*/ 45835 h 146879"/>
                  <a:gd name="connsiteX4" fmla="*/ 116151 w 147573"/>
                  <a:gd name="connsiteY4" fmla="*/ 34372 h 146879"/>
                  <a:gd name="connsiteX5" fmla="*/ 114747 w 147573"/>
                  <a:gd name="connsiteY5" fmla="*/ 32968 h 146879"/>
                  <a:gd name="connsiteX6" fmla="*/ 97065 w 147573"/>
                  <a:gd name="connsiteY6" fmla="*/ 19385 h 146879"/>
                  <a:gd name="connsiteX7" fmla="*/ 8114 w 147573"/>
                  <a:gd name="connsiteY7" fmla="*/ 21018 h 146879"/>
                  <a:gd name="connsiteX8" fmla="*/ 204 w 147573"/>
                  <a:gd name="connsiteY8" fmla="*/ 16375 h 146879"/>
                  <a:gd name="connsiteX9" fmla="*/ 4875 w 147573"/>
                  <a:gd name="connsiteY9" fmla="*/ 8466 h 146879"/>
                  <a:gd name="connsiteX10" fmla="*/ 102625 w 147573"/>
                  <a:gd name="connsiteY10" fmla="*/ 7664 h 146879"/>
                  <a:gd name="connsiteX11" fmla="*/ 123946 w 147573"/>
                  <a:gd name="connsiteY11" fmla="*/ 23798 h 146879"/>
                  <a:gd name="connsiteX12" fmla="*/ 125321 w 147573"/>
                  <a:gd name="connsiteY12" fmla="*/ 25173 h 146879"/>
                  <a:gd name="connsiteX13" fmla="*/ 137185 w 147573"/>
                  <a:gd name="connsiteY13" fmla="*/ 39387 h 146879"/>
                  <a:gd name="connsiteX14" fmla="*/ 139736 w 147573"/>
                  <a:gd name="connsiteY14" fmla="*/ 141980 h 146879"/>
                  <a:gd name="connsiteX15" fmla="*/ 133431 w 147573"/>
                  <a:gd name="connsiteY15" fmla="*/ 146880 h 146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7573" h="146879">
                    <a:moveTo>
                      <a:pt x="133431" y="146880"/>
                    </a:moveTo>
                    <a:cubicBezTo>
                      <a:pt x="132915" y="146880"/>
                      <a:pt x="132371" y="146823"/>
                      <a:pt x="131826" y="146679"/>
                    </a:cubicBezTo>
                    <a:cubicBezTo>
                      <a:pt x="128359" y="145791"/>
                      <a:pt x="126238" y="142266"/>
                      <a:pt x="127127" y="138799"/>
                    </a:cubicBezTo>
                    <a:cubicBezTo>
                      <a:pt x="134406" y="110056"/>
                      <a:pt x="140080" y="70566"/>
                      <a:pt x="125894" y="45835"/>
                    </a:cubicBezTo>
                    <a:cubicBezTo>
                      <a:pt x="123544" y="41737"/>
                      <a:pt x="119934" y="38155"/>
                      <a:pt x="116151" y="34372"/>
                    </a:cubicBezTo>
                    <a:lnTo>
                      <a:pt x="114747" y="32968"/>
                    </a:lnTo>
                    <a:cubicBezTo>
                      <a:pt x="108786" y="27007"/>
                      <a:pt x="103513" y="22422"/>
                      <a:pt x="97065" y="19385"/>
                    </a:cubicBezTo>
                    <a:cubicBezTo>
                      <a:pt x="77951" y="10358"/>
                      <a:pt x="47202" y="10931"/>
                      <a:pt x="8114" y="21018"/>
                    </a:cubicBezTo>
                    <a:cubicBezTo>
                      <a:pt x="4617" y="21964"/>
                      <a:pt x="1093" y="19843"/>
                      <a:pt x="204" y="16375"/>
                    </a:cubicBezTo>
                    <a:cubicBezTo>
                      <a:pt x="-684" y="12908"/>
                      <a:pt x="1408" y="9383"/>
                      <a:pt x="4875" y="8466"/>
                    </a:cubicBezTo>
                    <a:cubicBezTo>
                      <a:pt x="47517" y="-2538"/>
                      <a:pt x="80416" y="-2825"/>
                      <a:pt x="102625" y="7664"/>
                    </a:cubicBezTo>
                    <a:cubicBezTo>
                      <a:pt x="111251" y="11733"/>
                      <a:pt x="117956" y="17837"/>
                      <a:pt x="123946" y="23798"/>
                    </a:cubicBezTo>
                    <a:lnTo>
                      <a:pt x="125321" y="25173"/>
                    </a:lnTo>
                    <a:cubicBezTo>
                      <a:pt x="129562" y="29386"/>
                      <a:pt x="133976" y="33742"/>
                      <a:pt x="137185" y="39387"/>
                    </a:cubicBezTo>
                    <a:cubicBezTo>
                      <a:pt x="153520" y="67901"/>
                      <a:pt x="147588" y="110915"/>
                      <a:pt x="139736" y="141980"/>
                    </a:cubicBezTo>
                    <a:cubicBezTo>
                      <a:pt x="138962" y="144931"/>
                      <a:pt x="136326" y="146880"/>
                      <a:pt x="133431" y="146880"/>
                    </a:cubicBezTo>
                    <a:close/>
                  </a:path>
                </a:pathLst>
              </a:custGeom>
              <a:solidFill>
                <a:schemeClr val="accent1"/>
              </a:solidFill>
              <a:ln w="2860" cap="flat">
                <a:noFill/>
                <a:prstDash val="solid"/>
                <a:miter/>
              </a:ln>
            </p:spPr>
            <p:txBody>
              <a:bodyPr rtlCol="0" anchor="ctr"/>
              <a:lstStyle/>
              <a:p>
                <a:endParaRPr lang="en-GB" dirty="0"/>
              </a:p>
            </p:txBody>
          </p:sp>
          <p:sp>
            <p:nvSpPr>
              <p:cNvPr id="248" name="Freihandform: Form 459">
                <a:extLst>
                  <a:ext uri="{FF2B5EF4-FFF2-40B4-BE49-F238E27FC236}">
                    <a16:creationId xmlns:a16="http://schemas.microsoft.com/office/drawing/2014/main" id="{5CCD7E4C-FB16-4DEE-8304-09D2A407223A}"/>
                  </a:ext>
                </a:extLst>
              </p:cNvPr>
              <p:cNvSpPr/>
              <p:nvPr/>
            </p:nvSpPr>
            <p:spPr>
              <a:xfrm>
                <a:off x="1786048" y="4427688"/>
                <a:ext cx="51869" cy="51625"/>
              </a:xfrm>
              <a:custGeom>
                <a:avLst/>
                <a:gdLst>
                  <a:gd name="connsiteX0" fmla="*/ 25935 w 51869"/>
                  <a:gd name="connsiteY0" fmla="*/ 51626 h 51625"/>
                  <a:gd name="connsiteX1" fmla="*/ 7594 w 51869"/>
                  <a:gd name="connsiteY1" fmla="*/ 44032 h 51625"/>
                  <a:gd name="connsiteX2" fmla="*/ 0 w 51869"/>
                  <a:gd name="connsiteY2" fmla="*/ 25691 h 51625"/>
                  <a:gd name="connsiteX3" fmla="*/ 7594 w 51869"/>
                  <a:gd name="connsiteY3" fmla="*/ 7351 h 51625"/>
                  <a:gd name="connsiteX4" fmla="*/ 44275 w 51869"/>
                  <a:gd name="connsiteY4" fmla="*/ 7351 h 51625"/>
                  <a:gd name="connsiteX5" fmla="*/ 44275 w 51869"/>
                  <a:gd name="connsiteY5" fmla="*/ 7351 h 51625"/>
                  <a:gd name="connsiteX6" fmla="*/ 44275 w 51869"/>
                  <a:gd name="connsiteY6" fmla="*/ 7351 h 51625"/>
                  <a:gd name="connsiteX7" fmla="*/ 51869 w 51869"/>
                  <a:gd name="connsiteY7" fmla="*/ 25691 h 51625"/>
                  <a:gd name="connsiteX8" fmla="*/ 44275 w 51869"/>
                  <a:gd name="connsiteY8" fmla="*/ 44032 h 51625"/>
                  <a:gd name="connsiteX9" fmla="*/ 25935 w 51869"/>
                  <a:gd name="connsiteY9" fmla="*/ 51626 h 51625"/>
                  <a:gd name="connsiteX10" fmla="*/ 25935 w 51869"/>
                  <a:gd name="connsiteY10" fmla="*/ 12738 h 51625"/>
                  <a:gd name="connsiteX11" fmla="*/ 16764 w 51869"/>
                  <a:gd name="connsiteY11" fmla="*/ 16549 h 51625"/>
                  <a:gd name="connsiteX12" fmla="*/ 12982 w 51869"/>
                  <a:gd name="connsiteY12" fmla="*/ 25720 h 51625"/>
                  <a:gd name="connsiteX13" fmla="*/ 16764 w 51869"/>
                  <a:gd name="connsiteY13" fmla="*/ 34890 h 51625"/>
                  <a:gd name="connsiteX14" fmla="*/ 35105 w 51869"/>
                  <a:gd name="connsiteY14" fmla="*/ 34890 h 51625"/>
                  <a:gd name="connsiteX15" fmla="*/ 38916 w 51869"/>
                  <a:gd name="connsiteY15" fmla="*/ 25720 h 51625"/>
                  <a:gd name="connsiteX16" fmla="*/ 35105 w 51869"/>
                  <a:gd name="connsiteY16" fmla="*/ 16549 h 51625"/>
                  <a:gd name="connsiteX17" fmla="*/ 35105 w 51869"/>
                  <a:gd name="connsiteY17" fmla="*/ 16549 h 51625"/>
                  <a:gd name="connsiteX18" fmla="*/ 25935 w 51869"/>
                  <a:gd name="connsiteY18" fmla="*/ 12738 h 51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1869" h="51625">
                    <a:moveTo>
                      <a:pt x="25935" y="51626"/>
                    </a:moveTo>
                    <a:cubicBezTo>
                      <a:pt x="19000" y="51626"/>
                      <a:pt x="12494" y="48932"/>
                      <a:pt x="7594" y="44032"/>
                    </a:cubicBezTo>
                    <a:cubicBezTo>
                      <a:pt x="2694" y="39131"/>
                      <a:pt x="0" y="32626"/>
                      <a:pt x="0" y="25691"/>
                    </a:cubicBezTo>
                    <a:cubicBezTo>
                      <a:pt x="0" y="18756"/>
                      <a:pt x="2694" y="12251"/>
                      <a:pt x="7594" y="7351"/>
                    </a:cubicBezTo>
                    <a:cubicBezTo>
                      <a:pt x="17395" y="-2450"/>
                      <a:pt x="34474" y="-2450"/>
                      <a:pt x="44275" y="7351"/>
                    </a:cubicBezTo>
                    <a:lnTo>
                      <a:pt x="44275" y="7351"/>
                    </a:lnTo>
                    <a:lnTo>
                      <a:pt x="44275" y="7351"/>
                    </a:lnTo>
                    <a:cubicBezTo>
                      <a:pt x="49176" y="12251"/>
                      <a:pt x="51869" y="18756"/>
                      <a:pt x="51869" y="25691"/>
                    </a:cubicBezTo>
                    <a:cubicBezTo>
                      <a:pt x="51869" y="32626"/>
                      <a:pt x="49176" y="39131"/>
                      <a:pt x="44275" y="44032"/>
                    </a:cubicBezTo>
                    <a:cubicBezTo>
                      <a:pt x="39375" y="48932"/>
                      <a:pt x="32870" y="51626"/>
                      <a:pt x="25935" y="51626"/>
                    </a:cubicBezTo>
                    <a:close/>
                    <a:moveTo>
                      <a:pt x="25935" y="12738"/>
                    </a:moveTo>
                    <a:cubicBezTo>
                      <a:pt x="22467" y="12738"/>
                      <a:pt x="19200" y="14085"/>
                      <a:pt x="16764" y="16549"/>
                    </a:cubicBezTo>
                    <a:cubicBezTo>
                      <a:pt x="14329" y="19014"/>
                      <a:pt x="12982" y="22252"/>
                      <a:pt x="12982" y="25720"/>
                    </a:cubicBezTo>
                    <a:cubicBezTo>
                      <a:pt x="12982" y="29187"/>
                      <a:pt x="14329" y="32426"/>
                      <a:pt x="16764" y="34890"/>
                    </a:cubicBezTo>
                    <a:cubicBezTo>
                      <a:pt x="21665" y="39791"/>
                      <a:pt x="30205" y="39791"/>
                      <a:pt x="35105" y="34890"/>
                    </a:cubicBezTo>
                    <a:cubicBezTo>
                      <a:pt x="37569" y="32426"/>
                      <a:pt x="38916" y="29187"/>
                      <a:pt x="38916" y="25720"/>
                    </a:cubicBezTo>
                    <a:cubicBezTo>
                      <a:pt x="38916" y="22252"/>
                      <a:pt x="37569" y="19014"/>
                      <a:pt x="35105" y="16549"/>
                    </a:cubicBezTo>
                    <a:lnTo>
                      <a:pt x="35105" y="16549"/>
                    </a:lnTo>
                    <a:cubicBezTo>
                      <a:pt x="32640" y="14085"/>
                      <a:pt x="29402" y="12738"/>
                      <a:pt x="25935" y="12738"/>
                    </a:cubicBezTo>
                    <a:close/>
                  </a:path>
                </a:pathLst>
              </a:custGeom>
              <a:solidFill>
                <a:schemeClr val="accent1"/>
              </a:solidFill>
              <a:ln w="2860" cap="flat">
                <a:noFill/>
                <a:prstDash val="solid"/>
                <a:miter/>
              </a:ln>
            </p:spPr>
            <p:txBody>
              <a:bodyPr rtlCol="0" anchor="ctr"/>
              <a:lstStyle/>
              <a:p>
                <a:endParaRPr lang="en-GB" dirty="0"/>
              </a:p>
            </p:txBody>
          </p:sp>
          <p:sp>
            <p:nvSpPr>
              <p:cNvPr id="249" name="Freihandform: Form 460">
                <a:extLst>
                  <a:ext uri="{FF2B5EF4-FFF2-40B4-BE49-F238E27FC236}">
                    <a16:creationId xmlns:a16="http://schemas.microsoft.com/office/drawing/2014/main" id="{DB2D9181-F05C-4B01-AC27-C4A5E88AB18E}"/>
                  </a:ext>
                </a:extLst>
              </p:cNvPr>
              <p:cNvSpPr/>
              <p:nvPr/>
            </p:nvSpPr>
            <p:spPr>
              <a:xfrm>
                <a:off x="1819262" y="4401080"/>
                <a:ext cx="45048" cy="45048"/>
              </a:xfrm>
              <a:custGeom>
                <a:avLst/>
                <a:gdLst>
                  <a:gd name="connsiteX0" fmla="*/ 6476 w 45048"/>
                  <a:gd name="connsiteY0" fmla="*/ 45049 h 45048"/>
                  <a:gd name="connsiteX1" fmla="*/ 1891 w 45048"/>
                  <a:gd name="connsiteY1" fmla="*/ 43158 h 45048"/>
                  <a:gd name="connsiteX2" fmla="*/ 1891 w 45048"/>
                  <a:gd name="connsiteY2" fmla="*/ 33987 h 45048"/>
                  <a:gd name="connsiteX3" fmla="*/ 33987 w 45048"/>
                  <a:gd name="connsiteY3" fmla="*/ 1891 h 45048"/>
                  <a:gd name="connsiteX4" fmla="*/ 43158 w 45048"/>
                  <a:gd name="connsiteY4" fmla="*/ 1891 h 45048"/>
                  <a:gd name="connsiteX5" fmla="*/ 43158 w 45048"/>
                  <a:gd name="connsiteY5" fmla="*/ 11062 h 45048"/>
                  <a:gd name="connsiteX6" fmla="*/ 11062 w 45048"/>
                  <a:gd name="connsiteY6" fmla="*/ 43158 h 45048"/>
                  <a:gd name="connsiteX7" fmla="*/ 6476 w 45048"/>
                  <a:gd name="connsiteY7" fmla="*/ 45049 h 4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48" h="45048">
                    <a:moveTo>
                      <a:pt x="6476" y="45049"/>
                    </a:moveTo>
                    <a:cubicBezTo>
                      <a:pt x="4814" y="45049"/>
                      <a:pt x="3152" y="44418"/>
                      <a:pt x="1891" y="43158"/>
                    </a:cubicBezTo>
                    <a:cubicBezTo>
                      <a:pt x="-630" y="40636"/>
                      <a:pt x="-630" y="36509"/>
                      <a:pt x="1891" y="33987"/>
                    </a:cubicBezTo>
                    <a:lnTo>
                      <a:pt x="33987" y="1891"/>
                    </a:lnTo>
                    <a:cubicBezTo>
                      <a:pt x="36509" y="-630"/>
                      <a:pt x="40636" y="-630"/>
                      <a:pt x="43158" y="1891"/>
                    </a:cubicBezTo>
                    <a:cubicBezTo>
                      <a:pt x="45679" y="4413"/>
                      <a:pt x="45679" y="8540"/>
                      <a:pt x="43158" y="11062"/>
                    </a:cubicBezTo>
                    <a:lnTo>
                      <a:pt x="11062" y="43158"/>
                    </a:lnTo>
                    <a:cubicBezTo>
                      <a:pt x="9801" y="44418"/>
                      <a:pt x="8139" y="45049"/>
                      <a:pt x="6476" y="45049"/>
                    </a:cubicBezTo>
                    <a:close/>
                  </a:path>
                </a:pathLst>
              </a:custGeom>
              <a:solidFill>
                <a:schemeClr val="accent1"/>
              </a:solidFill>
              <a:ln w="2860" cap="flat">
                <a:noFill/>
                <a:prstDash val="solid"/>
                <a:miter/>
              </a:ln>
            </p:spPr>
            <p:txBody>
              <a:bodyPr rtlCol="0" anchor="ctr"/>
              <a:lstStyle/>
              <a:p>
                <a:endParaRPr lang="en-GB" dirty="0"/>
              </a:p>
            </p:txBody>
          </p:sp>
        </p:grpSp>
        <p:grpSp>
          <p:nvGrpSpPr>
            <p:cNvPr id="228" name="Gruppieren 1013">
              <a:extLst>
                <a:ext uri="{FF2B5EF4-FFF2-40B4-BE49-F238E27FC236}">
                  <a16:creationId xmlns:a16="http://schemas.microsoft.com/office/drawing/2014/main" id="{D9162B84-1D8F-407F-A1BD-947B1F0217CD}"/>
                </a:ext>
              </a:extLst>
            </p:cNvPr>
            <p:cNvGrpSpPr/>
            <p:nvPr/>
          </p:nvGrpSpPr>
          <p:grpSpPr>
            <a:xfrm>
              <a:off x="578065" y="3197068"/>
              <a:ext cx="431970" cy="432000"/>
              <a:chOff x="1734150" y="4124539"/>
              <a:chExt cx="407246" cy="407274"/>
            </a:xfrm>
            <a:solidFill>
              <a:schemeClr val="tx2"/>
            </a:solidFill>
          </p:grpSpPr>
          <p:grpSp>
            <p:nvGrpSpPr>
              <p:cNvPr id="229" name="Grafik 218">
                <a:extLst>
                  <a:ext uri="{FF2B5EF4-FFF2-40B4-BE49-F238E27FC236}">
                    <a16:creationId xmlns:a16="http://schemas.microsoft.com/office/drawing/2014/main" id="{F8507EF4-7A8E-40BB-B448-0638DB141C00}"/>
                  </a:ext>
                </a:extLst>
              </p:cNvPr>
              <p:cNvGrpSpPr/>
              <p:nvPr/>
            </p:nvGrpSpPr>
            <p:grpSpPr>
              <a:xfrm>
                <a:off x="1734150" y="4124539"/>
                <a:ext cx="178017" cy="178017"/>
                <a:chOff x="1734150" y="4124539"/>
                <a:chExt cx="178017" cy="178017"/>
              </a:xfrm>
              <a:grpFill/>
            </p:grpSpPr>
            <p:grpSp>
              <p:nvGrpSpPr>
                <p:cNvPr id="241" name="Grafik 218">
                  <a:extLst>
                    <a:ext uri="{FF2B5EF4-FFF2-40B4-BE49-F238E27FC236}">
                      <a16:creationId xmlns:a16="http://schemas.microsoft.com/office/drawing/2014/main" id="{28DAD6CB-C458-4DB1-B1AE-739EC2D4FC49}"/>
                    </a:ext>
                  </a:extLst>
                </p:cNvPr>
                <p:cNvGrpSpPr/>
                <p:nvPr/>
              </p:nvGrpSpPr>
              <p:grpSpPr>
                <a:xfrm>
                  <a:off x="1734150" y="4124539"/>
                  <a:ext cx="178017" cy="178017"/>
                  <a:chOff x="1734150" y="4124539"/>
                  <a:chExt cx="178017" cy="178017"/>
                </a:xfrm>
                <a:grpFill/>
              </p:grpSpPr>
              <p:sp>
                <p:nvSpPr>
                  <p:cNvPr id="243" name="Freihandform: Form 444">
                    <a:extLst>
                      <a:ext uri="{FF2B5EF4-FFF2-40B4-BE49-F238E27FC236}">
                        <a16:creationId xmlns:a16="http://schemas.microsoft.com/office/drawing/2014/main" id="{8B777FCE-DC3C-43A2-9E0E-EEA01F831DAC}"/>
                      </a:ext>
                    </a:extLst>
                  </p:cNvPr>
                  <p:cNvSpPr/>
                  <p:nvPr/>
                </p:nvSpPr>
                <p:spPr>
                  <a:xfrm>
                    <a:off x="1734150" y="4124539"/>
                    <a:ext cx="178017" cy="178017"/>
                  </a:xfrm>
                  <a:custGeom>
                    <a:avLst/>
                    <a:gdLst>
                      <a:gd name="connsiteX0" fmla="*/ 98179 w 178017"/>
                      <a:gd name="connsiteY0" fmla="*/ 178018 h 178017"/>
                      <a:gd name="connsiteX1" fmla="*/ 93594 w 178017"/>
                      <a:gd name="connsiteY1" fmla="*/ 176127 h 178017"/>
                      <a:gd name="connsiteX2" fmla="*/ 1891 w 178017"/>
                      <a:gd name="connsiteY2" fmla="*/ 84424 h 178017"/>
                      <a:gd name="connsiteX3" fmla="*/ 0 w 178017"/>
                      <a:gd name="connsiteY3" fmla="*/ 79839 h 178017"/>
                      <a:gd name="connsiteX4" fmla="*/ 1891 w 178017"/>
                      <a:gd name="connsiteY4" fmla="*/ 75253 h 178017"/>
                      <a:gd name="connsiteX5" fmla="*/ 75254 w 178017"/>
                      <a:gd name="connsiteY5" fmla="*/ 1891 h 178017"/>
                      <a:gd name="connsiteX6" fmla="*/ 84424 w 178017"/>
                      <a:gd name="connsiteY6" fmla="*/ 1891 h 178017"/>
                      <a:gd name="connsiteX7" fmla="*/ 176127 w 178017"/>
                      <a:gd name="connsiteY7" fmla="*/ 93594 h 178017"/>
                      <a:gd name="connsiteX8" fmla="*/ 178018 w 178017"/>
                      <a:gd name="connsiteY8" fmla="*/ 98179 h 178017"/>
                      <a:gd name="connsiteX9" fmla="*/ 176127 w 178017"/>
                      <a:gd name="connsiteY9" fmla="*/ 102764 h 178017"/>
                      <a:gd name="connsiteX10" fmla="*/ 102764 w 178017"/>
                      <a:gd name="connsiteY10" fmla="*/ 176127 h 178017"/>
                      <a:gd name="connsiteX11" fmla="*/ 98179 w 178017"/>
                      <a:gd name="connsiteY11" fmla="*/ 178018 h 178017"/>
                      <a:gd name="connsiteX12" fmla="*/ 15647 w 178017"/>
                      <a:gd name="connsiteY12" fmla="*/ 79839 h 178017"/>
                      <a:gd name="connsiteX13" fmla="*/ 98179 w 178017"/>
                      <a:gd name="connsiteY13" fmla="*/ 162371 h 178017"/>
                      <a:gd name="connsiteX14" fmla="*/ 162371 w 178017"/>
                      <a:gd name="connsiteY14" fmla="*/ 98179 h 178017"/>
                      <a:gd name="connsiteX15" fmla="*/ 79839 w 178017"/>
                      <a:gd name="connsiteY15" fmla="*/ 15647 h 178017"/>
                      <a:gd name="connsiteX16" fmla="*/ 15647 w 178017"/>
                      <a:gd name="connsiteY16" fmla="*/ 79839 h 178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017" h="178017">
                        <a:moveTo>
                          <a:pt x="98179" y="178018"/>
                        </a:moveTo>
                        <a:cubicBezTo>
                          <a:pt x="96517" y="178018"/>
                          <a:pt x="94855" y="177387"/>
                          <a:pt x="93594" y="176127"/>
                        </a:cubicBezTo>
                        <a:lnTo>
                          <a:pt x="1891" y="84424"/>
                        </a:lnTo>
                        <a:cubicBezTo>
                          <a:pt x="688" y="83220"/>
                          <a:pt x="0" y="81558"/>
                          <a:pt x="0" y="79839"/>
                        </a:cubicBezTo>
                        <a:cubicBezTo>
                          <a:pt x="0" y="78119"/>
                          <a:pt x="688" y="76457"/>
                          <a:pt x="1891" y="75253"/>
                        </a:cubicBezTo>
                        <a:lnTo>
                          <a:pt x="75254" y="1891"/>
                        </a:lnTo>
                        <a:cubicBezTo>
                          <a:pt x="77775" y="-630"/>
                          <a:pt x="81902" y="-630"/>
                          <a:pt x="84424" y="1891"/>
                        </a:cubicBezTo>
                        <a:lnTo>
                          <a:pt x="176127" y="93594"/>
                        </a:lnTo>
                        <a:cubicBezTo>
                          <a:pt x="177330" y="94798"/>
                          <a:pt x="178018" y="96460"/>
                          <a:pt x="178018" y="98179"/>
                        </a:cubicBezTo>
                        <a:cubicBezTo>
                          <a:pt x="178018" y="99899"/>
                          <a:pt x="177330" y="101561"/>
                          <a:pt x="176127" y="102764"/>
                        </a:cubicBezTo>
                        <a:lnTo>
                          <a:pt x="102764" y="176127"/>
                        </a:lnTo>
                        <a:cubicBezTo>
                          <a:pt x="101503" y="177387"/>
                          <a:pt x="99841" y="178018"/>
                          <a:pt x="98179" y="178018"/>
                        </a:cubicBezTo>
                        <a:close/>
                        <a:moveTo>
                          <a:pt x="15647" y="79839"/>
                        </a:moveTo>
                        <a:lnTo>
                          <a:pt x="98179" y="162371"/>
                        </a:lnTo>
                        <a:lnTo>
                          <a:pt x="162371" y="98179"/>
                        </a:lnTo>
                        <a:lnTo>
                          <a:pt x="79839" y="15647"/>
                        </a:lnTo>
                        <a:lnTo>
                          <a:pt x="15647" y="79839"/>
                        </a:lnTo>
                        <a:close/>
                      </a:path>
                    </a:pathLst>
                  </a:custGeom>
                  <a:grpFill/>
                  <a:ln w="2860" cap="flat">
                    <a:noFill/>
                    <a:prstDash val="solid"/>
                    <a:miter/>
                  </a:ln>
                </p:spPr>
                <p:txBody>
                  <a:bodyPr rtlCol="0" anchor="ctr"/>
                  <a:lstStyle/>
                  <a:p>
                    <a:endParaRPr lang="en-GB" dirty="0"/>
                  </a:p>
                </p:txBody>
              </p:sp>
              <p:sp>
                <p:nvSpPr>
                  <p:cNvPr id="244" name="Freihandform: Form 445">
                    <a:extLst>
                      <a:ext uri="{FF2B5EF4-FFF2-40B4-BE49-F238E27FC236}">
                        <a16:creationId xmlns:a16="http://schemas.microsoft.com/office/drawing/2014/main" id="{AC9CF001-55B9-4473-ACBF-49537E23E7B9}"/>
                      </a:ext>
                    </a:extLst>
                  </p:cNvPr>
                  <p:cNvSpPr/>
                  <p:nvPr/>
                </p:nvSpPr>
                <p:spPr>
                  <a:xfrm>
                    <a:off x="1757076" y="4174976"/>
                    <a:ext cx="104655" cy="104655"/>
                  </a:xfrm>
                  <a:custGeom>
                    <a:avLst/>
                    <a:gdLst>
                      <a:gd name="connsiteX0" fmla="*/ 98179 w 104655"/>
                      <a:gd name="connsiteY0" fmla="*/ 104656 h 104655"/>
                      <a:gd name="connsiteX1" fmla="*/ 93594 w 104655"/>
                      <a:gd name="connsiteY1" fmla="*/ 102764 h 104655"/>
                      <a:gd name="connsiteX2" fmla="*/ 1891 w 104655"/>
                      <a:gd name="connsiteY2" fmla="*/ 11062 h 104655"/>
                      <a:gd name="connsiteX3" fmla="*/ 1891 w 104655"/>
                      <a:gd name="connsiteY3" fmla="*/ 1891 h 104655"/>
                      <a:gd name="connsiteX4" fmla="*/ 11062 w 104655"/>
                      <a:gd name="connsiteY4" fmla="*/ 1891 h 104655"/>
                      <a:gd name="connsiteX5" fmla="*/ 102764 w 104655"/>
                      <a:gd name="connsiteY5" fmla="*/ 93594 h 104655"/>
                      <a:gd name="connsiteX6" fmla="*/ 102764 w 104655"/>
                      <a:gd name="connsiteY6" fmla="*/ 102764 h 104655"/>
                      <a:gd name="connsiteX7" fmla="*/ 98179 w 104655"/>
                      <a:gd name="connsiteY7" fmla="*/ 104656 h 104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655" h="104655">
                        <a:moveTo>
                          <a:pt x="98179" y="104656"/>
                        </a:moveTo>
                        <a:cubicBezTo>
                          <a:pt x="96517" y="104656"/>
                          <a:pt x="94855" y="104025"/>
                          <a:pt x="93594" y="102764"/>
                        </a:cubicBezTo>
                        <a:lnTo>
                          <a:pt x="1891" y="11062"/>
                        </a:lnTo>
                        <a:cubicBezTo>
                          <a:pt x="-630" y="8540"/>
                          <a:pt x="-630" y="4413"/>
                          <a:pt x="1891" y="1891"/>
                        </a:cubicBezTo>
                        <a:cubicBezTo>
                          <a:pt x="4413" y="-630"/>
                          <a:pt x="8540" y="-630"/>
                          <a:pt x="11062" y="1891"/>
                        </a:cubicBezTo>
                        <a:lnTo>
                          <a:pt x="102764" y="93594"/>
                        </a:lnTo>
                        <a:cubicBezTo>
                          <a:pt x="105286" y="96116"/>
                          <a:pt x="105286" y="100243"/>
                          <a:pt x="102764" y="102764"/>
                        </a:cubicBezTo>
                        <a:cubicBezTo>
                          <a:pt x="101503" y="104025"/>
                          <a:pt x="99841" y="104656"/>
                          <a:pt x="98179" y="104656"/>
                        </a:cubicBezTo>
                        <a:close/>
                      </a:path>
                    </a:pathLst>
                  </a:custGeom>
                  <a:grpFill/>
                  <a:ln w="2860" cap="flat">
                    <a:noFill/>
                    <a:prstDash val="solid"/>
                    <a:miter/>
                  </a:ln>
                </p:spPr>
                <p:txBody>
                  <a:bodyPr rtlCol="0" anchor="ctr"/>
                  <a:lstStyle/>
                  <a:p>
                    <a:endParaRPr lang="en-GB" dirty="0"/>
                  </a:p>
                </p:txBody>
              </p:sp>
              <p:sp>
                <p:nvSpPr>
                  <p:cNvPr id="245" name="Freihandform: Form 446">
                    <a:extLst>
                      <a:ext uri="{FF2B5EF4-FFF2-40B4-BE49-F238E27FC236}">
                        <a16:creationId xmlns:a16="http://schemas.microsoft.com/office/drawing/2014/main" id="{F6E56AFE-429F-4E61-A86C-21518C380EA3}"/>
                      </a:ext>
                    </a:extLst>
                  </p:cNvPr>
                  <p:cNvSpPr/>
                  <p:nvPr/>
                </p:nvSpPr>
                <p:spPr>
                  <a:xfrm>
                    <a:off x="1784587" y="4147465"/>
                    <a:ext cx="104655" cy="104655"/>
                  </a:xfrm>
                  <a:custGeom>
                    <a:avLst/>
                    <a:gdLst>
                      <a:gd name="connsiteX0" fmla="*/ 98179 w 104655"/>
                      <a:gd name="connsiteY0" fmla="*/ 104656 h 104655"/>
                      <a:gd name="connsiteX1" fmla="*/ 93594 w 104655"/>
                      <a:gd name="connsiteY1" fmla="*/ 102764 h 104655"/>
                      <a:gd name="connsiteX2" fmla="*/ 1891 w 104655"/>
                      <a:gd name="connsiteY2" fmla="*/ 11062 h 104655"/>
                      <a:gd name="connsiteX3" fmla="*/ 1891 w 104655"/>
                      <a:gd name="connsiteY3" fmla="*/ 1891 h 104655"/>
                      <a:gd name="connsiteX4" fmla="*/ 11062 w 104655"/>
                      <a:gd name="connsiteY4" fmla="*/ 1891 h 104655"/>
                      <a:gd name="connsiteX5" fmla="*/ 102764 w 104655"/>
                      <a:gd name="connsiteY5" fmla="*/ 93594 h 104655"/>
                      <a:gd name="connsiteX6" fmla="*/ 102764 w 104655"/>
                      <a:gd name="connsiteY6" fmla="*/ 102764 h 104655"/>
                      <a:gd name="connsiteX7" fmla="*/ 98179 w 104655"/>
                      <a:gd name="connsiteY7" fmla="*/ 104656 h 104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655" h="104655">
                        <a:moveTo>
                          <a:pt x="98179" y="104656"/>
                        </a:moveTo>
                        <a:cubicBezTo>
                          <a:pt x="96517" y="104656"/>
                          <a:pt x="94855" y="104025"/>
                          <a:pt x="93594" y="102764"/>
                        </a:cubicBezTo>
                        <a:lnTo>
                          <a:pt x="1891" y="11062"/>
                        </a:lnTo>
                        <a:cubicBezTo>
                          <a:pt x="-630" y="8540"/>
                          <a:pt x="-630" y="4413"/>
                          <a:pt x="1891" y="1891"/>
                        </a:cubicBezTo>
                        <a:cubicBezTo>
                          <a:pt x="4413" y="-630"/>
                          <a:pt x="8540" y="-630"/>
                          <a:pt x="11062" y="1891"/>
                        </a:cubicBezTo>
                        <a:lnTo>
                          <a:pt x="102764" y="93594"/>
                        </a:lnTo>
                        <a:cubicBezTo>
                          <a:pt x="105286" y="96116"/>
                          <a:pt x="105286" y="100243"/>
                          <a:pt x="102764" y="102764"/>
                        </a:cubicBezTo>
                        <a:cubicBezTo>
                          <a:pt x="101503" y="104025"/>
                          <a:pt x="99841" y="104656"/>
                          <a:pt x="98179" y="104656"/>
                        </a:cubicBezTo>
                        <a:close/>
                      </a:path>
                    </a:pathLst>
                  </a:custGeom>
                  <a:grpFill/>
                  <a:ln w="2860" cap="flat">
                    <a:noFill/>
                    <a:prstDash val="solid"/>
                    <a:miter/>
                  </a:ln>
                </p:spPr>
                <p:txBody>
                  <a:bodyPr rtlCol="0" anchor="ctr"/>
                  <a:lstStyle/>
                  <a:p>
                    <a:endParaRPr lang="en-GB" dirty="0"/>
                  </a:p>
                </p:txBody>
              </p:sp>
            </p:grpSp>
            <p:sp>
              <p:nvSpPr>
                <p:cNvPr id="242" name="Freihandform: Form 447">
                  <a:extLst>
                    <a:ext uri="{FF2B5EF4-FFF2-40B4-BE49-F238E27FC236}">
                      <a16:creationId xmlns:a16="http://schemas.microsoft.com/office/drawing/2014/main" id="{971D77BA-01B6-49C7-8B1D-36B31B51581D}"/>
                    </a:ext>
                  </a:extLst>
                </p:cNvPr>
                <p:cNvSpPr/>
                <p:nvPr/>
              </p:nvSpPr>
              <p:spPr>
                <a:xfrm>
                  <a:off x="1862534" y="4252923"/>
                  <a:ext cx="45048" cy="45048"/>
                </a:xfrm>
                <a:custGeom>
                  <a:avLst/>
                  <a:gdLst>
                    <a:gd name="connsiteX0" fmla="*/ 38572 w 45048"/>
                    <a:gd name="connsiteY0" fmla="*/ 45049 h 45048"/>
                    <a:gd name="connsiteX1" fmla="*/ 33987 w 45048"/>
                    <a:gd name="connsiteY1" fmla="*/ 43158 h 45048"/>
                    <a:gd name="connsiteX2" fmla="*/ 1891 w 45048"/>
                    <a:gd name="connsiteY2" fmla="*/ 11062 h 45048"/>
                    <a:gd name="connsiteX3" fmla="*/ 1891 w 45048"/>
                    <a:gd name="connsiteY3" fmla="*/ 1891 h 45048"/>
                    <a:gd name="connsiteX4" fmla="*/ 11062 w 45048"/>
                    <a:gd name="connsiteY4" fmla="*/ 1891 h 45048"/>
                    <a:gd name="connsiteX5" fmla="*/ 43158 w 45048"/>
                    <a:gd name="connsiteY5" fmla="*/ 33987 h 45048"/>
                    <a:gd name="connsiteX6" fmla="*/ 43158 w 45048"/>
                    <a:gd name="connsiteY6" fmla="*/ 43158 h 45048"/>
                    <a:gd name="connsiteX7" fmla="*/ 38572 w 45048"/>
                    <a:gd name="connsiteY7" fmla="*/ 45049 h 4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48" h="45048">
                      <a:moveTo>
                        <a:pt x="38572" y="45049"/>
                      </a:moveTo>
                      <a:cubicBezTo>
                        <a:pt x="36910" y="45049"/>
                        <a:pt x="35248" y="44418"/>
                        <a:pt x="33987" y="43158"/>
                      </a:cubicBezTo>
                      <a:lnTo>
                        <a:pt x="1891" y="11062"/>
                      </a:lnTo>
                      <a:cubicBezTo>
                        <a:pt x="-630" y="8540"/>
                        <a:pt x="-630" y="4413"/>
                        <a:pt x="1891" y="1891"/>
                      </a:cubicBezTo>
                      <a:cubicBezTo>
                        <a:pt x="4413" y="-630"/>
                        <a:pt x="8540" y="-630"/>
                        <a:pt x="11062" y="1891"/>
                      </a:cubicBezTo>
                      <a:lnTo>
                        <a:pt x="43158" y="33987"/>
                      </a:lnTo>
                      <a:cubicBezTo>
                        <a:pt x="45679" y="36509"/>
                        <a:pt x="45679" y="40636"/>
                        <a:pt x="43158" y="43158"/>
                      </a:cubicBezTo>
                      <a:cubicBezTo>
                        <a:pt x="41897" y="44418"/>
                        <a:pt x="40235" y="45049"/>
                        <a:pt x="38572" y="45049"/>
                      </a:cubicBezTo>
                      <a:close/>
                    </a:path>
                  </a:pathLst>
                </a:custGeom>
                <a:grpFill/>
                <a:ln w="2860" cap="flat">
                  <a:noFill/>
                  <a:prstDash val="solid"/>
                  <a:miter/>
                </a:ln>
              </p:spPr>
              <p:txBody>
                <a:bodyPr rtlCol="0" anchor="ctr"/>
                <a:lstStyle/>
                <a:p>
                  <a:endParaRPr lang="en-GB" dirty="0"/>
                </a:p>
              </p:txBody>
            </p:sp>
          </p:grpSp>
          <p:grpSp>
            <p:nvGrpSpPr>
              <p:cNvPr id="230" name="Grafik 218">
                <a:extLst>
                  <a:ext uri="{FF2B5EF4-FFF2-40B4-BE49-F238E27FC236}">
                    <a16:creationId xmlns:a16="http://schemas.microsoft.com/office/drawing/2014/main" id="{F687355C-67A5-4110-9BD7-25C0CF95C3A8}"/>
                  </a:ext>
                </a:extLst>
              </p:cNvPr>
              <p:cNvGrpSpPr/>
              <p:nvPr/>
            </p:nvGrpSpPr>
            <p:grpSpPr>
              <a:xfrm>
                <a:off x="1963379" y="4353796"/>
                <a:ext cx="178017" cy="178017"/>
                <a:chOff x="1963379" y="4353796"/>
                <a:chExt cx="178017" cy="178017"/>
              </a:xfrm>
              <a:grpFill/>
            </p:grpSpPr>
            <p:grpSp>
              <p:nvGrpSpPr>
                <p:cNvPr id="236" name="Grafik 218">
                  <a:extLst>
                    <a:ext uri="{FF2B5EF4-FFF2-40B4-BE49-F238E27FC236}">
                      <a16:creationId xmlns:a16="http://schemas.microsoft.com/office/drawing/2014/main" id="{383BD4E9-BCB9-40AF-B1B7-D6075C07C7E7}"/>
                    </a:ext>
                  </a:extLst>
                </p:cNvPr>
                <p:cNvGrpSpPr/>
                <p:nvPr/>
              </p:nvGrpSpPr>
              <p:grpSpPr>
                <a:xfrm>
                  <a:off x="1963379" y="4353796"/>
                  <a:ext cx="178017" cy="178017"/>
                  <a:chOff x="1963379" y="4353796"/>
                  <a:chExt cx="178017" cy="178017"/>
                </a:xfrm>
                <a:grpFill/>
              </p:grpSpPr>
              <p:sp>
                <p:nvSpPr>
                  <p:cNvPr id="238" name="Freihandform: Form 450">
                    <a:extLst>
                      <a:ext uri="{FF2B5EF4-FFF2-40B4-BE49-F238E27FC236}">
                        <a16:creationId xmlns:a16="http://schemas.microsoft.com/office/drawing/2014/main" id="{C99E4BA4-5108-4328-A647-B0B1BB3821D4}"/>
                      </a:ext>
                    </a:extLst>
                  </p:cNvPr>
                  <p:cNvSpPr/>
                  <p:nvPr/>
                </p:nvSpPr>
                <p:spPr>
                  <a:xfrm>
                    <a:off x="1963379" y="4353796"/>
                    <a:ext cx="178017" cy="178017"/>
                  </a:xfrm>
                  <a:custGeom>
                    <a:avLst/>
                    <a:gdLst>
                      <a:gd name="connsiteX0" fmla="*/ 98179 w 178017"/>
                      <a:gd name="connsiteY0" fmla="*/ 178018 h 178017"/>
                      <a:gd name="connsiteX1" fmla="*/ 93594 w 178017"/>
                      <a:gd name="connsiteY1" fmla="*/ 176127 h 178017"/>
                      <a:gd name="connsiteX2" fmla="*/ 1891 w 178017"/>
                      <a:gd name="connsiteY2" fmla="*/ 84424 h 178017"/>
                      <a:gd name="connsiteX3" fmla="*/ 0 w 178017"/>
                      <a:gd name="connsiteY3" fmla="*/ 79839 h 178017"/>
                      <a:gd name="connsiteX4" fmla="*/ 1891 w 178017"/>
                      <a:gd name="connsiteY4" fmla="*/ 75253 h 178017"/>
                      <a:gd name="connsiteX5" fmla="*/ 75254 w 178017"/>
                      <a:gd name="connsiteY5" fmla="*/ 1891 h 178017"/>
                      <a:gd name="connsiteX6" fmla="*/ 84424 w 178017"/>
                      <a:gd name="connsiteY6" fmla="*/ 1891 h 178017"/>
                      <a:gd name="connsiteX7" fmla="*/ 176127 w 178017"/>
                      <a:gd name="connsiteY7" fmla="*/ 93594 h 178017"/>
                      <a:gd name="connsiteX8" fmla="*/ 178018 w 178017"/>
                      <a:gd name="connsiteY8" fmla="*/ 98179 h 178017"/>
                      <a:gd name="connsiteX9" fmla="*/ 176127 w 178017"/>
                      <a:gd name="connsiteY9" fmla="*/ 102764 h 178017"/>
                      <a:gd name="connsiteX10" fmla="*/ 102764 w 178017"/>
                      <a:gd name="connsiteY10" fmla="*/ 176127 h 178017"/>
                      <a:gd name="connsiteX11" fmla="*/ 98179 w 178017"/>
                      <a:gd name="connsiteY11" fmla="*/ 178018 h 178017"/>
                      <a:gd name="connsiteX12" fmla="*/ 15675 w 178017"/>
                      <a:gd name="connsiteY12" fmla="*/ 79810 h 178017"/>
                      <a:gd name="connsiteX13" fmla="*/ 98208 w 178017"/>
                      <a:gd name="connsiteY13" fmla="*/ 162342 h 178017"/>
                      <a:gd name="connsiteX14" fmla="*/ 162400 w 178017"/>
                      <a:gd name="connsiteY14" fmla="*/ 98150 h 178017"/>
                      <a:gd name="connsiteX15" fmla="*/ 79867 w 178017"/>
                      <a:gd name="connsiteY15" fmla="*/ 15618 h 178017"/>
                      <a:gd name="connsiteX16" fmla="*/ 15675 w 178017"/>
                      <a:gd name="connsiteY16" fmla="*/ 79810 h 178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017" h="178017">
                        <a:moveTo>
                          <a:pt x="98179" y="178018"/>
                        </a:moveTo>
                        <a:cubicBezTo>
                          <a:pt x="96517" y="178018"/>
                          <a:pt x="94855" y="177387"/>
                          <a:pt x="93594" y="176127"/>
                        </a:cubicBezTo>
                        <a:lnTo>
                          <a:pt x="1891" y="84424"/>
                        </a:lnTo>
                        <a:cubicBezTo>
                          <a:pt x="688" y="83220"/>
                          <a:pt x="0" y="81558"/>
                          <a:pt x="0" y="79839"/>
                        </a:cubicBezTo>
                        <a:cubicBezTo>
                          <a:pt x="0" y="78119"/>
                          <a:pt x="688" y="76457"/>
                          <a:pt x="1891" y="75253"/>
                        </a:cubicBezTo>
                        <a:lnTo>
                          <a:pt x="75254" y="1891"/>
                        </a:lnTo>
                        <a:cubicBezTo>
                          <a:pt x="77775" y="-630"/>
                          <a:pt x="81902" y="-630"/>
                          <a:pt x="84424" y="1891"/>
                        </a:cubicBezTo>
                        <a:lnTo>
                          <a:pt x="176127" y="93594"/>
                        </a:lnTo>
                        <a:cubicBezTo>
                          <a:pt x="177330" y="94798"/>
                          <a:pt x="178018" y="96460"/>
                          <a:pt x="178018" y="98179"/>
                        </a:cubicBezTo>
                        <a:cubicBezTo>
                          <a:pt x="178018" y="99899"/>
                          <a:pt x="177330" y="101561"/>
                          <a:pt x="176127" y="102764"/>
                        </a:cubicBezTo>
                        <a:lnTo>
                          <a:pt x="102764" y="176127"/>
                        </a:lnTo>
                        <a:cubicBezTo>
                          <a:pt x="101503" y="177359"/>
                          <a:pt x="99841" y="178018"/>
                          <a:pt x="98179" y="178018"/>
                        </a:cubicBezTo>
                        <a:close/>
                        <a:moveTo>
                          <a:pt x="15675" y="79810"/>
                        </a:moveTo>
                        <a:lnTo>
                          <a:pt x="98208" y="162342"/>
                        </a:lnTo>
                        <a:lnTo>
                          <a:pt x="162400" y="98150"/>
                        </a:lnTo>
                        <a:lnTo>
                          <a:pt x="79867" y="15618"/>
                        </a:lnTo>
                        <a:lnTo>
                          <a:pt x="15675" y="79810"/>
                        </a:lnTo>
                        <a:close/>
                      </a:path>
                    </a:pathLst>
                  </a:custGeom>
                  <a:grpFill/>
                  <a:ln w="2860" cap="flat">
                    <a:noFill/>
                    <a:prstDash val="solid"/>
                    <a:miter/>
                  </a:ln>
                </p:spPr>
                <p:txBody>
                  <a:bodyPr rtlCol="0" anchor="ctr"/>
                  <a:lstStyle/>
                  <a:p>
                    <a:endParaRPr lang="en-GB" dirty="0"/>
                  </a:p>
                </p:txBody>
              </p:sp>
              <p:sp>
                <p:nvSpPr>
                  <p:cNvPr id="239" name="Freihandform: Form 451">
                    <a:extLst>
                      <a:ext uri="{FF2B5EF4-FFF2-40B4-BE49-F238E27FC236}">
                        <a16:creationId xmlns:a16="http://schemas.microsoft.com/office/drawing/2014/main" id="{33056721-CDC4-4DAE-89B0-C54F5E85C277}"/>
                      </a:ext>
                    </a:extLst>
                  </p:cNvPr>
                  <p:cNvSpPr/>
                  <p:nvPr/>
                </p:nvSpPr>
                <p:spPr>
                  <a:xfrm>
                    <a:off x="1986304" y="4404232"/>
                    <a:ext cx="104655" cy="104655"/>
                  </a:xfrm>
                  <a:custGeom>
                    <a:avLst/>
                    <a:gdLst>
                      <a:gd name="connsiteX0" fmla="*/ 98179 w 104655"/>
                      <a:gd name="connsiteY0" fmla="*/ 104656 h 104655"/>
                      <a:gd name="connsiteX1" fmla="*/ 93594 w 104655"/>
                      <a:gd name="connsiteY1" fmla="*/ 102764 h 104655"/>
                      <a:gd name="connsiteX2" fmla="*/ 1891 w 104655"/>
                      <a:gd name="connsiteY2" fmla="*/ 11062 h 104655"/>
                      <a:gd name="connsiteX3" fmla="*/ 1891 w 104655"/>
                      <a:gd name="connsiteY3" fmla="*/ 1891 h 104655"/>
                      <a:gd name="connsiteX4" fmla="*/ 11062 w 104655"/>
                      <a:gd name="connsiteY4" fmla="*/ 1891 h 104655"/>
                      <a:gd name="connsiteX5" fmla="*/ 102764 w 104655"/>
                      <a:gd name="connsiteY5" fmla="*/ 93594 h 104655"/>
                      <a:gd name="connsiteX6" fmla="*/ 102764 w 104655"/>
                      <a:gd name="connsiteY6" fmla="*/ 102764 h 104655"/>
                      <a:gd name="connsiteX7" fmla="*/ 98179 w 104655"/>
                      <a:gd name="connsiteY7" fmla="*/ 104656 h 104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655" h="104655">
                        <a:moveTo>
                          <a:pt x="98179" y="104656"/>
                        </a:moveTo>
                        <a:cubicBezTo>
                          <a:pt x="96517" y="104656"/>
                          <a:pt x="94855" y="104025"/>
                          <a:pt x="93594" y="102764"/>
                        </a:cubicBezTo>
                        <a:lnTo>
                          <a:pt x="1891" y="11062"/>
                        </a:lnTo>
                        <a:cubicBezTo>
                          <a:pt x="-630" y="8540"/>
                          <a:pt x="-630" y="4413"/>
                          <a:pt x="1891" y="1891"/>
                        </a:cubicBezTo>
                        <a:cubicBezTo>
                          <a:pt x="4413" y="-630"/>
                          <a:pt x="8540" y="-630"/>
                          <a:pt x="11062" y="1891"/>
                        </a:cubicBezTo>
                        <a:lnTo>
                          <a:pt x="102764" y="93594"/>
                        </a:lnTo>
                        <a:cubicBezTo>
                          <a:pt x="105286" y="96116"/>
                          <a:pt x="105286" y="100243"/>
                          <a:pt x="102764" y="102764"/>
                        </a:cubicBezTo>
                        <a:cubicBezTo>
                          <a:pt x="101503" y="104025"/>
                          <a:pt x="99841" y="104656"/>
                          <a:pt x="98179" y="104656"/>
                        </a:cubicBezTo>
                        <a:close/>
                      </a:path>
                    </a:pathLst>
                  </a:custGeom>
                  <a:grpFill/>
                  <a:ln w="2860" cap="flat">
                    <a:noFill/>
                    <a:prstDash val="solid"/>
                    <a:miter/>
                  </a:ln>
                </p:spPr>
                <p:txBody>
                  <a:bodyPr rtlCol="0" anchor="ctr"/>
                  <a:lstStyle/>
                  <a:p>
                    <a:endParaRPr lang="en-GB" dirty="0"/>
                  </a:p>
                </p:txBody>
              </p:sp>
              <p:sp>
                <p:nvSpPr>
                  <p:cNvPr id="240" name="Freihandform: Form 452">
                    <a:extLst>
                      <a:ext uri="{FF2B5EF4-FFF2-40B4-BE49-F238E27FC236}">
                        <a16:creationId xmlns:a16="http://schemas.microsoft.com/office/drawing/2014/main" id="{A63C16FD-4086-425E-929F-01DCB85D3978}"/>
                      </a:ext>
                    </a:extLst>
                  </p:cNvPr>
                  <p:cNvSpPr/>
                  <p:nvPr/>
                </p:nvSpPr>
                <p:spPr>
                  <a:xfrm>
                    <a:off x="2013815" y="4376722"/>
                    <a:ext cx="104655" cy="104655"/>
                  </a:xfrm>
                  <a:custGeom>
                    <a:avLst/>
                    <a:gdLst>
                      <a:gd name="connsiteX0" fmla="*/ 98179 w 104655"/>
                      <a:gd name="connsiteY0" fmla="*/ 104656 h 104655"/>
                      <a:gd name="connsiteX1" fmla="*/ 93594 w 104655"/>
                      <a:gd name="connsiteY1" fmla="*/ 102764 h 104655"/>
                      <a:gd name="connsiteX2" fmla="*/ 1891 w 104655"/>
                      <a:gd name="connsiteY2" fmla="*/ 11062 h 104655"/>
                      <a:gd name="connsiteX3" fmla="*/ 1891 w 104655"/>
                      <a:gd name="connsiteY3" fmla="*/ 1891 h 104655"/>
                      <a:gd name="connsiteX4" fmla="*/ 11062 w 104655"/>
                      <a:gd name="connsiteY4" fmla="*/ 1891 h 104655"/>
                      <a:gd name="connsiteX5" fmla="*/ 102764 w 104655"/>
                      <a:gd name="connsiteY5" fmla="*/ 93594 h 104655"/>
                      <a:gd name="connsiteX6" fmla="*/ 102764 w 104655"/>
                      <a:gd name="connsiteY6" fmla="*/ 102764 h 104655"/>
                      <a:gd name="connsiteX7" fmla="*/ 98179 w 104655"/>
                      <a:gd name="connsiteY7" fmla="*/ 104656 h 104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655" h="104655">
                        <a:moveTo>
                          <a:pt x="98179" y="104656"/>
                        </a:moveTo>
                        <a:cubicBezTo>
                          <a:pt x="96517" y="104656"/>
                          <a:pt x="94855" y="104025"/>
                          <a:pt x="93594" y="102764"/>
                        </a:cubicBezTo>
                        <a:lnTo>
                          <a:pt x="1891" y="11062"/>
                        </a:lnTo>
                        <a:cubicBezTo>
                          <a:pt x="-630" y="8540"/>
                          <a:pt x="-630" y="4413"/>
                          <a:pt x="1891" y="1891"/>
                        </a:cubicBezTo>
                        <a:cubicBezTo>
                          <a:pt x="4413" y="-630"/>
                          <a:pt x="8540" y="-630"/>
                          <a:pt x="11062" y="1891"/>
                        </a:cubicBezTo>
                        <a:lnTo>
                          <a:pt x="102764" y="93594"/>
                        </a:lnTo>
                        <a:cubicBezTo>
                          <a:pt x="105286" y="96116"/>
                          <a:pt x="105286" y="100243"/>
                          <a:pt x="102764" y="102764"/>
                        </a:cubicBezTo>
                        <a:cubicBezTo>
                          <a:pt x="101503" y="104025"/>
                          <a:pt x="99841" y="104656"/>
                          <a:pt x="98179" y="104656"/>
                        </a:cubicBezTo>
                        <a:close/>
                      </a:path>
                    </a:pathLst>
                  </a:custGeom>
                  <a:grpFill/>
                  <a:ln w="2860" cap="flat">
                    <a:noFill/>
                    <a:prstDash val="solid"/>
                    <a:miter/>
                  </a:ln>
                </p:spPr>
                <p:txBody>
                  <a:bodyPr rtlCol="0" anchor="ctr"/>
                  <a:lstStyle/>
                  <a:p>
                    <a:endParaRPr lang="en-GB" dirty="0"/>
                  </a:p>
                </p:txBody>
              </p:sp>
            </p:grpSp>
            <p:sp>
              <p:nvSpPr>
                <p:cNvPr id="237" name="Freihandform: Form 453">
                  <a:extLst>
                    <a:ext uri="{FF2B5EF4-FFF2-40B4-BE49-F238E27FC236}">
                      <a16:creationId xmlns:a16="http://schemas.microsoft.com/office/drawing/2014/main" id="{6F3CDAE0-6C52-4443-9406-D3301DCADFD0}"/>
                    </a:ext>
                  </a:extLst>
                </p:cNvPr>
                <p:cNvSpPr/>
                <p:nvPr/>
              </p:nvSpPr>
              <p:spPr>
                <a:xfrm>
                  <a:off x="1967992" y="4358381"/>
                  <a:ext cx="45048" cy="45048"/>
                </a:xfrm>
                <a:custGeom>
                  <a:avLst/>
                  <a:gdLst>
                    <a:gd name="connsiteX0" fmla="*/ 38572 w 45048"/>
                    <a:gd name="connsiteY0" fmla="*/ 45049 h 45048"/>
                    <a:gd name="connsiteX1" fmla="*/ 33987 w 45048"/>
                    <a:gd name="connsiteY1" fmla="*/ 43158 h 45048"/>
                    <a:gd name="connsiteX2" fmla="*/ 1891 w 45048"/>
                    <a:gd name="connsiteY2" fmla="*/ 11062 h 45048"/>
                    <a:gd name="connsiteX3" fmla="*/ 1891 w 45048"/>
                    <a:gd name="connsiteY3" fmla="*/ 1891 h 45048"/>
                    <a:gd name="connsiteX4" fmla="*/ 11062 w 45048"/>
                    <a:gd name="connsiteY4" fmla="*/ 1891 h 45048"/>
                    <a:gd name="connsiteX5" fmla="*/ 43158 w 45048"/>
                    <a:gd name="connsiteY5" fmla="*/ 33987 h 45048"/>
                    <a:gd name="connsiteX6" fmla="*/ 43158 w 45048"/>
                    <a:gd name="connsiteY6" fmla="*/ 43158 h 45048"/>
                    <a:gd name="connsiteX7" fmla="*/ 38572 w 45048"/>
                    <a:gd name="connsiteY7" fmla="*/ 45049 h 45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048" h="45048">
                      <a:moveTo>
                        <a:pt x="38572" y="45049"/>
                      </a:moveTo>
                      <a:cubicBezTo>
                        <a:pt x="36910" y="45049"/>
                        <a:pt x="35248" y="44419"/>
                        <a:pt x="33987" y="43158"/>
                      </a:cubicBezTo>
                      <a:lnTo>
                        <a:pt x="1891" y="11062"/>
                      </a:lnTo>
                      <a:cubicBezTo>
                        <a:pt x="-630" y="8540"/>
                        <a:pt x="-630" y="4413"/>
                        <a:pt x="1891" y="1891"/>
                      </a:cubicBezTo>
                      <a:cubicBezTo>
                        <a:pt x="4413" y="-630"/>
                        <a:pt x="8540" y="-630"/>
                        <a:pt x="11062" y="1891"/>
                      </a:cubicBezTo>
                      <a:lnTo>
                        <a:pt x="43158" y="33987"/>
                      </a:lnTo>
                      <a:cubicBezTo>
                        <a:pt x="45679" y="36509"/>
                        <a:pt x="45679" y="40636"/>
                        <a:pt x="43158" y="43158"/>
                      </a:cubicBezTo>
                      <a:cubicBezTo>
                        <a:pt x="41868" y="44419"/>
                        <a:pt x="40235" y="45049"/>
                        <a:pt x="38572" y="45049"/>
                      </a:cubicBezTo>
                      <a:close/>
                    </a:path>
                  </a:pathLst>
                </a:custGeom>
                <a:grpFill/>
                <a:ln w="2860" cap="flat">
                  <a:noFill/>
                  <a:prstDash val="solid"/>
                  <a:miter/>
                </a:ln>
              </p:spPr>
              <p:txBody>
                <a:bodyPr rtlCol="0" anchor="ctr"/>
                <a:lstStyle/>
                <a:p>
                  <a:endParaRPr lang="en-GB" dirty="0"/>
                </a:p>
              </p:txBody>
            </p:sp>
          </p:grpSp>
          <p:sp>
            <p:nvSpPr>
              <p:cNvPr id="231" name="Freihandform: Form 454">
                <a:extLst>
                  <a:ext uri="{FF2B5EF4-FFF2-40B4-BE49-F238E27FC236}">
                    <a16:creationId xmlns:a16="http://schemas.microsoft.com/office/drawing/2014/main" id="{B260F8BD-12C2-42EF-A452-9197CD38D2FF}"/>
                  </a:ext>
                </a:extLst>
              </p:cNvPr>
              <p:cNvSpPr/>
              <p:nvPr/>
            </p:nvSpPr>
            <p:spPr>
              <a:xfrm>
                <a:off x="1839609" y="4229396"/>
                <a:ext cx="196960" cy="196960"/>
              </a:xfrm>
              <a:custGeom>
                <a:avLst/>
                <a:gdLst>
                  <a:gd name="connsiteX0" fmla="*/ 79839 w 196960"/>
                  <a:gd name="connsiteY0" fmla="*/ 196960 h 196960"/>
                  <a:gd name="connsiteX1" fmla="*/ 75254 w 196960"/>
                  <a:gd name="connsiteY1" fmla="*/ 195069 h 196960"/>
                  <a:gd name="connsiteX2" fmla="*/ 75254 w 196960"/>
                  <a:gd name="connsiteY2" fmla="*/ 185899 h 196960"/>
                  <a:gd name="connsiteX3" fmla="*/ 179823 w 196960"/>
                  <a:gd name="connsiteY3" fmla="*/ 81329 h 196960"/>
                  <a:gd name="connsiteX4" fmla="*/ 183979 w 196960"/>
                  <a:gd name="connsiteY4" fmla="*/ 71270 h 196960"/>
                  <a:gd name="connsiteX5" fmla="*/ 179823 w 196960"/>
                  <a:gd name="connsiteY5" fmla="*/ 61212 h 196960"/>
                  <a:gd name="connsiteX6" fmla="*/ 135749 w 196960"/>
                  <a:gd name="connsiteY6" fmla="*/ 17137 h 196960"/>
                  <a:gd name="connsiteX7" fmla="*/ 115631 w 196960"/>
                  <a:gd name="connsiteY7" fmla="*/ 17137 h 196960"/>
                  <a:gd name="connsiteX8" fmla="*/ 11062 w 196960"/>
                  <a:gd name="connsiteY8" fmla="*/ 121707 h 196960"/>
                  <a:gd name="connsiteX9" fmla="*/ 1891 w 196960"/>
                  <a:gd name="connsiteY9" fmla="*/ 121707 h 196960"/>
                  <a:gd name="connsiteX10" fmla="*/ 1891 w 196960"/>
                  <a:gd name="connsiteY10" fmla="*/ 112536 h 196960"/>
                  <a:gd name="connsiteX11" fmla="*/ 106461 w 196960"/>
                  <a:gd name="connsiteY11" fmla="*/ 7967 h 196960"/>
                  <a:gd name="connsiteX12" fmla="*/ 125690 w 196960"/>
                  <a:gd name="connsiteY12" fmla="*/ 0 h 196960"/>
                  <a:gd name="connsiteX13" fmla="*/ 144919 w 196960"/>
                  <a:gd name="connsiteY13" fmla="*/ 7967 h 196960"/>
                  <a:gd name="connsiteX14" fmla="*/ 188994 w 196960"/>
                  <a:gd name="connsiteY14" fmla="*/ 52041 h 196960"/>
                  <a:gd name="connsiteX15" fmla="*/ 196960 w 196960"/>
                  <a:gd name="connsiteY15" fmla="*/ 71270 h 196960"/>
                  <a:gd name="connsiteX16" fmla="*/ 188994 w 196960"/>
                  <a:gd name="connsiteY16" fmla="*/ 90499 h 196960"/>
                  <a:gd name="connsiteX17" fmla="*/ 84424 w 196960"/>
                  <a:gd name="connsiteY17" fmla="*/ 195069 h 196960"/>
                  <a:gd name="connsiteX18" fmla="*/ 79839 w 196960"/>
                  <a:gd name="connsiteY18" fmla="*/ 196960 h 196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6960" h="196960">
                    <a:moveTo>
                      <a:pt x="79839" y="196960"/>
                    </a:moveTo>
                    <a:cubicBezTo>
                      <a:pt x="78177" y="196960"/>
                      <a:pt x="76514" y="196330"/>
                      <a:pt x="75254" y="195069"/>
                    </a:cubicBezTo>
                    <a:cubicBezTo>
                      <a:pt x="72732" y="192547"/>
                      <a:pt x="72732" y="188420"/>
                      <a:pt x="75254" y="185899"/>
                    </a:cubicBezTo>
                    <a:lnTo>
                      <a:pt x="179823" y="81329"/>
                    </a:lnTo>
                    <a:cubicBezTo>
                      <a:pt x="182517" y="78635"/>
                      <a:pt x="183979" y="75082"/>
                      <a:pt x="183979" y="71270"/>
                    </a:cubicBezTo>
                    <a:cubicBezTo>
                      <a:pt x="183979" y="67487"/>
                      <a:pt x="182488" y="63905"/>
                      <a:pt x="179823" y="61212"/>
                    </a:cubicBezTo>
                    <a:lnTo>
                      <a:pt x="135749" y="17137"/>
                    </a:lnTo>
                    <a:cubicBezTo>
                      <a:pt x="130361" y="11778"/>
                      <a:pt x="121019" y="11749"/>
                      <a:pt x="115631" y="17137"/>
                    </a:cubicBezTo>
                    <a:lnTo>
                      <a:pt x="11062" y="121707"/>
                    </a:lnTo>
                    <a:cubicBezTo>
                      <a:pt x="8540" y="124228"/>
                      <a:pt x="4413" y="124228"/>
                      <a:pt x="1891" y="121707"/>
                    </a:cubicBezTo>
                    <a:cubicBezTo>
                      <a:pt x="-630" y="119185"/>
                      <a:pt x="-630" y="115058"/>
                      <a:pt x="1891" y="112536"/>
                    </a:cubicBezTo>
                    <a:lnTo>
                      <a:pt x="106461" y="7967"/>
                    </a:lnTo>
                    <a:cubicBezTo>
                      <a:pt x="111591" y="2837"/>
                      <a:pt x="118411" y="0"/>
                      <a:pt x="125690" y="0"/>
                    </a:cubicBezTo>
                    <a:cubicBezTo>
                      <a:pt x="132940" y="0"/>
                      <a:pt x="139789" y="2837"/>
                      <a:pt x="144919" y="7967"/>
                    </a:cubicBezTo>
                    <a:lnTo>
                      <a:pt x="188994" y="52041"/>
                    </a:lnTo>
                    <a:cubicBezTo>
                      <a:pt x="194123" y="57171"/>
                      <a:pt x="196960" y="63991"/>
                      <a:pt x="196960" y="71270"/>
                    </a:cubicBezTo>
                    <a:cubicBezTo>
                      <a:pt x="196960" y="78520"/>
                      <a:pt x="194123" y="85369"/>
                      <a:pt x="188994" y="90499"/>
                    </a:cubicBezTo>
                    <a:lnTo>
                      <a:pt x="84424" y="195069"/>
                    </a:lnTo>
                    <a:cubicBezTo>
                      <a:pt x="83163" y="196330"/>
                      <a:pt x="81501" y="196960"/>
                      <a:pt x="79839" y="196960"/>
                    </a:cubicBezTo>
                    <a:close/>
                  </a:path>
                </a:pathLst>
              </a:custGeom>
              <a:grpFill/>
              <a:ln w="2860" cap="flat">
                <a:noFill/>
                <a:prstDash val="solid"/>
                <a:miter/>
              </a:ln>
            </p:spPr>
            <p:txBody>
              <a:bodyPr rtlCol="0" anchor="ctr"/>
              <a:lstStyle/>
              <a:p>
                <a:endParaRPr lang="en-GB" dirty="0"/>
              </a:p>
            </p:txBody>
          </p:sp>
          <p:sp>
            <p:nvSpPr>
              <p:cNvPr id="232" name="Freihandform: Form 455">
                <a:extLst>
                  <a:ext uri="{FF2B5EF4-FFF2-40B4-BE49-F238E27FC236}">
                    <a16:creationId xmlns:a16="http://schemas.microsoft.com/office/drawing/2014/main" id="{6A5D32FB-DD70-42C2-AE2D-ABD90F5EDCC3}"/>
                  </a:ext>
                </a:extLst>
              </p:cNvPr>
              <p:cNvSpPr/>
              <p:nvPr/>
            </p:nvSpPr>
            <p:spPr>
              <a:xfrm>
                <a:off x="1977163" y="4226494"/>
                <a:ext cx="62529" cy="62307"/>
              </a:xfrm>
              <a:custGeom>
                <a:avLst/>
                <a:gdLst>
                  <a:gd name="connsiteX0" fmla="*/ 43158 w 62529"/>
                  <a:gd name="connsiteY0" fmla="*/ 62308 h 62307"/>
                  <a:gd name="connsiteX1" fmla="*/ 38572 w 62529"/>
                  <a:gd name="connsiteY1" fmla="*/ 60416 h 62307"/>
                  <a:gd name="connsiteX2" fmla="*/ 1891 w 62529"/>
                  <a:gd name="connsiteY2" fmla="*/ 23735 h 62307"/>
                  <a:gd name="connsiteX3" fmla="*/ 0 w 62529"/>
                  <a:gd name="connsiteY3" fmla="*/ 19150 h 62307"/>
                  <a:gd name="connsiteX4" fmla="*/ 1891 w 62529"/>
                  <a:gd name="connsiteY4" fmla="*/ 14565 h 62307"/>
                  <a:gd name="connsiteX5" fmla="*/ 10918 w 62529"/>
                  <a:gd name="connsiteY5" fmla="*/ 5567 h 62307"/>
                  <a:gd name="connsiteX6" fmla="*/ 38744 w 62529"/>
                  <a:gd name="connsiteY6" fmla="*/ 5567 h 62307"/>
                  <a:gd name="connsiteX7" fmla="*/ 56770 w 62529"/>
                  <a:gd name="connsiteY7" fmla="*/ 23592 h 62307"/>
                  <a:gd name="connsiteX8" fmla="*/ 62530 w 62529"/>
                  <a:gd name="connsiteY8" fmla="*/ 37491 h 62307"/>
                  <a:gd name="connsiteX9" fmla="*/ 56770 w 62529"/>
                  <a:gd name="connsiteY9" fmla="*/ 51389 h 62307"/>
                  <a:gd name="connsiteX10" fmla="*/ 56770 w 62529"/>
                  <a:gd name="connsiteY10" fmla="*/ 51389 h 62307"/>
                  <a:gd name="connsiteX11" fmla="*/ 47743 w 62529"/>
                  <a:gd name="connsiteY11" fmla="*/ 60388 h 62307"/>
                  <a:gd name="connsiteX12" fmla="*/ 43158 w 62529"/>
                  <a:gd name="connsiteY12" fmla="*/ 62308 h 62307"/>
                  <a:gd name="connsiteX13" fmla="*/ 52156 w 62529"/>
                  <a:gd name="connsiteY13" fmla="*/ 46804 h 62307"/>
                  <a:gd name="connsiteX14" fmla="*/ 52213 w 62529"/>
                  <a:gd name="connsiteY14" fmla="*/ 46804 h 62307"/>
                  <a:gd name="connsiteX15" fmla="*/ 52156 w 62529"/>
                  <a:gd name="connsiteY15" fmla="*/ 46804 h 62307"/>
                  <a:gd name="connsiteX16" fmla="*/ 15647 w 62529"/>
                  <a:gd name="connsiteY16" fmla="*/ 19150 h 62307"/>
                  <a:gd name="connsiteX17" fmla="*/ 43158 w 62529"/>
                  <a:gd name="connsiteY17" fmla="*/ 46661 h 62307"/>
                  <a:gd name="connsiteX18" fmla="*/ 47571 w 62529"/>
                  <a:gd name="connsiteY18" fmla="*/ 42248 h 62307"/>
                  <a:gd name="connsiteX19" fmla="*/ 49548 w 62529"/>
                  <a:gd name="connsiteY19" fmla="*/ 37519 h 62307"/>
                  <a:gd name="connsiteX20" fmla="*/ 47571 w 62529"/>
                  <a:gd name="connsiteY20" fmla="*/ 32762 h 62307"/>
                  <a:gd name="connsiteX21" fmla="*/ 29545 w 62529"/>
                  <a:gd name="connsiteY21" fmla="*/ 14737 h 62307"/>
                  <a:gd name="connsiteX22" fmla="*/ 20060 w 62529"/>
                  <a:gd name="connsiteY22" fmla="*/ 14737 h 62307"/>
                  <a:gd name="connsiteX23" fmla="*/ 15647 w 62529"/>
                  <a:gd name="connsiteY23" fmla="*/ 19150 h 62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529" h="62307">
                    <a:moveTo>
                      <a:pt x="43158" y="62308"/>
                    </a:moveTo>
                    <a:cubicBezTo>
                      <a:pt x="41495" y="62308"/>
                      <a:pt x="39833" y="61677"/>
                      <a:pt x="38572" y="60416"/>
                    </a:cubicBezTo>
                    <a:lnTo>
                      <a:pt x="1891" y="23735"/>
                    </a:lnTo>
                    <a:cubicBezTo>
                      <a:pt x="688" y="22532"/>
                      <a:pt x="0" y="20869"/>
                      <a:pt x="0" y="19150"/>
                    </a:cubicBezTo>
                    <a:cubicBezTo>
                      <a:pt x="0" y="17431"/>
                      <a:pt x="688" y="15769"/>
                      <a:pt x="1891" y="14565"/>
                    </a:cubicBezTo>
                    <a:lnTo>
                      <a:pt x="10918" y="5567"/>
                    </a:lnTo>
                    <a:cubicBezTo>
                      <a:pt x="18341" y="-1856"/>
                      <a:pt x="31322" y="-1856"/>
                      <a:pt x="38744" y="5567"/>
                    </a:cubicBezTo>
                    <a:lnTo>
                      <a:pt x="56770" y="23592"/>
                    </a:lnTo>
                    <a:cubicBezTo>
                      <a:pt x="60495" y="27289"/>
                      <a:pt x="62530" y="32246"/>
                      <a:pt x="62530" y="37491"/>
                    </a:cubicBezTo>
                    <a:cubicBezTo>
                      <a:pt x="62530" y="42735"/>
                      <a:pt x="60495" y="47693"/>
                      <a:pt x="56770" y="51389"/>
                    </a:cubicBezTo>
                    <a:lnTo>
                      <a:pt x="56770" y="51389"/>
                    </a:lnTo>
                    <a:lnTo>
                      <a:pt x="47743" y="60388"/>
                    </a:lnTo>
                    <a:cubicBezTo>
                      <a:pt x="46453" y="61677"/>
                      <a:pt x="44791" y="62308"/>
                      <a:pt x="43158" y="62308"/>
                    </a:cubicBezTo>
                    <a:close/>
                    <a:moveTo>
                      <a:pt x="52156" y="46804"/>
                    </a:moveTo>
                    <a:lnTo>
                      <a:pt x="52213" y="46804"/>
                    </a:lnTo>
                    <a:lnTo>
                      <a:pt x="52156" y="46804"/>
                    </a:lnTo>
                    <a:close/>
                    <a:moveTo>
                      <a:pt x="15647" y="19150"/>
                    </a:moveTo>
                    <a:lnTo>
                      <a:pt x="43158" y="46661"/>
                    </a:lnTo>
                    <a:lnTo>
                      <a:pt x="47571" y="42248"/>
                    </a:lnTo>
                    <a:cubicBezTo>
                      <a:pt x="48832" y="40987"/>
                      <a:pt x="49548" y="39296"/>
                      <a:pt x="49548" y="37519"/>
                    </a:cubicBezTo>
                    <a:cubicBezTo>
                      <a:pt x="49548" y="35714"/>
                      <a:pt x="48860" y="34052"/>
                      <a:pt x="47571" y="32762"/>
                    </a:cubicBezTo>
                    <a:lnTo>
                      <a:pt x="29545" y="14737"/>
                    </a:lnTo>
                    <a:cubicBezTo>
                      <a:pt x="26995" y="12215"/>
                      <a:pt x="22610" y="12215"/>
                      <a:pt x="20060" y="14737"/>
                    </a:cubicBezTo>
                    <a:lnTo>
                      <a:pt x="15647" y="19150"/>
                    </a:lnTo>
                    <a:close/>
                  </a:path>
                </a:pathLst>
              </a:custGeom>
              <a:grpFill/>
              <a:ln w="2860" cap="flat">
                <a:noFill/>
                <a:prstDash val="solid"/>
                <a:miter/>
              </a:ln>
            </p:spPr>
            <p:txBody>
              <a:bodyPr rtlCol="0" anchor="ctr"/>
              <a:lstStyle/>
              <a:p>
                <a:endParaRPr lang="en-GB" dirty="0"/>
              </a:p>
            </p:txBody>
          </p:sp>
          <p:sp>
            <p:nvSpPr>
              <p:cNvPr id="233" name="Freihandform: Form 457">
                <a:extLst>
                  <a:ext uri="{FF2B5EF4-FFF2-40B4-BE49-F238E27FC236}">
                    <a16:creationId xmlns:a16="http://schemas.microsoft.com/office/drawing/2014/main" id="{8005F63D-3785-4441-A6C2-F87C12D1F431}"/>
                  </a:ext>
                </a:extLst>
              </p:cNvPr>
              <p:cNvSpPr/>
              <p:nvPr/>
            </p:nvSpPr>
            <p:spPr>
              <a:xfrm>
                <a:off x="1957202" y="4279301"/>
                <a:ext cx="53933" cy="59707"/>
              </a:xfrm>
              <a:custGeom>
                <a:avLst/>
                <a:gdLst>
                  <a:gd name="connsiteX0" fmla="*/ 47443 w 53933"/>
                  <a:gd name="connsiteY0" fmla="*/ 59708 h 59707"/>
                  <a:gd name="connsiteX1" fmla="*/ 42026 w 53933"/>
                  <a:gd name="connsiteY1" fmla="*/ 56814 h 59707"/>
                  <a:gd name="connsiteX2" fmla="*/ 10590 w 53933"/>
                  <a:gd name="connsiteY2" fmla="*/ 19473 h 59707"/>
                  <a:gd name="connsiteX3" fmla="*/ 2078 w 53933"/>
                  <a:gd name="connsiteY3" fmla="*/ 11249 h 59707"/>
                  <a:gd name="connsiteX4" fmla="*/ 1735 w 53933"/>
                  <a:gd name="connsiteY4" fmla="*/ 2079 h 59707"/>
                  <a:gd name="connsiteX5" fmla="*/ 10905 w 53933"/>
                  <a:gd name="connsiteY5" fmla="*/ 1735 h 59707"/>
                  <a:gd name="connsiteX6" fmla="*/ 19788 w 53933"/>
                  <a:gd name="connsiteY6" fmla="*/ 10303 h 59707"/>
                  <a:gd name="connsiteX7" fmla="*/ 52859 w 53933"/>
                  <a:gd name="connsiteY7" fmla="*/ 49649 h 59707"/>
                  <a:gd name="connsiteX8" fmla="*/ 51025 w 53933"/>
                  <a:gd name="connsiteY8" fmla="*/ 58648 h 59707"/>
                  <a:gd name="connsiteX9" fmla="*/ 47443 w 53933"/>
                  <a:gd name="connsiteY9" fmla="*/ 59708 h 59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933" h="59707">
                    <a:moveTo>
                      <a:pt x="47443" y="59708"/>
                    </a:moveTo>
                    <a:cubicBezTo>
                      <a:pt x="45351" y="59708"/>
                      <a:pt x="43287" y="58676"/>
                      <a:pt x="42026" y="56814"/>
                    </a:cubicBezTo>
                    <a:cubicBezTo>
                      <a:pt x="34031" y="44720"/>
                      <a:pt x="24345" y="33229"/>
                      <a:pt x="10590" y="19473"/>
                    </a:cubicBezTo>
                    <a:cubicBezTo>
                      <a:pt x="7753" y="16636"/>
                      <a:pt x="4916" y="13885"/>
                      <a:pt x="2078" y="11249"/>
                    </a:cubicBezTo>
                    <a:cubicBezTo>
                      <a:pt x="-558" y="8813"/>
                      <a:pt x="-701" y="4715"/>
                      <a:pt x="1735" y="2079"/>
                    </a:cubicBezTo>
                    <a:cubicBezTo>
                      <a:pt x="4170" y="-558"/>
                      <a:pt x="8268" y="-701"/>
                      <a:pt x="10905" y="1735"/>
                    </a:cubicBezTo>
                    <a:cubicBezTo>
                      <a:pt x="13857" y="4457"/>
                      <a:pt x="16837" y="7323"/>
                      <a:pt x="19788" y="10303"/>
                    </a:cubicBezTo>
                    <a:cubicBezTo>
                      <a:pt x="34146" y="24660"/>
                      <a:pt x="44348" y="36811"/>
                      <a:pt x="52859" y="49649"/>
                    </a:cubicBezTo>
                    <a:cubicBezTo>
                      <a:pt x="54836" y="52630"/>
                      <a:pt x="54005" y="56670"/>
                      <a:pt x="51025" y="58648"/>
                    </a:cubicBezTo>
                    <a:cubicBezTo>
                      <a:pt x="49936" y="59364"/>
                      <a:pt x="48675" y="59708"/>
                      <a:pt x="47443" y="59708"/>
                    </a:cubicBezTo>
                    <a:close/>
                  </a:path>
                </a:pathLst>
              </a:custGeom>
              <a:grpFill/>
              <a:ln w="2860" cap="flat">
                <a:noFill/>
                <a:prstDash val="solid"/>
                <a:miter/>
              </a:ln>
            </p:spPr>
            <p:txBody>
              <a:bodyPr rtlCol="0" anchor="ctr"/>
              <a:lstStyle/>
              <a:p>
                <a:endParaRPr lang="en-GB" dirty="0"/>
              </a:p>
            </p:txBody>
          </p:sp>
          <p:sp>
            <p:nvSpPr>
              <p:cNvPr id="234" name="Freihandform: Form 461">
                <a:extLst>
                  <a:ext uri="{FF2B5EF4-FFF2-40B4-BE49-F238E27FC236}">
                    <a16:creationId xmlns:a16="http://schemas.microsoft.com/office/drawing/2014/main" id="{93C81A51-E3D1-428D-8E6E-706FB9120C93}"/>
                  </a:ext>
                </a:extLst>
              </p:cNvPr>
              <p:cNvSpPr/>
              <p:nvPr/>
            </p:nvSpPr>
            <p:spPr>
              <a:xfrm>
                <a:off x="1780002" y="4170391"/>
                <a:ext cx="86315" cy="86315"/>
              </a:xfrm>
              <a:custGeom>
                <a:avLst/>
                <a:gdLst>
                  <a:gd name="connsiteX0" fmla="*/ 6477 w 86315"/>
                  <a:gd name="connsiteY0" fmla="*/ 86315 h 86315"/>
                  <a:gd name="connsiteX1" fmla="*/ 1891 w 86315"/>
                  <a:gd name="connsiteY1" fmla="*/ 84424 h 86315"/>
                  <a:gd name="connsiteX2" fmla="*/ 1891 w 86315"/>
                  <a:gd name="connsiteY2" fmla="*/ 75253 h 86315"/>
                  <a:gd name="connsiteX3" fmla="*/ 75254 w 86315"/>
                  <a:gd name="connsiteY3" fmla="*/ 1891 h 86315"/>
                  <a:gd name="connsiteX4" fmla="*/ 84424 w 86315"/>
                  <a:gd name="connsiteY4" fmla="*/ 1891 h 86315"/>
                  <a:gd name="connsiteX5" fmla="*/ 84424 w 86315"/>
                  <a:gd name="connsiteY5" fmla="*/ 11062 h 86315"/>
                  <a:gd name="connsiteX6" fmla="*/ 11062 w 86315"/>
                  <a:gd name="connsiteY6" fmla="*/ 84424 h 86315"/>
                  <a:gd name="connsiteX7" fmla="*/ 6477 w 86315"/>
                  <a:gd name="connsiteY7" fmla="*/ 86315 h 8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315" h="86315">
                    <a:moveTo>
                      <a:pt x="6477" y="86315"/>
                    </a:moveTo>
                    <a:cubicBezTo>
                      <a:pt x="4814" y="86315"/>
                      <a:pt x="3152" y="85685"/>
                      <a:pt x="1891" y="84424"/>
                    </a:cubicBezTo>
                    <a:cubicBezTo>
                      <a:pt x="-630" y="81902"/>
                      <a:pt x="-630" y="77775"/>
                      <a:pt x="1891" y="75253"/>
                    </a:cubicBezTo>
                    <a:lnTo>
                      <a:pt x="75254" y="1891"/>
                    </a:lnTo>
                    <a:cubicBezTo>
                      <a:pt x="77775" y="-630"/>
                      <a:pt x="81902" y="-630"/>
                      <a:pt x="84424" y="1891"/>
                    </a:cubicBezTo>
                    <a:cubicBezTo>
                      <a:pt x="86946" y="4413"/>
                      <a:pt x="86946" y="8540"/>
                      <a:pt x="84424" y="11062"/>
                    </a:cubicBezTo>
                    <a:lnTo>
                      <a:pt x="11062" y="84424"/>
                    </a:lnTo>
                    <a:cubicBezTo>
                      <a:pt x="9801" y="85685"/>
                      <a:pt x="8139" y="86315"/>
                      <a:pt x="6477" y="86315"/>
                    </a:cubicBezTo>
                    <a:close/>
                  </a:path>
                </a:pathLst>
              </a:custGeom>
              <a:grpFill/>
              <a:ln w="2860" cap="flat">
                <a:noFill/>
                <a:prstDash val="solid"/>
                <a:miter/>
              </a:ln>
            </p:spPr>
            <p:txBody>
              <a:bodyPr rtlCol="0" anchor="ctr"/>
              <a:lstStyle/>
              <a:p>
                <a:endParaRPr lang="en-GB" dirty="0"/>
              </a:p>
            </p:txBody>
          </p:sp>
          <p:sp>
            <p:nvSpPr>
              <p:cNvPr id="235" name="Freihandform: Form 462">
                <a:extLst>
                  <a:ext uri="{FF2B5EF4-FFF2-40B4-BE49-F238E27FC236}">
                    <a16:creationId xmlns:a16="http://schemas.microsoft.com/office/drawing/2014/main" id="{34E6BA5A-5ED5-4FAB-B38D-EA443957697E}"/>
                  </a:ext>
                </a:extLst>
              </p:cNvPr>
              <p:cNvSpPr/>
              <p:nvPr/>
            </p:nvSpPr>
            <p:spPr>
              <a:xfrm>
                <a:off x="2009259" y="4399647"/>
                <a:ext cx="86315" cy="86315"/>
              </a:xfrm>
              <a:custGeom>
                <a:avLst/>
                <a:gdLst>
                  <a:gd name="connsiteX0" fmla="*/ 6477 w 86315"/>
                  <a:gd name="connsiteY0" fmla="*/ 86315 h 86315"/>
                  <a:gd name="connsiteX1" fmla="*/ 1891 w 86315"/>
                  <a:gd name="connsiteY1" fmla="*/ 84424 h 86315"/>
                  <a:gd name="connsiteX2" fmla="*/ 1891 w 86315"/>
                  <a:gd name="connsiteY2" fmla="*/ 75253 h 86315"/>
                  <a:gd name="connsiteX3" fmla="*/ 75254 w 86315"/>
                  <a:gd name="connsiteY3" fmla="*/ 1891 h 86315"/>
                  <a:gd name="connsiteX4" fmla="*/ 84424 w 86315"/>
                  <a:gd name="connsiteY4" fmla="*/ 1891 h 86315"/>
                  <a:gd name="connsiteX5" fmla="*/ 84424 w 86315"/>
                  <a:gd name="connsiteY5" fmla="*/ 11062 h 86315"/>
                  <a:gd name="connsiteX6" fmla="*/ 11062 w 86315"/>
                  <a:gd name="connsiteY6" fmla="*/ 84424 h 86315"/>
                  <a:gd name="connsiteX7" fmla="*/ 6477 w 86315"/>
                  <a:gd name="connsiteY7" fmla="*/ 86315 h 86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6315" h="86315">
                    <a:moveTo>
                      <a:pt x="6477" y="86315"/>
                    </a:moveTo>
                    <a:cubicBezTo>
                      <a:pt x="4814" y="86315"/>
                      <a:pt x="3152" y="85685"/>
                      <a:pt x="1891" y="84424"/>
                    </a:cubicBezTo>
                    <a:cubicBezTo>
                      <a:pt x="-630" y="81902"/>
                      <a:pt x="-630" y="77775"/>
                      <a:pt x="1891" y="75253"/>
                    </a:cubicBezTo>
                    <a:lnTo>
                      <a:pt x="75254" y="1891"/>
                    </a:lnTo>
                    <a:cubicBezTo>
                      <a:pt x="77775" y="-630"/>
                      <a:pt x="81902" y="-630"/>
                      <a:pt x="84424" y="1891"/>
                    </a:cubicBezTo>
                    <a:cubicBezTo>
                      <a:pt x="86946" y="4413"/>
                      <a:pt x="86946" y="8540"/>
                      <a:pt x="84424" y="11062"/>
                    </a:cubicBezTo>
                    <a:lnTo>
                      <a:pt x="11062" y="84424"/>
                    </a:lnTo>
                    <a:cubicBezTo>
                      <a:pt x="9772" y="85685"/>
                      <a:pt x="8139" y="86315"/>
                      <a:pt x="6477" y="86315"/>
                    </a:cubicBezTo>
                    <a:close/>
                  </a:path>
                </a:pathLst>
              </a:custGeom>
              <a:grpFill/>
              <a:ln w="2860" cap="flat">
                <a:noFill/>
                <a:prstDash val="solid"/>
                <a:miter/>
              </a:ln>
            </p:spPr>
            <p:txBody>
              <a:bodyPr rtlCol="0" anchor="ctr"/>
              <a:lstStyle/>
              <a:p>
                <a:endParaRPr lang="en-GB" dirty="0"/>
              </a:p>
            </p:txBody>
          </p:sp>
        </p:grpSp>
      </p:grpSp>
      <p:grpSp>
        <p:nvGrpSpPr>
          <p:cNvPr id="4" name="Group 3">
            <a:extLst>
              <a:ext uri="{FF2B5EF4-FFF2-40B4-BE49-F238E27FC236}">
                <a16:creationId xmlns:a16="http://schemas.microsoft.com/office/drawing/2014/main" id="{B043BC75-7ABF-CD1F-D68C-0BB8E2F6671D}"/>
              </a:ext>
            </a:extLst>
          </p:cNvPr>
          <p:cNvGrpSpPr/>
          <p:nvPr/>
        </p:nvGrpSpPr>
        <p:grpSpPr>
          <a:xfrm>
            <a:off x="2578913" y="3241127"/>
            <a:ext cx="612002" cy="343883"/>
            <a:chOff x="2578913" y="3241127"/>
            <a:chExt cx="612002" cy="343883"/>
          </a:xfrm>
        </p:grpSpPr>
        <p:grpSp>
          <p:nvGrpSpPr>
            <p:cNvPr id="251" name="Grafik 219">
              <a:extLst>
                <a:ext uri="{FF2B5EF4-FFF2-40B4-BE49-F238E27FC236}">
                  <a16:creationId xmlns:a16="http://schemas.microsoft.com/office/drawing/2014/main" id="{243C771C-5938-458B-BB4F-0BB1C9BB9108}"/>
                </a:ext>
              </a:extLst>
            </p:cNvPr>
            <p:cNvGrpSpPr/>
            <p:nvPr/>
          </p:nvGrpSpPr>
          <p:grpSpPr>
            <a:xfrm>
              <a:off x="2578913" y="3310096"/>
              <a:ext cx="428276" cy="274222"/>
              <a:chOff x="5291695" y="1818079"/>
              <a:chExt cx="376231" cy="240897"/>
            </a:xfrm>
            <a:solidFill>
              <a:schemeClr val="tx2"/>
            </a:solidFill>
          </p:grpSpPr>
          <p:grpSp>
            <p:nvGrpSpPr>
              <p:cNvPr id="255" name="Grafik 219">
                <a:extLst>
                  <a:ext uri="{FF2B5EF4-FFF2-40B4-BE49-F238E27FC236}">
                    <a16:creationId xmlns:a16="http://schemas.microsoft.com/office/drawing/2014/main" id="{C8C176BF-4132-4B96-88D4-D72F8D616A27}"/>
                  </a:ext>
                </a:extLst>
              </p:cNvPr>
              <p:cNvGrpSpPr/>
              <p:nvPr/>
            </p:nvGrpSpPr>
            <p:grpSpPr>
              <a:xfrm>
                <a:off x="5291695" y="1818079"/>
                <a:ext cx="376231" cy="240897"/>
                <a:chOff x="5291695" y="1818079"/>
                <a:chExt cx="376231" cy="240897"/>
              </a:xfrm>
              <a:grpFill/>
            </p:grpSpPr>
            <p:sp>
              <p:nvSpPr>
                <p:cNvPr id="257" name="Freihandform: Form 740">
                  <a:extLst>
                    <a:ext uri="{FF2B5EF4-FFF2-40B4-BE49-F238E27FC236}">
                      <a16:creationId xmlns:a16="http://schemas.microsoft.com/office/drawing/2014/main" id="{A25E9044-C587-4998-9DFD-8A42632EEEBD}"/>
                    </a:ext>
                  </a:extLst>
                </p:cNvPr>
                <p:cNvSpPr/>
                <p:nvPr/>
              </p:nvSpPr>
              <p:spPr>
                <a:xfrm>
                  <a:off x="5291695" y="1818079"/>
                  <a:ext cx="286909" cy="204765"/>
                </a:xfrm>
                <a:custGeom>
                  <a:avLst/>
                  <a:gdLst>
                    <a:gd name="connsiteX0" fmla="*/ 16834 w 286909"/>
                    <a:gd name="connsiteY0" fmla="*/ 204737 h 204765"/>
                    <a:gd name="connsiteX1" fmla="*/ 0 w 286909"/>
                    <a:gd name="connsiteY1" fmla="*/ 187844 h 204765"/>
                    <a:gd name="connsiteX2" fmla="*/ 0 w 286909"/>
                    <a:gd name="connsiteY2" fmla="*/ 180890 h 204765"/>
                    <a:gd name="connsiteX3" fmla="*/ 11213 w 286909"/>
                    <a:gd name="connsiteY3" fmla="*/ 164983 h 204765"/>
                    <a:gd name="connsiteX4" fmla="*/ 18196 w 286909"/>
                    <a:gd name="connsiteY4" fmla="*/ 125346 h 204765"/>
                    <a:gd name="connsiteX5" fmla="*/ 40101 w 286909"/>
                    <a:gd name="connsiteY5" fmla="*/ 101934 h 204765"/>
                    <a:gd name="connsiteX6" fmla="*/ 105787 w 286909"/>
                    <a:gd name="connsiteY6" fmla="*/ 85911 h 204765"/>
                    <a:gd name="connsiteX7" fmla="*/ 169098 w 286909"/>
                    <a:gd name="connsiteY7" fmla="*/ 12025 h 204765"/>
                    <a:gd name="connsiteX8" fmla="*/ 194509 w 286909"/>
                    <a:gd name="connsiteY8" fmla="*/ 290 h 204765"/>
                    <a:gd name="connsiteX9" fmla="*/ 280332 w 286909"/>
                    <a:gd name="connsiteY9" fmla="*/ 0 h 204765"/>
                    <a:gd name="connsiteX10" fmla="*/ 280361 w 286909"/>
                    <a:gd name="connsiteY10" fmla="*/ 0 h 204765"/>
                    <a:gd name="connsiteX11" fmla="*/ 286910 w 286909"/>
                    <a:gd name="connsiteY11" fmla="*/ 6548 h 204765"/>
                    <a:gd name="connsiteX12" fmla="*/ 280361 w 286909"/>
                    <a:gd name="connsiteY12" fmla="*/ 13126 h 204765"/>
                    <a:gd name="connsiteX13" fmla="*/ 194538 w 286909"/>
                    <a:gd name="connsiteY13" fmla="*/ 13415 h 204765"/>
                    <a:gd name="connsiteX14" fmla="*/ 179036 w 286909"/>
                    <a:gd name="connsiteY14" fmla="*/ 20572 h 204765"/>
                    <a:gd name="connsiteX15" fmla="*/ 113002 w 286909"/>
                    <a:gd name="connsiteY15" fmla="*/ 97646 h 204765"/>
                    <a:gd name="connsiteX16" fmla="*/ 43231 w 286909"/>
                    <a:gd name="connsiteY16" fmla="*/ 114683 h 204765"/>
                    <a:gd name="connsiteX17" fmla="*/ 31119 w 286909"/>
                    <a:gd name="connsiteY17" fmla="*/ 127606 h 204765"/>
                    <a:gd name="connsiteX18" fmla="*/ 22398 w 286909"/>
                    <a:gd name="connsiteY18" fmla="*/ 177124 h 204765"/>
                    <a:gd name="connsiteX19" fmla="*/ 16892 w 286909"/>
                    <a:gd name="connsiteY19" fmla="*/ 177124 h 204765"/>
                    <a:gd name="connsiteX20" fmla="*/ 13097 w 286909"/>
                    <a:gd name="connsiteY20" fmla="*/ 180919 h 204765"/>
                    <a:gd name="connsiteX21" fmla="*/ 13097 w 286909"/>
                    <a:gd name="connsiteY21" fmla="*/ 187873 h 204765"/>
                    <a:gd name="connsiteX22" fmla="*/ 16863 w 286909"/>
                    <a:gd name="connsiteY22" fmla="*/ 191669 h 204765"/>
                    <a:gd name="connsiteX23" fmla="*/ 58066 w 286909"/>
                    <a:gd name="connsiteY23" fmla="*/ 191669 h 204765"/>
                    <a:gd name="connsiteX24" fmla="*/ 64614 w 286909"/>
                    <a:gd name="connsiteY24" fmla="*/ 198217 h 204765"/>
                    <a:gd name="connsiteX25" fmla="*/ 58066 w 286909"/>
                    <a:gd name="connsiteY25" fmla="*/ 204766 h 204765"/>
                    <a:gd name="connsiteX26" fmla="*/ 16834 w 286909"/>
                    <a:gd name="connsiteY26" fmla="*/ 204737 h 20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6909" h="204765">
                      <a:moveTo>
                        <a:pt x="16834" y="204737"/>
                      </a:moveTo>
                      <a:cubicBezTo>
                        <a:pt x="7533" y="204708"/>
                        <a:pt x="0" y="197116"/>
                        <a:pt x="0" y="187844"/>
                      </a:cubicBezTo>
                      <a:lnTo>
                        <a:pt x="0" y="180890"/>
                      </a:lnTo>
                      <a:cubicBezTo>
                        <a:pt x="0" y="173560"/>
                        <a:pt x="4694" y="167301"/>
                        <a:pt x="11213" y="164983"/>
                      </a:cubicBezTo>
                      <a:lnTo>
                        <a:pt x="18196" y="125346"/>
                      </a:lnTo>
                      <a:cubicBezTo>
                        <a:pt x="20224" y="113900"/>
                        <a:pt x="28830" y="104715"/>
                        <a:pt x="40101" y="101934"/>
                      </a:cubicBezTo>
                      <a:lnTo>
                        <a:pt x="105787" y="85911"/>
                      </a:lnTo>
                      <a:lnTo>
                        <a:pt x="169098" y="12025"/>
                      </a:lnTo>
                      <a:cubicBezTo>
                        <a:pt x="175472" y="4607"/>
                        <a:pt x="184715" y="319"/>
                        <a:pt x="194509" y="290"/>
                      </a:cubicBezTo>
                      <a:lnTo>
                        <a:pt x="280332" y="0"/>
                      </a:lnTo>
                      <a:cubicBezTo>
                        <a:pt x="280332" y="0"/>
                        <a:pt x="280361" y="0"/>
                        <a:pt x="280361" y="0"/>
                      </a:cubicBezTo>
                      <a:cubicBezTo>
                        <a:pt x="283983" y="0"/>
                        <a:pt x="286910" y="2926"/>
                        <a:pt x="286910" y="6548"/>
                      </a:cubicBezTo>
                      <a:cubicBezTo>
                        <a:pt x="286910" y="10170"/>
                        <a:pt x="283983" y="13126"/>
                        <a:pt x="280361" y="13126"/>
                      </a:cubicBezTo>
                      <a:lnTo>
                        <a:pt x="194538" y="13415"/>
                      </a:lnTo>
                      <a:cubicBezTo>
                        <a:pt x="188569" y="13444"/>
                        <a:pt x="182919" y="16052"/>
                        <a:pt x="179036" y="20572"/>
                      </a:cubicBezTo>
                      <a:lnTo>
                        <a:pt x="113002" y="97646"/>
                      </a:lnTo>
                      <a:lnTo>
                        <a:pt x="43231" y="114683"/>
                      </a:lnTo>
                      <a:cubicBezTo>
                        <a:pt x="37001" y="116218"/>
                        <a:pt x="32220" y="121289"/>
                        <a:pt x="31119" y="127606"/>
                      </a:cubicBezTo>
                      <a:lnTo>
                        <a:pt x="22398" y="177124"/>
                      </a:lnTo>
                      <a:lnTo>
                        <a:pt x="16892" y="177124"/>
                      </a:lnTo>
                      <a:cubicBezTo>
                        <a:pt x="14806" y="177124"/>
                        <a:pt x="13097" y="178833"/>
                        <a:pt x="13097" y="180919"/>
                      </a:cubicBezTo>
                      <a:lnTo>
                        <a:pt x="13097" y="187873"/>
                      </a:lnTo>
                      <a:cubicBezTo>
                        <a:pt x="13097" y="189960"/>
                        <a:pt x="14777" y="191640"/>
                        <a:pt x="16863" y="191669"/>
                      </a:cubicBezTo>
                      <a:lnTo>
                        <a:pt x="58066" y="191669"/>
                      </a:lnTo>
                      <a:cubicBezTo>
                        <a:pt x="61688" y="191669"/>
                        <a:pt x="64614" y="194596"/>
                        <a:pt x="64614" y="198217"/>
                      </a:cubicBezTo>
                      <a:cubicBezTo>
                        <a:pt x="64614" y="201839"/>
                        <a:pt x="61688" y="204766"/>
                        <a:pt x="58066" y="204766"/>
                      </a:cubicBezTo>
                      <a:lnTo>
                        <a:pt x="16834" y="204737"/>
                      </a:lnTo>
                      <a:close/>
                    </a:path>
                  </a:pathLst>
                </a:custGeom>
                <a:grpFill/>
                <a:ln w="2891" cap="flat">
                  <a:noFill/>
                  <a:prstDash val="solid"/>
                  <a:miter/>
                </a:ln>
              </p:spPr>
              <p:txBody>
                <a:bodyPr rtlCol="0" anchor="ctr"/>
                <a:lstStyle/>
                <a:p>
                  <a:endParaRPr lang="en-GB" dirty="0"/>
                </a:p>
              </p:txBody>
            </p:sp>
            <p:sp>
              <p:nvSpPr>
                <p:cNvPr id="258" name="Freihandform: Form 741">
                  <a:extLst>
                    <a:ext uri="{FF2B5EF4-FFF2-40B4-BE49-F238E27FC236}">
                      <a16:creationId xmlns:a16="http://schemas.microsoft.com/office/drawing/2014/main" id="{5B0F26DB-DFD4-4918-9EE5-3A63680A5743}"/>
                    </a:ext>
                  </a:extLst>
                </p:cNvPr>
                <p:cNvSpPr/>
                <p:nvPr/>
              </p:nvSpPr>
              <p:spPr>
                <a:xfrm>
                  <a:off x="5442306" y="2009690"/>
                  <a:ext cx="157449" cy="13125"/>
                </a:xfrm>
                <a:custGeom>
                  <a:avLst/>
                  <a:gdLst>
                    <a:gd name="connsiteX0" fmla="*/ 6548 w 157449"/>
                    <a:gd name="connsiteY0" fmla="*/ 13126 h 13125"/>
                    <a:gd name="connsiteX1" fmla="*/ 0 w 157449"/>
                    <a:gd name="connsiteY1" fmla="*/ 6577 h 13125"/>
                    <a:gd name="connsiteX2" fmla="*/ 6548 w 157449"/>
                    <a:gd name="connsiteY2" fmla="*/ 29 h 13125"/>
                    <a:gd name="connsiteX3" fmla="*/ 150901 w 157449"/>
                    <a:gd name="connsiteY3" fmla="*/ 0 h 13125"/>
                    <a:gd name="connsiteX4" fmla="*/ 157450 w 157449"/>
                    <a:gd name="connsiteY4" fmla="*/ 6548 h 13125"/>
                    <a:gd name="connsiteX5" fmla="*/ 150901 w 157449"/>
                    <a:gd name="connsiteY5" fmla="*/ 13097 h 13125"/>
                    <a:gd name="connsiteX6" fmla="*/ 6548 w 157449"/>
                    <a:gd name="connsiteY6" fmla="*/ 13126 h 1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449" h="13125">
                      <a:moveTo>
                        <a:pt x="6548" y="13126"/>
                      </a:moveTo>
                      <a:cubicBezTo>
                        <a:pt x="2926" y="13126"/>
                        <a:pt x="0" y="10199"/>
                        <a:pt x="0" y="6577"/>
                      </a:cubicBezTo>
                      <a:cubicBezTo>
                        <a:pt x="0" y="2955"/>
                        <a:pt x="2926" y="29"/>
                        <a:pt x="6548" y="29"/>
                      </a:cubicBezTo>
                      <a:lnTo>
                        <a:pt x="150901" y="0"/>
                      </a:lnTo>
                      <a:cubicBezTo>
                        <a:pt x="154523" y="0"/>
                        <a:pt x="157450" y="2926"/>
                        <a:pt x="157450" y="6548"/>
                      </a:cubicBezTo>
                      <a:cubicBezTo>
                        <a:pt x="157450" y="10170"/>
                        <a:pt x="154523" y="13097"/>
                        <a:pt x="150901" y="13097"/>
                      </a:cubicBezTo>
                      <a:lnTo>
                        <a:pt x="6548" y="13126"/>
                      </a:lnTo>
                      <a:close/>
                    </a:path>
                  </a:pathLst>
                </a:custGeom>
                <a:grpFill/>
                <a:ln w="2891" cap="flat">
                  <a:noFill/>
                  <a:prstDash val="solid"/>
                  <a:miter/>
                </a:ln>
              </p:spPr>
              <p:txBody>
                <a:bodyPr rtlCol="0" anchor="ctr"/>
                <a:lstStyle/>
                <a:p>
                  <a:endParaRPr lang="en-GB" dirty="0"/>
                </a:p>
              </p:txBody>
            </p:sp>
            <p:sp>
              <p:nvSpPr>
                <p:cNvPr id="259" name="Freihandform: Form 742">
                  <a:extLst>
                    <a:ext uri="{FF2B5EF4-FFF2-40B4-BE49-F238E27FC236}">
                      <a16:creationId xmlns:a16="http://schemas.microsoft.com/office/drawing/2014/main" id="{5C622A73-AEDA-4D89-83AF-E593CEBB1115}"/>
                    </a:ext>
                  </a:extLst>
                </p:cNvPr>
                <p:cNvSpPr/>
                <p:nvPr/>
              </p:nvSpPr>
              <p:spPr>
                <a:xfrm>
                  <a:off x="5343386" y="1961389"/>
                  <a:ext cx="97587" cy="97587"/>
                </a:xfrm>
                <a:custGeom>
                  <a:avLst/>
                  <a:gdLst>
                    <a:gd name="connsiteX0" fmla="*/ 48794 w 97587"/>
                    <a:gd name="connsiteY0" fmla="*/ 97588 h 97587"/>
                    <a:gd name="connsiteX1" fmla="*/ 0 w 97587"/>
                    <a:gd name="connsiteY1" fmla="*/ 48794 h 97587"/>
                    <a:gd name="connsiteX2" fmla="*/ 48794 w 97587"/>
                    <a:gd name="connsiteY2" fmla="*/ 0 h 97587"/>
                    <a:gd name="connsiteX3" fmla="*/ 97588 w 97587"/>
                    <a:gd name="connsiteY3" fmla="*/ 48794 h 97587"/>
                    <a:gd name="connsiteX4" fmla="*/ 48794 w 97587"/>
                    <a:gd name="connsiteY4" fmla="*/ 97588 h 97587"/>
                    <a:gd name="connsiteX5" fmla="*/ 48794 w 97587"/>
                    <a:gd name="connsiteY5" fmla="*/ 13126 h 97587"/>
                    <a:gd name="connsiteX6" fmla="*/ 13126 w 97587"/>
                    <a:gd name="connsiteY6" fmla="*/ 48794 h 97587"/>
                    <a:gd name="connsiteX7" fmla="*/ 48794 w 97587"/>
                    <a:gd name="connsiteY7" fmla="*/ 84462 h 97587"/>
                    <a:gd name="connsiteX8" fmla="*/ 84462 w 97587"/>
                    <a:gd name="connsiteY8" fmla="*/ 48794 h 97587"/>
                    <a:gd name="connsiteX9" fmla="*/ 48794 w 97587"/>
                    <a:gd name="connsiteY9" fmla="*/ 13126 h 9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587" h="97587">
                      <a:moveTo>
                        <a:pt x="48794" y="97588"/>
                      </a:moveTo>
                      <a:cubicBezTo>
                        <a:pt x="21905" y="97588"/>
                        <a:pt x="0" y="75711"/>
                        <a:pt x="0" y="48794"/>
                      </a:cubicBezTo>
                      <a:cubicBezTo>
                        <a:pt x="0" y="21905"/>
                        <a:pt x="21876" y="0"/>
                        <a:pt x="48794" y="0"/>
                      </a:cubicBezTo>
                      <a:cubicBezTo>
                        <a:pt x="75682" y="0"/>
                        <a:pt x="97588" y="21876"/>
                        <a:pt x="97588" y="48794"/>
                      </a:cubicBezTo>
                      <a:cubicBezTo>
                        <a:pt x="97588" y="75683"/>
                        <a:pt x="75711" y="97588"/>
                        <a:pt x="48794" y="97588"/>
                      </a:cubicBezTo>
                      <a:close/>
                      <a:moveTo>
                        <a:pt x="48794" y="13126"/>
                      </a:moveTo>
                      <a:cubicBezTo>
                        <a:pt x="29120" y="13126"/>
                        <a:pt x="13126" y="29120"/>
                        <a:pt x="13126" y="48794"/>
                      </a:cubicBezTo>
                      <a:cubicBezTo>
                        <a:pt x="13126" y="68468"/>
                        <a:pt x="29120" y="84462"/>
                        <a:pt x="48794" y="84462"/>
                      </a:cubicBezTo>
                      <a:cubicBezTo>
                        <a:pt x="68468" y="84462"/>
                        <a:pt x="84462" y="68468"/>
                        <a:pt x="84462" y="48794"/>
                      </a:cubicBezTo>
                      <a:cubicBezTo>
                        <a:pt x="84462" y="29120"/>
                        <a:pt x="68468" y="13126"/>
                        <a:pt x="48794" y="13126"/>
                      </a:cubicBezTo>
                      <a:close/>
                    </a:path>
                  </a:pathLst>
                </a:custGeom>
                <a:grpFill/>
                <a:ln w="2891" cap="flat">
                  <a:noFill/>
                  <a:prstDash val="solid"/>
                  <a:miter/>
                </a:ln>
              </p:spPr>
              <p:txBody>
                <a:bodyPr rtlCol="0" anchor="ctr"/>
                <a:lstStyle/>
                <a:p>
                  <a:endParaRPr lang="en-GB" dirty="0"/>
                </a:p>
              </p:txBody>
            </p:sp>
            <p:sp>
              <p:nvSpPr>
                <p:cNvPr id="260" name="Freihandform: Form 743">
                  <a:extLst>
                    <a:ext uri="{FF2B5EF4-FFF2-40B4-BE49-F238E27FC236}">
                      <a16:creationId xmlns:a16="http://schemas.microsoft.com/office/drawing/2014/main" id="{F09496A9-2C44-4F0D-8983-7DE620DAC306}"/>
                    </a:ext>
                  </a:extLst>
                </p:cNvPr>
                <p:cNvSpPr/>
                <p:nvPr/>
              </p:nvSpPr>
              <p:spPr>
                <a:xfrm>
                  <a:off x="5586022" y="1977619"/>
                  <a:ext cx="81904" cy="81357"/>
                </a:xfrm>
                <a:custGeom>
                  <a:avLst/>
                  <a:gdLst>
                    <a:gd name="connsiteX0" fmla="*/ 48794 w 81904"/>
                    <a:gd name="connsiteY0" fmla="*/ 81357 h 81357"/>
                    <a:gd name="connsiteX1" fmla="*/ 0 w 81904"/>
                    <a:gd name="connsiteY1" fmla="*/ 32564 h 81357"/>
                    <a:gd name="connsiteX2" fmla="*/ 10344 w 81904"/>
                    <a:gd name="connsiteY2" fmla="*/ 2517 h 81357"/>
                    <a:gd name="connsiteX3" fmla="*/ 19558 w 81904"/>
                    <a:gd name="connsiteY3" fmla="*/ 1387 h 81357"/>
                    <a:gd name="connsiteX4" fmla="*/ 20688 w 81904"/>
                    <a:gd name="connsiteY4" fmla="*/ 10601 h 81357"/>
                    <a:gd name="connsiteX5" fmla="*/ 13126 w 81904"/>
                    <a:gd name="connsiteY5" fmla="*/ 32564 h 81357"/>
                    <a:gd name="connsiteX6" fmla="*/ 48794 w 81904"/>
                    <a:gd name="connsiteY6" fmla="*/ 68232 h 81357"/>
                    <a:gd name="connsiteX7" fmla="*/ 71220 w 81904"/>
                    <a:gd name="connsiteY7" fmla="*/ 60293 h 81357"/>
                    <a:gd name="connsiteX8" fmla="*/ 80434 w 81904"/>
                    <a:gd name="connsiteY8" fmla="*/ 61249 h 81357"/>
                    <a:gd name="connsiteX9" fmla="*/ 79478 w 81904"/>
                    <a:gd name="connsiteY9" fmla="*/ 70463 h 81357"/>
                    <a:gd name="connsiteX10" fmla="*/ 48794 w 81904"/>
                    <a:gd name="connsiteY10" fmla="*/ 81357 h 81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904" h="81357">
                      <a:moveTo>
                        <a:pt x="48794" y="81357"/>
                      </a:moveTo>
                      <a:cubicBezTo>
                        <a:pt x="21905" y="81357"/>
                        <a:pt x="0" y="59481"/>
                        <a:pt x="0" y="32564"/>
                      </a:cubicBezTo>
                      <a:cubicBezTo>
                        <a:pt x="0" y="21553"/>
                        <a:pt x="3593" y="11180"/>
                        <a:pt x="10344" y="2517"/>
                      </a:cubicBezTo>
                      <a:cubicBezTo>
                        <a:pt x="12575" y="-323"/>
                        <a:pt x="16690" y="-844"/>
                        <a:pt x="19558" y="1387"/>
                      </a:cubicBezTo>
                      <a:cubicBezTo>
                        <a:pt x="22398" y="3618"/>
                        <a:pt x="22919" y="7732"/>
                        <a:pt x="20688" y="10601"/>
                      </a:cubicBezTo>
                      <a:cubicBezTo>
                        <a:pt x="15733" y="16917"/>
                        <a:pt x="13126" y="24509"/>
                        <a:pt x="13126" y="32564"/>
                      </a:cubicBezTo>
                      <a:cubicBezTo>
                        <a:pt x="13126" y="52238"/>
                        <a:pt x="29120" y="68232"/>
                        <a:pt x="48794" y="68232"/>
                      </a:cubicBezTo>
                      <a:cubicBezTo>
                        <a:pt x="57052" y="68232"/>
                        <a:pt x="64817" y="65479"/>
                        <a:pt x="71220" y="60293"/>
                      </a:cubicBezTo>
                      <a:cubicBezTo>
                        <a:pt x="74031" y="58004"/>
                        <a:pt x="78145" y="58438"/>
                        <a:pt x="80434" y="61249"/>
                      </a:cubicBezTo>
                      <a:cubicBezTo>
                        <a:pt x="82723" y="64059"/>
                        <a:pt x="82289" y="68203"/>
                        <a:pt x="79478" y="70463"/>
                      </a:cubicBezTo>
                      <a:cubicBezTo>
                        <a:pt x="70815" y="77475"/>
                        <a:pt x="59920" y="81357"/>
                        <a:pt x="48794" y="81357"/>
                      </a:cubicBezTo>
                      <a:close/>
                    </a:path>
                  </a:pathLst>
                </a:custGeom>
                <a:grpFill/>
                <a:ln w="2891" cap="flat">
                  <a:noFill/>
                  <a:prstDash val="solid"/>
                  <a:miter/>
                </a:ln>
              </p:spPr>
              <p:txBody>
                <a:bodyPr rtlCol="0" anchor="ctr"/>
                <a:lstStyle/>
                <a:p>
                  <a:endParaRPr lang="en-GB" dirty="0"/>
                </a:p>
              </p:txBody>
            </p:sp>
            <p:sp>
              <p:nvSpPr>
                <p:cNvPr id="261" name="Freihandform: Form 744">
                  <a:extLst>
                    <a:ext uri="{FF2B5EF4-FFF2-40B4-BE49-F238E27FC236}">
                      <a16:creationId xmlns:a16="http://schemas.microsoft.com/office/drawing/2014/main" id="{5C19D073-6B07-4BF0-892F-86C2CEF96EA9}"/>
                    </a:ext>
                  </a:extLst>
                </p:cNvPr>
                <p:cNvSpPr/>
                <p:nvPr/>
              </p:nvSpPr>
              <p:spPr>
                <a:xfrm>
                  <a:off x="5443726" y="1903294"/>
                  <a:ext cx="129141" cy="13096"/>
                </a:xfrm>
                <a:custGeom>
                  <a:avLst/>
                  <a:gdLst>
                    <a:gd name="connsiteX0" fmla="*/ 122593 w 129141"/>
                    <a:gd name="connsiteY0" fmla="*/ 13097 h 13096"/>
                    <a:gd name="connsiteX1" fmla="*/ 6548 w 129141"/>
                    <a:gd name="connsiteY1" fmla="*/ 13097 h 13096"/>
                    <a:gd name="connsiteX2" fmla="*/ 0 w 129141"/>
                    <a:gd name="connsiteY2" fmla="*/ 6548 h 13096"/>
                    <a:gd name="connsiteX3" fmla="*/ 6548 w 129141"/>
                    <a:gd name="connsiteY3" fmla="*/ 0 h 13096"/>
                    <a:gd name="connsiteX4" fmla="*/ 122593 w 129141"/>
                    <a:gd name="connsiteY4" fmla="*/ 0 h 13096"/>
                    <a:gd name="connsiteX5" fmla="*/ 129141 w 129141"/>
                    <a:gd name="connsiteY5" fmla="*/ 6548 h 13096"/>
                    <a:gd name="connsiteX6" fmla="*/ 122593 w 129141"/>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41" h="13096">
                      <a:moveTo>
                        <a:pt x="122593" y="13097"/>
                      </a:moveTo>
                      <a:lnTo>
                        <a:pt x="6548" y="13097"/>
                      </a:lnTo>
                      <a:cubicBezTo>
                        <a:pt x="2926" y="13097"/>
                        <a:pt x="0" y="10170"/>
                        <a:pt x="0" y="6548"/>
                      </a:cubicBezTo>
                      <a:cubicBezTo>
                        <a:pt x="0" y="2926"/>
                        <a:pt x="2926" y="0"/>
                        <a:pt x="6548" y="0"/>
                      </a:cubicBezTo>
                      <a:lnTo>
                        <a:pt x="122593" y="0"/>
                      </a:lnTo>
                      <a:cubicBezTo>
                        <a:pt x="126215" y="0"/>
                        <a:pt x="129141" y="2926"/>
                        <a:pt x="129141" y="6548"/>
                      </a:cubicBezTo>
                      <a:cubicBezTo>
                        <a:pt x="129141" y="10170"/>
                        <a:pt x="126215" y="13097"/>
                        <a:pt x="122593" y="13097"/>
                      </a:cubicBezTo>
                      <a:close/>
                    </a:path>
                  </a:pathLst>
                </a:custGeom>
                <a:grpFill/>
                <a:ln w="2891" cap="flat">
                  <a:noFill/>
                  <a:prstDash val="solid"/>
                  <a:miter/>
                </a:ln>
              </p:spPr>
              <p:txBody>
                <a:bodyPr rtlCol="0" anchor="ctr"/>
                <a:lstStyle/>
                <a:p>
                  <a:endParaRPr lang="en-GB" dirty="0"/>
                </a:p>
              </p:txBody>
            </p:sp>
          </p:grpSp>
          <p:sp>
            <p:nvSpPr>
              <p:cNvPr id="256" name="Freihandform: Form 745">
                <a:extLst>
                  <a:ext uri="{FF2B5EF4-FFF2-40B4-BE49-F238E27FC236}">
                    <a16:creationId xmlns:a16="http://schemas.microsoft.com/office/drawing/2014/main" id="{5B94448D-4F30-440C-9FA7-703CE5B7C482}"/>
                  </a:ext>
                </a:extLst>
              </p:cNvPr>
              <p:cNvSpPr/>
              <p:nvPr/>
            </p:nvSpPr>
            <p:spPr>
              <a:xfrm>
                <a:off x="5520365" y="1844330"/>
                <a:ext cx="13096" cy="70467"/>
              </a:xfrm>
              <a:custGeom>
                <a:avLst/>
                <a:gdLst>
                  <a:gd name="connsiteX0" fmla="*/ 6548 w 13096"/>
                  <a:gd name="connsiteY0" fmla="*/ 70467 h 70467"/>
                  <a:gd name="connsiteX1" fmla="*/ 0 w 13096"/>
                  <a:gd name="connsiteY1" fmla="*/ 63919 h 70467"/>
                  <a:gd name="connsiteX2" fmla="*/ 0 w 13096"/>
                  <a:gd name="connsiteY2" fmla="*/ 6548 h 70467"/>
                  <a:gd name="connsiteX3" fmla="*/ 6548 w 13096"/>
                  <a:gd name="connsiteY3" fmla="*/ 0 h 70467"/>
                  <a:gd name="connsiteX4" fmla="*/ 13097 w 13096"/>
                  <a:gd name="connsiteY4" fmla="*/ 6548 h 70467"/>
                  <a:gd name="connsiteX5" fmla="*/ 13097 w 13096"/>
                  <a:gd name="connsiteY5" fmla="*/ 63919 h 70467"/>
                  <a:gd name="connsiteX6" fmla="*/ 6548 w 13096"/>
                  <a:gd name="connsiteY6" fmla="*/ 70467 h 70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70467">
                    <a:moveTo>
                      <a:pt x="6548" y="70467"/>
                    </a:moveTo>
                    <a:cubicBezTo>
                      <a:pt x="2926" y="70467"/>
                      <a:pt x="0" y="67541"/>
                      <a:pt x="0" y="63919"/>
                    </a:cubicBezTo>
                    <a:lnTo>
                      <a:pt x="0" y="6548"/>
                    </a:lnTo>
                    <a:cubicBezTo>
                      <a:pt x="0" y="2926"/>
                      <a:pt x="2926" y="0"/>
                      <a:pt x="6548" y="0"/>
                    </a:cubicBezTo>
                    <a:cubicBezTo>
                      <a:pt x="10170" y="0"/>
                      <a:pt x="13097" y="2926"/>
                      <a:pt x="13097" y="6548"/>
                    </a:cubicBezTo>
                    <a:lnTo>
                      <a:pt x="13097" y="63919"/>
                    </a:lnTo>
                    <a:cubicBezTo>
                      <a:pt x="13097" y="67541"/>
                      <a:pt x="10170" y="70467"/>
                      <a:pt x="6548" y="70467"/>
                    </a:cubicBezTo>
                    <a:close/>
                  </a:path>
                </a:pathLst>
              </a:custGeom>
              <a:grpFill/>
              <a:ln w="2891" cap="flat">
                <a:noFill/>
                <a:prstDash val="solid"/>
                <a:miter/>
              </a:ln>
            </p:spPr>
            <p:txBody>
              <a:bodyPr rtlCol="0" anchor="ctr"/>
              <a:lstStyle/>
              <a:p>
                <a:endParaRPr lang="en-GB" dirty="0"/>
              </a:p>
            </p:txBody>
          </p:sp>
        </p:grpSp>
        <p:grpSp>
          <p:nvGrpSpPr>
            <p:cNvPr id="252" name="Grafik 219">
              <a:extLst>
                <a:ext uri="{FF2B5EF4-FFF2-40B4-BE49-F238E27FC236}">
                  <a16:creationId xmlns:a16="http://schemas.microsoft.com/office/drawing/2014/main" id="{C03CB68F-149A-4BBE-85BA-FE5D655D3A49}"/>
                </a:ext>
              </a:extLst>
            </p:cNvPr>
            <p:cNvGrpSpPr/>
            <p:nvPr/>
          </p:nvGrpSpPr>
          <p:grpSpPr>
            <a:xfrm>
              <a:off x="2905348" y="3241127"/>
              <a:ext cx="285567" cy="343883"/>
              <a:chOff x="5578459" y="1757492"/>
              <a:chExt cx="250864" cy="302092"/>
            </a:xfrm>
            <a:solidFill>
              <a:schemeClr val="accent1"/>
            </a:solidFill>
          </p:grpSpPr>
          <p:sp>
            <p:nvSpPr>
              <p:cNvPr id="253" name="Freihandform: Form 747">
                <a:extLst>
                  <a:ext uri="{FF2B5EF4-FFF2-40B4-BE49-F238E27FC236}">
                    <a16:creationId xmlns:a16="http://schemas.microsoft.com/office/drawing/2014/main" id="{398353B3-295C-4EDC-9139-10885D085BBD}"/>
                  </a:ext>
                </a:extLst>
              </p:cNvPr>
              <p:cNvSpPr/>
              <p:nvPr/>
            </p:nvSpPr>
            <p:spPr>
              <a:xfrm>
                <a:off x="5578459" y="1757492"/>
                <a:ext cx="250864" cy="302092"/>
              </a:xfrm>
              <a:custGeom>
                <a:avLst/>
                <a:gdLst>
                  <a:gd name="connsiteX0" fmla="*/ 125461 w 250864"/>
                  <a:gd name="connsiteY0" fmla="*/ 302093 h 302092"/>
                  <a:gd name="connsiteX1" fmla="*/ 120796 w 250864"/>
                  <a:gd name="connsiteY1" fmla="*/ 300151 h 302092"/>
                  <a:gd name="connsiteX2" fmla="*/ 36682 w 250864"/>
                  <a:gd name="connsiteY2" fmla="*/ 215516 h 302092"/>
                  <a:gd name="connsiteX3" fmla="*/ 36682 w 250864"/>
                  <a:gd name="connsiteY3" fmla="*/ 37001 h 302092"/>
                  <a:gd name="connsiteX4" fmla="*/ 125432 w 250864"/>
                  <a:gd name="connsiteY4" fmla="*/ 0 h 302092"/>
                  <a:gd name="connsiteX5" fmla="*/ 214183 w 250864"/>
                  <a:gd name="connsiteY5" fmla="*/ 37001 h 302092"/>
                  <a:gd name="connsiteX6" fmla="*/ 214183 w 250864"/>
                  <a:gd name="connsiteY6" fmla="*/ 215516 h 302092"/>
                  <a:gd name="connsiteX7" fmla="*/ 130097 w 250864"/>
                  <a:gd name="connsiteY7" fmla="*/ 300151 h 302092"/>
                  <a:gd name="connsiteX8" fmla="*/ 125461 w 250864"/>
                  <a:gd name="connsiteY8" fmla="*/ 302093 h 302092"/>
                  <a:gd name="connsiteX9" fmla="*/ 46012 w 250864"/>
                  <a:gd name="connsiteY9" fmla="*/ 206273 h 302092"/>
                  <a:gd name="connsiteX10" fmla="*/ 125461 w 250864"/>
                  <a:gd name="connsiteY10" fmla="*/ 286214 h 302092"/>
                  <a:gd name="connsiteX11" fmla="*/ 204911 w 250864"/>
                  <a:gd name="connsiteY11" fmla="*/ 206273 h 302092"/>
                  <a:gd name="connsiteX12" fmla="*/ 204911 w 250864"/>
                  <a:gd name="connsiteY12" fmla="*/ 46244 h 302092"/>
                  <a:gd name="connsiteX13" fmla="*/ 125461 w 250864"/>
                  <a:gd name="connsiteY13" fmla="*/ 13126 h 302092"/>
                  <a:gd name="connsiteX14" fmla="*/ 46012 w 250864"/>
                  <a:gd name="connsiteY14" fmla="*/ 46244 h 302092"/>
                  <a:gd name="connsiteX15" fmla="*/ 46012 w 250864"/>
                  <a:gd name="connsiteY15" fmla="*/ 206273 h 302092"/>
                  <a:gd name="connsiteX16" fmla="*/ 46012 w 250864"/>
                  <a:gd name="connsiteY16" fmla="*/ 206273 h 302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0864" h="302092">
                    <a:moveTo>
                      <a:pt x="125461" y="302093"/>
                    </a:moveTo>
                    <a:cubicBezTo>
                      <a:pt x="123723" y="302093"/>
                      <a:pt x="122042" y="301397"/>
                      <a:pt x="120796" y="300151"/>
                    </a:cubicBezTo>
                    <a:lnTo>
                      <a:pt x="36682" y="215516"/>
                    </a:lnTo>
                    <a:cubicBezTo>
                      <a:pt x="-12227" y="166287"/>
                      <a:pt x="-12227" y="86229"/>
                      <a:pt x="36682" y="37001"/>
                    </a:cubicBezTo>
                    <a:cubicBezTo>
                      <a:pt x="60384" y="13155"/>
                      <a:pt x="91908" y="0"/>
                      <a:pt x="125432" y="0"/>
                    </a:cubicBezTo>
                    <a:cubicBezTo>
                      <a:pt x="158956" y="0"/>
                      <a:pt x="190481" y="13126"/>
                      <a:pt x="214183" y="37001"/>
                    </a:cubicBezTo>
                    <a:cubicBezTo>
                      <a:pt x="263092" y="86229"/>
                      <a:pt x="263092" y="166287"/>
                      <a:pt x="214183" y="215516"/>
                    </a:cubicBezTo>
                    <a:lnTo>
                      <a:pt x="130097" y="300151"/>
                    </a:lnTo>
                    <a:cubicBezTo>
                      <a:pt x="128880" y="301397"/>
                      <a:pt x="127229" y="302093"/>
                      <a:pt x="125461" y="302093"/>
                    </a:cubicBezTo>
                    <a:close/>
                    <a:moveTo>
                      <a:pt x="46012" y="206273"/>
                    </a:moveTo>
                    <a:lnTo>
                      <a:pt x="125461" y="286214"/>
                    </a:lnTo>
                    <a:lnTo>
                      <a:pt x="204911" y="206273"/>
                    </a:lnTo>
                    <a:cubicBezTo>
                      <a:pt x="248750" y="162144"/>
                      <a:pt x="248750" y="90373"/>
                      <a:pt x="204911" y="46244"/>
                    </a:cubicBezTo>
                    <a:cubicBezTo>
                      <a:pt x="183701" y="24889"/>
                      <a:pt x="155479" y="13126"/>
                      <a:pt x="125461" y="13126"/>
                    </a:cubicBezTo>
                    <a:cubicBezTo>
                      <a:pt x="95443" y="13126"/>
                      <a:pt x="67251" y="24889"/>
                      <a:pt x="46012" y="46244"/>
                    </a:cubicBezTo>
                    <a:cubicBezTo>
                      <a:pt x="2173" y="90373"/>
                      <a:pt x="2173" y="162173"/>
                      <a:pt x="46012" y="206273"/>
                    </a:cubicBezTo>
                    <a:lnTo>
                      <a:pt x="46012" y="206273"/>
                    </a:lnTo>
                    <a:close/>
                  </a:path>
                </a:pathLst>
              </a:custGeom>
              <a:solidFill>
                <a:schemeClr val="accent1"/>
              </a:solidFill>
              <a:ln w="2891" cap="flat">
                <a:noFill/>
                <a:prstDash val="solid"/>
                <a:miter/>
              </a:ln>
            </p:spPr>
            <p:txBody>
              <a:bodyPr rtlCol="0" anchor="ctr"/>
              <a:lstStyle/>
              <a:p>
                <a:endParaRPr lang="en-GB" dirty="0"/>
              </a:p>
            </p:txBody>
          </p:sp>
          <p:sp>
            <p:nvSpPr>
              <p:cNvPr id="254" name="Freihandform: Form 748">
                <a:extLst>
                  <a:ext uri="{FF2B5EF4-FFF2-40B4-BE49-F238E27FC236}">
                    <a16:creationId xmlns:a16="http://schemas.microsoft.com/office/drawing/2014/main" id="{3105A3EA-395B-47FA-A066-33F307320BD8}"/>
                  </a:ext>
                </a:extLst>
              </p:cNvPr>
              <p:cNvSpPr/>
              <p:nvPr/>
            </p:nvSpPr>
            <p:spPr>
              <a:xfrm>
                <a:off x="5644522" y="1824511"/>
                <a:ext cx="118797" cy="118826"/>
              </a:xfrm>
              <a:custGeom>
                <a:avLst/>
                <a:gdLst>
                  <a:gd name="connsiteX0" fmla="*/ 59399 w 118797"/>
                  <a:gd name="connsiteY0" fmla="*/ 118826 h 118826"/>
                  <a:gd name="connsiteX1" fmla="*/ 17385 w 118797"/>
                  <a:gd name="connsiteY1" fmla="*/ 101412 h 118826"/>
                  <a:gd name="connsiteX2" fmla="*/ 17385 w 118797"/>
                  <a:gd name="connsiteY2" fmla="*/ 17385 h 118826"/>
                  <a:gd name="connsiteX3" fmla="*/ 101412 w 118797"/>
                  <a:gd name="connsiteY3" fmla="*/ 17385 h 118826"/>
                  <a:gd name="connsiteX4" fmla="*/ 101412 w 118797"/>
                  <a:gd name="connsiteY4" fmla="*/ 101412 h 118826"/>
                  <a:gd name="connsiteX5" fmla="*/ 101412 w 118797"/>
                  <a:gd name="connsiteY5" fmla="*/ 101412 h 118826"/>
                  <a:gd name="connsiteX6" fmla="*/ 101412 w 118797"/>
                  <a:gd name="connsiteY6" fmla="*/ 101412 h 118826"/>
                  <a:gd name="connsiteX7" fmla="*/ 59399 w 118797"/>
                  <a:gd name="connsiteY7" fmla="*/ 118826 h 118826"/>
                  <a:gd name="connsiteX8" fmla="*/ 59399 w 118797"/>
                  <a:gd name="connsiteY8" fmla="*/ 13126 h 118826"/>
                  <a:gd name="connsiteX9" fmla="*/ 26657 w 118797"/>
                  <a:gd name="connsiteY9" fmla="*/ 26657 h 118826"/>
                  <a:gd name="connsiteX10" fmla="*/ 26657 w 118797"/>
                  <a:gd name="connsiteY10" fmla="*/ 92140 h 118826"/>
                  <a:gd name="connsiteX11" fmla="*/ 59399 w 118797"/>
                  <a:gd name="connsiteY11" fmla="*/ 105701 h 118826"/>
                  <a:gd name="connsiteX12" fmla="*/ 92140 w 118797"/>
                  <a:gd name="connsiteY12" fmla="*/ 92140 h 118826"/>
                  <a:gd name="connsiteX13" fmla="*/ 92140 w 118797"/>
                  <a:gd name="connsiteY13" fmla="*/ 92140 h 118826"/>
                  <a:gd name="connsiteX14" fmla="*/ 92140 w 118797"/>
                  <a:gd name="connsiteY14" fmla="*/ 26657 h 118826"/>
                  <a:gd name="connsiteX15" fmla="*/ 59399 w 118797"/>
                  <a:gd name="connsiteY15" fmla="*/ 13126 h 118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8797" h="118826">
                    <a:moveTo>
                      <a:pt x="59399" y="118826"/>
                    </a:moveTo>
                    <a:cubicBezTo>
                      <a:pt x="43520" y="118826"/>
                      <a:pt x="28598" y="112655"/>
                      <a:pt x="17385" y="101412"/>
                    </a:cubicBezTo>
                    <a:cubicBezTo>
                      <a:pt x="-5795" y="78232"/>
                      <a:pt x="-5795" y="40536"/>
                      <a:pt x="17385" y="17385"/>
                    </a:cubicBezTo>
                    <a:cubicBezTo>
                      <a:pt x="40565" y="-5795"/>
                      <a:pt x="78261" y="-5795"/>
                      <a:pt x="101412" y="17385"/>
                    </a:cubicBezTo>
                    <a:cubicBezTo>
                      <a:pt x="124592" y="40565"/>
                      <a:pt x="124592" y="78261"/>
                      <a:pt x="101412" y="101412"/>
                    </a:cubicBezTo>
                    <a:lnTo>
                      <a:pt x="101412" y="101412"/>
                    </a:lnTo>
                    <a:lnTo>
                      <a:pt x="101412" y="101412"/>
                    </a:lnTo>
                    <a:cubicBezTo>
                      <a:pt x="90199" y="112655"/>
                      <a:pt x="75277" y="118826"/>
                      <a:pt x="59399" y="118826"/>
                    </a:cubicBezTo>
                    <a:close/>
                    <a:moveTo>
                      <a:pt x="59399" y="13126"/>
                    </a:moveTo>
                    <a:cubicBezTo>
                      <a:pt x="47548" y="13126"/>
                      <a:pt x="35697" y="17646"/>
                      <a:pt x="26657" y="26657"/>
                    </a:cubicBezTo>
                    <a:cubicBezTo>
                      <a:pt x="8606" y="44708"/>
                      <a:pt x="8606" y="74089"/>
                      <a:pt x="26657" y="92140"/>
                    </a:cubicBezTo>
                    <a:cubicBezTo>
                      <a:pt x="35407" y="100891"/>
                      <a:pt x="47026" y="105701"/>
                      <a:pt x="59399" y="105701"/>
                    </a:cubicBezTo>
                    <a:cubicBezTo>
                      <a:pt x="71771" y="105701"/>
                      <a:pt x="83390" y="100891"/>
                      <a:pt x="92140" y="92140"/>
                    </a:cubicBezTo>
                    <a:lnTo>
                      <a:pt x="92140" y="92140"/>
                    </a:lnTo>
                    <a:cubicBezTo>
                      <a:pt x="110192" y="74089"/>
                      <a:pt x="110192" y="44708"/>
                      <a:pt x="92140" y="26657"/>
                    </a:cubicBezTo>
                    <a:cubicBezTo>
                      <a:pt x="83129" y="17646"/>
                      <a:pt x="71278" y="13126"/>
                      <a:pt x="59399" y="13126"/>
                    </a:cubicBezTo>
                    <a:close/>
                  </a:path>
                </a:pathLst>
              </a:custGeom>
              <a:solidFill>
                <a:schemeClr val="accent1"/>
              </a:solidFill>
              <a:ln w="2891" cap="flat">
                <a:noFill/>
                <a:prstDash val="solid"/>
                <a:miter/>
              </a:ln>
            </p:spPr>
            <p:txBody>
              <a:bodyPr rtlCol="0" anchor="ctr"/>
              <a:lstStyle/>
              <a:p>
                <a:endParaRPr lang="en-GB" dirty="0"/>
              </a:p>
            </p:txBody>
          </p:sp>
        </p:grpSp>
      </p:grpSp>
      <p:grpSp>
        <p:nvGrpSpPr>
          <p:cNvPr id="262" name="Gruppieren 1023">
            <a:extLst>
              <a:ext uri="{FF2B5EF4-FFF2-40B4-BE49-F238E27FC236}">
                <a16:creationId xmlns:a16="http://schemas.microsoft.com/office/drawing/2014/main" id="{33122F4D-FC45-4A9C-A875-739B76798665}"/>
              </a:ext>
            </a:extLst>
          </p:cNvPr>
          <p:cNvGrpSpPr>
            <a:grpSpLocks noChangeAspect="1"/>
          </p:cNvGrpSpPr>
          <p:nvPr/>
        </p:nvGrpSpPr>
        <p:grpSpPr>
          <a:xfrm>
            <a:off x="3688467" y="3197068"/>
            <a:ext cx="537771" cy="432000"/>
            <a:chOff x="6981886" y="1626758"/>
            <a:chExt cx="489817" cy="393478"/>
          </a:xfrm>
        </p:grpSpPr>
        <p:grpSp>
          <p:nvGrpSpPr>
            <p:cNvPr id="263" name="Gruppieren 1021">
              <a:extLst>
                <a:ext uri="{FF2B5EF4-FFF2-40B4-BE49-F238E27FC236}">
                  <a16:creationId xmlns:a16="http://schemas.microsoft.com/office/drawing/2014/main" id="{34688B98-C57C-4C5B-814E-0899C78E3CF7}"/>
                </a:ext>
              </a:extLst>
            </p:cNvPr>
            <p:cNvGrpSpPr/>
            <p:nvPr/>
          </p:nvGrpSpPr>
          <p:grpSpPr>
            <a:xfrm>
              <a:off x="7060526" y="1738224"/>
              <a:ext cx="327967" cy="131198"/>
              <a:chOff x="7060526" y="1738224"/>
              <a:chExt cx="327967" cy="131198"/>
            </a:xfrm>
          </p:grpSpPr>
          <p:sp>
            <p:nvSpPr>
              <p:cNvPr id="285" name="Freihandform: Form 765">
                <a:extLst>
                  <a:ext uri="{FF2B5EF4-FFF2-40B4-BE49-F238E27FC236}">
                    <a16:creationId xmlns:a16="http://schemas.microsoft.com/office/drawing/2014/main" id="{D60F9773-E2C8-4406-B2B6-6B0A3041CA1C}"/>
                  </a:ext>
                </a:extLst>
              </p:cNvPr>
              <p:cNvSpPr/>
              <p:nvPr/>
            </p:nvSpPr>
            <p:spPr>
              <a:xfrm>
                <a:off x="7172051" y="1738224"/>
                <a:ext cx="104947" cy="124621"/>
              </a:xfrm>
              <a:custGeom>
                <a:avLst/>
                <a:gdLst>
                  <a:gd name="connsiteX0" fmla="*/ 104947 w 104947"/>
                  <a:gd name="connsiteY0" fmla="*/ 124621 h 124621"/>
                  <a:gd name="connsiteX1" fmla="*/ 91822 w 104947"/>
                  <a:gd name="connsiteY1" fmla="*/ 124621 h 124621"/>
                  <a:gd name="connsiteX2" fmla="*/ 91822 w 104947"/>
                  <a:gd name="connsiteY2" fmla="*/ 52474 h 124621"/>
                  <a:gd name="connsiteX3" fmla="*/ 52474 w 104947"/>
                  <a:gd name="connsiteY3" fmla="*/ 13126 h 124621"/>
                  <a:gd name="connsiteX4" fmla="*/ 13126 w 104947"/>
                  <a:gd name="connsiteY4" fmla="*/ 52474 h 124621"/>
                  <a:gd name="connsiteX5" fmla="*/ 13126 w 104947"/>
                  <a:gd name="connsiteY5" fmla="*/ 118044 h 124621"/>
                  <a:gd name="connsiteX6" fmla="*/ 0 w 104947"/>
                  <a:gd name="connsiteY6" fmla="*/ 118044 h 124621"/>
                  <a:gd name="connsiteX7" fmla="*/ 0 w 104947"/>
                  <a:gd name="connsiteY7" fmla="*/ 52474 h 124621"/>
                  <a:gd name="connsiteX8" fmla="*/ 52474 w 104947"/>
                  <a:gd name="connsiteY8" fmla="*/ 0 h 124621"/>
                  <a:gd name="connsiteX9" fmla="*/ 104947 w 104947"/>
                  <a:gd name="connsiteY9" fmla="*/ 52474 h 124621"/>
                  <a:gd name="connsiteX10" fmla="*/ 104947 w 104947"/>
                  <a:gd name="connsiteY10" fmla="*/ 124621 h 124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947" h="124621">
                    <a:moveTo>
                      <a:pt x="104947" y="124621"/>
                    </a:moveTo>
                    <a:lnTo>
                      <a:pt x="91822" y="124621"/>
                    </a:lnTo>
                    <a:lnTo>
                      <a:pt x="91822" y="52474"/>
                    </a:lnTo>
                    <a:cubicBezTo>
                      <a:pt x="91822" y="30771"/>
                      <a:pt x="74176" y="13126"/>
                      <a:pt x="52474" y="13126"/>
                    </a:cubicBezTo>
                    <a:cubicBezTo>
                      <a:pt x="30771" y="13126"/>
                      <a:pt x="13126" y="30771"/>
                      <a:pt x="13126" y="52474"/>
                    </a:cubicBezTo>
                    <a:lnTo>
                      <a:pt x="13126" y="118044"/>
                    </a:lnTo>
                    <a:lnTo>
                      <a:pt x="0" y="118044"/>
                    </a:lnTo>
                    <a:lnTo>
                      <a:pt x="0" y="52474"/>
                    </a:lnTo>
                    <a:cubicBezTo>
                      <a:pt x="0" y="23557"/>
                      <a:pt x="23528" y="0"/>
                      <a:pt x="52474" y="0"/>
                    </a:cubicBezTo>
                    <a:cubicBezTo>
                      <a:pt x="81419" y="0"/>
                      <a:pt x="104947" y="23528"/>
                      <a:pt x="104947" y="52474"/>
                    </a:cubicBezTo>
                    <a:lnTo>
                      <a:pt x="104947" y="124621"/>
                    </a:lnTo>
                    <a:close/>
                  </a:path>
                </a:pathLst>
              </a:custGeom>
              <a:solidFill>
                <a:schemeClr val="accent1"/>
              </a:solidFill>
              <a:ln w="2891" cap="flat">
                <a:noFill/>
                <a:prstDash val="solid"/>
                <a:miter/>
              </a:ln>
            </p:spPr>
            <p:txBody>
              <a:bodyPr rtlCol="0" anchor="ctr"/>
              <a:lstStyle/>
              <a:p>
                <a:endParaRPr lang="en-GB" dirty="0"/>
              </a:p>
            </p:txBody>
          </p:sp>
          <p:sp>
            <p:nvSpPr>
              <p:cNvPr id="286" name="Freihandform: Form 766">
                <a:extLst>
                  <a:ext uri="{FF2B5EF4-FFF2-40B4-BE49-F238E27FC236}">
                    <a16:creationId xmlns:a16="http://schemas.microsoft.com/office/drawing/2014/main" id="{A3CD9712-17D2-45AF-815D-62F104A0751E}"/>
                  </a:ext>
                </a:extLst>
              </p:cNvPr>
              <p:cNvSpPr/>
              <p:nvPr/>
            </p:nvSpPr>
            <p:spPr>
              <a:xfrm>
                <a:off x="7296643" y="1777601"/>
                <a:ext cx="91850" cy="85244"/>
              </a:xfrm>
              <a:custGeom>
                <a:avLst/>
                <a:gdLst>
                  <a:gd name="connsiteX0" fmla="*/ 91850 w 91850"/>
                  <a:gd name="connsiteY0" fmla="*/ 85244 h 85244"/>
                  <a:gd name="connsiteX1" fmla="*/ 78725 w 91850"/>
                  <a:gd name="connsiteY1" fmla="*/ 85244 h 85244"/>
                  <a:gd name="connsiteX2" fmla="*/ 78725 w 91850"/>
                  <a:gd name="connsiteY2" fmla="*/ 45896 h 85244"/>
                  <a:gd name="connsiteX3" fmla="*/ 45925 w 91850"/>
                  <a:gd name="connsiteY3" fmla="*/ 13097 h 85244"/>
                  <a:gd name="connsiteX4" fmla="*/ 13126 w 91850"/>
                  <a:gd name="connsiteY4" fmla="*/ 45896 h 85244"/>
                  <a:gd name="connsiteX5" fmla="*/ 13126 w 91850"/>
                  <a:gd name="connsiteY5" fmla="*/ 72119 h 85244"/>
                  <a:gd name="connsiteX6" fmla="*/ 0 w 91850"/>
                  <a:gd name="connsiteY6" fmla="*/ 72119 h 85244"/>
                  <a:gd name="connsiteX7" fmla="*/ 0 w 91850"/>
                  <a:gd name="connsiteY7" fmla="*/ 45896 h 85244"/>
                  <a:gd name="connsiteX8" fmla="*/ 45896 w 91850"/>
                  <a:gd name="connsiteY8" fmla="*/ 0 h 85244"/>
                  <a:gd name="connsiteX9" fmla="*/ 91793 w 91850"/>
                  <a:gd name="connsiteY9" fmla="*/ 45896 h 85244"/>
                  <a:gd name="connsiteX10" fmla="*/ 91793 w 91850"/>
                  <a:gd name="connsiteY10" fmla="*/ 85244 h 8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0" h="85244">
                    <a:moveTo>
                      <a:pt x="91850" y="85244"/>
                    </a:moveTo>
                    <a:lnTo>
                      <a:pt x="78725" y="85244"/>
                    </a:lnTo>
                    <a:lnTo>
                      <a:pt x="78725" y="45896"/>
                    </a:lnTo>
                    <a:cubicBezTo>
                      <a:pt x="78725" y="27816"/>
                      <a:pt x="64006" y="13097"/>
                      <a:pt x="45925" y="13097"/>
                    </a:cubicBezTo>
                    <a:cubicBezTo>
                      <a:pt x="27845" y="13097"/>
                      <a:pt x="13126" y="27816"/>
                      <a:pt x="13126" y="45896"/>
                    </a:cubicBezTo>
                    <a:lnTo>
                      <a:pt x="13126" y="72119"/>
                    </a:lnTo>
                    <a:lnTo>
                      <a:pt x="0" y="72119"/>
                    </a:lnTo>
                    <a:lnTo>
                      <a:pt x="0" y="45896"/>
                    </a:lnTo>
                    <a:cubicBezTo>
                      <a:pt x="0" y="20572"/>
                      <a:pt x="20601" y="0"/>
                      <a:pt x="45896" y="0"/>
                    </a:cubicBezTo>
                    <a:cubicBezTo>
                      <a:pt x="71220" y="0"/>
                      <a:pt x="91793" y="20601"/>
                      <a:pt x="91793" y="45896"/>
                    </a:cubicBezTo>
                    <a:lnTo>
                      <a:pt x="91793" y="85244"/>
                    </a:lnTo>
                    <a:close/>
                  </a:path>
                </a:pathLst>
              </a:custGeom>
              <a:solidFill>
                <a:schemeClr val="accent1"/>
              </a:solidFill>
              <a:ln w="2891" cap="flat">
                <a:noFill/>
                <a:prstDash val="solid"/>
                <a:miter/>
              </a:ln>
            </p:spPr>
            <p:txBody>
              <a:bodyPr rtlCol="0" anchor="ctr"/>
              <a:lstStyle/>
              <a:p>
                <a:endParaRPr lang="en-GB" dirty="0"/>
              </a:p>
            </p:txBody>
          </p:sp>
          <p:sp>
            <p:nvSpPr>
              <p:cNvPr id="287" name="Freihandform: Form 767">
                <a:extLst>
                  <a:ext uri="{FF2B5EF4-FFF2-40B4-BE49-F238E27FC236}">
                    <a16:creationId xmlns:a16="http://schemas.microsoft.com/office/drawing/2014/main" id="{D491A3F7-B15C-41E1-BE99-4B6F99F3BE22}"/>
                  </a:ext>
                </a:extLst>
              </p:cNvPr>
              <p:cNvSpPr/>
              <p:nvPr/>
            </p:nvSpPr>
            <p:spPr>
              <a:xfrm>
                <a:off x="7060526" y="1777601"/>
                <a:ext cx="91850" cy="91821"/>
              </a:xfrm>
              <a:custGeom>
                <a:avLst/>
                <a:gdLst>
                  <a:gd name="connsiteX0" fmla="*/ 91851 w 91850"/>
                  <a:gd name="connsiteY0" fmla="*/ 91822 h 91821"/>
                  <a:gd name="connsiteX1" fmla="*/ 78725 w 91850"/>
                  <a:gd name="connsiteY1" fmla="*/ 91822 h 91821"/>
                  <a:gd name="connsiteX2" fmla="*/ 78725 w 91850"/>
                  <a:gd name="connsiteY2" fmla="*/ 45896 h 91821"/>
                  <a:gd name="connsiteX3" fmla="*/ 45925 w 91850"/>
                  <a:gd name="connsiteY3" fmla="*/ 13097 h 91821"/>
                  <a:gd name="connsiteX4" fmla="*/ 13126 w 91850"/>
                  <a:gd name="connsiteY4" fmla="*/ 45896 h 91821"/>
                  <a:gd name="connsiteX5" fmla="*/ 13126 w 91850"/>
                  <a:gd name="connsiteY5" fmla="*/ 72119 h 91821"/>
                  <a:gd name="connsiteX6" fmla="*/ 0 w 91850"/>
                  <a:gd name="connsiteY6" fmla="*/ 72119 h 91821"/>
                  <a:gd name="connsiteX7" fmla="*/ 0 w 91850"/>
                  <a:gd name="connsiteY7" fmla="*/ 45896 h 91821"/>
                  <a:gd name="connsiteX8" fmla="*/ 45896 w 91850"/>
                  <a:gd name="connsiteY8" fmla="*/ 0 h 91821"/>
                  <a:gd name="connsiteX9" fmla="*/ 91793 w 91850"/>
                  <a:gd name="connsiteY9" fmla="*/ 45896 h 91821"/>
                  <a:gd name="connsiteX10" fmla="*/ 91793 w 91850"/>
                  <a:gd name="connsiteY10" fmla="*/ 91822 h 91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50" h="91821">
                    <a:moveTo>
                      <a:pt x="91851" y="91822"/>
                    </a:moveTo>
                    <a:lnTo>
                      <a:pt x="78725" y="91822"/>
                    </a:lnTo>
                    <a:lnTo>
                      <a:pt x="78725" y="45896"/>
                    </a:lnTo>
                    <a:cubicBezTo>
                      <a:pt x="78725" y="27816"/>
                      <a:pt x="64006" y="13097"/>
                      <a:pt x="45925" y="13097"/>
                    </a:cubicBezTo>
                    <a:cubicBezTo>
                      <a:pt x="27845" y="13097"/>
                      <a:pt x="13126" y="27816"/>
                      <a:pt x="13126" y="45896"/>
                    </a:cubicBezTo>
                    <a:lnTo>
                      <a:pt x="13126" y="72119"/>
                    </a:lnTo>
                    <a:lnTo>
                      <a:pt x="0" y="72119"/>
                    </a:lnTo>
                    <a:lnTo>
                      <a:pt x="0" y="45896"/>
                    </a:lnTo>
                    <a:cubicBezTo>
                      <a:pt x="0" y="20572"/>
                      <a:pt x="20601" y="0"/>
                      <a:pt x="45896" y="0"/>
                    </a:cubicBezTo>
                    <a:cubicBezTo>
                      <a:pt x="71191" y="0"/>
                      <a:pt x="91793" y="20601"/>
                      <a:pt x="91793" y="45896"/>
                    </a:cubicBezTo>
                    <a:lnTo>
                      <a:pt x="91793" y="91822"/>
                    </a:lnTo>
                    <a:close/>
                  </a:path>
                </a:pathLst>
              </a:custGeom>
              <a:solidFill>
                <a:schemeClr val="accent1"/>
              </a:solidFill>
              <a:ln w="2891" cap="flat">
                <a:noFill/>
                <a:prstDash val="solid"/>
                <a:miter/>
              </a:ln>
            </p:spPr>
            <p:txBody>
              <a:bodyPr rtlCol="0" anchor="ctr"/>
              <a:lstStyle/>
              <a:p>
                <a:endParaRPr lang="en-GB" dirty="0"/>
              </a:p>
            </p:txBody>
          </p:sp>
        </p:grpSp>
        <p:grpSp>
          <p:nvGrpSpPr>
            <p:cNvPr id="264" name="Gruppieren 1022">
              <a:extLst>
                <a:ext uri="{FF2B5EF4-FFF2-40B4-BE49-F238E27FC236}">
                  <a16:creationId xmlns:a16="http://schemas.microsoft.com/office/drawing/2014/main" id="{F2A938A2-E3A8-4421-BA45-C15DB246440D}"/>
                </a:ext>
              </a:extLst>
            </p:cNvPr>
            <p:cNvGrpSpPr/>
            <p:nvPr/>
          </p:nvGrpSpPr>
          <p:grpSpPr>
            <a:xfrm>
              <a:off x="6981886" y="1626758"/>
              <a:ext cx="489817" cy="393478"/>
              <a:chOff x="6981886" y="1626758"/>
              <a:chExt cx="489817" cy="393478"/>
            </a:xfrm>
          </p:grpSpPr>
          <p:sp>
            <p:nvSpPr>
              <p:cNvPr id="265" name="Freihandform: Form 750">
                <a:extLst>
                  <a:ext uri="{FF2B5EF4-FFF2-40B4-BE49-F238E27FC236}">
                    <a16:creationId xmlns:a16="http://schemas.microsoft.com/office/drawing/2014/main" id="{64150CC8-460A-4116-949C-56E9E34F6B42}"/>
                  </a:ext>
                </a:extLst>
              </p:cNvPr>
              <p:cNvSpPr/>
              <p:nvPr/>
            </p:nvSpPr>
            <p:spPr>
              <a:xfrm>
                <a:off x="6981886" y="1882546"/>
                <a:ext cx="58997" cy="127578"/>
              </a:xfrm>
              <a:custGeom>
                <a:avLst/>
                <a:gdLst>
                  <a:gd name="connsiteX0" fmla="*/ 6551 w 58997"/>
                  <a:gd name="connsiteY0" fmla="*/ 127579 h 127578"/>
                  <a:gd name="connsiteX1" fmla="*/ 4117 w 58997"/>
                  <a:gd name="connsiteY1" fmla="*/ 127115 h 127578"/>
                  <a:gd name="connsiteX2" fmla="*/ 466 w 58997"/>
                  <a:gd name="connsiteY2" fmla="*/ 118597 h 127578"/>
                  <a:gd name="connsiteX3" fmla="*/ 46362 w 58997"/>
                  <a:gd name="connsiteY3" fmla="*/ 4117 h 127578"/>
                  <a:gd name="connsiteX4" fmla="*/ 54881 w 58997"/>
                  <a:gd name="connsiteY4" fmla="*/ 466 h 127578"/>
                  <a:gd name="connsiteX5" fmla="*/ 58532 w 58997"/>
                  <a:gd name="connsiteY5" fmla="*/ 8984 h 127578"/>
                  <a:gd name="connsiteX6" fmla="*/ 12635 w 58997"/>
                  <a:gd name="connsiteY6" fmla="*/ 123464 h 127578"/>
                  <a:gd name="connsiteX7" fmla="*/ 6551 w 58997"/>
                  <a:gd name="connsiteY7" fmla="*/ 127579 h 1275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997" h="127578">
                    <a:moveTo>
                      <a:pt x="6551" y="127579"/>
                    </a:moveTo>
                    <a:cubicBezTo>
                      <a:pt x="5739" y="127579"/>
                      <a:pt x="4899" y="127434"/>
                      <a:pt x="4117" y="127115"/>
                    </a:cubicBezTo>
                    <a:cubicBezTo>
                      <a:pt x="756" y="125753"/>
                      <a:pt x="-867" y="121958"/>
                      <a:pt x="466" y="118597"/>
                    </a:cubicBezTo>
                    <a:lnTo>
                      <a:pt x="46362" y="4117"/>
                    </a:lnTo>
                    <a:cubicBezTo>
                      <a:pt x="47695" y="756"/>
                      <a:pt x="51520" y="-867"/>
                      <a:pt x="54881" y="466"/>
                    </a:cubicBezTo>
                    <a:cubicBezTo>
                      <a:pt x="58242" y="1828"/>
                      <a:pt x="59864" y="5623"/>
                      <a:pt x="58532" y="8984"/>
                    </a:cubicBezTo>
                    <a:lnTo>
                      <a:pt x="12635" y="123464"/>
                    </a:lnTo>
                    <a:cubicBezTo>
                      <a:pt x="11621" y="126014"/>
                      <a:pt x="9158" y="127579"/>
                      <a:pt x="6551" y="127579"/>
                    </a:cubicBezTo>
                    <a:close/>
                  </a:path>
                </a:pathLst>
              </a:custGeom>
              <a:solidFill>
                <a:schemeClr val="tx2"/>
              </a:solidFill>
              <a:ln w="2891" cap="flat">
                <a:noFill/>
                <a:prstDash val="solid"/>
                <a:miter/>
              </a:ln>
            </p:spPr>
            <p:txBody>
              <a:bodyPr rtlCol="0" anchor="ctr"/>
              <a:lstStyle/>
              <a:p>
                <a:endParaRPr lang="en-GB" dirty="0"/>
              </a:p>
            </p:txBody>
          </p:sp>
          <p:sp>
            <p:nvSpPr>
              <p:cNvPr id="266" name="Freihandform: Form 751">
                <a:extLst>
                  <a:ext uri="{FF2B5EF4-FFF2-40B4-BE49-F238E27FC236}">
                    <a16:creationId xmlns:a16="http://schemas.microsoft.com/office/drawing/2014/main" id="{2A706797-1A74-4ED4-906E-40C6C6625516}"/>
                  </a:ext>
                </a:extLst>
              </p:cNvPr>
              <p:cNvSpPr/>
              <p:nvPr/>
            </p:nvSpPr>
            <p:spPr>
              <a:xfrm>
                <a:off x="7027790" y="1867385"/>
                <a:ext cx="443913" cy="143145"/>
              </a:xfrm>
              <a:custGeom>
                <a:avLst/>
                <a:gdLst>
                  <a:gd name="connsiteX0" fmla="*/ 437342 w 443913"/>
                  <a:gd name="connsiteY0" fmla="*/ 143145 h 143145"/>
                  <a:gd name="connsiteX1" fmla="*/ 431228 w 443913"/>
                  <a:gd name="connsiteY1" fmla="*/ 138973 h 143145"/>
                  <a:gd name="connsiteX2" fmla="*/ 383101 w 443913"/>
                  <a:gd name="connsiteY2" fmla="*/ 15829 h 143145"/>
                  <a:gd name="connsiteX3" fmla="*/ 355894 w 443913"/>
                  <a:gd name="connsiteY3" fmla="*/ 30549 h 143145"/>
                  <a:gd name="connsiteX4" fmla="*/ 300059 w 443913"/>
                  <a:gd name="connsiteY4" fmla="*/ 28665 h 143145"/>
                  <a:gd name="connsiteX5" fmla="*/ 296843 w 443913"/>
                  <a:gd name="connsiteY5" fmla="*/ 26260 h 143145"/>
                  <a:gd name="connsiteX6" fmla="*/ 254018 w 443913"/>
                  <a:gd name="connsiteY6" fmla="*/ 26260 h 143145"/>
                  <a:gd name="connsiteX7" fmla="*/ 252250 w 443913"/>
                  <a:gd name="connsiteY7" fmla="*/ 27593 h 143145"/>
                  <a:gd name="connsiteX8" fmla="*/ 193692 w 443913"/>
                  <a:gd name="connsiteY8" fmla="*/ 27593 h 143145"/>
                  <a:gd name="connsiteX9" fmla="*/ 191925 w 443913"/>
                  <a:gd name="connsiteY9" fmla="*/ 26289 h 143145"/>
                  <a:gd name="connsiteX10" fmla="*/ 149100 w 443913"/>
                  <a:gd name="connsiteY10" fmla="*/ 26289 h 143145"/>
                  <a:gd name="connsiteX11" fmla="*/ 147303 w 443913"/>
                  <a:gd name="connsiteY11" fmla="*/ 27622 h 143145"/>
                  <a:gd name="connsiteX12" fmla="*/ 88745 w 443913"/>
                  <a:gd name="connsiteY12" fmla="*/ 27622 h 143145"/>
                  <a:gd name="connsiteX13" fmla="*/ 79357 w 443913"/>
                  <a:gd name="connsiteY13" fmla="*/ 20581 h 143145"/>
                  <a:gd name="connsiteX14" fmla="*/ 46644 w 443913"/>
                  <a:gd name="connsiteY14" fmla="*/ 15279 h 143145"/>
                  <a:gd name="connsiteX15" fmla="*/ 8629 w 443913"/>
                  <a:gd name="connsiteY15" fmla="*/ 27941 h 143145"/>
                  <a:gd name="connsiteX16" fmla="*/ 342 w 443913"/>
                  <a:gd name="connsiteY16" fmla="*/ 23797 h 143145"/>
                  <a:gd name="connsiteX17" fmla="*/ 4486 w 443913"/>
                  <a:gd name="connsiteY17" fmla="*/ 15511 h 143145"/>
                  <a:gd name="connsiteX18" fmla="*/ 42501 w 443913"/>
                  <a:gd name="connsiteY18" fmla="*/ 2849 h 143145"/>
                  <a:gd name="connsiteX19" fmla="*/ 87209 w 443913"/>
                  <a:gd name="connsiteY19" fmla="*/ 10121 h 143145"/>
                  <a:gd name="connsiteX20" fmla="*/ 96626 w 443913"/>
                  <a:gd name="connsiteY20" fmla="*/ 17162 h 143145"/>
                  <a:gd name="connsiteX21" fmla="*/ 139451 w 443913"/>
                  <a:gd name="connsiteY21" fmla="*/ 17162 h 143145"/>
                  <a:gd name="connsiteX22" fmla="*/ 141247 w 443913"/>
                  <a:gd name="connsiteY22" fmla="*/ 15829 h 143145"/>
                  <a:gd name="connsiteX23" fmla="*/ 199806 w 443913"/>
                  <a:gd name="connsiteY23" fmla="*/ 15829 h 143145"/>
                  <a:gd name="connsiteX24" fmla="*/ 201573 w 443913"/>
                  <a:gd name="connsiteY24" fmla="*/ 17133 h 143145"/>
                  <a:gd name="connsiteX25" fmla="*/ 244398 w 443913"/>
                  <a:gd name="connsiteY25" fmla="*/ 17133 h 143145"/>
                  <a:gd name="connsiteX26" fmla="*/ 246166 w 443913"/>
                  <a:gd name="connsiteY26" fmla="*/ 15800 h 143145"/>
                  <a:gd name="connsiteX27" fmla="*/ 304724 w 443913"/>
                  <a:gd name="connsiteY27" fmla="*/ 15800 h 143145"/>
                  <a:gd name="connsiteX28" fmla="*/ 307940 w 443913"/>
                  <a:gd name="connsiteY28" fmla="*/ 18205 h 143145"/>
                  <a:gd name="connsiteX29" fmla="*/ 349171 w 443913"/>
                  <a:gd name="connsiteY29" fmla="*/ 19364 h 143145"/>
                  <a:gd name="connsiteX30" fmla="*/ 383420 w 443913"/>
                  <a:gd name="connsiteY30" fmla="*/ 791 h 143145"/>
                  <a:gd name="connsiteX31" fmla="*/ 388780 w 443913"/>
                  <a:gd name="connsiteY31" fmla="*/ 415 h 143145"/>
                  <a:gd name="connsiteX32" fmla="*/ 392634 w 443913"/>
                  <a:gd name="connsiteY32" fmla="*/ 4181 h 143145"/>
                  <a:gd name="connsiteX33" fmla="*/ 443456 w 443913"/>
                  <a:gd name="connsiteY33" fmla="*/ 134250 h 143145"/>
                  <a:gd name="connsiteX34" fmla="*/ 439747 w 443913"/>
                  <a:gd name="connsiteY34" fmla="*/ 142740 h 143145"/>
                  <a:gd name="connsiteX35" fmla="*/ 437342 w 443913"/>
                  <a:gd name="connsiteY35" fmla="*/ 143145 h 14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43913" h="143145">
                    <a:moveTo>
                      <a:pt x="437342" y="143145"/>
                    </a:moveTo>
                    <a:cubicBezTo>
                      <a:pt x="434735" y="143145"/>
                      <a:pt x="432243" y="141552"/>
                      <a:pt x="431228" y="138973"/>
                    </a:cubicBezTo>
                    <a:lnTo>
                      <a:pt x="383101" y="15829"/>
                    </a:lnTo>
                    <a:lnTo>
                      <a:pt x="355894" y="30549"/>
                    </a:lnTo>
                    <a:cubicBezTo>
                      <a:pt x="339233" y="41704"/>
                      <a:pt x="316575" y="41066"/>
                      <a:pt x="300059" y="28665"/>
                    </a:cubicBezTo>
                    <a:lnTo>
                      <a:pt x="296843" y="26260"/>
                    </a:lnTo>
                    <a:cubicBezTo>
                      <a:pt x="284239" y="16814"/>
                      <a:pt x="266622" y="16814"/>
                      <a:pt x="254018" y="26260"/>
                    </a:cubicBezTo>
                    <a:lnTo>
                      <a:pt x="252250" y="27593"/>
                    </a:lnTo>
                    <a:cubicBezTo>
                      <a:pt x="235010" y="40516"/>
                      <a:pt x="210932" y="40516"/>
                      <a:pt x="193692" y="27593"/>
                    </a:cubicBezTo>
                    <a:lnTo>
                      <a:pt x="191925" y="26289"/>
                    </a:lnTo>
                    <a:cubicBezTo>
                      <a:pt x="179291" y="16814"/>
                      <a:pt x="161704" y="16843"/>
                      <a:pt x="149100" y="26289"/>
                    </a:cubicBezTo>
                    <a:lnTo>
                      <a:pt x="147303" y="27622"/>
                    </a:lnTo>
                    <a:cubicBezTo>
                      <a:pt x="130063" y="40545"/>
                      <a:pt x="105985" y="40545"/>
                      <a:pt x="88745" y="27622"/>
                    </a:cubicBezTo>
                    <a:lnTo>
                      <a:pt x="79357" y="20581"/>
                    </a:lnTo>
                    <a:cubicBezTo>
                      <a:pt x="69998" y="13540"/>
                      <a:pt x="57771" y="11570"/>
                      <a:pt x="46644" y="15279"/>
                    </a:cubicBezTo>
                    <a:lnTo>
                      <a:pt x="8629" y="27941"/>
                    </a:lnTo>
                    <a:cubicBezTo>
                      <a:pt x="5181" y="29100"/>
                      <a:pt x="1472" y="27216"/>
                      <a:pt x="342" y="23797"/>
                    </a:cubicBezTo>
                    <a:cubicBezTo>
                      <a:pt x="-817" y="20349"/>
                      <a:pt x="1067" y="16641"/>
                      <a:pt x="4486" y="15511"/>
                    </a:cubicBezTo>
                    <a:lnTo>
                      <a:pt x="42501" y="2849"/>
                    </a:lnTo>
                    <a:cubicBezTo>
                      <a:pt x="57684" y="-2222"/>
                      <a:pt x="74402" y="502"/>
                      <a:pt x="87209" y="10121"/>
                    </a:cubicBezTo>
                    <a:lnTo>
                      <a:pt x="96626" y="17162"/>
                    </a:lnTo>
                    <a:cubicBezTo>
                      <a:pt x="109259" y="26637"/>
                      <a:pt x="126847" y="26608"/>
                      <a:pt x="139451" y="17162"/>
                    </a:cubicBezTo>
                    <a:lnTo>
                      <a:pt x="141247" y="15829"/>
                    </a:lnTo>
                    <a:cubicBezTo>
                      <a:pt x="158459" y="2907"/>
                      <a:pt x="182566" y="2907"/>
                      <a:pt x="199806" y="15829"/>
                    </a:cubicBezTo>
                    <a:lnTo>
                      <a:pt x="201573" y="17133"/>
                    </a:lnTo>
                    <a:cubicBezTo>
                      <a:pt x="214177" y="26579"/>
                      <a:pt x="231794" y="26608"/>
                      <a:pt x="244398" y="17133"/>
                    </a:cubicBezTo>
                    <a:lnTo>
                      <a:pt x="246166" y="15800"/>
                    </a:lnTo>
                    <a:cubicBezTo>
                      <a:pt x="263406" y="2878"/>
                      <a:pt x="287513" y="2878"/>
                      <a:pt x="304724" y="15800"/>
                    </a:cubicBezTo>
                    <a:lnTo>
                      <a:pt x="307940" y="18205"/>
                    </a:lnTo>
                    <a:cubicBezTo>
                      <a:pt x="320052" y="27274"/>
                      <a:pt x="336596" y="27738"/>
                      <a:pt x="349171" y="19364"/>
                    </a:cubicBezTo>
                    <a:lnTo>
                      <a:pt x="383420" y="791"/>
                    </a:lnTo>
                    <a:cubicBezTo>
                      <a:pt x="385071" y="-107"/>
                      <a:pt x="387042" y="-252"/>
                      <a:pt x="388780" y="415"/>
                    </a:cubicBezTo>
                    <a:cubicBezTo>
                      <a:pt x="390548" y="1052"/>
                      <a:pt x="391938" y="2443"/>
                      <a:pt x="392634" y="4181"/>
                    </a:cubicBezTo>
                    <a:lnTo>
                      <a:pt x="443456" y="134250"/>
                    </a:lnTo>
                    <a:cubicBezTo>
                      <a:pt x="444789" y="137611"/>
                      <a:pt x="443108" y="141436"/>
                      <a:pt x="439747" y="142740"/>
                    </a:cubicBezTo>
                    <a:cubicBezTo>
                      <a:pt x="438936" y="143000"/>
                      <a:pt x="438125" y="143145"/>
                      <a:pt x="437342" y="143145"/>
                    </a:cubicBezTo>
                    <a:close/>
                  </a:path>
                </a:pathLst>
              </a:custGeom>
              <a:solidFill>
                <a:schemeClr val="tx2"/>
              </a:solidFill>
              <a:ln w="2891" cap="flat">
                <a:noFill/>
                <a:prstDash val="solid"/>
                <a:miter/>
              </a:ln>
            </p:spPr>
            <p:txBody>
              <a:bodyPr rtlCol="0" anchor="ctr"/>
              <a:lstStyle/>
              <a:p>
                <a:endParaRPr lang="en-GB" dirty="0"/>
              </a:p>
            </p:txBody>
          </p:sp>
          <p:sp>
            <p:nvSpPr>
              <p:cNvPr id="267" name="Freihandform: Form 752">
                <a:extLst>
                  <a:ext uri="{FF2B5EF4-FFF2-40B4-BE49-F238E27FC236}">
                    <a16:creationId xmlns:a16="http://schemas.microsoft.com/office/drawing/2014/main" id="{64DD95B2-73A8-4E24-A797-F2B146508D33}"/>
                  </a:ext>
                </a:extLst>
              </p:cNvPr>
              <p:cNvSpPr/>
              <p:nvPr/>
            </p:nvSpPr>
            <p:spPr>
              <a:xfrm>
                <a:off x="7027785" y="1672654"/>
                <a:ext cx="393479" cy="183643"/>
              </a:xfrm>
              <a:custGeom>
                <a:avLst/>
                <a:gdLst>
                  <a:gd name="connsiteX0" fmla="*/ 13126 w 393479"/>
                  <a:gd name="connsiteY0" fmla="*/ 183643 h 183643"/>
                  <a:gd name="connsiteX1" fmla="*/ 0 w 393479"/>
                  <a:gd name="connsiteY1" fmla="*/ 183643 h 183643"/>
                  <a:gd name="connsiteX2" fmla="*/ 0 w 393479"/>
                  <a:gd name="connsiteY2" fmla="*/ 85273 h 183643"/>
                  <a:gd name="connsiteX3" fmla="*/ 1101 w 393479"/>
                  <a:gd name="connsiteY3" fmla="*/ 81622 h 183643"/>
                  <a:gd name="connsiteX4" fmla="*/ 196740 w 393479"/>
                  <a:gd name="connsiteY4" fmla="*/ 0 h 183643"/>
                  <a:gd name="connsiteX5" fmla="*/ 392379 w 393479"/>
                  <a:gd name="connsiteY5" fmla="*/ 81622 h 183643"/>
                  <a:gd name="connsiteX6" fmla="*/ 393479 w 393479"/>
                  <a:gd name="connsiteY6" fmla="*/ 85273 h 183643"/>
                  <a:gd name="connsiteX7" fmla="*/ 393479 w 393479"/>
                  <a:gd name="connsiteY7" fmla="*/ 170517 h 183643"/>
                  <a:gd name="connsiteX8" fmla="*/ 380354 w 393479"/>
                  <a:gd name="connsiteY8" fmla="*/ 170517 h 183643"/>
                  <a:gd name="connsiteX9" fmla="*/ 380354 w 393479"/>
                  <a:gd name="connsiteY9" fmla="*/ 87417 h 183643"/>
                  <a:gd name="connsiteX10" fmla="*/ 196740 w 393479"/>
                  <a:gd name="connsiteY10" fmla="*/ 13126 h 183643"/>
                  <a:gd name="connsiteX11" fmla="*/ 13126 w 393479"/>
                  <a:gd name="connsiteY11" fmla="*/ 87388 h 183643"/>
                  <a:gd name="connsiteX12" fmla="*/ 13126 w 393479"/>
                  <a:gd name="connsiteY12" fmla="*/ 183643 h 183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3479" h="183643">
                    <a:moveTo>
                      <a:pt x="13126" y="183643"/>
                    </a:moveTo>
                    <a:lnTo>
                      <a:pt x="0" y="183643"/>
                    </a:lnTo>
                    <a:lnTo>
                      <a:pt x="0" y="85273"/>
                    </a:lnTo>
                    <a:cubicBezTo>
                      <a:pt x="0" y="83969"/>
                      <a:pt x="377" y="82723"/>
                      <a:pt x="1101" y="81622"/>
                    </a:cubicBezTo>
                    <a:cubicBezTo>
                      <a:pt x="3332" y="78290"/>
                      <a:pt x="57110" y="0"/>
                      <a:pt x="196740" y="0"/>
                    </a:cubicBezTo>
                    <a:cubicBezTo>
                      <a:pt x="336370" y="0"/>
                      <a:pt x="390147" y="78290"/>
                      <a:pt x="392379" y="81622"/>
                    </a:cubicBezTo>
                    <a:cubicBezTo>
                      <a:pt x="393103" y="82694"/>
                      <a:pt x="393479" y="83969"/>
                      <a:pt x="393479" y="85273"/>
                    </a:cubicBezTo>
                    <a:lnTo>
                      <a:pt x="393479" y="170517"/>
                    </a:lnTo>
                    <a:lnTo>
                      <a:pt x="380354" y="170517"/>
                    </a:lnTo>
                    <a:lnTo>
                      <a:pt x="380354" y="87417"/>
                    </a:lnTo>
                    <a:cubicBezTo>
                      <a:pt x="372212" y="76755"/>
                      <a:pt x="318463" y="13126"/>
                      <a:pt x="196740" y="13126"/>
                    </a:cubicBezTo>
                    <a:cubicBezTo>
                      <a:pt x="74610" y="13126"/>
                      <a:pt x="21210" y="76697"/>
                      <a:pt x="13126" y="87388"/>
                    </a:cubicBezTo>
                    <a:lnTo>
                      <a:pt x="13126" y="183643"/>
                    </a:lnTo>
                    <a:close/>
                  </a:path>
                </a:pathLst>
              </a:custGeom>
              <a:solidFill>
                <a:schemeClr val="tx2"/>
              </a:solidFill>
              <a:ln w="2891" cap="flat">
                <a:noFill/>
                <a:prstDash val="solid"/>
                <a:miter/>
              </a:ln>
            </p:spPr>
            <p:txBody>
              <a:bodyPr rtlCol="0" anchor="ctr"/>
              <a:lstStyle/>
              <a:p>
                <a:endParaRPr lang="en-GB" dirty="0"/>
              </a:p>
            </p:txBody>
          </p:sp>
          <p:sp>
            <p:nvSpPr>
              <p:cNvPr id="268" name="Freihandform: Form 753">
                <a:extLst>
                  <a:ext uri="{FF2B5EF4-FFF2-40B4-BE49-F238E27FC236}">
                    <a16:creationId xmlns:a16="http://schemas.microsoft.com/office/drawing/2014/main" id="{B59E0139-A663-4860-A90A-9DC7FB6C9EB6}"/>
                  </a:ext>
                </a:extLst>
              </p:cNvPr>
              <p:cNvSpPr/>
              <p:nvPr/>
            </p:nvSpPr>
            <p:spPr>
              <a:xfrm>
                <a:off x="6995009" y="1626758"/>
                <a:ext cx="459059" cy="111513"/>
              </a:xfrm>
              <a:custGeom>
                <a:avLst/>
                <a:gdLst>
                  <a:gd name="connsiteX0" fmla="*/ 452506 w 459059"/>
                  <a:gd name="connsiteY0" fmla="*/ 111496 h 111513"/>
                  <a:gd name="connsiteX1" fmla="*/ 446682 w 459059"/>
                  <a:gd name="connsiteY1" fmla="*/ 107961 h 111513"/>
                  <a:gd name="connsiteX2" fmla="*/ 446682 w 459059"/>
                  <a:gd name="connsiteY2" fmla="*/ 107961 h 111513"/>
                  <a:gd name="connsiteX3" fmla="*/ 229515 w 459059"/>
                  <a:gd name="connsiteY3" fmla="*/ 13126 h 111513"/>
                  <a:gd name="connsiteX4" fmla="*/ 12377 w 459059"/>
                  <a:gd name="connsiteY4" fmla="*/ 107961 h 111513"/>
                  <a:gd name="connsiteX5" fmla="*/ 3540 w 459059"/>
                  <a:gd name="connsiteY5" fmla="*/ 110771 h 111513"/>
                  <a:gd name="connsiteX6" fmla="*/ 729 w 459059"/>
                  <a:gd name="connsiteY6" fmla="*/ 101934 h 111513"/>
                  <a:gd name="connsiteX7" fmla="*/ 229515 w 459059"/>
                  <a:gd name="connsiteY7" fmla="*/ 0 h 111513"/>
                  <a:gd name="connsiteX8" fmla="*/ 458330 w 459059"/>
                  <a:gd name="connsiteY8" fmla="*/ 101934 h 111513"/>
                  <a:gd name="connsiteX9" fmla="*/ 455520 w 459059"/>
                  <a:gd name="connsiteY9" fmla="*/ 110771 h 111513"/>
                  <a:gd name="connsiteX10" fmla="*/ 452506 w 459059"/>
                  <a:gd name="connsiteY10" fmla="*/ 111496 h 111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059" h="111513">
                    <a:moveTo>
                      <a:pt x="452506" y="111496"/>
                    </a:moveTo>
                    <a:cubicBezTo>
                      <a:pt x="450130" y="111496"/>
                      <a:pt x="447841" y="110221"/>
                      <a:pt x="446682" y="107961"/>
                    </a:cubicBezTo>
                    <a:lnTo>
                      <a:pt x="446682" y="107961"/>
                    </a:lnTo>
                    <a:cubicBezTo>
                      <a:pt x="446190" y="107004"/>
                      <a:pt x="395194" y="13126"/>
                      <a:pt x="229515" y="13126"/>
                    </a:cubicBezTo>
                    <a:cubicBezTo>
                      <a:pt x="63286" y="13126"/>
                      <a:pt x="12841" y="107004"/>
                      <a:pt x="12377" y="107961"/>
                    </a:cubicBezTo>
                    <a:cubicBezTo>
                      <a:pt x="10726" y="111177"/>
                      <a:pt x="6756" y="112452"/>
                      <a:pt x="3540" y="110771"/>
                    </a:cubicBezTo>
                    <a:cubicBezTo>
                      <a:pt x="323" y="109120"/>
                      <a:pt x="-922" y="105150"/>
                      <a:pt x="729" y="101934"/>
                    </a:cubicBezTo>
                    <a:cubicBezTo>
                      <a:pt x="2873" y="97761"/>
                      <a:pt x="55376" y="0"/>
                      <a:pt x="229515" y="0"/>
                    </a:cubicBezTo>
                    <a:cubicBezTo>
                      <a:pt x="403654" y="0"/>
                      <a:pt x="456157" y="97761"/>
                      <a:pt x="458330" y="101934"/>
                    </a:cubicBezTo>
                    <a:cubicBezTo>
                      <a:pt x="459982" y="105150"/>
                      <a:pt x="458736" y="109120"/>
                      <a:pt x="455520" y="110771"/>
                    </a:cubicBezTo>
                    <a:cubicBezTo>
                      <a:pt x="454534" y="111264"/>
                      <a:pt x="453520" y="111496"/>
                      <a:pt x="452506" y="111496"/>
                    </a:cubicBezTo>
                    <a:close/>
                  </a:path>
                </a:pathLst>
              </a:custGeom>
              <a:solidFill>
                <a:schemeClr val="tx2"/>
              </a:solidFill>
              <a:ln w="2891" cap="flat">
                <a:noFill/>
                <a:prstDash val="solid"/>
                <a:miter/>
              </a:ln>
            </p:spPr>
            <p:txBody>
              <a:bodyPr rtlCol="0" anchor="ctr"/>
              <a:lstStyle/>
              <a:p>
                <a:endParaRPr lang="en-GB" dirty="0"/>
              </a:p>
            </p:txBody>
          </p:sp>
          <p:sp>
            <p:nvSpPr>
              <p:cNvPr id="269" name="Freihandform: Form 754">
                <a:extLst>
                  <a:ext uri="{FF2B5EF4-FFF2-40B4-BE49-F238E27FC236}">
                    <a16:creationId xmlns:a16="http://schemas.microsoft.com/office/drawing/2014/main" id="{77B909F5-8C65-4A62-AA20-0C2BB0756D28}"/>
                  </a:ext>
                </a:extLst>
              </p:cNvPr>
              <p:cNvSpPr/>
              <p:nvPr/>
            </p:nvSpPr>
            <p:spPr>
              <a:xfrm>
                <a:off x="7217976" y="1633306"/>
                <a:ext cx="13125" cy="45896"/>
              </a:xfrm>
              <a:custGeom>
                <a:avLst/>
                <a:gdLst>
                  <a:gd name="connsiteX0" fmla="*/ 0 w 13125"/>
                  <a:gd name="connsiteY0" fmla="*/ 0 h 45896"/>
                  <a:gd name="connsiteX1" fmla="*/ 13126 w 13125"/>
                  <a:gd name="connsiteY1" fmla="*/ 0 h 45896"/>
                  <a:gd name="connsiteX2" fmla="*/ 13126 w 13125"/>
                  <a:gd name="connsiteY2" fmla="*/ 45896 h 45896"/>
                  <a:gd name="connsiteX3" fmla="*/ 0 w 13125"/>
                  <a:gd name="connsiteY3" fmla="*/ 45896 h 45896"/>
                </a:gdLst>
                <a:ahLst/>
                <a:cxnLst>
                  <a:cxn ang="0">
                    <a:pos x="connsiteX0" y="connsiteY0"/>
                  </a:cxn>
                  <a:cxn ang="0">
                    <a:pos x="connsiteX1" y="connsiteY1"/>
                  </a:cxn>
                  <a:cxn ang="0">
                    <a:pos x="connsiteX2" y="connsiteY2"/>
                  </a:cxn>
                  <a:cxn ang="0">
                    <a:pos x="connsiteX3" y="connsiteY3"/>
                  </a:cxn>
                </a:cxnLst>
                <a:rect l="l" t="t" r="r" b="b"/>
                <a:pathLst>
                  <a:path w="13125" h="45896">
                    <a:moveTo>
                      <a:pt x="0" y="0"/>
                    </a:moveTo>
                    <a:lnTo>
                      <a:pt x="13126" y="0"/>
                    </a:lnTo>
                    <a:lnTo>
                      <a:pt x="13126" y="45896"/>
                    </a:lnTo>
                    <a:lnTo>
                      <a:pt x="0" y="45896"/>
                    </a:lnTo>
                    <a:close/>
                  </a:path>
                </a:pathLst>
              </a:custGeom>
              <a:solidFill>
                <a:schemeClr val="tx2"/>
              </a:solidFill>
              <a:ln w="2891" cap="flat">
                <a:noFill/>
                <a:prstDash val="solid"/>
                <a:miter/>
              </a:ln>
            </p:spPr>
            <p:txBody>
              <a:bodyPr rtlCol="0" anchor="ctr"/>
              <a:lstStyle/>
              <a:p>
                <a:endParaRPr lang="en-GB" dirty="0"/>
              </a:p>
            </p:txBody>
          </p:sp>
          <p:grpSp>
            <p:nvGrpSpPr>
              <p:cNvPr id="270" name="Grafik 219">
                <a:extLst>
                  <a:ext uri="{FF2B5EF4-FFF2-40B4-BE49-F238E27FC236}">
                    <a16:creationId xmlns:a16="http://schemas.microsoft.com/office/drawing/2014/main" id="{A5154038-F909-4E54-853E-6BAD98AB42E4}"/>
                  </a:ext>
                </a:extLst>
              </p:cNvPr>
              <p:cNvGrpSpPr/>
              <p:nvPr/>
            </p:nvGrpSpPr>
            <p:grpSpPr>
              <a:xfrm>
                <a:off x="7265524" y="1636609"/>
                <a:ext cx="155769" cy="134414"/>
                <a:chOff x="7265524" y="1636609"/>
                <a:chExt cx="155769" cy="134414"/>
              </a:xfrm>
              <a:solidFill>
                <a:schemeClr val="tx2"/>
              </a:solidFill>
            </p:grpSpPr>
            <p:sp>
              <p:nvSpPr>
                <p:cNvPr id="281" name="Freihandform: Form 756">
                  <a:extLst>
                    <a:ext uri="{FF2B5EF4-FFF2-40B4-BE49-F238E27FC236}">
                      <a16:creationId xmlns:a16="http://schemas.microsoft.com/office/drawing/2014/main" id="{F805A31B-9CBC-45BF-96FB-093C56E05F1E}"/>
                    </a:ext>
                  </a:extLst>
                </p:cNvPr>
                <p:cNvSpPr/>
                <p:nvPr/>
              </p:nvSpPr>
              <p:spPr>
                <a:xfrm>
                  <a:off x="7265524" y="1636609"/>
                  <a:ext cx="13125" cy="45896"/>
                </a:xfrm>
                <a:custGeom>
                  <a:avLst/>
                  <a:gdLst>
                    <a:gd name="connsiteX0" fmla="*/ 0 w 13125"/>
                    <a:gd name="connsiteY0" fmla="*/ 0 h 45896"/>
                    <a:gd name="connsiteX1" fmla="*/ 13126 w 13125"/>
                    <a:gd name="connsiteY1" fmla="*/ 0 h 45896"/>
                    <a:gd name="connsiteX2" fmla="*/ 13126 w 13125"/>
                    <a:gd name="connsiteY2" fmla="*/ 45896 h 45896"/>
                    <a:gd name="connsiteX3" fmla="*/ 0 w 13125"/>
                    <a:gd name="connsiteY3" fmla="*/ 45896 h 45896"/>
                  </a:gdLst>
                  <a:ahLst/>
                  <a:cxnLst>
                    <a:cxn ang="0">
                      <a:pos x="connsiteX0" y="connsiteY0"/>
                    </a:cxn>
                    <a:cxn ang="0">
                      <a:pos x="connsiteX1" y="connsiteY1"/>
                    </a:cxn>
                    <a:cxn ang="0">
                      <a:pos x="connsiteX2" y="connsiteY2"/>
                    </a:cxn>
                    <a:cxn ang="0">
                      <a:pos x="connsiteX3" y="connsiteY3"/>
                    </a:cxn>
                  </a:cxnLst>
                  <a:rect l="l" t="t" r="r" b="b"/>
                  <a:pathLst>
                    <a:path w="13125" h="45896">
                      <a:moveTo>
                        <a:pt x="0" y="0"/>
                      </a:moveTo>
                      <a:lnTo>
                        <a:pt x="13126" y="0"/>
                      </a:lnTo>
                      <a:lnTo>
                        <a:pt x="13126" y="45896"/>
                      </a:lnTo>
                      <a:lnTo>
                        <a:pt x="0" y="45896"/>
                      </a:lnTo>
                      <a:close/>
                    </a:path>
                  </a:pathLst>
                </a:custGeom>
                <a:solidFill>
                  <a:schemeClr val="accent1"/>
                </a:solidFill>
                <a:ln w="2891" cap="flat">
                  <a:noFill/>
                  <a:prstDash val="solid"/>
                  <a:miter/>
                </a:ln>
              </p:spPr>
              <p:txBody>
                <a:bodyPr rtlCol="0" anchor="ctr"/>
                <a:lstStyle/>
                <a:p>
                  <a:endParaRPr lang="en-GB" dirty="0"/>
                </a:p>
              </p:txBody>
            </p:sp>
            <p:sp>
              <p:nvSpPr>
                <p:cNvPr id="282" name="Freihandform: Form 757">
                  <a:extLst>
                    <a:ext uri="{FF2B5EF4-FFF2-40B4-BE49-F238E27FC236}">
                      <a16:creationId xmlns:a16="http://schemas.microsoft.com/office/drawing/2014/main" id="{F08EACA2-C43D-4380-AA71-3D41B4CD5DD1}"/>
                    </a:ext>
                  </a:extLst>
                </p:cNvPr>
                <p:cNvSpPr/>
                <p:nvPr/>
              </p:nvSpPr>
              <p:spPr>
                <a:xfrm>
                  <a:off x="7313072" y="1646431"/>
                  <a:ext cx="13125" cy="45896"/>
                </a:xfrm>
                <a:custGeom>
                  <a:avLst/>
                  <a:gdLst>
                    <a:gd name="connsiteX0" fmla="*/ 0 w 13125"/>
                    <a:gd name="connsiteY0" fmla="*/ 0 h 45896"/>
                    <a:gd name="connsiteX1" fmla="*/ 13126 w 13125"/>
                    <a:gd name="connsiteY1" fmla="*/ 0 h 45896"/>
                    <a:gd name="connsiteX2" fmla="*/ 13126 w 13125"/>
                    <a:gd name="connsiteY2" fmla="*/ 45896 h 45896"/>
                    <a:gd name="connsiteX3" fmla="*/ 0 w 13125"/>
                    <a:gd name="connsiteY3" fmla="*/ 45896 h 45896"/>
                  </a:gdLst>
                  <a:ahLst/>
                  <a:cxnLst>
                    <a:cxn ang="0">
                      <a:pos x="connsiteX0" y="connsiteY0"/>
                    </a:cxn>
                    <a:cxn ang="0">
                      <a:pos x="connsiteX1" y="connsiteY1"/>
                    </a:cxn>
                    <a:cxn ang="0">
                      <a:pos x="connsiteX2" y="connsiteY2"/>
                    </a:cxn>
                    <a:cxn ang="0">
                      <a:pos x="connsiteX3" y="connsiteY3"/>
                    </a:cxn>
                  </a:cxnLst>
                  <a:rect l="l" t="t" r="r" b="b"/>
                  <a:pathLst>
                    <a:path w="13125" h="45896">
                      <a:moveTo>
                        <a:pt x="0" y="0"/>
                      </a:moveTo>
                      <a:lnTo>
                        <a:pt x="13126" y="0"/>
                      </a:lnTo>
                      <a:lnTo>
                        <a:pt x="13126" y="45896"/>
                      </a:lnTo>
                      <a:lnTo>
                        <a:pt x="0" y="45896"/>
                      </a:lnTo>
                      <a:close/>
                    </a:path>
                  </a:pathLst>
                </a:custGeom>
                <a:solidFill>
                  <a:schemeClr val="accent1"/>
                </a:solidFill>
                <a:ln w="2891" cap="flat">
                  <a:noFill/>
                  <a:prstDash val="solid"/>
                  <a:miter/>
                </a:ln>
              </p:spPr>
              <p:txBody>
                <a:bodyPr rtlCol="0" anchor="ctr"/>
                <a:lstStyle/>
                <a:p>
                  <a:endParaRPr lang="en-GB" dirty="0"/>
                </a:p>
              </p:txBody>
            </p:sp>
            <p:sp>
              <p:nvSpPr>
                <p:cNvPr id="283" name="Freihandform: Form 758">
                  <a:extLst>
                    <a:ext uri="{FF2B5EF4-FFF2-40B4-BE49-F238E27FC236}">
                      <a16:creationId xmlns:a16="http://schemas.microsoft.com/office/drawing/2014/main" id="{20EAFD86-37FA-4A95-B444-9592F4F5C2E4}"/>
                    </a:ext>
                  </a:extLst>
                </p:cNvPr>
                <p:cNvSpPr/>
                <p:nvPr/>
              </p:nvSpPr>
              <p:spPr>
                <a:xfrm>
                  <a:off x="7360620" y="1666105"/>
                  <a:ext cx="13125" cy="45896"/>
                </a:xfrm>
                <a:custGeom>
                  <a:avLst/>
                  <a:gdLst>
                    <a:gd name="connsiteX0" fmla="*/ 0 w 13125"/>
                    <a:gd name="connsiteY0" fmla="*/ 0 h 45896"/>
                    <a:gd name="connsiteX1" fmla="*/ 13126 w 13125"/>
                    <a:gd name="connsiteY1" fmla="*/ 0 h 45896"/>
                    <a:gd name="connsiteX2" fmla="*/ 13126 w 13125"/>
                    <a:gd name="connsiteY2" fmla="*/ 45896 h 45896"/>
                    <a:gd name="connsiteX3" fmla="*/ 0 w 13125"/>
                    <a:gd name="connsiteY3" fmla="*/ 45896 h 45896"/>
                  </a:gdLst>
                  <a:ahLst/>
                  <a:cxnLst>
                    <a:cxn ang="0">
                      <a:pos x="connsiteX0" y="connsiteY0"/>
                    </a:cxn>
                    <a:cxn ang="0">
                      <a:pos x="connsiteX1" y="connsiteY1"/>
                    </a:cxn>
                    <a:cxn ang="0">
                      <a:pos x="connsiteX2" y="connsiteY2"/>
                    </a:cxn>
                    <a:cxn ang="0">
                      <a:pos x="connsiteX3" y="connsiteY3"/>
                    </a:cxn>
                  </a:cxnLst>
                  <a:rect l="l" t="t" r="r" b="b"/>
                  <a:pathLst>
                    <a:path w="13125" h="45896">
                      <a:moveTo>
                        <a:pt x="0" y="0"/>
                      </a:moveTo>
                      <a:lnTo>
                        <a:pt x="13126" y="0"/>
                      </a:lnTo>
                      <a:lnTo>
                        <a:pt x="13126" y="45896"/>
                      </a:lnTo>
                      <a:lnTo>
                        <a:pt x="0" y="45896"/>
                      </a:lnTo>
                      <a:close/>
                    </a:path>
                  </a:pathLst>
                </a:custGeom>
                <a:solidFill>
                  <a:schemeClr val="accent1"/>
                </a:solidFill>
                <a:ln w="2891" cap="flat">
                  <a:noFill/>
                  <a:prstDash val="solid"/>
                  <a:miter/>
                </a:ln>
              </p:spPr>
              <p:txBody>
                <a:bodyPr rtlCol="0" anchor="ctr"/>
                <a:lstStyle/>
                <a:p>
                  <a:endParaRPr lang="en-GB" dirty="0"/>
                </a:p>
              </p:txBody>
            </p:sp>
            <p:sp>
              <p:nvSpPr>
                <p:cNvPr id="284" name="Freihandform: Form 759">
                  <a:extLst>
                    <a:ext uri="{FF2B5EF4-FFF2-40B4-BE49-F238E27FC236}">
                      <a16:creationId xmlns:a16="http://schemas.microsoft.com/office/drawing/2014/main" id="{9F485E7A-E426-47DC-AE36-6D0F921BF810}"/>
                    </a:ext>
                  </a:extLst>
                </p:cNvPr>
                <p:cNvSpPr/>
                <p:nvPr/>
              </p:nvSpPr>
              <p:spPr>
                <a:xfrm>
                  <a:off x="7408168" y="1695196"/>
                  <a:ext cx="13125" cy="75827"/>
                </a:xfrm>
                <a:custGeom>
                  <a:avLst/>
                  <a:gdLst>
                    <a:gd name="connsiteX0" fmla="*/ 0 w 13125"/>
                    <a:gd name="connsiteY0" fmla="*/ 0 h 75827"/>
                    <a:gd name="connsiteX1" fmla="*/ 13126 w 13125"/>
                    <a:gd name="connsiteY1" fmla="*/ 0 h 75827"/>
                    <a:gd name="connsiteX2" fmla="*/ 13126 w 13125"/>
                    <a:gd name="connsiteY2" fmla="*/ 75827 h 75827"/>
                    <a:gd name="connsiteX3" fmla="*/ 0 w 13125"/>
                    <a:gd name="connsiteY3" fmla="*/ 75827 h 75827"/>
                  </a:gdLst>
                  <a:ahLst/>
                  <a:cxnLst>
                    <a:cxn ang="0">
                      <a:pos x="connsiteX0" y="connsiteY0"/>
                    </a:cxn>
                    <a:cxn ang="0">
                      <a:pos x="connsiteX1" y="connsiteY1"/>
                    </a:cxn>
                    <a:cxn ang="0">
                      <a:pos x="connsiteX2" y="connsiteY2"/>
                    </a:cxn>
                    <a:cxn ang="0">
                      <a:pos x="connsiteX3" y="connsiteY3"/>
                    </a:cxn>
                  </a:cxnLst>
                  <a:rect l="l" t="t" r="r" b="b"/>
                  <a:pathLst>
                    <a:path w="13125" h="75827">
                      <a:moveTo>
                        <a:pt x="0" y="0"/>
                      </a:moveTo>
                      <a:lnTo>
                        <a:pt x="13126" y="0"/>
                      </a:lnTo>
                      <a:lnTo>
                        <a:pt x="13126" y="75827"/>
                      </a:lnTo>
                      <a:lnTo>
                        <a:pt x="0" y="75827"/>
                      </a:lnTo>
                      <a:close/>
                    </a:path>
                  </a:pathLst>
                </a:custGeom>
                <a:solidFill>
                  <a:schemeClr val="accent1"/>
                </a:solidFill>
                <a:ln w="2891" cap="flat">
                  <a:noFill/>
                  <a:prstDash val="solid"/>
                  <a:miter/>
                </a:ln>
              </p:spPr>
              <p:txBody>
                <a:bodyPr rtlCol="0" anchor="ctr"/>
                <a:lstStyle/>
                <a:p>
                  <a:endParaRPr lang="en-GB" dirty="0"/>
                </a:p>
              </p:txBody>
            </p:sp>
          </p:grpSp>
          <p:grpSp>
            <p:nvGrpSpPr>
              <p:cNvPr id="271" name="Grafik 219">
                <a:extLst>
                  <a:ext uri="{FF2B5EF4-FFF2-40B4-BE49-F238E27FC236}">
                    <a16:creationId xmlns:a16="http://schemas.microsoft.com/office/drawing/2014/main" id="{A4ED30F0-CCB3-4A6F-BB3C-28A94403BE4C}"/>
                  </a:ext>
                </a:extLst>
              </p:cNvPr>
              <p:cNvGrpSpPr/>
              <p:nvPr/>
            </p:nvGrpSpPr>
            <p:grpSpPr>
              <a:xfrm>
                <a:off x="7027785" y="1636609"/>
                <a:ext cx="155769" cy="134414"/>
                <a:chOff x="7027785" y="1636609"/>
                <a:chExt cx="155769" cy="134414"/>
              </a:xfrm>
              <a:solidFill>
                <a:schemeClr val="tx2"/>
              </a:solidFill>
            </p:grpSpPr>
            <p:sp>
              <p:nvSpPr>
                <p:cNvPr id="277" name="Freihandform: Form 761">
                  <a:extLst>
                    <a:ext uri="{FF2B5EF4-FFF2-40B4-BE49-F238E27FC236}">
                      <a16:creationId xmlns:a16="http://schemas.microsoft.com/office/drawing/2014/main" id="{0C53AB0A-A22A-4E03-92F3-B1B685D75DBA}"/>
                    </a:ext>
                  </a:extLst>
                </p:cNvPr>
                <p:cNvSpPr/>
                <p:nvPr/>
              </p:nvSpPr>
              <p:spPr>
                <a:xfrm>
                  <a:off x="7170428" y="1636609"/>
                  <a:ext cx="13125" cy="45896"/>
                </a:xfrm>
                <a:custGeom>
                  <a:avLst/>
                  <a:gdLst>
                    <a:gd name="connsiteX0" fmla="*/ 0 w 13125"/>
                    <a:gd name="connsiteY0" fmla="*/ 0 h 45896"/>
                    <a:gd name="connsiteX1" fmla="*/ 13126 w 13125"/>
                    <a:gd name="connsiteY1" fmla="*/ 0 h 45896"/>
                    <a:gd name="connsiteX2" fmla="*/ 13126 w 13125"/>
                    <a:gd name="connsiteY2" fmla="*/ 45896 h 45896"/>
                    <a:gd name="connsiteX3" fmla="*/ 0 w 13125"/>
                    <a:gd name="connsiteY3" fmla="*/ 45896 h 45896"/>
                  </a:gdLst>
                  <a:ahLst/>
                  <a:cxnLst>
                    <a:cxn ang="0">
                      <a:pos x="connsiteX0" y="connsiteY0"/>
                    </a:cxn>
                    <a:cxn ang="0">
                      <a:pos x="connsiteX1" y="connsiteY1"/>
                    </a:cxn>
                    <a:cxn ang="0">
                      <a:pos x="connsiteX2" y="connsiteY2"/>
                    </a:cxn>
                    <a:cxn ang="0">
                      <a:pos x="connsiteX3" y="connsiteY3"/>
                    </a:cxn>
                  </a:cxnLst>
                  <a:rect l="l" t="t" r="r" b="b"/>
                  <a:pathLst>
                    <a:path w="13125" h="45896">
                      <a:moveTo>
                        <a:pt x="0" y="0"/>
                      </a:moveTo>
                      <a:lnTo>
                        <a:pt x="13126" y="0"/>
                      </a:lnTo>
                      <a:lnTo>
                        <a:pt x="13126" y="45896"/>
                      </a:lnTo>
                      <a:lnTo>
                        <a:pt x="0" y="45896"/>
                      </a:lnTo>
                      <a:close/>
                    </a:path>
                  </a:pathLst>
                </a:custGeom>
                <a:solidFill>
                  <a:schemeClr val="accent1"/>
                </a:solidFill>
                <a:ln w="2891" cap="flat">
                  <a:noFill/>
                  <a:prstDash val="solid"/>
                  <a:miter/>
                </a:ln>
              </p:spPr>
              <p:txBody>
                <a:bodyPr rtlCol="0" anchor="ctr"/>
                <a:lstStyle/>
                <a:p>
                  <a:endParaRPr lang="en-GB" dirty="0"/>
                </a:p>
              </p:txBody>
            </p:sp>
            <p:sp>
              <p:nvSpPr>
                <p:cNvPr id="278" name="Freihandform: Form 762">
                  <a:extLst>
                    <a:ext uri="{FF2B5EF4-FFF2-40B4-BE49-F238E27FC236}">
                      <a16:creationId xmlns:a16="http://schemas.microsoft.com/office/drawing/2014/main" id="{1FC7AD8F-D3DC-49FE-898B-6F93C97047EE}"/>
                    </a:ext>
                  </a:extLst>
                </p:cNvPr>
                <p:cNvSpPr/>
                <p:nvPr/>
              </p:nvSpPr>
              <p:spPr>
                <a:xfrm>
                  <a:off x="7122881" y="1646431"/>
                  <a:ext cx="13125" cy="45896"/>
                </a:xfrm>
                <a:custGeom>
                  <a:avLst/>
                  <a:gdLst>
                    <a:gd name="connsiteX0" fmla="*/ 0 w 13125"/>
                    <a:gd name="connsiteY0" fmla="*/ 0 h 45896"/>
                    <a:gd name="connsiteX1" fmla="*/ 13126 w 13125"/>
                    <a:gd name="connsiteY1" fmla="*/ 0 h 45896"/>
                    <a:gd name="connsiteX2" fmla="*/ 13126 w 13125"/>
                    <a:gd name="connsiteY2" fmla="*/ 45896 h 45896"/>
                    <a:gd name="connsiteX3" fmla="*/ 0 w 13125"/>
                    <a:gd name="connsiteY3" fmla="*/ 45896 h 45896"/>
                  </a:gdLst>
                  <a:ahLst/>
                  <a:cxnLst>
                    <a:cxn ang="0">
                      <a:pos x="connsiteX0" y="connsiteY0"/>
                    </a:cxn>
                    <a:cxn ang="0">
                      <a:pos x="connsiteX1" y="connsiteY1"/>
                    </a:cxn>
                    <a:cxn ang="0">
                      <a:pos x="connsiteX2" y="connsiteY2"/>
                    </a:cxn>
                    <a:cxn ang="0">
                      <a:pos x="connsiteX3" y="connsiteY3"/>
                    </a:cxn>
                  </a:cxnLst>
                  <a:rect l="l" t="t" r="r" b="b"/>
                  <a:pathLst>
                    <a:path w="13125" h="45896">
                      <a:moveTo>
                        <a:pt x="0" y="0"/>
                      </a:moveTo>
                      <a:lnTo>
                        <a:pt x="13126" y="0"/>
                      </a:lnTo>
                      <a:lnTo>
                        <a:pt x="13126" y="45896"/>
                      </a:lnTo>
                      <a:lnTo>
                        <a:pt x="0" y="45896"/>
                      </a:lnTo>
                      <a:close/>
                    </a:path>
                  </a:pathLst>
                </a:custGeom>
                <a:solidFill>
                  <a:schemeClr val="accent1"/>
                </a:solidFill>
                <a:ln w="2891" cap="flat">
                  <a:noFill/>
                  <a:prstDash val="solid"/>
                  <a:miter/>
                </a:ln>
              </p:spPr>
              <p:txBody>
                <a:bodyPr rtlCol="0" anchor="ctr"/>
                <a:lstStyle/>
                <a:p>
                  <a:endParaRPr lang="en-GB" dirty="0"/>
                </a:p>
              </p:txBody>
            </p:sp>
            <p:sp>
              <p:nvSpPr>
                <p:cNvPr id="279" name="Freihandform: Form 763">
                  <a:extLst>
                    <a:ext uri="{FF2B5EF4-FFF2-40B4-BE49-F238E27FC236}">
                      <a16:creationId xmlns:a16="http://schemas.microsoft.com/office/drawing/2014/main" id="{E1BB7871-A20B-4A64-9E1F-78C3529ECE97}"/>
                    </a:ext>
                  </a:extLst>
                </p:cNvPr>
                <p:cNvSpPr/>
                <p:nvPr/>
              </p:nvSpPr>
              <p:spPr>
                <a:xfrm>
                  <a:off x="7075333" y="1666105"/>
                  <a:ext cx="13125" cy="45896"/>
                </a:xfrm>
                <a:custGeom>
                  <a:avLst/>
                  <a:gdLst>
                    <a:gd name="connsiteX0" fmla="*/ 0 w 13125"/>
                    <a:gd name="connsiteY0" fmla="*/ 0 h 45896"/>
                    <a:gd name="connsiteX1" fmla="*/ 13126 w 13125"/>
                    <a:gd name="connsiteY1" fmla="*/ 0 h 45896"/>
                    <a:gd name="connsiteX2" fmla="*/ 13126 w 13125"/>
                    <a:gd name="connsiteY2" fmla="*/ 45896 h 45896"/>
                    <a:gd name="connsiteX3" fmla="*/ 0 w 13125"/>
                    <a:gd name="connsiteY3" fmla="*/ 45896 h 45896"/>
                  </a:gdLst>
                  <a:ahLst/>
                  <a:cxnLst>
                    <a:cxn ang="0">
                      <a:pos x="connsiteX0" y="connsiteY0"/>
                    </a:cxn>
                    <a:cxn ang="0">
                      <a:pos x="connsiteX1" y="connsiteY1"/>
                    </a:cxn>
                    <a:cxn ang="0">
                      <a:pos x="connsiteX2" y="connsiteY2"/>
                    </a:cxn>
                    <a:cxn ang="0">
                      <a:pos x="connsiteX3" y="connsiteY3"/>
                    </a:cxn>
                  </a:cxnLst>
                  <a:rect l="l" t="t" r="r" b="b"/>
                  <a:pathLst>
                    <a:path w="13125" h="45896">
                      <a:moveTo>
                        <a:pt x="0" y="0"/>
                      </a:moveTo>
                      <a:lnTo>
                        <a:pt x="13126" y="0"/>
                      </a:lnTo>
                      <a:lnTo>
                        <a:pt x="13126" y="45896"/>
                      </a:lnTo>
                      <a:lnTo>
                        <a:pt x="0" y="45896"/>
                      </a:lnTo>
                      <a:close/>
                    </a:path>
                  </a:pathLst>
                </a:custGeom>
                <a:solidFill>
                  <a:schemeClr val="accent1"/>
                </a:solidFill>
                <a:ln w="2891" cap="flat">
                  <a:noFill/>
                  <a:prstDash val="solid"/>
                  <a:miter/>
                </a:ln>
              </p:spPr>
              <p:txBody>
                <a:bodyPr rtlCol="0" anchor="ctr"/>
                <a:lstStyle/>
                <a:p>
                  <a:endParaRPr lang="en-GB" dirty="0"/>
                </a:p>
              </p:txBody>
            </p:sp>
            <p:sp>
              <p:nvSpPr>
                <p:cNvPr id="280" name="Freihandform: Form 764">
                  <a:extLst>
                    <a:ext uri="{FF2B5EF4-FFF2-40B4-BE49-F238E27FC236}">
                      <a16:creationId xmlns:a16="http://schemas.microsoft.com/office/drawing/2014/main" id="{8DA0C2DD-C152-4917-907D-A2BF4A67A120}"/>
                    </a:ext>
                  </a:extLst>
                </p:cNvPr>
                <p:cNvSpPr/>
                <p:nvPr/>
              </p:nvSpPr>
              <p:spPr>
                <a:xfrm>
                  <a:off x="7027785" y="1695196"/>
                  <a:ext cx="13125" cy="75827"/>
                </a:xfrm>
                <a:custGeom>
                  <a:avLst/>
                  <a:gdLst>
                    <a:gd name="connsiteX0" fmla="*/ 0 w 13125"/>
                    <a:gd name="connsiteY0" fmla="*/ 0 h 75827"/>
                    <a:gd name="connsiteX1" fmla="*/ 13126 w 13125"/>
                    <a:gd name="connsiteY1" fmla="*/ 0 h 75827"/>
                    <a:gd name="connsiteX2" fmla="*/ 13126 w 13125"/>
                    <a:gd name="connsiteY2" fmla="*/ 75827 h 75827"/>
                    <a:gd name="connsiteX3" fmla="*/ 0 w 13125"/>
                    <a:gd name="connsiteY3" fmla="*/ 75827 h 75827"/>
                  </a:gdLst>
                  <a:ahLst/>
                  <a:cxnLst>
                    <a:cxn ang="0">
                      <a:pos x="connsiteX0" y="connsiteY0"/>
                    </a:cxn>
                    <a:cxn ang="0">
                      <a:pos x="connsiteX1" y="connsiteY1"/>
                    </a:cxn>
                    <a:cxn ang="0">
                      <a:pos x="connsiteX2" y="connsiteY2"/>
                    </a:cxn>
                    <a:cxn ang="0">
                      <a:pos x="connsiteX3" y="connsiteY3"/>
                    </a:cxn>
                  </a:cxnLst>
                  <a:rect l="l" t="t" r="r" b="b"/>
                  <a:pathLst>
                    <a:path w="13125" h="75827">
                      <a:moveTo>
                        <a:pt x="0" y="0"/>
                      </a:moveTo>
                      <a:lnTo>
                        <a:pt x="13126" y="0"/>
                      </a:lnTo>
                      <a:lnTo>
                        <a:pt x="13126" y="75827"/>
                      </a:lnTo>
                      <a:lnTo>
                        <a:pt x="0" y="75827"/>
                      </a:lnTo>
                      <a:close/>
                    </a:path>
                  </a:pathLst>
                </a:custGeom>
                <a:solidFill>
                  <a:schemeClr val="accent1"/>
                </a:solidFill>
                <a:ln w="2891" cap="flat">
                  <a:noFill/>
                  <a:prstDash val="solid"/>
                  <a:miter/>
                </a:ln>
              </p:spPr>
              <p:txBody>
                <a:bodyPr rtlCol="0" anchor="ctr"/>
                <a:lstStyle/>
                <a:p>
                  <a:endParaRPr lang="en-GB" dirty="0"/>
                </a:p>
              </p:txBody>
            </p:sp>
          </p:grpSp>
          <p:sp>
            <p:nvSpPr>
              <p:cNvPr id="272" name="Freihandform: Form 768">
                <a:extLst>
                  <a:ext uri="{FF2B5EF4-FFF2-40B4-BE49-F238E27FC236}">
                    <a16:creationId xmlns:a16="http://schemas.microsoft.com/office/drawing/2014/main" id="{A3F2ED94-1960-42B2-9DE0-991241063516}"/>
                  </a:ext>
                </a:extLst>
              </p:cNvPr>
              <p:cNvSpPr/>
              <p:nvPr/>
            </p:nvSpPr>
            <p:spPr>
              <a:xfrm>
                <a:off x="7113029" y="1987944"/>
                <a:ext cx="222938" cy="32292"/>
              </a:xfrm>
              <a:custGeom>
                <a:avLst/>
                <a:gdLst>
                  <a:gd name="connsiteX0" fmla="*/ 216443 w 222938"/>
                  <a:gd name="connsiteY0" fmla="*/ 32293 h 32292"/>
                  <a:gd name="connsiteX1" fmla="*/ 216211 w 222938"/>
                  <a:gd name="connsiteY1" fmla="*/ 32293 h 32292"/>
                  <a:gd name="connsiteX2" fmla="*/ 188569 w 222938"/>
                  <a:gd name="connsiteY2" fmla="*/ 22557 h 32292"/>
                  <a:gd name="connsiteX3" fmla="*/ 185353 w 222938"/>
                  <a:gd name="connsiteY3" fmla="*/ 20152 h 32292"/>
                  <a:gd name="connsiteX4" fmla="*/ 142528 w 222938"/>
                  <a:gd name="connsiteY4" fmla="*/ 20152 h 32292"/>
                  <a:gd name="connsiteX5" fmla="*/ 140760 w 222938"/>
                  <a:gd name="connsiteY5" fmla="*/ 21485 h 32292"/>
                  <a:gd name="connsiteX6" fmla="*/ 82202 w 222938"/>
                  <a:gd name="connsiteY6" fmla="*/ 21485 h 32292"/>
                  <a:gd name="connsiteX7" fmla="*/ 80434 w 222938"/>
                  <a:gd name="connsiteY7" fmla="*/ 20181 h 32292"/>
                  <a:gd name="connsiteX8" fmla="*/ 37609 w 222938"/>
                  <a:gd name="connsiteY8" fmla="*/ 20181 h 32292"/>
                  <a:gd name="connsiteX9" fmla="*/ 35842 w 222938"/>
                  <a:gd name="connsiteY9" fmla="*/ 21514 h 32292"/>
                  <a:gd name="connsiteX10" fmla="*/ 6548 w 222938"/>
                  <a:gd name="connsiteY10" fmla="*/ 31278 h 32292"/>
                  <a:gd name="connsiteX11" fmla="*/ 0 w 222938"/>
                  <a:gd name="connsiteY11" fmla="*/ 24730 h 32292"/>
                  <a:gd name="connsiteX12" fmla="*/ 6548 w 222938"/>
                  <a:gd name="connsiteY12" fmla="*/ 18182 h 32292"/>
                  <a:gd name="connsiteX13" fmla="*/ 27961 w 222938"/>
                  <a:gd name="connsiteY13" fmla="*/ 11054 h 32292"/>
                  <a:gd name="connsiteX14" fmla="*/ 29728 w 222938"/>
                  <a:gd name="connsiteY14" fmla="*/ 9721 h 32292"/>
                  <a:gd name="connsiteX15" fmla="*/ 88287 w 222938"/>
                  <a:gd name="connsiteY15" fmla="*/ 9721 h 32292"/>
                  <a:gd name="connsiteX16" fmla="*/ 90054 w 222938"/>
                  <a:gd name="connsiteY16" fmla="*/ 11025 h 32292"/>
                  <a:gd name="connsiteX17" fmla="*/ 132879 w 222938"/>
                  <a:gd name="connsiteY17" fmla="*/ 11025 h 32292"/>
                  <a:gd name="connsiteX18" fmla="*/ 134646 w 222938"/>
                  <a:gd name="connsiteY18" fmla="*/ 9692 h 32292"/>
                  <a:gd name="connsiteX19" fmla="*/ 193205 w 222938"/>
                  <a:gd name="connsiteY19" fmla="*/ 9692 h 32292"/>
                  <a:gd name="connsiteX20" fmla="*/ 196421 w 222938"/>
                  <a:gd name="connsiteY20" fmla="*/ 12097 h 32292"/>
                  <a:gd name="connsiteX21" fmla="*/ 216616 w 222938"/>
                  <a:gd name="connsiteY21" fmla="*/ 19225 h 32292"/>
                  <a:gd name="connsiteX22" fmla="*/ 222933 w 222938"/>
                  <a:gd name="connsiteY22" fmla="*/ 26005 h 32292"/>
                  <a:gd name="connsiteX23" fmla="*/ 216443 w 222938"/>
                  <a:gd name="connsiteY23" fmla="*/ 32293 h 32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2938" h="32292">
                    <a:moveTo>
                      <a:pt x="216443" y="32293"/>
                    </a:moveTo>
                    <a:cubicBezTo>
                      <a:pt x="216356" y="32293"/>
                      <a:pt x="216298" y="32293"/>
                      <a:pt x="216211" y="32293"/>
                    </a:cubicBezTo>
                    <a:cubicBezTo>
                      <a:pt x="206185" y="31945"/>
                      <a:pt x="196624" y="28584"/>
                      <a:pt x="188569" y="22557"/>
                    </a:cubicBezTo>
                    <a:lnTo>
                      <a:pt x="185353" y="20152"/>
                    </a:lnTo>
                    <a:cubicBezTo>
                      <a:pt x="172748" y="10706"/>
                      <a:pt x="155132" y="10706"/>
                      <a:pt x="142528" y="20152"/>
                    </a:cubicBezTo>
                    <a:lnTo>
                      <a:pt x="140760" y="21485"/>
                    </a:lnTo>
                    <a:cubicBezTo>
                      <a:pt x="123520" y="34408"/>
                      <a:pt x="99442" y="34408"/>
                      <a:pt x="82202" y="21485"/>
                    </a:cubicBezTo>
                    <a:lnTo>
                      <a:pt x="80434" y="20181"/>
                    </a:lnTo>
                    <a:cubicBezTo>
                      <a:pt x="67830" y="10735"/>
                      <a:pt x="50213" y="10735"/>
                      <a:pt x="37609" y="20181"/>
                    </a:cubicBezTo>
                    <a:lnTo>
                      <a:pt x="35842" y="21514"/>
                    </a:lnTo>
                    <a:cubicBezTo>
                      <a:pt x="27323" y="27888"/>
                      <a:pt x="17211" y="31278"/>
                      <a:pt x="6548" y="31278"/>
                    </a:cubicBezTo>
                    <a:cubicBezTo>
                      <a:pt x="2926" y="31278"/>
                      <a:pt x="0" y="28352"/>
                      <a:pt x="0" y="24730"/>
                    </a:cubicBezTo>
                    <a:cubicBezTo>
                      <a:pt x="0" y="21108"/>
                      <a:pt x="2926" y="18182"/>
                      <a:pt x="6548" y="18182"/>
                    </a:cubicBezTo>
                    <a:cubicBezTo>
                      <a:pt x="14342" y="18182"/>
                      <a:pt x="21760" y="15719"/>
                      <a:pt x="27961" y="11054"/>
                    </a:cubicBezTo>
                    <a:lnTo>
                      <a:pt x="29728" y="9721"/>
                    </a:lnTo>
                    <a:cubicBezTo>
                      <a:pt x="46968" y="-3202"/>
                      <a:pt x="71075" y="-3202"/>
                      <a:pt x="88287" y="9721"/>
                    </a:cubicBezTo>
                    <a:lnTo>
                      <a:pt x="90054" y="11025"/>
                    </a:lnTo>
                    <a:cubicBezTo>
                      <a:pt x="102658" y="20471"/>
                      <a:pt x="120275" y="20471"/>
                      <a:pt x="132879" y="11025"/>
                    </a:cubicBezTo>
                    <a:lnTo>
                      <a:pt x="134646" y="9692"/>
                    </a:lnTo>
                    <a:cubicBezTo>
                      <a:pt x="151887" y="-3231"/>
                      <a:pt x="175994" y="-3231"/>
                      <a:pt x="193205" y="9692"/>
                    </a:cubicBezTo>
                    <a:lnTo>
                      <a:pt x="196421" y="12097"/>
                    </a:lnTo>
                    <a:cubicBezTo>
                      <a:pt x="202303" y="16501"/>
                      <a:pt x="209286" y="18964"/>
                      <a:pt x="216616" y="19225"/>
                    </a:cubicBezTo>
                    <a:cubicBezTo>
                      <a:pt x="220238" y="19341"/>
                      <a:pt x="223078" y="22383"/>
                      <a:pt x="222933" y="26005"/>
                    </a:cubicBezTo>
                    <a:cubicBezTo>
                      <a:pt x="222875" y="29511"/>
                      <a:pt x="219949" y="32293"/>
                      <a:pt x="216443" y="32293"/>
                    </a:cubicBezTo>
                    <a:close/>
                  </a:path>
                </a:pathLst>
              </a:custGeom>
              <a:solidFill>
                <a:schemeClr val="tx2"/>
              </a:solidFill>
              <a:ln w="2891" cap="flat">
                <a:noFill/>
                <a:prstDash val="solid"/>
                <a:miter/>
              </a:ln>
            </p:spPr>
            <p:txBody>
              <a:bodyPr rtlCol="0" anchor="ctr"/>
              <a:lstStyle/>
              <a:p>
                <a:endParaRPr lang="en-GB" dirty="0"/>
              </a:p>
            </p:txBody>
          </p:sp>
          <p:sp>
            <p:nvSpPr>
              <p:cNvPr id="273" name="Freihandform: Form 769">
                <a:extLst>
                  <a:ext uri="{FF2B5EF4-FFF2-40B4-BE49-F238E27FC236}">
                    <a16:creationId xmlns:a16="http://schemas.microsoft.com/office/drawing/2014/main" id="{A7F5FCE6-EA44-466B-B0F6-42B09070578F}"/>
                  </a:ext>
                </a:extLst>
              </p:cNvPr>
              <p:cNvSpPr/>
              <p:nvPr/>
            </p:nvSpPr>
            <p:spPr>
              <a:xfrm>
                <a:off x="7086776" y="1923388"/>
                <a:ext cx="118076" cy="31278"/>
              </a:xfrm>
              <a:custGeom>
                <a:avLst/>
                <a:gdLst>
                  <a:gd name="connsiteX0" fmla="*/ 7651 w 118076"/>
                  <a:gd name="connsiteY0" fmla="*/ 31278 h 31278"/>
                  <a:gd name="connsiteX1" fmla="*/ 6405 w 118076"/>
                  <a:gd name="connsiteY1" fmla="*/ 31249 h 31278"/>
                  <a:gd name="connsiteX2" fmla="*/ 2 w 118076"/>
                  <a:gd name="connsiteY2" fmla="*/ 24527 h 31278"/>
                  <a:gd name="connsiteX3" fmla="*/ 6724 w 118076"/>
                  <a:gd name="connsiteY3" fmla="*/ 18153 h 31278"/>
                  <a:gd name="connsiteX4" fmla="*/ 29064 w 118076"/>
                  <a:gd name="connsiteY4" fmla="*/ 11025 h 31278"/>
                  <a:gd name="connsiteX5" fmla="*/ 30831 w 118076"/>
                  <a:gd name="connsiteY5" fmla="*/ 9692 h 31278"/>
                  <a:gd name="connsiteX6" fmla="*/ 89418 w 118076"/>
                  <a:gd name="connsiteY6" fmla="*/ 9692 h 31278"/>
                  <a:gd name="connsiteX7" fmla="*/ 91186 w 118076"/>
                  <a:gd name="connsiteY7" fmla="*/ 11025 h 31278"/>
                  <a:gd name="connsiteX8" fmla="*/ 111671 w 118076"/>
                  <a:gd name="connsiteY8" fmla="*/ 18153 h 31278"/>
                  <a:gd name="connsiteX9" fmla="*/ 118075 w 118076"/>
                  <a:gd name="connsiteY9" fmla="*/ 24875 h 31278"/>
                  <a:gd name="connsiteX10" fmla="*/ 111526 w 118076"/>
                  <a:gd name="connsiteY10" fmla="*/ 31278 h 31278"/>
                  <a:gd name="connsiteX11" fmla="*/ 111353 w 118076"/>
                  <a:gd name="connsiteY11" fmla="*/ 31278 h 31278"/>
                  <a:gd name="connsiteX12" fmla="*/ 83334 w 118076"/>
                  <a:gd name="connsiteY12" fmla="*/ 21543 h 31278"/>
                  <a:gd name="connsiteX13" fmla="*/ 81566 w 118076"/>
                  <a:gd name="connsiteY13" fmla="*/ 20210 h 31278"/>
                  <a:gd name="connsiteX14" fmla="*/ 38741 w 118076"/>
                  <a:gd name="connsiteY14" fmla="*/ 20210 h 31278"/>
                  <a:gd name="connsiteX15" fmla="*/ 36974 w 118076"/>
                  <a:gd name="connsiteY15" fmla="*/ 21543 h 31278"/>
                  <a:gd name="connsiteX16" fmla="*/ 7651 w 118076"/>
                  <a:gd name="connsiteY16" fmla="*/ 31278 h 3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76" h="31278">
                    <a:moveTo>
                      <a:pt x="7651" y="31278"/>
                    </a:moveTo>
                    <a:cubicBezTo>
                      <a:pt x="7246" y="31278"/>
                      <a:pt x="6811" y="31278"/>
                      <a:pt x="6405" y="31249"/>
                    </a:cubicBezTo>
                    <a:cubicBezTo>
                      <a:pt x="2783" y="31163"/>
                      <a:pt x="-85" y="28149"/>
                      <a:pt x="2" y="24527"/>
                    </a:cubicBezTo>
                    <a:cubicBezTo>
                      <a:pt x="89" y="20905"/>
                      <a:pt x="3044" y="17950"/>
                      <a:pt x="6724" y="18153"/>
                    </a:cubicBezTo>
                    <a:cubicBezTo>
                      <a:pt x="14721" y="18356"/>
                      <a:pt x="22660" y="15835"/>
                      <a:pt x="29064" y="11025"/>
                    </a:cubicBezTo>
                    <a:lnTo>
                      <a:pt x="30831" y="9692"/>
                    </a:lnTo>
                    <a:cubicBezTo>
                      <a:pt x="48071" y="-3231"/>
                      <a:pt x="72149" y="-3231"/>
                      <a:pt x="89418" y="9692"/>
                    </a:cubicBezTo>
                    <a:lnTo>
                      <a:pt x="91186" y="11025"/>
                    </a:lnTo>
                    <a:cubicBezTo>
                      <a:pt x="97155" y="15487"/>
                      <a:pt x="104225" y="17950"/>
                      <a:pt x="111671" y="18153"/>
                    </a:cubicBezTo>
                    <a:cubicBezTo>
                      <a:pt x="115293" y="18240"/>
                      <a:pt x="118162" y="21253"/>
                      <a:pt x="118075" y="24875"/>
                    </a:cubicBezTo>
                    <a:cubicBezTo>
                      <a:pt x="117988" y="28439"/>
                      <a:pt x="115061" y="31278"/>
                      <a:pt x="111526" y="31278"/>
                    </a:cubicBezTo>
                    <a:cubicBezTo>
                      <a:pt x="111468" y="31278"/>
                      <a:pt x="111410" y="31278"/>
                      <a:pt x="111353" y="31278"/>
                    </a:cubicBezTo>
                    <a:cubicBezTo>
                      <a:pt x="101182" y="31018"/>
                      <a:pt x="91476" y="27657"/>
                      <a:pt x="83334" y="21543"/>
                    </a:cubicBezTo>
                    <a:lnTo>
                      <a:pt x="81566" y="20210"/>
                    </a:lnTo>
                    <a:cubicBezTo>
                      <a:pt x="68962" y="10764"/>
                      <a:pt x="51345" y="10764"/>
                      <a:pt x="38741" y="20210"/>
                    </a:cubicBezTo>
                    <a:lnTo>
                      <a:pt x="36974" y="21543"/>
                    </a:lnTo>
                    <a:cubicBezTo>
                      <a:pt x="28542" y="27830"/>
                      <a:pt x="18169" y="31278"/>
                      <a:pt x="7651" y="31278"/>
                    </a:cubicBezTo>
                    <a:close/>
                  </a:path>
                </a:pathLst>
              </a:custGeom>
              <a:solidFill>
                <a:schemeClr val="tx2"/>
              </a:solidFill>
              <a:ln w="2891" cap="flat">
                <a:noFill/>
                <a:prstDash val="solid"/>
                <a:miter/>
              </a:ln>
            </p:spPr>
            <p:txBody>
              <a:bodyPr rtlCol="0" anchor="ctr"/>
              <a:lstStyle/>
              <a:p>
                <a:endParaRPr lang="en-GB" dirty="0"/>
              </a:p>
            </p:txBody>
          </p:sp>
          <p:sp>
            <p:nvSpPr>
              <p:cNvPr id="274" name="Freihandform: Form 770">
                <a:extLst>
                  <a:ext uri="{FF2B5EF4-FFF2-40B4-BE49-F238E27FC236}">
                    <a16:creationId xmlns:a16="http://schemas.microsoft.com/office/drawing/2014/main" id="{71CB2D8E-3C13-4A97-B41B-51B231C6F219}"/>
                  </a:ext>
                </a:extLst>
              </p:cNvPr>
              <p:cNvSpPr/>
              <p:nvPr/>
            </p:nvSpPr>
            <p:spPr>
              <a:xfrm>
                <a:off x="7244197" y="1923388"/>
                <a:ext cx="118076" cy="31278"/>
              </a:xfrm>
              <a:custGeom>
                <a:avLst/>
                <a:gdLst>
                  <a:gd name="connsiteX0" fmla="*/ 7651 w 118076"/>
                  <a:gd name="connsiteY0" fmla="*/ 31278 h 31278"/>
                  <a:gd name="connsiteX1" fmla="*/ 6405 w 118076"/>
                  <a:gd name="connsiteY1" fmla="*/ 31249 h 31278"/>
                  <a:gd name="connsiteX2" fmla="*/ 2 w 118076"/>
                  <a:gd name="connsiteY2" fmla="*/ 24527 h 31278"/>
                  <a:gd name="connsiteX3" fmla="*/ 6724 w 118076"/>
                  <a:gd name="connsiteY3" fmla="*/ 18153 h 31278"/>
                  <a:gd name="connsiteX4" fmla="*/ 29064 w 118076"/>
                  <a:gd name="connsiteY4" fmla="*/ 11025 h 31278"/>
                  <a:gd name="connsiteX5" fmla="*/ 30831 w 118076"/>
                  <a:gd name="connsiteY5" fmla="*/ 9692 h 31278"/>
                  <a:gd name="connsiteX6" fmla="*/ 89418 w 118076"/>
                  <a:gd name="connsiteY6" fmla="*/ 9692 h 31278"/>
                  <a:gd name="connsiteX7" fmla="*/ 91186 w 118076"/>
                  <a:gd name="connsiteY7" fmla="*/ 11025 h 31278"/>
                  <a:gd name="connsiteX8" fmla="*/ 111671 w 118076"/>
                  <a:gd name="connsiteY8" fmla="*/ 18153 h 31278"/>
                  <a:gd name="connsiteX9" fmla="*/ 118075 w 118076"/>
                  <a:gd name="connsiteY9" fmla="*/ 24875 h 31278"/>
                  <a:gd name="connsiteX10" fmla="*/ 111526 w 118076"/>
                  <a:gd name="connsiteY10" fmla="*/ 31278 h 31278"/>
                  <a:gd name="connsiteX11" fmla="*/ 111353 w 118076"/>
                  <a:gd name="connsiteY11" fmla="*/ 31278 h 31278"/>
                  <a:gd name="connsiteX12" fmla="*/ 83334 w 118076"/>
                  <a:gd name="connsiteY12" fmla="*/ 21543 h 31278"/>
                  <a:gd name="connsiteX13" fmla="*/ 81566 w 118076"/>
                  <a:gd name="connsiteY13" fmla="*/ 20210 h 31278"/>
                  <a:gd name="connsiteX14" fmla="*/ 38741 w 118076"/>
                  <a:gd name="connsiteY14" fmla="*/ 20210 h 31278"/>
                  <a:gd name="connsiteX15" fmla="*/ 36974 w 118076"/>
                  <a:gd name="connsiteY15" fmla="*/ 21543 h 31278"/>
                  <a:gd name="connsiteX16" fmla="*/ 7651 w 118076"/>
                  <a:gd name="connsiteY16" fmla="*/ 31278 h 31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8076" h="31278">
                    <a:moveTo>
                      <a:pt x="7651" y="31278"/>
                    </a:moveTo>
                    <a:cubicBezTo>
                      <a:pt x="7246" y="31278"/>
                      <a:pt x="6811" y="31278"/>
                      <a:pt x="6405" y="31249"/>
                    </a:cubicBezTo>
                    <a:cubicBezTo>
                      <a:pt x="2784" y="31163"/>
                      <a:pt x="-85" y="28149"/>
                      <a:pt x="2" y="24527"/>
                    </a:cubicBezTo>
                    <a:cubicBezTo>
                      <a:pt x="89" y="20905"/>
                      <a:pt x="3015" y="17950"/>
                      <a:pt x="6724" y="18153"/>
                    </a:cubicBezTo>
                    <a:cubicBezTo>
                      <a:pt x="14721" y="18356"/>
                      <a:pt x="22660" y="15835"/>
                      <a:pt x="29064" y="11025"/>
                    </a:cubicBezTo>
                    <a:lnTo>
                      <a:pt x="30831" y="9692"/>
                    </a:lnTo>
                    <a:cubicBezTo>
                      <a:pt x="48071" y="-3231"/>
                      <a:pt x="72150" y="-3231"/>
                      <a:pt x="89418" y="9692"/>
                    </a:cubicBezTo>
                    <a:lnTo>
                      <a:pt x="91186" y="11025"/>
                    </a:lnTo>
                    <a:cubicBezTo>
                      <a:pt x="97155" y="15487"/>
                      <a:pt x="104225" y="17950"/>
                      <a:pt x="111671" y="18153"/>
                    </a:cubicBezTo>
                    <a:cubicBezTo>
                      <a:pt x="115293" y="18240"/>
                      <a:pt x="118162" y="21253"/>
                      <a:pt x="118075" y="24875"/>
                    </a:cubicBezTo>
                    <a:cubicBezTo>
                      <a:pt x="117988" y="28439"/>
                      <a:pt x="115061" y="31278"/>
                      <a:pt x="111526" y="31278"/>
                    </a:cubicBezTo>
                    <a:cubicBezTo>
                      <a:pt x="111469" y="31278"/>
                      <a:pt x="111411" y="31278"/>
                      <a:pt x="111353" y="31278"/>
                    </a:cubicBezTo>
                    <a:cubicBezTo>
                      <a:pt x="101182" y="31018"/>
                      <a:pt x="91476" y="27657"/>
                      <a:pt x="83334" y="21543"/>
                    </a:cubicBezTo>
                    <a:lnTo>
                      <a:pt x="81566" y="20210"/>
                    </a:lnTo>
                    <a:cubicBezTo>
                      <a:pt x="68962" y="10764"/>
                      <a:pt x="51346" y="10764"/>
                      <a:pt x="38741" y="20210"/>
                    </a:cubicBezTo>
                    <a:lnTo>
                      <a:pt x="36974" y="21543"/>
                    </a:lnTo>
                    <a:cubicBezTo>
                      <a:pt x="28513" y="27830"/>
                      <a:pt x="18169" y="31278"/>
                      <a:pt x="7651" y="31278"/>
                    </a:cubicBezTo>
                    <a:close/>
                  </a:path>
                </a:pathLst>
              </a:custGeom>
              <a:solidFill>
                <a:schemeClr val="tx2"/>
              </a:solidFill>
              <a:ln w="2891" cap="flat">
                <a:noFill/>
                <a:prstDash val="solid"/>
                <a:miter/>
              </a:ln>
            </p:spPr>
            <p:txBody>
              <a:bodyPr rtlCol="0" anchor="ctr"/>
              <a:lstStyle/>
              <a:p>
                <a:endParaRPr lang="en-GB" dirty="0"/>
              </a:p>
            </p:txBody>
          </p:sp>
          <p:sp>
            <p:nvSpPr>
              <p:cNvPr id="275" name="Freihandform: Form 771">
                <a:extLst>
                  <a:ext uri="{FF2B5EF4-FFF2-40B4-BE49-F238E27FC236}">
                    <a16:creationId xmlns:a16="http://schemas.microsoft.com/office/drawing/2014/main" id="{2D8196BB-94E8-428D-A10B-72794D62D3D0}"/>
                  </a:ext>
                </a:extLst>
              </p:cNvPr>
              <p:cNvSpPr/>
              <p:nvPr/>
            </p:nvSpPr>
            <p:spPr>
              <a:xfrm>
                <a:off x="7381683" y="1962670"/>
                <a:ext cx="70204" cy="31344"/>
              </a:xfrm>
              <a:custGeom>
                <a:avLst/>
                <a:gdLst>
                  <a:gd name="connsiteX0" fmla="*/ 7651 w 70204"/>
                  <a:gd name="connsiteY0" fmla="*/ 31344 h 31344"/>
                  <a:gd name="connsiteX1" fmla="*/ 6405 w 70204"/>
                  <a:gd name="connsiteY1" fmla="*/ 31315 h 31344"/>
                  <a:gd name="connsiteX2" fmla="*/ 2 w 70204"/>
                  <a:gd name="connsiteY2" fmla="*/ 24593 h 31344"/>
                  <a:gd name="connsiteX3" fmla="*/ 6724 w 70204"/>
                  <a:gd name="connsiteY3" fmla="*/ 18219 h 31344"/>
                  <a:gd name="connsiteX4" fmla="*/ 29064 w 70204"/>
                  <a:gd name="connsiteY4" fmla="*/ 11091 h 31344"/>
                  <a:gd name="connsiteX5" fmla="*/ 30831 w 70204"/>
                  <a:gd name="connsiteY5" fmla="*/ 9758 h 31344"/>
                  <a:gd name="connsiteX6" fmla="*/ 64210 w 70204"/>
                  <a:gd name="connsiteY6" fmla="*/ 167 h 31344"/>
                  <a:gd name="connsiteX7" fmla="*/ 70179 w 70204"/>
                  <a:gd name="connsiteY7" fmla="*/ 7237 h 31344"/>
                  <a:gd name="connsiteX8" fmla="*/ 63109 w 70204"/>
                  <a:gd name="connsiteY8" fmla="*/ 13235 h 31344"/>
                  <a:gd name="connsiteX9" fmla="*/ 38712 w 70204"/>
                  <a:gd name="connsiteY9" fmla="*/ 20247 h 31344"/>
                  <a:gd name="connsiteX10" fmla="*/ 36945 w 70204"/>
                  <a:gd name="connsiteY10" fmla="*/ 21580 h 31344"/>
                  <a:gd name="connsiteX11" fmla="*/ 7651 w 70204"/>
                  <a:gd name="connsiteY11" fmla="*/ 3134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204" h="31344">
                    <a:moveTo>
                      <a:pt x="7651" y="31344"/>
                    </a:moveTo>
                    <a:cubicBezTo>
                      <a:pt x="7246" y="31344"/>
                      <a:pt x="6811" y="31344"/>
                      <a:pt x="6405" y="31315"/>
                    </a:cubicBezTo>
                    <a:cubicBezTo>
                      <a:pt x="2784" y="31228"/>
                      <a:pt x="-85" y="28215"/>
                      <a:pt x="2" y="24593"/>
                    </a:cubicBezTo>
                    <a:cubicBezTo>
                      <a:pt x="89" y="20971"/>
                      <a:pt x="3102" y="17842"/>
                      <a:pt x="6724" y="18219"/>
                    </a:cubicBezTo>
                    <a:cubicBezTo>
                      <a:pt x="14779" y="18421"/>
                      <a:pt x="22660" y="15901"/>
                      <a:pt x="29064" y="11091"/>
                    </a:cubicBezTo>
                    <a:lnTo>
                      <a:pt x="30831" y="9758"/>
                    </a:lnTo>
                    <a:cubicBezTo>
                      <a:pt x="40422" y="2572"/>
                      <a:pt x="52215" y="-818"/>
                      <a:pt x="64210" y="167"/>
                    </a:cubicBezTo>
                    <a:cubicBezTo>
                      <a:pt x="67803" y="457"/>
                      <a:pt x="70498" y="3644"/>
                      <a:pt x="70179" y="7237"/>
                    </a:cubicBezTo>
                    <a:cubicBezTo>
                      <a:pt x="69889" y="10859"/>
                      <a:pt x="66818" y="13554"/>
                      <a:pt x="63109" y="13235"/>
                    </a:cubicBezTo>
                    <a:cubicBezTo>
                      <a:pt x="54417" y="12511"/>
                      <a:pt x="45724" y="15002"/>
                      <a:pt x="38712" y="20247"/>
                    </a:cubicBezTo>
                    <a:lnTo>
                      <a:pt x="36945" y="21580"/>
                    </a:lnTo>
                    <a:cubicBezTo>
                      <a:pt x="28542" y="27896"/>
                      <a:pt x="18169" y="31344"/>
                      <a:pt x="7651" y="31344"/>
                    </a:cubicBezTo>
                    <a:close/>
                  </a:path>
                </a:pathLst>
              </a:custGeom>
              <a:solidFill>
                <a:schemeClr val="tx2"/>
              </a:solidFill>
              <a:ln w="2891" cap="flat">
                <a:noFill/>
                <a:prstDash val="solid"/>
                <a:miter/>
              </a:ln>
            </p:spPr>
            <p:txBody>
              <a:bodyPr rtlCol="0" anchor="ctr"/>
              <a:lstStyle/>
              <a:p>
                <a:endParaRPr lang="en-GB" dirty="0"/>
              </a:p>
            </p:txBody>
          </p:sp>
          <p:sp>
            <p:nvSpPr>
              <p:cNvPr id="276" name="Freihandform: Form 772">
                <a:extLst>
                  <a:ext uri="{FF2B5EF4-FFF2-40B4-BE49-F238E27FC236}">
                    <a16:creationId xmlns:a16="http://schemas.microsoft.com/office/drawing/2014/main" id="{8AB60E2A-E1D1-4056-A4CC-0399872929A9}"/>
                  </a:ext>
                </a:extLst>
              </p:cNvPr>
              <p:cNvSpPr/>
              <p:nvPr/>
            </p:nvSpPr>
            <p:spPr>
              <a:xfrm>
                <a:off x="6996437" y="1962670"/>
                <a:ext cx="70204" cy="31344"/>
              </a:xfrm>
              <a:custGeom>
                <a:avLst/>
                <a:gdLst>
                  <a:gd name="connsiteX0" fmla="*/ 62554 w 70204"/>
                  <a:gd name="connsiteY0" fmla="*/ 31344 h 31344"/>
                  <a:gd name="connsiteX1" fmla="*/ 33260 w 70204"/>
                  <a:gd name="connsiteY1" fmla="*/ 21580 h 31344"/>
                  <a:gd name="connsiteX2" fmla="*/ 31492 w 70204"/>
                  <a:gd name="connsiteY2" fmla="*/ 20247 h 31344"/>
                  <a:gd name="connsiteX3" fmla="*/ 7095 w 70204"/>
                  <a:gd name="connsiteY3" fmla="*/ 13235 h 31344"/>
                  <a:gd name="connsiteX4" fmla="*/ 26 w 70204"/>
                  <a:gd name="connsiteY4" fmla="*/ 7237 h 31344"/>
                  <a:gd name="connsiteX5" fmla="*/ 5994 w 70204"/>
                  <a:gd name="connsiteY5" fmla="*/ 167 h 31344"/>
                  <a:gd name="connsiteX6" fmla="*/ 39374 w 70204"/>
                  <a:gd name="connsiteY6" fmla="*/ 9758 h 31344"/>
                  <a:gd name="connsiteX7" fmla="*/ 41141 w 70204"/>
                  <a:gd name="connsiteY7" fmla="*/ 11091 h 31344"/>
                  <a:gd name="connsiteX8" fmla="*/ 63481 w 70204"/>
                  <a:gd name="connsiteY8" fmla="*/ 18219 h 31344"/>
                  <a:gd name="connsiteX9" fmla="*/ 70203 w 70204"/>
                  <a:gd name="connsiteY9" fmla="*/ 24593 h 31344"/>
                  <a:gd name="connsiteX10" fmla="*/ 63799 w 70204"/>
                  <a:gd name="connsiteY10" fmla="*/ 31315 h 31344"/>
                  <a:gd name="connsiteX11" fmla="*/ 62554 w 70204"/>
                  <a:gd name="connsiteY11" fmla="*/ 31344 h 31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204" h="31344">
                    <a:moveTo>
                      <a:pt x="62554" y="31344"/>
                    </a:moveTo>
                    <a:cubicBezTo>
                      <a:pt x="52036" y="31344"/>
                      <a:pt x="41663" y="27896"/>
                      <a:pt x="33260" y="21580"/>
                    </a:cubicBezTo>
                    <a:lnTo>
                      <a:pt x="31492" y="20247"/>
                    </a:lnTo>
                    <a:cubicBezTo>
                      <a:pt x="24480" y="15002"/>
                      <a:pt x="15759" y="12511"/>
                      <a:pt x="7095" y="13235"/>
                    </a:cubicBezTo>
                    <a:cubicBezTo>
                      <a:pt x="3561" y="13554"/>
                      <a:pt x="315" y="10859"/>
                      <a:pt x="26" y="7237"/>
                    </a:cubicBezTo>
                    <a:cubicBezTo>
                      <a:pt x="-293" y="3615"/>
                      <a:pt x="2402" y="457"/>
                      <a:pt x="5994" y="167"/>
                    </a:cubicBezTo>
                    <a:cubicBezTo>
                      <a:pt x="17990" y="-818"/>
                      <a:pt x="29812" y="2572"/>
                      <a:pt x="39374" y="9758"/>
                    </a:cubicBezTo>
                    <a:lnTo>
                      <a:pt x="41141" y="11091"/>
                    </a:lnTo>
                    <a:cubicBezTo>
                      <a:pt x="47545" y="15901"/>
                      <a:pt x="55513" y="18421"/>
                      <a:pt x="63481" y="18219"/>
                    </a:cubicBezTo>
                    <a:cubicBezTo>
                      <a:pt x="67016" y="17871"/>
                      <a:pt x="70116" y="20971"/>
                      <a:pt x="70203" y="24593"/>
                    </a:cubicBezTo>
                    <a:cubicBezTo>
                      <a:pt x="70290" y="28215"/>
                      <a:pt x="67450" y="31228"/>
                      <a:pt x="63799" y="31315"/>
                    </a:cubicBezTo>
                    <a:cubicBezTo>
                      <a:pt x="63394" y="31344"/>
                      <a:pt x="62988" y="31344"/>
                      <a:pt x="62554" y="31344"/>
                    </a:cubicBezTo>
                    <a:close/>
                  </a:path>
                </a:pathLst>
              </a:custGeom>
              <a:solidFill>
                <a:schemeClr val="tx2"/>
              </a:solidFill>
              <a:ln w="2891" cap="flat">
                <a:noFill/>
                <a:prstDash val="solid"/>
                <a:miter/>
              </a:ln>
            </p:spPr>
            <p:txBody>
              <a:bodyPr rtlCol="0" anchor="ctr"/>
              <a:lstStyle/>
              <a:p>
                <a:endParaRPr lang="en-GB" dirty="0"/>
              </a:p>
            </p:txBody>
          </p:sp>
        </p:grpSp>
      </p:grpSp>
      <p:grpSp>
        <p:nvGrpSpPr>
          <p:cNvPr id="625" name="Gruppieren 1035">
            <a:extLst>
              <a:ext uri="{FF2B5EF4-FFF2-40B4-BE49-F238E27FC236}">
                <a16:creationId xmlns:a16="http://schemas.microsoft.com/office/drawing/2014/main" id="{72E7C83B-F8B8-4855-9510-4AB63CDE93C5}"/>
              </a:ext>
            </a:extLst>
          </p:cNvPr>
          <p:cNvGrpSpPr>
            <a:grpSpLocks noChangeAspect="1"/>
          </p:cNvGrpSpPr>
          <p:nvPr/>
        </p:nvGrpSpPr>
        <p:grpSpPr>
          <a:xfrm>
            <a:off x="1606233" y="3215171"/>
            <a:ext cx="466481" cy="395788"/>
            <a:chOff x="7834428" y="2479333"/>
            <a:chExt cx="432846" cy="367253"/>
          </a:xfrm>
        </p:grpSpPr>
        <p:grpSp>
          <p:nvGrpSpPr>
            <p:cNvPr id="626" name="Gruppieren 1034">
              <a:extLst>
                <a:ext uri="{FF2B5EF4-FFF2-40B4-BE49-F238E27FC236}">
                  <a16:creationId xmlns:a16="http://schemas.microsoft.com/office/drawing/2014/main" id="{73649D61-FE62-48D7-B918-714370EB8879}"/>
                </a:ext>
              </a:extLst>
            </p:cNvPr>
            <p:cNvGrpSpPr/>
            <p:nvPr/>
          </p:nvGrpSpPr>
          <p:grpSpPr>
            <a:xfrm>
              <a:off x="7834428" y="2479333"/>
              <a:ext cx="432843" cy="367253"/>
              <a:chOff x="7834424" y="2479322"/>
              <a:chExt cx="432843" cy="367251"/>
            </a:xfrm>
          </p:grpSpPr>
          <p:grpSp>
            <p:nvGrpSpPr>
              <p:cNvPr id="630" name="Grafik 219">
                <a:extLst>
                  <a:ext uri="{FF2B5EF4-FFF2-40B4-BE49-F238E27FC236}">
                    <a16:creationId xmlns:a16="http://schemas.microsoft.com/office/drawing/2014/main" id="{61B07DD3-066B-428A-B203-8553170741EF}"/>
                  </a:ext>
                </a:extLst>
              </p:cNvPr>
              <p:cNvGrpSpPr/>
              <p:nvPr/>
            </p:nvGrpSpPr>
            <p:grpSpPr>
              <a:xfrm>
                <a:off x="8044312" y="2597389"/>
                <a:ext cx="13096" cy="249184"/>
                <a:chOff x="8044312" y="2597389"/>
                <a:chExt cx="13096" cy="249184"/>
              </a:xfrm>
              <a:solidFill>
                <a:schemeClr val="accent1"/>
              </a:solidFill>
            </p:grpSpPr>
            <p:sp>
              <p:nvSpPr>
                <p:cNvPr id="639" name="Freihandform: Form 965">
                  <a:extLst>
                    <a:ext uri="{FF2B5EF4-FFF2-40B4-BE49-F238E27FC236}">
                      <a16:creationId xmlns:a16="http://schemas.microsoft.com/office/drawing/2014/main" id="{CF26D89E-9ADE-4A08-88CC-5285B935B388}"/>
                    </a:ext>
                  </a:extLst>
                </p:cNvPr>
                <p:cNvSpPr/>
                <p:nvPr/>
              </p:nvSpPr>
              <p:spPr>
                <a:xfrm>
                  <a:off x="8044312" y="2597389"/>
                  <a:ext cx="13096" cy="36044"/>
                </a:xfrm>
                <a:custGeom>
                  <a:avLst/>
                  <a:gdLst>
                    <a:gd name="connsiteX0" fmla="*/ 6548 w 13096"/>
                    <a:gd name="connsiteY0" fmla="*/ 36045 h 36044"/>
                    <a:gd name="connsiteX1" fmla="*/ 0 w 13096"/>
                    <a:gd name="connsiteY1" fmla="*/ 29497 h 36044"/>
                    <a:gd name="connsiteX2" fmla="*/ 0 w 13096"/>
                    <a:gd name="connsiteY2" fmla="*/ 6548 h 36044"/>
                    <a:gd name="connsiteX3" fmla="*/ 6548 w 13096"/>
                    <a:gd name="connsiteY3" fmla="*/ 0 h 36044"/>
                    <a:gd name="connsiteX4" fmla="*/ 13097 w 13096"/>
                    <a:gd name="connsiteY4" fmla="*/ 6548 h 36044"/>
                    <a:gd name="connsiteX5" fmla="*/ 13097 w 13096"/>
                    <a:gd name="connsiteY5" fmla="*/ 29497 h 36044"/>
                    <a:gd name="connsiteX6" fmla="*/ 6548 w 13096"/>
                    <a:gd name="connsiteY6" fmla="*/ 36045 h 36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36044">
                      <a:moveTo>
                        <a:pt x="6548" y="36045"/>
                      </a:moveTo>
                      <a:cubicBezTo>
                        <a:pt x="2926" y="36045"/>
                        <a:pt x="0" y="33118"/>
                        <a:pt x="0" y="29497"/>
                      </a:cubicBezTo>
                      <a:lnTo>
                        <a:pt x="0" y="6548"/>
                      </a:lnTo>
                      <a:cubicBezTo>
                        <a:pt x="0" y="2926"/>
                        <a:pt x="2926" y="0"/>
                        <a:pt x="6548" y="0"/>
                      </a:cubicBezTo>
                      <a:cubicBezTo>
                        <a:pt x="10170" y="0"/>
                        <a:pt x="13097" y="2926"/>
                        <a:pt x="13097" y="6548"/>
                      </a:cubicBezTo>
                      <a:lnTo>
                        <a:pt x="13097" y="29497"/>
                      </a:lnTo>
                      <a:cubicBezTo>
                        <a:pt x="13097" y="33118"/>
                        <a:pt x="10170" y="36045"/>
                        <a:pt x="6548" y="36045"/>
                      </a:cubicBezTo>
                      <a:close/>
                    </a:path>
                  </a:pathLst>
                </a:custGeom>
                <a:solidFill>
                  <a:schemeClr val="accent1"/>
                </a:solidFill>
                <a:ln w="2891" cap="flat">
                  <a:noFill/>
                  <a:prstDash val="solid"/>
                  <a:miter/>
                </a:ln>
              </p:spPr>
              <p:txBody>
                <a:bodyPr rtlCol="0" anchor="ctr"/>
                <a:lstStyle/>
                <a:p>
                  <a:endParaRPr lang="en-GB" dirty="0"/>
                </a:p>
              </p:txBody>
            </p:sp>
            <p:sp>
              <p:nvSpPr>
                <p:cNvPr id="640" name="Freihandform: Form 966">
                  <a:extLst>
                    <a:ext uri="{FF2B5EF4-FFF2-40B4-BE49-F238E27FC236}">
                      <a16:creationId xmlns:a16="http://schemas.microsoft.com/office/drawing/2014/main" id="{C7B12987-F40E-4D96-AEDE-02D252550949}"/>
                    </a:ext>
                  </a:extLst>
                </p:cNvPr>
                <p:cNvSpPr/>
                <p:nvPr/>
              </p:nvSpPr>
              <p:spPr>
                <a:xfrm>
                  <a:off x="8044312" y="2658352"/>
                  <a:ext cx="13096" cy="127228"/>
                </a:xfrm>
                <a:custGeom>
                  <a:avLst/>
                  <a:gdLst>
                    <a:gd name="connsiteX0" fmla="*/ 6548 w 13096"/>
                    <a:gd name="connsiteY0" fmla="*/ 127229 h 127228"/>
                    <a:gd name="connsiteX1" fmla="*/ 0 w 13096"/>
                    <a:gd name="connsiteY1" fmla="*/ 120681 h 127228"/>
                    <a:gd name="connsiteX2" fmla="*/ 0 w 13096"/>
                    <a:gd name="connsiteY2" fmla="*/ 82636 h 127228"/>
                    <a:gd name="connsiteX3" fmla="*/ 6548 w 13096"/>
                    <a:gd name="connsiteY3" fmla="*/ 76088 h 127228"/>
                    <a:gd name="connsiteX4" fmla="*/ 13097 w 13096"/>
                    <a:gd name="connsiteY4" fmla="*/ 82636 h 127228"/>
                    <a:gd name="connsiteX5" fmla="*/ 13097 w 13096"/>
                    <a:gd name="connsiteY5" fmla="*/ 120681 h 127228"/>
                    <a:gd name="connsiteX6" fmla="*/ 6548 w 13096"/>
                    <a:gd name="connsiteY6" fmla="*/ 127229 h 127228"/>
                    <a:gd name="connsiteX7" fmla="*/ 6548 w 13096"/>
                    <a:gd name="connsiteY7" fmla="*/ 51141 h 127228"/>
                    <a:gd name="connsiteX8" fmla="*/ 0 w 13096"/>
                    <a:gd name="connsiteY8" fmla="*/ 44592 h 127228"/>
                    <a:gd name="connsiteX9" fmla="*/ 0 w 13096"/>
                    <a:gd name="connsiteY9" fmla="*/ 6548 h 127228"/>
                    <a:gd name="connsiteX10" fmla="*/ 6548 w 13096"/>
                    <a:gd name="connsiteY10" fmla="*/ 0 h 127228"/>
                    <a:gd name="connsiteX11" fmla="*/ 13097 w 13096"/>
                    <a:gd name="connsiteY11" fmla="*/ 6548 h 127228"/>
                    <a:gd name="connsiteX12" fmla="*/ 13097 w 13096"/>
                    <a:gd name="connsiteY12" fmla="*/ 44592 h 127228"/>
                    <a:gd name="connsiteX13" fmla="*/ 6548 w 13096"/>
                    <a:gd name="connsiteY13" fmla="*/ 51141 h 127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096" h="127228">
                      <a:moveTo>
                        <a:pt x="6548" y="127229"/>
                      </a:moveTo>
                      <a:cubicBezTo>
                        <a:pt x="2926" y="127229"/>
                        <a:pt x="0" y="124302"/>
                        <a:pt x="0" y="120681"/>
                      </a:cubicBezTo>
                      <a:lnTo>
                        <a:pt x="0" y="82636"/>
                      </a:lnTo>
                      <a:cubicBezTo>
                        <a:pt x="0" y="79015"/>
                        <a:pt x="2926" y="76088"/>
                        <a:pt x="6548" y="76088"/>
                      </a:cubicBezTo>
                      <a:cubicBezTo>
                        <a:pt x="10170" y="76088"/>
                        <a:pt x="13097" y="79015"/>
                        <a:pt x="13097" y="82636"/>
                      </a:cubicBezTo>
                      <a:lnTo>
                        <a:pt x="13097" y="120681"/>
                      </a:lnTo>
                      <a:cubicBezTo>
                        <a:pt x="13097" y="124302"/>
                        <a:pt x="10170" y="127229"/>
                        <a:pt x="6548" y="127229"/>
                      </a:cubicBezTo>
                      <a:close/>
                      <a:moveTo>
                        <a:pt x="6548" y="51141"/>
                      </a:moveTo>
                      <a:cubicBezTo>
                        <a:pt x="2926" y="51141"/>
                        <a:pt x="0" y="48214"/>
                        <a:pt x="0" y="44592"/>
                      </a:cubicBezTo>
                      <a:lnTo>
                        <a:pt x="0" y="6548"/>
                      </a:lnTo>
                      <a:cubicBezTo>
                        <a:pt x="0" y="2926"/>
                        <a:pt x="2926" y="0"/>
                        <a:pt x="6548" y="0"/>
                      </a:cubicBezTo>
                      <a:cubicBezTo>
                        <a:pt x="10170" y="0"/>
                        <a:pt x="13097" y="2926"/>
                        <a:pt x="13097" y="6548"/>
                      </a:cubicBezTo>
                      <a:lnTo>
                        <a:pt x="13097" y="44592"/>
                      </a:lnTo>
                      <a:cubicBezTo>
                        <a:pt x="13097" y="48214"/>
                        <a:pt x="10170" y="51141"/>
                        <a:pt x="6548" y="51141"/>
                      </a:cubicBezTo>
                      <a:close/>
                    </a:path>
                  </a:pathLst>
                </a:custGeom>
                <a:solidFill>
                  <a:schemeClr val="accent1"/>
                </a:solidFill>
                <a:ln w="2891" cap="flat">
                  <a:noFill/>
                  <a:prstDash val="solid"/>
                  <a:miter/>
                </a:ln>
              </p:spPr>
              <p:txBody>
                <a:bodyPr rtlCol="0" anchor="ctr"/>
                <a:lstStyle/>
                <a:p>
                  <a:endParaRPr lang="en-GB" dirty="0"/>
                </a:p>
              </p:txBody>
            </p:sp>
            <p:sp>
              <p:nvSpPr>
                <p:cNvPr id="641" name="Freihandform: Form 967">
                  <a:extLst>
                    <a:ext uri="{FF2B5EF4-FFF2-40B4-BE49-F238E27FC236}">
                      <a16:creationId xmlns:a16="http://schemas.microsoft.com/office/drawing/2014/main" id="{20A1F47F-C756-489F-931A-B7570DD1F617}"/>
                    </a:ext>
                  </a:extLst>
                </p:cNvPr>
                <p:cNvSpPr/>
                <p:nvPr/>
              </p:nvSpPr>
              <p:spPr>
                <a:xfrm>
                  <a:off x="8044312" y="2810528"/>
                  <a:ext cx="13096" cy="36044"/>
                </a:xfrm>
                <a:custGeom>
                  <a:avLst/>
                  <a:gdLst>
                    <a:gd name="connsiteX0" fmla="*/ 6548 w 13096"/>
                    <a:gd name="connsiteY0" fmla="*/ 36045 h 36044"/>
                    <a:gd name="connsiteX1" fmla="*/ 0 w 13096"/>
                    <a:gd name="connsiteY1" fmla="*/ 29497 h 36044"/>
                    <a:gd name="connsiteX2" fmla="*/ 0 w 13096"/>
                    <a:gd name="connsiteY2" fmla="*/ 6548 h 36044"/>
                    <a:gd name="connsiteX3" fmla="*/ 6548 w 13096"/>
                    <a:gd name="connsiteY3" fmla="*/ 0 h 36044"/>
                    <a:gd name="connsiteX4" fmla="*/ 13097 w 13096"/>
                    <a:gd name="connsiteY4" fmla="*/ 6548 h 36044"/>
                    <a:gd name="connsiteX5" fmla="*/ 13097 w 13096"/>
                    <a:gd name="connsiteY5" fmla="*/ 29497 h 36044"/>
                    <a:gd name="connsiteX6" fmla="*/ 6548 w 13096"/>
                    <a:gd name="connsiteY6" fmla="*/ 36045 h 36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36044">
                      <a:moveTo>
                        <a:pt x="6548" y="36045"/>
                      </a:moveTo>
                      <a:cubicBezTo>
                        <a:pt x="2926" y="36045"/>
                        <a:pt x="0" y="33118"/>
                        <a:pt x="0" y="29497"/>
                      </a:cubicBezTo>
                      <a:lnTo>
                        <a:pt x="0" y="6548"/>
                      </a:lnTo>
                      <a:cubicBezTo>
                        <a:pt x="0" y="2926"/>
                        <a:pt x="2926" y="0"/>
                        <a:pt x="6548" y="0"/>
                      </a:cubicBezTo>
                      <a:cubicBezTo>
                        <a:pt x="10170" y="0"/>
                        <a:pt x="13097" y="2926"/>
                        <a:pt x="13097" y="6548"/>
                      </a:cubicBezTo>
                      <a:lnTo>
                        <a:pt x="13097" y="29497"/>
                      </a:lnTo>
                      <a:cubicBezTo>
                        <a:pt x="13097" y="33118"/>
                        <a:pt x="10170" y="36045"/>
                        <a:pt x="6548" y="36045"/>
                      </a:cubicBezTo>
                      <a:close/>
                    </a:path>
                  </a:pathLst>
                </a:custGeom>
                <a:solidFill>
                  <a:schemeClr val="accent1"/>
                </a:solidFill>
                <a:ln w="2891" cap="flat">
                  <a:noFill/>
                  <a:prstDash val="solid"/>
                  <a:miter/>
                </a:ln>
              </p:spPr>
              <p:txBody>
                <a:bodyPr rtlCol="0" anchor="ctr"/>
                <a:lstStyle/>
                <a:p>
                  <a:endParaRPr lang="en-GB" dirty="0"/>
                </a:p>
              </p:txBody>
            </p:sp>
          </p:grpSp>
          <p:grpSp>
            <p:nvGrpSpPr>
              <p:cNvPr id="631" name="Grafik 219">
                <a:extLst>
                  <a:ext uri="{FF2B5EF4-FFF2-40B4-BE49-F238E27FC236}">
                    <a16:creationId xmlns:a16="http://schemas.microsoft.com/office/drawing/2014/main" id="{708B51AB-0614-4076-AB9C-A26FFBAD8DF2}"/>
                  </a:ext>
                </a:extLst>
              </p:cNvPr>
              <p:cNvGrpSpPr/>
              <p:nvPr/>
            </p:nvGrpSpPr>
            <p:grpSpPr>
              <a:xfrm>
                <a:off x="8044312" y="2479345"/>
                <a:ext cx="13096" cy="91792"/>
                <a:chOff x="8044312" y="2479345"/>
                <a:chExt cx="13096" cy="91792"/>
              </a:xfrm>
              <a:solidFill>
                <a:schemeClr val="accent1"/>
              </a:solidFill>
            </p:grpSpPr>
            <p:sp>
              <p:nvSpPr>
                <p:cNvPr id="637" name="Freihandform: Form 969">
                  <a:extLst>
                    <a:ext uri="{FF2B5EF4-FFF2-40B4-BE49-F238E27FC236}">
                      <a16:creationId xmlns:a16="http://schemas.microsoft.com/office/drawing/2014/main" id="{DDC91A9C-A006-4F53-B21D-65168D2EC895}"/>
                    </a:ext>
                  </a:extLst>
                </p:cNvPr>
                <p:cNvSpPr/>
                <p:nvPr/>
              </p:nvSpPr>
              <p:spPr>
                <a:xfrm>
                  <a:off x="8044312" y="2479345"/>
                  <a:ext cx="13096" cy="36044"/>
                </a:xfrm>
                <a:custGeom>
                  <a:avLst/>
                  <a:gdLst>
                    <a:gd name="connsiteX0" fmla="*/ 6548 w 13096"/>
                    <a:gd name="connsiteY0" fmla="*/ 36045 h 36044"/>
                    <a:gd name="connsiteX1" fmla="*/ 0 w 13096"/>
                    <a:gd name="connsiteY1" fmla="*/ 29496 h 36044"/>
                    <a:gd name="connsiteX2" fmla="*/ 0 w 13096"/>
                    <a:gd name="connsiteY2" fmla="*/ 6548 h 36044"/>
                    <a:gd name="connsiteX3" fmla="*/ 6548 w 13096"/>
                    <a:gd name="connsiteY3" fmla="*/ 0 h 36044"/>
                    <a:gd name="connsiteX4" fmla="*/ 13097 w 13096"/>
                    <a:gd name="connsiteY4" fmla="*/ 6548 h 36044"/>
                    <a:gd name="connsiteX5" fmla="*/ 13097 w 13096"/>
                    <a:gd name="connsiteY5" fmla="*/ 29496 h 36044"/>
                    <a:gd name="connsiteX6" fmla="*/ 6548 w 13096"/>
                    <a:gd name="connsiteY6" fmla="*/ 36045 h 36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36044">
                      <a:moveTo>
                        <a:pt x="6548" y="36045"/>
                      </a:moveTo>
                      <a:cubicBezTo>
                        <a:pt x="2926" y="36045"/>
                        <a:pt x="0" y="33118"/>
                        <a:pt x="0" y="29496"/>
                      </a:cubicBezTo>
                      <a:lnTo>
                        <a:pt x="0" y="6548"/>
                      </a:lnTo>
                      <a:cubicBezTo>
                        <a:pt x="0" y="2926"/>
                        <a:pt x="2926" y="0"/>
                        <a:pt x="6548" y="0"/>
                      </a:cubicBezTo>
                      <a:cubicBezTo>
                        <a:pt x="10170" y="0"/>
                        <a:pt x="13097" y="2926"/>
                        <a:pt x="13097" y="6548"/>
                      </a:cubicBezTo>
                      <a:lnTo>
                        <a:pt x="13097" y="29496"/>
                      </a:lnTo>
                      <a:cubicBezTo>
                        <a:pt x="13097" y="33118"/>
                        <a:pt x="10170" y="36045"/>
                        <a:pt x="6548" y="36045"/>
                      </a:cubicBezTo>
                      <a:close/>
                    </a:path>
                  </a:pathLst>
                </a:custGeom>
                <a:solidFill>
                  <a:schemeClr val="accent1"/>
                </a:solidFill>
                <a:ln w="2891" cap="flat">
                  <a:noFill/>
                  <a:prstDash val="solid"/>
                  <a:miter/>
                </a:ln>
              </p:spPr>
              <p:txBody>
                <a:bodyPr rtlCol="0" anchor="ctr"/>
                <a:lstStyle/>
                <a:p>
                  <a:endParaRPr lang="en-GB" dirty="0"/>
                </a:p>
              </p:txBody>
            </p:sp>
            <p:sp>
              <p:nvSpPr>
                <p:cNvPr id="638" name="Freihandform: Form 970">
                  <a:extLst>
                    <a:ext uri="{FF2B5EF4-FFF2-40B4-BE49-F238E27FC236}">
                      <a16:creationId xmlns:a16="http://schemas.microsoft.com/office/drawing/2014/main" id="{3ACAFD8D-D862-4820-A749-34A9B23D4857}"/>
                    </a:ext>
                  </a:extLst>
                </p:cNvPr>
                <p:cNvSpPr/>
                <p:nvPr/>
              </p:nvSpPr>
              <p:spPr>
                <a:xfrm>
                  <a:off x="8044312" y="2535092"/>
                  <a:ext cx="13096" cy="36044"/>
                </a:xfrm>
                <a:custGeom>
                  <a:avLst/>
                  <a:gdLst>
                    <a:gd name="connsiteX0" fmla="*/ 6548 w 13096"/>
                    <a:gd name="connsiteY0" fmla="*/ 36045 h 36044"/>
                    <a:gd name="connsiteX1" fmla="*/ 0 w 13096"/>
                    <a:gd name="connsiteY1" fmla="*/ 29497 h 36044"/>
                    <a:gd name="connsiteX2" fmla="*/ 0 w 13096"/>
                    <a:gd name="connsiteY2" fmla="*/ 6548 h 36044"/>
                    <a:gd name="connsiteX3" fmla="*/ 6548 w 13096"/>
                    <a:gd name="connsiteY3" fmla="*/ 0 h 36044"/>
                    <a:gd name="connsiteX4" fmla="*/ 13097 w 13096"/>
                    <a:gd name="connsiteY4" fmla="*/ 6548 h 36044"/>
                    <a:gd name="connsiteX5" fmla="*/ 13097 w 13096"/>
                    <a:gd name="connsiteY5" fmla="*/ 29497 h 36044"/>
                    <a:gd name="connsiteX6" fmla="*/ 6548 w 13096"/>
                    <a:gd name="connsiteY6" fmla="*/ 36045 h 36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36044">
                      <a:moveTo>
                        <a:pt x="6548" y="36045"/>
                      </a:moveTo>
                      <a:cubicBezTo>
                        <a:pt x="2926" y="36045"/>
                        <a:pt x="0" y="33118"/>
                        <a:pt x="0" y="29497"/>
                      </a:cubicBezTo>
                      <a:lnTo>
                        <a:pt x="0" y="6548"/>
                      </a:lnTo>
                      <a:cubicBezTo>
                        <a:pt x="0" y="2926"/>
                        <a:pt x="2926" y="0"/>
                        <a:pt x="6548" y="0"/>
                      </a:cubicBezTo>
                      <a:cubicBezTo>
                        <a:pt x="10170" y="0"/>
                        <a:pt x="13097" y="2926"/>
                        <a:pt x="13097" y="6548"/>
                      </a:cubicBezTo>
                      <a:lnTo>
                        <a:pt x="13097" y="29497"/>
                      </a:lnTo>
                      <a:cubicBezTo>
                        <a:pt x="13097" y="33089"/>
                        <a:pt x="10170" y="36045"/>
                        <a:pt x="6548" y="36045"/>
                      </a:cubicBezTo>
                      <a:close/>
                    </a:path>
                  </a:pathLst>
                </a:custGeom>
                <a:solidFill>
                  <a:schemeClr val="accent1"/>
                </a:solidFill>
                <a:ln w="2891" cap="flat">
                  <a:noFill/>
                  <a:prstDash val="solid"/>
                  <a:miter/>
                </a:ln>
              </p:spPr>
              <p:txBody>
                <a:bodyPr rtlCol="0" anchor="ctr"/>
                <a:lstStyle/>
                <a:p>
                  <a:endParaRPr lang="en-GB" dirty="0"/>
                </a:p>
              </p:txBody>
            </p:sp>
          </p:grpSp>
          <p:grpSp>
            <p:nvGrpSpPr>
              <p:cNvPr id="632" name="Grafik 219">
                <a:extLst>
                  <a:ext uri="{FF2B5EF4-FFF2-40B4-BE49-F238E27FC236}">
                    <a16:creationId xmlns:a16="http://schemas.microsoft.com/office/drawing/2014/main" id="{63317C51-CBAC-4E42-A33C-4DDD1AC2E0C3}"/>
                  </a:ext>
                </a:extLst>
              </p:cNvPr>
              <p:cNvGrpSpPr/>
              <p:nvPr/>
            </p:nvGrpSpPr>
            <p:grpSpPr>
              <a:xfrm>
                <a:off x="7834424" y="2479322"/>
                <a:ext cx="432843" cy="367250"/>
                <a:chOff x="7834424" y="2479322"/>
                <a:chExt cx="432843" cy="367250"/>
              </a:xfrm>
              <a:solidFill>
                <a:schemeClr val="accent1"/>
              </a:solidFill>
            </p:grpSpPr>
            <p:sp>
              <p:nvSpPr>
                <p:cNvPr id="633" name="Freihandform: Form 974">
                  <a:extLst>
                    <a:ext uri="{FF2B5EF4-FFF2-40B4-BE49-F238E27FC236}">
                      <a16:creationId xmlns:a16="http://schemas.microsoft.com/office/drawing/2014/main" id="{DD24CB65-F75B-4EEE-88E1-FFE040CF4370}"/>
                    </a:ext>
                  </a:extLst>
                </p:cNvPr>
                <p:cNvSpPr/>
                <p:nvPr/>
              </p:nvSpPr>
              <p:spPr>
                <a:xfrm>
                  <a:off x="7954142" y="2479322"/>
                  <a:ext cx="37690" cy="65563"/>
                </a:xfrm>
                <a:custGeom>
                  <a:avLst/>
                  <a:gdLst>
                    <a:gd name="connsiteX0" fmla="*/ 37204 w 37690"/>
                    <a:gd name="connsiteY0" fmla="*/ 9034 h 65563"/>
                    <a:gd name="connsiteX1" fmla="*/ 33611 w 37690"/>
                    <a:gd name="connsiteY1" fmla="*/ 486 h 65563"/>
                    <a:gd name="connsiteX2" fmla="*/ 25063 w 37690"/>
                    <a:gd name="connsiteY2" fmla="*/ 4079 h 65563"/>
                    <a:gd name="connsiteX3" fmla="*/ 0 w 37690"/>
                    <a:gd name="connsiteY3" fmla="*/ 65564 h 65563"/>
                    <a:gd name="connsiteX4" fmla="*/ 14169 w 37690"/>
                    <a:gd name="connsiteY4" fmla="*/ 65564 h 65563"/>
                    <a:gd name="connsiteX5" fmla="*/ 37204 w 37690"/>
                    <a:gd name="connsiteY5" fmla="*/ 9034 h 655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690" h="65563">
                      <a:moveTo>
                        <a:pt x="37204" y="9034"/>
                      </a:moveTo>
                      <a:cubicBezTo>
                        <a:pt x="38566" y="5673"/>
                        <a:pt x="36972" y="1848"/>
                        <a:pt x="33611" y="486"/>
                      </a:cubicBezTo>
                      <a:cubicBezTo>
                        <a:pt x="30279" y="-876"/>
                        <a:pt x="26425" y="718"/>
                        <a:pt x="25063" y="4079"/>
                      </a:cubicBezTo>
                      <a:lnTo>
                        <a:pt x="0" y="65564"/>
                      </a:lnTo>
                      <a:lnTo>
                        <a:pt x="14169" y="65564"/>
                      </a:lnTo>
                      <a:lnTo>
                        <a:pt x="37204" y="9034"/>
                      </a:lnTo>
                      <a:close/>
                    </a:path>
                  </a:pathLst>
                </a:custGeom>
                <a:solidFill>
                  <a:schemeClr val="accent1"/>
                </a:solidFill>
                <a:ln w="2891" cap="flat">
                  <a:noFill/>
                  <a:prstDash val="solid"/>
                  <a:miter/>
                </a:ln>
              </p:spPr>
              <p:txBody>
                <a:bodyPr rtlCol="0" anchor="ctr"/>
                <a:lstStyle/>
                <a:p>
                  <a:endParaRPr lang="en-GB" dirty="0"/>
                </a:p>
              </p:txBody>
            </p:sp>
            <p:sp>
              <p:nvSpPr>
                <p:cNvPr id="634" name="Freihandform: Form 975">
                  <a:extLst>
                    <a:ext uri="{FF2B5EF4-FFF2-40B4-BE49-F238E27FC236}">
                      <a16:creationId xmlns:a16="http://schemas.microsoft.com/office/drawing/2014/main" id="{3C898A89-08CA-4FA6-B8E9-A7675FC998A0}"/>
                    </a:ext>
                  </a:extLst>
                </p:cNvPr>
                <p:cNvSpPr/>
                <p:nvPr/>
              </p:nvSpPr>
              <p:spPr>
                <a:xfrm>
                  <a:off x="8109877" y="2479322"/>
                  <a:ext cx="37702" cy="65592"/>
                </a:xfrm>
                <a:custGeom>
                  <a:avLst/>
                  <a:gdLst>
                    <a:gd name="connsiteX0" fmla="*/ 12639 w 37702"/>
                    <a:gd name="connsiteY0" fmla="*/ 4079 h 65592"/>
                    <a:gd name="connsiteX1" fmla="*/ 4091 w 37702"/>
                    <a:gd name="connsiteY1" fmla="*/ 486 h 65592"/>
                    <a:gd name="connsiteX2" fmla="*/ 498 w 37702"/>
                    <a:gd name="connsiteY2" fmla="*/ 9034 h 65592"/>
                    <a:gd name="connsiteX3" fmla="*/ 23533 w 37702"/>
                    <a:gd name="connsiteY3" fmla="*/ 65593 h 65592"/>
                    <a:gd name="connsiteX4" fmla="*/ 37702 w 37702"/>
                    <a:gd name="connsiteY4" fmla="*/ 65593 h 65592"/>
                    <a:gd name="connsiteX5" fmla="*/ 12639 w 37702"/>
                    <a:gd name="connsiteY5" fmla="*/ 4079 h 6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7702" h="65592">
                      <a:moveTo>
                        <a:pt x="12639" y="4079"/>
                      </a:moveTo>
                      <a:cubicBezTo>
                        <a:pt x="11277" y="718"/>
                        <a:pt x="7423" y="-876"/>
                        <a:pt x="4091" y="486"/>
                      </a:cubicBezTo>
                      <a:cubicBezTo>
                        <a:pt x="730" y="1848"/>
                        <a:pt x="-892" y="5673"/>
                        <a:pt x="498" y="9034"/>
                      </a:cubicBezTo>
                      <a:lnTo>
                        <a:pt x="23533" y="65593"/>
                      </a:lnTo>
                      <a:lnTo>
                        <a:pt x="37702" y="65593"/>
                      </a:lnTo>
                      <a:lnTo>
                        <a:pt x="12639" y="4079"/>
                      </a:lnTo>
                      <a:close/>
                    </a:path>
                  </a:pathLst>
                </a:custGeom>
                <a:solidFill>
                  <a:schemeClr val="accent1"/>
                </a:solidFill>
                <a:ln w="2891" cap="flat">
                  <a:noFill/>
                  <a:prstDash val="solid"/>
                  <a:miter/>
                </a:ln>
              </p:spPr>
              <p:txBody>
                <a:bodyPr rtlCol="0" anchor="ctr"/>
                <a:lstStyle/>
                <a:p>
                  <a:endParaRPr lang="en-GB" dirty="0"/>
                </a:p>
              </p:txBody>
            </p:sp>
            <p:sp>
              <p:nvSpPr>
                <p:cNvPr id="635" name="Freihandform: Form 976">
                  <a:extLst>
                    <a:ext uri="{FF2B5EF4-FFF2-40B4-BE49-F238E27FC236}">
                      <a16:creationId xmlns:a16="http://schemas.microsoft.com/office/drawing/2014/main" id="{57B61417-1ADE-4DB9-9792-29EFFAC994D9}"/>
                    </a:ext>
                  </a:extLst>
                </p:cNvPr>
                <p:cNvSpPr/>
                <p:nvPr/>
              </p:nvSpPr>
              <p:spPr>
                <a:xfrm>
                  <a:off x="8165456" y="2623582"/>
                  <a:ext cx="101811" cy="222991"/>
                </a:xfrm>
                <a:custGeom>
                  <a:avLst/>
                  <a:gdLst>
                    <a:gd name="connsiteX0" fmla="*/ 101325 w 101811"/>
                    <a:gd name="connsiteY0" fmla="*/ 213951 h 222991"/>
                    <a:gd name="connsiteX1" fmla="*/ 14169 w 101811"/>
                    <a:gd name="connsiteY1" fmla="*/ 0 h 222991"/>
                    <a:gd name="connsiteX2" fmla="*/ 0 w 101811"/>
                    <a:gd name="connsiteY2" fmla="*/ 0 h 222991"/>
                    <a:gd name="connsiteX3" fmla="*/ 89185 w 101811"/>
                    <a:gd name="connsiteY3" fmla="*/ 218906 h 222991"/>
                    <a:gd name="connsiteX4" fmla="*/ 95269 w 101811"/>
                    <a:gd name="connsiteY4" fmla="*/ 222991 h 222991"/>
                    <a:gd name="connsiteX5" fmla="*/ 97733 w 101811"/>
                    <a:gd name="connsiteY5" fmla="*/ 222498 h 222991"/>
                    <a:gd name="connsiteX6" fmla="*/ 101325 w 101811"/>
                    <a:gd name="connsiteY6" fmla="*/ 213951 h 22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11" h="222991">
                      <a:moveTo>
                        <a:pt x="101325" y="213951"/>
                      </a:moveTo>
                      <a:lnTo>
                        <a:pt x="14169" y="0"/>
                      </a:lnTo>
                      <a:lnTo>
                        <a:pt x="0" y="0"/>
                      </a:lnTo>
                      <a:lnTo>
                        <a:pt x="89185" y="218906"/>
                      </a:lnTo>
                      <a:cubicBezTo>
                        <a:pt x="90228" y="221455"/>
                        <a:pt x="92662" y="222991"/>
                        <a:pt x="95269" y="222991"/>
                      </a:cubicBezTo>
                      <a:cubicBezTo>
                        <a:pt x="96110" y="222991"/>
                        <a:pt x="96921" y="222846"/>
                        <a:pt x="97733" y="222498"/>
                      </a:cubicBezTo>
                      <a:cubicBezTo>
                        <a:pt x="101093" y="221137"/>
                        <a:pt x="102687" y="217312"/>
                        <a:pt x="101325" y="213951"/>
                      </a:cubicBezTo>
                      <a:close/>
                    </a:path>
                  </a:pathLst>
                </a:custGeom>
                <a:solidFill>
                  <a:schemeClr val="accent1"/>
                </a:solidFill>
                <a:ln w="2891" cap="flat">
                  <a:noFill/>
                  <a:prstDash val="solid"/>
                  <a:miter/>
                </a:ln>
              </p:spPr>
              <p:txBody>
                <a:bodyPr rtlCol="0" anchor="ctr"/>
                <a:lstStyle/>
                <a:p>
                  <a:endParaRPr lang="en-GB" dirty="0"/>
                </a:p>
              </p:txBody>
            </p:sp>
            <p:sp>
              <p:nvSpPr>
                <p:cNvPr id="636" name="Freihandform: Form 977">
                  <a:extLst>
                    <a:ext uri="{FF2B5EF4-FFF2-40B4-BE49-F238E27FC236}">
                      <a16:creationId xmlns:a16="http://schemas.microsoft.com/office/drawing/2014/main" id="{7B1F9F9C-F022-4353-8D27-CECFBB28E613}"/>
                    </a:ext>
                  </a:extLst>
                </p:cNvPr>
                <p:cNvSpPr/>
                <p:nvPr/>
              </p:nvSpPr>
              <p:spPr>
                <a:xfrm>
                  <a:off x="7834424" y="2623582"/>
                  <a:ext cx="101811" cy="222991"/>
                </a:xfrm>
                <a:custGeom>
                  <a:avLst/>
                  <a:gdLst>
                    <a:gd name="connsiteX0" fmla="*/ 486 w 101811"/>
                    <a:gd name="connsiteY0" fmla="*/ 213951 h 222991"/>
                    <a:gd name="connsiteX1" fmla="*/ 4079 w 101811"/>
                    <a:gd name="connsiteY1" fmla="*/ 222498 h 222991"/>
                    <a:gd name="connsiteX2" fmla="*/ 6542 w 101811"/>
                    <a:gd name="connsiteY2" fmla="*/ 222991 h 222991"/>
                    <a:gd name="connsiteX3" fmla="*/ 12627 w 101811"/>
                    <a:gd name="connsiteY3" fmla="*/ 218906 h 222991"/>
                    <a:gd name="connsiteX4" fmla="*/ 101812 w 101811"/>
                    <a:gd name="connsiteY4" fmla="*/ 0 h 222991"/>
                    <a:gd name="connsiteX5" fmla="*/ 87643 w 101811"/>
                    <a:gd name="connsiteY5" fmla="*/ 0 h 222991"/>
                    <a:gd name="connsiteX6" fmla="*/ 486 w 101811"/>
                    <a:gd name="connsiteY6" fmla="*/ 213951 h 222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1811" h="222991">
                      <a:moveTo>
                        <a:pt x="486" y="213951"/>
                      </a:moveTo>
                      <a:cubicBezTo>
                        <a:pt x="-876" y="217312"/>
                        <a:pt x="718" y="221137"/>
                        <a:pt x="4079" y="222498"/>
                      </a:cubicBezTo>
                      <a:cubicBezTo>
                        <a:pt x="4890" y="222817"/>
                        <a:pt x="5731" y="222991"/>
                        <a:pt x="6542" y="222991"/>
                      </a:cubicBezTo>
                      <a:cubicBezTo>
                        <a:pt x="9121" y="222991"/>
                        <a:pt x="11584" y="221455"/>
                        <a:pt x="12627" y="218906"/>
                      </a:cubicBezTo>
                      <a:lnTo>
                        <a:pt x="101812" y="0"/>
                      </a:lnTo>
                      <a:lnTo>
                        <a:pt x="87643" y="0"/>
                      </a:lnTo>
                      <a:lnTo>
                        <a:pt x="486" y="213951"/>
                      </a:lnTo>
                      <a:close/>
                    </a:path>
                  </a:pathLst>
                </a:custGeom>
                <a:solidFill>
                  <a:schemeClr val="accent1"/>
                </a:solidFill>
                <a:ln w="2891" cap="flat">
                  <a:noFill/>
                  <a:prstDash val="solid"/>
                  <a:miter/>
                </a:ln>
              </p:spPr>
              <p:txBody>
                <a:bodyPr rtlCol="0" anchor="ctr"/>
                <a:lstStyle/>
                <a:p>
                  <a:endParaRPr lang="en-GB" dirty="0"/>
                </a:p>
              </p:txBody>
            </p:sp>
          </p:grpSp>
        </p:grpSp>
        <p:grpSp>
          <p:nvGrpSpPr>
            <p:cNvPr id="627" name="Gruppieren 1033">
              <a:extLst>
                <a:ext uri="{FF2B5EF4-FFF2-40B4-BE49-F238E27FC236}">
                  <a16:creationId xmlns:a16="http://schemas.microsoft.com/office/drawing/2014/main" id="{4E32A156-81E6-4341-A9E3-36480C811FAE}"/>
                </a:ext>
              </a:extLst>
            </p:cNvPr>
            <p:cNvGrpSpPr/>
            <p:nvPr/>
          </p:nvGrpSpPr>
          <p:grpSpPr>
            <a:xfrm>
              <a:off x="7834447" y="2558041"/>
              <a:ext cx="432827" cy="98340"/>
              <a:chOff x="7834447" y="2558041"/>
              <a:chExt cx="432827" cy="98340"/>
            </a:xfrm>
          </p:grpSpPr>
          <p:sp>
            <p:nvSpPr>
              <p:cNvPr id="628" name="Freihandform: Form 971">
                <a:extLst>
                  <a:ext uri="{FF2B5EF4-FFF2-40B4-BE49-F238E27FC236}">
                    <a16:creationId xmlns:a16="http://schemas.microsoft.com/office/drawing/2014/main" id="{9FD3FF0E-A9B3-45E7-8BA2-D23F41A41B42}"/>
                  </a:ext>
                </a:extLst>
              </p:cNvPr>
              <p:cNvSpPr/>
              <p:nvPr/>
            </p:nvSpPr>
            <p:spPr>
              <a:xfrm>
                <a:off x="7834447" y="2558041"/>
                <a:ext cx="432827" cy="98340"/>
              </a:xfrm>
              <a:custGeom>
                <a:avLst/>
                <a:gdLst>
                  <a:gd name="connsiteX0" fmla="*/ 406605 w 432827"/>
                  <a:gd name="connsiteY0" fmla="*/ 98341 h 98340"/>
                  <a:gd name="connsiteX1" fmla="*/ 400057 w 432827"/>
                  <a:gd name="connsiteY1" fmla="*/ 91793 h 98340"/>
                  <a:gd name="connsiteX2" fmla="*/ 400057 w 432827"/>
                  <a:gd name="connsiteY2" fmla="*/ 45896 h 98340"/>
                  <a:gd name="connsiteX3" fmla="*/ 406605 w 432827"/>
                  <a:gd name="connsiteY3" fmla="*/ 39348 h 98340"/>
                  <a:gd name="connsiteX4" fmla="*/ 419731 w 432827"/>
                  <a:gd name="connsiteY4" fmla="*/ 39348 h 98340"/>
                  <a:gd name="connsiteX5" fmla="*/ 419731 w 432827"/>
                  <a:gd name="connsiteY5" fmla="*/ 13126 h 98340"/>
                  <a:gd name="connsiteX6" fmla="*/ 13097 w 432827"/>
                  <a:gd name="connsiteY6" fmla="*/ 13126 h 98340"/>
                  <a:gd name="connsiteX7" fmla="*/ 13097 w 432827"/>
                  <a:gd name="connsiteY7" fmla="*/ 39348 h 98340"/>
                  <a:gd name="connsiteX8" fmla="*/ 26222 w 432827"/>
                  <a:gd name="connsiteY8" fmla="*/ 39348 h 98340"/>
                  <a:gd name="connsiteX9" fmla="*/ 32771 w 432827"/>
                  <a:gd name="connsiteY9" fmla="*/ 45896 h 98340"/>
                  <a:gd name="connsiteX10" fmla="*/ 32771 w 432827"/>
                  <a:gd name="connsiteY10" fmla="*/ 91793 h 98340"/>
                  <a:gd name="connsiteX11" fmla="*/ 26222 w 432827"/>
                  <a:gd name="connsiteY11" fmla="*/ 98341 h 98340"/>
                  <a:gd name="connsiteX12" fmla="*/ 19674 w 432827"/>
                  <a:gd name="connsiteY12" fmla="*/ 91793 h 98340"/>
                  <a:gd name="connsiteX13" fmla="*/ 19674 w 432827"/>
                  <a:gd name="connsiteY13" fmla="*/ 52445 h 98340"/>
                  <a:gd name="connsiteX14" fmla="*/ 6548 w 432827"/>
                  <a:gd name="connsiteY14" fmla="*/ 52445 h 98340"/>
                  <a:gd name="connsiteX15" fmla="*/ 0 w 432827"/>
                  <a:gd name="connsiteY15" fmla="*/ 45896 h 98340"/>
                  <a:gd name="connsiteX16" fmla="*/ 0 w 432827"/>
                  <a:gd name="connsiteY16" fmla="*/ 6548 h 98340"/>
                  <a:gd name="connsiteX17" fmla="*/ 6548 w 432827"/>
                  <a:gd name="connsiteY17" fmla="*/ 0 h 98340"/>
                  <a:gd name="connsiteX18" fmla="*/ 426279 w 432827"/>
                  <a:gd name="connsiteY18" fmla="*/ 0 h 98340"/>
                  <a:gd name="connsiteX19" fmla="*/ 432827 w 432827"/>
                  <a:gd name="connsiteY19" fmla="*/ 6548 h 98340"/>
                  <a:gd name="connsiteX20" fmla="*/ 432827 w 432827"/>
                  <a:gd name="connsiteY20" fmla="*/ 45896 h 98340"/>
                  <a:gd name="connsiteX21" fmla="*/ 426279 w 432827"/>
                  <a:gd name="connsiteY21" fmla="*/ 52445 h 98340"/>
                  <a:gd name="connsiteX22" fmla="*/ 413153 w 432827"/>
                  <a:gd name="connsiteY22" fmla="*/ 52445 h 98340"/>
                  <a:gd name="connsiteX23" fmla="*/ 413153 w 432827"/>
                  <a:gd name="connsiteY23" fmla="*/ 91793 h 98340"/>
                  <a:gd name="connsiteX24" fmla="*/ 406605 w 432827"/>
                  <a:gd name="connsiteY24" fmla="*/ 98341 h 9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32827" h="98340">
                    <a:moveTo>
                      <a:pt x="406605" y="98341"/>
                    </a:moveTo>
                    <a:cubicBezTo>
                      <a:pt x="402983" y="98341"/>
                      <a:pt x="400057" y="95414"/>
                      <a:pt x="400057" y="91793"/>
                    </a:cubicBezTo>
                    <a:lnTo>
                      <a:pt x="400057" y="45896"/>
                    </a:lnTo>
                    <a:cubicBezTo>
                      <a:pt x="400057" y="42274"/>
                      <a:pt x="402983" y="39348"/>
                      <a:pt x="406605" y="39348"/>
                    </a:cubicBezTo>
                    <a:lnTo>
                      <a:pt x="419731" y="39348"/>
                    </a:lnTo>
                    <a:lnTo>
                      <a:pt x="419731" y="13126"/>
                    </a:lnTo>
                    <a:lnTo>
                      <a:pt x="13097" y="13126"/>
                    </a:lnTo>
                    <a:lnTo>
                      <a:pt x="13097" y="39348"/>
                    </a:lnTo>
                    <a:lnTo>
                      <a:pt x="26222" y="39348"/>
                    </a:lnTo>
                    <a:cubicBezTo>
                      <a:pt x="29844" y="39348"/>
                      <a:pt x="32771" y="42274"/>
                      <a:pt x="32771" y="45896"/>
                    </a:cubicBezTo>
                    <a:lnTo>
                      <a:pt x="32771" y="91793"/>
                    </a:lnTo>
                    <a:cubicBezTo>
                      <a:pt x="32771" y="95414"/>
                      <a:pt x="29844" y="98341"/>
                      <a:pt x="26222" y="98341"/>
                    </a:cubicBezTo>
                    <a:cubicBezTo>
                      <a:pt x="22600" y="98341"/>
                      <a:pt x="19674" y="95414"/>
                      <a:pt x="19674" y="91793"/>
                    </a:cubicBezTo>
                    <a:lnTo>
                      <a:pt x="19674" y="52445"/>
                    </a:lnTo>
                    <a:lnTo>
                      <a:pt x="6548" y="52445"/>
                    </a:lnTo>
                    <a:cubicBezTo>
                      <a:pt x="2926" y="52445"/>
                      <a:pt x="0" y="49518"/>
                      <a:pt x="0" y="45896"/>
                    </a:cubicBezTo>
                    <a:lnTo>
                      <a:pt x="0" y="6548"/>
                    </a:lnTo>
                    <a:cubicBezTo>
                      <a:pt x="0" y="2926"/>
                      <a:pt x="2926" y="0"/>
                      <a:pt x="6548" y="0"/>
                    </a:cubicBezTo>
                    <a:lnTo>
                      <a:pt x="426279" y="0"/>
                    </a:lnTo>
                    <a:cubicBezTo>
                      <a:pt x="429901" y="0"/>
                      <a:pt x="432827" y="2926"/>
                      <a:pt x="432827" y="6548"/>
                    </a:cubicBezTo>
                    <a:lnTo>
                      <a:pt x="432827" y="45896"/>
                    </a:lnTo>
                    <a:cubicBezTo>
                      <a:pt x="432827" y="49518"/>
                      <a:pt x="429901" y="52445"/>
                      <a:pt x="426279" y="52445"/>
                    </a:cubicBezTo>
                    <a:lnTo>
                      <a:pt x="413153" y="52445"/>
                    </a:lnTo>
                    <a:lnTo>
                      <a:pt x="413153" y="91793"/>
                    </a:lnTo>
                    <a:cubicBezTo>
                      <a:pt x="413153" y="95414"/>
                      <a:pt x="410227" y="98341"/>
                      <a:pt x="406605" y="98341"/>
                    </a:cubicBezTo>
                    <a:close/>
                  </a:path>
                </a:pathLst>
              </a:custGeom>
              <a:solidFill>
                <a:schemeClr val="tx2"/>
              </a:solidFill>
              <a:ln w="2891" cap="flat">
                <a:noFill/>
                <a:prstDash val="solid"/>
                <a:miter/>
              </a:ln>
            </p:spPr>
            <p:txBody>
              <a:bodyPr rtlCol="0" anchor="ctr"/>
              <a:lstStyle/>
              <a:p>
                <a:endParaRPr lang="en-GB" dirty="0"/>
              </a:p>
            </p:txBody>
          </p:sp>
          <p:sp>
            <p:nvSpPr>
              <p:cNvPr id="629" name="Freihandform: Form 972">
                <a:extLst>
                  <a:ext uri="{FF2B5EF4-FFF2-40B4-BE49-F238E27FC236}">
                    <a16:creationId xmlns:a16="http://schemas.microsoft.com/office/drawing/2014/main" id="{72B7BF73-E96F-430D-B1FE-0D5E24D1D990}"/>
                  </a:ext>
                </a:extLst>
              </p:cNvPr>
              <p:cNvSpPr/>
              <p:nvPr/>
            </p:nvSpPr>
            <p:spPr>
              <a:xfrm>
                <a:off x="7880372" y="2597389"/>
                <a:ext cx="341005" cy="58992"/>
              </a:xfrm>
              <a:custGeom>
                <a:avLst/>
                <a:gdLst>
                  <a:gd name="connsiteX0" fmla="*/ 334429 w 341005"/>
                  <a:gd name="connsiteY0" fmla="*/ 58993 h 58992"/>
                  <a:gd name="connsiteX1" fmla="*/ 327880 w 341005"/>
                  <a:gd name="connsiteY1" fmla="*/ 52445 h 58992"/>
                  <a:gd name="connsiteX2" fmla="*/ 327880 w 341005"/>
                  <a:gd name="connsiteY2" fmla="*/ 13097 h 58992"/>
                  <a:gd name="connsiteX3" fmla="*/ 13097 w 341005"/>
                  <a:gd name="connsiteY3" fmla="*/ 13097 h 58992"/>
                  <a:gd name="connsiteX4" fmla="*/ 13097 w 341005"/>
                  <a:gd name="connsiteY4" fmla="*/ 52445 h 58992"/>
                  <a:gd name="connsiteX5" fmla="*/ 6548 w 341005"/>
                  <a:gd name="connsiteY5" fmla="*/ 58993 h 58992"/>
                  <a:gd name="connsiteX6" fmla="*/ 0 w 341005"/>
                  <a:gd name="connsiteY6" fmla="*/ 52445 h 58992"/>
                  <a:gd name="connsiteX7" fmla="*/ 0 w 341005"/>
                  <a:gd name="connsiteY7" fmla="*/ 6548 h 58992"/>
                  <a:gd name="connsiteX8" fmla="*/ 6548 w 341005"/>
                  <a:gd name="connsiteY8" fmla="*/ 0 h 58992"/>
                  <a:gd name="connsiteX9" fmla="*/ 334458 w 341005"/>
                  <a:gd name="connsiteY9" fmla="*/ 0 h 58992"/>
                  <a:gd name="connsiteX10" fmla="*/ 341006 w 341005"/>
                  <a:gd name="connsiteY10" fmla="*/ 6548 h 58992"/>
                  <a:gd name="connsiteX11" fmla="*/ 341006 w 341005"/>
                  <a:gd name="connsiteY11" fmla="*/ 52445 h 58992"/>
                  <a:gd name="connsiteX12" fmla="*/ 334429 w 341005"/>
                  <a:gd name="connsiteY12" fmla="*/ 58993 h 58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1005" h="58992">
                    <a:moveTo>
                      <a:pt x="334429" y="58993"/>
                    </a:moveTo>
                    <a:cubicBezTo>
                      <a:pt x="330807" y="58993"/>
                      <a:pt x="327880" y="56067"/>
                      <a:pt x="327880" y="52445"/>
                    </a:cubicBezTo>
                    <a:lnTo>
                      <a:pt x="327880" y="13097"/>
                    </a:lnTo>
                    <a:lnTo>
                      <a:pt x="13097" y="13097"/>
                    </a:lnTo>
                    <a:lnTo>
                      <a:pt x="13097" y="52445"/>
                    </a:lnTo>
                    <a:cubicBezTo>
                      <a:pt x="13097" y="56067"/>
                      <a:pt x="10170" y="58993"/>
                      <a:pt x="6548" y="58993"/>
                    </a:cubicBezTo>
                    <a:cubicBezTo>
                      <a:pt x="2926" y="58993"/>
                      <a:pt x="0" y="56067"/>
                      <a:pt x="0" y="52445"/>
                    </a:cubicBezTo>
                    <a:lnTo>
                      <a:pt x="0" y="6548"/>
                    </a:lnTo>
                    <a:cubicBezTo>
                      <a:pt x="0" y="2926"/>
                      <a:pt x="2926" y="0"/>
                      <a:pt x="6548" y="0"/>
                    </a:cubicBezTo>
                    <a:lnTo>
                      <a:pt x="334458" y="0"/>
                    </a:lnTo>
                    <a:cubicBezTo>
                      <a:pt x="338079" y="0"/>
                      <a:pt x="341006" y="2926"/>
                      <a:pt x="341006" y="6548"/>
                    </a:cubicBezTo>
                    <a:lnTo>
                      <a:pt x="341006" y="52445"/>
                    </a:lnTo>
                    <a:cubicBezTo>
                      <a:pt x="341006" y="56067"/>
                      <a:pt x="338051" y="58993"/>
                      <a:pt x="334429" y="58993"/>
                    </a:cubicBezTo>
                    <a:close/>
                  </a:path>
                </a:pathLst>
              </a:custGeom>
              <a:solidFill>
                <a:schemeClr val="tx2"/>
              </a:solidFill>
              <a:ln w="2891" cap="flat">
                <a:noFill/>
                <a:prstDash val="solid"/>
                <a:miter/>
              </a:ln>
            </p:spPr>
            <p:txBody>
              <a:bodyPr rtlCol="0" anchor="ctr"/>
              <a:lstStyle/>
              <a:p>
                <a:endParaRPr lang="en-GB" dirty="0"/>
              </a:p>
            </p:txBody>
          </p:sp>
        </p:grpSp>
      </p:grpSp>
      <p:grpSp>
        <p:nvGrpSpPr>
          <p:cNvPr id="135" name="Gruppieren 988">
            <a:extLst>
              <a:ext uri="{FF2B5EF4-FFF2-40B4-BE49-F238E27FC236}">
                <a16:creationId xmlns:a16="http://schemas.microsoft.com/office/drawing/2014/main" id="{2FAD3765-B051-4456-9F19-4C8F8DEB4516}"/>
              </a:ext>
            </a:extLst>
          </p:cNvPr>
          <p:cNvGrpSpPr>
            <a:grpSpLocks noChangeAspect="1"/>
          </p:cNvGrpSpPr>
          <p:nvPr/>
        </p:nvGrpSpPr>
        <p:grpSpPr>
          <a:xfrm>
            <a:off x="548837" y="2391526"/>
            <a:ext cx="490427" cy="432000"/>
            <a:chOff x="873176" y="2468493"/>
            <a:chExt cx="479806" cy="422644"/>
          </a:xfrm>
        </p:grpSpPr>
        <p:grpSp>
          <p:nvGrpSpPr>
            <p:cNvPr id="136" name="Grafik 218">
              <a:extLst>
                <a:ext uri="{FF2B5EF4-FFF2-40B4-BE49-F238E27FC236}">
                  <a16:creationId xmlns:a16="http://schemas.microsoft.com/office/drawing/2014/main" id="{3B8E966F-A92C-4524-BA6B-00500E318378}"/>
                </a:ext>
              </a:extLst>
            </p:cNvPr>
            <p:cNvGrpSpPr/>
            <p:nvPr/>
          </p:nvGrpSpPr>
          <p:grpSpPr>
            <a:xfrm>
              <a:off x="1288160" y="2631791"/>
              <a:ext cx="51869" cy="259346"/>
              <a:chOff x="1288160" y="2631791"/>
              <a:chExt cx="51869" cy="259346"/>
            </a:xfrm>
            <a:solidFill>
              <a:schemeClr val="accent1"/>
            </a:solidFill>
          </p:grpSpPr>
          <p:sp>
            <p:nvSpPr>
              <p:cNvPr id="153" name="Freihandform: Form 269">
                <a:extLst>
                  <a:ext uri="{FF2B5EF4-FFF2-40B4-BE49-F238E27FC236}">
                    <a16:creationId xmlns:a16="http://schemas.microsoft.com/office/drawing/2014/main" id="{3FBA3F52-C249-4CF1-A6E7-74A2B274B554}"/>
                  </a:ext>
                </a:extLst>
              </p:cNvPr>
              <p:cNvSpPr/>
              <p:nvPr/>
            </p:nvSpPr>
            <p:spPr>
              <a:xfrm>
                <a:off x="1306816" y="2631791"/>
                <a:ext cx="13755" cy="259346"/>
              </a:xfrm>
              <a:custGeom>
                <a:avLst/>
                <a:gdLst>
                  <a:gd name="connsiteX0" fmla="*/ 7279 w 13755"/>
                  <a:gd name="connsiteY0" fmla="*/ 259347 h 259346"/>
                  <a:gd name="connsiteX1" fmla="*/ 802 w 13755"/>
                  <a:gd name="connsiteY1" fmla="*/ 252899 h 259346"/>
                  <a:gd name="connsiteX2" fmla="*/ 0 w 13755"/>
                  <a:gd name="connsiteY2" fmla="*/ 6505 h 259346"/>
                  <a:gd name="connsiteX3" fmla="*/ 6448 w 13755"/>
                  <a:gd name="connsiteY3" fmla="*/ 0 h 259346"/>
                  <a:gd name="connsiteX4" fmla="*/ 6476 w 13755"/>
                  <a:gd name="connsiteY4" fmla="*/ 0 h 259346"/>
                  <a:gd name="connsiteX5" fmla="*/ 12953 w 13755"/>
                  <a:gd name="connsiteY5" fmla="*/ 6448 h 259346"/>
                  <a:gd name="connsiteX6" fmla="*/ 13755 w 13755"/>
                  <a:gd name="connsiteY6" fmla="*/ 252842 h 259346"/>
                  <a:gd name="connsiteX7" fmla="*/ 7279 w 13755"/>
                  <a:gd name="connsiteY7" fmla="*/ 259347 h 259346"/>
                  <a:gd name="connsiteX8" fmla="*/ 7279 w 13755"/>
                  <a:gd name="connsiteY8" fmla="*/ 259347 h 25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55" h="259346">
                    <a:moveTo>
                      <a:pt x="7279" y="259347"/>
                    </a:moveTo>
                    <a:cubicBezTo>
                      <a:pt x="3697" y="259347"/>
                      <a:pt x="802" y="256452"/>
                      <a:pt x="802" y="252899"/>
                    </a:cubicBezTo>
                    <a:lnTo>
                      <a:pt x="0" y="6505"/>
                    </a:lnTo>
                    <a:cubicBezTo>
                      <a:pt x="0" y="2923"/>
                      <a:pt x="2894" y="0"/>
                      <a:pt x="6448" y="0"/>
                    </a:cubicBezTo>
                    <a:cubicBezTo>
                      <a:pt x="6448" y="0"/>
                      <a:pt x="6476" y="0"/>
                      <a:pt x="6476" y="0"/>
                    </a:cubicBezTo>
                    <a:cubicBezTo>
                      <a:pt x="10059" y="0"/>
                      <a:pt x="12953" y="2894"/>
                      <a:pt x="12953" y="6448"/>
                    </a:cubicBezTo>
                    <a:lnTo>
                      <a:pt x="13755" y="252842"/>
                    </a:lnTo>
                    <a:cubicBezTo>
                      <a:pt x="13784" y="256424"/>
                      <a:pt x="10890" y="259347"/>
                      <a:pt x="7279" y="259347"/>
                    </a:cubicBezTo>
                    <a:cubicBezTo>
                      <a:pt x="7308" y="259347"/>
                      <a:pt x="7279" y="259347"/>
                      <a:pt x="7279" y="259347"/>
                    </a:cubicBezTo>
                    <a:close/>
                  </a:path>
                </a:pathLst>
              </a:custGeom>
              <a:solidFill>
                <a:schemeClr val="accent1"/>
              </a:solidFill>
              <a:ln w="2860" cap="flat">
                <a:noFill/>
                <a:prstDash val="solid"/>
                <a:miter/>
              </a:ln>
            </p:spPr>
            <p:txBody>
              <a:bodyPr rtlCol="0" anchor="ctr"/>
              <a:lstStyle/>
              <a:p>
                <a:endParaRPr lang="en-GB" dirty="0"/>
              </a:p>
            </p:txBody>
          </p:sp>
          <p:sp>
            <p:nvSpPr>
              <p:cNvPr id="154" name="Freihandform: Form 270">
                <a:extLst>
                  <a:ext uri="{FF2B5EF4-FFF2-40B4-BE49-F238E27FC236}">
                    <a16:creationId xmlns:a16="http://schemas.microsoft.com/office/drawing/2014/main" id="{6A75DA72-3227-40F5-A95E-EF9FF8BB16C6}"/>
                  </a:ext>
                </a:extLst>
              </p:cNvPr>
              <p:cNvSpPr/>
              <p:nvPr/>
            </p:nvSpPr>
            <p:spPr>
              <a:xfrm>
                <a:off x="1294665" y="2813362"/>
                <a:ext cx="38887" cy="12952"/>
              </a:xfrm>
              <a:custGeom>
                <a:avLst/>
                <a:gdLst>
                  <a:gd name="connsiteX0" fmla="*/ 32411 w 38887"/>
                  <a:gd name="connsiteY0" fmla="*/ 12953 h 12952"/>
                  <a:gd name="connsiteX1" fmla="*/ 6477 w 38887"/>
                  <a:gd name="connsiteY1" fmla="*/ 12953 h 12952"/>
                  <a:gd name="connsiteX2" fmla="*/ 0 w 38887"/>
                  <a:gd name="connsiteY2" fmla="*/ 6476 h 12952"/>
                  <a:gd name="connsiteX3" fmla="*/ 6477 w 38887"/>
                  <a:gd name="connsiteY3" fmla="*/ 0 h 12952"/>
                  <a:gd name="connsiteX4" fmla="*/ 32411 w 38887"/>
                  <a:gd name="connsiteY4" fmla="*/ 0 h 12952"/>
                  <a:gd name="connsiteX5" fmla="*/ 38888 w 38887"/>
                  <a:gd name="connsiteY5" fmla="*/ 6476 h 12952"/>
                  <a:gd name="connsiteX6" fmla="*/ 32411 w 38887"/>
                  <a:gd name="connsiteY6" fmla="*/ 12953 h 1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87" h="12952">
                    <a:moveTo>
                      <a:pt x="32411" y="12953"/>
                    </a:moveTo>
                    <a:lnTo>
                      <a:pt x="6477" y="12953"/>
                    </a:lnTo>
                    <a:cubicBezTo>
                      <a:pt x="2894" y="12953"/>
                      <a:pt x="0" y="10059"/>
                      <a:pt x="0" y="6476"/>
                    </a:cubicBezTo>
                    <a:cubicBezTo>
                      <a:pt x="0" y="2894"/>
                      <a:pt x="2894" y="0"/>
                      <a:pt x="6477" y="0"/>
                    </a:cubicBezTo>
                    <a:lnTo>
                      <a:pt x="32411" y="0"/>
                    </a:lnTo>
                    <a:cubicBezTo>
                      <a:pt x="35993" y="0"/>
                      <a:pt x="38888" y="2894"/>
                      <a:pt x="38888" y="6476"/>
                    </a:cubicBezTo>
                    <a:cubicBezTo>
                      <a:pt x="38888" y="10030"/>
                      <a:pt x="35993" y="12953"/>
                      <a:pt x="32411" y="12953"/>
                    </a:cubicBezTo>
                    <a:close/>
                  </a:path>
                </a:pathLst>
              </a:custGeom>
              <a:solidFill>
                <a:schemeClr val="accent1"/>
              </a:solidFill>
              <a:ln w="2860" cap="flat">
                <a:noFill/>
                <a:prstDash val="solid"/>
                <a:miter/>
              </a:ln>
            </p:spPr>
            <p:txBody>
              <a:bodyPr rtlCol="0" anchor="ctr"/>
              <a:lstStyle/>
              <a:p>
                <a:endParaRPr lang="en-GB" dirty="0"/>
              </a:p>
            </p:txBody>
          </p:sp>
          <p:sp>
            <p:nvSpPr>
              <p:cNvPr id="155" name="Freihandform: Form 271">
                <a:extLst>
                  <a:ext uri="{FF2B5EF4-FFF2-40B4-BE49-F238E27FC236}">
                    <a16:creationId xmlns:a16="http://schemas.microsoft.com/office/drawing/2014/main" id="{F3FA6581-211B-4DBE-8D30-4F7148394DA5}"/>
                  </a:ext>
                </a:extLst>
              </p:cNvPr>
              <p:cNvSpPr/>
              <p:nvPr/>
            </p:nvSpPr>
            <p:spPr>
              <a:xfrm>
                <a:off x="1288160" y="2852250"/>
                <a:ext cx="51869" cy="12952"/>
              </a:xfrm>
              <a:custGeom>
                <a:avLst/>
                <a:gdLst>
                  <a:gd name="connsiteX0" fmla="*/ 45393 w 51869"/>
                  <a:gd name="connsiteY0" fmla="*/ 12953 h 12952"/>
                  <a:gd name="connsiteX1" fmla="*/ 6476 w 51869"/>
                  <a:gd name="connsiteY1" fmla="*/ 12953 h 12952"/>
                  <a:gd name="connsiteX2" fmla="*/ 0 w 51869"/>
                  <a:gd name="connsiteY2" fmla="*/ 6476 h 12952"/>
                  <a:gd name="connsiteX3" fmla="*/ 6476 w 51869"/>
                  <a:gd name="connsiteY3" fmla="*/ 0 h 12952"/>
                  <a:gd name="connsiteX4" fmla="*/ 45393 w 51869"/>
                  <a:gd name="connsiteY4" fmla="*/ 0 h 12952"/>
                  <a:gd name="connsiteX5" fmla="*/ 51869 w 51869"/>
                  <a:gd name="connsiteY5" fmla="*/ 6476 h 12952"/>
                  <a:gd name="connsiteX6" fmla="*/ 45393 w 51869"/>
                  <a:gd name="connsiteY6" fmla="*/ 12953 h 1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869" h="12952">
                    <a:moveTo>
                      <a:pt x="45393" y="12953"/>
                    </a:moveTo>
                    <a:lnTo>
                      <a:pt x="6476" y="12953"/>
                    </a:lnTo>
                    <a:cubicBezTo>
                      <a:pt x="2894" y="12953"/>
                      <a:pt x="0" y="10059"/>
                      <a:pt x="0" y="6476"/>
                    </a:cubicBezTo>
                    <a:cubicBezTo>
                      <a:pt x="0" y="2894"/>
                      <a:pt x="2894" y="0"/>
                      <a:pt x="6476" y="0"/>
                    </a:cubicBezTo>
                    <a:lnTo>
                      <a:pt x="45393" y="0"/>
                    </a:lnTo>
                    <a:cubicBezTo>
                      <a:pt x="48975" y="0"/>
                      <a:pt x="51869" y="2894"/>
                      <a:pt x="51869" y="6476"/>
                    </a:cubicBezTo>
                    <a:cubicBezTo>
                      <a:pt x="51869" y="10059"/>
                      <a:pt x="48975" y="12953"/>
                      <a:pt x="45393" y="12953"/>
                    </a:cubicBezTo>
                    <a:close/>
                  </a:path>
                </a:pathLst>
              </a:custGeom>
              <a:solidFill>
                <a:schemeClr val="accent1"/>
              </a:solidFill>
              <a:ln w="2860" cap="flat">
                <a:noFill/>
                <a:prstDash val="solid"/>
                <a:miter/>
              </a:ln>
            </p:spPr>
            <p:txBody>
              <a:bodyPr rtlCol="0" anchor="ctr"/>
              <a:lstStyle/>
              <a:p>
                <a:endParaRPr lang="en-GB" dirty="0"/>
              </a:p>
            </p:txBody>
          </p:sp>
        </p:grpSp>
        <p:grpSp>
          <p:nvGrpSpPr>
            <p:cNvPr id="137" name="Gruppieren 987">
              <a:extLst>
                <a:ext uri="{FF2B5EF4-FFF2-40B4-BE49-F238E27FC236}">
                  <a16:creationId xmlns:a16="http://schemas.microsoft.com/office/drawing/2014/main" id="{2D7ADBB0-D65A-4F68-93E7-11B7B49A035A}"/>
                </a:ext>
              </a:extLst>
            </p:cNvPr>
            <p:cNvGrpSpPr/>
            <p:nvPr/>
          </p:nvGrpSpPr>
          <p:grpSpPr>
            <a:xfrm>
              <a:off x="873176" y="2468493"/>
              <a:ext cx="479806" cy="422644"/>
              <a:chOff x="873176" y="2468493"/>
              <a:chExt cx="479806" cy="422644"/>
            </a:xfrm>
          </p:grpSpPr>
          <p:sp>
            <p:nvSpPr>
              <p:cNvPr id="138" name="Freihandform: Form 259">
                <a:extLst>
                  <a:ext uri="{FF2B5EF4-FFF2-40B4-BE49-F238E27FC236}">
                    <a16:creationId xmlns:a16="http://schemas.microsoft.com/office/drawing/2014/main" id="{D873C44A-606F-4E62-9D27-EC22F5A76D3F}"/>
                  </a:ext>
                </a:extLst>
              </p:cNvPr>
              <p:cNvSpPr/>
              <p:nvPr/>
            </p:nvSpPr>
            <p:spPr>
              <a:xfrm>
                <a:off x="873176" y="2878185"/>
                <a:ext cx="479806" cy="12952"/>
              </a:xfrm>
              <a:custGeom>
                <a:avLst/>
                <a:gdLst>
                  <a:gd name="connsiteX0" fmla="*/ 473329 w 479806"/>
                  <a:gd name="connsiteY0" fmla="*/ 12953 h 12952"/>
                  <a:gd name="connsiteX1" fmla="*/ 6477 w 479806"/>
                  <a:gd name="connsiteY1" fmla="*/ 12953 h 12952"/>
                  <a:gd name="connsiteX2" fmla="*/ 0 w 479806"/>
                  <a:gd name="connsiteY2" fmla="*/ 6477 h 12952"/>
                  <a:gd name="connsiteX3" fmla="*/ 6477 w 479806"/>
                  <a:gd name="connsiteY3" fmla="*/ 0 h 12952"/>
                  <a:gd name="connsiteX4" fmla="*/ 473329 w 479806"/>
                  <a:gd name="connsiteY4" fmla="*/ 0 h 12952"/>
                  <a:gd name="connsiteX5" fmla="*/ 479806 w 479806"/>
                  <a:gd name="connsiteY5" fmla="*/ 6477 h 12952"/>
                  <a:gd name="connsiteX6" fmla="*/ 473329 w 479806"/>
                  <a:gd name="connsiteY6" fmla="*/ 12953 h 1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9806" h="12952">
                    <a:moveTo>
                      <a:pt x="473329" y="12953"/>
                    </a:moveTo>
                    <a:lnTo>
                      <a:pt x="6477" y="12953"/>
                    </a:lnTo>
                    <a:cubicBezTo>
                      <a:pt x="2894" y="12953"/>
                      <a:pt x="0" y="10059"/>
                      <a:pt x="0" y="6477"/>
                    </a:cubicBezTo>
                    <a:cubicBezTo>
                      <a:pt x="0" y="2894"/>
                      <a:pt x="2894" y="0"/>
                      <a:pt x="6477" y="0"/>
                    </a:cubicBezTo>
                    <a:lnTo>
                      <a:pt x="473329" y="0"/>
                    </a:lnTo>
                    <a:cubicBezTo>
                      <a:pt x="476912" y="0"/>
                      <a:pt x="479806" y="2894"/>
                      <a:pt x="479806" y="6477"/>
                    </a:cubicBezTo>
                    <a:cubicBezTo>
                      <a:pt x="479835" y="10059"/>
                      <a:pt x="476912" y="12953"/>
                      <a:pt x="473329" y="12953"/>
                    </a:cubicBezTo>
                    <a:close/>
                  </a:path>
                </a:pathLst>
              </a:custGeom>
              <a:solidFill>
                <a:schemeClr val="tx2"/>
              </a:solidFill>
              <a:ln w="2860" cap="flat">
                <a:noFill/>
                <a:prstDash val="solid"/>
                <a:miter/>
              </a:ln>
            </p:spPr>
            <p:txBody>
              <a:bodyPr rtlCol="0" anchor="ctr"/>
              <a:lstStyle/>
              <a:p>
                <a:endParaRPr lang="en-GB" dirty="0"/>
              </a:p>
            </p:txBody>
          </p:sp>
          <p:sp>
            <p:nvSpPr>
              <p:cNvPr id="139" name="Freihandform: Form 260">
                <a:extLst>
                  <a:ext uri="{FF2B5EF4-FFF2-40B4-BE49-F238E27FC236}">
                    <a16:creationId xmlns:a16="http://schemas.microsoft.com/office/drawing/2014/main" id="{AE5C966E-118A-4961-BD7D-A560F2004387}"/>
                  </a:ext>
                </a:extLst>
              </p:cNvPr>
              <p:cNvSpPr/>
              <p:nvPr/>
            </p:nvSpPr>
            <p:spPr>
              <a:xfrm>
                <a:off x="1054740" y="2618522"/>
                <a:ext cx="116707" cy="272615"/>
              </a:xfrm>
              <a:custGeom>
                <a:avLst/>
                <a:gdLst>
                  <a:gd name="connsiteX0" fmla="*/ 110223 w 116707"/>
                  <a:gd name="connsiteY0" fmla="*/ 272615 h 272615"/>
                  <a:gd name="connsiteX1" fmla="*/ 6484 w 116707"/>
                  <a:gd name="connsiteY1" fmla="*/ 272615 h 272615"/>
                  <a:gd name="connsiteX2" fmla="*/ 1784 w 116707"/>
                  <a:gd name="connsiteY2" fmla="*/ 270609 h 272615"/>
                  <a:gd name="connsiteX3" fmla="*/ 8 w 116707"/>
                  <a:gd name="connsiteY3" fmla="*/ 265823 h 272615"/>
                  <a:gd name="connsiteX4" fmla="*/ 10267 w 116707"/>
                  <a:gd name="connsiteY4" fmla="*/ 62129 h 272615"/>
                  <a:gd name="connsiteX5" fmla="*/ 23220 w 116707"/>
                  <a:gd name="connsiteY5" fmla="*/ 56283 h 272615"/>
                  <a:gd name="connsiteX6" fmla="*/ 13276 w 116707"/>
                  <a:gd name="connsiteY6" fmla="*/ 259662 h 272615"/>
                  <a:gd name="connsiteX7" fmla="*/ 103403 w 116707"/>
                  <a:gd name="connsiteY7" fmla="*/ 259662 h 272615"/>
                  <a:gd name="connsiteX8" fmla="*/ 90765 w 116707"/>
                  <a:gd name="connsiteY8" fmla="*/ 630 h 272615"/>
                  <a:gd name="connsiteX9" fmla="*/ 103718 w 116707"/>
                  <a:gd name="connsiteY9" fmla="*/ 0 h 272615"/>
                  <a:gd name="connsiteX10" fmla="*/ 116699 w 116707"/>
                  <a:gd name="connsiteY10" fmla="*/ 265852 h 272615"/>
                  <a:gd name="connsiteX11" fmla="*/ 114923 w 116707"/>
                  <a:gd name="connsiteY11" fmla="*/ 270638 h 272615"/>
                  <a:gd name="connsiteX12" fmla="*/ 110223 w 116707"/>
                  <a:gd name="connsiteY12" fmla="*/ 272615 h 27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6707" h="272615">
                    <a:moveTo>
                      <a:pt x="110223" y="272615"/>
                    </a:moveTo>
                    <a:lnTo>
                      <a:pt x="6484" y="272615"/>
                    </a:lnTo>
                    <a:cubicBezTo>
                      <a:pt x="4708" y="272615"/>
                      <a:pt x="3017" y="271899"/>
                      <a:pt x="1784" y="270609"/>
                    </a:cubicBezTo>
                    <a:cubicBezTo>
                      <a:pt x="552" y="269319"/>
                      <a:pt x="-78" y="267600"/>
                      <a:pt x="8" y="265823"/>
                    </a:cubicBezTo>
                    <a:lnTo>
                      <a:pt x="10267" y="62129"/>
                    </a:lnTo>
                    <a:lnTo>
                      <a:pt x="23220" y="56283"/>
                    </a:lnTo>
                    <a:lnTo>
                      <a:pt x="13276" y="259662"/>
                    </a:lnTo>
                    <a:lnTo>
                      <a:pt x="103403" y="259662"/>
                    </a:lnTo>
                    <a:lnTo>
                      <a:pt x="90765" y="630"/>
                    </a:lnTo>
                    <a:lnTo>
                      <a:pt x="103718" y="0"/>
                    </a:lnTo>
                    <a:lnTo>
                      <a:pt x="116699" y="265852"/>
                    </a:lnTo>
                    <a:cubicBezTo>
                      <a:pt x="116785" y="267629"/>
                      <a:pt x="116155" y="269348"/>
                      <a:pt x="114923" y="270638"/>
                    </a:cubicBezTo>
                    <a:cubicBezTo>
                      <a:pt x="113690" y="271899"/>
                      <a:pt x="112000" y="272615"/>
                      <a:pt x="110223" y="272615"/>
                    </a:cubicBezTo>
                    <a:close/>
                  </a:path>
                </a:pathLst>
              </a:custGeom>
              <a:solidFill>
                <a:schemeClr val="tx2"/>
              </a:solidFill>
              <a:ln w="2860" cap="flat">
                <a:noFill/>
                <a:prstDash val="solid"/>
                <a:miter/>
              </a:ln>
            </p:spPr>
            <p:txBody>
              <a:bodyPr rtlCol="0" anchor="ctr"/>
              <a:lstStyle/>
              <a:p>
                <a:endParaRPr lang="en-GB" dirty="0"/>
              </a:p>
            </p:txBody>
          </p:sp>
          <p:sp>
            <p:nvSpPr>
              <p:cNvPr id="140" name="Freihandform: Form 261">
                <a:extLst>
                  <a:ext uri="{FF2B5EF4-FFF2-40B4-BE49-F238E27FC236}">
                    <a16:creationId xmlns:a16="http://schemas.microsoft.com/office/drawing/2014/main" id="{0CBCEB62-4B5A-4A8A-98CB-5B758DF25FBD}"/>
                  </a:ext>
                </a:extLst>
              </p:cNvPr>
              <p:cNvSpPr/>
              <p:nvPr/>
            </p:nvSpPr>
            <p:spPr>
              <a:xfrm>
                <a:off x="1061224" y="2806857"/>
                <a:ext cx="103738" cy="12981"/>
              </a:xfrm>
              <a:custGeom>
                <a:avLst/>
                <a:gdLst>
                  <a:gd name="connsiteX0" fmla="*/ 0 w 103738"/>
                  <a:gd name="connsiteY0" fmla="*/ 0 h 12981"/>
                  <a:gd name="connsiteX1" fmla="*/ 103739 w 103738"/>
                  <a:gd name="connsiteY1" fmla="*/ 0 h 12981"/>
                  <a:gd name="connsiteX2" fmla="*/ 103739 w 103738"/>
                  <a:gd name="connsiteY2" fmla="*/ 12982 h 12981"/>
                  <a:gd name="connsiteX3" fmla="*/ 0 w 103738"/>
                  <a:gd name="connsiteY3" fmla="*/ 12982 h 12981"/>
                </a:gdLst>
                <a:ahLst/>
                <a:cxnLst>
                  <a:cxn ang="0">
                    <a:pos x="connsiteX0" y="connsiteY0"/>
                  </a:cxn>
                  <a:cxn ang="0">
                    <a:pos x="connsiteX1" y="connsiteY1"/>
                  </a:cxn>
                  <a:cxn ang="0">
                    <a:pos x="connsiteX2" y="connsiteY2"/>
                  </a:cxn>
                  <a:cxn ang="0">
                    <a:pos x="connsiteX3" y="connsiteY3"/>
                  </a:cxn>
                </a:cxnLst>
                <a:rect l="l" t="t" r="r" b="b"/>
                <a:pathLst>
                  <a:path w="103738" h="12981">
                    <a:moveTo>
                      <a:pt x="0" y="0"/>
                    </a:moveTo>
                    <a:lnTo>
                      <a:pt x="103739" y="0"/>
                    </a:lnTo>
                    <a:lnTo>
                      <a:pt x="103739" y="12982"/>
                    </a:lnTo>
                    <a:lnTo>
                      <a:pt x="0" y="12982"/>
                    </a:lnTo>
                    <a:close/>
                  </a:path>
                </a:pathLst>
              </a:custGeom>
              <a:solidFill>
                <a:schemeClr val="tx2"/>
              </a:solidFill>
              <a:ln w="2860" cap="flat">
                <a:noFill/>
                <a:prstDash val="solid"/>
                <a:miter/>
              </a:ln>
            </p:spPr>
            <p:txBody>
              <a:bodyPr rtlCol="0" anchor="ctr"/>
              <a:lstStyle/>
              <a:p>
                <a:endParaRPr lang="en-GB" dirty="0"/>
              </a:p>
            </p:txBody>
          </p:sp>
          <p:sp>
            <p:nvSpPr>
              <p:cNvPr id="141" name="Freihandform: Form 262">
                <a:extLst>
                  <a:ext uri="{FF2B5EF4-FFF2-40B4-BE49-F238E27FC236}">
                    <a16:creationId xmlns:a16="http://schemas.microsoft.com/office/drawing/2014/main" id="{3E39764B-5F56-4D02-BEDD-F1A8026692E1}"/>
                  </a:ext>
                </a:extLst>
              </p:cNvPr>
              <p:cNvSpPr/>
              <p:nvPr/>
            </p:nvSpPr>
            <p:spPr>
              <a:xfrm>
                <a:off x="1067701" y="2709595"/>
                <a:ext cx="90785" cy="12981"/>
              </a:xfrm>
              <a:custGeom>
                <a:avLst/>
                <a:gdLst>
                  <a:gd name="connsiteX0" fmla="*/ 0 w 90785"/>
                  <a:gd name="connsiteY0" fmla="*/ 0 h 12981"/>
                  <a:gd name="connsiteX1" fmla="*/ 90786 w 90785"/>
                  <a:gd name="connsiteY1" fmla="*/ 0 h 12981"/>
                  <a:gd name="connsiteX2" fmla="*/ 90786 w 90785"/>
                  <a:gd name="connsiteY2" fmla="*/ 12982 h 12981"/>
                  <a:gd name="connsiteX3" fmla="*/ 0 w 90785"/>
                  <a:gd name="connsiteY3" fmla="*/ 12982 h 12981"/>
                </a:gdLst>
                <a:ahLst/>
                <a:cxnLst>
                  <a:cxn ang="0">
                    <a:pos x="connsiteX0" y="connsiteY0"/>
                  </a:cxn>
                  <a:cxn ang="0">
                    <a:pos x="connsiteX1" y="connsiteY1"/>
                  </a:cxn>
                  <a:cxn ang="0">
                    <a:pos x="connsiteX2" y="connsiteY2"/>
                  </a:cxn>
                  <a:cxn ang="0">
                    <a:pos x="connsiteX3" y="connsiteY3"/>
                  </a:cxn>
                </a:cxnLst>
                <a:rect l="l" t="t" r="r" b="b"/>
                <a:pathLst>
                  <a:path w="90785" h="12981">
                    <a:moveTo>
                      <a:pt x="0" y="0"/>
                    </a:moveTo>
                    <a:lnTo>
                      <a:pt x="90786" y="0"/>
                    </a:lnTo>
                    <a:lnTo>
                      <a:pt x="90786" y="12982"/>
                    </a:lnTo>
                    <a:lnTo>
                      <a:pt x="0" y="12982"/>
                    </a:lnTo>
                    <a:close/>
                  </a:path>
                </a:pathLst>
              </a:custGeom>
              <a:solidFill>
                <a:schemeClr val="tx2"/>
              </a:solidFill>
              <a:ln w="2860" cap="flat">
                <a:noFill/>
                <a:prstDash val="solid"/>
                <a:miter/>
              </a:ln>
            </p:spPr>
            <p:txBody>
              <a:bodyPr rtlCol="0" anchor="ctr"/>
              <a:lstStyle/>
              <a:p>
                <a:endParaRPr lang="en-GB" dirty="0"/>
              </a:p>
            </p:txBody>
          </p:sp>
          <p:grpSp>
            <p:nvGrpSpPr>
              <p:cNvPr id="142" name="Grafik 218">
                <a:extLst>
                  <a:ext uri="{FF2B5EF4-FFF2-40B4-BE49-F238E27FC236}">
                    <a16:creationId xmlns:a16="http://schemas.microsoft.com/office/drawing/2014/main" id="{A804F095-2D92-4C0E-ADF4-F1716AC7B0BF}"/>
                  </a:ext>
                </a:extLst>
              </p:cNvPr>
              <p:cNvGrpSpPr/>
              <p:nvPr/>
            </p:nvGrpSpPr>
            <p:grpSpPr>
              <a:xfrm>
                <a:off x="940513" y="2468493"/>
                <a:ext cx="381743" cy="234912"/>
                <a:chOff x="940513" y="2468493"/>
                <a:chExt cx="381743" cy="234912"/>
              </a:xfrm>
              <a:solidFill>
                <a:schemeClr val="tx2"/>
              </a:solidFill>
            </p:grpSpPr>
            <p:sp>
              <p:nvSpPr>
                <p:cNvPr id="149" name="Freihandform: Form 264">
                  <a:extLst>
                    <a:ext uri="{FF2B5EF4-FFF2-40B4-BE49-F238E27FC236}">
                      <a16:creationId xmlns:a16="http://schemas.microsoft.com/office/drawing/2014/main" id="{51ED0CDC-FE83-4319-BBB5-567E5F040AF0}"/>
                    </a:ext>
                  </a:extLst>
                </p:cNvPr>
                <p:cNvSpPr/>
                <p:nvPr/>
              </p:nvSpPr>
              <p:spPr>
                <a:xfrm>
                  <a:off x="940513" y="2535833"/>
                  <a:ext cx="330287" cy="167572"/>
                </a:xfrm>
                <a:custGeom>
                  <a:avLst/>
                  <a:gdLst>
                    <a:gd name="connsiteX0" fmla="*/ 19466 w 330287"/>
                    <a:gd name="connsiteY0" fmla="*/ 167572 h 167572"/>
                    <a:gd name="connsiteX1" fmla="*/ 13448 w 330287"/>
                    <a:gd name="connsiteY1" fmla="*/ 163503 h 167572"/>
                    <a:gd name="connsiteX2" fmla="*/ 466 w 330287"/>
                    <a:gd name="connsiteY2" fmla="*/ 131149 h 167572"/>
                    <a:gd name="connsiteX3" fmla="*/ 523 w 330287"/>
                    <a:gd name="connsiteY3" fmla="*/ 126191 h 167572"/>
                    <a:gd name="connsiteX4" fmla="*/ 4077 w 330287"/>
                    <a:gd name="connsiteY4" fmla="*/ 122724 h 167572"/>
                    <a:gd name="connsiteX5" fmla="*/ 308415 w 330287"/>
                    <a:gd name="connsiteY5" fmla="*/ 473 h 167572"/>
                    <a:gd name="connsiteX6" fmla="*/ 316840 w 330287"/>
                    <a:gd name="connsiteY6" fmla="*/ 4083 h 167572"/>
                    <a:gd name="connsiteX7" fmla="*/ 329822 w 330287"/>
                    <a:gd name="connsiteY7" fmla="*/ 36437 h 167572"/>
                    <a:gd name="connsiteX8" fmla="*/ 329765 w 330287"/>
                    <a:gd name="connsiteY8" fmla="*/ 41395 h 167572"/>
                    <a:gd name="connsiteX9" fmla="*/ 326211 w 330287"/>
                    <a:gd name="connsiteY9" fmla="*/ 44862 h 167572"/>
                    <a:gd name="connsiteX10" fmla="*/ 21873 w 330287"/>
                    <a:gd name="connsiteY10" fmla="*/ 167114 h 167572"/>
                    <a:gd name="connsiteX11" fmla="*/ 19466 w 330287"/>
                    <a:gd name="connsiteY11" fmla="*/ 167572 h 167572"/>
                    <a:gd name="connsiteX12" fmla="*/ 14909 w 330287"/>
                    <a:gd name="connsiteY12" fmla="*/ 132324 h 167572"/>
                    <a:gd name="connsiteX13" fmla="*/ 23076 w 330287"/>
                    <a:gd name="connsiteY13" fmla="*/ 152642 h 167572"/>
                    <a:gd name="connsiteX14" fmla="*/ 315379 w 330287"/>
                    <a:gd name="connsiteY14" fmla="*/ 35234 h 167572"/>
                    <a:gd name="connsiteX15" fmla="*/ 307212 w 330287"/>
                    <a:gd name="connsiteY15" fmla="*/ 14916 h 167572"/>
                    <a:gd name="connsiteX16" fmla="*/ 14909 w 330287"/>
                    <a:gd name="connsiteY16" fmla="*/ 132324 h 167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0287" h="167572">
                      <a:moveTo>
                        <a:pt x="19466" y="167572"/>
                      </a:moveTo>
                      <a:cubicBezTo>
                        <a:pt x="16886" y="167572"/>
                        <a:pt x="14451" y="166025"/>
                        <a:pt x="13448" y="163503"/>
                      </a:cubicBezTo>
                      <a:lnTo>
                        <a:pt x="466" y="131149"/>
                      </a:lnTo>
                      <a:cubicBezTo>
                        <a:pt x="-165" y="129544"/>
                        <a:pt x="-165" y="127767"/>
                        <a:pt x="523" y="126191"/>
                      </a:cubicBezTo>
                      <a:cubicBezTo>
                        <a:pt x="1211" y="124615"/>
                        <a:pt x="2472" y="123354"/>
                        <a:pt x="4077" y="122724"/>
                      </a:cubicBezTo>
                      <a:lnTo>
                        <a:pt x="308415" y="473"/>
                      </a:lnTo>
                      <a:cubicBezTo>
                        <a:pt x="311739" y="-874"/>
                        <a:pt x="315522" y="759"/>
                        <a:pt x="316840" y="4083"/>
                      </a:cubicBezTo>
                      <a:lnTo>
                        <a:pt x="329822" y="36437"/>
                      </a:lnTo>
                      <a:cubicBezTo>
                        <a:pt x="330452" y="38042"/>
                        <a:pt x="330452" y="39819"/>
                        <a:pt x="329765" y="41395"/>
                      </a:cubicBezTo>
                      <a:cubicBezTo>
                        <a:pt x="329077" y="42971"/>
                        <a:pt x="327816" y="44232"/>
                        <a:pt x="326211" y="44862"/>
                      </a:cubicBezTo>
                      <a:lnTo>
                        <a:pt x="21873" y="167114"/>
                      </a:lnTo>
                      <a:cubicBezTo>
                        <a:pt x="21099" y="167400"/>
                        <a:pt x="20268" y="167572"/>
                        <a:pt x="19466" y="167572"/>
                      </a:cubicBezTo>
                      <a:close/>
                      <a:moveTo>
                        <a:pt x="14909" y="132324"/>
                      </a:moveTo>
                      <a:lnTo>
                        <a:pt x="23076" y="152642"/>
                      </a:lnTo>
                      <a:lnTo>
                        <a:pt x="315379" y="35234"/>
                      </a:lnTo>
                      <a:lnTo>
                        <a:pt x="307212" y="14916"/>
                      </a:lnTo>
                      <a:lnTo>
                        <a:pt x="14909" y="132324"/>
                      </a:lnTo>
                      <a:close/>
                    </a:path>
                  </a:pathLst>
                </a:custGeom>
                <a:solidFill>
                  <a:schemeClr val="accent1"/>
                </a:solidFill>
                <a:ln w="2860" cap="flat">
                  <a:noFill/>
                  <a:prstDash val="solid"/>
                  <a:miter/>
                </a:ln>
              </p:spPr>
              <p:txBody>
                <a:bodyPr rtlCol="0" anchor="ctr"/>
                <a:lstStyle/>
                <a:p>
                  <a:endParaRPr lang="en-GB" dirty="0"/>
                </a:p>
              </p:txBody>
            </p:sp>
            <p:sp>
              <p:nvSpPr>
                <p:cNvPr id="150" name="Freihandform: Form 265">
                  <a:extLst>
                    <a:ext uri="{FF2B5EF4-FFF2-40B4-BE49-F238E27FC236}">
                      <a16:creationId xmlns:a16="http://schemas.microsoft.com/office/drawing/2014/main" id="{D9016FA7-BDD7-4659-8B98-FD0C8AD07F31}"/>
                    </a:ext>
                  </a:extLst>
                </p:cNvPr>
                <p:cNvSpPr/>
                <p:nvPr/>
              </p:nvSpPr>
              <p:spPr>
                <a:xfrm>
                  <a:off x="1237532" y="2468493"/>
                  <a:ext cx="84724" cy="186395"/>
                </a:xfrm>
                <a:custGeom>
                  <a:avLst/>
                  <a:gdLst>
                    <a:gd name="connsiteX0" fmla="*/ 78196 w 84724"/>
                    <a:gd name="connsiteY0" fmla="*/ 186396 h 186395"/>
                    <a:gd name="connsiteX1" fmla="*/ 73697 w 84724"/>
                    <a:gd name="connsiteY1" fmla="*/ 184590 h 186395"/>
                    <a:gd name="connsiteX2" fmla="*/ 5350 w 84724"/>
                    <a:gd name="connsiteY2" fmla="*/ 118794 h 186395"/>
                    <a:gd name="connsiteX3" fmla="*/ 5178 w 84724"/>
                    <a:gd name="connsiteY3" fmla="*/ 109623 h 186395"/>
                    <a:gd name="connsiteX4" fmla="*/ 14348 w 84724"/>
                    <a:gd name="connsiteY4" fmla="*/ 109451 h 186395"/>
                    <a:gd name="connsiteX5" fmla="*/ 70258 w 84724"/>
                    <a:gd name="connsiteY5" fmla="*/ 163270 h 186395"/>
                    <a:gd name="connsiteX6" fmla="*/ 64928 w 84724"/>
                    <a:gd name="connsiteY6" fmla="*/ 101714 h 186395"/>
                    <a:gd name="connsiteX7" fmla="*/ 49481 w 84724"/>
                    <a:gd name="connsiteY7" fmla="*/ 50733 h 186395"/>
                    <a:gd name="connsiteX8" fmla="*/ 14147 w 84724"/>
                    <a:gd name="connsiteY8" fmla="*/ 21302 h 186395"/>
                    <a:gd name="connsiteX9" fmla="*/ 18217 w 84724"/>
                    <a:gd name="connsiteY9" fmla="*/ 73802 h 186395"/>
                    <a:gd name="connsiteX10" fmla="*/ 12256 w 84724"/>
                    <a:gd name="connsiteY10" fmla="*/ 80766 h 186395"/>
                    <a:gd name="connsiteX11" fmla="*/ 5292 w 84724"/>
                    <a:gd name="connsiteY11" fmla="*/ 74805 h 186395"/>
                    <a:gd name="connsiteX12" fmla="*/ 19 w 84724"/>
                    <a:gd name="connsiteY12" fmla="*/ 7002 h 186395"/>
                    <a:gd name="connsiteX13" fmla="*/ 3515 w 84724"/>
                    <a:gd name="connsiteY13" fmla="*/ 726 h 186395"/>
                    <a:gd name="connsiteX14" fmla="*/ 10651 w 84724"/>
                    <a:gd name="connsiteY14" fmla="*/ 1500 h 186395"/>
                    <a:gd name="connsiteX15" fmla="*/ 59282 w 84724"/>
                    <a:gd name="connsiteY15" fmla="*/ 42021 h 186395"/>
                    <a:gd name="connsiteX16" fmla="*/ 61345 w 84724"/>
                    <a:gd name="connsiteY16" fmla="*/ 45116 h 186395"/>
                    <a:gd name="connsiteX17" fmla="*/ 77565 w 84724"/>
                    <a:gd name="connsiteY17" fmla="*/ 98619 h 186395"/>
                    <a:gd name="connsiteX18" fmla="*/ 77823 w 84724"/>
                    <a:gd name="connsiteY18" fmla="*/ 99937 h 186395"/>
                    <a:gd name="connsiteX19" fmla="*/ 84701 w 84724"/>
                    <a:gd name="connsiteY19" fmla="*/ 179375 h 186395"/>
                    <a:gd name="connsiteX20" fmla="*/ 81033 w 84724"/>
                    <a:gd name="connsiteY20" fmla="*/ 185794 h 186395"/>
                    <a:gd name="connsiteX21" fmla="*/ 78196 w 84724"/>
                    <a:gd name="connsiteY21" fmla="*/ 186396 h 186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4724" h="186395">
                      <a:moveTo>
                        <a:pt x="78196" y="186396"/>
                      </a:moveTo>
                      <a:cubicBezTo>
                        <a:pt x="76562" y="186396"/>
                        <a:pt x="74929" y="185765"/>
                        <a:pt x="73697" y="184590"/>
                      </a:cubicBezTo>
                      <a:lnTo>
                        <a:pt x="5350" y="118794"/>
                      </a:lnTo>
                      <a:cubicBezTo>
                        <a:pt x="2770" y="116300"/>
                        <a:pt x="2684" y="112203"/>
                        <a:pt x="5178" y="109623"/>
                      </a:cubicBezTo>
                      <a:cubicBezTo>
                        <a:pt x="7671" y="107044"/>
                        <a:pt x="11769" y="106958"/>
                        <a:pt x="14348" y="109451"/>
                      </a:cubicBezTo>
                      <a:lnTo>
                        <a:pt x="70258" y="163270"/>
                      </a:lnTo>
                      <a:lnTo>
                        <a:pt x="64928" y="101714"/>
                      </a:lnTo>
                      <a:lnTo>
                        <a:pt x="49481" y="50733"/>
                      </a:lnTo>
                      <a:lnTo>
                        <a:pt x="14147" y="21302"/>
                      </a:lnTo>
                      <a:lnTo>
                        <a:pt x="18217" y="73802"/>
                      </a:lnTo>
                      <a:cubicBezTo>
                        <a:pt x="18503" y="77384"/>
                        <a:pt x="15809" y="80479"/>
                        <a:pt x="12256" y="80766"/>
                      </a:cubicBezTo>
                      <a:cubicBezTo>
                        <a:pt x="8645" y="81024"/>
                        <a:pt x="5579" y="78359"/>
                        <a:pt x="5292" y="74805"/>
                      </a:cubicBezTo>
                      <a:lnTo>
                        <a:pt x="19" y="7002"/>
                      </a:lnTo>
                      <a:cubicBezTo>
                        <a:pt x="-181" y="4395"/>
                        <a:pt x="1194" y="1930"/>
                        <a:pt x="3515" y="726"/>
                      </a:cubicBezTo>
                      <a:cubicBezTo>
                        <a:pt x="5837" y="-477"/>
                        <a:pt x="8645" y="-162"/>
                        <a:pt x="10651" y="1500"/>
                      </a:cubicBezTo>
                      <a:lnTo>
                        <a:pt x="59282" y="42021"/>
                      </a:lnTo>
                      <a:cubicBezTo>
                        <a:pt x="60257" y="42824"/>
                        <a:pt x="60973" y="43913"/>
                        <a:pt x="61345" y="45116"/>
                      </a:cubicBezTo>
                      <a:lnTo>
                        <a:pt x="77565" y="98619"/>
                      </a:lnTo>
                      <a:cubicBezTo>
                        <a:pt x="77709" y="99049"/>
                        <a:pt x="77795" y="99479"/>
                        <a:pt x="77823" y="99937"/>
                      </a:cubicBezTo>
                      <a:lnTo>
                        <a:pt x="84701" y="179375"/>
                      </a:lnTo>
                      <a:cubicBezTo>
                        <a:pt x="84930" y="182069"/>
                        <a:pt x="83469" y="184619"/>
                        <a:pt x="81033" y="185794"/>
                      </a:cubicBezTo>
                      <a:cubicBezTo>
                        <a:pt x="80087" y="186195"/>
                        <a:pt x="79142" y="186396"/>
                        <a:pt x="78196" y="186396"/>
                      </a:cubicBezTo>
                      <a:close/>
                    </a:path>
                  </a:pathLst>
                </a:custGeom>
                <a:solidFill>
                  <a:schemeClr val="accent1"/>
                </a:solidFill>
                <a:ln w="2860" cap="flat">
                  <a:noFill/>
                  <a:prstDash val="solid"/>
                  <a:miter/>
                </a:ln>
              </p:spPr>
              <p:txBody>
                <a:bodyPr rtlCol="0" anchor="ctr"/>
                <a:lstStyle/>
                <a:p>
                  <a:endParaRPr lang="en-GB" dirty="0"/>
                </a:p>
              </p:txBody>
            </p:sp>
            <p:sp>
              <p:nvSpPr>
                <p:cNvPr id="151" name="Freihandform: Form 266">
                  <a:extLst>
                    <a:ext uri="{FF2B5EF4-FFF2-40B4-BE49-F238E27FC236}">
                      <a16:creationId xmlns:a16="http://schemas.microsoft.com/office/drawing/2014/main" id="{33204143-B696-4888-B475-5E527928BA1D}"/>
                    </a:ext>
                  </a:extLst>
                </p:cNvPr>
                <p:cNvSpPr/>
                <p:nvPr/>
              </p:nvSpPr>
              <p:spPr>
                <a:xfrm>
                  <a:off x="1242787" y="2510992"/>
                  <a:ext cx="53492" cy="38266"/>
                </a:xfrm>
                <a:custGeom>
                  <a:avLst/>
                  <a:gdLst>
                    <a:gd name="connsiteX0" fmla="*/ 6486 w 53492"/>
                    <a:gd name="connsiteY0" fmla="*/ 38266 h 38266"/>
                    <a:gd name="connsiteX1" fmla="*/ 983 w 53492"/>
                    <a:gd name="connsiteY1" fmla="*/ 35200 h 38266"/>
                    <a:gd name="connsiteX2" fmla="*/ 3047 w 53492"/>
                    <a:gd name="connsiteY2" fmla="*/ 26259 h 38266"/>
                    <a:gd name="connsiteX3" fmla="*/ 43568 w 53492"/>
                    <a:gd name="connsiteY3" fmla="*/ 983 h 38266"/>
                    <a:gd name="connsiteX4" fmla="*/ 52509 w 53492"/>
                    <a:gd name="connsiteY4" fmla="*/ 3047 h 38266"/>
                    <a:gd name="connsiteX5" fmla="*/ 50446 w 53492"/>
                    <a:gd name="connsiteY5" fmla="*/ 11988 h 38266"/>
                    <a:gd name="connsiteX6" fmla="*/ 9924 w 53492"/>
                    <a:gd name="connsiteY6" fmla="*/ 37263 h 38266"/>
                    <a:gd name="connsiteX7" fmla="*/ 6486 w 53492"/>
                    <a:gd name="connsiteY7" fmla="*/ 38266 h 38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92" h="38266">
                      <a:moveTo>
                        <a:pt x="6486" y="38266"/>
                      </a:moveTo>
                      <a:cubicBezTo>
                        <a:pt x="4308" y="38266"/>
                        <a:pt x="2216" y="37177"/>
                        <a:pt x="983" y="35200"/>
                      </a:cubicBezTo>
                      <a:cubicBezTo>
                        <a:pt x="-908" y="32162"/>
                        <a:pt x="9" y="28150"/>
                        <a:pt x="3047" y="26259"/>
                      </a:cubicBezTo>
                      <a:lnTo>
                        <a:pt x="43568" y="983"/>
                      </a:lnTo>
                      <a:cubicBezTo>
                        <a:pt x="46605" y="-908"/>
                        <a:pt x="50617" y="9"/>
                        <a:pt x="52509" y="3047"/>
                      </a:cubicBezTo>
                      <a:cubicBezTo>
                        <a:pt x="54400" y="6084"/>
                        <a:pt x="53483" y="10096"/>
                        <a:pt x="50446" y="11988"/>
                      </a:cubicBezTo>
                      <a:lnTo>
                        <a:pt x="9924" y="37263"/>
                      </a:lnTo>
                      <a:cubicBezTo>
                        <a:pt x="8835" y="37951"/>
                        <a:pt x="7660" y="38266"/>
                        <a:pt x="6486" y="38266"/>
                      </a:cubicBezTo>
                      <a:close/>
                    </a:path>
                  </a:pathLst>
                </a:custGeom>
                <a:solidFill>
                  <a:schemeClr val="accent1"/>
                </a:solidFill>
                <a:ln w="2860" cap="flat">
                  <a:noFill/>
                  <a:prstDash val="solid"/>
                  <a:miter/>
                </a:ln>
              </p:spPr>
              <p:txBody>
                <a:bodyPr rtlCol="0" anchor="ctr"/>
                <a:lstStyle/>
                <a:p>
                  <a:endParaRPr lang="en-GB" dirty="0"/>
                </a:p>
              </p:txBody>
            </p:sp>
            <p:sp>
              <p:nvSpPr>
                <p:cNvPr id="152" name="Freihandform: Form 267">
                  <a:extLst>
                    <a:ext uri="{FF2B5EF4-FFF2-40B4-BE49-F238E27FC236}">
                      <a16:creationId xmlns:a16="http://schemas.microsoft.com/office/drawing/2014/main" id="{05DC9430-2EFF-4C92-BB53-E88C43F3F60E}"/>
                    </a:ext>
                  </a:extLst>
                </p:cNvPr>
                <p:cNvSpPr/>
                <p:nvPr/>
              </p:nvSpPr>
              <p:spPr>
                <a:xfrm>
                  <a:off x="1258579" y="2562491"/>
                  <a:ext cx="56726" cy="17631"/>
                </a:xfrm>
                <a:custGeom>
                  <a:avLst/>
                  <a:gdLst>
                    <a:gd name="connsiteX0" fmla="*/ 6484 w 56726"/>
                    <a:gd name="connsiteY0" fmla="*/ 17631 h 17631"/>
                    <a:gd name="connsiteX1" fmla="*/ 36 w 56726"/>
                    <a:gd name="connsiteY1" fmla="*/ 11842 h 17631"/>
                    <a:gd name="connsiteX2" fmla="*/ 5796 w 56726"/>
                    <a:gd name="connsiteY2" fmla="*/ 4707 h 17631"/>
                    <a:gd name="connsiteX3" fmla="*/ 49555 w 56726"/>
                    <a:gd name="connsiteY3" fmla="*/ 36 h 17631"/>
                    <a:gd name="connsiteX4" fmla="*/ 56691 w 56726"/>
                    <a:gd name="connsiteY4" fmla="*/ 5796 h 17631"/>
                    <a:gd name="connsiteX5" fmla="*/ 50931 w 56726"/>
                    <a:gd name="connsiteY5" fmla="*/ 12931 h 17631"/>
                    <a:gd name="connsiteX6" fmla="*/ 7171 w 56726"/>
                    <a:gd name="connsiteY6" fmla="*/ 17603 h 17631"/>
                    <a:gd name="connsiteX7" fmla="*/ 6484 w 56726"/>
                    <a:gd name="connsiteY7" fmla="*/ 17631 h 1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726" h="17631">
                      <a:moveTo>
                        <a:pt x="6484" y="17631"/>
                      </a:moveTo>
                      <a:cubicBezTo>
                        <a:pt x="3217" y="17631"/>
                        <a:pt x="408" y="15167"/>
                        <a:pt x="36" y="11842"/>
                      </a:cubicBezTo>
                      <a:cubicBezTo>
                        <a:pt x="-337" y="8289"/>
                        <a:pt x="2242" y="5079"/>
                        <a:pt x="5796" y="4707"/>
                      </a:cubicBezTo>
                      <a:lnTo>
                        <a:pt x="49555" y="36"/>
                      </a:lnTo>
                      <a:cubicBezTo>
                        <a:pt x="53109" y="-337"/>
                        <a:pt x="56318" y="2242"/>
                        <a:pt x="56691" y="5796"/>
                      </a:cubicBezTo>
                      <a:cubicBezTo>
                        <a:pt x="57063" y="9349"/>
                        <a:pt x="54484" y="12559"/>
                        <a:pt x="50931" y="12931"/>
                      </a:cubicBezTo>
                      <a:lnTo>
                        <a:pt x="7171" y="17603"/>
                      </a:lnTo>
                      <a:cubicBezTo>
                        <a:pt x="6942" y="17603"/>
                        <a:pt x="6713" y="17631"/>
                        <a:pt x="6484" y="17631"/>
                      </a:cubicBezTo>
                      <a:close/>
                    </a:path>
                  </a:pathLst>
                </a:custGeom>
                <a:solidFill>
                  <a:schemeClr val="accent1"/>
                </a:solidFill>
                <a:ln w="2860" cap="flat">
                  <a:noFill/>
                  <a:prstDash val="solid"/>
                  <a:miter/>
                </a:ln>
              </p:spPr>
              <p:txBody>
                <a:bodyPr rtlCol="0" anchor="ctr"/>
                <a:lstStyle/>
                <a:p>
                  <a:endParaRPr lang="en-GB" dirty="0"/>
                </a:p>
              </p:txBody>
            </p:sp>
          </p:grpSp>
          <p:sp>
            <p:nvSpPr>
              <p:cNvPr id="143" name="Freihandform: Form 272">
                <a:extLst>
                  <a:ext uri="{FF2B5EF4-FFF2-40B4-BE49-F238E27FC236}">
                    <a16:creationId xmlns:a16="http://schemas.microsoft.com/office/drawing/2014/main" id="{EA569461-D2B5-46E7-AB9A-F3C73C1C89D8}"/>
                  </a:ext>
                </a:extLst>
              </p:cNvPr>
              <p:cNvSpPr/>
              <p:nvPr/>
            </p:nvSpPr>
            <p:spPr>
              <a:xfrm>
                <a:off x="953547" y="2679609"/>
                <a:ext cx="52439" cy="48613"/>
              </a:xfrm>
              <a:custGeom>
                <a:avLst/>
                <a:gdLst>
                  <a:gd name="connsiteX0" fmla="*/ 15573 w 52439"/>
                  <a:gd name="connsiteY0" fmla="*/ 48613 h 48613"/>
                  <a:gd name="connsiteX1" fmla="*/ 12880 w 52439"/>
                  <a:gd name="connsiteY1" fmla="*/ 48040 h 48613"/>
                  <a:gd name="connsiteX2" fmla="*/ 9498 w 52439"/>
                  <a:gd name="connsiteY2" fmla="*/ 44401 h 48613"/>
                  <a:gd name="connsiteX3" fmla="*/ 414 w 52439"/>
                  <a:gd name="connsiteY3" fmla="*/ 20100 h 48613"/>
                  <a:gd name="connsiteX4" fmla="*/ 4225 w 52439"/>
                  <a:gd name="connsiteY4" fmla="*/ 11760 h 48613"/>
                  <a:gd name="connsiteX5" fmla="*/ 34602 w 52439"/>
                  <a:gd name="connsiteY5" fmla="*/ 412 h 48613"/>
                  <a:gd name="connsiteX6" fmla="*/ 39559 w 52439"/>
                  <a:gd name="connsiteY6" fmla="*/ 584 h 48613"/>
                  <a:gd name="connsiteX7" fmla="*/ 42941 w 52439"/>
                  <a:gd name="connsiteY7" fmla="*/ 4223 h 48613"/>
                  <a:gd name="connsiteX8" fmla="*/ 52025 w 52439"/>
                  <a:gd name="connsiteY8" fmla="*/ 28525 h 48613"/>
                  <a:gd name="connsiteX9" fmla="*/ 48214 w 52439"/>
                  <a:gd name="connsiteY9" fmla="*/ 36864 h 48613"/>
                  <a:gd name="connsiteX10" fmla="*/ 17837 w 52439"/>
                  <a:gd name="connsiteY10" fmla="*/ 48212 h 48613"/>
                  <a:gd name="connsiteX11" fmla="*/ 15573 w 52439"/>
                  <a:gd name="connsiteY11" fmla="*/ 48613 h 48613"/>
                  <a:gd name="connsiteX12" fmla="*/ 14828 w 52439"/>
                  <a:gd name="connsiteY12" fmla="*/ 21647 h 48613"/>
                  <a:gd name="connsiteX13" fmla="*/ 19385 w 52439"/>
                  <a:gd name="connsiteY13" fmla="*/ 33798 h 48613"/>
                  <a:gd name="connsiteX14" fmla="*/ 37611 w 52439"/>
                  <a:gd name="connsiteY14" fmla="*/ 26977 h 48613"/>
                  <a:gd name="connsiteX15" fmla="*/ 33054 w 52439"/>
                  <a:gd name="connsiteY15" fmla="*/ 14827 h 48613"/>
                  <a:gd name="connsiteX16" fmla="*/ 14828 w 52439"/>
                  <a:gd name="connsiteY16" fmla="*/ 21647 h 48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439" h="48613">
                    <a:moveTo>
                      <a:pt x="15573" y="48613"/>
                    </a:moveTo>
                    <a:cubicBezTo>
                      <a:pt x="14656" y="48613"/>
                      <a:pt x="13739" y="48413"/>
                      <a:pt x="12880" y="48040"/>
                    </a:cubicBezTo>
                    <a:cubicBezTo>
                      <a:pt x="11304" y="47324"/>
                      <a:pt x="10100" y="46034"/>
                      <a:pt x="9498" y="44401"/>
                    </a:cubicBezTo>
                    <a:lnTo>
                      <a:pt x="414" y="20100"/>
                    </a:lnTo>
                    <a:cubicBezTo>
                      <a:pt x="-847" y="16747"/>
                      <a:pt x="872" y="13021"/>
                      <a:pt x="4225" y="11760"/>
                    </a:cubicBezTo>
                    <a:lnTo>
                      <a:pt x="34602" y="412"/>
                    </a:lnTo>
                    <a:cubicBezTo>
                      <a:pt x="36207" y="-190"/>
                      <a:pt x="38012" y="-132"/>
                      <a:pt x="39559" y="584"/>
                    </a:cubicBezTo>
                    <a:cubicBezTo>
                      <a:pt x="41136" y="1300"/>
                      <a:pt x="42339" y="2590"/>
                      <a:pt x="42941" y="4223"/>
                    </a:cubicBezTo>
                    <a:lnTo>
                      <a:pt x="52025" y="28525"/>
                    </a:lnTo>
                    <a:cubicBezTo>
                      <a:pt x="53286" y="31878"/>
                      <a:pt x="51567" y="35603"/>
                      <a:pt x="48214" y="36864"/>
                    </a:cubicBezTo>
                    <a:lnTo>
                      <a:pt x="17837" y="48212"/>
                    </a:lnTo>
                    <a:cubicBezTo>
                      <a:pt x="17121" y="48470"/>
                      <a:pt x="16347" y="48613"/>
                      <a:pt x="15573" y="48613"/>
                    </a:cubicBezTo>
                    <a:close/>
                    <a:moveTo>
                      <a:pt x="14828" y="21647"/>
                    </a:moveTo>
                    <a:lnTo>
                      <a:pt x="19385" y="33798"/>
                    </a:lnTo>
                    <a:lnTo>
                      <a:pt x="37611" y="26977"/>
                    </a:lnTo>
                    <a:lnTo>
                      <a:pt x="33054" y="14827"/>
                    </a:lnTo>
                    <a:lnTo>
                      <a:pt x="14828" y="21647"/>
                    </a:lnTo>
                    <a:close/>
                  </a:path>
                </a:pathLst>
              </a:custGeom>
              <a:solidFill>
                <a:schemeClr val="tx2"/>
              </a:solidFill>
              <a:ln w="2860" cap="flat">
                <a:noFill/>
                <a:prstDash val="solid"/>
                <a:miter/>
              </a:ln>
            </p:spPr>
            <p:txBody>
              <a:bodyPr rtlCol="0" anchor="ctr"/>
              <a:lstStyle/>
              <a:p>
                <a:endParaRPr lang="en-GB" dirty="0"/>
              </a:p>
            </p:txBody>
          </p:sp>
          <p:sp>
            <p:nvSpPr>
              <p:cNvPr id="144" name="Freihandform: Form 273">
                <a:extLst>
                  <a:ext uri="{FF2B5EF4-FFF2-40B4-BE49-F238E27FC236}">
                    <a16:creationId xmlns:a16="http://schemas.microsoft.com/office/drawing/2014/main" id="{3CE592C1-7A64-4A51-B1D1-10E21884DFE8}"/>
                  </a:ext>
                </a:extLst>
              </p:cNvPr>
              <p:cNvSpPr/>
              <p:nvPr/>
            </p:nvSpPr>
            <p:spPr>
              <a:xfrm>
                <a:off x="976915" y="2716071"/>
                <a:ext cx="12981" cy="84280"/>
              </a:xfrm>
              <a:custGeom>
                <a:avLst/>
                <a:gdLst>
                  <a:gd name="connsiteX0" fmla="*/ 0 w 12981"/>
                  <a:gd name="connsiteY0" fmla="*/ 0 h 84280"/>
                  <a:gd name="connsiteX1" fmla="*/ 12982 w 12981"/>
                  <a:gd name="connsiteY1" fmla="*/ 0 h 84280"/>
                  <a:gd name="connsiteX2" fmla="*/ 12982 w 12981"/>
                  <a:gd name="connsiteY2" fmla="*/ 84281 h 84280"/>
                  <a:gd name="connsiteX3" fmla="*/ 0 w 12981"/>
                  <a:gd name="connsiteY3" fmla="*/ 84281 h 84280"/>
                </a:gdLst>
                <a:ahLst/>
                <a:cxnLst>
                  <a:cxn ang="0">
                    <a:pos x="connsiteX0" y="connsiteY0"/>
                  </a:cxn>
                  <a:cxn ang="0">
                    <a:pos x="connsiteX1" y="connsiteY1"/>
                  </a:cxn>
                  <a:cxn ang="0">
                    <a:pos x="connsiteX2" y="connsiteY2"/>
                  </a:cxn>
                  <a:cxn ang="0">
                    <a:pos x="connsiteX3" y="connsiteY3"/>
                  </a:cxn>
                </a:cxnLst>
                <a:rect l="l" t="t" r="r" b="b"/>
                <a:pathLst>
                  <a:path w="12981" h="84280">
                    <a:moveTo>
                      <a:pt x="0" y="0"/>
                    </a:moveTo>
                    <a:lnTo>
                      <a:pt x="12982" y="0"/>
                    </a:lnTo>
                    <a:lnTo>
                      <a:pt x="12982" y="84281"/>
                    </a:lnTo>
                    <a:lnTo>
                      <a:pt x="0" y="84281"/>
                    </a:lnTo>
                    <a:close/>
                  </a:path>
                </a:pathLst>
              </a:custGeom>
              <a:solidFill>
                <a:schemeClr val="tx2"/>
              </a:solidFill>
              <a:ln w="2860" cap="flat">
                <a:noFill/>
                <a:prstDash val="solid"/>
                <a:miter/>
              </a:ln>
            </p:spPr>
            <p:txBody>
              <a:bodyPr rtlCol="0" anchor="ctr"/>
              <a:lstStyle/>
              <a:p>
                <a:endParaRPr lang="en-GB" dirty="0"/>
              </a:p>
            </p:txBody>
          </p:sp>
          <p:sp>
            <p:nvSpPr>
              <p:cNvPr id="145" name="Freihandform: Form 274">
                <a:extLst>
                  <a:ext uri="{FF2B5EF4-FFF2-40B4-BE49-F238E27FC236}">
                    <a16:creationId xmlns:a16="http://schemas.microsoft.com/office/drawing/2014/main" id="{F0B72EF0-8058-4F44-8DFA-57F3EA490129}"/>
                  </a:ext>
                </a:extLst>
              </p:cNvPr>
              <p:cNvSpPr/>
              <p:nvPr/>
            </p:nvSpPr>
            <p:spPr>
              <a:xfrm>
                <a:off x="944504" y="2800380"/>
                <a:ext cx="77804" cy="45364"/>
              </a:xfrm>
              <a:custGeom>
                <a:avLst/>
                <a:gdLst>
                  <a:gd name="connsiteX0" fmla="*/ 71328 w 77804"/>
                  <a:gd name="connsiteY0" fmla="*/ 45364 h 45364"/>
                  <a:gd name="connsiteX1" fmla="*/ 6477 w 77804"/>
                  <a:gd name="connsiteY1" fmla="*/ 45364 h 45364"/>
                  <a:gd name="connsiteX2" fmla="*/ 0 w 77804"/>
                  <a:gd name="connsiteY2" fmla="*/ 38888 h 45364"/>
                  <a:gd name="connsiteX3" fmla="*/ 0 w 77804"/>
                  <a:gd name="connsiteY3" fmla="*/ 6476 h 45364"/>
                  <a:gd name="connsiteX4" fmla="*/ 6477 w 77804"/>
                  <a:gd name="connsiteY4" fmla="*/ 0 h 45364"/>
                  <a:gd name="connsiteX5" fmla="*/ 71328 w 77804"/>
                  <a:gd name="connsiteY5" fmla="*/ 0 h 45364"/>
                  <a:gd name="connsiteX6" fmla="*/ 77804 w 77804"/>
                  <a:gd name="connsiteY6" fmla="*/ 6476 h 45364"/>
                  <a:gd name="connsiteX7" fmla="*/ 77804 w 77804"/>
                  <a:gd name="connsiteY7" fmla="*/ 38888 h 45364"/>
                  <a:gd name="connsiteX8" fmla="*/ 71328 w 77804"/>
                  <a:gd name="connsiteY8" fmla="*/ 45364 h 45364"/>
                  <a:gd name="connsiteX9" fmla="*/ 12982 w 77804"/>
                  <a:gd name="connsiteY9" fmla="*/ 32411 h 45364"/>
                  <a:gd name="connsiteX10" fmla="*/ 64851 w 77804"/>
                  <a:gd name="connsiteY10" fmla="*/ 32411 h 45364"/>
                  <a:gd name="connsiteX11" fmla="*/ 64851 w 77804"/>
                  <a:gd name="connsiteY11" fmla="*/ 12953 h 45364"/>
                  <a:gd name="connsiteX12" fmla="*/ 12982 w 77804"/>
                  <a:gd name="connsiteY12" fmla="*/ 12953 h 45364"/>
                  <a:gd name="connsiteX13" fmla="*/ 12982 w 77804"/>
                  <a:gd name="connsiteY13" fmla="*/ 32411 h 45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804" h="45364">
                    <a:moveTo>
                      <a:pt x="71328" y="45364"/>
                    </a:moveTo>
                    <a:lnTo>
                      <a:pt x="6477" y="45364"/>
                    </a:lnTo>
                    <a:cubicBezTo>
                      <a:pt x="2894" y="45364"/>
                      <a:pt x="0" y="42470"/>
                      <a:pt x="0" y="38888"/>
                    </a:cubicBezTo>
                    <a:lnTo>
                      <a:pt x="0" y="6476"/>
                    </a:lnTo>
                    <a:cubicBezTo>
                      <a:pt x="0" y="2894"/>
                      <a:pt x="2894" y="0"/>
                      <a:pt x="6477" y="0"/>
                    </a:cubicBezTo>
                    <a:lnTo>
                      <a:pt x="71328" y="0"/>
                    </a:lnTo>
                    <a:cubicBezTo>
                      <a:pt x="74910" y="0"/>
                      <a:pt x="77804" y="2894"/>
                      <a:pt x="77804" y="6476"/>
                    </a:cubicBezTo>
                    <a:lnTo>
                      <a:pt x="77804" y="38888"/>
                    </a:lnTo>
                    <a:cubicBezTo>
                      <a:pt x="77804" y="42470"/>
                      <a:pt x="74910" y="45364"/>
                      <a:pt x="71328" y="45364"/>
                    </a:cubicBezTo>
                    <a:close/>
                    <a:moveTo>
                      <a:pt x="12982" y="32411"/>
                    </a:moveTo>
                    <a:lnTo>
                      <a:pt x="64851" y="32411"/>
                    </a:lnTo>
                    <a:lnTo>
                      <a:pt x="64851" y="12953"/>
                    </a:lnTo>
                    <a:lnTo>
                      <a:pt x="12982" y="12953"/>
                    </a:lnTo>
                    <a:lnTo>
                      <a:pt x="12982" y="32411"/>
                    </a:lnTo>
                    <a:close/>
                  </a:path>
                </a:pathLst>
              </a:custGeom>
              <a:solidFill>
                <a:schemeClr val="tx2"/>
              </a:solidFill>
              <a:ln w="2860" cap="flat">
                <a:noFill/>
                <a:prstDash val="solid"/>
                <a:miter/>
              </a:ln>
            </p:spPr>
            <p:txBody>
              <a:bodyPr rtlCol="0" anchor="ctr"/>
              <a:lstStyle/>
              <a:p>
                <a:endParaRPr lang="en-GB" dirty="0"/>
              </a:p>
            </p:txBody>
          </p:sp>
          <p:sp>
            <p:nvSpPr>
              <p:cNvPr id="146" name="Freihandform: Form 275">
                <a:extLst>
                  <a:ext uri="{FF2B5EF4-FFF2-40B4-BE49-F238E27FC236}">
                    <a16:creationId xmlns:a16="http://schemas.microsoft.com/office/drawing/2014/main" id="{B0DDD61D-B688-404A-856A-CEC772B7D29A}"/>
                  </a:ext>
                </a:extLst>
              </p:cNvPr>
              <p:cNvSpPr/>
              <p:nvPr/>
            </p:nvSpPr>
            <p:spPr>
              <a:xfrm>
                <a:off x="976915" y="2839268"/>
                <a:ext cx="12981" cy="45392"/>
              </a:xfrm>
              <a:custGeom>
                <a:avLst/>
                <a:gdLst>
                  <a:gd name="connsiteX0" fmla="*/ 0 w 12981"/>
                  <a:gd name="connsiteY0" fmla="*/ 0 h 45392"/>
                  <a:gd name="connsiteX1" fmla="*/ 12982 w 12981"/>
                  <a:gd name="connsiteY1" fmla="*/ 0 h 45392"/>
                  <a:gd name="connsiteX2" fmla="*/ 12982 w 12981"/>
                  <a:gd name="connsiteY2" fmla="*/ 45393 h 45392"/>
                  <a:gd name="connsiteX3" fmla="*/ 0 w 12981"/>
                  <a:gd name="connsiteY3" fmla="*/ 45393 h 45392"/>
                </a:gdLst>
                <a:ahLst/>
                <a:cxnLst>
                  <a:cxn ang="0">
                    <a:pos x="connsiteX0" y="connsiteY0"/>
                  </a:cxn>
                  <a:cxn ang="0">
                    <a:pos x="connsiteX1" y="connsiteY1"/>
                  </a:cxn>
                  <a:cxn ang="0">
                    <a:pos x="connsiteX2" y="connsiteY2"/>
                  </a:cxn>
                  <a:cxn ang="0">
                    <a:pos x="connsiteX3" y="connsiteY3"/>
                  </a:cxn>
                </a:cxnLst>
                <a:rect l="l" t="t" r="r" b="b"/>
                <a:pathLst>
                  <a:path w="12981" h="45392">
                    <a:moveTo>
                      <a:pt x="0" y="0"/>
                    </a:moveTo>
                    <a:lnTo>
                      <a:pt x="12982" y="0"/>
                    </a:lnTo>
                    <a:lnTo>
                      <a:pt x="12982" y="45393"/>
                    </a:lnTo>
                    <a:lnTo>
                      <a:pt x="0" y="45393"/>
                    </a:lnTo>
                    <a:close/>
                  </a:path>
                </a:pathLst>
              </a:custGeom>
              <a:solidFill>
                <a:schemeClr val="tx2"/>
              </a:solidFill>
              <a:ln w="2860" cap="flat">
                <a:noFill/>
                <a:prstDash val="solid"/>
                <a:miter/>
              </a:ln>
            </p:spPr>
            <p:txBody>
              <a:bodyPr rtlCol="0" anchor="ctr"/>
              <a:lstStyle/>
              <a:p>
                <a:endParaRPr lang="en-GB" dirty="0"/>
              </a:p>
            </p:txBody>
          </p:sp>
          <p:sp>
            <p:nvSpPr>
              <p:cNvPr id="147" name="Freihandform: Form 276">
                <a:extLst>
                  <a:ext uri="{FF2B5EF4-FFF2-40B4-BE49-F238E27FC236}">
                    <a16:creationId xmlns:a16="http://schemas.microsoft.com/office/drawing/2014/main" id="{CC2A6360-4D41-457C-9658-EEA9C9B87478}"/>
                  </a:ext>
                </a:extLst>
              </p:cNvPr>
              <p:cNvSpPr/>
              <p:nvPr/>
            </p:nvSpPr>
            <p:spPr>
              <a:xfrm>
                <a:off x="1009348" y="2832784"/>
                <a:ext cx="32396" cy="58353"/>
              </a:xfrm>
              <a:custGeom>
                <a:avLst/>
                <a:gdLst>
                  <a:gd name="connsiteX0" fmla="*/ 25942 w 32396"/>
                  <a:gd name="connsiteY0" fmla="*/ 58353 h 58353"/>
                  <a:gd name="connsiteX1" fmla="*/ 19981 w 32396"/>
                  <a:gd name="connsiteY1" fmla="*/ 54427 h 58353"/>
                  <a:gd name="connsiteX2" fmla="*/ 523 w 32396"/>
                  <a:gd name="connsiteY2" fmla="*/ 9034 h 58353"/>
                  <a:gd name="connsiteX3" fmla="*/ 3933 w 32396"/>
                  <a:gd name="connsiteY3" fmla="*/ 523 h 58353"/>
                  <a:gd name="connsiteX4" fmla="*/ 12444 w 32396"/>
                  <a:gd name="connsiteY4" fmla="*/ 3933 h 58353"/>
                  <a:gd name="connsiteX5" fmla="*/ 31874 w 32396"/>
                  <a:gd name="connsiteY5" fmla="*/ 49326 h 58353"/>
                  <a:gd name="connsiteX6" fmla="*/ 28464 w 32396"/>
                  <a:gd name="connsiteY6" fmla="*/ 57837 h 58353"/>
                  <a:gd name="connsiteX7" fmla="*/ 25942 w 32396"/>
                  <a:gd name="connsiteY7" fmla="*/ 58353 h 5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96" h="58353">
                    <a:moveTo>
                      <a:pt x="25942" y="58353"/>
                    </a:moveTo>
                    <a:cubicBezTo>
                      <a:pt x="23420" y="58353"/>
                      <a:pt x="21042" y="56892"/>
                      <a:pt x="19981" y="54427"/>
                    </a:cubicBezTo>
                    <a:lnTo>
                      <a:pt x="523" y="9034"/>
                    </a:lnTo>
                    <a:cubicBezTo>
                      <a:pt x="-881" y="5739"/>
                      <a:pt x="638" y="1927"/>
                      <a:pt x="3933" y="523"/>
                    </a:cubicBezTo>
                    <a:cubicBezTo>
                      <a:pt x="7229" y="-881"/>
                      <a:pt x="11040" y="638"/>
                      <a:pt x="12444" y="3933"/>
                    </a:cubicBezTo>
                    <a:lnTo>
                      <a:pt x="31874" y="49326"/>
                    </a:lnTo>
                    <a:cubicBezTo>
                      <a:pt x="33278" y="52622"/>
                      <a:pt x="31759" y="56433"/>
                      <a:pt x="28464" y="57837"/>
                    </a:cubicBezTo>
                    <a:cubicBezTo>
                      <a:pt x="27661" y="58181"/>
                      <a:pt x="26773" y="58353"/>
                      <a:pt x="25942" y="58353"/>
                    </a:cubicBezTo>
                    <a:close/>
                  </a:path>
                </a:pathLst>
              </a:custGeom>
              <a:solidFill>
                <a:schemeClr val="tx2"/>
              </a:solidFill>
              <a:ln w="2860" cap="flat">
                <a:noFill/>
                <a:prstDash val="solid"/>
                <a:miter/>
              </a:ln>
            </p:spPr>
            <p:txBody>
              <a:bodyPr rtlCol="0" anchor="ctr"/>
              <a:lstStyle/>
              <a:p>
                <a:endParaRPr lang="en-GB" dirty="0"/>
              </a:p>
            </p:txBody>
          </p:sp>
          <p:sp>
            <p:nvSpPr>
              <p:cNvPr id="148" name="Freihandform: Form 277">
                <a:extLst>
                  <a:ext uri="{FF2B5EF4-FFF2-40B4-BE49-F238E27FC236}">
                    <a16:creationId xmlns:a16="http://schemas.microsoft.com/office/drawing/2014/main" id="{0DE85EF2-B5FA-4EB7-84CF-23895A99D6C5}"/>
                  </a:ext>
                </a:extLst>
              </p:cNvPr>
              <p:cNvSpPr/>
              <p:nvPr/>
            </p:nvSpPr>
            <p:spPr>
              <a:xfrm>
                <a:off x="924781" y="2832784"/>
                <a:ext cx="32396" cy="58353"/>
              </a:xfrm>
              <a:custGeom>
                <a:avLst/>
                <a:gdLst>
                  <a:gd name="connsiteX0" fmla="*/ 6484 w 32396"/>
                  <a:gd name="connsiteY0" fmla="*/ 58353 h 58353"/>
                  <a:gd name="connsiteX1" fmla="*/ 3933 w 32396"/>
                  <a:gd name="connsiteY1" fmla="*/ 57837 h 58353"/>
                  <a:gd name="connsiteX2" fmla="*/ 523 w 32396"/>
                  <a:gd name="connsiteY2" fmla="*/ 49326 h 58353"/>
                  <a:gd name="connsiteX3" fmla="*/ 19953 w 32396"/>
                  <a:gd name="connsiteY3" fmla="*/ 3933 h 58353"/>
                  <a:gd name="connsiteX4" fmla="*/ 28464 w 32396"/>
                  <a:gd name="connsiteY4" fmla="*/ 523 h 58353"/>
                  <a:gd name="connsiteX5" fmla="*/ 31874 w 32396"/>
                  <a:gd name="connsiteY5" fmla="*/ 9034 h 58353"/>
                  <a:gd name="connsiteX6" fmla="*/ 12444 w 32396"/>
                  <a:gd name="connsiteY6" fmla="*/ 54427 h 58353"/>
                  <a:gd name="connsiteX7" fmla="*/ 6484 w 32396"/>
                  <a:gd name="connsiteY7" fmla="*/ 58353 h 58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396" h="58353">
                    <a:moveTo>
                      <a:pt x="6484" y="58353"/>
                    </a:moveTo>
                    <a:cubicBezTo>
                      <a:pt x="5624" y="58353"/>
                      <a:pt x="4764" y="58181"/>
                      <a:pt x="3933" y="57837"/>
                    </a:cubicBezTo>
                    <a:cubicBezTo>
                      <a:pt x="638" y="56433"/>
                      <a:pt x="-881" y="52622"/>
                      <a:pt x="523" y="49326"/>
                    </a:cubicBezTo>
                    <a:lnTo>
                      <a:pt x="19953" y="3933"/>
                    </a:lnTo>
                    <a:cubicBezTo>
                      <a:pt x="21357" y="638"/>
                      <a:pt x="25168" y="-881"/>
                      <a:pt x="28464" y="523"/>
                    </a:cubicBezTo>
                    <a:cubicBezTo>
                      <a:pt x="31759" y="1927"/>
                      <a:pt x="33278" y="5739"/>
                      <a:pt x="31874" y="9034"/>
                    </a:cubicBezTo>
                    <a:lnTo>
                      <a:pt x="12444" y="54427"/>
                    </a:lnTo>
                    <a:cubicBezTo>
                      <a:pt x="11384" y="56892"/>
                      <a:pt x="9006" y="58353"/>
                      <a:pt x="6484" y="58353"/>
                    </a:cubicBezTo>
                    <a:close/>
                  </a:path>
                </a:pathLst>
              </a:custGeom>
              <a:solidFill>
                <a:schemeClr val="tx2"/>
              </a:solidFill>
              <a:ln w="2860" cap="flat">
                <a:noFill/>
                <a:prstDash val="solid"/>
                <a:miter/>
              </a:ln>
            </p:spPr>
            <p:txBody>
              <a:bodyPr rtlCol="0" anchor="ctr"/>
              <a:lstStyle/>
              <a:p>
                <a:endParaRPr lang="en-GB" dirty="0"/>
              </a:p>
            </p:txBody>
          </p:sp>
        </p:grpSp>
      </p:grpSp>
      <p:grpSp>
        <p:nvGrpSpPr>
          <p:cNvPr id="156" name="Gruppieren 997">
            <a:extLst>
              <a:ext uri="{FF2B5EF4-FFF2-40B4-BE49-F238E27FC236}">
                <a16:creationId xmlns:a16="http://schemas.microsoft.com/office/drawing/2014/main" id="{BC0A62C4-2237-4DFC-90BC-982F6D230E34}"/>
              </a:ext>
            </a:extLst>
          </p:cNvPr>
          <p:cNvGrpSpPr>
            <a:grpSpLocks noChangeAspect="1"/>
          </p:cNvGrpSpPr>
          <p:nvPr/>
        </p:nvGrpSpPr>
        <p:grpSpPr>
          <a:xfrm>
            <a:off x="1622376" y="2391527"/>
            <a:ext cx="434218" cy="432006"/>
            <a:chOff x="3363049" y="2463185"/>
            <a:chExt cx="430144" cy="427952"/>
          </a:xfrm>
        </p:grpSpPr>
        <p:grpSp>
          <p:nvGrpSpPr>
            <p:cNvPr id="157" name="Gruppieren 995">
              <a:extLst>
                <a:ext uri="{FF2B5EF4-FFF2-40B4-BE49-F238E27FC236}">
                  <a16:creationId xmlns:a16="http://schemas.microsoft.com/office/drawing/2014/main" id="{7AB90507-84CF-48AD-B7F3-DDAC07EE42B9}"/>
                </a:ext>
              </a:extLst>
            </p:cNvPr>
            <p:cNvGrpSpPr/>
            <p:nvPr/>
          </p:nvGrpSpPr>
          <p:grpSpPr>
            <a:xfrm>
              <a:off x="3365223" y="2463185"/>
              <a:ext cx="427970" cy="356619"/>
              <a:chOff x="3365222" y="2463190"/>
              <a:chExt cx="427970" cy="356620"/>
            </a:xfrm>
          </p:grpSpPr>
          <p:sp>
            <p:nvSpPr>
              <p:cNvPr id="170" name="Freihandform: Form 316">
                <a:extLst>
                  <a:ext uri="{FF2B5EF4-FFF2-40B4-BE49-F238E27FC236}">
                    <a16:creationId xmlns:a16="http://schemas.microsoft.com/office/drawing/2014/main" id="{327B452E-E39A-4AD3-86B0-9F4281F2C6AF}"/>
                  </a:ext>
                </a:extLst>
              </p:cNvPr>
              <p:cNvSpPr/>
              <p:nvPr/>
            </p:nvSpPr>
            <p:spPr>
              <a:xfrm>
                <a:off x="3414918" y="2579921"/>
                <a:ext cx="12953" cy="239888"/>
              </a:xfrm>
              <a:custGeom>
                <a:avLst/>
                <a:gdLst>
                  <a:gd name="connsiteX0" fmla="*/ 6477 w 12953"/>
                  <a:gd name="connsiteY0" fmla="*/ 239889 h 239888"/>
                  <a:gd name="connsiteX1" fmla="*/ 0 w 12953"/>
                  <a:gd name="connsiteY1" fmla="*/ 233412 h 239888"/>
                  <a:gd name="connsiteX2" fmla="*/ 0 w 12953"/>
                  <a:gd name="connsiteY2" fmla="*/ 6477 h 239888"/>
                  <a:gd name="connsiteX3" fmla="*/ 6477 w 12953"/>
                  <a:gd name="connsiteY3" fmla="*/ 0 h 239888"/>
                  <a:gd name="connsiteX4" fmla="*/ 12953 w 12953"/>
                  <a:gd name="connsiteY4" fmla="*/ 6477 h 239888"/>
                  <a:gd name="connsiteX5" fmla="*/ 12953 w 12953"/>
                  <a:gd name="connsiteY5" fmla="*/ 233412 h 239888"/>
                  <a:gd name="connsiteX6" fmla="*/ 6477 w 12953"/>
                  <a:gd name="connsiteY6" fmla="*/ 239889 h 23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3" h="239888">
                    <a:moveTo>
                      <a:pt x="6477" y="239889"/>
                    </a:moveTo>
                    <a:cubicBezTo>
                      <a:pt x="2894" y="239889"/>
                      <a:pt x="0" y="236994"/>
                      <a:pt x="0" y="233412"/>
                    </a:cubicBezTo>
                    <a:lnTo>
                      <a:pt x="0" y="6477"/>
                    </a:lnTo>
                    <a:cubicBezTo>
                      <a:pt x="0" y="2894"/>
                      <a:pt x="2894" y="0"/>
                      <a:pt x="6477" y="0"/>
                    </a:cubicBezTo>
                    <a:cubicBezTo>
                      <a:pt x="10059" y="0"/>
                      <a:pt x="12953" y="2894"/>
                      <a:pt x="12953" y="6477"/>
                    </a:cubicBezTo>
                    <a:lnTo>
                      <a:pt x="12953" y="233412"/>
                    </a:lnTo>
                    <a:cubicBezTo>
                      <a:pt x="12982" y="236994"/>
                      <a:pt x="10087" y="239889"/>
                      <a:pt x="6477" y="239889"/>
                    </a:cubicBezTo>
                    <a:close/>
                  </a:path>
                </a:pathLst>
              </a:custGeom>
              <a:solidFill>
                <a:schemeClr val="tx2"/>
              </a:solidFill>
              <a:ln w="2860" cap="flat">
                <a:noFill/>
                <a:prstDash val="solid"/>
                <a:miter/>
              </a:ln>
            </p:spPr>
            <p:txBody>
              <a:bodyPr rtlCol="0" anchor="ctr"/>
              <a:lstStyle/>
              <a:p>
                <a:endParaRPr lang="en-GB" dirty="0"/>
              </a:p>
            </p:txBody>
          </p:sp>
          <p:sp>
            <p:nvSpPr>
              <p:cNvPr id="171" name="Freihandform: Form 317">
                <a:extLst>
                  <a:ext uri="{FF2B5EF4-FFF2-40B4-BE49-F238E27FC236}">
                    <a16:creationId xmlns:a16="http://schemas.microsoft.com/office/drawing/2014/main" id="{59E0190E-6A0A-4D9F-966E-871B449B39A1}"/>
                  </a:ext>
                </a:extLst>
              </p:cNvPr>
              <p:cNvSpPr/>
              <p:nvPr/>
            </p:nvSpPr>
            <p:spPr>
              <a:xfrm>
                <a:off x="3726163" y="2579921"/>
                <a:ext cx="12952" cy="239888"/>
              </a:xfrm>
              <a:custGeom>
                <a:avLst/>
                <a:gdLst>
                  <a:gd name="connsiteX0" fmla="*/ 6476 w 12952"/>
                  <a:gd name="connsiteY0" fmla="*/ 239889 h 239888"/>
                  <a:gd name="connsiteX1" fmla="*/ 0 w 12952"/>
                  <a:gd name="connsiteY1" fmla="*/ 233412 h 239888"/>
                  <a:gd name="connsiteX2" fmla="*/ 0 w 12952"/>
                  <a:gd name="connsiteY2" fmla="*/ 6477 h 239888"/>
                  <a:gd name="connsiteX3" fmla="*/ 6476 w 12952"/>
                  <a:gd name="connsiteY3" fmla="*/ 0 h 239888"/>
                  <a:gd name="connsiteX4" fmla="*/ 12953 w 12952"/>
                  <a:gd name="connsiteY4" fmla="*/ 6477 h 239888"/>
                  <a:gd name="connsiteX5" fmla="*/ 12953 w 12952"/>
                  <a:gd name="connsiteY5" fmla="*/ 233412 h 239888"/>
                  <a:gd name="connsiteX6" fmla="*/ 6476 w 12952"/>
                  <a:gd name="connsiteY6" fmla="*/ 239889 h 23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39888">
                    <a:moveTo>
                      <a:pt x="6476" y="239889"/>
                    </a:moveTo>
                    <a:cubicBezTo>
                      <a:pt x="2894" y="239889"/>
                      <a:pt x="0" y="236994"/>
                      <a:pt x="0" y="233412"/>
                    </a:cubicBezTo>
                    <a:lnTo>
                      <a:pt x="0" y="6477"/>
                    </a:lnTo>
                    <a:cubicBezTo>
                      <a:pt x="0" y="2894"/>
                      <a:pt x="2894" y="0"/>
                      <a:pt x="6476" y="0"/>
                    </a:cubicBezTo>
                    <a:cubicBezTo>
                      <a:pt x="10058" y="0"/>
                      <a:pt x="12953" y="2894"/>
                      <a:pt x="12953" y="6477"/>
                    </a:cubicBezTo>
                    <a:lnTo>
                      <a:pt x="12953" y="233412"/>
                    </a:lnTo>
                    <a:cubicBezTo>
                      <a:pt x="12953" y="236994"/>
                      <a:pt x="10058" y="239889"/>
                      <a:pt x="6476" y="239889"/>
                    </a:cubicBezTo>
                    <a:close/>
                  </a:path>
                </a:pathLst>
              </a:custGeom>
              <a:solidFill>
                <a:schemeClr val="tx2"/>
              </a:solidFill>
              <a:ln w="2860" cap="flat">
                <a:noFill/>
                <a:prstDash val="solid"/>
                <a:miter/>
              </a:ln>
            </p:spPr>
            <p:txBody>
              <a:bodyPr rtlCol="0" anchor="ctr"/>
              <a:lstStyle/>
              <a:p>
                <a:endParaRPr lang="en-GB" dirty="0"/>
              </a:p>
            </p:txBody>
          </p:sp>
          <p:sp>
            <p:nvSpPr>
              <p:cNvPr id="172" name="Freihandform: Form 318">
                <a:extLst>
                  <a:ext uri="{FF2B5EF4-FFF2-40B4-BE49-F238E27FC236}">
                    <a16:creationId xmlns:a16="http://schemas.microsoft.com/office/drawing/2014/main" id="{FADB07B7-9C8A-4116-B985-151DB3CD1749}"/>
                  </a:ext>
                </a:extLst>
              </p:cNvPr>
              <p:cNvSpPr/>
              <p:nvPr/>
            </p:nvSpPr>
            <p:spPr>
              <a:xfrm>
                <a:off x="3680799" y="2806857"/>
                <a:ext cx="97233" cy="12953"/>
              </a:xfrm>
              <a:custGeom>
                <a:avLst/>
                <a:gdLst>
                  <a:gd name="connsiteX0" fmla="*/ 90757 w 97233"/>
                  <a:gd name="connsiteY0" fmla="*/ 12953 h 12953"/>
                  <a:gd name="connsiteX1" fmla="*/ 6477 w 97233"/>
                  <a:gd name="connsiteY1" fmla="*/ 12953 h 12953"/>
                  <a:gd name="connsiteX2" fmla="*/ 0 w 97233"/>
                  <a:gd name="connsiteY2" fmla="*/ 6477 h 12953"/>
                  <a:gd name="connsiteX3" fmla="*/ 6477 w 97233"/>
                  <a:gd name="connsiteY3" fmla="*/ 0 h 12953"/>
                  <a:gd name="connsiteX4" fmla="*/ 90757 w 97233"/>
                  <a:gd name="connsiteY4" fmla="*/ 0 h 12953"/>
                  <a:gd name="connsiteX5" fmla="*/ 97234 w 97233"/>
                  <a:gd name="connsiteY5" fmla="*/ 6477 h 12953"/>
                  <a:gd name="connsiteX6" fmla="*/ 90757 w 97233"/>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233" h="12953">
                    <a:moveTo>
                      <a:pt x="90757" y="12953"/>
                    </a:moveTo>
                    <a:lnTo>
                      <a:pt x="6477" y="12953"/>
                    </a:lnTo>
                    <a:cubicBezTo>
                      <a:pt x="2894" y="12953"/>
                      <a:pt x="0" y="10059"/>
                      <a:pt x="0" y="6477"/>
                    </a:cubicBezTo>
                    <a:cubicBezTo>
                      <a:pt x="0" y="2894"/>
                      <a:pt x="2894" y="0"/>
                      <a:pt x="6477" y="0"/>
                    </a:cubicBezTo>
                    <a:lnTo>
                      <a:pt x="90757" y="0"/>
                    </a:lnTo>
                    <a:cubicBezTo>
                      <a:pt x="94339" y="0"/>
                      <a:pt x="97234" y="2894"/>
                      <a:pt x="97234" y="6477"/>
                    </a:cubicBezTo>
                    <a:cubicBezTo>
                      <a:pt x="97234" y="10059"/>
                      <a:pt x="94339" y="12953"/>
                      <a:pt x="90757" y="12953"/>
                    </a:cubicBezTo>
                    <a:close/>
                  </a:path>
                </a:pathLst>
              </a:custGeom>
              <a:solidFill>
                <a:schemeClr val="tx2"/>
              </a:solidFill>
              <a:ln w="2860" cap="flat">
                <a:noFill/>
                <a:prstDash val="solid"/>
                <a:miter/>
              </a:ln>
            </p:spPr>
            <p:txBody>
              <a:bodyPr rtlCol="0" anchor="ctr"/>
              <a:lstStyle/>
              <a:p>
                <a:endParaRPr lang="en-GB" dirty="0"/>
              </a:p>
            </p:txBody>
          </p:sp>
          <p:sp>
            <p:nvSpPr>
              <p:cNvPr id="173" name="Freihandform: Form 319">
                <a:extLst>
                  <a:ext uri="{FF2B5EF4-FFF2-40B4-BE49-F238E27FC236}">
                    <a16:creationId xmlns:a16="http://schemas.microsoft.com/office/drawing/2014/main" id="{3F84C8AD-E7C8-401E-A57E-8B8E1D415D75}"/>
                  </a:ext>
                </a:extLst>
              </p:cNvPr>
              <p:cNvSpPr/>
              <p:nvPr/>
            </p:nvSpPr>
            <p:spPr>
              <a:xfrm>
                <a:off x="3479769" y="2806857"/>
                <a:ext cx="188019" cy="12953"/>
              </a:xfrm>
              <a:custGeom>
                <a:avLst/>
                <a:gdLst>
                  <a:gd name="connsiteX0" fmla="*/ 181543 w 188019"/>
                  <a:gd name="connsiteY0" fmla="*/ 12953 h 12953"/>
                  <a:gd name="connsiteX1" fmla="*/ 6477 w 188019"/>
                  <a:gd name="connsiteY1" fmla="*/ 12953 h 12953"/>
                  <a:gd name="connsiteX2" fmla="*/ 0 w 188019"/>
                  <a:gd name="connsiteY2" fmla="*/ 6477 h 12953"/>
                  <a:gd name="connsiteX3" fmla="*/ 6477 w 188019"/>
                  <a:gd name="connsiteY3" fmla="*/ 0 h 12953"/>
                  <a:gd name="connsiteX4" fmla="*/ 181543 w 188019"/>
                  <a:gd name="connsiteY4" fmla="*/ 0 h 12953"/>
                  <a:gd name="connsiteX5" fmla="*/ 188019 w 188019"/>
                  <a:gd name="connsiteY5" fmla="*/ 6477 h 12953"/>
                  <a:gd name="connsiteX6" fmla="*/ 181543 w 188019"/>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8019" h="12953">
                    <a:moveTo>
                      <a:pt x="181543" y="12953"/>
                    </a:moveTo>
                    <a:lnTo>
                      <a:pt x="6477" y="12953"/>
                    </a:lnTo>
                    <a:cubicBezTo>
                      <a:pt x="2894" y="12953"/>
                      <a:pt x="0" y="10059"/>
                      <a:pt x="0" y="6477"/>
                    </a:cubicBezTo>
                    <a:cubicBezTo>
                      <a:pt x="0" y="2894"/>
                      <a:pt x="2894" y="0"/>
                      <a:pt x="6477" y="0"/>
                    </a:cubicBezTo>
                    <a:lnTo>
                      <a:pt x="181543" y="0"/>
                    </a:lnTo>
                    <a:cubicBezTo>
                      <a:pt x="185125" y="0"/>
                      <a:pt x="188019" y="2894"/>
                      <a:pt x="188019" y="6477"/>
                    </a:cubicBezTo>
                    <a:cubicBezTo>
                      <a:pt x="188019" y="10059"/>
                      <a:pt x="185125" y="12953"/>
                      <a:pt x="181543" y="12953"/>
                    </a:cubicBezTo>
                    <a:close/>
                  </a:path>
                </a:pathLst>
              </a:custGeom>
              <a:solidFill>
                <a:schemeClr val="tx2"/>
              </a:solidFill>
              <a:ln w="2860" cap="flat">
                <a:noFill/>
                <a:prstDash val="solid"/>
                <a:miter/>
              </a:ln>
            </p:spPr>
            <p:txBody>
              <a:bodyPr rtlCol="0" anchor="ctr"/>
              <a:lstStyle/>
              <a:p>
                <a:endParaRPr lang="en-GB" dirty="0"/>
              </a:p>
            </p:txBody>
          </p:sp>
          <p:sp>
            <p:nvSpPr>
              <p:cNvPr id="174" name="Freihandform: Form 320">
                <a:extLst>
                  <a:ext uri="{FF2B5EF4-FFF2-40B4-BE49-F238E27FC236}">
                    <a16:creationId xmlns:a16="http://schemas.microsoft.com/office/drawing/2014/main" id="{EF0C9A78-2BAF-4C8E-AC76-2291DCA5C2A2}"/>
                  </a:ext>
                </a:extLst>
              </p:cNvPr>
              <p:cNvSpPr/>
              <p:nvPr/>
            </p:nvSpPr>
            <p:spPr>
              <a:xfrm>
                <a:off x="3376031" y="2806857"/>
                <a:ext cx="90756" cy="12953"/>
              </a:xfrm>
              <a:custGeom>
                <a:avLst/>
                <a:gdLst>
                  <a:gd name="connsiteX0" fmla="*/ 84280 w 90756"/>
                  <a:gd name="connsiteY0" fmla="*/ 12953 h 12953"/>
                  <a:gd name="connsiteX1" fmla="*/ 6476 w 90756"/>
                  <a:gd name="connsiteY1" fmla="*/ 12953 h 12953"/>
                  <a:gd name="connsiteX2" fmla="*/ 0 w 90756"/>
                  <a:gd name="connsiteY2" fmla="*/ 6477 h 12953"/>
                  <a:gd name="connsiteX3" fmla="*/ 6476 w 90756"/>
                  <a:gd name="connsiteY3" fmla="*/ 0 h 12953"/>
                  <a:gd name="connsiteX4" fmla="*/ 84280 w 90756"/>
                  <a:gd name="connsiteY4" fmla="*/ 0 h 12953"/>
                  <a:gd name="connsiteX5" fmla="*/ 90757 w 90756"/>
                  <a:gd name="connsiteY5" fmla="*/ 6477 h 12953"/>
                  <a:gd name="connsiteX6" fmla="*/ 84280 w 90756"/>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56" h="12953">
                    <a:moveTo>
                      <a:pt x="84280" y="12953"/>
                    </a:moveTo>
                    <a:lnTo>
                      <a:pt x="6476" y="12953"/>
                    </a:lnTo>
                    <a:cubicBezTo>
                      <a:pt x="2894" y="12953"/>
                      <a:pt x="0" y="10059"/>
                      <a:pt x="0" y="6477"/>
                    </a:cubicBezTo>
                    <a:cubicBezTo>
                      <a:pt x="0" y="2894"/>
                      <a:pt x="2894" y="0"/>
                      <a:pt x="6476" y="0"/>
                    </a:cubicBezTo>
                    <a:lnTo>
                      <a:pt x="84280" y="0"/>
                    </a:lnTo>
                    <a:cubicBezTo>
                      <a:pt x="87863" y="0"/>
                      <a:pt x="90757" y="2894"/>
                      <a:pt x="90757" y="6477"/>
                    </a:cubicBezTo>
                    <a:cubicBezTo>
                      <a:pt x="90757" y="10059"/>
                      <a:pt x="87863" y="12953"/>
                      <a:pt x="84280" y="12953"/>
                    </a:cubicBezTo>
                    <a:close/>
                  </a:path>
                </a:pathLst>
              </a:custGeom>
              <a:solidFill>
                <a:schemeClr val="tx2"/>
              </a:solidFill>
              <a:ln w="2860" cap="flat">
                <a:noFill/>
                <a:prstDash val="solid"/>
                <a:miter/>
              </a:ln>
            </p:spPr>
            <p:txBody>
              <a:bodyPr rtlCol="0" anchor="ctr"/>
              <a:lstStyle/>
              <a:p>
                <a:endParaRPr lang="en-GB" dirty="0"/>
              </a:p>
            </p:txBody>
          </p:sp>
          <p:sp>
            <p:nvSpPr>
              <p:cNvPr id="175" name="Freihandform: Form 321">
                <a:extLst>
                  <a:ext uri="{FF2B5EF4-FFF2-40B4-BE49-F238E27FC236}">
                    <a16:creationId xmlns:a16="http://schemas.microsoft.com/office/drawing/2014/main" id="{5051EC09-0CA3-4171-B7E3-FDA723E90B22}"/>
                  </a:ext>
                </a:extLst>
              </p:cNvPr>
              <p:cNvSpPr/>
              <p:nvPr/>
            </p:nvSpPr>
            <p:spPr>
              <a:xfrm>
                <a:off x="3365222" y="2463190"/>
                <a:ext cx="427970" cy="165137"/>
              </a:xfrm>
              <a:custGeom>
                <a:avLst/>
                <a:gdLst>
                  <a:gd name="connsiteX0" fmla="*/ 421436 w 427970"/>
                  <a:gd name="connsiteY0" fmla="*/ 165133 h 165137"/>
                  <a:gd name="connsiteX1" fmla="*/ 417625 w 427970"/>
                  <a:gd name="connsiteY1" fmla="*/ 163901 h 165137"/>
                  <a:gd name="connsiteX2" fmla="*/ 212468 w 427970"/>
                  <a:gd name="connsiteY2" fmla="*/ 14540 h 165137"/>
                  <a:gd name="connsiteX3" fmla="*/ 10321 w 427970"/>
                  <a:gd name="connsiteY3" fmla="*/ 163872 h 165137"/>
                  <a:gd name="connsiteX4" fmla="*/ 1266 w 427970"/>
                  <a:gd name="connsiteY4" fmla="*/ 162496 h 165137"/>
                  <a:gd name="connsiteX5" fmla="*/ 2641 w 427970"/>
                  <a:gd name="connsiteY5" fmla="*/ 153441 h 165137"/>
                  <a:gd name="connsiteX6" fmla="*/ 208628 w 427970"/>
                  <a:gd name="connsiteY6" fmla="*/ 1272 h 165137"/>
                  <a:gd name="connsiteX7" fmla="*/ 216308 w 427970"/>
                  <a:gd name="connsiteY7" fmla="*/ 1243 h 165137"/>
                  <a:gd name="connsiteX8" fmla="*/ 425305 w 427970"/>
                  <a:gd name="connsiteY8" fmla="*/ 153412 h 165137"/>
                  <a:gd name="connsiteX9" fmla="*/ 426737 w 427970"/>
                  <a:gd name="connsiteY9" fmla="*/ 162468 h 165137"/>
                  <a:gd name="connsiteX10" fmla="*/ 421436 w 427970"/>
                  <a:gd name="connsiteY10" fmla="*/ 165133 h 165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7970" h="165137">
                    <a:moveTo>
                      <a:pt x="421436" y="165133"/>
                    </a:moveTo>
                    <a:cubicBezTo>
                      <a:pt x="420118" y="165133"/>
                      <a:pt x="418771" y="164732"/>
                      <a:pt x="417625" y="163901"/>
                    </a:cubicBezTo>
                    <a:lnTo>
                      <a:pt x="212468" y="14540"/>
                    </a:lnTo>
                    <a:lnTo>
                      <a:pt x="10321" y="163872"/>
                    </a:lnTo>
                    <a:cubicBezTo>
                      <a:pt x="7427" y="165993"/>
                      <a:pt x="3386" y="165391"/>
                      <a:pt x="1266" y="162496"/>
                    </a:cubicBezTo>
                    <a:cubicBezTo>
                      <a:pt x="-855" y="159602"/>
                      <a:pt x="-253" y="155562"/>
                      <a:pt x="2641" y="153441"/>
                    </a:cubicBezTo>
                    <a:lnTo>
                      <a:pt x="208628" y="1272"/>
                    </a:lnTo>
                    <a:cubicBezTo>
                      <a:pt x="210892" y="-419"/>
                      <a:pt x="214016" y="-419"/>
                      <a:pt x="216308" y="1243"/>
                    </a:cubicBezTo>
                    <a:lnTo>
                      <a:pt x="425305" y="153412"/>
                    </a:lnTo>
                    <a:cubicBezTo>
                      <a:pt x="428199" y="155533"/>
                      <a:pt x="428830" y="159573"/>
                      <a:pt x="426737" y="162468"/>
                    </a:cubicBezTo>
                    <a:cubicBezTo>
                      <a:pt x="425419" y="164216"/>
                      <a:pt x="423442" y="165133"/>
                      <a:pt x="421436" y="165133"/>
                    </a:cubicBezTo>
                    <a:close/>
                  </a:path>
                </a:pathLst>
              </a:custGeom>
              <a:solidFill>
                <a:schemeClr val="tx2"/>
              </a:solidFill>
              <a:ln w="2860" cap="flat">
                <a:noFill/>
                <a:prstDash val="solid"/>
                <a:miter/>
              </a:ln>
            </p:spPr>
            <p:txBody>
              <a:bodyPr rtlCol="0" anchor="ctr"/>
              <a:lstStyle/>
              <a:p>
                <a:endParaRPr lang="en-GB" dirty="0"/>
              </a:p>
            </p:txBody>
          </p:sp>
          <p:sp>
            <p:nvSpPr>
              <p:cNvPr id="176" name="Freihandform: Form 333">
                <a:extLst>
                  <a:ext uri="{FF2B5EF4-FFF2-40B4-BE49-F238E27FC236}">
                    <a16:creationId xmlns:a16="http://schemas.microsoft.com/office/drawing/2014/main" id="{22232F08-69AF-4AE0-BE3A-EE67D6BEBB63}"/>
                  </a:ext>
                </a:extLst>
              </p:cNvPr>
              <p:cNvSpPr/>
              <p:nvPr/>
            </p:nvSpPr>
            <p:spPr>
              <a:xfrm>
                <a:off x="3486246" y="2592903"/>
                <a:ext cx="181542" cy="12952"/>
              </a:xfrm>
              <a:custGeom>
                <a:avLst/>
                <a:gdLst>
                  <a:gd name="connsiteX0" fmla="*/ 175066 w 181542"/>
                  <a:gd name="connsiteY0" fmla="*/ 12953 h 12952"/>
                  <a:gd name="connsiteX1" fmla="*/ 6477 w 181542"/>
                  <a:gd name="connsiteY1" fmla="*/ 12953 h 12952"/>
                  <a:gd name="connsiteX2" fmla="*/ 0 w 181542"/>
                  <a:gd name="connsiteY2" fmla="*/ 6476 h 12952"/>
                  <a:gd name="connsiteX3" fmla="*/ 6477 w 181542"/>
                  <a:gd name="connsiteY3" fmla="*/ 0 h 12952"/>
                  <a:gd name="connsiteX4" fmla="*/ 175066 w 181542"/>
                  <a:gd name="connsiteY4" fmla="*/ 0 h 12952"/>
                  <a:gd name="connsiteX5" fmla="*/ 181543 w 181542"/>
                  <a:gd name="connsiteY5" fmla="*/ 6476 h 12952"/>
                  <a:gd name="connsiteX6" fmla="*/ 175066 w 181542"/>
                  <a:gd name="connsiteY6" fmla="*/ 12953 h 1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1542" h="12952">
                    <a:moveTo>
                      <a:pt x="175066" y="12953"/>
                    </a:moveTo>
                    <a:lnTo>
                      <a:pt x="6477" y="12953"/>
                    </a:lnTo>
                    <a:cubicBezTo>
                      <a:pt x="2894" y="12953"/>
                      <a:pt x="0" y="10059"/>
                      <a:pt x="0" y="6476"/>
                    </a:cubicBezTo>
                    <a:cubicBezTo>
                      <a:pt x="0" y="2894"/>
                      <a:pt x="2894" y="0"/>
                      <a:pt x="6477" y="0"/>
                    </a:cubicBezTo>
                    <a:lnTo>
                      <a:pt x="175066" y="0"/>
                    </a:lnTo>
                    <a:cubicBezTo>
                      <a:pt x="178648" y="0"/>
                      <a:pt x="181543" y="2894"/>
                      <a:pt x="181543" y="6476"/>
                    </a:cubicBezTo>
                    <a:cubicBezTo>
                      <a:pt x="181543" y="10059"/>
                      <a:pt x="178648" y="12953"/>
                      <a:pt x="175066" y="12953"/>
                    </a:cubicBezTo>
                    <a:close/>
                  </a:path>
                </a:pathLst>
              </a:custGeom>
              <a:solidFill>
                <a:schemeClr val="tx2"/>
              </a:solidFill>
              <a:ln w="2860" cap="flat">
                <a:noFill/>
                <a:prstDash val="solid"/>
                <a:miter/>
              </a:ln>
            </p:spPr>
            <p:txBody>
              <a:bodyPr rtlCol="0" anchor="ctr"/>
              <a:lstStyle/>
              <a:p>
                <a:endParaRPr lang="en-GB" dirty="0"/>
              </a:p>
            </p:txBody>
          </p:sp>
          <p:sp>
            <p:nvSpPr>
              <p:cNvPr id="177" name="Freihandform: Form 334">
                <a:extLst>
                  <a:ext uri="{FF2B5EF4-FFF2-40B4-BE49-F238E27FC236}">
                    <a16:creationId xmlns:a16="http://schemas.microsoft.com/office/drawing/2014/main" id="{9194E349-27F8-41FD-9312-63C44A6ABB52}"/>
                  </a:ext>
                </a:extLst>
              </p:cNvPr>
              <p:cNvSpPr/>
              <p:nvPr/>
            </p:nvSpPr>
            <p:spPr>
              <a:xfrm>
                <a:off x="3531639" y="2618838"/>
                <a:ext cx="90756" cy="12952"/>
              </a:xfrm>
              <a:custGeom>
                <a:avLst/>
                <a:gdLst>
                  <a:gd name="connsiteX0" fmla="*/ 84280 w 90756"/>
                  <a:gd name="connsiteY0" fmla="*/ 12953 h 12952"/>
                  <a:gd name="connsiteX1" fmla="*/ 6477 w 90756"/>
                  <a:gd name="connsiteY1" fmla="*/ 12953 h 12952"/>
                  <a:gd name="connsiteX2" fmla="*/ 0 w 90756"/>
                  <a:gd name="connsiteY2" fmla="*/ 6477 h 12952"/>
                  <a:gd name="connsiteX3" fmla="*/ 6477 w 90756"/>
                  <a:gd name="connsiteY3" fmla="*/ 0 h 12952"/>
                  <a:gd name="connsiteX4" fmla="*/ 84280 w 90756"/>
                  <a:gd name="connsiteY4" fmla="*/ 0 h 12952"/>
                  <a:gd name="connsiteX5" fmla="*/ 90757 w 90756"/>
                  <a:gd name="connsiteY5" fmla="*/ 6477 h 12952"/>
                  <a:gd name="connsiteX6" fmla="*/ 84280 w 90756"/>
                  <a:gd name="connsiteY6" fmla="*/ 12953 h 1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56" h="12952">
                    <a:moveTo>
                      <a:pt x="84280" y="12953"/>
                    </a:moveTo>
                    <a:lnTo>
                      <a:pt x="6477" y="12953"/>
                    </a:lnTo>
                    <a:cubicBezTo>
                      <a:pt x="2894" y="12953"/>
                      <a:pt x="0" y="10059"/>
                      <a:pt x="0" y="6477"/>
                    </a:cubicBezTo>
                    <a:cubicBezTo>
                      <a:pt x="0" y="2894"/>
                      <a:pt x="2894" y="0"/>
                      <a:pt x="6477" y="0"/>
                    </a:cubicBezTo>
                    <a:lnTo>
                      <a:pt x="84280" y="0"/>
                    </a:lnTo>
                    <a:cubicBezTo>
                      <a:pt x="87863" y="0"/>
                      <a:pt x="90757" y="2894"/>
                      <a:pt x="90757" y="6477"/>
                    </a:cubicBezTo>
                    <a:cubicBezTo>
                      <a:pt x="90757" y="10059"/>
                      <a:pt x="87863" y="12953"/>
                      <a:pt x="84280" y="12953"/>
                    </a:cubicBezTo>
                    <a:close/>
                  </a:path>
                </a:pathLst>
              </a:custGeom>
              <a:solidFill>
                <a:schemeClr val="tx2"/>
              </a:solidFill>
              <a:ln w="2860" cap="flat">
                <a:noFill/>
                <a:prstDash val="solid"/>
                <a:miter/>
              </a:ln>
            </p:spPr>
            <p:txBody>
              <a:bodyPr rtlCol="0" anchor="ctr"/>
              <a:lstStyle/>
              <a:p>
                <a:endParaRPr lang="en-GB" dirty="0"/>
              </a:p>
            </p:txBody>
          </p:sp>
          <p:sp>
            <p:nvSpPr>
              <p:cNvPr id="178" name="Freihandform: Form 335">
                <a:extLst>
                  <a:ext uri="{FF2B5EF4-FFF2-40B4-BE49-F238E27FC236}">
                    <a16:creationId xmlns:a16="http://schemas.microsoft.com/office/drawing/2014/main" id="{D69DF539-9DF7-4D0B-B7BF-C780AB67FB9B}"/>
                  </a:ext>
                </a:extLst>
              </p:cNvPr>
              <p:cNvSpPr/>
              <p:nvPr/>
            </p:nvSpPr>
            <p:spPr>
              <a:xfrm>
                <a:off x="3654864" y="2482631"/>
                <a:ext cx="58345" cy="88091"/>
              </a:xfrm>
              <a:custGeom>
                <a:avLst/>
                <a:gdLst>
                  <a:gd name="connsiteX0" fmla="*/ 51841 w 58345"/>
                  <a:gd name="connsiteY0" fmla="*/ 88092 h 88091"/>
                  <a:gd name="connsiteX1" fmla="*/ 45364 w 58345"/>
                  <a:gd name="connsiteY1" fmla="*/ 81615 h 88091"/>
                  <a:gd name="connsiteX2" fmla="*/ 45364 w 58345"/>
                  <a:gd name="connsiteY2" fmla="*/ 12982 h 88091"/>
                  <a:gd name="connsiteX3" fmla="*/ 12953 w 58345"/>
                  <a:gd name="connsiteY3" fmla="*/ 12982 h 88091"/>
                  <a:gd name="connsiteX4" fmla="*/ 12953 w 58345"/>
                  <a:gd name="connsiteY4" fmla="*/ 45393 h 88091"/>
                  <a:gd name="connsiteX5" fmla="*/ 6477 w 58345"/>
                  <a:gd name="connsiteY5" fmla="*/ 51869 h 88091"/>
                  <a:gd name="connsiteX6" fmla="*/ 0 w 58345"/>
                  <a:gd name="connsiteY6" fmla="*/ 45393 h 88091"/>
                  <a:gd name="connsiteX7" fmla="*/ 0 w 58345"/>
                  <a:gd name="connsiteY7" fmla="*/ 6477 h 88091"/>
                  <a:gd name="connsiteX8" fmla="*/ 6477 w 58345"/>
                  <a:gd name="connsiteY8" fmla="*/ 0 h 88091"/>
                  <a:gd name="connsiteX9" fmla="*/ 51869 w 58345"/>
                  <a:gd name="connsiteY9" fmla="*/ 0 h 88091"/>
                  <a:gd name="connsiteX10" fmla="*/ 58346 w 58345"/>
                  <a:gd name="connsiteY10" fmla="*/ 6477 h 88091"/>
                  <a:gd name="connsiteX11" fmla="*/ 58346 w 58345"/>
                  <a:gd name="connsiteY11" fmla="*/ 81587 h 88091"/>
                  <a:gd name="connsiteX12" fmla="*/ 51841 w 58345"/>
                  <a:gd name="connsiteY12" fmla="*/ 88092 h 88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345" h="88091">
                    <a:moveTo>
                      <a:pt x="51841" y="88092"/>
                    </a:moveTo>
                    <a:cubicBezTo>
                      <a:pt x="48258" y="88092"/>
                      <a:pt x="45364" y="85198"/>
                      <a:pt x="45364" y="81615"/>
                    </a:cubicBezTo>
                    <a:lnTo>
                      <a:pt x="45364" y="12982"/>
                    </a:lnTo>
                    <a:lnTo>
                      <a:pt x="12953" y="12982"/>
                    </a:lnTo>
                    <a:lnTo>
                      <a:pt x="12953" y="45393"/>
                    </a:lnTo>
                    <a:cubicBezTo>
                      <a:pt x="12953" y="48975"/>
                      <a:pt x="10059" y="51869"/>
                      <a:pt x="6477" y="51869"/>
                    </a:cubicBezTo>
                    <a:cubicBezTo>
                      <a:pt x="2894" y="51869"/>
                      <a:pt x="0" y="48975"/>
                      <a:pt x="0" y="45393"/>
                    </a:cubicBezTo>
                    <a:lnTo>
                      <a:pt x="0" y="6477"/>
                    </a:lnTo>
                    <a:cubicBezTo>
                      <a:pt x="0" y="2894"/>
                      <a:pt x="2894" y="0"/>
                      <a:pt x="6477" y="0"/>
                    </a:cubicBezTo>
                    <a:lnTo>
                      <a:pt x="51869" y="0"/>
                    </a:lnTo>
                    <a:cubicBezTo>
                      <a:pt x="55451" y="0"/>
                      <a:pt x="58346" y="2894"/>
                      <a:pt x="58346" y="6477"/>
                    </a:cubicBezTo>
                    <a:lnTo>
                      <a:pt x="58346" y="81587"/>
                    </a:lnTo>
                    <a:cubicBezTo>
                      <a:pt x="58317" y="85198"/>
                      <a:pt x="55423" y="88092"/>
                      <a:pt x="51841" y="88092"/>
                    </a:cubicBezTo>
                    <a:close/>
                  </a:path>
                </a:pathLst>
              </a:custGeom>
              <a:solidFill>
                <a:schemeClr val="tx2"/>
              </a:solidFill>
              <a:ln w="2860" cap="flat">
                <a:noFill/>
                <a:prstDash val="solid"/>
                <a:miter/>
              </a:ln>
            </p:spPr>
            <p:txBody>
              <a:bodyPr rtlCol="0" anchor="ctr"/>
              <a:lstStyle/>
              <a:p>
                <a:endParaRPr lang="en-GB" dirty="0"/>
              </a:p>
            </p:txBody>
          </p:sp>
          <p:sp>
            <p:nvSpPr>
              <p:cNvPr id="179" name="Freihandform: Form 336">
                <a:extLst>
                  <a:ext uri="{FF2B5EF4-FFF2-40B4-BE49-F238E27FC236}">
                    <a16:creationId xmlns:a16="http://schemas.microsoft.com/office/drawing/2014/main" id="{89E95862-D7C6-457F-9769-6864746F5173}"/>
                  </a:ext>
                </a:extLst>
              </p:cNvPr>
              <p:cNvSpPr/>
              <p:nvPr/>
            </p:nvSpPr>
            <p:spPr>
              <a:xfrm>
                <a:off x="3641882" y="2482659"/>
                <a:ext cx="84280" cy="12952"/>
              </a:xfrm>
              <a:custGeom>
                <a:avLst/>
                <a:gdLst>
                  <a:gd name="connsiteX0" fmla="*/ 77804 w 84280"/>
                  <a:gd name="connsiteY0" fmla="*/ 12953 h 12952"/>
                  <a:gd name="connsiteX1" fmla="*/ 6477 w 84280"/>
                  <a:gd name="connsiteY1" fmla="*/ 12953 h 12952"/>
                  <a:gd name="connsiteX2" fmla="*/ 0 w 84280"/>
                  <a:gd name="connsiteY2" fmla="*/ 6476 h 12952"/>
                  <a:gd name="connsiteX3" fmla="*/ 6477 w 84280"/>
                  <a:gd name="connsiteY3" fmla="*/ 0 h 12952"/>
                  <a:gd name="connsiteX4" fmla="*/ 77804 w 84280"/>
                  <a:gd name="connsiteY4" fmla="*/ 0 h 12952"/>
                  <a:gd name="connsiteX5" fmla="*/ 84281 w 84280"/>
                  <a:gd name="connsiteY5" fmla="*/ 6476 h 12952"/>
                  <a:gd name="connsiteX6" fmla="*/ 77804 w 84280"/>
                  <a:gd name="connsiteY6" fmla="*/ 12953 h 1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4280" h="12952">
                    <a:moveTo>
                      <a:pt x="77804" y="12953"/>
                    </a:moveTo>
                    <a:lnTo>
                      <a:pt x="6477" y="12953"/>
                    </a:lnTo>
                    <a:cubicBezTo>
                      <a:pt x="2894" y="12953"/>
                      <a:pt x="0" y="10059"/>
                      <a:pt x="0" y="6476"/>
                    </a:cubicBezTo>
                    <a:cubicBezTo>
                      <a:pt x="0" y="2894"/>
                      <a:pt x="2894" y="0"/>
                      <a:pt x="6477" y="0"/>
                    </a:cubicBezTo>
                    <a:lnTo>
                      <a:pt x="77804" y="0"/>
                    </a:lnTo>
                    <a:cubicBezTo>
                      <a:pt x="81386" y="0"/>
                      <a:pt x="84281" y="2894"/>
                      <a:pt x="84281" y="6476"/>
                    </a:cubicBezTo>
                    <a:cubicBezTo>
                      <a:pt x="84281" y="10059"/>
                      <a:pt x="81386" y="12953"/>
                      <a:pt x="77804" y="12953"/>
                    </a:cubicBezTo>
                    <a:close/>
                  </a:path>
                </a:pathLst>
              </a:custGeom>
              <a:solidFill>
                <a:schemeClr val="tx2"/>
              </a:solidFill>
              <a:ln w="2860" cap="flat">
                <a:noFill/>
                <a:prstDash val="solid"/>
                <a:miter/>
              </a:ln>
            </p:spPr>
            <p:txBody>
              <a:bodyPr rtlCol="0" anchor="ctr"/>
              <a:lstStyle/>
              <a:p>
                <a:endParaRPr lang="en-GB" dirty="0"/>
              </a:p>
            </p:txBody>
          </p:sp>
        </p:grpSp>
        <p:grpSp>
          <p:nvGrpSpPr>
            <p:cNvPr id="158" name="Gruppieren 996">
              <a:extLst>
                <a:ext uri="{FF2B5EF4-FFF2-40B4-BE49-F238E27FC236}">
                  <a16:creationId xmlns:a16="http://schemas.microsoft.com/office/drawing/2014/main" id="{0CDAFF7B-3AC0-4F85-B2E4-D92DD13534A2}"/>
                </a:ext>
              </a:extLst>
            </p:cNvPr>
            <p:cNvGrpSpPr/>
            <p:nvPr/>
          </p:nvGrpSpPr>
          <p:grpSpPr>
            <a:xfrm>
              <a:off x="3363049" y="2677155"/>
              <a:ext cx="427936" cy="213982"/>
              <a:chOff x="3363049" y="2677155"/>
              <a:chExt cx="427936" cy="213982"/>
            </a:xfrm>
          </p:grpSpPr>
          <p:grpSp>
            <p:nvGrpSpPr>
              <p:cNvPr id="159" name="Grafik 218">
                <a:extLst>
                  <a:ext uri="{FF2B5EF4-FFF2-40B4-BE49-F238E27FC236}">
                    <a16:creationId xmlns:a16="http://schemas.microsoft.com/office/drawing/2014/main" id="{C53F6743-74A6-47FD-922F-7FDA952FF06B}"/>
                  </a:ext>
                </a:extLst>
              </p:cNvPr>
              <p:cNvGrpSpPr/>
              <p:nvPr/>
            </p:nvGrpSpPr>
            <p:grpSpPr>
              <a:xfrm>
                <a:off x="3518657" y="2677155"/>
                <a:ext cx="116720" cy="103767"/>
                <a:chOff x="3518657" y="2677155"/>
                <a:chExt cx="116720" cy="103767"/>
              </a:xfrm>
              <a:solidFill>
                <a:schemeClr val="accent1"/>
              </a:solidFill>
            </p:grpSpPr>
            <p:sp>
              <p:nvSpPr>
                <p:cNvPr id="166" name="Freihandform: Form 323">
                  <a:extLst>
                    <a:ext uri="{FF2B5EF4-FFF2-40B4-BE49-F238E27FC236}">
                      <a16:creationId xmlns:a16="http://schemas.microsoft.com/office/drawing/2014/main" id="{695D1839-E363-4AFA-9576-BF8E485FBF04}"/>
                    </a:ext>
                  </a:extLst>
                </p:cNvPr>
                <p:cNvSpPr/>
                <p:nvPr/>
              </p:nvSpPr>
              <p:spPr>
                <a:xfrm>
                  <a:off x="3518657" y="2677155"/>
                  <a:ext cx="38916" cy="103767"/>
                </a:xfrm>
                <a:custGeom>
                  <a:avLst/>
                  <a:gdLst>
                    <a:gd name="connsiteX0" fmla="*/ 19458 w 38916"/>
                    <a:gd name="connsiteY0" fmla="*/ 103767 h 103767"/>
                    <a:gd name="connsiteX1" fmla="*/ 0 w 38916"/>
                    <a:gd name="connsiteY1" fmla="*/ 84309 h 103767"/>
                    <a:gd name="connsiteX2" fmla="*/ 0 w 38916"/>
                    <a:gd name="connsiteY2" fmla="*/ 19458 h 103767"/>
                    <a:gd name="connsiteX3" fmla="*/ 19458 w 38916"/>
                    <a:gd name="connsiteY3" fmla="*/ 0 h 103767"/>
                    <a:gd name="connsiteX4" fmla="*/ 38916 w 38916"/>
                    <a:gd name="connsiteY4" fmla="*/ 19458 h 103767"/>
                    <a:gd name="connsiteX5" fmla="*/ 38916 w 38916"/>
                    <a:gd name="connsiteY5" fmla="*/ 84309 h 103767"/>
                    <a:gd name="connsiteX6" fmla="*/ 19458 w 38916"/>
                    <a:gd name="connsiteY6" fmla="*/ 103767 h 103767"/>
                    <a:gd name="connsiteX7" fmla="*/ 19458 w 38916"/>
                    <a:gd name="connsiteY7" fmla="*/ 12982 h 103767"/>
                    <a:gd name="connsiteX8" fmla="*/ 12982 w 38916"/>
                    <a:gd name="connsiteY8" fmla="*/ 19458 h 103767"/>
                    <a:gd name="connsiteX9" fmla="*/ 12982 w 38916"/>
                    <a:gd name="connsiteY9" fmla="*/ 84309 h 103767"/>
                    <a:gd name="connsiteX10" fmla="*/ 19458 w 38916"/>
                    <a:gd name="connsiteY10" fmla="*/ 90786 h 103767"/>
                    <a:gd name="connsiteX11" fmla="*/ 25935 w 38916"/>
                    <a:gd name="connsiteY11" fmla="*/ 84309 h 103767"/>
                    <a:gd name="connsiteX12" fmla="*/ 25935 w 38916"/>
                    <a:gd name="connsiteY12" fmla="*/ 19458 h 103767"/>
                    <a:gd name="connsiteX13" fmla="*/ 19458 w 38916"/>
                    <a:gd name="connsiteY13" fmla="*/ 12982 h 10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916" h="103767">
                      <a:moveTo>
                        <a:pt x="19458" y="103767"/>
                      </a:moveTo>
                      <a:cubicBezTo>
                        <a:pt x="8740" y="103767"/>
                        <a:pt x="0" y="95056"/>
                        <a:pt x="0" y="84309"/>
                      </a:cubicBezTo>
                      <a:lnTo>
                        <a:pt x="0" y="19458"/>
                      </a:lnTo>
                      <a:cubicBezTo>
                        <a:pt x="0" y="8740"/>
                        <a:pt x="8712" y="0"/>
                        <a:pt x="19458" y="0"/>
                      </a:cubicBezTo>
                      <a:cubicBezTo>
                        <a:pt x="30176" y="0"/>
                        <a:pt x="38916" y="8712"/>
                        <a:pt x="38916" y="19458"/>
                      </a:cubicBezTo>
                      <a:lnTo>
                        <a:pt x="38916" y="84309"/>
                      </a:lnTo>
                      <a:cubicBezTo>
                        <a:pt x="38916" y="95027"/>
                        <a:pt x="30205" y="103767"/>
                        <a:pt x="19458" y="103767"/>
                      </a:cubicBezTo>
                      <a:close/>
                      <a:moveTo>
                        <a:pt x="19458" y="12982"/>
                      </a:moveTo>
                      <a:cubicBezTo>
                        <a:pt x="15876" y="12982"/>
                        <a:pt x="12982" y="15905"/>
                        <a:pt x="12982" y="19458"/>
                      </a:cubicBezTo>
                      <a:lnTo>
                        <a:pt x="12982" y="84309"/>
                      </a:lnTo>
                      <a:cubicBezTo>
                        <a:pt x="12982" y="87891"/>
                        <a:pt x="15876" y="90786"/>
                        <a:pt x="19458" y="90786"/>
                      </a:cubicBezTo>
                      <a:cubicBezTo>
                        <a:pt x="23040" y="90786"/>
                        <a:pt x="25935" y="87863"/>
                        <a:pt x="25935" y="84309"/>
                      </a:cubicBezTo>
                      <a:lnTo>
                        <a:pt x="25935" y="19458"/>
                      </a:lnTo>
                      <a:cubicBezTo>
                        <a:pt x="25935" y="15905"/>
                        <a:pt x="23040" y="12982"/>
                        <a:pt x="19458" y="12982"/>
                      </a:cubicBezTo>
                      <a:close/>
                    </a:path>
                  </a:pathLst>
                </a:custGeom>
                <a:solidFill>
                  <a:schemeClr val="accent1"/>
                </a:solidFill>
                <a:ln w="2860" cap="flat">
                  <a:noFill/>
                  <a:prstDash val="solid"/>
                  <a:miter/>
                </a:ln>
              </p:spPr>
              <p:txBody>
                <a:bodyPr rtlCol="0" anchor="ctr"/>
                <a:lstStyle/>
                <a:p>
                  <a:endParaRPr lang="en-GB" dirty="0"/>
                </a:p>
              </p:txBody>
            </p:sp>
            <p:sp>
              <p:nvSpPr>
                <p:cNvPr id="167" name="Freihandform: Form 324">
                  <a:extLst>
                    <a:ext uri="{FF2B5EF4-FFF2-40B4-BE49-F238E27FC236}">
                      <a16:creationId xmlns:a16="http://schemas.microsoft.com/office/drawing/2014/main" id="{A464EE00-9156-4C9D-9351-7C98967E6760}"/>
                    </a:ext>
                  </a:extLst>
                </p:cNvPr>
                <p:cNvSpPr/>
                <p:nvPr/>
              </p:nvSpPr>
              <p:spPr>
                <a:xfrm>
                  <a:off x="3544591" y="2677155"/>
                  <a:ext cx="38916" cy="103767"/>
                </a:xfrm>
                <a:custGeom>
                  <a:avLst/>
                  <a:gdLst>
                    <a:gd name="connsiteX0" fmla="*/ 19458 w 38916"/>
                    <a:gd name="connsiteY0" fmla="*/ 103767 h 103767"/>
                    <a:gd name="connsiteX1" fmla="*/ 0 w 38916"/>
                    <a:gd name="connsiteY1" fmla="*/ 84309 h 103767"/>
                    <a:gd name="connsiteX2" fmla="*/ 0 w 38916"/>
                    <a:gd name="connsiteY2" fmla="*/ 19458 h 103767"/>
                    <a:gd name="connsiteX3" fmla="*/ 19458 w 38916"/>
                    <a:gd name="connsiteY3" fmla="*/ 0 h 103767"/>
                    <a:gd name="connsiteX4" fmla="*/ 38916 w 38916"/>
                    <a:gd name="connsiteY4" fmla="*/ 19458 h 103767"/>
                    <a:gd name="connsiteX5" fmla="*/ 38916 w 38916"/>
                    <a:gd name="connsiteY5" fmla="*/ 84309 h 103767"/>
                    <a:gd name="connsiteX6" fmla="*/ 19458 w 38916"/>
                    <a:gd name="connsiteY6" fmla="*/ 103767 h 103767"/>
                    <a:gd name="connsiteX7" fmla="*/ 19458 w 38916"/>
                    <a:gd name="connsiteY7" fmla="*/ 12982 h 103767"/>
                    <a:gd name="connsiteX8" fmla="*/ 12982 w 38916"/>
                    <a:gd name="connsiteY8" fmla="*/ 19458 h 103767"/>
                    <a:gd name="connsiteX9" fmla="*/ 12982 w 38916"/>
                    <a:gd name="connsiteY9" fmla="*/ 84309 h 103767"/>
                    <a:gd name="connsiteX10" fmla="*/ 19458 w 38916"/>
                    <a:gd name="connsiteY10" fmla="*/ 90786 h 103767"/>
                    <a:gd name="connsiteX11" fmla="*/ 25935 w 38916"/>
                    <a:gd name="connsiteY11" fmla="*/ 84309 h 103767"/>
                    <a:gd name="connsiteX12" fmla="*/ 25935 w 38916"/>
                    <a:gd name="connsiteY12" fmla="*/ 19458 h 103767"/>
                    <a:gd name="connsiteX13" fmla="*/ 19458 w 38916"/>
                    <a:gd name="connsiteY13" fmla="*/ 12982 h 10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916" h="103767">
                      <a:moveTo>
                        <a:pt x="19458" y="103767"/>
                      </a:moveTo>
                      <a:cubicBezTo>
                        <a:pt x="8741" y="103767"/>
                        <a:pt x="0" y="95056"/>
                        <a:pt x="0" y="84309"/>
                      </a:cubicBezTo>
                      <a:lnTo>
                        <a:pt x="0" y="19458"/>
                      </a:lnTo>
                      <a:cubicBezTo>
                        <a:pt x="0" y="8740"/>
                        <a:pt x="8712" y="0"/>
                        <a:pt x="19458" y="0"/>
                      </a:cubicBezTo>
                      <a:cubicBezTo>
                        <a:pt x="30176" y="0"/>
                        <a:pt x="38916" y="8712"/>
                        <a:pt x="38916" y="19458"/>
                      </a:cubicBezTo>
                      <a:lnTo>
                        <a:pt x="38916" y="84309"/>
                      </a:lnTo>
                      <a:cubicBezTo>
                        <a:pt x="38916" y="95027"/>
                        <a:pt x="30205" y="103767"/>
                        <a:pt x="19458" y="103767"/>
                      </a:cubicBezTo>
                      <a:close/>
                      <a:moveTo>
                        <a:pt x="19458" y="12982"/>
                      </a:moveTo>
                      <a:cubicBezTo>
                        <a:pt x="15876" y="12982"/>
                        <a:pt x="12982" y="15905"/>
                        <a:pt x="12982" y="19458"/>
                      </a:cubicBezTo>
                      <a:lnTo>
                        <a:pt x="12982" y="84309"/>
                      </a:lnTo>
                      <a:cubicBezTo>
                        <a:pt x="12982" y="87891"/>
                        <a:pt x="15876" y="90786"/>
                        <a:pt x="19458" y="90786"/>
                      </a:cubicBezTo>
                      <a:cubicBezTo>
                        <a:pt x="23040" y="90786"/>
                        <a:pt x="25935" y="87863"/>
                        <a:pt x="25935" y="84309"/>
                      </a:cubicBezTo>
                      <a:lnTo>
                        <a:pt x="25935" y="19458"/>
                      </a:lnTo>
                      <a:cubicBezTo>
                        <a:pt x="25963" y="15905"/>
                        <a:pt x="23040" y="12982"/>
                        <a:pt x="19458" y="12982"/>
                      </a:cubicBezTo>
                      <a:close/>
                    </a:path>
                  </a:pathLst>
                </a:custGeom>
                <a:solidFill>
                  <a:schemeClr val="accent1"/>
                </a:solidFill>
                <a:ln w="2860" cap="flat">
                  <a:noFill/>
                  <a:prstDash val="solid"/>
                  <a:miter/>
                </a:ln>
              </p:spPr>
              <p:txBody>
                <a:bodyPr rtlCol="0" anchor="ctr"/>
                <a:lstStyle/>
                <a:p>
                  <a:endParaRPr lang="en-GB" dirty="0"/>
                </a:p>
              </p:txBody>
            </p:sp>
            <p:sp>
              <p:nvSpPr>
                <p:cNvPr id="168" name="Freihandform: Form 325">
                  <a:extLst>
                    <a:ext uri="{FF2B5EF4-FFF2-40B4-BE49-F238E27FC236}">
                      <a16:creationId xmlns:a16="http://schemas.microsoft.com/office/drawing/2014/main" id="{779E1439-1EE6-47F7-9502-1BFFFC4865F0}"/>
                    </a:ext>
                  </a:extLst>
                </p:cNvPr>
                <p:cNvSpPr/>
                <p:nvPr/>
              </p:nvSpPr>
              <p:spPr>
                <a:xfrm>
                  <a:off x="3570526" y="2677155"/>
                  <a:ext cx="38916" cy="103767"/>
                </a:xfrm>
                <a:custGeom>
                  <a:avLst/>
                  <a:gdLst>
                    <a:gd name="connsiteX0" fmla="*/ 19458 w 38916"/>
                    <a:gd name="connsiteY0" fmla="*/ 103767 h 103767"/>
                    <a:gd name="connsiteX1" fmla="*/ 0 w 38916"/>
                    <a:gd name="connsiteY1" fmla="*/ 84309 h 103767"/>
                    <a:gd name="connsiteX2" fmla="*/ 0 w 38916"/>
                    <a:gd name="connsiteY2" fmla="*/ 19458 h 103767"/>
                    <a:gd name="connsiteX3" fmla="*/ 19458 w 38916"/>
                    <a:gd name="connsiteY3" fmla="*/ 0 h 103767"/>
                    <a:gd name="connsiteX4" fmla="*/ 38916 w 38916"/>
                    <a:gd name="connsiteY4" fmla="*/ 19458 h 103767"/>
                    <a:gd name="connsiteX5" fmla="*/ 38916 w 38916"/>
                    <a:gd name="connsiteY5" fmla="*/ 84309 h 103767"/>
                    <a:gd name="connsiteX6" fmla="*/ 19458 w 38916"/>
                    <a:gd name="connsiteY6" fmla="*/ 103767 h 103767"/>
                    <a:gd name="connsiteX7" fmla="*/ 19458 w 38916"/>
                    <a:gd name="connsiteY7" fmla="*/ 12982 h 103767"/>
                    <a:gd name="connsiteX8" fmla="*/ 12982 w 38916"/>
                    <a:gd name="connsiteY8" fmla="*/ 19458 h 103767"/>
                    <a:gd name="connsiteX9" fmla="*/ 12982 w 38916"/>
                    <a:gd name="connsiteY9" fmla="*/ 84309 h 103767"/>
                    <a:gd name="connsiteX10" fmla="*/ 19458 w 38916"/>
                    <a:gd name="connsiteY10" fmla="*/ 90786 h 103767"/>
                    <a:gd name="connsiteX11" fmla="*/ 25935 w 38916"/>
                    <a:gd name="connsiteY11" fmla="*/ 84309 h 103767"/>
                    <a:gd name="connsiteX12" fmla="*/ 25935 w 38916"/>
                    <a:gd name="connsiteY12" fmla="*/ 19458 h 103767"/>
                    <a:gd name="connsiteX13" fmla="*/ 19458 w 38916"/>
                    <a:gd name="connsiteY13" fmla="*/ 12982 h 10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916" h="103767">
                      <a:moveTo>
                        <a:pt x="19458" y="103767"/>
                      </a:moveTo>
                      <a:cubicBezTo>
                        <a:pt x="8740" y="103767"/>
                        <a:pt x="0" y="95056"/>
                        <a:pt x="0" y="84309"/>
                      </a:cubicBezTo>
                      <a:lnTo>
                        <a:pt x="0" y="19458"/>
                      </a:lnTo>
                      <a:cubicBezTo>
                        <a:pt x="0" y="8740"/>
                        <a:pt x="8712" y="0"/>
                        <a:pt x="19458" y="0"/>
                      </a:cubicBezTo>
                      <a:cubicBezTo>
                        <a:pt x="30205" y="0"/>
                        <a:pt x="38916" y="8712"/>
                        <a:pt x="38916" y="19458"/>
                      </a:cubicBezTo>
                      <a:lnTo>
                        <a:pt x="38916" y="84309"/>
                      </a:lnTo>
                      <a:cubicBezTo>
                        <a:pt x="38916" y="95027"/>
                        <a:pt x="30205" y="103767"/>
                        <a:pt x="19458" y="103767"/>
                      </a:cubicBezTo>
                      <a:close/>
                      <a:moveTo>
                        <a:pt x="19458" y="12982"/>
                      </a:moveTo>
                      <a:cubicBezTo>
                        <a:pt x="15876" y="12982"/>
                        <a:pt x="12982" y="15905"/>
                        <a:pt x="12982" y="19458"/>
                      </a:cubicBezTo>
                      <a:lnTo>
                        <a:pt x="12982" y="84309"/>
                      </a:lnTo>
                      <a:cubicBezTo>
                        <a:pt x="12982" y="87891"/>
                        <a:pt x="15876" y="90786"/>
                        <a:pt x="19458" y="90786"/>
                      </a:cubicBezTo>
                      <a:cubicBezTo>
                        <a:pt x="23040" y="90786"/>
                        <a:pt x="25935" y="87863"/>
                        <a:pt x="25935" y="84309"/>
                      </a:cubicBezTo>
                      <a:lnTo>
                        <a:pt x="25935" y="19458"/>
                      </a:lnTo>
                      <a:cubicBezTo>
                        <a:pt x="25963" y="15905"/>
                        <a:pt x="23040" y="12982"/>
                        <a:pt x="19458" y="12982"/>
                      </a:cubicBezTo>
                      <a:close/>
                    </a:path>
                  </a:pathLst>
                </a:custGeom>
                <a:solidFill>
                  <a:schemeClr val="accent1"/>
                </a:solidFill>
                <a:ln w="2860" cap="flat">
                  <a:noFill/>
                  <a:prstDash val="solid"/>
                  <a:miter/>
                </a:ln>
              </p:spPr>
              <p:txBody>
                <a:bodyPr rtlCol="0" anchor="ctr"/>
                <a:lstStyle/>
                <a:p>
                  <a:endParaRPr lang="en-GB" dirty="0"/>
                </a:p>
              </p:txBody>
            </p:sp>
            <p:sp>
              <p:nvSpPr>
                <p:cNvPr id="169" name="Freihandform: Form 326">
                  <a:extLst>
                    <a:ext uri="{FF2B5EF4-FFF2-40B4-BE49-F238E27FC236}">
                      <a16:creationId xmlns:a16="http://schemas.microsoft.com/office/drawing/2014/main" id="{1D8BE9CC-94BD-4717-8638-D373773C51A1}"/>
                    </a:ext>
                  </a:extLst>
                </p:cNvPr>
                <p:cNvSpPr/>
                <p:nvPr/>
              </p:nvSpPr>
              <p:spPr>
                <a:xfrm>
                  <a:off x="3596461" y="2677155"/>
                  <a:ext cx="38916" cy="103767"/>
                </a:xfrm>
                <a:custGeom>
                  <a:avLst/>
                  <a:gdLst>
                    <a:gd name="connsiteX0" fmla="*/ 19458 w 38916"/>
                    <a:gd name="connsiteY0" fmla="*/ 103767 h 103767"/>
                    <a:gd name="connsiteX1" fmla="*/ 0 w 38916"/>
                    <a:gd name="connsiteY1" fmla="*/ 84309 h 103767"/>
                    <a:gd name="connsiteX2" fmla="*/ 0 w 38916"/>
                    <a:gd name="connsiteY2" fmla="*/ 19458 h 103767"/>
                    <a:gd name="connsiteX3" fmla="*/ 19458 w 38916"/>
                    <a:gd name="connsiteY3" fmla="*/ 0 h 103767"/>
                    <a:gd name="connsiteX4" fmla="*/ 38916 w 38916"/>
                    <a:gd name="connsiteY4" fmla="*/ 19458 h 103767"/>
                    <a:gd name="connsiteX5" fmla="*/ 38916 w 38916"/>
                    <a:gd name="connsiteY5" fmla="*/ 84309 h 103767"/>
                    <a:gd name="connsiteX6" fmla="*/ 19458 w 38916"/>
                    <a:gd name="connsiteY6" fmla="*/ 103767 h 103767"/>
                    <a:gd name="connsiteX7" fmla="*/ 19458 w 38916"/>
                    <a:gd name="connsiteY7" fmla="*/ 12982 h 103767"/>
                    <a:gd name="connsiteX8" fmla="*/ 12982 w 38916"/>
                    <a:gd name="connsiteY8" fmla="*/ 19458 h 103767"/>
                    <a:gd name="connsiteX9" fmla="*/ 12982 w 38916"/>
                    <a:gd name="connsiteY9" fmla="*/ 84309 h 103767"/>
                    <a:gd name="connsiteX10" fmla="*/ 19458 w 38916"/>
                    <a:gd name="connsiteY10" fmla="*/ 90786 h 103767"/>
                    <a:gd name="connsiteX11" fmla="*/ 25935 w 38916"/>
                    <a:gd name="connsiteY11" fmla="*/ 84309 h 103767"/>
                    <a:gd name="connsiteX12" fmla="*/ 25935 w 38916"/>
                    <a:gd name="connsiteY12" fmla="*/ 19458 h 103767"/>
                    <a:gd name="connsiteX13" fmla="*/ 19458 w 38916"/>
                    <a:gd name="connsiteY13" fmla="*/ 12982 h 10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916" h="103767">
                      <a:moveTo>
                        <a:pt x="19458" y="103767"/>
                      </a:moveTo>
                      <a:cubicBezTo>
                        <a:pt x="8740" y="103767"/>
                        <a:pt x="0" y="95056"/>
                        <a:pt x="0" y="84309"/>
                      </a:cubicBezTo>
                      <a:lnTo>
                        <a:pt x="0" y="19458"/>
                      </a:lnTo>
                      <a:cubicBezTo>
                        <a:pt x="0" y="8740"/>
                        <a:pt x="8712" y="0"/>
                        <a:pt x="19458" y="0"/>
                      </a:cubicBezTo>
                      <a:cubicBezTo>
                        <a:pt x="30176" y="0"/>
                        <a:pt x="38916" y="8712"/>
                        <a:pt x="38916" y="19458"/>
                      </a:cubicBezTo>
                      <a:lnTo>
                        <a:pt x="38916" y="84309"/>
                      </a:lnTo>
                      <a:cubicBezTo>
                        <a:pt x="38916" y="95027"/>
                        <a:pt x="30205" y="103767"/>
                        <a:pt x="19458" y="103767"/>
                      </a:cubicBezTo>
                      <a:close/>
                      <a:moveTo>
                        <a:pt x="19458" y="12982"/>
                      </a:moveTo>
                      <a:cubicBezTo>
                        <a:pt x="15876" y="12982"/>
                        <a:pt x="12982" y="15905"/>
                        <a:pt x="12982" y="19458"/>
                      </a:cubicBezTo>
                      <a:lnTo>
                        <a:pt x="12982" y="84309"/>
                      </a:lnTo>
                      <a:cubicBezTo>
                        <a:pt x="12982" y="87891"/>
                        <a:pt x="15876" y="90786"/>
                        <a:pt x="19458" y="90786"/>
                      </a:cubicBezTo>
                      <a:cubicBezTo>
                        <a:pt x="23040" y="90786"/>
                        <a:pt x="25935" y="87863"/>
                        <a:pt x="25935" y="84309"/>
                      </a:cubicBezTo>
                      <a:lnTo>
                        <a:pt x="25935" y="19458"/>
                      </a:lnTo>
                      <a:cubicBezTo>
                        <a:pt x="25963" y="15905"/>
                        <a:pt x="23040" y="12982"/>
                        <a:pt x="19458" y="12982"/>
                      </a:cubicBezTo>
                      <a:close/>
                    </a:path>
                  </a:pathLst>
                </a:custGeom>
                <a:solidFill>
                  <a:schemeClr val="accent1"/>
                </a:solidFill>
                <a:ln w="2860" cap="flat">
                  <a:noFill/>
                  <a:prstDash val="solid"/>
                  <a:miter/>
                </a:ln>
              </p:spPr>
              <p:txBody>
                <a:bodyPr rtlCol="0" anchor="ctr"/>
                <a:lstStyle/>
                <a:p>
                  <a:endParaRPr lang="en-GB" dirty="0"/>
                </a:p>
              </p:txBody>
            </p:sp>
          </p:grpSp>
          <p:grpSp>
            <p:nvGrpSpPr>
              <p:cNvPr id="160" name="Grafik 218">
                <a:extLst>
                  <a:ext uri="{FF2B5EF4-FFF2-40B4-BE49-F238E27FC236}">
                    <a16:creationId xmlns:a16="http://schemas.microsoft.com/office/drawing/2014/main" id="{CA863A3D-BD6C-4FA7-966E-575F0776103C}"/>
                  </a:ext>
                </a:extLst>
              </p:cNvPr>
              <p:cNvGrpSpPr/>
              <p:nvPr/>
            </p:nvGrpSpPr>
            <p:grpSpPr>
              <a:xfrm>
                <a:off x="3363049" y="2729053"/>
                <a:ext cx="142655" cy="162084"/>
                <a:chOff x="3363049" y="2729053"/>
                <a:chExt cx="142655" cy="162084"/>
              </a:xfrm>
              <a:solidFill>
                <a:schemeClr val="accent1"/>
              </a:solidFill>
            </p:grpSpPr>
            <p:sp>
              <p:nvSpPr>
                <p:cNvPr id="164" name="Freihandform: Form 328">
                  <a:extLst>
                    <a:ext uri="{FF2B5EF4-FFF2-40B4-BE49-F238E27FC236}">
                      <a16:creationId xmlns:a16="http://schemas.microsoft.com/office/drawing/2014/main" id="{9B6966F4-033B-4963-9E8A-58B933F63DF4}"/>
                    </a:ext>
                  </a:extLst>
                </p:cNvPr>
                <p:cNvSpPr/>
                <p:nvPr/>
              </p:nvSpPr>
              <p:spPr>
                <a:xfrm>
                  <a:off x="3492751" y="2729053"/>
                  <a:ext cx="12953" cy="38887"/>
                </a:xfrm>
                <a:custGeom>
                  <a:avLst/>
                  <a:gdLst>
                    <a:gd name="connsiteX0" fmla="*/ 6477 w 12953"/>
                    <a:gd name="connsiteY0" fmla="*/ 38888 h 38887"/>
                    <a:gd name="connsiteX1" fmla="*/ 0 w 12953"/>
                    <a:gd name="connsiteY1" fmla="*/ 32411 h 38887"/>
                    <a:gd name="connsiteX2" fmla="*/ 0 w 12953"/>
                    <a:gd name="connsiteY2" fmla="*/ 6477 h 38887"/>
                    <a:gd name="connsiteX3" fmla="*/ 6477 w 12953"/>
                    <a:gd name="connsiteY3" fmla="*/ 0 h 38887"/>
                    <a:gd name="connsiteX4" fmla="*/ 12953 w 12953"/>
                    <a:gd name="connsiteY4" fmla="*/ 6477 h 38887"/>
                    <a:gd name="connsiteX5" fmla="*/ 12953 w 12953"/>
                    <a:gd name="connsiteY5" fmla="*/ 32411 h 38887"/>
                    <a:gd name="connsiteX6" fmla="*/ 6477 w 12953"/>
                    <a:gd name="connsiteY6" fmla="*/ 38888 h 3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3" h="38887">
                      <a:moveTo>
                        <a:pt x="6477" y="38888"/>
                      </a:moveTo>
                      <a:cubicBezTo>
                        <a:pt x="2894" y="38888"/>
                        <a:pt x="0" y="35993"/>
                        <a:pt x="0" y="32411"/>
                      </a:cubicBezTo>
                      <a:lnTo>
                        <a:pt x="0" y="6477"/>
                      </a:lnTo>
                      <a:cubicBezTo>
                        <a:pt x="0" y="2894"/>
                        <a:pt x="2894" y="0"/>
                        <a:pt x="6477" y="0"/>
                      </a:cubicBezTo>
                      <a:cubicBezTo>
                        <a:pt x="10059" y="0"/>
                        <a:pt x="12953" y="2894"/>
                        <a:pt x="12953" y="6477"/>
                      </a:cubicBezTo>
                      <a:lnTo>
                        <a:pt x="12953" y="32411"/>
                      </a:lnTo>
                      <a:cubicBezTo>
                        <a:pt x="12953" y="35993"/>
                        <a:pt x="10059" y="38888"/>
                        <a:pt x="6477" y="38888"/>
                      </a:cubicBezTo>
                      <a:close/>
                    </a:path>
                  </a:pathLst>
                </a:custGeom>
                <a:solidFill>
                  <a:schemeClr val="accent1"/>
                </a:solidFill>
                <a:ln w="2860" cap="flat">
                  <a:noFill/>
                  <a:prstDash val="solid"/>
                  <a:miter/>
                </a:ln>
              </p:spPr>
              <p:txBody>
                <a:bodyPr rtlCol="0" anchor="ctr"/>
                <a:lstStyle/>
                <a:p>
                  <a:endParaRPr lang="en-GB" dirty="0"/>
                </a:p>
              </p:txBody>
            </p:sp>
            <p:sp>
              <p:nvSpPr>
                <p:cNvPr id="165" name="Freihandform: Form 329">
                  <a:extLst>
                    <a:ext uri="{FF2B5EF4-FFF2-40B4-BE49-F238E27FC236}">
                      <a16:creationId xmlns:a16="http://schemas.microsoft.com/office/drawing/2014/main" id="{951A28BB-A312-4191-BDA5-6E353AE9ED75}"/>
                    </a:ext>
                  </a:extLst>
                </p:cNvPr>
                <p:cNvSpPr/>
                <p:nvPr/>
              </p:nvSpPr>
              <p:spPr>
                <a:xfrm>
                  <a:off x="3363049" y="2742035"/>
                  <a:ext cx="142626" cy="149102"/>
                </a:xfrm>
                <a:custGeom>
                  <a:avLst/>
                  <a:gdLst>
                    <a:gd name="connsiteX0" fmla="*/ 97262 w 142626"/>
                    <a:gd name="connsiteY0" fmla="*/ 149103 h 149102"/>
                    <a:gd name="connsiteX1" fmla="*/ 6477 w 142626"/>
                    <a:gd name="connsiteY1" fmla="*/ 149103 h 149102"/>
                    <a:gd name="connsiteX2" fmla="*/ 0 w 142626"/>
                    <a:gd name="connsiteY2" fmla="*/ 142626 h 149102"/>
                    <a:gd name="connsiteX3" fmla="*/ 6477 w 142626"/>
                    <a:gd name="connsiteY3" fmla="*/ 136150 h 149102"/>
                    <a:gd name="connsiteX4" fmla="*/ 90757 w 142626"/>
                    <a:gd name="connsiteY4" fmla="*/ 136150 h 149102"/>
                    <a:gd name="connsiteX5" fmla="*/ 90757 w 142626"/>
                    <a:gd name="connsiteY5" fmla="*/ 6477 h 149102"/>
                    <a:gd name="connsiteX6" fmla="*/ 97234 w 142626"/>
                    <a:gd name="connsiteY6" fmla="*/ 0 h 149102"/>
                    <a:gd name="connsiteX7" fmla="*/ 136150 w 142626"/>
                    <a:gd name="connsiteY7" fmla="*/ 0 h 149102"/>
                    <a:gd name="connsiteX8" fmla="*/ 142626 w 142626"/>
                    <a:gd name="connsiteY8" fmla="*/ 6477 h 149102"/>
                    <a:gd name="connsiteX9" fmla="*/ 136150 w 142626"/>
                    <a:gd name="connsiteY9" fmla="*/ 12953 h 149102"/>
                    <a:gd name="connsiteX10" fmla="*/ 103739 w 142626"/>
                    <a:gd name="connsiteY10" fmla="*/ 12953 h 149102"/>
                    <a:gd name="connsiteX11" fmla="*/ 103739 w 142626"/>
                    <a:gd name="connsiteY11" fmla="*/ 142626 h 149102"/>
                    <a:gd name="connsiteX12" fmla="*/ 97262 w 142626"/>
                    <a:gd name="connsiteY12" fmla="*/ 149103 h 14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626" h="149102">
                      <a:moveTo>
                        <a:pt x="97262" y="149103"/>
                      </a:moveTo>
                      <a:lnTo>
                        <a:pt x="6477" y="149103"/>
                      </a:lnTo>
                      <a:cubicBezTo>
                        <a:pt x="2894" y="149103"/>
                        <a:pt x="0" y="146209"/>
                        <a:pt x="0" y="142626"/>
                      </a:cubicBezTo>
                      <a:cubicBezTo>
                        <a:pt x="0" y="139044"/>
                        <a:pt x="2894" y="136150"/>
                        <a:pt x="6477" y="136150"/>
                      </a:cubicBezTo>
                      <a:lnTo>
                        <a:pt x="90757" y="136150"/>
                      </a:lnTo>
                      <a:lnTo>
                        <a:pt x="90757" y="6477"/>
                      </a:lnTo>
                      <a:cubicBezTo>
                        <a:pt x="90757" y="2894"/>
                        <a:pt x="93651" y="0"/>
                        <a:pt x="97234" y="0"/>
                      </a:cubicBezTo>
                      <a:lnTo>
                        <a:pt x="136150" y="0"/>
                      </a:lnTo>
                      <a:cubicBezTo>
                        <a:pt x="139732" y="0"/>
                        <a:pt x="142626" y="2894"/>
                        <a:pt x="142626" y="6477"/>
                      </a:cubicBezTo>
                      <a:cubicBezTo>
                        <a:pt x="142626" y="10059"/>
                        <a:pt x="139732" y="12953"/>
                        <a:pt x="136150" y="12953"/>
                      </a:cubicBezTo>
                      <a:lnTo>
                        <a:pt x="103739" y="12953"/>
                      </a:lnTo>
                      <a:lnTo>
                        <a:pt x="103739" y="142626"/>
                      </a:lnTo>
                      <a:cubicBezTo>
                        <a:pt x="103739" y="146209"/>
                        <a:pt x="100844" y="149103"/>
                        <a:pt x="97262" y="149103"/>
                      </a:cubicBezTo>
                      <a:close/>
                    </a:path>
                  </a:pathLst>
                </a:custGeom>
                <a:solidFill>
                  <a:schemeClr val="accent1"/>
                </a:solidFill>
                <a:ln w="2860" cap="flat">
                  <a:noFill/>
                  <a:prstDash val="solid"/>
                  <a:miter/>
                </a:ln>
              </p:spPr>
              <p:txBody>
                <a:bodyPr rtlCol="0" anchor="ctr"/>
                <a:lstStyle/>
                <a:p>
                  <a:endParaRPr lang="en-GB" dirty="0"/>
                </a:p>
              </p:txBody>
            </p:sp>
          </p:grpSp>
          <p:grpSp>
            <p:nvGrpSpPr>
              <p:cNvPr id="161" name="Grafik 218">
                <a:extLst>
                  <a:ext uri="{FF2B5EF4-FFF2-40B4-BE49-F238E27FC236}">
                    <a16:creationId xmlns:a16="http://schemas.microsoft.com/office/drawing/2014/main" id="{938CA60D-8329-43FA-9A0D-C0728C2FB90C}"/>
                  </a:ext>
                </a:extLst>
              </p:cNvPr>
              <p:cNvGrpSpPr/>
              <p:nvPr/>
            </p:nvGrpSpPr>
            <p:grpSpPr>
              <a:xfrm>
                <a:off x="3648359" y="2683660"/>
                <a:ext cx="142626" cy="175066"/>
                <a:chOff x="3648359" y="2683660"/>
                <a:chExt cx="142626" cy="175066"/>
              </a:xfrm>
              <a:solidFill>
                <a:schemeClr val="accent1"/>
              </a:solidFill>
            </p:grpSpPr>
            <p:sp>
              <p:nvSpPr>
                <p:cNvPr id="162" name="Freihandform: Form 331">
                  <a:extLst>
                    <a:ext uri="{FF2B5EF4-FFF2-40B4-BE49-F238E27FC236}">
                      <a16:creationId xmlns:a16="http://schemas.microsoft.com/office/drawing/2014/main" id="{7D54E769-7C27-4D20-BA83-3F5C9D735289}"/>
                    </a:ext>
                  </a:extLst>
                </p:cNvPr>
                <p:cNvSpPr/>
                <p:nvPr/>
              </p:nvSpPr>
              <p:spPr>
                <a:xfrm>
                  <a:off x="3648359" y="2683660"/>
                  <a:ext cx="12953" cy="38887"/>
                </a:xfrm>
                <a:custGeom>
                  <a:avLst/>
                  <a:gdLst>
                    <a:gd name="connsiteX0" fmla="*/ 6477 w 12953"/>
                    <a:gd name="connsiteY0" fmla="*/ 38888 h 38887"/>
                    <a:gd name="connsiteX1" fmla="*/ 0 w 12953"/>
                    <a:gd name="connsiteY1" fmla="*/ 32411 h 38887"/>
                    <a:gd name="connsiteX2" fmla="*/ 0 w 12953"/>
                    <a:gd name="connsiteY2" fmla="*/ 6477 h 38887"/>
                    <a:gd name="connsiteX3" fmla="*/ 6477 w 12953"/>
                    <a:gd name="connsiteY3" fmla="*/ 0 h 38887"/>
                    <a:gd name="connsiteX4" fmla="*/ 12953 w 12953"/>
                    <a:gd name="connsiteY4" fmla="*/ 6477 h 38887"/>
                    <a:gd name="connsiteX5" fmla="*/ 12953 w 12953"/>
                    <a:gd name="connsiteY5" fmla="*/ 32411 h 38887"/>
                    <a:gd name="connsiteX6" fmla="*/ 6477 w 12953"/>
                    <a:gd name="connsiteY6" fmla="*/ 38888 h 38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3" h="38887">
                      <a:moveTo>
                        <a:pt x="6477" y="38888"/>
                      </a:moveTo>
                      <a:cubicBezTo>
                        <a:pt x="2894" y="38888"/>
                        <a:pt x="0" y="35993"/>
                        <a:pt x="0" y="32411"/>
                      </a:cubicBezTo>
                      <a:lnTo>
                        <a:pt x="0" y="6477"/>
                      </a:lnTo>
                      <a:cubicBezTo>
                        <a:pt x="0" y="2894"/>
                        <a:pt x="2894" y="0"/>
                        <a:pt x="6477" y="0"/>
                      </a:cubicBezTo>
                      <a:cubicBezTo>
                        <a:pt x="10059" y="0"/>
                        <a:pt x="12953" y="2894"/>
                        <a:pt x="12953" y="6477"/>
                      </a:cubicBezTo>
                      <a:lnTo>
                        <a:pt x="12953" y="32411"/>
                      </a:lnTo>
                      <a:cubicBezTo>
                        <a:pt x="12953" y="35993"/>
                        <a:pt x="10059" y="38888"/>
                        <a:pt x="6477" y="38888"/>
                      </a:cubicBezTo>
                      <a:close/>
                    </a:path>
                  </a:pathLst>
                </a:custGeom>
                <a:solidFill>
                  <a:schemeClr val="accent1"/>
                </a:solidFill>
                <a:ln w="2860" cap="flat">
                  <a:noFill/>
                  <a:prstDash val="solid"/>
                  <a:miter/>
                </a:ln>
              </p:spPr>
              <p:txBody>
                <a:bodyPr rtlCol="0" anchor="ctr"/>
                <a:lstStyle/>
                <a:p>
                  <a:endParaRPr lang="en-GB" dirty="0"/>
                </a:p>
              </p:txBody>
            </p:sp>
            <p:sp>
              <p:nvSpPr>
                <p:cNvPr id="163" name="Freihandform: Form 332">
                  <a:extLst>
                    <a:ext uri="{FF2B5EF4-FFF2-40B4-BE49-F238E27FC236}">
                      <a16:creationId xmlns:a16="http://schemas.microsoft.com/office/drawing/2014/main" id="{5B08C30A-553B-4F12-B3F3-C168FBA05D4F}"/>
                    </a:ext>
                  </a:extLst>
                </p:cNvPr>
                <p:cNvSpPr/>
                <p:nvPr/>
              </p:nvSpPr>
              <p:spPr>
                <a:xfrm>
                  <a:off x="3648359" y="2696642"/>
                  <a:ext cx="142626" cy="162084"/>
                </a:xfrm>
                <a:custGeom>
                  <a:avLst/>
                  <a:gdLst>
                    <a:gd name="connsiteX0" fmla="*/ 136150 w 142626"/>
                    <a:gd name="connsiteY0" fmla="*/ 162085 h 162084"/>
                    <a:gd name="connsiteX1" fmla="*/ 38888 w 142626"/>
                    <a:gd name="connsiteY1" fmla="*/ 162085 h 162084"/>
                    <a:gd name="connsiteX2" fmla="*/ 32411 w 142626"/>
                    <a:gd name="connsiteY2" fmla="*/ 155608 h 162084"/>
                    <a:gd name="connsiteX3" fmla="*/ 32411 w 142626"/>
                    <a:gd name="connsiteY3" fmla="*/ 12953 h 162084"/>
                    <a:gd name="connsiteX4" fmla="*/ 6477 w 142626"/>
                    <a:gd name="connsiteY4" fmla="*/ 12953 h 162084"/>
                    <a:gd name="connsiteX5" fmla="*/ 0 w 142626"/>
                    <a:gd name="connsiteY5" fmla="*/ 6477 h 162084"/>
                    <a:gd name="connsiteX6" fmla="*/ 6477 w 142626"/>
                    <a:gd name="connsiteY6" fmla="*/ 0 h 162084"/>
                    <a:gd name="connsiteX7" fmla="*/ 38888 w 142626"/>
                    <a:gd name="connsiteY7" fmla="*/ 0 h 162084"/>
                    <a:gd name="connsiteX8" fmla="*/ 45364 w 142626"/>
                    <a:gd name="connsiteY8" fmla="*/ 6477 h 162084"/>
                    <a:gd name="connsiteX9" fmla="*/ 45364 w 142626"/>
                    <a:gd name="connsiteY9" fmla="*/ 149132 h 162084"/>
                    <a:gd name="connsiteX10" fmla="*/ 136150 w 142626"/>
                    <a:gd name="connsiteY10" fmla="*/ 149132 h 162084"/>
                    <a:gd name="connsiteX11" fmla="*/ 142626 w 142626"/>
                    <a:gd name="connsiteY11" fmla="*/ 155608 h 162084"/>
                    <a:gd name="connsiteX12" fmla="*/ 136150 w 142626"/>
                    <a:gd name="connsiteY12" fmla="*/ 162085 h 162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626" h="162084">
                      <a:moveTo>
                        <a:pt x="136150" y="162085"/>
                      </a:moveTo>
                      <a:lnTo>
                        <a:pt x="38888" y="162085"/>
                      </a:lnTo>
                      <a:cubicBezTo>
                        <a:pt x="35306" y="162085"/>
                        <a:pt x="32411" y="159190"/>
                        <a:pt x="32411" y="155608"/>
                      </a:cubicBezTo>
                      <a:lnTo>
                        <a:pt x="32411" y="12953"/>
                      </a:lnTo>
                      <a:lnTo>
                        <a:pt x="6477" y="12953"/>
                      </a:lnTo>
                      <a:cubicBezTo>
                        <a:pt x="2894" y="12953"/>
                        <a:pt x="0" y="10059"/>
                        <a:pt x="0" y="6477"/>
                      </a:cubicBezTo>
                      <a:cubicBezTo>
                        <a:pt x="0" y="2894"/>
                        <a:pt x="2894" y="0"/>
                        <a:pt x="6477" y="0"/>
                      </a:cubicBezTo>
                      <a:lnTo>
                        <a:pt x="38888" y="0"/>
                      </a:lnTo>
                      <a:cubicBezTo>
                        <a:pt x="42470" y="0"/>
                        <a:pt x="45364" y="2894"/>
                        <a:pt x="45364" y="6477"/>
                      </a:cubicBezTo>
                      <a:lnTo>
                        <a:pt x="45364" y="149132"/>
                      </a:lnTo>
                      <a:lnTo>
                        <a:pt x="136150" y="149132"/>
                      </a:lnTo>
                      <a:cubicBezTo>
                        <a:pt x="139732" y="149132"/>
                        <a:pt x="142626" y="152026"/>
                        <a:pt x="142626" y="155608"/>
                      </a:cubicBezTo>
                      <a:cubicBezTo>
                        <a:pt x="142626" y="159190"/>
                        <a:pt x="139732" y="162085"/>
                        <a:pt x="136150" y="162085"/>
                      </a:cubicBezTo>
                      <a:close/>
                    </a:path>
                  </a:pathLst>
                </a:custGeom>
                <a:solidFill>
                  <a:schemeClr val="accent1"/>
                </a:solidFill>
                <a:ln w="2860" cap="flat">
                  <a:noFill/>
                  <a:prstDash val="solid"/>
                  <a:miter/>
                </a:ln>
              </p:spPr>
              <p:txBody>
                <a:bodyPr rtlCol="0" anchor="ctr"/>
                <a:lstStyle/>
                <a:p>
                  <a:endParaRPr lang="en-GB" dirty="0"/>
                </a:p>
              </p:txBody>
            </p:sp>
          </p:grpSp>
        </p:grpSp>
      </p:grpSp>
      <p:grpSp>
        <p:nvGrpSpPr>
          <p:cNvPr id="180" name="Gruppieren 1006">
            <a:extLst>
              <a:ext uri="{FF2B5EF4-FFF2-40B4-BE49-F238E27FC236}">
                <a16:creationId xmlns:a16="http://schemas.microsoft.com/office/drawing/2014/main" id="{622110C9-441B-4CCA-B14F-6E5BC002F4A1}"/>
              </a:ext>
            </a:extLst>
          </p:cNvPr>
          <p:cNvGrpSpPr>
            <a:grpSpLocks noChangeAspect="1"/>
          </p:cNvGrpSpPr>
          <p:nvPr/>
        </p:nvGrpSpPr>
        <p:grpSpPr>
          <a:xfrm>
            <a:off x="3800277" y="2391526"/>
            <a:ext cx="314150" cy="432000"/>
            <a:chOff x="2604409" y="3286663"/>
            <a:chExt cx="311216" cy="427965"/>
          </a:xfrm>
        </p:grpSpPr>
        <p:grpSp>
          <p:nvGrpSpPr>
            <p:cNvPr id="181" name="Gruppieren 1005">
              <a:extLst>
                <a:ext uri="{FF2B5EF4-FFF2-40B4-BE49-F238E27FC236}">
                  <a16:creationId xmlns:a16="http://schemas.microsoft.com/office/drawing/2014/main" id="{194A535F-F6AB-4F35-94BE-152C64A32AD7}"/>
                </a:ext>
              </a:extLst>
            </p:cNvPr>
            <p:cNvGrpSpPr/>
            <p:nvPr/>
          </p:nvGrpSpPr>
          <p:grpSpPr>
            <a:xfrm>
              <a:off x="2688699" y="3520084"/>
              <a:ext cx="142648" cy="90776"/>
              <a:chOff x="2688699" y="3520084"/>
              <a:chExt cx="142648" cy="90776"/>
            </a:xfrm>
          </p:grpSpPr>
          <p:sp>
            <p:nvSpPr>
              <p:cNvPr id="190" name="Freihandform: Form 401">
                <a:extLst>
                  <a:ext uri="{FF2B5EF4-FFF2-40B4-BE49-F238E27FC236}">
                    <a16:creationId xmlns:a16="http://schemas.microsoft.com/office/drawing/2014/main" id="{AF186AF5-58E8-42F3-99C2-CBD2FAAED50A}"/>
                  </a:ext>
                </a:extLst>
              </p:cNvPr>
              <p:cNvSpPr/>
              <p:nvPr/>
            </p:nvSpPr>
            <p:spPr>
              <a:xfrm>
                <a:off x="2688719" y="3520104"/>
                <a:ext cx="142626" cy="90756"/>
              </a:xfrm>
              <a:custGeom>
                <a:avLst/>
                <a:gdLst>
                  <a:gd name="connsiteX0" fmla="*/ 136150 w 142626"/>
                  <a:gd name="connsiteY0" fmla="*/ 90757 h 90756"/>
                  <a:gd name="connsiteX1" fmla="*/ 6477 w 142626"/>
                  <a:gd name="connsiteY1" fmla="*/ 90757 h 90756"/>
                  <a:gd name="connsiteX2" fmla="*/ 0 w 142626"/>
                  <a:gd name="connsiteY2" fmla="*/ 84280 h 90756"/>
                  <a:gd name="connsiteX3" fmla="*/ 0 w 142626"/>
                  <a:gd name="connsiteY3" fmla="*/ 6477 h 90756"/>
                  <a:gd name="connsiteX4" fmla="*/ 6477 w 142626"/>
                  <a:gd name="connsiteY4" fmla="*/ 0 h 90756"/>
                  <a:gd name="connsiteX5" fmla="*/ 136150 w 142626"/>
                  <a:gd name="connsiteY5" fmla="*/ 0 h 90756"/>
                  <a:gd name="connsiteX6" fmla="*/ 142626 w 142626"/>
                  <a:gd name="connsiteY6" fmla="*/ 6477 h 90756"/>
                  <a:gd name="connsiteX7" fmla="*/ 142626 w 142626"/>
                  <a:gd name="connsiteY7" fmla="*/ 84280 h 90756"/>
                  <a:gd name="connsiteX8" fmla="*/ 136150 w 142626"/>
                  <a:gd name="connsiteY8" fmla="*/ 90757 h 90756"/>
                  <a:gd name="connsiteX9" fmla="*/ 12953 w 142626"/>
                  <a:gd name="connsiteY9" fmla="*/ 77804 h 90756"/>
                  <a:gd name="connsiteX10" fmla="*/ 129673 w 142626"/>
                  <a:gd name="connsiteY10" fmla="*/ 77804 h 90756"/>
                  <a:gd name="connsiteX11" fmla="*/ 129673 w 142626"/>
                  <a:gd name="connsiteY11" fmla="*/ 12953 h 90756"/>
                  <a:gd name="connsiteX12" fmla="*/ 12953 w 142626"/>
                  <a:gd name="connsiteY12" fmla="*/ 12953 h 90756"/>
                  <a:gd name="connsiteX13" fmla="*/ 12953 w 142626"/>
                  <a:gd name="connsiteY13" fmla="*/ 77804 h 90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626" h="90756">
                    <a:moveTo>
                      <a:pt x="136150" y="90757"/>
                    </a:moveTo>
                    <a:lnTo>
                      <a:pt x="6477" y="90757"/>
                    </a:lnTo>
                    <a:cubicBezTo>
                      <a:pt x="2894" y="90757"/>
                      <a:pt x="0" y="87863"/>
                      <a:pt x="0" y="84280"/>
                    </a:cubicBezTo>
                    <a:lnTo>
                      <a:pt x="0" y="6477"/>
                    </a:lnTo>
                    <a:cubicBezTo>
                      <a:pt x="0" y="2894"/>
                      <a:pt x="2894" y="0"/>
                      <a:pt x="6477" y="0"/>
                    </a:cubicBezTo>
                    <a:lnTo>
                      <a:pt x="136150" y="0"/>
                    </a:lnTo>
                    <a:cubicBezTo>
                      <a:pt x="139732" y="0"/>
                      <a:pt x="142626" y="2894"/>
                      <a:pt x="142626" y="6477"/>
                    </a:cubicBezTo>
                    <a:lnTo>
                      <a:pt x="142626" y="84280"/>
                    </a:lnTo>
                    <a:cubicBezTo>
                      <a:pt x="142655" y="87863"/>
                      <a:pt x="139732" y="90757"/>
                      <a:pt x="136150" y="90757"/>
                    </a:cubicBezTo>
                    <a:close/>
                    <a:moveTo>
                      <a:pt x="12953" y="77804"/>
                    </a:moveTo>
                    <a:lnTo>
                      <a:pt x="129673" y="77804"/>
                    </a:lnTo>
                    <a:lnTo>
                      <a:pt x="129673" y="12953"/>
                    </a:lnTo>
                    <a:lnTo>
                      <a:pt x="12953" y="12953"/>
                    </a:lnTo>
                    <a:lnTo>
                      <a:pt x="12953" y="77804"/>
                    </a:lnTo>
                    <a:close/>
                  </a:path>
                </a:pathLst>
              </a:custGeom>
              <a:solidFill>
                <a:schemeClr val="accent1"/>
              </a:solidFill>
              <a:ln w="2860" cap="flat">
                <a:noFill/>
                <a:prstDash val="solid"/>
                <a:miter/>
              </a:ln>
            </p:spPr>
            <p:txBody>
              <a:bodyPr rtlCol="0" anchor="ctr"/>
              <a:lstStyle/>
              <a:p>
                <a:endParaRPr lang="en-GB" dirty="0"/>
              </a:p>
            </p:txBody>
          </p:sp>
          <p:sp>
            <p:nvSpPr>
              <p:cNvPr id="191" name="Freihandform: Form 402">
                <a:extLst>
                  <a:ext uri="{FF2B5EF4-FFF2-40B4-BE49-F238E27FC236}">
                    <a16:creationId xmlns:a16="http://schemas.microsoft.com/office/drawing/2014/main" id="{B4F096A0-A116-4709-954A-E2351D1EF0B6}"/>
                  </a:ext>
                </a:extLst>
              </p:cNvPr>
              <p:cNvSpPr/>
              <p:nvPr/>
            </p:nvSpPr>
            <p:spPr>
              <a:xfrm>
                <a:off x="2688699" y="3520084"/>
                <a:ext cx="142648" cy="58365"/>
              </a:xfrm>
              <a:custGeom>
                <a:avLst/>
                <a:gdLst>
                  <a:gd name="connsiteX0" fmla="*/ 71347 w 142648"/>
                  <a:gd name="connsiteY0" fmla="*/ 58365 h 58365"/>
                  <a:gd name="connsiteX1" fmla="*/ 67621 w 142648"/>
                  <a:gd name="connsiteY1" fmla="*/ 57190 h 58365"/>
                  <a:gd name="connsiteX2" fmla="*/ 2770 w 142648"/>
                  <a:gd name="connsiteY2" fmla="*/ 11797 h 58365"/>
                  <a:gd name="connsiteX3" fmla="*/ 1166 w 142648"/>
                  <a:gd name="connsiteY3" fmla="*/ 2770 h 58365"/>
                  <a:gd name="connsiteX4" fmla="*/ 10193 w 142648"/>
                  <a:gd name="connsiteY4" fmla="*/ 1166 h 58365"/>
                  <a:gd name="connsiteX5" fmla="*/ 71318 w 142648"/>
                  <a:gd name="connsiteY5" fmla="*/ 43951 h 58365"/>
                  <a:gd name="connsiteX6" fmla="*/ 132444 w 142648"/>
                  <a:gd name="connsiteY6" fmla="*/ 1166 h 58365"/>
                  <a:gd name="connsiteX7" fmla="*/ 141471 w 142648"/>
                  <a:gd name="connsiteY7" fmla="*/ 2770 h 58365"/>
                  <a:gd name="connsiteX8" fmla="*/ 139866 w 142648"/>
                  <a:gd name="connsiteY8" fmla="*/ 11797 h 58365"/>
                  <a:gd name="connsiteX9" fmla="*/ 75015 w 142648"/>
                  <a:gd name="connsiteY9" fmla="*/ 57190 h 58365"/>
                  <a:gd name="connsiteX10" fmla="*/ 71347 w 142648"/>
                  <a:gd name="connsiteY10" fmla="*/ 58365 h 58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2648" h="58365">
                    <a:moveTo>
                      <a:pt x="71347" y="58365"/>
                    </a:moveTo>
                    <a:cubicBezTo>
                      <a:pt x="70057" y="58365"/>
                      <a:pt x="68739" y="57964"/>
                      <a:pt x="67621" y="57190"/>
                    </a:cubicBezTo>
                    <a:lnTo>
                      <a:pt x="2770" y="11797"/>
                    </a:lnTo>
                    <a:cubicBezTo>
                      <a:pt x="-181" y="9734"/>
                      <a:pt x="-869" y="5693"/>
                      <a:pt x="1166" y="2770"/>
                    </a:cubicBezTo>
                    <a:cubicBezTo>
                      <a:pt x="3229" y="-181"/>
                      <a:pt x="7269" y="-869"/>
                      <a:pt x="10193" y="1166"/>
                    </a:cubicBezTo>
                    <a:lnTo>
                      <a:pt x="71318" y="43951"/>
                    </a:lnTo>
                    <a:lnTo>
                      <a:pt x="132444" y="1166"/>
                    </a:lnTo>
                    <a:cubicBezTo>
                      <a:pt x="135367" y="-869"/>
                      <a:pt x="139408" y="-181"/>
                      <a:pt x="141471" y="2770"/>
                    </a:cubicBezTo>
                    <a:cubicBezTo>
                      <a:pt x="143534" y="5693"/>
                      <a:pt x="142818" y="9734"/>
                      <a:pt x="139866" y="11797"/>
                    </a:cubicBezTo>
                    <a:lnTo>
                      <a:pt x="75015" y="57190"/>
                    </a:lnTo>
                    <a:cubicBezTo>
                      <a:pt x="73926" y="57964"/>
                      <a:pt x="72636" y="58365"/>
                      <a:pt x="71347" y="58365"/>
                    </a:cubicBezTo>
                    <a:close/>
                  </a:path>
                </a:pathLst>
              </a:custGeom>
              <a:solidFill>
                <a:schemeClr val="accent1"/>
              </a:solidFill>
              <a:ln w="2860" cap="flat">
                <a:noFill/>
                <a:prstDash val="solid"/>
                <a:miter/>
              </a:ln>
            </p:spPr>
            <p:txBody>
              <a:bodyPr rtlCol="0" anchor="ctr"/>
              <a:lstStyle/>
              <a:p>
                <a:endParaRPr lang="en-GB" dirty="0"/>
              </a:p>
            </p:txBody>
          </p:sp>
          <p:sp>
            <p:nvSpPr>
              <p:cNvPr id="192" name="Freihandform: Form 403">
                <a:extLst>
                  <a:ext uri="{FF2B5EF4-FFF2-40B4-BE49-F238E27FC236}">
                    <a16:creationId xmlns:a16="http://schemas.microsoft.com/office/drawing/2014/main" id="{8DC07286-E265-4E98-84A0-853088924614}"/>
                  </a:ext>
                </a:extLst>
              </p:cNvPr>
              <p:cNvSpPr/>
              <p:nvPr/>
            </p:nvSpPr>
            <p:spPr>
              <a:xfrm>
                <a:off x="2688712" y="3562732"/>
                <a:ext cx="71570" cy="48128"/>
              </a:xfrm>
              <a:custGeom>
                <a:avLst/>
                <a:gdLst>
                  <a:gd name="connsiteX0" fmla="*/ 6483 w 71570"/>
                  <a:gd name="connsiteY0" fmla="*/ 48128 h 48128"/>
                  <a:gd name="connsiteX1" fmla="*/ 924 w 71570"/>
                  <a:gd name="connsiteY1" fmla="*/ 44976 h 48128"/>
                  <a:gd name="connsiteX2" fmla="*/ 3159 w 71570"/>
                  <a:gd name="connsiteY2" fmla="*/ 36092 h 48128"/>
                  <a:gd name="connsiteX3" fmla="*/ 61763 w 71570"/>
                  <a:gd name="connsiteY3" fmla="*/ 930 h 48128"/>
                  <a:gd name="connsiteX4" fmla="*/ 70647 w 71570"/>
                  <a:gd name="connsiteY4" fmla="*/ 3165 h 48128"/>
                  <a:gd name="connsiteX5" fmla="*/ 68411 w 71570"/>
                  <a:gd name="connsiteY5" fmla="*/ 12049 h 48128"/>
                  <a:gd name="connsiteX6" fmla="*/ 9807 w 71570"/>
                  <a:gd name="connsiteY6" fmla="*/ 47211 h 48128"/>
                  <a:gd name="connsiteX7" fmla="*/ 6483 w 71570"/>
                  <a:gd name="connsiteY7" fmla="*/ 48128 h 481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570" h="48128">
                    <a:moveTo>
                      <a:pt x="6483" y="48128"/>
                    </a:moveTo>
                    <a:cubicBezTo>
                      <a:pt x="4277" y="48128"/>
                      <a:pt x="2127" y="47011"/>
                      <a:pt x="924" y="44976"/>
                    </a:cubicBezTo>
                    <a:cubicBezTo>
                      <a:pt x="-910" y="41910"/>
                      <a:pt x="64" y="37926"/>
                      <a:pt x="3159" y="36092"/>
                    </a:cubicBezTo>
                    <a:lnTo>
                      <a:pt x="61763" y="930"/>
                    </a:lnTo>
                    <a:cubicBezTo>
                      <a:pt x="64829" y="-933"/>
                      <a:pt x="68813" y="99"/>
                      <a:pt x="70647" y="3165"/>
                    </a:cubicBezTo>
                    <a:cubicBezTo>
                      <a:pt x="72481" y="6232"/>
                      <a:pt x="71506" y="10215"/>
                      <a:pt x="68411" y="12049"/>
                    </a:cubicBezTo>
                    <a:lnTo>
                      <a:pt x="9807" y="47211"/>
                    </a:lnTo>
                    <a:cubicBezTo>
                      <a:pt x="8776" y="47842"/>
                      <a:pt x="7629" y="48128"/>
                      <a:pt x="6483" y="48128"/>
                    </a:cubicBezTo>
                    <a:close/>
                  </a:path>
                </a:pathLst>
              </a:custGeom>
              <a:solidFill>
                <a:schemeClr val="accent1"/>
              </a:solidFill>
              <a:ln w="2860" cap="flat">
                <a:noFill/>
                <a:prstDash val="solid"/>
                <a:miter/>
              </a:ln>
            </p:spPr>
            <p:txBody>
              <a:bodyPr rtlCol="0" anchor="ctr"/>
              <a:lstStyle/>
              <a:p>
                <a:endParaRPr lang="en-GB" dirty="0"/>
              </a:p>
            </p:txBody>
          </p:sp>
          <p:sp>
            <p:nvSpPr>
              <p:cNvPr id="193" name="Freihandform: Form 404">
                <a:extLst>
                  <a:ext uri="{FF2B5EF4-FFF2-40B4-BE49-F238E27FC236}">
                    <a16:creationId xmlns:a16="http://schemas.microsoft.com/office/drawing/2014/main" id="{994A73DD-A281-4E12-B9F4-DB8A9B427346}"/>
                  </a:ext>
                </a:extLst>
              </p:cNvPr>
              <p:cNvSpPr/>
              <p:nvPr/>
            </p:nvSpPr>
            <p:spPr>
              <a:xfrm>
                <a:off x="2759501" y="3562573"/>
                <a:ext cx="71843" cy="48287"/>
              </a:xfrm>
              <a:custGeom>
                <a:avLst/>
                <a:gdLst>
                  <a:gd name="connsiteX0" fmla="*/ 65367 w 71843"/>
                  <a:gd name="connsiteY0" fmla="*/ 48287 h 48287"/>
                  <a:gd name="connsiteX1" fmla="*/ 62043 w 71843"/>
                  <a:gd name="connsiteY1" fmla="*/ 47370 h 48287"/>
                  <a:gd name="connsiteX2" fmla="*/ 3152 w 71843"/>
                  <a:gd name="connsiteY2" fmla="*/ 12036 h 48287"/>
                  <a:gd name="connsiteX3" fmla="*/ 917 w 71843"/>
                  <a:gd name="connsiteY3" fmla="*/ 3152 h 48287"/>
                  <a:gd name="connsiteX4" fmla="*/ 9801 w 71843"/>
                  <a:gd name="connsiteY4" fmla="*/ 917 h 48287"/>
                  <a:gd name="connsiteX5" fmla="*/ 68691 w 71843"/>
                  <a:gd name="connsiteY5" fmla="*/ 36251 h 48287"/>
                  <a:gd name="connsiteX6" fmla="*/ 70927 w 71843"/>
                  <a:gd name="connsiteY6" fmla="*/ 45135 h 48287"/>
                  <a:gd name="connsiteX7" fmla="*/ 65367 w 71843"/>
                  <a:gd name="connsiteY7" fmla="*/ 48287 h 48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843" h="48287">
                    <a:moveTo>
                      <a:pt x="65367" y="48287"/>
                    </a:moveTo>
                    <a:cubicBezTo>
                      <a:pt x="64221" y="48287"/>
                      <a:pt x="63075" y="48001"/>
                      <a:pt x="62043" y="47370"/>
                    </a:cubicBezTo>
                    <a:lnTo>
                      <a:pt x="3152" y="12036"/>
                    </a:lnTo>
                    <a:cubicBezTo>
                      <a:pt x="86" y="10202"/>
                      <a:pt x="-917" y="6219"/>
                      <a:pt x="917" y="3152"/>
                    </a:cubicBezTo>
                    <a:cubicBezTo>
                      <a:pt x="2751" y="86"/>
                      <a:pt x="6735" y="-917"/>
                      <a:pt x="9801" y="917"/>
                    </a:cubicBezTo>
                    <a:lnTo>
                      <a:pt x="68691" y="36251"/>
                    </a:lnTo>
                    <a:cubicBezTo>
                      <a:pt x="71758" y="38085"/>
                      <a:pt x="72761" y="42069"/>
                      <a:pt x="70927" y="45135"/>
                    </a:cubicBezTo>
                    <a:cubicBezTo>
                      <a:pt x="69723" y="47170"/>
                      <a:pt x="67574" y="48287"/>
                      <a:pt x="65367" y="48287"/>
                    </a:cubicBezTo>
                    <a:close/>
                  </a:path>
                </a:pathLst>
              </a:custGeom>
              <a:solidFill>
                <a:schemeClr val="accent1"/>
              </a:solidFill>
              <a:ln w="2860" cap="flat">
                <a:noFill/>
                <a:prstDash val="solid"/>
                <a:miter/>
              </a:ln>
            </p:spPr>
            <p:txBody>
              <a:bodyPr rtlCol="0" anchor="ctr"/>
              <a:lstStyle/>
              <a:p>
                <a:endParaRPr lang="en-GB" dirty="0"/>
              </a:p>
            </p:txBody>
          </p:sp>
        </p:grpSp>
        <p:grpSp>
          <p:nvGrpSpPr>
            <p:cNvPr id="182" name="Gruppieren 1004">
              <a:extLst>
                <a:ext uri="{FF2B5EF4-FFF2-40B4-BE49-F238E27FC236}">
                  <a16:creationId xmlns:a16="http://schemas.microsoft.com/office/drawing/2014/main" id="{6A5C5341-6C45-4D14-8CFC-79A6031A5C50}"/>
                </a:ext>
              </a:extLst>
            </p:cNvPr>
            <p:cNvGrpSpPr/>
            <p:nvPr/>
          </p:nvGrpSpPr>
          <p:grpSpPr>
            <a:xfrm>
              <a:off x="2604409" y="3286663"/>
              <a:ext cx="311216" cy="427965"/>
              <a:chOff x="2604409" y="3286663"/>
              <a:chExt cx="311216" cy="427965"/>
            </a:xfrm>
          </p:grpSpPr>
          <p:sp>
            <p:nvSpPr>
              <p:cNvPr id="183" name="Freihandform: Form 396">
                <a:extLst>
                  <a:ext uri="{FF2B5EF4-FFF2-40B4-BE49-F238E27FC236}">
                    <a16:creationId xmlns:a16="http://schemas.microsoft.com/office/drawing/2014/main" id="{8CCDDC0C-C228-4864-BF5B-736E3026E99E}"/>
                  </a:ext>
                </a:extLst>
              </p:cNvPr>
              <p:cNvSpPr/>
              <p:nvPr/>
            </p:nvSpPr>
            <p:spPr>
              <a:xfrm>
                <a:off x="2610886" y="3662759"/>
                <a:ext cx="298263" cy="51869"/>
              </a:xfrm>
              <a:custGeom>
                <a:avLst/>
                <a:gdLst>
                  <a:gd name="connsiteX0" fmla="*/ 291786 w 298263"/>
                  <a:gd name="connsiteY0" fmla="*/ 51869 h 51869"/>
                  <a:gd name="connsiteX1" fmla="*/ 6476 w 298263"/>
                  <a:gd name="connsiteY1" fmla="*/ 51869 h 51869"/>
                  <a:gd name="connsiteX2" fmla="*/ 0 w 298263"/>
                  <a:gd name="connsiteY2" fmla="*/ 45393 h 51869"/>
                  <a:gd name="connsiteX3" fmla="*/ 0 w 298263"/>
                  <a:gd name="connsiteY3" fmla="*/ 6477 h 51869"/>
                  <a:gd name="connsiteX4" fmla="*/ 6476 w 298263"/>
                  <a:gd name="connsiteY4" fmla="*/ 0 h 51869"/>
                  <a:gd name="connsiteX5" fmla="*/ 291786 w 298263"/>
                  <a:gd name="connsiteY5" fmla="*/ 0 h 51869"/>
                  <a:gd name="connsiteX6" fmla="*/ 298263 w 298263"/>
                  <a:gd name="connsiteY6" fmla="*/ 6477 h 51869"/>
                  <a:gd name="connsiteX7" fmla="*/ 298263 w 298263"/>
                  <a:gd name="connsiteY7" fmla="*/ 45393 h 51869"/>
                  <a:gd name="connsiteX8" fmla="*/ 291786 w 298263"/>
                  <a:gd name="connsiteY8" fmla="*/ 51869 h 51869"/>
                  <a:gd name="connsiteX9" fmla="*/ 12982 w 298263"/>
                  <a:gd name="connsiteY9" fmla="*/ 38888 h 51869"/>
                  <a:gd name="connsiteX10" fmla="*/ 285310 w 298263"/>
                  <a:gd name="connsiteY10" fmla="*/ 38888 h 51869"/>
                  <a:gd name="connsiteX11" fmla="*/ 285310 w 298263"/>
                  <a:gd name="connsiteY11" fmla="*/ 12953 h 51869"/>
                  <a:gd name="connsiteX12" fmla="*/ 12982 w 298263"/>
                  <a:gd name="connsiteY12" fmla="*/ 12953 h 51869"/>
                  <a:gd name="connsiteX13" fmla="*/ 12982 w 298263"/>
                  <a:gd name="connsiteY13" fmla="*/ 38888 h 5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98263" h="51869">
                    <a:moveTo>
                      <a:pt x="291786" y="51869"/>
                    </a:moveTo>
                    <a:lnTo>
                      <a:pt x="6476" y="51869"/>
                    </a:lnTo>
                    <a:cubicBezTo>
                      <a:pt x="2894" y="51869"/>
                      <a:pt x="0" y="48975"/>
                      <a:pt x="0" y="45393"/>
                    </a:cubicBezTo>
                    <a:lnTo>
                      <a:pt x="0" y="6477"/>
                    </a:lnTo>
                    <a:cubicBezTo>
                      <a:pt x="0" y="2894"/>
                      <a:pt x="2894" y="0"/>
                      <a:pt x="6476" y="0"/>
                    </a:cubicBezTo>
                    <a:lnTo>
                      <a:pt x="291786" y="0"/>
                    </a:lnTo>
                    <a:cubicBezTo>
                      <a:pt x="295369" y="0"/>
                      <a:pt x="298263" y="2894"/>
                      <a:pt x="298263" y="6477"/>
                    </a:cubicBezTo>
                    <a:lnTo>
                      <a:pt x="298263" y="45393"/>
                    </a:lnTo>
                    <a:cubicBezTo>
                      <a:pt x="298292" y="48946"/>
                      <a:pt x="295397" y="51869"/>
                      <a:pt x="291786" y="51869"/>
                    </a:cubicBezTo>
                    <a:close/>
                    <a:moveTo>
                      <a:pt x="12982" y="38888"/>
                    </a:moveTo>
                    <a:lnTo>
                      <a:pt x="285310" y="38888"/>
                    </a:lnTo>
                    <a:lnTo>
                      <a:pt x="285310" y="12953"/>
                    </a:lnTo>
                    <a:lnTo>
                      <a:pt x="12982" y="12953"/>
                    </a:lnTo>
                    <a:lnTo>
                      <a:pt x="12982" y="38888"/>
                    </a:lnTo>
                    <a:close/>
                  </a:path>
                </a:pathLst>
              </a:custGeom>
              <a:solidFill>
                <a:schemeClr val="tx2"/>
              </a:solidFill>
              <a:ln w="2860" cap="flat">
                <a:noFill/>
                <a:prstDash val="solid"/>
                <a:miter/>
              </a:ln>
            </p:spPr>
            <p:txBody>
              <a:bodyPr rtlCol="0" anchor="ctr"/>
              <a:lstStyle/>
              <a:p>
                <a:endParaRPr lang="en-GB" dirty="0"/>
              </a:p>
            </p:txBody>
          </p:sp>
          <p:sp>
            <p:nvSpPr>
              <p:cNvPr id="184" name="Freihandform: Form 397">
                <a:extLst>
                  <a:ext uri="{FF2B5EF4-FFF2-40B4-BE49-F238E27FC236}">
                    <a16:creationId xmlns:a16="http://schemas.microsoft.com/office/drawing/2014/main" id="{D8F10821-5D9F-4A76-9E57-EE8D1728EC8B}"/>
                  </a:ext>
                </a:extLst>
              </p:cNvPr>
              <p:cNvSpPr/>
              <p:nvPr/>
            </p:nvSpPr>
            <p:spPr>
              <a:xfrm>
                <a:off x="2656307" y="3409888"/>
                <a:ext cx="207477" cy="233412"/>
              </a:xfrm>
              <a:custGeom>
                <a:avLst/>
                <a:gdLst>
                  <a:gd name="connsiteX0" fmla="*/ 201001 w 207477"/>
                  <a:gd name="connsiteY0" fmla="*/ 233412 h 233412"/>
                  <a:gd name="connsiteX1" fmla="*/ 6477 w 207477"/>
                  <a:gd name="connsiteY1" fmla="*/ 233412 h 233412"/>
                  <a:gd name="connsiteX2" fmla="*/ 0 w 207477"/>
                  <a:gd name="connsiteY2" fmla="*/ 226936 h 233412"/>
                  <a:gd name="connsiteX3" fmla="*/ 0 w 207477"/>
                  <a:gd name="connsiteY3" fmla="*/ 0 h 233412"/>
                  <a:gd name="connsiteX4" fmla="*/ 12982 w 207477"/>
                  <a:gd name="connsiteY4" fmla="*/ 0 h 233412"/>
                  <a:gd name="connsiteX5" fmla="*/ 12982 w 207477"/>
                  <a:gd name="connsiteY5" fmla="*/ 220459 h 233412"/>
                  <a:gd name="connsiteX6" fmla="*/ 194496 w 207477"/>
                  <a:gd name="connsiteY6" fmla="*/ 220459 h 233412"/>
                  <a:gd name="connsiteX7" fmla="*/ 194496 w 207477"/>
                  <a:gd name="connsiteY7" fmla="*/ 0 h 233412"/>
                  <a:gd name="connsiteX8" fmla="*/ 207477 w 207477"/>
                  <a:gd name="connsiteY8" fmla="*/ 0 h 233412"/>
                  <a:gd name="connsiteX9" fmla="*/ 207477 w 207477"/>
                  <a:gd name="connsiteY9" fmla="*/ 226936 h 233412"/>
                  <a:gd name="connsiteX10" fmla="*/ 201001 w 207477"/>
                  <a:gd name="connsiteY10" fmla="*/ 233412 h 233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7477" h="233412">
                    <a:moveTo>
                      <a:pt x="201001" y="233412"/>
                    </a:moveTo>
                    <a:lnTo>
                      <a:pt x="6477" y="233412"/>
                    </a:lnTo>
                    <a:cubicBezTo>
                      <a:pt x="2894" y="233412"/>
                      <a:pt x="0" y="230518"/>
                      <a:pt x="0" y="226936"/>
                    </a:cubicBezTo>
                    <a:lnTo>
                      <a:pt x="0" y="0"/>
                    </a:lnTo>
                    <a:lnTo>
                      <a:pt x="12982" y="0"/>
                    </a:lnTo>
                    <a:lnTo>
                      <a:pt x="12982" y="220459"/>
                    </a:lnTo>
                    <a:lnTo>
                      <a:pt x="194496" y="220459"/>
                    </a:lnTo>
                    <a:lnTo>
                      <a:pt x="194496" y="0"/>
                    </a:lnTo>
                    <a:lnTo>
                      <a:pt x="207477" y="0"/>
                    </a:lnTo>
                    <a:lnTo>
                      <a:pt x="207477" y="226936"/>
                    </a:lnTo>
                    <a:cubicBezTo>
                      <a:pt x="207477" y="230518"/>
                      <a:pt x="204583" y="233412"/>
                      <a:pt x="201001" y="233412"/>
                    </a:cubicBezTo>
                    <a:close/>
                  </a:path>
                </a:pathLst>
              </a:custGeom>
              <a:solidFill>
                <a:schemeClr val="tx2"/>
              </a:solidFill>
              <a:ln w="2860" cap="flat">
                <a:noFill/>
                <a:prstDash val="solid"/>
                <a:miter/>
              </a:ln>
            </p:spPr>
            <p:txBody>
              <a:bodyPr rtlCol="0" anchor="ctr"/>
              <a:lstStyle/>
              <a:p>
                <a:endParaRPr lang="en-GB" dirty="0"/>
              </a:p>
            </p:txBody>
          </p:sp>
          <p:sp>
            <p:nvSpPr>
              <p:cNvPr id="185" name="Freihandform: Form 398">
                <a:extLst>
                  <a:ext uri="{FF2B5EF4-FFF2-40B4-BE49-F238E27FC236}">
                    <a16:creationId xmlns:a16="http://schemas.microsoft.com/office/drawing/2014/main" id="{AC95B85B-9031-4395-8EA4-72FFC490EA66}"/>
                  </a:ext>
                </a:extLst>
              </p:cNvPr>
              <p:cNvSpPr/>
              <p:nvPr/>
            </p:nvSpPr>
            <p:spPr>
              <a:xfrm>
                <a:off x="2630359" y="3630319"/>
                <a:ext cx="259373" cy="45392"/>
              </a:xfrm>
              <a:custGeom>
                <a:avLst/>
                <a:gdLst>
                  <a:gd name="connsiteX0" fmla="*/ 252884 w 259373"/>
                  <a:gd name="connsiteY0" fmla="*/ 45393 h 45392"/>
                  <a:gd name="connsiteX1" fmla="*/ 6490 w 259373"/>
                  <a:gd name="connsiteY1" fmla="*/ 45393 h 45392"/>
                  <a:gd name="connsiteX2" fmla="*/ 644 w 259373"/>
                  <a:gd name="connsiteY2" fmla="*/ 41725 h 45392"/>
                  <a:gd name="connsiteX3" fmla="*/ 1418 w 259373"/>
                  <a:gd name="connsiteY3" fmla="*/ 34847 h 45392"/>
                  <a:gd name="connsiteX4" fmla="*/ 27352 w 259373"/>
                  <a:gd name="connsiteY4" fmla="*/ 2436 h 45392"/>
                  <a:gd name="connsiteX5" fmla="*/ 32425 w 259373"/>
                  <a:gd name="connsiteY5" fmla="*/ 0 h 45392"/>
                  <a:gd name="connsiteX6" fmla="*/ 226949 w 259373"/>
                  <a:gd name="connsiteY6" fmla="*/ 0 h 45392"/>
                  <a:gd name="connsiteX7" fmla="*/ 232021 w 259373"/>
                  <a:gd name="connsiteY7" fmla="*/ 2436 h 45392"/>
                  <a:gd name="connsiteX8" fmla="*/ 257956 w 259373"/>
                  <a:gd name="connsiteY8" fmla="*/ 34847 h 45392"/>
                  <a:gd name="connsiteX9" fmla="*/ 258730 w 259373"/>
                  <a:gd name="connsiteY9" fmla="*/ 41725 h 45392"/>
                  <a:gd name="connsiteX10" fmla="*/ 252884 w 259373"/>
                  <a:gd name="connsiteY10" fmla="*/ 45393 h 45392"/>
                  <a:gd name="connsiteX11" fmla="*/ 19987 w 259373"/>
                  <a:gd name="connsiteY11" fmla="*/ 32440 h 45392"/>
                  <a:gd name="connsiteX12" fmla="*/ 239386 w 259373"/>
                  <a:gd name="connsiteY12" fmla="*/ 32440 h 45392"/>
                  <a:gd name="connsiteX13" fmla="*/ 223825 w 259373"/>
                  <a:gd name="connsiteY13" fmla="*/ 12982 h 45392"/>
                  <a:gd name="connsiteX14" fmla="*/ 35548 w 259373"/>
                  <a:gd name="connsiteY14" fmla="*/ 12982 h 45392"/>
                  <a:gd name="connsiteX15" fmla="*/ 19987 w 259373"/>
                  <a:gd name="connsiteY15" fmla="*/ 32440 h 4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9373" h="45392">
                    <a:moveTo>
                      <a:pt x="252884" y="45393"/>
                    </a:moveTo>
                    <a:lnTo>
                      <a:pt x="6490" y="45393"/>
                    </a:lnTo>
                    <a:cubicBezTo>
                      <a:pt x="3997" y="45393"/>
                      <a:pt x="1733" y="43960"/>
                      <a:pt x="644" y="41725"/>
                    </a:cubicBezTo>
                    <a:cubicBezTo>
                      <a:pt x="-445" y="39489"/>
                      <a:pt x="-130" y="36824"/>
                      <a:pt x="1418" y="34847"/>
                    </a:cubicBezTo>
                    <a:lnTo>
                      <a:pt x="27352" y="2436"/>
                    </a:lnTo>
                    <a:cubicBezTo>
                      <a:pt x="28584" y="888"/>
                      <a:pt x="30447" y="0"/>
                      <a:pt x="32425" y="0"/>
                    </a:cubicBezTo>
                    <a:lnTo>
                      <a:pt x="226949" y="0"/>
                    </a:lnTo>
                    <a:cubicBezTo>
                      <a:pt x="228926" y="0"/>
                      <a:pt x="230789" y="888"/>
                      <a:pt x="232021" y="2436"/>
                    </a:cubicBezTo>
                    <a:lnTo>
                      <a:pt x="257956" y="34847"/>
                    </a:lnTo>
                    <a:cubicBezTo>
                      <a:pt x="259503" y="36796"/>
                      <a:pt x="259819" y="39461"/>
                      <a:pt x="258730" y="41725"/>
                    </a:cubicBezTo>
                    <a:cubicBezTo>
                      <a:pt x="257641" y="43960"/>
                      <a:pt x="255377" y="45393"/>
                      <a:pt x="252884" y="45393"/>
                    </a:cubicBezTo>
                    <a:close/>
                    <a:moveTo>
                      <a:pt x="19987" y="32440"/>
                    </a:moveTo>
                    <a:lnTo>
                      <a:pt x="239386" y="32440"/>
                    </a:lnTo>
                    <a:lnTo>
                      <a:pt x="223825" y="12982"/>
                    </a:lnTo>
                    <a:lnTo>
                      <a:pt x="35548" y="12982"/>
                    </a:lnTo>
                    <a:lnTo>
                      <a:pt x="19987" y="32440"/>
                    </a:lnTo>
                    <a:close/>
                  </a:path>
                </a:pathLst>
              </a:custGeom>
              <a:solidFill>
                <a:schemeClr val="tx2"/>
              </a:solidFill>
              <a:ln w="2860" cap="flat">
                <a:noFill/>
                <a:prstDash val="solid"/>
                <a:miter/>
              </a:ln>
            </p:spPr>
            <p:txBody>
              <a:bodyPr rtlCol="0" anchor="ctr"/>
              <a:lstStyle/>
              <a:p>
                <a:endParaRPr lang="en-GB" dirty="0"/>
              </a:p>
            </p:txBody>
          </p:sp>
          <p:sp>
            <p:nvSpPr>
              <p:cNvPr id="186" name="Freihandform: Form 399">
                <a:extLst>
                  <a:ext uri="{FF2B5EF4-FFF2-40B4-BE49-F238E27FC236}">
                    <a16:creationId xmlns:a16="http://schemas.microsoft.com/office/drawing/2014/main" id="{91005957-B0F8-4BD1-8DD4-92D46AB09553}"/>
                  </a:ext>
                </a:extLst>
              </p:cNvPr>
              <p:cNvSpPr/>
              <p:nvPr/>
            </p:nvSpPr>
            <p:spPr>
              <a:xfrm>
                <a:off x="2623888" y="3351514"/>
                <a:ext cx="272343" cy="45392"/>
              </a:xfrm>
              <a:custGeom>
                <a:avLst/>
                <a:gdLst>
                  <a:gd name="connsiteX0" fmla="*/ 259354 w 272343"/>
                  <a:gd name="connsiteY0" fmla="*/ 45393 h 45392"/>
                  <a:gd name="connsiteX1" fmla="*/ 12961 w 272343"/>
                  <a:gd name="connsiteY1" fmla="*/ 45393 h 45392"/>
                  <a:gd name="connsiteX2" fmla="*/ 6599 w 272343"/>
                  <a:gd name="connsiteY2" fmla="*/ 40177 h 45392"/>
                  <a:gd name="connsiteX3" fmla="*/ 122 w 272343"/>
                  <a:gd name="connsiteY3" fmla="*/ 7766 h 45392"/>
                  <a:gd name="connsiteX4" fmla="*/ 1469 w 272343"/>
                  <a:gd name="connsiteY4" fmla="*/ 2379 h 45392"/>
                  <a:gd name="connsiteX5" fmla="*/ 6484 w 272343"/>
                  <a:gd name="connsiteY5" fmla="*/ 0 h 45392"/>
                  <a:gd name="connsiteX6" fmla="*/ 265860 w 272343"/>
                  <a:gd name="connsiteY6" fmla="*/ 0 h 45392"/>
                  <a:gd name="connsiteX7" fmla="*/ 270875 w 272343"/>
                  <a:gd name="connsiteY7" fmla="*/ 2379 h 45392"/>
                  <a:gd name="connsiteX8" fmla="*/ 272221 w 272343"/>
                  <a:gd name="connsiteY8" fmla="*/ 7766 h 45392"/>
                  <a:gd name="connsiteX9" fmla="*/ 265745 w 272343"/>
                  <a:gd name="connsiteY9" fmla="*/ 40177 h 45392"/>
                  <a:gd name="connsiteX10" fmla="*/ 259354 w 272343"/>
                  <a:gd name="connsiteY10" fmla="*/ 45393 h 45392"/>
                  <a:gd name="connsiteX11" fmla="*/ 18262 w 272343"/>
                  <a:gd name="connsiteY11" fmla="*/ 32411 h 45392"/>
                  <a:gd name="connsiteX12" fmla="*/ 254024 w 272343"/>
                  <a:gd name="connsiteY12" fmla="*/ 32411 h 45392"/>
                  <a:gd name="connsiteX13" fmla="*/ 257922 w 272343"/>
                  <a:gd name="connsiteY13" fmla="*/ 12953 h 45392"/>
                  <a:gd name="connsiteX14" fmla="*/ 14365 w 272343"/>
                  <a:gd name="connsiteY14" fmla="*/ 12953 h 45392"/>
                  <a:gd name="connsiteX15" fmla="*/ 18262 w 272343"/>
                  <a:gd name="connsiteY15" fmla="*/ 32411 h 4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72343" h="45392">
                    <a:moveTo>
                      <a:pt x="259354" y="45393"/>
                    </a:moveTo>
                    <a:lnTo>
                      <a:pt x="12961" y="45393"/>
                    </a:lnTo>
                    <a:cubicBezTo>
                      <a:pt x="9866" y="45393"/>
                      <a:pt x="7201" y="43215"/>
                      <a:pt x="6599" y="40177"/>
                    </a:cubicBezTo>
                    <a:lnTo>
                      <a:pt x="122" y="7766"/>
                    </a:lnTo>
                    <a:cubicBezTo>
                      <a:pt x="-250" y="5846"/>
                      <a:pt x="237" y="3897"/>
                      <a:pt x="1469" y="2379"/>
                    </a:cubicBezTo>
                    <a:cubicBezTo>
                      <a:pt x="2701" y="888"/>
                      <a:pt x="4536" y="0"/>
                      <a:pt x="6484" y="0"/>
                    </a:cubicBezTo>
                    <a:lnTo>
                      <a:pt x="265860" y="0"/>
                    </a:lnTo>
                    <a:cubicBezTo>
                      <a:pt x="267808" y="0"/>
                      <a:pt x="269642" y="860"/>
                      <a:pt x="270875" y="2379"/>
                    </a:cubicBezTo>
                    <a:cubicBezTo>
                      <a:pt x="272107" y="3869"/>
                      <a:pt x="272594" y="5846"/>
                      <a:pt x="272221" y="7766"/>
                    </a:cubicBezTo>
                    <a:lnTo>
                      <a:pt x="265745" y="40177"/>
                    </a:lnTo>
                    <a:cubicBezTo>
                      <a:pt x="265086" y="43215"/>
                      <a:pt x="262421" y="45393"/>
                      <a:pt x="259354" y="45393"/>
                    </a:cubicBezTo>
                    <a:close/>
                    <a:moveTo>
                      <a:pt x="18262" y="32411"/>
                    </a:moveTo>
                    <a:lnTo>
                      <a:pt x="254024" y="32411"/>
                    </a:lnTo>
                    <a:lnTo>
                      <a:pt x="257922" y="12953"/>
                    </a:lnTo>
                    <a:lnTo>
                      <a:pt x="14365" y="12953"/>
                    </a:lnTo>
                    <a:lnTo>
                      <a:pt x="18262" y="32411"/>
                    </a:lnTo>
                    <a:close/>
                  </a:path>
                </a:pathLst>
              </a:custGeom>
              <a:solidFill>
                <a:schemeClr val="tx2"/>
              </a:solidFill>
              <a:ln w="2860" cap="flat">
                <a:noFill/>
                <a:prstDash val="solid"/>
                <a:miter/>
              </a:ln>
            </p:spPr>
            <p:txBody>
              <a:bodyPr rtlCol="0" anchor="ctr"/>
              <a:lstStyle/>
              <a:p>
                <a:endParaRPr lang="en-GB" dirty="0"/>
              </a:p>
            </p:txBody>
          </p:sp>
          <p:sp>
            <p:nvSpPr>
              <p:cNvPr id="187" name="Freihandform: Form 400">
                <a:extLst>
                  <a:ext uri="{FF2B5EF4-FFF2-40B4-BE49-F238E27FC236}">
                    <a16:creationId xmlns:a16="http://schemas.microsoft.com/office/drawing/2014/main" id="{2E6B3699-DBBE-4AE5-9C68-0215C2F74183}"/>
                  </a:ext>
                </a:extLst>
              </p:cNvPr>
              <p:cNvSpPr/>
              <p:nvPr/>
            </p:nvSpPr>
            <p:spPr>
              <a:xfrm>
                <a:off x="2604409" y="3286663"/>
                <a:ext cx="311216" cy="77804"/>
              </a:xfrm>
              <a:custGeom>
                <a:avLst/>
                <a:gdLst>
                  <a:gd name="connsiteX0" fmla="*/ 304768 w 311216"/>
                  <a:gd name="connsiteY0" fmla="*/ 77804 h 77804"/>
                  <a:gd name="connsiteX1" fmla="*/ 6505 w 311216"/>
                  <a:gd name="connsiteY1" fmla="*/ 77804 h 77804"/>
                  <a:gd name="connsiteX2" fmla="*/ 1891 w 311216"/>
                  <a:gd name="connsiteY2" fmla="*/ 75884 h 77804"/>
                  <a:gd name="connsiteX3" fmla="*/ 0 w 311216"/>
                  <a:gd name="connsiteY3" fmla="*/ 71270 h 77804"/>
                  <a:gd name="connsiteX4" fmla="*/ 155608 w 311216"/>
                  <a:gd name="connsiteY4" fmla="*/ 0 h 77804"/>
                  <a:gd name="connsiteX5" fmla="*/ 311216 w 311216"/>
                  <a:gd name="connsiteY5" fmla="*/ 71270 h 77804"/>
                  <a:gd name="connsiteX6" fmla="*/ 309325 w 311216"/>
                  <a:gd name="connsiteY6" fmla="*/ 75884 h 77804"/>
                  <a:gd name="connsiteX7" fmla="*/ 304768 w 311216"/>
                  <a:gd name="connsiteY7" fmla="*/ 77804 h 77804"/>
                  <a:gd name="connsiteX8" fmla="*/ 14414 w 311216"/>
                  <a:gd name="connsiteY8" fmla="*/ 64851 h 77804"/>
                  <a:gd name="connsiteX9" fmla="*/ 296716 w 311216"/>
                  <a:gd name="connsiteY9" fmla="*/ 64851 h 77804"/>
                  <a:gd name="connsiteX10" fmla="*/ 155637 w 311216"/>
                  <a:gd name="connsiteY10" fmla="*/ 12982 h 77804"/>
                  <a:gd name="connsiteX11" fmla="*/ 14414 w 311216"/>
                  <a:gd name="connsiteY11" fmla="*/ 64851 h 7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1216" h="77804">
                    <a:moveTo>
                      <a:pt x="304768" y="77804"/>
                    </a:moveTo>
                    <a:lnTo>
                      <a:pt x="6505" y="77804"/>
                    </a:lnTo>
                    <a:cubicBezTo>
                      <a:pt x="4786" y="77804"/>
                      <a:pt x="3124" y="77116"/>
                      <a:pt x="1891" y="75884"/>
                    </a:cubicBezTo>
                    <a:cubicBezTo>
                      <a:pt x="688" y="74652"/>
                      <a:pt x="0" y="72990"/>
                      <a:pt x="0" y="71270"/>
                    </a:cubicBezTo>
                    <a:cubicBezTo>
                      <a:pt x="29" y="68347"/>
                      <a:pt x="2350" y="0"/>
                      <a:pt x="155608" y="0"/>
                    </a:cubicBezTo>
                    <a:cubicBezTo>
                      <a:pt x="308895" y="0"/>
                      <a:pt x="311187" y="68347"/>
                      <a:pt x="311216" y="71270"/>
                    </a:cubicBezTo>
                    <a:cubicBezTo>
                      <a:pt x="311216" y="72990"/>
                      <a:pt x="310557" y="74652"/>
                      <a:pt x="309325" y="75884"/>
                    </a:cubicBezTo>
                    <a:cubicBezTo>
                      <a:pt x="308150" y="77116"/>
                      <a:pt x="306488" y="77804"/>
                      <a:pt x="304768" y="77804"/>
                    </a:cubicBezTo>
                    <a:close/>
                    <a:moveTo>
                      <a:pt x="14414" y="64851"/>
                    </a:moveTo>
                    <a:lnTo>
                      <a:pt x="296716" y="64851"/>
                    </a:lnTo>
                    <a:cubicBezTo>
                      <a:pt x="291185" y="49605"/>
                      <a:pt x="266339" y="12982"/>
                      <a:pt x="155637" y="12982"/>
                    </a:cubicBezTo>
                    <a:cubicBezTo>
                      <a:pt x="43759" y="12982"/>
                      <a:pt x="19601" y="49605"/>
                      <a:pt x="14414" y="64851"/>
                    </a:cubicBezTo>
                    <a:close/>
                  </a:path>
                </a:pathLst>
              </a:custGeom>
              <a:solidFill>
                <a:schemeClr val="tx2"/>
              </a:solidFill>
              <a:ln w="2860" cap="flat">
                <a:noFill/>
                <a:prstDash val="solid"/>
                <a:miter/>
              </a:ln>
            </p:spPr>
            <p:txBody>
              <a:bodyPr rtlCol="0" anchor="ctr"/>
              <a:lstStyle/>
              <a:p>
                <a:endParaRPr lang="en-GB" dirty="0"/>
              </a:p>
            </p:txBody>
          </p:sp>
          <p:sp>
            <p:nvSpPr>
              <p:cNvPr id="188" name="Freihandform: Form 405">
                <a:extLst>
                  <a:ext uri="{FF2B5EF4-FFF2-40B4-BE49-F238E27FC236}">
                    <a16:creationId xmlns:a16="http://schemas.microsoft.com/office/drawing/2014/main" id="{E3CDD6EB-384C-4D52-986A-D414880F1DF7}"/>
                  </a:ext>
                </a:extLst>
              </p:cNvPr>
              <p:cNvSpPr/>
              <p:nvPr/>
            </p:nvSpPr>
            <p:spPr>
              <a:xfrm>
                <a:off x="2688719" y="3416336"/>
                <a:ext cx="142654" cy="38916"/>
              </a:xfrm>
              <a:custGeom>
                <a:avLst/>
                <a:gdLst>
                  <a:gd name="connsiteX0" fmla="*/ 136150 w 142654"/>
                  <a:gd name="connsiteY0" fmla="*/ 38916 h 38916"/>
                  <a:gd name="connsiteX1" fmla="*/ 6477 w 142654"/>
                  <a:gd name="connsiteY1" fmla="*/ 38916 h 38916"/>
                  <a:gd name="connsiteX2" fmla="*/ 0 w 142654"/>
                  <a:gd name="connsiteY2" fmla="*/ 32440 h 38916"/>
                  <a:gd name="connsiteX3" fmla="*/ 0 w 142654"/>
                  <a:gd name="connsiteY3" fmla="*/ 19458 h 38916"/>
                  <a:gd name="connsiteX4" fmla="*/ 19458 w 142654"/>
                  <a:gd name="connsiteY4" fmla="*/ 0 h 38916"/>
                  <a:gd name="connsiteX5" fmla="*/ 123197 w 142654"/>
                  <a:gd name="connsiteY5" fmla="*/ 0 h 38916"/>
                  <a:gd name="connsiteX6" fmla="*/ 142655 w 142654"/>
                  <a:gd name="connsiteY6" fmla="*/ 19458 h 38916"/>
                  <a:gd name="connsiteX7" fmla="*/ 142655 w 142654"/>
                  <a:gd name="connsiteY7" fmla="*/ 32440 h 38916"/>
                  <a:gd name="connsiteX8" fmla="*/ 136150 w 142654"/>
                  <a:gd name="connsiteY8" fmla="*/ 38916 h 38916"/>
                  <a:gd name="connsiteX9" fmla="*/ 12953 w 142654"/>
                  <a:gd name="connsiteY9" fmla="*/ 25963 h 38916"/>
                  <a:gd name="connsiteX10" fmla="*/ 129673 w 142654"/>
                  <a:gd name="connsiteY10" fmla="*/ 25963 h 38916"/>
                  <a:gd name="connsiteX11" fmla="*/ 129673 w 142654"/>
                  <a:gd name="connsiteY11" fmla="*/ 19487 h 38916"/>
                  <a:gd name="connsiteX12" fmla="*/ 123197 w 142654"/>
                  <a:gd name="connsiteY12" fmla="*/ 13010 h 38916"/>
                  <a:gd name="connsiteX13" fmla="*/ 19458 w 142654"/>
                  <a:gd name="connsiteY13" fmla="*/ 13010 h 38916"/>
                  <a:gd name="connsiteX14" fmla="*/ 12982 w 142654"/>
                  <a:gd name="connsiteY14" fmla="*/ 19487 h 38916"/>
                  <a:gd name="connsiteX15" fmla="*/ 12982 w 142654"/>
                  <a:gd name="connsiteY15" fmla="*/ 25963 h 3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2654" h="38916">
                    <a:moveTo>
                      <a:pt x="136150" y="38916"/>
                    </a:moveTo>
                    <a:lnTo>
                      <a:pt x="6477" y="38916"/>
                    </a:lnTo>
                    <a:cubicBezTo>
                      <a:pt x="2894" y="38916"/>
                      <a:pt x="0" y="36022"/>
                      <a:pt x="0" y="32440"/>
                    </a:cubicBezTo>
                    <a:lnTo>
                      <a:pt x="0" y="19458"/>
                    </a:lnTo>
                    <a:cubicBezTo>
                      <a:pt x="0" y="8741"/>
                      <a:pt x="8712" y="0"/>
                      <a:pt x="19458" y="0"/>
                    </a:cubicBezTo>
                    <a:lnTo>
                      <a:pt x="123197" y="0"/>
                    </a:lnTo>
                    <a:cubicBezTo>
                      <a:pt x="133915" y="0"/>
                      <a:pt x="142655" y="8712"/>
                      <a:pt x="142655" y="19458"/>
                    </a:cubicBezTo>
                    <a:lnTo>
                      <a:pt x="142655" y="32440"/>
                    </a:lnTo>
                    <a:cubicBezTo>
                      <a:pt x="142655" y="36022"/>
                      <a:pt x="139732" y="38916"/>
                      <a:pt x="136150" y="38916"/>
                    </a:cubicBezTo>
                    <a:close/>
                    <a:moveTo>
                      <a:pt x="12953" y="25963"/>
                    </a:moveTo>
                    <a:lnTo>
                      <a:pt x="129673" y="25963"/>
                    </a:lnTo>
                    <a:lnTo>
                      <a:pt x="129673" y="19487"/>
                    </a:lnTo>
                    <a:cubicBezTo>
                      <a:pt x="129673" y="15905"/>
                      <a:pt x="126779" y="13010"/>
                      <a:pt x="123197" y="13010"/>
                    </a:cubicBezTo>
                    <a:lnTo>
                      <a:pt x="19458" y="13010"/>
                    </a:lnTo>
                    <a:cubicBezTo>
                      <a:pt x="15876" y="13010"/>
                      <a:pt x="12982" y="15905"/>
                      <a:pt x="12982" y="19487"/>
                    </a:cubicBezTo>
                    <a:lnTo>
                      <a:pt x="12982" y="25963"/>
                    </a:lnTo>
                    <a:close/>
                  </a:path>
                </a:pathLst>
              </a:custGeom>
              <a:solidFill>
                <a:schemeClr val="tx2"/>
              </a:solidFill>
              <a:ln w="2860" cap="flat">
                <a:noFill/>
                <a:prstDash val="solid"/>
                <a:miter/>
              </a:ln>
            </p:spPr>
            <p:txBody>
              <a:bodyPr rtlCol="0" anchor="ctr"/>
              <a:lstStyle/>
              <a:p>
                <a:endParaRPr lang="en-GB" dirty="0"/>
              </a:p>
            </p:txBody>
          </p:sp>
          <p:sp>
            <p:nvSpPr>
              <p:cNvPr id="189" name="Freihandform: Form 406">
                <a:extLst>
                  <a:ext uri="{FF2B5EF4-FFF2-40B4-BE49-F238E27FC236}">
                    <a16:creationId xmlns:a16="http://schemas.microsoft.com/office/drawing/2014/main" id="{545883FE-07F5-4C66-97D0-17F842B37D1D}"/>
                  </a:ext>
                </a:extLst>
              </p:cNvPr>
              <p:cNvSpPr/>
              <p:nvPr/>
            </p:nvSpPr>
            <p:spPr>
              <a:xfrm>
                <a:off x="2714653" y="3468234"/>
                <a:ext cx="90756" cy="12952"/>
              </a:xfrm>
              <a:custGeom>
                <a:avLst/>
                <a:gdLst>
                  <a:gd name="connsiteX0" fmla="*/ 84281 w 90756"/>
                  <a:gd name="connsiteY0" fmla="*/ 12953 h 12952"/>
                  <a:gd name="connsiteX1" fmla="*/ 6477 w 90756"/>
                  <a:gd name="connsiteY1" fmla="*/ 12953 h 12952"/>
                  <a:gd name="connsiteX2" fmla="*/ 0 w 90756"/>
                  <a:gd name="connsiteY2" fmla="*/ 6476 h 12952"/>
                  <a:gd name="connsiteX3" fmla="*/ 6477 w 90756"/>
                  <a:gd name="connsiteY3" fmla="*/ 0 h 12952"/>
                  <a:gd name="connsiteX4" fmla="*/ 84281 w 90756"/>
                  <a:gd name="connsiteY4" fmla="*/ 0 h 12952"/>
                  <a:gd name="connsiteX5" fmla="*/ 90757 w 90756"/>
                  <a:gd name="connsiteY5" fmla="*/ 6476 h 12952"/>
                  <a:gd name="connsiteX6" fmla="*/ 84281 w 90756"/>
                  <a:gd name="connsiteY6" fmla="*/ 12953 h 129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56" h="12952">
                    <a:moveTo>
                      <a:pt x="84281" y="12953"/>
                    </a:moveTo>
                    <a:lnTo>
                      <a:pt x="6477" y="12953"/>
                    </a:lnTo>
                    <a:cubicBezTo>
                      <a:pt x="2894" y="12953"/>
                      <a:pt x="0" y="10058"/>
                      <a:pt x="0" y="6476"/>
                    </a:cubicBezTo>
                    <a:cubicBezTo>
                      <a:pt x="0" y="2894"/>
                      <a:pt x="2894" y="0"/>
                      <a:pt x="6477" y="0"/>
                    </a:cubicBezTo>
                    <a:lnTo>
                      <a:pt x="84281" y="0"/>
                    </a:lnTo>
                    <a:cubicBezTo>
                      <a:pt x="87863" y="0"/>
                      <a:pt x="90757" y="2894"/>
                      <a:pt x="90757" y="6476"/>
                    </a:cubicBezTo>
                    <a:cubicBezTo>
                      <a:pt x="90757" y="10058"/>
                      <a:pt x="87863" y="12953"/>
                      <a:pt x="84281" y="12953"/>
                    </a:cubicBezTo>
                    <a:close/>
                  </a:path>
                </a:pathLst>
              </a:custGeom>
              <a:solidFill>
                <a:schemeClr val="tx2"/>
              </a:solidFill>
              <a:ln w="2860" cap="flat">
                <a:noFill/>
                <a:prstDash val="solid"/>
                <a:miter/>
              </a:ln>
            </p:spPr>
            <p:txBody>
              <a:bodyPr rtlCol="0" anchor="ctr"/>
              <a:lstStyle/>
              <a:p>
                <a:endParaRPr lang="en-GB" dirty="0"/>
              </a:p>
            </p:txBody>
          </p:sp>
        </p:grpSp>
      </p:grpSp>
      <p:grpSp>
        <p:nvGrpSpPr>
          <p:cNvPr id="194" name="Gruppieren 1003">
            <a:extLst>
              <a:ext uri="{FF2B5EF4-FFF2-40B4-BE49-F238E27FC236}">
                <a16:creationId xmlns:a16="http://schemas.microsoft.com/office/drawing/2014/main" id="{75E3A674-4217-46B7-AD2F-C4BB7B76EB94}"/>
              </a:ext>
            </a:extLst>
          </p:cNvPr>
          <p:cNvGrpSpPr>
            <a:grpSpLocks noChangeAspect="1"/>
          </p:cNvGrpSpPr>
          <p:nvPr/>
        </p:nvGrpSpPr>
        <p:grpSpPr>
          <a:xfrm>
            <a:off x="2567066" y="2391526"/>
            <a:ext cx="635706" cy="432000"/>
            <a:chOff x="1670704" y="3370943"/>
            <a:chExt cx="505745" cy="343684"/>
          </a:xfrm>
        </p:grpSpPr>
        <p:grpSp>
          <p:nvGrpSpPr>
            <p:cNvPr id="195" name="Gruppieren 1002">
              <a:extLst>
                <a:ext uri="{FF2B5EF4-FFF2-40B4-BE49-F238E27FC236}">
                  <a16:creationId xmlns:a16="http://schemas.microsoft.com/office/drawing/2014/main" id="{B18DB024-2E29-4BA2-AC9A-9E3009B290DA}"/>
                </a:ext>
              </a:extLst>
            </p:cNvPr>
            <p:cNvGrpSpPr/>
            <p:nvPr/>
          </p:nvGrpSpPr>
          <p:grpSpPr>
            <a:xfrm>
              <a:off x="1968965" y="3507122"/>
              <a:ext cx="207484" cy="207505"/>
              <a:chOff x="1968967" y="3507122"/>
              <a:chExt cx="207484" cy="207505"/>
            </a:xfrm>
          </p:grpSpPr>
          <p:sp>
            <p:nvSpPr>
              <p:cNvPr id="211" name="Freihandform: Form 384">
                <a:extLst>
                  <a:ext uri="{FF2B5EF4-FFF2-40B4-BE49-F238E27FC236}">
                    <a16:creationId xmlns:a16="http://schemas.microsoft.com/office/drawing/2014/main" id="{FC90C0CB-7EDC-4A42-B216-A98D3F4C6145}"/>
                  </a:ext>
                </a:extLst>
              </p:cNvPr>
              <p:cNvSpPr/>
              <p:nvPr/>
            </p:nvSpPr>
            <p:spPr>
              <a:xfrm>
                <a:off x="2075044" y="3533037"/>
                <a:ext cx="46331" cy="90805"/>
              </a:xfrm>
              <a:custGeom>
                <a:avLst/>
                <a:gdLst>
                  <a:gd name="connsiteX0" fmla="*/ 23166 w 46331"/>
                  <a:gd name="connsiteY0" fmla="*/ 90805 h 90805"/>
                  <a:gd name="connsiteX1" fmla="*/ 20615 w 46331"/>
                  <a:gd name="connsiteY1" fmla="*/ 90289 h 90805"/>
                  <a:gd name="connsiteX2" fmla="*/ 17205 w 46331"/>
                  <a:gd name="connsiteY2" fmla="*/ 81778 h 90805"/>
                  <a:gd name="connsiteX3" fmla="*/ 30015 w 46331"/>
                  <a:gd name="connsiteY3" fmla="*/ 51917 h 90805"/>
                  <a:gd name="connsiteX4" fmla="*/ 6487 w 46331"/>
                  <a:gd name="connsiteY4" fmla="*/ 51917 h 90805"/>
                  <a:gd name="connsiteX5" fmla="*/ 1071 w 46331"/>
                  <a:gd name="connsiteY5" fmla="*/ 48994 h 90805"/>
                  <a:gd name="connsiteX6" fmla="*/ 527 w 46331"/>
                  <a:gd name="connsiteY6" fmla="*/ 42862 h 90805"/>
                  <a:gd name="connsiteX7" fmla="*/ 17205 w 46331"/>
                  <a:gd name="connsiteY7" fmla="*/ 3945 h 90805"/>
                  <a:gd name="connsiteX8" fmla="*/ 25716 w 46331"/>
                  <a:gd name="connsiteY8" fmla="*/ 535 h 90805"/>
                  <a:gd name="connsiteX9" fmla="*/ 29126 w 46331"/>
                  <a:gd name="connsiteY9" fmla="*/ 9046 h 90805"/>
                  <a:gd name="connsiteX10" fmla="*/ 16317 w 46331"/>
                  <a:gd name="connsiteY10" fmla="*/ 38907 h 90805"/>
                  <a:gd name="connsiteX11" fmla="*/ 39844 w 46331"/>
                  <a:gd name="connsiteY11" fmla="*/ 38907 h 90805"/>
                  <a:gd name="connsiteX12" fmla="*/ 45260 w 46331"/>
                  <a:gd name="connsiteY12" fmla="*/ 41830 h 90805"/>
                  <a:gd name="connsiteX13" fmla="*/ 45805 w 46331"/>
                  <a:gd name="connsiteY13" fmla="*/ 47963 h 90805"/>
                  <a:gd name="connsiteX14" fmla="*/ 29126 w 46331"/>
                  <a:gd name="connsiteY14" fmla="*/ 86879 h 90805"/>
                  <a:gd name="connsiteX15" fmla="*/ 23166 w 46331"/>
                  <a:gd name="connsiteY15" fmla="*/ 90805 h 90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6331" h="90805">
                    <a:moveTo>
                      <a:pt x="23166" y="90805"/>
                    </a:moveTo>
                    <a:cubicBezTo>
                      <a:pt x="22306" y="90805"/>
                      <a:pt x="21446" y="90633"/>
                      <a:pt x="20615" y="90289"/>
                    </a:cubicBezTo>
                    <a:cubicBezTo>
                      <a:pt x="17320" y="88885"/>
                      <a:pt x="15801" y="85074"/>
                      <a:pt x="17205" y="81778"/>
                    </a:cubicBezTo>
                    <a:lnTo>
                      <a:pt x="30015" y="51917"/>
                    </a:lnTo>
                    <a:lnTo>
                      <a:pt x="6487" y="51917"/>
                    </a:lnTo>
                    <a:cubicBezTo>
                      <a:pt x="4309" y="51917"/>
                      <a:pt x="2275" y="50828"/>
                      <a:pt x="1071" y="48994"/>
                    </a:cubicBezTo>
                    <a:cubicBezTo>
                      <a:pt x="-132" y="47160"/>
                      <a:pt x="-333" y="44868"/>
                      <a:pt x="527" y="42862"/>
                    </a:cubicBezTo>
                    <a:lnTo>
                      <a:pt x="17205" y="3945"/>
                    </a:lnTo>
                    <a:cubicBezTo>
                      <a:pt x="18609" y="650"/>
                      <a:pt x="22421" y="-898"/>
                      <a:pt x="25716" y="535"/>
                    </a:cubicBezTo>
                    <a:cubicBezTo>
                      <a:pt x="29012" y="1939"/>
                      <a:pt x="30531" y="5751"/>
                      <a:pt x="29126" y="9046"/>
                    </a:cubicBezTo>
                    <a:lnTo>
                      <a:pt x="16317" y="38907"/>
                    </a:lnTo>
                    <a:lnTo>
                      <a:pt x="39844" y="38907"/>
                    </a:lnTo>
                    <a:cubicBezTo>
                      <a:pt x="42022" y="38907"/>
                      <a:pt x="44057" y="39996"/>
                      <a:pt x="45260" y="41830"/>
                    </a:cubicBezTo>
                    <a:cubicBezTo>
                      <a:pt x="46464" y="43664"/>
                      <a:pt x="46665" y="45957"/>
                      <a:pt x="45805" y="47963"/>
                    </a:cubicBezTo>
                    <a:lnTo>
                      <a:pt x="29126" y="86879"/>
                    </a:lnTo>
                    <a:cubicBezTo>
                      <a:pt x="28066" y="89344"/>
                      <a:pt x="25659" y="90805"/>
                      <a:pt x="23166" y="90805"/>
                    </a:cubicBezTo>
                    <a:close/>
                  </a:path>
                </a:pathLst>
              </a:custGeom>
              <a:solidFill>
                <a:schemeClr val="accent1"/>
              </a:solidFill>
              <a:ln w="2860" cap="flat">
                <a:noFill/>
                <a:prstDash val="solid"/>
                <a:miter/>
              </a:ln>
            </p:spPr>
            <p:txBody>
              <a:bodyPr rtlCol="0" anchor="ctr"/>
              <a:lstStyle/>
              <a:p>
                <a:endParaRPr lang="en-GB" dirty="0"/>
              </a:p>
            </p:txBody>
          </p:sp>
          <p:sp>
            <p:nvSpPr>
              <p:cNvPr id="212" name="Freihandform: Form 385">
                <a:extLst>
                  <a:ext uri="{FF2B5EF4-FFF2-40B4-BE49-F238E27FC236}">
                    <a16:creationId xmlns:a16="http://schemas.microsoft.com/office/drawing/2014/main" id="{DA649E48-99EF-4DF5-A03E-940987C33024}"/>
                  </a:ext>
                </a:extLst>
              </p:cNvPr>
              <p:cNvSpPr/>
              <p:nvPr/>
            </p:nvSpPr>
            <p:spPr>
              <a:xfrm>
                <a:off x="2040323" y="3507122"/>
                <a:ext cx="116720" cy="175066"/>
              </a:xfrm>
              <a:custGeom>
                <a:avLst/>
                <a:gdLst>
                  <a:gd name="connsiteX0" fmla="*/ 110215 w 116720"/>
                  <a:gd name="connsiteY0" fmla="*/ 175066 h 175066"/>
                  <a:gd name="connsiteX1" fmla="*/ 6477 w 116720"/>
                  <a:gd name="connsiteY1" fmla="*/ 175066 h 175066"/>
                  <a:gd name="connsiteX2" fmla="*/ 0 w 116720"/>
                  <a:gd name="connsiteY2" fmla="*/ 168590 h 175066"/>
                  <a:gd name="connsiteX3" fmla="*/ 0 w 116720"/>
                  <a:gd name="connsiteY3" fmla="*/ 19458 h 175066"/>
                  <a:gd name="connsiteX4" fmla="*/ 19458 w 116720"/>
                  <a:gd name="connsiteY4" fmla="*/ 0 h 175066"/>
                  <a:gd name="connsiteX5" fmla="*/ 97262 w 116720"/>
                  <a:gd name="connsiteY5" fmla="*/ 0 h 175066"/>
                  <a:gd name="connsiteX6" fmla="*/ 116720 w 116720"/>
                  <a:gd name="connsiteY6" fmla="*/ 19458 h 175066"/>
                  <a:gd name="connsiteX7" fmla="*/ 116720 w 116720"/>
                  <a:gd name="connsiteY7" fmla="*/ 168590 h 175066"/>
                  <a:gd name="connsiteX8" fmla="*/ 110215 w 116720"/>
                  <a:gd name="connsiteY8" fmla="*/ 175066 h 175066"/>
                  <a:gd name="connsiteX9" fmla="*/ 12953 w 116720"/>
                  <a:gd name="connsiteY9" fmla="*/ 162113 h 175066"/>
                  <a:gd name="connsiteX10" fmla="*/ 103739 w 116720"/>
                  <a:gd name="connsiteY10" fmla="*/ 162113 h 175066"/>
                  <a:gd name="connsiteX11" fmla="*/ 103739 w 116720"/>
                  <a:gd name="connsiteY11" fmla="*/ 19458 h 175066"/>
                  <a:gd name="connsiteX12" fmla="*/ 97262 w 116720"/>
                  <a:gd name="connsiteY12" fmla="*/ 12982 h 175066"/>
                  <a:gd name="connsiteX13" fmla="*/ 19458 w 116720"/>
                  <a:gd name="connsiteY13" fmla="*/ 12982 h 175066"/>
                  <a:gd name="connsiteX14" fmla="*/ 12982 w 116720"/>
                  <a:gd name="connsiteY14" fmla="*/ 19458 h 175066"/>
                  <a:gd name="connsiteX15" fmla="*/ 12982 w 116720"/>
                  <a:gd name="connsiteY15" fmla="*/ 162113 h 17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6720" h="175066">
                    <a:moveTo>
                      <a:pt x="110215" y="175066"/>
                    </a:moveTo>
                    <a:lnTo>
                      <a:pt x="6477" y="175066"/>
                    </a:lnTo>
                    <a:cubicBezTo>
                      <a:pt x="2894" y="175066"/>
                      <a:pt x="0" y="172172"/>
                      <a:pt x="0" y="168590"/>
                    </a:cubicBezTo>
                    <a:lnTo>
                      <a:pt x="0" y="19458"/>
                    </a:lnTo>
                    <a:cubicBezTo>
                      <a:pt x="0" y="8741"/>
                      <a:pt x="8712" y="0"/>
                      <a:pt x="19458" y="0"/>
                    </a:cubicBezTo>
                    <a:lnTo>
                      <a:pt x="97262" y="0"/>
                    </a:lnTo>
                    <a:cubicBezTo>
                      <a:pt x="107980" y="0"/>
                      <a:pt x="116720" y="8712"/>
                      <a:pt x="116720" y="19458"/>
                    </a:cubicBezTo>
                    <a:lnTo>
                      <a:pt x="116720" y="168590"/>
                    </a:lnTo>
                    <a:cubicBezTo>
                      <a:pt x="116692" y="172172"/>
                      <a:pt x="113797" y="175066"/>
                      <a:pt x="110215" y="175066"/>
                    </a:cubicBezTo>
                    <a:close/>
                    <a:moveTo>
                      <a:pt x="12953" y="162113"/>
                    </a:moveTo>
                    <a:lnTo>
                      <a:pt x="103739" y="162113"/>
                    </a:lnTo>
                    <a:lnTo>
                      <a:pt x="103739" y="19458"/>
                    </a:lnTo>
                    <a:cubicBezTo>
                      <a:pt x="103739" y="15876"/>
                      <a:pt x="100816" y="12982"/>
                      <a:pt x="97262" y="12982"/>
                    </a:cubicBezTo>
                    <a:lnTo>
                      <a:pt x="19458" y="12982"/>
                    </a:lnTo>
                    <a:cubicBezTo>
                      <a:pt x="15876" y="12982"/>
                      <a:pt x="12982" y="15876"/>
                      <a:pt x="12982" y="19458"/>
                    </a:cubicBezTo>
                    <a:lnTo>
                      <a:pt x="12982" y="162113"/>
                    </a:lnTo>
                    <a:close/>
                  </a:path>
                </a:pathLst>
              </a:custGeom>
              <a:solidFill>
                <a:schemeClr val="accent1"/>
              </a:solidFill>
              <a:ln w="2860" cap="flat">
                <a:noFill/>
                <a:prstDash val="solid"/>
                <a:miter/>
              </a:ln>
            </p:spPr>
            <p:txBody>
              <a:bodyPr rtlCol="0" anchor="ctr"/>
              <a:lstStyle/>
              <a:p>
                <a:endParaRPr lang="en-GB" dirty="0"/>
              </a:p>
            </p:txBody>
          </p:sp>
          <p:sp>
            <p:nvSpPr>
              <p:cNvPr id="213" name="Freihandform: Form 386">
                <a:extLst>
                  <a:ext uri="{FF2B5EF4-FFF2-40B4-BE49-F238E27FC236}">
                    <a16:creationId xmlns:a16="http://schemas.microsoft.com/office/drawing/2014/main" id="{5187D77D-0375-4B7B-9F70-17D21E89C9C2}"/>
                  </a:ext>
                </a:extLst>
              </p:cNvPr>
              <p:cNvSpPr/>
              <p:nvPr/>
            </p:nvSpPr>
            <p:spPr>
              <a:xfrm>
                <a:off x="2020857" y="3669235"/>
                <a:ext cx="155594" cy="45392"/>
              </a:xfrm>
              <a:custGeom>
                <a:avLst/>
                <a:gdLst>
                  <a:gd name="connsiteX0" fmla="*/ 149139 w 155594"/>
                  <a:gd name="connsiteY0" fmla="*/ 45393 h 45392"/>
                  <a:gd name="connsiteX1" fmla="*/ 6484 w 155594"/>
                  <a:gd name="connsiteY1" fmla="*/ 45393 h 45392"/>
                  <a:gd name="connsiteX2" fmla="*/ 1469 w 155594"/>
                  <a:gd name="connsiteY2" fmla="*/ 43014 h 45392"/>
                  <a:gd name="connsiteX3" fmla="*/ 122 w 155594"/>
                  <a:gd name="connsiteY3" fmla="*/ 37627 h 45392"/>
                  <a:gd name="connsiteX4" fmla="*/ 6599 w 155594"/>
                  <a:gd name="connsiteY4" fmla="*/ 5216 h 45392"/>
                  <a:gd name="connsiteX5" fmla="*/ 12961 w 155594"/>
                  <a:gd name="connsiteY5" fmla="*/ 0 h 45392"/>
                  <a:gd name="connsiteX6" fmla="*/ 142634 w 155594"/>
                  <a:gd name="connsiteY6" fmla="*/ 0 h 45392"/>
                  <a:gd name="connsiteX7" fmla="*/ 148996 w 155594"/>
                  <a:gd name="connsiteY7" fmla="*/ 5216 h 45392"/>
                  <a:gd name="connsiteX8" fmla="*/ 155472 w 155594"/>
                  <a:gd name="connsiteY8" fmla="*/ 37627 h 45392"/>
                  <a:gd name="connsiteX9" fmla="*/ 154126 w 155594"/>
                  <a:gd name="connsiteY9" fmla="*/ 43014 h 45392"/>
                  <a:gd name="connsiteX10" fmla="*/ 149139 w 155594"/>
                  <a:gd name="connsiteY10" fmla="*/ 45393 h 45392"/>
                  <a:gd name="connsiteX11" fmla="*/ 14394 w 155594"/>
                  <a:gd name="connsiteY11" fmla="*/ 32411 h 45392"/>
                  <a:gd name="connsiteX12" fmla="*/ 141230 w 155594"/>
                  <a:gd name="connsiteY12" fmla="*/ 32411 h 45392"/>
                  <a:gd name="connsiteX13" fmla="*/ 137332 w 155594"/>
                  <a:gd name="connsiteY13" fmla="*/ 12953 h 45392"/>
                  <a:gd name="connsiteX14" fmla="*/ 18291 w 155594"/>
                  <a:gd name="connsiteY14" fmla="*/ 12953 h 45392"/>
                  <a:gd name="connsiteX15" fmla="*/ 14394 w 155594"/>
                  <a:gd name="connsiteY15" fmla="*/ 32411 h 4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5594" h="45392">
                    <a:moveTo>
                      <a:pt x="149139" y="45393"/>
                    </a:moveTo>
                    <a:lnTo>
                      <a:pt x="6484" y="45393"/>
                    </a:lnTo>
                    <a:cubicBezTo>
                      <a:pt x="4535" y="45393"/>
                      <a:pt x="2701" y="44533"/>
                      <a:pt x="1469" y="43014"/>
                    </a:cubicBezTo>
                    <a:cubicBezTo>
                      <a:pt x="237" y="41524"/>
                      <a:pt x="-250" y="39547"/>
                      <a:pt x="122" y="37627"/>
                    </a:cubicBezTo>
                    <a:lnTo>
                      <a:pt x="6599" y="5216"/>
                    </a:lnTo>
                    <a:cubicBezTo>
                      <a:pt x="7201" y="2178"/>
                      <a:pt x="9866" y="0"/>
                      <a:pt x="12961" y="0"/>
                    </a:cubicBezTo>
                    <a:lnTo>
                      <a:pt x="142634" y="0"/>
                    </a:lnTo>
                    <a:cubicBezTo>
                      <a:pt x="145729" y="0"/>
                      <a:pt x="148394" y="2178"/>
                      <a:pt x="148996" y="5216"/>
                    </a:cubicBezTo>
                    <a:lnTo>
                      <a:pt x="155472" y="37627"/>
                    </a:lnTo>
                    <a:cubicBezTo>
                      <a:pt x="155845" y="39547"/>
                      <a:pt x="155358" y="41496"/>
                      <a:pt x="154126" y="43014"/>
                    </a:cubicBezTo>
                    <a:cubicBezTo>
                      <a:pt x="152922" y="44505"/>
                      <a:pt x="151088" y="45393"/>
                      <a:pt x="149139" y="45393"/>
                    </a:cubicBezTo>
                    <a:close/>
                    <a:moveTo>
                      <a:pt x="14394" y="32411"/>
                    </a:moveTo>
                    <a:lnTo>
                      <a:pt x="141230" y="32411"/>
                    </a:lnTo>
                    <a:lnTo>
                      <a:pt x="137332" y="12953"/>
                    </a:lnTo>
                    <a:lnTo>
                      <a:pt x="18291" y="12953"/>
                    </a:lnTo>
                    <a:lnTo>
                      <a:pt x="14394" y="32411"/>
                    </a:lnTo>
                    <a:close/>
                  </a:path>
                </a:pathLst>
              </a:custGeom>
              <a:solidFill>
                <a:schemeClr val="accent1"/>
              </a:solidFill>
              <a:ln w="2860" cap="flat">
                <a:noFill/>
                <a:prstDash val="solid"/>
                <a:miter/>
              </a:ln>
            </p:spPr>
            <p:txBody>
              <a:bodyPr rtlCol="0" anchor="ctr"/>
              <a:lstStyle/>
              <a:p>
                <a:endParaRPr lang="en-GB" dirty="0"/>
              </a:p>
            </p:txBody>
          </p:sp>
          <p:sp>
            <p:nvSpPr>
              <p:cNvPr id="214" name="Freihandform: Form 387">
                <a:extLst>
                  <a:ext uri="{FF2B5EF4-FFF2-40B4-BE49-F238E27FC236}">
                    <a16:creationId xmlns:a16="http://schemas.microsoft.com/office/drawing/2014/main" id="{2FAA97BE-25C1-44CE-9067-FEC95B6E1042}"/>
                  </a:ext>
                </a:extLst>
              </p:cNvPr>
              <p:cNvSpPr/>
              <p:nvPr/>
            </p:nvSpPr>
            <p:spPr>
              <a:xfrm>
                <a:off x="2066258" y="3636824"/>
                <a:ext cx="64822" cy="19429"/>
              </a:xfrm>
              <a:custGeom>
                <a:avLst/>
                <a:gdLst>
                  <a:gd name="connsiteX0" fmla="*/ 58346 w 64822"/>
                  <a:gd name="connsiteY0" fmla="*/ 19430 h 19429"/>
                  <a:gd name="connsiteX1" fmla="*/ 51869 w 64822"/>
                  <a:gd name="connsiteY1" fmla="*/ 12953 h 19429"/>
                  <a:gd name="connsiteX2" fmla="*/ 12953 w 64822"/>
                  <a:gd name="connsiteY2" fmla="*/ 12953 h 19429"/>
                  <a:gd name="connsiteX3" fmla="*/ 6476 w 64822"/>
                  <a:gd name="connsiteY3" fmla="*/ 19430 h 19429"/>
                  <a:gd name="connsiteX4" fmla="*/ 0 w 64822"/>
                  <a:gd name="connsiteY4" fmla="*/ 12953 h 19429"/>
                  <a:gd name="connsiteX5" fmla="*/ 0 w 64822"/>
                  <a:gd name="connsiteY5" fmla="*/ 6477 h 19429"/>
                  <a:gd name="connsiteX6" fmla="*/ 6476 w 64822"/>
                  <a:gd name="connsiteY6" fmla="*/ 0 h 19429"/>
                  <a:gd name="connsiteX7" fmla="*/ 58346 w 64822"/>
                  <a:gd name="connsiteY7" fmla="*/ 0 h 19429"/>
                  <a:gd name="connsiteX8" fmla="*/ 64822 w 64822"/>
                  <a:gd name="connsiteY8" fmla="*/ 6477 h 19429"/>
                  <a:gd name="connsiteX9" fmla="*/ 64822 w 64822"/>
                  <a:gd name="connsiteY9" fmla="*/ 12953 h 19429"/>
                  <a:gd name="connsiteX10" fmla="*/ 58346 w 64822"/>
                  <a:gd name="connsiteY10" fmla="*/ 19430 h 19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822" h="19429">
                    <a:moveTo>
                      <a:pt x="58346" y="19430"/>
                    </a:moveTo>
                    <a:cubicBezTo>
                      <a:pt x="54764" y="19430"/>
                      <a:pt x="51869" y="16535"/>
                      <a:pt x="51869" y="12953"/>
                    </a:cubicBezTo>
                    <a:lnTo>
                      <a:pt x="12953" y="12953"/>
                    </a:lnTo>
                    <a:cubicBezTo>
                      <a:pt x="12953" y="16535"/>
                      <a:pt x="10059" y="19430"/>
                      <a:pt x="6476" y="19430"/>
                    </a:cubicBezTo>
                    <a:cubicBezTo>
                      <a:pt x="2894" y="19430"/>
                      <a:pt x="0" y="16535"/>
                      <a:pt x="0" y="12953"/>
                    </a:cubicBezTo>
                    <a:lnTo>
                      <a:pt x="0" y="6477"/>
                    </a:lnTo>
                    <a:cubicBezTo>
                      <a:pt x="0" y="2894"/>
                      <a:pt x="2894" y="0"/>
                      <a:pt x="6476" y="0"/>
                    </a:cubicBezTo>
                    <a:lnTo>
                      <a:pt x="58346" y="0"/>
                    </a:lnTo>
                    <a:cubicBezTo>
                      <a:pt x="61928" y="0"/>
                      <a:pt x="64822" y="2894"/>
                      <a:pt x="64822" y="6477"/>
                    </a:cubicBezTo>
                    <a:lnTo>
                      <a:pt x="64822" y="12953"/>
                    </a:lnTo>
                    <a:cubicBezTo>
                      <a:pt x="64822" y="16535"/>
                      <a:pt x="61928" y="19430"/>
                      <a:pt x="58346" y="19430"/>
                    </a:cubicBezTo>
                    <a:close/>
                  </a:path>
                </a:pathLst>
              </a:custGeom>
              <a:solidFill>
                <a:schemeClr val="accent1"/>
              </a:solidFill>
              <a:ln w="2860" cap="flat">
                <a:noFill/>
                <a:prstDash val="solid"/>
                <a:miter/>
              </a:ln>
            </p:spPr>
            <p:txBody>
              <a:bodyPr rtlCol="0" anchor="ctr"/>
              <a:lstStyle/>
              <a:p>
                <a:endParaRPr lang="en-GB" dirty="0"/>
              </a:p>
            </p:txBody>
          </p:sp>
          <p:sp>
            <p:nvSpPr>
              <p:cNvPr id="215" name="Freihandform: Form 389">
                <a:extLst>
                  <a:ext uri="{FF2B5EF4-FFF2-40B4-BE49-F238E27FC236}">
                    <a16:creationId xmlns:a16="http://schemas.microsoft.com/office/drawing/2014/main" id="{EE083129-1ED0-4E01-81B9-99B7E923BF3B}"/>
                  </a:ext>
                </a:extLst>
              </p:cNvPr>
              <p:cNvSpPr/>
              <p:nvPr/>
            </p:nvSpPr>
            <p:spPr>
              <a:xfrm>
                <a:off x="1968967" y="3558991"/>
                <a:ext cx="77804" cy="77803"/>
              </a:xfrm>
              <a:custGeom>
                <a:avLst/>
                <a:gdLst>
                  <a:gd name="connsiteX0" fmla="*/ 19458 w 77804"/>
                  <a:gd name="connsiteY0" fmla="*/ 77804 h 77803"/>
                  <a:gd name="connsiteX1" fmla="*/ 0 w 77804"/>
                  <a:gd name="connsiteY1" fmla="*/ 77804 h 77803"/>
                  <a:gd name="connsiteX2" fmla="*/ 0 w 77804"/>
                  <a:gd name="connsiteY2" fmla="*/ 64822 h 77803"/>
                  <a:gd name="connsiteX3" fmla="*/ 12982 w 77804"/>
                  <a:gd name="connsiteY3" fmla="*/ 64822 h 77803"/>
                  <a:gd name="connsiteX4" fmla="*/ 12982 w 77804"/>
                  <a:gd name="connsiteY4" fmla="*/ 6477 h 77803"/>
                  <a:gd name="connsiteX5" fmla="*/ 19458 w 77804"/>
                  <a:gd name="connsiteY5" fmla="*/ 0 h 77803"/>
                  <a:gd name="connsiteX6" fmla="*/ 77804 w 77804"/>
                  <a:gd name="connsiteY6" fmla="*/ 0 h 77803"/>
                  <a:gd name="connsiteX7" fmla="*/ 77804 w 77804"/>
                  <a:gd name="connsiteY7" fmla="*/ 12982 h 77803"/>
                  <a:gd name="connsiteX8" fmla="*/ 25935 w 77804"/>
                  <a:gd name="connsiteY8" fmla="*/ 12982 h 77803"/>
                  <a:gd name="connsiteX9" fmla="*/ 25935 w 77804"/>
                  <a:gd name="connsiteY9" fmla="*/ 71328 h 77803"/>
                  <a:gd name="connsiteX10" fmla="*/ 19458 w 77804"/>
                  <a:gd name="connsiteY10" fmla="*/ 77804 h 77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804" h="77803">
                    <a:moveTo>
                      <a:pt x="19458" y="77804"/>
                    </a:moveTo>
                    <a:lnTo>
                      <a:pt x="0" y="77804"/>
                    </a:lnTo>
                    <a:lnTo>
                      <a:pt x="0" y="64822"/>
                    </a:lnTo>
                    <a:lnTo>
                      <a:pt x="12982" y="64822"/>
                    </a:lnTo>
                    <a:lnTo>
                      <a:pt x="12982" y="6477"/>
                    </a:lnTo>
                    <a:cubicBezTo>
                      <a:pt x="12982" y="2894"/>
                      <a:pt x="15876" y="0"/>
                      <a:pt x="19458" y="0"/>
                    </a:cubicBezTo>
                    <a:lnTo>
                      <a:pt x="77804" y="0"/>
                    </a:lnTo>
                    <a:lnTo>
                      <a:pt x="77804" y="12982"/>
                    </a:lnTo>
                    <a:lnTo>
                      <a:pt x="25935" y="12982"/>
                    </a:lnTo>
                    <a:lnTo>
                      <a:pt x="25935" y="71328"/>
                    </a:lnTo>
                    <a:cubicBezTo>
                      <a:pt x="25963" y="74910"/>
                      <a:pt x="23040" y="77804"/>
                      <a:pt x="19458" y="77804"/>
                    </a:cubicBezTo>
                    <a:close/>
                  </a:path>
                </a:pathLst>
              </a:custGeom>
              <a:solidFill>
                <a:schemeClr val="accent1"/>
              </a:solidFill>
              <a:ln w="2860" cap="flat">
                <a:noFill/>
                <a:prstDash val="solid"/>
                <a:miter/>
              </a:ln>
            </p:spPr>
            <p:txBody>
              <a:bodyPr rtlCol="0" anchor="ctr"/>
              <a:lstStyle/>
              <a:p>
                <a:endParaRPr lang="en-GB" dirty="0"/>
              </a:p>
            </p:txBody>
          </p:sp>
        </p:grpSp>
        <p:grpSp>
          <p:nvGrpSpPr>
            <p:cNvPr id="196" name="Gruppieren 1001">
              <a:extLst>
                <a:ext uri="{FF2B5EF4-FFF2-40B4-BE49-F238E27FC236}">
                  <a16:creationId xmlns:a16="http://schemas.microsoft.com/office/drawing/2014/main" id="{96FF49BA-EAE1-4C78-92B4-789BE0454DA7}"/>
                </a:ext>
              </a:extLst>
            </p:cNvPr>
            <p:cNvGrpSpPr/>
            <p:nvPr/>
          </p:nvGrpSpPr>
          <p:grpSpPr>
            <a:xfrm>
              <a:off x="1670704" y="3370943"/>
              <a:ext cx="285310" cy="343684"/>
              <a:chOff x="1670704" y="3370943"/>
              <a:chExt cx="285310" cy="343684"/>
            </a:xfrm>
          </p:grpSpPr>
          <p:sp>
            <p:nvSpPr>
              <p:cNvPr id="197" name="Freihandform: Form 376">
                <a:extLst>
                  <a:ext uri="{FF2B5EF4-FFF2-40B4-BE49-F238E27FC236}">
                    <a16:creationId xmlns:a16="http://schemas.microsoft.com/office/drawing/2014/main" id="{978FB695-1F51-43F4-A876-C5F347C528D4}"/>
                  </a:ext>
                </a:extLst>
              </p:cNvPr>
              <p:cNvSpPr/>
              <p:nvPr/>
            </p:nvSpPr>
            <p:spPr>
              <a:xfrm>
                <a:off x="1690133" y="3669235"/>
                <a:ext cx="38888" cy="45392"/>
              </a:xfrm>
              <a:custGeom>
                <a:avLst/>
                <a:gdLst>
                  <a:gd name="connsiteX0" fmla="*/ 25963 w 38888"/>
                  <a:gd name="connsiteY0" fmla="*/ 45393 h 45392"/>
                  <a:gd name="connsiteX1" fmla="*/ 12982 w 38888"/>
                  <a:gd name="connsiteY1" fmla="*/ 45393 h 45392"/>
                  <a:gd name="connsiteX2" fmla="*/ 0 w 38888"/>
                  <a:gd name="connsiteY2" fmla="*/ 32411 h 45392"/>
                  <a:gd name="connsiteX3" fmla="*/ 0 w 38888"/>
                  <a:gd name="connsiteY3" fmla="*/ 6477 h 45392"/>
                  <a:gd name="connsiteX4" fmla="*/ 6476 w 38888"/>
                  <a:gd name="connsiteY4" fmla="*/ 0 h 45392"/>
                  <a:gd name="connsiteX5" fmla="*/ 32411 w 38888"/>
                  <a:gd name="connsiteY5" fmla="*/ 0 h 45392"/>
                  <a:gd name="connsiteX6" fmla="*/ 38888 w 38888"/>
                  <a:gd name="connsiteY6" fmla="*/ 6477 h 45392"/>
                  <a:gd name="connsiteX7" fmla="*/ 38888 w 38888"/>
                  <a:gd name="connsiteY7" fmla="*/ 32411 h 45392"/>
                  <a:gd name="connsiteX8" fmla="*/ 25963 w 38888"/>
                  <a:gd name="connsiteY8" fmla="*/ 45393 h 45392"/>
                  <a:gd name="connsiteX9" fmla="*/ 13010 w 38888"/>
                  <a:gd name="connsiteY9" fmla="*/ 12953 h 45392"/>
                  <a:gd name="connsiteX10" fmla="*/ 13010 w 38888"/>
                  <a:gd name="connsiteY10" fmla="*/ 32411 h 45392"/>
                  <a:gd name="connsiteX11" fmla="*/ 25992 w 38888"/>
                  <a:gd name="connsiteY11" fmla="*/ 32411 h 45392"/>
                  <a:gd name="connsiteX12" fmla="*/ 25992 w 38888"/>
                  <a:gd name="connsiteY12" fmla="*/ 12953 h 45392"/>
                  <a:gd name="connsiteX13" fmla="*/ 13010 w 38888"/>
                  <a:gd name="connsiteY13" fmla="*/ 12953 h 4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888" h="45392">
                    <a:moveTo>
                      <a:pt x="25963" y="45393"/>
                    </a:moveTo>
                    <a:lnTo>
                      <a:pt x="12982" y="45393"/>
                    </a:lnTo>
                    <a:cubicBezTo>
                      <a:pt x="5817" y="45393"/>
                      <a:pt x="0" y="39575"/>
                      <a:pt x="0" y="32411"/>
                    </a:cubicBezTo>
                    <a:lnTo>
                      <a:pt x="0" y="6477"/>
                    </a:lnTo>
                    <a:cubicBezTo>
                      <a:pt x="0" y="2894"/>
                      <a:pt x="2894" y="0"/>
                      <a:pt x="6476" y="0"/>
                    </a:cubicBezTo>
                    <a:lnTo>
                      <a:pt x="32411" y="0"/>
                    </a:lnTo>
                    <a:cubicBezTo>
                      <a:pt x="35993" y="0"/>
                      <a:pt x="38888" y="2894"/>
                      <a:pt x="38888" y="6477"/>
                    </a:cubicBezTo>
                    <a:lnTo>
                      <a:pt x="38888" y="32411"/>
                    </a:lnTo>
                    <a:cubicBezTo>
                      <a:pt x="38945" y="39575"/>
                      <a:pt x="33128" y="45393"/>
                      <a:pt x="25963" y="45393"/>
                    </a:cubicBezTo>
                    <a:close/>
                    <a:moveTo>
                      <a:pt x="13010" y="12953"/>
                    </a:moveTo>
                    <a:lnTo>
                      <a:pt x="13010" y="32411"/>
                    </a:lnTo>
                    <a:lnTo>
                      <a:pt x="25992" y="32411"/>
                    </a:lnTo>
                    <a:lnTo>
                      <a:pt x="25992" y="12953"/>
                    </a:lnTo>
                    <a:lnTo>
                      <a:pt x="13010" y="12953"/>
                    </a:lnTo>
                    <a:close/>
                  </a:path>
                </a:pathLst>
              </a:custGeom>
              <a:solidFill>
                <a:schemeClr val="tx2"/>
              </a:solidFill>
              <a:ln w="2860" cap="flat">
                <a:noFill/>
                <a:prstDash val="solid"/>
                <a:miter/>
              </a:ln>
            </p:spPr>
            <p:txBody>
              <a:bodyPr rtlCol="0" anchor="ctr"/>
              <a:lstStyle/>
              <a:p>
                <a:endParaRPr lang="en-GB" dirty="0"/>
              </a:p>
            </p:txBody>
          </p:sp>
          <p:sp>
            <p:nvSpPr>
              <p:cNvPr id="198" name="Freihandform: Form 377">
                <a:extLst>
                  <a:ext uri="{FF2B5EF4-FFF2-40B4-BE49-F238E27FC236}">
                    <a16:creationId xmlns:a16="http://schemas.microsoft.com/office/drawing/2014/main" id="{00E884BC-676C-49E2-879D-2519B2743F42}"/>
                  </a:ext>
                </a:extLst>
              </p:cNvPr>
              <p:cNvSpPr/>
              <p:nvPr/>
            </p:nvSpPr>
            <p:spPr>
              <a:xfrm>
                <a:off x="1897639" y="3669235"/>
                <a:ext cx="38887" cy="45392"/>
              </a:xfrm>
              <a:custGeom>
                <a:avLst/>
                <a:gdLst>
                  <a:gd name="connsiteX0" fmla="*/ 25963 w 38887"/>
                  <a:gd name="connsiteY0" fmla="*/ 45393 h 45392"/>
                  <a:gd name="connsiteX1" fmla="*/ 12982 w 38887"/>
                  <a:gd name="connsiteY1" fmla="*/ 45393 h 45392"/>
                  <a:gd name="connsiteX2" fmla="*/ 0 w 38887"/>
                  <a:gd name="connsiteY2" fmla="*/ 32411 h 45392"/>
                  <a:gd name="connsiteX3" fmla="*/ 0 w 38887"/>
                  <a:gd name="connsiteY3" fmla="*/ 6477 h 45392"/>
                  <a:gd name="connsiteX4" fmla="*/ 6476 w 38887"/>
                  <a:gd name="connsiteY4" fmla="*/ 0 h 45392"/>
                  <a:gd name="connsiteX5" fmla="*/ 32411 w 38887"/>
                  <a:gd name="connsiteY5" fmla="*/ 0 h 45392"/>
                  <a:gd name="connsiteX6" fmla="*/ 38888 w 38887"/>
                  <a:gd name="connsiteY6" fmla="*/ 6477 h 45392"/>
                  <a:gd name="connsiteX7" fmla="*/ 38888 w 38887"/>
                  <a:gd name="connsiteY7" fmla="*/ 32411 h 45392"/>
                  <a:gd name="connsiteX8" fmla="*/ 25963 w 38887"/>
                  <a:gd name="connsiteY8" fmla="*/ 45393 h 45392"/>
                  <a:gd name="connsiteX9" fmla="*/ 12982 w 38887"/>
                  <a:gd name="connsiteY9" fmla="*/ 12953 h 45392"/>
                  <a:gd name="connsiteX10" fmla="*/ 12982 w 38887"/>
                  <a:gd name="connsiteY10" fmla="*/ 32411 h 45392"/>
                  <a:gd name="connsiteX11" fmla="*/ 25963 w 38887"/>
                  <a:gd name="connsiteY11" fmla="*/ 32411 h 45392"/>
                  <a:gd name="connsiteX12" fmla="*/ 25963 w 38887"/>
                  <a:gd name="connsiteY12" fmla="*/ 12953 h 45392"/>
                  <a:gd name="connsiteX13" fmla="*/ 12982 w 38887"/>
                  <a:gd name="connsiteY13" fmla="*/ 12953 h 4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8887" h="45392">
                    <a:moveTo>
                      <a:pt x="25963" y="45393"/>
                    </a:moveTo>
                    <a:lnTo>
                      <a:pt x="12982" y="45393"/>
                    </a:lnTo>
                    <a:cubicBezTo>
                      <a:pt x="5817" y="45393"/>
                      <a:pt x="0" y="39575"/>
                      <a:pt x="0" y="32411"/>
                    </a:cubicBezTo>
                    <a:lnTo>
                      <a:pt x="0" y="6477"/>
                    </a:lnTo>
                    <a:cubicBezTo>
                      <a:pt x="0" y="2894"/>
                      <a:pt x="2894" y="0"/>
                      <a:pt x="6476" y="0"/>
                    </a:cubicBezTo>
                    <a:lnTo>
                      <a:pt x="32411" y="0"/>
                    </a:lnTo>
                    <a:cubicBezTo>
                      <a:pt x="35993" y="0"/>
                      <a:pt x="38888" y="2894"/>
                      <a:pt x="38888" y="6477"/>
                    </a:cubicBezTo>
                    <a:lnTo>
                      <a:pt x="38888" y="32411"/>
                    </a:lnTo>
                    <a:cubicBezTo>
                      <a:pt x="38916" y="39575"/>
                      <a:pt x="33099" y="45393"/>
                      <a:pt x="25963" y="45393"/>
                    </a:cubicBezTo>
                    <a:close/>
                    <a:moveTo>
                      <a:pt x="12982" y="12953"/>
                    </a:moveTo>
                    <a:lnTo>
                      <a:pt x="12982" y="32411"/>
                    </a:lnTo>
                    <a:lnTo>
                      <a:pt x="25963" y="32411"/>
                    </a:lnTo>
                    <a:lnTo>
                      <a:pt x="25963" y="12953"/>
                    </a:lnTo>
                    <a:lnTo>
                      <a:pt x="12982" y="12953"/>
                    </a:lnTo>
                    <a:close/>
                  </a:path>
                </a:pathLst>
              </a:custGeom>
              <a:solidFill>
                <a:schemeClr val="tx2"/>
              </a:solidFill>
              <a:ln w="2860" cap="flat">
                <a:noFill/>
                <a:prstDash val="solid"/>
                <a:miter/>
              </a:ln>
            </p:spPr>
            <p:txBody>
              <a:bodyPr rtlCol="0" anchor="ctr"/>
              <a:lstStyle/>
              <a:p>
                <a:endParaRPr lang="en-GB" dirty="0"/>
              </a:p>
            </p:txBody>
          </p:sp>
          <p:sp>
            <p:nvSpPr>
              <p:cNvPr id="199" name="Freihandform: Form 378">
                <a:extLst>
                  <a:ext uri="{FF2B5EF4-FFF2-40B4-BE49-F238E27FC236}">
                    <a16:creationId xmlns:a16="http://schemas.microsoft.com/office/drawing/2014/main" id="{F285AB13-3733-46BE-B219-AB55447B0403}"/>
                  </a:ext>
                </a:extLst>
              </p:cNvPr>
              <p:cNvSpPr/>
              <p:nvPr/>
            </p:nvSpPr>
            <p:spPr>
              <a:xfrm>
                <a:off x="1670704" y="3591402"/>
                <a:ext cx="285310" cy="90785"/>
              </a:xfrm>
              <a:custGeom>
                <a:avLst/>
                <a:gdLst>
                  <a:gd name="connsiteX0" fmla="*/ 265852 w 285310"/>
                  <a:gd name="connsiteY0" fmla="*/ 90786 h 90785"/>
                  <a:gd name="connsiteX1" fmla="*/ 19458 w 285310"/>
                  <a:gd name="connsiteY1" fmla="*/ 90786 h 90785"/>
                  <a:gd name="connsiteX2" fmla="*/ 0 w 285310"/>
                  <a:gd name="connsiteY2" fmla="*/ 71328 h 90785"/>
                  <a:gd name="connsiteX3" fmla="*/ 0 w 285310"/>
                  <a:gd name="connsiteY3" fmla="*/ 19458 h 90785"/>
                  <a:gd name="connsiteX4" fmla="*/ 19458 w 285310"/>
                  <a:gd name="connsiteY4" fmla="*/ 0 h 90785"/>
                  <a:gd name="connsiteX5" fmla="*/ 25935 w 285310"/>
                  <a:gd name="connsiteY5" fmla="*/ 6477 h 90785"/>
                  <a:gd name="connsiteX6" fmla="*/ 19458 w 285310"/>
                  <a:gd name="connsiteY6" fmla="*/ 12953 h 90785"/>
                  <a:gd name="connsiteX7" fmla="*/ 12982 w 285310"/>
                  <a:gd name="connsiteY7" fmla="*/ 19429 h 90785"/>
                  <a:gd name="connsiteX8" fmla="*/ 12982 w 285310"/>
                  <a:gd name="connsiteY8" fmla="*/ 71299 h 90785"/>
                  <a:gd name="connsiteX9" fmla="*/ 19458 w 285310"/>
                  <a:gd name="connsiteY9" fmla="*/ 77775 h 90785"/>
                  <a:gd name="connsiteX10" fmla="*/ 265852 w 285310"/>
                  <a:gd name="connsiteY10" fmla="*/ 77775 h 90785"/>
                  <a:gd name="connsiteX11" fmla="*/ 272328 w 285310"/>
                  <a:gd name="connsiteY11" fmla="*/ 71299 h 90785"/>
                  <a:gd name="connsiteX12" fmla="*/ 272328 w 285310"/>
                  <a:gd name="connsiteY12" fmla="*/ 19429 h 90785"/>
                  <a:gd name="connsiteX13" fmla="*/ 265852 w 285310"/>
                  <a:gd name="connsiteY13" fmla="*/ 12953 h 90785"/>
                  <a:gd name="connsiteX14" fmla="*/ 259375 w 285310"/>
                  <a:gd name="connsiteY14" fmla="*/ 6477 h 90785"/>
                  <a:gd name="connsiteX15" fmla="*/ 265852 w 285310"/>
                  <a:gd name="connsiteY15" fmla="*/ 0 h 90785"/>
                  <a:gd name="connsiteX16" fmla="*/ 285310 w 285310"/>
                  <a:gd name="connsiteY16" fmla="*/ 19458 h 90785"/>
                  <a:gd name="connsiteX17" fmla="*/ 285310 w 285310"/>
                  <a:gd name="connsiteY17" fmla="*/ 71328 h 90785"/>
                  <a:gd name="connsiteX18" fmla="*/ 265852 w 285310"/>
                  <a:gd name="connsiteY18" fmla="*/ 90786 h 90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310" h="90785">
                    <a:moveTo>
                      <a:pt x="265852" y="90786"/>
                    </a:moveTo>
                    <a:lnTo>
                      <a:pt x="19458" y="90786"/>
                    </a:lnTo>
                    <a:cubicBezTo>
                      <a:pt x="8740" y="90786"/>
                      <a:pt x="0" y="82074"/>
                      <a:pt x="0" y="71328"/>
                    </a:cubicBezTo>
                    <a:lnTo>
                      <a:pt x="0" y="19458"/>
                    </a:lnTo>
                    <a:cubicBezTo>
                      <a:pt x="0" y="8740"/>
                      <a:pt x="8712" y="0"/>
                      <a:pt x="19458" y="0"/>
                    </a:cubicBezTo>
                    <a:cubicBezTo>
                      <a:pt x="23040" y="0"/>
                      <a:pt x="25935" y="2894"/>
                      <a:pt x="25935" y="6477"/>
                    </a:cubicBezTo>
                    <a:cubicBezTo>
                      <a:pt x="25935" y="10059"/>
                      <a:pt x="23040" y="12953"/>
                      <a:pt x="19458" y="12953"/>
                    </a:cubicBezTo>
                    <a:cubicBezTo>
                      <a:pt x="15876" y="12953"/>
                      <a:pt x="12982" y="15847"/>
                      <a:pt x="12982" y="19429"/>
                    </a:cubicBezTo>
                    <a:lnTo>
                      <a:pt x="12982" y="71299"/>
                    </a:lnTo>
                    <a:cubicBezTo>
                      <a:pt x="12982" y="74881"/>
                      <a:pt x="15905" y="77775"/>
                      <a:pt x="19458" y="77775"/>
                    </a:cubicBezTo>
                    <a:lnTo>
                      <a:pt x="265852" y="77775"/>
                    </a:lnTo>
                    <a:cubicBezTo>
                      <a:pt x="269434" y="77775"/>
                      <a:pt x="272328" y="74881"/>
                      <a:pt x="272328" y="71299"/>
                    </a:cubicBezTo>
                    <a:lnTo>
                      <a:pt x="272328" y="19429"/>
                    </a:lnTo>
                    <a:cubicBezTo>
                      <a:pt x="272328" y="15847"/>
                      <a:pt x="269405" y="12953"/>
                      <a:pt x="265852" y="12953"/>
                    </a:cubicBezTo>
                    <a:cubicBezTo>
                      <a:pt x="262270" y="12953"/>
                      <a:pt x="259375" y="10059"/>
                      <a:pt x="259375" y="6477"/>
                    </a:cubicBezTo>
                    <a:cubicBezTo>
                      <a:pt x="259375" y="2894"/>
                      <a:pt x="262270" y="0"/>
                      <a:pt x="265852" y="0"/>
                    </a:cubicBezTo>
                    <a:cubicBezTo>
                      <a:pt x="276570" y="0"/>
                      <a:pt x="285310" y="8712"/>
                      <a:pt x="285310" y="19458"/>
                    </a:cubicBezTo>
                    <a:lnTo>
                      <a:pt x="285310" y="71328"/>
                    </a:lnTo>
                    <a:cubicBezTo>
                      <a:pt x="285310" y="82074"/>
                      <a:pt x="276598" y="90786"/>
                      <a:pt x="265852" y="90786"/>
                    </a:cubicBezTo>
                    <a:close/>
                  </a:path>
                </a:pathLst>
              </a:custGeom>
              <a:solidFill>
                <a:schemeClr val="tx2"/>
              </a:solidFill>
              <a:ln w="2860" cap="flat">
                <a:noFill/>
                <a:prstDash val="solid"/>
                <a:miter/>
              </a:ln>
            </p:spPr>
            <p:txBody>
              <a:bodyPr rtlCol="0" anchor="ctr"/>
              <a:lstStyle/>
              <a:p>
                <a:endParaRPr lang="en-GB" dirty="0"/>
              </a:p>
            </p:txBody>
          </p:sp>
          <p:sp>
            <p:nvSpPr>
              <p:cNvPr id="200" name="Freihandform: Form 379">
                <a:extLst>
                  <a:ext uri="{FF2B5EF4-FFF2-40B4-BE49-F238E27FC236}">
                    <a16:creationId xmlns:a16="http://schemas.microsoft.com/office/drawing/2014/main" id="{5E66F189-E4E8-42E2-83C3-DCCAC9A82C93}"/>
                  </a:ext>
                </a:extLst>
              </p:cNvPr>
              <p:cNvSpPr/>
              <p:nvPr/>
            </p:nvSpPr>
            <p:spPr>
              <a:xfrm>
                <a:off x="1683703" y="3474711"/>
                <a:ext cx="259340" cy="129676"/>
              </a:xfrm>
              <a:custGeom>
                <a:avLst/>
                <a:gdLst>
                  <a:gd name="connsiteX0" fmla="*/ 252853 w 259340"/>
                  <a:gd name="connsiteY0" fmla="*/ 129673 h 129676"/>
                  <a:gd name="connsiteX1" fmla="*/ 246520 w 259340"/>
                  <a:gd name="connsiteY1" fmla="*/ 124601 h 129676"/>
                  <a:gd name="connsiteX2" fmla="*/ 226775 w 259340"/>
                  <a:gd name="connsiteY2" fmla="*/ 35735 h 129676"/>
                  <a:gd name="connsiteX3" fmla="*/ 198404 w 259340"/>
                  <a:gd name="connsiteY3" fmla="*/ 12982 h 129676"/>
                  <a:gd name="connsiteX4" fmla="*/ 60936 w 259340"/>
                  <a:gd name="connsiteY4" fmla="*/ 12982 h 129676"/>
                  <a:gd name="connsiteX5" fmla="*/ 32566 w 259340"/>
                  <a:gd name="connsiteY5" fmla="*/ 35735 h 129676"/>
                  <a:gd name="connsiteX6" fmla="*/ 12821 w 259340"/>
                  <a:gd name="connsiteY6" fmla="*/ 124601 h 129676"/>
                  <a:gd name="connsiteX7" fmla="*/ 5084 w 259340"/>
                  <a:gd name="connsiteY7" fmla="*/ 129530 h 129676"/>
                  <a:gd name="connsiteX8" fmla="*/ 155 w 259340"/>
                  <a:gd name="connsiteY8" fmla="*/ 121793 h 129676"/>
                  <a:gd name="connsiteX9" fmla="*/ 19899 w 259340"/>
                  <a:gd name="connsiteY9" fmla="*/ 32927 h 129676"/>
                  <a:gd name="connsiteX10" fmla="*/ 60936 w 259340"/>
                  <a:gd name="connsiteY10" fmla="*/ 0 h 129676"/>
                  <a:gd name="connsiteX11" fmla="*/ 198404 w 259340"/>
                  <a:gd name="connsiteY11" fmla="*/ 0 h 129676"/>
                  <a:gd name="connsiteX12" fmla="*/ 239441 w 259340"/>
                  <a:gd name="connsiteY12" fmla="*/ 32927 h 129676"/>
                  <a:gd name="connsiteX13" fmla="*/ 259186 w 259340"/>
                  <a:gd name="connsiteY13" fmla="*/ 121793 h 129676"/>
                  <a:gd name="connsiteX14" fmla="*/ 254257 w 259340"/>
                  <a:gd name="connsiteY14" fmla="*/ 129530 h 129676"/>
                  <a:gd name="connsiteX15" fmla="*/ 252853 w 259340"/>
                  <a:gd name="connsiteY15" fmla="*/ 129673 h 129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9340" h="129676">
                    <a:moveTo>
                      <a:pt x="252853" y="129673"/>
                    </a:moveTo>
                    <a:cubicBezTo>
                      <a:pt x="249873" y="129673"/>
                      <a:pt x="247207" y="127610"/>
                      <a:pt x="246520" y="124601"/>
                    </a:cubicBezTo>
                    <a:lnTo>
                      <a:pt x="226775" y="35735"/>
                    </a:lnTo>
                    <a:cubicBezTo>
                      <a:pt x="223795" y="22324"/>
                      <a:pt x="212131" y="12982"/>
                      <a:pt x="198404" y="12982"/>
                    </a:cubicBezTo>
                    <a:lnTo>
                      <a:pt x="60936" y="12982"/>
                    </a:lnTo>
                    <a:cubicBezTo>
                      <a:pt x="47210" y="12982"/>
                      <a:pt x="35546" y="22353"/>
                      <a:pt x="32566" y="35735"/>
                    </a:cubicBezTo>
                    <a:lnTo>
                      <a:pt x="12821" y="124601"/>
                    </a:lnTo>
                    <a:cubicBezTo>
                      <a:pt x="12047" y="128097"/>
                      <a:pt x="8580" y="130275"/>
                      <a:pt x="5084" y="129530"/>
                    </a:cubicBezTo>
                    <a:cubicBezTo>
                      <a:pt x="1587" y="128757"/>
                      <a:pt x="-619" y="125289"/>
                      <a:pt x="155" y="121793"/>
                    </a:cubicBezTo>
                    <a:lnTo>
                      <a:pt x="19899" y="32927"/>
                    </a:lnTo>
                    <a:cubicBezTo>
                      <a:pt x="24198" y="13555"/>
                      <a:pt x="41077" y="0"/>
                      <a:pt x="60936" y="0"/>
                    </a:cubicBezTo>
                    <a:lnTo>
                      <a:pt x="198404" y="0"/>
                    </a:lnTo>
                    <a:cubicBezTo>
                      <a:pt x="218264" y="0"/>
                      <a:pt x="235143" y="13526"/>
                      <a:pt x="239441" y="32927"/>
                    </a:cubicBezTo>
                    <a:lnTo>
                      <a:pt x="259186" y="121793"/>
                    </a:lnTo>
                    <a:cubicBezTo>
                      <a:pt x="259960" y="125289"/>
                      <a:pt x="257753" y="128757"/>
                      <a:pt x="254257" y="129530"/>
                    </a:cubicBezTo>
                    <a:cubicBezTo>
                      <a:pt x="253799" y="129616"/>
                      <a:pt x="253311" y="129673"/>
                      <a:pt x="252853" y="129673"/>
                    </a:cubicBezTo>
                    <a:close/>
                  </a:path>
                </a:pathLst>
              </a:custGeom>
              <a:solidFill>
                <a:schemeClr val="tx2"/>
              </a:solidFill>
              <a:ln w="2860" cap="flat">
                <a:noFill/>
                <a:prstDash val="solid"/>
                <a:miter/>
              </a:ln>
            </p:spPr>
            <p:txBody>
              <a:bodyPr rtlCol="0" anchor="ctr"/>
              <a:lstStyle/>
              <a:p>
                <a:endParaRPr lang="en-GB" dirty="0"/>
              </a:p>
            </p:txBody>
          </p:sp>
          <p:sp>
            <p:nvSpPr>
              <p:cNvPr id="201" name="Freihandform: Form 380">
                <a:extLst>
                  <a:ext uri="{FF2B5EF4-FFF2-40B4-BE49-F238E27FC236}">
                    <a16:creationId xmlns:a16="http://schemas.microsoft.com/office/drawing/2014/main" id="{FEFAE7B5-E451-4EEC-9A3E-34D3A502EEFC}"/>
                  </a:ext>
                </a:extLst>
              </p:cNvPr>
              <p:cNvSpPr/>
              <p:nvPr/>
            </p:nvSpPr>
            <p:spPr>
              <a:xfrm>
                <a:off x="1703172" y="3643300"/>
                <a:ext cx="220430" cy="12953"/>
              </a:xfrm>
              <a:custGeom>
                <a:avLst/>
                <a:gdLst>
                  <a:gd name="connsiteX0" fmla="*/ 213954 w 220430"/>
                  <a:gd name="connsiteY0" fmla="*/ 12953 h 12953"/>
                  <a:gd name="connsiteX1" fmla="*/ 6477 w 220430"/>
                  <a:gd name="connsiteY1" fmla="*/ 12953 h 12953"/>
                  <a:gd name="connsiteX2" fmla="*/ 0 w 220430"/>
                  <a:gd name="connsiteY2" fmla="*/ 6477 h 12953"/>
                  <a:gd name="connsiteX3" fmla="*/ 6477 w 220430"/>
                  <a:gd name="connsiteY3" fmla="*/ 0 h 12953"/>
                  <a:gd name="connsiteX4" fmla="*/ 213954 w 220430"/>
                  <a:gd name="connsiteY4" fmla="*/ 0 h 12953"/>
                  <a:gd name="connsiteX5" fmla="*/ 220430 w 220430"/>
                  <a:gd name="connsiteY5" fmla="*/ 6477 h 12953"/>
                  <a:gd name="connsiteX6" fmla="*/ 213954 w 220430"/>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430" h="12953">
                    <a:moveTo>
                      <a:pt x="213954" y="12953"/>
                    </a:moveTo>
                    <a:lnTo>
                      <a:pt x="6477" y="12953"/>
                    </a:lnTo>
                    <a:cubicBezTo>
                      <a:pt x="2894" y="12953"/>
                      <a:pt x="0" y="10059"/>
                      <a:pt x="0" y="6477"/>
                    </a:cubicBezTo>
                    <a:cubicBezTo>
                      <a:pt x="0" y="2894"/>
                      <a:pt x="2894" y="0"/>
                      <a:pt x="6477" y="0"/>
                    </a:cubicBezTo>
                    <a:lnTo>
                      <a:pt x="213954" y="0"/>
                    </a:lnTo>
                    <a:cubicBezTo>
                      <a:pt x="217536" y="0"/>
                      <a:pt x="220430" y="2894"/>
                      <a:pt x="220430" y="6477"/>
                    </a:cubicBezTo>
                    <a:cubicBezTo>
                      <a:pt x="220430" y="10059"/>
                      <a:pt x="217507" y="12953"/>
                      <a:pt x="213954" y="12953"/>
                    </a:cubicBezTo>
                    <a:close/>
                  </a:path>
                </a:pathLst>
              </a:custGeom>
              <a:solidFill>
                <a:schemeClr val="tx2"/>
              </a:solidFill>
              <a:ln w="2860" cap="flat">
                <a:noFill/>
                <a:prstDash val="solid"/>
                <a:miter/>
              </a:ln>
            </p:spPr>
            <p:txBody>
              <a:bodyPr rtlCol="0" anchor="ctr"/>
              <a:lstStyle/>
              <a:p>
                <a:endParaRPr lang="en-GB" dirty="0"/>
              </a:p>
            </p:txBody>
          </p:sp>
          <p:sp>
            <p:nvSpPr>
              <p:cNvPr id="202" name="Freihandform: Form 381">
                <a:extLst>
                  <a:ext uri="{FF2B5EF4-FFF2-40B4-BE49-F238E27FC236}">
                    <a16:creationId xmlns:a16="http://schemas.microsoft.com/office/drawing/2014/main" id="{A66A3E5F-E23A-438D-AE8E-53A41D001DB2}"/>
                  </a:ext>
                </a:extLst>
              </p:cNvPr>
              <p:cNvSpPr/>
              <p:nvPr/>
            </p:nvSpPr>
            <p:spPr>
              <a:xfrm>
                <a:off x="1717299" y="3597918"/>
                <a:ext cx="50732" cy="31827"/>
              </a:xfrm>
              <a:custGeom>
                <a:avLst/>
                <a:gdLst>
                  <a:gd name="connsiteX0" fmla="*/ 44190 w 50732"/>
                  <a:gd name="connsiteY0" fmla="*/ 31827 h 31827"/>
                  <a:gd name="connsiteX1" fmla="*/ 38029 w 50732"/>
                  <a:gd name="connsiteY1" fmla="*/ 27357 h 31827"/>
                  <a:gd name="connsiteX2" fmla="*/ 27254 w 50732"/>
                  <a:gd name="connsiteY2" fmla="*/ 13802 h 31827"/>
                  <a:gd name="connsiteX3" fmla="*/ 16736 w 50732"/>
                  <a:gd name="connsiteY3" fmla="*/ 13630 h 31827"/>
                  <a:gd name="connsiteX4" fmla="*/ 13011 w 50732"/>
                  <a:gd name="connsiteY4" fmla="*/ 16496 h 31827"/>
                  <a:gd name="connsiteX5" fmla="*/ 13183 w 50732"/>
                  <a:gd name="connsiteY5" fmla="*/ 18416 h 31827"/>
                  <a:gd name="connsiteX6" fmla="*/ 9286 w 50732"/>
                  <a:gd name="connsiteY6" fmla="*/ 26726 h 31827"/>
                  <a:gd name="connsiteX7" fmla="*/ 1004 w 50732"/>
                  <a:gd name="connsiteY7" fmla="*/ 22829 h 31827"/>
                  <a:gd name="connsiteX8" fmla="*/ 574 w 50732"/>
                  <a:gd name="connsiteY8" fmla="*/ 12971 h 31827"/>
                  <a:gd name="connsiteX9" fmla="*/ 12810 w 50732"/>
                  <a:gd name="connsiteY9" fmla="*/ 1307 h 31827"/>
                  <a:gd name="connsiteX10" fmla="*/ 30836 w 50732"/>
                  <a:gd name="connsiteY10" fmla="*/ 1336 h 31827"/>
                  <a:gd name="connsiteX11" fmla="*/ 50408 w 50732"/>
                  <a:gd name="connsiteY11" fmla="*/ 23345 h 31827"/>
                  <a:gd name="connsiteX12" fmla="*/ 46253 w 50732"/>
                  <a:gd name="connsiteY12" fmla="*/ 31512 h 31827"/>
                  <a:gd name="connsiteX13" fmla="*/ 44190 w 50732"/>
                  <a:gd name="connsiteY13" fmla="*/ 31827 h 31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732" h="31827">
                    <a:moveTo>
                      <a:pt x="44190" y="31827"/>
                    </a:moveTo>
                    <a:cubicBezTo>
                      <a:pt x="41467" y="31827"/>
                      <a:pt x="38917" y="30079"/>
                      <a:pt x="38029" y="27357"/>
                    </a:cubicBezTo>
                    <a:cubicBezTo>
                      <a:pt x="37026" y="24348"/>
                      <a:pt x="32899" y="15407"/>
                      <a:pt x="27254" y="13802"/>
                    </a:cubicBezTo>
                    <a:cubicBezTo>
                      <a:pt x="23528" y="12742"/>
                      <a:pt x="19688" y="12684"/>
                      <a:pt x="16736" y="13630"/>
                    </a:cubicBezTo>
                    <a:cubicBezTo>
                      <a:pt x="14730" y="14289"/>
                      <a:pt x="13326" y="15350"/>
                      <a:pt x="13011" y="16496"/>
                    </a:cubicBezTo>
                    <a:cubicBezTo>
                      <a:pt x="12839" y="17069"/>
                      <a:pt x="12896" y="17699"/>
                      <a:pt x="13183" y="18416"/>
                    </a:cubicBezTo>
                    <a:cubicBezTo>
                      <a:pt x="14386" y="21797"/>
                      <a:pt x="12638" y="25494"/>
                      <a:pt x="9286" y="26726"/>
                    </a:cubicBezTo>
                    <a:cubicBezTo>
                      <a:pt x="5904" y="27930"/>
                      <a:pt x="2207" y="26182"/>
                      <a:pt x="1004" y="22829"/>
                    </a:cubicBezTo>
                    <a:cubicBezTo>
                      <a:pt x="-171" y="19533"/>
                      <a:pt x="-315" y="16123"/>
                      <a:pt x="574" y="12971"/>
                    </a:cubicBezTo>
                    <a:cubicBezTo>
                      <a:pt x="2093" y="7583"/>
                      <a:pt x="6563" y="3313"/>
                      <a:pt x="12810" y="1307"/>
                    </a:cubicBezTo>
                    <a:cubicBezTo>
                      <a:pt x="18227" y="-441"/>
                      <a:pt x="24617" y="-441"/>
                      <a:pt x="30836" y="1336"/>
                    </a:cubicBezTo>
                    <a:cubicBezTo>
                      <a:pt x="44104" y="5090"/>
                      <a:pt x="49807" y="21511"/>
                      <a:pt x="50408" y="23345"/>
                    </a:cubicBezTo>
                    <a:cubicBezTo>
                      <a:pt x="51526" y="26755"/>
                      <a:pt x="49663" y="30423"/>
                      <a:pt x="46253" y="31512"/>
                    </a:cubicBezTo>
                    <a:cubicBezTo>
                      <a:pt x="45537" y="31741"/>
                      <a:pt x="44849" y="31827"/>
                      <a:pt x="44190" y="31827"/>
                    </a:cubicBezTo>
                    <a:close/>
                  </a:path>
                </a:pathLst>
              </a:custGeom>
              <a:solidFill>
                <a:schemeClr val="tx2"/>
              </a:solidFill>
              <a:ln w="2860" cap="flat">
                <a:noFill/>
                <a:prstDash val="solid"/>
                <a:miter/>
              </a:ln>
            </p:spPr>
            <p:txBody>
              <a:bodyPr rtlCol="0" anchor="ctr"/>
              <a:lstStyle/>
              <a:p>
                <a:endParaRPr lang="en-GB" dirty="0"/>
              </a:p>
            </p:txBody>
          </p:sp>
          <p:sp>
            <p:nvSpPr>
              <p:cNvPr id="203" name="Freihandform: Form 382">
                <a:extLst>
                  <a:ext uri="{FF2B5EF4-FFF2-40B4-BE49-F238E27FC236}">
                    <a16:creationId xmlns:a16="http://schemas.microsoft.com/office/drawing/2014/main" id="{FC2C1984-8FE3-48FF-8B5B-DD57401BE3FF}"/>
                  </a:ext>
                </a:extLst>
              </p:cNvPr>
              <p:cNvSpPr/>
              <p:nvPr/>
            </p:nvSpPr>
            <p:spPr>
              <a:xfrm>
                <a:off x="1859889" y="3597918"/>
                <a:ext cx="50732" cy="31827"/>
              </a:xfrm>
              <a:custGeom>
                <a:avLst/>
                <a:gdLst>
                  <a:gd name="connsiteX0" fmla="*/ 6486 w 50732"/>
                  <a:gd name="connsiteY0" fmla="*/ 31827 h 31827"/>
                  <a:gd name="connsiteX1" fmla="*/ 4480 w 50732"/>
                  <a:gd name="connsiteY1" fmla="*/ 31512 h 31827"/>
                  <a:gd name="connsiteX2" fmla="*/ 324 w 50732"/>
                  <a:gd name="connsiteY2" fmla="*/ 23345 h 31827"/>
                  <a:gd name="connsiteX3" fmla="*/ 19897 w 50732"/>
                  <a:gd name="connsiteY3" fmla="*/ 1336 h 31827"/>
                  <a:gd name="connsiteX4" fmla="*/ 37923 w 50732"/>
                  <a:gd name="connsiteY4" fmla="*/ 1307 h 31827"/>
                  <a:gd name="connsiteX5" fmla="*/ 50159 w 50732"/>
                  <a:gd name="connsiteY5" fmla="*/ 12971 h 31827"/>
                  <a:gd name="connsiteX6" fmla="*/ 49729 w 50732"/>
                  <a:gd name="connsiteY6" fmla="*/ 22829 h 31827"/>
                  <a:gd name="connsiteX7" fmla="*/ 41447 w 50732"/>
                  <a:gd name="connsiteY7" fmla="*/ 26755 h 31827"/>
                  <a:gd name="connsiteX8" fmla="*/ 37521 w 50732"/>
                  <a:gd name="connsiteY8" fmla="*/ 18473 h 31827"/>
                  <a:gd name="connsiteX9" fmla="*/ 37693 w 50732"/>
                  <a:gd name="connsiteY9" fmla="*/ 16524 h 31827"/>
                  <a:gd name="connsiteX10" fmla="*/ 33968 w 50732"/>
                  <a:gd name="connsiteY10" fmla="*/ 13659 h 31827"/>
                  <a:gd name="connsiteX11" fmla="*/ 23451 w 50732"/>
                  <a:gd name="connsiteY11" fmla="*/ 13831 h 31827"/>
                  <a:gd name="connsiteX12" fmla="*/ 12676 w 50732"/>
                  <a:gd name="connsiteY12" fmla="*/ 27386 h 31827"/>
                  <a:gd name="connsiteX13" fmla="*/ 6486 w 50732"/>
                  <a:gd name="connsiteY13" fmla="*/ 31827 h 31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0732" h="31827">
                    <a:moveTo>
                      <a:pt x="6486" y="31827"/>
                    </a:moveTo>
                    <a:cubicBezTo>
                      <a:pt x="5827" y="31827"/>
                      <a:pt x="5139" y="31713"/>
                      <a:pt x="4480" y="31512"/>
                    </a:cubicBezTo>
                    <a:cubicBezTo>
                      <a:pt x="1070" y="30394"/>
                      <a:pt x="-793" y="26755"/>
                      <a:pt x="324" y="23345"/>
                    </a:cubicBezTo>
                    <a:cubicBezTo>
                      <a:pt x="926" y="21482"/>
                      <a:pt x="6629" y="5090"/>
                      <a:pt x="19897" y="1336"/>
                    </a:cubicBezTo>
                    <a:cubicBezTo>
                      <a:pt x="26116" y="-441"/>
                      <a:pt x="32506" y="-441"/>
                      <a:pt x="37923" y="1307"/>
                    </a:cubicBezTo>
                    <a:cubicBezTo>
                      <a:pt x="44170" y="3313"/>
                      <a:pt x="48612" y="7583"/>
                      <a:pt x="50159" y="12971"/>
                    </a:cubicBezTo>
                    <a:cubicBezTo>
                      <a:pt x="51048" y="16123"/>
                      <a:pt x="50904" y="19533"/>
                      <a:pt x="49729" y="22829"/>
                    </a:cubicBezTo>
                    <a:cubicBezTo>
                      <a:pt x="48526" y="26210"/>
                      <a:pt x="44800" y="27959"/>
                      <a:pt x="41447" y="26755"/>
                    </a:cubicBezTo>
                    <a:cubicBezTo>
                      <a:pt x="38066" y="25551"/>
                      <a:pt x="36318" y="21826"/>
                      <a:pt x="37521" y="18473"/>
                    </a:cubicBezTo>
                    <a:cubicBezTo>
                      <a:pt x="37779" y="17728"/>
                      <a:pt x="37837" y="17098"/>
                      <a:pt x="37693" y="16524"/>
                    </a:cubicBezTo>
                    <a:cubicBezTo>
                      <a:pt x="37378" y="15378"/>
                      <a:pt x="35974" y="14318"/>
                      <a:pt x="33968" y="13659"/>
                    </a:cubicBezTo>
                    <a:cubicBezTo>
                      <a:pt x="31016" y="12713"/>
                      <a:pt x="27176" y="12770"/>
                      <a:pt x="23451" y="13831"/>
                    </a:cubicBezTo>
                    <a:cubicBezTo>
                      <a:pt x="17633" y="15493"/>
                      <a:pt x="13478" y="24950"/>
                      <a:pt x="12676" y="27386"/>
                    </a:cubicBezTo>
                    <a:cubicBezTo>
                      <a:pt x="11759" y="30079"/>
                      <a:pt x="9237" y="31827"/>
                      <a:pt x="6486" y="31827"/>
                    </a:cubicBezTo>
                    <a:close/>
                  </a:path>
                </a:pathLst>
              </a:custGeom>
              <a:solidFill>
                <a:schemeClr val="tx2"/>
              </a:solidFill>
              <a:ln w="2860" cap="flat">
                <a:noFill/>
                <a:prstDash val="solid"/>
                <a:miter/>
              </a:ln>
            </p:spPr>
            <p:txBody>
              <a:bodyPr rtlCol="0" anchor="ctr"/>
              <a:lstStyle/>
              <a:p>
                <a:endParaRPr lang="en-GB" dirty="0"/>
              </a:p>
            </p:txBody>
          </p:sp>
          <p:sp>
            <p:nvSpPr>
              <p:cNvPr id="204" name="Freihandform: Form 383">
                <a:extLst>
                  <a:ext uri="{FF2B5EF4-FFF2-40B4-BE49-F238E27FC236}">
                    <a16:creationId xmlns:a16="http://schemas.microsoft.com/office/drawing/2014/main" id="{23A0024A-DDB2-4B15-BEA0-D52D46710B71}"/>
                  </a:ext>
                </a:extLst>
              </p:cNvPr>
              <p:cNvSpPr/>
              <p:nvPr/>
            </p:nvSpPr>
            <p:spPr>
              <a:xfrm>
                <a:off x="1793929" y="3617366"/>
                <a:ext cx="38887" cy="12953"/>
              </a:xfrm>
              <a:custGeom>
                <a:avLst/>
                <a:gdLst>
                  <a:gd name="connsiteX0" fmla="*/ 32411 w 38887"/>
                  <a:gd name="connsiteY0" fmla="*/ 12953 h 12953"/>
                  <a:gd name="connsiteX1" fmla="*/ 6476 w 38887"/>
                  <a:gd name="connsiteY1" fmla="*/ 12953 h 12953"/>
                  <a:gd name="connsiteX2" fmla="*/ 0 w 38887"/>
                  <a:gd name="connsiteY2" fmla="*/ 6477 h 12953"/>
                  <a:gd name="connsiteX3" fmla="*/ 6476 w 38887"/>
                  <a:gd name="connsiteY3" fmla="*/ 0 h 12953"/>
                  <a:gd name="connsiteX4" fmla="*/ 32411 w 38887"/>
                  <a:gd name="connsiteY4" fmla="*/ 0 h 12953"/>
                  <a:gd name="connsiteX5" fmla="*/ 38888 w 38887"/>
                  <a:gd name="connsiteY5" fmla="*/ 6477 h 12953"/>
                  <a:gd name="connsiteX6" fmla="*/ 32411 w 38887"/>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87" h="12953">
                    <a:moveTo>
                      <a:pt x="32411" y="12953"/>
                    </a:moveTo>
                    <a:lnTo>
                      <a:pt x="6476" y="12953"/>
                    </a:lnTo>
                    <a:cubicBezTo>
                      <a:pt x="2894" y="12953"/>
                      <a:pt x="0" y="10059"/>
                      <a:pt x="0" y="6477"/>
                    </a:cubicBezTo>
                    <a:cubicBezTo>
                      <a:pt x="0" y="2894"/>
                      <a:pt x="2894" y="0"/>
                      <a:pt x="6476" y="0"/>
                    </a:cubicBezTo>
                    <a:lnTo>
                      <a:pt x="32411" y="0"/>
                    </a:lnTo>
                    <a:cubicBezTo>
                      <a:pt x="35993" y="0"/>
                      <a:pt x="38888" y="2894"/>
                      <a:pt x="38888" y="6477"/>
                    </a:cubicBezTo>
                    <a:cubicBezTo>
                      <a:pt x="38888" y="10059"/>
                      <a:pt x="35993" y="12953"/>
                      <a:pt x="32411" y="12953"/>
                    </a:cubicBezTo>
                    <a:close/>
                  </a:path>
                </a:pathLst>
              </a:custGeom>
              <a:solidFill>
                <a:schemeClr val="tx2"/>
              </a:solidFill>
              <a:ln w="2860" cap="flat">
                <a:noFill/>
                <a:prstDash val="solid"/>
                <a:miter/>
              </a:ln>
            </p:spPr>
            <p:txBody>
              <a:bodyPr rtlCol="0" anchor="ctr"/>
              <a:lstStyle/>
              <a:p>
                <a:endParaRPr lang="en-GB" dirty="0"/>
              </a:p>
            </p:txBody>
          </p:sp>
          <p:sp>
            <p:nvSpPr>
              <p:cNvPr id="205" name="Freihandform: Form 388">
                <a:extLst>
                  <a:ext uri="{FF2B5EF4-FFF2-40B4-BE49-F238E27FC236}">
                    <a16:creationId xmlns:a16="http://schemas.microsoft.com/office/drawing/2014/main" id="{81779DB1-D2D4-4EE0-8B3F-AFD2D6EE9444}"/>
                  </a:ext>
                </a:extLst>
              </p:cNvPr>
              <p:cNvSpPr/>
              <p:nvPr/>
            </p:nvSpPr>
            <p:spPr>
              <a:xfrm>
                <a:off x="1716118" y="3565468"/>
                <a:ext cx="194482" cy="19458"/>
              </a:xfrm>
              <a:custGeom>
                <a:avLst/>
                <a:gdLst>
                  <a:gd name="connsiteX0" fmla="*/ 188027 w 194482"/>
                  <a:gd name="connsiteY0" fmla="*/ 19458 h 19458"/>
                  <a:gd name="connsiteX1" fmla="*/ 186766 w 194482"/>
                  <a:gd name="connsiteY1" fmla="*/ 19344 h 19458"/>
                  <a:gd name="connsiteX2" fmla="*/ 97241 w 194482"/>
                  <a:gd name="connsiteY2" fmla="*/ 12982 h 19458"/>
                  <a:gd name="connsiteX3" fmla="*/ 7716 w 194482"/>
                  <a:gd name="connsiteY3" fmla="*/ 19344 h 19458"/>
                  <a:gd name="connsiteX4" fmla="*/ 122 w 194482"/>
                  <a:gd name="connsiteY4" fmla="*/ 14214 h 19458"/>
                  <a:gd name="connsiteX5" fmla="*/ 5223 w 194482"/>
                  <a:gd name="connsiteY5" fmla="*/ 6591 h 19458"/>
                  <a:gd name="connsiteX6" fmla="*/ 97241 w 194482"/>
                  <a:gd name="connsiteY6" fmla="*/ 0 h 19458"/>
                  <a:gd name="connsiteX7" fmla="*/ 189259 w 194482"/>
                  <a:gd name="connsiteY7" fmla="*/ 6591 h 19458"/>
                  <a:gd name="connsiteX8" fmla="*/ 194360 w 194482"/>
                  <a:gd name="connsiteY8" fmla="*/ 14214 h 19458"/>
                  <a:gd name="connsiteX9" fmla="*/ 188027 w 194482"/>
                  <a:gd name="connsiteY9" fmla="*/ 19458 h 19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4482" h="19458">
                    <a:moveTo>
                      <a:pt x="188027" y="19458"/>
                    </a:moveTo>
                    <a:cubicBezTo>
                      <a:pt x="187625" y="19458"/>
                      <a:pt x="187195" y="19429"/>
                      <a:pt x="186766" y="19344"/>
                    </a:cubicBezTo>
                    <a:cubicBezTo>
                      <a:pt x="186450" y="19286"/>
                      <a:pt x="153609" y="12982"/>
                      <a:pt x="97241" y="12982"/>
                    </a:cubicBezTo>
                    <a:cubicBezTo>
                      <a:pt x="40872" y="12982"/>
                      <a:pt x="8031" y="19286"/>
                      <a:pt x="7716" y="19344"/>
                    </a:cubicBezTo>
                    <a:cubicBezTo>
                      <a:pt x="4191" y="20003"/>
                      <a:pt x="781" y="17739"/>
                      <a:pt x="122" y="14214"/>
                    </a:cubicBezTo>
                    <a:cubicBezTo>
                      <a:pt x="-566" y="10689"/>
                      <a:pt x="1727" y="7279"/>
                      <a:pt x="5223" y="6591"/>
                    </a:cubicBezTo>
                    <a:cubicBezTo>
                      <a:pt x="6598" y="6333"/>
                      <a:pt x="39468" y="0"/>
                      <a:pt x="97241" y="0"/>
                    </a:cubicBezTo>
                    <a:cubicBezTo>
                      <a:pt x="155014" y="0"/>
                      <a:pt x="187883" y="6333"/>
                      <a:pt x="189259" y="6591"/>
                    </a:cubicBezTo>
                    <a:cubicBezTo>
                      <a:pt x="192784" y="7279"/>
                      <a:pt x="195047" y="10689"/>
                      <a:pt x="194360" y="14214"/>
                    </a:cubicBezTo>
                    <a:cubicBezTo>
                      <a:pt x="193787" y="17309"/>
                      <a:pt x="191064" y="19458"/>
                      <a:pt x="188027" y="19458"/>
                    </a:cubicBezTo>
                    <a:close/>
                  </a:path>
                </a:pathLst>
              </a:custGeom>
              <a:solidFill>
                <a:schemeClr val="tx2"/>
              </a:solidFill>
              <a:ln w="2860" cap="flat">
                <a:noFill/>
                <a:prstDash val="solid"/>
                <a:miter/>
              </a:ln>
            </p:spPr>
            <p:txBody>
              <a:bodyPr rtlCol="0" anchor="ctr"/>
              <a:lstStyle/>
              <a:p>
                <a:endParaRPr lang="en-GB" dirty="0"/>
              </a:p>
            </p:txBody>
          </p:sp>
          <p:sp>
            <p:nvSpPr>
              <p:cNvPr id="206" name="Freihandform: Form 390">
                <a:extLst>
                  <a:ext uri="{FF2B5EF4-FFF2-40B4-BE49-F238E27FC236}">
                    <a16:creationId xmlns:a16="http://schemas.microsoft.com/office/drawing/2014/main" id="{7C992A2F-AE59-4929-BD43-7E038807FAC2}"/>
                  </a:ext>
                </a:extLst>
              </p:cNvPr>
              <p:cNvSpPr/>
              <p:nvPr/>
            </p:nvSpPr>
            <p:spPr>
              <a:xfrm>
                <a:off x="1735555" y="3370943"/>
                <a:ext cx="155636" cy="77832"/>
              </a:xfrm>
              <a:custGeom>
                <a:avLst/>
                <a:gdLst>
                  <a:gd name="connsiteX0" fmla="*/ 142655 w 155636"/>
                  <a:gd name="connsiteY0" fmla="*/ 77833 h 77832"/>
                  <a:gd name="connsiteX1" fmla="*/ 12982 w 155636"/>
                  <a:gd name="connsiteY1" fmla="*/ 77833 h 77832"/>
                  <a:gd name="connsiteX2" fmla="*/ 0 w 155636"/>
                  <a:gd name="connsiteY2" fmla="*/ 64851 h 77832"/>
                  <a:gd name="connsiteX3" fmla="*/ 0 w 155636"/>
                  <a:gd name="connsiteY3" fmla="*/ 12982 h 77832"/>
                  <a:gd name="connsiteX4" fmla="*/ 12982 w 155636"/>
                  <a:gd name="connsiteY4" fmla="*/ 0 h 77832"/>
                  <a:gd name="connsiteX5" fmla="*/ 142655 w 155636"/>
                  <a:gd name="connsiteY5" fmla="*/ 0 h 77832"/>
                  <a:gd name="connsiteX6" fmla="*/ 155637 w 155636"/>
                  <a:gd name="connsiteY6" fmla="*/ 12982 h 77832"/>
                  <a:gd name="connsiteX7" fmla="*/ 155637 w 155636"/>
                  <a:gd name="connsiteY7" fmla="*/ 64851 h 77832"/>
                  <a:gd name="connsiteX8" fmla="*/ 142655 w 155636"/>
                  <a:gd name="connsiteY8" fmla="*/ 77833 h 77832"/>
                  <a:gd name="connsiteX9" fmla="*/ 12982 w 155636"/>
                  <a:gd name="connsiteY9" fmla="*/ 12982 h 77832"/>
                  <a:gd name="connsiteX10" fmla="*/ 12982 w 155636"/>
                  <a:gd name="connsiteY10" fmla="*/ 64851 h 77832"/>
                  <a:gd name="connsiteX11" fmla="*/ 142655 w 155636"/>
                  <a:gd name="connsiteY11" fmla="*/ 64851 h 77832"/>
                  <a:gd name="connsiteX12" fmla="*/ 142655 w 155636"/>
                  <a:gd name="connsiteY12" fmla="*/ 12982 h 77832"/>
                  <a:gd name="connsiteX13" fmla="*/ 12982 w 155636"/>
                  <a:gd name="connsiteY13" fmla="*/ 12982 h 77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636" h="77832">
                    <a:moveTo>
                      <a:pt x="142655" y="77833"/>
                    </a:moveTo>
                    <a:lnTo>
                      <a:pt x="12982" y="77833"/>
                    </a:lnTo>
                    <a:cubicBezTo>
                      <a:pt x="5817" y="77833"/>
                      <a:pt x="0" y="72015"/>
                      <a:pt x="0" y="64851"/>
                    </a:cubicBezTo>
                    <a:lnTo>
                      <a:pt x="0" y="12982"/>
                    </a:lnTo>
                    <a:cubicBezTo>
                      <a:pt x="0" y="5846"/>
                      <a:pt x="5817" y="0"/>
                      <a:pt x="12982" y="0"/>
                    </a:cubicBezTo>
                    <a:lnTo>
                      <a:pt x="142655" y="0"/>
                    </a:lnTo>
                    <a:cubicBezTo>
                      <a:pt x="149819" y="0"/>
                      <a:pt x="155637" y="5817"/>
                      <a:pt x="155637" y="12982"/>
                    </a:cubicBezTo>
                    <a:lnTo>
                      <a:pt x="155637" y="64851"/>
                    </a:lnTo>
                    <a:cubicBezTo>
                      <a:pt x="155608" y="72015"/>
                      <a:pt x="149791" y="77833"/>
                      <a:pt x="142655" y="77833"/>
                    </a:cubicBezTo>
                    <a:close/>
                    <a:moveTo>
                      <a:pt x="12982" y="12982"/>
                    </a:moveTo>
                    <a:lnTo>
                      <a:pt x="12982" y="64851"/>
                    </a:lnTo>
                    <a:lnTo>
                      <a:pt x="142655" y="64851"/>
                    </a:lnTo>
                    <a:lnTo>
                      <a:pt x="142655" y="12982"/>
                    </a:lnTo>
                    <a:lnTo>
                      <a:pt x="12982" y="12982"/>
                    </a:lnTo>
                    <a:close/>
                  </a:path>
                </a:pathLst>
              </a:custGeom>
              <a:solidFill>
                <a:schemeClr val="tx2"/>
              </a:solidFill>
              <a:ln w="2860" cap="flat">
                <a:noFill/>
                <a:prstDash val="solid"/>
                <a:miter/>
              </a:ln>
            </p:spPr>
            <p:txBody>
              <a:bodyPr rtlCol="0" anchor="ctr"/>
              <a:lstStyle/>
              <a:p>
                <a:endParaRPr lang="en-GB" dirty="0"/>
              </a:p>
            </p:txBody>
          </p:sp>
          <p:sp>
            <p:nvSpPr>
              <p:cNvPr id="207" name="Freihandform: Form 391">
                <a:extLst>
                  <a:ext uri="{FF2B5EF4-FFF2-40B4-BE49-F238E27FC236}">
                    <a16:creationId xmlns:a16="http://schemas.microsoft.com/office/drawing/2014/main" id="{E3618816-612A-4DC0-A262-E8F4AB54259F}"/>
                  </a:ext>
                </a:extLst>
              </p:cNvPr>
              <p:cNvSpPr/>
              <p:nvPr/>
            </p:nvSpPr>
            <p:spPr>
              <a:xfrm>
                <a:off x="1897668" y="3383954"/>
                <a:ext cx="19458" cy="51840"/>
              </a:xfrm>
              <a:custGeom>
                <a:avLst/>
                <a:gdLst>
                  <a:gd name="connsiteX0" fmla="*/ 6477 w 19458"/>
                  <a:gd name="connsiteY0" fmla="*/ 51841 h 51840"/>
                  <a:gd name="connsiteX1" fmla="*/ 0 w 19458"/>
                  <a:gd name="connsiteY1" fmla="*/ 45364 h 51840"/>
                  <a:gd name="connsiteX2" fmla="*/ 6477 w 19458"/>
                  <a:gd name="connsiteY2" fmla="*/ 38888 h 51840"/>
                  <a:gd name="connsiteX3" fmla="*/ 6477 w 19458"/>
                  <a:gd name="connsiteY3" fmla="*/ 12953 h 51840"/>
                  <a:gd name="connsiteX4" fmla="*/ 0 w 19458"/>
                  <a:gd name="connsiteY4" fmla="*/ 6477 h 51840"/>
                  <a:gd name="connsiteX5" fmla="*/ 6477 w 19458"/>
                  <a:gd name="connsiteY5" fmla="*/ 0 h 51840"/>
                  <a:gd name="connsiteX6" fmla="*/ 19458 w 19458"/>
                  <a:gd name="connsiteY6" fmla="*/ 12982 h 51840"/>
                  <a:gd name="connsiteX7" fmla="*/ 19458 w 19458"/>
                  <a:gd name="connsiteY7" fmla="*/ 38916 h 51840"/>
                  <a:gd name="connsiteX8" fmla="*/ 6477 w 19458"/>
                  <a:gd name="connsiteY8" fmla="*/ 51841 h 51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58" h="51840">
                    <a:moveTo>
                      <a:pt x="6477" y="51841"/>
                    </a:moveTo>
                    <a:cubicBezTo>
                      <a:pt x="2894" y="51841"/>
                      <a:pt x="0" y="48946"/>
                      <a:pt x="0" y="45364"/>
                    </a:cubicBezTo>
                    <a:cubicBezTo>
                      <a:pt x="0" y="41782"/>
                      <a:pt x="2894" y="38888"/>
                      <a:pt x="6477" y="38888"/>
                    </a:cubicBezTo>
                    <a:lnTo>
                      <a:pt x="6477" y="12953"/>
                    </a:lnTo>
                    <a:cubicBezTo>
                      <a:pt x="2894" y="12953"/>
                      <a:pt x="0" y="10059"/>
                      <a:pt x="0" y="6477"/>
                    </a:cubicBezTo>
                    <a:cubicBezTo>
                      <a:pt x="0" y="2894"/>
                      <a:pt x="2894" y="0"/>
                      <a:pt x="6477" y="0"/>
                    </a:cubicBezTo>
                    <a:cubicBezTo>
                      <a:pt x="13641" y="0"/>
                      <a:pt x="19458" y="5817"/>
                      <a:pt x="19458" y="12982"/>
                    </a:cubicBezTo>
                    <a:lnTo>
                      <a:pt x="19458" y="38916"/>
                    </a:lnTo>
                    <a:cubicBezTo>
                      <a:pt x="19458" y="46023"/>
                      <a:pt x="13641" y="51841"/>
                      <a:pt x="6477" y="51841"/>
                    </a:cubicBezTo>
                    <a:close/>
                  </a:path>
                </a:pathLst>
              </a:custGeom>
              <a:solidFill>
                <a:schemeClr val="tx2"/>
              </a:solidFill>
              <a:ln w="2860" cap="flat">
                <a:noFill/>
                <a:prstDash val="solid"/>
                <a:miter/>
              </a:ln>
            </p:spPr>
            <p:txBody>
              <a:bodyPr rtlCol="0" anchor="ctr"/>
              <a:lstStyle/>
              <a:p>
                <a:endParaRPr lang="en-GB" dirty="0"/>
              </a:p>
            </p:txBody>
          </p:sp>
          <p:sp>
            <p:nvSpPr>
              <p:cNvPr id="208" name="Freihandform: Form 392">
                <a:extLst>
                  <a:ext uri="{FF2B5EF4-FFF2-40B4-BE49-F238E27FC236}">
                    <a16:creationId xmlns:a16="http://schemas.microsoft.com/office/drawing/2014/main" id="{47F2F990-2B2A-4172-AB78-2FE576B90BDC}"/>
                  </a:ext>
                </a:extLst>
              </p:cNvPr>
              <p:cNvSpPr/>
              <p:nvPr/>
            </p:nvSpPr>
            <p:spPr>
              <a:xfrm>
                <a:off x="1761489" y="3396907"/>
                <a:ext cx="12953" cy="25934"/>
              </a:xfrm>
              <a:custGeom>
                <a:avLst/>
                <a:gdLst>
                  <a:gd name="connsiteX0" fmla="*/ 6477 w 12953"/>
                  <a:gd name="connsiteY0" fmla="*/ 25935 h 25934"/>
                  <a:gd name="connsiteX1" fmla="*/ 0 w 12953"/>
                  <a:gd name="connsiteY1" fmla="*/ 19458 h 25934"/>
                  <a:gd name="connsiteX2" fmla="*/ 0 w 12953"/>
                  <a:gd name="connsiteY2" fmla="*/ 6477 h 25934"/>
                  <a:gd name="connsiteX3" fmla="*/ 6477 w 12953"/>
                  <a:gd name="connsiteY3" fmla="*/ 0 h 25934"/>
                  <a:gd name="connsiteX4" fmla="*/ 12953 w 12953"/>
                  <a:gd name="connsiteY4" fmla="*/ 6477 h 25934"/>
                  <a:gd name="connsiteX5" fmla="*/ 12953 w 12953"/>
                  <a:gd name="connsiteY5" fmla="*/ 19458 h 25934"/>
                  <a:gd name="connsiteX6" fmla="*/ 6477 w 12953"/>
                  <a:gd name="connsiteY6" fmla="*/ 25935 h 2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3" h="25934">
                    <a:moveTo>
                      <a:pt x="6477" y="25935"/>
                    </a:moveTo>
                    <a:cubicBezTo>
                      <a:pt x="2894" y="25935"/>
                      <a:pt x="0" y="23040"/>
                      <a:pt x="0" y="19458"/>
                    </a:cubicBezTo>
                    <a:lnTo>
                      <a:pt x="0" y="6477"/>
                    </a:lnTo>
                    <a:cubicBezTo>
                      <a:pt x="0" y="2894"/>
                      <a:pt x="2894" y="0"/>
                      <a:pt x="6477" y="0"/>
                    </a:cubicBezTo>
                    <a:cubicBezTo>
                      <a:pt x="10059" y="0"/>
                      <a:pt x="12953" y="2894"/>
                      <a:pt x="12953" y="6477"/>
                    </a:cubicBezTo>
                    <a:lnTo>
                      <a:pt x="12953" y="19458"/>
                    </a:lnTo>
                    <a:cubicBezTo>
                      <a:pt x="12982" y="23040"/>
                      <a:pt x="10059" y="25935"/>
                      <a:pt x="6477" y="25935"/>
                    </a:cubicBezTo>
                    <a:close/>
                  </a:path>
                </a:pathLst>
              </a:custGeom>
              <a:solidFill>
                <a:schemeClr val="tx2"/>
              </a:solidFill>
              <a:ln w="2860" cap="flat">
                <a:noFill/>
                <a:prstDash val="solid"/>
                <a:miter/>
              </a:ln>
            </p:spPr>
            <p:txBody>
              <a:bodyPr rtlCol="0" anchor="ctr"/>
              <a:lstStyle/>
              <a:p>
                <a:endParaRPr lang="en-GB" dirty="0"/>
              </a:p>
            </p:txBody>
          </p:sp>
          <p:sp>
            <p:nvSpPr>
              <p:cNvPr id="209" name="Freihandform: Form 393">
                <a:extLst>
                  <a:ext uri="{FF2B5EF4-FFF2-40B4-BE49-F238E27FC236}">
                    <a16:creationId xmlns:a16="http://schemas.microsoft.com/office/drawing/2014/main" id="{0B66301C-0DCB-4C44-ACC4-4AF7004851F5}"/>
                  </a:ext>
                </a:extLst>
              </p:cNvPr>
              <p:cNvSpPr/>
              <p:nvPr/>
            </p:nvSpPr>
            <p:spPr>
              <a:xfrm>
                <a:off x="1787453" y="3396907"/>
                <a:ext cx="12952" cy="25934"/>
              </a:xfrm>
              <a:custGeom>
                <a:avLst/>
                <a:gdLst>
                  <a:gd name="connsiteX0" fmla="*/ 6477 w 12952"/>
                  <a:gd name="connsiteY0" fmla="*/ 25935 h 25934"/>
                  <a:gd name="connsiteX1" fmla="*/ 0 w 12952"/>
                  <a:gd name="connsiteY1" fmla="*/ 19458 h 25934"/>
                  <a:gd name="connsiteX2" fmla="*/ 0 w 12952"/>
                  <a:gd name="connsiteY2" fmla="*/ 6477 h 25934"/>
                  <a:gd name="connsiteX3" fmla="*/ 6477 w 12952"/>
                  <a:gd name="connsiteY3" fmla="*/ 0 h 25934"/>
                  <a:gd name="connsiteX4" fmla="*/ 12953 w 12952"/>
                  <a:gd name="connsiteY4" fmla="*/ 6477 h 25934"/>
                  <a:gd name="connsiteX5" fmla="*/ 12953 w 12952"/>
                  <a:gd name="connsiteY5" fmla="*/ 19458 h 25934"/>
                  <a:gd name="connsiteX6" fmla="*/ 6477 w 12952"/>
                  <a:gd name="connsiteY6" fmla="*/ 25935 h 2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2" h="25934">
                    <a:moveTo>
                      <a:pt x="6477" y="25935"/>
                    </a:moveTo>
                    <a:cubicBezTo>
                      <a:pt x="2894" y="25935"/>
                      <a:pt x="0" y="23040"/>
                      <a:pt x="0" y="19458"/>
                    </a:cubicBezTo>
                    <a:lnTo>
                      <a:pt x="0" y="6477"/>
                    </a:lnTo>
                    <a:cubicBezTo>
                      <a:pt x="0" y="2894"/>
                      <a:pt x="2894" y="0"/>
                      <a:pt x="6477" y="0"/>
                    </a:cubicBezTo>
                    <a:cubicBezTo>
                      <a:pt x="10059" y="0"/>
                      <a:pt x="12953" y="2894"/>
                      <a:pt x="12953" y="6477"/>
                    </a:cubicBezTo>
                    <a:lnTo>
                      <a:pt x="12953" y="19458"/>
                    </a:lnTo>
                    <a:cubicBezTo>
                      <a:pt x="12953" y="23040"/>
                      <a:pt x="10030" y="25935"/>
                      <a:pt x="6477" y="25935"/>
                    </a:cubicBezTo>
                    <a:close/>
                  </a:path>
                </a:pathLst>
              </a:custGeom>
              <a:solidFill>
                <a:schemeClr val="tx2"/>
              </a:solidFill>
              <a:ln w="2860" cap="flat">
                <a:noFill/>
                <a:prstDash val="solid"/>
                <a:miter/>
              </a:ln>
            </p:spPr>
            <p:txBody>
              <a:bodyPr rtlCol="0" anchor="ctr"/>
              <a:lstStyle/>
              <a:p>
                <a:endParaRPr lang="en-GB" dirty="0"/>
              </a:p>
            </p:txBody>
          </p:sp>
          <p:sp>
            <p:nvSpPr>
              <p:cNvPr id="210" name="Freihandform: Form 394">
                <a:extLst>
                  <a:ext uri="{FF2B5EF4-FFF2-40B4-BE49-F238E27FC236}">
                    <a16:creationId xmlns:a16="http://schemas.microsoft.com/office/drawing/2014/main" id="{B50FA550-21F8-4817-AE39-E91A14573C33}"/>
                  </a:ext>
                </a:extLst>
              </p:cNvPr>
              <p:cNvSpPr/>
              <p:nvPr/>
            </p:nvSpPr>
            <p:spPr>
              <a:xfrm>
                <a:off x="1813387" y="3396907"/>
                <a:ext cx="12953" cy="25934"/>
              </a:xfrm>
              <a:custGeom>
                <a:avLst/>
                <a:gdLst>
                  <a:gd name="connsiteX0" fmla="*/ 6477 w 12953"/>
                  <a:gd name="connsiteY0" fmla="*/ 25935 h 25934"/>
                  <a:gd name="connsiteX1" fmla="*/ 0 w 12953"/>
                  <a:gd name="connsiteY1" fmla="*/ 19458 h 25934"/>
                  <a:gd name="connsiteX2" fmla="*/ 0 w 12953"/>
                  <a:gd name="connsiteY2" fmla="*/ 6477 h 25934"/>
                  <a:gd name="connsiteX3" fmla="*/ 6477 w 12953"/>
                  <a:gd name="connsiteY3" fmla="*/ 0 h 25934"/>
                  <a:gd name="connsiteX4" fmla="*/ 12953 w 12953"/>
                  <a:gd name="connsiteY4" fmla="*/ 6477 h 25934"/>
                  <a:gd name="connsiteX5" fmla="*/ 12953 w 12953"/>
                  <a:gd name="connsiteY5" fmla="*/ 19458 h 25934"/>
                  <a:gd name="connsiteX6" fmla="*/ 6477 w 12953"/>
                  <a:gd name="connsiteY6" fmla="*/ 25935 h 2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3" h="25934">
                    <a:moveTo>
                      <a:pt x="6477" y="25935"/>
                    </a:moveTo>
                    <a:cubicBezTo>
                      <a:pt x="2894" y="25935"/>
                      <a:pt x="0" y="23040"/>
                      <a:pt x="0" y="19458"/>
                    </a:cubicBezTo>
                    <a:lnTo>
                      <a:pt x="0" y="6477"/>
                    </a:lnTo>
                    <a:cubicBezTo>
                      <a:pt x="0" y="2894"/>
                      <a:pt x="2894" y="0"/>
                      <a:pt x="6477" y="0"/>
                    </a:cubicBezTo>
                    <a:cubicBezTo>
                      <a:pt x="10059" y="0"/>
                      <a:pt x="12953" y="2894"/>
                      <a:pt x="12953" y="6477"/>
                    </a:cubicBezTo>
                    <a:lnTo>
                      <a:pt x="12953" y="19458"/>
                    </a:lnTo>
                    <a:cubicBezTo>
                      <a:pt x="12953" y="23040"/>
                      <a:pt x="10059" y="25935"/>
                      <a:pt x="6477" y="25935"/>
                    </a:cubicBezTo>
                    <a:close/>
                  </a:path>
                </a:pathLst>
              </a:custGeom>
              <a:solidFill>
                <a:schemeClr val="tx2"/>
              </a:solidFill>
              <a:ln w="2860" cap="flat">
                <a:noFill/>
                <a:prstDash val="solid"/>
                <a:miter/>
              </a:ln>
            </p:spPr>
            <p:txBody>
              <a:bodyPr rtlCol="0" anchor="ctr"/>
              <a:lstStyle/>
              <a:p>
                <a:endParaRPr lang="en-GB" dirty="0"/>
              </a:p>
            </p:txBody>
          </p:sp>
        </p:grpSp>
      </p:grpSp>
      <p:grpSp>
        <p:nvGrpSpPr>
          <p:cNvPr id="50" name="Gruppieren 13">
            <a:extLst>
              <a:ext uri="{FF2B5EF4-FFF2-40B4-BE49-F238E27FC236}">
                <a16:creationId xmlns:a16="http://schemas.microsoft.com/office/drawing/2014/main" id="{F54184AE-40DB-47CD-B3C7-2653BB566FE9}"/>
              </a:ext>
            </a:extLst>
          </p:cNvPr>
          <p:cNvGrpSpPr>
            <a:grpSpLocks noChangeAspect="1"/>
          </p:cNvGrpSpPr>
          <p:nvPr/>
        </p:nvGrpSpPr>
        <p:grpSpPr>
          <a:xfrm>
            <a:off x="539397" y="1585984"/>
            <a:ext cx="509303" cy="432000"/>
            <a:chOff x="859136" y="1626758"/>
            <a:chExt cx="519818" cy="440918"/>
          </a:xfrm>
        </p:grpSpPr>
        <p:grpSp>
          <p:nvGrpSpPr>
            <p:cNvPr id="51" name="Gruppieren 5">
              <a:extLst>
                <a:ext uri="{FF2B5EF4-FFF2-40B4-BE49-F238E27FC236}">
                  <a16:creationId xmlns:a16="http://schemas.microsoft.com/office/drawing/2014/main" id="{D6A2DE89-85EA-45B3-97FC-8B86ECCCB194}"/>
                </a:ext>
              </a:extLst>
            </p:cNvPr>
            <p:cNvGrpSpPr/>
            <p:nvPr/>
          </p:nvGrpSpPr>
          <p:grpSpPr>
            <a:xfrm>
              <a:off x="859136" y="1769434"/>
              <a:ext cx="390138" cy="298242"/>
              <a:chOff x="859135" y="1769434"/>
              <a:chExt cx="390137" cy="298242"/>
            </a:xfrm>
          </p:grpSpPr>
          <p:sp>
            <p:nvSpPr>
              <p:cNvPr id="59" name="Freihandform: Form 520">
                <a:extLst>
                  <a:ext uri="{FF2B5EF4-FFF2-40B4-BE49-F238E27FC236}">
                    <a16:creationId xmlns:a16="http://schemas.microsoft.com/office/drawing/2014/main" id="{56011DB0-DEBC-4C64-BD08-536250F1568E}"/>
                  </a:ext>
                </a:extLst>
              </p:cNvPr>
              <p:cNvSpPr/>
              <p:nvPr/>
            </p:nvSpPr>
            <p:spPr>
              <a:xfrm>
                <a:off x="899111" y="1808329"/>
                <a:ext cx="239888" cy="259346"/>
              </a:xfrm>
              <a:custGeom>
                <a:avLst/>
                <a:gdLst>
                  <a:gd name="connsiteX0" fmla="*/ 233441 w 239888"/>
                  <a:gd name="connsiteY0" fmla="*/ 259347 h 259346"/>
                  <a:gd name="connsiteX1" fmla="*/ 0 w 239888"/>
                  <a:gd name="connsiteY1" fmla="*/ 259347 h 259346"/>
                  <a:gd name="connsiteX2" fmla="*/ 0 w 239888"/>
                  <a:gd name="connsiteY2" fmla="*/ 6477 h 259346"/>
                  <a:gd name="connsiteX3" fmla="*/ 6477 w 239888"/>
                  <a:gd name="connsiteY3" fmla="*/ 0 h 259346"/>
                  <a:gd name="connsiteX4" fmla="*/ 12953 w 239888"/>
                  <a:gd name="connsiteY4" fmla="*/ 6477 h 259346"/>
                  <a:gd name="connsiteX5" fmla="*/ 12953 w 239888"/>
                  <a:gd name="connsiteY5" fmla="*/ 246394 h 259346"/>
                  <a:gd name="connsiteX6" fmla="*/ 233412 w 239888"/>
                  <a:gd name="connsiteY6" fmla="*/ 246394 h 259346"/>
                  <a:gd name="connsiteX7" fmla="*/ 239889 w 239888"/>
                  <a:gd name="connsiteY7" fmla="*/ 252870 h 259346"/>
                  <a:gd name="connsiteX8" fmla="*/ 233441 w 239888"/>
                  <a:gd name="connsiteY8" fmla="*/ 259347 h 25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888" h="259346">
                    <a:moveTo>
                      <a:pt x="233441" y="259347"/>
                    </a:moveTo>
                    <a:lnTo>
                      <a:pt x="0" y="259347"/>
                    </a:lnTo>
                    <a:lnTo>
                      <a:pt x="0" y="6477"/>
                    </a:lnTo>
                    <a:cubicBezTo>
                      <a:pt x="0" y="2894"/>
                      <a:pt x="2894" y="0"/>
                      <a:pt x="6477" y="0"/>
                    </a:cubicBezTo>
                    <a:cubicBezTo>
                      <a:pt x="10059" y="0"/>
                      <a:pt x="12953" y="2894"/>
                      <a:pt x="12953" y="6477"/>
                    </a:cubicBezTo>
                    <a:lnTo>
                      <a:pt x="12953" y="246394"/>
                    </a:lnTo>
                    <a:lnTo>
                      <a:pt x="233412" y="246394"/>
                    </a:lnTo>
                    <a:cubicBezTo>
                      <a:pt x="236994" y="246394"/>
                      <a:pt x="239889" y="249288"/>
                      <a:pt x="239889" y="252870"/>
                    </a:cubicBezTo>
                    <a:cubicBezTo>
                      <a:pt x="239889" y="256452"/>
                      <a:pt x="237023" y="259347"/>
                      <a:pt x="233441" y="259347"/>
                    </a:cubicBezTo>
                    <a:close/>
                  </a:path>
                </a:pathLst>
              </a:custGeom>
              <a:solidFill>
                <a:schemeClr val="tx2"/>
              </a:solidFill>
              <a:ln w="2860" cap="flat">
                <a:noFill/>
                <a:prstDash val="solid"/>
                <a:miter/>
              </a:ln>
            </p:spPr>
            <p:txBody>
              <a:bodyPr rtlCol="0" anchor="ctr"/>
              <a:lstStyle/>
              <a:p>
                <a:endParaRPr lang="en-GB" dirty="0"/>
              </a:p>
            </p:txBody>
          </p:sp>
          <p:sp>
            <p:nvSpPr>
              <p:cNvPr id="60" name="Freihandform: Form 521">
                <a:extLst>
                  <a:ext uri="{FF2B5EF4-FFF2-40B4-BE49-F238E27FC236}">
                    <a16:creationId xmlns:a16="http://schemas.microsoft.com/office/drawing/2014/main" id="{A52DBB26-B3EA-4A2C-950B-9214954EFD9C}"/>
                  </a:ext>
                </a:extLst>
              </p:cNvPr>
              <p:cNvSpPr/>
              <p:nvPr/>
            </p:nvSpPr>
            <p:spPr>
              <a:xfrm>
                <a:off x="859135" y="1769434"/>
                <a:ext cx="390125" cy="106611"/>
              </a:xfrm>
              <a:custGeom>
                <a:avLst/>
                <a:gdLst>
                  <a:gd name="connsiteX0" fmla="*/ 383661 w 390125"/>
                  <a:gd name="connsiteY0" fmla="*/ 106612 h 106611"/>
                  <a:gd name="connsiteX1" fmla="*/ 382515 w 390125"/>
                  <a:gd name="connsiteY1" fmla="*/ 106497 h 106611"/>
                  <a:gd name="connsiteX2" fmla="*/ 5330 w 390125"/>
                  <a:gd name="connsiteY2" fmla="*/ 38379 h 106611"/>
                  <a:gd name="connsiteX3" fmla="*/ 0 w 390125"/>
                  <a:gd name="connsiteY3" fmla="*/ 31989 h 106611"/>
                  <a:gd name="connsiteX4" fmla="*/ 57 w 390125"/>
                  <a:gd name="connsiteY4" fmla="*/ 6455 h 106611"/>
                  <a:gd name="connsiteX5" fmla="*/ 2379 w 390125"/>
                  <a:gd name="connsiteY5" fmla="*/ 1498 h 106611"/>
                  <a:gd name="connsiteX6" fmla="*/ 7680 w 390125"/>
                  <a:gd name="connsiteY6" fmla="*/ 93 h 106611"/>
                  <a:gd name="connsiteX7" fmla="*/ 384779 w 390125"/>
                  <a:gd name="connsiteY7" fmla="*/ 67438 h 106611"/>
                  <a:gd name="connsiteX8" fmla="*/ 390023 w 390125"/>
                  <a:gd name="connsiteY8" fmla="*/ 74974 h 106611"/>
                  <a:gd name="connsiteX9" fmla="*/ 382486 w 390125"/>
                  <a:gd name="connsiteY9" fmla="*/ 80219 h 106611"/>
                  <a:gd name="connsiteX10" fmla="*/ 13010 w 390125"/>
                  <a:gd name="connsiteY10" fmla="*/ 14193 h 106611"/>
                  <a:gd name="connsiteX11" fmla="*/ 12982 w 390125"/>
                  <a:gd name="connsiteY11" fmla="*/ 26572 h 106611"/>
                  <a:gd name="connsiteX12" fmla="*/ 384779 w 390125"/>
                  <a:gd name="connsiteY12" fmla="*/ 93745 h 106611"/>
                  <a:gd name="connsiteX13" fmla="*/ 389995 w 390125"/>
                  <a:gd name="connsiteY13" fmla="*/ 101282 h 106611"/>
                  <a:gd name="connsiteX14" fmla="*/ 383661 w 390125"/>
                  <a:gd name="connsiteY14" fmla="*/ 106612 h 10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25" h="106611">
                    <a:moveTo>
                      <a:pt x="383661" y="106612"/>
                    </a:moveTo>
                    <a:cubicBezTo>
                      <a:pt x="383289" y="106612"/>
                      <a:pt x="382888" y="106583"/>
                      <a:pt x="382515" y="106497"/>
                    </a:cubicBezTo>
                    <a:lnTo>
                      <a:pt x="5330" y="38379"/>
                    </a:lnTo>
                    <a:cubicBezTo>
                      <a:pt x="2235" y="37806"/>
                      <a:pt x="0" y="35112"/>
                      <a:pt x="0" y="31989"/>
                    </a:cubicBezTo>
                    <a:lnTo>
                      <a:pt x="57" y="6455"/>
                    </a:lnTo>
                    <a:cubicBezTo>
                      <a:pt x="57" y="4535"/>
                      <a:pt x="917" y="2730"/>
                      <a:pt x="2379" y="1498"/>
                    </a:cubicBezTo>
                    <a:cubicBezTo>
                      <a:pt x="3840" y="265"/>
                      <a:pt x="5789" y="-222"/>
                      <a:pt x="7680" y="93"/>
                    </a:cubicBezTo>
                    <a:lnTo>
                      <a:pt x="384779" y="67438"/>
                    </a:lnTo>
                    <a:cubicBezTo>
                      <a:pt x="388304" y="68068"/>
                      <a:pt x="390654" y="71450"/>
                      <a:pt x="390023" y="74974"/>
                    </a:cubicBezTo>
                    <a:cubicBezTo>
                      <a:pt x="389393" y="78499"/>
                      <a:pt x="386040" y="80849"/>
                      <a:pt x="382486" y="80219"/>
                    </a:cubicBezTo>
                    <a:lnTo>
                      <a:pt x="13010" y="14193"/>
                    </a:lnTo>
                    <a:lnTo>
                      <a:pt x="12982" y="26572"/>
                    </a:lnTo>
                    <a:lnTo>
                      <a:pt x="384779" y="93745"/>
                    </a:lnTo>
                    <a:cubicBezTo>
                      <a:pt x="388304" y="94375"/>
                      <a:pt x="390654" y="97757"/>
                      <a:pt x="389995" y="101282"/>
                    </a:cubicBezTo>
                    <a:cubicBezTo>
                      <a:pt x="389450" y="104434"/>
                      <a:pt x="386728" y="106612"/>
                      <a:pt x="383661" y="106612"/>
                    </a:cubicBezTo>
                    <a:close/>
                  </a:path>
                </a:pathLst>
              </a:custGeom>
              <a:solidFill>
                <a:schemeClr val="tx2"/>
              </a:solidFill>
              <a:ln w="2860" cap="flat">
                <a:noFill/>
                <a:prstDash val="solid"/>
                <a:miter/>
              </a:ln>
            </p:spPr>
            <p:txBody>
              <a:bodyPr rtlCol="0" anchor="ctr"/>
              <a:lstStyle/>
              <a:p>
                <a:endParaRPr lang="en-GB" dirty="0"/>
              </a:p>
            </p:txBody>
          </p:sp>
          <p:sp>
            <p:nvSpPr>
              <p:cNvPr id="61" name="Freihandform: Form 522">
                <a:extLst>
                  <a:ext uri="{FF2B5EF4-FFF2-40B4-BE49-F238E27FC236}">
                    <a16:creationId xmlns:a16="http://schemas.microsoft.com/office/drawing/2014/main" id="{091E4D48-8538-4F23-9710-FE61CE4E4E3F}"/>
                  </a:ext>
                </a:extLst>
              </p:cNvPr>
              <p:cNvSpPr/>
              <p:nvPr/>
            </p:nvSpPr>
            <p:spPr>
              <a:xfrm>
                <a:off x="1132552" y="1931526"/>
                <a:ext cx="77804" cy="90757"/>
              </a:xfrm>
              <a:custGeom>
                <a:avLst/>
                <a:gdLst>
                  <a:gd name="connsiteX0" fmla="*/ 71328 w 77804"/>
                  <a:gd name="connsiteY0" fmla="*/ 90757 h 90757"/>
                  <a:gd name="connsiteX1" fmla="*/ 6476 w 77804"/>
                  <a:gd name="connsiteY1" fmla="*/ 90757 h 90757"/>
                  <a:gd name="connsiteX2" fmla="*/ 0 w 77804"/>
                  <a:gd name="connsiteY2" fmla="*/ 84281 h 90757"/>
                  <a:gd name="connsiteX3" fmla="*/ 0 w 77804"/>
                  <a:gd name="connsiteY3" fmla="*/ 6477 h 90757"/>
                  <a:gd name="connsiteX4" fmla="*/ 6476 w 77804"/>
                  <a:gd name="connsiteY4" fmla="*/ 0 h 90757"/>
                  <a:gd name="connsiteX5" fmla="*/ 71328 w 77804"/>
                  <a:gd name="connsiteY5" fmla="*/ 0 h 90757"/>
                  <a:gd name="connsiteX6" fmla="*/ 77804 w 77804"/>
                  <a:gd name="connsiteY6" fmla="*/ 6477 h 90757"/>
                  <a:gd name="connsiteX7" fmla="*/ 77804 w 77804"/>
                  <a:gd name="connsiteY7" fmla="*/ 84281 h 90757"/>
                  <a:gd name="connsiteX8" fmla="*/ 71328 w 77804"/>
                  <a:gd name="connsiteY8" fmla="*/ 90757 h 90757"/>
                  <a:gd name="connsiteX9" fmla="*/ 12953 w 77804"/>
                  <a:gd name="connsiteY9" fmla="*/ 77804 h 90757"/>
                  <a:gd name="connsiteX10" fmla="*/ 64822 w 77804"/>
                  <a:gd name="connsiteY10" fmla="*/ 77804 h 90757"/>
                  <a:gd name="connsiteX11" fmla="*/ 64822 w 77804"/>
                  <a:gd name="connsiteY11" fmla="*/ 12953 h 90757"/>
                  <a:gd name="connsiteX12" fmla="*/ 12953 w 77804"/>
                  <a:gd name="connsiteY12" fmla="*/ 12953 h 90757"/>
                  <a:gd name="connsiteX13" fmla="*/ 12953 w 77804"/>
                  <a:gd name="connsiteY13" fmla="*/ 77804 h 9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804" h="90757">
                    <a:moveTo>
                      <a:pt x="71328" y="90757"/>
                    </a:moveTo>
                    <a:lnTo>
                      <a:pt x="6476" y="90757"/>
                    </a:lnTo>
                    <a:cubicBezTo>
                      <a:pt x="2894" y="90757"/>
                      <a:pt x="0" y="87863"/>
                      <a:pt x="0" y="84281"/>
                    </a:cubicBezTo>
                    <a:lnTo>
                      <a:pt x="0" y="6477"/>
                    </a:lnTo>
                    <a:cubicBezTo>
                      <a:pt x="0" y="2894"/>
                      <a:pt x="2894" y="0"/>
                      <a:pt x="6476" y="0"/>
                    </a:cubicBezTo>
                    <a:lnTo>
                      <a:pt x="71328" y="0"/>
                    </a:lnTo>
                    <a:cubicBezTo>
                      <a:pt x="74910" y="0"/>
                      <a:pt x="77804" y="2894"/>
                      <a:pt x="77804" y="6477"/>
                    </a:cubicBezTo>
                    <a:lnTo>
                      <a:pt x="77804" y="84281"/>
                    </a:lnTo>
                    <a:cubicBezTo>
                      <a:pt x="77804" y="87863"/>
                      <a:pt x="74910" y="90757"/>
                      <a:pt x="71328" y="90757"/>
                    </a:cubicBezTo>
                    <a:close/>
                    <a:moveTo>
                      <a:pt x="12953" y="77804"/>
                    </a:moveTo>
                    <a:lnTo>
                      <a:pt x="64822" y="77804"/>
                    </a:lnTo>
                    <a:lnTo>
                      <a:pt x="64822" y="12953"/>
                    </a:lnTo>
                    <a:lnTo>
                      <a:pt x="12953" y="12953"/>
                    </a:lnTo>
                    <a:lnTo>
                      <a:pt x="12953" y="77804"/>
                    </a:lnTo>
                    <a:close/>
                  </a:path>
                </a:pathLst>
              </a:custGeom>
              <a:solidFill>
                <a:schemeClr val="tx2"/>
              </a:solidFill>
              <a:ln w="2860" cap="flat">
                <a:noFill/>
                <a:prstDash val="solid"/>
                <a:miter/>
              </a:ln>
            </p:spPr>
            <p:txBody>
              <a:bodyPr rtlCol="0" anchor="ctr"/>
              <a:lstStyle/>
              <a:p>
                <a:endParaRPr lang="en-GB" dirty="0"/>
              </a:p>
            </p:txBody>
          </p:sp>
          <p:sp>
            <p:nvSpPr>
              <p:cNvPr id="62" name="Freihandform: Form 523">
                <a:extLst>
                  <a:ext uri="{FF2B5EF4-FFF2-40B4-BE49-F238E27FC236}">
                    <a16:creationId xmlns:a16="http://schemas.microsoft.com/office/drawing/2014/main" id="{AB4269D9-8667-4120-A852-98AEE134A120}"/>
                  </a:ext>
                </a:extLst>
              </p:cNvPr>
              <p:cNvSpPr/>
              <p:nvPr/>
            </p:nvSpPr>
            <p:spPr>
              <a:xfrm>
                <a:off x="1035290" y="1931526"/>
                <a:ext cx="77804" cy="90757"/>
              </a:xfrm>
              <a:custGeom>
                <a:avLst/>
                <a:gdLst>
                  <a:gd name="connsiteX0" fmla="*/ 71328 w 77804"/>
                  <a:gd name="connsiteY0" fmla="*/ 90757 h 90757"/>
                  <a:gd name="connsiteX1" fmla="*/ 6477 w 77804"/>
                  <a:gd name="connsiteY1" fmla="*/ 90757 h 90757"/>
                  <a:gd name="connsiteX2" fmla="*/ 0 w 77804"/>
                  <a:gd name="connsiteY2" fmla="*/ 84281 h 90757"/>
                  <a:gd name="connsiteX3" fmla="*/ 0 w 77804"/>
                  <a:gd name="connsiteY3" fmla="*/ 6477 h 90757"/>
                  <a:gd name="connsiteX4" fmla="*/ 6477 w 77804"/>
                  <a:gd name="connsiteY4" fmla="*/ 0 h 90757"/>
                  <a:gd name="connsiteX5" fmla="*/ 71328 w 77804"/>
                  <a:gd name="connsiteY5" fmla="*/ 0 h 90757"/>
                  <a:gd name="connsiteX6" fmla="*/ 77804 w 77804"/>
                  <a:gd name="connsiteY6" fmla="*/ 6477 h 90757"/>
                  <a:gd name="connsiteX7" fmla="*/ 77804 w 77804"/>
                  <a:gd name="connsiteY7" fmla="*/ 84281 h 90757"/>
                  <a:gd name="connsiteX8" fmla="*/ 71328 w 77804"/>
                  <a:gd name="connsiteY8" fmla="*/ 90757 h 90757"/>
                  <a:gd name="connsiteX9" fmla="*/ 12953 w 77804"/>
                  <a:gd name="connsiteY9" fmla="*/ 77804 h 90757"/>
                  <a:gd name="connsiteX10" fmla="*/ 64822 w 77804"/>
                  <a:gd name="connsiteY10" fmla="*/ 77804 h 90757"/>
                  <a:gd name="connsiteX11" fmla="*/ 64822 w 77804"/>
                  <a:gd name="connsiteY11" fmla="*/ 12953 h 90757"/>
                  <a:gd name="connsiteX12" fmla="*/ 12953 w 77804"/>
                  <a:gd name="connsiteY12" fmla="*/ 12953 h 90757"/>
                  <a:gd name="connsiteX13" fmla="*/ 12953 w 77804"/>
                  <a:gd name="connsiteY13" fmla="*/ 77804 h 9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804" h="90757">
                    <a:moveTo>
                      <a:pt x="71328" y="90757"/>
                    </a:moveTo>
                    <a:lnTo>
                      <a:pt x="6477" y="90757"/>
                    </a:lnTo>
                    <a:cubicBezTo>
                      <a:pt x="2894" y="90757"/>
                      <a:pt x="0" y="87863"/>
                      <a:pt x="0" y="84281"/>
                    </a:cubicBezTo>
                    <a:lnTo>
                      <a:pt x="0" y="6477"/>
                    </a:lnTo>
                    <a:cubicBezTo>
                      <a:pt x="0" y="2894"/>
                      <a:pt x="2894" y="0"/>
                      <a:pt x="6477" y="0"/>
                    </a:cubicBezTo>
                    <a:lnTo>
                      <a:pt x="71328" y="0"/>
                    </a:lnTo>
                    <a:cubicBezTo>
                      <a:pt x="74910" y="0"/>
                      <a:pt x="77804" y="2894"/>
                      <a:pt x="77804" y="6477"/>
                    </a:cubicBezTo>
                    <a:lnTo>
                      <a:pt x="77804" y="84281"/>
                    </a:lnTo>
                    <a:cubicBezTo>
                      <a:pt x="77804" y="87863"/>
                      <a:pt x="74910" y="90757"/>
                      <a:pt x="71328" y="90757"/>
                    </a:cubicBezTo>
                    <a:close/>
                    <a:moveTo>
                      <a:pt x="12953" y="77804"/>
                    </a:moveTo>
                    <a:lnTo>
                      <a:pt x="64822" y="77804"/>
                    </a:lnTo>
                    <a:lnTo>
                      <a:pt x="64822" y="12953"/>
                    </a:lnTo>
                    <a:lnTo>
                      <a:pt x="12953" y="12953"/>
                    </a:lnTo>
                    <a:lnTo>
                      <a:pt x="12953" y="77804"/>
                    </a:lnTo>
                    <a:close/>
                  </a:path>
                </a:pathLst>
              </a:custGeom>
              <a:solidFill>
                <a:schemeClr val="tx2"/>
              </a:solidFill>
              <a:ln w="2860" cap="flat">
                <a:noFill/>
                <a:prstDash val="solid"/>
                <a:miter/>
              </a:ln>
            </p:spPr>
            <p:txBody>
              <a:bodyPr rtlCol="0" anchor="ctr"/>
              <a:lstStyle/>
              <a:p>
                <a:endParaRPr lang="en-GB" dirty="0"/>
              </a:p>
            </p:txBody>
          </p:sp>
          <p:sp>
            <p:nvSpPr>
              <p:cNvPr id="63" name="Freihandform: Form 524">
                <a:extLst>
                  <a:ext uri="{FF2B5EF4-FFF2-40B4-BE49-F238E27FC236}">
                    <a16:creationId xmlns:a16="http://schemas.microsoft.com/office/drawing/2014/main" id="{310445CC-87B4-4173-9861-7F2B5E7AE9BF}"/>
                  </a:ext>
                </a:extLst>
              </p:cNvPr>
              <p:cNvSpPr/>
              <p:nvPr/>
            </p:nvSpPr>
            <p:spPr>
              <a:xfrm>
                <a:off x="938028" y="1931526"/>
                <a:ext cx="77804" cy="90757"/>
              </a:xfrm>
              <a:custGeom>
                <a:avLst/>
                <a:gdLst>
                  <a:gd name="connsiteX0" fmla="*/ 71328 w 77804"/>
                  <a:gd name="connsiteY0" fmla="*/ 90757 h 90757"/>
                  <a:gd name="connsiteX1" fmla="*/ 6477 w 77804"/>
                  <a:gd name="connsiteY1" fmla="*/ 90757 h 90757"/>
                  <a:gd name="connsiteX2" fmla="*/ 0 w 77804"/>
                  <a:gd name="connsiteY2" fmla="*/ 84281 h 90757"/>
                  <a:gd name="connsiteX3" fmla="*/ 0 w 77804"/>
                  <a:gd name="connsiteY3" fmla="*/ 6477 h 90757"/>
                  <a:gd name="connsiteX4" fmla="*/ 6477 w 77804"/>
                  <a:gd name="connsiteY4" fmla="*/ 0 h 90757"/>
                  <a:gd name="connsiteX5" fmla="*/ 71328 w 77804"/>
                  <a:gd name="connsiteY5" fmla="*/ 0 h 90757"/>
                  <a:gd name="connsiteX6" fmla="*/ 77804 w 77804"/>
                  <a:gd name="connsiteY6" fmla="*/ 6477 h 90757"/>
                  <a:gd name="connsiteX7" fmla="*/ 77804 w 77804"/>
                  <a:gd name="connsiteY7" fmla="*/ 84281 h 90757"/>
                  <a:gd name="connsiteX8" fmla="*/ 71328 w 77804"/>
                  <a:gd name="connsiteY8" fmla="*/ 90757 h 90757"/>
                  <a:gd name="connsiteX9" fmla="*/ 12953 w 77804"/>
                  <a:gd name="connsiteY9" fmla="*/ 77804 h 90757"/>
                  <a:gd name="connsiteX10" fmla="*/ 64822 w 77804"/>
                  <a:gd name="connsiteY10" fmla="*/ 77804 h 90757"/>
                  <a:gd name="connsiteX11" fmla="*/ 64822 w 77804"/>
                  <a:gd name="connsiteY11" fmla="*/ 12953 h 90757"/>
                  <a:gd name="connsiteX12" fmla="*/ 12953 w 77804"/>
                  <a:gd name="connsiteY12" fmla="*/ 12953 h 90757"/>
                  <a:gd name="connsiteX13" fmla="*/ 12953 w 77804"/>
                  <a:gd name="connsiteY13" fmla="*/ 77804 h 9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804" h="90757">
                    <a:moveTo>
                      <a:pt x="71328" y="90757"/>
                    </a:moveTo>
                    <a:lnTo>
                      <a:pt x="6477" y="90757"/>
                    </a:lnTo>
                    <a:cubicBezTo>
                      <a:pt x="2894" y="90757"/>
                      <a:pt x="0" y="87863"/>
                      <a:pt x="0" y="84281"/>
                    </a:cubicBezTo>
                    <a:lnTo>
                      <a:pt x="0" y="6477"/>
                    </a:lnTo>
                    <a:cubicBezTo>
                      <a:pt x="0" y="2894"/>
                      <a:pt x="2894" y="0"/>
                      <a:pt x="6477" y="0"/>
                    </a:cubicBezTo>
                    <a:lnTo>
                      <a:pt x="71328" y="0"/>
                    </a:lnTo>
                    <a:cubicBezTo>
                      <a:pt x="74910" y="0"/>
                      <a:pt x="77804" y="2894"/>
                      <a:pt x="77804" y="6477"/>
                    </a:cubicBezTo>
                    <a:lnTo>
                      <a:pt x="77804" y="84281"/>
                    </a:lnTo>
                    <a:cubicBezTo>
                      <a:pt x="77804" y="87863"/>
                      <a:pt x="74910" y="90757"/>
                      <a:pt x="71328" y="90757"/>
                    </a:cubicBezTo>
                    <a:close/>
                    <a:moveTo>
                      <a:pt x="12953" y="77804"/>
                    </a:moveTo>
                    <a:lnTo>
                      <a:pt x="64822" y="77804"/>
                    </a:lnTo>
                    <a:lnTo>
                      <a:pt x="64822" y="12953"/>
                    </a:lnTo>
                    <a:lnTo>
                      <a:pt x="12953" y="12953"/>
                    </a:lnTo>
                    <a:lnTo>
                      <a:pt x="12953" y="77804"/>
                    </a:lnTo>
                    <a:close/>
                  </a:path>
                </a:pathLst>
              </a:custGeom>
              <a:solidFill>
                <a:schemeClr val="tx2"/>
              </a:solidFill>
              <a:ln w="2860" cap="flat">
                <a:noFill/>
                <a:prstDash val="solid"/>
                <a:miter/>
              </a:ln>
            </p:spPr>
            <p:txBody>
              <a:bodyPr rtlCol="0" anchor="ctr"/>
              <a:lstStyle/>
              <a:p>
                <a:endParaRPr lang="en-GB" dirty="0"/>
              </a:p>
            </p:txBody>
          </p:sp>
          <p:sp>
            <p:nvSpPr>
              <p:cNvPr id="64" name="Freihandform: Form 525">
                <a:extLst>
                  <a:ext uri="{FF2B5EF4-FFF2-40B4-BE49-F238E27FC236}">
                    <a16:creationId xmlns:a16="http://schemas.microsoft.com/office/drawing/2014/main" id="{0D317FA9-73FC-4276-B6BE-AD457976ABD8}"/>
                  </a:ext>
                </a:extLst>
              </p:cNvPr>
              <p:cNvSpPr/>
              <p:nvPr/>
            </p:nvSpPr>
            <p:spPr>
              <a:xfrm>
                <a:off x="899140" y="1886133"/>
                <a:ext cx="350132" cy="12953"/>
              </a:xfrm>
              <a:custGeom>
                <a:avLst/>
                <a:gdLst>
                  <a:gd name="connsiteX0" fmla="*/ 343627 w 350132"/>
                  <a:gd name="connsiteY0" fmla="*/ 12953 h 12953"/>
                  <a:gd name="connsiteX1" fmla="*/ 6477 w 350132"/>
                  <a:gd name="connsiteY1" fmla="*/ 12953 h 12953"/>
                  <a:gd name="connsiteX2" fmla="*/ 0 w 350132"/>
                  <a:gd name="connsiteY2" fmla="*/ 6476 h 12953"/>
                  <a:gd name="connsiteX3" fmla="*/ 6477 w 350132"/>
                  <a:gd name="connsiteY3" fmla="*/ 0 h 12953"/>
                  <a:gd name="connsiteX4" fmla="*/ 343656 w 350132"/>
                  <a:gd name="connsiteY4" fmla="*/ 0 h 12953"/>
                  <a:gd name="connsiteX5" fmla="*/ 350132 w 350132"/>
                  <a:gd name="connsiteY5" fmla="*/ 6476 h 12953"/>
                  <a:gd name="connsiteX6" fmla="*/ 343627 w 350132"/>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0132" h="12953">
                    <a:moveTo>
                      <a:pt x="343627" y="12953"/>
                    </a:moveTo>
                    <a:lnTo>
                      <a:pt x="6477" y="12953"/>
                    </a:lnTo>
                    <a:cubicBezTo>
                      <a:pt x="2894" y="12953"/>
                      <a:pt x="0" y="10059"/>
                      <a:pt x="0" y="6476"/>
                    </a:cubicBezTo>
                    <a:cubicBezTo>
                      <a:pt x="0" y="2894"/>
                      <a:pt x="2894" y="0"/>
                      <a:pt x="6477" y="0"/>
                    </a:cubicBezTo>
                    <a:lnTo>
                      <a:pt x="343656" y="0"/>
                    </a:lnTo>
                    <a:cubicBezTo>
                      <a:pt x="347238" y="0"/>
                      <a:pt x="350132" y="2894"/>
                      <a:pt x="350132" y="6476"/>
                    </a:cubicBezTo>
                    <a:cubicBezTo>
                      <a:pt x="350104" y="10059"/>
                      <a:pt x="347209" y="12953"/>
                      <a:pt x="343627" y="12953"/>
                    </a:cubicBezTo>
                    <a:close/>
                  </a:path>
                </a:pathLst>
              </a:custGeom>
              <a:solidFill>
                <a:schemeClr val="tx2"/>
              </a:solidFill>
              <a:ln w="2860" cap="flat">
                <a:noFill/>
                <a:prstDash val="solid"/>
                <a:miter/>
              </a:ln>
            </p:spPr>
            <p:txBody>
              <a:bodyPr rtlCol="0" anchor="ctr"/>
              <a:lstStyle/>
              <a:p>
                <a:endParaRPr lang="en-GB" dirty="0"/>
              </a:p>
            </p:txBody>
          </p:sp>
          <p:sp>
            <p:nvSpPr>
              <p:cNvPr id="65" name="Freihandform: Form 526">
                <a:extLst>
                  <a:ext uri="{FF2B5EF4-FFF2-40B4-BE49-F238E27FC236}">
                    <a16:creationId xmlns:a16="http://schemas.microsoft.com/office/drawing/2014/main" id="{EF8CE6FE-229C-4C6E-9AAD-CF6D1C94A273}"/>
                  </a:ext>
                </a:extLst>
              </p:cNvPr>
              <p:cNvSpPr/>
              <p:nvPr/>
            </p:nvSpPr>
            <p:spPr>
              <a:xfrm>
                <a:off x="1164992" y="2054723"/>
                <a:ext cx="45364" cy="12953"/>
              </a:xfrm>
              <a:custGeom>
                <a:avLst/>
                <a:gdLst>
                  <a:gd name="connsiteX0" fmla="*/ 38888 w 45364"/>
                  <a:gd name="connsiteY0" fmla="*/ 12953 h 12953"/>
                  <a:gd name="connsiteX1" fmla="*/ 6476 w 45364"/>
                  <a:gd name="connsiteY1" fmla="*/ 12953 h 12953"/>
                  <a:gd name="connsiteX2" fmla="*/ 0 w 45364"/>
                  <a:gd name="connsiteY2" fmla="*/ 6477 h 12953"/>
                  <a:gd name="connsiteX3" fmla="*/ 6476 w 45364"/>
                  <a:gd name="connsiteY3" fmla="*/ 0 h 12953"/>
                  <a:gd name="connsiteX4" fmla="*/ 38888 w 45364"/>
                  <a:gd name="connsiteY4" fmla="*/ 0 h 12953"/>
                  <a:gd name="connsiteX5" fmla="*/ 45364 w 45364"/>
                  <a:gd name="connsiteY5" fmla="*/ 6477 h 12953"/>
                  <a:gd name="connsiteX6" fmla="*/ 38888 w 45364"/>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64" h="12953">
                    <a:moveTo>
                      <a:pt x="38888" y="12953"/>
                    </a:moveTo>
                    <a:lnTo>
                      <a:pt x="6476" y="12953"/>
                    </a:lnTo>
                    <a:cubicBezTo>
                      <a:pt x="2894" y="12953"/>
                      <a:pt x="0" y="10059"/>
                      <a:pt x="0" y="6477"/>
                    </a:cubicBezTo>
                    <a:cubicBezTo>
                      <a:pt x="0" y="2894"/>
                      <a:pt x="2894" y="0"/>
                      <a:pt x="6476" y="0"/>
                    </a:cubicBezTo>
                    <a:lnTo>
                      <a:pt x="38888" y="0"/>
                    </a:lnTo>
                    <a:cubicBezTo>
                      <a:pt x="42470" y="0"/>
                      <a:pt x="45364" y="2894"/>
                      <a:pt x="45364" y="6477"/>
                    </a:cubicBezTo>
                    <a:cubicBezTo>
                      <a:pt x="45364" y="10059"/>
                      <a:pt x="42470" y="12953"/>
                      <a:pt x="38888" y="12953"/>
                    </a:cubicBezTo>
                    <a:close/>
                  </a:path>
                </a:pathLst>
              </a:custGeom>
              <a:solidFill>
                <a:schemeClr val="tx2"/>
              </a:solidFill>
              <a:ln w="2860" cap="flat">
                <a:noFill/>
                <a:prstDash val="solid"/>
                <a:miter/>
              </a:ln>
            </p:spPr>
            <p:txBody>
              <a:bodyPr rtlCol="0" anchor="ctr"/>
              <a:lstStyle/>
              <a:p>
                <a:endParaRPr lang="en-GB" dirty="0"/>
              </a:p>
            </p:txBody>
          </p:sp>
        </p:grpSp>
        <p:grpSp>
          <p:nvGrpSpPr>
            <p:cNvPr id="52" name="Gruppieren 6">
              <a:extLst>
                <a:ext uri="{FF2B5EF4-FFF2-40B4-BE49-F238E27FC236}">
                  <a16:creationId xmlns:a16="http://schemas.microsoft.com/office/drawing/2014/main" id="{70CAE731-6CA5-4332-8E6C-3980BEED2BDF}"/>
                </a:ext>
              </a:extLst>
            </p:cNvPr>
            <p:cNvGrpSpPr/>
            <p:nvPr/>
          </p:nvGrpSpPr>
          <p:grpSpPr>
            <a:xfrm>
              <a:off x="1171465" y="1626758"/>
              <a:ext cx="207489" cy="440917"/>
              <a:chOff x="1171465" y="1626758"/>
              <a:chExt cx="207489" cy="440917"/>
            </a:xfrm>
          </p:grpSpPr>
          <p:sp>
            <p:nvSpPr>
              <p:cNvPr id="53" name="Freihandform: Form 514">
                <a:extLst>
                  <a:ext uri="{FF2B5EF4-FFF2-40B4-BE49-F238E27FC236}">
                    <a16:creationId xmlns:a16="http://schemas.microsoft.com/office/drawing/2014/main" id="{C45F2230-86F6-43D1-BC4C-230F610751B3}"/>
                  </a:ext>
                </a:extLst>
              </p:cNvPr>
              <p:cNvSpPr/>
              <p:nvPr/>
            </p:nvSpPr>
            <p:spPr>
              <a:xfrm>
                <a:off x="1229814" y="1659197"/>
                <a:ext cx="90757" cy="12953"/>
              </a:xfrm>
              <a:custGeom>
                <a:avLst/>
                <a:gdLst>
                  <a:gd name="connsiteX0" fmla="*/ 84281 w 90757"/>
                  <a:gd name="connsiteY0" fmla="*/ 12953 h 12953"/>
                  <a:gd name="connsiteX1" fmla="*/ 6476 w 90757"/>
                  <a:gd name="connsiteY1" fmla="*/ 12953 h 12953"/>
                  <a:gd name="connsiteX2" fmla="*/ 0 w 90757"/>
                  <a:gd name="connsiteY2" fmla="*/ 6477 h 12953"/>
                  <a:gd name="connsiteX3" fmla="*/ 6476 w 90757"/>
                  <a:gd name="connsiteY3" fmla="*/ 0 h 12953"/>
                  <a:gd name="connsiteX4" fmla="*/ 84281 w 90757"/>
                  <a:gd name="connsiteY4" fmla="*/ 0 h 12953"/>
                  <a:gd name="connsiteX5" fmla="*/ 90757 w 90757"/>
                  <a:gd name="connsiteY5" fmla="*/ 6477 h 12953"/>
                  <a:gd name="connsiteX6" fmla="*/ 84281 w 90757"/>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57" h="12953">
                    <a:moveTo>
                      <a:pt x="84281" y="12953"/>
                    </a:moveTo>
                    <a:lnTo>
                      <a:pt x="6476" y="12953"/>
                    </a:lnTo>
                    <a:cubicBezTo>
                      <a:pt x="2894" y="12953"/>
                      <a:pt x="0" y="10059"/>
                      <a:pt x="0" y="6477"/>
                    </a:cubicBezTo>
                    <a:cubicBezTo>
                      <a:pt x="0" y="2894"/>
                      <a:pt x="2894" y="0"/>
                      <a:pt x="6476" y="0"/>
                    </a:cubicBezTo>
                    <a:lnTo>
                      <a:pt x="84281" y="0"/>
                    </a:lnTo>
                    <a:cubicBezTo>
                      <a:pt x="87863" y="0"/>
                      <a:pt x="90757" y="2894"/>
                      <a:pt x="90757" y="6477"/>
                    </a:cubicBezTo>
                    <a:cubicBezTo>
                      <a:pt x="90757" y="10059"/>
                      <a:pt x="87863" y="12953"/>
                      <a:pt x="84281" y="12953"/>
                    </a:cubicBezTo>
                    <a:close/>
                  </a:path>
                </a:pathLst>
              </a:custGeom>
              <a:solidFill>
                <a:schemeClr val="accent1"/>
              </a:solidFill>
              <a:ln w="2860" cap="flat">
                <a:noFill/>
                <a:prstDash val="solid"/>
                <a:miter/>
              </a:ln>
            </p:spPr>
            <p:txBody>
              <a:bodyPr rtlCol="0" anchor="ctr"/>
              <a:lstStyle/>
              <a:p>
                <a:endParaRPr lang="en-GB" dirty="0"/>
              </a:p>
            </p:txBody>
          </p:sp>
          <p:sp>
            <p:nvSpPr>
              <p:cNvPr id="54" name="Freihandform: Form 515">
                <a:extLst>
                  <a:ext uri="{FF2B5EF4-FFF2-40B4-BE49-F238E27FC236}">
                    <a16:creationId xmlns:a16="http://schemas.microsoft.com/office/drawing/2014/main" id="{C244368F-62CD-4F17-AA52-EEEABFF2DEFE}"/>
                  </a:ext>
                </a:extLst>
              </p:cNvPr>
              <p:cNvSpPr/>
              <p:nvPr/>
            </p:nvSpPr>
            <p:spPr>
              <a:xfrm>
                <a:off x="1236291" y="1659169"/>
                <a:ext cx="77804" cy="51869"/>
              </a:xfrm>
              <a:custGeom>
                <a:avLst/>
                <a:gdLst>
                  <a:gd name="connsiteX0" fmla="*/ 77804 w 77804"/>
                  <a:gd name="connsiteY0" fmla="*/ 51869 h 51869"/>
                  <a:gd name="connsiteX1" fmla="*/ 0 w 77804"/>
                  <a:gd name="connsiteY1" fmla="*/ 51869 h 51869"/>
                  <a:gd name="connsiteX2" fmla="*/ 0 w 77804"/>
                  <a:gd name="connsiteY2" fmla="*/ 0 h 51869"/>
                  <a:gd name="connsiteX3" fmla="*/ 77804 w 77804"/>
                  <a:gd name="connsiteY3" fmla="*/ 0 h 51869"/>
                  <a:gd name="connsiteX4" fmla="*/ 77804 w 77804"/>
                  <a:gd name="connsiteY4" fmla="*/ 51869 h 51869"/>
                  <a:gd name="connsiteX5" fmla="*/ 12953 w 77804"/>
                  <a:gd name="connsiteY5" fmla="*/ 38916 h 51869"/>
                  <a:gd name="connsiteX6" fmla="*/ 64822 w 77804"/>
                  <a:gd name="connsiteY6" fmla="*/ 38916 h 51869"/>
                  <a:gd name="connsiteX7" fmla="*/ 64822 w 77804"/>
                  <a:gd name="connsiteY7" fmla="*/ 12982 h 51869"/>
                  <a:gd name="connsiteX8" fmla="*/ 12953 w 77804"/>
                  <a:gd name="connsiteY8" fmla="*/ 12982 h 51869"/>
                  <a:gd name="connsiteX9" fmla="*/ 12953 w 77804"/>
                  <a:gd name="connsiteY9" fmla="*/ 38916 h 5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04" h="51869">
                    <a:moveTo>
                      <a:pt x="77804" y="51869"/>
                    </a:moveTo>
                    <a:lnTo>
                      <a:pt x="0" y="51869"/>
                    </a:lnTo>
                    <a:lnTo>
                      <a:pt x="0" y="0"/>
                    </a:lnTo>
                    <a:lnTo>
                      <a:pt x="77804" y="0"/>
                    </a:lnTo>
                    <a:lnTo>
                      <a:pt x="77804" y="51869"/>
                    </a:lnTo>
                    <a:close/>
                    <a:moveTo>
                      <a:pt x="12953" y="38916"/>
                    </a:moveTo>
                    <a:lnTo>
                      <a:pt x="64822" y="38916"/>
                    </a:lnTo>
                    <a:lnTo>
                      <a:pt x="64822" y="12982"/>
                    </a:lnTo>
                    <a:lnTo>
                      <a:pt x="12953" y="12982"/>
                    </a:lnTo>
                    <a:lnTo>
                      <a:pt x="12953" y="38916"/>
                    </a:lnTo>
                    <a:close/>
                  </a:path>
                </a:pathLst>
              </a:custGeom>
              <a:solidFill>
                <a:schemeClr val="accent1"/>
              </a:solidFill>
              <a:ln w="2860" cap="flat">
                <a:noFill/>
                <a:prstDash val="solid"/>
                <a:miter/>
              </a:ln>
            </p:spPr>
            <p:txBody>
              <a:bodyPr rtlCol="0" anchor="ctr"/>
              <a:lstStyle/>
              <a:p>
                <a:endParaRPr lang="en-GB" dirty="0"/>
              </a:p>
            </p:txBody>
          </p:sp>
          <p:sp>
            <p:nvSpPr>
              <p:cNvPr id="55" name="Freihandform: Form 516">
                <a:extLst>
                  <a:ext uri="{FF2B5EF4-FFF2-40B4-BE49-F238E27FC236}">
                    <a16:creationId xmlns:a16="http://schemas.microsoft.com/office/drawing/2014/main" id="{16BBCCAF-E03F-420A-9DAA-30C0B62FF9D1}"/>
                  </a:ext>
                </a:extLst>
              </p:cNvPr>
              <p:cNvSpPr/>
              <p:nvPr/>
            </p:nvSpPr>
            <p:spPr>
              <a:xfrm>
                <a:off x="1184450" y="1698114"/>
                <a:ext cx="181542" cy="19429"/>
              </a:xfrm>
              <a:custGeom>
                <a:avLst/>
                <a:gdLst>
                  <a:gd name="connsiteX0" fmla="*/ 175038 w 181542"/>
                  <a:gd name="connsiteY0" fmla="*/ 19430 h 19429"/>
                  <a:gd name="connsiteX1" fmla="*/ 168561 w 181542"/>
                  <a:gd name="connsiteY1" fmla="*/ 12953 h 19429"/>
                  <a:gd name="connsiteX2" fmla="*/ 12953 w 181542"/>
                  <a:gd name="connsiteY2" fmla="*/ 12953 h 19429"/>
                  <a:gd name="connsiteX3" fmla="*/ 6477 w 181542"/>
                  <a:gd name="connsiteY3" fmla="*/ 19430 h 19429"/>
                  <a:gd name="connsiteX4" fmla="*/ 0 w 181542"/>
                  <a:gd name="connsiteY4" fmla="*/ 12953 h 19429"/>
                  <a:gd name="connsiteX5" fmla="*/ 0 w 181542"/>
                  <a:gd name="connsiteY5" fmla="*/ 6477 h 19429"/>
                  <a:gd name="connsiteX6" fmla="*/ 6477 w 181542"/>
                  <a:gd name="connsiteY6" fmla="*/ 0 h 19429"/>
                  <a:gd name="connsiteX7" fmla="*/ 175066 w 181542"/>
                  <a:gd name="connsiteY7" fmla="*/ 0 h 19429"/>
                  <a:gd name="connsiteX8" fmla="*/ 181543 w 181542"/>
                  <a:gd name="connsiteY8" fmla="*/ 6477 h 19429"/>
                  <a:gd name="connsiteX9" fmla="*/ 181543 w 181542"/>
                  <a:gd name="connsiteY9" fmla="*/ 12953 h 19429"/>
                  <a:gd name="connsiteX10" fmla="*/ 175038 w 181542"/>
                  <a:gd name="connsiteY10" fmla="*/ 19430 h 19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1542" h="19429">
                    <a:moveTo>
                      <a:pt x="175038" y="19430"/>
                    </a:moveTo>
                    <a:cubicBezTo>
                      <a:pt x="171455" y="19430"/>
                      <a:pt x="168561" y="16535"/>
                      <a:pt x="168561" y="12953"/>
                    </a:cubicBezTo>
                    <a:lnTo>
                      <a:pt x="12953" y="12953"/>
                    </a:lnTo>
                    <a:cubicBezTo>
                      <a:pt x="12953" y="16535"/>
                      <a:pt x="10059" y="19430"/>
                      <a:pt x="6477" y="19430"/>
                    </a:cubicBezTo>
                    <a:cubicBezTo>
                      <a:pt x="2894" y="19430"/>
                      <a:pt x="0" y="16535"/>
                      <a:pt x="0" y="12953"/>
                    </a:cubicBezTo>
                    <a:lnTo>
                      <a:pt x="0" y="6477"/>
                    </a:lnTo>
                    <a:cubicBezTo>
                      <a:pt x="0" y="2894"/>
                      <a:pt x="2894" y="0"/>
                      <a:pt x="6477" y="0"/>
                    </a:cubicBezTo>
                    <a:lnTo>
                      <a:pt x="175066" y="0"/>
                    </a:lnTo>
                    <a:cubicBezTo>
                      <a:pt x="178648" y="0"/>
                      <a:pt x="181543" y="2894"/>
                      <a:pt x="181543" y="6477"/>
                    </a:cubicBezTo>
                    <a:lnTo>
                      <a:pt x="181543" y="12953"/>
                    </a:lnTo>
                    <a:cubicBezTo>
                      <a:pt x="181514" y="16506"/>
                      <a:pt x="178620" y="19430"/>
                      <a:pt x="175038" y="19430"/>
                    </a:cubicBezTo>
                    <a:close/>
                  </a:path>
                </a:pathLst>
              </a:custGeom>
              <a:solidFill>
                <a:schemeClr val="accent1"/>
              </a:solidFill>
              <a:ln w="2860" cap="flat">
                <a:noFill/>
                <a:prstDash val="solid"/>
                <a:miter/>
              </a:ln>
            </p:spPr>
            <p:txBody>
              <a:bodyPr rtlCol="0" anchor="ctr"/>
              <a:lstStyle/>
              <a:p>
                <a:endParaRPr lang="en-GB" dirty="0"/>
              </a:p>
            </p:txBody>
          </p:sp>
          <p:sp>
            <p:nvSpPr>
              <p:cNvPr id="56" name="Freihandform: Form 517">
                <a:extLst>
                  <a:ext uri="{FF2B5EF4-FFF2-40B4-BE49-F238E27FC236}">
                    <a16:creationId xmlns:a16="http://schemas.microsoft.com/office/drawing/2014/main" id="{2BE8DCEE-ADE8-45A3-935F-861BBB60026E}"/>
                  </a:ext>
                </a:extLst>
              </p:cNvPr>
              <p:cNvSpPr/>
              <p:nvPr/>
            </p:nvSpPr>
            <p:spPr>
              <a:xfrm>
                <a:off x="1171465" y="1730496"/>
                <a:ext cx="207489" cy="84309"/>
              </a:xfrm>
              <a:custGeom>
                <a:avLst/>
                <a:gdLst>
                  <a:gd name="connsiteX0" fmla="*/ 181546 w 207489"/>
                  <a:gd name="connsiteY0" fmla="*/ 84309 h 84309"/>
                  <a:gd name="connsiteX1" fmla="*/ 25938 w 207489"/>
                  <a:gd name="connsiteY1" fmla="*/ 84309 h 84309"/>
                  <a:gd name="connsiteX2" fmla="*/ 19691 w 207489"/>
                  <a:gd name="connsiteY2" fmla="*/ 79523 h 84309"/>
                  <a:gd name="connsiteX3" fmla="*/ 233 w 207489"/>
                  <a:gd name="connsiteY3" fmla="*/ 8196 h 84309"/>
                  <a:gd name="connsiteX4" fmla="*/ 1322 w 207489"/>
                  <a:gd name="connsiteY4" fmla="*/ 2550 h 84309"/>
                  <a:gd name="connsiteX5" fmla="*/ 6480 w 207489"/>
                  <a:gd name="connsiteY5" fmla="*/ 0 h 84309"/>
                  <a:gd name="connsiteX6" fmla="*/ 201004 w 207489"/>
                  <a:gd name="connsiteY6" fmla="*/ 0 h 84309"/>
                  <a:gd name="connsiteX7" fmla="*/ 206163 w 207489"/>
                  <a:gd name="connsiteY7" fmla="*/ 2550 h 84309"/>
                  <a:gd name="connsiteX8" fmla="*/ 207252 w 207489"/>
                  <a:gd name="connsiteY8" fmla="*/ 8196 h 84309"/>
                  <a:gd name="connsiteX9" fmla="*/ 187794 w 207489"/>
                  <a:gd name="connsiteY9" fmla="*/ 79523 h 84309"/>
                  <a:gd name="connsiteX10" fmla="*/ 181546 w 207489"/>
                  <a:gd name="connsiteY10" fmla="*/ 84309 h 84309"/>
                  <a:gd name="connsiteX11" fmla="*/ 30867 w 207489"/>
                  <a:gd name="connsiteY11" fmla="*/ 71328 h 84309"/>
                  <a:gd name="connsiteX12" fmla="*/ 176589 w 207489"/>
                  <a:gd name="connsiteY12" fmla="*/ 71328 h 84309"/>
                  <a:gd name="connsiteX13" fmla="*/ 192493 w 207489"/>
                  <a:gd name="connsiteY13" fmla="*/ 12982 h 84309"/>
                  <a:gd name="connsiteX14" fmla="*/ 14963 w 207489"/>
                  <a:gd name="connsiteY14" fmla="*/ 12982 h 84309"/>
                  <a:gd name="connsiteX15" fmla="*/ 30867 w 207489"/>
                  <a:gd name="connsiteY15" fmla="*/ 71328 h 84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7489" h="84309">
                    <a:moveTo>
                      <a:pt x="181546" y="84309"/>
                    </a:moveTo>
                    <a:lnTo>
                      <a:pt x="25938" y="84309"/>
                    </a:lnTo>
                    <a:cubicBezTo>
                      <a:pt x="23015" y="84309"/>
                      <a:pt x="20465" y="82361"/>
                      <a:pt x="19691" y="79523"/>
                    </a:cubicBezTo>
                    <a:lnTo>
                      <a:pt x="233" y="8196"/>
                    </a:lnTo>
                    <a:cubicBezTo>
                      <a:pt x="-312" y="6247"/>
                      <a:pt x="118" y="4155"/>
                      <a:pt x="1322" y="2550"/>
                    </a:cubicBezTo>
                    <a:cubicBezTo>
                      <a:pt x="2554" y="946"/>
                      <a:pt x="4445" y="0"/>
                      <a:pt x="6480" y="0"/>
                    </a:cubicBezTo>
                    <a:lnTo>
                      <a:pt x="201004" y="0"/>
                    </a:lnTo>
                    <a:cubicBezTo>
                      <a:pt x="203010" y="0"/>
                      <a:pt x="204930" y="946"/>
                      <a:pt x="206163" y="2550"/>
                    </a:cubicBezTo>
                    <a:cubicBezTo>
                      <a:pt x="207395" y="4155"/>
                      <a:pt x="207796" y="6247"/>
                      <a:pt x="207252" y="8196"/>
                    </a:cubicBezTo>
                    <a:lnTo>
                      <a:pt x="187794" y="79523"/>
                    </a:lnTo>
                    <a:cubicBezTo>
                      <a:pt x="187020" y="82332"/>
                      <a:pt x="184469" y="84309"/>
                      <a:pt x="181546" y="84309"/>
                    </a:cubicBezTo>
                    <a:close/>
                    <a:moveTo>
                      <a:pt x="30867" y="71328"/>
                    </a:moveTo>
                    <a:lnTo>
                      <a:pt x="176589" y="71328"/>
                    </a:lnTo>
                    <a:lnTo>
                      <a:pt x="192493" y="12982"/>
                    </a:lnTo>
                    <a:lnTo>
                      <a:pt x="14963" y="12982"/>
                    </a:lnTo>
                    <a:lnTo>
                      <a:pt x="30867" y="71328"/>
                    </a:lnTo>
                    <a:close/>
                  </a:path>
                </a:pathLst>
              </a:custGeom>
              <a:solidFill>
                <a:schemeClr val="accent1"/>
              </a:solidFill>
              <a:ln w="2860" cap="flat">
                <a:noFill/>
                <a:prstDash val="solid"/>
                <a:miter/>
              </a:ln>
            </p:spPr>
            <p:txBody>
              <a:bodyPr rtlCol="0" anchor="ctr"/>
              <a:lstStyle/>
              <a:p>
                <a:endParaRPr lang="en-GB" dirty="0"/>
              </a:p>
            </p:txBody>
          </p:sp>
          <p:sp>
            <p:nvSpPr>
              <p:cNvPr id="57" name="Freihandform: Form 518">
                <a:extLst>
                  <a:ext uri="{FF2B5EF4-FFF2-40B4-BE49-F238E27FC236}">
                    <a16:creationId xmlns:a16="http://schemas.microsoft.com/office/drawing/2014/main" id="{0D5B72DA-2991-41A6-BF1B-1AA61D9DE4DA}"/>
                  </a:ext>
                </a:extLst>
              </p:cNvPr>
              <p:cNvSpPr/>
              <p:nvPr/>
            </p:nvSpPr>
            <p:spPr>
              <a:xfrm>
                <a:off x="1236291" y="1801824"/>
                <a:ext cx="77804" cy="265851"/>
              </a:xfrm>
              <a:custGeom>
                <a:avLst/>
                <a:gdLst>
                  <a:gd name="connsiteX0" fmla="*/ 77804 w 77804"/>
                  <a:gd name="connsiteY0" fmla="*/ 265852 h 265851"/>
                  <a:gd name="connsiteX1" fmla="*/ 0 w 77804"/>
                  <a:gd name="connsiteY1" fmla="*/ 265852 h 265851"/>
                  <a:gd name="connsiteX2" fmla="*/ 0 w 77804"/>
                  <a:gd name="connsiteY2" fmla="*/ 0 h 265851"/>
                  <a:gd name="connsiteX3" fmla="*/ 77804 w 77804"/>
                  <a:gd name="connsiteY3" fmla="*/ 0 h 265851"/>
                  <a:gd name="connsiteX4" fmla="*/ 77804 w 77804"/>
                  <a:gd name="connsiteY4" fmla="*/ 265852 h 265851"/>
                  <a:gd name="connsiteX5" fmla="*/ 12953 w 77804"/>
                  <a:gd name="connsiteY5" fmla="*/ 252870 h 265851"/>
                  <a:gd name="connsiteX6" fmla="*/ 64822 w 77804"/>
                  <a:gd name="connsiteY6" fmla="*/ 252870 h 265851"/>
                  <a:gd name="connsiteX7" fmla="*/ 64822 w 77804"/>
                  <a:gd name="connsiteY7" fmla="*/ 12982 h 265851"/>
                  <a:gd name="connsiteX8" fmla="*/ 12953 w 77804"/>
                  <a:gd name="connsiteY8" fmla="*/ 12982 h 265851"/>
                  <a:gd name="connsiteX9" fmla="*/ 12953 w 77804"/>
                  <a:gd name="connsiteY9" fmla="*/ 252870 h 265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04" h="265851">
                    <a:moveTo>
                      <a:pt x="77804" y="265852"/>
                    </a:moveTo>
                    <a:lnTo>
                      <a:pt x="0" y="265852"/>
                    </a:lnTo>
                    <a:lnTo>
                      <a:pt x="0" y="0"/>
                    </a:lnTo>
                    <a:lnTo>
                      <a:pt x="77804" y="0"/>
                    </a:lnTo>
                    <a:lnTo>
                      <a:pt x="77804" y="265852"/>
                    </a:lnTo>
                    <a:close/>
                    <a:moveTo>
                      <a:pt x="12953" y="252870"/>
                    </a:moveTo>
                    <a:lnTo>
                      <a:pt x="64822" y="252870"/>
                    </a:lnTo>
                    <a:lnTo>
                      <a:pt x="64822" y="12982"/>
                    </a:lnTo>
                    <a:lnTo>
                      <a:pt x="12953" y="12982"/>
                    </a:lnTo>
                    <a:lnTo>
                      <a:pt x="12953" y="252870"/>
                    </a:lnTo>
                    <a:close/>
                  </a:path>
                </a:pathLst>
              </a:custGeom>
              <a:solidFill>
                <a:schemeClr val="accent1"/>
              </a:solidFill>
              <a:ln w="2860" cap="flat">
                <a:noFill/>
                <a:prstDash val="solid"/>
                <a:miter/>
              </a:ln>
            </p:spPr>
            <p:txBody>
              <a:bodyPr rtlCol="0" anchor="ctr"/>
              <a:lstStyle/>
              <a:p>
                <a:endParaRPr lang="en-GB" dirty="0"/>
              </a:p>
            </p:txBody>
          </p:sp>
          <p:sp>
            <p:nvSpPr>
              <p:cNvPr id="58" name="Freihandform: Form 519">
                <a:extLst>
                  <a:ext uri="{FF2B5EF4-FFF2-40B4-BE49-F238E27FC236}">
                    <a16:creationId xmlns:a16="http://schemas.microsoft.com/office/drawing/2014/main" id="{53CC27D7-98CB-479B-9C3E-0DE43164D819}"/>
                  </a:ext>
                </a:extLst>
              </p:cNvPr>
              <p:cNvSpPr/>
              <p:nvPr/>
            </p:nvSpPr>
            <p:spPr>
              <a:xfrm>
                <a:off x="1236291" y="1626758"/>
                <a:ext cx="77804" cy="45392"/>
              </a:xfrm>
              <a:custGeom>
                <a:avLst/>
                <a:gdLst>
                  <a:gd name="connsiteX0" fmla="*/ 77804 w 77804"/>
                  <a:gd name="connsiteY0" fmla="*/ 45393 h 45392"/>
                  <a:gd name="connsiteX1" fmla="*/ 0 w 77804"/>
                  <a:gd name="connsiteY1" fmla="*/ 45393 h 45392"/>
                  <a:gd name="connsiteX2" fmla="*/ 0 w 77804"/>
                  <a:gd name="connsiteY2" fmla="*/ 38916 h 45392"/>
                  <a:gd name="connsiteX3" fmla="*/ 38888 w 77804"/>
                  <a:gd name="connsiteY3" fmla="*/ 0 h 45392"/>
                  <a:gd name="connsiteX4" fmla="*/ 77804 w 77804"/>
                  <a:gd name="connsiteY4" fmla="*/ 38916 h 45392"/>
                  <a:gd name="connsiteX5" fmla="*/ 77804 w 77804"/>
                  <a:gd name="connsiteY5" fmla="*/ 45393 h 45392"/>
                  <a:gd name="connsiteX6" fmla="*/ 13784 w 77804"/>
                  <a:gd name="connsiteY6" fmla="*/ 32411 h 45392"/>
                  <a:gd name="connsiteX7" fmla="*/ 64020 w 77804"/>
                  <a:gd name="connsiteY7" fmla="*/ 32411 h 45392"/>
                  <a:gd name="connsiteX8" fmla="*/ 38916 w 77804"/>
                  <a:gd name="connsiteY8" fmla="*/ 12953 h 45392"/>
                  <a:gd name="connsiteX9" fmla="*/ 13784 w 77804"/>
                  <a:gd name="connsiteY9" fmla="*/ 32411 h 45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04" h="45392">
                    <a:moveTo>
                      <a:pt x="77804" y="45393"/>
                    </a:moveTo>
                    <a:lnTo>
                      <a:pt x="0" y="45393"/>
                    </a:lnTo>
                    <a:lnTo>
                      <a:pt x="0" y="38916"/>
                    </a:lnTo>
                    <a:cubicBezTo>
                      <a:pt x="0" y="17452"/>
                      <a:pt x="17452" y="0"/>
                      <a:pt x="38888" y="0"/>
                    </a:cubicBezTo>
                    <a:cubicBezTo>
                      <a:pt x="60323" y="0"/>
                      <a:pt x="77804" y="17452"/>
                      <a:pt x="77804" y="38916"/>
                    </a:cubicBezTo>
                    <a:lnTo>
                      <a:pt x="77804" y="45393"/>
                    </a:lnTo>
                    <a:close/>
                    <a:moveTo>
                      <a:pt x="13784" y="32411"/>
                    </a:moveTo>
                    <a:lnTo>
                      <a:pt x="64020" y="32411"/>
                    </a:lnTo>
                    <a:cubicBezTo>
                      <a:pt x="61126" y="21235"/>
                      <a:pt x="50981" y="12953"/>
                      <a:pt x="38916" y="12953"/>
                    </a:cubicBezTo>
                    <a:cubicBezTo>
                      <a:pt x="26852" y="12953"/>
                      <a:pt x="16678" y="21235"/>
                      <a:pt x="13784" y="32411"/>
                    </a:cubicBezTo>
                    <a:close/>
                  </a:path>
                </a:pathLst>
              </a:custGeom>
              <a:solidFill>
                <a:schemeClr val="accent1"/>
              </a:solidFill>
              <a:ln w="2860" cap="flat">
                <a:noFill/>
                <a:prstDash val="solid"/>
                <a:miter/>
              </a:ln>
            </p:spPr>
            <p:txBody>
              <a:bodyPr rtlCol="0" anchor="ctr"/>
              <a:lstStyle/>
              <a:p>
                <a:endParaRPr lang="en-GB" dirty="0"/>
              </a:p>
            </p:txBody>
          </p:sp>
        </p:grpSp>
      </p:grpSp>
      <p:grpSp>
        <p:nvGrpSpPr>
          <p:cNvPr id="66" name="Gruppieren 986">
            <a:extLst>
              <a:ext uri="{FF2B5EF4-FFF2-40B4-BE49-F238E27FC236}">
                <a16:creationId xmlns:a16="http://schemas.microsoft.com/office/drawing/2014/main" id="{8863DDD0-797F-4D70-9BF5-FC3D4CD79BED}"/>
              </a:ext>
            </a:extLst>
          </p:cNvPr>
          <p:cNvGrpSpPr>
            <a:grpSpLocks noChangeAspect="1"/>
          </p:cNvGrpSpPr>
          <p:nvPr/>
        </p:nvGrpSpPr>
        <p:grpSpPr>
          <a:xfrm>
            <a:off x="3772200" y="1585983"/>
            <a:ext cx="370305" cy="432000"/>
            <a:chOff x="3382504" y="1633230"/>
            <a:chExt cx="389054" cy="453872"/>
          </a:xfrm>
        </p:grpSpPr>
        <p:grpSp>
          <p:nvGrpSpPr>
            <p:cNvPr id="67" name="Gruppieren 985">
              <a:extLst>
                <a:ext uri="{FF2B5EF4-FFF2-40B4-BE49-F238E27FC236}">
                  <a16:creationId xmlns:a16="http://schemas.microsoft.com/office/drawing/2014/main" id="{AFC3E0FD-647F-4A30-87DF-9B9703B0E68E}"/>
                </a:ext>
              </a:extLst>
            </p:cNvPr>
            <p:cNvGrpSpPr/>
            <p:nvPr/>
          </p:nvGrpSpPr>
          <p:grpSpPr>
            <a:xfrm>
              <a:off x="3486221" y="1633230"/>
              <a:ext cx="181501" cy="453872"/>
              <a:chOff x="3486221" y="1633234"/>
              <a:chExt cx="181501" cy="453873"/>
            </a:xfrm>
          </p:grpSpPr>
          <p:sp>
            <p:nvSpPr>
              <p:cNvPr id="79" name="Freihandform: Form 351">
                <a:extLst>
                  <a:ext uri="{FF2B5EF4-FFF2-40B4-BE49-F238E27FC236}">
                    <a16:creationId xmlns:a16="http://schemas.microsoft.com/office/drawing/2014/main" id="{40B1C4FC-EE8D-4093-9B78-C357C32901A6}"/>
                  </a:ext>
                </a:extLst>
              </p:cNvPr>
              <p:cNvSpPr/>
              <p:nvPr/>
            </p:nvSpPr>
            <p:spPr>
              <a:xfrm>
                <a:off x="3570555" y="1633234"/>
                <a:ext cx="12953" cy="38916"/>
              </a:xfrm>
              <a:custGeom>
                <a:avLst/>
                <a:gdLst>
                  <a:gd name="connsiteX0" fmla="*/ 6477 w 12953"/>
                  <a:gd name="connsiteY0" fmla="*/ 38916 h 38916"/>
                  <a:gd name="connsiteX1" fmla="*/ 0 w 12953"/>
                  <a:gd name="connsiteY1" fmla="*/ 32440 h 38916"/>
                  <a:gd name="connsiteX2" fmla="*/ 0 w 12953"/>
                  <a:gd name="connsiteY2" fmla="*/ 6477 h 38916"/>
                  <a:gd name="connsiteX3" fmla="*/ 6477 w 12953"/>
                  <a:gd name="connsiteY3" fmla="*/ 0 h 38916"/>
                  <a:gd name="connsiteX4" fmla="*/ 12953 w 12953"/>
                  <a:gd name="connsiteY4" fmla="*/ 6477 h 38916"/>
                  <a:gd name="connsiteX5" fmla="*/ 12953 w 12953"/>
                  <a:gd name="connsiteY5" fmla="*/ 32411 h 38916"/>
                  <a:gd name="connsiteX6" fmla="*/ 6477 w 12953"/>
                  <a:gd name="connsiteY6" fmla="*/ 38916 h 3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3" h="38916">
                    <a:moveTo>
                      <a:pt x="6477" y="38916"/>
                    </a:moveTo>
                    <a:cubicBezTo>
                      <a:pt x="2894" y="38916"/>
                      <a:pt x="0" y="36022"/>
                      <a:pt x="0" y="32440"/>
                    </a:cubicBezTo>
                    <a:lnTo>
                      <a:pt x="0" y="6477"/>
                    </a:lnTo>
                    <a:cubicBezTo>
                      <a:pt x="0" y="2894"/>
                      <a:pt x="2894" y="0"/>
                      <a:pt x="6477" y="0"/>
                    </a:cubicBezTo>
                    <a:cubicBezTo>
                      <a:pt x="10059" y="0"/>
                      <a:pt x="12953" y="2894"/>
                      <a:pt x="12953" y="6477"/>
                    </a:cubicBezTo>
                    <a:lnTo>
                      <a:pt x="12953" y="32411"/>
                    </a:lnTo>
                    <a:cubicBezTo>
                      <a:pt x="12953" y="35993"/>
                      <a:pt x="10059" y="38916"/>
                      <a:pt x="6477" y="38916"/>
                    </a:cubicBezTo>
                    <a:close/>
                  </a:path>
                </a:pathLst>
              </a:custGeom>
              <a:solidFill>
                <a:schemeClr val="tx2"/>
              </a:solidFill>
              <a:ln w="2860" cap="flat">
                <a:noFill/>
                <a:prstDash val="solid"/>
                <a:miter/>
              </a:ln>
            </p:spPr>
            <p:txBody>
              <a:bodyPr rtlCol="0" anchor="ctr"/>
              <a:lstStyle/>
              <a:p>
                <a:endParaRPr lang="en-GB" dirty="0"/>
              </a:p>
            </p:txBody>
          </p:sp>
          <p:sp>
            <p:nvSpPr>
              <p:cNvPr id="80" name="Freihandform: Form 352">
                <a:extLst>
                  <a:ext uri="{FF2B5EF4-FFF2-40B4-BE49-F238E27FC236}">
                    <a16:creationId xmlns:a16="http://schemas.microsoft.com/office/drawing/2014/main" id="{A5F6E6EC-8DC0-4E78-8402-1B19C0A91BF4}"/>
                  </a:ext>
                </a:extLst>
              </p:cNvPr>
              <p:cNvSpPr/>
              <p:nvPr/>
            </p:nvSpPr>
            <p:spPr>
              <a:xfrm>
                <a:off x="3499227" y="1724020"/>
                <a:ext cx="155608" cy="12953"/>
              </a:xfrm>
              <a:custGeom>
                <a:avLst/>
                <a:gdLst>
                  <a:gd name="connsiteX0" fmla="*/ 149132 w 155608"/>
                  <a:gd name="connsiteY0" fmla="*/ 12953 h 12953"/>
                  <a:gd name="connsiteX1" fmla="*/ 6477 w 155608"/>
                  <a:gd name="connsiteY1" fmla="*/ 12953 h 12953"/>
                  <a:gd name="connsiteX2" fmla="*/ 0 w 155608"/>
                  <a:gd name="connsiteY2" fmla="*/ 6477 h 12953"/>
                  <a:gd name="connsiteX3" fmla="*/ 6477 w 155608"/>
                  <a:gd name="connsiteY3" fmla="*/ 0 h 12953"/>
                  <a:gd name="connsiteX4" fmla="*/ 149132 w 155608"/>
                  <a:gd name="connsiteY4" fmla="*/ 0 h 12953"/>
                  <a:gd name="connsiteX5" fmla="*/ 155608 w 155608"/>
                  <a:gd name="connsiteY5" fmla="*/ 6477 h 12953"/>
                  <a:gd name="connsiteX6" fmla="*/ 149132 w 155608"/>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08" h="12953">
                    <a:moveTo>
                      <a:pt x="149132" y="12953"/>
                    </a:moveTo>
                    <a:lnTo>
                      <a:pt x="6477" y="12953"/>
                    </a:lnTo>
                    <a:cubicBezTo>
                      <a:pt x="2894" y="12953"/>
                      <a:pt x="0" y="10059"/>
                      <a:pt x="0" y="6477"/>
                    </a:cubicBezTo>
                    <a:cubicBezTo>
                      <a:pt x="0" y="2894"/>
                      <a:pt x="2894" y="0"/>
                      <a:pt x="6477" y="0"/>
                    </a:cubicBezTo>
                    <a:lnTo>
                      <a:pt x="149132" y="0"/>
                    </a:lnTo>
                    <a:cubicBezTo>
                      <a:pt x="152714" y="0"/>
                      <a:pt x="155608" y="2894"/>
                      <a:pt x="155608" y="6477"/>
                    </a:cubicBezTo>
                    <a:cubicBezTo>
                      <a:pt x="155608" y="10059"/>
                      <a:pt x="152714" y="12953"/>
                      <a:pt x="149132" y="12953"/>
                    </a:cubicBezTo>
                    <a:close/>
                  </a:path>
                </a:pathLst>
              </a:custGeom>
              <a:solidFill>
                <a:schemeClr val="tx2"/>
              </a:solidFill>
              <a:ln w="2860" cap="flat">
                <a:noFill/>
                <a:prstDash val="solid"/>
                <a:miter/>
              </a:ln>
            </p:spPr>
            <p:txBody>
              <a:bodyPr rtlCol="0" anchor="ctr"/>
              <a:lstStyle/>
              <a:p>
                <a:endParaRPr lang="en-GB" dirty="0"/>
              </a:p>
            </p:txBody>
          </p:sp>
          <p:sp>
            <p:nvSpPr>
              <p:cNvPr id="81" name="Freihandform: Form 353">
                <a:extLst>
                  <a:ext uri="{FF2B5EF4-FFF2-40B4-BE49-F238E27FC236}">
                    <a16:creationId xmlns:a16="http://schemas.microsoft.com/office/drawing/2014/main" id="{BF690782-5845-4343-B5C3-CA5509E464A3}"/>
                  </a:ext>
                </a:extLst>
              </p:cNvPr>
              <p:cNvSpPr/>
              <p:nvPr/>
            </p:nvSpPr>
            <p:spPr>
              <a:xfrm>
                <a:off x="3499227" y="1814805"/>
                <a:ext cx="155608" cy="12953"/>
              </a:xfrm>
              <a:custGeom>
                <a:avLst/>
                <a:gdLst>
                  <a:gd name="connsiteX0" fmla="*/ 149132 w 155608"/>
                  <a:gd name="connsiteY0" fmla="*/ 12953 h 12953"/>
                  <a:gd name="connsiteX1" fmla="*/ 6477 w 155608"/>
                  <a:gd name="connsiteY1" fmla="*/ 12953 h 12953"/>
                  <a:gd name="connsiteX2" fmla="*/ 0 w 155608"/>
                  <a:gd name="connsiteY2" fmla="*/ 6476 h 12953"/>
                  <a:gd name="connsiteX3" fmla="*/ 6477 w 155608"/>
                  <a:gd name="connsiteY3" fmla="*/ 0 h 12953"/>
                  <a:gd name="connsiteX4" fmla="*/ 149132 w 155608"/>
                  <a:gd name="connsiteY4" fmla="*/ 0 h 12953"/>
                  <a:gd name="connsiteX5" fmla="*/ 155608 w 155608"/>
                  <a:gd name="connsiteY5" fmla="*/ 6476 h 12953"/>
                  <a:gd name="connsiteX6" fmla="*/ 149132 w 155608"/>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5608" h="12953">
                    <a:moveTo>
                      <a:pt x="149132" y="12953"/>
                    </a:moveTo>
                    <a:lnTo>
                      <a:pt x="6477" y="12953"/>
                    </a:lnTo>
                    <a:cubicBezTo>
                      <a:pt x="2894" y="12953"/>
                      <a:pt x="0" y="10059"/>
                      <a:pt x="0" y="6476"/>
                    </a:cubicBezTo>
                    <a:cubicBezTo>
                      <a:pt x="0" y="2894"/>
                      <a:pt x="2894" y="0"/>
                      <a:pt x="6477" y="0"/>
                    </a:cubicBezTo>
                    <a:lnTo>
                      <a:pt x="149132" y="0"/>
                    </a:lnTo>
                    <a:cubicBezTo>
                      <a:pt x="152714" y="0"/>
                      <a:pt x="155608" y="2894"/>
                      <a:pt x="155608" y="6476"/>
                    </a:cubicBezTo>
                    <a:cubicBezTo>
                      <a:pt x="155608" y="10059"/>
                      <a:pt x="152714" y="12953"/>
                      <a:pt x="149132" y="12953"/>
                    </a:cubicBezTo>
                    <a:close/>
                  </a:path>
                </a:pathLst>
              </a:custGeom>
              <a:solidFill>
                <a:schemeClr val="tx2"/>
              </a:solidFill>
              <a:ln w="2860" cap="flat">
                <a:noFill/>
                <a:prstDash val="solid"/>
                <a:miter/>
              </a:ln>
            </p:spPr>
            <p:txBody>
              <a:bodyPr rtlCol="0" anchor="ctr"/>
              <a:lstStyle/>
              <a:p>
                <a:endParaRPr lang="en-GB" dirty="0"/>
              </a:p>
            </p:txBody>
          </p:sp>
          <p:sp>
            <p:nvSpPr>
              <p:cNvPr id="82" name="Freihandform: Form 354">
                <a:extLst>
                  <a:ext uri="{FF2B5EF4-FFF2-40B4-BE49-F238E27FC236}">
                    <a16:creationId xmlns:a16="http://schemas.microsoft.com/office/drawing/2014/main" id="{650F1B6E-33D5-4302-9DF5-D4FCECCC61A8}"/>
                  </a:ext>
                </a:extLst>
              </p:cNvPr>
              <p:cNvSpPr/>
              <p:nvPr/>
            </p:nvSpPr>
            <p:spPr>
              <a:xfrm>
                <a:off x="3518686" y="1724020"/>
                <a:ext cx="12953" cy="77804"/>
              </a:xfrm>
              <a:custGeom>
                <a:avLst/>
                <a:gdLst>
                  <a:gd name="connsiteX0" fmla="*/ 6477 w 12953"/>
                  <a:gd name="connsiteY0" fmla="*/ 77804 h 77804"/>
                  <a:gd name="connsiteX1" fmla="*/ 0 w 12953"/>
                  <a:gd name="connsiteY1" fmla="*/ 71328 h 77804"/>
                  <a:gd name="connsiteX2" fmla="*/ 0 w 12953"/>
                  <a:gd name="connsiteY2" fmla="*/ 6477 h 77804"/>
                  <a:gd name="connsiteX3" fmla="*/ 6477 w 12953"/>
                  <a:gd name="connsiteY3" fmla="*/ 0 h 77804"/>
                  <a:gd name="connsiteX4" fmla="*/ 12953 w 12953"/>
                  <a:gd name="connsiteY4" fmla="*/ 6477 h 77804"/>
                  <a:gd name="connsiteX5" fmla="*/ 12953 w 12953"/>
                  <a:gd name="connsiteY5" fmla="*/ 71328 h 77804"/>
                  <a:gd name="connsiteX6" fmla="*/ 6477 w 12953"/>
                  <a:gd name="connsiteY6" fmla="*/ 77804 h 7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3" h="77804">
                    <a:moveTo>
                      <a:pt x="6477" y="77804"/>
                    </a:moveTo>
                    <a:cubicBezTo>
                      <a:pt x="2894" y="77804"/>
                      <a:pt x="0" y="74910"/>
                      <a:pt x="0" y="71328"/>
                    </a:cubicBezTo>
                    <a:lnTo>
                      <a:pt x="0" y="6477"/>
                    </a:lnTo>
                    <a:cubicBezTo>
                      <a:pt x="0" y="2894"/>
                      <a:pt x="2894" y="0"/>
                      <a:pt x="6477" y="0"/>
                    </a:cubicBezTo>
                    <a:cubicBezTo>
                      <a:pt x="10059" y="0"/>
                      <a:pt x="12953" y="2894"/>
                      <a:pt x="12953" y="6477"/>
                    </a:cubicBezTo>
                    <a:lnTo>
                      <a:pt x="12953" y="71328"/>
                    </a:lnTo>
                    <a:cubicBezTo>
                      <a:pt x="12953" y="74881"/>
                      <a:pt x="10059" y="77804"/>
                      <a:pt x="6477" y="77804"/>
                    </a:cubicBezTo>
                    <a:close/>
                  </a:path>
                </a:pathLst>
              </a:custGeom>
              <a:solidFill>
                <a:schemeClr val="tx2"/>
              </a:solidFill>
              <a:ln w="2860" cap="flat">
                <a:noFill/>
                <a:prstDash val="solid"/>
                <a:miter/>
              </a:ln>
            </p:spPr>
            <p:txBody>
              <a:bodyPr rtlCol="0" anchor="ctr"/>
              <a:lstStyle/>
              <a:p>
                <a:endParaRPr lang="en-GB" dirty="0"/>
              </a:p>
            </p:txBody>
          </p:sp>
          <p:sp>
            <p:nvSpPr>
              <p:cNvPr id="83" name="Freihandform: Form 355">
                <a:extLst>
                  <a:ext uri="{FF2B5EF4-FFF2-40B4-BE49-F238E27FC236}">
                    <a16:creationId xmlns:a16="http://schemas.microsoft.com/office/drawing/2014/main" id="{7EC0AB4E-DEC9-4766-BD92-D54CE0326B8D}"/>
                  </a:ext>
                </a:extLst>
              </p:cNvPr>
              <p:cNvSpPr/>
              <p:nvPr/>
            </p:nvSpPr>
            <p:spPr>
              <a:xfrm>
                <a:off x="3622424" y="1724020"/>
                <a:ext cx="12953" cy="77804"/>
              </a:xfrm>
              <a:custGeom>
                <a:avLst/>
                <a:gdLst>
                  <a:gd name="connsiteX0" fmla="*/ 6477 w 12953"/>
                  <a:gd name="connsiteY0" fmla="*/ 77804 h 77804"/>
                  <a:gd name="connsiteX1" fmla="*/ 0 w 12953"/>
                  <a:gd name="connsiteY1" fmla="*/ 71328 h 77804"/>
                  <a:gd name="connsiteX2" fmla="*/ 0 w 12953"/>
                  <a:gd name="connsiteY2" fmla="*/ 6477 h 77804"/>
                  <a:gd name="connsiteX3" fmla="*/ 6477 w 12953"/>
                  <a:gd name="connsiteY3" fmla="*/ 0 h 77804"/>
                  <a:gd name="connsiteX4" fmla="*/ 12953 w 12953"/>
                  <a:gd name="connsiteY4" fmla="*/ 6477 h 77804"/>
                  <a:gd name="connsiteX5" fmla="*/ 12953 w 12953"/>
                  <a:gd name="connsiteY5" fmla="*/ 71328 h 77804"/>
                  <a:gd name="connsiteX6" fmla="*/ 6477 w 12953"/>
                  <a:gd name="connsiteY6" fmla="*/ 77804 h 7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3" h="77804">
                    <a:moveTo>
                      <a:pt x="6477" y="77804"/>
                    </a:moveTo>
                    <a:cubicBezTo>
                      <a:pt x="2894" y="77804"/>
                      <a:pt x="0" y="74910"/>
                      <a:pt x="0" y="71328"/>
                    </a:cubicBezTo>
                    <a:lnTo>
                      <a:pt x="0" y="6477"/>
                    </a:lnTo>
                    <a:cubicBezTo>
                      <a:pt x="0" y="2894"/>
                      <a:pt x="2894" y="0"/>
                      <a:pt x="6477" y="0"/>
                    </a:cubicBezTo>
                    <a:cubicBezTo>
                      <a:pt x="10059" y="0"/>
                      <a:pt x="12953" y="2894"/>
                      <a:pt x="12953" y="6477"/>
                    </a:cubicBezTo>
                    <a:lnTo>
                      <a:pt x="12953" y="71328"/>
                    </a:lnTo>
                    <a:cubicBezTo>
                      <a:pt x="12953" y="74881"/>
                      <a:pt x="10059" y="77804"/>
                      <a:pt x="6477" y="77804"/>
                    </a:cubicBezTo>
                    <a:close/>
                  </a:path>
                </a:pathLst>
              </a:custGeom>
              <a:solidFill>
                <a:schemeClr val="tx2"/>
              </a:solidFill>
              <a:ln w="2860" cap="flat">
                <a:noFill/>
                <a:prstDash val="solid"/>
                <a:miter/>
              </a:ln>
            </p:spPr>
            <p:txBody>
              <a:bodyPr rtlCol="0" anchor="ctr"/>
              <a:lstStyle/>
              <a:p>
                <a:endParaRPr lang="en-GB" dirty="0"/>
              </a:p>
            </p:txBody>
          </p:sp>
          <p:sp>
            <p:nvSpPr>
              <p:cNvPr id="84" name="Freihandform: Form 356">
                <a:extLst>
                  <a:ext uri="{FF2B5EF4-FFF2-40B4-BE49-F238E27FC236}">
                    <a16:creationId xmlns:a16="http://schemas.microsoft.com/office/drawing/2014/main" id="{2B883545-D849-42CB-AFF0-972FF5EE2756}"/>
                  </a:ext>
                </a:extLst>
              </p:cNvPr>
              <p:cNvSpPr/>
              <p:nvPr/>
            </p:nvSpPr>
            <p:spPr>
              <a:xfrm>
                <a:off x="3486221" y="1814748"/>
                <a:ext cx="181501" cy="272359"/>
              </a:xfrm>
              <a:custGeom>
                <a:avLst/>
                <a:gdLst>
                  <a:gd name="connsiteX0" fmla="*/ 175091 w 181501"/>
                  <a:gd name="connsiteY0" fmla="*/ 272357 h 272359"/>
                  <a:gd name="connsiteX1" fmla="*/ 168672 w 181501"/>
                  <a:gd name="connsiteY1" fmla="*/ 266683 h 272359"/>
                  <a:gd name="connsiteX2" fmla="*/ 136949 w 181501"/>
                  <a:gd name="connsiteY2" fmla="*/ 13010 h 272359"/>
                  <a:gd name="connsiteX3" fmla="*/ 44644 w 181501"/>
                  <a:gd name="connsiteY3" fmla="*/ 13010 h 272359"/>
                  <a:gd name="connsiteX4" fmla="*/ 12921 w 181501"/>
                  <a:gd name="connsiteY4" fmla="*/ 266683 h 272359"/>
                  <a:gd name="connsiteX5" fmla="*/ 5671 w 181501"/>
                  <a:gd name="connsiteY5" fmla="*/ 272300 h 272359"/>
                  <a:gd name="connsiteX6" fmla="*/ 54 w 181501"/>
                  <a:gd name="connsiteY6" fmla="*/ 265050 h 272359"/>
                  <a:gd name="connsiteX7" fmla="*/ 32465 w 181501"/>
                  <a:gd name="connsiteY7" fmla="*/ 5674 h 272359"/>
                  <a:gd name="connsiteX8" fmla="*/ 38884 w 181501"/>
                  <a:gd name="connsiteY8" fmla="*/ 0 h 272359"/>
                  <a:gd name="connsiteX9" fmla="*/ 142623 w 181501"/>
                  <a:gd name="connsiteY9" fmla="*/ 0 h 272359"/>
                  <a:gd name="connsiteX10" fmla="*/ 149042 w 181501"/>
                  <a:gd name="connsiteY10" fmla="*/ 5674 h 272359"/>
                  <a:gd name="connsiteX11" fmla="*/ 181453 w 181501"/>
                  <a:gd name="connsiteY11" fmla="*/ 265050 h 272359"/>
                  <a:gd name="connsiteX12" fmla="*/ 175837 w 181501"/>
                  <a:gd name="connsiteY12" fmla="*/ 272300 h 272359"/>
                  <a:gd name="connsiteX13" fmla="*/ 175091 w 181501"/>
                  <a:gd name="connsiteY13" fmla="*/ 272357 h 272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1501" h="272359">
                    <a:moveTo>
                      <a:pt x="175091" y="272357"/>
                    </a:moveTo>
                    <a:cubicBezTo>
                      <a:pt x="171882" y="272357"/>
                      <a:pt x="169073" y="269950"/>
                      <a:pt x="168672" y="266683"/>
                    </a:cubicBezTo>
                    <a:lnTo>
                      <a:pt x="136949" y="13010"/>
                    </a:lnTo>
                    <a:lnTo>
                      <a:pt x="44644" y="13010"/>
                    </a:lnTo>
                    <a:lnTo>
                      <a:pt x="12921" y="266683"/>
                    </a:lnTo>
                    <a:cubicBezTo>
                      <a:pt x="12491" y="270236"/>
                      <a:pt x="9253" y="272787"/>
                      <a:pt x="5671" y="272300"/>
                    </a:cubicBezTo>
                    <a:cubicBezTo>
                      <a:pt x="2117" y="271870"/>
                      <a:pt x="-405" y="268603"/>
                      <a:pt x="54" y="265050"/>
                    </a:cubicBezTo>
                    <a:lnTo>
                      <a:pt x="32465" y="5674"/>
                    </a:lnTo>
                    <a:cubicBezTo>
                      <a:pt x="32866" y="2436"/>
                      <a:pt x="35617" y="0"/>
                      <a:pt x="38884" y="0"/>
                    </a:cubicBezTo>
                    <a:lnTo>
                      <a:pt x="142623" y="0"/>
                    </a:lnTo>
                    <a:cubicBezTo>
                      <a:pt x="145890" y="0"/>
                      <a:pt x="148641" y="2436"/>
                      <a:pt x="149042" y="5674"/>
                    </a:cubicBezTo>
                    <a:lnTo>
                      <a:pt x="181453" y="265050"/>
                    </a:lnTo>
                    <a:cubicBezTo>
                      <a:pt x="181883" y="268603"/>
                      <a:pt x="179390" y="271841"/>
                      <a:pt x="175837" y="272300"/>
                    </a:cubicBezTo>
                    <a:cubicBezTo>
                      <a:pt x="175636" y="272357"/>
                      <a:pt x="175349" y="272357"/>
                      <a:pt x="175091" y="272357"/>
                    </a:cubicBezTo>
                    <a:close/>
                  </a:path>
                </a:pathLst>
              </a:custGeom>
              <a:solidFill>
                <a:schemeClr val="tx2"/>
              </a:solidFill>
              <a:ln w="2860" cap="flat">
                <a:noFill/>
                <a:prstDash val="solid"/>
                <a:miter/>
              </a:ln>
            </p:spPr>
            <p:txBody>
              <a:bodyPr rtlCol="0" anchor="ctr"/>
              <a:lstStyle/>
              <a:p>
                <a:endParaRPr lang="en-GB" dirty="0"/>
              </a:p>
            </p:txBody>
          </p:sp>
          <p:sp>
            <p:nvSpPr>
              <p:cNvPr id="85" name="Freihandform: Form 357">
                <a:extLst>
                  <a:ext uri="{FF2B5EF4-FFF2-40B4-BE49-F238E27FC236}">
                    <a16:creationId xmlns:a16="http://schemas.microsoft.com/office/drawing/2014/main" id="{5E2349A1-0F1E-4A35-B949-2FEF8FF880BF}"/>
                  </a:ext>
                </a:extLst>
              </p:cNvPr>
              <p:cNvSpPr/>
              <p:nvPr/>
            </p:nvSpPr>
            <p:spPr>
              <a:xfrm>
                <a:off x="3518686" y="1659169"/>
                <a:ext cx="116691" cy="77804"/>
              </a:xfrm>
              <a:custGeom>
                <a:avLst/>
                <a:gdLst>
                  <a:gd name="connsiteX0" fmla="*/ 110215 w 116691"/>
                  <a:gd name="connsiteY0" fmla="*/ 77804 h 77804"/>
                  <a:gd name="connsiteX1" fmla="*/ 6477 w 116691"/>
                  <a:gd name="connsiteY1" fmla="*/ 77804 h 77804"/>
                  <a:gd name="connsiteX2" fmla="*/ 0 w 116691"/>
                  <a:gd name="connsiteY2" fmla="*/ 71328 h 77804"/>
                  <a:gd name="connsiteX3" fmla="*/ 0 w 116691"/>
                  <a:gd name="connsiteY3" fmla="*/ 58346 h 77804"/>
                  <a:gd name="connsiteX4" fmla="*/ 58346 w 116691"/>
                  <a:gd name="connsiteY4" fmla="*/ 0 h 77804"/>
                  <a:gd name="connsiteX5" fmla="*/ 116692 w 116691"/>
                  <a:gd name="connsiteY5" fmla="*/ 58346 h 77804"/>
                  <a:gd name="connsiteX6" fmla="*/ 116692 w 116691"/>
                  <a:gd name="connsiteY6" fmla="*/ 71328 h 77804"/>
                  <a:gd name="connsiteX7" fmla="*/ 110215 w 116691"/>
                  <a:gd name="connsiteY7" fmla="*/ 77804 h 77804"/>
                  <a:gd name="connsiteX8" fmla="*/ 12953 w 116691"/>
                  <a:gd name="connsiteY8" fmla="*/ 64851 h 77804"/>
                  <a:gd name="connsiteX9" fmla="*/ 103739 w 116691"/>
                  <a:gd name="connsiteY9" fmla="*/ 64851 h 77804"/>
                  <a:gd name="connsiteX10" fmla="*/ 103739 w 116691"/>
                  <a:gd name="connsiteY10" fmla="*/ 58375 h 77804"/>
                  <a:gd name="connsiteX11" fmla="*/ 58346 w 116691"/>
                  <a:gd name="connsiteY11" fmla="*/ 12982 h 77804"/>
                  <a:gd name="connsiteX12" fmla="*/ 12953 w 116691"/>
                  <a:gd name="connsiteY12" fmla="*/ 58375 h 77804"/>
                  <a:gd name="connsiteX13" fmla="*/ 12953 w 116691"/>
                  <a:gd name="connsiteY13" fmla="*/ 64851 h 7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691" h="77804">
                    <a:moveTo>
                      <a:pt x="110215" y="77804"/>
                    </a:moveTo>
                    <a:lnTo>
                      <a:pt x="6477" y="77804"/>
                    </a:lnTo>
                    <a:cubicBezTo>
                      <a:pt x="2894" y="77804"/>
                      <a:pt x="0" y="74910"/>
                      <a:pt x="0" y="71328"/>
                    </a:cubicBezTo>
                    <a:lnTo>
                      <a:pt x="0" y="58346"/>
                    </a:lnTo>
                    <a:cubicBezTo>
                      <a:pt x="0" y="26164"/>
                      <a:pt x="26164" y="0"/>
                      <a:pt x="58346" y="0"/>
                    </a:cubicBezTo>
                    <a:cubicBezTo>
                      <a:pt x="90528" y="0"/>
                      <a:pt x="116692" y="26164"/>
                      <a:pt x="116692" y="58346"/>
                    </a:cubicBezTo>
                    <a:lnTo>
                      <a:pt x="116692" y="71328"/>
                    </a:lnTo>
                    <a:cubicBezTo>
                      <a:pt x="116692" y="74910"/>
                      <a:pt x="113797" y="77804"/>
                      <a:pt x="110215" y="77804"/>
                    </a:cubicBezTo>
                    <a:close/>
                    <a:moveTo>
                      <a:pt x="12953" y="64851"/>
                    </a:moveTo>
                    <a:lnTo>
                      <a:pt x="103739" y="64851"/>
                    </a:lnTo>
                    <a:lnTo>
                      <a:pt x="103739" y="58375"/>
                    </a:lnTo>
                    <a:cubicBezTo>
                      <a:pt x="103739" y="33357"/>
                      <a:pt x="83364" y="12982"/>
                      <a:pt x="58346" y="12982"/>
                    </a:cubicBezTo>
                    <a:cubicBezTo>
                      <a:pt x="33328" y="12982"/>
                      <a:pt x="12953" y="33357"/>
                      <a:pt x="12953" y="58375"/>
                    </a:cubicBezTo>
                    <a:lnTo>
                      <a:pt x="12953" y="64851"/>
                    </a:lnTo>
                    <a:close/>
                  </a:path>
                </a:pathLst>
              </a:custGeom>
              <a:solidFill>
                <a:schemeClr val="tx2"/>
              </a:solidFill>
              <a:ln w="2860" cap="flat">
                <a:noFill/>
                <a:prstDash val="solid"/>
                <a:miter/>
              </a:ln>
            </p:spPr>
            <p:txBody>
              <a:bodyPr rtlCol="0" anchor="ctr"/>
              <a:lstStyle/>
              <a:p>
                <a:endParaRPr lang="en-GB" dirty="0"/>
              </a:p>
            </p:txBody>
          </p:sp>
          <p:sp>
            <p:nvSpPr>
              <p:cNvPr id="86" name="Freihandform: Form 358">
                <a:extLst>
                  <a:ext uri="{FF2B5EF4-FFF2-40B4-BE49-F238E27FC236}">
                    <a16:creationId xmlns:a16="http://schemas.microsoft.com/office/drawing/2014/main" id="{CB87D7C8-F12B-4F04-8DD2-5C64184C3517}"/>
                  </a:ext>
                </a:extLst>
              </p:cNvPr>
              <p:cNvSpPr/>
              <p:nvPr/>
            </p:nvSpPr>
            <p:spPr>
              <a:xfrm>
                <a:off x="3551097" y="1749954"/>
                <a:ext cx="51869" cy="51869"/>
              </a:xfrm>
              <a:custGeom>
                <a:avLst/>
                <a:gdLst>
                  <a:gd name="connsiteX0" fmla="*/ 25935 w 51869"/>
                  <a:gd name="connsiteY0" fmla="*/ 51869 h 51869"/>
                  <a:gd name="connsiteX1" fmla="*/ 0 w 51869"/>
                  <a:gd name="connsiteY1" fmla="*/ 25935 h 51869"/>
                  <a:gd name="connsiteX2" fmla="*/ 25935 w 51869"/>
                  <a:gd name="connsiteY2" fmla="*/ 0 h 51869"/>
                  <a:gd name="connsiteX3" fmla="*/ 51869 w 51869"/>
                  <a:gd name="connsiteY3" fmla="*/ 25935 h 51869"/>
                  <a:gd name="connsiteX4" fmla="*/ 25935 w 51869"/>
                  <a:gd name="connsiteY4" fmla="*/ 51869 h 51869"/>
                  <a:gd name="connsiteX5" fmla="*/ 25935 w 51869"/>
                  <a:gd name="connsiteY5" fmla="*/ 12953 h 51869"/>
                  <a:gd name="connsiteX6" fmla="*/ 12953 w 51869"/>
                  <a:gd name="connsiteY6" fmla="*/ 25935 h 51869"/>
                  <a:gd name="connsiteX7" fmla="*/ 25935 w 51869"/>
                  <a:gd name="connsiteY7" fmla="*/ 38916 h 51869"/>
                  <a:gd name="connsiteX8" fmla="*/ 38916 w 51869"/>
                  <a:gd name="connsiteY8" fmla="*/ 25935 h 51869"/>
                  <a:gd name="connsiteX9" fmla="*/ 25935 w 51869"/>
                  <a:gd name="connsiteY9" fmla="*/ 12953 h 5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69" h="51869">
                    <a:moveTo>
                      <a:pt x="25935" y="51869"/>
                    </a:moveTo>
                    <a:cubicBezTo>
                      <a:pt x="11635" y="51869"/>
                      <a:pt x="0" y="40235"/>
                      <a:pt x="0" y="25935"/>
                    </a:cubicBezTo>
                    <a:cubicBezTo>
                      <a:pt x="0" y="11635"/>
                      <a:pt x="11635" y="0"/>
                      <a:pt x="25935" y="0"/>
                    </a:cubicBezTo>
                    <a:cubicBezTo>
                      <a:pt x="40235" y="0"/>
                      <a:pt x="51869" y="11635"/>
                      <a:pt x="51869" y="25935"/>
                    </a:cubicBezTo>
                    <a:cubicBezTo>
                      <a:pt x="51869" y="40235"/>
                      <a:pt x="40235" y="51869"/>
                      <a:pt x="25935" y="51869"/>
                    </a:cubicBezTo>
                    <a:close/>
                    <a:moveTo>
                      <a:pt x="25935" y="12953"/>
                    </a:moveTo>
                    <a:cubicBezTo>
                      <a:pt x="18799" y="12953"/>
                      <a:pt x="12953" y="18770"/>
                      <a:pt x="12953" y="25935"/>
                    </a:cubicBezTo>
                    <a:cubicBezTo>
                      <a:pt x="12953" y="33099"/>
                      <a:pt x="18770" y="38916"/>
                      <a:pt x="25935" y="38916"/>
                    </a:cubicBezTo>
                    <a:cubicBezTo>
                      <a:pt x="33070" y="38916"/>
                      <a:pt x="38916" y="33099"/>
                      <a:pt x="38916" y="25935"/>
                    </a:cubicBezTo>
                    <a:cubicBezTo>
                      <a:pt x="38888" y="18770"/>
                      <a:pt x="33070" y="12953"/>
                      <a:pt x="25935" y="12953"/>
                    </a:cubicBezTo>
                    <a:close/>
                  </a:path>
                </a:pathLst>
              </a:custGeom>
              <a:solidFill>
                <a:schemeClr val="tx2"/>
              </a:solidFill>
              <a:ln w="2860" cap="flat">
                <a:noFill/>
                <a:prstDash val="solid"/>
                <a:miter/>
              </a:ln>
            </p:spPr>
            <p:txBody>
              <a:bodyPr rtlCol="0" anchor="ctr"/>
              <a:lstStyle/>
              <a:p>
                <a:endParaRPr lang="en-GB" dirty="0"/>
              </a:p>
            </p:txBody>
          </p:sp>
          <p:sp>
            <p:nvSpPr>
              <p:cNvPr id="87" name="Freihandform: Form 359">
                <a:extLst>
                  <a:ext uri="{FF2B5EF4-FFF2-40B4-BE49-F238E27FC236}">
                    <a16:creationId xmlns:a16="http://schemas.microsoft.com/office/drawing/2014/main" id="{8B56BE97-DB32-470F-B32F-F0D7FDBFE7CB}"/>
                  </a:ext>
                </a:extLst>
              </p:cNvPr>
              <p:cNvSpPr/>
              <p:nvPr/>
            </p:nvSpPr>
            <p:spPr>
              <a:xfrm>
                <a:off x="3518686" y="1840740"/>
                <a:ext cx="116691" cy="12953"/>
              </a:xfrm>
              <a:custGeom>
                <a:avLst/>
                <a:gdLst>
                  <a:gd name="connsiteX0" fmla="*/ 110215 w 116691"/>
                  <a:gd name="connsiteY0" fmla="*/ 12953 h 12953"/>
                  <a:gd name="connsiteX1" fmla="*/ 6477 w 116691"/>
                  <a:gd name="connsiteY1" fmla="*/ 12953 h 12953"/>
                  <a:gd name="connsiteX2" fmla="*/ 0 w 116691"/>
                  <a:gd name="connsiteY2" fmla="*/ 6477 h 12953"/>
                  <a:gd name="connsiteX3" fmla="*/ 6477 w 116691"/>
                  <a:gd name="connsiteY3" fmla="*/ 0 h 12953"/>
                  <a:gd name="connsiteX4" fmla="*/ 110215 w 116691"/>
                  <a:gd name="connsiteY4" fmla="*/ 0 h 12953"/>
                  <a:gd name="connsiteX5" fmla="*/ 116692 w 116691"/>
                  <a:gd name="connsiteY5" fmla="*/ 6477 h 12953"/>
                  <a:gd name="connsiteX6" fmla="*/ 110215 w 116691"/>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691" h="12953">
                    <a:moveTo>
                      <a:pt x="110215" y="12953"/>
                    </a:moveTo>
                    <a:lnTo>
                      <a:pt x="6477" y="12953"/>
                    </a:lnTo>
                    <a:cubicBezTo>
                      <a:pt x="2894" y="12953"/>
                      <a:pt x="0" y="10059"/>
                      <a:pt x="0" y="6477"/>
                    </a:cubicBezTo>
                    <a:cubicBezTo>
                      <a:pt x="0" y="2894"/>
                      <a:pt x="2894" y="0"/>
                      <a:pt x="6477" y="0"/>
                    </a:cubicBezTo>
                    <a:lnTo>
                      <a:pt x="110215" y="0"/>
                    </a:lnTo>
                    <a:cubicBezTo>
                      <a:pt x="113797" y="0"/>
                      <a:pt x="116692" y="2894"/>
                      <a:pt x="116692" y="6477"/>
                    </a:cubicBezTo>
                    <a:cubicBezTo>
                      <a:pt x="116692" y="10059"/>
                      <a:pt x="113797" y="12953"/>
                      <a:pt x="110215" y="12953"/>
                    </a:cubicBezTo>
                    <a:close/>
                  </a:path>
                </a:pathLst>
              </a:custGeom>
              <a:solidFill>
                <a:schemeClr val="tx2"/>
              </a:solidFill>
              <a:ln w="2860" cap="flat">
                <a:noFill/>
                <a:prstDash val="solid"/>
                <a:miter/>
              </a:ln>
            </p:spPr>
            <p:txBody>
              <a:bodyPr rtlCol="0" anchor="ctr"/>
              <a:lstStyle/>
              <a:p>
                <a:endParaRPr lang="en-GB" dirty="0"/>
              </a:p>
            </p:txBody>
          </p:sp>
          <p:sp>
            <p:nvSpPr>
              <p:cNvPr id="88" name="Freihandform: Form 360">
                <a:extLst>
                  <a:ext uri="{FF2B5EF4-FFF2-40B4-BE49-F238E27FC236}">
                    <a16:creationId xmlns:a16="http://schemas.microsoft.com/office/drawing/2014/main" id="{B43C9AC9-0B01-44AA-ADA3-96F82C1B801D}"/>
                  </a:ext>
                </a:extLst>
              </p:cNvPr>
              <p:cNvSpPr/>
              <p:nvPr/>
            </p:nvSpPr>
            <p:spPr>
              <a:xfrm>
                <a:off x="3505432" y="1881690"/>
                <a:ext cx="135547" cy="83565"/>
              </a:xfrm>
              <a:custGeom>
                <a:avLst/>
                <a:gdLst>
                  <a:gd name="connsiteX0" fmla="*/ 6491 w 135547"/>
                  <a:gd name="connsiteY0" fmla="*/ 83565 h 83565"/>
                  <a:gd name="connsiteX1" fmla="*/ 874 w 135547"/>
                  <a:gd name="connsiteY1" fmla="*/ 80327 h 83565"/>
                  <a:gd name="connsiteX2" fmla="*/ 3252 w 135547"/>
                  <a:gd name="connsiteY2" fmla="*/ 71472 h 83565"/>
                  <a:gd name="connsiteX3" fmla="*/ 125819 w 135547"/>
                  <a:gd name="connsiteY3" fmla="*/ 861 h 83565"/>
                  <a:gd name="connsiteX4" fmla="*/ 134674 w 135547"/>
                  <a:gd name="connsiteY4" fmla="*/ 3239 h 83565"/>
                  <a:gd name="connsiteX5" fmla="*/ 132295 w 135547"/>
                  <a:gd name="connsiteY5" fmla="*/ 12095 h 83565"/>
                  <a:gd name="connsiteX6" fmla="*/ 9729 w 135547"/>
                  <a:gd name="connsiteY6" fmla="*/ 82706 h 83565"/>
                  <a:gd name="connsiteX7" fmla="*/ 6491 w 135547"/>
                  <a:gd name="connsiteY7" fmla="*/ 83565 h 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547" h="83565">
                    <a:moveTo>
                      <a:pt x="6491" y="83565"/>
                    </a:moveTo>
                    <a:cubicBezTo>
                      <a:pt x="4255" y="83565"/>
                      <a:pt x="2077" y="82390"/>
                      <a:pt x="874" y="80327"/>
                    </a:cubicBezTo>
                    <a:cubicBezTo>
                      <a:pt x="-932" y="77232"/>
                      <a:pt x="157" y="73249"/>
                      <a:pt x="3252" y="71472"/>
                    </a:cubicBezTo>
                    <a:lnTo>
                      <a:pt x="125819" y="861"/>
                    </a:lnTo>
                    <a:cubicBezTo>
                      <a:pt x="128914" y="-916"/>
                      <a:pt x="132897" y="145"/>
                      <a:pt x="134674" y="3239"/>
                    </a:cubicBezTo>
                    <a:cubicBezTo>
                      <a:pt x="136479" y="6334"/>
                      <a:pt x="135390" y="10318"/>
                      <a:pt x="132295" y="12095"/>
                    </a:cubicBezTo>
                    <a:lnTo>
                      <a:pt x="9729" y="82706"/>
                    </a:lnTo>
                    <a:cubicBezTo>
                      <a:pt x="8697" y="83307"/>
                      <a:pt x="7580" y="83565"/>
                      <a:pt x="6491" y="83565"/>
                    </a:cubicBezTo>
                    <a:close/>
                  </a:path>
                </a:pathLst>
              </a:custGeom>
              <a:solidFill>
                <a:schemeClr val="tx2"/>
              </a:solidFill>
              <a:ln w="2860" cap="flat">
                <a:noFill/>
                <a:prstDash val="solid"/>
                <a:miter/>
              </a:ln>
            </p:spPr>
            <p:txBody>
              <a:bodyPr rtlCol="0" anchor="ctr"/>
              <a:lstStyle/>
              <a:p>
                <a:endParaRPr lang="en-GB" dirty="0"/>
              </a:p>
            </p:txBody>
          </p:sp>
          <p:sp>
            <p:nvSpPr>
              <p:cNvPr id="89" name="Freihandform: Form 361">
                <a:extLst>
                  <a:ext uri="{FF2B5EF4-FFF2-40B4-BE49-F238E27FC236}">
                    <a16:creationId xmlns:a16="http://schemas.microsoft.com/office/drawing/2014/main" id="{9C7B433C-2EED-4414-8FEC-0EEAFC55A0DC}"/>
                  </a:ext>
                </a:extLst>
              </p:cNvPr>
              <p:cNvSpPr/>
              <p:nvPr/>
            </p:nvSpPr>
            <p:spPr>
              <a:xfrm>
                <a:off x="3510296" y="1838754"/>
                <a:ext cx="127251" cy="79245"/>
              </a:xfrm>
              <a:custGeom>
                <a:avLst/>
                <a:gdLst>
                  <a:gd name="connsiteX0" fmla="*/ 6498 w 127251"/>
                  <a:gd name="connsiteY0" fmla="*/ 79245 h 79245"/>
                  <a:gd name="connsiteX1" fmla="*/ 881 w 127251"/>
                  <a:gd name="connsiteY1" fmla="*/ 76007 h 79245"/>
                  <a:gd name="connsiteX2" fmla="*/ 3231 w 127251"/>
                  <a:gd name="connsiteY2" fmla="*/ 67152 h 79245"/>
                  <a:gd name="connsiteX3" fmla="*/ 117515 w 127251"/>
                  <a:gd name="connsiteY3" fmla="*/ 868 h 79245"/>
                  <a:gd name="connsiteX4" fmla="*/ 126370 w 127251"/>
                  <a:gd name="connsiteY4" fmla="*/ 3218 h 79245"/>
                  <a:gd name="connsiteX5" fmla="*/ 124020 w 127251"/>
                  <a:gd name="connsiteY5" fmla="*/ 12073 h 79245"/>
                  <a:gd name="connsiteX6" fmla="*/ 9736 w 127251"/>
                  <a:gd name="connsiteY6" fmla="*/ 78357 h 79245"/>
                  <a:gd name="connsiteX7" fmla="*/ 6498 w 127251"/>
                  <a:gd name="connsiteY7" fmla="*/ 79245 h 79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7251" h="79245">
                    <a:moveTo>
                      <a:pt x="6498" y="79245"/>
                    </a:moveTo>
                    <a:cubicBezTo>
                      <a:pt x="4263" y="79245"/>
                      <a:pt x="2085" y="78099"/>
                      <a:pt x="881" y="76007"/>
                    </a:cubicBezTo>
                    <a:cubicBezTo>
                      <a:pt x="-924" y="72912"/>
                      <a:pt x="136" y="68929"/>
                      <a:pt x="3231" y="67152"/>
                    </a:cubicBezTo>
                    <a:lnTo>
                      <a:pt x="117515" y="868"/>
                    </a:lnTo>
                    <a:cubicBezTo>
                      <a:pt x="120610" y="-908"/>
                      <a:pt x="124594" y="123"/>
                      <a:pt x="126370" y="3218"/>
                    </a:cubicBezTo>
                    <a:cubicBezTo>
                      <a:pt x="128176" y="6313"/>
                      <a:pt x="127116" y="10296"/>
                      <a:pt x="124020" y="12073"/>
                    </a:cubicBezTo>
                    <a:lnTo>
                      <a:pt x="9736" y="78357"/>
                    </a:lnTo>
                    <a:cubicBezTo>
                      <a:pt x="8704" y="78959"/>
                      <a:pt x="7587" y="79245"/>
                      <a:pt x="6498" y="79245"/>
                    </a:cubicBezTo>
                    <a:close/>
                  </a:path>
                </a:pathLst>
              </a:custGeom>
              <a:solidFill>
                <a:schemeClr val="tx2"/>
              </a:solidFill>
              <a:ln w="2860" cap="flat">
                <a:noFill/>
                <a:prstDash val="solid"/>
                <a:miter/>
              </a:ln>
            </p:spPr>
            <p:txBody>
              <a:bodyPr rtlCol="0" anchor="ctr"/>
              <a:lstStyle/>
              <a:p>
                <a:endParaRPr lang="en-GB" dirty="0"/>
              </a:p>
            </p:txBody>
          </p:sp>
          <p:sp>
            <p:nvSpPr>
              <p:cNvPr id="90" name="Freihandform: Form 362">
                <a:extLst>
                  <a:ext uri="{FF2B5EF4-FFF2-40B4-BE49-F238E27FC236}">
                    <a16:creationId xmlns:a16="http://schemas.microsoft.com/office/drawing/2014/main" id="{4B5943EB-7BBC-4EE0-B41A-AE58826BF292}"/>
                  </a:ext>
                </a:extLst>
              </p:cNvPr>
              <p:cNvSpPr/>
              <p:nvPr/>
            </p:nvSpPr>
            <p:spPr>
              <a:xfrm>
                <a:off x="3498640" y="1936406"/>
                <a:ext cx="149417" cy="91751"/>
              </a:xfrm>
              <a:custGeom>
                <a:avLst/>
                <a:gdLst>
                  <a:gd name="connsiteX0" fmla="*/ 6491 w 149417"/>
                  <a:gd name="connsiteY0" fmla="*/ 91752 h 91751"/>
                  <a:gd name="connsiteX1" fmla="*/ 874 w 149417"/>
                  <a:gd name="connsiteY1" fmla="*/ 88513 h 91751"/>
                  <a:gd name="connsiteX2" fmla="*/ 3252 w 149417"/>
                  <a:gd name="connsiteY2" fmla="*/ 79658 h 91751"/>
                  <a:gd name="connsiteX3" fmla="*/ 139689 w 149417"/>
                  <a:gd name="connsiteY3" fmla="*/ 880 h 91751"/>
                  <a:gd name="connsiteX4" fmla="*/ 148544 w 149417"/>
                  <a:gd name="connsiteY4" fmla="*/ 3258 h 91751"/>
                  <a:gd name="connsiteX5" fmla="*/ 146165 w 149417"/>
                  <a:gd name="connsiteY5" fmla="*/ 12114 h 91751"/>
                  <a:gd name="connsiteX6" fmla="*/ 9729 w 149417"/>
                  <a:gd name="connsiteY6" fmla="*/ 90892 h 91751"/>
                  <a:gd name="connsiteX7" fmla="*/ 6491 w 149417"/>
                  <a:gd name="connsiteY7" fmla="*/ 91752 h 9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9417" h="91751">
                    <a:moveTo>
                      <a:pt x="6491" y="91752"/>
                    </a:moveTo>
                    <a:cubicBezTo>
                      <a:pt x="4255" y="91752"/>
                      <a:pt x="2077" y="90577"/>
                      <a:pt x="874" y="88513"/>
                    </a:cubicBezTo>
                    <a:cubicBezTo>
                      <a:pt x="-932" y="85418"/>
                      <a:pt x="157" y="81435"/>
                      <a:pt x="3252" y="79658"/>
                    </a:cubicBezTo>
                    <a:lnTo>
                      <a:pt x="139689" y="880"/>
                    </a:lnTo>
                    <a:cubicBezTo>
                      <a:pt x="142784" y="-925"/>
                      <a:pt x="146738" y="135"/>
                      <a:pt x="148544" y="3258"/>
                    </a:cubicBezTo>
                    <a:cubicBezTo>
                      <a:pt x="150349" y="6353"/>
                      <a:pt x="149260" y="10337"/>
                      <a:pt x="146165" y="12114"/>
                    </a:cubicBezTo>
                    <a:lnTo>
                      <a:pt x="9729" y="90892"/>
                    </a:lnTo>
                    <a:cubicBezTo>
                      <a:pt x="8726" y="91465"/>
                      <a:pt x="7608" y="91752"/>
                      <a:pt x="6491" y="91752"/>
                    </a:cubicBezTo>
                    <a:close/>
                  </a:path>
                </a:pathLst>
              </a:custGeom>
              <a:solidFill>
                <a:schemeClr val="tx2"/>
              </a:solidFill>
              <a:ln w="2860" cap="flat">
                <a:noFill/>
                <a:prstDash val="solid"/>
                <a:miter/>
              </a:ln>
            </p:spPr>
            <p:txBody>
              <a:bodyPr rtlCol="0" anchor="ctr"/>
              <a:lstStyle/>
              <a:p>
                <a:endParaRPr lang="en-GB" dirty="0"/>
              </a:p>
            </p:txBody>
          </p:sp>
          <p:sp>
            <p:nvSpPr>
              <p:cNvPr id="91" name="Freihandform: Form 363">
                <a:extLst>
                  <a:ext uri="{FF2B5EF4-FFF2-40B4-BE49-F238E27FC236}">
                    <a16:creationId xmlns:a16="http://schemas.microsoft.com/office/drawing/2014/main" id="{15FF2E01-B70F-4F9D-9F26-A4893047828E}"/>
                  </a:ext>
                </a:extLst>
              </p:cNvPr>
              <p:cNvSpPr/>
              <p:nvPr/>
            </p:nvSpPr>
            <p:spPr>
              <a:xfrm>
                <a:off x="3493625" y="1979512"/>
                <a:ext cx="157613" cy="96473"/>
              </a:xfrm>
              <a:custGeom>
                <a:avLst/>
                <a:gdLst>
                  <a:gd name="connsiteX0" fmla="*/ 6491 w 157613"/>
                  <a:gd name="connsiteY0" fmla="*/ 96474 h 96473"/>
                  <a:gd name="connsiteX1" fmla="*/ 874 w 157613"/>
                  <a:gd name="connsiteY1" fmla="*/ 93236 h 96473"/>
                  <a:gd name="connsiteX2" fmla="*/ 3252 w 157613"/>
                  <a:gd name="connsiteY2" fmla="*/ 84380 h 96473"/>
                  <a:gd name="connsiteX3" fmla="*/ 147885 w 157613"/>
                  <a:gd name="connsiteY3" fmla="*/ 874 h 96473"/>
                  <a:gd name="connsiteX4" fmla="*/ 156740 w 157613"/>
                  <a:gd name="connsiteY4" fmla="*/ 3252 h 96473"/>
                  <a:gd name="connsiteX5" fmla="*/ 154361 w 157613"/>
                  <a:gd name="connsiteY5" fmla="*/ 12107 h 96473"/>
                  <a:gd name="connsiteX6" fmla="*/ 9729 w 157613"/>
                  <a:gd name="connsiteY6" fmla="*/ 95614 h 96473"/>
                  <a:gd name="connsiteX7" fmla="*/ 6491 w 157613"/>
                  <a:gd name="connsiteY7" fmla="*/ 96474 h 9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613" h="96473">
                    <a:moveTo>
                      <a:pt x="6491" y="96474"/>
                    </a:moveTo>
                    <a:cubicBezTo>
                      <a:pt x="4255" y="96474"/>
                      <a:pt x="2077" y="95299"/>
                      <a:pt x="874" y="93236"/>
                    </a:cubicBezTo>
                    <a:cubicBezTo>
                      <a:pt x="-932" y="90141"/>
                      <a:pt x="157" y="86157"/>
                      <a:pt x="3252" y="84380"/>
                    </a:cubicBezTo>
                    <a:lnTo>
                      <a:pt x="147885" y="874"/>
                    </a:lnTo>
                    <a:cubicBezTo>
                      <a:pt x="150980" y="-932"/>
                      <a:pt x="154934" y="157"/>
                      <a:pt x="156740" y="3252"/>
                    </a:cubicBezTo>
                    <a:cubicBezTo>
                      <a:pt x="158545" y="6347"/>
                      <a:pt x="157456" y="10331"/>
                      <a:pt x="154361" y="12107"/>
                    </a:cubicBezTo>
                    <a:lnTo>
                      <a:pt x="9729" y="95614"/>
                    </a:lnTo>
                    <a:cubicBezTo>
                      <a:pt x="8697" y="96187"/>
                      <a:pt x="7580" y="96474"/>
                      <a:pt x="6491" y="96474"/>
                    </a:cubicBezTo>
                    <a:close/>
                  </a:path>
                </a:pathLst>
              </a:custGeom>
              <a:solidFill>
                <a:schemeClr val="tx2"/>
              </a:solidFill>
              <a:ln w="2860" cap="flat">
                <a:noFill/>
                <a:prstDash val="solid"/>
                <a:miter/>
              </a:ln>
            </p:spPr>
            <p:txBody>
              <a:bodyPr rtlCol="0" anchor="ctr"/>
              <a:lstStyle/>
              <a:p>
                <a:endParaRPr lang="en-GB" dirty="0"/>
              </a:p>
            </p:txBody>
          </p:sp>
        </p:grpSp>
        <p:grpSp>
          <p:nvGrpSpPr>
            <p:cNvPr id="68" name="Gruppieren 984">
              <a:extLst>
                <a:ext uri="{FF2B5EF4-FFF2-40B4-BE49-F238E27FC236}">
                  <a16:creationId xmlns:a16="http://schemas.microsoft.com/office/drawing/2014/main" id="{777104D5-F35F-4B91-A765-E5FCC784093F}"/>
                </a:ext>
              </a:extLst>
            </p:cNvPr>
            <p:cNvGrpSpPr/>
            <p:nvPr/>
          </p:nvGrpSpPr>
          <p:grpSpPr>
            <a:xfrm>
              <a:off x="3382504" y="1691607"/>
              <a:ext cx="389054" cy="175039"/>
              <a:chOff x="3382504" y="1691607"/>
              <a:chExt cx="389054" cy="175039"/>
            </a:xfrm>
          </p:grpSpPr>
          <p:grpSp>
            <p:nvGrpSpPr>
              <p:cNvPr id="69" name="Grafik 218">
                <a:extLst>
                  <a:ext uri="{FF2B5EF4-FFF2-40B4-BE49-F238E27FC236}">
                    <a16:creationId xmlns:a16="http://schemas.microsoft.com/office/drawing/2014/main" id="{9516FC80-845C-4A9A-BF78-54E9C99002BB}"/>
                  </a:ext>
                </a:extLst>
              </p:cNvPr>
              <p:cNvGrpSpPr/>
              <p:nvPr/>
            </p:nvGrpSpPr>
            <p:grpSpPr>
              <a:xfrm>
                <a:off x="3382504" y="1691607"/>
                <a:ext cx="104947" cy="175039"/>
                <a:chOff x="3382504" y="1691607"/>
                <a:chExt cx="104947" cy="175039"/>
              </a:xfrm>
              <a:solidFill>
                <a:schemeClr val="accent1"/>
              </a:solidFill>
            </p:grpSpPr>
            <p:grpSp>
              <p:nvGrpSpPr>
                <p:cNvPr id="75" name="Grafik 218">
                  <a:extLst>
                    <a:ext uri="{FF2B5EF4-FFF2-40B4-BE49-F238E27FC236}">
                      <a16:creationId xmlns:a16="http://schemas.microsoft.com/office/drawing/2014/main" id="{46F14318-3DFE-49D7-A7DF-858A1FC8BB43}"/>
                    </a:ext>
                  </a:extLst>
                </p:cNvPr>
                <p:cNvGrpSpPr/>
                <p:nvPr/>
              </p:nvGrpSpPr>
              <p:grpSpPr>
                <a:xfrm>
                  <a:off x="3382504" y="1691607"/>
                  <a:ext cx="104947" cy="175039"/>
                  <a:chOff x="3382504" y="1691607"/>
                  <a:chExt cx="104947" cy="175039"/>
                </a:xfrm>
                <a:solidFill>
                  <a:schemeClr val="accent1"/>
                </a:solidFill>
              </p:grpSpPr>
              <p:sp>
                <p:nvSpPr>
                  <p:cNvPr id="77" name="Freihandform: Form 366">
                    <a:extLst>
                      <a:ext uri="{FF2B5EF4-FFF2-40B4-BE49-F238E27FC236}">
                        <a16:creationId xmlns:a16="http://schemas.microsoft.com/office/drawing/2014/main" id="{85B90910-8129-4506-A6D4-D65AC3E50613}"/>
                      </a:ext>
                    </a:extLst>
                  </p:cNvPr>
                  <p:cNvSpPr/>
                  <p:nvPr/>
                </p:nvSpPr>
                <p:spPr>
                  <a:xfrm>
                    <a:off x="3382504" y="1795328"/>
                    <a:ext cx="103773" cy="71318"/>
                  </a:xfrm>
                  <a:custGeom>
                    <a:avLst/>
                    <a:gdLst>
                      <a:gd name="connsiteX0" fmla="*/ 6480 w 103773"/>
                      <a:gd name="connsiteY0" fmla="*/ 71318 h 71318"/>
                      <a:gd name="connsiteX1" fmla="*/ 1035 w 103773"/>
                      <a:gd name="connsiteY1" fmla="*/ 68338 h 71318"/>
                      <a:gd name="connsiteX2" fmla="*/ 2984 w 103773"/>
                      <a:gd name="connsiteY2" fmla="*/ 59368 h 71318"/>
                      <a:gd name="connsiteX3" fmla="*/ 93769 w 103773"/>
                      <a:gd name="connsiteY3" fmla="*/ 1022 h 71318"/>
                      <a:gd name="connsiteX4" fmla="*/ 102739 w 103773"/>
                      <a:gd name="connsiteY4" fmla="*/ 2971 h 71318"/>
                      <a:gd name="connsiteX5" fmla="*/ 100790 w 103773"/>
                      <a:gd name="connsiteY5" fmla="*/ 11941 h 71318"/>
                      <a:gd name="connsiteX6" fmla="*/ 10005 w 103773"/>
                      <a:gd name="connsiteY6" fmla="*/ 70286 h 71318"/>
                      <a:gd name="connsiteX7" fmla="*/ 6480 w 103773"/>
                      <a:gd name="connsiteY7" fmla="*/ 71318 h 7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773" h="71318">
                        <a:moveTo>
                          <a:pt x="6480" y="71318"/>
                        </a:moveTo>
                        <a:cubicBezTo>
                          <a:pt x="4359" y="71318"/>
                          <a:pt x="2267" y="70258"/>
                          <a:pt x="1035" y="68338"/>
                        </a:cubicBezTo>
                        <a:cubicBezTo>
                          <a:pt x="-914" y="65329"/>
                          <a:pt x="-25" y="61317"/>
                          <a:pt x="2984" y="59368"/>
                        </a:cubicBezTo>
                        <a:lnTo>
                          <a:pt x="93769" y="1022"/>
                        </a:lnTo>
                        <a:cubicBezTo>
                          <a:pt x="96807" y="-898"/>
                          <a:pt x="100790" y="-38"/>
                          <a:pt x="102739" y="2971"/>
                        </a:cubicBezTo>
                        <a:cubicBezTo>
                          <a:pt x="104688" y="5980"/>
                          <a:pt x="103799" y="9992"/>
                          <a:pt x="100790" y="11941"/>
                        </a:cubicBezTo>
                        <a:lnTo>
                          <a:pt x="10005" y="70286"/>
                        </a:lnTo>
                        <a:cubicBezTo>
                          <a:pt x="8916" y="71003"/>
                          <a:pt x="7683" y="71318"/>
                          <a:pt x="6480" y="71318"/>
                        </a:cubicBezTo>
                        <a:close/>
                      </a:path>
                    </a:pathLst>
                  </a:custGeom>
                  <a:solidFill>
                    <a:schemeClr val="accent1"/>
                  </a:solidFill>
                  <a:ln w="2860" cap="flat">
                    <a:noFill/>
                    <a:prstDash val="solid"/>
                    <a:miter/>
                  </a:ln>
                </p:spPr>
                <p:txBody>
                  <a:bodyPr rtlCol="0" anchor="ctr"/>
                  <a:lstStyle/>
                  <a:p>
                    <a:endParaRPr lang="en-GB" dirty="0"/>
                  </a:p>
                </p:txBody>
              </p:sp>
              <p:sp>
                <p:nvSpPr>
                  <p:cNvPr id="78" name="Freihandform: Form 367">
                    <a:extLst>
                      <a:ext uri="{FF2B5EF4-FFF2-40B4-BE49-F238E27FC236}">
                        <a16:creationId xmlns:a16="http://schemas.microsoft.com/office/drawing/2014/main" id="{1C95A10F-69FE-458A-9305-611B6D29123A}"/>
                      </a:ext>
                    </a:extLst>
                  </p:cNvPr>
                  <p:cNvSpPr/>
                  <p:nvPr/>
                </p:nvSpPr>
                <p:spPr>
                  <a:xfrm>
                    <a:off x="3382505" y="1691607"/>
                    <a:ext cx="104946" cy="64824"/>
                  </a:xfrm>
                  <a:custGeom>
                    <a:avLst/>
                    <a:gdLst>
                      <a:gd name="connsiteX0" fmla="*/ 98468 w 104946"/>
                      <a:gd name="connsiteY0" fmla="*/ 64824 h 64824"/>
                      <a:gd name="connsiteX1" fmla="*/ 95287 w 104946"/>
                      <a:gd name="connsiteY1" fmla="*/ 63993 h 64824"/>
                      <a:gd name="connsiteX2" fmla="*/ 3298 w 104946"/>
                      <a:gd name="connsiteY2" fmla="*/ 12124 h 64824"/>
                      <a:gd name="connsiteX3" fmla="*/ 833 w 104946"/>
                      <a:gd name="connsiteY3" fmla="*/ 3297 h 64824"/>
                      <a:gd name="connsiteX4" fmla="*/ 9659 w 104946"/>
                      <a:gd name="connsiteY4" fmla="*/ 833 h 64824"/>
                      <a:gd name="connsiteX5" fmla="*/ 101649 w 104946"/>
                      <a:gd name="connsiteY5" fmla="*/ 52702 h 64824"/>
                      <a:gd name="connsiteX6" fmla="*/ 104113 w 104946"/>
                      <a:gd name="connsiteY6" fmla="*/ 61529 h 64824"/>
                      <a:gd name="connsiteX7" fmla="*/ 98468 w 104946"/>
                      <a:gd name="connsiteY7" fmla="*/ 64824 h 6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46" h="64824">
                        <a:moveTo>
                          <a:pt x="98468" y="64824"/>
                        </a:moveTo>
                        <a:cubicBezTo>
                          <a:pt x="97379" y="64824"/>
                          <a:pt x="96290" y="64566"/>
                          <a:pt x="95287" y="63993"/>
                        </a:cubicBezTo>
                        <a:lnTo>
                          <a:pt x="3298" y="12124"/>
                        </a:lnTo>
                        <a:cubicBezTo>
                          <a:pt x="174" y="10376"/>
                          <a:pt x="-915" y="6421"/>
                          <a:pt x="833" y="3297"/>
                        </a:cubicBezTo>
                        <a:cubicBezTo>
                          <a:pt x="2581" y="174"/>
                          <a:pt x="6536" y="-915"/>
                          <a:pt x="9659" y="833"/>
                        </a:cubicBezTo>
                        <a:lnTo>
                          <a:pt x="101649" y="52702"/>
                        </a:lnTo>
                        <a:cubicBezTo>
                          <a:pt x="104772" y="54450"/>
                          <a:pt x="105861" y="58405"/>
                          <a:pt x="104113" y="61529"/>
                        </a:cubicBezTo>
                        <a:cubicBezTo>
                          <a:pt x="102938" y="63649"/>
                          <a:pt x="100732" y="64824"/>
                          <a:pt x="98468" y="64824"/>
                        </a:cubicBezTo>
                        <a:close/>
                      </a:path>
                    </a:pathLst>
                  </a:custGeom>
                  <a:solidFill>
                    <a:schemeClr val="accent1"/>
                  </a:solidFill>
                  <a:ln w="2860" cap="flat">
                    <a:noFill/>
                    <a:prstDash val="solid"/>
                    <a:miter/>
                  </a:ln>
                </p:spPr>
                <p:txBody>
                  <a:bodyPr rtlCol="0" anchor="ctr"/>
                  <a:lstStyle/>
                  <a:p>
                    <a:endParaRPr lang="en-GB" dirty="0"/>
                  </a:p>
                </p:txBody>
              </p:sp>
            </p:grpSp>
            <p:sp>
              <p:nvSpPr>
                <p:cNvPr id="76" name="Freihandform: Form 368">
                  <a:extLst>
                    <a:ext uri="{FF2B5EF4-FFF2-40B4-BE49-F238E27FC236}">
                      <a16:creationId xmlns:a16="http://schemas.microsoft.com/office/drawing/2014/main" id="{31E38B90-0A50-498C-BBA7-8E31B94E76E2}"/>
                    </a:ext>
                  </a:extLst>
                </p:cNvPr>
                <p:cNvSpPr/>
                <p:nvPr/>
              </p:nvSpPr>
              <p:spPr>
                <a:xfrm>
                  <a:off x="3414947" y="1769413"/>
                  <a:ext cx="38887" cy="12953"/>
                </a:xfrm>
                <a:custGeom>
                  <a:avLst/>
                  <a:gdLst>
                    <a:gd name="connsiteX0" fmla="*/ 32411 w 38887"/>
                    <a:gd name="connsiteY0" fmla="*/ 12953 h 12953"/>
                    <a:gd name="connsiteX1" fmla="*/ 6477 w 38887"/>
                    <a:gd name="connsiteY1" fmla="*/ 12953 h 12953"/>
                    <a:gd name="connsiteX2" fmla="*/ 0 w 38887"/>
                    <a:gd name="connsiteY2" fmla="*/ 6477 h 12953"/>
                    <a:gd name="connsiteX3" fmla="*/ 6477 w 38887"/>
                    <a:gd name="connsiteY3" fmla="*/ 0 h 12953"/>
                    <a:gd name="connsiteX4" fmla="*/ 32411 w 38887"/>
                    <a:gd name="connsiteY4" fmla="*/ 0 h 12953"/>
                    <a:gd name="connsiteX5" fmla="*/ 38888 w 38887"/>
                    <a:gd name="connsiteY5" fmla="*/ 6477 h 12953"/>
                    <a:gd name="connsiteX6" fmla="*/ 32411 w 38887"/>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87" h="12953">
                      <a:moveTo>
                        <a:pt x="32411" y="12953"/>
                      </a:moveTo>
                      <a:lnTo>
                        <a:pt x="6477" y="12953"/>
                      </a:lnTo>
                      <a:cubicBezTo>
                        <a:pt x="2894" y="12953"/>
                        <a:pt x="0" y="10059"/>
                        <a:pt x="0" y="6477"/>
                      </a:cubicBezTo>
                      <a:cubicBezTo>
                        <a:pt x="0" y="2894"/>
                        <a:pt x="2894" y="0"/>
                        <a:pt x="6477" y="0"/>
                      </a:cubicBezTo>
                      <a:lnTo>
                        <a:pt x="32411" y="0"/>
                      </a:lnTo>
                      <a:cubicBezTo>
                        <a:pt x="35993" y="0"/>
                        <a:pt x="38888" y="2894"/>
                        <a:pt x="38888" y="6477"/>
                      </a:cubicBezTo>
                      <a:cubicBezTo>
                        <a:pt x="38888" y="10059"/>
                        <a:pt x="35993" y="12953"/>
                        <a:pt x="32411" y="12953"/>
                      </a:cubicBezTo>
                      <a:close/>
                    </a:path>
                  </a:pathLst>
                </a:custGeom>
                <a:solidFill>
                  <a:schemeClr val="accent1"/>
                </a:solidFill>
                <a:ln w="2860" cap="flat">
                  <a:noFill/>
                  <a:prstDash val="solid"/>
                  <a:miter/>
                </a:ln>
              </p:spPr>
              <p:txBody>
                <a:bodyPr rtlCol="0" anchor="ctr"/>
                <a:lstStyle/>
                <a:p>
                  <a:endParaRPr lang="en-GB" dirty="0"/>
                </a:p>
              </p:txBody>
            </p:sp>
          </p:grpSp>
          <p:grpSp>
            <p:nvGrpSpPr>
              <p:cNvPr id="70" name="Grafik 218">
                <a:extLst>
                  <a:ext uri="{FF2B5EF4-FFF2-40B4-BE49-F238E27FC236}">
                    <a16:creationId xmlns:a16="http://schemas.microsoft.com/office/drawing/2014/main" id="{55CA4AD1-7689-46F3-AF11-B3B8385E2021}"/>
                  </a:ext>
                </a:extLst>
              </p:cNvPr>
              <p:cNvGrpSpPr/>
              <p:nvPr/>
            </p:nvGrpSpPr>
            <p:grpSpPr>
              <a:xfrm>
                <a:off x="3666612" y="1691607"/>
                <a:ext cx="104946" cy="175039"/>
                <a:chOff x="3666612" y="1691607"/>
                <a:chExt cx="104946" cy="175039"/>
              </a:xfrm>
              <a:solidFill>
                <a:schemeClr val="accent1"/>
              </a:solidFill>
            </p:grpSpPr>
            <p:grpSp>
              <p:nvGrpSpPr>
                <p:cNvPr id="71" name="Grafik 218">
                  <a:extLst>
                    <a:ext uri="{FF2B5EF4-FFF2-40B4-BE49-F238E27FC236}">
                      <a16:creationId xmlns:a16="http://schemas.microsoft.com/office/drawing/2014/main" id="{5BAD2FF3-7ECF-416C-B363-35FBAD2F45F2}"/>
                    </a:ext>
                  </a:extLst>
                </p:cNvPr>
                <p:cNvGrpSpPr/>
                <p:nvPr/>
              </p:nvGrpSpPr>
              <p:grpSpPr>
                <a:xfrm>
                  <a:off x="3666612" y="1691607"/>
                  <a:ext cx="104946" cy="175039"/>
                  <a:chOff x="3666612" y="1691607"/>
                  <a:chExt cx="104946" cy="175039"/>
                </a:xfrm>
                <a:solidFill>
                  <a:schemeClr val="accent1"/>
                </a:solidFill>
              </p:grpSpPr>
              <p:sp>
                <p:nvSpPr>
                  <p:cNvPr id="73" name="Freihandform: Form 371">
                    <a:extLst>
                      <a:ext uri="{FF2B5EF4-FFF2-40B4-BE49-F238E27FC236}">
                        <a16:creationId xmlns:a16="http://schemas.microsoft.com/office/drawing/2014/main" id="{CC156582-2838-4E33-9BB6-E80128B36DCD}"/>
                      </a:ext>
                    </a:extLst>
                  </p:cNvPr>
                  <p:cNvSpPr/>
                  <p:nvPr/>
                </p:nvSpPr>
                <p:spPr>
                  <a:xfrm>
                    <a:off x="3667798" y="1795328"/>
                    <a:ext cx="103748" cy="71318"/>
                  </a:xfrm>
                  <a:custGeom>
                    <a:avLst/>
                    <a:gdLst>
                      <a:gd name="connsiteX0" fmla="*/ 97253 w 103748"/>
                      <a:gd name="connsiteY0" fmla="*/ 71318 h 71318"/>
                      <a:gd name="connsiteX1" fmla="*/ 93757 w 103748"/>
                      <a:gd name="connsiteY1" fmla="*/ 70286 h 71318"/>
                      <a:gd name="connsiteX2" fmla="*/ 2971 w 103748"/>
                      <a:gd name="connsiteY2" fmla="*/ 11941 h 71318"/>
                      <a:gd name="connsiteX3" fmla="*/ 1022 w 103748"/>
                      <a:gd name="connsiteY3" fmla="*/ 2971 h 71318"/>
                      <a:gd name="connsiteX4" fmla="*/ 9992 w 103748"/>
                      <a:gd name="connsiteY4" fmla="*/ 1022 h 71318"/>
                      <a:gd name="connsiteX5" fmla="*/ 100778 w 103748"/>
                      <a:gd name="connsiteY5" fmla="*/ 59368 h 71318"/>
                      <a:gd name="connsiteX6" fmla="*/ 102726 w 103748"/>
                      <a:gd name="connsiteY6" fmla="*/ 68338 h 71318"/>
                      <a:gd name="connsiteX7" fmla="*/ 97253 w 103748"/>
                      <a:gd name="connsiteY7" fmla="*/ 71318 h 71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3748" h="71318">
                        <a:moveTo>
                          <a:pt x="97253" y="71318"/>
                        </a:moveTo>
                        <a:cubicBezTo>
                          <a:pt x="96049" y="71318"/>
                          <a:pt x="94846" y="70974"/>
                          <a:pt x="93757" y="70286"/>
                        </a:cubicBezTo>
                        <a:lnTo>
                          <a:pt x="2971" y="11941"/>
                        </a:lnTo>
                        <a:cubicBezTo>
                          <a:pt x="-38" y="9992"/>
                          <a:pt x="-898" y="5980"/>
                          <a:pt x="1022" y="2971"/>
                        </a:cubicBezTo>
                        <a:cubicBezTo>
                          <a:pt x="2942" y="-38"/>
                          <a:pt x="6954" y="-898"/>
                          <a:pt x="9992" y="1022"/>
                        </a:cubicBezTo>
                        <a:lnTo>
                          <a:pt x="100778" y="59368"/>
                        </a:lnTo>
                        <a:cubicBezTo>
                          <a:pt x="103787" y="61317"/>
                          <a:pt x="104646" y="65329"/>
                          <a:pt x="102726" y="68338"/>
                        </a:cubicBezTo>
                        <a:cubicBezTo>
                          <a:pt x="101494" y="70286"/>
                          <a:pt x="99402" y="71318"/>
                          <a:pt x="97253" y="71318"/>
                        </a:cubicBezTo>
                        <a:close/>
                      </a:path>
                    </a:pathLst>
                  </a:custGeom>
                  <a:solidFill>
                    <a:schemeClr val="accent1"/>
                  </a:solidFill>
                  <a:ln w="2860" cap="flat">
                    <a:noFill/>
                    <a:prstDash val="solid"/>
                    <a:miter/>
                  </a:ln>
                </p:spPr>
                <p:txBody>
                  <a:bodyPr rtlCol="0" anchor="ctr"/>
                  <a:lstStyle/>
                  <a:p>
                    <a:endParaRPr lang="en-GB" dirty="0"/>
                  </a:p>
                </p:txBody>
              </p:sp>
              <p:sp>
                <p:nvSpPr>
                  <p:cNvPr id="74" name="Freihandform: Form 372">
                    <a:extLst>
                      <a:ext uri="{FF2B5EF4-FFF2-40B4-BE49-F238E27FC236}">
                        <a16:creationId xmlns:a16="http://schemas.microsoft.com/office/drawing/2014/main" id="{61888CDD-74F0-47DF-BFB7-1F6EE445D18D}"/>
                      </a:ext>
                    </a:extLst>
                  </p:cNvPr>
                  <p:cNvSpPr/>
                  <p:nvPr/>
                </p:nvSpPr>
                <p:spPr>
                  <a:xfrm>
                    <a:off x="3666612" y="1691607"/>
                    <a:ext cx="104946" cy="64824"/>
                  </a:xfrm>
                  <a:custGeom>
                    <a:avLst/>
                    <a:gdLst>
                      <a:gd name="connsiteX0" fmla="*/ 6478 w 104946"/>
                      <a:gd name="connsiteY0" fmla="*/ 64824 h 64824"/>
                      <a:gd name="connsiteX1" fmla="*/ 833 w 104946"/>
                      <a:gd name="connsiteY1" fmla="*/ 61529 h 64824"/>
                      <a:gd name="connsiteX2" fmla="*/ 3298 w 104946"/>
                      <a:gd name="connsiteY2" fmla="*/ 52702 h 64824"/>
                      <a:gd name="connsiteX3" fmla="*/ 95287 w 104946"/>
                      <a:gd name="connsiteY3" fmla="*/ 833 h 64824"/>
                      <a:gd name="connsiteX4" fmla="*/ 104113 w 104946"/>
                      <a:gd name="connsiteY4" fmla="*/ 3297 h 64824"/>
                      <a:gd name="connsiteX5" fmla="*/ 101649 w 104946"/>
                      <a:gd name="connsiteY5" fmla="*/ 12124 h 64824"/>
                      <a:gd name="connsiteX6" fmla="*/ 9659 w 104946"/>
                      <a:gd name="connsiteY6" fmla="*/ 63993 h 64824"/>
                      <a:gd name="connsiteX7" fmla="*/ 6478 w 104946"/>
                      <a:gd name="connsiteY7" fmla="*/ 64824 h 64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946" h="64824">
                        <a:moveTo>
                          <a:pt x="6478" y="64824"/>
                        </a:moveTo>
                        <a:cubicBezTo>
                          <a:pt x="4215" y="64824"/>
                          <a:pt x="2008" y="63649"/>
                          <a:pt x="833" y="61529"/>
                        </a:cubicBezTo>
                        <a:cubicBezTo>
                          <a:pt x="-915" y="58405"/>
                          <a:pt x="174" y="54450"/>
                          <a:pt x="3298" y="52702"/>
                        </a:cubicBezTo>
                        <a:lnTo>
                          <a:pt x="95287" y="833"/>
                        </a:lnTo>
                        <a:cubicBezTo>
                          <a:pt x="98411" y="-915"/>
                          <a:pt x="102365" y="174"/>
                          <a:pt x="104113" y="3297"/>
                        </a:cubicBezTo>
                        <a:cubicBezTo>
                          <a:pt x="105861" y="6421"/>
                          <a:pt x="104772" y="10376"/>
                          <a:pt x="101649" y="12124"/>
                        </a:cubicBezTo>
                        <a:lnTo>
                          <a:pt x="9659" y="63993"/>
                        </a:lnTo>
                        <a:cubicBezTo>
                          <a:pt x="8656" y="64566"/>
                          <a:pt x="7539" y="64824"/>
                          <a:pt x="6478" y="64824"/>
                        </a:cubicBezTo>
                        <a:close/>
                      </a:path>
                    </a:pathLst>
                  </a:custGeom>
                  <a:solidFill>
                    <a:schemeClr val="accent1"/>
                  </a:solidFill>
                  <a:ln w="2860" cap="flat">
                    <a:noFill/>
                    <a:prstDash val="solid"/>
                    <a:miter/>
                  </a:ln>
                </p:spPr>
                <p:txBody>
                  <a:bodyPr rtlCol="0" anchor="ctr"/>
                  <a:lstStyle/>
                  <a:p>
                    <a:endParaRPr lang="en-GB" dirty="0"/>
                  </a:p>
                </p:txBody>
              </p:sp>
            </p:grpSp>
            <p:sp>
              <p:nvSpPr>
                <p:cNvPr id="72" name="Freihandform: Form 373">
                  <a:extLst>
                    <a:ext uri="{FF2B5EF4-FFF2-40B4-BE49-F238E27FC236}">
                      <a16:creationId xmlns:a16="http://schemas.microsoft.com/office/drawing/2014/main" id="{269CA0AB-E049-43ED-BDEA-A874509754E0}"/>
                    </a:ext>
                  </a:extLst>
                </p:cNvPr>
                <p:cNvSpPr/>
                <p:nvPr/>
              </p:nvSpPr>
              <p:spPr>
                <a:xfrm>
                  <a:off x="3700228" y="1769413"/>
                  <a:ext cx="38887" cy="12953"/>
                </a:xfrm>
                <a:custGeom>
                  <a:avLst/>
                  <a:gdLst>
                    <a:gd name="connsiteX0" fmla="*/ 32411 w 38887"/>
                    <a:gd name="connsiteY0" fmla="*/ 12953 h 12953"/>
                    <a:gd name="connsiteX1" fmla="*/ 6477 w 38887"/>
                    <a:gd name="connsiteY1" fmla="*/ 12953 h 12953"/>
                    <a:gd name="connsiteX2" fmla="*/ 0 w 38887"/>
                    <a:gd name="connsiteY2" fmla="*/ 6477 h 12953"/>
                    <a:gd name="connsiteX3" fmla="*/ 6477 w 38887"/>
                    <a:gd name="connsiteY3" fmla="*/ 0 h 12953"/>
                    <a:gd name="connsiteX4" fmla="*/ 32411 w 38887"/>
                    <a:gd name="connsiteY4" fmla="*/ 0 h 12953"/>
                    <a:gd name="connsiteX5" fmla="*/ 38888 w 38887"/>
                    <a:gd name="connsiteY5" fmla="*/ 6477 h 12953"/>
                    <a:gd name="connsiteX6" fmla="*/ 32411 w 38887"/>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87" h="12953">
                      <a:moveTo>
                        <a:pt x="32411" y="12953"/>
                      </a:moveTo>
                      <a:lnTo>
                        <a:pt x="6477" y="12953"/>
                      </a:lnTo>
                      <a:cubicBezTo>
                        <a:pt x="2894" y="12953"/>
                        <a:pt x="0" y="10059"/>
                        <a:pt x="0" y="6477"/>
                      </a:cubicBezTo>
                      <a:cubicBezTo>
                        <a:pt x="0" y="2894"/>
                        <a:pt x="2894" y="0"/>
                        <a:pt x="6477" y="0"/>
                      </a:cubicBezTo>
                      <a:lnTo>
                        <a:pt x="32411" y="0"/>
                      </a:lnTo>
                      <a:cubicBezTo>
                        <a:pt x="35993" y="0"/>
                        <a:pt x="38888" y="2894"/>
                        <a:pt x="38888" y="6477"/>
                      </a:cubicBezTo>
                      <a:cubicBezTo>
                        <a:pt x="38888" y="10059"/>
                        <a:pt x="35993" y="12953"/>
                        <a:pt x="32411" y="12953"/>
                      </a:cubicBezTo>
                      <a:close/>
                    </a:path>
                  </a:pathLst>
                </a:custGeom>
                <a:solidFill>
                  <a:schemeClr val="accent1"/>
                </a:solidFill>
                <a:ln w="2860" cap="flat">
                  <a:noFill/>
                  <a:prstDash val="solid"/>
                  <a:miter/>
                </a:ln>
              </p:spPr>
              <p:txBody>
                <a:bodyPr rtlCol="0" anchor="ctr"/>
                <a:lstStyle/>
                <a:p>
                  <a:endParaRPr lang="en-GB" dirty="0"/>
                </a:p>
              </p:txBody>
            </p:sp>
          </p:grpSp>
        </p:grpSp>
      </p:grpSp>
      <p:grpSp>
        <p:nvGrpSpPr>
          <p:cNvPr id="92" name="Gruppieren 983">
            <a:extLst>
              <a:ext uri="{FF2B5EF4-FFF2-40B4-BE49-F238E27FC236}">
                <a16:creationId xmlns:a16="http://schemas.microsoft.com/office/drawing/2014/main" id="{B78D7E4B-7734-47D2-8958-A4A60D91B617}"/>
              </a:ext>
            </a:extLst>
          </p:cNvPr>
          <p:cNvGrpSpPr>
            <a:grpSpLocks noChangeAspect="1"/>
          </p:cNvGrpSpPr>
          <p:nvPr/>
        </p:nvGrpSpPr>
        <p:grpSpPr>
          <a:xfrm>
            <a:off x="2636826" y="1585982"/>
            <a:ext cx="496185" cy="432000"/>
            <a:chOff x="2520129" y="1640114"/>
            <a:chExt cx="453862" cy="395153"/>
          </a:xfrm>
        </p:grpSpPr>
        <p:grpSp>
          <p:nvGrpSpPr>
            <p:cNvPr id="93" name="Gruppieren 981">
              <a:extLst>
                <a:ext uri="{FF2B5EF4-FFF2-40B4-BE49-F238E27FC236}">
                  <a16:creationId xmlns:a16="http://schemas.microsoft.com/office/drawing/2014/main" id="{9D654496-70B8-4631-BB8A-DFC62BE2948B}"/>
                </a:ext>
              </a:extLst>
            </p:cNvPr>
            <p:cNvGrpSpPr/>
            <p:nvPr/>
          </p:nvGrpSpPr>
          <p:grpSpPr>
            <a:xfrm>
              <a:off x="2567957" y="1640114"/>
              <a:ext cx="282846" cy="395153"/>
              <a:chOff x="2567957" y="1640112"/>
              <a:chExt cx="282846" cy="395152"/>
            </a:xfrm>
          </p:grpSpPr>
          <p:sp>
            <p:nvSpPr>
              <p:cNvPr id="105" name="Freihandform: Form 500">
                <a:extLst>
                  <a:ext uri="{FF2B5EF4-FFF2-40B4-BE49-F238E27FC236}">
                    <a16:creationId xmlns:a16="http://schemas.microsoft.com/office/drawing/2014/main" id="{3C196E1A-E57F-4A41-A23B-D44799311546}"/>
                  </a:ext>
                </a:extLst>
              </p:cNvPr>
              <p:cNvSpPr/>
              <p:nvPr/>
            </p:nvSpPr>
            <p:spPr>
              <a:xfrm>
                <a:off x="2656482" y="1651623"/>
                <a:ext cx="78687" cy="65920"/>
              </a:xfrm>
              <a:custGeom>
                <a:avLst/>
                <a:gdLst>
                  <a:gd name="connsiteX0" fmla="*/ 6474 w 78687"/>
                  <a:gd name="connsiteY0" fmla="*/ 65921 h 65920"/>
                  <a:gd name="connsiteX1" fmla="*/ 1430 w 78687"/>
                  <a:gd name="connsiteY1" fmla="*/ 63514 h 65920"/>
                  <a:gd name="connsiteX2" fmla="*/ 2405 w 78687"/>
                  <a:gd name="connsiteY2" fmla="*/ 54401 h 65920"/>
                  <a:gd name="connsiteX3" fmla="*/ 68144 w 78687"/>
                  <a:gd name="connsiteY3" fmla="*/ 1442 h 65920"/>
                  <a:gd name="connsiteX4" fmla="*/ 77257 w 78687"/>
                  <a:gd name="connsiteY4" fmla="*/ 2417 h 65920"/>
                  <a:gd name="connsiteX5" fmla="*/ 76283 w 78687"/>
                  <a:gd name="connsiteY5" fmla="*/ 11530 h 65920"/>
                  <a:gd name="connsiteX6" fmla="*/ 10543 w 78687"/>
                  <a:gd name="connsiteY6" fmla="*/ 64488 h 65920"/>
                  <a:gd name="connsiteX7" fmla="*/ 6474 w 78687"/>
                  <a:gd name="connsiteY7" fmla="*/ 65921 h 6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687" h="65920">
                    <a:moveTo>
                      <a:pt x="6474" y="65921"/>
                    </a:moveTo>
                    <a:cubicBezTo>
                      <a:pt x="4582" y="65921"/>
                      <a:pt x="2691" y="65090"/>
                      <a:pt x="1430" y="63514"/>
                    </a:cubicBezTo>
                    <a:cubicBezTo>
                      <a:pt x="-805" y="60734"/>
                      <a:pt x="-375" y="56636"/>
                      <a:pt x="2405" y="54401"/>
                    </a:cubicBezTo>
                    <a:lnTo>
                      <a:pt x="68144" y="1442"/>
                    </a:lnTo>
                    <a:cubicBezTo>
                      <a:pt x="70924" y="-822"/>
                      <a:pt x="75022" y="-363"/>
                      <a:pt x="77257" y="2417"/>
                    </a:cubicBezTo>
                    <a:cubicBezTo>
                      <a:pt x="79492" y="5196"/>
                      <a:pt x="79062" y="9294"/>
                      <a:pt x="76283" y="11530"/>
                    </a:cubicBezTo>
                    <a:lnTo>
                      <a:pt x="10543" y="64488"/>
                    </a:lnTo>
                    <a:cubicBezTo>
                      <a:pt x="9340" y="65434"/>
                      <a:pt x="7907" y="65921"/>
                      <a:pt x="6474" y="65921"/>
                    </a:cubicBezTo>
                    <a:close/>
                  </a:path>
                </a:pathLst>
              </a:custGeom>
              <a:solidFill>
                <a:schemeClr val="accent1"/>
              </a:solidFill>
              <a:ln w="2860" cap="flat">
                <a:noFill/>
                <a:prstDash val="solid"/>
                <a:miter/>
              </a:ln>
            </p:spPr>
            <p:txBody>
              <a:bodyPr rtlCol="0" anchor="ctr"/>
              <a:lstStyle/>
              <a:p>
                <a:endParaRPr lang="en-GB" dirty="0"/>
              </a:p>
            </p:txBody>
          </p:sp>
          <p:sp>
            <p:nvSpPr>
              <p:cNvPr id="106" name="Freihandform: Form 501">
                <a:extLst>
                  <a:ext uri="{FF2B5EF4-FFF2-40B4-BE49-F238E27FC236}">
                    <a16:creationId xmlns:a16="http://schemas.microsoft.com/office/drawing/2014/main" id="{98E65FBA-0ADA-49A6-8948-375FD976A628}"/>
                  </a:ext>
                </a:extLst>
              </p:cNvPr>
              <p:cNvSpPr/>
              <p:nvPr/>
            </p:nvSpPr>
            <p:spPr>
              <a:xfrm>
                <a:off x="2688706" y="1688626"/>
                <a:ext cx="83761" cy="87263"/>
              </a:xfrm>
              <a:custGeom>
                <a:avLst/>
                <a:gdLst>
                  <a:gd name="connsiteX0" fmla="*/ 6489 w 83761"/>
                  <a:gd name="connsiteY0" fmla="*/ 87263 h 87263"/>
                  <a:gd name="connsiteX1" fmla="*/ 2019 w 83761"/>
                  <a:gd name="connsiteY1" fmla="*/ 85486 h 87263"/>
                  <a:gd name="connsiteX2" fmla="*/ 1789 w 83761"/>
                  <a:gd name="connsiteY2" fmla="*/ 76316 h 87263"/>
                  <a:gd name="connsiteX3" fmla="*/ 72572 w 83761"/>
                  <a:gd name="connsiteY3" fmla="*/ 2008 h 87263"/>
                  <a:gd name="connsiteX4" fmla="*/ 81743 w 83761"/>
                  <a:gd name="connsiteY4" fmla="*/ 1779 h 87263"/>
                  <a:gd name="connsiteX5" fmla="*/ 81972 w 83761"/>
                  <a:gd name="connsiteY5" fmla="*/ 10949 h 87263"/>
                  <a:gd name="connsiteX6" fmla="*/ 11189 w 83761"/>
                  <a:gd name="connsiteY6" fmla="*/ 85257 h 87263"/>
                  <a:gd name="connsiteX7" fmla="*/ 6489 w 83761"/>
                  <a:gd name="connsiteY7" fmla="*/ 87263 h 8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761" h="87263">
                    <a:moveTo>
                      <a:pt x="6489" y="87263"/>
                    </a:moveTo>
                    <a:cubicBezTo>
                      <a:pt x="4884" y="87263"/>
                      <a:pt x="3280" y="86661"/>
                      <a:pt x="2019" y="85486"/>
                    </a:cubicBezTo>
                    <a:cubicBezTo>
                      <a:pt x="-589" y="83022"/>
                      <a:pt x="-675" y="78924"/>
                      <a:pt x="1789" y="76316"/>
                    </a:cubicBezTo>
                    <a:lnTo>
                      <a:pt x="72572" y="2008"/>
                    </a:lnTo>
                    <a:cubicBezTo>
                      <a:pt x="75037" y="-571"/>
                      <a:pt x="79163" y="-686"/>
                      <a:pt x="81743" y="1779"/>
                    </a:cubicBezTo>
                    <a:cubicBezTo>
                      <a:pt x="84350" y="4243"/>
                      <a:pt x="84436" y="8341"/>
                      <a:pt x="81972" y="10949"/>
                    </a:cubicBezTo>
                    <a:lnTo>
                      <a:pt x="11189" y="85257"/>
                    </a:lnTo>
                    <a:cubicBezTo>
                      <a:pt x="9899" y="86604"/>
                      <a:pt x="8208" y="87263"/>
                      <a:pt x="6489" y="87263"/>
                    </a:cubicBezTo>
                    <a:close/>
                  </a:path>
                </a:pathLst>
              </a:custGeom>
              <a:solidFill>
                <a:schemeClr val="accent1"/>
              </a:solidFill>
              <a:ln w="2860" cap="flat">
                <a:noFill/>
                <a:prstDash val="solid"/>
                <a:miter/>
              </a:ln>
            </p:spPr>
            <p:txBody>
              <a:bodyPr rtlCol="0" anchor="ctr"/>
              <a:lstStyle/>
              <a:p>
                <a:endParaRPr lang="en-GB" dirty="0"/>
              </a:p>
            </p:txBody>
          </p:sp>
          <p:sp>
            <p:nvSpPr>
              <p:cNvPr id="107" name="Freihandform: Form 502">
                <a:extLst>
                  <a:ext uri="{FF2B5EF4-FFF2-40B4-BE49-F238E27FC236}">
                    <a16:creationId xmlns:a16="http://schemas.microsoft.com/office/drawing/2014/main" id="{D8D7158E-A903-48CE-92EC-009A33582860}"/>
                  </a:ext>
                </a:extLst>
              </p:cNvPr>
              <p:cNvSpPr/>
              <p:nvPr/>
            </p:nvSpPr>
            <p:spPr>
              <a:xfrm>
                <a:off x="2718522" y="1640112"/>
                <a:ext cx="65567" cy="65567"/>
              </a:xfrm>
              <a:custGeom>
                <a:avLst/>
                <a:gdLst>
                  <a:gd name="connsiteX0" fmla="*/ 32784 w 65567"/>
                  <a:gd name="connsiteY0" fmla="*/ 65567 h 65567"/>
                  <a:gd name="connsiteX1" fmla="*/ 0 w 65567"/>
                  <a:gd name="connsiteY1" fmla="*/ 32784 h 65567"/>
                  <a:gd name="connsiteX2" fmla="*/ 32784 w 65567"/>
                  <a:gd name="connsiteY2" fmla="*/ 0 h 65567"/>
                  <a:gd name="connsiteX3" fmla="*/ 65567 w 65567"/>
                  <a:gd name="connsiteY3" fmla="*/ 32784 h 65567"/>
                  <a:gd name="connsiteX4" fmla="*/ 32784 w 65567"/>
                  <a:gd name="connsiteY4" fmla="*/ 65567 h 65567"/>
                  <a:gd name="connsiteX5" fmla="*/ 32784 w 65567"/>
                  <a:gd name="connsiteY5" fmla="*/ 12953 h 65567"/>
                  <a:gd name="connsiteX6" fmla="*/ 12953 w 65567"/>
                  <a:gd name="connsiteY6" fmla="*/ 32784 h 65567"/>
                  <a:gd name="connsiteX7" fmla="*/ 32784 w 65567"/>
                  <a:gd name="connsiteY7" fmla="*/ 52614 h 65567"/>
                  <a:gd name="connsiteX8" fmla="*/ 52614 w 65567"/>
                  <a:gd name="connsiteY8" fmla="*/ 32784 h 65567"/>
                  <a:gd name="connsiteX9" fmla="*/ 32784 w 65567"/>
                  <a:gd name="connsiteY9" fmla="*/ 12953 h 655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567" h="65567">
                    <a:moveTo>
                      <a:pt x="32784" y="65567"/>
                    </a:moveTo>
                    <a:cubicBezTo>
                      <a:pt x="14701" y="65567"/>
                      <a:pt x="0" y="50866"/>
                      <a:pt x="0" y="32784"/>
                    </a:cubicBezTo>
                    <a:cubicBezTo>
                      <a:pt x="0" y="14701"/>
                      <a:pt x="14701" y="0"/>
                      <a:pt x="32784" y="0"/>
                    </a:cubicBezTo>
                    <a:cubicBezTo>
                      <a:pt x="50866" y="0"/>
                      <a:pt x="65567" y="14701"/>
                      <a:pt x="65567" y="32784"/>
                    </a:cubicBezTo>
                    <a:cubicBezTo>
                      <a:pt x="65567" y="50866"/>
                      <a:pt x="50838" y="65567"/>
                      <a:pt x="32784" y="65567"/>
                    </a:cubicBezTo>
                    <a:close/>
                    <a:moveTo>
                      <a:pt x="32784" y="12953"/>
                    </a:moveTo>
                    <a:cubicBezTo>
                      <a:pt x="21865" y="12953"/>
                      <a:pt x="12953" y="21837"/>
                      <a:pt x="12953" y="32784"/>
                    </a:cubicBezTo>
                    <a:cubicBezTo>
                      <a:pt x="12953" y="43702"/>
                      <a:pt x="21837" y="52614"/>
                      <a:pt x="32784" y="52614"/>
                    </a:cubicBezTo>
                    <a:cubicBezTo>
                      <a:pt x="43702" y="52614"/>
                      <a:pt x="52614" y="43731"/>
                      <a:pt x="52614" y="32784"/>
                    </a:cubicBezTo>
                    <a:cubicBezTo>
                      <a:pt x="52586" y="21837"/>
                      <a:pt x="43702" y="12953"/>
                      <a:pt x="32784" y="12953"/>
                    </a:cubicBezTo>
                    <a:close/>
                  </a:path>
                </a:pathLst>
              </a:custGeom>
              <a:solidFill>
                <a:schemeClr val="accent1"/>
              </a:solidFill>
              <a:ln w="2860" cap="flat">
                <a:noFill/>
                <a:prstDash val="solid"/>
                <a:miter/>
              </a:ln>
            </p:spPr>
            <p:txBody>
              <a:bodyPr rtlCol="0" anchor="ctr"/>
              <a:lstStyle/>
              <a:p>
                <a:endParaRPr lang="en-GB" dirty="0"/>
              </a:p>
            </p:txBody>
          </p:sp>
          <p:grpSp>
            <p:nvGrpSpPr>
              <p:cNvPr id="108" name="Grafik 218">
                <a:extLst>
                  <a:ext uri="{FF2B5EF4-FFF2-40B4-BE49-F238E27FC236}">
                    <a16:creationId xmlns:a16="http://schemas.microsoft.com/office/drawing/2014/main" id="{AB49F734-08C3-4E11-8C03-547AD5177E52}"/>
                  </a:ext>
                </a:extLst>
              </p:cNvPr>
              <p:cNvGrpSpPr/>
              <p:nvPr/>
            </p:nvGrpSpPr>
            <p:grpSpPr>
              <a:xfrm>
                <a:off x="2756321" y="1672150"/>
                <a:ext cx="54935" cy="139388"/>
                <a:chOff x="2756321" y="1672150"/>
                <a:chExt cx="54935" cy="139388"/>
              </a:xfrm>
              <a:solidFill>
                <a:schemeClr val="accent1"/>
              </a:solidFill>
            </p:grpSpPr>
            <p:sp>
              <p:nvSpPr>
                <p:cNvPr id="112" name="Freihandform: Form 504">
                  <a:extLst>
                    <a:ext uri="{FF2B5EF4-FFF2-40B4-BE49-F238E27FC236}">
                      <a16:creationId xmlns:a16="http://schemas.microsoft.com/office/drawing/2014/main" id="{E478216C-B06F-41E5-82E5-C0262DEED546}"/>
                    </a:ext>
                  </a:extLst>
                </p:cNvPr>
                <p:cNvSpPr/>
                <p:nvPr/>
              </p:nvSpPr>
              <p:spPr>
                <a:xfrm>
                  <a:off x="2770850" y="1672150"/>
                  <a:ext cx="12953" cy="97262"/>
                </a:xfrm>
                <a:custGeom>
                  <a:avLst/>
                  <a:gdLst>
                    <a:gd name="connsiteX0" fmla="*/ 6477 w 12953"/>
                    <a:gd name="connsiteY0" fmla="*/ 97262 h 97262"/>
                    <a:gd name="connsiteX1" fmla="*/ 0 w 12953"/>
                    <a:gd name="connsiteY1" fmla="*/ 90786 h 97262"/>
                    <a:gd name="connsiteX2" fmla="*/ 0 w 12953"/>
                    <a:gd name="connsiteY2" fmla="*/ 6477 h 97262"/>
                    <a:gd name="connsiteX3" fmla="*/ 6477 w 12953"/>
                    <a:gd name="connsiteY3" fmla="*/ 0 h 97262"/>
                    <a:gd name="connsiteX4" fmla="*/ 12953 w 12953"/>
                    <a:gd name="connsiteY4" fmla="*/ 6477 h 97262"/>
                    <a:gd name="connsiteX5" fmla="*/ 12953 w 12953"/>
                    <a:gd name="connsiteY5" fmla="*/ 90757 h 97262"/>
                    <a:gd name="connsiteX6" fmla="*/ 6477 w 12953"/>
                    <a:gd name="connsiteY6" fmla="*/ 97262 h 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53" h="97262">
                      <a:moveTo>
                        <a:pt x="6477" y="97262"/>
                      </a:moveTo>
                      <a:cubicBezTo>
                        <a:pt x="2894" y="97262"/>
                        <a:pt x="0" y="94368"/>
                        <a:pt x="0" y="90786"/>
                      </a:cubicBezTo>
                      <a:lnTo>
                        <a:pt x="0" y="6477"/>
                      </a:lnTo>
                      <a:cubicBezTo>
                        <a:pt x="0" y="2894"/>
                        <a:pt x="2894" y="0"/>
                        <a:pt x="6477" y="0"/>
                      </a:cubicBezTo>
                      <a:cubicBezTo>
                        <a:pt x="10059" y="0"/>
                        <a:pt x="12953" y="2894"/>
                        <a:pt x="12953" y="6477"/>
                      </a:cubicBezTo>
                      <a:lnTo>
                        <a:pt x="12953" y="90757"/>
                      </a:lnTo>
                      <a:cubicBezTo>
                        <a:pt x="12953" y="94339"/>
                        <a:pt x="10059" y="97262"/>
                        <a:pt x="6477" y="97262"/>
                      </a:cubicBezTo>
                      <a:close/>
                    </a:path>
                  </a:pathLst>
                </a:custGeom>
                <a:solidFill>
                  <a:schemeClr val="accent1"/>
                </a:solidFill>
                <a:ln w="2860" cap="flat">
                  <a:noFill/>
                  <a:prstDash val="solid"/>
                  <a:miter/>
                </a:ln>
              </p:spPr>
              <p:txBody>
                <a:bodyPr rtlCol="0" anchor="ctr"/>
                <a:lstStyle/>
                <a:p>
                  <a:endParaRPr lang="en-GB" dirty="0"/>
                </a:p>
              </p:txBody>
            </p:sp>
            <p:sp>
              <p:nvSpPr>
                <p:cNvPr id="113" name="Freihandform: Form 505">
                  <a:extLst>
                    <a:ext uri="{FF2B5EF4-FFF2-40B4-BE49-F238E27FC236}">
                      <a16:creationId xmlns:a16="http://schemas.microsoft.com/office/drawing/2014/main" id="{C37CD52A-2D0E-4D2C-96EF-4248500D1DB5}"/>
                    </a:ext>
                  </a:extLst>
                </p:cNvPr>
                <p:cNvSpPr/>
                <p:nvPr/>
              </p:nvSpPr>
              <p:spPr>
                <a:xfrm>
                  <a:off x="2756321" y="1757625"/>
                  <a:ext cx="54935" cy="53913"/>
                </a:xfrm>
                <a:custGeom>
                  <a:avLst/>
                  <a:gdLst>
                    <a:gd name="connsiteX0" fmla="*/ 27482 w 54935"/>
                    <a:gd name="connsiteY0" fmla="*/ 53913 h 53913"/>
                    <a:gd name="connsiteX1" fmla="*/ 0 w 54935"/>
                    <a:gd name="connsiteY1" fmla="*/ 26431 h 53913"/>
                    <a:gd name="connsiteX2" fmla="*/ 18885 w 54935"/>
                    <a:gd name="connsiteY2" fmla="*/ 325 h 53913"/>
                    <a:gd name="connsiteX3" fmla="*/ 27081 w 54935"/>
                    <a:gd name="connsiteY3" fmla="*/ 4451 h 53913"/>
                    <a:gd name="connsiteX4" fmla="*/ 22954 w 54935"/>
                    <a:gd name="connsiteY4" fmla="*/ 12647 h 53913"/>
                    <a:gd name="connsiteX5" fmla="*/ 12982 w 54935"/>
                    <a:gd name="connsiteY5" fmla="*/ 26431 h 53913"/>
                    <a:gd name="connsiteX6" fmla="*/ 27482 w 54935"/>
                    <a:gd name="connsiteY6" fmla="*/ 40932 h 53913"/>
                    <a:gd name="connsiteX7" fmla="*/ 41983 w 54935"/>
                    <a:gd name="connsiteY7" fmla="*/ 26431 h 53913"/>
                    <a:gd name="connsiteX8" fmla="*/ 48459 w 54935"/>
                    <a:gd name="connsiteY8" fmla="*/ 19955 h 53913"/>
                    <a:gd name="connsiteX9" fmla="*/ 54936 w 54935"/>
                    <a:gd name="connsiteY9" fmla="*/ 26431 h 53913"/>
                    <a:gd name="connsiteX10" fmla="*/ 27482 w 54935"/>
                    <a:gd name="connsiteY10" fmla="*/ 53913 h 53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935" h="53913">
                      <a:moveTo>
                        <a:pt x="27482" y="53913"/>
                      </a:moveTo>
                      <a:cubicBezTo>
                        <a:pt x="12323" y="53913"/>
                        <a:pt x="0" y="41591"/>
                        <a:pt x="0" y="26431"/>
                      </a:cubicBezTo>
                      <a:cubicBezTo>
                        <a:pt x="0" y="14539"/>
                        <a:pt x="7594" y="4050"/>
                        <a:pt x="18885" y="325"/>
                      </a:cubicBezTo>
                      <a:cubicBezTo>
                        <a:pt x="22266" y="-793"/>
                        <a:pt x="25963" y="1070"/>
                        <a:pt x="27081" y="4451"/>
                      </a:cubicBezTo>
                      <a:cubicBezTo>
                        <a:pt x="28198" y="7862"/>
                        <a:pt x="26336" y="11530"/>
                        <a:pt x="22954" y="12647"/>
                      </a:cubicBezTo>
                      <a:cubicBezTo>
                        <a:pt x="16994" y="14596"/>
                        <a:pt x="12982" y="20155"/>
                        <a:pt x="12982" y="26431"/>
                      </a:cubicBezTo>
                      <a:cubicBezTo>
                        <a:pt x="12982" y="34427"/>
                        <a:pt x="19487" y="40932"/>
                        <a:pt x="27482" y="40932"/>
                      </a:cubicBezTo>
                      <a:cubicBezTo>
                        <a:pt x="35477" y="40932"/>
                        <a:pt x="41983" y="34427"/>
                        <a:pt x="41983" y="26431"/>
                      </a:cubicBezTo>
                      <a:cubicBezTo>
                        <a:pt x="41983" y="22849"/>
                        <a:pt x="44877" y="19955"/>
                        <a:pt x="48459" y="19955"/>
                      </a:cubicBezTo>
                      <a:cubicBezTo>
                        <a:pt x="52041" y="19955"/>
                        <a:pt x="54936" y="22849"/>
                        <a:pt x="54936" y="26431"/>
                      </a:cubicBezTo>
                      <a:cubicBezTo>
                        <a:pt x="54964" y="41591"/>
                        <a:pt x="42642" y="53913"/>
                        <a:pt x="27482" y="53913"/>
                      </a:cubicBezTo>
                      <a:close/>
                    </a:path>
                  </a:pathLst>
                </a:custGeom>
                <a:solidFill>
                  <a:schemeClr val="accent1"/>
                </a:solidFill>
                <a:ln w="2860" cap="flat">
                  <a:noFill/>
                  <a:prstDash val="solid"/>
                  <a:miter/>
                </a:ln>
              </p:spPr>
              <p:txBody>
                <a:bodyPr rtlCol="0" anchor="ctr"/>
                <a:lstStyle/>
                <a:p>
                  <a:endParaRPr lang="en-GB" dirty="0"/>
                </a:p>
              </p:txBody>
            </p:sp>
          </p:grpSp>
          <p:sp>
            <p:nvSpPr>
              <p:cNvPr id="109" name="Freihandform: Form 510">
                <a:extLst>
                  <a:ext uri="{FF2B5EF4-FFF2-40B4-BE49-F238E27FC236}">
                    <a16:creationId xmlns:a16="http://schemas.microsoft.com/office/drawing/2014/main" id="{F5760717-8873-4E9E-ABE7-95D2DEF81638}"/>
                  </a:ext>
                </a:extLst>
              </p:cNvPr>
              <p:cNvSpPr/>
              <p:nvPr/>
            </p:nvSpPr>
            <p:spPr>
              <a:xfrm>
                <a:off x="2721130" y="2022311"/>
                <a:ext cx="129673" cy="12953"/>
              </a:xfrm>
              <a:custGeom>
                <a:avLst/>
                <a:gdLst>
                  <a:gd name="connsiteX0" fmla="*/ 123197 w 129673"/>
                  <a:gd name="connsiteY0" fmla="*/ 12953 h 12953"/>
                  <a:gd name="connsiteX1" fmla="*/ 6477 w 129673"/>
                  <a:gd name="connsiteY1" fmla="*/ 12953 h 12953"/>
                  <a:gd name="connsiteX2" fmla="*/ 0 w 129673"/>
                  <a:gd name="connsiteY2" fmla="*/ 6476 h 12953"/>
                  <a:gd name="connsiteX3" fmla="*/ 6477 w 129673"/>
                  <a:gd name="connsiteY3" fmla="*/ 0 h 12953"/>
                  <a:gd name="connsiteX4" fmla="*/ 123197 w 129673"/>
                  <a:gd name="connsiteY4" fmla="*/ 0 h 12953"/>
                  <a:gd name="connsiteX5" fmla="*/ 129673 w 129673"/>
                  <a:gd name="connsiteY5" fmla="*/ 6476 h 12953"/>
                  <a:gd name="connsiteX6" fmla="*/ 123197 w 129673"/>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673" h="12953">
                    <a:moveTo>
                      <a:pt x="123197" y="12953"/>
                    </a:moveTo>
                    <a:lnTo>
                      <a:pt x="6477" y="12953"/>
                    </a:lnTo>
                    <a:cubicBezTo>
                      <a:pt x="2894" y="12953"/>
                      <a:pt x="0" y="10059"/>
                      <a:pt x="0" y="6476"/>
                    </a:cubicBezTo>
                    <a:cubicBezTo>
                      <a:pt x="0" y="2894"/>
                      <a:pt x="2894" y="0"/>
                      <a:pt x="6477" y="0"/>
                    </a:cubicBezTo>
                    <a:lnTo>
                      <a:pt x="123197" y="0"/>
                    </a:lnTo>
                    <a:cubicBezTo>
                      <a:pt x="126779" y="0"/>
                      <a:pt x="129673" y="2894"/>
                      <a:pt x="129673" y="6476"/>
                    </a:cubicBezTo>
                    <a:cubicBezTo>
                      <a:pt x="129673" y="10059"/>
                      <a:pt x="126779" y="12953"/>
                      <a:pt x="123197" y="12953"/>
                    </a:cubicBezTo>
                    <a:close/>
                  </a:path>
                </a:pathLst>
              </a:custGeom>
              <a:solidFill>
                <a:schemeClr val="accent1"/>
              </a:solidFill>
              <a:ln w="2860" cap="flat">
                <a:noFill/>
                <a:prstDash val="solid"/>
                <a:miter/>
              </a:ln>
            </p:spPr>
            <p:txBody>
              <a:bodyPr rtlCol="0" anchor="ctr"/>
              <a:lstStyle/>
              <a:p>
                <a:endParaRPr lang="en-GB" dirty="0"/>
              </a:p>
            </p:txBody>
          </p:sp>
          <p:sp>
            <p:nvSpPr>
              <p:cNvPr id="110" name="Freihandform: Form 511">
                <a:extLst>
                  <a:ext uri="{FF2B5EF4-FFF2-40B4-BE49-F238E27FC236}">
                    <a16:creationId xmlns:a16="http://schemas.microsoft.com/office/drawing/2014/main" id="{621F7249-F64C-4941-8AA4-60761E0B4F3E}"/>
                  </a:ext>
                </a:extLst>
              </p:cNvPr>
              <p:cNvSpPr/>
              <p:nvPr/>
            </p:nvSpPr>
            <p:spPr>
              <a:xfrm>
                <a:off x="2567957" y="2022311"/>
                <a:ext cx="55910" cy="12953"/>
              </a:xfrm>
              <a:custGeom>
                <a:avLst/>
                <a:gdLst>
                  <a:gd name="connsiteX0" fmla="*/ 49434 w 55910"/>
                  <a:gd name="connsiteY0" fmla="*/ 12953 h 12953"/>
                  <a:gd name="connsiteX1" fmla="*/ 6477 w 55910"/>
                  <a:gd name="connsiteY1" fmla="*/ 12953 h 12953"/>
                  <a:gd name="connsiteX2" fmla="*/ 0 w 55910"/>
                  <a:gd name="connsiteY2" fmla="*/ 6476 h 12953"/>
                  <a:gd name="connsiteX3" fmla="*/ 6477 w 55910"/>
                  <a:gd name="connsiteY3" fmla="*/ 0 h 12953"/>
                  <a:gd name="connsiteX4" fmla="*/ 49434 w 55910"/>
                  <a:gd name="connsiteY4" fmla="*/ 0 h 12953"/>
                  <a:gd name="connsiteX5" fmla="*/ 55910 w 55910"/>
                  <a:gd name="connsiteY5" fmla="*/ 6476 h 12953"/>
                  <a:gd name="connsiteX6" fmla="*/ 49434 w 55910"/>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5910" h="12953">
                    <a:moveTo>
                      <a:pt x="49434" y="12953"/>
                    </a:moveTo>
                    <a:lnTo>
                      <a:pt x="6477" y="12953"/>
                    </a:lnTo>
                    <a:cubicBezTo>
                      <a:pt x="2894" y="12953"/>
                      <a:pt x="0" y="10059"/>
                      <a:pt x="0" y="6476"/>
                    </a:cubicBezTo>
                    <a:cubicBezTo>
                      <a:pt x="0" y="2894"/>
                      <a:pt x="2894" y="0"/>
                      <a:pt x="6477" y="0"/>
                    </a:cubicBezTo>
                    <a:lnTo>
                      <a:pt x="49434" y="0"/>
                    </a:lnTo>
                    <a:cubicBezTo>
                      <a:pt x="53016" y="0"/>
                      <a:pt x="55910" y="2894"/>
                      <a:pt x="55910" y="6476"/>
                    </a:cubicBezTo>
                    <a:cubicBezTo>
                      <a:pt x="55910" y="10059"/>
                      <a:pt x="53016" y="12953"/>
                      <a:pt x="49434" y="12953"/>
                    </a:cubicBezTo>
                    <a:close/>
                  </a:path>
                </a:pathLst>
              </a:custGeom>
              <a:solidFill>
                <a:schemeClr val="accent1"/>
              </a:solidFill>
              <a:ln w="2860" cap="flat">
                <a:noFill/>
                <a:prstDash val="solid"/>
                <a:miter/>
              </a:ln>
            </p:spPr>
            <p:txBody>
              <a:bodyPr rtlCol="0" anchor="ctr"/>
              <a:lstStyle/>
              <a:p>
                <a:endParaRPr lang="en-GB" dirty="0"/>
              </a:p>
            </p:txBody>
          </p:sp>
          <p:sp>
            <p:nvSpPr>
              <p:cNvPr id="111" name="Freihandform: Form 512">
                <a:extLst>
                  <a:ext uri="{FF2B5EF4-FFF2-40B4-BE49-F238E27FC236}">
                    <a16:creationId xmlns:a16="http://schemas.microsoft.com/office/drawing/2014/main" id="{4F8D0D68-CF68-4208-A0F0-2CF97A95572D}"/>
                  </a:ext>
                </a:extLst>
              </p:cNvPr>
              <p:cNvSpPr/>
              <p:nvPr/>
            </p:nvSpPr>
            <p:spPr>
              <a:xfrm>
                <a:off x="2662784" y="2022311"/>
                <a:ext cx="38887" cy="12953"/>
              </a:xfrm>
              <a:custGeom>
                <a:avLst/>
                <a:gdLst>
                  <a:gd name="connsiteX0" fmla="*/ 32411 w 38887"/>
                  <a:gd name="connsiteY0" fmla="*/ 12953 h 12953"/>
                  <a:gd name="connsiteX1" fmla="*/ 6477 w 38887"/>
                  <a:gd name="connsiteY1" fmla="*/ 12953 h 12953"/>
                  <a:gd name="connsiteX2" fmla="*/ 0 w 38887"/>
                  <a:gd name="connsiteY2" fmla="*/ 6476 h 12953"/>
                  <a:gd name="connsiteX3" fmla="*/ 6477 w 38887"/>
                  <a:gd name="connsiteY3" fmla="*/ 0 h 12953"/>
                  <a:gd name="connsiteX4" fmla="*/ 32411 w 38887"/>
                  <a:gd name="connsiteY4" fmla="*/ 0 h 12953"/>
                  <a:gd name="connsiteX5" fmla="*/ 38888 w 38887"/>
                  <a:gd name="connsiteY5" fmla="*/ 6476 h 12953"/>
                  <a:gd name="connsiteX6" fmla="*/ 32411 w 38887"/>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87" h="12953">
                    <a:moveTo>
                      <a:pt x="32411" y="12953"/>
                    </a:moveTo>
                    <a:lnTo>
                      <a:pt x="6477" y="12953"/>
                    </a:lnTo>
                    <a:cubicBezTo>
                      <a:pt x="2894" y="12953"/>
                      <a:pt x="0" y="10059"/>
                      <a:pt x="0" y="6476"/>
                    </a:cubicBezTo>
                    <a:cubicBezTo>
                      <a:pt x="0" y="2894"/>
                      <a:pt x="2894" y="0"/>
                      <a:pt x="6477" y="0"/>
                    </a:cubicBezTo>
                    <a:lnTo>
                      <a:pt x="32411" y="0"/>
                    </a:lnTo>
                    <a:cubicBezTo>
                      <a:pt x="35993" y="0"/>
                      <a:pt x="38888" y="2894"/>
                      <a:pt x="38888" y="6476"/>
                    </a:cubicBezTo>
                    <a:cubicBezTo>
                      <a:pt x="38888" y="10059"/>
                      <a:pt x="35993" y="12953"/>
                      <a:pt x="32411" y="12953"/>
                    </a:cubicBezTo>
                    <a:close/>
                  </a:path>
                </a:pathLst>
              </a:custGeom>
              <a:solidFill>
                <a:schemeClr val="accent1"/>
              </a:solidFill>
              <a:ln w="2860" cap="flat">
                <a:noFill/>
                <a:prstDash val="solid"/>
                <a:miter/>
              </a:ln>
            </p:spPr>
            <p:txBody>
              <a:bodyPr rtlCol="0" anchor="ctr"/>
              <a:lstStyle/>
              <a:p>
                <a:endParaRPr lang="en-GB" dirty="0"/>
              </a:p>
            </p:txBody>
          </p:sp>
        </p:grpSp>
        <p:grpSp>
          <p:nvGrpSpPr>
            <p:cNvPr id="94" name="Gruppieren 982">
              <a:extLst>
                <a:ext uri="{FF2B5EF4-FFF2-40B4-BE49-F238E27FC236}">
                  <a16:creationId xmlns:a16="http://schemas.microsoft.com/office/drawing/2014/main" id="{546ECC42-F05A-4D77-B4F1-07E8DCDFDCE0}"/>
                </a:ext>
              </a:extLst>
            </p:cNvPr>
            <p:cNvGrpSpPr/>
            <p:nvPr/>
          </p:nvGrpSpPr>
          <p:grpSpPr>
            <a:xfrm>
              <a:off x="2520129" y="1704590"/>
              <a:ext cx="453862" cy="298235"/>
              <a:chOff x="2520129" y="1704590"/>
              <a:chExt cx="453862" cy="298235"/>
            </a:xfrm>
          </p:grpSpPr>
          <p:sp>
            <p:nvSpPr>
              <p:cNvPr id="95" name="Freihandform: Form 494">
                <a:extLst>
                  <a:ext uri="{FF2B5EF4-FFF2-40B4-BE49-F238E27FC236}">
                    <a16:creationId xmlns:a16="http://schemas.microsoft.com/office/drawing/2014/main" id="{A0DE724B-D4B7-4A58-B2C5-8597E5F5EC1A}"/>
                  </a:ext>
                </a:extLst>
              </p:cNvPr>
              <p:cNvSpPr/>
              <p:nvPr/>
            </p:nvSpPr>
            <p:spPr>
              <a:xfrm>
                <a:off x="2876738" y="1775860"/>
                <a:ext cx="77832" cy="51898"/>
              </a:xfrm>
              <a:custGeom>
                <a:avLst/>
                <a:gdLst>
                  <a:gd name="connsiteX0" fmla="*/ 64851 w 77832"/>
                  <a:gd name="connsiteY0" fmla="*/ 51898 h 51898"/>
                  <a:gd name="connsiteX1" fmla="*/ 12982 w 77832"/>
                  <a:gd name="connsiteY1" fmla="*/ 51898 h 51898"/>
                  <a:gd name="connsiteX2" fmla="*/ 0 w 77832"/>
                  <a:gd name="connsiteY2" fmla="*/ 38916 h 51898"/>
                  <a:gd name="connsiteX3" fmla="*/ 0 w 77832"/>
                  <a:gd name="connsiteY3" fmla="*/ 12982 h 51898"/>
                  <a:gd name="connsiteX4" fmla="*/ 12982 w 77832"/>
                  <a:gd name="connsiteY4" fmla="*/ 0 h 51898"/>
                  <a:gd name="connsiteX5" fmla="*/ 64851 w 77832"/>
                  <a:gd name="connsiteY5" fmla="*/ 0 h 51898"/>
                  <a:gd name="connsiteX6" fmla="*/ 77833 w 77832"/>
                  <a:gd name="connsiteY6" fmla="*/ 12982 h 51898"/>
                  <a:gd name="connsiteX7" fmla="*/ 77833 w 77832"/>
                  <a:gd name="connsiteY7" fmla="*/ 38916 h 51898"/>
                  <a:gd name="connsiteX8" fmla="*/ 64851 w 77832"/>
                  <a:gd name="connsiteY8" fmla="*/ 51898 h 51898"/>
                  <a:gd name="connsiteX9" fmla="*/ 12982 w 77832"/>
                  <a:gd name="connsiteY9" fmla="*/ 13010 h 51898"/>
                  <a:gd name="connsiteX10" fmla="*/ 12982 w 77832"/>
                  <a:gd name="connsiteY10" fmla="*/ 38945 h 51898"/>
                  <a:gd name="connsiteX11" fmla="*/ 64851 w 77832"/>
                  <a:gd name="connsiteY11" fmla="*/ 38945 h 51898"/>
                  <a:gd name="connsiteX12" fmla="*/ 64851 w 77832"/>
                  <a:gd name="connsiteY12" fmla="*/ 13010 h 51898"/>
                  <a:gd name="connsiteX13" fmla="*/ 12982 w 77832"/>
                  <a:gd name="connsiteY13" fmla="*/ 13010 h 51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832" h="51898">
                    <a:moveTo>
                      <a:pt x="64851" y="51898"/>
                    </a:moveTo>
                    <a:lnTo>
                      <a:pt x="12982" y="51898"/>
                    </a:lnTo>
                    <a:cubicBezTo>
                      <a:pt x="5846" y="51898"/>
                      <a:pt x="0" y="46081"/>
                      <a:pt x="0" y="38916"/>
                    </a:cubicBezTo>
                    <a:lnTo>
                      <a:pt x="0" y="12982"/>
                    </a:lnTo>
                    <a:cubicBezTo>
                      <a:pt x="0" y="5817"/>
                      <a:pt x="5817" y="0"/>
                      <a:pt x="12982" y="0"/>
                    </a:cubicBezTo>
                    <a:lnTo>
                      <a:pt x="64851" y="0"/>
                    </a:lnTo>
                    <a:cubicBezTo>
                      <a:pt x="71987" y="0"/>
                      <a:pt x="77833" y="5817"/>
                      <a:pt x="77833" y="12982"/>
                    </a:cubicBezTo>
                    <a:lnTo>
                      <a:pt x="77833" y="38916"/>
                    </a:lnTo>
                    <a:cubicBezTo>
                      <a:pt x="77833" y="46081"/>
                      <a:pt x="71987" y="51898"/>
                      <a:pt x="64851" y="51898"/>
                    </a:cubicBezTo>
                    <a:close/>
                    <a:moveTo>
                      <a:pt x="12982" y="13010"/>
                    </a:moveTo>
                    <a:lnTo>
                      <a:pt x="12982" y="38945"/>
                    </a:lnTo>
                    <a:lnTo>
                      <a:pt x="64851" y="38945"/>
                    </a:lnTo>
                    <a:lnTo>
                      <a:pt x="64851" y="13010"/>
                    </a:lnTo>
                    <a:lnTo>
                      <a:pt x="12982" y="13010"/>
                    </a:lnTo>
                    <a:close/>
                  </a:path>
                </a:pathLst>
              </a:custGeom>
              <a:solidFill>
                <a:schemeClr val="tx2"/>
              </a:solidFill>
              <a:ln w="2860" cap="flat">
                <a:noFill/>
                <a:prstDash val="solid"/>
                <a:miter/>
              </a:ln>
            </p:spPr>
            <p:txBody>
              <a:bodyPr rtlCol="0" anchor="ctr"/>
              <a:lstStyle/>
              <a:p>
                <a:endParaRPr lang="en-GB" dirty="0"/>
              </a:p>
            </p:txBody>
          </p:sp>
          <p:sp>
            <p:nvSpPr>
              <p:cNvPr id="96" name="Freihandform: Form 495">
                <a:extLst>
                  <a:ext uri="{FF2B5EF4-FFF2-40B4-BE49-F238E27FC236}">
                    <a16:creationId xmlns:a16="http://schemas.microsoft.com/office/drawing/2014/main" id="{F817AA5E-53B1-4B69-A913-C2028AFCB028}"/>
                  </a:ext>
                </a:extLst>
              </p:cNvPr>
              <p:cNvSpPr/>
              <p:nvPr/>
            </p:nvSpPr>
            <p:spPr>
              <a:xfrm>
                <a:off x="2546050" y="1847228"/>
                <a:ext cx="427941" cy="155597"/>
              </a:xfrm>
              <a:custGeom>
                <a:avLst/>
                <a:gdLst>
                  <a:gd name="connsiteX0" fmla="*/ 350146 w 427941"/>
                  <a:gd name="connsiteY0" fmla="*/ 155597 h 155597"/>
                  <a:gd name="connsiteX1" fmla="*/ 19472 w 427941"/>
                  <a:gd name="connsiteY1" fmla="*/ 155597 h 155597"/>
                  <a:gd name="connsiteX2" fmla="*/ 13024 w 427941"/>
                  <a:gd name="connsiteY2" fmla="*/ 149866 h 155597"/>
                  <a:gd name="connsiteX3" fmla="*/ 42 w 427941"/>
                  <a:gd name="connsiteY3" fmla="*/ 39650 h 155597"/>
                  <a:gd name="connsiteX4" fmla="*/ 1475 w 427941"/>
                  <a:gd name="connsiteY4" fmla="*/ 34779 h 155597"/>
                  <a:gd name="connsiteX5" fmla="*/ 5974 w 427941"/>
                  <a:gd name="connsiteY5" fmla="*/ 32429 h 155597"/>
                  <a:gd name="connsiteX6" fmla="*/ 420958 w 427941"/>
                  <a:gd name="connsiteY6" fmla="*/ 18 h 155597"/>
                  <a:gd name="connsiteX7" fmla="*/ 426833 w 427941"/>
                  <a:gd name="connsiteY7" fmla="*/ 2855 h 155597"/>
                  <a:gd name="connsiteX8" fmla="*/ 427263 w 427941"/>
                  <a:gd name="connsiteY8" fmla="*/ 9389 h 155597"/>
                  <a:gd name="connsiteX9" fmla="*/ 355935 w 427941"/>
                  <a:gd name="connsiteY9" fmla="*/ 152044 h 155597"/>
                  <a:gd name="connsiteX10" fmla="*/ 350146 w 427941"/>
                  <a:gd name="connsiteY10" fmla="*/ 155597 h 155597"/>
                  <a:gd name="connsiteX11" fmla="*/ 25232 w 427941"/>
                  <a:gd name="connsiteY11" fmla="*/ 142644 h 155597"/>
                  <a:gd name="connsiteX12" fmla="*/ 346134 w 427941"/>
                  <a:gd name="connsiteY12" fmla="*/ 142644 h 155597"/>
                  <a:gd name="connsiteX13" fmla="*/ 410527 w 427941"/>
                  <a:gd name="connsiteY13" fmla="*/ 13830 h 155597"/>
                  <a:gd name="connsiteX14" fmla="*/ 13712 w 427941"/>
                  <a:gd name="connsiteY14" fmla="*/ 44837 h 155597"/>
                  <a:gd name="connsiteX15" fmla="*/ 25232 w 427941"/>
                  <a:gd name="connsiteY15" fmla="*/ 142644 h 155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7941" h="155597">
                    <a:moveTo>
                      <a:pt x="350146" y="155597"/>
                    </a:moveTo>
                    <a:lnTo>
                      <a:pt x="19472" y="155597"/>
                    </a:lnTo>
                    <a:cubicBezTo>
                      <a:pt x="16176" y="155597"/>
                      <a:pt x="13425" y="153133"/>
                      <a:pt x="13024" y="149866"/>
                    </a:cubicBezTo>
                    <a:lnTo>
                      <a:pt x="42" y="39650"/>
                    </a:lnTo>
                    <a:cubicBezTo>
                      <a:pt x="-158" y="37902"/>
                      <a:pt x="358" y="36126"/>
                      <a:pt x="1475" y="34779"/>
                    </a:cubicBezTo>
                    <a:cubicBezTo>
                      <a:pt x="2593" y="33403"/>
                      <a:pt x="4226" y="32572"/>
                      <a:pt x="5974" y="32429"/>
                    </a:cubicBezTo>
                    <a:lnTo>
                      <a:pt x="420958" y="18"/>
                    </a:lnTo>
                    <a:cubicBezTo>
                      <a:pt x="423365" y="-154"/>
                      <a:pt x="425543" y="935"/>
                      <a:pt x="426833" y="2855"/>
                    </a:cubicBezTo>
                    <a:cubicBezTo>
                      <a:pt x="428151" y="4803"/>
                      <a:pt x="428294" y="7297"/>
                      <a:pt x="427263" y="9389"/>
                    </a:cubicBezTo>
                    <a:lnTo>
                      <a:pt x="355935" y="152044"/>
                    </a:lnTo>
                    <a:cubicBezTo>
                      <a:pt x="354846" y="154222"/>
                      <a:pt x="352611" y="155597"/>
                      <a:pt x="350146" y="155597"/>
                    </a:cubicBezTo>
                    <a:close/>
                    <a:moveTo>
                      <a:pt x="25232" y="142644"/>
                    </a:moveTo>
                    <a:lnTo>
                      <a:pt x="346134" y="142644"/>
                    </a:lnTo>
                    <a:lnTo>
                      <a:pt x="410527" y="13830"/>
                    </a:lnTo>
                    <a:lnTo>
                      <a:pt x="13712" y="44837"/>
                    </a:lnTo>
                    <a:lnTo>
                      <a:pt x="25232" y="142644"/>
                    </a:lnTo>
                    <a:close/>
                  </a:path>
                </a:pathLst>
              </a:custGeom>
              <a:solidFill>
                <a:schemeClr val="tx2"/>
              </a:solidFill>
              <a:ln w="2860" cap="flat">
                <a:noFill/>
                <a:prstDash val="solid"/>
                <a:miter/>
              </a:ln>
            </p:spPr>
            <p:txBody>
              <a:bodyPr rtlCol="0" anchor="ctr"/>
              <a:lstStyle/>
              <a:p>
                <a:endParaRPr lang="en-GB" dirty="0"/>
              </a:p>
            </p:txBody>
          </p:sp>
          <p:sp>
            <p:nvSpPr>
              <p:cNvPr id="97" name="Freihandform: Form 496">
                <a:extLst>
                  <a:ext uri="{FF2B5EF4-FFF2-40B4-BE49-F238E27FC236}">
                    <a16:creationId xmlns:a16="http://schemas.microsoft.com/office/drawing/2014/main" id="{BDB2A3B2-CFCF-4EA2-AA77-A30118B50CD6}"/>
                  </a:ext>
                </a:extLst>
              </p:cNvPr>
              <p:cNvSpPr/>
              <p:nvPr/>
            </p:nvSpPr>
            <p:spPr>
              <a:xfrm>
                <a:off x="2520129" y="1989872"/>
                <a:ext cx="317692" cy="12953"/>
              </a:xfrm>
              <a:custGeom>
                <a:avLst/>
                <a:gdLst>
                  <a:gd name="connsiteX0" fmla="*/ 311245 w 317692"/>
                  <a:gd name="connsiteY0" fmla="*/ 12953 h 12953"/>
                  <a:gd name="connsiteX1" fmla="*/ 6477 w 317692"/>
                  <a:gd name="connsiteY1" fmla="*/ 12953 h 12953"/>
                  <a:gd name="connsiteX2" fmla="*/ 0 w 317692"/>
                  <a:gd name="connsiteY2" fmla="*/ 6477 h 12953"/>
                  <a:gd name="connsiteX3" fmla="*/ 6477 w 317692"/>
                  <a:gd name="connsiteY3" fmla="*/ 0 h 12953"/>
                  <a:gd name="connsiteX4" fmla="*/ 311216 w 317692"/>
                  <a:gd name="connsiteY4" fmla="*/ 0 h 12953"/>
                  <a:gd name="connsiteX5" fmla="*/ 317693 w 317692"/>
                  <a:gd name="connsiteY5" fmla="*/ 6477 h 12953"/>
                  <a:gd name="connsiteX6" fmla="*/ 311245 w 317692"/>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692" h="12953">
                    <a:moveTo>
                      <a:pt x="311245" y="12953"/>
                    </a:moveTo>
                    <a:lnTo>
                      <a:pt x="6477" y="12953"/>
                    </a:lnTo>
                    <a:cubicBezTo>
                      <a:pt x="2894" y="12953"/>
                      <a:pt x="0" y="10059"/>
                      <a:pt x="0" y="6477"/>
                    </a:cubicBezTo>
                    <a:cubicBezTo>
                      <a:pt x="0" y="2894"/>
                      <a:pt x="2894" y="0"/>
                      <a:pt x="6477" y="0"/>
                    </a:cubicBezTo>
                    <a:lnTo>
                      <a:pt x="311216" y="0"/>
                    </a:lnTo>
                    <a:cubicBezTo>
                      <a:pt x="314798" y="0"/>
                      <a:pt x="317693" y="2894"/>
                      <a:pt x="317693" y="6477"/>
                    </a:cubicBezTo>
                    <a:cubicBezTo>
                      <a:pt x="317693" y="10059"/>
                      <a:pt x="314827" y="12953"/>
                      <a:pt x="311245" y="12953"/>
                    </a:cubicBezTo>
                    <a:close/>
                  </a:path>
                </a:pathLst>
              </a:custGeom>
              <a:solidFill>
                <a:schemeClr val="tx2"/>
              </a:solidFill>
              <a:ln w="2860" cap="flat">
                <a:noFill/>
                <a:prstDash val="solid"/>
                <a:miter/>
              </a:ln>
            </p:spPr>
            <p:txBody>
              <a:bodyPr rtlCol="0" anchor="ctr"/>
              <a:lstStyle/>
              <a:p>
                <a:endParaRPr lang="en-GB" dirty="0"/>
              </a:p>
            </p:txBody>
          </p:sp>
          <p:sp>
            <p:nvSpPr>
              <p:cNvPr id="98" name="Freihandform: Form 497">
                <a:extLst>
                  <a:ext uri="{FF2B5EF4-FFF2-40B4-BE49-F238E27FC236}">
                    <a16:creationId xmlns:a16="http://schemas.microsoft.com/office/drawing/2014/main" id="{AE068DD9-D2D4-429E-9B8C-B7908F557841}"/>
                  </a:ext>
                </a:extLst>
              </p:cNvPr>
              <p:cNvSpPr/>
              <p:nvPr/>
            </p:nvSpPr>
            <p:spPr>
              <a:xfrm>
                <a:off x="2857280" y="1912068"/>
                <a:ext cx="25934" cy="12953"/>
              </a:xfrm>
              <a:custGeom>
                <a:avLst/>
                <a:gdLst>
                  <a:gd name="connsiteX0" fmla="*/ 19458 w 25934"/>
                  <a:gd name="connsiteY0" fmla="*/ 12953 h 12953"/>
                  <a:gd name="connsiteX1" fmla="*/ 6477 w 25934"/>
                  <a:gd name="connsiteY1" fmla="*/ 12953 h 12953"/>
                  <a:gd name="connsiteX2" fmla="*/ 0 w 25934"/>
                  <a:gd name="connsiteY2" fmla="*/ 6477 h 12953"/>
                  <a:gd name="connsiteX3" fmla="*/ 6477 w 25934"/>
                  <a:gd name="connsiteY3" fmla="*/ 0 h 12953"/>
                  <a:gd name="connsiteX4" fmla="*/ 19458 w 25934"/>
                  <a:gd name="connsiteY4" fmla="*/ 0 h 12953"/>
                  <a:gd name="connsiteX5" fmla="*/ 25935 w 25934"/>
                  <a:gd name="connsiteY5" fmla="*/ 6477 h 12953"/>
                  <a:gd name="connsiteX6" fmla="*/ 19458 w 25934"/>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934" h="12953">
                    <a:moveTo>
                      <a:pt x="19458" y="12953"/>
                    </a:moveTo>
                    <a:lnTo>
                      <a:pt x="6477" y="12953"/>
                    </a:lnTo>
                    <a:cubicBezTo>
                      <a:pt x="2894" y="12953"/>
                      <a:pt x="0" y="10059"/>
                      <a:pt x="0" y="6477"/>
                    </a:cubicBezTo>
                    <a:cubicBezTo>
                      <a:pt x="0" y="2894"/>
                      <a:pt x="2894" y="0"/>
                      <a:pt x="6477" y="0"/>
                    </a:cubicBezTo>
                    <a:lnTo>
                      <a:pt x="19458" y="0"/>
                    </a:lnTo>
                    <a:cubicBezTo>
                      <a:pt x="23040" y="0"/>
                      <a:pt x="25935" y="2894"/>
                      <a:pt x="25935" y="6477"/>
                    </a:cubicBezTo>
                    <a:cubicBezTo>
                      <a:pt x="25963" y="10059"/>
                      <a:pt x="23040" y="12953"/>
                      <a:pt x="19458" y="12953"/>
                    </a:cubicBezTo>
                    <a:close/>
                  </a:path>
                </a:pathLst>
              </a:custGeom>
              <a:solidFill>
                <a:schemeClr val="tx2"/>
              </a:solidFill>
              <a:ln w="2860" cap="flat">
                <a:noFill/>
                <a:prstDash val="solid"/>
                <a:miter/>
              </a:ln>
            </p:spPr>
            <p:txBody>
              <a:bodyPr rtlCol="0" anchor="ctr"/>
              <a:lstStyle/>
              <a:p>
                <a:endParaRPr lang="en-GB" dirty="0"/>
              </a:p>
            </p:txBody>
          </p:sp>
          <p:sp>
            <p:nvSpPr>
              <p:cNvPr id="99" name="Freihandform: Form 498">
                <a:extLst>
                  <a:ext uri="{FF2B5EF4-FFF2-40B4-BE49-F238E27FC236}">
                    <a16:creationId xmlns:a16="http://schemas.microsoft.com/office/drawing/2014/main" id="{3CD997BB-F012-4994-9896-6BCE382438BF}"/>
                  </a:ext>
                </a:extLst>
              </p:cNvPr>
              <p:cNvSpPr/>
              <p:nvPr/>
            </p:nvSpPr>
            <p:spPr>
              <a:xfrm>
                <a:off x="2579471" y="1704590"/>
                <a:ext cx="122201" cy="185210"/>
              </a:xfrm>
              <a:custGeom>
                <a:avLst/>
                <a:gdLst>
                  <a:gd name="connsiteX0" fmla="*/ 6484 w 122201"/>
                  <a:gd name="connsiteY0" fmla="*/ 185211 h 185210"/>
                  <a:gd name="connsiteX1" fmla="*/ 5796 w 122201"/>
                  <a:gd name="connsiteY1" fmla="*/ 185182 h 185210"/>
                  <a:gd name="connsiteX2" fmla="*/ 36 w 122201"/>
                  <a:gd name="connsiteY2" fmla="*/ 178047 h 185210"/>
                  <a:gd name="connsiteX3" fmla="*/ 18491 w 122201"/>
                  <a:gd name="connsiteY3" fmla="*/ 5789 h 185210"/>
                  <a:gd name="connsiteX4" fmla="*/ 24939 w 122201"/>
                  <a:gd name="connsiteY4" fmla="*/ 0 h 185210"/>
                  <a:gd name="connsiteX5" fmla="*/ 115724 w 122201"/>
                  <a:gd name="connsiteY5" fmla="*/ 0 h 185210"/>
                  <a:gd name="connsiteX6" fmla="*/ 122201 w 122201"/>
                  <a:gd name="connsiteY6" fmla="*/ 6477 h 185210"/>
                  <a:gd name="connsiteX7" fmla="*/ 122201 w 122201"/>
                  <a:gd name="connsiteY7" fmla="*/ 169392 h 185210"/>
                  <a:gd name="connsiteX8" fmla="*/ 115724 w 122201"/>
                  <a:gd name="connsiteY8" fmla="*/ 175869 h 185210"/>
                  <a:gd name="connsiteX9" fmla="*/ 109248 w 122201"/>
                  <a:gd name="connsiteY9" fmla="*/ 169392 h 185210"/>
                  <a:gd name="connsiteX10" fmla="*/ 109248 w 122201"/>
                  <a:gd name="connsiteY10" fmla="*/ 12953 h 185210"/>
                  <a:gd name="connsiteX11" fmla="*/ 30785 w 122201"/>
                  <a:gd name="connsiteY11" fmla="*/ 12953 h 185210"/>
                  <a:gd name="connsiteX12" fmla="*/ 12960 w 122201"/>
                  <a:gd name="connsiteY12" fmla="*/ 179422 h 185210"/>
                  <a:gd name="connsiteX13" fmla="*/ 6484 w 122201"/>
                  <a:gd name="connsiteY13" fmla="*/ 185211 h 185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201" h="185210">
                    <a:moveTo>
                      <a:pt x="6484" y="185211"/>
                    </a:moveTo>
                    <a:cubicBezTo>
                      <a:pt x="6254" y="185211"/>
                      <a:pt x="6025" y="185211"/>
                      <a:pt x="5796" y="185182"/>
                    </a:cubicBezTo>
                    <a:cubicBezTo>
                      <a:pt x="2242" y="184810"/>
                      <a:pt x="-337" y="181600"/>
                      <a:pt x="36" y="178047"/>
                    </a:cubicBezTo>
                    <a:lnTo>
                      <a:pt x="18491" y="5789"/>
                    </a:lnTo>
                    <a:cubicBezTo>
                      <a:pt x="18835" y="2493"/>
                      <a:pt x="21614" y="0"/>
                      <a:pt x="24939" y="0"/>
                    </a:cubicBezTo>
                    <a:lnTo>
                      <a:pt x="115724" y="0"/>
                    </a:lnTo>
                    <a:cubicBezTo>
                      <a:pt x="119307" y="0"/>
                      <a:pt x="122201" y="2894"/>
                      <a:pt x="122201" y="6477"/>
                    </a:cubicBezTo>
                    <a:lnTo>
                      <a:pt x="122201" y="169392"/>
                    </a:lnTo>
                    <a:cubicBezTo>
                      <a:pt x="122201" y="172974"/>
                      <a:pt x="119307" y="175869"/>
                      <a:pt x="115724" y="175869"/>
                    </a:cubicBezTo>
                    <a:cubicBezTo>
                      <a:pt x="112142" y="175869"/>
                      <a:pt x="109248" y="172974"/>
                      <a:pt x="109248" y="169392"/>
                    </a:cubicBezTo>
                    <a:lnTo>
                      <a:pt x="109248" y="12953"/>
                    </a:lnTo>
                    <a:lnTo>
                      <a:pt x="30785" y="12953"/>
                    </a:lnTo>
                    <a:lnTo>
                      <a:pt x="12960" y="179422"/>
                    </a:lnTo>
                    <a:cubicBezTo>
                      <a:pt x="12588" y="182718"/>
                      <a:pt x="9779" y="185211"/>
                      <a:pt x="6484" y="185211"/>
                    </a:cubicBezTo>
                    <a:close/>
                  </a:path>
                </a:pathLst>
              </a:custGeom>
              <a:solidFill>
                <a:schemeClr val="tx2"/>
              </a:solidFill>
              <a:ln w="2860" cap="flat">
                <a:noFill/>
                <a:prstDash val="solid"/>
                <a:miter/>
              </a:ln>
            </p:spPr>
            <p:txBody>
              <a:bodyPr rtlCol="0" anchor="ctr"/>
              <a:lstStyle/>
              <a:p>
                <a:endParaRPr lang="en-GB" dirty="0"/>
              </a:p>
            </p:txBody>
          </p:sp>
          <p:sp>
            <p:nvSpPr>
              <p:cNvPr id="100" name="Freihandform: Form 499">
                <a:extLst>
                  <a:ext uri="{FF2B5EF4-FFF2-40B4-BE49-F238E27FC236}">
                    <a16:creationId xmlns:a16="http://schemas.microsoft.com/office/drawing/2014/main" id="{B9E5B2E8-26E4-4729-8B0D-B74F3FF7BE8B}"/>
                  </a:ext>
                </a:extLst>
              </p:cNvPr>
              <p:cNvSpPr/>
              <p:nvPr/>
            </p:nvSpPr>
            <p:spPr>
              <a:xfrm>
                <a:off x="2591456" y="1769413"/>
                <a:ext cx="77804" cy="12953"/>
              </a:xfrm>
              <a:custGeom>
                <a:avLst/>
                <a:gdLst>
                  <a:gd name="connsiteX0" fmla="*/ 71328 w 77804"/>
                  <a:gd name="connsiteY0" fmla="*/ 12953 h 12953"/>
                  <a:gd name="connsiteX1" fmla="*/ 6477 w 77804"/>
                  <a:gd name="connsiteY1" fmla="*/ 12953 h 12953"/>
                  <a:gd name="connsiteX2" fmla="*/ 0 w 77804"/>
                  <a:gd name="connsiteY2" fmla="*/ 6477 h 12953"/>
                  <a:gd name="connsiteX3" fmla="*/ 6477 w 77804"/>
                  <a:gd name="connsiteY3" fmla="*/ 0 h 12953"/>
                  <a:gd name="connsiteX4" fmla="*/ 71328 w 77804"/>
                  <a:gd name="connsiteY4" fmla="*/ 0 h 12953"/>
                  <a:gd name="connsiteX5" fmla="*/ 77804 w 77804"/>
                  <a:gd name="connsiteY5" fmla="*/ 6477 h 12953"/>
                  <a:gd name="connsiteX6" fmla="*/ 71328 w 77804"/>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804" h="12953">
                    <a:moveTo>
                      <a:pt x="71328" y="12953"/>
                    </a:moveTo>
                    <a:lnTo>
                      <a:pt x="6477" y="12953"/>
                    </a:lnTo>
                    <a:cubicBezTo>
                      <a:pt x="2894" y="12953"/>
                      <a:pt x="0" y="10059"/>
                      <a:pt x="0" y="6477"/>
                    </a:cubicBezTo>
                    <a:cubicBezTo>
                      <a:pt x="0" y="2894"/>
                      <a:pt x="2894" y="0"/>
                      <a:pt x="6477" y="0"/>
                    </a:cubicBezTo>
                    <a:lnTo>
                      <a:pt x="71328" y="0"/>
                    </a:lnTo>
                    <a:cubicBezTo>
                      <a:pt x="74910" y="0"/>
                      <a:pt x="77804" y="2894"/>
                      <a:pt x="77804" y="6477"/>
                    </a:cubicBezTo>
                    <a:cubicBezTo>
                      <a:pt x="77804" y="10059"/>
                      <a:pt x="74910" y="12953"/>
                      <a:pt x="71328" y="12953"/>
                    </a:cubicBezTo>
                    <a:close/>
                  </a:path>
                </a:pathLst>
              </a:custGeom>
              <a:solidFill>
                <a:schemeClr val="tx2"/>
              </a:solidFill>
              <a:ln w="2860" cap="flat">
                <a:noFill/>
                <a:prstDash val="solid"/>
                <a:miter/>
              </a:ln>
            </p:spPr>
            <p:txBody>
              <a:bodyPr rtlCol="0" anchor="ctr"/>
              <a:lstStyle/>
              <a:p>
                <a:endParaRPr lang="en-GB" dirty="0"/>
              </a:p>
            </p:txBody>
          </p:sp>
          <p:sp>
            <p:nvSpPr>
              <p:cNvPr id="101" name="Freihandform: Form 506">
                <a:extLst>
                  <a:ext uri="{FF2B5EF4-FFF2-40B4-BE49-F238E27FC236}">
                    <a16:creationId xmlns:a16="http://schemas.microsoft.com/office/drawing/2014/main" id="{E0ED1220-16FA-43FA-AED3-8FEE069E595C}"/>
                  </a:ext>
                </a:extLst>
              </p:cNvPr>
              <p:cNvSpPr/>
              <p:nvPr/>
            </p:nvSpPr>
            <p:spPr>
              <a:xfrm>
                <a:off x="2656307" y="1795347"/>
                <a:ext cx="19429" cy="12953"/>
              </a:xfrm>
              <a:custGeom>
                <a:avLst/>
                <a:gdLst>
                  <a:gd name="connsiteX0" fmla="*/ 12953 w 19429"/>
                  <a:gd name="connsiteY0" fmla="*/ 12953 h 12953"/>
                  <a:gd name="connsiteX1" fmla="*/ 6477 w 19429"/>
                  <a:gd name="connsiteY1" fmla="*/ 12953 h 12953"/>
                  <a:gd name="connsiteX2" fmla="*/ 0 w 19429"/>
                  <a:gd name="connsiteY2" fmla="*/ 6477 h 12953"/>
                  <a:gd name="connsiteX3" fmla="*/ 6477 w 19429"/>
                  <a:gd name="connsiteY3" fmla="*/ 0 h 12953"/>
                  <a:gd name="connsiteX4" fmla="*/ 12953 w 19429"/>
                  <a:gd name="connsiteY4" fmla="*/ 0 h 12953"/>
                  <a:gd name="connsiteX5" fmla="*/ 19429 w 19429"/>
                  <a:gd name="connsiteY5" fmla="*/ 6477 h 12953"/>
                  <a:gd name="connsiteX6" fmla="*/ 12953 w 19429"/>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29" h="12953">
                    <a:moveTo>
                      <a:pt x="12953" y="12953"/>
                    </a:moveTo>
                    <a:lnTo>
                      <a:pt x="6477" y="12953"/>
                    </a:lnTo>
                    <a:cubicBezTo>
                      <a:pt x="2894" y="12953"/>
                      <a:pt x="0" y="10059"/>
                      <a:pt x="0" y="6477"/>
                    </a:cubicBezTo>
                    <a:cubicBezTo>
                      <a:pt x="0" y="2894"/>
                      <a:pt x="2894" y="0"/>
                      <a:pt x="6477" y="0"/>
                    </a:cubicBezTo>
                    <a:lnTo>
                      <a:pt x="12953" y="0"/>
                    </a:lnTo>
                    <a:cubicBezTo>
                      <a:pt x="16535" y="0"/>
                      <a:pt x="19429" y="2894"/>
                      <a:pt x="19429" y="6477"/>
                    </a:cubicBezTo>
                    <a:cubicBezTo>
                      <a:pt x="19429" y="10059"/>
                      <a:pt x="16535" y="12953"/>
                      <a:pt x="12953" y="12953"/>
                    </a:cubicBezTo>
                    <a:close/>
                  </a:path>
                </a:pathLst>
              </a:custGeom>
              <a:solidFill>
                <a:schemeClr val="tx2"/>
              </a:solidFill>
              <a:ln w="2860" cap="flat">
                <a:noFill/>
                <a:prstDash val="solid"/>
                <a:miter/>
              </a:ln>
            </p:spPr>
            <p:txBody>
              <a:bodyPr rtlCol="0" anchor="ctr"/>
              <a:lstStyle/>
              <a:p>
                <a:endParaRPr lang="en-GB" dirty="0"/>
              </a:p>
            </p:txBody>
          </p:sp>
          <p:sp>
            <p:nvSpPr>
              <p:cNvPr id="102" name="Freihandform: Form 507">
                <a:extLst>
                  <a:ext uri="{FF2B5EF4-FFF2-40B4-BE49-F238E27FC236}">
                    <a16:creationId xmlns:a16="http://schemas.microsoft.com/office/drawing/2014/main" id="{3C14B992-40AA-4894-BF3F-34F3070D775E}"/>
                  </a:ext>
                </a:extLst>
              </p:cNvPr>
              <p:cNvSpPr/>
              <p:nvPr/>
            </p:nvSpPr>
            <p:spPr>
              <a:xfrm>
                <a:off x="2623896" y="1795347"/>
                <a:ext cx="19429" cy="12953"/>
              </a:xfrm>
              <a:custGeom>
                <a:avLst/>
                <a:gdLst>
                  <a:gd name="connsiteX0" fmla="*/ 12953 w 19429"/>
                  <a:gd name="connsiteY0" fmla="*/ 12953 h 12953"/>
                  <a:gd name="connsiteX1" fmla="*/ 6477 w 19429"/>
                  <a:gd name="connsiteY1" fmla="*/ 12953 h 12953"/>
                  <a:gd name="connsiteX2" fmla="*/ 0 w 19429"/>
                  <a:gd name="connsiteY2" fmla="*/ 6477 h 12953"/>
                  <a:gd name="connsiteX3" fmla="*/ 6477 w 19429"/>
                  <a:gd name="connsiteY3" fmla="*/ 0 h 12953"/>
                  <a:gd name="connsiteX4" fmla="*/ 12953 w 19429"/>
                  <a:gd name="connsiteY4" fmla="*/ 0 h 12953"/>
                  <a:gd name="connsiteX5" fmla="*/ 19429 w 19429"/>
                  <a:gd name="connsiteY5" fmla="*/ 6477 h 12953"/>
                  <a:gd name="connsiteX6" fmla="*/ 12953 w 19429"/>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429" h="12953">
                    <a:moveTo>
                      <a:pt x="12953" y="12953"/>
                    </a:moveTo>
                    <a:lnTo>
                      <a:pt x="6477" y="12953"/>
                    </a:lnTo>
                    <a:cubicBezTo>
                      <a:pt x="2894" y="12953"/>
                      <a:pt x="0" y="10059"/>
                      <a:pt x="0" y="6477"/>
                    </a:cubicBezTo>
                    <a:cubicBezTo>
                      <a:pt x="0" y="2894"/>
                      <a:pt x="2894" y="0"/>
                      <a:pt x="6477" y="0"/>
                    </a:cubicBezTo>
                    <a:lnTo>
                      <a:pt x="12953" y="0"/>
                    </a:lnTo>
                    <a:cubicBezTo>
                      <a:pt x="16535" y="0"/>
                      <a:pt x="19429" y="2894"/>
                      <a:pt x="19429" y="6477"/>
                    </a:cubicBezTo>
                    <a:cubicBezTo>
                      <a:pt x="19429" y="10059"/>
                      <a:pt x="16535" y="12953"/>
                      <a:pt x="12953" y="12953"/>
                    </a:cubicBezTo>
                    <a:close/>
                  </a:path>
                </a:pathLst>
              </a:custGeom>
              <a:solidFill>
                <a:schemeClr val="tx2"/>
              </a:solidFill>
              <a:ln w="2860" cap="flat">
                <a:noFill/>
                <a:prstDash val="solid"/>
                <a:miter/>
              </a:ln>
            </p:spPr>
            <p:txBody>
              <a:bodyPr rtlCol="0" anchor="ctr"/>
              <a:lstStyle/>
              <a:p>
                <a:endParaRPr lang="en-GB" dirty="0"/>
              </a:p>
            </p:txBody>
          </p:sp>
          <p:sp>
            <p:nvSpPr>
              <p:cNvPr id="103" name="Freihandform: Form 508">
                <a:extLst>
                  <a:ext uri="{FF2B5EF4-FFF2-40B4-BE49-F238E27FC236}">
                    <a16:creationId xmlns:a16="http://schemas.microsoft.com/office/drawing/2014/main" id="{6AB2A530-6CBB-4A2A-805D-F775F8645089}"/>
                  </a:ext>
                </a:extLst>
              </p:cNvPr>
              <p:cNvSpPr/>
              <p:nvPr/>
            </p:nvSpPr>
            <p:spPr>
              <a:xfrm>
                <a:off x="2876766" y="1814777"/>
                <a:ext cx="77832" cy="51898"/>
              </a:xfrm>
              <a:custGeom>
                <a:avLst/>
                <a:gdLst>
                  <a:gd name="connsiteX0" fmla="*/ 6477 w 77832"/>
                  <a:gd name="connsiteY0" fmla="*/ 51898 h 51898"/>
                  <a:gd name="connsiteX1" fmla="*/ 0 w 77832"/>
                  <a:gd name="connsiteY1" fmla="*/ 45422 h 51898"/>
                  <a:gd name="connsiteX2" fmla="*/ 0 w 77832"/>
                  <a:gd name="connsiteY2" fmla="*/ 12982 h 51898"/>
                  <a:gd name="connsiteX3" fmla="*/ 12982 w 77832"/>
                  <a:gd name="connsiteY3" fmla="*/ 0 h 51898"/>
                  <a:gd name="connsiteX4" fmla="*/ 64851 w 77832"/>
                  <a:gd name="connsiteY4" fmla="*/ 0 h 51898"/>
                  <a:gd name="connsiteX5" fmla="*/ 77833 w 77832"/>
                  <a:gd name="connsiteY5" fmla="*/ 12982 h 51898"/>
                  <a:gd name="connsiteX6" fmla="*/ 77833 w 77832"/>
                  <a:gd name="connsiteY6" fmla="*/ 38916 h 51898"/>
                  <a:gd name="connsiteX7" fmla="*/ 71356 w 77832"/>
                  <a:gd name="connsiteY7" fmla="*/ 45393 h 51898"/>
                  <a:gd name="connsiteX8" fmla="*/ 64880 w 77832"/>
                  <a:gd name="connsiteY8" fmla="*/ 38916 h 51898"/>
                  <a:gd name="connsiteX9" fmla="*/ 64880 w 77832"/>
                  <a:gd name="connsiteY9" fmla="*/ 12982 h 51898"/>
                  <a:gd name="connsiteX10" fmla="*/ 13010 w 77832"/>
                  <a:gd name="connsiteY10" fmla="*/ 12982 h 51898"/>
                  <a:gd name="connsiteX11" fmla="*/ 13010 w 77832"/>
                  <a:gd name="connsiteY11" fmla="*/ 45393 h 51898"/>
                  <a:gd name="connsiteX12" fmla="*/ 6477 w 77832"/>
                  <a:gd name="connsiteY12" fmla="*/ 51898 h 51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7832" h="51898">
                    <a:moveTo>
                      <a:pt x="6477" y="51898"/>
                    </a:moveTo>
                    <a:cubicBezTo>
                      <a:pt x="2894" y="51898"/>
                      <a:pt x="0" y="49004"/>
                      <a:pt x="0" y="45422"/>
                    </a:cubicBezTo>
                    <a:lnTo>
                      <a:pt x="0" y="12982"/>
                    </a:lnTo>
                    <a:cubicBezTo>
                      <a:pt x="0" y="5817"/>
                      <a:pt x="5817" y="0"/>
                      <a:pt x="12982" y="0"/>
                    </a:cubicBezTo>
                    <a:lnTo>
                      <a:pt x="64851" y="0"/>
                    </a:lnTo>
                    <a:cubicBezTo>
                      <a:pt x="71987" y="0"/>
                      <a:pt x="77833" y="5817"/>
                      <a:pt x="77833" y="12982"/>
                    </a:cubicBezTo>
                    <a:lnTo>
                      <a:pt x="77833" y="38916"/>
                    </a:lnTo>
                    <a:cubicBezTo>
                      <a:pt x="77833" y="42498"/>
                      <a:pt x="74938" y="45393"/>
                      <a:pt x="71356" y="45393"/>
                    </a:cubicBezTo>
                    <a:cubicBezTo>
                      <a:pt x="67774" y="45393"/>
                      <a:pt x="64880" y="42498"/>
                      <a:pt x="64880" y="38916"/>
                    </a:cubicBezTo>
                    <a:lnTo>
                      <a:pt x="64880" y="12982"/>
                    </a:lnTo>
                    <a:lnTo>
                      <a:pt x="13010" y="12982"/>
                    </a:lnTo>
                    <a:lnTo>
                      <a:pt x="13010" y="45393"/>
                    </a:lnTo>
                    <a:cubicBezTo>
                      <a:pt x="12953" y="48975"/>
                      <a:pt x="10059" y="51898"/>
                      <a:pt x="6477" y="51898"/>
                    </a:cubicBezTo>
                    <a:close/>
                  </a:path>
                </a:pathLst>
              </a:custGeom>
              <a:solidFill>
                <a:schemeClr val="tx2"/>
              </a:solidFill>
              <a:ln w="2860" cap="flat">
                <a:noFill/>
                <a:prstDash val="solid"/>
                <a:miter/>
              </a:ln>
            </p:spPr>
            <p:txBody>
              <a:bodyPr rtlCol="0" anchor="ctr"/>
              <a:lstStyle/>
              <a:p>
                <a:endParaRPr lang="en-GB" dirty="0"/>
              </a:p>
            </p:txBody>
          </p:sp>
          <p:sp>
            <p:nvSpPr>
              <p:cNvPr id="104" name="Freihandform: Form 509">
                <a:extLst>
                  <a:ext uri="{FF2B5EF4-FFF2-40B4-BE49-F238E27FC236}">
                    <a16:creationId xmlns:a16="http://schemas.microsoft.com/office/drawing/2014/main" id="{33750E17-882A-438B-A90A-865B7C5CDDC4}"/>
                  </a:ext>
                </a:extLst>
              </p:cNvPr>
              <p:cNvSpPr/>
              <p:nvPr/>
            </p:nvSpPr>
            <p:spPr>
              <a:xfrm>
                <a:off x="2805439" y="1814777"/>
                <a:ext cx="84309" cy="56225"/>
              </a:xfrm>
              <a:custGeom>
                <a:avLst/>
                <a:gdLst>
                  <a:gd name="connsiteX0" fmla="*/ 6477 w 84309"/>
                  <a:gd name="connsiteY0" fmla="*/ 56225 h 56225"/>
                  <a:gd name="connsiteX1" fmla="*/ 0 w 84309"/>
                  <a:gd name="connsiteY1" fmla="*/ 49749 h 56225"/>
                  <a:gd name="connsiteX2" fmla="*/ 0 w 84309"/>
                  <a:gd name="connsiteY2" fmla="*/ 12982 h 56225"/>
                  <a:gd name="connsiteX3" fmla="*/ 12982 w 84309"/>
                  <a:gd name="connsiteY3" fmla="*/ 0 h 56225"/>
                  <a:gd name="connsiteX4" fmla="*/ 71328 w 84309"/>
                  <a:gd name="connsiteY4" fmla="*/ 0 h 56225"/>
                  <a:gd name="connsiteX5" fmla="*/ 84309 w 84309"/>
                  <a:gd name="connsiteY5" fmla="*/ 12982 h 56225"/>
                  <a:gd name="connsiteX6" fmla="*/ 84309 w 84309"/>
                  <a:gd name="connsiteY6" fmla="*/ 41610 h 56225"/>
                  <a:gd name="connsiteX7" fmla="*/ 77833 w 84309"/>
                  <a:gd name="connsiteY7" fmla="*/ 48087 h 56225"/>
                  <a:gd name="connsiteX8" fmla="*/ 71356 w 84309"/>
                  <a:gd name="connsiteY8" fmla="*/ 41610 h 56225"/>
                  <a:gd name="connsiteX9" fmla="*/ 71356 w 84309"/>
                  <a:gd name="connsiteY9" fmla="*/ 12982 h 56225"/>
                  <a:gd name="connsiteX10" fmla="*/ 13010 w 84309"/>
                  <a:gd name="connsiteY10" fmla="*/ 12982 h 56225"/>
                  <a:gd name="connsiteX11" fmla="*/ 13010 w 84309"/>
                  <a:gd name="connsiteY11" fmla="*/ 49720 h 56225"/>
                  <a:gd name="connsiteX12" fmla="*/ 6477 w 84309"/>
                  <a:gd name="connsiteY12" fmla="*/ 56225 h 56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309" h="56225">
                    <a:moveTo>
                      <a:pt x="6477" y="56225"/>
                    </a:moveTo>
                    <a:cubicBezTo>
                      <a:pt x="2894" y="56225"/>
                      <a:pt x="0" y="53331"/>
                      <a:pt x="0" y="49749"/>
                    </a:cubicBezTo>
                    <a:lnTo>
                      <a:pt x="0" y="12982"/>
                    </a:lnTo>
                    <a:cubicBezTo>
                      <a:pt x="0" y="5817"/>
                      <a:pt x="5817" y="0"/>
                      <a:pt x="12982" y="0"/>
                    </a:cubicBezTo>
                    <a:lnTo>
                      <a:pt x="71328" y="0"/>
                    </a:lnTo>
                    <a:cubicBezTo>
                      <a:pt x="78463" y="0"/>
                      <a:pt x="84309" y="5817"/>
                      <a:pt x="84309" y="12982"/>
                    </a:cubicBezTo>
                    <a:lnTo>
                      <a:pt x="84309" y="41610"/>
                    </a:lnTo>
                    <a:cubicBezTo>
                      <a:pt x="84309" y="45192"/>
                      <a:pt x="81415" y="48087"/>
                      <a:pt x="77833" y="48087"/>
                    </a:cubicBezTo>
                    <a:cubicBezTo>
                      <a:pt x="74251" y="48087"/>
                      <a:pt x="71356" y="45192"/>
                      <a:pt x="71356" y="41610"/>
                    </a:cubicBezTo>
                    <a:lnTo>
                      <a:pt x="71356" y="12982"/>
                    </a:lnTo>
                    <a:lnTo>
                      <a:pt x="13010" y="12982"/>
                    </a:lnTo>
                    <a:lnTo>
                      <a:pt x="13010" y="49720"/>
                    </a:lnTo>
                    <a:cubicBezTo>
                      <a:pt x="12953" y="53302"/>
                      <a:pt x="10059" y="56225"/>
                      <a:pt x="6477" y="56225"/>
                    </a:cubicBezTo>
                    <a:close/>
                  </a:path>
                </a:pathLst>
              </a:custGeom>
              <a:solidFill>
                <a:schemeClr val="tx2"/>
              </a:solidFill>
              <a:ln w="2860" cap="flat">
                <a:noFill/>
                <a:prstDash val="solid"/>
                <a:miter/>
              </a:ln>
            </p:spPr>
            <p:txBody>
              <a:bodyPr rtlCol="0" anchor="ctr"/>
              <a:lstStyle/>
              <a:p>
                <a:endParaRPr lang="en-GB" dirty="0"/>
              </a:p>
            </p:txBody>
          </p:sp>
        </p:grpSp>
      </p:grpSp>
      <p:grpSp>
        <p:nvGrpSpPr>
          <p:cNvPr id="114" name="Gruppieren 980">
            <a:extLst>
              <a:ext uri="{FF2B5EF4-FFF2-40B4-BE49-F238E27FC236}">
                <a16:creationId xmlns:a16="http://schemas.microsoft.com/office/drawing/2014/main" id="{9444287B-1A46-48A7-9B96-07607FD98F3A}"/>
              </a:ext>
            </a:extLst>
          </p:cNvPr>
          <p:cNvGrpSpPr>
            <a:grpSpLocks noChangeAspect="1"/>
          </p:cNvGrpSpPr>
          <p:nvPr/>
        </p:nvGrpSpPr>
        <p:grpSpPr>
          <a:xfrm>
            <a:off x="1600358" y="1585984"/>
            <a:ext cx="478248" cy="432000"/>
            <a:chOff x="1727701" y="1691580"/>
            <a:chExt cx="416358" cy="376095"/>
          </a:xfrm>
        </p:grpSpPr>
        <p:grpSp>
          <p:nvGrpSpPr>
            <p:cNvPr id="115" name="Gruppieren 978">
              <a:extLst>
                <a:ext uri="{FF2B5EF4-FFF2-40B4-BE49-F238E27FC236}">
                  <a16:creationId xmlns:a16="http://schemas.microsoft.com/office/drawing/2014/main" id="{722E4501-D47C-47F5-A8FC-9248FA7D1C2A}"/>
                </a:ext>
              </a:extLst>
            </p:cNvPr>
            <p:cNvGrpSpPr/>
            <p:nvPr/>
          </p:nvGrpSpPr>
          <p:grpSpPr>
            <a:xfrm>
              <a:off x="1727701" y="1782366"/>
              <a:ext cx="416358" cy="142654"/>
              <a:chOff x="1727703" y="1782366"/>
              <a:chExt cx="416358" cy="142654"/>
            </a:xfrm>
          </p:grpSpPr>
          <p:sp>
            <p:nvSpPr>
              <p:cNvPr id="127" name="Freihandform: Form 479">
                <a:extLst>
                  <a:ext uri="{FF2B5EF4-FFF2-40B4-BE49-F238E27FC236}">
                    <a16:creationId xmlns:a16="http://schemas.microsoft.com/office/drawing/2014/main" id="{A9703858-F159-473B-AF20-46BDFDAB5903}"/>
                  </a:ext>
                </a:extLst>
              </p:cNvPr>
              <p:cNvSpPr/>
              <p:nvPr/>
            </p:nvSpPr>
            <p:spPr>
              <a:xfrm>
                <a:off x="1819864" y="1873151"/>
                <a:ext cx="51869" cy="51869"/>
              </a:xfrm>
              <a:custGeom>
                <a:avLst/>
                <a:gdLst>
                  <a:gd name="connsiteX0" fmla="*/ 25935 w 51869"/>
                  <a:gd name="connsiteY0" fmla="*/ 51869 h 51869"/>
                  <a:gd name="connsiteX1" fmla="*/ 0 w 51869"/>
                  <a:gd name="connsiteY1" fmla="*/ 25935 h 51869"/>
                  <a:gd name="connsiteX2" fmla="*/ 25935 w 51869"/>
                  <a:gd name="connsiteY2" fmla="*/ 0 h 51869"/>
                  <a:gd name="connsiteX3" fmla="*/ 51869 w 51869"/>
                  <a:gd name="connsiteY3" fmla="*/ 25935 h 51869"/>
                  <a:gd name="connsiteX4" fmla="*/ 25935 w 51869"/>
                  <a:gd name="connsiteY4" fmla="*/ 51869 h 51869"/>
                  <a:gd name="connsiteX5" fmla="*/ 25935 w 51869"/>
                  <a:gd name="connsiteY5" fmla="*/ 12982 h 51869"/>
                  <a:gd name="connsiteX6" fmla="*/ 12953 w 51869"/>
                  <a:gd name="connsiteY6" fmla="*/ 25963 h 51869"/>
                  <a:gd name="connsiteX7" fmla="*/ 25935 w 51869"/>
                  <a:gd name="connsiteY7" fmla="*/ 38945 h 51869"/>
                  <a:gd name="connsiteX8" fmla="*/ 38916 w 51869"/>
                  <a:gd name="connsiteY8" fmla="*/ 25963 h 51869"/>
                  <a:gd name="connsiteX9" fmla="*/ 25935 w 51869"/>
                  <a:gd name="connsiteY9" fmla="*/ 12982 h 5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69" h="51869">
                    <a:moveTo>
                      <a:pt x="25935" y="51869"/>
                    </a:moveTo>
                    <a:cubicBezTo>
                      <a:pt x="11635" y="51869"/>
                      <a:pt x="0" y="40235"/>
                      <a:pt x="0" y="25935"/>
                    </a:cubicBezTo>
                    <a:cubicBezTo>
                      <a:pt x="0" y="11635"/>
                      <a:pt x="11635" y="0"/>
                      <a:pt x="25935" y="0"/>
                    </a:cubicBezTo>
                    <a:cubicBezTo>
                      <a:pt x="40235" y="0"/>
                      <a:pt x="51869" y="11635"/>
                      <a:pt x="51869" y="25935"/>
                    </a:cubicBezTo>
                    <a:cubicBezTo>
                      <a:pt x="51869" y="40235"/>
                      <a:pt x="40235" y="51869"/>
                      <a:pt x="25935" y="51869"/>
                    </a:cubicBezTo>
                    <a:close/>
                    <a:moveTo>
                      <a:pt x="25935" y="12982"/>
                    </a:moveTo>
                    <a:cubicBezTo>
                      <a:pt x="18770" y="12982"/>
                      <a:pt x="12953" y="18799"/>
                      <a:pt x="12953" y="25963"/>
                    </a:cubicBezTo>
                    <a:cubicBezTo>
                      <a:pt x="12953" y="33128"/>
                      <a:pt x="18770" y="38945"/>
                      <a:pt x="25935" y="38945"/>
                    </a:cubicBezTo>
                    <a:cubicBezTo>
                      <a:pt x="33099" y="38945"/>
                      <a:pt x="38916" y="33128"/>
                      <a:pt x="38916" y="25963"/>
                    </a:cubicBezTo>
                    <a:cubicBezTo>
                      <a:pt x="38888" y="18770"/>
                      <a:pt x="33070" y="12982"/>
                      <a:pt x="25935" y="12982"/>
                    </a:cubicBezTo>
                    <a:close/>
                  </a:path>
                </a:pathLst>
              </a:custGeom>
              <a:solidFill>
                <a:schemeClr val="accent1"/>
              </a:solidFill>
              <a:ln w="2860" cap="flat">
                <a:noFill/>
                <a:prstDash val="solid"/>
                <a:miter/>
              </a:ln>
            </p:spPr>
            <p:txBody>
              <a:bodyPr rtlCol="0" anchor="ctr"/>
              <a:lstStyle/>
              <a:p>
                <a:endParaRPr lang="en-GB" dirty="0"/>
              </a:p>
            </p:txBody>
          </p:sp>
          <p:sp>
            <p:nvSpPr>
              <p:cNvPr id="128" name="Freihandform: Form 480">
                <a:extLst>
                  <a:ext uri="{FF2B5EF4-FFF2-40B4-BE49-F238E27FC236}">
                    <a16:creationId xmlns:a16="http://schemas.microsoft.com/office/drawing/2014/main" id="{3D5D8C16-20EB-4D89-8EA7-C18E7EB9DD12}"/>
                  </a:ext>
                </a:extLst>
              </p:cNvPr>
              <p:cNvSpPr/>
              <p:nvPr/>
            </p:nvSpPr>
            <p:spPr>
              <a:xfrm>
                <a:off x="2001407" y="1873151"/>
                <a:ext cx="51869" cy="51869"/>
              </a:xfrm>
              <a:custGeom>
                <a:avLst/>
                <a:gdLst>
                  <a:gd name="connsiteX0" fmla="*/ 25935 w 51869"/>
                  <a:gd name="connsiteY0" fmla="*/ 51869 h 51869"/>
                  <a:gd name="connsiteX1" fmla="*/ 0 w 51869"/>
                  <a:gd name="connsiteY1" fmla="*/ 25935 h 51869"/>
                  <a:gd name="connsiteX2" fmla="*/ 25935 w 51869"/>
                  <a:gd name="connsiteY2" fmla="*/ 0 h 51869"/>
                  <a:gd name="connsiteX3" fmla="*/ 51869 w 51869"/>
                  <a:gd name="connsiteY3" fmla="*/ 25935 h 51869"/>
                  <a:gd name="connsiteX4" fmla="*/ 25935 w 51869"/>
                  <a:gd name="connsiteY4" fmla="*/ 51869 h 51869"/>
                  <a:gd name="connsiteX5" fmla="*/ 25935 w 51869"/>
                  <a:gd name="connsiteY5" fmla="*/ 12982 h 51869"/>
                  <a:gd name="connsiteX6" fmla="*/ 12953 w 51869"/>
                  <a:gd name="connsiteY6" fmla="*/ 25963 h 51869"/>
                  <a:gd name="connsiteX7" fmla="*/ 25935 w 51869"/>
                  <a:gd name="connsiteY7" fmla="*/ 38945 h 51869"/>
                  <a:gd name="connsiteX8" fmla="*/ 38916 w 51869"/>
                  <a:gd name="connsiteY8" fmla="*/ 25963 h 51869"/>
                  <a:gd name="connsiteX9" fmla="*/ 25935 w 51869"/>
                  <a:gd name="connsiteY9" fmla="*/ 12982 h 51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869" h="51869">
                    <a:moveTo>
                      <a:pt x="25935" y="51869"/>
                    </a:moveTo>
                    <a:cubicBezTo>
                      <a:pt x="11635" y="51869"/>
                      <a:pt x="0" y="40235"/>
                      <a:pt x="0" y="25935"/>
                    </a:cubicBezTo>
                    <a:cubicBezTo>
                      <a:pt x="0" y="11635"/>
                      <a:pt x="11635" y="0"/>
                      <a:pt x="25935" y="0"/>
                    </a:cubicBezTo>
                    <a:cubicBezTo>
                      <a:pt x="40235" y="0"/>
                      <a:pt x="51869" y="11635"/>
                      <a:pt x="51869" y="25935"/>
                    </a:cubicBezTo>
                    <a:cubicBezTo>
                      <a:pt x="51869" y="40235"/>
                      <a:pt x="40235" y="51869"/>
                      <a:pt x="25935" y="51869"/>
                    </a:cubicBezTo>
                    <a:close/>
                    <a:moveTo>
                      <a:pt x="25935" y="12982"/>
                    </a:moveTo>
                    <a:cubicBezTo>
                      <a:pt x="18770" y="12982"/>
                      <a:pt x="12953" y="18799"/>
                      <a:pt x="12953" y="25963"/>
                    </a:cubicBezTo>
                    <a:cubicBezTo>
                      <a:pt x="12953" y="33128"/>
                      <a:pt x="18770" y="38945"/>
                      <a:pt x="25935" y="38945"/>
                    </a:cubicBezTo>
                    <a:cubicBezTo>
                      <a:pt x="33099" y="38945"/>
                      <a:pt x="38916" y="33128"/>
                      <a:pt x="38916" y="25963"/>
                    </a:cubicBezTo>
                    <a:cubicBezTo>
                      <a:pt x="38916" y="18770"/>
                      <a:pt x="33099" y="12982"/>
                      <a:pt x="25935" y="12982"/>
                    </a:cubicBezTo>
                    <a:close/>
                  </a:path>
                </a:pathLst>
              </a:custGeom>
              <a:solidFill>
                <a:schemeClr val="accent1"/>
              </a:solidFill>
              <a:ln w="2860" cap="flat">
                <a:noFill/>
                <a:prstDash val="solid"/>
                <a:miter/>
              </a:ln>
            </p:spPr>
            <p:txBody>
              <a:bodyPr rtlCol="0" anchor="ctr"/>
              <a:lstStyle/>
              <a:p>
                <a:endParaRPr lang="en-GB" dirty="0"/>
              </a:p>
            </p:txBody>
          </p:sp>
          <p:grpSp>
            <p:nvGrpSpPr>
              <p:cNvPr id="129" name="Grafik 218">
                <a:extLst>
                  <a:ext uri="{FF2B5EF4-FFF2-40B4-BE49-F238E27FC236}">
                    <a16:creationId xmlns:a16="http://schemas.microsoft.com/office/drawing/2014/main" id="{D2988932-65D5-43EC-B30E-6B219CFE54BE}"/>
                  </a:ext>
                </a:extLst>
              </p:cNvPr>
              <p:cNvGrpSpPr/>
              <p:nvPr/>
            </p:nvGrpSpPr>
            <p:grpSpPr>
              <a:xfrm>
                <a:off x="2079228" y="1782366"/>
                <a:ext cx="64833" cy="77804"/>
                <a:chOff x="2079228" y="1782366"/>
                <a:chExt cx="64833" cy="77804"/>
              </a:xfrm>
              <a:solidFill>
                <a:schemeClr val="accent1"/>
              </a:solidFill>
            </p:grpSpPr>
            <p:sp>
              <p:nvSpPr>
                <p:cNvPr id="133" name="Freihandform: Form 486">
                  <a:extLst>
                    <a:ext uri="{FF2B5EF4-FFF2-40B4-BE49-F238E27FC236}">
                      <a16:creationId xmlns:a16="http://schemas.microsoft.com/office/drawing/2014/main" id="{D05B23E3-5A8D-41CC-A809-CA8CA8A9939B}"/>
                    </a:ext>
                  </a:extLst>
                </p:cNvPr>
                <p:cNvSpPr/>
                <p:nvPr/>
              </p:nvSpPr>
              <p:spPr>
                <a:xfrm>
                  <a:off x="2105145" y="1782366"/>
                  <a:ext cx="38916" cy="58374"/>
                </a:xfrm>
                <a:custGeom>
                  <a:avLst/>
                  <a:gdLst>
                    <a:gd name="connsiteX0" fmla="*/ 19458 w 38916"/>
                    <a:gd name="connsiteY0" fmla="*/ 58375 h 58374"/>
                    <a:gd name="connsiteX1" fmla="*/ 6477 w 38916"/>
                    <a:gd name="connsiteY1" fmla="*/ 58375 h 58374"/>
                    <a:gd name="connsiteX2" fmla="*/ 0 w 38916"/>
                    <a:gd name="connsiteY2" fmla="*/ 51898 h 58374"/>
                    <a:gd name="connsiteX3" fmla="*/ 0 w 38916"/>
                    <a:gd name="connsiteY3" fmla="*/ 19458 h 58374"/>
                    <a:gd name="connsiteX4" fmla="*/ 19458 w 38916"/>
                    <a:gd name="connsiteY4" fmla="*/ 0 h 58374"/>
                    <a:gd name="connsiteX5" fmla="*/ 38916 w 38916"/>
                    <a:gd name="connsiteY5" fmla="*/ 19458 h 58374"/>
                    <a:gd name="connsiteX6" fmla="*/ 38916 w 38916"/>
                    <a:gd name="connsiteY6" fmla="*/ 38916 h 58374"/>
                    <a:gd name="connsiteX7" fmla="*/ 19458 w 38916"/>
                    <a:gd name="connsiteY7" fmla="*/ 58375 h 58374"/>
                    <a:gd name="connsiteX8" fmla="*/ 12982 w 38916"/>
                    <a:gd name="connsiteY8" fmla="*/ 45393 h 58374"/>
                    <a:gd name="connsiteX9" fmla="*/ 19458 w 38916"/>
                    <a:gd name="connsiteY9" fmla="*/ 45393 h 58374"/>
                    <a:gd name="connsiteX10" fmla="*/ 25935 w 38916"/>
                    <a:gd name="connsiteY10" fmla="*/ 38916 h 58374"/>
                    <a:gd name="connsiteX11" fmla="*/ 25935 w 38916"/>
                    <a:gd name="connsiteY11" fmla="*/ 19458 h 58374"/>
                    <a:gd name="connsiteX12" fmla="*/ 19458 w 38916"/>
                    <a:gd name="connsiteY12" fmla="*/ 12982 h 58374"/>
                    <a:gd name="connsiteX13" fmla="*/ 12982 w 38916"/>
                    <a:gd name="connsiteY13" fmla="*/ 19458 h 58374"/>
                    <a:gd name="connsiteX14" fmla="*/ 12982 w 38916"/>
                    <a:gd name="connsiteY14" fmla="*/ 45393 h 58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916" h="58374">
                      <a:moveTo>
                        <a:pt x="19458" y="58375"/>
                      </a:moveTo>
                      <a:lnTo>
                        <a:pt x="6477" y="58375"/>
                      </a:lnTo>
                      <a:cubicBezTo>
                        <a:pt x="2894" y="58375"/>
                        <a:pt x="0" y="55480"/>
                        <a:pt x="0" y="51898"/>
                      </a:cubicBezTo>
                      <a:lnTo>
                        <a:pt x="0" y="19458"/>
                      </a:lnTo>
                      <a:cubicBezTo>
                        <a:pt x="0" y="8740"/>
                        <a:pt x="8712" y="0"/>
                        <a:pt x="19458" y="0"/>
                      </a:cubicBezTo>
                      <a:cubicBezTo>
                        <a:pt x="30176" y="0"/>
                        <a:pt x="38916" y="8712"/>
                        <a:pt x="38916" y="19458"/>
                      </a:cubicBezTo>
                      <a:lnTo>
                        <a:pt x="38916" y="38916"/>
                      </a:lnTo>
                      <a:cubicBezTo>
                        <a:pt x="38916" y="49634"/>
                        <a:pt x="30176" y="58375"/>
                        <a:pt x="19458" y="58375"/>
                      </a:cubicBezTo>
                      <a:close/>
                      <a:moveTo>
                        <a:pt x="12982" y="45393"/>
                      </a:moveTo>
                      <a:lnTo>
                        <a:pt x="19458" y="45393"/>
                      </a:lnTo>
                      <a:cubicBezTo>
                        <a:pt x="23040" y="45393"/>
                        <a:pt x="25935" y="42470"/>
                        <a:pt x="25935" y="38916"/>
                      </a:cubicBezTo>
                      <a:lnTo>
                        <a:pt x="25935" y="19458"/>
                      </a:lnTo>
                      <a:cubicBezTo>
                        <a:pt x="25935" y="15876"/>
                        <a:pt x="23012" y="12982"/>
                        <a:pt x="19458" y="12982"/>
                      </a:cubicBezTo>
                      <a:cubicBezTo>
                        <a:pt x="15876" y="12982"/>
                        <a:pt x="12982" y="15905"/>
                        <a:pt x="12982" y="19458"/>
                      </a:cubicBezTo>
                      <a:lnTo>
                        <a:pt x="12982" y="45393"/>
                      </a:lnTo>
                      <a:close/>
                    </a:path>
                  </a:pathLst>
                </a:custGeom>
                <a:solidFill>
                  <a:schemeClr val="accent1"/>
                </a:solidFill>
                <a:ln w="2860" cap="flat">
                  <a:noFill/>
                  <a:prstDash val="solid"/>
                  <a:miter/>
                </a:ln>
              </p:spPr>
              <p:txBody>
                <a:bodyPr rtlCol="0" anchor="ctr"/>
                <a:lstStyle/>
                <a:p>
                  <a:endParaRPr lang="en-GB" dirty="0"/>
                </a:p>
              </p:txBody>
            </p:sp>
            <p:sp>
              <p:nvSpPr>
                <p:cNvPr id="134" name="Freihandform: Form 487">
                  <a:extLst>
                    <a:ext uri="{FF2B5EF4-FFF2-40B4-BE49-F238E27FC236}">
                      <a16:creationId xmlns:a16="http://schemas.microsoft.com/office/drawing/2014/main" id="{16AA9938-FA08-4010-B386-11D2D8EFCEA4}"/>
                    </a:ext>
                  </a:extLst>
                </p:cNvPr>
                <p:cNvSpPr/>
                <p:nvPr/>
              </p:nvSpPr>
              <p:spPr>
                <a:xfrm>
                  <a:off x="2079228" y="1827748"/>
                  <a:ext cx="38909" cy="32421"/>
                </a:xfrm>
                <a:custGeom>
                  <a:avLst/>
                  <a:gdLst>
                    <a:gd name="connsiteX0" fmla="*/ 6487 w 38909"/>
                    <a:gd name="connsiteY0" fmla="*/ 32422 h 32421"/>
                    <a:gd name="connsiteX1" fmla="*/ 1300 w 38909"/>
                    <a:gd name="connsiteY1" fmla="*/ 29843 h 32421"/>
                    <a:gd name="connsiteX2" fmla="*/ 2590 w 38909"/>
                    <a:gd name="connsiteY2" fmla="*/ 20759 h 32421"/>
                    <a:gd name="connsiteX3" fmla="*/ 28525 w 38909"/>
                    <a:gd name="connsiteY3" fmla="*/ 1300 h 32421"/>
                    <a:gd name="connsiteX4" fmla="*/ 37609 w 38909"/>
                    <a:gd name="connsiteY4" fmla="*/ 2590 h 32421"/>
                    <a:gd name="connsiteX5" fmla="*/ 36319 w 38909"/>
                    <a:gd name="connsiteY5" fmla="*/ 11674 h 32421"/>
                    <a:gd name="connsiteX6" fmla="*/ 10356 w 38909"/>
                    <a:gd name="connsiteY6" fmla="*/ 31132 h 32421"/>
                    <a:gd name="connsiteX7" fmla="*/ 6487 w 38909"/>
                    <a:gd name="connsiteY7" fmla="*/ 32422 h 3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09" h="32421">
                      <a:moveTo>
                        <a:pt x="6487" y="32422"/>
                      </a:moveTo>
                      <a:cubicBezTo>
                        <a:pt x="4510" y="32422"/>
                        <a:pt x="2561" y="31534"/>
                        <a:pt x="1300" y="29843"/>
                      </a:cubicBezTo>
                      <a:cubicBezTo>
                        <a:pt x="-849" y="26977"/>
                        <a:pt x="-276" y="22908"/>
                        <a:pt x="2590" y="20759"/>
                      </a:cubicBezTo>
                      <a:lnTo>
                        <a:pt x="28525" y="1300"/>
                      </a:lnTo>
                      <a:cubicBezTo>
                        <a:pt x="31419" y="-849"/>
                        <a:pt x="35460" y="-276"/>
                        <a:pt x="37609" y="2590"/>
                      </a:cubicBezTo>
                      <a:cubicBezTo>
                        <a:pt x="39758" y="5456"/>
                        <a:pt x="39185" y="9525"/>
                        <a:pt x="36319" y="11674"/>
                      </a:cubicBezTo>
                      <a:lnTo>
                        <a:pt x="10356" y="31132"/>
                      </a:lnTo>
                      <a:cubicBezTo>
                        <a:pt x="9181" y="32021"/>
                        <a:pt x="7834" y="32422"/>
                        <a:pt x="6487" y="32422"/>
                      </a:cubicBezTo>
                      <a:close/>
                    </a:path>
                  </a:pathLst>
                </a:custGeom>
                <a:solidFill>
                  <a:schemeClr val="accent1"/>
                </a:solidFill>
                <a:ln w="2860" cap="flat">
                  <a:noFill/>
                  <a:prstDash val="solid"/>
                  <a:miter/>
                </a:ln>
              </p:spPr>
              <p:txBody>
                <a:bodyPr rtlCol="0" anchor="ctr"/>
                <a:lstStyle/>
                <a:p>
                  <a:endParaRPr lang="en-GB" dirty="0"/>
                </a:p>
              </p:txBody>
            </p:sp>
          </p:grpSp>
          <p:grpSp>
            <p:nvGrpSpPr>
              <p:cNvPr id="130" name="Grafik 218">
                <a:extLst>
                  <a:ext uri="{FF2B5EF4-FFF2-40B4-BE49-F238E27FC236}">
                    <a16:creationId xmlns:a16="http://schemas.microsoft.com/office/drawing/2014/main" id="{D9A31EB3-7118-4DFC-8936-4BCE83BEED4A}"/>
                  </a:ext>
                </a:extLst>
              </p:cNvPr>
              <p:cNvGrpSpPr/>
              <p:nvPr/>
            </p:nvGrpSpPr>
            <p:grpSpPr>
              <a:xfrm>
                <a:off x="1727703" y="1782366"/>
                <a:ext cx="64861" cy="77804"/>
                <a:chOff x="1727703" y="1782366"/>
                <a:chExt cx="64861" cy="77804"/>
              </a:xfrm>
              <a:solidFill>
                <a:schemeClr val="accent1"/>
              </a:solidFill>
            </p:grpSpPr>
            <p:sp>
              <p:nvSpPr>
                <p:cNvPr id="131" name="Freihandform: Form 489">
                  <a:extLst>
                    <a:ext uri="{FF2B5EF4-FFF2-40B4-BE49-F238E27FC236}">
                      <a16:creationId xmlns:a16="http://schemas.microsoft.com/office/drawing/2014/main" id="{A5E31C0B-2C7D-41A6-BB14-06C95E553D2D}"/>
                    </a:ext>
                  </a:extLst>
                </p:cNvPr>
                <p:cNvSpPr/>
                <p:nvPr/>
              </p:nvSpPr>
              <p:spPr>
                <a:xfrm>
                  <a:off x="1727703" y="1782366"/>
                  <a:ext cx="38916" cy="58374"/>
                </a:xfrm>
                <a:custGeom>
                  <a:avLst/>
                  <a:gdLst>
                    <a:gd name="connsiteX0" fmla="*/ 32440 w 38916"/>
                    <a:gd name="connsiteY0" fmla="*/ 58375 h 58374"/>
                    <a:gd name="connsiteX1" fmla="*/ 19458 w 38916"/>
                    <a:gd name="connsiteY1" fmla="*/ 58375 h 58374"/>
                    <a:gd name="connsiteX2" fmla="*/ 0 w 38916"/>
                    <a:gd name="connsiteY2" fmla="*/ 38916 h 58374"/>
                    <a:gd name="connsiteX3" fmla="*/ 0 w 38916"/>
                    <a:gd name="connsiteY3" fmla="*/ 19458 h 58374"/>
                    <a:gd name="connsiteX4" fmla="*/ 19458 w 38916"/>
                    <a:gd name="connsiteY4" fmla="*/ 0 h 58374"/>
                    <a:gd name="connsiteX5" fmla="*/ 38916 w 38916"/>
                    <a:gd name="connsiteY5" fmla="*/ 19458 h 58374"/>
                    <a:gd name="connsiteX6" fmla="*/ 38916 w 38916"/>
                    <a:gd name="connsiteY6" fmla="*/ 51869 h 58374"/>
                    <a:gd name="connsiteX7" fmla="*/ 32440 w 38916"/>
                    <a:gd name="connsiteY7" fmla="*/ 58375 h 58374"/>
                    <a:gd name="connsiteX8" fmla="*/ 19458 w 38916"/>
                    <a:gd name="connsiteY8" fmla="*/ 12982 h 58374"/>
                    <a:gd name="connsiteX9" fmla="*/ 12982 w 38916"/>
                    <a:gd name="connsiteY9" fmla="*/ 19458 h 58374"/>
                    <a:gd name="connsiteX10" fmla="*/ 12982 w 38916"/>
                    <a:gd name="connsiteY10" fmla="*/ 38916 h 58374"/>
                    <a:gd name="connsiteX11" fmla="*/ 19458 w 38916"/>
                    <a:gd name="connsiteY11" fmla="*/ 45393 h 58374"/>
                    <a:gd name="connsiteX12" fmla="*/ 25935 w 38916"/>
                    <a:gd name="connsiteY12" fmla="*/ 45393 h 58374"/>
                    <a:gd name="connsiteX13" fmla="*/ 25935 w 38916"/>
                    <a:gd name="connsiteY13" fmla="*/ 19458 h 58374"/>
                    <a:gd name="connsiteX14" fmla="*/ 19458 w 38916"/>
                    <a:gd name="connsiteY14" fmla="*/ 12982 h 58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916" h="58374">
                      <a:moveTo>
                        <a:pt x="32440" y="58375"/>
                      </a:moveTo>
                      <a:lnTo>
                        <a:pt x="19458" y="58375"/>
                      </a:lnTo>
                      <a:cubicBezTo>
                        <a:pt x="8740" y="58375"/>
                        <a:pt x="0" y="49663"/>
                        <a:pt x="0" y="38916"/>
                      </a:cubicBezTo>
                      <a:lnTo>
                        <a:pt x="0" y="19458"/>
                      </a:lnTo>
                      <a:cubicBezTo>
                        <a:pt x="0" y="8740"/>
                        <a:pt x="8712" y="0"/>
                        <a:pt x="19458" y="0"/>
                      </a:cubicBezTo>
                      <a:cubicBezTo>
                        <a:pt x="30176" y="0"/>
                        <a:pt x="38916" y="8712"/>
                        <a:pt x="38916" y="19458"/>
                      </a:cubicBezTo>
                      <a:lnTo>
                        <a:pt x="38916" y="51869"/>
                      </a:lnTo>
                      <a:cubicBezTo>
                        <a:pt x="38916" y="55452"/>
                        <a:pt x="36022" y="58375"/>
                        <a:pt x="32440" y="58375"/>
                      </a:cubicBezTo>
                      <a:close/>
                      <a:moveTo>
                        <a:pt x="19458" y="12982"/>
                      </a:moveTo>
                      <a:cubicBezTo>
                        <a:pt x="15876" y="12982"/>
                        <a:pt x="12982" y="15905"/>
                        <a:pt x="12982" y="19458"/>
                      </a:cubicBezTo>
                      <a:lnTo>
                        <a:pt x="12982" y="38916"/>
                      </a:lnTo>
                      <a:cubicBezTo>
                        <a:pt x="12982" y="42498"/>
                        <a:pt x="15905" y="45393"/>
                        <a:pt x="19458" y="45393"/>
                      </a:cubicBezTo>
                      <a:lnTo>
                        <a:pt x="25935" y="45393"/>
                      </a:lnTo>
                      <a:lnTo>
                        <a:pt x="25935" y="19458"/>
                      </a:lnTo>
                      <a:cubicBezTo>
                        <a:pt x="25963" y="15876"/>
                        <a:pt x="23040" y="12982"/>
                        <a:pt x="19458" y="12982"/>
                      </a:cubicBezTo>
                      <a:close/>
                    </a:path>
                  </a:pathLst>
                </a:custGeom>
                <a:solidFill>
                  <a:schemeClr val="accent1"/>
                </a:solidFill>
                <a:ln w="2860" cap="flat">
                  <a:noFill/>
                  <a:prstDash val="solid"/>
                  <a:miter/>
                </a:ln>
              </p:spPr>
              <p:txBody>
                <a:bodyPr rtlCol="0" anchor="ctr"/>
                <a:lstStyle/>
                <a:p>
                  <a:endParaRPr lang="en-GB" dirty="0"/>
                </a:p>
              </p:txBody>
            </p:sp>
            <p:sp>
              <p:nvSpPr>
                <p:cNvPr id="132" name="Freihandform: Form 490">
                  <a:extLst>
                    <a:ext uri="{FF2B5EF4-FFF2-40B4-BE49-F238E27FC236}">
                      <a16:creationId xmlns:a16="http://schemas.microsoft.com/office/drawing/2014/main" id="{852B0839-7E02-48EC-84A7-5C8A82AB3375}"/>
                    </a:ext>
                  </a:extLst>
                </p:cNvPr>
                <p:cNvSpPr/>
                <p:nvPr/>
              </p:nvSpPr>
              <p:spPr>
                <a:xfrm>
                  <a:off x="1753655" y="1827748"/>
                  <a:ext cx="38909" cy="32421"/>
                </a:xfrm>
                <a:custGeom>
                  <a:avLst/>
                  <a:gdLst>
                    <a:gd name="connsiteX0" fmla="*/ 32422 w 38909"/>
                    <a:gd name="connsiteY0" fmla="*/ 32422 h 32421"/>
                    <a:gd name="connsiteX1" fmla="*/ 28525 w 38909"/>
                    <a:gd name="connsiteY1" fmla="*/ 31132 h 32421"/>
                    <a:gd name="connsiteX2" fmla="*/ 2590 w 38909"/>
                    <a:gd name="connsiteY2" fmla="*/ 11674 h 32421"/>
                    <a:gd name="connsiteX3" fmla="*/ 1300 w 38909"/>
                    <a:gd name="connsiteY3" fmla="*/ 2590 h 32421"/>
                    <a:gd name="connsiteX4" fmla="*/ 10385 w 38909"/>
                    <a:gd name="connsiteY4" fmla="*/ 1300 h 32421"/>
                    <a:gd name="connsiteX5" fmla="*/ 36319 w 38909"/>
                    <a:gd name="connsiteY5" fmla="*/ 20759 h 32421"/>
                    <a:gd name="connsiteX6" fmla="*/ 37609 w 38909"/>
                    <a:gd name="connsiteY6" fmla="*/ 29843 h 32421"/>
                    <a:gd name="connsiteX7" fmla="*/ 32422 w 38909"/>
                    <a:gd name="connsiteY7" fmla="*/ 32422 h 3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909" h="32421">
                      <a:moveTo>
                        <a:pt x="32422" y="32422"/>
                      </a:moveTo>
                      <a:cubicBezTo>
                        <a:pt x="31075" y="32422"/>
                        <a:pt x="29700" y="31992"/>
                        <a:pt x="28525" y="31132"/>
                      </a:cubicBezTo>
                      <a:lnTo>
                        <a:pt x="2590" y="11674"/>
                      </a:lnTo>
                      <a:cubicBezTo>
                        <a:pt x="-276" y="9525"/>
                        <a:pt x="-849" y="5456"/>
                        <a:pt x="1300" y="2590"/>
                      </a:cubicBezTo>
                      <a:cubicBezTo>
                        <a:pt x="3450" y="-276"/>
                        <a:pt x="7519" y="-849"/>
                        <a:pt x="10385" y="1300"/>
                      </a:cubicBezTo>
                      <a:lnTo>
                        <a:pt x="36319" y="20759"/>
                      </a:lnTo>
                      <a:cubicBezTo>
                        <a:pt x="39185" y="22908"/>
                        <a:pt x="39758" y="26977"/>
                        <a:pt x="37609" y="29843"/>
                      </a:cubicBezTo>
                      <a:cubicBezTo>
                        <a:pt x="36348" y="31534"/>
                        <a:pt x="34399" y="32422"/>
                        <a:pt x="32422" y="32422"/>
                      </a:cubicBezTo>
                      <a:close/>
                    </a:path>
                  </a:pathLst>
                </a:custGeom>
                <a:solidFill>
                  <a:schemeClr val="accent1"/>
                </a:solidFill>
                <a:ln w="2860" cap="flat">
                  <a:noFill/>
                  <a:prstDash val="solid"/>
                  <a:miter/>
                </a:ln>
              </p:spPr>
              <p:txBody>
                <a:bodyPr rtlCol="0" anchor="ctr"/>
                <a:lstStyle/>
                <a:p>
                  <a:endParaRPr lang="en-GB" dirty="0"/>
                </a:p>
              </p:txBody>
            </p:sp>
          </p:grpSp>
        </p:grpSp>
        <p:grpSp>
          <p:nvGrpSpPr>
            <p:cNvPr id="116" name="Gruppieren 979">
              <a:extLst>
                <a:ext uri="{FF2B5EF4-FFF2-40B4-BE49-F238E27FC236}">
                  <a16:creationId xmlns:a16="http://schemas.microsoft.com/office/drawing/2014/main" id="{AFB4889A-4F15-4ED0-972D-0C4FBB0292E4}"/>
                </a:ext>
              </a:extLst>
            </p:cNvPr>
            <p:cNvGrpSpPr/>
            <p:nvPr/>
          </p:nvGrpSpPr>
          <p:grpSpPr>
            <a:xfrm>
              <a:off x="1767966" y="1691580"/>
              <a:ext cx="337208" cy="376095"/>
              <a:chOff x="1767966" y="1691580"/>
              <a:chExt cx="337208" cy="376095"/>
            </a:xfrm>
          </p:grpSpPr>
          <p:sp>
            <p:nvSpPr>
              <p:cNvPr id="117" name="Freihandform: Form 475">
                <a:extLst>
                  <a:ext uri="{FF2B5EF4-FFF2-40B4-BE49-F238E27FC236}">
                    <a16:creationId xmlns:a16="http://schemas.microsoft.com/office/drawing/2014/main" id="{5AC59A22-F676-43C2-9550-30197CA2A852}"/>
                  </a:ext>
                </a:extLst>
              </p:cNvPr>
              <p:cNvSpPr/>
              <p:nvPr/>
            </p:nvSpPr>
            <p:spPr>
              <a:xfrm>
                <a:off x="1780948" y="1691580"/>
                <a:ext cx="311273" cy="272357"/>
              </a:xfrm>
              <a:custGeom>
                <a:avLst/>
                <a:gdLst>
                  <a:gd name="connsiteX0" fmla="*/ 304740 w 311273"/>
                  <a:gd name="connsiteY0" fmla="*/ 272357 h 272357"/>
                  <a:gd name="connsiteX1" fmla="*/ 6476 w 311273"/>
                  <a:gd name="connsiteY1" fmla="*/ 272357 h 272357"/>
                  <a:gd name="connsiteX2" fmla="*/ 0 w 311273"/>
                  <a:gd name="connsiteY2" fmla="*/ 265881 h 272357"/>
                  <a:gd name="connsiteX3" fmla="*/ 0 w 311273"/>
                  <a:gd name="connsiteY3" fmla="*/ 61842 h 272357"/>
                  <a:gd name="connsiteX4" fmla="*/ 18111 w 311273"/>
                  <a:gd name="connsiteY4" fmla="*/ 18111 h 272357"/>
                  <a:gd name="connsiteX5" fmla="*/ 61842 w 311273"/>
                  <a:gd name="connsiteY5" fmla="*/ 0 h 272357"/>
                  <a:gd name="connsiteX6" fmla="*/ 249431 w 311273"/>
                  <a:gd name="connsiteY6" fmla="*/ 0 h 272357"/>
                  <a:gd name="connsiteX7" fmla="*/ 293162 w 311273"/>
                  <a:gd name="connsiteY7" fmla="*/ 18111 h 272357"/>
                  <a:gd name="connsiteX8" fmla="*/ 311273 w 311273"/>
                  <a:gd name="connsiteY8" fmla="*/ 61842 h 272357"/>
                  <a:gd name="connsiteX9" fmla="*/ 311273 w 311273"/>
                  <a:gd name="connsiteY9" fmla="*/ 265852 h 272357"/>
                  <a:gd name="connsiteX10" fmla="*/ 304740 w 311273"/>
                  <a:gd name="connsiteY10" fmla="*/ 272357 h 272357"/>
                  <a:gd name="connsiteX11" fmla="*/ 12982 w 311273"/>
                  <a:gd name="connsiteY11" fmla="*/ 259375 h 272357"/>
                  <a:gd name="connsiteX12" fmla="*/ 298292 w 311273"/>
                  <a:gd name="connsiteY12" fmla="*/ 259375 h 272357"/>
                  <a:gd name="connsiteX13" fmla="*/ 298292 w 311273"/>
                  <a:gd name="connsiteY13" fmla="*/ 61842 h 272357"/>
                  <a:gd name="connsiteX14" fmla="*/ 283992 w 311273"/>
                  <a:gd name="connsiteY14" fmla="*/ 27282 h 272357"/>
                  <a:gd name="connsiteX15" fmla="*/ 249431 w 311273"/>
                  <a:gd name="connsiteY15" fmla="*/ 12982 h 272357"/>
                  <a:gd name="connsiteX16" fmla="*/ 61842 w 311273"/>
                  <a:gd name="connsiteY16" fmla="*/ 12982 h 272357"/>
                  <a:gd name="connsiteX17" fmla="*/ 27282 w 311273"/>
                  <a:gd name="connsiteY17" fmla="*/ 27282 h 272357"/>
                  <a:gd name="connsiteX18" fmla="*/ 12982 w 311273"/>
                  <a:gd name="connsiteY18" fmla="*/ 61842 h 272357"/>
                  <a:gd name="connsiteX19" fmla="*/ 12982 w 311273"/>
                  <a:gd name="connsiteY19" fmla="*/ 259375 h 272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1273" h="272357">
                    <a:moveTo>
                      <a:pt x="304740" y="272357"/>
                    </a:moveTo>
                    <a:lnTo>
                      <a:pt x="6476" y="272357"/>
                    </a:lnTo>
                    <a:cubicBezTo>
                      <a:pt x="2894" y="272357"/>
                      <a:pt x="0" y="269463"/>
                      <a:pt x="0" y="265881"/>
                    </a:cubicBezTo>
                    <a:lnTo>
                      <a:pt x="0" y="61842"/>
                    </a:lnTo>
                    <a:cubicBezTo>
                      <a:pt x="0" y="45336"/>
                      <a:pt x="6419" y="29803"/>
                      <a:pt x="18111" y="18111"/>
                    </a:cubicBezTo>
                    <a:cubicBezTo>
                      <a:pt x="29775" y="6419"/>
                      <a:pt x="45307" y="0"/>
                      <a:pt x="61842" y="0"/>
                    </a:cubicBezTo>
                    <a:lnTo>
                      <a:pt x="249431" y="0"/>
                    </a:lnTo>
                    <a:cubicBezTo>
                      <a:pt x="265938" y="0"/>
                      <a:pt x="281470" y="6419"/>
                      <a:pt x="293162" y="18111"/>
                    </a:cubicBezTo>
                    <a:cubicBezTo>
                      <a:pt x="304854" y="29775"/>
                      <a:pt x="311273" y="45307"/>
                      <a:pt x="311273" y="61842"/>
                    </a:cubicBezTo>
                    <a:lnTo>
                      <a:pt x="311273" y="265852"/>
                    </a:lnTo>
                    <a:cubicBezTo>
                      <a:pt x="311245" y="269434"/>
                      <a:pt x="308322" y="272357"/>
                      <a:pt x="304740" y="272357"/>
                    </a:cubicBezTo>
                    <a:close/>
                    <a:moveTo>
                      <a:pt x="12982" y="259375"/>
                    </a:moveTo>
                    <a:lnTo>
                      <a:pt x="298292" y="259375"/>
                    </a:lnTo>
                    <a:lnTo>
                      <a:pt x="298292" y="61842"/>
                    </a:lnTo>
                    <a:cubicBezTo>
                      <a:pt x="298292" y="48803"/>
                      <a:pt x="293219" y="36509"/>
                      <a:pt x="283992" y="27282"/>
                    </a:cubicBezTo>
                    <a:cubicBezTo>
                      <a:pt x="274764" y="18054"/>
                      <a:pt x="262499" y="12982"/>
                      <a:pt x="249431" y="12982"/>
                    </a:cubicBezTo>
                    <a:lnTo>
                      <a:pt x="61842" y="12982"/>
                    </a:lnTo>
                    <a:cubicBezTo>
                      <a:pt x="48803" y="12982"/>
                      <a:pt x="36509" y="18054"/>
                      <a:pt x="27282" y="27282"/>
                    </a:cubicBezTo>
                    <a:cubicBezTo>
                      <a:pt x="18054" y="36509"/>
                      <a:pt x="12982" y="48774"/>
                      <a:pt x="12982" y="61842"/>
                    </a:cubicBezTo>
                    <a:lnTo>
                      <a:pt x="12982" y="259375"/>
                    </a:lnTo>
                    <a:close/>
                  </a:path>
                </a:pathLst>
              </a:custGeom>
              <a:solidFill>
                <a:schemeClr val="tx2"/>
              </a:solidFill>
              <a:ln w="2860" cap="flat">
                <a:noFill/>
                <a:prstDash val="solid"/>
                <a:miter/>
              </a:ln>
            </p:spPr>
            <p:txBody>
              <a:bodyPr rtlCol="0" anchor="ctr"/>
              <a:lstStyle/>
              <a:p>
                <a:endParaRPr lang="en-GB" dirty="0"/>
              </a:p>
            </p:txBody>
          </p:sp>
          <p:sp>
            <p:nvSpPr>
              <p:cNvPr id="118" name="Freihandform: Form 476">
                <a:extLst>
                  <a:ext uri="{FF2B5EF4-FFF2-40B4-BE49-F238E27FC236}">
                    <a16:creationId xmlns:a16="http://schemas.microsoft.com/office/drawing/2014/main" id="{1A863016-0DFA-4987-92BC-A2A95228B9EA}"/>
                  </a:ext>
                </a:extLst>
              </p:cNvPr>
              <p:cNvSpPr/>
              <p:nvPr/>
            </p:nvSpPr>
            <p:spPr>
              <a:xfrm>
                <a:off x="1767966" y="1950927"/>
                <a:ext cx="337208" cy="45421"/>
              </a:xfrm>
              <a:custGeom>
                <a:avLst/>
                <a:gdLst>
                  <a:gd name="connsiteX0" fmla="*/ 324226 w 337208"/>
                  <a:gd name="connsiteY0" fmla="*/ 45422 h 45421"/>
                  <a:gd name="connsiteX1" fmla="*/ 12982 w 337208"/>
                  <a:gd name="connsiteY1" fmla="*/ 45422 h 45421"/>
                  <a:gd name="connsiteX2" fmla="*/ 0 w 337208"/>
                  <a:gd name="connsiteY2" fmla="*/ 32440 h 45421"/>
                  <a:gd name="connsiteX3" fmla="*/ 0 w 337208"/>
                  <a:gd name="connsiteY3" fmla="*/ 12982 h 45421"/>
                  <a:gd name="connsiteX4" fmla="*/ 12982 w 337208"/>
                  <a:gd name="connsiteY4" fmla="*/ 0 h 45421"/>
                  <a:gd name="connsiteX5" fmla="*/ 324226 w 337208"/>
                  <a:gd name="connsiteY5" fmla="*/ 0 h 45421"/>
                  <a:gd name="connsiteX6" fmla="*/ 337208 w 337208"/>
                  <a:gd name="connsiteY6" fmla="*/ 12982 h 45421"/>
                  <a:gd name="connsiteX7" fmla="*/ 337208 w 337208"/>
                  <a:gd name="connsiteY7" fmla="*/ 32440 h 45421"/>
                  <a:gd name="connsiteX8" fmla="*/ 324226 w 337208"/>
                  <a:gd name="connsiteY8" fmla="*/ 45422 h 45421"/>
                  <a:gd name="connsiteX9" fmla="*/ 12982 w 337208"/>
                  <a:gd name="connsiteY9" fmla="*/ 13010 h 45421"/>
                  <a:gd name="connsiteX10" fmla="*/ 12982 w 337208"/>
                  <a:gd name="connsiteY10" fmla="*/ 32468 h 45421"/>
                  <a:gd name="connsiteX11" fmla="*/ 324226 w 337208"/>
                  <a:gd name="connsiteY11" fmla="*/ 32468 h 45421"/>
                  <a:gd name="connsiteX12" fmla="*/ 324226 w 337208"/>
                  <a:gd name="connsiteY12" fmla="*/ 13010 h 45421"/>
                  <a:gd name="connsiteX13" fmla="*/ 12982 w 337208"/>
                  <a:gd name="connsiteY13" fmla="*/ 13010 h 45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7208" h="45421">
                    <a:moveTo>
                      <a:pt x="324226" y="45422"/>
                    </a:moveTo>
                    <a:lnTo>
                      <a:pt x="12982" y="45422"/>
                    </a:lnTo>
                    <a:cubicBezTo>
                      <a:pt x="5817" y="45422"/>
                      <a:pt x="0" y="39604"/>
                      <a:pt x="0" y="32440"/>
                    </a:cubicBezTo>
                    <a:lnTo>
                      <a:pt x="0" y="12982"/>
                    </a:lnTo>
                    <a:cubicBezTo>
                      <a:pt x="0" y="5817"/>
                      <a:pt x="5817" y="0"/>
                      <a:pt x="12982" y="0"/>
                    </a:cubicBezTo>
                    <a:lnTo>
                      <a:pt x="324226" y="0"/>
                    </a:lnTo>
                    <a:cubicBezTo>
                      <a:pt x="331391" y="0"/>
                      <a:pt x="337208" y="5817"/>
                      <a:pt x="337208" y="12982"/>
                    </a:cubicBezTo>
                    <a:lnTo>
                      <a:pt x="337208" y="32440"/>
                    </a:lnTo>
                    <a:cubicBezTo>
                      <a:pt x="337179" y="39604"/>
                      <a:pt x="331362" y="45422"/>
                      <a:pt x="324226" y="45422"/>
                    </a:cubicBezTo>
                    <a:close/>
                    <a:moveTo>
                      <a:pt x="12982" y="13010"/>
                    </a:moveTo>
                    <a:lnTo>
                      <a:pt x="12982" y="32468"/>
                    </a:lnTo>
                    <a:lnTo>
                      <a:pt x="324226" y="32468"/>
                    </a:lnTo>
                    <a:lnTo>
                      <a:pt x="324226" y="13010"/>
                    </a:lnTo>
                    <a:lnTo>
                      <a:pt x="12982" y="13010"/>
                    </a:lnTo>
                    <a:close/>
                  </a:path>
                </a:pathLst>
              </a:custGeom>
              <a:solidFill>
                <a:schemeClr val="tx2"/>
              </a:solidFill>
              <a:ln w="2860" cap="flat">
                <a:noFill/>
                <a:prstDash val="solid"/>
                <a:miter/>
              </a:ln>
            </p:spPr>
            <p:txBody>
              <a:bodyPr rtlCol="0" anchor="ctr"/>
              <a:lstStyle/>
              <a:p>
                <a:endParaRPr lang="en-GB" dirty="0"/>
              </a:p>
            </p:txBody>
          </p:sp>
          <p:sp>
            <p:nvSpPr>
              <p:cNvPr id="119" name="Freihandform: Form 477">
                <a:extLst>
                  <a:ext uri="{FF2B5EF4-FFF2-40B4-BE49-F238E27FC236}">
                    <a16:creationId xmlns:a16="http://schemas.microsoft.com/office/drawing/2014/main" id="{0BD14EC2-0FE3-437C-9BFA-825A0C3E5E13}"/>
                  </a:ext>
                </a:extLst>
              </p:cNvPr>
              <p:cNvSpPr/>
              <p:nvPr/>
            </p:nvSpPr>
            <p:spPr>
              <a:xfrm>
                <a:off x="1806898" y="1743478"/>
                <a:ext cx="259373" cy="116691"/>
              </a:xfrm>
              <a:custGeom>
                <a:avLst/>
                <a:gdLst>
                  <a:gd name="connsiteX0" fmla="*/ 246378 w 259373"/>
                  <a:gd name="connsiteY0" fmla="*/ 116692 h 116691"/>
                  <a:gd name="connsiteX1" fmla="*/ 12966 w 259373"/>
                  <a:gd name="connsiteY1" fmla="*/ 116692 h 116691"/>
                  <a:gd name="connsiteX2" fmla="*/ 6490 w 259373"/>
                  <a:gd name="connsiteY2" fmla="*/ 110616 h 116691"/>
                  <a:gd name="connsiteX3" fmla="*/ 13 w 259373"/>
                  <a:gd name="connsiteY3" fmla="*/ 6878 h 116691"/>
                  <a:gd name="connsiteX4" fmla="*/ 1761 w 259373"/>
                  <a:gd name="connsiteY4" fmla="*/ 2035 h 116691"/>
                  <a:gd name="connsiteX5" fmla="*/ 6490 w 259373"/>
                  <a:gd name="connsiteY5" fmla="*/ 0 h 116691"/>
                  <a:gd name="connsiteX6" fmla="*/ 252884 w 259373"/>
                  <a:gd name="connsiteY6" fmla="*/ 0 h 116691"/>
                  <a:gd name="connsiteX7" fmla="*/ 257612 w 259373"/>
                  <a:gd name="connsiteY7" fmla="*/ 2035 h 116691"/>
                  <a:gd name="connsiteX8" fmla="*/ 259360 w 259373"/>
                  <a:gd name="connsiteY8" fmla="*/ 6878 h 116691"/>
                  <a:gd name="connsiteX9" fmla="*/ 252884 w 259373"/>
                  <a:gd name="connsiteY9" fmla="*/ 110616 h 116691"/>
                  <a:gd name="connsiteX10" fmla="*/ 246378 w 259373"/>
                  <a:gd name="connsiteY10" fmla="*/ 116692 h 116691"/>
                  <a:gd name="connsiteX11" fmla="*/ 19042 w 259373"/>
                  <a:gd name="connsiteY11" fmla="*/ 103739 h 116691"/>
                  <a:gd name="connsiteX12" fmla="*/ 240274 w 259373"/>
                  <a:gd name="connsiteY12" fmla="*/ 103739 h 116691"/>
                  <a:gd name="connsiteX13" fmla="*/ 245948 w 259373"/>
                  <a:gd name="connsiteY13" fmla="*/ 12953 h 116691"/>
                  <a:gd name="connsiteX14" fmla="*/ 13368 w 259373"/>
                  <a:gd name="connsiteY14" fmla="*/ 12953 h 116691"/>
                  <a:gd name="connsiteX15" fmla="*/ 19042 w 259373"/>
                  <a:gd name="connsiteY15" fmla="*/ 103739 h 11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9373" h="116691">
                    <a:moveTo>
                      <a:pt x="246378" y="116692"/>
                    </a:moveTo>
                    <a:lnTo>
                      <a:pt x="12966" y="116692"/>
                    </a:lnTo>
                    <a:cubicBezTo>
                      <a:pt x="9556" y="116692"/>
                      <a:pt x="6719" y="114027"/>
                      <a:pt x="6490" y="110616"/>
                    </a:cubicBezTo>
                    <a:lnTo>
                      <a:pt x="13" y="6878"/>
                    </a:lnTo>
                    <a:cubicBezTo>
                      <a:pt x="-101" y="5101"/>
                      <a:pt x="529" y="3324"/>
                      <a:pt x="1761" y="2035"/>
                    </a:cubicBezTo>
                    <a:cubicBezTo>
                      <a:pt x="2994" y="716"/>
                      <a:pt x="4713" y="0"/>
                      <a:pt x="6490" y="0"/>
                    </a:cubicBezTo>
                    <a:lnTo>
                      <a:pt x="252884" y="0"/>
                    </a:lnTo>
                    <a:cubicBezTo>
                      <a:pt x="254660" y="0"/>
                      <a:pt x="256380" y="745"/>
                      <a:pt x="257612" y="2035"/>
                    </a:cubicBezTo>
                    <a:cubicBezTo>
                      <a:pt x="258844" y="3353"/>
                      <a:pt x="259475" y="5101"/>
                      <a:pt x="259360" y="6878"/>
                    </a:cubicBezTo>
                    <a:lnTo>
                      <a:pt x="252884" y="110616"/>
                    </a:lnTo>
                    <a:cubicBezTo>
                      <a:pt x="252626" y="114055"/>
                      <a:pt x="249789" y="116692"/>
                      <a:pt x="246378" y="116692"/>
                    </a:cubicBezTo>
                    <a:close/>
                    <a:moveTo>
                      <a:pt x="19042" y="103739"/>
                    </a:moveTo>
                    <a:lnTo>
                      <a:pt x="240274" y="103739"/>
                    </a:lnTo>
                    <a:lnTo>
                      <a:pt x="245948" y="12953"/>
                    </a:lnTo>
                    <a:lnTo>
                      <a:pt x="13368" y="12953"/>
                    </a:lnTo>
                    <a:lnTo>
                      <a:pt x="19042" y="103739"/>
                    </a:lnTo>
                    <a:close/>
                  </a:path>
                </a:pathLst>
              </a:custGeom>
              <a:solidFill>
                <a:schemeClr val="tx2"/>
              </a:solidFill>
              <a:ln w="2860" cap="flat">
                <a:noFill/>
                <a:prstDash val="solid"/>
                <a:miter/>
              </a:ln>
            </p:spPr>
            <p:txBody>
              <a:bodyPr rtlCol="0" anchor="ctr"/>
              <a:lstStyle/>
              <a:p>
                <a:endParaRPr lang="en-GB" dirty="0"/>
              </a:p>
            </p:txBody>
          </p:sp>
          <p:sp>
            <p:nvSpPr>
              <p:cNvPr id="120" name="Freihandform: Form 478">
                <a:extLst>
                  <a:ext uri="{FF2B5EF4-FFF2-40B4-BE49-F238E27FC236}">
                    <a16:creationId xmlns:a16="http://schemas.microsoft.com/office/drawing/2014/main" id="{BF94602E-DEBA-4A85-B220-C4DB1E3E86B8}"/>
                  </a:ext>
                </a:extLst>
              </p:cNvPr>
              <p:cNvSpPr/>
              <p:nvPr/>
            </p:nvSpPr>
            <p:spPr>
              <a:xfrm>
                <a:off x="1891191" y="1717543"/>
                <a:ext cx="90756" cy="12953"/>
              </a:xfrm>
              <a:custGeom>
                <a:avLst/>
                <a:gdLst>
                  <a:gd name="connsiteX0" fmla="*/ 84280 w 90756"/>
                  <a:gd name="connsiteY0" fmla="*/ 12953 h 12953"/>
                  <a:gd name="connsiteX1" fmla="*/ 6476 w 90756"/>
                  <a:gd name="connsiteY1" fmla="*/ 12953 h 12953"/>
                  <a:gd name="connsiteX2" fmla="*/ 0 w 90756"/>
                  <a:gd name="connsiteY2" fmla="*/ 6477 h 12953"/>
                  <a:gd name="connsiteX3" fmla="*/ 6476 w 90756"/>
                  <a:gd name="connsiteY3" fmla="*/ 0 h 12953"/>
                  <a:gd name="connsiteX4" fmla="*/ 84280 w 90756"/>
                  <a:gd name="connsiteY4" fmla="*/ 0 h 12953"/>
                  <a:gd name="connsiteX5" fmla="*/ 90757 w 90756"/>
                  <a:gd name="connsiteY5" fmla="*/ 6477 h 12953"/>
                  <a:gd name="connsiteX6" fmla="*/ 84280 w 90756"/>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56" h="12953">
                    <a:moveTo>
                      <a:pt x="84280" y="12953"/>
                    </a:moveTo>
                    <a:lnTo>
                      <a:pt x="6476" y="12953"/>
                    </a:lnTo>
                    <a:cubicBezTo>
                      <a:pt x="2894" y="12953"/>
                      <a:pt x="0" y="10059"/>
                      <a:pt x="0" y="6477"/>
                    </a:cubicBezTo>
                    <a:cubicBezTo>
                      <a:pt x="0" y="2894"/>
                      <a:pt x="2894" y="0"/>
                      <a:pt x="6476" y="0"/>
                    </a:cubicBezTo>
                    <a:lnTo>
                      <a:pt x="84280" y="0"/>
                    </a:lnTo>
                    <a:cubicBezTo>
                      <a:pt x="87863" y="0"/>
                      <a:pt x="90757" y="2894"/>
                      <a:pt x="90757" y="6477"/>
                    </a:cubicBezTo>
                    <a:cubicBezTo>
                      <a:pt x="90757" y="10059"/>
                      <a:pt x="87863" y="12953"/>
                      <a:pt x="84280" y="12953"/>
                    </a:cubicBezTo>
                    <a:close/>
                  </a:path>
                </a:pathLst>
              </a:custGeom>
              <a:solidFill>
                <a:schemeClr val="tx2"/>
              </a:solidFill>
              <a:ln w="2860" cap="flat">
                <a:noFill/>
                <a:prstDash val="solid"/>
                <a:miter/>
              </a:ln>
            </p:spPr>
            <p:txBody>
              <a:bodyPr rtlCol="0" anchor="ctr"/>
              <a:lstStyle/>
              <a:p>
                <a:endParaRPr lang="en-GB" dirty="0"/>
              </a:p>
            </p:txBody>
          </p:sp>
          <p:sp>
            <p:nvSpPr>
              <p:cNvPr id="121" name="Freihandform: Form 481">
                <a:extLst>
                  <a:ext uri="{FF2B5EF4-FFF2-40B4-BE49-F238E27FC236}">
                    <a16:creationId xmlns:a16="http://schemas.microsoft.com/office/drawing/2014/main" id="{34270A39-F184-4284-9367-A8457D28EBA0}"/>
                  </a:ext>
                </a:extLst>
              </p:cNvPr>
              <p:cNvSpPr/>
              <p:nvPr/>
            </p:nvSpPr>
            <p:spPr>
              <a:xfrm>
                <a:off x="1891191" y="1879656"/>
                <a:ext cx="90756" cy="12953"/>
              </a:xfrm>
              <a:custGeom>
                <a:avLst/>
                <a:gdLst>
                  <a:gd name="connsiteX0" fmla="*/ 84280 w 90756"/>
                  <a:gd name="connsiteY0" fmla="*/ 12953 h 12953"/>
                  <a:gd name="connsiteX1" fmla="*/ 6476 w 90756"/>
                  <a:gd name="connsiteY1" fmla="*/ 12953 h 12953"/>
                  <a:gd name="connsiteX2" fmla="*/ 0 w 90756"/>
                  <a:gd name="connsiteY2" fmla="*/ 6477 h 12953"/>
                  <a:gd name="connsiteX3" fmla="*/ 6476 w 90756"/>
                  <a:gd name="connsiteY3" fmla="*/ 0 h 12953"/>
                  <a:gd name="connsiteX4" fmla="*/ 84280 w 90756"/>
                  <a:gd name="connsiteY4" fmla="*/ 0 h 12953"/>
                  <a:gd name="connsiteX5" fmla="*/ 90757 w 90756"/>
                  <a:gd name="connsiteY5" fmla="*/ 6477 h 12953"/>
                  <a:gd name="connsiteX6" fmla="*/ 84280 w 90756"/>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56" h="12953">
                    <a:moveTo>
                      <a:pt x="84280" y="12953"/>
                    </a:moveTo>
                    <a:lnTo>
                      <a:pt x="6476" y="12953"/>
                    </a:lnTo>
                    <a:cubicBezTo>
                      <a:pt x="2894" y="12953"/>
                      <a:pt x="0" y="10059"/>
                      <a:pt x="0" y="6477"/>
                    </a:cubicBezTo>
                    <a:cubicBezTo>
                      <a:pt x="0" y="2894"/>
                      <a:pt x="2894" y="0"/>
                      <a:pt x="6476" y="0"/>
                    </a:cubicBezTo>
                    <a:lnTo>
                      <a:pt x="84280" y="0"/>
                    </a:lnTo>
                    <a:cubicBezTo>
                      <a:pt x="87863" y="0"/>
                      <a:pt x="90757" y="2894"/>
                      <a:pt x="90757" y="6477"/>
                    </a:cubicBezTo>
                    <a:cubicBezTo>
                      <a:pt x="90757" y="10030"/>
                      <a:pt x="87863" y="12953"/>
                      <a:pt x="84280" y="12953"/>
                    </a:cubicBezTo>
                    <a:close/>
                  </a:path>
                </a:pathLst>
              </a:custGeom>
              <a:solidFill>
                <a:schemeClr val="tx2"/>
              </a:solidFill>
              <a:ln w="2860" cap="flat">
                <a:noFill/>
                <a:prstDash val="solid"/>
                <a:miter/>
              </a:ln>
            </p:spPr>
            <p:txBody>
              <a:bodyPr rtlCol="0" anchor="ctr"/>
              <a:lstStyle/>
              <a:p>
                <a:endParaRPr lang="en-GB" dirty="0"/>
              </a:p>
            </p:txBody>
          </p:sp>
          <p:sp>
            <p:nvSpPr>
              <p:cNvPr id="122" name="Freihandform: Form 482">
                <a:extLst>
                  <a:ext uri="{FF2B5EF4-FFF2-40B4-BE49-F238E27FC236}">
                    <a16:creationId xmlns:a16="http://schemas.microsoft.com/office/drawing/2014/main" id="{87EBF088-BD14-4968-B927-514CC8974D2A}"/>
                  </a:ext>
                </a:extLst>
              </p:cNvPr>
              <p:cNvSpPr/>
              <p:nvPr/>
            </p:nvSpPr>
            <p:spPr>
              <a:xfrm>
                <a:off x="1891191" y="1905591"/>
                <a:ext cx="90756" cy="12953"/>
              </a:xfrm>
              <a:custGeom>
                <a:avLst/>
                <a:gdLst>
                  <a:gd name="connsiteX0" fmla="*/ 84280 w 90756"/>
                  <a:gd name="connsiteY0" fmla="*/ 12953 h 12953"/>
                  <a:gd name="connsiteX1" fmla="*/ 6476 w 90756"/>
                  <a:gd name="connsiteY1" fmla="*/ 12953 h 12953"/>
                  <a:gd name="connsiteX2" fmla="*/ 0 w 90756"/>
                  <a:gd name="connsiteY2" fmla="*/ 6476 h 12953"/>
                  <a:gd name="connsiteX3" fmla="*/ 6476 w 90756"/>
                  <a:gd name="connsiteY3" fmla="*/ 0 h 12953"/>
                  <a:gd name="connsiteX4" fmla="*/ 84280 w 90756"/>
                  <a:gd name="connsiteY4" fmla="*/ 0 h 12953"/>
                  <a:gd name="connsiteX5" fmla="*/ 90757 w 90756"/>
                  <a:gd name="connsiteY5" fmla="*/ 6476 h 12953"/>
                  <a:gd name="connsiteX6" fmla="*/ 84280 w 90756"/>
                  <a:gd name="connsiteY6" fmla="*/ 12953 h 1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756" h="12953">
                    <a:moveTo>
                      <a:pt x="84280" y="12953"/>
                    </a:moveTo>
                    <a:lnTo>
                      <a:pt x="6476" y="12953"/>
                    </a:lnTo>
                    <a:cubicBezTo>
                      <a:pt x="2894" y="12953"/>
                      <a:pt x="0" y="10059"/>
                      <a:pt x="0" y="6476"/>
                    </a:cubicBezTo>
                    <a:cubicBezTo>
                      <a:pt x="0" y="2894"/>
                      <a:pt x="2894" y="0"/>
                      <a:pt x="6476" y="0"/>
                    </a:cubicBezTo>
                    <a:lnTo>
                      <a:pt x="84280" y="0"/>
                    </a:lnTo>
                    <a:cubicBezTo>
                      <a:pt x="87863" y="0"/>
                      <a:pt x="90757" y="2894"/>
                      <a:pt x="90757" y="6476"/>
                    </a:cubicBezTo>
                    <a:cubicBezTo>
                      <a:pt x="90757" y="10059"/>
                      <a:pt x="87863" y="12953"/>
                      <a:pt x="84280" y="12953"/>
                    </a:cubicBezTo>
                    <a:close/>
                  </a:path>
                </a:pathLst>
              </a:custGeom>
              <a:solidFill>
                <a:schemeClr val="tx2"/>
              </a:solidFill>
              <a:ln w="2860" cap="flat">
                <a:noFill/>
                <a:prstDash val="solid"/>
                <a:miter/>
              </a:ln>
            </p:spPr>
            <p:txBody>
              <a:bodyPr rtlCol="0" anchor="ctr"/>
              <a:lstStyle/>
              <a:p>
                <a:endParaRPr lang="en-GB" dirty="0"/>
              </a:p>
            </p:txBody>
          </p:sp>
          <p:sp>
            <p:nvSpPr>
              <p:cNvPr id="123" name="Freihandform: Form 483">
                <a:extLst>
                  <a:ext uri="{FF2B5EF4-FFF2-40B4-BE49-F238E27FC236}">
                    <a16:creationId xmlns:a16="http://schemas.microsoft.com/office/drawing/2014/main" id="{517D7CB3-45B9-44CA-A37B-92B3494D435C}"/>
                  </a:ext>
                </a:extLst>
              </p:cNvPr>
              <p:cNvSpPr/>
              <p:nvPr/>
            </p:nvSpPr>
            <p:spPr>
              <a:xfrm>
                <a:off x="1800406" y="1847217"/>
                <a:ext cx="25934" cy="25934"/>
              </a:xfrm>
              <a:custGeom>
                <a:avLst/>
                <a:gdLst>
                  <a:gd name="connsiteX0" fmla="*/ 6477 w 25934"/>
                  <a:gd name="connsiteY0" fmla="*/ 25935 h 25934"/>
                  <a:gd name="connsiteX1" fmla="*/ 1891 w 25934"/>
                  <a:gd name="connsiteY1" fmla="*/ 24043 h 25934"/>
                  <a:gd name="connsiteX2" fmla="*/ 1891 w 25934"/>
                  <a:gd name="connsiteY2" fmla="*/ 14873 h 25934"/>
                  <a:gd name="connsiteX3" fmla="*/ 14873 w 25934"/>
                  <a:gd name="connsiteY3" fmla="*/ 1891 h 25934"/>
                  <a:gd name="connsiteX4" fmla="*/ 24043 w 25934"/>
                  <a:gd name="connsiteY4" fmla="*/ 1891 h 25934"/>
                  <a:gd name="connsiteX5" fmla="*/ 24043 w 25934"/>
                  <a:gd name="connsiteY5" fmla="*/ 11062 h 25934"/>
                  <a:gd name="connsiteX6" fmla="*/ 11062 w 25934"/>
                  <a:gd name="connsiteY6" fmla="*/ 24043 h 25934"/>
                  <a:gd name="connsiteX7" fmla="*/ 6477 w 25934"/>
                  <a:gd name="connsiteY7" fmla="*/ 25935 h 2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34" h="25934">
                    <a:moveTo>
                      <a:pt x="6477" y="25935"/>
                    </a:moveTo>
                    <a:cubicBezTo>
                      <a:pt x="4814" y="25935"/>
                      <a:pt x="3152" y="25304"/>
                      <a:pt x="1891" y="24043"/>
                    </a:cubicBezTo>
                    <a:cubicBezTo>
                      <a:pt x="-630" y="21521"/>
                      <a:pt x="-630" y="17395"/>
                      <a:pt x="1891" y="14873"/>
                    </a:cubicBezTo>
                    <a:lnTo>
                      <a:pt x="14873" y="1891"/>
                    </a:lnTo>
                    <a:cubicBezTo>
                      <a:pt x="17395" y="-630"/>
                      <a:pt x="21522" y="-630"/>
                      <a:pt x="24043" y="1891"/>
                    </a:cubicBezTo>
                    <a:cubicBezTo>
                      <a:pt x="26565" y="4413"/>
                      <a:pt x="26565" y="8540"/>
                      <a:pt x="24043" y="11062"/>
                    </a:cubicBezTo>
                    <a:lnTo>
                      <a:pt x="11062" y="24043"/>
                    </a:lnTo>
                    <a:cubicBezTo>
                      <a:pt x="9801" y="25304"/>
                      <a:pt x="8139" y="25935"/>
                      <a:pt x="6477" y="25935"/>
                    </a:cubicBezTo>
                    <a:close/>
                  </a:path>
                </a:pathLst>
              </a:custGeom>
              <a:solidFill>
                <a:schemeClr val="tx2"/>
              </a:solidFill>
              <a:ln w="2860" cap="flat">
                <a:noFill/>
                <a:prstDash val="solid"/>
                <a:miter/>
              </a:ln>
            </p:spPr>
            <p:txBody>
              <a:bodyPr rtlCol="0" anchor="ctr"/>
              <a:lstStyle/>
              <a:p>
                <a:endParaRPr lang="en-GB" dirty="0"/>
              </a:p>
            </p:txBody>
          </p:sp>
          <p:sp>
            <p:nvSpPr>
              <p:cNvPr id="124" name="Freihandform: Form 484">
                <a:extLst>
                  <a:ext uri="{FF2B5EF4-FFF2-40B4-BE49-F238E27FC236}">
                    <a16:creationId xmlns:a16="http://schemas.microsoft.com/office/drawing/2014/main" id="{9FC6D56E-3666-49ED-9EC0-DD3DF038D521}"/>
                  </a:ext>
                </a:extLst>
              </p:cNvPr>
              <p:cNvSpPr/>
              <p:nvPr/>
            </p:nvSpPr>
            <p:spPr>
              <a:xfrm>
                <a:off x="2046799" y="1847217"/>
                <a:ext cx="25934" cy="25934"/>
              </a:xfrm>
              <a:custGeom>
                <a:avLst/>
                <a:gdLst>
                  <a:gd name="connsiteX0" fmla="*/ 19458 w 25934"/>
                  <a:gd name="connsiteY0" fmla="*/ 25935 h 25934"/>
                  <a:gd name="connsiteX1" fmla="*/ 14873 w 25934"/>
                  <a:gd name="connsiteY1" fmla="*/ 24043 h 25934"/>
                  <a:gd name="connsiteX2" fmla="*/ 1891 w 25934"/>
                  <a:gd name="connsiteY2" fmla="*/ 11062 h 25934"/>
                  <a:gd name="connsiteX3" fmla="*/ 1891 w 25934"/>
                  <a:gd name="connsiteY3" fmla="*/ 1891 h 25934"/>
                  <a:gd name="connsiteX4" fmla="*/ 11062 w 25934"/>
                  <a:gd name="connsiteY4" fmla="*/ 1891 h 25934"/>
                  <a:gd name="connsiteX5" fmla="*/ 24043 w 25934"/>
                  <a:gd name="connsiteY5" fmla="*/ 14873 h 25934"/>
                  <a:gd name="connsiteX6" fmla="*/ 24043 w 25934"/>
                  <a:gd name="connsiteY6" fmla="*/ 24043 h 25934"/>
                  <a:gd name="connsiteX7" fmla="*/ 19458 w 25934"/>
                  <a:gd name="connsiteY7" fmla="*/ 25935 h 25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934" h="25934">
                    <a:moveTo>
                      <a:pt x="19458" y="25935"/>
                    </a:moveTo>
                    <a:cubicBezTo>
                      <a:pt x="17796" y="25935"/>
                      <a:pt x="16134" y="25304"/>
                      <a:pt x="14873" y="24043"/>
                    </a:cubicBezTo>
                    <a:lnTo>
                      <a:pt x="1891" y="11062"/>
                    </a:lnTo>
                    <a:cubicBezTo>
                      <a:pt x="-630" y="8540"/>
                      <a:pt x="-630" y="4413"/>
                      <a:pt x="1891" y="1891"/>
                    </a:cubicBezTo>
                    <a:cubicBezTo>
                      <a:pt x="4413" y="-630"/>
                      <a:pt x="8540" y="-630"/>
                      <a:pt x="11062" y="1891"/>
                    </a:cubicBezTo>
                    <a:lnTo>
                      <a:pt x="24043" y="14873"/>
                    </a:lnTo>
                    <a:cubicBezTo>
                      <a:pt x="26565" y="17395"/>
                      <a:pt x="26565" y="21521"/>
                      <a:pt x="24043" y="24043"/>
                    </a:cubicBezTo>
                    <a:cubicBezTo>
                      <a:pt x="22754" y="25304"/>
                      <a:pt x="21092" y="25935"/>
                      <a:pt x="19458" y="25935"/>
                    </a:cubicBezTo>
                    <a:close/>
                  </a:path>
                </a:pathLst>
              </a:custGeom>
              <a:solidFill>
                <a:schemeClr val="tx2"/>
              </a:solidFill>
              <a:ln w="2860" cap="flat">
                <a:noFill/>
                <a:prstDash val="solid"/>
                <a:miter/>
              </a:ln>
            </p:spPr>
            <p:txBody>
              <a:bodyPr rtlCol="0" anchor="ctr"/>
              <a:lstStyle/>
              <a:p>
                <a:endParaRPr lang="en-GB" dirty="0"/>
              </a:p>
            </p:txBody>
          </p:sp>
          <p:sp>
            <p:nvSpPr>
              <p:cNvPr id="125" name="Freihandform: Form 491">
                <a:extLst>
                  <a:ext uri="{FF2B5EF4-FFF2-40B4-BE49-F238E27FC236}">
                    <a16:creationId xmlns:a16="http://schemas.microsoft.com/office/drawing/2014/main" id="{ADA0CF25-64DC-4E3D-A6C1-562B3E25DAB4}"/>
                  </a:ext>
                </a:extLst>
              </p:cNvPr>
              <p:cNvSpPr/>
              <p:nvPr/>
            </p:nvSpPr>
            <p:spPr>
              <a:xfrm>
                <a:off x="1800406" y="1983395"/>
                <a:ext cx="64822" cy="84280"/>
              </a:xfrm>
              <a:custGeom>
                <a:avLst/>
                <a:gdLst>
                  <a:gd name="connsiteX0" fmla="*/ 45393 w 64822"/>
                  <a:gd name="connsiteY0" fmla="*/ 84281 h 84280"/>
                  <a:gd name="connsiteX1" fmla="*/ 19458 w 64822"/>
                  <a:gd name="connsiteY1" fmla="*/ 84281 h 84280"/>
                  <a:gd name="connsiteX2" fmla="*/ 0 w 64822"/>
                  <a:gd name="connsiteY2" fmla="*/ 64822 h 84280"/>
                  <a:gd name="connsiteX3" fmla="*/ 0 w 64822"/>
                  <a:gd name="connsiteY3" fmla="*/ 6477 h 84280"/>
                  <a:gd name="connsiteX4" fmla="*/ 6477 w 64822"/>
                  <a:gd name="connsiteY4" fmla="*/ 0 h 84280"/>
                  <a:gd name="connsiteX5" fmla="*/ 58346 w 64822"/>
                  <a:gd name="connsiteY5" fmla="*/ 0 h 84280"/>
                  <a:gd name="connsiteX6" fmla="*/ 64822 w 64822"/>
                  <a:gd name="connsiteY6" fmla="*/ 6477 h 84280"/>
                  <a:gd name="connsiteX7" fmla="*/ 64822 w 64822"/>
                  <a:gd name="connsiteY7" fmla="*/ 64822 h 84280"/>
                  <a:gd name="connsiteX8" fmla="*/ 45393 w 64822"/>
                  <a:gd name="connsiteY8" fmla="*/ 84281 h 84280"/>
                  <a:gd name="connsiteX9" fmla="*/ 12953 w 64822"/>
                  <a:gd name="connsiteY9" fmla="*/ 12953 h 84280"/>
                  <a:gd name="connsiteX10" fmla="*/ 12953 w 64822"/>
                  <a:gd name="connsiteY10" fmla="*/ 64822 h 84280"/>
                  <a:gd name="connsiteX11" fmla="*/ 19430 w 64822"/>
                  <a:gd name="connsiteY11" fmla="*/ 71299 h 84280"/>
                  <a:gd name="connsiteX12" fmla="*/ 45364 w 64822"/>
                  <a:gd name="connsiteY12" fmla="*/ 71299 h 84280"/>
                  <a:gd name="connsiteX13" fmla="*/ 51841 w 64822"/>
                  <a:gd name="connsiteY13" fmla="*/ 64822 h 84280"/>
                  <a:gd name="connsiteX14" fmla="*/ 51841 w 64822"/>
                  <a:gd name="connsiteY14" fmla="*/ 12953 h 84280"/>
                  <a:gd name="connsiteX15" fmla="*/ 12953 w 64822"/>
                  <a:gd name="connsiteY15" fmla="*/ 12953 h 8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822" h="84280">
                    <a:moveTo>
                      <a:pt x="45393" y="84281"/>
                    </a:moveTo>
                    <a:lnTo>
                      <a:pt x="19458" y="84281"/>
                    </a:lnTo>
                    <a:cubicBezTo>
                      <a:pt x="8740" y="84281"/>
                      <a:pt x="0" y="75569"/>
                      <a:pt x="0" y="64822"/>
                    </a:cubicBezTo>
                    <a:lnTo>
                      <a:pt x="0" y="6477"/>
                    </a:lnTo>
                    <a:cubicBezTo>
                      <a:pt x="0" y="2894"/>
                      <a:pt x="2894" y="0"/>
                      <a:pt x="6477" y="0"/>
                    </a:cubicBezTo>
                    <a:lnTo>
                      <a:pt x="58346" y="0"/>
                    </a:lnTo>
                    <a:cubicBezTo>
                      <a:pt x="61928" y="0"/>
                      <a:pt x="64822" y="2894"/>
                      <a:pt x="64822" y="6477"/>
                    </a:cubicBezTo>
                    <a:lnTo>
                      <a:pt x="64822" y="64822"/>
                    </a:lnTo>
                    <a:cubicBezTo>
                      <a:pt x="64822" y="75540"/>
                      <a:pt x="56111" y="84281"/>
                      <a:pt x="45393" y="84281"/>
                    </a:cubicBezTo>
                    <a:close/>
                    <a:moveTo>
                      <a:pt x="12953" y="12953"/>
                    </a:moveTo>
                    <a:lnTo>
                      <a:pt x="12953" y="64822"/>
                    </a:lnTo>
                    <a:cubicBezTo>
                      <a:pt x="12953" y="68405"/>
                      <a:pt x="15876" y="71299"/>
                      <a:pt x="19430" y="71299"/>
                    </a:cubicBezTo>
                    <a:lnTo>
                      <a:pt x="45364" y="71299"/>
                    </a:lnTo>
                    <a:cubicBezTo>
                      <a:pt x="48946" y="71299"/>
                      <a:pt x="51841" y="68376"/>
                      <a:pt x="51841" y="64822"/>
                    </a:cubicBezTo>
                    <a:lnTo>
                      <a:pt x="51841" y="12953"/>
                    </a:lnTo>
                    <a:lnTo>
                      <a:pt x="12953" y="12953"/>
                    </a:lnTo>
                    <a:close/>
                  </a:path>
                </a:pathLst>
              </a:custGeom>
              <a:solidFill>
                <a:schemeClr val="tx2"/>
              </a:solidFill>
              <a:ln w="2860" cap="flat">
                <a:noFill/>
                <a:prstDash val="solid"/>
                <a:miter/>
              </a:ln>
            </p:spPr>
            <p:txBody>
              <a:bodyPr rtlCol="0" anchor="ctr"/>
              <a:lstStyle/>
              <a:p>
                <a:endParaRPr lang="en-GB" dirty="0"/>
              </a:p>
            </p:txBody>
          </p:sp>
          <p:sp>
            <p:nvSpPr>
              <p:cNvPr id="126" name="Freihandform: Form 492">
                <a:extLst>
                  <a:ext uri="{FF2B5EF4-FFF2-40B4-BE49-F238E27FC236}">
                    <a16:creationId xmlns:a16="http://schemas.microsoft.com/office/drawing/2014/main" id="{0627B24C-5188-426B-89EE-2B553875A5C5}"/>
                  </a:ext>
                </a:extLst>
              </p:cNvPr>
              <p:cNvSpPr/>
              <p:nvPr/>
            </p:nvSpPr>
            <p:spPr>
              <a:xfrm>
                <a:off x="2007883" y="1983395"/>
                <a:ext cx="64822" cy="84280"/>
              </a:xfrm>
              <a:custGeom>
                <a:avLst/>
                <a:gdLst>
                  <a:gd name="connsiteX0" fmla="*/ 45393 w 64822"/>
                  <a:gd name="connsiteY0" fmla="*/ 84281 h 84280"/>
                  <a:gd name="connsiteX1" fmla="*/ 19458 w 64822"/>
                  <a:gd name="connsiteY1" fmla="*/ 84281 h 84280"/>
                  <a:gd name="connsiteX2" fmla="*/ 0 w 64822"/>
                  <a:gd name="connsiteY2" fmla="*/ 64822 h 84280"/>
                  <a:gd name="connsiteX3" fmla="*/ 0 w 64822"/>
                  <a:gd name="connsiteY3" fmla="*/ 6477 h 84280"/>
                  <a:gd name="connsiteX4" fmla="*/ 6477 w 64822"/>
                  <a:gd name="connsiteY4" fmla="*/ 0 h 84280"/>
                  <a:gd name="connsiteX5" fmla="*/ 58346 w 64822"/>
                  <a:gd name="connsiteY5" fmla="*/ 0 h 84280"/>
                  <a:gd name="connsiteX6" fmla="*/ 64822 w 64822"/>
                  <a:gd name="connsiteY6" fmla="*/ 6477 h 84280"/>
                  <a:gd name="connsiteX7" fmla="*/ 64822 w 64822"/>
                  <a:gd name="connsiteY7" fmla="*/ 64822 h 84280"/>
                  <a:gd name="connsiteX8" fmla="*/ 45393 w 64822"/>
                  <a:gd name="connsiteY8" fmla="*/ 84281 h 84280"/>
                  <a:gd name="connsiteX9" fmla="*/ 12982 w 64822"/>
                  <a:gd name="connsiteY9" fmla="*/ 12953 h 84280"/>
                  <a:gd name="connsiteX10" fmla="*/ 12982 w 64822"/>
                  <a:gd name="connsiteY10" fmla="*/ 64822 h 84280"/>
                  <a:gd name="connsiteX11" fmla="*/ 19458 w 64822"/>
                  <a:gd name="connsiteY11" fmla="*/ 71299 h 84280"/>
                  <a:gd name="connsiteX12" fmla="*/ 45393 w 64822"/>
                  <a:gd name="connsiteY12" fmla="*/ 71299 h 84280"/>
                  <a:gd name="connsiteX13" fmla="*/ 51869 w 64822"/>
                  <a:gd name="connsiteY13" fmla="*/ 64822 h 84280"/>
                  <a:gd name="connsiteX14" fmla="*/ 51869 w 64822"/>
                  <a:gd name="connsiteY14" fmla="*/ 12953 h 84280"/>
                  <a:gd name="connsiteX15" fmla="*/ 12982 w 64822"/>
                  <a:gd name="connsiteY15" fmla="*/ 12953 h 8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822" h="84280">
                    <a:moveTo>
                      <a:pt x="45393" y="84281"/>
                    </a:moveTo>
                    <a:lnTo>
                      <a:pt x="19458" y="84281"/>
                    </a:lnTo>
                    <a:cubicBezTo>
                      <a:pt x="8740" y="84281"/>
                      <a:pt x="0" y="75569"/>
                      <a:pt x="0" y="64822"/>
                    </a:cubicBezTo>
                    <a:lnTo>
                      <a:pt x="0" y="6477"/>
                    </a:lnTo>
                    <a:cubicBezTo>
                      <a:pt x="0" y="2894"/>
                      <a:pt x="2894" y="0"/>
                      <a:pt x="6477" y="0"/>
                    </a:cubicBezTo>
                    <a:lnTo>
                      <a:pt x="58346" y="0"/>
                    </a:lnTo>
                    <a:cubicBezTo>
                      <a:pt x="61928" y="0"/>
                      <a:pt x="64822" y="2894"/>
                      <a:pt x="64822" y="6477"/>
                    </a:cubicBezTo>
                    <a:lnTo>
                      <a:pt x="64822" y="64822"/>
                    </a:lnTo>
                    <a:cubicBezTo>
                      <a:pt x="64851" y="75540"/>
                      <a:pt x="56111" y="84281"/>
                      <a:pt x="45393" y="84281"/>
                    </a:cubicBezTo>
                    <a:close/>
                    <a:moveTo>
                      <a:pt x="12982" y="12953"/>
                    </a:moveTo>
                    <a:lnTo>
                      <a:pt x="12982" y="64822"/>
                    </a:lnTo>
                    <a:cubicBezTo>
                      <a:pt x="12982" y="68405"/>
                      <a:pt x="15905" y="71299"/>
                      <a:pt x="19458" y="71299"/>
                    </a:cubicBezTo>
                    <a:lnTo>
                      <a:pt x="45393" y="71299"/>
                    </a:lnTo>
                    <a:cubicBezTo>
                      <a:pt x="48975" y="71299"/>
                      <a:pt x="51869" y="68376"/>
                      <a:pt x="51869" y="64822"/>
                    </a:cubicBezTo>
                    <a:lnTo>
                      <a:pt x="51869" y="12953"/>
                    </a:lnTo>
                    <a:lnTo>
                      <a:pt x="12982" y="12953"/>
                    </a:lnTo>
                    <a:close/>
                  </a:path>
                </a:pathLst>
              </a:custGeom>
              <a:solidFill>
                <a:schemeClr val="tx2"/>
              </a:solidFill>
              <a:ln w="2860" cap="flat">
                <a:noFill/>
                <a:prstDash val="solid"/>
                <a:miter/>
              </a:ln>
            </p:spPr>
            <p:txBody>
              <a:bodyPr rtlCol="0" anchor="ctr"/>
              <a:lstStyle/>
              <a:p>
                <a:endParaRPr lang="en-GB" dirty="0"/>
              </a:p>
            </p:txBody>
          </p:sp>
        </p:grpSp>
      </p:grpSp>
      <p:sp>
        <p:nvSpPr>
          <p:cNvPr id="21" name="TextBox 20">
            <a:extLst>
              <a:ext uri="{FF2B5EF4-FFF2-40B4-BE49-F238E27FC236}">
                <a16:creationId xmlns:a16="http://schemas.microsoft.com/office/drawing/2014/main" id="{0571F659-4AF1-4D6F-AFED-973C6783D5A7}"/>
              </a:ext>
            </a:extLst>
          </p:cNvPr>
          <p:cNvSpPr txBox="1"/>
          <p:nvPr/>
        </p:nvSpPr>
        <p:spPr>
          <a:xfrm>
            <a:off x="487133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raffic</a:t>
            </a:r>
            <a:br>
              <a:rPr lang="en-GB" sz="700" dirty="0">
                <a:solidFill>
                  <a:schemeClr val="tx2"/>
                </a:solidFill>
              </a:rPr>
            </a:br>
            <a:r>
              <a:rPr lang="en-GB" sz="700" dirty="0">
                <a:solidFill>
                  <a:schemeClr val="tx2"/>
                </a:solidFill>
              </a:rPr>
              <a:t>lights</a:t>
            </a:r>
          </a:p>
        </p:txBody>
      </p:sp>
      <p:sp>
        <p:nvSpPr>
          <p:cNvPr id="22" name="TextBox 21">
            <a:extLst>
              <a:ext uri="{FF2B5EF4-FFF2-40B4-BE49-F238E27FC236}">
                <a16:creationId xmlns:a16="http://schemas.microsoft.com/office/drawing/2014/main" id="{A8192240-B167-47BB-8122-A6BBBB0C039A}"/>
              </a:ext>
            </a:extLst>
          </p:cNvPr>
          <p:cNvSpPr txBox="1"/>
          <p:nvPr/>
        </p:nvSpPr>
        <p:spPr>
          <a:xfrm>
            <a:off x="8007638"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duct-support</a:t>
            </a:r>
            <a:br>
              <a:rPr lang="en-GB" sz="700" dirty="0">
                <a:solidFill>
                  <a:schemeClr val="tx2"/>
                </a:solidFill>
              </a:rPr>
            </a:br>
            <a:r>
              <a:rPr lang="en-GB" sz="700" dirty="0">
                <a:solidFill>
                  <a:schemeClr val="tx2"/>
                </a:solidFill>
              </a:rPr>
              <a:t>services</a:t>
            </a:r>
          </a:p>
        </p:txBody>
      </p:sp>
      <p:sp>
        <p:nvSpPr>
          <p:cNvPr id="23" name="TextBox 22">
            <a:extLst>
              <a:ext uri="{FF2B5EF4-FFF2-40B4-BE49-F238E27FC236}">
                <a16:creationId xmlns:a16="http://schemas.microsoft.com/office/drawing/2014/main" id="{B02F3FD0-6B50-4D5C-A5AF-C72E6DF12235}"/>
              </a:ext>
            </a:extLst>
          </p:cNvPr>
          <p:cNvSpPr txBox="1"/>
          <p:nvPr/>
        </p:nvSpPr>
        <p:spPr>
          <a:xfrm>
            <a:off x="6962205"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Ferry</a:t>
            </a:r>
          </a:p>
        </p:txBody>
      </p:sp>
      <p:sp>
        <p:nvSpPr>
          <p:cNvPr id="24" name="TextBox 23">
            <a:extLst>
              <a:ext uri="{FF2B5EF4-FFF2-40B4-BE49-F238E27FC236}">
                <a16:creationId xmlns:a16="http://schemas.microsoft.com/office/drawing/2014/main" id="{8355AC4B-234B-4DA0-9D4B-682878573155}"/>
              </a:ext>
            </a:extLst>
          </p:cNvPr>
          <p:cNvSpPr txBox="1"/>
          <p:nvPr/>
        </p:nvSpPr>
        <p:spPr>
          <a:xfrm>
            <a:off x="5916771"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ity bicycle</a:t>
            </a:r>
            <a:br>
              <a:rPr lang="en-GB" sz="700" dirty="0">
                <a:solidFill>
                  <a:schemeClr val="tx2"/>
                </a:solidFill>
              </a:rPr>
            </a:br>
            <a:r>
              <a:rPr lang="en-GB" sz="700" dirty="0">
                <a:solidFill>
                  <a:schemeClr val="tx2"/>
                </a:solidFill>
              </a:rPr>
              <a:t>sharing system</a:t>
            </a:r>
          </a:p>
        </p:txBody>
      </p:sp>
      <p:sp>
        <p:nvSpPr>
          <p:cNvPr id="25" name="TextBox 24">
            <a:extLst>
              <a:ext uri="{FF2B5EF4-FFF2-40B4-BE49-F238E27FC236}">
                <a16:creationId xmlns:a16="http://schemas.microsoft.com/office/drawing/2014/main" id="{4E0A7053-02A5-484D-9FE7-EF86662058D4}"/>
              </a:ext>
            </a:extLst>
          </p:cNvPr>
          <p:cNvSpPr txBox="1"/>
          <p:nvPr/>
        </p:nvSpPr>
        <p:spPr>
          <a:xfrm>
            <a:off x="487133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Xxx</a:t>
            </a:r>
          </a:p>
        </p:txBody>
      </p:sp>
      <p:sp>
        <p:nvSpPr>
          <p:cNvPr id="26" name="TextBox 25">
            <a:extLst>
              <a:ext uri="{FF2B5EF4-FFF2-40B4-BE49-F238E27FC236}">
                <a16:creationId xmlns:a16="http://schemas.microsoft.com/office/drawing/2014/main" id="{DA32B8EB-04D5-4F67-B2B6-FC6530F41BF1}"/>
              </a:ext>
            </a:extLst>
          </p:cNvPr>
          <p:cNvSpPr txBox="1"/>
          <p:nvPr/>
        </p:nvSpPr>
        <p:spPr>
          <a:xfrm>
            <a:off x="8007638"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duct</a:t>
            </a:r>
            <a:br>
              <a:rPr lang="en-GB" sz="700" dirty="0">
                <a:solidFill>
                  <a:schemeClr val="tx2"/>
                </a:solidFill>
              </a:rPr>
            </a:br>
            <a:r>
              <a:rPr lang="en-GB" sz="700" dirty="0">
                <a:solidFill>
                  <a:schemeClr val="tx2"/>
                </a:solidFill>
              </a:rPr>
              <a:t>insurance </a:t>
            </a:r>
          </a:p>
        </p:txBody>
      </p:sp>
      <p:sp>
        <p:nvSpPr>
          <p:cNvPr id="27" name="TextBox 26">
            <a:extLst>
              <a:ext uri="{FF2B5EF4-FFF2-40B4-BE49-F238E27FC236}">
                <a16:creationId xmlns:a16="http://schemas.microsoft.com/office/drawing/2014/main" id="{43855F6E-25F4-43D8-9938-88D2F1523085}"/>
              </a:ext>
            </a:extLst>
          </p:cNvPr>
          <p:cNvSpPr txBox="1"/>
          <p:nvPr/>
        </p:nvSpPr>
        <p:spPr>
          <a:xfrm>
            <a:off x="6962205"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Orders</a:t>
            </a:r>
          </a:p>
        </p:txBody>
      </p:sp>
      <p:sp>
        <p:nvSpPr>
          <p:cNvPr id="28" name="TextBox 27">
            <a:extLst>
              <a:ext uri="{FF2B5EF4-FFF2-40B4-BE49-F238E27FC236}">
                <a16:creationId xmlns:a16="http://schemas.microsoft.com/office/drawing/2014/main" id="{3AE66AC1-4D04-4904-AEDA-ACEEE0DE2444}"/>
              </a:ext>
            </a:extLst>
          </p:cNvPr>
          <p:cNvSpPr txBox="1"/>
          <p:nvPr/>
        </p:nvSpPr>
        <p:spPr>
          <a:xfrm>
            <a:off x="5916771"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duct</a:t>
            </a:r>
            <a:br>
              <a:rPr lang="en-GB" sz="700" dirty="0">
                <a:solidFill>
                  <a:schemeClr val="tx2"/>
                </a:solidFill>
              </a:rPr>
            </a:br>
            <a:r>
              <a:rPr lang="en-GB" sz="700" dirty="0">
                <a:solidFill>
                  <a:schemeClr val="tx2"/>
                </a:solidFill>
              </a:rPr>
              <a:t>checklist</a:t>
            </a:r>
          </a:p>
        </p:txBody>
      </p:sp>
      <p:sp>
        <p:nvSpPr>
          <p:cNvPr id="29" name="TextBox 28">
            <a:extLst>
              <a:ext uri="{FF2B5EF4-FFF2-40B4-BE49-F238E27FC236}">
                <a16:creationId xmlns:a16="http://schemas.microsoft.com/office/drawing/2014/main" id="{F269DDA2-9E17-45ED-A411-B0C21A66BA9D}"/>
              </a:ext>
            </a:extLst>
          </p:cNvPr>
          <p:cNvSpPr txBox="1"/>
          <p:nvPr/>
        </p:nvSpPr>
        <p:spPr>
          <a:xfrm>
            <a:off x="4813995" y="3723675"/>
            <a:ext cx="798548" cy="107722"/>
          </a:xfrm>
          <a:prstGeom prst="rect">
            <a:avLst/>
          </a:prstGeom>
          <a:noFill/>
          <a:effectLst/>
        </p:spPr>
        <p:txBody>
          <a:bodyPr wrap="square" lIns="0" tIns="0" rIns="0" bIns="0" rtlCol="0" anchor="t">
            <a:spAutoFit/>
          </a:bodyPr>
          <a:lstStyle/>
          <a:p>
            <a:pPr algn="ctr"/>
            <a:r>
              <a:rPr lang="en-GB" sz="700" dirty="0">
                <a:solidFill>
                  <a:schemeClr val="tx2"/>
                </a:solidFill>
              </a:rPr>
              <a:t>Warehouse</a:t>
            </a:r>
          </a:p>
        </p:txBody>
      </p:sp>
      <p:sp>
        <p:nvSpPr>
          <p:cNvPr id="30" name="TextBox 29">
            <a:extLst>
              <a:ext uri="{FF2B5EF4-FFF2-40B4-BE49-F238E27FC236}">
                <a16:creationId xmlns:a16="http://schemas.microsoft.com/office/drawing/2014/main" id="{CE9477BC-D0E3-42D1-B416-A3FF014E238C}"/>
              </a:ext>
            </a:extLst>
          </p:cNvPr>
          <p:cNvSpPr txBox="1"/>
          <p:nvPr/>
        </p:nvSpPr>
        <p:spPr>
          <a:xfrm>
            <a:off x="8007638"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Delivery</a:t>
            </a:r>
            <a:br>
              <a:rPr lang="en-GB" sz="700" dirty="0">
                <a:solidFill>
                  <a:schemeClr val="tx2"/>
                </a:solidFill>
              </a:rPr>
            </a:br>
            <a:r>
              <a:rPr lang="en-GB" sz="700" dirty="0">
                <a:solidFill>
                  <a:schemeClr val="tx2"/>
                </a:solidFill>
              </a:rPr>
              <a:t>van</a:t>
            </a:r>
          </a:p>
        </p:txBody>
      </p:sp>
      <p:sp>
        <p:nvSpPr>
          <p:cNvPr id="31" name="TextBox 30">
            <a:extLst>
              <a:ext uri="{FF2B5EF4-FFF2-40B4-BE49-F238E27FC236}">
                <a16:creationId xmlns:a16="http://schemas.microsoft.com/office/drawing/2014/main" id="{E9FFA63E-1535-4361-9C34-BAE3F9E1BEAC}"/>
              </a:ext>
            </a:extLst>
          </p:cNvPr>
          <p:cNvSpPr txBox="1"/>
          <p:nvPr/>
        </p:nvSpPr>
        <p:spPr>
          <a:xfrm>
            <a:off x="6962205"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ducts</a:t>
            </a:r>
          </a:p>
        </p:txBody>
      </p:sp>
      <p:sp>
        <p:nvSpPr>
          <p:cNvPr id="32" name="TextBox 31">
            <a:extLst>
              <a:ext uri="{FF2B5EF4-FFF2-40B4-BE49-F238E27FC236}">
                <a16:creationId xmlns:a16="http://schemas.microsoft.com/office/drawing/2014/main" id="{BF0D7F7C-C415-4769-9CA7-09501026DB4C}"/>
              </a:ext>
            </a:extLst>
          </p:cNvPr>
          <p:cNvSpPr txBox="1"/>
          <p:nvPr/>
        </p:nvSpPr>
        <p:spPr>
          <a:xfrm>
            <a:off x="5916771"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ackage</a:t>
            </a:r>
          </a:p>
        </p:txBody>
      </p:sp>
      <p:sp>
        <p:nvSpPr>
          <p:cNvPr id="33" name="TextBox 32">
            <a:extLst>
              <a:ext uri="{FF2B5EF4-FFF2-40B4-BE49-F238E27FC236}">
                <a16:creationId xmlns:a16="http://schemas.microsoft.com/office/drawing/2014/main" id="{F8DB3A69-7114-409A-BC47-BC8A3D92547E}"/>
              </a:ext>
            </a:extLst>
          </p:cNvPr>
          <p:cNvSpPr txBox="1"/>
          <p:nvPr/>
        </p:nvSpPr>
        <p:spPr>
          <a:xfrm>
            <a:off x="487133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Delivery</a:t>
            </a:r>
            <a:br>
              <a:rPr lang="en-GB" sz="700" dirty="0">
                <a:solidFill>
                  <a:schemeClr val="tx2"/>
                </a:solidFill>
              </a:rPr>
            </a:br>
            <a:r>
              <a:rPr lang="en-GB" sz="700" dirty="0">
                <a:solidFill>
                  <a:schemeClr val="tx2"/>
                </a:solidFill>
              </a:rPr>
              <a:t>time</a:t>
            </a:r>
          </a:p>
        </p:txBody>
      </p:sp>
      <p:sp>
        <p:nvSpPr>
          <p:cNvPr id="34" name="TextBox 33">
            <a:extLst>
              <a:ext uri="{FF2B5EF4-FFF2-40B4-BE49-F238E27FC236}">
                <a16:creationId xmlns:a16="http://schemas.microsoft.com/office/drawing/2014/main" id="{31F47374-AF3B-40EA-9AA8-BCBC5C9AFDE7}"/>
              </a:ext>
            </a:extLst>
          </p:cNvPr>
          <p:cNvSpPr txBox="1"/>
          <p:nvPr/>
        </p:nvSpPr>
        <p:spPr>
          <a:xfrm>
            <a:off x="8007638"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duct</a:t>
            </a:r>
            <a:br>
              <a:rPr lang="en-GB" sz="700" dirty="0">
                <a:solidFill>
                  <a:schemeClr val="tx2"/>
                </a:solidFill>
              </a:rPr>
            </a:br>
            <a:r>
              <a:rPr lang="en-GB" sz="700" dirty="0">
                <a:solidFill>
                  <a:schemeClr val="tx2"/>
                </a:solidFill>
              </a:rPr>
              <a:t>cycle</a:t>
            </a:r>
          </a:p>
        </p:txBody>
      </p:sp>
      <p:sp>
        <p:nvSpPr>
          <p:cNvPr id="35" name="TextBox 34">
            <a:extLst>
              <a:ext uri="{FF2B5EF4-FFF2-40B4-BE49-F238E27FC236}">
                <a16:creationId xmlns:a16="http://schemas.microsoft.com/office/drawing/2014/main" id="{A42244A9-C575-4EAE-AA4D-916DFE59630B}"/>
              </a:ext>
            </a:extLst>
          </p:cNvPr>
          <p:cNvSpPr txBox="1"/>
          <p:nvPr/>
        </p:nvSpPr>
        <p:spPr>
          <a:xfrm>
            <a:off x="6962205"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duct</a:t>
            </a:r>
            <a:br>
              <a:rPr lang="en-GB" sz="700" dirty="0">
                <a:solidFill>
                  <a:schemeClr val="tx2"/>
                </a:solidFill>
              </a:rPr>
            </a:br>
            <a:r>
              <a:rPr lang="en-GB" sz="700" dirty="0">
                <a:solidFill>
                  <a:schemeClr val="tx2"/>
                </a:solidFill>
              </a:rPr>
              <a:t>details</a:t>
            </a:r>
          </a:p>
        </p:txBody>
      </p:sp>
      <p:sp>
        <p:nvSpPr>
          <p:cNvPr id="36" name="TextBox 35">
            <a:extLst>
              <a:ext uri="{FF2B5EF4-FFF2-40B4-BE49-F238E27FC236}">
                <a16:creationId xmlns:a16="http://schemas.microsoft.com/office/drawing/2014/main" id="{16175180-E830-43A9-85FD-8238499FE82B}"/>
              </a:ext>
            </a:extLst>
          </p:cNvPr>
          <p:cNvSpPr txBox="1"/>
          <p:nvPr/>
        </p:nvSpPr>
        <p:spPr>
          <a:xfrm>
            <a:off x="5916771"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elivery</a:t>
            </a:r>
          </a:p>
        </p:txBody>
      </p:sp>
      <p:grpSp>
        <p:nvGrpSpPr>
          <p:cNvPr id="223" name="Group 222">
            <a:extLst>
              <a:ext uri="{FF2B5EF4-FFF2-40B4-BE49-F238E27FC236}">
                <a16:creationId xmlns:a16="http://schemas.microsoft.com/office/drawing/2014/main" id="{7F0147DA-E3BF-7F5F-32FE-33A0BDB93187}"/>
              </a:ext>
            </a:extLst>
          </p:cNvPr>
          <p:cNvGrpSpPr/>
          <p:nvPr/>
        </p:nvGrpSpPr>
        <p:grpSpPr>
          <a:xfrm>
            <a:off x="4949210" y="4040089"/>
            <a:ext cx="528122" cy="432000"/>
            <a:chOff x="4948798" y="4040089"/>
            <a:chExt cx="528122" cy="432000"/>
          </a:xfrm>
        </p:grpSpPr>
        <p:grpSp>
          <p:nvGrpSpPr>
            <p:cNvPr id="564" name="Graphic 10">
              <a:extLst>
                <a:ext uri="{FF2B5EF4-FFF2-40B4-BE49-F238E27FC236}">
                  <a16:creationId xmlns:a16="http://schemas.microsoft.com/office/drawing/2014/main" id="{C4821722-EDBA-4EF2-BBA9-B222CAF7B8C5}"/>
                </a:ext>
              </a:extLst>
            </p:cNvPr>
            <p:cNvGrpSpPr/>
            <p:nvPr/>
          </p:nvGrpSpPr>
          <p:grpSpPr>
            <a:xfrm>
              <a:off x="4948798" y="4040089"/>
              <a:ext cx="396147" cy="432000"/>
              <a:chOff x="1696731" y="3457300"/>
              <a:chExt cx="342934" cy="373971"/>
            </a:xfrm>
            <a:solidFill>
              <a:schemeClr val="tx2"/>
            </a:solidFill>
          </p:grpSpPr>
          <p:grpSp>
            <p:nvGrpSpPr>
              <p:cNvPr id="572" name="Graphic 10">
                <a:extLst>
                  <a:ext uri="{FF2B5EF4-FFF2-40B4-BE49-F238E27FC236}">
                    <a16:creationId xmlns:a16="http://schemas.microsoft.com/office/drawing/2014/main" id="{7D8F4F2F-C468-44F9-A4EE-F6768DD0A7D0}"/>
                  </a:ext>
                </a:extLst>
              </p:cNvPr>
              <p:cNvGrpSpPr/>
              <p:nvPr/>
            </p:nvGrpSpPr>
            <p:grpSpPr>
              <a:xfrm>
                <a:off x="1696731" y="3457300"/>
                <a:ext cx="342934" cy="373971"/>
                <a:chOff x="1696731" y="3457300"/>
                <a:chExt cx="342934" cy="373971"/>
              </a:xfrm>
              <a:grpFill/>
            </p:grpSpPr>
            <p:sp>
              <p:nvSpPr>
                <p:cNvPr id="574" name="Freihandform: Form 129">
                  <a:extLst>
                    <a:ext uri="{FF2B5EF4-FFF2-40B4-BE49-F238E27FC236}">
                      <a16:creationId xmlns:a16="http://schemas.microsoft.com/office/drawing/2014/main" id="{342D8F6A-43D5-4179-AD81-3556BE844720}"/>
                    </a:ext>
                  </a:extLst>
                </p:cNvPr>
                <p:cNvSpPr/>
                <p:nvPr/>
              </p:nvSpPr>
              <p:spPr>
                <a:xfrm>
                  <a:off x="1861263" y="3552325"/>
                  <a:ext cx="178401" cy="278946"/>
                </a:xfrm>
                <a:custGeom>
                  <a:avLst/>
                  <a:gdLst>
                    <a:gd name="connsiteX0" fmla="*/ 6934 w 178401"/>
                    <a:gd name="connsiteY0" fmla="*/ 278946 h 278946"/>
                    <a:gd name="connsiteX1" fmla="*/ 3409 w 178401"/>
                    <a:gd name="connsiteY1" fmla="*/ 277984 h 278946"/>
                    <a:gd name="connsiteX2" fmla="*/ 0 w 178401"/>
                    <a:gd name="connsiteY2" fmla="*/ 272009 h 278946"/>
                    <a:gd name="connsiteX3" fmla="*/ 0 w 178401"/>
                    <a:gd name="connsiteY3" fmla="*/ 107482 h 278946"/>
                    <a:gd name="connsiteX4" fmla="*/ 3318 w 178401"/>
                    <a:gd name="connsiteY4" fmla="*/ 101563 h 278946"/>
                    <a:gd name="connsiteX5" fmla="*/ 167848 w 178401"/>
                    <a:gd name="connsiteY5" fmla="*/ 1015 h 278946"/>
                    <a:gd name="connsiteX6" fmla="*/ 174859 w 178401"/>
                    <a:gd name="connsiteY6" fmla="*/ 885 h 278946"/>
                    <a:gd name="connsiteX7" fmla="*/ 178402 w 178401"/>
                    <a:gd name="connsiteY7" fmla="*/ 6934 h 278946"/>
                    <a:gd name="connsiteX8" fmla="*/ 178402 w 178401"/>
                    <a:gd name="connsiteY8" fmla="*/ 101668 h 278946"/>
                    <a:gd name="connsiteX9" fmla="*/ 171468 w 178401"/>
                    <a:gd name="connsiteY9" fmla="*/ 108602 h 278946"/>
                    <a:gd name="connsiteX10" fmla="*/ 164534 w 178401"/>
                    <a:gd name="connsiteY10" fmla="*/ 101668 h 278946"/>
                    <a:gd name="connsiteX11" fmla="*/ 164534 w 178401"/>
                    <a:gd name="connsiteY11" fmla="*/ 19299 h 278946"/>
                    <a:gd name="connsiteX12" fmla="*/ 13874 w 178401"/>
                    <a:gd name="connsiteY12" fmla="*/ 111365 h 278946"/>
                    <a:gd name="connsiteX13" fmla="*/ 13874 w 178401"/>
                    <a:gd name="connsiteY13" fmla="*/ 260248 h 278946"/>
                    <a:gd name="connsiteX14" fmla="*/ 108103 w 178401"/>
                    <a:gd name="connsiteY14" fmla="*/ 208187 h 278946"/>
                    <a:gd name="connsiteX15" fmla="*/ 117525 w 178401"/>
                    <a:gd name="connsiteY15" fmla="*/ 210905 h 278946"/>
                    <a:gd name="connsiteX16" fmla="*/ 114805 w 178401"/>
                    <a:gd name="connsiteY16" fmla="*/ 220324 h 278946"/>
                    <a:gd name="connsiteX17" fmla="*/ 10290 w 178401"/>
                    <a:gd name="connsiteY17" fmla="*/ 278076 h 278946"/>
                    <a:gd name="connsiteX18" fmla="*/ 6934 w 178401"/>
                    <a:gd name="connsiteY18" fmla="*/ 278946 h 27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78401" h="278946">
                      <a:moveTo>
                        <a:pt x="6934" y="278946"/>
                      </a:moveTo>
                      <a:cubicBezTo>
                        <a:pt x="5715" y="278946"/>
                        <a:pt x="4497" y="278627"/>
                        <a:pt x="3409" y="277984"/>
                      </a:cubicBezTo>
                      <a:cubicBezTo>
                        <a:pt x="1296" y="276738"/>
                        <a:pt x="0" y="274463"/>
                        <a:pt x="0" y="272009"/>
                      </a:cubicBezTo>
                      <a:lnTo>
                        <a:pt x="0" y="107482"/>
                      </a:lnTo>
                      <a:cubicBezTo>
                        <a:pt x="0" y="105063"/>
                        <a:pt x="1257" y="102823"/>
                        <a:pt x="3318" y="101563"/>
                      </a:cubicBezTo>
                      <a:lnTo>
                        <a:pt x="167848" y="1015"/>
                      </a:lnTo>
                      <a:cubicBezTo>
                        <a:pt x="169990" y="-291"/>
                        <a:pt x="172669" y="-340"/>
                        <a:pt x="174859" y="885"/>
                      </a:cubicBezTo>
                      <a:cubicBezTo>
                        <a:pt x="177046" y="2111"/>
                        <a:pt x="178402" y="4428"/>
                        <a:pt x="178402" y="6934"/>
                      </a:cubicBezTo>
                      <a:lnTo>
                        <a:pt x="178402" y="101668"/>
                      </a:lnTo>
                      <a:cubicBezTo>
                        <a:pt x="178402" y="105502"/>
                        <a:pt x="175298" y="108602"/>
                        <a:pt x="171468" y="108602"/>
                      </a:cubicBezTo>
                      <a:cubicBezTo>
                        <a:pt x="167638" y="108602"/>
                        <a:pt x="164534" y="105498"/>
                        <a:pt x="164534" y="101668"/>
                      </a:cubicBezTo>
                      <a:lnTo>
                        <a:pt x="164534" y="19299"/>
                      </a:lnTo>
                      <a:lnTo>
                        <a:pt x="13874" y="111365"/>
                      </a:lnTo>
                      <a:lnTo>
                        <a:pt x="13874" y="260248"/>
                      </a:lnTo>
                      <a:lnTo>
                        <a:pt x="108103" y="208187"/>
                      </a:lnTo>
                      <a:cubicBezTo>
                        <a:pt x="111445" y="206327"/>
                        <a:pt x="115672" y="207545"/>
                        <a:pt x="117525" y="210905"/>
                      </a:cubicBezTo>
                      <a:cubicBezTo>
                        <a:pt x="119379" y="214257"/>
                        <a:pt x="118157" y="218477"/>
                        <a:pt x="114805" y="220324"/>
                      </a:cubicBezTo>
                      <a:lnTo>
                        <a:pt x="10290" y="278076"/>
                      </a:lnTo>
                      <a:cubicBezTo>
                        <a:pt x="9244" y="278655"/>
                        <a:pt x="8089" y="278946"/>
                        <a:pt x="6934" y="278946"/>
                      </a:cubicBezTo>
                      <a:close/>
                    </a:path>
                  </a:pathLst>
                </a:custGeom>
                <a:grpFill/>
                <a:ln w="351" cap="flat">
                  <a:noFill/>
                  <a:prstDash val="solid"/>
                  <a:miter/>
                </a:ln>
              </p:spPr>
              <p:txBody>
                <a:bodyPr rtlCol="0" anchor="ctr"/>
                <a:lstStyle/>
                <a:p>
                  <a:endParaRPr lang="en-GB" dirty="0"/>
                </a:p>
              </p:txBody>
            </p:sp>
            <p:sp>
              <p:nvSpPr>
                <p:cNvPr id="575" name="Freihandform: Form 130">
                  <a:extLst>
                    <a:ext uri="{FF2B5EF4-FFF2-40B4-BE49-F238E27FC236}">
                      <a16:creationId xmlns:a16="http://schemas.microsoft.com/office/drawing/2014/main" id="{D7C1EC9E-DF75-4CB3-8715-F214DD10937B}"/>
                    </a:ext>
                  </a:extLst>
                </p:cNvPr>
                <p:cNvSpPr/>
                <p:nvPr/>
              </p:nvSpPr>
              <p:spPr>
                <a:xfrm>
                  <a:off x="1696733" y="3552330"/>
                  <a:ext cx="178397" cy="278941"/>
                </a:xfrm>
                <a:custGeom>
                  <a:avLst/>
                  <a:gdLst>
                    <a:gd name="connsiteX0" fmla="*/ 171464 w 178397"/>
                    <a:gd name="connsiteY0" fmla="*/ 278941 h 278941"/>
                    <a:gd name="connsiteX1" fmla="*/ 168094 w 178397"/>
                    <a:gd name="connsiteY1" fmla="*/ 278067 h 278941"/>
                    <a:gd name="connsiteX2" fmla="*/ 3567 w 178397"/>
                    <a:gd name="connsiteY2" fmla="*/ 186665 h 278941"/>
                    <a:gd name="connsiteX3" fmla="*/ 0 w 178397"/>
                    <a:gd name="connsiteY3" fmla="*/ 180602 h 278941"/>
                    <a:gd name="connsiteX4" fmla="*/ 0 w 178397"/>
                    <a:gd name="connsiteY4" fmla="*/ 6933 h 278941"/>
                    <a:gd name="connsiteX5" fmla="*/ 3542 w 178397"/>
                    <a:gd name="connsiteY5" fmla="*/ 884 h 278941"/>
                    <a:gd name="connsiteX6" fmla="*/ 10553 w 178397"/>
                    <a:gd name="connsiteY6" fmla="*/ 1014 h 278941"/>
                    <a:gd name="connsiteX7" fmla="*/ 175080 w 178397"/>
                    <a:gd name="connsiteY7" fmla="*/ 101561 h 278941"/>
                    <a:gd name="connsiteX8" fmla="*/ 178398 w 178397"/>
                    <a:gd name="connsiteY8" fmla="*/ 107480 h 278941"/>
                    <a:gd name="connsiteX9" fmla="*/ 178398 w 178397"/>
                    <a:gd name="connsiteY9" fmla="*/ 272008 h 278941"/>
                    <a:gd name="connsiteX10" fmla="*/ 174982 w 178397"/>
                    <a:gd name="connsiteY10" fmla="*/ 277986 h 278941"/>
                    <a:gd name="connsiteX11" fmla="*/ 171464 w 178397"/>
                    <a:gd name="connsiteY11" fmla="*/ 278941 h 278941"/>
                    <a:gd name="connsiteX12" fmla="*/ 13871 w 178397"/>
                    <a:gd name="connsiteY12" fmla="*/ 176516 h 278941"/>
                    <a:gd name="connsiteX13" fmla="*/ 164527 w 178397"/>
                    <a:gd name="connsiteY13" fmla="*/ 260219 h 278941"/>
                    <a:gd name="connsiteX14" fmla="*/ 164527 w 178397"/>
                    <a:gd name="connsiteY14" fmla="*/ 111363 h 278941"/>
                    <a:gd name="connsiteX15" fmla="*/ 13871 w 178397"/>
                    <a:gd name="connsiteY15" fmla="*/ 19298 h 278941"/>
                    <a:gd name="connsiteX16" fmla="*/ 13871 w 178397"/>
                    <a:gd name="connsiteY16" fmla="*/ 176516 h 278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397" h="278941">
                      <a:moveTo>
                        <a:pt x="171464" y="278941"/>
                      </a:moveTo>
                      <a:cubicBezTo>
                        <a:pt x="170306" y="278941"/>
                        <a:pt x="169144" y="278650"/>
                        <a:pt x="168094" y="278067"/>
                      </a:cubicBezTo>
                      <a:lnTo>
                        <a:pt x="3567" y="186665"/>
                      </a:lnTo>
                      <a:cubicBezTo>
                        <a:pt x="1366" y="185447"/>
                        <a:pt x="0" y="183123"/>
                        <a:pt x="0" y="180602"/>
                      </a:cubicBezTo>
                      <a:lnTo>
                        <a:pt x="0" y="6933"/>
                      </a:lnTo>
                      <a:cubicBezTo>
                        <a:pt x="0" y="4426"/>
                        <a:pt x="1355" y="2109"/>
                        <a:pt x="3542" y="884"/>
                      </a:cubicBezTo>
                      <a:cubicBezTo>
                        <a:pt x="5733" y="-334"/>
                        <a:pt x="8415" y="-296"/>
                        <a:pt x="10553" y="1014"/>
                      </a:cubicBezTo>
                      <a:lnTo>
                        <a:pt x="175080" y="101561"/>
                      </a:lnTo>
                      <a:cubicBezTo>
                        <a:pt x="177141" y="102822"/>
                        <a:pt x="178398" y="105061"/>
                        <a:pt x="178398" y="107480"/>
                      </a:cubicBezTo>
                      <a:lnTo>
                        <a:pt x="178398" y="272008"/>
                      </a:lnTo>
                      <a:cubicBezTo>
                        <a:pt x="178398" y="274465"/>
                        <a:pt x="177099" y="276740"/>
                        <a:pt x="174982" y="277986"/>
                      </a:cubicBezTo>
                      <a:cubicBezTo>
                        <a:pt x="173894" y="278622"/>
                        <a:pt x="172679" y="278941"/>
                        <a:pt x="171464" y="278941"/>
                      </a:cubicBezTo>
                      <a:close/>
                      <a:moveTo>
                        <a:pt x="13871" y="176516"/>
                      </a:moveTo>
                      <a:lnTo>
                        <a:pt x="164527" y="260219"/>
                      </a:lnTo>
                      <a:lnTo>
                        <a:pt x="164527" y="111363"/>
                      </a:lnTo>
                      <a:lnTo>
                        <a:pt x="13871" y="19298"/>
                      </a:lnTo>
                      <a:lnTo>
                        <a:pt x="13871" y="176516"/>
                      </a:lnTo>
                      <a:close/>
                    </a:path>
                  </a:pathLst>
                </a:custGeom>
                <a:grpFill/>
                <a:ln w="351" cap="flat">
                  <a:noFill/>
                  <a:prstDash val="solid"/>
                  <a:miter/>
                </a:ln>
              </p:spPr>
              <p:txBody>
                <a:bodyPr rtlCol="0" anchor="ctr"/>
                <a:lstStyle/>
                <a:p>
                  <a:endParaRPr lang="en-GB" dirty="0"/>
                </a:p>
              </p:txBody>
            </p:sp>
            <p:sp>
              <p:nvSpPr>
                <p:cNvPr id="576" name="Freihandform: Form 131">
                  <a:extLst>
                    <a:ext uri="{FF2B5EF4-FFF2-40B4-BE49-F238E27FC236}">
                      <a16:creationId xmlns:a16="http://schemas.microsoft.com/office/drawing/2014/main" id="{2D2C782D-3AA8-4D74-88D4-2CC73DC78D03}"/>
                    </a:ext>
                  </a:extLst>
                </p:cNvPr>
                <p:cNvSpPr/>
                <p:nvPr/>
              </p:nvSpPr>
              <p:spPr>
                <a:xfrm>
                  <a:off x="1696731" y="3457300"/>
                  <a:ext cx="342926" cy="108899"/>
                </a:xfrm>
                <a:custGeom>
                  <a:avLst/>
                  <a:gdLst>
                    <a:gd name="connsiteX0" fmla="*/ 335990 w 342926"/>
                    <a:gd name="connsiteY0" fmla="*/ 108897 h 108899"/>
                    <a:gd name="connsiteX1" fmla="*/ 332528 w 342926"/>
                    <a:gd name="connsiteY1" fmla="*/ 107970 h 108899"/>
                    <a:gd name="connsiteX2" fmla="*/ 171389 w 342926"/>
                    <a:gd name="connsiteY2" fmla="*/ 14943 h 108899"/>
                    <a:gd name="connsiteX3" fmla="*/ 10408 w 342926"/>
                    <a:gd name="connsiteY3" fmla="*/ 107970 h 108899"/>
                    <a:gd name="connsiteX4" fmla="*/ 932 w 342926"/>
                    <a:gd name="connsiteY4" fmla="*/ 105432 h 108899"/>
                    <a:gd name="connsiteX5" fmla="*/ 3464 w 342926"/>
                    <a:gd name="connsiteY5" fmla="*/ 95956 h 108899"/>
                    <a:gd name="connsiteX6" fmla="*/ 167917 w 342926"/>
                    <a:gd name="connsiteY6" fmla="*/ 924 h 108899"/>
                    <a:gd name="connsiteX7" fmla="*/ 174854 w 342926"/>
                    <a:gd name="connsiteY7" fmla="*/ 924 h 108899"/>
                    <a:gd name="connsiteX8" fmla="*/ 339458 w 342926"/>
                    <a:gd name="connsiteY8" fmla="*/ 95956 h 108899"/>
                    <a:gd name="connsiteX9" fmla="*/ 341997 w 342926"/>
                    <a:gd name="connsiteY9" fmla="*/ 105432 h 108899"/>
                    <a:gd name="connsiteX10" fmla="*/ 335990 w 342926"/>
                    <a:gd name="connsiteY10" fmla="*/ 108897 h 10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2926" h="108899">
                      <a:moveTo>
                        <a:pt x="335990" y="108897"/>
                      </a:moveTo>
                      <a:cubicBezTo>
                        <a:pt x="334814" y="108897"/>
                        <a:pt x="333624" y="108598"/>
                        <a:pt x="332528" y="107970"/>
                      </a:cubicBezTo>
                      <a:lnTo>
                        <a:pt x="171389" y="14943"/>
                      </a:lnTo>
                      <a:lnTo>
                        <a:pt x="10408" y="107970"/>
                      </a:lnTo>
                      <a:cubicBezTo>
                        <a:pt x="7083" y="109880"/>
                        <a:pt x="2842" y="108757"/>
                        <a:pt x="932" y="105432"/>
                      </a:cubicBezTo>
                      <a:cubicBezTo>
                        <a:pt x="-985" y="102121"/>
                        <a:pt x="149" y="97873"/>
                        <a:pt x="3464" y="95956"/>
                      </a:cubicBezTo>
                      <a:lnTo>
                        <a:pt x="167917" y="924"/>
                      </a:lnTo>
                      <a:cubicBezTo>
                        <a:pt x="170065" y="-308"/>
                        <a:pt x="172709" y="-308"/>
                        <a:pt x="174854" y="924"/>
                      </a:cubicBezTo>
                      <a:lnTo>
                        <a:pt x="339458" y="95956"/>
                      </a:lnTo>
                      <a:cubicBezTo>
                        <a:pt x="342776" y="97873"/>
                        <a:pt x="343910" y="102114"/>
                        <a:pt x="341997" y="105432"/>
                      </a:cubicBezTo>
                      <a:cubicBezTo>
                        <a:pt x="340715" y="107651"/>
                        <a:pt x="338388" y="108897"/>
                        <a:pt x="335990" y="108897"/>
                      </a:cubicBezTo>
                      <a:close/>
                    </a:path>
                  </a:pathLst>
                </a:custGeom>
                <a:grpFill/>
                <a:ln w="351" cap="flat">
                  <a:noFill/>
                  <a:prstDash val="solid"/>
                  <a:miter/>
                </a:ln>
              </p:spPr>
              <p:txBody>
                <a:bodyPr rtlCol="0" anchor="ctr"/>
                <a:lstStyle/>
                <a:p>
                  <a:endParaRPr lang="en-GB" dirty="0"/>
                </a:p>
              </p:txBody>
            </p:sp>
          </p:grpSp>
          <p:sp>
            <p:nvSpPr>
              <p:cNvPr id="573" name="Freihandform: Form 132">
                <a:extLst>
                  <a:ext uri="{FF2B5EF4-FFF2-40B4-BE49-F238E27FC236}">
                    <a16:creationId xmlns:a16="http://schemas.microsoft.com/office/drawing/2014/main" id="{F4E099A7-D668-4C46-9339-DD66AF439830}"/>
                  </a:ext>
                </a:extLst>
              </p:cNvPr>
              <p:cNvSpPr/>
              <p:nvPr/>
            </p:nvSpPr>
            <p:spPr>
              <a:xfrm>
                <a:off x="1872756" y="3561897"/>
                <a:ext cx="82450" cy="119820"/>
              </a:xfrm>
              <a:custGeom>
                <a:avLst/>
                <a:gdLst>
                  <a:gd name="connsiteX0" fmla="*/ 75517 w 82450"/>
                  <a:gd name="connsiteY0" fmla="*/ 119821 h 119820"/>
                  <a:gd name="connsiteX1" fmla="*/ 68583 w 82450"/>
                  <a:gd name="connsiteY1" fmla="*/ 112887 h 119820"/>
                  <a:gd name="connsiteX2" fmla="*/ 68583 w 82450"/>
                  <a:gd name="connsiteY2" fmla="*/ 52741 h 119820"/>
                  <a:gd name="connsiteX3" fmla="*/ 3319 w 82450"/>
                  <a:gd name="connsiteY3" fmla="*/ 12856 h 119820"/>
                  <a:gd name="connsiteX4" fmla="*/ 1019 w 82450"/>
                  <a:gd name="connsiteY4" fmla="*/ 3320 h 119820"/>
                  <a:gd name="connsiteX5" fmla="*/ 10551 w 82450"/>
                  <a:gd name="connsiteY5" fmla="*/ 1017 h 119820"/>
                  <a:gd name="connsiteX6" fmla="*/ 79133 w 82450"/>
                  <a:gd name="connsiteY6" fmla="*/ 42932 h 119820"/>
                  <a:gd name="connsiteX7" fmla="*/ 82451 w 82450"/>
                  <a:gd name="connsiteY7" fmla="*/ 48851 h 119820"/>
                  <a:gd name="connsiteX8" fmla="*/ 82451 w 82450"/>
                  <a:gd name="connsiteY8" fmla="*/ 112887 h 119820"/>
                  <a:gd name="connsiteX9" fmla="*/ 75517 w 82450"/>
                  <a:gd name="connsiteY9" fmla="*/ 119821 h 1198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450" h="119820">
                    <a:moveTo>
                      <a:pt x="75517" y="119821"/>
                    </a:moveTo>
                    <a:cubicBezTo>
                      <a:pt x="71687" y="119821"/>
                      <a:pt x="68583" y="116717"/>
                      <a:pt x="68583" y="112887"/>
                    </a:cubicBezTo>
                    <a:lnTo>
                      <a:pt x="68583" y="52741"/>
                    </a:lnTo>
                    <a:lnTo>
                      <a:pt x="3319" y="12856"/>
                    </a:lnTo>
                    <a:cubicBezTo>
                      <a:pt x="50" y="10858"/>
                      <a:pt x="-978" y="6592"/>
                      <a:pt x="1019" y="3320"/>
                    </a:cubicBezTo>
                    <a:cubicBezTo>
                      <a:pt x="3013" y="56"/>
                      <a:pt x="7289" y="-980"/>
                      <a:pt x="10551" y="1017"/>
                    </a:cubicBezTo>
                    <a:lnTo>
                      <a:pt x="79133" y="42932"/>
                    </a:lnTo>
                    <a:cubicBezTo>
                      <a:pt x="81194" y="44192"/>
                      <a:pt x="82451" y="46432"/>
                      <a:pt x="82451" y="48851"/>
                    </a:cubicBezTo>
                    <a:lnTo>
                      <a:pt x="82451" y="112887"/>
                    </a:lnTo>
                    <a:cubicBezTo>
                      <a:pt x="82451" y="116717"/>
                      <a:pt x="79347" y="119821"/>
                      <a:pt x="75517" y="119821"/>
                    </a:cubicBezTo>
                    <a:close/>
                  </a:path>
                </a:pathLst>
              </a:custGeom>
              <a:grpFill/>
              <a:ln w="351" cap="flat">
                <a:noFill/>
                <a:prstDash val="solid"/>
                <a:miter/>
              </a:ln>
            </p:spPr>
            <p:txBody>
              <a:bodyPr rtlCol="0" anchor="ctr"/>
              <a:lstStyle/>
              <a:p>
                <a:endParaRPr lang="en-GB" dirty="0"/>
              </a:p>
            </p:txBody>
          </p:sp>
        </p:grpSp>
        <p:grpSp>
          <p:nvGrpSpPr>
            <p:cNvPr id="565" name="Graphic 10">
              <a:extLst>
                <a:ext uri="{FF2B5EF4-FFF2-40B4-BE49-F238E27FC236}">
                  <a16:creationId xmlns:a16="http://schemas.microsoft.com/office/drawing/2014/main" id="{4FC9F0D6-DA69-4C32-8DF2-16170E856464}"/>
                </a:ext>
              </a:extLst>
            </p:cNvPr>
            <p:cNvGrpSpPr/>
            <p:nvPr/>
          </p:nvGrpSpPr>
          <p:grpSpPr>
            <a:xfrm>
              <a:off x="5284650" y="4216585"/>
              <a:ext cx="192270" cy="224313"/>
              <a:chOff x="1987467" y="3610091"/>
              <a:chExt cx="166443" cy="194182"/>
            </a:xfrm>
            <a:solidFill>
              <a:schemeClr val="accent1"/>
            </a:solidFill>
          </p:grpSpPr>
          <p:sp>
            <p:nvSpPr>
              <p:cNvPr id="566" name="Freihandform: Form 134">
                <a:extLst>
                  <a:ext uri="{FF2B5EF4-FFF2-40B4-BE49-F238E27FC236}">
                    <a16:creationId xmlns:a16="http://schemas.microsoft.com/office/drawing/2014/main" id="{F05B9925-AF60-4CE4-9ED7-6A8AAC0508B1}"/>
                  </a:ext>
                </a:extLst>
              </p:cNvPr>
              <p:cNvSpPr/>
              <p:nvPr/>
            </p:nvSpPr>
            <p:spPr>
              <a:xfrm>
                <a:off x="2112295" y="3637830"/>
                <a:ext cx="27741" cy="27741"/>
              </a:xfrm>
              <a:custGeom>
                <a:avLst/>
                <a:gdLst>
                  <a:gd name="connsiteX0" fmla="*/ 6937 w 27741"/>
                  <a:gd name="connsiteY0" fmla="*/ 27742 h 27741"/>
                  <a:gd name="connsiteX1" fmla="*/ 2033 w 27741"/>
                  <a:gd name="connsiteY1" fmla="*/ 25709 h 27741"/>
                  <a:gd name="connsiteX2" fmla="*/ 2033 w 27741"/>
                  <a:gd name="connsiteY2" fmla="*/ 15904 h 27741"/>
                  <a:gd name="connsiteX3" fmla="*/ 15904 w 27741"/>
                  <a:gd name="connsiteY3" fmla="*/ 2033 h 27741"/>
                  <a:gd name="connsiteX4" fmla="*/ 25709 w 27741"/>
                  <a:gd name="connsiteY4" fmla="*/ 2033 h 27741"/>
                  <a:gd name="connsiteX5" fmla="*/ 25709 w 27741"/>
                  <a:gd name="connsiteY5" fmla="*/ 11838 h 27741"/>
                  <a:gd name="connsiteX6" fmla="*/ 11838 w 27741"/>
                  <a:gd name="connsiteY6" fmla="*/ 25709 h 27741"/>
                  <a:gd name="connsiteX7" fmla="*/ 6937 w 27741"/>
                  <a:gd name="connsiteY7" fmla="*/ 27742 h 27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41" h="27741">
                    <a:moveTo>
                      <a:pt x="6937" y="27742"/>
                    </a:moveTo>
                    <a:cubicBezTo>
                      <a:pt x="5164" y="27742"/>
                      <a:pt x="3388" y="27064"/>
                      <a:pt x="2033" y="25709"/>
                    </a:cubicBezTo>
                    <a:cubicBezTo>
                      <a:pt x="-678" y="22999"/>
                      <a:pt x="-678" y="18610"/>
                      <a:pt x="2033" y="15904"/>
                    </a:cubicBezTo>
                    <a:lnTo>
                      <a:pt x="15904" y="2033"/>
                    </a:lnTo>
                    <a:cubicBezTo>
                      <a:pt x="18614" y="-678"/>
                      <a:pt x="23002" y="-678"/>
                      <a:pt x="25709" y="2033"/>
                    </a:cubicBezTo>
                    <a:cubicBezTo>
                      <a:pt x="28419" y="4743"/>
                      <a:pt x="28419" y="9131"/>
                      <a:pt x="25709" y="11838"/>
                    </a:cubicBezTo>
                    <a:lnTo>
                      <a:pt x="11838" y="25709"/>
                    </a:lnTo>
                    <a:cubicBezTo>
                      <a:pt x="10487" y="27064"/>
                      <a:pt x="8714" y="27742"/>
                      <a:pt x="6937" y="27742"/>
                    </a:cubicBezTo>
                    <a:close/>
                  </a:path>
                </a:pathLst>
              </a:custGeom>
              <a:solidFill>
                <a:schemeClr val="accent1"/>
              </a:solidFill>
              <a:ln w="351" cap="flat">
                <a:noFill/>
                <a:prstDash val="solid"/>
                <a:miter/>
              </a:ln>
            </p:spPr>
            <p:txBody>
              <a:bodyPr rtlCol="0" anchor="ctr"/>
              <a:lstStyle/>
              <a:p>
                <a:endParaRPr lang="en-GB" dirty="0"/>
              </a:p>
            </p:txBody>
          </p:sp>
          <p:sp>
            <p:nvSpPr>
              <p:cNvPr id="567" name="Freihandform: Form 135">
                <a:extLst>
                  <a:ext uri="{FF2B5EF4-FFF2-40B4-BE49-F238E27FC236}">
                    <a16:creationId xmlns:a16="http://schemas.microsoft.com/office/drawing/2014/main" id="{64981897-2D9F-43E6-9C2D-572361B9E2A3}"/>
                  </a:ext>
                </a:extLst>
              </p:cNvPr>
              <p:cNvSpPr/>
              <p:nvPr/>
            </p:nvSpPr>
            <p:spPr>
              <a:xfrm>
                <a:off x="2001334" y="3637830"/>
                <a:ext cx="27741" cy="27741"/>
              </a:xfrm>
              <a:custGeom>
                <a:avLst/>
                <a:gdLst>
                  <a:gd name="connsiteX0" fmla="*/ 20808 w 27741"/>
                  <a:gd name="connsiteY0" fmla="*/ 27742 h 27741"/>
                  <a:gd name="connsiteX1" fmla="*/ 15904 w 27741"/>
                  <a:gd name="connsiteY1" fmla="*/ 25709 h 27741"/>
                  <a:gd name="connsiteX2" fmla="*/ 2033 w 27741"/>
                  <a:gd name="connsiteY2" fmla="*/ 11838 h 27741"/>
                  <a:gd name="connsiteX3" fmla="*/ 2033 w 27741"/>
                  <a:gd name="connsiteY3" fmla="*/ 2033 h 27741"/>
                  <a:gd name="connsiteX4" fmla="*/ 11838 w 27741"/>
                  <a:gd name="connsiteY4" fmla="*/ 2033 h 27741"/>
                  <a:gd name="connsiteX5" fmla="*/ 25709 w 27741"/>
                  <a:gd name="connsiteY5" fmla="*/ 15904 h 27741"/>
                  <a:gd name="connsiteX6" fmla="*/ 25709 w 27741"/>
                  <a:gd name="connsiteY6" fmla="*/ 25709 h 27741"/>
                  <a:gd name="connsiteX7" fmla="*/ 20808 w 27741"/>
                  <a:gd name="connsiteY7" fmla="*/ 27742 h 27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41" h="27741">
                    <a:moveTo>
                      <a:pt x="20808" y="27742"/>
                    </a:moveTo>
                    <a:cubicBezTo>
                      <a:pt x="19035" y="27742"/>
                      <a:pt x="17259" y="27064"/>
                      <a:pt x="15904" y="25709"/>
                    </a:cubicBezTo>
                    <a:lnTo>
                      <a:pt x="2033" y="11838"/>
                    </a:lnTo>
                    <a:cubicBezTo>
                      <a:pt x="-678" y="9128"/>
                      <a:pt x="-678" y="4740"/>
                      <a:pt x="2033" y="2033"/>
                    </a:cubicBezTo>
                    <a:cubicBezTo>
                      <a:pt x="4743" y="-678"/>
                      <a:pt x="9131" y="-678"/>
                      <a:pt x="11838" y="2033"/>
                    </a:cubicBezTo>
                    <a:lnTo>
                      <a:pt x="25709" y="15904"/>
                    </a:lnTo>
                    <a:cubicBezTo>
                      <a:pt x="28419" y="18614"/>
                      <a:pt x="28419" y="23002"/>
                      <a:pt x="25709" y="25709"/>
                    </a:cubicBezTo>
                    <a:cubicBezTo>
                      <a:pt x="24354" y="27064"/>
                      <a:pt x="22581" y="27742"/>
                      <a:pt x="20808" y="27742"/>
                    </a:cubicBezTo>
                    <a:close/>
                  </a:path>
                </a:pathLst>
              </a:custGeom>
              <a:solidFill>
                <a:schemeClr val="accent1"/>
              </a:solidFill>
              <a:ln w="351" cap="flat">
                <a:noFill/>
                <a:prstDash val="solid"/>
                <a:miter/>
              </a:ln>
            </p:spPr>
            <p:txBody>
              <a:bodyPr rtlCol="0" anchor="ctr"/>
              <a:lstStyle/>
              <a:p>
                <a:endParaRPr lang="en-GB" dirty="0"/>
              </a:p>
            </p:txBody>
          </p:sp>
          <p:grpSp>
            <p:nvGrpSpPr>
              <p:cNvPr id="568" name="Graphic 10">
                <a:extLst>
                  <a:ext uri="{FF2B5EF4-FFF2-40B4-BE49-F238E27FC236}">
                    <a16:creationId xmlns:a16="http://schemas.microsoft.com/office/drawing/2014/main" id="{5AE25A75-AEC4-4F42-AA01-48A157292368}"/>
                  </a:ext>
                </a:extLst>
              </p:cNvPr>
              <p:cNvGrpSpPr/>
              <p:nvPr/>
            </p:nvGrpSpPr>
            <p:grpSpPr>
              <a:xfrm>
                <a:off x="1987467" y="3610091"/>
                <a:ext cx="166443" cy="194182"/>
                <a:chOff x="1987467" y="3610091"/>
                <a:chExt cx="166443" cy="194182"/>
              </a:xfrm>
              <a:solidFill>
                <a:schemeClr val="accent1"/>
              </a:solidFill>
            </p:grpSpPr>
            <p:sp>
              <p:nvSpPr>
                <p:cNvPr id="569" name="Freihandform: Form 137">
                  <a:extLst>
                    <a:ext uri="{FF2B5EF4-FFF2-40B4-BE49-F238E27FC236}">
                      <a16:creationId xmlns:a16="http://schemas.microsoft.com/office/drawing/2014/main" id="{1CCAD1CD-9ECE-4973-90F2-0F66AF427895}"/>
                    </a:ext>
                  </a:extLst>
                </p:cNvPr>
                <p:cNvSpPr/>
                <p:nvPr/>
              </p:nvSpPr>
              <p:spPr>
                <a:xfrm>
                  <a:off x="1987467" y="3637830"/>
                  <a:ext cx="166443" cy="166444"/>
                </a:xfrm>
                <a:custGeom>
                  <a:avLst/>
                  <a:gdLst>
                    <a:gd name="connsiteX0" fmla="*/ 83222 w 166443"/>
                    <a:gd name="connsiteY0" fmla="*/ 166444 h 166444"/>
                    <a:gd name="connsiteX1" fmla="*/ 0 w 166443"/>
                    <a:gd name="connsiteY1" fmla="*/ 83222 h 166444"/>
                    <a:gd name="connsiteX2" fmla="*/ 83222 w 166443"/>
                    <a:gd name="connsiteY2" fmla="*/ 0 h 166444"/>
                    <a:gd name="connsiteX3" fmla="*/ 166444 w 166443"/>
                    <a:gd name="connsiteY3" fmla="*/ 83222 h 166444"/>
                    <a:gd name="connsiteX4" fmla="*/ 83222 w 166443"/>
                    <a:gd name="connsiteY4" fmla="*/ 166444 h 166444"/>
                    <a:gd name="connsiteX5" fmla="*/ 83222 w 166443"/>
                    <a:gd name="connsiteY5" fmla="*/ 13871 h 166444"/>
                    <a:gd name="connsiteX6" fmla="*/ 13871 w 166443"/>
                    <a:gd name="connsiteY6" fmla="*/ 83222 h 166444"/>
                    <a:gd name="connsiteX7" fmla="*/ 83222 w 166443"/>
                    <a:gd name="connsiteY7" fmla="*/ 152573 h 166444"/>
                    <a:gd name="connsiteX8" fmla="*/ 152573 w 166443"/>
                    <a:gd name="connsiteY8" fmla="*/ 83222 h 166444"/>
                    <a:gd name="connsiteX9" fmla="*/ 83222 w 166443"/>
                    <a:gd name="connsiteY9" fmla="*/ 13871 h 166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6443" h="166444">
                      <a:moveTo>
                        <a:pt x="83222" y="166444"/>
                      </a:moveTo>
                      <a:cubicBezTo>
                        <a:pt x="37333" y="166444"/>
                        <a:pt x="0" y="129114"/>
                        <a:pt x="0" y="83222"/>
                      </a:cubicBezTo>
                      <a:cubicBezTo>
                        <a:pt x="0" y="37330"/>
                        <a:pt x="37333" y="0"/>
                        <a:pt x="83222" y="0"/>
                      </a:cubicBezTo>
                      <a:cubicBezTo>
                        <a:pt x="129111" y="0"/>
                        <a:pt x="166444" y="37330"/>
                        <a:pt x="166444" y="83222"/>
                      </a:cubicBezTo>
                      <a:cubicBezTo>
                        <a:pt x="166440" y="129114"/>
                        <a:pt x="129107" y="166444"/>
                        <a:pt x="83222" y="166444"/>
                      </a:cubicBezTo>
                      <a:close/>
                      <a:moveTo>
                        <a:pt x="83222" y="13871"/>
                      </a:moveTo>
                      <a:cubicBezTo>
                        <a:pt x="44980" y="13871"/>
                        <a:pt x="13871" y="44983"/>
                        <a:pt x="13871" y="83222"/>
                      </a:cubicBezTo>
                      <a:cubicBezTo>
                        <a:pt x="13871" y="121461"/>
                        <a:pt x="44980" y="152573"/>
                        <a:pt x="83222" y="152573"/>
                      </a:cubicBezTo>
                      <a:cubicBezTo>
                        <a:pt x="121464" y="152573"/>
                        <a:pt x="152573" y="121461"/>
                        <a:pt x="152573" y="83222"/>
                      </a:cubicBezTo>
                      <a:cubicBezTo>
                        <a:pt x="152573" y="44983"/>
                        <a:pt x="121461" y="13871"/>
                        <a:pt x="83222" y="13871"/>
                      </a:cubicBezTo>
                      <a:close/>
                    </a:path>
                  </a:pathLst>
                </a:custGeom>
                <a:solidFill>
                  <a:schemeClr val="accent1"/>
                </a:solidFill>
                <a:ln w="351" cap="flat">
                  <a:noFill/>
                  <a:prstDash val="solid"/>
                  <a:miter/>
                </a:ln>
              </p:spPr>
              <p:txBody>
                <a:bodyPr rtlCol="0" anchor="ctr"/>
                <a:lstStyle/>
                <a:p>
                  <a:endParaRPr lang="en-GB" dirty="0"/>
                </a:p>
              </p:txBody>
            </p:sp>
            <p:sp>
              <p:nvSpPr>
                <p:cNvPr id="570" name="Freihandform: Form 138">
                  <a:extLst>
                    <a:ext uri="{FF2B5EF4-FFF2-40B4-BE49-F238E27FC236}">
                      <a16:creationId xmlns:a16="http://schemas.microsoft.com/office/drawing/2014/main" id="{3A786BA5-3A8A-4495-A893-AE2FFC50F27E}"/>
                    </a:ext>
                  </a:extLst>
                </p:cNvPr>
                <p:cNvSpPr/>
                <p:nvPr/>
              </p:nvSpPr>
              <p:spPr>
                <a:xfrm>
                  <a:off x="2056818" y="3610091"/>
                  <a:ext cx="27738" cy="13867"/>
                </a:xfrm>
                <a:custGeom>
                  <a:avLst/>
                  <a:gdLst>
                    <a:gd name="connsiteX0" fmla="*/ 20805 w 27738"/>
                    <a:gd name="connsiteY0" fmla="*/ 13867 h 13867"/>
                    <a:gd name="connsiteX1" fmla="*/ 6934 w 27738"/>
                    <a:gd name="connsiteY1" fmla="*/ 13867 h 13867"/>
                    <a:gd name="connsiteX2" fmla="*/ 0 w 27738"/>
                    <a:gd name="connsiteY2" fmla="*/ 6934 h 13867"/>
                    <a:gd name="connsiteX3" fmla="*/ 6934 w 27738"/>
                    <a:gd name="connsiteY3" fmla="*/ 0 h 13867"/>
                    <a:gd name="connsiteX4" fmla="*/ 20805 w 27738"/>
                    <a:gd name="connsiteY4" fmla="*/ 0 h 13867"/>
                    <a:gd name="connsiteX5" fmla="*/ 27738 w 27738"/>
                    <a:gd name="connsiteY5" fmla="*/ 6934 h 13867"/>
                    <a:gd name="connsiteX6" fmla="*/ 20805 w 27738"/>
                    <a:gd name="connsiteY6" fmla="*/ 13867 h 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38" h="13867">
                      <a:moveTo>
                        <a:pt x="20805" y="13867"/>
                      </a:moveTo>
                      <a:lnTo>
                        <a:pt x="6934" y="13867"/>
                      </a:lnTo>
                      <a:cubicBezTo>
                        <a:pt x="3104" y="13867"/>
                        <a:pt x="0" y="10764"/>
                        <a:pt x="0" y="6934"/>
                      </a:cubicBezTo>
                      <a:cubicBezTo>
                        <a:pt x="0" y="3100"/>
                        <a:pt x="3107" y="0"/>
                        <a:pt x="6934" y="0"/>
                      </a:cubicBezTo>
                      <a:lnTo>
                        <a:pt x="20805" y="0"/>
                      </a:lnTo>
                      <a:cubicBezTo>
                        <a:pt x="24635" y="0"/>
                        <a:pt x="27738" y="3104"/>
                        <a:pt x="27738" y="6934"/>
                      </a:cubicBezTo>
                      <a:cubicBezTo>
                        <a:pt x="27738" y="10767"/>
                        <a:pt x="24635" y="13867"/>
                        <a:pt x="20805" y="13867"/>
                      </a:cubicBezTo>
                      <a:close/>
                    </a:path>
                  </a:pathLst>
                </a:custGeom>
                <a:solidFill>
                  <a:schemeClr val="accent1"/>
                </a:solidFill>
                <a:ln w="351" cap="flat">
                  <a:noFill/>
                  <a:prstDash val="solid"/>
                  <a:miter/>
                </a:ln>
              </p:spPr>
              <p:txBody>
                <a:bodyPr rtlCol="0" anchor="ctr"/>
                <a:lstStyle/>
                <a:p>
                  <a:endParaRPr lang="en-GB" dirty="0"/>
                </a:p>
              </p:txBody>
            </p:sp>
            <p:sp>
              <p:nvSpPr>
                <p:cNvPr id="571" name="Freihandform: Form 139">
                  <a:extLst>
                    <a:ext uri="{FF2B5EF4-FFF2-40B4-BE49-F238E27FC236}">
                      <a16:creationId xmlns:a16="http://schemas.microsoft.com/office/drawing/2014/main" id="{EEBA043A-AC51-43FA-87FF-53DB9E9C0F53}"/>
                    </a:ext>
                  </a:extLst>
                </p:cNvPr>
                <p:cNvSpPr/>
                <p:nvPr/>
              </p:nvSpPr>
              <p:spPr>
                <a:xfrm>
                  <a:off x="2063752" y="3679443"/>
                  <a:ext cx="41610" cy="83222"/>
                </a:xfrm>
                <a:custGeom>
                  <a:avLst/>
                  <a:gdLst>
                    <a:gd name="connsiteX0" fmla="*/ 34679 w 41610"/>
                    <a:gd name="connsiteY0" fmla="*/ 83222 h 83222"/>
                    <a:gd name="connsiteX1" fmla="*/ 29262 w 41610"/>
                    <a:gd name="connsiteY1" fmla="*/ 80621 h 83222"/>
                    <a:gd name="connsiteX2" fmla="*/ 1520 w 41610"/>
                    <a:gd name="connsiteY2" fmla="*/ 45945 h 83222"/>
                    <a:gd name="connsiteX3" fmla="*/ 0 w 41610"/>
                    <a:gd name="connsiteY3" fmla="*/ 41609 h 83222"/>
                    <a:gd name="connsiteX4" fmla="*/ 0 w 41610"/>
                    <a:gd name="connsiteY4" fmla="*/ 6934 h 83222"/>
                    <a:gd name="connsiteX5" fmla="*/ 6934 w 41610"/>
                    <a:gd name="connsiteY5" fmla="*/ 0 h 83222"/>
                    <a:gd name="connsiteX6" fmla="*/ 13867 w 41610"/>
                    <a:gd name="connsiteY6" fmla="*/ 6934 h 83222"/>
                    <a:gd name="connsiteX7" fmla="*/ 13867 w 41610"/>
                    <a:gd name="connsiteY7" fmla="*/ 39180 h 83222"/>
                    <a:gd name="connsiteX8" fmla="*/ 40089 w 41610"/>
                    <a:gd name="connsiteY8" fmla="*/ 71953 h 83222"/>
                    <a:gd name="connsiteX9" fmla="*/ 39004 w 41610"/>
                    <a:gd name="connsiteY9" fmla="*/ 81705 h 83222"/>
                    <a:gd name="connsiteX10" fmla="*/ 34679 w 41610"/>
                    <a:gd name="connsiteY10" fmla="*/ 83222 h 83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610" h="83222">
                      <a:moveTo>
                        <a:pt x="34679" y="83222"/>
                      </a:moveTo>
                      <a:cubicBezTo>
                        <a:pt x="32643" y="83222"/>
                        <a:pt x="30628" y="82334"/>
                        <a:pt x="29262" y="80621"/>
                      </a:cubicBezTo>
                      <a:lnTo>
                        <a:pt x="1520" y="45945"/>
                      </a:lnTo>
                      <a:cubicBezTo>
                        <a:pt x="534" y="44713"/>
                        <a:pt x="0" y="43189"/>
                        <a:pt x="0" y="41609"/>
                      </a:cubicBezTo>
                      <a:lnTo>
                        <a:pt x="0" y="6934"/>
                      </a:lnTo>
                      <a:cubicBezTo>
                        <a:pt x="0" y="3100"/>
                        <a:pt x="3104" y="0"/>
                        <a:pt x="6934" y="0"/>
                      </a:cubicBezTo>
                      <a:cubicBezTo>
                        <a:pt x="10764" y="0"/>
                        <a:pt x="13867" y="3104"/>
                        <a:pt x="13867" y="6934"/>
                      </a:cubicBezTo>
                      <a:lnTo>
                        <a:pt x="13867" y="39180"/>
                      </a:lnTo>
                      <a:lnTo>
                        <a:pt x="40089" y="71953"/>
                      </a:lnTo>
                      <a:cubicBezTo>
                        <a:pt x="42483" y="74947"/>
                        <a:pt x="41999" y="79307"/>
                        <a:pt x="39004" y="81705"/>
                      </a:cubicBezTo>
                      <a:cubicBezTo>
                        <a:pt x="37730" y="82727"/>
                        <a:pt x="36199" y="83222"/>
                        <a:pt x="34679" y="83222"/>
                      </a:cubicBezTo>
                      <a:close/>
                    </a:path>
                  </a:pathLst>
                </a:custGeom>
                <a:solidFill>
                  <a:schemeClr val="accent1"/>
                </a:solidFill>
                <a:ln w="351" cap="flat">
                  <a:noFill/>
                  <a:prstDash val="solid"/>
                  <a:miter/>
                </a:ln>
              </p:spPr>
              <p:txBody>
                <a:bodyPr rtlCol="0" anchor="ctr"/>
                <a:lstStyle/>
                <a:p>
                  <a:endParaRPr lang="en-GB" dirty="0"/>
                </a:p>
              </p:txBody>
            </p:sp>
          </p:grpSp>
        </p:grpSp>
      </p:grpSp>
      <p:grpSp>
        <p:nvGrpSpPr>
          <p:cNvPr id="222" name="Group 221">
            <a:extLst>
              <a:ext uri="{FF2B5EF4-FFF2-40B4-BE49-F238E27FC236}">
                <a16:creationId xmlns:a16="http://schemas.microsoft.com/office/drawing/2014/main" id="{5FED0600-2C65-2F24-BFC6-5831FDE9AC38}"/>
              </a:ext>
            </a:extLst>
          </p:cNvPr>
          <p:cNvGrpSpPr/>
          <p:nvPr/>
        </p:nvGrpSpPr>
        <p:grpSpPr>
          <a:xfrm>
            <a:off x="7059337" y="4040086"/>
            <a:ext cx="480396" cy="431999"/>
            <a:chOff x="7058925" y="4040086"/>
            <a:chExt cx="480396" cy="431999"/>
          </a:xfrm>
        </p:grpSpPr>
        <p:grpSp>
          <p:nvGrpSpPr>
            <p:cNvPr id="578" name="Graphic 10">
              <a:extLst>
                <a:ext uri="{FF2B5EF4-FFF2-40B4-BE49-F238E27FC236}">
                  <a16:creationId xmlns:a16="http://schemas.microsoft.com/office/drawing/2014/main" id="{324A092A-0096-413D-98A7-0EB2D53B019B}"/>
                </a:ext>
              </a:extLst>
            </p:cNvPr>
            <p:cNvGrpSpPr/>
            <p:nvPr/>
          </p:nvGrpSpPr>
          <p:grpSpPr>
            <a:xfrm>
              <a:off x="7058925" y="4040086"/>
              <a:ext cx="354939" cy="387269"/>
              <a:chOff x="3422592" y="3387766"/>
              <a:chExt cx="399614" cy="436013"/>
            </a:xfrm>
            <a:solidFill>
              <a:schemeClr val="accent1"/>
            </a:solidFill>
          </p:grpSpPr>
          <p:grpSp>
            <p:nvGrpSpPr>
              <p:cNvPr id="587" name="Graphic 10">
                <a:extLst>
                  <a:ext uri="{FF2B5EF4-FFF2-40B4-BE49-F238E27FC236}">
                    <a16:creationId xmlns:a16="http://schemas.microsoft.com/office/drawing/2014/main" id="{DCEB2391-25CC-4993-9FC5-0E87A4246FB8}"/>
                  </a:ext>
                </a:extLst>
              </p:cNvPr>
              <p:cNvGrpSpPr/>
              <p:nvPr/>
            </p:nvGrpSpPr>
            <p:grpSpPr>
              <a:xfrm>
                <a:off x="3422592" y="3387766"/>
                <a:ext cx="399614" cy="436013"/>
                <a:chOff x="3422592" y="3387766"/>
                <a:chExt cx="399614" cy="436013"/>
              </a:xfrm>
              <a:solidFill>
                <a:schemeClr val="accent1"/>
              </a:solidFill>
            </p:grpSpPr>
            <p:sp>
              <p:nvSpPr>
                <p:cNvPr id="589" name="Freihandform: Form 198">
                  <a:extLst>
                    <a:ext uri="{FF2B5EF4-FFF2-40B4-BE49-F238E27FC236}">
                      <a16:creationId xmlns:a16="http://schemas.microsoft.com/office/drawing/2014/main" id="{2FF81994-9F90-4622-94FA-15031D859DC2}"/>
                    </a:ext>
                  </a:extLst>
                </p:cNvPr>
                <p:cNvSpPr/>
                <p:nvPr/>
              </p:nvSpPr>
              <p:spPr>
                <a:xfrm>
                  <a:off x="3615465" y="3499182"/>
                  <a:ext cx="206740" cy="324597"/>
                </a:xfrm>
                <a:custGeom>
                  <a:avLst/>
                  <a:gdLst>
                    <a:gd name="connsiteX0" fmla="*/ 6934 w 206740"/>
                    <a:gd name="connsiteY0" fmla="*/ 324597 h 324597"/>
                    <a:gd name="connsiteX1" fmla="*/ 3419 w 206740"/>
                    <a:gd name="connsiteY1" fmla="*/ 323642 h 324597"/>
                    <a:gd name="connsiteX2" fmla="*/ 0 w 206740"/>
                    <a:gd name="connsiteY2" fmla="*/ 317663 h 324597"/>
                    <a:gd name="connsiteX3" fmla="*/ 0 w 206740"/>
                    <a:gd name="connsiteY3" fmla="*/ 124794 h 324597"/>
                    <a:gd name="connsiteX4" fmla="*/ 3318 w 206740"/>
                    <a:gd name="connsiteY4" fmla="*/ 118875 h 324597"/>
                    <a:gd name="connsiteX5" fmla="*/ 196187 w 206740"/>
                    <a:gd name="connsiteY5" fmla="*/ 1013 h 324597"/>
                    <a:gd name="connsiteX6" fmla="*/ 203198 w 206740"/>
                    <a:gd name="connsiteY6" fmla="*/ 883 h 324597"/>
                    <a:gd name="connsiteX7" fmla="*/ 206740 w 206740"/>
                    <a:gd name="connsiteY7" fmla="*/ 6932 h 324597"/>
                    <a:gd name="connsiteX8" fmla="*/ 206740 w 206740"/>
                    <a:gd name="connsiteY8" fmla="*/ 119209 h 324597"/>
                    <a:gd name="connsiteX9" fmla="*/ 199807 w 206740"/>
                    <a:gd name="connsiteY9" fmla="*/ 126142 h 324597"/>
                    <a:gd name="connsiteX10" fmla="*/ 192873 w 206740"/>
                    <a:gd name="connsiteY10" fmla="*/ 119209 h 324597"/>
                    <a:gd name="connsiteX11" fmla="*/ 192873 w 206740"/>
                    <a:gd name="connsiteY11" fmla="*/ 19300 h 324597"/>
                    <a:gd name="connsiteX12" fmla="*/ 13871 w 206740"/>
                    <a:gd name="connsiteY12" fmla="*/ 128684 h 324597"/>
                    <a:gd name="connsiteX13" fmla="*/ 13871 w 206740"/>
                    <a:gd name="connsiteY13" fmla="*/ 305881 h 324597"/>
                    <a:gd name="connsiteX14" fmla="*/ 86441 w 206740"/>
                    <a:gd name="connsiteY14" fmla="*/ 265564 h 324597"/>
                    <a:gd name="connsiteX15" fmla="*/ 95868 w 206740"/>
                    <a:gd name="connsiteY15" fmla="*/ 268260 h 324597"/>
                    <a:gd name="connsiteX16" fmla="*/ 93171 w 206740"/>
                    <a:gd name="connsiteY16" fmla="*/ 277687 h 324597"/>
                    <a:gd name="connsiteX17" fmla="*/ 10300 w 206740"/>
                    <a:gd name="connsiteY17" fmla="*/ 323726 h 324597"/>
                    <a:gd name="connsiteX18" fmla="*/ 6934 w 206740"/>
                    <a:gd name="connsiteY18" fmla="*/ 324597 h 324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6740" h="324597">
                      <a:moveTo>
                        <a:pt x="6934" y="324597"/>
                      </a:moveTo>
                      <a:cubicBezTo>
                        <a:pt x="5715" y="324597"/>
                        <a:pt x="4501" y="324278"/>
                        <a:pt x="3419" y="323642"/>
                      </a:cubicBezTo>
                      <a:cubicBezTo>
                        <a:pt x="1299" y="322396"/>
                        <a:pt x="0" y="320121"/>
                        <a:pt x="0" y="317663"/>
                      </a:cubicBezTo>
                      <a:lnTo>
                        <a:pt x="0" y="124794"/>
                      </a:lnTo>
                      <a:cubicBezTo>
                        <a:pt x="0" y="122375"/>
                        <a:pt x="1260" y="120135"/>
                        <a:pt x="3318" y="118875"/>
                      </a:cubicBezTo>
                      <a:lnTo>
                        <a:pt x="196187" y="1013"/>
                      </a:lnTo>
                      <a:cubicBezTo>
                        <a:pt x="198339" y="-293"/>
                        <a:pt x="201014" y="-335"/>
                        <a:pt x="203198" y="883"/>
                      </a:cubicBezTo>
                      <a:cubicBezTo>
                        <a:pt x="205385" y="2108"/>
                        <a:pt x="206740" y="4425"/>
                        <a:pt x="206740" y="6932"/>
                      </a:cubicBezTo>
                      <a:lnTo>
                        <a:pt x="206740" y="119209"/>
                      </a:lnTo>
                      <a:cubicBezTo>
                        <a:pt x="206740" y="123042"/>
                        <a:pt x="203640" y="126142"/>
                        <a:pt x="199807" y="126142"/>
                      </a:cubicBezTo>
                      <a:cubicBezTo>
                        <a:pt x="195973" y="126142"/>
                        <a:pt x="192873" y="123039"/>
                        <a:pt x="192873" y="119209"/>
                      </a:cubicBezTo>
                      <a:lnTo>
                        <a:pt x="192873" y="19300"/>
                      </a:lnTo>
                      <a:lnTo>
                        <a:pt x="13871" y="128684"/>
                      </a:lnTo>
                      <a:lnTo>
                        <a:pt x="13871" y="305881"/>
                      </a:lnTo>
                      <a:lnTo>
                        <a:pt x="86441" y="265564"/>
                      </a:lnTo>
                      <a:cubicBezTo>
                        <a:pt x="89780" y="263696"/>
                        <a:pt x="94014" y="264915"/>
                        <a:pt x="95868" y="268260"/>
                      </a:cubicBezTo>
                      <a:cubicBezTo>
                        <a:pt x="97728" y="271606"/>
                        <a:pt x="96524" y="275826"/>
                        <a:pt x="93171" y="277687"/>
                      </a:cubicBezTo>
                      <a:lnTo>
                        <a:pt x="10300" y="323726"/>
                      </a:lnTo>
                      <a:cubicBezTo>
                        <a:pt x="9258" y="324306"/>
                        <a:pt x="8092" y="324597"/>
                        <a:pt x="6934" y="324597"/>
                      </a:cubicBezTo>
                      <a:close/>
                    </a:path>
                  </a:pathLst>
                </a:custGeom>
                <a:solidFill>
                  <a:schemeClr val="accent1"/>
                </a:solidFill>
                <a:ln w="351" cap="flat">
                  <a:noFill/>
                  <a:prstDash val="solid"/>
                  <a:miter/>
                </a:ln>
              </p:spPr>
              <p:txBody>
                <a:bodyPr rtlCol="0" anchor="ctr"/>
                <a:lstStyle/>
                <a:p>
                  <a:endParaRPr lang="en-GB" dirty="0"/>
                </a:p>
              </p:txBody>
            </p:sp>
            <p:sp>
              <p:nvSpPr>
                <p:cNvPr id="590" name="Freihandform: Form 199">
                  <a:extLst>
                    <a:ext uri="{FF2B5EF4-FFF2-40B4-BE49-F238E27FC236}">
                      <a16:creationId xmlns:a16="http://schemas.microsoft.com/office/drawing/2014/main" id="{7C564951-FBD6-4080-B7F6-3EC8650A52FF}"/>
                    </a:ext>
                  </a:extLst>
                </p:cNvPr>
                <p:cNvSpPr/>
                <p:nvPr/>
              </p:nvSpPr>
              <p:spPr>
                <a:xfrm>
                  <a:off x="3422593" y="3499177"/>
                  <a:ext cx="206740" cy="324602"/>
                </a:xfrm>
                <a:custGeom>
                  <a:avLst/>
                  <a:gdLst>
                    <a:gd name="connsiteX0" fmla="*/ 199806 w 206740"/>
                    <a:gd name="connsiteY0" fmla="*/ 324603 h 324602"/>
                    <a:gd name="connsiteX1" fmla="*/ 196440 w 206740"/>
                    <a:gd name="connsiteY1" fmla="*/ 323729 h 324602"/>
                    <a:gd name="connsiteX2" fmla="*/ 3570 w 206740"/>
                    <a:gd name="connsiteY2" fmla="*/ 216578 h 324602"/>
                    <a:gd name="connsiteX3" fmla="*/ 0 w 206740"/>
                    <a:gd name="connsiteY3" fmla="*/ 210515 h 324602"/>
                    <a:gd name="connsiteX4" fmla="*/ 0 w 206740"/>
                    <a:gd name="connsiteY4" fmla="*/ 6930 h 324602"/>
                    <a:gd name="connsiteX5" fmla="*/ 3542 w 206740"/>
                    <a:gd name="connsiteY5" fmla="*/ 881 h 324602"/>
                    <a:gd name="connsiteX6" fmla="*/ 10553 w 206740"/>
                    <a:gd name="connsiteY6" fmla="*/ 1011 h 324602"/>
                    <a:gd name="connsiteX7" fmla="*/ 203422 w 206740"/>
                    <a:gd name="connsiteY7" fmla="*/ 118874 h 324602"/>
                    <a:gd name="connsiteX8" fmla="*/ 206740 w 206740"/>
                    <a:gd name="connsiteY8" fmla="*/ 124793 h 324602"/>
                    <a:gd name="connsiteX9" fmla="*/ 206740 w 206740"/>
                    <a:gd name="connsiteY9" fmla="*/ 317662 h 324602"/>
                    <a:gd name="connsiteX10" fmla="*/ 203321 w 206740"/>
                    <a:gd name="connsiteY10" fmla="*/ 323641 h 324602"/>
                    <a:gd name="connsiteX11" fmla="*/ 199806 w 206740"/>
                    <a:gd name="connsiteY11" fmla="*/ 324603 h 324602"/>
                    <a:gd name="connsiteX12" fmla="*/ 13871 w 206740"/>
                    <a:gd name="connsiteY12" fmla="*/ 206435 h 324602"/>
                    <a:gd name="connsiteX13" fmla="*/ 192873 w 206740"/>
                    <a:gd name="connsiteY13" fmla="*/ 305884 h 324602"/>
                    <a:gd name="connsiteX14" fmla="*/ 192873 w 206740"/>
                    <a:gd name="connsiteY14" fmla="*/ 128686 h 324602"/>
                    <a:gd name="connsiteX15" fmla="*/ 13871 w 206740"/>
                    <a:gd name="connsiteY15" fmla="*/ 19302 h 324602"/>
                    <a:gd name="connsiteX16" fmla="*/ 13871 w 206740"/>
                    <a:gd name="connsiteY16" fmla="*/ 206435 h 32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740" h="324602">
                      <a:moveTo>
                        <a:pt x="199806" y="324603"/>
                      </a:moveTo>
                      <a:cubicBezTo>
                        <a:pt x="198648" y="324603"/>
                        <a:pt x="197482" y="324312"/>
                        <a:pt x="196440" y="323729"/>
                      </a:cubicBezTo>
                      <a:lnTo>
                        <a:pt x="3570" y="216578"/>
                      </a:lnTo>
                      <a:cubicBezTo>
                        <a:pt x="1369" y="215359"/>
                        <a:pt x="0" y="213035"/>
                        <a:pt x="0" y="210515"/>
                      </a:cubicBezTo>
                      <a:lnTo>
                        <a:pt x="0" y="6930"/>
                      </a:lnTo>
                      <a:cubicBezTo>
                        <a:pt x="0" y="4424"/>
                        <a:pt x="1355" y="2107"/>
                        <a:pt x="3542" y="881"/>
                      </a:cubicBezTo>
                      <a:cubicBezTo>
                        <a:pt x="5736" y="-337"/>
                        <a:pt x="8412" y="-291"/>
                        <a:pt x="10553" y="1011"/>
                      </a:cubicBezTo>
                      <a:lnTo>
                        <a:pt x="203422" y="118874"/>
                      </a:lnTo>
                      <a:cubicBezTo>
                        <a:pt x="205480" y="120134"/>
                        <a:pt x="206740" y="122374"/>
                        <a:pt x="206740" y="124793"/>
                      </a:cubicBezTo>
                      <a:lnTo>
                        <a:pt x="206740" y="317662"/>
                      </a:lnTo>
                      <a:cubicBezTo>
                        <a:pt x="206740" y="320120"/>
                        <a:pt x="205441" y="322395"/>
                        <a:pt x="203321" y="323641"/>
                      </a:cubicBezTo>
                      <a:cubicBezTo>
                        <a:pt x="202239" y="324283"/>
                        <a:pt x="201025" y="324603"/>
                        <a:pt x="199806" y="324603"/>
                      </a:cubicBezTo>
                      <a:close/>
                      <a:moveTo>
                        <a:pt x="13871" y="206435"/>
                      </a:moveTo>
                      <a:lnTo>
                        <a:pt x="192873" y="305884"/>
                      </a:lnTo>
                      <a:lnTo>
                        <a:pt x="192873" y="128686"/>
                      </a:lnTo>
                      <a:lnTo>
                        <a:pt x="13871" y="19302"/>
                      </a:lnTo>
                      <a:lnTo>
                        <a:pt x="13871" y="206435"/>
                      </a:lnTo>
                      <a:close/>
                    </a:path>
                  </a:pathLst>
                </a:custGeom>
                <a:solidFill>
                  <a:schemeClr val="accent1"/>
                </a:solidFill>
                <a:ln w="351" cap="flat">
                  <a:noFill/>
                  <a:prstDash val="solid"/>
                  <a:miter/>
                </a:ln>
              </p:spPr>
              <p:txBody>
                <a:bodyPr rtlCol="0" anchor="ctr"/>
                <a:lstStyle/>
                <a:p>
                  <a:endParaRPr lang="en-GB" dirty="0"/>
                </a:p>
              </p:txBody>
            </p:sp>
            <p:sp>
              <p:nvSpPr>
                <p:cNvPr id="591" name="Freihandform: Form 200">
                  <a:extLst>
                    <a:ext uri="{FF2B5EF4-FFF2-40B4-BE49-F238E27FC236}">
                      <a16:creationId xmlns:a16="http://schemas.microsoft.com/office/drawing/2014/main" id="{71EBFF2C-96BC-4DC2-B57D-D8576A29B967}"/>
                    </a:ext>
                  </a:extLst>
                </p:cNvPr>
                <p:cNvSpPr/>
                <p:nvPr/>
              </p:nvSpPr>
              <p:spPr>
                <a:xfrm>
                  <a:off x="3422592" y="3387766"/>
                  <a:ext cx="399614" cy="125278"/>
                </a:xfrm>
                <a:custGeom>
                  <a:avLst/>
                  <a:gdLst>
                    <a:gd name="connsiteX0" fmla="*/ 6945 w 399614"/>
                    <a:gd name="connsiteY0" fmla="*/ 125278 h 125278"/>
                    <a:gd name="connsiteX1" fmla="*/ 931 w 399614"/>
                    <a:gd name="connsiteY1" fmla="*/ 121809 h 125278"/>
                    <a:gd name="connsiteX2" fmla="*/ 3470 w 399614"/>
                    <a:gd name="connsiteY2" fmla="*/ 112334 h 125278"/>
                    <a:gd name="connsiteX3" fmla="*/ 196251 w 399614"/>
                    <a:gd name="connsiteY3" fmla="*/ 924 h 125278"/>
                    <a:gd name="connsiteX4" fmla="*/ 203185 w 399614"/>
                    <a:gd name="connsiteY4" fmla="*/ 924 h 125278"/>
                    <a:gd name="connsiteX5" fmla="*/ 396145 w 399614"/>
                    <a:gd name="connsiteY5" fmla="*/ 112334 h 125278"/>
                    <a:gd name="connsiteX6" fmla="*/ 398684 w 399614"/>
                    <a:gd name="connsiteY6" fmla="*/ 121809 h 125278"/>
                    <a:gd name="connsiteX7" fmla="*/ 389208 w 399614"/>
                    <a:gd name="connsiteY7" fmla="*/ 124348 h 125278"/>
                    <a:gd name="connsiteX8" fmla="*/ 199716 w 399614"/>
                    <a:gd name="connsiteY8" fmla="*/ 14943 h 125278"/>
                    <a:gd name="connsiteX9" fmla="*/ 10400 w 399614"/>
                    <a:gd name="connsiteY9" fmla="*/ 124348 h 125278"/>
                    <a:gd name="connsiteX10" fmla="*/ 6945 w 399614"/>
                    <a:gd name="connsiteY10" fmla="*/ 125278 h 12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9614" h="125278">
                      <a:moveTo>
                        <a:pt x="6945" y="125278"/>
                      </a:moveTo>
                      <a:cubicBezTo>
                        <a:pt x="4547" y="125278"/>
                        <a:pt x="2216" y="124039"/>
                        <a:pt x="931" y="121809"/>
                      </a:cubicBezTo>
                      <a:cubicBezTo>
                        <a:pt x="-986" y="118499"/>
                        <a:pt x="152" y="114251"/>
                        <a:pt x="3470" y="112334"/>
                      </a:cubicBezTo>
                      <a:lnTo>
                        <a:pt x="196251" y="924"/>
                      </a:lnTo>
                      <a:cubicBezTo>
                        <a:pt x="198392" y="-308"/>
                        <a:pt x="201047" y="-308"/>
                        <a:pt x="203185" y="924"/>
                      </a:cubicBezTo>
                      <a:lnTo>
                        <a:pt x="396145" y="112334"/>
                      </a:lnTo>
                      <a:cubicBezTo>
                        <a:pt x="399463" y="114251"/>
                        <a:pt x="400600" y="118492"/>
                        <a:pt x="398684" y="121809"/>
                      </a:cubicBezTo>
                      <a:cubicBezTo>
                        <a:pt x="396760" y="125127"/>
                        <a:pt x="392515" y="126251"/>
                        <a:pt x="389208" y="124348"/>
                      </a:cubicBezTo>
                      <a:lnTo>
                        <a:pt x="199716" y="14943"/>
                      </a:lnTo>
                      <a:lnTo>
                        <a:pt x="10400" y="124348"/>
                      </a:lnTo>
                      <a:cubicBezTo>
                        <a:pt x="9315" y="124980"/>
                        <a:pt x="8121" y="125278"/>
                        <a:pt x="6945" y="125278"/>
                      </a:cubicBezTo>
                      <a:close/>
                    </a:path>
                  </a:pathLst>
                </a:custGeom>
                <a:solidFill>
                  <a:schemeClr val="accent1"/>
                </a:solidFill>
                <a:ln w="351" cap="flat">
                  <a:noFill/>
                  <a:prstDash val="solid"/>
                  <a:miter/>
                </a:ln>
              </p:spPr>
              <p:txBody>
                <a:bodyPr rtlCol="0" anchor="ctr"/>
                <a:lstStyle/>
                <a:p>
                  <a:endParaRPr lang="en-GB" dirty="0"/>
                </a:p>
              </p:txBody>
            </p:sp>
          </p:grpSp>
          <p:sp>
            <p:nvSpPr>
              <p:cNvPr id="588" name="Freihandform: Form 201">
                <a:extLst>
                  <a:ext uri="{FF2B5EF4-FFF2-40B4-BE49-F238E27FC236}">
                    <a16:creationId xmlns:a16="http://schemas.microsoft.com/office/drawing/2014/main" id="{EED54A8C-17C3-4490-B325-D5E55F1A1B36}"/>
                  </a:ext>
                </a:extLst>
              </p:cNvPr>
              <p:cNvSpPr/>
              <p:nvPr/>
            </p:nvSpPr>
            <p:spPr>
              <a:xfrm>
                <a:off x="3628935" y="3510386"/>
                <a:ext cx="94267" cy="82594"/>
              </a:xfrm>
              <a:custGeom>
                <a:avLst/>
                <a:gdLst>
                  <a:gd name="connsiteX0" fmla="*/ 87334 w 94267"/>
                  <a:gd name="connsiteY0" fmla="*/ 82595 h 82594"/>
                  <a:gd name="connsiteX1" fmla="*/ 80400 w 94267"/>
                  <a:gd name="connsiteY1" fmla="*/ 75661 h 82594"/>
                  <a:gd name="connsiteX2" fmla="*/ 80400 w 94267"/>
                  <a:gd name="connsiteY2" fmla="*/ 59954 h 82594"/>
                  <a:gd name="connsiteX3" fmla="*/ 3322 w 94267"/>
                  <a:gd name="connsiteY3" fmla="*/ 12857 h 82594"/>
                  <a:gd name="connsiteX4" fmla="*/ 1019 w 94267"/>
                  <a:gd name="connsiteY4" fmla="*/ 3322 h 82594"/>
                  <a:gd name="connsiteX5" fmla="*/ 10554 w 94267"/>
                  <a:gd name="connsiteY5" fmla="*/ 1019 h 82594"/>
                  <a:gd name="connsiteX6" fmla="*/ 90950 w 94267"/>
                  <a:gd name="connsiteY6" fmla="*/ 50148 h 82594"/>
                  <a:gd name="connsiteX7" fmla="*/ 94268 w 94267"/>
                  <a:gd name="connsiteY7" fmla="*/ 56067 h 82594"/>
                  <a:gd name="connsiteX8" fmla="*/ 94268 w 94267"/>
                  <a:gd name="connsiteY8" fmla="*/ 75661 h 82594"/>
                  <a:gd name="connsiteX9" fmla="*/ 87334 w 94267"/>
                  <a:gd name="connsiteY9" fmla="*/ 82595 h 82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4267" h="82594">
                    <a:moveTo>
                      <a:pt x="87334" y="82595"/>
                    </a:moveTo>
                    <a:cubicBezTo>
                      <a:pt x="83500" y="82595"/>
                      <a:pt x="80400" y="79491"/>
                      <a:pt x="80400" y="75661"/>
                    </a:cubicBezTo>
                    <a:lnTo>
                      <a:pt x="80400" y="59954"/>
                    </a:lnTo>
                    <a:lnTo>
                      <a:pt x="3322" y="12857"/>
                    </a:lnTo>
                    <a:cubicBezTo>
                      <a:pt x="50" y="10860"/>
                      <a:pt x="-979" y="6594"/>
                      <a:pt x="1019" y="3322"/>
                    </a:cubicBezTo>
                    <a:cubicBezTo>
                      <a:pt x="3010" y="50"/>
                      <a:pt x="7282" y="-979"/>
                      <a:pt x="10554" y="1019"/>
                    </a:cubicBezTo>
                    <a:lnTo>
                      <a:pt x="90950" y="50148"/>
                    </a:lnTo>
                    <a:cubicBezTo>
                      <a:pt x="93011" y="51409"/>
                      <a:pt x="94268" y="53648"/>
                      <a:pt x="94268" y="56067"/>
                    </a:cubicBezTo>
                    <a:lnTo>
                      <a:pt x="94268" y="75661"/>
                    </a:lnTo>
                    <a:cubicBezTo>
                      <a:pt x="94268" y="79495"/>
                      <a:pt x="91168" y="82595"/>
                      <a:pt x="87334" y="82595"/>
                    </a:cubicBezTo>
                    <a:close/>
                  </a:path>
                </a:pathLst>
              </a:custGeom>
              <a:solidFill>
                <a:schemeClr val="accent1"/>
              </a:solidFill>
              <a:ln w="351" cap="flat">
                <a:noFill/>
                <a:prstDash val="solid"/>
                <a:miter/>
              </a:ln>
            </p:spPr>
            <p:txBody>
              <a:bodyPr rtlCol="0" anchor="ctr"/>
              <a:lstStyle/>
              <a:p>
                <a:endParaRPr lang="en-GB" dirty="0"/>
              </a:p>
            </p:txBody>
          </p:sp>
        </p:grpSp>
        <p:grpSp>
          <p:nvGrpSpPr>
            <p:cNvPr id="579" name="Graphic 10">
              <a:extLst>
                <a:ext uri="{FF2B5EF4-FFF2-40B4-BE49-F238E27FC236}">
                  <a16:creationId xmlns:a16="http://schemas.microsoft.com/office/drawing/2014/main" id="{25A5BD43-B032-4B92-9372-EE2190C47B35}"/>
                </a:ext>
              </a:extLst>
            </p:cNvPr>
            <p:cNvGrpSpPr/>
            <p:nvPr/>
          </p:nvGrpSpPr>
          <p:grpSpPr>
            <a:xfrm>
              <a:off x="7289624" y="4240156"/>
              <a:ext cx="249697" cy="231929"/>
              <a:chOff x="3682324" y="3613019"/>
              <a:chExt cx="281125" cy="261121"/>
            </a:xfrm>
            <a:solidFill>
              <a:schemeClr val="tx2"/>
            </a:solidFill>
          </p:grpSpPr>
          <p:grpSp>
            <p:nvGrpSpPr>
              <p:cNvPr id="580" name="Graphic 10">
                <a:extLst>
                  <a:ext uri="{FF2B5EF4-FFF2-40B4-BE49-F238E27FC236}">
                    <a16:creationId xmlns:a16="http://schemas.microsoft.com/office/drawing/2014/main" id="{FABEC9FE-5D75-4571-AAB3-3A28E71EEF82}"/>
                  </a:ext>
                </a:extLst>
              </p:cNvPr>
              <p:cNvGrpSpPr/>
              <p:nvPr/>
            </p:nvGrpSpPr>
            <p:grpSpPr>
              <a:xfrm>
                <a:off x="3682324" y="3613019"/>
                <a:ext cx="281125" cy="261121"/>
                <a:chOff x="3682324" y="3613019"/>
                <a:chExt cx="281125" cy="261121"/>
              </a:xfrm>
              <a:grpFill/>
            </p:grpSpPr>
            <p:sp>
              <p:nvSpPr>
                <p:cNvPr id="584" name="Freihandform: Form 204">
                  <a:extLst>
                    <a:ext uri="{FF2B5EF4-FFF2-40B4-BE49-F238E27FC236}">
                      <a16:creationId xmlns:a16="http://schemas.microsoft.com/office/drawing/2014/main" id="{3A704C42-E41F-4BC4-8CBD-CCDEB26A4680}"/>
                    </a:ext>
                  </a:extLst>
                </p:cNvPr>
                <p:cNvSpPr/>
                <p:nvPr/>
              </p:nvSpPr>
              <p:spPr>
                <a:xfrm>
                  <a:off x="3682324" y="3613097"/>
                  <a:ext cx="61216" cy="44340"/>
                </a:xfrm>
                <a:custGeom>
                  <a:avLst/>
                  <a:gdLst>
                    <a:gd name="connsiteX0" fmla="*/ 54283 w 61216"/>
                    <a:gd name="connsiteY0" fmla="*/ 44341 h 44340"/>
                    <a:gd name="connsiteX1" fmla="*/ 9476 w 61216"/>
                    <a:gd name="connsiteY1" fmla="*/ 44341 h 44340"/>
                    <a:gd name="connsiteX2" fmla="*/ 3405 w 61216"/>
                    <a:gd name="connsiteY2" fmla="*/ 40763 h 44340"/>
                    <a:gd name="connsiteX3" fmla="*/ 0 w 61216"/>
                    <a:gd name="connsiteY3" fmla="*/ 27517 h 44340"/>
                    <a:gd name="connsiteX4" fmla="*/ 27517 w 61216"/>
                    <a:gd name="connsiteY4" fmla="*/ 0 h 44340"/>
                    <a:gd name="connsiteX5" fmla="*/ 49305 w 61216"/>
                    <a:gd name="connsiteY5" fmla="*/ 0 h 44340"/>
                    <a:gd name="connsiteX6" fmla="*/ 56239 w 61216"/>
                    <a:gd name="connsiteY6" fmla="*/ 6934 h 44340"/>
                    <a:gd name="connsiteX7" fmla="*/ 49305 w 61216"/>
                    <a:gd name="connsiteY7" fmla="*/ 13867 h 44340"/>
                    <a:gd name="connsiteX8" fmla="*/ 27517 w 61216"/>
                    <a:gd name="connsiteY8" fmla="*/ 13867 h 44340"/>
                    <a:gd name="connsiteX9" fmla="*/ 13871 w 61216"/>
                    <a:gd name="connsiteY9" fmla="*/ 27514 h 44340"/>
                    <a:gd name="connsiteX10" fmla="*/ 14198 w 61216"/>
                    <a:gd name="connsiteY10" fmla="*/ 30466 h 44340"/>
                    <a:gd name="connsiteX11" fmla="*/ 54283 w 61216"/>
                    <a:gd name="connsiteY11" fmla="*/ 30466 h 44340"/>
                    <a:gd name="connsiteX12" fmla="*/ 61217 w 61216"/>
                    <a:gd name="connsiteY12" fmla="*/ 37400 h 44340"/>
                    <a:gd name="connsiteX13" fmla="*/ 54283 w 61216"/>
                    <a:gd name="connsiteY13" fmla="*/ 44341 h 4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1216" h="44340">
                      <a:moveTo>
                        <a:pt x="54283" y="44341"/>
                      </a:moveTo>
                      <a:lnTo>
                        <a:pt x="9476" y="44341"/>
                      </a:lnTo>
                      <a:cubicBezTo>
                        <a:pt x="6948" y="44341"/>
                        <a:pt x="4627" y="42971"/>
                        <a:pt x="3405" y="40763"/>
                      </a:cubicBezTo>
                      <a:cubicBezTo>
                        <a:pt x="1176" y="36733"/>
                        <a:pt x="0" y="32155"/>
                        <a:pt x="0" y="27517"/>
                      </a:cubicBezTo>
                      <a:cubicBezTo>
                        <a:pt x="0" y="12347"/>
                        <a:pt x="12347" y="0"/>
                        <a:pt x="27517" y="0"/>
                      </a:cubicBezTo>
                      <a:lnTo>
                        <a:pt x="49305" y="0"/>
                      </a:lnTo>
                      <a:cubicBezTo>
                        <a:pt x="53139" y="0"/>
                        <a:pt x="56239" y="3100"/>
                        <a:pt x="56239" y="6934"/>
                      </a:cubicBezTo>
                      <a:cubicBezTo>
                        <a:pt x="56239" y="10767"/>
                        <a:pt x="53139" y="13867"/>
                        <a:pt x="49305" y="13867"/>
                      </a:cubicBezTo>
                      <a:lnTo>
                        <a:pt x="27517" y="13867"/>
                      </a:lnTo>
                      <a:cubicBezTo>
                        <a:pt x="19994" y="13867"/>
                        <a:pt x="13871" y="19990"/>
                        <a:pt x="13871" y="27514"/>
                      </a:cubicBezTo>
                      <a:cubicBezTo>
                        <a:pt x="13871" y="28511"/>
                        <a:pt x="13980" y="29504"/>
                        <a:pt x="14198" y="30466"/>
                      </a:cubicBezTo>
                      <a:lnTo>
                        <a:pt x="54283" y="30466"/>
                      </a:lnTo>
                      <a:cubicBezTo>
                        <a:pt x="58117" y="30466"/>
                        <a:pt x="61217" y="33570"/>
                        <a:pt x="61217" y="37400"/>
                      </a:cubicBezTo>
                      <a:cubicBezTo>
                        <a:pt x="61217" y="41230"/>
                        <a:pt x="58117" y="44341"/>
                        <a:pt x="54283" y="44341"/>
                      </a:cubicBezTo>
                      <a:close/>
                    </a:path>
                  </a:pathLst>
                </a:custGeom>
                <a:grpFill/>
                <a:ln w="351" cap="flat">
                  <a:noFill/>
                  <a:prstDash val="solid"/>
                  <a:miter/>
                </a:ln>
              </p:spPr>
              <p:txBody>
                <a:bodyPr rtlCol="0" anchor="ctr"/>
                <a:lstStyle/>
                <a:p>
                  <a:endParaRPr lang="en-GB" dirty="0"/>
                </a:p>
              </p:txBody>
            </p:sp>
            <p:sp>
              <p:nvSpPr>
                <p:cNvPr id="585" name="Freihandform: Form 205">
                  <a:extLst>
                    <a:ext uri="{FF2B5EF4-FFF2-40B4-BE49-F238E27FC236}">
                      <a16:creationId xmlns:a16="http://schemas.microsoft.com/office/drawing/2014/main" id="{98D19AAB-8527-4937-AC9A-9D5418C81A74}"/>
                    </a:ext>
                  </a:extLst>
                </p:cNvPr>
                <p:cNvSpPr/>
                <p:nvPr/>
              </p:nvSpPr>
              <p:spPr>
                <a:xfrm>
                  <a:off x="3704501" y="3613019"/>
                  <a:ext cx="216591" cy="261121"/>
                </a:xfrm>
                <a:custGeom>
                  <a:avLst/>
                  <a:gdLst>
                    <a:gd name="connsiteX0" fmla="*/ 55308 w 216591"/>
                    <a:gd name="connsiteY0" fmla="*/ 261122 h 261121"/>
                    <a:gd name="connsiteX1" fmla="*/ 35111 w 216591"/>
                    <a:gd name="connsiteY1" fmla="*/ 253977 h 261121"/>
                    <a:gd name="connsiteX2" fmla="*/ 25337 w 216591"/>
                    <a:gd name="connsiteY2" fmla="*/ 228735 h 261121"/>
                    <a:gd name="connsiteX3" fmla="*/ 25337 w 216591"/>
                    <a:gd name="connsiteY3" fmla="*/ 38681 h 261121"/>
                    <a:gd name="connsiteX4" fmla="*/ 18565 w 216591"/>
                    <a:gd name="connsiteY4" fmla="*/ 17505 h 261121"/>
                    <a:gd name="connsiteX5" fmla="*/ 10093 w 216591"/>
                    <a:gd name="connsiteY5" fmla="*/ 13948 h 261121"/>
                    <a:gd name="connsiteX6" fmla="*/ 6937 w 216591"/>
                    <a:gd name="connsiteY6" fmla="*/ 13948 h 261121"/>
                    <a:gd name="connsiteX7" fmla="*/ 14 w 216591"/>
                    <a:gd name="connsiteY7" fmla="*/ 7446 h 261121"/>
                    <a:gd name="connsiteX8" fmla="*/ 6077 w 216591"/>
                    <a:gd name="connsiteY8" fmla="*/ 134 h 261121"/>
                    <a:gd name="connsiteX9" fmla="*/ 10778 w 216591"/>
                    <a:gd name="connsiteY9" fmla="*/ 81 h 261121"/>
                    <a:gd name="connsiteX10" fmla="*/ 184314 w 216591"/>
                    <a:gd name="connsiteY10" fmla="*/ 81 h 261121"/>
                    <a:gd name="connsiteX11" fmla="*/ 216591 w 216591"/>
                    <a:gd name="connsiteY11" fmla="*/ 32345 h 261121"/>
                    <a:gd name="connsiteX12" fmla="*/ 216591 w 216591"/>
                    <a:gd name="connsiteY12" fmla="*/ 220460 h 261121"/>
                    <a:gd name="connsiteX13" fmla="*/ 209658 w 216591"/>
                    <a:gd name="connsiteY13" fmla="*/ 227394 h 261121"/>
                    <a:gd name="connsiteX14" fmla="*/ 202724 w 216591"/>
                    <a:gd name="connsiteY14" fmla="*/ 220460 h 261121"/>
                    <a:gd name="connsiteX15" fmla="*/ 202724 w 216591"/>
                    <a:gd name="connsiteY15" fmla="*/ 32341 h 261121"/>
                    <a:gd name="connsiteX16" fmla="*/ 184275 w 216591"/>
                    <a:gd name="connsiteY16" fmla="*/ 13948 h 261121"/>
                    <a:gd name="connsiteX17" fmla="*/ 33429 w 216591"/>
                    <a:gd name="connsiteY17" fmla="*/ 13948 h 261121"/>
                    <a:gd name="connsiteX18" fmla="*/ 39212 w 216591"/>
                    <a:gd name="connsiteY18" fmla="*/ 38681 h 261121"/>
                    <a:gd name="connsiteX19" fmla="*/ 39212 w 216591"/>
                    <a:gd name="connsiteY19" fmla="*/ 228735 h 261121"/>
                    <a:gd name="connsiteX20" fmla="*/ 44292 w 216591"/>
                    <a:gd name="connsiteY20" fmla="*/ 243582 h 261121"/>
                    <a:gd name="connsiteX21" fmla="*/ 56755 w 216591"/>
                    <a:gd name="connsiteY21" fmla="*/ 247191 h 261121"/>
                    <a:gd name="connsiteX22" fmla="*/ 64496 w 216591"/>
                    <a:gd name="connsiteY22" fmla="*/ 253212 h 261121"/>
                    <a:gd name="connsiteX23" fmla="*/ 58475 w 216591"/>
                    <a:gd name="connsiteY23" fmla="*/ 260953 h 261121"/>
                    <a:gd name="connsiteX24" fmla="*/ 55308 w 216591"/>
                    <a:gd name="connsiteY24" fmla="*/ 261122 h 261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6591" h="261121">
                      <a:moveTo>
                        <a:pt x="55308" y="261122"/>
                      </a:moveTo>
                      <a:cubicBezTo>
                        <a:pt x="50702" y="261122"/>
                        <a:pt x="42129" y="260174"/>
                        <a:pt x="35111" y="253977"/>
                      </a:cubicBezTo>
                      <a:cubicBezTo>
                        <a:pt x="28623" y="248255"/>
                        <a:pt x="25337" y="239762"/>
                        <a:pt x="25337" y="228735"/>
                      </a:cubicBezTo>
                      <a:lnTo>
                        <a:pt x="25337" y="38681"/>
                      </a:lnTo>
                      <a:cubicBezTo>
                        <a:pt x="25337" y="28739"/>
                        <a:pt x="22995" y="21412"/>
                        <a:pt x="18565" y="17505"/>
                      </a:cubicBezTo>
                      <a:cubicBezTo>
                        <a:pt x="15665" y="14952"/>
                        <a:pt x="12288" y="14173"/>
                        <a:pt x="10093" y="13948"/>
                      </a:cubicBezTo>
                      <a:lnTo>
                        <a:pt x="6937" y="13948"/>
                      </a:lnTo>
                      <a:cubicBezTo>
                        <a:pt x="3272" y="13948"/>
                        <a:pt x="246" y="11098"/>
                        <a:pt x="14" y="7446"/>
                      </a:cubicBezTo>
                      <a:cubicBezTo>
                        <a:pt x="-218" y="3788"/>
                        <a:pt x="2440" y="586"/>
                        <a:pt x="6077" y="134"/>
                      </a:cubicBezTo>
                      <a:cubicBezTo>
                        <a:pt x="6530" y="81"/>
                        <a:pt x="8271" y="-105"/>
                        <a:pt x="10778" y="81"/>
                      </a:cubicBezTo>
                      <a:lnTo>
                        <a:pt x="184314" y="81"/>
                      </a:lnTo>
                      <a:cubicBezTo>
                        <a:pt x="197289" y="81"/>
                        <a:pt x="216591" y="8675"/>
                        <a:pt x="216591" y="32345"/>
                      </a:cubicBezTo>
                      <a:lnTo>
                        <a:pt x="216591" y="220460"/>
                      </a:lnTo>
                      <a:cubicBezTo>
                        <a:pt x="216591" y="224294"/>
                        <a:pt x="213488" y="227394"/>
                        <a:pt x="209658" y="227394"/>
                      </a:cubicBezTo>
                      <a:cubicBezTo>
                        <a:pt x="205824" y="227394"/>
                        <a:pt x="202724" y="224290"/>
                        <a:pt x="202724" y="220460"/>
                      </a:cubicBezTo>
                      <a:lnTo>
                        <a:pt x="202724" y="32341"/>
                      </a:lnTo>
                      <a:cubicBezTo>
                        <a:pt x="202724" y="15058"/>
                        <a:pt x="187357" y="13987"/>
                        <a:pt x="184275" y="13948"/>
                      </a:cubicBezTo>
                      <a:lnTo>
                        <a:pt x="33429" y="13948"/>
                      </a:lnTo>
                      <a:cubicBezTo>
                        <a:pt x="37277" y="20306"/>
                        <a:pt x="39212" y="28585"/>
                        <a:pt x="39212" y="38681"/>
                      </a:cubicBezTo>
                      <a:lnTo>
                        <a:pt x="39212" y="228735"/>
                      </a:lnTo>
                      <a:cubicBezTo>
                        <a:pt x="39212" y="235609"/>
                        <a:pt x="40918" y="240601"/>
                        <a:pt x="44292" y="243582"/>
                      </a:cubicBezTo>
                      <a:cubicBezTo>
                        <a:pt x="49207" y="247925"/>
                        <a:pt x="56670" y="247184"/>
                        <a:pt x="56755" y="247191"/>
                      </a:cubicBezTo>
                      <a:cubicBezTo>
                        <a:pt x="60588" y="246752"/>
                        <a:pt x="64022" y="249420"/>
                        <a:pt x="64496" y="253212"/>
                      </a:cubicBezTo>
                      <a:cubicBezTo>
                        <a:pt x="64970" y="257011"/>
                        <a:pt x="62273" y="260479"/>
                        <a:pt x="58475" y="260953"/>
                      </a:cubicBezTo>
                      <a:cubicBezTo>
                        <a:pt x="58106" y="260999"/>
                        <a:pt x="56962" y="261122"/>
                        <a:pt x="55308" y="261122"/>
                      </a:cubicBezTo>
                      <a:close/>
                    </a:path>
                  </a:pathLst>
                </a:custGeom>
                <a:grpFill/>
                <a:ln w="351" cap="flat">
                  <a:noFill/>
                  <a:prstDash val="solid"/>
                  <a:miter/>
                </a:ln>
              </p:spPr>
              <p:txBody>
                <a:bodyPr rtlCol="0" anchor="ctr"/>
                <a:lstStyle/>
                <a:p>
                  <a:endParaRPr lang="en-GB" dirty="0"/>
                </a:p>
              </p:txBody>
            </p:sp>
            <p:sp>
              <p:nvSpPr>
                <p:cNvPr id="586" name="Freihandform: Form 206">
                  <a:extLst>
                    <a:ext uri="{FF2B5EF4-FFF2-40B4-BE49-F238E27FC236}">
                      <a16:creationId xmlns:a16="http://schemas.microsoft.com/office/drawing/2014/main" id="{FAD88B81-ED04-4871-9E6E-0F3D4D814021}"/>
                    </a:ext>
                  </a:extLst>
                </p:cNvPr>
                <p:cNvSpPr/>
                <p:nvPr/>
              </p:nvSpPr>
              <p:spPr>
                <a:xfrm>
                  <a:off x="3750832" y="3829776"/>
                  <a:ext cx="212617" cy="44358"/>
                </a:xfrm>
                <a:custGeom>
                  <a:avLst/>
                  <a:gdLst>
                    <a:gd name="connsiteX0" fmla="*/ 185093 w 212617"/>
                    <a:gd name="connsiteY0" fmla="*/ 44358 h 44358"/>
                    <a:gd name="connsiteX1" fmla="*/ 6934 w 212617"/>
                    <a:gd name="connsiteY1" fmla="*/ 44358 h 44358"/>
                    <a:gd name="connsiteX2" fmla="*/ 0 w 212617"/>
                    <a:gd name="connsiteY2" fmla="*/ 37424 h 44358"/>
                    <a:gd name="connsiteX3" fmla="*/ 6934 w 212617"/>
                    <a:gd name="connsiteY3" fmla="*/ 30491 h 44358"/>
                    <a:gd name="connsiteX4" fmla="*/ 20580 w 212617"/>
                    <a:gd name="connsiteY4" fmla="*/ 16845 h 44358"/>
                    <a:gd name="connsiteX5" fmla="*/ 18902 w 212617"/>
                    <a:gd name="connsiteY5" fmla="*/ 10262 h 44358"/>
                    <a:gd name="connsiteX6" fmla="*/ 19025 w 212617"/>
                    <a:gd name="connsiteY6" fmla="*/ 3395 h 44358"/>
                    <a:gd name="connsiteX7" fmla="*/ 24993 w 212617"/>
                    <a:gd name="connsiteY7" fmla="*/ 0 h 44358"/>
                    <a:gd name="connsiteX8" fmla="*/ 203145 w 212617"/>
                    <a:gd name="connsiteY8" fmla="*/ 0 h 44358"/>
                    <a:gd name="connsiteX9" fmla="*/ 209219 w 212617"/>
                    <a:gd name="connsiteY9" fmla="*/ 3588 h 44358"/>
                    <a:gd name="connsiteX10" fmla="*/ 212617 w 212617"/>
                    <a:gd name="connsiteY10" fmla="*/ 16841 h 44358"/>
                    <a:gd name="connsiteX11" fmla="*/ 185093 w 212617"/>
                    <a:gd name="connsiteY11" fmla="*/ 44358 h 44358"/>
                    <a:gd name="connsiteX12" fmla="*/ 30817 w 212617"/>
                    <a:gd name="connsiteY12" fmla="*/ 30487 h 44358"/>
                    <a:gd name="connsiteX13" fmla="*/ 185089 w 212617"/>
                    <a:gd name="connsiteY13" fmla="*/ 30487 h 44358"/>
                    <a:gd name="connsiteX14" fmla="*/ 198743 w 212617"/>
                    <a:gd name="connsiteY14" fmla="*/ 16841 h 44358"/>
                    <a:gd name="connsiteX15" fmla="*/ 198423 w 212617"/>
                    <a:gd name="connsiteY15" fmla="*/ 13867 h 44358"/>
                    <a:gd name="connsiteX16" fmla="*/ 34282 w 212617"/>
                    <a:gd name="connsiteY16" fmla="*/ 13867 h 44358"/>
                    <a:gd name="connsiteX17" fmla="*/ 34444 w 212617"/>
                    <a:gd name="connsiteY17" fmla="*/ 16841 h 44358"/>
                    <a:gd name="connsiteX18" fmla="*/ 30817 w 212617"/>
                    <a:gd name="connsiteY18" fmla="*/ 30487 h 44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617" h="44358">
                      <a:moveTo>
                        <a:pt x="185093" y="44358"/>
                      </a:moveTo>
                      <a:lnTo>
                        <a:pt x="6934" y="44358"/>
                      </a:lnTo>
                      <a:cubicBezTo>
                        <a:pt x="3100" y="44358"/>
                        <a:pt x="0" y="41255"/>
                        <a:pt x="0" y="37424"/>
                      </a:cubicBezTo>
                      <a:cubicBezTo>
                        <a:pt x="0" y="33591"/>
                        <a:pt x="3100" y="30491"/>
                        <a:pt x="6934" y="30491"/>
                      </a:cubicBezTo>
                      <a:cubicBezTo>
                        <a:pt x="14457" y="30491"/>
                        <a:pt x="20580" y="24368"/>
                        <a:pt x="20580" y="16845"/>
                      </a:cubicBezTo>
                      <a:cubicBezTo>
                        <a:pt x="20580" y="14513"/>
                        <a:pt x="20018" y="12302"/>
                        <a:pt x="18902" y="10262"/>
                      </a:cubicBezTo>
                      <a:cubicBezTo>
                        <a:pt x="17729" y="8113"/>
                        <a:pt x="17779" y="5501"/>
                        <a:pt x="19025" y="3395"/>
                      </a:cubicBezTo>
                      <a:cubicBezTo>
                        <a:pt x="20278" y="1295"/>
                        <a:pt x="22546" y="0"/>
                        <a:pt x="24993" y="0"/>
                      </a:cubicBezTo>
                      <a:lnTo>
                        <a:pt x="203145" y="0"/>
                      </a:lnTo>
                      <a:cubicBezTo>
                        <a:pt x="205673" y="0"/>
                        <a:pt x="208001" y="1376"/>
                        <a:pt x="209219" y="3588"/>
                      </a:cubicBezTo>
                      <a:cubicBezTo>
                        <a:pt x="211441" y="7625"/>
                        <a:pt x="212617" y="12210"/>
                        <a:pt x="212617" y="16841"/>
                      </a:cubicBezTo>
                      <a:cubicBezTo>
                        <a:pt x="212617" y="32011"/>
                        <a:pt x="200270" y="44358"/>
                        <a:pt x="185093" y="44358"/>
                      </a:cubicBezTo>
                      <a:close/>
                      <a:moveTo>
                        <a:pt x="30817" y="30487"/>
                      </a:moveTo>
                      <a:lnTo>
                        <a:pt x="185089" y="30487"/>
                      </a:lnTo>
                      <a:cubicBezTo>
                        <a:pt x="192620" y="30487"/>
                        <a:pt x="198743" y="24365"/>
                        <a:pt x="198743" y="16841"/>
                      </a:cubicBezTo>
                      <a:cubicBezTo>
                        <a:pt x="198743" y="15826"/>
                        <a:pt x="198634" y="14829"/>
                        <a:pt x="198423" y="13867"/>
                      </a:cubicBezTo>
                      <a:lnTo>
                        <a:pt x="34282" y="13867"/>
                      </a:lnTo>
                      <a:cubicBezTo>
                        <a:pt x="34391" y="14858"/>
                        <a:pt x="34444" y="15844"/>
                        <a:pt x="34444" y="16841"/>
                      </a:cubicBezTo>
                      <a:cubicBezTo>
                        <a:pt x="34451" y="21805"/>
                        <a:pt x="33127" y="26464"/>
                        <a:pt x="30817" y="30487"/>
                      </a:cubicBezTo>
                      <a:close/>
                    </a:path>
                  </a:pathLst>
                </a:custGeom>
                <a:grpFill/>
                <a:ln w="351" cap="flat">
                  <a:noFill/>
                  <a:prstDash val="solid"/>
                  <a:miter/>
                </a:ln>
              </p:spPr>
              <p:txBody>
                <a:bodyPr rtlCol="0" anchor="ctr"/>
                <a:lstStyle/>
                <a:p>
                  <a:endParaRPr lang="en-GB" dirty="0"/>
                </a:p>
              </p:txBody>
            </p:sp>
          </p:grpSp>
          <p:sp>
            <p:nvSpPr>
              <p:cNvPr id="581" name="Freihandform: Form 207">
                <a:extLst>
                  <a:ext uri="{FF2B5EF4-FFF2-40B4-BE49-F238E27FC236}">
                    <a16:creationId xmlns:a16="http://schemas.microsoft.com/office/drawing/2014/main" id="{BED51F8B-4552-4D0A-AF15-57CA031266B3}"/>
                  </a:ext>
                </a:extLst>
              </p:cNvPr>
              <p:cNvSpPr/>
              <p:nvPr/>
            </p:nvSpPr>
            <p:spPr>
              <a:xfrm>
                <a:off x="3767484" y="3778779"/>
                <a:ext cx="114548" cy="13867"/>
              </a:xfrm>
              <a:custGeom>
                <a:avLst/>
                <a:gdLst>
                  <a:gd name="connsiteX0" fmla="*/ 107614 w 114548"/>
                  <a:gd name="connsiteY0" fmla="*/ 13867 h 13867"/>
                  <a:gd name="connsiteX1" fmla="*/ 6934 w 114548"/>
                  <a:gd name="connsiteY1" fmla="*/ 13867 h 13867"/>
                  <a:gd name="connsiteX2" fmla="*/ 0 w 114548"/>
                  <a:gd name="connsiteY2" fmla="*/ 6934 h 13867"/>
                  <a:gd name="connsiteX3" fmla="*/ 6934 w 114548"/>
                  <a:gd name="connsiteY3" fmla="*/ 0 h 13867"/>
                  <a:gd name="connsiteX4" fmla="*/ 107614 w 114548"/>
                  <a:gd name="connsiteY4" fmla="*/ 0 h 13867"/>
                  <a:gd name="connsiteX5" fmla="*/ 114548 w 114548"/>
                  <a:gd name="connsiteY5" fmla="*/ 6934 h 13867"/>
                  <a:gd name="connsiteX6" fmla="*/ 107614 w 114548"/>
                  <a:gd name="connsiteY6" fmla="*/ 13867 h 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548" h="13867">
                    <a:moveTo>
                      <a:pt x="107614" y="13867"/>
                    </a:moveTo>
                    <a:lnTo>
                      <a:pt x="6934" y="13867"/>
                    </a:lnTo>
                    <a:cubicBezTo>
                      <a:pt x="3100" y="13867"/>
                      <a:pt x="0" y="10764"/>
                      <a:pt x="0" y="6934"/>
                    </a:cubicBezTo>
                    <a:cubicBezTo>
                      <a:pt x="0" y="3100"/>
                      <a:pt x="3103" y="0"/>
                      <a:pt x="6934" y="0"/>
                    </a:cubicBezTo>
                    <a:lnTo>
                      <a:pt x="107614" y="0"/>
                    </a:lnTo>
                    <a:cubicBezTo>
                      <a:pt x="111448" y="0"/>
                      <a:pt x="114548" y="3103"/>
                      <a:pt x="114548" y="6934"/>
                    </a:cubicBezTo>
                    <a:cubicBezTo>
                      <a:pt x="114552" y="10764"/>
                      <a:pt x="111448" y="13867"/>
                      <a:pt x="107614" y="13867"/>
                    </a:cubicBezTo>
                    <a:close/>
                  </a:path>
                </a:pathLst>
              </a:custGeom>
              <a:grpFill/>
              <a:ln w="351" cap="flat">
                <a:noFill/>
                <a:prstDash val="solid"/>
                <a:miter/>
              </a:ln>
            </p:spPr>
            <p:txBody>
              <a:bodyPr rtlCol="0" anchor="ctr"/>
              <a:lstStyle/>
              <a:p>
                <a:endParaRPr lang="en-GB" dirty="0"/>
              </a:p>
            </p:txBody>
          </p:sp>
          <p:sp>
            <p:nvSpPr>
              <p:cNvPr id="582" name="Freihandform: Form 208">
                <a:extLst>
                  <a:ext uri="{FF2B5EF4-FFF2-40B4-BE49-F238E27FC236}">
                    <a16:creationId xmlns:a16="http://schemas.microsoft.com/office/drawing/2014/main" id="{155BCC42-7993-4AB2-A021-9DBCC01A2B9C}"/>
                  </a:ext>
                </a:extLst>
              </p:cNvPr>
              <p:cNvSpPr/>
              <p:nvPr/>
            </p:nvSpPr>
            <p:spPr>
              <a:xfrm>
                <a:off x="3767484" y="3744514"/>
                <a:ext cx="114548" cy="13867"/>
              </a:xfrm>
              <a:custGeom>
                <a:avLst/>
                <a:gdLst>
                  <a:gd name="connsiteX0" fmla="*/ 107614 w 114548"/>
                  <a:gd name="connsiteY0" fmla="*/ 13867 h 13867"/>
                  <a:gd name="connsiteX1" fmla="*/ 6934 w 114548"/>
                  <a:gd name="connsiteY1" fmla="*/ 13867 h 13867"/>
                  <a:gd name="connsiteX2" fmla="*/ 0 w 114548"/>
                  <a:gd name="connsiteY2" fmla="*/ 6934 h 13867"/>
                  <a:gd name="connsiteX3" fmla="*/ 6934 w 114548"/>
                  <a:gd name="connsiteY3" fmla="*/ 0 h 13867"/>
                  <a:gd name="connsiteX4" fmla="*/ 107614 w 114548"/>
                  <a:gd name="connsiteY4" fmla="*/ 0 h 13867"/>
                  <a:gd name="connsiteX5" fmla="*/ 114548 w 114548"/>
                  <a:gd name="connsiteY5" fmla="*/ 6934 h 13867"/>
                  <a:gd name="connsiteX6" fmla="*/ 107614 w 114548"/>
                  <a:gd name="connsiteY6" fmla="*/ 13867 h 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548" h="13867">
                    <a:moveTo>
                      <a:pt x="107614" y="13867"/>
                    </a:moveTo>
                    <a:lnTo>
                      <a:pt x="6934" y="13867"/>
                    </a:lnTo>
                    <a:cubicBezTo>
                      <a:pt x="3100" y="13867"/>
                      <a:pt x="0" y="10764"/>
                      <a:pt x="0" y="6934"/>
                    </a:cubicBezTo>
                    <a:cubicBezTo>
                      <a:pt x="0" y="3100"/>
                      <a:pt x="3103" y="0"/>
                      <a:pt x="6934" y="0"/>
                    </a:cubicBezTo>
                    <a:lnTo>
                      <a:pt x="107614" y="0"/>
                    </a:lnTo>
                    <a:cubicBezTo>
                      <a:pt x="111448" y="0"/>
                      <a:pt x="114548" y="3103"/>
                      <a:pt x="114548" y="6934"/>
                    </a:cubicBezTo>
                    <a:cubicBezTo>
                      <a:pt x="114552" y="10767"/>
                      <a:pt x="111448" y="13867"/>
                      <a:pt x="107614" y="13867"/>
                    </a:cubicBezTo>
                    <a:close/>
                  </a:path>
                </a:pathLst>
              </a:custGeom>
              <a:grpFill/>
              <a:ln w="351" cap="flat">
                <a:noFill/>
                <a:prstDash val="solid"/>
                <a:miter/>
              </a:ln>
            </p:spPr>
            <p:txBody>
              <a:bodyPr rtlCol="0" anchor="ctr"/>
              <a:lstStyle/>
              <a:p>
                <a:endParaRPr lang="en-GB" dirty="0"/>
              </a:p>
            </p:txBody>
          </p:sp>
          <p:sp>
            <p:nvSpPr>
              <p:cNvPr id="583" name="Freihandform: Form 209">
                <a:extLst>
                  <a:ext uri="{FF2B5EF4-FFF2-40B4-BE49-F238E27FC236}">
                    <a16:creationId xmlns:a16="http://schemas.microsoft.com/office/drawing/2014/main" id="{558FAE2E-F91A-4718-AF5B-3227011F32E1}"/>
                  </a:ext>
                </a:extLst>
              </p:cNvPr>
              <p:cNvSpPr/>
              <p:nvPr/>
            </p:nvSpPr>
            <p:spPr>
              <a:xfrm>
                <a:off x="3791501" y="3674492"/>
                <a:ext cx="65394" cy="13867"/>
              </a:xfrm>
              <a:custGeom>
                <a:avLst/>
                <a:gdLst>
                  <a:gd name="connsiteX0" fmla="*/ 58461 w 65394"/>
                  <a:gd name="connsiteY0" fmla="*/ 13867 h 13867"/>
                  <a:gd name="connsiteX1" fmla="*/ 6934 w 65394"/>
                  <a:gd name="connsiteY1" fmla="*/ 13867 h 13867"/>
                  <a:gd name="connsiteX2" fmla="*/ 0 w 65394"/>
                  <a:gd name="connsiteY2" fmla="*/ 6934 h 13867"/>
                  <a:gd name="connsiteX3" fmla="*/ 6934 w 65394"/>
                  <a:gd name="connsiteY3" fmla="*/ 0 h 13867"/>
                  <a:gd name="connsiteX4" fmla="*/ 58461 w 65394"/>
                  <a:gd name="connsiteY4" fmla="*/ 0 h 13867"/>
                  <a:gd name="connsiteX5" fmla="*/ 65394 w 65394"/>
                  <a:gd name="connsiteY5" fmla="*/ 6934 h 13867"/>
                  <a:gd name="connsiteX6" fmla="*/ 58461 w 65394"/>
                  <a:gd name="connsiteY6" fmla="*/ 13867 h 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94" h="13867">
                    <a:moveTo>
                      <a:pt x="58461" y="13867"/>
                    </a:moveTo>
                    <a:lnTo>
                      <a:pt x="6934" y="13867"/>
                    </a:lnTo>
                    <a:cubicBezTo>
                      <a:pt x="3100" y="13867"/>
                      <a:pt x="0" y="10764"/>
                      <a:pt x="0" y="6934"/>
                    </a:cubicBezTo>
                    <a:cubicBezTo>
                      <a:pt x="0" y="3104"/>
                      <a:pt x="3100" y="0"/>
                      <a:pt x="6934" y="0"/>
                    </a:cubicBezTo>
                    <a:lnTo>
                      <a:pt x="58461" y="0"/>
                    </a:lnTo>
                    <a:cubicBezTo>
                      <a:pt x="62294" y="0"/>
                      <a:pt x="65394" y="3100"/>
                      <a:pt x="65394" y="6934"/>
                    </a:cubicBezTo>
                    <a:cubicBezTo>
                      <a:pt x="65394" y="10768"/>
                      <a:pt x="62294" y="13867"/>
                      <a:pt x="58461" y="13867"/>
                    </a:cubicBezTo>
                    <a:close/>
                  </a:path>
                </a:pathLst>
              </a:custGeom>
              <a:grpFill/>
              <a:ln w="351" cap="flat">
                <a:noFill/>
                <a:prstDash val="solid"/>
                <a:miter/>
              </a:ln>
            </p:spPr>
            <p:txBody>
              <a:bodyPr rtlCol="0" anchor="ctr"/>
              <a:lstStyle/>
              <a:p>
                <a:endParaRPr lang="en-GB" dirty="0"/>
              </a:p>
            </p:txBody>
          </p:sp>
        </p:grpSp>
      </p:grpSp>
      <p:grpSp>
        <p:nvGrpSpPr>
          <p:cNvPr id="592" name="Group 591">
            <a:extLst>
              <a:ext uri="{FF2B5EF4-FFF2-40B4-BE49-F238E27FC236}">
                <a16:creationId xmlns:a16="http://schemas.microsoft.com/office/drawing/2014/main" id="{35D1A6BB-AB69-4AF2-B8B3-D1DD3A342313}"/>
              </a:ext>
            </a:extLst>
          </p:cNvPr>
          <p:cNvGrpSpPr>
            <a:grpSpLocks noChangeAspect="1"/>
          </p:cNvGrpSpPr>
          <p:nvPr/>
        </p:nvGrpSpPr>
        <p:grpSpPr>
          <a:xfrm>
            <a:off x="6030591" y="4040086"/>
            <a:ext cx="451621" cy="432000"/>
            <a:chOff x="2566523" y="3414814"/>
            <a:chExt cx="481767" cy="460836"/>
          </a:xfrm>
          <a:solidFill>
            <a:schemeClr val="tx2"/>
          </a:solidFill>
        </p:grpSpPr>
        <p:grpSp>
          <p:nvGrpSpPr>
            <p:cNvPr id="593" name="Graphic 10">
              <a:extLst>
                <a:ext uri="{FF2B5EF4-FFF2-40B4-BE49-F238E27FC236}">
                  <a16:creationId xmlns:a16="http://schemas.microsoft.com/office/drawing/2014/main" id="{F4D90B85-FF99-4B17-92E4-E35C3EA67586}"/>
                </a:ext>
              </a:extLst>
            </p:cNvPr>
            <p:cNvGrpSpPr/>
            <p:nvPr/>
          </p:nvGrpSpPr>
          <p:grpSpPr>
            <a:xfrm>
              <a:off x="2856067" y="3608480"/>
              <a:ext cx="192223" cy="267170"/>
              <a:chOff x="2856067" y="3608480"/>
              <a:chExt cx="192223" cy="267170"/>
            </a:xfrm>
            <a:grpFill/>
          </p:grpSpPr>
          <p:sp>
            <p:nvSpPr>
              <p:cNvPr id="604" name="Freihandform: Form 142">
                <a:extLst>
                  <a:ext uri="{FF2B5EF4-FFF2-40B4-BE49-F238E27FC236}">
                    <a16:creationId xmlns:a16="http://schemas.microsoft.com/office/drawing/2014/main" id="{54AAA839-D4DF-448C-938A-0F12D55AC5B3}"/>
                  </a:ext>
                </a:extLst>
              </p:cNvPr>
              <p:cNvSpPr/>
              <p:nvPr/>
            </p:nvSpPr>
            <p:spPr>
              <a:xfrm>
                <a:off x="2856067" y="3774059"/>
                <a:ext cx="91473" cy="76282"/>
              </a:xfrm>
              <a:custGeom>
                <a:avLst/>
                <a:gdLst>
                  <a:gd name="connsiteX0" fmla="*/ 84547 w 91473"/>
                  <a:gd name="connsiteY0" fmla="*/ 76283 h 76282"/>
                  <a:gd name="connsiteX1" fmla="*/ 79081 w 91473"/>
                  <a:gd name="connsiteY1" fmla="*/ 73628 h 76282"/>
                  <a:gd name="connsiteX2" fmla="*/ 64494 w 91473"/>
                  <a:gd name="connsiteY2" fmla="*/ 55032 h 76282"/>
                  <a:gd name="connsiteX3" fmla="*/ 32434 w 91473"/>
                  <a:gd name="connsiteY3" fmla="*/ 43661 h 76282"/>
                  <a:gd name="connsiteX4" fmla="*/ 1915 w 91473"/>
                  <a:gd name="connsiteY4" fmla="*/ 11720 h 76282"/>
                  <a:gd name="connsiteX5" fmla="*/ 2147 w 91473"/>
                  <a:gd name="connsiteY5" fmla="*/ 1915 h 76282"/>
                  <a:gd name="connsiteX6" fmla="*/ 11952 w 91473"/>
                  <a:gd name="connsiteY6" fmla="*/ 2146 h 76282"/>
                  <a:gd name="connsiteX7" fmla="*/ 42158 w 91473"/>
                  <a:gd name="connsiteY7" fmla="*/ 33782 h 76282"/>
                  <a:gd name="connsiteX8" fmla="*/ 66477 w 91473"/>
                  <a:gd name="connsiteY8" fmla="*/ 40873 h 76282"/>
                  <a:gd name="connsiteX9" fmla="*/ 73025 w 91473"/>
                  <a:gd name="connsiteY9" fmla="*/ 43440 h 76282"/>
                  <a:gd name="connsiteX10" fmla="*/ 89996 w 91473"/>
                  <a:gd name="connsiteY10" fmla="*/ 65073 h 76282"/>
                  <a:gd name="connsiteX11" fmla="*/ 88816 w 91473"/>
                  <a:gd name="connsiteY11" fmla="*/ 74812 h 76282"/>
                  <a:gd name="connsiteX12" fmla="*/ 84547 w 91473"/>
                  <a:gd name="connsiteY12" fmla="*/ 76283 h 7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73" h="76282">
                    <a:moveTo>
                      <a:pt x="84547" y="76283"/>
                    </a:moveTo>
                    <a:cubicBezTo>
                      <a:pt x="82490" y="76283"/>
                      <a:pt x="80450" y="75377"/>
                      <a:pt x="79081" y="73628"/>
                    </a:cubicBezTo>
                    <a:lnTo>
                      <a:pt x="64494" y="55032"/>
                    </a:lnTo>
                    <a:cubicBezTo>
                      <a:pt x="52701" y="55748"/>
                      <a:pt x="41189" y="51753"/>
                      <a:pt x="32434" y="43661"/>
                    </a:cubicBezTo>
                    <a:lnTo>
                      <a:pt x="1915" y="11720"/>
                    </a:lnTo>
                    <a:cubicBezTo>
                      <a:pt x="-725" y="8950"/>
                      <a:pt x="-623" y="4562"/>
                      <a:pt x="2147" y="1915"/>
                    </a:cubicBezTo>
                    <a:cubicBezTo>
                      <a:pt x="4917" y="-718"/>
                      <a:pt x="9291" y="-631"/>
                      <a:pt x="11952" y="2146"/>
                    </a:cubicBezTo>
                    <a:lnTo>
                      <a:pt x="42158" y="33782"/>
                    </a:lnTo>
                    <a:cubicBezTo>
                      <a:pt x="48485" y="39606"/>
                      <a:pt x="57430" y="42274"/>
                      <a:pt x="66477" y="40873"/>
                    </a:cubicBezTo>
                    <a:cubicBezTo>
                      <a:pt x="69008" y="40466"/>
                      <a:pt x="71477" y="41463"/>
                      <a:pt x="73025" y="43440"/>
                    </a:cubicBezTo>
                    <a:lnTo>
                      <a:pt x="89996" y="65073"/>
                    </a:lnTo>
                    <a:cubicBezTo>
                      <a:pt x="92358" y="68085"/>
                      <a:pt x="91832" y="72449"/>
                      <a:pt x="88816" y="74812"/>
                    </a:cubicBezTo>
                    <a:cubicBezTo>
                      <a:pt x="87552" y="75802"/>
                      <a:pt x="86043" y="76283"/>
                      <a:pt x="84547" y="76283"/>
                    </a:cubicBezTo>
                    <a:close/>
                  </a:path>
                </a:pathLst>
              </a:custGeom>
              <a:grpFill/>
              <a:ln w="351" cap="flat">
                <a:noFill/>
                <a:prstDash val="solid"/>
                <a:miter/>
              </a:ln>
            </p:spPr>
            <p:txBody>
              <a:bodyPr rtlCol="0" anchor="ctr"/>
              <a:lstStyle/>
              <a:p>
                <a:endParaRPr lang="en-GB" dirty="0"/>
              </a:p>
            </p:txBody>
          </p:sp>
          <p:sp>
            <p:nvSpPr>
              <p:cNvPr id="605" name="Freihandform: Form 143">
                <a:extLst>
                  <a:ext uri="{FF2B5EF4-FFF2-40B4-BE49-F238E27FC236}">
                    <a16:creationId xmlns:a16="http://schemas.microsoft.com/office/drawing/2014/main" id="{39992968-920D-4441-8B7E-7E7F42521D0F}"/>
                  </a:ext>
                </a:extLst>
              </p:cNvPr>
              <p:cNvSpPr/>
              <p:nvPr/>
            </p:nvSpPr>
            <p:spPr>
              <a:xfrm>
                <a:off x="2948822" y="3608480"/>
                <a:ext cx="77058" cy="189351"/>
              </a:xfrm>
              <a:custGeom>
                <a:avLst/>
                <a:gdLst>
                  <a:gd name="connsiteX0" fmla="*/ 69576 w 77058"/>
                  <a:gd name="connsiteY0" fmla="*/ 189351 h 189351"/>
                  <a:gd name="connsiteX1" fmla="*/ 63584 w 77058"/>
                  <a:gd name="connsiteY1" fmla="*/ 185918 h 189351"/>
                  <a:gd name="connsiteX2" fmla="*/ 58641 w 77058"/>
                  <a:gd name="connsiteY2" fmla="*/ 177461 h 189351"/>
                  <a:gd name="connsiteX3" fmla="*/ 57738 w 77058"/>
                  <a:gd name="connsiteY3" fmla="*/ 173167 h 189351"/>
                  <a:gd name="connsiteX4" fmla="*/ 62309 w 77058"/>
                  <a:gd name="connsiteY4" fmla="*/ 133446 h 189351"/>
                  <a:gd name="connsiteX5" fmla="*/ 55137 w 77058"/>
                  <a:gd name="connsiteY5" fmla="*/ 90412 h 189351"/>
                  <a:gd name="connsiteX6" fmla="*/ 1194 w 77058"/>
                  <a:gd name="connsiteY6" fmla="*/ 10820 h 189351"/>
                  <a:gd name="connsiteX7" fmla="*/ 3051 w 77058"/>
                  <a:gd name="connsiteY7" fmla="*/ 1190 h 189351"/>
                  <a:gd name="connsiteX8" fmla="*/ 12681 w 77058"/>
                  <a:gd name="connsiteY8" fmla="*/ 3047 h 189351"/>
                  <a:gd name="connsiteX9" fmla="*/ 66427 w 77058"/>
                  <a:gd name="connsiteY9" fmla="*/ 82369 h 189351"/>
                  <a:gd name="connsiteX10" fmla="*/ 76085 w 77058"/>
                  <a:gd name="connsiteY10" fmla="*/ 135033 h 189351"/>
                  <a:gd name="connsiteX11" fmla="*/ 71778 w 77058"/>
                  <a:gd name="connsiteY11" fmla="*/ 172458 h 189351"/>
                  <a:gd name="connsiteX12" fmla="*/ 75555 w 77058"/>
                  <a:gd name="connsiteY12" fmla="*/ 178917 h 189351"/>
                  <a:gd name="connsiteX13" fmla="*/ 73070 w 77058"/>
                  <a:gd name="connsiteY13" fmla="*/ 188407 h 189351"/>
                  <a:gd name="connsiteX14" fmla="*/ 69576 w 77058"/>
                  <a:gd name="connsiteY14" fmla="*/ 189351 h 189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058" h="189351">
                    <a:moveTo>
                      <a:pt x="69576" y="189351"/>
                    </a:moveTo>
                    <a:cubicBezTo>
                      <a:pt x="67193" y="189351"/>
                      <a:pt x="64868" y="188126"/>
                      <a:pt x="63584" y="185918"/>
                    </a:cubicBezTo>
                    <a:lnTo>
                      <a:pt x="58641" y="177461"/>
                    </a:lnTo>
                    <a:cubicBezTo>
                      <a:pt x="57882" y="176161"/>
                      <a:pt x="57563" y="174656"/>
                      <a:pt x="57738" y="173167"/>
                    </a:cubicBezTo>
                    <a:lnTo>
                      <a:pt x="62309" y="133446"/>
                    </a:lnTo>
                    <a:cubicBezTo>
                      <a:pt x="63738" y="120990"/>
                      <a:pt x="64556" y="102977"/>
                      <a:pt x="55137" y="90412"/>
                    </a:cubicBezTo>
                    <a:lnTo>
                      <a:pt x="1194" y="10820"/>
                    </a:lnTo>
                    <a:cubicBezTo>
                      <a:pt x="-954" y="7650"/>
                      <a:pt x="-126" y="3342"/>
                      <a:pt x="3051" y="1190"/>
                    </a:cubicBezTo>
                    <a:cubicBezTo>
                      <a:pt x="6222" y="-945"/>
                      <a:pt x="10536" y="-137"/>
                      <a:pt x="12681" y="3047"/>
                    </a:cubicBezTo>
                    <a:lnTo>
                      <a:pt x="66427" y="82369"/>
                    </a:lnTo>
                    <a:cubicBezTo>
                      <a:pt x="78624" y="98623"/>
                      <a:pt x="77792" y="120221"/>
                      <a:pt x="76085" y="135033"/>
                    </a:cubicBezTo>
                    <a:lnTo>
                      <a:pt x="71778" y="172458"/>
                    </a:lnTo>
                    <a:lnTo>
                      <a:pt x="75555" y="178917"/>
                    </a:lnTo>
                    <a:cubicBezTo>
                      <a:pt x="77486" y="182228"/>
                      <a:pt x="76373" y="186476"/>
                      <a:pt x="73070" y="188407"/>
                    </a:cubicBezTo>
                    <a:cubicBezTo>
                      <a:pt x="71967" y="189050"/>
                      <a:pt x="70760" y="189351"/>
                      <a:pt x="69576" y="189351"/>
                    </a:cubicBezTo>
                    <a:close/>
                  </a:path>
                </a:pathLst>
              </a:custGeom>
              <a:grpFill/>
              <a:ln w="351" cap="flat">
                <a:noFill/>
                <a:prstDash val="solid"/>
                <a:miter/>
              </a:ln>
            </p:spPr>
            <p:txBody>
              <a:bodyPr rtlCol="0" anchor="ctr"/>
              <a:lstStyle/>
              <a:p>
                <a:endParaRPr lang="en-GB" dirty="0"/>
              </a:p>
            </p:txBody>
          </p:sp>
          <p:sp>
            <p:nvSpPr>
              <p:cNvPr id="606" name="Freihandform: Form 144">
                <a:extLst>
                  <a:ext uri="{FF2B5EF4-FFF2-40B4-BE49-F238E27FC236}">
                    <a16:creationId xmlns:a16="http://schemas.microsoft.com/office/drawing/2014/main" id="{127BDB4C-76AE-4021-A2AF-5D3C15BD5688}"/>
                  </a:ext>
                </a:extLst>
              </p:cNvPr>
              <p:cNvSpPr/>
              <p:nvPr/>
            </p:nvSpPr>
            <p:spPr>
              <a:xfrm>
                <a:off x="2910978" y="3632492"/>
                <a:ext cx="69486" cy="155505"/>
              </a:xfrm>
              <a:custGeom>
                <a:avLst/>
                <a:gdLst>
                  <a:gd name="connsiteX0" fmla="*/ 26887 w 69486"/>
                  <a:gd name="connsiteY0" fmla="*/ 155506 h 155505"/>
                  <a:gd name="connsiteX1" fmla="*/ 20750 w 69486"/>
                  <a:gd name="connsiteY1" fmla="*/ 151816 h 155505"/>
                  <a:gd name="connsiteX2" fmla="*/ 22186 w 69486"/>
                  <a:gd name="connsiteY2" fmla="*/ 76096 h 155505"/>
                  <a:gd name="connsiteX3" fmla="*/ 4625 w 69486"/>
                  <a:gd name="connsiteY3" fmla="*/ 47192 h 155505"/>
                  <a:gd name="connsiteX4" fmla="*/ 1929 w 69486"/>
                  <a:gd name="connsiteY4" fmla="*/ 14778 h 155505"/>
                  <a:gd name="connsiteX5" fmla="*/ 17113 w 69486"/>
                  <a:gd name="connsiteY5" fmla="*/ 405 h 155505"/>
                  <a:gd name="connsiteX6" fmla="*/ 36394 w 69486"/>
                  <a:gd name="connsiteY6" fmla="*/ 7475 h 155505"/>
                  <a:gd name="connsiteX7" fmla="*/ 68145 w 69486"/>
                  <a:gd name="connsiteY7" fmla="*/ 50773 h 155505"/>
                  <a:gd name="connsiteX8" fmla="*/ 66650 w 69486"/>
                  <a:gd name="connsiteY8" fmla="*/ 60466 h 155505"/>
                  <a:gd name="connsiteX9" fmla="*/ 56956 w 69486"/>
                  <a:gd name="connsiteY9" fmla="*/ 58971 h 155505"/>
                  <a:gd name="connsiteX10" fmla="*/ 25356 w 69486"/>
                  <a:gd name="connsiteY10" fmla="*/ 15870 h 155505"/>
                  <a:gd name="connsiteX11" fmla="*/ 19904 w 69486"/>
                  <a:gd name="connsiteY11" fmla="*/ 13995 h 155505"/>
                  <a:gd name="connsiteX12" fmla="*/ 15326 w 69486"/>
                  <a:gd name="connsiteY12" fmla="*/ 18369 h 155505"/>
                  <a:gd name="connsiteX13" fmla="*/ 16478 w 69486"/>
                  <a:gd name="connsiteY13" fmla="*/ 39995 h 155505"/>
                  <a:gd name="connsiteX14" fmla="*/ 35969 w 69486"/>
                  <a:gd name="connsiteY14" fmla="*/ 72077 h 155505"/>
                  <a:gd name="connsiteX15" fmla="*/ 36201 w 69486"/>
                  <a:gd name="connsiteY15" fmla="*/ 78870 h 155505"/>
                  <a:gd name="connsiteX16" fmla="*/ 33010 w 69486"/>
                  <a:gd name="connsiteY16" fmla="*/ 145328 h 155505"/>
                  <a:gd name="connsiteX17" fmla="*/ 30124 w 69486"/>
                  <a:gd name="connsiteY17" fmla="*/ 154702 h 155505"/>
                  <a:gd name="connsiteX18" fmla="*/ 26887 w 69486"/>
                  <a:gd name="connsiteY18" fmla="*/ 155506 h 15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486" h="155505">
                    <a:moveTo>
                      <a:pt x="26887" y="155506"/>
                    </a:moveTo>
                    <a:cubicBezTo>
                      <a:pt x="24401" y="155506"/>
                      <a:pt x="21997" y="154164"/>
                      <a:pt x="20750" y="151816"/>
                    </a:cubicBezTo>
                    <a:cubicBezTo>
                      <a:pt x="4734" y="121564"/>
                      <a:pt x="17289" y="87211"/>
                      <a:pt x="22186" y="76096"/>
                    </a:cubicBezTo>
                    <a:lnTo>
                      <a:pt x="4625" y="47192"/>
                    </a:lnTo>
                    <a:cubicBezTo>
                      <a:pt x="-398" y="38918"/>
                      <a:pt x="-1381" y="27104"/>
                      <a:pt x="1929" y="14778"/>
                    </a:cubicBezTo>
                    <a:cubicBezTo>
                      <a:pt x="3899" y="7437"/>
                      <a:pt x="9720" y="1928"/>
                      <a:pt x="17113" y="405"/>
                    </a:cubicBezTo>
                    <a:cubicBezTo>
                      <a:pt x="24416" y="-1091"/>
                      <a:pt x="31788" y="1623"/>
                      <a:pt x="36394" y="7475"/>
                    </a:cubicBezTo>
                    <a:lnTo>
                      <a:pt x="68145" y="50773"/>
                    </a:lnTo>
                    <a:cubicBezTo>
                      <a:pt x="70406" y="53863"/>
                      <a:pt x="69743" y="58195"/>
                      <a:pt x="66650" y="60466"/>
                    </a:cubicBezTo>
                    <a:cubicBezTo>
                      <a:pt x="63567" y="62734"/>
                      <a:pt x="59221" y="62064"/>
                      <a:pt x="56956" y="58971"/>
                    </a:cubicBezTo>
                    <a:lnTo>
                      <a:pt x="25356" y="15870"/>
                    </a:lnTo>
                    <a:cubicBezTo>
                      <a:pt x="23541" y="13567"/>
                      <a:pt x="20954" y="13777"/>
                      <a:pt x="19904" y="13995"/>
                    </a:cubicBezTo>
                    <a:cubicBezTo>
                      <a:pt x="17650" y="14462"/>
                      <a:pt x="15937" y="16094"/>
                      <a:pt x="15326" y="18369"/>
                    </a:cubicBezTo>
                    <a:cubicBezTo>
                      <a:pt x="13030" y="26928"/>
                      <a:pt x="13459" y="35017"/>
                      <a:pt x="16478" y="39995"/>
                    </a:cubicBezTo>
                    <a:lnTo>
                      <a:pt x="35969" y="72077"/>
                    </a:lnTo>
                    <a:cubicBezTo>
                      <a:pt x="37223" y="74141"/>
                      <a:pt x="37310" y="76721"/>
                      <a:pt x="36201" y="78870"/>
                    </a:cubicBezTo>
                    <a:cubicBezTo>
                      <a:pt x="36012" y="79235"/>
                      <a:pt x="17440" y="115915"/>
                      <a:pt x="33010" y="145328"/>
                    </a:cubicBezTo>
                    <a:cubicBezTo>
                      <a:pt x="34804" y="148716"/>
                      <a:pt x="33512" y="152908"/>
                      <a:pt x="30124" y="154702"/>
                    </a:cubicBezTo>
                    <a:cubicBezTo>
                      <a:pt x="29088" y="155249"/>
                      <a:pt x="27975" y="155506"/>
                      <a:pt x="26887" y="155506"/>
                    </a:cubicBezTo>
                    <a:close/>
                  </a:path>
                </a:pathLst>
              </a:custGeom>
              <a:grpFill/>
              <a:ln w="351" cap="flat">
                <a:noFill/>
                <a:prstDash val="solid"/>
                <a:miter/>
              </a:ln>
            </p:spPr>
            <p:txBody>
              <a:bodyPr rtlCol="0" anchor="ctr"/>
              <a:lstStyle/>
              <a:p>
                <a:endParaRPr lang="en-GB" dirty="0"/>
              </a:p>
            </p:txBody>
          </p:sp>
          <p:sp>
            <p:nvSpPr>
              <p:cNvPr id="607" name="Freihandform: Form 145">
                <a:extLst>
                  <a:ext uri="{FF2B5EF4-FFF2-40B4-BE49-F238E27FC236}">
                    <a16:creationId xmlns:a16="http://schemas.microsoft.com/office/drawing/2014/main" id="{91E04468-15AA-4BBC-80BF-C86B4DF9F062}"/>
                  </a:ext>
                </a:extLst>
              </p:cNvPr>
              <p:cNvSpPr/>
              <p:nvPr/>
            </p:nvSpPr>
            <p:spPr>
              <a:xfrm>
                <a:off x="2923899" y="3779245"/>
                <a:ext cx="124392" cy="96405"/>
              </a:xfrm>
              <a:custGeom>
                <a:avLst/>
                <a:gdLst>
                  <a:gd name="connsiteX0" fmla="*/ 16687 w 124392"/>
                  <a:gd name="connsiteY0" fmla="*/ 96406 h 96405"/>
                  <a:gd name="connsiteX1" fmla="*/ 10740 w 124392"/>
                  <a:gd name="connsiteY1" fmla="*/ 93046 h 96405"/>
                  <a:gd name="connsiteX2" fmla="*/ 994 w 124392"/>
                  <a:gd name="connsiteY2" fmla="*/ 76865 h 96405"/>
                  <a:gd name="connsiteX3" fmla="*/ 3115 w 124392"/>
                  <a:gd name="connsiteY3" fmla="*/ 67498 h 96405"/>
                  <a:gd name="connsiteX4" fmla="*/ 103606 w 124392"/>
                  <a:gd name="connsiteY4" fmla="*/ 1145 h 96405"/>
                  <a:gd name="connsiteX5" fmla="*/ 108956 w 124392"/>
                  <a:gd name="connsiteY5" fmla="*/ 170 h 96405"/>
                  <a:gd name="connsiteX6" fmla="*/ 113366 w 124392"/>
                  <a:gd name="connsiteY6" fmla="*/ 3354 h 96405"/>
                  <a:gd name="connsiteX7" fmla="*/ 123396 w 124392"/>
                  <a:gd name="connsiteY7" fmla="*/ 19995 h 96405"/>
                  <a:gd name="connsiteX8" fmla="*/ 121040 w 124392"/>
                  <a:gd name="connsiteY8" fmla="*/ 29516 h 96405"/>
                  <a:gd name="connsiteX9" fmla="*/ 111519 w 124392"/>
                  <a:gd name="connsiteY9" fmla="*/ 27160 h 96405"/>
                  <a:gd name="connsiteX10" fmla="*/ 105221 w 124392"/>
                  <a:gd name="connsiteY10" fmla="*/ 16702 h 96405"/>
                  <a:gd name="connsiteX11" fmla="*/ 16312 w 124392"/>
                  <a:gd name="connsiteY11" fmla="*/ 75408 h 96405"/>
                  <a:gd name="connsiteX12" fmla="*/ 22624 w 124392"/>
                  <a:gd name="connsiteY12" fmla="*/ 85891 h 96405"/>
                  <a:gd name="connsiteX13" fmla="*/ 20261 w 124392"/>
                  <a:gd name="connsiteY13" fmla="*/ 95405 h 96405"/>
                  <a:gd name="connsiteX14" fmla="*/ 16687 w 124392"/>
                  <a:gd name="connsiteY14" fmla="*/ 96406 h 96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392" h="96405">
                    <a:moveTo>
                      <a:pt x="16687" y="96406"/>
                    </a:moveTo>
                    <a:cubicBezTo>
                      <a:pt x="14339" y="96406"/>
                      <a:pt x="12043" y="95209"/>
                      <a:pt x="10740" y="93046"/>
                    </a:cubicBezTo>
                    <a:lnTo>
                      <a:pt x="994" y="76865"/>
                    </a:lnTo>
                    <a:cubicBezTo>
                      <a:pt x="-923" y="73681"/>
                      <a:pt x="11" y="69552"/>
                      <a:pt x="3115" y="67498"/>
                    </a:cubicBezTo>
                    <a:lnTo>
                      <a:pt x="103606" y="1145"/>
                    </a:lnTo>
                    <a:cubicBezTo>
                      <a:pt x="105186" y="117"/>
                      <a:pt x="107099" y="-248"/>
                      <a:pt x="108956" y="170"/>
                    </a:cubicBezTo>
                    <a:cubicBezTo>
                      <a:pt x="110800" y="591"/>
                      <a:pt x="112390" y="1742"/>
                      <a:pt x="113366" y="3354"/>
                    </a:cubicBezTo>
                    <a:lnTo>
                      <a:pt x="123396" y="19995"/>
                    </a:lnTo>
                    <a:cubicBezTo>
                      <a:pt x="125373" y="23281"/>
                      <a:pt x="124316" y="27539"/>
                      <a:pt x="121040" y="29516"/>
                    </a:cubicBezTo>
                    <a:cubicBezTo>
                      <a:pt x="117747" y="31492"/>
                      <a:pt x="113489" y="30436"/>
                      <a:pt x="111519" y="27160"/>
                    </a:cubicBezTo>
                    <a:lnTo>
                      <a:pt x="105221" y="16702"/>
                    </a:lnTo>
                    <a:lnTo>
                      <a:pt x="16312" y="75408"/>
                    </a:lnTo>
                    <a:lnTo>
                      <a:pt x="22624" y="85891"/>
                    </a:lnTo>
                    <a:cubicBezTo>
                      <a:pt x="24601" y="89170"/>
                      <a:pt x="23544" y="93429"/>
                      <a:pt x="20261" y="95405"/>
                    </a:cubicBezTo>
                    <a:cubicBezTo>
                      <a:pt x="19138" y="96086"/>
                      <a:pt x="17906" y="96406"/>
                      <a:pt x="16687" y="96406"/>
                    </a:cubicBezTo>
                    <a:close/>
                  </a:path>
                </a:pathLst>
              </a:custGeom>
              <a:grpFill/>
              <a:ln w="351" cap="flat">
                <a:noFill/>
                <a:prstDash val="solid"/>
                <a:miter/>
              </a:ln>
            </p:spPr>
            <p:txBody>
              <a:bodyPr rtlCol="0" anchor="ctr"/>
              <a:lstStyle/>
              <a:p>
                <a:endParaRPr lang="en-GB" dirty="0"/>
              </a:p>
            </p:txBody>
          </p:sp>
        </p:grpSp>
        <p:grpSp>
          <p:nvGrpSpPr>
            <p:cNvPr id="594" name="Graphic 10">
              <a:extLst>
                <a:ext uri="{FF2B5EF4-FFF2-40B4-BE49-F238E27FC236}">
                  <a16:creationId xmlns:a16="http://schemas.microsoft.com/office/drawing/2014/main" id="{D74E235E-E3C0-40A8-AA57-24B700A5E274}"/>
                </a:ext>
              </a:extLst>
            </p:cNvPr>
            <p:cNvGrpSpPr/>
            <p:nvPr/>
          </p:nvGrpSpPr>
          <p:grpSpPr>
            <a:xfrm>
              <a:off x="2566523" y="3608478"/>
              <a:ext cx="192219" cy="267172"/>
              <a:chOff x="2566523" y="3608478"/>
              <a:chExt cx="192219" cy="267172"/>
            </a:xfrm>
            <a:grpFill/>
          </p:grpSpPr>
          <p:sp>
            <p:nvSpPr>
              <p:cNvPr id="600" name="Freihandform: Form 147">
                <a:extLst>
                  <a:ext uri="{FF2B5EF4-FFF2-40B4-BE49-F238E27FC236}">
                    <a16:creationId xmlns:a16="http://schemas.microsoft.com/office/drawing/2014/main" id="{80B3A12A-8CF0-4066-BCE4-6A8883080D4C}"/>
                  </a:ext>
                </a:extLst>
              </p:cNvPr>
              <p:cNvSpPr/>
              <p:nvPr/>
            </p:nvSpPr>
            <p:spPr>
              <a:xfrm>
                <a:off x="2667270" y="3774055"/>
                <a:ext cx="91472" cy="76287"/>
              </a:xfrm>
              <a:custGeom>
                <a:avLst/>
                <a:gdLst>
                  <a:gd name="connsiteX0" fmla="*/ 6929 w 91472"/>
                  <a:gd name="connsiteY0" fmla="*/ 76287 h 76287"/>
                  <a:gd name="connsiteX1" fmla="*/ 2656 w 91472"/>
                  <a:gd name="connsiteY1" fmla="*/ 74809 h 76287"/>
                  <a:gd name="connsiteX2" fmla="*/ 1477 w 91472"/>
                  <a:gd name="connsiteY2" fmla="*/ 65070 h 76287"/>
                  <a:gd name="connsiteX3" fmla="*/ 18454 w 91472"/>
                  <a:gd name="connsiteY3" fmla="*/ 43437 h 76287"/>
                  <a:gd name="connsiteX4" fmla="*/ 25002 w 91472"/>
                  <a:gd name="connsiteY4" fmla="*/ 40871 h 76287"/>
                  <a:gd name="connsiteX5" fmla="*/ 49626 w 91472"/>
                  <a:gd name="connsiteY5" fmla="*/ 33474 h 76287"/>
                  <a:gd name="connsiteX6" fmla="*/ 79520 w 91472"/>
                  <a:gd name="connsiteY6" fmla="*/ 2144 h 76287"/>
                  <a:gd name="connsiteX7" fmla="*/ 89326 w 91472"/>
                  <a:gd name="connsiteY7" fmla="*/ 1912 h 76287"/>
                  <a:gd name="connsiteX8" fmla="*/ 89557 w 91472"/>
                  <a:gd name="connsiteY8" fmla="*/ 11718 h 76287"/>
                  <a:gd name="connsiteX9" fmla="*/ 59351 w 91472"/>
                  <a:gd name="connsiteY9" fmla="*/ 43353 h 76287"/>
                  <a:gd name="connsiteX10" fmla="*/ 26986 w 91472"/>
                  <a:gd name="connsiteY10" fmla="*/ 55030 h 76287"/>
                  <a:gd name="connsiteX11" fmla="*/ 12391 w 91472"/>
                  <a:gd name="connsiteY11" fmla="*/ 73626 h 76287"/>
                  <a:gd name="connsiteX12" fmla="*/ 6929 w 91472"/>
                  <a:gd name="connsiteY12" fmla="*/ 76287 h 76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1472" h="76287">
                    <a:moveTo>
                      <a:pt x="6929" y="76287"/>
                    </a:moveTo>
                    <a:cubicBezTo>
                      <a:pt x="5433" y="76287"/>
                      <a:pt x="3920" y="75806"/>
                      <a:pt x="2656" y="74809"/>
                    </a:cubicBezTo>
                    <a:cubicBezTo>
                      <a:pt x="-356" y="72439"/>
                      <a:pt x="-886" y="68082"/>
                      <a:pt x="1477" y="65070"/>
                    </a:cubicBezTo>
                    <a:lnTo>
                      <a:pt x="18454" y="43437"/>
                    </a:lnTo>
                    <a:cubicBezTo>
                      <a:pt x="20006" y="41454"/>
                      <a:pt x="22499" y="40435"/>
                      <a:pt x="25002" y="40871"/>
                    </a:cubicBezTo>
                    <a:cubicBezTo>
                      <a:pt x="34011" y="42300"/>
                      <a:pt x="42984" y="39611"/>
                      <a:pt x="49626" y="33474"/>
                    </a:cubicBezTo>
                    <a:lnTo>
                      <a:pt x="79520" y="2144"/>
                    </a:lnTo>
                    <a:cubicBezTo>
                      <a:pt x="82174" y="-626"/>
                      <a:pt x="86563" y="-721"/>
                      <a:pt x="89326" y="1912"/>
                    </a:cubicBezTo>
                    <a:cubicBezTo>
                      <a:pt x="92096" y="4559"/>
                      <a:pt x="92198" y="8948"/>
                      <a:pt x="89557" y="11718"/>
                    </a:cubicBezTo>
                    <a:lnTo>
                      <a:pt x="59351" y="43353"/>
                    </a:lnTo>
                    <a:cubicBezTo>
                      <a:pt x="50318" y="51716"/>
                      <a:pt x="38736" y="55721"/>
                      <a:pt x="26986" y="55030"/>
                    </a:cubicBezTo>
                    <a:lnTo>
                      <a:pt x="12391" y="73626"/>
                    </a:lnTo>
                    <a:cubicBezTo>
                      <a:pt x="11026" y="75378"/>
                      <a:pt x="8989" y="76287"/>
                      <a:pt x="6929" y="76287"/>
                    </a:cubicBezTo>
                    <a:close/>
                  </a:path>
                </a:pathLst>
              </a:custGeom>
              <a:grpFill/>
              <a:ln w="351" cap="flat">
                <a:noFill/>
                <a:prstDash val="solid"/>
                <a:miter/>
              </a:ln>
            </p:spPr>
            <p:txBody>
              <a:bodyPr rtlCol="0" anchor="ctr"/>
              <a:lstStyle/>
              <a:p>
                <a:endParaRPr lang="en-GB" dirty="0"/>
              </a:p>
            </p:txBody>
          </p:sp>
          <p:sp>
            <p:nvSpPr>
              <p:cNvPr id="601" name="Freihandform: Form 148">
                <a:extLst>
                  <a:ext uri="{FF2B5EF4-FFF2-40B4-BE49-F238E27FC236}">
                    <a16:creationId xmlns:a16="http://schemas.microsoft.com/office/drawing/2014/main" id="{2185E13E-A937-4DA1-A404-5A99381F3793}"/>
                  </a:ext>
                </a:extLst>
              </p:cNvPr>
              <p:cNvSpPr/>
              <p:nvPr/>
            </p:nvSpPr>
            <p:spPr>
              <a:xfrm>
                <a:off x="2588939" y="3608478"/>
                <a:ext cx="77054" cy="189353"/>
              </a:xfrm>
              <a:custGeom>
                <a:avLst/>
                <a:gdLst>
                  <a:gd name="connsiteX0" fmla="*/ 7476 w 77054"/>
                  <a:gd name="connsiteY0" fmla="*/ 189353 h 189353"/>
                  <a:gd name="connsiteX1" fmla="*/ 3983 w 77054"/>
                  <a:gd name="connsiteY1" fmla="*/ 188405 h 189353"/>
                  <a:gd name="connsiteX2" fmla="*/ 1497 w 77054"/>
                  <a:gd name="connsiteY2" fmla="*/ 178916 h 189353"/>
                  <a:gd name="connsiteX3" fmla="*/ 5275 w 77054"/>
                  <a:gd name="connsiteY3" fmla="*/ 172456 h 189353"/>
                  <a:gd name="connsiteX4" fmla="*/ 967 w 77054"/>
                  <a:gd name="connsiteY4" fmla="*/ 135032 h 189353"/>
                  <a:gd name="connsiteX5" fmla="*/ 10821 w 77054"/>
                  <a:gd name="connsiteY5" fmla="*/ 82097 h 189353"/>
                  <a:gd name="connsiteX6" fmla="*/ 64374 w 77054"/>
                  <a:gd name="connsiteY6" fmla="*/ 3046 h 189353"/>
                  <a:gd name="connsiteX7" fmla="*/ 74004 w 77054"/>
                  <a:gd name="connsiteY7" fmla="*/ 1188 h 189353"/>
                  <a:gd name="connsiteX8" fmla="*/ 75861 w 77054"/>
                  <a:gd name="connsiteY8" fmla="*/ 10818 h 189353"/>
                  <a:gd name="connsiteX9" fmla="*/ 22115 w 77054"/>
                  <a:gd name="connsiteY9" fmla="*/ 90140 h 189353"/>
                  <a:gd name="connsiteX10" fmla="*/ 14747 w 77054"/>
                  <a:gd name="connsiteY10" fmla="*/ 133445 h 189353"/>
                  <a:gd name="connsiteX11" fmla="*/ 19318 w 77054"/>
                  <a:gd name="connsiteY11" fmla="*/ 173165 h 189353"/>
                  <a:gd name="connsiteX12" fmla="*/ 18415 w 77054"/>
                  <a:gd name="connsiteY12" fmla="*/ 177459 h 189353"/>
                  <a:gd name="connsiteX13" fmla="*/ 13472 w 77054"/>
                  <a:gd name="connsiteY13" fmla="*/ 185916 h 189353"/>
                  <a:gd name="connsiteX14" fmla="*/ 7476 w 77054"/>
                  <a:gd name="connsiteY14" fmla="*/ 189353 h 189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054" h="189353">
                    <a:moveTo>
                      <a:pt x="7476" y="189353"/>
                    </a:moveTo>
                    <a:cubicBezTo>
                      <a:pt x="6289" y="189353"/>
                      <a:pt x="5085" y="189048"/>
                      <a:pt x="3983" y="188405"/>
                    </a:cubicBezTo>
                    <a:cubicBezTo>
                      <a:pt x="679" y="186475"/>
                      <a:pt x="-434" y="182230"/>
                      <a:pt x="1497" y="178916"/>
                    </a:cubicBezTo>
                    <a:lnTo>
                      <a:pt x="5275" y="172456"/>
                    </a:lnTo>
                    <a:lnTo>
                      <a:pt x="967" y="135032"/>
                    </a:lnTo>
                    <a:cubicBezTo>
                      <a:pt x="-739" y="120220"/>
                      <a:pt x="-1571" y="98622"/>
                      <a:pt x="10821" y="82097"/>
                    </a:cubicBezTo>
                    <a:lnTo>
                      <a:pt x="64374" y="3046"/>
                    </a:lnTo>
                    <a:cubicBezTo>
                      <a:pt x="66526" y="-139"/>
                      <a:pt x="70841" y="-943"/>
                      <a:pt x="74004" y="1188"/>
                    </a:cubicBezTo>
                    <a:cubicBezTo>
                      <a:pt x="77181" y="3340"/>
                      <a:pt x="78006" y="7648"/>
                      <a:pt x="75861" y="10818"/>
                    </a:cubicBezTo>
                    <a:lnTo>
                      <a:pt x="22115" y="90140"/>
                    </a:lnTo>
                    <a:cubicBezTo>
                      <a:pt x="12500" y="102975"/>
                      <a:pt x="13318" y="120989"/>
                      <a:pt x="14747" y="133445"/>
                    </a:cubicBezTo>
                    <a:lnTo>
                      <a:pt x="19318" y="173165"/>
                    </a:lnTo>
                    <a:cubicBezTo>
                      <a:pt x="19493" y="174654"/>
                      <a:pt x="19174" y="176160"/>
                      <a:pt x="18415" y="177459"/>
                    </a:cubicBezTo>
                    <a:lnTo>
                      <a:pt x="13472" y="185916"/>
                    </a:lnTo>
                    <a:cubicBezTo>
                      <a:pt x="12184" y="188128"/>
                      <a:pt x="9860" y="189353"/>
                      <a:pt x="7476" y="189353"/>
                    </a:cubicBezTo>
                    <a:close/>
                  </a:path>
                </a:pathLst>
              </a:custGeom>
              <a:grpFill/>
              <a:ln w="351" cap="flat">
                <a:noFill/>
                <a:prstDash val="solid"/>
                <a:miter/>
              </a:ln>
            </p:spPr>
            <p:txBody>
              <a:bodyPr rtlCol="0" anchor="ctr"/>
              <a:lstStyle/>
              <a:p>
                <a:endParaRPr lang="en-GB" dirty="0"/>
              </a:p>
            </p:txBody>
          </p:sp>
          <p:sp>
            <p:nvSpPr>
              <p:cNvPr id="602" name="Freihandform: Form 149">
                <a:extLst>
                  <a:ext uri="{FF2B5EF4-FFF2-40B4-BE49-F238E27FC236}">
                    <a16:creationId xmlns:a16="http://schemas.microsoft.com/office/drawing/2014/main" id="{B843FDE4-A055-4808-9672-A28360B32F1A}"/>
                  </a:ext>
                </a:extLst>
              </p:cNvPr>
              <p:cNvSpPr/>
              <p:nvPr/>
            </p:nvSpPr>
            <p:spPr>
              <a:xfrm>
                <a:off x="2634346" y="3632490"/>
                <a:ext cx="69489" cy="155508"/>
              </a:xfrm>
              <a:custGeom>
                <a:avLst/>
                <a:gdLst>
                  <a:gd name="connsiteX0" fmla="*/ 42602 w 69489"/>
                  <a:gd name="connsiteY0" fmla="*/ 155508 h 155508"/>
                  <a:gd name="connsiteX1" fmla="*/ 39365 w 69489"/>
                  <a:gd name="connsiteY1" fmla="*/ 154701 h 155508"/>
                  <a:gd name="connsiteX2" fmla="*/ 36479 w 69489"/>
                  <a:gd name="connsiteY2" fmla="*/ 145327 h 155508"/>
                  <a:gd name="connsiteX3" fmla="*/ 33288 w 69489"/>
                  <a:gd name="connsiteY3" fmla="*/ 78869 h 155508"/>
                  <a:gd name="connsiteX4" fmla="*/ 33520 w 69489"/>
                  <a:gd name="connsiteY4" fmla="*/ 72076 h 155508"/>
                  <a:gd name="connsiteX5" fmla="*/ 53011 w 69489"/>
                  <a:gd name="connsiteY5" fmla="*/ 39988 h 155508"/>
                  <a:gd name="connsiteX6" fmla="*/ 54163 w 69489"/>
                  <a:gd name="connsiteY6" fmla="*/ 18369 h 155508"/>
                  <a:gd name="connsiteX7" fmla="*/ 49585 w 69489"/>
                  <a:gd name="connsiteY7" fmla="*/ 13994 h 155508"/>
                  <a:gd name="connsiteX8" fmla="*/ 43985 w 69489"/>
                  <a:gd name="connsiteY8" fmla="*/ 16066 h 155508"/>
                  <a:gd name="connsiteX9" fmla="*/ 12532 w 69489"/>
                  <a:gd name="connsiteY9" fmla="*/ 58970 h 155508"/>
                  <a:gd name="connsiteX10" fmla="*/ 2839 w 69489"/>
                  <a:gd name="connsiteY10" fmla="*/ 60466 h 155508"/>
                  <a:gd name="connsiteX11" fmla="*/ 1343 w 69489"/>
                  <a:gd name="connsiteY11" fmla="*/ 50773 h 155508"/>
                  <a:gd name="connsiteX12" fmla="*/ 32944 w 69489"/>
                  <a:gd name="connsiteY12" fmla="*/ 7671 h 155508"/>
                  <a:gd name="connsiteX13" fmla="*/ 52376 w 69489"/>
                  <a:gd name="connsiteY13" fmla="*/ 404 h 155508"/>
                  <a:gd name="connsiteX14" fmla="*/ 67560 w 69489"/>
                  <a:gd name="connsiteY14" fmla="*/ 14777 h 155508"/>
                  <a:gd name="connsiteX15" fmla="*/ 64863 w 69489"/>
                  <a:gd name="connsiteY15" fmla="*/ 47185 h 155508"/>
                  <a:gd name="connsiteX16" fmla="*/ 47303 w 69489"/>
                  <a:gd name="connsiteY16" fmla="*/ 76096 h 155508"/>
                  <a:gd name="connsiteX17" fmla="*/ 48738 w 69489"/>
                  <a:gd name="connsiteY17" fmla="*/ 151815 h 155508"/>
                  <a:gd name="connsiteX18" fmla="*/ 42602 w 69489"/>
                  <a:gd name="connsiteY18" fmla="*/ 155508 h 155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9489" h="155508">
                    <a:moveTo>
                      <a:pt x="42602" y="155508"/>
                    </a:moveTo>
                    <a:cubicBezTo>
                      <a:pt x="41510" y="155508"/>
                      <a:pt x="40400" y="155252"/>
                      <a:pt x="39365" y="154701"/>
                    </a:cubicBezTo>
                    <a:cubicBezTo>
                      <a:pt x="35977" y="152907"/>
                      <a:pt x="34685" y="148715"/>
                      <a:pt x="36479" y="145327"/>
                    </a:cubicBezTo>
                    <a:cubicBezTo>
                      <a:pt x="52049" y="115914"/>
                      <a:pt x="33477" y="79234"/>
                      <a:pt x="33288" y="78869"/>
                    </a:cubicBezTo>
                    <a:cubicBezTo>
                      <a:pt x="32178" y="76720"/>
                      <a:pt x="32266" y="74140"/>
                      <a:pt x="33520" y="72076"/>
                    </a:cubicBezTo>
                    <a:lnTo>
                      <a:pt x="53011" y="39988"/>
                    </a:lnTo>
                    <a:cubicBezTo>
                      <a:pt x="56030" y="35016"/>
                      <a:pt x="56459" y="26931"/>
                      <a:pt x="54163" y="18369"/>
                    </a:cubicBezTo>
                    <a:cubicBezTo>
                      <a:pt x="53552" y="16094"/>
                      <a:pt x="51838" y="14461"/>
                      <a:pt x="49585" y="13994"/>
                    </a:cubicBezTo>
                    <a:cubicBezTo>
                      <a:pt x="48549" y="13805"/>
                      <a:pt x="45955" y="13573"/>
                      <a:pt x="43985" y="16066"/>
                    </a:cubicBezTo>
                    <a:lnTo>
                      <a:pt x="12532" y="58970"/>
                    </a:lnTo>
                    <a:cubicBezTo>
                      <a:pt x="10264" y="62067"/>
                      <a:pt x="5921" y="62737"/>
                      <a:pt x="2839" y="60466"/>
                    </a:cubicBezTo>
                    <a:cubicBezTo>
                      <a:pt x="-257" y="58198"/>
                      <a:pt x="-921" y="53862"/>
                      <a:pt x="1343" y="50773"/>
                    </a:cubicBezTo>
                    <a:lnTo>
                      <a:pt x="32944" y="7671"/>
                    </a:lnTo>
                    <a:cubicBezTo>
                      <a:pt x="37704" y="1615"/>
                      <a:pt x="45115" y="-1091"/>
                      <a:pt x="52376" y="404"/>
                    </a:cubicBezTo>
                    <a:cubicBezTo>
                      <a:pt x="59773" y="1928"/>
                      <a:pt x="65590" y="7433"/>
                      <a:pt x="67560" y="14777"/>
                    </a:cubicBezTo>
                    <a:cubicBezTo>
                      <a:pt x="70870" y="27103"/>
                      <a:pt x="69891" y="38913"/>
                      <a:pt x="64863" y="47185"/>
                    </a:cubicBezTo>
                    <a:lnTo>
                      <a:pt x="47303" y="76096"/>
                    </a:lnTo>
                    <a:cubicBezTo>
                      <a:pt x="52200" y="87211"/>
                      <a:pt x="64754" y="121560"/>
                      <a:pt x="48738" y="151815"/>
                    </a:cubicBezTo>
                    <a:cubicBezTo>
                      <a:pt x="47492" y="154167"/>
                      <a:pt x="45087" y="155508"/>
                      <a:pt x="42602" y="155508"/>
                    </a:cubicBezTo>
                    <a:close/>
                  </a:path>
                </a:pathLst>
              </a:custGeom>
              <a:grpFill/>
              <a:ln w="351" cap="flat">
                <a:noFill/>
                <a:prstDash val="solid"/>
                <a:miter/>
              </a:ln>
            </p:spPr>
            <p:txBody>
              <a:bodyPr rtlCol="0" anchor="ctr"/>
              <a:lstStyle/>
              <a:p>
                <a:endParaRPr lang="en-GB" dirty="0"/>
              </a:p>
            </p:txBody>
          </p:sp>
          <p:sp>
            <p:nvSpPr>
              <p:cNvPr id="603" name="Freihandform: Form 150">
                <a:extLst>
                  <a:ext uri="{FF2B5EF4-FFF2-40B4-BE49-F238E27FC236}">
                    <a16:creationId xmlns:a16="http://schemas.microsoft.com/office/drawing/2014/main" id="{0920AD60-47A5-4CE3-9416-7040D32F2855}"/>
                  </a:ext>
                </a:extLst>
              </p:cNvPr>
              <p:cNvSpPr/>
              <p:nvPr/>
            </p:nvSpPr>
            <p:spPr>
              <a:xfrm>
                <a:off x="2566523" y="3779247"/>
                <a:ext cx="124404" cy="96403"/>
              </a:xfrm>
              <a:custGeom>
                <a:avLst/>
                <a:gdLst>
                  <a:gd name="connsiteX0" fmla="*/ 107704 w 124404"/>
                  <a:gd name="connsiteY0" fmla="*/ 96404 h 96403"/>
                  <a:gd name="connsiteX1" fmla="*/ 104126 w 124404"/>
                  <a:gd name="connsiteY1" fmla="*/ 95407 h 96403"/>
                  <a:gd name="connsiteX2" fmla="*/ 101771 w 124404"/>
                  <a:gd name="connsiteY2" fmla="*/ 85886 h 96403"/>
                  <a:gd name="connsiteX3" fmla="*/ 108090 w 124404"/>
                  <a:gd name="connsiteY3" fmla="*/ 75410 h 96403"/>
                  <a:gd name="connsiteX4" fmla="*/ 19174 w 124404"/>
                  <a:gd name="connsiteY4" fmla="*/ 16703 h 96403"/>
                  <a:gd name="connsiteX5" fmla="*/ 12875 w 124404"/>
                  <a:gd name="connsiteY5" fmla="*/ 27162 h 96403"/>
                  <a:gd name="connsiteX6" fmla="*/ 3354 w 124404"/>
                  <a:gd name="connsiteY6" fmla="*/ 29517 h 96403"/>
                  <a:gd name="connsiteX7" fmla="*/ 998 w 124404"/>
                  <a:gd name="connsiteY7" fmla="*/ 19996 h 96403"/>
                  <a:gd name="connsiteX8" fmla="*/ 11029 w 124404"/>
                  <a:gd name="connsiteY8" fmla="*/ 3355 h 96403"/>
                  <a:gd name="connsiteX9" fmla="*/ 15438 w 124404"/>
                  <a:gd name="connsiteY9" fmla="*/ 171 h 96403"/>
                  <a:gd name="connsiteX10" fmla="*/ 20789 w 124404"/>
                  <a:gd name="connsiteY10" fmla="*/ 1147 h 96403"/>
                  <a:gd name="connsiteX11" fmla="*/ 121287 w 124404"/>
                  <a:gd name="connsiteY11" fmla="*/ 67500 h 96403"/>
                  <a:gd name="connsiteX12" fmla="*/ 123407 w 124404"/>
                  <a:gd name="connsiteY12" fmla="*/ 76874 h 96403"/>
                  <a:gd name="connsiteX13" fmla="*/ 113655 w 124404"/>
                  <a:gd name="connsiteY13" fmla="*/ 93055 h 96403"/>
                  <a:gd name="connsiteX14" fmla="*/ 107704 w 124404"/>
                  <a:gd name="connsiteY14" fmla="*/ 96404 h 96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4404" h="96403">
                    <a:moveTo>
                      <a:pt x="107704" y="96404"/>
                    </a:moveTo>
                    <a:cubicBezTo>
                      <a:pt x="106486" y="96404"/>
                      <a:pt x="105253" y="96084"/>
                      <a:pt x="104126" y="95407"/>
                    </a:cubicBezTo>
                    <a:cubicBezTo>
                      <a:pt x="100847" y="93430"/>
                      <a:pt x="99791" y="89168"/>
                      <a:pt x="101771" y="85886"/>
                    </a:cubicBezTo>
                    <a:lnTo>
                      <a:pt x="108090" y="75410"/>
                    </a:lnTo>
                    <a:lnTo>
                      <a:pt x="19174" y="16703"/>
                    </a:lnTo>
                    <a:lnTo>
                      <a:pt x="12875" y="27162"/>
                    </a:lnTo>
                    <a:cubicBezTo>
                      <a:pt x="10899" y="30441"/>
                      <a:pt x="6644" y="31497"/>
                      <a:pt x="3354" y="29517"/>
                    </a:cubicBezTo>
                    <a:cubicBezTo>
                      <a:pt x="75" y="27541"/>
                      <a:pt x="-981" y="23279"/>
                      <a:pt x="998" y="19996"/>
                    </a:cubicBezTo>
                    <a:lnTo>
                      <a:pt x="11029" y="3355"/>
                    </a:lnTo>
                    <a:cubicBezTo>
                      <a:pt x="12005" y="1744"/>
                      <a:pt x="13595" y="592"/>
                      <a:pt x="15438" y="171"/>
                    </a:cubicBezTo>
                    <a:cubicBezTo>
                      <a:pt x="17302" y="-250"/>
                      <a:pt x="19216" y="118"/>
                      <a:pt x="20789" y="1147"/>
                    </a:cubicBezTo>
                    <a:lnTo>
                      <a:pt x="121287" y="67500"/>
                    </a:lnTo>
                    <a:cubicBezTo>
                      <a:pt x="124390" y="69554"/>
                      <a:pt x="125331" y="73682"/>
                      <a:pt x="123407" y="76874"/>
                    </a:cubicBezTo>
                    <a:lnTo>
                      <a:pt x="113655" y="93055"/>
                    </a:lnTo>
                    <a:cubicBezTo>
                      <a:pt x="112348" y="95210"/>
                      <a:pt x="110053" y="96404"/>
                      <a:pt x="107704" y="96404"/>
                    </a:cubicBezTo>
                    <a:close/>
                  </a:path>
                </a:pathLst>
              </a:custGeom>
              <a:grpFill/>
              <a:ln w="351" cap="flat">
                <a:noFill/>
                <a:prstDash val="solid"/>
                <a:miter/>
              </a:ln>
            </p:spPr>
            <p:txBody>
              <a:bodyPr rtlCol="0" anchor="ctr"/>
              <a:lstStyle/>
              <a:p>
                <a:endParaRPr lang="en-GB" dirty="0"/>
              </a:p>
            </p:txBody>
          </p:sp>
        </p:grpSp>
        <p:grpSp>
          <p:nvGrpSpPr>
            <p:cNvPr id="595" name="Graphic 10">
              <a:extLst>
                <a:ext uri="{FF2B5EF4-FFF2-40B4-BE49-F238E27FC236}">
                  <a16:creationId xmlns:a16="http://schemas.microsoft.com/office/drawing/2014/main" id="{B421A6FA-59AC-4263-9825-1CEAE87AB2EF}"/>
                </a:ext>
              </a:extLst>
            </p:cNvPr>
            <p:cNvGrpSpPr/>
            <p:nvPr/>
          </p:nvGrpSpPr>
          <p:grpSpPr>
            <a:xfrm>
              <a:off x="2652437" y="3414814"/>
              <a:ext cx="309246" cy="371899"/>
              <a:chOff x="2652437" y="3414814"/>
              <a:chExt cx="309246" cy="371899"/>
            </a:xfrm>
            <a:grpFill/>
          </p:grpSpPr>
          <p:sp>
            <p:nvSpPr>
              <p:cNvPr id="596" name="Freihandform: Form 152">
                <a:extLst>
                  <a:ext uri="{FF2B5EF4-FFF2-40B4-BE49-F238E27FC236}">
                    <a16:creationId xmlns:a16="http://schemas.microsoft.com/office/drawing/2014/main" id="{C9F4D0C4-2E7A-429D-8004-A73E4819EEA3}"/>
                  </a:ext>
                </a:extLst>
              </p:cNvPr>
              <p:cNvSpPr/>
              <p:nvPr/>
            </p:nvSpPr>
            <p:spPr>
              <a:xfrm>
                <a:off x="2671994" y="3772846"/>
                <a:ext cx="268592" cy="13867"/>
              </a:xfrm>
              <a:custGeom>
                <a:avLst/>
                <a:gdLst>
                  <a:gd name="connsiteX0" fmla="*/ 261659 w 268592"/>
                  <a:gd name="connsiteY0" fmla="*/ 13867 h 13867"/>
                  <a:gd name="connsiteX1" fmla="*/ 6934 w 268592"/>
                  <a:gd name="connsiteY1" fmla="*/ 13867 h 13867"/>
                  <a:gd name="connsiteX2" fmla="*/ 0 w 268592"/>
                  <a:gd name="connsiteY2" fmla="*/ 6934 h 13867"/>
                  <a:gd name="connsiteX3" fmla="*/ 6934 w 268592"/>
                  <a:gd name="connsiteY3" fmla="*/ 0 h 13867"/>
                  <a:gd name="connsiteX4" fmla="*/ 261659 w 268592"/>
                  <a:gd name="connsiteY4" fmla="*/ 0 h 13867"/>
                  <a:gd name="connsiteX5" fmla="*/ 268592 w 268592"/>
                  <a:gd name="connsiteY5" fmla="*/ 6934 h 13867"/>
                  <a:gd name="connsiteX6" fmla="*/ 261659 w 268592"/>
                  <a:gd name="connsiteY6" fmla="*/ 13867 h 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8592" h="13867">
                    <a:moveTo>
                      <a:pt x="261659" y="13867"/>
                    </a:moveTo>
                    <a:lnTo>
                      <a:pt x="6934" y="13867"/>
                    </a:lnTo>
                    <a:cubicBezTo>
                      <a:pt x="3100" y="13867"/>
                      <a:pt x="0" y="10764"/>
                      <a:pt x="0" y="6934"/>
                    </a:cubicBezTo>
                    <a:cubicBezTo>
                      <a:pt x="0" y="3103"/>
                      <a:pt x="3100" y="0"/>
                      <a:pt x="6934" y="0"/>
                    </a:cubicBezTo>
                    <a:lnTo>
                      <a:pt x="261659" y="0"/>
                    </a:lnTo>
                    <a:cubicBezTo>
                      <a:pt x="265492" y="0"/>
                      <a:pt x="268592" y="3100"/>
                      <a:pt x="268592" y="6934"/>
                    </a:cubicBezTo>
                    <a:cubicBezTo>
                      <a:pt x="268592" y="10767"/>
                      <a:pt x="265492" y="13867"/>
                      <a:pt x="261659" y="13867"/>
                    </a:cubicBezTo>
                    <a:close/>
                  </a:path>
                </a:pathLst>
              </a:custGeom>
              <a:grpFill/>
              <a:ln w="351" cap="flat">
                <a:noFill/>
                <a:prstDash val="solid"/>
                <a:miter/>
              </a:ln>
            </p:spPr>
            <p:txBody>
              <a:bodyPr rtlCol="0" anchor="ctr"/>
              <a:lstStyle/>
              <a:p>
                <a:endParaRPr lang="en-GB" dirty="0"/>
              </a:p>
            </p:txBody>
          </p:sp>
          <p:sp>
            <p:nvSpPr>
              <p:cNvPr id="597" name="Freihandform: Form 153">
                <a:extLst>
                  <a:ext uri="{FF2B5EF4-FFF2-40B4-BE49-F238E27FC236}">
                    <a16:creationId xmlns:a16="http://schemas.microsoft.com/office/drawing/2014/main" id="{851BCB31-765B-42E6-9B59-336FFF3891AB}"/>
                  </a:ext>
                </a:extLst>
              </p:cNvPr>
              <p:cNvSpPr/>
              <p:nvPr/>
            </p:nvSpPr>
            <p:spPr>
              <a:xfrm>
                <a:off x="2652439" y="3495371"/>
                <a:ext cx="309242" cy="174079"/>
              </a:xfrm>
              <a:custGeom>
                <a:avLst/>
                <a:gdLst>
                  <a:gd name="connsiteX0" fmla="*/ 6934 w 309242"/>
                  <a:gd name="connsiteY0" fmla="*/ 174080 h 174079"/>
                  <a:gd name="connsiteX1" fmla="*/ 0 w 309242"/>
                  <a:gd name="connsiteY1" fmla="*/ 167146 h 174079"/>
                  <a:gd name="connsiteX2" fmla="*/ 0 w 309242"/>
                  <a:gd name="connsiteY2" fmla="*/ 6934 h 174079"/>
                  <a:gd name="connsiteX3" fmla="*/ 6934 w 309242"/>
                  <a:gd name="connsiteY3" fmla="*/ 0 h 174079"/>
                  <a:gd name="connsiteX4" fmla="*/ 302309 w 309242"/>
                  <a:gd name="connsiteY4" fmla="*/ 0 h 174079"/>
                  <a:gd name="connsiteX5" fmla="*/ 309243 w 309242"/>
                  <a:gd name="connsiteY5" fmla="*/ 6934 h 174079"/>
                  <a:gd name="connsiteX6" fmla="*/ 309243 w 309242"/>
                  <a:gd name="connsiteY6" fmla="*/ 162961 h 174079"/>
                  <a:gd name="connsiteX7" fmla="*/ 302309 w 309242"/>
                  <a:gd name="connsiteY7" fmla="*/ 169895 h 174079"/>
                  <a:gd name="connsiteX8" fmla="*/ 295376 w 309242"/>
                  <a:gd name="connsiteY8" fmla="*/ 162961 h 174079"/>
                  <a:gd name="connsiteX9" fmla="*/ 295376 w 309242"/>
                  <a:gd name="connsiteY9" fmla="*/ 13867 h 174079"/>
                  <a:gd name="connsiteX10" fmla="*/ 13871 w 309242"/>
                  <a:gd name="connsiteY10" fmla="*/ 13867 h 174079"/>
                  <a:gd name="connsiteX11" fmla="*/ 13871 w 309242"/>
                  <a:gd name="connsiteY11" fmla="*/ 167146 h 174079"/>
                  <a:gd name="connsiteX12" fmla="*/ 6934 w 309242"/>
                  <a:gd name="connsiteY12" fmla="*/ 174080 h 174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9242" h="174079">
                    <a:moveTo>
                      <a:pt x="6934" y="174080"/>
                    </a:moveTo>
                    <a:cubicBezTo>
                      <a:pt x="3100" y="174080"/>
                      <a:pt x="0" y="170980"/>
                      <a:pt x="0" y="167146"/>
                    </a:cubicBezTo>
                    <a:lnTo>
                      <a:pt x="0" y="6934"/>
                    </a:lnTo>
                    <a:cubicBezTo>
                      <a:pt x="0" y="3100"/>
                      <a:pt x="3103" y="0"/>
                      <a:pt x="6934" y="0"/>
                    </a:cubicBezTo>
                    <a:lnTo>
                      <a:pt x="302309" y="0"/>
                    </a:lnTo>
                    <a:cubicBezTo>
                      <a:pt x="306143" y="0"/>
                      <a:pt x="309243" y="3104"/>
                      <a:pt x="309243" y="6934"/>
                    </a:cubicBezTo>
                    <a:lnTo>
                      <a:pt x="309243" y="162961"/>
                    </a:lnTo>
                    <a:cubicBezTo>
                      <a:pt x="309243" y="166795"/>
                      <a:pt x="306140" y="169895"/>
                      <a:pt x="302309" y="169895"/>
                    </a:cubicBezTo>
                    <a:cubicBezTo>
                      <a:pt x="298476" y="169895"/>
                      <a:pt x="295376" y="166792"/>
                      <a:pt x="295376" y="162961"/>
                    </a:cubicBezTo>
                    <a:lnTo>
                      <a:pt x="295376" y="13867"/>
                    </a:lnTo>
                    <a:lnTo>
                      <a:pt x="13871" y="13867"/>
                    </a:lnTo>
                    <a:lnTo>
                      <a:pt x="13871" y="167146"/>
                    </a:lnTo>
                    <a:cubicBezTo>
                      <a:pt x="13871" y="170980"/>
                      <a:pt x="10767" y="174080"/>
                      <a:pt x="6934" y="174080"/>
                    </a:cubicBezTo>
                    <a:close/>
                  </a:path>
                </a:pathLst>
              </a:custGeom>
              <a:grpFill/>
              <a:ln w="351" cap="flat">
                <a:noFill/>
                <a:prstDash val="solid"/>
                <a:miter/>
              </a:ln>
            </p:spPr>
            <p:txBody>
              <a:bodyPr rtlCol="0" anchor="ctr"/>
              <a:lstStyle/>
              <a:p>
                <a:endParaRPr lang="en-GB" dirty="0"/>
              </a:p>
            </p:txBody>
          </p:sp>
          <p:sp>
            <p:nvSpPr>
              <p:cNvPr id="598" name="Freihandform: Form 154">
                <a:extLst>
                  <a:ext uri="{FF2B5EF4-FFF2-40B4-BE49-F238E27FC236}">
                    <a16:creationId xmlns:a16="http://schemas.microsoft.com/office/drawing/2014/main" id="{B21FE24E-0602-444C-9881-B979BB717D51}"/>
                  </a:ext>
                </a:extLst>
              </p:cNvPr>
              <p:cNvSpPr/>
              <p:nvPr/>
            </p:nvSpPr>
            <p:spPr>
              <a:xfrm>
                <a:off x="2652437" y="3414814"/>
                <a:ext cx="309246" cy="94424"/>
              </a:xfrm>
              <a:custGeom>
                <a:avLst/>
                <a:gdLst>
                  <a:gd name="connsiteX0" fmla="*/ 302311 w 309246"/>
                  <a:gd name="connsiteY0" fmla="*/ 94425 h 94424"/>
                  <a:gd name="connsiteX1" fmla="*/ 6935 w 309246"/>
                  <a:gd name="connsiteY1" fmla="*/ 94425 h 94424"/>
                  <a:gd name="connsiteX2" fmla="*/ 1308 w 309246"/>
                  <a:gd name="connsiteY2" fmla="*/ 91546 h 94424"/>
                  <a:gd name="connsiteX3" fmla="*/ 360 w 309246"/>
                  <a:gd name="connsiteY3" fmla="*/ 85293 h 94424"/>
                  <a:gd name="connsiteX4" fmla="*/ 27213 w 309246"/>
                  <a:gd name="connsiteY4" fmla="*/ 4739 h 94424"/>
                  <a:gd name="connsiteX5" fmla="*/ 33789 w 309246"/>
                  <a:gd name="connsiteY5" fmla="*/ 0 h 94424"/>
                  <a:gd name="connsiteX6" fmla="*/ 275457 w 309246"/>
                  <a:gd name="connsiteY6" fmla="*/ 0 h 94424"/>
                  <a:gd name="connsiteX7" fmla="*/ 282033 w 309246"/>
                  <a:gd name="connsiteY7" fmla="*/ 4739 h 94424"/>
                  <a:gd name="connsiteX8" fmla="*/ 308887 w 309246"/>
                  <a:gd name="connsiteY8" fmla="*/ 85293 h 94424"/>
                  <a:gd name="connsiteX9" fmla="*/ 307939 w 309246"/>
                  <a:gd name="connsiteY9" fmla="*/ 91546 h 94424"/>
                  <a:gd name="connsiteX10" fmla="*/ 302311 w 309246"/>
                  <a:gd name="connsiteY10" fmla="*/ 94425 h 94424"/>
                  <a:gd name="connsiteX11" fmla="*/ 16562 w 309246"/>
                  <a:gd name="connsiteY11" fmla="*/ 80554 h 94424"/>
                  <a:gd name="connsiteX12" fmla="*/ 292688 w 309246"/>
                  <a:gd name="connsiteY12" fmla="*/ 80554 h 94424"/>
                  <a:gd name="connsiteX13" fmla="*/ 270462 w 309246"/>
                  <a:gd name="connsiteY13" fmla="*/ 13871 h 94424"/>
                  <a:gd name="connsiteX14" fmla="*/ 38788 w 309246"/>
                  <a:gd name="connsiteY14" fmla="*/ 13871 h 94424"/>
                  <a:gd name="connsiteX15" fmla="*/ 16562 w 309246"/>
                  <a:gd name="connsiteY15" fmla="*/ 80554 h 94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9246" h="94424">
                    <a:moveTo>
                      <a:pt x="302311" y="94425"/>
                    </a:moveTo>
                    <a:lnTo>
                      <a:pt x="6935" y="94425"/>
                    </a:lnTo>
                    <a:cubicBezTo>
                      <a:pt x="4706" y="94425"/>
                      <a:pt x="2614" y="93354"/>
                      <a:pt x="1308" y="91546"/>
                    </a:cubicBezTo>
                    <a:cubicBezTo>
                      <a:pt x="9" y="89738"/>
                      <a:pt x="-353" y="87407"/>
                      <a:pt x="360" y="85293"/>
                    </a:cubicBezTo>
                    <a:lnTo>
                      <a:pt x="27213" y="4739"/>
                    </a:lnTo>
                    <a:cubicBezTo>
                      <a:pt x="28154" y="1910"/>
                      <a:pt x="30801" y="0"/>
                      <a:pt x="33789" y="0"/>
                    </a:cubicBezTo>
                    <a:lnTo>
                      <a:pt x="275457" y="0"/>
                    </a:lnTo>
                    <a:cubicBezTo>
                      <a:pt x="278445" y="0"/>
                      <a:pt x="281092" y="1910"/>
                      <a:pt x="282033" y="4739"/>
                    </a:cubicBezTo>
                    <a:lnTo>
                      <a:pt x="308887" y="85293"/>
                    </a:lnTo>
                    <a:cubicBezTo>
                      <a:pt x="309599" y="87407"/>
                      <a:pt x="309238" y="89738"/>
                      <a:pt x="307939" y="91546"/>
                    </a:cubicBezTo>
                    <a:cubicBezTo>
                      <a:pt x="306633" y="93354"/>
                      <a:pt x="304540" y="94425"/>
                      <a:pt x="302311" y="94425"/>
                    </a:cubicBezTo>
                    <a:close/>
                    <a:moveTo>
                      <a:pt x="16562" y="80554"/>
                    </a:moveTo>
                    <a:lnTo>
                      <a:pt x="292688" y="80554"/>
                    </a:lnTo>
                    <a:lnTo>
                      <a:pt x="270462" y="13871"/>
                    </a:lnTo>
                    <a:lnTo>
                      <a:pt x="38788" y="13871"/>
                    </a:lnTo>
                    <a:lnTo>
                      <a:pt x="16562" y="80554"/>
                    </a:lnTo>
                    <a:close/>
                  </a:path>
                </a:pathLst>
              </a:custGeom>
              <a:grpFill/>
              <a:ln w="351" cap="flat">
                <a:noFill/>
                <a:prstDash val="solid"/>
                <a:miter/>
              </a:ln>
            </p:spPr>
            <p:txBody>
              <a:bodyPr rtlCol="0" anchor="ctr"/>
              <a:lstStyle/>
              <a:p>
                <a:endParaRPr lang="en-GB" dirty="0"/>
              </a:p>
            </p:txBody>
          </p:sp>
          <p:sp>
            <p:nvSpPr>
              <p:cNvPr id="599" name="Freihandform: Form 155">
                <a:extLst>
                  <a:ext uri="{FF2B5EF4-FFF2-40B4-BE49-F238E27FC236}">
                    <a16:creationId xmlns:a16="http://schemas.microsoft.com/office/drawing/2014/main" id="{C679A5D0-005E-46C1-8907-99B0FF20D87A}"/>
                  </a:ext>
                </a:extLst>
              </p:cNvPr>
              <p:cNvSpPr/>
              <p:nvPr/>
            </p:nvSpPr>
            <p:spPr>
              <a:xfrm>
                <a:off x="2764326" y="3495371"/>
                <a:ext cx="85475" cy="49673"/>
              </a:xfrm>
              <a:custGeom>
                <a:avLst/>
                <a:gdLst>
                  <a:gd name="connsiteX0" fmla="*/ 78539 w 85475"/>
                  <a:gd name="connsiteY0" fmla="*/ 49673 h 49673"/>
                  <a:gd name="connsiteX1" fmla="*/ 71605 w 85475"/>
                  <a:gd name="connsiteY1" fmla="*/ 42740 h 49673"/>
                  <a:gd name="connsiteX2" fmla="*/ 71605 w 85475"/>
                  <a:gd name="connsiteY2" fmla="*/ 13867 h 49673"/>
                  <a:gd name="connsiteX3" fmla="*/ 13867 w 85475"/>
                  <a:gd name="connsiteY3" fmla="*/ 13867 h 49673"/>
                  <a:gd name="connsiteX4" fmla="*/ 13867 w 85475"/>
                  <a:gd name="connsiteY4" fmla="*/ 42740 h 49673"/>
                  <a:gd name="connsiteX5" fmla="*/ 6934 w 85475"/>
                  <a:gd name="connsiteY5" fmla="*/ 49673 h 49673"/>
                  <a:gd name="connsiteX6" fmla="*/ 0 w 85475"/>
                  <a:gd name="connsiteY6" fmla="*/ 42740 h 49673"/>
                  <a:gd name="connsiteX7" fmla="*/ 0 w 85475"/>
                  <a:gd name="connsiteY7" fmla="*/ 6934 h 49673"/>
                  <a:gd name="connsiteX8" fmla="*/ 6934 w 85475"/>
                  <a:gd name="connsiteY8" fmla="*/ 0 h 49673"/>
                  <a:gd name="connsiteX9" fmla="*/ 78542 w 85475"/>
                  <a:gd name="connsiteY9" fmla="*/ 0 h 49673"/>
                  <a:gd name="connsiteX10" fmla="*/ 85476 w 85475"/>
                  <a:gd name="connsiteY10" fmla="*/ 6934 h 49673"/>
                  <a:gd name="connsiteX11" fmla="*/ 85476 w 85475"/>
                  <a:gd name="connsiteY11" fmla="*/ 42740 h 49673"/>
                  <a:gd name="connsiteX12" fmla="*/ 78539 w 85475"/>
                  <a:gd name="connsiteY12" fmla="*/ 49673 h 4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5475" h="49673">
                    <a:moveTo>
                      <a:pt x="78539" y="49673"/>
                    </a:moveTo>
                    <a:cubicBezTo>
                      <a:pt x="74705" y="49673"/>
                      <a:pt x="71605" y="46570"/>
                      <a:pt x="71605" y="42740"/>
                    </a:cubicBezTo>
                    <a:lnTo>
                      <a:pt x="71605" y="13867"/>
                    </a:lnTo>
                    <a:lnTo>
                      <a:pt x="13867" y="13867"/>
                    </a:lnTo>
                    <a:lnTo>
                      <a:pt x="13867" y="42740"/>
                    </a:lnTo>
                    <a:cubicBezTo>
                      <a:pt x="13867" y="46573"/>
                      <a:pt x="10767" y="49673"/>
                      <a:pt x="6934" y="49673"/>
                    </a:cubicBezTo>
                    <a:cubicBezTo>
                      <a:pt x="3100" y="49673"/>
                      <a:pt x="0" y="46570"/>
                      <a:pt x="0" y="42740"/>
                    </a:cubicBezTo>
                    <a:lnTo>
                      <a:pt x="0" y="6934"/>
                    </a:lnTo>
                    <a:cubicBezTo>
                      <a:pt x="0" y="3100"/>
                      <a:pt x="3103" y="0"/>
                      <a:pt x="6934" y="0"/>
                    </a:cubicBezTo>
                    <a:lnTo>
                      <a:pt x="78542" y="0"/>
                    </a:lnTo>
                    <a:cubicBezTo>
                      <a:pt x="82376" y="0"/>
                      <a:pt x="85476" y="3104"/>
                      <a:pt x="85476" y="6934"/>
                    </a:cubicBezTo>
                    <a:lnTo>
                      <a:pt x="85476" y="42740"/>
                    </a:lnTo>
                    <a:cubicBezTo>
                      <a:pt x="85472" y="46573"/>
                      <a:pt x="82372" y="49673"/>
                      <a:pt x="78539" y="49673"/>
                    </a:cubicBezTo>
                    <a:close/>
                  </a:path>
                </a:pathLst>
              </a:custGeom>
              <a:grpFill/>
              <a:ln w="351" cap="flat">
                <a:noFill/>
                <a:prstDash val="solid"/>
                <a:miter/>
              </a:ln>
            </p:spPr>
            <p:txBody>
              <a:bodyPr rtlCol="0" anchor="ctr"/>
              <a:lstStyle/>
              <a:p>
                <a:endParaRPr lang="en-GB" dirty="0"/>
              </a:p>
            </p:txBody>
          </p:sp>
        </p:grpSp>
      </p:grpSp>
      <p:grpSp>
        <p:nvGrpSpPr>
          <p:cNvPr id="221" name="Group 220">
            <a:extLst>
              <a:ext uri="{FF2B5EF4-FFF2-40B4-BE49-F238E27FC236}">
                <a16:creationId xmlns:a16="http://schemas.microsoft.com/office/drawing/2014/main" id="{199C955F-AF89-1ED0-66F1-908DBC7AF959}"/>
              </a:ext>
            </a:extLst>
          </p:cNvPr>
          <p:cNvGrpSpPr/>
          <p:nvPr/>
        </p:nvGrpSpPr>
        <p:grpSpPr>
          <a:xfrm>
            <a:off x="8135492" y="4040086"/>
            <a:ext cx="414353" cy="432000"/>
            <a:chOff x="8135080" y="4040086"/>
            <a:chExt cx="414353" cy="432000"/>
          </a:xfrm>
        </p:grpSpPr>
        <p:grpSp>
          <p:nvGrpSpPr>
            <p:cNvPr id="609" name="Graphic 10">
              <a:extLst>
                <a:ext uri="{FF2B5EF4-FFF2-40B4-BE49-F238E27FC236}">
                  <a16:creationId xmlns:a16="http://schemas.microsoft.com/office/drawing/2014/main" id="{9C03A786-54B7-47BC-A6D7-A6940DE1F157}"/>
                </a:ext>
              </a:extLst>
            </p:cNvPr>
            <p:cNvGrpSpPr/>
            <p:nvPr/>
          </p:nvGrpSpPr>
          <p:grpSpPr>
            <a:xfrm>
              <a:off x="8215091" y="4145331"/>
              <a:ext cx="258769" cy="229728"/>
              <a:chOff x="2670463" y="4415187"/>
              <a:chExt cx="274055" cy="243298"/>
            </a:xfrm>
            <a:solidFill>
              <a:schemeClr val="tx2"/>
            </a:solidFill>
          </p:grpSpPr>
          <p:sp>
            <p:nvSpPr>
              <p:cNvPr id="617" name="Freihandform: Form 228">
                <a:extLst>
                  <a:ext uri="{FF2B5EF4-FFF2-40B4-BE49-F238E27FC236}">
                    <a16:creationId xmlns:a16="http://schemas.microsoft.com/office/drawing/2014/main" id="{D76664D4-C255-4B73-9B58-A391B9421A0D}"/>
                  </a:ext>
                </a:extLst>
              </p:cNvPr>
              <p:cNvSpPr/>
              <p:nvPr/>
            </p:nvSpPr>
            <p:spPr>
              <a:xfrm>
                <a:off x="2709969" y="4534907"/>
                <a:ext cx="194944" cy="123577"/>
              </a:xfrm>
              <a:custGeom>
                <a:avLst/>
                <a:gdLst>
                  <a:gd name="connsiteX0" fmla="*/ 97476 w 194944"/>
                  <a:gd name="connsiteY0" fmla="*/ 123578 h 123577"/>
                  <a:gd name="connsiteX1" fmla="*/ 94035 w 194944"/>
                  <a:gd name="connsiteY1" fmla="*/ 122665 h 123577"/>
                  <a:gd name="connsiteX2" fmla="*/ 3493 w 194944"/>
                  <a:gd name="connsiteY2" fmla="*/ 70927 h 123577"/>
                  <a:gd name="connsiteX3" fmla="*/ 0 w 194944"/>
                  <a:gd name="connsiteY3" fmla="*/ 64906 h 123577"/>
                  <a:gd name="connsiteX4" fmla="*/ 0 w 194944"/>
                  <a:gd name="connsiteY4" fmla="*/ 6934 h 123577"/>
                  <a:gd name="connsiteX5" fmla="*/ 6934 w 194944"/>
                  <a:gd name="connsiteY5" fmla="*/ 0 h 123577"/>
                  <a:gd name="connsiteX6" fmla="*/ 13867 w 194944"/>
                  <a:gd name="connsiteY6" fmla="*/ 6934 h 123577"/>
                  <a:gd name="connsiteX7" fmla="*/ 13867 w 194944"/>
                  <a:gd name="connsiteY7" fmla="*/ 60883 h 123577"/>
                  <a:gd name="connsiteX8" fmla="*/ 97476 w 194944"/>
                  <a:gd name="connsiteY8" fmla="*/ 108657 h 123577"/>
                  <a:gd name="connsiteX9" fmla="*/ 181077 w 194944"/>
                  <a:gd name="connsiteY9" fmla="*/ 60883 h 123577"/>
                  <a:gd name="connsiteX10" fmla="*/ 181077 w 194944"/>
                  <a:gd name="connsiteY10" fmla="*/ 6934 h 123577"/>
                  <a:gd name="connsiteX11" fmla="*/ 188011 w 194944"/>
                  <a:gd name="connsiteY11" fmla="*/ 0 h 123577"/>
                  <a:gd name="connsiteX12" fmla="*/ 194944 w 194944"/>
                  <a:gd name="connsiteY12" fmla="*/ 6934 h 123577"/>
                  <a:gd name="connsiteX13" fmla="*/ 194944 w 194944"/>
                  <a:gd name="connsiteY13" fmla="*/ 64906 h 123577"/>
                  <a:gd name="connsiteX14" fmla="*/ 191451 w 194944"/>
                  <a:gd name="connsiteY14" fmla="*/ 70927 h 123577"/>
                  <a:gd name="connsiteX15" fmla="*/ 100916 w 194944"/>
                  <a:gd name="connsiteY15" fmla="*/ 122665 h 123577"/>
                  <a:gd name="connsiteX16" fmla="*/ 97476 w 194944"/>
                  <a:gd name="connsiteY16" fmla="*/ 123578 h 123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944" h="123577">
                    <a:moveTo>
                      <a:pt x="97476" y="123578"/>
                    </a:moveTo>
                    <a:cubicBezTo>
                      <a:pt x="96289" y="123578"/>
                      <a:pt x="95099" y="123272"/>
                      <a:pt x="94035" y="122665"/>
                    </a:cubicBezTo>
                    <a:lnTo>
                      <a:pt x="3493" y="70927"/>
                    </a:lnTo>
                    <a:cubicBezTo>
                      <a:pt x="1334" y="69695"/>
                      <a:pt x="0" y="67392"/>
                      <a:pt x="0" y="64906"/>
                    </a:cubicBezTo>
                    <a:lnTo>
                      <a:pt x="0" y="6934"/>
                    </a:lnTo>
                    <a:cubicBezTo>
                      <a:pt x="0" y="3100"/>
                      <a:pt x="3104" y="0"/>
                      <a:pt x="6934" y="0"/>
                    </a:cubicBezTo>
                    <a:cubicBezTo>
                      <a:pt x="10767" y="0"/>
                      <a:pt x="13867" y="3100"/>
                      <a:pt x="13867" y="6934"/>
                    </a:cubicBezTo>
                    <a:lnTo>
                      <a:pt x="13867" y="60883"/>
                    </a:lnTo>
                    <a:lnTo>
                      <a:pt x="97476" y="108657"/>
                    </a:lnTo>
                    <a:lnTo>
                      <a:pt x="181077" y="60883"/>
                    </a:lnTo>
                    <a:lnTo>
                      <a:pt x="181077" y="6934"/>
                    </a:lnTo>
                    <a:cubicBezTo>
                      <a:pt x="181077" y="3100"/>
                      <a:pt x="184180" y="0"/>
                      <a:pt x="188011" y="0"/>
                    </a:cubicBezTo>
                    <a:cubicBezTo>
                      <a:pt x="191844" y="0"/>
                      <a:pt x="194944" y="3100"/>
                      <a:pt x="194944" y="6934"/>
                    </a:cubicBezTo>
                    <a:lnTo>
                      <a:pt x="194944" y="64906"/>
                    </a:lnTo>
                    <a:cubicBezTo>
                      <a:pt x="194944" y="67392"/>
                      <a:pt x="193610" y="69695"/>
                      <a:pt x="191451" y="70927"/>
                    </a:cubicBezTo>
                    <a:lnTo>
                      <a:pt x="100916" y="122665"/>
                    </a:lnTo>
                    <a:cubicBezTo>
                      <a:pt x="99852" y="123272"/>
                      <a:pt x="98659" y="123578"/>
                      <a:pt x="97476" y="123578"/>
                    </a:cubicBezTo>
                    <a:close/>
                  </a:path>
                </a:pathLst>
              </a:custGeom>
              <a:grpFill/>
              <a:ln w="351" cap="flat">
                <a:noFill/>
                <a:prstDash val="solid"/>
                <a:miter/>
              </a:ln>
            </p:spPr>
            <p:txBody>
              <a:bodyPr rtlCol="0" anchor="ctr"/>
              <a:lstStyle/>
              <a:p>
                <a:endParaRPr lang="en-GB" dirty="0"/>
              </a:p>
            </p:txBody>
          </p:sp>
          <p:sp>
            <p:nvSpPr>
              <p:cNvPr id="618" name="Freihandform: Form 229">
                <a:extLst>
                  <a:ext uri="{FF2B5EF4-FFF2-40B4-BE49-F238E27FC236}">
                    <a16:creationId xmlns:a16="http://schemas.microsoft.com/office/drawing/2014/main" id="{7EBB5ACE-CE55-4D34-ACD0-743CA07B1AD4}"/>
                  </a:ext>
                </a:extLst>
              </p:cNvPr>
              <p:cNvSpPr/>
              <p:nvPr/>
            </p:nvSpPr>
            <p:spPr>
              <a:xfrm>
                <a:off x="2709963" y="4437662"/>
                <a:ext cx="194950" cy="65612"/>
              </a:xfrm>
              <a:custGeom>
                <a:avLst/>
                <a:gdLst>
                  <a:gd name="connsiteX0" fmla="*/ 6944 w 194950"/>
                  <a:gd name="connsiteY0" fmla="*/ 65606 h 65612"/>
                  <a:gd name="connsiteX1" fmla="*/ 916 w 194950"/>
                  <a:gd name="connsiteY1" fmla="*/ 62113 h 65612"/>
                  <a:gd name="connsiteX2" fmla="*/ 3496 w 194950"/>
                  <a:gd name="connsiteY2" fmla="*/ 52651 h 65612"/>
                  <a:gd name="connsiteX3" fmla="*/ 94038 w 194950"/>
                  <a:gd name="connsiteY3" fmla="*/ 914 h 65612"/>
                  <a:gd name="connsiteX4" fmla="*/ 100919 w 194950"/>
                  <a:gd name="connsiteY4" fmla="*/ 914 h 65612"/>
                  <a:gd name="connsiteX5" fmla="*/ 191454 w 194950"/>
                  <a:gd name="connsiteY5" fmla="*/ 52651 h 65612"/>
                  <a:gd name="connsiteX6" fmla="*/ 194034 w 194950"/>
                  <a:gd name="connsiteY6" fmla="*/ 62113 h 65612"/>
                  <a:gd name="connsiteX7" fmla="*/ 184573 w 194950"/>
                  <a:gd name="connsiteY7" fmla="*/ 64693 h 65612"/>
                  <a:gd name="connsiteX8" fmla="*/ 97479 w 194950"/>
                  <a:gd name="connsiteY8" fmla="*/ 14922 h 65612"/>
                  <a:gd name="connsiteX9" fmla="*/ 10377 w 194950"/>
                  <a:gd name="connsiteY9" fmla="*/ 64693 h 65612"/>
                  <a:gd name="connsiteX10" fmla="*/ 6944 w 194950"/>
                  <a:gd name="connsiteY10" fmla="*/ 65606 h 6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94950" h="65612">
                    <a:moveTo>
                      <a:pt x="6944" y="65606"/>
                    </a:moveTo>
                    <a:cubicBezTo>
                      <a:pt x="4532" y="65606"/>
                      <a:pt x="2197" y="64353"/>
                      <a:pt x="916" y="62113"/>
                    </a:cubicBezTo>
                    <a:cubicBezTo>
                      <a:pt x="-987" y="58788"/>
                      <a:pt x="172" y="54547"/>
                      <a:pt x="3496" y="52651"/>
                    </a:cubicBezTo>
                    <a:lnTo>
                      <a:pt x="94038" y="914"/>
                    </a:lnTo>
                    <a:cubicBezTo>
                      <a:pt x="96166" y="-305"/>
                      <a:pt x="98792" y="-305"/>
                      <a:pt x="100919" y="914"/>
                    </a:cubicBezTo>
                    <a:lnTo>
                      <a:pt x="191454" y="52651"/>
                    </a:lnTo>
                    <a:cubicBezTo>
                      <a:pt x="194779" y="54554"/>
                      <a:pt x="195937" y="58788"/>
                      <a:pt x="194034" y="62113"/>
                    </a:cubicBezTo>
                    <a:cubicBezTo>
                      <a:pt x="192132" y="65438"/>
                      <a:pt x="187891" y="66603"/>
                      <a:pt x="184573" y="64693"/>
                    </a:cubicBezTo>
                    <a:lnTo>
                      <a:pt x="97479" y="14922"/>
                    </a:lnTo>
                    <a:lnTo>
                      <a:pt x="10377" y="64693"/>
                    </a:lnTo>
                    <a:cubicBezTo>
                      <a:pt x="9296" y="65314"/>
                      <a:pt x="8109" y="65606"/>
                      <a:pt x="6944" y="65606"/>
                    </a:cubicBezTo>
                    <a:close/>
                  </a:path>
                </a:pathLst>
              </a:custGeom>
              <a:grpFill/>
              <a:ln w="351" cap="flat">
                <a:noFill/>
                <a:prstDash val="solid"/>
                <a:miter/>
              </a:ln>
            </p:spPr>
            <p:txBody>
              <a:bodyPr rtlCol="0" anchor="ctr"/>
              <a:lstStyle/>
              <a:p>
                <a:endParaRPr lang="en-GB" dirty="0"/>
              </a:p>
            </p:txBody>
          </p:sp>
          <p:sp>
            <p:nvSpPr>
              <p:cNvPr id="619" name="Freihandform: Form 230">
                <a:extLst>
                  <a:ext uri="{FF2B5EF4-FFF2-40B4-BE49-F238E27FC236}">
                    <a16:creationId xmlns:a16="http://schemas.microsoft.com/office/drawing/2014/main" id="{B979984E-7ECC-48D4-8200-B56F10472537}"/>
                  </a:ext>
                </a:extLst>
              </p:cNvPr>
              <p:cNvSpPr/>
              <p:nvPr/>
            </p:nvSpPr>
            <p:spPr>
              <a:xfrm>
                <a:off x="2800505" y="4489086"/>
                <a:ext cx="104408" cy="65614"/>
              </a:xfrm>
              <a:custGeom>
                <a:avLst/>
                <a:gdLst>
                  <a:gd name="connsiteX0" fmla="*/ 6944 w 104408"/>
                  <a:gd name="connsiteY0" fmla="*/ 65614 h 65614"/>
                  <a:gd name="connsiteX1" fmla="*/ 916 w 104408"/>
                  <a:gd name="connsiteY1" fmla="*/ 62121 h 65614"/>
                  <a:gd name="connsiteX2" fmla="*/ 3496 w 104408"/>
                  <a:gd name="connsiteY2" fmla="*/ 52660 h 65614"/>
                  <a:gd name="connsiteX3" fmla="*/ 94031 w 104408"/>
                  <a:gd name="connsiteY3" fmla="*/ 922 h 65614"/>
                  <a:gd name="connsiteX4" fmla="*/ 103492 w 104408"/>
                  <a:gd name="connsiteY4" fmla="*/ 3502 h 65614"/>
                  <a:gd name="connsiteX5" fmla="*/ 100912 w 104408"/>
                  <a:gd name="connsiteY5" fmla="*/ 12964 h 65614"/>
                  <a:gd name="connsiteX6" fmla="*/ 10377 w 104408"/>
                  <a:gd name="connsiteY6" fmla="*/ 64702 h 65614"/>
                  <a:gd name="connsiteX7" fmla="*/ 6944 w 104408"/>
                  <a:gd name="connsiteY7" fmla="*/ 65614 h 65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408" h="65614">
                    <a:moveTo>
                      <a:pt x="6944" y="65614"/>
                    </a:moveTo>
                    <a:cubicBezTo>
                      <a:pt x="4532" y="65614"/>
                      <a:pt x="2197" y="64361"/>
                      <a:pt x="916" y="62121"/>
                    </a:cubicBezTo>
                    <a:cubicBezTo>
                      <a:pt x="-987" y="58797"/>
                      <a:pt x="172" y="54563"/>
                      <a:pt x="3496" y="52660"/>
                    </a:cubicBezTo>
                    <a:lnTo>
                      <a:pt x="94031" y="922"/>
                    </a:lnTo>
                    <a:cubicBezTo>
                      <a:pt x="97349" y="-995"/>
                      <a:pt x="101590" y="178"/>
                      <a:pt x="103492" y="3502"/>
                    </a:cubicBezTo>
                    <a:cubicBezTo>
                      <a:pt x="105395" y="6827"/>
                      <a:pt x="104237" y="11061"/>
                      <a:pt x="100912" y="12964"/>
                    </a:cubicBezTo>
                    <a:lnTo>
                      <a:pt x="10377" y="64702"/>
                    </a:lnTo>
                    <a:cubicBezTo>
                      <a:pt x="9296" y="65323"/>
                      <a:pt x="8109" y="65614"/>
                      <a:pt x="6944" y="65614"/>
                    </a:cubicBezTo>
                    <a:close/>
                  </a:path>
                </a:pathLst>
              </a:custGeom>
              <a:grpFill/>
              <a:ln w="351" cap="flat">
                <a:noFill/>
                <a:prstDash val="solid"/>
                <a:miter/>
              </a:ln>
            </p:spPr>
            <p:txBody>
              <a:bodyPr rtlCol="0" anchor="ctr"/>
              <a:lstStyle/>
              <a:p>
                <a:endParaRPr lang="en-GB" dirty="0"/>
              </a:p>
            </p:txBody>
          </p:sp>
          <p:sp>
            <p:nvSpPr>
              <p:cNvPr id="620" name="Freihandform: Form 231">
                <a:extLst>
                  <a:ext uri="{FF2B5EF4-FFF2-40B4-BE49-F238E27FC236}">
                    <a16:creationId xmlns:a16="http://schemas.microsoft.com/office/drawing/2014/main" id="{0CE717D7-533A-4C71-95A1-5636B7D0B76F}"/>
                  </a:ext>
                </a:extLst>
              </p:cNvPr>
              <p:cNvSpPr/>
              <p:nvPr/>
            </p:nvSpPr>
            <p:spPr>
              <a:xfrm>
                <a:off x="2800511" y="4540833"/>
                <a:ext cx="13867" cy="117346"/>
              </a:xfrm>
              <a:custGeom>
                <a:avLst/>
                <a:gdLst>
                  <a:gd name="connsiteX0" fmla="*/ 6934 w 13867"/>
                  <a:gd name="connsiteY0" fmla="*/ 117346 h 117346"/>
                  <a:gd name="connsiteX1" fmla="*/ 0 w 13867"/>
                  <a:gd name="connsiteY1" fmla="*/ 110413 h 117346"/>
                  <a:gd name="connsiteX2" fmla="*/ 0 w 13867"/>
                  <a:gd name="connsiteY2" fmla="*/ 6934 h 117346"/>
                  <a:gd name="connsiteX3" fmla="*/ 6934 w 13867"/>
                  <a:gd name="connsiteY3" fmla="*/ 0 h 117346"/>
                  <a:gd name="connsiteX4" fmla="*/ 13867 w 13867"/>
                  <a:gd name="connsiteY4" fmla="*/ 6934 h 117346"/>
                  <a:gd name="connsiteX5" fmla="*/ 13867 w 13867"/>
                  <a:gd name="connsiteY5" fmla="*/ 110413 h 117346"/>
                  <a:gd name="connsiteX6" fmla="*/ 6934 w 13867"/>
                  <a:gd name="connsiteY6" fmla="*/ 117346 h 11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7" h="117346">
                    <a:moveTo>
                      <a:pt x="6934" y="117346"/>
                    </a:moveTo>
                    <a:cubicBezTo>
                      <a:pt x="3100" y="117346"/>
                      <a:pt x="0" y="114243"/>
                      <a:pt x="0" y="110413"/>
                    </a:cubicBezTo>
                    <a:lnTo>
                      <a:pt x="0" y="6934"/>
                    </a:lnTo>
                    <a:cubicBezTo>
                      <a:pt x="0" y="3100"/>
                      <a:pt x="3100" y="0"/>
                      <a:pt x="6934" y="0"/>
                    </a:cubicBezTo>
                    <a:cubicBezTo>
                      <a:pt x="10767" y="0"/>
                      <a:pt x="13867" y="3103"/>
                      <a:pt x="13867" y="6934"/>
                    </a:cubicBezTo>
                    <a:lnTo>
                      <a:pt x="13867" y="110413"/>
                    </a:lnTo>
                    <a:cubicBezTo>
                      <a:pt x="13867" y="114243"/>
                      <a:pt x="10764" y="117346"/>
                      <a:pt x="6934" y="117346"/>
                    </a:cubicBezTo>
                    <a:close/>
                  </a:path>
                </a:pathLst>
              </a:custGeom>
              <a:grpFill/>
              <a:ln w="351" cap="flat">
                <a:noFill/>
                <a:prstDash val="solid"/>
                <a:miter/>
              </a:ln>
            </p:spPr>
            <p:txBody>
              <a:bodyPr rtlCol="0" anchor="ctr"/>
              <a:lstStyle/>
              <a:p>
                <a:endParaRPr lang="en-GB" dirty="0"/>
              </a:p>
            </p:txBody>
          </p:sp>
          <p:sp>
            <p:nvSpPr>
              <p:cNvPr id="621" name="Freihandform: Form 232">
                <a:extLst>
                  <a:ext uri="{FF2B5EF4-FFF2-40B4-BE49-F238E27FC236}">
                    <a16:creationId xmlns:a16="http://schemas.microsoft.com/office/drawing/2014/main" id="{1BD963EF-315A-4F05-AF5B-AE0F2907C316}"/>
                  </a:ext>
                </a:extLst>
              </p:cNvPr>
              <p:cNvSpPr/>
              <p:nvPr/>
            </p:nvSpPr>
            <p:spPr>
              <a:xfrm>
                <a:off x="2670463" y="4489368"/>
                <a:ext cx="143918" cy="87951"/>
              </a:xfrm>
              <a:custGeom>
                <a:avLst/>
                <a:gdLst>
                  <a:gd name="connsiteX0" fmla="*/ 97395 w 143918"/>
                  <a:gd name="connsiteY0" fmla="*/ 87952 h 87951"/>
                  <a:gd name="connsiteX1" fmla="*/ 93961 w 143918"/>
                  <a:gd name="connsiteY1" fmla="*/ 87046 h 87951"/>
                  <a:gd name="connsiteX2" fmla="*/ 3500 w 143918"/>
                  <a:gd name="connsiteY2" fmla="*/ 35459 h 87951"/>
                  <a:gd name="connsiteX3" fmla="*/ 0 w 143918"/>
                  <a:gd name="connsiteY3" fmla="*/ 29424 h 87951"/>
                  <a:gd name="connsiteX4" fmla="*/ 3507 w 143918"/>
                  <a:gd name="connsiteY4" fmla="*/ 23403 h 87951"/>
                  <a:gd name="connsiteX5" fmla="*/ 43101 w 143918"/>
                  <a:gd name="connsiteY5" fmla="*/ 903 h 87951"/>
                  <a:gd name="connsiteX6" fmla="*/ 49954 w 143918"/>
                  <a:gd name="connsiteY6" fmla="*/ 903 h 87951"/>
                  <a:gd name="connsiteX7" fmla="*/ 140408 w 143918"/>
                  <a:gd name="connsiteY7" fmla="*/ 52367 h 87951"/>
                  <a:gd name="connsiteX8" fmla="*/ 143010 w 143918"/>
                  <a:gd name="connsiteY8" fmla="*/ 61821 h 87951"/>
                  <a:gd name="connsiteX9" fmla="*/ 140212 w 143918"/>
                  <a:gd name="connsiteY9" fmla="*/ 64532 h 87951"/>
                  <a:gd name="connsiteX10" fmla="*/ 100835 w 143918"/>
                  <a:gd name="connsiteY10" fmla="*/ 87036 h 87951"/>
                  <a:gd name="connsiteX11" fmla="*/ 97395 w 143918"/>
                  <a:gd name="connsiteY11" fmla="*/ 87952 h 87951"/>
                  <a:gd name="connsiteX12" fmla="*/ 20952 w 143918"/>
                  <a:gd name="connsiteY12" fmla="*/ 29445 h 87951"/>
                  <a:gd name="connsiteX13" fmla="*/ 97388 w 143918"/>
                  <a:gd name="connsiteY13" fmla="*/ 73035 h 87951"/>
                  <a:gd name="connsiteX14" fmla="*/ 122974 w 143918"/>
                  <a:gd name="connsiteY14" fmla="*/ 58412 h 87951"/>
                  <a:gd name="connsiteX15" fmla="*/ 46524 w 143918"/>
                  <a:gd name="connsiteY15" fmla="*/ 14911 h 87951"/>
                  <a:gd name="connsiteX16" fmla="*/ 20952 w 143918"/>
                  <a:gd name="connsiteY16" fmla="*/ 29445 h 87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918" h="87951">
                    <a:moveTo>
                      <a:pt x="97395" y="87952"/>
                    </a:moveTo>
                    <a:cubicBezTo>
                      <a:pt x="96208" y="87952"/>
                      <a:pt x="95025" y="87646"/>
                      <a:pt x="93961" y="87046"/>
                    </a:cubicBezTo>
                    <a:lnTo>
                      <a:pt x="3500" y="35459"/>
                    </a:lnTo>
                    <a:cubicBezTo>
                      <a:pt x="1334" y="34220"/>
                      <a:pt x="0" y="31917"/>
                      <a:pt x="0" y="29424"/>
                    </a:cubicBezTo>
                    <a:cubicBezTo>
                      <a:pt x="0" y="26932"/>
                      <a:pt x="1341" y="24636"/>
                      <a:pt x="3507" y="23403"/>
                    </a:cubicBezTo>
                    <a:lnTo>
                      <a:pt x="43101" y="903"/>
                    </a:lnTo>
                    <a:cubicBezTo>
                      <a:pt x="45229" y="-301"/>
                      <a:pt x="47827" y="-301"/>
                      <a:pt x="49954" y="903"/>
                    </a:cubicBezTo>
                    <a:lnTo>
                      <a:pt x="140408" y="52367"/>
                    </a:lnTo>
                    <a:cubicBezTo>
                      <a:pt x="143740" y="54263"/>
                      <a:pt x="144906" y="58497"/>
                      <a:pt x="143010" y="61821"/>
                    </a:cubicBezTo>
                    <a:cubicBezTo>
                      <a:pt x="142332" y="63022"/>
                      <a:pt x="141342" y="63935"/>
                      <a:pt x="140212" y="64532"/>
                    </a:cubicBezTo>
                    <a:lnTo>
                      <a:pt x="100835" y="87036"/>
                    </a:lnTo>
                    <a:cubicBezTo>
                      <a:pt x="99772" y="87650"/>
                      <a:pt x="98578" y="87952"/>
                      <a:pt x="97395" y="87952"/>
                    </a:cubicBezTo>
                    <a:close/>
                    <a:moveTo>
                      <a:pt x="20952" y="29445"/>
                    </a:moveTo>
                    <a:lnTo>
                      <a:pt x="97388" y="73035"/>
                    </a:lnTo>
                    <a:lnTo>
                      <a:pt x="122974" y="58412"/>
                    </a:lnTo>
                    <a:lnTo>
                      <a:pt x="46524" y="14911"/>
                    </a:lnTo>
                    <a:lnTo>
                      <a:pt x="20952" y="29445"/>
                    </a:lnTo>
                    <a:close/>
                  </a:path>
                </a:pathLst>
              </a:custGeom>
              <a:grpFill/>
              <a:ln w="351" cap="flat">
                <a:noFill/>
                <a:prstDash val="solid"/>
                <a:miter/>
              </a:ln>
            </p:spPr>
            <p:txBody>
              <a:bodyPr rtlCol="0" anchor="ctr"/>
              <a:lstStyle/>
              <a:p>
                <a:endParaRPr lang="en-GB" dirty="0"/>
              </a:p>
            </p:txBody>
          </p:sp>
          <p:sp>
            <p:nvSpPr>
              <p:cNvPr id="622" name="Freihandform: Form 233">
                <a:extLst>
                  <a:ext uri="{FF2B5EF4-FFF2-40B4-BE49-F238E27FC236}">
                    <a16:creationId xmlns:a16="http://schemas.microsoft.com/office/drawing/2014/main" id="{1FF44BDD-C8BB-4AA7-8097-E06AA92B8228}"/>
                  </a:ext>
                </a:extLst>
              </p:cNvPr>
              <p:cNvSpPr/>
              <p:nvPr/>
            </p:nvSpPr>
            <p:spPr>
              <a:xfrm>
                <a:off x="2800585" y="4415187"/>
                <a:ext cx="143908" cy="87948"/>
              </a:xfrm>
              <a:custGeom>
                <a:avLst/>
                <a:gdLst>
                  <a:gd name="connsiteX0" fmla="*/ 97388 w 143908"/>
                  <a:gd name="connsiteY0" fmla="*/ 87948 h 87948"/>
                  <a:gd name="connsiteX1" fmla="*/ 93954 w 143908"/>
                  <a:gd name="connsiteY1" fmla="*/ 87036 h 87948"/>
                  <a:gd name="connsiteX2" fmla="*/ 71015 w 143908"/>
                  <a:gd name="connsiteY2" fmla="*/ 73951 h 87948"/>
                  <a:gd name="connsiteX3" fmla="*/ 71015 w 143908"/>
                  <a:gd name="connsiteY3" fmla="*/ 73958 h 87948"/>
                  <a:gd name="connsiteX4" fmla="*/ 3500 w 143908"/>
                  <a:gd name="connsiteY4" fmla="*/ 35456 h 87948"/>
                  <a:gd name="connsiteX5" fmla="*/ 0 w 143908"/>
                  <a:gd name="connsiteY5" fmla="*/ 29421 h 87948"/>
                  <a:gd name="connsiteX6" fmla="*/ 3507 w 143908"/>
                  <a:gd name="connsiteY6" fmla="*/ 23400 h 87948"/>
                  <a:gd name="connsiteX7" fmla="*/ 43094 w 143908"/>
                  <a:gd name="connsiteY7" fmla="*/ 903 h 87948"/>
                  <a:gd name="connsiteX8" fmla="*/ 49947 w 143908"/>
                  <a:gd name="connsiteY8" fmla="*/ 903 h 87948"/>
                  <a:gd name="connsiteX9" fmla="*/ 140401 w 143908"/>
                  <a:gd name="connsiteY9" fmla="*/ 52374 h 87948"/>
                  <a:gd name="connsiteX10" fmla="*/ 143908 w 143908"/>
                  <a:gd name="connsiteY10" fmla="*/ 58395 h 87948"/>
                  <a:gd name="connsiteX11" fmla="*/ 140415 w 143908"/>
                  <a:gd name="connsiteY11" fmla="*/ 64423 h 87948"/>
                  <a:gd name="connsiteX12" fmla="*/ 100828 w 143908"/>
                  <a:gd name="connsiteY12" fmla="*/ 87036 h 87948"/>
                  <a:gd name="connsiteX13" fmla="*/ 97388 w 143908"/>
                  <a:gd name="connsiteY13" fmla="*/ 87948 h 87948"/>
                  <a:gd name="connsiteX14" fmla="*/ 20952 w 143908"/>
                  <a:gd name="connsiteY14" fmla="*/ 29438 h 87948"/>
                  <a:gd name="connsiteX15" fmla="*/ 77882 w 143908"/>
                  <a:gd name="connsiteY15" fmla="*/ 61899 h 87948"/>
                  <a:gd name="connsiteX16" fmla="*/ 77882 w 143908"/>
                  <a:gd name="connsiteY16" fmla="*/ 61906 h 87948"/>
                  <a:gd name="connsiteX17" fmla="*/ 97388 w 143908"/>
                  <a:gd name="connsiteY17" fmla="*/ 73028 h 87948"/>
                  <a:gd name="connsiteX18" fmla="*/ 122974 w 143908"/>
                  <a:gd name="connsiteY18" fmla="*/ 58412 h 87948"/>
                  <a:gd name="connsiteX19" fmla="*/ 46517 w 143908"/>
                  <a:gd name="connsiteY19" fmla="*/ 14904 h 87948"/>
                  <a:gd name="connsiteX20" fmla="*/ 20952 w 143908"/>
                  <a:gd name="connsiteY20" fmla="*/ 29438 h 8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43908" h="87948">
                    <a:moveTo>
                      <a:pt x="97388" y="87948"/>
                    </a:moveTo>
                    <a:cubicBezTo>
                      <a:pt x="96201" y="87948"/>
                      <a:pt x="95018" y="87643"/>
                      <a:pt x="93954" y="87036"/>
                    </a:cubicBezTo>
                    <a:lnTo>
                      <a:pt x="71015" y="73951"/>
                    </a:lnTo>
                    <a:lnTo>
                      <a:pt x="71015" y="73958"/>
                    </a:lnTo>
                    <a:lnTo>
                      <a:pt x="3500" y="35456"/>
                    </a:lnTo>
                    <a:cubicBezTo>
                      <a:pt x="1334" y="34216"/>
                      <a:pt x="0" y="31913"/>
                      <a:pt x="0" y="29421"/>
                    </a:cubicBezTo>
                    <a:cubicBezTo>
                      <a:pt x="0" y="26928"/>
                      <a:pt x="1341" y="24632"/>
                      <a:pt x="3507" y="23400"/>
                    </a:cubicBezTo>
                    <a:lnTo>
                      <a:pt x="43094" y="903"/>
                    </a:lnTo>
                    <a:cubicBezTo>
                      <a:pt x="45222" y="-301"/>
                      <a:pt x="47820" y="-301"/>
                      <a:pt x="49947" y="903"/>
                    </a:cubicBezTo>
                    <a:lnTo>
                      <a:pt x="140401" y="52374"/>
                    </a:lnTo>
                    <a:cubicBezTo>
                      <a:pt x="142567" y="53606"/>
                      <a:pt x="143908" y="55902"/>
                      <a:pt x="143908" y="58395"/>
                    </a:cubicBezTo>
                    <a:cubicBezTo>
                      <a:pt x="143908" y="60887"/>
                      <a:pt x="142574" y="63191"/>
                      <a:pt x="140415" y="64423"/>
                    </a:cubicBezTo>
                    <a:lnTo>
                      <a:pt x="100828" y="87036"/>
                    </a:lnTo>
                    <a:cubicBezTo>
                      <a:pt x="99765" y="87643"/>
                      <a:pt x="98574" y="87948"/>
                      <a:pt x="97388" y="87948"/>
                    </a:cubicBezTo>
                    <a:close/>
                    <a:moveTo>
                      <a:pt x="20952" y="29438"/>
                    </a:moveTo>
                    <a:lnTo>
                      <a:pt x="77882" y="61899"/>
                    </a:lnTo>
                    <a:lnTo>
                      <a:pt x="77882" y="61906"/>
                    </a:lnTo>
                    <a:lnTo>
                      <a:pt x="97388" y="73028"/>
                    </a:lnTo>
                    <a:lnTo>
                      <a:pt x="122974" y="58412"/>
                    </a:lnTo>
                    <a:lnTo>
                      <a:pt x="46517" y="14904"/>
                    </a:lnTo>
                    <a:lnTo>
                      <a:pt x="20952" y="29438"/>
                    </a:lnTo>
                    <a:close/>
                  </a:path>
                </a:pathLst>
              </a:custGeom>
              <a:grpFill/>
              <a:ln w="351" cap="flat">
                <a:noFill/>
                <a:prstDash val="solid"/>
                <a:miter/>
              </a:ln>
            </p:spPr>
            <p:txBody>
              <a:bodyPr rtlCol="0" anchor="ctr"/>
              <a:lstStyle/>
              <a:p>
                <a:endParaRPr lang="en-GB" dirty="0"/>
              </a:p>
            </p:txBody>
          </p:sp>
          <p:sp>
            <p:nvSpPr>
              <p:cNvPr id="623" name="Freihandform: Form 234">
                <a:extLst>
                  <a:ext uri="{FF2B5EF4-FFF2-40B4-BE49-F238E27FC236}">
                    <a16:creationId xmlns:a16="http://schemas.microsoft.com/office/drawing/2014/main" id="{39536F03-CE40-4CD0-B1C9-C3194A20E77C}"/>
                  </a:ext>
                </a:extLst>
              </p:cNvPr>
              <p:cNvSpPr/>
              <p:nvPr/>
            </p:nvSpPr>
            <p:spPr>
              <a:xfrm>
                <a:off x="2800610" y="4489407"/>
                <a:ext cx="143908" cy="87948"/>
              </a:xfrm>
              <a:custGeom>
                <a:avLst/>
                <a:gdLst>
                  <a:gd name="connsiteX0" fmla="*/ 46514 w 143908"/>
                  <a:gd name="connsiteY0" fmla="*/ 87948 h 87948"/>
                  <a:gd name="connsiteX1" fmla="*/ 43073 w 143908"/>
                  <a:gd name="connsiteY1" fmla="*/ 87036 h 87948"/>
                  <a:gd name="connsiteX2" fmla="*/ 3493 w 143908"/>
                  <a:gd name="connsiteY2" fmla="*/ 64416 h 87948"/>
                  <a:gd name="connsiteX3" fmla="*/ 0 w 143908"/>
                  <a:gd name="connsiteY3" fmla="*/ 58388 h 87948"/>
                  <a:gd name="connsiteX4" fmla="*/ 3507 w 143908"/>
                  <a:gd name="connsiteY4" fmla="*/ 52367 h 87948"/>
                  <a:gd name="connsiteX5" fmla="*/ 93954 w 143908"/>
                  <a:gd name="connsiteY5" fmla="*/ 903 h 87948"/>
                  <a:gd name="connsiteX6" fmla="*/ 100807 w 143908"/>
                  <a:gd name="connsiteY6" fmla="*/ 903 h 87948"/>
                  <a:gd name="connsiteX7" fmla="*/ 140401 w 143908"/>
                  <a:gd name="connsiteY7" fmla="*/ 23404 h 87948"/>
                  <a:gd name="connsiteX8" fmla="*/ 143909 w 143908"/>
                  <a:gd name="connsiteY8" fmla="*/ 29424 h 87948"/>
                  <a:gd name="connsiteX9" fmla="*/ 140408 w 143908"/>
                  <a:gd name="connsiteY9" fmla="*/ 35459 h 87948"/>
                  <a:gd name="connsiteX10" fmla="*/ 49947 w 143908"/>
                  <a:gd name="connsiteY10" fmla="*/ 87046 h 87948"/>
                  <a:gd name="connsiteX11" fmla="*/ 46514 w 143908"/>
                  <a:gd name="connsiteY11" fmla="*/ 87948 h 87948"/>
                  <a:gd name="connsiteX12" fmla="*/ 20934 w 143908"/>
                  <a:gd name="connsiteY12" fmla="*/ 58405 h 87948"/>
                  <a:gd name="connsiteX13" fmla="*/ 46521 w 143908"/>
                  <a:gd name="connsiteY13" fmla="*/ 73028 h 87948"/>
                  <a:gd name="connsiteX14" fmla="*/ 122956 w 143908"/>
                  <a:gd name="connsiteY14" fmla="*/ 29438 h 87948"/>
                  <a:gd name="connsiteX15" fmla="*/ 97384 w 143908"/>
                  <a:gd name="connsiteY15" fmla="*/ 14904 h 87948"/>
                  <a:gd name="connsiteX16" fmla="*/ 20934 w 143908"/>
                  <a:gd name="connsiteY16" fmla="*/ 58405 h 8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908" h="87948">
                    <a:moveTo>
                      <a:pt x="46514" y="87948"/>
                    </a:moveTo>
                    <a:cubicBezTo>
                      <a:pt x="45327" y="87948"/>
                      <a:pt x="44137" y="87643"/>
                      <a:pt x="43073" y="87036"/>
                    </a:cubicBezTo>
                    <a:lnTo>
                      <a:pt x="3493" y="64416"/>
                    </a:lnTo>
                    <a:cubicBezTo>
                      <a:pt x="1334" y="63184"/>
                      <a:pt x="0" y="60881"/>
                      <a:pt x="0" y="58388"/>
                    </a:cubicBezTo>
                    <a:cubicBezTo>
                      <a:pt x="0" y="55895"/>
                      <a:pt x="1341" y="53599"/>
                      <a:pt x="3507" y="52367"/>
                    </a:cubicBezTo>
                    <a:lnTo>
                      <a:pt x="93954" y="903"/>
                    </a:lnTo>
                    <a:cubicBezTo>
                      <a:pt x="96082" y="-301"/>
                      <a:pt x="98683" y="-301"/>
                      <a:pt x="100807" y="903"/>
                    </a:cubicBezTo>
                    <a:lnTo>
                      <a:pt x="140401" y="23404"/>
                    </a:lnTo>
                    <a:cubicBezTo>
                      <a:pt x="142567" y="24636"/>
                      <a:pt x="143909" y="26932"/>
                      <a:pt x="143909" y="29424"/>
                    </a:cubicBezTo>
                    <a:cubicBezTo>
                      <a:pt x="143909" y="31917"/>
                      <a:pt x="142574" y="34220"/>
                      <a:pt x="140408" y="35459"/>
                    </a:cubicBezTo>
                    <a:lnTo>
                      <a:pt x="49947" y="87046"/>
                    </a:lnTo>
                    <a:cubicBezTo>
                      <a:pt x="48883" y="87643"/>
                      <a:pt x="47700" y="87948"/>
                      <a:pt x="46514" y="87948"/>
                    </a:cubicBezTo>
                    <a:close/>
                    <a:moveTo>
                      <a:pt x="20934" y="58405"/>
                    </a:moveTo>
                    <a:lnTo>
                      <a:pt x="46521" y="73028"/>
                    </a:lnTo>
                    <a:lnTo>
                      <a:pt x="122956" y="29438"/>
                    </a:lnTo>
                    <a:lnTo>
                      <a:pt x="97384" y="14904"/>
                    </a:lnTo>
                    <a:lnTo>
                      <a:pt x="20934" y="58405"/>
                    </a:lnTo>
                    <a:close/>
                  </a:path>
                </a:pathLst>
              </a:custGeom>
              <a:grpFill/>
              <a:ln w="351" cap="flat">
                <a:noFill/>
                <a:prstDash val="solid"/>
                <a:miter/>
              </a:ln>
            </p:spPr>
            <p:txBody>
              <a:bodyPr rtlCol="0" anchor="ctr"/>
              <a:lstStyle/>
              <a:p>
                <a:endParaRPr lang="en-GB" dirty="0"/>
              </a:p>
            </p:txBody>
          </p:sp>
          <p:sp>
            <p:nvSpPr>
              <p:cNvPr id="624" name="Freihandform: Form 235">
                <a:extLst>
                  <a:ext uri="{FF2B5EF4-FFF2-40B4-BE49-F238E27FC236}">
                    <a16:creationId xmlns:a16="http://schemas.microsoft.com/office/drawing/2014/main" id="{99206074-688A-4433-93B1-0D506323B5B7}"/>
                  </a:ext>
                </a:extLst>
              </p:cNvPr>
              <p:cNvSpPr/>
              <p:nvPr/>
            </p:nvSpPr>
            <p:spPr>
              <a:xfrm>
                <a:off x="2670481" y="4415288"/>
                <a:ext cx="143908" cy="87948"/>
              </a:xfrm>
              <a:custGeom>
                <a:avLst/>
                <a:gdLst>
                  <a:gd name="connsiteX0" fmla="*/ 46514 w 143908"/>
                  <a:gd name="connsiteY0" fmla="*/ 87948 h 87948"/>
                  <a:gd name="connsiteX1" fmla="*/ 43073 w 143908"/>
                  <a:gd name="connsiteY1" fmla="*/ 87036 h 87948"/>
                  <a:gd name="connsiteX2" fmla="*/ 3493 w 143908"/>
                  <a:gd name="connsiteY2" fmla="*/ 64416 h 87948"/>
                  <a:gd name="connsiteX3" fmla="*/ 0 w 143908"/>
                  <a:gd name="connsiteY3" fmla="*/ 58388 h 87948"/>
                  <a:gd name="connsiteX4" fmla="*/ 3507 w 143908"/>
                  <a:gd name="connsiteY4" fmla="*/ 52367 h 87948"/>
                  <a:gd name="connsiteX5" fmla="*/ 93954 w 143908"/>
                  <a:gd name="connsiteY5" fmla="*/ 903 h 87948"/>
                  <a:gd name="connsiteX6" fmla="*/ 100807 w 143908"/>
                  <a:gd name="connsiteY6" fmla="*/ 903 h 87948"/>
                  <a:gd name="connsiteX7" fmla="*/ 140401 w 143908"/>
                  <a:gd name="connsiteY7" fmla="*/ 23403 h 87948"/>
                  <a:gd name="connsiteX8" fmla="*/ 143909 w 143908"/>
                  <a:gd name="connsiteY8" fmla="*/ 29424 h 87948"/>
                  <a:gd name="connsiteX9" fmla="*/ 140408 w 143908"/>
                  <a:gd name="connsiteY9" fmla="*/ 35459 h 87948"/>
                  <a:gd name="connsiteX10" fmla="*/ 49947 w 143908"/>
                  <a:gd name="connsiteY10" fmla="*/ 87046 h 87948"/>
                  <a:gd name="connsiteX11" fmla="*/ 46514 w 143908"/>
                  <a:gd name="connsiteY11" fmla="*/ 87948 h 87948"/>
                  <a:gd name="connsiteX12" fmla="*/ 20935 w 143908"/>
                  <a:gd name="connsiteY12" fmla="*/ 58406 h 87948"/>
                  <a:gd name="connsiteX13" fmla="*/ 46521 w 143908"/>
                  <a:gd name="connsiteY13" fmla="*/ 73028 h 87948"/>
                  <a:gd name="connsiteX14" fmla="*/ 122956 w 143908"/>
                  <a:gd name="connsiteY14" fmla="*/ 29439 h 87948"/>
                  <a:gd name="connsiteX15" fmla="*/ 97384 w 143908"/>
                  <a:gd name="connsiteY15" fmla="*/ 14904 h 87948"/>
                  <a:gd name="connsiteX16" fmla="*/ 20935 w 143908"/>
                  <a:gd name="connsiteY16" fmla="*/ 58406 h 87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3908" h="87948">
                    <a:moveTo>
                      <a:pt x="46514" y="87948"/>
                    </a:moveTo>
                    <a:cubicBezTo>
                      <a:pt x="45327" y="87948"/>
                      <a:pt x="44137" y="87643"/>
                      <a:pt x="43073" y="87036"/>
                    </a:cubicBezTo>
                    <a:lnTo>
                      <a:pt x="3493" y="64416"/>
                    </a:lnTo>
                    <a:cubicBezTo>
                      <a:pt x="1334" y="63184"/>
                      <a:pt x="0" y="60881"/>
                      <a:pt x="0" y="58388"/>
                    </a:cubicBezTo>
                    <a:cubicBezTo>
                      <a:pt x="0" y="55895"/>
                      <a:pt x="1341" y="53599"/>
                      <a:pt x="3507" y="52367"/>
                    </a:cubicBezTo>
                    <a:lnTo>
                      <a:pt x="93954" y="903"/>
                    </a:lnTo>
                    <a:cubicBezTo>
                      <a:pt x="96082" y="-301"/>
                      <a:pt x="98683" y="-301"/>
                      <a:pt x="100807" y="903"/>
                    </a:cubicBezTo>
                    <a:lnTo>
                      <a:pt x="140401" y="23403"/>
                    </a:lnTo>
                    <a:cubicBezTo>
                      <a:pt x="142568" y="24636"/>
                      <a:pt x="143909" y="26932"/>
                      <a:pt x="143909" y="29424"/>
                    </a:cubicBezTo>
                    <a:cubicBezTo>
                      <a:pt x="143909" y="31917"/>
                      <a:pt x="142575" y="34220"/>
                      <a:pt x="140408" y="35459"/>
                    </a:cubicBezTo>
                    <a:lnTo>
                      <a:pt x="49947" y="87046"/>
                    </a:lnTo>
                    <a:cubicBezTo>
                      <a:pt x="48884" y="87643"/>
                      <a:pt x="47700" y="87948"/>
                      <a:pt x="46514" y="87948"/>
                    </a:cubicBezTo>
                    <a:close/>
                    <a:moveTo>
                      <a:pt x="20935" y="58406"/>
                    </a:moveTo>
                    <a:lnTo>
                      <a:pt x="46521" y="73028"/>
                    </a:lnTo>
                    <a:lnTo>
                      <a:pt x="122956" y="29439"/>
                    </a:lnTo>
                    <a:lnTo>
                      <a:pt x="97384" y="14904"/>
                    </a:lnTo>
                    <a:lnTo>
                      <a:pt x="20935" y="58406"/>
                    </a:lnTo>
                    <a:close/>
                  </a:path>
                </a:pathLst>
              </a:custGeom>
              <a:grpFill/>
              <a:ln w="351" cap="flat">
                <a:noFill/>
                <a:prstDash val="solid"/>
                <a:miter/>
              </a:ln>
            </p:spPr>
            <p:txBody>
              <a:bodyPr rtlCol="0" anchor="ctr"/>
              <a:lstStyle/>
              <a:p>
                <a:endParaRPr lang="en-GB" dirty="0"/>
              </a:p>
            </p:txBody>
          </p:sp>
        </p:grpSp>
        <p:grpSp>
          <p:nvGrpSpPr>
            <p:cNvPr id="610" name="Graphic 10">
              <a:extLst>
                <a:ext uri="{FF2B5EF4-FFF2-40B4-BE49-F238E27FC236}">
                  <a16:creationId xmlns:a16="http://schemas.microsoft.com/office/drawing/2014/main" id="{9FA52BCA-0748-4040-8ED2-F55F58EA674C}"/>
                </a:ext>
              </a:extLst>
            </p:cNvPr>
            <p:cNvGrpSpPr/>
            <p:nvPr/>
          </p:nvGrpSpPr>
          <p:grpSpPr>
            <a:xfrm>
              <a:off x="8135080" y="4040086"/>
              <a:ext cx="414353" cy="432000"/>
              <a:chOff x="2585726" y="4303725"/>
              <a:chExt cx="438830" cy="457519"/>
            </a:xfrm>
            <a:solidFill>
              <a:schemeClr val="accent1"/>
            </a:solidFill>
          </p:grpSpPr>
          <p:sp>
            <p:nvSpPr>
              <p:cNvPr id="611" name="Freihandform: Form 237">
                <a:extLst>
                  <a:ext uri="{FF2B5EF4-FFF2-40B4-BE49-F238E27FC236}">
                    <a16:creationId xmlns:a16="http://schemas.microsoft.com/office/drawing/2014/main" id="{B32D771B-51CA-47AB-BF64-EA2726ACBCC8}"/>
                  </a:ext>
                </a:extLst>
              </p:cNvPr>
              <p:cNvSpPr/>
              <p:nvPr/>
            </p:nvSpPr>
            <p:spPr>
              <a:xfrm>
                <a:off x="2649054" y="4303725"/>
                <a:ext cx="311378" cy="77994"/>
              </a:xfrm>
              <a:custGeom>
                <a:avLst/>
                <a:gdLst>
                  <a:gd name="connsiteX0" fmla="*/ 6934 w 311378"/>
                  <a:gd name="connsiteY0" fmla="*/ 77995 h 77994"/>
                  <a:gd name="connsiteX1" fmla="*/ 2110 w 311378"/>
                  <a:gd name="connsiteY1" fmla="*/ 76043 h 77994"/>
                  <a:gd name="connsiteX2" fmla="*/ 1949 w 311378"/>
                  <a:gd name="connsiteY2" fmla="*/ 66237 h 77994"/>
                  <a:gd name="connsiteX3" fmla="*/ 158159 w 311378"/>
                  <a:gd name="connsiteY3" fmla="*/ 0 h 77994"/>
                  <a:gd name="connsiteX4" fmla="*/ 309268 w 311378"/>
                  <a:gd name="connsiteY4" fmla="*/ 61129 h 77994"/>
                  <a:gd name="connsiteX5" fmla="*/ 309430 w 311378"/>
                  <a:gd name="connsiteY5" fmla="*/ 70935 h 77994"/>
                  <a:gd name="connsiteX6" fmla="*/ 299624 w 311378"/>
                  <a:gd name="connsiteY6" fmla="*/ 71096 h 77994"/>
                  <a:gd name="connsiteX7" fmla="*/ 158159 w 311378"/>
                  <a:gd name="connsiteY7" fmla="*/ 13867 h 77994"/>
                  <a:gd name="connsiteX8" fmla="*/ 11919 w 311378"/>
                  <a:gd name="connsiteY8" fmla="*/ 75878 h 77994"/>
                  <a:gd name="connsiteX9" fmla="*/ 6934 w 311378"/>
                  <a:gd name="connsiteY9" fmla="*/ 77995 h 77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1378" h="77994">
                    <a:moveTo>
                      <a:pt x="6934" y="77995"/>
                    </a:moveTo>
                    <a:cubicBezTo>
                      <a:pt x="5193" y="77995"/>
                      <a:pt x="3459" y="77345"/>
                      <a:pt x="2110" y="76043"/>
                    </a:cubicBezTo>
                    <a:cubicBezTo>
                      <a:pt x="-638" y="73381"/>
                      <a:pt x="-712" y="68986"/>
                      <a:pt x="1949" y="66237"/>
                    </a:cubicBezTo>
                    <a:cubicBezTo>
                      <a:pt x="43274" y="23522"/>
                      <a:pt x="98751" y="0"/>
                      <a:pt x="158159" y="0"/>
                    </a:cubicBezTo>
                    <a:cubicBezTo>
                      <a:pt x="214865" y="0"/>
                      <a:pt x="268533" y="21714"/>
                      <a:pt x="309268" y="61129"/>
                    </a:cubicBezTo>
                    <a:cubicBezTo>
                      <a:pt x="312017" y="63790"/>
                      <a:pt x="312091" y="68186"/>
                      <a:pt x="309430" y="70935"/>
                    </a:cubicBezTo>
                    <a:cubicBezTo>
                      <a:pt x="306769" y="73697"/>
                      <a:pt x="302380" y="73754"/>
                      <a:pt x="299624" y="71096"/>
                    </a:cubicBezTo>
                    <a:cubicBezTo>
                      <a:pt x="261487" y="34191"/>
                      <a:pt x="211241" y="13867"/>
                      <a:pt x="158159" y="13867"/>
                    </a:cubicBezTo>
                    <a:cubicBezTo>
                      <a:pt x="102542" y="13867"/>
                      <a:pt x="50604" y="35890"/>
                      <a:pt x="11919" y="75878"/>
                    </a:cubicBezTo>
                    <a:cubicBezTo>
                      <a:pt x="10557" y="77292"/>
                      <a:pt x="8749" y="77995"/>
                      <a:pt x="6934" y="77995"/>
                    </a:cubicBezTo>
                    <a:close/>
                  </a:path>
                </a:pathLst>
              </a:custGeom>
              <a:solidFill>
                <a:schemeClr val="accent1"/>
              </a:solidFill>
              <a:ln w="351" cap="flat">
                <a:noFill/>
                <a:prstDash val="solid"/>
                <a:miter/>
              </a:ln>
            </p:spPr>
            <p:txBody>
              <a:bodyPr rtlCol="0" anchor="ctr"/>
              <a:lstStyle/>
              <a:p>
                <a:endParaRPr lang="en-GB" dirty="0"/>
              </a:p>
            </p:txBody>
          </p:sp>
          <p:sp>
            <p:nvSpPr>
              <p:cNvPr id="612" name="Freihandform: Form 238">
                <a:extLst>
                  <a:ext uri="{FF2B5EF4-FFF2-40B4-BE49-F238E27FC236}">
                    <a16:creationId xmlns:a16="http://schemas.microsoft.com/office/drawing/2014/main" id="{512638A3-B1F8-4262-974F-C896C73C5A10}"/>
                  </a:ext>
                </a:extLst>
              </p:cNvPr>
              <p:cNvSpPr/>
              <p:nvPr/>
            </p:nvSpPr>
            <p:spPr>
              <a:xfrm>
                <a:off x="2800280" y="4435242"/>
                <a:ext cx="224276" cy="303158"/>
              </a:xfrm>
              <a:custGeom>
                <a:avLst/>
                <a:gdLst>
                  <a:gd name="connsiteX0" fmla="*/ 6934 w 224276"/>
                  <a:gd name="connsiteY0" fmla="*/ 303158 h 303158"/>
                  <a:gd name="connsiteX1" fmla="*/ 0 w 224276"/>
                  <a:gd name="connsiteY1" fmla="*/ 296224 h 303158"/>
                  <a:gd name="connsiteX2" fmla="*/ 6934 w 224276"/>
                  <a:gd name="connsiteY2" fmla="*/ 289291 h 303158"/>
                  <a:gd name="connsiteX3" fmla="*/ 210402 w 224276"/>
                  <a:gd name="connsiteY3" fmla="*/ 85829 h 303158"/>
                  <a:gd name="connsiteX4" fmla="*/ 195618 w 224276"/>
                  <a:gd name="connsiteY4" fmla="*/ 9541 h 303158"/>
                  <a:gd name="connsiteX5" fmla="*/ 199445 w 224276"/>
                  <a:gd name="connsiteY5" fmla="*/ 512 h 303158"/>
                  <a:gd name="connsiteX6" fmla="*/ 208474 w 224276"/>
                  <a:gd name="connsiteY6" fmla="*/ 4338 h 303158"/>
                  <a:gd name="connsiteX7" fmla="*/ 224276 w 224276"/>
                  <a:gd name="connsiteY7" fmla="*/ 85826 h 303158"/>
                  <a:gd name="connsiteX8" fmla="*/ 6934 w 224276"/>
                  <a:gd name="connsiteY8" fmla="*/ 303158 h 303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276" h="303158">
                    <a:moveTo>
                      <a:pt x="6934" y="303158"/>
                    </a:moveTo>
                    <a:cubicBezTo>
                      <a:pt x="3100" y="303158"/>
                      <a:pt x="0" y="300055"/>
                      <a:pt x="0" y="296224"/>
                    </a:cubicBezTo>
                    <a:cubicBezTo>
                      <a:pt x="0" y="292391"/>
                      <a:pt x="3103" y="289291"/>
                      <a:pt x="6934" y="289291"/>
                    </a:cubicBezTo>
                    <a:cubicBezTo>
                      <a:pt x="119130" y="289291"/>
                      <a:pt x="210402" y="198015"/>
                      <a:pt x="210402" y="85829"/>
                    </a:cubicBezTo>
                    <a:cubicBezTo>
                      <a:pt x="210402" y="59450"/>
                      <a:pt x="205424" y="33783"/>
                      <a:pt x="195618" y="9541"/>
                    </a:cubicBezTo>
                    <a:cubicBezTo>
                      <a:pt x="194182" y="5992"/>
                      <a:pt x="195895" y="1948"/>
                      <a:pt x="199445" y="512"/>
                    </a:cubicBezTo>
                    <a:cubicBezTo>
                      <a:pt x="203008" y="-931"/>
                      <a:pt x="207039" y="782"/>
                      <a:pt x="208474" y="4338"/>
                    </a:cubicBezTo>
                    <a:cubicBezTo>
                      <a:pt x="218957" y="30237"/>
                      <a:pt x="224276" y="57652"/>
                      <a:pt x="224276" y="85826"/>
                    </a:cubicBezTo>
                    <a:cubicBezTo>
                      <a:pt x="224273" y="205661"/>
                      <a:pt x="126776" y="303158"/>
                      <a:pt x="6934" y="303158"/>
                    </a:cubicBezTo>
                    <a:close/>
                  </a:path>
                </a:pathLst>
              </a:custGeom>
              <a:solidFill>
                <a:schemeClr val="accent1"/>
              </a:solidFill>
              <a:ln w="351" cap="flat">
                <a:noFill/>
                <a:prstDash val="solid"/>
                <a:miter/>
              </a:ln>
            </p:spPr>
            <p:txBody>
              <a:bodyPr rtlCol="0" anchor="ctr"/>
              <a:lstStyle/>
              <a:p>
                <a:endParaRPr lang="en-GB" dirty="0"/>
              </a:p>
            </p:txBody>
          </p:sp>
          <p:sp>
            <p:nvSpPr>
              <p:cNvPr id="613" name="Freihandform: Form 239">
                <a:extLst>
                  <a:ext uri="{FF2B5EF4-FFF2-40B4-BE49-F238E27FC236}">
                    <a16:creationId xmlns:a16="http://schemas.microsoft.com/office/drawing/2014/main" id="{42E8C844-F3E1-4D14-9FB5-DEEB816DED9B}"/>
                  </a:ext>
                </a:extLst>
              </p:cNvPr>
              <p:cNvSpPr/>
              <p:nvPr/>
            </p:nvSpPr>
            <p:spPr>
              <a:xfrm>
                <a:off x="2589881" y="4412191"/>
                <a:ext cx="158536" cy="315732"/>
              </a:xfrm>
              <a:custGeom>
                <a:avLst/>
                <a:gdLst>
                  <a:gd name="connsiteX0" fmla="*/ 151597 w 158536"/>
                  <a:gd name="connsiteY0" fmla="*/ 315733 h 315732"/>
                  <a:gd name="connsiteX1" fmla="*/ 149431 w 158536"/>
                  <a:gd name="connsiteY1" fmla="*/ 315389 h 315732"/>
                  <a:gd name="connsiteX2" fmla="*/ 0 w 158536"/>
                  <a:gd name="connsiteY2" fmla="*/ 108877 h 315732"/>
                  <a:gd name="connsiteX3" fmla="*/ 27173 w 158536"/>
                  <a:gd name="connsiteY3" fmla="*/ 3576 h 315732"/>
                  <a:gd name="connsiteX4" fmla="*/ 36599 w 158536"/>
                  <a:gd name="connsiteY4" fmla="*/ 879 h 315732"/>
                  <a:gd name="connsiteX5" fmla="*/ 39296 w 158536"/>
                  <a:gd name="connsiteY5" fmla="*/ 10306 h 315732"/>
                  <a:gd name="connsiteX6" fmla="*/ 13871 w 158536"/>
                  <a:gd name="connsiteY6" fmla="*/ 108873 h 315732"/>
                  <a:gd name="connsiteX7" fmla="*/ 153767 w 158536"/>
                  <a:gd name="connsiteY7" fmla="*/ 302206 h 315732"/>
                  <a:gd name="connsiteX8" fmla="*/ 158190 w 158536"/>
                  <a:gd name="connsiteY8" fmla="*/ 310962 h 315732"/>
                  <a:gd name="connsiteX9" fmla="*/ 151597 w 158536"/>
                  <a:gd name="connsiteY9" fmla="*/ 315733 h 31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536" h="315732">
                    <a:moveTo>
                      <a:pt x="151597" y="315733"/>
                    </a:moveTo>
                    <a:cubicBezTo>
                      <a:pt x="150881" y="315733"/>
                      <a:pt x="150147" y="315624"/>
                      <a:pt x="149431" y="315389"/>
                    </a:cubicBezTo>
                    <a:cubicBezTo>
                      <a:pt x="60051" y="286015"/>
                      <a:pt x="0" y="203024"/>
                      <a:pt x="0" y="108877"/>
                    </a:cubicBezTo>
                    <a:cubicBezTo>
                      <a:pt x="0" y="72028"/>
                      <a:pt x="9395" y="35611"/>
                      <a:pt x="27173" y="3576"/>
                    </a:cubicBezTo>
                    <a:cubicBezTo>
                      <a:pt x="29030" y="230"/>
                      <a:pt x="33240" y="-995"/>
                      <a:pt x="36599" y="879"/>
                    </a:cubicBezTo>
                    <a:cubicBezTo>
                      <a:pt x="39945" y="2737"/>
                      <a:pt x="41156" y="6953"/>
                      <a:pt x="39296" y="10306"/>
                    </a:cubicBezTo>
                    <a:cubicBezTo>
                      <a:pt x="22662" y="40288"/>
                      <a:pt x="13871" y="74370"/>
                      <a:pt x="13871" y="108873"/>
                    </a:cubicBezTo>
                    <a:cubicBezTo>
                      <a:pt x="13871" y="197018"/>
                      <a:pt x="70092" y="274706"/>
                      <a:pt x="153767" y="302206"/>
                    </a:cubicBezTo>
                    <a:cubicBezTo>
                      <a:pt x="157404" y="303407"/>
                      <a:pt x="159380" y="307321"/>
                      <a:pt x="158190" y="310962"/>
                    </a:cubicBezTo>
                    <a:cubicBezTo>
                      <a:pt x="157225" y="313883"/>
                      <a:pt x="154515" y="315733"/>
                      <a:pt x="151597" y="315733"/>
                    </a:cubicBezTo>
                    <a:close/>
                  </a:path>
                </a:pathLst>
              </a:custGeom>
              <a:solidFill>
                <a:schemeClr val="accent1"/>
              </a:solidFill>
              <a:ln w="351" cap="flat">
                <a:noFill/>
                <a:prstDash val="solid"/>
                <a:miter/>
              </a:ln>
            </p:spPr>
            <p:txBody>
              <a:bodyPr rtlCol="0" anchor="ctr"/>
              <a:lstStyle/>
              <a:p>
                <a:endParaRPr lang="en-GB" dirty="0"/>
              </a:p>
            </p:txBody>
          </p:sp>
          <p:sp>
            <p:nvSpPr>
              <p:cNvPr id="614" name="Freihandform: Form 240">
                <a:extLst>
                  <a:ext uri="{FF2B5EF4-FFF2-40B4-BE49-F238E27FC236}">
                    <a16:creationId xmlns:a16="http://schemas.microsoft.com/office/drawing/2014/main" id="{63B8D525-0E7D-4EE7-8C44-78B712F87FB7}"/>
                  </a:ext>
                </a:extLst>
              </p:cNvPr>
              <p:cNvSpPr/>
              <p:nvPr/>
            </p:nvSpPr>
            <p:spPr>
              <a:xfrm>
                <a:off x="2585726" y="4411354"/>
                <a:ext cx="53413" cy="45867"/>
              </a:xfrm>
              <a:custGeom>
                <a:avLst/>
                <a:gdLst>
                  <a:gd name="connsiteX0" fmla="*/ 46470 w 53413"/>
                  <a:gd name="connsiteY0" fmla="*/ 45867 h 45867"/>
                  <a:gd name="connsiteX1" fmla="*/ 39726 w 53413"/>
                  <a:gd name="connsiteY1" fmla="*/ 40524 h 45867"/>
                  <a:gd name="connsiteX2" fmla="*/ 33779 w 53413"/>
                  <a:gd name="connsiteY2" fmla="*/ 15275 h 45867"/>
                  <a:gd name="connsiteX3" fmla="*/ 8530 w 53413"/>
                  <a:gd name="connsiteY3" fmla="*/ 21222 h 45867"/>
                  <a:gd name="connsiteX4" fmla="*/ 185 w 53413"/>
                  <a:gd name="connsiteY4" fmla="*/ 16061 h 45867"/>
                  <a:gd name="connsiteX5" fmla="*/ 5346 w 53413"/>
                  <a:gd name="connsiteY5" fmla="*/ 7716 h 45867"/>
                  <a:gd name="connsiteX6" fmla="*/ 37346 w 53413"/>
                  <a:gd name="connsiteY6" fmla="*/ 179 h 45867"/>
                  <a:gd name="connsiteX7" fmla="*/ 45691 w 53413"/>
                  <a:gd name="connsiteY7" fmla="*/ 5339 h 45867"/>
                  <a:gd name="connsiteX8" fmla="*/ 53229 w 53413"/>
                  <a:gd name="connsiteY8" fmla="*/ 37340 h 45867"/>
                  <a:gd name="connsiteX9" fmla="*/ 48068 w 53413"/>
                  <a:gd name="connsiteY9" fmla="*/ 45685 h 45867"/>
                  <a:gd name="connsiteX10" fmla="*/ 46470 w 53413"/>
                  <a:gd name="connsiteY10" fmla="*/ 45867 h 4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3413" h="45867">
                    <a:moveTo>
                      <a:pt x="46470" y="45867"/>
                    </a:moveTo>
                    <a:cubicBezTo>
                      <a:pt x="43328" y="45867"/>
                      <a:pt x="40478" y="43715"/>
                      <a:pt x="39726" y="40524"/>
                    </a:cubicBezTo>
                    <a:lnTo>
                      <a:pt x="33779" y="15275"/>
                    </a:lnTo>
                    <a:lnTo>
                      <a:pt x="8530" y="21222"/>
                    </a:lnTo>
                    <a:cubicBezTo>
                      <a:pt x="4819" y="22054"/>
                      <a:pt x="1066" y="19786"/>
                      <a:pt x="185" y="16061"/>
                    </a:cubicBezTo>
                    <a:cubicBezTo>
                      <a:pt x="-689" y="12329"/>
                      <a:pt x="1621" y="8597"/>
                      <a:pt x="5346" y="7716"/>
                    </a:cubicBezTo>
                    <a:lnTo>
                      <a:pt x="37346" y="179"/>
                    </a:lnTo>
                    <a:cubicBezTo>
                      <a:pt x="41050" y="-674"/>
                      <a:pt x="44810" y="1608"/>
                      <a:pt x="45691" y="5339"/>
                    </a:cubicBezTo>
                    <a:lnTo>
                      <a:pt x="53229" y="37340"/>
                    </a:lnTo>
                    <a:cubicBezTo>
                      <a:pt x="54103" y="41072"/>
                      <a:pt x="51793" y="44803"/>
                      <a:pt x="48068" y="45685"/>
                    </a:cubicBezTo>
                    <a:cubicBezTo>
                      <a:pt x="47534" y="45808"/>
                      <a:pt x="46997" y="45867"/>
                      <a:pt x="46470" y="45867"/>
                    </a:cubicBezTo>
                    <a:close/>
                  </a:path>
                </a:pathLst>
              </a:custGeom>
              <a:solidFill>
                <a:schemeClr val="accent1"/>
              </a:solidFill>
              <a:ln w="351" cap="flat">
                <a:noFill/>
                <a:prstDash val="solid"/>
                <a:miter/>
              </a:ln>
            </p:spPr>
            <p:txBody>
              <a:bodyPr rtlCol="0" anchor="ctr"/>
              <a:lstStyle/>
              <a:p>
                <a:endParaRPr lang="en-GB" dirty="0"/>
              </a:p>
            </p:txBody>
          </p:sp>
          <p:sp>
            <p:nvSpPr>
              <p:cNvPr id="615" name="Freihandform: Form 241">
                <a:extLst>
                  <a:ext uri="{FF2B5EF4-FFF2-40B4-BE49-F238E27FC236}">
                    <a16:creationId xmlns:a16="http://schemas.microsoft.com/office/drawing/2014/main" id="{A6FAC252-F767-41B7-9F80-24BEF7CEB4C9}"/>
                  </a:ext>
                </a:extLst>
              </p:cNvPr>
              <p:cNvSpPr/>
              <p:nvPr/>
            </p:nvSpPr>
            <p:spPr>
              <a:xfrm>
                <a:off x="2913785" y="4333260"/>
                <a:ext cx="48217" cy="46714"/>
              </a:xfrm>
              <a:custGeom>
                <a:avLst/>
                <a:gdLst>
                  <a:gd name="connsiteX0" fmla="*/ 39784 w 48217"/>
                  <a:gd name="connsiteY0" fmla="*/ 46714 h 46714"/>
                  <a:gd name="connsiteX1" fmla="*/ 39457 w 48217"/>
                  <a:gd name="connsiteY1" fmla="*/ 46707 h 46714"/>
                  <a:gd name="connsiteX2" fmla="*/ 6618 w 48217"/>
                  <a:gd name="connsiteY2" fmla="*/ 45212 h 46714"/>
                  <a:gd name="connsiteX3" fmla="*/ 7 w 48217"/>
                  <a:gd name="connsiteY3" fmla="*/ 37966 h 46714"/>
                  <a:gd name="connsiteX4" fmla="*/ 7253 w 48217"/>
                  <a:gd name="connsiteY4" fmla="*/ 31355 h 46714"/>
                  <a:gd name="connsiteX5" fmla="*/ 33166 w 48217"/>
                  <a:gd name="connsiteY5" fmla="*/ 32535 h 46714"/>
                  <a:gd name="connsiteX6" fmla="*/ 34353 w 48217"/>
                  <a:gd name="connsiteY6" fmla="*/ 6622 h 46714"/>
                  <a:gd name="connsiteX7" fmla="*/ 41599 w 48217"/>
                  <a:gd name="connsiteY7" fmla="*/ 11 h 46714"/>
                  <a:gd name="connsiteX8" fmla="*/ 48210 w 48217"/>
                  <a:gd name="connsiteY8" fmla="*/ 7257 h 46714"/>
                  <a:gd name="connsiteX9" fmla="*/ 46707 w 48217"/>
                  <a:gd name="connsiteY9" fmla="*/ 40097 h 46714"/>
                  <a:gd name="connsiteX10" fmla="*/ 39784 w 48217"/>
                  <a:gd name="connsiteY10" fmla="*/ 46714 h 46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217" h="46714">
                    <a:moveTo>
                      <a:pt x="39784" y="46714"/>
                    </a:moveTo>
                    <a:cubicBezTo>
                      <a:pt x="39675" y="46714"/>
                      <a:pt x="39566" y="46714"/>
                      <a:pt x="39457" y="46707"/>
                    </a:cubicBezTo>
                    <a:lnTo>
                      <a:pt x="6618" y="45212"/>
                    </a:lnTo>
                    <a:cubicBezTo>
                      <a:pt x="2791" y="45036"/>
                      <a:pt x="-168" y="41792"/>
                      <a:pt x="7" y="37966"/>
                    </a:cubicBezTo>
                    <a:cubicBezTo>
                      <a:pt x="183" y="34139"/>
                      <a:pt x="3536" y="31085"/>
                      <a:pt x="7253" y="31355"/>
                    </a:cubicBezTo>
                    <a:lnTo>
                      <a:pt x="33166" y="32535"/>
                    </a:lnTo>
                    <a:lnTo>
                      <a:pt x="34353" y="6622"/>
                    </a:lnTo>
                    <a:cubicBezTo>
                      <a:pt x="34529" y="2795"/>
                      <a:pt x="37786" y="-207"/>
                      <a:pt x="41599" y="11"/>
                    </a:cubicBezTo>
                    <a:cubicBezTo>
                      <a:pt x="45426" y="187"/>
                      <a:pt x="48385" y="3431"/>
                      <a:pt x="48210" y="7257"/>
                    </a:cubicBezTo>
                    <a:lnTo>
                      <a:pt x="46707" y="40097"/>
                    </a:lnTo>
                    <a:cubicBezTo>
                      <a:pt x="46539" y="43815"/>
                      <a:pt x="43470" y="46714"/>
                      <a:pt x="39784" y="46714"/>
                    </a:cubicBezTo>
                    <a:close/>
                  </a:path>
                </a:pathLst>
              </a:custGeom>
              <a:solidFill>
                <a:schemeClr val="accent1"/>
              </a:solidFill>
              <a:ln w="351" cap="flat">
                <a:noFill/>
                <a:prstDash val="solid"/>
                <a:miter/>
              </a:ln>
            </p:spPr>
            <p:txBody>
              <a:bodyPr rtlCol="0" anchor="ctr"/>
              <a:lstStyle/>
              <a:p>
                <a:endParaRPr lang="en-GB" dirty="0"/>
              </a:p>
            </p:txBody>
          </p:sp>
          <p:sp>
            <p:nvSpPr>
              <p:cNvPr id="616" name="Freihandform: Form 242">
                <a:extLst>
                  <a:ext uri="{FF2B5EF4-FFF2-40B4-BE49-F238E27FC236}">
                    <a16:creationId xmlns:a16="http://schemas.microsoft.com/office/drawing/2014/main" id="{8E44EE56-9B1B-42D6-A590-734484B80C77}"/>
                  </a:ext>
                </a:extLst>
              </p:cNvPr>
              <p:cNvSpPr/>
              <p:nvPr/>
            </p:nvSpPr>
            <p:spPr>
              <a:xfrm>
                <a:off x="2799937" y="4700892"/>
                <a:ext cx="37432" cy="60351"/>
              </a:xfrm>
              <a:custGeom>
                <a:avLst/>
                <a:gdLst>
                  <a:gd name="connsiteX0" fmla="*/ 30500 w 37432"/>
                  <a:gd name="connsiteY0" fmla="*/ 60352 h 60351"/>
                  <a:gd name="connsiteX1" fmla="*/ 25665 w 37432"/>
                  <a:gd name="connsiteY1" fmla="*/ 58389 h 60351"/>
                  <a:gd name="connsiteX2" fmla="*/ 2098 w 37432"/>
                  <a:gd name="connsiteY2" fmla="*/ 35478 h 60351"/>
                  <a:gd name="connsiteX3" fmla="*/ 1961 w 37432"/>
                  <a:gd name="connsiteY3" fmla="*/ 25673 h 60351"/>
                  <a:gd name="connsiteX4" fmla="*/ 24872 w 37432"/>
                  <a:gd name="connsiteY4" fmla="*/ 2098 h 60351"/>
                  <a:gd name="connsiteX5" fmla="*/ 34678 w 37432"/>
                  <a:gd name="connsiteY5" fmla="*/ 1961 h 60351"/>
                  <a:gd name="connsiteX6" fmla="*/ 34814 w 37432"/>
                  <a:gd name="connsiteY6" fmla="*/ 11767 h 60351"/>
                  <a:gd name="connsiteX7" fmla="*/ 16738 w 37432"/>
                  <a:gd name="connsiteY7" fmla="*/ 30363 h 60351"/>
                  <a:gd name="connsiteX8" fmla="*/ 35334 w 37432"/>
                  <a:gd name="connsiteY8" fmla="*/ 48447 h 60351"/>
                  <a:gd name="connsiteX9" fmla="*/ 35471 w 37432"/>
                  <a:gd name="connsiteY9" fmla="*/ 58252 h 60351"/>
                  <a:gd name="connsiteX10" fmla="*/ 30500 w 37432"/>
                  <a:gd name="connsiteY10" fmla="*/ 60352 h 6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432" h="60351">
                    <a:moveTo>
                      <a:pt x="30500" y="60352"/>
                    </a:moveTo>
                    <a:cubicBezTo>
                      <a:pt x="28758" y="60352"/>
                      <a:pt x="27010" y="59702"/>
                      <a:pt x="25665" y="58389"/>
                    </a:cubicBezTo>
                    <a:lnTo>
                      <a:pt x="2098" y="35478"/>
                    </a:lnTo>
                    <a:cubicBezTo>
                      <a:pt x="-644" y="32810"/>
                      <a:pt x="-707" y="28421"/>
                      <a:pt x="1961" y="25673"/>
                    </a:cubicBezTo>
                    <a:lnTo>
                      <a:pt x="24872" y="2098"/>
                    </a:lnTo>
                    <a:cubicBezTo>
                      <a:pt x="27533" y="-637"/>
                      <a:pt x="31929" y="-714"/>
                      <a:pt x="34678" y="1961"/>
                    </a:cubicBezTo>
                    <a:cubicBezTo>
                      <a:pt x="37419" y="4629"/>
                      <a:pt x="37483" y="9018"/>
                      <a:pt x="34814" y="11767"/>
                    </a:cubicBezTo>
                    <a:lnTo>
                      <a:pt x="16738" y="30363"/>
                    </a:lnTo>
                    <a:lnTo>
                      <a:pt x="35334" y="48447"/>
                    </a:lnTo>
                    <a:cubicBezTo>
                      <a:pt x="38076" y="51115"/>
                      <a:pt x="38139" y="55504"/>
                      <a:pt x="35471" y="58252"/>
                    </a:cubicBezTo>
                    <a:cubicBezTo>
                      <a:pt x="34116" y="59650"/>
                      <a:pt x="32308" y="60352"/>
                      <a:pt x="30500" y="60352"/>
                    </a:cubicBezTo>
                    <a:close/>
                  </a:path>
                </a:pathLst>
              </a:custGeom>
              <a:solidFill>
                <a:schemeClr val="accent1"/>
              </a:solidFill>
              <a:ln w="351" cap="flat">
                <a:noFill/>
                <a:prstDash val="solid"/>
                <a:miter/>
              </a:ln>
            </p:spPr>
            <p:txBody>
              <a:bodyPr rtlCol="0" anchor="ctr"/>
              <a:lstStyle/>
              <a:p>
                <a:endParaRPr lang="en-GB" dirty="0"/>
              </a:p>
            </p:txBody>
          </p:sp>
        </p:grpSp>
      </p:grpSp>
      <p:grpSp>
        <p:nvGrpSpPr>
          <p:cNvPr id="218" name="Group 217">
            <a:extLst>
              <a:ext uri="{FF2B5EF4-FFF2-40B4-BE49-F238E27FC236}">
                <a16:creationId xmlns:a16="http://schemas.microsoft.com/office/drawing/2014/main" id="{C932C310-A8CC-2608-4A8D-372D7CCC0590}"/>
              </a:ext>
            </a:extLst>
          </p:cNvPr>
          <p:cNvGrpSpPr/>
          <p:nvPr/>
        </p:nvGrpSpPr>
        <p:grpSpPr>
          <a:xfrm>
            <a:off x="6000945" y="3197067"/>
            <a:ext cx="510913" cy="431996"/>
            <a:chOff x="6000533" y="3197067"/>
            <a:chExt cx="510913" cy="431996"/>
          </a:xfrm>
        </p:grpSpPr>
        <p:grpSp>
          <p:nvGrpSpPr>
            <p:cNvPr id="489" name="Graphic 10">
              <a:extLst>
                <a:ext uri="{FF2B5EF4-FFF2-40B4-BE49-F238E27FC236}">
                  <a16:creationId xmlns:a16="http://schemas.microsoft.com/office/drawing/2014/main" id="{9518D065-33AC-4C49-9FCD-D5E4391F990B}"/>
                </a:ext>
              </a:extLst>
            </p:cNvPr>
            <p:cNvGrpSpPr/>
            <p:nvPr/>
          </p:nvGrpSpPr>
          <p:grpSpPr>
            <a:xfrm>
              <a:off x="6058003" y="3197067"/>
              <a:ext cx="396284" cy="351293"/>
              <a:chOff x="1749099" y="2575813"/>
              <a:chExt cx="353439" cy="313313"/>
            </a:xfrm>
            <a:solidFill>
              <a:schemeClr val="tx2"/>
            </a:solidFill>
          </p:grpSpPr>
          <p:sp>
            <p:nvSpPr>
              <p:cNvPr id="503" name="Freihandform: Form 62">
                <a:extLst>
                  <a:ext uri="{FF2B5EF4-FFF2-40B4-BE49-F238E27FC236}">
                    <a16:creationId xmlns:a16="http://schemas.microsoft.com/office/drawing/2014/main" id="{C52BB983-6EC2-4DCA-86F6-2ED07652214E}"/>
                  </a:ext>
                </a:extLst>
              </p:cNvPr>
              <p:cNvSpPr/>
              <p:nvPr/>
            </p:nvSpPr>
            <p:spPr>
              <a:xfrm>
                <a:off x="1800650" y="2732070"/>
                <a:ext cx="13867" cy="60075"/>
              </a:xfrm>
              <a:custGeom>
                <a:avLst/>
                <a:gdLst>
                  <a:gd name="connsiteX0" fmla="*/ 6934 w 13867"/>
                  <a:gd name="connsiteY0" fmla="*/ 60076 h 60075"/>
                  <a:gd name="connsiteX1" fmla="*/ 0 w 13867"/>
                  <a:gd name="connsiteY1" fmla="*/ 53142 h 60075"/>
                  <a:gd name="connsiteX2" fmla="*/ 0 w 13867"/>
                  <a:gd name="connsiteY2" fmla="*/ 6934 h 60075"/>
                  <a:gd name="connsiteX3" fmla="*/ 6934 w 13867"/>
                  <a:gd name="connsiteY3" fmla="*/ 0 h 60075"/>
                  <a:gd name="connsiteX4" fmla="*/ 13867 w 13867"/>
                  <a:gd name="connsiteY4" fmla="*/ 6934 h 60075"/>
                  <a:gd name="connsiteX5" fmla="*/ 13867 w 13867"/>
                  <a:gd name="connsiteY5" fmla="*/ 53142 h 60075"/>
                  <a:gd name="connsiteX6" fmla="*/ 6934 w 13867"/>
                  <a:gd name="connsiteY6" fmla="*/ 60076 h 60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7" h="60075">
                    <a:moveTo>
                      <a:pt x="6934" y="60076"/>
                    </a:moveTo>
                    <a:cubicBezTo>
                      <a:pt x="3104" y="60076"/>
                      <a:pt x="0" y="56969"/>
                      <a:pt x="0" y="53142"/>
                    </a:cubicBezTo>
                    <a:lnTo>
                      <a:pt x="0" y="6934"/>
                    </a:lnTo>
                    <a:cubicBezTo>
                      <a:pt x="0" y="3104"/>
                      <a:pt x="3104" y="0"/>
                      <a:pt x="6934" y="0"/>
                    </a:cubicBezTo>
                    <a:cubicBezTo>
                      <a:pt x="10764" y="0"/>
                      <a:pt x="13867" y="3104"/>
                      <a:pt x="13867" y="6934"/>
                    </a:cubicBezTo>
                    <a:lnTo>
                      <a:pt x="13867" y="53142"/>
                    </a:lnTo>
                    <a:cubicBezTo>
                      <a:pt x="13871" y="56972"/>
                      <a:pt x="10764" y="60076"/>
                      <a:pt x="6934" y="60076"/>
                    </a:cubicBezTo>
                    <a:close/>
                  </a:path>
                </a:pathLst>
              </a:custGeom>
              <a:grpFill/>
              <a:ln w="351" cap="flat">
                <a:noFill/>
                <a:prstDash val="solid"/>
                <a:miter/>
              </a:ln>
            </p:spPr>
            <p:txBody>
              <a:bodyPr rtlCol="0" anchor="ctr"/>
              <a:lstStyle/>
              <a:p>
                <a:endParaRPr lang="en-GB" dirty="0"/>
              </a:p>
            </p:txBody>
          </p:sp>
          <p:sp>
            <p:nvSpPr>
              <p:cNvPr id="504" name="Freihandform: Form 63">
                <a:extLst>
                  <a:ext uri="{FF2B5EF4-FFF2-40B4-BE49-F238E27FC236}">
                    <a16:creationId xmlns:a16="http://schemas.microsoft.com/office/drawing/2014/main" id="{051401DD-6064-4D86-A939-B035A9DCDC6C}"/>
                  </a:ext>
                </a:extLst>
              </p:cNvPr>
              <p:cNvSpPr/>
              <p:nvPr/>
            </p:nvSpPr>
            <p:spPr>
              <a:xfrm>
                <a:off x="1863588" y="2843147"/>
                <a:ext cx="125302" cy="45979"/>
              </a:xfrm>
              <a:custGeom>
                <a:avLst/>
                <a:gdLst>
                  <a:gd name="connsiteX0" fmla="*/ 62164 w 125302"/>
                  <a:gd name="connsiteY0" fmla="*/ 45979 h 45979"/>
                  <a:gd name="connsiteX1" fmla="*/ 58727 w 125302"/>
                  <a:gd name="connsiteY1" fmla="*/ 45070 h 45979"/>
                  <a:gd name="connsiteX2" fmla="*/ 3499 w 125302"/>
                  <a:gd name="connsiteY2" fmla="*/ 13540 h 45979"/>
                  <a:gd name="connsiteX3" fmla="*/ 912 w 125302"/>
                  <a:gd name="connsiteY3" fmla="*/ 4079 h 45979"/>
                  <a:gd name="connsiteX4" fmla="*/ 10373 w 125302"/>
                  <a:gd name="connsiteY4" fmla="*/ 1491 h 45979"/>
                  <a:gd name="connsiteX5" fmla="*/ 62164 w 125302"/>
                  <a:gd name="connsiteY5" fmla="*/ 31059 h 45979"/>
                  <a:gd name="connsiteX6" fmla="*/ 114926 w 125302"/>
                  <a:gd name="connsiteY6" fmla="*/ 912 h 45979"/>
                  <a:gd name="connsiteX7" fmla="*/ 124388 w 125302"/>
                  <a:gd name="connsiteY7" fmla="*/ 3492 h 45979"/>
                  <a:gd name="connsiteX8" fmla="*/ 121807 w 125302"/>
                  <a:gd name="connsiteY8" fmla="*/ 12954 h 45979"/>
                  <a:gd name="connsiteX9" fmla="*/ 65604 w 125302"/>
                  <a:gd name="connsiteY9" fmla="*/ 45070 h 45979"/>
                  <a:gd name="connsiteX10" fmla="*/ 62164 w 125302"/>
                  <a:gd name="connsiteY10" fmla="*/ 45979 h 45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5302" h="45979">
                    <a:moveTo>
                      <a:pt x="62164" y="45979"/>
                    </a:moveTo>
                    <a:cubicBezTo>
                      <a:pt x="60977" y="45979"/>
                      <a:pt x="59790" y="45674"/>
                      <a:pt x="58727" y="45070"/>
                    </a:cubicBezTo>
                    <a:lnTo>
                      <a:pt x="3499" y="13540"/>
                    </a:lnTo>
                    <a:cubicBezTo>
                      <a:pt x="171" y="11641"/>
                      <a:pt x="-984" y="7403"/>
                      <a:pt x="912" y="4079"/>
                    </a:cubicBezTo>
                    <a:cubicBezTo>
                      <a:pt x="2811" y="754"/>
                      <a:pt x="7052" y="-394"/>
                      <a:pt x="10373" y="1491"/>
                    </a:cubicBezTo>
                    <a:lnTo>
                      <a:pt x="62164" y="31059"/>
                    </a:lnTo>
                    <a:lnTo>
                      <a:pt x="114926" y="912"/>
                    </a:lnTo>
                    <a:cubicBezTo>
                      <a:pt x="118258" y="-984"/>
                      <a:pt x="122492" y="171"/>
                      <a:pt x="124388" y="3492"/>
                    </a:cubicBezTo>
                    <a:cubicBezTo>
                      <a:pt x="126287" y="6817"/>
                      <a:pt x="125132" y="11055"/>
                      <a:pt x="121807" y="12954"/>
                    </a:cubicBezTo>
                    <a:lnTo>
                      <a:pt x="65604" y="45070"/>
                    </a:lnTo>
                    <a:cubicBezTo>
                      <a:pt x="64540" y="45674"/>
                      <a:pt x="63354" y="45979"/>
                      <a:pt x="62164" y="45979"/>
                    </a:cubicBezTo>
                    <a:close/>
                  </a:path>
                </a:pathLst>
              </a:custGeom>
              <a:grpFill/>
              <a:ln w="351" cap="flat">
                <a:noFill/>
                <a:prstDash val="solid"/>
                <a:miter/>
              </a:ln>
            </p:spPr>
            <p:txBody>
              <a:bodyPr rtlCol="0" anchor="ctr"/>
              <a:lstStyle/>
              <a:p>
                <a:endParaRPr lang="en-GB" dirty="0"/>
              </a:p>
            </p:txBody>
          </p:sp>
          <p:sp>
            <p:nvSpPr>
              <p:cNvPr id="505" name="Freihandform: Form 64">
                <a:extLst>
                  <a:ext uri="{FF2B5EF4-FFF2-40B4-BE49-F238E27FC236}">
                    <a16:creationId xmlns:a16="http://schemas.microsoft.com/office/drawing/2014/main" id="{AE0D0FC0-57CE-4E7F-8180-3835432CABAC}"/>
                  </a:ext>
                </a:extLst>
              </p:cNvPr>
              <p:cNvSpPr/>
              <p:nvPr/>
            </p:nvSpPr>
            <p:spPr>
              <a:xfrm>
                <a:off x="2036990" y="2732067"/>
                <a:ext cx="13867" cy="60514"/>
              </a:xfrm>
              <a:custGeom>
                <a:avLst/>
                <a:gdLst>
                  <a:gd name="connsiteX0" fmla="*/ 6934 w 13867"/>
                  <a:gd name="connsiteY0" fmla="*/ 60515 h 60514"/>
                  <a:gd name="connsiteX1" fmla="*/ 0 w 13867"/>
                  <a:gd name="connsiteY1" fmla="*/ 53581 h 60514"/>
                  <a:gd name="connsiteX2" fmla="*/ 0 w 13867"/>
                  <a:gd name="connsiteY2" fmla="*/ 6934 h 60514"/>
                  <a:gd name="connsiteX3" fmla="*/ 6934 w 13867"/>
                  <a:gd name="connsiteY3" fmla="*/ 0 h 60514"/>
                  <a:gd name="connsiteX4" fmla="*/ 13867 w 13867"/>
                  <a:gd name="connsiteY4" fmla="*/ 6934 h 60514"/>
                  <a:gd name="connsiteX5" fmla="*/ 13867 w 13867"/>
                  <a:gd name="connsiteY5" fmla="*/ 53581 h 60514"/>
                  <a:gd name="connsiteX6" fmla="*/ 6934 w 13867"/>
                  <a:gd name="connsiteY6" fmla="*/ 60515 h 60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7" h="60514">
                    <a:moveTo>
                      <a:pt x="6934" y="60515"/>
                    </a:moveTo>
                    <a:cubicBezTo>
                      <a:pt x="3104" y="60515"/>
                      <a:pt x="0" y="57411"/>
                      <a:pt x="0" y="53581"/>
                    </a:cubicBezTo>
                    <a:lnTo>
                      <a:pt x="0" y="6934"/>
                    </a:lnTo>
                    <a:cubicBezTo>
                      <a:pt x="0" y="3103"/>
                      <a:pt x="3104" y="0"/>
                      <a:pt x="6934" y="0"/>
                    </a:cubicBezTo>
                    <a:cubicBezTo>
                      <a:pt x="10764" y="0"/>
                      <a:pt x="13867" y="3103"/>
                      <a:pt x="13867" y="6934"/>
                    </a:cubicBezTo>
                    <a:lnTo>
                      <a:pt x="13867" y="53581"/>
                    </a:lnTo>
                    <a:cubicBezTo>
                      <a:pt x="13867" y="57411"/>
                      <a:pt x="10764" y="60515"/>
                      <a:pt x="6934" y="60515"/>
                    </a:cubicBezTo>
                    <a:close/>
                  </a:path>
                </a:pathLst>
              </a:custGeom>
              <a:grpFill/>
              <a:ln w="351" cap="flat">
                <a:noFill/>
                <a:prstDash val="solid"/>
                <a:miter/>
              </a:ln>
            </p:spPr>
            <p:txBody>
              <a:bodyPr rtlCol="0" anchor="ctr"/>
              <a:lstStyle/>
              <a:p>
                <a:endParaRPr lang="en-GB" dirty="0"/>
              </a:p>
            </p:txBody>
          </p:sp>
          <p:sp>
            <p:nvSpPr>
              <p:cNvPr id="506" name="Freihandform: Form 65">
                <a:extLst>
                  <a:ext uri="{FF2B5EF4-FFF2-40B4-BE49-F238E27FC236}">
                    <a16:creationId xmlns:a16="http://schemas.microsoft.com/office/drawing/2014/main" id="{CD4DF6D3-8004-401A-9A08-C07A7A2962BA}"/>
                  </a:ext>
                </a:extLst>
              </p:cNvPr>
              <p:cNvSpPr/>
              <p:nvPr/>
            </p:nvSpPr>
            <p:spPr>
              <a:xfrm>
                <a:off x="1800652" y="2605157"/>
                <a:ext cx="250206" cy="81397"/>
              </a:xfrm>
              <a:custGeom>
                <a:avLst/>
                <a:gdLst>
                  <a:gd name="connsiteX0" fmla="*/ 243264 w 250206"/>
                  <a:gd name="connsiteY0" fmla="*/ 81394 h 81397"/>
                  <a:gd name="connsiteX1" fmla="*/ 239831 w 250206"/>
                  <a:gd name="connsiteY1" fmla="*/ 80481 h 81397"/>
                  <a:gd name="connsiteX2" fmla="*/ 125103 w 250206"/>
                  <a:gd name="connsiteY2" fmla="*/ 14921 h 81397"/>
                  <a:gd name="connsiteX3" fmla="*/ 10376 w 250206"/>
                  <a:gd name="connsiteY3" fmla="*/ 80481 h 81397"/>
                  <a:gd name="connsiteX4" fmla="*/ 914 w 250206"/>
                  <a:gd name="connsiteY4" fmla="*/ 77901 h 81397"/>
                  <a:gd name="connsiteX5" fmla="*/ 3495 w 250206"/>
                  <a:gd name="connsiteY5" fmla="*/ 68439 h 81397"/>
                  <a:gd name="connsiteX6" fmla="*/ 121663 w 250206"/>
                  <a:gd name="connsiteY6" fmla="*/ 914 h 81397"/>
                  <a:gd name="connsiteX7" fmla="*/ 128544 w 250206"/>
                  <a:gd name="connsiteY7" fmla="*/ 914 h 81397"/>
                  <a:gd name="connsiteX8" fmla="*/ 246711 w 250206"/>
                  <a:gd name="connsiteY8" fmla="*/ 68439 h 81397"/>
                  <a:gd name="connsiteX9" fmla="*/ 249292 w 250206"/>
                  <a:gd name="connsiteY9" fmla="*/ 77901 h 81397"/>
                  <a:gd name="connsiteX10" fmla="*/ 243264 w 250206"/>
                  <a:gd name="connsiteY10" fmla="*/ 81394 h 8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50206" h="81397">
                    <a:moveTo>
                      <a:pt x="243264" y="81394"/>
                    </a:moveTo>
                    <a:cubicBezTo>
                      <a:pt x="242098" y="81394"/>
                      <a:pt x="240915" y="81099"/>
                      <a:pt x="239831" y="80481"/>
                    </a:cubicBezTo>
                    <a:lnTo>
                      <a:pt x="125103" y="14921"/>
                    </a:lnTo>
                    <a:lnTo>
                      <a:pt x="10376" y="80481"/>
                    </a:lnTo>
                    <a:cubicBezTo>
                      <a:pt x="7058" y="82384"/>
                      <a:pt x="2814" y="81229"/>
                      <a:pt x="914" y="77901"/>
                    </a:cubicBezTo>
                    <a:cubicBezTo>
                      <a:pt x="-985" y="74576"/>
                      <a:pt x="170" y="70338"/>
                      <a:pt x="3495" y="68439"/>
                    </a:cubicBezTo>
                    <a:lnTo>
                      <a:pt x="121663" y="914"/>
                    </a:lnTo>
                    <a:cubicBezTo>
                      <a:pt x="123797" y="-305"/>
                      <a:pt x="126409" y="-305"/>
                      <a:pt x="128544" y="914"/>
                    </a:cubicBezTo>
                    <a:lnTo>
                      <a:pt x="246711" y="68439"/>
                    </a:lnTo>
                    <a:cubicBezTo>
                      <a:pt x="250036" y="70338"/>
                      <a:pt x="251191" y="74576"/>
                      <a:pt x="249292" y="77901"/>
                    </a:cubicBezTo>
                    <a:cubicBezTo>
                      <a:pt x="248010" y="80140"/>
                      <a:pt x="245669" y="81394"/>
                      <a:pt x="243264" y="81394"/>
                    </a:cubicBezTo>
                    <a:close/>
                  </a:path>
                </a:pathLst>
              </a:custGeom>
              <a:grpFill/>
              <a:ln w="351" cap="flat">
                <a:noFill/>
                <a:prstDash val="solid"/>
                <a:miter/>
              </a:ln>
            </p:spPr>
            <p:txBody>
              <a:bodyPr rtlCol="0" anchor="ctr"/>
              <a:lstStyle/>
              <a:p>
                <a:endParaRPr lang="en-GB" dirty="0"/>
              </a:p>
            </p:txBody>
          </p:sp>
          <p:sp>
            <p:nvSpPr>
              <p:cNvPr id="507" name="Freihandform: Form 66">
                <a:extLst>
                  <a:ext uri="{FF2B5EF4-FFF2-40B4-BE49-F238E27FC236}">
                    <a16:creationId xmlns:a16="http://schemas.microsoft.com/office/drawing/2014/main" id="{9E649F45-93B7-4EC3-A5F5-9CA1219123EC}"/>
                  </a:ext>
                </a:extLst>
              </p:cNvPr>
              <p:cNvSpPr/>
              <p:nvPr/>
            </p:nvSpPr>
            <p:spPr>
              <a:xfrm>
                <a:off x="1918817" y="2672287"/>
                <a:ext cx="132038" cy="81388"/>
              </a:xfrm>
              <a:custGeom>
                <a:avLst/>
                <a:gdLst>
                  <a:gd name="connsiteX0" fmla="*/ 6942 w 132038"/>
                  <a:gd name="connsiteY0" fmla="*/ 81389 h 81388"/>
                  <a:gd name="connsiteX1" fmla="*/ 914 w 132038"/>
                  <a:gd name="connsiteY1" fmla="*/ 77895 h 81388"/>
                  <a:gd name="connsiteX2" fmla="*/ 3495 w 132038"/>
                  <a:gd name="connsiteY2" fmla="*/ 68434 h 81388"/>
                  <a:gd name="connsiteX3" fmla="*/ 121663 w 132038"/>
                  <a:gd name="connsiteY3" fmla="*/ 912 h 81388"/>
                  <a:gd name="connsiteX4" fmla="*/ 131124 w 132038"/>
                  <a:gd name="connsiteY4" fmla="*/ 3492 h 81388"/>
                  <a:gd name="connsiteX5" fmla="*/ 128544 w 132038"/>
                  <a:gd name="connsiteY5" fmla="*/ 12954 h 81388"/>
                  <a:gd name="connsiteX6" fmla="*/ 10376 w 132038"/>
                  <a:gd name="connsiteY6" fmla="*/ 80476 h 81388"/>
                  <a:gd name="connsiteX7" fmla="*/ 6942 w 132038"/>
                  <a:gd name="connsiteY7" fmla="*/ 81389 h 8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038" h="81388">
                    <a:moveTo>
                      <a:pt x="6942" y="81389"/>
                    </a:moveTo>
                    <a:cubicBezTo>
                      <a:pt x="4534" y="81389"/>
                      <a:pt x="2196" y="80135"/>
                      <a:pt x="914" y="77895"/>
                    </a:cubicBezTo>
                    <a:cubicBezTo>
                      <a:pt x="-985" y="74571"/>
                      <a:pt x="170" y="70333"/>
                      <a:pt x="3495" y="68434"/>
                    </a:cubicBezTo>
                    <a:lnTo>
                      <a:pt x="121663" y="912"/>
                    </a:lnTo>
                    <a:cubicBezTo>
                      <a:pt x="124987" y="-984"/>
                      <a:pt x="129228" y="171"/>
                      <a:pt x="131124" y="3492"/>
                    </a:cubicBezTo>
                    <a:cubicBezTo>
                      <a:pt x="133023" y="6817"/>
                      <a:pt x="131868" y="11055"/>
                      <a:pt x="128544" y="12954"/>
                    </a:cubicBezTo>
                    <a:lnTo>
                      <a:pt x="10376" y="80476"/>
                    </a:lnTo>
                    <a:cubicBezTo>
                      <a:pt x="9295" y="81094"/>
                      <a:pt x="8108" y="81389"/>
                      <a:pt x="6942" y="81389"/>
                    </a:cubicBezTo>
                    <a:close/>
                  </a:path>
                </a:pathLst>
              </a:custGeom>
              <a:grpFill/>
              <a:ln w="351" cap="flat">
                <a:noFill/>
                <a:prstDash val="solid"/>
                <a:miter/>
              </a:ln>
            </p:spPr>
            <p:txBody>
              <a:bodyPr rtlCol="0" anchor="ctr"/>
              <a:lstStyle/>
              <a:p>
                <a:endParaRPr lang="en-GB" dirty="0"/>
              </a:p>
            </p:txBody>
          </p:sp>
          <p:sp>
            <p:nvSpPr>
              <p:cNvPr id="508" name="Freihandform: Form 67">
                <a:extLst>
                  <a:ext uri="{FF2B5EF4-FFF2-40B4-BE49-F238E27FC236}">
                    <a16:creationId xmlns:a16="http://schemas.microsoft.com/office/drawing/2014/main" id="{641D69FE-EAEC-48E1-AF32-D06FFD1CE7ED}"/>
                  </a:ext>
                </a:extLst>
              </p:cNvPr>
              <p:cNvSpPr/>
              <p:nvPr/>
            </p:nvSpPr>
            <p:spPr>
              <a:xfrm>
                <a:off x="1918818" y="2739808"/>
                <a:ext cx="13867" cy="148918"/>
              </a:xfrm>
              <a:custGeom>
                <a:avLst/>
                <a:gdLst>
                  <a:gd name="connsiteX0" fmla="*/ 6934 w 13867"/>
                  <a:gd name="connsiteY0" fmla="*/ 148918 h 148918"/>
                  <a:gd name="connsiteX1" fmla="*/ 0 w 13867"/>
                  <a:gd name="connsiteY1" fmla="*/ 141985 h 148918"/>
                  <a:gd name="connsiteX2" fmla="*/ 0 w 13867"/>
                  <a:gd name="connsiteY2" fmla="*/ 6934 h 148918"/>
                  <a:gd name="connsiteX3" fmla="*/ 6934 w 13867"/>
                  <a:gd name="connsiteY3" fmla="*/ 0 h 148918"/>
                  <a:gd name="connsiteX4" fmla="*/ 13867 w 13867"/>
                  <a:gd name="connsiteY4" fmla="*/ 6934 h 148918"/>
                  <a:gd name="connsiteX5" fmla="*/ 13867 w 13867"/>
                  <a:gd name="connsiteY5" fmla="*/ 141985 h 148918"/>
                  <a:gd name="connsiteX6" fmla="*/ 6934 w 13867"/>
                  <a:gd name="connsiteY6" fmla="*/ 148918 h 148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7" h="148918">
                    <a:moveTo>
                      <a:pt x="6934" y="148918"/>
                    </a:moveTo>
                    <a:cubicBezTo>
                      <a:pt x="3103" y="148918"/>
                      <a:pt x="0" y="145811"/>
                      <a:pt x="0" y="141985"/>
                    </a:cubicBezTo>
                    <a:lnTo>
                      <a:pt x="0" y="6934"/>
                    </a:lnTo>
                    <a:cubicBezTo>
                      <a:pt x="0" y="3104"/>
                      <a:pt x="3103" y="0"/>
                      <a:pt x="6934" y="0"/>
                    </a:cubicBezTo>
                    <a:cubicBezTo>
                      <a:pt x="10764" y="0"/>
                      <a:pt x="13867" y="3104"/>
                      <a:pt x="13867" y="6934"/>
                    </a:cubicBezTo>
                    <a:lnTo>
                      <a:pt x="13867" y="141985"/>
                    </a:lnTo>
                    <a:cubicBezTo>
                      <a:pt x="13871" y="145815"/>
                      <a:pt x="10764" y="148918"/>
                      <a:pt x="6934" y="148918"/>
                    </a:cubicBezTo>
                    <a:close/>
                  </a:path>
                </a:pathLst>
              </a:custGeom>
              <a:grpFill/>
              <a:ln w="351" cap="flat">
                <a:noFill/>
                <a:prstDash val="solid"/>
                <a:miter/>
              </a:ln>
            </p:spPr>
            <p:txBody>
              <a:bodyPr rtlCol="0" anchor="ctr"/>
              <a:lstStyle/>
              <a:p>
                <a:endParaRPr lang="en-GB" dirty="0"/>
              </a:p>
            </p:txBody>
          </p:sp>
          <p:sp>
            <p:nvSpPr>
              <p:cNvPr id="509" name="Freihandform: Form 68">
                <a:extLst>
                  <a:ext uri="{FF2B5EF4-FFF2-40B4-BE49-F238E27FC236}">
                    <a16:creationId xmlns:a16="http://schemas.microsoft.com/office/drawing/2014/main" id="{A3BE8CEC-F09A-40D9-A56E-AB342CEE1105}"/>
                  </a:ext>
                </a:extLst>
              </p:cNvPr>
              <p:cNvSpPr/>
              <p:nvPr/>
            </p:nvSpPr>
            <p:spPr>
              <a:xfrm>
                <a:off x="1749099" y="2672631"/>
                <a:ext cx="183588" cy="110562"/>
              </a:xfrm>
              <a:custGeom>
                <a:avLst/>
                <a:gdLst>
                  <a:gd name="connsiteX0" fmla="*/ 124989 w 183588"/>
                  <a:gd name="connsiteY0" fmla="*/ 110563 h 110562"/>
                  <a:gd name="connsiteX1" fmla="*/ 121552 w 183588"/>
                  <a:gd name="connsiteY1" fmla="*/ 109653 h 110562"/>
                  <a:gd name="connsiteX2" fmla="*/ 3497 w 183588"/>
                  <a:gd name="connsiteY2" fmla="*/ 42332 h 110562"/>
                  <a:gd name="connsiteX3" fmla="*/ 0 w 183588"/>
                  <a:gd name="connsiteY3" fmla="*/ 36304 h 110562"/>
                  <a:gd name="connsiteX4" fmla="*/ 3507 w 183588"/>
                  <a:gd name="connsiteY4" fmla="*/ 30279 h 110562"/>
                  <a:gd name="connsiteX5" fmla="*/ 55175 w 183588"/>
                  <a:gd name="connsiteY5" fmla="*/ 908 h 110562"/>
                  <a:gd name="connsiteX6" fmla="*/ 62031 w 183588"/>
                  <a:gd name="connsiteY6" fmla="*/ 908 h 110562"/>
                  <a:gd name="connsiteX7" fmla="*/ 180083 w 183588"/>
                  <a:gd name="connsiteY7" fmla="*/ 68083 h 110562"/>
                  <a:gd name="connsiteX8" fmla="*/ 182681 w 183588"/>
                  <a:gd name="connsiteY8" fmla="*/ 77541 h 110562"/>
                  <a:gd name="connsiteX9" fmla="*/ 179929 w 183588"/>
                  <a:gd name="connsiteY9" fmla="*/ 80227 h 110562"/>
                  <a:gd name="connsiteX10" fmla="*/ 179901 w 183588"/>
                  <a:gd name="connsiteY10" fmla="*/ 80240 h 110562"/>
                  <a:gd name="connsiteX11" fmla="*/ 128430 w 183588"/>
                  <a:gd name="connsiteY11" fmla="*/ 109650 h 110562"/>
                  <a:gd name="connsiteX12" fmla="*/ 124989 w 183588"/>
                  <a:gd name="connsiteY12" fmla="*/ 110563 h 110562"/>
                  <a:gd name="connsiteX13" fmla="*/ 20949 w 183588"/>
                  <a:gd name="connsiteY13" fmla="*/ 36314 h 110562"/>
                  <a:gd name="connsiteX14" fmla="*/ 124986 w 183588"/>
                  <a:gd name="connsiteY14" fmla="*/ 95642 h 110562"/>
                  <a:gd name="connsiteX15" fmla="*/ 162652 w 183588"/>
                  <a:gd name="connsiteY15" fmla="*/ 74118 h 110562"/>
                  <a:gd name="connsiteX16" fmla="*/ 58598 w 183588"/>
                  <a:gd name="connsiteY16" fmla="*/ 14913 h 110562"/>
                  <a:gd name="connsiteX17" fmla="*/ 20949 w 183588"/>
                  <a:gd name="connsiteY17" fmla="*/ 36314 h 110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3588" h="110562">
                    <a:moveTo>
                      <a:pt x="124989" y="110563"/>
                    </a:moveTo>
                    <a:cubicBezTo>
                      <a:pt x="123803" y="110563"/>
                      <a:pt x="122619" y="110257"/>
                      <a:pt x="121552" y="109653"/>
                    </a:cubicBezTo>
                    <a:lnTo>
                      <a:pt x="3497" y="42332"/>
                    </a:lnTo>
                    <a:cubicBezTo>
                      <a:pt x="1334" y="41096"/>
                      <a:pt x="-4" y="38796"/>
                      <a:pt x="0" y="36304"/>
                    </a:cubicBezTo>
                    <a:cubicBezTo>
                      <a:pt x="4" y="33808"/>
                      <a:pt x="1341" y="31508"/>
                      <a:pt x="3507" y="30279"/>
                    </a:cubicBezTo>
                    <a:lnTo>
                      <a:pt x="55175" y="908"/>
                    </a:lnTo>
                    <a:cubicBezTo>
                      <a:pt x="57302" y="-303"/>
                      <a:pt x="59904" y="-303"/>
                      <a:pt x="62031" y="908"/>
                    </a:cubicBezTo>
                    <a:lnTo>
                      <a:pt x="180083" y="68083"/>
                    </a:lnTo>
                    <a:cubicBezTo>
                      <a:pt x="183411" y="69975"/>
                      <a:pt x="184573" y="74213"/>
                      <a:pt x="182681" y="77541"/>
                    </a:cubicBezTo>
                    <a:cubicBezTo>
                      <a:pt x="182011" y="78720"/>
                      <a:pt x="181042" y="79630"/>
                      <a:pt x="179929" y="80227"/>
                    </a:cubicBezTo>
                    <a:cubicBezTo>
                      <a:pt x="179918" y="80230"/>
                      <a:pt x="179911" y="80237"/>
                      <a:pt x="179901" y="80240"/>
                    </a:cubicBezTo>
                    <a:lnTo>
                      <a:pt x="128430" y="109650"/>
                    </a:lnTo>
                    <a:cubicBezTo>
                      <a:pt x="127362" y="110257"/>
                      <a:pt x="126179" y="110563"/>
                      <a:pt x="124989" y="110563"/>
                    </a:cubicBezTo>
                    <a:close/>
                    <a:moveTo>
                      <a:pt x="20949" y="36314"/>
                    </a:moveTo>
                    <a:lnTo>
                      <a:pt x="124986" y="95642"/>
                    </a:lnTo>
                    <a:lnTo>
                      <a:pt x="162652" y="74118"/>
                    </a:lnTo>
                    <a:lnTo>
                      <a:pt x="58598" y="14913"/>
                    </a:lnTo>
                    <a:lnTo>
                      <a:pt x="20949" y="36314"/>
                    </a:lnTo>
                    <a:close/>
                  </a:path>
                </a:pathLst>
              </a:custGeom>
              <a:grpFill/>
              <a:ln w="351" cap="flat">
                <a:noFill/>
                <a:prstDash val="solid"/>
                <a:miter/>
              </a:ln>
            </p:spPr>
            <p:txBody>
              <a:bodyPr rtlCol="0" anchor="ctr"/>
              <a:lstStyle/>
              <a:p>
                <a:endParaRPr lang="en-GB" dirty="0"/>
              </a:p>
            </p:txBody>
          </p:sp>
          <p:sp>
            <p:nvSpPr>
              <p:cNvPr id="510" name="Freihandform: Form 69">
                <a:extLst>
                  <a:ext uri="{FF2B5EF4-FFF2-40B4-BE49-F238E27FC236}">
                    <a16:creationId xmlns:a16="http://schemas.microsoft.com/office/drawing/2014/main" id="{51A5C167-D4BB-40E6-868D-69FE73FE929F}"/>
                  </a:ext>
                </a:extLst>
              </p:cNvPr>
              <p:cNvSpPr/>
              <p:nvPr/>
            </p:nvSpPr>
            <p:spPr>
              <a:xfrm>
                <a:off x="1918920" y="2575813"/>
                <a:ext cx="183586" cy="110561"/>
              </a:xfrm>
              <a:custGeom>
                <a:avLst/>
                <a:gdLst>
                  <a:gd name="connsiteX0" fmla="*/ 124993 w 183586"/>
                  <a:gd name="connsiteY0" fmla="*/ 110562 h 110561"/>
                  <a:gd name="connsiteX1" fmla="*/ 121556 w 183586"/>
                  <a:gd name="connsiteY1" fmla="*/ 109653 h 110561"/>
                  <a:gd name="connsiteX2" fmla="*/ 3497 w 183586"/>
                  <a:gd name="connsiteY2" fmla="*/ 42327 h 110561"/>
                  <a:gd name="connsiteX3" fmla="*/ 0 w 183586"/>
                  <a:gd name="connsiteY3" fmla="*/ 36296 h 110561"/>
                  <a:gd name="connsiteX4" fmla="*/ 3507 w 183586"/>
                  <a:gd name="connsiteY4" fmla="*/ 30271 h 110561"/>
                  <a:gd name="connsiteX5" fmla="*/ 55178 w 183586"/>
                  <a:gd name="connsiteY5" fmla="*/ 904 h 110561"/>
                  <a:gd name="connsiteX6" fmla="*/ 62035 w 183586"/>
                  <a:gd name="connsiteY6" fmla="*/ 908 h 110561"/>
                  <a:gd name="connsiteX7" fmla="*/ 180083 w 183586"/>
                  <a:gd name="connsiteY7" fmla="*/ 68082 h 110561"/>
                  <a:gd name="connsiteX8" fmla="*/ 183587 w 183586"/>
                  <a:gd name="connsiteY8" fmla="*/ 74103 h 110561"/>
                  <a:gd name="connsiteX9" fmla="*/ 180094 w 183586"/>
                  <a:gd name="connsiteY9" fmla="*/ 80131 h 110561"/>
                  <a:gd name="connsiteX10" fmla="*/ 128433 w 183586"/>
                  <a:gd name="connsiteY10" fmla="*/ 109649 h 110561"/>
                  <a:gd name="connsiteX11" fmla="*/ 124993 w 183586"/>
                  <a:gd name="connsiteY11" fmla="*/ 110562 h 110561"/>
                  <a:gd name="connsiteX12" fmla="*/ 20952 w 183586"/>
                  <a:gd name="connsiteY12" fmla="*/ 36310 h 110561"/>
                  <a:gd name="connsiteX13" fmla="*/ 98487 w 183586"/>
                  <a:gd name="connsiteY13" fmla="*/ 80524 h 110561"/>
                  <a:gd name="connsiteX14" fmla="*/ 98487 w 183586"/>
                  <a:gd name="connsiteY14" fmla="*/ 80524 h 110561"/>
                  <a:gd name="connsiteX15" fmla="*/ 124993 w 183586"/>
                  <a:gd name="connsiteY15" fmla="*/ 95641 h 110561"/>
                  <a:gd name="connsiteX16" fmla="*/ 162656 w 183586"/>
                  <a:gd name="connsiteY16" fmla="*/ 74120 h 110561"/>
                  <a:gd name="connsiteX17" fmla="*/ 58605 w 183586"/>
                  <a:gd name="connsiteY17" fmla="*/ 14912 h 110561"/>
                  <a:gd name="connsiteX18" fmla="*/ 20952 w 183586"/>
                  <a:gd name="connsiteY18" fmla="*/ 36310 h 11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3586" h="110561">
                    <a:moveTo>
                      <a:pt x="124993" y="110562"/>
                    </a:moveTo>
                    <a:cubicBezTo>
                      <a:pt x="123806" y="110562"/>
                      <a:pt x="122623" y="110256"/>
                      <a:pt x="121556" y="109653"/>
                    </a:cubicBezTo>
                    <a:lnTo>
                      <a:pt x="3497" y="42327"/>
                    </a:lnTo>
                    <a:cubicBezTo>
                      <a:pt x="1334" y="41091"/>
                      <a:pt x="-4" y="38792"/>
                      <a:pt x="0" y="36296"/>
                    </a:cubicBezTo>
                    <a:cubicBezTo>
                      <a:pt x="4" y="33803"/>
                      <a:pt x="1341" y="31504"/>
                      <a:pt x="3507" y="30271"/>
                    </a:cubicBezTo>
                    <a:lnTo>
                      <a:pt x="55178" y="904"/>
                    </a:lnTo>
                    <a:cubicBezTo>
                      <a:pt x="57306" y="-300"/>
                      <a:pt x="59911" y="-304"/>
                      <a:pt x="62035" y="908"/>
                    </a:cubicBezTo>
                    <a:lnTo>
                      <a:pt x="180083" y="68082"/>
                    </a:lnTo>
                    <a:cubicBezTo>
                      <a:pt x="182246" y="69314"/>
                      <a:pt x="183583" y="71614"/>
                      <a:pt x="183587" y="74103"/>
                    </a:cubicBezTo>
                    <a:cubicBezTo>
                      <a:pt x="183590" y="76595"/>
                      <a:pt x="182256" y="78895"/>
                      <a:pt x="180094" y="80131"/>
                    </a:cubicBezTo>
                    <a:lnTo>
                      <a:pt x="128433" y="109649"/>
                    </a:lnTo>
                    <a:cubicBezTo>
                      <a:pt x="127366" y="110256"/>
                      <a:pt x="126179" y="110562"/>
                      <a:pt x="124993" y="110562"/>
                    </a:cubicBezTo>
                    <a:close/>
                    <a:moveTo>
                      <a:pt x="20952" y="36310"/>
                    </a:moveTo>
                    <a:lnTo>
                      <a:pt x="98487" y="80524"/>
                    </a:lnTo>
                    <a:lnTo>
                      <a:pt x="98487" y="80524"/>
                    </a:lnTo>
                    <a:lnTo>
                      <a:pt x="124993" y="95641"/>
                    </a:lnTo>
                    <a:lnTo>
                      <a:pt x="162656" y="74120"/>
                    </a:lnTo>
                    <a:lnTo>
                      <a:pt x="58605" y="14912"/>
                    </a:lnTo>
                    <a:lnTo>
                      <a:pt x="20952" y="36310"/>
                    </a:lnTo>
                    <a:close/>
                  </a:path>
                </a:pathLst>
              </a:custGeom>
              <a:grpFill/>
              <a:ln w="351" cap="flat">
                <a:noFill/>
                <a:prstDash val="solid"/>
                <a:miter/>
              </a:ln>
            </p:spPr>
            <p:txBody>
              <a:bodyPr rtlCol="0" anchor="ctr"/>
              <a:lstStyle/>
              <a:p>
                <a:endParaRPr lang="en-GB" dirty="0"/>
              </a:p>
            </p:txBody>
          </p:sp>
          <p:sp>
            <p:nvSpPr>
              <p:cNvPr id="511" name="Freihandform: Form 70">
                <a:extLst>
                  <a:ext uri="{FF2B5EF4-FFF2-40B4-BE49-F238E27FC236}">
                    <a16:creationId xmlns:a16="http://schemas.microsoft.com/office/drawing/2014/main" id="{46FEA1B3-C1D3-469A-BF18-545DA529CE9E}"/>
                  </a:ext>
                </a:extLst>
              </p:cNvPr>
              <p:cNvSpPr/>
              <p:nvPr/>
            </p:nvSpPr>
            <p:spPr>
              <a:xfrm>
                <a:off x="1918952" y="2672678"/>
                <a:ext cx="183586" cy="110561"/>
              </a:xfrm>
              <a:custGeom>
                <a:avLst/>
                <a:gdLst>
                  <a:gd name="connsiteX0" fmla="*/ 58598 w 183586"/>
                  <a:gd name="connsiteY0" fmla="*/ 110562 h 110561"/>
                  <a:gd name="connsiteX1" fmla="*/ 55157 w 183586"/>
                  <a:gd name="connsiteY1" fmla="*/ 109649 h 110561"/>
                  <a:gd name="connsiteX2" fmla="*/ 3493 w 183586"/>
                  <a:gd name="connsiteY2" fmla="*/ 80131 h 110561"/>
                  <a:gd name="connsiteX3" fmla="*/ 0 w 183586"/>
                  <a:gd name="connsiteY3" fmla="*/ 74103 h 110561"/>
                  <a:gd name="connsiteX4" fmla="*/ 3504 w 183586"/>
                  <a:gd name="connsiteY4" fmla="*/ 68082 h 110561"/>
                  <a:gd name="connsiteX5" fmla="*/ 121556 w 183586"/>
                  <a:gd name="connsiteY5" fmla="*/ 908 h 110561"/>
                  <a:gd name="connsiteX6" fmla="*/ 128412 w 183586"/>
                  <a:gd name="connsiteY6" fmla="*/ 904 h 110561"/>
                  <a:gd name="connsiteX7" fmla="*/ 180080 w 183586"/>
                  <a:gd name="connsiteY7" fmla="*/ 30271 h 110561"/>
                  <a:gd name="connsiteX8" fmla="*/ 183587 w 183586"/>
                  <a:gd name="connsiteY8" fmla="*/ 36296 h 110561"/>
                  <a:gd name="connsiteX9" fmla="*/ 180090 w 183586"/>
                  <a:gd name="connsiteY9" fmla="*/ 42327 h 110561"/>
                  <a:gd name="connsiteX10" fmla="*/ 62035 w 183586"/>
                  <a:gd name="connsiteY10" fmla="*/ 109653 h 110561"/>
                  <a:gd name="connsiteX11" fmla="*/ 58598 w 183586"/>
                  <a:gd name="connsiteY11" fmla="*/ 110562 h 110561"/>
                  <a:gd name="connsiteX12" fmla="*/ 20935 w 183586"/>
                  <a:gd name="connsiteY12" fmla="*/ 74124 h 110561"/>
                  <a:gd name="connsiteX13" fmla="*/ 58601 w 183586"/>
                  <a:gd name="connsiteY13" fmla="*/ 95645 h 110561"/>
                  <a:gd name="connsiteX14" fmla="*/ 162638 w 183586"/>
                  <a:gd name="connsiteY14" fmla="*/ 36313 h 110561"/>
                  <a:gd name="connsiteX15" fmla="*/ 124989 w 183586"/>
                  <a:gd name="connsiteY15" fmla="*/ 14915 h 110561"/>
                  <a:gd name="connsiteX16" fmla="*/ 20935 w 183586"/>
                  <a:gd name="connsiteY16" fmla="*/ 74124 h 11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586" h="110561">
                    <a:moveTo>
                      <a:pt x="58598" y="110562"/>
                    </a:moveTo>
                    <a:cubicBezTo>
                      <a:pt x="57408" y="110562"/>
                      <a:pt x="56224" y="110256"/>
                      <a:pt x="55157" y="109649"/>
                    </a:cubicBezTo>
                    <a:lnTo>
                      <a:pt x="3493" y="80131"/>
                    </a:lnTo>
                    <a:cubicBezTo>
                      <a:pt x="1331" y="78895"/>
                      <a:pt x="-4" y="76595"/>
                      <a:pt x="0" y="74103"/>
                    </a:cubicBezTo>
                    <a:cubicBezTo>
                      <a:pt x="4" y="71614"/>
                      <a:pt x="1341" y="69314"/>
                      <a:pt x="3504" y="68082"/>
                    </a:cubicBezTo>
                    <a:lnTo>
                      <a:pt x="121556" y="908"/>
                    </a:lnTo>
                    <a:cubicBezTo>
                      <a:pt x="123683" y="-304"/>
                      <a:pt x="126285" y="-300"/>
                      <a:pt x="128412" y="904"/>
                    </a:cubicBezTo>
                    <a:lnTo>
                      <a:pt x="180080" y="30271"/>
                    </a:lnTo>
                    <a:cubicBezTo>
                      <a:pt x="182246" y="31504"/>
                      <a:pt x="183583" y="33803"/>
                      <a:pt x="183587" y="36296"/>
                    </a:cubicBezTo>
                    <a:cubicBezTo>
                      <a:pt x="183590" y="38792"/>
                      <a:pt x="182253" y="41091"/>
                      <a:pt x="180090" y="42327"/>
                    </a:cubicBezTo>
                    <a:lnTo>
                      <a:pt x="62035" y="109653"/>
                    </a:lnTo>
                    <a:cubicBezTo>
                      <a:pt x="60967" y="110256"/>
                      <a:pt x="59784" y="110562"/>
                      <a:pt x="58598" y="110562"/>
                    </a:cubicBezTo>
                    <a:close/>
                    <a:moveTo>
                      <a:pt x="20935" y="74124"/>
                    </a:moveTo>
                    <a:lnTo>
                      <a:pt x="58601" y="95645"/>
                    </a:lnTo>
                    <a:lnTo>
                      <a:pt x="162638" y="36313"/>
                    </a:lnTo>
                    <a:lnTo>
                      <a:pt x="124989" y="14915"/>
                    </a:lnTo>
                    <a:lnTo>
                      <a:pt x="20935" y="74124"/>
                    </a:lnTo>
                    <a:close/>
                  </a:path>
                </a:pathLst>
              </a:custGeom>
              <a:grpFill/>
              <a:ln w="351" cap="flat">
                <a:noFill/>
                <a:prstDash val="solid"/>
                <a:miter/>
              </a:ln>
            </p:spPr>
            <p:txBody>
              <a:bodyPr rtlCol="0" anchor="ctr"/>
              <a:lstStyle/>
              <a:p>
                <a:endParaRPr lang="en-GB" dirty="0"/>
              </a:p>
            </p:txBody>
          </p:sp>
          <p:sp>
            <p:nvSpPr>
              <p:cNvPr id="512" name="Freihandform: Form 71">
                <a:extLst>
                  <a:ext uri="{FF2B5EF4-FFF2-40B4-BE49-F238E27FC236}">
                    <a16:creationId xmlns:a16="http://schemas.microsoft.com/office/drawing/2014/main" id="{60FBF0C8-0B1E-4DA4-9879-EBFDC879AC92}"/>
                  </a:ext>
                </a:extLst>
              </p:cNvPr>
              <p:cNvSpPr/>
              <p:nvPr/>
            </p:nvSpPr>
            <p:spPr>
              <a:xfrm>
                <a:off x="1749120" y="2575943"/>
                <a:ext cx="183586" cy="110561"/>
              </a:xfrm>
              <a:custGeom>
                <a:avLst/>
                <a:gdLst>
                  <a:gd name="connsiteX0" fmla="*/ 58594 w 183586"/>
                  <a:gd name="connsiteY0" fmla="*/ 110562 h 110561"/>
                  <a:gd name="connsiteX1" fmla="*/ 55154 w 183586"/>
                  <a:gd name="connsiteY1" fmla="*/ 109649 h 110561"/>
                  <a:gd name="connsiteX2" fmla="*/ 3493 w 183586"/>
                  <a:gd name="connsiteY2" fmla="*/ 80131 h 110561"/>
                  <a:gd name="connsiteX3" fmla="*/ 0 w 183586"/>
                  <a:gd name="connsiteY3" fmla="*/ 74103 h 110561"/>
                  <a:gd name="connsiteX4" fmla="*/ 3504 w 183586"/>
                  <a:gd name="connsiteY4" fmla="*/ 68082 h 110561"/>
                  <a:gd name="connsiteX5" fmla="*/ 121552 w 183586"/>
                  <a:gd name="connsiteY5" fmla="*/ 908 h 110561"/>
                  <a:gd name="connsiteX6" fmla="*/ 128409 w 183586"/>
                  <a:gd name="connsiteY6" fmla="*/ 904 h 110561"/>
                  <a:gd name="connsiteX7" fmla="*/ 180080 w 183586"/>
                  <a:gd name="connsiteY7" fmla="*/ 30271 h 110561"/>
                  <a:gd name="connsiteX8" fmla="*/ 183587 w 183586"/>
                  <a:gd name="connsiteY8" fmla="*/ 36296 h 110561"/>
                  <a:gd name="connsiteX9" fmla="*/ 180090 w 183586"/>
                  <a:gd name="connsiteY9" fmla="*/ 42327 h 110561"/>
                  <a:gd name="connsiteX10" fmla="*/ 62031 w 183586"/>
                  <a:gd name="connsiteY10" fmla="*/ 109653 h 110561"/>
                  <a:gd name="connsiteX11" fmla="*/ 58594 w 183586"/>
                  <a:gd name="connsiteY11" fmla="*/ 110562 h 110561"/>
                  <a:gd name="connsiteX12" fmla="*/ 20935 w 183586"/>
                  <a:gd name="connsiteY12" fmla="*/ 74120 h 110561"/>
                  <a:gd name="connsiteX13" fmla="*/ 58598 w 183586"/>
                  <a:gd name="connsiteY13" fmla="*/ 95641 h 110561"/>
                  <a:gd name="connsiteX14" fmla="*/ 162635 w 183586"/>
                  <a:gd name="connsiteY14" fmla="*/ 36310 h 110561"/>
                  <a:gd name="connsiteX15" fmla="*/ 124986 w 183586"/>
                  <a:gd name="connsiteY15" fmla="*/ 14912 h 110561"/>
                  <a:gd name="connsiteX16" fmla="*/ 20935 w 183586"/>
                  <a:gd name="connsiteY16" fmla="*/ 74120 h 110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3586" h="110561">
                    <a:moveTo>
                      <a:pt x="58594" y="110562"/>
                    </a:moveTo>
                    <a:cubicBezTo>
                      <a:pt x="57404" y="110562"/>
                      <a:pt x="56221" y="110256"/>
                      <a:pt x="55154" y="109649"/>
                    </a:cubicBezTo>
                    <a:lnTo>
                      <a:pt x="3493" y="80131"/>
                    </a:lnTo>
                    <a:cubicBezTo>
                      <a:pt x="1331" y="78895"/>
                      <a:pt x="-4" y="76595"/>
                      <a:pt x="0" y="74103"/>
                    </a:cubicBezTo>
                    <a:cubicBezTo>
                      <a:pt x="4" y="71614"/>
                      <a:pt x="1341" y="69314"/>
                      <a:pt x="3504" y="68082"/>
                    </a:cubicBezTo>
                    <a:lnTo>
                      <a:pt x="121552" y="908"/>
                    </a:lnTo>
                    <a:cubicBezTo>
                      <a:pt x="123680" y="-304"/>
                      <a:pt x="126281" y="-300"/>
                      <a:pt x="128409" y="904"/>
                    </a:cubicBezTo>
                    <a:lnTo>
                      <a:pt x="180080" y="30271"/>
                    </a:lnTo>
                    <a:cubicBezTo>
                      <a:pt x="182246" y="31504"/>
                      <a:pt x="183583" y="33803"/>
                      <a:pt x="183587" y="36296"/>
                    </a:cubicBezTo>
                    <a:cubicBezTo>
                      <a:pt x="183590" y="38792"/>
                      <a:pt x="182253" y="41091"/>
                      <a:pt x="180090" y="42327"/>
                    </a:cubicBezTo>
                    <a:lnTo>
                      <a:pt x="62031" y="109653"/>
                    </a:lnTo>
                    <a:cubicBezTo>
                      <a:pt x="60964" y="110256"/>
                      <a:pt x="59777" y="110562"/>
                      <a:pt x="58594" y="110562"/>
                    </a:cubicBezTo>
                    <a:close/>
                    <a:moveTo>
                      <a:pt x="20935" y="74120"/>
                    </a:moveTo>
                    <a:lnTo>
                      <a:pt x="58598" y="95641"/>
                    </a:lnTo>
                    <a:lnTo>
                      <a:pt x="162635" y="36310"/>
                    </a:lnTo>
                    <a:lnTo>
                      <a:pt x="124986" y="14912"/>
                    </a:lnTo>
                    <a:lnTo>
                      <a:pt x="20935" y="74120"/>
                    </a:lnTo>
                    <a:close/>
                  </a:path>
                </a:pathLst>
              </a:custGeom>
              <a:grpFill/>
              <a:ln w="351" cap="flat">
                <a:noFill/>
                <a:prstDash val="solid"/>
                <a:miter/>
              </a:ln>
            </p:spPr>
            <p:txBody>
              <a:bodyPr rtlCol="0" anchor="ctr"/>
              <a:lstStyle/>
              <a:p>
                <a:endParaRPr lang="en-GB" dirty="0"/>
              </a:p>
            </p:txBody>
          </p:sp>
        </p:grpSp>
        <p:grpSp>
          <p:nvGrpSpPr>
            <p:cNvPr id="490" name="Group 489">
              <a:extLst>
                <a:ext uri="{FF2B5EF4-FFF2-40B4-BE49-F238E27FC236}">
                  <a16:creationId xmlns:a16="http://schemas.microsoft.com/office/drawing/2014/main" id="{91773005-4416-48B4-A187-3050EF62BD07}"/>
                </a:ext>
              </a:extLst>
            </p:cNvPr>
            <p:cNvGrpSpPr/>
            <p:nvPr/>
          </p:nvGrpSpPr>
          <p:grpSpPr>
            <a:xfrm>
              <a:off x="6000533" y="3412034"/>
              <a:ext cx="510913" cy="217029"/>
              <a:chOff x="1697842" y="2767542"/>
              <a:chExt cx="455675" cy="193565"/>
            </a:xfrm>
          </p:grpSpPr>
          <p:grpSp>
            <p:nvGrpSpPr>
              <p:cNvPr id="491" name="Graphic 10">
                <a:extLst>
                  <a:ext uri="{FF2B5EF4-FFF2-40B4-BE49-F238E27FC236}">
                    <a16:creationId xmlns:a16="http://schemas.microsoft.com/office/drawing/2014/main" id="{BF41D8CF-08AF-4FB4-B65D-D72E79049085}"/>
                  </a:ext>
                </a:extLst>
              </p:cNvPr>
              <p:cNvGrpSpPr/>
              <p:nvPr/>
            </p:nvGrpSpPr>
            <p:grpSpPr>
              <a:xfrm>
                <a:off x="1975446" y="2767542"/>
                <a:ext cx="178071" cy="193565"/>
                <a:chOff x="1975446" y="2767542"/>
                <a:chExt cx="178071" cy="193565"/>
              </a:xfrm>
              <a:solidFill>
                <a:schemeClr val="accent1"/>
              </a:solidFill>
            </p:grpSpPr>
            <p:grpSp>
              <p:nvGrpSpPr>
                <p:cNvPr id="498" name="Graphic 10">
                  <a:extLst>
                    <a:ext uri="{FF2B5EF4-FFF2-40B4-BE49-F238E27FC236}">
                      <a16:creationId xmlns:a16="http://schemas.microsoft.com/office/drawing/2014/main" id="{84883618-E32F-4C40-B8F2-E6C95F0AE902}"/>
                    </a:ext>
                  </a:extLst>
                </p:cNvPr>
                <p:cNvGrpSpPr/>
                <p:nvPr/>
              </p:nvGrpSpPr>
              <p:grpSpPr>
                <a:xfrm>
                  <a:off x="1975446" y="2767542"/>
                  <a:ext cx="178071" cy="193565"/>
                  <a:chOff x="1975446" y="2767542"/>
                  <a:chExt cx="178071" cy="193565"/>
                </a:xfrm>
                <a:solidFill>
                  <a:schemeClr val="accent1"/>
                </a:solidFill>
              </p:grpSpPr>
              <p:sp>
                <p:nvSpPr>
                  <p:cNvPr id="500" name="Freihandform: Form 74">
                    <a:extLst>
                      <a:ext uri="{FF2B5EF4-FFF2-40B4-BE49-F238E27FC236}">
                        <a16:creationId xmlns:a16="http://schemas.microsoft.com/office/drawing/2014/main" id="{E585D9DC-FB10-40A8-B37F-E3CC47ABA8F9}"/>
                      </a:ext>
                    </a:extLst>
                  </p:cNvPr>
                  <p:cNvSpPr/>
                  <p:nvPr/>
                </p:nvSpPr>
                <p:spPr>
                  <a:xfrm>
                    <a:off x="2057548" y="2814965"/>
                    <a:ext cx="95969" cy="146142"/>
                  </a:xfrm>
                  <a:custGeom>
                    <a:avLst/>
                    <a:gdLst>
                      <a:gd name="connsiteX0" fmla="*/ 6934 w 95969"/>
                      <a:gd name="connsiteY0" fmla="*/ 146143 h 146142"/>
                      <a:gd name="connsiteX1" fmla="*/ 3416 w 95969"/>
                      <a:gd name="connsiteY1" fmla="*/ 145184 h 146142"/>
                      <a:gd name="connsiteX2" fmla="*/ 0 w 95969"/>
                      <a:gd name="connsiteY2" fmla="*/ 139209 h 146142"/>
                      <a:gd name="connsiteX3" fmla="*/ 0 w 95969"/>
                      <a:gd name="connsiteY3" fmla="*/ 57110 h 146142"/>
                      <a:gd name="connsiteX4" fmla="*/ 3318 w 95969"/>
                      <a:gd name="connsiteY4" fmla="*/ 51191 h 146142"/>
                      <a:gd name="connsiteX5" fmla="*/ 85416 w 95969"/>
                      <a:gd name="connsiteY5" fmla="*/ 1019 h 146142"/>
                      <a:gd name="connsiteX6" fmla="*/ 92427 w 95969"/>
                      <a:gd name="connsiteY6" fmla="*/ 889 h 146142"/>
                      <a:gd name="connsiteX7" fmla="*/ 95970 w 95969"/>
                      <a:gd name="connsiteY7" fmla="*/ 6938 h 146142"/>
                      <a:gd name="connsiteX8" fmla="*/ 95970 w 95969"/>
                      <a:gd name="connsiteY8" fmla="*/ 93597 h 146142"/>
                      <a:gd name="connsiteX9" fmla="*/ 92403 w 95969"/>
                      <a:gd name="connsiteY9" fmla="*/ 99661 h 146142"/>
                      <a:gd name="connsiteX10" fmla="*/ 10304 w 95969"/>
                      <a:gd name="connsiteY10" fmla="*/ 145272 h 146142"/>
                      <a:gd name="connsiteX11" fmla="*/ 6934 w 95969"/>
                      <a:gd name="connsiteY11" fmla="*/ 146143 h 146142"/>
                      <a:gd name="connsiteX12" fmla="*/ 13871 w 95969"/>
                      <a:gd name="connsiteY12" fmla="*/ 61000 h 146142"/>
                      <a:gd name="connsiteX13" fmla="*/ 13871 w 95969"/>
                      <a:gd name="connsiteY13" fmla="*/ 127420 h 146142"/>
                      <a:gd name="connsiteX14" fmla="*/ 82099 w 95969"/>
                      <a:gd name="connsiteY14" fmla="*/ 89518 h 146142"/>
                      <a:gd name="connsiteX15" fmla="*/ 82099 w 95969"/>
                      <a:gd name="connsiteY15" fmla="*/ 19307 h 146142"/>
                      <a:gd name="connsiteX16" fmla="*/ 13871 w 95969"/>
                      <a:gd name="connsiteY16" fmla="*/ 61000 h 146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969" h="146142">
                        <a:moveTo>
                          <a:pt x="6934" y="146143"/>
                        </a:moveTo>
                        <a:cubicBezTo>
                          <a:pt x="5719" y="146143"/>
                          <a:pt x="4501" y="145823"/>
                          <a:pt x="3416" y="145184"/>
                        </a:cubicBezTo>
                        <a:cubicBezTo>
                          <a:pt x="1299" y="143938"/>
                          <a:pt x="0" y="141666"/>
                          <a:pt x="0" y="139209"/>
                        </a:cubicBezTo>
                        <a:lnTo>
                          <a:pt x="0" y="57110"/>
                        </a:lnTo>
                        <a:cubicBezTo>
                          <a:pt x="0" y="54695"/>
                          <a:pt x="1257" y="52455"/>
                          <a:pt x="3318" y="51191"/>
                        </a:cubicBezTo>
                        <a:lnTo>
                          <a:pt x="85416" y="1019"/>
                        </a:lnTo>
                        <a:cubicBezTo>
                          <a:pt x="87551" y="-290"/>
                          <a:pt x="90233" y="-343"/>
                          <a:pt x="92427" y="889"/>
                        </a:cubicBezTo>
                        <a:cubicBezTo>
                          <a:pt x="94614" y="2115"/>
                          <a:pt x="95970" y="4428"/>
                          <a:pt x="95970" y="6938"/>
                        </a:cubicBezTo>
                        <a:lnTo>
                          <a:pt x="95970" y="93597"/>
                        </a:lnTo>
                        <a:cubicBezTo>
                          <a:pt x="95970" y="96118"/>
                          <a:pt x="94604" y="98435"/>
                          <a:pt x="92403" y="99661"/>
                        </a:cubicBezTo>
                        <a:lnTo>
                          <a:pt x="10304" y="145272"/>
                        </a:lnTo>
                        <a:cubicBezTo>
                          <a:pt x="9254" y="145851"/>
                          <a:pt x="8092" y="146143"/>
                          <a:pt x="6934" y="146143"/>
                        </a:cubicBezTo>
                        <a:close/>
                        <a:moveTo>
                          <a:pt x="13871" y="61000"/>
                        </a:moveTo>
                        <a:lnTo>
                          <a:pt x="13871" y="127420"/>
                        </a:lnTo>
                        <a:lnTo>
                          <a:pt x="82099" y="89518"/>
                        </a:lnTo>
                        <a:lnTo>
                          <a:pt x="82099" y="19307"/>
                        </a:lnTo>
                        <a:lnTo>
                          <a:pt x="13871" y="61000"/>
                        </a:lnTo>
                        <a:close/>
                      </a:path>
                    </a:pathLst>
                  </a:custGeom>
                  <a:solidFill>
                    <a:schemeClr val="accent1"/>
                  </a:solidFill>
                  <a:ln w="351" cap="flat">
                    <a:noFill/>
                    <a:prstDash val="solid"/>
                    <a:miter/>
                  </a:ln>
                </p:spPr>
                <p:txBody>
                  <a:bodyPr rtlCol="0" anchor="ctr"/>
                  <a:lstStyle/>
                  <a:p>
                    <a:endParaRPr lang="en-GB" dirty="0"/>
                  </a:p>
                </p:txBody>
              </p:sp>
              <p:sp>
                <p:nvSpPr>
                  <p:cNvPr id="501" name="Freihandform: Form 75">
                    <a:extLst>
                      <a:ext uri="{FF2B5EF4-FFF2-40B4-BE49-F238E27FC236}">
                        <a16:creationId xmlns:a16="http://schemas.microsoft.com/office/drawing/2014/main" id="{BA2CE3BD-2E9C-4023-A408-D3EC3907CA9F}"/>
                      </a:ext>
                    </a:extLst>
                  </p:cNvPr>
                  <p:cNvSpPr/>
                  <p:nvPr/>
                </p:nvSpPr>
                <p:spPr>
                  <a:xfrm>
                    <a:off x="1975446" y="2814963"/>
                    <a:ext cx="95969" cy="146144"/>
                  </a:xfrm>
                  <a:custGeom>
                    <a:avLst/>
                    <a:gdLst>
                      <a:gd name="connsiteX0" fmla="*/ 89036 w 95969"/>
                      <a:gd name="connsiteY0" fmla="*/ 146145 h 146144"/>
                      <a:gd name="connsiteX1" fmla="*/ 85665 w 95969"/>
                      <a:gd name="connsiteY1" fmla="*/ 145271 h 146144"/>
                      <a:gd name="connsiteX2" fmla="*/ 3567 w 95969"/>
                      <a:gd name="connsiteY2" fmla="*/ 99659 h 146144"/>
                      <a:gd name="connsiteX3" fmla="*/ 0 w 95969"/>
                      <a:gd name="connsiteY3" fmla="*/ 93596 h 146144"/>
                      <a:gd name="connsiteX4" fmla="*/ 0 w 95969"/>
                      <a:gd name="connsiteY4" fmla="*/ 6937 h 146144"/>
                      <a:gd name="connsiteX5" fmla="*/ 3542 w 95969"/>
                      <a:gd name="connsiteY5" fmla="*/ 888 h 146144"/>
                      <a:gd name="connsiteX6" fmla="*/ 10553 w 95969"/>
                      <a:gd name="connsiteY6" fmla="*/ 1018 h 146144"/>
                      <a:gd name="connsiteX7" fmla="*/ 92652 w 95969"/>
                      <a:gd name="connsiteY7" fmla="*/ 51190 h 146144"/>
                      <a:gd name="connsiteX8" fmla="*/ 95969 w 95969"/>
                      <a:gd name="connsiteY8" fmla="*/ 57109 h 146144"/>
                      <a:gd name="connsiteX9" fmla="*/ 95969 w 95969"/>
                      <a:gd name="connsiteY9" fmla="*/ 139208 h 146144"/>
                      <a:gd name="connsiteX10" fmla="*/ 92553 w 95969"/>
                      <a:gd name="connsiteY10" fmla="*/ 145183 h 146144"/>
                      <a:gd name="connsiteX11" fmla="*/ 89036 w 95969"/>
                      <a:gd name="connsiteY11" fmla="*/ 146145 h 146144"/>
                      <a:gd name="connsiteX12" fmla="*/ 13874 w 95969"/>
                      <a:gd name="connsiteY12" fmla="*/ 89517 h 146144"/>
                      <a:gd name="connsiteX13" fmla="*/ 82102 w 95969"/>
                      <a:gd name="connsiteY13" fmla="*/ 127419 h 146144"/>
                      <a:gd name="connsiteX14" fmla="*/ 82102 w 95969"/>
                      <a:gd name="connsiteY14" fmla="*/ 60999 h 146144"/>
                      <a:gd name="connsiteX15" fmla="*/ 13874 w 95969"/>
                      <a:gd name="connsiteY15" fmla="*/ 19302 h 146144"/>
                      <a:gd name="connsiteX16" fmla="*/ 13874 w 95969"/>
                      <a:gd name="connsiteY16" fmla="*/ 89517 h 1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969" h="146144">
                        <a:moveTo>
                          <a:pt x="89036" y="146145"/>
                        </a:moveTo>
                        <a:cubicBezTo>
                          <a:pt x="87877" y="146145"/>
                          <a:pt x="86715" y="145853"/>
                          <a:pt x="85665" y="145271"/>
                        </a:cubicBezTo>
                        <a:lnTo>
                          <a:pt x="3567" y="99659"/>
                        </a:lnTo>
                        <a:cubicBezTo>
                          <a:pt x="1366" y="98437"/>
                          <a:pt x="0" y="96117"/>
                          <a:pt x="0" y="93596"/>
                        </a:cubicBezTo>
                        <a:lnTo>
                          <a:pt x="0" y="6937"/>
                        </a:lnTo>
                        <a:cubicBezTo>
                          <a:pt x="0" y="4427"/>
                          <a:pt x="1355" y="2113"/>
                          <a:pt x="3542" y="888"/>
                        </a:cubicBezTo>
                        <a:cubicBezTo>
                          <a:pt x="5733" y="-341"/>
                          <a:pt x="8408" y="-292"/>
                          <a:pt x="10553" y="1018"/>
                        </a:cubicBezTo>
                        <a:lnTo>
                          <a:pt x="92652" y="51190"/>
                        </a:lnTo>
                        <a:cubicBezTo>
                          <a:pt x="94713" y="52454"/>
                          <a:pt x="95969" y="54694"/>
                          <a:pt x="95969" y="57109"/>
                        </a:cubicBezTo>
                        <a:lnTo>
                          <a:pt x="95969" y="139208"/>
                        </a:lnTo>
                        <a:cubicBezTo>
                          <a:pt x="95969" y="141665"/>
                          <a:pt x="94670" y="143940"/>
                          <a:pt x="92553" y="145183"/>
                        </a:cubicBezTo>
                        <a:cubicBezTo>
                          <a:pt x="91469" y="145825"/>
                          <a:pt x="90254" y="146145"/>
                          <a:pt x="89036" y="146145"/>
                        </a:cubicBezTo>
                        <a:close/>
                        <a:moveTo>
                          <a:pt x="13874" y="89517"/>
                        </a:moveTo>
                        <a:lnTo>
                          <a:pt x="82102" y="127419"/>
                        </a:lnTo>
                        <a:lnTo>
                          <a:pt x="82102" y="60999"/>
                        </a:lnTo>
                        <a:lnTo>
                          <a:pt x="13874" y="19302"/>
                        </a:lnTo>
                        <a:lnTo>
                          <a:pt x="13874" y="89517"/>
                        </a:lnTo>
                        <a:close/>
                      </a:path>
                    </a:pathLst>
                  </a:custGeom>
                  <a:solidFill>
                    <a:schemeClr val="accent1"/>
                  </a:solidFill>
                  <a:ln w="351" cap="flat">
                    <a:noFill/>
                    <a:prstDash val="solid"/>
                    <a:miter/>
                  </a:ln>
                </p:spPr>
                <p:txBody>
                  <a:bodyPr rtlCol="0" anchor="ctr"/>
                  <a:lstStyle/>
                  <a:p>
                    <a:endParaRPr lang="en-GB" dirty="0"/>
                  </a:p>
                </p:txBody>
              </p:sp>
              <p:sp>
                <p:nvSpPr>
                  <p:cNvPr id="502" name="Freihandform: Form 76">
                    <a:extLst>
                      <a:ext uri="{FF2B5EF4-FFF2-40B4-BE49-F238E27FC236}">
                        <a16:creationId xmlns:a16="http://schemas.microsoft.com/office/drawing/2014/main" id="{8A32ECBD-D3CF-479E-B071-3DA89391780A}"/>
                      </a:ext>
                    </a:extLst>
                  </p:cNvPr>
                  <p:cNvSpPr/>
                  <p:nvPr/>
                </p:nvSpPr>
                <p:spPr>
                  <a:xfrm>
                    <a:off x="1975448" y="2767542"/>
                    <a:ext cx="178062" cy="61295"/>
                  </a:xfrm>
                  <a:custGeom>
                    <a:avLst/>
                    <a:gdLst>
                      <a:gd name="connsiteX0" fmla="*/ 171126 w 178062"/>
                      <a:gd name="connsiteY0" fmla="*/ 61295 h 61295"/>
                      <a:gd name="connsiteX1" fmla="*/ 167664 w 178062"/>
                      <a:gd name="connsiteY1" fmla="*/ 60368 h 61295"/>
                      <a:gd name="connsiteX2" fmla="*/ 88996 w 178062"/>
                      <a:gd name="connsiteY2" fmla="*/ 14946 h 61295"/>
                      <a:gd name="connsiteX3" fmla="*/ 10408 w 178062"/>
                      <a:gd name="connsiteY3" fmla="*/ 60364 h 61295"/>
                      <a:gd name="connsiteX4" fmla="*/ 932 w 178062"/>
                      <a:gd name="connsiteY4" fmla="*/ 57830 h 61295"/>
                      <a:gd name="connsiteX5" fmla="*/ 3463 w 178062"/>
                      <a:gd name="connsiteY5" fmla="*/ 48354 h 61295"/>
                      <a:gd name="connsiteX6" fmla="*/ 85523 w 178062"/>
                      <a:gd name="connsiteY6" fmla="*/ 931 h 61295"/>
                      <a:gd name="connsiteX7" fmla="*/ 92461 w 178062"/>
                      <a:gd name="connsiteY7" fmla="*/ 928 h 61295"/>
                      <a:gd name="connsiteX8" fmla="*/ 174594 w 178062"/>
                      <a:gd name="connsiteY8" fmla="*/ 48351 h 61295"/>
                      <a:gd name="connsiteX9" fmla="*/ 177133 w 178062"/>
                      <a:gd name="connsiteY9" fmla="*/ 57826 h 61295"/>
                      <a:gd name="connsiteX10" fmla="*/ 171126 w 178062"/>
                      <a:gd name="connsiteY10" fmla="*/ 61295 h 61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062" h="61295">
                        <a:moveTo>
                          <a:pt x="171126" y="61295"/>
                        </a:moveTo>
                        <a:cubicBezTo>
                          <a:pt x="169950" y="61295"/>
                          <a:pt x="168759" y="60996"/>
                          <a:pt x="167664" y="60368"/>
                        </a:cubicBezTo>
                        <a:lnTo>
                          <a:pt x="88996" y="14946"/>
                        </a:lnTo>
                        <a:lnTo>
                          <a:pt x="10408" y="60364"/>
                        </a:lnTo>
                        <a:cubicBezTo>
                          <a:pt x="7083" y="62281"/>
                          <a:pt x="2846" y="61144"/>
                          <a:pt x="932" y="57830"/>
                        </a:cubicBezTo>
                        <a:cubicBezTo>
                          <a:pt x="-985" y="54512"/>
                          <a:pt x="149" y="50271"/>
                          <a:pt x="3463" y="48354"/>
                        </a:cubicBezTo>
                        <a:lnTo>
                          <a:pt x="85523" y="931"/>
                        </a:lnTo>
                        <a:cubicBezTo>
                          <a:pt x="87672" y="-308"/>
                          <a:pt x="90316" y="-312"/>
                          <a:pt x="92461" y="928"/>
                        </a:cubicBezTo>
                        <a:lnTo>
                          <a:pt x="174594" y="48351"/>
                        </a:lnTo>
                        <a:cubicBezTo>
                          <a:pt x="177912" y="50268"/>
                          <a:pt x="179046" y="54509"/>
                          <a:pt x="177133" y="57826"/>
                        </a:cubicBezTo>
                        <a:cubicBezTo>
                          <a:pt x="175855" y="60052"/>
                          <a:pt x="173523" y="61295"/>
                          <a:pt x="171126" y="61295"/>
                        </a:cubicBezTo>
                        <a:close/>
                      </a:path>
                    </a:pathLst>
                  </a:custGeom>
                  <a:solidFill>
                    <a:schemeClr val="accent1"/>
                  </a:solidFill>
                  <a:ln w="351" cap="flat">
                    <a:noFill/>
                    <a:prstDash val="solid"/>
                    <a:miter/>
                  </a:ln>
                </p:spPr>
                <p:txBody>
                  <a:bodyPr rtlCol="0" anchor="ctr"/>
                  <a:lstStyle/>
                  <a:p>
                    <a:endParaRPr lang="en-GB" dirty="0"/>
                  </a:p>
                </p:txBody>
              </p:sp>
            </p:grpSp>
            <p:sp>
              <p:nvSpPr>
                <p:cNvPr id="499" name="Freihandform: Form 77">
                  <a:extLst>
                    <a:ext uri="{FF2B5EF4-FFF2-40B4-BE49-F238E27FC236}">
                      <a16:creationId xmlns:a16="http://schemas.microsoft.com/office/drawing/2014/main" id="{CC281396-43C6-4D27-A91C-04C08458CFE2}"/>
                    </a:ext>
                  </a:extLst>
                </p:cNvPr>
                <p:cNvSpPr/>
                <p:nvPr/>
              </p:nvSpPr>
              <p:spPr>
                <a:xfrm>
                  <a:off x="2063279" y="2819749"/>
                  <a:ext cx="48095" cy="66730"/>
                </a:xfrm>
                <a:custGeom>
                  <a:avLst/>
                  <a:gdLst>
                    <a:gd name="connsiteX0" fmla="*/ 41162 w 48095"/>
                    <a:gd name="connsiteY0" fmla="*/ 66730 h 66730"/>
                    <a:gd name="connsiteX1" fmla="*/ 34228 w 48095"/>
                    <a:gd name="connsiteY1" fmla="*/ 59797 h 66730"/>
                    <a:gd name="connsiteX2" fmla="*/ 34228 w 48095"/>
                    <a:gd name="connsiteY2" fmla="*/ 31735 h 66730"/>
                    <a:gd name="connsiteX3" fmla="*/ 3320 w 48095"/>
                    <a:gd name="connsiteY3" fmla="*/ 12851 h 66730"/>
                    <a:gd name="connsiteX4" fmla="*/ 1017 w 48095"/>
                    <a:gd name="connsiteY4" fmla="*/ 3316 h 66730"/>
                    <a:gd name="connsiteX5" fmla="*/ 10552 w 48095"/>
                    <a:gd name="connsiteY5" fmla="*/ 1013 h 66730"/>
                    <a:gd name="connsiteX6" fmla="*/ 44778 w 48095"/>
                    <a:gd name="connsiteY6" fmla="*/ 21926 h 66730"/>
                    <a:gd name="connsiteX7" fmla="*/ 48096 w 48095"/>
                    <a:gd name="connsiteY7" fmla="*/ 27845 h 66730"/>
                    <a:gd name="connsiteX8" fmla="*/ 48096 w 48095"/>
                    <a:gd name="connsiteY8" fmla="*/ 59800 h 66730"/>
                    <a:gd name="connsiteX9" fmla="*/ 41162 w 48095"/>
                    <a:gd name="connsiteY9" fmla="*/ 66730 h 66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95" h="66730">
                      <a:moveTo>
                        <a:pt x="41162" y="66730"/>
                      </a:moveTo>
                      <a:cubicBezTo>
                        <a:pt x="37332" y="66730"/>
                        <a:pt x="34228" y="63623"/>
                        <a:pt x="34228" y="59797"/>
                      </a:cubicBezTo>
                      <a:lnTo>
                        <a:pt x="34228" y="31735"/>
                      </a:lnTo>
                      <a:lnTo>
                        <a:pt x="3320" y="12851"/>
                      </a:lnTo>
                      <a:cubicBezTo>
                        <a:pt x="51" y="10853"/>
                        <a:pt x="-977" y="6584"/>
                        <a:pt x="1017" y="3316"/>
                      </a:cubicBezTo>
                      <a:cubicBezTo>
                        <a:pt x="3018" y="44"/>
                        <a:pt x="7290" y="-971"/>
                        <a:pt x="10552" y="1013"/>
                      </a:cubicBezTo>
                      <a:lnTo>
                        <a:pt x="44778" y="21926"/>
                      </a:lnTo>
                      <a:cubicBezTo>
                        <a:pt x="46839" y="23187"/>
                        <a:pt x="48096" y="25430"/>
                        <a:pt x="48096" y="27845"/>
                      </a:cubicBezTo>
                      <a:lnTo>
                        <a:pt x="48096" y="59800"/>
                      </a:lnTo>
                      <a:cubicBezTo>
                        <a:pt x="48099" y="63623"/>
                        <a:pt x="44992" y="66730"/>
                        <a:pt x="41162" y="66730"/>
                      </a:cubicBezTo>
                      <a:close/>
                    </a:path>
                  </a:pathLst>
                </a:custGeom>
                <a:solidFill>
                  <a:schemeClr val="accent1"/>
                </a:solidFill>
                <a:ln w="351" cap="flat">
                  <a:noFill/>
                  <a:prstDash val="solid"/>
                  <a:miter/>
                </a:ln>
              </p:spPr>
              <p:txBody>
                <a:bodyPr rtlCol="0" anchor="ctr"/>
                <a:lstStyle/>
                <a:p>
                  <a:endParaRPr lang="en-GB" dirty="0"/>
                </a:p>
              </p:txBody>
            </p:sp>
          </p:grpSp>
          <p:grpSp>
            <p:nvGrpSpPr>
              <p:cNvPr id="492" name="Graphic 10">
                <a:extLst>
                  <a:ext uri="{FF2B5EF4-FFF2-40B4-BE49-F238E27FC236}">
                    <a16:creationId xmlns:a16="http://schemas.microsoft.com/office/drawing/2014/main" id="{B3BE3619-34EF-4A0F-8C79-118F4856967B}"/>
                  </a:ext>
                </a:extLst>
              </p:cNvPr>
              <p:cNvGrpSpPr/>
              <p:nvPr/>
            </p:nvGrpSpPr>
            <p:grpSpPr>
              <a:xfrm>
                <a:off x="1697842" y="2767546"/>
                <a:ext cx="178075" cy="193561"/>
                <a:chOff x="1697842" y="2767546"/>
                <a:chExt cx="178075" cy="193561"/>
              </a:xfrm>
              <a:solidFill>
                <a:schemeClr val="accent1"/>
              </a:solidFill>
            </p:grpSpPr>
            <p:grpSp>
              <p:nvGrpSpPr>
                <p:cNvPr id="493" name="Graphic 10">
                  <a:extLst>
                    <a:ext uri="{FF2B5EF4-FFF2-40B4-BE49-F238E27FC236}">
                      <a16:creationId xmlns:a16="http://schemas.microsoft.com/office/drawing/2014/main" id="{661440A7-7099-4441-BD39-5AC79E0E6C37}"/>
                    </a:ext>
                  </a:extLst>
                </p:cNvPr>
                <p:cNvGrpSpPr/>
                <p:nvPr/>
              </p:nvGrpSpPr>
              <p:grpSpPr>
                <a:xfrm>
                  <a:off x="1697842" y="2767546"/>
                  <a:ext cx="178075" cy="193561"/>
                  <a:chOff x="1697842" y="2767546"/>
                  <a:chExt cx="178075" cy="193561"/>
                </a:xfrm>
                <a:solidFill>
                  <a:schemeClr val="accent1"/>
                </a:solidFill>
              </p:grpSpPr>
              <p:sp>
                <p:nvSpPr>
                  <p:cNvPr id="495" name="Freihandform: Form 80">
                    <a:extLst>
                      <a:ext uri="{FF2B5EF4-FFF2-40B4-BE49-F238E27FC236}">
                        <a16:creationId xmlns:a16="http://schemas.microsoft.com/office/drawing/2014/main" id="{8D362B52-284D-4732-AFD3-EACB8F886441}"/>
                      </a:ext>
                    </a:extLst>
                  </p:cNvPr>
                  <p:cNvSpPr/>
                  <p:nvPr/>
                </p:nvSpPr>
                <p:spPr>
                  <a:xfrm>
                    <a:off x="1697842" y="2814963"/>
                    <a:ext cx="95973" cy="146144"/>
                  </a:xfrm>
                  <a:custGeom>
                    <a:avLst/>
                    <a:gdLst>
                      <a:gd name="connsiteX0" fmla="*/ 89039 w 95973"/>
                      <a:gd name="connsiteY0" fmla="*/ 146145 h 146144"/>
                      <a:gd name="connsiteX1" fmla="*/ 85669 w 95973"/>
                      <a:gd name="connsiteY1" fmla="*/ 145271 h 146144"/>
                      <a:gd name="connsiteX2" fmla="*/ 3567 w 95973"/>
                      <a:gd name="connsiteY2" fmla="*/ 99659 h 146144"/>
                      <a:gd name="connsiteX3" fmla="*/ 0 w 95973"/>
                      <a:gd name="connsiteY3" fmla="*/ 93596 h 146144"/>
                      <a:gd name="connsiteX4" fmla="*/ 0 w 95973"/>
                      <a:gd name="connsiteY4" fmla="*/ 6937 h 146144"/>
                      <a:gd name="connsiteX5" fmla="*/ 3542 w 95973"/>
                      <a:gd name="connsiteY5" fmla="*/ 888 h 146144"/>
                      <a:gd name="connsiteX6" fmla="*/ 10553 w 95973"/>
                      <a:gd name="connsiteY6" fmla="*/ 1018 h 146144"/>
                      <a:gd name="connsiteX7" fmla="*/ 92655 w 95973"/>
                      <a:gd name="connsiteY7" fmla="*/ 51190 h 146144"/>
                      <a:gd name="connsiteX8" fmla="*/ 95973 w 95973"/>
                      <a:gd name="connsiteY8" fmla="*/ 57109 h 146144"/>
                      <a:gd name="connsiteX9" fmla="*/ 95973 w 95973"/>
                      <a:gd name="connsiteY9" fmla="*/ 139208 h 146144"/>
                      <a:gd name="connsiteX10" fmla="*/ 92557 w 95973"/>
                      <a:gd name="connsiteY10" fmla="*/ 145183 h 146144"/>
                      <a:gd name="connsiteX11" fmla="*/ 89039 w 95973"/>
                      <a:gd name="connsiteY11" fmla="*/ 146145 h 146144"/>
                      <a:gd name="connsiteX12" fmla="*/ 13874 w 95973"/>
                      <a:gd name="connsiteY12" fmla="*/ 89517 h 146144"/>
                      <a:gd name="connsiteX13" fmla="*/ 82102 w 95973"/>
                      <a:gd name="connsiteY13" fmla="*/ 127422 h 146144"/>
                      <a:gd name="connsiteX14" fmla="*/ 82102 w 95973"/>
                      <a:gd name="connsiteY14" fmla="*/ 61002 h 146144"/>
                      <a:gd name="connsiteX15" fmla="*/ 13871 w 95973"/>
                      <a:gd name="connsiteY15" fmla="*/ 19305 h 146144"/>
                      <a:gd name="connsiteX16" fmla="*/ 13871 w 95973"/>
                      <a:gd name="connsiteY16" fmla="*/ 89517 h 146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973" h="146144">
                        <a:moveTo>
                          <a:pt x="89039" y="146145"/>
                        </a:moveTo>
                        <a:cubicBezTo>
                          <a:pt x="87881" y="146145"/>
                          <a:pt x="86719" y="145853"/>
                          <a:pt x="85669" y="145271"/>
                        </a:cubicBezTo>
                        <a:lnTo>
                          <a:pt x="3567" y="99659"/>
                        </a:lnTo>
                        <a:cubicBezTo>
                          <a:pt x="1366" y="98437"/>
                          <a:pt x="0" y="96117"/>
                          <a:pt x="0" y="93596"/>
                        </a:cubicBezTo>
                        <a:lnTo>
                          <a:pt x="0" y="6937"/>
                        </a:lnTo>
                        <a:cubicBezTo>
                          <a:pt x="0" y="4427"/>
                          <a:pt x="1355" y="2113"/>
                          <a:pt x="3542" y="888"/>
                        </a:cubicBezTo>
                        <a:cubicBezTo>
                          <a:pt x="5730" y="-341"/>
                          <a:pt x="8415" y="-292"/>
                          <a:pt x="10553" y="1018"/>
                        </a:cubicBezTo>
                        <a:lnTo>
                          <a:pt x="92655" y="51190"/>
                        </a:lnTo>
                        <a:cubicBezTo>
                          <a:pt x="94716" y="52450"/>
                          <a:pt x="95973" y="54694"/>
                          <a:pt x="95973" y="57109"/>
                        </a:cubicBezTo>
                        <a:lnTo>
                          <a:pt x="95973" y="139208"/>
                        </a:lnTo>
                        <a:cubicBezTo>
                          <a:pt x="95973" y="141665"/>
                          <a:pt x="94674" y="143940"/>
                          <a:pt x="92557" y="145183"/>
                        </a:cubicBezTo>
                        <a:cubicBezTo>
                          <a:pt x="91469" y="145825"/>
                          <a:pt x="90254" y="146145"/>
                          <a:pt x="89039" y="146145"/>
                        </a:cubicBezTo>
                        <a:close/>
                        <a:moveTo>
                          <a:pt x="13874" y="89517"/>
                        </a:moveTo>
                        <a:lnTo>
                          <a:pt x="82102" y="127422"/>
                        </a:lnTo>
                        <a:lnTo>
                          <a:pt x="82102" y="61002"/>
                        </a:lnTo>
                        <a:lnTo>
                          <a:pt x="13871" y="19305"/>
                        </a:lnTo>
                        <a:lnTo>
                          <a:pt x="13871" y="89517"/>
                        </a:lnTo>
                        <a:close/>
                      </a:path>
                    </a:pathLst>
                  </a:custGeom>
                  <a:solidFill>
                    <a:schemeClr val="accent1"/>
                  </a:solidFill>
                  <a:ln w="351" cap="flat">
                    <a:noFill/>
                    <a:prstDash val="solid"/>
                    <a:miter/>
                  </a:ln>
                </p:spPr>
                <p:txBody>
                  <a:bodyPr rtlCol="0" anchor="ctr"/>
                  <a:lstStyle/>
                  <a:p>
                    <a:endParaRPr lang="en-GB" dirty="0"/>
                  </a:p>
                </p:txBody>
              </p:sp>
              <p:sp>
                <p:nvSpPr>
                  <p:cNvPr id="496" name="Freihandform: Form 81">
                    <a:extLst>
                      <a:ext uri="{FF2B5EF4-FFF2-40B4-BE49-F238E27FC236}">
                        <a16:creationId xmlns:a16="http://schemas.microsoft.com/office/drawing/2014/main" id="{E72A2BE7-C68B-42DD-A434-FB9E4F1A96F5}"/>
                      </a:ext>
                    </a:extLst>
                  </p:cNvPr>
                  <p:cNvSpPr/>
                  <p:nvPr/>
                </p:nvSpPr>
                <p:spPr>
                  <a:xfrm>
                    <a:off x="1779948" y="2814965"/>
                    <a:ext cx="95969" cy="146142"/>
                  </a:xfrm>
                  <a:custGeom>
                    <a:avLst/>
                    <a:gdLst>
                      <a:gd name="connsiteX0" fmla="*/ 6934 w 95969"/>
                      <a:gd name="connsiteY0" fmla="*/ 146143 h 146142"/>
                      <a:gd name="connsiteX1" fmla="*/ 3416 w 95969"/>
                      <a:gd name="connsiteY1" fmla="*/ 145184 h 146142"/>
                      <a:gd name="connsiteX2" fmla="*/ 0 w 95969"/>
                      <a:gd name="connsiteY2" fmla="*/ 139209 h 146142"/>
                      <a:gd name="connsiteX3" fmla="*/ 0 w 95969"/>
                      <a:gd name="connsiteY3" fmla="*/ 57110 h 146142"/>
                      <a:gd name="connsiteX4" fmla="*/ 3318 w 95969"/>
                      <a:gd name="connsiteY4" fmla="*/ 51191 h 146142"/>
                      <a:gd name="connsiteX5" fmla="*/ 85416 w 95969"/>
                      <a:gd name="connsiteY5" fmla="*/ 1019 h 146142"/>
                      <a:gd name="connsiteX6" fmla="*/ 92427 w 95969"/>
                      <a:gd name="connsiteY6" fmla="*/ 889 h 146142"/>
                      <a:gd name="connsiteX7" fmla="*/ 95970 w 95969"/>
                      <a:gd name="connsiteY7" fmla="*/ 6938 h 146142"/>
                      <a:gd name="connsiteX8" fmla="*/ 95970 w 95969"/>
                      <a:gd name="connsiteY8" fmla="*/ 93597 h 146142"/>
                      <a:gd name="connsiteX9" fmla="*/ 92403 w 95969"/>
                      <a:gd name="connsiteY9" fmla="*/ 99661 h 146142"/>
                      <a:gd name="connsiteX10" fmla="*/ 10304 w 95969"/>
                      <a:gd name="connsiteY10" fmla="*/ 145272 h 146142"/>
                      <a:gd name="connsiteX11" fmla="*/ 6934 w 95969"/>
                      <a:gd name="connsiteY11" fmla="*/ 146143 h 146142"/>
                      <a:gd name="connsiteX12" fmla="*/ 13867 w 95969"/>
                      <a:gd name="connsiteY12" fmla="*/ 61000 h 146142"/>
                      <a:gd name="connsiteX13" fmla="*/ 13867 w 95969"/>
                      <a:gd name="connsiteY13" fmla="*/ 127420 h 146142"/>
                      <a:gd name="connsiteX14" fmla="*/ 82095 w 95969"/>
                      <a:gd name="connsiteY14" fmla="*/ 89518 h 146142"/>
                      <a:gd name="connsiteX15" fmla="*/ 82095 w 95969"/>
                      <a:gd name="connsiteY15" fmla="*/ 19307 h 146142"/>
                      <a:gd name="connsiteX16" fmla="*/ 13867 w 95969"/>
                      <a:gd name="connsiteY16" fmla="*/ 61000 h 146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5969" h="146142">
                        <a:moveTo>
                          <a:pt x="6934" y="146143"/>
                        </a:moveTo>
                        <a:cubicBezTo>
                          <a:pt x="5719" y="146143"/>
                          <a:pt x="4501" y="145823"/>
                          <a:pt x="3416" y="145184"/>
                        </a:cubicBezTo>
                        <a:cubicBezTo>
                          <a:pt x="1299" y="143938"/>
                          <a:pt x="0" y="141666"/>
                          <a:pt x="0" y="139209"/>
                        </a:cubicBezTo>
                        <a:lnTo>
                          <a:pt x="0" y="57110"/>
                        </a:lnTo>
                        <a:cubicBezTo>
                          <a:pt x="0" y="54695"/>
                          <a:pt x="1257" y="52455"/>
                          <a:pt x="3318" y="51191"/>
                        </a:cubicBezTo>
                        <a:lnTo>
                          <a:pt x="85416" y="1019"/>
                        </a:lnTo>
                        <a:cubicBezTo>
                          <a:pt x="87554" y="-290"/>
                          <a:pt x="90233" y="-343"/>
                          <a:pt x="92427" y="889"/>
                        </a:cubicBezTo>
                        <a:cubicBezTo>
                          <a:pt x="94614" y="2115"/>
                          <a:pt x="95970" y="4428"/>
                          <a:pt x="95970" y="6938"/>
                        </a:cubicBezTo>
                        <a:lnTo>
                          <a:pt x="95970" y="93597"/>
                        </a:lnTo>
                        <a:cubicBezTo>
                          <a:pt x="95970" y="96118"/>
                          <a:pt x="94604" y="98435"/>
                          <a:pt x="92403" y="99661"/>
                        </a:cubicBezTo>
                        <a:lnTo>
                          <a:pt x="10304" y="145272"/>
                        </a:lnTo>
                        <a:cubicBezTo>
                          <a:pt x="9254" y="145851"/>
                          <a:pt x="8092" y="146143"/>
                          <a:pt x="6934" y="146143"/>
                        </a:cubicBezTo>
                        <a:close/>
                        <a:moveTo>
                          <a:pt x="13867" y="61000"/>
                        </a:moveTo>
                        <a:lnTo>
                          <a:pt x="13867" y="127420"/>
                        </a:lnTo>
                        <a:lnTo>
                          <a:pt x="82095" y="89518"/>
                        </a:lnTo>
                        <a:lnTo>
                          <a:pt x="82095" y="19307"/>
                        </a:lnTo>
                        <a:lnTo>
                          <a:pt x="13867" y="61000"/>
                        </a:lnTo>
                        <a:close/>
                      </a:path>
                    </a:pathLst>
                  </a:custGeom>
                  <a:solidFill>
                    <a:schemeClr val="accent1"/>
                  </a:solidFill>
                  <a:ln w="351" cap="flat">
                    <a:noFill/>
                    <a:prstDash val="solid"/>
                    <a:miter/>
                  </a:ln>
                </p:spPr>
                <p:txBody>
                  <a:bodyPr rtlCol="0" anchor="ctr"/>
                  <a:lstStyle/>
                  <a:p>
                    <a:endParaRPr lang="en-GB" dirty="0"/>
                  </a:p>
                </p:txBody>
              </p:sp>
              <p:sp>
                <p:nvSpPr>
                  <p:cNvPr id="497" name="Freihandform: Form 82">
                    <a:extLst>
                      <a:ext uri="{FF2B5EF4-FFF2-40B4-BE49-F238E27FC236}">
                        <a16:creationId xmlns:a16="http://schemas.microsoft.com/office/drawing/2014/main" id="{80BE3C81-4C91-408B-9F57-EE7CD7A56438}"/>
                      </a:ext>
                    </a:extLst>
                  </p:cNvPr>
                  <p:cNvSpPr/>
                  <p:nvPr/>
                </p:nvSpPr>
                <p:spPr>
                  <a:xfrm>
                    <a:off x="1697843" y="2767546"/>
                    <a:ext cx="178065" cy="61291"/>
                  </a:xfrm>
                  <a:custGeom>
                    <a:avLst/>
                    <a:gdLst>
                      <a:gd name="connsiteX0" fmla="*/ 171130 w 178065"/>
                      <a:gd name="connsiteY0" fmla="*/ 61291 h 61291"/>
                      <a:gd name="connsiteX1" fmla="*/ 167665 w 178065"/>
                      <a:gd name="connsiteY1" fmla="*/ 60361 h 61291"/>
                      <a:gd name="connsiteX2" fmla="*/ 89077 w 178065"/>
                      <a:gd name="connsiteY2" fmla="*/ 14943 h 61291"/>
                      <a:gd name="connsiteX3" fmla="*/ 10405 w 178065"/>
                      <a:gd name="connsiteY3" fmla="*/ 60364 h 61291"/>
                      <a:gd name="connsiteX4" fmla="*/ 930 w 178065"/>
                      <a:gd name="connsiteY4" fmla="*/ 57826 h 61291"/>
                      <a:gd name="connsiteX5" fmla="*/ 3468 w 178065"/>
                      <a:gd name="connsiteY5" fmla="*/ 48351 h 61291"/>
                      <a:gd name="connsiteX6" fmla="*/ 85605 w 178065"/>
                      <a:gd name="connsiteY6" fmla="*/ 928 h 61291"/>
                      <a:gd name="connsiteX7" fmla="*/ 92542 w 178065"/>
                      <a:gd name="connsiteY7" fmla="*/ 931 h 61291"/>
                      <a:gd name="connsiteX8" fmla="*/ 174602 w 178065"/>
                      <a:gd name="connsiteY8" fmla="*/ 48354 h 61291"/>
                      <a:gd name="connsiteX9" fmla="*/ 177133 w 178065"/>
                      <a:gd name="connsiteY9" fmla="*/ 57830 h 61291"/>
                      <a:gd name="connsiteX10" fmla="*/ 171130 w 178065"/>
                      <a:gd name="connsiteY10" fmla="*/ 61291 h 6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8065" h="61291">
                        <a:moveTo>
                          <a:pt x="171130" y="61291"/>
                        </a:moveTo>
                        <a:cubicBezTo>
                          <a:pt x="169951" y="61291"/>
                          <a:pt x="168760" y="60993"/>
                          <a:pt x="167665" y="60361"/>
                        </a:cubicBezTo>
                        <a:lnTo>
                          <a:pt x="89077" y="14943"/>
                        </a:lnTo>
                        <a:lnTo>
                          <a:pt x="10405" y="60364"/>
                        </a:lnTo>
                        <a:cubicBezTo>
                          <a:pt x="7073" y="62274"/>
                          <a:pt x="2840" y="61137"/>
                          <a:pt x="930" y="57826"/>
                        </a:cubicBezTo>
                        <a:cubicBezTo>
                          <a:pt x="-984" y="54509"/>
                          <a:pt x="150" y="50268"/>
                          <a:pt x="3468" y="48351"/>
                        </a:cubicBezTo>
                        <a:lnTo>
                          <a:pt x="85605" y="928"/>
                        </a:lnTo>
                        <a:cubicBezTo>
                          <a:pt x="87754" y="-312"/>
                          <a:pt x="90397" y="-308"/>
                          <a:pt x="92542" y="931"/>
                        </a:cubicBezTo>
                        <a:lnTo>
                          <a:pt x="174602" y="48354"/>
                        </a:lnTo>
                        <a:cubicBezTo>
                          <a:pt x="177916" y="50271"/>
                          <a:pt x="179050" y="54512"/>
                          <a:pt x="177133" y="57830"/>
                        </a:cubicBezTo>
                        <a:cubicBezTo>
                          <a:pt x="175856" y="60048"/>
                          <a:pt x="173528" y="61291"/>
                          <a:pt x="171130" y="61291"/>
                        </a:cubicBezTo>
                        <a:close/>
                      </a:path>
                    </a:pathLst>
                  </a:custGeom>
                  <a:solidFill>
                    <a:schemeClr val="accent1"/>
                  </a:solidFill>
                  <a:ln w="351" cap="flat">
                    <a:noFill/>
                    <a:prstDash val="solid"/>
                    <a:miter/>
                  </a:ln>
                </p:spPr>
                <p:txBody>
                  <a:bodyPr rtlCol="0" anchor="ctr"/>
                  <a:lstStyle/>
                  <a:p>
                    <a:endParaRPr lang="en-GB" dirty="0"/>
                  </a:p>
                </p:txBody>
              </p:sp>
            </p:grpSp>
            <p:sp>
              <p:nvSpPr>
                <p:cNvPr id="494" name="Freihandform: Form 83">
                  <a:extLst>
                    <a:ext uri="{FF2B5EF4-FFF2-40B4-BE49-F238E27FC236}">
                      <a16:creationId xmlns:a16="http://schemas.microsoft.com/office/drawing/2014/main" id="{67DEC8F8-95F7-442E-B1F7-7738F1D61DD3}"/>
                    </a:ext>
                  </a:extLst>
                </p:cNvPr>
                <p:cNvSpPr/>
                <p:nvPr/>
              </p:nvSpPr>
              <p:spPr>
                <a:xfrm>
                  <a:off x="1739988" y="2819746"/>
                  <a:ext cx="48092" cy="66733"/>
                </a:xfrm>
                <a:custGeom>
                  <a:avLst/>
                  <a:gdLst>
                    <a:gd name="connsiteX0" fmla="*/ 6934 w 48092"/>
                    <a:gd name="connsiteY0" fmla="*/ 66734 h 66733"/>
                    <a:gd name="connsiteX1" fmla="*/ 0 w 48092"/>
                    <a:gd name="connsiteY1" fmla="*/ 59800 h 66733"/>
                    <a:gd name="connsiteX2" fmla="*/ 0 w 48092"/>
                    <a:gd name="connsiteY2" fmla="*/ 27845 h 66733"/>
                    <a:gd name="connsiteX3" fmla="*/ 3318 w 48092"/>
                    <a:gd name="connsiteY3" fmla="*/ 21926 h 66733"/>
                    <a:gd name="connsiteX4" fmla="*/ 37540 w 48092"/>
                    <a:gd name="connsiteY4" fmla="*/ 1013 h 66733"/>
                    <a:gd name="connsiteX5" fmla="*/ 47075 w 48092"/>
                    <a:gd name="connsiteY5" fmla="*/ 3316 h 66733"/>
                    <a:gd name="connsiteX6" fmla="*/ 44772 w 48092"/>
                    <a:gd name="connsiteY6" fmla="*/ 12851 h 66733"/>
                    <a:gd name="connsiteX7" fmla="*/ 13867 w 48092"/>
                    <a:gd name="connsiteY7" fmla="*/ 31735 h 66733"/>
                    <a:gd name="connsiteX8" fmla="*/ 13867 w 48092"/>
                    <a:gd name="connsiteY8" fmla="*/ 59797 h 66733"/>
                    <a:gd name="connsiteX9" fmla="*/ 6934 w 48092"/>
                    <a:gd name="connsiteY9" fmla="*/ 66734 h 667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92" h="66733">
                      <a:moveTo>
                        <a:pt x="6934" y="66734"/>
                      </a:moveTo>
                      <a:cubicBezTo>
                        <a:pt x="3104" y="66734"/>
                        <a:pt x="0" y="63627"/>
                        <a:pt x="0" y="59800"/>
                      </a:cubicBezTo>
                      <a:lnTo>
                        <a:pt x="0" y="27845"/>
                      </a:lnTo>
                      <a:cubicBezTo>
                        <a:pt x="0" y="25430"/>
                        <a:pt x="1257" y="23190"/>
                        <a:pt x="3318" y="21926"/>
                      </a:cubicBezTo>
                      <a:lnTo>
                        <a:pt x="37540" y="1013"/>
                      </a:lnTo>
                      <a:cubicBezTo>
                        <a:pt x="40805" y="-971"/>
                        <a:pt x="45071" y="44"/>
                        <a:pt x="47075" y="3316"/>
                      </a:cubicBezTo>
                      <a:cubicBezTo>
                        <a:pt x="49070" y="6584"/>
                        <a:pt x="48041" y="10853"/>
                        <a:pt x="44772" y="12851"/>
                      </a:cubicBezTo>
                      <a:lnTo>
                        <a:pt x="13867" y="31735"/>
                      </a:lnTo>
                      <a:lnTo>
                        <a:pt x="13867" y="59797"/>
                      </a:lnTo>
                      <a:cubicBezTo>
                        <a:pt x="13867" y="63627"/>
                        <a:pt x="10764" y="66734"/>
                        <a:pt x="6934" y="66734"/>
                      </a:cubicBezTo>
                      <a:close/>
                    </a:path>
                  </a:pathLst>
                </a:custGeom>
                <a:solidFill>
                  <a:schemeClr val="accent1"/>
                </a:solidFill>
                <a:ln w="351" cap="flat">
                  <a:noFill/>
                  <a:prstDash val="solid"/>
                  <a:miter/>
                </a:ln>
              </p:spPr>
              <p:txBody>
                <a:bodyPr rtlCol="0" anchor="ctr"/>
                <a:lstStyle/>
                <a:p>
                  <a:endParaRPr lang="en-GB" dirty="0"/>
                </a:p>
              </p:txBody>
            </p:sp>
          </p:grpSp>
        </p:grpSp>
      </p:grpSp>
      <p:grpSp>
        <p:nvGrpSpPr>
          <p:cNvPr id="219" name="Group 218">
            <a:extLst>
              <a:ext uri="{FF2B5EF4-FFF2-40B4-BE49-F238E27FC236}">
                <a16:creationId xmlns:a16="http://schemas.microsoft.com/office/drawing/2014/main" id="{CAED4E62-3039-A798-1BFA-8288ABB702D1}"/>
              </a:ext>
            </a:extLst>
          </p:cNvPr>
          <p:cNvGrpSpPr/>
          <p:nvPr/>
        </p:nvGrpSpPr>
        <p:grpSpPr>
          <a:xfrm>
            <a:off x="7110777" y="3197064"/>
            <a:ext cx="377520" cy="432006"/>
            <a:chOff x="7110365" y="3197064"/>
            <a:chExt cx="377520" cy="432006"/>
          </a:xfrm>
        </p:grpSpPr>
        <p:grpSp>
          <p:nvGrpSpPr>
            <p:cNvPr id="514" name="Graphic 10">
              <a:extLst>
                <a:ext uri="{FF2B5EF4-FFF2-40B4-BE49-F238E27FC236}">
                  <a16:creationId xmlns:a16="http://schemas.microsoft.com/office/drawing/2014/main" id="{BB50C342-DE71-4BDA-8E59-911B21BE7DF9}"/>
                </a:ext>
              </a:extLst>
            </p:cNvPr>
            <p:cNvGrpSpPr/>
            <p:nvPr/>
          </p:nvGrpSpPr>
          <p:grpSpPr>
            <a:xfrm>
              <a:off x="7110365" y="3395017"/>
              <a:ext cx="195373" cy="234051"/>
              <a:chOff x="3480188" y="2745927"/>
              <a:chExt cx="207315" cy="248356"/>
            </a:xfrm>
            <a:solidFill>
              <a:schemeClr val="tx2"/>
            </a:solidFill>
          </p:grpSpPr>
          <p:sp>
            <p:nvSpPr>
              <p:cNvPr id="523" name="Freihandform: Form 167">
                <a:extLst>
                  <a:ext uri="{FF2B5EF4-FFF2-40B4-BE49-F238E27FC236}">
                    <a16:creationId xmlns:a16="http://schemas.microsoft.com/office/drawing/2014/main" id="{3134C6E7-1794-4410-8B34-8CF2513AC460}"/>
                  </a:ext>
                </a:extLst>
              </p:cNvPr>
              <p:cNvSpPr/>
              <p:nvPr/>
            </p:nvSpPr>
            <p:spPr>
              <a:xfrm>
                <a:off x="3480190" y="2798690"/>
                <a:ext cx="207312" cy="195593"/>
              </a:xfrm>
              <a:custGeom>
                <a:avLst/>
                <a:gdLst>
                  <a:gd name="connsiteX0" fmla="*/ 200379 w 207312"/>
                  <a:gd name="connsiteY0" fmla="*/ 195594 h 195593"/>
                  <a:gd name="connsiteX1" fmla="*/ 6934 w 207312"/>
                  <a:gd name="connsiteY1" fmla="*/ 195594 h 195593"/>
                  <a:gd name="connsiteX2" fmla="*/ 0 w 207312"/>
                  <a:gd name="connsiteY2" fmla="*/ 188660 h 195593"/>
                  <a:gd name="connsiteX3" fmla="*/ 0 w 207312"/>
                  <a:gd name="connsiteY3" fmla="*/ 6934 h 195593"/>
                  <a:gd name="connsiteX4" fmla="*/ 6934 w 207312"/>
                  <a:gd name="connsiteY4" fmla="*/ 0 h 195593"/>
                  <a:gd name="connsiteX5" fmla="*/ 200379 w 207312"/>
                  <a:gd name="connsiteY5" fmla="*/ 0 h 195593"/>
                  <a:gd name="connsiteX6" fmla="*/ 207312 w 207312"/>
                  <a:gd name="connsiteY6" fmla="*/ 6934 h 195593"/>
                  <a:gd name="connsiteX7" fmla="*/ 207312 w 207312"/>
                  <a:gd name="connsiteY7" fmla="*/ 188660 h 195593"/>
                  <a:gd name="connsiteX8" fmla="*/ 200379 w 207312"/>
                  <a:gd name="connsiteY8" fmla="*/ 195594 h 195593"/>
                  <a:gd name="connsiteX9" fmla="*/ 13867 w 207312"/>
                  <a:gd name="connsiteY9" fmla="*/ 181726 h 195593"/>
                  <a:gd name="connsiteX10" fmla="*/ 193445 w 207312"/>
                  <a:gd name="connsiteY10" fmla="*/ 181726 h 195593"/>
                  <a:gd name="connsiteX11" fmla="*/ 193445 w 207312"/>
                  <a:gd name="connsiteY11" fmla="*/ 13871 h 195593"/>
                  <a:gd name="connsiteX12" fmla="*/ 13867 w 207312"/>
                  <a:gd name="connsiteY12" fmla="*/ 13871 h 195593"/>
                  <a:gd name="connsiteX13" fmla="*/ 13867 w 207312"/>
                  <a:gd name="connsiteY13" fmla="*/ 181726 h 19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7312" h="195593">
                    <a:moveTo>
                      <a:pt x="200379" y="195594"/>
                    </a:moveTo>
                    <a:lnTo>
                      <a:pt x="6934" y="195594"/>
                    </a:lnTo>
                    <a:cubicBezTo>
                      <a:pt x="3100" y="195594"/>
                      <a:pt x="0" y="192487"/>
                      <a:pt x="0" y="188660"/>
                    </a:cubicBezTo>
                    <a:lnTo>
                      <a:pt x="0" y="6934"/>
                    </a:lnTo>
                    <a:cubicBezTo>
                      <a:pt x="0" y="3104"/>
                      <a:pt x="3103" y="0"/>
                      <a:pt x="6934" y="0"/>
                    </a:cubicBezTo>
                    <a:lnTo>
                      <a:pt x="200379" y="0"/>
                    </a:lnTo>
                    <a:cubicBezTo>
                      <a:pt x="204212" y="0"/>
                      <a:pt x="207312" y="3104"/>
                      <a:pt x="207312" y="6934"/>
                    </a:cubicBezTo>
                    <a:lnTo>
                      <a:pt x="207312" y="188660"/>
                    </a:lnTo>
                    <a:cubicBezTo>
                      <a:pt x="207316" y="192490"/>
                      <a:pt x="204212" y="195594"/>
                      <a:pt x="200379" y="195594"/>
                    </a:cubicBezTo>
                    <a:close/>
                    <a:moveTo>
                      <a:pt x="13867" y="181726"/>
                    </a:moveTo>
                    <a:lnTo>
                      <a:pt x="193445" y="181726"/>
                    </a:lnTo>
                    <a:lnTo>
                      <a:pt x="193445" y="13871"/>
                    </a:lnTo>
                    <a:lnTo>
                      <a:pt x="13867" y="13871"/>
                    </a:lnTo>
                    <a:lnTo>
                      <a:pt x="13867" y="181726"/>
                    </a:lnTo>
                    <a:close/>
                  </a:path>
                </a:pathLst>
              </a:custGeom>
              <a:grpFill/>
              <a:ln w="351" cap="flat">
                <a:noFill/>
                <a:prstDash val="solid"/>
                <a:miter/>
              </a:ln>
            </p:spPr>
            <p:txBody>
              <a:bodyPr rtlCol="0" anchor="ctr"/>
              <a:lstStyle/>
              <a:p>
                <a:endParaRPr lang="en-GB" dirty="0"/>
              </a:p>
            </p:txBody>
          </p:sp>
          <p:sp>
            <p:nvSpPr>
              <p:cNvPr id="524" name="Freihandform: Form 168">
                <a:extLst>
                  <a:ext uri="{FF2B5EF4-FFF2-40B4-BE49-F238E27FC236}">
                    <a16:creationId xmlns:a16="http://schemas.microsoft.com/office/drawing/2014/main" id="{6B6F1F31-ED91-4813-92B1-228169627827}"/>
                  </a:ext>
                </a:extLst>
              </p:cNvPr>
              <p:cNvSpPr/>
              <p:nvPr/>
            </p:nvSpPr>
            <p:spPr>
              <a:xfrm>
                <a:off x="3480188" y="2745927"/>
                <a:ext cx="207315" cy="66630"/>
              </a:xfrm>
              <a:custGeom>
                <a:avLst/>
                <a:gdLst>
                  <a:gd name="connsiteX0" fmla="*/ 200380 w 207315"/>
                  <a:gd name="connsiteY0" fmla="*/ 66630 h 66630"/>
                  <a:gd name="connsiteX1" fmla="*/ 6935 w 207315"/>
                  <a:gd name="connsiteY1" fmla="*/ 66630 h 66630"/>
                  <a:gd name="connsiteX2" fmla="*/ 1308 w 207315"/>
                  <a:gd name="connsiteY2" fmla="*/ 63751 h 66630"/>
                  <a:gd name="connsiteX3" fmla="*/ 360 w 207315"/>
                  <a:gd name="connsiteY3" fmla="*/ 57502 h 66630"/>
                  <a:gd name="connsiteX4" fmla="*/ 17942 w 207315"/>
                  <a:gd name="connsiteY4" fmla="*/ 4743 h 66630"/>
                  <a:gd name="connsiteX5" fmla="*/ 24517 w 207315"/>
                  <a:gd name="connsiteY5" fmla="*/ 0 h 66630"/>
                  <a:gd name="connsiteX6" fmla="*/ 106668 w 207315"/>
                  <a:gd name="connsiteY6" fmla="*/ 0 h 66630"/>
                  <a:gd name="connsiteX7" fmla="*/ 113602 w 207315"/>
                  <a:gd name="connsiteY7" fmla="*/ 6934 h 66630"/>
                  <a:gd name="connsiteX8" fmla="*/ 106668 w 207315"/>
                  <a:gd name="connsiteY8" fmla="*/ 13867 h 66630"/>
                  <a:gd name="connsiteX9" fmla="*/ 29513 w 207315"/>
                  <a:gd name="connsiteY9" fmla="*/ 13867 h 66630"/>
                  <a:gd name="connsiteX10" fmla="*/ 16558 w 207315"/>
                  <a:gd name="connsiteY10" fmla="*/ 52756 h 66630"/>
                  <a:gd name="connsiteX11" fmla="*/ 190757 w 207315"/>
                  <a:gd name="connsiteY11" fmla="*/ 52756 h 66630"/>
                  <a:gd name="connsiteX12" fmla="*/ 181879 w 207315"/>
                  <a:gd name="connsiteY12" fmla="*/ 26113 h 66630"/>
                  <a:gd name="connsiteX13" fmla="*/ 186260 w 207315"/>
                  <a:gd name="connsiteY13" fmla="*/ 17339 h 66630"/>
                  <a:gd name="connsiteX14" fmla="*/ 195030 w 207315"/>
                  <a:gd name="connsiteY14" fmla="*/ 21724 h 66630"/>
                  <a:gd name="connsiteX15" fmla="*/ 206956 w 207315"/>
                  <a:gd name="connsiteY15" fmla="*/ 57499 h 66630"/>
                  <a:gd name="connsiteX16" fmla="*/ 206008 w 207315"/>
                  <a:gd name="connsiteY16" fmla="*/ 63748 h 66630"/>
                  <a:gd name="connsiteX17" fmla="*/ 200380 w 207315"/>
                  <a:gd name="connsiteY17" fmla="*/ 66630 h 66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315" h="66630">
                    <a:moveTo>
                      <a:pt x="200380" y="66630"/>
                    </a:moveTo>
                    <a:lnTo>
                      <a:pt x="6935" y="66630"/>
                    </a:lnTo>
                    <a:cubicBezTo>
                      <a:pt x="4706" y="66630"/>
                      <a:pt x="2614" y="65559"/>
                      <a:pt x="1308" y="63751"/>
                    </a:cubicBezTo>
                    <a:cubicBezTo>
                      <a:pt x="9" y="61943"/>
                      <a:pt x="-353" y="59616"/>
                      <a:pt x="360" y="57502"/>
                    </a:cubicBezTo>
                    <a:lnTo>
                      <a:pt x="17942" y="4743"/>
                    </a:lnTo>
                    <a:cubicBezTo>
                      <a:pt x="18882" y="1910"/>
                      <a:pt x="21530" y="0"/>
                      <a:pt x="24517" y="0"/>
                    </a:cubicBezTo>
                    <a:lnTo>
                      <a:pt x="106668" y="0"/>
                    </a:lnTo>
                    <a:cubicBezTo>
                      <a:pt x="110502" y="0"/>
                      <a:pt x="113602" y="3107"/>
                      <a:pt x="113602" y="6934"/>
                    </a:cubicBezTo>
                    <a:cubicBezTo>
                      <a:pt x="113602" y="10764"/>
                      <a:pt x="110502" y="13867"/>
                      <a:pt x="106668" y="13867"/>
                    </a:cubicBezTo>
                    <a:lnTo>
                      <a:pt x="29513" y="13867"/>
                    </a:lnTo>
                    <a:lnTo>
                      <a:pt x="16558" y="52756"/>
                    </a:lnTo>
                    <a:lnTo>
                      <a:pt x="190757" y="52756"/>
                    </a:lnTo>
                    <a:lnTo>
                      <a:pt x="181879" y="26113"/>
                    </a:lnTo>
                    <a:cubicBezTo>
                      <a:pt x="180668" y="22479"/>
                      <a:pt x="182630" y="18551"/>
                      <a:pt x="186260" y="17339"/>
                    </a:cubicBezTo>
                    <a:cubicBezTo>
                      <a:pt x="189933" y="16125"/>
                      <a:pt x="193819" y="18094"/>
                      <a:pt x="195030" y="21724"/>
                    </a:cubicBezTo>
                    <a:lnTo>
                      <a:pt x="206956" y="57499"/>
                    </a:lnTo>
                    <a:cubicBezTo>
                      <a:pt x="207669" y="59616"/>
                      <a:pt x="207307" y="61940"/>
                      <a:pt x="206008" y="63748"/>
                    </a:cubicBezTo>
                    <a:cubicBezTo>
                      <a:pt x="204702" y="65563"/>
                      <a:pt x="202610" y="66630"/>
                      <a:pt x="200380" y="66630"/>
                    </a:cubicBezTo>
                    <a:close/>
                  </a:path>
                </a:pathLst>
              </a:custGeom>
              <a:grpFill/>
              <a:ln w="351" cap="flat">
                <a:noFill/>
                <a:prstDash val="solid"/>
                <a:miter/>
              </a:ln>
            </p:spPr>
            <p:txBody>
              <a:bodyPr rtlCol="0" anchor="ctr"/>
              <a:lstStyle/>
              <a:p>
                <a:endParaRPr lang="en-GB" dirty="0"/>
              </a:p>
            </p:txBody>
          </p:sp>
          <p:sp>
            <p:nvSpPr>
              <p:cNvPr id="525" name="Freihandform: Form 169">
                <a:extLst>
                  <a:ext uri="{FF2B5EF4-FFF2-40B4-BE49-F238E27FC236}">
                    <a16:creationId xmlns:a16="http://schemas.microsoft.com/office/drawing/2014/main" id="{F52672A3-9EC0-4096-BB01-22A3E1AC7FC1}"/>
                  </a:ext>
                </a:extLst>
              </p:cNvPr>
              <p:cNvSpPr/>
              <p:nvPr/>
            </p:nvSpPr>
            <p:spPr>
              <a:xfrm>
                <a:off x="3553466" y="2798690"/>
                <a:ext cx="60767" cy="37319"/>
              </a:xfrm>
              <a:custGeom>
                <a:avLst/>
                <a:gdLst>
                  <a:gd name="connsiteX0" fmla="*/ 53830 w 60767"/>
                  <a:gd name="connsiteY0" fmla="*/ 37319 h 37319"/>
                  <a:gd name="connsiteX1" fmla="*/ 46896 w 60767"/>
                  <a:gd name="connsiteY1" fmla="*/ 30385 h 37319"/>
                  <a:gd name="connsiteX2" fmla="*/ 46896 w 60767"/>
                  <a:gd name="connsiteY2" fmla="*/ 13871 h 37319"/>
                  <a:gd name="connsiteX3" fmla="*/ 13867 w 60767"/>
                  <a:gd name="connsiteY3" fmla="*/ 13871 h 37319"/>
                  <a:gd name="connsiteX4" fmla="*/ 13867 w 60767"/>
                  <a:gd name="connsiteY4" fmla="*/ 30385 h 37319"/>
                  <a:gd name="connsiteX5" fmla="*/ 6934 w 60767"/>
                  <a:gd name="connsiteY5" fmla="*/ 37319 h 37319"/>
                  <a:gd name="connsiteX6" fmla="*/ 0 w 60767"/>
                  <a:gd name="connsiteY6" fmla="*/ 30385 h 37319"/>
                  <a:gd name="connsiteX7" fmla="*/ 0 w 60767"/>
                  <a:gd name="connsiteY7" fmla="*/ 6934 h 37319"/>
                  <a:gd name="connsiteX8" fmla="*/ 6934 w 60767"/>
                  <a:gd name="connsiteY8" fmla="*/ 0 h 37319"/>
                  <a:gd name="connsiteX9" fmla="*/ 53834 w 60767"/>
                  <a:gd name="connsiteY9" fmla="*/ 0 h 37319"/>
                  <a:gd name="connsiteX10" fmla="*/ 60767 w 60767"/>
                  <a:gd name="connsiteY10" fmla="*/ 6934 h 37319"/>
                  <a:gd name="connsiteX11" fmla="*/ 60767 w 60767"/>
                  <a:gd name="connsiteY11" fmla="*/ 30385 h 37319"/>
                  <a:gd name="connsiteX12" fmla="*/ 53830 w 60767"/>
                  <a:gd name="connsiteY12" fmla="*/ 37319 h 3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767" h="37319">
                    <a:moveTo>
                      <a:pt x="53830" y="37319"/>
                    </a:moveTo>
                    <a:cubicBezTo>
                      <a:pt x="49996" y="37319"/>
                      <a:pt x="46896" y="34216"/>
                      <a:pt x="46896" y="30385"/>
                    </a:cubicBezTo>
                    <a:lnTo>
                      <a:pt x="46896" y="13871"/>
                    </a:lnTo>
                    <a:lnTo>
                      <a:pt x="13867" y="13871"/>
                    </a:lnTo>
                    <a:lnTo>
                      <a:pt x="13867" y="30385"/>
                    </a:lnTo>
                    <a:cubicBezTo>
                      <a:pt x="13867" y="34216"/>
                      <a:pt x="10764" y="37319"/>
                      <a:pt x="6934" y="37319"/>
                    </a:cubicBezTo>
                    <a:cubicBezTo>
                      <a:pt x="3100" y="37319"/>
                      <a:pt x="0" y="34216"/>
                      <a:pt x="0" y="30385"/>
                    </a:cubicBezTo>
                    <a:lnTo>
                      <a:pt x="0" y="6934"/>
                    </a:lnTo>
                    <a:cubicBezTo>
                      <a:pt x="0" y="3104"/>
                      <a:pt x="3103" y="0"/>
                      <a:pt x="6934" y="0"/>
                    </a:cubicBezTo>
                    <a:lnTo>
                      <a:pt x="53834" y="0"/>
                    </a:lnTo>
                    <a:cubicBezTo>
                      <a:pt x="57667" y="0"/>
                      <a:pt x="60767" y="3104"/>
                      <a:pt x="60767" y="6934"/>
                    </a:cubicBezTo>
                    <a:lnTo>
                      <a:pt x="60767" y="30385"/>
                    </a:lnTo>
                    <a:cubicBezTo>
                      <a:pt x="60767" y="34212"/>
                      <a:pt x="57664" y="37319"/>
                      <a:pt x="53830" y="37319"/>
                    </a:cubicBezTo>
                    <a:close/>
                  </a:path>
                </a:pathLst>
              </a:custGeom>
              <a:grpFill/>
              <a:ln w="351" cap="flat">
                <a:noFill/>
                <a:prstDash val="solid"/>
                <a:miter/>
              </a:ln>
            </p:spPr>
            <p:txBody>
              <a:bodyPr rtlCol="0" anchor="ctr"/>
              <a:lstStyle/>
              <a:p>
                <a:endParaRPr lang="en-GB" dirty="0"/>
              </a:p>
            </p:txBody>
          </p:sp>
        </p:grpSp>
        <p:grpSp>
          <p:nvGrpSpPr>
            <p:cNvPr id="515" name="Graphic 10">
              <a:extLst>
                <a:ext uri="{FF2B5EF4-FFF2-40B4-BE49-F238E27FC236}">
                  <a16:creationId xmlns:a16="http://schemas.microsoft.com/office/drawing/2014/main" id="{69737E1B-182D-42DF-B857-CFA7C93463BE}"/>
                </a:ext>
              </a:extLst>
            </p:cNvPr>
            <p:cNvGrpSpPr/>
            <p:nvPr/>
          </p:nvGrpSpPr>
          <p:grpSpPr>
            <a:xfrm>
              <a:off x="7292509" y="3395025"/>
              <a:ext cx="195376" cy="234045"/>
              <a:chOff x="3673463" y="2745934"/>
              <a:chExt cx="207317" cy="248349"/>
            </a:xfrm>
            <a:solidFill>
              <a:schemeClr val="tx2"/>
            </a:solidFill>
          </p:grpSpPr>
          <p:sp>
            <p:nvSpPr>
              <p:cNvPr id="520" name="Freihandform: Form 171">
                <a:extLst>
                  <a:ext uri="{FF2B5EF4-FFF2-40B4-BE49-F238E27FC236}">
                    <a16:creationId xmlns:a16="http://schemas.microsoft.com/office/drawing/2014/main" id="{D45AD4E0-6655-4E54-BABB-E905D1D1C962}"/>
                  </a:ext>
                </a:extLst>
              </p:cNvPr>
              <p:cNvSpPr/>
              <p:nvPr/>
            </p:nvSpPr>
            <p:spPr>
              <a:xfrm>
                <a:off x="3673463" y="2798690"/>
                <a:ext cx="207312" cy="195593"/>
              </a:xfrm>
              <a:custGeom>
                <a:avLst/>
                <a:gdLst>
                  <a:gd name="connsiteX0" fmla="*/ 200379 w 207312"/>
                  <a:gd name="connsiteY0" fmla="*/ 195594 h 195593"/>
                  <a:gd name="connsiteX1" fmla="*/ 6934 w 207312"/>
                  <a:gd name="connsiteY1" fmla="*/ 195594 h 195593"/>
                  <a:gd name="connsiteX2" fmla="*/ 0 w 207312"/>
                  <a:gd name="connsiteY2" fmla="*/ 188660 h 195593"/>
                  <a:gd name="connsiteX3" fmla="*/ 0 w 207312"/>
                  <a:gd name="connsiteY3" fmla="*/ 6934 h 195593"/>
                  <a:gd name="connsiteX4" fmla="*/ 6934 w 207312"/>
                  <a:gd name="connsiteY4" fmla="*/ 0 h 195593"/>
                  <a:gd name="connsiteX5" fmla="*/ 200379 w 207312"/>
                  <a:gd name="connsiteY5" fmla="*/ 0 h 195593"/>
                  <a:gd name="connsiteX6" fmla="*/ 207312 w 207312"/>
                  <a:gd name="connsiteY6" fmla="*/ 6934 h 195593"/>
                  <a:gd name="connsiteX7" fmla="*/ 207312 w 207312"/>
                  <a:gd name="connsiteY7" fmla="*/ 188660 h 195593"/>
                  <a:gd name="connsiteX8" fmla="*/ 200379 w 207312"/>
                  <a:gd name="connsiteY8" fmla="*/ 195594 h 195593"/>
                  <a:gd name="connsiteX9" fmla="*/ 13867 w 207312"/>
                  <a:gd name="connsiteY9" fmla="*/ 181726 h 195593"/>
                  <a:gd name="connsiteX10" fmla="*/ 193445 w 207312"/>
                  <a:gd name="connsiteY10" fmla="*/ 181726 h 195593"/>
                  <a:gd name="connsiteX11" fmla="*/ 193445 w 207312"/>
                  <a:gd name="connsiteY11" fmla="*/ 13871 h 195593"/>
                  <a:gd name="connsiteX12" fmla="*/ 13867 w 207312"/>
                  <a:gd name="connsiteY12" fmla="*/ 13871 h 195593"/>
                  <a:gd name="connsiteX13" fmla="*/ 13867 w 207312"/>
                  <a:gd name="connsiteY13" fmla="*/ 181726 h 195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7312" h="195593">
                    <a:moveTo>
                      <a:pt x="200379" y="195594"/>
                    </a:moveTo>
                    <a:lnTo>
                      <a:pt x="6934" y="195594"/>
                    </a:lnTo>
                    <a:cubicBezTo>
                      <a:pt x="3100" y="195594"/>
                      <a:pt x="0" y="192487"/>
                      <a:pt x="0" y="188660"/>
                    </a:cubicBezTo>
                    <a:lnTo>
                      <a:pt x="0" y="6934"/>
                    </a:lnTo>
                    <a:cubicBezTo>
                      <a:pt x="0" y="3104"/>
                      <a:pt x="3103" y="0"/>
                      <a:pt x="6934" y="0"/>
                    </a:cubicBezTo>
                    <a:lnTo>
                      <a:pt x="200379" y="0"/>
                    </a:lnTo>
                    <a:cubicBezTo>
                      <a:pt x="204213" y="0"/>
                      <a:pt x="207312" y="3104"/>
                      <a:pt x="207312" y="6934"/>
                    </a:cubicBezTo>
                    <a:lnTo>
                      <a:pt x="207312" y="188660"/>
                    </a:lnTo>
                    <a:cubicBezTo>
                      <a:pt x="207312" y="192490"/>
                      <a:pt x="204213" y="195594"/>
                      <a:pt x="200379" y="195594"/>
                    </a:cubicBezTo>
                    <a:close/>
                    <a:moveTo>
                      <a:pt x="13867" y="181726"/>
                    </a:moveTo>
                    <a:lnTo>
                      <a:pt x="193445" y="181726"/>
                    </a:lnTo>
                    <a:lnTo>
                      <a:pt x="193445" y="13871"/>
                    </a:lnTo>
                    <a:lnTo>
                      <a:pt x="13867" y="13871"/>
                    </a:lnTo>
                    <a:lnTo>
                      <a:pt x="13867" y="181726"/>
                    </a:lnTo>
                    <a:close/>
                  </a:path>
                </a:pathLst>
              </a:custGeom>
              <a:grpFill/>
              <a:ln w="351" cap="flat">
                <a:noFill/>
                <a:prstDash val="solid"/>
                <a:miter/>
              </a:ln>
            </p:spPr>
            <p:txBody>
              <a:bodyPr rtlCol="0" anchor="ctr"/>
              <a:lstStyle/>
              <a:p>
                <a:endParaRPr lang="en-GB" dirty="0"/>
              </a:p>
            </p:txBody>
          </p:sp>
          <p:sp>
            <p:nvSpPr>
              <p:cNvPr id="521" name="Freihandform: Form 172">
                <a:extLst>
                  <a:ext uri="{FF2B5EF4-FFF2-40B4-BE49-F238E27FC236}">
                    <a16:creationId xmlns:a16="http://schemas.microsoft.com/office/drawing/2014/main" id="{9C77CE83-BA21-4BE0-91A3-69DF76A5FAEA}"/>
                  </a:ext>
                </a:extLst>
              </p:cNvPr>
              <p:cNvSpPr/>
              <p:nvPr/>
            </p:nvSpPr>
            <p:spPr>
              <a:xfrm>
                <a:off x="3673464" y="2745934"/>
                <a:ext cx="207316" cy="66623"/>
              </a:xfrm>
              <a:custGeom>
                <a:avLst/>
                <a:gdLst>
                  <a:gd name="connsiteX0" fmla="*/ 200377 w 207316"/>
                  <a:gd name="connsiteY0" fmla="*/ 66623 h 66623"/>
                  <a:gd name="connsiteX1" fmla="*/ 6932 w 207316"/>
                  <a:gd name="connsiteY1" fmla="*/ 66623 h 66623"/>
                  <a:gd name="connsiteX2" fmla="*/ 1340 w 207316"/>
                  <a:gd name="connsiteY2" fmla="*/ 63787 h 66623"/>
                  <a:gd name="connsiteX3" fmla="*/ 325 w 207316"/>
                  <a:gd name="connsiteY3" fmla="*/ 57594 h 66623"/>
                  <a:gd name="connsiteX4" fmla="*/ 12118 w 207316"/>
                  <a:gd name="connsiteY4" fmla="*/ 20429 h 66623"/>
                  <a:gd name="connsiteX5" fmla="*/ 20828 w 207316"/>
                  <a:gd name="connsiteY5" fmla="*/ 15914 h 66623"/>
                  <a:gd name="connsiteX6" fmla="*/ 25339 w 207316"/>
                  <a:gd name="connsiteY6" fmla="*/ 24621 h 66623"/>
                  <a:gd name="connsiteX7" fmla="*/ 16411 w 207316"/>
                  <a:gd name="connsiteY7" fmla="*/ 52756 h 66623"/>
                  <a:gd name="connsiteX8" fmla="*/ 190758 w 207316"/>
                  <a:gd name="connsiteY8" fmla="*/ 52756 h 66623"/>
                  <a:gd name="connsiteX9" fmla="*/ 177803 w 207316"/>
                  <a:gd name="connsiteY9" fmla="*/ 13867 h 66623"/>
                  <a:gd name="connsiteX10" fmla="*/ 100648 w 207316"/>
                  <a:gd name="connsiteY10" fmla="*/ 13867 h 66623"/>
                  <a:gd name="connsiteX11" fmla="*/ 93714 w 207316"/>
                  <a:gd name="connsiteY11" fmla="*/ 6934 h 66623"/>
                  <a:gd name="connsiteX12" fmla="*/ 100648 w 207316"/>
                  <a:gd name="connsiteY12" fmla="*/ 0 h 66623"/>
                  <a:gd name="connsiteX13" fmla="*/ 182799 w 207316"/>
                  <a:gd name="connsiteY13" fmla="*/ 0 h 66623"/>
                  <a:gd name="connsiteX14" fmla="*/ 189375 w 207316"/>
                  <a:gd name="connsiteY14" fmla="*/ 4743 h 66623"/>
                  <a:gd name="connsiteX15" fmla="*/ 206957 w 207316"/>
                  <a:gd name="connsiteY15" fmla="*/ 57502 h 66623"/>
                  <a:gd name="connsiteX16" fmla="*/ 206009 w 207316"/>
                  <a:gd name="connsiteY16" fmla="*/ 63751 h 66623"/>
                  <a:gd name="connsiteX17" fmla="*/ 200377 w 207316"/>
                  <a:gd name="connsiteY17" fmla="*/ 66623 h 66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316" h="66623">
                    <a:moveTo>
                      <a:pt x="200377" y="66623"/>
                    </a:moveTo>
                    <a:lnTo>
                      <a:pt x="6932" y="66623"/>
                    </a:lnTo>
                    <a:cubicBezTo>
                      <a:pt x="4717" y="66623"/>
                      <a:pt x="2646" y="65570"/>
                      <a:pt x="1340" y="63787"/>
                    </a:cubicBezTo>
                    <a:cubicBezTo>
                      <a:pt x="34" y="62003"/>
                      <a:pt x="-345" y="59700"/>
                      <a:pt x="325" y="57594"/>
                    </a:cubicBezTo>
                    <a:lnTo>
                      <a:pt x="12118" y="20429"/>
                    </a:lnTo>
                    <a:cubicBezTo>
                      <a:pt x="13269" y="16781"/>
                      <a:pt x="17156" y="14766"/>
                      <a:pt x="20828" y="15914"/>
                    </a:cubicBezTo>
                    <a:cubicBezTo>
                      <a:pt x="24479" y="17073"/>
                      <a:pt x="26498" y="20970"/>
                      <a:pt x="25339" y="24621"/>
                    </a:cubicBezTo>
                    <a:lnTo>
                      <a:pt x="16411" y="52756"/>
                    </a:lnTo>
                    <a:lnTo>
                      <a:pt x="190758" y="52756"/>
                    </a:lnTo>
                    <a:lnTo>
                      <a:pt x="177803" y="13867"/>
                    </a:lnTo>
                    <a:lnTo>
                      <a:pt x="100648" y="13867"/>
                    </a:lnTo>
                    <a:cubicBezTo>
                      <a:pt x="96814" y="13867"/>
                      <a:pt x="93714" y="10764"/>
                      <a:pt x="93714" y="6934"/>
                    </a:cubicBezTo>
                    <a:cubicBezTo>
                      <a:pt x="93714" y="3103"/>
                      <a:pt x="96814" y="0"/>
                      <a:pt x="100648" y="0"/>
                    </a:cubicBezTo>
                    <a:lnTo>
                      <a:pt x="182799" y="0"/>
                    </a:lnTo>
                    <a:cubicBezTo>
                      <a:pt x="185787" y="0"/>
                      <a:pt x="188434" y="1910"/>
                      <a:pt x="189375" y="4743"/>
                    </a:cubicBezTo>
                    <a:lnTo>
                      <a:pt x="206957" y="57502"/>
                    </a:lnTo>
                    <a:cubicBezTo>
                      <a:pt x="207669" y="59616"/>
                      <a:pt x="207308" y="61943"/>
                      <a:pt x="206009" y="63751"/>
                    </a:cubicBezTo>
                    <a:cubicBezTo>
                      <a:pt x="204696" y="65556"/>
                      <a:pt x="202603" y="66623"/>
                      <a:pt x="200377" y="66623"/>
                    </a:cubicBezTo>
                    <a:close/>
                  </a:path>
                </a:pathLst>
              </a:custGeom>
              <a:grpFill/>
              <a:ln w="351" cap="flat">
                <a:noFill/>
                <a:prstDash val="solid"/>
                <a:miter/>
              </a:ln>
            </p:spPr>
            <p:txBody>
              <a:bodyPr rtlCol="0" anchor="ctr"/>
              <a:lstStyle/>
              <a:p>
                <a:endParaRPr lang="en-GB" dirty="0"/>
              </a:p>
            </p:txBody>
          </p:sp>
          <p:sp>
            <p:nvSpPr>
              <p:cNvPr id="522" name="Freihandform: Form 173">
                <a:extLst>
                  <a:ext uri="{FF2B5EF4-FFF2-40B4-BE49-F238E27FC236}">
                    <a16:creationId xmlns:a16="http://schemas.microsoft.com/office/drawing/2014/main" id="{8DC5C4A4-0152-4970-A046-BDE63DADC771}"/>
                  </a:ext>
                </a:extLst>
              </p:cNvPr>
              <p:cNvSpPr/>
              <p:nvPr/>
            </p:nvSpPr>
            <p:spPr>
              <a:xfrm>
                <a:off x="3746739" y="2798690"/>
                <a:ext cx="60767" cy="37319"/>
              </a:xfrm>
              <a:custGeom>
                <a:avLst/>
                <a:gdLst>
                  <a:gd name="connsiteX0" fmla="*/ 53830 w 60767"/>
                  <a:gd name="connsiteY0" fmla="*/ 37319 h 37319"/>
                  <a:gd name="connsiteX1" fmla="*/ 46896 w 60767"/>
                  <a:gd name="connsiteY1" fmla="*/ 30385 h 37319"/>
                  <a:gd name="connsiteX2" fmla="*/ 46896 w 60767"/>
                  <a:gd name="connsiteY2" fmla="*/ 13871 h 37319"/>
                  <a:gd name="connsiteX3" fmla="*/ 13867 w 60767"/>
                  <a:gd name="connsiteY3" fmla="*/ 13871 h 37319"/>
                  <a:gd name="connsiteX4" fmla="*/ 13867 w 60767"/>
                  <a:gd name="connsiteY4" fmla="*/ 30385 h 37319"/>
                  <a:gd name="connsiteX5" fmla="*/ 6934 w 60767"/>
                  <a:gd name="connsiteY5" fmla="*/ 37319 h 37319"/>
                  <a:gd name="connsiteX6" fmla="*/ 0 w 60767"/>
                  <a:gd name="connsiteY6" fmla="*/ 30385 h 37319"/>
                  <a:gd name="connsiteX7" fmla="*/ 0 w 60767"/>
                  <a:gd name="connsiteY7" fmla="*/ 6934 h 37319"/>
                  <a:gd name="connsiteX8" fmla="*/ 6934 w 60767"/>
                  <a:gd name="connsiteY8" fmla="*/ 0 h 37319"/>
                  <a:gd name="connsiteX9" fmla="*/ 53834 w 60767"/>
                  <a:gd name="connsiteY9" fmla="*/ 0 h 37319"/>
                  <a:gd name="connsiteX10" fmla="*/ 60767 w 60767"/>
                  <a:gd name="connsiteY10" fmla="*/ 6934 h 37319"/>
                  <a:gd name="connsiteX11" fmla="*/ 60767 w 60767"/>
                  <a:gd name="connsiteY11" fmla="*/ 30385 h 37319"/>
                  <a:gd name="connsiteX12" fmla="*/ 53830 w 60767"/>
                  <a:gd name="connsiteY12" fmla="*/ 37319 h 3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767" h="37319">
                    <a:moveTo>
                      <a:pt x="53830" y="37319"/>
                    </a:moveTo>
                    <a:cubicBezTo>
                      <a:pt x="49996" y="37319"/>
                      <a:pt x="46896" y="34216"/>
                      <a:pt x="46896" y="30385"/>
                    </a:cubicBezTo>
                    <a:lnTo>
                      <a:pt x="46896" y="13871"/>
                    </a:lnTo>
                    <a:lnTo>
                      <a:pt x="13867" y="13871"/>
                    </a:lnTo>
                    <a:lnTo>
                      <a:pt x="13867" y="30385"/>
                    </a:lnTo>
                    <a:cubicBezTo>
                      <a:pt x="13867" y="34216"/>
                      <a:pt x="10767" y="37319"/>
                      <a:pt x="6934" y="37319"/>
                    </a:cubicBezTo>
                    <a:cubicBezTo>
                      <a:pt x="3100" y="37319"/>
                      <a:pt x="0" y="34216"/>
                      <a:pt x="0" y="30385"/>
                    </a:cubicBezTo>
                    <a:lnTo>
                      <a:pt x="0" y="6934"/>
                    </a:lnTo>
                    <a:cubicBezTo>
                      <a:pt x="0" y="3104"/>
                      <a:pt x="3100" y="0"/>
                      <a:pt x="6934" y="0"/>
                    </a:cubicBezTo>
                    <a:lnTo>
                      <a:pt x="53834" y="0"/>
                    </a:lnTo>
                    <a:cubicBezTo>
                      <a:pt x="57667" y="0"/>
                      <a:pt x="60767" y="3104"/>
                      <a:pt x="60767" y="6934"/>
                    </a:cubicBezTo>
                    <a:lnTo>
                      <a:pt x="60767" y="30385"/>
                    </a:lnTo>
                    <a:cubicBezTo>
                      <a:pt x="60763" y="34212"/>
                      <a:pt x="57660" y="37319"/>
                      <a:pt x="53830" y="37319"/>
                    </a:cubicBezTo>
                    <a:close/>
                  </a:path>
                </a:pathLst>
              </a:custGeom>
              <a:grpFill/>
              <a:ln w="351" cap="flat">
                <a:noFill/>
                <a:prstDash val="solid"/>
                <a:miter/>
              </a:ln>
            </p:spPr>
            <p:txBody>
              <a:bodyPr rtlCol="0" anchor="ctr"/>
              <a:lstStyle/>
              <a:p>
                <a:endParaRPr lang="en-GB" dirty="0"/>
              </a:p>
            </p:txBody>
          </p:sp>
        </p:grpSp>
        <p:grpSp>
          <p:nvGrpSpPr>
            <p:cNvPr id="516" name="Graphic 10">
              <a:extLst>
                <a:ext uri="{FF2B5EF4-FFF2-40B4-BE49-F238E27FC236}">
                  <a16:creationId xmlns:a16="http://schemas.microsoft.com/office/drawing/2014/main" id="{67767A87-45F8-43C3-B3FF-5A2C38CAA0E9}"/>
                </a:ext>
              </a:extLst>
            </p:cNvPr>
            <p:cNvGrpSpPr/>
            <p:nvPr/>
          </p:nvGrpSpPr>
          <p:grpSpPr>
            <a:xfrm>
              <a:off x="7205107" y="3197064"/>
              <a:ext cx="188638" cy="225883"/>
              <a:chOff x="3580721" y="2535880"/>
              <a:chExt cx="200167" cy="239688"/>
            </a:xfrm>
            <a:solidFill>
              <a:schemeClr val="accent1"/>
            </a:solidFill>
          </p:grpSpPr>
          <p:sp>
            <p:nvSpPr>
              <p:cNvPr id="517" name="Freihandform: Form 175">
                <a:extLst>
                  <a:ext uri="{FF2B5EF4-FFF2-40B4-BE49-F238E27FC236}">
                    <a16:creationId xmlns:a16="http://schemas.microsoft.com/office/drawing/2014/main" id="{5BADA036-994F-4D8E-A58E-19A4749BF0A4}"/>
                  </a:ext>
                </a:extLst>
              </p:cNvPr>
              <p:cNvSpPr/>
              <p:nvPr/>
            </p:nvSpPr>
            <p:spPr>
              <a:xfrm>
                <a:off x="3580723" y="2586694"/>
                <a:ext cx="200161" cy="188874"/>
              </a:xfrm>
              <a:custGeom>
                <a:avLst/>
                <a:gdLst>
                  <a:gd name="connsiteX0" fmla="*/ 193227 w 200161"/>
                  <a:gd name="connsiteY0" fmla="*/ 188874 h 188874"/>
                  <a:gd name="connsiteX1" fmla="*/ 6934 w 200161"/>
                  <a:gd name="connsiteY1" fmla="*/ 188874 h 188874"/>
                  <a:gd name="connsiteX2" fmla="*/ 0 w 200161"/>
                  <a:gd name="connsiteY2" fmla="*/ 181940 h 188874"/>
                  <a:gd name="connsiteX3" fmla="*/ 0 w 200161"/>
                  <a:gd name="connsiteY3" fmla="*/ 6934 h 188874"/>
                  <a:gd name="connsiteX4" fmla="*/ 6934 w 200161"/>
                  <a:gd name="connsiteY4" fmla="*/ 0 h 188874"/>
                  <a:gd name="connsiteX5" fmla="*/ 193227 w 200161"/>
                  <a:gd name="connsiteY5" fmla="*/ 0 h 188874"/>
                  <a:gd name="connsiteX6" fmla="*/ 200161 w 200161"/>
                  <a:gd name="connsiteY6" fmla="*/ 6934 h 188874"/>
                  <a:gd name="connsiteX7" fmla="*/ 200161 w 200161"/>
                  <a:gd name="connsiteY7" fmla="*/ 181940 h 188874"/>
                  <a:gd name="connsiteX8" fmla="*/ 193227 w 200161"/>
                  <a:gd name="connsiteY8" fmla="*/ 188874 h 188874"/>
                  <a:gd name="connsiteX9" fmla="*/ 13867 w 200161"/>
                  <a:gd name="connsiteY9" fmla="*/ 175003 h 188874"/>
                  <a:gd name="connsiteX10" fmla="*/ 186290 w 200161"/>
                  <a:gd name="connsiteY10" fmla="*/ 175003 h 188874"/>
                  <a:gd name="connsiteX11" fmla="*/ 186290 w 200161"/>
                  <a:gd name="connsiteY11" fmla="*/ 13864 h 188874"/>
                  <a:gd name="connsiteX12" fmla="*/ 13867 w 200161"/>
                  <a:gd name="connsiteY12" fmla="*/ 13864 h 188874"/>
                  <a:gd name="connsiteX13" fmla="*/ 13867 w 200161"/>
                  <a:gd name="connsiteY13" fmla="*/ 175003 h 188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0161" h="188874">
                    <a:moveTo>
                      <a:pt x="193227" y="188874"/>
                    </a:moveTo>
                    <a:lnTo>
                      <a:pt x="6934" y="188874"/>
                    </a:lnTo>
                    <a:cubicBezTo>
                      <a:pt x="3100" y="188874"/>
                      <a:pt x="0" y="185771"/>
                      <a:pt x="0" y="181940"/>
                    </a:cubicBezTo>
                    <a:lnTo>
                      <a:pt x="0" y="6934"/>
                    </a:lnTo>
                    <a:cubicBezTo>
                      <a:pt x="0" y="3103"/>
                      <a:pt x="3103" y="0"/>
                      <a:pt x="6934" y="0"/>
                    </a:cubicBezTo>
                    <a:lnTo>
                      <a:pt x="193227" y="0"/>
                    </a:lnTo>
                    <a:cubicBezTo>
                      <a:pt x="197061" y="0"/>
                      <a:pt x="200161" y="3103"/>
                      <a:pt x="200161" y="6934"/>
                    </a:cubicBezTo>
                    <a:lnTo>
                      <a:pt x="200161" y="181940"/>
                    </a:lnTo>
                    <a:cubicBezTo>
                      <a:pt x="200165" y="185767"/>
                      <a:pt x="197061" y="188874"/>
                      <a:pt x="193227" y="188874"/>
                    </a:cubicBezTo>
                    <a:close/>
                    <a:moveTo>
                      <a:pt x="13867" y="175003"/>
                    </a:moveTo>
                    <a:lnTo>
                      <a:pt x="186290" y="175003"/>
                    </a:lnTo>
                    <a:lnTo>
                      <a:pt x="186290" y="13864"/>
                    </a:lnTo>
                    <a:lnTo>
                      <a:pt x="13867" y="13864"/>
                    </a:lnTo>
                    <a:lnTo>
                      <a:pt x="13867" y="175003"/>
                    </a:lnTo>
                    <a:close/>
                  </a:path>
                </a:pathLst>
              </a:custGeom>
              <a:solidFill>
                <a:schemeClr val="accent1"/>
              </a:solidFill>
              <a:ln w="351" cap="flat">
                <a:noFill/>
                <a:prstDash val="solid"/>
                <a:miter/>
              </a:ln>
            </p:spPr>
            <p:txBody>
              <a:bodyPr rtlCol="0" anchor="ctr"/>
              <a:lstStyle/>
              <a:p>
                <a:endParaRPr lang="en-GB" dirty="0"/>
              </a:p>
            </p:txBody>
          </p:sp>
          <p:sp>
            <p:nvSpPr>
              <p:cNvPr id="518" name="Freihandform: Form 176">
                <a:extLst>
                  <a:ext uri="{FF2B5EF4-FFF2-40B4-BE49-F238E27FC236}">
                    <a16:creationId xmlns:a16="http://schemas.microsoft.com/office/drawing/2014/main" id="{F570B622-9C64-4FF6-9DEB-A247D7575203}"/>
                  </a:ext>
                </a:extLst>
              </p:cNvPr>
              <p:cNvSpPr/>
              <p:nvPr/>
            </p:nvSpPr>
            <p:spPr>
              <a:xfrm>
                <a:off x="3580721" y="2535880"/>
                <a:ext cx="200167" cy="64678"/>
              </a:xfrm>
              <a:custGeom>
                <a:avLst/>
                <a:gdLst>
                  <a:gd name="connsiteX0" fmla="*/ 193229 w 200167"/>
                  <a:gd name="connsiteY0" fmla="*/ 64678 h 64678"/>
                  <a:gd name="connsiteX1" fmla="*/ 6935 w 200167"/>
                  <a:gd name="connsiteY1" fmla="*/ 64678 h 64678"/>
                  <a:gd name="connsiteX2" fmla="*/ 1308 w 200167"/>
                  <a:gd name="connsiteY2" fmla="*/ 61799 h 64678"/>
                  <a:gd name="connsiteX3" fmla="*/ 360 w 200167"/>
                  <a:gd name="connsiteY3" fmla="*/ 55550 h 64678"/>
                  <a:gd name="connsiteX4" fmla="*/ 17292 w 200167"/>
                  <a:gd name="connsiteY4" fmla="*/ 4743 h 64678"/>
                  <a:gd name="connsiteX5" fmla="*/ 23868 w 200167"/>
                  <a:gd name="connsiteY5" fmla="*/ 0 h 64678"/>
                  <a:gd name="connsiteX6" fmla="*/ 176293 w 200167"/>
                  <a:gd name="connsiteY6" fmla="*/ 0 h 64678"/>
                  <a:gd name="connsiteX7" fmla="*/ 182869 w 200167"/>
                  <a:gd name="connsiteY7" fmla="*/ 4739 h 64678"/>
                  <a:gd name="connsiteX8" fmla="*/ 199808 w 200167"/>
                  <a:gd name="connsiteY8" fmla="*/ 55547 h 64678"/>
                  <a:gd name="connsiteX9" fmla="*/ 198860 w 200167"/>
                  <a:gd name="connsiteY9" fmla="*/ 61796 h 64678"/>
                  <a:gd name="connsiteX10" fmla="*/ 193229 w 200167"/>
                  <a:gd name="connsiteY10" fmla="*/ 64678 h 64678"/>
                  <a:gd name="connsiteX11" fmla="*/ 16558 w 200167"/>
                  <a:gd name="connsiteY11" fmla="*/ 50807 h 64678"/>
                  <a:gd name="connsiteX12" fmla="*/ 183606 w 200167"/>
                  <a:gd name="connsiteY12" fmla="*/ 50807 h 64678"/>
                  <a:gd name="connsiteX13" fmla="*/ 171294 w 200167"/>
                  <a:gd name="connsiteY13" fmla="*/ 13871 h 64678"/>
                  <a:gd name="connsiteX14" fmla="*/ 28867 w 200167"/>
                  <a:gd name="connsiteY14" fmla="*/ 13871 h 64678"/>
                  <a:gd name="connsiteX15" fmla="*/ 16558 w 200167"/>
                  <a:gd name="connsiteY15" fmla="*/ 50807 h 64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167" h="64678">
                    <a:moveTo>
                      <a:pt x="193229" y="64678"/>
                    </a:moveTo>
                    <a:lnTo>
                      <a:pt x="6935" y="64678"/>
                    </a:lnTo>
                    <a:cubicBezTo>
                      <a:pt x="4706" y="64678"/>
                      <a:pt x="2614" y="63607"/>
                      <a:pt x="1308" y="61799"/>
                    </a:cubicBezTo>
                    <a:cubicBezTo>
                      <a:pt x="9" y="59991"/>
                      <a:pt x="-353" y="57664"/>
                      <a:pt x="360" y="55550"/>
                    </a:cubicBezTo>
                    <a:lnTo>
                      <a:pt x="17292" y="4743"/>
                    </a:lnTo>
                    <a:cubicBezTo>
                      <a:pt x="18233" y="1910"/>
                      <a:pt x="20880" y="0"/>
                      <a:pt x="23868" y="0"/>
                    </a:cubicBezTo>
                    <a:lnTo>
                      <a:pt x="176293" y="0"/>
                    </a:lnTo>
                    <a:cubicBezTo>
                      <a:pt x="179281" y="0"/>
                      <a:pt x="181928" y="1910"/>
                      <a:pt x="182869" y="4739"/>
                    </a:cubicBezTo>
                    <a:lnTo>
                      <a:pt x="199808" y="55547"/>
                    </a:lnTo>
                    <a:cubicBezTo>
                      <a:pt x="200521" y="57664"/>
                      <a:pt x="200159" y="59988"/>
                      <a:pt x="198860" y="61796"/>
                    </a:cubicBezTo>
                    <a:cubicBezTo>
                      <a:pt x="197551" y="63607"/>
                      <a:pt x="195458" y="64678"/>
                      <a:pt x="193229" y="64678"/>
                    </a:cubicBezTo>
                    <a:close/>
                    <a:moveTo>
                      <a:pt x="16558" y="50807"/>
                    </a:moveTo>
                    <a:lnTo>
                      <a:pt x="183606" y="50807"/>
                    </a:lnTo>
                    <a:lnTo>
                      <a:pt x="171294" y="13871"/>
                    </a:lnTo>
                    <a:lnTo>
                      <a:pt x="28867" y="13871"/>
                    </a:lnTo>
                    <a:lnTo>
                      <a:pt x="16558" y="50807"/>
                    </a:lnTo>
                    <a:close/>
                  </a:path>
                </a:pathLst>
              </a:custGeom>
              <a:solidFill>
                <a:schemeClr val="accent1"/>
              </a:solidFill>
              <a:ln w="351" cap="flat">
                <a:noFill/>
                <a:prstDash val="solid"/>
                <a:miter/>
              </a:ln>
            </p:spPr>
            <p:txBody>
              <a:bodyPr rtlCol="0" anchor="ctr"/>
              <a:lstStyle/>
              <a:p>
                <a:endParaRPr lang="en-GB" dirty="0"/>
              </a:p>
            </p:txBody>
          </p:sp>
          <p:sp>
            <p:nvSpPr>
              <p:cNvPr id="519" name="Freihandform: Form 177">
                <a:extLst>
                  <a:ext uri="{FF2B5EF4-FFF2-40B4-BE49-F238E27FC236}">
                    <a16:creationId xmlns:a16="http://schemas.microsoft.com/office/drawing/2014/main" id="{1AA96AA1-D928-4454-B981-87EF79175D31}"/>
                  </a:ext>
                </a:extLst>
              </p:cNvPr>
              <p:cNvSpPr/>
              <p:nvPr/>
            </p:nvSpPr>
            <p:spPr>
              <a:xfrm>
                <a:off x="3651293" y="2586691"/>
                <a:ext cx="59032" cy="36451"/>
              </a:xfrm>
              <a:custGeom>
                <a:avLst/>
                <a:gdLst>
                  <a:gd name="connsiteX0" fmla="*/ 52096 w 59032"/>
                  <a:gd name="connsiteY0" fmla="*/ 36452 h 36451"/>
                  <a:gd name="connsiteX1" fmla="*/ 45162 w 59032"/>
                  <a:gd name="connsiteY1" fmla="*/ 29518 h 36451"/>
                  <a:gd name="connsiteX2" fmla="*/ 45162 w 59032"/>
                  <a:gd name="connsiteY2" fmla="*/ 13871 h 36451"/>
                  <a:gd name="connsiteX3" fmla="*/ 13867 w 59032"/>
                  <a:gd name="connsiteY3" fmla="*/ 13871 h 36451"/>
                  <a:gd name="connsiteX4" fmla="*/ 13867 w 59032"/>
                  <a:gd name="connsiteY4" fmla="*/ 29518 h 36451"/>
                  <a:gd name="connsiteX5" fmla="*/ 6934 w 59032"/>
                  <a:gd name="connsiteY5" fmla="*/ 36452 h 36451"/>
                  <a:gd name="connsiteX6" fmla="*/ 0 w 59032"/>
                  <a:gd name="connsiteY6" fmla="*/ 29518 h 36451"/>
                  <a:gd name="connsiteX7" fmla="*/ 0 w 59032"/>
                  <a:gd name="connsiteY7" fmla="*/ 6934 h 36451"/>
                  <a:gd name="connsiteX8" fmla="*/ 6934 w 59032"/>
                  <a:gd name="connsiteY8" fmla="*/ 0 h 36451"/>
                  <a:gd name="connsiteX9" fmla="*/ 52099 w 59032"/>
                  <a:gd name="connsiteY9" fmla="*/ 0 h 36451"/>
                  <a:gd name="connsiteX10" fmla="*/ 59033 w 59032"/>
                  <a:gd name="connsiteY10" fmla="*/ 6934 h 36451"/>
                  <a:gd name="connsiteX11" fmla="*/ 59033 w 59032"/>
                  <a:gd name="connsiteY11" fmla="*/ 29518 h 36451"/>
                  <a:gd name="connsiteX12" fmla="*/ 52096 w 59032"/>
                  <a:gd name="connsiteY12" fmla="*/ 36452 h 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032" h="36451">
                    <a:moveTo>
                      <a:pt x="52096" y="36452"/>
                    </a:moveTo>
                    <a:cubicBezTo>
                      <a:pt x="48262" y="36452"/>
                      <a:pt x="45162" y="33348"/>
                      <a:pt x="45162" y="29518"/>
                    </a:cubicBezTo>
                    <a:lnTo>
                      <a:pt x="45162" y="13871"/>
                    </a:lnTo>
                    <a:lnTo>
                      <a:pt x="13867" y="13871"/>
                    </a:lnTo>
                    <a:lnTo>
                      <a:pt x="13867" y="29518"/>
                    </a:lnTo>
                    <a:cubicBezTo>
                      <a:pt x="13867" y="33348"/>
                      <a:pt x="10764" y="36452"/>
                      <a:pt x="6934" y="36452"/>
                    </a:cubicBezTo>
                    <a:cubicBezTo>
                      <a:pt x="3100" y="36452"/>
                      <a:pt x="0" y="33348"/>
                      <a:pt x="0" y="29518"/>
                    </a:cubicBezTo>
                    <a:lnTo>
                      <a:pt x="0" y="6934"/>
                    </a:lnTo>
                    <a:cubicBezTo>
                      <a:pt x="0" y="3104"/>
                      <a:pt x="3103" y="0"/>
                      <a:pt x="6934" y="0"/>
                    </a:cubicBezTo>
                    <a:lnTo>
                      <a:pt x="52099" y="0"/>
                    </a:lnTo>
                    <a:cubicBezTo>
                      <a:pt x="55933" y="0"/>
                      <a:pt x="59033" y="3104"/>
                      <a:pt x="59033" y="6934"/>
                    </a:cubicBezTo>
                    <a:lnTo>
                      <a:pt x="59033" y="29518"/>
                    </a:lnTo>
                    <a:cubicBezTo>
                      <a:pt x="59029" y="33345"/>
                      <a:pt x="55929" y="36452"/>
                      <a:pt x="52096" y="36452"/>
                    </a:cubicBezTo>
                    <a:close/>
                  </a:path>
                </a:pathLst>
              </a:custGeom>
              <a:solidFill>
                <a:schemeClr val="accent1"/>
              </a:solidFill>
              <a:ln w="351" cap="flat">
                <a:noFill/>
                <a:prstDash val="solid"/>
                <a:miter/>
              </a:ln>
            </p:spPr>
            <p:txBody>
              <a:bodyPr rtlCol="0" anchor="ctr"/>
              <a:lstStyle/>
              <a:p>
                <a:endParaRPr lang="en-GB" dirty="0"/>
              </a:p>
            </p:txBody>
          </p:sp>
        </p:grpSp>
      </p:grpSp>
      <p:grpSp>
        <p:nvGrpSpPr>
          <p:cNvPr id="40" name="Group 39">
            <a:extLst>
              <a:ext uri="{FF2B5EF4-FFF2-40B4-BE49-F238E27FC236}">
                <a16:creationId xmlns:a16="http://schemas.microsoft.com/office/drawing/2014/main" id="{B12B8FD2-A4C7-4D6E-BE95-44DAE90C22DA}"/>
              </a:ext>
            </a:extLst>
          </p:cNvPr>
          <p:cNvGrpSpPr/>
          <p:nvPr/>
        </p:nvGrpSpPr>
        <p:grpSpPr>
          <a:xfrm>
            <a:off x="4944902" y="3197067"/>
            <a:ext cx="536731" cy="432005"/>
            <a:chOff x="4944490" y="3197067"/>
            <a:chExt cx="536731" cy="432005"/>
          </a:xfrm>
        </p:grpSpPr>
        <p:grpSp>
          <p:nvGrpSpPr>
            <p:cNvPr id="527" name="Group 526">
              <a:extLst>
                <a:ext uri="{FF2B5EF4-FFF2-40B4-BE49-F238E27FC236}">
                  <a16:creationId xmlns:a16="http://schemas.microsoft.com/office/drawing/2014/main" id="{0A8A0E0B-C2C1-4F13-BE5C-E49DB5015469}"/>
                </a:ext>
              </a:extLst>
            </p:cNvPr>
            <p:cNvGrpSpPr/>
            <p:nvPr/>
          </p:nvGrpSpPr>
          <p:grpSpPr>
            <a:xfrm>
              <a:off x="5119168" y="3434756"/>
              <a:ext cx="187378" cy="194312"/>
              <a:chOff x="945852" y="2787105"/>
              <a:chExt cx="198533" cy="205880"/>
            </a:xfrm>
          </p:grpSpPr>
          <p:grpSp>
            <p:nvGrpSpPr>
              <p:cNvPr id="535" name="Graphic 10">
                <a:extLst>
                  <a:ext uri="{FF2B5EF4-FFF2-40B4-BE49-F238E27FC236}">
                    <a16:creationId xmlns:a16="http://schemas.microsoft.com/office/drawing/2014/main" id="{F6DA0974-FA51-4946-9A9A-E2D4E8FB2731}"/>
                  </a:ext>
                </a:extLst>
              </p:cNvPr>
              <p:cNvGrpSpPr/>
              <p:nvPr/>
            </p:nvGrpSpPr>
            <p:grpSpPr>
              <a:xfrm>
                <a:off x="945852" y="2867192"/>
                <a:ext cx="106207" cy="125793"/>
                <a:chOff x="945852" y="2867192"/>
                <a:chExt cx="106207" cy="125793"/>
              </a:xfrm>
              <a:solidFill>
                <a:schemeClr val="accent1"/>
              </a:solidFill>
            </p:grpSpPr>
            <p:sp>
              <p:nvSpPr>
                <p:cNvPr id="542" name="Freihandform: Form 245">
                  <a:extLst>
                    <a:ext uri="{FF2B5EF4-FFF2-40B4-BE49-F238E27FC236}">
                      <a16:creationId xmlns:a16="http://schemas.microsoft.com/office/drawing/2014/main" id="{6642B58B-D350-4F93-9C07-3A874F6E7175}"/>
                    </a:ext>
                  </a:extLst>
                </p:cNvPr>
                <p:cNvSpPr/>
                <p:nvPr/>
              </p:nvSpPr>
              <p:spPr>
                <a:xfrm>
                  <a:off x="945853" y="2892378"/>
                  <a:ext cx="106206" cy="100607"/>
                </a:xfrm>
                <a:custGeom>
                  <a:avLst/>
                  <a:gdLst>
                    <a:gd name="connsiteX0" fmla="*/ 99273 w 106206"/>
                    <a:gd name="connsiteY0" fmla="*/ 100607 h 100607"/>
                    <a:gd name="connsiteX1" fmla="*/ 6934 w 106206"/>
                    <a:gd name="connsiteY1" fmla="*/ 100607 h 100607"/>
                    <a:gd name="connsiteX2" fmla="*/ 0 w 106206"/>
                    <a:gd name="connsiteY2" fmla="*/ 93673 h 100607"/>
                    <a:gd name="connsiteX3" fmla="*/ 0 w 106206"/>
                    <a:gd name="connsiteY3" fmla="*/ 6934 h 100607"/>
                    <a:gd name="connsiteX4" fmla="*/ 6934 w 106206"/>
                    <a:gd name="connsiteY4" fmla="*/ 0 h 100607"/>
                    <a:gd name="connsiteX5" fmla="*/ 99273 w 106206"/>
                    <a:gd name="connsiteY5" fmla="*/ 0 h 100607"/>
                    <a:gd name="connsiteX6" fmla="*/ 106207 w 106206"/>
                    <a:gd name="connsiteY6" fmla="*/ 6934 h 100607"/>
                    <a:gd name="connsiteX7" fmla="*/ 106207 w 106206"/>
                    <a:gd name="connsiteY7" fmla="*/ 93673 h 100607"/>
                    <a:gd name="connsiteX8" fmla="*/ 99273 w 106206"/>
                    <a:gd name="connsiteY8" fmla="*/ 100607 h 100607"/>
                    <a:gd name="connsiteX9" fmla="*/ 13871 w 106206"/>
                    <a:gd name="connsiteY9" fmla="*/ 86736 h 100607"/>
                    <a:gd name="connsiteX10" fmla="*/ 92339 w 106206"/>
                    <a:gd name="connsiteY10" fmla="*/ 86736 h 100607"/>
                    <a:gd name="connsiteX11" fmla="*/ 92339 w 106206"/>
                    <a:gd name="connsiteY11" fmla="*/ 13867 h 100607"/>
                    <a:gd name="connsiteX12" fmla="*/ 13871 w 106206"/>
                    <a:gd name="connsiteY12" fmla="*/ 13867 h 100607"/>
                    <a:gd name="connsiteX13" fmla="*/ 13871 w 106206"/>
                    <a:gd name="connsiteY13" fmla="*/ 86736 h 10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206" h="100607">
                      <a:moveTo>
                        <a:pt x="99273" y="100607"/>
                      </a:moveTo>
                      <a:lnTo>
                        <a:pt x="6934" y="100607"/>
                      </a:lnTo>
                      <a:cubicBezTo>
                        <a:pt x="3103" y="100607"/>
                        <a:pt x="0" y="97500"/>
                        <a:pt x="0" y="93673"/>
                      </a:cubicBezTo>
                      <a:lnTo>
                        <a:pt x="0" y="6934"/>
                      </a:lnTo>
                      <a:cubicBezTo>
                        <a:pt x="0" y="3104"/>
                        <a:pt x="3107" y="0"/>
                        <a:pt x="6934" y="0"/>
                      </a:cubicBezTo>
                      <a:lnTo>
                        <a:pt x="99273" y="0"/>
                      </a:lnTo>
                      <a:cubicBezTo>
                        <a:pt x="103103" y="0"/>
                        <a:pt x="106207" y="3107"/>
                        <a:pt x="106207" y="6934"/>
                      </a:cubicBezTo>
                      <a:lnTo>
                        <a:pt x="106207" y="93673"/>
                      </a:lnTo>
                      <a:cubicBezTo>
                        <a:pt x="106207" y="97504"/>
                        <a:pt x="103103" y="100607"/>
                        <a:pt x="99273" y="100607"/>
                      </a:cubicBezTo>
                      <a:close/>
                      <a:moveTo>
                        <a:pt x="13871" y="86736"/>
                      </a:moveTo>
                      <a:lnTo>
                        <a:pt x="92339" y="86736"/>
                      </a:lnTo>
                      <a:lnTo>
                        <a:pt x="92339" y="13867"/>
                      </a:lnTo>
                      <a:lnTo>
                        <a:pt x="13871" y="13867"/>
                      </a:lnTo>
                      <a:lnTo>
                        <a:pt x="13871" y="86736"/>
                      </a:lnTo>
                      <a:close/>
                    </a:path>
                  </a:pathLst>
                </a:custGeom>
                <a:solidFill>
                  <a:schemeClr val="accent1"/>
                </a:solidFill>
                <a:ln w="351" cap="flat">
                  <a:noFill/>
                  <a:prstDash val="solid"/>
                  <a:miter/>
                </a:ln>
              </p:spPr>
              <p:txBody>
                <a:bodyPr rtlCol="0" anchor="ctr"/>
                <a:lstStyle/>
                <a:p>
                  <a:endParaRPr lang="en-GB" dirty="0"/>
                </a:p>
              </p:txBody>
            </p:sp>
            <p:sp>
              <p:nvSpPr>
                <p:cNvPr id="543" name="Freihandform: Form 246">
                  <a:extLst>
                    <a:ext uri="{FF2B5EF4-FFF2-40B4-BE49-F238E27FC236}">
                      <a16:creationId xmlns:a16="http://schemas.microsoft.com/office/drawing/2014/main" id="{A825C09F-8348-41E2-A4A8-3282B42A29D6}"/>
                    </a:ext>
                  </a:extLst>
                </p:cNvPr>
                <p:cNvSpPr/>
                <p:nvPr/>
              </p:nvSpPr>
              <p:spPr>
                <a:xfrm>
                  <a:off x="945852" y="2867192"/>
                  <a:ext cx="106200" cy="39053"/>
                </a:xfrm>
                <a:custGeom>
                  <a:avLst/>
                  <a:gdLst>
                    <a:gd name="connsiteX0" fmla="*/ 99274 w 106200"/>
                    <a:gd name="connsiteY0" fmla="*/ 39053 h 39053"/>
                    <a:gd name="connsiteX1" fmla="*/ 6935 w 106200"/>
                    <a:gd name="connsiteY1" fmla="*/ 39053 h 39053"/>
                    <a:gd name="connsiteX2" fmla="*/ 1310 w 106200"/>
                    <a:gd name="connsiteY2" fmla="*/ 36171 h 39053"/>
                    <a:gd name="connsiteX3" fmla="*/ 356 w 106200"/>
                    <a:gd name="connsiteY3" fmla="*/ 29922 h 39053"/>
                    <a:gd name="connsiteX4" fmla="*/ 8750 w 106200"/>
                    <a:gd name="connsiteY4" fmla="*/ 4739 h 39053"/>
                    <a:gd name="connsiteX5" fmla="*/ 15329 w 106200"/>
                    <a:gd name="connsiteY5" fmla="*/ 0 h 39053"/>
                    <a:gd name="connsiteX6" fmla="*/ 55341 w 106200"/>
                    <a:gd name="connsiteY6" fmla="*/ 0 h 39053"/>
                    <a:gd name="connsiteX7" fmla="*/ 62274 w 106200"/>
                    <a:gd name="connsiteY7" fmla="*/ 6934 h 39053"/>
                    <a:gd name="connsiteX8" fmla="*/ 55341 w 106200"/>
                    <a:gd name="connsiteY8" fmla="*/ 13867 h 39053"/>
                    <a:gd name="connsiteX9" fmla="*/ 20325 w 106200"/>
                    <a:gd name="connsiteY9" fmla="*/ 13867 h 39053"/>
                    <a:gd name="connsiteX10" fmla="*/ 16551 w 106200"/>
                    <a:gd name="connsiteY10" fmla="*/ 25183 h 39053"/>
                    <a:gd name="connsiteX11" fmla="*/ 99267 w 106200"/>
                    <a:gd name="connsiteY11" fmla="*/ 25183 h 39053"/>
                    <a:gd name="connsiteX12" fmla="*/ 106201 w 106200"/>
                    <a:gd name="connsiteY12" fmla="*/ 32116 h 39053"/>
                    <a:gd name="connsiteX13" fmla="*/ 99274 w 106200"/>
                    <a:gd name="connsiteY13" fmla="*/ 39053 h 3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200" h="39053">
                      <a:moveTo>
                        <a:pt x="99274" y="39053"/>
                      </a:moveTo>
                      <a:lnTo>
                        <a:pt x="6935" y="39053"/>
                      </a:lnTo>
                      <a:cubicBezTo>
                        <a:pt x="4705" y="39053"/>
                        <a:pt x="2609" y="37983"/>
                        <a:pt x="1310" y="36171"/>
                      </a:cubicBezTo>
                      <a:cubicBezTo>
                        <a:pt x="8" y="34363"/>
                        <a:pt x="-350" y="32039"/>
                        <a:pt x="356" y="29922"/>
                      </a:cubicBezTo>
                      <a:lnTo>
                        <a:pt x="8750" y="4739"/>
                      </a:lnTo>
                      <a:cubicBezTo>
                        <a:pt x="9694" y="1910"/>
                        <a:pt x="12341" y="0"/>
                        <a:pt x="15329" y="0"/>
                      </a:cubicBezTo>
                      <a:lnTo>
                        <a:pt x="55341" y="0"/>
                      </a:lnTo>
                      <a:cubicBezTo>
                        <a:pt x="59171" y="0"/>
                        <a:pt x="62274" y="3104"/>
                        <a:pt x="62274" y="6934"/>
                      </a:cubicBezTo>
                      <a:cubicBezTo>
                        <a:pt x="62274" y="10764"/>
                        <a:pt x="59171" y="13867"/>
                        <a:pt x="55341" y="13867"/>
                      </a:cubicBezTo>
                      <a:lnTo>
                        <a:pt x="20325" y="13867"/>
                      </a:lnTo>
                      <a:lnTo>
                        <a:pt x="16551" y="25183"/>
                      </a:lnTo>
                      <a:lnTo>
                        <a:pt x="99267" y="25183"/>
                      </a:lnTo>
                      <a:cubicBezTo>
                        <a:pt x="103097" y="25183"/>
                        <a:pt x="106201" y="28290"/>
                        <a:pt x="106201" y="32116"/>
                      </a:cubicBezTo>
                      <a:cubicBezTo>
                        <a:pt x="106208" y="35946"/>
                        <a:pt x="103104" y="39053"/>
                        <a:pt x="99274" y="39053"/>
                      </a:cubicBezTo>
                      <a:close/>
                    </a:path>
                  </a:pathLst>
                </a:custGeom>
                <a:solidFill>
                  <a:schemeClr val="accent1"/>
                </a:solidFill>
                <a:ln w="351" cap="flat">
                  <a:noFill/>
                  <a:prstDash val="solid"/>
                  <a:miter/>
                </a:ln>
              </p:spPr>
              <p:txBody>
                <a:bodyPr rtlCol="0" anchor="ctr"/>
                <a:lstStyle/>
                <a:p>
                  <a:endParaRPr lang="en-GB" dirty="0"/>
                </a:p>
              </p:txBody>
            </p:sp>
          </p:grpSp>
          <p:grpSp>
            <p:nvGrpSpPr>
              <p:cNvPr id="536" name="Graphic 10">
                <a:extLst>
                  <a:ext uri="{FF2B5EF4-FFF2-40B4-BE49-F238E27FC236}">
                    <a16:creationId xmlns:a16="http://schemas.microsoft.com/office/drawing/2014/main" id="{123917A5-FE76-47C8-9EE5-83B1137791F4}"/>
                  </a:ext>
                </a:extLst>
              </p:cNvPr>
              <p:cNvGrpSpPr/>
              <p:nvPr/>
            </p:nvGrpSpPr>
            <p:grpSpPr>
              <a:xfrm>
                <a:off x="1038178" y="2867195"/>
                <a:ext cx="106207" cy="125789"/>
                <a:chOff x="1038178" y="2867195"/>
                <a:chExt cx="106207" cy="125789"/>
              </a:xfrm>
              <a:solidFill>
                <a:schemeClr val="accent1"/>
              </a:solidFill>
            </p:grpSpPr>
            <p:sp>
              <p:nvSpPr>
                <p:cNvPr id="540" name="Freihandform: Form 248">
                  <a:extLst>
                    <a:ext uri="{FF2B5EF4-FFF2-40B4-BE49-F238E27FC236}">
                      <a16:creationId xmlns:a16="http://schemas.microsoft.com/office/drawing/2014/main" id="{EDF00012-80FC-4FAC-9BA9-E0F423901C69}"/>
                    </a:ext>
                  </a:extLst>
                </p:cNvPr>
                <p:cNvSpPr/>
                <p:nvPr/>
              </p:nvSpPr>
              <p:spPr>
                <a:xfrm>
                  <a:off x="1038178" y="2892378"/>
                  <a:ext cx="106206" cy="100607"/>
                </a:xfrm>
                <a:custGeom>
                  <a:avLst/>
                  <a:gdLst>
                    <a:gd name="connsiteX0" fmla="*/ 99273 w 106206"/>
                    <a:gd name="connsiteY0" fmla="*/ 100607 h 100607"/>
                    <a:gd name="connsiteX1" fmla="*/ 6934 w 106206"/>
                    <a:gd name="connsiteY1" fmla="*/ 100607 h 100607"/>
                    <a:gd name="connsiteX2" fmla="*/ 0 w 106206"/>
                    <a:gd name="connsiteY2" fmla="*/ 93673 h 100607"/>
                    <a:gd name="connsiteX3" fmla="*/ 0 w 106206"/>
                    <a:gd name="connsiteY3" fmla="*/ 6934 h 100607"/>
                    <a:gd name="connsiteX4" fmla="*/ 6934 w 106206"/>
                    <a:gd name="connsiteY4" fmla="*/ 0 h 100607"/>
                    <a:gd name="connsiteX5" fmla="*/ 99273 w 106206"/>
                    <a:gd name="connsiteY5" fmla="*/ 0 h 100607"/>
                    <a:gd name="connsiteX6" fmla="*/ 106207 w 106206"/>
                    <a:gd name="connsiteY6" fmla="*/ 6934 h 100607"/>
                    <a:gd name="connsiteX7" fmla="*/ 106207 w 106206"/>
                    <a:gd name="connsiteY7" fmla="*/ 93673 h 100607"/>
                    <a:gd name="connsiteX8" fmla="*/ 99273 w 106206"/>
                    <a:gd name="connsiteY8" fmla="*/ 100607 h 100607"/>
                    <a:gd name="connsiteX9" fmla="*/ 13871 w 106206"/>
                    <a:gd name="connsiteY9" fmla="*/ 86736 h 100607"/>
                    <a:gd name="connsiteX10" fmla="*/ 92339 w 106206"/>
                    <a:gd name="connsiteY10" fmla="*/ 86736 h 100607"/>
                    <a:gd name="connsiteX11" fmla="*/ 92339 w 106206"/>
                    <a:gd name="connsiteY11" fmla="*/ 13867 h 100607"/>
                    <a:gd name="connsiteX12" fmla="*/ 13871 w 106206"/>
                    <a:gd name="connsiteY12" fmla="*/ 13867 h 100607"/>
                    <a:gd name="connsiteX13" fmla="*/ 13871 w 106206"/>
                    <a:gd name="connsiteY13" fmla="*/ 86736 h 100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206" h="100607">
                      <a:moveTo>
                        <a:pt x="99273" y="100607"/>
                      </a:moveTo>
                      <a:lnTo>
                        <a:pt x="6934" y="100607"/>
                      </a:lnTo>
                      <a:cubicBezTo>
                        <a:pt x="3103" y="100607"/>
                        <a:pt x="0" y="97500"/>
                        <a:pt x="0" y="93673"/>
                      </a:cubicBezTo>
                      <a:lnTo>
                        <a:pt x="0" y="6934"/>
                      </a:lnTo>
                      <a:cubicBezTo>
                        <a:pt x="0" y="3104"/>
                        <a:pt x="3107" y="0"/>
                        <a:pt x="6934" y="0"/>
                      </a:cubicBezTo>
                      <a:lnTo>
                        <a:pt x="99273" y="0"/>
                      </a:lnTo>
                      <a:cubicBezTo>
                        <a:pt x="103103" y="0"/>
                        <a:pt x="106207" y="3107"/>
                        <a:pt x="106207" y="6934"/>
                      </a:cubicBezTo>
                      <a:lnTo>
                        <a:pt x="106207" y="93673"/>
                      </a:lnTo>
                      <a:cubicBezTo>
                        <a:pt x="106207" y="97504"/>
                        <a:pt x="103103" y="100607"/>
                        <a:pt x="99273" y="100607"/>
                      </a:cubicBezTo>
                      <a:close/>
                      <a:moveTo>
                        <a:pt x="13871" y="86736"/>
                      </a:moveTo>
                      <a:lnTo>
                        <a:pt x="92339" y="86736"/>
                      </a:lnTo>
                      <a:lnTo>
                        <a:pt x="92339" y="13867"/>
                      </a:lnTo>
                      <a:lnTo>
                        <a:pt x="13871" y="13867"/>
                      </a:lnTo>
                      <a:lnTo>
                        <a:pt x="13871" y="86736"/>
                      </a:lnTo>
                      <a:close/>
                    </a:path>
                  </a:pathLst>
                </a:custGeom>
                <a:solidFill>
                  <a:schemeClr val="accent1"/>
                </a:solidFill>
                <a:ln w="351" cap="flat">
                  <a:noFill/>
                  <a:prstDash val="solid"/>
                  <a:miter/>
                </a:ln>
              </p:spPr>
              <p:txBody>
                <a:bodyPr rtlCol="0" anchor="ctr"/>
                <a:lstStyle/>
                <a:p>
                  <a:endParaRPr lang="en-GB" dirty="0"/>
                </a:p>
              </p:txBody>
            </p:sp>
            <p:sp>
              <p:nvSpPr>
                <p:cNvPr id="541" name="Freihandform: Form 249">
                  <a:extLst>
                    <a:ext uri="{FF2B5EF4-FFF2-40B4-BE49-F238E27FC236}">
                      <a16:creationId xmlns:a16="http://schemas.microsoft.com/office/drawing/2014/main" id="{B0606753-EF32-46EB-A103-C3E288F8462B}"/>
                    </a:ext>
                  </a:extLst>
                </p:cNvPr>
                <p:cNvSpPr/>
                <p:nvPr/>
              </p:nvSpPr>
              <p:spPr>
                <a:xfrm>
                  <a:off x="1038178" y="2867195"/>
                  <a:ext cx="106207" cy="39049"/>
                </a:xfrm>
                <a:custGeom>
                  <a:avLst/>
                  <a:gdLst>
                    <a:gd name="connsiteX0" fmla="*/ 99273 w 106207"/>
                    <a:gd name="connsiteY0" fmla="*/ 39050 h 39049"/>
                    <a:gd name="connsiteX1" fmla="*/ 6934 w 106207"/>
                    <a:gd name="connsiteY1" fmla="*/ 39050 h 39049"/>
                    <a:gd name="connsiteX2" fmla="*/ 0 w 106207"/>
                    <a:gd name="connsiteY2" fmla="*/ 32116 h 39049"/>
                    <a:gd name="connsiteX3" fmla="*/ 6934 w 106207"/>
                    <a:gd name="connsiteY3" fmla="*/ 25183 h 39049"/>
                    <a:gd name="connsiteX4" fmla="*/ 89650 w 106207"/>
                    <a:gd name="connsiteY4" fmla="*/ 25183 h 39049"/>
                    <a:gd name="connsiteX5" fmla="*/ 85876 w 106207"/>
                    <a:gd name="connsiteY5" fmla="*/ 13867 h 39049"/>
                    <a:gd name="connsiteX6" fmla="*/ 50284 w 106207"/>
                    <a:gd name="connsiteY6" fmla="*/ 13867 h 39049"/>
                    <a:gd name="connsiteX7" fmla="*/ 43351 w 106207"/>
                    <a:gd name="connsiteY7" fmla="*/ 6934 h 39049"/>
                    <a:gd name="connsiteX8" fmla="*/ 50284 w 106207"/>
                    <a:gd name="connsiteY8" fmla="*/ 0 h 39049"/>
                    <a:gd name="connsiteX9" fmla="*/ 90879 w 106207"/>
                    <a:gd name="connsiteY9" fmla="*/ 0 h 39049"/>
                    <a:gd name="connsiteX10" fmla="*/ 97458 w 106207"/>
                    <a:gd name="connsiteY10" fmla="*/ 4739 h 39049"/>
                    <a:gd name="connsiteX11" fmla="*/ 105852 w 106207"/>
                    <a:gd name="connsiteY11" fmla="*/ 29922 h 39049"/>
                    <a:gd name="connsiteX12" fmla="*/ 104897 w 106207"/>
                    <a:gd name="connsiteY12" fmla="*/ 36171 h 39049"/>
                    <a:gd name="connsiteX13" fmla="*/ 99273 w 106207"/>
                    <a:gd name="connsiteY13" fmla="*/ 39050 h 39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207" h="39049">
                      <a:moveTo>
                        <a:pt x="99273" y="39050"/>
                      </a:moveTo>
                      <a:lnTo>
                        <a:pt x="6934" y="39050"/>
                      </a:lnTo>
                      <a:cubicBezTo>
                        <a:pt x="3103" y="39050"/>
                        <a:pt x="0" y="35946"/>
                        <a:pt x="0" y="32116"/>
                      </a:cubicBezTo>
                      <a:cubicBezTo>
                        <a:pt x="0" y="28286"/>
                        <a:pt x="3107" y="25183"/>
                        <a:pt x="6934" y="25183"/>
                      </a:cubicBezTo>
                      <a:lnTo>
                        <a:pt x="89650" y="25183"/>
                      </a:lnTo>
                      <a:lnTo>
                        <a:pt x="85876" y="13867"/>
                      </a:lnTo>
                      <a:lnTo>
                        <a:pt x="50284" y="13867"/>
                      </a:lnTo>
                      <a:cubicBezTo>
                        <a:pt x="46454" y="13867"/>
                        <a:pt x="43351" y="10760"/>
                        <a:pt x="43351" y="6934"/>
                      </a:cubicBezTo>
                      <a:cubicBezTo>
                        <a:pt x="43351" y="3104"/>
                        <a:pt x="46458" y="0"/>
                        <a:pt x="50284" y="0"/>
                      </a:cubicBezTo>
                      <a:lnTo>
                        <a:pt x="90879" y="0"/>
                      </a:lnTo>
                      <a:cubicBezTo>
                        <a:pt x="93867" y="0"/>
                        <a:pt x="96514" y="1910"/>
                        <a:pt x="97458" y="4739"/>
                      </a:cubicBezTo>
                      <a:lnTo>
                        <a:pt x="105852" y="29922"/>
                      </a:lnTo>
                      <a:cubicBezTo>
                        <a:pt x="106558" y="32039"/>
                        <a:pt x="106200" y="34363"/>
                        <a:pt x="104897" y="36171"/>
                      </a:cubicBezTo>
                      <a:cubicBezTo>
                        <a:pt x="103598" y="37979"/>
                        <a:pt x="101499" y="39050"/>
                        <a:pt x="99273" y="39050"/>
                      </a:cubicBezTo>
                      <a:close/>
                    </a:path>
                  </a:pathLst>
                </a:custGeom>
                <a:solidFill>
                  <a:schemeClr val="accent1"/>
                </a:solidFill>
                <a:ln w="351" cap="flat">
                  <a:noFill/>
                  <a:prstDash val="solid"/>
                  <a:miter/>
                </a:ln>
              </p:spPr>
              <p:txBody>
                <a:bodyPr rtlCol="0" anchor="ctr"/>
                <a:lstStyle/>
                <a:p>
                  <a:endParaRPr lang="en-GB" dirty="0"/>
                </a:p>
              </p:txBody>
            </p:sp>
          </p:grpSp>
          <p:grpSp>
            <p:nvGrpSpPr>
              <p:cNvPr id="537" name="Graphic 10">
                <a:extLst>
                  <a:ext uri="{FF2B5EF4-FFF2-40B4-BE49-F238E27FC236}">
                    <a16:creationId xmlns:a16="http://schemas.microsoft.com/office/drawing/2014/main" id="{0FDF6668-4D02-4A38-B71D-D5952D258488}"/>
                  </a:ext>
                </a:extLst>
              </p:cNvPr>
              <p:cNvGrpSpPr/>
              <p:nvPr/>
            </p:nvGrpSpPr>
            <p:grpSpPr>
              <a:xfrm>
                <a:off x="995259" y="2787105"/>
                <a:ext cx="99530" cy="117700"/>
                <a:chOff x="995259" y="2787105"/>
                <a:chExt cx="99530" cy="117700"/>
              </a:xfrm>
              <a:solidFill>
                <a:schemeClr val="accent1"/>
              </a:solidFill>
            </p:grpSpPr>
            <p:sp>
              <p:nvSpPr>
                <p:cNvPr id="538" name="Freihandform: Form 251">
                  <a:extLst>
                    <a:ext uri="{FF2B5EF4-FFF2-40B4-BE49-F238E27FC236}">
                      <a16:creationId xmlns:a16="http://schemas.microsoft.com/office/drawing/2014/main" id="{81BF3EE8-914F-4BDC-9E67-5387A5D7D6F2}"/>
                    </a:ext>
                  </a:extLst>
                </p:cNvPr>
                <p:cNvSpPr/>
                <p:nvPr/>
              </p:nvSpPr>
              <p:spPr>
                <a:xfrm>
                  <a:off x="995260" y="2810469"/>
                  <a:ext cx="99529" cy="94336"/>
                </a:xfrm>
                <a:custGeom>
                  <a:avLst/>
                  <a:gdLst>
                    <a:gd name="connsiteX0" fmla="*/ 92596 w 99529"/>
                    <a:gd name="connsiteY0" fmla="*/ 94337 h 94336"/>
                    <a:gd name="connsiteX1" fmla="*/ 6934 w 99529"/>
                    <a:gd name="connsiteY1" fmla="*/ 94337 h 94336"/>
                    <a:gd name="connsiteX2" fmla="*/ 0 w 99529"/>
                    <a:gd name="connsiteY2" fmla="*/ 87403 h 94336"/>
                    <a:gd name="connsiteX3" fmla="*/ 0 w 99529"/>
                    <a:gd name="connsiteY3" fmla="*/ 6934 h 94336"/>
                    <a:gd name="connsiteX4" fmla="*/ 6934 w 99529"/>
                    <a:gd name="connsiteY4" fmla="*/ 0 h 94336"/>
                    <a:gd name="connsiteX5" fmla="*/ 92596 w 99529"/>
                    <a:gd name="connsiteY5" fmla="*/ 0 h 94336"/>
                    <a:gd name="connsiteX6" fmla="*/ 99529 w 99529"/>
                    <a:gd name="connsiteY6" fmla="*/ 6934 h 94336"/>
                    <a:gd name="connsiteX7" fmla="*/ 99529 w 99529"/>
                    <a:gd name="connsiteY7" fmla="*/ 87403 h 94336"/>
                    <a:gd name="connsiteX8" fmla="*/ 92596 w 99529"/>
                    <a:gd name="connsiteY8" fmla="*/ 94337 h 94336"/>
                    <a:gd name="connsiteX9" fmla="*/ 13867 w 99529"/>
                    <a:gd name="connsiteY9" fmla="*/ 80466 h 94336"/>
                    <a:gd name="connsiteX10" fmla="*/ 85662 w 99529"/>
                    <a:gd name="connsiteY10" fmla="*/ 80466 h 94336"/>
                    <a:gd name="connsiteX11" fmla="*/ 85662 w 99529"/>
                    <a:gd name="connsiteY11" fmla="*/ 13867 h 94336"/>
                    <a:gd name="connsiteX12" fmla="*/ 13867 w 99529"/>
                    <a:gd name="connsiteY12" fmla="*/ 13867 h 94336"/>
                    <a:gd name="connsiteX13" fmla="*/ 13867 w 99529"/>
                    <a:gd name="connsiteY13" fmla="*/ 80466 h 94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529" h="94336">
                      <a:moveTo>
                        <a:pt x="92596" y="94337"/>
                      </a:moveTo>
                      <a:lnTo>
                        <a:pt x="6934" y="94337"/>
                      </a:lnTo>
                      <a:cubicBezTo>
                        <a:pt x="3103" y="94337"/>
                        <a:pt x="0" y="91234"/>
                        <a:pt x="0" y="87403"/>
                      </a:cubicBezTo>
                      <a:lnTo>
                        <a:pt x="0" y="6934"/>
                      </a:lnTo>
                      <a:cubicBezTo>
                        <a:pt x="0" y="3104"/>
                        <a:pt x="3103" y="0"/>
                        <a:pt x="6934" y="0"/>
                      </a:cubicBezTo>
                      <a:lnTo>
                        <a:pt x="92596" y="0"/>
                      </a:lnTo>
                      <a:cubicBezTo>
                        <a:pt x="96426" y="0"/>
                        <a:pt x="99529" y="3104"/>
                        <a:pt x="99529" y="6934"/>
                      </a:cubicBezTo>
                      <a:lnTo>
                        <a:pt x="99529" y="87403"/>
                      </a:lnTo>
                      <a:cubicBezTo>
                        <a:pt x="99529" y="91230"/>
                        <a:pt x="96426" y="94337"/>
                        <a:pt x="92596" y="94337"/>
                      </a:cubicBezTo>
                      <a:close/>
                      <a:moveTo>
                        <a:pt x="13867" y="80466"/>
                      </a:moveTo>
                      <a:lnTo>
                        <a:pt x="85662" y="80466"/>
                      </a:lnTo>
                      <a:lnTo>
                        <a:pt x="85662" y="13867"/>
                      </a:lnTo>
                      <a:lnTo>
                        <a:pt x="13867" y="13867"/>
                      </a:lnTo>
                      <a:lnTo>
                        <a:pt x="13867" y="80466"/>
                      </a:lnTo>
                      <a:close/>
                    </a:path>
                  </a:pathLst>
                </a:custGeom>
                <a:solidFill>
                  <a:schemeClr val="accent1"/>
                </a:solidFill>
                <a:ln w="351" cap="flat">
                  <a:noFill/>
                  <a:prstDash val="solid"/>
                  <a:miter/>
                </a:ln>
              </p:spPr>
              <p:txBody>
                <a:bodyPr rtlCol="0" anchor="ctr"/>
                <a:lstStyle/>
                <a:p>
                  <a:endParaRPr lang="en-GB" dirty="0"/>
                </a:p>
              </p:txBody>
            </p:sp>
            <p:sp>
              <p:nvSpPr>
                <p:cNvPr id="539" name="Freihandform: Form 252">
                  <a:extLst>
                    <a:ext uri="{FF2B5EF4-FFF2-40B4-BE49-F238E27FC236}">
                      <a16:creationId xmlns:a16="http://schemas.microsoft.com/office/drawing/2014/main" id="{19E65F16-427D-4C19-91AD-B6DCEFAAF22E}"/>
                    </a:ext>
                  </a:extLst>
                </p:cNvPr>
                <p:cNvSpPr/>
                <p:nvPr/>
              </p:nvSpPr>
              <p:spPr>
                <a:xfrm>
                  <a:off x="995259" y="2787105"/>
                  <a:ext cx="99527" cy="37231"/>
                </a:xfrm>
                <a:custGeom>
                  <a:avLst/>
                  <a:gdLst>
                    <a:gd name="connsiteX0" fmla="*/ 92597 w 99527"/>
                    <a:gd name="connsiteY0" fmla="*/ 37231 h 37231"/>
                    <a:gd name="connsiteX1" fmla="*/ 6935 w 99527"/>
                    <a:gd name="connsiteY1" fmla="*/ 37231 h 37231"/>
                    <a:gd name="connsiteX2" fmla="*/ 1310 w 99527"/>
                    <a:gd name="connsiteY2" fmla="*/ 34349 h 37231"/>
                    <a:gd name="connsiteX3" fmla="*/ 356 w 99527"/>
                    <a:gd name="connsiteY3" fmla="*/ 28100 h 37231"/>
                    <a:gd name="connsiteX4" fmla="*/ 8142 w 99527"/>
                    <a:gd name="connsiteY4" fmla="*/ 4739 h 37231"/>
                    <a:gd name="connsiteX5" fmla="*/ 14722 w 99527"/>
                    <a:gd name="connsiteY5" fmla="*/ 0 h 37231"/>
                    <a:gd name="connsiteX6" fmla="*/ 84806 w 99527"/>
                    <a:gd name="connsiteY6" fmla="*/ 0 h 37231"/>
                    <a:gd name="connsiteX7" fmla="*/ 91385 w 99527"/>
                    <a:gd name="connsiteY7" fmla="*/ 4739 h 37231"/>
                    <a:gd name="connsiteX8" fmla="*/ 99172 w 99527"/>
                    <a:gd name="connsiteY8" fmla="*/ 28100 h 37231"/>
                    <a:gd name="connsiteX9" fmla="*/ 98217 w 99527"/>
                    <a:gd name="connsiteY9" fmla="*/ 34349 h 37231"/>
                    <a:gd name="connsiteX10" fmla="*/ 92597 w 99527"/>
                    <a:gd name="connsiteY10" fmla="*/ 37231 h 37231"/>
                    <a:gd name="connsiteX11" fmla="*/ 16558 w 99527"/>
                    <a:gd name="connsiteY11" fmla="*/ 23360 h 37231"/>
                    <a:gd name="connsiteX12" fmla="*/ 82974 w 99527"/>
                    <a:gd name="connsiteY12" fmla="*/ 23360 h 37231"/>
                    <a:gd name="connsiteX13" fmla="*/ 79811 w 99527"/>
                    <a:gd name="connsiteY13" fmla="*/ 13867 h 37231"/>
                    <a:gd name="connsiteX14" fmla="*/ 19721 w 99527"/>
                    <a:gd name="connsiteY14" fmla="*/ 13867 h 37231"/>
                    <a:gd name="connsiteX15" fmla="*/ 16558 w 99527"/>
                    <a:gd name="connsiteY15" fmla="*/ 23360 h 37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527" h="37231">
                      <a:moveTo>
                        <a:pt x="92597" y="37231"/>
                      </a:moveTo>
                      <a:lnTo>
                        <a:pt x="6935" y="37231"/>
                      </a:lnTo>
                      <a:cubicBezTo>
                        <a:pt x="4705" y="37231"/>
                        <a:pt x="2609" y="36161"/>
                        <a:pt x="1310" y="34349"/>
                      </a:cubicBezTo>
                      <a:cubicBezTo>
                        <a:pt x="8" y="32541"/>
                        <a:pt x="-350" y="30217"/>
                        <a:pt x="356" y="28100"/>
                      </a:cubicBezTo>
                      <a:lnTo>
                        <a:pt x="8142" y="4739"/>
                      </a:lnTo>
                      <a:cubicBezTo>
                        <a:pt x="9087" y="1910"/>
                        <a:pt x="11737" y="0"/>
                        <a:pt x="14722" y="0"/>
                      </a:cubicBezTo>
                      <a:lnTo>
                        <a:pt x="84806" y="0"/>
                      </a:lnTo>
                      <a:cubicBezTo>
                        <a:pt x="87790" y="0"/>
                        <a:pt x="90441" y="1910"/>
                        <a:pt x="91385" y="4739"/>
                      </a:cubicBezTo>
                      <a:lnTo>
                        <a:pt x="99172" y="28100"/>
                      </a:lnTo>
                      <a:cubicBezTo>
                        <a:pt x="99878" y="30217"/>
                        <a:pt x="99520" y="32541"/>
                        <a:pt x="98217" y="34349"/>
                      </a:cubicBezTo>
                      <a:cubicBezTo>
                        <a:pt x="96922" y="36161"/>
                        <a:pt x="94826" y="37231"/>
                        <a:pt x="92597" y="37231"/>
                      </a:cubicBezTo>
                      <a:close/>
                      <a:moveTo>
                        <a:pt x="16558" y="23360"/>
                      </a:moveTo>
                      <a:lnTo>
                        <a:pt x="82974" y="23360"/>
                      </a:lnTo>
                      <a:lnTo>
                        <a:pt x="79811" y="13867"/>
                      </a:lnTo>
                      <a:lnTo>
                        <a:pt x="19721" y="13867"/>
                      </a:lnTo>
                      <a:lnTo>
                        <a:pt x="16558" y="23360"/>
                      </a:lnTo>
                      <a:close/>
                    </a:path>
                  </a:pathLst>
                </a:custGeom>
                <a:solidFill>
                  <a:schemeClr val="accent1"/>
                </a:solidFill>
                <a:ln w="351" cap="flat">
                  <a:noFill/>
                  <a:prstDash val="solid"/>
                  <a:miter/>
                </a:ln>
              </p:spPr>
              <p:txBody>
                <a:bodyPr rtlCol="0" anchor="ctr"/>
                <a:lstStyle/>
                <a:p>
                  <a:endParaRPr lang="en-GB" dirty="0"/>
                </a:p>
              </p:txBody>
            </p:sp>
          </p:grpSp>
        </p:grpSp>
        <p:grpSp>
          <p:nvGrpSpPr>
            <p:cNvPr id="39" name="Group 38">
              <a:extLst>
                <a:ext uri="{FF2B5EF4-FFF2-40B4-BE49-F238E27FC236}">
                  <a16:creationId xmlns:a16="http://schemas.microsoft.com/office/drawing/2014/main" id="{46EB6B9F-1595-46DE-B47B-A016A8475A81}"/>
                </a:ext>
              </a:extLst>
            </p:cNvPr>
            <p:cNvGrpSpPr/>
            <p:nvPr/>
          </p:nvGrpSpPr>
          <p:grpSpPr>
            <a:xfrm>
              <a:off x="4944490" y="3197067"/>
              <a:ext cx="536731" cy="432005"/>
              <a:chOff x="4944490" y="3197067"/>
              <a:chExt cx="536731" cy="432005"/>
            </a:xfrm>
          </p:grpSpPr>
          <p:sp>
            <p:nvSpPr>
              <p:cNvPr id="528" name="Freihandform: Form 253">
                <a:extLst>
                  <a:ext uri="{FF2B5EF4-FFF2-40B4-BE49-F238E27FC236}">
                    <a16:creationId xmlns:a16="http://schemas.microsoft.com/office/drawing/2014/main" id="{920E3B83-52D3-4241-A9BF-A716170BE6B3}"/>
                  </a:ext>
                </a:extLst>
              </p:cNvPr>
              <p:cNvSpPr/>
              <p:nvPr/>
            </p:nvSpPr>
            <p:spPr>
              <a:xfrm>
                <a:off x="5062313" y="3367251"/>
                <a:ext cx="301088" cy="45814"/>
              </a:xfrm>
              <a:custGeom>
                <a:avLst/>
                <a:gdLst>
                  <a:gd name="connsiteX0" fmla="*/ 312080 w 319013"/>
                  <a:gd name="connsiteY0" fmla="*/ 48543 h 48542"/>
                  <a:gd name="connsiteX1" fmla="*/ 6934 w 319013"/>
                  <a:gd name="connsiteY1" fmla="*/ 48543 h 48542"/>
                  <a:gd name="connsiteX2" fmla="*/ 0 w 319013"/>
                  <a:gd name="connsiteY2" fmla="*/ 41609 h 48542"/>
                  <a:gd name="connsiteX3" fmla="*/ 0 w 319013"/>
                  <a:gd name="connsiteY3" fmla="*/ 6934 h 48542"/>
                  <a:gd name="connsiteX4" fmla="*/ 6934 w 319013"/>
                  <a:gd name="connsiteY4" fmla="*/ 0 h 48542"/>
                  <a:gd name="connsiteX5" fmla="*/ 312080 w 319013"/>
                  <a:gd name="connsiteY5" fmla="*/ 0 h 48542"/>
                  <a:gd name="connsiteX6" fmla="*/ 319014 w 319013"/>
                  <a:gd name="connsiteY6" fmla="*/ 6934 h 48542"/>
                  <a:gd name="connsiteX7" fmla="*/ 319014 w 319013"/>
                  <a:gd name="connsiteY7" fmla="*/ 41609 h 48542"/>
                  <a:gd name="connsiteX8" fmla="*/ 312080 w 319013"/>
                  <a:gd name="connsiteY8" fmla="*/ 48543 h 48542"/>
                  <a:gd name="connsiteX9" fmla="*/ 13867 w 319013"/>
                  <a:gd name="connsiteY9" fmla="*/ 34672 h 48542"/>
                  <a:gd name="connsiteX10" fmla="*/ 305143 w 319013"/>
                  <a:gd name="connsiteY10" fmla="*/ 34672 h 48542"/>
                  <a:gd name="connsiteX11" fmla="*/ 305143 w 319013"/>
                  <a:gd name="connsiteY11" fmla="*/ 13867 h 48542"/>
                  <a:gd name="connsiteX12" fmla="*/ 13867 w 319013"/>
                  <a:gd name="connsiteY12" fmla="*/ 13867 h 48542"/>
                  <a:gd name="connsiteX13" fmla="*/ 13867 w 319013"/>
                  <a:gd name="connsiteY13" fmla="*/ 34672 h 48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9013" h="48542">
                    <a:moveTo>
                      <a:pt x="312080" y="48543"/>
                    </a:moveTo>
                    <a:lnTo>
                      <a:pt x="6934" y="48543"/>
                    </a:lnTo>
                    <a:cubicBezTo>
                      <a:pt x="3103" y="48543"/>
                      <a:pt x="0" y="45436"/>
                      <a:pt x="0" y="41609"/>
                    </a:cubicBezTo>
                    <a:lnTo>
                      <a:pt x="0" y="6934"/>
                    </a:lnTo>
                    <a:cubicBezTo>
                      <a:pt x="0" y="3104"/>
                      <a:pt x="3103" y="0"/>
                      <a:pt x="6934" y="0"/>
                    </a:cubicBezTo>
                    <a:lnTo>
                      <a:pt x="312080" y="0"/>
                    </a:lnTo>
                    <a:cubicBezTo>
                      <a:pt x="315910" y="0"/>
                      <a:pt x="319014" y="3104"/>
                      <a:pt x="319014" y="6934"/>
                    </a:cubicBezTo>
                    <a:lnTo>
                      <a:pt x="319014" y="41609"/>
                    </a:lnTo>
                    <a:cubicBezTo>
                      <a:pt x="319017" y="45440"/>
                      <a:pt x="315910" y="48543"/>
                      <a:pt x="312080" y="48543"/>
                    </a:cubicBezTo>
                    <a:close/>
                    <a:moveTo>
                      <a:pt x="13867" y="34672"/>
                    </a:moveTo>
                    <a:lnTo>
                      <a:pt x="305143" y="34672"/>
                    </a:lnTo>
                    <a:lnTo>
                      <a:pt x="305143" y="13867"/>
                    </a:lnTo>
                    <a:lnTo>
                      <a:pt x="13867" y="13867"/>
                    </a:lnTo>
                    <a:lnTo>
                      <a:pt x="13867" y="34672"/>
                    </a:lnTo>
                    <a:close/>
                  </a:path>
                </a:pathLst>
              </a:custGeom>
              <a:solidFill>
                <a:schemeClr val="tx2"/>
              </a:solidFill>
              <a:ln w="351" cap="flat">
                <a:noFill/>
                <a:prstDash val="solid"/>
                <a:miter/>
              </a:ln>
            </p:spPr>
            <p:txBody>
              <a:bodyPr rtlCol="0" anchor="ctr"/>
              <a:lstStyle/>
              <a:p>
                <a:endParaRPr lang="en-GB" dirty="0"/>
              </a:p>
            </p:txBody>
          </p:sp>
          <p:sp>
            <p:nvSpPr>
              <p:cNvPr id="529" name="Freihandform: Form 254">
                <a:extLst>
                  <a:ext uri="{FF2B5EF4-FFF2-40B4-BE49-F238E27FC236}">
                    <a16:creationId xmlns:a16="http://schemas.microsoft.com/office/drawing/2014/main" id="{AE9F67B1-632F-48AF-8B62-ADAAF97284E7}"/>
                  </a:ext>
                </a:extLst>
              </p:cNvPr>
              <p:cNvSpPr/>
              <p:nvPr/>
            </p:nvSpPr>
            <p:spPr>
              <a:xfrm>
                <a:off x="5062313" y="3399978"/>
                <a:ext cx="301088" cy="229089"/>
              </a:xfrm>
              <a:custGeom>
                <a:avLst/>
                <a:gdLst>
                  <a:gd name="connsiteX0" fmla="*/ 312080 w 319013"/>
                  <a:gd name="connsiteY0" fmla="*/ 242729 h 242728"/>
                  <a:gd name="connsiteX1" fmla="*/ 305146 w 319013"/>
                  <a:gd name="connsiteY1" fmla="*/ 235795 h 242728"/>
                  <a:gd name="connsiteX2" fmla="*/ 305146 w 319013"/>
                  <a:gd name="connsiteY2" fmla="*/ 13871 h 242728"/>
                  <a:gd name="connsiteX3" fmla="*/ 13867 w 319013"/>
                  <a:gd name="connsiteY3" fmla="*/ 13871 h 242728"/>
                  <a:gd name="connsiteX4" fmla="*/ 13867 w 319013"/>
                  <a:gd name="connsiteY4" fmla="*/ 235795 h 242728"/>
                  <a:gd name="connsiteX5" fmla="*/ 6934 w 319013"/>
                  <a:gd name="connsiteY5" fmla="*/ 242729 h 242728"/>
                  <a:gd name="connsiteX6" fmla="*/ 0 w 319013"/>
                  <a:gd name="connsiteY6" fmla="*/ 235795 h 242728"/>
                  <a:gd name="connsiteX7" fmla="*/ 0 w 319013"/>
                  <a:gd name="connsiteY7" fmla="*/ 6934 h 242728"/>
                  <a:gd name="connsiteX8" fmla="*/ 6934 w 319013"/>
                  <a:gd name="connsiteY8" fmla="*/ 0 h 242728"/>
                  <a:gd name="connsiteX9" fmla="*/ 312080 w 319013"/>
                  <a:gd name="connsiteY9" fmla="*/ 0 h 242728"/>
                  <a:gd name="connsiteX10" fmla="*/ 319014 w 319013"/>
                  <a:gd name="connsiteY10" fmla="*/ 6934 h 242728"/>
                  <a:gd name="connsiteX11" fmla="*/ 319014 w 319013"/>
                  <a:gd name="connsiteY11" fmla="*/ 235795 h 242728"/>
                  <a:gd name="connsiteX12" fmla="*/ 312080 w 319013"/>
                  <a:gd name="connsiteY12" fmla="*/ 242729 h 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19013" h="242728">
                    <a:moveTo>
                      <a:pt x="312080" y="242729"/>
                    </a:moveTo>
                    <a:cubicBezTo>
                      <a:pt x="308250" y="242729"/>
                      <a:pt x="305146" y="239622"/>
                      <a:pt x="305146" y="235795"/>
                    </a:cubicBezTo>
                    <a:lnTo>
                      <a:pt x="305146" y="13871"/>
                    </a:lnTo>
                    <a:lnTo>
                      <a:pt x="13867" y="13871"/>
                    </a:lnTo>
                    <a:lnTo>
                      <a:pt x="13867" y="235795"/>
                    </a:lnTo>
                    <a:cubicBezTo>
                      <a:pt x="13867" y="239625"/>
                      <a:pt x="10764" y="242729"/>
                      <a:pt x="6934" y="242729"/>
                    </a:cubicBezTo>
                    <a:cubicBezTo>
                      <a:pt x="3103" y="242729"/>
                      <a:pt x="0" y="239622"/>
                      <a:pt x="0" y="235795"/>
                    </a:cubicBezTo>
                    <a:lnTo>
                      <a:pt x="0" y="6934"/>
                    </a:lnTo>
                    <a:cubicBezTo>
                      <a:pt x="0" y="3104"/>
                      <a:pt x="3103" y="0"/>
                      <a:pt x="6934" y="0"/>
                    </a:cubicBezTo>
                    <a:lnTo>
                      <a:pt x="312080" y="0"/>
                    </a:lnTo>
                    <a:cubicBezTo>
                      <a:pt x="315910" y="0"/>
                      <a:pt x="319014" y="3104"/>
                      <a:pt x="319014" y="6934"/>
                    </a:cubicBezTo>
                    <a:lnTo>
                      <a:pt x="319014" y="235795"/>
                    </a:lnTo>
                    <a:cubicBezTo>
                      <a:pt x="319017" y="239625"/>
                      <a:pt x="315910" y="242729"/>
                      <a:pt x="312080" y="242729"/>
                    </a:cubicBezTo>
                    <a:close/>
                  </a:path>
                </a:pathLst>
              </a:custGeom>
              <a:solidFill>
                <a:schemeClr val="tx2"/>
              </a:solidFill>
              <a:ln w="351" cap="flat">
                <a:noFill/>
                <a:prstDash val="solid"/>
                <a:miter/>
              </a:ln>
            </p:spPr>
            <p:txBody>
              <a:bodyPr rtlCol="0" anchor="ctr"/>
              <a:lstStyle/>
              <a:p>
                <a:endParaRPr lang="en-GB" dirty="0"/>
              </a:p>
            </p:txBody>
          </p:sp>
          <p:sp>
            <p:nvSpPr>
              <p:cNvPr id="530" name="Freihandform: Form 255">
                <a:extLst>
                  <a:ext uri="{FF2B5EF4-FFF2-40B4-BE49-F238E27FC236}">
                    <a16:creationId xmlns:a16="http://schemas.microsoft.com/office/drawing/2014/main" id="{7CE42051-4ED5-44E2-ABAB-2FCFA538EA4C}"/>
                  </a:ext>
                </a:extLst>
              </p:cNvPr>
              <p:cNvSpPr/>
              <p:nvPr/>
            </p:nvSpPr>
            <p:spPr>
              <a:xfrm>
                <a:off x="4944490" y="3197067"/>
                <a:ext cx="536731" cy="104725"/>
              </a:xfrm>
              <a:custGeom>
                <a:avLst/>
                <a:gdLst>
                  <a:gd name="connsiteX0" fmla="*/ 561751 w 568685"/>
                  <a:gd name="connsiteY0" fmla="*/ 110960 h 110960"/>
                  <a:gd name="connsiteX1" fmla="*/ 6935 w 568685"/>
                  <a:gd name="connsiteY1" fmla="*/ 110960 h 110960"/>
                  <a:gd name="connsiteX2" fmla="*/ 1399 w 568685"/>
                  <a:gd name="connsiteY2" fmla="*/ 108201 h 110960"/>
                  <a:gd name="connsiteX3" fmla="*/ 268 w 568685"/>
                  <a:gd name="connsiteY3" fmla="*/ 102120 h 110960"/>
                  <a:gd name="connsiteX4" fmla="*/ 28010 w 568685"/>
                  <a:gd name="connsiteY4" fmla="*/ 5027 h 110960"/>
                  <a:gd name="connsiteX5" fmla="*/ 34677 w 568685"/>
                  <a:gd name="connsiteY5" fmla="*/ 0 h 110960"/>
                  <a:gd name="connsiteX6" fmla="*/ 534009 w 568685"/>
                  <a:gd name="connsiteY6" fmla="*/ 0 h 110960"/>
                  <a:gd name="connsiteX7" fmla="*/ 540676 w 568685"/>
                  <a:gd name="connsiteY7" fmla="*/ 5027 h 110960"/>
                  <a:gd name="connsiteX8" fmla="*/ 568417 w 568685"/>
                  <a:gd name="connsiteY8" fmla="*/ 102120 h 110960"/>
                  <a:gd name="connsiteX9" fmla="*/ 567287 w 568685"/>
                  <a:gd name="connsiteY9" fmla="*/ 108201 h 110960"/>
                  <a:gd name="connsiteX10" fmla="*/ 561751 w 568685"/>
                  <a:gd name="connsiteY10" fmla="*/ 110960 h 110960"/>
                  <a:gd name="connsiteX11" fmla="*/ 16130 w 568685"/>
                  <a:gd name="connsiteY11" fmla="*/ 97089 h 110960"/>
                  <a:gd name="connsiteX12" fmla="*/ 552556 w 568685"/>
                  <a:gd name="connsiteY12" fmla="*/ 97089 h 110960"/>
                  <a:gd name="connsiteX13" fmla="*/ 528778 w 568685"/>
                  <a:gd name="connsiteY13" fmla="*/ 13867 h 110960"/>
                  <a:gd name="connsiteX14" fmla="*/ 39908 w 568685"/>
                  <a:gd name="connsiteY14" fmla="*/ 13867 h 110960"/>
                  <a:gd name="connsiteX15" fmla="*/ 16130 w 568685"/>
                  <a:gd name="connsiteY15" fmla="*/ 97089 h 110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8685" h="110960">
                    <a:moveTo>
                      <a:pt x="561751" y="110960"/>
                    </a:moveTo>
                    <a:lnTo>
                      <a:pt x="6935" y="110960"/>
                    </a:lnTo>
                    <a:cubicBezTo>
                      <a:pt x="4758" y="110960"/>
                      <a:pt x="2708" y="109939"/>
                      <a:pt x="1399" y="108201"/>
                    </a:cubicBezTo>
                    <a:cubicBezTo>
                      <a:pt x="89" y="106463"/>
                      <a:pt x="-332" y="104213"/>
                      <a:pt x="268" y="102120"/>
                    </a:cubicBezTo>
                    <a:lnTo>
                      <a:pt x="28010" y="5027"/>
                    </a:lnTo>
                    <a:cubicBezTo>
                      <a:pt x="28859" y="2050"/>
                      <a:pt x="31584" y="0"/>
                      <a:pt x="34677" y="0"/>
                    </a:cubicBezTo>
                    <a:lnTo>
                      <a:pt x="534009" y="0"/>
                    </a:lnTo>
                    <a:cubicBezTo>
                      <a:pt x="537105" y="0"/>
                      <a:pt x="539826" y="2054"/>
                      <a:pt x="540676" y="5027"/>
                    </a:cubicBezTo>
                    <a:lnTo>
                      <a:pt x="568417" y="102120"/>
                    </a:lnTo>
                    <a:cubicBezTo>
                      <a:pt x="569018" y="104213"/>
                      <a:pt x="568596" y="106467"/>
                      <a:pt x="567287" y="108201"/>
                    </a:cubicBezTo>
                    <a:cubicBezTo>
                      <a:pt x="565977" y="109939"/>
                      <a:pt x="563927" y="110960"/>
                      <a:pt x="561751" y="110960"/>
                    </a:cubicBezTo>
                    <a:close/>
                    <a:moveTo>
                      <a:pt x="16130" y="97089"/>
                    </a:moveTo>
                    <a:lnTo>
                      <a:pt x="552556" y="97089"/>
                    </a:lnTo>
                    <a:lnTo>
                      <a:pt x="528778" y="13867"/>
                    </a:lnTo>
                    <a:lnTo>
                      <a:pt x="39908" y="13867"/>
                    </a:lnTo>
                    <a:lnTo>
                      <a:pt x="16130" y="97089"/>
                    </a:lnTo>
                    <a:close/>
                  </a:path>
                </a:pathLst>
              </a:custGeom>
              <a:solidFill>
                <a:schemeClr val="tx2"/>
              </a:solidFill>
              <a:ln w="351" cap="flat">
                <a:noFill/>
                <a:prstDash val="solid"/>
                <a:miter/>
              </a:ln>
            </p:spPr>
            <p:txBody>
              <a:bodyPr rtlCol="0" anchor="ctr"/>
              <a:lstStyle/>
              <a:p>
                <a:endParaRPr lang="en-GB" dirty="0"/>
              </a:p>
            </p:txBody>
          </p:sp>
          <p:sp>
            <p:nvSpPr>
              <p:cNvPr id="531" name="Freihandform: Form 256">
                <a:extLst>
                  <a:ext uri="{FF2B5EF4-FFF2-40B4-BE49-F238E27FC236}">
                    <a16:creationId xmlns:a16="http://schemas.microsoft.com/office/drawing/2014/main" id="{F4F710F7-EC6F-480D-86A6-F890A1E37C6C}"/>
                  </a:ext>
                </a:extLst>
              </p:cNvPr>
              <p:cNvSpPr/>
              <p:nvPr/>
            </p:nvSpPr>
            <p:spPr>
              <a:xfrm>
                <a:off x="5338047" y="3222864"/>
                <a:ext cx="31903" cy="78934"/>
              </a:xfrm>
              <a:custGeom>
                <a:avLst/>
                <a:gdLst>
                  <a:gd name="connsiteX0" fmla="*/ 26863 w 33802"/>
                  <a:gd name="connsiteY0" fmla="*/ 83633 h 83633"/>
                  <a:gd name="connsiteX1" fmla="*/ 20199 w 33802"/>
                  <a:gd name="connsiteY1" fmla="*/ 78602 h 83633"/>
                  <a:gd name="connsiteX2" fmla="*/ 269 w 33802"/>
                  <a:gd name="connsiteY2" fmla="*/ 8841 h 83633"/>
                  <a:gd name="connsiteX3" fmla="*/ 5029 w 33802"/>
                  <a:gd name="connsiteY3" fmla="*/ 267 h 83633"/>
                  <a:gd name="connsiteX4" fmla="*/ 13603 w 33802"/>
                  <a:gd name="connsiteY4" fmla="*/ 5028 h 83633"/>
                  <a:gd name="connsiteX5" fmla="*/ 33533 w 33802"/>
                  <a:gd name="connsiteY5" fmla="*/ 74790 h 83633"/>
                  <a:gd name="connsiteX6" fmla="*/ 28773 w 33802"/>
                  <a:gd name="connsiteY6" fmla="*/ 83363 h 83633"/>
                  <a:gd name="connsiteX7" fmla="*/ 26863 w 33802"/>
                  <a:gd name="connsiteY7" fmla="*/ 83633 h 8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802" h="83633">
                    <a:moveTo>
                      <a:pt x="26863" y="83633"/>
                    </a:moveTo>
                    <a:cubicBezTo>
                      <a:pt x="23847" y="83633"/>
                      <a:pt x="21070" y="81646"/>
                      <a:pt x="20199" y="78602"/>
                    </a:cubicBezTo>
                    <a:lnTo>
                      <a:pt x="269" y="8841"/>
                    </a:lnTo>
                    <a:cubicBezTo>
                      <a:pt x="-784" y="5158"/>
                      <a:pt x="1350" y="1321"/>
                      <a:pt x="5029" y="267"/>
                    </a:cubicBezTo>
                    <a:cubicBezTo>
                      <a:pt x="8719" y="-782"/>
                      <a:pt x="12549" y="1352"/>
                      <a:pt x="13603" y="5028"/>
                    </a:cubicBezTo>
                    <a:lnTo>
                      <a:pt x="33533" y="74790"/>
                    </a:lnTo>
                    <a:cubicBezTo>
                      <a:pt x="34586" y="78473"/>
                      <a:pt x="32452" y="82310"/>
                      <a:pt x="28773" y="83363"/>
                    </a:cubicBezTo>
                    <a:cubicBezTo>
                      <a:pt x="28134" y="83546"/>
                      <a:pt x="27491" y="83633"/>
                      <a:pt x="26863" y="83633"/>
                    </a:cubicBezTo>
                    <a:close/>
                  </a:path>
                </a:pathLst>
              </a:custGeom>
              <a:solidFill>
                <a:schemeClr val="tx2"/>
              </a:solidFill>
              <a:ln w="351" cap="flat">
                <a:noFill/>
                <a:prstDash val="solid"/>
                <a:miter/>
              </a:ln>
            </p:spPr>
            <p:txBody>
              <a:bodyPr rtlCol="0" anchor="ctr"/>
              <a:lstStyle/>
              <a:p>
                <a:endParaRPr lang="en-GB" dirty="0"/>
              </a:p>
            </p:txBody>
          </p:sp>
          <p:sp>
            <p:nvSpPr>
              <p:cNvPr id="532" name="Freihandform: Form 257">
                <a:extLst>
                  <a:ext uri="{FF2B5EF4-FFF2-40B4-BE49-F238E27FC236}">
                    <a16:creationId xmlns:a16="http://schemas.microsoft.com/office/drawing/2014/main" id="{67C59378-86FA-490D-BC2B-6F04B6EF01F2}"/>
                  </a:ext>
                </a:extLst>
              </p:cNvPr>
              <p:cNvSpPr/>
              <p:nvPr/>
            </p:nvSpPr>
            <p:spPr>
              <a:xfrm>
                <a:off x="5056697" y="3223241"/>
                <a:ext cx="31796" cy="78555"/>
              </a:xfrm>
              <a:custGeom>
                <a:avLst/>
                <a:gdLst>
                  <a:gd name="connsiteX0" fmla="*/ 6939 w 33689"/>
                  <a:gd name="connsiteY0" fmla="*/ 83232 h 83232"/>
                  <a:gd name="connsiteX1" fmla="*/ 5029 w 33689"/>
                  <a:gd name="connsiteY1" fmla="*/ 82962 h 83232"/>
                  <a:gd name="connsiteX2" fmla="*/ 269 w 33689"/>
                  <a:gd name="connsiteY2" fmla="*/ 74389 h 83232"/>
                  <a:gd name="connsiteX3" fmla="*/ 20087 w 33689"/>
                  <a:gd name="connsiteY3" fmla="*/ 5031 h 83232"/>
                  <a:gd name="connsiteX4" fmla="*/ 28660 w 33689"/>
                  <a:gd name="connsiteY4" fmla="*/ 270 h 83232"/>
                  <a:gd name="connsiteX5" fmla="*/ 33421 w 33689"/>
                  <a:gd name="connsiteY5" fmla="*/ 8843 h 83232"/>
                  <a:gd name="connsiteX6" fmla="*/ 13603 w 33689"/>
                  <a:gd name="connsiteY6" fmla="*/ 78201 h 83232"/>
                  <a:gd name="connsiteX7" fmla="*/ 6939 w 33689"/>
                  <a:gd name="connsiteY7" fmla="*/ 83232 h 83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689" h="83232">
                    <a:moveTo>
                      <a:pt x="6939" y="83232"/>
                    </a:moveTo>
                    <a:cubicBezTo>
                      <a:pt x="6311" y="83232"/>
                      <a:pt x="5665" y="83145"/>
                      <a:pt x="5029" y="82962"/>
                    </a:cubicBezTo>
                    <a:cubicBezTo>
                      <a:pt x="1350" y="81909"/>
                      <a:pt x="-784" y="78072"/>
                      <a:pt x="269" y="74389"/>
                    </a:cubicBezTo>
                    <a:lnTo>
                      <a:pt x="20087" y="5031"/>
                    </a:lnTo>
                    <a:cubicBezTo>
                      <a:pt x="21140" y="1351"/>
                      <a:pt x="24984" y="-787"/>
                      <a:pt x="28660" y="270"/>
                    </a:cubicBezTo>
                    <a:cubicBezTo>
                      <a:pt x="32339" y="1323"/>
                      <a:pt x="34474" y="5161"/>
                      <a:pt x="33421" y="8843"/>
                    </a:cubicBezTo>
                    <a:lnTo>
                      <a:pt x="13603" y="78201"/>
                    </a:lnTo>
                    <a:cubicBezTo>
                      <a:pt x="12736" y="81245"/>
                      <a:pt x="9959" y="83232"/>
                      <a:pt x="6939" y="83232"/>
                    </a:cubicBezTo>
                    <a:close/>
                  </a:path>
                </a:pathLst>
              </a:custGeom>
              <a:solidFill>
                <a:schemeClr val="tx2"/>
              </a:solidFill>
              <a:ln w="351" cap="flat">
                <a:noFill/>
                <a:prstDash val="solid"/>
                <a:miter/>
              </a:ln>
            </p:spPr>
            <p:txBody>
              <a:bodyPr rtlCol="0" anchor="ctr"/>
              <a:lstStyle/>
              <a:p>
                <a:endParaRPr lang="en-GB" dirty="0"/>
              </a:p>
            </p:txBody>
          </p:sp>
          <p:sp>
            <p:nvSpPr>
              <p:cNvPr id="533" name="Freihandform: Form 258">
                <a:extLst>
                  <a:ext uri="{FF2B5EF4-FFF2-40B4-BE49-F238E27FC236}">
                    <a16:creationId xmlns:a16="http://schemas.microsoft.com/office/drawing/2014/main" id="{B0425F67-CE29-4FB1-972F-823B6481DFB5}"/>
                  </a:ext>
                </a:extLst>
              </p:cNvPr>
              <p:cNvSpPr/>
              <p:nvPr/>
            </p:nvSpPr>
            <p:spPr>
              <a:xfrm>
                <a:off x="4996856" y="3288708"/>
                <a:ext cx="432000" cy="340364"/>
              </a:xfrm>
              <a:custGeom>
                <a:avLst/>
                <a:gdLst>
                  <a:gd name="connsiteX0" fmla="*/ 450782 w 457719"/>
                  <a:gd name="connsiteY0" fmla="*/ 360626 h 360626"/>
                  <a:gd name="connsiteX1" fmla="*/ 381431 w 457719"/>
                  <a:gd name="connsiteY1" fmla="*/ 360626 h 360626"/>
                  <a:gd name="connsiteX2" fmla="*/ 374497 w 457719"/>
                  <a:gd name="connsiteY2" fmla="*/ 353693 h 360626"/>
                  <a:gd name="connsiteX3" fmla="*/ 381431 w 457719"/>
                  <a:gd name="connsiteY3" fmla="*/ 346759 h 360626"/>
                  <a:gd name="connsiteX4" fmla="*/ 443848 w 457719"/>
                  <a:gd name="connsiteY4" fmla="*/ 346759 h 360626"/>
                  <a:gd name="connsiteX5" fmla="*/ 443848 w 457719"/>
                  <a:gd name="connsiteY5" fmla="*/ 13871 h 360626"/>
                  <a:gd name="connsiteX6" fmla="*/ 13867 w 457719"/>
                  <a:gd name="connsiteY6" fmla="*/ 13871 h 360626"/>
                  <a:gd name="connsiteX7" fmla="*/ 13867 w 457719"/>
                  <a:gd name="connsiteY7" fmla="*/ 346759 h 360626"/>
                  <a:gd name="connsiteX8" fmla="*/ 76285 w 457719"/>
                  <a:gd name="connsiteY8" fmla="*/ 346759 h 360626"/>
                  <a:gd name="connsiteX9" fmla="*/ 83218 w 457719"/>
                  <a:gd name="connsiteY9" fmla="*/ 353693 h 360626"/>
                  <a:gd name="connsiteX10" fmla="*/ 76285 w 457719"/>
                  <a:gd name="connsiteY10" fmla="*/ 360626 h 360626"/>
                  <a:gd name="connsiteX11" fmla="*/ 6934 w 457719"/>
                  <a:gd name="connsiteY11" fmla="*/ 360626 h 360626"/>
                  <a:gd name="connsiteX12" fmla="*/ 0 w 457719"/>
                  <a:gd name="connsiteY12" fmla="*/ 353693 h 360626"/>
                  <a:gd name="connsiteX13" fmla="*/ 0 w 457719"/>
                  <a:gd name="connsiteY13" fmla="*/ 6934 h 360626"/>
                  <a:gd name="connsiteX14" fmla="*/ 6934 w 457719"/>
                  <a:gd name="connsiteY14" fmla="*/ 0 h 360626"/>
                  <a:gd name="connsiteX15" fmla="*/ 450785 w 457719"/>
                  <a:gd name="connsiteY15" fmla="*/ 0 h 360626"/>
                  <a:gd name="connsiteX16" fmla="*/ 457719 w 457719"/>
                  <a:gd name="connsiteY16" fmla="*/ 6934 h 360626"/>
                  <a:gd name="connsiteX17" fmla="*/ 457719 w 457719"/>
                  <a:gd name="connsiteY17" fmla="*/ 353693 h 360626"/>
                  <a:gd name="connsiteX18" fmla="*/ 450782 w 457719"/>
                  <a:gd name="connsiteY18" fmla="*/ 360626 h 360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57719" h="360626">
                    <a:moveTo>
                      <a:pt x="450782" y="360626"/>
                    </a:moveTo>
                    <a:lnTo>
                      <a:pt x="381431" y="360626"/>
                    </a:lnTo>
                    <a:cubicBezTo>
                      <a:pt x="377601" y="360626"/>
                      <a:pt x="374497" y="357519"/>
                      <a:pt x="374497" y="353693"/>
                    </a:cubicBezTo>
                    <a:cubicBezTo>
                      <a:pt x="374497" y="349862"/>
                      <a:pt x="377601" y="346759"/>
                      <a:pt x="381431" y="346759"/>
                    </a:cubicBezTo>
                    <a:lnTo>
                      <a:pt x="443848" y="346759"/>
                    </a:lnTo>
                    <a:lnTo>
                      <a:pt x="443848" y="13871"/>
                    </a:lnTo>
                    <a:lnTo>
                      <a:pt x="13867" y="13871"/>
                    </a:lnTo>
                    <a:lnTo>
                      <a:pt x="13867" y="346759"/>
                    </a:lnTo>
                    <a:lnTo>
                      <a:pt x="76285" y="346759"/>
                    </a:lnTo>
                    <a:cubicBezTo>
                      <a:pt x="80115" y="346759"/>
                      <a:pt x="83218" y="349862"/>
                      <a:pt x="83218" y="353693"/>
                    </a:cubicBezTo>
                    <a:cubicBezTo>
                      <a:pt x="83218" y="357523"/>
                      <a:pt x="80115" y="360626"/>
                      <a:pt x="76285" y="360626"/>
                    </a:cubicBezTo>
                    <a:lnTo>
                      <a:pt x="6934" y="360626"/>
                    </a:lnTo>
                    <a:cubicBezTo>
                      <a:pt x="3103" y="360626"/>
                      <a:pt x="0" y="357519"/>
                      <a:pt x="0" y="353693"/>
                    </a:cubicBezTo>
                    <a:lnTo>
                      <a:pt x="0" y="6934"/>
                    </a:lnTo>
                    <a:cubicBezTo>
                      <a:pt x="0" y="3103"/>
                      <a:pt x="3103" y="0"/>
                      <a:pt x="6934" y="0"/>
                    </a:cubicBezTo>
                    <a:lnTo>
                      <a:pt x="450785" y="0"/>
                    </a:lnTo>
                    <a:cubicBezTo>
                      <a:pt x="454616" y="0"/>
                      <a:pt x="457719" y="3103"/>
                      <a:pt x="457719" y="6934"/>
                    </a:cubicBezTo>
                    <a:lnTo>
                      <a:pt x="457719" y="353693"/>
                    </a:lnTo>
                    <a:cubicBezTo>
                      <a:pt x="457719" y="357523"/>
                      <a:pt x="454612" y="360626"/>
                      <a:pt x="450782" y="360626"/>
                    </a:cubicBezTo>
                    <a:close/>
                  </a:path>
                </a:pathLst>
              </a:custGeom>
              <a:solidFill>
                <a:schemeClr val="tx2"/>
              </a:solidFill>
              <a:ln w="351" cap="flat">
                <a:noFill/>
                <a:prstDash val="solid"/>
                <a:miter/>
              </a:ln>
            </p:spPr>
            <p:txBody>
              <a:bodyPr rtlCol="0" anchor="ctr"/>
              <a:lstStyle/>
              <a:p>
                <a:endParaRPr lang="en-GB" dirty="0"/>
              </a:p>
            </p:txBody>
          </p:sp>
          <p:sp>
            <p:nvSpPr>
              <p:cNvPr id="534" name="Freihandform: Form 259">
                <a:extLst>
                  <a:ext uri="{FF2B5EF4-FFF2-40B4-BE49-F238E27FC236}">
                    <a16:creationId xmlns:a16="http://schemas.microsoft.com/office/drawing/2014/main" id="{EDE18D79-C07B-46ED-AA90-2F2FE0AA5B21}"/>
                  </a:ext>
                </a:extLst>
              </p:cNvPr>
              <p:cNvSpPr/>
              <p:nvPr/>
            </p:nvSpPr>
            <p:spPr>
              <a:xfrm>
                <a:off x="5206324" y="3223253"/>
                <a:ext cx="13088" cy="78542"/>
              </a:xfrm>
              <a:custGeom>
                <a:avLst/>
                <a:gdLst>
                  <a:gd name="connsiteX0" fmla="*/ 6934 w 13867"/>
                  <a:gd name="connsiteY0" fmla="*/ 83218 h 83218"/>
                  <a:gd name="connsiteX1" fmla="*/ 0 w 13867"/>
                  <a:gd name="connsiteY1" fmla="*/ 76285 h 83218"/>
                  <a:gd name="connsiteX2" fmla="*/ 0 w 13867"/>
                  <a:gd name="connsiteY2" fmla="*/ 6934 h 83218"/>
                  <a:gd name="connsiteX3" fmla="*/ 6934 w 13867"/>
                  <a:gd name="connsiteY3" fmla="*/ 0 h 83218"/>
                  <a:gd name="connsiteX4" fmla="*/ 13867 w 13867"/>
                  <a:gd name="connsiteY4" fmla="*/ 6934 h 83218"/>
                  <a:gd name="connsiteX5" fmla="*/ 13867 w 13867"/>
                  <a:gd name="connsiteY5" fmla="*/ 76285 h 83218"/>
                  <a:gd name="connsiteX6" fmla="*/ 6934 w 13867"/>
                  <a:gd name="connsiteY6" fmla="*/ 83218 h 83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7" h="83218">
                    <a:moveTo>
                      <a:pt x="6934" y="83218"/>
                    </a:moveTo>
                    <a:cubicBezTo>
                      <a:pt x="3103" y="83218"/>
                      <a:pt x="0" y="80115"/>
                      <a:pt x="0" y="76285"/>
                    </a:cubicBezTo>
                    <a:lnTo>
                      <a:pt x="0" y="6934"/>
                    </a:lnTo>
                    <a:cubicBezTo>
                      <a:pt x="0" y="3103"/>
                      <a:pt x="3103" y="0"/>
                      <a:pt x="6934" y="0"/>
                    </a:cubicBezTo>
                    <a:cubicBezTo>
                      <a:pt x="10764" y="0"/>
                      <a:pt x="13867" y="3103"/>
                      <a:pt x="13867" y="6934"/>
                    </a:cubicBezTo>
                    <a:lnTo>
                      <a:pt x="13867" y="76285"/>
                    </a:lnTo>
                    <a:cubicBezTo>
                      <a:pt x="13871" y="80115"/>
                      <a:pt x="10764" y="83218"/>
                      <a:pt x="6934" y="83218"/>
                    </a:cubicBezTo>
                    <a:close/>
                  </a:path>
                </a:pathLst>
              </a:custGeom>
              <a:solidFill>
                <a:schemeClr val="tx2"/>
              </a:solidFill>
              <a:ln w="351" cap="flat">
                <a:noFill/>
                <a:prstDash val="solid"/>
                <a:miter/>
              </a:ln>
            </p:spPr>
            <p:txBody>
              <a:bodyPr rtlCol="0" anchor="ctr"/>
              <a:lstStyle/>
              <a:p>
                <a:endParaRPr lang="en-GB" dirty="0"/>
              </a:p>
            </p:txBody>
          </p:sp>
        </p:grpSp>
      </p:grpSp>
      <p:grpSp>
        <p:nvGrpSpPr>
          <p:cNvPr id="220" name="Group 219">
            <a:extLst>
              <a:ext uri="{FF2B5EF4-FFF2-40B4-BE49-F238E27FC236}">
                <a16:creationId xmlns:a16="http://schemas.microsoft.com/office/drawing/2014/main" id="{7549C89E-C55A-5AE6-03F7-7D2C4113CB79}"/>
              </a:ext>
            </a:extLst>
          </p:cNvPr>
          <p:cNvGrpSpPr/>
          <p:nvPr/>
        </p:nvGrpSpPr>
        <p:grpSpPr>
          <a:xfrm>
            <a:off x="8072668" y="3253678"/>
            <a:ext cx="540000" cy="318780"/>
            <a:chOff x="8072256" y="3253678"/>
            <a:chExt cx="540000" cy="318780"/>
          </a:xfrm>
        </p:grpSpPr>
        <p:grpSp>
          <p:nvGrpSpPr>
            <p:cNvPr id="545" name="Group 544">
              <a:extLst>
                <a:ext uri="{FF2B5EF4-FFF2-40B4-BE49-F238E27FC236}">
                  <a16:creationId xmlns:a16="http://schemas.microsoft.com/office/drawing/2014/main" id="{2271FE00-F985-4BC0-A38C-14300750E046}"/>
                </a:ext>
              </a:extLst>
            </p:cNvPr>
            <p:cNvGrpSpPr/>
            <p:nvPr/>
          </p:nvGrpSpPr>
          <p:grpSpPr>
            <a:xfrm>
              <a:off x="8141358" y="3376840"/>
              <a:ext cx="57959" cy="130401"/>
              <a:chOff x="867104" y="3679495"/>
              <a:chExt cx="55483" cy="124831"/>
            </a:xfrm>
            <a:solidFill>
              <a:schemeClr val="accent1"/>
            </a:solidFill>
          </p:grpSpPr>
          <p:sp>
            <p:nvSpPr>
              <p:cNvPr id="561" name="Freihandform: Form 187">
                <a:extLst>
                  <a:ext uri="{FF2B5EF4-FFF2-40B4-BE49-F238E27FC236}">
                    <a16:creationId xmlns:a16="http://schemas.microsoft.com/office/drawing/2014/main" id="{B24D188F-924A-4A88-BE8F-70DEC981A361}"/>
                  </a:ext>
                </a:extLst>
              </p:cNvPr>
              <p:cNvSpPr/>
              <p:nvPr/>
            </p:nvSpPr>
            <p:spPr>
              <a:xfrm>
                <a:off x="867104" y="3728042"/>
                <a:ext cx="55483" cy="76284"/>
              </a:xfrm>
              <a:custGeom>
                <a:avLst/>
                <a:gdLst>
                  <a:gd name="connsiteX0" fmla="*/ 55484 w 55483"/>
                  <a:gd name="connsiteY0" fmla="*/ 76285 h 76284"/>
                  <a:gd name="connsiteX1" fmla="*/ 0 w 55483"/>
                  <a:gd name="connsiteY1" fmla="*/ 76285 h 76284"/>
                  <a:gd name="connsiteX2" fmla="*/ 0 w 55483"/>
                  <a:gd name="connsiteY2" fmla="*/ 0 h 76284"/>
                  <a:gd name="connsiteX3" fmla="*/ 55484 w 55483"/>
                  <a:gd name="connsiteY3" fmla="*/ 0 h 76284"/>
                  <a:gd name="connsiteX4" fmla="*/ 55484 w 55483"/>
                  <a:gd name="connsiteY4" fmla="*/ 13871 h 76284"/>
                  <a:gd name="connsiteX5" fmla="*/ 13871 w 55483"/>
                  <a:gd name="connsiteY5" fmla="*/ 13871 h 76284"/>
                  <a:gd name="connsiteX6" fmla="*/ 13871 w 55483"/>
                  <a:gd name="connsiteY6" fmla="*/ 62417 h 76284"/>
                  <a:gd name="connsiteX7" fmla="*/ 55484 w 55483"/>
                  <a:gd name="connsiteY7" fmla="*/ 62417 h 7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83" h="76284">
                    <a:moveTo>
                      <a:pt x="55484" y="76285"/>
                    </a:moveTo>
                    <a:lnTo>
                      <a:pt x="0" y="76285"/>
                    </a:lnTo>
                    <a:lnTo>
                      <a:pt x="0" y="0"/>
                    </a:lnTo>
                    <a:lnTo>
                      <a:pt x="55484" y="0"/>
                    </a:lnTo>
                    <a:lnTo>
                      <a:pt x="55484" y="13871"/>
                    </a:lnTo>
                    <a:lnTo>
                      <a:pt x="13871" y="13871"/>
                    </a:lnTo>
                    <a:lnTo>
                      <a:pt x="13871" y="62417"/>
                    </a:lnTo>
                    <a:lnTo>
                      <a:pt x="55484" y="62417"/>
                    </a:lnTo>
                    <a:close/>
                  </a:path>
                </a:pathLst>
              </a:custGeom>
              <a:solidFill>
                <a:schemeClr val="accent1"/>
              </a:solidFill>
              <a:ln w="351" cap="flat">
                <a:noFill/>
                <a:prstDash val="solid"/>
                <a:miter/>
              </a:ln>
            </p:spPr>
            <p:txBody>
              <a:bodyPr rtlCol="0" anchor="ctr"/>
              <a:lstStyle/>
              <a:p>
                <a:endParaRPr lang="en-GB" dirty="0"/>
              </a:p>
            </p:txBody>
          </p:sp>
          <p:sp>
            <p:nvSpPr>
              <p:cNvPr id="562" name="Freihandform: Form 188">
                <a:extLst>
                  <a:ext uri="{FF2B5EF4-FFF2-40B4-BE49-F238E27FC236}">
                    <a16:creationId xmlns:a16="http://schemas.microsoft.com/office/drawing/2014/main" id="{E1C3F81C-9515-46D5-A385-3A8E6713AA6B}"/>
                  </a:ext>
                </a:extLst>
              </p:cNvPr>
              <p:cNvSpPr/>
              <p:nvPr/>
            </p:nvSpPr>
            <p:spPr>
              <a:xfrm>
                <a:off x="894845" y="3679495"/>
                <a:ext cx="27741" cy="62417"/>
              </a:xfrm>
              <a:custGeom>
                <a:avLst/>
                <a:gdLst>
                  <a:gd name="connsiteX0" fmla="*/ 27742 w 27741"/>
                  <a:gd name="connsiteY0" fmla="*/ 62417 h 62417"/>
                  <a:gd name="connsiteX1" fmla="*/ 0 w 27741"/>
                  <a:gd name="connsiteY1" fmla="*/ 62417 h 62417"/>
                  <a:gd name="connsiteX2" fmla="*/ 0 w 27741"/>
                  <a:gd name="connsiteY2" fmla="*/ 0 h 62417"/>
                  <a:gd name="connsiteX3" fmla="*/ 27742 w 27741"/>
                  <a:gd name="connsiteY3" fmla="*/ 0 h 62417"/>
                  <a:gd name="connsiteX4" fmla="*/ 27742 w 27741"/>
                  <a:gd name="connsiteY4" fmla="*/ 13871 h 62417"/>
                  <a:gd name="connsiteX5" fmla="*/ 13871 w 27741"/>
                  <a:gd name="connsiteY5" fmla="*/ 13871 h 62417"/>
                  <a:gd name="connsiteX6" fmla="*/ 13871 w 27741"/>
                  <a:gd name="connsiteY6" fmla="*/ 48547 h 62417"/>
                  <a:gd name="connsiteX7" fmla="*/ 27742 w 27741"/>
                  <a:gd name="connsiteY7" fmla="*/ 48547 h 62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41" h="62417">
                    <a:moveTo>
                      <a:pt x="27742" y="62417"/>
                    </a:moveTo>
                    <a:lnTo>
                      <a:pt x="0" y="62417"/>
                    </a:lnTo>
                    <a:lnTo>
                      <a:pt x="0" y="0"/>
                    </a:lnTo>
                    <a:lnTo>
                      <a:pt x="27742" y="0"/>
                    </a:lnTo>
                    <a:lnTo>
                      <a:pt x="27742" y="13871"/>
                    </a:lnTo>
                    <a:lnTo>
                      <a:pt x="13871" y="13871"/>
                    </a:lnTo>
                    <a:lnTo>
                      <a:pt x="13871" y="48547"/>
                    </a:lnTo>
                    <a:lnTo>
                      <a:pt x="27742" y="48547"/>
                    </a:lnTo>
                    <a:close/>
                  </a:path>
                </a:pathLst>
              </a:custGeom>
              <a:solidFill>
                <a:schemeClr val="accent1"/>
              </a:solidFill>
              <a:ln w="351" cap="flat">
                <a:noFill/>
                <a:prstDash val="solid"/>
                <a:miter/>
              </a:ln>
            </p:spPr>
            <p:txBody>
              <a:bodyPr rtlCol="0" anchor="ctr"/>
              <a:lstStyle/>
              <a:p>
                <a:endParaRPr lang="en-GB" dirty="0"/>
              </a:p>
            </p:txBody>
          </p:sp>
        </p:grpSp>
        <p:grpSp>
          <p:nvGrpSpPr>
            <p:cNvPr id="546" name="Group 545">
              <a:extLst>
                <a:ext uri="{FF2B5EF4-FFF2-40B4-BE49-F238E27FC236}">
                  <a16:creationId xmlns:a16="http://schemas.microsoft.com/office/drawing/2014/main" id="{BF8CBC08-08AB-4ACD-86EE-9C68495289E6}"/>
                </a:ext>
              </a:extLst>
            </p:cNvPr>
            <p:cNvGrpSpPr/>
            <p:nvPr/>
          </p:nvGrpSpPr>
          <p:grpSpPr>
            <a:xfrm>
              <a:off x="8072256" y="3253678"/>
              <a:ext cx="540000" cy="318780"/>
              <a:chOff x="800954" y="3561594"/>
              <a:chExt cx="516935" cy="305164"/>
            </a:xfrm>
            <a:solidFill>
              <a:schemeClr val="tx2"/>
            </a:solidFill>
          </p:grpSpPr>
          <p:sp>
            <p:nvSpPr>
              <p:cNvPr id="547" name="Freihandform: Form 179">
                <a:extLst>
                  <a:ext uri="{FF2B5EF4-FFF2-40B4-BE49-F238E27FC236}">
                    <a16:creationId xmlns:a16="http://schemas.microsoft.com/office/drawing/2014/main" id="{3218DE93-89CD-4047-A63F-6F21461FEE68}"/>
                  </a:ext>
                </a:extLst>
              </p:cNvPr>
              <p:cNvSpPr/>
              <p:nvPr/>
            </p:nvSpPr>
            <p:spPr>
              <a:xfrm>
                <a:off x="1165316" y="3589340"/>
                <a:ext cx="152573" cy="214986"/>
              </a:xfrm>
              <a:custGeom>
                <a:avLst/>
                <a:gdLst>
                  <a:gd name="connsiteX0" fmla="*/ 152573 w 152573"/>
                  <a:gd name="connsiteY0" fmla="*/ 214987 h 214986"/>
                  <a:gd name="connsiteX1" fmla="*/ 124838 w 152573"/>
                  <a:gd name="connsiteY1" fmla="*/ 214987 h 214986"/>
                  <a:gd name="connsiteX2" fmla="*/ 124838 w 152573"/>
                  <a:gd name="connsiteY2" fmla="*/ 201120 h 214986"/>
                  <a:gd name="connsiteX3" fmla="*/ 138702 w 152573"/>
                  <a:gd name="connsiteY3" fmla="*/ 201120 h 214986"/>
                  <a:gd name="connsiteX4" fmla="*/ 138702 w 152573"/>
                  <a:gd name="connsiteY4" fmla="*/ 98838 h 214986"/>
                  <a:gd name="connsiteX5" fmla="*/ 92954 w 152573"/>
                  <a:gd name="connsiteY5" fmla="*/ 13867 h 214986"/>
                  <a:gd name="connsiteX6" fmla="*/ 13871 w 152573"/>
                  <a:gd name="connsiteY6" fmla="*/ 13867 h 214986"/>
                  <a:gd name="connsiteX7" fmla="*/ 13871 w 152573"/>
                  <a:gd name="connsiteY7" fmla="*/ 201120 h 214986"/>
                  <a:gd name="connsiteX8" fmla="*/ 48546 w 152573"/>
                  <a:gd name="connsiteY8" fmla="*/ 201120 h 214986"/>
                  <a:gd name="connsiteX9" fmla="*/ 48546 w 152573"/>
                  <a:gd name="connsiteY9" fmla="*/ 214987 h 214986"/>
                  <a:gd name="connsiteX10" fmla="*/ 0 w 152573"/>
                  <a:gd name="connsiteY10" fmla="*/ 214987 h 214986"/>
                  <a:gd name="connsiteX11" fmla="*/ 0 w 152573"/>
                  <a:gd name="connsiteY11" fmla="*/ 0 h 214986"/>
                  <a:gd name="connsiteX12" fmla="*/ 101239 w 152573"/>
                  <a:gd name="connsiteY12" fmla="*/ 0 h 214986"/>
                  <a:gd name="connsiteX13" fmla="*/ 152573 w 152573"/>
                  <a:gd name="connsiteY13" fmla="*/ 95345 h 214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2573" h="214986">
                    <a:moveTo>
                      <a:pt x="152573" y="214987"/>
                    </a:moveTo>
                    <a:lnTo>
                      <a:pt x="124838" y="214987"/>
                    </a:lnTo>
                    <a:lnTo>
                      <a:pt x="124838" y="201120"/>
                    </a:lnTo>
                    <a:lnTo>
                      <a:pt x="138702" y="201120"/>
                    </a:lnTo>
                    <a:lnTo>
                      <a:pt x="138702" y="98838"/>
                    </a:lnTo>
                    <a:lnTo>
                      <a:pt x="92954" y="13867"/>
                    </a:lnTo>
                    <a:lnTo>
                      <a:pt x="13871" y="13867"/>
                    </a:lnTo>
                    <a:lnTo>
                      <a:pt x="13871" y="201120"/>
                    </a:lnTo>
                    <a:lnTo>
                      <a:pt x="48546" y="201120"/>
                    </a:lnTo>
                    <a:lnTo>
                      <a:pt x="48546" y="214987"/>
                    </a:lnTo>
                    <a:lnTo>
                      <a:pt x="0" y="214987"/>
                    </a:lnTo>
                    <a:lnTo>
                      <a:pt x="0" y="0"/>
                    </a:lnTo>
                    <a:lnTo>
                      <a:pt x="101239" y="0"/>
                    </a:lnTo>
                    <a:lnTo>
                      <a:pt x="152573" y="95345"/>
                    </a:lnTo>
                    <a:close/>
                  </a:path>
                </a:pathLst>
              </a:custGeom>
              <a:grpFill/>
              <a:ln w="351" cap="flat">
                <a:noFill/>
                <a:prstDash val="solid"/>
                <a:miter/>
              </a:ln>
            </p:spPr>
            <p:txBody>
              <a:bodyPr rtlCol="0" anchor="ctr"/>
              <a:lstStyle/>
              <a:p>
                <a:endParaRPr lang="en-GB" dirty="0"/>
              </a:p>
            </p:txBody>
          </p:sp>
          <p:sp>
            <p:nvSpPr>
              <p:cNvPr id="548" name="Freihandform: Form 180">
                <a:extLst>
                  <a:ext uri="{FF2B5EF4-FFF2-40B4-BE49-F238E27FC236}">
                    <a16:creationId xmlns:a16="http://schemas.microsoft.com/office/drawing/2014/main" id="{E47DBED6-B2B3-4A4C-BA37-68AADA52CB87}"/>
                  </a:ext>
                </a:extLst>
              </p:cNvPr>
              <p:cNvSpPr/>
              <p:nvPr/>
            </p:nvSpPr>
            <p:spPr>
              <a:xfrm>
                <a:off x="1199992" y="3617078"/>
                <a:ext cx="110963" cy="76288"/>
              </a:xfrm>
              <a:custGeom>
                <a:avLst/>
                <a:gdLst>
                  <a:gd name="connsiteX0" fmla="*/ 110964 w 110963"/>
                  <a:gd name="connsiteY0" fmla="*/ 76288 h 76288"/>
                  <a:gd name="connsiteX1" fmla="*/ 0 w 110963"/>
                  <a:gd name="connsiteY1" fmla="*/ 76288 h 76288"/>
                  <a:gd name="connsiteX2" fmla="*/ 0 w 110963"/>
                  <a:gd name="connsiteY2" fmla="*/ 0 h 76288"/>
                  <a:gd name="connsiteX3" fmla="*/ 55484 w 110963"/>
                  <a:gd name="connsiteY3" fmla="*/ 0 h 76288"/>
                  <a:gd name="connsiteX4" fmla="*/ 55484 w 110963"/>
                  <a:gd name="connsiteY4" fmla="*/ 13871 h 76288"/>
                  <a:gd name="connsiteX5" fmla="*/ 13871 w 110963"/>
                  <a:gd name="connsiteY5" fmla="*/ 13871 h 76288"/>
                  <a:gd name="connsiteX6" fmla="*/ 13871 w 110963"/>
                  <a:gd name="connsiteY6" fmla="*/ 62417 h 76288"/>
                  <a:gd name="connsiteX7" fmla="*/ 110964 w 110963"/>
                  <a:gd name="connsiteY7" fmla="*/ 62417 h 7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963" h="76288">
                    <a:moveTo>
                      <a:pt x="110964" y="76288"/>
                    </a:moveTo>
                    <a:lnTo>
                      <a:pt x="0" y="76288"/>
                    </a:lnTo>
                    <a:lnTo>
                      <a:pt x="0" y="0"/>
                    </a:lnTo>
                    <a:lnTo>
                      <a:pt x="55484" y="0"/>
                    </a:lnTo>
                    <a:lnTo>
                      <a:pt x="55484" y="13871"/>
                    </a:lnTo>
                    <a:lnTo>
                      <a:pt x="13871" y="13871"/>
                    </a:lnTo>
                    <a:lnTo>
                      <a:pt x="13871" y="62417"/>
                    </a:lnTo>
                    <a:lnTo>
                      <a:pt x="110964" y="62417"/>
                    </a:lnTo>
                    <a:close/>
                  </a:path>
                </a:pathLst>
              </a:custGeom>
              <a:grpFill/>
              <a:ln w="351" cap="flat">
                <a:noFill/>
                <a:prstDash val="solid"/>
                <a:miter/>
              </a:ln>
            </p:spPr>
            <p:txBody>
              <a:bodyPr rtlCol="0" anchor="ctr"/>
              <a:lstStyle/>
              <a:p>
                <a:endParaRPr lang="en-GB" dirty="0"/>
              </a:p>
            </p:txBody>
          </p:sp>
          <p:sp>
            <p:nvSpPr>
              <p:cNvPr id="549" name="Freihandform: Form 181">
                <a:extLst>
                  <a:ext uri="{FF2B5EF4-FFF2-40B4-BE49-F238E27FC236}">
                    <a16:creationId xmlns:a16="http://schemas.microsoft.com/office/drawing/2014/main" id="{1D160E13-EBEC-46AD-A907-A31B576549B6}"/>
                  </a:ext>
                </a:extLst>
              </p:cNvPr>
              <p:cNvSpPr/>
              <p:nvPr/>
            </p:nvSpPr>
            <p:spPr>
              <a:xfrm>
                <a:off x="1283214" y="3755783"/>
                <a:ext cx="27741" cy="13870"/>
              </a:xfrm>
              <a:custGeom>
                <a:avLst/>
                <a:gdLst>
                  <a:gd name="connsiteX0" fmla="*/ 0 w 27741"/>
                  <a:gd name="connsiteY0" fmla="*/ 0 h 13870"/>
                  <a:gd name="connsiteX1" fmla="*/ 27742 w 27741"/>
                  <a:gd name="connsiteY1" fmla="*/ 0 h 13870"/>
                  <a:gd name="connsiteX2" fmla="*/ 27742 w 27741"/>
                  <a:gd name="connsiteY2" fmla="*/ 13871 h 13870"/>
                  <a:gd name="connsiteX3" fmla="*/ 0 w 27741"/>
                  <a:gd name="connsiteY3" fmla="*/ 13871 h 13870"/>
                </a:gdLst>
                <a:ahLst/>
                <a:cxnLst>
                  <a:cxn ang="0">
                    <a:pos x="connsiteX0" y="connsiteY0"/>
                  </a:cxn>
                  <a:cxn ang="0">
                    <a:pos x="connsiteX1" y="connsiteY1"/>
                  </a:cxn>
                  <a:cxn ang="0">
                    <a:pos x="connsiteX2" y="connsiteY2"/>
                  </a:cxn>
                  <a:cxn ang="0">
                    <a:pos x="connsiteX3" y="connsiteY3"/>
                  </a:cxn>
                </a:cxnLst>
                <a:rect l="l" t="t" r="r" b="b"/>
                <a:pathLst>
                  <a:path w="27741" h="13870">
                    <a:moveTo>
                      <a:pt x="0" y="0"/>
                    </a:moveTo>
                    <a:lnTo>
                      <a:pt x="27742" y="0"/>
                    </a:lnTo>
                    <a:lnTo>
                      <a:pt x="27742" y="13871"/>
                    </a:lnTo>
                    <a:lnTo>
                      <a:pt x="0" y="13871"/>
                    </a:lnTo>
                    <a:close/>
                  </a:path>
                </a:pathLst>
              </a:custGeom>
              <a:grpFill/>
              <a:ln w="351" cap="flat">
                <a:noFill/>
                <a:prstDash val="solid"/>
                <a:miter/>
              </a:ln>
            </p:spPr>
            <p:txBody>
              <a:bodyPr rtlCol="0" anchor="ctr"/>
              <a:lstStyle/>
              <a:p>
                <a:endParaRPr lang="en-GB" dirty="0"/>
              </a:p>
            </p:txBody>
          </p:sp>
          <p:sp>
            <p:nvSpPr>
              <p:cNvPr id="550" name="Freihandform: Form 182">
                <a:extLst>
                  <a:ext uri="{FF2B5EF4-FFF2-40B4-BE49-F238E27FC236}">
                    <a16:creationId xmlns:a16="http://schemas.microsoft.com/office/drawing/2014/main" id="{880ACAC7-4ABE-417C-82FC-C6C145A013A2}"/>
                  </a:ext>
                </a:extLst>
              </p:cNvPr>
              <p:cNvSpPr/>
              <p:nvPr/>
            </p:nvSpPr>
            <p:spPr>
              <a:xfrm>
                <a:off x="1206929" y="3721108"/>
                <a:ext cx="13870" cy="13870"/>
              </a:xfrm>
              <a:custGeom>
                <a:avLst/>
                <a:gdLst>
                  <a:gd name="connsiteX0" fmla="*/ 0 w 13870"/>
                  <a:gd name="connsiteY0" fmla="*/ 0 h 13870"/>
                  <a:gd name="connsiteX1" fmla="*/ 13871 w 13870"/>
                  <a:gd name="connsiteY1" fmla="*/ 0 h 13870"/>
                  <a:gd name="connsiteX2" fmla="*/ 13871 w 13870"/>
                  <a:gd name="connsiteY2" fmla="*/ 13871 h 13870"/>
                  <a:gd name="connsiteX3" fmla="*/ 0 w 13870"/>
                  <a:gd name="connsiteY3" fmla="*/ 13871 h 13870"/>
                </a:gdLst>
                <a:ahLst/>
                <a:cxnLst>
                  <a:cxn ang="0">
                    <a:pos x="connsiteX0" y="connsiteY0"/>
                  </a:cxn>
                  <a:cxn ang="0">
                    <a:pos x="connsiteX1" y="connsiteY1"/>
                  </a:cxn>
                  <a:cxn ang="0">
                    <a:pos x="connsiteX2" y="connsiteY2"/>
                  </a:cxn>
                  <a:cxn ang="0">
                    <a:pos x="connsiteX3" y="connsiteY3"/>
                  </a:cxn>
                </a:cxnLst>
                <a:rect l="l" t="t" r="r" b="b"/>
                <a:pathLst>
                  <a:path w="13870" h="13870">
                    <a:moveTo>
                      <a:pt x="0" y="0"/>
                    </a:moveTo>
                    <a:lnTo>
                      <a:pt x="13871" y="0"/>
                    </a:lnTo>
                    <a:lnTo>
                      <a:pt x="13871" y="13871"/>
                    </a:lnTo>
                    <a:lnTo>
                      <a:pt x="0" y="13871"/>
                    </a:lnTo>
                    <a:close/>
                  </a:path>
                </a:pathLst>
              </a:custGeom>
              <a:grpFill/>
              <a:ln w="351" cap="flat">
                <a:noFill/>
                <a:prstDash val="solid"/>
                <a:miter/>
              </a:ln>
            </p:spPr>
            <p:txBody>
              <a:bodyPr rtlCol="0" anchor="ctr"/>
              <a:lstStyle/>
              <a:p>
                <a:endParaRPr lang="en-GB" dirty="0"/>
              </a:p>
            </p:txBody>
          </p:sp>
          <p:sp>
            <p:nvSpPr>
              <p:cNvPr id="551" name="Freihandform: Form 183">
                <a:extLst>
                  <a:ext uri="{FF2B5EF4-FFF2-40B4-BE49-F238E27FC236}">
                    <a16:creationId xmlns:a16="http://schemas.microsoft.com/office/drawing/2014/main" id="{1B9A8AE7-94A5-4A83-BA32-695F128B1981}"/>
                  </a:ext>
                </a:extLst>
              </p:cNvPr>
              <p:cNvSpPr/>
              <p:nvPr/>
            </p:nvSpPr>
            <p:spPr>
              <a:xfrm>
                <a:off x="1137574" y="3617078"/>
                <a:ext cx="41612" cy="187248"/>
              </a:xfrm>
              <a:custGeom>
                <a:avLst/>
                <a:gdLst>
                  <a:gd name="connsiteX0" fmla="*/ 41613 w 41612"/>
                  <a:gd name="connsiteY0" fmla="*/ 187249 h 187248"/>
                  <a:gd name="connsiteX1" fmla="*/ 0 w 41612"/>
                  <a:gd name="connsiteY1" fmla="*/ 187249 h 187248"/>
                  <a:gd name="connsiteX2" fmla="*/ 0 w 41612"/>
                  <a:gd name="connsiteY2" fmla="*/ 0 h 187248"/>
                  <a:gd name="connsiteX3" fmla="*/ 41613 w 41612"/>
                  <a:gd name="connsiteY3" fmla="*/ 0 h 187248"/>
                  <a:gd name="connsiteX4" fmla="*/ 41613 w 41612"/>
                  <a:gd name="connsiteY4" fmla="*/ 187249 h 187248"/>
                  <a:gd name="connsiteX5" fmla="*/ 13871 w 41612"/>
                  <a:gd name="connsiteY5" fmla="*/ 173381 h 187248"/>
                  <a:gd name="connsiteX6" fmla="*/ 27742 w 41612"/>
                  <a:gd name="connsiteY6" fmla="*/ 173381 h 187248"/>
                  <a:gd name="connsiteX7" fmla="*/ 27742 w 41612"/>
                  <a:gd name="connsiteY7" fmla="*/ 13871 h 187248"/>
                  <a:gd name="connsiteX8" fmla="*/ 13871 w 41612"/>
                  <a:gd name="connsiteY8" fmla="*/ 13871 h 187248"/>
                  <a:gd name="connsiteX9" fmla="*/ 13871 w 41612"/>
                  <a:gd name="connsiteY9" fmla="*/ 173381 h 1872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12" h="187248">
                    <a:moveTo>
                      <a:pt x="41613" y="187249"/>
                    </a:moveTo>
                    <a:lnTo>
                      <a:pt x="0" y="187249"/>
                    </a:lnTo>
                    <a:lnTo>
                      <a:pt x="0" y="0"/>
                    </a:lnTo>
                    <a:lnTo>
                      <a:pt x="41613" y="0"/>
                    </a:lnTo>
                    <a:lnTo>
                      <a:pt x="41613" y="187249"/>
                    </a:lnTo>
                    <a:close/>
                    <a:moveTo>
                      <a:pt x="13871" y="173381"/>
                    </a:moveTo>
                    <a:lnTo>
                      <a:pt x="27742" y="173381"/>
                    </a:lnTo>
                    <a:lnTo>
                      <a:pt x="27742" y="13871"/>
                    </a:lnTo>
                    <a:lnTo>
                      <a:pt x="13871" y="13871"/>
                    </a:lnTo>
                    <a:lnTo>
                      <a:pt x="13871" y="173381"/>
                    </a:lnTo>
                    <a:close/>
                  </a:path>
                </a:pathLst>
              </a:custGeom>
              <a:grpFill/>
              <a:ln w="351" cap="flat">
                <a:noFill/>
                <a:prstDash val="solid"/>
                <a:miter/>
              </a:ln>
            </p:spPr>
            <p:txBody>
              <a:bodyPr rtlCol="0" anchor="ctr"/>
              <a:lstStyle/>
              <a:p>
                <a:endParaRPr lang="en-GB" dirty="0"/>
              </a:p>
            </p:txBody>
          </p:sp>
          <p:sp>
            <p:nvSpPr>
              <p:cNvPr id="552" name="Freihandform: Form 184">
                <a:extLst>
                  <a:ext uri="{FF2B5EF4-FFF2-40B4-BE49-F238E27FC236}">
                    <a16:creationId xmlns:a16="http://schemas.microsoft.com/office/drawing/2014/main" id="{46E68351-73A4-4A9B-88E3-5DC5EC779B90}"/>
                  </a:ext>
                </a:extLst>
              </p:cNvPr>
              <p:cNvSpPr/>
              <p:nvPr/>
            </p:nvSpPr>
            <p:spPr>
              <a:xfrm>
                <a:off x="929521" y="3561598"/>
                <a:ext cx="221924" cy="242728"/>
              </a:xfrm>
              <a:custGeom>
                <a:avLst/>
                <a:gdLst>
                  <a:gd name="connsiteX0" fmla="*/ 221924 w 221924"/>
                  <a:gd name="connsiteY0" fmla="*/ 242729 h 242728"/>
                  <a:gd name="connsiteX1" fmla="*/ 131768 w 221924"/>
                  <a:gd name="connsiteY1" fmla="*/ 242729 h 242728"/>
                  <a:gd name="connsiteX2" fmla="*/ 131768 w 221924"/>
                  <a:gd name="connsiteY2" fmla="*/ 228861 h 242728"/>
                  <a:gd name="connsiteX3" fmla="*/ 208053 w 221924"/>
                  <a:gd name="connsiteY3" fmla="*/ 228861 h 242728"/>
                  <a:gd name="connsiteX4" fmla="*/ 208053 w 221924"/>
                  <a:gd name="connsiteY4" fmla="*/ 13871 h 242728"/>
                  <a:gd name="connsiteX5" fmla="*/ 13871 w 221924"/>
                  <a:gd name="connsiteY5" fmla="*/ 13871 h 242728"/>
                  <a:gd name="connsiteX6" fmla="*/ 13871 w 221924"/>
                  <a:gd name="connsiteY6" fmla="*/ 228861 h 242728"/>
                  <a:gd name="connsiteX7" fmla="*/ 48546 w 221924"/>
                  <a:gd name="connsiteY7" fmla="*/ 228861 h 242728"/>
                  <a:gd name="connsiteX8" fmla="*/ 48546 w 221924"/>
                  <a:gd name="connsiteY8" fmla="*/ 242729 h 242728"/>
                  <a:gd name="connsiteX9" fmla="*/ 0 w 221924"/>
                  <a:gd name="connsiteY9" fmla="*/ 242729 h 242728"/>
                  <a:gd name="connsiteX10" fmla="*/ 0 w 221924"/>
                  <a:gd name="connsiteY10" fmla="*/ 0 h 242728"/>
                  <a:gd name="connsiteX11" fmla="*/ 221924 w 221924"/>
                  <a:gd name="connsiteY11" fmla="*/ 0 h 242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1924" h="242728">
                    <a:moveTo>
                      <a:pt x="221924" y="242729"/>
                    </a:moveTo>
                    <a:lnTo>
                      <a:pt x="131768" y="242729"/>
                    </a:lnTo>
                    <a:lnTo>
                      <a:pt x="131768" y="228861"/>
                    </a:lnTo>
                    <a:lnTo>
                      <a:pt x="208053" y="228861"/>
                    </a:lnTo>
                    <a:lnTo>
                      <a:pt x="208053" y="13871"/>
                    </a:lnTo>
                    <a:lnTo>
                      <a:pt x="13871" y="13871"/>
                    </a:lnTo>
                    <a:lnTo>
                      <a:pt x="13871" y="228861"/>
                    </a:lnTo>
                    <a:lnTo>
                      <a:pt x="48546" y="228861"/>
                    </a:lnTo>
                    <a:lnTo>
                      <a:pt x="48546" y="242729"/>
                    </a:lnTo>
                    <a:lnTo>
                      <a:pt x="0" y="242729"/>
                    </a:lnTo>
                    <a:lnTo>
                      <a:pt x="0" y="0"/>
                    </a:lnTo>
                    <a:lnTo>
                      <a:pt x="221924" y="0"/>
                    </a:lnTo>
                    <a:close/>
                  </a:path>
                </a:pathLst>
              </a:custGeom>
              <a:grpFill/>
              <a:ln w="351" cap="flat">
                <a:noFill/>
                <a:prstDash val="solid"/>
                <a:miter/>
              </a:ln>
            </p:spPr>
            <p:txBody>
              <a:bodyPr rtlCol="0" anchor="ctr"/>
              <a:lstStyle/>
              <a:p>
                <a:endParaRPr lang="en-GB" dirty="0"/>
              </a:p>
            </p:txBody>
          </p:sp>
          <p:sp>
            <p:nvSpPr>
              <p:cNvPr id="553" name="Freihandform: Form 185">
                <a:extLst>
                  <a:ext uri="{FF2B5EF4-FFF2-40B4-BE49-F238E27FC236}">
                    <a16:creationId xmlns:a16="http://schemas.microsoft.com/office/drawing/2014/main" id="{D7035A0E-92B1-4DD9-AC18-7E6EBBC8FFC6}"/>
                  </a:ext>
                </a:extLst>
              </p:cNvPr>
              <p:cNvSpPr/>
              <p:nvPr/>
            </p:nvSpPr>
            <p:spPr>
              <a:xfrm>
                <a:off x="839365" y="3589340"/>
                <a:ext cx="97092" cy="13870"/>
              </a:xfrm>
              <a:custGeom>
                <a:avLst/>
                <a:gdLst>
                  <a:gd name="connsiteX0" fmla="*/ 0 w 97092"/>
                  <a:gd name="connsiteY0" fmla="*/ 0 h 13870"/>
                  <a:gd name="connsiteX1" fmla="*/ 97093 w 97092"/>
                  <a:gd name="connsiteY1" fmla="*/ 0 h 13870"/>
                  <a:gd name="connsiteX2" fmla="*/ 97093 w 97092"/>
                  <a:gd name="connsiteY2" fmla="*/ 13871 h 13870"/>
                  <a:gd name="connsiteX3" fmla="*/ 0 w 97092"/>
                  <a:gd name="connsiteY3" fmla="*/ 13871 h 13870"/>
                </a:gdLst>
                <a:ahLst/>
                <a:cxnLst>
                  <a:cxn ang="0">
                    <a:pos x="connsiteX0" y="connsiteY0"/>
                  </a:cxn>
                  <a:cxn ang="0">
                    <a:pos x="connsiteX1" y="connsiteY1"/>
                  </a:cxn>
                  <a:cxn ang="0">
                    <a:pos x="connsiteX2" y="connsiteY2"/>
                  </a:cxn>
                  <a:cxn ang="0">
                    <a:pos x="connsiteX3" y="connsiteY3"/>
                  </a:cxn>
                </a:cxnLst>
                <a:rect l="l" t="t" r="r" b="b"/>
                <a:pathLst>
                  <a:path w="97092" h="13870">
                    <a:moveTo>
                      <a:pt x="0" y="0"/>
                    </a:moveTo>
                    <a:lnTo>
                      <a:pt x="97093" y="0"/>
                    </a:lnTo>
                    <a:lnTo>
                      <a:pt x="97093" y="13871"/>
                    </a:lnTo>
                    <a:lnTo>
                      <a:pt x="0" y="13871"/>
                    </a:lnTo>
                    <a:close/>
                  </a:path>
                </a:pathLst>
              </a:custGeom>
              <a:grpFill/>
              <a:ln w="351" cap="flat">
                <a:noFill/>
                <a:prstDash val="solid"/>
                <a:miter/>
              </a:ln>
            </p:spPr>
            <p:txBody>
              <a:bodyPr rtlCol="0" anchor="ctr"/>
              <a:lstStyle/>
              <a:p>
                <a:endParaRPr lang="en-GB" dirty="0"/>
              </a:p>
            </p:txBody>
          </p:sp>
          <p:sp>
            <p:nvSpPr>
              <p:cNvPr id="554" name="Freihandform: Form 186">
                <a:extLst>
                  <a:ext uri="{FF2B5EF4-FFF2-40B4-BE49-F238E27FC236}">
                    <a16:creationId xmlns:a16="http://schemas.microsoft.com/office/drawing/2014/main" id="{A0DB1DBC-C7F9-40C4-A466-7F5972DC22A6}"/>
                  </a:ext>
                </a:extLst>
              </p:cNvPr>
              <p:cNvSpPr/>
              <p:nvPr/>
            </p:nvSpPr>
            <p:spPr>
              <a:xfrm>
                <a:off x="800954" y="3790455"/>
                <a:ext cx="153106" cy="76288"/>
              </a:xfrm>
              <a:custGeom>
                <a:avLst/>
                <a:gdLst>
                  <a:gd name="connsiteX0" fmla="*/ 119204 w 153106"/>
                  <a:gd name="connsiteY0" fmla="*/ 76288 h 76288"/>
                  <a:gd name="connsiteX1" fmla="*/ 0 w 153106"/>
                  <a:gd name="connsiteY1" fmla="*/ 76288 h 76288"/>
                  <a:gd name="connsiteX2" fmla="*/ 33903 w 153106"/>
                  <a:gd name="connsiteY2" fmla="*/ 0 h 76288"/>
                  <a:gd name="connsiteX3" fmla="*/ 153107 w 153106"/>
                  <a:gd name="connsiteY3" fmla="*/ 0 h 76288"/>
                  <a:gd name="connsiteX4" fmla="*/ 119204 w 153106"/>
                  <a:gd name="connsiteY4" fmla="*/ 76288 h 76288"/>
                  <a:gd name="connsiteX5" fmla="*/ 21338 w 153106"/>
                  <a:gd name="connsiteY5" fmla="*/ 62417 h 76288"/>
                  <a:gd name="connsiteX6" fmla="*/ 110188 w 153106"/>
                  <a:gd name="connsiteY6" fmla="*/ 62417 h 76288"/>
                  <a:gd name="connsiteX7" fmla="*/ 131765 w 153106"/>
                  <a:gd name="connsiteY7" fmla="*/ 13871 h 76288"/>
                  <a:gd name="connsiteX8" fmla="*/ 42915 w 153106"/>
                  <a:gd name="connsiteY8" fmla="*/ 13871 h 76288"/>
                  <a:gd name="connsiteX9" fmla="*/ 21338 w 153106"/>
                  <a:gd name="connsiteY9" fmla="*/ 62417 h 7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106" h="76288">
                    <a:moveTo>
                      <a:pt x="119204" y="76288"/>
                    </a:moveTo>
                    <a:lnTo>
                      <a:pt x="0" y="76288"/>
                    </a:lnTo>
                    <a:lnTo>
                      <a:pt x="33903" y="0"/>
                    </a:lnTo>
                    <a:lnTo>
                      <a:pt x="153107" y="0"/>
                    </a:lnTo>
                    <a:lnTo>
                      <a:pt x="119204" y="76288"/>
                    </a:lnTo>
                    <a:close/>
                    <a:moveTo>
                      <a:pt x="21338" y="62417"/>
                    </a:moveTo>
                    <a:lnTo>
                      <a:pt x="110188" y="62417"/>
                    </a:lnTo>
                    <a:lnTo>
                      <a:pt x="131765" y="13871"/>
                    </a:lnTo>
                    <a:lnTo>
                      <a:pt x="42915" y="13871"/>
                    </a:lnTo>
                    <a:lnTo>
                      <a:pt x="21338" y="62417"/>
                    </a:lnTo>
                    <a:close/>
                  </a:path>
                </a:pathLst>
              </a:custGeom>
              <a:grpFill/>
              <a:ln w="351" cap="flat">
                <a:noFill/>
                <a:prstDash val="solid"/>
                <a:miter/>
              </a:ln>
            </p:spPr>
            <p:txBody>
              <a:bodyPr rtlCol="0" anchor="ctr"/>
              <a:lstStyle/>
              <a:p>
                <a:endParaRPr lang="en-GB" dirty="0"/>
              </a:p>
            </p:txBody>
          </p:sp>
          <p:sp>
            <p:nvSpPr>
              <p:cNvPr id="555" name="Freihandform: Form 189">
                <a:extLst>
                  <a:ext uri="{FF2B5EF4-FFF2-40B4-BE49-F238E27FC236}">
                    <a16:creationId xmlns:a16="http://schemas.microsoft.com/office/drawing/2014/main" id="{92D89246-0785-40C5-B4A7-08B230C365A2}"/>
                  </a:ext>
                </a:extLst>
              </p:cNvPr>
              <p:cNvSpPr/>
              <p:nvPr/>
            </p:nvSpPr>
            <p:spPr>
              <a:xfrm>
                <a:off x="964197" y="3776588"/>
                <a:ext cx="90155" cy="90155"/>
              </a:xfrm>
              <a:custGeom>
                <a:avLst/>
                <a:gdLst>
                  <a:gd name="connsiteX0" fmla="*/ 45078 w 90155"/>
                  <a:gd name="connsiteY0" fmla="*/ 90156 h 90155"/>
                  <a:gd name="connsiteX1" fmla="*/ 0 w 90155"/>
                  <a:gd name="connsiteY1" fmla="*/ 45078 h 90155"/>
                  <a:gd name="connsiteX2" fmla="*/ 45078 w 90155"/>
                  <a:gd name="connsiteY2" fmla="*/ 0 h 90155"/>
                  <a:gd name="connsiteX3" fmla="*/ 90156 w 90155"/>
                  <a:gd name="connsiteY3" fmla="*/ 45078 h 90155"/>
                  <a:gd name="connsiteX4" fmla="*/ 45078 w 90155"/>
                  <a:gd name="connsiteY4" fmla="*/ 90156 h 90155"/>
                  <a:gd name="connsiteX5" fmla="*/ 45078 w 90155"/>
                  <a:gd name="connsiteY5" fmla="*/ 13871 h 90155"/>
                  <a:gd name="connsiteX6" fmla="*/ 13871 w 90155"/>
                  <a:gd name="connsiteY6" fmla="*/ 45078 h 90155"/>
                  <a:gd name="connsiteX7" fmla="*/ 45078 w 90155"/>
                  <a:gd name="connsiteY7" fmla="*/ 76285 h 90155"/>
                  <a:gd name="connsiteX8" fmla="*/ 76285 w 90155"/>
                  <a:gd name="connsiteY8" fmla="*/ 45078 h 90155"/>
                  <a:gd name="connsiteX9" fmla="*/ 45078 w 90155"/>
                  <a:gd name="connsiteY9" fmla="*/ 13871 h 9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55" h="90155">
                    <a:moveTo>
                      <a:pt x="45078" y="90156"/>
                    </a:moveTo>
                    <a:cubicBezTo>
                      <a:pt x="20222" y="90156"/>
                      <a:pt x="0" y="69934"/>
                      <a:pt x="0" y="45078"/>
                    </a:cubicBezTo>
                    <a:cubicBezTo>
                      <a:pt x="0" y="20222"/>
                      <a:pt x="20222" y="0"/>
                      <a:pt x="45078" y="0"/>
                    </a:cubicBezTo>
                    <a:cubicBezTo>
                      <a:pt x="69934" y="0"/>
                      <a:pt x="90156" y="20222"/>
                      <a:pt x="90156" y="45078"/>
                    </a:cubicBezTo>
                    <a:cubicBezTo>
                      <a:pt x="90156" y="69934"/>
                      <a:pt x="69934" y="90156"/>
                      <a:pt x="45078" y="90156"/>
                    </a:cubicBezTo>
                    <a:close/>
                    <a:moveTo>
                      <a:pt x="45078" y="13871"/>
                    </a:moveTo>
                    <a:cubicBezTo>
                      <a:pt x="27868" y="13871"/>
                      <a:pt x="13871" y="27868"/>
                      <a:pt x="13871" y="45078"/>
                    </a:cubicBezTo>
                    <a:cubicBezTo>
                      <a:pt x="13871" y="62287"/>
                      <a:pt x="27872" y="76285"/>
                      <a:pt x="45078" y="76285"/>
                    </a:cubicBezTo>
                    <a:cubicBezTo>
                      <a:pt x="62287" y="76285"/>
                      <a:pt x="76285" y="62284"/>
                      <a:pt x="76285" y="45078"/>
                    </a:cubicBezTo>
                    <a:cubicBezTo>
                      <a:pt x="76285" y="27872"/>
                      <a:pt x="62287" y="13871"/>
                      <a:pt x="45078" y="13871"/>
                    </a:cubicBezTo>
                    <a:close/>
                  </a:path>
                </a:pathLst>
              </a:custGeom>
              <a:grpFill/>
              <a:ln w="351" cap="flat">
                <a:noFill/>
                <a:prstDash val="solid"/>
                <a:miter/>
              </a:ln>
            </p:spPr>
            <p:txBody>
              <a:bodyPr rtlCol="0" anchor="ctr"/>
              <a:lstStyle/>
              <a:p>
                <a:endParaRPr lang="en-GB" dirty="0"/>
              </a:p>
            </p:txBody>
          </p:sp>
          <p:sp>
            <p:nvSpPr>
              <p:cNvPr id="556" name="Freihandform: Form 190">
                <a:extLst>
                  <a:ext uri="{FF2B5EF4-FFF2-40B4-BE49-F238E27FC236}">
                    <a16:creationId xmlns:a16="http://schemas.microsoft.com/office/drawing/2014/main" id="{DC9102F8-01C4-469C-969F-A90B2DAD6FE2}"/>
                  </a:ext>
                </a:extLst>
              </p:cNvPr>
              <p:cNvSpPr/>
              <p:nvPr/>
            </p:nvSpPr>
            <p:spPr>
              <a:xfrm>
                <a:off x="919786" y="3843738"/>
                <a:ext cx="48497" cy="23020"/>
              </a:xfrm>
              <a:custGeom>
                <a:avLst/>
                <a:gdLst>
                  <a:gd name="connsiteX0" fmla="*/ 31884 w 48497"/>
                  <a:gd name="connsiteY0" fmla="*/ 23020 h 23020"/>
                  <a:gd name="connsiteX1" fmla="*/ 0 w 48497"/>
                  <a:gd name="connsiteY1" fmla="*/ 9806 h 23020"/>
                  <a:gd name="connsiteX2" fmla="*/ 9805 w 48497"/>
                  <a:gd name="connsiteY2" fmla="*/ 0 h 23020"/>
                  <a:gd name="connsiteX3" fmla="*/ 43389 w 48497"/>
                  <a:gd name="connsiteY3" fmla="*/ 6948 h 23020"/>
                  <a:gd name="connsiteX4" fmla="*/ 48497 w 48497"/>
                  <a:gd name="connsiteY4" fmla="*/ 19843 h 23020"/>
                  <a:gd name="connsiteX5" fmla="*/ 31884 w 48497"/>
                  <a:gd name="connsiteY5" fmla="*/ 23020 h 2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97" h="23020">
                    <a:moveTo>
                      <a:pt x="31884" y="23020"/>
                    </a:moveTo>
                    <a:cubicBezTo>
                      <a:pt x="20148" y="23020"/>
                      <a:pt x="8622" y="18428"/>
                      <a:pt x="0" y="9806"/>
                    </a:cubicBezTo>
                    <a:lnTo>
                      <a:pt x="9805" y="0"/>
                    </a:lnTo>
                    <a:cubicBezTo>
                      <a:pt x="18617" y="8805"/>
                      <a:pt x="31804" y="11533"/>
                      <a:pt x="43389" y="6948"/>
                    </a:cubicBezTo>
                    <a:lnTo>
                      <a:pt x="48497" y="19843"/>
                    </a:lnTo>
                    <a:cubicBezTo>
                      <a:pt x="43105" y="21977"/>
                      <a:pt x="37470" y="23020"/>
                      <a:pt x="31884" y="23020"/>
                    </a:cubicBezTo>
                    <a:close/>
                  </a:path>
                </a:pathLst>
              </a:custGeom>
              <a:grpFill/>
              <a:ln w="351" cap="flat">
                <a:noFill/>
                <a:prstDash val="solid"/>
                <a:miter/>
              </a:ln>
            </p:spPr>
            <p:txBody>
              <a:bodyPr rtlCol="0" anchor="ctr"/>
              <a:lstStyle/>
              <a:p>
                <a:endParaRPr lang="en-GB" dirty="0"/>
              </a:p>
            </p:txBody>
          </p:sp>
          <p:grpSp>
            <p:nvGrpSpPr>
              <p:cNvPr id="557" name="Graphic 10">
                <a:extLst>
                  <a:ext uri="{FF2B5EF4-FFF2-40B4-BE49-F238E27FC236}">
                    <a16:creationId xmlns:a16="http://schemas.microsoft.com/office/drawing/2014/main" id="{2B8866E4-8782-4F19-9C04-4F9FA8E601A3}"/>
                  </a:ext>
                </a:extLst>
              </p:cNvPr>
              <p:cNvGrpSpPr/>
              <p:nvPr/>
            </p:nvGrpSpPr>
            <p:grpSpPr>
              <a:xfrm>
                <a:off x="1138910" y="3776588"/>
                <a:ext cx="147772" cy="90169"/>
                <a:chOff x="1138910" y="3776588"/>
                <a:chExt cx="147772" cy="90169"/>
              </a:xfrm>
              <a:grpFill/>
            </p:grpSpPr>
            <p:sp>
              <p:nvSpPr>
                <p:cNvPr id="559" name="Freihandform: Form 192">
                  <a:extLst>
                    <a:ext uri="{FF2B5EF4-FFF2-40B4-BE49-F238E27FC236}">
                      <a16:creationId xmlns:a16="http://schemas.microsoft.com/office/drawing/2014/main" id="{01621AA7-1FE8-4BA8-8532-33404822E468}"/>
                    </a:ext>
                  </a:extLst>
                </p:cNvPr>
                <p:cNvSpPr/>
                <p:nvPr/>
              </p:nvSpPr>
              <p:spPr>
                <a:xfrm>
                  <a:off x="1196526" y="3776588"/>
                  <a:ext cx="90155" cy="90155"/>
                </a:xfrm>
                <a:custGeom>
                  <a:avLst/>
                  <a:gdLst>
                    <a:gd name="connsiteX0" fmla="*/ 45078 w 90155"/>
                    <a:gd name="connsiteY0" fmla="*/ 90156 h 90155"/>
                    <a:gd name="connsiteX1" fmla="*/ 0 w 90155"/>
                    <a:gd name="connsiteY1" fmla="*/ 45078 h 90155"/>
                    <a:gd name="connsiteX2" fmla="*/ 45078 w 90155"/>
                    <a:gd name="connsiteY2" fmla="*/ 0 h 90155"/>
                    <a:gd name="connsiteX3" fmla="*/ 90156 w 90155"/>
                    <a:gd name="connsiteY3" fmla="*/ 45078 h 90155"/>
                    <a:gd name="connsiteX4" fmla="*/ 45078 w 90155"/>
                    <a:gd name="connsiteY4" fmla="*/ 90156 h 90155"/>
                    <a:gd name="connsiteX5" fmla="*/ 45078 w 90155"/>
                    <a:gd name="connsiteY5" fmla="*/ 13871 h 90155"/>
                    <a:gd name="connsiteX6" fmla="*/ 13871 w 90155"/>
                    <a:gd name="connsiteY6" fmla="*/ 45078 h 90155"/>
                    <a:gd name="connsiteX7" fmla="*/ 45078 w 90155"/>
                    <a:gd name="connsiteY7" fmla="*/ 76285 h 90155"/>
                    <a:gd name="connsiteX8" fmla="*/ 76285 w 90155"/>
                    <a:gd name="connsiteY8" fmla="*/ 45078 h 90155"/>
                    <a:gd name="connsiteX9" fmla="*/ 45078 w 90155"/>
                    <a:gd name="connsiteY9" fmla="*/ 13871 h 9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155" h="90155">
                      <a:moveTo>
                        <a:pt x="45078" y="90156"/>
                      </a:moveTo>
                      <a:cubicBezTo>
                        <a:pt x="20222" y="90156"/>
                        <a:pt x="0" y="69934"/>
                        <a:pt x="0" y="45078"/>
                      </a:cubicBezTo>
                      <a:cubicBezTo>
                        <a:pt x="0" y="20222"/>
                        <a:pt x="20222" y="0"/>
                        <a:pt x="45078" y="0"/>
                      </a:cubicBezTo>
                      <a:cubicBezTo>
                        <a:pt x="69934" y="0"/>
                        <a:pt x="90156" y="20222"/>
                        <a:pt x="90156" y="45078"/>
                      </a:cubicBezTo>
                      <a:cubicBezTo>
                        <a:pt x="90156" y="69934"/>
                        <a:pt x="69934" y="90156"/>
                        <a:pt x="45078" y="90156"/>
                      </a:cubicBezTo>
                      <a:close/>
                      <a:moveTo>
                        <a:pt x="45078" y="13871"/>
                      </a:moveTo>
                      <a:cubicBezTo>
                        <a:pt x="27868" y="13871"/>
                        <a:pt x="13871" y="27868"/>
                        <a:pt x="13871" y="45078"/>
                      </a:cubicBezTo>
                      <a:cubicBezTo>
                        <a:pt x="13871" y="62287"/>
                        <a:pt x="27872" y="76285"/>
                        <a:pt x="45078" y="76285"/>
                      </a:cubicBezTo>
                      <a:cubicBezTo>
                        <a:pt x="62287" y="76285"/>
                        <a:pt x="76285" y="62284"/>
                        <a:pt x="76285" y="45078"/>
                      </a:cubicBezTo>
                      <a:cubicBezTo>
                        <a:pt x="76285" y="27872"/>
                        <a:pt x="62287" y="13871"/>
                        <a:pt x="45078" y="13871"/>
                      </a:cubicBezTo>
                      <a:close/>
                    </a:path>
                  </a:pathLst>
                </a:custGeom>
                <a:grpFill/>
                <a:ln w="351" cap="flat">
                  <a:noFill/>
                  <a:prstDash val="solid"/>
                  <a:miter/>
                </a:ln>
              </p:spPr>
              <p:txBody>
                <a:bodyPr rtlCol="0" anchor="ctr"/>
                <a:lstStyle/>
                <a:p>
                  <a:endParaRPr lang="en-GB" dirty="0"/>
                </a:p>
              </p:txBody>
            </p:sp>
            <p:sp>
              <p:nvSpPr>
                <p:cNvPr id="560" name="Freihandform: Form 193">
                  <a:extLst>
                    <a:ext uri="{FF2B5EF4-FFF2-40B4-BE49-F238E27FC236}">
                      <a16:creationId xmlns:a16="http://schemas.microsoft.com/office/drawing/2014/main" id="{30C838EF-B0AF-4E70-B352-5C92C88D7C78}"/>
                    </a:ext>
                  </a:extLst>
                </p:cNvPr>
                <p:cNvSpPr/>
                <p:nvPr/>
              </p:nvSpPr>
              <p:spPr>
                <a:xfrm>
                  <a:off x="1138910" y="3793829"/>
                  <a:ext cx="61710" cy="72928"/>
                </a:xfrm>
                <a:custGeom>
                  <a:avLst/>
                  <a:gdLst>
                    <a:gd name="connsiteX0" fmla="*/ 45090 w 61710"/>
                    <a:gd name="connsiteY0" fmla="*/ 72929 h 72928"/>
                    <a:gd name="connsiteX1" fmla="*/ 13206 w 61710"/>
                    <a:gd name="connsiteY1" fmla="*/ 59714 h 72928"/>
                    <a:gd name="connsiteX2" fmla="*/ 9625 w 61710"/>
                    <a:gd name="connsiteY2" fmla="*/ 0 h 72928"/>
                    <a:gd name="connsiteX3" fmla="*/ 20522 w 61710"/>
                    <a:gd name="connsiteY3" fmla="*/ 8573 h 72928"/>
                    <a:gd name="connsiteX4" fmla="*/ 23018 w 61710"/>
                    <a:gd name="connsiteY4" fmla="*/ 49905 h 72928"/>
                    <a:gd name="connsiteX5" fmla="*/ 56602 w 61710"/>
                    <a:gd name="connsiteY5" fmla="*/ 56853 h 72928"/>
                    <a:gd name="connsiteX6" fmla="*/ 61710 w 61710"/>
                    <a:gd name="connsiteY6" fmla="*/ 69748 h 72928"/>
                    <a:gd name="connsiteX7" fmla="*/ 45090 w 61710"/>
                    <a:gd name="connsiteY7" fmla="*/ 72929 h 7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10" h="72928">
                      <a:moveTo>
                        <a:pt x="45090" y="72929"/>
                      </a:moveTo>
                      <a:cubicBezTo>
                        <a:pt x="33354" y="72929"/>
                        <a:pt x="21828" y="68336"/>
                        <a:pt x="13206" y="59714"/>
                      </a:cubicBezTo>
                      <a:cubicBezTo>
                        <a:pt x="-2926" y="43575"/>
                        <a:pt x="-4467" y="17901"/>
                        <a:pt x="9625" y="0"/>
                      </a:cubicBezTo>
                      <a:lnTo>
                        <a:pt x="20522" y="8573"/>
                      </a:lnTo>
                      <a:cubicBezTo>
                        <a:pt x="10776" y="20959"/>
                        <a:pt x="11847" y="38730"/>
                        <a:pt x="23018" y="49905"/>
                      </a:cubicBezTo>
                      <a:cubicBezTo>
                        <a:pt x="31830" y="58710"/>
                        <a:pt x="45024" y="61424"/>
                        <a:pt x="56602" y="56853"/>
                      </a:cubicBezTo>
                      <a:lnTo>
                        <a:pt x="61710" y="69748"/>
                      </a:lnTo>
                      <a:cubicBezTo>
                        <a:pt x="56307" y="71886"/>
                        <a:pt x="50672" y="72929"/>
                        <a:pt x="45090" y="72929"/>
                      </a:cubicBezTo>
                      <a:close/>
                    </a:path>
                  </a:pathLst>
                </a:custGeom>
                <a:grpFill/>
                <a:ln w="351" cap="flat">
                  <a:noFill/>
                  <a:prstDash val="solid"/>
                  <a:miter/>
                </a:ln>
              </p:spPr>
              <p:txBody>
                <a:bodyPr rtlCol="0" anchor="ctr"/>
                <a:lstStyle/>
                <a:p>
                  <a:endParaRPr lang="en-GB" dirty="0"/>
                </a:p>
              </p:txBody>
            </p:sp>
          </p:grpSp>
          <p:sp>
            <p:nvSpPr>
              <p:cNvPr id="558" name="Freihandform: Form 194">
                <a:extLst>
                  <a:ext uri="{FF2B5EF4-FFF2-40B4-BE49-F238E27FC236}">
                    <a16:creationId xmlns:a16="http://schemas.microsoft.com/office/drawing/2014/main" id="{BC764A0C-35FF-4903-ABF8-30EA54608B1D}"/>
                  </a:ext>
                </a:extLst>
              </p:cNvPr>
              <p:cNvSpPr/>
              <p:nvPr/>
            </p:nvSpPr>
            <p:spPr>
              <a:xfrm>
                <a:off x="832428" y="3561594"/>
                <a:ext cx="110963" cy="242732"/>
              </a:xfrm>
              <a:custGeom>
                <a:avLst/>
                <a:gdLst>
                  <a:gd name="connsiteX0" fmla="*/ 110964 w 110963"/>
                  <a:gd name="connsiteY0" fmla="*/ 242732 h 242732"/>
                  <a:gd name="connsiteX1" fmla="*/ 0 w 110963"/>
                  <a:gd name="connsiteY1" fmla="*/ 242732 h 242732"/>
                  <a:gd name="connsiteX2" fmla="*/ 0 w 110963"/>
                  <a:gd name="connsiteY2" fmla="*/ 0 h 242732"/>
                  <a:gd name="connsiteX3" fmla="*/ 110964 w 110963"/>
                  <a:gd name="connsiteY3" fmla="*/ 0 h 242732"/>
                  <a:gd name="connsiteX4" fmla="*/ 110964 w 110963"/>
                  <a:gd name="connsiteY4" fmla="*/ 242732 h 242732"/>
                  <a:gd name="connsiteX5" fmla="*/ 13871 w 110963"/>
                  <a:gd name="connsiteY5" fmla="*/ 228865 h 242732"/>
                  <a:gd name="connsiteX6" fmla="*/ 97093 w 110963"/>
                  <a:gd name="connsiteY6" fmla="*/ 228865 h 242732"/>
                  <a:gd name="connsiteX7" fmla="*/ 97093 w 110963"/>
                  <a:gd name="connsiteY7" fmla="*/ 13874 h 242732"/>
                  <a:gd name="connsiteX8" fmla="*/ 13871 w 110963"/>
                  <a:gd name="connsiteY8" fmla="*/ 13874 h 242732"/>
                  <a:gd name="connsiteX9" fmla="*/ 13871 w 110963"/>
                  <a:gd name="connsiteY9" fmla="*/ 228865 h 24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963" h="242732">
                    <a:moveTo>
                      <a:pt x="110964" y="242732"/>
                    </a:moveTo>
                    <a:lnTo>
                      <a:pt x="0" y="242732"/>
                    </a:lnTo>
                    <a:lnTo>
                      <a:pt x="0" y="0"/>
                    </a:lnTo>
                    <a:lnTo>
                      <a:pt x="110964" y="0"/>
                    </a:lnTo>
                    <a:lnTo>
                      <a:pt x="110964" y="242732"/>
                    </a:lnTo>
                    <a:close/>
                    <a:moveTo>
                      <a:pt x="13871" y="228865"/>
                    </a:moveTo>
                    <a:lnTo>
                      <a:pt x="97093" y="228865"/>
                    </a:lnTo>
                    <a:lnTo>
                      <a:pt x="97093" y="13874"/>
                    </a:lnTo>
                    <a:lnTo>
                      <a:pt x="13871" y="13874"/>
                    </a:lnTo>
                    <a:lnTo>
                      <a:pt x="13871" y="228865"/>
                    </a:lnTo>
                    <a:close/>
                  </a:path>
                </a:pathLst>
              </a:custGeom>
              <a:grpFill/>
              <a:ln w="351" cap="flat">
                <a:noFill/>
                <a:prstDash val="solid"/>
                <a:miter/>
              </a:ln>
            </p:spPr>
            <p:txBody>
              <a:bodyPr rtlCol="0" anchor="ctr"/>
              <a:lstStyle/>
              <a:p>
                <a:endParaRPr lang="en-GB" dirty="0"/>
              </a:p>
            </p:txBody>
          </p:sp>
        </p:grpSp>
      </p:grpSp>
      <p:grpSp>
        <p:nvGrpSpPr>
          <p:cNvPr id="49" name="Group 48">
            <a:extLst>
              <a:ext uri="{FF2B5EF4-FFF2-40B4-BE49-F238E27FC236}">
                <a16:creationId xmlns:a16="http://schemas.microsoft.com/office/drawing/2014/main" id="{35C7D15C-ABC3-92FA-CCC1-338001768FDA}"/>
              </a:ext>
            </a:extLst>
          </p:cNvPr>
          <p:cNvGrpSpPr/>
          <p:nvPr/>
        </p:nvGrpSpPr>
        <p:grpSpPr>
          <a:xfrm>
            <a:off x="7085132" y="2391526"/>
            <a:ext cx="428806" cy="431998"/>
            <a:chOff x="7084720" y="2391526"/>
            <a:chExt cx="428806" cy="431998"/>
          </a:xfrm>
        </p:grpSpPr>
        <p:grpSp>
          <p:nvGrpSpPr>
            <p:cNvPr id="436" name="Gruppieren 15">
              <a:extLst>
                <a:ext uri="{FF2B5EF4-FFF2-40B4-BE49-F238E27FC236}">
                  <a16:creationId xmlns:a16="http://schemas.microsoft.com/office/drawing/2014/main" id="{65AEB583-4064-44AC-831C-BFDE029F1D1A}"/>
                </a:ext>
              </a:extLst>
            </p:cNvPr>
            <p:cNvGrpSpPr/>
            <p:nvPr/>
          </p:nvGrpSpPr>
          <p:grpSpPr>
            <a:xfrm>
              <a:off x="7084720" y="2711980"/>
              <a:ext cx="428806" cy="111544"/>
              <a:chOff x="1697024" y="1994034"/>
              <a:chExt cx="454334" cy="118185"/>
            </a:xfrm>
            <a:solidFill>
              <a:schemeClr val="accent1"/>
            </a:solidFill>
          </p:grpSpPr>
          <p:sp>
            <p:nvSpPr>
              <p:cNvPr id="450" name="Freihandform: Form 45">
                <a:extLst>
                  <a:ext uri="{FF2B5EF4-FFF2-40B4-BE49-F238E27FC236}">
                    <a16:creationId xmlns:a16="http://schemas.microsoft.com/office/drawing/2014/main" id="{E50C989E-5164-4171-B893-DCB03A17C400}"/>
                  </a:ext>
                </a:extLst>
              </p:cNvPr>
              <p:cNvSpPr/>
              <p:nvPr/>
            </p:nvSpPr>
            <p:spPr>
              <a:xfrm>
                <a:off x="2047153" y="1994038"/>
                <a:ext cx="104205" cy="118181"/>
              </a:xfrm>
              <a:custGeom>
                <a:avLst/>
                <a:gdLst>
                  <a:gd name="connsiteX0" fmla="*/ 52103 w 104205"/>
                  <a:gd name="connsiteY0" fmla="*/ 118181 h 118181"/>
                  <a:gd name="connsiteX1" fmla="*/ 48634 w 104205"/>
                  <a:gd name="connsiteY1" fmla="*/ 117254 h 118181"/>
                  <a:gd name="connsiteX2" fmla="*/ 3469 w 104205"/>
                  <a:gd name="connsiteY2" fmla="*/ 91176 h 118181"/>
                  <a:gd name="connsiteX3" fmla="*/ 0 w 104205"/>
                  <a:gd name="connsiteY3" fmla="*/ 85170 h 118181"/>
                  <a:gd name="connsiteX4" fmla="*/ 0 w 104205"/>
                  <a:gd name="connsiteY4" fmla="*/ 33014 h 118181"/>
                  <a:gd name="connsiteX5" fmla="*/ 3469 w 104205"/>
                  <a:gd name="connsiteY5" fmla="*/ 27007 h 118181"/>
                  <a:gd name="connsiteX6" fmla="*/ 48634 w 104205"/>
                  <a:gd name="connsiteY6" fmla="*/ 929 h 118181"/>
                  <a:gd name="connsiteX7" fmla="*/ 55568 w 104205"/>
                  <a:gd name="connsiteY7" fmla="*/ 929 h 118181"/>
                  <a:gd name="connsiteX8" fmla="*/ 100737 w 104205"/>
                  <a:gd name="connsiteY8" fmla="*/ 27007 h 118181"/>
                  <a:gd name="connsiteX9" fmla="*/ 104206 w 104205"/>
                  <a:gd name="connsiteY9" fmla="*/ 33014 h 118181"/>
                  <a:gd name="connsiteX10" fmla="*/ 104206 w 104205"/>
                  <a:gd name="connsiteY10" fmla="*/ 85170 h 118181"/>
                  <a:gd name="connsiteX11" fmla="*/ 100737 w 104205"/>
                  <a:gd name="connsiteY11" fmla="*/ 91176 h 118181"/>
                  <a:gd name="connsiteX12" fmla="*/ 55568 w 104205"/>
                  <a:gd name="connsiteY12" fmla="*/ 117254 h 118181"/>
                  <a:gd name="connsiteX13" fmla="*/ 52103 w 104205"/>
                  <a:gd name="connsiteY13" fmla="*/ 118181 h 118181"/>
                  <a:gd name="connsiteX14" fmla="*/ 13874 w 104205"/>
                  <a:gd name="connsiteY14" fmla="*/ 81167 h 118181"/>
                  <a:gd name="connsiteX15" fmla="*/ 52106 w 104205"/>
                  <a:gd name="connsiteY15" fmla="*/ 103239 h 118181"/>
                  <a:gd name="connsiteX16" fmla="*/ 90342 w 104205"/>
                  <a:gd name="connsiteY16" fmla="*/ 81167 h 118181"/>
                  <a:gd name="connsiteX17" fmla="*/ 90342 w 104205"/>
                  <a:gd name="connsiteY17" fmla="*/ 37016 h 118181"/>
                  <a:gd name="connsiteX18" fmla="*/ 52106 w 104205"/>
                  <a:gd name="connsiteY18" fmla="*/ 14944 h 118181"/>
                  <a:gd name="connsiteX19" fmla="*/ 13874 w 104205"/>
                  <a:gd name="connsiteY19" fmla="*/ 37016 h 118181"/>
                  <a:gd name="connsiteX20" fmla="*/ 13874 w 104205"/>
                  <a:gd name="connsiteY20" fmla="*/ 81167 h 11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205" h="118181">
                    <a:moveTo>
                      <a:pt x="52103" y="118181"/>
                    </a:moveTo>
                    <a:cubicBezTo>
                      <a:pt x="50906" y="118181"/>
                      <a:pt x="49708" y="117872"/>
                      <a:pt x="48634" y="117254"/>
                    </a:cubicBezTo>
                    <a:lnTo>
                      <a:pt x="3469" y="91176"/>
                    </a:lnTo>
                    <a:cubicBezTo>
                      <a:pt x="1320" y="89937"/>
                      <a:pt x="0" y="87648"/>
                      <a:pt x="0" y="85170"/>
                    </a:cubicBezTo>
                    <a:lnTo>
                      <a:pt x="0" y="33014"/>
                    </a:lnTo>
                    <a:cubicBezTo>
                      <a:pt x="0" y="30535"/>
                      <a:pt x="1320" y="28246"/>
                      <a:pt x="3469" y="27007"/>
                    </a:cubicBezTo>
                    <a:lnTo>
                      <a:pt x="48634" y="929"/>
                    </a:lnTo>
                    <a:cubicBezTo>
                      <a:pt x="50783" y="-310"/>
                      <a:pt x="53423" y="-310"/>
                      <a:pt x="55568" y="929"/>
                    </a:cubicBezTo>
                    <a:lnTo>
                      <a:pt x="100737" y="27007"/>
                    </a:lnTo>
                    <a:cubicBezTo>
                      <a:pt x="102886" y="28246"/>
                      <a:pt x="104206" y="30535"/>
                      <a:pt x="104206" y="33014"/>
                    </a:cubicBezTo>
                    <a:lnTo>
                      <a:pt x="104206" y="85170"/>
                    </a:lnTo>
                    <a:cubicBezTo>
                      <a:pt x="104206" y="87648"/>
                      <a:pt x="102886" y="89937"/>
                      <a:pt x="100737" y="91176"/>
                    </a:cubicBezTo>
                    <a:lnTo>
                      <a:pt x="55568" y="117254"/>
                    </a:lnTo>
                    <a:cubicBezTo>
                      <a:pt x="54497" y="117872"/>
                      <a:pt x="53303" y="118181"/>
                      <a:pt x="52103" y="118181"/>
                    </a:cubicBezTo>
                    <a:close/>
                    <a:moveTo>
                      <a:pt x="13874" y="81167"/>
                    </a:moveTo>
                    <a:lnTo>
                      <a:pt x="52106" y="103239"/>
                    </a:lnTo>
                    <a:lnTo>
                      <a:pt x="90342" y="81167"/>
                    </a:lnTo>
                    <a:lnTo>
                      <a:pt x="90342" y="37016"/>
                    </a:lnTo>
                    <a:lnTo>
                      <a:pt x="52106" y="14944"/>
                    </a:lnTo>
                    <a:lnTo>
                      <a:pt x="13874" y="37016"/>
                    </a:lnTo>
                    <a:lnTo>
                      <a:pt x="13874" y="81167"/>
                    </a:lnTo>
                    <a:close/>
                  </a:path>
                </a:pathLst>
              </a:custGeom>
              <a:solidFill>
                <a:schemeClr val="accent1"/>
              </a:solidFill>
              <a:ln w="351" cap="flat">
                <a:noFill/>
                <a:prstDash val="solid"/>
                <a:miter/>
              </a:ln>
            </p:spPr>
            <p:txBody>
              <a:bodyPr rtlCol="0" anchor="ctr"/>
              <a:lstStyle/>
              <a:p>
                <a:endParaRPr lang="en-GB" dirty="0"/>
              </a:p>
            </p:txBody>
          </p:sp>
          <p:sp>
            <p:nvSpPr>
              <p:cNvPr id="451" name="Freihandform: Form 46">
                <a:extLst>
                  <a:ext uri="{FF2B5EF4-FFF2-40B4-BE49-F238E27FC236}">
                    <a16:creationId xmlns:a16="http://schemas.microsoft.com/office/drawing/2014/main" id="{C8584CB2-18B3-48D3-A9DD-39AF8BAEFB9A}"/>
                  </a:ext>
                </a:extLst>
              </p:cNvPr>
              <p:cNvSpPr/>
              <p:nvPr/>
            </p:nvSpPr>
            <p:spPr>
              <a:xfrm>
                <a:off x="1872785" y="1994034"/>
                <a:ext cx="104209" cy="118184"/>
              </a:xfrm>
              <a:custGeom>
                <a:avLst/>
                <a:gdLst>
                  <a:gd name="connsiteX0" fmla="*/ 52106 w 104209"/>
                  <a:gd name="connsiteY0" fmla="*/ 118185 h 118184"/>
                  <a:gd name="connsiteX1" fmla="*/ 48638 w 104209"/>
                  <a:gd name="connsiteY1" fmla="*/ 117258 h 118184"/>
                  <a:gd name="connsiteX2" fmla="*/ 3469 w 104209"/>
                  <a:gd name="connsiteY2" fmla="*/ 91180 h 118184"/>
                  <a:gd name="connsiteX3" fmla="*/ 0 w 104209"/>
                  <a:gd name="connsiteY3" fmla="*/ 85173 h 118184"/>
                  <a:gd name="connsiteX4" fmla="*/ 0 w 104209"/>
                  <a:gd name="connsiteY4" fmla="*/ 33018 h 118184"/>
                  <a:gd name="connsiteX5" fmla="*/ 3469 w 104209"/>
                  <a:gd name="connsiteY5" fmla="*/ 27011 h 118184"/>
                  <a:gd name="connsiteX6" fmla="*/ 48641 w 104209"/>
                  <a:gd name="connsiteY6" fmla="*/ 929 h 118184"/>
                  <a:gd name="connsiteX7" fmla="*/ 55575 w 104209"/>
                  <a:gd name="connsiteY7" fmla="*/ 929 h 118184"/>
                  <a:gd name="connsiteX8" fmla="*/ 100741 w 104209"/>
                  <a:gd name="connsiteY8" fmla="*/ 27007 h 118184"/>
                  <a:gd name="connsiteX9" fmla="*/ 104209 w 104209"/>
                  <a:gd name="connsiteY9" fmla="*/ 33014 h 118184"/>
                  <a:gd name="connsiteX10" fmla="*/ 104209 w 104209"/>
                  <a:gd name="connsiteY10" fmla="*/ 85170 h 118184"/>
                  <a:gd name="connsiteX11" fmla="*/ 100741 w 104209"/>
                  <a:gd name="connsiteY11" fmla="*/ 91176 h 118184"/>
                  <a:gd name="connsiteX12" fmla="*/ 55575 w 104209"/>
                  <a:gd name="connsiteY12" fmla="*/ 117254 h 118184"/>
                  <a:gd name="connsiteX13" fmla="*/ 52106 w 104209"/>
                  <a:gd name="connsiteY13" fmla="*/ 118185 h 118184"/>
                  <a:gd name="connsiteX14" fmla="*/ 13874 w 104209"/>
                  <a:gd name="connsiteY14" fmla="*/ 81171 h 118184"/>
                  <a:gd name="connsiteX15" fmla="*/ 52110 w 104209"/>
                  <a:gd name="connsiteY15" fmla="*/ 103243 h 118184"/>
                  <a:gd name="connsiteX16" fmla="*/ 90342 w 104209"/>
                  <a:gd name="connsiteY16" fmla="*/ 81171 h 118184"/>
                  <a:gd name="connsiteX17" fmla="*/ 90342 w 104209"/>
                  <a:gd name="connsiteY17" fmla="*/ 37020 h 118184"/>
                  <a:gd name="connsiteX18" fmla="*/ 52110 w 104209"/>
                  <a:gd name="connsiteY18" fmla="*/ 14948 h 118184"/>
                  <a:gd name="connsiteX19" fmla="*/ 13874 w 104209"/>
                  <a:gd name="connsiteY19" fmla="*/ 37020 h 118184"/>
                  <a:gd name="connsiteX20" fmla="*/ 13874 w 104209"/>
                  <a:gd name="connsiteY20" fmla="*/ 81171 h 11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209" h="118184">
                    <a:moveTo>
                      <a:pt x="52106" y="118185"/>
                    </a:moveTo>
                    <a:cubicBezTo>
                      <a:pt x="50909" y="118185"/>
                      <a:pt x="49712" y="117876"/>
                      <a:pt x="48638" y="117258"/>
                    </a:cubicBezTo>
                    <a:lnTo>
                      <a:pt x="3469" y="91180"/>
                    </a:lnTo>
                    <a:cubicBezTo>
                      <a:pt x="1320" y="89941"/>
                      <a:pt x="0" y="87652"/>
                      <a:pt x="0" y="85173"/>
                    </a:cubicBezTo>
                    <a:lnTo>
                      <a:pt x="0" y="33018"/>
                    </a:lnTo>
                    <a:cubicBezTo>
                      <a:pt x="0" y="30539"/>
                      <a:pt x="1320" y="28250"/>
                      <a:pt x="3469" y="27011"/>
                    </a:cubicBezTo>
                    <a:lnTo>
                      <a:pt x="48641" y="929"/>
                    </a:lnTo>
                    <a:cubicBezTo>
                      <a:pt x="50790" y="-310"/>
                      <a:pt x="53430" y="-310"/>
                      <a:pt x="55575" y="929"/>
                    </a:cubicBezTo>
                    <a:lnTo>
                      <a:pt x="100741" y="27007"/>
                    </a:lnTo>
                    <a:cubicBezTo>
                      <a:pt x="102889" y="28246"/>
                      <a:pt x="104209" y="30535"/>
                      <a:pt x="104209" y="33014"/>
                    </a:cubicBezTo>
                    <a:lnTo>
                      <a:pt x="104209" y="85170"/>
                    </a:lnTo>
                    <a:cubicBezTo>
                      <a:pt x="104209" y="87648"/>
                      <a:pt x="102889" y="89937"/>
                      <a:pt x="100741" y="91176"/>
                    </a:cubicBezTo>
                    <a:lnTo>
                      <a:pt x="55575" y="117254"/>
                    </a:lnTo>
                    <a:cubicBezTo>
                      <a:pt x="54501" y="117876"/>
                      <a:pt x="53307" y="118185"/>
                      <a:pt x="52106" y="118185"/>
                    </a:cubicBezTo>
                    <a:close/>
                    <a:moveTo>
                      <a:pt x="13874" y="81171"/>
                    </a:moveTo>
                    <a:lnTo>
                      <a:pt x="52110" y="103243"/>
                    </a:lnTo>
                    <a:lnTo>
                      <a:pt x="90342" y="81171"/>
                    </a:lnTo>
                    <a:lnTo>
                      <a:pt x="90342" y="37020"/>
                    </a:lnTo>
                    <a:lnTo>
                      <a:pt x="52110" y="14948"/>
                    </a:lnTo>
                    <a:lnTo>
                      <a:pt x="13874" y="37020"/>
                    </a:lnTo>
                    <a:lnTo>
                      <a:pt x="13874" y="81171"/>
                    </a:lnTo>
                    <a:close/>
                  </a:path>
                </a:pathLst>
              </a:custGeom>
              <a:solidFill>
                <a:schemeClr val="accent1"/>
              </a:solidFill>
              <a:ln w="351" cap="flat">
                <a:noFill/>
                <a:prstDash val="solid"/>
                <a:miter/>
              </a:ln>
            </p:spPr>
            <p:txBody>
              <a:bodyPr rtlCol="0" anchor="ctr"/>
              <a:lstStyle/>
              <a:p>
                <a:endParaRPr lang="en-GB" dirty="0"/>
              </a:p>
            </p:txBody>
          </p:sp>
          <p:sp>
            <p:nvSpPr>
              <p:cNvPr id="452" name="Freihandform: Form 47">
                <a:extLst>
                  <a:ext uri="{FF2B5EF4-FFF2-40B4-BE49-F238E27FC236}">
                    <a16:creationId xmlns:a16="http://schemas.microsoft.com/office/drawing/2014/main" id="{F2888ED8-114C-4666-AF25-B6F2E3EBD31D}"/>
                  </a:ext>
                </a:extLst>
              </p:cNvPr>
              <p:cNvSpPr/>
              <p:nvPr/>
            </p:nvSpPr>
            <p:spPr>
              <a:xfrm>
                <a:off x="1697024" y="1994038"/>
                <a:ext cx="104205" cy="118181"/>
              </a:xfrm>
              <a:custGeom>
                <a:avLst/>
                <a:gdLst>
                  <a:gd name="connsiteX0" fmla="*/ 52103 w 104205"/>
                  <a:gd name="connsiteY0" fmla="*/ 118181 h 118181"/>
                  <a:gd name="connsiteX1" fmla="*/ 48634 w 104205"/>
                  <a:gd name="connsiteY1" fmla="*/ 117254 h 118181"/>
                  <a:gd name="connsiteX2" fmla="*/ 3469 w 104205"/>
                  <a:gd name="connsiteY2" fmla="*/ 91176 h 118181"/>
                  <a:gd name="connsiteX3" fmla="*/ 0 w 104205"/>
                  <a:gd name="connsiteY3" fmla="*/ 85170 h 118181"/>
                  <a:gd name="connsiteX4" fmla="*/ 0 w 104205"/>
                  <a:gd name="connsiteY4" fmla="*/ 33014 h 118181"/>
                  <a:gd name="connsiteX5" fmla="*/ 3469 w 104205"/>
                  <a:gd name="connsiteY5" fmla="*/ 27007 h 118181"/>
                  <a:gd name="connsiteX6" fmla="*/ 48634 w 104205"/>
                  <a:gd name="connsiteY6" fmla="*/ 929 h 118181"/>
                  <a:gd name="connsiteX7" fmla="*/ 55568 w 104205"/>
                  <a:gd name="connsiteY7" fmla="*/ 929 h 118181"/>
                  <a:gd name="connsiteX8" fmla="*/ 100737 w 104205"/>
                  <a:gd name="connsiteY8" fmla="*/ 27007 h 118181"/>
                  <a:gd name="connsiteX9" fmla="*/ 104206 w 104205"/>
                  <a:gd name="connsiteY9" fmla="*/ 33014 h 118181"/>
                  <a:gd name="connsiteX10" fmla="*/ 104206 w 104205"/>
                  <a:gd name="connsiteY10" fmla="*/ 85170 h 118181"/>
                  <a:gd name="connsiteX11" fmla="*/ 100737 w 104205"/>
                  <a:gd name="connsiteY11" fmla="*/ 91176 h 118181"/>
                  <a:gd name="connsiteX12" fmla="*/ 55568 w 104205"/>
                  <a:gd name="connsiteY12" fmla="*/ 117254 h 118181"/>
                  <a:gd name="connsiteX13" fmla="*/ 52103 w 104205"/>
                  <a:gd name="connsiteY13" fmla="*/ 118181 h 118181"/>
                  <a:gd name="connsiteX14" fmla="*/ 13871 w 104205"/>
                  <a:gd name="connsiteY14" fmla="*/ 81167 h 118181"/>
                  <a:gd name="connsiteX15" fmla="*/ 52103 w 104205"/>
                  <a:gd name="connsiteY15" fmla="*/ 103239 h 118181"/>
                  <a:gd name="connsiteX16" fmla="*/ 90338 w 104205"/>
                  <a:gd name="connsiteY16" fmla="*/ 81167 h 118181"/>
                  <a:gd name="connsiteX17" fmla="*/ 90338 w 104205"/>
                  <a:gd name="connsiteY17" fmla="*/ 37016 h 118181"/>
                  <a:gd name="connsiteX18" fmla="*/ 52103 w 104205"/>
                  <a:gd name="connsiteY18" fmla="*/ 14944 h 118181"/>
                  <a:gd name="connsiteX19" fmla="*/ 13871 w 104205"/>
                  <a:gd name="connsiteY19" fmla="*/ 37016 h 118181"/>
                  <a:gd name="connsiteX20" fmla="*/ 13871 w 104205"/>
                  <a:gd name="connsiteY20" fmla="*/ 81167 h 118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4205" h="118181">
                    <a:moveTo>
                      <a:pt x="52103" y="118181"/>
                    </a:moveTo>
                    <a:cubicBezTo>
                      <a:pt x="50906" y="118181"/>
                      <a:pt x="49708" y="117872"/>
                      <a:pt x="48634" y="117254"/>
                    </a:cubicBezTo>
                    <a:lnTo>
                      <a:pt x="3469" y="91176"/>
                    </a:lnTo>
                    <a:cubicBezTo>
                      <a:pt x="1320" y="89937"/>
                      <a:pt x="0" y="87648"/>
                      <a:pt x="0" y="85170"/>
                    </a:cubicBezTo>
                    <a:lnTo>
                      <a:pt x="0" y="33014"/>
                    </a:lnTo>
                    <a:cubicBezTo>
                      <a:pt x="0" y="30535"/>
                      <a:pt x="1320" y="28246"/>
                      <a:pt x="3469" y="27007"/>
                    </a:cubicBezTo>
                    <a:lnTo>
                      <a:pt x="48634" y="929"/>
                    </a:lnTo>
                    <a:cubicBezTo>
                      <a:pt x="50783" y="-310"/>
                      <a:pt x="53423" y="-310"/>
                      <a:pt x="55568" y="929"/>
                    </a:cubicBezTo>
                    <a:lnTo>
                      <a:pt x="100737" y="27007"/>
                    </a:lnTo>
                    <a:cubicBezTo>
                      <a:pt x="102886" y="28246"/>
                      <a:pt x="104206" y="30535"/>
                      <a:pt x="104206" y="33014"/>
                    </a:cubicBezTo>
                    <a:lnTo>
                      <a:pt x="104206" y="85170"/>
                    </a:lnTo>
                    <a:cubicBezTo>
                      <a:pt x="104206" y="87648"/>
                      <a:pt x="102886" y="89937"/>
                      <a:pt x="100737" y="91176"/>
                    </a:cubicBezTo>
                    <a:lnTo>
                      <a:pt x="55568" y="117254"/>
                    </a:lnTo>
                    <a:cubicBezTo>
                      <a:pt x="54497" y="117872"/>
                      <a:pt x="53300" y="118181"/>
                      <a:pt x="52103" y="118181"/>
                    </a:cubicBezTo>
                    <a:close/>
                    <a:moveTo>
                      <a:pt x="13871" y="81167"/>
                    </a:moveTo>
                    <a:lnTo>
                      <a:pt x="52103" y="103239"/>
                    </a:lnTo>
                    <a:lnTo>
                      <a:pt x="90338" y="81167"/>
                    </a:lnTo>
                    <a:lnTo>
                      <a:pt x="90338" y="37016"/>
                    </a:lnTo>
                    <a:lnTo>
                      <a:pt x="52103" y="14944"/>
                    </a:lnTo>
                    <a:lnTo>
                      <a:pt x="13871" y="37016"/>
                    </a:lnTo>
                    <a:lnTo>
                      <a:pt x="13871" y="81167"/>
                    </a:lnTo>
                    <a:close/>
                  </a:path>
                </a:pathLst>
              </a:custGeom>
              <a:solidFill>
                <a:schemeClr val="accent1"/>
              </a:solidFill>
              <a:ln w="351" cap="flat">
                <a:noFill/>
                <a:prstDash val="solid"/>
                <a:miter/>
              </a:ln>
            </p:spPr>
            <p:txBody>
              <a:bodyPr rtlCol="0" anchor="ctr"/>
              <a:lstStyle/>
              <a:p>
                <a:endParaRPr lang="en-GB" dirty="0"/>
              </a:p>
            </p:txBody>
          </p:sp>
          <p:sp>
            <p:nvSpPr>
              <p:cNvPr id="453" name="Freihandform: Form 48">
                <a:extLst>
                  <a:ext uri="{FF2B5EF4-FFF2-40B4-BE49-F238E27FC236}">
                    <a16:creationId xmlns:a16="http://schemas.microsoft.com/office/drawing/2014/main" id="{C4DD1DB2-B654-48EC-956D-F7C76D9F0CDC}"/>
                  </a:ext>
                </a:extLst>
              </p:cNvPr>
              <p:cNvSpPr/>
              <p:nvPr/>
            </p:nvSpPr>
            <p:spPr>
              <a:xfrm>
                <a:off x="1906151" y="2032469"/>
                <a:ext cx="37652" cy="25761"/>
              </a:xfrm>
              <a:custGeom>
                <a:avLst/>
                <a:gdLst>
                  <a:gd name="connsiteX0" fmla="*/ 30712 w 37652"/>
                  <a:gd name="connsiteY0" fmla="*/ 25762 h 25761"/>
                  <a:gd name="connsiteX1" fmla="*/ 23778 w 37652"/>
                  <a:gd name="connsiteY1" fmla="*/ 18828 h 25761"/>
                  <a:gd name="connsiteX2" fmla="*/ 18825 w 37652"/>
                  <a:gd name="connsiteY2" fmla="*/ 13871 h 25761"/>
                  <a:gd name="connsiteX3" fmla="*/ 13867 w 37652"/>
                  <a:gd name="connsiteY3" fmla="*/ 18828 h 25761"/>
                  <a:gd name="connsiteX4" fmla="*/ 6934 w 37652"/>
                  <a:gd name="connsiteY4" fmla="*/ 25762 h 25761"/>
                  <a:gd name="connsiteX5" fmla="*/ 0 w 37652"/>
                  <a:gd name="connsiteY5" fmla="*/ 18828 h 25761"/>
                  <a:gd name="connsiteX6" fmla="*/ 18828 w 37652"/>
                  <a:gd name="connsiteY6" fmla="*/ 0 h 25761"/>
                  <a:gd name="connsiteX7" fmla="*/ 37653 w 37652"/>
                  <a:gd name="connsiteY7" fmla="*/ 18828 h 25761"/>
                  <a:gd name="connsiteX8" fmla="*/ 30712 w 37652"/>
                  <a:gd name="connsiteY8" fmla="*/ 25762 h 2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2" h="25761">
                    <a:moveTo>
                      <a:pt x="30712" y="25762"/>
                    </a:moveTo>
                    <a:cubicBezTo>
                      <a:pt x="26882" y="25762"/>
                      <a:pt x="23778" y="22658"/>
                      <a:pt x="23778" y="18828"/>
                    </a:cubicBezTo>
                    <a:cubicBezTo>
                      <a:pt x="23778" y="16097"/>
                      <a:pt x="21556" y="13871"/>
                      <a:pt x="18825" y="13871"/>
                    </a:cubicBezTo>
                    <a:cubicBezTo>
                      <a:pt x="16093" y="13871"/>
                      <a:pt x="13867" y="16097"/>
                      <a:pt x="13867" y="18828"/>
                    </a:cubicBezTo>
                    <a:cubicBezTo>
                      <a:pt x="13867" y="22658"/>
                      <a:pt x="10760" y="25762"/>
                      <a:pt x="6934" y="25762"/>
                    </a:cubicBezTo>
                    <a:cubicBezTo>
                      <a:pt x="3107" y="25762"/>
                      <a:pt x="0" y="22658"/>
                      <a:pt x="0" y="18828"/>
                    </a:cubicBezTo>
                    <a:cubicBezTo>
                      <a:pt x="0" y="8447"/>
                      <a:pt x="8447" y="0"/>
                      <a:pt x="18828" y="0"/>
                    </a:cubicBezTo>
                    <a:cubicBezTo>
                      <a:pt x="29206" y="0"/>
                      <a:pt x="37653" y="8447"/>
                      <a:pt x="37653" y="18828"/>
                    </a:cubicBezTo>
                    <a:cubicBezTo>
                      <a:pt x="37649" y="22658"/>
                      <a:pt x="34542" y="25762"/>
                      <a:pt x="30712" y="25762"/>
                    </a:cubicBezTo>
                    <a:close/>
                  </a:path>
                </a:pathLst>
              </a:custGeom>
              <a:solidFill>
                <a:schemeClr val="accent1"/>
              </a:solidFill>
              <a:ln w="351" cap="flat">
                <a:noFill/>
                <a:prstDash val="solid"/>
                <a:miter/>
              </a:ln>
            </p:spPr>
            <p:txBody>
              <a:bodyPr rtlCol="0" anchor="ctr"/>
              <a:lstStyle/>
              <a:p>
                <a:endParaRPr lang="en-GB" dirty="0"/>
              </a:p>
            </p:txBody>
          </p:sp>
          <p:sp>
            <p:nvSpPr>
              <p:cNvPr id="454" name="Freihandform: Form 49">
                <a:extLst>
                  <a:ext uri="{FF2B5EF4-FFF2-40B4-BE49-F238E27FC236}">
                    <a16:creationId xmlns:a16="http://schemas.microsoft.com/office/drawing/2014/main" id="{98BB6788-6638-4C3B-8190-7EBA7A09E3D1}"/>
                  </a:ext>
                </a:extLst>
              </p:cNvPr>
              <p:cNvSpPr/>
              <p:nvPr/>
            </p:nvSpPr>
            <p:spPr>
              <a:xfrm>
                <a:off x="1730759" y="2032469"/>
                <a:ext cx="37656" cy="25761"/>
              </a:xfrm>
              <a:custGeom>
                <a:avLst/>
                <a:gdLst>
                  <a:gd name="connsiteX0" fmla="*/ 30715 w 37656"/>
                  <a:gd name="connsiteY0" fmla="*/ 25762 h 25761"/>
                  <a:gd name="connsiteX1" fmla="*/ 23782 w 37656"/>
                  <a:gd name="connsiteY1" fmla="*/ 18828 h 25761"/>
                  <a:gd name="connsiteX2" fmla="*/ 18825 w 37656"/>
                  <a:gd name="connsiteY2" fmla="*/ 13871 h 25761"/>
                  <a:gd name="connsiteX3" fmla="*/ 13867 w 37656"/>
                  <a:gd name="connsiteY3" fmla="*/ 18828 h 25761"/>
                  <a:gd name="connsiteX4" fmla="*/ 6934 w 37656"/>
                  <a:gd name="connsiteY4" fmla="*/ 25762 h 25761"/>
                  <a:gd name="connsiteX5" fmla="*/ 0 w 37656"/>
                  <a:gd name="connsiteY5" fmla="*/ 18828 h 25761"/>
                  <a:gd name="connsiteX6" fmla="*/ 18828 w 37656"/>
                  <a:gd name="connsiteY6" fmla="*/ 0 h 25761"/>
                  <a:gd name="connsiteX7" fmla="*/ 37656 w 37656"/>
                  <a:gd name="connsiteY7" fmla="*/ 18828 h 25761"/>
                  <a:gd name="connsiteX8" fmla="*/ 30715 w 37656"/>
                  <a:gd name="connsiteY8" fmla="*/ 25762 h 2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6" h="25761">
                    <a:moveTo>
                      <a:pt x="30715" y="25762"/>
                    </a:moveTo>
                    <a:cubicBezTo>
                      <a:pt x="26885" y="25762"/>
                      <a:pt x="23782" y="22658"/>
                      <a:pt x="23782" y="18828"/>
                    </a:cubicBezTo>
                    <a:cubicBezTo>
                      <a:pt x="23782" y="16097"/>
                      <a:pt x="21556" y="13871"/>
                      <a:pt x="18825" y="13871"/>
                    </a:cubicBezTo>
                    <a:cubicBezTo>
                      <a:pt x="16093" y="13871"/>
                      <a:pt x="13867" y="16097"/>
                      <a:pt x="13867" y="18828"/>
                    </a:cubicBezTo>
                    <a:cubicBezTo>
                      <a:pt x="13867" y="22658"/>
                      <a:pt x="10764" y="25762"/>
                      <a:pt x="6934" y="25762"/>
                    </a:cubicBezTo>
                    <a:cubicBezTo>
                      <a:pt x="3104" y="25762"/>
                      <a:pt x="0" y="22658"/>
                      <a:pt x="0" y="18828"/>
                    </a:cubicBezTo>
                    <a:cubicBezTo>
                      <a:pt x="0" y="8447"/>
                      <a:pt x="8447" y="0"/>
                      <a:pt x="18828" y="0"/>
                    </a:cubicBezTo>
                    <a:cubicBezTo>
                      <a:pt x="29209" y="0"/>
                      <a:pt x="37656" y="8447"/>
                      <a:pt x="37656" y="18828"/>
                    </a:cubicBezTo>
                    <a:cubicBezTo>
                      <a:pt x="37649" y="22658"/>
                      <a:pt x="34546" y="25762"/>
                      <a:pt x="30715" y="25762"/>
                    </a:cubicBezTo>
                    <a:close/>
                  </a:path>
                </a:pathLst>
              </a:custGeom>
              <a:solidFill>
                <a:schemeClr val="accent1"/>
              </a:solidFill>
              <a:ln w="351" cap="flat">
                <a:noFill/>
                <a:prstDash val="solid"/>
                <a:miter/>
              </a:ln>
            </p:spPr>
            <p:txBody>
              <a:bodyPr rtlCol="0" anchor="ctr"/>
              <a:lstStyle/>
              <a:p>
                <a:endParaRPr lang="en-GB" dirty="0"/>
              </a:p>
            </p:txBody>
          </p:sp>
          <p:sp>
            <p:nvSpPr>
              <p:cNvPr id="455" name="Freihandform: Form 50">
                <a:extLst>
                  <a:ext uri="{FF2B5EF4-FFF2-40B4-BE49-F238E27FC236}">
                    <a16:creationId xmlns:a16="http://schemas.microsoft.com/office/drawing/2014/main" id="{6495AAD8-9394-4705-B155-9835193541CF}"/>
                  </a:ext>
                </a:extLst>
              </p:cNvPr>
              <p:cNvSpPr/>
              <p:nvPr/>
            </p:nvSpPr>
            <p:spPr>
              <a:xfrm>
                <a:off x="2081544" y="2032469"/>
                <a:ext cx="37652" cy="25761"/>
              </a:xfrm>
              <a:custGeom>
                <a:avLst/>
                <a:gdLst>
                  <a:gd name="connsiteX0" fmla="*/ 30712 w 37652"/>
                  <a:gd name="connsiteY0" fmla="*/ 25762 h 25761"/>
                  <a:gd name="connsiteX1" fmla="*/ 23778 w 37652"/>
                  <a:gd name="connsiteY1" fmla="*/ 18828 h 25761"/>
                  <a:gd name="connsiteX2" fmla="*/ 18821 w 37652"/>
                  <a:gd name="connsiteY2" fmla="*/ 13871 h 25761"/>
                  <a:gd name="connsiteX3" fmla="*/ 13867 w 37652"/>
                  <a:gd name="connsiteY3" fmla="*/ 18828 h 25761"/>
                  <a:gd name="connsiteX4" fmla="*/ 6934 w 37652"/>
                  <a:gd name="connsiteY4" fmla="*/ 25762 h 25761"/>
                  <a:gd name="connsiteX5" fmla="*/ 0 w 37652"/>
                  <a:gd name="connsiteY5" fmla="*/ 18828 h 25761"/>
                  <a:gd name="connsiteX6" fmla="*/ 18825 w 37652"/>
                  <a:gd name="connsiteY6" fmla="*/ 0 h 25761"/>
                  <a:gd name="connsiteX7" fmla="*/ 37653 w 37652"/>
                  <a:gd name="connsiteY7" fmla="*/ 18828 h 25761"/>
                  <a:gd name="connsiteX8" fmla="*/ 30712 w 37652"/>
                  <a:gd name="connsiteY8" fmla="*/ 25762 h 25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652" h="25761">
                    <a:moveTo>
                      <a:pt x="30712" y="25762"/>
                    </a:moveTo>
                    <a:cubicBezTo>
                      <a:pt x="26882" y="25762"/>
                      <a:pt x="23778" y="22658"/>
                      <a:pt x="23778" y="18828"/>
                    </a:cubicBezTo>
                    <a:cubicBezTo>
                      <a:pt x="23778" y="16097"/>
                      <a:pt x="21552" y="13871"/>
                      <a:pt x="18821" y="13871"/>
                    </a:cubicBezTo>
                    <a:cubicBezTo>
                      <a:pt x="16090" y="13871"/>
                      <a:pt x="13867" y="16097"/>
                      <a:pt x="13867" y="18828"/>
                    </a:cubicBezTo>
                    <a:cubicBezTo>
                      <a:pt x="13867" y="22658"/>
                      <a:pt x="10760" y="25762"/>
                      <a:pt x="6934" y="25762"/>
                    </a:cubicBezTo>
                    <a:cubicBezTo>
                      <a:pt x="3103" y="25762"/>
                      <a:pt x="0" y="22658"/>
                      <a:pt x="0" y="18828"/>
                    </a:cubicBezTo>
                    <a:cubicBezTo>
                      <a:pt x="0" y="8447"/>
                      <a:pt x="8447" y="0"/>
                      <a:pt x="18825" y="0"/>
                    </a:cubicBezTo>
                    <a:cubicBezTo>
                      <a:pt x="29206" y="0"/>
                      <a:pt x="37653" y="8447"/>
                      <a:pt x="37653" y="18828"/>
                    </a:cubicBezTo>
                    <a:cubicBezTo>
                      <a:pt x="37649" y="22658"/>
                      <a:pt x="34542" y="25762"/>
                      <a:pt x="30712" y="25762"/>
                    </a:cubicBezTo>
                    <a:close/>
                  </a:path>
                </a:pathLst>
              </a:custGeom>
              <a:solidFill>
                <a:schemeClr val="accent1"/>
              </a:solidFill>
              <a:ln w="351" cap="flat">
                <a:noFill/>
                <a:prstDash val="solid"/>
                <a:miter/>
              </a:ln>
            </p:spPr>
            <p:txBody>
              <a:bodyPr rtlCol="0" anchor="ctr"/>
              <a:lstStyle/>
              <a:p>
                <a:endParaRPr lang="en-GB" dirty="0"/>
              </a:p>
            </p:txBody>
          </p:sp>
        </p:grpSp>
        <p:grpSp>
          <p:nvGrpSpPr>
            <p:cNvPr id="437" name="Gruppieren 16">
              <a:extLst>
                <a:ext uri="{FF2B5EF4-FFF2-40B4-BE49-F238E27FC236}">
                  <a16:creationId xmlns:a16="http://schemas.microsoft.com/office/drawing/2014/main" id="{B2C4D3E1-CB13-4B50-A885-C4E1363F89BC}"/>
                </a:ext>
              </a:extLst>
            </p:cNvPr>
            <p:cNvGrpSpPr/>
            <p:nvPr/>
          </p:nvGrpSpPr>
          <p:grpSpPr>
            <a:xfrm>
              <a:off x="7130544" y="2391526"/>
              <a:ext cx="340363" cy="307634"/>
              <a:chOff x="1745577" y="1654501"/>
              <a:chExt cx="360626" cy="325948"/>
            </a:xfrm>
            <a:solidFill>
              <a:schemeClr val="tx2"/>
            </a:solidFill>
          </p:grpSpPr>
          <p:grpSp>
            <p:nvGrpSpPr>
              <p:cNvPr id="438" name="Graphic 10">
                <a:extLst>
                  <a:ext uri="{FF2B5EF4-FFF2-40B4-BE49-F238E27FC236}">
                    <a16:creationId xmlns:a16="http://schemas.microsoft.com/office/drawing/2014/main" id="{880F8337-3411-45E8-92B3-C498754F9BE7}"/>
                  </a:ext>
                </a:extLst>
              </p:cNvPr>
              <p:cNvGrpSpPr/>
              <p:nvPr/>
            </p:nvGrpSpPr>
            <p:grpSpPr>
              <a:xfrm>
                <a:off x="1745577" y="1904165"/>
                <a:ext cx="360626" cy="76284"/>
                <a:chOff x="1745577" y="1904165"/>
                <a:chExt cx="360626" cy="76284"/>
              </a:xfrm>
              <a:grpFill/>
            </p:grpSpPr>
            <p:sp>
              <p:nvSpPr>
                <p:cNvPr id="448" name="Freihandform: Form 43">
                  <a:extLst>
                    <a:ext uri="{FF2B5EF4-FFF2-40B4-BE49-F238E27FC236}">
                      <a16:creationId xmlns:a16="http://schemas.microsoft.com/office/drawing/2014/main" id="{BA916194-3B72-4753-9364-EDF52654FBC6}"/>
                    </a:ext>
                  </a:extLst>
                </p:cNvPr>
                <p:cNvSpPr/>
                <p:nvPr/>
              </p:nvSpPr>
              <p:spPr>
                <a:xfrm>
                  <a:off x="1918952" y="1904165"/>
                  <a:ext cx="13867" cy="76284"/>
                </a:xfrm>
                <a:custGeom>
                  <a:avLst/>
                  <a:gdLst>
                    <a:gd name="connsiteX0" fmla="*/ 6934 w 13867"/>
                    <a:gd name="connsiteY0" fmla="*/ 76285 h 76284"/>
                    <a:gd name="connsiteX1" fmla="*/ 0 w 13867"/>
                    <a:gd name="connsiteY1" fmla="*/ 69351 h 76284"/>
                    <a:gd name="connsiteX2" fmla="*/ 0 w 13867"/>
                    <a:gd name="connsiteY2" fmla="*/ 6934 h 76284"/>
                    <a:gd name="connsiteX3" fmla="*/ 6934 w 13867"/>
                    <a:gd name="connsiteY3" fmla="*/ 0 h 76284"/>
                    <a:gd name="connsiteX4" fmla="*/ 13867 w 13867"/>
                    <a:gd name="connsiteY4" fmla="*/ 6934 h 76284"/>
                    <a:gd name="connsiteX5" fmla="*/ 13867 w 13867"/>
                    <a:gd name="connsiteY5" fmla="*/ 69351 h 76284"/>
                    <a:gd name="connsiteX6" fmla="*/ 6934 w 13867"/>
                    <a:gd name="connsiteY6" fmla="*/ 76285 h 76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7" h="76284">
                      <a:moveTo>
                        <a:pt x="6934" y="76285"/>
                      </a:moveTo>
                      <a:cubicBezTo>
                        <a:pt x="3104" y="76285"/>
                        <a:pt x="0" y="73178"/>
                        <a:pt x="0" y="69351"/>
                      </a:cubicBezTo>
                      <a:lnTo>
                        <a:pt x="0" y="6934"/>
                      </a:lnTo>
                      <a:cubicBezTo>
                        <a:pt x="0" y="3103"/>
                        <a:pt x="3104" y="0"/>
                        <a:pt x="6934" y="0"/>
                      </a:cubicBezTo>
                      <a:cubicBezTo>
                        <a:pt x="10764" y="0"/>
                        <a:pt x="13867" y="3103"/>
                        <a:pt x="13867" y="6934"/>
                      </a:cubicBezTo>
                      <a:lnTo>
                        <a:pt x="13867" y="69351"/>
                      </a:lnTo>
                      <a:cubicBezTo>
                        <a:pt x="13867" y="73181"/>
                        <a:pt x="10764" y="76285"/>
                        <a:pt x="6934" y="76285"/>
                      </a:cubicBezTo>
                      <a:close/>
                    </a:path>
                  </a:pathLst>
                </a:custGeom>
                <a:grpFill/>
                <a:ln w="351" cap="flat">
                  <a:noFill/>
                  <a:prstDash val="solid"/>
                  <a:miter/>
                </a:ln>
              </p:spPr>
              <p:txBody>
                <a:bodyPr rtlCol="0" anchor="ctr"/>
                <a:lstStyle/>
                <a:p>
                  <a:endParaRPr lang="en-GB" dirty="0"/>
                </a:p>
              </p:txBody>
            </p:sp>
            <p:sp>
              <p:nvSpPr>
                <p:cNvPr id="449" name="Freihandform: Form 44">
                  <a:extLst>
                    <a:ext uri="{FF2B5EF4-FFF2-40B4-BE49-F238E27FC236}">
                      <a16:creationId xmlns:a16="http://schemas.microsoft.com/office/drawing/2014/main" id="{650B3A4C-B458-4E2A-8C79-A66F6A243404}"/>
                    </a:ext>
                  </a:extLst>
                </p:cNvPr>
                <p:cNvSpPr/>
                <p:nvPr/>
              </p:nvSpPr>
              <p:spPr>
                <a:xfrm>
                  <a:off x="1745577" y="1938841"/>
                  <a:ext cx="360626" cy="41609"/>
                </a:xfrm>
                <a:custGeom>
                  <a:avLst/>
                  <a:gdLst>
                    <a:gd name="connsiteX0" fmla="*/ 353686 w 360626"/>
                    <a:gd name="connsiteY0" fmla="*/ 41609 h 41609"/>
                    <a:gd name="connsiteX1" fmla="*/ 346752 w 360626"/>
                    <a:gd name="connsiteY1" fmla="*/ 34676 h 41609"/>
                    <a:gd name="connsiteX2" fmla="*/ 346752 w 360626"/>
                    <a:gd name="connsiteY2" fmla="*/ 20805 h 41609"/>
                    <a:gd name="connsiteX3" fmla="*/ 339818 w 360626"/>
                    <a:gd name="connsiteY3" fmla="*/ 13871 h 41609"/>
                    <a:gd name="connsiteX4" fmla="*/ 20801 w 360626"/>
                    <a:gd name="connsiteY4" fmla="*/ 13871 h 41609"/>
                    <a:gd name="connsiteX5" fmla="*/ 13867 w 360626"/>
                    <a:gd name="connsiteY5" fmla="*/ 20805 h 41609"/>
                    <a:gd name="connsiteX6" fmla="*/ 13867 w 360626"/>
                    <a:gd name="connsiteY6" fmla="*/ 34676 h 41609"/>
                    <a:gd name="connsiteX7" fmla="*/ 6934 w 360626"/>
                    <a:gd name="connsiteY7" fmla="*/ 41609 h 41609"/>
                    <a:gd name="connsiteX8" fmla="*/ 0 w 360626"/>
                    <a:gd name="connsiteY8" fmla="*/ 34676 h 41609"/>
                    <a:gd name="connsiteX9" fmla="*/ 0 w 360626"/>
                    <a:gd name="connsiteY9" fmla="*/ 20805 h 41609"/>
                    <a:gd name="connsiteX10" fmla="*/ 20805 w 360626"/>
                    <a:gd name="connsiteY10" fmla="*/ 0 h 41609"/>
                    <a:gd name="connsiteX11" fmla="*/ 339822 w 360626"/>
                    <a:gd name="connsiteY11" fmla="*/ 0 h 41609"/>
                    <a:gd name="connsiteX12" fmla="*/ 360626 w 360626"/>
                    <a:gd name="connsiteY12" fmla="*/ 20805 h 41609"/>
                    <a:gd name="connsiteX13" fmla="*/ 360626 w 360626"/>
                    <a:gd name="connsiteY13" fmla="*/ 34676 h 41609"/>
                    <a:gd name="connsiteX14" fmla="*/ 353686 w 360626"/>
                    <a:gd name="connsiteY14" fmla="*/ 41609 h 4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0626" h="41609">
                      <a:moveTo>
                        <a:pt x="353686" y="41609"/>
                      </a:moveTo>
                      <a:cubicBezTo>
                        <a:pt x="349855" y="41609"/>
                        <a:pt x="346752" y="38502"/>
                        <a:pt x="346752" y="34676"/>
                      </a:cubicBezTo>
                      <a:lnTo>
                        <a:pt x="346752" y="20805"/>
                      </a:lnTo>
                      <a:cubicBezTo>
                        <a:pt x="346752" y="16981"/>
                        <a:pt x="343641" y="13871"/>
                        <a:pt x="339818" y="13871"/>
                      </a:cubicBezTo>
                      <a:lnTo>
                        <a:pt x="20801" y="13871"/>
                      </a:lnTo>
                      <a:cubicBezTo>
                        <a:pt x="16978" y="13871"/>
                        <a:pt x="13867" y="16981"/>
                        <a:pt x="13867" y="20805"/>
                      </a:cubicBezTo>
                      <a:lnTo>
                        <a:pt x="13867" y="34676"/>
                      </a:lnTo>
                      <a:cubicBezTo>
                        <a:pt x="13867" y="38506"/>
                        <a:pt x="10764" y="41609"/>
                        <a:pt x="6934" y="41609"/>
                      </a:cubicBezTo>
                      <a:cubicBezTo>
                        <a:pt x="3103" y="41609"/>
                        <a:pt x="0" y="38502"/>
                        <a:pt x="0" y="34676"/>
                      </a:cubicBezTo>
                      <a:lnTo>
                        <a:pt x="0" y="20805"/>
                      </a:lnTo>
                      <a:cubicBezTo>
                        <a:pt x="0" y="9332"/>
                        <a:pt x="9331" y="0"/>
                        <a:pt x="20805" y="0"/>
                      </a:cubicBezTo>
                      <a:lnTo>
                        <a:pt x="339822" y="0"/>
                      </a:lnTo>
                      <a:cubicBezTo>
                        <a:pt x="351295" y="0"/>
                        <a:pt x="360626" y="9332"/>
                        <a:pt x="360626" y="20805"/>
                      </a:cubicBezTo>
                      <a:lnTo>
                        <a:pt x="360626" y="34676"/>
                      </a:lnTo>
                      <a:cubicBezTo>
                        <a:pt x="360623" y="38506"/>
                        <a:pt x="357516" y="41609"/>
                        <a:pt x="353686" y="41609"/>
                      </a:cubicBezTo>
                      <a:close/>
                    </a:path>
                  </a:pathLst>
                </a:custGeom>
                <a:grpFill/>
                <a:ln w="351" cap="flat">
                  <a:noFill/>
                  <a:prstDash val="solid"/>
                  <a:miter/>
                </a:ln>
              </p:spPr>
              <p:txBody>
                <a:bodyPr rtlCol="0" anchor="ctr"/>
                <a:lstStyle/>
                <a:p>
                  <a:endParaRPr lang="en-GB" dirty="0"/>
                </a:p>
              </p:txBody>
            </p:sp>
          </p:grpSp>
          <p:grpSp>
            <p:nvGrpSpPr>
              <p:cNvPr id="439" name="Graphic 10">
                <a:extLst>
                  <a:ext uri="{FF2B5EF4-FFF2-40B4-BE49-F238E27FC236}">
                    <a16:creationId xmlns:a16="http://schemas.microsoft.com/office/drawing/2014/main" id="{D2A12DF3-F815-417F-B420-30DC89348FD0}"/>
                  </a:ext>
                </a:extLst>
              </p:cNvPr>
              <p:cNvGrpSpPr/>
              <p:nvPr/>
            </p:nvGrpSpPr>
            <p:grpSpPr>
              <a:xfrm>
                <a:off x="1793376" y="1654501"/>
                <a:ext cx="265527" cy="235793"/>
                <a:chOff x="1793376" y="1654501"/>
                <a:chExt cx="265527" cy="235793"/>
              </a:xfrm>
              <a:grpFill/>
            </p:grpSpPr>
            <p:sp>
              <p:nvSpPr>
                <p:cNvPr id="440" name="Freihandform: Form 52">
                  <a:extLst>
                    <a:ext uri="{FF2B5EF4-FFF2-40B4-BE49-F238E27FC236}">
                      <a16:creationId xmlns:a16="http://schemas.microsoft.com/office/drawing/2014/main" id="{8597B220-3CA7-4862-A1CA-5C0C4C47D467}"/>
                    </a:ext>
                  </a:extLst>
                </p:cNvPr>
                <p:cNvSpPr/>
                <p:nvPr/>
              </p:nvSpPr>
              <p:spPr>
                <a:xfrm>
                  <a:off x="1831576" y="1770301"/>
                  <a:ext cx="189021" cy="119993"/>
                </a:xfrm>
                <a:custGeom>
                  <a:avLst/>
                  <a:gdLst>
                    <a:gd name="connsiteX0" fmla="*/ 94516 w 189021"/>
                    <a:gd name="connsiteY0" fmla="*/ 119993 h 119993"/>
                    <a:gd name="connsiteX1" fmla="*/ 91075 w 189021"/>
                    <a:gd name="connsiteY1" fmla="*/ 119081 h 119993"/>
                    <a:gd name="connsiteX2" fmla="*/ 3493 w 189021"/>
                    <a:gd name="connsiteY2" fmla="*/ 69032 h 119993"/>
                    <a:gd name="connsiteX3" fmla="*/ 0 w 189021"/>
                    <a:gd name="connsiteY3" fmla="*/ 63011 h 119993"/>
                    <a:gd name="connsiteX4" fmla="*/ 0 w 189021"/>
                    <a:gd name="connsiteY4" fmla="*/ 6934 h 119993"/>
                    <a:gd name="connsiteX5" fmla="*/ 6934 w 189021"/>
                    <a:gd name="connsiteY5" fmla="*/ 0 h 119993"/>
                    <a:gd name="connsiteX6" fmla="*/ 13867 w 189021"/>
                    <a:gd name="connsiteY6" fmla="*/ 6934 h 119993"/>
                    <a:gd name="connsiteX7" fmla="*/ 13867 w 189021"/>
                    <a:gd name="connsiteY7" fmla="*/ 58987 h 119993"/>
                    <a:gd name="connsiteX8" fmla="*/ 94513 w 189021"/>
                    <a:gd name="connsiteY8" fmla="*/ 105069 h 119993"/>
                    <a:gd name="connsiteX9" fmla="*/ 175154 w 189021"/>
                    <a:gd name="connsiteY9" fmla="*/ 58987 h 119993"/>
                    <a:gd name="connsiteX10" fmla="*/ 175154 w 189021"/>
                    <a:gd name="connsiteY10" fmla="*/ 6934 h 119993"/>
                    <a:gd name="connsiteX11" fmla="*/ 182088 w 189021"/>
                    <a:gd name="connsiteY11" fmla="*/ 0 h 119993"/>
                    <a:gd name="connsiteX12" fmla="*/ 189021 w 189021"/>
                    <a:gd name="connsiteY12" fmla="*/ 6934 h 119993"/>
                    <a:gd name="connsiteX13" fmla="*/ 189021 w 189021"/>
                    <a:gd name="connsiteY13" fmla="*/ 63011 h 119993"/>
                    <a:gd name="connsiteX14" fmla="*/ 185528 w 189021"/>
                    <a:gd name="connsiteY14" fmla="*/ 69032 h 119993"/>
                    <a:gd name="connsiteX15" fmla="*/ 97953 w 189021"/>
                    <a:gd name="connsiteY15" fmla="*/ 119077 h 119993"/>
                    <a:gd name="connsiteX16" fmla="*/ 94516 w 189021"/>
                    <a:gd name="connsiteY16" fmla="*/ 119993 h 11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9021" h="119993">
                      <a:moveTo>
                        <a:pt x="94516" y="119993"/>
                      </a:moveTo>
                      <a:cubicBezTo>
                        <a:pt x="93326" y="119993"/>
                        <a:pt x="92143" y="119688"/>
                        <a:pt x="91075" y="119081"/>
                      </a:cubicBezTo>
                      <a:lnTo>
                        <a:pt x="3493" y="69032"/>
                      </a:lnTo>
                      <a:cubicBezTo>
                        <a:pt x="1334" y="67799"/>
                        <a:pt x="0" y="65500"/>
                        <a:pt x="0" y="63011"/>
                      </a:cubicBezTo>
                      <a:lnTo>
                        <a:pt x="0" y="6934"/>
                      </a:lnTo>
                      <a:cubicBezTo>
                        <a:pt x="0" y="3103"/>
                        <a:pt x="3103" y="0"/>
                        <a:pt x="6934" y="0"/>
                      </a:cubicBezTo>
                      <a:cubicBezTo>
                        <a:pt x="10764" y="0"/>
                        <a:pt x="13867" y="3107"/>
                        <a:pt x="13867" y="6934"/>
                      </a:cubicBezTo>
                      <a:lnTo>
                        <a:pt x="13867" y="58987"/>
                      </a:lnTo>
                      <a:lnTo>
                        <a:pt x="94513" y="105069"/>
                      </a:lnTo>
                      <a:lnTo>
                        <a:pt x="175154" y="58987"/>
                      </a:lnTo>
                      <a:lnTo>
                        <a:pt x="175154" y="6934"/>
                      </a:lnTo>
                      <a:cubicBezTo>
                        <a:pt x="175154" y="3103"/>
                        <a:pt x="178261" y="0"/>
                        <a:pt x="182088" y="0"/>
                      </a:cubicBezTo>
                      <a:cubicBezTo>
                        <a:pt x="185918" y="0"/>
                        <a:pt x="189021" y="3107"/>
                        <a:pt x="189021" y="6934"/>
                      </a:cubicBezTo>
                      <a:lnTo>
                        <a:pt x="189021" y="63011"/>
                      </a:lnTo>
                      <a:cubicBezTo>
                        <a:pt x="189021" y="65500"/>
                        <a:pt x="187687" y="67799"/>
                        <a:pt x="185528" y="69032"/>
                      </a:cubicBezTo>
                      <a:lnTo>
                        <a:pt x="97953" y="119077"/>
                      </a:lnTo>
                      <a:cubicBezTo>
                        <a:pt x="96889" y="119688"/>
                        <a:pt x="95703" y="119993"/>
                        <a:pt x="94516" y="119993"/>
                      </a:cubicBezTo>
                      <a:close/>
                    </a:path>
                  </a:pathLst>
                </a:custGeom>
                <a:grpFill/>
                <a:ln w="351" cap="flat">
                  <a:noFill/>
                  <a:prstDash val="solid"/>
                  <a:miter/>
                </a:ln>
              </p:spPr>
              <p:txBody>
                <a:bodyPr rtlCol="0" anchor="ctr"/>
                <a:lstStyle/>
                <a:p>
                  <a:endParaRPr lang="en-GB" dirty="0"/>
                </a:p>
              </p:txBody>
            </p:sp>
            <p:sp>
              <p:nvSpPr>
                <p:cNvPr id="441" name="Freihandform: Form 53">
                  <a:extLst>
                    <a:ext uri="{FF2B5EF4-FFF2-40B4-BE49-F238E27FC236}">
                      <a16:creationId xmlns:a16="http://schemas.microsoft.com/office/drawing/2014/main" id="{7D620F01-EEF5-4E5E-82EF-DC92F084DFCF}"/>
                    </a:ext>
                  </a:extLst>
                </p:cNvPr>
                <p:cNvSpPr/>
                <p:nvPr/>
              </p:nvSpPr>
              <p:spPr>
                <a:xfrm>
                  <a:off x="1831575" y="1676247"/>
                  <a:ext cx="189024" cy="63911"/>
                </a:xfrm>
                <a:custGeom>
                  <a:avLst/>
                  <a:gdLst>
                    <a:gd name="connsiteX0" fmla="*/ 6942 w 189024"/>
                    <a:gd name="connsiteY0" fmla="*/ 63910 h 63911"/>
                    <a:gd name="connsiteX1" fmla="*/ 914 w 189024"/>
                    <a:gd name="connsiteY1" fmla="*/ 60417 h 63911"/>
                    <a:gd name="connsiteX2" fmla="*/ 3495 w 189024"/>
                    <a:gd name="connsiteY2" fmla="*/ 50956 h 63911"/>
                    <a:gd name="connsiteX3" fmla="*/ 91074 w 189024"/>
                    <a:gd name="connsiteY3" fmla="*/ 914 h 63911"/>
                    <a:gd name="connsiteX4" fmla="*/ 97955 w 189024"/>
                    <a:gd name="connsiteY4" fmla="*/ 914 h 63911"/>
                    <a:gd name="connsiteX5" fmla="*/ 185530 w 189024"/>
                    <a:gd name="connsiteY5" fmla="*/ 50956 h 63911"/>
                    <a:gd name="connsiteX6" fmla="*/ 188110 w 189024"/>
                    <a:gd name="connsiteY6" fmla="*/ 60417 h 63911"/>
                    <a:gd name="connsiteX7" fmla="*/ 178649 w 189024"/>
                    <a:gd name="connsiteY7" fmla="*/ 62998 h 63911"/>
                    <a:gd name="connsiteX8" fmla="*/ 94514 w 189024"/>
                    <a:gd name="connsiteY8" fmla="*/ 14922 h 63911"/>
                    <a:gd name="connsiteX9" fmla="*/ 10376 w 189024"/>
                    <a:gd name="connsiteY9" fmla="*/ 62998 h 63911"/>
                    <a:gd name="connsiteX10" fmla="*/ 6942 w 189024"/>
                    <a:gd name="connsiteY10" fmla="*/ 63910 h 63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9024" h="63911">
                      <a:moveTo>
                        <a:pt x="6942" y="63910"/>
                      </a:moveTo>
                      <a:cubicBezTo>
                        <a:pt x="4534" y="63910"/>
                        <a:pt x="2196" y="62657"/>
                        <a:pt x="914" y="60417"/>
                      </a:cubicBezTo>
                      <a:cubicBezTo>
                        <a:pt x="-985" y="57092"/>
                        <a:pt x="170" y="52855"/>
                        <a:pt x="3495" y="50956"/>
                      </a:cubicBezTo>
                      <a:lnTo>
                        <a:pt x="91074" y="914"/>
                      </a:lnTo>
                      <a:cubicBezTo>
                        <a:pt x="93208" y="-305"/>
                        <a:pt x="95820" y="-305"/>
                        <a:pt x="97955" y="914"/>
                      </a:cubicBezTo>
                      <a:lnTo>
                        <a:pt x="185530" y="50956"/>
                      </a:lnTo>
                      <a:cubicBezTo>
                        <a:pt x="188855" y="52855"/>
                        <a:pt x="190010" y="57092"/>
                        <a:pt x="188110" y="60417"/>
                      </a:cubicBezTo>
                      <a:cubicBezTo>
                        <a:pt x="186218" y="63742"/>
                        <a:pt x="181974" y="64897"/>
                        <a:pt x="178649" y="62998"/>
                      </a:cubicBezTo>
                      <a:lnTo>
                        <a:pt x="94514" y="14922"/>
                      </a:lnTo>
                      <a:lnTo>
                        <a:pt x="10376" y="62998"/>
                      </a:lnTo>
                      <a:cubicBezTo>
                        <a:pt x="9295" y="63615"/>
                        <a:pt x="8108" y="63910"/>
                        <a:pt x="6942" y="63910"/>
                      </a:cubicBezTo>
                      <a:close/>
                    </a:path>
                  </a:pathLst>
                </a:custGeom>
                <a:grpFill/>
                <a:ln w="351" cap="flat">
                  <a:noFill/>
                  <a:prstDash val="solid"/>
                  <a:miter/>
                </a:ln>
              </p:spPr>
              <p:txBody>
                <a:bodyPr rtlCol="0" anchor="ctr"/>
                <a:lstStyle/>
                <a:p>
                  <a:endParaRPr lang="en-GB" dirty="0"/>
                </a:p>
              </p:txBody>
            </p:sp>
            <p:sp>
              <p:nvSpPr>
                <p:cNvPr id="442" name="Freihandform: Form 54">
                  <a:extLst>
                    <a:ext uri="{FF2B5EF4-FFF2-40B4-BE49-F238E27FC236}">
                      <a16:creationId xmlns:a16="http://schemas.microsoft.com/office/drawing/2014/main" id="{9EBC68C0-8146-40C0-A14D-374F29A9C680}"/>
                    </a:ext>
                  </a:extLst>
                </p:cNvPr>
                <p:cNvSpPr/>
                <p:nvPr/>
              </p:nvSpPr>
              <p:spPr>
                <a:xfrm>
                  <a:off x="1919157" y="1725999"/>
                  <a:ext cx="101445" cy="63906"/>
                </a:xfrm>
                <a:custGeom>
                  <a:avLst/>
                  <a:gdLst>
                    <a:gd name="connsiteX0" fmla="*/ 6942 w 101445"/>
                    <a:gd name="connsiteY0" fmla="*/ 63906 h 63906"/>
                    <a:gd name="connsiteX1" fmla="*/ 914 w 101445"/>
                    <a:gd name="connsiteY1" fmla="*/ 60413 h 63906"/>
                    <a:gd name="connsiteX2" fmla="*/ 3495 w 101445"/>
                    <a:gd name="connsiteY2" fmla="*/ 50952 h 63906"/>
                    <a:gd name="connsiteX3" fmla="*/ 91070 w 101445"/>
                    <a:gd name="connsiteY3" fmla="*/ 910 h 63906"/>
                    <a:gd name="connsiteX4" fmla="*/ 100531 w 101445"/>
                    <a:gd name="connsiteY4" fmla="*/ 3490 h 63906"/>
                    <a:gd name="connsiteX5" fmla="*/ 97951 w 101445"/>
                    <a:gd name="connsiteY5" fmla="*/ 12952 h 63906"/>
                    <a:gd name="connsiteX6" fmla="*/ 10376 w 101445"/>
                    <a:gd name="connsiteY6" fmla="*/ 62994 h 63906"/>
                    <a:gd name="connsiteX7" fmla="*/ 6942 w 101445"/>
                    <a:gd name="connsiteY7" fmla="*/ 63906 h 6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445" h="63906">
                      <a:moveTo>
                        <a:pt x="6942" y="63906"/>
                      </a:moveTo>
                      <a:cubicBezTo>
                        <a:pt x="4534" y="63906"/>
                        <a:pt x="2196" y="62653"/>
                        <a:pt x="914" y="60413"/>
                      </a:cubicBezTo>
                      <a:cubicBezTo>
                        <a:pt x="-985" y="57088"/>
                        <a:pt x="170" y="52851"/>
                        <a:pt x="3495" y="50952"/>
                      </a:cubicBezTo>
                      <a:lnTo>
                        <a:pt x="91070" y="910"/>
                      </a:lnTo>
                      <a:cubicBezTo>
                        <a:pt x="94395" y="-979"/>
                        <a:pt x="98639" y="165"/>
                        <a:pt x="100531" y="3490"/>
                      </a:cubicBezTo>
                      <a:cubicBezTo>
                        <a:pt x="102431" y="6815"/>
                        <a:pt x="101276" y="11052"/>
                        <a:pt x="97951" y="12952"/>
                      </a:cubicBezTo>
                      <a:lnTo>
                        <a:pt x="10376" y="62994"/>
                      </a:lnTo>
                      <a:cubicBezTo>
                        <a:pt x="9291" y="63615"/>
                        <a:pt x="8108" y="63906"/>
                        <a:pt x="6942" y="63906"/>
                      </a:cubicBezTo>
                      <a:close/>
                    </a:path>
                  </a:pathLst>
                </a:custGeom>
                <a:grpFill/>
                <a:ln w="351" cap="flat">
                  <a:noFill/>
                  <a:prstDash val="solid"/>
                  <a:miter/>
                </a:ln>
              </p:spPr>
              <p:txBody>
                <a:bodyPr rtlCol="0" anchor="ctr"/>
                <a:lstStyle/>
                <a:p>
                  <a:endParaRPr lang="en-GB" dirty="0"/>
                </a:p>
              </p:txBody>
            </p:sp>
            <p:sp>
              <p:nvSpPr>
                <p:cNvPr id="443" name="Freihandform: Form 55">
                  <a:extLst>
                    <a:ext uri="{FF2B5EF4-FFF2-40B4-BE49-F238E27FC236}">
                      <a16:creationId xmlns:a16="http://schemas.microsoft.com/office/drawing/2014/main" id="{3D006700-261F-45BB-BA23-257B3933E9CB}"/>
                    </a:ext>
                  </a:extLst>
                </p:cNvPr>
                <p:cNvSpPr/>
                <p:nvPr/>
              </p:nvSpPr>
              <p:spPr>
                <a:xfrm>
                  <a:off x="1919159" y="1776037"/>
                  <a:ext cx="13867" cy="113958"/>
                </a:xfrm>
                <a:custGeom>
                  <a:avLst/>
                  <a:gdLst>
                    <a:gd name="connsiteX0" fmla="*/ 6934 w 13867"/>
                    <a:gd name="connsiteY0" fmla="*/ 113958 h 113958"/>
                    <a:gd name="connsiteX1" fmla="*/ 0 w 13867"/>
                    <a:gd name="connsiteY1" fmla="*/ 107025 h 113958"/>
                    <a:gd name="connsiteX2" fmla="*/ 0 w 13867"/>
                    <a:gd name="connsiteY2" fmla="*/ 6934 h 113958"/>
                    <a:gd name="connsiteX3" fmla="*/ 6934 w 13867"/>
                    <a:gd name="connsiteY3" fmla="*/ 0 h 113958"/>
                    <a:gd name="connsiteX4" fmla="*/ 13867 w 13867"/>
                    <a:gd name="connsiteY4" fmla="*/ 6934 h 113958"/>
                    <a:gd name="connsiteX5" fmla="*/ 13867 w 13867"/>
                    <a:gd name="connsiteY5" fmla="*/ 107021 h 113958"/>
                    <a:gd name="connsiteX6" fmla="*/ 6934 w 13867"/>
                    <a:gd name="connsiteY6" fmla="*/ 113958 h 113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7" h="113958">
                      <a:moveTo>
                        <a:pt x="6934" y="113958"/>
                      </a:moveTo>
                      <a:cubicBezTo>
                        <a:pt x="3103" y="113958"/>
                        <a:pt x="0" y="110855"/>
                        <a:pt x="0" y="107025"/>
                      </a:cubicBezTo>
                      <a:lnTo>
                        <a:pt x="0" y="6934"/>
                      </a:lnTo>
                      <a:cubicBezTo>
                        <a:pt x="0" y="3103"/>
                        <a:pt x="3103" y="0"/>
                        <a:pt x="6934" y="0"/>
                      </a:cubicBezTo>
                      <a:cubicBezTo>
                        <a:pt x="10764" y="0"/>
                        <a:pt x="13867" y="3107"/>
                        <a:pt x="13867" y="6934"/>
                      </a:cubicBezTo>
                      <a:lnTo>
                        <a:pt x="13867" y="107021"/>
                      </a:lnTo>
                      <a:cubicBezTo>
                        <a:pt x="13867" y="110851"/>
                        <a:pt x="10764" y="113958"/>
                        <a:pt x="6934" y="113958"/>
                      </a:cubicBezTo>
                      <a:close/>
                    </a:path>
                  </a:pathLst>
                </a:custGeom>
                <a:grpFill/>
                <a:ln w="351" cap="flat">
                  <a:noFill/>
                  <a:prstDash val="solid"/>
                  <a:miter/>
                </a:ln>
              </p:spPr>
              <p:txBody>
                <a:bodyPr rtlCol="0" anchor="ctr"/>
                <a:lstStyle/>
                <a:p>
                  <a:endParaRPr lang="en-GB" dirty="0"/>
                </a:p>
              </p:txBody>
            </p:sp>
            <p:sp>
              <p:nvSpPr>
                <p:cNvPr id="444" name="Freihandform: Form 56">
                  <a:extLst>
                    <a:ext uri="{FF2B5EF4-FFF2-40B4-BE49-F238E27FC236}">
                      <a16:creationId xmlns:a16="http://schemas.microsoft.com/office/drawing/2014/main" id="{98D09E66-8B53-4E75-8601-EE6617248D79}"/>
                    </a:ext>
                  </a:extLst>
                </p:cNvPr>
                <p:cNvSpPr/>
                <p:nvPr/>
              </p:nvSpPr>
              <p:spPr>
                <a:xfrm>
                  <a:off x="1793376" y="1726257"/>
                  <a:ext cx="139651" cy="85526"/>
                </a:xfrm>
                <a:custGeom>
                  <a:avLst/>
                  <a:gdLst>
                    <a:gd name="connsiteX0" fmla="*/ 94428 w 139651"/>
                    <a:gd name="connsiteY0" fmla="*/ 85527 h 85526"/>
                    <a:gd name="connsiteX1" fmla="*/ 90991 w 139651"/>
                    <a:gd name="connsiteY1" fmla="*/ 84618 h 85526"/>
                    <a:gd name="connsiteX2" fmla="*/ 3500 w 139651"/>
                    <a:gd name="connsiteY2" fmla="*/ 34723 h 85526"/>
                    <a:gd name="connsiteX3" fmla="*/ 0 w 139651"/>
                    <a:gd name="connsiteY3" fmla="*/ 28695 h 85526"/>
                    <a:gd name="connsiteX4" fmla="*/ 3507 w 139651"/>
                    <a:gd name="connsiteY4" fmla="*/ 22667 h 85526"/>
                    <a:gd name="connsiteX5" fmla="*/ 41799 w 139651"/>
                    <a:gd name="connsiteY5" fmla="*/ 904 h 85526"/>
                    <a:gd name="connsiteX6" fmla="*/ 48655 w 139651"/>
                    <a:gd name="connsiteY6" fmla="*/ 908 h 85526"/>
                    <a:gd name="connsiteX7" fmla="*/ 136146 w 139651"/>
                    <a:gd name="connsiteY7" fmla="*/ 50690 h 85526"/>
                    <a:gd name="connsiteX8" fmla="*/ 138744 w 139651"/>
                    <a:gd name="connsiteY8" fmla="*/ 60148 h 85526"/>
                    <a:gd name="connsiteX9" fmla="*/ 135918 w 139651"/>
                    <a:gd name="connsiteY9" fmla="*/ 62872 h 85526"/>
                    <a:gd name="connsiteX10" fmla="*/ 97869 w 139651"/>
                    <a:gd name="connsiteY10" fmla="*/ 84614 h 85526"/>
                    <a:gd name="connsiteX11" fmla="*/ 94428 w 139651"/>
                    <a:gd name="connsiteY11" fmla="*/ 85527 h 85526"/>
                    <a:gd name="connsiteX12" fmla="*/ 20952 w 139651"/>
                    <a:gd name="connsiteY12" fmla="*/ 28706 h 85526"/>
                    <a:gd name="connsiteX13" fmla="*/ 94425 w 139651"/>
                    <a:gd name="connsiteY13" fmla="*/ 70603 h 85526"/>
                    <a:gd name="connsiteX14" fmla="*/ 118712 w 139651"/>
                    <a:gd name="connsiteY14" fmla="*/ 56721 h 85526"/>
                    <a:gd name="connsiteX15" fmla="*/ 45222 w 139651"/>
                    <a:gd name="connsiteY15" fmla="*/ 14908 h 85526"/>
                    <a:gd name="connsiteX16" fmla="*/ 20952 w 139651"/>
                    <a:gd name="connsiteY16" fmla="*/ 28706 h 8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651" h="85526">
                      <a:moveTo>
                        <a:pt x="94428" y="85527"/>
                      </a:moveTo>
                      <a:cubicBezTo>
                        <a:pt x="93242" y="85527"/>
                        <a:pt x="92059" y="85221"/>
                        <a:pt x="90991" y="84618"/>
                      </a:cubicBezTo>
                      <a:lnTo>
                        <a:pt x="3500" y="34723"/>
                      </a:lnTo>
                      <a:cubicBezTo>
                        <a:pt x="1334" y="33487"/>
                        <a:pt x="-4" y="31188"/>
                        <a:pt x="0" y="28695"/>
                      </a:cubicBezTo>
                      <a:cubicBezTo>
                        <a:pt x="4" y="26199"/>
                        <a:pt x="1341" y="23899"/>
                        <a:pt x="3507" y="22667"/>
                      </a:cubicBezTo>
                      <a:lnTo>
                        <a:pt x="41799" y="904"/>
                      </a:lnTo>
                      <a:cubicBezTo>
                        <a:pt x="43926" y="-300"/>
                        <a:pt x="46528" y="-304"/>
                        <a:pt x="48655" y="908"/>
                      </a:cubicBezTo>
                      <a:lnTo>
                        <a:pt x="136146" y="50690"/>
                      </a:lnTo>
                      <a:cubicBezTo>
                        <a:pt x="139475" y="52582"/>
                        <a:pt x="140637" y="56820"/>
                        <a:pt x="138744" y="60148"/>
                      </a:cubicBezTo>
                      <a:cubicBezTo>
                        <a:pt x="138056" y="61352"/>
                        <a:pt x="137066" y="62275"/>
                        <a:pt x="135918" y="62872"/>
                      </a:cubicBezTo>
                      <a:lnTo>
                        <a:pt x="97869" y="84614"/>
                      </a:lnTo>
                      <a:cubicBezTo>
                        <a:pt x="96802" y="85221"/>
                        <a:pt x="95615" y="85527"/>
                        <a:pt x="94428" y="85527"/>
                      </a:cubicBezTo>
                      <a:close/>
                      <a:moveTo>
                        <a:pt x="20952" y="28706"/>
                      </a:moveTo>
                      <a:lnTo>
                        <a:pt x="94425" y="70603"/>
                      </a:lnTo>
                      <a:lnTo>
                        <a:pt x="118712" y="56721"/>
                      </a:lnTo>
                      <a:lnTo>
                        <a:pt x="45222" y="14908"/>
                      </a:lnTo>
                      <a:lnTo>
                        <a:pt x="20952" y="28706"/>
                      </a:lnTo>
                      <a:close/>
                    </a:path>
                  </a:pathLst>
                </a:custGeom>
                <a:grpFill/>
                <a:ln w="351" cap="flat">
                  <a:noFill/>
                  <a:prstDash val="solid"/>
                  <a:miter/>
                </a:ln>
              </p:spPr>
              <p:txBody>
                <a:bodyPr rtlCol="0" anchor="ctr"/>
                <a:lstStyle/>
                <a:p>
                  <a:endParaRPr lang="en-GB" dirty="0"/>
                </a:p>
              </p:txBody>
            </p:sp>
            <p:sp>
              <p:nvSpPr>
                <p:cNvPr id="445" name="Freihandform: Form 57">
                  <a:extLst>
                    <a:ext uri="{FF2B5EF4-FFF2-40B4-BE49-F238E27FC236}">
                      <a16:creationId xmlns:a16="http://schemas.microsoft.com/office/drawing/2014/main" id="{F2A070D7-543E-41D5-9A6E-79530A3E3850}"/>
                    </a:ext>
                  </a:extLst>
                </p:cNvPr>
                <p:cNvSpPr/>
                <p:nvPr/>
              </p:nvSpPr>
              <p:spPr>
                <a:xfrm>
                  <a:off x="1919225" y="1654501"/>
                  <a:ext cx="139650" cy="85526"/>
                </a:xfrm>
                <a:custGeom>
                  <a:avLst/>
                  <a:gdLst>
                    <a:gd name="connsiteX0" fmla="*/ 94432 w 139650"/>
                    <a:gd name="connsiteY0" fmla="*/ 85527 h 85526"/>
                    <a:gd name="connsiteX1" fmla="*/ 90995 w 139650"/>
                    <a:gd name="connsiteY1" fmla="*/ 84618 h 85526"/>
                    <a:gd name="connsiteX2" fmla="*/ 68803 w 139650"/>
                    <a:gd name="connsiteY2" fmla="*/ 71961 h 85526"/>
                    <a:gd name="connsiteX3" fmla="*/ 68807 w 139650"/>
                    <a:gd name="connsiteY3" fmla="*/ 71961 h 85526"/>
                    <a:gd name="connsiteX4" fmla="*/ 3500 w 139650"/>
                    <a:gd name="connsiteY4" fmla="*/ 34723 h 85526"/>
                    <a:gd name="connsiteX5" fmla="*/ 0 w 139650"/>
                    <a:gd name="connsiteY5" fmla="*/ 28695 h 85526"/>
                    <a:gd name="connsiteX6" fmla="*/ 3507 w 139650"/>
                    <a:gd name="connsiteY6" fmla="*/ 22667 h 85526"/>
                    <a:gd name="connsiteX7" fmla="*/ 41802 w 139650"/>
                    <a:gd name="connsiteY7" fmla="*/ 904 h 85526"/>
                    <a:gd name="connsiteX8" fmla="*/ 48659 w 139650"/>
                    <a:gd name="connsiteY8" fmla="*/ 908 h 85526"/>
                    <a:gd name="connsiteX9" fmla="*/ 136146 w 139650"/>
                    <a:gd name="connsiteY9" fmla="*/ 50690 h 85526"/>
                    <a:gd name="connsiteX10" fmla="*/ 139650 w 139650"/>
                    <a:gd name="connsiteY10" fmla="*/ 56711 h 85526"/>
                    <a:gd name="connsiteX11" fmla="*/ 136157 w 139650"/>
                    <a:gd name="connsiteY11" fmla="*/ 62739 h 85526"/>
                    <a:gd name="connsiteX12" fmla="*/ 97869 w 139650"/>
                    <a:gd name="connsiteY12" fmla="*/ 84614 h 85526"/>
                    <a:gd name="connsiteX13" fmla="*/ 94432 w 139650"/>
                    <a:gd name="connsiteY13" fmla="*/ 85527 h 85526"/>
                    <a:gd name="connsiteX14" fmla="*/ 20956 w 139650"/>
                    <a:gd name="connsiteY14" fmla="*/ 28706 h 85526"/>
                    <a:gd name="connsiteX15" fmla="*/ 75674 w 139650"/>
                    <a:gd name="connsiteY15" fmla="*/ 59909 h 85526"/>
                    <a:gd name="connsiteX16" fmla="*/ 75677 w 139650"/>
                    <a:gd name="connsiteY16" fmla="*/ 59909 h 85526"/>
                    <a:gd name="connsiteX17" fmla="*/ 94428 w 139650"/>
                    <a:gd name="connsiteY17" fmla="*/ 70603 h 85526"/>
                    <a:gd name="connsiteX18" fmla="*/ 118719 w 139650"/>
                    <a:gd name="connsiteY18" fmla="*/ 56725 h 85526"/>
                    <a:gd name="connsiteX19" fmla="*/ 45229 w 139650"/>
                    <a:gd name="connsiteY19" fmla="*/ 14912 h 85526"/>
                    <a:gd name="connsiteX20" fmla="*/ 20956 w 139650"/>
                    <a:gd name="connsiteY20" fmla="*/ 28706 h 8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650" h="85526">
                      <a:moveTo>
                        <a:pt x="94432" y="85527"/>
                      </a:moveTo>
                      <a:cubicBezTo>
                        <a:pt x="93245" y="85527"/>
                        <a:pt x="92062" y="85221"/>
                        <a:pt x="90995" y="84618"/>
                      </a:cubicBezTo>
                      <a:lnTo>
                        <a:pt x="68803" y="71961"/>
                      </a:lnTo>
                      <a:lnTo>
                        <a:pt x="68807" y="71961"/>
                      </a:lnTo>
                      <a:lnTo>
                        <a:pt x="3500" y="34723"/>
                      </a:lnTo>
                      <a:cubicBezTo>
                        <a:pt x="1334" y="33487"/>
                        <a:pt x="-4" y="31188"/>
                        <a:pt x="0" y="28695"/>
                      </a:cubicBezTo>
                      <a:cubicBezTo>
                        <a:pt x="4" y="26199"/>
                        <a:pt x="1341" y="23899"/>
                        <a:pt x="3507" y="22667"/>
                      </a:cubicBezTo>
                      <a:lnTo>
                        <a:pt x="41802" y="904"/>
                      </a:lnTo>
                      <a:cubicBezTo>
                        <a:pt x="43930" y="-300"/>
                        <a:pt x="46531" y="-304"/>
                        <a:pt x="48659" y="908"/>
                      </a:cubicBezTo>
                      <a:lnTo>
                        <a:pt x="136146" y="50690"/>
                      </a:lnTo>
                      <a:cubicBezTo>
                        <a:pt x="138309" y="51922"/>
                        <a:pt x="139647" y="54222"/>
                        <a:pt x="139650" y="56711"/>
                      </a:cubicBezTo>
                      <a:cubicBezTo>
                        <a:pt x="139654" y="59203"/>
                        <a:pt x="138319" y="61503"/>
                        <a:pt x="136157" y="62739"/>
                      </a:cubicBezTo>
                      <a:lnTo>
                        <a:pt x="97869" y="84614"/>
                      </a:lnTo>
                      <a:cubicBezTo>
                        <a:pt x="96809" y="85221"/>
                        <a:pt x="95622" y="85527"/>
                        <a:pt x="94432" y="85527"/>
                      </a:cubicBezTo>
                      <a:close/>
                      <a:moveTo>
                        <a:pt x="20956" y="28706"/>
                      </a:moveTo>
                      <a:lnTo>
                        <a:pt x="75674" y="59909"/>
                      </a:lnTo>
                      <a:cubicBezTo>
                        <a:pt x="75677" y="59909"/>
                        <a:pt x="75677" y="59909"/>
                        <a:pt x="75677" y="59909"/>
                      </a:cubicBezTo>
                      <a:lnTo>
                        <a:pt x="94428" y="70603"/>
                      </a:lnTo>
                      <a:lnTo>
                        <a:pt x="118719" y="56725"/>
                      </a:lnTo>
                      <a:lnTo>
                        <a:pt x="45229" y="14912"/>
                      </a:lnTo>
                      <a:lnTo>
                        <a:pt x="20956" y="28706"/>
                      </a:lnTo>
                      <a:close/>
                    </a:path>
                  </a:pathLst>
                </a:custGeom>
                <a:grpFill/>
                <a:ln w="351" cap="flat">
                  <a:noFill/>
                  <a:prstDash val="solid"/>
                  <a:miter/>
                </a:ln>
              </p:spPr>
              <p:txBody>
                <a:bodyPr rtlCol="0" anchor="ctr"/>
                <a:lstStyle/>
                <a:p>
                  <a:endParaRPr lang="en-GB" dirty="0"/>
                </a:p>
              </p:txBody>
            </p:sp>
            <p:sp>
              <p:nvSpPr>
                <p:cNvPr id="446" name="Freihandform: Form 58">
                  <a:extLst>
                    <a:ext uri="{FF2B5EF4-FFF2-40B4-BE49-F238E27FC236}">
                      <a16:creationId xmlns:a16="http://schemas.microsoft.com/office/drawing/2014/main" id="{49A02150-A2CD-4C31-BF90-C51120135216}"/>
                    </a:ext>
                  </a:extLst>
                </p:cNvPr>
                <p:cNvSpPr/>
                <p:nvPr/>
              </p:nvSpPr>
              <p:spPr>
                <a:xfrm>
                  <a:off x="1919257" y="1726284"/>
                  <a:ext cx="139646" cy="85531"/>
                </a:xfrm>
                <a:custGeom>
                  <a:avLst/>
                  <a:gdLst>
                    <a:gd name="connsiteX0" fmla="*/ 45218 w 139646"/>
                    <a:gd name="connsiteY0" fmla="*/ 85531 h 85531"/>
                    <a:gd name="connsiteX1" fmla="*/ 41778 w 139646"/>
                    <a:gd name="connsiteY1" fmla="*/ 84618 h 85531"/>
                    <a:gd name="connsiteX2" fmla="*/ 3493 w 139646"/>
                    <a:gd name="connsiteY2" fmla="*/ 62743 h 85531"/>
                    <a:gd name="connsiteX3" fmla="*/ 0 w 139646"/>
                    <a:gd name="connsiteY3" fmla="*/ 56715 h 85531"/>
                    <a:gd name="connsiteX4" fmla="*/ 3504 w 139646"/>
                    <a:gd name="connsiteY4" fmla="*/ 50694 h 85531"/>
                    <a:gd name="connsiteX5" fmla="*/ 90991 w 139646"/>
                    <a:gd name="connsiteY5" fmla="*/ 908 h 85531"/>
                    <a:gd name="connsiteX6" fmla="*/ 97848 w 139646"/>
                    <a:gd name="connsiteY6" fmla="*/ 908 h 85531"/>
                    <a:gd name="connsiteX7" fmla="*/ 136139 w 139646"/>
                    <a:gd name="connsiteY7" fmla="*/ 22675 h 85531"/>
                    <a:gd name="connsiteX8" fmla="*/ 139647 w 139646"/>
                    <a:gd name="connsiteY8" fmla="*/ 28699 h 85531"/>
                    <a:gd name="connsiteX9" fmla="*/ 136146 w 139646"/>
                    <a:gd name="connsiteY9" fmla="*/ 34727 h 85531"/>
                    <a:gd name="connsiteX10" fmla="*/ 48655 w 139646"/>
                    <a:gd name="connsiteY10" fmla="*/ 84622 h 85531"/>
                    <a:gd name="connsiteX11" fmla="*/ 45218 w 139646"/>
                    <a:gd name="connsiteY11" fmla="*/ 85531 h 85531"/>
                    <a:gd name="connsiteX12" fmla="*/ 20934 w 139646"/>
                    <a:gd name="connsiteY12" fmla="*/ 56736 h 85531"/>
                    <a:gd name="connsiteX13" fmla="*/ 45222 w 139646"/>
                    <a:gd name="connsiteY13" fmla="*/ 70614 h 85531"/>
                    <a:gd name="connsiteX14" fmla="*/ 118698 w 139646"/>
                    <a:gd name="connsiteY14" fmla="*/ 28717 h 85531"/>
                    <a:gd name="connsiteX15" fmla="*/ 94425 w 139646"/>
                    <a:gd name="connsiteY15" fmla="*/ 14916 h 85531"/>
                    <a:gd name="connsiteX16" fmla="*/ 20934 w 139646"/>
                    <a:gd name="connsiteY16" fmla="*/ 56736 h 85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646" h="85531">
                      <a:moveTo>
                        <a:pt x="45218" y="85531"/>
                      </a:moveTo>
                      <a:cubicBezTo>
                        <a:pt x="44028" y="85531"/>
                        <a:pt x="42845" y="85226"/>
                        <a:pt x="41778" y="84618"/>
                      </a:cubicBezTo>
                      <a:lnTo>
                        <a:pt x="3493" y="62743"/>
                      </a:lnTo>
                      <a:cubicBezTo>
                        <a:pt x="1331" y="61507"/>
                        <a:pt x="-4" y="59208"/>
                        <a:pt x="0" y="56715"/>
                      </a:cubicBezTo>
                      <a:cubicBezTo>
                        <a:pt x="4" y="54226"/>
                        <a:pt x="1341" y="51926"/>
                        <a:pt x="3504" y="50694"/>
                      </a:cubicBezTo>
                      <a:lnTo>
                        <a:pt x="90991" y="908"/>
                      </a:lnTo>
                      <a:cubicBezTo>
                        <a:pt x="93119" y="-303"/>
                        <a:pt x="95720" y="-303"/>
                        <a:pt x="97848" y="908"/>
                      </a:cubicBezTo>
                      <a:lnTo>
                        <a:pt x="136139" y="22675"/>
                      </a:lnTo>
                      <a:cubicBezTo>
                        <a:pt x="138305" y="23904"/>
                        <a:pt x="139647" y="26207"/>
                        <a:pt x="139647" y="28699"/>
                      </a:cubicBezTo>
                      <a:cubicBezTo>
                        <a:pt x="139647" y="31192"/>
                        <a:pt x="138312" y="33492"/>
                        <a:pt x="136146" y="34727"/>
                      </a:cubicBezTo>
                      <a:lnTo>
                        <a:pt x="48655" y="84622"/>
                      </a:lnTo>
                      <a:cubicBezTo>
                        <a:pt x="47588" y="85226"/>
                        <a:pt x="46405" y="85531"/>
                        <a:pt x="45218" y="85531"/>
                      </a:cubicBezTo>
                      <a:close/>
                      <a:moveTo>
                        <a:pt x="20934" y="56736"/>
                      </a:moveTo>
                      <a:lnTo>
                        <a:pt x="45222" y="70614"/>
                      </a:lnTo>
                      <a:lnTo>
                        <a:pt x="118698" y="28717"/>
                      </a:lnTo>
                      <a:lnTo>
                        <a:pt x="94425" y="14916"/>
                      </a:lnTo>
                      <a:lnTo>
                        <a:pt x="20934" y="56736"/>
                      </a:lnTo>
                      <a:close/>
                    </a:path>
                  </a:pathLst>
                </a:custGeom>
                <a:grpFill/>
                <a:ln w="351" cap="flat">
                  <a:noFill/>
                  <a:prstDash val="solid"/>
                  <a:miter/>
                </a:ln>
              </p:spPr>
              <p:txBody>
                <a:bodyPr rtlCol="0" anchor="ctr"/>
                <a:lstStyle/>
                <a:p>
                  <a:endParaRPr lang="en-GB" dirty="0"/>
                </a:p>
              </p:txBody>
            </p:sp>
            <p:sp>
              <p:nvSpPr>
                <p:cNvPr id="447" name="Freihandform: Form 59">
                  <a:extLst>
                    <a:ext uri="{FF2B5EF4-FFF2-40B4-BE49-F238E27FC236}">
                      <a16:creationId xmlns:a16="http://schemas.microsoft.com/office/drawing/2014/main" id="{451F5CEB-0EB8-42EF-9B17-425E27B7B0A9}"/>
                    </a:ext>
                  </a:extLst>
                </p:cNvPr>
                <p:cNvSpPr/>
                <p:nvPr/>
              </p:nvSpPr>
              <p:spPr>
                <a:xfrm>
                  <a:off x="1793387" y="1654592"/>
                  <a:ext cx="139650" cy="85530"/>
                </a:xfrm>
                <a:custGeom>
                  <a:avLst/>
                  <a:gdLst>
                    <a:gd name="connsiteX0" fmla="*/ 45222 w 139650"/>
                    <a:gd name="connsiteY0" fmla="*/ 85530 h 85530"/>
                    <a:gd name="connsiteX1" fmla="*/ 41781 w 139650"/>
                    <a:gd name="connsiteY1" fmla="*/ 84618 h 85530"/>
                    <a:gd name="connsiteX2" fmla="*/ 3493 w 139650"/>
                    <a:gd name="connsiteY2" fmla="*/ 62739 h 85530"/>
                    <a:gd name="connsiteX3" fmla="*/ 0 w 139650"/>
                    <a:gd name="connsiteY3" fmla="*/ 56711 h 85530"/>
                    <a:gd name="connsiteX4" fmla="*/ 3504 w 139650"/>
                    <a:gd name="connsiteY4" fmla="*/ 50690 h 85530"/>
                    <a:gd name="connsiteX5" fmla="*/ 90991 w 139650"/>
                    <a:gd name="connsiteY5" fmla="*/ 908 h 85530"/>
                    <a:gd name="connsiteX6" fmla="*/ 97848 w 139650"/>
                    <a:gd name="connsiteY6" fmla="*/ 904 h 85530"/>
                    <a:gd name="connsiteX7" fmla="*/ 136143 w 139650"/>
                    <a:gd name="connsiteY7" fmla="*/ 22667 h 85530"/>
                    <a:gd name="connsiteX8" fmla="*/ 139650 w 139650"/>
                    <a:gd name="connsiteY8" fmla="*/ 28691 h 85530"/>
                    <a:gd name="connsiteX9" fmla="*/ 136153 w 139650"/>
                    <a:gd name="connsiteY9" fmla="*/ 34723 h 85530"/>
                    <a:gd name="connsiteX10" fmla="*/ 48659 w 139650"/>
                    <a:gd name="connsiteY10" fmla="*/ 84621 h 85530"/>
                    <a:gd name="connsiteX11" fmla="*/ 45222 w 139650"/>
                    <a:gd name="connsiteY11" fmla="*/ 85530 h 85530"/>
                    <a:gd name="connsiteX12" fmla="*/ 20938 w 139650"/>
                    <a:gd name="connsiteY12" fmla="*/ 56732 h 85530"/>
                    <a:gd name="connsiteX13" fmla="*/ 45229 w 139650"/>
                    <a:gd name="connsiteY13" fmla="*/ 70613 h 85530"/>
                    <a:gd name="connsiteX14" fmla="*/ 118701 w 139650"/>
                    <a:gd name="connsiteY14" fmla="*/ 28713 h 85530"/>
                    <a:gd name="connsiteX15" fmla="*/ 94428 w 139650"/>
                    <a:gd name="connsiteY15" fmla="*/ 14915 h 85530"/>
                    <a:gd name="connsiteX16" fmla="*/ 20938 w 139650"/>
                    <a:gd name="connsiteY16" fmla="*/ 56732 h 85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39650" h="85530">
                      <a:moveTo>
                        <a:pt x="45222" y="85530"/>
                      </a:moveTo>
                      <a:cubicBezTo>
                        <a:pt x="44032" y="85530"/>
                        <a:pt x="42849" y="85225"/>
                        <a:pt x="41781" y="84618"/>
                      </a:cubicBezTo>
                      <a:lnTo>
                        <a:pt x="3493" y="62739"/>
                      </a:lnTo>
                      <a:cubicBezTo>
                        <a:pt x="1331" y="61503"/>
                        <a:pt x="-4" y="59203"/>
                        <a:pt x="0" y="56711"/>
                      </a:cubicBezTo>
                      <a:cubicBezTo>
                        <a:pt x="4" y="54222"/>
                        <a:pt x="1341" y="51922"/>
                        <a:pt x="3504" y="50690"/>
                      </a:cubicBezTo>
                      <a:lnTo>
                        <a:pt x="90991" y="908"/>
                      </a:lnTo>
                      <a:cubicBezTo>
                        <a:pt x="93119" y="-304"/>
                        <a:pt x="95720" y="-300"/>
                        <a:pt x="97848" y="904"/>
                      </a:cubicBezTo>
                      <a:lnTo>
                        <a:pt x="136143" y="22667"/>
                      </a:lnTo>
                      <a:cubicBezTo>
                        <a:pt x="138309" y="23899"/>
                        <a:pt x="139647" y="26199"/>
                        <a:pt x="139650" y="28691"/>
                      </a:cubicBezTo>
                      <a:cubicBezTo>
                        <a:pt x="139654" y="31188"/>
                        <a:pt x="138316" y="33487"/>
                        <a:pt x="136153" y="34723"/>
                      </a:cubicBezTo>
                      <a:lnTo>
                        <a:pt x="48659" y="84621"/>
                      </a:lnTo>
                      <a:cubicBezTo>
                        <a:pt x="47595" y="85228"/>
                        <a:pt x="46408" y="85530"/>
                        <a:pt x="45222" y="85530"/>
                      </a:cubicBezTo>
                      <a:close/>
                      <a:moveTo>
                        <a:pt x="20938" y="56732"/>
                      </a:moveTo>
                      <a:lnTo>
                        <a:pt x="45229" y="70613"/>
                      </a:lnTo>
                      <a:lnTo>
                        <a:pt x="118701" y="28713"/>
                      </a:lnTo>
                      <a:lnTo>
                        <a:pt x="94428" y="14915"/>
                      </a:lnTo>
                      <a:lnTo>
                        <a:pt x="20938" y="56732"/>
                      </a:lnTo>
                      <a:close/>
                    </a:path>
                  </a:pathLst>
                </a:custGeom>
                <a:grpFill/>
                <a:ln w="351" cap="flat">
                  <a:noFill/>
                  <a:prstDash val="solid"/>
                  <a:miter/>
                </a:ln>
              </p:spPr>
              <p:txBody>
                <a:bodyPr rtlCol="0" anchor="ctr"/>
                <a:lstStyle/>
                <a:p>
                  <a:endParaRPr lang="en-GB" dirty="0"/>
                </a:p>
              </p:txBody>
            </p:sp>
          </p:grpSp>
        </p:grpSp>
      </p:grpSp>
      <p:grpSp>
        <p:nvGrpSpPr>
          <p:cNvPr id="526" name="Group 525">
            <a:extLst>
              <a:ext uri="{FF2B5EF4-FFF2-40B4-BE49-F238E27FC236}">
                <a16:creationId xmlns:a16="http://schemas.microsoft.com/office/drawing/2014/main" id="{1960F1D2-3DED-E59A-8D36-84136179051E}"/>
              </a:ext>
            </a:extLst>
          </p:cNvPr>
          <p:cNvGrpSpPr/>
          <p:nvPr/>
        </p:nvGrpSpPr>
        <p:grpSpPr>
          <a:xfrm>
            <a:off x="6052187" y="2391528"/>
            <a:ext cx="408429" cy="431996"/>
            <a:chOff x="6051775" y="2391528"/>
            <a:chExt cx="408429" cy="431996"/>
          </a:xfrm>
        </p:grpSpPr>
        <p:grpSp>
          <p:nvGrpSpPr>
            <p:cNvPr id="457" name="Graphic 10">
              <a:extLst>
                <a:ext uri="{FF2B5EF4-FFF2-40B4-BE49-F238E27FC236}">
                  <a16:creationId xmlns:a16="http://schemas.microsoft.com/office/drawing/2014/main" id="{9A76228D-6ABE-4226-A02B-0BC2AEF169BC}"/>
                </a:ext>
              </a:extLst>
            </p:cNvPr>
            <p:cNvGrpSpPr/>
            <p:nvPr/>
          </p:nvGrpSpPr>
          <p:grpSpPr>
            <a:xfrm>
              <a:off x="6051775" y="2391528"/>
              <a:ext cx="309119" cy="383315"/>
              <a:chOff x="816261" y="1626758"/>
              <a:chExt cx="346751" cy="429980"/>
            </a:xfrm>
            <a:solidFill>
              <a:schemeClr val="tx2"/>
            </a:solidFill>
          </p:grpSpPr>
          <p:sp>
            <p:nvSpPr>
              <p:cNvPr id="464" name="Freihandform: Form 86">
                <a:extLst>
                  <a:ext uri="{FF2B5EF4-FFF2-40B4-BE49-F238E27FC236}">
                    <a16:creationId xmlns:a16="http://schemas.microsoft.com/office/drawing/2014/main" id="{C76C36F2-FFAB-420C-AA49-AA0DCBD3C4E9}"/>
                  </a:ext>
                </a:extLst>
              </p:cNvPr>
              <p:cNvSpPr/>
              <p:nvPr/>
            </p:nvSpPr>
            <p:spPr>
              <a:xfrm>
                <a:off x="850937" y="1703046"/>
                <a:ext cx="173374" cy="319017"/>
              </a:xfrm>
              <a:custGeom>
                <a:avLst/>
                <a:gdLst>
                  <a:gd name="connsiteX0" fmla="*/ 166440 w 173374"/>
                  <a:gd name="connsiteY0" fmla="*/ 319017 h 319017"/>
                  <a:gd name="connsiteX1" fmla="*/ 6934 w 173374"/>
                  <a:gd name="connsiteY1" fmla="*/ 319017 h 319017"/>
                  <a:gd name="connsiteX2" fmla="*/ 0 w 173374"/>
                  <a:gd name="connsiteY2" fmla="*/ 312083 h 319017"/>
                  <a:gd name="connsiteX3" fmla="*/ 0 w 173374"/>
                  <a:gd name="connsiteY3" fmla="*/ 6934 h 319017"/>
                  <a:gd name="connsiteX4" fmla="*/ 6934 w 173374"/>
                  <a:gd name="connsiteY4" fmla="*/ 0 h 319017"/>
                  <a:gd name="connsiteX5" fmla="*/ 34676 w 173374"/>
                  <a:gd name="connsiteY5" fmla="*/ 0 h 319017"/>
                  <a:gd name="connsiteX6" fmla="*/ 41609 w 173374"/>
                  <a:gd name="connsiteY6" fmla="*/ 6934 h 319017"/>
                  <a:gd name="connsiteX7" fmla="*/ 34676 w 173374"/>
                  <a:gd name="connsiteY7" fmla="*/ 13867 h 319017"/>
                  <a:gd name="connsiteX8" fmla="*/ 13871 w 173374"/>
                  <a:gd name="connsiteY8" fmla="*/ 13867 h 319017"/>
                  <a:gd name="connsiteX9" fmla="*/ 13871 w 173374"/>
                  <a:gd name="connsiteY9" fmla="*/ 305143 h 319017"/>
                  <a:gd name="connsiteX10" fmla="*/ 166440 w 173374"/>
                  <a:gd name="connsiteY10" fmla="*/ 305143 h 319017"/>
                  <a:gd name="connsiteX11" fmla="*/ 173374 w 173374"/>
                  <a:gd name="connsiteY11" fmla="*/ 312076 h 319017"/>
                  <a:gd name="connsiteX12" fmla="*/ 166440 w 173374"/>
                  <a:gd name="connsiteY12" fmla="*/ 319017 h 319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3374" h="319017">
                    <a:moveTo>
                      <a:pt x="166440" y="319017"/>
                    </a:moveTo>
                    <a:lnTo>
                      <a:pt x="6934" y="319017"/>
                    </a:lnTo>
                    <a:cubicBezTo>
                      <a:pt x="3103" y="319017"/>
                      <a:pt x="0" y="315910"/>
                      <a:pt x="0" y="312083"/>
                    </a:cubicBezTo>
                    <a:lnTo>
                      <a:pt x="0" y="6934"/>
                    </a:lnTo>
                    <a:cubicBezTo>
                      <a:pt x="0" y="3103"/>
                      <a:pt x="3103" y="0"/>
                      <a:pt x="6934" y="0"/>
                    </a:cubicBezTo>
                    <a:lnTo>
                      <a:pt x="34676" y="0"/>
                    </a:lnTo>
                    <a:cubicBezTo>
                      <a:pt x="38506" y="0"/>
                      <a:pt x="41609" y="3103"/>
                      <a:pt x="41609" y="6934"/>
                    </a:cubicBezTo>
                    <a:cubicBezTo>
                      <a:pt x="41609" y="10764"/>
                      <a:pt x="38506" y="13867"/>
                      <a:pt x="34676" y="13867"/>
                    </a:cubicBezTo>
                    <a:lnTo>
                      <a:pt x="13871" y="13867"/>
                    </a:lnTo>
                    <a:lnTo>
                      <a:pt x="13871" y="305143"/>
                    </a:lnTo>
                    <a:lnTo>
                      <a:pt x="166440" y="305143"/>
                    </a:lnTo>
                    <a:cubicBezTo>
                      <a:pt x="170271" y="305143"/>
                      <a:pt x="173374" y="308246"/>
                      <a:pt x="173374" y="312076"/>
                    </a:cubicBezTo>
                    <a:cubicBezTo>
                      <a:pt x="173378" y="315910"/>
                      <a:pt x="170271" y="319017"/>
                      <a:pt x="166440" y="319017"/>
                    </a:cubicBezTo>
                    <a:close/>
                  </a:path>
                </a:pathLst>
              </a:custGeom>
              <a:grpFill/>
              <a:ln w="351" cap="flat">
                <a:noFill/>
                <a:prstDash val="solid"/>
                <a:miter/>
              </a:ln>
            </p:spPr>
            <p:txBody>
              <a:bodyPr rtlCol="0" anchor="ctr"/>
              <a:lstStyle/>
              <a:p>
                <a:endParaRPr lang="en-GB" dirty="0"/>
              </a:p>
            </p:txBody>
          </p:sp>
          <p:sp>
            <p:nvSpPr>
              <p:cNvPr id="465" name="Freihandform: Form 87">
                <a:extLst>
                  <a:ext uri="{FF2B5EF4-FFF2-40B4-BE49-F238E27FC236}">
                    <a16:creationId xmlns:a16="http://schemas.microsoft.com/office/drawing/2014/main" id="{5F31192C-D9E7-484C-B192-A85C990C2578}"/>
                  </a:ext>
                </a:extLst>
              </p:cNvPr>
              <p:cNvSpPr/>
              <p:nvPr/>
            </p:nvSpPr>
            <p:spPr>
              <a:xfrm>
                <a:off x="1086732" y="1703046"/>
                <a:ext cx="41609" cy="183780"/>
              </a:xfrm>
              <a:custGeom>
                <a:avLst/>
                <a:gdLst>
                  <a:gd name="connsiteX0" fmla="*/ 34676 w 41609"/>
                  <a:gd name="connsiteY0" fmla="*/ 183780 h 183780"/>
                  <a:gd name="connsiteX1" fmla="*/ 27742 w 41609"/>
                  <a:gd name="connsiteY1" fmla="*/ 176846 h 183780"/>
                  <a:gd name="connsiteX2" fmla="*/ 27742 w 41609"/>
                  <a:gd name="connsiteY2" fmla="*/ 13867 h 183780"/>
                  <a:gd name="connsiteX3" fmla="*/ 6934 w 41609"/>
                  <a:gd name="connsiteY3" fmla="*/ 13867 h 183780"/>
                  <a:gd name="connsiteX4" fmla="*/ 0 w 41609"/>
                  <a:gd name="connsiteY4" fmla="*/ 6934 h 183780"/>
                  <a:gd name="connsiteX5" fmla="*/ 6934 w 41609"/>
                  <a:gd name="connsiteY5" fmla="*/ 0 h 183780"/>
                  <a:gd name="connsiteX6" fmla="*/ 34676 w 41609"/>
                  <a:gd name="connsiteY6" fmla="*/ 0 h 183780"/>
                  <a:gd name="connsiteX7" fmla="*/ 41609 w 41609"/>
                  <a:gd name="connsiteY7" fmla="*/ 6934 h 183780"/>
                  <a:gd name="connsiteX8" fmla="*/ 41609 w 41609"/>
                  <a:gd name="connsiteY8" fmla="*/ 176846 h 183780"/>
                  <a:gd name="connsiteX9" fmla="*/ 34676 w 41609"/>
                  <a:gd name="connsiteY9" fmla="*/ 183780 h 183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609" h="183780">
                    <a:moveTo>
                      <a:pt x="34676" y="183780"/>
                    </a:moveTo>
                    <a:cubicBezTo>
                      <a:pt x="30845" y="183780"/>
                      <a:pt x="27742" y="180673"/>
                      <a:pt x="27742" y="176846"/>
                    </a:cubicBezTo>
                    <a:lnTo>
                      <a:pt x="27742" y="13867"/>
                    </a:lnTo>
                    <a:lnTo>
                      <a:pt x="6934" y="13867"/>
                    </a:lnTo>
                    <a:cubicBezTo>
                      <a:pt x="3103" y="13867"/>
                      <a:pt x="0" y="10760"/>
                      <a:pt x="0" y="6934"/>
                    </a:cubicBezTo>
                    <a:cubicBezTo>
                      <a:pt x="0" y="3103"/>
                      <a:pt x="3103" y="0"/>
                      <a:pt x="6934" y="0"/>
                    </a:cubicBezTo>
                    <a:lnTo>
                      <a:pt x="34676" y="0"/>
                    </a:lnTo>
                    <a:cubicBezTo>
                      <a:pt x="38506" y="0"/>
                      <a:pt x="41609" y="3103"/>
                      <a:pt x="41609" y="6934"/>
                    </a:cubicBezTo>
                    <a:lnTo>
                      <a:pt x="41609" y="176846"/>
                    </a:lnTo>
                    <a:cubicBezTo>
                      <a:pt x="41609" y="180677"/>
                      <a:pt x="38506" y="183780"/>
                      <a:pt x="34676" y="183780"/>
                    </a:cubicBezTo>
                    <a:close/>
                  </a:path>
                </a:pathLst>
              </a:custGeom>
              <a:grpFill/>
              <a:ln w="351" cap="flat">
                <a:noFill/>
                <a:prstDash val="solid"/>
                <a:miter/>
              </a:ln>
            </p:spPr>
            <p:txBody>
              <a:bodyPr rtlCol="0" anchor="ctr"/>
              <a:lstStyle/>
              <a:p>
                <a:endParaRPr lang="en-GB" dirty="0"/>
              </a:p>
            </p:txBody>
          </p:sp>
          <p:sp>
            <p:nvSpPr>
              <p:cNvPr id="466" name="Freihandform: Form 88">
                <a:extLst>
                  <a:ext uri="{FF2B5EF4-FFF2-40B4-BE49-F238E27FC236}">
                    <a16:creationId xmlns:a16="http://schemas.microsoft.com/office/drawing/2014/main" id="{737B3C43-9CA0-47BA-B550-2FFAA27DB542}"/>
                  </a:ext>
                </a:extLst>
              </p:cNvPr>
              <p:cNvSpPr/>
              <p:nvPr/>
            </p:nvSpPr>
            <p:spPr>
              <a:xfrm>
                <a:off x="906417" y="1626758"/>
                <a:ext cx="166440" cy="90155"/>
              </a:xfrm>
              <a:custGeom>
                <a:avLst/>
                <a:gdLst>
                  <a:gd name="connsiteX0" fmla="*/ 159507 w 166440"/>
                  <a:gd name="connsiteY0" fmla="*/ 90156 h 90155"/>
                  <a:gd name="connsiteX1" fmla="*/ 6934 w 166440"/>
                  <a:gd name="connsiteY1" fmla="*/ 90156 h 90155"/>
                  <a:gd name="connsiteX2" fmla="*/ 0 w 166440"/>
                  <a:gd name="connsiteY2" fmla="*/ 83222 h 90155"/>
                  <a:gd name="connsiteX3" fmla="*/ 0 w 166440"/>
                  <a:gd name="connsiteY3" fmla="*/ 27742 h 90155"/>
                  <a:gd name="connsiteX4" fmla="*/ 6934 w 166440"/>
                  <a:gd name="connsiteY4" fmla="*/ 20808 h 90155"/>
                  <a:gd name="connsiteX5" fmla="*/ 51538 w 166440"/>
                  <a:gd name="connsiteY5" fmla="*/ 20808 h 90155"/>
                  <a:gd name="connsiteX6" fmla="*/ 83222 w 166440"/>
                  <a:gd name="connsiteY6" fmla="*/ 0 h 90155"/>
                  <a:gd name="connsiteX7" fmla="*/ 114903 w 166440"/>
                  <a:gd name="connsiteY7" fmla="*/ 20805 h 90155"/>
                  <a:gd name="connsiteX8" fmla="*/ 159507 w 166440"/>
                  <a:gd name="connsiteY8" fmla="*/ 20805 h 90155"/>
                  <a:gd name="connsiteX9" fmla="*/ 166440 w 166440"/>
                  <a:gd name="connsiteY9" fmla="*/ 27738 h 90155"/>
                  <a:gd name="connsiteX10" fmla="*/ 166440 w 166440"/>
                  <a:gd name="connsiteY10" fmla="*/ 83218 h 90155"/>
                  <a:gd name="connsiteX11" fmla="*/ 159507 w 166440"/>
                  <a:gd name="connsiteY11" fmla="*/ 90156 h 90155"/>
                  <a:gd name="connsiteX12" fmla="*/ 13871 w 166440"/>
                  <a:gd name="connsiteY12" fmla="*/ 76288 h 90155"/>
                  <a:gd name="connsiteX13" fmla="*/ 152573 w 166440"/>
                  <a:gd name="connsiteY13" fmla="*/ 76288 h 90155"/>
                  <a:gd name="connsiteX14" fmla="*/ 152573 w 166440"/>
                  <a:gd name="connsiteY14" fmla="*/ 34676 h 90155"/>
                  <a:gd name="connsiteX15" fmla="*/ 109981 w 166440"/>
                  <a:gd name="connsiteY15" fmla="*/ 34676 h 90155"/>
                  <a:gd name="connsiteX16" fmla="*/ 103265 w 166440"/>
                  <a:gd name="connsiteY16" fmla="*/ 29476 h 90155"/>
                  <a:gd name="connsiteX17" fmla="*/ 83222 w 166440"/>
                  <a:gd name="connsiteY17" fmla="*/ 13867 h 90155"/>
                  <a:gd name="connsiteX18" fmla="*/ 63179 w 166440"/>
                  <a:gd name="connsiteY18" fmla="*/ 29476 h 90155"/>
                  <a:gd name="connsiteX19" fmla="*/ 56463 w 166440"/>
                  <a:gd name="connsiteY19" fmla="*/ 34676 h 90155"/>
                  <a:gd name="connsiteX20" fmla="*/ 13871 w 166440"/>
                  <a:gd name="connsiteY20" fmla="*/ 34676 h 90155"/>
                  <a:gd name="connsiteX21" fmla="*/ 13871 w 166440"/>
                  <a:gd name="connsiteY21" fmla="*/ 76288 h 9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6440" h="90155">
                    <a:moveTo>
                      <a:pt x="159507" y="90156"/>
                    </a:moveTo>
                    <a:lnTo>
                      <a:pt x="6934" y="90156"/>
                    </a:lnTo>
                    <a:cubicBezTo>
                      <a:pt x="3103" y="90156"/>
                      <a:pt x="0" y="87049"/>
                      <a:pt x="0" y="83222"/>
                    </a:cubicBezTo>
                    <a:lnTo>
                      <a:pt x="0" y="27742"/>
                    </a:lnTo>
                    <a:cubicBezTo>
                      <a:pt x="0" y="23912"/>
                      <a:pt x="3103" y="20808"/>
                      <a:pt x="6934" y="20808"/>
                    </a:cubicBezTo>
                    <a:lnTo>
                      <a:pt x="51538" y="20808"/>
                    </a:lnTo>
                    <a:cubicBezTo>
                      <a:pt x="56972" y="8327"/>
                      <a:pt x="69326" y="0"/>
                      <a:pt x="83222" y="0"/>
                    </a:cubicBezTo>
                    <a:cubicBezTo>
                      <a:pt x="97117" y="0"/>
                      <a:pt x="109468" y="8327"/>
                      <a:pt x="114903" y="20805"/>
                    </a:cubicBezTo>
                    <a:lnTo>
                      <a:pt x="159507" y="20805"/>
                    </a:lnTo>
                    <a:cubicBezTo>
                      <a:pt x="163337" y="20805"/>
                      <a:pt x="166440" y="23908"/>
                      <a:pt x="166440" y="27738"/>
                    </a:cubicBezTo>
                    <a:lnTo>
                      <a:pt x="166440" y="83218"/>
                    </a:lnTo>
                    <a:cubicBezTo>
                      <a:pt x="166444" y="87052"/>
                      <a:pt x="163337" y="90156"/>
                      <a:pt x="159507" y="90156"/>
                    </a:cubicBezTo>
                    <a:close/>
                    <a:moveTo>
                      <a:pt x="13871" y="76288"/>
                    </a:moveTo>
                    <a:lnTo>
                      <a:pt x="152573" y="76288"/>
                    </a:lnTo>
                    <a:lnTo>
                      <a:pt x="152573" y="34676"/>
                    </a:lnTo>
                    <a:lnTo>
                      <a:pt x="109981" y="34676"/>
                    </a:lnTo>
                    <a:cubicBezTo>
                      <a:pt x="106821" y="34676"/>
                      <a:pt x="104058" y="32537"/>
                      <a:pt x="103265" y="29476"/>
                    </a:cubicBezTo>
                    <a:cubicBezTo>
                      <a:pt x="100888" y="20285"/>
                      <a:pt x="92645" y="13867"/>
                      <a:pt x="83222" y="13867"/>
                    </a:cubicBezTo>
                    <a:cubicBezTo>
                      <a:pt x="73799" y="13867"/>
                      <a:pt x="65556" y="20285"/>
                      <a:pt x="63179" y="29476"/>
                    </a:cubicBezTo>
                    <a:cubicBezTo>
                      <a:pt x="62386" y="32537"/>
                      <a:pt x="59623" y="34676"/>
                      <a:pt x="56463" y="34676"/>
                    </a:cubicBezTo>
                    <a:lnTo>
                      <a:pt x="13871" y="34676"/>
                    </a:lnTo>
                    <a:lnTo>
                      <a:pt x="13871" y="76288"/>
                    </a:lnTo>
                    <a:close/>
                  </a:path>
                </a:pathLst>
              </a:custGeom>
              <a:grpFill/>
              <a:ln w="351" cap="flat">
                <a:noFill/>
                <a:prstDash val="solid"/>
                <a:miter/>
              </a:ln>
            </p:spPr>
            <p:txBody>
              <a:bodyPr rtlCol="0" anchor="ctr"/>
              <a:lstStyle/>
              <a:p>
                <a:endParaRPr lang="en-GB" dirty="0"/>
              </a:p>
            </p:txBody>
          </p:sp>
          <p:sp>
            <p:nvSpPr>
              <p:cNvPr id="467" name="Freihandform: Form 89">
                <a:extLst>
                  <a:ext uri="{FF2B5EF4-FFF2-40B4-BE49-F238E27FC236}">
                    <a16:creationId xmlns:a16="http://schemas.microsoft.com/office/drawing/2014/main" id="{E4CC47C0-E867-4E72-BF20-C5DD698FE226}"/>
                  </a:ext>
                </a:extLst>
              </p:cNvPr>
              <p:cNvSpPr/>
              <p:nvPr/>
            </p:nvSpPr>
            <p:spPr>
              <a:xfrm>
                <a:off x="1058990" y="1668374"/>
                <a:ext cx="104023" cy="198514"/>
              </a:xfrm>
              <a:custGeom>
                <a:avLst/>
                <a:gdLst>
                  <a:gd name="connsiteX0" fmla="*/ 97093 w 104023"/>
                  <a:gd name="connsiteY0" fmla="*/ 198515 h 198514"/>
                  <a:gd name="connsiteX1" fmla="*/ 90159 w 104023"/>
                  <a:gd name="connsiteY1" fmla="*/ 191581 h 198514"/>
                  <a:gd name="connsiteX2" fmla="*/ 90159 w 104023"/>
                  <a:gd name="connsiteY2" fmla="*/ 13867 h 198514"/>
                  <a:gd name="connsiteX3" fmla="*/ 6934 w 104023"/>
                  <a:gd name="connsiteY3" fmla="*/ 13867 h 198514"/>
                  <a:gd name="connsiteX4" fmla="*/ 0 w 104023"/>
                  <a:gd name="connsiteY4" fmla="*/ 6934 h 198514"/>
                  <a:gd name="connsiteX5" fmla="*/ 6934 w 104023"/>
                  <a:gd name="connsiteY5" fmla="*/ 0 h 198514"/>
                  <a:gd name="connsiteX6" fmla="*/ 97089 w 104023"/>
                  <a:gd name="connsiteY6" fmla="*/ 0 h 198514"/>
                  <a:gd name="connsiteX7" fmla="*/ 104023 w 104023"/>
                  <a:gd name="connsiteY7" fmla="*/ 6934 h 198514"/>
                  <a:gd name="connsiteX8" fmla="*/ 104023 w 104023"/>
                  <a:gd name="connsiteY8" fmla="*/ 191581 h 198514"/>
                  <a:gd name="connsiteX9" fmla="*/ 97093 w 104023"/>
                  <a:gd name="connsiteY9" fmla="*/ 198515 h 1985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023" h="198514">
                    <a:moveTo>
                      <a:pt x="97093" y="198515"/>
                    </a:moveTo>
                    <a:cubicBezTo>
                      <a:pt x="93263" y="198515"/>
                      <a:pt x="90159" y="195408"/>
                      <a:pt x="90159" y="191581"/>
                    </a:cubicBezTo>
                    <a:lnTo>
                      <a:pt x="90159" y="13867"/>
                    </a:lnTo>
                    <a:lnTo>
                      <a:pt x="6934" y="13867"/>
                    </a:lnTo>
                    <a:cubicBezTo>
                      <a:pt x="3103" y="13867"/>
                      <a:pt x="0" y="10760"/>
                      <a:pt x="0" y="6934"/>
                    </a:cubicBezTo>
                    <a:cubicBezTo>
                      <a:pt x="0" y="3103"/>
                      <a:pt x="3103" y="0"/>
                      <a:pt x="6934" y="0"/>
                    </a:cubicBezTo>
                    <a:lnTo>
                      <a:pt x="97089" y="0"/>
                    </a:lnTo>
                    <a:cubicBezTo>
                      <a:pt x="100920" y="0"/>
                      <a:pt x="104023" y="3103"/>
                      <a:pt x="104023" y="6934"/>
                    </a:cubicBezTo>
                    <a:lnTo>
                      <a:pt x="104023" y="191581"/>
                    </a:lnTo>
                    <a:cubicBezTo>
                      <a:pt x="104027" y="195408"/>
                      <a:pt x="100923" y="198515"/>
                      <a:pt x="97093" y="198515"/>
                    </a:cubicBezTo>
                    <a:close/>
                  </a:path>
                </a:pathLst>
              </a:custGeom>
              <a:grpFill/>
              <a:ln w="351" cap="flat">
                <a:noFill/>
                <a:prstDash val="solid"/>
                <a:miter/>
              </a:ln>
            </p:spPr>
            <p:txBody>
              <a:bodyPr rtlCol="0" anchor="ctr"/>
              <a:lstStyle/>
              <a:p>
                <a:endParaRPr lang="en-GB" dirty="0"/>
              </a:p>
            </p:txBody>
          </p:sp>
          <p:sp>
            <p:nvSpPr>
              <p:cNvPr id="468" name="Freihandform: Form 90">
                <a:extLst>
                  <a:ext uri="{FF2B5EF4-FFF2-40B4-BE49-F238E27FC236}">
                    <a16:creationId xmlns:a16="http://schemas.microsoft.com/office/drawing/2014/main" id="{870E8FA1-5E7B-478A-8856-934A194AF4FA}"/>
                  </a:ext>
                </a:extLst>
              </p:cNvPr>
              <p:cNvSpPr/>
              <p:nvPr/>
            </p:nvSpPr>
            <p:spPr>
              <a:xfrm>
                <a:off x="816261" y="1668370"/>
                <a:ext cx="208049" cy="388368"/>
              </a:xfrm>
              <a:custGeom>
                <a:avLst/>
                <a:gdLst>
                  <a:gd name="connsiteX0" fmla="*/ 201116 w 208049"/>
                  <a:gd name="connsiteY0" fmla="*/ 388368 h 388368"/>
                  <a:gd name="connsiteX1" fmla="*/ 6934 w 208049"/>
                  <a:gd name="connsiteY1" fmla="*/ 388368 h 388368"/>
                  <a:gd name="connsiteX2" fmla="*/ 0 w 208049"/>
                  <a:gd name="connsiteY2" fmla="*/ 381434 h 388368"/>
                  <a:gd name="connsiteX3" fmla="*/ 0 w 208049"/>
                  <a:gd name="connsiteY3" fmla="*/ 6934 h 388368"/>
                  <a:gd name="connsiteX4" fmla="*/ 6934 w 208049"/>
                  <a:gd name="connsiteY4" fmla="*/ 0 h 388368"/>
                  <a:gd name="connsiteX5" fmla="*/ 97089 w 208049"/>
                  <a:gd name="connsiteY5" fmla="*/ 0 h 388368"/>
                  <a:gd name="connsiteX6" fmla="*/ 104023 w 208049"/>
                  <a:gd name="connsiteY6" fmla="*/ 6934 h 388368"/>
                  <a:gd name="connsiteX7" fmla="*/ 97089 w 208049"/>
                  <a:gd name="connsiteY7" fmla="*/ 13867 h 388368"/>
                  <a:gd name="connsiteX8" fmla="*/ 13867 w 208049"/>
                  <a:gd name="connsiteY8" fmla="*/ 13867 h 388368"/>
                  <a:gd name="connsiteX9" fmla="*/ 13867 w 208049"/>
                  <a:gd name="connsiteY9" fmla="*/ 374497 h 388368"/>
                  <a:gd name="connsiteX10" fmla="*/ 201116 w 208049"/>
                  <a:gd name="connsiteY10" fmla="*/ 374497 h 388368"/>
                  <a:gd name="connsiteX11" fmla="*/ 208050 w 208049"/>
                  <a:gd name="connsiteY11" fmla="*/ 381431 h 388368"/>
                  <a:gd name="connsiteX12" fmla="*/ 201116 w 208049"/>
                  <a:gd name="connsiteY12" fmla="*/ 388368 h 38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049" h="388368">
                    <a:moveTo>
                      <a:pt x="201116" y="388368"/>
                    </a:moveTo>
                    <a:lnTo>
                      <a:pt x="6934" y="388368"/>
                    </a:lnTo>
                    <a:cubicBezTo>
                      <a:pt x="3103" y="388368"/>
                      <a:pt x="0" y="385261"/>
                      <a:pt x="0" y="381434"/>
                    </a:cubicBezTo>
                    <a:lnTo>
                      <a:pt x="0" y="6934"/>
                    </a:lnTo>
                    <a:cubicBezTo>
                      <a:pt x="0" y="3103"/>
                      <a:pt x="3103" y="0"/>
                      <a:pt x="6934" y="0"/>
                    </a:cubicBezTo>
                    <a:lnTo>
                      <a:pt x="97089" y="0"/>
                    </a:lnTo>
                    <a:cubicBezTo>
                      <a:pt x="100920" y="0"/>
                      <a:pt x="104023" y="3103"/>
                      <a:pt x="104023" y="6934"/>
                    </a:cubicBezTo>
                    <a:cubicBezTo>
                      <a:pt x="104023" y="10764"/>
                      <a:pt x="100920" y="13867"/>
                      <a:pt x="97089" y="13867"/>
                    </a:cubicBezTo>
                    <a:lnTo>
                      <a:pt x="13867" y="13867"/>
                    </a:lnTo>
                    <a:lnTo>
                      <a:pt x="13867" y="374497"/>
                    </a:lnTo>
                    <a:lnTo>
                      <a:pt x="201116" y="374497"/>
                    </a:lnTo>
                    <a:cubicBezTo>
                      <a:pt x="204946" y="374497"/>
                      <a:pt x="208050" y="377601"/>
                      <a:pt x="208050" y="381431"/>
                    </a:cubicBezTo>
                    <a:cubicBezTo>
                      <a:pt x="208053" y="385261"/>
                      <a:pt x="204946" y="388368"/>
                      <a:pt x="201116" y="388368"/>
                    </a:cubicBezTo>
                    <a:close/>
                  </a:path>
                </a:pathLst>
              </a:custGeom>
              <a:grpFill/>
              <a:ln w="351" cap="flat">
                <a:noFill/>
                <a:prstDash val="solid"/>
                <a:miter/>
              </a:ln>
            </p:spPr>
            <p:txBody>
              <a:bodyPr rtlCol="0" anchor="ctr"/>
              <a:lstStyle/>
              <a:p>
                <a:endParaRPr lang="en-GB" dirty="0"/>
              </a:p>
            </p:txBody>
          </p:sp>
          <p:grpSp>
            <p:nvGrpSpPr>
              <p:cNvPr id="469" name="Graphic 10">
                <a:extLst>
                  <a:ext uri="{FF2B5EF4-FFF2-40B4-BE49-F238E27FC236}">
                    <a16:creationId xmlns:a16="http://schemas.microsoft.com/office/drawing/2014/main" id="{906A4DEB-5E19-48B8-A588-69C8F2A7E743}"/>
                  </a:ext>
                </a:extLst>
              </p:cNvPr>
              <p:cNvGrpSpPr/>
              <p:nvPr/>
            </p:nvGrpSpPr>
            <p:grpSpPr>
              <a:xfrm>
                <a:off x="885612" y="1751591"/>
                <a:ext cx="201115" cy="41610"/>
                <a:chOff x="885612" y="1751591"/>
                <a:chExt cx="201115" cy="41610"/>
              </a:xfrm>
              <a:grpFill/>
            </p:grpSpPr>
            <p:sp>
              <p:nvSpPr>
                <p:cNvPr id="476" name="Freihandform: Form 92">
                  <a:extLst>
                    <a:ext uri="{FF2B5EF4-FFF2-40B4-BE49-F238E27FC236}">
                      <a16:creationId xmlns:a16="http://schemas.microsoft.com/office/drawing/2014/main" id="{CCEE7924-9C47-4D6B-A773-4B2E2AE15E8C}"/>
                    </a:ext>
                  </a:extLst>
                </p:cNvPr>
                <p:cNvSpPr/>
                <p:nvPr/>
              </p:nvSpPr>
              <p:spPr>
                <a:xfrm>
                  <a:off x="948030" y="1765463"/>
                  <a:ext cx="138698" cy="13867"/>
                </a:xfrm>
                <a:custGeom>
                  <a:avLst/>
                  <a:gdLst>
                    <a:gd name="connsiteX0" fmla="*/ 131765 w 138698"/>
                    <a:gd name="connsiteY0" fmla="*/ 13867 h 13867"/>
                    <a:gd name="connsiteX1" fmla="*/ 6934 w 138698"/>
                    <a:gd name="connsiteY1" fmla="*/ 13867 h 13867"/>
                    <a:gd name="connsiteX2" fmla="*/ 0 w 138698"/>
                    <a:gd name="connsiteY2" fmla="*/ 6934 h 13867"/>
                    <a:gd name="connsiteX3" fmla="*/ 6934 w 138698"/>
                    <a:gd name="connsiteY3" fmla="*/ 0 h 13867"/>
                    <a:gd name="connsiteX4" fmla="*/ 131765 w 138698"/>
                    <a:gd name="connsiteY4" fmla="*/ 0 h 13867"/>
                    <a:gd name="connsiteX5" fmla="*/ 138699 w 138698"/>
                    <a:gd name="connsiteY5" fmla="*/ 6934 h 13867"/>
                    <a:gd name="connsiteX6" fmla="*/ 131765 w 138698"/>
                    <a:gd name="connsiteY6" fmla="*/ 13867 h 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98" h="13867">
                      <a:moveTo>
                        <a:pt x="131765" y="13867"/>
                      </a:moveTo>
                      <a:lnTo>
                        <a:pt x="6934" y="13867"/>
                      </a:lnTo>
                      <a:cubicBezTo>
                        <a:pt x="3103" y="13867"/>
                        <a:pt x="0" y="10760"/>
                        <a:pt x="0" y="6934"/>
                      </a:cubicBezTo>
                      <a:cubicBezTo>
                        <a:pt x="0" y="3103"/>
                        <a:pt x="3103" y="0"/>
                        <a:pt x="6934" y="0"/>
                      </a:cubicBezTo>
                      <a:lnTo>
                        <a:pt x="131765" y="0"/>
                      </a:lnTo>
                      <a:cubicBezTo>
                        <a:pt x="135595" y="0"/>
                        <a:pt x="138699" y="3103"/>
                        <a:pt x="138699" y="6934"/>
                      </a:cubicBezTo>
                      <a:cubicBezTo>
                        <a:pt x="138702" y="10764"/>
                        <a:pt x="135595" y="13867"/>
                        <a:pt x="131765" y="13867"/>
                      </a:cubicBezTo>
                      <a:close/>
                    </a:path>
                  </a:pathLst>
                </a:custGeom>
                <a:grpFill/>
                <a:ln w="351" cap="flat">
                  <a:noFill/>
                  <a:prstDash val="solid"/>
                  <a:miter/>
                </a:ln>
              </p:spPr>
              <p:txBody>
                <a:bodyPr rtlCol="0" anchor="ctr"/>
                <a:lstStyle/>
                <a:p>
                  <a:endParaRPr lang="en-GB" dirty="0"/>
                </a:p>
              </p:txBody>
            </p:sp>
            <p:sp>
              <p:nvSpPr>
                <p:cNvPr id="477" name="Freihandform: Form 93">
                  <a:extLst>
                    <a:ext uri="{FF2B5EF4-FFF2-40B4-BE49-F238E27FC236}">
                      <a16:creationId xmlns:a16="http://schemas.microsoft.com/office/drawing/2014/main" id="{CC2621B5-1D4E-4C7C-8CA4-6D390E4B0711}"/>
                    </a:ext>
                  </a:extLst>
                </p:cNvPr>
                <p:cNvSpPr/>
                <p:nvPr/>
              </p:nvSpPr>
              <p:spPr>
                <a:xfrm>
                  <a:off x="885612" y="1751591"/>
                  <a:ext cx="48546" cy="41610"/>
                </a:xfrm>
                <a:custGeom>
                  <a:avLst/>
                  <a:gdLst>
                    <a:gd name="connsiteX0" fmla="*/ 22251 w 48546"/>
                    <a:gd name="connsiteY0" fmla="*/ 41611 h 41610"/>
                    <a:gd name="connsiteX1" fmla="*/ 17596 w 48546"/>
                    <a:gd name="connsiteY1" fmla="*/ 39817 h 41610"/>
                    <a:gd name="connsiteX2" fmla="*/ 2278 w 48546"/>
                    <a:gd name="connsiteY2" fmla="*/ 25946 h 41610"/>
                    <a:gd name="connsiteX3" fmla="*/ 1794 w 48546"/>
                    <a:gd name="connsiteY3" fmla="*/ 16151 h 41610"/>
                    <a:gd name="connsiteX4" fmla="*/ 11589 w 48546"/>
                    <a:gd name="connsiteY4" fmla="*/ 15667 h 41610"/>
                    <a:gd name="connsiteX5" fmla="*/ 21068 w 48546"/>
                    <a:gd name="connsiteY5" fmla="*/ 24250 h 41610"/>
                    <a:gd name="connsiteX6" fmla="*/ 35925 w 48546"/>
                    <a:gd name="connsiteY6" fmla="*/ 2968 h 41610"/>
                    <a:gd name="connsiteX7" fmla="*/ 45580 w 48546"/>
                    <a:gd name="connsiteY7" fmla="*/ 1252 h 41610"/>
                    <a:gd name="connsiteX8" fmla="*/ 47296 w 48546"/>
                    <a:gd name="connsiteY8" fmla="*/ 10906 h 41610"/>
                    <a:gd name="connsiteX9" fmla="*/ 27938 w 48546"/>
                    <a:gd name="connsiteY9" fmla="*/ 38648 h 41610"/>
                    <a:gd name="connsiteX10" fmla="*/ 23034 w 48546"/>
                    <a:gd name="connsiteY10" fmla="*/ 41569 h 41610"/>
                    <a:gd name="connsiteX11" fmla="*/ 22251 w 48546"/>
                    <a:gd name="connsiteY11" fmla="*/ 41611 h 4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6" h="41610">
                      <a:moveTo>
                        <a:pt x="22251" y="41611"/>
                      </a:moveTo>
                      <a:cubicBezTo>
                        <a:pt x="20541" y="41611"/>
                        <a:pt x="18877" y="40979"/>
                        <a:pt x="17596" y="39817"/>
                      </a:cubicBezTo>
                      <a:lnTo>
                        <a:pt x="2278" y="25946"/>
                      </a:lnTo>
                      <a:cubicBezTo>
                        <a:pt x="-558" y="23376"/>
                        <a:pt x="-776" y="18991"/>
                        <a:pt x="1794" y="16151"/>
                      </a:cubicBezTo>
                      <a:cubicBezTo>
                        <a:pt x="4364" y="13318"/>
                        <a:pt x="8749" y="13093"/>
                        <a:pt x="11589" y="15667"/>
                      </a:cubicBezTo>
                      <a:lnTo>
                        <a:pt x="21068" y="24250"/>
                      </a:lnTo>
                      <a:lnTo>
                        <a:pt x="35925" y="2968"/>
                      </a:lnTo>
                      <a:cubicBezTo>
                        <a:pt x="38119" y="-167"/>
                        <a:pt x="42438" y="-950"/>
                        <a:pt x="45580" y="1252"/>
                      </a:cubicBezTo>
                      <a:cubicBezTo>
                        <a:pt x="48722" y="3442"/>
                        <a:pt x="49491" y="7767"/>
                        <a:pt x="47296" y="10906"/>
                      </a:cubicBezTo>
                      <a:lnTo>
                        <a:pt x="27938" y="38648"/>
                      </a:lnTo>
                      <a:cubicBezTo>
                        <a:pt x="26801" y="40280"/>
                        <a:pt x="25014" y="41348"/>
                        <a:pt x="23034" y="41569"/>
                      </a:cubicBezTo>
                      <a:cubicBezTo>
                        <a:pt x="22770" y="41597"/>
                        <a:pt x="22511" y="41611"/>
                        <a:pt x="22251" y="41611"/>
                      </a:cubicBezTo>
                      <a:close/>
                    </a:path>
                  </a:pathLst>
                </a:custGeom>
                <a:grpFill/>
                <a:ln w="351" cap="flat">
                  <a:noFill/>
                  <a:prstDash val="solid"/>
                  <a:miter/>
                </a:ln>
              </p:spPr>
              <p:txBody>
                <a:bodyPr rtlCol="0" anchor="ctr"/>
                <a:lstStyle/>
                <a:p>
                  <a:endParaRPr lang="en-GB" dirty="0"/>
                </a:p>
              </p:txBody>
            </p:sp>
          </p:grpSp>
          <p:grpSp>
            <p:nvGrpSpPr>
              <p:cNvPr id="470" name="Graphic 10">
                <a:extLst>
                  <a:ext uri="{FF2B5EF4-FFF2-40B4-BE49-F238E27FC236}">
                    <a16:creationId xmlns:a16="http://schemas.microsoft.com/office/drawing/2014/main" id="{80F155FA-EE3E-4A3B-82E8-C815D8EFA392}"/>
                  </a:ext>
                </a:extLst>
              </p:cNvPr>
              <p:cNvGrpSpPr/>
              <p:nvPr/>
            </p:nvGrpSpPr>
            <p:grpSpPr>
              <a:xfrm>
                <a:off x="885612" y="1845216"/>
                <a:ext cx="201115" cy="41609"/>
                <a:chOff x="885612" y="1845216"/>
                <a:chExt cx="201115" cy="41609"/>
              </a:xfrm>
              <a:grpFill/>
            </p:grpSpPr>
            <p:sp>
              <p:nvSpPr>
                <p:cNvPr id="474" name="Freihandform: Form 95">
                  <a:extLst>
                    <a:ext uri="{FF2B5EF4-FFF2-40B4-BE49-F238E27FC236}">
                      <a16:creationId xmlns:a16="http://schemas.microsoft.com/office/drawing/2014/main" id="{BE25C98B-35DD-4F1A-9DE3-074F2E6A0253}"/>
                    </a:ext>
                  </a:extLst>
                </p:cNvPr>
                <p:cNvSpPr/>
                <p:nvPr/>
              </p:nvSpPr>
              <p:spPr>
                <a:xfrm>
                  <a:off x="948030" y="1859087"/>
                  <a:ext cx="138698" cy="13867"/>
                </a:xfrm>
                <a:custGeom>
                  <a:avLst/>
                  <a:gdLst>
                    <a:gd name="connsiteX0" fmla="*/ 131765 w 138698"/>
                    <a:gd name="connsiteY0" fmla="*/ 13867 h 13867"/>
                    <a:gd name="connsiteX1" fmla="*/ 6934 w 138698"/>
                    <a:gd name="connsiteY1" fmla="*/ 13867 h 13867"/>
                    <a:gd name="connsiteX2" fmla="*/ 0 w 138698"/>
                    <a:gd name="connsiteY2" fmla="*/ 6934 h 13867"/>
                    <a:gd name="connsiteX3" fmla="*/ 6934 w 138698"/>
                    <a:gd name="connsiteY3" fmla="*/ 0 h 13867"/>
                    <a:gd name="connsiteX4" fmla="*/ 131765 w 138698"/>
                    <a:gd name="connsiteY4" fmla="*/ 0 h 13867"/>
                    <a:gd name="connsiteX5" fmla="*/ 138699 w 138698"/>
                    <a:gd name="connsiteY5" fmla="*/ 6934 h 13867"/>
                    <a:gd name="connsiteX6" fmla="*/ 131765 w 138698"/>
                    <a:gd name="connsiteY6" fmla="*/ 13867 h 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98" h="13867">
                      <a:moveTo>
                        <a:pt x="131765" y="13867"/>
                      </a:moveTo>
                      <a:lnTo>
                        <a:pt x="6934" y="13867"/>
                      </a:lnTo>
                      <a:cubicBezTo>
                        <a:pt x="3103" y="13867"/>
                        <a:pt x="0" y="10760"/>
                        <a:pt x="0" y="6934"/>
                      </a:cubicBezTo>
                      <a:cubicBezTo>
                        <a:pt x="0" y="3103"/>
                        <a:pt x="3103" y="0"/>
                        <a:pt x="6934" y="0"/>
                      </a:cubicBezTo>
                      <a:lnTo>
                        <a:pt x="131765" y="0"/>
                      </a:lnTo>
                      <a:cubicBezTo>
                        <a:pt x="135595" y="0"/>
                        <a:pt x="138699" y="3103"/>
                        <a:pt x="138699" y="6934"/>
                      </a:cubicBezTo>
                      <a:cubicBezTo>
                        <a:pt x="138702" y="10764"/>
                        <a:pt x="135595" y="13867"/>
                        <a:pt x="131765" y="13867"/>
                      </a:cubicBezTo>
                      <a:close/>
                    </a:path>
                  </a:pathLst>
                </a:custGeom>
                <a:grpFill/>
                <a:ln w="351" cap="flat">
                  <a:noFill/>
                  <a:prstDash val="solid"/>
                  <a:miter/>
                </a:ln>
              </p:spPr>
              <p:txBody>
                <a:bodyPr rtlCol="0" anchor="ctr"/>
                <a:lstStyle/>
                <a:p>
                  <a:endParaRPr lang="en-GB" dirty="0"/>
                </a:p>
              </p:txBody>
            </p:sp>
            <p:sp>
              <p:nvSpPr>
                <p:cNvPr id="475" name="Freihandform: Form 96">
                  <a:extLst>
                    <a:ext uri="{FF2B5EF4-FFF2-40B4-BE49-F238E27FC236}">
                      <a16:creationId xmlns:a16="http://schemas.microsoft.com/office/drawing/2014/main" id="{85379D55-A33C-421C-9EC0-C9B2B0DB7753}"/>
                    </a:ext>
                  </a:extLst>
                </p:cNvPr>
                <p:cNvSpPr/>
                <p:nvPr/>
              </p:nvSpPr>
              <p:spPr>
                <a:xfrm>
                  <a:off x="885612" y="1845216"/>
                  <a:ext cx="48546" cy="41609"/>
                </a:xfrm>
                <a:custGeom>
                  <a:avLst/>
                  <a:gdLst>
                    <a:gd name="connsiteX0" fmla="*/ 22251 w 48546"/>
                    <a:gd name="connsiteY0" fmla="*/ 41609 h 41609"/>
                    <a:gd name="connsiteX1" fmla="*/ 17596 w 48546"/>
                    <a:gd name="connsiteY1" fmla="*/ 39815 h 41609"/>
                    <a:gd name="connsiteX2" fmla="*/ 2278 w 48546"/>
                    <a:gd name="connsiteY2" fmla="*/ 25944 h 41609"/>
                    <a:gd name="connsiteX3" fmla="*/ 1794 w 48546"/>
                    <a:gd name="connsiteY3" fmla="*/ 16150 h 41609"/>
                    <a:gd name="connsiteX4" fmla="*/ 11589 w 48546"/>
                    <a:gd name="connsiteY4" fmla="*/ 15665 h 41609"/>
                    <a:gd name="connsiteX5" fmla="*/ 21068 w 48546"/>
                    <a:gd name="connsiteY5" fmla="*/ 24249 h 41609"/>
                    <a:gd name="connsiteX6" fmla="*/ 35925 w 48546"/>
                    <a:gd name="connsiteY6" fmla="*/ 2967 h 41609"/>
                    <a:gd name="connsiteX7" fmla="*/ 45580 w 48546"/>
                    <a:gd name="connsiteY7" fmla="*/ 1250 h 41609"/>
                    <a:gd name="connsiteX8" fmla="*/ 47296 w 48546"/>
                    <a:gd name="connsiteY8" fmla="*/ 10905 h 41609"/>
                    <a:gd name="connsiteX9" fmla="*/ 27938 w 48546"/>
                    <a:gd name="connsiteY9" fmla="*/ 38646 h 41609"/>
                    <a:gd name="connsiteX10" fmla="*/ 23034 w 48546"/>
                    <a:gd name="connsiteY10" fmla="*/ 41567 h 41609"/>
                    <a:gd name="connsiteX11" fmla="*/ 22251 w 48546"/>
                    <a:gd name="connsiteY11" fmla="*/ 41609 h 41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6" h="41609">
                      <a:moveTo>
                        <a:pt x="22251" y="41609"/>
                      </a:moveTo>
                      <a:cubicBezTo>
                        <a:pt x="20541" y="41609"/>
                        <a:pt x="18877" y="40977"/>
                        <a:pt x="17596" y="39815"/>
                      </a:cubicBezTo>
                      <a:lnTo>
                        <a:pt x="2278" y="25944"/>
                      </a:lnTo>
                      <a:cubicBezTo>
                        <a:pt x="-558" y="23375"/>
                        <a:pt x="-776" y="18990"/>
                        <a:pt x="1794" y="16150"/>
                      </a:cubicBezTo>
                      <a:cubicBezTo>
                        <a:pt x="4364" y="13320"/>
                        <a:pt x="8749" y="13095"/>
                        <a:pt x="11589" y="15665"/>
                      </a:cubicBezTo>
                      <a:lnTo>
                        <a:pt x="21068" y="24249"/>
                      </a:lnTo>
                      <a:lnTo>
                        <a:pt x="35925" y="2967"/>
                      </a:lnTo>
                      <a:cubicBezTo>
                        <a:pt x="38119" y="-168"/>
                        <a:pt x="42438" y="-948"/>
                        <a:pt x="45580" y="1250"/>
                      </a:cubicBezTo>
                      <a:cubicBezTo>
                        <a:pt x="48722" y="3441"/>
                        <a:pt x="49491" y="7766"/>
                        <a:pt x="47296" y="10905"/>
                      </a:cubicBezTo>
                      <a:lnTo>
                        <a:pt x="27938" y="38646"/>
                      </a:lnTo>
                      <a:cubicBezTo>
                        <a:pt x="26801" y="40279"/>
                        <a:pt x="25014" y="41346"/>
                        <a:pt x="23034" y="41567"/>
                      </a:cubicBezTo>
                      <a:cubicBezTo>
                        <a:pt x="22770" y="41595"/>
                        <a:pt x="22511" y="41609"/>
                        <a:pt x="22251" y="41609"/>
                      </a:cubicBezTo>
                      <a:close/>
                    </a:path>
                  </a:pathLst>
                </a:custGeom>
                <a:grpFill/>
                <a:ln w="351" cap="flat">
                  <a:noFill/>
                  <a:prstDash val="solid"/>
                  <a:miter/>
                </a:ln>
              </p:spPr>
              <p:txBody>
                <a:bodyPr rtlCol="0" anchor="ctr"/>
                <a:lstStyle/>
                <a:p>
                  <a:endParaRPr lang="en-GB" dirty="0"/>
                </a:p>
              </p:txBody>
            </p:sp>
          </p:grpSp>
          <p:grpSp>
            <p:nvGrpSpPr>
              <p:cNvPr id="471" name="Graphic 10">
                <a:extLst>
                  <a:ext uri="{FF2B5EF4-FFF2-40B4-BE49-F238E27FC236}">
                    <a16:creationId xmlns:a16="http://schemas.microsoft.com/office/drawing/2014/main" id="{668C903E-3D99-4251-AB94-3AC5FD01AB3E}"/>
                  </a:ext>
                </a:extLst>
              </p:cNvPr>
              <p:cNvGrpSpPr/>
              <p:nvPr/>
            </p:nvGrpSpPr>
            <p:grpSpPr>
              <a:xfrm>
                <a:off x="885612" y="1938842"/>
                <a:ext cx="131764" cy="41607"/>
                <a:chOff x="885612" y="1938842"/>
                <a:chExt cx="131764" cy="41607"/>
              </a:xfrm>
              <a:grpFill/>
            </p:grpSpPr>
            <p:sp>
              <p:nvSpPr>
                <p:cNvPr id="472" name="Freihandform: Form 98">
                  <a:extLst>
                    <a:ext uri="{FF2B5EF4-FFF2-40B4-BE49-F238E27FC236}">
                      <a16:creationId xmlns:a16="http://schemas.microsoft.com/office/drawing/2014/main" id="{401E741F-0211-4CC3-B1C1-1E8E34B113FE}"/>
                    </a:ext>
                  </a:extLst>
                </p:cNvPr>
                <p:cNvSpPr/>
                <p:nvPr/>
              </p:nvSpPr>
              <p:spPr>
                <a:xfrm>
                  <a:off x="948030" y="1952712"/>
                  <a:ext cx="69347" cy="13867"/>
                </a:xfrm>
                <a:custGeom>
                  <a:avLst/>
                  <a:gdLst>
                    <a:gd name="connsiteX0" fmla="*/ 62414 w 69347"/>
                    <a:gd name="connsiteY0" fmla="*/ 13867 h 13867"/>
                    <a:gd name="connsiteX1" fmla="*/ 6934 w 69347"/>
                    <a:gd name="connsiteY1" fmla="*/ 13867 h 13867"/>
                    <a:gd name="connsiteX2" fmla="*/ 0 w 69347"/>
                    <a:gd name="connsiteY2" fmla="*/ 6934 h 13867"/>
                    <a:gd name="connsiteX3" fmla="*/ 6934 w 69347"/>
                    <a:gd name="connsiteY3" fmla="*/ 0 h 13867"/>
                    <a:gd name="connsiteX4" fmla="*/ 62414 w 69347"/>
                    <a:gd name="connsiteY4" fmla="*/ 0 h 13867"/>
                    <a:gd name="connsiteX5" fmla="*/ 69348 w 69347"/>
                    <a:gd name="connsiteY5" fmla="*/ 6934 h 13867"/>
                    <a:gd name="connsiteX6" fmla="*/ 62414 w 69347"/>
                    <a:gd name="connsiteY6" fmla="*/ 13867 h 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347" h="13867">
                      <a:moveTo>
                        <a:pt x="62414" y="13867"/>
                      </a:moveTo>
                      <a:lnTo>
                        <a:pt x="6934" y="13867"/>
                      </a:lnTo>
                      <a:cubicBezTo>
                        <a:pt x="3103" y="13867"/>
                        <a:pt x="0" y="10760"/>
                        <a:pt x="0" y="6934"/>
                      </a:cubicBezTo>
                      <a:cubicBezTo>
                        <a:pt x="0" y="3103"/>
                        <a:pt x="3103" y="0"/>
                        <a:pt x="6934" y="0"/>
                      </a:cubicBezTo>
                      <a:lnTo>
                        <a:pt x="62414" y="0"/>
                      </a:lnTo>
                      <a:cubicBezTo>
                        <a:pt x="66244" y="0"/>
                        <a:pt x="69348" y="3103"/>
                        <a:pt x="69348" y="6934"/>
                      </a:cubicBezTo>
                      <a:cubicBezTo>
                        <a:pt x="69348" y="10764"/>
                        <a:pt x="66244" y="13867"/>
                        <a:pt x="62414" y="13867"/>
                      </a:cubicBezTo>
                      <a:close/>
                    </a:path>
                  </a:pathLst>
                </a:custGeom>
                <a:grpFill/>
                <a:ln w="351" cap="flat">
                  <a:noFill/>
                  <a:prstDash val="solid"/>
                  <a:miter/>
                </a:ln>
              </p:spPr>
              <p:txBody>
                <a:bodyPr rtlCol="0" anchor="ctr"/>
                <a:lstStyle/>
                <a:p>
                  <a:endParaRPr lang="en-GB" dirty="0"/>
                </a:p>
              </p:txBody>
            </p:sp>
            <p:sp>
              <p:nvSpPr>
                <p:cNvPr id="473" name="Freihandform: Form 99">
                  <a:extLst>
                    <a:ext uri="{FF2B5EF4-FFF2-40B4-BE49-F238E27FC236}">
                      <a16:creationId xmlns:a16="http://schemas.microsoft.com/office/drawing/2014/main" id="{878D9AA1-851B-494F-8CDF-64B9FA037C0F}"/>
                    </a:ext>
                  </a:extLst>
                </p:cNvPr>
                <p:cNvSpPr/>
                <p:nvPr/>
              </p:nvSpPr>
              <p:spPr>
                <a:xfrm>
                  <a:off x="885612" y="1938842"/>
                  <a:ext cx="48546" cy="41607"/>
                </a:xfrm>
                <a:custGeom>
                  <a:avLst/>
                  <a:gdLst>
                    <a:gd name="connsiteX0" fmla="*/ 22251 w 48546"/>
                    <a:gd name="connsiteY0" fmla="*/ 41608 h 41607"/>
                    <a:gd name="connsiteX1" fmla="*/ 17596 w 48546"/>
                    <a:gd name="connsiteY1" fmla="*/ 39814 h 41607"/>
                    <a:gd name="connsiteX2" fmla="*/ 2278 w 48546"/>
                    <a:gd name="connsiteY2" fmla="*/ 25943 h 41607"/>
                    <a:gd name="connsiteX3" fmla="*/ 1794 w 48546"/>
                    <a:gd name="connsiteY3" fmla="*/ 16148 h 41607"/>
                    <a:gd name="connsiteX4" fmla="*/ 11589 w 48546"/>
                    <a:gd name="connsiteY4" fmla="*/ 15664 h 41607"/>
                    <a:gd name="connsiteX5" fmla="*/ 21068 w 48546"/>
                    <a:gd name="connsiteY5" fmla="*/ 24247 h 41607"/>
                    <a:gd name="connsiteX6" fmla="*/ 35925 w 48546"/>
                    <a:gd name="connsiteY6" fmla="*/ 2965 h 41607"/>
                    <a:gd name="connsiteX7" fmla="*/ 45580 w 48546"/>
                    <a:gd name="connsiteY7" fmla="*/ 1248 h 41607"/>
                    <a:gd name="connsiteX8" fmla="*/ 47296 w 48546"/>
                    <a:gd name="connsiteY8" fmla="*/ 10903 h 41607"/>
                    <a:gd name="connsiteX9" fmla="*/ 27938 w 48546"/>
                    <a:gd name="connsiteY9" fmla="*/ 38645 h 41607"/>
                    <a:gd name="connsiteX10" fmla="*/ 23034 w 48546"/>
                    <a:gd name="connsiteY10" fmla="*/ 41566 h 41607"/>
                    <a:gd name="connsiteX11" fmla="*/ 22251 w 48546"/>
                    <a:gd name="connsiteY11" fmla="*/ 41608 h 41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46" h="41607">
                      <a:moveTo>
                        <a:pt x="22251" y="41608"/>
                      </a:moveTo>
                      <a:cubicBezTo>
                        <a:pt x="20541" y="41608"/>
                        <a:pt x="18877" y="40976"/>
                        <a:pt x="17596" y="39814"/>
                      </a:cubicBezTo>
                      <a:lnTo>
                        <a:pt x="2278" y="25943"/>
                      </a:lnTo>
                      <a:cubicBezTo>
                        <a:pt x="-558" y="23373"/>
                        <a:pt x="-776" y="18988"/>
                        <a:pt x="1794" y="16148"/>
                      </a:cubicBezTo>
                      <a:cubicBezTo>
                        <a:pt x="4364" y="13315"/>
                        <a:pt x="8749" y="13087"/>
                        <a:pt x="11589" y="15664"/>
                      </a:cubicBezTo>
                      <a:lnTo>
                        <a:pt x="21068" y="24247"/>
                      </a:lnTo>
                      <a:lnTo>
                        <a:pt x="35925" y="2965"/>
                      </a:lnTo>
                      <a:cubicBezTo>
                        <a:pt x="38119" y="-170"/>
                        <a:pt x="42438" y="-946"/>
                        <a:pt x="45580" y="1248"/>
                      </a:cubicBezTo>
                      <a:cubicBezTo>
                        <a:pt x="48722" y="3439"/>
                        <a:pt x="49491" y="7764"/>
                        <a:pt x="47296" y="10903"/>
                      </a:cubicBezTo>
                      <a:lnTo>
                        <a:pt x="27938" y="38645"/>
                      </a:lnTo>
                      <a:cubicBezTo>
                        <a:pt x="26801" y="40277"/>
                        <a:pt x="25014" y="41345"/>
                        <a:pt x="23034" y="41566"/>
                      </a:cubicBezTo>
                      <a:cubicBezTo>
                        <a:pt x="22770" y="41594"/>
                        <a:pt x="22511" y="41608"/>
                        <a:pt x="22251" y="41608"/>
                      </a:cubicBezTo>
                      <a:close/>
                    </a:path>
                  </a:pathLst>
                </a:custGeom>
                <a:grpFill/>
                <a:ln w="351" cap="flat">
                  <a:noFill/>
                  <a:prstDash val="solid"/>
                  <a:miter/>
                </a:ln>
              </p:spPr>
              <p:txBody>
                <a:bodyPr rtlCol="0" anchor="ctr"/>
                <a:lstStyle/>
                <a:p>
                  <a:endParaRPr lang="en-GB" dirty="0"/>
                </a:p>
              </p:txBody>
            </p:sp>
          </p:grpSp>
        </p:grpSp>
        <p:grpSp>
          <p:nvGrpSpPr>
            <p:cNvPr id="458" name="Graphic 10">
              <a:extLst>
                <a:ext uri="{FF2B5EF4-FFF2-40B4-BE49-F238E27FC236}">
                  <a16:creationId xmlns:a16="http://schemas.microsoft.com/office/drawing/2014/main" id="{F7C2F1D1-C196-4F97-8103-A14E29F5CEBF}"/>
                </a:ext>
              </a:extLst>
            </p:cNvPr>
            <p:cNvGrpSpPr/>
            <p:nvPr/>
          </p:nvGrpSpPr>
          <p:grpSpPr>
            <a:xfrm>
              <a:off x="6249352" y="2593950"/>
              <a:ext cx="210852" cy="229574"/>
              <a:chOff x="1037890" y="1853827"/>
              <a:chExt cx="236521" cy="257523"/>
            </a:xfrm>
            <a:solidFill>
              <a:schemeClr val="accent1"/>
            </a:solidFill>
          </p:grpSpPr>
          <p:grpSp>
            <p:nvGrpSpPr>
              <p:cNvPr id="459" name="Graphic 10">
                <a:extLst>
                  <a:ext uri="{FF2B5EF4-FFF2-40B4-BE49-F238E27FC236}">
                    <a16:creationId xmlns:a16="http://schemas.microsoft.com/office/drawing/2014/main" id="{47C1F816-7686-432C-9786-997DAEC4F882}"/>
                  </a:ext>
                </a:extLst>
              </p:cNvPr>
              <p:cNvGrpSpPr/>
              <p:nvPr/>
            </p:nvGrpSpPr>
            <p:grpSpPr>
              <a:xfrm>
                <a:off x="1037890" y="1853827"/>
                <a:ext cx="236521" cy="257523"/>
                <a:chOff x="1037890" y="1853827"/>
                <a:chExt cx="236521" cy="257523"/>
              </a:xfrm>
              <a:solidFill>
                <a:schemeClr val="accent1"/>
              </a:solidFill>
            </p:grpSpPr>
            <p:sp>
              <p:nvSpPr>
                <p:cNvPr id="461" name="Freihandform: Form 102">
                  <a:extLst>
                    <a:ext uri="{FF2B5EF4-FFF2-40B4-BE49-F238E27FC236}">
                      <a16:creationId xmlns:a16="http://schemas.microsoft.com/office/drawing/2014/main" id="{09A5F3BD-A1F0-49C5-90B5-CA8E163DF59D}"/>
                    </a:ext>
                  </a:extLst>
                </p:cNvPr>
                <p:cNvSpPr/>
                <p:nvPr/>
              </p:nvSpPr>
              <p:spPr>
                <a:xfrm>
                  <a:off x="1149216" y="1918126"/>
                  <a:ext cx="125196" cy="193225"/>
                </a:xfrm>
                <a:custGeom>
                  <a:avLst/>
                  <a:gdLst>
                    <a:gd name="connsiteX0" fmla="*/ 6934 w 125196"/>
                    <a:gd name="connsiteY0" fmla="*/ 193225 h 193225"/>
                    <a:gd name="connsiteX1" fmla="*/ 3416 w 125196"/>
                    <a:gd name="connsiteY1" fmla="*/ 192267 h 193225"/>
                    <a:gd name="connsiteX2" fmla="*/ 0 w 125196"/>
                    <a:gd name="connsiteY2" fmla="*/ 186291 h 193225"/>
                    <a:gd name="connsiteX3" fmla="*/ 0 w 125196"/>
                    <a:gd name="connsiteY3" fmla="*/ 74966 h 193225"/>
                    <a:gd name="connsiteX4" fmla="*/ 3318 w 125196"/>
                    <a:gd name="connsiteY4" fmla="*/ 69047 h 193225"/>
                    <a:gd name="connsiteX5" fmla="*/ 114643 w 125196"/>
                    <a:gd name="connsiteY5" fmla="*/ 1019 h 193225"/>
                    <a:gd name="connsiteX6" fmla="*/ 121654 w 125196"/>
                    <a:gd name="connsiteY6" fmla="*/ 889 h 193225"/>
                    <a:gd name="connsiteX7" fmla="*/ 125196 w 125196"/>
                    <a:gd name="connsiteY7" fmla="*/ 6938 h 193225"/>
                    <a:gd name="connsiteX8" fmla="*/ 125196 w 125196"/>
                    <a:gd name="connsiteY8" fmla="*/ 124443 h 193225"/>
                    <a:gd name="connsiteX9" fmla="*/ 121629 w 125196"/>
                    <a:gd name="connsiteY9" fmla="*/ 130506 h 193225"/>
                    <a:gd name="connsiteX10" fmla="*/ 10304 w 125196"/>
                    <a:gd name="connsiteY10" fmla="*/ 192354 h 193225"/>
                    <a:gd name="connsiteX11" fmla="*/ 6934 w 125196"/>
                    <a:gd name="connsiteY11" fmla="*/ 193225 h 193225"/>
                    <a:gd name="connsiteX12" fmla="*/ 13871 w 125196"/>
                    <a:gd name="connsiteY12" fmla="*/ 78856 h 193225"/>
                    <a:gd name="connsiteX13" fmla="*/ 13871 w 125196"/>
                    <a:gd name="connsiteY13" fmla="*/ 174502 h 193225"/>
                    <a:gd name="connsiteX14" fmla="*/ 111325 w 125196"/>
                    <a:gd name="connsiteY14" fmla="*/ 120363 h 193225"/>
                    <a:gd name="connsiteX15" fmla="*/ 111325 w 125196"/>
                    <a:gd name="connsiteY15" fmla="*/ 19303 h 193225"/>
                    <a:gd name="connsiteX16" fmla="*/ 13871 w 125196"/>
                    <a:gd name="connsiteY16" fmla="*/ 78856 h 193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196" h="193225">
                      <a:moveTo>
                        <a:pt x="6934" y="193225"/>
                      </a:moveTo>
                      <a:cubicBezTo>
                        <a:pt x="5719" y="193225"/>
                        <a:pt x="4501" y="192906"/>
                        <a:pt x="3416" y="192267"/>
                      </a:cubicBezTo>
                      <a:cubicBezTo>
                        <a:pt x="1299" y="191020"/>
                        <a:pt x="0" y="188749"/>
                        <a:pt x="0" y="186291"/>
                      </a:cubicBezTo>
                      <a:lnTo>
                        <a:pt x="0" y="74966"/>
                      </a:lnTo>
                      <a:cubicBezTo>
                        <a:pt x="0" y="72551"/>
                        <a:pt x="1257" y="70307"/>
                        <a:pt x="3318" y="69047"/>
                      </a:cubicBezTo>
                      <a:lnTo>
                        <a:pt x="114643" y="1019"/>
                      </a:lnTo>
                      <a:cubicBezTo>
                        <a:pt x="116778" y="-290"/>
                        <a:pt x="119463" y="-343"/>
                        <a:pt x="121654" y="889"/>
                      </a:cubicBezTo>
                      <a:cubicBezTo>
                        <a:pt x="123841" y="2115"/>
                        <a:pt x="125196" y="4428"/>
                        <a:pt x="125196" y="6938"/>
                      </a:cubicBezTo>
                      <a:lnTo>
                        <a:pt x="125196" y="124443"/>
                      </a:lnTo>
                      <a:cubicBezTo>
                        <a:pt x="125196" y="126963"/>
                        <a:pt x="123831" y="129281"/>
                        <a:pt x="121629" y="130506"/>
                      </a:cubicBezTo>
                      <a:lnTo>
                        <a:pt x="10304" y="192354"/>
                      </a:lnTo>
                      <a:cubicBezTo>
                        <a:pt x="9254" y="192934"/>
                        <a:pt x="8092" y="193225"/>
                        <a:pt x="6934" y="193225"/>
                      </a:cubicBezTo>
                      <a:close/>
                      <a:moveTo>
                        <a:pt x="13871" y="78856"/>
                      </a:moveTo>
                      <a:lnTo>
                        <a:pt x="13871" y="174502"/>
                      </a:lnTo>
                      <a:lnTo>
                        <a:pt x="111325" y="120363"/>
                      </a:lnTo>
                      <a:lnTo>
                        <a:pt x="111325" y="19303"/>
                      </a:lnTo>
                      <a:lnTo>
                        <a:pt x="13871" y="78856"/>
                      </a:lnTo>
                      <a:close/>
                    </a:path>
                  </a:pathLst>
                </a:custGeom>
                <a:solidFill>
                  <a:schemeClr val="accent1"/>
                </a:solidFill>
                <a:ln w="351" cap="flat">
                  <a:noFill/>
                  <a:prstDash val="solid"/>
                  <a:miter/>
                </a:ln>
              </p:spPr>
              <p:txBody>
                <a:bodyPr rtlCol="0" anchor="ctr"/>
                <a:lstStyle/>
                <a:p>
                  <a:endParaRPr lang="en-GB" dirty="0"/>
                </a:p>
              </p:txBody>
            </p:sp>
            <p:sp>
              <p:nvSpPr>
                <p:cNvPr id="462" name="Freihandform: Form 103">
                  <a:extLst>
                    <a:ext uri="{FF2B5EF4-FFF2-40B4-BE49-F238E27FC236}">
                      <a16:creationId xmlns:a16="http://schemas.microsoft.com/office/drawing/2014/main" id="{59E8E291-CBD9-4494-8AA4-ED5BBC91A872}"/>
                    </a:ext>
                  </a:extLst>
                </p:cNvPr>
                <p:cNvSpPr/>
                <p:nvPr/>
              </p:nvSpPr>
              <p:spPr>
                <a:xfrm>
                  <a:off x="1037890" y="1918126"/>
                  <a:ext cx="125192" cy="193224"/>
                </a:xfrm>
                <a:custGeom>
                  <a:avLst/>
                  <a:gdLst>
                    <a:gd name="connsiteX0" fmla="*/ 118259 w 125192"/>
                    <a:gd name="connsiteY0" fmla="*/ 193225 h 193224"/>
                    <a:gd name="connsiteX1" fmla="*/ 114889 w 125192"/>
                    <a:gd name="connsiteY1" fmla="*/ 192351 h 193224"/>
                    <a:gd name="connsiteX2" fmla="*/ 3567 w 125192"/>
                    <a:gd name="connsiteY2" fmla="*/ 130502 h 193224"/>
                    <a:gd name="connsiteX3" fmla="*/ 0 w 125192"/>
                    <a:gd name="connsiteY3" fmla="*/ 124439 h 193224"/>
                    <a:gd name="connsiteX4" fmla="*/ 0 w 125192"/>
                    <a:gd name="connsiteY4" fmla="*/ 6938 h 193224"/>
                    <a:gd name="connsiteX5" fmla="*/ 3542 w 125192"/>
                    <a:gd name="connsiteY5" fmla="*/ 889 h 193224"/>
                    <a:gd name="connsiteX6" fmla="*/ 10553 w 125192"/>
                    <a:gd name="connsiteY6" fmla="*/ 1019 h 193224"/>
                    <a:gd name="connsiteX7" fmla="*/ 121875 w 125192"/>
                    <a:gd name="connsiteY7" fmla="*/ 69047 h 193224"/>
                    <a:gd name="connsiteX8" fmla="*/ 125193 w 125192"/>
                    <a:gd name="connsiteY8" fmla="*/ 74966 h 193224"/>
                    <a:gd name="connsiteX9" fmla="*/ 125193 w 125192"/>
                    <a:gd name="connsiteY9" fmla="*/ 186291 h 193224"/>
                    <a:gd name="connsiteX10" fmla="*/ 121777 w 125192"/>
                    <a:gd name="connsiteY10" fmla="*/ 192267 h 193224"/>
                    <a:gd name="connsiteX11" fmla="*/ 118259 w 125192"/>
                    <a:gd name="connsiteY11" fmla="*/ 193225 h 193224"/>
                    <a:gd name="connsiteX12" fmla="*/ 13874 w 125192"/>
                    <a:gd name="connsiteY12" fmla="*/ 120363 h 193224"/>
                    <a:gd name="connsiteX13" fmla="*/ 111325 w 125192"/>
                    <a:gd name="connsiteY13" fmla="*/ 174502 h 193224"/>
                    <a:gd name="connsiteX14" fmla="*/ 111325 w 125192"/>
                    <a:gd name="connsiteY14" fmla="*/ 78856 h 193224"/>
                    <a:gd name="connsiteX15" fmla="*/ 13874 w 125192"/>
                    <a:gd name="connsiteY15" fmla="*/ 19303 h 193224"/>
                    <a:gd name="connsiteX16" fmla="*/ 13874 w 125192"/>
                    <a:gd name="connsiteY16" fmla="*/ 120363 h 193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5192" h="193224">
                      <a:moveTo>
                        <a:pt x="118259" y="193225"/>
                      </a:moveTo>
                      <a:cubicBezTo>
                        <a:pt x="117101" y="193225"/>
                        <a:pt x="115939" y="192934"/>
                        <a:pt x="114889" y="192351"/>
                      </a:cubicBezTo>
                      <a:lnTo>
                        <a:pt x="3567" y="130502"/>
                      </a:lnTo>
                      <a:cubicBezTo>
                        <a:pt x="1366" y="129280"/>
                        <a:pt x="0" y="126960"/>
                        <a:pt x="0" y="124439"/>
                      </a:cubicBezTo>
                      <a:lnTo>
                        <a:pt x="0" y="6938"/>
                      </a:lnTo>
                      <a:cubicBezTo>
                        <a:pt x="0" y="4428"/>
                        <a:pt x="1355" y="2115"/>
                        <a:pt x="3542" y="889"/>
                      </a:cubicBezTo>
                      <a:cubicBezTo>
                        <a:pt x="5733" y="-339"/>
                        <a:pt x="8408" y="-294"/>
                        <a:pt x="10553" y="1019"/>
                      </a:cubicBezTo>
                      <a:lnTo>
                        <a:pt x="121875" y="69047"/>
                      </a:lnTo>
                      <a:cubicBezTo>
                        <a:pt x="123936" y="70307"/>
                        <a:pt x="125193" y="72550"/>
                        <a:pt x="125193" y="74966"/>
                      </a:cubicBezTo>
                      <a:lnTo>
                        <a:pt x="125193" y="186291"/>
                      </a:lnTo>
                      <a:cubicBezTo>
                        <a:pt x="125193" y="188749"/>
                        <a:pt x="123894" y="191020"/>
                        <a:pt x="121777" y="192267"/>
                      </a:cubicBezTo>
                      <a:cubicBezTo>
                        <a:pt x="120692" y="192909"/>
                        <a:pt x="119474" y="193225"/>
                        <a:pt x="118259" y="193225"/>
                      </a:cubicBezTo>
                      <a:close/>
                      <a:moveTo>
                        <a:pt x="13874" y="120363"/>
                      </a:moveTo>
                      <a:lnTo>
                        <a:pt x="111325" y="174502"/>
                      </a:lnTo>
                      <a:lnTo>
                        <a:pt x="111325" y="78856"/>
                      </a:lnTo>
                      <a:lnTo>
                        <a:pt x="13874" y="19303"/>
                      </a:lnTo>
                      <a:lnTo>
                        <a:pt x="13874" y="120363"/>
                      </a:lnTo>
                      <a:close/>
                    </a:path>
                  </a:pathLst>
                </a:custGeom>
                <a:solidFill>
                  <a:schemeClr val="accent1"/>
                </a:solidFill>
                <a:ln w="351" cap="flat">
                  <a:noFill/>
                  <a:prstDash val="solid"/>
                  <a:miter/>
                </a:ln>
              </p:spPr>
              <p:txBody>
                <a:bodyPr rtlCol="0" anchor="ctr"/>
                <a:lstStyle/>
                <a:p>
                  <a:endParaRPr lang="en-GB" dirty="0"/>
                </a:p>
              </p:txBody>
            </p:sp>
            <p:sp>
              <p:nvSpPr>
                <p:cNvPr id="463" name="Freihandform: Form 104">
                  <a:extLst>
                    <a:ext uri="{FF2B5EF4-FFF2-40B4-BE49-F238E27FC236}">
                      <a16:creationId xmlns:a16="http://schemas.microsoft.com/office/drawing/2014/main" id="{5B4254A2-4145-4C9C-9E10-37AC3DD0DCE8}"/>
                    </a:ext>
                  </a:extLst>
                </p:cNvPr>
                <p:cNvSpPr/>
                <p:nvPr/>
              </p:nvSpPr>
              <p:spPr>
                <a:xfrm>
                  <a:off x="1037892" y="1853827"/>
                  <a:ext cx="236512" cy="78172"/>
                </a:xfrm>
                <a:custGeom>
                  <a:avLst/>
                  <a:gdLst>
                    <a:gd name="connsiteX0" fmla="*/ 229576 w 236512"/>
                    <a:gd name="connsiteY0" fmla="*/ 78171 h 78172"/>
                    <a:gd name="connsiteX1" fmla="*/ 226114 w 236512"/>
                    <a:gd name="connsiteY1" fmla="*/ 77244 h 78172"/>
                    <a:gd name="connsiteX2" fmla="*/ 118205 w 236512"/>
                    <a:gd name="connsiteY2" fmla="*/ 14943 h 78172"/>
                    <a:gd name="connsiteX3" fmla="*/ 10408 w 236512"/>
                    <a:gd name="connsiteY3" fmla="*/ 77241 h 78172"/>
                    <a:gd name="connsiteX4" fmla="*/ 932 w 236512"/>
                    <a:gd name="connsiteY4" fmla="*/ 74709 h 78172"/>
                    <a:gd name="connsiteX5" fmla="*/ 3464 w 236512"/>
                    <a:gd name="connsiteY5" fmla="*/ 65234 h 78172"/>
                    <a:gd name="connsiteX6" fmla="*/ 114733 w 236512"/>
                    <a:gd name="connsiteY6" fmla="*/ 931 h 78172"/>
                    <a:gd name="connsiteX7" fmla="*/ 121670 w 236512"/>
                    <a:gd name="connsiteY7" fmla="*/ 928 h 78172"/>
                    <a:gd name="connsiteX8" fmla="*/ 233045 w 236512"/>
                    <a:gd name="connsiteY8" fmla="*/ 65230 h 78172"/>
                    <a:gd name="connsiteX9" fmla="*/ 235583 w 236512"/>
                    <a:gd name="connsiteY9" fmla="*/ 74706 h 78172"/>
                    <a:gd name="connsiteX10" fmla="*/ 229576 w 236512"/>
                    <a:gd name="connsiteY10" fmla="*/ 78171 h 78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6512" h="78172">
                      <a:moveTo>
                        <a:pt x="229576" y="78171"/>
                      </a:moveTo>
                      <a:cubicBezTo>
                        <a:pt x="228400" y="78171"/>
                        <a:pt x="227210" y="77873"/>
                        <a:pt x="226114" y="77244"/>
                      </a:cubicBezTo>
                      <a:lnTo>
                        <a:pt x="118205" y="14943"/>
                      </a:lnTo>
                      <a:lnTo>
                        <a:pt x="10408" y="77241"/>
                      </a:lnTo>
                      <a:cubicBezTo>
                        <a:pt x="7087" y="79161"/>
                        <a:pt x="2846" y="78016"/>
                        <a:pt x="932" y="74709"/>
                      </a:cubicBezTo>
                      <a:cubicBezTo>
                        <a:pt x="-985" y="71392"/>
                        <a:pt x="149" y="67151"/>
                        <a:pt x="3464" y="65234"/>
                      </a:cubicBezTo>
                      <a:lnTo>
                        <a:pt x="114733" y="931"/>
                      </a:lnTo>
                      <a:cubicBezTo>
                        <a:pt x="116881" y="-308"/>
                        <a:pt x="119525" y="-312"/>
                        <a:pt x="121670" y="928"/>
                      </a:cubicBezTo>
                      <a:lnTo>
                        <a:pt x="233045" y="65230"/>
                      </a:lnTo>
                      <a:cubicBezTo>
                        <a:pt x="236362" y="67147"/>
                        <a:pt x="237496" y="71388"/>
                        <a:pt x="235583" y="74706"/>
                      </a:cubicBezTo>
                      <a:cubicBezTo>
                        <a:pt x="234305" y="76928"/>
                        <a:pt x="231974" y="78171"/>
                        <a:pt x="229576" y="78171"/>
                      </a:cubicBezTo>
                      <a:close/>
                    </a:path>
                  </a:pathLst>
                </a:custGeom>
                <a:solidFill>
                  <a:schemeClr val="accent1"/>
                </a:solidFill>
                <a:ln w="351" cap="flat">
                  <a:noFill/>
                  <a:prstDash val="solid"/>
                  <a:miter/>
                </a:ln>
              </p:spPr>
              <p:txBody>
                <a:bodyPr rtlCol="0" anchor="ctr"/>
                <a:lstStyle/>
                <a:p>
                  <a:endParaRPr lang="en-GB" dirty="0"/>
                </a:p>
              </p:txBody>
            </p:sp>
          </p:grpSp>
          <p:sp>
            <p:nvSpPr>
              <p:cNvPr id="460" name="Freihandform: Form 105">
                <a:extLst>
                  <a:ext uri="{FF2B5EF4-FFF2-40B4-BE49-F238E27FC236}">
                    <a16:creationId xmlns:a16="http://schemas.microsoft.com/office/drawing/2014/main" id="{E3D15FAD-CF3B-4AD3-8C4A-5DDBD61E7731}"/>
                  </a:ext>
                </a:extLst>
              </p:cNvPr>
              <p:cNvSpPr/>
              <p:nvPr/>
            </p:nvSpPr>
            <p:spPr>
              <a:xfrm>
                <a:off x="1156990" y="1924603"/>
                <a:ext cx="60274" cy="85554"/>
              </a:xfrm>
              <a:custGeom>
                <a:avLst/>
                <a:gdLst>
                  <a:gd name="connsiteX0" fmla="*/ 53341 w 60274"/>
                  <a:gd name="connsiteY0" fmla="*/ 85554 h 85554"/>
                  <a:gd name="connsiteX1" fmla="*/ 46407 w 60274"/>
                  <a:gd name="connsiteY1" fmla="*/ 78621 h 85554"/>
                  <a:gd name="connsiteX2" fmla="*/ 46407 w 60274"/>
                  <a:gd name="connsiteY2" fmla="*/ 39185 h 85554"/>
                  <a:gd name="connsiteX3" fmla="*/ 3320 w 60274"/>
                  <a:gd name="connsiteY3" fmla="*/ 12854 h 85554"/>
                  <a:gd name="connsiteX4" fmla="*/ 1017 w 60274"/>
                  <a:gd name="connsiteY4" fmla="*/ 3319 h 85554"/>
                  <a:gd name="connsiteX5" fmla="*/ 10552 w 60274"/>
                  <a:gd name="connsiteY5" fmla="*/ 1016 h 85554"/>
                  <a:gd name="connsiteX6" fmla="*/ 56957 w 60274"/>
                  <a:gd name="connsiteY6" fmla="*/ 29379 h 85554"/>
                  <a:gd name="connsiteX7" fmla="*/ 60274 w 60274"/>
                  <a:gd name="connsiteY7" fmla="*/ 35295 h 85554"/>
                  <a:gd name="connsiteX8" fmla="*/ 60274 w 60274"/>
                  <a:gd name="connsiteY8" fmla="*/ 78624 h 85554"/>
                  <a:gd name="connsiteX9" fmla="*/ 53341 w 60274"/>
                  <a:gd name="connsiteY9" fmla="*/ 85554 h 8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274" h="85554">
                    <a:moveTo>
                      <a:pt x="53341" y="85554"/>
                    </a:moveTo>
                    <a:cubicBezTo>
                      <a:pt x="49510" y="85554"/>
                      <a:pt x="46407" y="82451"/>
                      <a:pt x="46407" y="78621"/>
                    </a:cubicBezTo>
                    <a:lnTo>
                      <a:pt x="46407" y="39185"/>
                    </a:lnTo>
                    <a:lnTo>
                      <a:pt x="3320" y="12854"/>
                    </a:lnTo>
                    <a:cubicBezTo>
                      <a:pt x="51" y="10857"/>
                      <a:pt x="-977" y="6588"/>
                      <a:pt x="1017" y="3319"/>
                    </a:cubicBezTo>
                    <a:cubicBezTo>
                      <a:pt x="3021" y="47"/>
                      <a:pt x="7287" y="-975"/>
                      <a:pt x="10552" y="1016"/>
                    </a:cubicBezTo>
                    <a:lnTo>
                      <a:pt x="56957" y="29379"/>
                    </a:lnTo>
                    <a:cubicBezTo>
                      <a:pt x="59018" y="30640"/>
                      <a:pt x="60274" y="32879"/>
                      <a:pt x="60274" y="35295"/>
                    </a:cubicBezTo>
                    <a:lnTo>
                      <a:pt x="60274" y="78624"/>
                    </a:lnTo>
                    <a:cubicBezTo>
                      <a:pt x="60274" y="82451"/>
                      <a:pt x="57171" y="85554"/>
                      <a:pt x="53341" y="85554"/>
                    </a:cubicBezTo>
                    <a:close/>
                  </a:path>
                </a:pathLst>
              </a:custGeom>
              <a:solidFill>
                <a:schemeClr val="accent1"/>
              </a:solidFill>
              <a:ln w="351" cap="flat">
                <a:noFill/>
                <a:prstDash val="solid"/>
                <a:miter/>
              </a:ln>
            </p:spPr>
            <p:txBody>
              <a:bodyPr rtlCol="0" anchor="ctr"/>
              <a:lstStyle/>
              <a:p>
                <a:endParaRPr lang="en-GB" dirty="0"/>
              </a:p>
            </p:txBody>
          </p:sp>
        </p:grpSp>
      </p:grpSp>
      <p:grpSp>
        <p:nvGrpSpPr>
          <p:cNvPr id="48" name="Group 47">
            <a:extLst>
              <a:ext uri="{FF2B5EF4-FFF2-40B4-BE49-F238E27FC236}">
                <a16:creationId xmlns:a16="http://schemas.microsoft.com/office/drawing/2014/main" id="{350C8908-96BF-D339-5190-A240B94E1B56}"/>
              </a:ext>
            </a:extLst>
          </p:cNvPr>
          <p:cNvGrpSpPr/>
          <p:nvPr/>
        </p:nvGrpSpPr>
        <p:grpSpPr>
          <a:xfrm>
            <a:off x="8116784" y="2391526"/>
            <a:ext cx="451769" cy="432000"/>
            <a:chOff x="8116372" y="2391526"/>
            <a:chExt cx="451769" cy="432000"/>
          </a:xfrm>
        </p:grpSpPr>
        <p:grpSp>
          <p:nvGrpSpPr>
            <p:cNvPr id="479" name="Graphic 10">
              <a:extLst>
                <a:ext uri="{FF2B5EF4-FFF2-40B4-BE49-F238E27FC236}">
                  <a16:creationId xmlns:a16="http://schemas.microsoft.com/office/drawing/2014/main" id="{C06D313E-2DFB-4B62-BA29-210979E08C84}"/>
                </a:ext>
              </a:extLst>
            </p:cNvPr>
            <p:cNvGrpSpPr/>
            <p:nvPr/>
          </p:nvGrpSpPr>
          <p:grpSpPr>
            <a:xfrm>
              <a:off x="8379753" y="2629915"/>
              <a:ext cx="114190" cy="114179"/>
              <a:chOff x="2838873" y="1919669"/>
              <a:chExt cx="113193" cy="113182"/>
            </a:xfrm>
            <a:solidFill>
              <a:schemeClr val="accent1"/>
            </a:solidFill>
          </p:grpSpPr>
          <p:sp>
            <p:nvSpPr>
              <p:cNvPr id="486" name="Freihandform: Form 158">
                <a:extLst>
                  <a:ext uri="{FF2B5EF4-FFF2-40B4-BE49-F238E27FC236}">
                    <a16:creationId xmlns:a16="http://schemas.microsoft.com/office/drawing/2014/main" id="{44A81B7C-8C8E-46A9-8E4F-397D108A3407}"/>
                  </a:ext>
                </a:extLst>
              </p:cNvPr>
              <p:cNvSpPr/>
              <p:nvPr/>
            </p:nvSpPr>
            <p:spPr>
              <a:xfrm>
                <a:off x="2838873" y="1919669"/>
                <a:ext cx="113193" cy="113182"/>
              </a:xfrm>
              <a:custGeom>
                <a:avLst/>
                <a:gdLst>
                  <a:gd name="connsiteX0" fmla="*/ 56593 w 113193"/>
                  <a:gd name="connsiteY0" fmla="*/ 113183 h 113182"/>
                  <a:gd name="connsiteX1" fmla="*/ 0 w 113193"/>
                  <a:gd name="connsiteY1" fmla="*/ 56590 h 113182"/>
                  <a:gd name="connsiteX2" fmla="*/ 56593 w 113193"/>
                  <a:gd name="connsiteY2" fmla="*/ 0 h 113182"/>
                  <a:gd name="connsiteX3" fmla="*/ 74596 w 113193"/>
                  <a:gd name="connsiteY3" fmla="*/ 2921 h 113182"/>
                  <a:gd name="connsiteX4" fmla="*/ 78971 w 113193"/>
                  <a:gd name="connsiteY4" fmla="*/ 11698 h 113182"/>
                  <a:gd name="connsiteX5" fmla="*/ 70194 w 113193"/>
                  <a:gd name="connsiteY5" fmla="*/ 16072 h 113182"/>
                  <a:gd name="connsiteX6" fmla="*/ 56593 w 113193"/>
                  <a:gd name="connsiteY6" fmla="*/ 13867 h 113182"/>
                  <a:gd name="connsiteX7" fmla="*/ 13871 w 113193"/>
                  <a:gd name="connsiteY7" fmla="*/ 56586 h 113182"/>
                  <a:gd name="connsiteX8" fmla="*/ 56593 w 113193"/>
                  <a:gd name="connsiteY8" fmla="*/ 99308 h 113182"/>
                  <a:gd name="connsiteX9" fmla="*/ 99322 w 113193"/>
                  <a:gd name="connsiteY9" fmla="*/ 56586 h 113182"/>
                  <a:gd name="connsiteX10" fmla="*/ 99066 w 113193"/>
                  <a:gd name="connsiteY10" fmla="*/ 51924 h 113182"/>
                  <a:gd name="connsiteX11" fmla="*/ 105203 w 113193"/>
                  <a:gd name="connsiteY11" fmla="*/ 44270 h 113182"/>
                  <a:gd name="connsiteX12" fmla="*/ 112856 w 113193"/>
                  <a:gd name="connsiteY12" fmla="*/ 50407 h 113182"/>
                  <a:gd name="connsiteX13" fmla="*/ 113193 w 113193"/>
                  <a:gd name="connsiteY13" fmla="*/ 56586 h 113182"/>
                  <a:gd name="connsiteX14" fmla="*/ 56593 w 113193"/>
                  <a:gd name="connsiteY14" fmla="*/ 113183 h 11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193" h="113182">
                    <a:moveTo>
                      <a:pt x="56593" y="113183"/>
                    </a:moveTo>
                    <a:cubicBezTo>
                      <a:pt x="25386" y="113183"/>
                      <a:pt x="0" y="87796"/>
                      <a:pt x="0" y="56590"/>
                    </a:cubicBezTo>
                    <a:cubicBezTo>
                      <a:pt x="0" y="25390"/>
                      <a:pt x="25383" y="0"/>
                      <a:pt x="56593" y="0"/>
                    </a:cubicBezTo>
                    <a:cubicBezTo>
                      <a:pt x="62751" y="0"/>
                      <a:pt x="68804" y="983"/>
                      <a:pt x="74596" y="2921"/>
                    </a:cubicBezTo>
                    <a:cubicBezTo>
                      <a:pt x="78226" y="4136"/>
                      <a:pt x="80189" y="8068"/>
                      <a:pt x="78971" y="11698"/>
                    </a:cubicBezTo>
                    <a:cubicBezTo>
                      <a:pt x="77759" y="15335"/>
                      <a:pt x="73824" y="17290"/>
                      <a:pt x="70194" y="16072"/>
                    </a:cubicBezTo>
                    <a:cubicBezTo>
                      <a:pt x="65826" y="14608"/>
                      <a:pt x="61248" y="13867"/>
                      <a:pt x="56593" y="13867"/>
                    </a:cubicBezTo>
                    <a:cubicBezTo>
                      <a:pt x="33040" y="13867"/>
                      <a:pt x="13871" y="33029"/>
                      <a:pt x="13871" y="56586"/>
                    </a:cubicBezTo>
                    <a:cubicBezTo>
                      <a:pt x="13871" y="80140"/>
                      <a:pt x="33036" y="99308"/>
                      <a:pt x="56593" y="99308"/>
                    </a:cubicBezTo>
                    <a:cubicBezTo>
                      <a:pt x="80154" y="99308"/>
                      <a:pt x="99322" y="80143"/>
                      <a:pt x="99322" y="56586"/>
                    </a:cubicBezTo>
                    <a:cubicBezTo>
                      <a:pt x="99322" y="55010"/>
                      <a:pt x="99235" y="53458"/>
                      <a:pt x="99066" y="51924"/>
                    </a:cubicBezTo>
                    <a:cubicBezTo>
                      <a:pt x="98645" y="48118"/>
                      <a:pt x="101397" y="44692"/>
                      <a:pt x="105203" y="44270"/>
                    </a:cubicBezTo>
                    <a:cubicBezTo>
                      <a:pt x="109036" y="43867"/>
                      <a:pt x="112435" y="46602"/>
                      <a:pt x="112856" y="50407"/>
                    </a:cubicBezTo>
                    <a:cubicBezTo>
                      <a:pt x="113081" y="52436"/>
                      <a:pt x="113193" y="54497"/>
                      <a:pt x="113193" y="56586"/>
                    </a:cubicBezTo>
                    <a:cubicBezTo>
                      <a:pt x="113193" y="87796"/>
                      <a:pt x="87804" y="113183"/>
                      <a:pt x="56593" y="113183"/>
                    </a:cubicBezTo>
                    <a:close/>
                  </a:path>
                </a:pathLst>
              </a:custGeom>
              <a:solidFill>
                <a:schemeClr val="accent1"/>
              </a:solidFill>
              <a:ln w="351" cap="flat">
                <a:noFill/>
                <a:prstDash val="solid"/>
                <a:miter/>
              </a:ln>
            </p:spPr>
            <p:txBody>
              <a:bodyPr rtlCol="0" anchor="ctr"/>
              <a:lstStyle/>
              <a:p>
                <a:endParaRPr lang="en-GB" dirty="0"/>
              </a:p>
            </p:txBody>
          </p:sp>
          <p:sp>
            <p:nvSpPr>
              <p:cNvPr id="487" name="Freihandform: Form 159">
                <a:extLst>
                  <a:ext uri="{FF2B5EF4-FFF2-40B4-BE49-F238E27FC236}">
                    <a16:creationId xmlns:a16="http://schemas.microsoft.com/office/drawing/2014/main" id="{5BB58BFA-4E90-44CE-BE8F-AD882501B31C}"/>
                  </a:ext>
                </a:extLst>
              </p:cNvPr>
              <p:cNvSpPr/>
              <p:nvPr/>
            </p:nvSpPr>
            <p:spPr>
              <a:xfrm>
                <a:off x="2868159" y="1929995"/>
                <a:ext cx="75371" cy="73064"/>
              </a:xfrm>
              <a:custGeom>
                <a:avLst/>
                <a:gdLst>
                  <a:gd name="connsiteX0" fmla="*/ 27307 w 75371"/>
                  <a:gd name="connsiteY0" fmla="*/ 73064 h 73064"/>
                  <a:gd name="connsiteX1" fmla="*/ 22466 w 75371"/>
                  <a:gd name="connsiteY1" fmla="*/ 71095 h 73064"/>
                  <a:gd name="connsiteX2" fmla="*/ 2093 w 75371"/>
                  <a:gd name="connsiteY2" fmla="*/ 51231 h 73064"/>
                  <a:gd name="connsiteX3" fmla="*/ 1971 w 75371"/>
                  <a:gd name="connsiteY3" fmla="*/ 41426 h 73064"/>
                  <a:gd name="connsiteX4" fmla="*/ 11776 w 75371"/>
                  <a:gd name="connsiteY4" fmla="*/ 41303 h 73064"/>
                  <a:gd name="connsiteX5" fmla="*/ 26282 w 75371"/>
                  <a:gd name="connsiteY5" fmla="*/ 55448 h 73064"/>
                  <a:gd name="connsiteX6" fmla="*/ 62738 w 75371"/>
                  <a:gd name="connsiteY6" fmla="*/ 2976 h 73064"/>
                  <a:gd name="connsiteX7" fmla="*/ 72389 w 75371"/>
                  <a:gd name="connsiteY7" fmla="*/ 1238 h 73064"/>
                  <a:gd name="connsiteX8" fmla="*/ 74130 w 75371"/>
                  <a:gd name="connsiteY8" fmla="*/ 10893 h 73064"/>
                  <a:gd name="connsiteX9" fmla="*/ 32998 w 75371"/>
                  <a:gd name="connsiteY9" fmla="*/ 70087 h 73064"/>
                  <a:gd name="connsiteX10" fmla="*/ 27967 w 75371"/>
                  <a:gd name="connsiteY10" fmla="*/ 73033 h 73064"/>
                  <a:gd name="connsiteX11" fmla="*/ 27307 w 75371"/>
                  <a:gd name="connsiteY11" fmla="*/ 73064 h 73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71" h="73064">
                    <a:moveTo>
                      <a:pt x="27307" y="73064"/>
                    </a:moveTo>
                    <a:cubicBezTo>
                      <a:pt x="25507" y="73064"/>
                      <a:pt x="23765" y="72362"/>
                      <a:pt x="22466" y="71095"/>
                    </a:cubicBezTo>
                    <a:lnTo>
                      <a:pt x="2093" y="51231"/>
                    </a:lnTo>
                    <a:cubicBezTo>
                      <a:pt x="-648" y="48559"/>
                      <a:pt x="-705" y="44168"/>
                      <a:pt x="1971" y="41426"/>
                    </a:cubicBezTo>
                    <a:cubicBezTo>
                      <a:pt x="4660" y="38691"/>
                      <a:pt x="9041" y="38631"/>
                      <a:pt x="11776" y="41303"/>
                    </a:cubicBezTo>
                    <a:lnTo>
                      <a:pt x="26282" y="55448"/>
                    </a:lnTo>
                    <a:lnTo>
                      <a:pt x="62738" y="2976"/>
                    </a:lnTo>
                    <a:cubicBezTo>
                      <a:pt x="64918" y="-170"/>
                      <a:pt x="69240" y="-942"/>
                      <a:pt x="72389" y="1238"/>
                    </a:cubicBezTo>
                    <a:cubicBezTo>
                      <a:pt x="75538" y="3425"/>
                      <a:pt x="76317" y="7747"/>
                      <a:pt x="74130" y="10893"/>
                    </a:cubicBezTo>
                    <a:lnTo>
                      <a:pt x="32998" y="70087"/>
                    </a:lnTo>
                    <a:cubicBezTo>
                      <a:pt x="31833" y="71758"/>
                      <a:pt x="29993" y="72836"/>
                      <a:pt x="27967" y="73033"/>
                    </a:cubicBezTo>
                    <a:cubicBezTo>
                      <a:pt x="27750" y="73054"/>
                      <a:pt x="27525" y="73064"/>
                      <a:pt x="27307" y="73064"/>
                    </a:cubicBezTo>
                    <a:close/>
                  </a:path>
                </a:pathLst>
              </a:custGeom>
              <a:solidFill>
                <a:schemeClr val="accent1"/>
              </a:solidFill>
              <a:ln w="351" cap="flat">
                <a:noFill/>
                <a:prstDash val="solid"/>
                <a:miter/>
              </a:ln>
            </p:spPr>
            <p:txBody>
              <a:bodyPr rtlCol="0" anchor="ctr"/>
              <a:lstStyle/>
              <a:p>
                <a:endParaRPr lang="en-GB" dirty="0"/>
              </a:p>
            </p:txBody>
          </p:sp>
        </p:grpSp>
        <p:grpSp>
          <p:nvGrpSpPr>
            <p:cNvPr id="480" name="Group 479">
              <a:extLst>
                <a:ext uri="{FF2B5EF4-FFF2-40B4-BE49-F238E27FC236}">
                  <a16:creationId xmlns:a16="http://schemas.microsoft.com/office/drawing/2014/main" id="{64B70576-6F63-4588-A86F-C8D8E258EAB1}"/>
                </a:ext>
              </a:extLst>
            </p:cNvPr>
            <p:cNvGrpSpPr/>
            <p:nvPr/>
          </p:nvGrpSpPr>
          <p:grpSpPr>
            <a:xfrm>
              <a:off x="8116372" y="2391526"/>
              <a:ext cx="451769" cy="432000"/>
              <a:chOff x="2577792" y="1683361"/>
              <a:chExt cx="447824" cy="428228"/>
            </a:xfrm>
            <a:solidFill>
              <a:schemeClr val="tx2"/>
            </a:solidFill>
          </p:grpSpPr>
          <p:grpSp>
            <p:nvGrpSpPr>
              <p:cNvPr id="481" name="Graphic 10">
                <a:extLst>
                  <a:ext uri="{FF2B5EF4-FFF2-40B4-BE49-F238E27FC236}">
                    <a16:creationId xmlns:a16="http://schemas.microsoft.com/office/drawing/2014/main" id="{DFC224FC-E191-4FFD-8A3C-54248D785706}"/>
                  </a:ext>
                </a:extLst>
              </p:cNvPr>
              <p:cNvGrpSpPr/>
              <p:nvPr/>
            </p:nvGrpSpPr>
            <p:grpSpPr>
              <a:xfrm>
                <a:off x="2577792" y="1683361"/>
                <a:ext cx="323812" cy="389554"/>
                <a:chOff x="2577792" y="1683361"/>
                <a:chExt cx="323812" cy="389554"/>
              </a:xfrm>
              <a:grpFill/>
            </p:grpSpPr>
            <p:sp>
              <p:nvSpPr>
                <p:cNvPr id="483" name="Freihandform: Form 161">
                  <a:extLst>
                    <a:ext uri="{FF2B5EF4-FFF2-40B4-BE49-F238E27FC236}">
                      <a16:creationId xmlns:a16="http://schemas.microsoft.com/office/drawing/2014/main" id="{CE3416C5-5A9A-4A3D-B57C-24B512BF0F5F}"/>
                    </a:ext>
                  </a:extLst>
                </p:cNvPr>
                <p:cNvSpPr/>
                <p:nvPr/>
              </p:nvSpPr>
              <p:spPr>
                <a:xfrm>
                  <a:off x="2577794" y="1767889"/>
                  <a:ext cx="323809" cy="305026"/>
                </a:xfrm>
                <a:custGeom>
                  <a:avLst/>
                  <a:gdLst>
                    <a:gd name="connsiteX0" fmla="*/ 233194 w 323809"/>
                    <a:gd name="connsiteY0" fmla="*/ 305027 h 305026"/>
                    <a:gd name="connsiteX1" fmla="*/ 6934 w 323809"/>
                    <a:gd name="connsiteY1" fmla="*/ 305027 h 305026"/>
                    <a:gd name="connsiteX2" fmla="*/ 0 w 323809"/>
                    <a:gd name="connsiteY2" fmla="*/ 298093 h 305026"/>
                    <a:gd name="connsiteX3" fmla="*/ 0 w 323809"/>
                    <a:gd name="connsiteY3" fmla="*/ 6934 h 305026"/>
                    <a:gd name="connsiteX4" fmla="*/ 6934 w 323809"/>
                    <a:gd name="connsiteY4" fmla="*/ 0 h 305026"/>
                    <a:gd name="connsiteX5" fmla="*/ 316875 w 323809"/>
                    <a:gd name="connsiteY5" fmla="*/ 0 h 305026"/>
                    <a:gd name="connsiteX6" fmla="*/ 323809 w 323809"/>
                    <a:gd name="connsiteY6" fmla="*/ 6934 h 305026"/>
                    <a:gd name="connsiteX7" fmla="*/ 323809 w 323809"/>
                    <a:gd name="connsiteY7" fmla="*/ 80789 h 305026"/>
                    <a:gd name="connsiteX8" fmla="*/ 316875 w 323809"/>
                    <a:gd name="connsiteY8" fmla="*/ 87723 h 305026"/>
                    <a:gd name="connsiteX9" fmla="*/ 309942 w 323809"/>
                    <a:gd name="connsiteY9" fmla="*/ 80789 h 305026"/>
                    <a:gd name="connsiteX10" fmla="*/ 309942 w 323809"/>
                    <a:gd name="connsiteY10" fmla="*/ 13871 h 305026"/>
                    <a:gd name="connsiteX11" fmla="*/ 13867 w 323809"/>
                    <a:gd name="connsiteY11" fmla="*/ 13871 h 305026"/>
                    <a:gd name="connsiteX12" fmla="*/ 13867 w 323809"/>
                    <a:gd name="connsiteY12" fmla="*/ 291159 h 305026"/>
                    <a:gd name="connsiteX13" fmla="*/ 233194 w 323809"/>
                    <a:gd name="connsiteY13" fmla="*/ 291159 h 305026"/>
                    <a:gd name="connsiteX14" fmla="*/ 240127 w 323809"/>
                    <a:gd name="connsiteY14" fmla="*/ 298093 h 305026"/>
                    <a:gd name="connsiteX15" fmla="*/ 233194 w 323809"/>
                    <a:gd name="connsiteY15" fmla="*/ 305027 h 305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3809" h="305026">
                      <a:moveTo>
                        <a:pt x="233194" y="305027"/>
                      </a:moveTo>
                      <a:lnTo>
                        <a:pt x="6934" y="305027"/>
                      </a:lnTo>
                      <a:cubicBezTo>
                        <a:pt x="3100" y="305027"/>
                        <a:pt x="0" y="301920"/>
                        <a:pt x="0" y="298093"/>
                      </a:cubicBezTo>
                      <a:lnTo>
                        <a:pt x="0" y="6934"/>
                      </a:lnTo>
                      <a:cubicBezTo>
                        <a:pt x="0" y="3103"/>
                        <a:pt x="3103" y="0"/>
                        <a:pt x="6934" y="0"/>
                      </a:cubicBezTo>
                      <a:lnTo>
                        <a:pt x="316875" y="0"/>
                      </a:lnTo>
                      <a:cubicBezTo>
                        <a:pt x="320709" y="0"/>
                        <a:pt x="323809" y="3103"/>
                        <a:pt x="323809" y="6934"/>
                      </a:cubicBezTo>
                      <a:lnTo>
                        <a:pt x="323809" y="80789"/>
                      </a:lnTo>
                      <a:cubicBezTo>
                        <a:pt x="323809" y="84619"/>
                        <a:pt x="320706" y="87723"/>
                        <a:pt x="316875" y="87723"/>
                      </a:cubicBezTo>
                      <a:cubicBezTo>
                        <a:pt x="313045" y="87723"/>
                        <a:pt x="309942" y="84619"/>
                        <a:pt x="309942" y="80789"/>
                      </a:cubicBezTo>
                      <a:lnTo>
                        <a:pt x="309942" y="13871"/>
                      </a:lnTo>
                      <a:lnTo>
                        <a:pt x="13867" y="13871"/>
                      </a:lnTo>
                      <a:lnTo>
                        <a:pt x="13867" y="291159"/>
                      </a:lnTo>
                      <a:lnTo>
                        <a:pt x="233194" y="291159"/>
                      </a:lnTo>
                      <a:cubicBezTo>
                        <a:pt x="237027" y="291159"/>
                        <a:pt x="240127" y="294263"/>
                        <a:pt x="240127" y="298093"/>
                      </a:cubicBezTo>
                      <a:cubicBezTo>
                        <a:pt x="240127" y="301923"/>
                        <a:pt x="237024" y="305027"/>
                        <a:pt x="233194" y="305027"/>
                      </a:cubicBezTo>
                      <a:close/>
                    </a:path>
                  </a:pathLst>
                </a:custGeom>
                <a:grpFill/>
                <a:ln w="351" cap="flat">
                  <a:noFill/>
                  <a:prstDash val="solid"/>
                  <a:miter/>
                </a:ln>
              </p:spPr>
              <p:txBody>
                <a:bodyPr rtlCol="0" anchor="ctr"/>
                <a:lstStyle/>
                <a:p>
                  <a:endParaRPr lang="en-GB" dirty="0"/>
                </a:p>
              </p:txBody>
            </p:sp>
            <p:sp>
              <p:nvSpPr>
                <p:cNvPr id="484" name="Freihandform: Form 162">
                  <a:extLst>
                    <a:ext uri="{FF2B5EF4-FFF2-40B4-BE49-F238E27FC236}">
                      <a16:creationId xmlns:a16="http://schemas.microsoft.com/office/drawing/2014/main" id="{CF29BD7C-CA5A-401E-B437-246EDF46E7D3}"/>
                    </a:ext>
                  </a:extLst>
                </p:cNvPr>
                <p:cNvSpPr/>
                <p:nvPr/>
              </p:nvSpPr>
              <p:spPr>
                <a:xfrm>
                  <a:off x="2577792" y="1683361"/>
                  <a:ext cx="323812" cy="98398"/>
                </a:xfrm>
                <a:custGeom>
                  <a:avLst/>
                  <a:gdLst>
                    <a:gd name="connsiteX0" fmla="*/ 316877 w 323812"/>
                    <a:gd name="connsiteY0" fmla="*/ 98399 h 98398"/>
                    <a:gd name="connsiteX1" fmla="*/ 6935 w 323812"/>
                    <a:gd name="connsiteY1" fmla="*/ 98399 h 98398"/>
                    <a:gd name="connsiteX2" fmla="*/ 1308 w 323812"/>
                    <a:gd name="connsiteY2" fmla="*/ 95520 h 98398"/>
                    <a:gd name="connsiteX3" fmla="*/ 360 w 323812"/>
                    <a:gd name="connsiteY3" fmla="*/ 89267 h 98398"/>
                    <a:gd name="connsiteX4" fmla="*/ 28533 w 323812"/>
                    <a:gd name="connsiteY4" fmla="*/ 4739 h 98398"/>
                    <a:gd name="connsiteX5" fmla="*/ 35109 w 323812"/>
                    <a:gd name="connsiteY5" fmla="*/ 0 h 98398"/>
                    <a:gd name="connsiteX6" fmla="*/ 288703 w 323812"/>
                    <a:gd name="connsiteY6" fmla="*/ 0 h 98398"/>
                    <a:gd name="connsiteX7" fmla="*/ 295279 w 323812"/>
                    <a:gd name="connsiteY7" fmla="*/ 4739 h 98398"/>
                    <a:gd name="connsiteX8" fmla="*/ 323453 w 323812"/>
                    <a:gd name="connsiteY8" fmla="*/ 89267 h 98398"/>
                    <a:gd name="connsiteX9" fmla="*/ 322505 w 323812"/>
                    <a:gd name="connsiteY9" fmla="*/ 95520 h 98398"/>
                    <a:gd name="connsiteX10" fmla="*/ 316877 w 323812"/>
                    <a:gd name="connsiteY10" fmla="*/ 98399 h 98398"/>
                    <a:gd name="connsiteX11" fmla="*/ 16558 w 323812"/>
                    <a:gd name="connsiteY11" fmla="*/ 84528 h 98398"/>
                    <a:gd name="connsiteX12" fmla="*/ 307254 w 323812"/>
                    <a:gd name="connsiteY12" fmla="*/ 84528 h 98398"/>
                    <a:gd name="connsiteX13" fmla="*/ 283704 w 323812"/>
                    <a:gd name="connsiteY13" fmla="*/ 13871 h 98398"/>
                    <a:gd name="connsiteX14" fmla="*/ 40105 w 323812"/>
                    <a:gd name="connsiteY14" fmla="*/ 13871 h 98398"/>
                    <a:gd name="connsiteX15" fmla="*/ 16558 w 323812"/>
                    <a:gd name="connsiteY15" fmla="*/ 84528 h 98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23812" h="98398">
                      <a:moveTo>
                        <a:pt x="316877" y="98399"/>
                      </a:moveTo>
                      <a:lnTo>
                        <a:pt x="6935" y="98399"/>
                      </a:lnTo>
                      <a:cubicBezTo>
                        <a:pt x="4706" y="98399"/>
                        <a:pt x="2614" y="97328"/>
                        <a:pt x="1308" y="95520"/>
                      </a:cubicBezTo>
                      <a:cubicBezTo>
                        <a:pt x="9" y="93709"/>
                        <a:pt x="-353" y="91384"/>
                        <a:pt x="360" y="89267"/>
                      </a:cubicBezTo>
                      <a:lnTo>
                        <a:pt x="28533" y="4739"/>
                      </a:lnTo>
                      <a:cubicBezTo>
                        <a:pt x="29474" y="1910"/>
                        <a:pt x="32121" y="0"/>
                        <a:pt x="35109" y="0"/>
                      </a:cubicBezTo>
                      <a:lnTo>
                        <a:pt x="288703" y="0"/>
                      </a:lnTo>
                      <a:cubicBezTo>
                        <a:pt x="291691" y="0"/>
                        <a:pt x="294338" y="1910"/>
                        <a:pt x="295279" y="4739"/>
                      </a:cubicBezTo>
                      <a:lnTo>
                        <a:pt x="323453" y="89267"/>
                      </a:lnTo>
                      <a:cubicBezTo>
                        <a:pt x="324166" y="91384"/>
                        <a:pt x="323804" y="93709"/>
                        <a:pt x="322505" y="95520"/>
                      </a:cubicBezTo>
                      <a:cubicBezTo>
                        <a:pt x="321195" y="97328"/>
                        <a:pt x="319103" y="98399"/>
                        <a:pt x="316877" y="98399"/>
                      </a:cubicBezTo>
                      <a:close/>
                      <a:moveTo>
                        <a:pt x="16558" y="84528"/>
                      </a:moveTo>
                      <a:lnTo>
                        <a:pt x="307254" y="84528"/>
                      </a:lnTo>
                      <a:lnTo>
                        <a:pt x="283704" y="13871"/>
                      </a:lnTo>
                      <a:lnTo>
                        <a:pt x="40105" y="13871"/>
                      </a:lnTo>
                      <a:lnTo>
                        <a:pt x="16558" y="84528"/>
                      </a:lnTo>
                      <a:close/>
                    </a:path>
                  </a:pathLst>
                </a:custGeom>
                <a:grpFill/>
                <a:ln w="351" cap="flat">
                  <a:noFill/>
                  <a:prstDash val="solid"/>
                  <a:miter/>
                </a:ln>
              </p:spPr>
              <p:txBody>
                <a:bodyPr rtlCol="0" anchor="ctr"/>
                <a:lstStyle/>
                <a:p>
                  <a:endParaRPr lang="en-GB" dirty="0"/>
                </a:p>
              </p:txBody>
            </p:sp>
            <p:sp>
              <p:nvSpPr>
                <p:cNvPr id="485" name="Freihandform: Form 163">
                  <a:extLst>
                    <a:ext uri="{FF2B5EF4-FFF2-40B4-BE49-F238E27FC236}">
                      <a16:creationId xmlns:a16="http://schemas.microsoft.com/office/drawing/2014/main" id="{044577C6-2A80-4283-9875-9C17FC66CDBD}"/>
                    </a:ext>
                  </a:extLst>
                </p:cNvPr>
                <p:cNvSpPr/>
                <p:nvPr/>
              </p:nvSpPr>
              <p:spPr>
                <a:xfrm>
                  <a:off x="2695196" y="1767889"/>
                  <a:ext cx="89004" cy="51439"/>
                </a:xfrm>
                <a:custGeom>
                  <a:avLst/>
                  <a:gdLst>
                    <a:gd name="connsiteX0" fmla="*/ 82067 w 89004"/>
                    <a:gd name="connsiteY0" fmla="*/ 51439 h 51439"/>
                    <a:gd name="connsiteX1" fmla="*/ 75133 w 89004"/>
                    <a:gd name="connsiteY1" fmla="*/ 44506 h 51439"/>
                    <a:gd name="connsiteX2" fmla="*/ 75133 w 89004"/>
                    <a:gd name="connsiteY2" fmla="*/ 13874 h 51439"/>
                    <a:gd name="connsiteX3" fmla="*/ 13867 w 89004"/>
                    <a:gd name="connsiteY3" fmla="*/ 13874 h 51439"/>
                    <a:gd name="connsiteX4" fmla="*/ 13867 w 89004"/>
                    <a:gd name="connsiteY4" fmla="*/ 44506 h 51439"/>
                    <a:gd name="connsiteX5" fmla="*/ 6934 w 89004"/>
                    <a:gd name="connsiteY5" fmla="*/ 51439 h 51439"/>
                    <a:gd name="connsiteX6" fmla="*/ 0 w 89004"/>
                    <a:gd name="connsiteY6" fmla="*/ 44506 h 51439"/>
                    <a:gd name="connsiteX7" fmla="*/ 0 w 89004"/>
                    <a:gd name="connsiteY7" fmla="*/ 6934 h 51439"/>
                    <a:gd name="connsiteX8" fmla="*/ 6934 w 89004"/>
                    <a:gd name="connsiteY8" fmla="*/ 0 h 51439"/>
                    <a:gd name="connsiteX9" fmla="*/ 82070 w 89004"/>
                    <a:gd name="connsiteY9" fmla="*/ 0 h 51439"/>
                    <a:gd name="connsiteX10" fmla="*/ 89004 w 89004"/>
                    <a:gd name="connsiteY10" fmla="*/ 6934 h 51439"/>
                    <a:gd name="connsiteX11" fmla="*/ 89004 w 89004"/>
                    <a:gd name="connsiteY11" fmla="*/ 44502 h 51439"/>
                    <a:gd name="connsiteX12" fmla="*/ 82067 w 89004"/>
                    <a:gd name="connsiteY12" fmla="*/ 51439 h 5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9004" h="51439">
                      <a:moveTo>
                        <a:pt x="82067" y="51439"/>
                      </a:moveTo>
                      <a:cubicBezTo>
                        <a:pt x="78233" y="51439"/>
                        <a:pt x="75133" y="48332"/>
                        <a:pt x="75133" y="44506"/>
                      </a:cubicBezTo>
                      <a:lnTo>
                        <a:pt x="75133" y="13874"/>
                      </a:lnTo>
                      <a:lnTo>
                        <a:pt x="13867" y="13874"/>
                      </a:lnTo>
                      <a:lnTo>
                        <a:pt x="13867" y="44506"/>
                      </a:lnTo>
                      <a:cubicBezTo>
                        <a:pt x="13867" y="48336"/>
                        <a:pt x="10764" y="51439"/>
                        <a:pt x="6934" y="51439"/>
                      </a:cubicBezTo>
                      <a:cubicBezTo>
                        <a:pt x="3100" y="51439"/>
                        <a:pt x="0" y="48332"/>
                        <a:pt x="0" y="44506"/>
                      </a:cubicBezTo>
                      <a:lnTo>
                        <a:pt x="0" y="6934"/>
                      </a:lnTo>
                      <a:cubicBezTo>
                        <a:pt x="0" y="3103"/>
                        <a:pt x="3104" y="0"/>
                        <a:pt x="6934" y="0"/>
                      </a:cubicBezTo>
                      <a:lnTo>
                        <a:pt x="82070" y="0"/>
                      </a:lnTo>
                      <a:cubicBezTo>
                        <a:pt x="85904" y="0"/>
                        <a:pt x="89004" y="3103"/>
                        <a:pt x="89004" y="6934"/>
                      </a:cubicBezTo>
                      <a:lnTo>
                        <a:pt x="89004" y="44502"/>
                      </a:lnTo>
                      <a:cubicBezTo>
                        <a:pt x="89004" y="48332"/>
                        <a:pt x="85901" y="51439"/>
                        <a:pt x="82067" y="51439"/>
                      </a:cubicBezTo>
                      <a:close/>
                    </a:path>
                  </a:pathLst>
                </a:custGeom>
                <a:grpFill/>
                <a:ln w="351" cap="flat">
                  <a:noFill/>
                  <a:prstDash val="solid"/>
                  <a:miter/>
                </a:ln>
              </p:spPr>
              <p:txBody>
                <a:bodyPr rtlCol="0" anchor="ctr"/>
                <a:lstStyle/>
                <a:p>
                  <a:endParaRPr lang="en-GB" dirty="0"/>
                </a:p>
              </p:txBody>
            </p:sp>
          </p:grpSp>
          <p:sp>
            <p:nvSpPr>
              <p:cNvPr id="482" name="Freihandform: Form 164">
                <a:extLst>
                  <a:ext uri="{FF2B5EF4-FFF2-40B4-BE49-F238E27FC236}">
                    <a16:creationId xmlns:a16="http://schemas.microsoft.com/office/drawing/2014/main" id="{58157D91-3CA1-4119-A44E-5F91CA3C92B3}"/>
                  </a:ext>
                </a:extLst>
              </p:cNvPr>
              <p:cNvSpPr/>
              <p:nvPr/>
            </p:nvSpPr>
            <p:spPr>
              <a:xfrm>
                <a:off x="2765323" y="1840017"/>
                <a:ext cx="260293" cy="271572"/>
              </a:xfrm>
              <a:custGeom>
                <a:avLst/>
                <a:gdLst>
                  <a:gd name="connsiteX0" fmla="*/ 130361 w 260293"/>
                  <a:gd name="connsiteY0" fmla="*/ 271573 h 271572"/>
                  <a:gd name="connsiteX1" fmla="*/ 129588 w 260293"/>
                  <a:gd name="connsiteY1" fmla="*/ 271545 h 271572"/>
                  <a:gd name="connsiteX2" fmla="*/ 121461 w 260293"/>
                  <a:gd name="connsiteY2" fmla="*/ 268877 h 271572"/>
                  <a:gd name="connsiteX3" fmla="*/ 320 w 260293"/>
                  <a:gd name="connsiteY3" fmla="*/ 79543 h 271572"/>
                  <a:gd name="connsiteX4" fmla="*/ 0 w 260293"/>
                  <a:gd name="connsiteY4" fmla="*/ 76780 h 271572"/>
                  <a:gd name="connsiteX5" fmla="*/ 9644 w 260293"/>
                  <a:gd name="connsiteY5" fmla="*/ 65535 h 271572"/>
                  <a:gd name="connsiteX6" fmla="*/ 38955 w 260293"/>
                  <a:gd name="connsiteY6" fmla="*/ 60395 h 271572"/>
                  <a:gd name="connsiteX7" fmla="*/ 42722 w 260293"/>
                  <a:gd name="connsiteY7" fmla="*/ 46528 h 271572"/>
                  <a:gd name="connsiteX8" fmla="*/ 44944 w 260293"/>
                  <a:gd name="connsiteY8" fmla="*/ 40194 h 271572"/>
                  <a:gd name="connsiteX9" fmla="*/ 130434 w 260293"/>
                  <a:gd name="connsiteY9" fmla="*/ 0 h 271572"/>
                  <a:gd name="connsiteX10" fmla="*/ 216770 w 260293"/>
                  <a:gd name="connsiteY10" fmla="*/ 42870 h 271572"/>
                  <a:gd name="connsiteX11" fmla="*/ 217062 w 260293"/>
                  <a:gd name="connsiteY11" fmla="*/ 43817 h 271572"/>
                  <a:gd name="connsiteX12" fmla="*/ 221320 w 260293"/>
                  <a:gd name="connsiteY12" fmla="*/ 60388 h 271572"/>
                  <a:gd name="connsiteX13" fmla="*/ 250593 w 260293"/>
                  <a:gd name="connsiteY13" fmla="*/ 65531 h 271572"/>
                  <a:gd name="connsiteX14" fmla="*/ 260293 w 260293"/>
                  <a:gd name="connsiteY14" fmla="*/ 76780 h 271572"/>
                  <a:gd name="connsiteX15" fmla="*/ 260111 w 260293"/>
                  <a:gd name="connsiteY15" fmla="*/ 78865 h 271572"/>
                  <a:gd name="connsiteX16" fmla="*/ 259956 w 260293"/>
                  <a:gd name="connsiteY16" fmla="*/ 79680 h 271572"/>
                  <a:gd name="connsiteX17" fmla="*/ 138801 w 260293"/>
                  <a:gd name="connsiteY17" fmla="*/ 268894 h 271572"/>
                  <a:gd name="connsiteX18" fmla="*/ 130821 w 260293"/>
                  <a:gd name="connsiteY18" fmla="*/ 271566 h 271572"/>
                  <a:gd name="connsiteX19" fmla="*/ 130361 w 260293"/>
                  <a:gd name="connsiteY19" fmla="*/ 271573 h 271572"/>
                  <a:gd name="connsiteX20" fmla="*/ 14243 w 260293"/>
                  <a:gd name="connsiteY20" fmla="*/ 78820 h 271572"/>
                  <a:gd name="connsiteX21" fmla="*/ 129100 w 260293"/>
                  <a:gd name="connsiteY21" fmla="*/ 257298 h 271572"/>
                  <a:gd name="connsiteX22" fmla="*/ 130326 w 260293"/>
                  <a:gd name="connsiteY22" fmla="*/ 257695 h 271572"/>
                  <a:gd name="connsiteX23" fmla="*/ 130361 w 260293"/>
                  <a:gd name="connsiteY23" fmla="*/ 264636 h 271572"/>
                  <a:gd name="connsiteX24" fmla="*/ 130361 w 260293"/>
                  <a:gd name="connsiteY24" fmla="*/ 257702 h 271572"/>
                  <a:gd name="connsiteX25" fmla="*/ 130361 w 260293"/>
                  <a:gd name="connsiteY25" fmla="*/ 264636 h 271572"/>
                  <a:gd name="connsiteX26" fmla="*/ 130382 w 260293"/>
                  <a:gd name="connsiteY26" fmla="*/ 257702 h 271572"/>
                  <a:gd name="connsiteX27" fmla="*/ 131133 w 260293"/>
                  <a:gd name="connsiteY27" fmla="*/ 257330 h 271572"/>
                  <a:gd name="connsiteX28" fmla="*/ 246018 w 260293"/>
                  <a:gd name="connsiteY28" fmla="*/ 78820 h 271572"/>
                  <a:gd name="connsiteX29" fmla="*/ 215324 w 260293"/>
                  <a:gd name="connsiteY29" fmla="*/ 73402 h 271572"/>
                  <a:gd name="connsiteX30" fmla="*/ 204202 w 260293"/>
                  <a:gd name="connsiteY30" fmla="*/ 49803 h 271572"/>
                  <a:gd name="connsiteX31" fmla="*/ 130361 w 260293"/>
                  <a:gd name="connsiteY31" fmla="*/ 14412 h 271572"/>
                  <a:gd name="connsiteX32" fmla="*/ 56382 w 260293"/>
                  <a:gd name="connsiteY32" fmla="*/ 49087 h 271572"/>
                  <a:gd name="connsiteX33" fmla="*/ 56165 w 260293"/>
                  <a:gd name="connsiteY33" fmla="*/ 49933 h 271572"/>
                  <a:gd name="connsiteX34" fmla="*/ 44881 w 260293"/>
                  <a:gd name="connsiteY34" fmla="*/ 73424 h 271572"/>
                  <a:gd name="connsiteX35" fmla="*/ 14243 w 260293"/>
                  <a:gd name="connsiteY35" fmla="*/ 78820 h 271572"/>
                  <a:gd name="connsiteX36" fmla="*/ 248522 w 260293"/>
                  <a:gd name="connsiteY36" fmla="*/ 79244 h 271572"/>
                  <a:gd name="connsiteX37" fmla="*/ 248658 w 260293"/>
                  <a:gd name="connsiteY37" fmla="*/ 79265 h 271572"/>
                  <a:gd name="connsiteX38" fmla="*/ 248522 w 260293"/>
                  <a:gd name="connsiteY38" fmla="*/ 79244 h 271572"/>
                  <a:gd name="connsiteX39" fmla="*/ 11705 w 260293"/>
                  <a:gd name="connsiteY39" fmla="*/ 79251 h 271572"/>
                  <a:gd name="connsiteX40" fmla="*/ 11677 w 260293"/>
                  <a:gd name="connsiteY40" fmla="*/ 79255 h 271572"/>
                  <a:gd name="connsiteX41" fmla="*/ 11705 w 260293"/>
                  <a:gd name="connsiteY41" fmla="*/ 79251 h 271572"/>
                  <a:gd name="connsiteX42" fmla="*/ 42494 w 260293"/>
                  <a:gd name="connsiteY42" fmla="*/ 59767 h 271572"/>
                  <a:gd name="connsiteX43" fmla="*/ 42434 w 260293"/>
                  <a:gd name="connsiteY43" fmla="*/ 59777 h 271572"/>
                  <a:gd name="connsiteX44" fmla="*/ 42494 w 260293"/>
                  <a:gd name="connsiteY44" fmla="*/ 59767 h 271572"/>
                  <a:gd name="connsiteX45" fmla="*/ 217701 w 260293"/>
                  <a:gd name="connsiteY45" fmla="*/ 59735 h 271572"/>
                  <a:gd name="connsiteX46" fmla="*/ 217848 w 260293"/>
                  <a:gd name="connsiteY46" fmla="*/ 59763 h 271572"/>
                  <a:gd name="connsiteX47" fmla="*/ 217701 w 260293"/>
                  <a:gd name="connsiteY47" fmla="*/ 59735 h 271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60293" h="271572">
                    <a:moveTo>
                      <a:pt x="130361" y="271573"/>
                    </a:moveTo>
                    <a:cubicBezTo>
                      <a:pt x="130199" y="271573"/>
                      <a:pt x="129750" y="271555"/>
                      <a:pt x="129588" y="271545"/>
                    </a:cubicBezTo>
                    <a:cubicBezTo>
                      <a:pt x="127714" y="271482"/>
                      <a:pt x="124835" y="271110"/>
                      <a:pt x="121461" y="268877"/>
                    </a:cubicBezTo>
                    <a:cubicBezTo>
                      <a:pt x="31927" y="209970"/>
                      <a:pt x="6916" y="116844"/>
                      <a:pt x="320" y="79543"/>
                    </a:cubicBezTo>
                    <a:cubicBezTo>
                      <a:pt x="95" y="78461"/>
                      <a:pt x="0" y="77615"/>
                      <a:pt x="0" y="76780"/>
                    </a:cubicBezTo>
                    <a:cubicBezTo>
                      <a:pt x="0" y="71173"/>
                      <a:pt x="4146" y="66339"/>
                      <a:pt x="9644" y="65535"/>
                    </a:cubicBezTo>
                    <a:cubicBezTo>
                      <a:pt x="11115" y="65317"/>
                      <a:pt x="28037" y="62330"/>
                      <a:pt x="38955" y="60395"/>
                    </a:cubicBezTo>
                    <a:cubicBezTo>
                      <a:pt x="40202" y="56449"/>
                      <a:pt x="42024" y="49273"/>
                      <a:pt x="42722" y="46528"/>
                    </a:cubicBezTo>
                    <a:cubicBezTo>
                      <a:pt x="43947" y="41704"/>
                      <a:pt x="44018" y="41416"/>
                      <a:pt x="44944" y="40194"/>
                    </a:cubicBezTo>
                    <a:cubicBezTo>
                      <a:pt x="48181" y="35957"/>
                      <a:pt x="129887" y="0"/>
                      <a:pt x="130434" y="0"/>
                    </a:cubicBezTo>
                    <a:cubicBezTo>
                      <a:pt x="131133" y="0"/>
                      <a:pt x="214267" y="36329"/>
                      <a:pt x="216770" y="42870"/>
                    </a:cubicBezTo>
                    <a:cubicBezTo>
                      <a:pt x="216893" y="43179"/>
                      <a:pt x="216988" y="43495"/>
                      <a:pt x="217062" y="43817"/>
                    </a:cubicBezTo>
                    <a:cubicBezTo>
                      <a:pt x="218389" y="49708"/>
                      <a:pt x="220165" y="56667"/>
                      <a:pt x="221320" y="60388"/>
                    </a:cubicBezTo>
                    <a:cubicBezTo>
                      <a:pt x="231115" y="62133"/>
                      <a:pt x="248778" y="65258"/>
                      <a:pt x="250593" y="65531"/>
                    </a:cubicBezTo>
                    <a:cubicBezTo>
                      <a:pt x="256059" y="66244"/>
                      <a:pt x="260293" y="71089"/>
                      <a:pt x="260293" y="76780"/>
                    </a:cubicBezTo>
                    <a:cubicBezTo>
                      <a:pt x="260293" y="77443"/>
                      <a:pt x="260226" y="78226"/>
                      <a:pt x="260111" y="78865"/>
                    </a:cubicBezTo>
                    <a:lnTo>
                      <a:pt x="259956" y="79680"/>
                    </a:lnTo>
                    <a:cubicBezTo>
                      <a:pt x="253352" y="116911"/>
                      <a:pt x="228286" y="210037"/>
                      <a:pt x="138801" y="268894"/>
                    </a:cubicBezTo>
                    <a:cubicBezTo>
                      <a:pt x="136336" y="270541"/>
                      <a:pt x="133633" y="271450"/>
                      <a:pt x="130821" y="271566"/>
                    </a:cubicBezTo>
                    <a:cubicBezTo>
                      <a:pt x="130719" y="271566"/>
                      <a:pt x="130456" y="271573"/>
                      <a:pt x="130361" y="271573"/>
                    </a:cubicBezTo>
                    <a:close/>
                    <a:moveTo>
                      <a:pt x="14243" y="78820"/>
                    </a:moveTo>
                    <a:cubicBezTo>
                      <a:pt x="21159" y="115928"/>
                      <a:pt x="45629" y="202380"/>
                      <a:pt x="129100" y="257298"/>
                    </a:cubicBezTo>
                    <a:cubicBezTo>
                      <a:pt x="129662" y="257670"/>
                      <a:pt x="129806" y="257677"/>
                      <a:pt x="130326" y="257695"/>
                    </a:cubicBezTo>
                    <a:lnTo>
                      <a:pt x="130361" y="264636"/>
                    </a:lnTo>
                    <a:lnTo>
                      <a:pt x="130361" y="257702"/>
                    </a:lnTo>
                    <a:lnTo>
                      <a:pt x="130361" y="264636"/>
                    </a:lnTo>
                    <a:lnTo>
                      <a:pt x="130382" y="257702"/>
                    </a:lnTo>
                    <a:cubicBezTo>
                      <a:pt x="130347" y="257699"/>
                      <a:pt x="130599" y="257688"/>
                      <a:pt x="131133" y="257330"/>
                    </a:cubicBezTo>
                    <a:cubicBezTo>
                      <a:pt x="214882" y="202246"/>
                      <a:pt x="239278" y="115377"/>
                      <a:pt x="246018" y="78820"/>
                    </a:cubicBezTo>
                    <a:cubicBezTo>
                      <a:pt x="239239" y="77650"/>
                      <a:pt x="222089" y="74614"/>
                      <a:pt x="215324" y="73402"/>
                    </a:cubicBezTo>
                    <a:cubicBezTo>
                      <a:pt x="210957" y="72669"/>
                      <a:pt x="209187" y="71345"/>
                      <a:pt x="204202" y="49803"/>
                    </a:cubicBezTo>
                    <a:cubicBezTo>
                      <a:pt x="192810" y="43828"/>
                      <a:pt x="142023" y="19639"/>
                      <a:pt x="130361" y="14412"/>
                    </a:cubicBezTo>
                    <a:cubicBezTo>
                      <a:pt x="118954" y="19369"/>
                      <a:pt x="68203" y="43157"/>
                      <a:pt x="56382" y="49087"/>
                    </a:cubicBezTo>
                    <a:cubicBezTo>
                      <a:pt x="56316" y="49354"/>
                      <a:pt x="56239" y="49635"/>
                      <a:pt x="56165" y="49933"/>
                    </a:cubicBezTo>
                    <a:cubicBezTo>
                      <a:pt x="51545" y="68136"/>
                      <a:pt x="50449" y="72462"/>
                      <a:pt x="44881" y="73424"/>
                    </a:cubicBezTo>
                    <a:cubicBezTo>
                      <a:pt x="36350" y="74944"/>
                      <a:pt x="20531" y="77735"/>
                      <a:pt x="14243" y="78820"/>
                    </a:cubicBezTo>
                    <a:close/>
                    <a:moveTo>
                      <a:pt x="248522" y="79244"/>
                    </a:moveTo>
                    <a:cubicBezTo>
                      <a:pt x="248564" y="79251"/>
                      <a:pt x="248609" y="79258"/>
                      <a:pt x="248658" y="79265"/>
                    </a:cubicBezTo>
                    <a:cubicBezTo>
                      <a:pt x="248616" y="79258"/>
                      <a:pt x="248571" y="79251"/>
                      <a:pt x="248522" y="79244"/>
                    </a:cubicBezTo>
                    <a:close/>
                    <a:moveTo>
                      <a:pt x="11705" y="79251"/>
                    </a:moveTo>
                    <a:cubicBezTo>
                      <a:pt x="11691" y="79255"/>
                      <a:pt x="11684" y="79255"/>
                      <a:pt x="11677" y="79255"/>
                    </a:cubicBezTo>
                    <a:cubicBezTo>
                      <a:pt x="11684" y="79255"/>
                      <a:pt x="11691" y="79255"/>
                      <a:pt x="11705" y="79251"/>
                    </a:cubicBezTo>
                    <a:close/>
                    <a:moveTo>
                      <a:pt x="42494" y="59767"/>
                    </a:moveTo>
                    <a:cubicBezTo>
                      <a:pt x="42473" y="59770"/>
                      <a:pt x="42452" y="59774"/>
                      <a:pt x="42434" y="59777"/>
                    </a:cubicBezTo>
                    <a:cubicBezTo>
                      <a:pt x="42452" y="59770"/>
                      <a:pt x="42473" y="59767"/>
                      <a:pt x="42494" y="59767"/>
                    </a:cubicBezTo>
                    <a:close/>
                    <a:moveTo>
                      <a:pt x="217701" y="59735"/>
                    </a:moveTo>
                    <a:cubicBezTo>
                      <a:pt x="217750" y="59746"/>
                      <a:pt x="217796" y="59756"/>
                      <a:pt x="217848" y="59763"/>
                    </a:cubicBezTo>
                    <a:cubicBezTo>
                      <a:pt x="217803" y="59753"/>
                      <a:pt x="217747" y="59746"/>
                      <a:pt x="217701" y="59735"/>
                    </a:cubicBezTo>
                    <a:close/>
                  </a:path>
                </a:pathLst>
              </a:custGeom>
              <a:grpFill/>
              <a:ln w="351" cap="flat">
                <a:noFill/>
                <a:prstDash val="solid"/>
                <a:miter/>
              </a:ln>
            </p:spPr>
            <p:txBody>
              <a:bodyPr rtlCol="0" anchor="ctr"/>
              <a:lstStyle/>
              <a:p>
                <a:endParaRPr lang="en-GB" dirty="0"/>
              </a:p>
            </p:txBody>
          </p:sp>
        </p:grpSp>
      </p:grpSp>
      <p:sp>
        <p:nvSpPr>
          <p:cNvPr id="645" name="Freihandform: Form 261">
            <a:extLst>
              <a:ext uri="{FF2B5EF4-FFF2-40B4-BE49-F238E27FC236}">
                <a16:creationId xmlns:a16="http://schemas.microsoft.com/office/drawing/2014/main" id="{9FAE4762-2B08-47F4-96A2-CA608BB73C7D}"/>
              </a:ext>
            </a:extLst>
          </p:cNvPr>
          <p:cNvSpPr/>
          <p:nvPr/>
        </p:nvSpPr>
        <p:spPr>
          <a:xfrm>
            <a:off x="5245176" y="2391526"/>
            <a:ext cx="43456" cy="57225"/>
          </a:xfrm>
          <a:custGeom>
            <a:avLst/>
            <a:gdLst>
              <a:gd name="connsiteX0" fmla="*/ 20792 w 43692"/>
              <a:gd name="connsiteY0" fmla="*/ 57536 h 57536"/>
              <a:gd name="connsiteX1" fmla="*/ 14494 w 43692"/>
              <a:gd name="connsiteY1" fmla="*/ 53520 h 57536"/>
              <a:gd name="connsiteX2" fmla="*/ 644 w 43692"/>
              <a:gd name="connsiteY2" fmla="*/ 23707 h 57536"/>
              <a:gd name="connsiteX3" fmla="*/ 419 w 43692"/>
              <a:gd name="connsiteY3" fmla="*/ 18406 h 57536"/>
              <a:gd name="connsiteX4" fmla="*/ 4014 w 43692"/>
              <a:gd name="connsiteY4" fmla="*/ 14498 h 57536"/>
              <a:gd name="connsiteX5" fmla="*/ 33834 w 43692"/>
              <a:gd name="connsiteY5" fmla="*/ 648 h 57536"/>
              <a:gd name="connsiteX6" fmla="*/ 43047 w 43692"/>
              <a:gd name="connsiteY6" fmla="*/ 4022 h 57536"/>
              <a:gd name="connsiteX7" fmla="*/ 39673 w 43692"/>
              <a:gd name="connsiteY7" fmla="*/ 13234 h 57536"/>
              <a:gd name="connsiteX8" fmla="*/ 16144 w 43692"/>
              <a:gd name="connsiteY8" fmla="*/ 24160 h 57536"/>
              <a:gd name="connsiteX9" fmla="*/ 27076 w 43692"/>
              <a:gd name="connsiteY9" fmla="*/ 47689 h 57536"/>
              <a:gd name="connsiteX10" fmla="*/ 23703 w 43692"/>
              <a:gd name="connsiteY10" fmla="*/ 56901 h 57536"/>
              <a:gd name="connsiteX11" fmla="*/ 20792 w 43692"/>
              <a:gd name="connsiteY11" fmla="*/ 57536 h 575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692" h="57536">
                <a:moveTo>
                  <a:pt x="20792" y="57536"/>
                </a:moveTo>
                <a:cubicBezTo>
                  <a:pt x="18169" y="57536"/>
                  <a:pt x="15673" y="56055"/>
                  <a:pt x="14494" y="53520"/>
                </a:cubicBezTo>
                <a:lnTo>
                  <a:pt x="644" y="23707"/>
                </a:lnTo>
                <a:cubicBezTo>
                  <a:pt x="-129" y="22039"/>
                  <a:pt x="-209" y="20129"/>
                  <a:pt x="419" y="18406"/>
                </a:cubicBezTo>
                <a:cubicBezTo>
                  <a:pt x="1055" y="16678"/>
                  <a:pt x="2343" y="15278"/>
                  <a:pt x="4014" y="14498"/>
                </a:cubicBezTo>
                <a:lnTo>
                  <a:pt x="33834" y="648"/>
                </a:lnTo>
                <a:cubicBezTo>
                  <a:pt x="37317" y="-970"/>
                  <a:pt x="41432" y="547"/>
                  <a:pt x="43047" y="4022"/>
                </a:cubicBezTo>
                <a:cubicBezTo>
                  <a:pt x="44658" y="7498"/>
                  <a:pt x="43148" y="11616"/>
                  <a:pt x="39673" y="13234"/>
                </a:cubicBezTo>
                <a:lnTo>
                  <a:pt x="16144" y="24160"/>
                </a:lnTo>
                <a:lnTo>
                  <a:pt x="27076" y="47689"/>
                </a:lnTo>
                <a:cubicBezTo>
                  <a:pt x="28688" y="51157"/>
                  <a:pt x="27178" y="55283"/>
                  <a:pt x="23703" y="56901"/>
                </a:cubicBezTo>
                <a:cubicBezTo>
                  <a:pt x="22761" y="57333"/>
                  <a:pt x="21768" y="57536"/>
                  <a:pt x="20792" y="57536"/>
                </a:cubicBezTo>
                <a:close/>
              </a:path>
            </a:pathLst>
          </a:custGeom>
          <a:solidFill>
            <a:schemeClr val="accent1"/>
          </a:solidFill>
          <a:ln w="351" cap="flat">
            <a:noFill/>
            <a:prstDash val="solid"/>
            <a:miter/>
          </a:ln>
        </p:spPr>
        <p:txBody>
          <a:bodyPr rtlCol="0" anchor="ctr"/>
          <a:lstStyle/>
          <a:p>
            <a:endParaRPr lang="en-GB" dirty="0"/>
          </a:p>
        </p:txBody>
      </p:sp>
      <p:sp>
        <p:nvSpPr>
          <p:cNvPr id="646" name="Freihandform: Form 262">
            <a:extLst>
              <a:ext uri="{FF2B5EF4-FFF2-40B4-BE49-F238E27FC236}">
                <a16:creationId xmlns:a16="http://schemas.microsoft.com/office/drawing/2014/main" id="{B5D9615D-1425-4451-B457-866A63675985}"/>
              </a:ext>
            </a:extLst>
          </p:cNvPr>
          <p:cNvSpPr/>
          <p:nvPr/>
        </p:nvSpPr>
        <p:spPr>
          <a:xfrm>
            <a:off x="5130885" y="2768594"/>
            <a:ext cx="44928" cy="54932"/>
          </a:xfrm>
          <a:custGeom>
            <a:avLst/>
            <a:gdLst>
              <a:gd name="connsiteX0" fmla="*/ 6939 w 45172"/>
              <a:gd name="connsiteY0" fmla="*/ 55231 h 55231"/>
              <a:gd name="connsiteX1" fmla="*/ 335 w 45172"/>
              <a:gd name="connsiteY1" fmla="*/ 50422 h 55231"/>
              <a:gd name="connsiteX2" fmla="*/ 4811 w 45172"/>
              <a:gd name="connsiteY2" fmla="*/ 41690 h 55231"/>
              <a:gd name="connsiteX3" fmla="*/ 29506 w 45172"/>
              <a:gd name="connsiteY3" fmla="*/ 33746 h 55231"/>
              <a:gd name="connsiteX4" fmla="*/ 21561 w 45172"/>
              <a:gd name="connsiteY4" fmla="*/ 9058 h 55231"/>
              <a:gd name="connsiteX5" fmla="*/ 26037 w 45172"/>
              <a:gd name="connsiteY5" fmla="*/ 327 h 55231"/>
              <a:gd name="connsiteX6" fmla="*/ 34768 w 45172"/>
              <a:gd name="connsiteY6" fmla="*/ 4803 h 55231"/>
              <a:gd name="connsiteX7" fmla="*/ 44841 w 45172"/>
              <a:gd name="connsiteY7" fmla="*/ 36094 h 55231"/>
              <a:gd name="connsiteX8" fmla="*/ 44405 w 45172"/>
              <a:gd name="connsiteY8" fmla="*/ 41385 h 55231"/>
              <a:gd name="connsiteX9" fmla="*/ 40361 w 45172"/>
              <a:gd name="connsiteY9" fmla="*/ 44826 h 55231"/>
              <a:gd name="connsiteX10" fmla="*/ 9066 w 45172"/>
              <a:gd name="connsiteY10" fmla="*/ 54898 h 55231"/>
              <a:gd name="connsiteX11" fmla="*/ 6939 w 45172"/>
              <a:gd name="connsiteY11" fmla="*/ 55231 h 55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172" h="55231">
                <a:moveTo>
                  <a:pt x="6939" y="55231"/>
                </a:moveTo>
                <a:cubicBezTo>
                  <a:pt x="4007" y="55231"/>
                  <a:pt x="1283" y="53363"/>
                  <a:pt x="335" y="50422"/>
                </a:cubicBezTo>
                <a:cubicBezTo>
                  <a:pt x="-838" y="46771"/>
                  <a:pt x="1167" y="42863"/>
                  <a:pt x="4811" y="41690"/>
                </a:cubicBezTo>
                <a:lnTo>
                  <a:pt x="29506" y="33746"/>
                </a:lnTo>
                <a:lnTo>
                  <a:pt x="21561" y="9058"/>
                </a:lnTo>
                <a:cubicBezTo>
                  <a:pt x="20388" y="5407"/>
                  <a:pt x="22393" y="1506"/>
                  <a:pt x="26037" y="327"/>
                </a:cubicBezTo>
                <a:cubicBezTo>
                  <a:pt x="29709" y="-825"/>
                  <a:pt x="33589" y="1159"/>
                  <a:pt x="34768" y="4803"/>
                </a:cubicBezTo>
                <a:lnTo>
                  <a:pt x="44841" y="36094"/>
                </a:lnTo>
                <a:cubicBezTo>
                  <a:pt x="45402" y="37850"/>
                  <a:pt x="45248" y="39753"/>
                  <a:pt x="44405" y="41385"/>
                </a:cubicBezTo>
                <a:cubicBezTo>
                  <a:pt x="43566" y="43025"/>
                  <a:pt x="42109" y="44264"/>
                  <a:pt x="40361" y="44826"/>
                </a:cubicBezTo>
                <a:lnTo>
                  <a:pt x="9066" y="54898"/>
                </a:lnTo>
                <a:cubicBezTo>
                  <a:pt x="8353" y="55123"/>
                  <a:pt x="7641" y="55231"/>
                  <a:pt x="6939" y="55231"/>
                </a:cubicBezTo>
                <a:close/>
              </a:path>
            </a:pathLst>
          </a:custGeom>
          <a:solidFill>
            <a:schemeClr val="accent1"/>
          </a:solidFill>
          <a:ln w="351" cap="flat">
            <a:noFill/>
            <a:prstDash val="solid"/>
            <a:miter/>
          </a:ln>
        </p:spPr>
        <p:txBody>
          <a:bodyPr rtlCol="0" anchor="ctr"/>
          <a:lstStyle/>
          <a:p>
            <a:endParaRPr lang="en-GB" dirty="0"/>
          </a:p>
        </p:txBody>
      </p:sp>
      <p:grpSp>
        <p:nvGrpSpPr>
          <p:cNvPr id="217" name="Group 216">
            <a:extLst>
              <a:ext uri="{FF2B5EF4-FFF2-40B4-BE49-F238E27FC236}">
                <a16:creationId xmlns:a16="http://schemas.microsoft.com/office/drawing/2014/main" id="{6BC20ABD-C02D-1955-E3E9-3F075A716354}"/>
              </a:ext>
            </a:extLst>
          </p:cNvPr>
          <p:cNvGrpSpPr/>
          <p:nvPr/>
        </p:nvGrpSpPr>
        <p:grpSpPr>
          <a:xfrm>
            <a:off x="5007028" y="2402828"/>
            <a:ext cx="412480" cy="413854"/>
            <a:chOff x="5006616" y="2402828"/>
            <a:chExt cx="412480" cy="413854"/>
          </a:xfrm>
        </p:grpSpPr>
        <p:grpSp>
          <p:nvGrpSpPr>
            <p:cNvPr id="643" name="Graphic 10">
              <a:extLst>
                <a:ext uri="{FF2B5EF4-FFF2-40B4-BE49-F238E27FC236}">
                  <a16:creationId xmlns:a16="http://schemas.microsoft.com/office/drawing/2014/main" id="{4C0F2124-0F5B-4CBD-A0E9-D0A7DCF39F14}"/>
                </a:ext>
              </a:extLst>
            </p:cNvPr>
            <p:cNvGrpSpPr/>
            <p:nvPr/>
          </p:nvGrpSpPr>
          <p:grpSpPr>
            <a:xfrm>
              <a:off x="5070929" y="2468933"/>
              <a:ext cx="282398" cy="282391"/>
              <a:chOff x="3537783" y="4391002"/>
              <a:chExt cx="283934" cy="283927"/>
            </a:xfrm>
            <a:solidFill>
              <a:schemeClr val="tx2"/>
            </a:solidFill>
          </p:grpSpPr>
          <p:sp>
            <p:nvSpPr>
              <p:cNvPr id="649" name="Freihandform: Form 264">
                <a:extLst>
                  <a:ext uri="{FF2B5EF4-FFF2-40B4-BE49-F238E27FC236}">
                    <a16:creationId xmlns:a16="http://schemas.microsoft.com/office/drawing/2014/main" id="{A72A0B2E-D45E-4A1E-BF75-BC77E7A93D62}"/>
                  </a:ext>
                </a:extLst>
              </p:cNvPr>
              <p:cNvSpPr/>
              <p:nvPr/>
            </p:nvSpPr>
            <p:spPr>
              <a:xfrm>
                <a:off x="3537783" y="4391002"/>
                <a:ext cx="283927" cy="283927"/>
              </a:xfrm>
              <a:custGeom>
                <a:avLst/>
                <a:gdLst>
                  <a:gd name="connsiteX0" fmla="*/ 141960 w 283927"/>
                  <a:gd name="connsiteY0" fmla="*/ 283927 h 283927"/>
                  <a:gd name="connsiteX1" fmla="*/ 0 w 283927"/>
                  <a:gd name="connsiteY1" fmla="*/ 141967 h 283927"/>
                  <a:gd name="connsiteX2" fmla="*/ 141960 w 283927"/>
                  <a:gd name="connsiteY2" fmla="*/ 0 h 283927"/>
                  <a:gd name="connsiteX3" fmla="*/ 283927 w 283927"/>
                  <a:gd name="connsiteY3" fmla="*/ 141967 h 283927"/>
                  <a:gd name="connsiteX4" fmla="*/ 141960 w 283927"/>
                  <a:gd name="connsiteY4" fmla="*/ 283927 h 283927"/>
                  <a:gd name="connsiteX5" fmla="*/ 141960 w 283927"/>
                  <a:gd name="connsiteY5" fmla="*/ 13867 h 283927"/>
                  <a:gd name="connsiteX6" fmla="*/ 13871 w 283927"/>
                  <a:gd name="connsiteY6" fmla="*/ 141963 h 283927"/>
                  <a:gd name="connsiteX7" fmla="*/ 141960 w 283927"/>
                  <a:gd name="connsiteY7" fmla="*/ 270053 h 283927"/>
                  <a:gd name="connsiteX8" fmla="*/ 270056 w 283927"/>
                  <a:gd name="connsiteY8" fmla="*/ 141963 h 283927"/>
                  <a:gd name="connsiteX9" fmla="*/ 141960 w 283927"/>
                  <a:gd name="connsiteY9" fmla="*/ 13867 h 28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3927" h="283927">
                    <a:moveTo>
                      <a:pt x="141960" y="283927"/>
                    </a:moveTo>
                    <a:cubicBezTo>
                      <a:pt x="63681" y="283927"/>
                      <a:pt x="0" y="220243"/>
                      <a:pt x="0" y="141967"/>
                    </a:cubicBezTo>
                    <a:cubicBezTo>
                      <a:pt x="0" y="63688"/>
                      <a:pt x="63685" y="0"/>
                      <a:pt x="141960" y="0"/>
                    </a:cubicBezTo>
                    <a:cubicBezTo>
                      <a:pt x="220239" y="0"/>
                      <a:pt x="283927" y="63688"/>
                      <a:pt x="283927" y="141967"/>
                    </a:cubicBezTo>
                    <a:cubicBezTo>
                      <a:pt x="283927" y="220243"/>
                      <a:pt x="220239" y="283927"/>
                      <a:pt x="141960" y="283927"/>
                    </a:cubicBezTo>
                    <a:close/>
                    <a:moveTo>
                      <a:pt x="141960" y="13867"/>
                    </a:moveTo>
                    <a:cubicBezTo>
                      <a:pt x="71328" y="13867"/>
                      <a:pt x="13871" y="71335"/>
                      <a:pt x="13871" y="141963"/>
                    </a:cubicBezTo>
                    <a:cubicBezTo>
                      <a:pt x="13871" y="212596"/>
                      <a:pt x="71331" y="270053"/>
                      <a:pt x="141960" y="270053"/>
                    </a:cubicBezTo>
                    <a:cubicBezTo>
                      <a:pt x="212593" y="270053"/>
                      <a:pt x="270056" y="212593"/>
                      <a:pt x="270056" y="141963"/>
                    </a:cubicBezTo>
                    <a:cubicBezTo>
                      <a:pt x="270056" y="71335"/>
                      <a:pt x="212593" y="13867"/>
                      <a:pt x="141960" y="13867"/>
                    </a:cubicBezTo>
                    <a:close/>
                  </a:path>
                </a:pathLst>
              </a:custGeom>
              <a:grpFill/>
              <a:ln w="351" cap="flat">
                <a:noFill/>
                <a:prstDash val="solid"/>
                <a:miter/>
              </a:ln>
            </p:spPr>
            <p:txBody>
              <a:bodyPr rtlCol="0" anchor="ctr"/>
              <a:lstStyle/>
              <a:p>
                <a:endParaRPr lang="en-GB" dirty="0"/>
              </a:p>
            </p:txBody>
          </p:sp>
          <p:sp>
            <p:nvSpPr>
              <p:cNvPr id="650" name="Freihandform: Form 265">
                <a:extLst>
                  <a:ext uri="{FF2B5EF4-FFF2-40B4-BE49-F238E27FC236}">
                    <a16:creationId xmlns:a16="http://schemas.microsoft.com/office/drawing/2014/main" id="{F798A089-15C9-43AB-BB41-4E2439408594}"/>
                  </a:ext>
                </a:extLst>
              </p:cNvPr>
              <p:cNvSpPr/>
              <p:nvPr/>
            </p:nvSpPr>
            <p:spPr>
              <a:xfrm>
                <a:off x="3540574" y="4526036"/>
                <a:ext cx="281143" cy="13867"/>
              </a:xfrm>
              <a:custGeom>
                <a:avLst/>
                <a:gdLst>
                  <a:gd name="connsiteX0" fmla="*/ 274209 w 281143"/>
                  <a:gd name="connsiteY0" fmla="*/ 13867 h 13867"/>
                  <a:gd name="connsiteX1" fmla="*/ 6934 w 281143"/>
                  <a:gd name="connsiteY1" fmla="*/ 13867 h 13867"/>
                  <a:gd name="connsiteX2" fmla="*/ 0 w 281143"/>
                  <a:gd name="connsiteY2" fmla="*/ 6934 h 13867"/>
                  <a:gd name="connsiteX3" fmla="*/ 6934 w 281143"/>
                  <a:gd name="connsiteY3" fmla="*/ 0 h 13867"/>
                  <a:gd name="connsiteX4" fmla="*/ 274209 w 281143"/>
                  <a:gd name="connsiteY4" fmla="*/ 0 h 13867"/>
                  <a:gd name="connsiteX5" fmla="*/ 281143 w 281143"/>
                  <a:gd name="connsiteY5" fmla="*/ 6934 h 13867"/>
                  <a:gd name="connsiteX6" fmla="*/ 274209 w 281143"/>
                  <a:gd name="connsiteY6" fmla="*/ 13867 h 13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1143" h="13867">
                    <a:moveTo>
                      <a:pt x="274209" y="13867"/>
                    </a:moveTo>
                    <a:lnTo>
                      <a:pt x="6934" y="13867"/>
                    </a:lnTo>
                    <a:cubicBezTo>
                      <a:pt x="3100" y="13867"/>
                      <a:pt x="0" y="10767"/>
                      <a:pt x="0" y="6934"/>
                    </a:cubicBezTo>
                    <a:cubicBezTo>
                      <a:pt x="0" y="3100"/>
                      <a:pt x="3103" y="0"/>
                      <a:pt x="6934" y="0"/>
                    </a:cubicBezTo>
                    <a:lnTo>
                      <a:pt x="274209" y="0"/>
                    </a:lnTo>
                    <a:cubicBezTo>
                      <a:pt x="278043" y="0"/>
                      <a:pt x="281143" y="3100"/>
                      <a:pt x="281143" y="6934"/>
                    </a:cubicBezTo>
                    <a:cubicBezTo>
                      <a:pt x="281143" y="10767"/>
                      <a:pt x="278043" y="13867"/>
                      <a:pt x="274209" y="13867"/>
                    </a:cubicBezTo>
                    <a:close/>
                  </a:path>
                </a:pathLst>
              </a:custGeom>
              <a:grpFill/>
              <a:ln w="351" cap="flat">
                <a:noFill/>
                <a:prstDash val="solid"/>
                <a:miter/>
              </a:ln>
            </p:spPr>
            <p:txBody>
              <a:bodyPr rtlCol="0" anchor="ctr"/>
              <a:lstStyle/>
              <a:p>
                <a:endParaRPr lang="en-GB" dirty="0"/>
              </a:p>
            </p:txBody>
          </p:sp>
          <p:sp>
            <p:nvSpPr>
              <p:cNvPr id="651" name="Freihandform: Form 266">
                <a:extLst>
                  <a:ext uri="{FF2B5EF4-FFF2-40B4-BE49-F238E27FC236}">
                    <a16:creationId xmlns:a16="http://schemas.microsoft.com/office/drawing/2014/main" id="{D2BF72CE-63DC-4BB3-828B-EA9AF351235D}"/>
                  </a:ext>
                </a:extLst>
              </p:cNvPr>
              <p:cNvSpPr/>
              <p:nvPr/>
            </p:nvSpPr>
            <p:spPr>
              <a:xfrm>
                <a:off x="3674210" y="4392396"/>
                <a:ext cx="13867" cy="281136"/>
              </a:xfrm>
              <a:custGeom>
                <a:avLst/>
                <a:gdLst>
                  <a:gd name="connsiteX0" fmla="*/ 6934 w 13867"/>
                  <a:gd name="connsiteY0" fmla="*/ 281136 h 281136"/>
                  <a:gd name="connsiteX1" fmla="*/ 0 w 13867"/>
                  <a:gd name="connsiteY1" fmla="*/ 274203 h 281136"/>
                  <a:gd name="connsiteX2" fmla="*/ 0 w 13867"/>
                  <a:gd name="connsiteY2" fmla="*/ 6934 h 281136"/>
                  <a:gd name="connsiteX3" fmla="*/ 6934 w 13867"/>
                  <a:gd name="connsiteY3" fmla="*/ 0 h 281136"/>
                  <a:gd name="connsiteX4" fmla="*/ 13867 w 13867"/>
                  <a:gd name="connsiteY4" fmla="*/ 6934 h 281136"/>
                  <a:gd name="connsiteX5" fmla="*/ 13867 w 13867"/>
                  <a:gd name="connsiteY5" fmla="*/ 274203 h 281136"/>
                  <a:gd name="connsiteX6" fmla="*/ 6934 w 13867"/>
                  <a:gd name="connsiteY6" fmla="*/ 281136 h 281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7" h="281136">
                    <a:moveTo>
                      <a:pt x="6934" y="281136"/>
                    </a:moveTo>
                    <a:cubicBezTo>
                      <a:pt x="3100" y="281136"/>
                      <a:pt x="0" y="278036"/>
                      <a:pt x="0" y="274203"/>
                    </a:cubicBezTo>
                    <a:lnTo>
                      <a:pt x="0" y="6934"/>
                    </a:lnTo>
                    <a:cubicBezTo>
                      <a:pt x="0" y="3100"/>
                      <a:pt x="3104" y="0"/>
                      <a:pt x="6934" y="0"/>
                    </a:cubicBezTo>
                    <a:cubicBezTo>
                      <a:pt x="10767" y="0"/>
                      <a:pt x="13867" y="3100"/>
                      <a:pt x="13867" y="6934"/>
                    </a:cubicBezTo>
                    <a:lnTo>
                      <a:pt x="13867" y="274203"/>
                    </a:lnTo>
                    <a:cubicBezTo>
                      <a:pt x="13871" y="278036"/>
                      <a:pt x="10767" y="281136"/>
                      <a:pt x="6934" y="281136"/>
                    </a:cubicBezTo>
                    <a:close/>
                  </a:path>
                </a:pathLst>
              </a:custGeom>
              <a:grpFill/>
              <a:ln w="351" cap="flat">
                <a:noFill/>
                <a:prstDash val="solid"/>
                <a:miter/>
              </a:ln>
            </p:spPr>
            <p:txBody>
              <a:bodyPr rtlCol="0" anchor="ctr"/>
              <a:lstStyle/>
              <a:p>
                <a:endParaRPr lang="en-GB" dirty="0"/>
              </a:p>
            </p:txBody>
          </p:sp>
          <p:sp>
            <p:nvSpPr>
              <p:cNvPr id="652" name="Freihandform: Form 267">
                <a:extLst>
                  <a:ext uri="{FF2B5EF4-FFF2-40B4-BE49-F238E27FC236}">
                    <a16:creationId xmlns:a16="http://schemas.microsoft.com/office/drawing/2014/main" id="{A6524CB5-F19F-4DA7-8917-A2B6F17076F1}"/>
                  </a:ext>
                </a:extLst>
              </p:cNvPr>
              <p:cNvSpPr/>
              <p:nvPr/>
            </p:nvSpPr>
            <p:spPr>
              <a:xfrm>
                <a:off x="3568418" y="4442497"/>
                <a:ext cx="223442" cy="40883"/>
              </a:xfrm>
              <a:custGeom>
                <a:avLst/>
                <a:gdLst>
                  <a:gd name="connsiteX0" fmla="*/ 117097 w 223442"/>
                  <a:gd name="connsiteY0" fmla="*/ 40883 h 40883"/>
                  <a:gd name="connsiteX1" fmla="*/ 3459 w 223442"/>
                  <a:gd name="connsiteY1" fmla="*/ 12938 h 40883"/>
                  <a:gd name="connsiteX2" fmla="*/ 931 w 223442"/>
                  <a:gd name="connsiteY2" fmla="*/ 3470 h 40883"/>
                  <a:gd name="connsiteX3" fmla="*/ 10399 w 223442"/>
                  <a:gd name="connsiteY3" fmla="*/ 931 h 40883"/>
                  <a:gd name="connsiteX4" fmla="*/ 213099 w 223442"/>
                  <a:gd name="connsiteY4" fmla="*/ 2055 h 40883"/>
                  <a:gd name="connsiteX5" fmla="*/ 222546 w 223442"/>
                  <a:gd name="connsiteY5" fmla="*/ 4688 h 40883"/>
                  <a:gd name="connsiteX6" fmla="*/ 219913 w 223442"/>
                  <a:gd name="connsiteY6" fmla="*/ 14135 h 40883"/>
                  <a:gd name="connsiteX7" fmla="*/ 117097 w 223442"/>
                  <a:gd name="connsiteY7" fmla="*/ 40883 h 40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42" h="40883">
                    <a:moveTo>
                      <a:pt x="117097" y="40883"/>
                    </a:moveTo>
                    <a:cubicBezTo>
                      <a:pt x="52827" y="40883"/>
                      <a:pt x="4185" y="13359"/>
                      <a:pt x="3459" y="12938"/>
                    </a:cubicBezTo>
                    <a:cubicBezTo>
                      <a:pt x="148" y="11021"/>
                      <a:pt x="-983" y="6780"/>
                      <a:pt x="931" y="3470"/>
                    </a:cubicBezTo>
                    <a:cubicBezTo>
                      <a:pt x="2841" y="152"/>
                      <a:pt x="7089" y="-986"/>
                      <a:pt x="10399" y="931"/>
                    </a:cubicBezTo>
                    <a:cubicBezTo>
                      <a:pt x="11414" y="1521"/>
                      <a:pt x="112814" y="58655"/>
                      <a:pt x="213099" y="2055"/>
                    </a:cubicBezTo>
                    <a:cubicBezTo>
                      <a:pt x="216444" y="159"/>
                      <a:pt x="220671" y="1356"/>
                      <a:pt x="222546" y="4688"/>
                    </a:cubicBezTo>
                    <a:cubicBezTo>
                      <a:pt x="224428" y="8019"/>
                      <a:pt x="223252" y="12253"/>
                      <a:pt x="219913" y="14135"/>
                    </a:cubicBezTo>
                    <a:cubicBezTo>
                      <a:pt x="184423" y="34164"/>
                      <a:pt x="148845" y="40883"/>
                      <a:pt x="117097" y="40883"/>
                    </a:cubicBezTo>
                    <a:close/>
                  </a:path>
                </a:pathLst>
              </a:custGeom>
              <a:grpFill/>
              <a:ln w="351" cap="flat">
                <a:noFill/>
                <a:prstDash val="solid"/>
                <a:miter/>
              </a:ln>
            </p:spPr>
            <p:txBody>
              <a:bodyPr rtlCol="0" anchor="ctr"/>
              <a:lstStyle/>
              <a:p>
                <a:endParaRPr lang="en-GB" dirty="0"/>
              </a:p>
            </p:txBody>
          </p:sp>
          <p:sp>
            <p:nvSpPr>
              <p:cNvPr id="653" name="Freihandform: Form 268">
                <a:extLst>
                  <a:ext uri="{FF2B5EF4-FFF2-40B4-BE49-F238E27FC236}">
                    <a16:creationId xmlns:a16="http://schemas.microsoft.com/office/drawing/2014/main" id="{3478831E-560A-47A2-A1A7-3B7D099C9343}"/>
                  </a:ext>
                </a:extLst>
              </p:cNvPr>
              <p:cNvSpPr/>
              <p:nvPr/>
            </p:nvSpPr>
            <p:spPr>
              <a:xfrm>
                <a:off x="3607643" y="4397538"/>
                <a:ext cx="46408" cy="270847"/>
              </a:xfrm>
              <a:custGeom>
                <a:avLst/>
                <a:gdLst>
                  <a:gd name="connsiteX0" fmla="*/ 39482 w 46408"/>
                  <a:gd name="connsiteY0" fmla="*/ 270847 h 270847"/>
                  <a:gd name="connsiteX1" fmla="*/ 33521 w 46408"/>
                  <a:gd name="connsiteY1" fmla="*/ 267473 h 270847"/>
                  <a:gd name="connsiteX2" fmla="*/ 33405 w 46408"/>
                  <a:gd name="connsiteY2" fmla="*/ 3586 h 270847"/>
                  <a:gd name="connsiteX3" fmla="*/ 42824 w 46408"/>
                  <a:gd name="connsiteY3" fmla="*/ 868 h 270847"/>
                  <a:gd name="connsiteX4" fmla="*/ 45542 w 46408"/>
                  <a:gd name="connsiteY4" fmla="*/ 10288 h 270847"/>
                  <a:gd name="connsiteX5" fmla="*/ 45426 w 46408"/>
                  <a:gd name="connsiteY5" fmla="*/ 260347 h 270847"/>
                  <a:gd name="connsiteX6" fmla="*/ 43035 w 46408"/>
                  <a:gd name="connsiteY6" fmla="*/ 269861 h 270847"/>
                  <a:gd name="connsiteX7" fmla="*/ 39482 w 46408"/>
                  <a:gd name="connsiteY7" fmla="*/ 270847 h 270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408" h="270847">
                    <a:moveTo>
                      <a:pt x="39482" y="270847"/>
                    </a:moveTo>
                    <a:cubicBezTo>
                      <a:pt x="37127" y="270847"/>
                      <a:pt x="34823" y="269643"/>
                      <a:pt x="33521" y="267473"/>
                    </a:cubicBezTo>
                    <a:cubicBezTo>
                      <a:pt x="32763" y="266206"/>
                      <a:pt x="-41444" y="139153"/>
                      <a:pt x="33405" y="3586"/>
                    </a:cubicBezTo>
                    <a:cubicBezTo>
                      <a:pt x="35248" y="240"/>
                      <a:pt x="39461" y="-992"/>
                      <a:pt x="42824" y="868"/>
                    </a:cubicBezTo>
                    <a:cubicBezTo>
                      <a:pt x="46177" y="2718"/>
                      <a:pt x="47396" y="6935"/>
                      <a:pt x="45542" y="10288"/>
                    </a:cubicBezTo>
                    <a:cubicBezTo>
                      <a:pt x="-25494" y="138952"/>
                      <a:pt x="44710" y="259146"/>
                      <a:pt x="45426" y="260347"/>
                    </a:cubicBezTo>
                    <a:cubicBezTo>
                      <a:pt x="47388" y="263640"/>
                      <a:pt x="46321" y="267891"/>
                      <a:pt x="43035" y="269861"/>
                    </a:cubicBezTo>
                    <a:cubicBezTo>
                      <a:pt x="41922" y="270531"/>
                      <a:pt x="40697" y="270847"/>
                      <a:pt x="39482" y="270847"/>
                    </a:cubicBezTo>
                    <a:close/>
                  </a:path>
                </a:pathLst>
              </a:custGeom>
              <a:grpFill/>
              <a:ln w="351" cap="flat">
                <a:noFill/>
                <a:prstDash val="solid"/>
                <a:miter/>
              </a:ln>
            </p:spPr>
            <p:txBody>
              <a:bodyPr rtlCol="0" anchor="ctr"/>
              <a:lstStyle/>
              <a:p>
                <a:endParaRPr lang="en-GB" dirty="0"/>
              </a:p>
            </p:txBody>
          </p:sp>
          <p:sp>
            <p:nvSpPr>
              <p:cNvPr id="654" name="Freihandform: Form 269">
                <a:extLst>
                  <a:ext uri="{FF2B5EF4-FFF2-40B4-BE49-F238E27FC236}">
                    <a16:creationId xmlns:a16="http://schemas.microsoft.com/office/drawing/2014/main" id="{181025E4-CE9B-4621-ABF4-402D4AC859C3}"/>
                  </a:ext>
                </a:extLst>
              </p:cNvPr>
              <p:cNvSpPr/>
              <p:nvPr/>
            </p:nvSpPr>
            <p:spPr>
              <a:xfrm>
                <a:off x="3708239" y="4397540"/>
                <a:ext cx="46405" cy="270845"/>
              </a:xfrm>
              <a:custGeom>
                <a:avLst/>
                <a:gdLst>
                  <a:gd name="connsiteX0" fmla="*/ 6938 w 46405"/>
                  <a:gd name="connsiteY0" fmla="*/ 270845 h 270845"/>
                  <a:gd name="connsiteX1" fmla="*/ 3382 w 46405"/>
                  <a:gd name="connsiteY1" fmla="*/ 269863 h 270845"/>
                  <a:gd name="connsiteX2" fmla="*/ 984 w 46405"/>
                  <a:gd name="connsiteY2" fmla="*/ 260355 h 270845"/>
                  <a:gd name="connsiteX3" fmla="*/ 868 w 46405"/>
                  <a:gd name="connsiteY3" fmla="*/ 10289 h 270845"/>
                  <a:gd name="connsiteX4" fmla="*/ 3586 w 46405"/>
                  <a:gd name="connsiteY4" fmla="*/ 870 h 270845"/>
                  <a:gd name="connsiteX5" fmla="*/ 13005 w 46405"/>
                  <a:gd name="connsiteY5" fmla="*/ 3587 h 270845"/>
                  <a:gd name="connsiteX6" fmla="*/ 12889 w 46405"/>
                  <a:gd name="connsiteY6" fmla="*/ 267475 h 270845"/>
                  <a:gd name="connsiteX7" fmla="*/ 6938 w 46405"/>
                  <a:gd name="connsiteY7" fmla="*/ 270845 h 270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405" h="270845">
                    <a:moveTo>
                      <a:pt x="6938" y="270845"/>
                    </a:moveTo>
                    <a:cubicBezTo>
                      <a:pt x="5727" y="270845"/>
                      <a:pt x="4502" y="270526"/>
                      <a:pt x="3382" y="269863"/>
                    </a:cubicBezTo>
                    <a:cubicBezTo>
                      <a:pt x="96" y="267900"/>
                      <a:pt x="-978" y="263645"/>
                      <a:pt x="984" y="260355"/>
                    </a:cubicBezTo>
                    <a:cubicBezTo>
                      <a:pt x="1697" y="259158"/>
                      <a:pt x="71757" y="138712"/>
                      <a:pt x="868" y="10289"/>
                    </a:cubicBezTo>
                    <a:cubicBezTo>
                      <a:pt x="-989" y="6936"/>
                      <a:pt x="233" y="2716"/>
                      <a:pt x="3586" y="870"/>
                    </a:cubicBezTo>
                    <a:cubicBezTo>
                      <a:pt x="6952" y="-994"/>
                      <a:pt x="11165" y="241"/>
                      <a:pt x="13005" y="3587"/>
                    </a:cubicBezTo>
                    <a:cubicBezTo>
                      <a:pt x="87843" y="139154"/>
                      <a:pt x="13647" y="266208"/>
                      <a:pt x="12889" y="267475"/>
                    </a:cubicBezTo>
                    <a:cubicBezTo>
                      <a:pt x="11590" y="269641"/>
                      <a:pt x="9297" y="270845"/>
                      <a:pt x="6938" y="270845"/>
                    </a:cubicBezTo>
                    <a:close/>
                  </a:path>
                </a:pathLst>
              </a:custGeom>
              <a:grpFill/>
              <a:ln w="351" cap="flat">
                <a:noFill/>
                <a:prstDash val="solid"/>
                <a:miter/>
              </a:ln>
            </p:spPr>
            <p:txBody>
              <a:bodyPr rtlCol="0" anchor="ctr"/>
              <a:lstStyle/>
              <a:p>
                <a:endParaRPr lang="en-GB" dirty="0"/>
              </a:p>
            </p:txBody>
          </p:sp>
          <p:sp>
            <p:nvSpPr>
              <p:cNvPr id="655" name="Freihandform: Form 270">
                <a:extLst>
                  <a:ext uri="{FF2B5EF4-FFF2-40B4-BE49-F238E27FC236}">
                    <a16:creationId xmlns:a16="http://schemas.microsoft.com/office/drawing/2014/main" id="{5087EB90-2995-48E1-B556-B908577409F4}"/>
                  </a:ext>
                </a:extLst>
              </p:cNvPr>
              <p:cNvSpPr/>
              <p:nvPr/>
            </p:nvSpPr>
            <p:spPr>
              <a:xfrm>
                <a:off x="3568414" y="4582121"/>
                <a:ext cx="223725" cy="41309"/>
              </a:xfrm>
              <a:custGeom>
                <a:avLst/>
                <a:gdLst>
                  <a:gd name="connsiteX0" fmla="*/ 6945 w 223725"/>
                  <a:gd name="connsiteY0" fmla="*/ 41309 h 41309"/>
                  <a:gd name="connsiteX1" fmla="*/ 938 w 223725"/>
                  <a:gd name="connsiteY1" fmla="*/ 37848 h 41309"/>
                  <a:gd name="connsiteX2" fmla="*/ 3466 w 223725"/>
                  <a:gd name="connsiteY2" fmla="*/ 28372 h 41309"/>
                  <a:gd name="connsiteX3" fmla="*/ 220053 w 223725"/>
                  <a:gd name="connsiteY3" fmla="*/ 27294 h 41309"/>
                  <a:gd name="connsiteX4" fmla="*/ 222904 w 223725"/>
                  <a:gd name="connsiteY4" fmla="*/ 36675 h 41309"/>
                  <a:gd name="connsiteX5" fmla="*/ 213523 w 223725"/>
                  <a:gd name="connsiteY5" fmla="*/ 39526 h 41309"/>
                  <a:gd name="connsiteX6" fmla="*/ 10413 w 223725"/>
                  <a:gd name="connsiteY6" fmla="*/ 40372 h 41309"/>
                  <a:gd name="connsiteX7" fmla="*/ 6945 w 223725"/>
                  <a:gd name="connsiteY7" fmla="*/ 41309 h 41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725" h="41309">
                    <a:moveTo>
                      <a:pt x="6945" y="41309"/>
                    </a:moveTo>
                    <a:cubicBezTo>
                      <a:pt x="4547" y="41309"/>
                      <a:pt x="2223" y="40070"/>
                      <a:pt x="938" y="37848"/>
                    </a:cubicBezTo>
                    <a:cubicBezTo>
                      <a:pt x="-986" y="34537"/>
                      <a:pt x="144" y="30289"/>
                      <a:pt x="3466" y="28372"/>
                    </a:cubicBezTo>
                    <a:cubicBezTo>
                      <a:pt x="103272" y="-29418"/>
                      <a:pt x="201401" y="17331"/>
                      <a:pt x="220053" y="27294"/>
                    </a:cubicBezTo>
                    <a:cubicBezTo>
                      <a:pt x="223434" y="29095"/>
                      <a:pt x="224712" y="33294"/>
                      <a:pt x="222904" y="36675"/>
                    </a:cubicBezTo>
                    <a:cubicBezTo>
                      <a:pt x="221103" y="40063"/>
                      <a:pt x="216883" y="41334"/>
                      <a:pt x="213523" y="39526"/>
                    </a:cubicBezTo>
                    <a:cubicBezTo>
                      <a:pt x="202788" y="33803"/>
                      <a:pt x="105846" y="-14866"/>
                      <a:pt x="10413" y="40372"/>
                    </a:cubicBezTo>
                    <a:cubicBezTo>
                      <a:pt x="9321" y="41011"/>
                      <a:pt x="8121" y="41309"/>
                      <a:pt x="6945" y="41309"/>
                    </a:cubicBezTo>
                    <a:close/>
                  </a:path>
                </a:pathLst>
              </a:custGeom>
              <a:grpFill/>
              <a:ln w="351" cap="flat">
                <a:noFill/>
                <a:prstDash val="solid"/>
                <a:miter/>
              </a:ln>
            </p:spPr>
            <p:txBody>
              <a:bodyPr rtlCol="0" anchor="ctr"/>
              <a:lstStyle/>
              <a:p>
                <a:endParaRPr lang="en-GB" dirty="0"/>
              </a:p>
            </p:txBody>
          </p:sp>
        </p:grpSp>
        <p:grpSp>
          <p:nvGrpSpPr>
            <p:cNvPr id="216" name="Group 215">
              <a:extLst>
                <a:ext uri="{FF2B5EF4-FFF2-40B4-BE49-F238E27FC236}">
                  <a16:creationId xmlns:a16="http://schemas.microsoft.com/office/drawing/2014/main" id="{4A148193-2E2F-6451-966A-F78361D1643C}"/>
                </a:ext>
              </a:extLst>
            </p:cNvPr>
            <p:cNvGrpSpPr/>
            <p:nvPr/>
          </p:nvGrpSpPr>
          <p:grpSpPr>
            <a:xfrm>
              <a:off x="5006616" y="2402828"/>
              <a:ext cx="412480" cy="413854"/>
              <a:chOff x="5006616" y="2402828"/>
              <a:chExt cx="412480" cy="413854"/>
            </a:xfrm>
          </p:grpSpPr>
          <p:sp>
            <p:nvSpPr>
              <p:cNvPr id="647" name="Freihandform: Form 271">
                <a:extLst>
                  <a:ext uri="{FF2B5EF4-FFF2-40B4-BE49-F238E27FC236}">
                    <a16:creationId xmlns:a16="http://schemas.microsoft.com/office/drawing/2014/main" id="{8B459B6D-A121-43C0-B630-98E8EB68E928}"/>
                  </a:ext>
                </a:extLst>
              </p:cNvPr>
              <p:cNvSpPr/>
              <p:nvPr/>
            </p:nvSpPr>
            <p:spPr>
              <a:xfrm>
                <a:off x="5006616" y="2402828"/>
                <a:ext cx="213137" cy="407996"/>
              </a:xfrm>
              <a:custGeom>
                <a:avLst/>
                <a:gdLst>
                  <a:gd name="connsiteX0" fmla="*/ 158842 w 214297"/>
                  <a:gd name="connsiteY0" fmla="*/ 410215 h 410215"/>
                  <a:gd name="connsiteX1" fmla="*/ 157167 w 214297"/>
                  <a:gd name="connsiteY1" fmla="*/ 410012 h 410215"/>
                  <a:gd name="connsiteX2" fmla="*/ 129401 w 214297"/>
                  <a:gd name="connsiteY2" fmla="*/ 401003 h 410215"/>
                  <a:gd name="connsiteX3" fmla="*/ 125574 w 214297"/>
                  <a:gd name="connsiteY3" fmla="*/ 391974 h 410215"/>
                  <a:gd name="connsiteX4" fmla="*/ 134604 w 214297"/>
                  <a:gd name="connsiteY4" fmla="*/ 388147 h 410215"/>
                  <a:gd name="connsiteX5" fmla="*/ 160503 w 214297"/>
                  <a:gd name="connsiteY5" fmla="*/ 396544 h 410215"/>
                  <a:gd name="connsiteX6" fmla="*/ 165569 w 214297"/>
                  <a:gd name="connsiteY6" fmla="*/ 404942 h 410215"/>
                  <a:gd name="connsiteX7" fmla="*/ 158842 w 214297"/>
                  <a:gd name="connsiteY7" fmla="*/ 410215 h 410215"/>
                  <a:gd name="connsiteX8" fmla="*/ 84088 w 214297"/>
                  <a:gd name="connsiteY8" fmla="*/ 373914 h 410215"/>
                  <a:gd name="connsiteX9" fmla="*/ 79840 w 214297"/>
                  <a:gd name="connsiteY9" fmla="*/ 372458 h 410215"/>
                  <a:gd name="connsiteX10" fmla="*/ 39888 w 214297"/>
                  <a:gd name="connsiteY10" fmla="*/ 331529 h 410215"/>
                  <a:gd name="connsiteX11" fmla="*/ 41352 w 214297"/>
                  <a:gd name="connsiteY11" fmla="*/ 321829 h 410215"/>
                  <a:gd name="connsiteX12" fmla="*/ 51052 w 214297"/>
                  <a:gd name="connsiteY12" fmla="*/ 323293 h 410215"/>
                  <a:gd name="connsiteX13" fmla="*/ 88350 w 214297"/>
                  <a:gd name="connsiteY13" fmla="*/ 361497 h 410215"/>
                  <a:gd name="connsiteX14" fmla="*/ 89575 w 214297"/>
                  <a:gd name="connsiteY14" fmla="*/ 371229 h 410215"/>
                  <a:gd name="connsiteX15" fmla="*/ 84088 w 214297"/>
                  <a:gd name="connsiteY15" fmla="*/ 373914 h 410215"/>
                  <a:gd name="connsiteX16" fmla="*/ 19055 w 214297"/>
                  <a:gd name="connsiteY16" fmla="*/ 285767 h 410215"/>
                  <a:gd name="connsiteX17" fmla="*/ 12567 w 214297"/>
                  <a:gd name="connsiteY17" fmla="*/ 281276 h 410215"/>
                  <a:gd name="connsiteX18" fmla="*/ 24 w 214297"/>
                  <a:gd name="connsiteY18" fmla="*/ 225442 h 410215"/>
                  <a:gd name="connsiteX19" fmla="*/ 6371 w 214297"/>
                  <a:gd name="connsiteY19" fmla="*/ 217957 h 410215"/>
                  <a:gd name="connsiteX20" fmla="*/ 13856 w 214297"/>
                  <a:gd name="connsiteY20" fmla="*/ 224304 h 410215"/>
                  <a:gd name="connsiteX21" fmla="*/ 25547 w 214297"/>
                  <a:gd name="connsiteY21" fmla="*/ 276386 h 410215"/>
                  <a:gd name="connsiteX22" fmla="*/ 21502 w 214297"/>
                  <a:gd name="connsiteY22" fmla="*/ 285321 h 410215"/>
                  <a:gd name="connsiteX23" fmla="*/ 19055 w 214297"/>
                  <a:gd name="connsiteY23" fmla="*/ 285767 h 410215"/>
                  <a:gd name="connsiteX24" fmla="*/ 9906 w 214297"/>
                  <a:gd name="connsiteY24" fmla="*/ 176600 h 410215"/>
                  <a:gd name="connsiteX25" fmla="*/ 8586 w 214297"/>
                  <a:gd name="connsiteY25" fmla="*/ 176471 h 410215"/>
                  <a:gd name="connsiteX26" fmla="*/ 3092 w 214297"/>
                  <a:gd name="connsiteY26" fmla="*/ 168350 h 410215"/>
                  <a:gd name="connsiteX27" fmla="*/ 21615 w 214297"/>
                  <a:gd name="connsiteY27" fmla="*/ 114225 h 410215"/>
                  <a:gd name="connsiteX28" fmla="*/ 30932 w 214297"/>
                  <a:gd name="connsiteY28" fmla="*/ 111164 h 410215"/>
                  <a:gd name="connsiteX29" fmla="*/ 33993 w 214297"/>
                  <a:gd name="connsiteY29" fmla="*/ 120481 h 410215"/>
                  <a:gd name="connsiteX30" fmla="*/ 16703 w 214297"/>
                  <a:gd name="connsiteY30" fmla="*/ 170976 h 410215"/>
                  <a:gd name="connsiteX31" fmla="*/ 9906 w 214297"/>
                  <a:gd name="connsiteY31" fmla="*/ 176600 h 410215"/>
                  <a:gd name="connsiteX32" fmla="*/ 59313 w 214297"/>
                  <a:gd name="connsiteY32" fmla="*/ 78851 h 410215"/>
                  <a:gd name="connsiteX33" fmla="*/ 54619 w 214297"/>
                  <a:gd name="connsiteY33" fmla="*/ 77022 h 410215"/>
                  <a:gd name="connsiteX34" fmla="*/ 54205 w 214297"/>
                  <a:gd name="connsiteY34" fmla="*/ 67224 h 410215"/>
                  <a:gd name="connsiteX35" fmla="*/ 98328 w 214297"/>
                  <a:gd name="connsiteY35" fmla="*/ 30821 h 410215"/>
                  <a:gd name="connsiteX36" fmla="*/ 107870 w 214297"/>
                  <a:gd name="connsiteY36" fmla="*/ 33089 h 410215"/>
                  <a:gd name="connsiteX37" fmla="*/ 105602 w 214297"/>
                  <a:gd name="connsiteY37" fmla="*/ 42631 h 410215"/>
                  <a:gd name="connsiteX38" fmla="*/ 64417 w 214297"/>
                  <a:gd name="connsiteY38" fmla="*/ 76608 h 410215"/>
                  <a:gd name="connsiteX39" fmla="*/ 59313 w 214297"/>
                  <a:gd name="connsiteY39" fmla="*/ 78851 h 410215"/>
                  <a:gd name="connsiteX40" fmla="*/ 152586 w 214297"/>
                  <a:gd name="connsiteY40" fmla="*/ 21412 h 410215"/>
                  <a:gd name="connsiteX41" fmla="*/ 145923 w 214297"/>
                  <a:gd name="connsiteY41" fmla="*/ 16360 h 410215"/>
                  <a:gd name="connsiteX42" fmla="*/ 150711 w 214297"/>
                  <a:gd name="connsiteY42" fmla="*/ 7808 h 410215"/>
                  <a:gd name="connsiteX43" fmla="*/ 207364 w 214297"/>
                  <a:gd name="connsiteY43" fmla="*/ 0 h 410215"/>
                  <a:gd name="connsiteX44" fmla="*/ 214298 w 214297"/>
                  <a:gd name="connsiteY44" fmla="*/ 6934 h 410215"/>
                  <a:gd name="connsiteX45" fmla="*/ 207364 w 214297"/>
                  <a:gd name="connsiteY45" fmla="*/ 13867 h 410215"/>
                  <a:gd name="connsiteX46" fmla="*/ 154475 w 214297"/>
                  <a:gd name="connsiteY46" fmla="*/ 21149 h 410215"/>
                  <a:gd name="connsiteX47" fmla="*/ 152586 w 214297"/>
                  <a:gd name="connsiteY47" fmla="*/ 21412 h 410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14297" h="410215">
                    <a:moveTo>
                      <a:pt x="158842" y="410215"/>
                    </a:moveTo>
                    <a:cubicBezTo>
                      <a:pt x="158288" y="410215"/>
                      <a:pt x="157726" y="410149"/>
                      <a:pt x="157167" y="410012"/>
                    </a:cubicBezTo>
                    <a:cubicBezTo>
                      <a:pt x="147755" y="407681"/>
                      <a:pt x="138413" y="404647"/>
                      <a:pt x="129401" y="401003"/>
                    </a:cubicBezTo>
                    <a:cubicBezTo>
                      <a:pt x="125852" y="399567"/>
                      <a:pt x="124139" y="395530"/>
                      <a:pt x="125574" y="391974"/>
                    </a:cubicBezTo>
                    <a:cubicBezTo>
                      <a:pt x="127010" y="388424"/>
                      <a:pt x="131062" y="386718"/>
                      <a:pt x="134604" y="388147"/>
                    </a:cubicBezTo>
                    <a:cubicBezTo>
                      <a:pt x="143016" y="391545"/>
                      <a:pt x="151726" y="394372"/>
                      <a:pt x="160503" y="396544"/>
                    </a:cubicBezTo>
                    <a:cubicBezTo>
                      <a:pt x="164221" y="397464"/>
                      <a:pt x="166489" y="401224"/>
                      <a:pt x="165569" y="404942"/>
                    </a:cubicBezTo>
                    <a:cubicBezTo>
                      <a:pt x="164782" y="408109"/>
                      <a:pt x="161953" y="410215"/>
                      <a:pt x="158842" y="410215"/>
                    </a:cubicBezTo>
                    <a:close/>
                    <a:moveTo>
                      <a:pt x="84088" y="373914"/>
                    </a:moveTo>
                    <a:cubicBezTo>
                      <a:pt x="82603" y="373914"/>
                      <a:pt x="81107" y="373440"/>
                      <a:pt x="79840" y="372458"/>
                    </a:cubicBezTo>
                    <a:cubicBezTo>
                      <a:pt x="64702" y="360700"/>
                      <a:pt x="51266" y="346931"/>
                      <a:pt x="39888" y="331529"/>
                    </a:cubicBezTo>
                    <a:cubicBezTo>
                      <a:pt x="37613" y="328447"/>
                      <a:pt x="38269" y="324107"/>
                      <a:pt x="41352" y="321829"/>
                    </a:cubicBezTo>
                    <a:cubicBezTo>
                      <a:pt x="44434" y="319554"/>
                      <a:pt x="48774" y="320211"/>
                      <a:pt x="51052" y="323293"/>
                    </a:cubicBezTo>
                    <a:cubicBezTo>
                      <a:pt x="61672" y="337673"/>
                      <a:pt x="74216" y="350526"/>
                      <a:pt x="88350" y="361497"/>
                    </a:cubicBezTo>
                    <a:cubicBezTo>
                      <a:pt x="91376" y="363846"/>
                      <a:pt x="91928" y="368202"/>
                      <a:pt x="89575" y="371229"/>
                    </a:cubicBezTo>
                    <a:cubicBezTo>
                      <a:pt x="88203" y="372991"/>
                      <a:pt x="86159" y="373914"/>
                      <a:pt x="84088" y="373914"/>
                    </a:cubicBezTo>
                    <a:close/>
                    <a:moveTo>
                      <a:pt x="19055" y="285767"/>
                    </a:moveTo>
                    <a:cubicBezTo>
                      <a:pt x="16250" y="285767"/>
                      <a:pt x="13610" y="284054"/>
                      <a:pt x="12567" y="281276"/>
                    </a:cubicBezTo>
                    <a:cubicBezTo>
                      <a:pt x="5830" y="263365"/>
                      <a:pt x="1610" y="244582"/>
                      <a:pt x="24" y="225442"/>
                    </a:cubicBezTo>
                    <a:cubicBezTo>
                      <a:pt x="-289" y="221629"/>
                      <a:pt x="2551" y="218277"/>
                      <a:pt x="6371" y="217957"/>
                    </a:cubicBezTo>
                    <a:cubicBezTo>
                      <a:pt x="10155" y="217694"/>
                      <a:pt x="13536" y="220488"/>
                      <a:pt x="13856" y="224304"/>
                    </a:cubicBezTo>
                    <a:cubicBezTo>
                      <a:pt x="15334" y="242156"/>
                      <a:pt x="19266" y="259685"/>
                      <a:pt x="25547" y="276386"/>
                    </a:cubicBezTo>
                    <a:cubicBezTo>
                      <a:pt x="26902" y="279974"/>
                      <a:pt x="25087" y="283973"/>
                      <a:pt x="21502" y="285321"/>
                    </a:cubicBezTo>
                    <a:cubicBezTo>
                      <a:pt x="20695" y="285626"/>
                      <a:pt x="19870" y="285767"/>
                      <a:pt x="19055" y="285767"/>
                    </a:cubicBezTo>
                    <a:close/>
                    <a:moveTo>
                      <a:pt x="9906" y="176600"/>
                    </a:moveTo>
                    <a:cubicBezTo>
                      <a:pt x="9474" y="176600"/>
                      <a:pt x="9025" y="176558"/>
                      <a:pt x="8586" y="176471"/>
                    </a:cubicBezTo>
                    <a:cubicBezTo>
                      <a:pt x="4819" y="175747"/>
                      <a:pt x="2362" y="172110"/>
                      <a:pt x="3092" y="168350"/>
                    </a:cubicBezTo>
                    <a:cubicBezTo>
                      <a:pt x="6722" y="149543"/>
                      <a:pt x="12961" y="131330"/>
                      <a:pt x="21615" y="114225"/>
                    </a:cubicBezTo>
                    <a:cubicBezTo>
                      <a:pt x="23349" y="110813"/>
                      <a:pt x="27520" y="109437"/>
                      <a:pt x="30932" y="111164"/>
                    </a:cubicBezTo>
                    <a:cubicBezTo>
                      <a:pt x="34352" y="112898"/>
                      <a:pt x="35721" y="117069"/>
                      <a:pt x="33993" y="120481"/>
                    </a:cubicBezTo>
                    <a:cubicBezTo>
                      <a:pt x="25915" y="136452"/>
                      <a:pt x="20094" y="153437"/>
                      <a:pt x="16703" y="170976"/>
                    </a:cubicBezTo>
                    <a:cubicBezTo>
                      <a:pt x="16068" y="174297"/>
                      <a:pt x="13164" y="176600"/>
                      <a:pt x="9906" y="176600"/>
                    </a:cubicBezTo>
                    <a:close/>
                    <a:moveTo>
                      <a:pt x="59313" y="78851"/>
                    </a:moveTo>
                    <a:cubicBezTo>
                      <a:pt x="57635" y="78851"/>
                      <a:pt x="55946" y="78247"/>
                      <a:pt x="54619" y="77022"/>
                    </a:cubicBezTo>
                    <a:cubicBezTo>
                      <a:pt x="51796" y="74428"/>
                      <a:pt x="51617" y="70039"/>
                      <a:pt x="54205" y="67224"/>
                    </a:cubicBezTo>
                    <a:cubicBezTo>
                      <a:pt x="67194" y="53110"/>
                      <a:pt x="82041" y="40865"/>
                      <a:pt x="98328" y="30821"/>
                    </a:cubicBezTo>
                    <a:cubicBezTo>
                      <a:pt x="101572" y="28802"/>
                      <a:pt x="105858" y="29824"/>
                      <a:pt x="107870" y="33089"/>
                    </a:cubicBezTo>
                    <a:cubicBezTo>
                      <a:pt x="109874" y="36347"/>
                      <a:pt x="108867" y="40619"/>
                      <a:pt x="105602" y="42631"/>
                    </a:cubicBezTo>
                    <a:cubicBezTo>
                      <a:pt x="90397" y="52004"/>
                      <a:pt x="76540" y="63435"/>
                      <a:pt x="64417" y="76608"/>
                    </a:cubicBezTo>
                    <a:cubicBezTo>
                      <a:pt x="63052" y="78100"/>
                      <a:pt x="61181" y="78851"/>
                      <a:pt x="59313" y="78851"/>
                    </a:cubicBezTo>
                    <a:close/>
                    <a:moveTo>
                      <a:pt x="152586" y="21412"/>
                    </a:moveTo>
                    <a:cubicBezTo>
                      <a:pt x="149567" y="21412"/>
                      <a:pt x="146783" y="19414"/>
                      <a:pt x="145923" y="16360"/>
                    </a:cubicBezTo>
                    <a:cubicBezTo>
                      <a:pt x="144880" y="12677"/>
                      <a:pt x="147025" y="8844"/>
                      <a:pt x="150711" y="7808"/>
                    </a:cubicBezTo>
                    <a:cubicBezTo>
                      <a:pt x="169059" y="2626"/>
                      <a:pt x="188122" y="0"/>
                      <a:pt x="207364" y="0"/>
                    </a:cubicBezTo>
                    <a:cubicBezTo>
                      <a:pt x="211198" y="0"/>
                      <a:pt x="214298" y="3103"/>
                      <a:pt x="214298" y="6934"/>
                    </a:cubicBezTo>
                    <a:cubicBezTo>
                      <a:pt x="214298" y="10764"/>
                      <a:pt x="211194" y="13867"/>
                      <a:pt x="207364" y="13867"/>
                    </a:cubicBezTo>
                    <a:cubicBezTo>
                      <a:pt x="189396" y="13867"/>
                      <a:pt x="171597" y="16318"/>
                      <a:pt x="154475" y="21149"/>
                    </a:cubicBezTo>
                    <a:cubicBezTo>
                      <a:pt x="153843" y="21331"/>
                      <a:pt x="153214" y="21412"/>
                      <a:pt x="152586" y="21412"/>
                    </a:cubicBezTo>
                    <a:close/>
                  </a:path>
                </a:pathLst>
              </a:custGeom>
              <a:solidFill>
                <a:schemeClr val="accent1"/>
              </a:solidFill>
              <a:ln w="351" cap="flat">
                <a:noFill/>
                <a:prstDash val="solid"/>
                <a:miter/>
              </a:ln>
            </p:spPr>
            <p:txBody>
              <a:bodyPr rtlCol="0" anchor="ctr"/>
              <a:lstStyle/>
              <a:p>
                <a:endParaRPr lang="en-GB" dirty="0"/>
              </a:p>
            </p:txBody>
          </p:sp>
          <p:sp>
            <p:nvSpPr>
              <p:cNvPr id="648" name="Freihandform: Form 272">
                <a:extLst>
                  <a:ext uri="{FF2B5EF4-FFF2-40B4-BE49-F238E27FC236}">
                    <a16:creationId xmlns:a16="http://schemas.microsoft.com/office/drawing/2014/main" id="{765D38EB-BDC5-4092-BAF8-866916613814}"/>
                  </a:ext>
                </a:extLst>
              </p:cNvPr>
              <p:cNvSpPr/>
              <p:nvPr/>
            </p:nvSpPr>
            <p:spPr>
              <a:xfrm>
                <a:off x="5205959" y="2407109"/>
                <a:ext cx="213137" cy="409573"/>
              </a:xfrm>
              <a:custGeom>
                <a:avLst/>
                <a:gdLst>
                  <a:gd name="connsiteX0" fmla="*/ 6934 w 214297"/>
                  <a:gd name="connsiteY0" fmla="*/ 411801 h 411801"/>
                  <a:gd name="connsiteX1" fmla="*/ 0 w 214297"/>
                  <a:gd name="connsiteY1" fmla="*/ 404868 h 411801"/>
                  <a:gd name="connsiteX2" fmla="*/ 6934 w 214297"/>
                  <a:gd name="connsiteY2" fmla="*/ 397934 h 411801"/>
                  <a:gd name="connsiteX3" fmla="*/ 59819 w 214297"/>
                  <a:gd name="connsiteY3" fmla="*/ 390653 h 411801"/>
                  <a:gd name="connsiteX4" fmla="*/ 68372 w 214297"/>
                  <a:gd name="connsiteY4" fmla="*/ 395441 h 411801"/>
                  <a:gd name="connsiteX5" fmla="*/ 63583 w 214297"/>
                  <a:gd name="connsiteY5" fmla="*/ 403993 h 411801"/>
                  <a:gd name="connsiteX6" fmla="*/ 6934 w 214297"/>
                  <a:gd name="connsiteY6" fmla="*/ 411801 h 411801"/>
                  <a:gd name="connsiteX7" fmla="*/ 112337 w 214297"/>
                  <a:gd name="connsiteY7" fmla="*/ 382009 h 411801"/>
                  <a:gd name="connsiteX8" fmla="*/ 106424 w 214297"/>
                  <a:gd name="connsiteY8" fmla="*/ 378713 h 411801"/>
                  <a:gd name="connsiteX9" fmla="*/ 108692 w 214297"/>
                  <a:gd name="connsiteY9" fmla="*/ 369170 h 411801"/>
                  <a:gd name="connsiteX10" fmla="*/ 149877 w 214297"/>
                  <a:gd name="connsiteY10" fmla="*/ 335194 h 411801"/>
                  <a:gd name="connsiteX11" fmla="*/ 159675 w 214297"/>
                  <a:gd name="connsiteY11" fmla="*/ 334779 h 411801"/>
                  <a:gd name="connsiteX12" fmla="*/ 160090 w 214297"/>
                  <a:gd name="connsiteY12" fmla="*/ 344581 h 411801"/>
                  <a:gd name="connsiteX13" fmla="*/ 115967 w 214297"/>
                  <a:gd name="connsiteY13" fmla="*/ 380984 h 411801"/>
                  <a:gd name="connsiteX14" fmla="*/ 112337 w 214297"/>
                  <a:gd name="connsiteY14" fmla="*/ 382009 h 411801"/>
                  <a:gd name="connsiteX15" fmla="*/ 186483 w 214297"/>
                  <a:gd name="connsiteY15" fmla="*/ 301382 h 411801"/>
                  <a:gd name="connsiteX16" fmla="*/ 183362 w 214297"/>
                  <a:gd name="connsiteY16" fmla="*/ 300637 h 411801"/>
                  <a:gd name="connsiteX17" fmla="*/ 180301 w 214297"/>
                  <a:gd name="connsiteY17" fmla="*/ 291320 h 411801"/>
                  <a:gd name="connsiteX18" fmla="*/ 197584 w 214297"/>
                  <a:gd name="connsiteY18" fmla="*/ 240825 h 411801"/>
                  <a:gd name="connsiteX19" fmla="*/ 205704 w 214297"/>
                  <a:gd name="connsiteY19" fmla="*/ 235331 h 411801"/>
                  <a:gd name="connsiteX20" fmla="*/ 211199 w 214297"/>
                  <a:gd name="connsiteY20" fmla="*/ 243451 h 411801"/>
                  <a:gd name="connsiteX21" fmla="*/ 192683 w 214297"/>
                  <a:gd name="connsiteY21" fmla="*/ 297579 h 411801"/>
                  <a:gd name="connsiteX22" fmla="*/ 186483 w 214297"/>
                  <a:gd name="connsiteY22" fmla="*/ 301382 h 411801"/>
                  <a:gd name="connsiteX23" fmla="*/ 207351 w 214297"/>
                  <a:gd name="connsiteY23" fmla="*/ 193858 h 411801"/>
                  <a:gd name="connsiteX24" fmla="*/ 200442 w 214297"/>
                  <a:gd name="connsiteY24" fmla="*/ 187494 h 411801"/>
                  <a:gd name="connsiteX25" fmla="*/ 188751 w 214297"/>
                  <a:gd name="connsiteY25" fmla="*/ 135412 h 411801"/>
                  <a:gd name="connsiteX26" fmla="*/ 192796 w 214297"/>
                  <a:gd name="connsiteY26" fmla="*/ 126480 h 411801"/>
                  <a:gd name="connsiteX27" fmla="*/ 201731 w 214297"/>
                  <a:gd name="connsiteY27" fmla="*/ 130525 h 411801"/>
                  <a:gd name="connsiteX28" fmla="*/ 214274 w 214297"/>
                  <a:gd name="connsiteY28" fmla="*/ 186359 h 411801"/>
                  <a:gd name="connsiteX29" fmla="*/ 207927 w 214297"/>
                  <a:gd name="connsiteY29" fmla="*/ 193844 h 411801"/>
                  <a:gd name="connsiteX30" fmla="*/ 207351 w 214297"/>
                  <a:gd name="connsiteY30" fmla="*/ 193858 h 411801"/>
                  <a:gd name="connsiteX31" fmla="*/ 168828 w 214297"/>
                  <a:gd name="connsiteY31" fmla="*/ 91327 h 411801"/>
                  <a:gd name="connsiteX32" fmla="*/ 163239 w 214297"/>
                  <a:gd name="connsiteY32" fmla="*/ 88512 h 411801"/>
                  <a:gd name="connsiteX33" fmla="*/ 125941 w 214297"/>
                  <a:gd name="connsiteY33" fmla="*/ 50294 h 411801"/>
                  <a:gd name="connsiteX34" fmla="*/ 124715 w 214297"/>
                  <a:gd name="connsiteY34" fmla="*/ 40562 h 411801"/>
                  <a:gd name="connsiteX35" fmla="*/ 134447 w 214297"/>
                  <a:gd name="connsiteY35" fmla="*/ 39337 h 411801"/>
                  <a:gd name="connsiteX36" fmla="*/ 174399 w 214297"/>
                  <a:gd name="connsiteY36" fmla="*/ 80279 h 411801"/>
                  <a:gd name="connsiteX37" fmla="*/ 172935 w 214297"/>
                  <a:gd name="connsiteY37" fmla="*/ 89979 h 411801"/>
                  <a:gd name="connsiteX38" fmla="*/ 168828 w 214297"/>
                  <a:gd name="connsiteY38" fmla="*/ 91327 h 411801"/>
                  <a:gd name="connsiteX39" fmla="*/ 82302 w 214297"/>
                  <a:gd name="connsiteY39" fmla="*/ 24163 h 411801"/>
                  <a:gd name="connsiteX40" fmla="*/ 79701 w 214297"/>
                  <a:gd name="connsiteY40" fmla="*/ 23654 h 411801"/>
                  <a:gd name="connsiteX41" fmla="*/ 47132 w 214297"/>
                  <a:gd name="connsiteY41" fmla="*/ 13726 h 411801"/>
                  <a:gd name="connsiteX42" fmla="*/ 41774 w 214297"/>
                  <a:gd name="connsiteY42" fmla="*/ 5511 h 411801"/>
                  <a:gd name="connsiteX43" fmla="*/ 49989 w 214297"/>
                  <a:gd name="connsiteY43" fmla="*/ 153 h 411801"/>
                  <a:gd name="connsiteX44" fmla="*/ 84904 w 214297"/>
                  <a:gd name="connsiteY44" fmla="*/ 10802 h 411801"/>
                  <a:gd name="connsiteX45" fmla="*/ 88730 w 214297"/>
                  <a:gd name="connsiteY45" fmla="*/ 19831 h 411801"/>
                  <a:gd name="connsiteX46" fmla="*/ 82302 w 214297"/>
                  <a:gd name="connsiteY46" fmla="*/ 24163 h 41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4297" h="411801">
                    <a:moveTo>
                      <a:pt x="6934" y="411801"/>
                    </a:moveTo>
                    <a:cubicBezTo>
                      <a:pt x="3100" y="411801"/>
                      <a:pt x="0" y="408701"/>
                      <a:pt x="0" y="404868"/>
                    </a:cubicBezTo>
                    <a:cubicBezTo>
                      <a:pt x="0" y="401034"/>
                      <a:pt x="3103" y="397934"/>
                      <a:pt x="6934" y="397934"/>
                    </a:cubicBezTo>
                    <a:cubicBezTo>
                      <a:pt x="24902" y="397934"/>
                      <a:pt x="42701" y="395483"/>
                      <a:pt x="59819" y="390653"/>
                    </a:cubicBezTo>
                    <a:cubicBezTo>
                      <a:pt x="63471" y="389603"/>
                      <a:pt x="67329" y="391751"/>
                      <a:pt x="68372" y="395441"/>
                    </a:cubicBezTo>
                    <a:cubicBezTo>
                      <a:pt x="69414" y="399124"/>
                      <a:pt x="67269" y="402958"/>
                      <a:pt x="63583" y="403993"/>
                    </a:cubicBezTo>
                    <a:cubicBezTo>
                      <a:pt x="45239" y="409175"/>
                      <a:pt x="26176" y="411801"/>
                      <a:pt x="6934" y="411801"/>
                    </a:cubicBezTo>
                    <a:close/>
                    <a:moveTo>
                      <a:pt x="112337" y="382009"/>
                    </a:moveTo>
                    <a:cubicBezTo>
                      <a:pt x="110005" y="382009"/>
                      <a:pt x="107737" y="380837"/>
                      <a:pt x="106424" y="378713"/>
                    </a:cubicBezTo>
                    <a:cubicBezTo>
                      <a:pt x="104420" y="375455"/>
                      <a:pt x="105427" y="371182"/>
                      <a:pt x="108692" y="369170"/>
                    </a:cubicBezTo>
                    <a:cubicBezTo>
                      <a:pt x="123897" y="359797"/>
                      <a:pt x="137754" y="348366"/>
                      <a:pt x="149877" y="335194"/>
                    </a:cubicBezTo>
                    <a:cubicBezTo>
                      <a:pt x="152478" y="332371"/>
                      <a:pt x="156874" y="332199"/>
                      <a:pt x="159675" y="334779"/>
                    </a:cubicBezTo>
                    <a:cubicBezTo>
                      <a:pt x="162498" y="337374"/>
                      <a:pt x="162677" y="341762"/>
                      <a:pt x="160090" y="344581"/>
                    </a:cubicBezTo>
                    <a:cubicBezTo>
                      <a:pt x="147100" y="358694"/>
                      <a:pt x="132253" y="370940"/>
                      <a:pt x="115967" y="380984"/>
                    </a:cubicBezTo>
                    <a:cubicBezTo>
                      <a:pt x="114836" y="381676"/>
                      <a:pt x="113576" y="382009"/>
                      <a:pt x="112337" y="382009"/>
                    </a:cubicBezTo>
                    <a:close/>
                    <a:moveTo>
                      <a:pt x="186483" y="301382"/>
                    </a:moveTo>
                    <a:cubicBezTo>
                      <a:pt x="185434" y="301382"/>
                      <a:pt x="184363" y="301143"/>
                      <a:pt x="183362" y="300637"/>
                    </a:cubicBezTo>
                    <a:cubicBezTo>
                      <a:pt x="179943" y="298903"/>
                      <a:pt x="178574" y="294732"/>
                      <a:pt x="180301" y="291320"/>
                    </a:cubicBezTo>
                    <a:cubicBezTo>
                      <a:pt x="188386" y="275350"/>
                      <a:pt x="194196" y="258358"/>
                      <a:pt x="197584" y="240825"/>
                    </a:cubicBezTo>
                    <a:cubicBezTo>
                      <a:pt x="198308" y="237065"/>
                      <a:pt x="201899" y="234607"/>
                      <a:pt x="205704" y="235331"/>
                    </a:cubicBezTo>
                    <a:cubicBezTo>
                      <a:pt x="209464" y="236054"/>
                      <a:pt x="211929" y="239691"/>
                      <a:pt x="211199" y="243451"/>
                    </a:cubicBezTo>
                    <a:cubicBezTo>
                      <a:pt x="207576" y="262251"/>
                      <a:pt x="201344" y="280465"/>
                      <a:pt x="192683" y="297579"/>
                    </a:cubicBezTo>
                    <a:cubicBezTo>
                      <a:pt x="191454" y="299991"/>
                      <a:pt x="189018" y="301382"/>
                      <a:pt x="186483" y="301382"/>
                    </a:cubicBezTo>
                    <a:close/>
                    <a:moveTo>
                      <a:pt x="207351" y="193858"/>
                    </a:moveTo>
                    <a:cubicBezTo>
                      <a:pt x="203781" y="193858"/>
                      <a:pt x="200747" y="191116"/>
                      <a:pt x="200442" y="187494"/>
                    </a:cubicBezTo>
                    <a:cubicBezTo>
                      <a:pt x="198964" y="169641"/>
                      <a:pt x="195032" y="152112"/>
                      <a:pt x="188751" y="135412"/>
                    </a:cubicBezTo>
                    <a:cubicBezTo>
                      <a:pt x="187396" y="131824"/>
                      <a:pt x="189211" y="127825"/>
                      <a:pt x="192796" y="126480"/>
                    </a:cubicBezTo>
                    <a:cubicBezTo>
                      <a:pt x="196380" y="125132"/>
                      <a:pt x="200389" y="126940"/>
                      <a:pt x="201731" y="130525"/>
                    </a:cubicBezTo>
                    <a:cubicBezTo>
                      <a:pt x="208467" y="148436"/>
                      <a:pt x="212687" y="167219"/>
                      <a:pt x="214274" y="186359"/>
                    </a:cubicBezTo>
                    <a:cubicBezTo>
                      <a:pt x="214587" y="190172"/>
                      <a:pt x="211746" y="193525"/>
                      <a:pt x="207927" y="193844"/>
                    </a:cubicBezTo>
                    <a:cubicBezTo>
                      <a:pt x="207737" y="193851"/>
                      <a:pt x="207541" y="193858"/>
                      <a:pt x="207351" y="193858"/>
                    </a:cubicBezTo>
                    <a:close/>
                    <a:moveTo>
                      <a:pt x="168828" y="91327"/>
                    </a:moveTo>
                    <a:cubicBezTo>
                      <a:pt x="166700" y="91327"/>
                      <a:pt x="164601" y="90351"/>
                      <a:pt x="163239" y="88512"/>
                    </a:cubicBezTo>
                    <a:cubicBezTo>
                      <a:pt x="152626" y="74139"/>
                      <a:pt x="140075" y="61279"/>
                      <a:pt x="125941" y="50294"/>
                    </a:cubicBezTo>
                    <a:cubicBezTo>
                      <a:pt x="122914" y="47945"/>
                      <a:pt x="122363" y="43581"/>
                      <a:pt x="124715" y="40562"/>
                    </a:cubicBezTo>
                    <a:cubicBezTo>
                      <a:pt x="127068" y="37543"/>
                      <a:pt x="131428" y="36985"/>
                      <a:pt x="134447" y="39337"/>
                    </a:cubicBezTo>
                    <a:cubicBezTo>
                      <a:pt x="149589" y="51108"/>
                      <a:pt x="163035" y="64884"/>
                      <a:pt x="174399" y="80279"/>
                    </a:cubicBezTo>
                    <a:cubicBezTo>
                      <a:pt x="176674" y="83361"/>
                      <a:pt x="176018" y="87701"/>
                      <a:pt x="172935" y="89979"/>
                    </a:cubicBezTo>
                    <a:cubicBezTo>
                      <a:pt x="171700" y="90888"/>
                      <a:pt x="170257" y="91327"/>
                      <a:pt x="168828" y="91327"/>
                    </a:cubicBezTo>
                    <a:close/>
                    <a:moveTo>
                      <a:pt x="82302" y="24163"/>
                    </a:moveTo>
                    <a:cubicBezTo>
                      <a:pt x="81435" y="24163"/>
                      <a:pt x="80554" y="24002"/>
                      <a:pt x="79701" y="23654"/>
                    </a:cubicBezTo>
                    <a:cubicBezTo>
                      <a:pt x="69190" y="19403"/>
                      <a:pt x="58233" y="16061"/>
                      <a:pt x="47132" y="13726"/>
                    </a:cubicBezTo>
                    <a:cubicBezTo>
                      <a:pt x="43386" y="12940"/>
                      <a:pt x="40988" y="9264"/>
                      <a:pt x="41774" y="5511"/>
                    </a:cubicBezTo>
                    <a:cubicBezTo>
                      <a:pt x="42561" y="1765"/>
                      <a:pt x="46251" y="-647"/>
                      <a:pt x="49989" y="153"/>
                    </a:cubicBezTo>
                    <a:cubicBezTo>
                      <a:pt x="61887" y="2660"/>
                      <a:pt x="73634" y="6234"/>
                      <a:pt x="84904" y="10802"/>
                    </a:cubicBezTo>
                    <a:cubicBezTo>
                      <a:pt x="88453" y="12238"/>
                      <a:pt x="90166" y="16282"/>
                      <a:pt x="88730" y="19831"/>
                    </a:cubicBezTo>
                    <a:cubicBezTo>
                      <a:pt x="87638" y="22531"/>
                      <a:pt x="85044" y="24163"/>
                      <a:pt x="82302" y="24163"/>
                    </a:cubicBezTo>
                    <a:close/>
                  </a:path>
                </a:pathLst>
              </a:custGeom>
              <a:solidFill>
                <a:schemeClr val="accent1"/>
              </a:solidFill>
              <a:ln w="351" cap="flat">
                <a:noFill/>
                <a:prstDash val="solid"/>
                <a:miter/>
              </a:ln>
            </p:spPr>
            <p:txBody>
              <a:bodyPr rtlCol="0" anchor="ctr"/>
              <a:lstStyle/>
              <a:p>
                <a:endParaRPr lang="en-GB" dirty="0"/>
              </a:p>
            </p:txBody>
          </p:sp>
        </p:grpSp>
      </p:grpSp>
      <p:grpSp>
        <p:nvGrpSpPr>
          <p:cNvPr id="45" name="Group 44">
            <a:extLst>
              <a:ext uri="{FF2B5EF4-FFF2-40B4-BE49-F238E27FC236}">
                <a16:creationId xmlns:a16="http://schemas.microsoft.com/office/drawing/2014/main" id="{C5160977-D6BA-D809-9DB4-C1AEFE411895}"/>
              </a:ext>
            </a:extLst>
          </p:cNvPr>
          <p:cNvGrpSpPr/>
          <p:nvPr/>
        </p:nvGrpSpPr>
        <p:grpSpPr>
          <a:xfrm>
            <a:off x="5069273" y="1585984"/>
            <a:ext cx="287990" cy="432000"/>
            <a:chOff x="5068861" y="1585984"/>
            <a:chExt cx="287990" cy="432000"/>
          </a:xfrm>
        </p:grpSpPr>
        <p:sp>
          <p:nvSpPr>
            <p:cNvPr id="373" name="Freihandform: Form 774">
              <a:extLst>
                <a:ext uri="{FF2B5EF4-FFF2-40B4-BE49-F238E27FC236}">
                  <a16:creationId xmlns:a16="http://schemas.microsoft.com/office/drawing/2014/main" id="{A2460513-4696-468D-8158-9400CBA28701}"/>
                </a:ext>
              </a:extLst>
            </p:cNvPr>
            <p:cNvSpPr/>
            <p:nvPr/>
          </p:nvSpPr>
          <p:spPr>
            <a:xfrm>
              <a:off x="5169053" y="1629802"/>
              <a:ext cx="87633" cy="87633"/>
            </a:xfrm>
            <a:custGeom>
              <a:avLst/>
              <a:gdLst>
                <a:gd name="connsiteX0" fmla="*/ 45896 w 91792"/>
                <a:gd name="connsiteY0" fmla="*/ 91793 h 91792"/>
                <a:gd name="connsiteX1" fmla="*/ 0 w 91792"/>
                <a:gd name="connsiteY1" fmla="*/ 45896 h 91792"/>
                <a:gd name="connsiteX2" fmla="*/ 45896 w 91792"/>
                <a:gd name="connsiteY2" fmla="*/ 0 h 91792"/>
                <a:gd name="connsiteX3" fmla="*/ 91793 w 91792"/>
                <a:gd name="connsiteY3" fmla="*/ 45896 h 91792"/>
                <a:gd name="connsiteX4" fmla="*/ 45896 w 91792"/>
                <a:gd name="connsiteY4" fmla="*/ 91793 h 91792"/>
                <a:gd name="connsiteX5" fmla="*/ 45896 w 91792"/>
                <a:gd name="connsiteY5" fmla="*/ 13097 h 91792"/>
                <a:gd name="connsiteX6" fmla="*/ 13097 w 91792"/>
                <a:gd name="connsiteY6" fmla="*/ 45896 h 91792"/>
                <a:gd name="connsiteX7" fmla="*/ 45896 w 91792"/>
                <a:gd name="connsiteY7" fmla="*/ 78696 h 91792"/>
                <a:gd name="connsiteX8" fmla="*/ 78696 w 91792"/>
                <a:gd name="connsiteY8" fmla="*/ 45896 h 91792"/>
                <a:gd name="connsiteX9" fmla="*/ 45896 w 91792"/>
                <a:gd name="connsiteY9" fmla="*/ 13097 h 9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92" h="91792">
                  <a:moveTo>
                    <a:pt x="45896" y="91793"/>
                  </a:moveTo>
                  <a:cubicBezTo>
                    <a:pt x="20572" y="91793"/>
                    <a:pt x="0" y="71191"/>
                    <a:pt x="0" y="45896"/>
                  </a:cubicBezTo>
                  <a:cubicBezTo>
                    <a:pt x="0" y="20572"/>
                    <a:pt x="20601" y="0"/>
                    <a:pt x="45896" y="0"/>
                  </a:cubicBezTo>
                  <a:cubicBezTo>
                    <a:pt x="71191" y="0"/>
                    <a:pt x="91793" y="20601"/>
                    <a:pt x="91793" y="45896"/>
                  </a:cubicBezTo>
                  <a:cubicBezTo>
                    <a:pt x="91793" y="71220"/>
                    <a:pt x="71220" y="91793"/>
                    <a:pt x="45896" y="91793"/>
                  </a:cubicBezTo>
                  <a:close/>
                  <a:moveTo>
                    <a:pt x="45896" y="13097"/>
                  </a:moveTo>
                  <a:cubicBezTo>
                    <a:pt x="27816" y="13097"/>
                    <a:pt x="13097" y="27816"/>
                    <a:pt x="13097" y="45896"/>
                  </a:cubicBezTo>
                  <a:cubicBezTo>
                    <a:pt x="13097" y="63977"/>
                    <a:pt x="27816" y="78696"/>
                    <a:pt x="45896" y="78696"/>
                  </a:cubicBezTo>
                  <a:cubicBezTo>
                    <a:pt x="63977" y="78696"/>
                    <a:pt x="78696" y="63977"/>
                    <a:pt x="78696" y="45896"/>
                  </a:cubicBezTo>
                  <a:cubicBezTo>
                    <a:pt x="78696" y="27816"/>
                    <a:pt x="63977" y="13097"/>
                    <a:pt x="45896" y="13097"/>
                  </a:cubicBezTo>
                  <a:close/>
                </a:path>
              </a:pathLst>
            </a:custGeom>
            <a:solidFill>
              <a:schemeClr val="accent1"/>
            </a:solidFill>
            <a:ln w="2891" cap="flat">
              <a:noFill/>
              <a:prstDash val="solid"/>
              <a:miter/>
            </a:ln>
          </p:spPr>
          <p:txBody>
            <a:bodyPr rtlCol="0" anchor="ctr"/>
            <a:lstStyle/>
            <a:p>
              <a:endParaRPr lang="en-GB" dirty="0"/>
            </a:p>
          </p:txBody>
        </p:sp>
        <p:grpSp>
          <p:nvGrpSpPr>
            <p:cNvPr id="44" name="Group 43">
              <a:extLst>
                <a:ext uri="{FF2B5EF4-FFF2-40B4-BE49-F238E27FC236}">
                  <a16:creationId xmlns:a16="http://schemas.microsoft.com/office/drawing/2014/main" id="{CB64304E-787E-27FE-6E98-E3785C7152D3}"/>
                </a:ext>
              </a:extLst>
            </p:cNvPr>
            <p:cNvGrpSpPr/>
            <p:nvPr/>
          </p:nvGrpSpPr>
          <p:grpSpPr>
            <a:xfrm>
              <a:off x="5068861" y="1585984"/>
              <a:ext cx="287990" cy="432000"/>
              <a:chOff x="5068861" y="1585984"/>
              <a:chExt cx="287990" cy="432000"/>
            </a:xfrm>
          </p:grpSpPr>
          <p:sp>
            <p:nvSpPr>
              <p:cNvPr id="372" name="Freihandform: Form 776">
                <a:extLst>
                  <a:ext uri="{FF2B5EF4-FFF2-40B4-BE49-F238E27FC236}">
                    <a16:creationId xmlns:a16="http://schemas.microsoft.com/office/drawing/2014/main" id="{DA5F7FAC-73B4-406E-88A0-3281AF33347B}"/>
                  </a:ext>
                </a:extLst>
              </p:cNvPr>
              <p:cNvSpPr/>
              <p:nvPr/>
            </p:nvSpPr>
            <p:spPr>
              <a:xfrm>
                <a:off x="5169053" y="1748777"/>
                <a:ext cx="87633" cy="87633"/>
              </a:xfrm>
              <a:custGeom>
                <a:avLst/>
                <a:gdLst>
                  <a:gd name="connsiteX0" fmla="*/ 45896 w 91792"/>
                  <a:gd name="connsiteY0" fmla="*/ 91793 h 91792"/>
                  <a:gd name="connsiteX1" fmla="*/ 0 w 91792"/>
                  <a:gd name="connsiteY1" fmla="*/ 45896 h 91792"/>
                  <a:gd name="connsiteX2" fmla="*/ 45896 w 91792"/>
                  <a:gd name="connsiteY2" fmla="*/ 0 h 91792"/>
                  <a:gd name="connsiteX3" fmla="*/ 91793 w 91792"/>
                  <a:gd name="connsiteY3" fmla="*/ 45896 h 91792"/>
                  <a:gd name="connsiteX4" fmla="*/ 45896 w 91792"/>
                  <a:gd name="connsiteY4" fmla="*/ 91793 h 91792"/>
                  <a:gd name="connsiteX5" fmla="*/ 45896 w 91792"/>
                  <a:gd name="connsiteY5" fmla="*/ 13097 h 91792"/>
                  <a:gd name="connsiteX6" fmla="*/ 13097 w 91792"/>
                  <a:gd name="connsiteY6" fmla="*/ 45896 h 91792"/>
                  <a:gd name="connsiteX7" fmla="*/ 45896 w 91792"/>
                  <a:gd name="connsiteY7" fmla="*/ 78696 h 91792"/>
                  <a:gd name="connsiteX8" fmla="*/ 78696 w 91792"/>
                  <a:gd name="connsiteY8" fmla="*/ 45896 h 91792"/>
                  <a:gd name="connsiteX9" fmla="*/ 45896 w 91792"/>
                  <a:gd name="connsiteY9" fmla="*/ 13097 h 9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92" h="91792">
                    <a:moveTo>
                      <a:pt x="45896" y="91793"/>
                    </a:moveTo>
                    <a:cubicBezTo>
                      <a:pt x="20572" y="91793"/>
                      <a:pt x="0" y="71191"/>
                      <a:pt x="0" y="45896"/>
                    </a:cubicBezTo>
                    <a:cubicBezTo>
                      <a:pt x="0" y="20601"/>
                      <a:pt x="20601" y="0"/>
                      <a:pt x="45896" y="0"/>
                    </a:cubicBezTo>
                    <a:cubicBezTo>
                      <a:pt x="71191" y="0"/>
                      <a:pt x="91793" y="20601"/>
                      <a:pt x="91793" y="45896"/>
                    </a:cubicBezTo>
                    <a:cubicBezTo>
                      <a:pt x="91793" y="71191"/>
                      <a:pt x="71220" y="91793"/>
                      <a:pt x="45896" y="91793"/>
                    </a:cubicBezTo>
                    <a:close/>
                    <a:moveTo>
                      <a:pt x="45896" y="13097"/>
                    </a:moveTo>
                    <a:cubicBezTo>
                      <a:pt x="27816" y="13097"/>
                      <a:pt x="13097" y="27816"/>
                      <a:pt x="13097" y="45896"/>
                    </a:cubicBezTo>
                    <a:cubicBezTo>
                      <a:pt x="13097" y="63977"/>
                      <a:pt x="27816" y="78696"/>
                      <a:pt x="45896" y="78696"/>
                    </a:cubicBezTo>
                    <a:cubicBezTo>
                      <a:pt x="63977" y="78696"/>
                      <a:pt x="78696" y="63977"/>
                      <a:pt x="78696" y="45896"/>
                    </a:cubicBezTo>
                    <a:cubicBezTo>
                      <a:pt x="78696" y="27816"/>
                      <a:pt x="63977" y="13097"/>
                      <a:pt x="45896" y="13097"/>
                    </a:cubicBezTo>
                    <a:close/>
                  </a:path>
                </a:pathLst>
              </a:custGeom>
              <a:solidFill>
                <a:schemeClr val="tx2"/>
              </a:solidFill>
              <a:ln w="2891" cap="flat">
                <a:noFill/>
                <a:prstDash val="solid"/>
                <a:miter/>
              </a:ln>
            </p:spPr>
            <p:txBody>
              <a:bodyPr rtlCol="0" anchor="ctr"/>
              <a:lstStyle/>
              <a:p>
                <a:endParaRPr lang="en-GB" dirty="0"/>
              </a:p>
            </p:txBody>
          </p:sp>
          <p:grpSp>
            <p:nvGrpSpPr>
              <p:cNvPr id="374" name="Gruppieren 1042">
                <a:extLst>
                  <a:ext uri="{FF2B5EF4-FFF2-40B4-BE49-F238E27FC236}">
                    <a16:creationId xmlns:a16="http://schemas.microsoft.com/office/drawing/2014/main" id="{05F2A3AC-F83D-4A3F-BE80-C0667C29320F}"/>
                  </a:ext>
                </a:extLst>
              </p:cNvPr>
              <p:cNvGrpSpPr/>
              <p:nvPr/>
            </p:nvGrpSpPr>
            <p:grpSpPr>
              <a:xfrm>
                <a:off x="5068861" y="1585984"/>
                <a:ext cx="287990" cy="432000"/>
                <a:chOff x="7073681" y="3240081"/>
                <a:chExt cx="301657" cy="452501"/>
              </a:xfrm>
              <a:solidFill>
                <a:schemeClr val="tx2"/>
              </a:solidFill>
            </p:grpSpPr>
            <p:sp>
              <p:nvSpPr>
                <p:cNvPr id="375" name="Freihandform: Form 775">
                  <a:extLst>
                    <a:ext uri="{FF2B5EF4-FFF2-40B4-BE49-F238E27FC236}">
                      <a16:creationId xmlns:a16="http://schemas.microsoft.com/office/drawing/2014/main" id="{14AEE0C9-743E-4E8A-9D63-4C2F42C2B5DB}"/>
                    </a:ext>
                  </a:extLst>
                </p:cNvPr>
                <p:cNvSpPr/>
                <p:nvPr/>
              </p:nvSpPr>
              <p:spPr>
                <a:xfrm>
                  <a:off x="7178628" y="3535191"/>
                  <a:ext cx="91792" cy="91792"/>
                </a:xfrm>
                <a:custGeom>
                  <a:avLst/>
                  <a:gdLst>
                    <a:gd name="connsiteX0" fmla="*/ 45896 w 91792"/>
                    <a:gd name="connsiteY0" fmla="*/ 91793 h 91792"/>
                    <a:gd name="connsiteX1" fmla="*/ 0 w 91792"/>
                    <a:gd name="connsiteY1" fmla="*/ 45896 h 91792"/>
                    <a:gd name="connsiteX2" fmla="*/ 45896 w 91792"/>
                    <a:gd name="connsiteY2" fmla="*/ 0 h 91792"/>
                    <a:gd name="connsiteX3" fmla="*/ 91793 w 91792"/>
                    <a:gd name="connsiteY3" fmla="*/ 45896 h 91792"/>
                    <a:gd name="connsiteX4" fmla="*/ 45896 w 91792"/>
                    <a:gd name="connsiteY4" fmla="*/ 91793 h 91792"/>
                    <a:gd name="connsiteX5" fmla="*/ 45896 w 91792"/>
                    <a:gd name="connsiteY5" fmla="*/ 13097 h 91792"/>
                    <a:gd name="connsiteX6" fmla="*/ 13097 w 91792"/>
                    <a:gd name="connsiteY6" fmla="*/ 45896 h 91792"/>
                    <a:gd name="connsiteX7" fmla="*/ 45896 w 91792"/>
                    <a:gd name="connsiteY7" fmla="*/ 78696 h 91792"/>
                    <a:gd name="connsiteX8" fmla="*/ 78696 w 91792"/>
                    <a:gd name="connsiteY8" fmla="*/ 45896 h 91792"/>
                    <a:gd name="connsiteX9" fmla="*/ 45896 w 91792"/>
                    <a:gd name="connsiteY9" fmla="*/ 13097 h 91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92" h="91792">
                      <a:moveTo>
                        <a:pt x="45896" y="91793"/>
                      </a:moveTo>
                      <a:cubicBezTo>
                        <a:pt x="20572" y="91793"/>
                        <a:pt x="0" y="71191"/>
                        <a:pt x="0" y="45896"/>
                      </a:cubicBezTo>
                      <a:cubicBezTo>
                        <a:pt x="0" y="20572"/>
                        <a:pt x="20601" y="0"/>
                        <a:pt x="45896" y="0"/>
                      </a:cubicBezTo>
                      <a:cubicBezTo>
                        <a:pt x="71191" y="0"/>
                        <a:pt x="91793" y="20601"/>
                        <a:pt x="91793" y="45896"/>
                      </a:cubicBezTo>
                      <a:cubicBezTo>
                        <a:pt x="91793" y="71191"/>
                        <a:pt x="71220" y="91793"/>
                        <a:pt x="45896" y="91793"/>
                      </a:cubicBezTo>
                      <a:close/>
                      <a:moveTo>
                        <a:pt x="45896" y="13097"/>
                      </a:moveTo>
                      <a:cubicBezTo>
                        <a:pt x="27816" y="13097"/>
                        <a:pt x="13097" y="27816"/>
                        <a:pt x="13097" y="45896"/>
                      </a:cubicBezTo>
                      <a:cubicBezTo>
                        <a:pt x="13097" y="63977"/>
                        <a:pt x="27816" y="78696"/>
                        <a:pt x="45896" y="78696"/>
                      </a:cubicBezTo>
                      <a:cubicBezTo>
                        <a:pt x="63977" y="78696"/>
                        <a:pt x="78696" y="63977"/>
                        <a:pt x="78696" y="45896"/>
                      </a:cubicBezTo>
                      <a:cubicBezTo>
                        <a:pt x="78696" y="27816"/>
                        <a:pt x="63977" y="13097"/>
                        <a:pt x="45896" y="13097"/>
                      </a:cubicBezTo>
                      <a:close/>
                    </a:path>
                  </a:pathLst>
                </a:custGeom>
                <a:grpFill/>
                <a:ln w="2891" cap="flat">
                  <a:noFill/>
                  <a:prstDash val="solid"/>
                  <a:miter/>
                </a:ln>
              </p:spPr>
              <p:txBody>
                <a:bodyPr rtlCol="0" anchor="ctr"/>
                <a:lstStyle/>
                <a:p>
                  <a:endParaRPr lang="en-GB" dirty="0"/>
                </a:p>
              </p:txBody>
            </p:sp>
            <p:sp>
              <p:nvSpPr>
                <p:cNvPr id="376" name="Freihandform: Form 777">
                  <a:extLst>
                    <a:ext uri="{FF2B5EF4-FFF2-40B4-BE49-F238E27FC236}">
                      <a16:creationId xmlns:a16="http://schemas.microsoft.com/office/drawing/2014/main" id="{D3358DFC-4931-4FC7-B8E3-AD4EF6483C1D}"/>
                    </a:ext>
                  </a:extLst>
                </p:cNvPr>
                <p:cNvSpPr/>
                <p:nvPr/>
              </p:nvSpPr>
              <p:spPr>
                <a:xfrm>
                  <a:off x="7296672" y="3279429"/>
                  <a:ext cx="78666" cy="85244"/>
                </a:xfrm>
                <a:custGeom>
                  <a:avLst/>
                  <a:gdLst>
                    <a:gd name="connsiteX0" fmla="*/ 32800 w 78666"/>
                    <a:gd name="connsiteY0" fmla="*/ 85244 h 85244"/>
                    <a:gd name="connsiteX1" fmla="*/ 27324 w 78666"/>
                    <a:gd name="connsiteY1" fmla="*/ 82318 h 85244"/>
                    <a:gd name="connsiteX2" fmla="*/ 29149 w 78666"/>
                    <a:gd name="connsiteY2" fmla="*/ 73220 h 85244"/>
                    <a:gd name="connsiteX3" fmla="*/ 65570 w 78666"/>
                    <a:gd name="connsiteY3" fmla="*/ 48939 h 85244"/>
                    <a:gd name="connsiteX4" fmla="*/ 65570 w 78666"/>
                    <a:gd name="connsiteY4" fmla="*/ 13097 h 85244"/>
                    <a:gd name="connsiteX5" fmla="*/ 6548 w 78666"/>
                    <a:gd name="connsiteY5" fmla="*/ 13097 h 85244"/>
                    <a:gd name="connsiteX6" fmla="*/ 0 w 78666"/>
                    <a:gd name="connsiteY6" fmla="*/ 6548 h 85244"/>
                    <a:gd name="connsiteX7" fmla="*/ 6548 w 78666"/>
                    <a:gd name="connsiteY7" fmla="*/ 0 h 85244"/>
                    <a:gd name="connsiteX8" fmla="*/ 72119 w 78666"/>
                    <a:gd name="connsiteY8" fmla="*/ 0 h 85244"/>
                    <a:gd name="connsiteX9" fmla="*/ 78667 w 78666"/>
                    <a:gd name="connsiteY9" fmla="*/ 6548 h 85244"/>
                    <a:gd name="connsiteX10" fmla="*/ 78667 w 78666"/>
                    <a:gd name="connsiteY10" fmla="*/ 52445 h 85244"/>
                    <a:gd name="connsiteX11" fmla="*/ 75740 w 78666"/>
                    <a:gd name="connsiteY11" fmla="*/ 57892 h 85244"/>
                    <a:gd name="connsiteX12" fmla="*/ 36393 w 78666"/>
                    <a:gd name="connsiteY12" fmla="*/ 84114 h 85244"/>
                    <a:gd name="connsiteX13" fmla="*/ 32800 w 78666"/>
                    <a:gd name="connsiteY13" fmla="*/ 85244 h 8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66" h="85244">
                      <a:moveTo>
                        <a:pt x="32800" y="85244"/>
                      </a:moveTo>
                      <a:cubicBezTo>
                        <a:pt x="30685" y="85244"/>
                        <a:pt x="28598" y="84230"/>
                        <a:pt x="27324" y="82318"/>
                      </a:cubicBezTo>
                      <a:cubicBezTo>
                        <a:pt x="25324" y="79304"/>
                        <a:pt x="26135" y="75248"/>
                        <a:pt x="29149" y="73220"/>
                      </a:cubicBezTo>
                      <a:lnTo>
                        <a:pt x="65570" y="48939"/>
                      </a:lnTo>
                      <a:lnTo>
                        <a:pt x="65570" y="13097"/>
                      </a:lnTo>
                      <a:lnTo>
                        <a:pt x="6548" y="13097"/>
                      </a:lnTo>
                      <a:cubicBezTo>
                        <a:pt x="2926" y="13097"/>
                        <a:pt x="0" y="10170"/>
                        <a:pt x="0" y="6548"/>
                      </a:cubicBezTo>
                      <a:cubicBezTo>
                        <a:pt x="0" y="2926"/>
                        <a:pt x="2926" y="0"/>
                        <a:pt x="6548" y="0"/>
                      </a:cubicBezTo>
                      <a:lnTo>
                        <a:pt x="72119" y="0"/>
                      </a:lnTo>
                      <a:cubicBezTo>
                        <a:pt x="75740" y="0"/>
                        <a:pt x="78667" y="2926"/>
                        <a:pt x="78667" y="6548"/>
                      </a:cubicBezTo>
                      <a:lnTo>
                        <a:pt x="78667" y="52445"/>
                      </a:lnTo>
                      <a:cubicBezTo>
                        <a:pt x="78667" y="54647"/>
                        <a:pt x="77566" y="56675"/>
                        <a:pt x="75740" y="57892"/>
                      </a:cubicBezTo>
                      <a:lnTo>
                        <a:pt x="36393" y="84114"/>
                      </a:lnTo>
                      <a:cubicBezTo>
                        <a:pt x="35292" y="84867"/>
                        <a:pt x="34046" y="85244"/>
                        <a:pt x="32800" y="85244"/>
                      </a:cubicBezTo>
                      <a:close/>
                    </a:path>
                  </a:pathLst>
                </a:custGeom>
                <a:grpFill/>
                <a:ln w="2891" cap="flat">
                  <a:noFill/>
                  <a:prstDash val="solid"/>
                  <a:miter/>
                </a:ln>
              </p:spPr>
              <p:txBody>
                <a:bodyPr rtlCol="0" anchor="ctr"/>
                <a:lstStyle/>
                <a:p>
                  <a:endParaRPr lang="en-GB" dirty="0"/>
                </a:p>
              </p:txBody>
            </p:sp>
            <p:sp>
              <p:nvSpPr>
                <p:cNvPr id="377" name="Freihandform: Form 778">
                  <a:extLst>
                    <a:ext uri="{FF2B5EF4-FFF2-40B4-BE49-F238E27FC236}">
                      <a16:creationId xmlns:a16="http://schemas.microsoft.com/office/drawing/2014/main" id="{C85265D5-5540-406C-A225-C928F0B14D5C}"/>
                    </a:ext>
                  </a:extLst>
                </p:cNvPr>
                <p:cNvSpPr/>
                <p:nvPr/>
              </p:nvSpPr>
              <p:spPr>
                <a:xfrm>
                  <a:off x="7296672" y="3404022"/>
                  <a:ext cx="78666" cy="85244"/>
                </a:xfrm>
                <a:custGeom>
                  <a:avLst/>
                  <a:gdLst>
                    <a:gd name="connsiteX0" fmla="*/ 32800 w 78666"/>
                    <a:gd name="connsiteY0" fmla="*/ 85244 h 85244"/>
                    <a:gd name="connsiteX1" fmla="*/ 27324 w 78666"/>
                    <a:gd name="connsiteY1" fmla="*/ 82318 h 85244"/>
                    <a:gd name="connsiteX2" fmla="*/ 29149 w 78666"/>
                    <a:gd name="connsiteY2" fmla="*/ 73220 h 85244"/>
                    <a:gd name="connsiteX3" fmla="*/ 65570 w 78666"/>
                    <a:gd name="connsiteY3" fmla="*/ 48939 h 85244"/>
                    <a:gd name="connsiteX4" fmla="*/ 65570 w 78666"/>
                    <a:gd name="connsiteY4" fmla="*/ 13097 h 85244"/>
                    <a:gd name="connsiteX5" fmla="*/ 6548 w 78666"/>
                    <a:gd name="connsiteY5" fmla="*/ 13097 h 85244"/>
                    <a:gd name="connsiteX6" fmla="*/ 0 w 78666"/>
                    <a:gd name="connsiteY6" fmla="*/ 6548 h 85244"/>
                    <a:gd name="connsiteX7" fmla="*/ 6548 w 78666"/>
                    <a:gd name="connsiteY7" fmla="*/ 0 h 85244"/>
                    <a:gd name="connsiteX8" fmla="*/ 72119 w 78666"/>
                    <a:gd name="connsiteY8" fmla="*/ 0 h 85244"/>
                    <a:gd name="connsiteX9" fmla="*/ 78667 w 78666"/>
                    <a:gd name="connsiteY9" fmla="*/ 6548 h 85244"/>
                    <a:gd name="connsiteX10" fmla="*/ 78667 w 78666"/>
                    <a:gd name="connsiteY10" fmla="*/ 52445 h 85244"/>
                    <a:gd name="connsiteX11" fmla="*/ 75740 w 78666"/>
                    <a:gd name="connsiteY11" fmla="*/ 57892 h 85244"/>
                    <a:gd name="connsiteX12" fmla="*/ 36393 w 78666"/>
                    <a:gd name="connsiteY12" fmla="*/ 84114 h 85244"/>
                    <a:gd name="connsiteX13" fmla="*/ 32800 w 78666"/>
                    <a:gd name="connsiteY13" fmla="*/ 85244 h 8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66" h="85244">
                      <a:moveTo>
                        <a:pt x="32800" y="85244"/>
                      </a:moveTo>
                      <a:cubicBezTo>
                        <a:pt x="30685" y="85244"/>
                        <a:pt x="28598" y="84230"/>
                        <a:pt x="27324" y="82318"/>
                      </a:cubicBezTo>
                      <a:cubicBezTo>
                        <a:pt x="25324" y="79304"/>
                        <a:pt x="26135" y="75248"/>
                        <a:pt x="29149" y="73220"/>
                      </a:cubicBezTo>
                      <a:lnTo>
                        <a:pt x="65570" y="48939"/>
                      </a:lnTo>
                      <a:lnTo>
                        <a:pt x="65570" y="13097"/>
                      </a:lnTo>
                      <a:lnTo>
                        <a:pt x="6548" y="13097"/>
                      </a:lnTo>
                      <a:cubicBezTo>
                        <a:pt x="2926" y="13097"/>
                        <a:pt x="0" y="10170"/>
                        <a:pt x="0" y="6548"/>
                      </a:cubicBezTo>
                      <a:cubicBezTo>
                        <a:pt x="0" y="2926"/>
                        <a:pt x="2926" y="0"/>
                        <a:pt x="6548" y="0"/>
                      </a:cubicBezTo>
                      <a:lnTo>
                        <a:pt x="72119" y="0"/>
                      </a:lnTo>
                      <a:cubicBezTo>
                        <a:pt x="75740" y="0"/>
                        <a:pt x="78667" y="2926"/>
                        <a:pt x="78667" y="6548"/>
                      </a:cubicBezTo>
                      <a:lnTo>
                        <a:pt x="78667" y="52445"/>
                      </a:lnTo>
                      <a:cubicBezTo>
                        <a:pt x="78667" y="54647"/>
                        <a:pt x="77566" y="56675"/>
                        <a:pt x="75740" y="57892"/>
                      </a:cubicBezTo>
                      <a:lnTo>
                        <a:pt x="36393" y="84114"/>
                      </a:lnTo>
                      <a:cubicBezTo>
                        <a:pt x="35292" y="84897"/>
                        <a:pt x="34046" y="85244"/>
                        <a:pt x="32800" y="85244"/>
                      </a:cubicBezTo>
                      <a:close/>
                    </a:path>
                  </a:pathLst>
                </a:custGeom>
                <a:grpFill/>
                <a:ln w="2891" cap="flat">
                  <a:noFill/>
                  <a:prstDash val="solid"/>
                  <a:miter/>
                </a:ln>
              </p:spPr>
              <p:txBody>
                <a:bodyPr rtlCol="0" anchor="ctr"/>
                <a:lstStyle/>
                <a:p>
                  <a:endParaRPr lang="en-GB" dirty="0"/>
                </a:p>
              </p:txBody>
            </p:sp>
            <p:sp>
              <p:nvSpPr>
                <p:cNvPr id="378" name="Freihandform: Form 779">
                  <a:extLst>
                    <a:ext uri="{FF2B5EF4-FFF2-40B4-BE49-F238E27FC236}">
                      <a16:creationId xmlns:a16="http://schemas.microsoft.com/office/drawing/2014/main" id="{5E148BE8-0FE8-4604-8C92-75CBB23B3CEC}"/>
                    </a:ext>
                  </a:extLst>
                </p:cNvPr>
                <p:cNvSpPr/>
                <p:nvPr/>
              </p:nvSpPr>
              <p:spPr>
                <a:xfrm>
                  <a:off x="7296672" y="3528643"/>
                  <a:ext cx="78666" cy="85244"/>
                </a:xfrm>
                <a:custGeom>
                  <a:avLst/>
                  <a:gdLst>
                    <a:gd name="connsiteX0" fmla="*/ 32800 w 78666"/>
                    <a:gd name="connsiteY0" fmla="*/ 85244 h 85244"/>
                    <a:gd name="connsiteX1" fmla="*/ 27324 w 78666"/>
                    <a:gd name="connsiteY1" fmla="*/ 82318 h 85244"/>
                    <a:gd name="connsiteX2" fmla="*/ 29149 w 78666"/>
                    <a:gd name="connsiteY2" fmla="*/ 73220 h 85244"/>
                    <a:gd name="connsiteX3" fmla="*/ 65570 w 78666"/>
                    <a:gd name="connsiteY3" fmla="*/ 48939 h 85244"/>
                    <a:gd name="connsiteX4" fmla="*/ 65570 w 78666"/>
                    <a:gd name="connsiteY4" fmla="*/ 13097 h 85244"/>
                    <a:gd name="connsiteX5" fmla="*/ 6548 w 78666"/>
                    <a:gd name="connsiteY5" fmla="*/ 13097 h 85244"/>
                    <a:gd name="connsiteX6" fmla="*/ 0 w 78666"/>
                    <a:gd name="connsiteY6" fmla="*/ 6548 h 85244"/>
                    <a:gd name="connsiteX7" fmla="*/ 6548 w 78666"/>
                    <a:gd name="connsiteY7" fmla="*/ 0 h 85244"/>
                    <a:gd name="connsiteX8" fmla="*/ 72119 w 78666"/>
                    <a:gd name="connsiteY8" fmla="*/ 0 h 85244"/>
                    <a:gd name="connsiteX9" fmla="*/ 78667 w 78666"/>
                    <a:gd name="connsiteY9" fmla="*/ 6548 h 85244"/>
                    <a:gd name="connsiteX10" fmla="*/ 78667 w 78666"/>
                    <a:gd name="connsiteY10" fmla="*/ 52445 h 85244"/>
                    <a:gd name="connsiteX11" fmla="*/ 75740 w 78666"/>
                    <a:gd name="connsiteY11" fmla="*/ 57892 h 85244"/>
                    <a:gd name="connsiteX12" fmla="*/ 36393 w 78666"/>
                    <a:gd name="connsiteY12" fmla="*/ 84114 h 85244"/>
                    <a:gd name="connsiteX13" fmla="*/ 32800 w 78666"/>
                    <a:gd name="connsiteY13" fmla="*/ 85244 h 8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66" h="85244">
                      <a:moveTo>
                        <a:pt x="32800" y="85244"/>
                      </a:moveTo>
                      <a:cubicBezTo>
                        <a:pt x="30685" y="85244"/>
                        <a:pt x="28598" y="84230"/>
                        <a:pt x="27324" y="82318"/>
                      </a:cubicBezTo>
                      <a:cubicBezTo>
                        <a:pt x="25324" y="79304"/>
                        <a:pt x="26135" y="75248"/>
                        <a:pt x="29149" y="73220"/>
                      </a:cubicBezTo>
                      <a:lnTo>
                        <a:pt x="65570" y="48939"/>
                      </a:lnTo>
                      <a:lnTo>
                        <a:pt x="65570" y="13097"/>
                      </a:lnTo>
                      <a:lnTo>
                        <a:pt x="6548" y="13097"/>
                      </a:lnTo>
                      <a:cubicBezTo>
                        <a:pt x="2926" y="13097"/>
                        <a:pt x="0" y="10170"/>
                        <a:pt x="0" y="6548"/>
                      </a:cubicBezTo>
                      <a:cubicBezTo>
                        <a:pt x="0" y="2926"/>
                        <a:pt x="2926" y="0"/>
                        <a:pt x="6548" y="0"/>
                      </a:cubicBezTo>
                      <a:lnTo>
                        <a:pt x="72119" y="0"/>
                      </a:lnTo>
                      <a:cubicBezTo>
                        <a:pt x="75740" y="0"/>
                        <a:pt x="78667" y="2926"/>
                        <a:pt x="78667" y="6548"/>
                      </a:cubicBezTo>
                      <a:lnTo>
                        <a:pt x="78667" y="52445"/>
                      </a:lnTo>
                      <a:cubicBezTo>
                        <a:pt x="78667" y="54647"/>
                        <a:pt x="77566" y="56675"/>
                        <a:pt x="75740" y="57892"/>
                      </a:cubicBezTo>
                      <a:lnTo>
                        <a:pt x="36393" y="84114"/>
                      </a:lnTo>
                      <a:cubicBezTo>
                        <a:pt x="35292" y="84867"/>
                        <a:pt x="34046" y="85244"/>
                        <a:pt x="32800" y="85244"/>
                      </a:cubicBezTo>
                      <a:close/>
                    </a:path>
                  </a:pathLst>
                </a:custGeom>
                <a:grpFill/>
                <a:ln w="2891" cap="flat">
                  <a:noFill/>
                  <a:prstDash val="solid"/>
                  <a:miter/>
                </a:ln>
              </p:spPr>
              <p:txBody>
                <a:bodyPr rtlCol="0" anchor="ctr"/>
                <a:lstStyle/>
                <a:p>
                  <a:endParaRPr lang="en-GB" dirty="0"/>
                </a:p>
              </p:txBody>
            </p:sp>
            <p:grpSp>
              <p:nvGrpSpPr>
                <p:cNvPr id="379" name="Grafik 219">
                  <a:extLst>
                    <a:ext uri="{FF2B5EF4-FFF2-40B4-BE49-F238E27FC236}">
                      <a16:creationId xmlns:a16="http://schemas.microsoft.com/office/drawing/2014/main" id="{574B43AF-420B-48A1-88B8-C9067DF5C728}"/>
                    </a:ext>
                  </a:extLst>
                </p:cNvPr>
                <p:cNvGrpSpPr/>
                <p:nvPr/>
              </p:nvGrpSpPr>
              <p:grpSpPr>
                <a:xfrm>
                  <a:off x="7073681" y="3279458"/>
                  <a:ext cx="78666" cy="334428"/>
                  <a:chOff x="7073681" y="3279458"/>
                  <a:chExt cx="78666" cy="334428"/>
                </a:xfrm>
                <a:grpFill/>
              </p:grpSpPr>
              <p:sp>
                <p:nvSpPr>
                  <p:cNvPr id="384" name="Freihandform: Form 781">
                    <a:extLst>
                      <a:ext uri="{FF2B5EF4-FFF2-40B4-BE49-F238E27FC236}">
                        <a16:creationId xmlns:a16="http://schemas.microsoft.com/office/drawing/2014/main" id="{ADA39911-6680-4917-B5EB-484A36A30E5F}"/>
                      </a:ext>
                    </a:extLst>
                  </p:cNvPr>
                  <p:cNvSpPr/>
                  <p:nvPr/>
                </p:nvSpPr>
                <p:spPr>
                  <a:xfrm>
                    <a:off x="7073681" y="3279458"/>
                    <a:ext cx="78666" cy="85215"/>
                  </a:xfrm>
                  <a:custGeom>
                    <a:avLst/>
                    <a:gdLst>
                      <a:gd name="connsiteX0" fmla="*/ 45896 w 78666"/>
                      <a:gd name="connsiteY0" fmla="*/ 85215 h 85215"/>
                      <a:gd name="connsiteX1" fmla="*/ 42274 w 78666"/>
                      <a:gd name="connsiteY1" fmla="*/ 84114 h 85215"/>
                      <a:gd name="connsiteX2" fmla="*/ 2926 w 78666"/>
                      <a:gd name="connsiteY2" fmla="*/ 57892 h 85215"/>
                      <a:gd name="connsiteX3" fmla="*/ 0 w 78666"/>
                      <a:gd name="connsiteY3" fmla="*/ 52445 h 85215"/>
                      <a:gd name="connsiteX4" fmla="*/ 0 w 78666"/>
                      <a:gd name="connsiteY4" fmla="*/ 6548 h 85215"/>
                      <a:gd name="connsiteX5" fmla="*/ 6548 w 78666"/>
                      <a:gd name="connsiteY5" fmla="*/ 0 h 85215"/>
                      <a:gd name="connsiteX6" fmla="*/ 72119 w 78666"/>
                      <a:gd name="connsiteY6" fmla="*/ 0 h 85215"/>
                      <a:gd name="connsiteX7" fmla="*/ 78667 w 78666"/>
                      <a:gd name="connsiteY7" fmla="*/ 6548 h 85215"/>
                      <a:gd name="connsiteX8" fmla="*/ 72119 w 78666"/>
                      <a:gd name="connsiteY8" fmla="*/ 13097 h 85215"/>
                      <a:gd name="connsiteX9" fmla="*/ 13097 w 78666"/>
                      <a:gd name="connsiteY9" fmla="*/ 13097 h 85215"/>
                      <a:gd name="connsiteX10" fmla="*/ 13097 w 78666"/>
                      <a:gd name="connsiteY10" fmla="*/ 48939 h 85215"/>
                      <a:gd name="connsiteX11" fmla="*/ 49518 w 78666"/>
                      <a:gd name="connsiteY11" fmla="*/ 73220 h 85215"/>
                      <a:gd name="connsiteX12" fmla="*/ 51343 w 78666"/>
                      <a:gd name="connsiteY12" fmla="*/ 82318 h 85215"/>
                      <a:gd name="connsiteX13" fmla="*/ 45896 w 78666"/>
                      <a:gd name="connsiteY13" fmla="*/ 85215 h 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66" h="85215">
                        <a:moveTo>
                          <a:pt x="45896" y="85215"/>
                        </a:moveTo>
                        <a:cubicBezTo>
                          <a:pt x="44650" y="85215"/>
                          <a:pt x="43375" y="84867"/>
                          <a:pt x="42274" y="84114"/>
                        </a:cubicBezTo>
                        <a:lnTo>
                          <a:pt x="2926" y="57892"/>
                        </a:lnTo>
                        <a:cubicBezTo>
                          <a:pt x="1101" y="56675"/>
                          <a:pt x="0" y="54618"/>
                          <a:pt x="0" y="52445"/>
                        </a:cubicBezTo>
                        <a:lnTo>
                          <a:pt x="0" y="6548"/>
                        </a:lnTo>
                        <a:cubicBezTo>
                          <a:pt x="0" y="2926"/>
                          <a:pt x="2926" y="0"/>
                          <a:pt x="6548" y="0"/>
                        </a:cubicBezTo>
                        <a:lnTo>
                          <a:pt x="72119" y="0"/>
                        </a:lnTo>
                        <a:cubicBezTo>
                          <a:pt x="75740" y="0"/>
                          <a:pt x="78667" y="2926"/>
                          <a:pt x="78667" y="6548"/>
                        </a:cubicBezTo>
                        <a:cubicBezTo>
                          <a:pt x="78667" y="10170"/>
                          <a:pt x="75740" y="13097"/>
                          <a:pt x="72119" y="13097"/>
                        </a:cubicBezTo>
                        <a:lnTo>
                          <a:pt x="13097" y="13097"/>
                        </a:lnTo>
                        <a:lnTo>
                          <a:pt x="13097" y="48939"/>
                        </a:lnTo>
                        <a:lnTo>
                          <a:pt x="49518" y="73220"/>
                        </a:lnTo>
                        <a:cubicBezTo>
                          <a:pt x="52532" y="75219"/>
                          <a:pt x="53343" y="79304"/>
                          <a:pt x="51343" y="82318"/>
                        </a:cubicBezTo>
                        <a:cubicBezTo>
                          <a:pt x="50098" y="84172"/>
                          <a:pt x="48040" y="85215"/>
                          <a:pt x="45896" y="85215"/>
                        </a:cubicBezTo>
                        <a:close/>
                      </a:path>
                    </a:pathLst>
                  </a:custGeom>
                  <a:grpFill/>
                  <a:ln w="2891" cap="flat">
                    <a:noFill/>
                    <a:prstDash val="solid"/>
                    <a:miter/>
                  </a:ln>
                </p:spPr>
                <p:txBody>
                  <a:bodyPr rtlCol="0" anchor="ctr"/>
                  <a:lstStyle/>
                  <a:p>
                    <a:endParaRPr lang="en-GB" dirty="0"/>
                  </a:p>
                </p:txBody>
              </p:sp>
              <p:sp>
                <p:nvSpPr>
                  <p:cNvPr id="385" name="Freihandform: Form 782">
                    <a:extLst>
                      <a:ext uri="{FF2B5EF4-FFF2-40B4-BE49-F238E27FC236}">
                        <a16:creationId xmlns:a16="http://schemas.microsoft.com/office/drawing/2014/main" id="{3C2E8A69-5796-47CD-8FA6-623EE4CA029A}"/>
                      </a:ext>
                    </a:extLst>
                  </p:cNvPr>
                  <p:cNvSpPr/>
                  <p:nvPr/>
                </p:nvSpPr>
                <p:spPr>
                  <a:xfrm>
                    <a:off x="7073681" y="3404051"/>
                    <a:ext cx="78666" cy="85215"/>
                  </a:xfrm>
                  <a:custGeom>
                    <a:avLst/>
                    <a:gdLst>
                      <a:gd name="connsiteX0" fmla="*/ 45896 w 78666"/>
                      <a:gd name="connsiteY0" fmla="*/ 85215 h 85215"/>
                      <a:gd name="connsiteX1" fmla="*/ 42274 w 78666"/>
                      <a:gd name="connsiteY1" fmla="*/ 84114 h 85215"/>
                      <a:gd name="connsiteX2" fmla="*/ 2926 w 78666"/>
                      <a:gd name="connsiteY2" fmla="*/ 57892 h 85215"/>
                      <a:gd name="connsiteX3" fmla="*/ 0 w 78666"/>
                      <a:gd name="connsiteY3" fmla="*/ 52445 h 85215"/>
                      <a:gd name="connsiteX4" fmla="*/ 0 w 78666"/>
                      <a:gd name="connsiteY4" fmla="*/ 6548 h 85215"/>
                      <a:gd name="connsiteX5" fmla="*/ 6548 w 78666"/>
                      <a:gd name="connsiteY5" fmla="*/ 0 h 85215"/>
                      <a:gd name="connsiteX6" fmla="*/ 72119 w 78666"/>
                      <a:gd name="connsiteY6" fmla="*/ 0 h 85215"/>
                      <a:gd name="connsiteX7" fmla="*/ 78667 w 78666"/>
                      <a:gd name="connsiteY7" fmla="*/ 6548 h 85215"/>
                      <a:gd name="connsiteX8" fmla="*/ 72119 w 78666"/>
                      <a:gd name="connsiteY8" fmla="*/ 13097 h 85215"/>
                      <a:gd name="connsiteX9" fmla="*/ 13097 w 78666"/>
                      <a:gd name="connsiteY9" fmla="*/ 13097 h 85215"/>
                      <a:gd name="connsiteX10" fmla="*/ 13097 w 78666"/>
                      <a:gd name="connsiteY10" fmla="*/ 48939 h 85215"/>
                      <a:gd name="connsiteX11" fmla="*/ 49518 w 78666"/>
                      <a:gd name="connsiteY11" fmla="*/ 73220 h 85215"/>
                      <a:gd name="connsiteX12" fmla="*/ 51343 w 78666"/>
                      <a:gd name="connsiteY12" fmla="*/ 82318 h 85215"/>
                      <a:gd name="connsiteX13" fmla="*/ 45896 w 78666"/>
                      <a:gd name="connsiteY13" fmla="*/ 85215 h 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66" h="85215">
                        <a:moveTo>
                          <a:pt x="45896" y="85215"/>
                        </a:moveTo>
                        <a:cubicBezTo>
                          <a:pt x="44650" y="85215"/>
                          <a:pt x="43375" y="84867"/>
                          <a:pt x="42274" y="84114"/>
                        </a:cubicBezTo>
                        <a:lnTo>
                          <a:pt x="2926" y="57892"/>
                        </a:lnTo>
                        <a:cubicBezTo>
                          <a:pt x="1101" y="56675"/>
                          <a:pt x="0" y="54618"/>
                          <a:pt x="0" y="52445"/>
                        </a:cubicBezTo>
                        <a:lnTo>
                          <a:pt x="0" y="6548"/>
                        </a:lnTo>
                        <a:cubicBezTo>
                          <a:pt x="0" y="2926"/>
                          <a:pt x="2926" y="0"/>
                          <a:pt x="6548" y="0"/>
                        </a:cubicBezTo>
                        <a:lnTo>
                          <a:pt x="72119" y="0"/>
                        </a:lnTo>
                        <a:cubicBezTo>
                          <a:pt x="75740" y="0"/>
                          <a:pt x="78667" y="2926"/>
                          <a:pt x="78667" y="6548"/>
                        </a:cubicBezTo>
                        <a:cubicBezTo>
                          <a:pt x="78667" y="10170"/>
                          <a:pt x="75740" y="13097"/>
                          <a:pt x="72119" y="13097"/>
                        </a:cubicBezTo>
                        <a:lnTo>
                          <a:pt x="13097" y="13097"/>
                        </a:lnTo>
                        <a:lnTo>
                          <a:pt x="13097" y="48939"/>
                        </a:lnTo>
                        <a:lnTo>
                          <a:pt x="49518" y="73220"/>
                        </a:lnTo>
                        <a:cubicBezTo>
                          <a:pt x="52532" y="75219"/>
                          <a:pt x="53343" y="79304"/>
                          <a:pt x="51343" y="82318"/>
                        </a:cubicBezTo>
                        <a:cubicBezTo>
                          <a:pt x="50098" y="84201"/>
                          <a:pt x="48040" y="85215"/>
                          <a:pt x="45896" y="85215"/>
                        </a:cubicBezTo>
                        <a:close/>
                      </a:path>
                    </a:pathLst>
                  </a:custGeom>
                  <a:grpFill/>
                  <a:ln w="2891" cap="flat">
                    <a:noFill/>
                    <a:prstDash val="solid"/>
                    <a:miter/>
                  </a:ln>
                </p:spPr>
                <p:txBody>
                  <a:bodyPr rtlCol="0" anchor="ctr"/>
                  <a:lstStyle/>
                  <a:p>
                    <a:endParaRPr lang="en-GB" dirty="0"/>
                  </a:p>
                </p:txBody>
              </p:sp>
              <p:sp>
                <p:nvSpPr>
                  <p:cNvPr id="386" name="Freihandform: Form 783">
                    <a:extLst>
                      <a:ext uri="{FF2B5EF4-FFF2-40B4-BE49-F238E27FC236}">
                        <a16:creationId xmlns:a16="http://schemas.microsoft.com/office/drawing/2014/main" id="{661DCFB5-E079-4516-AFD8-2698D3641C9C}"/>
                      </a:ext>
                    </a:extLst>
                  </p:cNvPr>
                  <p:cNvSpPr/>
                  <p:nvPr/>
                </p:nvSpPr>
                <p:spPr>
                  <a:xfrm>
                    <a:off x="7073681" y="3528672"/>
                    <a:ext cx="78666" cy="85215"/>
                  </a:xfrm>
                  <a:custGeom>
                    <a:avLst/>
                    <a:gdLst>
                      <a:gd name="connsiteX0" fmla="*/ 45896 w 78666"/>
                      <a:gd name="connsiteY0" fmla="*/ 85215 h 85215"/>
                      <a:gd name="connsiteX1" fmla="*/ 42274 w 78666"/>
                      <a:gd name="connsiteY1" fmla="*/ 84114 h 85215"/>
                      <a:gd name="connsiteX2" fmla="*/ 2926 w 78666"/>
                      <a:gd name="connsiteY2" fmla="*/ 57892 h 85215"/>
                      <a:gd name="connsiteX3" fmla="*/ 0 w 78666"/>
                      <a:gd name="connsiteY3" fmla="*/ 52445 h 85215"/>
                      <a:gd name="connsiteX4" fmla="*/ 0 w 78666"/>
                      <a:gd name="connsiteY4" fmla="*/ 6548 h 85215"/>
                      <a:gd name="connsiteX5" fmla="*/ 6548 w 78666"/>
                      <a:gd name="connsiteY5" fmla="*/ 0 h 85215"/>
                      <a:gd name="connsiteX6" fmla="*/ 72119 w 78666"/>
                      <a:gd name="connsiteY6" fmla="*/ 0 h 85215"/>
                      <a:gd name="connsiteX7" fmla="*/ 78667 w 78666"/>
                      <a:gd name="connsiteY7" fmla="*/ 6548 h 85215"/>
                      <a:gd name="connsiteX8" fmla="*/ 72119 w 78666"/>
                      <a:gd name="connsiteY8" fmla="*/ 13097 h 85215"/>
                      <a:gd name="connsiteX9" fmla="*/ 13097 w 78666"/>
                      <a:gd name="connsiteY9" fmla="*/ 13097 h 85215"/>
                      <a:gd name="connsiteX10" fmla="*/ 13097 w 78666"/>
                      <a:gd name="connsiteY10" fmla="*/ 48939 h 85215"/>
                      <a:gd name="connsiteX11" fmla="*/ 49518 w 78666"/>
                      <a:gd name="connsiteY11" fmla="*/ 73220 h 85215"/>
                      <a:gd name="connsiteX12" fmla="*/ 51343 w 78666"/>
                      <a:gd name="connsiteY12" fmla="*/ 82318 h 85215"/>
                      <a:gd name="connsiteX13" fmla="*/ 45896 w 78666"/>
                      <a:gd name="connsiteY13" fmla="*/ 85215 h 85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666" h="85215">
                        <a:moveTo>
                          <a:pt x="45896" y="85215"/>
                        </a:moveTo>
                        <a:cubicBezTo>
                          <a:pt x="44650" y="85215"/>
                          <a:pt x="43375" y="84867"/>
                          <a:pt x="42274" y="84114"/>
                        </a:cubicBezTo>
                        <a:lnTo>
                          <a:pt x="2926" y="57892"/>
                        </a:lnTo>
                        <a:cubicBezTo>
                          <a:pt x="1101" y="56675"/>
                          <a:pt x="0" y="54618"/>
                          <a:pt x="0" y="52445"/>
                        </a:cubicBezTo>
                        <a:lnTo>
                          <a:pt x="0" y="6548"/>
                        </a:lnTo>
                        <a:cubicBezTo>
                          <a:pt x="0" y="2926"/>
                          <a:pt x="2926" y="0"/>
                          <a:pt x="6548" y="0"/>
                        </a:cubicBezTo>
                        <a:lnTo>
                          <a:pt x="72119" y="0"/>
                        </a:lnTo>
                        <a:cubicBezTo>
                          <a:pt x="75740" y="0"/>
                          <a:pt x="78667" y="2926"/>
                          <a:pt x="78667" y="6548"/>
                        </a:cubicBezTo>
                        <a:cubicBezTo>
                          <a:pt x="78667" y="10170"/>
                          <a:pt x="75740" y="13097"/>
                          <a:pt x="72119" y="13097"/>
                        </a:cubicBezTo>
                        <a:lnTo>
                          <a:pt x="13097" y="13097"/>
                        </a:lnTo>
                        <a:lnTo>
                          <a:pt x="13097" y="48939"/>
                        </a:lnTo>
                        <a:lnTo>
                          <a:pt x="49518" y="73220"/>
                        </a:lnTo>
                        <a:cubicBezTo>
                          <a:pt x="52532" y="75219"/>
                          <a:pt x="53343" y="79304"/>
                          <a:pt x="51343" y="82318"/>
                        </a:cubicBezTo>
                        <a:cubicBezTo>
                          <a:pt x="50098" y="84172"/>
                          <a:pt x="48040" y="85215"/>
                          <a:pt x="45896" y="85215"/>
                        </a:cubicBezTo>
                        <a:close/>
                      </a:path>
                    </a:pathLst>
                  </a:custGeom>
                  <a:grpFill/>
                  <a:ln w="2891" cap="flat">
                    <a:noFill/>
                    <a:prstDash val="solid"/>
                    <a:miter/>
                  </a:ln>
                </p:spPr>
                <p:txBody>
                  <a:bodyPr rtlCol="0" anchor="ctr"/>
                  <a:lstStyle/>
                  <a:p>
                    <a:endParaRPr lang="en-GB" dirty="0"/>
                  </a:p>
                </p:txBody>
              </p:sp>
            </p:grpSp>
            <p:sp>
              <p:nvSpPr>
                <p:cNvPr id="380" name="Freihandform: Form 784">
                  <a:extLst>
                    <a:ext uri="{FF2B5EF4-FFF2-40B4-BE49-F238E27FC236}">
                      <a16:creationId xmlns:a16="http://schemas.microsoft.com/office/drawing/2014/main" id="{A00417A6-33D7-4D7C-8537-F20EDE869E1F}"/>
                    </a:ext>
                  </a:extLst>
                </p:cNvPr>
                <p:cNvSpPr/>
                <p:nvPr/>
              </p:nvSpPr>
              <p:spPr>
                <a:xfrm>
                  <a:off x="7178599" y="3659812"/>
                  <a:ext cx="91821" cy="32770"/>
                </a:xfrm>
                <a:custGeom>
                  <a:avLst/>
                  <a:gdLst>
                    <a:gd name="connsiteX0" fmla="*/ 91822 w 91821"/>
                    <a:gd name="connsiteY0" fmla="*/ 32771 h 32770"/>
                    <a:gd name="connsiteX1" fmla="*/ 78696 w 91821"/>
                    <a:gd name="connsiteY1" fmla="*/ 32771 h 32770"/>
                    <a:gd name="connsiteX2" fmla="*/ 78696 w 91821"/>
                    <a:gd name="connsiteY2" fmla="*/ 13097 h 32770"/>
                    <a:gd name="connsiteX3" fmla="*/ 13126 w 91821"/>
                    <a:gd name="connsiteY3" fmla="*/ 13097 h 32770"/>
                    <a:gd name="connsiteX4" fmla="*/ 13126 w 91821"/>
                    <a:gd name="connsiteY4" fmla="*/ 32771 h 32770"/>
                    <a:gd name="connsiteX5" fmla="*/ 0 w 91821"/>
                    <a:gd name="connsiteY5" fmla="*/ 32771 h 32770"/>
                    <a:gd name="connsiteX6" fmla="*/ 0 w 91821"/>
                    <a:gd name="connsiteY6" fmla="*/ 6548 h 32770"/>
                    <a:gd name="connsiteX7" fmla="*/ 6548 w 91821"/>
                    <a:gd name="connsiteY7" fmla="*/ 0 h 32770"/>
                    <a:gd name="connsiteX8" fmla="*/ 85244 w 91821"/>
                    <a:gd name="connsiteY8" fmla="*/ 0 h 32770"/>
                    <a:gd name="connsiteX9" fmla="*/ 91793 w 91821"/>
                    <a:gd name="connsiteY9" fmla="*/ 6548 h 32770"/>
                    <a:gd name="connsiteX10" fmla="*/ 91793 w 91821"/>
                    <a:gd name="connsiteY10" fmla="*/ 32771 h 32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821" h="32770">
                      <a:moveTo>
                        <a:pt x="91822" y="32771"/>
                      </a:moveTo>
                      <a:lnTo>
                        <a:pt x="78696" y="32771"/>
                      </a:lnTo>
                      <a:lnTo>
                        <a:pt x="78696" y="13097"/>
                      </a:lnTo>
                      <a:lnTo>
                        <a:pt x="13126" y="13097"/>
                      </a:lnTo>
                      <a:lnTo>
                        <a:pt x="13126" y="32771"/>
                      </a:lnTo>
                      <a:lnTo>
                        <a:pt x="0" y="32771"/>
                      </a:lnTo>
                      <a:lnTo>
                        <a:pt x="0" y="6548"/>
                      </a:lnTo>
                      <a:cubicBezTo>
                        <a:pt x="0" y="2926"/>
                        <a:pt x="2926" y="0"/>
                        <a:pt x="6548" y="0"/>
                      </a:cubicBezTo>
                      <a:lnTo>
                        <a:pt x="85244" y="0"/>
                      </a:lnTo>
                      <a:cubicBezTo>
                        <a:pt x="88866" y="0"/>
                        <a:pt x="91793" y="2926"/>
                        <a:pt x="91793" y="6548"/>
                      </a:cubicBezTo>
                      <a:lnTo>
                        <a:pt x="91793" y="32771"/>
                      </a:lnTo>
                      <a:close/>
                    </a:path>
                  </a:pathLst>
                </a:custGeom>
                <a:grpFill/>
                <a:ln w="2891" cap="flat">
                  <a:noFill/>
                  <a:prstDash val="solid"/>
                  <a:miter/>
                </a:ln>
              </p:spPr>
              <p:txBody>
                <a:bodyPr rtlCol="0" anchor="ctr"/>
                <a:lstStyle/>
                <a:p>
                  <a:endParaRPr lang="en-GB" dirty="0"/>
                </a:p>
              </p:txBody>
            </p:sp>
            <p:sp>
              <p:nvSpPr>
                <p:cNvPr id="381" name="Freihandform: Form 785">
                  <a:extLst>
                    <a:ext uri="{FF2B5EF4-FFF2-40B4-BE49-F238E27FC236}">
                      <a16:creationId xmlns:a16="http://schemas.microsoft.com/office/drawing/2014/main" id="{5303FCD4-C799-468B-AEA4-7E1545027F8F}"/>
                    </a:ext>
                  </a:extLst>
                </p:cNvPr>
                <p:cNvSpPr/>
                <p:nvPr/>
              </p:nvSpPr>
              <p:spPr>
                <a:xfrm>
                  <a:off x="7139280" y="3240081"/>
                  <a:ext cx="170488" cy="432827"/>
                </a:xfrm>
                <a:custGeom>
                  <a:avLst/>
                  <a:gdLst>
                    <a:gd name="connsiteX0" fmla="*/ 163940 w 170488"/>
                    <a:gd name="connsiteY0" fmla="*/ 432827 h 432827"/>
                    <a:gd name="connsiteX1" fmla="*/ 6548 w 170488"/>
                    <a:gd name="connsiteY1" fmla="*/ 432827 h 432827"/>
                    <a:gd name="connsiteX2" fmla="*/ 0 w 170488"/>
                    <a:gd name="connsiteY2" fmla="*/ 426279 h 432827"/>
                    <a:gd name="connsiteX3" fmla="*/ 0 w 170488"/>
                    <a:gd name="connsiteY3" fmla="*/ 6548 h 432827"/>
                    <a:gd name="connsiteX4" fmla="*/ 6548 w 170488"/>
                    <a:gd name="connsiteY4" fmla="*/ 0 h 432827"/>
                    <a:gd name="connsiteX5" fmla="*/ 163940 w 170488"/>
                    <a:gd name="connsiteY5" fmla="*/ 0 h 432827"/>
                    <a:gd name="connsiteX6" fmla="*/ 170488 w 170488"/>
                    <a:gd name="connsiteY6" fmla="*/ 6548 h 432827"/>
                    <a:gd name="connsiteX7" fmla="*/ 170488 w 170488"/>
                    <a:gd name="connsiteY7" fmla="*/ 426279 h 432827"/>
                    <a:gd name="connsiteX8" fmla="*/ 163940 w 170488"/>
                    <a:gd name="connsiteY8" fmla="*/ 432827 h 432827"/>
                    <a:gd name="connsiteX9" fmla="*/ 13097 w 170488"/>
                    <a:gd name="connsiteY9" fmla="*/ 419702 h 432827"/>
                    <a:gd name="connsiteX10" fmla="*/ 157363 w 170488"/>
                    <a:gd name="connsiteY10" fmla="*/ 419702 h 432827"/>
                    <a:gd name="connsiteX11" fmla="*/ 157363 w 170488"/>
                    <a:gd name="connsiteY11" fmla="*/ 13097 h 432827"/>
                    <a:gd name="connsiteX12" fmla="*/ 13097 w 170488"/>
                    <a:gd name="connsiteY12" fmla="*/ 13097 h 432827"/>
                    <a:gd name="connsiteX13" fmla="*/ 13097 w 170488"/>
                    <a:gd name="connsiteY13" fmla="*/ 419702 h 43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0488" h="432827">
                      <a:moveTo>
                        <a:pt x="163940" y="432827"/>
                      </a:moveTo>
                      <a:lnTo>
                        <a:pt x="6548" y="432827"/>
                      </a:lnTo>
                      <a:cubicBezTo>
                        <a:pt x="2926" y="432827"/>
                        <a:pt x="0" y="429901"/>
                        <a:pt x="0" y="426279"/>
                      </a:cubicBezTo>
                      <a:lnTo>
                        <a:pt x="0" y="6548"/>
                      </a:lnTo>
                      <a:cubicBezTo>
                        <a:pt x="0" y="2926"/>
                        <a:pt x="2926" y="0"/>
                        <a:pt x="6548" y="0"/>
                      </a:cubicBezTo>
                      <a:lnTo>
                        <a:pt x="163940" y="0"/>
                      </a:lnTo>
                      <a:cubicBezTo>
                        <a:pt x="167562" y="0"/>
                        <a:pt x="170488" y="2926"/>
                        <a:pt x="170488" y="6548"/>
                      </a:cubicBezTo>
                      <a:lnTo>
                        <a:pt x="170488" y="426279"/>
                      </a:lnTo>
                      <a:cubicBezTo>
                        <a:pt x="170488" y="429872"/>
                        <a:pt x="167562" y="432827"/>
                        <a:pt x="163940" y="432827"/>
                      </a:cubicBezTo>
                      <a:close/>
                      <a:moveTo>
                        <a:pt x="13097" y="419702"/>
                      </a:moveTo>
                      <a:lnTo>
                        <a:pt x="157363" y="419702"/>
                      </a:lnTo>
                      <a:lnTo>
                        <a:pt x="157363" y="13097"/>
                      </a:lnTo>
                      <a:lnTo>
                        <a:pt x="13097" y="13097"/>
                      </a:lnTo>
                      <a:lnTo>
                        <a:pt x="13097" y="419702"/>
                      </a:lnTo>
                      <a:close/>
                    </a:path>
                  </a:pathLst>
                </a:custGeom>
                <a:grpFill/>
                <a:ln w="2891" cap="flat">
                  <a:noFill/>
                  <a:prstDash val="solid"/>
                  <a:miter/>
                </a:ln>
              </p:spPr>
              <p:txBody>
                <a:bodyPr rtlCol="0" anchor="ctr"/>
                <a:lstStyle/>
                <a:p>
                  <a:endParaRPr lang="en-GB" dirty="0"/>
                </a:p>
              </p:txBody>
            </p:sp>
            <p:sp>
              <p:nvSpPr>
                <p:cNvPr id="382" name="Freihandform: Form 786">
                  <a:extLst>
                    <a:ext uri="{FF2B5EF4-FFF2-40B4-BE49-F238E27FC236}">
                      <a16:creationId xmlns:a16="http://schemas.microsoft.com/office/drawing/2014/main" id="{C9BF7FCE-BC5B-435C-AF70-96BB0D4107AA}"/>
                    </a:ext>
                  </a:extLst>
                </p:cNvPr>
                <p:cNvSpPr/>
                <p:nvPr/>
              </p:nvSpPr>
              <p:spPr>
                <a:xfrm>
                  <a:off x="7126184" y="3659812"/>
                  <a:ext cx="196710" cy="13096"/>
                </a:xfrm>
                <a:custGeom>
                  <a:avLst/>
                  <a:gdLst>
                    <a:gd name="connsiteX0" fmla="*/ 190162 w 196710"/>
                    <a:gd name="connsiteY0" fmla="*/ 13097 h 13096"/>
                    <a:gd name="connsiteX1" fmla="*/ 6548 w 196710"/>
                    <a:gd name="connsiteY1" fmla="*/ 13097 h 13096"/>
                    <a:gd name="connsiteX2" fmla="*/ 0 w 196710"/>
                    <a:gd name="connsiteY2" fmla="*/ 6548 h 13096"/>
                    <a:gd name="connsiteX3" fmla="*/ 6548 w 196710"/>
                    <a:gd name="connsiteY3" fmla="*/ 0 h 13096"/>
                    <a:gd name="connsiteX4" fmla="*/ 190162 w 196710"/>
                    <a:gd name="connsiteY4" fmla="*/ 0 h 13096"/>
                    <a:gd name="connsiteX5" fmla="*/ 196711 w 196710"/>
                    <a:gd name="connsiteY5" fmla="*/ 6548 h 13096"/>
                    <a:gd name="connsiteX6" fmla="*/ 190162 w 196710"/>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710" h="13096">
                      <a:moveTo>
                        <a:pt x="190162" y="13097"/>
                      </a:moveTo>
                      <a:lnTo>
                        <a:pt x="6548" y="13097"/>
                      </a:lnTo>
                      <a:cubicBezTo>
                        <a:pt x="2926" y="13097"/>
                        <a:pt x="0" y="10170"/>
                        <a:pt x="0" y="6548"/>
                      </a:cubicBezTo>
                      <a:cubicBezTo>
                        <a:pt x="0" y="2926"/>
                        <a:pt x="2926" y="0"/>
                        <a:pt x="6548" y="0"/>
                      </a:cubicBezTo>
                      <a:lnTo>
                        <a:pt x="190162" y="0"/>
                      </a:lnTo>
                      <a:cubicBezTo>
                        <a:pt x="193784" y="0"/>
                        <a:pt x="196711" y="2926"/>
                        <a:pt x="196711" y="6548"/>
                      </a:cubicBezTo>
                      <a:cubicBezTo>
                        <a:pt x="196711" y="10170"/>
                        <a:pt x="193784" y="13097"/>
                        <a:pt x="190162" y="13097"/>
                      </a:cubicBezTo>
                      <a:close/>
                    </a:path>
                  </a:pathLst>
                </a:custGeom>
                <a:grpFill/>
                <a:ln w="2891" cap="flat">
                  <a:noFill/>
                  <a:prstDash val="solid"/>
                  <a:miter/>
                </a:ln>
              </p:spPr>
              <p:txBody>
                <a:bodyPr rtlCol="0" anchor="ctr"/>
                <a:lstStyle/>
                <a:p>
                  <a:endParaRPr lang="en-GB" dirty="0"/>
                </a:p>
              </p:txBody>
            </p:sp>
            <p:sp>
              <p:nvSpPr>
                <p:cNvPr id="383" name="Freihandform: Form 787">
                  <a:extLst>
                    <a:ext uri="{FF2B5EF4-FFF2-40B4-BE49-F238E27FC236}">
                      <a16:creationId xmlns:a16="http://schemas.microsoft.com/office/drawing/2014/main" id="{A4EDF8F1-2EDF-4A0A-9567-F3BAC69F6DE1}"/>
                    </a:ext>
                  </a:extLst>
                </p:cNvPr>
                <p:cNvSpPr/>
                <p:nvPr/>
              </p:nvSpPr>
              <p:spPr>
                <a:xfrm>
                  <a:off x="7126184" y="3240081"/>
                  <a:ext cx="196710" cy="13096"/>
                </a:xfrm>
                <a:custGeom>
                  <a:avLst/>
                  <a:gdLst>
                    <a:gd name="connsiteX0" fmla="*/ 190162 w 196710"/>
                    <a:gd name="connsiteY0" fmla="*/ 13097 h 13096"/>
                    <a:gd name="connsiteX1" fmla="*/ 6548 w 196710"/>
                    <a:gd name="connsiteY1" fmla="*/ 13097 h 13096"/>
                    <a:gd name="connsiteX2" fmla="*/ 0 w 196710"/>
                    <a:gd name="connsiteY2" fmla="*/ 6548 h 13096"/>
                    <a:gd name="connsiteX3" fmla="*/ 6548 w 196710"/>
                    <a:gd name="connsiteY3" fmla="*/ 0 h 13096"/>
                    <a:gd name="connsiteX4" fmla="*/ 190162 w 196710"/>
                    <a:gd name="connsiteY4" fmla="*/ 0 h 13096"/>
                    <a:gd name="connsiteX5" fmla="*/ 196711 w 196710"/>
                    <a:gd name="connsiteY5" fmla="*/ 6548 h 13096"/>
                    <a:gd name="connsiteX6" fmla="*/ 190162 w 196710"/>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710" h="13096">
                      <a:moveTo>
                        <a:pt x="190162" y="13097"/>
                      </a:moveTo>
                      <a:lnTo>
                        <a:pt x="6548" y="13097"/>
                      </a:lnTo>
                      <a:cubicBezTo>
                        <a:pt x="2926" y="13097"/>
                        <a:pt x="0" y="10170"/>
                        <a:pt x="0" y="6548"/>
                      </a:cubicBezTo>
                      <a:cubicBezTo>
                        <a:pt x="0" y="2926"/>
                        <a:pt x="2926" y="0"/>
                        <a:pt x="6548" y="0"/>
                      </a:cubicBezTo>
                      <a:lnTo>
                        <a:pt x="190162" y="0"/>
                      </a:lnTo>
                      <a:cubicBezTo>
                        <a:pt x="193784" y="0"/>
                        <a:pt x="196711" y="2926"/>
                        <a:pt x="196711" y="6548"/>
                      </a:cubicBezTo>
                      <a:cubicBezTo>
                        <a:pt x="196711" y="10170"/>
                        <a:pt x="193784" y="13097"/>
                        <a:pt x="190162" y="13097"/>
                      </a:cubicBezTo>
                      <a:close/>
                    </a:path>
                  </a:pathLst>
                </a:custGeom>
                <a:grpFill/>
                <a:ln w="2891" cap="flat">
                  <a:noFill/>
                  <a:prstDash val="solid"/>
                  <a:miter/>
                </a:ln>
              </p:spPr>
              <p:txBody>
                <a:bodyPr rtlCol="0" anchor="ctr"/>
                <a:lstStyle/>
                <a:p>
                  <a:endParaRPr lang="en-GB" dirty="0"/>
                </a:p>
              </p:txBody>
            </p:sp>
          </p:grpSp>
        </p:grpSp>
      </p:grpSp>
      <p:grpSp>
        <p:nvGrpSpPr>
          <p:cNvPr id="387" name="Gruppieren 1051">
            <a:extLst>
              <a:ext uri="{FF2B5EF4-FFF2-40B4-BE49-F238E27FC236}">
                <a16:creationId xmlns:a16="http://schemas.microsoft.com/office/drawing/2014/main" id="{A46A0B53-85DA-4014-917D-2EC45C67289C}"/>
              </a:ext>
            </a:extLst>
          </p:cNvPr>
          <p:cNvGrpSpPr>
            <a:grpSpLocks noChangeAspect="1"/>
          </p:cNvGrpSpPr>
          <p:nvPr/>
        </p:nvGrpSpPr>
        <p:grpSpPr>
          <a:xfrm>
            <a:off x="7149016" y="1585981"/>
            <a:ext cx="301037" cy="431970"/>
            <a:chOff x="7060554" y="4061434"/>
            <a:chExt cx="327942" cy="470580"/>
          </a:xfrm>
        </p:grpSpPr>
        <p:grpSp>
          <p:nvGrpSpPr>
            <p:cNvPr id="388" name="Gruppieren 1049">
              <a:extLst>
                <a:ext uri="{FF2B5EF4-FFF2-40B4-BE49-F238E27FC236}">
                  <a16:creationId xmlns:a16="http://schemas.microsoft.com/office/drawing/2014/main" id="{AB0FE592-531C-422B-8962-E76685514F16}"/>
                </a:ext>
              </a:extLst>
            </p:cNvPr>
            <p:cNvGrpSpPr/>
            <p:nvPr/>
          </p:nvGrpSpPr>
          <p:grpSpPr>
            <a:xfrm>
              <a:off x="7060614" y="4061434"/>
              <a:ext cx="327878" cy="419703"/>
              <a:chOff x="7060614" y="4061405"/>
              <a:chExt cx="327878" cy="419700"/>
            </a:xfrm>
          </p:grpSpPr>
          <p:sp>
            <p:nvSpPr>
              <p:cNvPr id="392" name="Freihandform: Form 879">
                <a:extLst>
                  <a:ext uri="{FF2B5EF4-FFF2-40B4-BE49-F238E27FC236}">
                    <a16:creationId xmlns:a16="http://schemas.microsoft.com/office/drawing/2014/main" id="{337F829C-DA01-4FCC-8444-EBBE097CA300}"/>
                  </a:ext>
                </a:extLst>
              </p:cNvPr>
              <p:cNvSpPr/>
              <p:nvPr/>
            </p:nvSpPr>
            <p:spPr>
              <a:xfrm>
                <a:off x="7145858" y="4061405"/>
                <a:ext cx="157362" cy="13096"/>
              </a:xfrm>
              <a:custGeom>
                <a:avLst/>
                <a:gdLst>
                  <a:gd name="connsiteX0" fmla="*/ 150814 w 157362"/>
                  <a:gd name="connsiteY0" fmla="*/ 13097 h 13096"/>
                  <a:gd name="connsiteX1" fmla="*/ 6548 w 157362"/>
                  <a:gd name="connsiteY1" fmla="*/ 13097 h 13096"/>
                  <a:gd name="connsiteX2" fmla="*/ 0 w 157362"/>
                  <a:gd name="connsiteY2" fmla="*/ 6548 h 13096"/>
                  <a:gd name="connsiteX3" fmla="*/ 6548 w 157362"/>
                  <a:gd name="connsiteY3" fmla="*/ 0 h 13096"/>
                  <a:gd name="connsiteX4" fmla="*/ 150814 w 157362"/>
                  <a:gd name="connsiteY4" fmla="*/ 0 h 13096"/>
                  <a:gd name="connsiteX5" fmla="*/ 157363 w 157362"/>
                  <a:gd name="connsiteY5" fmla="*/ 6548 h 13096"/>
                  <a:gd name="connsiteX6" fmla="*/ 150814 w 157362"/>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362" h="13096">
                    <a:moveTo>
                      <a:pt x="150814" y="13097"/>
                    </a:moveTo>
                    <a:lnTo>
                      <a:pt x="6548" y="13097"/>
                    </a:lnTo>
                    <a:cubicBezTo>
                      <a:pt x="2926" y="13097"/>
                      <a:pt x="0" y="10170"/>
                      <a:pt x="0" y="6548"/>
                    </a:cubicBezTo>
                    <a:cubicBezTo>
                      <a:pt x="0" y="2926"/>
                      <a:pt x="2926" y="0"/>
                      <a:pt x="6548" y="0"/>
                    </a:cubicBezTo>
                    <a:lnTo>
                      <a:pt x="150814" y="0"/>
                    </a:lnTo>
                    <a:cubicBezTo>
                      <a:pt x="154436" y="0"/>
                      <a:pt x="157363" y="2926"/>
                      <a:pt x="157363" y="6548"/>
                    </a:cubicBezTo>
                    <a:cubicBezTo>
                      <a:pt x="157363" y="10170"/>
                      <a:pt x="154436" y="13097"/>
                      <a:pt x="150814" y="13097"/>
                    </a:cubicBezTo>
                    <a:close/>
                  </a:path>
                </a:pathLst>
              </a:custGeom>
              <a:solidFill>
                <a:schemeClr val="tx2"/>
              </a:solidFill>
              <a:ln w="2891" cap="flat">
                <a:noFill/>
                <a:prstDash val="solid"/>
                <a:miter/>
              </a:ln>
            </p:spPr>
            <p:txBody>
              <a:bodyPr rtlCol="0" anchor="ctr"/>
              <a:lstStyle/>
              <a:p>
                <a:endParaRPr lang="en-GB" dirty="0"/>
              </a:p>
            </p:txBody>
          </p:sp>
          <p:sp>
            <p:nvSpPr>
              <p:cNvPr id="393" name="Freihandform: Form 880">
                <a:extLst>
                  <a:ext uri="{FF2B5EF4-FFF2-40B4-BE49-F238E27FC236}">
                    <a16:creationId xmlns:a16="http://schemas.microsoft.com/office/drawing/2014/main" id="{F924E099-3F1E-4B36-8E98-7D9BA52C3C1E}"/>
                  </a:ext>
                </a:extLst>
              </p:cNvPr>
              <p:cNvSpPr/>
              <p:nvPr/>
            </p:nvSpPr>
            <p:spPr>
              <a:xfrm>
                <a:off x="7172051" y="4061405"/>
                <a:ext cx="104918" cy="39318"/>
              </a:xfrm>
              <a:custGeom>
                <a:avLst/>
                <a:gdLst>
                  <a:gd name="connsiteX0" fmla="*/ 98370 w 104918"/>
                  <a:gd name="connsiteY0" fmla="*/ 39319 h 39318"/>
                  <a:gd name="connsiteX1" fmla="*/ 6548 w 104918"/>
                  <a:gd name="connsiteY1" fmla="*/ 39319 h 39318"/>
                  <a:gd name="connsiteX2" fmla="*/ 0 w 104918"/>
                  <a:gd name="connsiteY2" fmla="*/ 32771 h 39318"/>
                  <a:gd name="connsiteX3" fmla="*/ 0 w 104918"/>
                  <a:gd name="connsiteY3" fmla="*/ 6548 h 39318"/>
                  <a:gd name="connsiteX4" fmla="*/ 6548 w 104918"/>
                  <a:gd name="connsiteY4" fmla="*/ 0 h 39318"/>
                  <a:gd name="connsiteX5" fmla="*/ 98370 w 104918"/>
                  <a:gd name="connsiteY5" fmla="*/ 0 h 39318"/>
                  <a:gd name="connsiteX6" fmla="*/ 104918 w 104918"/>
                  <a:gd name="connsiteY6" fmla="*/ 6548 h 39318"/>
                  <a:gd name="connsiteX7" fmla="*/ 104918 w 104918"/>
                  <a:gd name="connsiteY7" fmla="*/ 32771 h 39318"/>
                  <a:gd name="connsiteX8" fmla="*/ 98370 w 104918"/>
                  <a:gd name="connsiteY8" fmla="*/ 39319 h 39318"/>
                  <a:gd name="connsiteX9" fmla="*/ 13126 w 104918"/>
                  <a:gd name="connsiteY9" fmla="*/ 26193 h 39318"/>
                  <a:gd name="connsiteX10" fmla="*/ 91822 w 104918"/>
                  <a:gd name="connsiteY10" fmla="*/ 26193 h 39318"/>
                  <a:gd name="connsiteX11" fmla="*/ 91822 w 104918"/>
                  <a:gd name="connsiteY11" fmla="*/ 13068 h 39318"/>
                  <a:gd name="connsiteX12" fmla="*/ 13126 w 104918"/>
                  <a:gd name="connsiteY12" fmla="*/ 13068 h 39318"/>
                  <a:gd name="connsiteX13" fmla="*/ 13126 w 104918"/>
                  <a:gd name="connsiteY13" fmla="*/ 26193 h 39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4918" h="39318">
                    <a:moveTo>
                      <a:pt x="98370" y="39319"/>
                    </a:moveTo>
                    <a:lnTo>
                      <a:pt x="6548" y="39319"/>
                    </a:lnTo>
                    <a:cubicBezTo>
                      <a:pt x="2926" y="39319"/>
                      <a:pt x="0" y="36393"/>
                      <a:pt x="0" y="32771"/>
                    </a:cubicBezTo>
                    <a:lnTo>
                      <a:pt x="0" y="6548"/>
                    </a:lnTo>
                    <a:cubicBezTo>
                      <a:pt x="0" y="2926"/>
                      <a:pt x="2926" y="0"/>
                      <a:pt x="6548" y="0"/>
                    </a:cubicBezTo>
                    <a:lnTo>
                      <a:pt x="98370" y="0"/>
                    </a:lnTo>
                    <a:cubicBezTo>
                      <a:pt x="101992" y="0"/>
                      <a:pt x="104918" y="2926"/>
                      <a:pt x="104918" y="6548"/>
                    </a:cubicBezTo>
                    <a:lnTo>
                      <a:pt x="104918" y="32771"/>
                    </a:lnTo>
                    <a:cubicBezTo>
                      <a:pt x="104947" y="36393"/>
                      <a:pt x="102021" y="39319"/>
                      <a:pt x="98370" y="39319"/>
                    </a:cubicBezTo>
                    <a:close/>
                    <a:moveTo>
                      <a:pt x="13126" y="26193"/>
                    </a:moveTo>
                    <a:lnTo>
                      <a:pt x="91822" y="26193"/>
                    </a:lnTo>
                    <a:lnTo>
                      <a:pt x="91822" y="13068"/>
                    </a:lnTo>
                    <a:lnTo>
                      <a:pt x="13126" y="13068"/>
                    </a:lnTo>
                    <a:lnTo>
                      <a:pt x="13126" y="26193"/>
                    </a:lnTo>
                    <a:close/>
                  </a:path>
                </a:pathLst>
              </a:custGeom>
              <a:solidFill>
                <a:schemeClr val="tx2"/>
              </a:solidFill>
              <a:ln w="2891" cap="flat">
                <a:noFill/>
                <a:prstDash val="solid"/>
                <a:miter/>
              </a:ln>
            </p:spPr>
            <p:txBody>
              <a:bodyPr rtlCol="0" anchor="ctr"/>
              <a:lstStyle/>
              <a:p>
                <a:endParaRPr lang="en-GB" dirty="0"/>
              </a:p>
            </p:txBody>
          </p:sp>
          <p:sp>
            <p:nvSpPr>
              <p:cNvPr id="394" name="Freihandform: Form 881">
                <a:extLst>
                  <a:ext uri="{FF2B5EF4-FFF2-40B4-BE49-F238E27FC236}">
                    <a16:creationId xmlns:a16="http://schemas.microsoft.com/office/drawing/2014/main" id="{BEAFD21C-E577-45FB-BAF8-BE49C659983C}"/>
                  </a:ext>
                </a:extLst>
              </p:cNvPr>
              <p:cNvSpPr/>
              <p:nvPr/>
            </p:nvSpPr>
            <p:spPr>
              <a:xfrm>
                <a:off x="7126184" y="4087627"/>
                <a:ext cx="196768" cy="65570"/>
              </a:xfrm>
              <a:custGeom>
                <a:avLst/>
                <a:gdLst>
                  <a:gd name="connsiteX0" fmla="*/ 190162 w 196768"/>
                  <a:gd name="connsiteY0" fmla="*/ 65570 h 65570"/>
                  <a:gd name="connsiteX1" fmla="*/ 6548 w 196768"/>
                  <a:gd name="connsiteY1" fmla="*/ 65570 h 65570"/>
                  <a:gd name="connsiteX2" fmla="*/ 0 w 196768"/>
                  <a:gd name="connsiteY2" fmla="*/ 59022 h 65570"/>
                  <a:gd name="connsiteX3" fmla="*/ 0 w 196768"/>
                  <a:gd name="connsiteY3" fmla="*/ 13126 h 65570"/>
                  <a:gd name="connsiteX4" fmla="*/ 13126 w 196768"/>
                  <a:gd name="connsiteY4" fmla="*/ 0 h 65570"/>
                  <a:gd name="connsiteX5" fmla="*/ 183643 w 196768"/>
                  <a:gd name="connsiteY5" fmla="*/ 0 h 65570"/>
                  <a:gd name="connsiteX6" fmla="*/ 196769 w 196768"/>
                  <a:gd name="connsiteY6" fmla="*/ 13126 h 65570"/>
                  <a:gd name="connsiteX7" fmla="*/ 196769 w 196768"/>
                  <a:gd name="connsiteY7" fmla="*/ 59022 h 65570"/>
                  <a:gd name="connsiteX8" fmla="*/ 190162 w 196768"/>
                  <a:gd name="connsiteY8" fmla="*/ 65570 h 65570"/>
                  <a:gd name="connsiteX9" fmla="*/ 13097 w 196768"/>
                  <a:gd name="connsiteY9" fmla="*/ 52445 h 65570"/>
                  <a:gd name="connsiteX10" fmla="*/ 183614 w 196768"/>
                  <a:gd name="connsiteY10" fmla="*/ 52445 h 65570"/>
                  <a:gd name="connsiteX11" fmla="*/ 183614 w 196768"/>
                  <a:gd name="connsiteY11" fmla="*/ 13097 h 65570"/>
                  <a:gd name="connsiteX12" fmla="*/ 13097 w 196768"/>
                  <a:gd name="connsiteY12" fmla="*/ 13097 h 65570"/>
                  <a:gd name="connsiteX13" fmla="*/ 13097 w 196768"/>
                  <a:gd name="connsiteY13" fmla="*/ 52445 h 6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6768" h="65570">
                    <a:moveTo>
                      <a:pt x="190162" y="65570"/>
                    </a:moveTo>
                    <a:lnTo>
                      <a:pt x="6548" y="65570"/>
                    </a:lnTo>
                    <a:cubicBezTo>
                      <a:pt x="2926" y="65570"/>
                      <a:pt x="0" y="62644"/>
                      <a:pt x="0" y="59022"/>
                    </a:cubicBezTo>
                    <a:lnTo>
                      <a:pt x="0" y="13126"/>
                    </a:lnTo>
                    <a:cubicBezTo>
                      <a:pt x="0" y="5882"/>
                      <a:pt x="5882" y="0"/>
                      <a:pt x="13126" y="0"/>
                    </a:cubicBezTo>
                    <a:lnTo>
                      <a:pt x="183643" y="0"/>
                    </a:lnTo>
                    <a:cubicBezTo>
                      <a:pt x="190887" y="0"/>
                      <a:pt x="196769" y="5882"/>
                      <a:pt x="196769" y="13126"/>
                    </a:cubicBezTo>
                    <a:lnTo>
                      <a:pt x="196769" y="59022"/>
                    </a:lnTo>
                    <a:cubicBezTo>
                      <a:pt x="196711" y="62644"/>
                      <a:pt x="193784" y="65570"/>
                      <a:pt x="190162" y="65570"/>
                    </a:cubicBezTo>
                    <a:close/>
                    <a:moveTo>
                      <a:pt x="13097" y="52445"/>
                    </a:moveTo>
                    <a:lnTo>
                      <a:pt x="183614" y="52445"/>
                    </a:lnTo>
                    <a:lnTo>
                      <a:pt x="183614" y="13097"/>
                    </a:lnTo>
                    <a:lnTo>
                      <a:pt x="13097" y="13097"/>
                    </a:lnTo>
                    <a:lnTo>
                      <a:pt x="13097" y="52445"/>
                    </a:lnTo>
                    <a:close/>
                  </a:path>
                </a:pathLst>
              </a:custGeom>
              <a:solidFill>
                <a:schemeClr val="tx2"/>
              </a:solidFill>
              <a:ln w="2891" cap="flat">
                <a:noFill/>
                <a:prstDash val="solid"/>
                <a:miter/>
              </a:ln>
            </p:spPr>
            <p:txBody>
              <a:bodyPr rtlCol="0" anchor="ctr"/>
              <a:lstStyle/>
              <a:p>
                <a:endParaRPr lang="en-GB" dirty="0"/>
              </a:p>
            </p:txBody>
          </p:sp>
          <p:sp>
            <p:nvSpPr>
              <p:cNvPr id="395" name="Freihandform: Form 882">
                <a:extLst>
                  <a:ext uri="{FF2B5EF4-FFF2-40B4-BE49-F238E27FC236}">
                    <a16:creationId xmlns:a16="http://schemas.microsoft.com/office/drawing/2014/main" id="{FF75EE11-3168-432A-8F35-442D34121D35}"/>
                  </a:ext>
                </a:extLst>
              </p:cNvPr>
              <p:cNvSpPr/>
              <p:nvPr/>
            </p:nvSpPr>
            <p:spPr>
              <a:xfrm>
                <a:off x="7204880" y="4113849"/>
                <a:ext cx="39318" cy="13096"/>
              </a:xfrm>
              <a:custGeom>
                <a:avLst/>
                <a:gdLst>
                  <a:gd name="connsiteX0" fmla="*/ 32771 w 39318"/>
                  <a:gd name="connsiteY0" fmla="*/ 13097 h 13096"/>
                  <a:gd name="connsiteX1" fmla="*/ 6548 w 39318"/>
                  <a:gd name="connsiteY1" fmla="*/ 13097 h 13096"/>
                  <a:gd name="connsiteX2" fmla="*/ 0 w 39318"/>
                  <a:gd name="connsiteY2" fmla="*/ 6548 h 13096"/>
                  <a:gd name="connsiteX3" fmla="*/ 6548 w 39318"/>
                  <a:gd name="connsiteY3" fmla="*/ 0 h 13096"/>
                  <a:gd name="connsiteX4" fmla="*/ 32771 w 39318"/>
                  <a:gd name="connsiteY4" fmla="*/ 0 h 13096"/>
                  <a:gd name="connsiteX5" fmla="*/ 39319 w 39318"/>
                  <a:gd name="connsiteY5" fmla="*/ 6548 h 13096"/>
                  <a:gd name="connsiteX6" fmla="*/ 32771 w 39318"/>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318" h="13096">
                    <a:moveTo>
                      <a:pt x="32771" y="13097"/>
                    </a:moveTo>
                    <a:lnTo>
                      <a:pt x="6548" y="13097"/>
                    </a:lnTo>
                    <a:cubicBezTo>
                      <a:pt x="2926" y="13097"/>
                      <a:pt x="0" y="10170"/>
                      <a:pt x="0" y="6548"/>
                    </a:cubicBezTo>
                    <a:cubicBezTo>
                      <a:pt x="0" y="2926"/>
                      <a:pt x="2926" y="0"/>
                      <a:pt x="6548" y="0"/>
                    </a:cubicBezTo>
                    <a:lnTo>
                      <a:pt x="32771" y="0"/>
                    </a:lnTo>
                    <a:cubicBezTo>
                      <a:pt x="36392" y="0"/>
                      <a:pt x="39319" y="2926"/>
                      <a:pt x="39319" y="6548"/>
                    </a:cubicBezTo>
                    <a:cubicBezTo>
                      <a:pt x="39319" y="10170"/>
                      <a:pt x="36392" y="13097"/>
                      <a:pt x="32771" y="13097"/>
                    </a:cubicBezTo>
                    <a:close/>
                  </a:path>
                </a:pathLst>
              </a:custGeom>
              <a:solidFill>
                <a:schemeClr val="tx2"/>
              </a:solidFill>
              <a:ln w="2891" cap="flat">
                <a:noFill/>
                <a:prstDash val="solid"/>
                <a:miter/>
              </a:ln>
            </p:spPr>
            <p:txBody>
              <a:bodyPr rtlCol="0" anchor="ctr"/>
              <a:lstStyle/>
              <a:p>
                <a:endParaRPr lang="en-GB" dirty="0"/>
              </a:p>
            </p:txBody>
          </p:sp>
          <p:sp>
            <p:nvSpPr>
              <p:cNvPr id="396" name="Freihandform: Form 883">
                <a:extLst>
                  <a:ext uri="{FF2B5EF4-FFF2-40B4-BE49-F238E27FC236}">
                    <a16:creationId xmlns:a16="http://schemas.microsoft.com/office/drawing/2014/main" id="{45391DF1-9D0A-4592-8731-73305068A9D8}"/>
                  </a:ext>
                </a:extLst>
              </p:cNvPr>
              <p:cNvSpPr/>
              <p:nvPr/>
            </p:nvSpPr>
            <p:spPr>
              <a:xfrm>
                <a:off x="7093413" y="4140071"/>
                <a:ext cx="262338" cy="177065"/>
              </a:xfrm>
              <a:custGeom>
                <a:avLst/>
                <a:gdLst>
                  <a:gd name="connsiteX0" fmla="*/ 255733 w 262338"/>
                  <a:gd name="connsiteY0" fmla="*/ 177066 h 177065"/>
                  <a:gd name="connsiteX1" fmla="*/ 249184 w 262338"/>
                  <a:gd name="connsiteY1" fmla="*/ 170518 h 177065"/>
                  <a:gd name="connsiteX2" fmla="*/ 249184 w 262338"/>
                  <a:gd name="connsiteY2" fmla="*/ 13126 h 177065"/>
                  <a:gd name="connsiteX3" fmla="*/ 13097 w 262338"/>
                  <a:gd name="connsiteY3" fmla="*/ 13126 h 177065"/>
                  <a:gd name="connsiteX4" fmla="*/ 13097 w 262338"/>
                  <a:gd name="connsiteY4" fmla="*/ 170518 h 177065"/>
                  <a:gd name="connsiteX5" fmla="*/ 6548 w 262338"/>
                  <a:gd name="connsiteY5" fmla="*/ 177066 h 177065"/>
                  <a:gd name="connsiteX6" fmla="*/ 0 w 262338"/>
                  <a:gd name="connsiteY6" fmla="*/ 170518 h 177065"/>
                  <a:gd name="connsiteX7" fmla="*/ 0 w 262338"/>
                  <a:gd name="connsiteY7" fmla="*/ 13126 h 177065"/>
                  <a:gd name="connsiteX8" fmla="*/ 13126 w 262338"/>
                  <a:gd name="connsiteY8" fmla="*/ 0 h 177065"/>
                  <a:gd name="connsiteX9" fmla="*/ 249213 w 262338"/>
                  <a:gd name="connsiteY9" fmla="*/ 0 h 177065"/>
                  <a:gd name="connsiteX10" fmla="*/ 262339 w 262338"/>
                  <a:gd name="connsiteY10" fmla="*/ 13126 h 177065"/>
                  <a:gd name="connsiteX11" fmla="*/ 262339 w 262338"/>
                  <a:gd name="connsiteY11" fmla="*/ 170518 h 177065"/>
                  <a:gd name="connsiteX12" fmla="*/ 255733 w 262338"/>
                  <a:gd name="connsiteY12" fmla="*/ 177066 h 17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2338" h="177065">
                    <a:moveTo>
                      <a:pt x="255733" y="177066"/>
                    </a:moveTo>
                    <a:cubicBezTo>
                      <a:pt x="252111" y="177066"/>
                      <a:pt x="249184" y="174139"/>
                      <a:pt x="249184" y="170518"/>
                    </a:cubicBezTo>
                    <a:lnTo>
                      <a:pt x="249184" y="13126"/>
                    </a:lnTo>
                    <a:lnTo>
                      <a:pt x="13097" y="13126"/>
                    </a:lnTo>
                    <a:lnTo>
                      <a:pt x="13097" y="170518"/>
                    </a:lnTo>
                    <a:cubicBezTo>
                      <a:pt x="13097" y="174139"/>
                      <a:pt x="10170" y="177066"/>
                      <a:pt x="6548" y="177066"/>
                    </a:cubicBezTo>
                    <a:cubicBezTo>
                      <a:pt x="2926" y="177066"/>
                      <a:pt x="0" y="174139"/>
                      <a:pt x="0" y="170518"/>
                    </a:cubicBezTo>
                    <a:lnTo>
                      <a:pt x="0" y="13126"/>
                    </a:lnTo>
                    <a:cubicBezTo>
                      <a:pt x="0" y="5882"/>
                      <a:pt x="5882" y="0"/>
                      <a:pt x="13126" y="0"/>
                    </a:cubicBezTo>
                    <a:lnTo>
                      <a:pt x="249213" y="0"/>
                    </a:lnTo>
                    <a:cubicBezTo>
                      <a:pt x="256457" y="0"/>
                      <a:pt x="262339" y="5882"/>
                      <a:pt x="262339" y="13126"/>
                    </a:cubicBezTo>
                    <a:lnTo>
                      <a:pt x="262339" y="170518"/>
                    </a:lnTo>
                    <a:cubicBezTo>
                      <a:pt x="262281" y="174139"/>
                      <a:pt x="259355" y="177066"/>
                      <a:pt x="255733" y="177066"/>
                    </a:cubicBezTo>
                    <a:close/>
                  </a:path>
                </a:pathLst>
              </a:custGeom>
              <a:solidFill>
                <a:schemeClr val="tx2"/>
              </a:solidFill>
              <a:ln w="2891" cap="flat">
                <a:noFill/>
                <a:prstDash val="solid"/>
                <a:miter/>
              </a:ln>
            </p:spPr>
            <p:txBody>
              <a:bodyPr rtlCol="0" anchor="ctr"/>
              <a:lstStyle/>
              <a:p>
                <a:endParaRPr lang="en-GB" dirty="0"/>
              </a:p>
            </p:txBody>
          </p:sp>
          <p:sp>
            <p:nvSpPr>
              <p:cNvPr id="397" name="Freihandform: Form 884">
                <a:extLst>
                  <a:ext uri="{FF2B5EF4-FFF2-40B4-BE49-F238E27FC236}">
                    <a16:creationId xmlns:a16="http://schemas.microsoft.com/office/drawing/2014/main" id="{11FF2530-5249-4F93-8CD4-633BBF20B4CB}"/>
                  </a:ext>
                </a:extLst>
              </p:cNvPr>
              <p:cNvSpPr/>
              <p:nvPr/>
            </p:nvSpPr>
            <p:spPr>
              <a:xfrm>
                <a:off x="7060614" y="4218912"/>
                <a:ext cx="327878" cy="262193"/>
              </a:xfrm>
              <a:custGeom>
                <a:avLst/>
                <a:gdLst>
                  <a:gd name="connsiteX0" fmla="*/ 255732 w 327878"/>
                  <a:gd name="connsiteY0" fmla="*/ 262194 h 262193"/>
                  <a:gd name="connsiteX1" fmla="*/ 253124 w 327878"/>
                  <a:gd name="connsiteY1" fmla="*/ 261643 h 262193"/>
                  <a:gd name="connsiteX2" fmla="*/ 249734 w 327878"/>
                  <a:gd name="connsiteY2" fmla="*/ 253009 h 262193"/>
                  <a:gd name="connsiteX3" fmla="*/ 311769 w 327878"/>
                  <a:gd name="connsiteY3" fmla="*/ 110307 h 262193"/>
                  <a:gd name="connsiteX4" fmla="*/ 163939 w 327878"/>
                  <a:gd name="connsiteY4" fmla="*/ 16660 h 262193"/>
                  <a:gd name="connsiteX5" fmla="*/ 16109 w 327878"/>
                  <a:gd name="connsiteY5" fmla="*/ 110307 h 262193"/>
                  <a:gd name="connsiteX6" fmla="*/ 78144 w 327878"/>
                  <a:gd name="connsiteY6" fmla="*/ 253009 h 262193"/>
                  <a:gd name="connsiteX7" fmla="*/ 74754 w 327878"/>
                  <a:gd name="connsiteY7" fmla="*/ 261643 h 262193"/>
                  <a:gd name="connsiteX8" fmla="*/ 66120 w 327878"/>
                  <a:gd name="connsiteY8" fmla="*/ 258253 h 262193"/>
                  <a:gd name="connsiteX9" fmla="*/ 550 w 327878"/>
                  <a:gd name="connsiteY9" fmla="*/ 107410 h 262193"/>
                  <a:gd name="connsiteX10" fmla="*/ 984 w 327878"/>
                  <a:gd name="connsiteY10" fmla="*/ 101325 h 262193"/>
                  <a:gd name="connsiteX11" fmla="*/ 6229 w 327878"/>
                  <a:gd name="connsiteY11" fmla="*/ 98225 h 262193"/>
                  <a:gd name="connsiteX12" fmla="*/ 158724 w 327878"/>
                  <a:gd name="connsiteY12" fmla="*/ 2434 h 262193"/>
                  <a:gd name="connsiteX13" fmla="*/ 169155 w 327878"/>
                  <a:gd name="connsiteY13" fmla="*/ 2434 h 262193"/>
                  <a:gd name="connsiteX14" fmla="*/ 321650 w 327878"/>
                  <a:gd name="connsiteY14" fmla="*/ 98225 h 262193"/>
                  <a:gd name="connsiteX15" fmla="*/ 326894 w 327878"/>
                  <a:gd name="connsiteY15" fmla="*/ 101325 h 262193"/>
                  <a:gd name="connsiteX16" fmla="*/ 327329 w 327878"/>
                  <a:gd name="connsiteY16" fmla="*/ 107410 h 262193"/>
                  <a:gd name="connsiteX17" fmla="*/ 261759 w 327878"/>
                  <a:gd name="connsiteY17" fmla="*/ 258253 h 262193"/>
                  <a:gd name="connsiteX18" fmla="*/ 255732 w 327878"/>
                  <a:gd name="connsiteY18" fmla="*/ 262194 h 262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27878" h="262193">
                    <a:moveTo>
                      <a:pt x="255732" y="262194"/>
                    </a:moveTo>
                    <a:cubicBezTo>
                      <a:pt x="254863" y="262194"/>
                      <a:pt x="253964" y="262020"/>
                      <a:pt x="253124" y="261643"/>
                    </a:cubicBezTo>
                    <a:cubicBezTo>
                      <a:pt x="249792" y="260195"/>
                      <a:pt x="248285" y="256341"/>
                      <a:pt x="249734" y="253009"/>
                    </a:cubicBezTo>
                    <a:lnTo>
                      <a:pt x="311769" y="110307"/>
                    </a:lnTo>
                    <a:cubicBezTo>
                      <a:pt x="261295" y="101876"/>
                      <a:pt x="190306" y="46273"/>
                      <a:pt x="163939" y="16660"/>
                    </a:cubicBezTo>
                    <a:cubicBezTo>
                      <a:pt x="137572" y="46273"/>
                      <a:pt x="66583" y="101876"/>
                      <a:pt x="16109" y="110307"/>
                    </a:cubicBezTo>
                    <a:lnTo>
                      <a:pt x="78144" y="253009"/>
                    </a:lnTo>
                    <a:cubicBezTo>
                      <a:pt x="79593" y="256341"/>
                      <a:pt x="78058" y="260195"/>
                      <a:pt x="74754" y="261643"/>
                    </a:cubicBezTo>
                    <a:cubicBezTo>
                      <a:pt x="71422" y="263092"/>
                      <a:pt x="67569" y="261557"/>
                      <a:pt x="66120" y="258253"/>
                    </a:cubicBezTo>
                    <a:lnTo>
                      <a:pt x="550" y="107410"/>
                    </a:lnTo>
                    <a:cubicBezTo>
                      <a:pt x="-320" y="105440"/>
                      <a:pt x="-146" y="103151"/>
                      <a:pt x="984" y="101325"/>
                    </a:cubicBezTo>
                    <a:cubicBezTo>
                      <a:pt x="2114" y="99500"/>
                      <a:pt x="4085" y="98341"/>
                      <a:pt x="6229" y="98225"/>
                    </a:cubicBezTo>
                    <a:cubicBezTo>
                      <a:pt x="55892" y="95907"/>
                      <a:pt x="138557" y="28946"/>
                      <a:pt x="158724" y="2434"/>
                    </a:cubicBezTo>
                    <a:cubicBezTo>
                      <a:pt x="161216" y="-811"/>
                      <a:pt x="166692" y="-811"/>
                      <a:pt x="169155" y="2434"/>
                    </a:cubicBezTo>
                    <a:cubicBezTo>
                      <a:pt x="189321" y="28946"/>
                      <a:pt x="271958" y="95907"/>
                      <a:pt x="321650" y="98225"/>
                    </a:cubicBezTo>
                    <a:cubicBezTo>
                      <a:pt x="323794" y="98341"/>
                      <a:pt x="325764" y="99471"/>
                      <a:pt x="326894" y="101325"/>
                    </a:cubicBezTo>
                    <a:cubicBezTo>
                      <a:pt x="328024" y="103151"/>
                      <a:pt x="328198" y="105440"/>
                      <a:pt x="327329" y="107410"/>
                    </a:cubicBezTo>
                    <a:lnTo>
                      <a:pt x="261759" y="258253"/>
                    </a:lnTo>
                    <a:cubicBezTo>
                      <a:pt x="260658" y="260716"/>
                      <a:pt x="258253" y="262194"/>
                      <a:pt x="255732" y="262194"/>
                    </a:cubicBezTo>
                    <a:close/>
                  </a:path>
                </a:pathLst>
              </a:custGeom>
              <a:solidFill>
                <a:schemeClr val="tx2"/>
              </a:solidFill>
              <a:ln w="2891" cap="flat">
                <a:noFill/>
                <a:prstDash val="solid"/>
                <a:miter/>
              </a:ln>
            </p:spPr>
            <p:txBody>
              <a:bodyPr rtlCol="0" anchor="ctr"/>
              <a:lstStyle/>
              <a:p>
                <a:endParaRPr lang="en-GB" dirty="0"/>
              </a:p>
            </p:txBody>
          </p:sp>
          <p:sp>
            <p:nvSpPr>
              <p:cNvPr id="398" name="Freihandform: Form 885">
                <a:extLst>
                  <a:ext uri="{FF2B5EF4-FFF2-40B4-BE49-F238E27FC236}">
                    <a16:creationId xmlns:a16="http://schemas.microsoft.com/office/drawing/2014/main" id="{881AA018-61B9-41FE-9711-66B60BA8736F}"/>
                  </a:ext>
                </a:extLst>
              </p:cNvPr>
              <p:cNvSpPr/>
              <p:nvPr/>
            </p:nvSpPr>
            <p:spPr>
              <a:xfrm>
                <a:off x="7217976" y="4222071"/>
                <a:ext cx="13096" cy="147540"/>
              </a:xfrm>
              <a:custGeom>
                <a:avLst/>
                <a:gdLst>
                  <a:gd name="connsiteX0" fmla="*/ 6548 w 13096"/>
                  <a:gd name="connsiteY0" fmla="*/ 147540 h 147540"/>
                  <a:gd name="connsiteX1" fmla="*/ 0 w 13096"/>
                  <a:gd name="connsiteY1" fmla="*/ 140992 h 147540"/>
                  <a:gd name="connsiteX2" fmla="*/ 0 w 13096"/>
                  <a:gd name="connsiteY2" fmla="*/ 6548 h 147540"/>
                  <a:gd name="connsiteX3" fmla="*/ 6548 w 13096"/>
                  <a:gd name="connsiteY3" fmla="*/ 0 h 147540"/>
                  <a:gd name="connsiteX4" fmla="*/ 13097 w 13096"/>
                  <a:gd name="connsiteY4" fmla="*/ 6548 h 147540"/>
                  <a:gd name="connsiteX5" fmla="*/ 13097 w 13096"/>
                  <a:gd name="connsiteY5" fmla="*/ 140992 h 147540"/>
                  <a:gd name="connsiteX6" fmla="*/ 6548 w 13096"/>
                  <a:gd name="connsiteY6" fmla="*/ 147540 h 14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96" h="147540">
                    <a:moveTo>
                      <a:pt x="6548" y="147540"/>
                    </a:moveTo>
                    <a:cubicBezTo>
                      <a:pt x="2926" y="147540"/>
                      <a:pt x="0" y="144614"/>
                      <a:pt x="0" y="140992"/>
                    </a:cubicBezTo>
                    <a:lnTo>
                      <a:pt x="0" y="6548"/>
                    </a:lnTo>
                    <a:cubicBezTo>
                      <a:pt x="0" y="2926"/>
                      <a:pt x="2926" y="0"/>
                      <a:pt x="6548" y="0"/>
                    </a:cubicBezTo>
                    <a:cubicBezTo>
                      <a:pt x="10170" y="0"/>
                      <a:pt x="13097" y="2926"/>
                      <a:pt x="13097" y="6548"/>
                    </a:cubicBezTo>
                    <a:lnTo>
                      <a:pt x="13097" y="140992"/>
                    </a:lnTo>
                    <a:cubicBezTo>
                      <a:pt x="13097" y="144614"/>
                      <a:pt x="10170" y="147540"/>
                      <a:pt x="6548" y="147540"/>
                    </a:cubicBezTo>
                    <a:close/>
                  </a:path>
                </a:pathLst>
              </a:custGeom>
              <a:solidFill>
                <a:schemeClr val="tx2"/>
              </a:solidFill>
              <a:ln w="2891" cap="flat">
                <a:noFill/>
                <a:prstDash val="solid"/>
                <a:miter/>
              </a:ln>
            </p:spPr>
            <p:txBody>
              <a:bodyPr rtlCol="0" anchor="ctr"/>
              <a:lstStyle/>
              <a:p>
                <a:endParaRPr lang="en-GB" dirty="0"/>
              </a:p>
            </p:txBody>
          </p:sp>
          <p:sp>
            <p:nvSpPr>
              <p:cNvPr id="399" name="Freihandform: Form 886">
                <a:extLst>
                  <a:ext uri="{FF2B5EF4-FFF2-40B4-BE49-F238E27FC236}">
                    <a16:creationId xmlns:a16="http://schemas.microsoft.com/office/drawing/2014/main" id="{0469CCEE-46AC-413E-A89C-66A0FF0D6DD2}"/>
                  </a:ext>
                </a:extLst>
              </p:cNvPr>
              <p:cNvSpPr/>
              <p:nvPr/>
            </p:nvSpPr>
            <p:spPr>
              <a:xfrm>
                <a:off x="7276192" y="4308943"/>
                <a:ext cx="32788" cy="26245"/>
              </a:xfrm>
              <a:custGeom>
                <a:avLst/>
                <a:gdLst>
                  <a:gd name="connsiteX0" fmla="*/ 26217 w 32788"/>
                  <a:gd name="connsiteY0" fmla="*/ 26246 h 26245"/>
                  <a:gd name="connsiteX1" fmla="*/ 22595 w 32788"/>
                  <a:gd name="connsiteY1" fmla="*/ 25145 h 26245"/>
                  <a:gd name="connsiteX2" fmla="*/ 2921 w 32788"/>
                  <a:gd name="connsiteY2" fmla="*/ 12019 h 26245"/>
                  <a:gd name="connsiteX3" fmla="*/ 1096 w 32788"/>
                  <a:gd name="connsiteY3" fmla="*/ 2921 h 26245"/>
                  <a:gd name="connsiteX4" fmla="*/ 10194 w 32788"/>
                  <a:gd name="connsiteY4" fmla="*/ 1096 h 26245"/>
                  <a:gd name="connsiteX5" fmla="*/ 29868 w 32788"/>
                  <a:gd name="connsiteY5" fmla="*/ 14221 h 26245"/>
                  <a:gd name="connsiteX6" fmla="*/ 31693 w 32788"/>
                  <a:gd name="connsiteY6" fmla="*/ 23319 h 26245"/>
                  <a:gd name="connsiteX7" fmla="*/ 26217 w 32788"/>
                  <a:gd name="connsiteY7" fmla="*/ 26246 h 2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88" h="26245">
                    <a:moveTo>
                      <a:pt x="26217" y="26246"/>
                    </a:moveTo>
                    <a:cubicBezTo>
                      <a:pt x="24971" y="26246"/>
                      <a:pt x="23696" y="25898"/>
                      <a:pt x="22595" y="25145"/>
                    </a:cubicBezTo>
                    <a:lnTo>
                      <a:pt x="2921" y="12019"/>
                    </a:lnTo>
                    <a:cubicBezTo>
                      <a:pt x="-92" y="10020"/>
                      <a:pt x="-904" y="5935"/>
                      <a:pt x="1096" y="2921"/>
                    </a:cubicBezTo>
                    <a:cubicBezTo>
                      <a:pt x="3095" y="-92"/>
                      <a:pt x="7151" y="-904"/>
                      <a:pt x="10194" y="1096"/>
                    </a:cubicBezTo>
                    <a:lnTo>
                      <a:pt x="29868" y="14221"/>
                    </a:lnTo>
                    <a:cubicBezTo>
                      <a:pt x="32881" y="16221"/>
                      <a:pt x="33693" y="20306"/>
                      <a:pt x="31693" y="23319"/>
                    </a:cubicBezTo>
                    <a:cubicBezTo>
                      <a:pt x="30418" y="25203"/>
                      <a:pt x="28332" y="26246"/>
                      <a:pt x="26217" y="26246"/>
                    </a:cubicBezTo>
                    <a:close/>
                  </a:path>
                </a:pathLst>
              </a:custGeom>
              <a:solidFill>
                <a:schemeClr val="tx2"/>
              </a:solidFill>
              <a:ln w="2891" cap="flat">
                <a:noFill/>
                <a:prstDash val="solid"/>
                <a:miter/>
              </a:ln>
            </p:spPr>
            <p:txBody>
              <a:bodyPr rtlCol="0" anchor="ctr"/>
              <a:lstStyle/>
              <a:p>
                <a:endParaRPr lang="en-GB" dirty="0"/>
              </a:p>
            </p:txBody>
          </p:sp>
          <p:sp>
            <p:nvSpPr>
              <p:cNvPr id="400" name="Freihandform: Form 887">
                <a:extLst>
                  <a:ext uri="{FF2B5EF4-FFF2-40B4-BE49-F238E27FC236}">
                    <a16:creationId xmlns:a16="http://schemas.microsoft.com/office/drawing/2014/main" id="{F4B8EF80-C06B-465F-A9B0-65E482D5FA44}"/>
                  </a:ext>
                </a:extLst>
              </p:cNvPr>
              <p:cNvSpPr/>
              <p:nvPr/>
            </p:nvSpPr>
            <p:spPr>
              <a:xfrm>
                <a:off x="7138996" y="4308943"/>
                <a:ext cx="32788" cy="26245"/>
              </a:xfrm>
              <a:custGeom>
                <a:avLst/>
                <a:gdLst>
                  <a:gd name="connsiteX0" fmla="*/ 6572 w 32788"/>
                  <a:gd name="connsiteY0" fmla="*/ 26246 h 26245"/>
                  <a:gd name="connsiteX1" fmla="*/ 1096 w 32788"/>
                  <a:gd name="connsiteY1" fmla="*/ 23319 h 26245"/>
                  <a:gd name="connsiteX2" fmla="*/ 2921 w 32788"/>
                  <a:gd name="connsiteY2" fmla="*/ 14221 h 26245"/>
                  <a:gd name="connsiteX3" fmla="*/ 22595 w 32788"/>
                  <a:gd name="connsiteY3" fmla="*/ 1096 h 26245"/>
                  <a:gd name="connsiteX4" fmla="*/ 31693 w 32788"/>
                  <a:gd name="connsiteY4" fmla="*/ 2921 h 26245"/>
                  <a:gd name="connsiteX5" fmla="*/ 29868 w 32788"/>
                  <a:gd name="connsiteY5" fmla="*/ 12019 h 26245"/>
                  <a:gd name="connsiteX6" fmla="*/ 10194 w 32788"/>
                  <a:gd name="connsiteY6" fmla="*/ 25145 h 26245"/>
                  <a:gd name="connsiteX7" fmla="*/ 6572 w 32788"/>
                  <a:gd name="connsiteY7" fmla="*/ 26246 h 2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88" h="26245">
                    <a:moveTo>
                      <a:pt x="6572" y="26246"/>
                    </a:moveTo>
                    <a:cubicBezTo>
                      <a:pt x="4457" y="26246"/>
                      <a:pt x="2371" y="25232"/>
                      <a:pt x="1096" y="23319"/>
                    </a:cubicBezTo>
                    <a:cubicBezTo>
                      <a:pt x="-904" y="20306"/>
                      <a:pt x="-92" y="16250"/>
                      <a:pt x="2921" y="14221"/>
                    </a:cubicBezTo>
                    <a:lnTo>
                      <a:pt x="22595" y="1096"/>
                    </a:lnTo>
                    <a:cubicBezTo>
                      <a:pt x="25609" y="-904"/>
                      <a:pt x="29665" y="-92"/>
                      <a:pt x="31693" y="2921"/>
                    </a:cubicBezTo>
                    <a:cubicBezTo>
                      <a:pt x="33692" y="5935"/>
                      <a:pt x="32881" y="9991"/>
                      <a:pt x="29868" y="12019"/>
                    </a:cubicBezTo>
                    <a:lnTo>
                      <a:pt x="10194" y="25145"/>
                    </a:lnTo>
                    <a:cubicBezTo>
                      <a:pt x="9064" y="25869"/>
                      <a:pt x="7818" y="26246"/>
                      <a:pt x="6572" y="26246"/>
                    </a:cubicBezTo>
                    <a:close/>
                  </a:path>
                </a:pathLst>
              </a:custGeom>
              <a:solidFill>
                <a:schemeClr val="tx2"/>
              </a:solidFill>
              <a:ln w="2891" cap="flat">
                <a:noFill/>
                <a:prstDash val="solid"/>
                <a:miter/>
              </a:ln>
            </p:spPr>
            <p:txBody>
              <a:bodyPr rtlCol="0" anchor="ctr"/>
              <a:lstStyle/>
              <a:p>
                <a:endParaRPr lang="en-GB" dirty="0"/>
              </a:p>
            </p:txBody>
          </p:sp>
          <p:sp>
            <p:nvSpPr>
              <p:cNvPr id="401" name="Freihandform: Form 888">
                <a:extLst>
                  <a:ext uri="{FF2B5EF4-FFF2-40B4-BE49-F238E27FC236}">
                    <a16:creationId xmlns:a16="http://schemas.microsoft.com/office/drawing/2014/main" id="{E44822C4-58AC-4EDB-A412-4F84B314B2AF}"/>
                  </a:ext>
                </a:extLst>
              </p:cNvPr>
              <p:cNvSpPr/>
              <p:nvPr/>
            </p:nvSpPr>
            <p:spPr>
              <a:xfrm>
                <a:off x="7145858" y="4172900"/>
                <a:ext cx="157362" cy="39318"/>
              </a:xfrm>
              <a:custGeom>
                <a:avLst/>
                <a:gdLst>
                  <a:gd name="connsiteX0" fmla="*/ 150814 w 157362"/>
                  <a:gd name="connsiteY0" fmla="*/ 39319 h 39318"/>
                  <a:gd name="connsiteX1" fmla="*/ 144266 w 157362"/>
                  <a:gd name="connsiteY1" fmla="*/ 32771 h 39318"/>
                  <a:gd name="connsiteX2" fmla="*/ 144266 w 157362"/>
                  <a:gd name="connsiteY2" fmla="*/ 13097 h 39318"/>
                  <a:gd name="connsiteX3" fmla="*/ 13097 w 157362"/>
                  <a:gd name="connsiteY3" fmla="*/ 13097 h 39318"/>
                  <a:gd name="connsiteX4" fmla="*/ 13097 w 157362"/>
                  <a:gd name="connsiteY4" fmla="*/ 32771 h 39318"/>
                  <a:gd name="connsiteX5" fmla="*/ 6548 w 157362"/>
                  <a:gd name="connsiteY5" fmla="*/ 39319 h 39318"/>
                  <a:gd name="connsiteX6" fmla="*/ 0 w 157362"/>
                  <a:gd name="connsiteY6" fmla="*/ 32771 h 39318"/>
                  <a:gd name="connsiteX7" fmla="*/ 0 w 157362"/>
                  <a:gd name="connsiteY7" fmla="*/ 6548 h 39318"/>
                  <a:gd name="connsiteX8" fmla="*/ 6548 w 157362"/>
                  <a:gd name="connsiteY8" fmla="*/ 0 h 39318"/>
                  <a:gd name="connsiteX9" fmla="*/ 150814 w 157362"/>
                  <a:gd name="connsiteY9" fmla="*/ 0 h 39318"/>
                  <a:gd name="connsiteX10" fmla="*/ 157363 w 157362"/>
                  <a:gd name="connsiteY10" fmla="*/ 6548 h 39318"/>
                  <a:gd name="connsiteX11" fmla="*/ 157363 w 157362"/>
                  <a:gd name="connsiteY11" fmla="*/ 32771 h 39318"/>
                  <a:gd name="connsiteX12" fmla="*/ 150814 w 157362"/>
                  <a:gd name="connsiteY12" fmla="*/ 39319 h 39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362" h="39318">
                    <a:moveTo>
                      <a:pt x="150814" y="39319"/>
                    </a:moveTo>
                    <a:cubicBezTo>
                      <a:pt x="147193" y="39319"/>
                      <a:pt x="144266" y="36393"/>
                      <a:pt x="144266" y="32771"/>
                    </a:cubicBezTo>
                    <a:lnTo>
                      <a:pt x="144266" y="13097"/>
                    </a:lnTo>
                    <a:lnTo>
                      <a:pt x="13097" y="13097"/>
                    </a:lnTo>
                    <a:lnTo>
                      <a:pt x="13097" y="32771"/>
                    </a:lnTo>
                    <a:cubicBezTo>
                      <a:pt x="13097" y="36393"/>
                      <a:pt x="10170" y="39319"/>
                      <a:pt x="6548" y="39319"/>
                    </a:cubicBezTo>
                    <a:cubicBezTo>
                      <a:pt x="2926" y="39319"/>
                      <a:pt x="0" y="36393"/>
                      <a:pt x="0" y="32771"/>
                    </a:cubicBezTo>
                    <a:lnTo>
                      <a:pt x="0" y="6548"/>
                    </a:lnTo>
                    <a:cubicBezTo>
                      <a:pt x="0" y="2926"/>
                      <a:pt x="2926" y="0"/>
                      <a:pt x="6548" y="0"/>
                    </a:cubicBezTo>
                    <a:lnTo>
                      <a:pt x="150814" y="0"/>
                    </a:lnTo>
                    <a:cubicBezTo>
                      <a:pt x="154436" y="0"/>
                      <a:pt x="157363" y="2926"/>
                      <a:pt x="157363" y="6548"/>
                    </a:cubicBezTo>
                    <a:lnTo>
                      <a:pt x="157363" y="32771"/>
                    </a:lnTo>
                    <a:cubicBezTo>
                      <a:pt x="157363" y="36393"/>
                      <a:pt x="154436" y="39319"/>
                      <a:pt x="150814" y="39319"/>
                    </a:cubicBezTo>
                    <a:close/>
                  </a:path>
                </a:pathLst>
              </a:custGeom>
              <a:solidFill>
                <a:schemeClr val="tx2"/>
              </a:solidFill>
              <a:ln w="2891" cap="flat">
                <a:noFill/>
                <a:prstDash val="solid"/>
                <a:miter/>
              </a:ln>
            </p:spPr>
            <p:txBody>
              <a:bodyPr rtlCol="0" anchor="ctr"/>
              <a:lstStyle/>
              <a:p>
                <a:endParaRPr lang="en-GB" dirty="0"/>
              </a:p>
            </p:txBody>
          </p:sp>
        </p:grpSp>
        <p:grpSp>
          <p:nvGrpSpPr>
            <p:cNvPr id="389" name="Gruppieren 1050">
              <a:extLst>
                <a:ext uri="{FF2B5EF4-FFF2-40B4-BE49-F238E27FC236}">
                  <a16:creationId xmlns:a16="http://schemas.microsoft.com/office/drawing/2014/main" id="{643842FA-2A2D-4A46-B44F-8D971923BAFA}"/>
                </a:ext>
              </a:extLst>
            </p:cNvPr>
            <p:cNvGrpSpPr/>
            <p:nvPr/>
          </p:nvGrpSpPr>
          <p:grpSpPr>
            <a:xfrm>
              <a:off x="7060554" y="4468002"/>
              <a:ext cx="327942" cy="64012"/>
              <a:chOff x="7060554" y="4468002"/>
              <a:chExt cx="327942" cy="64012"/>
            </a:xfrm>
          </p:grpSpPr>
          <p:sp>
            <p:nvSpPr>
              <p:cNvPr id="390" name="Freihandform: Form 889">
                <a:extLst>
                  <a:ext uri="{FF2B5EF4-FFF2-40B4-BE49-F238E27FC236}">
                    <a16:creationId xmlns:a16="http://schemas.microsoft.com/office/drawing/2014/main" id="{AC70846A-B097-421A-AFCD-D3BE7652DFD2}"/>
                  </a:ext>
                </a:extLst>
              </p:cNvPr>
              <p:cNvSpPr/>
              <p:nvPr/>
            </p:nvSpPr>
            <p:spPr>
              <a:xfrm>
                <a:off x="7060554" y="4468002"/>
                <a:ext cx="327942" cy="24664"/>
              </a:xfrm>
              <a:custGeom>
                <a:avLst/>
                <a:gdLst>
                  <a:gd name="connsiteX0" fmla="*/ 321363 w 327942"/>
                  <a:gd name="connsiteY0" fmla="*/ 24665 h 24664"/>
                  <a:gd name="connsiteX1" fmla="*/ 318436 w 327942"/>
                  <a:gd name="connsiteY1" fmla="*/ 23970 h 24664"/>
                  <a:gd name="connsiteX2" fmla="*/ 298067 w 327942"/>
                  <a:gd name="connsiteY2" fmla="*/ 13799 h 24664"/>
                  <a:gd name="connsiteX3" fmla="*/ 292185 w 327942"/>
                  <a:gd name="connsiteY3" fmla="*/ 13799 h 24664"/>
                  <a:gd name="connsiteX4" fmla="*/ 277698 w 327942"/>
                  <a:gd name="connsiteY4" fmla="*/ 21043 h 24664"/>
                  <a:gd name="connsiteX5" fmla="*/ 260110 w 327942"/>
                  <a:gd name="connsiteY5" fmla="*/ 21043 h 24664"/>
                  <a:gd name="connsiteX6" fmla="*/ 245593 w 327942"/>
                  <a:gd name="connsiteY6" fmla="*/ 13799 h 24664"/>
                  <a:gd name="connsiteX7" fmla="*/ 239740 w 327942"/>
                  <a:gd name="connsiteY7" fmla="*/ 13799 h 24664"/>
                  <a:gd name="connsiteX8" fmla="*/ 225253 w 327942"/>
                  <a:gd name="connsiteY8" fmla="*/ 21043 h 24664"/>
                  <a:gd name="connsiteX9" fmla="*/ 207665 w 327942"/>
                  <a:gd name="connsiteY9" fmla="*/ 21043 h 24664"/>
                  <a:gd name="connsiteX10" fmla="*/ 193149 w 327942"/>
                  <a:gd name="connsiteY10" fmla="*/ 13799 h 24664"/>
                  <a:gd name="connsiteX11" fmla="*/ 187267 w 327942"/>
                  <a:gd name="connsiteY11" fmla="*/ 13799 h 24664"/>
                  <a:gd name="connsiteX12" fmla="*/ 172779 w 327942"/>
                  <a:gd name="connsiteY12" fmla="*/ 21043 h 24664"/>
                  <a:gd name="connsiteX13" fmla="*/ 155192 w 327942"/>
                  <a:gd name="connsiteY13" fmla="*/ 21043 h 24664"/>
                  <a:gd name="connsiteX14" fmla="*/ 140675 w 327942"/>
                  <a:gd name="connsiteY14" fmla="*/ 13799 h 24664"/>
                  <a:gd name="connsiteX15" fmla="*/ 134822 w 327942"/>
                  <a:gd name="connsiteY15" fmla="*/ 13799 h 24664"/>
                  <a:gd name="connsiteX16" fmla="*/ 120335 w 327942"/>
                  <a:gd name="connsiteY16" fmla="*/ 21043 h 24664"/>
                  <a:gd name="connsiteX17" fmla="*/ 102747 w 327942"/>
                  <a:gd name="connsiteY17" fmla="*/ 21043 h 24664"/>
                  <a:gd name="connsiteX18" fmla="*/ 88231 w 327942"/>
                  <a:gd name="connsiteY18" fmla="*/ 13799 h 24664"/>
                  <a:gd name="connsiteX19" fmla="*/ 82349 w 327942"/>
                  <a:gd name="connsiteY19" fmla="*/ 13799 h 24664"/>
                  <a:gd name="connsiteX20" fmla="*/ 67861 w 327942"/>
                  <a:gd name="connsiteY20" fmla="*/ 21043 h 24664"/>
                  <a:gd name="connsiteX21" fmla="*/ 50274 w 327942"/>
                  <a:gd name="connsiteY21" fmla="*/ 21043 h 24664"/>
                  <a:gd name="connsiteX22" fmla="*/ 35757 w 327942"/>
                  <a:gd name="connsiteY22" fmla="*/ 13799 h 24664"/>
                  <a:gd name="connsiteX23" fmla="*/ 29875 w 327942"/>
                  <a:gd name="connsiteY23" fmla="*/ 13799 h 24664"/>
                  <a:gd name="connsiteX24" fmla="*/ 9506 w 327942"/>
                  <a:gd name="connsiteY24" fmla="*/ 23970 h 24664"/>
                  <a:gd name="connsiteX25" fmla="*/ 697 w 327942"/>
                  <a:gd name="connsiteY25" fmla="*/ 21043 h 24664"/>
                  <a:gd name="connsiteX26" fmla="*/ 3624 w 327942"/>
                  <a:gd name="connsiteY26" fmla="*/ 12235 h 24664"/>
                  <a:gd name="connsiteX27" fmla="*/ 23993 w 327942"/>
                  <a:gd name="connsiteY27" fmla="*/ 2064 h 24664"/>
                  <a:gd name="connsiteX28" fmla="*/ 41581 w 327942"/>
                  <a:gd name="connsiteY28" fmla="*/ 2064 h 24664"/>
                  <a:gd name="connsiteX29" fmla="*/ 56098 w 327942"/>
                  <a:gd name="connsiteY29" fmla="*/ 9308 h 24664"/>
                  <a:gd name="connsiteX30" fmla="*/ 61979 w 327942"/>
                  <a:gd name="connsiteY30" fmla="*/ 9308 h 24664"/>
                  <a:gd name="connsiteX31" fmla="*/ 76467 w 327942"/>
                  <a:gd name="connsiteY31" fmla="*/ 2064 h 24664"/>
                  <a:gd name="connsiteX32" fmla="*/ 94055 w 327942"/>
                  <a:gd name="connsiteY32" fmla="*/ 2064 h 24664"/>
                  <a:gd name="connsiteX33" fmla="*/ 108571 w 327942"/>
                  <a:gd name="connsiteY33" fmla="*/ 9308 h 24664"/>
                  <a:gd name="connsiteX34" fmla="*/ 114453 w 327942"/>
                  <a:gd name="connsiteY34" fmla="*/ 9308 h 24664"/>
                  <a:gd name="connsiteX35" fmla="*/ 128940 w 327942"/>
                  <a:gd name="connsiteY35" fmla="*/ 2064 h 24664"/>
                  <a:gd name="connsiteX36" fmla="*/ 146528 w 327942"/>
                  <a:gd name="connsiteY36" fmla="*/ 2064 h 24664"/>
                  <a:gd name="connsiteX37" fmla="*/ 161045 w 327942"/>
                  <a:gd name="connsiteY37" fmla="*/ 9308 h 24664"/>
                  <a:gd name="connsiteX38" fmla="*/ 166927 w 327942"/>
                  <a:gd name="connsiteY38" fmla="*/ 9308 h 24664"/>
                  <a:gd name="connsiteX39" fmla="*/ 181414 w 327942"/>
                  <a:gd name="connsiteY39" fmla="*/ 2064 h 24664"/>
                  <a:gd name="connsiteX40" fmla="*/ 199002 w 327942"/>
                  <a:gd name="connsiteY40" fmla="*/ 2064 h 24664"/>
                  <a:gd name="connsiteX41" fmla="*/ 213518 w 327942"/>
                  <a:gd name="connsiteY41" fmla="*/ 9308 h 24664"/>
                  <a:gd name="connsiteX42" fmla="*/ 219400 w 327942"/>
                  <a:gd name="connsiteY42" fmla="*/ 9308 h 24664"/>
                  <a:gd name="connsiteX43" fmla="*/ 233888 w 327942"/>
                  <a:gd name="connsiteY43" fmla="*/ 2064 h 24664"/>
                  <a:gd name="connsiteX44" fmla="*/ 251475 w 327942"/>
                  <a:gd name="connsiteY44" fmla="*/ 2064 h 24664"/>
                  <a:gd name="connsiteX45" fmla="*/ 265992 w 327942"/>
                  <a:gd name="connsiteY45" fmla="*/ 9308 h 24664"/>
                  <a:gd name="connsiteX46" fmla="*/ 271874 w 327942"/>
                  <a:gd name="connsiteY46" fmla="*/ 9308 h 24664"/>
                  <a:gd name="connsiteX47" fmla="*/ 286361 w 327942"/>
                  <a:gd name="connsiteY47" fmla="*/ 2064 h 24664"/>
                  <a:gd name="connsiteX48" fmla="*/ 303949 w 327942"/>
                  <a:gd name="connsiteY48" fmla="*/ 2064 h 24664"/>
                  <a:gd name="connsiteX49" fmla="*/ 324318 w 327942"/>
                  <a:gd name="connsiteY49" fmla="*/ 12235 h 24664"/>
                  <a:gd name="connsiteX50" fmla="*/ 327245 w 327942"/>
                  <a:gd name="connsiteY50" fmla="*/ 21043 h 24664"/>
                  <a:gd name="connsiteX51" fmla="*/ 321363 w 327942"/>
                  <a:gd name="connsiteY51" fmla="*/ 24665 h 2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27942" h="24664">
                    <a:moveTo>
                      <a:pt x="321363" y="24665"/>
                    </a:moveTo>
                    <a:cubicBezTo>
                      <a:pt x="320378" y="24665"/>
                      <a:pt x="319364" y="24433"/>
                      <a:pt x="318436" y="23970"/>
                    </a:cubicBezTo>
                    <a:lnTo>
                      <a:pt x="298067" y="13799"/>
                    </a:lnTo>
                    <a:cubicBezTo>
                      <a:pt x="296242" y="12872"/>
                      <a:pt x="294040" y="12872"/>
                      <a:pt x="292185" y="13799"/>
                    </a:cubicBezTo>
                    <a:lnTo>
                      <a:pt x="277698" y="21043"/>
                    </a:lnTo>
                    <a:cubicBezTo>
                      <a:pt x="272192" y="23796"/>
                      <a:pt x="265615" y="23796"/>
                      <a:pt x="260110" y="21043"/>
                    </a:cubicBezTo>
                    <a:lnTo>
                      <a:pt x="245593" y="13799"/>
                    </a:lnTo>
                    <a:cubicBezTo>
                      <a:pt x="243768" y="12872"/>
                      <a:pt x="241566" y="12872"/>
                      <a:pt x="239740" y="13799"/>
                    </a:cubicBezTo>
                    <a:lnTo>
                      <a:pt x="225253" y="21043"/>
                    </a:lnTo>
                    <a:cubicBezTo>
                      <a:pt x="219748" y="23796"/>
                      <a:pt x="213171" y="23796"/>
                      <a:pt x="207665" y="21043"/>
                    </a:cubicBezTo>
                    <a:lnTo>
                      <a:pt x="193149" y="13799"/>
                    </a:lnTo>
                    <a:cubicBezTo>
                      <a:pt x="191323" y="12872"/>
                      <a:pt x="189121" y="12872"/>
                      <a:pt x="187267" y="13799"/>
                    </a:cubicBezTo>
                    <a:lnTo>
                      <a:pt x="172779" y="21043"/>
                    </a:lnTo>
                    <a:cubicBezTo>
                      <a:pt x="167274" y="23796"/>
                      <a:pt x="160697" y="23796"/>
                      <a:pt x="155192" y="21043"/>
                    </a:cubicBezTo>
                    <a:lnTo>
                      <a:pt x="140675" y="13799"/>
                    </a:lnTo>
                    <a:cubicBezTo>
                      <a:pt x="138850" y="12872"/>
                      <a:pt x="136648" y="12872"/>
                      <a:pt x="134822" y="13799"/>
                    </a:cubicBezTo>
                    <a:lnTo>
                      <a:pt x="120335" y="21043"/>
                    </a:lnTo>
                    <a:cubicBezTo>
                      <a:pt x="114830" y="23796"/>
                      <a:pt x="108252" y="23796"/>
                      <a:pt x="102747" y="21043"/>
                    </a:cubicBezTo>
                    <a:lnTo>
                      <a:pt x="88231" y="13799"/>
                    </a:lnTo>
                    <a:cubicBezTo>
                      <a:pt x="86405" y="12872"/>
                      <a:pt x="84203" y="12872"/>
                      <a:pt x="82349" y="13799"/>
                    </a:cubicBezTo>
                    <a:lnTo>
                      <a:pt x="67861" y="21043"/>
                    </a:lnTo>
                    <a:cubicBezTo>
                      <a:pt x="62356" y="23796"/>
                      <a:pt x="55779" y="23796"/>
                      <a:pt x="50274" y="21043"/>
                    </a:cubicBezTo>
                    <a:lnTo>
                      <a:pt x="35757" y="13799"/>
                    </a:lnTo>
                    <a:cubicBezTo>
                      <a:pt x="33932" y="12872"/>
                      <a:pt x="31730" y="12872"/>
                      <a:pt x="29875" y="13799"/>
                    </a:cubicBezTo>
                    <a:lnTo>
                      <a:pt x="9506" y="23970"/>
                    </a:lnTo>
                    <a:cubicBezTo>
                      <a:pt x="6261" y="25563"/>
                      <a:pt x="2320" y="24288"/>
                      <a:pt x="697" y="21043"/>
                    </a:cubicBezTo>
                    <a:cubicBezTo>
                      <a:pt x="-925" y="17798"/>
                      <a:pt x="379" y="13857"/>
                      <a:pt x="3624" y="12235"/>
                    </a:cubicBezTo>
                    <a:lnTo>
                      <a:pt x="23993" y="2064"/>
                    </a:lnTo>
                    <a:cubicBezTo>
                      <a:pt x="29498" y="-688"/>
                      <a:pt x="36076" y="-688"/>
                      <a:pt x="41581" y="2064"/>
                    </a:cubicBezTo>
                    <a:lnTo>
                      <a:pt x="56098" y="9308"/>
                    </a:lnTo>
                    <a:cubicBezTo>
                      <a:pt x="57923" y="10235"/>
                      <a:pt x="60125" y="10235"/>
                      <a:pt x="61979" y="9308"/>
                    </a:cubicBezTo>
                    <a:lnTo>
                      <a:pt x="76467" y="2064"/>
                    </a:lnTo>
                    <a:cubicBezTo>
                      <a:pt x="81972" y="-688"/>
                      <a:pt x="88549" y="-688"/>
                      <a:pt x="94055" y="2064"/>
                    </a:cubicBezTo>
                    <a:lnTo>
                      <a:pt x="108571" y="9308"/>
                    </a:lnTo>
                    <a:cubicBezTo>
                      <a:pt x="110397" y="10235"/>
                      <a:pt x="112599" y="10235"/>
                      <a:pt x="114453" y="9308"/>
                    </a:cubicBezTo>
                    <a:lnTo>
                      <a:pt x="128940" y="2064"/>
                    </a:lnTo>
                    <a:cubicBezTo>
                      <a:pt x="134446" y="-688"/>
                      <a:pt x="141023" y="-688"/>
                      <a:pt x="146528" y="2064"/>
                    </a:cubicBezTo>
                    <a:lnTo>
                      <a:pt x="161045" y="9308"/>
                    </a:lnTo>
                    <a:cubicBezTo>
                      <a:pt x="162870" y="10235"/>
                      <a:pt x="165072" y="10235"/>
                      <a:pt x="166927" y="9308"/>
                    </a:cubicBezTo>
                    <a:lnTo>
                      <a:pt x="181414" y="2064"/>
                    </a:lnTo>
                    <a:cubicBezTo>
                      <a:pt x="186919" y="-688"/>
                      <a:pt x="193497" y="-688"/>
                      <a:pt x="199002" y="2064"/>
                    </a:cubicBezTo>
                    <a:lnTo>
                      <a:pt x="213518" y="9308"/>
                    </a:lnTo>
                    <a:cubicBezTo>
                      <a:pt x="215344" y="10235"/>
                      <a:pt x="217546" y="10235"/>
                      <a:pt x="219400" y="9308"/>
                    </a:cubicBezTo>
                    <a:lnTo>
                      <a:pt x="233888" y="2064"/>
                    </a:lnTo>
                    <a:cubicBezTo>
                      <a:pt x="239393" y="-688"/>
                      <a:pt x="245970" y="-688"/>
                      <a:pt x="251475" y="2064"/>
                    </a:cubicBezTo>
                    <a:lnTo>
                      <a:pt x="265992" y="9308"/>
                    </a:lnTo>
                    <a:cubicBezTo>
                      <a:pt x="267817" y="10235"/>
                      <a:pt x="270019" y="10235"/>
                      <a:pt x="271874" y="9308"/>
                    </a:cubicBezTo>
                    <a:lnTo>
                      <a:pt x="286361" y="2064"/>
                    </a:lnTo>
                    <a:cubicBezTo>
                      <a:pt x="291867" y="-688"/>
                      <a:pt x="298444" y="-688"/>
                      <a:pt x="303949" y="2064"/>
                    </a:cubicBezTo>
                    <a:lnTo>
                      <a:pt x="324318" y="12235"/>
                    </a:lnTo>
                    <a:cubicBezTo>
                      <a:pt x="327564" y="13857"/>
                      <a:pt x="328867" y="17798"/>
                      <a:pt x="327245" y="21043"/>
                    </a:cubicBezTo>
                    <a:cubicBezTo>
                      <a:pt x="326086" y="23332"/>
                      <a:pt x="323768" y="24665"/>
                      <a:pt x="321363" y="24665"/>
                    </a:cubicBezTo>
                    <a:close/>
                  </a:path>
                </a:pathLst>
              </a:custGeom>
              <a:solidFill>
                <a:schemeClr val="accent1"/>
              </a:solidFill>
              <a:ln w="2891" cap="flat">
                <a:noFill/>
                <a:prstDash val="solid"/>
                <a:miter/>
              </a:ln>
            </p:spPr>
            <p:txBody>
              <a:bodyPr rtlCol="0" anchor="ctr"/>
              <a:lstStyle/>
              <a:p>
                <a:endParaRPr lang="en-GB" dirty="0"/>
              </a:p>
            </p:txBody>
          </p:sp>
          <p:sp>
            <p:nvSpPr>
              <p:cNvPr id="391" name="Freihandform: Form 890">
                <a:extLst>
                  <a:ext uri="{FF2B5EF4-FFF2-40B4-BE49-F238E27FC236}">
                    <a16:creationId xmlns:a16="http://schemas.microsoft.com/office/drawing/2014/main" id="{D3DB67A3-5DC0-4A3B-AAC6-E5BFD837F038}"/>
                  </a:ext>
                </a:extLst>
              </p:cNvPr>
              <p:cNvSpPr/>
              <p:nvPr/>
            </p:nvSpPr>
            <p:spPr>
              <a:xfrm>
                <a:off x="7086805" y="4507350"/>
                <a:ext cx="269615" cy="24664"/>
              </a:xfrm>
              <a:custGeom>
                <a:avLst/>
                <a:gdLst>
                  <a:gd name="connsiteX0" fmla="*/ 6579 w 269615"/>
                  <a:gd name="connsiteY0" fmla="*/ 24665 h 24664"/>
                  <a:gd name="connsiteX1" fmla="*/ 697 w 269615"/>
                  <a:gd name="connsiteY1" fmla="*/ 21043 h 24664"/>
                  <a:gd name="connsiteX2" fmla="*/ 3624 w 269615"/>
                  <a:gd name="connsiteY2" fmla="*/ 12235 h 24664"/>
                  <a:gd name="connsiteX3" fmla="*/ 23993 w 269615"/>
                  <a:gd name="connsiteY3" fmla="*/ 2064 h 24664"/>
                  <a:gd name="connsiteX4" fmla="*/ 41581 w 269615"/>
                  <a:gd name="connsiteY4" fmla="*/ 2064 h 24664"/>
                  <a:gd name="connsiteX5" fmla="*/ 56097 w 269615"/>
                  <a:gd name="connsiteY5" fmla="*/ 9308 h 24664"/>
                  <a:gd name="connsiteX6" fmla="*/ 61979 w 269615"/>
                  <a:gd name="connsiteY6" fmla="*/ 9308 h 24664"/>
                  <a:gd name="connsiteX7" fmla="*/ 76467 w 269615"/>
                  <a:gd name="connsiteY7" fmla="*/ 2064 h 24664"/>
                  <a:gd name="connsiteX8" fmla="*/ 94055 w 269615"/>
                  <a:gd name="connsiteY8" fmla="*/ 2064 h 24664"/>
                  <a:gd name="connsiteX9" fmla="*/ 108571 w 269615"/>
                  <a:gd name="connsiteY9" fmla="*/ 9308 h 24664"/>
                  <a:gd name="connsiteX10" fmla="*/ 114453 w 269615"/>
                  <a:gd name="connsiteY10" fmla="*/ 9308 h 24664"/>
                  <a:gd name="connsiteX11" fmla="*/ 128940 w 269615"/>
                  <a:gd name="connsiteY11" fmla="*/ 2064 h 24664"/>
                  <a:gd name="connsiteX12" fmla="*/ 146528 w 269615"/>
                  <a:gd name="connsiteY12" fmla="*/ 2064 h 24664"/>
                  <a:gd name="connsiteX13" fmla="*/ 161045 w 269615"/>
                  <a:gd name="connsiteY13" fmla="*/ 9308 h 24664"/>
                  <a:gd name="connsiteX14" fmla="*/ 166927 w 269615"/>
                  <a:gd name="connsiteY14" fmla="*/ 9308 h 24664"/>
                  <a:gd name="connsiteX15" fmla="*/ 181414 w 269615"/>
                  <a:gd name="connsiteY15" fmla="*/ 2064 h 24664"/>
                  <a:gd name="connsiteX16" fmla="*/ 199002 w 269615"/>
                  <a:gd name="connsiteY16" fmla="*/ 2064 h 24664"/>
                  <a:gd name="connsiteX17" fmla="*/ 213518 w 269615"/>
                  <a:gd name="connsiteY17" fmla="*/ 9308 h 24664"/>
                  <a:gd name="connsiteX18" fmla="*/ 219400 w 269615"/>
                  <a:gd name="connsiteY18" fmla="*/ 9308 h 24664"/>
                  <a:gd name="connsiteX19" fmla="*/ 233888 w 269615"/>
                  <a:gd name="connsiteY19" fmla="*/ 2064 h 24664"/>
                  <a:gd name="connsiteX20" fmla="*/ 251475 w 269615"/>
                  <a:gd name="connsiteY20" fmla="*/ 2064 h 24664"/>
                  <a:gd name="connsiteX21" fmla="*/ 265992 w 269615"/>
                  <a:gd name="connsiteY21" fmla="*/ 9308 h 24664"/>
                  <a:gd name="connsiteX22" fmla="*/ 268918 w 269615"/>
                  <a:gd name="connsiteY22" fmla="*/ 18117 h 24664"/>
                  <a:gd name="connsiteX23" fmla="*/ 260110 w 269615"/>
                  <a:gd name="connsiteY23" fmla="*/ 21043 h 24664"/>
                  <a:gd name="connsiteX24" fmla="*/ 245593 w 269615"/>
                  <a:gd name="connsiteY24" fmla="*/ 13799 h 24664"/>
                  <a:gd name="connsiteX25" fmla="*/ 239741 w 269615"/>
                  <a:gd name="connsiteY25" fmla="*/ 13799 h 24664"/>
                  <a:gd name="connsiteX26" fmla="*/ 225253 w 269615"/>
                  <a:gd name="connsiteY26" fmla="*/ 21043 h 24664"/>
                  <a:gd name="connsiteX27" fmla="*/ 207665 w 269615"/>
                  <a:gd name="connsiteY27" fmla="*/ 21043 h 24664"/>
                  <a:gd name="connsiteX28" fmla="*/ 193149 w 269615"/>
                  <a:gd name="connsiteY28" fmla="*/ 13799 h 24664"/>
                  <a:gd name="connsiteX29" fmla="*/ 187267 w 269615"/>
                  <a:gd name="connsiteY29" fmla="*/ 13799 h 24664"/>
                  <a:gd name="connsiteX30" fmla="*/ 172779 w 269615"/>
                  <a:gd name="connsiteY30" fmla="*/ 21043 h 24664"/>
                  <a:gd name="connsiteX31" fmla="*/ 155192 w 269615"/>
                  <a:gd name="connsiteY31" fmla="*/ 21043 h 24664"/>
                  <a:gd name="connsiteX32" fmla="*/ 140675 w 269615"/>
                  <a:gd name="connsiteY32" fmla="*/ 13799 h 24664"/>
                  <a:gd name="connsiteX33" fmla="*/ 134822 w 269615"/>
                  <a:gd name="connsiteY33" fmla="*/ 13799 h 24664"/>
                  <a:gd name="connsiteX34" fmla="*/ 120335 w 269615"/>
                  <a:gd name="connsiteY34" fmla="*/ 21043 h 24664"/>
                  <a:gd name="connsiteX35" fmla="*/ 102747 w 269615"/>
                  <a:gd name="connsiteY35" fmla="*/ 21043 h 24664"/>
                  <a:gd name="connsiteX36" fmla="*/ 88231 w 269615"/>
                  <a:gd name="connsiteY36" fmla="*/ 13799 h 24664"/>
                  <a:gd name="connsiteX37" fmla="*/ 82349 w 269615"/>
                  <a:gd name="connsiteY37" fmla="*/ 13799 h 24664"/>
                  <a:gd name="connsiteX38" fmla="*/ 67861 w 269615"/>
                  <a:gd name="connsiteY38" fmla="*/ 21043 h 24664"/>
                  <a:gd name="connsiteX39" fmla="*/ 50274 w 269615"/>
                  <a:gd name="connsiteY39" fmla="*/ 21043 h 24664"/>
                  <a:gd name="connsiteX40" fmla="*/ 35757 w 269615"/>
                  <a:gd name="connsiteY40" fmla="*/ 13799 h 24664"/>
                  <a:gd name="connsiteX41" fmla="*/ 29875 w 269615"/>
                  <a:gd name="connsiteY41" fmla="*/ 13799 h 24664"/>
                  <a:gd name="connsiteX42" fmla="*/ 9506 w 269615"/>
                  <a:gd name="connsiteY42" fmla="*/ 23970 h 24664"/>
                  <a:gd name="connsiteX43" fmla="*/ 6579 w 269615"/>
                  <a:gd name="connsiteY43" fmla="*/ 24665 h 24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69615" h="24664">
                    <a:moveTo>
                      <a:pt x="6579" y="24665"/>
                    </a:moveTo>
                    <a:cubicBezTo>
                      <a:pt x="4174" y="24665"/>
                      <a:pt x="1856" y="23332"/>
                      <a:pt x="697" y="21043"/>
                    </a:cubicBezTo>
                    <a:cubicBezTo>
                      <a:pt x="-925" y="17798"/>
                      <a:pt x="379" y="13857"/>
                      <a:pt x="3624" y="12235"/>
                    </a:cubicBezTo>
                    <a:lnTo>
                      <a:pt x="23993" y="2064"/>
                    </a:lnTo>
                    <a:cubicBezTo>
                      <a:pt x="29498" y="-688"/>
                      <a:pt x="36076" y="-688"/>
                      <a:pt x="41581" y="2064"/>
                    </a:cubicBezTo>
                    <a:lnTo>
                      <a:pt x="56097" y="9308"/>
                    </a:lnTo>
                    <a:cubicBezTo>
                      <a:pt x="57923" y="10235"/>
                      <a:pt x="60125" y="10235"/>
                      <a:pt x="61979" y="9308"/>
                    </a:cubicBezTo>
                    <a:lnTo>
                      <a:pt x="76467" y="2064"/>
                    </a:lnTo>
                    <a:cubicBezTo>
                      <a:pt x="81972" y="-688"/>
                      <a:pt x="88549" y="-688"/>
                      <a:pt x="94055" y="2064"/>
                    </a:cubicBezTo>
                    <a:lnTo>
                      <a:pt x="108571" y="9308"/>
                    </a:lnTo>
                    <a:cubicBezTo>
                      <a:pt x="110396" y="10235"/>
                      <a:pt x="112599" y="10235"/>
                      <a:pt x="114453" y="9308"/>
                    </a:cubicBezTo>
                    <a:lnTo>
                      <a:pt x="128940" y="2064"/>
                    </a:lnTo>
                    <a:cubicBezTo>
                      <a:pt x="134446" y="-688"/>
                      <a:pt x="141023" y="-688"/>
                      <a:pt x="146528" y="2064"/>
                    </a:cubicBezTo>
                    <a:lnTo>
                      <a:pt x="161045" y="9308"/>
                    </a:lnTo>
                    <a:cubicBezTo>
                      <a:pt x="162870" y="10235"/>
                      <a:pt x="165072" y="10235"/>
                      <a:pt x="166927" y="9308"/>
                    </a:cubicBezTo>
                    <a:lnTo>
                      <a:pt x="181414" y="2064"/>
                    </a:lnTo>
                    <a:cubicBezTo>
                      <a:pt x="186919" y="-688"/>
                      <a:pt x="193497" y="-688"/>
                      <a:pt x="199002" y="2064"/>
                    </a:cubicBezTo>
                    <a:lnTo>
                      <a:pt x="213518" y="9308"/>
                    </a:lnTo>
                    <a:cubicBezTo>
                      <a:pt x="215344" y="10235"/>
                      <a:pt x="217546" y="10235"/>
                      <a:pt x="219400" y="9308"/>
                    </a:cubicBezTo>
                    <a:lnTo>
                      <a:pt x="233888" y="2064"/>
                    </a:lnTo>
                    <a:cubicBezTo>
                      <a:pt x="239393" y="-688"/>
                      <a:pt x="245970" y="-688"/>
                      <a:pt x="251475" y="2064"/>
                    </a:cubicBezTo>
                    <a:lnTo>
                      <a:pt x="265992" y="9308"/>
                    </a:lnTo>
                    <a:cubicBezTo>
                      <a:pt x="269237" y="10931"/>
                      <a:pt x="270541" y="14871"/>
                      <a:pt x="268918" y="18117"/>
                    </a:cubicBezTo>
                    <a:cubicBezTo>
                      <a:pt x="267296" y="21362"/>
                      <a:pt x="263355" y="22666"/>
                      <a:pt x="260110" y="21043"/>
                    </a:cubicBezTo>
                    <a:lnTo>
                      <a:pt x="245593" y="13799"/>
                    </a:lnTo>
                    <a:cubicBezTo>
                      <a:pt x="243768" y="12872"/>
                      <a:pt x="241566" y="12872"/>
                      <a:pt x="239741" y="13799"/>
                    </a:cubicBezTo>
                    <a:lnTo>
                      <a:pt x="225253" y="21043"/>
                    </a:lnTo>
                    <a:cubicBezTo>
                      <a:pt x="219748" y="23796"/>
                      <a:pt x="213170" y="23796"/>
                      <a:pt x="207665" y="21043"/>
                    </a:cubicBezTo>
                    <a:lnTo>
                      <a:pt x="193149" y="13799"/>
                    </a:lnTo>
                    <a:cubicBezTo>
                      <a:pt x="191323" y="12872"/>
                      <a:pt x="189121" y="12872"/>
                      <a:pt x="187267" y="13799"/>
                    </a:cubicBezTo>
                    <a:lnTo>
                      <a:pt x="172779" y="21043"/>
                    </a:lnTo>
                    <a:cubicBezTo>
                      <a:pt x="167274" y="23796"/>
                      <a:pt x="160697" y="23796"/>
                      <a:pt x="155192" y="21043"/>
                    </a:cubicBezTo>
                    <a:lnTo>
                      <a:pt x="140675" y="13799"/>
                    </a:lnTo>
                    <a:cubicBezTo>
                      <a:pt x="138850" y="12872"/>
                      <a:pt x="136648" y="12872"/>
                      <a:pt x="134822" y="13799"/>
                    </a:cubicBezTo>
                    <a:lnTo>
                      <a:pt x="120335" y="21043"/>
                    </a:lnTo>
                    <a:cubicBezTo>
                      <a:pt x="114830" y="23796"/>
                      <a:pt x="108252" y="23796"/>
                      <a:pt x="102747" y="21043"/>
                    </a:cubicBezTo>
                    <a:lnTo>
                      <a:pt x="88231" y="13799"/>
                    </a:lnTo>
                    <a:cubicBezTo>
                      <a:pt x="86405" y="12872"/>
                      <a:pt x="84203" y="12872"/>
                      <a:pt x="82349" y="13799"/>
                    </a:cubicBezTo>
                    <a:lnTo>
                      <a:pt x="67861" y="21043"/>
                    </a:lnTo>
                    <a:cubicBezTo>
                      <a:pt x="62356" y="23796"/>
                      <a:pt x="55779" y="23796"/>
                      <a:pt x="50274" y="21043"/>
                    </a:cubicBezTo>
                    <a:lnTo>
                      <a:pt x="35757" y="13799"/>
                    </a:lnTo>
                    <a:cubicBezTo>
                      <a:pt x="33932" y="12872"/>
                      <a:pt x="31729" y="12872"/>
                      <a:pt x="29875" y="13799"/>
                    </a:cubicBezTo>
                    <a:lnTo>
                      <a:pt x="9506" y="23970"/>
                    </a:lnTo>
                    <a:cubicBezTo>
                      <a:pt x="8550" y="24433"/>
                      <a:pt x="7565" y="24665"/>
                      <a:pt x="6579" y="24665"/>
                    </a:cubicBezTo>
                    <a:close/>
                  </a:path>
                </a:pathLst>
              </a:custGeom>
              <a:solidFill>
                <a:schemeClr val="accent1"/>
              </a:solidFill>
              <a:ln w="2891" cap="flat">
                <a:noFill/>
                <a:prstDash val="solid"/>
                <a:miter/>
              </a:ln>
            </p:spPr>
            <p:txBody>
              <a:bodyPr rtlCol="0" anchor="ctr"/>
              <a:lstStyle/>
              <a:p>
                <a:endParaRPr lang="en-GB" dirty="0"/>
              </a:p>
            </p:txBody>
          </p:sp>
        </p:grpSp>
      </p:grpSp>
      <p:grpSp>
        <p:nvGrpSpPr>
          <p:cNvPr id="46" name="Group 45">
            <a:extLst>
              <a:ext uri="{FF2B5EF4-FFF2-40B4-BE49-F238E27FC236}">
                <a16:creationId xmlns:a16="http://schemas.microsoft.com/office/drawing/2014/main" id="{AD73EBBE-21AE-F906-D42F-4F7CCA6111C5}"/>
              </a:ext>
            </a:extLst>
          </p:cNvPr>
          <p:cNvGrpSpPr/>
          <p:nvPr/>
        </p:nvGrpSpPr>
        <p:grpSpPr>
          <a:xfrm>
            <a:off x="5986394" y="1662900"/>
            <a:ext cx="540002" cy="278168"/>
            <a:chOff x="5985982" y="1662900"/>
            <a:chExt cx="540002" cy="278168"/>
          </a:xfrm>
        </p:grpSpPr>
        <p:grpSp>
          <p:nvGrpSpPr>
            <p:cNvPr id="403" name="Grafik 219">
              <a:extLst>
                <a:ext uri="{FF2B5EF4-FFF2-40B4-BE49-F238E27FC236}">
                  <a16:creationId xmlns:a16="http://schemas.microsoft.com/office/drawing/2014/main" id="{5B6D9605-EA3E-477C-BE24-6DE17B43A759}"/>
                </a:ext>
              </a:extLst>
            </p:cNvPr>
            <p:cNvGrpSpPr/>
            <p:nvPr/>
          </p:nvGrpSpPr>
          <p:grpSpPr>
            <a:xfrm>
              <a:off x="6345996" y="1736500"/>
              <a:ext cx="179988" cy="204568"/>
              <a:chOff x="6463788" y="4368046"/>
              <a:chExt cx="144266" cy="163969"/>
            </a:xfrm>
            <a:solidFill>
              <a:schemeClr val="accent1"/>
            </a:solidFill>
          </p:grpSpPr>
          <p:sp>
            <p:nvSpPr>
              <p:cNvPr id="411" name="Freihandform: Form 952">
                <a:extLst>
                  <a:ext uri="{FF2B5EF4-FFF2-40B4-BE49-F238E27FC236}">
                    <a16:creationId xmlns:a16="http://schemas.microsoft.com/office/drawing/2014/main" id="{A7F487EC-8BBD-463B-9223-E50644C32EAF}"/>
                  </a:ext>
                </a:extLst>
              </p:cNvPr>
              <p:cNvSpPr/>
              <p:nvPr/>
            </p:nvSpPr>
            <p:spPr>
              <a:xfrm>
                <a:off x="6496573" y="4368046"/>
                <a:ext cx="104918" cy="131169"/>
              </a:xfrm>
              <a:custGeom>
                <a:avLst/>
                <a:gdLst>
                  <a:gd name="connsiteX0" fmla="*/ 72133 w 104918"/>
                  <a:gd name="connsiteY0" fmla="*/ 131169 h 131169"/>
                  <a:gd name="connsiteX1" fmla="*/ 6563 w 104918"/>
                  <a:gd name="connsiteY1" fmla="*/ 131169 h 131169"/>
                  <a:gd name="connsiteX2" fmla="*/ 1434 w 104918"/>
                  <a:gd name="connsiteY2" fmla="*/ 128707 h 131169"/>
                  <a:gd name="connsiteX3" fmla="*/ 159 w 104918"/>
                  <a:gd name="connsiteY3" fmla="*/ 123172 h 131169"/>
                  <a:gd name="connsiteX4" fmla="*/ 26382 w 104918"/>
                  <a:gd name="connsiteY4" fmla="*/ 5128 h 131169"/>
                  <a:gd name="connsiteX5" fmla="*/ 32785 w 104918"/>
                  <a:gd name="connsiteY5" fmla="*/ 0 h 131169"/>
                  <a:gd name="connsiteX6" fmla="*/ 98355 w 104918"/>
                  <a:gd name="connsiteY6" fmla="*/ 0 h 131169"/>
                  <a:gd name="connsiteX7" fmla="*/ 103484 w 104918"/>
                  <a:gd name="connsiteY7" fmla="*/ 2463 h 131169"/>
                  <a:gd name="connsiteX8" fmla="*/ 104759 w 104918"/>
                  <a:gd name="connsiteY8" fmla="*/ 7997 h 131169"/>
                  <a:gd name="connsiteX9" fmla="*/ 78537 w 104918"/>
                  <a:gd name="connsiteY9" fmla="*/ 126041 h 131169"/>
                  <a:gd name="connsiteX10" fmla="*/ 72133 w 104918"/>
                  <a:gd name="connsiteY10" fmla="*/ 131169 h 131169"/>
                  <a:gd name="connsiteX11" fmla="*/ 14734 w 104918"/>
                  <a:gd name="connsiteY11" fmla="*/ 118073 h 131169"/>
                  <a:gd name="connsiteX12" fmla="*/ 66889 w 104918"/>
                  <a:gd name="connsiteY12" fmla="*/ 118073 h 131169"/>
                  <a:gd name="connsiteX13" fmla="*/ 90213 w 104918"/>
                  <a:gd name="connsiteY13" fmla="*/ 13155 h 131169"/>
                  <a:gd name="connsiteX14" fmla="*/ 38059 w 104918"/>
                  <a:gd name="connsiteY14" fmla="*/ 13155 h 131169"/>
                  <a:gd name="connsiteX15" fmla="*/ 14734 w 104918"/>
                  <a:gd name="connsiteY15" fmla="*/ 118073 h 131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4918" h="131169">
                    <a:moveTo>
                      <a:pt x="72133" y="131169"/>
                    </a:moveTo>
                    <a:lnTo>
                      <a:pt x="6563" y="131169"/>
                    </a:lnTo>
                    <a:cubicBezTo>
                      <a:pt x="4564" y="131169"/>
                      <a:pt x="2680" y="130271"/>
                      <a:pt x="1434" y="128707"/>
                    </a:cubicBezTo>
                    <a:cubicBezTo>
                      <a:pt x="188" y="127142"/>
                      <a:pt x="-275" y="125114"/>
                      <a:pt x="159" y="123172"/>
                    </a:cubicBezTo>
                    <a:lnTo>
                      <a:pt x="26382" y="5128"/>
                    </a:lnTo>
                    <a:cubicBezTo>
                      <a:pt x="27048" y="2115"/>
                      <a:pt x="29714" y="0"/>
                      <a:pt x="32785" y="0"/>
                    </a:cubicBezTo>
                    <a:lnTo>
                      <a:pt x="98355" y="0"/>
                    </a:lnTo>
                    <a:cubicBezTo>
                      <a:pt x="100355" y="0"/>
                      <a:pt x="102238" y="898"/>
                      <a:pt x="103484" y="2463"/>
                    </a:cubicBezTo>
                    <a:cubicBezTo>
                      <a:pt x="104730" y="4027"/>
                      <a:pt x="105194" y="6056"/>
                      <a:pt x="104759" y="7997"/>
                    </a:cubicBezTo>
                    <a:lnTo>
                      <a:pt x="78537" y="126041"/>
                    </a:lnTo>
                    <a:cubicBezTo>
                      <a:pt x="77870" y="129054"/>
                      <a:pt x="75204" y="131169"/>
                      <a:pt x="72133" y="131169"/>
                    </a:cubicBezTo>
                    <a:close/>
                    <a:moveTo>
                      <a:pt x="14734" y="118073"/>
                    </a:moveTo>
                    <a:lnTo>
                      <a:pt x="66889" y="118073"/>
                    </a:lnTo>
                    <a:lnTo>
                      <a:pt x="90213" y="13155"/>
                    </a:lnTo>
                    <a:lnTo>
                      <a:pt x="38059" y="13155"/>
                    </a:lnTo>
                    <a:lnTo>
                      <a:pt x="14734" y="118073"/>
                    </a:lnTo>
                    <a:close/>
                  </a:path>
                </a:pathLst>
              </a:custGeom>
              <a:solidFill>
                <a:schemeClr val="accent1"/>
              </a:solidFill>
              <a:ln w="2891" cap="flat">
                <a:noFill/>
                <a:prstDash val="solid"/>
                <a:miter/>
              </a:ln>
            </p:spPr>
            <p:txBody>
              <a:bodyPr rtlCol="0" anchor="ctr"/>
              <a:lstStyle/>
              <a:p>
                <a:endParaRPr lang="en-GB" dirty="0"/>
              </a:p>
            </p:txBody>
          </p:sp>
          <p:sp>
            <p:nvSpPr>
              <p:cNvPr id="412" name="Freihandform: Form 953">
                <a:extLst>
                  <a:ext uri="{FF2B5EF4-FFF2-40B4-BE49-F238E27FC236}">
                    <a16:creationId xmlns:a16="http://schemas.microsoft.com/office/drawing/2014/main" id="{692F47C9-4921-4B6E-8CE8-F053BA576FDC}"/>
                  </a:ext>
                </a:extLst>
              </p:cNvPr>
              <p:cNvSpPr/>
              <p:nvPr/>
            </p:nvSpPr>
            <p:spPr>
              <a:xfrm>
                <a:off x="6463788" y="4486119"/>
                <a:ext cx="144266" cy="45896"/>
              </a:xfrm>
              <a:custGeom>
                <a:avLst/>
                <a:gdLst>
                  <a:gd name="connsiteX0" fmla="*/ 137718 w 144266"/>
                  <a:gd name="connsiteY0" fmla="*/ 45896 h 45896"/>
                  <a:gd name="connsiteX1" fmla="*/ 6548 w 144266"/>
                  <a:gd name="connsiteY1" fmla="*/ 45896 h 45896"/>
                  <a:gd name="connsiteX2" fmla="*/ 0 w 144266"/>
                  <a:gd name="connsiteY2" fmla="*/ 39348 h 45896"/>
                  <a:gd name="connsiteX3" fmla="*/ 0 w 144266"/>
                  <a:gd name="connsiteY3" fmla="*/ 6548 h 45896"/>
                  <a:gd name="connsiteX4" fmla="*/ 6548 w 144266"/>
                  <a:gd name="connsiteY4" fmla="*/ 0 h 45896"/>
                  <a:gd name="connsiteX5" fmla="*/ 137718 w 144266"/>
                  <a:gd name="connsiteY5" fmla="*/ 0 h 45896"/>
                  <a:gd name="connsiteX6" fmla="*/ 144266 w 144266"/>
                  <a:gd name="connsiteY6" fmla="*/ 6548 h 45896"/>
                  <a:gd name="connsiteX7" fmla="*/ 144266 w 144266"/>
                  <a:gd name="connsiteY7" fmla="*/ 39348 h 45896"/>
                  <a:gd name="connsiteX8" fmla="*/ 137718 w 144266"/>
                  <a:gd name="connsiteY8" fmla="*/ 45896 h 45896"/>
                  <a:gd name="connsiteX9" fmla="*/ 13097 w 144266"/>
                  <a:gd name="connsiteY9" fmla="*/ 32771 h 45896"/>
                  <a:gd name="connsiteX10" fmla="*/ 131141 w 144266"/>
                  <a:gd name="connsiteY10" fmla="*/ 32771 h 45896"/>
                  <a:gd name="connsiteX11" fmla="*/ 131141 w 144266"/>
                  <a:gd name="connsiteY11" fmla="*/ 13097 h 45896"/>
                  <a:gd name="connsiteX12" fmla="*/ 13097 w 144266"/>
                  <a:gd name="connsiteY12" fmla="*/ 13097 h 45896"/>
                  <a:gd name="connsiteX13" fmla="*/ 13097 w 144266"/>
                  <a:gd name="connsiteY13" fmla="*/ 32771 h 4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266" h="45896">
                    <a:moveTo>
                      <a:pt x="137718" y="45896"/>
                    </a:moveTo>
                    <a:lnTo>
                      <a:pt x="6548" y="45896"/>
                    </a:lnTo>
                    <a:cubicBezTo>
                      <a:pt x="2926" y="45896"/>
                      <a:pt x="0" y="42970"/>
                      <a:pt x="0" y="39348"/>
                    </a:cubicBezTo>
                    <a:lnTo>
                      <a:pt x="0" y="6548"/>
                    </a:lnTo>
                    <a:cubicBezTo>
                      <a:pt x="0" y="2926"/>
                      <a:pt x="2926" y="0"/>
                      <a:pt x="6548" y="0"/>
                    </a:cubicBezTo>
                    <a:lnTo>
                      <a:pt x="137718" y="0"/>
                    </a:lnTo>
                    <a:cubicBezTo>
                      <a:pt x="141340" y="0"/>
                      <a:pt x="144266" y="2926"/>
                      <a:pt x="144266" y="6548"/>
                    </a:cubicBezTo>
                    <a:lnTo>
                      <a:pt x="144266" y="39348"/>
                    </a:lnTo>
                    <a:cubicBezTo>
                      <a:pt x="144266" y="42970"/>
                      <a:pt x="141340" y="45896"/>
                      <a:pt x="137718" y="45896"/>
                    </a:cubicBezTo>
                    <a:close/>
                    <a:moveTo>
                      <a:pt x="13097" y="32771"/>
                    </a:moveTo>
                    <a:lnTo>
                      <a:pt x="131141" y="32771"/>
                    </a:lnTo>
                    <a:lnTo>
                      <a:pt x="131141" y="13097"/>
                    </a:lnTo>
                    <a:lnTo>
                      <a:pt x="13097" y="13097"/>
                    </a:lnTo>
                    <a:lnTo>
                      <a:pt x="13097" y="32771"/>
                    </a:lnTo>
                    <a:close/>
                  </a:path>
                </a:pathLst>
              </a:custGeom>
              <a:solidFill>
                <a:schemeClr val="accent1"/>
              </a:solidFill>
              <a:ln w="2891" cap="flat">
                <a:noFill/>
                <a:prstDash val="solid"/>
                <a:miter/>
              </a:ln>
            </p:spPr>
            <p:txBody>
              <a:bodyPr rtlCol="0" anchor="ctr"/>
              <a:lstStyle/>
              <a:p>
                <a:endParaRPr lang="en-GB" dirty="0"/>
              </a:p>
            </p:txBody>
          </p:sp>
          <p:sp>
            <p:nvSpPr>
              <p:cNvPr id="413" name="Freihandform: Form 954">
                <a:extLst>
                  <a:ext uri="{FF2B5EF4-FFF2-40B4-BE49-F238E27FC236}">
                    <a16:creationId xmlns:a16="http://schemas.microsoft.com/office/drawing/2014/main" id="{DD55F8BE-3B4D-495D-9C3D-0D2A679E006D}"/>
                  </a:ext>
                </a:extLst>
              </p:cNvPr>
              <p:cNvSpPr/>
              <p:nvPr/>
            </p:nvSpPr>
            <p:spPr>
              <a:xfrm>
                <a:off x="6559434" y="4400875"/>
                <a:ext cx="32770" cy="13096"/>
              </a:xfrm>
              <a:custGeom>
                <a:avLst/>
                <a:gdLst>
                  <a:gd name="connsiteX0" fmla="*/ 26222 w 32770"/>
                  <a:gd name="connsiteY0" fmla="*/ 13097 h 13096"/>
                  <a:gd name="connsiteX1" fmla="*/ 6548 w 32770"/>
                  <a:gd name="connsiteY1" fmla="*/ 13097 h 13096"/>
                  <a:gd name="connsiteX2" fmla="*/ 0 w 32770"/>
                  <a:gd name="connsiteY2" fmla="*/ 6548 h 13096"/>
                  <a:gd name="connsiteX3" fmla="*/ 6548 w 32770"/>
                  <a:gd name="connsiteY3" fmla="*/ 0 h 13096"/>
                  <a:gd name="connsiteX4" fmla="*/ 26222 w 32770"/>
                  <a:gd name="connsiteY4" fmla="*/ 0 h 13096"/>
                  <a:gd name="connsiteX5" fmla="*/ 32771 w 32770"/>
                  <a:gd name="connsiteY5" fmla="*/ 6548 h 13096"/>
                  <a:gd name="connsiteX6" fmla="*/ 26222 w 32770"/>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0" h="13096">
                    <a:moveTo>
                      <a:pt x="26222" y="13097"/>
                    </a:moveTo>
                    <a:lnTo>
                      <a:pt x="6548" y="13097"/>
                    </a:lnTo>
                    <a:cubicBezTo>
                      <a:pt x="2926" y="13097"/>
                      <a:pt x="0" y="10170"/>
                      <a:pt x="0" y="6548"/>
                    </a:cubicBezTo>
                    <a:cubicBezTo>
                      <a:pt x="0" y="2926"/>
                      <a:pt x="2926" y="0"/>
                      <a:pt x="6548" y="0"/>
                    </a:cubicBezTo>
                    <a:lnTo>
                      <a:pt x="26222" y="0"/>
                    </a:lnTo>
                    <a:cubicBezTo>
                      <a:pt x="29844" y="0"/>
                      <a:pt x="32771" y="2926"/>
                      <a:pt x="32771" y="6548"/>
                    </a:cubicBezTo>
                    <a:cubicBezTo>
                      <a:pt x="32771" y="10170"/>
                      <a:pt x="29844" y="13097"/>
                      <a:pt x="26222" y="13097"/>
                    </a:cubicBezTo>
                    <a:close/>
                  </a:path>
                </a:pathLst>
              </a:custGeom>
              <a:solidFill>
                <a:schemeClr val="accent1"/>
              </a:solidFill>
              <a:ln w="2891" cap="flat">
                <a:noFill/>
                <a:prstDash val="solid"/>
                <a:miter/>
              </a:ln>
            </p:spPr>
            <p:txBody>
              <a:bodyPr rtlCol="0" anchor="ctr"/>
              <a:lstStyle/>
              <a:p>
                <a:endParaRPr lang="en-GB" dirty="0"/>
              </a:p>
            </p:txBody>
          </p:sp>
          <p:sp>
            <p:nvSpPr>
              <p:cNvPr id="414" name="Freihandform: Form 955">
                <a:extLst>
                  <a:ext uri="{FF2B5EF4-FFF2-40B4-BE49-F238E27FC236}">
                    <a16:creationId xmlns:a16="http://schemas.microsoft.com/office/drawing/2014/main" id="{50A7EA03-6C21-47AC-B670-D8198BE7B380}"/>
                  </a:ext>
                </a:extLst>
              </p:cNvPr>
              <p:cNvSpPr/>
              <p:nvPr/>
            </p:nvSpPr>
            <p:spPr>
              <a:xfrm>
                <a:off x="6549061" y="4446771"/>
                <a:ext cx="32770" cy="13096"/>
              </a:xfrm>
              <a:custGeom>
                <a:avLst/>
                <a:gdLst>
                  <a:gd name="connsiteX0" fmla="*/ 26222 w 32770"/>
                  <a:gd name="connsiteY0" fmla="*/ 13097 h 13096"/>
                  <a:gd name="connsiteX1" fmla="*/ 6548 w 32770"/>
                  <a:gd name="connsiteY1" fmla="*/ 13097 h 13096"/>
                  <a:gd name="connsiteX2" fmla="*/ 0 w 32770"/>
                  <a:gd name="connsiteY2" fmla="*/ 6548 h 13096"/>
                  <a:gd name="connsiteX3" fmla="*/ 6548 w 32770"/>
                  <a:gd name="connsiteY3" fmla="*/ 0 h 13096"/>
                  <a:gd name="connsiteX4" fmla="*/ 26222 w 32770"/>
                  <a:gd name="connsiteY4" fmla="*/ 0 h 13096"/>
                  <a:gd name="connsiteX5" fmla="*/ 32771 w 32770"/>
                  <a:gd name="connsiteY5" fmla="*/ 6548 h 13096"/>
                  <a:gd name="connsiteX6" fmla="*/ 26222 w 32770"/>
                  <a:gd name="connsiteY6" fmla="*/ 13097 h 13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70" h="13096">
                    <a:moveTo>
                      <a:pt x="26222" y="13097"/>
                    </a:moveTo>
                    <a:lnTo>
                      <a:pt x="6548" y="13097"/>
                    </a:lnTo>
                    <a:cubicBezTo>
                      <a:pt x="2926" y="13097"/>
                      <a:pt x="0" y="10170"/>
                      <a:pt x="0" y="6548"/>
                    </a:cubicBezTo>
                    <a:cubicBezTo>
                      <a:pt x="0" y="2926"/>
                      <a:pt x="2926" y="0"/>
                      <a:pt x="6548" y="0"/>
                    </a:cubicBezTo>
                    <a:lnTo>
                      <a:pt x="26222" y="0"/>
                    </a:lnTo>
                    <a:cubicBezTo>
                      <a:pt x="29844" y="0"/>
                      <a:pt x="32771" y="2926"/>
                      <a:pt x="32771" y="6548"/>
                    </a:cubicBezTo>
                    <a:cubicBezTo>
                      <a:pt x="32771" y="10170"/>
                      <a:pt x="29844" y="13097"/>
                      <a:pt x="26222" y="13097"/>
                    </a:cubicBezTo>
                    <a:close/>
                  </a:path>
                </a:pathLst>
              </a:custGeom>
              <a:solidFill>
                <a:schemeClr val="accent1"/>
              </a:solidFill>
              <a:ln w="2891" cap="flat">
                <a:noFill/>
                <a:prstDash val="solid"/>
                <a:miter/>
              </a:ln>
            </p:spPr>
            <p:txBody>
              <a:bodyPr rtlCol="0" anchor="ctr"/>
              <a:lstStyle/>
              <a:p>
                <a:endParaRPr lang="en-GB" dirty="0"/>
              </a:p>
            </p:txBody>
          </p:sp>
        </p:grpSp>
        <p:grpSp>
          <p:nvGrpSpPr>
            <p:cNvPr id="404" name="Grafik 219">
              <a:extLst>
                <a:ext uri="{FF2B5EF4-FFF2-40B4-BE49-F238E27FC236}">
                  <a16:creationId xmlns:a16="http://schemas.microsoft.com/office/drawing/2014/main" id="{95A0E8E1-6378-4F28-9701-B93F3C1D9653}"/>
                </a:ext>
              </a:extLst>
            </p:cNvPr>
            <p:cNvGrpSpPr/>
            <p:nvPr/>
          </p:nvGrpSpPr>
          <p:grpSpPr>
            <a:xfrm>
              <a:off x="5985982" y="1662900"/>
              <a:ext cx="411018" cy="278168"/>
              <a:chOff x="6175227" y="4309053"/>
              <a:chExt cx="329444" cy="222962"/>
            </a:xfrm>
            <a:solidFill>
              <a:schemeClr val="tx2"/>
            </a:solidFill>
          </p:grpSpPr>
          <p:sp>
            <p:nvSpPr>
              <p:cNvPr id="405" name="Freihandform: Form 957">
                <a:extLst>
                  <a:ext uri="{FF2B5EF4-FFF2-40B4-BE49-F238E27FC236}">
                    <a16:creationId xmlns:a16="http://schemas.microsoft.com/office/drawing/2014/main" id="{72127DDA-F56D-4ECB-9446-06987BD4D891}"/>
                  </a:ext>
                </a:extLst>
              </p:cNvPr>
              <p:cNvSpPr/>
              <p:nvPr/>
            </p:nvSpPr>
            <p:spPr>
              <a:xfrm>
                <a:off x="6175227" y="4400875"/>
                <a:ext cx="131140" cy="131140"/>
              </a:xfrm>
              <a:custGeom>
                <a:avLst/>
                <a:gdLst>
                  <a:gd name="connsiteX0" fmla="*/ 65570 w 131140"/>
                  <a:gd name="connsiteY0" fmla="*/ 131141 h 131140"/>
                  <a:gd name="connsiteX1" fmla="*/ 0 w 131140"/>
                  <a:gd name="connsiteY1" fmla="*/ 65570 h 131140"/>
                  <a:gd name="connsiteX2" fmla="*/ 65570 w 131140"/>
                  <a:gd name="connsiteY2" fmla="*/ 0 h 131140"/>
                  <a:gd name="connsiteX3" fmla="*/ 131141 w 131140"/>
                  <a:gd name="connsiteY3" fmla="*/ 65570 h 131140"/>
                  <a:gd name="connsiteX4" fmla="*/ 65570 w 131140"/>
                  <a:gd name="connsiteY4" fmla="*/ 131141 h 131140"/>
                  <a:gd name="connsiteX5" fmla="*/ 65570 w 131140"/>
                  <a:gd name="connsiteY5" fmla="*/ 13097 h 131140"/>
                  <a:gd name="connsiteX6" fmla="*/ 13097 w 131140"/>
                  <a:gd name="connsiteY6" fmla="*/ 65570 h 131140"/>
                  <a:gd name="connsiteX7" fmla="*/ 65570 w 131140"/>
                  <a:gd name="connsiteY7" fmla="*/ 118044 h 131140"/>
                  <a:gd name="connsiteX8" fmla="*/ 118044 w 131140"/>
                  <a:gd name="connsiteY8" fmla="*/ 65570 h 131140"/>
                  <a:gd name="connsiteX9" fmla="*/ 65570 w 131140"/>
                  <a:gd name="connsiteY9" fmla="*/ 13097 h 131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140" h="131140">
                    <a:moveTo>
                      <a:pt x="65570" y="131141"/>
                    </a:moveTo>
                    <a:cubicBezTo>
                      <a:pt x="29410" y="131141"/>
                      <a:pt x="0" y="101731"/>
                      <a:pt x="0" y="65570"/>
                    </a:cubicBezTo>
                    <a:cubicBezTo>
                      <a:pt x="0" y="29410"/>
                      <a:pt x="29410" y="0"/>
                      <a:pt x="65570" y="0"/>
                    </a:cubicBezTo>
                    <a:cubicBezTo>
                      <a:pt x="101731" y="0"/>
                      <a:pt x="131141" y="29410"/>
                      <a:pt x="131141" y="65570"/>
                    </a:cubicBezTo>
                    <a:cubicBezTo>
                      <a:pt x="131141" y="101731"/>
                      <a:pt x="101731" y="131141"/>
                      <a:pt x="65570" y="131141"/>
                    </a:cubicBezTo>
                    <a:close/>
                    <a:moveTo>
                      <a:pt x="65570" y="13097"/>
                    </a:moveTo>
                    <a:cubicBezTo>
                      <a:pt x="36653" y="13097"/>
                      <a:pt x="13097" y="36624"/>
                      <a:pt x="13097" y="65570"/>
                    </a:cubicBezTo>
                    <a:cubicBezTo>
                      <a:pt x="13097" y="94516"/>
                      <a:pt x="36624" y="118044"/>
                      <a:pt x="65570" y="118044"/>
                    </a:cubicBezTo>
                    <a:cubicBezTo>
                      <a:pt x="94487" y="118044"/>
                      <a:pt x="118044" y="94516"/>
                      <a:pt x="118044" y="65570"/>
                    </a:cubicBezTo>
                    <a:cubicBezTo>
                      <a:pt x="118044" y="36624"/>
                      <a:pt x="94516" y="13097"/>
                      <a:pt x="65570" y="13097"/>
                    </a:cubicBezTo>
                    <a:close/>
                  </a:path>
                </a:pathLst>
              </a:custGeom>
              <a:grpFill/>
              <a:ln w="2891" cap="flat">
                <a:noFill/>
                <a:prstDash val="solid"/>
                <a:miter/>
              </a:ln>
            </p:spPr>
            <p:txBody>
              <a:bodyPr rtlCol="0" anchor="ctr"/>
              <a:lstStyle/>
              <a:p>
                <a:endParaRPr lang="en-GB" dirty="0"/>
              </a:p>
            </p:txBody>
          </p:sp>
          <p:sp>
            <p:nvSpPr>
              <p:cNvPr id="406" name="Freihandform: Form 958">
                <a:extLst>
                  <a:ext uri="{FF2B5EF4-FFF2-40B4-BE49-F238E27FC236}">
                    <a16:creationId xmlns:a16="http://schemas.microsoft.com/office/drawing/2014/main" id="{60EE7B06-9235-475C-B93D-28C151F9F0D2}"/>
                  </a:ext>
                </a:extLst>
              </p:cNvPr>
              <p:cNvSpPr/>
              <p:nvPr/>
            </p:nvSpPr>
            <p:spPr>
              <a:xfrm>
                <a:off x="6378544" y="4309053"/>
                <a:ext cx="104913" cy="163940"/>
              </a:xfrm>
              <a:custGeom>
                <a:avLst/>
                <a:gdLst>
                  <a:gd name="connsiteX0" fmla="*/ 98370 w 104913"/>
                  <a:gd name="connsiteY0" fmla="*/ 163940 h 163940"/>
                  <a:gd name="connsiteX1" fmla="*/ 92343 w 104913"/>
                  <a:gd name="connsiteY1" fmla="*/ 160000 h 163940"/>
                  <a:gd name="connsiteX2" fmla="*/ 28482 w 104913"/>
                  <a:gd name="connsiteY2" fmla="*/ 13097 h 163940"/>
                  <a:gd name="connsiteX3" fmla="*/ 6548 w 104913"/>
                  <a:gd name="connsiteY3" fmla="*/ 13097 h 163940"/>
                  <a:gd name="connsiteX4" fmla="*/ 0 w 104913"/>
                  <a:gd name="connsiteY4" fmla="*/ 6548 h 163940"/>
                  <a:gd name="connsiteX5" fmla="*/ 6548 w 104913"/>
                  <a:gd name="connsiteY5" fmla="*/ 0 h 163940"/>
                  <a:gd name="connsiteX6" fmla="*/ 32771 w 104913"/>
                  <a:gd name="connsiteY6" fmla="*/ 0 h 163940"/>
                  <a:gd name="connsiteX7" fmla="*/ 38797 w 104913"/>
                  <a:gd name="connsiteY7" fmla="*/ 3941 h 163940"/>
                  <a:gd name="connsiteX8" fmla="*/ 104368 w 104913"/>
                  <a:gd name="connsiteY8" fmla="*/ 154784 h 163940"/>
                  <a:gd name="connsiteX9" fmla="*/ 100978 w 104913"/>
                  <a:gd name="connsiteY9" fmla="*/ 163419 h 163940"/>
                  <a:gd name="connsiteX10" fmla="*/ 98370 w 104913"/>
                  <a:gd name="connsiteY10" fmla="*/ 163940 h 163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913" h="163940">
                    <a:moveTo>
                      <a:pt x="98370" y="163940"/>
                    </a:moveTo>
                    <a:cubicBezTo>
                      <a:pt x="95849" y="163940"/>
                      <a:pt x="93415" y="162462"/>
                      <a:pt x="92343" y="160000"/>
                    </a:cubicBezTo>
                    <a:lnTo>
                      <a:pt x="28482" y="13097"/>
                    </a:lnTo>
                    <a:lnTo>
                      <a:pt x="6548" y="13097"/>
                    </a:lnTo>
                    <a:cubicBezTo>
                      <a:pt x="2926" y="13097"/>
                      <a:pt x="0" y="10170"/>
                      <a:pt x="0" y="6548"/>
                    </a:cubicBezTo>
                    <a:cubicBezTo>
                      <a:pt x="0" y="2926"/>
                      <a:pt x="2926" y="0"/>
                      <a:pt x="6548" y="0"/>
                    </a:cubicBezTo>
                    <a:lnTo>
                      <a:pt x="32771" y="0"/>
                    </a:lnTo>
                    <a:cubicBezTo>
                      <a:pt x="35378" y="0"/>
                      <a:pt x="37754" y="1536"/>
                      <a:pt x="38797" y="3941"/>
                    </a:cubicBezTo>
                    <a:lnTo>
                      <a:pt x="104368" y="154784"/>
                    </a:lnTo>
                    <a:cubicBezTo>
                      <a:pt x="105816" y="158087"/>
                      <a:pt x="104281" y="161970"/>
                      <a:pt x="100978" y="163419"/>
                    </a:cubicBezTo>
                    <a:cubicBezTo>
                      <a:pt x="100108" y="163766"/>
                      <a:pt x="99239" y="163940"/>
                      <a:pt x="98370" y="163940"/>
                    </a:cubicBezTo>
                    <a:close/>
                  </a:path>
                </a:pathLst>
              </a:custGeom>
              <a:grpFill/>
              <a:ln w="2891" cap="flat">
                <a:noFill/>
                <a:prstDash val="solid"/>
                <a:miter/>
              </a:ln>
            </p:spPr>
            <p:txBody>
              <a:bodyPr rtlCol="0" anchor="ctr"/>
              <a:lstStyle/>
              <a:p>
                <a:endParaRPr lang="en-GB" dirty="0"/>
              </a:p>
            </p:txBody>
          </p:sp>
          <p:sp>
            <p:nvSpPr>
              <p:cNvPr id="407" name="Freihandform: Form 959">
                <a:extLst>
                  <a:ext uri="{FF2B5EF4-FFF2-40B4-BE49-F238E27FC236}">
                    <a16:creationId xmlns:a16="http://schemas.microsoft.com/office/drawing/2014/main" id="{690D4C2A-8B64-481D-AFAB-32C153194319}"/>
                  </a:ext>
                </a:extLst>
              </p:cNvPr>
              <p:cNvSpPr/>
              <p:nvPr/>
            </p:nvSpPr>
            <p:spPr>
              <a:xfrm>
                <a:off x="6270902" y="4367003"/>
                <a:ext cx="81401" cy="105990"/>
              </a:xfrm>
              <a:custGeom>
                <a:avLst/>
                <a:gdLst>
                  <a:gd name="connsiteX0" fmla="*/ 74842 w 81401"/>
                  <a:gd name="connsiteY0" fmla="*/ 105990 h 105990"/>
                  <a:gd name="connsiteX1" fmla="*/ 68873 w 81401"/>
                  <a:gd name="connsiteY1" fmla="*/ 102137 h 105990"/>
                  <a:gd name="connsiteX2" fmla="*/ 28540 w 81401"/>
                  <a:gd name="connsiteY2" fmla="*/ 13097 h 105990"/>
                  <a:gd name="connsiteX3" fmla="*/ 6548 w 81401"/>
                  <a:gd name="connsiteY3" fmla="*/ 13097 h 105990"/>
                  <a:gd name="connsiteX4" fmla="*/ 0 w 81401"/>
                  <a:gd name="connsiteY4" fmla="*/ 6548 h 105990"/>
                  <a:gd name="connsiteX5" fmla="*/ 6548 w 81401"/>
                  <a:gd name="connsiteY5" fmla="*/ 0 h 105990"/>
                  <a:gd name="connsiteX6" fmla="*/ 32771 w 81401"/>
                  <a:gd name="connsiteY6" fmla="*/ 0 h 105990"/>
                  <a:gd name="connsiteX7" fmla="*/ 38739 w 81401"/>
                  <a:gd name="connsiteY7" fmla="*/ 3854 h 105990"/>
                  <a:gd name="connsiteX8" fmla="*/ 80811 w 81401"/>
                  <a:gd name="connsiteY8" fmla="*/ 96776 h 105990"/>
                  <a:gd name="connsiteX9" fmla="*/ 77537 w 81401"/>
                  <a:gd name="connsiteY9" fmla="*/ 105440 h 105990"/>
                  <a:gd name="connsiteX10" fmla="*/ 74842 w 81401"/>
                  <a:gd name="connsiteY10" fmla="*/ 105990 h 105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1401" h="105990">
                    <a:moveTo>
                      <a:pt x="74842" y="105990"/>
                    </a:moveTo>
                    <a:cubicBezTo>
                      <a:pt x="72350" y="105990"/>
                      <a:pt x="69974" y="104571"/>
                      <a:pt x="68873" y="102137"/>
                    </a:cubicBezTo>
                    <a:lnTo>
                      <a:pt x="28540" y="13097"/>
                    </a:lnTo>
                    <a:lnTo>
                      <a:pt x="6548" y="13097"/>
                    </a:lnTo>
                    <a:cubicBezTo>
                      <a:pt x="2926" y="13097"/>
                      <a:pt x="0" y="10170"/>
                      <a:pt x="0" y="6548"/>
                    </a:cubicBezTo>
                    <a:cubicBezTo>
                      <a:pt x="0" y="2926"/>
                      <a:pt x="2926" y="0"/>
                      <a:pt x="6548" y="0"/>
                    </a:cubicBezTo>
                    <a:lnTo>
                      <a:pt x="32771" y="0"/>
                    </a:lnTo>
                    <a:cubicBezTo>
                      <a:pt x="35349" y="0"/>
                      <a:pt x="37696" y="1507"/>
                      <a:pt x="38739" y="3854"/>
                    </a:cubicBezTo>
                    <a:lnTo>
                      <a:pt x="80811" y="96776"/>
                    </a:lnTo>
                    <a:cubicBezTo>
                      <a:pt x="82318" y="100080"/>
                      <a:pt x="80840" y="103962"/>
                      <a:pt x="77537" y="105440"/>
                    </a:cubicBezTo>
                    <a:cubicBezTo>
                      <a:pt x="76668" y="105787"/>
                      <a:pt x="75740" y="105990"/>
                      <a:pt x="74842" y="105990"/>
                    </a:cubicBezTo>
                    <a:close/>
                  </a:path>
                </a:pathLst>
              </a:custGeom>
              <a:grpFill/>
              <a:ln w="2891" cap="flat">
                <a:noFill/>
                <a:prstDash val="solid"/>
                <a:miter/>
              </a:ln>
            </p:spPr>
            <p:txBody>
              <a:bodyPr rtlCol="0" anchor="ctr"/>
              <a:lstStyle/>
              <a:p>
                <a:endParaRPr lang="en-GB" dirty="0"/>
              </a:p>
            </p:txBody>
          </p:sp>
          <p:sp>
            <p:nvSpPr>
              <p:cNvPr id="408" name="Freihandform: Form 960">
                <a:extLst>
                  <a:ext uri="{FF2B5EF4-FFF2-40B4-BE49-F238E27FC236}">
                    <a16:creationId xmlns:a16="http://schemas.microsoft.com/office/drawing/2014/main" id="{8594F1D0-75BB-453B-9546-12AF854824AD}"/>
                  </a:ext>
                </a:extLst>
              </p:cNvPr>
              <p:cNvSpPr/>
              <p:nvPr/>
            </p:nvSpPr>
            <p:spPr>
              <a:xfrm>
                <a:off x="6234278" y="4367538"/>
                <a:ext cx="206578" cy="105455"/>
              </a:xfrm>
              <a:custGeom>
                <a:avLst/>
                <a:gdLst>
                  <a:gd name="connsiteX0" fmla="*/ 111467 w 206578"/>
                  <a:gd name="connsiteY0" fmla="*/ 105456 h 105455"/>
                  <a:gd name="connsiteX1" fmla="*/ 6548 w 206578"/>
                  <a:gd name="connsiteY1" fmla="*/ 105456 h 105455"/>
                  <a:gd name="connsiteX2" fmla="*/ 0 w 206578"/>
                  <a:gd name="connsiteY2" fmla="*/ 98907 h 105455"/>
                  <a:gd name="connsiteX3" fmla="*/ 6548 w 206578"/>
                  <a:gd name="connsiteY3" fmla="*/ 92359 h 105455"/>
                  <a:gd name="connsiteX4" fmla="*/ 108685 w 206578"/>
                  <a:gd name="connsiteY4" fmla="*/ 92359 h 105455"/>
                  <a:gd name="connsiteX5" fmla="*/ 195291 w 206578"/>
                  <a:gd name="connsiteY5" fmla="*/ 2015 h 105455"/>
                  <a:gd name="connsiteX6" fmla="*/ 204563 w 206578"/>
                  <a:gd name="connsiteY6" fmla="*/ 1812 h 105455"/>
                  <a:gd name="connsiteX7" fmla="*/ 204766 w 206578"/>
                  <a:gd name="connsiteY7" fmla="*/ 11084 h 105455"/>
                  <a:gd name="connsiteX8" fmla="*/ 116218 w 206578"/>
                  <a:gd name="connsiteY8" fmla="*/ 103457 h 105455"/>
                  <a:gd name="connsiteX9" fmla="*/ 111467 w 206578"/>
                  <a:gd name="connsiteY9" fmla="*/ 105456 h 105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6578" h="105455">
                    <a:moveTo>
                      <a:pt x="111467" y="105456"/>
                    </a:moveTo>
                    <a:lnTo>
                      <a:pt x="6548" y="105456"/>
                    </a:lnTo>
                    <a:cubicBezTo>
                      <a:pt x="2926" y="105456"/>
                      <a:pt x="0" y="102529"/>
                      <a:pt x="0" y="98907"/>
                    </a:cubicBezTo>
                    <a:cubicBezTo>
                      <a:pt x="0" y="95286"/>
                      <a:pt x="2926" y="92359"/>
                      <a:pt x="6548" y="92359"/>
                    </a:cubicBezTo>
                    <a:lnTo>
                      <a:pt x="108685" y="92359"/>
                    </a:lnTo>
                    <a:lnTo>
                      <a:pt x="195291" y="2015"/>
                    </a:lnTo>
                    <a:cubicBezTo>
                      <a:pt x="197812" y="-592"/>
                      <a:pt x="201955" y="-679"/>
                      <a:pt x="204563" y="1812"/>
                    </a:cubicBezTo>
                    <a:cubicBezTo>
                      <a:pt x="207171" y="4304"/>
                      <a:pt x="207258" y="8477"/>
                      <a:pt x="204766" y="11084"/>
                    </a:cubicBezTo>
                    <a:lnTo>
                      <a:pt x="116218" y="103457"/>
                    </a:lnTo>
                    <a:cubicBezTo>
                      <a:pt x="114944" y="104731"/>
                      <a:pt x="113234" y="105456"/>
                      <a:pt x="111467" y="105456"/>
                    </a:cubicBezTo>
                    <a:close/>
                  </a:path>
                </a:pathLst>
              </a:custGeom>
              <a:grpFill/>
              <a:ln w="2891" cap="flat">
                <a:noFill/>
                <a:prstDash val="solid"/>
                <a:miter/>
              </a:ln>
            </p:spPr>
            <p:txBody>
              <a:bodyPr rtlCol="0" anchor="ctr"/>
              <a:lstStyle/>
              <a:p>
                <a:endParaRPr lang="en-GB" dirty="0"/>
              </a:p>
            </p:txBody>
          </p:sp>
          <p:sp>
            <p:nvSpPr>
              <p:cNvPr id="409" name="Freihandform: Form 961">
                <a:extLst>
                  <a:ext uri="{FF2B5EF4-FFF2-40B4-BE49-F238E27FC236}">
                    <a16:creationId xmlns:a16="http://schemas.microsoft.com/office/drawing/2014/main" id="{C246338F-57DC-42F8-A624-C5FF0B420614}"/>
                  </a:ext>
                </a:extLst>
              </p:cNvPr>
              <p:cNvSpPr/>
              <p:nvPr/>
            </p:nvSpPr>
            <p:spPr>
              <a:xfrm>
                <a:off x="6234250" y="4404685"/>
                <a:ext cx="87472" cy="68308"/>
              </a:xfrm>
              <a:custGeom>
                <a:avLst/>
                <a:gdLst>
                  <a:gd name="connsiteX0" fmla="*/ 6576 w 87472"/>
                  <a:gd name="connsiteY0" fmla="*/ 68309 h 68308"/>
                  <a:gd name="connsiteX1" fmla="*/ 1302 w 87472"/>
                  <a:gd name="connsiteY1" fmla="*/ 65672 h 68308"/>
                  <a:gd name="connsiteX2" fmla="*/ 2664 w 87472"/>
                  <a:gd name="connsiteY2" fmla="*/ 56487 h 68308"/>
                  <a:gd name="connsiteX3" fmla="*/ 76985 w 87472"/>
                  <a:gd name="connsiteY3" fmla="*/ 1290 h 68308"/>
                  <a:gd name="connsiteX4" fmla="*/ 86170 w 87472"/>
                  <a:gd name="connsiteY4" fmla="*/ 2652 h 68308"/>
                  <a:gd name="connsiteX5" fmla="*/ 84808 w 87472"/>
                  <a:gd name="connsiteY5" fmla="*/ 11837 h 68308"/>
                  <a:gd name="connsiteX6" fmla="*/ 10487 w 87472"/>
                  <a:gd name="connsiteY6" fmla="*/ 67034 h 68308"/>
                  <a:gd name="connsiteX7" fmla="*/ 6576 w 87472"/>
                  <a:gd name="connsiteY7" fmla="*/ 68309 h 68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72" h="68308">
                    <a:moveTo>
                      <a:pt x="6576" y="68309"/>
                    </a:moveTo>
                    <a:cubicBezTo>
                      <a:pt x="4577" y="68309"/>
                      <a:pt x="2606" y="67382"/>
                      <a:pt x="1302" y="65672"/>
                    </a:cubicBezTo>
                    <a:cubicBezTo>
                      <a:pt x="-871" y="62775"/>
                      <a:pt x="-262" y="58660"/>
                      <a:pt x="2664" y="56487"/>
                    </a:cubicBezTo>
                    <a:lnTo>
                      <a:pt x="76985" y="1290"/>
                    </a:lnTo>
                    <a:cubicBezTo>
                      <a:pt x="79882" y="-854"/>
                      <a:pt x="83997" y="-275"/>
                      <a:pt x="86170" y="2652"/>
                    </a:cubicBezTo>
                    <a:cubicBezTo>
                      <a:pt x="88343" y="5549"/>
                      <a:pt x="87735" y="9664"/>
                      <a:pt x="84808" y="11837"/>
                    </a:cubicBezTo>
                    <a:lnTo>
                      <a:pt x="10487" y="67034"/>
                    </a:lnTo>
                    <a:cubicBezTo>
                      <a:pt x="9300" y="67874"/>
                      <a:pt x="7909" y="68309"/>
                      <a:pt x="6576" y="68309"/>
                    </a:cubicBezTo>
                    <a:close/>
                  </a:path>
                </a:pathLst>
              </a:custGeom>
              <a:grpFill/>
              <a:ln w="2891" cap="flat">
                <a:noFill/>
                <a:prstDash val="solid"/>
                <a:miter/>
              </a:ln>
            </p:spPr>
            <p:txBody>
              <a:bodyPr rtlCol="0" anchor="ctr"/>
              <a:lstStyle/>
              <a:p>
                <a:endParaRPr lang="en-GB" dirty="0"/>
              </a:p>
            </p:txBody>
          </p:sp>
          <p:sp>
            <p:nvSpPr>
              <p:cNvPr id="410" name="Freihandform: Form 962">
                <a:extLst>
                  <a:ext uri="{FF2B5EF4-FFF2-40B4-BE49-F238E27FC236}">
                    <a16:creationId xmlns:a16="http://schemas.microsoft.com/office/drawing/2014/main" id="{3C4AF617-D40A-418A-AC2A-4BDD87361DAF}"/>
                  </a:ext>
                </a:extLst>
              </p:cNvPr>
              <p:cNvSpPr/>
              <p:nvPr/>
            </p:nvSpPr>
            <p:spPr>
              <a:xfrm>
                <a:off x="6411314" y="4400846"/>
                <a:ext cx="93357" cy="126040"/>
              </a:xfrm>
              <a:custGeom>
                <a:avLst/>
                <a:gdLst>
                  <a:gd name="connsiteX0" fmla="*/ 65570 w 93357"/>
                  <a:gd name="connsiteY0" fmla="*/ 13126 h 126040"/>
                  <a:gd name="connsiteX1" fmla="*/ 90402 w 93357"/>
                  <a:gd name="connsiteY1" fmla="*/ 19529 h 126040"/>
                  <a:gd name="connsiteX2" fmla="*/ 93357 w 93357"/>
                  <a:gd name="connsiteY2" fmla="*/ 6288 h 126040"/>
                  <a:gd name="connsiteX3" fmla="*/ 65570 w 93357"/>
                  <a:gd name="connsiteY3" fmla="*/ 0 h 126040"/>
                  <a:gd name="connsiteX4" fmla="*/ 0 w 93357"/>
                  <a:gd name="connsiteY4" fmla="*/ 65570 h 126040"/>
                  <a:gd name="connsiteX5" fmla="*/ 40449 w 93357"/>
                  <a:gd name="connsiteY5" fmla="*/ 126041 h 126040"/>
                  <a:gd name="connsiteX6" fmla="*/ 40449 w 93357"/>
                  <a:gd name="connsiteY6" fmla="*/ 111409 h 126040"/>
                  <a:gd name="connsiteX7" fmla="*/ 13126 w 93357"/>
                  <a:gd name="connsiteY7" fmla="*/ 65570 h 126040"/>
                  <a:gd name="connsiteX8" fmla="*/ 65570 w 93357"/>
                  <a:gd name="connsiteY8" fmla="*/ 13126 h 126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3357" h="126040">
                    <a:moveTo>
                      <a:pt x="65570" y="13126"/>
                    </a:moveTo>
                    <a:cubicBezTo>
                      <a:pt x="74379" y="13126"/>
                      <a:pt x="82839" y="15444"/>
                      <a:pt x="90402" y="19529"/>
                    </a:cubicBezTo>
                    <a:lnTo>
                      <a:pt x="93357" y="6288"/>
                    </a:lnTo>
                    <a:cubicBezTo>
                      <a:pt x="84752" y="2260"/>
                      <a:pt x="75306" y="0"/>
                      <a:pt x="65570" y="0"/>
                    </a:cubicBezTo>
                    <a:cubicBezTo>
                      <a:pt x="29410" y="0"/>
                      <a:pt x="0" y="29410"/>
                      <a:pt x="0" y="65570"/>
                    </a:cubicBezTo>
                    <a:cubicBezTo>
                      <a:pt x="0" y="92807"/>
                      <a:pt x="16748" y="116161"/>
                      <a:pt x="40449" y="126041"/>
                    </a:cubicBezTo>
                    <a:lnTo>
                      <a:pt x="40449" y="111409"/>
                    </a:lnTo>
                    <a:cubicBezTo>
                      <a:pt x="24223" y="102484"/>
                      <a:pt x="13126" y="85360"/>
                      <a:pt x="13126" y="65570"/>
                    </a:cubicBezTo>
                    <a:cubicBezTo>
                      <a:pt x="13126" y="36653"/>
                      <a:pt x="36653" y="13126"/>
                      <a:pt x="65570" y="13126"/>
                    </a:cubicBezTo>
                    <a:close/>
                  </a:path>
                </a:pathLst>
              </a:custGeom>
              <a:grpFill/>
              <a:ln w="2891" cap="flat">
                <a:noFill/>
                <a:prstDash val="solid"/>
                <a:miter/>
              </a:ln>
            </p:spPr>
            <p:txBody>
              <a:bodyPr rtlCol="0" anchor="ctr"/>
              <a:lstStyle/>
              <a:p>
                <a:endParaRPr lang="en-GB" dirty="0"/>
              </a:p>
            </p:txBody>
          </p:sp>
        </p:grpSp>
      </p:grpSp>
      <p:grpSp>
        <p:nvGrpSpPr>
          <p:cNvPr id="47" name="Group 46">
            <a:extLst>
              <a:ext uri="{FF2B5EF4-FFF2-40B4-BE49-F238E27FC236}">
                <a16:creationId xmlns:a16="http://schemas.microsoft.com/office/drawing/2014/main" id="{74F3CD23-395C-671B-7FED-AD7CE766A836}"/>
              </a:ext>
            </a:extLst>
          </p:cNvPr>
          <p:cNvGrpSpPr/>
          <p:nvPr/>
        </p:nvGrpSpPr>
        <p:grpSpPr>
          <a:xfrm>
            <a:off x="8100247" y="1585986"/>
            <a:ext cx="484863" cy="431998"/>
            <a:chOff x="8099835" y="1585986"/>
            <a:chExt cx="484863" cy="431998"/>
          </a:xfrm>
        </p:grpSpPr>
        <p:grpSp>
          <p:nvGrpSpPr>
            <p:cNvPr id="657" name="Grafik 355">
              <a:extLst>
                <a:ext uri="{FF2B5EF4-FFF2-40B4-BE49-F238E27FC236}">
                  <a16:creationId xmlns:a16="http://schemas.microsoft.com/office/drawing/2014/main" id="{598F72AC-93E5-45B7-AAEE-9D8E739F4512}"/>
                </a:ext>
              </a:extLst>
            </p:cNvPr>
            <p:cNvGrpSpPr/>
            <p:nvPr/>
          </p:nvGrpSpPr>
          <p:grpSpPr>
            <a:xfrm>
              <a:off x="8383016" y="1798660"/>
              <a:ext cx="201682" cy="219324"/>
              <a:chOff x="7264345" y="2666916"/>
              <a:chExt cx="179670" cy="195386"/>
            </a:xfrm>
            <a:solidFill>
              <a:schemeClr val="accent1"/>
            </a:solidFill>
          </p:grpSpPr>
          <p:grpSp>
            <p:nvGrpSpPr>
              <p:cNvPr id="671" name="Grafik 355">
                <a:extLst>
                  <a:ext uri="{FF2B5EF4-FFF2-40B4-BE49-F238E27FC236}">
                    <a16:creationId xmlns:a16="http://schemas.microsoft.com/office/drawing/2014/main" id="{89821668-249C-42D0-9DD1-28A77D5E4F2C}"/>
                  </a:ext>
                </a:extLst>
              </p:cNvPr>
              <p:cNvGrpSpPr/>
              <p:nvPr/>
            </p:nvGrpSpPr>
            <p:grpSpPr>
              <a:xfrm>
                <a:off x="7264345" y="2666916"/>
                <a:ext cx="179670" cy="195386"/>
                <a:chOff x="7264345" y="2666916"/>
                <a:chExt cx="179670" cy="195386"/>
              </a:xfrm>
              <a:solidFill>
                <a:schemeClr val="accent1"/>
              </a:solidFill>
            </p:grpSpPr>
            <p:sp>
              <p:nvSpPr>
                <p:cNvPr id="673" name="Freihandform: Form 703">
                  <a:extLst>
                    <a:ext uri="{FF2B5EF4-FFF2-40B4-BE49-F238E27FC236}">
                      <a16:creationId xmlns:a16="http://schemas.microsoft.com/office/drawing/2014/main" id="{208D055B-0CAD-4A28-8AE1-3CEB2A2E9075}"/>
                    </a:ext>
                  </a:extLst>
                </p:cNvPr>
                <p:cNvSpPr/>
                <p:nvPr/>
              </p:nvSpPr>
              <p:spPr>
                <a:xfrm>
                  <a:off x="7347643" y="2715027"/>
                  <a:ext cx="96373" cy="147275"/>
                </a:xfrm>
                <a:custGeom>
                  <a:avLst/>
                  <a:gdLst>
                    <a:gd name="connsiteX0" fmla="*/ 6542 w 96373"/>
                    <a:gd name="connsiteY0" fmla="*/ 147276 h 147275"/>
                    <a:gd name="connsiteX1" fmla="*/ 3226 w 96373"/>
                    <a:gd name="connsiteY1" fmla="*/ 146371 h 147275"/>
                    <a:gd name="connsiteX2" fmla="*/ 0 w 96373"/>
                    <a:gd name="connsiteY2" fmla="*/ 140734 h 147275"/>
                    <a:gd name="connsiteX3" fmla="*/ 0 w 96373"/>
                    <a:gd name="connsiteY3" fmla="*/ 57441 h 147275"/>
                    <a:gd name="connsiteX4" fmla="*/ 3131 w 96373"/>
                    <a:gd name="connsiteY4" fmla="*/ 51858 h 147275"/>
                    <a:gd name="connsiteX5" fmla="*/ 86421 w 96373"/>
                    <a:gd name="connsiteY5" fmla="*/ 958 h 147275"/>
                    <a:gd name="connsiteX6" fmla="*/ 93032 w 96373"/>
                    <a:gd name="connsiteY6" fmla="*/ 837 h 147275"/>
                    <a:gd name="connsiteX7" fmla="*/ 96374 w 96373"/>
                    <a:gd name="connsiteY7" fmla="*/ 6541 h 147275"/>
                    <a:gd name="connsiteX8" fmla="*/ 96374 w 96373"/>
                    <a:gd name="connsiteY8" fmla="*/ 94460 h 147275"/>
                    <a:gd name="connsiteX9" fmla="*/ 93007 w 96373"/>
                    <a:gd name="connsiteY9" fmla="*/ 100178 h 147275"/>
                    <a:gd name="connsiteX10" fmla="*/ 9715 w 96373"/>
                    <a:gd name="connsiteY10" fmla="*/ 146452 h 147275"/>
                    <a:gd name="connsiteX11" fmla="*/ 6542 w 96373"/>
                    <a:gd name="connsiteY11" fmla="*/ 147276 h 147275"/>
                    <a:gd name="connsiteX12" fmla="*/ 13084 w 96373"/>
                    <a:gd name="connsiteY12" fmla="*/ 61112 h 147275"/>
                    <a:gd name="connsiteX13" fmla="*/ 13084 w 96373"/>
                    <a:gd name="connsiteY13" fmla="*/ 129615 h 147275"/>
                    <a:gd name="connsiteX14" fmla="*/ 83292 w 96373"/>
                    <a:gd name="connsiteY14" fmla="*/ 90611 h 147275"/>
                    <a:gd name="connsiteX15" fmla="*/ 83292 w 96373"/>
                    <a:gd name="connsiteY15" fmla="*/ 18209 h 147275"/>
                    <a:gd name="connsiteX16" fmla="*/ 13084 w 96373"/>
                    <a:gd name="connsiteY16" fmla="*/ 61112 h 14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373" h="147275">
                      <a:moveTo>
                        <a:pt x="6542" y="147276"/>
                      </a:moveTo>
                      <a:cubicBezTo>
                        <a:pt x="5392" y="147276"/>
                        <a:pt x="4249" y="146975"/>
                        <a:pt x="3226" y="146371"/>
                      </a:cubicBezTo>
                      <a:cubicBezTo>
                        <a:pt x="1226" y="145195"/>
                        <a:pt x="0" y="143052"/>
                        <a:pt x="0" y="140734"/>
                      </a:cubicBezTo>
                      <a:lnTo>
                        <a:pt x="0" y="57441"/>
                      </a:lnTo>
                      <a:cubicBezTo>
                        <a:pt x="0" y="55164"/>
                        <a:pt x="1187" y="53047"/>
                        <a:pt x="3131" y="51858"/>
                      </a:cubicBezTo>
                      <a:lnTo>
                        <a:pt x="86421" y="958"/>
                      </a:lnTo>
                      <a:cubicBezTo>
                        <a:pt x="88460" y="-276"/>
                        <a:pt x="90975" y="-320"/>
                        <a:pt x="93032" y="837"/>
                      </a:cubicBezTo>
                      <a:cubicBezTo>
                        <a:pt x="95096" y="1994"/>
                        <a:pt x="96374" y="4174"/>
                        <a:pt x="96374" y="6541"/>
                      </a:cubicBezTo>
                      <a:lnTo>
                        <a:pt x="96374" y="94460"/>
                      </a:lnTo>
                      <a:cubicBezTo>
                        <a:pt x="96374" y="96836"/>
                        <a:pt x="95082" y="99025"/>
                        <a:pt x="93007" y="100178"/>
                      </a:cubicBezTo>
                      <a:lnTo>
                        <a:pt x="9715" y="146452"/>
                      </a:lnTo>
                      <a:cubicBezTo>
                        <a:pt x="8731" y="147000"/>
                        <a:pt x="7634" y="147276"/>
                        <a:pt x="6542" y="147276"/>
                      </a:cubicBezTo>
                      <a:close/>
                      <a:moveTo>
                        <a:pt x="13084" y="61112"/>
                      </a:moveTo>
                      <a:lnTo>
                        <a:pt x="13084" y="129615"/>
                      </a:lnTo>
                      <a:lnTo>
                        <a:pt x="83292" y="90611"/>
                      </a:lnTo>
                      <a:lnTo>
                        <a:pt x="83292" y="18209"/>
                      </a:lnTo>
                      <a:lnTo>
                        <a:pt x="13084" y="61112"/>
                      </a:lnTo>
                      <a:close/>
                    </a:path>
                  </a:pathLst>
                </a:custGeom>
                <a:solidFill>
                  <a:schemeClr val="accent1"/>
                </a:solidFill>
                <a:ln w="231" cap="flat">
                  <a:noFill/>
                  <a:prstDash val="solid"/>
                  <a:miter/>
                </a:ln>
              </p:spPr>
              <p:txBody>
                <a:bodyPr rtlCol="0" anchor="ctr"/>
                <a:lstStyle/>
                <a:p>
                  <a:endParaRPr lang="en-GB" dirty="0"/>
                </a:p>
              </p:txBody>
            </p:sp>
            <p:sp>
              <p:nvSpPr>
                <p:cNvPr id="674" name="Freihandform: Form 704">
                  <a:extLst>
                    <a:ext uri="{FF2B5EF4-FFF2-40B4-BE49-F238E27FC236}">
                      <a16:creationId xmlns:a16="http://schemas.microsoft.com/office/drawing/2014/main" id="{1CED0B30-63FE-42D0-8895-9AD3765E4F90}"/>
                    </a:ext>
                  </a:extLst>
                </p:cNvPr>
                <p:cNvSpPr/>
                <p:nvPr/>
              </p:nvSpPr>
              <p:spPr>
                <a:xfrm>
                  <a:off x="7264351" y="2715028"/>
                  <a:ext cx="96375" cy="147274"/>
                </a:xfrm>
                <a:custGeom>
                  <a:avLst/>
                  <a:gdLst>
                    <a:gd name="connsiteX0" fmla="*/ 89834 w 96375"/>
                    <a:gd name="connsiteY0" fmla="*/ 147275 h 147274"/>
                    <a:gd name="connsiteX1" fmla="*/ 86659 w 96375"/>
                    <a:gd name="connsiteY1" fmla="*/ 146451 h 147274"/>
                    <a:gd name="connsiteX2" fmla="*/ 3367 w 96375"/>
                    <a:gd name="connsiteY2" fmla="*/ 100177 h 147274"/>
                    <a:gd name="connsiteX3" fmla="*/ 0 w 96375"/>
                    <a:gd name="connsiteY3" fmla="*/ 94459 h 147274"/>
                    <a:gd name="connsiteX4" fmla="*/ 0 w 96375"/>
                    <a:gd name="connsiteY4" fmla="*/ 6541 h 147274"/>
                    <a:gd name="connsiteX5" fmla="*/ 3341 w 96375"/>
                    <a:gd name="connsiteY5" fmla="*/ 837 h 147274"/>
                    <a:gd name="connsiteX6" fmla="*/ 9953 w 96375"/>
                    <a:gd name="connsiteY6" fmla="*/ 957 h 147274"/>
                    <a:gd name="connsiteX7" fmla="*/ 93245 w 96375"/>
                    <a:gd name="connsiteY7" fmla="*/ 51857 h 147274"/>
                    <a:gd name="connsiteX8" fmla="*/ 96376 w 96375"/>
                    <a:gd name="connsiteY8" fmla="*/ 57441 h 147274"/>
                    <a:gd name="connsiteX9" fmla="*/ 96376 w 96375"/>
                    <a:gd name="connsiteY9" fmla="*/ 140733 h 147274"/>
                    <a:gd name="connsiteX10" fmla="*/ 93150 w 96375"/>
                    <a:gd name="connsiteY10" fmla="*/ 146370 h 147274"/>
                    <a:gd name="connsiteX11" fmla="*/ 89834 w 96375"/>
                    <a:gd name="connsiteY11" fmla="*/ 147275 h 147274"/>
                    <a:gd name="connsiteX12" fmla="*/ 13083 w 96375"/>
                    <a:gd name="connsiteY12" fmla="*/ 90608 h 147274"/>
                    <a:gd name="connsiteX13" fmla="*/ 83292 w 96375"/>
                    <a:gd name="connsiteY13" fmla="*/ 129612 h 147274"/>
                    <a:gd name="connsiteX14" fmla="*/ 83292 w 96375"/>
                    <a:gd name="connsiteY14" fmla="*/ 61108 h 147274"/>
                    <a:gd name="connsiteX15" fmla="*/ 13083 w 96375"/>
                    <a:gd name="connsiteY15" fmla="*/ 18203 h 147274"/>
                    <a:gd name="connsiteX16" fmla="*/ 13083 w 96375"/>
                    <a:gd name="connsiteY16" fmla="*/ 90608 h 14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6375" h="147274">
                      <a:moveTo>
                        <a:pt x="89834" y="147275"/>
                      </a:moveTo>
                      <a:cubicBezTo>
                        <a:pt x="88742" y="147275"/>
                        <a:pt x="87642" y="146999"/>
                        <a:pt x="86659" y="146451"/>
                      </a:cubicBezTo>
                      <a:lnTo>
                        <a:pt x="3367" y="100177"/>
                      </a:lnTo>
                      <a:cubicBezTo>
                        <a:pt x="1291" y="99024"/>
                        <a:pt x="0" y="96835"/>
                        <a:pt x="0" y="94459"/>
                      </a:cubicBezTo>
                      <a:lnTo>
                        <a:pt x="0" y="6541"/>
                      </a:lnTo>
                      <a:cubicBezTo>
                        <a:pt x="0" y="4173"/>
                        <a:pt x="1277" y="1991"/>
                        <a:pt x="3341" y="837"/>
                      </a:cubicBezTo>
                      <a:cubicBezTo>
                        <a:pt x="5410" y="-323"/>
                        <a:pt x="7935" y="-272"/>
                        <a:pt x="9953" y="957"/>
                      </a:cubicBezTo>
                      <a:lnTo>
                        <a:pt x="93245" y="51857"/>
                      </a:lnTo>
                      <a:cubicBezTo>
                        <a:pt x="95186" y="53046"/>
                        <a:pt x="96376" y="55164"/>
                        <a:pt x="96376" y="57441"/>
                      </a:cubicBezTo>
                      <a:lnTo>
                        <a:pt x="96376" y="140733"/>
                      </a:lnTo>
                      <a:cubicBezTo>
                        <a:pt x="96376" y="143052"/>
                        <a:pt x="95149" y="145194"/>
                        <a:pt x="93150" y="146370"/>
                      </a:cubicBezTo>
                      <a:cubicBezTo>
                        <a:pt x="92127" y="146974"/>
                        <a:pt x="90982" y="147275"/>
                        <a:pt x="89834" y="147275"/>
                      </a:cubicBezTo>
                      <a:close/>
                      <a:moveTo>
                        <a:pt x="13083" y="90608"/>
                      </a:moveTo>
                      <a:lnTo>
                        <a:pt x="83292" y="129612"/>
                      </a:lnTo>
                      <a:lnTo>
                        <a:pt x="83292" y="61108"/>
                      </a:lnTo>
                      <a:lnTo>
                        <a:pt x="13083" y="18203"/>
                      </a:lnTo>
                      <a:lnTo>
                        <a:pt x="13083" y="90608"/>
                      </a:lnTo>
                      <a:close/>
                    </a:path>
                  </a:pathLst>
                </a:custGeom>
                <a:solidFill>
                  <a:schemeClr val="accent1"/>
                </a:solidFill>
                <a:ln w="231" cap="flat">
                  <a:noFill/>
                  <a:prstDash val="solid"/>
                  <a:miter/>
                </a:ln>
              </p:spPr>
              <p:txBody>
                <a:bodyPr rtlCol="0" anchor="ctr"/>
                <a:lstStyle/>
                <a:p>
                  <a:endParaRPr lang="en-GB" dirty="0"/>
                </a:p>
              </p:txBody>
            </p:sp>
            <p:sp>
              <p:nvSpPr>
                <p:cNvPr id="675" name="Freihandform: Form 705">
                  <a:extLst>
                    <a:ext uri="{FF2B5EF4-FFF2-40B4-BE49-F238E27FC236}">
                      <a16:creationId xmlns:a16="http://schemas.microsoft.com/office/drawing/2014/main" id="{E29DACAB-A52E-4EBB-8540-D289D6A06700}"/>
                    </a:ext>
                  </a:extLst>
                </p:cNvPr>
                <p:cNvSpPr/>
                <p:nvPr/>
              </p:nvSpPr>
              <p:spPr>
                <a:xfrm>
                  <a:off x="7264345" y="2666916"/>
                  <a:ext cx="179670" cy="61194"/>
                </a:xfrm>
                <a:custGeom>
                  <a:avLst/>
                  <a:gdLst>
                    <a:gd name="connsiteX0" fmla="*/ 6552 w 179670"/>
                    <a:gd name="connsiteY0" fmla="*/ 61194 h 61194"/>
                    <a:gd name="connsiteX1" fmla="*/ 878 w 179670"/>
                    <a:gd name="connsiteY1" fmla="*/ 57927 h 61194"/>
                    <a:gd name="connsiteX2" fmla="*/ 3273 w 179670"/>
                    <a:gd name="connsiteY2" fmla="*/ 48990 h 61194"/>
                    <a:gd name="connsiteX3" fmla="*/ 86526 w 179670"/>
                    <a:gd name="connsiteY3" fmla="*/ 878 h 61194"/>
                    <a:gd name="connsiteX4" fmla="*/ 93067 w 179670"/>
                    <a:gd name="connsiteY4" fmla="*/ 876 h 61194"/>
                    <a:gd name="connsiteX5" fmla="*/ 176397 w 179670"/>
                    <a:gd name="connsiteY5" fmla="*/ 48988 h 61194"/>
                    <a:gd name="connsiteX6" fmla="*/ 178792 w 179670"/>
                    <a:gd name="connsiteY6" fmla="*/ 57925 h 61194"/>
                    <a:gd name="connsiteX7" fmla="*/ 169855 w 179670"/>
                    <a:gd name="connsiteY7" fmla="*/ 60320 h 61194"/>
                    <a:gd name="connsiteX8" fmla="*/ 89795 w 179670"/>
                    <a:gd name="connsiteY8" fmla="*/ 14096 h 61194"/>
                    <a:gd name="connsiteX9" fmla="*/ 9812 w 179670"/>
                    <a:gd name="connsiteY9" fmla="*/ 60317 h 61194"/>
                    <a:gd name="connsiteX10" fmla="*/ 6552 w 179670"/>
                    <a:gd name="connsiteY10" fmla="*/ 61194 h 61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9670" h="61194">
                      <a:moveTo>
                        <a:pt x="6552" y="61194"/>
                      </a:moveTo>
                      <a:cubicBezTo>
                        <a:pt x="4291" y="61194"/>
                        <a:pt x="2093" y="60021"/>
                        <a:pt x="878" y="57927"/>
                      </a:cubicBezTo>
                      <a:cubicBezTo>
                        <a:pt x="-930" y="54796"/>
                        <a:pt x="144" y="50797"/>
                        <a:pt x="3273" y="48990"/>
                      </a:cubicBezTo>
                      <a:lnTo>
                        <a:pt x="86526" y="878"/>
                      </a:lnTo>
                      <a:cubicBezTo>
                        <a:pt x="88543" y="-290"/>
                        <a:pt x="91050" y="-295"/>
                        <a:pt x="93067" y="876"/>
                      </a:cubicBezTo>
                      <a:lnTo>
                        <a:pt x="176397" y="48988"/>
                      </a:lnTo>
                      <a:cubicBezTo>
                        <a:pt x="179528" y="50795"/>
                        <a:pt x="180601" y="54794"/>
                        <a:pt x="178792" y="57925"/>
                      </a:cubicBezTo>
                      <a:cubicBezTo>
                        <a:pt x="176978" y="61051"/>
                        <a:pt x="172972" y="62118"/>
                        <a:pt x="169855" y="60320"/>
                      </a:cubicBezTo>
                      <a:lnTo>
                        <a:pt x="89795" y="14096"/>
                      </a:lnTo>
                      <a:lnTo>
                        <a:pt x="9812" y="60317"/>
                      </a:lnTo>
                      <a:cubicBezTo>
                        <a:pt x="8789" y="60914"/>
                        <a:pt x="7665" y="61194"/>
                        <a:pt x="6552" y="61194"/>
                      </a:cubicBezTo>
                      <a:close/>
                    </a:path>
                  </a:pathLst>
                </a:custGeom>
                <a:solidFill>
                  <a:schemeClr val="accent1"/>
                </a:solidFill>
                <a:ln w="231" cap="flat">
                  <a:noFill/>
                  <a:prstDash val="solid"/>
                  <a:miter/>
                </a:ln>
              </p:spPr>
              <p:txBody>
                <a:bodyPr rtlCol="0" anchor="ctr"/>
                <a:lstStyle/>
                <a:p>
                  <a:endParaRPr lang="en-GB" dirty="0"/>
                </a:p>
              </p:txBody>
            </p:sp>
          </p:grpSp>
          <p:sp>
            <p:nvSpPr>
              <p:cNvPr id="672" name="Freihandform: Form 706">
                <a:extLst>
                  <a:ext uri="{FF2B5EF4-FFF2-40B4-BE49-F238E27FC236}">
                    <a16:creationId xmlns:a16="http://schemas.microsoft.com/office/drawing/2014/main" id="{D498BAF5-1A91-4ABD-BA92-2D9E19E34303}"/>
                  </a:ext>
                </a:extLst>
              </p:cNvPr>
              <p:cNvSpPr/>
              <p:nvPr/>
            </p:nvSpPr>
            <p:spPr>
              <a:xfrm>
                <a:off x="7353458" y="2719867"/>
                <a:ext cx="47801" cy="66722"/>
              </a:xfrm>
              <a:custGeom>
                <a:avLst/>
                <a:gdLst>
                  <a:gd name="connsiteX0" fmla="*/ 41260 w 47801"/>
                  <a:gd name="connsiteY0" fmla="*/ 66722 h 66722"/>
                  <a:gd name="connsiteX1" fmla="*/ 34718 w 47801"/>
                  <a:gd name="connsiteY1" fmla="*/ 60181 h 66722"/>
                  <a:gd name="connsiteX2" fmla="*/ 34718 w 47801"/>
                  <a:gd name="connsiteY2" fmla="*/ 31431 h 66722"/>
                  <a:gd name="connsiteX3" fmla="*/ 3133 w 47801"/>
                  <a:gd name="connsiteY3" fmla="*/ 12124 h 66722"/>
                  <a:gd name="connsiteX4" fmla="*/ 961 w 47801"/>
                  <a:gd name="connsiteY4" fmla="*/ 3132 h 66722"/>
                  <a:gd name="connsiteX5" fmla="*/ 9955 w 47801"/>
                  <a:gd name="connsiteY5" fmla="*/ 964 h 66722"/>
                  <a:gd name="connsiteX6" fmla="*/ 44671 w 47801"/>
                  <a:gd name="connsiteY6" fmla="*/ 22184 h 66722"/>
                  <a:gd name="connsiteX7" fmla="*/ 47802 w 47801"/>
                  <a:gd name="connsiteY7" fmla="*/ 27763 h 66722"/>
                  <a:gd name="connsiteX8" fmla="*/ 47802 w 47801"/>
                  <a:gd name="connsiteY8" fmla="*/ 60181 h 66722"/>
                  <a:gd name="connsiteX9" fmla="*/ 41260 w 47801"/>
                  <a:gd name="connsiteY9" fmla="*/ 66722 h 6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801" h="66722">
                    <a:moveTo>
                      <a:pt x="41260" y="66722"/>
                    </a:moveTo>
                    <a:cubicBezTo>
                      <a:pt x="37643" y="66722"/>
                      <a:pt x="34718" y="63793"/>
                      <a:pt x="34718" y="60181"/>
                    </a:cubicBezTo>
                    <a:lnTo>
                      <a:pt x="34718" y="31431"/>
                    </a:lnTo>
                    <a:lnTo>
                      <a:pt x="3133" y="12124"/>
                    </a:lnTo>
                    <a:cubicBezTo>
                      <a:pt x="49" y="10243"/>
                      <a:pt x="-923" y="6214"/>
                      <a:pt x="961" y="3132"/>
                    </a:cubicBezTo>
                    <a:cubicBezTo>
                      <a:pt x="2840" y="47"/>
                      <a:pt x="6871" y="-925"/>
                      <a:pt x="9955" y="964"/>
                    </a:cubicBezTo>
                    <a:lnTo>
                      <a:pt x="44671" y="22184"/>
                    </a:lnTo>
                    <a:cubicBezTo>
                      <a:pt x="46612" y="23373"/>
                      <a:pt x="47802" y="25486"/>
                      <a:pt x="47802" y="27763"/>
                    </a:cubicBezTo>
                    <a:lnTo>
                      <a:pt x="47802" y="60181"/>
                    </a:lnTo>
                    <a:cubicBezTo>
                      <a:pt x="47802" y="63795"/>
                      <a:pt x="44877" y="66722"/>
                      <a:pt x="41260" y="66722"/>
                    </a:cubicBezTo>
                    <a:close/>
                  </a:path>
                </a:pathLst>
              </a:custGeom>
              <a:solidFill>
                <a:schemeClr val="accent1"/>
              </a:solidFill>
              <a:ln w="231" cap="flat">
                <a:noFill/>
                <a:prstDash val="solid"/>
                <a:miter/>
              </a:ln>
            </p:spPr>
            <p:txBody>
              <a:bodyPr rtlCol="0" anchor="ctr"/>
              <a:lstStyle/>
              <a:p>
                <a:endParaRPr lang="en-GB" dirty="0"/>
              </a:p>
            </p:txBody>
          </p:sp>
        </p:grpSp>
        <p:grpSp>
          <p:nvGrpSpPr>
            <p:cNvPr id="658" name="Group 657">
              <a:extLst>
                <a:ext uri="{FF2B5EF4-FFF2-40B4-BE49-F238E27FC236}">
                  <a16:creationId xmlns:a16="http://schemas.microsoft.com/office/drawing/2014/main" id="{E05C9291-17B3-4D08-9508-9CACA7F10354}"/>
                </a:ext>
              </a:extLst>
            </p:cNvPr>
            <p:cNvGrpSpPr/>
            <p:nvPr/>
          </p:nvGrpSpPr>
          <p:grpSpPr>
            <a:xfrm>
              <a:off x="8099835" y="1585986"/>
              <a:ext cx="286815" cy="366277"/>
              <a:chOff x="7012065" y="2477452"/>
              <a:chExt cx="255511" cy="326300"/>
            </a:xfrm>
            <a:solidFill>
              <a:schemeClr val="tx2"/>
            </a:solidFill>
          </p:grpSpPr>
          <p:sp>
            <p:nvSpPr>
              <p:cNvPr id="659" name="Freihandform: Form 707">
                <a:extLst>
                  <a:ext uri="{FF2B5EF4-FFF2-40B4-BE49-F238E27FC236}">
                    <a16:creationId xmlns:a16="http://schemas.microsoft.com/office/drawing/2014/main" id="{4564C4DC-72EC-464B-A4E0-C5B4FF715EAF}"/>
                  </a:ext>
                </a:extLst>
              </p:cNvPr>
              <p:cNvSpPr/>
              <p:nvPr/>
            </p:nvSpPr>
            <p:spPr>
              <a:xfrm>
                <a:off x="7084437" y="2703260"/>
                <a:ext cx="149766" cy="100492"/>
              </a:xfrm>
              <a:custGeom>
                <a:avLst/>
                <a:gdLst>
                  <a:gd name="connsiteX0" fmla="*/ 135967 w 149766"/>
                  <a:gd name="connsiteY0" fmla="*/ 100493 h 100492"/>
                  <a:gd name="connsiteX1" fmla="*/ 13801 w 149766"/>
                  <a:gd name="connsiteY1" fmla="*/ 100493 h 100492"/>
                  <a:gd name="connsiteX2" fmla="*/ 7259 w 149766"/>
                  <a:gd name="connsiteY2" fmla="*/ 93951 h 100492"/>
                  <a:gd name="connsiteX3" fmla="*/ 7259 w 149766"/>
                  <a:gd name="connsiteY3" fmla="*/ 76878 h 100492"/>
                  <a:gd name="connsiteX4" fmla="*/ 136 w 149766"/>
                  <a:gd name="connsiteY4" fmla="*/ 19820 h 100492"/>
                  <a:gd name="connsiteX5" fmla="*/ 4417 w 149766"/>
                  <a:gd name="connsiteY5" fmla="*/ 5956 h 100492"/>
                  <a:gd name="connsiteX6" fmla="*/ 17621 w 149766"/>
                  <a:gd name="connsiteY6" fmla="*/ 0 h 100492"/>
                  <a:gd name="connsiteX7" fmla="*/ 132146 w 149766"/>
                  <a:gd name="connsiteY7" fmla="*/ 0 h 100492"/>
                  <a:gd name="connsiteX8" fmla="*/ 145350 w 149766"/>
                  <a:gd name="connsiteY8" fmla="*/ 5956 h 100492"/>
                  <a:gd name="connsiteX9" fmla="*/ 149631 w 149766"/>
                  <a:gd name="connsiteY9" fmla="*/ 19815 h 100492"/>
                  <a:gd name="connsiteX10" fmla="*/ 142509 w 149766"/>
                  <a:gd name="connsiteY10" fmla="*/ 76875 h 100492"/>
                  <a:gd name="connsiteX11" fmla="*/ 142509 w 149766"/>
                  <a:gd name="connsiteY11" fmla="*/ 93949 h 100492"/>
                  <a:gd name="connsiteX12" fmla="*/ 135967 w 149766"/>
                  <a:gd name="connsiteY12" fmla="*/ 100493 h 100492"/>
                  <a:gd name="connsiteX13" fmla="*/ 20343 w 149766"/>
                  <a:gd name="connsiteY13" fmla="*/ 87409 h 100492"/>
                  <a:gd name="connsiteX14" fmla="*/ 129425 w 149766"/>
                  <a:gd name="connsiteY14" fmla="*/ 87409 h 100492"/>
                  <a:gd name="connsiteX15" fmla="*/ 129425 w 149766"/>
                  <a:gd name="connsiteY15" fmla="*/ 76473 h 100492"/>
                  <a:gd name="connsiteX16" fmla="*/ 129476 w 149766"/>
                  <a:gd name="connsiteY16" fmla="*/ 75661 h 100492"/>
                  <a:gd name="connsiteX17" fmla="*/ 136649 w 149766"/>
                  <a:gd name="connsiteY17" fmla="*/ 18198 h 100492"/>
                  <a:gd name="connsiteX18" fmla="*/ 135543 w 149766"/>
                  <a:gd name="connsiteY18" fmla="*/ 14618 h 100492"/>
                  <a:gd name="connsiteX19" fmla="*/ 132144 w 149766"/>
                  <a:gd name="connsiteY19" fmla="*/ 13084 h 100492"/>
                  <a:gd name="connsiteX20" fmla="*/ 17621 w 149766"/>
                  <a:gd name="connsiteY20" fmla="*/ 13084 h 100492"/>
                  <a:gd name="connsiteX21" fmla="*/ 14222 w 149766"/>
                  <a:gd name="connsiteY21" fmla="*/ 14618 h 100492"/>
                  <a:gd name="connsiteX22" fmla="*/ 13116 w 149766"/>
                  <a:gd name="connsiteY22" fmla="*/ 18202 h 100492"/>
                  <a:gd name="connsiteX23" fmla="*/ 20289 w 149766"/>
                  <a:gd name="connsiteY23" fmla="*/ 75663 h 100492"/>
                  <a:gd name="connsiteX24" fmla="*/ 20340 w 149766"/>
                  <a:gd name="connsiteY24" fmla="*/ 76475 h 100492"/>
                  <a:gd name="connsiteX25" fmla="*/ 20340 w 149766"/>
                  <a:gd name="connsiteY25" fmla="*/ 87409 h 100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9766" h="100492">
                    <a:moveTo>
                      <a:pt x="135967" y="100493"/>
                    </a:moveTo>
                    <a:lnTo>
                      <a:pt x="13801" y="100493"/>
                    </a:lnTo>
                    <a:cubicBezTo>
                      <a:pt x="10184" y="100493"/>
                      <a:pt x="7259" y="97563"/>
                      <a:pt x="7259" y="93951"/>
                    </a:cubicBezTo>
                    <a:lnTo>
                      <a:pt x="7259" y="76878"/>
                    </a:lnTo>
                    <a:lnTo>
                      <a:pt x="136" y="19820"/>
                    </a:lnTo>
                    <a:cubicBezTo>
                      <a:pt x="-491" y="14798"/>
                      <a:pt x="1069" y="9745"/>
                      <a:pt x="4417" y="5956"/>
                    </a:cubicBezTo>
                    <a:cubicBezTo>
                      <a:pt x="7766" y="2171"/>
                      <a:pt x="12574" y="0"/>
                      <a:pt x="17621" y="0"/>
                    </a:cubicBezTo>
                    <a:lnTo>
                      <a:pt x="132146" y="0"/>
                    </a:lnTo>
                    <a:cubicBezTo>
                      <a:pt x="137193" y="0"/>
                      <a:pt x="142004" y="2173"/>
                      <a:pt x="145350" y="5956"/>
                    </a:cubicBezTo>
                    <a:cubicBezTo>
                      <a:pt x="148699" y="9745"/>
                      <a:pt x="150256" y="14798"/>
                      <a:pt x="149631" y="19815"/>
                    </a:cubicBezTo>
                    <a:lnTo>
                      <a:pt x="142509" y="76875"/>
                    </a:lnTo>
                    <a:lnTo>
                      <a:pt x="142509" y="93949"/>
                    </a:lnTo>
                    <a:cubicBezTo>
                      <a:pt x="142509" y="97563"/>
                      <a:pt x="139584" y="100493"/>
                      <a:pt x="135967" y="100493"/>
                    </a:cubicBezTo>
                    <a:close/>
                    <a:moveTo>
                      <a:pt x="20343" y="87409"/>
                    </a:moveTo>
                    <a:lnTo>
                      <a:pt x="129425" y="87409"/>
                    </a:lnTo>
                    <a:lnTo>
                      <a:pt x="129425" y="76473"/>
                    </a:lnTo>
                    <a:cubicBezTo>
                      <a:pt x="129425" y="76202"/>
                      <a:pt x="129443" y="75929"/>
                      <a:pt x="129476" y="75661"/>
                    </a:cubicBezTo>
                    <a:lnTo>
                      <a:pt x="136649" y="18198"/>
                    </a:lnTo>
                    <a:cubicBezTo>
                      <a:pt x="136867" y="16425"/>
                      <a:pt x="136050" y="15192"/>
                      <a:pt x="135543" y="14618"/>
                    </a:cubicBezTo>
                    <a:cubicBezTo>
                      <a:pt x="135032" y="14046"/>
                      <a:pt x="133921" y="13084"/>
                      <a:pt x="132144" y="13084"/>
                    </a:cubicBezTo>
                    <a:lnTo>
                      <a:pt x="17621" y="13084"/>
                    </a:lnTo>
                    <a:cubicBezTo>
                      <a:pt x="15846" y="13084"/>
                      <a:pt x="14733" y="14044"/>
                      <a:pt x="14222" y="14618"/>
                    </a:cubicBezTo>
                    <a:cubicBezTo>
                      <a:pt x="13717" y="15192"/>
                      <a:pt x="12900" y="16425"/>
                      <a:pt x="13116" y="18202"/>
                    </a:cubicBezTo>
                    <a:lnTo>
                      <a:pt x="20289" y="75663"/>
                    </a:lnTo>
                    <a:cubicBezTo>
                      <a:pt x="20322" y="75931"/>
                      <a:pt x="20340" y="76202"/>
                      <a:pt x="20340" y="76475"/>
                    </a:cubicBezTo>
                    <a:lnTo>
                      <a:pt x="20340" y="87409"/>
                    </a:lnTo>
                    <a:close/>
                  </a:path>
                </a:pathLst>
              </a:custGeom>
              <a:grpFill/>
              <a:ln w="231" cap="flat">
                <a:noFill/>
                <a:prstDash val="solid"/>
                <a:miter/>
              </a:ln>
            </p:spPr>
            <p:txBody>
              <a:bodyPr rtlCol="0" anchor="ctr"/>
              <a:lstStyle/>
              <a:p>
                <a:endParaRPr lang="en-GB" dirty="0"/>
              </a:p>
            </p:txBody>
          </p:sp>
          <p:sp>
            <p:nvSpPr>
              <p:cNvPr id="660" name="Freihandform: Form 708">
                <a:extLst>
                  <a:ext uri="{FF2B5EF4-FFF2-40B4-BE49-F238E27FC236}">
                    <a16:creationId xmlns:a16="http://schemas.microsoft.com/office/drawing/2014/main" id="{DAA5B8BE-15EE-4373-8449-F367B116D975}"/>
                  </a:ext>
                </a:extLst>
              </p:cNvPr>
              <p:cNvSpPr/>
              <p:nvPr/>
            </p:nvSpPr>
            <p:spPr>
              <a:xfrm>
                <a:off x="7012065" y="2790669"/>
                <a:ext cx="221524" cy="13083"/>
              </a:xfrm>
              <a:custGeom>
                <a:avLst/>
                <a:gdLst>
                  <a:gd name="connsiteX0" fmla="*/ 214983 w 221524"/>
                  <a:gd name="connsiteY0" fmla="*/ 13084 h 13083"/>
                  <a:gd name="connsiteX1" fmla="*/ 6542 w 221524"/>
                  <a:gd name="connsiteY1" fmla="*/ 13084 h 13083"/>
                  <a:gd name="connsiteX2" fmla="*/ 0 w 221524"/>
                  <a:gd name="connsiteY2" fmla="*/ 6542 h 13083"/>
                  <a:gd name="connsiteX3" fmla="*/ 6542 w 221524"/>
                  <a:gd name="connsiteY3" fmla="*/ 0 h 13083"/>
                  <a:gd name="connsiteX4" fmla="*/ 214983 w 221524"/>
                  <a:gd name="connsiteY4" fmla="*/ 0 h 13083"/>
                  <a:gd name="connsiteX5" fmla="*/ 221525 w 221524"/>
                  <a:gd name="connsiteY5" fmla="*/ 6542 h 13083"/>
                  <a:gd name="connsiteX6" fmla="*/ 214983 w 221524"/>
                  <a:gd name="connsiteY6" fmla="*/ 13084 h 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524" h="13083">
                    <a:moveTo>
                      <a:pt x="214983" y="13084"/>
                    </a:moveTo>
                    <a:lnTo>
                      <a:pt x="6542" y="13084"/>
                    </a:lnTo>
                    <a:cubicBezTo>
                      <a:pt x="2925" y="13084"/>
                      <a:pt x="0" y="10154"/>
                      <a:pt x="0" y="6542"/>
                    </a:cubicBezTo>
                    <a:cubicBezTo>
                      <a:pt x="0" y="2930"/>
                      <a:pt x="2925" y="0"/>
                      <a:pt x="6542" y="0"/>
                    </a:cubicBezTo>
                    <a:lnTo>
                      <a:pt x="214983" y="0"/>
                    </a:lnTo>
                    <a:cubicBezTo>
                      <a:pt x="218600" y="0"/>
                      <a:pt x="221525" y="2930"/>
                      <a:pt x="221525" y="6542"/>
                    </a:cubicBezTo>
                    <a:cubicBezTo>
                      <a:pt x="221525" y="10154"/>
                      <a:pt x="218600" y="13084"/>
                      <a:pt x="214983" y="13084"/>
                    </a:cubicBezTo>
                    <a:close/>
                  </a:path>
                </a:pathLst>
              </a:custGeom>
              <a:grpFill/>
              <a:ln w="231" cap="flat">
                <a:noFill/>
                <a:prstDash val="solid"/>
                <a:miter/>
              </a:ln>
            </p:spPr>
            <p:txBody>
              <a:bodyPr rtlCol="0" anchor="ctr"/>
              <a:lstStyle/>
              <a:p>
                <a:endParaRPr lang="en-GB" dirty="0"/>
              </a:p>
            </p:txBody>
          </p:sp>
          <p:sp>
            <p:nvSpPr>
              <p:cNvPr id="661" name="Freihandform: Form 711">
                <a:extLst>
                  <a:ext uri="{FF2B5EF4-FFF2-40B4-BE49-F238E27FC236}">
                    <a16:creationId xmlns:a16="http://schemas.microsoft.com/office/drawing/2014/main" id="{85813970-2BC4-4D3B-8342-587CC0950B30}"/>
                  </a:ext>
                </a:extLst>
              </p:cNvPr>
              <p:cNvSpPr/>
              <p:nvPr/>
            </p:nvSpPr>
            <p:spPr>
              <a:xfrm>
                <a:off x="7145364" y="2641873"/>
                <a:ext cx="27963" cy="13083"/>
              </a:xfrm>
              <a:custGeom>
                <a:avLst/>
                <a:gdLst>
                  <a:gd name="connsiteX0" fmla="*/ 21421 w 27963"/>
                  <a:gd name="connsiteY0" fmla="*/ 13084 h 13083"/>
                  <a:gd name="connsiteX1" fmla="*/ 6542 w 27963"/>
                  <a:gd name="connsiteY1" fmla="*/ 13084 h 13083"/>
                  <a:gd name="connsiteX2" fmla="*/ 0 w 27963"/>
                  <a:gd name="connsiteY2" fmla="*/ 6542 h 13083"/>
                  <a:gd name="connsiteX3" fmla="*/ 6542 w 27963"/>
                  <a:gd name="connsiteY3" fmla="*/ 0 h 13083"/>
                  <a:gd name="connsiteX4" fmla="*/ 21421 w 27963"/>
                  <a:gd name="connsiteY4" fmla="*/ 0 h 13083"/>
                  <a:gd name="connsiteX5" fmla="*/ 27963 w 27963"/>
                  <a:gd name="connsiteY5" fmla="*/ 6542 h 13083"/>
                  <a:gd name="connsiteX6" fmla="*/ 21421 w 27963"/>
                  <a:gd name="connsiteY6" fmla="*/ 13084 h 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963" h="13083">
                    <a:moveTo>
                      <a:pt x="21421" y="13084"/>
                    </a:moveTo>
                    <a:lnTo>
                      <a:pt x="6542" y="13084"/>
                    </a:lnTo>
                    <a:cubicBezTo>
                      <a:pt x="2925" y="13084"/>
                      <a:pt x="0" y="10154"/>
                      <a:pt x="0" y="6542"/>
                    </a:cubicBezTo>
                    <a:cubicBezTo>
                      <a:pt x="0" y="2930"/>
                      <a:pt x="2925" y="0"/>
                      <a:pt x="6542" y="0"/>
                    </a:cubicBezTo>
                    <a:lnTo>
                      <a:pt x="21421" y="0"/>
                    </a:lnTo>
                    <a:cubicBezTo>
                      <a:pt x="25038" y="0"/>
                      <a:pt x="27963" y="2930"/>
                      <a:pt x="27963" y="6542"/>
                    </a:cubicBezTo>
                    <a:cubicBezTo>
                      <a:pt x="27963" y="10156"/>
                      <a:pt x="25038" y="13084"/>
                      <a:pt x="21421" y="13084"/>
                    </a:cubicBezTo>
                    <a:close/>
                  </a:path>
                </a:pathLst>
              </a:custGeom>
              <a:grpFill/>
              <a:ln w="231" cap="flat">
                <a:noFill/>
                <a:prstDash val="solid"/>
                <a:miter/>
              </a:ln>
            </p:spPr>
            <p:txBody>
              <a:bodyPr rtlCol="0" anchor="ctr"/>
              <a:lstStyle/>
              <a:p>
                <a:endParaRPr lang="en-GB" dirty="0"/>
              </a:p>
            </p:txBody>
          </p:sp>
          <p:sp>
            <p:nvSpPr>
              <p:cNvPr id="662" name="Freihandform: Form 712">
                <a:extLst>
                  <a:ext uri="{FF2B5EF4-FFF2-40B4-BE49-F238E27FC236}">
                    <a16:creationId xmlns:a16="http://schemas.microsoft.com/office/drawing/2014/main" id="{67F653F9-F187-405C-99F4-9701E314D213}"/>
                  </a:ext>
                </a:extLst>
              </p:cNvPr>
              <p:cNvSpPr/>
              <p:nvPr/>
            </p:nvSpPr>
            <p:spPr>
              <a:xfrm>
                <a:off x="7108165" y="2507960"/>
                <a:ext cx="102362" cy="117239"/>
              </a:xfrm>
              <a:custGeom>
                <a:avLst/>
                <a:gdLst>
                  <a:gd name="connsiteX0" fmla="*/ 51178 w 102362"/>
                  <a:gd name="connsiteY0" fmla="*/ 117240 h 117239"/>
                  <a:gd name="connsiteX1" fmla="*/ 0 w 102362"/>
                  <a:gd name="connsiteY1" fmla="*/ 58620 h 117239"/>
                  <a:gd name="connsiteX2" fmla="*/ 51178 w 102362"/>
                  <a:gd name="connsiteY2" fmla="*/ 0 h 117239"/>
                  <a:gd name="connsiteX3" fmla="*/ 102362 w 102362"/>
                  <a:gd name="connsiteY3" fmla="*/ 58620 h 117239"/>
                  <a:gd name="connsiteX4" fmla="*/ 51178 w 102362"/>
                  <a:gd name="connsiteY4" fmla="*/ 117240 h 117239"/>
                  <a:gd name="connsiteX5" fmla="*/ 51178 w 102362"/>
                  <a:gd name="connsiteY5" fmla="*/ 13084 h 117239"/>
                  <a:gd name="connsiteX6" fmla="*/ 13084 w 102362"/>
                  <a:gd name="connsiteY6" fmla="*/ 58620 h 117239"/>
                  <a:gd name="connsiteX7" fmla="*/ 51178 w 102362"/>
                  <a:gd name="connsiteY7" fmla="*/ 104156 h 117239"/>
                  <a:gd name="connsiteX8" fmla="*/ 89279 w 102362"/>
                  <a:gd name="connsiteY8" fmla="*/ 58620 h 117239"/>
                  <a:gd name="connsiteX9" fmla="*/ 51178 w 102362"/>
                  <a:gd name="connsiteY9" fmla="*/ 13084 h 117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2362" h="117239">
                    <a:moveTo>
                      <a:pt x="51178" y="117240"/>
                    </a:moveTo>
                    <a:cubicBezTo>
                      <a:pt x="20565" y="117240"/>
                      <a:pt x="0" y="93682"/>
                      <a:pt x="0" y="58620"/>
                    </a:cubicBezTo>
                    <a:cubicBezTo>
                      <a:pt x="0" y="23557"/>
                      <a:pt x="20565" y="0"/>
                      <a:pt x="51178" y="0"/>
                    </a:cubicBezTo>
                    <a:cubicBezTo>
                      <a:pt x="81790" y="0"/>
                      <a:pt x="102362" y="23557"/>
                      <a:pt x="102362" y="58620"/>
                    </a:cubicBezTo>
                    <a:cubicBezTo>
                      <a:pt x="102362" y="93682"/>
                      <a:pt x="81793" y="117240"/>
                      <a:pt x="51178" y="117240"/>
                    </a:cubicBezTo>
                    <a:close/>
                    <a:moveTo>
                      <a:pt x="51178" y="13084"/>
                    </a:moveTo>
                    <a:cubicBezTo>
                      <a:pt x="23062" y="13084"/>
                      <a:pt x="13084" y="37615"/>
                      <a:pt x="13084" y="58620"/>
                    </a:cubicBezTo>
                    <a:cubicBezTo>
                      <a:pt x="13084" y="79624"/>
                      <a:pt x="23062" y="104156"/>
                      <a:pt x="51178" y="104156"/>
                    </a:cubicBezTo>
                    <a:cubicBezTo>
                      <a:pt x="79298" y="104156"/>
                      <a:pt x="89279" y="79624"/>
                      <a:pt x="89279" y="58620"/>
                    </a:cubicBezTo>
                    <a:cubicBezTo>
                      <a:pt x="89279" y="37615"/>
                      <a:pt x="79301" y="13084"/>
                      <a:pt x="51178" y="13084"/>
                    </a:cubicBezTo>
                    <a:close/>
                  </a:path>
                </a:pathLst>
              </a:custGeom>
              <a:grpFill/>
              <a:ln w="231" cap="flat">
                <a:noFill/>
                <a:prstDash val="solid"/>
                <a:miter/>
              </a:ln>
            </p:spPr>
            <p:txBody>
              <a:bodyPr rtlCol="0" anchor="ctr"/>
              <a:lstStyle/>
              <a:p>
                <a:endParaRPr lang="en-GB" dirty="0"/>
              </a:p>
            </p:txBody>
          </p:sp>
          <p:sp>
            <p:nvSpPr>
              <p:cNvPr id="663" name="Freihandform: Form 713">
                <a:extLst>
                  <a:ext uri="{FF2B5EF4-FFF2-40B4-BE49-F238E27FC236}">
                    <a16:creationId xmlns:a16="http://schemas.microsoft.com/office/drawing/2014/main" id="{3CE37DDB-58BF-435C-ABE9-0DD336E8E8C4}"/>
                  </a:ext>
                </a:extLst>
              </p:cNvPr>
              <p:cNvSpPr/>
              <p:nvPr/>
            </p:nvSpPr>
            <p:spPr>
              <a:xfrm>
                <a:off x="7152801" y="2641873"/>
                <a:ext cx="13083" cy="72601"/>
              </a:xfrm>
              <a:custGeom>
                <a:avLst/>
                <a:gdLst>
                  <a:gd name="connsiteX0" fmla="*/ 6542 w 13083"/>
                  <a:gd name="connsiteY0" fmla="*/ 72601 h 72601"/>
                  <a:gd name="connsiteX1" fmla="*/ 0 w 13083"/>
                  <a:gd name="connsiteY1" fmla="*/ 66059 h 72601"/>
                  <a:gd name="connsiteX2" fmla="*/ 0 w 13083"/>
                  <a:gd name="connsiteY2" fmla="*/ 6542 h 72601"/>
                  <a:gd name="connsiteX3" fmla="*/ 6542 w 13083"/>
                  <a:gd name="connsiteY3" fmla="*/ 0 h 72601"/>
                  <a:gd name="connsiteX4" fmla="*/ 13084 w 13083"/>
                  <a:gd name="connsiteY4" fmla="*/ 6542 h 72601"/>
                  <a:gd name="connsiteX5" fmla="*/ 13084 w 13083"/>
                  <a:gd name="connsiteY5" fmla="*/ 66059 h 72601"/>
                  <a:gd name="connsiteX6" fmla="*/ 6542 w 13083"/>
                  <a:gd name="connsiteY6" fmla="*/ 72601 h 7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83" h="72601">
                    <a:moveTo>
                      <a:pt x="6542" y="72601"/>
                    </a:moveTo>
                    <a:cubicBezTo>
                      <a:pt x="2925" y="72601"/>
                      <a:pt x="0" y="69672"/>
                      <a:pt x="0" y="66059"/>
                    </a:cubicBezTo>
                    <a:lnTo>
                      <a:pt x="0" y="6542"/>
                    </a:lnTo>
                    <a:cubicBezTo>
                      <a:pt x="0" y="2930"/>
                      <a:pt x="2925" y="0"/>
                      <a:pt x="6542" y="0"/>
                    </a:cubicBezTo>
                    <a:cubicBezTo>
                      <a:pt x="10159" y="0"/>
                      <a:pt x="13084" y="2930"/>
                      <a:pt x="13084" y="6542"/>
                    </a:cubicBezTo>
                    <a:lnTo>
                      <a:pt x="13084" y="66059"/>
                    </a:lnTo>
                    <a:cubicBezTo>
                      <a:pt x="13084" y="69674"/>
                      <a:pt x="10159" y="72601"/>
                      <a:pt x="6542" y="72601"/>
                    </a:cubicBezTo>
                    <a:close/>
                  </a:path>
                </a:pathLst>
              </a:custGeom>
              <a:grpFill/>
              <a:ln w="231" cap="flat">
                <a:noFill/>
                <a:prstDash val="solid"/>
                <a:miter/>
              </a:ln>
            </p:spPr>
            <p:txBody>
              <a:bodyPr rtlCol="0" anchor="ctr"/>
              <a:lstStyle/>
              <a:p>
                <a:endParaRPr lang="en-GB" dirty="0"/>
              </a:p>
            </p:txBody>
          </p:sp>
          <p:sp>
            <p:nvSpPr>
              <p:cNvPr id="664" name="Freihandform: Form 714">
                <a:extLst>
                  <a:ext uri="{FF2B5EF4-FFF2-40B4-BE49-F238E27FC236}">
                    <a16:creationId xmlns:a16="http://schemas.microsoft.com/office/drawing/2014/main" id="{4C7F9A2A-BB9E-490A-A8E6-F80CFC0143FD}"/>
                  </a:ext>
                </a:extLst>
              </p:cNvPr>
              <p:cNvSpPr/>
              <p:nvPr/>
            </p:nvSpPr>
            <p:spPr>
              <a:xfrm>
                <a:off x="7160269" y="2641875"/>
                <a:ext cx="107307" cy="74376"/>
              </a:xfrm>
              <a:custGeom>
                <a:avLst/>
                <a:gdLst>
                  <a:gd name="connsiteX0" fmla="*/ 6537 w 107307"/>
                  <a:gd name="connsiteY0" fmla="*/ 74376 h 74376"/>
                  <a:gd name="connsiteX1" fmla="*/ 3152 w 107307"/>
                  <a:gd name="connsiteY1" fmla="*/ 73427 h 74376"/>
                  <a:gd name="connsiteX2" fmla="*/ 949 w 107307"/>
                  <a:gd name="connsiteY2" fmla="*/ 64442 h 74376"/>
                  <a:gd name="connsiteX3" fmla="*/ 38122 w 107307"/>
                  <a:gd name="connsiteY3" fmla="*/ 3149 h 74376"/>
                  <a:gd name="connsiteX4" fmla="*/ 43717 w 107307"/>
                  <a:gd name="connsiteY4" fmla="*/ 0 h 74376"/>
                  <a:gd name="connsiteX5" fmla="*/ 49032 w 107307"/>
                  <a:gd name="connsiteY5" fmla="*/ 0 h 74376"/>
                  <a:gd name="connsiteX6" fmla="*/ 104989 w 107307"/>
                  <a:gd name="connsiteY6" fmla="*/ 47012 h 74376"/>
                  <a:gd name="connsiteX7" fmla="*/ 106988 w 107307"/>
                  <a:gd name="connsiteY7" fmla="*/ 53209 h 74376"/>
                  <a:gd name="connsiteX8" fmla="*/ 102779 w 107307"/>
                  <a:gd name="connsiteY8" fmla="*/ 61445 h 74376"/>
                  <a:gd name="connsiteX9" fmla="*/ 94543 w 107307"/>
                  <a:gd name="connsiteY9" fmla="*/ 57229 h 74376"/>
                  <a:gd name="connsiteX10" fmla="*/ 92602 w 107307"/>
                  <a:gd name="connsiteY10" fmla="*/ 51215 h 74376"/>
                  <a:gd name="connsiteX11" fmla="*/ 49032 w 107307"/>
                  <a:gd name="connsiteY11" fmla="*/ 13086 h 74376"/>
                  <a:gd name="connsiteX12" fmla="*/ 47403 w 107307"/>
                  <a:gd name="connsiteY12" fmla="*/ 13086 h 74376"/>
                  <a:gd name="connsiteX13" fmla="*/ 12140 w 107307"/>
                  <a:gd name="connsiteY13" fmla="*/ 71229 h 74376"/>
                  <a:gd name="connsiteX14" fmla="*/ 6537 w 107307"/>
                  <a:gd name="connsiteY14" fmla="*/ 74376 h 7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307" h="74376">
                    <a:moveTo>
                      <a:pt x="6537" y="74376"/>
                    </a:moveTo>
                    <a:cubicBezTo>
                      <a:pt x="5380" y="74376"/>
                      <a:pt x="4212" y="74068"/>
                      <a:pt x="3152" y="73427"/>
                    </a:cubicBezTo>
                    <a:cubicBezTo>
                      <a:pt x="60" y="71555"/>
                      <a:pt x="-923" y="67531"/>
                      <a:pt x="949" y="64442"/>
                    </a:cubicBezTo>
                    <a:lnTo>
                      <a:pt x="38122" y="3149"/>
                    </a:lnTo>
                    <a:cubicBezTo>
                      <a:pt x="39311" y="1194"/>
                      <a:pt x="41431" y="0"/>
                      <a:pt x="43717" y="0"/>
                    </a:cubicBezTo>
                    <a:lnTo>
                      <a:pt x="49032" y="0"/>
                    </a:lnTo>
                    <a:cubicBezTo>
                      <a:pt x="75077" y="0"/>
                      <a:pt x="93904" y="15817"/>
                      <a:pt x="104989" y="47012"/>
                    </a:cubicBezTo>
                    <a:lnTo>
                      <a:pt x="106988" y="53209"/>
                    </a:lnTo>
                    <a:cubicBezTo>
                      <a:pt x="108099" y="56646"/>
                      <a:pt x="106215" y="60332"/>
                      <a:pt x="102779" y="61445"/>
                    </a:cubicBezTo>
                    <a:cubicBezTo>
                      <a:pt x="99329" y="62551"/>
                      <a:pt x="95656" y="60670"/>
                      <a:pt x="94543" y="57229"/>
                    </a:cubicBezTo>
                    <a:lnTo>
                      <a:pt x="92602" y="51215"/>
                    </a:lnTo>
                    <a:cubicBezTo>
                      <a:pt x="83378" y="25258"/>
                      <a:pt x="69514" y="13086"/>
                      <a:pt x="49032" y="13086"/>
                    </a:cubicBezTo>
                    <a:lnTo>
                      <a:pt x="47403" y="13086"/>
                    </a:lnTo>
                    <a:lnTo>
                      <a:pt x="12140" y="71229"/>
                    </a:lnTo>
                    <a:cubicBezTo>
                      <a:pt x="10906" y="73254"/>
                      <a:pt x="8747" y="74376"/>
                      <a:pt x="6537" y="74376"/>
                    </a:cubicBezTo>
                    <a:close/>
                  </a:path>
                </a:pathLst>
              </a:custGeom>
              <a:grpFill/>
              <a:ln w="231" cap="flat">
                <a:noFill/>
                <a:prstDash val="solid"/>
                <a:miter/>
              </a:ln>
            </p:spPr>
            <p:txBody>
              <a:bodyPr rtlCol="0" anchor="ctr"/>
              <a:lstStyle/>
              <a:p>
                <a:endParaRPr lang="en-GB" dirty="0"/>
              </a:p>
            </p:txBody>
          </p:sp>
          <p:sp>
            <p:nvSpPr>
              <p:cNvPr id="665" name="Freihandform: Form 715">
                <a:extLst>
                  <a:ext uri="{FF2B5EF4-FFF2-40B4-BE49-F238E27FC236}">
                    <a16:creationId xmlns:a16="http://schemas.microsoft.com/office/drawing/2014/main" id="{309EBC44-399A-439D-89A6-387F4FB3CDD3}"/>
                  </a:ext>
                </a:extLst>
              </p:cNvPr>
              <p:cNvSpPr/>
              <p:nvPr/>
            </p:nvSpPr>
            <p:spPr>
              <a:xfrm>
                <a:off x="7027906" y="2641873"/>
                <a:ext cx="226123" cy="161879"/>
              </a:xfrm>
              <a:custGeom>
                <a:avLst/>
                <a:gdLst>
                  <a:gd name="connsiteX0" fmla="*/ 219584 w 226123"/>
                  <a:gd name="connsiteY0" fmla="*/ 161880 h 161879"/>
                  <a:gd name="connsiteX1" fmla="*/ 27281 w 226123"/>
                  <a:gd name="connsiteY1" fmla="*/ 161880 h 161879"/>
                  <a:gd name="connsiteX2" fmla="*/ 5427 w 226123"/>
                  <a:gd name="connsiteY2" fmla="*/ 151768 h 161879"/>
                  <a:gd name="connsiteX3" fmla="*/ 2451 w 226123"/>
                  <a:gd name="connsiteY3" fmla="*/ 118494 h 161879"/>
                  <a:gd name="connsiteX4" fmla="*/ 25476 w 226123"/>
                  <a:gd name="connsiteY4" fmla="*/ 47195 h 161879"/>
                  <a:gd name="connsiteX5" fmla="*/ 81490 w 226123"/>
                  <a:gd name="connsiteY5" fmla="*/ 0 h 161879"/>
                  <a:gd name="connsiteX6" fmla="*/ 86805 w 226123"/>
                  <a:gd name="connsiteY6" fmla="*/ 0 h 161879"/>
                  <a:gd name="connsiteX7" fmla="*/ 92375 w 226123"/>
                  <a:gd name="connsiteY7" fmla="*/ 3108 h 161879"/>
                  <a:gd name="connsiteX8" fmla="*/ 129481 w 226123"/>
                  <a:gd name="connsiteY8" fmla="*/ 63313 h 161879"/>
                  <a:gd name="connsiteX9" fmla="*/ 127341 w 226123"/>
                  <a:gd name="connsiteY9" fmla="*/ 72314 h 161879"/>
                  <a:gd name="connsiteX10" fmla="*/ 118339 w 226123"/>
                  <a:gd name="connsiteY10" fmla="*/ 70181 h 161879"/>
                  <a:gd name="connsiteX11" fmla="*/ 83145 w 226123"/>
                  <a:gd name="connsiteY11" fmla="*/ 13084 h 161879"/>
                  <a:gd name="connsiteX12" fmla="*/ 81483 w 226123"/>
                  <a:gd name="connsiteY12" fmla="*/ 13084 h 161879"/>
                  <a:gd name="connsiteX13" fmla="*/ 37856 w 226123"/>
                  <a:gd name="connsiteY13" fmla="*/ 51395 h 161879"/>
                  <a:gd name="connsiteX14" fmla="*/ 14903 w 226123"/>
                  <a:gd name="connsiteY14" fmla="*/ 122472 h 161879"/>
                  <a:gd name="connsiteX15" fmla="*/ 15977 w 226123"/>
                  <a:gd name="connsiteY15" fmla="*/ 144032 h 161879"/>
                  <a:gd name="connsiteX16" fmla="*/ 27279 w 226123"/>
                  <a:gd name="connsiteY16" fmla="*/ 148794 h 161879"/>
                  <a:gd name="connsiteX17" fmla="*/ 219582 w 226123"/>
                  <a:gd name="connsiteY17" fmla="*/ 148794 h 161879"/>
                  <a:gd name="connsiteX18" fmla="*/ 226123 w 226123"/>
                  <a:gd name="connsiteY18" fmla="*/ 155336 h 161879"/>
                  <a:gd name="connsiteX19" fmla="*/ 219584 w 226123"/>
                  <a:gd name="connsiteY19" fmla="*/ 161880 h 16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26123" h="161879">
                    <a:moveTo>
                      <a:pt x="219584" y="161880"/>
                    </a:moveTo>
                    <a:lnTo>
                      <a:pt x="27281" y="161880"/>
                    </a:lnTo>
                    <a:cubicBezTo>
                      <a:pt x="15340" y="161880"/>
                      <a:pt x="8805" y="156379"/>
                      <a:pt x="5427" y="151768"/>
                    </a:cubicBezTo>
                    <a:cubicBezTo>
                      <a:pt x="-567" y="143590"/>
                      <a:pt x="-1652" y="131462"/>
                      <a:pt x="2451" y="118494"/>
                    </a:cubicBezTo>
                    <a:lnTo>
                      <a:pt x="25476" y="47195"/>
                    </a:lnTo>
                    <a:cubicBezTo>
                      <a:pt x="36618" y="15819"/>
                      <a:pt x="55443" y="0"/>
                      <a:pt x="81490" y="0"/>
                    </a:cubicBezTo>
                    <a:lnTo>
                      <a:pt x="86805" y="0"/>
                    </a:lnTo>
                    <a:cubicBezTo>
                      <a:pt x="89073" y="0"/>
                      <a:pt x="91181" y="1176"/>
                      <a:pt x="92375" y="3108"/>
                    </a:cubicBezTo>
                    <a:lnTo>
                      <a:pt x="129481" y="63313"/>
                    </a:lnTo>
                    <a:cubicBezTo>
                      <a:pt x="131372" y="66388"/>
                      <a:pt x="130421" y="70419"/>
                      <a:pt x="127341" y="72314"/>
                    </a:cubicBezTo>
                    <a:cubicBezTo>
                      <a:pt x="124261" y="74214"/>
                      <a:pt x="120237" y="73254"/>
                      <a:pt x="118339" y="70181"/>
                    </a:cubicBezTo>
                    <a:lnTo>
                      <a:pt x="83145" y="13084"/>
                    </a:lnTo>
                    <a:lnTo>
                      <a:pt x="81483" y="13084"/>
                    </a:lnTo>
                    <a:cubicBezTo>
                      <a:pt x="61001" y="13084"/>
                      <a:pt x="47140" y="25256"/>
                      <a:pt x="37856" y="51395"/>
                    </a:cubicBezTo>
                    <a:lnTo>
                      <a:pt x="14903" y="122472"/>
                    </a:lnTo>
                    <a:cubicBezTo>
                      <a:pt x="12131" y="131249"/>
                      <a:pt x="12526" y="139325"/>
                      <a:pt x="15977" y="144032"/>
                    </a:cubicBezTo>
                    <a:cubicBezTo>
                      <a:pt x="18295" y="147190"/>
                      <a:pt x="22097" y="148794"/>
                      <a:pt x="27279" y="148794"/>
                    </a:cubicBezTo>
                    <a:lnTo>
                      <a:pt x="219582" y="148794"/>
                    </a:lnTo>
                    <a:cubicBezTo>
                      <a:pt x="223198" y="148794"/>
                      <a:pt x="226123" y="151724"/>
                      <a:pt x="226123" y="155336"/>
                    </a:cubicBezTo>
                    <a:cubicBezTo>
                      <a:pt x="226126" y="158950"/>
                      <a:pt x="223201" y="161880"/>
                      <a:pt x="219584" y="161880"/>
                    </a:cubicBezTo>
                    <a:close/>
                  </a:path>
                </a:pathLst>
              </a:custGeom>
              <a:grpFill/>
              <a:ln w="231" cap="flat">
                <a:noFill/>
                <a:prstDash val="solid"/>
                <a:miter/>
              </a:ln>
            </p:spPr>
            <p:txBody>
              <a:bodyPr rtlCol="0" anchor="ctr"/>
              <a:lstStyle/>
              <a:p>
                <a:endParaRPr lang="en-GB" dirty="0"/>
              </a:p>
            </p:txBody>
          </p:sp>
          <p:grpSp>
            <p:nvGrpSpPr>
              <p:cNvPr id="666" name="Grafik 355">
                <a:extLst>
                  <a:ext uri="{FF2B5EF4-FFF2-40B4-BE49-F238E27FC236}">
                    <a16:creationId xmlns:a16="http://schemas.microsoft.com/office/drawing/2014/main" id="{BC369891-151F-4523-99A5-9128BECBCDBE}"/>
                  </a:ext>
                </a:extLst>
              </p:cNvPr>
              <p:cNvGrpSpPr/>
              <p:nvPr/>
            </p:nvGrpSpPr>
            <p:grpSpPr>
              <a:xfrm>
                <a:off x="7082283" y="2477452"/>
                <a:ext cx="153044" cy="124679"/>
                <a:chOff x="7082283" y="2477452"/>
                <a:chExt cx="153044" cy="124679"/>
              </a:xfrm>
              <a:grpFill/>
            </p:grpSpPr>
            <p:sp>
              <p:nvSpPr>
                <p:cNvPr id="667" name="Freihandform: Form 717">
                  <a:extLst>
                    <a:ext uri="{FF2B5EF4-FFF2-40B4-BE49-F238E27FC236}">
                      <a16:creationId xmlns:a16="http://schemas.microsoft.com/office/drawing/2014/main" id="{D4056BE5-79DD-49BD-AC68-8CE7494A9A7E}"/>
                    </a:ext>
                  </a:extLst>
                </p:cNvPr>
                <p:cNvSpPr/>
                <p:nvPr/>
              </p:nvSpPr>
              <p:spPr>
                <a:xfrm>
                  <a:off x="7082283" y="2522088"/>
                  <a:ext cx="50282" cy="57721"/>
                </a:xfrm>
                <a:custGeom>
                  <a:avLst/>
                  <a:gdLst>
                    <a:gd name="connsiteX0" fmla="*/ 31647 w 50282"/>
                    <a:gd name="connsiteY0" fmla="*/ 57722 h 57721"/>
                    <a:gd name="connsiteX1" fmla="*/ 23541 w 50282"/>
                    <a:gd name="connsiteY1" fmla="*/ 57722 h 57721"/>
                    <a:gd name="connsiteX2" fmla="*/ 0 w 50282"/>
                    <a:gd name="connsiteY2" fmla="*/ 34181 h 57721"/>
                    <a:gd name="connsiteX3" fmla="*/ 0 w 50282"/>
                    <a:gd name="connsiteY3" fmla="*/ 23541 h 57721"/>
                    <a:gd name="connsiteX4" fmla="*/ 23541 w 50282"/>
                    <a:gd name="connsiteY4" fmla="*/ 0 h 57721"/>
                    <a:gd name="connsiteX5" fmla="*/ 43740 w 50282"/>
                    <a:gd name="connsiteY5" fmla="*/ 0 h 57721"/>
                    <a:gd name="connsiteX6" fmla="*/ 50282 w 50282"/>
                    <a:gd name="connsiteY6" fmla="*/ 6542 h 57721"/>
                    <a:gd name="connsiteX7" fmla="*/ 43740 w 50282"/>
                    <a:gd name="connsiteY7" fmla="*/ 13084 h 57721"/>
                    <a:gd name="connsiteX8" fmla="*/ 23541 w 50282"/>
                    <a:gd name="connsiteY8" fmla="*/ 13084 h 57721"/>
                    <a:gd name="connsiteX9" fmla="*/ 13084 w 50282"/>
                    <a:gd name="connsiteY9" fmla="*/ 23541 h 57721"/>
                    <a:gd name="connsiteX10" fmla="*/ 13084 w 50282"/>
                    <a:gd name="connsiteY10" fmla="*/ 34181 h 57721"/>
                    <a:gd name="connsiteX11" fmla="*/ 23541 w 50282"/>
                    <a:gd name="connsiteY11" fmla="*/ 44638 h 57721"/>
                    <a:gd name="connsiteX12" fmla="*/ 31647 w 50282"/>
                    <a:gd name="connsiteY12" fmla="*/ 44638 h 57721"/>
                    <a:gd name="connsiteX13" fmla="*/ 38189 w 50282"/>
                    <a:gd name="connsiteY13" fmla="*/ 51180 h 57721"/>
                    <a:gd name="connsiteX14" fmla="*/ 31647 w 50282"/>
                    <a:gd name="connsiteY14" fmla="*/ 57722 h 5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282" h="57721">
                      <a:moveTo>
                        <a:pt x="31647" y="57722"/>
                      </a:moveTo>
                      <a:lnTo>
                        <a:pt x="23541" y="57722"/>
                      </a:lnTo>
                      <a:cubicBezTo>
                        <a:pt x="10559" y="57722"/>
                        <a:pt x="0" y="47163"/>
                        <a:pt x="0" y="34181"/>
                      </a:cubicBezTo>
                      <a:lnTo>
                        <a:pt x="0" y="23541"/>
                      </a:lnTo>
                      <a:cubicBezTo>
                        <a:pt x="0" y="10559"/>
                        <a:pt x="10559" y="0"/>
                        <a:pt x="23541" y="0"/>
                      </a:cubicBezTo>
                      <a:lnTo>
                        <a:pt x="43740" y="0"/>
                      </a:lnTo>
                      <a:cubicBezTo>
                        <a:pt x="47357" y="0"/>
                        <a:pt x="50282" y="2930"/>
                        <a:pt x="50282" y="6542"/>
                      </a:cubicBezTo>
                      <a:cubicBezTo>
                        <a:pt x="50282" y="10154"/>
                        <a:pt x="47357" y="13084"/>
                        <a:pt x="43740" y="13084"/>
                      </a:cubicBezTo>
                      <a:lnTo>
                        <a:pt x="23541" y="13084"/>
                      </a:lnTo>
                      <a:cubicBezTo>
                        <a:pt x="17772" y="13084"/>
                        <a:pt x="13084" y="17777"/>
                        <a:pt x="13084" y="23541"/>
                      </a:cubicBezTo>
                      <a:lnTo>
                        <a:pt x="13084" y="34181"/>
                      </a:lnTo>
                      <a:cubicBezTo>
                        <a:pt x="13084" y="39948"/>
                        <a:pt x="17772" y="44638"/>
                        <a:pt x="23541" y="44638"/>
                      </a:cubicBezTo>
                      <a:lnTo>
                        <a:pt x="31647" y="44638"/>
                      </a:lnTo>
                      <a:cubicBezTo>
                        <a:pt x="35264" y="44638"/>
                        <a:pt x="38189" y="47568"/>
                        <a:pt x="38189" y="51180"/>
                      </a:cubicBezTo>
                      <a:cubicBezTo>
                        <a:pt x="38187" y="54795"/>
                        <a:pt x="35262" y="57722"/>
                        <a:pt x="31647" y="57722"/>
                      </a:cubicBezTo>
                      <a:close/>
                    </a:path>
                  </a:pathLst>
                </a:custGeom>
                <a:grpFill/>
                <a:ln w="231" cap="flat">
                  <a:noFill/>
                  <a:prstDash val="solid"/>
                  <a:miter/>
                </a:ln>
              </p:spPr>
              <p:txBody>
                <a:bodyPr rtlCol="0" anchor="ctr"/>
                <a:lstStyle/>
                <a:p>
                  <a:endParaRPr lang="en-GB" dirty="0"/>
                </a:p>
              </p:txBody>
            </p:sp>
            <p:sp>
              <p:nvSpPr>
                <p:cNvPr id="668" name="Freihandform: Form 718">
                  <a:extLst>
                    <a:ext uri="{FF2B5EF4-FFF2-40B4-BE49-F238E27FC236}">
                      <a16:creationId xmlns:a16="http://schemas.microsoft.com/office/drawing/2014/main" id="{71ED68DB-ADA2-44E9-B288-416A75272F9A}"/>
                    </a:ext>
                  </a:extLst>
                </p:cNvPr>
                <p:cNvSpPr/>
                <p:nvPr/>
              </p:nvSpPr>
              <p:spPr>
                <a:xfrm>
                  <a:off x="7188297" y="2522088"/>
                  <a:ext cx="47030" cy="57721"/>
                </a:xfrm>
                <a:custGeom>
                  <a:avLst/>
                  <a:gdLst>
                    <a:gd name="connsiteX0" fmla="*/ 23490 w 47030"/>
                    <a:gd name="connsiteY0" fmla="*/ 57722 h 57721"/>
                    <a:gd name="connsiteX1" fmla="*/ 18168 w 47030"/>
                    <a:gd name="connsiteY1" fmla="*/ 57722 h 57721"/>
                    <a:gd name="connsiteX2" fmla="*/ 11626 w 47030"/>
                    <a:gd name="connsiteY2" fmla="*/ 51180 h 57721"/>
                    <a:gd name="connsiteX3" fmla="*/ 18168 w 47030"/>
                    <a:gd name="connsiteY3" fmla="*/ 44638 h 57721"/>
                    <a:gd name="connsiteX4" fmla="*/ 23490 w 47030"/>
                    <a:gd name="connsiteY4" fmla="*/ 44638 h 57721"/>
                    <a:gd name="connsiteX5" fmla="*/ 33947 w 47030"/>
                    <a:gd name="connsiteY5" fmla="*/ 34181 h 57721"/>
                    <a:gd name="connsiteX6" fmla="*/ 33947 w 47030"/>
                    <a:gd name="connsiteY6" fmla="*/ 23541 h 57721"/>
                    <a:gd name="connsiteX7" fmla="*/ 23490 w 47030"/>
                    <a:gd name="connsiteY7" fmla="*/ 13084 h 57721"/>
                    <a:gd name="connsiteX8" fmla="*/ 6542 w 47030"/>
                    <a:gd name="connsiteY8" fmla="*/ 13084 h 57721"/>
                    <a:gd name="connsiteX9" fmla="*/ 0 w 47030"/>
                    <a:gd name="connsiteY9" fmla="*/ 6542 h 57721"/>
                    <a:gd name="connsiteX10" fmla="*/ 6542 w 47030"/>
                    <a:gd name="connsiteY10" fmla="*/ 0 h 57721"/>
                    <a:gd name="connsiteX11" fmla="*/ 23490 w 47030"/>
                    <a:gd name="connsiteY11" fmla="*/ 0 h 57721"/>
                    <a:gd name="connsiteX12" fmla="*/ 47031 w 47030"/>
                    <a:gd name="connsiteY12" fmla="*/ 23541 h 57721"/>
                    <a:gd name="connsiteX13" fmla="*/ 47031 w 47030"/>
                    <a:gd name="connsiteY13" fmla="*/ 34181 h 57721"/>
                    <a:gd name="connsiteX14" fmla="*/ 23490 w 47030"/>
                    <a:gd name="connsiteY14" fmla="*/ 57722 h 57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7030" h="57721">
                      <a:moveTo>
                        <a:pt x="23490" y="57722"/>
                      </a:moveTo>
                      <a:lnTo>
                        <a:pt x="18168" y="57722"/>
                      </a:lnTo>
                      <a:cubicBezTo>
                        <a:pt x="14551" y="57722"/>
                        <a:pt x="11626" y="54792"/>
                        <a:pt x="11626" y="51180"/>
                      </a:cubicBezTo>
                      <a:cubicBezTo>
                        <a:pt x="11626" y="47568"/>
                        <a:pt x="14551" y="44638"/>
                        <a:pt x="18168" y="44638"/>
                      </a:cubicBezTo>
                      <a:lnTo>
                        <a:pt x="23490" y="44638"/>
                      </a:lnTo>
                      <a:cubicBezTo>
                        <a:pt x="29259" y="44638"/>
                        <a:pt x="33947" y="39945"/>
                        <a:pt x="33947" y="34181"/>
                      </a:cubicBezTo>
                      <a:lnTo>
                        <a:pt x="33947" y="23541"/>
                      </a:lnTo>
                      <a:cubicBezTo>
                        <a:pt x="33947" y="17774"/>
                        <a:pt x="29259" y="13084"/>
                        <a:pt x="23490" y="13084"/>
                      </a:cubicBezTo>
                      <a:lnTo>
                        <a:pt x="6542" y="13084"/>
                      </a:lnTo>
                      <a:cubicBezTo>
                        <a:pt x="2925" y="13084"/>
                        <a:pt x="0" y="10154"/>
                        <a:pt x="0" y="6542"/>
                      </a:cubicBezTo>
                      <a:cubicBezTo>
                        <a:pt x="0" y="2930"/>
                        <a:pt x="2925" y="0"/>
                        <a:pt x="6542" y="0"/>
                      </a:cubicBezTo>
                      <a:lnTo>
                        <a:pt x="23490" y="0"/>
                      </a:lnTo>
                      <a:cubicBezTo>
                        <a:pt x="36472" y="0"/>
                        <a:pt x="47031" y="10559"/>
                        <a:pt x="47031" y="23541"/>
                      </a:cubicBezTo>
                      <a:lnTo>
                        <a:pt x="47031" y="34181"/>
                      </a:lnTo>
                      <a:cubicBezTo>
                        <a:pt x="47031" y="47163"/>
                        <a:pt x="36469" y="57722"/>
                        <a:pt x="23490" y="57722"/>
                      </a:cubicBezTo>
                      <a:close/>
                    </a:path>
                  </a:pathLst>
                </a:custGeom>
                <a:grpFill/>
                <a:ln w="231" cap="flat">
                  <a:noFill/>
                  <a:prstDash val="solid"/>
                  <a:miter/>
                </a:ln>
              </p:spPr>
              <p:txBody>
                <a:bodyPr rtlCol="0" anchor="ctr"/>
                <a:lstStyle/>
                <a:p>
                  <a:endParaRPr lang="en-GB" dirty="0"/>
                </a:p>
              </p:txBody>
            </p:sp>
            <p:sp>
              <p:nvSpPr>
                <p:cNvPr id="669" name="Freihandform: Form 719">
                  <a:extLst>
                    <a:ext uri="{FF2B5EF4-FFF2-40B4-BE49-F238E27FC236}">
                      <a16:creationId xmlns:a16="http://schemas.microsoft.com/office/drawing/2014/main" id="{1820EB27-EA40-4B0C-81FD-169DC8E2B459}"/>
                    </a:ext>
                  </a:extLst>
                </p:cNvPr>
                <p:cNvSpPr/>
                <p:nvPr/>
              </p:nvSpPr>
              <p:spPr>
                <a:xfrm>
                  <a:off x="7097157" y="2477452"/>
                  <a:ext cx="124683" cy="57719"/>
                </a:xfrm>
                <a:custGeom>
                  <a:avLst/>
                  <a:gdLst>
                    <a:gd name="connsiteX0" fmla="*/ 118142 w 124683"/>
                    <a:gd name="connsiteY0" fmla="*/ 57720 h 57719"/>
                    <a:gd name="connsiteX1" fmla="*/ 111600 w 124683"/>
                    <a:gd name="connsiteY1" fmla="*/ 51178 h 57719"/>
                    <a:gd name="connsiteX2" fmla="*/ 73499 w 124683"/>
                    <a:gd name="connsiteY2" fmla="*/ 13084 h 57719"/>
                    <a:gd name="connsiteX3" fmla="*/ 51185 w 124683"/>
                    <a:gd name="connsiteY3" fmla="*/ 13084 h 57719"/>
                    <a:gd name="connsiteX4" fmla="*/ 13084 w 124683"/>
                    <a:gd name="connsiteY4" fmla="*/ 51178 h 57719"/>
                    <a:gd name="connsiteX5" fmla="*/ 6542 w 124683"/>
                    <a:gd name="connsiteY5" fmla="*/ 57720 h 57719"/>
                    <a:gd name="connsiteX6" fmla="*/ 0 w 124683"/>
                    <a:gd name="connsiteY6" fmla="*/ 51178 h 57719"/>
                    <a:gd name="connsiteX7" fmla="*/ 51185 w 124683"/>
                    <a:gd name="connsiteY7" fmla="*/ 0 h 57719"/>
                    <a:gd name="connsiteX8" fmla="*/ 73499 w 124683"/>
                    <a:gd name="connsiteY8" fmla="*/ 0 h 57719"/>
                    <a:gd name="connsiteX9" fmla="*/ 124684 w 124683"/>
                    <a:gd name="connsiteY9" fmla="*/ 51178 h 57719"/>
                    <a:gd name="connsiteX10" fmla="*/ 118142 w 124683"/>
                    <a:gd name="connsiteY10" fmla="*/ 57720 h 57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683" h="57719">
                      <a:moveTo>
                        <a:pt x="118142" y="57720"/>
                      </a:moveTo>
                      <a:cubicBezTo>
                        <a:pt x="114525" y="57720"/>
                        <a:pt x="111600" y="54790"/>
                        <a:pt x="111600" y="51178"/>
                      </a:cubicBezTo>
                      <a:cubicBezTo>
                        <a:pt x="111600" y="30173"/>
                        <a:pt x="94511" y="13084"/>
                        <a:pt x="73499" y="13084"/>
                      </a:cubicBezTo>
                      <a:lnTo>
                        <a:pt x="51185" y="13084"/>
                      </a:lnTo>
                      <a:cubicBezTo>
                        <a:pt x="30173" y="13084"/>
                        <a:pt x="13084" y="30173"/>
                        <a:pt x="13084" y="51178"/>
                      </a:cubicBezTo>
                      <a:cubicBezTo>
                        <a:pt x="13084" y="54790"/>
                        <a:pt x="10159" y="57720"/>
                        <a:pt x="6542" y="57720"/>
                      </a:cubicBezTo>
                      <a:cubicBezTo>
                        <a:pt x="2925" y="57720"/>
                        <a:pt x="0" y="54790"/>
                        <a:pt x="0" y="51178"/>
                      </a:cubicBezTo>
                      <a:cubicBezTo>
                        <a:pt x="0" y="22958"/>
                        <a:pt x="22960" y="0"/>
                        <a:pt x="51185" y="0"/>
                      </a:cubicBezTo>
                      <a:lnTo>
                        <a:pt x="73499" y="0"/>
                      </a:lnTo>
                      <a:cubicBezTo>
                        <a:pt x="101724" y="0"/>
                        <a:pt x="124684" y="22958"/>
                        <a:pt x="124684" y="51178"/>
                      </a:cubicBezTo>
                      <a:cubicBezTo>
                        <a:pt x="124684" y="54790"/>
                        <a:pt x="121759" y="57720"/>
                        <a:pt x="118142" y="57720"/>
                      </a:cubicBezTo>
                      <a:close/>
                    </a:path>
                  </a:pathLst>
                </a:custGeom>
                <a:grpFill/>
                <a:ln w="231" cap="flat">
                  <a:noFill/>
                  <a:prstDash val="solid"/>
                  <a:miter/>
                </a:ln>
              </p:spPr>
              <p:txBody>
                <a:bodyPr rtlCol="0" anchor="ctr"/>
                <a:lstStyle/>
                <a:p>
                  <a:endParaRPr lang="en-GB" dirty="0"/>
                </a:p>
              </p:txBody>
            </p:sp>
            <p:sp>
              <p:nvSpPr>
                <p:cNvPr id="670" name="Freihandform: Form 720">
                  <a:extLst>
                    <a:ext uri="{FF2B5EF4-FFF2-40B4-BE49-F238E27FC236}">
                      <a16:creationId xmlns:a16="http://schemas.microsoft.com/office/drawing/2014/main" id="{E2707574-09A1-44BD-95FE-BE835675E3D1}"/>
                    </a:ext>
                  </a:extLst>
                </p:cNvPr>
                <p:cNvSpPr/>
                <p:nvPr/>
              </p:nvSpPr>
              <p:spPr>
                <a:xfrm>
                  <a:off x="7089722" y="2566726"/>
                  <a:ext cx="57719" cy="35405"/>
                </a:xfrm>
                <a:custGeom>
                  <a:avLst/>
                  <a:gdLst>
                    <a:gd name="connsiteX0" fmla="*/ 51178 w 57719"/>
                    <a:gd name="connsiteY0" fmla="*/ 35405 h 35405"/>
                    <a:gd name="connsiteX1" fmla="*/ 6542 w 57719"/>
                    <a:gd name="connsiteY1" fmla="*/ 35405 h 35405"/>
                    <a:gd name="connsiteX2" fmla="*/ 0 w 57719"/>
                    <a:gd name="connsiteY2" fmla="*/ 28863 h 35405"/>
                    <a:gd name="connsiteX3" fmla="*/ 0 w 57719"/>
                    <a:gd name="connsiteY3" fmla="*/ 6542 h 35405"/>
                    <a:gd name="connsiteX4" fmla="*/ 6542 w 57719"/>
                    <a:gd name="connsiteY4" fmla="*/ 0 h 35405"/>
                    <a:gd name="connsiteX5" fmla="*/ 13084 w 57719"/>
                    <a:gd name="connsiteY5" fmla="*/ 6542 h 35405"/>
                    <a:gd name="connsiteX6" fmla="*/ 13084 w 57719"/>
                    <a:gd name="connsiteY6" fmla="*/ 22321 h 35405"/>
                    <a:gd name="connsiteX7" fmla="*/ 51178 w 57719"/>
                    <a:gd name="connsiteY7" fmla="*/ 22321 h 35405"/>
                    <a:gd name="connsiteX8" fmla="*/ 57719 w 57719"/>
                    <a:gd name="connsiteY8" fmla="*/ 28863 h 35405"/>
                    <a:gd name="connsiteX9" fmla="*/ 51178 w 57719"/>
                    <a:gd name="connsiteY9" fmla="*/ 35405 h 35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719" h="35405">
                      <a:moveTo>
                        <a:pt x="51178" y="35405"/>
                      </a:moveTo>
                      <a:lnTo>
                        <a:pt x="6542" y="35405"/>
                      </a:lnTo>
                      <a:cubicBezTo>
                        <a:pt x="2925" y="35405"/>
                        <a:pt x="0" y="32476"/>
                        <a:pt x="0" y="28863"/>
                      </a:cubicBezTo>
                      <a:lnTo>
                        <a:pt x="0" y="6542"/>
                      </a:lnTo>
                      <a:cubicBezTo>
                        <a:pt x="0" y="2930"/>
                        <a:pt x="2925" y="0"/>
                        <a:pt x="6542" y="0"/>
                      </a:cubicBezTo>
                      <a:cubicBezTo>
                        <a:pt x="10159" y="0"/>
                        <a:pt x="13084" y="2930"/>
                        <a:pt x="13084" y="6542"/>
                      </a:cubicBezTo>
                      <a:lnTo>
                        <a:pt x="13084" y="22321"/>
                      </a:lnTo>
                      <a:lnTo>
                        <a:pt x="51178" y="22321"/>
                      </a:lnTo>
                      <a:cubicBezTo>
                        <a:pt x="54795" y="22321"/>
                        <a:pt x="57719" y="25251"/>
                        <a:pt x="57719" y="28863"/>
                      </a:cubicBezTo>
                      <a:cubicBezTo>
                        <a:pt x="57719" y="32476"/>
                        <a:pt x="54795" y="35405"/>
                        <a:pt x="51178" y="35405"/>
                      </a:cubicBezTo>
                      <a:close/>
                    </a:path>
                  </a:pathLst>
                </a:custGeom>
                <a:grpFill/>
                <a:ln w="231" cap="flat">
                  <a:noFill/>
                  <a:prstDash val="solid"/>
                  <a:miter/>
                </a:ln>
              </p:spPr>
              <p:txBody>
                <a:bodyPr rtlCol="0" anchor="ctr"/>
                <a:lstStyle/>
                <a:p>
                  <a:endParaRPr lang="en-GB" dirty="0"/>
                </a:p>
              </p:txBody>
            </p:sp>
          </p:grpSp>
        </p:grpSp>
      </p:grpSp>
    </p:spTree>
    <p:extLst>
      <p:ext uri="{BB962C8B-B14F-4D97-AF65-F5344CB8AC3E}">
        <p14:creationId xmlns:p14="http://schemas.microsoft.com/office/powerpoint/2010/main" val="4291288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523CEB7-7495-49F0-8E04-DA7E19C7606D}"/>
              </a:ext>
            </a:extLst>
          </p:cNvPr>
          <p:cNvGraphicFramePr>
            <a:graphicFrameLocks noChangeAspect="1"/>
          </p:cNvGraphicFramePr>
          <p:nvPr>
            <p:custDataLst>
              <p:tags r:id="rId1"/>
            </p:custDataLst>
            <p:extLst>
              <p:ext uri="{D42A27DB-BD31-4B8C-83A1-F6EECF244321}">
                <p14:modId xmlns:p14="http://schemas.microsoft.com/office/powerpoint/2010/main" val="1714072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6" name="Objekt 5" hidden="1">
                        <a:extLst>
                          <a:ext uri="{FF2B5EF4-FFF2-40B4-BE49-F238E27FC236}">
                            <a16:creationId xmlns:a16="http://schemas.microsoft.com/office/drawing/2014/main" id="{7523CEB7-7495-49F0-8E04-DA7E19C760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F3A39764-5B7A-4425-9119-9800D4C39FD6}"/>
              </a:ext>
            </a:extLst>
          </p:cNvPr>
          <p:cNvSpPr>
            <a:spLocks noGrp="1"/>
          </p:cNvSpPr>
          <p:nvPr>
            <p:ph type="sldNum" sz="quarter" idx="11"/>
          </p:nvPr>
        </p:nvSpPr>
        <p:spPr/>
        <p:txBody>
          <a:bodyPr/>
          <a:lstStyle/>
          <a:p>
            <a:fld id="{D56DB8AA-803C-49D2-90AA-1140CE72DCD7}" type="slidenum">
              <a:rPr lang="en-GB" smtClean="0"/>
              <a:pPr/>
              <a:t>38</a:t>
            </a:fld>
            <a:endParaRPr lang="en-GB" dirty="0"/>
          </a:p>
        </p:txBody>
      </p:sp>
      <p:sp>
        <p:nvSpPr>
          <p:cNvPr id="3" name="Title 2">
            <a:extLst>
              <a:ext uri="{FF2B5EF4-FFF2-40B4-BE49-F238E27FC236}">
                <a16:creationId xmlns:a16="http://schemas.microsoft.com/office/drawing/2014/main" id="{46CDDEE2-B689-5806-F68A-FBFC2E70FF19}"/>
              </a:ext>
            </a:extLst>
          </p:cNvPr>
          <p:cNvSpPr>
            <a:spLocks noGrp="1"/>
          </p:cNvSpPr>
          <p:nvPr>
            <p:ph type="title"/>
          </p:nvPr>
        </p:nvSpPr>
        <p:spPr>
          <a:xfrm>
            <a:off x="252000" y="252000"/>
            <a:ext cx="6748875" cy="576000"/>
          </a:xfrm>
        </p:spPr>
        <p:txBody>
          <a:bodyPr/>
          <a:lstStyle/>
          <a:p>
            <a:r>
              <a:rPr lang="en-US" dirty="0"/>
              <a:t>Events</a:t>
            </a:r>
          </a:p>
        </p:txBody>
      </p:sp>
      <p:sp>
        <p:nvSpPr>
          <p:cNvPr id="18" name="TextBox 17">
            <a:extLst>
              <a:ext uri="{FF2B5EF4-FFF2-40B4-BE49-F238E27FC236}">
                <a16:creationId xmlns:a16="http://schemas.microsoft.com/office/drawing/2014/main" id="{D2665390-4195-4916-955E-3E8AB57D34FC}"/>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atting</a:t>
            </a:r>
          </a:p>
        </p:txBody>
      </p:sp>
      <p:sp>
        <p:nvSpPr>
          <p:cNvPr id="19" name="TextBox 18">
            <a:extLst>
              <a:ext uri="{FF2B5EF4-FFF2-40B4-BE49-F238E27FC236}">
                <a16:creationId xmlns:a16="http://schemas.microsoft.com/office/drawing/2014/main" id="{28E24040-F0A0-45E1-A101-9F9C965B3B61}"/>
              </a:ext>
            </a:extLst>
          </p:cNvPr>
          <p:cNvSpPr txBox="1"/>
          <p:nvPr/>
        </p:nvSpPr>
        <p:spPr>
          <a:xfrm>
            <a:off x="3588420"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Growth</a:t>
            </a:r>
            <a:br>
              <a:rPr lang="en-GB" sz="700" dirty="0">
                <a:solidFill>
                  <a:schemeClr val="tx2"/>
                </a:solidFill>
              </a:rPr>
            </a:br>
            <a:r>
              <a:rPr lang="en-GB" sz="700" dirty="0">
                <a:solidFill>
                  <a:schemeClr val="tx2"/>
                </a:solidFill>
              </a:rPr>
              <a:t>needs</a:t>
            </a:r>
          </a:p>
        </p:txBody>
      </p:sp>
      <p:sp>
        <p:nvSpPr>
          <p:cNvPr id="20" name="TextBox 19">
            <a:extLst>
              <a:ext uri="{FF2B5EF4-FFF2-40B4-BE49-F238E27FC236}">
                <a16:creationId xmlns:a16="http://schemas.microsoft.com/office/drawing/2014/main" id="{9FE2CF4B-6CF2-4015-AB5E-B12E3E6F1E03}"/>
              </a:ext>
            </a:extLst>
          </p:cNvPr>
          <p:cNvSpPr txBox="1"/>
          <p:nvPr/>
        </p:nvSpPr>
        <p:spPr>
          <a:xfrm>
            <a:off x="254298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aster</a:t>
            </a:r>
          </a:p>
        </p:txBody>
      </p:sp>
      <p:sp>
        <p:nvSpPr>
          <p:cNvPr id="21" name="TextBox 20">
            <a:extLst>
              <a:ext uri="{FF2B5EF4-FFF2-40B4-BE49-F238E27FC236}">
                <a16:creationId xmlns:a16="http://schemas.microsoft.com/office/drawing/2014/main" id="{8ECA42E4-67D8-40D2-8120-73E47AE7F359}"/>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mmentator</a:t>
            </a:r>
          </a:p>
        </p:txBody>
      </p:sp>
      <p:sp>
        <p:nvSpPr>
          <p:cNvPr id="22" name="TextBox 21">
            <a:extLst>
              <a:ext uri="{FF2B5EF4-FFF2-40B4-BE49-F238E27FC236}">
                <a16:creationId xmlns:a16="http://schemas.microsoft.com/office/drawing/2014/main" id="{2E515341-03F9-4753-AF01-8136B5AA37FA}"/>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Guidance</a:t>
            </a:r>
          </a:p>
        </p:txBody>
      </p:sp>
      <p:sp>
        <p:nvSpPr>
          <p:cNvPr id="23" name="TextBox 22">
            <a:extLst>
              <a:ext uri="{FF2B5EF4-FFF2-40B4-BE49-F238E27FC236}">
                <a16:creationId xmlns:a16="http://schemas.microsoft.com/office/drawing/2014/main" id="{B9F17E32-7709-4972-9ABA-72793085B52D}"/>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mment</a:t>
            </a:r>
          </a:p>
        </p:txBody>
      </p:sp>
      <p:sp>
        <p:nvSpPr>
          <p:cNvPr id="24" name="TextBox 23">
            <a:extLst>
              <a:ext uri="{FF2B5EF4-FFF2-40B4-BE49-F238E27FC236}">
                <a16:creationId xmlns:a16="http://schemas.microsoft.com/office/drawing/2014/main" id="{A2367555-D5E8-42BE-89BD-2477A253DD2F}"/>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vents</a:t>
            </a:r>
          </a:p>
        </p:txBody>
      </p:sp>
      <p:sp>
        <p:nvSpPr>
          <p:cNvPr id="25" name="TextBox 24">
            <a:extLst>
              <a:ext uri="{FF2B5EF4-FFF2-40B4-BE49-F238E27FC236}">
                <a16:creationId xmlns:a16="http://schemas.microsoft.com/office/drawing/2014/main" id="{B2CFCF2E-7C83-4A2A-9312-2CFCEC3245B4}"/>
              </a:ext>
            </a:extLst>
          </p:cNvPr>
          <p:cNvSpPr txBox="1"/>
          <p:nvPr/>
        </p:nvSpPr>
        <p:spPr>
          <a:xfrm>
            <a:off x="1497553"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ime</a:t>
            </a:r>
            <a:br>
              <a:rPr lang="en-GB" sz="700" dirty="0">
                <a:solidFill>
                  <a:schemeClr val="tx2"/>
                </a:solidFill>
              </a:rPr>
            </a:br>
            <a:r>
              <a:rPr lang="en-GB" sz="700" dirty="0">
                <a:solidFill>
                  <a:schemeClr val="tx2"/>
                </a:solidFill>
              </a:rPr>
              <a:t>management</a:t>
            </a:r>
          </a:p>
        </p:txBody>
      </p:sp>
      <p:sp>
        <p:nvSpPr>
          <p:cNvPr id="26" name="TextBox 25">
            <a:extLst>
              <a:ext uri="{FF2B5EF4-FFF2-40B4-BE49-F238E27FC236}">
                <a16:creationId xmlns:a16="http://schemas.microsoft.com/office/drawing/2014/main" id="{48916C25-BA94-4B86-ADE2-CB67348DF4E6}"/>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nference</a:t>
            </a:r>
          </a:p>
        </p:txBody>
      </p:sp>
      <p:sp>
        <p:nvSpPr>
          <p:cNvPr id="27" name="TextBox 26">
            <a:extLst>
              <a:ext uri="{FF2B5EF4-FFF2-40B4-BE49-F238E27FC236}">
                <a16:creationId xmlns:a16="http://schemas.microsoft.com/office/drawing/2014/main" id="{FE6539FD-04D2-4917-932F-91EDF6BAF252}"/>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ject team</a:t>
            </a:r>
          </a:p>
        </p:txBody>
      </p:sp>
      <p:sp>
        <p:nvSpPr>
          <p:cNvPr id="28" name="TextBox 27">
            <a:extLst>
              <a:ext uri="{FF2B5EF4-FFF2-40B4-BE49-F238E27FC236}">
                <a16:creationId xmlns:a16="http://schemas.microsoft.com/office/drawing/2014/main" id="{CA8FB7A4-3D56-4E2F-A2CC-75BAF7491F75}"/>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file</a:t>
            </a:r>
          </a:p>
        </p:txBody>
      </p:sp>
      <p:sp>
        <p:nvSpPr>
          <p:cNvPr id="29" name="TextBox 28">
            <a:extLst>
              <a:ext uri="{FF2B5EF4-FFF2-40B4-BE49-F238E27FC236}">
                <a16:creationId xmlns:a16="http://schemas.microsoft.com/office/drawing/2014/main" id="{C2CAD5C6-59F5-4D47-88BF-39D2C2E2EDB2}"/>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eam</a:t>
            </a:r>
          </a:p>
        </p:txBody>
      </p:sp>
      <p:sp>
        <p:nvSpPr>
          <p:cNvPr id="30" name="TextBox 29">
            <a:extLst>
              <a:ext uri="{FF2B5EF4-FFF2-40B4-BE49-F238E27FC236}">
                <a16:creationId xmlns:a16="http://schemas.microsoft.com/office/drawing/2014/main" id="{547A14A6-F9AB-443F-A516-CEDE83C1D99B}"/>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teraction</a:t>
            </a:r>
          </a:p>
        </p:txBody>
      </p:sp>
      <p:sp>
        <p:nvSpPr>
          <p:cNvPr id="31" name="TextBox 30">
            <a:extLst>
              <a:ext uri="{FF2B5EF4-FFF2-40B4-BE49-F238E27FC236}">
                <a16:creationId xmlns:a16="http://schemas.microsoft.com/office/drawing/2014/main" id="{B21C4EB5-E993-4D31-BD8E-0159CEC104BE}"/>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rowdsourcing</a:t>
            </a:r>
          </a:p>
        </p:txBody>
      </p:sp>
      <p:sp>
        <p:nvSpPr>
          <p:cNvPr id="32" name="TextBox 31">
            <a:extLst>
              <a:ext uri="{FF2B5EF4-FFF2-40B4-BE49-F238E27FC236}">
                <a16:creationId xmlns:a16="http://schemas.microsoft.com/office/drawing/2014/main" id="{DCC3974C-F197-4EC2-A9A1-CCC934E98ED2}"/>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Growth needs</a:t>
            </a:r>
          </a:p>
        </p:txBody>
      </p:sp>
      <p:sp>
        <p:nvSpPr>
          <p:cNvPr id="33" name="TextBox 32">
            <a:extLst>
              <a:ext uri="{FF2B5EF4-FFF2-40B4-BE49-F238E27FC236}">
                <a16:creationId xmlns:a16="http://schemas.microsoft.com/office/drawing/2014/main" id="{72796648-A994-4348-92D8-CB7C38E20DFE}"/>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Unity</a:t>
            </a:r>
          </a:p>
        </p:txBody>
      </p:sp>
      <p:grpSp>
        <p:nvGrpSpPr>
          <p:cNvPr id="50" name="Group 49">
            <a:extLst>
              <a:ext uri="{FF2B5EF4-FFF2-40B4-BE49-F238E27FC236}">
                <a16:creationId xmlns:a16="http://schemas.microsoft.com/office/drawing/2014/main" id="{C1B6FA87-E143-4115-95FA-41517EBD1C0C}"/>
              </a:ext>
            </a:extLst>
          </p:cNvPr>
          <p:cNvGrpSpPr>
            <a:grpSpLocks noChangeAspect="1"/>
          </p:cNvGrpSpPr>
          <p:nvPr/>
        </p:nvGrpSpPr>
        <p:grpSpPr>
          <a:xfrm>
            <a:off x="523904" y="1585984"/>
            <a:ext cx="540292" cy="432000"/>
            <a:chOff x="2536929" y="1664274"/>
            <a:chExt cx="480086" cy="383861"/>
          </a:xfrm>
        </p:grpSpPr>
        <p:sp>
          <p:nvSpPr>
            <p:cNvPr id="51" name="Freihandform: Form 267">
              <a:extLst>
                <a:ext uri="{FF2B5EF4-FFF2-40B4-BE49-F238E27FC236}">
                  <a16:creationId xmlns:a16="http://schemas.microsoft.com/office/drawing/2014/main" id="{3A3A3CFE-A51F-4477-B055-7DB95D80A3E4}"/>
                </a:ext>
              </a:extLst>
            </p:cNvPr>
            <p:cNvSpPr/>
            <p:nvPr/>
          </p:nvSpPr>
          <p:spPr>
            <a:xfrm>
              <a:off x="2685526" y="1714768"/>
              <a:ext cx="181634" cy="173679"/>
            </a:xfrm>
            <a:custGeom>
              <a:avLst/>
              <a:gdLst>
                <a:gd name="connsiteX0" fmla="*/ 142890 w 181634"/>
                <a:gd name="connsiteY0" fmla="*/ 173668 h 173679"/>
                <a:gd name="connsiteX1" fmla="*/ 139855 w 181634"/>
                <a:gd name="connsiteY1" fmla="*/ 172928 h 173679"/>
                <a:gd name="connsiteX2" fmla="*/ 90792 w 181634"/>
                <a:gd name="connsiteY2" fmla="*/ 147014 h 173679"/>
                <a:gd name="connsiteX3" fmla="*/ 41730 w 181634"/>
                <a:gd name="connsiteY3" fmla="*/ 172928 h 173679"/>
                <a:gd name="connsiteX4" fmla="*/ 34894 w 181634"/>
                <a:gd name="connsiteY4" fmla="*/ 172434 h 173679"/>
                <a:gd name="connsiteX5" fmla="*/ 32303 w 181634"/>
                <a:gd name="connsiteY5" fmla="*/ 166092 h 173679"/>
                <a:gd name="connsiteX6" fmla="*/ 41681 w 181634"/>
                <a:gd name="connsiteY6" fmla="*/ 111180 h 173679"/>
                <a:gd name="connsiteX7" fmla="*/ 1947 w 181634"/>
                <a:gd name="connsiteY7" fmla="*/ 72335 h 173679"/>
                <a:gd name="connsiteX8" fmla="*/ 318 w 181634"/>
                <a:gd name="connsiteY8" fmla="*/ 65696 h 173679"/>
                <a:gd name="connsiteX9" fmla="*/ 5550 w 181634"/>
                <a:gd name="connsiteY9" fmla="*/ 61279 h 173679"/>
                <a:gd name="connsiteX10" fmla="*/ 60437 w 181634"/>
                <a:gd name="connsiteY10" fmla="*/ 53258 h 173679"/>
                <a:gd name="connsiteX11" fmla="*/ 84993 w 181634"/>
                <a:gd name="connsiteY11" fmla="*/ 3332 h 173679"/>
                <a:gd name="connsiteX12" fmla="*/ 96641 w 181634"/>
                <a:gd name="connsiteY12" fmla="*/ 3332 h 173679"/>
                <a:gd name="connsiteX13" fmla="*/ 121197 w 181634"/>
                <a:gd name="connsiteY13" fmla="*/ 53258 h 173679"/>
                <a:gd name="connsiteX14" fmla="*/ 176084 w 181634"/>
                <a:gd name="connsiteY14" fmla="*/ 61279 h 173679"/>
                <a:gd name="connsiteX15" fmla="*/ 181316 w 181634"/>
                <a:gd name="connsiteY15" fmla="*/ 65696 h 173679"/>
                <a:gd name="connsiteX16" fmla="*/ 179687 w 181634"/>
                <a:gd name="connsiteY16" fmla="*/ 72335 h 173679"/>
                <a:gd name="connsiteX17" fmla="*/ 139904 w 181634"/>
                <a:gd name="connsiteY17" fmla="*/ 111205 h 173679"/>
                <a:gd name="connsiteX18" fmla="*/ 149282 w 181634"/>
                <a:gd name="connsiteY18" fmla="*/ 166116 h 173679"/>
                <a:gd name="connsiteX19" fmla="*/ 146691 w 181634"/>
                <a:gd name="connsiteY19" fmla="*/ 172459 h 173679"/>
                <a:gd name="connsiteX20" fmla="*/ 142890 w 181634"/>
                <a:gd name="connsiteY20" fmla="*/ 173668 h 173679"/>
                <a:gd name="connsiteX21" fmla="*/ 90792 w 181634"/>
                <a:gd name="connsiteY21" fmla="*/ 133194 h 173679"/>
                <a:gd name="connsiteX22" fmla="*/ 93828 w 181634"/>
                <a:gd name="connsiteY22" fmla="*/ 133934 h 173679"/>
                <a:gd name="connsiteX23" fmla="*/ 134277 w 181634"/>
                <a:gd name="connsiteY23" fmla="*/ 155282 h 173679"/>
                <a:gd name="connsiteX24" fmla="*/ 126553 w 181634"/>
                <a:gd name="connsiteY24" fmla="*/ 109996 h 173679"/>
                <a:gd name="connsiteX25" fmla="*/ 128404 w 181634"/>
                <a:gd name="connsiteY25" fmla="*/ 104270 h 173679"/>
                <a:gd name="connsiteX26" fmla="*/ 161203 w 181634"/>
                <a:gd name="connsiteY26" fmla="*/ 72187 h 173679"/>
                <a:gd name="connsiteX27" fmla="*/ 115916 w 181634"/>
                <a:gd name="connsiteY27" fmla="*/ 65573 h 173679"/>
                <a:gd name="connsiteX28" fmla="*/ 111029 w 181634"/>
                <a:gd name="connsiteY28" fmla="*/ 62019 h 173679"/>
                <a:gd name="connsiteX29" fmla="*/ 90792 w 181634"/>
                <a:gd name="connsiteY29" fmla="*/ 20854 h 173679"/>
                <a:gd name="connsiteX30" fmla="*/ 70555 w 181634"/>
                <a:gd name="connsiteY30" fmla="*/ 62019 h 173679"/>
                <a:gd name="connsiteX31" fmla="*/ 65669 w 181634"/>
                <a:gd name="connsiteY31" fmla="*/ 65573 h 173679"/>
                <a:gd name="connsiteX32" fmla="*/ 20383 w 181634"/>
                <a:gd name="connsiteY32" fmla="*/ 72187 h 173679"/>
                <a:gd name="connsiteX33" fmla="*/ 53181 w 181634"/>
                <a:gd name="connsiteY33" fmla="*/ 104270 h 173679"/>
                <a:gd name="connsiteX34" fmla="*/ 55032 w 181634"/>
                <a:gd name="connsiteY34" fmla="*/ 109996 h 173679"/>
                <a:gd name="connsiteX35" fmla="*/ 47308 w 181634"/>
                <a:gd name="connsiteY35" fmla="*/ 155282 h 173679"/>
                <a:gd name="connsiteX36" fmla="*/ 87757 w 181634"/>
                <a:gd name="connsiteY36" fmla="*/ 133934 h 173679"/>
                <a:gd name="connsiteX37" fmla="*/ 90792 w 181634"/>
                <a:gd name="connsiteY37" fmla="*/ 133194 h 173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81634" h="173679">
                  <a:moveTo>
                    <a:pt x="142890" y="173668"/>
                  </a:moveTo>
                  <a:cubicBezTo>
                    <a:pt x="141854" y="173668"/>
                    <a:pt x="140817" y="173421"/>
                    <a:pt x="139855" y="172928"/>
                  </a:cubicBezTo>
                  <a:lnTo>
                    <a:pt x="90792" y="147014"/>
                  </a:lnTo>
                  <a:lnTo>
                    <a:pt x="41730" y="172928"/>
                  </a:lnTo>
                  <a:cubicBezTo>
                    <a:pt x="39558" y="174088"/>
                    <a:pt x="36893" y="173890"/>
                    <a:pt x="34894" y="172434"/>
                  </a:cubicBezTo>
                  <a:cubicBezTo>
                    <a:pt x="32895" y="170978"/>
                    <a:pt x="31883" y="168535"/>
                    <a:pt x="32303" y="166092"/>
                  </a:cubicBezTo>
                  <a:lnTo>
                    <a:pt x="41681" y="111180"/>
                  </a:lnTo>
                  <a:lnTo>
                    <a:pt x="1947" y="72335"/>
                  </a:lnTo>
                  <a:cubicBezTo>
                    <a:pt x="195" y="70607"/>
                    <a:pt x="-447" y="68041"/>
                    <a:pt x="318" y="65696"/>
                  </a:cubicBezTo>
                  <a:cubicBezTo>
                    <a:pt x="1083" y="63352"/>
                    <a:pt x="3107" y="61649"/>
                    <a:pt x="5550" y="61279"/>
                  </a:cubicBezTo>
                  <a:lnTo>
                    <a:pt x="60437" y="53258"/>
                  </a:lnTo>
                  <a:lnTo>
                    <a:pt x="84993" y="3332"/>
                  </a:lnTo>
                  <a:cubicBezTo>
                    <a:pt x="87165" y="-1111"/>
                    <a:pt x="94470" y="-1111"/>
                    <a:pt x="96641" y="3332"/>
                  </a:cubicBezTo>
                  <a:lnTo>
                    <a:pt x="121197" y="53258"/>
                  </a:lnTo>
                  <a:lnTo>
                    <a:pt x="176084" y="61279"/>
                  </a:lnTo>
                  <a:cubicBezTo>
                    <a:pt x="178527" y="61649"/>
                    <a:pt x="180551" y="63352"/>
                    <a:pt x="181316" y="65696"/>
                  </a:cubicBezTo>
                  <a:cubicBezTo>
                    <a:pt x="182081" y="68041"/>
                    <a:pt x="181440" y="70607"/>
                    <a:pt x="179687" y="72335"/>
                  </a:cubicBezTo>
                  <a:lnTo>
                    <a:pt x="139904" y="111205"/>
                  </a:lnTo>
                  <a:lnTo>
                    <a:pt x="149282" y="166116"/>
                  </a:lnTo>
                  <a:cubicBezTo>
                    <a:pt x="149702" y="168559"/>
                    <a:pt x="148690" y="171003"/>
                    <a:pt x="146691" y="172459"/>
                  </a:cubicBezTo>
                  <a:cubicBezTo>
                    <a:pt x="145580" y="173273"/>
                    <a:pt x="144223" y="173668"/>
                    <a:pt x="142890" y="173668"/>
                  </a:cubicBezTo>
                  <a:close/>
                  <a:moveTo>
                    <a:pt x="90792" y="133194"/>
                  </a:moveTo>
                  <a:cubicBezTo>
                    <a:pt x="91829" y="133194"/>
                    <a:pt x="92866" y="133441"/>
                    <a:pt x="93828" y="133934"/>
                  </a:cubicBezTo>
                  <a:lnTo>
                    <a:pt x="134277" y="155282"/>
                  </a:lnTo>
                  <a:lnTo>
                    <a:pt x="126553" y="109996"/>
                  </a:lnTo>
                  <a:cubicBezTo>
                    <a:pt x="126183" y="107898"/>
                    <a:pt x="126898" y="105751"/>
                    <a:pt x="128404" y="104270"/>
                  </a:cubicBezTo>
                  <a:lnTo>
                    <a:pt x="161203" y="72187"/>
                  </a:lnTo>
                  <a:lnTo>
                    <a:pt x="115916" y="65573"/>
                  </a:lnTo>
                  <a:cubicBezTo>
                    <a:pt x="113794" y="65252"/>
                    <a:pt x="111967" y="63944"/>
                    <a:pt x="111029" y="62019"/>
                  </a:cubicBezTo>
                  <a:lnTo>
                    <a:pt x="90792" y="20854"/>
                  </a:lnTo>
                  <a:lnTo>
                    <a:pt x="70555" y="62019"/>
                  </a:lnTo>
                  <a:cubicBezTo>
                    <a:pt x="69618" y="63944"/>
                    <a:pt x="67791" y="65277"/>
                    <a:pt x="65669" y="65573"/>
                  </a:cubicBezTo>
                  <a:lnTo>
                    <a:pt x="20383" y="72187"/>
                  </a:lnTo>
                  <a:lnTo>
                    <a:pt x="53181" y="104270"/>
                  </a:lnTo>
                  <a:cubicBezTo>
                    <a:pt x="54711" y="105751"/>
                    <a:pt x="55402" y="107898"/>
                    <a:pt x="55032" y="109996"/>
                  </a:cubicBezTo>
                  <a:lnTo>
                    <a:pt x="47308" y="155282"/>
                  </a:lnTo>
                  <a:lnTo>
                    <a:pt x="87757" y="133934"/>
                  </a:lnTo>
                  <a:cubicBezTo>
                    <a:pt x="88719" y="133441"/>
                    <a:pt x="89756" y="133194"/>
                    <a:pt x="90792" y="133194"/>
                  </a:cubicBezTo>
                  <a:close/>
                </a:path>
              </a:pathLst>
            </a:custGeom>
            <a:solidFill>
              <a:schemeClr val="accent1"/>
            </a:solidFill>
            <a:ln w="2466" cap="flat">
              <a:noFill/>
              <a:prstDash val="solid"/>
              <a:miter/>
            </a:ln>
          </p:spPr>
          <p:txBody>
            <a:bodyPr rtlCol="0" anchor="ctr"/>
            <a:lstStyle/>
            <a:p>
              <a:endParaRPr lang="en-GB" dirty="0"/>
            </a:p>
          </p:txBody>
        </p:sp>
        <p:grpSp>
          <p:nvGrpSpPr>
            <p:cNvPr id="52" name="Group 51">
              <a:extLst>
                <a:ext uri="{FF2B5EF4-FFF2-40B4-BE49-F238E27FC236}">
                  <a16:creationId xmlns:a16="http://schemas.microsoft.com/office/drawing/2014/main" id="{3125AD41-4754-4E76-8CCE-BF79A45E89EE}"/>
                </a:ext>
              </a:extLst>
            </p:cNvPr>
            <p:cNvGrpSpPr/>
            <p:nvPr/>
          </p:nvGrpSpPr>
          <p:grpSpPr>
            <a:xfrm>
              <a:off x="2536929" y="1664274"/>
              <a:ext cx="480086" cy="383861"/>
              <a:chOff x="2536929" y="1664274"/>
              <a:chExt cx="480086" cy="383861"/>
            </a:xfrm>
          </p:grpSpPr>
          <p:sp>
            <p:nvSpPr>
              <p:cNvPr id="53" name="Freihandform: Form 268">
                <a:extLst>
                  <a:ext uri="{FF2B5EF4-FFF2-40B4-BE49-F238E27FC236}">
                    <a16:creationId xmlns:a16="http://schemas.microsoft.com/office/drawing/2014/main" id="{0DB389FC-8466-4B7F-A6EF-3F164A58B4A0}"/>
                  </a:ext>
                </a:extLst>
              </p:cNvPr>
              <p:cNvSpPr/>
              <p:nvPr/>
            </p:nvSpPr>
            <p:spPr>
              <a:xfrm>
                <a:off x="2573926" y="1746925"/>
                <a:ext cx="127885" cy="139703"/>
              </a:xfrm>
              <a:custGeom>
                <a:avLst/>
                <a:gdLst>
                  <a:gd name="connsiteX0" fmla="*/ 114065 w 127885"/>
                  <a:gd name="connsiteY0" fmla="*/ 139685 h 139703"/>
                  <a:gd name="connsiteX1" fmla="*/ 111030 w 127885"/>
                  <a:gd name="connsiteY1" fmla="*/ 138944 h 139703"/>
                  <a:gd name="connsiteX2" fmla="*/ 72974 w 127885"/>
                  <a:gd name="connsiteY2" fmla="*/ 118855 h 139703"/>
                  <a:gd name="connsiteX3" fmla="*/ 34919 w 127885"/>
                  <a:gd name="connsiteY3" fmla="*/ 138944 h 139703"/>
                  <a:gd name="connsiteX4" fmla="*/ 28082 w 127885"/>
                  <a:gd name="connsiteY4" fmla="*/ 138451 h 139703"/>
                  <a:gd name="connsiteX5" fmla="*/ 25491 w 127885"/>
                  <a:gd name="connsiteY5" fmla="*/ 132108 h 139703"/>
                  <a:gd name="connsiteX6" fmla="*/ 32747 w 127885"/>
                  <a:gd name="connsiteY6" fmla="*/ 89512 h 139703"/>
                  <a:gd name="connsiteX7" fmla="*/ 1947 w 127885"/>
                  <a:gd name="connsiteY7" fmla="*/ 59354 h 139703"/>
                  <a:gd name="connsiteX8" fmla="*/ 318 w 127885"/>
                  <a:gd name="connsiteY8" fmla="*/ 52715 h 139703"/>
                  <a:gd name="connsiteX9" fmla="*/ 5550 w 127885"/>
                  <a:gd name="connsiteY9" fmla="*/ 48297 h 139703"/>
                  <a:gd name="connsiteX10" fmla="*/ 48122 w 127885"/>
                  <a:gd name="connsiteY10" fmla="*/ 42078 h 139703"/>
                  <a:gd name="connsiteX11" fmla="*/ 67150 w 127885"/>
                  <a:gd name="connsiteY11" fmla="*/ 3332 h 139703"/>
                  <a:gd name="connsiteX12" fmla="*/ 78798 w 127885"/>
                  <a:gd name="connsiteY12" fmla="*/ 3332 h 139703"/>
                  <a:gd name="connsiteX13" fmla="*/ 97876 w 127885"/>
                  <a:gd name="connsiteY13" fmla="*/ 42128 h 139703"/>
                  <a:gd name="connsiteX14" fmla="*/ 106143 w 127885"/>
                  <a:gd name="connsiteY14" fmla="*/ 43806 h 139703"/>
                  <a:gd name="connsiteX15" fmla="*/ 116681 w 127885"/>
                  <a:gd name="connsiteY15" fmla="*/ 58416 h 139703"/>
                  <a:gd name="connsiteX16" fmla="*/ 92471 w 127885"/>
                  <a:gd name="connsiteY16" fmla="*/ 54393 h 139703"/>
                  <a:gd name="connsiteX17" fmla="*/ 87708 w 127885"/>
                  <a:gd name="connsiteY17" fmla="*/ 50864 h 139703"/>
                  <a:gd name="connsiteX18" fmla="*/ 72974 w 127885"/>
                  <a:gd name="connsiteY18" fmla="*/ 20903 h 139703"/>
                  <a:gd name="connsiteX19" fmla="*/ 58241 w 127885"/>
                  <a:gd name="connsiteY19" fmla="*/ 50864 h 139703"/>
                  <a:gd name="connsiteX20" fmla="*/ 53354 w 127885"/>
                  <a:gd name="connsiteY20" fmla="*/ 54418 h 139703"/>
                  <a:gd name="connsiteX21" fmla="*/ 20383 w 127885"/>
                  <a:gd name="connsiteY21" fmla="*/ 59230 h 139703"/>
                  <a:gd name="connsiteX22" fmla="*/ 44272 w 127885"/>
                  <a:gd name="connsiteY22" fmla="*/ 82602 h 139703"/>
                  <a:gd name="connsiteX23" fmla="*/ 46123 w 127885"/>
                  <a:gd name="connsiteY23" fmla="*/ 88327 h 139703"/>
                  <a:gd name="connsiteX24" fmla="*/ 40496 w 127885"/>
                  <a:gd name="connsiteY24" fmla="*/ 121299 h 139703"/>
                  <a:gd name="connsiteX25" fmla="*/ 69939 w 127885"/>
                  <a:gd name="connsiteY25" fmla="*/ 105751 h 139703"/>
                  <a:gd name="connsiteX26" fmla="*/ 75985 w 127885"/>
                  <a:gd name="connsiteY26" fmla="*/ 105751 h 139703"/>
                  <a:gd name="connsiteX27" fmla="*/ 105427 w 127885"/>
                  <a:gd name="connsiteY27" fmla="*/ 121299 h 139703"/>
                  <a:gd name="connsiteX28" fmla="*/ 99800 w 127885"/>
                  <a:gd name="connsiteY28" fmla="*/ 88327 h 139703"/>
                  <a:gd name="connsiteX29" fmla="*/ 101651 w 127885"/>
                  <a:gd name="connsiteY29" fmla="*/ 82602 h 139703"/>
                  <a:gd name="connsiteX30" fmla="*/ 118804 w 127885"/>
                  <a:gd name="connsiteY30" fmla="*/ 65820 h 139703"/>
                  <a:gd name="connsiteX31" fmla="*/ 127885 w 127885"/>
                  <a:gd name="connsiteY31" fmla="*/ 75099 h 139703"/>
                  <a:gd name="connsiteX32" fmla="*/ 113177 w 127885"/>
                  <a:gd name="connsiteY32" fmla="*/ 89512 h 139703"/>
                  <a:gd name="connsiteX33" fmla="*/ 120432 w 127885"/>
                  <a:gd name="connsiteY33" fmla="*/ 132108 h 139703"/>
                  <a:gd name="connsiteX34" fmla="*/ 117841 w 127885"/>
                  <a:gd name="connsiteY34" fmla="*/ 138451 h 139703"/>
                  <a:gd name="connsiteX35" fmla="*/ 114065 w 127885"/>
                  <a:gd name="connsiteY35" fmla="*/ 139685 h 139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7885" h="139703">
                    <a:moveTo>
                      <a:pt x="114065" y="139685"/>
                    </a:moveTo>
                    <a:cubicBezTo>
                      <a:pt x="113029" y="139685"/>
                      <a:pt x="111992" y="139438"/>
                      <a:pt x="111030" y="138944"/>
                    </a:cubicBezTo>
                    <a:lnTo>
                      <a:pt x="72974" y="118855"/>
                    </a:lnTo>
                    <a:lnTo>
                      <a:pt x="34919" y="138944"/>
                    </a:lnTo>
                    <a:cubicBezTo>
                      <a:pt x="32747" y="140104"/>
                      <a:pt x="30081" y="139932"/>
                      <a:pt x="28082" y="138451"/>
                    </a:cubicBezTo>
                    <a:cubicBezTo>
                      <a:pt x="26083" y="136995"/>
                      <a:pt x="25072" y="134551"/>
                      <a:pt x="25491" y="132108"/>
                    </a:cubicBezTo>
                    <a:lnTo>
                      <a:pt x="32747" y="89512"/>
                    </a:lnTo>
                    <a:lnTo>
                      <a:pt x="1947" y="59354"/>
                    </a:lnTo>
                    <a:cubicBezTo>
                      <a:pt x="195" y="57626"/>
                      <a:pt x="-447" y="55059"/>
                      <a:pt x="318" y="52715"/>
                    </a:cubicBezTo>
                    <a:cubicBezTo>
                      <a:pt x="1083" y="50370"/>
                      <a:pt x="3107" y="48668"/>
                      <a:pt x="5550" y="48297"/>
                    </a:cubicBezTo>
                    <a:lnTo>
                      <a:pt x="48122" y="42078"/>
                    </a:lnTo>
                    <a:lnTo>
                      <a:pt x="67150" y="3332"/>
                    </a:lnTo>
                    <a:cubicBezTo>
                      <a:pt x="69322" y="-1111"/>
                      <a:pt x="76627" y="-1111"/>
                      <a:pt x="78798" y="3332"/>
                    </a:cubicBezTo>
                    <a:lnTo>
                      <a:pt x="97876" y="42128"/>
                    </a:lnTo>
                    <a:lnTo>
                      <a:pt x="106143" y="43806"/>
                    </a:lnTo>
                    <a:lnTo>
                      <a:pt x="116681" y="58416"/>
                    </a:lnTo>
                    <a:lnTo>
                      <a:pt x="92471" y="54393"/>
                    </a:lnTo>
                    <a:cubicBezTo>
                      <a:pt x="90398" y="54048"/>
                      <a:pt x="88621" y="52740"/>
                      <a:pt x="87708" y="50864"/>
                    </a:cubicBezTo>
                    <a:lnTo>
                      <a:pt x="72974" y="20903"/>
                    </a:lnTo>
                    <a:lnTo>
                      <a:pt x="58241" y="50864"/>
                    </a:lnTo>
                    <a:cubicBezTo>
                      <a:pt x="57303" y="52789"/>
                      <a:pt x="55477" y="54122"/>
                      <a:pt x="53354" y="54418"/>
                    </a:cubicBezTo>
                    <a:lnTo>
                      <a:pt x="20383" y="59230"/>
                    </a:lnTo>
                    <a:lnTo>
                      <a:pt x="44272" y="82602"/>
                    </a:lnTo>
                    <a:cubicBezTo>
                      <a:pt x="45802" y="84082"/>
                      <a:pt x="46493" y="86229"/>
                      <a:pt x="46123" y="88327"/>
                    </a:cubicBezTo>
                    <a:lnTo>
                      <a:pt x="40496" y="121299"/>
                    </a:lnTo>
                    <a:lnTo>
                      <a:pt x="69939" y="105751"/>
                    </a:lnTo>
                    <a:cubicBezTo>
                      <a:pt x="71839" y="104739"/>
                      <a:pt x="74109" y="104739"/>
                      <a:pt x="75985" y="105751"/>
                    </a:cubicBezTo>
                    <a:lnTo>
                      <a:pt x="105427" y="121299"/>
                    </a:lnTo>
                    <a:lnTo>
                      <a:pt x="99800" y="88327"/>
                    </a:lnTo>
                    <a:cubicBezTo>
                      <a:pt x="99430" y="86229"/>
                      <a:pt x="100146" y="84082"/>
                      <a:pt x="101651" y="82602"/>
                    </a:cubicBezTo>
                    <a:lnTo>
                      <a:pt x="118804" y="65820"/>
                    </a:lnTo>
                    <a:lnTo>
                      <a:pt x="127885" y="75099"/>
                    </a:lnTo>
                    <a:lnTo>
                      <a:pt x="113177" y="89512"/>
                    </a:lnTo>
                    <a:lnTo>
                      <a:pt x="120432" y="132108"/>
                    </a:lnTo>
                    <a:cubicBezTo>
                      <a:pt x="120852" y="134551"/>
                      <a:pt x="119840" y="136995"/>
                      <a:pt x="117841" y="138451"/>
                    </a:cubicBezTo>
                    <a:cubicBezTo>
                      <a:pt x="116731" y="139290"/>
                      <a:pt x="115398" y="139685"/>
                      <a:pt x="114065" y="139685"/>
                    </a:cubicBezTo>
                    <a:close/>
                  </a:path>
                </a:pathLst>
              </a:custGeom>
              <a:solidFill>
                <a:schemeClr val="tx2"/>
              </a:solidFill>
              <a:ln w="2466" cap="flat">
                <a:noFill/>
                <a:prstDash val="solid"/>
                <a:miter/>
              </a:ln>
            </p:spPr>
            <p:txBody>
              <a:bodyPr rtlCol="0" anchor="ctr"/>
              <a:lstStyle/>
              <a:p>
                <a:endParaRPr lang="en-GB" dirty="0"/>
              </a:p>
            </p:txBody>
          </p:sp>
          <p:sp>
            <p:nvSpPr>
              <p:cNvPr id="54" name="Freihandform: Form 269">
                <a:extLst>
                  <a:ext uri="{FF2B5EF4-FFF2-40B4-BE49-F238E27FC236}">
                    <a16:creationId xmlns:a16="http://schemas.microsoft.com/office/drawing/2014/main" id="{BA53837E-EA92-4616-96FE-ECF397D49CC1}"/>
                  </a:ext>
                </a:extLst>
              </p:cNvPr>
              <p:cNvSpPr/>
              <p:nvPr/>
            </p:nvSpPr>
            <p:spPr>
              <a:xfrm>
                <a:off x="2848875" y="1746950"/>
                <a:ext cx="129835" cy="139685"/>
              </a:xfrm>
              <a:custGeom>
                <a:avLst/>
                <a:gdLst>
                  <a:gd name="connsiteX0" fmla="*/ 15770 w 129835"/>
                  <a:gd name="connsiteY0" fmla="*/ 139660 h 139685"/>
                  <a:gd name="connsiteX1" fmla="*/ 11969 w 129835"/>
                  <a:gd name="connsiteY1" fmla="*/ 138426 h 139685"/>
                  <a:gd name="connsiteX2" fmla="*/ 9378 w 129835"/>
                  <a:gd name="connsiteY2" fmla="*/ 132084 h 139685"/>
                  <a:gd name="connsiteX3" fmla="*/ 16634 w 129835"/>
                  <a:gd name="connsiteY3" fmla="*/ 89487 h 139685"/>
                  <a:gd name="connsiteX4" fmla="*/ 0 w 129835"/>
                  <a:gd name="connsiteY4" fmla="*/ 73199 h 139685"/>
                  <a:gd name="connsiteX5" fmla="*/ 9082 w 129835"/>
                  <a:gd name="connsiteY5" fmla="*/ 63919 h 139685"/>
                  <a:gd name="connsiteX6" fmla="*/ 28159 w 129835"/>
                  <a:gd name="connsiteY6" fmla="*/ 82577 h 139685"/>
                  <a:gd name="connsiteX7" fmla="*/ 30010 w 129835"/>
                  <a:gd name="connsiteY7" fmla="*/ 88302 h 139685"/>
                  <a:gd name="connsiteX8" fmla="*/ 24383 w 129835"/>
                  <a:gd name="connsiteY8" fmla="*/ 121274 h 139685"/>
                  <a:gd name="connsiteX9" fmla="*/ 53826 w 129835"/>
                  <a:gd name="connsiteY9" fmla="*/ 105726 h 139685"/>
                  <a:gd name="connsiteX10" fmla="*/ 59872 w 129835"/>
                  <a:gd name="connsiteY10" fmla="*/ 105726 h 139685"/>
                  <a:gd name="connsiteX11" fmla="*/ 89339 w 129835"/>
                  <a:gd name="connsiteY11" fmla="*/ 121274 h 139685"/>
                  <a:gd name="connsiteX12" fmla="*/ 83712 w 129835"/>
                  <a:gd name="connsiteY12" fmla="*/ 88302 h 139685"/>
                  <a:gd name="connsiteX13" fmla="*/ 85563 w 129835"/>
                  <a:gd name="connsiteY13" fmla="*/ 82577 h 139685"/>
                  <a:gd name="connsiteX14" fmla="*/ 109453 w 129835"/>
                  <a:gd name="connsiteY14" fmla="*/ 59206 h 139685"/>
                  <a:gd name="connsiteX15" fmla="*/ 76481 w 129835"/>
                  <a:gd name="connsiteY15" fmla="*/ 54393 h 139685"/>
                  <a:gd name="connsiteX16" fmla="*/ 71595 w 129835"/>
                  <a:gd name="connsiteY16" fmla="*/ 50839 h 139685"/>
                  <a:gd name="connsiteX17" fmla="*/ 56861 w 129835"/>
                  <a:gd name="connsiteY17" fmla="*/ 20879 h 139685"/>
                  <a:gd name="connsiteX18" fmla="*/ 42152 w 129835"/>
                  <a:gd name="connsiteY18" fmla="*/ 50839 h 139685"/>
                  <a:gd name="connsiteX19" fmla="*/ 37167 w 129835"/>
                  <a:gd name="connsiteY19" fmla="*/ 54418 h 139685"/>
                  <a:gd name="connsiteX20" fmla="*/ 15276 w 129835"/>
                  <a:gd name="connsiteY20" fmla="*/ 57305 h 139685"/>
                  <a:gd name="connsiteX21" fmla="*/ 25025 w 129835"/>
                  <a:gd name="connsiteY21" fmla="*/ 42794 h 139685"/>
                  <a:gd name="connsiteX22" fmla="*/ 32034 w 129835"/>
                  <a:gd name="connsiteY22" fmla="*/ 42004 h 139685"/>
                  <a:gd name="connsiteX23" fmla="*/ 51037 w 129835"/>
                  <a:gd name="connsiteY23" fmla="*/ 3332 h 139685"/>
                  <a:gd name="connsiteX24" fmla="*/ 62685 w 129835"/>
                  <a:gd name="connsiteY24" fmla="*/ 3332 h 139685"/>
                  <a:gd name="connsiteX25" fmla="*/ 81713 w 129835"/>
                  <a:gd name="connsiteY25" fmla="*/ 42078 h 139685"/>
                  <a:gd name="connsiteX26" fmla="*/ 124285 w 129835"/>
                  <a:gd name="connsiteY26" fmla="*/ 48297 h 139685"/>
                  <a:gd name="connsiteX27" fmla="*/ 129517 w 129835"/>
                  <a:gd name="connsiteY27" fmla="*/ 52715 h 139685"/>
                  <a:gd name="connsiteX28" fmla="*/ 127888 w 129835"/>
                  <a:gd name="connsiteY28" fmla="*/ 59354 h 139685"/>
                  <a:gd name="connsiteX29" fmla="*/ 97088 w 129835"/>
                  <a:gd name="connsiteY29" fmla="*/ 89512 h 139685"/>
                  <a:gd name="connsiteX30" fmla="*/ 104369 w 129835"/>
                  <a:gd name="connsiteY30" fmla="*/ 132108 h 139685"/>
                  <a:gd name="connsiteX31" fmla="*/ 101777 w 129835"/>
                  <a:gd name="connsiteY31" fmla="*/ 138451 h 139685"/>
                  <a:gd name="connsiteX32" fmla="*/ 94941 w 129835"/>
                  <a:gd name="connsiteY32" fmla="*/ 138944 h 139685"/>
                  <a:gd name="connsiteX33" fmla="*/ 56886 w 129835"/>
                  <a:gd name="connsiteY33" fmla="*/ 118855 h 139685"/>
                  <a:gd name="connsiteX34" fmla="*/ 18830 w 129835"/>
                  <a:gd name="connsiteY34" fmla="*/ 138944 h 139685"/>
                  <a:gd name="connsiteX35" fmla="*/ 15770 w 129835"/>
                  <a:gd name="connsiteY35" fmla="*/ 139660 h 139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9835" h="139685">
                    <a:moveTo>
                      <a:pt x="15770" y="139660"/>
                    </a:moveTo>
                    <a:cubicBezTo>
                      <a:pt x="14437" y="139660"/>
                      <a:pt x="13080" y="139241"/>
                      <a:pt x="11969" y="138426"/>
                    </a:cubicBezTo>
                    <a:cubicBezTo>
                      <a:pt x="9970" y="136970"/>
                      <a:pt x="8959" y="134527"/>
                      <a:pt x="9378" y="132084"/>
                    </a:cubicBezTo>
                    <a:lnTo>
                      <a:pt x="16634" y="89487"/>
                    </a:lnTo>
                    <a:lnTo>
                      <a:pt x="0" y="73199"/>
                    </a:lnTo>
                    <a:lnTo>
                      <a:pt x="9082" y="63919"/>
                    </a:lnTo>
                    <a:lnTo>
                      <a:pt x="28159" y="82577"/>
                    </a:lnTo>
                    <a:cubicBezTo>
                      <a:pt x="29689" y="84058"/>
                      <a:pt x="30380" y="86205"/>
                      <a:pt x="30010" y="88302"/>
                    </a:cubicBezTo>
                    <a:lnTo>
                      <a:pt x="24383" y="121274"/>
                    </a:lnTo>
                    <a:lnTo>
                      <a:pt x="53826" y="105726"/>
                    </a:lnTo>
                    <a:cubicBezTo>
                      <a:pt x="55726" y="104714"/>
                      <a:pt x="57972" y="104714"/>
                      <a:pt x="59872" y="105726"/>
                    </a:cubicBezTo>
                    <a:lnTo>
                      <a:pt x="89339" y="121274"/>
                    </a:lnTo>
                    <a:lnTo>
                      <a:pt x="83712" y="88302"/>
                    </a:lnTo>
                    <a:cubicBezTo>
                      <a:pt x="83342" y="86205"/>
                      <a:pt x="84058" y="84058"/>
                      <a:pt x="85563" y="82577"/>
                    </a:cubicBezTo>
                    <a:lnTo>
                      <a:pt x="109453" y="59206"/>
                    </a:lnTo>
                    <a:lnTo>
                      <a:pt x="76481" y="54393"/>
                    </a:lnTo>
                    <a:cubicBezTo>
                      <a:pt x="74359" y="54097"/>
                      <a:pt x="72532" y="52764"/>
                      <a:pt x="71595" y="50839"/>
                    </a:cubicBezTo>
                    <a:lnTo>
                      <a:pt x="56861" y="20879"/>
                    </a:lnTo>
                    <a:lnTo>
                      <a:pt x="42152" y="50839"/>
                    </a:lnTo>
                    <a:cubicBezTo>
                      <a:pt x="41190" y="52789"/>
                      <a:pt x="39339" y="54122"/>
                      <a:pt x="37167" y="54418"/>
                    </a:cubicBezTo>
                    <a:lnTo>
                      <a:pt x="15276" y="57305"/>
                    </a:lnTo>
                    <a:lnTo>
                      <a:pt x="25025" y="42794"/>
                    </a:lnTo>
                    <a:lnTo>
                      <a:pt x="32034" y="42004"/>
                    </a:lnTo>
                    <a:lnTo>
                      <a:pt x="51037" y="3332"/>
                    </a:lnTo>
                    <a:cubicBezTo>
                      <a:pt x="53209" y="-1111"/>
                      <a:pt x="60513" y="-1111"/>
                      <a:pt x="62685" y="3332"/>
                    </a:cubicBezTo>
                    <a:lnTo>
                      <a:pt x="81713" y="42078"/>
                    </a:lnTo>
                    <a:lnTo>
                      <a:pt x="124285" y="48297"/>
                    </a:lnTo>
                    <a:cubicBezTo>
                      <a:pt x="126728" y="48643"/>
                      <a:pt x="128752" y="50370"/>
                      <a:pt x="129517" y="52715"/>
                    </a:cubicBezTo>
                    <a:cubicBezTo>
                      <a:pt x="130282" y="55059"/>
                      <a:pt x="129640" y="57626"/>
                      <a:pt x="127888" y="59354"/>
                    </a:cubicBezTo>
                    <a:lnTo>
                      <a:pt x="97088" y="89512"/>
                    </a:lnTo>
                    <a:lnTo>
                      <a:pt x="104369" y="132108"/>
                    </a:lnTo>
                    <a:cubicBezTo>
                      <a:pt x="104788" y="134551"/>
                      <a:pt x="103776" y="136995"/>
                      <a:pt x="101777" y="138451"/>
                    </a:cubicBezTo>
                    <a:cubicBezTo>
                      <a:pt x="99778" y="139907"/>
                      <a:pt x="97113" y="140080"/>
                      <a:pt x="94941" y="138944"/>
                    </a:cubicBezTo>
                    <a:lnTo>
                      <a:pt x="56886" y="118855"/>
                    </a:lnTo>
                    <a:lnTo>
                      <a:pt x="18830" y="138944"/>
                    </a:lnTo>
                    <a:cubicBezTo>
                      <a:pt x="17843" y="139413"/>
                      <a:pt x="16807" y="139660"/>
                      <a:pt x="15770" y="139660"/>
                    </a:cubicBezTo>
                    <a:close/>
                  </a:path>
                </a:pathLst>
              </a:custGeom>
              <a:solidFill>
                <a:schemeClr val="tx2"/>
              </a:solidFill>
              <a:ln w="2466" cap="flat">
                <a:noFill/>
                <a:prstDash val="solid"/>
                <a:miter/>
              </a:ln>
            </p:spPr>
            <p:txBody>
              <a:bodyPr rtlCol="0" anchor="ctr"/>
              <a:lstStyle/>
              <a:p>
                <a:endParaRPr lang="en-GB" dirty="0"/>
              </a:p>
            </p:txBody>
          </p:sp>
          <p:sp>
            <p:nvSpPr>
              <p:cNvPr id="55" name="Freihandform: Form 270">
                <a:extLst>
                  <a:ext uri="{FF2B5EF4-FFF2-40B4-BE49-F238E27FC236}">
                    <a16:creationId xmlns:a16="http://schemas.microsoft.com/office/drawing/2014/main" id="{4F53A78E-7765-4D81-A563-D9AC1655231F}"/>
                  </a:ext>
                </a:extLst>
              </p:cNvPr>
              <p:cNvSpPr/>
              <p:nvPr/>
            </p:nvSpPr>
            <p:spPr>
              <a:xfrm>
                <a:off x="2536929" y="1664274"/>
                <a:ext cx="480086" cy="383861"/>
              </a:xfrm>
              <a:custGeom>
                <a:avLst/>
                <a:gdLst>
                  <a:gd name="connsiteX0" fmla="*/ 240055 w 480086"/>
                  <a:gd name="connsiteY0" fmla="*/ 383862 h 383861"/>
                  <a:gd name="connsiteX1" fmla="*/ 225643 w 480086"/>
                  <a:gd name="connsiteY1" fmla="*/ 374952 h 383861"/>
                  <a:gd name="connsiteX2" fmla="*/ 190351 w 480086"/>
                  <a:gd name="connsiteY2" fmla="*/ 291931 h 383861"/>
                  <a:gd name="connsiteX3" fmla="*/ 43312 w 480086"/>
                  <a:gd name="connsiteY3" fmla="*/ 291931 h 383861"/>
                  <a:gd name="connsiteX4" fmla="*/ 0 w 480086"/>
                  <a:gd name="connsiteY4" fmla="*/ 248619 h 383861"/>
                  <a:gd name="connsiteX5" fmla="*/ 0 w 480086"/>
                  <a:gd name="connsiteY5" fmla="*/ 43312 h 383861"/>
                  <a:gd name="connsiteX6" fmla="*/ 43312 w 480086"/>
                  <a:gd name="connsiteY6" fmla="*/ 0 h 383861"/>
                  <a:gd name="connsiteX7" fmla="*/ 436774 w 480086"/>
                  <a:gd name="connsiteY7" fmla="*/ 0 h 383861"/>
                  <a:gd name="connsiteX8" fmla="*/ 480086 w 480086"/>
                  <a:gd name="connsiteY8" fmla="*/ 43312 h 383861"/>
                  <a:gd name="connsiteX9" fmla="*/ 480086 w 480086"/>
                  <a:gd name="connsiteY9" fmla="*/ 248619 h 383861"/>
                  <a:gd name="connsiteX10" fmla="*/ 436774 w 480086"/>
                  <a:gd name="connsiteY10" fmla="*/ 291931 h 383861"/>
                  <a:gd name="connsiteX11" fmla="*/ 289735 w 480086"/>
                  <a:gd name="connsiteY11" fmla="*/ 291931 h 383861"/>
                  <a:gd name="connsiteX12" fmla="*/ 254592 w 480086"/>
                  <a:gd name="connsiteY12" fmla="*/ 374582 h 383861"/>
                  <a:gd name="connsiteX13" fmla="*/ 240055 w 480086"/>
                  <a:gd name="connsiteY13" fmla="*/ 383862 h 383861"/>
                  <a:gd name="connsiteX14" fmla="*/ 43312 w 480086"/>
                  <a:gd name="connsiteY14" fmla="*/ 12957 h 383861"/>
                  <a:gd name="connsiteX15" fmla="*/ 12981 w 480086"/>
                  <a:gd name="connsiteY15" fmla="*/ 43312 h 383861"/>
                  <a:gd name="connsiteX16" fmla="*/ 12981 w 480086"/>
                  <a:gd name="connsiteY16" fmla="*/ 248619 h 383861"/>
                  <a:gd name="connsiteX17" fmla="*/ 43312 w 480086"/>
                  <a:gd name="connsiteY17" fmla="*/ 278975 h 383861"/>
                  <a:gd name="connsiteX18" fmla="*/ 194621 w 480086"/>
                  <a:gd name="connsiteY18" fmla="*/ 278975 h 383861"/>
                  <a:gd name="connsiteX19" fmla="*/ 200593 w 480086"/>
                  <a:gd name="connsiteY19" fmla="*/ 282923 h 383861"/>
                  <a:gd name="connsiteX20" fmla="*/ 237415 w 480086"/>
                  <a:gd name="connsiteY20" fmla="*/ 369523 h 383861"/>
                  <a:gd name="connsiteX21" fmla="*/ 240055 w 480086"/>
                  <a:gd name="connsiteY21" fmla="*/ 370880 h 383861"/>
                  <a:gd name="connsiteX22" fmla="*/ 242844 w 480086"/>
                  <a:gd name="connsiteY22" fmla="*/ 369153 h 383861"/>
                  <a:gd name="connsiteX23" fmla="*/ 279493 w 480086"/>
                  <a:gd name="connsiteY23" fmla="*/ 282923 h 383861"/>
                  <a:gd name="connsiteX24" fmla="*/ 285465 w 480086"/>
                  <a:gd name="connsiteY24" fmla="*/ 278975 h 383861"/>
                  <a:gd name="connsiteX25" fmla="*/ 436774 w 480086"/>
                  <a:gd name="connsiteY25" fmla="*/ 278975 h 383861"/>
                  <a:gd name="connsiteX26" fmla="*/ 467105 w 480086"/>
                  <a:gd name="connsiteY26" fmla="*/ 248619 h 383861"/>
                  <a:gd name="connsiteX27" fmla="*/ 467105 w 480086"/>
                  <a:gd name="connsiteY27" fmla="*/ 43312 h 383861"/>
                  <a:gd name="connsiteX28" fmla="*/ 436774 w 480086"/>
                  <a:gd name="connsiteY28" fmla="*/ 12957 h 383861"/>
                  <a:gd name="connsiteX29" fmla="*/ 43312 w 480086"/>
                  <a:gd name="connsiteY29" fmla="*/ 12957 h 383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0086" h="383861">
                    <a:moveTo>
                      <a:pt x="240055" y="383862"/>
                    </a:moveTo>
                    <a:cubicBezTo>
                      <a:pt x="233910" y="383862"/>
                      <a:pt x="228407" y="380456"/>
                      <a:pt x="225643" y="374952"/>
                    </a:cubicBezTo>
                    <a:lnTo>
                      <a:pt x="190351" y="291931"/>
                    </a:lnTo>
                    <a:lnTo>
                      <a:pt x="43312" y="291931"/>
                    </a:lnTo>
                    <a:cubicBezTo>
                      <a:pt x="19423" y="291931"/>
                      <a:pt x="0" y="272484"/>
                      <a:pt x="0" y="248619"/>
                    </a:cubicBezTo>
                    <a:lnTo>
                      <a:pt x="0" y="43312"/>
                    </a:lnTo>
                    <a:cubicBezTo>
                      <a:pt x="0" y="19423"/>
                      <a:pt x="19423" y="0"/>
                      <a:pt x="43312" y="0"/>
                    </a:cubicBezTo>
                    <a:lnTo>
                      <a:pt x="436774" y="0"/>
                    </a:lnTo>
                    <a:cubicBezTo>
                      <a:pt x="460663" y="0"/>
                      <a:pt x="480086" y="19447"/>
                      <a:pt x="480086" y="43312"/>
                    </a:cubicBezTo>
                    <a:lnTo>
                      <a:pt x="480086" y="248619"/>
                    </a:lnTo>
                    <a:cubicBezTo>
                      <a:pt x="480086" y="272509"/>
                      <a:pt x="460663" y="291931"/>
                      <a:pt x="436774" y="291931"/>
                    </a:cubicBezTo>
                    <a:lnTo>
                      <a:pt x="289735" y="291931"/>
                    </a:lnTo>
                    <a:lnTo>
                      <a:pt x="254592" y="374582"/>
                    </a:lnTo>
                    <a:cubicBezTo>
                      <a:pt x="251704" y="380456"/>
                      <a:pt x="246176" y="383862"/>
                      <a:pt x="240055" y="383862"/>
                    </a:cubicBezTo>
                    <a:close/>
                    <a:moveTo>
                      <a:pt x="43312" y="12957"/>
                    </a:moveTo>
                    <a:cubicBezTo>
                      <a:pt x="26580" y="12957"/>
                      <a:pt x="12981" y="26580"/>
                      <a:pt x="12981" y="43312"/>
                    </a:cubicBezTo>
                    <a:lnTo>
                      <a:pt x="12981" y="248619"/>
                    </a:lnTo>
                    <a:cubicBezTo>
                      <a:pt x="12981" y="265352"/>
                      <a:pt x="26580" y="278975"/>
                      <a:pt x="43312" y="278975"/>
                    </a:cubicBezTo>
                    <a:lnTo>
                      <a:pt x="194621" y="278975"/>
                    </a:lnTo>
                    <a:cubicBezTo>
                      <a:pt x="197237" y="278975"/>
                      <a:pt x="199581" y="280529"/>
                      <a:pt x="200593" y="282923"/>
                    </a:cubicBezTo>
                    <a:lnTo>
                      <a:pt x="237415" y="369523"/>
                    </a:lnTo>
                    <a:cubicBezTo>
                      <a:pt x="238032" y="370707"/>
                      <a:pt x="239463" y="370880"/>
                      <a:pt x="240055" y="370880"/>
                    </a:cubicBezTo>
                    <a:cubicBezTo>
                      <a:pt x="240648" y="370880"/>
                      <a:pt x="242079" y="370707"/>
                      <a:pt x="242844" y="369153"/>
                    </a:cubicBezTo>
                    <a:lnTo>
                      <a:pt x="279493" y="282923"/>
                    </a:lnTo>
                    <a:cubicBezTo>
                      <a:pt x="280505" y="280529"/>
                      <a:pt x="282849" y="278975"/>
                      <a:pt x="285465" y="278975"/>
                    </a:cubicBezTo>
                    <a:lnTo>
                      <a:pt x="436774" y="278975"/>
                    </a:lnTo>
                    <a:cubicBezTo>
                      <a:pt x="453506" y="278975"/>
                      <a:pt x="467105" y="265352"/>
                      <a:pt x="467105" y="248619"/>
                    </a:cubicBezTo>
                    <a:lnTo>
                      <a:pt x="467105" y="43312"/>
                    </a:lnTo>
                    <a:cubicBezTo>
                      <a:pt x="467105" y="26580"/>
                      <a:pt x="453506" y="12957"/>
                      <a:pt x="436774" y="12957"/>
                    </a:cubicBezTo>
                    <a:lnTo>
                      <a:pt x="43312" y="12957"/>
                    </a:lnTo>
                    <a:close/>
                  </a:path>
                </a:pathLst>
              </a:custGeom>
              <a:solidFill>
                <a:schemeClr val="tx2"/>
              </a:solidFill>
              <a:ln w="2466" cap="flat">
                <a:noFill/>
                <a:prstDash val="solid"/>
                <a:miter/>
              </a:ln>
            </p:spPr>
            <p:txBody>
              <a:bodyPr rtlCol="0" anchor="ctr"/>
              <a:lstStyle/>
              <a:p>
                <a:endParaRPr lang="en-GB" dirty="0"/>
              </a:p>
            </p:txBody>
          </p:sp>
        </p:grpSp>
      </p:grpSp>
      <p:grpSp>
        <p:nvGrpSpPr>
          <p:cNvPr id="4" name="Group 3">
            <a:extLst>
              <a:ext uri="{FF2B5EF4-FFF2-40B4-BE49-F238E27FC236}">
                <a16:creationId xmlns:a16="http://schemas.microsoft.com/office/drawing/2014/main" id="{B9585A9C-4122-CDCD-14EE-BFDD79CFEA25}"/>
              </a:ext>
            </a:extLst>
          </p:cNvPr>
          <p:cNvGrpSpPr/>
          <p:nvPr/>
        </p:nvGrpSpPr>
        <p:grpSpPr>
          <a:xfrm>
            <a:off x="1596832" y="1585984"/>
            <a:ext cx="485305" cy="432000"/>
            <a:chOff x="1596832" y="1585984"/>
            <a:chExt cx="485305" cy="432000"/>
          </a:xfrm>
        </p:grpSpPr>
        <p:grpSp>
          <p:nvGrpSpPr>
            <p:cNvPr id="57" name="Group 56">
              <a:extLst>
                <a:ext uri="{FF2B5EF4-FFF2-40B4-BE49-F238E27FC236}">
                  <a16:creationId xmlns:a16="http://schemas.microsoft.com/office/drawing/2014/main" id="{6CF39EE2-2587-4624-A800-EF792CDE6388}"/>
                </a:ext>
              </a:extLst>
            </p:cNvPr>
            <p:cNvGrpSpPr/>
            <p:nvPr/>
          </p:nvGrpSpPr>
          <p:grpSpPr>
            <a:xfrm>
              <a:off x="1762555" y="1686584"/>
              <a:ext cx="266300" cy="130200"/>
              <a:chOff x="1868664" y="2566080"/>
              <a:chExt cx="291956" cy="142744"/>
            </a:xfrm>
          </p:grpSpPr>
          <p:sp>
            <p:nvSpPr>
              <p:cNvPr id="72" name="Freihandform: Form 234">
                <a:extLst>
                  <a:ext uri="{FF2B5EF4-FFF2-40B4-BE49-F238E27FC236}">
                    <a16:creationId xmlns:a16="http://schemas.microsoft.com/office/drawing/2014/main" id="{93E886E7-DFE5-43E8-B8C5-F970997C4546}"/>
                  </a:ext>
                </a:extLst>
              </p:cNvPr>
              <p:cNvSpPr/>
              <p:nvPr/>
            </p:nvSpPr>
            <p:spPr>
              <a:xfrm>
                <a:off x="2017875" y="2566080"/>
                <a:ext cx="142744" cy="142744"/>
              </a:xfrm>
              <a:custGeom>
                <a:avLst/>
                <a:gdLst>
                  <a:gd name="connsiteX0" fmla="*/ 71372 w 142744"/>
                  <a:gd name="connsiteY0" fmla="*/ 142745 h 142744"/>
                  <a:gd name="connsiteX1" fmla="*/ 0 w 142744"/>
                  <a:gd name="connsiteY1" fmla="*/ 71373 h 142744"/>
                  <a:gd name="connsiteX2" fmla="*/ 71372 w 142744"/>
                  <a:gd name="connsiteY2" fmla="*/ 0 h 142744"/>
                  <a:gd name="connsiteX3" fmla="*/ 142745 w 142744"/>
                  <a:gd name="connsiteY3" fmla="*/ 71373 h 142744"/>
                  <a:gd name="connsiteX4" fmla="*/ 71372 w 142744"/>
                  <a:gd name="connsiteY4" fmla="*/ 142745 h 142744"/>
                  <a:gd name="connsiteX5" fmla="*/ 71372 w 142744"/>
                  <a:gd name="connsiteY5" fmla="*/ 12981 h 142744"/>
                  <a:gd name="connsiteX6" fmla="*/ 12981 w 142744"/>
                  <a:gd name="connsiteY6" fmla="*/ 71373 h 142744"/>
                  <a:gd name="connsiteX7" fmla="*/ 71372 w 142744"/>
                  <a:gd name="connsiteY7" fmla="*/ 129764 h 142744"/>
                  <a:gd name="connsiteX8" fmla="*/ 129764 w 142744"/>
                  <a:gd name="connsiteY8" fmla="*/ 71373 h 142744"/>
                  <a:gd name="connsiteX9" fmla="*/ 71372 w 142744"/>
                  <a:gd name="connsiteY9" fmla="*/ 12981 h 142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744" h="142744">
                    <a:moveTo>
                      <a:pt x="71372" y="142745"/>
                    </a:moveTo>
                    <a:cubicBezTo>
                      <a:pt x="32009" y="142745"/>
                      <a:pt x="0" y="110736"/>
                      <a:pt x="0" y="71373"/>
                    </a:cubicBezTo>
                    <a:cubicBezTo>
                      <a:pt x="0" y="32009"/>
                      <a:pt x="32009" y="0"/>
                      <a:pt x="71372" y="0"/>
                    </a:cubicBezTo>
                    <a:cubicBezTo>
                      <a:pt x="110736" y="0"/>
                      <a:pt x="142745" y="32009"/>
                      <a:pt x="142745" y="71373"/>
                    </a:cubicBezTo>
                    <a:cubicBezTo>
                      <a:pt x="142745" y="110736"/>
                      <a:pt x="110736" y="142745"/>
                      <a:pt x="71372" y="142745"/>
                    </a:cubicBezTo>
                    <a:close/>
                    <a:moveTo>
                      <a:pt x="71372" y="12981"/>
                    </a:moveTo>
                    <a:cubicBezTo>
                      <a:pt x="39166" y="12981"/>
                      <a:pt x="12981" y="39166"/>
                      <a:pt x="12981" y="71373"/>
                    </a:cubicBezTo>
                    <a:cubicBezTo>
                      <a:pt x="12981" y="103579"/>
                      <a:pt x="39166" y="129764"/>
                      <a:pt x="71372" y="129764"/>
                    </a:cubicBezTo>
                    <a:cubicBezTo>
                      <a:pt x="103579" y="129764"/>
                      <a:pt x="129764" y="103579"/>
                      <a:pt x="129764" y="71373"/>
                    </a:cubicBezTo>
                    <a:cubicBezTo>
                      <a:pt x="129764" y="39166"/>
                      <a:pt x="103579" y="12981"/>
                      <a:pt x="71372" y="12981"/>
                    </a:cubicBezTo>
                    <a:close/>
                  </a:path>
                </a:pathLst>
              </a:custGeom>
              <a:solidFill>
                <a:schemeClr val="accent1"/>
              </a:solidFill>
              <a:ln w="2466" cap="flat">
                <a:noFill/>
                <a:prstDash val="solid"/>
                <a:miter/>
              </a:ln>
            </p:spPr>
            <p:txBody>
              <a:bodyPr rtlCol="0" anchor="ctr"/>
              <a:lstStyle/>
              <a:p>
                <a:endParaRPr lang="en-GB" dirty="0"/>
              </a:p>
            </p:txBody>
          </p:sp>
          <p:sp>
            <p:nvSpPr>
              <p:cNvPr id="73" name="Freihandform: Form 235">
                <a:extLst>
                  <a:ext uri="{FF2B5EF4-FFF2-40B4-BE49-F238E27FC236}">
                    <a16:creationId xmlns:a16="http://schemas.microsoft.com/office/drawing/2014/main" id="{71A08DC9-7603-42B4-9950-B11AD4C7533E}"/>
                  </a:ext>
                </a:extLst>
              </p:cNvPr>
              <p:cNvSpPr/>
              <p:nvPr/>
            </p:nvSpPr>
            <p:spPr>
              <a:xfrm>
                <a:off x="2082757" y="2566080"/>
                <a:ext cx="77863" cy="77863"/>
              </a:xfrm>
              <a:custGeom>
                <a:avLst/>
                <a:gdLst>
                  <a:gd name="connsiteX0" fmla="*/ 71373 w 77863"/>
                  <a:gd name="connsiteY0" fmla="*/ 77863 h 77863"/>
                  <a:gd name="connsiteX1" fmla="*/ 6491 w 77863"/>
                  <a:gd name="connsiteY1" fmla="*/ 77863 h 77863"/>
                  <a:gd name="connsiteX2" fmla="*/ 0 w 77863"/>
                  <a:gd name="connsiteY2" fmla="*/ 71373 h 77863"/>
                  <a:gd name="connsiteX3" fmla="*/ 0 w 77863"/>
                  <a:gd name="connsiteY3" fmla="*/ 6491 h 77863"/>
                  <a:gd name="connsiteX4" fmla="*/ 6491 w 77863"/>
                  <a:gd name="connsiteY4" fmla="*/ 0 h 77863"/>
                  <a:gd name="connsiteX5" fmla="*/ 12981 w 77863"/>
                  <a:gd name="connsiteY5" fmla="*/ 6491 h 77863"/>
                  <a:gd name="connsiteX6" fmla="*/ 12981 w 77863"/>
                  <a:gd name="connsiteY6" fmla="*/ 64882 h 77863"/>
                  <a:gd name="connsiteX7" fmla="*/ 71373 w 77863"/>
                  <a:gd name="connsiteY7" fmla="*/ 64882 h 77863"/>
                  <a:gd name="connsiteX8" fmla="*/ 77863 w 77863"/>
                  <a:gd name="connsiteY8" fmla="*/ 71373 h 77863"/>
                  <a:gd name="connsiteX9" fmla="*/ 71373 w 77863"/>
                  <a:gd name="connsiteY9" fmla="*/ 77863 h 77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863" h="77863">
                    <a:moveTo>
                      <a:pt x="71373" y="77863"/>
                    </a:moveTo>
                    <a:lnTo>
                      <a:pt x="6491" y="77863"/>
                    </a:lnTo>
                    <a:cubicBezTo>
                      <a:pt x="2912" y="77863"/>
                      <a:pt x="0" y="74951"/>
                      <a:pt x="0" y="71373"/>
                    </a:cubicBezTo>
                    <a:lnTo>
                      <a:pt x="0" y="6491"/>
                    </a:lnTo>
                    <a:cubicBezTo>
                      <a:pt x="0" y="2912"/>
                      <a:pt x="2912" y="0"/>
                      <a:pt x="6491" y="0"/>
                    </a:cubicBezTo>
                    <a:cubicBezTo>
                      <a:pt x="10069" y="0"/>
                      <a:pt x="12981" y="2912"/>
                      <a:pt x="12981" y="6491"/>
                    </a:cubicBezTo>
                    <a:lnTo>
                      <a:pt x="12981" y="64882"/>
                    </a:lnTo>
                    <a:lnTo>
                      <a:pt x="71373" y="64882"/>
                    </a:lnTo>
                    <a:cubicBezTo>
                      <a:pt x="74951" y="64882"/>
                      <a:pt x="77863" y="67794"/>
                      <a:pt x="77863" y="71373"/>
                    </a:cubicBezTo>
                    <a:cubicBezTo>
                      <a:pt x="77863" y="74951"/>
                      <a:pt x="74951" y="77863"/>
                      <a:pt x="71373" y="77863"/>
                    </a:cubicBezTo>
                    <a:close/>
                  </a:path>
                </a:pathLst>
              </a:custGeom>
              <a:solidFill>
                <a:schemeClr val="accent1"/>
              </a:solidFill>
              <a:ln w="2466" cap="flat">
                <a:noFill/>
                <a:prstDash val="solid"/>
                <a:miter/>
              </a:ln>
            </p:spPr>
            <p:txBody>
              <a:bodyPr rtlCol="0" anchor="ctr"/>
              <a:lstStyle/>
              <a:p>
                <a:endParaRPr lang="en-GB" dirty="0"/>
              </a:p>
            </p:txBody>
          </p:sp>
          <p:sp>
            <p:nvSpPr>
              <p:cNvPr id="74" name="Freihandform: Form 236">
                <a:extLst>
                  <a:ext uri="{FF2B5EF4-FFF2-40B4-BE49-F238E27FC236}">
                    <a16:creationId xmlns:a16="http://schemas.microsoft.com/office/drawing/2014/main" id="{C5CD2524-A2A3-4C72-AFDF-BACFFF7986C3}"/>
                  </a:ext>
                </a:extLst>
              </p:cNvPr>
              <p:cNvSpPr/>
              <p:nvPr/>
            </p:nvSpPr>
            <p:spPr>
              <a:xfrm>
                <a:off x="1868664" y="2689353"/>
                <a:ext cx="84353" cy="12981"/>
              </a:xfrm>
              <a:custGeom>
                <a:avLst/>
                <a:gdLst>
                  <a:gd name="connsiteX0" fmla="*/ 0 w 84353"/>
                  <a:gd name="connsiteY0" fmla="*/ 0 h 12981"/>
                  <a:gd name="connsiteX1" fmla="*/ 84354 w 84353"/>
                  <a:gd name="connsiteY1" fmla="*/ 0 h 12981"/>
                  <a:gd name="connsiteX2" fmla="*/ 84354 w 84353"/>
                  <a:gd name="connsiteY2" fmla="*/ 12981 h 12981"/>
                  <a:gd name="connsiteX3" fmla="*/ 0 w 84353"/>
                  <a:gd name="connsiteY3" fmla="*/ 12981 h 12981"/>
                </a:gdLst>
                <a:ahLst/>
                <a:cxnLst>
                  <a:cxn ang="0">
                    <a:pos x="connsiteX0" y="connsiteY0"/>
                  </a:cxn>
                  <a:cxn ang="0">
                    <a:pos x="connsiteX1" y="connsiteY1"/>
                  </a:cxn>
                  <a:cxn ang="0">
                    <a:pos x="connsiteX2" y="connsiteY2"/>
                  </a:cxn>
                  <a:cxn ang="0">
                    <a:pos x="connsiteX3" y="connsiteY3"/>
                  </a:cxn>
                </a:cxnLst>
                <a:rect l="l" t="t" r="r" b="b"/>
                <a:pathLst>
                  <a:path w="84353" h="12981">
                    <a:moveTo>
                      <a:pt x="0" y="0"/>
                    </a:moveTo>
                    <a:lnTo>
                      <a:pt x="84354" y="0"/>
                    </a:lnTo>
                    <a:lnTo>
                      <a:pt x="84354" y="12981"/>
                    </a:lnTo>
                    <a:lnTo>
                      <a:pt x="0" y="12981"/>
                    </a:lnTo>
                    <a:close/>
                  </a:path>
                </a:pathLst>
              </a:custGeom>
              <a:solidFill>
                <a:schemeClr val="accent1"/>
              </a:solidFill>
              <a:ln w="2466" cap="flat">
                <a:noFill/>
                <a:prstDash val="solid"/>
                <a:miter/>
              </a:ln>
            </p:spPr>
            <p:txBody>
              <a:bodyPr rtlCol="0" anchor="ctr"/>
              <a:lstStyle/>
              <a:p>
                <a:endParaRPr lang="en-GB" dirty="0"/>
              </a:p>
            </p:txBody>
          </p:sp>
          <p:sp>
            <p:nvSpPr>
              <p:cNvPr id="75" name="Freihandform: Form 237">
                <a:extLst>
                  <a:ext uri="{FF2B5EF4-FFF2-40B4-BE49-F238E27FC236}">
                    <a16:creationId xmlns:a16="http://schemas.microsoft.com/office/drawing/2014/main" id="{103E6890-4125-4672-A10C-F0A140AC45B9}"/>
                  </a:ext>
                </a:extLst>
              </p:cNvPr>
              <p:cNvSpPr/>
              <p:nvPr/>
            </p:nvSpPr>
            <p:spPr>
              <a:xfrm>
                <a:off x="1868664" y="2656899"/>
                <a:ext cx="84353" cy="12981"/>
              </a:xfrm>
              <a:custGeom>
                <a:avLst/>
                <a:gdLst>
                  <a:gd name="connsiteX0" fmla="*/ 0 w 84353"/>
                  <a:gd name="connsiteY0" fmla="*/ 0 h 12981"/>
                  <a:gd name="connsiteX1" fmla="*/ 84354 w 84353"/>
                  <a:gd name="connsiteY1" fmla="*/ 0 h 12981"/>
                  <a:gd name="connsiteX2" fmla="*/ 84354 w 84353"/>
                  <a:gd name="connsiteY2" fmla="*/ 12981 h 12981"/>
                  <a:gd name="connsiteX3" fmla="*/ 0 w 84353"/>
                  <a:gd name="connsiteY3" fmla="*/ 12981 h 12981"/>
                </a:gdLst>
                <a:ahLst/>
                <a:cxnLst>
                  <a:cxn ang="0">
                    <a:pos x="connsiteX0" y="connsiteY0"/>
                  </a:cxn>
                  <a:cxn ang="0">
                    <a:pos x="connsiteX1" y="connsiteY1"/>
                  </a:cxn>
                  <a:cxn ang="0">
                    <a:pos x="connsiteX2" y="connsiteY2"/>
                  </a:cxn>
                  <a:cxn ang="0">
                    <a:pos x="connsiteX3" y="connsiteY3"/>
                  </a:cxn>
                </a:cxnLst>
                <a:rect l="l" t="t" r="r" b="b"/>
                <a:pathLst>
                  <a:path w="84353" h="12981">
                    <a:moveTo>
                      <a:pt x="0" y="0"/>
                    </a:moveTo>
                    <a:lnTo>
                      <a:pt x="84354" y="0"/>
                    </a:lnTo>
                    <a:lnTo>
                      <a:pt x="84354" y="12981"/>
                    </a:lnTo>
                    <a:lnTo>
                      <a:pt x="0" y="12981"/>
                    </a:lnTo>
                    <a:close/>
                  </a:path>
                </a:pathLst>
              </a:custGeom>
              <a:solidFill>
                <a:schemeClr val="accent1"/>
              </a:solidFill>
              <a:ln w="2466" cap="flat">
                <a:noFill/>
                <a:prstDash val="solid"/>
                <a:miter/>
              </a:ln>
            </p:spPr>
            <p:txBody>
              <a:bodyPr rtlCol="0" anchor="ctr"/>
              <a:lstStyle/>
              <a:p>
                <a:endParaRPr lang="en-GB" dirty="0"/>
              </a:p>
            </p:txBody>
          </p:sp>
        </p:grpSp>
        <p:grpSp>
          <p:nvGrpSpPr>
            <p:cNvPr id="58" name="Group 57">
              <a:extLst>
                <a:ext uri="{FF2B5EF4-FFF2-40B4-BE49-F238E27FC236}">
                  <a16:creationId xmlns:a16="http://schemas.microsoft.com/office/drawing/2014/main" id="{E0BF4F52-225A-4AD8-9D08-A877B394484B}"/>
                </a:ext>
              </a:extLst>
            </p:cNvPr>
            <p:cNvGrpSpPr/>
            <p:nvPr/>
          </p:nvGrpSpPr>
          <p:grpSpPr>
            <a:xfrm>
              <a:off x="1596832" y="1585984"/>
              <a:ext cx="485305" cy="432000"/>
              <a:chOff x="1686975" y="2455788"/>
              <a:chExt cx="532060" cy="473620"/>
            </a:xfrm>
            <a:solidFill>
              <a:schemeClr val="tx2"/>
            </a:solidFill>
          </p:grpSpPr>
          <p:grpSp>
            <p:nvGrpSpPr>
              <p:cNvPr id="59" name="Grafik 204">
                <a:extLst>
                  <a:ext uri="{FF2B5EF4-FFF2-40B4-BE49-F238E27FC236}">
                    <a16:creationId xmlns:a16="http://schemas.microsoft.com/office/drawing/2014/main" id="{8522D6A4-9755-4212-B706-88490638576F}"/>
                  </a:ext>
                </a:extLst>
              </p:cNvPr>
              <p:cNvGrpSpPr/>
              <p:nvPr/>
            </p:nvGrpSpPr>
            <p:grpSpPr>
              <a:xfrm>
                <a:off x="1686975" y="2455788"/>
                <a:ext cx="285465" cy="473620"/>
                <a:chOff x="1686975" y="2455788"/>
                <a:chExt cx="285465" cy="473620"/>
              </a:xfrm>
              <a:grpFill/>
            </p:grpSpPr>
            <p:sp>
              <p:nvSpPr>
                <p:cNvPr id="64" name="Freihandform: Form 224">
                  <a:extLst>
                    <a:ext uri="{FF2B5EF4-FFF2-40B4-BE49-F238E27FC236}">
                      <a16:creationId xmlns:a16="http://schemas.microsoft.com/office/drawing/2014/main" id="{65D5C514-6A7D-4DF4-A1E8-D957B334CFBB}"/>
                    </a:ext>
                  </a:extLst>
                </p:cNvPr>
                <p:cNvSpPr/>
                <p:nvPr/>
              </p:nvSpPr>
              <p:spPr>
                <a:xfrm>
                  <a:off x="1719453" y="2650409"/>
                  <a:ext cx="19447" cy="278999"/>
                </a:xfrm>
                <a:custGeom>
                  <a:avLst/>
                  <a:gdLst>
                    <a:gd name="connsiteX0" fmla="*/ 19447 w 19447"/>
                    <a:gd name="connsiteY0" fmla="*/ 278999 h 278999"/>
                    <a:gd name="connsiteX1" fmla="*/ 6491 w 19447"/>
                    <a:gd name="connsiteY1" fmla="*/ 278999 h 278999"/>
                    <a:gd name="connsiteX2" fmla="*/ 6491 w 19447"/>
                    <a:gd name="connsiteY2" fmla="*/ 12981 h 278999"/>
                    <a:gd name="connsiteX3" fmla="*/ 0 w 19447"/>
                    <a:gd name="connsiteY3" fmla="*/ 12981 h 278999"/>
                    <a:gd name="connsiteX4" fmla="*/ 0 w 19447"/>
                    <a:gd name="connsiteY4" fmla="*/ 0 h 278999"/>
                    <a:gd name="connsiteX5" fmla="*/ 19447 w 19447"/>
                    <a:gd name="connsiteY5" fmla="*/ 0 h 27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47" h="278999">
                      <a:moveTo>
                        <a:pt x="19447" y="278999"/>
                      </a:moveTo>
                      <a:lnTo>
                        <a:pt x="6491" y="278999"/>
                      </a:lnTo>
                      <a:lnTo>
                        <a:pt x="6491" y="12981"/>
                      </a:lnTo>
                      <a:lnTo>
                        <a:pt x="0" y="12981"/>
                      </a:lnTo>
                      <a:lnTo>
                        <a:pt x="0" y="0"/>
                      </a:lnTo>
                      <a:lnTo>
                        <a:pt x="19447" y="0"/>
                      </a:lnTo>
                      <a:close/>
                    </a:path>
                  </a:pathLst>
                </a:custGeom>
                <a:grpFill/>
                <a:ln w="2466" cap="flat">
                  <a:noFill/>
                  <a:prstDash val="solid"/>
                  <a:miter/>
                </a:ln>
              </p:spPr>
              <p:txBody>
                <a:bodyPr rtlCol="0" anchor="ctr"/>
                <a:lstStyle/>
                <a:p>
                  <a:endParaRPr lang="en-GB" dirty="0"/>
                </a:p>
              </p:txBody>
            </p:sp>
            <p:sp>
              <p:nvSpPr>
                <p:cNvPr id="65" name="Freihandform: Form 225">
                  <a:extLst>
                    <a:ext uri="{FF2B5EF4-FFF2-40B4-BE49-F238E27FC236}">
                      <a16:creationId xmlns:a16="http://schemas.microsoft.com/office/drawing/2014/main" id="{593D7818-8BFE-4218-9AD9-BF11F9B6FABD}"/>
                    </a:ext>
                  </a:extLst>
                </p:cNvPr>
                <p:cNvSpPr/>
                <p:nvPr/>
              </p:nvSpPr>
              <p:spPr>
                <a:xfrm>
                  <a:off x="1784335" y="2773682"/>
                  <a:ext cx="12981" cy="155701"/>
                </a:xfrm>
                <a:custGeom>
                  <a:avLst/>
                  <a:gdLst>
                    <a:gd name="connsiteX0" fmla="*/ 0 w 12981"/>
                    <a:gd name="connsiteY0" fmla="*/ 0 h 155701"/>
                    <a:gd name="connsiteX1" fmla="*/ 12981 w 12981"/>
                    <a:gd name="connsiteY1" fmla="*/ 0 h 155701"/>
                    <a:gd name="connsiteX2" fmla="*/ 12981 w 12981"/>
                    <a:gd name="connsiteY2" fmla="*/ 155702 h 155701"/>
                    <a:gd name="connsiteX3" fmla="*/ 0 w 12981"/>
                    <a:gd name="connsiteY3" fmla="*/ 155702 h 155701"/>
                  </a:gdLst>
                  <a:ahLst/>
                  <a:cxnLst>
                    <a:cxn ang="0">
                      <a:pos x="connsiteX0" y="connsiteY0"/>
                    </a:cxn>
                    <a:cxn ang="0">
                      <a:pos x="connsiteX1" y="connsiteY1"/>
                    </a:cxn>
                    <a:cxn ang="0">
                      <a:pos x="connsiteX2" y="connsiteY2"/>
                    </a:cxn>
                    <a:cxn ang="0">
                      <a:pos x="connsiteX3" y="connsiteY3"/>
                    </a:cxn>
                  </a:cxnLst>
                  <a:rect l="l" t="t" r="r" b="b"/>
                  <a:pathLst>
                    <a:path w="12981" h="155701">
                      <a:moveTo>
                        <a:pt x="0" y="0"/>
                      </a:moveTo>
                      <a:lnTo>
                        <a:pt x="12981" y="0"/>
                      </a:lnTo>
                      <a:lnTo>
                        <a:pt x="12981" y="155702"/>
                      </a:lnTo>
                      <a:lnTo>
                        <a:pt x="0" y="155702"/>
                      </a:lnTo>
                      <a:close/>
                    </a:path>
                  </a:pathLst>
                </a:custGeom>
                <a:grpFill/>
                <a:ln w="2466" cap="flat">
                  <a:noFill/>
                  <a:prstDash val="solid"/>
                  <a:miter/>
                </a:ln>
              </p:spPr>
              <p:txBody>
                <a:bodyPr rtlCol="0" anchor="ctr"/>
                <a:lstStyle/>
                <a:p>
                  <a:endParaRPr lang="en-GB" dirty="0"/>
                </a:p>
              </p:txBody>
            </p:sp>
            <p:sp>
              <p:nvSpPr>
                <p:cNvPr id="66" name="Freihandform: Form 226">
                  <a:extLst>
                    <a:ext uri="{FF2B5EF4-FFF2-40B4-BE49-F238E27FC236}">
                      <a16:creationId xmlns:a16="http://schemas.microsoft.com/office/drawing/2014/main" id="{030B8D66-D9BB-4817-93E0-BF580CB32E62}"/>
                    </a:ext>
                  </a:extLst>
                </p:cNvPr>
                <p:cNvSpPr/>
                <p:nvPr/>
              </p:nvSpPr>
              <p:spPr>
                <a:xfrm>
                  <a:off x="1686975" y="2572570"/>
                  <a:ext cx="285465" cy="356837"/>
                </a:xfrm>
                <a:custGeom>
                  <a:avLst/>
                  <a:gdLst>
                    <a:gd name="connsiteX0" fmla="*/ 168708 w 285465"/>
                    <a:gd name="connsiteY0" fmla="*/ 356838 h 356837"/>
                    <a:gd name="connsiteX1" fmla="*/ 155726 w 285465"/>
                    <a:gd name="connsiteY1" fmla="*/ 356838 h 356837"/>
                    <a:gd name="connsiteX2" fmla="*/ 155726 w 285465"/>
                    <a:gd name="connsiteY2" fmla="*/ 52592 h 356837"/>
                    <a:gd name="connsiteX3" fmla="*/ 272509 w 285465"/>
                    <a:gd name="connsiteY3" fmla="*/ 39610 h 356837"/>
                    <a:gd name="connsiteX4" fmla="*/ 272509 w 285465"/>
                    <a:gd name="connsiteY4" fmla="*/ 12981 h 356837"/>
                    <a:gd name="connsiteX5" fmla="*/ 77863 w 285465"/>
                    <a:gd name="connsiteY5" fmla="*/ 12981 h 356837"/>
                    <a:gd name="connsiteX6" fmla="*/ 12981 w 285465"/>
                    <a:gd name="connsiteY6" fmla="*/ 84354 h 356837"/>
                    <a:gd name="connsiteX7" fmla="*/ 12981 w 285465"/>
                    <a:gd name="connsiteY7" fmla="*/ 201136 h 356837"/>
                    <a:gd name="connsiteX8" fmla="*/ 25963 w 285465"/>
                    <a:gd name="connsiteY8" fmla="*/ 201136 h 356837"/>
                    <a:gd name="connsiteX9" fmla="*/ 25963 w 285465"/>
                    <a:gd name="connsiteY9" fmla="*/ 214117 h 356837"/>
                    <a:gd name="connsiteX10" fmla="*/ 0 w 285465"/>
                    <a:gd name="connsiteY10" fmla="*/ 214117 h 356837"/>
                    <a:gd name="connsiteX11" fmla="*/ 0 w 285465"/>
                    <a:gd name="connsiteY11" fmla="*/ 84354 h 356837"/>
                    <a:gd name="connsiteX12" fmla="*/ 77863 w 285465"/>
                    <a:gd name="connsiteY12" fmla="*/ 0 h 356837"/>
                    <a:gd name="connsiteX13" fmla="*/ 285465 w 285465"/>
                    <a:gd name="connsiteY13" fmla="*/ 0 h 356837"/>
                    <a:gd name="connsiteX14" fmla="*/ 285465 w 285465"/>
                    <a:gd name="connsiteY14" fmla="*/ 51234 h 356837"/>
                    <a:gd name="connsiteX15" fmla="*/ 168683 w 285465"/>
                    <a:gd name="connsiteY15" fmla="*/ 64215 h 356837"/>
                    <a:gd name="connsiteX16" fmla="*/ 168683 w 285465"/>
                    <a:gd name="connsiteY16" fmla="*/ 356838 h 356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85465" h="356837">
                      <a:moveTo>
                        <a:pt x="168708" y="356838"/>
                      </a:moveTo>
                      <a:lnTo>
                        <a:pt x="155726" y="356838"/>
                      </a:lnTo>
                      <a:lnTo>
                        <a:pt x="155726" y="52592"/>
                      </a:lnTo>
                      <a:lnTo>
                        <a:pt x="272509" y="39610"/>
                      </a:lnTo>
                      <a:lnTo>
                        <a:pt x="272509" y="12981"/>
                      </a:lnTo>
                      <a:lnTo>
                        <a:pt x="77863" y="12981"/>
                      </a:lnTo>
                      <a:cubicBezTo>
                        <a:pt x="40277" y="12981"/>
                        <a:pt x="12981" y="42991"/>
                        <a:pt x="12981" y="84354"/>
                      </a:cubicBezTo>
                      <a:lnTo>
                        <a:pt x="12981" y="201136"/>
                      </a:lnTo>
                      <a:lnTo>
                        <a:pt x="25963" y="201136"/>
                      </a:lnTo>
                      <a:lnTo>
                        <a:pt x="25963" y="214117"/>
                      </a:lnTo>
                      <a:lnTo>
                        <a:pt x="0" y="214117"/>
                      </a:lnTo>
                      <a:lnTo>
                        <a:pt x="0" y="84354"/>
                      </a:lnTo>
                      <a:cubicBezTo>
                        <a:pt x="0" y="36278"/>
                        <a:pt x="33465" y="0"/>
                        <a:pt x="77863" y="0"/>
                      </a:cubicBezTo>
                      <a:lnTo>
                        <a:pt x="285465" y="0"/>
                      </a:lnTo>
                      <a:lnTo>
                        <a:pt x="285465" y="51234"/>
                      </a:lnTo>
                      <a:lnTo>
                        <a:pt x="168683" y="64215"/>
                      </a:lnTo>
                      <a:lnTo>
                        <a:pt x="168683" y="356838"/>
                      </a:lnTo>
                      <a:close/>
                    </a:path>
                  </a:pathLst>
                </a:custGeom>
                <a:grpFill/>
                <a:ln w="2466" cap="flat">
                  <a:noFill/>
                  <a:prstDash val="solid"/>
                  <a:miter/>
                </a:ln>
              </p:spPr>
              <p:txBody>
                <a:bodyPr rtlCol="0" anchor="ctr"/>
                <a:lstStyle/>
                <a:p>
                  <a:endParaRPr lang="en-GB" dirty="0"/>
                </a:p>
              </p:txBody>
            </p:sp>
            <p:sp>
              <p:nvSpPr>
                <p:cNvPr id="67" name="Freihandform: Form 227">
                  <a:extLst>
                    <a:ext uri="{FF2B5EF4-FFF2-40B4-BE49-F238E27FC236}">
                      <a16:creationId xmlns:a16="http://schemas.microsoft.com/office/drawing/2014/main" id="{6849E51F-CA37-4BB8-905D-5968EF76404D}"/>
                    </a:ext>
                  </a:extLst>
                </p:cNvPr>
                <p:cNvSpPr/>
                <p:nvPr/>
              </p:nvSpPr>
              <p:spPr>
                <a:xfrm>
                  <a:off x="1745415" y="2455788"/>
                  <a:ext cx="90819" cy="103801"/>
                </a:xfrm>
                <a:custGeom>
                  <a:avLst/>
                  <a:gdLst>
                    <a:gd name="connsiteX0" fmla="*/ 45410 w 90819"/>
                    <a:gd name="connsiteY0" fmla="*/ 103801 h 103801"/>
                    <a:gd name="connsiteX1" fmla="*/ 0 w 90819"/>
                    <a:gd name="connsiteY1" fmla="*/ 51901 h 103801"/>
                    <a:gd name="connsiteX2" fmla="*/ 45410 w 90819"/>
                    <a:gd name="connsiteY2" fmla="*/ 0 h 103801"/>
                    <a:gd name="connsiteX3" fmla="*/ 90820 w 90819"/>
                    <a:gd name="connsiteY3" fmla="*/ 51901 h 103801"/>
                    <a:gd name="connsiteX4" fmla="*/ 45410 w 90819"/>
                    <a:gd name="connsiteY4" fmla="*/ 103801 h 103801"/>
                    <a:gd name="connsiteX5" fmla="*/ 45410 w 90819"/>
                    <a:gd name="connsiteY5" fmla="*/ 12981 h 103801"/>
                    <a:gd name="connsiteX6" fmla="*/ 12981 w 90819"/>
                    <a:gd name="connsiteY6" fmla="*/ 51901 h 103801"/>
                    <a:gd name="connsiteX7" fmla="*/ 45410 w 90819"/>
                    <a:gd name="connsiteY7" fmla="*/ 90820 h 103801"/>
                    <a:gd name="connsiteX8" fmla="*/ 77838 w 90819"/>
                    <a:gd name="connsiteY8" fmla="*/ 51901 h 103801"/>
                    <a:gd name="connsiteX9" fmla="*/ 45410 w 90819"/>
                    <a:gd name="connsiteY9" fmla="*/ 12981 h 103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819" h="103801">
                      <a:moveTo>
                        <a:pt x="45410" y="103801"/>
                      </a:moveTo>
                      <a:cubicBezTo>
                        <a:pt x="18238" y="103801"/>
                        <a:pt x="0" y="82947"/>
                        <a:pt x="0" y="51901"/>
                      </a:cubicBezTo>
                      <a:cubicBezTo>
                        <a:pt x="0" y="20854"/>
                        <a:pt x="18263" y="0"/>
                        <a:pt x="45410" y="0"/>
                      </a:cubicBezTo>
                      <a:cubicBezTo>
                        <a:pt x="72557" y="0"/>
                        <a:pt x="90820" y="20854"/>
                        <a:pt x="90820" y="51901"/>
                      </a:cubicBezTo>
                      <a:cubicBezTo>
                        <a:pt x="90820" y="82947"/>
                        <a:pt x="72557" y="103801"/>
                        <a:pt x="45410" y="103801"/>
                      </a:cubicBezTo>
                      <a:close/>
                      <a:moveTo>
                        <a:pt x="45410" y="12981"/>
                      </a:moveTo>
                      <a:cubicBezTo>
                        <a:pt x="21471" y="12981"/>
                        <a:pt x="12981" y="33959"/>
                        <a:pt x="12981" y="51901"/>
                      </a:cubicBezTo>
                      <a:cubicBezTo>
                        <a:pt x="12981" y="69867"/>
                        <a:pt x="21471" y="90820"/>
                        <a:pt x="45410" y="90820"/>
                      </a:cubicBezTo>
                      <a:cubicBezTo>
                        <a:pt x="69349" y="90820"/>
                        <a:pt x="77838" y="69842"/>
                        <a:pt x="77838" y="51901"/>
                      </a:cubicBezTo>
                      <a:cubicBezTo>
                        <a:pt x="77838" y="33934"/>
                        <a:pt x="69349" y="12981"/>
                        <a:pt x="45410" y="12981"/>
                      </a:cubicBezTo>
                      <a:close/>
                    </a:path>
                  </a:pathLst>
                </a:custGeom>
                <a:grpFill/>
                <a:ln w="2466" cap="flat">
                  <a:noFill/>
                  <a:prstDash val="solid"/>
                  <a:miter/>
                </a:ln>
              </p:spPr>
              <p:txBody>
                <a:bodyPr rtlCol="0" anchor="ctr"/>
                <a:lstStyle/>
                <a:p>
                  <a:endParaRPr lang="en-GB" dirty="0"/>
                </a:p>
              </p:txBody>
            </p:sp>
            <p:grpSp>
              <p:nvGrpSpPr>
                <p:cNvPr id="68" name="Grafik 204">
                  <a:extLst>
                    <a:ext uri="{FF2B5EF4-FFF2-40B4-BE49-F238E27FC236}">
                      <a16:creationId xmlns:a16="http://schemas.microsoft.com/office/drawing/2014/main" id="{7605D619-1FA6-43FB-BA26-BE1E97CB08AB}"/>
                    </a:ext>
                  </a:extLst>
                </p:cNvPr>
                <p:cNvGrpSpPr/>
                <p:nvPr/>
              </p:nvGrpSpPr>
              <p:grpSpPr>
                <a:xfrm>
                  <a:off x="1784335" y="2630961"/>
                  <a:ext cx="12981" cy="90844"/>
                  <a:chOff x="1784335" y="2630961"/>
                  <a:chExt cx="12981" cy="90844"/>
                </a:xfrm>
                <a:grpFill/>
              </p:grpSpPr>
              <p:sp>
                <p:nvSpPr>
                  <p:cNvPr id="69" name="Freihandform: Form 229">
                    <a:extLst>
                      <a:ext uri="{FF2B5EF4-FFF2-40B4-BE49-F238E27FC236}">
                        <a16:creationId xmlns:a16="http://schemas.microsoft.com/office/drawing/2014/main" id="{B0ACADA1-4949-4C76-9D9C-98DD3D5BEB6E}"/>
                      </a:ext>
                    </a:extLst>
                  </p:cNvPr>
                  <p:cNvSpPr/>
                  <p:nvPr/>
                </p:nvSpPr>
                <p:spPr>
                  <a:xfrm>
                    <a:off x="1784335" y="2630961"/>
                    <a:ext cx="12981" cy="12981"/>
                  </a:xfrm>
                  <a:custGeom>
                    <a:avLst/>
                    <a:gdLst>
                      <a:gd name="connsiteX0" fmla="*/ 0 w 12981"/>
                      <a:gd name="connsiteY0" fmla="*/ 0 h 12981"/>
                      <a:gd name="connsiteX1" fmla="*/ 12981 w 12981"/>
                      <a:gd name="connsiteY1" fmla="*/ 0 h 12981"/>
                      <a:gd name="connsiteX2" fmla="*/ 12981 w 12981"/>
                      <a:gd name="connsiteY2" fmla="*/ 12981 h 12981"/>
                      <a:gd name="connsiteX3" fmla="*/ 0 w 12981"/>
                      <a:gd name="connsiteY3" fmla="*/ 12981 h 12981"/>
                    </a:gdLst>
                    <a:ahLst/>
                    <a:cxnLst>
                      <a:cxn ang="0">
                        <a:pos x="connsiteX0" y="connsiteY0"/>
                      </a:cxn>
                      <a:cxn ang="0">
                        <a:pos x="connsiteX1" y="connsiteY1"/>
                      </a:cxn>
                      <a:cxn ang="0">
                        <a:pos x="connsiteX2" y="connsiteY2"/>
                      </a:cxn>
                      <a:cxn ang="0">
                        <a:pos x="connsiteX3" y="connsiteY3"/>
                      </a:cxn>
                    </a:cxnLst>
                    <a:rect l="l" t="t" r="r" b="b"/>
                    <a:pathLst>
                      <a:path w="12981" h="12981">
                        <a:moveTo>
                          <a:pt x="0" y="0"/>
                        </a:moveTo>
                        <a:lnTo>
                          <a:pt x="12981" y="0"/>
                        </a:lnTo>
                        <a:lnTo>
                          <a:pt x="12981" y="12981"/>
                        </a:lnTo>
                        <a:lnTo>
                          <a:pt x="0" y="12981"/>
                        </a:lnTo>
                        <a:close/>
                      </a:path>
                    </a:pathLst>
                  </a:custGeom>
                  <a:grpFill/>
                  <a:ln w="2466" cap="flat">
                    <a:noFill/>
                    <a:prstDash val="solid"/>
                    <a:miter/>
                  </a:ln>
                </p:spPr>
                <p:txBody>
                  <a:bodyPr rtlCol="0" anchor="ctr"/>
                  <a:lstStyle/>
                  <a:p>
                    <a:endParaRPr lang="en-GB" dirty="0"/>
                  </a:p>
                </p:txBody>
              </p:sp>
              <p:sp>
                <p:nvSpPr>
                  <p:cNvPr id="70" name="Freihandform: Form 230">
                    <a:extLst>
                      <a:ext uri="{FF2B5EF4-FFF2-40B4-BE49-F238E27FC236}">
                        <a16:creationId xmlns:a16="http://schemas.microsoft.com/office/drawing/2014/main" id="{3C756D13-801B-4722-88AF-064066E1A5D0}"/>
                      </a:ext>
                    </a:extLst>
                  </p:cNvPr>
                  <p:cNvSpPr/>
                  <p:nvPr/>
                </p:nvSpPr>
                <p:spPr>
                  <a:xfrm>
                    <a:off x="1784335" y="2669881"/>
                    <a:ext cx="12981" cy="12981"/>
                  </a:xfrm>
                  <a:custGeom>
                    <a:avLst/>
                    <a:gdLst>
                      <a:gd name="connsiteX0" fmla="*/ 0 w 12981"/>
                      <a:gd name="connsiteY0" fmla="*/ 0 h 12981"/>
                      <a:gd name="connsiteX1" fmla="*/ 12981 w 12981"/>
                      <a:gd name="connsiteY1" fmla="*/ 0 h 12981"/>
                      <a:gd name="connsiteX2" fmla="*/ 12981 w 12981"/>
                      <a:gd name="connsiteY2" fmla="*/ 12981 h 12981"/>
                      <a:gd name="connsiteX3" fmla="*/ 0 w 12981"/>
                      <a:gd name="connsiteY3" fmla="*/ 12981 h 12981"/>
                    </a:gdLst>
                    <a:ahLst/>
                    <a:cxnLst>
                      <a:cxn ang="0">
                        <a:pos x="connsiteX0" y="connsiteY0"/>
                      </a:cxn>
                      <a:cxn ang="0">
                        <a:pos x="connsiteX1" y="connsiteY1"/>
                      </a:cxn>
                      <a:cxn ang="0">
                        <a:pos x="connsiteX2" y="connsiteY2"/>
                      </a:cxn>
                      <a:cxn ang="0">
                        <a:pos x="connsiteX3" y="connsiteY3"/>
                      </a:cxn>
                    </a:cxnLst>
                    <a:rect l="l" t="t" r="r" b="b"/>
                    <a:pathLst>
                      <a:path w="12981" h="12981">
                        <a:moveTo>
                          <a:pt x="0" y="0"/>
                        </a:moveTo>
                        <a:lnTo>
                          <a:pt x="12981" y="0"/>
                        </a:lnTo>
                        <a:lnTo>
                          <a:pt x="12981" y="12981"/>
                        </a:lnTo>
                        <a:lnTo>
                          <a:pt x="0" y="12981"/>
                        </a:lnTo>
                        <a:close/>
                      </a:path>
                    </a:pathLst>
                  </a:custGeom>
                  <a:grpFill/>
                  <a:ln w="2466" cap="flat">
                    <a:noFill/>
                    <a:prstDash val="solid"/>
                    <a:miter/>
                  </a:ln>
                </p:spPr>
                <p:txBody>
                  <a:bodyPr rtlCol="0" anchor="ctr"/>
                  <a:lstStyle/>
                  <a:p>
                    <a:endParaRPr lang="en-GB" dirty="0"/>
                  </a:p>
                </p:txBody>
              </p:sp>
              <p:sp>
                <p:nvSpPr>
                  <p:cNvPr id="71" name="Freihandform: Form 231">
                    <a:extLst>
                      <a:ext uri="{FF2B5EF4-FFF2-40B4-BE49-F238E27FC236}">
                        <a16:creationId xmlns:a16="http://schemas.microsoft.com/office/drawing/2014/main" id="{8075523A-1091-4BD2-8505-49183C2E3EF9}"/>
                      </a:ext>
                    </a:extLst>
                  </p:cNvPr>
                  <p:cNvSpPr/>
                  <p:nvPr/>
                </p:nvSpPr>
                <p:spPr>
                  <a:xfrm>
                    <a:off x="1784335" y="2708825"/>
                    <a:ext cx="12981" cy="12981"/>
                  </a:xfrm>
                  <a:custGeom>
                    <a:avLst/>
                    <a:gdLst>
                      <a:gd name="connsiteX0" fmla="*/ 0 w 12981"/>
                      <a:gd name="connsiteY0" fmla="*/ 0 h 12981"/>
                      <a:gd name="connsiteX1" fmla="*/ 12981 w 12981"/>
                      <a:gd name="connsiteY1" fmla="*/ 0 h 12981"/>
                      <a:gd name="connsiteX2" fmla="*/ 12981 w 12981"/>
                      <a:gd name="connsiteY2" fmla="*/ 12981 h 12981"/>
                      <a:gd name="connsiteX3" fmla="*/ 0 w 12981"/>
                      <a:gd name="connsiteY3" fmla="*/ 12981 h 12981"/>
                    </a:gdLst>
                    <a:ahLst/>
                    <a:cxnLst>
                      <a:cxn ang="0">
                        <a:pos x="connsiteX0" y="connsiteY0"/>
                      </a:cxn>
                      <a:cxn ang="0">
                        <a:pos x="connsiteX1" y="connsiteY1"/>
                      </a:cxn>
                      <a:cxn ang="0">
                        <a:pos x="connsiteX2" y="connsiteY2"/>
                      </a:cxn>
                      <a:cxn ang="0">
                        <a:pos x="connsiteX3" y="connsiteY3"/>
                      </a:cxn>
                    </a:cxnLst>
                    <a:rect l="l" t="t" r="r" b="b"/>
                    <a:pathLst>
                      <a:path w="12981" h="12981">
                        <a:moveTo>
                          <a:pt x="0" y="0"/>
                        </a:moveTo>
                        <a:lnTo>
                          <a:pt x="12981" y="0"/>
                        </a:lnTo>
                        <a:lnTo>
                          <a:pt x="12981" y="12981"/>
                        </a:lnTo>
                        <a:lnTo>
                          <a:pt x="0" y="12981"/>
                        </a:lnTo>
                        <a:close/>
                      </a:path>
                    </a:pathLst>
                  </a:custGeom>
                  <a:grpFill/>
                  <a:ln w="2466" cap="flat">
                    <a:noFill/>
                    <a:prstDash val="solid"/>
                    <a:miter/>
                  </a:ln>
                </p:spPr>
                <p:txBody>
                  <a:bodyPr rtlCol="0" anchor="ctr"/>
                  <a:lstStyle/>
                  <a:p>
                    <a:endParaRPr lang="en-GB" dirty="0"/>
                  </a:p>
                </p:txBody>
              </p:sp>
            </p:grpSp>
          </p:grpSp>
          <p:sp>
            <p:nvSpPr>
              <p:cNvPr id="60" name="Freihandform: Form 232">
                <a:extLst>
                  <a:ext uri="{FF2B5EF4-FFF2-40B4-BE49-F238E27FC236}">
                    <a16:creationId xmlns:a16="http://schemas.microsoft.com/office/drawing/2014/main" id="{6213F478-720C-4216-951B-F384E3A75D7F}"/>
                  </a:ext>
                </a:extLst>
              </p:cNvPr>
              <p:cNvSpPr/>
              <p:nvPr/>
            </p:nvSpPr>
            <p:spPr>
              <a:xfrm>
                <a:off x="1849217" y="2455788"/>
                <a:ext cx="369818" cy="71372"/>
              </a:xfrm>
              <a:custGeom>
                <a:avLst/>
                <a:gdLst>
                  <a:gd name="connsiteX0" fmla="*/ 363304 w 369818"/>
                  <a:gd name="connsiteY0" fmla="*/ 71373 h 71372"/>
                  <a:gd name="connsiteX1" fmla="*/ 0 w 369818"/>
                  <a:gd name="connsiteY1" fmla="*/ 71373 h 71372"/>
                  <a:gd name="connsiteX2" fmla="*/ 0 w 369818"/>
                  <a:gd name="connsiteY2" fmla="*/ 58391 h 71372"/>
                  <a:gd name="connsiteX3" fmla="*/ 356838 w 369818"/>
                  <a:gd name="connsiteY3" fmla="*/ 58391 h 71372"/>
                  <a:gd name="connsiteX4" fmla="*/ 356838 w 369818"/>
                  <a:gd name="connsiteY4" fmla="*/ 38919 h 71372"/>
                  <a:gd name="connsiteX5" fmla="*/ 233565 w 369818"/>
                  <a:gd name="connsiteY5" fmla="*/ 38919 h 71372"/>
                  <a:gd name="connsiteX6" fmla="*/ 227765 w 369818"/>
                  <a:gd name="connsiteY6" fmla="*/ 35341 h 71372"/>
                  <a:gd name="connsiteX7" fmla="*/ 216585 w 369818"/>
                  <a:gd name="connsiteY7" fmla="*/ 12981 h 71372"/>
                  <a:gd name="connsiteX8" fmla="*/ 68905 w 369818"/>
                  <a:gd name="connsiteY8" fmla="*/ 12981 h 71372"/>
                  <a:gd name="connsiteX9" fmla="*/ 57725 w 369818"/>
                  <a:gd name="connsiteY9" fmla="*/ 35341 h 71372"/>
                  <a:gd name="connsiteX10" fmla="*/ 51925 w 369818"/>
                  <a:gd name="connsiteY10" fmla="*/ 38919 h 71372"/>
                  <a:gd name="connsiteX11" fmla="*/ 25 w 369818"/>
                  <a:gd name="connsiteY11" fmla="*/ 38919 h 71372"/>
                  <a:gd name="connsiteX12" fmla="*/ 25 w 369818"/>
                  <a:gd name="connsiteY12" fmla="*/ 25938 h 71372"/>
                  <a:gd name="connsiteX13" fmla="*/ 47927 w 369818"/>
                  <a:gd name="connsiteY13" fmla="*/ 25938 h 71372"/>
                  <a:gd name="connsiteX14" fmla="*/ 59107 w 369818"/>
                  <a:gd name="connsiteY14" fmla="*/ 3579 h 71372"/>
                  <a:gd name="connsiteX15" fmla="*/ 64906 w 369818"/>
                  <a:gd name="connsiteY15" fmla="*/ 0 h 71372"/>
                  <a:gd name="connsiteX16" fmla="*/ 220608 w 369818"/>
                  <a:gd name="connsiteY16" fmla="*/ 0 h 71372"/>
                  <a:gd name="connsiteX17" fmla="*/ 226408 w 369818"/>
                  <a:gd name="connsiteY17" fmla="*/ 3579 h 71372"/>
                  <a:gd name="connsiteX18" fmla="*/ 237587 w 369818"/>
                  <a:gd name="connsiteY18" fmla="*/ 25938 h 71372"/>
                  <a:gd name="connsiteX19" fmla="*/ 363328 w 369818"/>
                  <a:gd name="connsiteY19" fmla="*/ 25938 h 71372"/>
                  <a:gd name="connsiteX20" fmla="*/ 369819 w 369818"/>
                  <a:gd name="connsiteY20" fmla="*/ 32429 h 71372"/>
                  <a:gd name="connsiteX21" fmla="*/ 369819 w 369818"/>
                  <a:gd name="connsiteY21" fmla="*/ 64857 h 71372"/>
                  <a:gd name="connsiteX22" fmla="*/ 363304 w 369818"/>
                  <a:gd name="connsiteY22" fmla="*/ 71373 h 71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9818" h="71372">
                    <a:moveTo>
                      <a:pt x="363304" y="71373"/>
                    </a:moveTo>
                    <a:lnTo>
                      <a:pt x="0" y="71373"/>
                    </a:lnTo>
                    <a:lnTo>
                      <a:pt x="0" y="58391"/>
                    </a:lnTo>
                    <a:lnTo>
                      <a:pt x="356838" y="58391"/>
                    </a:lnTo>
                    <a:lnTo>
                      <a:pt x="356838" y="38919"/>
                    </a:lnTo>
                    <a:lnTo>
                      <a:pt x="233565" y="38919"/>
                    </a:lnTo>
                    <a:cubicBezTo>
                      <a:pt x="231097" y="38919"/>
                      <a:pt x="228851" y="37537"/>
                      <a:pt x="227765" y="35341"/>
                    </a:cubicBezTo>
                    <a:lnTo>
                      <a:pt x="216585" y="12981"/>
                    </a:lnTo>
                    <a:lnTo>
                      <a:pt x="68905" y="12981"/>
                    </a:lnTo>
                    <a:lnTo>
                      <a:pt x="57725" y="35341"/>
                    </a:lnTo>
                    <a:cubicBezTo>
                      <a:pt x="56614" y="37537"/>
                      <a:pt x="54368" y="38919"/>
                      <a:pt x="51925" y="38919"/>
                    </a:cubicBezTo>
                    <a:lnTo>
                      <a:pt x="25" y="38919"/>
                    </a:lnTo>
                    <a:lnTo>
                      <a:pt x="25" y="25938"/>
                    </a:lnTo>
                    <a:lnTo>
                      <a:pt x="47927" y="25938"/>
                    </a:lnTo>
                    <a:lnTo>
                      <a:pt x="59107" y="3579"/>
                    </a:lnTo>
                    <a:cubicBezTo>
                      <a:pt x="60217" y="1382"/>
                      <a:pt x="62463" y="0"/>
                      <a:pt x="64906" y="0"/>
                    </a:cubicBezTo>
                    <a:lnTo>
                      <a:pt x="220608" y="0"/>
                    </a:lnTo>
                    <a:cubicBezTo>
                      <a:pt x="223076" y="0"/>
                      <a:pt x="225322" y="1382"/>
                      <a:pt x="226408" y="3579"/>
                    </a:cubicBezTo>
                    <a:lnTo>
                      <a:pt x="237587" y="25938"/>
                    </a:lnTo>
                    <a:lnTo>
                      <a:pt x="363328" y="25938"/>
                    </a:lnTo>
                    <a:cubicBezTo>
                      <a:pt x="366907" y="25938"/>
                      <a:pt x="369819" y="28850"/>
                      <a:pt x="369819" y="32429"/>
                    </a:cubicBezTo>
                    <a:lnTo>
                      <a:pt x="369819" y="64857"/>
                    </a:lnTo>
                    <a:cubicBezTo>
                      <a:pt x="369794" y="68460"/>
                      <a:pt x="366882" y="71373"/>
                      <a:pt x="363304" y="71373"/>
                    </a:cubicBezTo>
                    <a:close/>
                  </a:path>
                </a:pathLst>
              </a:custGeom>
              <a:grpFill/>
              <a:ln w="2466" cap="flat">
                <a:noFill/>
                <a:prstDash val="solid"/>
                <a:miter/>
              </a:ln>
            </p:spPr>
            <p:txBody>
              <a:bodyPr rtlCol="0" anchor="ctr"/>
              <a:lstStyle/>
              <a:p>
                <a:endParaRPr lang="en-GB" dirty="0"/>
              </a:p>
            </p:txBody>
          </p:sp>
          <p:sp>
            <p:nvSpPr>
              <p:cNvPr id="61" name="Freihandform: Form 233">
                <a:extLst>
                  <a:ext uri="{FF2B5EF4-FFF2-40B4-BE49-F238E27FC236}">
                    <a16:creationId xmlns:a16="http://schemas.microsoft.com/office/drawing/2014/main" id="{A3A087B0-2704-41BB-A708-1C005EA97BFC}"/>
                  </a:ext>
                </a:extLst>
              </p:cNvPr>
              <p:cNvSpPr/>
              <p:nvPr/>
            </p:nvSpPr>
            <p:spPr>
              <a:xfrm>
                <a:off x="1868664" y="2520670"/>
                <a:ext cx="330899" cy="240055"/>
              </a:xfrm>
              <a:custGeom>
                <a:avLst/>
                <a:gdLst>
                  <a:gd name="connsiteX0" fmla="*/ 324409 w 330899"/>
                  <a:gd name="connsiteY0" fmla="*/ 240055 h 240055"/>
                  <a:gd name="connsiteX1" fmla="*/ 0 w 330899"/>
                  <a:gd name="connsiteY1" fmla="*/ 240055 h 240055"/>
                  <a:gd name="connsiteX2" fmla="*/ 0 w 330899"/>
                  <a:gd name="connsiteY2" fmla="*/ 227074 h 240055"/>
                  <a:gd name="connsiteX3" fmla="*/ 317919 w 330899"/>
                  <a:gd name="connsiteY3" fmla="*/ 227074 h 240055"/>
                  <a:gd name="connsiteX4" fmla="*/ 317919 w 330899"/>
                  <a:gd name="connsiteY4" fmla="*/ 0 h 240055"/>
                  <a:gd name="connsiteX5" fmla="*/ 330900 w 330899"/>
                  <a:gd name="connsiteY5" fmla="*/ 0 h 240055"/>
                  <a:gd name="connsiteX6" fmla="*/ 330900 w 330899"/>
                  <a:gd name="connsiteY6" fmla="*/ 233565 h 240055"/>
                  <a:gd name="connsiteX7" fmla="*/ 324409 w 330899"/>
                  <a:gd name="connsiteY7" fmla="*/ 240055 h 24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899" h="240055">
                    <a:moveTo>
                      <a:pt x="324409" y="240055"/>
                    </a:moveTo>
                    <a:lnTo>
                      <a:pt x="0" y="240055"/>
                    </a:lnTo>
                    <a:lnTo>
                      <a:pt x="0" y="227074"/>
                    </a:lnTo>
                    <a:lnTo>
                      <a:pt x="317919" y="227074"/>
                    </a:lnTo>
                    <a:lnTo>
                      <a:pt x="317919" y="0"/>
                    </a:lnTo>
                    <a:lnTo>
                      <a:pt x="330900" y="0"/>
                    </a:lnTo>
                    <a:lnTo>
                      <a:pt x="330900" y="233565"/>
                    </a:lnTo>
                    <a:cubicBezTo>
                      <a:pt x="330900" y="237143"/>
                      <a:pt x="327988" y="240055"/>
                      <a:pt x="324409" y="240055"/>
                    </a:cubicBezTo>
                    <a:close/>
                  </a:path>
                </a:pathLst>
              </a:custGeom>
              <a:grpFill/>
              <a:ln w="2466" cap="flat">
                <a:noFill/>
                <a:prstDash val="solid"/>
                <a:miter/>
              </a:ln>
            </p:spPr>
            <p:txBody>
              <a:bodyPr rtlCol="0" anchor="ctr"/>
              <a:lstStyle/>
              <a:p>
                <a:endParaRPr lang="en-GB" dirty="0"/>
              </a:p>
            </p:txBody>
          </p:sp>
          <p:sp>
            <p:nvSpPr>
              <p:cNvPr id="62" name="Freihandform: Form 238">
                <a:extLst>
                  <a:ext uri="{FF2B5EF4-FFF2-40B4-BE49-F238E27FC236}">
                    <a16:creationId xmlns:a16="http://schemas.microsoft.com/office/drawing/2014/main" id="{274B2D34-7888-4D08-9F76-CC046B643E67}"/>
                  </a:ext>
                </a:extLst>
              </p:cNvPr>
              <p:cNvSpPr/>
              <p:nvPr/>
            </p:nvSpPr>
            <p:spPr>
              <a:xfrm>
                <a:off x="1985446" y="2754234"/>
                <a:ext cx="12981" cy="32428"/>
              </a:xfrm>
              <a:custGeom>
                <a:avLst/>
                <a:gdLst>
                  <a:gd name="connsiteX0" fmla="*/ 0 w 12981"/>
                  <a:gd name="connsiteY0" fmla="*/ 0 h 32428"/>
                  <a:gd name="connsiteX1" fmla="*/ 12981 w 12981"/>
                  <a:gd name="connsiteY1" fmla="*/ 0 h 32428"/>
                  <a:gd name="connsiteX2" fmla="*/ 12981 w 12981"/>
                  <a:gd name="connsiteY2" fmla="*/ 32429 h 32428"/>
                  <a:gd name="connsiteX3" fmla="*/ 0 w 12981"/>
                  <a:gd name="connsiteY3" fmla="*/ 32429 h 32428"/>
                </a:gdLst>
                <a:ahLst/>
                <a:cxnLst>
                  <a:cxn ang="0">
                    <a:pos x="connsiteX0" y="connsiteY0"/>
                  </a:cxn>
                  <a:cxn ang="0">
                    <a:pos x="connsiteX1" y="connsiteY1"/>
                  </a:cxn>
                  <a:cxn ang="0">
                    <a:pos x="connsiteX2" y="connsiteY2"/>
                  </a:cxn>
                  <a:cxn ang="0">
                    <a:pos x="connsiteX3" y="connsiteY3"/>
                  </a:cxn>
                </a:cxnLst>
                <a:rect l="l" t="t" r="r" b="b"/>
                <a:pathLst>
                  <a:path w="12981" h="32428">
                    <a:moveTo>
                      <a:pt x="0" y="0"/>
                    </a:moveTo>
                    <a:lnTo>
                      <a:pt x="12981" y="0"/>
                    </a:lnTo>
                    <a:lnTo>
                      <a:pt x="12981" y="32429"/>
                    </a:lnTo>
                    <a:lnTo>
                      <a:pt x="0" y="32429"/>
                    </a:lnTo>
                    <a:close/>
                  </a:path>
                </a:pathLst>
              </a:custGeom>
              <a:grpFill/>
              <a:ln w="2466" cap="flat">
                <a:noFill/>
                <a:prstDash val="solid"/>
                <a:miter/>
              </a:ln>
            </p:spPr>
            <p:txBody>
              <a:bodyPr rtlCol="0" anchor="ctr"/>
              <a:lstStyle/>
              <a:p>
                <a:endParaRPr lang="en-GB" dirty="0"/>
              </a:p>
            </p:txBody>
          </p:sp>
          <p:sp>
            <p:nvSpPr>
              <p:cNvPr id="63" name="Freihandform: Form 239">
                <a:extLst>
                  <a:ext uri="{FF2B5EF4-FFF2-40B4-BE49-F238E27FC236}">
                    <a16:creationId xmlns:a16="http://schemas.microsoft.com/office/drawing/2014/main" id="{BE63F619-9BE1-4685-8FA9-5EE7AB13909D}"/>
                  </a:ext>
                </a:extLst>
              </p:cNvPr>
              <p:cNvSpPr/>
              <p:nvPr/>
            </p:nvSpPr>
            <p:spPr>
              <a:xfrm>
                <a:off x="1959508" y="2780197"/>
                <a:ext cx="64857" cy="64857"/>
              </a:xfrm>
              <a:custGeom>
                <a:avLst/>
                <a:gdLst>
                  <a:gd name="connsiteX0" fmla="*/ 32429 w 64857"/>
                  <a:gd name="connsiteY0" fmla="*/ 64857 h 64857"/>
                  <a:gd name="connsiteX1" fmla="*/ 0 w 64857"/>
                  <a:gd name="connsiteY1" fmla="*/ 32429 h 64857"/>
                  <a:gd name="connsiteX2" fmla="*/ 32429 w 64857"/>
                  <a:gd name="connsiteY2" fmla="*/ 0 h 64857"/>
                  <a:gd name="connsiteX3" fmla="*/ 64857 w 64857"/>
                  <a:gd name="connsiteY3" fmla="*/ 32429 h 64857"/>
                  <a:gd name="connsiteX4" fmla="*/ 32429 w 64857"/>
                  <a:gd name="connsiteY4" fmla="*/ 64857 h 64857"/>
                  <a:gd name="connsiteX5" fmla="*/ 32429 w 64857"/>
                  <a:gd name="connsiteY5" fmla="*/ 12957 h 64857"/>
                  <a:gd name="connsiteX6" fmla="*/ 12957 w 64857"/>
                  <a:gd name="connsiteY6" fmla="*/ 32429 h 64857"/>
                  <a:gd name="connsiteX7" fmla="*/ 32429 w 64857"/>
                  <a:gd name="connsiteY7" fmla="*/ 51901 h 64857"/>
                  <a:gd name="connsiteX8" fmla="*/ 51901 w 64857"/>
                  <a:gd name="connsiteY8" fmla="*/ 32429 h 64857"/>
                  <a:gd name="connsiteX9" fmla="*/ 32429 w 64857"/>
                  <a:gd name="connsiteY9" fmla="*/ 12957 h 6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57" h="64857">
                    <a:moveTo>
                      <a:pt x="32429" y="64857"/>
                    </a:moveTo>
                    <a:cubicBezTo>
                      <a:pt x="14536" y="64857"/>
                      <a:pt x="0" y="50296"/>
                      <a:pt x="0" y="32429"/>
                    </a:cubicBezTo>
                    <a:cubicBezTo>
                      <a:pt x="0" y="14536"/>
                      <a:pt x="14561" y="0"/>
                      <a:pt x="32429" y="0"/>
                    </a:cubicBezTo>
                    <a:cubicBezTo>
                      <a:pt x="50296" y="0"/>
                      <a:pt x="64857" y="14561"/>
                      <a:pt x="64857" y="32429"/>
                    </a:cubicBezTo>
                    <a:cubicBezTo>
                      <a:pt x="64882" y="50296"/>
                      <a:pt x="50321" y="64857"/>
                      <a:pt x="32429" y="64857"/>
                    </a:cubicBezTo>
                    <a:close/>
                    <a:moveTo>
                      <a:pt x="32429" y="12957"/>
                    </a:moveTo>
                    <a:cubicBezTo>
                      <a:pt x="21693" y="12957"/>
                      <a:pt x="12957" y="21693"/>
                      <a:pt x="12957" y="32429"/>
                    </a:cubicBezTo>
                    <a:cubicBezTo>
                      <a:pt x="12957" y="43164"/>
                      <a:pt x="21693" y="51901"/>
                      <a:pt x="32429" y="51901"/>
                    </a:cubicBezTo>
                    <a:cubicBezTo>
                      <a:pt x="43164" y="51901"/>
                      <a:pt x="51901" y="43164"/>
                      <a:pt x="51901" y="32429"/>
                    </a:cubicBezTo>
                    <a:cubicBezTo>
                      <a:pt x="51901" y="21693"/>
                      <a:pt x="43164" y="12957"/>
                      <a:pt x="32429" y="12957"/>
                    </a:cubicBezTo>
                    <a:close/>
                  </a:path>
                </a:pathLst>
              </a:custGeom>
              <a:grpFill/>
              <a:ln w="2466" cap="flat">
                <a:noFill/>
                <a:prstDash val="solid"/>
                <a:miter/>
              </a:ln>
            </p:spPr>
            <p:txBody>
              <a:bodyPr rtlCol="0" anchor="ctr"/>
              <a:lstStyle/>
              <a:p>
                <a:endParaRPr lang="en-GB" dirty="0"/>
              </a:p>
            </p:txBody>
          </p:sp>
        </p:grpSp>
      </p:grpSp>
      <p:grpSp>
        <p:nvGrpSpPr>
          <p:cNvPr id="76" name="Group 75">
            <a:extLst>
              <a:ext uri="{FF2B5EF4-FFF2-40B4-BE49-F238E27FC236}">
                <a16:creationId xmlns:a16="http://schemas.microsoft.com/office/drawing/2014/main" id="{B754E13C-3A8C-4193-8C50-143BC0CAA628}"/>
              </a:ext>
            </a:extLst>
          </p:cNvPr>
          <p:cNvGrpSpPr>
            <a:grpSpLocks noChangeAspect="1"/>
          </p:cNvGrpSpPr>
          <p:nvPr/>
        </p:nvGrpSpPr>
        <p:grpSpPr>
          <a:xfrm>
            <a:off x="3752200" y="1585983"/>
            <a:ext cx="410305" cy="432005"/>
            <a:chOff x="1729930" y="3297198"/>
            <a:chExt cx="454148" cy="478166"/>
          </a:xfrm>
        </p:grpSpPr>
        <p:grpSp>
          <p:nvGrpSpPr>
            <p:cNvPr id="77" name="Group 76">
              <a:extLst>
                <a:ext uri="{FF2B5EF4-FFF2-40B4-BE49-F238E27FC236}">
                  <a16:creationId xmlns:a16="http://schemas.microsoft.com/office/drawing/2014/main" id="{3EBC0776-156A-47D3-B17E-C3F6CB42C5A0}"/>
                </a:ext>
              </a:extLst>
            </p:cNvPr>
            <p:cNvGrpSpPr/>
            <p:nvPr/>
          </p:nvGrpSpPr>
          <p:grpSpPr>
            <a:xfrm>
              <a:off x="1858424" y="3297198"/>
              <a:ext cx="196476" cy="185143"/>
              <a:chOff x="1858424" y="3297203"/>
              <a:chExt cx="196476" cy="185143"/>
            </a:xfrm>
          </p:grpSpPr>
          <p:sp>
            <p:nvSpPr>
              <p:cNvPr id="85" name="Freihandform: Form 256">
                <a:extLst>
                  <a:ext uri="{FF2B5EF4-FFF2-40B4-BE49-F238E27FC236}">
                    <a16:creationId xmlns:a16="http://schemas.microsoft.com/office/drawing/2014/main" id="{008C9248-B8B3-47D3-A44C-823608716525}"/>
                  </a:ext>
                </a:extLst>
              </p:cNvPr>
              <p:cNvSpPr/>
              <p:nvPr/>
            </p:nvSpPr>
            <p:spPr>
              <a:xfrm>
                <a:off x="1859100" y="3297203"/>
                <a:ext cx="191822" cy="170682"/>
              </a:xfrm>
              <a:custGeom>
                <a:avLst/>
                <a:gdLst>
                  <a:gd name="connsiteX0" fmla="*/ 93917 w 191822"/>
                  <a:gd name="connsiteY0" fmla="*/ 170682 h 170682"/>
                  <a:gd name="connsiteX1" fmla="*/ 91844 w 191822"/>
                  <a:gd name="connsiteY1" fmla="*/ 170337 h 170682"/>
                  <a:gd name="connsiteX2" fmla="*/ 4405 w 191822"/>
                  <a:gd name="connsiteY2" fmla="*/ 140771 h 170682"/>
                  <a:gd name="connsiteX3" fmla="*/ 333 w 191822"/>
                  <a:gd name="connsiteY3" fmla="*/ 136674 h 170682"/>
                  <a:gd name="connsiteX4" fmla="*/ 1123 w 191822"/>
                  <a:gd name="connsiteY4" fmla="*/ 130949 h 170682"/>
                  <a:gd name="connsiteX5" fmla="*/ 88562 w 191822"/>
                  <a:gd name="connsiteY5" fmla="*/ 2838 h 170682"/>
                  <a:gd name="connsiteX6" fmla="*/ 93843 w 191822"/>
                  <a:gd name="connsiteY6" fmla="*/ 0 h 170682"/>
                  <a:gd name="connsiteX7" fmla="*/ 99199 w 191822"/>
                  <a:gd name="connsiteY7" fmla="*/ 2715 h 170682"/>
                  <a:gd name="connsiteX8" fmla="*/ 190611 w 191822"/>
                  <a:gd name="connsiteY8" fmla="*/ 130825 h 170682"/>
                  <a:gd name="connsiteX9" fmla="*/ 191499 w 191822"/>
                  <a:gd name="connsiteY9" fmla="*/ 136625 h 170682"/>
                  <a:gd name="connsiteX10" fmla="*/ 187328 w 191822"/>
                  <a:gd name="connsiteY10" fmla="*/ 140771 h 170682"/>
                  <a:gd name="connsiteX11" fmla="*/ 95916 w 191822"/>
                  <a:gd name="connsiteY11" fmla="*/ 170337 h 170682"/>
                  <a:gd name="connsiteX12" fmla="*/ 93917 w 191822"/>
                  <a:gd name="connsiteY12" fmla="*/ 170682 h 170682"/>
                  <a:gd name="connsiteX13" fmla="*/ 16646 w 191822"/>
                  <a:gd name="connsiteY13" fmla="*/ 131220 h 170682"/>
                  <a:gd name="connsiteX14" fmla="*/ 93942 w 191822"/>
                  <a:gd name="connsiteY14" fmla="*/ 157355 h 170682"/>
                  <a:gd name="connsiteX15" fmla="*/ 174890 w 191822"/>
                  <a:gd name="connsiteY15" fmla="*/ 131171 h 170682"/>
                  <a:gd name="connsiteX16" fmla="*/ 94016 w 191822"/>
                  <a:gd name="connsiteY16" fmla="*/ 17844 h 170682"/>
                  <a:gd name="connsiteX17" fmla="*/ 16646 w 191822"/>
                  <a:gd name="connsiteY17" fmla="*/ 131220 h 170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1822" h="170682">
                    <a:moveTo>
                      <a:pt x="93917" y="170682"/>
                    </a:moveTo>
                    <a:cubicBezTo>
                      <a:pt x="93226" y="170682"/>
                      <a:pt x="92510" y="170559"/>
                      <a:pt x="91844" y="170337"/>
                    </a:cubicBezTo>
                    <a:lnTo>
                      <a:pt x="4405" y="140771"/>
                    </a:lnTo>
                    <a:cubicBezTo>
                      <a:pt x="2480" y="140129"/>
                      <a:pt x="975" y="138599"/>
                      <a:pt x="333" y="136674"/>
                    </a:cubicBezTo>
                    <a:cubicBezTo>
                      <a:pt x="-308" y="134749"/>
                      <a:pt x="-12" y="132627"/>
                      <a:pt x="1123" y="130949"/>
                    </a:cubicBezTo>
                    <a:lnTo>
                      <a:pt x="88562" y="2838"/>
                    </a:lnTo>
                    <a:cubicBezTo>
                      <a:pt x="89771" y="1086"/>
                      <a:pt x="91745" y="25"/>
                      <a:pt x="93843" y="0"/>
                    </a:cubicBezTo>
                    <a:cubicBezTo>
                      <a:pt x="95842" y="-24"/>
                      <a:pt x="97965" y="988"/>
                      <a:pt x="99199" y="2715"/>
                    </a:cubicBezTo>
                    <a:lnTo>
                      <a:pt x="190611" y="130825"/>
                    </a:lnTo>
                    <a:cubicBezTo>
                      <a:pt x="191820" y="132503"/>
                      <a:pt x="192141" y="134675"/>
                      <a:pt x="191499" y="136625"/>
                    </a:cubicBezTo>
                    <a:cubicBezTo>
                      <a:pt x="190857" y="138599"/>
                      <a:pt x="189303" y="140129"/>
                      <a:pt x="187328" y="140771"/>
                    </a:cubicBezTo>
                    <a:lnTo>
                      <a:pt x="95916" y="170337"/>
                    </a:lnTo>
                    <a:cubicBezTo>
                      <a:pt x="95250" y="170584"/>
                      <a:pt x="94584" y="170682"/>
                      <a:pt x="93917" y="170682"/>
                    </a:cubicBezTo>
                    <a:close/>
                    <a:moveTo>
                      <a:pt x="16646" y="131220"/>
                    </a:moveTo>
                    <a:lnTo>
                      <a:pt x="93942" y="157355"/>
                    </a:lnTo>
                    <a:lnTo>
                      <a:pt x="174890" y="131171"/>
                    </a:lnTo>
                    <a:lnTo>
                      <a:pt x="94016" y="17844"/>
                    </a:lnTo>
                    <a:lnTo>
                      <a:pt x="16646" y="131220"/>
                    </a:lnTo>
                    <a:close/>
                  </a:path>
                </a:pathLst>
              </a:custGeom>
              <a:solidFill>
                <a:schemeClr val="accent1"/>
              </a:solidFill>
              <a:ln w="2466" cap="flat">
                <a:noFill/>
                <a:prstDash val="solid"/>
                <a:miter/>
              </a:ln>
            </p:spPr>
            <p:txBody>
              <a:bodyPr rtlCol="0" anchor="ctr"/>
              <a:lstStyle/>
              <a:p>
                <a:endParaRPr lang="en-GB" dirty="0"/>
              </a:p>
            </p:txBody>
          </p:sp>
          <p:sp>
            <p:nvSpPr>
              <p:cNvPr id="86" name="Freihandform: Form 261">
                <a:extLst>
                  <a:ext uri="{FF2B5EF4-FFF2-40B4-BE49-F238E27FC236}">
                    <a16:creationId xmlns:a16="http://schemas.microsoft.com/office/drawing/2014/main" id="{5AFC2353-34A5-4278-A0AD-3FB33DF410C9}"/>
                  </a:ext>
                </a:extLst>
              </p:cNvPr>
              <p:cNvSpPr/>
              <p:nvPr/>
            </p:nvSpPr>
            <p:spPr>
              <a:xfrm>
                <a:off x="1946527" y="3301177"/>
                <a:ext cx="12981" cy="166708"/>
              </a:xfrm>
              <a:custGeom>
                <a:avLst/>
                <a:gdLst>
                  <a:gd name="connsiteX0" fmla="*/ 6491 w 12981"/>
                  <a:gd name="connsiteY0" fmla="*/ 166709 h 166708"/>
                  <a:gd name="connsiteX1" fmla="*/ 0 w 12981"/>
                  <a:gd name="connsiteY1" fmla="*/ 160218 h 166708"/>
                  <a:gd name="connsiteX2" fmla="*/ 0 w 12981"/>
                  <a:gd name="connsiteY2" fmla="*/ 6491 h 166708"/>
                  <a:gd name="connsiteX3" fmla="*/ 6491 w 12981"/>
                  <a:gd name="connsiteY3" fmla="*/ 0 h 166708"/>
                  <a:gd name="connsiteX4" fmla="*/ 12981 w 12981"/>
                  <a:gd name="connsiteY4" fmla="*/ 6491 h 166708"/>
                  <a:gd name="connsiteX5" fmla="*/ 12981 w 12981"/>
                  <a:gd name="connsiteY5" fmla="*/ 160218 h 166708"/>
                  <a:gd name="connsiteX6" fmla="*/ 6491 w 12981"/>
                  <a:gd name="connsiteY6" fmla="*/ 166709 h 16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81" h="166708">
                    <a:moveTo>
                      <a:pt x="6491" y="166709"/>
                    </a:moveTo>
                    <a:cubicBezTo>
                      <a:pt x="2912" y="166709"/>
                      <a:pt x="0" y="163796"/>
                      <a:pt x="0" y="160218"/>
                    </a:cubicBezTo>
                    <a:lnTo>
                      <a:pt x="0" y="6491"/>
                    </a:lnTo>
                    <a:cubicBezTo>
                      <a:pt x="0" y="2912"/>
                      <a:pt x="2912" y="0"/>
                      <a:pt x="6491" y="0"/>
                    </a:cubicBezTo>
                    <a:cubicBezTo>
                      <a:pt x="10069" y="0"/>
                      <a:pt x="12981" y="2912"/>
                      <a:pt x="12981" y="6491"/>
                    </a:cubicBezTo>
                    <a:lnTo>
                      <a:pt x="12981" y="160218"/>
                    </a:lnTo>
                    <a:cubicBezTo>
                      <a:pt x="12981" y="163821"/>
                      <a:pt x="10069" y="166709"/>
                      <a:pt x="6491" y="166709"/>
                    </a:cubicBezTo>
                    <a:close/>
                  </a:path>
                </a:pathLst>
              </a:custGeom>
              <a:solidFill>
                <a:schemeClr val="accent1"/>
              </a:solidFill>
              <a:ln w="2466" cap="flat">
                <a:noFill/>
                <a:prstDash val="solid"/>
                <a:miter/>
              </a:ln>
            </p:spPr>
            <p:txBody>
              <a:bodyPr rtlCol="0" anchor="ctr"/>
              <a:lstStyle/>
              <a:p>
                <a:endParaRPr lang="en-GB" dirty="0"/>
              </a:p>
            </p:txBody>
          </p:sp>
          <p:sp>
            <p:nvSpPr>
              <p:cNvPr id="87" name="Freihandform: Form 262">
                <a:extLst>
                  <a:ext uri="{FF2B5EF4-FFF2-40B4-BE49-F238E27FC236}">
                    <a16:creationId xmlns:a16="http://schemas.microsoft.com/office/drawing/2014/main" id="{67DCEE7D-8A25-4595-A75F-F9F60CEF879D}"/>
                  </a:ext>
                </a:extLst>
              </p:cNvPr>
              <p:cNvSpPr/>
              <p:nvPr/>
            </p:nvSpPr>
            <p:spPr>
              <a:xfrm>
                <a:off x="1858424" y="3456499"/>
                <a:ext cx="42765" cy="25847"/>
              </a:xfrm>
              <a:custGeom>
                <a:avLst/>
                <a:gdLst>
                  <a:gd name="connsiteX0" fmla="*/ 6489 w 42765"/>
                  <a:gd name="connsiteY0" fmla="*/ 25848 h 25847"/>
                  <a:gd name="connsiteX1" fmla="*/ 541 w 42765"/>
                  <a:gd name="connsiteY1" fmla="*/ 21948 h 25847"/>
                  <a:gd name="connsiteX2" fmla="*/ 3922 w 42765"/>
                  <a:gd name="connsiteY2" fmla="*/ 13410 h 25847"/>
                  <a:gd name="connsiteX3" fmla="*/ 33685 w 42765"/>
                  <a:gd name="connsiteY3" fmla="*/ 527 h 25847"/>
                  <a:gd name="connsiteX4" fmla="*/ 42224 w 42765"/>
                  <a:gd name="connsiteY4" fmla="*/ 3908 h 25847"/>
                  <a:gd name="connsiteX5" fmla="*/ 38843 w 42765"/>
                  <a:gd name="connsiteY5" fmla="*/ 12447 h 25847"/>
                  <a:gd name="connsiteX6" fmla="*/ 9080 w 42765"/>
                  <a:gd name="connsiteY6" fmla="*/ 25330 h 25847"/>
                  <a:gd name="connsiteX7" fmla="*/ 6489 w 42765"/>
                  <a:gd name="connsiteY7" fmla="*/ 25848 h 2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65" h="25847">
                    <a:moveTo>
                      <a:pt x="6489" y="25848"/>
                    </a:moveTo>
                    <a:cubicBezTo>
                      <a:pt x="3971" y="25848"/>
                      <a:pt x="1602" y="24392"/>
                      <a:pt x="541" y="21948"/>
                    </a:cubicBezTo>
                    <a:cubicBezTo>
                      <a:pt x="-890" y="18666"/>
                      <a:pt x="615" y="14841"/>
                      <a:pt x="3922" y="13410"/>
                    </a:cubicBezTo>
                    <a:lnTo>
                      <a:pt x="33685" y="527"/>
                    </a:lnTo>
                    <a:cubicBezTo>
                      <a:pt x="36968" y="-880"/>
                      <a:pt x="40793" y="626"/>
                      <a:pt x="42224" y="3908"/>
                    </a:cubicBezTo>
                    <a:cubicBezTo>
                      <a:pt x="43656" y="7190"/>
                      <a:pt x="42150" y="11016"/>
                      <a:pt x="38843" y="12447"/>
                    </a:cubicBezTo>
                    <a:lnTo>
                      <a:pt x="9080" y="25330"/>
                    </a:lnTo>
                    <a:cubicBezTo>
                      <a:pt x="8216" y="25675"/>
                      <a:pt x="7352" y="25848"/>
                      <a:pt x="6489" y="25848"/>
                    </a:cubicBezTo>
                    <a:close/>
                  </a:path>
                </a:pathLst>
              </a:custGeom>
              <a:solidFill>
                <a:schemeClr val="tx2"/>
              </a:solidFill>
              <a:ln w="2466" cap="flat">
                <a:noFill/>
                <a:prstDash val="solid"/>
                <a:miter/>
              </a:ln>
            </p:spPr>
            <p:txBody>
              <a:bodyPr rtlCol="0" anchor="ctr"/>
              <a:lstStyle/>
              <a:p>
                <a:endParaRPr lang="en-GB" dirty="0"/>
              </a:p>
            </p:txBody>
          </p:sp>
          <p:sp>
            <p:nvSpPr>
              <p:cNvPr id="88" name="Freihandform: Form 263">
                <a:extLst>
                  <a:ext uri="{FF2B5EF4-FFF2-40B4-BE49-F238E27FC236}">
                    <a16:creationId xmlns:a16="http://schemas.microsoft.com/office/drawing/2014/main" id="{7BD9EF7C-96C7-418E-BFA8-7E9DC79699FA}"/>
                  </a:ext>
                </a:extLst>
              </p:cNvPr>
              <p:cNvSpPr/>
              <p:nvPr/>
            </p:nvSpPr>
            <p:spPr>
              <a:xfrm>
                <a:off x="2010069" y="3453604"/>
                <a:ext cx="44831" cy="24794"/>
              </a:xfrm>
              <a:custGeom>
                <a:avLst/>
                <a:gdLst>
                  <a:gd name="connsiteX0" fmla="*/ 38334 w 44831"/>
                  <a:gd name="connsiteY0" fmla="*/ 24795 h 24794"/>
                  <a:gd name="connsiteX1" fmla="*/ 36088 w 44831"/>
                  <a:gd name="connsiteY1" fmla="*/ 24400 h 24794"/>
                  <a:gd name="connsiteX2" fmla="*/ 4227 w 44831"/>
                  <a:gd name="connsiteY2" fmla="*/ 12578 h 24794"/>
                  <a:gd name="connsiteX3" fmla="*/ 402 w 44831"/>
                  <a:gd name="connsiteY3" fmla="*/ 4237 h 24794"/>
                  <a:gd name="connsiteX4" fmla="*/ 8743 w 44831"/>
                  <a:gd name="connsiteY4" fmla="*/ 412 h 24794"/>
                  <a:gd name="connsiteX5" fmla="*/ 40604 w 44831"/>
                  <a:gd name="connsiteY5" fmla="*/ 12208 h 24794"/>
                  <a:gd name="connsiteX6" fmla="*/ 44429 w 44831"/>
                  <a:gd name="connsiteY6" fmla="*/ 20550 h 24794"/>
                  <a:gd name="connsiteX7" fmla="*/ 38334 w 44831"/>
                  <a:gd name="connsiteY7" fmla="*/ 24795 h 24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31" h="24794">
                    <a:moveTo>
                      <a:pt x="38334" y="24795"/>
                    </a:moveTo>
                    <a:cubicBezTo>
                      <a:pt x="37593" y="24795"/>
                      <a:pt x="36828" y="24671"/>
                      <a:pt x="36088" y="24400"/>
                    </a:cubicBezTo>
                    <a:lnTo>
                      <a:pt x="4227" y="12578"/>
                    </a:lnTo>
                    <a:cubicBezTo>
                      <a:pt x="871" y="11345"/>
                      <a:pt x="-832" y="7593"/>
                      <a:pt x="402" y="4237"/>
                    </a:cubicBezTo>
                    <a:cubicBezTo>
                      <a:pt x="1636" y="881"/>
                      <a:pt x="5387" y="-847"/>
                      <a:pt x="8743" y="412"/>
                    </a:cubicBezTo>
                    <a:lnTo>
                      <a:pt x="40604" y="12208"/>
                    </a:lnTo>
                    <a:cubicBezTo>
                      <a:pt x="43961" y="13442"/>
                      <a:pt x="45663" y="17193"/>
                      <a:pt x="44429" y="20550"/>
                    </a:cubicBezTo>
                    <a:cubicBezTo>
                      <a:pt x="43442" y="23191"/>
                      <a:pt x="40974" y="24795"/>
                      <a:pt x="38334" y="24795"/>
                    </a:cubicBezTo>
                    <a:close/>
                  </a:path>
                </a:pathLst>
              </a:custGeom>
              <a:solidFill>
                <a:schemeClr val="tx2"/>
              </a:solidFill>
              <a:ln w="2466" cap="flat">
                <a:noFill/>
                <a:prstDash val="solid"/>
                <a:miter/>
              </a:ln>
            </p:spPr>
            <p:txBody>
              <a:bodyPr rtlCol="0" anchor="ctr"/>
              <a:lstStyle/>
              <a:p>
                <a:endParaRPr lang="en-GB" dirty="0"/>
              </a:p>
            </p:txBody>
          </p:sp>
        </p:grpSp>
        <p:grpSp>
          <p:nvGrpSpPr>
            <p:cNvPr id="78" name="Group 77">
              <a:extLst>
                <a:ext uri="{FF2B5EF4-FFF2-40B4-BE49-F238E27FC236}">
                  <a16:creationId xmlns:a16="http://schemas.microsoft.com/office/drawing/2014/main" id="{B80017ED-20B7-4CCC-850E-FAACB0D957A7}"/>
                </a:ext>
              </a:extLst>
            </p:cNvPr>
            <p:cNvGrpSpPr/>
            <p:nvPr/>
          </p:nvGrpSpPr>
          <p:grpSpPr>
            <a:xfrm>
              <a:off x="1729930" y="3465432"/>
              <a:ext cx="454148" cy="309932"/>
              <a:chOff x="1729930" y="3465431"/>
              <a:chExt cx="454148" cy="309933"/>
            </a:xfrm>
          </p:grpSpPr>
          <p:sp>
            <p:nvSpPr>
              <p:cNvPr id="79" name="Freihandform: Form 257">
                <a:extLst>
                  <a:ext uri="{FF2B5EF4-FFF2-40B4-BE49-F238E27FC236}">
                    <a16:creationId xmlns:a16="http://schemas.microsoft.com/office/drawing/2014/main" id="{D5E13CB7-218F-4647-AD5E-77882B0606BF}"/>
                  </a:ext>
                </a:extLst>
              </p:cNvPr>
              <p:cNvSpPr/>
              <p:nvPr/>
            </p:nvSpPr>
            <p:spPr>
              <a:xfrm>
                <a:off x="1795478" y="3465431"/>
                <a:ext cx="319702" cy="156206"/>
              </a:xfrm>
              <a:custGeom>
                <a:avLst/>
                <a:gdLst>
                  <a:gd name="connsiteX0" fmla="*/ 157540 w 319702"/>
                  <a:gd name="connsiteY0" fmla="*/ 156206 h 156206"/>
                  <a:gd name="connsiteX1" fmla="*/ 155590 w 319702"/>
                  <a:gd name="connsiteY1" fmla="*/ 155910 h 156206"/>
                  <a:gd name="connsiteX2" fmla="*/ 4553 w 319702"/>
                  <a:gd name="connsiteY2" fmla="*/ 108600 h 156206"/>
                  <a:gd name="connsiteX3" fmla="*/ 357 w 319702"/>
                  <a:gd name="connsiteY3" fmla="*/ 104528 h 156206"/>
                  <a:gd name="connsiteX4" fmla="*/ 1122 w 319702"/>
                  <a:gd name="connsiteY4" fmla="*/ 98753 h 156206"/>
                  <a:gd name="connsiteX5" fmla="*/ 64055 w 319702"/>
                  <a:gd name="connsiteY5" fmla="*/ 6773 h 156206"/>
                  <a:gd name="connsiteX6" fmla="*/ 71384 w 319702"/>
                  <a:gd name="connsiteY6" fmla="*/ 4256 h 156206"/>
                  <a:gd name="connsiteX7" fmla="*/ 158107 w 319702"/>
                  <a:gd name="connsiteY7" fmla="*/ 31872 h 156206"/>
                  <a:gd name="connsiteX8" fmla="*/ 250827 w 319702"/>
                  <a:gd name="connsiteY8" fmla="*/ 332 h 156206"/>
                  <a:gd name="connsiteX9" fmla="*/ 258305 w 319702"/>
                  <a:gd name="connsiteY9" fmla="*/ 2849 h 156206"/>
                  <a:gd name="connsiteX10" fmla="*/ 318597 w 319702"/>
                  <a:gd name="connsiteY10" fmla="*/ 92213 h 156206"/>
                  <a:gd name="connsiteX11" fmla="*/ 319362 w 319702"/>
                  <a:gd name="connsiteY11" fmla="*/ 97889 h 156206"/>
                  <a:gd name="connsiteX12" fmla="*/ 315339 w 319702"/>
                  <a:gd name="connsiteY12" fmla="*/ 101961 h 156206"/>
                  <a:gd name="connsiteX13" fmla="*/ 159662 w 319702"/>
                  <a:gd name="connsiteY13" fmla="*/ 155836 h 156206"/>
                  <a:gd name="connsiteX14" fmla="*/ 157540 w 319702"/>
                  <a:gd name="connsiteY14" fmla="*/ 156206 h 156206"/>
                  <a:gd name="connsiteX15" fmla="*/ 16794 w 319702"/>
                  <a:gd name="connsiteY15" fmla="*/ 98827 h 156206"/>
                  <a:gd name="connsiteX16" fmla="*/ 157416 w 319702"/>
                  <a:gd name="connsiteY16" fmla="*/ 142880 h 156206"/>
                  <a:gd name="connsiteX17" fmla="*/ 303098 w 319702"/>
                  <a:gd name="connsiteY17" fmla="*/ 92460 h 156206"/>
                  <a:gd name="connsiteX18" fmla="*/ 250309 w 319702"/>
                  <a:gd name="connsiteY18" fmla="*/ 14202 h 156206"/>
                  <a:gd name="connsiteX19" fmla="*/ 160279 w 319702"/>
                  <a:gd name="connsiteY19" fmla="*/ 44804 h 156206"/>
                  <a:gd name="connsiteX20" fmla="*/ 156232 w 319702"/>
                  <a:gd name="connsiteY20" fmla="*/ 44854 h 156206"/>
                  <a:gd name="connsiteX21" fmla="*/ 72075 w 319702"/>
                  <a:gd name="connsiteY21" fmla="*/ 18077 h 156206"/>
                  <a:gd name="connsiteX22" fmla="*/ 16794 w 319702"/>
                  <a:gd name="connsiteY22" fmla="*/ 98827 h 156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9702" h="156206">
                    <a:moveTo>
                      <a:pt x="157540" y="156206"/>
                    </a:moveTo>
                    <a:cubicBezTo>
                      <a:pt x="156898" y="156206"/>
                      <a:pt x="156232" y="156108"/>
                      <a:pt x="155590" y="155910"/>
                    </a:cubicBezTo>
                    <a:lnTo>
                      <a:pt x="4553" y="108600"/>
                    </a:lnTo>
                    <a:cubicBezTo>
                      <a:pt x="2578" y="107983"/>
                      <a:pt x="1048" y="106478"/>
                      <a:pt x="357" y="104528"/>
                    </a:cubicBezTo>
                    <a:cubicBezTo>
                      <a:pt x="-309" y="102578"/>
                      <a:pt x="-38" y="100431"/>
                      <a:pt x="1122" y="98753"/>
                    </a:cubicBezTo>
                    <a:lnTo>
                      <a:pt x="64055" y="6773"/>
                    </a:lnTo>
                    <a:cubicBezTo>
                      <a:pt x="65683" y="4404"/>
                      <a:pt x="68670" y="3417"/>
                      <a:pt x="71384" y="4256"/>
                    </a:cubicBezTo>
                    <a:lnTo>
                      <a:pt x="158107" y="31872"/>
                    </a:lnTo>
                    <a:lnTo>
                      <a:pt x="250827" y="332"/>
                    </a:lnTo>
                    <a:cubicBezTo>
                      <a:pt x="253591" y="-581"/>
                      <a:pt x="256652" y="431"/>
                      <a:pt x="258305" y="2849"/>
                    </a:cubicBezTo>
                    <a:lnTo>
                      <a:pt x="318597" y="92213"/>
                    </a:lnTo>
                    <a:cubicBezTo>
                      <a:pt x="319732" y="93891"/>
                      <a:pt x="320003" y="95989"/>
                      <a:pt x="319362" y="97889"/>
                    </a:cubicBezTo>
                    <a:cubicBezTo>
                      <a:pt x="318720" y="99814"/>
                      <a:pt x="317239" y="101320"/>
                      <a:pt x="315339" y="101961"/>
                    </a:cubicBezTo>
                    <a:lnTo>
                      <a:pt x="159662" y="155836"/>
                    </a:lnTo>
                    <a:cubicBezTo>
                      <a:pt x="158971" y="156083"/>
                      <a:pt x="158255" y="156206"/>
                      <a:pt x="157540" y="156206"/>
                    </a:cubicBezTo>
                    <a:close/>
                    <a:moveTo>
                      <a:pt x="16794" y="98827"/>
                    </a:moveTo>
                    <a:lnTo>
                      <a:pt x="157416" y="142880"/>
                    </a:lnTo>
                    <a:lnTo>
                      <a:pt x="303098" y="92460"/>
                    </a:lnTo>
                    <a:lnTo>
                      <a:pt x="250309" y="14202"/>
                    </a:lnTo>
                    <a:lnTo>
                      <a:pt x="160279" y="44804"/>
                    </a:lnTo>
                    <a:cubicBezTo>
                      <a:pt x="158971" y="45248"/>
                      <a:pt x="157540" y="45248"/>
                      <a:pt x="156232" y="44854"/>
                    </a:cubicBezTo>
                    <a:lnTo>
                      <a:pt x="72075" y="18077"/>
                    </a:lnTo>
                    <a:lnTo>
                      <a:pt x="16794" y="98827"/>
                    </a:lnTo>
                    <a:close/>
                  </a:path>
                </a:pathLst>
              </a:custGeom>
              <a:solidFill>
                <a:schemeClr val="tx2"/>
              </a:solidFill>
              <a:ln w="2466" cap="flat">
                <a:noFill/>
                <a:prstDash val="solid"/>
                <a:miter/>
              </a:ln>
            </p:spPr>
            <p:txBody>
              <a:bodyPr rtlCol="0" anchor="ctr"/>
              <a:lstStyle/>
              <a:p>
                <a:endParaRPr lang="en-GB" dirty="0"/>
              </a:p>
            </p:txBody>
          </p:sp>
          <p:sp>
            <p:nvSpPr>
              <p:cNvPr id="80" name="Freihandform: Form 258">
                <a:extLst>
                  <a:ext uri="{FF2B5EF4-FFF2-40B4-BE49-F238E27FC236}">
                    <a16:creationId xmlns:a16="http://schemas.microsoft.com/office/drawing/2014/main" id="{2877F3EC-9E19-42AC-8936-B7358BD76CE6}"/>
                  </a:ext>
                </a:extLst>
              </p:cNvPr>
              <p:cNvSpPr/>
              <p:nvPr/>
            </p:nvSpPr>
            <p:spPr>
              <a:xfrm>
                <a:off x="1729930" y="3600092"/>
                <a:ext cx="454148" cy="175272"/>
              </a:xfrm>
              <a:custGeom>
                <a:avLst/>
                <a:gdLst>
                  <a:gd name="connsiteX0" fmla="*/ 223088 w 454148"/>
                  <a:gd name="connsiteY0" fmla="*/ 175272 h 175272"/>
                  <a:gd name="connsiteX1" fmla="*/ 221089 w 454148"/>
                  <a:gd name="connsiteY1" fmla="*/ 174951 h 175272"/>
                  <a:gd name="connsiteX2" fmla="*/ 4479 w 454148"/>
                  <a:gd name="connsiteY2" fmla="*/ 104640 h 175272"/>
                  <a:gd name="connsiteX3" fmla="*/ 357 w 454148"/>
                  <a:gd name="connsiteY3" fmla="*/ 100593 h 175272"/>
                  <a:gd name="connsiteX4" fmla="*/ 1122 w 454148"/>
                  <a:gd name="connsiteY4" fmla="*/ 94842 h 175272"/>
                  <a:gd name="connsiteX5" fmla="*/ 62722 w 454148"/>
                  <a:gd name="connsiteY5" fmla="*/ 3529 h 175272"/>
                  <a:gd name="connsiteX6" fmla="*/ 70027 w 454148"/>
                  <a:gd name="connsiteY6" fmla="*/ 963 h 175272"/>
                  <a:gd name="connsiteX7" fmla="*/ 223088 w 454148"/>
                  <a:gd name="connsiteY7" fmla="*/ 48643 h 175272"/>
                  <a:gd name="connsiteX8" fmla="*/ 376815 w 454148"/>
                  <a:gd name="connsiteY8" fmla="*/ 296 h 175272"/>
                  <a:gd name="connsiteX9" fmla="*/ 384046 w 454148"/>
                  <a:gd name="connsiteY9" fmla="*/ 2715 h 175272"/>
                  <a:gd name="connsiteX10" fmla="*/ 452951 w 454148"/>
                  <a:gd name="connsiteY10" fmla="*/ 99285 h 175272"/>
                  <a:gd name="connsiteX11" fmla="*/ 453790 w 454148"/>
                  <a:gd name="connsiteY11" fmla="*/ 105183 h 175272"/>
                  <a:gd name="connsiteX12" fmla="*/ 449471 w 454148"/>
                  <a:gd name="connsiteY12" fmla="*/ 109280 h 175272"/>
                  <a:gd name="connsiteX13" fmla="*/ 224914 w 454148"/>
                  <a:gd name="connsiteY13" fmla="*/ 174976 h 175272"/>
                  <a:gd name="connsiteX14" fmla="*/ 223088 w 454148"/>
                  <a:gd name="connsiteY14" fmla="*/ 175272 h 175272"/>
                  <a:gd name="connsiteX15" fmla="*/ 16670 w 454148"/>
                  <a:gd name="connsiteY15" fmla="*/ 94966 h 175272"/>
                  <a:gd name="connsiteX16" fmla="*/ 223187 w 454148"/>
                  <a:gd name="connsiteY16" fmla="*/ 161995 h 175272"/>
                  <a:gd name="connsiteX17" fmla="*/ 437057 w 454148"/>
                  <a:gd name="connsiteY17" fmla="*/ 99433 h 175272"/>
                  <a:gd name="connsiteX18" fmla="*/ 376198 w 454148"/>
                  <a:gd name="connsiteY18" fmla="*/ 14116 h 175272"/>
                  <a:gd name="connsiteX19" fmla="*/ 225013 w 454148"/>
                  <a:gd name="connsiteY19" fmla="*/ 61649 h 175272"/>
                  <a:gd name="connsiteX20" fmla="*/ 221138 w 454148"/>
                  <a:gd name="connsiteY20" fmla="*/ 61649 h 175272"/>
                  <a:gd name="connsiteX21" fmla="*/ 70743 w 454148"/>
                  <a:gd name="connsiteY21" fmla="*/ 14783 h 175272"/>
                  <a:gd name="connsiteX22" fmla="*/ 16670 w 454148"/>
                  <a:gd name="connsiteY22" fmla="*/ 94966 h 17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4148" h="175272">
                    <a:moveTo>
                      <a:pt x="223088" y="175272"/>
                    </a:moveTo>
                    <a:cubicBezTo>
                      <a:pt x="222421" y="175272"/>
                      <a:pt x="221730" y="175173"/>
                      <a:pt x="221089" y="174951"/>
                    </a:cubicBezTo>
                    <a:lnTo>
                      <a:pt x="4479" y="104640"/>
                    </a:lnTo>
                    <a:cubicBezTo>
                      <a:pt x="2529" y="104023"/>
                      <a:pt x="999" y="102518"/>
                      <a:pt x="357" y="100593"/>
                    </a:cubicBezTo>
                    <a:cubicBezTo>
                      <a:pt x="-309" y="98668"/>
                      <a:pt x="-38" y="96545"/>
                      <a:pt x="1122" y="94842"/>
                    </a:cubicBezTo>
                    <a:lnTo>
                      <a:pt x="62722" y="3529"/>
                    </a:lnTo>
                    <a:cubicBezTo>
                      <a:pt x="64326" y="1160"/>
                      <a:pt x="67288" y="123"/>
                      <a:pt x="70027" y="963"/>
                    </a:cubicBezTo>
                    <a:lnTo>
                      <a:pt x="223088" y="48643"/>
                    </a:lnTo>
                    <a:lnTo>
                      <a:pt x="376815" y="296"/>
                    </a:lnTo>
                    <a:cubicBezTo>
                      <a:pt x="379480" y="-543"/>
                      <a:pt x="382417" y="444"/>
                      <a:pt x="384046" y="2715"/>
                    </a:cubicBezTo>
                    <a:lnTo>
                      <a:pt x="452951" y="99285"/>
                    </a:lnTo>
                    <a:cubicBezTo>
                      <a:pt x="454160" y="100988"/>
                      <a:pt x="454481" y="103184"/>
                      <a:pt x="453790" y="105183"/>
                    </a:cubicBezTo>
                    <a:cubicBezTo>
                      <a:pt x="453099" y="107157"/>
                      <a:pt x="451495" y="108687"/>
                      <a:pt x="449471" y="109280"/>
                    </a:cubicBezTo>
                    <a:lnTo>
                      <a:pt x="224914" y="174976"/>
                    </a:lnTo>
                    <a:cubicBezTo>
                      <a:pt x="224297" y="175198"/>
                      <a:pt x="223705" y="175272"/>
                      <a:pt x="223088" y="175272"/>
                    </a:cubicBezTo>
                    <a:close/>
                    <a:moveTo>
                      <a:pt x="16670" y="94966"/>
                    </a:moveTo>
                    <a:lnTo>
                      <a:pt x="223187" y="161995"/>
                    </a:lnTo>
                    <a:lnTo>
                      <a:pt x="437057" y="99433"/>
                    </a:lnTo>
                    <a:lnTo>
                      <a:pt x="376198" y="14116"/>
                    </a:lnTo>
                    <a:lnTo>
                      <a:pt x="225013" y="61649"/>
                    </a:lnTo>
                    <a:cubicBezTo>
                      <a:pt x="223754" y="62044"/>
                      <a:pt x="222397" y="62044"/>
                      <a:pt x="221138" y="61649"/>
                    </a:cubicBezTo>
                    <a:lnTo>
                      <a:pt x="70743" y="14783"/>
                    </a:lnTo>
                    <a:lnTo>
                      <a:pt x="16670" y="94966"/>
                    </a:lnTo>
                    <a:close/>
                  </a:path>
                </a:pathLst>
              </a:custGeom>
              <a:solidFill>
                <a:schemeClr val="tx2"/>
              </a:solidFill>
              <a:ln w="2466" cap="flat">
                <a:noFill/>
                <a:prstDash val="solid"/>
                <a:miter/>
              </a:ln>
            </p:spPr>
            <p:txBody>
              <a:bodyPr rtlCol="0" anchor="ctr"/>
              <a:lstStyle/>
              <a:p>
                <a:endParaRPr lang="en-GB" dirty="0"/>
              </a:p>
            </p:txBody>
          </p:sp>
          <p:sp>
            <p:nvSpPr>
              <p:cNvPr id="81" name="Freihandform: Form 259">
                <a:extLst>
                  <a:ext uri="{FF2B5EF4-FFF2-40B4-BE49-F238E27FC236}">
                    <a16:creationId xmlns:a16="http://schemas.microsoft.com/office/drawing/2014/main" id="{E626F0F9-0E22-40F3-A229-10EAF1D935DD}"/>
                  </a:ext>
                </a:extLst>
              </p:cNvPr>
              <p:cNvSpPr/>
              <p:nvPr/>
            </p:nvSpPr>
            <p:spPr>
              <a:xfrm>
                <a:off x="1946527" y="3655546"/>
                <a:ext cx="12981" cy="115301"/>
              </a:xfrm>
              <a:custGeom>
                <a:avLst/>
                <a:gdLst>
                  <a:gd name="connsiteX0" fmla="*/ 0 w 12981"/>
                  <a:gd name="connsiteY0" fmla="*/ 0 h 115301"/>
                  <a:gd name="connsiteX1" fmla="*/ 12981 w 12981"/>
                  <a:gd name="connsiteY1" fmla="*/ 0 h 115301"/>
                  <a:gd name="connsiteX2" fmla="*/ 12981 w 12981"/>
                  <a:gd name="connsiteY2" fmla="*/ 115301 h 115301"/>
                  <a:gd name="connsiteX3" fmla="*/ 0 w 12981"/>
                  <a:gd name="connsiteY3" fmla="*/ 115301 h 115301"/>
                </a:gdLst>
                <a:ahLst/>
                <a:cxnLst>
                  <a:cxn ang="0">
                    <a:pos x="connsiteX0" y="connsiteY0"/>
                  </a:cxn>
                  <a:cxn ang="0">
                    <a:pos x="connsiteX1" y="connsiteY1"/>
                  </a:cxn>
                  <a:cxn ang="0">
                    <a:pos x="connsiteX2" y="connsiteY2"/>
                  </a:cxn>
                  <a:cxn ang="0">
                    <a:pos x="connsiteX3" y="connsiteY3"/>
                  </a:cxn>
                </a:cxnLst>
                <a:rect l="l" t="t" r="r" b="b"/>
                <a:pathLst>
                  <a:path w="12981" h="115301">
                    <a:moveTo>
                      <a:pt x="0" y="0"/>
                    </a:moveTo>
                    <a:lnTo>
                      <a:pt x="12981" y="0"/>
                    </a:lnTo>
                    <a:lnTo>
                      <a:pt x="12981" y="115301"/>
                    </a:lnTo>
                    <a:lnTo>
                      <a:pt x="0" y="115301"/>
                    </a:lnTo>
                    <a:close/>
                  </a:path>
                </a:pathLst>
              </a:custGeom>
              <a:solidFill>
                <a:schemeClr val="tx2"/>
              </a:solidFill>
              <a:ln w="2466" cap="flat">
                <a:noFill/>
                <a:prstDash val="solid"/>
                <a:miter/>
              </a:ln>
            </p:spPr>
            <p:txBody>
              <a:bodyPr rtlCol="0" anchor="ctr"/>
              <a:lstStyle/>
              <a:p>
                <a:endParaRPr lang="en-GB" dirty="0"/>
              </a:p>
            </p:txBody>
          </p:sp>
          <p:sp>
            <p:nvSpPr>
              <p:cNvPr id="82" name="Freihandform: Form 260">
                <a:extLst>
                  <a:ext uri="{FF2B5EF4-FFF2-40B4-BE49-F238E27FC236}">
                    <a16:creationId xmlns:a16="http://schemas.microsoft.com/office/drawing/2014/main" id="{CA4D7C22-D8E9-4077-99B8-AB17409A3664}"/>
                  </a:ext>
                </a:extLst>
              </p:cNvPr>
              <p:cNvSpPr/>
              <p:nvPr/>
            </p:nvSpPr>
            <p:spPr>
              <a:xfrm>
                <a:off x="1946527" y="3505250"/>
                <a:ext cx="12981" cy="107428"/>
              </a:xfrm>
              <a:custGeom>
                <a:avLst/>
                <a:gdLst>
                  <a:gd name="connsiteX0" fmla="*/ 0 w 12981"/>
                  <a:gd name="connsiteY0" fmla="*/ 0 h 107428"/>
                  <a:gd name="connsiteX1" fmla="*/ 12981 w 12981"/>
                  <a:gd name="connsiteY1" fmla="*/ 0 h 107428"/>
                  <a:gd name="connsiteX2" fmla="*/ 12981 w 12981"/>
                  <a:gd name="connsiteY2" fmla="*/ 107429 h 107428"/>
                  <a:gd name="connsiteX3" fmla="*/ 0 w 12981"/>
                  <a:gd name="connsiteY3" fmla="*/ 107429 h 107428"/>
                </a:gdLst>
                <a:ahLst/>
                <a:cxnLst>
                  <a:cxn ang="0">
                    <a:pos x="connsiteX0" y="connsiteY0"/>
                  </a:cxn>
                  <a:cxn ang="0">
                    <a:pos x="connsiteX1" y="connsiteY1"/>
                  </a:cxn>
                  <a:cxn ang="0">
                    <a:pos x="connsiteX2" y="connsiteY2"/>
                  </a:cxn>
                  <a:cxn ang="0">
                    <a:pos x="connsiteX3" y="connsiteY3"/>
                  </a:cxn>
                </a:cxnLst>
                <a:rect l="l" t="t" r="r" b="b"/>
                <a:pathLst>
                  <a:path w="12981" h="107428">
                    <a:moveTo>
                      <a:pt x="0" y="0"/>
                    </a:moveTo>
                    <a:lnTo>
                      <a:pt x="12981" y="0"/>
                    </a:lnTo>
                    <a:lnTo>
                      <a:pt x="12981" y="107429"/>
                    </a:lnTo>
                    <a:lnTo>
                      <a:pt x="0" y="107429"/>
                    </a:lnTo>
                    <a:close/>
                  </a:path>
                </a:pathLst>
              </a:custGeom>
              <a:solidFill>
                <a:schemeClr val="tx2"/>
              </a:solidFill>
              <a:ln w="2466" cap="flat">
                <a:noFill/>
                <a:prstDash val="solid"/>
                <a:miter/>
              </a:ln>
            </p:spPr>
            <p:txBody>
              <a:bodyPr rtlCol="0" anchor="ctr"/>
              <a:lstStyle/>
              <a:p>
                <a:endParaRPr lang="en-GB" dirty="0"/>
              </a:p>
            </p:txBody>
          </p:sp>
          <p:sp>
            <p:nvSpPr>
              <p:cNvPr id="83" name="Freihandform: Form 264">
                <a:extLst>
                  <a:ext uri="{FF2B5EF4-FFF2-40B4-BE49-F238E27FC236}">
                    <a16:creationId xmlns:a16="http://schemas.microsoft.com/office/drawing/2014/main" id="{009249FD-1C5C-4052-AB12-33C337E9C308}"/>
                  </a:ext>
                </a:extLst>
              </p:cNvPr>
              <p:cNvSpPr/>
              <p:nvPr/>
            </p:nvSpPr>
            <p:spPr>
              <a:xfrm>
                <a:off x="1793350" y="3588179"/>
                <a:ext cx="40089" cy="25042"/>
              </a:xfrm>
              <a:custGeom>
                <a:avLst/>
                <a:gdLst>
                  <a:gd name="connsiteX0" fmla="*/ 6484 w 40089"/>
                  <a:gd name="connsiteY0" fmla="*/ 25042 h 25042"/>
                  <a:gd name="connsiteX1" fmla="*/ 561 w 40089"/>
                  <a:gd name="connsiteY1" fmla="*/ 21193 h 25042"/>
                  <a:gd name="connsiteX2" fmla="*/ 3843 w 40089"/>
                  <a:gd name="connsiteY2" fmla="*/ 12629 h 25042"/>
                  <a:gd name="connsiteX3" fmla="*/ 30965 w 40089"/>
                  <a:gd name="connsiteY3" fmla="*/ 561 h 25042"/>
                  <a:gd name="connsiteX4" fmla="*/ 39529 w 40089"/>
                  <a:gd name="connsiteY4" fmla="*/ 3843 h 25042"/>
                  <a:gd name="connsiteX5" fmla="*/ 36247 w 40089"/>
                  <a:gd name="connsiteY5" fmla="*/ 12407 h 25042"/>
                  <a:gd name="connsiteX6" fmla="*/ 9124 w 40089"/>
                  <a:gd name="connsiteY6" fmla="*/ 24475 h 25042"/>
                  <a:gd name="connsiteX7" fmla="*/ 6484 w 40089"/>
                  <a:gd name="connsiteY7" fmla="*/ 25042 h 25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089" h="25042">
                    <a:moveTo>
                      <a:pt x="6484" y="25042"/>
                    </a:moveTo>
                    <a:cubicBezTo>
                      <a:pt x="3991" y="25042"/>
                      <a:pt x="1622" y="23611"/>
                      <a:pt x="561" y="21193"/>
                    </a:cubicBezTo>
                    <a:cubicBezTo>
                      <a:pt x="-896" y="17910"/>
                      <a:pt x="585" y="14085"/>
                      <a:pt x="3843" y="12629"/>
                    </a:cubicBezTo>
                    <a:lnTo>
                      <a:pt x="30965" y="561"/>
                    </a:lnTo>
                    <a:cubicBezTo>
                      <a:pt x="34223" y="-895"/>
                      <a:pt x="38073" y="585"/>
                      <a:pt x="39529" y="3843"/>
                    </a:cubicBezTo>
                    <a:cubicBezTo>
                      <a:pt x="40985" y="7125"/>
                      <a:pt x="39504" y="10951"/>
                      <a:pt x="36247" y="12407"/>
                    </a:cubicBezTo>
                    <a:lnTo>
                      <a:pt x="9124" y="24475"/>
                    </a:lnTo>
                    <a:cubicBezTo>
                      <a:pt x="8260" y="24870"/>
                      <a:pt x="7347" y="25042"/>
                      <a:pt x="6484" y="25042"/>
                    </a:cubicBezTo>
                    <a:close/>
                  </a:path>
                </a:pathLst>
              </a:custGeom>
              <a:solidFill>
                <a:schemeClr val="tx2"/>
              </a:solidFill>
              <a:ln w="2466" cap="flat">
                <a:noFill/>
                <a:prstDash val="solid"/>
                <a:miter/>
              </a:ln>
            </p:spPr>
            <p:txBody>
              <a:bodyPr rtlCol="0" anchor="ctr"/>
              <a:lstStyle/>
              <a:p>
                <a:endParaRPr lang="en-GB" dirty="0"/>
              </a:p>
            </p:txBody>
          </p:sp>
          <p:sp>
            <p:nvSpPr>
              <p:cNvPr id="84" name="Freihandform: Form 265">
                <a:extLst>
                  <a:ext uri="{FF2B5EF4-FFF2-40B4-BE49-F238E27FC236}">
                    <a16:creationId xmlns:a16="http://schemas.microsoft.com/office/drawing/2014/main" id="{A563CCC6-8CD3-4AB4-897A-AB2307BC864C}"/>
                  </a:ext>
                </a:extLst>
              </p:cNvPr>
              <p:cNvSpPr/>
              <p:nvPr/>
            </p:nvSpPr>
            <p:spPr>
              <a:xfrm>
                <a:off x="2069764" y="3586557"/>
                <a:ext cx="45406" cy="26541"/>
              </a:xfrm>
              <a:custGeom>
                <a:avLst/>
                <a:gdLst>
                  <a:gd name="connsiteX0" fmla="*/ 38905 w 45406"/>
                  <a:gd name="connsiteY0" fmla="*/ 26541 h 26541"/>
                  <a:gd name="connsiteX1" fmla="*/ 36413 w 45406"/>
                  <a:gd name="connsiteY1" fmla="*/ 26048 h 26541"/>
                  <a:gd name="connsiteX2" fmla="*/ 3984 w 45406"/>
                  <a:gd name="connsiteY2" fmla="*/ 12474 h 26541"/>
                  <a:gd name="connsiteX3" fmla="*/ 504 w 45406"/>
                  <a:gd name="connsiteY3" fmla="*/ 3984 h 26541"/>
                  <a:gd name="connsiteX4" fmla="*/ 8994 w 45406"/>
                  <a:gd name="connsiteY4" fmla="*/ 504 h 26541"/>
                  <a:gd name="connsiteX5" fmla="*/ 41423 w 45406"/>
                  <a:gd name="connsiteY5" fmla="*/ 14078 h 26541"/>
                  <a:gd name="connsiteX6" fmla="*/ 44902 w 45406"/>
                  <a:gd name="connsiteY6" fmla="*/ 22568 h 26541"/>
                  <a:gd name="connsiteX7" fmla="*/ 38905 w 45406"/>
                  <a:gd name="connsiteY7" fmla="*/ 26541 h 26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06" h="26541">
                    <a:moveTo>
                      <a:pt x="38905" y="26541"/>
                    </a:moveTo>
                    <a:cubicBezTo>
                      <a:pt x="38066" y="26541"/>
                      <a:pt x="37227" y="26393"/>
                      <a:pt x="36413" y="26048"/>
                    </a:cubicBezTo>
                    <a:lnTo>
                      <a:pt x="3984" y="12474"/>
                    </a:lnTo>
                    <a:cubicBezTo>
                      <a:pt x="677" y="11092"/>
                      <a:pt x="-878" y="7291"/>
                      <a:pt x="504" y="3984"/>
                    </a:cubicBezTo>
                    <a:cubicBezTo>
                      <a:pt x="1886" y="677"/>
                      <a:pt x="5687" y="-878"/>
                      <a:pt x="8994" y="504"/>
                    </a:cubicBezTo>
                    <a:lnTo>
                      <a:pt x="41423" y="14078"/>
                    </a:lnTo>
                    <a:cubicBezTo>
                      <a:pt x="44730" y="15460"/>
                      <a:pt x="46285" y="19261"/>
                      <a:pt x="44902" y="22568"/>
                    </a:cubicBezTo>
                    <a:cubicBezTo>
                      <a:pt x="43866" y="25036"/>
                      <a:pt x="41447" y="26541"/>
                      <a:pt x="38905" y="26541"/>
                    </a:cubicBezTo>
                    <a:close/>
                  </a:path>
                </a:pathLst>
              </a:custGeom>
              <a:solidFill>
                <a:schemeClr val="tx2"/>
              </a:solidFill>
              <a:ln w="2466" cap="flat">
                <a:noFill/>
                <a:prstDash val="solid"/>
                <a:miter/>
              </a:ln>
            </p:spPr>
            <p:txBody>
              <a:bodyPr rtlCol="0" anchor="ctr"/>
              <a:lstStyle/>
              <a:p>
                <a:endParaRPr lang="en-GB" dirty="0"/>
              </a:p>
            </p:txBody>
          </p:sp>
        </p:grpSp>
      </p:grpSp>
      <p:grpSp>
        <p:nvGrpSpPr>
          <p:cNvPr id="89" name="Group 88">
            <a:extLst>
              <a:ext uri="{FF2B5EF4-FFF2-40B4-BE49-F238E27FC236}">
                <a16:creationId xmlns:a16="http://schemas.microsoft.com/office/drawing/2014/main" id="{CA7463FB-F819-4A75-A70D-6357462087FE}"/>
              </a:ext>
            </a:extLst>
          </p:cNvPr>
          <p:cNvGrpSpPr>
            <a:grpSpLocks noChangeAspect="1"/>
          </p:cNvGrpSpPr>
          <p:nvPr/>
        </p:nvGrpSpPr>
        <p:grpSpPr>
          <a:xfrm>
            <a:off x="2666048" y="1585983"/>
            <a:ext cx="437741" cy="432004"/>
            <a:chOff x="887931" y="3279233"/>
            <a:chExt cx="480440" cy="474142"/>
          </a:xfrm>
        </p:grpSpPr>
        <p:grpSp>
          <p:nvGrpSpPr>
            <p:cNvPr id="90" name="Group 89">
              <a:extLst>
                <a:ext uri="{FF2B5EF4-FFF2-40B4-BE49-F238E27FC236}">
                  <a16:creationId xmlns:a16="http://schemas.microsoft.com/office/drawing/2014/main" id="{4EFE8D7C-FF95-42B3-82E7-EF07BB9093AE}"/>
                </a:ext>
              </a:extLst>
            </p:cNvPr>
            <p:cNvGrpSpPr/>
            <p:nvPr/>
          </p:nvGrpSpPr>
          <p:grpSpPr>
            <a:xfrm>
              <a:off x="887931" y="3279233"/>
              <a:ext cx="480440" cy="441586"/>
              <a:chOff x="887930" y="3279237"/>
              <a:chExt cx="480439" cy="441586"/>
            </a:xfrm>
          </p:grpSpPr>
          <p:grpSp>
            <p:nvGrpSpPr>
              <p:cNvPr id="96" name="Grafik 204">
                <a:extLst>
                  <a:ext uri="{FF2B5EF4-FFF2-40B4-BE49-F238E27FC236}">
                    <a16:creationId xmlns:a16="http://schemas.microsoft.com/office/drawing/2014/main" id="{A01EE575-A195-473C-8F25-15F73C3AA6EB}"/>
                  </a:ext>
                </a:extLst>
              </p:cNvPr>
              <p:cNvGrpSpPr/>
              <p:nvPr/>
            </p:nvGrpSpPr>
            <p:grpSpPr>
              <a:xfrm>
                <a:off x="1220439" y="3279237"/>
                <a:ext cx="147930" cy="441586"/>
                <a:chOff x="1220439" y="3279237"/>
                <a:chExt cx="147930" cy="441586"/>
              </a:xfrm>
              <a:solidFill>
                <a:schemeClr val="accent1"/>
              </a:solidFill>
            </p:grpSpPr>
            <p:sp>
              <p:nvSpPr>
                <p:cNvPr id="102" name="Freihandform: Form 292">
                  <a:extLst>
                    <a:ext uri="{FF2B5EF4-FFF2-40B4-BE49-F238E27FC236}">
                      <a16:creationId xmlns:a16="http://schemas.microsoft.com/office/drawing/2014/main" id="{AEEE5BBF-270A-4151-B705-E29A496D81EC}"/>
                    </a:ext>
                  </a:extLst>
                </p:cNvPr>
                <p:cNvSpPr/>
                <p:nvPr/>
              </p:nvSpPr>
              <p:spPr>
                <a:xfrm>
                  <a:off x="1240538" y="3642414"/>
                  <a:ext cx="91574" cy="78409"/>
                </a:xfrm>
                <a:custGeom>
                  <a:avLst/>
                  <a:gdLst>
                    <a:gd name="connsiteX0" fmla="*/ 33084 w 91574"/>
                    <a:gd name="connsiteY0" fmla="*/ 78410 h 78409"/>
                    <a:gd name="connsiteX1" fmla="*/ 4432 w 91574"/>
                    <a:gd name="connsiteY1" fmla="*/ 72487 h 78409"/>
                    <a:gd name="connsiteX2" fmla="*/ 582 w 91574"/>
                    <a:gd name="connsiteY2" fmla="*/ 71006 h 78409"/>
                    <a:gd name="connsiteX3" fmla="*/ 285 w 91574"/>
                    <a:gd name="connsiteY3" fmla="*/ 66884 h 78409"/>
                    <a:gd name="connsiteX4" fmla="*/ 17882 w 91574"/>
                    <a:gd name="connsiteY4" fmla="*/ 14293 h 78409"/>
                    <a:gd name="connsiteX5" fmla="*/ 86120 w 91574"/>
                    <a:gd name="connsiteY5" fmla="*/ 2225 h 78409"/>
                    <a:gd name="connsiteX6" fmla="*/ 91574 w 91574"/>
                    <a:gd name="connsiteY6" fmla="*/ 3459 h 78409"/>
                    <a:gd name="connsiteX7" fmla="*/ 91179 w 91574"/>
                    <a:gd name="connsiteY7" fmla="*/ 9011 h 78409"/>
                    <a:gd name="connsiteX8" fmla="*/ 59861 w 91574"/>
                    <a:gd name="connsiteY8" fmla="*/ 70858 h 78409"/>
                    <a:gd name="connsiteX9" fmla="*/ 33084 w 91574"/>
                    <a:gd name="connsiteY9" fmla="*/ 78410 h 78409"/>
                    <a:gd name="connsiteX10" fmla="*/ 13020 w 91574"/>
                    <a:gd name="connsiteY10" fmla="*/ 61800 h 78409"/>
                    <a:gd name="connsiteX11" fmla="*/ 52902 w 91574"/>
                    <a:gd name="connsiteY11" fmla="*/ 59925 h 78409"/>
                    <a:gd name="connsiteX12" fmla="*/ 77482 w 91574"/>
                    <a:gd name="connsiteY12" fmla="*/ 13947 h 78409"/>
                    <a:gd name="connsiteX13" fmla="*/ 26322 w 91574"/>
                    <a:gd name="connsiteY13" fmla="*/ 24189 h 78409"/>
                    <a:gd name="connsiteX14" fmla="*/ 13020 w 91574"/>
                    <a:gd name="connsiteY14" fmla="*/ 61800 h 78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574" h="78409">
                      <a:moveTo>
                        <a:pt x="33084" y="78410"/>
                      </a:moveTo>
                      <a:cubicBezTo>
                        <a:pt x="24298" y="78410"/>
                        <a:pt x="14723" y="76435"/>
                        <a:pt x="4432" y="72487"/>
                      </a:cubicBezTo>
                      <a:lnTo>
                        <a:pt x="582" y="71006"/>
                      </a:lnTo>
                      <a:lnTo>
                        <a:pt x="285" y="66884"/>
                      </a:lnTo>
                      <a:cubicBezTo>
                        <a:pt x="-1417" y="43488"/>
                        <a:pt x="4506" y="25818"/>
                        <a:pt x="17882" y="14293"/>
                      </a:cubicBezTo>
                      <a:cubicBezTo>
                        <a:pt x="42907" y="-7228"/>
                        <a:pt x="84368" y="1830"/>
                        <a:pt x="86120" y="2225"/>
                      </a:cubicBezTo>
                      <a:lnTo>
                        <a:pt x="91574" y="3459"/>
                      </a:lnTo>
                      <a:lnTo>
                        <a:pt x="91179" y="9011"/>
                      </a:lnTo>
                      <a:cubicBezTo>
                        <a:pt x="91056" y="10813"/>
                        <a:pt x="87699" y="53138"/>
                        <a:pt x="59861" y="70858"/>
                      </a:cubicBezTo>
                      <a:cubicBezTo>
                        <a:pt x="51989" y="75892"/>
                        <a:pt x="43030" y="78410"/>
                        <a:pt x="33084" y="78410"/>
                      </a:cubicBezTo>
                      <a:close/>
                      <a:moveTo>
                        <a:pt x="13020" y="61800"/>
                      </a:moveTo>
                      <a:cubicBezTo>
                        <a:pt x="29111" y="67156"/>
                        <a:pt x="42512" y="66539"/>
                        <a:pt x="52902" y="59925"/>
                      </a:cubicBezTo>
                      <a:cubicBezTo>
                        <a:pt x="69906" y="49115"/>
                        <a:pt x="75681" y="25053"/>
                        <a:pt x="77482" y="13947"/>
                      </a:cubicBezTo>
                      <a:cubicBezTo>
                        <a:pt x="66303" y="12491"/>
                        <a:pt x="41525" y="11060"/>
                        <a:pt x="26322" y="24189"/>
                      </a:cubicBezTo>
                      <a:cubicBezTo>
                        <a:pt x="17018" y="32235"/>
                        <a:pt x="12551" y="44871"/>
                        <a:pt x="13020" y="61800"/>
                      </a:cubicBezTo>
                      <a:close/>
                    </a:path>
                  </a:pathLst>
                </a:custGeom>
                <a:solidFill>
                  <a:schemeClr val="accent1"/>
                </a:solidFill>
                <a:ln w="2466" cap="flat">
                  <a:noFill/>
                  <a:prstDash val="solid"/>
                  <a:miter/>
                </a:ln>
              </p:spPr>
              <p:txBody>
                <a:bodyPr rtlCol="0" anchor="ctr"/>
                <a:lstStyle/>
                <a:p>
                  <a:endParaRPr lang="en-GB" dirty="0"/>
                </a:p>
              </p:txBody>
            </p:sp>
            <p:sp>
              <p:nvSpPr>
                <p:cNvPr id="103" name="Freihandform: Form 293">
                  <a:extLst>
                    <a:ext uri="{FF2B5EF4-FFF2-40B4-BE49-F238E27FC236}">
                      <a16:creationId xmlns:a16="http://schemas.microsoft.com/office/drawing/2014/main" id="{573F3922-4BBC-4B00-A393-7C2239296512}"/>
                    </a:ext>
                  </a:extLst>
                </p:cNvPr>
                <p:cNvSpPr/>
                <p:nvPr/>
              </p:nvSpPr>
              <p:spPr>
                <a:xfrm>
                  <a:off x="1281737" y="3522942"/>
                  <a:ext cx="86631" cy="81518"/>
                </a:xfrm>
                <a:custGeom>
                  <a:avLst/>
                  <a:gdLst>
                    <a:gd name="connsiteX0" fmla="*/ 29421 w 86631"/>
                    <a:gd name="connsiteY0" fmla="*/ 81519 h 81518"/>
                    <a:gd name="connsiteX1" fmla="*/ 5976 w 86631"/>
                    <a:gd name="connsiteY1" fmla="*/ 77965 h 81518"/>
                    <a:gd name="connsiteX2" fmla="*/ 2003 w 86631"/>
                    <a:gd name="connsiteY2" fmla="*/ 76854 h 81518"/>
                    <a:gd name="connsiteX3" fmla="*/ 1336 w 86631"/>
                    <a:gd name="connsiteY3" fmla="*/ 72782 h 81518"/>
                    <a:gd name="connsiteX4" fmla="*/ 14120 w 86631"/>
                    <a:gd name="connsiteY4" fmla="*/ 18833 h 81518"/>
                    <a:gd name="connsiteX5" fmla="*/ 81001 w 86631"/>
                    <a:gd name="connsiteY5" fmla="*/ 669 h 81518"/>
                    <a:gd name="connsiteX6" fmla="*/ 86529 w 86631"/>
                    <a:gd name="connsiteY6" fmla="*/ 1410 h 81518"/>
                    <a:gd name="connsiteX7" fmla="*/ 86628 w 86631"/>
                    <a:gd name="connsiteY7" fmla="*/ 6987 h 81518"/>
                    <a:gd name="connsiteX8" fmla="*/ 61011 w 86631"/>
                    <a:gd name="connsiteY8" fmla="*/ 71375 h 81518"/>
                    <a:gd name="connsiteX9" fmla="*/ 29421 w 86631"/>
                    <a:gd name="connsiteY9" fmla="*/ 81519 h 81518"/>
                    <a:gd name="connsiteX10" fmla="*/ 13553 w 86631"/>
                    <a:gd name="connsiteY10" fmla="*/ 66514 h 81518"/>
                    <a:gd name="connsiteX11" fmla="*/ 53064 w 86631"/>
                    <a:gd name="connsiteY11" fmla="*/ 61084 h 81518"/>
                    <a:gd name="connsiteX12" fmla="*/ 73425 w 86631"/>
                    <a:gd name="connsiteY12" fmla="*/ 13058 h 81518"/>
                    <a:gd name="connsiteX13" fmla="*/ 23400 w 86631"/>
                    <a:gd name="connsiteY13" fmla="*/ 27841 h 81518"/>
                    <a:gd name="connsiteX14" fmla="*/ 13553 w 86631"/>
                    <a:gd name="connsiteY14" fmla="*/ 66514 h 81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6631" h="81518">
                      <a:moveTo>
                        <a:pt x="29421" y="81519"/>
                      </a:moveTo>
                      <a:cubicBezTo>
                        <a:pt x="22190" y="81519"/>
                        <a:pt x="14367" y="80334"/>
                        <a:pt x="5976" y="77965"/>
                      </a:cubicBezTo>
                      <a:lnTo>
                        <a:pt x="2003" y="76854"/>
                      </a:lnTo>
                      <a:lnTo>
                        <a:pt x="1336" y="72782"/>
                      </a:lnTo>
                      <a:cubicBezTo>
                        <a:pt x="-2464" y="49633"/>
                        <a:pt x="1855" y="31494"/>
                        <a:pt x="14120" y="18833"/>
                      </a:cubicBezTo>
                      <a:cubicBezTo>
                        <a:pt x="37097" y="-4859"/>
                        <a:pt x="79224" y="422"/>
                        <a:pt x="81001" y="669"/>
                      </a:cubicBezTo>
                      <a:lnTo>
                        <a:pt x="86529" y="1410"/>
                      </a:lnTo>
                      <a:lnTo>
                        <a:pt x="86628" y="6987"/>
                      </a:lnTo>
                      <a:cubicBezTo>
                        <a:pt x="86653" y="8789"/>
                        <a:pt x="87146" y="51237"/>
                        <a:pt x="61011" y="71375"/>
                      </a:cubicBezTo>
                      <a:cubicBezTo>
                        <a:pt x="52250" y="78113"/>
                        <a:pt x="41662" y="81519"/>
                        <a:pt x="29421" y="81519"/>
                      </a:cubicBezTo>
                      <a:close/>
                      <a:moveTo>
                        <a:pt x="13553" y="66514"/>
                      </a:moveTo>
                      <a:cubicBezTo>
                        <a:pt x="30038" y="70388"/>
                        <a:pt x="43316" y="68587"/>
                        <a:pt x="53064" y="61084"/>
                      </a:cubicBezTo>
                      <a:cubicBezTo>
                        <a:pt x="68982" y="48843"/>
                        <a:pt x="72610" y="24312"/>
                        <a:pt x="73425" y="13058"/>
                      </a:cubicBezTo>
                      <a:cubicBezTo>
                        <a:pt x="62146" y="12614"/>
                        <a:pt x="37368" y="13428"/>
                        <a:pt x="23400" y="27841"/>
                      </a:cubicBezTo>
                      <a:cubicBezTo>
                        <a:pt x="14861" y="36701"/>
                        <a:pt x="11554" y="49707"/>
                        <a:pt x="13553" y="66514"/>
                      </a:cubicBezTo>
                      <a:close/>
                    </a:path>
                  </a:pathLst>
                </a:custGeom>
                <a:solidFill>
                  <a:schemeClr val="accent1"/>
                </a:solidFill>
                <a:ln w="2466" cap="flat">
                  <a:noFill/>
                  <a:prstDash val="solid"/>
                  <a:miter/>
                </a:ln>
              </p:spPr>
              <p:txBody>
                <a:bodyPr rtlCol="0" anchor="ctr"/>
                <a:lstStyle/>
                <a:p>
                  <a:endParaRPr lang="en-GB" dirty="0"/>
                </a:p>
              </p:txBody>
            </p:sp>
            <p:sp>
              <p:nvSpPr>
                <p:cNvPr id="104" name="Freihandform: Form 294">
                  <a:extLst>
                    <a:ext uri="{FF2B5EF4-FFF2-40B4-BE49-F238E27FC236}">
                      <a16:creationId xmlns:a16="http://schemas.microsoft.com/office/drawing/2014/main" id="{F4C96649-02BF-4690-BD18-8757E9C903E2}"/>
                    </a:ext>
                  </a:extLst>
                </p:cNvPr>
                <p:cNvSpPr/>
                <p:nvPr/>
              </p:nvSpPr>
              <p:spPr>
                <a:xfrm>
                  <a:off x="1265583" y="3397278"/>
                  <a:ext cx="77056" cy="94200"/>
                </a:xfrm>
                <a:custGeom>
                  <a:avLst/>
                  <a:gdLst>
                    <a:gd name="connsiteX0" fmla="*/ 15912 w 77056"/>
                    <a:gd name="connsiteY0" fmla="*/ 94201 h 94200"/>
                    <a:gd name="connsiteX1" fmla="*/ 13098 w 77056"/>
                    <a:gd name="connsiteY1" fmla="*/ 94176 h 94200"/>
                    <a:gd name="connsiteX2" fmla="*/ 8977 w 77056"/>
                    <a:gd name="connsiteY2" fmla="*/ 94077 h 94200"/>
                    <a:gd name="connsiteX3" fmla="*/ 7323 w 77056"/>
                    <a:gd name="connsiteY3" fmla="*/ 90301 h 94200"/>
                    <a:gd name="connsiteX4" fmla="*/ 6336 w 77056"/>
                    <a:gd name="connsiteY4" fmla="*/ 34847 h 94200"/>
                    <a:gd name="connsiteX5" fmla="*/ 66627 w 77056"/>
                    <a:gd name="connsiteY5" fmla="*/ 666 h 94200"/>
                    <a:gd name="connsiteX6" fmla="*/ 72180 w 77056"/>
                    <a:gd name="connsiteY6" fmla="*/ 0 h 94200"/>
                    <a:gd name="connsiteX7" fmla="*/ 73661 w 77056"/>
                    <a:gd name="connsiteY7" fmla="*/ 5380 h 94200"/>
                    <a:gd name="connsiteX8" fmla="*/ 64826 w 77056"/>
                    <a:gd name="connsiteY8" fmla="*/ 74112 h 94200"/>
                    <a:gd name="connsiteX9" fmla="*/ 15912 w 77056"/>
                    <a:gd name="connsiteY9" fmla="*/ 94201 h 94200"/>
                    <a:gd name="connsiteX10" fmla="*/ 62358 w 77056"/>
                    <a:gd name="connsiteY10" fmla="*/ 14585 h 94200"/>
                    <a:gd name="connsiteX11" fmla="*/ 17565 w 77056"/>
                    <a:gd name="connsiteY11" fmla="*/ 41338 h 94200"/>
                    <a:gd name="connsiteX12" fmla="*/ 17614 w 77056"/>
                    <a:gd name="connsiteY12" fmla="*/ 81219 h 94200"/>
                    <a:gd name="connsiteX13" fmla="*/ 54559 w 77056"/>
                    <a:gd name="connsiteY13" fmla="*/ 66165 h 94200"/>
                    <a:gd name="connsiteX14" fmla="*/ 62358 w 77056"/>
                    <a:gd name="connsiteY14" fmla="*/ 14585 h 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056" h="94200">
                      <a:moveTo>
                        <a:pt x="15912" y="94201"/>
                      </a:moveTo>
                      <a:cubicBezTo>
                        <a:pt x="14974" y="94201"/>
                        <a:pt x="14036" y="94176"/>
                        <a:pt x="13098" y="94176"/>
                      </a:cubicBezTo>
                      <a:lnTo>
                        <a:pt x="8977" y="94077"/>
                      </a:lnTo>
                      <a:lnTo>
                        <a:pt x="7323" y="90301"/>
                      </a:lnTo>
                      <a:cubicBezTo>
                        <a:pt x="-2104" y="68830"/>
                        <a:pt x="-2425" y="50173"/>
                        <a:pt x="6336" y="34847"/>
                      </a:cubicBezTo>
                      <a:cubicBezTo>
                        <a:pt x="22723" y="6219"/>
                        <a:pt x="64826" y="864"/>
                        <a:pt x="66627" y="666"/>
                      </a:cubicBezTo>
                      <a:lnTo>
                        <a:pt x="72180" y="0"/>
                      </a:lnTo>
                      <a:lnTo>
                        <a:pt x="73661" y="5380"/>
                      </a:lnTo>
                      <a:cubicBezTo>
                        <a:pt x="74130" y="7108"/>
                        <a:pt x="85137" y="48125"/>
                        <a:pt x="64826" y="74112"/>
                      </a:cubicBezTo>
                      <a:cubicBezTo>
                        <a:pt x="54362" y="87463"/>
                        <a:pt x="37925" y="94201"/>
                        <a:pt x="15912" y="94201"/>
                      </a:cubicBezTo>
                      <a:close/>
                      <a:moveTo>
                        <a:pt x="62358" y="14585"/>
                      </a:moveTo>
                      <a:cubicBezTo>
                        <a:pt x="51326" y="16930"/>
                        <a:pt x="27511" y="23890"/>
                        <a:pt x="17565" y="41338"/>
                      </a:cubicBezTo>
                      <a:cubicBezTo>
                        <a:pt x="11469" y="52024"/>
                        <a:pt x="11494" y="65425"/>
                        <a:pt x="17614" y="81219"/>
                      </a:cubicBezTo>
                      <a:cubicBezTo>
                        <a:pt x="34544" y="80899"/>
                        <a:pt x="46958" y="75839"/>
                        <a:pt x="54559" y="66165"/>
                      </a:cubicBezTo>
                      <a:cubicBezTo>
                        <a:pt x="66924" y="50346"/>
                        <a:pt x="64357" y="25691"/>
                        <a:pt x="62358" y="14585"/>
                      </a:cubicBezTo>
                      <a:close/>
                    </a:path>
                  </a:pathLst>
                </a:custGeom>
                <a:solidFill>
                  <a:schemeClr val="accent1"/>
                </a:solidFill>
                <a:ln w="2466" cap="flat">
                  <a:noFill/>
                  <a:prstDash val="solid"/>
                  <a:miter/>
                </a:ln>
              </p:spPr>
              <p:txBody>
                <a:bodyPr rtlCol="0" anchor="ctr"/>
                <a:lstStyle/>
                <a:p>
                  <a:endParaRPr lang="en-GB" dirty="0"/>
                </a:p>
              </p:txBody>
            </p:sp>
            <p:sp>
              <p:nvSpPr>
                <p:cNvPr id="105" name="Freihandform: Form 295">
                  <a:extLst>
                    <a:ext uri="{FF2B5EF4-FFF2-40B4-BE49-F238E27FC236}">
                      <a16:creationId xmlns:a16="http://schemas.microsoft.com/office/drawing/2014/main" id="{7BC6DDC3-1DC5-4406-BAE5-577DBFA42321}"/>
                    </a:ext>
                  </a:extLst>
                </p:cNvPr>
                <p:cNvSpPr/>
                <p:nvPr/>
              </p:nvSpPr>
              <p:spPr>
                <a:xfrm>
                  <a:off x="1220439" y="3279237"/>
                  <a:ext cx="71447" cy="110365"/>
                </a:xfrm>
                <a:custGeom>
                  <a:avLst/>
                  <a:gdLst>
                    <a:gd name="connsiteX0" fmla="*/ 24086 w 71447"/>
                    <a:gd name="connsiteY0" fmla="*/ 110366 h 110365"/>
                    <a:gd name="connsiteX1" fmla="*/ 21199 w 71447"/>
                    <a:gd name="connsiteY1" fmla="*/ 107429 h 110365"/>
                    <a:gd name="connsiteX2" fmla="*/ 591 w 71447"/>
                    <a:gd name="connsiteY2" fmla="*/ 55948 h 110365"/>
                    <a:gd name="connsiteX3" fmla="*/ 44817 w 71447"/>
                    <a:gd name="connsiteY3" fmla="*/ 2591 h 110365"/>
                    <a:gd name="connsiteX4" fmla="*/ 49752 w 71447"/>
                    <a:gd name="connsiteY4" fmla="*/ 0 h 110365"/>
                    <a:gd name="connsiteX5" fmla="*/ 53035 w 71447"/>
                    <a:gd name="connsiteY5" fmla="*/ 4492 h 110365"/>
                    <a:gd name="connsiteX6" fmla="*/ 69175 w 71447"/>
                    <a:gd name="connsiteY6" fmla="*/ 71891 h 110365"/>
                    <a:gd name="connsiteX7" fmla="*/ 27961 w 71447"/>
                    <a:gd name="connsiteY7" fmla="*/ 109008 h 110365"/>
                    <a:gd name="connsiteX8" fmla="*/ 24086 w 71447"/>
                    <a:gd name="connsiteY8" fmla="*/ 110366 h 110365"/>
                    <a:gd name="connsiteX9" fmla="*/ 45754 w 71447"/>
                    <a:gd name="connsiteY9" fmla="*/ 17078 h 110365"/>
                    <a:gd name="connsiteX10" fmla="*/ 13375 w 71447"/>
                    <a:gd name="connsiteY10" fmla="*/ 57996 h 110365"/>
                    <a:gd name="connsiteX11" fmla="*/ 27566 w 71447"/>
                    <a:gd name="connsiteY11" fmla="*/ 95287 h 110365"/>
                    <a:gd name="connsiteX12" fmla="*/ 56761 w 71447"/>
                    <a:gd name="connsiteY12" fmla="*/ 68041 h 110365"/>
                    <a:gd name="connsiteX13" fmla="*/ 45754 w 71447"/>
                    <a:gd name="connsiteY13" fmla="*/ 17078 h 110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447" h="110365">
                      <a:moveTo>
                        <a:pt x="24086" y="110366"/>
                      </a:moveTo>
                      <a:lnTo>
                        <a:pt x="21199" y="107429"/>
                      </a:lnTo>
                      <a:cubicBezTo>
                        <a:pt x="4762" y="90696"/>
                        <a:pt x="-2173" y="73371"/>
                        <a:pt x="591" y="55948"/>
                      </a:cubicBezTo>
                      <a:cubicBezTo>
                        <a:pt x="5725" y="23347"/>
                        <a:pt x="43212" y="3406"/>
                        <a:pt x="44817" y="2591"/>
                      </a:cubicBezTo>
                      <a:lnTo>
                        <a:pt x="49752" y="0"/>
                      </a:lnTo>
                      <a:lnTo>
                        <a:pt x="53035" y="4492"/>
                      </a:lnTo>
                      <a:cubicBezTo>
                        <a:pt x="54096" y="5948"/>
                        <a:pt x="78948" y="40375"/>
                        <a:pt x="69175" y="71891"/>
                      </a:cubicBezTo>
                      <a:cubicBezTo>
                        <a:pt x="63943" y="88747"/>
                        <a:pt x="50098" y="101234"/>
                        <a:pt x="27961" y="109008"/>
                      </a:cubicBezTo>
                      <a:lnTo>
                        <a:pt x="24086" y="110366"/>
                      </a:lnTo>
                      <a:close/>
                      <a:moveTo>
                        <a:pt x="45754" y="17078"/>
                      </a:moveTo>
                      <a:cubicBezTo>
                        <a:pt x="36278" y="23199"/>
                        <a:pt x="16485" y="38130"/>
                        <a:pt x="13375" y="57996"/>
                      </a:cubicBezTo>
                      <a:cubicBezTo>
                        <a:pt x="11475" y="70163"/>
                        <a:pt x="16238" y="82676"/>
                        <a:pt x="27566" y="95287"/>
                      </a:cubicBezTo>
                      <a:cubicBezTo>
                        <a:pt x="43311" y="88969"/>
                        <a:pt x="53109" y="79813"/>
                        <a:pt x="56761" y="68041"/>
                      </a:cubicBezTo>
                      <a:cubicBezTo>
                        <a:pt x="62734" y="48791"/>
                        <a:pt x="51579" y="26728"/>
                        <a:pt x="45754" y="17078"/>
                      </a:cubicBezTo>
                      <a:close/>
                    </a:path>
                  </a:pathLst>
                </a:custGeom>
                <a:solidFill>
                  <a:schemeClr val="accent1"/>
                </a:solidFill>
                <a:ln w="2466" cap="flat">
                  <a:noFill/>
                  <a:prstDash val="solid"/>
                  <a:miter/>
                </a:ln>
              </p:spPr>
              <p:txBody>
                <a:bodyPr rtlCol="0" anchor="ctr"/>
                <a:lstStyle/>
                <a:p>
                  <a:endParaRPr lang="en-GB" dirty="0"/>
                </a:p>
              </p:txBody>
            </p:sp>
          </p:grpSp>
          <p:grpSp>
            <p:nvGrpSpPr>
              <p:cNvPr id="97" name="Grafik 204">
                <a:extLst>
                  <a:ext uri="{FF2B5EF4-FFF2-40B4-BE49-F238E27FC236}">
                    <a16:creationId xmlns:a16="http://schemas.microsoft.com/office/drawing/2014/main" id="{5231D501-D6FD-4B5E-BDDA-53E7ECB43066}"/>
                  </a:ext>
                </a:extLst>
              </p:cNvPr>
              <p:cNvGrpSpPr/>
              <p:nvPr/>
            </p:nvGrpSpPr>
            <p:grpSpPr>
              <a:xfrm>
                <a:off x="887930" y="3279237"/>
                <a:ext cx="147921" cy="441586"/>
                <a:chOff x="887930" y="3279237"/>
                <a:chExt cx="147921" cy="441586"/>
              </a:xfrm>
              <a:solidFill>
                <a:schemeClr val="accent1"/>
              </a:solidFill>
            </p:grpSpPr>
            <p:sp>
              <p:nvSpPr>
                <p:cNvPr id="98" name="Freihandform: Form 297">
                  <a:extLst>
                    <a:ext uri="{FF2B5EF4-FFF2-40B4-BE49-F238E27FC236}">
                      <a16:creationId xmlns:a16="http://schemas.microsoft.com/office/drawing/2014/main" id="{0C72B51D-5830-46AA-8953-54DB42C1CA07}"/>
                    </a:ext>
                  </a:extLst>
                </p:cNvPr>
                <p:cNvSpPr/>
                <p:nvPr/>
              </p:nvSpPr>
              <p:spPr>
                <a:xfrm>
                  <a:off x="924213" y="3642438"/>
                  <a:ext cx="91574" cy="78384"/>
                </a:xfrm>
                <a:custGeom>
                  <a:avLst/>
                  <a:gdLst>
                    <a:gd name="connsiteX0" fmla="*/ 58490 w 91574"/>
                    <a:gd name="connsiteY0" fmla="*/ 78385 h 78384"/>
                    <a:gd name="connsiteX1" fmla="*/ 31713 w 91574"/>
                    <a:gd name="connsiteY1" fmla="*/ 70858 h 78384"/>
                    <a:gd name="connsiteX2" fmla="*/ 395 w 91574"/>
                    <a:gd name="connsiteY2" fmla="*/ 9012 h 78384"/>
                    <a:gd name="connsiteX3" fmla="*/ 0 w 91574"/>
                    <a:gd name="connsiteY3" fmla="*/ 3459 h 78384"/>
                    <a:gd name="connsiteX4" fmla="*/ 5454 w 91574"/>
                    <a:gd name="connsiteY4" fmla="*/ 2225 h 78384"/>
                    <a:gd name="connsiteX5" fmla="*/ 73692 w 91574"/>
                    <a:gd name="connsiteY5" fmla="*/ 14293 h 78384"/>
                    <a:gd name="connsiteX6" fmla="*/ 91289 w 91574"/>
                    <a:gd name="connsiteY6" fmla="*/ 66884 h 78384"/>
                    <a:gd name="connsiteX7" fmla="*/ 90992 w 91574"/>
                    <a:gd name="connsiteY7" fmla="*/ 71006 h 78384"/>
                    <a:gd name="connsiteX8" fmla="*/ 87143 w 91574"/>
                    <a:gd name="connsiteY8" fmla="*/ 72487 h 78384"/>
                    <a:gd name="connsiteX9" fmla="*/ 58490 w 91574"/>
                    <a:gd name="connsiteY9" fmla="*/ 78385 h 78384"/>
                    <a:gd name="connsiteX10" fmla="*/ 14092 w 91574"/>
                    <a:gd name="connsiteY10" fmla="*/ 13923 h 78384"/>
                    <a:gd name="connsiteX11" fmla="*/ 38697 w 91574"/>
                    <a:gd name="connsiteY11" fmla="*/ 59925 h 78384"/>
                    <a:gd name="connsiteX12" fmla="*/ 78554 w 91574"/>
                    <a:gd name="connsiteY12" fmla="*/ 61776 h 78384"/>
                    <a:gd name="connsiteX13" fmla="*/ 65227 w 91574"/>
                    <a:gd name="connsiteY13" fmla="*/ 24140 h 78384"/>
                    <a:gd name="connsiteX14" fmla="*/ 14092 w 91574"/>
                    <a:gd name="connsiteY14" fmla="*/ 13923 h 78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574" h="78384">
                      <a:moveTo>
                        <a:pt x="58490" y="78385"/>
                      </a:moveTo>
                      <a:cubicBezTo>
                        <a:pt x="48544" y="78385"/>
                        <a:pt x="39610" y="75868"/>
                        <a:pt x="31713" y="70858"/>
                      </a:cubicBezTo>
                      <a:cubicBezTo>
                        <a:pt x="3875" y="53138"/>
                        <a:pt x="543" y="10813"/>
                        <a:pt x="395" y="9012"/>
                      </a:cubicBezTo>
                      <a:lnTo>
                        <a:pt x="0" y="3459"/>
                      </a:lnTo>
                      <a:lnTo>
                        <a:pt x="5454" y="2225"/>
                      </a:lnTo>
                      <a:cubicBezTo>
                        <a:pt x="7206" y="1830"/>
                        <a:pt x="48692" y="-7228"/>
                        <a:pt x="73692" y="14293"/>
                      </a:cubicBezTo>
                      <a:cubicBezTo>
                        <a:pt x="87068" y="25793"/>
                        <a:pt x="92992" y="43488"/>
                        <a:pt x="91289" y="66884"/>
                      </a:cubicBezTo>
                      <a:lnTo>
                        <a:pt x="90992" y="71006"/>
                      </a:lnTo>
                      <a:lnTo>
                        <a:pt x="87143" y="72487"/>
                      </a:lnTo>
                      <a:cubicBezTo>
                        <a:pt x="76851" y="76411"/>
                        <a:pt x="67276" y="78385"/>
                        <a:pt x="58490" y="78385"/>
                      </a:cubicBezTo>
                      <a:close/>
                      <a:moveTo>
                        <a:pt x="14092" y="13923"/>
                      </a:moveTo>
                      <a:cubicBezTo>
                        <a:pt x="15918" y="25053"/>
                        <a:pt x="21742" y="49165"/>
                        <a:pt x="38697" y="59925"/>
                      </a:cubicBezTo>
                      <a:cubicBezTo>
                        <a:pt x="49087" y="66514"/>
                        <a:pt x="62488" y="67131"/>
                        <a:pt x="78554" y="61776"/>
                      </a:cubicBezTo>
                      <a:cubicBezTo>
                        <a:pt x="79048" y="44821"/>
                        <a:pt x="74556" y="32185"/>
                        <a:pt x="65227" y="24140"/>
                      </a:cubicBezTo>
                      <a:cubicBezTo>
                        <a:pt x="49926" y="10986"/>
                        <a:pt x="25247" y="12442"/>
                        <a:pt x="14092" y="13923"/>
                      </a:cubicBezTo>
                      <a:close/>
                    </a:path>
                  </a:pathLst>
                </a:custGeom>
                <a:solidFill>
                  <a:schemeClr val="accent1"/>
                </a:solidFill>
                <a:ln w="2466" cap="flat">
                  <a:noFill/>
                  <a:prstDash val="solid"/>
                  <a:miter/>
                </a:ln>
              </p:spPr>
              <p:txBody>
                <a:bodyPr rtlCol="0" anchor="ctr"/>
                <a:lstStyle/>
                <a:p>
                  <a:endParaRPr lang="en-GB" dirty="0"/>
                </a:p>
              </p:txBody>
            </p:sp>
            <p:sp>
              <p:nvSpPr>
                <p:cNvPr id="99" name="Freihandform: Form 298">
                  <a:extLst>
                    <a:ext uri="{FF2B5EF4-FFF2-40B4-BE49-F238E27FC236}">
                      <a16:creationId xmlns:a16="http://schemas.microsoft.com/office/drawing/2014/main" id="{EB35B1D5-E42D-4D7E-8233-09C6BAD59994}"/>
                    </a:ext>
                  </a:extLst>
                </p:cNvPr>
                <p:cNvSpPr/>
                <p:nvPr/>
              </p:nvSpPr>
              <p:spPr>
                <a:xfrm>
                  <a:off x="887930" y="3522928"/>
                  <a:ext cx="86635" cy="81532"/>
                </a:xfrm>
                <a:custGeom>
                  <a:avLst/>
                  <a:gdLst>
                    <a:gd name="connsiteX0" fmla="*/ 57235 w 86635"/>
                    <a:gd name="connsiteY0" fmla="*/ 81532 h 81532"/>
                    <a:gd name="connsiteX1" fmla="*/ 25621 w 86635"/>
                    <a:gd name="connsiteY1" fmla="*/ 71364 h 81532"/>
                    <a:gd name="connsiteX2" fmla="*/ 4 w 86635"/>
                    <a:gd name="connsiteY2" fmla="*/ 6976 h 81532"/>
                    <a:gd name="connsiteX3" fmla="*/ 103 w 86635"/>
                    <a:gd name="connsiteY3" fmla="*/ 1399 h 81532"/>
                    <a:gd name="connsiteX4" fmla="*/ 5631 w 86635"/>
                    <a:gd name="connsiteY4" fmla="*/ 658 h 81532"/>
                    <a:gd name="connsiteX5" fmla="*/ 72512 w 86635"/>
                    <a:gd name="connsiteY5" fmla="*/ 18822 h 81532"/>
                    <a:gd name="connsiteX6" fmla="*/ 85295 w 86635"/>
                    <a:gd name="connsiteY6" fmla="*/ 72771 h 81532"/>
                    <a:gd name="connsiteX7" fmla="*/ 84629 w 86635"/>
                    <a:gd name="connsiteY7" fmla="*/ 76843 h 81532"/>
                    <a:gd name="connsiteX8" fmla="*/ 80656 w 86635"/>
                    <a:gd name="connsiteY8" fmla="*/ 77954 h 81532"/>
                    <a:gd name="connsiteX9" fmla="*/ 57235 w 86635"/>
                    <a:gd name="connsiteY9" fmla="*/ 81532 h 81532"/>
                    <a:gd name="connsiteX10" fmla="*/ 13207 w 86635"/>
                    <a:gd name="connsiteY10" fmla="*/ 13072 h 81532"/>
                    <a:gd name="connsiteX11" fmla="*/ 33568 w 86635"/>
                    <a:gd name="connsiteY11" fmla="*/ 61123 h 81532"/>
                    <a:gd name="connsiteX12" fmla="*/ 73079 w 86635"/>
                    <a:gd name="connsiteY12" fmla="*/ 66552 h 81532"/>
                    <a:gd name="connsiteX13" fmla="*/ 63183 w 86635"/>
                    <a:gd name="connsiteY13" fmla="*/ 27879 h 81532"/>
                    <a:gd name="connsiteX14" fmla="*/ 13207 w 86635"/>
                    <a:gd name="connsiteY14" fmla="*/ 13072 h 81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6635" h="81532">
                      <a:moveTo>
                        <a:pt x="57235" y="81532"/>
                      </a:moveTo>
                      <a:cubicBezTo>
                        <a:pt x="44994" y="81532"/>
                        <a:pt x="34407" y="78127"/>
                        <a:pt x="25621" y="71364"/>
                      </a:cubicBezTo>
                      <a:cubicBezTo>
                        <a:pt x="-514" y="51226"/>
                        <a:pt x="-21" y="8778"/>
                        <a:pt x="4" y="6976"/>
                      </a:cubicBezTo>
                      <a:lnTo>
                        <a:pt x="103" y="1399"/>
                      </a:lnTo>
                      <a:lnTo>
                        <a:pt x="5631" y="658"/>
                      </a:lnTo>
                      <a:cubicBezTo>
                        <a:pt x="7408" y="436"/>
                        <a:pt x="49535" y="-4870"/>
                        <a:pt x="72512" y="18822"/>
                      </a:cubicBezTo>
                      <a:cubicBezTo>
                        <a:pt x="84802" y="31483"/>
                        <a:pt x="89096" y="49647"/>
                        <a:pt x="85295" y="72771"/>
                      </a:cubicBezTo>
                      <a:lnTo>
                        <a:pt x="84629" y="76843"/>
                      </a:lnTo>
                      <a:lnTo>
                        <a:pt x="80656" y="77954"/>
                      </a:lnTo>
                      <a:cubicBezTo>
                        <a:pt x="72289" y="80348"/>
                        <a:pt x="64466" y="81532"/>
                        <a:pt x="57235" y="81532"/>
                      </a:cubicBezTo>
                      <a:close/>
                      <a:moveTo>
                        <a:pt x="13207" y="13072"/>
                      </a:moveTo>
                      <a:cubicBezTo>
                        <a:pt x="14022" y="24326"/>
                        <a:pt x="17650" y="48857"/>
                        <a:pt x="33568" y="61123"/>
                      </a:cubicBezTo>
                      <a:cubicBezTo>
                        <a:pt x="43316" y="68600"/>
                        <a:pt x="56593" y="70427"/>
                        <a:pt x="73079" y="66552"/>
                      </a:cubicBezTo>
                      <a:cubicBezTo>
                        <a:pt x="75078" y="49721"/>
                        <a:pt x="71771" y="36715"/>
                        <a:pt x="63183" y="27879"/>
                      </a:cubicBezTo>
                      <a:cubicBezTo>
                        <a:pt x="49165" y="13393"/>
                        <a:pt x="24461" y="12603"/>
                        <a:pt x="13207" y="13072"/>
                      </a:cubicBezTo>
                      <a:close/>
                    </a:path>
                  </a:pathLst>
                </a:custGeom>
                <a:solidFill>
                  <a:schemeClr val="accent1"/>
                </a:solidFill>
                <a:ln w="2466" cap="flat">
                  <a:noFill/>
                  <a:prstDash val="solid"/>
                  <a:miter/>
                </a:ln>
              </p:spPr>
              <p:txBody>
                <a:bodyPr rtlCol="0" anchor="ctr"/>
                <a:lstStyle/>
                <a:p>
                  <a:endParaRPr lang="en-GB" dirty="0"/>
                </a:p>
              </p:txBody>
            </p:sp>
            <p:sp>
              <p:nvSpPr>
                <p:cNvPr id="100" name="Freihandform: Form 299">
                  <a:extLst>
                    <a:ext uri="{FF2B5EF4-FFF2-40B4-BE49-F238E27FC236}">
                      <a16:creationId xmlns:a16="http://schemas.microsoft.com/office/drawing/2014/main" id="{1DBF01D2-D2D9-4922-87EE-2CF23325D9BF}"/>
                    </a:ext>
                  </a:extLst>
                </p:cNvPr>
                <p:cNvSpPr/>
                <p:nvPr/>
              </p:nvSpPr>
              <p:spPr>
                <a:xfrm>
                  <a:off x="913701" y="3397278"/>
                  <a:ext cx="77056" cy="94200"/>
                </a:xfrm>
                <a:custGeom>
                  <a:avLst/>
                  <a:gdLst>
                    <a:gd name="connsiteX0" fmla="*/ 61129 w 77056"/>
                    <a:gd name="connsiteY0" fmla="*/ 94201 h 94200"/>
                    <a:gd name="connsiteX1" fmla="*/ 12239 w 77056"/>
                    <a:gd name="connsiteY1" fmla="*/ 74112 h 94200"/>
                    <a:gd name="connsiteX2" fmla="*/ 3404 w 77056"/>
                    <a:gd name="connsiteY2" fmla="*/ 5380 h 94200"/>
                    <a:gd name="connsiteX3" fmla="*/ 4885 w 77056"/>
                    <a:gd name="connsiteY3" fmla="*/ 0 h 94200"/>
                    <a:gd name="connsiteX4" fmla="*/ 10438 w 77056"/>
                    <a:gd name="connsiteY4" fmla="*/ 666 h 94200"/>
                    <a:gd name="connsiteX5" fmla="*/ 70729 w 77056"/>
                    <a:gd name="connsiteY5" fmla="*/ 34847 h 94200"/>
                    <a:gd name="connsiteX6" fmla="*/ 69742 w 77056"/>
                    <a:gd name="connsiteY6" fmla="*/ 90301 h 94200"/>
                    <a:gd name="connsiteX7" fmla="*/ 68089 w 77056"/>
                    <a:gd name="connsiteY7" fmla="*/ 94077 h 94200"/>
                    <a:gd name="connsiteX8" fmla="*/ 63967 w 77056"/>
                    <a:gd name="connsiteY8" fmla="*/ 94176 h 94200"/>
                    <a:gd name="connsiteX9" fmla="*/ 61129 w 77056"/>
                    <a:gd name="connsiteY9" fmla="*/ 94201 h 94200"/>
                    <a:gd name="connsiteX10" fmla="*/ 14683 w 77056"/>
                    <a:gd name="connsiteY10" fmla="*/ 14585 h 94200"/>
                    <a:gd name="connsiteX11" fmla="*/ 22481 w 77056"/>
                    <a:gd name="connsiteY11" fmla="*/ 66165 h 94200"/>
                    <a:gd name="connsiteX12" fmla="*/ 59426 w 77056"/>
                    <a:gd name="connsiteY12" fmla="*/ 81219 h 94200"/>
                    <a:gd name="connsiteX13" fmla="*/ 59451 w 77056"/>
                    <a:gd name="connsiteY13" fmla="*/ 41288 h 94200"/>
                    <a:gd name="connsiteX14" fmla="*/ 14683 w 77056"/>
                    <a:gd name="connsiteY14" fmla="*/ 14585 h 9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056" h="94200">
                      <a:moveTo>
                        <a:pt x="61129" y="94201"/>
                      </a:moveTo>
                      <a:cubicBezTo>
                        <a:pt x="39115" y="94201"/>
                        <a:pt x="22679" y="87463"/>
                        <a:pt x="12239" y="74112"/>
                      </a:cubicBezTo>
                      <a:cubicBezTo>
                        <a:pt x="-8072" y="48125"/>
                        <a:pt x="2911" y="7108"/>
                        <a:pt x="3404" y="5380"/>
                      </a:cubicBezTo>
                      <a:lnTo>
                        <a:pt x="4885" y="0"/>
                      </a:lnTo>
                      <a:lnTo>
                        <a:pt x="10438" y="666"/>
                      </a:lnTo>
                      <a:cubicBezTo>
                        <a:pt x="12215" y="888"/>
                        <a:pt x="54342" y="6219"/>
                        <a:pt x="70729" y="34847"/>
                      </a:cubicBezTo>
                      <a:cubicBezTo>
                        <a:pt x="79490" y="50173"/>
                        <a:pt x="79145" y="68830"/>
                        <a:pt x="69742" y="90301"/>
                      </a:cubicBezTo>
                      <a:lnTo>
                        <a:pt x="68089" y="94077"/>
                      </a:lnTo>
                      <a:lnTo>
                        <a:pt x="63967" y="94176"/>
                      </a:lnTo>
                      <a:cubicBezTo>
                        <a:pt x="63005" y="94201"/>
                        <a:pt x="62067" y="94201"/>
                        <a:pt x="61129" y="94201"/>
                      </a:cubicBezTo>
                      <a:close/>
                      <a:moveTo>
                        <a:pt x="14683" y="14585"/>
                      </a:moveTo>
                      <a:cubicBezTo>
                        <a:pt x="12684" y="25691"/>
                        <a:pt x="10092" y="50346"/>
                        <a:pt x="22481" y="66165"/>
                      </a:cubicBezTo>
                      <a:cubicBezTo>
                        <a:pt x="30058" y="75839"/>
                        <a:pt x="42472" y="80899"/>
                        <a:pt x="59426" y="81219"/>
                      </a:cubicBezTo>
                      <a:cubicBezTo>
                        <a:pt x="65547" y="65400"/>
                        <a:pt x="65547" y="51975"/>
                        <a:pt x="59451" y="41288"/>
                      </a:cubicBezTo>
                      <a:cubicBezTo>
                        <a:pt x="49456" y="23791"/>
                        <a:pt x="25714" y="16905"/>
                        <a:pt x="14683" y="14585"/>
                      </a:cubicBezTo>
                      <a:close/>
                    </a:path>
                  </a:pathLst>
                </a:custGeom>
                <a:solidFill>
                  <a:schemeClr val="accent1"/>
                </a:solidFill>
                <a:ln w="2466" cap="flat">
                  <a:noFill/>
                  <a:prstDash val="solid"/>
                  <a:miter/>
                </a:ln>
              </p:spPr>
              <p:txBody>
                <a:bodyPr rtlCol="0" anchor="ctr"/>
                <a:lstStyle/>
                <a:p>
                  <a:endParaRPr lang="en-GB" dirty="0"/>
                </a:p>
              </p:txBody>
            </p:sp>
            <p:sp>
              <p:nvSpPr>
                <p:cNvPr id="101" name="Freihandform: Form 300">
                  <a:extLst>
                    <a:ext uri="{FF2B5EF4-FFF2-40B4-BE49-F238E27FC236}">
                      <a16:creationId xmlns:a16="http://schemas.microsoft.com/office/drawing/2014/main" id="{BB02E325-F502-45C0-9ECF-FD67ABEFAA6E}"/>
                    </a:ext>
                  </a:extLst>
                </p:cNvPr>
                <p:cNvSpPr/>
                <p:nvPr/>
              </p:nvSpPr>
              <p:spPr>
                <a:xfrm>
                  <a:off x="964413" y="3279237"/>
                  <a:ext cx="71438" cy="110365"/>
                </a:xfrm>
                <a:custGeom>
                  <a:avLst/>
                  <a:gdLst>
                    <a:gd name="connsiteX0" fmla="*/ 47386 w 71438"/>
                    <a:gd name="connsiteY0" fmla="*/ 110366 h 110365"/>
                    <a:gd name="connsiteX1" fmla="*/ 43487 w 71438"/>
                    <a:gd name="connsiteY1" fmla="*/ 109008 h 110365"/>
                    <a:gd name="connsiteX2" fmla="*/ 2272 w 71438"/>
                    <a:gd name="connsiteY2" fmla="*/ 71891 h 110365"/>
                    <a:gd name="connsiteX3" fmla="*/ 18412 w 71438"/>
                    <a:gd name="connsiteY3" fmla="*/ 4492 h 110365"/>
                    <a:gd name="connsiteX4" fmla="*/ 21695 w 71438"/>
                    <a:gd name="connsiteY4" fmla="*/ 0 h 110365"/>
                    <a:gd name="connsiteX5" fmla="*/ 26631 w 71438"/>
                    <a:gd name="connsiteY5" fmla="*/ 2591 h 110365"/>
                    <a:gd name="connsiteX6" fmla="*/ 70856 w 71438"/>
                    <a:gd name="connsiteY6" fmla="*/ 55948 h 110365"/>
                    <a:gd name="connsiteX7" fmla="*/ 50249 w 71438"/>
                    <a:gd name="connsiteY7" fmla="*/ 107429 h 110365"/>
                    <a:gd name="connsiteX8" fmla="*/ 47386 w 71438"/>
                    <a:gd name="connsiteY8" fmla="*/ 110366 h 110365"/>
                    <a:gd name="connsiteX9" fmla="*/ 25717 w 71438"/>
                    <a:gd name="connsiteY9" fmla="*/ 17078 h 110365"/>
                    <a:gd name="connsiteX10" fmla="*/ 14711 w 71438"/>
                    <a:gd name="connsiteY10" fmla="*/ 68066 h 110365"/>
                    <a:gd name="connsiteX11" fmla="*/ 43906 w 71438"/>
                    <a:gd name="connsiteY11" fmla="*/ 95262 h 110365"/>
                    <a:gd name="connsiteX12" fmla="*/ 58097 w 71438"/>
                    <a:gd name="connsiteY12" fmla="*/ 57947 h 110365"/>
                    <a:gd name="connsiteX13" fmla="*/ 25717 w 71438"/>
                    <a:gd name="connsiteY13" fmla="*/ 17078 h 110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438" h="110365">
                      <a:moveTo>
                        <a:pt x="47386" y="110366"/>
                      </a:moveTo>
                      <a:lnTo>
                        <a:pt x="43487" y="109008"/>
                      </a:lnTo>
                      <a:cubicBezTo>
                        <a:pt x="21374" y="101234"/>
                        <a:pt x="7504" y="88747"/>
                        <a:pt x="2272" y="71891"/>
                      </a:cubicBezTo>
                      <a:cubicBezTo>
                        <a:pt x="-7501" y="40375"/>
                        <a:pt x="17351" y="5948"/>
                        <a:pt x="18412" y="4492"/>
                      </a:cubicBezTo>
                      <a:lnTo>
                        <a:pt x="21695" y="0"/>
                      </a:lnTo>
                      <a:lnTo>
                        <a:pt x="26631" y="2591"/>
                      </a:lnTo>
                      <a:cubicBezTo>
                        <a:pt x="28235" y="3430"/>
                        <a:pt x="65698" y="23371"/>
                        <a:pt x="70856" y="55948"/>
                      </a:cubicBezTo>
                      <a:cubicBezTo>
                        <a:pt x="73595" y="73371"/>
                        <a:pt x="66660" y="90696"/>
                        <a:pt x="50249" y="107429"/>
                      </a:cubicBezTo>
                      <a:lnTo>
                        <a:pt x="47386" y="110366"/>
                      </a:lnTo>
                      <a:close/>
                      <a:moveTo>
                        <a:pt x="25717" y="17078"/>
                      </a:moveTo>
                      <a:cubicBezTo>
                        <a:pt x="19918" y="26752"/>
                        <a:pt x="8738" y="48890"/>
                        <a:pt x="14711" y="68066"/>
                      </a:cubicBezTo>
                      <a:cubicBezTo>
                        <a:pt x="18363" y="79813"/>
                        <a:pt x="28185" y="88944"/>
                        <a:pt x="43906" y="95262"/>
                      </a:cubicBezTo>
                      <a:cubicBezTo>
                        <a:pt x="55234" y="82651"/>
                        <a:pt x="60022" y="70114"/>
                        <a:pt x="58097" y="57947"/>
                      </a:cubicBezTo>
                      <a:cubicBezTo>
                        <a:pt x="54938" y="38055"/>
                        <a:pt x="35194" y="23174"/>
                        <a:pt x="25717" y="17078"/>
                      </a:cubicBezTo>
                      <a:close/>
                    </a:path>
                  </a:pathLst>
                </a:custGeom>
                <a:solidFill>
                  <a:schemeClr val="accent1"/>
                </a:solidFill>
                <a:ln w="2466" cap="flat">
                  <a:noFill/>
                  <a:prstDash val="solid"/>
                  <a:miter/>
                </a:ln>
              </p:spPr>
              <p:txBody>
                <a:bodyPr rtlCol="0" anchor="ctr"/>
                <a:lstStyle/>
                <a:p>
                  <a:endParaRPr lang="en-GB" dirty="0"/>
                </a:p>
              </p:txBody>
            </p:sp>
          </p:grpSp>
        </p:grpSp>
        <p:grpSp>
          <p:nvGrpSpPr>
            <p:cNvPr id="91" name="Group 90">
              <a:extLst>
                <a:ext uri="{FF2B5EF4-FFF2-40B4-BE49-F238E27FC236}">
                  <a16:creationId xmlns:a16="http://schemas.microsoft.com/office/drawing/2014/main" id="{B110C13C-7060-4216-BC68-08F416810AE6}"/>
                </a:ext>
              </a:extLst>
            </p:cNvPr>
            <p:cNvGrpSpPr/>
            <p:nvPr/>
          </p:nvGrpSpPr>
          <p:grpSpPr>
            <a:xfrm>
              <a:off x="1051187" y="3396513"/>
              <a:ext cx="155726" cy="356862"/>
              <a:chOff x="1051187" y="3396513"/>
              <a:chExt cx="155726" cy="356862"/>
            </a:xfrm>
          </p:grpSpPr>
          <p:sp>
            <p:nvSpPr>
              <p:cNvPr id="92" name="Freihandform: Form 301">
                <a:extLst>
                  <a:ext uri="{FF2B5EF4-FFF2-40B4-BE49-F238E27FC236}">
                    <a16:creationId xmlns:a16="http://schemas.microsoft.com/office/drawing/2014/main" id="{F0E768B7-14F4-4DE3-868C-E3052BA3FD36}"/>
                  </a:ext>
                </a:extLst>
              </p:cNvPr>
              <p:cNvSpPr/>
              <p:nvPr/>
            </p:nvSpPr>
            <p:spPr>
              <a:xfrm>
                <a:off x="1063157" y="3506829"/>
                <a:ext cx="131737" cy="194645"/>
              </a:xfrm>
              <a:custGeom>
                <a:avLst/>
                <a:gdLst>
                  <a:gd name="connsiteX0" fmla="*/ 103949 w 131737"/>
                  <a:gd name="connsiteY0" fmla="*/ 194646 h 194645"/>
                  <a:gd name="connsiteX1" fmla="*/ 27814 w 131737"/>
                  <a:gd name="connsiteY1" fmla="*/ 194646 h 194645"/>
                  <a:gd name="connsiteX2" fmla="*/ 0 w 131737"/>
                  <a:gd name="connsiteY2" fmla="*/ 0 h 194645"/>
                  <a:gd name="connsiteX3" fmla="*/ 131738 w 131737"/>
                  <a:gd name="connsiteY3" fmla="*/ 0 h 194645"/>
                  <a:gd name="connsiteX4" fmla="*/ 103949 w 131737"/>
                  <a:gd name="connsiteY4" fmla="*/ 194646 h 194645"/>
                  <a:gd name="connsiteX5" fmla="*/ 39067 w 131737"/>
                  <a:gd name="connsiteY5" fmla="*/ 181664 h 194645"/>
                  <a:gd name="connsiteX6" fmla="*/ 92695 w 131737"/>
                  <a:gd name="connsiteY6" fmla="*/ 181664 h 194645"/>
                  <a:gd name="connsiteX7" fmla="*/ 116782 w 131737"/>
                  <a:gd name="connsiteY7" fmla="*/ 12981 h 194645"/>
                  <a:gd name="connsiteX8" fmla="*/ 14980 w 131737"/>
                  <a:gd name="connsiteY8" fmla="*/ 12981 h 194645"/>
                  <a:gd name="connsiteX9" fmla="*/ 39067 w 131737"/>
                  <a:gd name="connsiteY9" fmla="*/ 181664 h 194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1737" h="194645">
                    <a:moveTo>
                      <a:pt x="103949" y="194646"/>
                    </a:moveTo>
                    <a:lnTo>
                      <a:pt x="27814" y="194646"/>
                    </a:lnTo>
                    <a:lnTo>
                      <a:pt x="0" y="0"/>
                    </a:lnTo>
                    <a:lnTo>
                      <a:pt x="131738" y="0"/>
                    </a:lnTo>
                    <a:lnTo>
                      <a:pt x="103949" y="194646"/>
                    </a:lnTo>
                    <a:close/>
                    <a:moveTo>
                      <a:pt x="39067" y="181664"/>
                    </a:moveTo>
                    <a:lnTo>
                      <a:pt x="92695" y="181664"/>
                    </a:lnTo>
                    <a:lnTo>
                      <a:pt x="116782" y="12981"/>
                    </a:lnTo>
                    <a:lnTo>
                      <a:pt x="14980" y="12981"/>
                    </a:lnTo>
                    <a:lnTo>
                      <a:pt x="39067" y="181664"/>
                    </a:lnTo>
                    <a:close/>
                  </a:path>
                </a:pathLst>
              </a:custGeom>
              <a:solidFill>
                <a:schemeClr val="tx2"/>
              </a:solidFill>
              <a:ln w="2466" cap="flat">
                <a:noFill/>
                <a:prstDash val="solid"/>
                <a:miter/>
              </a:ln>
            </p:spPr>
            <p:txBody>
              <a:bodyPr rtlCol="0" anchor="ctr"/>
              <a:lstStyle/>
              <a:p>
                <a:endParaRPr lang="en-GB" dirty="0"/>
              </a:p>
            </p:txBody>
          </p:sp>
          <p:sp>
            <p:nvSpPr>
              <p:cNvPr id="93" name="Freihandform: Form 302">
                <a:extLst>
                  <a:ext uri="{FF2B5EF4-FFF2-40B4-BE49-F238E27FC236}">
                    <a16:creationId xmlns:a16="http://schemas.microsoft.com/office/drawing/2014/main" id="{7C7A6E8A-A398-43FA-95A4-5A8FC0D32BBC}"/>
                  </a:ext>
                </a:extLst>
              </p:cNvPr>
              <p:cNvSpPr/>
              <p:nvPr/>
            </p:nvSpPr>
            <p:spPr>
              <a:xfrm>
                <a:off x="1122560" y="3694984"/>
                <a:ext cx="12981" cy="58391"/>
              </a:xfrm>
              <a:custGeom>
                <a:avLst/>
                <a:gdLst>
                  <a:gd name="connsiteX0" fmla="*/ 0 w 12981"/>
                  <a:gd name="connsiteY0" fmla="*/ 0 h 58391"/>
                  <a:gd name="connsiteX1" fmla="*/ 12981 w 12981"/>
                  <a:gd name="connsiteY1" fmla="*/ 0 h 58391"/>
                  <a:gd name="connsiteX2" fmla="*/ 12981 w 12981"/>
                  <a:gd name="connsiteY2" fmla="*/ 58391 h 58391"/>
                  <a:gd name="connsiteX3" fmla="*/ 0 w 12981"/>
                  <a:gd name="connsiteY3" fmla="*/ 58391 h 58391"/>
                </a:gdLst>
                <a:ahLst/>
                <a:cxnLst>
                  <a:cxn ang="0">
                    <a:pos x="connsiteX0" y="connsiteY0"/>
                  </a:cxn>
                  <a:cxn ang="0">
                    <a:pos x="connsiteX1" y="connsiteY1"/>
                  </a:cxn>
                  <a:cxn ang="0">
                    <a:pos x="connsiteX2" y="connsiteY2"/>
                  </a:cxn>
                  <a:cxn ang="0">
                    <a:pos x="connsiteX3" y="connsiteY3"/>
                  </a:cxn>
                </a:cxnLst>
                <a:rect l="l" t="t" r="r" b="b"/>
                <a:pathLst>
                  <a:path w="12981" h="58391">
                    <a:moveTo>
                      <a:pt x="0" y="0"/>
                    </a:moveTo>
                    <a:lnTo>
                      <a:pt x="12981" y="0"/>
                    </a:lnTo>
                    <a:lnTo>
                      <a:pt x="12981" y="58391"/>
                    </a:lnTo>
                    <a:lnTo>
                      <a:pt x="0" y="58391"/>
                    </a:lnTo>
                    <a:close/>
                  </a:path>
                </a:pathLst>
              </a:custGeom>
              <a:solidFill>
                <a:schemeClr val="tx2"/>
              </a:solidFill>
              <a:ln w="2466" cap="flat">
                <a:noFill/>
                <a:prstDash val="solid"/>
                <a:miter/>
              </a:ln>
            </p:spPr>
            <p:txBody>
              <a:bodyPr rtlCol="0" anchor="ctr"/>
              <a:lstStyle/>
              <a:p>
                <a:endParaRPr lang="en-GB" dirty="0"/>
              </a:p>
            </p:txBody>
          </p:sp>
          <p:sp>
            <p:nvSpPr>
              <p:cNvPr id="94" name="Freihandform: Form 303">
                <a:extLst>
                  <a:ext uri="{FF2B5EF4-FFF2-40B4-BE49-F238E27FC236}">
                    <a16:creationId xmlns:a16="http://schemas.microsoft.com/office/drawing/2014/main" id="{250715C2-BF1B-4D39-A172-53DF38A3A246}"/>
                  </a:ext>
                </a:extLst>
              </p:cNvPr>
              <p:cNvSpPr/>
              <p:nvPr/>
            </p:nvSpPr>
            <p:spPr>
              <a:xfrm>
                <a:off x="1077150" y="3539258"/>
                <a:ext cx="103801" cy="12981"/>
              </a:xfrm>
              <a:custGeom>
                <a:avLst/>
                <a:gdLst>
                  <a:gd name="connsiteX0" fmla="*/ 0 w 103801"/>
                  <a:gd name="connsiteY0" fmla="*/ 0 h 12981"/>
                  <a:gd name="connsiteX1" fmla="*/ 103801 w 103801"/>
                  <a:gd name="connsiteY1" fmla="*/ 0 h 12981"/>
                  <a:gd name="connsiteX2" fmla="*/ 103801 w 103801"/>
                  <a:gd name="connsiteY2" fmla="*/ 12981 h 12981"/>
                  <a:gd name="connsiteX3" fmla="*/ 0 w 103801"/>
                  <a:gd name="connsiteY3" fmla="*/ 12981 h 12981"/>
                </a:gdLst>
                <a:ahLst/>
                <a:cxnLst>
                  <a:cxn ang="0">
                    <a:pos x="connsiteX0" y="connsiteY0"/>
                  </a:cxn>
                  <a:cxn ang="0">
                    <a:pos x="connsiteX1" y="connsiteY1"/>
                  </a:cxn>
                  <a:cxn ang="0">
                    <a:pos x="connsiteX2" y="connsiteY2"/>
                  </a:cxn>
                  <a:cxn ang="0">
                    <a:pos x="connsiteX3" y="connsiteY3"/>
                  </a:cxn>
                </a:cxnLst>
                <a:rect l="l" t="t" r="r" b="b"/>
                <a:pathLst>
                  <a:path w="103801" h="12981">
                    <a:moveTo>
                      <a:pt x="0" y="0"/>
                    </a:moveTo>
                    <a:lnTo>
                      <a:pt x="103801" y="0"/>
                    </a:lnTo>
                    <a:lnTo>
                      <a:pt x="103801" y="12981"/>
                    </a:lnTo>
                    <a:lnTo>
                      <a:pt x="0" y="12981"/>
                    </a:lnTo>
                    <a:close/>
                  </a:path>
                </a:pathLst>
              </a:custGeom>
              <a:solidFill>
                <a:schemeClr val="tx2"/>
              </a:solidFill>
              <a:ln w="2466" cap="flat">
                <a:noFill/>
                <a:prstDash val="solid"/>
                <a:miter/>
              </a:ln>
            </p:spPr>
            <p:txBody>
              <a:bodyPr rtlCol="0" anchor="ctr"/>
              <a:lstStyle/>
              <a:p>
                <a:endParaRPr lang="en-GB" dirty="0"/>
              </a:p>
            </p:txBody>
          </p:sp>
          <p:sp>
            <p:nvSpPr>
              <p:cNvPr id="95" name="Freihandform: Form 304">
                <a:extLst>
                  <a:ext uri="{FF2B5EF4-FFF2-40B4-BE49-F238E27FC236}">
                    <a16:creationId xmlns:a16="http://schemas.microsoft.com/office/drawing/2014/main" id="{B0DB2578-CFDC-4203-82FC-4A393A65CAAE}"/>
                  </a:ext>
                </a:extLst>
              </p:cNvPr>
              <p:cNvSpPr/>
              <p:nvPr/>
            </p:nvSpPr>
            <p:spPr>
              <a:xfrm>
                <a:off x="1051187" y="3396513"/>
                <a:ext cx="155726" cy="123297"/>
              </a:xfrm>
              <a:custGeom>
                <a:avLst/>
                <a:gdLst>
                  <a:gd name="connsiteX0" fmla="*/ 137686 w 155726"/>
                  <a:gd name="connsiteY0" fmla="*/ 123298 h 123297"/>
                  <a:gd name="connsiteX1" fmla="*/ 134157 w 155726"/>
                  <a:gd name="connsiteY1" fmla="*/ 122236 h 123297"/>
                  <a:gd name="connsiteX2" fmla="*/ 132256 w 155726"/>
                  <a:gd name="connsiteY2" fmla="*/ 113253 h 123297"/>
                  <a:gd name="connsiteX3" fmla="*/ 142745 w 155726"/>
                  <a:gd name="connsiteY3" fmla="*/ 77863 h 123297"/>
                  <a:gd name="connsiteX4" fmla="*/ 77863 w 155726"/>
                  <a:gd name="connsiteY4" fmla="*/ 12981 h 123297"/>
                  <a:gd name="connsiteX5" fmla="*/ 12981 w 155726"/>
                  <a:gd name="connsiteY5" fmla="*/ 77863 h 123297"/>
                  <a:gd name="connsiteX6" fmla="*/ 23470 w 155726"/>
                  <a:gd name="connsiteY6" fmla="*/ 113229 h 123297"/>
                  <a:gd name="connsiteX7" fmla="*/ 21570 w 155726"/>
                  <a:gd name="connsiteY7" fmla="*/ 122212 h 123297"/>
                  <a:gd name="connsiteX8" fmla="*/ 12586 w 155726"/>
                  <a:gd name="connsiteY8" fmla="*/ 120311 h 123297"/>
                  <a:gd name="connsiteX9" fmla="*/ 0 w 155726"/>
                  <a:gd name="connsiteY9" fmla="*/ 77863 h 123297"/>
                  <a:gd name="connsiteX10" fmla="*/ 77863 w 155726"/>
                  <a:gd name="connsiteY10" fmla="*/ 0 h 123297"/>
                  <a:gd name="connsiteX11" fmla="*/ 155726 w 155726"/>
                  <a:gd name="connsiteY11" fmla="*/ 77863 h 123297"/>
                  <a:gd name="connsiteX12" fmla="*/ 143140 w 155726"/>
                  <a:gd name="connsiteY12" fmla="*/ 120336 h 123297"/>
                  <a:gd name="connsiteX13" fmla="*/ 137686 w 155726"/>
                  <a:gd name="connsiteY13" fmla="*/ 123298 h 123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5726" h="123297">
                    <a:moveTo>
                      <a:pt x="137686" y="123298"/>
                    </a:moveTo>
                    <a:cubicBezTo>
                      <a:pt x="136476" y="123298"/>
                      <a:pt x="135242" y="122952"/>
                      <a:pt x="134157" y="122236"/>
                    </a:cubicBezTo>
                    <a:cubicBezTo>
                      <a:pt x="131146" y="120287"/>
                      <a:pt x="130307" y="116264"/>
                      <a:pt x="132256" y="113253"/>
                    </a:cubicBezTo>
                    <a:cubicBezTo>
                      <a:pt x="139117" y="102740"/>
                      <a:pt x="142745" y="90499"/>
                      <a:pt x="142745" y="77863"/>
                    </a:cubicBezTo>
                    <a:cubicBezTo>
                      <a:pt x="142745" y="42103"/>
                      <a:pt x="113648" y="12981"/>
                      <a:pt x="77863" y="12981"/>
                    </a:cubicBezTo>
                    <a:cubicBezTo>
                      <a:pt x="42078" y="12981"/>
                      <a:pt x="12981" y="42078"/>
                      <a:pt x="12981" y="77863"/>
                    </a:cubicBezTo>
                    <a:cubicBezTo>
                      <a:pt x="12981" y="90474"/>
                      <a:pt x="16609" y="102715"/>
                      <a:pt x="23470" y="113229"/>
                    </a:cubicBezTo>
                    <a:cubicBezTo>
                      <a:pt x="25420" y="116215"/>
                      <a:pt x="24581" y="120237"/>
                      <a:pt x="21570" y="122212"/>
                    </a:cubicBezTo>
                    <a:cubicBezTo>
                      <a:pt x="18559" y="124161"/>
                      <a:pt x="14536" y="123322"/>
                      <a:pt x="12586" y="120311"/>
                    </a:cubicBezTo>
                    <a:cubicBezTo>
                      <a:pt x="4344" y="107676"/>
                      <a:pt x="0" y="93016"/>
                      <a:pt x="0" y="77863"/>
                    </a:cubicBezTo>
                    <a:cubicBezTo>
                      <a:pt x="0" y="34921"/>
                      <a:pt x="34921" y="0"/>
                      <a:pt x="77863" y="0"/>
                    </a:cubicBezTo>
                    <a:cubicBezTo>
                      <a:pt x="120805" y="0"/>
                      <a:pt x="155726" y="34921"/>
                      <a:pt x="155726" y="77863"/>
                    </a:cubicBezTo>
                    <a:cubicBezTo>
                      <a:pt x="155726" y="93016"/>
                      <a:pt x="151358" y="107700"/>
                      <a:pt x="143140" y="120336"/>
                    </a:cubicBezTo>
                    <a:cubicBezTo>
                      <a:pt x="141881" y="122261"/>
                      <a:pt x="139808" y="123298"/>
                      <a:pt x="137686" y="123298"/>
                    </a:cubicBezTo>
                    <a:close/>
                  </a:path>
                </a:pathLst>
              </a:custGeom>
              <a:solidFill>
                <a:schemeClr val="tx2"/>
              </a:solidFill>
              <a:ln w="2466" cap="flat">
                <a:noFill/>
                <a:prstDash val="solid"/>
                <a:miter/>
              </a:ln>
            </p:spPr>
            <p:txBody>
              <a:bodyPr rtlCol="0" anchor="ctr"/>
              <a:lstStyle/>
              <a:p>
                <a:endParaRPr lang="en-GB" dirty="0"/>
              </a:p>
            </p:txBody>
          </p:sp>
        </p:grpSp>
      </p:grpSp>
      <p:grpSp>
        <p:nvGrpSpPr>
          <p:cNvPr id="136" name="Group 135">
            <a:extLst>
              <a:ext uri="{FF2B5EF4-FFF2-40B4-BE49-F238E27FC236}">
                <a16:creationId xmlns:a16="http://schemas.microsoft.com/office/drawing/2014/main" id="{EE4424BA-7663-49E8-A17B-4BBB5A560D2D}"/>
              </a:ext>
            </a:extLst>
          </p:cNvPr>
          <p:cNvGrpSpPr>
            <a:grpSpLocks noChangeAspect="1"/>
          </p:cNvGrpSpPr>
          <p:nvPr/>
        </p:nvGrpSpPr>
        <p:grpSpPr>
          <a:xfrm>
            <a:off x="1585713" y="2391528"/>
            <a:ext cx="507546" cy="431997"/>
            <a:chOff x="2519997" y="4088695"/>
            <a:chExt cx="526666" cy="448272"/>
          </a:xfrm>
        </p:grpSpPr>
        <p:grpSp>
          <p:nvGrpSpPr>
            <p:cNvPr id="137" name="Group 136">
              <a:extLst>
                <a:ext uri="{FF2B5EF4-FFF2-40B4-BE49-F238E27FC236}">
                  <a16:creationId xmlns:a16="http://schemas.microsoft.com/office/drawing/2014/main" id="{253367A2-F6EB-4F8A-8D89-61DE439CEB95}"/>
                </a:ext>
              </a:extLst>
            </p:cNvPr>
            <p:cNvGrpSpPr/>
            <p:nvPr/>
          </p:nvGrpSpPr>
          <p:grpSpPr>
            <a:xfrm>
              <a:off x="2519997" y="4088695"/>
              <a:ext cx="526666" cy="437341"/>
              <a:chOff x="2519999" y="4088692"/>
              <a:chExt cx="526667" cy="437341"/>
            </a:xfrm>
          </p:grpSpPr>
          <p:sp>
            <p:nvSpPr>
              <p:cNvPr id="145" name="Freihandform: Form 412">
                <a:extLst>
                  <a:ext uri="{FF2B5EF4-FFF2-40B4-BE49-F238E27FC236}">
                    <a16:creationId xmlns:a16="http://schemas.microsoft.com/office/drawing/2014/main" id="{F3D19667-D1B5-499D-9FD5-A354E413B4D5}"/>
                  </a:ext>
                </a:extLst>
              </p:cNvPr>
              <p:cNvSpPr/>
              <p:nvPr/>
            </p:nvSpPr>
            <p:spPr>
              <a:xfrm>
                <a:off x="2519999" y="4486917"/>
                <a:ext cx="197927" cy="39116"/>
              </a:xfrm>
              <a:custGeom>
                <a:avLst/>
                <a:gdLst>
                  <a:gd name="connsiteX0" fmla="*/ 187094 w 197927"/>
                  <a:gd name="connsiteY0" fmla="*/ 39117 h 39116"/>
                  <a:gd name="connsiteX1" fmla="*/ 106417 w 197927"/>
                  <a:gd name="connsiteY1" fmla="*/ 12981 h 39116"/>
                  <a:gd name="connsiteX2" fmla="*/ 0 w 197927"/>
                  <a:gd name="connsiteY2" fmla="*/ 12981 h 39116"/>
                  <a:gd name="connsiteX3" fmla="*/ 0 w 197927"/>
                  <a:gd name="connsiteY3" fmla="*/ 0 h 39116"/>
                  <a:gd name="connsiteX4" fmla="*/ 108441 w 197927"/>
                  <a:gd name="connsiteY4" fmla="*/ 0 h 39116"/>
                  <a:gd name="connsiteX5" fmla="*/ 112143 w 197927"/>
                  <a:gd name="connsiteY5" fmla="*/ 1160 h 39116"/>
                  <a:gd name="connsiteX6" fmla="*/ 186131 w 197927"/>
                  <a:gd name="connsiteY6" fmla="*/ 26283 h 39116"/>
                  <a:gd name="connsiteX7" fmla="*/ 197928 w 197927"/>
                  <a:gd name="connsiteY7" fmla="*/ 38697 h 39116"/>
                  <a:gd name="connsiteX8" fmla="*/ 187094 w 197927"/>
                  <a:gd name="connsiteY8" fmla="*/ 39117 h 39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927" h="39116">
                    <a:moveTo>
                      <a:pt x="187094" y="39117"/>
                    </a:moveTo>
                    <a:cubicBezTo>
                      <a:pt x="150247" y="39117"/>
                      <a:pt x="124853" y="25592"/>
                      <a:pt x="106417" y="12981"/>
                    </a:cubicBezTo>
                    <a:lnTo>
                      <a:pt x="0" y="12981"/>
                    </a:lnTo>
                    <a:lnTo>
                      <a:pt x="0" y="0"/>
                    </a:lnTo>
                    <a:lnTo>
                      <a:pt x="108441" y="0"/>
                    </a:lnTo>
                    <a:cubicBezTo>
                      <a:pt x="109773" y="0"/>
                      <a:pt x="111057" y="395"/>
                      <a:pt x="112143" y="1160"/>
                    </a:cubicBezTo>
                    <a:cubicBezTo>
                      <a:pt x="130677" y="14067"/>
                      <a:pt x="155331" y="28727"/>
                      <a:pt x="186131" y="26283"/>
                    </a:cubicBezTo>
                    <a:lnTo>
                      <a:pt x="197928" y="38697"/>
                    </a:lnTo>
                    <a:cubicBezTo>
                      <a:pt x="194226" y="38993"/>
                      <a:pt x="190598" y="39117"/>
                      <a:pt x="187094" y="39117"/>
                    </a:cubicBezTo>
                    <a:close/>
                  </a:path>
                </a:pathLst>
              </a:custGeom>
              <a:solidFill>
                <a:schemeClr val="tx2"/>
              </a:solidFill>
              <a:ln w="2466" cap="flat">
                <a:noFill/>
                <a:prstDash val="solid"/>
                <a:miter/>
              </a:ln>
            </p:spPr>
            <p:txBody>
              <a:bodyPr rtlCol="0" anchor="ctr"/>
              <a:lstStyle/>
              <a:p>
                <a:endParaRPr lang="en-GB" dirty="0"/>
              </a:p>
            </p:txBody>
          </p:sp>
          <p:sp>
            <p:nvSpPr>
              <p:cNvPr id="146" name="Freihandform: Form 413">
                <a:extLst>
                  <a:ext uri="{FF2B5EF4-FFF2-40B4-BE49-F238E27FC236}">
                    <a16:creationId xmlns:a16="http://schemas.microsoft.com/office/drawing/2014/main" id="{E87A582B-8E53-4050-B75A-53EDD2DE5302}"/>
                  </a:ext>
                </a:extLst>
              </p:cNvPr>
              <p:cNvSpPr/>
              <p:nvPr/>
            </p:nvSpPr>
            <p:spPr>
              <a:xfrm>
                <a:off x="2519999" y="4088692"/>
                <a:ext cx="349464" cy="209823"/>
              </a:xfrm>
              <a:custGeom>
                <a:avLst/>
                <a:gdLst>
                  <a:gd name="connsiteX0" fmla="*/ 71545 w 349464"/>
                  <a:gd name="connsiteY0" fmla="*/ 209823 h 209823"/>
                  <a:gd name="connsiteX1" fmla="*/ 0 w 349464"/>
                  <a:gd name="connsiteY1" fmla="*/ 209823 h 209823"/>
                  <a:gd name="connsiteX2" fmla="*/ 0 w 349464"/>
                  <a:gd name="connsiteY2" fmla="*/ 196842 h 209823"/>
                  <a:gd name="connsiteX3" fmla="*/ 68041 w 349464"/>
                  <a:gd name="connsiteY3" fmla="*/ 196842 h 209823"/>
                  <a:gd name="connsiteX4" fmla="*/ 80282 w 349464"/>
                  <a:gd name="connsiteY4" fmla="*/ 177913 h 209823"/>
                  <a:gd name="connsiteX5" fmla="*/ 163895 w 349464"/>
                  <a:gd name="connsiteY5" fmla="*/ 50889 h 209823"/>
                  <a:gd name="connsiteX6" fmla="*/ 250964 w 349464"/>
                  <a:gd name="connsiteY6" fmla="*/ 1456 h 209823"/>
                  <a:gd name="connsiteX7" fmla="*/ 339908 w 349464"/>
                  <a:gd name="connsiteY7" fmla="*/ 0 h 209823"/>
                  <a:gd name="connsiteX8" fmla="*/ 339957 w 349464"/>
                  <a:gd name="connsiteY8" fmla="*/ 0 h 209823"/>
                  <a:gd name="connsiteX9" fmla="*/ 345880 w 349464"/>
                  <a:gd name="connsiteY9" fmla="*/ 3825 h 209823"/>
                  <a:gd name="connsiteX10" fmla="*/ 342943 w 349464"/>
                  <a:gd name="connsiteY10" fmla="*/ 44571 h 209823"/>
                  <a:gd name="connsiteX11" fmla="*/ 259108 w 349464"/>
                  <a:gd name="connsiteY11" fmla="*/ 73001 h 209823"/>
                  <a:gd name="connsiteX12" fmla="*/ 258787 w 349464"/>
                  <a:gd name="connsiteY12" fmla="*/ 73001 h 209823"/>
                  <a:gd name="connsiteX13" fmla="*/ 233466 w 349464"/>
                  <a:gd name="connsiteY13" fmla="*/ 120435 h 209823"/>
                  <a:gd name="connsiteX14" fmla="*/ 216980 w 349464"/>
                  <a:gd name="connsiteY14" fmla="*/ 126111 h 209823"/>
                  <a:gd name="connsiteX15" fmla="*/ 253432 w 349464"/>
                  <a:gd name="connsiteY15" fmla="*/ 61180 h 209823"/>
                  <a:gd name="connsiteX16" fmla="*/ 259083 w 349464"/>
                  <a:gd name="connsiteY16" fmla="*/ 60045 h 209823"/>
                  <a:gd name="connsiteX17" fmla="*/ 332084 w 349464"/>
                  <a:gd name="connsiteY17" fmla="*/ 37513 h 209823"/>
                  <a:gd name="connsiteX18" fmla="*/ 335342 w 349464"/>
                  <a:gd name="connsiteY18" fmla="*/ 13031 h 209823"/>
                  <a:gd name="connsiteX19" fmla="*/ 254024 w 349464"/>
                  <a:gd name="connsiteY19" fmla="*/ 14117 h 209823"/>
                  <a:gd name="connsiteX20" fmla="*/ 174334 w 349464"/>
                  <a:gd name="connsiteY20" fmla="*/ 58663 h 209823"/>
                  <a:gd name="connsiteX21" fmla="*/ 91215 w 349464"/>
                  <a:gd name="connsiteY21" fmla="*/ 184996 h 209823"/>
                  <a:gd name="connsiteX22" fmla="*/ 76876 w 349464"/>
                  <a:gd name="connsiteY22" fmla="*/ 207084 h 209823"/>
                  <a:gd name="connsiteX23" fmla="*/ 71545 w 349464"/>
                  <a:gd name="connsiteY23" fmla="*/ 209823 h 209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9464" h="209823">
                    <a:moveTo>
                      <a:pt x="71545" y="209823"/>
                    </a:moveTo>
                    <a:lnTo>
                      <a:pt x="0" y="209823"/>
                    </a:lnTo>
                    <a:lnTo>
                      <a:pt x="0" y="196842"/>
                    </a:lnTo>
                    <a:lnTo>
                      <a:pt x="68041" y="196842"/>
                    </a:lnTo>
                    <a:cubicBezTo>
                      <a:pt x="70459" y="193140"/>
                      <a:pt x="74976" y="186131"/>
                      <a:pt x="80282" y="177913"/>
                    </a:cubicBezTo>
                    <a:cubicBezTo>
                      <a:pt x="105257" y="139241"/>
                      <a:pt x="151703" y="67276"/>
                      <a:pt x="163895" y="50889"/>
                    </a:cubicBezTo>
                    <a:cubicBezTo>
                      <a:pt x="187612" y="19003"/>
                      <a:pt x="248397" y="2172"/>
                      <a:pt x="250964" y="1456"/>
                    </a:cubicBezTo>
                    <a:cubicBezTo>
                      <a:pt x="251926" y="1185"/>
                      <a:pt x="254394" y="469"/>
                      <a:pt x="339908" y="0"/>
                    </a:cubicBezTo>
                    <a:cubicBezTo>
                      <a:pt x="339908" y="0"/>
                      <a:pt x="339932" y="0"/>
                      <a:pt x="339957" y="0"/>
                    </a:cubicBezTo>
                    <a:cubicBezTo>
                      <a:pt x="342499" y="0"/>
                      <a:pt x="344819" y="1505"/>
                      <a:pt x="345880" y="3825"/>
                    </a:cubicBezTo>
                    <a:cubicBezTo>
                      <a:pt x="346275" y="4689"/>
                      <a:pt x="355382" y="25469"/>
                      <a:pt x="342943" y="44571"/>
                    </a:cubicBezTo>
                    <a:cubicBezTo>
                      <a:pt x="330678" y="63426"/>
                      <a:pt x="302469" y="73001"/>
                      <a:pt x="259108" y="73001"/>
                    </a:cubicBezTo>
                    <a:cubicBezTo>
                      <a:pt x="259009" y="73001"/>
                      <a:pt x="258886" y="73001"/>
                      <a:pt x="258787" y="73001"/>
                    </a:cubicBezTo>
                    <a:cubicBezTo>
                      <a:pt x="256936" y="74137"/>
                      <a:pt x="251704" y="73939"/>
                      <a:pt x="233466" y="120435"/>
                    </a:cubicBezTo>
                    <a:lnTo>
                      <a:pt x="216980" y="126111"/>
                    </a:lnTo>
                    <a:cubicBezTo>
                      <a:pt x="236082" y="77468"/>
                      <a:pt x="247040" y="64240"/>
                      <a:pt x="253432" y="61180"/>
                    </a:cubicBezTo>
                    <a:cubicBezTo>
                      <a:pt x="254665" y="60440"/>
                      <a:pt x="256813" y="60045"/>
                      <a:pt x="259083" y="60045"/>
                    </a:cubicBezTo>
                    <a:cubicBezTo>
                      <a:pt x="297262" y="60045"/>
                      <a:pt x="322484" y="52271"/>
                      <a:pt x="332084" y="37513"/>
                    </a:cubicBezTo>
                    <a:cubicBezTo>
                      <a:pt x="338057" y="28356"/>
                      <a:pt x="336724" y="18361"/>
                      <a:pt x="335342" y="13031"/>
                    </a:cubicBezTo>
                    <a:cubicBezTo>
                      <a:pt x="304641" y="13204"/>
                      <a:pt x="259478" y="13623"/>
                      <a:pt x="254024" y="14117"/>
                    </a:cubicBezTo>
                    <a:cubicBezTo>
                      <a:pt x="248446" y="15696"/>
                      <a:pt x="194374" y="31688"/>
                      <a:pt x="174334" y="58663"/>
                    </a:cubicBezTo>
                    <a:cubicBezTo>
                      <a:pt x="162414" y="74704"/>
                      <a:pt x="114314" y="149186"/>
                      <a:pt x="91215" y="184996"/>
                    </a:cubicBezTo>
                    <a:cubicBezTo>
                      <a:pt x="82083" y="199113"/>
                      <a:pt x="77690" y="205948"/>
                      <a:pt x="76876" y="207084"/>
                    </a:cubicBezTo>
                    <a:cubicBezTo>
                      <a:pt x="75642" y="208787"/>
                      <a:pt x="73643" y="209823"/>
                      <a:pt x="71545" y="209823"/>
                    </a:cubicBezTo>
                    <a:close/>
                  </a:path>
                </a:pathLst>
              </a:custGeom>
              <a:solidFill>
                <a:schemeClr val="tx2"/>
              </a:solidFill>
              <a:ln w="2466" cap="flat">
                <a:noFill/>
                <a:prstDash val="solid"/>
                <a:miter/>
              </a:ln>
            </p:spPr>
            <p:txBody>
              <a:bodyPr rtlCol="0" anchor="ctr"/>
              <a:lstStyle/>
              <a:p>
                <a:endParaRPr lang="en-GB" dirty="0"/>
              </a:p>
            </p:txBody>
          </p:sp>
          <p:sp>
            <p:nvSpPr>
              <p:cNvPr id="147" name="Freihandform: Form 414">
                <a:extLst>
                  <a:ext uri="{FF2B5EF4-FFF2-40B4-BE49-F238E27FC236}">
                    <a16:creationId xmlns:a16="http://schemas.microsoft.com/office/drawing/2014/main" id="{2E9CFCC5-DDCC-4DE3-9F9A-72B80782FA91}"/>
                  </a:ext>
                </a:extLst>
              </p:cNvPr>
              <p:cNvSpPr/>
              <p:nvPr/>
            </p:nvSpPr>
            <p:spPr>
              <a:xfrm>
                <a:off x="2883772" y="4203764"/>
                <a:ext cx="97162" cy="23724"/>
              </a:xfrm>
              <a:custGeom>
                <a:avLst/>
                <a:gdLst>
                  <a:gd name="connsiteX0" fmla="*/ 89931 w 97162"/>
                  <a:gd name="connsiteY0" fmla="*/ 23724 h 23724"/>
                  <a:gd name="connsiteX1" fmla="*/ 11599 w 97162"/>
                  <a:gd name="connsiteY1" fmla="*/ 13458 h 23724"/>
                  <a:gd name="connsiteX2" fmla="*/ 0 w 97162"/>
                  <a:gd name="connsiteY2" fmla="*/ 1612 h 23724"/>
                  <a:gd name="connsiteX3" fmla="*/ 97162 w 97162"/>
                  <a:gd name="connsiteY3" fmla="*/ 12964 h 23724"/>
                  <a:gd name="connsiteX4" fmla="*/ 89882 w 97162"/>
                  <a:gd name="connsiteY4" fmla="*/ 23700 h 23724"/>
                  <a:gd name="connsiteX5" fmla="*/ 93510 w 97162"/>
                  <a:gd name="connsiteY5" fmla="*/ 18320 h 23724"/>
                  <a:gd name="connsiteX6" fmla="*/ 89931 w 97162"/>
                  <a:gd name="connsiteY6" fmla="*/ 23724 h 23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162" h="23724">
                    <a:moveTo>
                      <a:pt x="89931" y="23724"/>
                    </a:moveTo>
                    <a:cubicBezTo>
                      <a:pt x="89684" y="23577"/>
                      <a:pt x="72705" y="10472"/>
                      <a:pt x="11599" y="13458"/>
                    </a:cubicBezTo>
                    <a:lnTo>
                      <a:pt x="0" y="1612"/>
                    </a:lnTo>
                    <a:cubicBezTo>
                      <a:pt x="69299" y="-5298"/>
                      <a:pt x="96052" y="12199"/>
                      <a:pt x="97162" y="12964"/>
                    </a:cubicBezTo>
                    <a:lnTo>
                      <a:pt x="89882" y="23700"/>
                    </a:lnTo>
                    <a:lnTo>
                      <a:pt x="93510" y="18320"/>
                    </a:lnTo>
                    <a:lnTo>
                      <a:pt x="89931" y="23724"/>
                    </a:lnTo>
                    <a:close/>
                  </a:path>
                </a:pathLst>
              </a:custGeom>
              <a:solidFill>
                <a:schemeClr val="tx2"/>
              </a:solidFill>
              <a:ln w="2466" cap="flat">
                <a:noFill/>
                <a:prstDash val="solid"/>
                <a:miter/>
              </a:ln>
            </p:spPr>
            <p:txBody>
              <a:bodyPr rtlCol="0" anchor="ctr"/>
              <a:lstStyle/>
              <a:p>
                <a:endParaRPr lang="en-GB" dirty="0"/>
              </a:p>
            </p:txBody>
          </p:sp>
          <p:sp>
            <p:nvSpPr>
              <p:cNvPr id="148" name="Freihandform: Form 420">
                <a:extLst>
                  <a:ext uri="{FF2B5EF4-FFF2-40B4-BE49-F238E27FC236}">
                    <a16:creationId xmlns:a16="http://schemas.microsoft.com/office/drawing/2014/main" id="{A9DE35D0-4C72-432D-B8D9-DBADDE5367C8}"/>
                  </a:ext>
                </a:extLst>
              </p:cNvPr>
              <p:cNvSpPr/>
              <p:nvPr/>
            </p:nvSpPr>
            <p:spPr>
              <a:xfrm>
                <a:off x="2903215" y="4439697"/>
                <a:ext cx="91691" cy="75058"/>
              </a:xfrm>
              <a:custGeom>
                <a:avLst/>
                <a:gdLst>
                  <a:gd name="connsiteX0" fmla="*/ 58494 w 91691"/>
                  <a:gd name="connsiteY0" fmla="*/ 75059 h 75058"/>
                  <a:gd name="connsiteX1" fmla="*/ 55631 w 91691"/>
                  <a:gd name="connsiteY1" fmla="*/ 74911 h 75058"/>
                  <a:gd name="connsiteX2" fmla="*/ 55631 w 91691"/>
                  <a:gd name="connsiteY2" fmla="*/ 74911 h 75058"/>
                  <a:gd name="connsiteX3" fmla="*/ 25078 w 91691"/>
                  <a:gd name="connsiteY3" fmla="*/ 71456 h 75058"/>
                  <a:gd name="connsiteX4" fmla="*/ 6914 w 91691"/>
                  <a:gd name="connsiteY4" fmla="*/ 60844 h 75058"/>
                  <a:gd name="connsiteX5" fmla="*/ 572 w 91691"/>
                  <a:gd name="connsiteY5" fmla="*/ 32092 h 75058"/>
                  <a:gd name="connsiteX6" fmla="*/ 36085 w 91691"/>
                  <a:gd name="connsiteY6" fmla="*/ 157 h 75058"/>
                  <a:gd name="connsiteX7" fmla="*/ 66614 w 91691"/>
                  <a:gd name="connsiteY7" fmla="*/ 3612 h 75058"/>
                  <a:gd name="connsiteX8" fmla="*/ 84778 w 91691"/>
                  <a:gd name="connsiteY8" fmla="*/ 14249 h 75058"/>
                  <a:gd name="connsiteX9" fmla="*/ 91120 w 91691"/>
                  <a:gd name="connsiteY9" fmla="*/ 43000 h 75058"/>
                  <a:gd name="connsiteX10" fmla="*/ 58494 w 91691"/>
                  <a:gd name="connsiteY10" fmla="*/ 75059 h 75058"/>
                  <a:gd name="connsiteX11" fmla="*/ 57063 w 91691"/>
                  <a:gd name="connsiteY11" fmla="*/ 62003 h 75058"/>
                  <a:gd name="connsiteX12" fmla="*/ 78287 w 91691"/>
                  <a:gd name="connsiteY12" fmla="*/ 40878 h 75058"/>
                  <a:gd name="connsiteX13" fmla="*/ 74412 w 91691"/>
                  <a:gd name="connsiteY13" fmla="*/ 22048 h 75058"/>
                  <a:gd name="connsiteX14" fmla="*/ 65133 w 91691"/>
                  <a:gd name="connsiteY14" fmla="*/ 16470 h 75058"/>
                  <a:gd name="connsiteX15" fmla="*/ 34604 w 91691"/>
                  <a:gd name="connsiteY15" fmla="*/ 13015 h 75058"/>
                  <a:gd name="connsiteX16" fmla="*/ 13356 w 91691"/>
                  <a:gd name="connsiteY16" fmla="*/ 34141 h 75058"/>
                  <a:gd name="connsiteX17" fmla="*/ 17230 w 91691"/>
                  <a:gd name="connsiteY17" fmla="*/ 52971 h 75058"/>
                  <a:gd name="connsiteX18" fmla="*/ 26510 w 91691"/>
                  <a:gd name="connsiteY18" fmla="*/ 58524 h 75058"/>
                  <a:gd name="connsiteX19" fmla="*/ 57063 w 91691"/>
                  <a:gd name="connsiteY19" fmla="*/ 62003 h 75058"/>
                  <a:gd name="connsiteX20" fmla="*/ 57063 w 91691"/>
                  <a:gd name="connsiteY20" fmla="*/ 62003 h 75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1691" h="75058">
                    <a:moveTo>
                      <a:pt x="58494" y="75059"/>
                    </a:moveTo>
                    <a:cubicBezTo>
                      <a:pt x="57532" y="75059"/>
                      <a:pt x="56569" y="75009"/>
                      <a:pt x="55631" y="74911"/>
                    </a:cubicBezTo>
                    <a:cubicBezTo>
                      <a:pt x="55631" y="74911"/>
                      <a:pt x="55631" y="74911"/>
                      <a:pt x="55631" y="74911"/>
                    </a:cubicBezTo>
                    <a:lnTo>
                      <a:pt x="25078" y="71456"/>
                    </a:lnTo>
                    <a:cubicBezTo>
                      <a:pt x="17946" y="70641"/>
                      <a:pt x="11480" y="66865"/>
                      <a:pt x="6914" y="60844"/>
                    </a:cubicBezTo>
                    <a:cubicBezTo>
                      <a:pt x="1139" y="53218"/>
                      <a:pt x="-1180" y="42729"/>
                      <a:pt x="572" y="32092"/>
                    </a:cubicBezTo>
                    <a:cubicBezTo>
                      <a:pt x="3755" y="12620"/>
                      <a:pt x="19674" y="-1669"/>
                      <a:pt x="36085" y="157"/>
                    </a:cubicBezTo>
                    <a:lnTo>
                      <a:pt x="66614" y="3612"/>
                    </a:lnTo>
                    <a:cubicBezTo>
                      <a:pt x="73746" y="4427"/>
                      <a:pt x="80212" y="8203"/>
                      <a:pt x="84778" y="14249"/>
                    </a:cubicBezTo>
                    <a:cubicBezTo>
                      <a:pt x="90552" y="21875"/>
                      <a:pt x="92872" y="32364"/>
                      <a:pt x="91120" y="43000"/>
                    </a:cubicBezTo>
                    <a:cubicBezTo>
                      <a:pt x="88134" y="61288"/>
                      <a:pt x="73845" y="75059"/>
                      <a:pt x="58494" y="75059"/>
                    </a:cubicBezTo>
                    <a:close/>
                    <a:moveTo>
                      <a:pt x="57063" y="62003"/>
                    </a:moveTo>
                    <a:cubicBezTo>
                      <a:pt x="66539" y="63139"/>
                      <a:pt x="76263" y="53415"/>
                      <a:pt x="78287" y="40878"/>
                    </a:cubicBezTo>
                    <a:cubicBezTo>
                      <a:pt x="79447" y="33721"/>
                      <a:pt x="78040" y="26860"/>
                      <a:pt x="74412" y="22048"/>
                    </a:cubicBezTo>
                    <a:cubicBezTo>
                      <a:pt x="72709" y="19802"/>
                      <a:pt x="69723" y="17013"/>
                      <a:pt x="65133" y="16470"/>
                    </a:cubicBezTo>
                    <a:lnTo>
                      <a:pt x="34604" y="13015"/>
                    </a:lnTo>
                    <a:cubicBezTo>
                      <a:pt x="25202" y="12003"/>
                      <a:pt x="15404" y="21603"/>
                      <a:pt x="13356" y="34141"/>
                    </a:cubicBezTo>
                    <a:cubicBezTo>
                      <a:pt x="12171" y="41297"/>
                      <a:pt x="13602" y="48158"/>
                      <a:pt x="17230" y="52971"/>
                    </a:cubicBezTo>
                    <a:cubicBezTo>
                      <a:pt x="18933" y="55217"/>
                      <a:pt x="21919" y="58005"/>
                      <a:pt x="26510" y="58524"/>
                    </a:cubicBezTo>
                    <a:lnTo>
                      <a:pt x="57063" y="62003"/>
                    </a:lnTo>
                    <a:lnTo>
                      <a:pt x="57063" y="62003"/>
                    </a:lnTo>
                    <a:close/>
                  </a:path>
                </a:pathLst>
              </a:custGeom>
              <a:solidFill>
                <a:schemeClr val="tx2"/>
              </a:solidFill>
              <a:ln w="2466" cap="flat">
                <a:noFill/>
                <a:prstDash val="solid"/>
                <a:miter/>
              </a:ln>
            </p:spPr>
            <p:txBody>
              <a:bodyPr rtlCol="0" anchor="ctr"/>
              <a:lstStyle/>
              <a:p>
                <a:endParaRPr lang="en-GB" dirty="0"/>
              </a:p>
            </p:txBody>
          </p:sp>
          <p:sp>
            <p:nvSpPr>
              <p:cNvPr id="149" name="Freihandform: Form 421">
                <a:extLst>
                  <a:ext uri="{FF2B5EF4-FFF2-40B4-BE49-F238E27FC236}">
                    <a16:creationId xmlns:a16="http://schemas.microsoft.com/office/drawing/2014/main" id="{826C5D4F-31E0-4E2E-9E19-BC981CE8697E}"/>
                  </a:ext>
                </a:extLst>
              </p:cNvPr>
              <p:cNvSpPr/>
              <p:nvPr/>
            </p:nvSpPr>
            <p:spPr>
              <a:xfrm>
                <a:off x="2945390" y="4363439"/>
                <a:ext cx="99197" cy="83374"/>
              </a:xfrm>
              <a:custGeom>
                <a:avLst/>
                <a:gdLst>
                  <a:gd name="connsiteX0" fmla="*/ 30287 w 99197"/>
                  <a:gd name="connsiteY0" fmla="*/ 83375 h 83374"/>
                  <a:gd name="connsiteX1" fmla="*/ 14048 w 99197"/>
                  <a:gd name="connsiteY1" fmla="*/ 77279 h 83374"/>
                  <a:gd name="connsiteX2" fmla="*/ 129 w 99197"/>
                  <a:gd name="connsiteY2" fmla="*/ 47442 h 83374"/>
                  <a:gd name="connsiteX3" fmla="*/ 27054 w 99197"/>
                  <a:gd name="connsiteY3" fmla="*/ 4993 h 83374"/>
                  <a:gd name="connsiteX4" fmla="*/ 66047 w 99197"/>
                  <a:gd name="connsiteY4" fmla="*/ 181 h 83374"/>
                  <a:gd name="connsiteX5" fmla="*/ 85149 w 99197"/>
                  <a:gd name="connsiteY5" fmla="*/ 6104 h 83374"/>
                  <a:gd name="connsiteX6" fmla="*/ 99068 w 99197"/>
                  <a:gd name="connsiteY6" fmla="*/ 35941 h 83374"/>
                  <a:gd name="connsiteX7" fmla="*/ 72118 w 99197"/>
                  <a:gd name="connsiteY7" fmla="*/ 78389 h 83374"/>
                  <a:gd name="connsiteX8" fmla="*/ 33100 w 99197"/>
                  <a:gd name="connsiteY8" fmla="*/ 83202 h 83374"/>
                  <a:gd name="connsiteX9" fmla="*/ 30287 w 99197"/>
                  <a:gd name="connsiteY9" fmla="*/ 83375 h 83374"/>
                  <a:gd name="connsiteX10" fmla="*/ 68984 w 99197"/>
                  <a:gd name="connsiteY10" fmla="*/ 12989 h 83374"/>
                  <a:gd name="connsiteX11" fmla="*/ 67676 w 99197"/>
                  <a:gd name="connsiteY11" fmla="*/ 13063 h 83374"/>
                  <a:gd name="connsiteX12" fmla="*/ 28658 w 99197"/>
                  <a:gd name="connsiteY12" fmla="*/ 17876 h 83374"/>
                  <a:gd name="connsiteX13" fmla="*/ 13086 w 99197"/>
                  <a:gd name="connsiteY13" fmla="*/ 46553 h 83374"/>
                  <a:gd name="connsiteX14" fmla="*/ 22291 w 99197"/>
                  <a:gd name="connsiteY14" fmla="*/ 67259 h 83374"/>
                  <a:gd name="connsiteX15" fmla="*/ 31546 w 99197"/>
                  <a:gd name="connsiteY15" fmla="*/ 70320 h 83374"/>
                  <a:gd name="connsiteX16" fmla="*/ 70564 w 99197"/>
                  <a:gd name="connsiteY16" fmla="*/ 65507 h 83374"/>
                  <a:gd name="connsiteX17" fmla="*/ 70564 w 99197"/>
                  <a:gd name="connsiteY17" fmla="*/ 65507 h 83374"/>
                  <a:gd name="connsiteX18" fmla="*/ 86136 w 99197"/>
                  <a:gd name="connsiteY18" fmla="*/ 36830 h 83374"/>
                  <a:gd name="connsiteX19" fmla="*/ 76906 w 99197"/>
                  <a:gd name="connsiteY19" fmla="*/ 16099 h 83374"/>
                  <a:gd name="connsiteX20" fmla="*/ 68984 w 99197"/>
                  <a:gd name="connsiteY20" fmla="*/ 12989 h 83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9197" h="83374">
                    <a:moveTo>
                      <a:pt x="30287" y="83375"/>
                    </a:moveTo>
                    <a:cubicBezTo>
                      <a:pt x="24537" y="83375"/>
                      <a:pt x="18861" y="81277"/>
                      <a:pt x="14048" y="77279"/>
                    </a:cubicBezTo>
                    <a:cubicBezTo>
                      <a:pt x="6052" y="70689"/>
                      <a:pt x="993" y="59806"/>
                      <a:pt x="129" y="47442"/>
                    </a:cubicBezTo>
                    <a:cubicBezTo>
                      <a:pt x="-1377" y="25674"/>
                      <a:pt x="10470" y="7042"/>
                      <a:pt x="27054" y="4993"/>
                    </a:cubicBezTo>
                    <a:lnTo>
                      <a:pt x="66047" y="181"/>
                    </a:lnTo>
                    <a:cubicBezTo>
                      <a:pt x="72760" y="-658"/>
                      <a:pt x="79522" y="1440"/>
                      <a:pt x="85149" y="6104"/>
                    </a:cubicBezTo>
                    <a:cubicBezTo>
                      <a:pt x="93145" y="12693"/>
                      <a:pt x="98204" y="23577"/>
                      <a:pt x="99068" y="35941"/>
                    </a:cubicBezTo>
                    <a:cubicBezTo>
                      <a:pt x="100574" y="57683"/>
                      <a:pt x="88752" y="76341"/>
                      <a:pt x="72118" y="78389"/>
                    </a:cubicBezTo>
                    <a:lnTo>
                      <a:pt x="33100" y="83202"/>
                    </a:lnTo>
                    <a:cubicBezTo>
                      <a:pt x="32212" y="83325"/>
                      <a:pt x="31249" y="83375"/>
                      <a:pt x="30287" y="83375"/>
                    </a:cubicBezTo>
                    <a:close/>
                    <a:moveTo>
                      <a:pt x="68984" y="12989"/>
                    </a:moveTo>
                    <a:cubicBezTo>
                      <a:pt x="68565" y="12989"/>
                      <a:pt x="68120" y="13014"/>
                      <a:pt x="67676" y="13063"/>
                    </a:cubicBezTo>
                    <a:lnTo>
                      <a:pt x="28658" y="17876"/>
                    </a:lnTo>
                    <a:cubicBezTo>
                      <a:pt x="19206" y="19036"/>
                      <a:pt x="12098" y="32165"/>
                      <a:pt x="13086" y="46553"/>
                    </a:cubicBezTo>
                    <a:cubicBezTo>
                      <a:pt x="13678" y="55240"/>
                      <a:pt x="17133" y="62990"/>
                      <a:pt x="22291" y="67259"/>
                    </a:cubicBezTo>
                    <a:cubicBezTo>
                      <a:pt x="24315" y="68937"/>
                      <a:pt x="27572" y="70764"/>
                      <a:pt x="31546" y="70320"/>
                    </a:cubicBezTo>
                    <a:lnTo>
                      <a:pt x="70564" y="65507"/>
                    </a:lnTo>
                    <a:lnTo>
                      <a:pt x="70564" y="65507"/>
                    </a:lnTo>
                    <a:cubicBezTo>
                      <a:pt x="80016" y="64347"/>
                      <a:pt x="87123" y="51217"/>
                      <a:pt x="86136" y="36830"/>
                    </a:cubicBezTo>
                    <a:cubicBezTo>
                      <a:pt x="85544" y="28118"/>
                      <a:pt x="82089" y="20368"/>
                      <a:pt x="76906" y="16099"/>
                    </a:cubicBezTo>
                    <a:cubicBezTo>
                      <a:pt x="75129" y="14618"/>
                      <a:pt x="72365" y="12989"/>
                      <a:pt x="68984" y="12989"/>
                    </a:cubicBezTo>
                    <a:close/>
                  </a:path>
                </a:pathLst>
              </a:custGeom>
              <a:solidFill>
                <a:schemeClr val="tx2"/>
              </a:solidFill>
              <a:ln w="2466" cap="flat">
                <a:noFill/>
                <a:prstDash val="solid"/>
                <a:miter/>
              </a:ln>
            </p:spPr>
            <p:txBody>
              <a:bodyPr rtlCol="0" anchor="ctr"/>
              <a:lstStyle/>
              <a:p>
                <a:endParaRPr lang="en-GB" dirty="0"/>
              </a:p>
            </p:txBody>
          </p:sp>
          <p:sp>
            <p:nvSpPr>
              <p:cNvPr id="150" name="Freihandform: Form 422">
                <a:extLst>
                  <a:ext uri="{FF2B5EF4-FFF2-40B4-BE49-F238E27FC236}">
                    <a16:creationId xmlns:a16="http://schemas.microsoft.com/office/drawing/2014/main" id="{9B72E8AA-405E-4642-AF71-357B24FE3AEC}"/>
                  </a:ext>
                </a:extLst>
              </p:cNvPr>
              <p:cNvSpPr/>
              <p:nvPr/>
            </p:nvSpPr>
            <p:spPr>
              <a:xfrm>
                <a:off x="2934617" y="4278409"/>
                <a:ext cx="112049" cy="93132"/>
              </a:xfrm>
              <a:custGeom>
                <a:avLst/>
                <a:gdLst>
                  <a:gd name="connsiteX0" fmla="*/ 35459 w 112049"/>
                  <a:gd name="connsiteY0" fmla="*/ 93132 h 93132"/>
                  <a:gd name="connsiteX1" fmla="*/ 19096 w 112049"/>
                  <a:gd name="connsiteY1" fmla="*/ 88270 h 93132"/>
                  <a:gd name="connsiteX2" fmla="*/ 932 w 112049"/>
                  <a:gd name="connsiteY2" fmla="*/ 60185 h 93132"/>
                  <a:gd name="connsiteX3" fmla="*/ 25982 w 112049"/>
                  <a:gd name="connsiteY3" fmla="*/ 11937 h 93132"/>
                  <a:gd name="connsiteX4" fmla="*/ 69516 w 112049"/>
                  <a:gd name="connsiteY4" fmla="*/ 881 h 93132"/>
                  <a:gd name="connsiteX5" fmla="*/ 92961 w 112049"/>
                  <a:gd name="connsiteY5" fmla="*/ 4879 h 93132"/>
                  <a:gd name="connsiteX6" fmla="*/ 111125 w 112049"/>
                  <a:gd name="connsiteY6" fmla="*/ 32939 h 93132"/>
                  <a:gd name="connsiteX7" fmla="*/ 86051 w 112049"/>
                  <a:gd name="connsiteY7" fmla="*/ 81188 h 93132"/>
                  <a:gd name="connsiteX8" fmla="*/ 86051 w 112049"/>
                  <a:gd name="connsiteY8" fmla="*/ 81188 h 93132"/>
                  <a:gd name="connsiteX9" fmla="*/ 42517 w 112049"/>
                  <a:gd name="connsiteY9" fmla="*/ 92219 h 93132"/>
                  <a:gd name="connsiteX10" fmla="*/ 35459 w 112049"/>
                  <a:gd name="connsiteY10" fmla="*/ 93132 h 93132"/>
                  <a:gd name="connsiteX11" fmla="*/ 76624 w 112049"/>
                  <a:gd name="connsiteY11" fmla="*/ 12949 h 93132"/>
                  <a:gd name="connsiteX12" fmla="*/ 72724 w 112049"/>
                  <a:gd name="connsiteY12" fmla="*/ 13443 h 93132"/>
                  <a:gd name="connsiteX13" fmla="*/ 29190 w 112049"/>
                  <a:gd name="connsiteY13" fmla="*/ 24499 h 93132"/>
                  <a:gd name="connsiteX14" fmla="*/ 13691 w 112049"/>
                  <a:gd name="connsiteY14" fmla="*/ 57668 h 93132"/>
                  <a:gd name="connsiteX15" fmla="*/ 26056 w 112049"/>
                  <a:gd name="connsiteY15" fmla="*/ 77288 h 93132"/>
                  <a:gd name="connsiteX16" fmla="*/ 39358 w 112049"/>
                  <a:gd name="connsiteY16" fmla="*/ 79682 h 93132"/>
                  <a:gd name="connsiteX17" fmla="*/ 82892 w 112049"/>
                  <a:gd name="connsiteY17" fmla="*/ 68626 h 93132"/>
                  <a:gd name="connsiteX18" fmla="*/ 98415 w 112049"/>
                  <a:gd name="connsiteY18" fmla="*/ 35457 h 93132"/>
                  <a:gd name="connsiteX19" fmla="*/ 86051 w 112049"/>
                  <a:gd name="connsiteY19" fmla="*/ 15837 h 93132"/>
                  <a:gd name="connsiteX20" fmla="*/ 76624 w 112049"/>
                  <a:gd name="connsiteY20" fmla="*/ 12949 h 93132"/>
                  <a:gd name="connsiteX21" fmla="*/ 84472 w 112049"/>
                  <a:gd name="connsiteY21" fmla="*/ 74894 h 93132"/>
                  <a:gd name="connsiteX22" fmla="*/ 84546 w 112049"/>
                  <a:gd name="connsiteY22" fmla="*/ 74894 h 93132"/>
                  <a:gd name="connsiteX23" fmla="*/ 84472 w 112049"/>
                  <a:gd name="connsiteY23" fmla="*/ 74894 h 93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2049" h="93132">
                    <a:moveTo>
                      <a:pt x="35459" y="93132"/>
                    </a:moveTo>
                    <a:cubicBezTo>
                      <a:pt x="29832" y="93132"/>
                      <a:pt x="24205" y="91479"/>
                      <a:pt x="19096" y="88270"/>
                    </a:cubicBezTo>
                    <a:cubicBezTo>
                      <a:pt x="9940" y="82471"/>
                      <a:pt x="3301" y="72229"/>
                      <a:pt x="932" y="60185"/>
                    </a:cubicBezTo>
                    <a:cubicBezTo>
                      <a:pt x="-3411" y="38171"/>
                      <a:pt x="7842" y="16528"/>
                      <a:pt x="25982" y="11937"/>
                    </a:cubicBezTo>
                    <a:lnTo>
                      <a:pt x="69516" y="881"/>
                    </a:lnTo>
                    <a:cubicBezTo>
                      <a:pt x="77389" y="-1118"/>
                      <a:pt x="85705" y="313"/>
                      <a:pt x="92961" y="4879"/>
                    </a:cubicBezTo>
                    <a:cubicBezTo>
                      <a:pt x="102117" y="10679"/>
                      <a:pt x="108731" y="20921"/>
                      <a:pt x="111125" y="32939"/>
                    </a:cubicBezTo>
                    <a:cubicBezTo>
                      <a:pt x="115444" y="54953"/>
                      <a:pt x="104215" y="76597"/>
                      <a:pt x="86051" y="81188"/>
                    </a:cubicBezTo>
                    <a:lnTo>
                      <a:pt x="86051" y="81188"/>
                    </a:lnTo>
                    <a:lnTo>
                      <a:pt x="42517" y="92219"/>
                    </a:lnTo>
                    <a:cubicBezTo>
                      <a:pt x="40172" y="92836"/>
                      <a:pt x="37803" y="93132"/>
                      <a:pt x="35459" y="93132"/>
                    </a:cubicBezTo>
                    <a:close/>
                    <a:moveTo>
                      <a:pt x="76624" y="12949"/>
                    </a:moveTo>
                    <a:cubicBezTo>
                      <a:pt x="75390" y="12949"/>
                      <a:pt x="74082" y="13097"/>
                      <a:pt x="72724" y="13443"/>
                    </a:cubicBezTo>
                    <a:lnTo>
                      <a:pt x="29190" y="24499"/>
                    </a:lnTo>
                    <a:cubicBezTo>
                      <a:pt x="17813" y="27387"/>
                      <a:pt x="10705" y="42564"/>
                      <a:pt x="13691" y="57668"/>
                    </a:cubicBezTo>
                    <a:cubicBezTo>
                      <a:pt x="15370" y="66232"/>
                      <a:pt x="19886" y="73389"/>
                      <a:pt x="26056" y="77288"/>
                    </a:cubicBezTo>
                    <a:cubicBezTo>
                      <a:pt x="29017" y="79164"/>
                      <a:pt x="33731" y="81089"/>
                      <a:pt x="39358" y="79682"/>
                    </a:cubicBezTo>
                    <a:lnTo>
                      <a:pt x="82892" y="68626"/>
                    </a:lnTo>
                    <a:cubicBezTo>
                      <a:pt x="94467" y="65689"/>
                      <a:pt x="101426" y="50807"/>
                      <a:pt x="98415" y="35457"/>
                    </a:cubicBezTo>
                    <a:cubicBezTo>
                      <a:pt x="96737" y="26893"/>
                      <a:pt x="92221" y="19761"/>
                      <a:pt x="86051" y="15837"/>
                    </a:cubicBezTo>
                    <a:cubicBezTo>
                      <a:pt x="83781" y="14405"/>
                      <a:pt x="80523" y="12949"/>
                      <a:pt x="76624" y="12949"/>
                    </a:cubicBezTo>
                    <a:close/>
                    <a:moveTo>
                      <a:pt x="84472" y="74894"/>
                    </a:moveTo>
                    <a:lnTo>
                      <a:pt x="84546" y="74894"/>
                    </a:lnTo>
                    <a:lnTo>
                      <a:pt x="84472" y="74894"/>
                    </a:lnTo>
                    <a:close/>
                  </a:path>
                </a:pathLst>
              </a:custGeom>
              <a:solidFill>
                <a:schemeClr val="tx2"/>
              </a:solidFill>
              <a:ln w="2466" cap="flat">
                <a:noFill/>
                <a:prstDash val="solid"/>
                <a:miter/>
              </a:ln>
            </p:spPr>
            <p:txBody>
              <a:bodyPr rtlCol="0" anchor="ctr"/>
              <a:lstStyle/>
              <a:p>
                <a:endParaRPr lang="en-GB" dirty="0"/>
              </a:p>
            </p:txBody>
          </p:sp>
          <p:sp>
            <p:nvSpPr>
              <p:cNvPr id="151" name="Freihandform: Form 423">
                <a:extLst>
                  <a:ext uri="{FF2B5EF4-FFF2-40B4-BE49-F238E27FC236}">
                    <a16:creationId xmlns:a16="http://schemas.microsoft.com/office/drawing/2014/main" id="{7F6B0575-E9D8-422A-935D-28F7A32D4629}"/>
                  </a:ext>
                </a:extLst>
              </p:cNvPr>
              <p:cNvSpPr/>
              <p:nvPr/>
            </p:nvSpPr>
            <p:spPr>
              <a:xfrm>
                <a:off x="2899775" y="4215039"/>
                <a:ext cx="107964" cy="94755"/>
              </a:xfrm>
              <a:custGeom>
                <a:avLst/>
                <a:gdLst>
                  <a:gd name="connsiteX0" fmla="*/ 35996 w 107964"/>
                  <a:gd name="connsiteY0" fmla="*/ 94755 h 94755"/>
                  <a:gd name="connsiteX1" fmla="*/ 23484 w 107964"/>
                  <a:gd name="connsiteY1" fmla="*/ 91991 h 94755"/>
                  <a:gd name="connsiteX2" fmla="*/ 2580 w 107964"/>
                  <a:gd name="connsiteY2" fmla="*/ 67929 h 94755"/>
                  <a:gd name="connsiteX3" fmla="*/ 20251 w 107964"/>
                  <a:gd name="connsiteY3" fmla="*/ 18793 h 94755"/>
                  <a:gd name="connsiteX4" fmla="*/ 61317 w 107964"/>
                  <a:gd name="connsiteY4" fmla="*/ 2085 h 94755"/>
                  <a:gd name="connsiteX5" fmla="*/ 84466 w 107964"/>
                  <a:gd name="connsiteY5" fmla="*/ 2751 h 94755"/>
                  <a:gd name="connsiteX6" fmla="*/ 105394 w 107964"/>
                  <a:gd name="connsiteY6" fmla="*/ 26813 h 94755"/>
                  <a:gd name="connsiteX7" fmla="*/ 87724 w 107964"/>
                  <a:gd name="connsiteY7" fmla="*/ 75950 h 94755"/>
                  <a:gd name="connsiteX8" fmla="*/ 46657 w 107964"/>
                  <a:gd name="connsiteY8" fmla="*/ 92658 h 94755"/>
                  <a:gd name="connsiteX9" fmla="*/ 35996 w 107964"/>
                  <a:gd name="connsiteY9" fmla="*/ 94755 h 94755"/>
                  <a:gd name="connsiteX10" fmla="*/ 71929 w 107964"/>
                  <a:gd name="connsiteY10" fmla="*/ 12944 h 94755"/>
                  <a:gd name="connsiteX11" fmla="*/ 66179 w 107964"/>
                  <a:gd name="connsiteY11" fmla="*/ 14079 h 94755"/>
                  <a:gd name="connsiteX12" fmla="*/ 25112 w 107964"/>
                  <a:gd name="connsiteY12" fmla="*/ 30787 h 94755"/>
                  <a:gd name="connsiteX13" fmla="*/ 14821 w 107964"/>
                  <a:gd name="connsiteY13" fmla="*/ 63659 h 94755"/>
                  <a:gd name="connsiteX14" fmla="*/ 28814 w 107964"/>
                  <a:gd name="connsiteY14" fmla="*/ 80145 h 94755"/>
                  <a:gd name="connsiteX15" fmla="*/ 41722 w 107964"/>
                  <a:gd name="connsiteY15" fmla="*/ 80639 h 94755"/>
                  <a:gd name="connsiteX16" fmla="*/ 82788 w 107964"/>
                  <a:gd name="connsiteY16" fmla="*/ 63906 h 94755"/>
                  <a:gd name="connsiteX17" fmla="*/ 93079 w 107964"/>
                  <a:gd name="connsiteY17" fmla="*/ 31033 h 94755"/>
                  <a:gd name="connsiteX18" fmla="*/ 79061 w 107964"/>
                  <a:gd name="connsiteY18" fmla="*/ 14548 h 94755"/>
                  <a:gd name="connsiteX19" fmla="*/ 71929 w 107964"/>
                  <a:gd name="connsiteY19" fmla="*/ 12944 h 94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964" h="94755">
                    <a:moveTo>
                      <a:pt x="35996" y="94755"/>
                    </a:moveTo>
                    <a:cubicBezTo>
                      <a:pt x="31801" y="94755"/>
                      <a:pt x="27556" y="93842"/>
                      <a:pt x="23484" y="91991"/>
                    </a:cubicBezTo>
                    <a:cubicBezTo>
                      <a:pt x="14031" y="87722"/>
                      <a:pt x="6406" y="78961"/>
                      <a:pt x="2580" y="67929"/>
                    </a:cubicBezTo>
                    <a:cubicBezTo>
                      <a:pt x="-4478" y="47667"/>
                      <a:pt x="3444" y="25628"/>
                      <a:pt x="20251" y="18793"/>
                    </a:cubicBezTo>
                    <a:lnTo>
                      <a:pt x="61317" y="2085"/>
                    </a:lnTo>
                    <a:cubicBezTo>
                      <a:pt x="68647" y="-902"/>
                      <a:pt x="76865" y="-679"/>
                      <a:pt x="84466" y="2751"/>
                    </a:cubicBezTo>
                    <a:cubicBezTo>
                      <a:pt x="93943" y="7021"/>
                      <a:pt x="101569" y="15781"/>
                      <a:pt x="105394" y="26813"/>
                    </a:cubicBezTo>
                    <a:cubicBezTo>
                      <a:pt x="112428" y="47075"/>
                      <a:pt x="104530" y="69113"/>
                      <a:pt x="87724" y="75950"/>
                    </a:cubicBezTo>
                    <a:lnTo>
                      <a:pt x="46657" y="92658"/>
                    </a:lnTo>
                    <a:cubicBezTo>
                      <a:pt x="43252" y="94064"/>
                      <a:pt x="39649" y="94755"/>
                      <a:pt x="35996" y="94755"/>
                    </a:cubicBezTo>
                    <a:close/>
                    <a:moveTo>
                      <a:pt x="71929" y="12944"/>
                    </a:moveTo>
                    <a:cubicBezTo>
                      <a:pt x="70127" y="12944"/>
                      <a:pt x="68178" y="13264"/>
                      <a:pt x="66179" y="14079"/>
                    </a:cubicBezTo>
                    <a:lnTo>
                      <a:pt x="25112" y="30787"/>
                    </a:lnTo>
                    <a:cubicBezTo>
                      <a:pt x="14797" y="34982"/>
                      <a:pt x="10083" y="50036"/>
                      <a:pt x="14821" y="63659"/>
                    </a:cubicBezTo>
                    <a:cubicBezTo>
                      <a:pt x="17487" y="71335"/>
                      <a:pt x="22595" y="77332"/>
                      <a:pt x="28814" y="80145"/>
                    </a:cubicBezTo>
                    <a:cubicBezTo>
                      <a:pt x="31850" y="81527"/>
                      <a:pt x="36588" y="82736"/>
                      <a:pt x="41722" y="80639"/>
                    </a:cubicBezTo>
                    <a:lnTo>
                      <a:pt x="82788" y="63906"/>
                    </a:lnTo>
                    <a:cubicBezTo>
                      <a:pt x="93277" y="59637"/>
                      <a:pt x="97892" y="44878"/>
                      <a:pt x="93079" y="31033"/>
                    </a:cubicBezTo>
                    <a:cubicBezTo>
                      <a:pt x="90414" y="23358"/>
                      <a:pt x="85305" y="17361"/>
                      <a:pt x="79061" y="14548"/>
                    </a:cubicBezTo>
                    <a:cubicBezTo>
                      <a:pt x="77235" y="13733"/>
                      <a:pt x="74767" y="12944"/>
                      <a:pt x="71929" y="12944"/>
                    </a:cubicBezTo>
                    <a:close/>
                  </a:path>
                </a:pathLst>
              </a:custGeom>
              <a:solidFill>
                <a:schemeClr val="tx2"/>
              </a:solidFill>
              <a:ln w="2466" cap="flat">
                <a:noFill/>
                <a:prstDash val="solid"/>
                <a:miter/>
              </a:ln>
            </p:spPr>
            <p:txBody>
              <a:bodyPr rtlCol="0" anchor="ctr"/>
              <a:lstStyle/>
              <a:p>
                <a:endParaRPr lang="en-GB" dirty="0"/>
              </a:p>
            </p:txBody>
          </p:sp>
        </p:grpSp>
        <p:grpSp>
          <p:nvGrpSpPr>
            <p:cNvPr id="138" name="Group 137">
              <a:extLst>
                <a:ext uri="{FF2B5EF4-FFF2-40B4-BE49-F238E27FC236}">
                  <a16:creationId xmlns:a16="http://schemas.microsoft.com/office/drawing/2014/main" id="{DDBBA8F3-B250-4B1B-A56A-C7EF256A19BA}"/>
                </a:ext>
              </a:extLst>
            </p:cNvPr>
            <p:cNvGrpSpPr/>
            <p:nvPr/>
          </p:nvGrpSpPr>
          <p:grpSpPr>
            <a:xfrm>
              <a:off x="2650405" y="4158165"/>
              <a:ext cx="282774" cy="378802"/>
              <a:chOff x="2650405" y="4158165"/>
              <a:chExt cx="282774" cy="378802"/>
            </a:xfrm>
          </p:grpSpPr>
          <p:grpSp>
            <p:nvGrpSpPr>
              <p:cNvPr id="139" name="Grafik 204">
                <a:extLst>
                  <a:ext uri="{FF2B5EF4-FFF2-40B4-BE49-F238E27FC236}">
                    <a16:creationId xmlns:a16="http://schemas.microsoft.com/office/drawing/2014/main" id="{AF60C128-557C-4998-858C-663E7A0C80C1}"/>
                  </a:ext>
                </a:extLst>
              </p:cNvPr>
              <p:cNvGrpSpPr/>
              <p:nvPr/>
            </p:nvGrpSpPr>
            <p:grpSpPr>
              <a:xfrm>
                <a:off x="2771950" y="4158165"/>
                <a:ext cx="83884" cy="58243"/>
                <a:chOff x="2771950" y="4158165"/>
                <a:chExt cx="83884" cy="58243"/>
              </a:xfrm>
              <a:solidFill>
                <a:schemeClr val="accent1"/>
              </a:solidFill>
            </p:grpSpPr>
            <p:sp>
              <p:nvSpPr>
                <p:cNvPr id="143" name="Freihandform: Form 416">
                  <a:extLst>
                    <a:ext uri="{FF2B5EF4-FFF2-40B4-BE49-F238E27FC236}">
                      <a16:creationId xmlns:a16="http://schemas.microsoft.com/office/drawing/2014/main" id="{EB07D30E-E21A-43C5-A098-CAFCE5014E5E}"/>
                    </a:ext>
                  </a:extLst>
                </p:cNvPr>
                <p:cNvSpPr/>
                <p:nvPr/>
              </p:nvSpPr>
              <p:spPr>
                <a:xfrm>
                  <a:off x="2783747" y="4177982"/>
                  <a:ext cx="60266" cy="38425"/>
                </a:xfrm>
                <a:custGeom>
                  <a:avLst/>
                  <a:gdLst>
                    <a:gd name="connsiteX0" fmla="*/ 60267 w 60266"/>
                    <a:gd name="connsiteY0" fmla="*/ 38426 h 38425"/>
                    <a:gd name="connsiteX1" fmla="*/ 47285 w 60266"/>
                    <a:gd name="connsiteY1" fmla="*/ 38426 h 38425"/>
                    <a:gd name="connsiteX2" fmla="*/ 47285 w 60266"/>
                    <a:gd name="connsiteY2" fmla="*/ 12981 h 38425"/>
                    <a:gd name="connsiteX3" fmla="*/ 12981 w 60266"/>
                    <a:gd name="connsiteY3" fmla="*/ 12981 h 38425"/>
                    <a:gd name="connsiteX4" fmla="*/ 12981 w 60266"/>
                    <a:gd name="connsiteY4" fmla="*/ 35119 h 38425"/>
                    <a:gd name="connsiteX5" fmla="*/ 0 w 60266"/>
                    <a:gd name="connsiteY5" fmla="*/ 35119 h 38425"/>
                    <a:gd name="connsiteX6" fmla="*/ 0 w 60266"/>
                    <a:gd name="connsiteY6" fmla="*/ 6491 h 38425"/>
                    <a:gd name="connsiteX7" fmla="*/ 6491 w 60266"/>
                    <a:gd name="connsiteY7" fmla="*/ 0 h 38425"/>
                    <a:gd name="connsiteX8" fmla="*/ 53752 w 60266"/>
                    <a:gd name="connsiteY8" fmla="*/ 0 h 38425"/>
                    <a:gd name="connsiteX9" fmla="*/ 60242 w 60266"/>
                    <a:gd name="connsiteY9" fmla="*/ 6491 h 38425"/>
                    <a:gd name="connsiteX10" fmla="*/ 60242 w 60266"/>
                    <a:gd name="connsiteY10" fmla="*/ 38426 h 38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266" h="38425">
                      <a:moveTo>
                        <a:pt x="60267" y="38426"/>
                      </a:moveTo>
                      <a:lnTo>
                        <a:pt x="47285" y="38426"/>
                      </a:lnTo>
                      <a:lnTo>
                        <a:pt x="47285" y="12981"/>
                      </a:lnTo>
                      <a:lnTo>
                        <a:pt x="12981" y="12981"/>
                      </a:lnTo>
                      <a:lnTo>
                        <a:pt x="12981" y="35119"/>
                      </a:lnTo>
                      <a:lnTo>
                        <a:pt x="0" y="35119"/>
                      </a:lnTo>
                      <a:lnTo>
                        <a:pt x="0" y="6491"/>
                      </a:lnTo>
                      <a:cubicBezTo>
                        <a:pt x="0" y="2912"/>
                        <a:pt x="2912" y="0"/>
                        <a:pt x="6491" y="0"/>
                      </a:cubicBezTo>
                      <a:lnTo>
                        <a:pt x="53752" y="0"/>
                      </a:lnTo>
                      <a:cubicBezTo>
                        <a:pt x="57330" y="0"/>
                        <a:pt x="60242" y="2912"/>
                        <a:pt x="60242" y="6491"/>
                      </a:cubicBezTo>
                      <a:lnTo>
                        <a:pt x="60242" y="38426"/>
                      </a:lnTo>
                      <a:close/>
                    </a:path>
                  </a:pathLst>
                </a:custGeom>
                <a:solidFill>
                  <a:schemeClr val="accent1"/>
                </a:solidFill>
                <a:ln w="2466" cap="flat">
                  <a:noFill/>
                  <a:prstDash val="solid"/>
                  <a:miter/>
                </a:ln>
              </p:spPr>
              <p:txBody>
                <a:bodyPr rtlCol="0" anchor="ctr"/>
                <a:lstStyle/>
                <a:p>
                  <a:endParaRPr lang="en-GB" dirty="0"/>
                </a:p>
              </p:txBody>
            </p:sp>
            <p:sp>
              <p:nvSpPr>
                <p:cNvPr id="144" name="Freihandform: Form 417">
                  <a:extLst>
                    <a:ext uri="{FF2B5EF4-FFF2-40B4-BE49-F238E27FC236}">
                      <a16:creationId xmlns:a16="http://schemas.microsoft.com/office/drawing/2014/main" id="{BF799191-1B37-4593-BA7E-BB048438AD1B}"/>
                    </a:ext>
                  </a:extLst>
                </p:cNvPr>
                <p:cNvSpPr/>
                <p:nvPr/>
              </p:nvSpPr>
              <p:spPr>
                <a:xfrm>
                  <a:off x="2771950" y="4158165"/>
                  <a:ext cx="83884" cy="32453"/>
                </a:xfrm>
                <a:custGeom>
                  <a:avLst/>
                  <a:gdLst>
                    <a:gd name="connsiteX0" fmla="*/ 77394 w 83884"/>
                    <a:gd name="connsiteY0" fmla="*/ 32453 h 32453"/>
                    <a:gd name="connsiteX1" fmla="*/ 6491 w 83884"/>
                    <a:gd name="connsiteY1" fmla="*/ 32453 h 32453"/>
                    <a:gd name="connsiteX2" fmla="*/ 0 w 83884"/>
                    <a:gd name="connsiteY2" fmla="*/ 25963 h 32453"/>
                    <a:gd name="connsiteX3" fmla="*/ 0 w 83884"/>
                    <a:gd name="connsiteY3" fmla="*/ 19447 h 32453"/>
                    <a:gd name="connsiteX4" fmla="*/ 70904 w 83884"/>
                    <a:gd name="connsiteY4" fmla="*/ 19497 h 32453"/>
                    <a:gd name="connsiteX5" fmla="*/ 70904 w 83884"/>
                    <a:gd name="connsiteY5" fmla="*/ 6491 h 32453"/>
                    <a:gd name="connsiteX6" fmla="*/ 83885 w 83884"/>
                    <a:gd name="connsiteY6" fmla="*/ 0 h 32453"/>
                    <a:gd name="connsiteX7" fmla="*/ 83885 w 83884"/>
                    <a:gd name="connsiteY7" fmla="*/ 25987 h 32453"/>
                    <a:gd name="connsiteX8" fmla="*/ 77394 w 83884"/>
                    <a:gd name="connsiteY8" fmla="*/ 32453 h 32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884" h="32453">
                      <a:moveTo>
                        <a:pt x="77394" y="32453"/>
                      </a:moveTo>
                      <a:lnTo>
                        <a:pt x="6491" y="32453"/>
                      </a:lnTo>
                      <a:cubicBezTo>
                        <a:pt x="2912" y="32453"/>
                        <a:pt x="0" y="29541"/>
                        <a:pt x="0" y="25963"/>
                      </a:cubicBezTo>
                      <a:lnTo>
                        <a:pt x="0" y="19447"/>
                      </a:lnTo>
                      <a:lnTo>
                        <a:pt x="70904" y="19497"/>
                      </a:lnTo>
                      <a:lnTo>
                        <a:pt x="70904" y="6491"/>
                      </a:lnTo>
                      <a:lnTo>
                        <a:pt x="83885" y="0"/>
                      </a:lnTo>
                      <a:lnTo>
                        <a:pt x="83885" y="25987"/>
                      </a:lnTo>
                      <a:cubicBezTo>
                        <a:pt x="83860" y="29541"/>
                        <a:pt x="80973" y="32453"/>
                        <a:pt x="77394" y="32453"/>
                      </a:cubicBezTo>
                      <a:close/>
                    </a:path>
                  </a:pathLst>
                </a:custGeom>
                <a:solidFill>
                  <a:schemeClr val="accent1"/>
                </a:solidFill>
                <a:ln w="2466" cap="flat">
                  <a:noFill/>
                  <a:prstDash val="solid"/>
                  <a:miter/>
                </a:ln>
              </p:spPr>
              <p:txBody>
                <a:bodyPr rtlCol="0" anchor="ctr"/>
                <a:lstStyle/>
                <a:p>
                  <a:endParaRPr lang="en-GB" dirty="0"/>
                </a:p>
              </p:txBody>
            </p:sp>
          </p:grpSp>
          <p:sp>
            <p:nvSpPr>
              <p:cNvPr id="140" name="Freihandform: Form 418">
                <a:extLst>
                  <a:ext uri="{FF2B5EF4-FFF2-40B4-BE49-F238E27FC236}">
                    <a16:creationId xmlns:a16="http://schemas.microsoft.com/office/drawing/2014/main" id="{7880AD61-434E-44DD-A525-C1EA074DFBC3}"/>
                  </a:ext>
                </a:extLst>
              </p:cNvPr>
              <p:cNvSpPr/>
              <p:nvPr/>
            </p:nvSpPr>
            <p:spPr>
              <a:xfrm>
                <a:off x="2650405" y="4209621"/>
                <a:ext cx="248421" cy="327346"/>
              </a:xfrm>
              <a:custGeom>
                <a:avLst/>
                <a:gdLst>
                  <a:gd name="connsiteX0" fmla="*/ 163673 w 248421"/>
                  <a:gd name="connsiteY0" fmla="*/ 327346 h 327346"/>
                  <a:gd name="connsiteX1" fmla="*/ 0 w 248421"/>
                  <a:gd name="connsiteY1" fmla="*/ 163673 h 327346"/>
                  <a:gd name="connsiteX2" fmla="*/ 163673 w 248421"/>
                  <a:gd name="connsiteY2" fmla="*/ 0 h 327346"/>
                  <a:gd name="connsiteX3" fmla="*/ 242054 w 248421"/>
                  <a:gd name="connsiteY3" fmla="*/ 19965 h 327346"/>
                  <a:gd name="connsiteX4" fmla="*/ 235835 w 248421"/>
                  <a:gd name="connsiteY4" fmla="*/ 31343 h 327346"/>
                  <a:gd name="connsiteX5" fmla="*/ 163673 w 248421"/>
                  <a:gd name="connsiteY5" fmla="*/ 12981 h 327346"/>
                  <a:gd name="connsiteX6" fmla="*/ 12981 w 248421"/>
                  <a:gd name="connsiteY6" fmla="*/ 163673 h 327346"/>
                  <a:gd name="connsiteX7" fmla="*/ 163673 w 248421"/>
                  <a:gd name="connsiteY7" fmla="*/ 314365 h 327346"/>
                  <a:gd name="connsiteX8" fmla="*/ 241684 w 248421"/>
                  <a:gd name="connsiteY8" fmla="*/ 292622 h 327346"/>
                  <a:gd name="connsiteX9" fmla="*/ 248422 w 248421"/>
                  <a:gd name="connsiteY9" fmla="*/ 303728 h 327346"/>
                  <a:gd name="connsiteX10" fmla="*/ 163673 w 248421"/>
                  <a:gd name="connsiteY10" fmla="*/ 327346 h 32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8421" h="327346">
                    <a:moveTo>
                      <a:pt x="163673" y="327346"/>
                    </a:moveTo>
                    <a:cubicBezTo>
                      <a:pt x="73421" y="327346"/>
                      <a:pt x="0" y="253925"/>
                      <a:pt x="0" y="163673"/>
                    </a:cubicBezTo>
                    <a:cubicBezTo>
                      <a:pt x="0" y="73421"/>
                      <a:pt x="73421" y="0"/>
                      <a:pt x="163673" y="0"/>
                    </a:cubicBezTo>
                    <a:cubicBezTo>
                      <a:pt x="191067" y="0"/>
                      <a:pt x="218189" y="6910"/>
                      <a:pt x="242054" y="19965"/>
                    </a:cubicBezTo>
                    <a:lnTo>
                      <a:pt x="235835" y="31343"/>
                    </a:lnTo>
                    <a:cubicBezTo>
                      <a:pt x="213846" y="19324"/>
                      <a:pt x="188895" y="12981"/>
                      <a:pt x="163673" y="12981"/>
                    </a:cubicBezTo>
                    <a:cubicBezTo>
                      <a:pt x="80578" y="12981"/>
                      <a:pt x="12981" y="80578"/>
                      <a:pt x="12981" y="163673"/>
                    </a:cubicBezTo>
                    <a:cubicBezTo>
                      <a:pt x="12981" y="246768"/>
                      <a:pt x="80578" y="314365"/>
                      <a:pt x="163673" y="314365"/>
                    </a:cubicBezTo>
                    <a:cubicBezTo>
                      <a:pt x="191240" y="314365"/>
                      <a:pt x="218214" y="306862"/>
                      <a:pt x="241684" y="292622"/>
                    </a:cubicBezTo>
                    <a:lnTo>
                      <a:pt x="248422" y="303728"/>
                    </a:lnTo>
                    <a:cubicBezTo>
                      <a:pt x="222928" y="319177"/>
                      <a:pt x="193634" y="327346"/>
                      <a:pt x="163673" y="327346"/>
                    </a:cubicBezTo>
                    <a:close/>
                  </a:path>
                </a:pathLst>
              </a:custGeom>
              <a:solidFill>
                <a:schemeClr val="accent1"/>
              </a:solidFill>
              <a:ln w="2466" cap="flat">
                <a:noFill/>
                <a:prstDash val="solid"/>
                <a:miter/>
              </a:ln>
            </p:spPr>
            <p:txBody>
              <a:bodyPr rtlCol="0" anchor="ctr"/>
              <a:lstStyle/>
              <a:p>
                <a:endParaRPr lang="en-GB" dirty="0"/>
              </a:p>
            </p:txBody>
          </p:sp>
          <p:sp>
            <p:nvSpPr>
              <p:cNvPr id="141" name="Freihandform: Form 419">
                <a:extLst>
                  <a:ext uri="{FF2B5EF4-FFF2-40B4-BE49-F238E27FC236}">
                    <a16:creationId xmlns:a16="http://schemas.microsoft.com/office/drawing/2014/main" id="{6885CB7B-BB0D-4F1B-BD0A-6A56FF7AD83E}"/>
                  </a:ext>
                </a:extLst>
              </p:cNvPr>
              <p:cNvSpPr/>
              <p:nvPr/>
            </p:nvSpPr>
            <p:spPr>
              <a:xfrm>
                <a:off x="2694975" y="4254192"/>
                <a:ext cx="238204" cy="238204"/>
              </a:xfrm>
              <a:custGeom>
                <a:avLst/>
                <a:gdLst>
                  <a:gd name="connsiteX0" fmla="*/ 119102 w 238204"/>
                  <a:gd name="connsiteY0" fmla="*/ 238204 h 238204"/>
                  <a:gd name="connsiteX1" fmla="*/ 0 w 238204"/>
                  <a:gd name="connsiteY1" fmla="*/ 119102 h 238204"/>
                  <a:gd name="connsiteX2" fmla="*/ 119102 w 238204"/>
                  <a:gd name="connsiteY2" fmla="*/ 0 h 238204"/>
                  <a:gd name="connsiteX3" fmla="*/ 238204 w 238204"/>
                  <a:gd name="connsiteY3" fmla="*/ 119102 h 238204"/>
                  <a:gd name="connsiteX4" fmla="*/ 119102 w 238204"/>
                  <a:gd name="connsiteY4" fmla="*/ 238204 h 238204"/>
                  <a:gd name="connsiteX5" fmla="*/ 119102 w 238204"/>
                  <a:gd name="connsiteY5" fmla="*/ 12981 h 238204"/>
                  <a:gd name="connsiteX6" fmla="*/ 12981 w 238204"/>
                  <a:gd name="connsiteY6" fmla="*/ 119102 h 238204"/>
                  <a:gd name="connsiteX7" fmla="*/ 119102 w 238204"/>
                  <a:gd name="connsiteY7" fmla="*/ 225223 h 238204"/>
                  <a:gd name="connsiteX8" fmla="*/ 225223 w 238204"/>
                  <a:gd name="connsiteY8" fmla="*/ 119102 h 238204"/>
                  <a:gd name="connsiteX9" fmla="*/ 119102 w 238204"/>
                  <a:gd name="connsiteY9" fmla="*/ 12981 h 2382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8204" h="238204">
                    <a:moveTo>
                      <a:pt x="119102" y="238204"/>
                    </a:moveTo>
                    <a:cubicBezTo>
                      <a:pt x="53431" y="238204"/>
                      <a:pt x="0" y="184774"/>
                      <a:pt x="0" y="119102"/>
                    </a:cubicBezTo>
                    <a:cubicBezTo>
                      <a:pt x="0" y="53430"/>
                      <a:pt x="53431" y="0"/>
                      <a:pt x="119102" y="0"/>
                    </a:cubicBezTo>
                    <a:cubicBezTo>
                      <a:pt x="184774" y="0"/>
                      <a:pt x="238204" y="53430"/>
                      <a:pt x="238204" y="119102"/>
                    </a:cubicBezTo>
                    <a:cubicBezTo>
                      <a:pt x="238204" y="184774"/>
                      <a:pt x="184774" y="238204"/>
                      <a:pt x="119102" y="238204"/>
                    </a:cubicBezTo>
                    <a:close/>
                    <a:moveTo>
                      <a:pt x="119102" y="12981"/>
                    </a:moveTo>
                    <a:cubicBezTo>
                      <a:pt x="60588" y="12981"/>
                      <a:pt x="12981" y="60587"/>
                      <a:pt x="12981" y="119102"/>
                    </a:cubicBezTo>
                    <a:cubicBezTo>
                      <a:pt x="12981" y="177617"/>
                      <a:pt x="60588" y="225223"/>
                      <a:pt x="119102" y="225223"/>
                    </a:cubicBezTo>
                    <a:cubicBezTo>
                      <a:pt x="177617" y="225223"/>
                      <a:pt x="225223" y="177617"/>
                      <a:pt x="225223" y="119102"/>
                    </a:cubicBezTo>
                    <a:cubicBezTo>
                      <a:pt x="225248" y="60587"/>
                      <a:pt x="177617" y="12981"/>
                      <a:pt x="119102" y="12981"/>
                    </a:cubicBezTo>
                    <a:close/>
                  </a:path>
                </a:pathLst>
              </a:custGeom>
              <a:solidFill>
                <a:schemeClr val="accent1"/>
              </a:solidFill>
              <a:ln w="2466" cap="flat">
                <a:noFill/>
                <a:prstDash val="solid"/>
                <a:miter/>
              </a:ln>
            </p:spPr>
            <p:txBody>
              <a:bodyPr rtlCol="0" anchor="ctr"/>
              <a:lstStyle/>
              <a:p>
                <a:endParaRPr lang="en-GB" dirty="0"/>
              </a:p>
            </p:txBody>
          </p:sp>
          <p:sp>
            <p:nvSpPr>
              <p:cNvPr id="142" name="Freihandform: Form 424">
                <a:extLst>
                  <a:ext uri="{FF2B5EF4-FFF2-40B4-BE49-F238E27FC236}">
                    <a16:creationId xmlns:a16="http://schemas.microsoft.com/office/drawing/2014/main" id="{B04228DA-6DEC-40F0-A9FA-B5512C3A9701}"/>
                  </a:ext>
                </a:extLst>
              </p:cNvPr>
              <p:cNvSpPr/>
              <p:nvPr/>
            </p:nvSpPr>
            <p:spPr>
              <a:xfrm>
                <a:off x="2762475" y="4294271"/>
                <a:ext cx="59919" cy="128899"/>
              </a:xfrm>
              <a:custGeom>
                <a:avLst/>
                <a:gdLst>
                  <a:gd name="connsiteX0" fmla="*/ 6489 w 59919"/>
                  <a:gd name="connsiteY0" fmla="*/ 128900 h 128899"/>
                  <a:gd name="connsiteX1" fmla="*/ 1455 w 59919"/>
                  <a:gd name="connsiteY1" fmla="*/ 126506 h 128899"/>
                  <a:gd name="connsiteX2" fmla="*/ 2392 w 59919"/>
                  <a:gd name="connsiteY2" fmla="*/ 117375 h 128899"/>
                  <a:gd name="connsiteX3" fmla="*/ 46938 w 59919"/>
                  <a:gd name="connsiteY3" fmla="*/ 81244 h 128899"/>
                  <a:gd name="connsiteX4" fmla="*/ 46938 w 59919"/>
                  <a:gd name="connsiteY4" fmla="*/ 6491 h 128899"/>
                  <a:gd name="connsiteX5" fmla="*/ 53429 w 59919"/>
                  <a:gd name="connsiteY5" fmla="*/ 0 h 128899"/>
                  <a:gd name="connsiteX6" fmla="*/ 59920 w 59919"/>
                  <a:gd name="connsiteY6" fmla="*/ 6491 h 128899"/>
                  <a:gd name="connsiteX7" fmla="*/ 59920 w 59919"/>
                  <a:gd name="connsiteY7" fmla="*/ 84354 h 128899"/>
                  <a:gd name="connsiteX8" fmla="*/ 57526 w 59919"/>
                  <a:gd name="connsiteY8" fmla="*/ 89388 h 128899"/>
                  <a:gd name="connsiteX9" fmla="*/ 10586 w 59919"/>
                  <a:gd name="connsiteY9" fmla="*/ 127468 h 128899"/>
                  <a:gd name="connsiteX10" fmla="*/ 6489 w 59919"/>
                  <a:gd name="connsiteY10" fmla="*/ 128900 h 128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919" h="128899">
                    <a:moveTo>
                      <a:pt x="6489" y="128900"/>
                    </a:moveTo>
                    <a:cubicBezTo>
                      <a:pt x="4589" y="128900"/>
                      <a:pt x="2713" y="128085"/>
                      <a:pt x="1455" y="126506"/>
                    </a:cubicBezTo>
                    <a:cubicBezTo>
                      <a:pt x="-816" y="123717"/>
                      <a:pt x="-372" y="119645"/>
                      <a:pt x="2392" y="117375"/>
                    </a:cubicBezTo>
                    <a:lnTo>
                      <a:pt x="46938" y="81244"/>
                    </a:lnTo>
                    <a:lnTo>
                      <a:pt x="46938" y="6491"/>
                    </a:lnTo>
                    <a:cubicBezTo>
                      <a:pt x="46938" y="2912"/>
                      <a:pt x="49851" y="0"/>
                      <a:pt x="53429" y="0"/>
                    </a:cubicBezTo>
                    <a:cubicBezTo>
                      <a:pt x="57008" y="0"/>
                      <a:pt x="59920" y="2912"/>
                      <a:pt x="59920" y="6491"/>
                    </a:cubicBezTo>
                    <a:lnTo>
                      <a:pt x="59920" y="84354"/>
                    </a:lnTo>
                    <a:cubicBezTo>
                      <a:pt x="59920" y="86303"/>
                      <a:pt x="59031" y="88154"/>
                      <a:pt x="57526" y="89388"/>
                    </a:cubicBezTo>
                    <a:lnTo>
                      <a:pt x="10586" y="127468"/>
                    </a:lnTo>
                    <a:cubicBezTo>
                      <a:pt x="9377" y="128431"/>
                      <a:pt x="7921" y="128900"/>
                      <a:pt x="6489" y="128900"/>
                    </a:cubicBezTo>
                    <a:close/>
                  </a:path>
                </a:pathLst>
              </a:custGeom>
              <a:solidFill>
                <a:schemeClr val="accent1"/>
              </a:solidFill>
              <a:ln w="2466" cap="flat">
                <a:noFill/>
                <a:prstDash val="solid"/>
                <a:miter/>
              </a:ln>
            </p:spPr>
            <p:txBody>
              <a:bodyPr rtlCol="0" anchor="ctr"/>
              <a:lstStyle/>
              <a:p>
                <a:endParaRPr lang="en-GB" dirty="0"/>
              </a:p>
            </p:txBody>
          </p:sp>
        </p:grpSp>
      </p:grpSp>
      <p:grpSp>
        <p:nvGrpSpPr>
          <p:cNvPr id="152" name="Group 151">
            <a:extLst>
              <a:ext uri="{FF2B5EF4-FFF2-40B4-BE49-F238E27FC236}">
                <a16:creationId xmlns:a16="http://schemas.microsoft.com/office/drawing/2014/main" id="{6F7A9A8F-A3C1-4069-A265-6EF438A2C42E}"/>
              </a:ext>
            </a:extLst>
          </p:cNvPr>
          <p:cNvGrpSpPr>
            <a:grpSpLocks noChangeAspect="1"/>
          </p:cNvGrpSpPr>
          <p:nvPr/>
        </p:nvGrpSpPr>
        <p:grpSpPr>
          <a:xfrm>
            <a:off x="518320" y="2391510"/>
            <a:ext cx="551461" cy="432010"/>
            <a:chOff x="1717627" y="4153364"/>
            <a:chExt cx="480135" cy="376135"/>
          </a:xfrm>
        </p:grpSpPr>
        <p:grpSp>
          <p:nvGrpSpPr>
            <p:cNvPr id="153" name="Group 152">
              <a:extLst>
                <a:ext uri="{FF2B5EF4-FFF2-40B4-BE49-F238E27FC236}">
                  <a16:creationId xmlns:a16="http://schemas.microsoft.com/office/drawing/2014/main" id="{18FC559E-6E44-4267-B308-E75796C10F99}"/>
                </a:ext>
              </a:extLst>
            </p:cNvPr>
            <p:cNvGrpSpPr/>
            <p:nvPr/>
          </p:nvGrpSpPr>
          <p:grpSpPr>
            <a:xfrm>
              <a:off x="1717627" y="4295886"/>
              <a:ext cx="480135" cy="233613"/>
              <a:chOff x="1717627" y="4295876"/>
              <a:chExt cx="480135" cy="233613"/>
            </a:xfrm>
          </p:grpSpPr>
          <p:sp>
            <p:nvSpPr>
              <p:cNvPr id="155" name="Freihandform: Form 426">
                <a:extLst>
                  <a:ext uri="{FF2B5EF4-FFF2-40B4-BE49-F238E27FC236}">
                    <a16:creationId xmlns:a16="http://schemas.microsoft.com/office/drawing/2014/main" id="{E294F868-C93C-425C-9681-D04767F2629C}"/>
                  </a:ext>
                </a:extLst>
              </p:cNvPr>
              <p:cNvSpPr/>
              <p:nvPr/>
            </p:nvSpPr>
            <p:spPr>
              <a:xfrm>
                <a:off x="1968763" y="4295985"/>
                <a:ext cx="228999" cy="165389"/>
              </a:xfrm>
              <a:custGeom>
                <a:avLst/>
                <a:gdLst>
                  <a:gd name="connsiteX0" fmla="*/ 47360 w 228999"/>
                  <a:gd name="connsiteY0" fmla="*/ 165389 h 165389"/>
                  <a:gd name="connsiteX1" fmla="*/ 36131 w 228999"/>
                  <a:gd name="connsiteY1" fmla="*/ 158899 h 165389"/>
                  <a:gd name="connsiteX2" fmla="*/ 131664 w 228999"/>
                  <a:gd name="connsiteY2" fmla="*/ 103765 h 165389"/>
                  <a:gd name="connsiteX3" fmla="*/ 138155 w 228999"/>
                  <a:gd name="connsiteY3" fmla="*/ 110256 h 165389"/>
                  <a:gd name="connsiteX4" fmla="*/ 138155 w 228999"/>
                  <a:gd name="connsiteY4" fmla="*/ 123607 h 165389"/>
                  <a:gd name="connsiteX5" fmla="*/ 211329 w 228999"/>
                  <a:gd name="connsiteY5" fmla="*/ 71337 h 165389"/>
                  <a:gd name="connsiteX6" fmla="*/ 138155 w 228999"/>
                  <a:gd name="connsiteY6" fmla="*/ 19066 h 165389"/>
                  <a:gd name="connsiteX7" fmla="*/ 138155 w 228999"/>
                  <a:gd name="connsiteY7" fmla="*/ 32418 h 165389"/>
                  <a:gd name="connsiteX8" fmla="*/ 131664 w 228999"/>
                  <a:gd name="connsiteY8" fmla="*/ 38908 h 165389"/>
                  <a:gd name="connsiteX9" fmla="*/ 9082 w 228999"/>
                  <a:gd name="connsiteY9" fmla="*/ 88958 h 165389"/>
                  <a:gd name="connsiteX10" fmla="*/ 0 w 228999"/>
                  <a:gd name="connsiteY10" fmla="*/ 79703 h 165389"/>
                  <a:gd name="connsiteX11" fmla="*/ 125198 w 228999"/>
                  <a:gd name="connsiteY11" fmla="*/ 26050 h 165389"/>
                  <a:gd name="connsiteX12" fmla="*/ 125198 w 228999"/>
                  <a:gd name="connsiteY12" fmla="*/ 6480 h 165389"/>
                  <a:gd name="connsiteX13" fmla="*/ 128727 w 228999"/>
                  <a:gd name="connsiteY13" fmla="*/ 705 h 165389"/>
                  <a:gd name="connsiteX14" fmla="*/ 135465 w 228999"/>
                  <a:gd name="connsiteY14" fmla="*/ 1198 h 165389"/>
                  <a:gd name="connsiteX15" fmla="*/ 226284 w 228999"/>
                  <a:gd name="connsiteY15" fmla="*/ 66080 h 165389"/>
                  <a:gd name="connsiteX16" fmla="*/ 228999 w 228999"/>
                  <a:gd name="connsiteY16" fmla="*/ 71361 h 165389"/>
                  <a:gd name="connsiteX17" fmla="*/ 226284 w 228999"/>
                  <a:gd name="connsiteY17" fmla="*/ 76643 h 165389"/>
                  <a:gd name="connsiteX18" fmla="*/ 135465 w 228999"/>
                  <a:gd name="connsiteY18" fmla="*/ 141525 h 165389"/>
                  <a:gd name="connsiteX19" fmla="*/ 128727 w 228999"/>
                  <a:gd name="connsiteY19" fmla="*/ 142018 h 165389"/>
                  <a:gd name="connsiteX20" fmla="*/ 125198 w 228999"/>
                  <a:gd name="connsiteY20" fmla="*/ 136243 h 165389"/>
                  <a:gd name="connsiteX21" fmla="*/ 125198 w 228999"/>
                  <a:gd name="connsiteY21" fmla="*/ 116993 h 165389"/>
                  <a:gd name="connsiteX22" fmla="*/ 47360 w 228999"/>
                  <a:gd name="connsiteY22" fmla="*/ 165389 h 165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28999" h="165389">
                    <a:moveTo>
                      <a:pt x="47360" y="165389"/>
                    </a:moveTo>
                    <a:lnTo>
                      <a:pt x="36131" y="158899"/>
                    </a:lnTo>
                    <a:cubicBezTo>
                      <a:pt x="55800" y="124891"/>
                      <a:pt x="92424" y="103765"/>
                      <a:pt x="131664" y="103765"/>
                    </a:cubicBezTo>
                    <a:cubicBezTo>
                      <a:pt x="135242" y="103765"/>
                      <a:pt x="138155" y="106677"/>
                      <a:pt x="138155" y="110256"/>
                    </a:cubicBezTo>
                    <a:lnTo>
                      <a:pt x="138155" y="123607"/>
                    </a:lnTo>
                    <a:lnTo>
                      <a:pt x="211329" y="71337"/>
                    </a:lnTo>
                    <a:lnTo>
                      <a:pt x="138155" y="19066"/>
                    </a:lnTo>
                    <a:lnTo>
                      <a:pt x="138155" y="32418"/>
                    </a:lnTo>
                    <a:cubicBezTo>
                      <a:pt x="138155" y="35996"/>
                      <a:pt x="135242" y="38908"/>
                      <a:pt x="131664" y="38908"/>
                    </a:cubicBezTo>
                    <a:cubicBezTo>
                      <a:pt x="85538" y="38908"/>
                      <a:pt x="42004" y="56677"/>
                      <a:pt x="9082" y="88958"/>
                    </a:cubicBezTo>
                    <a:lnTo>
                      <a:pt x="0" y="79703"/>
                    </a:lnTo>
                    <a:cubicBezTo>
                      <a:pt x="33835" y="46559"/>
                      <a:pt x="78061" y="27630"/>
                      <a:pt x="125198" y="26050"/>
                    </a:cubicBezTo>
                    <a:lnTo>
                      <a:pt x="125198" y="6480"/>
                    </a:lnTo>
                    <a:cubicBezTo>
                      <a:pt x="125198" y="4036"/>
                      <a:pt x="126555" y="1815"/>
                      <a:pt x="128727" y="705"/>
                    </a:cubicBezTo>
                    <a:cubicBezTo>
                      <a:pt x="130899" y="-381"/>
                      <a:pt x="133490" y="-208"/>
                      <a:pt x="135465" y="1198"/>
                    </a:cubicBezTo>
                    <a:lnTo>
                      <a:pt x="226284" y="66080"/>
                    </a:lnTo>
                    <a:cubicBezTo>
                      <a:pt x="227987" y="67289"/>
                      <a:pt x="228999" y="69264"/>
                      <a:pt x="228999" y="71361"/>
                    </a:cubicBezTo>
                    <a:cubicBezTo>
                      <a:pt x="228999" y="73459"/>
                      <a:pt x="227987" y="75434"/>
                      <a:pt x="226284" y="76643"/>
                    </a:cubicBezTo>
                    <a:lnTo>
                      <a:pt x="135465" y="141525"/>
                    </a:lnTo>
                    <a:cubicBezTo>
                      <a:pt x="133490" y="142931"/>
                      <a:pt x="130899" y="143129"/>
                      <a:pt x="128727" y="142018"/>
                    </a:cubicBezTo>
                    <a:cubicBezTo>
                      <a:pt x="126555" y="140908"/>
                      <a:pt x="125198" y="138687"/>
                      <a:pt x="125198" y="136243"/>
                    </a:cubicBezTo>
                    <a:lnTo>
                      <a:pt x="125198" y="116993"/>
                    </a:lnTo>
                    <a:cubicBezTo>
                      <a:pt x="93041" y="119091"/>
                      <a:pt x="63623" y="137230"/>
                      <a:pt x="47360" y="165389"/>
                    </a:cubicBezTo>
                    <a:close/>
                  </a:path>
                </a:pathLst>
              </a:custGeom>
              <a:solidFill>
                <a:schemeClr val="tx2"/>
              </a:solidFill>
              <a:ln w="2466" cap="flat">
                <a:noFill/>
                <a:prstDash val="solid"/>
                <a:miter/>
              </a:ln>
            </p:spPr>
            <p:txBody>
              <a:bodyPr rtlCol="0" anchor="ctr"/>
              <a:lstStyle/>
              <a:p>
                <a:endParaRPr lang="en-GB" dirty="0"/>
              </a:p>
            </p:txBody>
          </p:sp>
          <p:sp>
            <p:nvSpPr>
              <p:cNvPr id="156" name="Freihandform: Form 427">
                <a:extLst>
                  <a:ext uri="{FF2B5EF4-FFF2-40B4-BE49-F238E27FC236}">
                    <a16:creationId xmlns:a16="http://schemas.microsoft.com/office/drawing/2014/main" id="{5496DF78-7418-44E7-A02C-6640461F41C8}"/>
                  </a:ext>
                </a:extLst>
              </p:cNvPr>
              <p:cNvSpPr/>
              <p:nvPr/>
            </p:nvSpPr>
            <p:spPr>
              <a:xfrm>
                <a:off x="1717627" y="4295876"/>
                <a:ext cx="285465" cy="233613"/>
              </a:xfrm>
              <a:custGeom>
                <a:avLst/>
                <a:gdLst>
                  <a:gd name="connsiteX0" fmla="*/ 285465 w 285465"/>
                  <a:gd name="connsiteY0" fmla="*/ 233613 h 233613"/>
                  <a:gd name="connsiteX1" fmla="*/ 272484 w 285465"/>
                  <a:gd name="connsiteY1" fmla="*/ 233613 h 233613"/>
                  <a:gd name="connsiteX2" fmla="*/ 272484 w 285465"/>
                  <a:gd name="connsiteY2" fmla="*/ 214141 h 233613"/>
                  <a:gd name="connsiteX3" fmla="*/ 97310 w 285465"/>
                  <a:gd name="connsiteY3" fmla="*/ 38968 h 233613"/>
                  <a:gd name="connsiteX4" fmla="*/ 90820 w 285465"/>
                  <a:gd name="connsiteY4" fmla="*/ 32477 h 233613"/>
                  <a:gd name="connsiteX5" fmla="*/ 90820 w 285465"/>
                  <a:gd name="connsiteY5" fmla="*/ 19126 h 233613"/>
                  <a:gd name="connsiteX6" fmla="*/ 17646 w 285465"/>
                  <a:gd name="connsiteY6" fmla="*/ 71396 h 233613"/>
                  <a:gd name="connsiteX7" fmla="*/ 90820 w 285465"/>
                  <a:gd name="connsiteY7" fmla="*/ 123667 h 233613"/>
                  <a:gd name="connsiteX8" fmla="*/ 90820 w 285465"/>
                  <a:gd name="connsiteY8" fmla="*/ 110316 h 233613"/>
                  <a:gd name="connsiteX9" fmla="*/ 97310 w 285465"/>
                  <a:gd name="connsiteY9" fmla="*/ 103825 h 233613"/>
                  <a:gd name="connsiteX10" fmla="*/ 207602 w 285465"/>
                  <a:gd name="connsiteY10" fmla="*/ 214117 h 233613"/>
                  <a:gd name="connsiteX11" fmla="*/ 207602 w 285465"/>
                  <a:gd name="connsiteY11" fmla="*/ 233589 h 233613"/>
                  <a:gd name="connsiteX12" fmla="*/ 194621 w 285465"/>
                  <a:gd name="connsiteY12" fmla="*/ 233589 h 233613"/>
                  <a:gd name="connsiteX13" fmla="*/ 194621 w 285465"/>
                  <a:gd name="connsiteY13" fmla="*/ 214117 h 233613"/>
                  <a:gd name="connsiteX14" fmla="*/ 103801 w 285465"/>
                  <a:gd name="connsiteY14" fmla="*/ 117004 h 233613"/>
                  <a:gd name="connsiteX15" fmla="*/ 103801 w 285465"/>
                  <a:gd name="connsiteY15" fmla="*/ 136254 h 233613"/>
                  <a:gd name="connsiteX16" fmla="*/ 100272 w 285465"/>
                  <a:gd name="connsiteY16" fmla="*/ 142028 h 233613"/>
                  <a:gd name="connsiteX17" fmla="*/ 93534 w 285465"/>
                  <a:gd name="connsiteY17" fmla="*/ 141535 h 233613"/>
                  <a:gd name="connsiteX18" fmla="*/ 2715 w 285465"/>
                  <a:gd name="connsiteY18" fmla="*/ 76653 h 233613"/>
                  <a:gd name="connsiteX19" fmla="*/ 0 w 285465"/>
                  <a:gd name="connsiteY19" fmla="*/ 71372 h 233613"/>
                  <a:gd name="connsiteX20" fmla="*/ 2715 w 285465"/>
                  <a:gd name="connsiteY20" fmla="*/ 66090 h 233613"/>
                  <a:gd name="connsiteX21" fmla="*/ 93534 w 285465"/>
                  <a:gd name="connsiteY21" fmla="*/ 1209 h 233613"/>
                  <a:gd name="connsiteX22" fmla="*/ 100272 w 285465"/>
                  <a:gd name="connsiteY22" fmla="*/ 715 h 233613"/>
                  <a:gd name="connsiteX23" fmla="*/ 103801 w 285465"/>
                  <a:gd name="connsiteY23" fmla="*/ 6490 h 233613"/>
                  <a:gd name="connsiteX24" fmla="*/ 103801 w 285465"/>
                  <a:gd name="connsiteY24" fmla="*/ 26061 h 233613"/>
                  <a:gd name="connsiteX25" fmla="*/ 285465 w 285465"/>
                  <a:gd name="connsiteY25" fmla="*/ 214092 h 233613"/>
                  <a:gd name="connsiteX26" fmla="*/ 285465 w 285465"/>
                  <a:gd name="connsiteY26" fmla="*/ 233613 h 233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85465" h="233613">
                    <a:moveTo>
                      <a:pt x="285465" y="233613"/>
                    </a:moveTo>
                    <a:lnTo>
                      <a:pt x="272484" y="233613"/>
                    </a:lnTo>
                    <a:lnTo>
                      <a:pt x="272484" y="214141"/>
                    </a:lnTo>
                    <a:cubicBezTo>
                      <a:pt x="272484" y="117547"/>
                      <a:pt x="193905" y="38968"/>
                      <a:pt x="97310" y="38968"/>
                    </a:cubicBezTo>
                    <a:cubicBezTo>
                      <a:pt x="93732" y="38968"/>
                      <a:pt x="90820" y="36056"/>
                      <a:pt x="90820" y="32477"/>
                    </a:cubicBezTo>
                    <a:lnTo>
                      <a:pt x="90820" y="19126"/>
                    </a:lnTo>
                    <a:lnTo>
                      <a:pt x="17646" y="71396"/>
                    </a:lnTo>
                    <a:lnTo>
                      <a:pt x="90820" y="123667"/>
                    </a:lnTo>
                    <a:lnTo>
                      <a:pt x="90820" y="110316"/>
                    </a:lnTo>
                    <a:cubicBezTo>
                      <a:pt x="90820" y="106737"/>
                      <a:pt x="93732" y="103825"/>
                      <a:pt x="97310" y="103825"/>
                    </a:cubicBezTo>
                    <a:cubicBezTo>
                      <a:pt x="158120" y="103825"/>
                      <a:pt x="207602" y="153307"/>
                      <a:pt x="207602" y="214117"/>
                    </a:cubicBezTo>
                    <a:lnTo>
                      <a:pt x="207602" y="233589"/>
                    </a:lnTo>
                    <a:lnTo>
                      <a:pt x="194621" y="233589"/>
                    </a:lnTo>
                    <a:lnTo>
                      <a:pt x="194621" y="214117"/>
                    </a:lnTo>
                    <a:cubicBezTo>
                      <a:pt x="194621" y="162636"/>
                      <a:pt x="154443" y="120360"/>
                      <a:pt x="103801" y="117004"/>
                    </a:cubicBezTo>
                    <a:lnTo>
                      <a:pt x="103801" y="136254"/>
                    </a:lnTo>
                    <a:cubicBezTo>
                      <a:pt x="103801" y="138697"/>
                      <a:pt x="102444" y="140918"/>
                      <a:pt x="100272" y="142028"/>
                    </a:cubicBezTo>
                    <a:cubicBezTo>
                      <a:pt x="98125" y="143115"/>
                      <a:pt x="95509" y="142966"/>
                      <a:pt x="93534" y="141535"/>
                    </a:cubicBezTo>
                    <a:lnTo>
                      <a:pt x="2715" y="76653"/>
                    </a:lnTo>
                    <a:cubicBezTo>
                      <a:pt x="1012" y="75444"/>
                      <a:pt x="0" y="73469"/>
                      <a:pt x="0" y="71372"/>
                    </a:cubicBezTo>
                    <a:cubicBezTo>
                      <a:pt x="0" y="69274"/>
                      <a:pt x="1012" y="67300"/>
                      <a:pt x="2715" y="66090"/>
                    </a:cubicBezTo>
                    <a:lnTo>
                      <a:pt x="93534" y="1209"/>
                    </a:lnTo>
                    <a:cubicBezTo>
                      <a:pt x="95509" y="-198"/>
                      <a:pt x="98100" y="-396"/>
                      <a:pt x="100272" y="715"/>
                    </a:cubicBezTo>
                    <a:cubicBezTo>
                      <a:pt x="102444" y="1826"/>
                      <a:pt x="103801" y="4047"/>
                      <a:pt x="103801" y="6490"/>
                    </a:cubicBezTo>
                    <a:lnTo>
                      <a:pt x="103801" y="26061"/>
                    </a:lnTo>
                    <a:cubicBezTo>
                      <a:pt x="204542" y="29491"/>
                      <a:pt x="285465" y="112537"/>
                      <a:pt x="285465" y="214092"/>
                    </a:cubicBezTo>
                    <a:lnTo>
                      <a:pt x="285465" y="233613"/>
                    </a:lnTo>
                    <a:close/>
                  </a:path>
                </a:pathLst>
              </a:custGeom>
              <a:solidFill>
                <a:schemeClr val="tx2"/>
              </a:solidFill>
              <a:ln w="2466" cap="flat">
                <a:noFill/>
                <a:prstDash val="solid"/>
                <a:miter/>
              </a:ln>
            </p:spPr>
            <p:txBody>
              <a:bodyPr rtlCol="0" anchor="ctr"/>
              <a:lstStyle/>
              <a:p>
                <a:endParaRPr lang="en-GB" dirty="0"/>
              </a:p>
            </p:txBody>
          </p:sp>
        </p:grpSp>
        <p:sp>
          <p:nvSpPr>
            <p:cNvPr id="154" name="Freihandform: Form 428">
              <a:extLst>
                <a:ext uri="{FF2B5EF4-FFF2-40B4-BE49-F238E27FC236}">
                  <a16:creationId xmlns:a16="http://schemas.microsoft.com/office/drawing/2014/main" id="{9D8FE033-8488-412C-99C7-F746A54984CE}"/>
                </a:ext>
              </a:extLst>
            </p:cNvPr>
            <p:cNvSpPr/>
            <p:nvPr/>
          </p:nvSpPr>
          <p:spPr>
            <a:xfrm>
              <a:off x="1886310" y="4153364"/>
              <a:ext cx="142743" cy="181479"/>
            </a:xfrm>
            <a:custGeom>
              <a:avLst/>
              <a:gdLst>
                <a:gd name="connsiteX0" fmla="*/ 116782 w 142743"/>
                <a:gd name="connsiteY0" fmla="*/ 181479 h 181479"/>
                <a:gd name="connsiteX1" fmla="*/ 103800 w 142743"/>
                <a:gd name="connsiteY1" fmla="*/ 181479 h 181479"/>
                <a:gd name="connsiteX2" fmla="*/ 103800 w 142743"/>
                <a:gd name="connsiteY2" fmla="*/ 97125 h 181479"/>
                <a:gd name="connsiteX3" fmla="*/ 110291 w 142743"/>
                <a:gd name="connsiteY3" fmla="*/ 90635 h 181479"/>
                <a:gd name="connsiteX4" fmla="*/ 123642 w 142743"/>
                <a:gd name="connsiteY4" fmla="*/ 90635 h 181479"/>
                <a:gd name="connsiteX5" fmla="*/ 71372 w 142743"/>
                <a:gd name="connsiteY5" fmla="*/ 17461 h 181479"/>
                <a:gd name="connsiteX6" fmla="*/ 19101 w 142743"/>
                <a:gd name="connsiteY6" fmla="*/ 90635 h 181479"/>
                <a:gd name="connsiteX7" fmla="*/ 32453 w 142743"/>
                <a:gd name="connsiteY7" fmla="*/ 90635 h 181479"/>
                <a:gd name="connsiteX8" fmla="*/ 38943 w 142743"/>
                <a:gd name="connsiteY8" fmla="*/ 97125 h 181479"/>
                <a:gd name="connsiteX9" fmla="*/ 38943 w 142743"/>
                <a:gd name="connsiteY9" fmla="*/ 181479 h 181479"/>
                <a:gd name="connsiteX10" fmla="*/ 25962 w 142743"/>
                <a:gd name="connsiteY10" fmla="*/ 181479 h 181479"/>
                <a:gd name="connsiteX11" fmla="*/ 25962 w 142743"/>
                <a:gd name="connsiteY11" fmla="*/ 103616 h 181479"/>
                <a:gd name="connsiteX12" fmla="*/ 6490 w 142743"/>
                <a:gd name="connsiteY12" fmla="*/ 103616 h 181479"/>
                <a:gd name="connsiteX13" fmla="*/ 715 w 142743"/>
                <a:gd name="connsiteY13" fmla="*/ 100112 h 181479"/>
                <a:gd name="connsiteX14" fmla="*/ 1209 w 142743"/>
                <a:gd name="connsiteY14" fmla="*/ 93374 h 181479"/>
                <a:gd name="connsiteX15" fmla="*/ 66090 w 142743"/>
                <a:gd name="connsiteY15" fmla="*/ 2554 h 181479"/>
                <a:gd name="connsiteX16" fmla="*/ 76653 w 142743"/>
                <a:gd name="connsiteY16" fmla="*/ 2554 h 181479"/>
                <a:gd name="connsiteX17" fmla="*/ 141535 w 142743"/>
                <a:gd name="connsiteY17" fmla="*/ 93374 h 181479"/>
                <a:gd name="connsiteX18" fmla="*/ 142028 w 142743"/>
                <a:gd name="connsiteY18" fmla="*/ 100112 h 181479"/>
                <a:gd name="connsiteX19" fmla="*/ 136254 w 142743"/>
                <a:gd name="connsiteY19" fmla="*/ 103616 h 181479"/>
                <a:gd name="connsiteX20" fmla="*/ 116782 w 142743"/>
                <a:gd name="connsiteY20" fmla="*/ 103616 h 181479"/>
                <a:gd name="connsiteX21" fmla="*/ 116782 w 142743"/>
                <a:gd name="connsiteY21" fmla="*/ 181479 h 181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2743" h="181479">
                  <a:moveTo>
                    <a:pt x="116782" y="181479"/>
                  </a:moveTo>
                  <a:lnTo>
                    <a:pt x="103800" y="181479"/>
                  </a:lnTo>
                  <a:lnTo>
                    <a:pt x="103800" y="97125"/>
                  </a:lnTo>
                  <a:cubicBezTo>
                    <a:pt x="103800" y="93547"/>
                    <a:pt x="106712" y="90635"/>
                    <a:pt x="110291" y="90635"/>
                  </a:cubicBezTo>
                  <a:lnTo>
                    <a:pt x="123642" y="90635"/>
                  </a:lnTo>
                  <a:lnTo>
                    <a:pt x="71372" y="17461"/>
                  </a:lnTo>
                  <a:lnTo>
                    <a:pt x="19101" y="90635"/>
                  </a:lnTo>
                  <a:lnTo>
                    <a:pt x="32453" y="90635"/>
                  </a:lnTo>
                  <a:cubicBezTo>
                    <a:pt x="36031" y="90635"/>
                    <a:pt x="38943" y="93547"/>
                    <a:pt x="38943" y="97125"/>
                  </a:cubicBezTo>
                  <a:lnTo>
                    <a:pt x="38943" y="181479"/>
                  </a:lnTo>
                  <a:lnTo>
                    <a:pt x="25962" y="181479"/>
                  </a:lnTo>
                  <a:lnTo>
                    <a:pt x="25962" y="103616"/>
                  </a:lnTo>
                  <a:lnTo>
                    <a:pt x="6490" y="103616"/>
                  </a:lnTo>
                  <a:cubicBezTo>
                    <a:pt x="4071" y="103616"/>
                    <a:pt x="1826" y="102259"/>
                    <a:pt x="715" y="100112"/>
                  </a:cubicBezTo>
                  <a:cubicBezTo>
                    <a:pt x="-396" y="97940"/>
                    <a:pt x="-198" y="95348"/>
                    <a:pt x="1209" y="93374"/>
                  </a:cubicBezTo>
                  <a:lnTo>
                    <a:pt x="66090" y="2554"/>
                  </a:lnTo>
                  <a:cubicBezTo>
                    <a:pt x="68534" y="-851"/>
                    <a:pt x="74210" y="-851"/>
                    <a:pt x="76653" y="2554"/>
                  </a:cubicBezTo>
                  <a:lnTo>
                    <a:pt x="141535" y="93374"/>
                  </a:lnTo>
                  <a:cubicBezTo>
                    <a:pt x="142942" y="95348"/>
                    <a:pt x="143139" y="97940"/>
                    <a:pt x="142028" y="100112"/>
                  </a:cubicBezTo>
                  <a:cubicBezTo>
                    <a:pt x="140918" y="102283"/>
                    <a:pt x="138697" y="103616"/>
                    <a:pt x="136254" y="103616"/>
                  </a:cubicBezTo>
                  <a:lnTo>
                    <a:pt x="116782" y="103616"/>
                  </a:lnTo>
                  <a:lnTo>
                    <a:pt x="116782" y="181479"/>
                  </a:lnTo>
                  <a:close/>
                </a:path>
              </a:pathLst>
            </a:custGeom>
            <a:solidFill>
              <a:schemeClr val="accent1"/>
            </a:solidFill>
            <a:ln w="2466" cap="flat">
              <a:noFill/>
              <a:prstDash val="solid"/>
              <a:miter/>
            </a:ln>
          </p:spPr>
          <p:txBody>
            <a:bodyPr rtlCol="0" anchor="ctr"/>
            <a:lstStyle/>
            <a:p>
              <a:endParaRPr lang="en-GB" dirty="0"/>
            </a:p>
          </p:txBody>
        </p:sp>
      </p:grpSp>
      <p:grpSp>
        <p:nvGrpSpPr>
          <p:cNvPr id="5" name="Group 4">
            <a:extLst>
              <a:ext uri="{FF2B5EF4-FFF2-40B4-BE49-F238E27FC236}">
                <a16:creationId xmlns:a16="http://schemas.microsoft.com/office/drawing/2014/main" id="{C4B71614-5C1D-34BC-FAE7-222382C1ECFB}"/>
              </a:ext>
            </a:extLst>
          </p:cNvPr>
          <p:cNvGrpSpPr/>
          <p:nvPr/>
        </p:nvGrpSpPr>
        <p:grpSpPr>
          <a:xfrm>
            <a:off x="2668905" y="2391526"/>
            <a:ext cx="432024" cy="432000"/>
            <a:chOff x="2668905" y="2391526"/>
            <a:chExt cx="432024" cy="432000"/>
          </a:xfrm>
        </p:grpSpPr>
        <p:grpSp>
          <p:nvGrpSpPr>
            <p:cNvPr id="158" name="Group 157">
              <a:extLst>
                <a:ext uri="{FF2B5EF4-FFF2-40B4-BE49-F238E27FC236}">
                  <a16:creationId xmlns:a16="http://schemas.microsoft.com/office/drawing/2014/main" id="{6D3D3163-6AAB-499D-B4DA-C925F5731E29}"/>
                </a:ext>
              </a:extLst>
            </p:cNvPr>
            <p:cNvGrpSpPr/>
            <p:nvPr/>
          </p:nvGrpSpPr>
          <p:grpSpPr>
            <a:xfrm>
              <a:off x="2668905" y="2391526"/>
              <a:ext cx="432024" cy="432000"/>
              <a:chOff x="6107922" y="1626758"/>
              <a:chExt cx="486341" cy="486314"/>
            </a:xfrm>
            <a:solidFill>
              <a:schemeClr val="tx2"/>
            </a:solidFill>
          </p:grpSpPr>
          <p:grpSp>
            <p:nvGrpSpPr>
              <p:cNvPr id="162" name="Grafik 162">
                <a:extLst>
                  <a:ext uri="{FF2B5EF4-FFF2-40B4-BE49-F238E27FC236}">
                    <a16:creationId xmlns:a16="http://schemas.microsoft.com/office/drawing/2014/main" id="{2F8915DB-F178-4BBA-AEC3-9CC88955BB4D}"/>
                  </a:ext>
                </a:extLst>
              </p:cNvPr>
              <p:cNvGrpSpPr/>
              <p:nvPr/>
            </p:nvGrpSpPr>
            <p:grpSpPr>
              <a:xfrm>
                <a:off x="6107922" y="1626758"/>
                <a:ext cx="486341" cy="486314"/>
                <a:chOff x="6107922" y="1626758"/>
                <a:chExt cx="486341" cy="486314"/>
              </a:xfrm>
              <a:grpFill/>
            </p:grpSpPr>
            <p:sp>
              <p:nvSpPr>
                <p:cNvPr id="167" name="Freihandform: Form 569">
                  <a:extLst>
                    <a:ext uri="{FF2B5EF4-FFF2-40B4-BE49-F238E27FC236}">
                      <a16:creationId xmlns:a16="http://schemas.microsoft.com/office/drawing/2014/main" id="{8AF6A0FB-6EE9-43F6-93DB-124E04A39F3F}"/>
                    </a:ext>
                  </a:extLst>
                </p:cNvPr>
                <p:cNvSpPr/>
                <p:nvPr/>
              </p:nvSpPr>
              <p:spPr>
                <a:xfrm>
                  <a:off x="6324819" y="1626758"/>
                  <a:ext cx="52575" cy="65706"/>
                </a:xfrm>
                <a:custGeom>
                  <a:avLst/>
                  <a:gdLst>
                    <a:gd name="connsiteX0" fmla="*/ 52576 w 52575"/>
                    <a:gd name="connsiteY0" fmla="*/ 65706 h 65706"/>
                    <a:gd name="connsiteX1" fmla="*/ 0 w 52575"/>
                    <a:gd name="connsiteY1" fmla="*/ 65706 h 65706"/>
                    <a:gd name="connsiteX2" fmla="*/ 0 w 52575"/>
                    <a:gd name="connsiteY2" fmla="*/ 0 h 65706"/>
                    <a:gd name="connsiteX3" fmla="*/ 52576 w 52575"/>
                    <a:gd name="connsiteY3" fmla="*/ 0 h 65706"/>
                    <a:gd name="connsiteX4" fmla="*/ 52576 w 52575"/>
                    <a:gd name="connsiteY4" fmla="*/ 65706 h 65706"/>
                    <a:gd name="connsiteX5" fmla="*/ 13130 w 52575"/>
                    <a:gd name="connsiteY5" fmla="*/ 52576 h 65706"/>
                    <a:gd name="connsiteX6" fmla="*/ 39418 w 52575"/>
                    <a:gd name="connsiteY6" fmla="*/ 52576 h 65706"/>
                    <a:gd name="connsiteX7" fmla="*/ 39418 w 52575"/>
                    <a:gd name="connsiteY7" fmla="*/ 13130 h 65706"/>
                    <a:gd name="connsiteX8" fmla="*/ 13130 w 52575"/>
                    <a:gd name="connsiteY8" fmla="*/ 13130 h 65706"/>
                    <a:gd name="connsiteX9" fmla="*/ 13130 w 52575"/>
                    <a:gd name="connsiteY9" fmla="*/ 52576 h 6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75" h="65706">
                      <a:moveTo>
                        <a:pt x="52576" y="65706"/>
                      </a:moveTo>
                      <a:lnTo>
                        <a:pt x="0" y="65706"/>
                      </a:lnTo>
                      <a:lnTo>
                        <a:pt x="0" y="0"/>
                      </a:lnTo>
                      <a:lnTo>
                        <a:pt x="52576" y="0"/>
                      </a:lnTo>
                      <a:lnTo>
                        <a:pt x="52576" y="65706"/>
                      </a:lnTo>
                      <a:close/>
                      <a:moveTo>
                        <a:pt x="13130" y="52576"/>
                      </a:moveTo>
                      <a:lnTo>
                        <a:pt x="39418" y="52576"/>
                      </a:lnTo>
                      <a:lnTo>
                        <a:pt x="39418" y="13130"/>
                      </a:lnTo>
                      <a:lnTo>
                        <a:pt x="13130" y="13130"/>
                      </a:lnTo>
                      <a:lnTo>
                        <a:pt x="13130" y="52576"/>
                      </a:lnTo>
                      <a:close/>
                    </a:path>
                  </a:pathLst>
                </a:custGeom>
                <a:grpFill/>
                <a:ln w="2775" cap="flat">
                  <a:noFill/>
                  <a:prstDash val="solid"/>
                  <a:miter/>
                </a:ln>
              </p:spPr>
              <p:txBody>
                <a:bodyPr rtlCol="0" anchor="ctr"/>
                <a:lstStyle/>
                <a:p>
                  <a:endParaRPr lang="en-GB" dirty="0"/>
                </a:p>
              </p:txBody>
            </p:sp>
            <p:sp>
              <p:nvSpPr>
                <p:cNvPr id="168" name="Freihandform: Form 570">
                  <a:extLst>
                    <a:ext uri="{FF2B5EF4-FFF2-40B4-BE49-F238E27FC236}">
                      <a16:creationId xmlns:a16="http://schemas.microsoft.com/office/drawing/2014/main" id="{415B8FC4-FE5D-46AA-BDBF-106B5BAB1C1A}"/>
                    </a:ext>
                  </a:extLst>
                </p:cNvPr>
                <p:cNvSpPr/>
                <p:nvPr/>
              </p:nvSpPr>
              <p:spPr>
                <a:xfrm>
                  <a:off x="6456258" y="1626758"/>
                  <a:ext cx="52575" cy="65706"/>
                </a:xfrm>
                <a:custGeom>
                  <a:avLst/>
                  <a:gdLst>
                    <a:gd name="connsiteX0" fmla="*/ 52576 w 52575"/>
                    <a:gd name="connsiteY0" fmla="*/ 65706 h 65706"/>
                    <a:gd name="connsiteX1" fmla="*/ 0 w 52575"/>
                    <a:gd name="connsiteY1" fmla="*/ 65706 h 65706"/>
                    <a:gd name="connsiteX2" fmla="*/ 0 w 52575"/>
                    <a:gd name="connsiteY2" fmla="*/ 0 h 65706"/>
                    <a:gd name="connsiteX3" fmla="*/ 52576 w 52575"/>
                    <a:gd name="connsiteY3" fmla="*/ 0 h 65706"/>
                    <a:gd name="connsiteX4" fmla="*/ 52576 w 52575"/>
                    <a:gd name="connsiteY4" fmla="*/ 65706 h 65706"/>
                    <a:gd name="connsiteX5" fmla="*/ 13130 w 52575"/>
                    <a:gd name="connsiteY5" fmla="*/ 52576 h 65706"/>
                    <a:gd name="connsiteX6" fmla="*/ 39418 w 52575"/>
                    <a:gd name="connsiteY6" fmla="*/ 52576 h 65706"/>
                    <a:gd name="connsiteX7" fmla="*/ 39418 w 52575"/>
                    <a:gd name="connsiteY7" fmla="*/ 13130 h 65706"/>
                    <a:gd name="connsiteX8" fmla="*/ 13130 w 52575"/>
                    <a:gd name="connsiteY8" fmla="*/ 13130 h 65706"/>
                    <a:gd name="connsiteX9" fmla="*/ 13130 w 52575"/>
                    <a:gd name="connsiteY9" fmla="*/ 52576 h 6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75" h="65706">
                      <a:moveTo>
                        <a:pt x="52576" y="65706"/>
                      </a:moveTo>
                      <a:lnTo>
                        <a:pt x="0" y="65706"/>
                      </a:lnTo>
                      <a:lnTo>
                        <a:pt x="0" y="0"/>
                      </a:lnTo>
                      <a:lnTo>
                        <a:pt x="52576" y="0"/>
                      </a:lnTo>
                      <a:lnTo>
                        <a:pt x="52576" y="65706"/>
                      </a:lnTo>
                      <a:close/>
                      <a:moveTo>
                        <a:pt x="13130" y="52576"/>
                      </a:moveTo>
                      <a:lnTo>
                        <a:pt x="39418" y="52576"/>
                      </a:lnTo>
                      <a:lnTo>
                        <a:pt x="39418" y="13130"/>
                      </a:lnTo>
                      <a:lnTo>
                        <a:pt x="13130" y="13130"/>
                      </a:lnTo>
                      <a:lnTo>
                        <a:pt x="13130" y="52576"/>
                      </a:lnTo>
                      <a:close/>
                    </a:path>
                  </a:pathLst>
                </a:custGeom>
                <a:grpFill/>
                <a:ln w="2775" cap="flat">
                  <a:noFill/>
                  <a:prstDash val="solid"/>
                  <a:miter/>
                </a:ln>
              </p:spPr>
              <p:txBody>
                <a:bodyPr rtlCol="0" anchor="ctr"/>
                <a:lstStyle/>
                <a:p>
                  <a:endParaRPr lang="en-GB" dirty="0"/>
                </a:p>
              </p:txBody>
            </p:sp>
            <p:sp>
              <p:nvSpPr>
                <p:cNvPr id="169" name="Freihandform: Form 571">
                  <a:extLst>
                    <a:ext uri="{FF2B5EF4-FFF2-40B4-BE49-F238E27FC236}">
                      <a16:creationId xmlns:a16="http://schemas.microsoft.com/office/drawing/2014/main" id="{AE41411D-3203-4FEE-8929-6D8B59326A24}"/>
                    </a:ext>
                  </a:extLst>
                </p:cNvPr>
                <p:cNvSpPr/>
                <p:nvPr/>
              </p:nvSpPr>
              <p:spPr>
                <a:xfrm>
                  <a:off x="6193379" y="1626758"/>
                  <a:ext cx="52575" cy="65706"/>
                </a:xfrm>
                <a:custGeom>
                  <a:avLst/>
                  <a:gdLst>
                    <a:gd name="connsiteX0" fmla="*/ 52576 w 52575"/>
                    <a:gd name="connsiteY0" fmla="*/ 65706 h 65706"/>
                    <a:gd name="connsiteX1" fmla="*/ 0 w 52575"/>
                    <a:gd name="connsiteY1" fmla="*/ 65706 h 65706"/>
                    <a:gd name="connsiteX2" fmla="*/ 0 w 52575"/>
                    <a:gd name="connsiteY2" fmla="*/ 0 h 65706"/>
                    <a:gd name="connsiteX3" fmla="*/ 52576 w 52575"/>
                    <a:gd name="connsiteY3" fmla="*/ 0 h 65706"/>
                    <a:gd name="connsiteX4" fmla="*/ 52576 w 52575"/>
                    <a:gd name="connsiteY4" fmla="*/ 65706 h 65706"/>
                    <a:gd name="connsiteX5" fmla="*/ 13130 w 52575"/>
                    <a:gd name="connsiteY5" fmla="*/ 52576 h 65706"/>
                    <a:gd name="connsiteX6" fmla="*/ 39418 w 52575"/>
                    <a:gd name="connsiteY6" fmla="*/ 52576 h 65706"/>
                    <a:gd name="connsiteX7" fmla="*/ 39418 w 52575"/>
                    <a:gd name="connsiteY7" fmla="*/ 13130 h 65706"/>
                    <a:gd name="connsiteX8" fmla="*/ 13130 w 52575"/>
                    <a:gd name="connsiteY8" fmla="*/ 13130 h 65706"/>
                    <a:gd name="connsiteX9" fmla="*/ 13130 w 52575"/>
                    <a:gd name="connsiteY9" fmla="*/ 52576 h 65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75" h="65706">
                      <a:moveTo>
                        <a:pt x="52576" y="65706"/>
                      </a:moveTo>
                      <a:lnTo>
                        <a:pt x="0" y="65706"/>
                      </a:lnTo>
                      <a:lnTo>
                        <a:pt x="0" y="0"/>
                      </a:lnTo>
                      <a:lnTo>
                        <a:pt x="52576" y="0"/>
                      </a:lnTo>
                      <a:lnTo>
                        <a:pt x="52576" y="65706"/>
                      </a:lnTo>
                      <a:close/>
                      <a:moveTo>
                        <a:pt x="13130" y="52576"/>
                      </a:moveTo>
                      <a:lnTo>
                        <a:pt x="39418" y="52576"/>
                      </a:lnTo>
                      <a:lnTo>
                        <a:pt x="39418" y="13130"/>
                      </a:lnTo>
                      <a:lnTo>
                        <a:pt x="13130" y="13130"/>
                      </a:lnTo>
                      <a:lnTo>
                        <a:pt x="13130" y="52576"/>
                      </a:lnTo>
                      <a:close/>
                    </a:path>
                  </a:pathLst>
                </a:custGeom>
                <a:grpFill/>
                <a:ln w="2775" cap="flat">
                  <a:noFill/>
                  <a:prstDash val="solid"/>
                  <a:miter/>
                </a:ln>
              </p:spPr>
              <p:txBody>
                <a:bodyPr rtlCol="0" anchor="ctr"/>
                <a:lstStyle/>
                <a:p>
                  <a:endParaRPr lang="en-GB" dirty="0"/>
                </a:p>
              </p:txBody>
            </p:sp>
            <p:sp>
              <p:nvSpPr>
                <p:cNvPr id="170" name="Freihandform: Form 572">
                  <a:extLst>
                    <a:ext uri="{FF2B5EF4-FFF2-40B4-BE49-F238E27FC236}">
                      <a16:creationId xmlns:a16="http://schemas.microsoft.com/office/drawing/2014/main" id="{6A1D8A1D-F84C-44D3-B168-2F602C4DED52}"/>
                    </a:ext>
                  </a:extLst>
                </p:cNvPr>
                <p:cNvSpPr/>
                <p:nvPr/>
              </p:nvSpPr>
              <p:spPr>
                <a:xfrm>
                  <a:off x="6107922" y="1718752"/>
                  <a:ext cx="486341" cy="302325"/>
                </a:xfrm>
                <a:custGeom>
                  <a:avLst/>
                  <a:gdLst>
                    <a:gd name="connsiteX0" fmla="*/ 486342 w 486341"/>
                    <a:gd name="connsiteY0" fmla="*/ 302326 h 302325"/>
                    <a:gd name="connsiteX1" fmla="*/ 0 w 486341"/>
                    <a:gd name="connsiteY1" fmla="*/ 302326 h 302325"/>
                    <a:gd name="connsiteX2" fmla="*/ 0 w 486341"/>
                    <a:gd name="connsiteY2" fmla="*/ 0 h 302325"/>
                    <a:gd name="connsiteX3" fmla="*/ 486314 w 486341"/>
                    <a:gd name="connsiteY3" fmla="*/ 0 h 302325"/>
                    <a:gd name="connsiteX4" fmla="*/ 486314 w 486341"/>
                    <a:gd name="connsiteY4" fmla="*/ 302326 h 302325"/>
                    <a:gd name="connsiteX5" fmla="*/ 13158 w 486341"/>
                    <a:gd name="connsiteY5" fmla="*/ 289168 h 302325"/>
                    <a:gd name="connsiteX6" fmla="*/ 473184 w 486341"/>
                    <a:gd name="connsiteY6" fmla="*/ 289168 h 302325"/>
                    <a:gd name="connsiteX7" fmla="*/ 473184 w 486341"/>
                    <a:gd name="connsiteY7" fmla="*/ 13158 h 302325"/>
                    <a:gd name="connsiteX8" fmla="*/ 13158 w 486341"/>
                    <a:gd name="connsiteY8" fmla="*/ 13158 h 302325"/>
                    <a:gd name="connsiteX9" fmla="*/ 13158 w 486341"/>
                    <a:gd name="connsiteY9" fmla="*/ 289168 h 30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6341" h="302325">
                      <a:moveTo>
                        <a:pt x="486342" y="302326"/>
                      </a:moveTo>
                      <a:lnTo>
                        <a:pt x="0" y="302326"/>
                      </a:lnTo>
                      <a:lnTo>
                        <a:pt x="0" y="0"/>
                      </a:lnTo>
                      <a:lnTo>
                        <a:pt x="486314" y="0"/>
                      </a:lnTo>
                      <a:lnTo>
                        <a:pt x="486314" y="302326"/>
                      </a:lnTo>
                      <a:close/>
                      <a:moveTo>
                        <a:pt x="13158" y="289168"/>
                      </a:moveTo>
                      <a:lnTo>
                        <a:pt x="473184" y="289168"/>
                      </a:lnTo>
                      <a:lnTo>
                        <a:pt x="473184" y="13158"/>
                      </a:lnTo>
                      <a:lnTo>
                        <a:pt x="13158" y="13158"/>
                      </a:lnTo>
                      <a:lnTo>
                        <a:pt x="13158" y="289168"/>
                      </a:lnTo>
                      <a:close/>
                    </a:path>
                  </a:pathLst>
                </a:custGeom>
                <a:grpFill/>
                <a:ln w="2775" cap="flat">
                  <a:noFill/>
                  <a:prstDash val="solid"/>
                  <a:miter/>
                </a:ln>
              </p:spPr>
              <p:txBody>
                <a:bodyPr rtlCol="0" anchor="ctr"/>
                <a:lstStyle/>
                <a:p>
                  <a:endParaRPr lang="en-GB" dirty="0"/>
                </a:p>
              </p:txBody>
            </p:sp>
            <p:sp>
              <p:nvSpPr>
                <p:cNvPr id="171" name="Freihandform: Form 573">
                  <a:extLst>
                    <a:ext uri="{FF2B5EF4-FFF2-40B4-BE49-F238E27FC236}">
                      <a16:creationId xmlns:a16="http://schemas.microsoft.com/office/drawing/2014/main" id="{6A57846F-5146-4C15-B1F8-E395A153D579}"/>
                    </a:ext>
                  </a:extLst>
                </p:cNvPr>
                <p:cNvSpPr/>
                <p:nvPr/>
              </p:nvSpPr>
              <p:spPr>
                <a:xfrm>
                  <a:off x="6107922" y="1653045"/>
                  <a:ext cx="486341" cy="78863"/>
                </a:xfrm>
                <a:custGeom>
                  <a:avLst/>
                  <a:gdLst>
                    <a:gd name="connsiteX0" fmla="*/ 486342 w 486341"/>
                    <a:gd name="connsiteY0" fmla="*/ 78864 h 78863"/>
                    <a:gd name="connsiteX1" fmla="*/ 0 w 486341"/>
                    <a:gd name="connsiteY1" fmla="*/ 78864 h 78863"/>
                    <a:gd name="connsiteX2" fmla="*/ 0 w 486341"/>
                    <a:gd name="connsiteY2" fmla="*/ 0 h 78863"/>
                    <a:gd name="connsiteX3" fmla="*/ 92022 w 486341"/>
                    <a:gd name="connsiteY3" fmla="*/ 0 h 78863"/>
                    <a:gd name="connsiteX4" fmla="*/ 92022 w 486341"/>
                    <a:gd name="connsiteY4" fmla="*/ 13130 h 78863"/>
                    <a:gd name="connsiteX5" fmla="*/ 13158 w 486341"/>
                    <a:gd name="connsiteY5" fmla="*/ 13130 h 78863"/>
                    <a:gd name="connsiteX6" fmla="*/ 13158 w 486341"/>
                    <a:gd name="connsiteY6" fmla="*/ 65706 h 78863"/>
                    <a:gd name="connsiteX7" fmla="*/ 473184 w 486341"/>
                    <a:gd name="connsiteY7" fmla="*/ 65706 h 78863"/>
                    <a:gd name="connsiteX8" fmla="*/ 473184 w 486341"/>
                    <a:gd name="connsiteY8" fmla="*/ 13130 h 78863"/>
                    <a:gd name="connsiteX9" fmla="*/ 394320 w 486341"/>
                    <a:gd name="connsiteY9" fmla="*/ 13130 h 78863"/>
                    <a:gd name="connsiteX10" fmla="*/ 394320 w 486341"/>
                    <a:gd name="connsiteY10" fmla="*/ 0 h 78863"/>
                    <a:gd name="connsiteX11" fmla="*/ 486342 w 486341"/>
                    <a:gd name="connsiteY11" fmla="*/ 0 h 78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6341" h="78863">
                      <a:moveTo>
                        <a:pt x="486342" y="78864"/>
                      </a:moveTo>
                      <a:lnTo>
                        <a:pt x="0" y="78864"/>
                      </a:lnTo>
                      <a:lnTo>
                        <a:pt x="0" y="0"/>
                      </a:lnTo>
                      <a:lnTo>
                        <a:pt x="92022" y="0"/>
                      </a:lnTo>
                      <a:lnTo>
                        <a:pt x="92022" y="13130"/>
                      </a:lnTo>
                      <a:lnTo>
                        <a:pt x="13158" y="13130"/>
                      </a:lnTo>
                      <a:lnTo>
                        <a:pt x="13158" y="65706"/>
                      </a:lnTo>
                      <a:lnTo>
                        <a:pt x="473184" y="65706"/>
                      </a:lnTo>
                      <a:lnTo>
                        <a:pt x="473184" y="13130"/>
                      </a:lnTo>
                      <a:lnTo>
                        <a:pt x="394320" y="13130"/>
                      </a:lnTo>
                      <a:lnTo>
                        <a:pt x="394320" y="0"/>
                      </a:lnTo>
                      <a:lnTo>
                        <a:pt x="486342" y="0"/>
                      </a:lnTo>
                      <a:close/>
                    </a:path>
                  </a:pathLst>
                </a:custGeom>
                <a:grpFill/>
                <a:ln w="2775" cap="flat">
                  <a:noFill/>
                  <a:prstDash val="solid"/>
                  <a:miter/>
                </a:ln>
              </p:spPr>
              <p:txBody>
                <a:bodyPr rtlCol="0" anchor="ctr"/>
                <a:lstStyle/>
                <a:p>
                  <a:endParaRPr lang="en-GB" dirty="0"/>
                </a:p>
              </p:txBody>
            </p:sp>
            <p:sp>
              <p:nvSpPr>
                <p:cNvPr id="172" name="Freihandform: Form 574">
                  <a:extLst>
                    <a:ext uri="{FF2B5EF4-FFF2-40B4-BE49-F238E27FC236}">
                      <a16:creationId xmlns:a16="http://schemas.microsoft.com/office/drawing/2014/main" id="{13E847CA-DBC6-483E-9E3F-562A9C097236}"/>
                    </a:ext>
                  </a:extLst>
                </p:cNvPr>
                <p:cNvSpPr/>
                <p:nvPr/>
              </p:nvSpPr>
              <p:spPr>
                <a:xfrm>
                  <a:off x="6370829" y="1653045"/>
                  <a:ext cx="91994" cy="13130"/>
                </a:xfrm>
                <a:custGeom>
                  <a:avLst/>
                  <a:gdLst>
                    <a:gd name="connsiteX0" fmla="*/ 0 w 91994"/>
                    <a:gd name="connsiteY0" fmla="*/ 0 h 13130"/>
                    <a:gd name="connsiteX1" fmla="*/ 91994 w 91994"/>
                    <a:gd name="connsiteY1" fmla="*/ 0 h 13130"/>
                    <a:gd name="connsiteX2" fmla="*/ 91994 w 91994"/>
                    <a:gd name="connsiteY2" fmla="*/ 13130 h 13130"/>
                    <a:gd name="connsiteX3" fmla="*/ 0 w 91994"/>
                    <a:gd name="connsiteY3" fmla="*/ 13130 h 13130"/>
                  </a:gdLst>
                  <a:ahLst/>
                  <a:cxnLst>
                    <a:cxn ang="0">
                      <a:pos x="connsiteX0" y="connsiteY0"/>
                    </a:cxn>
                    <a:cxn ang="0">
                      <a:pos x="connsiteX1" y="connsiteY1"/>
                    </a:cxn>
                    <a:cxn ang="0">
                      <a:pos x="connsiteX2" y="connsiteY2"/>
                    </a:cxn>
                    <a:cxn ang="0">
                      <a:pos x="connsiteX3" y="connsiteY3"/>
                    </a:cxn>
                  </a:cxnLst>
                  <a:rect l="l" t="t" r="r" b="b"/>
                  <a:pathLst>
                    <a:path w="91994" h="13130">
                      <a:moveTo>
                        <a:pt x="0" y="0"/>
                      </a:moveTo>
                      <a:lnTo>
                        <a:pt x="91994" y="0"/>
                      </a:lnTo>
                      <a:lnTo>
                        <a:pt x="91994" y="13130"/>
                      </a:lnTo>
                      <a:lnTo>
                        <a:pt x="0" y="13130"/>
                      </a:lnTo>
                      <a:close/>
                    </a:path>
                  </a:pathLst>
                </a:custGeom>
                <a:grpFill/>
                <a:ln w="2775" cap="flat">
                  <a:noFill/>
                  <a:prstDash val="solid"/>
                  <a:miter/>
                </a:ln>
              </p:spPr>
              <p:txBody>
                <a:bodyPr rtlCol="0" anchor="ctr"/>
                <a:lstStyle/>
                <a:p>
                  <a:endParaRPr lang="en-GB" dirty="0"/>
                </a:p>
              </p:txBody>
            </p:sp>
            <p:sp>
              <p:nvSpPr>
                <p:cNvPr id="173" name="Freihandform: Form 575">
                  <a:extLst>
                    <a:ext uri="{FF2B5EF4-FFF2-40B4-BE49-F238E27FC236}">
                      <a16:creationId xmlns:a16="http://schemas.microsoft.com/office/drawing/2014/main" id="{AED4032D-DE24-42C2-B1B0-8E88223D0BFD}"/>
                    </a:ext>
                  </a:extLst>
                </p:cNvPr>
                <p:cNvSpPr/>
                <p:nvPr/>
              </p:nvSpPr>
              <p:spPr>
                <a:xfrm>
                  <a:off x="6239389" y="1653045"/>
                  <a:ext cx="91994" cy="13130"/>
                </a:xfrm>
                <a:custGeom>
                  <a:avLst/>
                  <a:gdLst>
                    <a:gd name="connsiteX0" fmla="*/ 0 w 91994"/>
                    <a:gd name="connsiteY0" fmla="*/ 0 h 13130"/>
                    <a:gd name="connsiteX1" fmla="*/ 91994 w 91994"/>
                    <a:gd name="connsiteY1" fmla="*/ 0 h 13130"/>
                    <a:gd name="connsiteX2" fmla="*/ 91994 w 91994"/>
                    <a:gd name="connsiteY2" fmla="*/ 13130 h 13130"/>
                    <a:gd name="connsiteX3" fmla="*/ 0 w 91994"/>
                    <a:gd name="connsiteY3" fmla="*/ 13130 h 13130"/>
                  </a:gdLst>
                  <a:ahLst/>
                  <a:cxnLst>
                    <a:cxn ang="0">
                      <a:pos x="connsiteX0" y="connsiteY0"/>
                    </a:cxn>
                    <a:cxn ang="0">
                      <a:pos x="connsiteX1" y="connsiteY1"/>
                    </a:cxn>
                    <a:cxn ang="0">
                      <a:pos x="connsiteX2" y="connsiteY2"/>
                    </a:cxn>
                    <a:cxn ang="0">
                      <a:pos x="connsiteX3" y="connsiteY3"/>
                    </a:cxn>
                  </a:cxnLst>
                  <a:rect l="l" t="t" r="r" b="b"/>
                  <a:pathLst>
                    <a:path w="91994" h="13130">
                      <a:moveTo>
                        <a:pt x="0" y="0"/>
                      </a:moveTo>
                      <a:lnTo>
                        <a:pt x="91994" y="0"/>
                      </a:lnTo>
                      <a:lnTo>
                        <a:pt x="91994" y="13130"/>
                      </a:lnTo>
                      <a:lnTo>
                        <a:pt x="0" y="13130"/>
                      </a:lnTo>
                      <a:close/>
                    </a:path>
                  </a:pathLst>
                </a:custGeom>
                <a:grpFill/>
                <a:ln w="2775" cap="flat">
                  <a:noFill/>
                  <a:prstDash val="solid"/>
                  <a:miter/>
                </a:ln>
              </p:spPr>
              <p:txBody>
                <a:bodyPr rtlCol="0" anchor="ctr"/>
                <a:lstStyle/>
                <a:p>
                  <a:endParaRPr lang="en-GB" dirty="0"/>
                </a:p>
              </p:txBody>
            </p:sp>
            <p:sp>
              <p:nvSpPr>
                <p:cNvPr id="174" name="Freihandform: Form 576">
                  <a:extLst>
                    <a:ext uri="{FF2B5EF4-FFF2-40B4-BE49-F238E27FC236}">
                      <a16:creationId xmlns:a16="http://schemas.microsoft.com/office/drawing/2014/main" id="{A3C21654-0407-4FD1-868E-3E0EC7E0334C}"/>
                    </a:ext>
                  </a:extLst>
                </p:cNvPr>
                <p:cNvSpPr/>
                <p:nvPr/>
              </p:nvSpPr>
              <p:spPr>
                <a:xfrm>
                  <a:off x="6134210" y="2034208"/>
                  <a:ext cx="433765" cy="39445"/>
                </a:xfrm>
                <a:custGeom>
                  <a:avLst/>
                  <a:gdLst>
                    <a:gd name="connsiteX0" fmla="*/ 433766 w 433765"/>
                    <a:gd name="connsiteY0" fmla="*/ 39446 h 39445"/>
                    <a:gd name="connsiteX1" fmla="*/ 0 w 433765"/>
                    <a:gd name="connsiteY1" fmla="*/ 39446 h 39445"/>
                    <a:gd name="connsiteX2" fmla="*/ 0 w 433765"/>
                    <a:gd name="connsiteY2" fmla="*/ 0 h 39445"/>
                    <a:gd name="connsiteX3" fmla="*/ 13158 w 433765"/>
                    <a:gd name="connsiteY3" fmla="*/ 0 h 39445"/>
                    <a:gd name="connsiteX4" fmla="*/ 13158 w 433765"/>
                    <a:gd name="connsiteY4" fmla="*/ 26288 h 39445"/>
                    <a:gd name="connsiteX5" fmla="*/ 420608 w 433765"/>
                    <a:gd name="connsiteY5" fmla="*/ 26288 h 39445"/>
                    <a:gd name="connsiteX6" fmla="*/ 420608 w 433765"/>
                    <a:gd name="connsiteY6" fmla="*/ 0 h 39445"/>
                    <a:gd name="connsiteX7" fmla="*/ 433766 w 433765"/>
                    <a:gd name="connsiteY7" fmla="*/ 0 h 39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765" h="39445">
                      <a:moveTo>
                        <a:pt x="433766" y="39446"/>
                      </a:moveTo>
                      <a:lnTo>
                        <a:pt x="0" y="39446"/>
                      </a:lnTo>
                      <a:lnTo>
                        <a:pt x="0" y="0"/>
                      </a:lnTo>
                      <a:lnTo>
                        <a:pt x="13158" y="0"/>
                      </a:lnTo>
                      <a:lnTo>
                        <a:pt x="13158" y="26288"/>
                      </a:lnTo>
                      <a:lnTo>
                        <a:pt x="420608" y="26288"/>
                      </a:lnTo>
                      <a:lnTo>
                        <a:pt x="420608" y="0"/>
                      </a:lnTo>
                      <a:lnTo>
                        <a:pt x="433766" y="0"/>
                      </a:lnTo>
                      <a:close/>
                    </a:path>
                  </a:pathLst>
                </a:custGeom>
                <a:grpFill/>
                <a:ln w="2775" cap="flat">
                  <a:noFill/>
                  <a:prstDash val="solid"/>
                  <a:miter/>
                </a:ln>
              </p:spPr>
              <p:txBody>
                <a:bodyPr rtlCol="0" anchor="ctr"/>
                <a:lstStyle/>
                <a:p>
                  <a:endParaRPr lang="en-GB" dirty="0"/>
                </a:p>
              </p:txBody>
            </p:sp>
            <p:sp>
              <p:nvSpPr>
                <p:cNvPr id="175" name="Freihandform: Form 577">
                  <a:extLst>
                    <a:ext uri="{FF2B5EF4-FFF2-40B4-BE49-F238E27FC236}">
                      <a16:creationId xmlns:a16="http://schemas.microsoft.com/office/drawing/2014/main" id="{CBAFE817-55E8-47E1-9E25-B7ECA7F5B4D5}"/>
                    </a:ext>
                  </a:extLst>
                </p:cNvPr>
                <p:cNvSpPr/>
                <p:nvPr/>
              </p:nvSpPr>
              <p:spPr>
                <a:xfrm>
                  <a:off x="6160498" y="2086784"/>
                  <a:ext cx="381189" cy="26288"/>
                </a:xfrm>
                <a:custGeom>
                  <a:avLst/>
                  <a:gdLst>
                    <a:gd name="connsiteX0" fmla="*/ 381190 w 381189"/>
                    <a:gd name="connsiteY0" fmla="*/ 26288 h 26288"/>
                    <a:gd name="connsiteX1" fmla="*/ 0 w 381189"/>
                    <a:gd name="connsiteY1" fmla="*/ 26288 h 26288"/>
                    <a:gd name="connsiteX2" fmla="*/ 0 w 381189"/>
                    <a:gd name="connsiteY2" fmla="*/ 0 h 26288"/>
                    <a:gd name="connsiteX3" fmla="*/ 13158 w 381189"/>
                    <a:gd name="connsiteY3" fmla="*/ 0 h 26288"/>
                    <a:gd name="connsiteX4" fmla="*/ 13158 w 381189"/>
                    <a:gd name="connsiteY4" fmla="*/ 13158 h 26288"/>
                    <a:gd name="connsiteX5" fmla="*/ 368032 w 381189"/>
                    <a:gd name="connsiteY5" fmla="*/ 13158 h 26288"/>
                    <a:gd name="connsiteX6" fmla="*/ 368032 w 381189"/>
                    <a:gd name="connsiteY6" fmla="*/ 0 h 26288"/>
                    <a:gd name="connsiteX7" fmla="*/ 381190 w 381189"/>
                    <a:gd name="connsiteY7" fmla="*/ 0 h 26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89" h="26288">
                      <a:moveTo>
                        <a:pt x="381190" y="26288"/>
                      </a:moveTo>
                      <a:lnTo>
                        <a:pt x="0" y="26288"/>
                      </a:lnTo>
                      <a:lnTo>
                        <a:pt x="0" y="0"/>
                      </a:lnTo>
                      <a:lnTo>
                        <a:pt x="13158" y="0"/>
                      </a:lnTo>
                      <a:lnTo>
                        <a:pt x="13158" y="13158"/>
                      </a:lnTo>
                      <a:lnTo>
                        <a:pt x="368032" y="13158"/>
                      </a:lnTo>
                      <a:lnTo>
                        <a:pt x="368032" y="0"/>
                      </a:lnTo>
                      <a:lnTo>
                        <a:pt x="381190" y="0"/>
                      </a:lnTo>
                      <a:close/>
                    </a:path>
                  </a:pathLst>
                </a:custGeom>
                <a:grpFill/>
                <a:ln w="2775" cap="flat">
                  <a:noFill/>
                  <a:prstDash val="solid"/>
                  <a:miter/>
                </a:ln>
              </p:spPr>
              <p:txBody>
                <a:bodyPr rtlCol="0" anchor="ctr"/>
                <a:lstStyle/>
                <a:p>
                  <a:endParaRPr lang="en-GB" dirty="0"/>
                </a:p>
              </p:txBody>
            </p:sp>
          </p:grpSp>
          <p:sp>
            <p:nvSpPr>
              <p:cNvPr id="163" name="Freihandform: Form 578">
                <a:extLst>
                  <a:ext uri="{FF2B5EF4-FFF2-40B4-BE49-F238E27FC236}">
                    <a16:creationId xmlns:a16="http://schemas.microsoft.com/office/drawing/2014/main" id="{2B22112D-DFE3-44D0-A70E-1601231236E6}"/>
                  </a:ext>
                </a:extLst>
              </p:cNvPr>
              <p:cNvSpPr/>
              <p:nvPr/>
            </p:nvSpPr>
            <p:spPr>
              <a:xfrm>
                <a:off x="6272243" y="1758197"/>
                <a:ext cx="13130" cy="223434"/>
              </a:xfrm>
              <a:custGeom>
                <a:avLst/>
                <a:gdLst>
                  <a:gd name="connsiteX0" fmla="*/ 0 w 13130"/>
                  <a:gd name="connsiteY0" fmla="*/ 0 h 223434"/>
                  <a:gd name="connsiteX1" fmla="*/ 13130 w 13130"/>
                  <a:gd name="connsiteY1" fmla="*/ 0 h 223434"/>
                  <a:gd name="connsiteX2" fmla="*/ 13130 w 13130"/>
                  <a:gd name="connsiteY2" fmla="*/ 223434 h 223434"/>
                  <a:gd name="connsiteX3" fmla="*/ 0 w 13130"/>
                  <a:gd name="connsiteY3" fmla="*/ 223434 h 223434"/>
                </a:gdLst>
                <a:ahLst/>
                <a:cxnLst>
                  <a:cxn ang="0">
                    <a:pos x="connsiteX0" y="connsiteY0"/>
                  </a:cxn>
                  <a:cxn ang="0">
                    <a:pos x="connsiteX1" y="connsiteY1"/>
                  </a:cxn>
                  <a:cxn ang="0">
                    <a:pos x="connsiteX2" y="connsiteY2"/>
                  </a:cxn>
                  <a:cxn ang="0">
                    <a:pos x="connsiteX3" y="connsiteY3"/>
                  </a:cxn>
                </a:cxnLst>
                <a:rect l="l" t="t" r="r" b="b"/>
                <a:pathLst>
                  <a:path w="13130" h="223434">
                    <a:moveTo>
                      <a:pt x="0" y="0"/>
                    </a:moveTo>
                    <a:lnTo>
                      <a:pt x="13130" y="0"/>
                    </a:lnTo>
                    <a:lnTo>
                      <a:pt x="13130" y="223434"/>
                    </a:lnTo>
                    <a:lnTo>
                      <a:pt x="0" y="223434"/>
                    </a:lnTo>
                    <a:close/>
                  </a:path>
                </a:pathLst>
              </a:custGeom>
              <a:grpFill/>
              <a:ln w="2775" cap="flat">
                <a:noFill/>
                <a:prstDash val="solid"/>
                <a:miter/>
              </a:ln>
            </p:spPr>
            <p:txBody>
              <a:bodyPr rtlCol="0" anchor="ctr"/>
              <a:lstStyle/>
              <a:p>
                <a:endParaRPr lang="en-GB" dirty="0"/>
              </a:p>
            </p:txBody>
          </p:sp>
          <p:sp>
            <p:nvSpPr>
              <p:cNvPr id="164" name="Freihandform: Form 579">
                <a:extLst>
                  <a:ext uri="{FF2B5EF4-FFF2-40B4-BE49-F238E27FC236}">
                    <a16:creationId xmlns:a16="http://schemas.microsoft.com/office/drawing/2014/main" id="{B7E9F3EA-1F0E-4ED5-A988-6F23458EFE3C}"/>
                  </a:ext>
                </a:extLst>
              </p:cNvPr>
              <p:cNvSpPr/>
              <p:nvPr/>
            </p:nvSpPr>
            <p:spPr>
              <a:xfrm>
                <a:off x="6416813" y="1758197"/>
                <a:ext cx="13130" cy="223434"/>
              </a:xfrm>
              <a:custGeom>
                <a:avLst/>
                <a:gdLst>
                  <a:gd name="connsiteX0" fmla="*/ 0 w 13130"/>
                  <a:gd name="connsiteY0" fmla="*/ 0 h 223434"/>
                  <a:gd name="connsiteX1" fmla="*/ 13130 w 13130"/>
                  <a:gd name="connsiteY1" fmla="*/ 0 h 223434"/>
                  <a:gd name="connsiteX2" fmla="*/ 13130 w 13130"/>
                  <a:gd name="connsiteY2" fmla="*/ 223434 h 223434"/>
                  <a:gd name="connsiteX3" fmla="*/ 0 w 13130"/>
                  <a:gd name="connsiteY3" fmla="*/ 223434 h 223434"/>
                </a:gdLst>
                <a:ahLst/>
                <a:cxnLst>
                  <a:cxn ang="0">
                    <a:pos x="connsiteX0" y="connsiteY0"/>
                  </a:cxn>
                  <a:cxn ang="0">
                    <a:pos x="connsiteX1" y="connsiteY1"/>
                  </a:cxn>
                  <a:cxn ang="0">
                    <a:pos x="connsiteX2" y="connsiteY2"/>
                  </a:cxn>
                  <a:cxn ang="0">
                    <a:pos x="connsiteX3" y="connsiteY3"/>
                  </a:cxn>
                </a:cxnLst>
                <a:rect l="l" t="t" r="r" b="b"/>
                <a:pathLst>
                  <a:path w="13130" h="223434">
                    <a:moveTo>
                      <a:pt x="0" y="0"/>
                    </a:moveTo>
                    <a:lnTo>
                      <a:pt x="13130" y="0"/>
                    </a:lnTo>
                    <a:lnTo>
                      <a:pt x="13130" y="223434"/>
                    </a:lnTo>
                    <a:lnTo>
                      <a:pt x="0" y="223434"/>
                    </a:lnTo>
                    <a:close/>
                  </a:path>
                </a:pathLst>
              </a:custGeom>
              <a:grpFill/>
              <a:ln w="2775" cap="flat">
                <a:noFill/>
                <a:prstDash val="solid"/>
                <a:miter/>
              </a:ln>
            </p:spPr>
            <p:txBody>
              <a:bodyPr rtlCol="0" anchor="ctr"/>
              <a:lstStyle/>
              <a:p>
                <a:endParaRPr lang="en-GB" dirty="0"/>
              </a:p>
            </p:txBody>
          </p:sp>
          <p:sp>
            <p:nvSpPr>
              <p:cNvPr id="165" name="Freihandform: Form 580">
                <a:extLst>
                  <a:ext uri="{FF2B5EF4-FFF2-40B4-BE49-F238E27FC236}">
                    <a16:creationId xmlns:a16="http://schemas.microsoft.com/office/drawing/2014/main" id="{E2825075-F88F-4BAE-B918-F5CCFBA53911}"/>
                  </a:ext>
                </a:extLst>
              </p:cNvPr>
              <p:cNvSpPr/>
              <p:nvPr/>
            </p:nvSpPr>
            <p:spPr>
              <a:xfrm>
                <a:off x="6147368" y="1823904"/>
                <a:ext cx="407449" cy="13130"/>
              </a:xfrm>
              <a:custGeom>
                <a:avLst/>
                <a:gdLst>
                  <a:gd name="connsiteX0" fmla="*/ 0 w 407449"/>
                  <a:gd name="connsiteY0" fmla="*/ 0 h 13130"/>
                  <a:gd name="connsiteX1" fmla="*/ 407450 w 407449"/>
                  <a:gd name="connsiteY1" fmla="*/ 0 h 13130"/>
                  <a:gd name="connsiteX2" fmla="*/ 407450 w 407449"/>
                  <a:gd name="connsiteY2" fmla="*/ 13130 h 13130"/>
                  <a:gd name="connsiteX3" fmla="*/ 0 w 407449"/>
                  <a:gd name="connsiteY3" fmla="*/ 13130 h 13130"/>
                </a:gdLst>
                <a:ahLst/>
                <a:cxnLst>
                  <a:cxn ang="0">
                    <a:pos x="connsiteX0" y="connsiteY0"/>
                  </a:cxn>
                  <a:cxn ang="0">
                    <a:pos x="connsiteX1" y="connsiteY1"/>
                  </a:cxn>
                  <a:cxn ang="0">
                    <a:pos x="connsiteX2" y="connsiteY2"/>
                  </a:cxn>
                  <a:cxn ang="0">
                    <a:pos x="connsiteX3" y="connsiteY3"/>
                  </a:cxn>
                </a:cxnLst>
                <a:rect l="l" t="t" r="r" b="b"/>
                <a:pathLst>
                  <a:path w="407449" h="13130">
                    <a:moveTo>
                      <a:pt x="0" y="0"/>
                    </a:moveTo>
                    <a:lnTo>
                      <a:pt x="407450" y="0"/>
                    </a:lnTo>
                    <a:lnTo>
                      <a:pt x="407450" y="13130"/>
                    </a:lnTo>
                    <a:lnTo>
                      <a:pt x="0" y="13130"/>
                    </a:lnTo>
                    <a:close/>
                  </a:path>
                </a:pathLst>
              </a:custGeom>
              <a:grpFill/>
              <a:ln w="2775" cap="flat">
                <a:noFill/>
                <a:prstDash val="solid"/>
                <a:miter/>
              </a:ln>
            </p:spPr>
            <p:txBody>
              <a:bodyPr rtlCol="0" anchor="ctr"/>
              <a:lstStyle/>
              <a:p>
                <a:endParaRPr lang="en-GB" dirty="0"/>
              </a:p>
            </p:txBody>
          </p:sp>
          <p:sp>
            <p:nvSpPr>
              <p:cNvPr id="166" name="Freihandform: Form 581">
                <a:extLst>
                  <a:ext uri="{FF2B5EF4-FFF2-40B4-BE49-F238E27FC236}">
                    <a16:creationId xmlns:a16="http://schemas.microsoft.com/office/drawing/2014/main" id="{74064155-AB75-4E87-AA23-807822E39124}"/>
                  </a:ext>
                </a:extLst>
              </p:cNvPr>
              <p:cNvSpPr/>
              <p:nvPr/>
            </p:nvSpPr>
            <p:spPr>
              <a:xfrm>
                <a:off x="6147368" y="1902768"/>
                <a:ext cx="407449" cy="13130"/>
              </a:xfrm>
              <a:custGeom>
                <a:avLst/>
                <a:gdLst>
                  <a:gd name="connsiteX0" fmla="*/ 0 w 407449"/>
                  <a:gd name="connsiteY0" fmla="*/ 0 h 13130"/>
                  <a:gd name="connsiteX1" fmla="*/ 407450 w 407449"/>
                  <a:gd name="connsiteY1" fmla="*/ 0 h 13130"/>
                  <a:gd name="connsiteX2" fmla="*/ 407450 w 407449"/>
                  <a:gd name="connsiteY2" fmla="*/ 13130 h 13130"/>
                  <a:gd name="connsiteX3" fmla="*/ 0 w 407449"/>
                  <a:gd name="connsiteY3" fmla="*/ 13130 h 13130"/>
                </a:gdLst>
                <a:ahLst/>
                <a:cxnLst>
                  <a:cxn ang="0">
                    <a:pos x="connsiteX0" y="connsiteY0"/>
                  </a:cxn>
                  <a:cxn ang="0">
                    <a:pos x="connsiteX1" y="connsiteY1"/>
                  </a:cxn>
                  <a:cxn ang="0">
                    <a:pos x="connsiteX2" y="connsiteY2"/>
                  </a:cxn>
                  <a:cxn ang="0">
                    <a:pos x="connsiteX3" y="connsiteY3"/>
                  </a:cxn>
                </a:cxnLst>
                <a:rect l="l" t="t" r="r" b="b"/>
                <a:pathLst>
                  <a:path w="407449" h="13130">
                    <a:moveTo>
                      <a:pt x="0" y="0"/>
                    </a:moveTo>
                    <a:lnTo>
                      <a:pt x="407450" y="0"/>
                    </a:lnTo>
                    <a:lnTo>
                      <a:pt x="407450" y="13130"/>
                    </a:lnTo>
                    <a:lnTo>
                      <a:pt x="0" y="13130"/>
                    </a:lnTo>
                    <a:close/>
                  </a:path>
                </a:pathLst>
              </a:custGeom>
              <a:grpFill/>
              <a:ln w="2775" cap="flat">
                <a:noFill/>
                <a:prstDash val="solid"/>
                <a:miter/>
              </a:ln>
            </p:spPr>
            <p:txBody>
              <a:bodyPr rtlCol="0" anchor="ctr"/>
              <a:lstStyle/>
              <a:p>
                <a:endParaRPr lang="en-GB" dirty="0"/>
              </a:p>
            </p:txBody>
          </p:sp>
        </p:grpSp>
        <p:grpSp>
          <p:nvGrpSpPr>
            <p:cNvPr id="159" name="Group 158">
              <a:extLst>
                <a:ext uri="{FF2B5EF4-FFF2-40B4-BE49-F238E27FC236}">
                  <a16:creationId xmlns:a16="http://schemas.microsoft.com/office/drawing/2014/main" id="{FA991F36-3863-4196-B394-0A9E24C0922F}"/>
                </a:ext>
              </a:extLst>
            </p:cNvPr>
            <p:cNvGrpSpPr/>
            <p:nvPr/>
          </p:nvGrpSpPr>
          <p:grpSpPr>
            <a:xfrm>
              <a:off x="2879063" y="2531640"/>
              <a:ext cx="140111" cy="151776"/>
              <a:chOff x="6344514" y="1784485"/>
              <a:chExt cx="157727" cy="170858"/>
            </a:xfrm>
            <a:solidFill>
              <a:schemeClr val="accent1"/>
            </a:solidFill>
          </p:grpSpPr>
          <p:sp>
            <p:nvSpPr>
              <p:cNvPr id="160" name="Freihandform: Form 582">
                <a:extLst>
                  <a:ext uri="{FF2B5EF4-FFF2-40B4-BE49-F238E27FC236}">
                    <a16:creationId xmlns:a16="http://schemas.microsoft.com/office/drawing/2014/main" id="{9C5AEC83-1214-49FD-8DD9-46CE5F23622F}"/>
                  </a:ext>
                </a:extLst>
              </p:cNvPr>
              <p:cNvSpPr/>
              <p:nvPr/>
            </p:nvSpPr>
            <p:spPr>
              <a:xfrm>
                <a:off x="6344514" y="1784485"/>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grpFill/>
              <a:ln w="2775" cap="flat">
                <a:noFill/>
                <a:prstDash val="solid"/>
                <a:miter/>
              </a:ln>
            </p:spPr>
            <p:txBody>
              <a:bodyPr rtlCol="0" anchor="ctr"/>
              <a:lstStyle/>
              <a:p>
                <a:endParaRPr lang="en-GB" dirty="0"/>
              </a:p>
            </p:txBody>
          </p:sp>
          <p:sp>
            <p:nvSpPr>
              <p:cNvPr id="161" name="Freihandform: Form 583">
                <a:extLst>
                  <a:ext uri="{FF2B5EF4-FFF2-40B4-BE49-F238E27FC236}">
                    <a16:creationId xmlns:a16="http://schemas.microsoft.com/office/drawing/2014/main" id="{FC078535-6FBA-4F0C-9814-E25A56AAC87A}"/>
                  </a:ext>
                </a:extLst>
              </p:cNvPr>
              <p:cNvSpPr/>
              <p:nvPr/>
            </p:nvSpPr>
            <p:spPr>
              <a:xfrm>
                <a:off x="6489111" y="1942213"/>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grpFill/>
              <a:ln w="2775" cap="flat">
                <a:noFill/>
                <a:prstDash val="solid"/>
                <a:miter/>
              </a:ln>
            </p:spPr>
            <p:txBody>
              <a:bodyPr rtlCol="0" anchor="ctr"/>
              <a:lstStyle/>
              <a:p>
                <a:endParaRPr lang="en-GB" dirty="0"/>
              </a:p>
            </p:txBody>
          </p:sp>
        </p:grpSp>
      </p:grpSp>
      <p:grpSp>
        <p:nvGrpSpPr>
          <p:cNvPr id="176" name="Group 175">
            <a:extLst>
              <a:ext uri="{FF2B5EF4-FFF2-40B4-BE49-F238E27FC236}">
                <a16:creationId xmlns:a16="http://schemas.microsoft.com/office/drawing/2014/main" id="{1EF221B3-2823-42E0-82DA-81BB9146C409}"/>
              </a:ext>
            </a:extLst>
          </p:cNvPr>
          <p:cNvGrpSpPr>
            <a:grpSpLocks noChangeAspect="1"/>
          </p:cNvGrpSpPr>
          <p:nvPr/>
        </p:nvGrpSpPr>
        <p:grpSpPr>
          <a:xfrm>
            <a:off x="3796806" y="2391526"/>
            <a:ext cx="321105" cy="432000"/>
            <a:chOff x="5273299" y="2461436"/>
            <a:chExt cx="361455" cy="486286"/>
          </a:xfrm>
        </p:grpSpPr>
        <p:grpSp>
          <p:nvGrpSpPr>
            <p:cNvPr id="177" name="Group 176">
              <a:extLst>
                <a:ext uri="{FF2B5EF4-FFF2-40B4-BE49-F238E27FC236}">
                  <a16:creationId xmlns:a16="http://schemas.microsoft.com/office/drawing/2014/main" id="{E103EACD-65D0-4E3B-877D-EC700866DE76}"/>
                </a:ext>
              </a:extLst>
            </p:cNvPr>
            <p:cNvGrpSpPr/>
            <p:nvPr/>
          </p:nvGrpSpPr>
          <p:grpSpPr>
            <a:xfrm>
              <a:off x="5398164" y="2559967"/>
              <a:ext cx="236590" cy="387755"/>
              <a:chOff x="5398174" y="2559967"/>
              <a:chExt cx="236591" cy="387755"/>
            </a:xfrm>
          </p:grpSpPr>
          <p:sp>
            <p:nvSpPr>
              <p:cNvPr id="182" name="Freihandform: Form 670">
                <a:extLst>
                  <a:ext uri="{FF2B5EF4-FFF2-40B4-BE49-F238E27FC236}">
                    <a16:creationId xmlns:a16="http://schemas.microsoft.com/office/drawing/2014/main" id="{353AA078-9E32-449C-AFBF-C66FAB156DC6}"/>
                  </a:ext>
                </a:extLst>
              </p:cNvPr>
              <p:cNvSpPr/>
              <p:nvPr/>
            </p:nvSpPr>
            <p:spPr>
              <a:xfrm>
                <a:off x="5398174" y="2934592"/>
                <a:ext cx="236591" cy="13130"/>
              </a:xfrm>
              <a:custGeom>
                <a:avLst/>
                <a:gdLst>
                  <a:gd name="connsiteX0" fmla="*/ 0 w 236591"/>
                  <a:gd name="connsiteY0" fmla="*/ 0 h 13130"/>
                  <a:gd name="connsiteX1" fmla="*/ 236592 w 236591"/>
                  <a:gd name="connsiteY1" fmla="*/ 0 h 13130"/>
                  <a:gd name="connsiteX2" fmla="*/ 236592 w 236591"/>
                  <a:gd name="connsiteY2" fmla="*/ 13130 h 13130"/>
                  <a:gd name="connsiteX3" fmla="*/ 0 w 236591"/>
                  <a:gd name="connsiteY3" fmla="*/ 13130 h 13130"/>
                </a:gdLst>
                <a:ahLst/>
                <a:cxnLst>
                  <a:cxn ang="0">
                    <a:pos x="connsiteX0" y="connsiteY0"/>
                  </a:cxn>
                  <a:cxn ang="0">
                    <a:pos x="connsiteX1" y="connsiteY1"/>
                  </a:cxn>
                  <a:cxn ang="0">
                    <a:pos x="connsiteX2" y="connsiteY2"/>
                  </a:cxn>
                  <a:cxn ang="0">
                    <a:pos x="connsiteX3" y="connsiteY3"/>
                  </a:cxn>
                </a:cxnLst>
                <a:rect l="l" t="t" r="r" b="b"/>
                <a:pathLst>
                  <a:path w="236591" h="13130">
                    <a:moveTo>
                      <a:pt x="0" y="0"/>
                    </a:moveTo>
                    <a:lnTo>
                      <a:pt x="236592" y="0"/>
                    </a:lnTo>
                    <a:lnTo>
                      <a:pt x="236592" y="13130"/>
                    </a:lnTo>
                    <a:lnTo>
                      <a:pt x="0" y="13130"/>
                    </a:lnTo>
                    <a:close/>
                  </a:path>
                </a:pathLst>
              </a:custGeom>
              <a:solidFill>
                <a:schemeClr val="tx2"/>
              </a:solidFill>
              <a:ln w="2775" cap="flat">
                <a:noFill/>
                <a:prstDash val="solid"/>
                <a:miter/>
              </a:ln>
            </p:spPr>
            <p:txBody>
              <a:bodyPr rtlCol="0" anchor="ctr"/>
              <a:lstStyle/>
              <a:p>
                <a:endParaRPr lang="en-GB" dirty="0"/>
              </a:p>
            </p:txBody>
          </p:sp>
          <p:sp>
            <p:nvSpPr>
              <p:cNvPr id="183" name="Freihandform: Form 671">
                <a:extLst>
                  <a:ext uri="{FF2B5EF4-FFF2-40B4-BE49-F238E27FC236}">
                    <a16:creationId xmlns:a16="http://schemas.microsoft.com/office/drawing/2014/main" id="{05D9B447-CBAD-4686-87F4-CA3EDF7209CB}"/>
                  </a:ext>
                </a:extLst>
              </p:cNvPr>
              <p:cNvSpPr/>
              <p:nvPr/>
            </p:nvSpPr>
            <p:spPr>
              <a:xfrm>
                <a:off x="5424462" y="2901711"/>
                <a:ext cx="184015" cy="13130"/>
              </a:xfrm>
              <a:custGeom>
                <a:avLst/>
                <a:gdLst>
                  <a:gd name="connsiteX0" fmla="*/ 0 w 184015"/>
                  <a:gd name="connsiteY0" fmla="*/ 0 h 13130"/>
                  <a:gd name="connsiteX1" fmla="*/ 184016 w 184015"/>
                  <a:gd name="connsiteY1" fmla="*/ 0 h 13130"/>
                  <a:gd name="connsiteX2" fmla="*/ 184016 w 184015"/>
                  <a:gd name="connsiteY2" fmla="*/ 13130 h 13130"/>
                  <a:gd name="connsiteX3" fmla="*/ 0 w 184015"/>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84015" h="13130">
                    <a:moveTo>
                      <a:pt x="0" y="0"/>
                    </a:moveTo>
                    <a:lnTo>
                      <a:pt x="184016" y="0"/>
                    </a:lnTo>
                    <a:lnTo>
                      <a:pt x="184016" y="13130"/>
                    </a:lnTo>
                    <a:lnTo>
                      <a:pt x="0" y="13130"/>
                    </a:lnTo>
                    <a:close/>
                  </a:path>
                </a:pathLst>
              </a:custGeom>
              <a:solidFill>
                <a:schemeClr val="tx2"/>
              </a:solidFill>
              <a:ln w="2775" cap="flat">
                <a:noFill/>
                <a:prstDash val="solid"/>
                <a:miter/>
              </a:ln>
            </p:spPr>
            <p:txBody>
              <a:bodyPr rtlCol="0" anchor="ctr"/>
              <a:lstStyle/>
              <a:p>
                <a:endParaRPr lang="en-GB" dirty="0"/>
              </a:p>
            </p:txBody>
          </p:sp>
          <p:sp>
            <p:nvSpPr>
              <p:cNvPr id="184" name="Freihandform: Form 672">
                <a:extLst>
                  <a:ext uri="{FF2B5EF4-FFF2-40B4-BE49-F238E27FC236}">
                    <a16:creationId xmlns:a16="http://schemas.microsoft.com/office/drawing/2014/main" id="{B1CAA1E9-D680-4085-A1BF-5F262CE05D87}"/>
                  </a:ext>
                </a:extLst>
              </p:cNvPr>
              <p:cNvSpPr/>
              <p:nvPr/>
            </p:nvSpPr>
            <p:spPr>
              <a:xfrm>
                <a:off x="5509891" y="2809717"/>
                <a:ext cx="13130" cy="98586"/>
              </a:xfrm>
              <a:custGeom>
                <a:avLst/>
                <a:gdLst>
                  <a:gd name="connsiteX0" fmla="*/ 0 w 13130"/>
                  <a:gd name="connsiteY0" fmla="*/ 0 h 98586"/>
                  <a:gd name="connsiteX1" fmla="*/ 13130 w 13130"/>
                  <a:gd name="connsiteY1" fmla="*/ 0 h 98586"/>
                  <a:gd name="connsiteX2" fmla="*/ 13130 w 13130"/>
                  <a:gd name="connsiteY2" fmla="*/ 98587 h 98586"/>
                  <a:gd name="connsiteX3" fmla="*/ 0 w 13130"/>
                  <a:gd name="connsiteY3" fmla="*/ 98587 h 98586"/>
                </a:gdLst>
                <a:ahLst/>
                <a:cxnLst>
                  <a:cxn ang="0">
                    <a:pos x="connsiteX0" y="connsiteY0"/>
                  </a:cxn>
                  <a:cxn ang="0">
                    <a:pos x="connsiteX1" y="connsiteY1"/>
                  </a:cxn>
                  <a:cxn ang="0">
                    <a:pos x="connsiteX2" y="connsiteY2"/>
                  </a:cxn>
                  <a:cxn ang="0">
                    <a:pos x="connsiteX3" y="connsiteY3"/>
                  </a:cxn>
                </a:cxnLst>
                <a:rect l="l" t="t" r="r" b="b"/>
                <a:pathLst>
                  <a:path w="13130" h="98586">
                    <a:moveTo>
                      <a:pt x="0" y="0"/>
                    </a:moveTo>
                    <a:lnTo>
                      <a:pt x="13130" y="0"/>
                    </a:lnTo>
                    <a:lnTo>
                      <a:pt x="13130" y="98587"/>
                    </a:lnTo>
                    <a:lnTo>
                      <a:pt x="0" y="98587"/>
                    </a:lnTo>
                    <a:close/>
                  </a:path>
                </a:pathLst>
              </a:custGeom>
              <a:solidFill>
                <a:schemeClr val="tx2"/>
              </a:solidFill>
              <a:ln w="2775" cap="flat">
                <a:noFill/>
                <a:prstDash val="solid"/>
                <a:miter/>
              </a:ln>
            </p:spPr>
            <p:txBody>
              <a:bodyPr rtlCol="0" anchor="ctr"/>
              <a:lstStyle/>
              <a:p>
                <a:endParaRPr lang="en-GB" dirty="0"/>
              </a:p>
            </p:txBody>
          </p:sp>
          <p:sp>
            <p:nvSpPr>
              <p:cNvPr id="185" name="Freihandform: Form 673">
                <a:extLst>
                  <a:ext uri="{FF2B5EF4-FFF2-40B4-BE49-F238E27FC236}">
                    <a16:creationId xmlns:a16="http://schemas.microsoft.com/office/drawing/2014/main" id="{A0134A65-5398-4E6D-B60D-4FA3C302E14B}"/>
                  </a:ext>
                </a:extLst>
              </p:cNvPr>
              <p:cNvSpPr/>
              <p:nvPr/>
            </p:nvSpPr>
            <p:spPr>
              <a:xfrm>
                <a:off x="5444157" y="2559967"/>
                <a:ext cx="144597" cy="223461"/>
              </a:xfrm>
              <a:custGeom>
                <a:avLst/>
                <a:gdLst>
                  <a:gd name="connsiteX0" fmla="*/ 72299 w 144597"/>
                  <a:gd name="connsiteY0" fmla="*/ 223462 h 223461"/>
                  <a:gd name="connsiteX1" fmla="*/ 0 w 144597"/>
                  <a:gd name="connsiteY1" fmla="*/ 151163 h 223461"/>
                  <a:gd name="connsiteX2" fmla="*/ 0 w 144597"/>
                  <a:gd name="connsiteY2" fmla="*/ 72299 h 223461"/>
                  <a:gd name="connsiteX3" fmla="*/ 72299 w 144597"/>
                  <a:gd name="connsiteY3" fmla="*/ 0 h 223461"/>
                  <a:gd name="connsiteX4" fmla="*/ 144598 w 144597"/>
                  <a:gd name="connsiteY4" fmla="*/ 72299 h 223461"/>
                  <a:gd name="connsiteX5" fmla="*/ 144598 w 144597"/>
                  <a:gd name="connsiteY5" fmla="*/ 151163 h 223461"/>
                  <a:gd name="connsiteX6" fmla="*/ 72299 w 144597"/>
                  <a:gd name="connsiteY6" fmla="*/ 223462 h 223461"/>
                  <a:gd name="connsiteX7" fmla="*/ 72299 w 144597"/>
                  <a:gd name="connsiteY7" fmla="*/ 13158 h 223461"/>
                  <a:gd name="connsiteX8" fmla="*/ 13158 w 144597"/>
                  <a:gd name="connsiteY8" fmla="*/ 72299 h 223461"/>
                  <a:gd name="connsiteX9" fmla="*/ 13158 w 144597"/>
                  <a:gd name="connsiteY9" fmla="*/ 151163 h 223461"/>
                  <a:gd name="connsiteX10" fmla="*/ 72299 w 144597"/>
                  <a:gd name="connsiteY10" fmla="*/ 210304 h 223461"/>
                  <a:gd name="connsiteX11" fmla="*/ 131440 w 144597"/>
                  <a:gd name="connsiteY11" fmla="*/ 151163 h 223461"/>
                  <a:gd name="connsiteX12" fmla="*/ 131440 w 144597"/>
                  <a:gd name="connsiteY12" fmla="*/ 72299 h 223461"/>
                  <a:gd name="connsiteX13" fmla="*/ 72299 w 144597"/>
                  <a:gd name="connsiteY13" fmla="*/ 13158 h 223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4597" h="223461">
                    <a:moveTo>
                      <a:pt x="72299" y="223462"/>
                    </a:moveTo>
                    <a:cubicBezTo>
                      <a:pt x="32436" y="223462"/>
                      <a:pt x="0" y="191026"/>
                      <a:pt x="0" y="151163"/>
                    </a:cubicBezTo>
                    <a:lnTo>
                      <a:pt x="0" y="72299"/>
                    </a:lnTo>
                    <a:cubicBezTo>
                      <a:pt x="0" y="32436"/>
                      <a:pt x="32436" y="0"/>
                      <a:pt x="72299" y="0"/>
                    </a:cubicBezTo>
                    <a:cubicBezTo>
                      <a:pt x="112162" y="0"/>
                      <a:pt x="144598" y="32436"/>
                      <a:pt x="144598" y="72299"/>
                    </a:cubicBezTo>
                    <a:lnTo>
                      <a:pt x="144598" y="151163"/>
                    </a:lnTo>
                    <a:cubicBezTo>
                      <a:pt x="144598" y="191026"/>
                      <a:pt x="112162" y="223462"/>
                      <a:pt x="72299" y="223462"/>
                    </a:cubicBezTo>
                    <a:close/>
                    <a:moveTo>
                      <a:pt x="72299" y="13158"/>
                    </a:moveTo>
                    <a:cubicBezTo>
                      <a:pt x="39696" y="13158"/>
                      <a:pt x="13158" y="39696"/>
                      <a:pt x="13158" y="72299"/>
                    </a:cubicBezTo>
                    <a:lnTo>
                      <a:pt x="13158" y="151163"/>
                    </a:lnTo>
                    <a:cubicBezTo>
                      <a:pt x="13158" y="183766"/>
                      <a:pt x="39696" y="210304"/>
                      <a:pt x="72299" y="210304"/>
                    </a:cubicBezTo>
                    <a:cubicBezTo>
                      <a:pt x="104902" y="210304"/>
                      <a:pt x="131440" y="183766"/>
                      <a:pt x="131440" y="151163"/>
                    </a:cubicBezTo>
                    <a:lnTo>
                      <a:pt x="131440" y="72299"/>
                    </a:lnTo>
                    <a:cubicBezTo>
                      <a:pt x="131440" y="39696"/>
                      <a:pt x="104902" y="13158"/>
                      <a:pt x="72299" y="13158"/>
                    </a:cubicBezTo>
                    <a:close/>
                  </a:path>
                </a:pathLst>
              </a:custGeom>
              <a:solidFill>
                <a:schemeClr val="tx2"/>
              </a:solidFill>
              <a:ln w="2775" cap="flat">
                <a:noFill/>
                <a:prstDash val="solid"/>
                <a:miter/>
              </a:ln>
            </p:spPr>
            <p:txBody>
              <a:bodyPr rtlCol="0" anchor="ctr"/>
              <a:lstStyle/>
              <a:p>
                <a:endParaRPr lang="en-GB" dirty="0"/>
              </a:p>
            </p:txBody>
          </p:sp>
          <p:sp>
            <p:nvSpPr>
              <p:cNvPr id="186" name="Freihandform: Form 674">
                <a:extLst>
                  <a:ext uri="{FF2B5EF4-FFF2-40B4-BE49-F238E27FC236}">
                    <a16:creationId xmlns:a16="http://schemas.microsoft.com/office/drawing/2014/main" id="{11B39CDF-4D80-4905-80F9-34F71687975A}"/>
                  </a:ext>
                </a:extLst>
              </p:cNvPr>
              <p:cNvSpPr/>
              <p:nvPr/>
            </p:nvSpPr>
            <p:spPr>
              <a:xfrm>
                <a:off x="5411304" y="2665119"/>
                <a:ext cx="210303" cy="151162"/>
              </a:xfrm>
              <a:custGeom>
                <a:avLst/>
                <a:gdLst>
                  <a:gd name="connsiteX0" fmla="*/ 111717 w 210303"/>
                  <a:gd name="connsiteY0" fmla="*/ 151163 h 151162"/>
                  <a:gd name="connsiteX1" fmla="*/ 98587 w 210303"/>
                  <a:gd name="connsiteY1" fmla="*/ 151163 h 151162"/>
                  <a:gd name="connsiteX2" fmla="*/ 0 w 210303"/>
                  <a:gd name="connsiteY2" fmla="*/ 52576 h 151162"/>
                  <a:gd name="connsiteX3" fmla="*/ 0 w 210303"/>
                  <a:gd name="connsiteY3" fmla="*/ 0 h 151162"/>
                  <a:gd name="connsiteX4" fmla="*/ 210304 w 210303"/>
                  <a:gd name="connsiteY4" fmla="*/ 0 h 151162"/>
                  <a:gd name="connsiteX5" fmla="*/ 210304 w 210303"/>
                  <a:gd name="connsiteY5" fmla="*/ 52576 h 151162"/>
                  <a:gd name="connsiteX6" fmla="*/ 111717 w 210303"/>
                  <a:gd name="connsiteY6" fmla="*/ 151163 h 151162"/>
                  <a:gd name="connsiteX7" fmla="*/ 13158 w 210303"/>
                  <a:gd name="connsiteY7" fmla="*/ 13158 h 151162"/>
                  <a:gd name="connsiteX8" fmla="*/ 13158 w 210303"/>
                  <a:gd name="connsiteY8" fmla="*/ 52576 h 151162"/>
                  <a:gd name="connsiteX9" fmla="*/ 98587 w 210303"/>
                  <a:gd name="connsiteY9" fmla="*/ 138005 h 151162"/>
                  <a:gd name="connsiteX10" fmla="*/ 111717 w 210303"/>
                  <a:gd name="connsiteY10" fmla="*/ 138005 h 151162"/>
                  <a:gd name="connsiteX11" fmla="*/ 197146 w 210303"/>
                  <a:gd name="connsiteY11" fmla="*/ 52576 h 151162"/>
                  <a:gd name="connsiteX12" fmla="*/ 197146 w 210303"/>
                  <a:gd name="connsiteY12" fmla="*/ 13158 h 151162"/>
                  <a:gd name="connsiteX13" fmla="*/ 13158 w 210303"/>
                  <a:gd name="connsiteY13" fmla="*/ 13158 h 151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0303" h="151162">
                    <a:moveTo>
                      <a:pt x="111717" y="151163"/>
                    </a:moveTo>
                    <a:lnTo>
                      <a:pt x="98587" y="151163"/>
                    </a:lnTo>
                    <a:cubicBezTo>
                      <a:pt x="44231" y="151163"/>
                      <a:pt x="0" y="106932"/>
                      <a:pt x="0" y="52576"/>
                    </a:cubicBezTo>
                    <a:lnTo>
                      <a:pt x="0" y="0"/>
                    </a:lnTo>
                    <a:lnTo>
                      <a:pt x="210304" y="0"/>
                    </a:lnTo>
                    <a:lnTo>
                      <a:pt x="210304" y="52576"/>
                    </a:lnTo>
                    <a:cubicBezTo>
                      <a:pt x="210304" y="106932"/>
                      <a:pt x="166073" y="151163"/>
                      <a:pt x="111717" y="151163"/>
                    </a:cubicBezTo>
                    <a:close/>
                    <a:moveTo>
                      <a:pt x="13158" y="13158"/>
                    </a:moveTo>
                    <a:lnTo>
                      <a:pt x="13158" y="52576"/>
                    </a:lnTo>
                    <a:cubicBezTo>
                      <a:pt x="13158" y="99700"/>
                      <a:pt x="51491" y="138005"/>
                      <a:pt x="98587" y="138005"/>
                    </a:cubicBezTo>
                    <a:lnTo>
                      <a:pt x="111717" y="138005"/>
                    </a:lnTo>
                    <a:cubicBezTo>
                      <a:pt x="158841" y="138005"/>
                      <a:pt x="197146" y="99672"/>
                      <a:pt x="197146" y="52576"/>
                    </a:cubicBezTo>
                    <a:lnTo>
                      <a:pt x="197146" y="13158"/>
                    </a:lnTo>
                    <a:lnTo>
                      <a:pt x="13158" y="13158"/>
                    </a:lnTo>
                    <a:close/>
                  </a:path>
                </a:pathLst>
              </a:custGeom>
              <a:solidFill>
                <a:schemeClr val="tx2"/>
              </a:solidFill>
              <a:ln w="2775" cap="flat">
                <a:noFill/>
                <a:prstDash val="solid"/>
                <a:miter/>
              </a:ln>
            </p:spPr>
            <p:txBody>
              <a:bodyPr rtlCol="0" anchor="ctr"/>
              <a:lstStyle/>
              <a:p>
                <a:endParaRPr lang="en-GB" dirty="0"/>
              </a:p>
            </p:txBody>
          </p:sp>
          <p:sp>
            <p:nvSpPr>
              <p:cNvPr id="187" name="Freihandform: Form 675">
                <a:extLst>
                  <a:ext uri="{FF2B5EF4-FFF2-40B4-BE49-F238E27FC236}">
                    <a16:creationId xmlns:a16="http://schemas.microsoft.com/office/drawing/2014/main" id="{CE728DEE-7B69-4041-AE20-3A32CC5697BB}"/>
                  </a:ext>
                </a:extLst>
              </p:cNvPr>
              <p:cNvSpPr/>
              <p:nvPr/>
            </p:nvSpPr>
            <p:spPr>
              <a:xfrm>
                <a:off x="5450750" y="2632266"/>
                <a:ext cx="26287" cy="13130"/>
              </a:xfrm>
              <a:custGeom>
                <a:avLst/>
                <a:gdLst>
                  <a:gd name="connsiteX0" fmla="*/ 0 w 26287"/>
                  <a:gd name="connsiteY0" fmla="*/ 0 h 13130"/>
                  <a:gd name="connsiteX1" fmla="*/ 26288 w 26287"/>
                  <a:gd name="connsiteY1" fmla="*/ 0 h 13130"/>
                  <a:gd name="connsiteX2" fmla="*/ 26288 w 26287"/>
                  <a:gd name="connsiteY2" fmla="*/ 13130 h 13130"/>
                  <a:gd name="connsiteX3" fmla="*/ 0 w 26287"/>
                  <a:gd name="connsiteY3" fmla="*/ 13130 h 13130"/>
                </a:gdLst>
                <a:ahLst/>
                <a:cxnLst>
                  <a:cxn ang="0">
                    <a:pos x="connsiteX0" y="connsiteY0"/>
                  </a:cxn>
                  <a:cxn ang="0">
                    <a:pos x="connsiteX1" y="connsiteY1"/>
                  </a:cxn>
                  <a:cxn ang="0">
                    <a:pos x="connsiteX2" y="connsiteY2"/>
                  </a:cxn>
                  <a:cxn ang="0">
                    <a:pos x="connsiteX3" y="connsiteY3"/>
                  </a:cxn>
                </a:cxnLst>
                <a:rect l="l" t="t" r="r" b="b"/>
                <a:pathLst>
                  <a:path w="26287" h="13130">
                    <a:moveTo>
                      <a:pt x="0" y="0"/>
                    </a:moveTo>
                    <a:lnTo>
                      <a:pt x="26288" y="0"/>
                    </a:lnTo>
                    <a:lnTo>
                      <a:pt x="26288" y="13130"/>
                    </a:lnTo>
                    <a:lnTo>
                      <a:pt x="0" y="13130"/>
                    </a:lnTo>
                    <a:close/>
                  </a:path>
                </a:pathLst>
              </a:custGeom>
              <a:solidFill>
                <a:schemeClr val="tx2"/>
              </a:solidFill>
              <a:ln w="2775" cap="flat">
                <a:noFill/>
                <a:prstDash val="solid"/>
                <a:miter/>
              </a:ln>
            </p:spPr>
            <p:txBody>
              <a:bodyPr rtlCol="0" anchor="ctr"/>
              <a:lstStyle/>
              <a:p>
                <a:endParaRPr lang="en-GB" dirty="0"/>
              </a:p>
            </p:txBody>
          </p:sp>
          <p:sp>
            <p:nvSpPr>
              <p:cNvPr id="188" name="Freihandform: Form 676">
                <a:extLst>
                  <a:ext uri="{FF2B5EF4-FFF2-40B4-BE49-F238E27FC236}">
                    <a16:creationId xmlns:a16="http://schemas.microsoft.com/office/drawing/2014/main" id="{B962C9E8-65BF-43C3-8BCA-91C57FB2F03B}"/>
                  </a:ext>
                </a:extLst>
              </p:cNvPr>
              <p:cNvSpPr/>
              <p:nvPr/>
            </p:nvSpPr>
            <p:spPr>
              <a:xfrm>
                <a:off x="5457315" y="2605978"/>
                <a:ext cx="19722" cy="13130"/>
              </a:xfrm>
              <a:custGeom>
                <a:avLst/>
                <a:gdLst>
                  <a:gd name="connsiteX0" fmla="*/ 0 w 19722"/>
                  <a:gd name="connsiteY0" fmla="*/ 0 h 13130"/>
                  <a:gd name="connsiteX1" fmla="*/ 19723 w 19722"/>
                  <a:gd name="connsiteY1" fmla="*/ 0 h 13130"/>
                  <a:gd name="connsiteX2" fmla="*/ 19723 w 19722"/>
                  <a:gd name="connsiteY2" fmla="*/ 13130 h 13130"/>
                  <a:gd name="connsiteX3" fmla="*/ 0 w 19722"/>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9722" h="13130">
                    <a:moveTo>
                      <a:pt x="0" y="0"/>
                    </a:moveTo>
                    <a:lnTo>
                      <a:pt x="19723" y="0"/>
                    </a:lnTo>
                    <a:lnTo>
                      <a:pt x="19723" y="13130"/>
                    </a:lnTo>
                    <a:lnTo>
                      <a:pt x="0" y="13130"/>
                    </a:lnTo>
                    <a:close/>
                  </a:path>
                </a:pathLst>
              </a:custGeom>
              <a:solidFill>
                <a:schemeClr val="tx2"/>
              </a:solidFill>
              <a:ln w="2775" cap="flat">
                <a:noFill/>
                <a:prstDash val="solid"/>
                <a:miter/>
              </a:ln>
            </p:spPr>
            <p:txBody>
              <a:bodyPr rtlCol="0" anchor="ctr"/>
              <a:lstStyle/>
              <a:p>
                <a:endParaRPr lang="en-GB" dirty="0"/>
              </a:p>
            </p:txBody>
          </p:sp>
          <p:sp>
            <p:nvSpPr>
              <p:cNvPr id="189" name="Freihandform: Form 677">
                <a:extLst>
                  <a:ext uri="{FF2B5EF4-FFF2-40B4-BE49-F238E27FC236}">
                    <a16:creationId xmlns:a16="http://schemas.microsoft.com/office/drawing/2014/main" id="{FFF4EC58-D1AE-4496-94AA-A23F3C777BA3}"/>
                  </a:ext>
                </a:extLst>
              </p:cNvPr>
              <p:cNvSpPr/>
              <p:nvPr/>
            </p:nvSpPr>
            <p:spPr>
              <a:xfrm>
                <a:off x="5555902" y="2605978"/>
                <a:ext cx="19722" cy="13130"/>
              </a:xfrm>
              <a:custGeom>
                <a:avLst/>
                <a:gdLst>
                  <a:gd name="connsiteX0" fmla="*/ 0 w 19722"/>
                  <a:gd name="connsiteY0" fmla="*/ 0 h 13130"/>
                  <a:gd name="connsiteX1" fmla="*/ 19723 w 19722"/>
                  <a:gd name="connsiteY1" fmla="*/ 0 h 13130"/>
                  <a:gd name="connsiteX2" fmla="*/ 19723 w 19722"/>
                  <a:gd name="connsiteY2" fmla="*/ 13130 h 13130"/>
                  <a:gd name="connsiteX3" fmla="*/ 0 w 19722"/>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9722" h="13130">
                    <a:moveTo>
                      <a:pt x="0" y="0"/>
                    </a:moveTo>
                    <a:lnTo>
                      <a:pt x="19723" y="0"/>
                    </a:lnTo>
                    <a:lnTo>
                      <a:pt x="19723" y="13130"/>
                    </a:lnTo>
                    <a:lnTo>
                      <a:pt x="0" y="13130"/>
                    </a:lnTo>
                    <a:close/>
                  </a:path>
                </a:pathLst>
              </a:custGeom>
              <a:solidFill>
                <a:schemeClr val="tx2"/>
              </a:solidFill>
              <a:ln w="2775" cap="flat">
                <a:noFill/>
                <a:prstDash val="solid"/>
                <a:miter/>
              </a:ln>
            </p:spPr>
            <p:txBody>
              <a:bodyPr rtlCol="0" anchor="ctr"/>
              <a:lstStyle/>
              <a:p>
                <a:endParaRPr lang="en-GB" dirty="0"/>
              </a:p>
            </p:txBody>
          </p:sp>
          <p:sp>
            <p:nvSpPr>
              <p:cNvPr id="190" name="Freihandform: Form 678">
                <a:extLst>
                  <a:ext uri="{FF2B5EF4-FFF2-40B4-BE49-F238E27FC236}">
                    <a16:creationId xmlns:a16="http://schemas.microsoft.com/office/drawing/2014/main" id="{6309C9FC-3588-4ED4-9A5E-5F105FDDADE2}"/>
                  </a:ext>
                </a:extLst>
              </p:cNvPr>
              <p:cNvSpPr/>
              <p:nvPr/>
            </p:nvSpPr>
            <p:spPr>
              <a:xfrm>
                <a:off x="5555902" y="2632266"/>
                <a:ext cx="26287" cy="13130"/>
              </a:xfrm>
              <a:custGeom>
                <a:avLst/>
                <a:gdLst>
                  <a:gd name="connsiteX0" fmla="*/ 0 w 26287"/>
                  <a:gd name="connsiteY0" fmla="*/ 0 h 13130"/>
                  <a:gd name="connsiteX1" fmla="*/ 26288 w 26287"/>
                  <a:gd name="connsiteY1" fmla="*/ 0 h 13130"/>
                  <a:gd name="connsiteX2" fmla="*/ 26288 w 26287"/>
                  <a:gd name="connsiteY2" fmla="*/ 13130 h 13130"/>
                  <a:gd name="connsiteX3" fmla="*/ 0 w 26287"/>
                  <a:gd name="connsiteY3" fmla="*/ 13130 h 13130"/>
                </a:gdLst>
                <a:ahLst/>
                <a:cxnLst>
                  <a:cxn ang="0">
                    <a:pos x="connsiteX0" y="connsiteY0"/>
                  </a:cxn>
                  <a:cxn ang="0">
                    <a:pos x="connsiteX1" y="connsiteY1"/>
                  </a:cxn>
                  <a:cxn ang="0">
                    <a:pos x="connsiteX2" y="connsiteY2"/>
                  </a:cxn>
                  <a:cxn ang="0">
                    <a:pos x="connsiteX3" y="connsiteY3"/>
                  </a:cxn>
                </a:cxnLst>
                <a:rect l="l" t="t" r="r" b="b"/>
                <a:pathLst>
                  <a:path w="26287" h="13130">
                    <a:moveTo>
                      <a:pt x="0" y="0"/>
                    </a:moveTo>
                    <a:lnTo>
                      <a:pt x="26288" y="0"/>
                    </a:lnTo>
                    <a:lnTo>
                      <a:pt x="26288" y="13130"/>
                    </a:lnTo>
                    <a:lnTo>
                      <a:pt x="0" y="13130"/>
                    </a:lnTo>
                    <a:close/>
                  </a:path>
                </a:pathLst>
              </a:custGeom>
              <a:solidFill>
                <a:schemeClr val="tx2"/>
              </a:solidFill>
              <a:ln w="2775" cap="flat">
                <a:noFill/>
                <a:prstDash val="solid"/>
                <a:miter/>
              </a:ln>
            </p:spPr>
            <p:txBody>
              <a:bodyPr rtlCol="0" anchor="ctr"/>
              <a:lstStyle/>
              <a:p>
                <a:endParaRPr lang="en-GB" dirty="0"/>
              </a:p>
            </p:txBody>
          </p:sp>
        </p:grpSp>
        <p:grpSp>
          <p:nvGrpSpPr>
            <p:cNvPr id="178" name="Group 177">
              <a:extLst>
                <a:ext uri="{FF2B5EF4-FFF2-40B4-BE49-F238E27FC236}">
                  <a16:creationId xmlns:a16="http://schemas.microsoft.com/office/drawing/2014/main" id="{30049D17-8B08-4538-8F86-20DC2EDA91B7}"/>
                </a:ext>
              </a:extLst>
            </p:cNvPr>
            <p:cNvGrpSpPr/>
            <p:nvPr/>
          </p:nvGrpSpPr>
          <p:grpSpPr>
            <a:xfrm>
              <a:off x="5273299" y="2461436"/>
              <a:ext cx="249721" cy="211611"/>
              <a:chOff x="5273299" y="2461436"/>
              <a:chExt cx="249721" cy="211611"/>
            </a:xfrm>
          </p:grpSpPr>
          <p:sp>
            <p:nvSpPr>
              <p:cNvPr id="179" name="Freihandform: Form 669">
                <a:extLst>
                  <a:ext uri="{FF2B5EF4-FFF2-40B4-BE49-F238E27FC236}">
                    <a16:creationId xmlns:a16="http://schemas.microsoft.com/office/drawing/2014/main" id="{156AE15B-F943-4F1F-9BEA-38A6EE4F8CF1}"/>
                  </a:ext>
                </a:extLst>
              </p:cNvPr>
              <p:cNvSpPr/>
              <p:nvPr/>
            </p:nvSpPr>
            <p:spPr>
              <a:xfrm>
                <a:off x="5273299" y="2461436"/>
                <a:ext cx="249721" cy="211611"/>
              </a:xfrm>
              <a:custGeom>
                <a:avLst/>
                <a:gdLst>
                  <a:gd name="connsiteX0" fmla="*/ 105152 w 249721"/>
                  <a:gd name="connsiteY0" fmla="*/ 211611 h 211611"/>
                  <a:gd name="connsiteX1" fmla="*/ 43535 w 249721"/>
                  <a:gd name="connsiteY1" fmla="*/ 157700 h 211611"/>
                  <a:gd name="connsiteX2" fmla="*/ 20669 w 249721"/>
                  <a:gd name="connsiteY2" fmla="*/ 157700 h 211611"/>
                  <a:gd name="connsiteX3" fmla="*/ 0 w 249721"/>
                  <a:gd name="connsiteY3" fmla="*/ 137031 h 211611"/>
                  <a:gd name="connsiteX4" fmla="*/ 0 w 249721"/>
                  <a:gd name="connsiteY4" fmla="*/ 20669 h 211611"/>
                  <a:gd name="connsiteX5" fmla="*/ 20669 w 249721"/>
                  <a:gd name="connsiteY5" fmla="*/ 0 h 211611"/>
                  <a:gd name="connsiteX6" fmla="*/ 229053 w 249721"/>
                  <a:gd name="connsiteY6" fmla="*/ 0 h 211611"/>
                  <a:gd name="connsiteX7" fmla="*/ 249722 w 249721"/>
                  <a:gd name="connsiteY7" fmla="*/ 20669 h 211611"/>
                  <a:gd name="connsiteX8" fmla="*/ 249722 w 249721"/>
                  <a:gd name="connsiteY8" fmla="*/ 85429 h 211611"/>
                  <a:gd name="connsiteX9" fmla="*/ 236592 w 249721"/>
                  <a:gd name="connsiteY9" fmla="*/ 85429 h 211611"/>
                  <a:gd name="connsiteX10" fmla="*/ 236592 w 249721"/>
                  <a:gd name="connsiteY10" fmla="*/ 20669 h 211611"/>
                  <a:gd name="connsiteX11" fmla="*/ 229053 w 249721"/>
                  <a:gd name="connsiteY11" fmla="*/ 13130 h 211611"/>
                  <a:gd name="connsiteX12" fmla="*/ 20669 w 249721"/>
                  <a:gd name="connsiteY12" fmla="*/ 13130 h 211611"/>
                  <a:gd name="connsiteX13" fmla="*/ 13130 w 249721"/>
                  <a:gd name="connsiteY13" fmla="*/ 20669 h 211611"/>
                  <a:gd name="connsiteX14" fmla="*/ 13130 w 249721"/>
                  <a:gd name="connsiteY14" fmla="*/ 137031 h 211611"/>
                  <a:gd name="connsiteX15" fmla="*/ 20669 w 249721"/>
                  <a:gd name="connsiteY15" fmla="*/ 144570 h 211611"/>
                  <a:gd name="connsiteX16" fmla="*/ 48459 w 249721"/>
                  <a:gd name="connsiteY16" fmla="*/ 144570 h 211611"/>
                  <a:gd name="connsiteX17" fmla="*/ 91994 w 249721"/>
                  <a:gd name="connsiteY17" fmla="*/ 182653 h 211611"/>
                  <a:gd name="connsiteX18" fmla="*/ 91994 w 249721"/>
                  <a:gd name="connsiteY18" fmla="*/ 144570 h 211611"/>
                  <a:gd name="connsiteX19" fmla="*/ 157700 w 249721"/>
                  <a:gd name="connsiteY19" fmla="*/ 144570 h 211611"/>
                  <a:gd name="connsiteX20" fmla="*/ 157700 w 249721"/>
                  <a:gd name="connsiteY20" fmla="*/ 157700 h 211611"/>
                  <a:gd name="connsiteX21" fmla="*/ 105124 w 249721"/>
                  <a:gd name="connsiteY21" fmla="*/ 157700 h 211611"/>
                  <a:gd name="connsiteX22" fmla="*/ 105124 w 249721"/>
                  <a:gd name="connsiteY22" fmla="*/ 211611 h 21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9721" h="211611">
                    <a:moveTo>
                      <a:pt x="105152" y="211611"/>
                    </a:moveTo>
                    <a:lnTo>
                      <a:pt x="43535" y="157700"/>
                    </a:lnTo>
                    <a:lnTo>
                      <a:pt x="20669" y="157700"/>
                    </a:lnTo>
                    <a:cubicBezTo>
                      <a:pt x="9263" y="157700"/>
                      <a:pt x="0" y="148437"/>
                      <a:pt x="0" y="137031"/>
                    </a:cubicBezTo>
                    <a:lnTo>
                      <a:pt x="0" y="20669"/>
                    </a:lnTo>
                    <a:cubicBezTo>
                      <a:pt x="0" y="9263"/>
                      <a:pt x="9263" y="0"/>
                      <a:pt x="20669" y="0"/>
                    </a:cubicBezTo>
                    <a:lnTo>
                      <a:pt x="229053" y="0"/>
                    </a:lnTo>
                    <a:cubicBezTo>
                      <a:pt x="240459" y="0"/>
                      <a:pt x="249722" y="9263"/>
                      <a:pt x="249722" y="20669"/>
                    </a:cubicBezTo>
                    <a:lnTo>
                      <a:pt x="249722" y="85429"/>
                    </a:lnTo>
                    <a:lnTo>
                      <a:pt x="236592" y="85429"/>
                    </a:lnTo>
                    <a:lnTo>
                      <a:pt x="236592" y="20669"/>
                    </a:lnTo>
                    <a:cubicBezTo>
                      <a:pt x="236592" y="16524"/>
                      <a:pt x="233226" y="13130"/>
                      <a:pt x="229053" y="13130"/>
                    </a:cubicBezTo>
                    <a:lnTo>
                      <a:pt x="20669" y="13130"/>
                    </a:lnTo>
                    <a:cubicBezTo>
                      <a:pt x="16524" y="13130"/>
                      <a:pt x="13130" y="16496"/>
                      <a:pt x="13130" y="20669"/>
                    </a:cubicBezTo>
                    <a:lnTo>
                      <a:pt x="13130" y="137031"/>
                    </a:lnTo>
                    <a:cubicBezTo>
                      <a:pt x="13130" y="141176"/>
                      <a:pt x="16496" y="144570"/>
                      <a:pt x="20669" y="144570"/>
                    </a:cubicBezTo>
                    <a:lnTo>
                      <a:pt x="48459" y="144570"/>
                    </a:lnTo>
                    <a:lnTo>
                      <a:pt x="91994" y="182653"/>
                    </a:lnTo>
                    <a:lnTo>
                      <a:pt x="91994" y="144570"/>
                    </a:lnTo>
                    <a:lnTo>
                      <a:pt x="157700" y="144570"/>
                    </a:lnTo>
                    <a:lnTo>
                      <a:pt x="157700" y="157700"/>
                    </a:lnTo>
                    <a:lnTo>
                      <a:pt x="105124" y="157700"/>
                    </a:lnTo>
                    <a:lnTo>
                      <a:pt x="105124" y="211611"/>
                    </a:lnTo>
                    <a:close/>
                  </a:path>
                </a:pathLst>
              </a:custGeom>
              <a:solidFill>
                <a:schemeClr val="accent1"/>
              </a:solidFill>
              <a:ln w="2775" cap="flat">
                <a:noFill/>
                <a:prstDash val="solid"/>
                <a:miter/>
              </a:ln>
            </p:spPr>
            <p:txBody>
              <a:bodyPr rtlCol="0" anchor="ctr"/>
              <a:lstStyle/>
              <a:p>
                <a:endParaRPr lang="en-GB" dirty="0"/>
              </a:p>
            </p:txBody>
          </p:sp>
          <p:sp>
            <p:nvSpPr>
              <p:cNvPr id="180" name="Freihandform: Form 679">
                <a:extLst>
                  <a:ext uri="{FF2B5EF4-FFF2-40B4-BE49-F238E27FC236}">
                    <a16:creationId xmlns:a16="http://schemas.microsoft.com/office/drawing/2014/main" id="{ACEE0A65-8C24-45B9-87E8-4E7098B8C887}"/>
                  </a:ext>
                </a:extLst>
              </p:cNvPr>
              <p:cNvSpPr/>
              <p:nvPr/>
            </p:nvSpPr>
            <p:spPr>
              <a:xfrm>
                <a:off x="5299582" y="2494206"/>
                <a:ext cx="78846" cy="78919"/>
              </a:xfrm>
              <a:custGeom>
                <a:avLst/>
                <a:gdLst>
                  <a:gd name="connsiteX0" fmla="*/ 59731 w 78846"/>
                  <a:gd name="connsiteY0" fmla="*/ 78920 h 78919"/>
                  <a:gd name="connsiteX1" fmla="*/ 56559 w 78846"/>
                  <a:gd name="connsiteY1" fmla="*/ 78085 h 78919"/>
                  <a:gd name="connsiteX2" fmla="*/ 39423 w 78846"/>
                  <a:gd name="connsiteY2" fmla="*/ 68627 h 78919"/>
                  <a:gd name="connsiteX3" fmla="*/ 22288 w 78846"/>
                  <a:gd name="connsiteY3" fmla="*/ 78085 h 78919"/>
                  <a:gd name="connsiteX4" fmla="*/ 15333 w 78846"/>
                  <a:gd name="connsiteY4" fmla="*/ 77696 h 78919"/>
                  <a:gd name="connsiteX5" fmla="*/ 12635 w 78846"/>
                  <a:gd name="connsiteY5" fmla="*/ 71270 h 78919"/>
                  <a:gd name="connsiteX6" fmla="*/ 15973 w 78846"/>
                  <a:gd name="connsiteY6" fmla="*/ 50768 h 78919"/>
                  <a:gd name="connsiteX7" fmla="*/ 1869 w 78846"/>
                  <a:gd name="connsiteY7" fmla="*/ 36303 h 78919"/>
                  <a:gd name="connsiteX8" fmla="*/ 339 w 78846"/>
                  <a:gd name="connsiteY8" fmla="*/ 29626 h 78919"/>
                  <a:gd name="connsiteX9" fmla="*/ 5569 w 78846"/>
                  <a:gd name="connsiteY9" fmla="*/ 25203 h 78919"/>
                  <a:gd name="connsiteX10" fmla="*/ 24819 w 78846"/>
                  <a:gd name="connsiteY10" fmla="*/ 22254 h 78919"/>
                  <a:gd name="connsiteX11" fmla="*/ 33470 w 78846"/>
                  <a:gd name="connsiteY11" fmla="*/ 3783 h 78919"/>
                  <a:gd name="connsiteX12" fmla="*/ 39423 w 78846"/>
                  <a:gd name="connsiteY12" fmla="*/ 0 h 78919"/>
                  <a:gd name="connsiteX13" fmla="*/ 45377 w 78846"/>
                  <a:gd name="connsiteY13" fmla="*/ 3783 h 78919"/>
                  <a:gd name="connsiteX14" fmla="*/ 54028 w 78846"/>
                  <a:gd name="connsiteY14" fmla="*/ 22254 h 78919"/>
                  <a:gd name="connsiteX15" fmla="*/ 73278 w 78846"/>
                  <a:gd name="connsiteY15" fmla="*/ 25203 h 78919"/>
                  <a:gd name="connsiteX16" fmla="*/ 78508 w 78846"/>
                  <a:gd name="connsiteY16" fmla="*/ 29626 h 78919"/>
                  <a:gd name="connsiteX17" fmla="*/ 76978 w 78846"/>
                  <a:gd name="connsiteY17" fmla="*/ 36303 h 78919"/>
                  <a:gd name="connsiteX18" fmla="*/ 62874 w 78846"/>
                  <a:gd name="connsiteY18" fmla="*/ 50768 h 78919"/>
                  <a:gd name="connsiteX19" fmla="*/ 66212 w 78846"/>
                  <a:gd name="connsiteY19" fmla="*/ 71270 h 78919"/>
                  <a:gd name="connsiteX20" fmla="*/ 63514 w 78846"/>
                  <a:gd name="connsiteY20" fmla="*/ 77696 h 78919"/>
                  <a:gd name="connsiteX21" fmla="*/ 59731 w 78846"/>
                  <a:gd name="connsiteY21" fmla="*/ 78920 h 78919"/>
                  <a:gd name="connsiteX22" fmla="*/ 39423 w 78846"/>
                  <a:gd name="connsiteY22" fmla="*/ 54551 h 78919"/>
                  <a:gd name="connsiteX23" fmla="*/ 42595 w 78846"/>
                  <a:gd name="connsiteY23" fmla="*/ 55386 h 78919"/>
                  <a:gd name="connsiteX24" fmla="*/ 51051 w 78846"/>
                  <a:gd name="connsiteY24" fmla="*/ 60059 h 78919"/>
                  <a:gd name="connsiteX25" fmla="*/ 49354 w 78846"/>
                  <a:gd name="connsiteY25" fmla="*/ 49627 h 78919"/>
                  <a:gd name="connsiteX26" fmla="*/ 51135 w 78846"/>
                  <a:gd name="connsiteY26" fmla="*/ 43980 h 78919"/>
                  <a:gd name="connsiteX27" fmla="*/ 58618 w 78846"/>
                  <a:gd name="connsiteY27" fmla="*/ 36303 h 78919"/>
                  <a:gd name="connsiteX28" fmla="*/ 48548 w 78846"/>
                  <a:gd name="connsiteY28" fmla="*/ 34772 h 78919"/>
                  <a:gd name="connsiteX29" fmla="*/ 43596 w 78846"/>
                  <a:gd name="connsiteY29" fmla="*/ 31073 h 78919"/>
                  <a:gd name="connsiteX30" fmla="*/ 39396 w 78846"/>
                  <a:gd name="connsiteY30" fmla="*/ 22115 h 78919"/>
                  <a:gd name="connsiteX31" fmla="*/ 35195 w 78846"/>
                  <a:gd name="connsiteY31" fmla="*/ 31073 h 78919"/>
                  <a:gd name="connsiteX32" fmla="*/ 30244 w 78846"/>
                  <a:gd name="connsiteY32" fmla="*/ 34772 h 78919"/>
                  <a:gd name="connsiteX33" fmla="*/ 20173 w 78846"/>
                  <a:gd name="connsiteY33" fmla="*/ 36303 h 78919"/>
                  <a:gd name="connsiteX34" fmla="*/ 27656 w 78846"/>
                  <a:gd name="connsiteY34" fmla="*/ 43980 h 78919"/>
                  <a:gd name="connsiteX35" fmla="*/ 29437 w 78846"/>
                  <a:gd name="connsiteY35" fmla="*/ 49627 h 78919"/>
                  <a:gd name="connsiteX36" fmla="*/ 27740 w 78846"/>
                  <a:gd name="connsiteY36" fmla="*/ 60059 h 78919"/>
                  <a:gd name="connsiteX37" fmla="*/ 36197 w 78846"/>
                  <a:gd name="connsiteY37" fmla="*/ 55386 h 78919"/>
                  <a:gd name="connsiteX38" fmla="*/ 39423 w 78846"/>
                  <a:gd name="connsiteY38" fmla="*/ 54551 h 78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8846" h="78919">
                    <a:moveTo>
                      <a:pt x="59731" y="78920"/>
                    </a:moveTo>
                    <a:cubicBezTo>
                      <a:pt x="58646" y="78920"/>
                      <a:pt x="57533" y="78642"/>
                      <a:pt x="56559" y="78085"/>
                    </a:cubicBezTo>
                    <a:lnTo>
                      <a:pt x="39423" y="68627"/>
                    </a:lnTo>
                    <a:lnTo>
                      <a:pt x="22288" y="78085"/>
                    </a:lnTo>
                    <a:cubicBezTo>
                      <a:pt x="20090" y="79309"/>
                      <a:pt x="17392" y="79170"/>
                      <a:pt x="15333" y="77696"/>
                    </a:cubicBezTo>
                    <a:cubicBezTo>
                      <a:pt x="13275" y="76249"/>
                      <a:pt x="12217" y="73746"/>
                      <a:pt x="12635" y="71270"/>
                    </a:cubicBezTo>
                    <a:lnTo>
                      <a:pt x="15973" y="50768"/>
                    </a:lnTo>
                    <a:lnTo>
                      <a:pt x="1869" y="36303"/>
                    </a:lnTo>
                    <a:cubicBezTo>
                      <a:pt x="144" y="34550"/>
                      <a:pt x="-440" y="31963"/>
                      <a:pt x="339" y="29626"/>
                    </a:cubicBezTo>
                    <a:cubicBezTo>
                      <a:pt x="1118" y="27290"/>
                      <a:pt x="3149" y="25593"/>
                      <a:pt x="5569" y="25203"/>
                    </a:cubicBezTo>
                    <a:lnTo>
                      <a:pt x="24819" y="22254"/>
                    </a:lnTo>
                    <a:lnTo>
                      <a:pt x="33470" y="3783"/>
                    </a:lnTo>
                    <a:cubicBezTo>
                      <a:pt x="34555" y="1474"/>
                      <a:pt x="36864" y="0"/>
                      <a:pt x="39423" y="0"/>
                    </a:cubicBezTo>
                    <a:cubicBezTo>
                      <a:pt x="41983" y="0"/>
                      <a:pt x="44292" y="1474"/>
                      <a:pt x="45377" y="3783"/>
                    </a:cubicBezTo>
                    <a:lnTo>
                      <a:pt x="54028" y="22254"/>
                    </a:lnTo>
                    <a:lnTo>
                      <a:pt x="73278" y="25203"/>
                    </a:lnTo>
                    <a:cubicBezTo>
                      <a:pt x="75726" y="25565"/>
                      <a:pt x="77729" y="27290"/>
                      <a:pt x="78508" y="29626"/>
                    </a:cubicBezTo>
                    <a:cubicBezTo>
                      <a:pt x="79287" y="31963"/>
                      <a:pt x="78702" y="34550"/>
                      <a:pt x="76978" y="36303"/>
                    </a:cubicBezTo>
                    <a:lnTo>
                      <a:pt x="62874" y="50768"/>
                    </a:lnTo>
                    <a:lnTo>
                      <a:pt x="66212" y="71270"/>
                    </a:lnTo>
                    <a:cubicBezTo>
                      <a:pt x="66629" y="73746"/>
                      <a:pt x="65572" y="76249"/>
                      <a:pt x="63514" y="77696"/>
                    </a:cubicBezTo>
                    <a:cubicBezTo>
                      <a:pt x="62401" y="78502"/>
                      <a:pt x="61066" y="78920"/>
                      <a:pt x="59731" y="78920"/>
                    </a:cubicBezTo>
                    <a:close/>
                    <a:moveTo>
                      <a:pt x="39423" y="54551"/>
                    </a:moveTo>
                    <a:cubicBezTo>
                      <a:pt x="40508" y="54551"/>
                      <a:pt x="41621" y="54829"/>
                      <a:pt x="42595" y="55386"/>
                    </a:cubicBezTo>
                    <a:lnTo>
                      <a:pt x="51051" y="60059"/>
                    </a:lnTo>
                    <a:lnTo>
                      <a:pt x="49354" y="49627"/>
                    </a:lnTo>
                    <a:cubicBezTo>
                      <a:pt x="49021" y="47569"/>
                      <a:pt x="49688" y="45482"/>
                      <a:pt x="51135" y="43980"/>
                    </a:cubicBezTo>
                    <a:lnTo>
                      <a:pt x="58618" y="36303"/>
                    </a:lnTo>
                    <a:lnTo>
                      <a:pt x="48548" y="34772"/>
                    </a:lnTo>
                    <a:cubicBezTo>
                      <a:pt x="46378" y="34439"/>
                      <a:pt x="44514" y="33048"/>
                      <a:pt x="43596" y="31073"/>
                    </a:cubicBezTo>
                    <a:lnTo>
                      <a:pt x="39396" y="22115"/>
                    </a:lnTo>
                    <a:lnTo>
                      <a:pt x="35195" y="31073"/>
                    </a:lnTo>
                    <a:cubicBezTo>
                      <a:pt x="34277" y="33048"/>
                      <a:pt x="32413" y="34439"/>
                      <a:pt x="30244" y="34772"/>
                    </a:cubicBezTo>
                    <a:lnTo>
                      <a:pt x="20173" y="36303"/>
                    </a:lnTo>
                    <a:lnTo>
                      <a:pt x="27656" y="43980"/>
                    </a:lnTo>
                    <a:cubicBezTo>
                      <a:pt x="29103" y="45482"/>
                      <a:pt x="29771" y="47569"/>
                      <a:pt x="29437" y="49627"/>
                    </a:cubicBezTo>
                    <a:lnTo>
                      <a:pt x="27740" y="60059"/>
                    </a:lnTo>
                    <a:lnTo>
                      <a:pt x="36197" y="55386"/>
                    </a:lnTo>
                    <a:cubicBezTo>
                      <a:pt x="37254" y="54829"/>
                      <a:pt x="38339" y="54551"/>
                      <a:pt x="39423" y="54551"/>
                    </a:cubicBezTo>
                    <a:close/>
                  </a:path>
                </a:pathLst>
              </a:custGeom>
              <a:solidFill>
                <a:schemeClr val="accent1"/>
              </a:solidFill>
              <a:ln w="2775" cap="flat">
                <a:noFill/>
                <a:prstDash val="solid"/>
                <a:miter/>
              </a:ln>
            </p:spPr>
            <p:txBody>
              <a:bodyPr rtlCol="0" anchor="ctr"/>
              <a:lstStyle/>
              <a:p>
                <a:endParaRPr lang="en-GB" dirty="0"/>
              </a:p>
            </p:txBody>
          </p:sp>
          <p:sp>
            <p:nvSpPr>
              <p:cNvPr id="181" name="Freihandform: Form 680">
                <a:extLst>
                  <a:ext uri="{FF2B5EF4-FFF2-40B4-BE49-F238E27FC236}">
                    <a16:creationId xmlns:a16="http://schemas.microsoft.com/office/drawing/2014/main" id="{7DBD4D51-AF00-4C08-AEEE-6E1DB921861C}"/>
                  </a:ext>
                </a:extLst>
              </p:cNvPr>
              <p:cNvSpPr/>
              <p:nvPr/>
            </p:nvSpPr>
            <p:spPr>
              <a:xfrm>
                <a:off x="5391603" y="2494206"/>
                <a:ext cx="78846" cy="78919"/>
              </a:xfrm>
              <a:custGeom>
                <a:avLst/>
                <a:gdLst>
                  <a:gd name="connsiteX0" fmla="*/ 59731 w 78846"/>
                  <a:gd name="connsiteY0" fmla="*/ 78920 h 78919"/>
                  <a:gd name="connsiteX1" fmla="*/ 56559 w 78846"/>
                  <a:gd name="connsiteY1" fmla="*/ 78085 h 78919"/>
                  <a:gd name="connsiteX2" fmla="*/ 39423 w 78846"/>
                  <a:gd name="connsiteY2" fmla="*/ 68627 h 78919"/>
                  <a:gd name="connsiteX3" fmla="*/ 22288 w 78846"/>
                  <a:gd name="connsiteY3" fmla="*/ 78085 h 78919"/>
                  <a:gd name="connsiteX4" fmla="*/ 15333 w 78846"/>
                  <a:gd name="connsiteY4" fmla="*/ 77696 h 78919"/>
                  <a:gd name="connsiteX5" fmla="*/ 12635 w 78846"/>
                  <a:gd name="connsiteY5" fmla="*/ 71270 h 78919"/>
                  <a:gd name="connsiteX6" fmla="*/ 15973 w 78846"/>
                  <a:gd name="connsiteY6" fmla="*/ 50768 h 78919"/>
                  <a:gd name="connsiteX7" fmla="*/ 1869 w 78846"/>
                  <a:gd name="connsiteY7" fmla="*/ 36303 h 78919"/>
                  <a:gd name="connsiteX8" fmla="*/ 339 w 78846"/>
                  <a:gd name="connsiteY8" fmla="*/ 29626 h 78919"/>
                  <a:gd name="connsiteX9" fmla="*/ 5569 w 78846"/>
                  <a:gd name="connsiteY9" fmla="*/ 25203 h 78919"/>
                  <a:gd name="connsiteX10" fmla="*/ 24819 w 78846"/>
                  <a:gd name="connsiteY10" fmla="*/ 22254 h 78919"/>
                  <a:gd name="connsiteX11" fmla="*/ 33470 w 78846"/>
                  <a:gd name="connsiteY11" fmla="*/ 3783 h 78919"/>
                  <a:gd name="connsiteX12" fmla="*/ 39423 w 78846"/>
                  <a:gd name="connsiteY12" fmla="*/ 0 h 78919"/>
                  <a:gd name="connsiteX13" fmla="*/ 45376 w 78846"/>
                  <a:gd name="connsiteY13" fmla="*/ 3783 h 78919"/>
                  <a:gd name="connsiteX14" fmla="*/ 54028 w 78846"/>
                  <a:gd name="connsiteY14" fmla="*/ 22254 h 78919"/>
                  <a:gd name="connsiteX15" fmla="*/ 73278 w 78846"/>
                  <a:gd name="connsiteY15" fmla="*/ 25203 h 78919"/>
                  <a:gd name="connsiteX16" fmla="*/ 78508 w 78846"/>
                  <a:gd name="connsiteY16" fmla="*/ 29626 h 78919"/>
                  <a:gd name="connsiteX17" fmla="*/ 76978 w 78846"/>
                  <a:gd name="connsiteY17" fmla="*/ 36303 h 78919"/>
                  <a:gd name="connsiteX18" fmla="*/ 62874 w 78846"/>
                  <a:gd name="connsiteY18" fmla="*/ 50768 h 78919"/>
                  <a:gd name="connsiteX19" fmla="*/ 66212 w 78846"/>
                  <a:gd name="connsiteY19" fmla="*/ 71270 h 78919"/>
                  <a:gd name="connsiteX20" fmla="*/ 63514 w 78846"/>
                  <a:gd name="connsiteY20" fmla="*/ 77696 h 78919"/>
                  <a:gd name="connsiteX21" fmla="*/ 59731 w 78846"/>
                  <a:gd name="connsiteY21" fmla="*/ 78920 h 78919"/>
                  <a:gd name="connsiteX22" fmla="*/ 39423 w 78846"/>
                  <a:gd name="connsiteY22" fmla="*/ 54551 h 78919"/>
                  <a:gd name="connsiteX23" fmla="*/ 42595 w 78846"/>
                  <a:gd name="connsiteY23" fmla="*/ 55386 h 78919"/>
                  <a:gd name="connsiteX24" fmla="*/ 51051 w 78846"/>
                  <a:gd name="connsiteY24" fmla="*/ 60059 h 78919"/>
                  <a:gd name="connsiteX25" fmla="*/ 49354 w 78846"/>
                  <a:gd name="connsiteY25" fmla="*/ 49627 h 78919"/>
                  <a:gd name="connsiteX26" fmla="*/ 51135 w 78846"/>
                  <a:gd name="connsiteY26" fmla="*/ 43980 h 78919"/>
                  <a:gd name="connsiteX27" fmla="*/ 58618 w 78846"/>
                  <a:gd name="connsiteY27" fmla="*/ 36303 h 78919"/>
                  <a:gd name="connsiteX28" fmla="*/ 48576 w 78846"/>
                  <a:gd name="connsiteY28" fmla="*/ 34745 h 78919"/>
                  <a:gd name="connsiteX29" fmla="*/ 43624 w 78846"/>
                  <a:gd name="connsiteY29" fmla="*/ 31045 h 78919"/>
                  <a:gd name="connsiteX30" fmla="*/ 39423 w 78846"/>
                  <a:gd name="connsiteY30" fmla="*/ 22087 h 78919"/>
                  <a:gd name="connsiteX31" fmla="*/ 35223 w 78846"/>
                  <a:gd name="connsiteY31" fmla="*/ 31045 h 78919"/>
                  <a:gd name="connsiteX32" fmla="*/ 30271 w 78846"/>
                  <a:gd name="connsiteY32" fmla="*/ 34745 h 78919"/>
                  <a:gd name="connsiteX33" fmla="*/ 20201 w 78846"/>
                  <a:gd name="connsiteY33" fmla="*/ 36275 h 78919"/>
                  <a:gd name="connsiteX34" fmla="*/ 27684 w 78846"/>
                  <a:gd name="connsiteY34" fmla="*/ 43952 h 78919"/>
                  <a:gd name="connsiteX35" fmla="*/ 29465 w 78846"/>
                  <a:gd name="connsiteY35" fmla="*/ 49600 h 78919"/>
                  <a:gd name="connsiteX36" fmla="*/ 27768 w 78846"/>
                  <a:gd name="connsiteY36" fmla="*/ 60031 h 78919"/>
                  <a:gd name="connsiteX37" fmla="*/ 36224 w 78846"/>
                  <a:gd name="connsiteY37" fmla="*/ 55358 h 78919"/>
                  <a:gd name="connsiteX38" fmla="*/ 39423 w 78846"/>
                  <a:gd name="connsiteY38" fmla="*/ 54551 h 78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8846" h="78919">
                    <a:moveTo>
                      <a:pt x="59731" y="78920"/>
                    </a:moveTo>
                    <a:cubicBezTo>
                      <a:pt x="58646" y="78920"/>
                      <a:pt x="57533" y="78642"/>
                      <a:pt x="56559" y="78085"/>
                    </a:cubicBezTo>
                    <a:lnTo>
                      <a:pt x="39423" y="68627"/>
                    </a:lnTo>
                    <a:lnTo>
                      <a:pt x="22288" y="78085"/>
                    </a:lnTo>
                    <a:cubicBezTo>
                      <a:pt x="20090" y="79309"/>
                      <a:pt x="17392" y="79170"/>
                      <a:pt x="15333" y="77696"/>
                    </a:cubicBezTo>
                    <a:cubicBezTo>
                      <a:pt x="13275" y="76249"/>
                      <a:pt x="12217" y="73746"/>
                      <a:pt x="12635" y="71270"/>
                    </a:cubicBezTo>
                    <a:lnTo>
                      <a:pt x="15973" y="50768"/>
                    </a:lnTo>
                    <a:lnTo>
                      <a:pt x="1869" y="36303"/>
                    </a:lnTo>
                    <a:cubicBezTo>
                      <a:pt x="144" y="34550"/>
                      <a:pt x="-440" y="31963"/>
                      <a:pt x="339" y="29626"/>
                    </a:cubicBezTo>
                    <a:cubicBezTo>
                      <a:pt x="1118" y="27290"/>
                      <a:pt x="3149" y="25593"/>
                      <a:pt x="5569" y="25203"/>
                    </a:cubicBezTo>
                    <a:lnTo>
                      <a:pt x="24819" y="22254"/>
                    </a:lnTo>
                    <a:lnTo>
                      <a:pt x="33470" y="3783"/>
                    </a:lnTo>
                    <a:cubicBezTo>
                      <a:pt x="34555" y="1474"/>
                      <a:pt x="36864" y="0"/>
                      <a:pt x="39423" y="0"/>
                    </a:cubicBezTo>
                    <a:cubicBezTo>
                      <a:pt x="41983" y="0"/>
                      <a:pt x="44292" y="1474"/>
                      <a:pt x="45376" y="3783"/>
                    </a:cubicBezTo>
                    <a:lnTo>
                      <a:pt x="54028" y="22254"/>
                    </a:lnTo>
                    <a:lnTo>
                      <a:pt x="73278" y="25203"/>
                    </a:lnTo>
                    <a:cubicBezTo>
                      <a:pt x="75726" y="25565"/>
                      <a:pt x="77729" y="27290"/>
                      <a:pt x="78508" y="29626"/>
                    </a:cubicBezTo>
                    <a:cubicBezTo>
                      <a:pt x="79287" y="31963"/>
                      <a:pt x="78702" y="34550"/>
                      <a:pt x="76978" y="36303"/>
                    </a:cubicBezTo>
                    <a:lnTo>
                      <a:pt x="62874" y="50768"/>
                    </a:lnTo>
                    <a:lnTo>
                      <a:pt x="66212" y="71270"/>
                    </a:lnTo>
                    <a:cubicBezTo>
                      <a:pt x="66629" y="73746"/>
                      <a:pt x="65572" y="76249"/>
                      <a:pt x="63514" y="77696"/>
                    </a:cubicBezTo>
                    <a:cubicBezTo>
                      <a:pt x="62373" y="78502"/>
                      <a:pt x="61066" y="78920"/>
                      <a:pt x="59731" y="78920"/>
                    </a:cubicBezTo>
                    <a:close/>
                    <a:moveTo>
                      <a:pt x="39423" y="54551"/>
                    </a:moveTo>
                    <a:cubicBezTo>
                      <a:pt x="40508" y="54551"/>
                      <a:pt x="41621" y="54829"/>
                      <a:pt x="42595" y="55386"/>
                    </a:cubicBezTo>
                    <a:lnTo>
                      <a:pt x="51051" y="60059"/>
                    </a:lnTo>
                    <a:lnTo>
                      <a:pt x="49354" y="49627"/>
                    </a:lnTo>
                    <a:cubicBezTo>
                      <a:pt x="49021" y="47569"/>
                      <a:pt x="49688" y="45482"/>
                      <a:pt x="51135" y="43980"/>
                    </a:cubicBezTo>
                    <a:lnTo>
                      <a:pt x="58618" y="36303"/>
                    </a:lnTo>
                    <a:lnTo>
                      <a:pt x="48576" y="34745"/>
                    </a:lnTo>
                    <a:cubicBezTo>
                      <a:pt x="46406" y="34411"/>
                      <a:pt x="44542" y="33020"/>
                      <a:pt x="43624" y="31045"/>
                    </a:cubicBezTo>
                    <a:lnTo>
                      <a:pt x="39423" y="22087"/>
                    </a:lnTo>
                    <a:lnTo>
                      <a:pt x="35223" y="31045"/>
                    </a:lnTo>
                    <a:cubicBezTo>
                      <a:pt x="34305" y="33020"/>
                      <a:pt x="32441" y="34411"/>
                      <a:pt x="30271" y="34745"/>
                    </a:cubicBezTo>
                    <a:lnTo>
                      <a:pt x="20201" y="36275"/>
                    </a:lnTo>
                    <a:lnTo>
                      <a:pt x="27684" y="43952"/>
                    </a:lnTo>
                    <a:cubicBezTo>
                      <a:pt x="29131" y="45455"/>
                      <a:pt x="29798" y="47541"/>
                      <a:pt x="29465" y="49600"/>
                    </a:cubicBezTo>
                    <a:lnTo>
                      <a:pt x="27768" y="60031"/>
                    </a:lnTo>
                    <a:lnTo>
                      <a:pt x="36224" y="55358"/>
                    </a:lnTo>
                    <a:cubicBezTo>
                      <a:pt x="37226" y="54829"/>
                      <a:pt x="38311" y="54551"/>
                      <a:pt x="39423" y="54551"/>
                    </a:cubicBezTo>
                    <a:close/>
                  </a:path>
                </a:pathLst>
              </a:custGeom>
              <a:solidFill>
                <a:schemeClr val="accent1"/>
              </a:solidFill>
              <a:ln w="2775" cap="flat">
                <a:noFill/>
                <a:prstDash val="solid"/>
                <a:miter/>
              </a:ln>
            </p:spPr>
            <p:txBody>
              <a:bodyPr rtlCol="0" anchor="ctr"/>
              <a:lstStyle/>
              <a:p>
                <a:endParaRPr lang="en-GB" dirty="0"/>
              </a:p>
            </p:txBody>
          </p:sp>
        </p:grpSp>
      </p:grpSp>
      <p:grpSp>
        <p:nvGrpSpPr>
          <p:cNvPr id="8" name="Group 7">
            <a:extLst>
              <a:ext uri="{FF2B5EF4-FFF2-40B4-BE49-F238E27FC236}">
                <a16:creationId xmlns:a16="http://schemas.microsoft.com/office/drawing/2014/main" id="{1BECA8D7-A336-7CEE-0436-84BAA9983BDD}"/>
              </a:ext>
            </a:extLst>
          </p:cNvPr>
          <p:cNvGrpSpPr/>
          <p:nvPr/>
        </p:nvGrpSpPr>
        <p:grpSpPr>
          <a:xfrm>
            <a:off x="552000" y="3197068"/>
            <a:ext cx="484101" cy="432000"/>
            <a:chOff x="552000" y="3197068"/>
            <a:chExt cx="484101" cy="432000"/>
          </a:xfrm>
        </p:grpSpPr>
        <p:grpSp>
          <p:nvGrpSpPr>
            <p:cNvPr id="192" name="Group 191">
              <a:extLst>
                <a:ext uri="{FF2B5EF4-FFF2-40B4-BE49-F238E27FC236}">
                  <a16:creationId xmlns:a16="http://schemas.microsoft.com/office/drawing/2014/main" id="{586F54D1-FB19-4742-A587-CB902F6F3595}"/>
                </a:ext>
              </a:extLst>
            </p:cNvPr>
            <p:cNvGrpSpPr/>
            <p:nvPr/>
          </p:nvGrpSpPr>
          <p:grpSpPr>
            <a:xfrm>
              <a:off x="552000" y="3197068"/>
              <a:ext cx="484101" cy="432000"/>
              <a:chOff x="7744342" y="2461408"/>
              <a:chExt cx="538918" cy="480917"/>
            </a:xfrm>
            <a:solidFill>
              <a:schemeClr val="tx2"/>
            </a:solidFill>
          </p:grpSpPr>
          <p:grpSp>
            <p:nvGrpSpPr>
              <p:cNvPr id="202" name="Grafik 162">
                <a:extLst>
                  <a:ext uri="{FF2B5EF4-FFF2-40B4-BE49-F238E27FC236}">
                    <a16:creationId xmlns:a16="http://schemas.microsoft.com/office/drawing/2014/main" id="{0547EDCD-CCB0-45B6-9280-FA6E405F27D1}"/>
                  </a:ext>
                </a:extLst>
              </p:cNvPr>
              <p:cNvGrpSpPr/>
              <p:nvPr/>
            </p:nvGrpSpPr>
            <p:grpSpPr>
              <a:xfrm>
                <a:off x="7929638" y="2776836"/>
                <a:ext cx="181512" cy="165461"/>
                <a:chOff x="7929638" y="2776836"/>
                <a:chExt cx="181512" cy="165461"/>
              </a:xfrm>
              <a:grpFill/>
            </p:grpSpPr>
            <p:sp>
              <p:nvSpPr>
                <p:cNvPr id="216" name="Freihandform: Form 632">
                  <a:extLst>
                    <a:ext uri="{FF2B5EF4-FFF2-40B4-BE49-F238E27FC236}">
                      <a16:creationId xmlns:a16="http://schemas.microsoft.com/office/drawing/2014/main" id="{370CA53B-FE99-4E09-93AF-0CD58F863DFE}"/>
                    </a:ext>
                  </a:extLst>
                </p:cNvPr>
                <p:cNvSpPr/>
                <p:nvPr/>
              </p:nvSpPr>
              <p:spPr>
                <a:xfrm>
                  <a:off x="7929638" y="2881989"/>
                  <a:ext cx="181512" cy="60309"/>
                </a:xfrm>
                <a:custGeom>
                  <a:avLst/>
                  <a:gdLst>
                    <a:gd name="connsiteX0" fmla="*/ 168577 w 181512"/>
                    <a:gd name="connsiteY0" fmla="*/ 60309 h 60309"/>
                    <a:gd name="connsiteX1" fmla="*/ 113414 w 181512"/>
                    <a:gd name="connsiteY1" fmla="*/ 13158 h 60309"/>
                    <a:gd name="connsiteX2" fmla="*/ 68099 w 181512"/>
                    <a:gd name="connsiteY2" fmla="*/ 13158 h 60309"/>
                    <a:gd name="connsiteX3" fmla="*/ 12935 w 181512"/>
                    <a:gd name="connsiteY3" fmla="*/ 60309 h 60309"/>
                    <a:gd name="connsiteX4" fmla="*/ 0 w 181512"/>
                    <a:gd name="connsiteY4" fmla="*/ 58000 h 60309"/>
                    <a:gd name="connsiteX5" fmla="*/ 68099 w 181512"/>
                    <a:gd name="connsiteY5" fmla="*/ 0 h 60309"/>
                    <a:gd name="connsiteX6" fmla="*/ 113414 w 181512"/>
                    <a:gd name="connsiteY6" fmla="*/ 0 h 60309"/>
                    <a:gd name="connsiteX7" fmla="*/ 181512 w 181512"/>
                    <a:gd name="connsiteY7" fmla="*/ 58000 h 60309"/>
                    <a:gd name="connsiteX8" fmla="*/ 168577 w 181512"/>
                    <a:gd name="connsiteY8" fmla="*/ 60309 h 6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512" h="60309">
                      <a:moveTo>
                        <a:pt x="168577" y="60309"/>
                      </a:moveTo>
                      <a:cubicBezTo>
                        <a:pt x="163570" y="32102"/>
                        <a:pt x="141399" y="13158"/>
                        <a:pt x="113414" y="13158"/>
                      </a:cubicBezTo>
                      <a:lnTo>
                        <a:pt x="68099" y="13158"/>
                      </a:lnTo>
                      <a:cubicBezTo>
                        <a:pt x="40114" y="13158"/>
                        <a:pt x="17943" y="32102"/>
                        <a:pt x="12935" y="60309"/>
                      </a:cubicBezTo>
                      <a:lnTo>
                        <a:pt x="0" y="58000"/>
                      </a:lnTo>
                      <a:cubicBezTo>
                        <a:pt x="6148" y="23311"/>
                        <a:pt x="33521" y="0"/>
                        <a:pt x="68099" y="0"/>
                      </a:cubicBezTo>
                      <a:lnTo>
                        <a:pt x="113414" y="0"/>
                      </a:lnTo>
                      <a:cubicBezTo>
                        <a:pt x="147992" y="0"/>
                        <a:pt x="175365" y="23311"/>
                        <a:pt x="181512" y="58000"/>
                      </a:cubicBezTo>
                      <a:lnTo>
                        <a:pt x="168577" y="60309"/>
                      </a:lnTo>
                      <a:close/>
                    </a:path>
                  </a:pathLst>
                </a:custGeom>
                <a:grpFill/>
                <a:ln w="2775" cap="flat">
                  <a:noFill/>
                  <a:prstDash val="solid"/>
                  <a:miter/>
                </a:ln>
              </p:spPr>
              <p:txBody>
                <a:bodyPr rtlCol="0" anchor="ctr"/>
                <a:lstStyle/>
                <a:p>
                  <a:endParaRPr lang="en-GB" dirty="0"/>
                </a:p>
              </p:txBody>
            </p:sp>
            <p:sp>
              <p:nvSpPr>
                <p:cNvPr id="217" name="Freihandform: Form 633">
                  <a:extLst>
                    <a:ext uri="{FF2B5EF4-FFF2-40B4-BE49-F238E27FC236}">
                      <a16:creationId xmlns:a16="http://schemas.microsoft.com/office/drawing/2014/main" id="{42EC326B-4736-47E2-8059-B2A7F14A7FCA}"/>
                    </a:ext>
                  </a:extLst>
                </p:cNvPr>
                <p:cNvSpPr/>
                <p:nvPr/>
              </p:nvSpPr>
              <p:spPr>
                <a:xfrm>
                  <a:off x="7981129" y="2776836"/>
                  <a:ext cx="78836" cy="92021"/>
                </a:xfrm>
                <a:custGeom>
                  <a:avLst/>
                  <a:gdLst>
                    <a:gd name="connsiteX0" fmla="*/ 39418 w 78836"/>
                    <a:gd name="connsiteY0" fmla="*/ 92022 h 92021"/>
                    <a:gd name="connsiteX1" fmla="*/ 0 w 78836"/>
                    <a:gd name="connsiteY1" fmla="*/ 46011 h 92021"/>
                    <a:gd name="connsiteX2" fmla="*/ 39418 w 78836"/>
                    <a:gd name="connsiteY2" fmla="*/ 0 h 92021"/>
                    <a:gd name="connsiteX3" fmla="*/ 78836 w 78836"/>
                    <a:gd name="connsiteY3" fmla="*/ 46011 h 92021"/>
                    <a:gd name="connsiteX4" fmla="*/ 39418 w 78836"/>
                    <a:gd name="connsiteY4" fmla="*/ 92022 h 92021"/>
                    <a:gd name="connsiteX5" fmla="*/ 39418 w 78836"/>
                    <a:gd name="connsiteY5" fmla="*/ 13158 h 92021"/>
                    <a:gd name="connsiteX6" fmla="*/ 13130 w 78836"/>
                    <a:gd name="connsiteY6" fmla="*/ 46011 h 92021"/>
                    <a:gd name="connsiteX7" fmla="*/ 39418 w 78836"/>
                    <a:gd name="connsiteY7" fmla="*/ 78864 h 92021"/>
                    <a:gd name="connsiteX8" fmla="*/ 65706 w 78836"/>
                    <a:gd name="connsiteY8" fmla="*/ 46011 h 92021"/>
                    <a:gd name="connsiteX9" fmla="*/ 39418 w 78836"/>
                    <a:gd name="connsiteY9" fmla="*/ 13158 h 9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836" h="92021">
                      <a:moveTo>
                        <a:pt x="39418" y="92022"/>
                      </a:moveTo>
                      <a:cubicBezTo>
                        <a:pt x="15828" y="92022"/>
                        <a:pt x="0" y="73523"/>
                        <a:pt x="0" y="46011"/>
                      </a:cubicBezTo>
                      <a:cubicBezTo>
                        <a:pt x="0" y="18499"/>
                        <a:pt x="15856" y="0"/>
                        <a:pt x="39418" y="0"/>
                      </a:cubicBezTo>
                      <a:cubicBezTo>
                        <a:pt x="63008" y="0"/>
                        <a:pt x="78836" y="18499"/>
                        <a:pt x="78836" y="46011"/>
                      </a:cubicBezTo>
                      <a:cubicBezTo>
                        <a:pt x="78836" y="73523"/>
                        <a:pt x="63008" y="92022"/>
                        <a:pt x="39418" y="92022"/>
                      </a:cubicBezTo>
                      <a:close/>
                      <a:moveTo>
                        <a:pt x="39418" y="13158"/>
                      </a:moveTo>
                      <a:cubicBezTo>
                        <a:pt x="20029" y="13158"/>
                        <a:pt x="13130" y="30127"/>
                        <a:pt x="13130" y="46011"/>
                      </a:cubicBezTo>
                      <a:cubicBezTo>
                        <a:pt x="13130" y="61895"/>
                        <a:pt x="20029" y="78864"/>
                        <a:pt x="39418" y="78864"/>
                      </a:cubicBezTo>
                      <a:cubicBezTo>
                        <a:pt x="58807" y="78864"/>
                        <a:pt x="65706" y="61895"/>
                        <a:pt x="65706" y="46011"/>
                      </a:cubicBezTo>
                      <a:cubicBezTo>
                        <a:pt x="65706" y="30127"/>
                        <a:pt x="58807" y="13158"/>
                        <a:pt x="39418" y="13158"/>
                      </a:cubicBezTo>
                      <a:close/>
                    </a:path>
                  </a:pathLst>
                </a:custGeom>
                <a:grpFill/>
                <a:ln w="2775" cap="flat">
                  <a:noFill/>
                  <a:prstDash val="solid"/>
                  <a:miter/>
                </a:ln>
              </p:spPr>
              <p:txBody>
                <a:bodyPr rtlCol="0" anchor="ctr"/>
                <a:lstStyle/>
                <a:p>
                  <a:endParaRPr lang="en-GB" dirty="0"/>
                </a:p>
              </p:txBody>
            </p:sp>
          </p:grpSp>
          <p:grpSp>
            <p:nvGrpSpPr>
              <p:cNvPr id="203" name="Grafik 162">
                <a:extLst>
                  <a:ext uri="{FF2B5EF4-FFF2-40B4-BE49-F238E27FC236}">
                    <a16:creationId xmlns:a16="http://schemas.microsoft.com/office/drawing/2014/main" id="{7C11273E-1753-4C4C-B2B0-DB80F6F88988}"/>
                  </a:ext>
                </a:extLst>
              </p:cNvPr>
              <p:cNvGrpSpPr/>
              <p:nvPr/>
            </p:nvGrpSpPr>
            <p:grpSpPr>
              <a:xfrm>
                <a:off x="8100496" y="2776836"/>
                <a:ext cx="181512" cy="165489"/>
                <a:chOff x="8100496" y="2776836"/>
                <a:chExt cx="181512" cy="165489"/>
              </a:xfrm>
              <a:grpFill/>
            </p:grpSpPr>
            <p:sp>
              <p:nvSpPr>
                <p:cNvPr id="214" name="Freihandform: Form 635">
                  <a:extLst>
                    <a:ext uri="{FF2B5EF4-FFF2-40B4-BE49-F238E27FC236}">
                      <a16:creationId xmlns:a16="http://schemas.microsoft.com/office/drawing/2014/main" id="{05A136D3-51BC-4A84-B531-DAB5E350C957}"/>
                    </a:ext>
                  </a:extLst>
                </p:cNvPr>
                <p:cNvSpPr/>
                <p:nvPr/>
              </p:nvSpPr>
              <p:spPr>
                <a:xfrm>
                  <a:off x="8100496" y="2882016"/>
                  <a:ext cx="181512" cy="60309"/>
                </a:xfrm>
                <a:custGeom>
                  <a:avLst/>
                  <a:gdLst>
                    <a:gd name="connsiteX0" fmla="*/ 12935 w 181512"/>
                    <a:gd name="connsiteY0" fmla="*/ 60282 h 60309"/>
                    <a:gd name="connsiteX1" fmla="*/ 0 w 181512"/>
                    <a:gd name="connsiteY1" fmla="*/ 58001 h 60309"/>
                    <a:gd name="connsiteX2" fmla="*/ 68099 w 181512"/>
                    <a:gd name="connsiteY2" fmla="*/ 0 h 60309"/>
                    <a:gd name="connsiteX3" fmla="*/ 113414 w 181512"/>
                    <a:gd name="connsiteY3" fmla="*/ 0 h 60309"/>
                    <a:gd name="connsiteX4" fmla="*/ 181512 w 181512"/>
                    <a:gd name="connsiteY4" fmla="*/ 58001 h 60309"/>
                    <a:gd name="connsiteX5" fmla="*/ 168577 w 181512"/>
                    <a:gd name="connsiteY5" fmla="*/ 60309 h 60309"/>
                    <a:gd name="connsiteX6" fmla="*/ 113414 w 181512"/>
                    <a:gd name="connsiteY6" fmla="*/ 13158 h 60309"/>
                    <a:gd name="connsiteX7" fmla="*/ 68099 w 181512"/>
                    <a:gd name="connsiteY7" fmla="*/ 13158 h 60309"/>
                    <a:gd name="connsiteX8" fmla="*/ 12935 w 181512"/>
                    <a:gd name="connsiteY8" fmla="*/ 60282 h 6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1512" h="60309">
                      <a:moveTo>
                        <a:pt x="12935" y="60282"/>
                      </a:moveTo>
                      <a:lnTo>
                        <a:pt x="0" y="58001"/>
                      </a:lnTo>
                      <a:cubicBezTo>
                        <a:pt x="6148" y="23311"/>
                        <a:pt x="33521" y="0"/>
                        <a:pt x="68099" y="0"/>
                      </a:cubicBezTo>
                      <a:lnTo>
                        <a:pt x="113414" y="0"/>
                      </a:lnTo>
                      <a:cubicBezTo>
                        <a:pt x="147992" y="0"/>
                        <a:pt x="175364" y="23311"/>
                        <a:pt x="181512" y="58001"/>
                      </a:cubicBezTo>
                      <a:lnTo>
                        <a:pt x="168577" y="60309"/>
                      </a:lnTo>
                      <a:cubicBezTo>
                        <a:pt x="163570" y="32102"/>
                        <a:pt x="141399" y="13158"/>
                        <a:pt x="113414" y="13158"/>
                      </a:cubicBezTo>
                      <a:lnTo>
                        <a:pt x="68099" y="13158"/>
                      </a:lnTo>
                      <a:cubicBezTo>
                        <a:pt x="40113" y="13130"/>
                        <a:pt x="17943" y="32074"/>
                        <a:pt x="12935" y="60282"/>
                      </a:cubicBezTo>
                      <a:close/>
                    </a:path>
                  </a:pathLst>
                </a:custGeom>
                <a:grpFill/>
                <a:ln w="2775" cap="flat">
                  <a:noFill/>
                  <a:prstDash val="solid"/>
                  <a:miter/>
                </a:ln>
              </p:spPr>
              <p:txBody>
                <a:bodyPr rtlCol="0" anchor="ctr"/>
                <a:lstStyle/>
                <a:p>
                  <a:endParaRPr lang="en-GB" dirty="0"/>
                </a:p>
              </p:txBody>
            </p:sp>
            <p:sp>
              <p:nvSpPr>
                <p:cNvPr id="215" name="Freihandform: Form 636">
                  <a:extLst>
                    <a:ext uri="{FF2B5EF4-FFF2-40B4-BE49-F238E27FC236}">
                      <a16:creationId xmlns:a16="http://schemas.microsoft.com/office/drawing/2014/main" id="{C498E96D-F464-457F-A4F4-E951F8960F7B}"/>
                    </a:ext>
                  </a:extLst>
                </p:cNvPr>
                <p:cNvSpPr/>
                <p:nvPr/>
              </p:nvSpPr>
              <p:spPr>
                <a:xfrm>
                  <a:off x="8152014" y="2776836"/>
                  <a:ext cx="78836" cy="92021"/>
                </a:xfrm>
                <a:custGeom>
                  <a:avLst/>
                  <a:gdLst>
                    <a:gd name="connsiteX0" fmla="*/ 39418 w 78836"/>
                    <a:gd name="connsiteY0" fmla="*/ 92022 h 92021"/>
                    <a:gd name="connsiteX1" fmla="*/ 0 w 78836"/>
                    <a:gd name="connsiteY1" fmla="*/ 46011 h 92021"/>
                    <a:gd name="connsiteX2" fmla="*/ 39418 w 78836"/>
                    <a:gd name="connsiteY2" fmla="*/ 0 h 92021"/>
                    <a:gd name="connsiteX3" fmla="*/ 78836 w 78836"/>
                    <a:gd name="connsiteY3" fmla="*/ 46011 h 92021"/>
                    <a:gd name="connsiteX4" fmla="*/ 39418 w 78836"/>
                    <a:gd name="connsiteY4" fmla="*/ 92022 h 92021"/>
                    <a:gd name="connsiteX5" fmla="*/ 39418 w 78836"/>
                    <a:gd name="connsiteY5" fmla="*/ 13158 h 92021"/>
                    <a:gd name="connsiteX6" fmla="*/ 13130 w 78836"/>
                    <a:gd name="connsiteY6" fmla="*/ 46011 h 92021"/>
                    <a:gd name="connsiteX7" fmla="*/ 39418 w 78836"/>
                    <a:gd name="connsiteY7" fmla="*/ 78864 h 92021"/>
                    <a:gd name="connsiteX8" fmla="*/ 65706 w 78836"/>
                    <a:gd name="connsiteY8" fmla="*/ 46011 h 92021"/>
                    <a:gd name="connsiteX9" fmla="*/ 39418 w 78836"/>
                    <a:gd name="connsiteY9" fmla="*/ 13158 h 9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836" h="92021">
                      <a:moveTo>
                        <a:pt x="39418" y="92022"/>
                      </a:moveTo>
                      <a:cubicBezTo>
                        <a:pt x="15829" y="92022"/>
                        <a:pt x="0" y="73523"/>
                        <a:pt x="0" y="46011"/>
                      </a:cubicBezTo>
                      <a:cubicBezTo>
                        <a:pt x="0" y="18499"/>
                        <a:pt x="15856" y="0"/>
                        <a:pt x="39418" y="0"/>
                      </a:cubicBezTo>
                      <a:cubicBezTo>
                        <a:pt x="63008" y="0"/>
                        <a:pt x="78836" y="18499"/>
                        <a:pt x="78836" y="46011"/>
                      </a:cubicBezTo>
                      <a:cubicBezTo>
                        <a:pt x="78836" y="73523"/>
                        <a:pt x="63008" y="92022"/>
                        <a:pt x="39418" y="92022"/>
                      </a:cubicBezTo>
                      <a:close/>
                      <a:moveTo>
                        <a:pt x="39418" y="13158"/>
                      </a:moveTo>
                      <a:cubicBezTo>
                        <a:pt x="20029" y="13158"/>
                        <a:pt x="13130" y="30127"/>
                        <a:pt x="13130" y="46011"/>
                      </a:cubicBezTo>
                      <a:cubicBezTo>
                        <a:pt x="13130" y="61895"/>
                        <a:pt x="20029" y="78864"/>
                        <a:pt x="39418" y="78864"/>
                      </a:cubicBezTo>
                      <a:cubicBezTo>
                        <a:pt x="58807" y="78864"/>
                        <a:pt x="65706" y="61895"/>
                        <a:pt x="65706" y="46011"/>
                      </a:cubicBezTo>
                      <a:cubicBezTo>
                        <a:pt x="65706" y="30127"/>
                        <a:pt x="58779" y="13158"/>
                        <a:pt x="39418" y="13158"/>
                      </a:cubicBezTo>
                      <a:close/>
                    </a:path>
                  </a:pathLst>
                </a:custGeom>
                <a:grpFill/>
                <a:ln w="2775" cap="flat">
                  <a:noFill/>
                  <a:prstDash val="solid"/>
                  <a:miter/>
                </a:ln>
              </p:spPr>
              <p:txBody>
                <a:bodyPr rtlCol="0" anchor="ctr"/>
                <a:lstStyle/>
                <a:p>
                  <a:endParaRPr lang="en-GB" dirty="0"/>
                </a:p>
              </p:txBody>
            </p:sp>
          </p:grpSp>
          <p:grpSp>
            <p:nvGrpSpPr>
              <p:cNvPr id="204" name="Grafik 162">
                <a:extLst>
                  <a:ext uri="{FF2B5EF4-FFF2-40B4-BE49-F238E27FC236}">
                    <a16:creationId xmlns:a16="http://schemas.microsoft.com/office/drawing/2014/main" id="{55FE2105-F9E9-4E9F-AB12-73CABA4B6860}"/>
                  </a:ext>
                </a:extLst>
              </p:cNvPr>
              <p:cNvGrpSpPr/>
              <p:nvPr/>
            </p:nvGrpSpPr>
            <p:grpSpPr>
              <a:xfrm>
                <a:off x="7744342" y="2461408"/>
                <a:ext cx="308890" cy="479748"/>
                <a:chOff x="7744342" y="2461408"/>
                <a:chExt cx="308890" cy="479748"/>
              </a:xfrm>
              <a:grpFill/>
            </p:grpSpPr>
            <p:sp>
              <p:nvSpPr>
                <p:cNvPr id="206" name="Freihandform: Form 638">
                  <a:extLst>
                    <a:ext uri="{FF2B5EF4-FFF2-40B4-BE49-F238E27FC236}">
                      <a16:creationId xmlns:a16="http://schemas.microsoft.com/office/drawing/2014/main" id="{33097149-23B7-4E0C-9021-EAE5A4F8A2A6}"/>
                    </a:ext>
                  </a:extLst>
                </p:cNvPr>
                <p:cNvSpPr/>
                <p:nvPr/>
              </p:nvSpPr>
              <p:spPr>
                <a:xfrm>
                  <a:off x="7777223" y="2658554"/>
                  <a:ext cx="19695" cy="282602"/>
                </a:xfrm>
                <a:custGeom>
                  <a:avLst/>
                  <a:gdLst>
                    <a:gd name="connsiteX0" fmla="*/ 19695 w 19695"/>
                    <a:gd name="connsiteY0" fmla="*/ 282603 h 282602"/>
                    <a:gd name="connsiteX1" fmla="*/ 6565 w 19695"/>
                    <a:gd name="connsiteY1" fmla="*/ 282603 h 282602"/>
                    <a:gd name="connsiteX2" fmla="*/ 6565 w 19695"/>
                    <a:gd name="connsiteY2" fmla="*/ 13158 h 282602"/>
                    <a:gd name="connsiteX3" fmla="*/ 0 w 19695"/>
                    <a:gd name="connsiteY3" fmla="*/ 13158 h 282602"/>
                    <a:gd name="connsiteX4" fmla="*/ 0 w 19695"/>
                    <a:gd name="connsiteY4" fmla="*/ 0 h 282602"/>
                    <a:gd name="connsiteX5" fmla="*/ 19695 w 19695"/>
                    <a:gd name="connsiteY5" fmla="*/ 0 h 282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5" h="282602">
                      <a:moveTo>
                        <a:pt x="19695" y="282603"/>
                      </a:moveTo>
                      <a:lnTo>
                        <a:pt x="6565" y="282603"/>
                      </a:lnTo>
                      <a:lnTo>
                        <a:pt x="6565" y="13158"/>
                      </a:lnTo>
                      <a:lnTo>
                        <a:pt x="0" y="13158"/>
                      </a:lnTo>
                      <a:lnTo>
                        <a:pt x="0" y="0"/>
                      </a:lnTo>
                      <a:lnTo>
                        <a:pt x="19695" y="0"/>
                      </a:lnTo>
                      <a:close/>
                    </a:path>
                  </a:pathLst>
                </a:custGeom>
                <a:grpFill/>
                <a:ln w="2775" cap="flat">
                  <a:noFill/>
                  <a:prstDash val="solid"/>
                  <a:miter/>
                </a:ln>
              </p:spPr>
              <p:txBody>
                <a:bodyPr rtlCol="0" anchor="ctr"/>
                <a:lstStyle/>
                <a:p>
                  <a:endParaRPr lang="en-GB" dirty="0"/>
                </a:p>
              </p:txBody>
            </p:sp>
            <p:sp>
              <p:nvSpPr>
                <p:cNvPr id="207" name="Freihandform: Form 639">
                  <a:extLst>
                    <a:ext uri="{FF2B5EF4-FFF2-40B4-BE49-F238E27FC236}">
                      <a16:creationId xmlns:a16="http://schemas.microsoft.com/office/drawing/2014/main" id="{40B58224-44C8-44ED-B677-A376EBE18034}"/>
                    </a:ext>
                  </a:extLst>
                </p:cNvPr>
                <p:cNvSpPr/>
                <p:nvPr/>
              </p:nvSpPr>
              <p:spPr>
                <a:xfrm>
                  <a:off x="7842929" y="2783429"/>
                  <a:ext cx="13130" cy="157727"/>
                </a:xfrm>
                <a:custGeom>
                  <a:avLst/>
                  <a:gdLst>
                    <a:gd name="connsiteX0" fmla="*/ 0 w 13130"/>
                    <a:gd name="connsiteY0" fmla="*/ 0 h 157727"/>
                    <a:gd name="connsiteX1" fmla="*/ 13130 w 13130"/>
                    <a:gd name="connsiteY1" fmla="*/ 0 h 157727"/>
                    <a:gd name="connsiteX2" fmla="*/ 13130 w 13130"/>
                    <a:gd name="connsiteY2" fmla="*/ 157728 h 157727"/>
                    <a:gd name="connsiteX3" fmla="*/ 0 w 13130"/>
                    <a:gd name="connsiteY3" fmla="*/ 157728 h 157727"/>
                  </a:gdLst>
                  <a:ahLst/>
                  <a:cxnLst>
                    <a:cxn ang="0">
                      <a:pos x="connsiteX0" y="connsiteY0"/>
                    </a:cxn>
                    <a:cxn ang="0">
                      <a:pos x="connsiteX1" y="connsiteY1"/>
                    </a:cxn>
                    <a:cxn ang="0">
                      <a:pos x="connsiteX2" y="connsiteY2"/>
                    </a:cxn>
                    <a:cxn ang="0">
                      <a:pos x="connsiteX3" y="connsiteY3"/>
                    </a:cxn>
                  </a:cxnLst>
                  <a:rect l="l" t="t" r="r" b="b"/>
                  <a:pathLst>
                    <a:path w="13130" h="157727">
                      <a:moveTo>
                        <a:pt x="0" y="0"/>
                      </a:moveTo>
                      <a:lnTo>
                        <a:pt x="13130" y="0"/>
                      </a:lnTo>
                      <a:lnTo>
                        <a:pt x="13130" y="157728"/>
                      </a:lnTo>
                      <a:lnTo>
                        <a:pt x="0" y="157728"/>
                      </a:lnTo>
                      <a:close/>
                    </a:path>
                  </a:pathLst>
                </a:custGeom>
                <a:grpFill/>
                <a:ln w="2775" cap="flat">
                  <a:noFill/>
                  <a:prstDash val="solid"/>
                  <a:miter/>
                </a:ln>
              </p:spPr>
              <p:txBody>
                <a:bodyPr rtlCol="0" anchor="ctr"/>
                <a:lstStyle/>
                <a:p>
                  <a:endParaRPr lang="en-GB" dirty="0"/>
                </a:p>
              </p:txBody>
            </p:sp>
            <p:sp>
              <p:nvSpPr>
                <p:cNvPr id="208" name="Freihandform: Form 640">
                  <a:extLst>
                    <a:ext uri="{FF2B5EF4-FFF2-40B4-BE49-F238E27FC236}">
                      <a16:creationId xmlns:a16="http://schemas.microsoft.com/office/drawing/2014/main" id="{9B45EC04-709A-4A02-A383-3CC8FCE179DD}"/>
                    </a:ext>
                  </a:extLst>
                </p:cNvPr>
                <p:cNvSpPr/>
                <p:nvPr/>
              </p:nvSpPr>
              <p:spPr>
                <a:xfrm>
                  <a:off x="7744342" y="2579746"/>
                  <a:ext cx="308890" cy="361411"/>
                </a:xfrm>
                <a:custGeom>
                  <a:avLst/>
                  <a:gdLst>
                    <a:gd name="connsiteX0" fmla="*/ 170886 w 308890"/>
                    <a:gd name="connsiteY0" fmla="*/ 361411 h 361411"/>
                    <a:gd name="connsiteX1" fmla="*/ 157728 w 308890"/>
                    <a:gd name="connsiteY1" fmla="*/ 361411 h 361411"/>
                    <a:gd name="connsiteX2" fmla="*/ 157728 w 308890"/>
                    <a:gd name="connsiteY2" fmla="*/ 53132 h 361411"/>
                    <a:gd name="connsiteX3" fmla="*/ 295733 w 308890"/>
                    <a:gd name="connsiteY3" fmla="*/ 40002 h 361411"/>
                    <a:gd name="connsiteX4" fmla="*/ 295733 w 308890"/>
                    <a:gd name="connsiteY4" fmla="*/ 13130 h 361411"/>
                    <a:gd name="connsiteX5" fmla="*/ 78864 w 308890"/>
                    <a:gd name="connsiteY5" fmla="*/ 13130 h 361411"/>
                    <a:gd name="connsiteX6" fmla="*/ 13158 w 308890"/>
                    <a:gd name="connsiteY6" fmla="*/ 85429 h 361411"/>
                    <a:gd name="connsiteX7" fmla="*/ 13158 w 308890"/>
                    <a:gd name="connsiteY7" fmla="*/ 203711 h 361411"/>
                    <a:gd name="connsiteX8" fmla="*/ 26288 w 308890"/>
                    <a:gd name="connsiteY8" fmla="*/ 203711 h 361411"/>
                    <a:gd name="connsiteX9" fmla="*/ 26288 w 308890"/>
                    <a:gd name="connsiteY9" fmla="*/ 216869 h 361411"/>
                    <a:gd name="connsiteX10" fmla="*/ 0 w 308890"/>
                    <a:gd name="connsiteY10" fmla="*/ 216869 h 361411"/>
                    <a:gd name="connsiteX11" fmla="*/ 0 w 308890"/>
                    <a:gd name="connsiteY11" fmla="*/ 85429 h 361411"/>
                    <a:gd name="connsiteX12" fmla="*/ 78864 w 308890"/>
                    <a:gd name="connsiteY12" fmla="*/ 0 h 361411"/>
                    <a:gd name="connsiteX13" fmla="*/ 308891 w 308890"/>
                    <a:gd name="connsiteY13" fmla="*/ 0 h 361411"/>
                    <a:gd name="connsiteX14" fmla="*/ 308891 w 308890"/>
                    <a:gd name="connsiteY14" fmla="*/ 51992 h 361411"/>
                    <a:gd name="connsiteX15" fmla="*/ 170886 w 308890"/>
                    <a:gd name="connsiteY15" fmla="*/ 65122 h 361411"/>
                    <a:gd name="connsiteX16" fmla="*/ 170886 w 308890"/>
                    <a:gd name="connsiteY16" fmla="*/ 361411 h 361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08890" h="361411">
                      <a:moveTo>
                        <a:pt x="170886" y="361411"/>
                      </a:moveTo>
                      <a:lnTo>
                        <a:pt x="157728" y="361411"/>
                      </a:lnTo>
                      <a:lnTo>
                        <a:pt x="157728" y="53132"/>
                      </a:lnTo>
                      <a:lnTo>
                        <a:pt x="295733" y="40002"/>
                      </a:lnTo>
                      <a:lnTo>
                        <a:pt x="295733" y="13130"/>
                      </a:lnTo>
                      <a:lnTo>
                        <a:pt x="78864" y="13130"/>
                      </a:lnTo>
                      <a:cubicBezTo>
                        <a:pt x="40781" y="13130"/>
                        <a:pt x="13158" y="43535"/>
                        <a:pt x="13158" y="85429"/>
                      </a:cubicBezTo>
                      <a:lnTo>
                        <a:pt x="13158" y="203711"/>
                      </a:lnTo>
                      <a:lnTo>
                        <a:pt x="26288" y="203711"/>
                      </a:lnTo>
                      <a:lnTo>
                        <a:pt x="26288" y="216869"/>
                      </a:lnTo>
                      <a:lnTo>
                        <a:pt x="0" y="216869"/>
                      </a:lnTo>
                      <a:lnTo>
                        <a:pt x="0" y="85429"/>
                      </a:lnTo>
                      <a:cubicBezTo>
                        <a:pt x="0" y="36720"/>
                        <a:pt x="33910" y="0"/>
                        <a:pt x="78864" y="0"/>
                      </a:cubicBezTo>
                      <a:lnTo>
                        <a:pt x="308891" y="0"/>
                      </a:lnTo>
                      <a:lnTo>
                        <a:pt x="308891" y="51992"/>
                      </a:lnTo>
                      <a:lnTo>
                        <a:pt x="170886" y="65122"/>
                      </a:lnTo>
                      <a:lnTo>
                        <a:pt x="170886" y="361411"/>
                      </a:lnTo>
                      <a:close/>
                    </a:path>
                  </a:pathLst>
                </a:custGeom>
                <a:grpFill/>
                <a:ln w="2775" cap="flat">
                  <a:noFill/>
                  <a:prstDash val="solid"/>
                  <a:miter/>
                </a:ln>
              </p:spPr>
              <p:txBody>
                <a:bodyPr rtlCol="0" anchor="ctr"/>
                <a:lstStyle/>
                <a:p>
                  <a:endParaRPr lang="en-GB" dirty="0"/>
                </a:p>
              </p:txBody>
            </p:sp>
            <p:sp>
              <p:nvSpPr>
                <p:cNvPr id="209" name="Freihandform: Form 641">
                  <a:extLst>
                    <a:ext uri="{FF2B5EF4-FFF2-40B4-BE49-F238E27FC236}">
                      <a16:creationId xmlns:a16="http://schemas.microsoft.com/office/drawing/2014/main" id="{8C110BEE-108E-4981-99AA-B26C13EFACC0}"/>
                    </a:ext>
                  </a:extLst>
                </p:cNvPr>
                <p:cNvSpPr/>
                <p:nvPr/>
              </p:nvSpPr>
              <p:spPr>
                <a:xfrm>
                  <a:off x="7803483" y="2461408"/>
                  <a:ext cx="92021" cy="105151"/>
                </a:xfrm>
                <a:custGeom>
                  <a:avLst/>
                  <a:gdLst>
                    <a:gd name="connsiteX0" fmla="*/ 46011 w 92021"/>
                    <a:gd name="connsiteY0" fmla="*/ 105152 h 105151"/>
                    <a:gd name="connsiteX1" fmla="*/ 0 w 92021"/>
                    <a:gd name="connsiteY1" fmla="*/ 52576 h 105151"/>
                    <a:gd name="connsiteX2" fmla="*/ 46011 w 92021"/>
                    <a:gd name="connsiteY2" fmla="*/ 0 h 105151"/>
                    <a:gd name="connsiteX3" fmla="*/ 92022 w 92021"/>
                    <a:gd name="connsiteY3" fmla="*/ 52576 h 105151"/>
                    <a:gd name="connsiteX4" fmla="*/ 46011 w 92021"/>
                    <a:gd name="connsiteY4" fmla="*/ 105152 h 105151"/>
                    <a:gd name="connsiteX5" fmla="*/ 46011 w 92021"/>
                    <a:gd name="connsiteY5" fmla="*/ 13130 h 105151"/>
                    <a:gd name="connsiteX6" fmla="*/ 13158 w 92021"/>
                    <a:gd name="connsiteY6" fmla="*/ 52548 h 105151"/>
                    <a:gd name="connsiteX7" fmla="*/ 46011 w 92021"/>
                    <a:gd name="connsiteY7" fmla="*/ 91966 h 105151"/>
                    <a:gd name="connsiteX8" fmla="*/ 78864 w 92021"/>
                    <a:gd name="connsiteY8" fmla="*/ 52548 h 105151"/>
                    <a:gd name="connsiteX9" fmla="*/ 46011 w 92021"/>
                    <a:gd name="connsiteY9" fmla="*/ 13130 h 105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21" h="105151">
                      <a:moveTo>
                        <a:pt x="46011" y="105152"/>
                      </a:moveTo>
                      <a:cubicBezTo>
                        <a:pt x="18499" y="105152"/>
                        <a:pt x="0" y="84038"/>
                        <a:pt x="0" y="52576"/>
                      </a:cubicBezTo>
                      <a:cubicBezTo>
                        <a:pt x="0" y="21114"/>
                        <a:pt x="18499" y="0"/>
                        <a:pt x="46011" y="0"/>
                      </a:cubicBezTo>
                      <a:cubicBezTo>
                        <a:pt x="73523" y="0"/>
                        <a:pt x="92022" y="21114"/>
                        <a:pt x="92022" y="52576"/>
                      </a:cubicBezTo>
                      <a:cubicBezTo>
                        <a:pt x="92022" y="84038"/>
                        <a:pt x="73551" y="105152"/>
                        <a:pt x="46011" y="105152"/>
                      </a:cubicBezTo>
                      <a:close/>
                      <a:moveTo>
                        <a:pt x="46011" y="13130"/>
                      </a:moveTo>
                      <a:cubicBezTo>
                        <a:pt x="21754" y="13130"/>
                        <a:pt x="13158" y="34383"/>
                        <a:pt x="13158" y="52548"/>
                      </a:cubicBezTo>
                      <a:cubicBezTo>
                        <a:pt x="13158" y="70713"/>
                        <a:pt x="21754" y="91966"/>
                        <a:pt x="46011" y="91966"/>
                      </a:cubicBezTo>
                      <a:cubicBezTo>
                        <a:pt x="70268" y="91966"/>
                        <a:pt x="78864" y="70713"/>
                        <a:pt x="78864" y="52548"/>
                      </a:cubicBezTo>
                      <a:cubicBezTo>
                        <a:pt x="78864" y="34383"/>
                        <a:pt x="70268" y="13130"/>
                        <a:pt x="46011" y="13130"/>
                      </a:cubicBezTo>
                      <a:close/>
                    </a:path>
                  </a:pathLst>
                </a:custGeom>
                <a:grpFill/>
                <a:ln w="2775" cap="flat">
                  <a:noFill/>
                  <a:prstDash val="solid"/>
                  <a:miter/>
                </a:ln>
              </p:spPr>
              <p:txBody>
                <a:bodyPr rtlCol="0" anchor="ctr"/>
                <a:lstStyle/>
                <a:p>
                  <a:endParaRPr lang="en-GB" dirty="0"/>
                </a:p>
              </p:txBody>
            </p:sp>
            <p:grpSp>
              <p:nvGrpSpPr>
                <p:cNvPr id="210" name="Grafik 162">
                  <a:extLst>
                    <a:ext uri="{FF2B5EF4-FFF2-40B4-BE49-F238E27FC236}">
                      <a16:creationId xmlns:a16="http://schemas.microsoft.com/office/drawing/2014/main" id="{A432FDAE-2102-4B04-A77C-9C91A5B2C54A}"/>
                    </a:ext>
                  </a:extLst>
                </p:cNvPr>
                <p:cNvGrpSpPr/>
                <p:nvPr/>
              </p:nvGrpSpPr>
              <p:grpSpPr>
                <a:xfrm>
                  <a:off x="7842929" y="2638831"/>
                  <a:ext cx="13130" cy="91994"/>
                  <a:chOff x="7842929" y="2638831"/>
                  <a:chExt cx="13130" cy="91994"/>
                </a:xfrm>
                <a:grpFill/>
              </p:grpSpPr>
              <p:sp>
                <p:nvSpPr>
                  <p:cNvPr id="211" name="Freihandform: Form 643">
                    <a:extLst>
                      <a:ext uri="{FF2B5EF4-FFF2-40B4-BE49-F238E27FC236}">
                        <a16:creationId xmlns:a16="http://schemas.microsoft.com/office/drawing/2014/main" id="{1302DBAB-A0BA-436E-AB77-854DB951342C}"/>
                      </a:ext>
                    </a:extLst>
                  </p:cNvPr>
                  <p:cNvSpPr/>
                  <p:nvPr/>
                </p:nvSpPr>
                <p:spPr>
                  <a:xfrm>
                    <a:off x="7842929" y="2638831"/>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grpFill/>
                  <a:ln w="2775" cap="flat">
                    <a:noFill/>
                    <a:prstDash val="solid"/>
                    <a:miter/>
                  </a:ln>
                </p:spPr>
                <p:txBody>
                  <a:bodyPr rtlCol="0" anchor="ctr"/>
                  <a:lstStyle/>
                  <a:p>
                    <a:endParaRPr lang="en-GB" dirty="0"/>
                  </a:p>
                </p:txBody>
              </p:sp>
              <p:sp>
                <p:nvSpPr>
                  <p:cNvPr id="212" name="Freihandform: Form 644">
                    <a:extLst>
                      <a:ext uri="{FF2B5EF4-FFF2-40B4-BE49-F238E27FC236}">
                        <a16:creationId xmlns:a16="http://schemas.microsoft.com/office/drawing/2014/main" id="{B1DDF98B-B4A7-43D9-8430-EA4C0D59416D}"/>
                      </a:ext>
                    </a:extLst>
                  </p:cNvPr>
                  <p:cNvSpPr/>
                  <p:nvPr/>
                </p:nvSpPr>
                <p:spPr>
                  <a:xfrm>
                    <a:off x="7842929" y="2678277"/>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grpFill/>
                  <a:ln w="2775" cap="flat">
                    <a:noFill/>
                    <a:prstDash val="solid"/>
                    <a:miter/>
                  </a:ln>
                </p:spPr>
                <p:txBody>
                  <a:bodyPr rtlCol="0" anchor="ctr"/>
                  <a:lstStyle/>
                  <a:p>
                    <a:endParaRPr lang="en-GB" dirty="0"/>
                  </a:p>
                </p:txBody>
              </p:sp>
              <p:sp>
                <p:nvSpPr>
                  <p:cNvPr id="213" name="Freihandform: Form 645">
                    <a:extLst>
                      <a:ext uri="{FF2B5EF4-FFF2-40B4-BE49-F238E27FC236}">
                        <a16:creationId xmlns:a16="http://schemas.microsoft.com/office/drawing/2014/main" id="{8E5C4A07-3E5A-4108-B4C2-2ED15FF71C54}"/>
                      </a:ext>
                    </a:extLst>
                  </p:cNvPr>
                  <p:cNvSpPr/>
                  <p:nvPr/>
                </p:nvSpPr>
                <p:spPr>
                  <a:xfrm>
                    <a:off x="7842929" y="2717695"/>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grpFill/>
                  <a:ln w="2775" cap="flat">
                    <a:noFill/>
                    <a:prstDash val="solid"/>
                    <a:miter/>
                  </a:ln>
                </p:spPr>
                <p:txBody>
                  <a:bodyPr rtlCol="0" anchor="ctr"/>
                  <a:lstStyle/>
                  <a:p>
                    <a:endParaRPr lang="en-GB" dirty="0"/>
                  </a:p>
                </p:txBody>
              </p:sp>
            </p:grpSp>
          </p:grpSp>
          <p:sp>
            <p:nvSpPr>
              <p:cNvPr id="205" name="Freihandform: Form 646">
                <a:extLst>
                  <a:ext uri="{FF2B5EF4-FFF2-40B4-BE49-F238E27FC236}">
                    <a16:creationId xmlns:a16="http://schemas.microsoft.com/office/drawing/2014/main" id="{2472F9B6-8E13-4D15-876D-EA746515C8D3}"/>
                  </a:ext>
                </a:extLst>
              </p:cNvPr>
              <p:cNvSpPr/>
              <p:nvPr/>
            </p:nvSpPr>
            <p:spPr>
              <a:xfrm>
                <a:off x="7987527" y="2487696"/>
                <a:ext cx="295733" cy="236592"/>
              </a:xfrm>
              <a:custGeom>
                <a:avLst/>
                <a:gdLst>
                  <a:gd name="connsiteX0" fmla="*/ 295733 w 295733"/>
                  <a:gd name="connsiteY0" fmla="*/ 236592 h 236592"/>
                  <a:gd name="connsiteX1" fmla="*/ 0 w 295733"/>
                  <a:gd name="connsiteY1" fmla="*/ 236592 h 236592"/>
                  <a:gd name="connsiteX2" fmla="*/ 0 w 295733"/>
                  <a:gd name="connsiteY2" fmla="*/ 170858 h 236592"/>
                  <a:gd name="connsiteX3" fmla="*/ 13130 w 295733"/>
                  <a:gd name="connsiteY3" fmla="*/ 170858 h 236592"/>
                  <a:gd name="connsiteX4" fmla="*/ 13130 w 295733"/>
                  <a:gd name="connsiteY4" fmla="*/ 223434 h 236592"/>
                  <a:gd name="connsiteX5" fmla="*/ 282575 w 295733"/>
                  <a:gd name="connsiteY5" fmla="*/ 223434 h 236592"/>
                  <a:gd name="connsiteX6" fmla="*/ 282575 w 295733"/>
                  <a:gd name="connsiteY6" fmla="*/ 13130 h 236592"/>
                  <a:gd name="connsiteX7" fmla="*/ 13130 w 295733"/>
                  <a:gd name="connsiteY7" fmla="*/ 13130 h 236592"/>
                  <a:gd name="connsiteX8" fmla="*/ 13130 w 295733"/>
                  <a:gd name="connsiteY8" fmla="*/ 78864 h 236592"/>
                  <a:gd name="connsiteX9" fmla="*/ 0 w 295733"/>
                  <a:gd name="connsiteY9" fmla="*/ 78864 h 236592"/>
                  <a:gd name="connsiteX10" fmla="*/ 0 w 295733"/>
                  <a:gd name="connsiteY10" fmla="*/ 0 h 236592"/>
                  <a:gd name="connsiteX11" fmla="*/ 295733 w 295733"/>
                  <a:gd name="connsiteY11" fmla="*/ 0 h 236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5733" h="236592">
                    <a:moveTo>
                      <a:pt x="295733" y="236592"/>
                    </a:moveTo>
                    <a:lnTo>
                      <a:pt x="0" y="236592"/>
                    </a:lnTo>
                    <a:lnTo>
                      <a:pt x="0" y="170858"/>
                    </a:lnTo>
                    <a:lnTo>
                      <a:pt x="13130" y="170858"/>
                    </a:lnTo>
                    <a:lnTo>
                      <a:pt x="13130" y="223434"/>
                    </a:lnTo>
                    <a:lnTo>
                      <a:pt x="282575" y="223434"/>
                    </a:lnTo>
                    <a:lnTo>
                      <a:pt x="282575" y="13130"/>
                    </a:lnTo>
                    <a:lnTo>
                      <a:pt x="13130" y="13130"/>
                    </a:lnTo>
                    <a:lnTo>
                      <a:pt x="13130" y="78864"/>
                    </a:lnTo>
                    <a:lnTo>
                      <a:pt x="0" y="78864"/>
                    </a:lnTo>
                    <a:lnTo>
                      <a:pt x="0" y="0"/>
                    </a:lnTo>
                    <a:lnTo>
                      <a:pt x="295733" y="0"/>
                    </a:lnTo>
                    <a:close/>
                  </a:path>
                </a:pathLst>
              </a:custGeom>
              <a:grpFill/>
              <a:ln w="2775" cap="flat">
                <a:noFill/>
                <a:prstDash val="solid"/>
                <a:miter/>
              </a:ln>
            </p:spPr>
            <p:txBody>
              <a:bodyPr rtlCol="0" anchor="ctr"/>
              <a:lstStyle/>
              <a:p>
                <a:endParaRPr lang="en-GB" dirty="0"/>
              </a:p>
            </p:txBody>
          </p:sp>
        </p:grpSp>
        <p:grpSp>
          <p:nvGrpSpPr>
            <p:cNvPr id="193" name="Group 192">
              <a:extLst>
                <a:ext uri="{FF2B5EF4-FFF2-40B4-BE49-F238E27FC236}">
                  <a16:creationId xmlns:a16="http://schemas.microsoft.com/office/drawing/2014/main" id="{1B2CE301-8466-4E7E-8B6F-118B19A4D657}"/>
                </a:ext>
              </a:extLst>
            </p:cNvPr>
            <p:cNvGrpSpPr/>
            <p:nvPr/>
          </p:nvGrpSpPr>
          <p:grpSpPr>
            <a:xfrm>
              <a:off x="805858" y="3250194"/>
              <a:ext cx="200707" cy="153479"/>
              <a:chOff x="8026945" y="2520549"/>
              <a:chExt cx="223434" cy="170858"/>
            </a:xfrm>
          </p:grpSpPr>
          <p:sp>
            <p:nvSpPr>
              <p:cNvPr id="194" name="Freihandform: Form 647">
                <a:extLst>
                  <a:ext uri="{FF2B5EF4-FFF2-40B4-BE49-F238E27FC236}">
                    <a16:creationId xmlns:a16="http://schemas.microsoft.com/office/drawing/2014/main" id="{17EED82C-8000-4BD3-B206-001D33A4BF2D}"/>
                  </a:ext>
                </a:extLst>
              </p:cNvPr>
              <p:cNvSpPr/>
              <p:nvPr/>
            </p:nvSpPr>
            <p:spPr>
              <a:xfrm>
                <a:off x="8026945" y="2520549"/>
                <a:ext cx="177450" cy="13130"/>
              </a:xfrm>
              <a:custGeom>
                <a:avLst/>
                <a:gdLst>
                  <a:gd name="connsiteX0" fmla="*/ 0 w 177450"/>
                  <a:gd name="connsiteY0" fmla="*/ 0 h 13130"/>
                  <a:gd name="connsiteX1" fmla="*/ 177451 w 177450"/>
                  <a:gd name="connsiteY1" fmla="*/ 0 h 13130"/>
                  <a:gd name="connsiteX2" fmla="*/ 177451 w 177450"/>
                  <a:gd name="connsiteY2" fmla="*/ 13130 h 13130"/>
                  <a:gd name="connsiteX3" fmla="*/ 0 w 17745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77450" h="13130">
                    <a:moveTo>
                      <a:pt x="0" y="0"/>
                    </a:moveTo>
                    <a:lnTo>
                      <a:pt x="177451" y="0"/>
                    </a:lnTo>
                    <a:lnTo>
                      <a:pt x="177451" y="13130"/>
                    </a:lnTo>
                    <a:lnTo>
                      <a:pt x="0" y="13130"/>
                    </a:lnTo>
                    <a:close/>
                  </a:path>
                </a:pathLst>
              </a:custGeom>
              <a:solidFill>
                <a:schemeClr val="accent1"/>
              </a:solidFill>
              <a:ln w="2775" cap="flat">
                <a:noFill/>
                <a:prstDash val="solid"/>
                <a:miter/>
              </a:ln>
            </p:spPr>
            <p:txBody>
              <a:bodyPr rtlCol="0" anchor="ctr"/>
              <a:lstStyle/>
              <a:p>
                <a:endParaRPr lang="en-GB" dirty="0"/>
              </a:p>
            </p:txBody>
          </p:sp>
          <p:sp>
            <p:nvSpPr>
              <p:cNvPr id="195" name="Freihandform: Form 648">
                <a:extLst>
                  <a:ext uri="{FF2B5EF4-FFF2-40B4-BE49-F238E27FC236}">
                    <a16:creationId xmlns:a16="http://schemas.microsoft.com/office/drawing/2014/main" id="{2627E262-6140-47AF-A9C5-E5EAE433D6BE}"/>
                  </a:ext>
                </a:extLst>
              </p:cNvPr>
              <p:cNvSpPr/>
              <p:nvPr/>
            </p:nvSpPr>
            <p:spPr>
              <a:xfrm>
                <a:off x="8079521" y="2573125"/>
                <a:ext cx="124874" cy="13130"/>
              </a:xfrm>
              <a:custGeom>
                <a:avLst/>
                <a:gdLst>
                  <a:gd name="connsiteX0" fmla="*/ 0 w 124874"/>
                  <a:gd name="connsiteY0" fmla="*/ 0 h 13130"/>
                  <a:gd name="connsiteX1" fmla="*/ 124875 w 124874"/>
                  <a:gd name="connsiteY1" fmla="*/ 0 h 13130"/>
                  <a:gd name="connsiteX2" fmla="*/ 124875 w 124874"/>
                  <a:gd name="connsiteY2" fmla="*/ 13130 h 13130"/>
                  <a:gd name="connsiteX3" fmla="*/ 0 w 124874"/>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24874" h="13130">
                    <a:moveTo>
                      <a:pt x="0" y="0"/>
                    </a:moveTo>
                    <a:lnTo>
                      <a:pt x="124875" y="0"/>
                    </a:lnTo>
                    <a:lnTo>
                      <a:pt x="124875" y="13130"/>
                    </a:lnTo>
                    <a:lnTo>
                      <a:pt x="0" y="13130"/>
                    </a:lnTo>
                    <a:close/>
                  </a:path>
                </a:pathLst>
              </a:custGeom>
              <a:solidFill>
                <a:schemeClr val="accent1"/>
              </a:solidFill>
              <a:ln w="2775" cap="flat">
                <a:noFill/>
                <a:prstDash val="solid"/>
                <a:miter/>
              </a:ln>
            </p:spPr>
            <p:txBody>
              <a:bodyPr rtlCol="0" anchor="ctr"/>
              <a:lstStyle/>
              <a:p>
                <a:endParaRPr lang="en-GB" dirty="0"/>
              </a:p>
            </p:txBody>
          </p:sp>
          <p:sp>
            <p:nvSpPr>
              <p:cNvPr id="196" name="Freihandform: Form 649">
                <a:extLst>
                  <a:ext uri="{FF2B5EF4-FFF2-40B4-BE49-F238E27FC236}">
                    <a16:creationId xmlns:a16="http://schemas.microsoft.com/office/drawing/2014/main" id="{56BA2CC0-AB3C-4828-9764-4AA2348C99D6}"/>
                  </a:ext>
                </a:extLst>
              </p:cNvPr>
              <p:cNvSpPr/>
              <p:nvPr/>
            </p:nvSpPr>
            <p:spPr>
              <a:xfrm>
                <a:off x="8079521" y="2625701"/>
                <a:ext cx="124874" cy="13130"/>
              </a:xfrm>
              <a:custGeom>
                <a:avLst/>
                <a:gdLst>
                  <a:gd name="connsiteX0" fmla="*/ 0 w 124874"/>
                  <a:gd name="connsiteY0" fmla="*/ 0 h 13130"/>
                  <a:gd name="connsiteX1" fmla="*/ 124875 w 124874"/>
                  <a:gd name="connsiteY1" fmla="*/ 0 h 13130"/>
                  <a:gd name="connsiteX2" fmla="*/ 124875 w 124874"/>
                  <a:gd name="connsiteY2" fmla="*/ 13130 h 13130"/>
                  <a:gd name="connsiteX3" fmla="*/ 0 w 124874"/>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24874" h="13130">
                    <a:moveTo>
                      <a:pt x="0" y="0"/>
                    </a:moveTo>
                    <a:lnTo>
                      <a:pt x="124875" y="0"/>
                    </a:lnTo>
                    <a:lnTo>
                      <a:pt x="124875" y="13130"/>
                    </a:lnTo>
                    <a:lnTo>
                      <a:pt x="0" y="13130"/>
                    </a:lnTo>
                    <a:close/>
                  </a:path>
                </a:pathLst>
              </a:custGeom>
              <a:solidFill>
                <a:schemeClr val="accent1"/>
              </a:solidFill>
              <a:ln w="2775" cap="flat">
                <a:noFill/>
                <a:prstDash val="solid"/>
                <a:miter/>
              </a:ln>
            </p:spPr>
            <p:txBody>
              <a:bodyPr rtlCol="0" anchor="ctr"/>
              <a:lstStyle/>
              <a:p>
                <a:endParaRPr lang="en-GB" dirty="0"/>
              </a:p>
            </p:txBody>
          </p:sp>
          <p:sp>
            <p:nvSpPr>
              <p:cNvPr id="197" name="Freihandform: Form 650">
                <a:extLst>
                  <a:ext uri="{FF2B5EF4-FFF2-40B4-BE49-F238E27FC236}">
                    <a16:creationId xmlns:a16="http://schemas.microsoft.com/office/drawing/2014/main" id="{16D20351-09FE-43E3-A9AA-53842D052621}"/>
                  </a:ext>
                </a:extLst>
              </p:cNvPr>
              <p:cNvSpPr/>
              <p:nvPr/>
            </p:nvSpPr>
            <p:spPr>
              <a:xfrm>
                <a:off x="8026945" y="2678277"/>
                <a:ext cx="177450" cy="13130"/>
              </a:xfrm>
              <a:custGeom>
                <a:avLst/>
                <a:gdLst>
                  <a:gd name="connsiteX0" fmla="*/ 0 w 177450"/>
                  <a:gd name="connsiteY0" fmla="*/ 0 h 13130"/>
                  <a:gd name="connsiteX1" fmla="*/ 177451 w 177450"/>
                  <a:gd name="connsiteY1" fmla="*/ 0 h 13130"/>
                  <a:gd name="connsiteX2" fmla="*/ 177451 w 177450"/>
                  <a:gd name="connsiteY2" fmla="*/ 13130 h 13130"/>
                  <a:gd name="connsiteX3" fmla="*/ 0 w 17745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77450" h="13130">
                    <a:moveTo>
                      <a:pt x="0" y="0"/>
                    </a:moveTo>
                    <a:lnTo>
                      <a:pt x="177451" y="0"/>
                    </a:lnTo>
                    <a:lnTo>
                      <a:pt x="177451" y="13130"/>
                    </a:lnTo>
                    <a:lnTo>
                      <a:pt x="0" y="13130"/>
                    </a:lnTo>
                    <a:close/>
                  </a:path>
                </a:pathLst>
              </a:custGeom>
              <a:solidFill>
                <a:schemeClr val="accent1"/>
              </a:solidFill>
              <a:ln w="2775" cap="flat">
                <a:noFill/>
                <a:prstDash val="solid"/>
                <a:miter/>
              </a:ln>
            </p:spPr>
            <p:txBody>
              <a:bodyPr rtlCol="0" anchor="ctr"/>
              <a:lstStyle/>
              <a:p>
                <a:endParaRPr lang="en-GB" dirty="0"/>
              </a:p>
            </p:txBody>
          </p:sp>
          <p:sp>
            <p:nvSpPr>
              <p:cNvPr id="198" name="Freihandform: Form 651">
                <a:extLst>
                  <a:ext uri="{FF2B5EF4-FFF2-40B4-BE49-F238E27FC236}">
                    <a16:creationId xmlns:a16="http://schemas.microsoft.com/office/drawing/2014/main" id="{789C609E-13EF-4209-8B27-0A2B4BABE240}"/>
                  </a:ext>
                </a:extLst>
              </p:cNvPr>
              <p:cNvSpPr/>
              <p:nvPr/>
            </p:nvSpPr>
            <p:spPr>
              <a:xfrm>
                <a:off x="8237249" y="2520549"/>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solidFill>
                <a:schemeClr val="accent1"/>
              </a:solidFill>
              <a:ln w="2775" cap="flat">
                <a:noFill/>
                <a:prstDash val="solid"/>
                <a:miter/>
              </a:ln>
            </p:spPr>
            <p:txBody>
              <a:bodyPr rtlCol="0" anchor="ctr"/>
              <a:lstStyle/>
              <a:p>
                <a:endParaRPr lang="en-GB" dirty="0"/>
              </a:p>
            </p:txBody>
          </p:sp>
          <p:sp>
            <p:nvSpPr>
              <p:cNvPr id="199" name="Freihandform: Form 652">
                <a:extLst>
                  <a:ext uri="{FF2B5EF4-FFF2-40B4-BE49-F238E27FC236}">
                    <a16:creationId xmlns:a16="http://schemas.microsoft.com/office/drawing/2014/main" id="{D7F581D2-7388-4470-8230-E5566E492D0B}"/>
                  </a:ext>
                </a:extLst>
              </p:cNvPr>
              <p:cNvSpPr/>
              <p:nvPr/>
            </p:nvSpPr>
            <p:spPr>
              <a:xfrm>
                <a:off x="8237249" y="2573125"/>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solidFill>
                <a:schemeClr val="accent1"/>
              </a:solidFill>
              <a:ln w="2775" cap="flat">
                <a:noFill/>
                <a:prstDash val="solid"/>
                <a:miter/>
              </a:ln>
            </p:spPr>
            <p:txBody>
              <a:bodyPr rtlCol="0" anchor="ctr"/>
              <a:lstStyle/>
              <a:p>
                <a:endParaRPr lang="en-GB" dirty="0"/>
              </a:p>
            </p:txBody>
          </p:sp>
          <p:sp>
            <p:nvSpPr>
              <p:cNvPr id="200" name="Freihandform: Form 653">
                <a:extLst>
                  <a:ext uri="{FF2B5EF4-FFF2-40B4-BE49-F238E27FC236}">
                    <a16:creationId xmlns:a16="http://schemas.microsoft.com/office/drawing/2014/main" id="{8629DC31-95D5-4694-BA82-FB3FCC2F53DA}"/>
                  </a:ext>
                </a:extLst>
              </p:cNvPr>
              <p:cNvSpPr/>
              <p:nvPr/>
            </p:nvSpPr>
            <p:spPr>
              <a:xfrm>
                <a:off x="8237249" y="2625701"/>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solidFill>
                <a:schemeClr val="accent1"/>
              </a:solidFill>
              <a:ln w="2775" cap="flat">
                <a:noFill/>
                <a:prstDash val="solid"/>
                <a:miter/>
              </a:ln>
            </p:spPr>
            <p:txBody>
              <a:bodyPr rtlCol="0" anchor="ctr"/>
              <a:lstStyle/>
              <a:p>
                <a:endParaRPr lang="en-GB" dirty="0"/>
              </a:p>
            </p:txBody>
          </p:sp>
          <p:sp>
            <p:nvSpPr>
              <p:cNvPr id="201" name="Freihandform: Form 654">
                <a:extLst>
                  <a:ext uri="{FF2B5EF4-FFF2-40B4-BE49-F238E27FC236}">
                    <a16:creationId xmlns:a16="http://schemas.microsoft.com/office/drawing/2014/main" id="{B788C148-052B-4443-8134-226069E57579}"/>
                  </a:ext>
                </a:extLst>
              </p:cNvPr>
              <p:cNvSpPr/>
              <p:nvPr/>
            </p:nvSpPr>
            <p:spPr>
              <a:xfrm>
                <a:off x="8237249" y="2678277"/>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solidFill>
                <a:schemeClr val="accent1"/>
              </a:solidFill>
              <a:ln w="2775" cap="flat">
                <a:noFill/>
                <a:prstDash val="solid"/>
                <a:miter/>
              </a:ln>
            </p:spPr>
            <p:txBody>
              <a:bodyPr rtlCol="0" anchor="ctr"/>
              <a:lstStyle/>
              <a:p>
                <a:endParaRPr lang="en-GB" dirty="0"/>
              </a:p>
            </p:txBody>
          </p:sp>
        </p:grpSp>
      </p:grpSp>
      <p:grpSp>
        <p:nvGrpSpPr>
          <p:cNvPr id="9" name="Group 8">
            <a:extLst>
              <a:ext uri="{FF2B5EF4-FFF2-40B4-BE49-F238E27FC236}">
                <a16:creationId xmlns:a16="http://schemas.microsoft.com/office/drawing/2014/main" id="{8DFCCCED-453D-5D09-3122-FED2B91D9D4A}"/>
              </a:ext>
            </a:extLst>
          </p:cNvPr>
          <p:cNvGrpSpPr/>
          <p:nvPr/>
        </p:nvGrpSpPr>
        <p:grpSpPr>
          <a:xfrm>
            <a:off x="1620529" y="3197067"/>
            <a:ext cx="437919" cy="432005"/>
            <a:chOff x="1620529" y="3197067"/>
            <a:chExt cx="437919" cy="432005"/>
          </a:xfrm>
        </p:grpSpPr>
        <p:grpSp>
          <p:nvGrpSpPr>
            <p:cNvPr id="219" name="Group 218">
              <a:extLst>
                <a:ext uri="{FF2B5EF4-FFF2-40B4-BE49-F238E27FC236}">
                  <a16:creationId xmlns:a16="http://schemas.microsoft.com/office/drawing/2014/main" id="{398655AC-DC0F-4CDD-B08A-C1F2E52F1816}"/>
                </a:ext>
              </a:extLst>
            </p:cNvPr>
            <p:cNvGrpSpPr/>
            <p:nvPr/>
          </p:nvGrpSpPr>
          <p:grpSpPr>
            <a:xfrm>
              <a:off x="1744786" y="3197067"/>
              <a:ext cx="189372" cy="431999"/>
              <a:chOff x="7080577" y="3296031"/>
              <a:chExt cx="210303" cy="479748"/>
            </a:xfrm>
            <a:solidFill>
              <a:schemeClr val="tx2"/>
            </a:solidFill>
          </p:grpSpPr>
          <p:sp>
            <p:nvSpPr>
              <p:cNvPr id="232" name="Freihandform: Form 709">
                <a:extLst>
                  <a:ext uri="{FF2B5EF4-FFF2-40B4-BE49-F238E27FC236}">
                    <a16:creationId xmlns:a16="http://schemas.microsoft.com/office/drawing/2014/main" id="{41D0FE40-5313-4AF9-A6F7-DE4BC31E8455}"/>
                  </a:ext>
                </a:extLst>
              </p:cNvPr>
              <p:cNvSpPr/>
              <p:nvPr/>
            </p:nvSpPr>
            <p:spPr>
              <a:xfrm>
                <a:off x="7113458" y="3512900"/>
                <a:ext cx="19695" cy="262879"/>
              </a:xfrm>
              <a:custGeom>
                <a:avLst/>
                <a:gdLst>
                  <a:gd name="connsiteX0" fmla="*/ 19695 w 19695"/>
                  <a:gd name="connsiteY0" fmla="*/ 262880 h 262879"/>
                  <a:gd name="connsiteX1" fmla="*/ 6565 w 19695"/>
                  <a:gd name="connsiteY1" fmla="*/ 262880 h 262879"/>
                  <a:gd name="connsiteX2" fmla="*/ 6565 w 19695"/>
                  <a:gd name="connsiteY2" fmla="*/ 13158 h 262879"/>
                  <a:gd name="connsiteX3" fmla="*/ 0 w 19695"/>
                  <a:gd name="connsiteY3" fmla="*/ 13158 h 262879"/>
                  <a:gd name="connsiteX4" fmla="*/ 0 w 19695"/>
                  <a:gd name="connsiteY4" fmla="*/ 0 h 262879"/>
                  <a:gd name="connsiteX5" fmla="*/ 19695 w 19695"/>
                  <a:gd name="connsiteY5" fmla="*/ 0 h 26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95" h="262879">
                    <a:moveTo>
                      <a:pt x="19695" y="262880"/>
                    </a:moveTo>
                    <a:lnTo>
                      <a:pt x="6565" y="262880"/>
                    </a:lnTo>
                    <a:lnTo>
                      <a:pt x="6565" y="13158"/>
                    </a:lnTo>
                    <a:lnTo>
                      <a:pt x="0" y="13158"/>
                    </a:lnTo>
                    <a:lnTo>
                      <a:pt x="0" y="0"/>
                    </a:lnTo>
                    <a:lnTo>
                      <a:pt x="19695" y="0"/>
                    </a:lnTo>
                    <a:close/>
                  </a:path>
                </a:pathLst>
              </a:custGeom>
              <a:grpFill/>
              <a:ln w="2775" cap="flat">
                <a:noFill/>
                <a:prstDash val="solid"/>
                <a:miter/>
              </a:ln>
            </p:spPr>
            <p:txBody>
              <a:bodyPr rtlCol="0" anchor="ctr"/>
              <a:lstStyle/>
              <a:p>
                <a:endParaRPr lang="en-GB" dirty="0"/>
              </a:p>
            </p:txBody>
          </p:sp>
          <p:sp>
            <p:nvSpPr>
              <p:cNvPr id="233" name="Freihandform: Form 710">
                <a:extLst>
                  <a:ext uri="{FF2B5EF4-FFF2-40B4-BE49-F238E27FC236}">
                    <a16:creationId xmlns:a16="http://schemas.microsoft.com/office/drawing/2014/main" id="{0262356A-8756-4444-BA30-3F42553AA002}"/>
                  </a:ext>
                </a:extLst>
              </p:cNvPr>
              <p:cNvSpPr/>
              <p:nvPr/>
            </p:nvSpPr>
            <p:spPr>
              <a:xfrm>
                <a:off x="7238305" y="3512900"/>
                <a:ext cx="19722" cy="262879"/>
              </a:xfrm>
              <a:custGeom>
                <a:avLst/>
                <a:gdLst>
                  <a:gd name="connsiteX0" fmla="*/ 13158 w 19722"/>
                  <a:gd name="connsiteY0" fmla="*/ 262880 h 262879"/>
                  <a:gd name="connsiteX1" fmla="*/ 0 w 19722"/>
                  <a:gd name="connsiteY1" fmla="*/ 262880 h 262879"/>
                  <a:gd name="connsiteX2" fmla="*/ 0 w 19722"/>
                  <a:gd name="connsiteY2" fmla="*/ 0 h 262879"/>
                  <a:gd name="connsiteX3" fmla="*/ 19723 w 19722"/>
                  <a:gd name="connsiteY3" fmla="*/ 0 h 262879"/>
                  <a:gd name="connsiteX4" fmla="*/ 19723 w 19722"/>
                  <a:gd name="connsiteY4" fmla="*/ 13158 h 262879"/>
                  <a:gd name="connsiteX5" fmla="*/ 13158 w 19722"/>
                  <a:gd name="connsiteY5" fmla="*/ 13158 h 262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22" h="262879">
                    <a:moveTo>
                      <a:pt x="13158" y="262880"/>
                    </a:moveTo>
                    <a:lnTo>
                      <a:pt x="0" y="262880"/>
                    </a:lnTo>
                    <a:lnTo>
                      <a:pt x="0" y="0"/>
                    </a:lnTo>
                    <a:lnTo>
                      <a:pt x="19723" y="0"/>
                    </a:lnTo>
                    <a:lnTo>
                      <a:pt x="19723" y="13158"/>
                    </a:lnTo>
                    <a:lnTo>
                      <a:pt x="13158" y="13158"/>
                    </a:lnTo>
                    <a:close/>
                  </a:path>
                </a:pathLst>
              </a:custGeom>
              <a:grpFill/>
              <a:ln w="2775" cap="flat">
                <a:noFill/>
                <a:prstDash val="solid"/>
                <a:miter/>
              </a:ln>
            </p:spPr>
            <p:txBody>
              <a:bodyPr rtlCol="0" anchor="ctr"/>
              <a:lstStyle/>
              <a:p>
                <a:endParaRPr lang="en-GB" dirty="0"/>
              </a:p>
            </p:txBody>
          </p:sp>
          <p:sp>
            <p:nvSpPr>
              <p:cNvPr id="234" name="Freihandform: Form 711">
                <a:extLst>
                  <a:ext uri="{FF2B5EF4-FFF2-40B4-BE49-F238E27FC236}">
                    <a16:creationId xmlns:a16="http://schemas.microsoft.com/office/drawing/2014/main" id="{6356F707-57EE-4908-810E-4C39C96B8BAB}"/>
                  </a:ext>
                </a:extLst>
              </p:cNvPr>
              <p:cNvSpPr/>
              <p:nvPr/>
            </p:nvSpPr>
            <p:spPr>
              <a:xfrm>
                <a:off x="7179164" y="3618052"/>
                <a:ext cx="13130" cy="157727"/>
              </a:xfrm>
              <a:custGeom>
                <a:avLst/>
                <a:gdLst>
                  <a:gd name="connsiteX0" fmla="*/ 0 w 13130"/>
                  <a:gd name="connsiteY0" fmla="*/ 0 h 157727"/>
                  <a:gd name="connsiteX1" fmla="*/ 13130 w 13130"/>
                  <a:gd name="connsiteY1" fmla="*/ 0 h 157727"/>
                  <a:gd name="connsiteX2" fmla="*/ 13130 w 13130"/>
                  <a:gd name="connsiteY2" fmla="*/ 157728 h 157727"/>
                  <a:gd name="connsiteX3" fmla="*/ 0 w 13130"/>
                  <a:gd name="connsiteY3" fmla="*/ 157728 h 157727"/>
                </a:gdLst>
                <a:ahLst/>
                <a:cxnLst>
                  <a:cxn ang="0">
                    <a:pos x="connsiteX0" y="connsiteY0"/>
                  </a:cxn>
                  <a:cxn ang="0">
                    <a:pos x="connsiteX1" y="connsiteY1"/>
                  </a:cxn>
                  <a:cxn ang="0">
                    <a:pos x="connsiteX2" y="connsiteY2"/>
                  </a:cxn>
                  <a:cxn ang="0">
                    <a:pos x="connsiteX3" y="connsiteY3"/>
                  </a:cxn>
                </a:cxnLst>
                <a:rect l="l" t="t" r="r" b="b"/>
                <a:pathLst>
                  <a:path w="13130" h="157727">
                    <a:moveTo>
                      <a:pt x="0" y="0"/>
                    </a:moveTo>
                    <a:lnTo>
                      <a:pt x="13130" y="0"/>
                    </a:lnTo>
                    <a:lnTo>
                      <a:pt x="13130" y="157728"/>
                    </a:lnTo>
                    <a:lnTo>
                      <a:pt x="0" y="157728"/>
                    </a:lnTo>
                    <a:close/>
                  </a:path>
                </a:pathLst>
              </a:custGeom>
              <a:grpFill/>
              <a:ln w="2775" cap="flat">
                <a:noFill/>
                <a:prstDash val="solid"/>
                <a:miter/>
              </a:ln>
            </p:spPr>
            <p:txBody>
              <a:bodyPr rtlCol="0" anchor="ctr"/>
              <a:lstStyle/>
              <a:p>
                <a:endParaRPr lang="en-GB" dirty="0"/>
              </a:p>
            </p:txBody>
          </p:sp>
          <p:sp>
            <p:nvSpPr>
              <p:cNvPr id="235" name="Freihandform: Form 712">
                <a:extLst>
                  <a:ext uri="{FF2B5EF4-FFF2-40B4-BE49-F238E27FC236}">
                    <a16:creationId xmlns:a16="http://schemas.microsoft.com/office/drawing/2014/main" id="{0888D0B8-E4A4-41BF-ADF8-5B93407932F3}"/>
                  </a:ext>
                </a:extLst>
              </p:cNvPr>
              <p:cNvSpPr/>
              <p:nvPr/>
            </p:nvSpPr>
            <p:spPr>
              <a:xfrm>
                <a:off x="7080577" y="3414341"/>
                <a:ext cx="210303" cy="216869"/>
              </a:xfrm>
              <a:custGeom>
                <a:avLst/>
                <a:gdLst>
                  <a:gd name="connsiteX0" fmla="*/ 210304 w 210303"/>
                  <a:gd name="connsiteY0" fmla="*/ 216869 h 216869"/>
                  <a:gd name="connsiteX1" fmla="*/ 184016 w 210303"/>
                  <a:gd name="connsiteY1" fmla="*/ 216869 h 216869"/>
                  <a:gd name="connsiteX2" fmla="*/ 184016 w 210303"/>
                  <a:gd name="connsiteY2" fmla="*/ 203739 h 216869"/>
                  <a:gd name="connsiteX3" fmla="*/ 197146 w 210303"/>
                  <a:gd name="connsiteY3" fmla="*/ 203739 h 216869"/>
                  <a:gd name="connsiteX4" fmla="*/ 197146 w 210303"/>
                  <a:gd name="connsiteY4" fmla="*/ 85457 h 216869"/>
                  <a:gd name="connsiteX5" fmla="*/ 131440 w 210303"/>
                  <a:gd name="connsiteY5" fmla="*/ 13158 h 216869"/>
                  <a:gd name="connsiteX6" fmla="*/ 78864 w 210303"/>
                  <a:gd name="connsiteY6" fmla="*/ 13158 h 216869"/>
                  <a:gd name="connsiteX7" fmla="*/ 13158 w 210303"/>
                  <a:gd name="connsiteY7" fmla="*/ 85457 h 216869"/>
                  <a:gd name="connsiteX8" fmla="*/ 13158 w 210303"/>
                  <a:gd name="connsiteY8" fmla="*/ 203739 h 216869"/>
                  <a:gd name="connsiteX9" fmla="*/ 26288 w 210303"/>
                  <a:gd name="connsiteY9" fmla="*/ 203739 h 216869"/>
                  <a:gd name="connsiteX10" fmla="*/ 26288 w 210303"/>
                  <a:gd name="connsiteY10" fmla="*/ 216869 h 216869"/>
                  <a:gd name="connsiteX11" fmla="*/ 0 w 210303"/>
                  <a:gd name="connsiteY11" fmla="*/ 216869 h 216869"/>
                  <a:gd name="connsiteX12" fmla="*/ 0 w 210303"/>
                  <a:gd name="connsiteY12" fmla="*/ 85429 h 216869"/>
                  <a:gd name="connsiteX13" fmla="*/ 78864 w 210303"/>
                  <a:gd name="connsiteY13" fmla="*/ 0 h 216869"/>
                  <a:gd name="connsiteX14" fmla="*/ 131440 w 210303"/>
                  <a:gd name="connsiteY14" fmla="*/ 0 h 216869"/>
                  <a:gd name="connsiteX15" fmla="*/ 210304 w 210303"/>
                  <a:gd name="connsiteY15" fmla="*/ 85429 h 216869"/>
                  <a:gd name="connsiteX16" fmla="*/ 210304 w 210303"/>
                  <a:gd name="connsiteY16" fmla="*/ 216869 h 216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0303" h="216869">
                    <a:moveTo>
                      <a:pt x="210304" y="216869"/>
                    </a:moveTo>
                    <a:lnTo>
                      <a:pt x="184016" y="216869"/>
                    </a:lnTo>
                    <a:lnTo>
                      <a:pt x="184016" y="203739"/>
                    </a:lnTo>
                    <a:lnTo>
                      <a:pt x="197146" y="203739"/>
                    </a:lnTo>
                    <a:lnTo>
                      <a:pt x="197146" y="85457"/>
                    </a:lnTo>
                    <a:cubicBezTo>
                      <a:pt x="197146" y="43563"/>
                      <a:pt x="169495" y="13158"/>
                      <a:pt x="131440" y="13158"/>
                    </a:cubicBezTo>
                    <a:lnTo>
                      <a:pt x="78864" y="13158"/>
                    </a:lnTo>
                    <a:cubicBezTo>
                      <a:pt x="40781" y="13158"/>
                      <a:pt x="13158" y="43563"/>
                      <a:pt x="13158" y="85457"/>
                    </a:cubicBezTo>
                    <a:lnTo>
                      <a:pt x="13158" y="203739"/>
                    </a:lnTo>
                    <a:lnTo>
                      <a:pt x="26288" y="203739"/>
                    </a:lnTo>
                    <a:lnTo>
                      <a:pt x="26288" y="216869"/>
                    </a:lnTo>
                    <a:lnTo>
                      <a:pt x="0" y="216869"/>
                    </a:lnTo>
                    <a:lnTo>
                      <a:pt x="0" y="85429"/>
                    </a:lnTo>
                    <a:cubicBezTo>
                      <a:pt x="0" y="36720"/>
                      <a:pt x="33910" y="0"/>
                      <a:pt x="78864" y="0"/>
                    </a:cubicBezTo>
                    <a:lnTo>
                      <a:pt x="131440" y="0"/>
                    </a:lnTo>
                    <a:cubicBezTo>
                      <a:pt x="176394" y="0"/>
                      <a:pt x="210304" y="36720"/>
                      <a:pt x="210304" y="85429"/>
                    </a:cubicBezTo>
                    <a:lnTo>
                      <a:pt x="210304" y="216869"/>
                    </a:lnTo>
                    <a:close/>
                  </a:path>
                </a:pathLst>
              </a:custGeom>
              <a:grpFill/>
              <a:ln w="2775" cap="flat">
                <a:noFill/>
                <a:prstDash val="solid"/>
                <a:miter/>
              </a:ln>
            </p:spPr>
            <p:txBody>
              <a:bodyPr rtlCol="0" anchor="ctr"/>
              <a:lstStyle/>
              <a:p>
                <a:endParaRPr lang="en-GB" dirty="0"/>
              </a:p>
            </p:txBody>
          </p:sp>
          <p:sp>
            <p:nvSpPr>
              <p:cNvPr id="236" name="Freihandform: Form 713">
                <a:extLst>
                  <a:ext uri="{FF2B5EF4-FFF2-40B4-BE49-F238E27FC236}">
                    <a16:creationId xmlns:a16="http://schemas.microsoft.com/office/drawing/2014/main" id="{6A361724-E7B7-429D-851C-8EBE02C891E5}"/>
                  </a:ext>
                </a:extLst>
              </p:cNvPr>
              <p:cNvSpPr/>
              <p:nvPr/>
            </p:nvSpPr>
            <p:spPr>
              <a:xfrm>
                <a:off x="7139718" y="3296031"/>
                <a:ext cx="92021" cy="105151"/>
              </a:xfrm>
              <a:custGeom>
                <a:avLst/>
                <a:gdLst>
                  <a:gd name="connsiteX0" fmla="*/ 46011 w 92021"/>
                  <a:gd name="connsiteY0" fmla="*/ 105152 h 105151"/>
                  <a:gd name="connsiteX1" fmla="*/ 0 w 92021"/>
                  <a:gd name="connsiteY1" fmla="*/ 52576 h 105151"/>
                  <a:gd name="connsiteX2" fmla="*/ 46011 w 92021"/>
                  <a:gd name="connsiteY2" fmla="*/ 0 h 105151"/>
                  <a:gd name="connsiteX3" fmla="*/ 92022 w 92021"/>
                  <a:gd name="connsiteY3" fmla="*/ 52576 h 105151"/>
                  <a:gd name="connsiteX4" fmla="*/ 46011 w 92021"/>
                  <a:gd name="connsiteY4" fmla="*/ 105152 h 105151"/>
                  <a:gd name="connsiteX5" fmla="*/ 46011 w 92021"/>
                  <a:gd name="connsiteY5" fmla="*/ 13158 h 105151"/>
                  <a:gd name="connsiteX6" fmla="*/ 13158 w 92021"/>
                  <a:gd name="connsiteY6" fmla="*/ 52576 h 105151"/>
                  <a:gd name="connsiteX7" fmla="*/ 46011 w 92021"/>
                  <a:gd name="connsiteY7" fmla="*/ 91994 h 105151"/>
                  <a:gd name="connsiteX8" fmla="*/ 78864 w 92021"/>
                  <a:gd name="connsiteY8" fmla="*/ 52576 h 105151"/>
                  <a:gd name="connsiteX9" fmla="*/ 46011 w 92021"/>
                  <a:gd name="connsiteY9" fmla="*/ 13158 h 105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021" h="105151">
                    <a:moveTo>
                      <a:pt x="46011" y="105152"/>
                    </a:moveTo>
                    <a:cubicBezTo>
                      <a:pt x="18499" y="105152"/>
                      <a:pt x="0" y="84038"/>
                      <a:pt x="0" y="52576"/>
                    </a:cubicBezTo>
                    <a:cubicBezTo>
                      <a:pt x="0" y="21114"/>
                      <a:pt x="18499" y="0"/>
                      <a:pt x="46011" y="0"/>
                    </a:cubicBezTo>
                    <a:cubicBezTo>
                      <a:pt x="73523" y="0"/>
                      <a:pt x="92022" y="21114"/>
                      <a:pt x="92022" y="52576"/>
                    </a:cubicBezTo>
                    <a:cubicBezTo>
                      <a:pt x="92022" y="84038"/>
                      <a:pt x="73523" y="105152"/>
                      <a:pt x="46011" y="105152"/>
                    </a:cubicBezTo>
                    <a:close/>
                    <a:moveTo>
                      <a:pt x="46011" y="13158"/>
                    </a:moveTo>
                    <a:cubicBezTo>
                      <a:pt x="21754" y="13158"/>
                      <a:pt x="13158" y="34411"/>
                      <a:pt x="13158" y="52576"/>
                    </a:cubicBezTo>
                    <a:cubicBezTo>
                      <a:pt x="13158" y="70769"/>
                      <a:pt x="21754" y="91994"/>
                      <a:pt x="46011" y="91994"/>
                    </a:cubicBezTo>
                    <a:cubicBezTo>
                      <a:pt x="70268" y="91994"/>
                      <a:pt x="78864" y="70741"/>
                      <a:pt x="78864" y="52576"/>
                    </a:cubicBezTo>
                    <a:cubicBezTo>
                      <a:pt x="78892" y="34383"/>
                      <a:pt x="70268" y="13158"/>
                      <a:pt x="46011" y="13158"/>
                    </a:cubicBezTo>
                    <a:close/>
                  </a:path>
                </a:pathLst>
              </a:custGeom>
              <a:grpFill/>
              <a:ln w="2775" cap="flat">
                <a:noFill/>
                <a:prstDash val="solid"/>
                <a:miter/>
              </a:ln>
            </p:spPr>
            <p:txBody>
              <a:bodyPr rtlCol="0" anchor="ctr"/>
              <a:lstStyle/>
              <a:p>
                <a:endParaRPr lang="en-GB" dirty="0"/>
              </a:p>
            </p:txBody>
          </p:sp>
          <p:grpSp>
            <p:nvGrpSpPr>
              <p:cNvPr id="237" name="Grafik 162">
                <a:extLst>
                  <a:ext uri="{FF2B5EF4-FFF2-40B4-BE49-F238E27FC236}">
                    <a16:creationId xmlns:a16="http://schemas.microsoft.com/office/drawing/2014/main" id="{CAE783E2-F56A-4632-B298-8FBAC0542C98}"/>
                  </a:ext>
                </a:extLst>
              </p:cNvPr>
              <p:cNvGrpSpPr/>
              <p:nvPr/>
            </p:nvGrpSpPr>
            <p:grpSpPr>
              <a:xfrm>
                <a:off x="7179164" y="3473482"/>
                <a:ext cx="13130" cy="91994"/>
                <a:chOff x="7179164" y="3473482"/>
                <a:chExt cx="13130" cy="91994"/>
              </a:xfrm>
              <a:grpFill/>
            </p:grpSpPr>
            <p:sp>
              <p:nvSpPr>
                <p:cNvPr id="238" name="Freihandform: Form 715">
                  <a:extLst>
                    <a:ext uri="{FF2B5EF4-FFF2-40B4-BE49-F238E27FC236}">
                      <a16:creationId xmlns:a16="http://schemas.microsoft.com/office/drawing/2014/main" id="{7E63670D-4939-4BED-BC36-788237913A6E}"/>
                    </a:ext>
                  </a:extLst>
                </p:cNvPr>
                <p:cNvSpPr/>
                <p:nvPr/>
              </p:nvSpPr>
              <p:spPr>
                <a:xfrm>
                  <a:off x="7179164" y="3473482"/>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grpFill/>
                <a:ln w="2775" cap="flat">
                  <a:noFill/>
                  <a:prstDash val="solid"/>
                  <a:miter/>
                </a:ln>
              </p:spPr>
              <p:txBody>
                <a:bodyPr rtlCol="0" anchor="ctr"/>
                <a:lstStyle/>
                <a:p>
                  <a:endParaRPr lang="en-GB" dirty="0"/>
                </a:p>
              </p:txBody>
            </p:sp>
            <p:sp>
              <p:nvSpPr>
                <p:cNvPr id="239" name="Freihandform: Form 716">
                  <a:extLst>
                    <a:ext uri="{FF2B5EF4-FFF2-40B4-BE49-F238E27FC236}">
                      <a16:creationId xmlns:a16="http://schemas.microsoft.com/office/drawing/2014/main" id="{DBE8C0D5-4032-414B-B633-6C784D32A08A}"/>
                    </a:ext>
                  </a:extLst>
                </p:cNvPr>
                <p:cNvSpPr/>
                <p:nvPr/>
              </p:nvSpPr>
              <p:spPr>
                <a:xfrm>
                  <a:off x="7179164" y="3512900"/>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grpFill/>
                <a:ln w="2775" cap="flat">
                  <a:noFill/>
                  <a:prstDash val="solid"/>
                  <a:miter/>
                </a:ln>
              </p:spPr>
              <p:txBody>
                <a:bodyPr rtlCol="0" anchor="ctr"/>
                <a:lstStyle/>
                <a:p>
                  <a:endParaRPr lang="en-GB" dirty="0"/>
                </a:p>
              </p:txBody>
            </p:sp>
            <p:sp>
              <p:nvSpPr>
                <p:cNvPr id="240" name="Freihandform: Form 717">
                  <a:extLst>
                    <a:ext uri="{FF2B5EF4-FFF2-40B4-BE49-F238E27FC236}">
                      <a16:creationId xmlns:a16="http://schemas.microsoft.com/office/drawing/2014/main" id="{FFEB9F5C-3D19-4E09-A43B-C9429D141047}"/>
                    </a:ext>
                  </a:extLst>
                </p:cNvPr>
                <p:cNvSpPr/>
                <p:nvPr/>
              </p:nvSpPr>
              <p:spPr>
                <a:xfrm>
                  <a:off x="7179164" y="3552346"/>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grpFill/>
                <a:ln w="2775" cap="flat">
                  <a:noFill/>
                  <a:prstDash val="solid"/>
                  <a:miter/>
                </a:ln>
              </p:spPr>
              <p:txBody>
                <a:bodyPr rtlCol="0" anchor="ctr"/>
                <a:lstStyle/>
                <a:p>
                  <a:endParaRPr lang="en-GB" dirty="0"/>
                </a:p>
              </p:txBody>
            </p:sp>
          </p:grpSp>
        </p:grpSp>
        <p:grpSp>
          <p:nvGrpSpPr>
            <p:cNvPr id="220" name="Group 219">
              <a:extLst>
                <a:ext uri="{FF2B5EF4-FFF2-40B4-BE49-F238E27FC236}">
                  <a16:creationId xmlns:a16="http://schemas.microsoft.com/office/drawing/2014/main" id="{0C73FE4A-B31A-4661-98ED-85CCAC93B0BE}"/>
                </a:ext>
              </a:extLst>
            </p:cNvPr>
            <p:cNvGrpSpPr/>
            <p:nvPr/>
          </p:nvGrpSpPr>
          <p:grpSpPr>
            <a:xfrm>
              <a:off x="1922330" y="3238477"/>
              <a:ext cx="136118" cy="390594"/>
              <a:chOff x="7277751" y="3342014"/>
              <a:chExt cx="151163" cy="433766"/>
            </a:xfrm>
            <a:solidFill>
              <a:schemeClr val="accent1"/>
            </a:solidFill>
          </p:grpSpPr>
          <p:sp>
            <p:nvSpPr>
              <p:cNvPr id="227" name="Freihandform: Form 718">
                <a:extLst>
                  <a:ext uri="{FF2B5EF4-FFF2-40B4-BE49-F238E27FC236}">
                    <a16:creationId xmlns:a16="http://schemas.microsoft.com/office/drawing/2014/main" id="{AFF0506F-18D8-41D9-8A68-25208DBBC552}"/>
                  </a:ext>
                </a:extLst>
              </p:cNvPr>
              <p:cNvSpPr/>
              <p:nvPr/>
            </p:nvSpPr>
            <p:spPr>
              <a:xfrm>
                <a:off x="7295388" y="3447194"/>
                <a:ext cx="133526" cy="203739"/>
              </a:xfrm>
              <a:custGeom>
                <a:avLst/>
                <a:gdLst>
                  <a:gd name="connsiteX0" fmla="*/ 133526 w 133526"/>
                  <a:gd name="connsiteY0" fmla="*/ 203739 h 203739"/>
                  <a:gd name="connsiteX1" fmla="*/ 113803 w 133526"/>
                  <a:gd name="connsiteY1" fmla="*/ 203739 h 203739"/>
                  <a:gd name="connsiteX2" fmla="*/ 113803 w 133526"/>
                  <a:gd name="connsiteY2" fmla="*/ 190609 h 203739"/>
                  <a:gd name="connsiteX3" fmla="*/ 120368 w 133526"/>
                  <a:gd name="connsiteY3" fmla="*/ 190609 h 203739"/>
                  <a:gd name="connsiteX4" fmla="*/ 120368 w 133526"/>
                  <a:gd name="connsiteY4" fmla="*/ 70324 h 203739"/>
                  <a:gd name="connsiteX5" fmla="*/ 62062 w 133526"/>
                  <a:gd name="connsiteY5" fmla="*/ 13158 h 203739"/>
                  <a:gd name="connsiteX6" fmla="*/ 20919 w 133526"/>
                  <a:gd name="connsiteY6" fmla="*/ 13158 h 203739"/>
                  <a:gd name="connsiteX7" fmla="*/ 3783 w 133526"/>
                  <a:gd name="connsiteY7" fmla="*/ 15662 h 203739"/>
                  <a:gd name="connsiteX8" fmla="*/ 0 w 133526"/>
                  <a:gd name="connsiteY8" fmla="*/ 3060 h 203739"/>
                  <a:gd name="connsiteX9" fmla="*/ 20891 w 133526"/>
                  <a:gd name="connsiteY9" fmla="*/ 0 h 203739"/>
                  <a:gd name="connsiteX10" fmla="*/ 62034 w 133526"/>
                  <a:gd name="connsiteY10" fmla="*/ 0 h 203739"/>
                  <a:gd name="connsiteX11" fmla="*/ 133471 w 133526"/>
                  <a:gd name="connsiteY11" fmla="*/ 70296 h 203739"/>
                  <a:gd name="connsiteX12" fmla="*/ 133471 w 133526"/>
                  <a:gd name="connsiteY12" fmla="*/ 203739 h 203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526" h="203739">
                    <a:moveTo>
                      <a:pt x="133526" y="203739"/>
                    </a:moveTo>
                    <a:lnTo>
                      <a:pt x="113803" y="203739"/>
                    </a:lnTo>
                    <a:lnTo>
                      <a:pt x="113803" y="190609"/>
                    </a:lnTo>
                    <a:lnTo>
                      <a:pt x="120368" y="190609"/>
                    </a:lnTo>
                    <a:lnTo>
                      <a:pt x="120368" y="70324"/>
                    </a:lnTo>
                    <a:cubicBezTo>
                      <a:pt x="120368" y="38806"/>
                      <a:pt x="94220" y="13158"/>
                      <a:pt x="62062" y="13158"/>
                    </a:cubicBezTo>
                    <a:lnTo>
                      <a:pt x="20919" y="13158"/>
                    </a:lnTo>
                    <a:cubicBezTo>
                      <a:pt x="15105" y="13158"/>
                      <a:pt x="9319" y="13993"/>
                      <a:pt x="3783" y="15662"/>
                    </a:cubicBezTo>
                    <a:lnTo>
                      <a:pt x="0" y="3060"/>
                    </a:lnTo>
                    <a:cubicBezTo>
                      <a:pt x="6760" y="1029"/>
                      <a:pt x="13798" y="0"/>
                      <a:pt x="20891" y="0"/>
                    </a:cubicBezTo>
                    <a:lnTo>
                      <a:pt x="62034" y="0"/>
                    </a:lnTo>
                    <a:cubicBezTo>
                      <a:pt x="101424" y="0"/>
                      <a:pt x="133471" y="31546"/>
                      <a:pt x="133471" y="70296"/>
                    </a:cubicBezTo>
                    <a:lnTo>
                      <a:pt x="133471" y="203739"/>
                    </a:lnTo>
                    <a:close/>
                  </a:path>
                </a:pathLst>
              </a:custGeom>
              <a:solidFill>
                <a:schemeClr val="accent1"/>
              </a:solidFill>
              <a:ln w="2775" cap="flat">
                <a:noFill/>
                <a:prstDash val="solid"/>
                <a:miter/>
              </a:ln>
            </p:spPr>
            <p:txBody>
              <a:bodyPr rtlCol="0" anchor="ctr"/>
              <a:lstStyle/>
              <a:p>
                <a:endParaRPr lang="en-GB" dirty="0"/>
              </a:p>
            </p:txBody>
          </p:sp>
          <p:sp>
            <p:nvSpPr>
              <p:cNvPr id="228" name="Freihandform: Form 719">
                <a:extLst>
                  <a:ext uri="{FF2B5EF4-FFF2-40B4-BE49-F238E27FC236}">
                    <a16:creationId xmlns:a16="http://schemas.microsoft.com/office/drawing/2014/main" id="{45062126-3873-43CB-8507-D139A1C92243}"/>
                  </a:ext>
                </a:extLst>
              </p:cNvPr>
              <p:cNvSpPr/>
              <p:nvPr/>
            </p:nvSpPr>
            <p:spPr>
              <a:xfrm>
                <a:off x="7382903" y="3532623"/>
                <a:ext cx="19723" cy="243157"/>
              </a:xfrm>
              <a:custGeom>
                <a:avLst/>
                <a:gdLst>
                  <a:gd name="connsiteX0" fmla="*/ 13130 w 19723"/>
                  <a:gd name="connsiteY0" fmla="*/ 243157 h 243157"/>
                  <a:gd name="connsiteX1" fmla="*/ 0 w 19723"/>
                  <a:gd name="connsiteY1" fmla="*/ 243157 h 243157"/>
                  <a:gd name="connsiteX2" fmla="*/ 0 w 19723"/>
                  <a:gd name="connsiteY2" fmla="*/ 0 h 243157"/>
                  <a:gd name="connsiteX3" fmla="*/ 19723 w 19723"/>
                  <a:gd name="connsiteY3" fmla="*/ 0 h 243157"/>
                  <a:gd name="connsiteX4" fmla="*/ 19723 w 19723"/>
                  <a:gd name="connsiteY4" fmla="*/ 13158 h 243157"/>
                  <a:gd name="connsiteX5" fmla="*/ 13130 w 19723"/>
                  <a:gd name="connsiteY5" fmla="*/ 13158 h 24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23" h="243157">
                    <a:moveTo>
                      <a:pt x="13130" y="243157"/>
                    </a:moveTo>
                    <a:lnTo>
                      <a:pt x="0" y="243157"/>
                    </a:lnTo>
                    <a:lnTo>
                      <a:pt x="0" y="0"/>
                    </a:lnTo>
                    <a:lnTo>
                      <a:pt x="19723" y="0"/>
                    </a:lnTo>
                    <a:lnTo>
                      <a:pt x="19723" y="13158"/>
                    </a:lnTo>
                    <a:lnTo>
                      <a:pt x="13130" y="13158"/>
                    </a:lnTo>
                    <a:close/>
                  </a:path>
                </a:pathLst>
              </a:custGeom>
              <a:solidFill>
                <a:schemeClr val="accent1"/>
              </a:solidFill>
              <a:ln w="2775" cap="flat">
                <a:noFill/>
                <a:prstDash val="solid"/>
                <a:miter/>
              </a:ln>
            </p:spPr>
            <p:txBody>
              <a:bodyPr rtlCol="0" anchor="ctr"/>
              <a:lstStyle/>
              <a:p>
                <a:endParaRPr lang="en-GB" dirty="0"/>
              </a:p>
            </p:txBody>
          </p:sp>
          <p:sp>
            <p:nvSpPr>
              <p:cNvPr id="229" name="Freihandform: Form 720">
                <a:extLst>
                  <a:ext uri="{FF2B5EF4-FFF2-40B4-BE49-F238E27FC236}">
                    <a16:creationId xmlns:a16="http://schemas.microsoft.com/office/drawing/2014/main" id="{6C48A1B9-E514-429A-A1F0-522406D1E815}"/>
                  </a:ext>
                </a:extLst>
              </p:cNvPr>
              <p:cNvSpPr/>
              <p:nvPr/>
            </p:nvSpPr>
            <p:spPr>
              <a:xfrm>
                <a:off x="7277751" y="3644340"/>
                <a:ext cx="13130" cy="131439"/>
              </a:xfrm>
              <a:custGeom>
                <a:avLst/>
                <a:gdLst>
                  <a:gd name="connsiteX0" fmla="*/ 0 w 13130"/>
                  <a:gd name="connsiteY0" fmla="*/ 0 h 131439"/>
                  <a:gd name="connsiteX1" fmla="*/ 13130 w 13130"/>
                  <a:gd name="connsiteY1" fmla="*/ 0 h 131439"/>
                  <a:gd name="connsiteX2" fmla="*/ 13130 w 13130"/>
                  <a:gd name="connsiteY2" fmla="*/ 131440 h 131439"/>
                  <a:gd name="connsiteX3" fmla="*/ 0 w 13130"/>
                  <a:gd name="connsiteY3" fmla="*/ 131440 h 131439"/>
                </a:gdLst>
                <a:ahLst/>
                <a:cxnLst>
                  <a:cxn ang="0">
                    <a:pos x="connsiteX0" y="connsiteY0"/>
                  </a:cxn>
                  <a:cxn ang="0">
                    <a:pos x="connsiteX1" y="connsiteY1"/>
                  </a:cxn>
                  <a:cxn ang="0">
                    <a:pos x="connsiteX2" y="connsiteY2"/>
                  </a:cxn>
                  <a:cxn ang="0">
                    <a:pos x="connsiteX3" y="connsiteY3"/>
                  </a:cxn>
                </a:cxnLst>
                <a:rect l="l" t="t" r="r" b="b"/>
                <a:pathLst>
                  <a:path w="13130" h="131439">
                    <a:moveTo>
                      <a:pt x="0" y="0"/>
                    </a:moveTo>
                    <a:lnTo>
                      <a:pt x="13130" y="0"/>
                    </a:lnTo>
                    <a:lnTo>
                      <a:pt x="13130" y="131440"/>
                    </a:lnTo>
                    <a:lnTo>
                      <a:pt x="0" y="131440"/>
                    </a:lnTo>
                    <a:close/>
                  </a:path>
                </a:pathLst>
              </a:custGeom>
              <a:solidFill>
                <a:schemeClr val="accent1"/>
              </a:solidFill>
              <a:ln w="2775" cap="flat">
                <a:noFill/>
                <a:prstDash val="solid"/>
                <a:miter/>
              </a:ln>
            </p:spPr>
            <p:txBody>
              <a:bodyPr rtlCol="0" anchor="ctr"/>
              <a:lstStyle/>
              <a:p>
                <a:endParaRPr lang="en-GB" dirty="0"/>
              </a:p>
            </p:txBody>
          </p:sp>
          <p:sp>
            <p:nvSpPr>
              <p:cNvPr id="230" name="Freihandform: Form 721">
                <a:extLst>
                  <a:ext uri="{FF2B5EF4-FFF2-40B4-BE49-F238E27FC236}">
                    <a16:creationId xmlns:a16="http://schemas.microsoft.com/office/drawing/2014/main" id="{1274B30E-3846-4A61-B947-000AB8CA74C0}"/>
                  </a:ext>
                </a:extLst>
              </p:cNvPr>
              <p:cNvSpPr/>
              <p:nvPr/>
            </p:nvSpPr>
            <p:spPr>
              <a:xfrm>
                <a:off x="7330327" y="3631210"/>
                <a:ext cx="13130" cy="144570"/>
              </a:xfrm>
              <a:custGeom>
                <a:avLst/>
                <a:gdLst>
                  <a:gd name="connsiteX0" fmla="*/ 0 w 13130"/>
                  <a:gd name="connsiteY0" fmla="*/ 0 h 144570"/>
                  <a:gd name="connsiteX1" fmla="*/ 13130 w 13130"/>
                  <a:gd name="connsiteY1" fmla="*/ 0 h 144570"/>
                  <a:gd name="connsiteX2" fmla="*/ 13130 w 13130"/>
                  <a:gd name="connsiteY2" fmla="*/ 144570 h 144570"/>
                  <a:gd name="connsiteX3" fmla="*/ 0 w 13130"/>
                  <a:gd name="connsiteY3" fmla="*/ 144570 h 144570"/>
                </a:gdLst>
                <a:ahLst/>
                <a:cxnLst>
                  <a:cxn ang="0">
                    <a:pos x="connsiteX0" y="connsiteY0"/>
                  </a:cxn>
                  <a:cxn ang="0">
                    <a:pos x="connsiteX1" y="connsiteY1"/>
                  </a:cxn>
                  <a:cxn ang="0">
                    <a:pos x="connsiteX2" y="connsiteY2"/>
                  </a:cxn>
                  <a:cxn ang="0">
                    <a:pos x="connsiteX3" y="connsiteY3"/>
                  </a:cxn>
                </a:cxnLst>
                <a:rect l="l" t="t" r="r" b="b"/>
                <a:pathLst>
                  <a:path w="13130" h="144570">
                    <a:moveTo>
                      <a:pt x="0" y="0"/>
                    </a:moveTo>
                    <a:lnTo>
                      <a:pt x="13130" y="0"/>
                    </a:lnTo>
                    <a:lnTo>
                      <a:pt x="13130" y="144570"/>
                    </a:lnTo>
                    <a:lnTo>
                      <a:pt x="0" y="144570"/>
                    </a:lnTo>
                    <a:close/>
                  </a:path>
                </a:pathLst>
              </a:custGeom>
              <a:solidFill>
                <a:schemeClr val="accent1"/>
              </a:solidFill>
              <a:ln w="2775" cap="flat">
                <a:noFill/>
                <a:prstDash val="solid"/>
                <a:miter/>
              </a:ln>
            </p:spPr>
            <p:txBody>
              <a:bodyPr rtlCol="0" anchor="ctr"/>
              <a:lstStyle/>
              <a:p>
                <a:endParaRPr lang="en-GB" dirty="0"/>
              </a:p>
            </p:txBody>
          </p:sp>
          <p:sp>
            <p:nvSpPr>
              <p:cNvPr id="231" name="Freihandform: Form 722">
                <a:extLst>
                  <a:ext uri="{FF2B5EF4-FFF2-40B4-BE49-F238E27FC236}">
                    <a16:creationId xmlns:a16="http://schemas.microsoft.com/office/drawing/2014/main" id="{7242EF1F-874F-4201-8C34-9A7C3C19BC08}"/>
                  </a:ext>
                </a:extLst>
              </p:cNvPr>
              <p:cNvSpPr/>
              <p:nvPr/>
            </p:nvSpPr>
            <p:spPr>
              <a:xfrm>
                <a:off x="7297474" y="3342014"/>
                <a:ext cx="78836" cy="92021"/>
              </a:xfrm>
              <a:custGeom>
                <a:avLst/>
                <a:gdLst>
                  <a:gd name="connsiteX0" fmla="*/ 39418 w 78836"/>
                  <a:gd name="connsiteY0" fmla="*/ 92022 h 92021"/>
                  <a:gd name="connsiteX1" fmla="*/ 0 w 78836"/>
                  <a:gd name="connsiteY1" fmla="*/ 46011 h 92021"/>
                  <a:gd name="connsiteX2" fmla="*/ 39418 w 78836"/>
                  <a:gd name="connsiteY2" fmla="*/ 0 h 92021"/>
                  <a:gd name="connsiteX3" fmla="*/ 78836 w 78836"/>
                  <a:gd name="connsiteY3" fmla="*/ 46011 h 92021"/>
                  <a:gd name="connsiteX4" fmla="*/ 39418 w 78836"/>
                  <a:gd name="connsiteY4" fmla="*/ 92022 h 92021"/>
                  <a:gd name="connsiteX5" fmla="*/ 39418 w 78836"/>
                  <a:gd name="connsiteY5" fmla="*/ 13186 h 92021"/>
                  <a:gd name="connsiteX6" fmla="*/ 13130 w 78836"/>
                  <a:gd name="connsiteY6" fmla="*/ 46039 h 92021"/>
                  <a:gd name="connsiteX7" fmla="*/ 39418 w 78836"/>
                  <a:gd name="connsiteY7" fmla="*/ 78892 h 92021"/>
                  <a:gd name="connsiteX8" fmla="*/ 65706 w 78836"/>
                  <a:gd name="connsiteY8" fmla="*/ 46039 h 92021"/>
                  <a:gd name="connsiteX9" fmla="*/ 39418 w 78836"/>
                  <a:gd name="connsiteY9" fmla="*/ 13186 h 9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836" h="92021">
                    <a:moveTo>
                      <a:pt x="39418" y="92022"/>
                    </a:moveTo>
                    <a:cubicBezTo>
                      <a:pt x="15828" y="92022"/>
                      <a:pt x="0" y="73523"/>
                      <a:pt x="0" y="46011"/>
                    </a:cubicBezTo>
                    <a:cubicBezTo>
                      <a:pt x="0" y="18499"/>
                      <a:pt x="15856" y="0"/>
                      <a:pt x="39418" y="0"/>
                    </a:cubicBezTo>
                    <a:cubicBezTo>
                      <a:pt x="62980" y="0"/>
                      <a:pt x="78836" y="18499"/>
                      <a:pt x="78836" y="46011"/>
                    </a:cubicBezTo>
                    <a:cubicBezTo>
                      <a:pt x="78836" y="73523"/>
                      <a:pt x="63008" y="92022"/>
                      <a:pt x="39418" y="92022"/>
                    </a:cubicBezTo>
                    <a:close/>
                    <a:moveTo>
                      <a:pt x="39418" y="13186"/>
                    </a:moveTo>
                    <a:cubicBezTo>
                      <a:pt x="20029" y="13186"/>
                      <a:pt x="13130" y="30155"/>
                      <a:pt x="13130" y="46039"/>
                    </a:cubicBezTo>
                    <a:cubicBezTo>
                      <a:pt x="13130" y="61923"/>
                      <a:pt x="20029" y="78892"/>
                      <a:pt x="39418" y="78892"/>
                    </a:cubicBezTo>
                    <a:cubicBezTo>
                      <a:pt x="58807" y="78892"/>
                      <a:pt x="65706" y="61923"/>
                      <a:pt x="65706" y="46039"/>
                    </a:cubicBezTo>
                    <a:cubicBezTo>
                      <a:pt x="65706" y="30155"/>
                      <a:pt x="58807" y="13186"/>
                      <a:pt x="39418" y="13186"/>
                    </a:cubicBezTo>
                    <a:close/>
                  </a:path>
                </a:pathLst>
              </a:custGeom>
              <a:solidFill>
                <a:schemeClr val="accent1"/>
              </a:solidFill>
              <a:ln w="2775" cap="flat">
                <a:noFill/>
                <a:prstDash val="solid"/>
                <a:miter/>
              </a:ln>
            </p:spPr>
            <p:txBody>
              <a:bodyPr rtlCol="0" anchor="ctr"/>
              <a:lstStyle/>
              <a:p>
                <a:endParaRPr lang="en-GB" dirty="0"/>
              </a:p>
            </p:txBody>
          </p:sp>
        </p:grpSp>
        <p:grpSp>
          <p:nvGrpSpPr>
            <p:cNvPr id="221" name="Group 220">
              <a:extLst>
                <a:ext uri="{FF2B5EF4-FFF2-40B4-BE49-F238E27FC236}">
                  <a16:creationId xmlns:a16="http://schemas.microsoft.com/office/drawing/2014/main" id="{B7752E4C-587A-4980-8E4B-42370F242A81}"/>
                </a:ext>
              </a:extLst>
            </p:cNvPr>
            <p:cNvGrpSpPr/>
            <p:nvPr/>
          </p:nvGrpSpPr>
          <p:grpSpPr>
            <a:xfrm>
              <a:off x="1620529" y="3238478"/>
              <a:ext cx="136093" cy="390594"/>
              <a:chOff x="6942572" y="3342014"/>
              <a:chExt cx="151135" cy="433766"/>
            </a:xfrm>
            <a:solidFill>
              <a:schemeClr val="accent1"/>
            </a:solidFill>
          </p:grpSpPr>
          <p:sp>
            <p:nvSpPr>
              <p:cNvPr id="222" name="Freihandform: Form 723">
                <a:extLst>
                  <a:ext uri="{FF2B5EF4-FFF2-40B4-BE49-F238E27FC236}">
                    <a16:creationId xmlns:a16="http://schemas.microsoft.com/office/drawing/2014/main" id="{F68B9B3C-198E-45E5-89C2-4C05C52D9B88}"/>
                  </a:ext>
                </a:extLst>
              </p:cNvPr>
              <p:cNvSpPr/>
              <p:nvPr/>
            </p:nvSpPr>
            <p:spPr>
              <a:xfrm>
                <a:off x="6942572" y="3447222"/>
                <a:ext cx="133470" cy="203711"/>
              </a:xfrm>
              <a:custGeom>
                <a:avLst/>
                <a:gdLst>
                  <a:gd name="connsiteX0" fmla="*/ 19723 w 133470"/>
                  <a:gd name="connsiteY0" fmla="*/ 203711 h 203711"/>
                  <a:gd name="connsiteX1" fmla="*/ 0 w 133470"/>
                  <a:gd name="connsiteY1" fmla="*/ 203711 h 203711"/>
                  <a:gd name="connsiteX2" fmla="*/ 0 w 133470"/>
                  <a:gd name="connsiteY2" fmla="*/ 70296 h 203711"/>
                  <a:gd name="connsiteX3" fmla="*/ 71437 w 133470"/>
                  <a:gd name="connsiteY3" fmla="*/ 0 h 203711"/>
                  <a:gd name="connsiteX4" fmla="*/ 112579 w 133470"/>
                  <a:gd name="connsiteY4" fmla="*/ 0 h 203711"/>
                  <a:gd name="connsiteX5" fmla="*/ 133471 w 133470"/>
                  <a:gd name="connsiteY5" fmla="*/ 3060 h 203711"/>
                  <a:gd name="connsiteX6" fmla="*/ 129687 w 133470"/>
                  <a:gd name="connsiteY6" fmla="*/ 15662 h 203711"/>
                  <a:gd name="connsiteX7" fmla="*/ 112551 w 133470"/>
                  <a:gd name="connsiteY7" fmla="*/ 13158 h 203711"/>
                  <a:gd name="connsiteX8" fmla="*/ 71409 w 133470"/>
                  <a:gd name="connsiteY8" fmla="*/ 13158 h 203711"/>
                  <a:gd name="connsiteX9" fmla="*/ 13102 w 133470"/>
                  <a:gd name="connsiteY9" fmla="*/ 70324 h 203711"/>
                  <a:gd name="connsiteX10" fmla="*/ 13102 w 133470"/>
                  <a:gd name="connsiteY10" fmla="*/ 190609 h 203711"/>
                  <a:gd name="connsiteX11" fmla="*/ 19667 w 133470"/>
                  <a:gd name="connsiteY11" fmla="*/ 190609 h 203711"/>
                  <a:gd name="connsiteX12" fmla="*/ 19667 w 133470"/>
                  <a:gd name="connsiteY12" fmla="*/ 203711 h 2037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3470" h="203711">
                    <a:moveTo>
                      <a:pt x="19723" y="203711"/>
                    </a:moveTo>
                    <a:lnTo>
                      <a:pt x="0" y="203711"/>
                    </a:lnTo>
                    <a:lnTo>
                      <a:pt x="0" y="70296"/>
                    </a:lnTo>
                    <a:cubicBezTo>
                      <a:pt x="0" y="31518"/>
                      <a:pt x="32046" y="0"/>
                      <a:pt x="71437" y="0"/>
                    </a:cubicBezTo>
                    <a:lnTo>
                      <a:pt x="112579" y="0"/>
                    </a:lnTo>
                    <a:cubicBezTo>
                      <a:pt x="119701" y="0"/>
                      <a:pt x="126711" y="1029"/>
                      <a:pt x="133471" y="3060"/>
                    </a:cubicBezTo>
                    <a:lnTo>
                      <a:pt x="129687" y="15662"/>
                    </a:lnTo>
                    <a:cubicBezTo>
                      <a:pt x="124152" y="13993"/>
                      <a:pt x="118393" y="13158"/>
                      <a:pt x="112551" y="13158"/>
                    </a:cubicBezTo>
                    <a:lnTo>
                      <a:pt x="71409" y="13158"/>
                    </a:lnTo>
                    <a:cubicBezTo>
                      <a:pt x="39279" y="13158"/>
                      <a:pt x="13102" y="38806"/>
                      <a:pt x="13102" y="70324"/>
                    </a:cubicBezTo>
                    <a:lnTo>
                      <a:pt x="13102" y="190609"/>
                    </a:lnTo>
                    <a:lnTo>
                      <a:pt x="19667" y="190609"/>
                    </a:lnTo>
                    <a:lnTo>
                      <a:pt x="19667" y="203711"/>
                    </a:lnTo>
                    <a:close/>
                  </a:path>
                </a:pathLst>
              </a:custGeom>
              <a:solidFill>
                <a:schemeClr val="accent1"/>
              </a:solidFill>
              <a:ln w="2775" cap="flat">
                <a:noFill/>
                <a:prstDash val="solid"/>
                <a:miter/>
              </a:ln>
            </p:spPr>
            <p:txBody>
              <a:bodyPr rtlCol="0" anchor="ctr"/>
              <a:lstStyle/>
              <a:p>
                <a:endParaRPr lang="en-GB" dirty="0"/>
              </a:p>
            </p:txBody>
          </p:sp>
          <p:sp>
            <p:nvSpPr>
              <p:cNvPr id="223" name="Freihandform: Form 724">
                <a:extLst>
                  <a:ext uri="{FF2B5EF4-FFF2-40B4-BE49-F238E27FC236}">
                    <a16:creationId xmlns:a16="http://schemas.microsoft.com/office/drawing/2014/main" id="{B07717D0-C891-4AC4-8C9E-31F35F395A1E}"/>
                  </a:ext>
                </a:extLst>
              </p:cNvPr>
              <p:cNvSpPr/>
              <p:nvPr/>
            </p:nvSpPr>
            <p:spPr>
              <a:xfrm>
                <a:off x="6968860" y="3532623"/>
                <a:ext cx="19722" cy="243157"/>
              </a:xfrm>
              <a:custGeom>
                <a:avLst/>
                <a:gdLst>
                  <a:gd name="connsiteX0" fmla="*/ 19723 w 19722"/>
                  <a:gd name="connsiteY0" fmla="*/ 243157 h 243157"/>
                  <a:gd name="connsiteX1" fmla="*/ 6565 w 19722"/>
                  <a:gd name="connsiteY1" fmla="*/ 243157 h 243157"/>
                  <a:gd name="connsiteX2" fmla="*/ 6565 w 19722"/>
                  <a:gd name="connsiteY2" fmla="*/ 13158 h 243157"/>
                  <a:gd name="connsiteX3" fmla="*/ 0 w 19722"/>
                  <a:gd name="connsiteY3" fmla="*/ 13158 h 243157"/>
                  <a:gd name="connsiteX4" fmla="*/ 0 w 19722"/>
                  <a:gd name="connsiteY4" fmla="*/ 0 h 243157"/>
                  <a:gd name="connsiteX5" fmla="*/ 19723 w 19722"/>
                  <a:gd name="connsiteY5" fmla="*/ 0 h 243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22" h="243157">
                    <a:moveTo>
                      <a:pt x="19723" y="243157"/>
                    </a:moveTo>
                    <a:lnTo>
                      <a:pt x="6565" y="243157"/>
                    </a:lnTo>
                    <a:lnTo>
                      <a:pt x="6565" y="13158"/>
                    </a:lnTo>
                    <a:lnTo>
                      <a:pt x="0" y="13158"/>
                    </a:lnTo>
                    <a:lnTo>
                      <a:pt x="0" y="0"/>
                    </a:lnTo>
                    <a:lnTo>
                      <a:pt x="19723" y="0"/>
                    </a:lnTo>
                    <a:close/>
                  </a:path>
                </a:pathLst>
              </a:custGeom>
              <a:solidFill>
                <a:schemeClr val="accent1"/>
              </a:solidFill>
              <a:ln w="2775" cap="flat">
                <a:noFill/>
                <a:prstDash val="solid"/>
                <a:miter/>
              </a:ln>
            </p:spPr>
            <p:txBody>
              <a:bodyPr rtlCol="0" anchor="ctr"/>
              <a:lstStyle/>
              <a:p>
                <a:endParaRPr lang="en-GB" dirty="0"/>
              </a:p>
            </p:txBody>
          </p:sp>
          <p:sp>
            <p:nvSpPr>
              <p:cNvPr id="224" name="Freihandform: Form 725">
                <a:extLst>
                  <a:ext uri="{FF2B5EF4-FFF2-40B4-BE49-F238E27FC236}">
                    <a16:creationId xmlns:a16="http://schemas.microsoft.com/office/drawing/2014/main" id="{B959C728-899D-452B-A779-1106387C0913}"/>
                  </a:ext>
                </a:extLst>
              </p:cNvPr>
              <p:cNvSpPr/>
              <p:nvPr/>
            </p:nvSpPr>
            <p:spPr>
              <a:xfrm>
                <a:off x="7080577" y="3644340"/>
                <a:ext cx="13130" cy="131439"/>
              </a:xfrm>
              <a:custGeom>
                <a:avLst/>
                <a:gdLst>
                  <a:gd name="connsiteX0" fmla="*/ 0 w 13130"/>
                  <a:gd name="connsiteY0" fmla="*/ 0 h 131439"/>
                  <a:gd name="connsiteX1" fmla="*/ 13130 w 13130"/>
                  <a:gd name="connsiteY1" fmla="*/ 0 h 131439"/>
                  <a:gd name="connsiteX2" fmla="*/ 13130 w 13130"/>
                  <a:gd name="connsiteY2" fmla="*/ 131440 h 131439"/>
                  <a:gd name="connsiteX3" fmla="*/ 0 w 13130"/>
                  <a:gd name="connsiteY3" fmla="*/ 131440 h 131439"/>
                </a:gdLst>
                <a:ahLst/>
                <a:cxnLst>
                  <a:cxn ang="0">
                    <a:pos x="connsiteX0" y="connsiteY0"/>
                  </a:cxn>
                  <a:cxn ang="0">
                    <a:pos x="connsiteX1" y="connsiteY1"/>
                  </a:cxn>
                  <a:cxn ang="0">
                    <a:pos x="connsiteX2" y="connsiteY2"/>
                  </a:cxn>
                  <a:cxn ang="0">
                    <a:pos x="connsiteX3" y="connsiteY3"/>
                  </a:cxn>
                </a:cxnLst>
                <a:rect l="l" t="t" r="r" b="b"/>
                <a:pathLst>
                  <a:path w="13130" h="131439">
                    <a:moveTo>
                      <a:pt x="0" y="0"/>
                    </a:moveTo>
                    <a:lnTo>
                      <a:pt x="13130" y="0"/>
                    </a:lnTo>
                    <a:lnTo>
                      <a:pt x="13130" y="131440"/>
                    </a:lnTo>
                    <a:lnTo>
                      <a:pt x="0" y="131440"/>
                    </a:lnTo>
                    <a:close/>
                  </a:path>
                </a:pathLst>
              </a:custGeom>
              <a:solidFill>
                <a:schemeClr val="accent1"/>
              </a:solidFill>
              <a:ln w="2775" cap="flat">
                <a:noFill/>
                <a:prstDash val="solid"/>
                <a:miter/>
              </a:ln>
            </p:spPr>
            <p:txBody>
              <a:bodyPr rtlCol="0" anchor="ctr"/>
              <a:lstStyle/>
              <a:p>
                <a:endParaRPr lang="en-GB" dirty="0"/>
              </a:p>
            </p:txBody>
          </p:sp>
          <p:sp>
            <p:nvSpPr>
              <p:cNvPr id="225" name="Freihandform: Form 726">
                <a:extLst>
                  <a:ext uri="{FF2B5EF4-FFF2-40B4-BE49-F238E27FC236}">
                    <a16:creationId xmlns:a16="http://schemas.microsoft.com/office/drawing/2014/main" id="{EDE3C13D-904F-4E6E-A717-1F53375DE084}"/>
                  </a:ext>
                </a:extLst>
              </p:cNvPr>
              <p:cNvSpPr/>
              <p:nvPr/>
            </p:nvSpPr>
            <p:spPr>
              <a:xfrm>
                <a:off x="7028001" y="3631210"/>
                <a:ext cx="13130" cy="144570"/>
              </a:xfrm>
              <a:custGeom>
                <a:avLst/>
                <a:gdLst>
                  <a:gd name="connsiteX0" fmla="*/ 0 w 13130"/>
                  <a:gd name="connsiteY0" fmla="*/ 0 h 144570"/>
                  <a:gd name="connsiteX1" fmla="*/ 13130 w 13130"/>
                  <a:gd name="connsiteY1" fmla="*/ 0 h 144570"/>
                  <a:gd name="connsiteX2" fmla="*/ 13130 w 13130"/>
                  <a:gd name="connsiteY2" fmla="*/ 144570 h 144570"/>
                  <a:gd name="connsiteX3" fmla="*/ 0 w 13130"/>
                  <a:gd name="connsiteY3" fmla="*/ 144570 h 144570"/>
                </a:gdLst>
                <a:ahLst/>
                <a:cxnLst>
                  <a:cxn ang="0">
                    <a:pos x="connsiteX0" y="connsiteY0"/>
                  </a:cxn>
                  <a:cxn ang="0">
                    <a:pos x="connsiteX1" y="connsiteY1"/>
                  </a:cxn>
                  <a:cxn ang="0">
                    <a:pos x="connsiteX2" y="connsiteY2"/>
                  </a:cxn>
                  <a:cxn ang="0">
                    <a:pos x="connsiteX3" y="connsiteY3"/>
                  </a:cxn>
                </a:cxnLst>
                <a:rect l="l" t="t" r="r" b="b"/>
                <a:pathLst>
                  <a:path w="13130" h="144570">
                    <a:moveTo>
                      <a:pt x="0" y="0"/>
                    </a:moveTo>
                    <a:lnTo>
                      <a:pt x="13130" y="0"/>
                    </a:lnTo>
                    <a:lnTo>
                      <a:pt x="13130" y="144570"/>
                    </a:lnTo>
                    <a:lnTo>
                      <a:pt x="0" y="144570"/>
                    </a:lnTo>
                    <a:close/>
                  </a:path>
                </a:pathLst>
              </a:custGeom>
              <a:solidFill>
                <a:schemeClr val="accent1"/>
              </a:solidFill>
              <a:ln w="2775" cap="flat">
                <a:noFill/>
                <a:prstDash val="solid"/>
                <a:miter/>
              </a:ln>
            </p:spPr>
            <p:txBody>
              <a:bodyPr rtlCol="0" anchor="ctr"/>
              <a:lstStyle/>
              <a:p>
                <a:endParaRPr lang="en-GB" dirty="0"/>
              </a:p>
            </p:txBody>
          </p:sp>
          <p:sp>
            <p:nvSpPr>
              <p:cNvPr id="226" name="Freihandform: Form 727">
                <a:extLst>
                  <a:ext uri="{FF2B5EF4-FFF2-40B4-BE49-F238E27FC236}">
                    <a16:creationId xmlns:a16="http://schemas.microsoft.com/office/drawing/2014/main" id="{D268AF23-D488-477D-B182-C43F077C4C71}"/>
                  </a:ext>
                </a:extLst>
              </p:cNvPr>
              <p:cNvSpPr/>
              <p:nvPr/>
            </p:nvSpPr>
            <p:spPr>
              <a:xfrm>
                <a:off x="6995176" y="3342014"/>
                <a:ext cx="78836" cy="92021"/>
              </a:xfrm>
              <a:custGeom>
                <a:avLst/>
                <a:gdLst>
                  <a:gd name="connsiteX0" fmla="*/ 39418 w 78836"/>
                  <a:gd name="connsiteY0" fmla="*/ 92022 h 92021"/>
                  <a:gd name="connsiteX1" fmla="*/ 0 w 78836"/>
                  <a:gd name="connsiteY1" fmla="*/ 46011 h 92021"/>
                  <a:gd name="connsiteX2" fmla="*/ 39418 w 78836"/>
                  <a:gd name="connsiteY2" fmla="*/ 0 h 92021"/>
                  <a:gd name="connsiteX3" fmla="*/ 78836 w 78836"/>
                  <a:gd name="connsiteY3" fmla="*/ 46011 h 92021"/>
                  <a:gd name="connsiteX4" fmla="*/ 39418 w 78836"/>
                  <a:gd name="connsiteY4" fmla="*/ 92022 h 92021"/>
                  <a:gd name="connsiteX5" fmla="*/ 39418 w 78836"/>
                  <a:gd name="connsiteY5" fmla="*/ 13186 h 92021"/>
                  <a:gd name="connsiteX6" fmla="*/ 13130 w 78836"/>
                  <a:gd name="connsiteY6" fmla="*/ 46039 h 92021"/>
                  <a:gd name="connsiteX7" fmla="*/ 39418 w 78836"/>
                  <a:gd name="connsiteY7" fmla="*/ 78892 h 92021"/>
                  <a:gd name="connsiteX8" fmla="*/ 65706 w 78836"/>
                  <a:gd name="connsiteY8" fmla="*/ 46039 h 92021"/>
                  <a:gd name="connsiteX9" fmla="*/ 39418 w 78836"/>
                  <a:gd name="connsiteY9" fmla="*/ 13186 h 92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836" h="92021">
                    <a:moveTo>
                      <a:pt x="39418" y="92022"/>
                    </a:moveTo>
                    <a:cubicBezTo>
                      <a:pt x="15828" y="92022"/>
                      <a:pt x="0" y="73523"/>
                      <a:pt x="0" y="46011"/>
                    </a:cubicBezTo>
                    <a:cubicBezTo>
                      <a:pt x="0" y="18499"/>
                      <a:pt x="15856" y="0"/>
                      <a:pt x="39418" y="0"/>
                    </a:cubicBezTo>
                    <a:cubicBezTo>
                      <a:pt x="63008" y="0"/>
                      <a:pt x="78836" y="18499"/>
                      <a:pt x="78836" y="46011"/>
                    </a:cubicBezTo>
                    <a:cubicBezTo>
                      <a:pt x="78836" y="73523"/>
                      <a:pt x="62980" y="92022"/>
                      <a:pt x="39418" y="92022"/>
                    </a:cubicBezTo>
                    <a:close/>
                    <a:moveTo>
                      <a:pt x="39418" y="13186"/>
                    </a:moveTo>
                    <a:cubicBezTo>
                      <a:pt x="20029" y="13186"/>
                      <a:pt x="13130" y="30155"/>
                      <a:pt x="13130" y="46039"/>
                    </a:cubicBezTo>
                    <a:cubicBezTo>
                      <a:pt x="13130" y="61923"/>
                      <a:pt x="20029" y="78892"/>
                      <a:pt x="39418" y="78892"/>
                    </a:cubicBezTo>
                    <a:cubicBezTo>
                      <a:pt x="58807" y="78892"/>
                      <a:pt x="65706" y="61923"/>
                      <a:pt x="65706" y="46039"/>
                    </a:cubicBezTo>
                    <a:cubicBezTo>
                      <a:pt x="65706" y="30155"/>
                      <a:pt x="58779" y="13186"/>
                      <a:pt x="39418" y="13186"/>
                    </a:cubicBezTo>
                    <a:close/>
                  </a:path>
                </a:pathLst>
              </a:custGeom>
              <a:solidFill>
                <a:schemeClr val="accent1"/>
              </a:solidFill>
              <a:ln w="2775" cap="flat">
                <a:noFill/>
                <a:prstDash val="solid"/>
                <a:miter/>
              </a:ln>
            </p:spPr>
            <p:txBody>
              <a:bodyPr rtlCol="0" anchor="ctr"/>
              <a:lstStyle/>
              <a:p>
                <a:endParaRPr lang="en-GB" dirty="0"/>
              </a:p>
            </p:txBody>
          </p:sp>
        </p:grpSp>
      </p:grpSp>
      <p:grpSp>
        <p:nvGrpSpPr>
          <p:cNvPr id="241" name="Group 240">
            <a:extLst>
              <a:ext uri="{FF2B5EF4-FFF2-40B4-BE49-F238E27FC236}">
                <a16:creationId xmlns:a16="http://schemas.microsoft.com/office/drawing/2014/main" id="{6A03150A-3916-4123-A90A-1AC1BABC45CB}"/>
              </a:ext>
            </a:extLst>
          </p:cNvPr>
          <p:cNvGrpSpPr>
            <a:grpSpLocks noChangeAspect="1"/>
          </p:cNvGrpSpPr>
          <p:nvPr/>
        </p:nvGrpSpPr>
        <p:grpSpPr>
          <a:xfrm>
            <a:off x="2693028" y="3197066"/>
            <a:ext cx="383781" cy="432000"/>
            <a:chOff x="6134237" y="4136299"/>
            <a:chExt cx="433737" cy="488233"/>
          </a:xfrm>
        </p:grpSpPr>
        <p:sp>
          <p:nvSpPr>
            <p:cNvPr id="242" name="Freihandform: Form 685">
              <a:extLst>
                <a:ext uri="{FF2B5EF4-FFF2-40B4-BE49-F238E27FC236}">
                  <a16:creationId xmlns:a16="http://schemas.microsoft.com/office/drawing/2014/main" id="{2B6AC9E6-62F3-4950-AA7D-B2626E139457}"/>
                </a:ext>
              </a:extLst>
            </p:cNvPr>
            <p:cNvSpPr/>
            <p:nvPr/>
          </p:nvSpPr>
          <p:spPr>
            <a:xfrm>
              <a:off x="6134237" y="4136299"/>
              <a:ext cx="433737" cy="488233"/>
            </a:xfrm>
            <a:custGeom>
              <a:avLst/>
              <a:gdLst>
                <a:gd name="connsiteX0" fmla="*/ 216869 w 433737"/>
                <a:gd name="connsiteY0" fmla="*/ 488234 h 488233"/>
                <a:gd name="connsiteX1" fmla="*/ 0 w 433737"/>
                <a:gd name="connsiteY1" fmla="*/ 366252 h 488233"/>
                <a:gd name="connsiteX2" fmla="*/ 0 w 433737"/>
                <a:gd name="connsiteY2" fmla="*/ 121982 h 488233"/>
                <a:gd name="connsiteX3" fmla="*/ 216869 w 433737"/>
                <a:gd name="connsiteY3" fmla="*/ 0 h 488233"/>
                <a:gd name="connsiteX4" fmla="*/ 433738 w 433737"/>
                <a:gd name="connsiteY4" fmla="*/ 121982 h 488233"/>
                <a:gd name="connsiteX5" fmla="*/ 433738 w 433737"/>
                <a:gd name="connsiteY5" fmla="*/ 366252 h 488233"/>
                <a:gd name="connsiteX6" fmla="*/ 216869 w 433737"/>
                <a:gd name="connsiteY6" fmla="*/ 488234 h 488233"/>
                <a:gd name="connsiteX7" fmla="*/ 13130 w 433737"/>
                <a:gd name="connsiteY7" fmla="*/ 358574 h 488233"/>
                <a:gd name="connsiteX8" fmla="*/ 216869 w 433737"/>
                <a:gd name="connsiteY8" fmla="*/ 473184 h 488233"/>
                <a:gd name="connsiteX9" fmla="*/ 420608 w 433737"/>
                <a:gd name="connsiteY9" fmla="*/ 358574 h 488233"/>
                <a:gd name="connsiteX10" fmla="*/ 420608 w 433737"/>
                <a:gd name="connsiteY10" fmla="*/ 129660 h 488233"/>
                <a:gd name="connsiteX11" fmla="*/ 216869 w 433737"/>
                <a:gd name="connsiteY11" fmla="*/ 15049 h 488233"/>
                <a:gd name="connsiteX12" fmla="*/ 13130 w 433737"/>
                <a:gd name="connsiteY12" fmla="*/ 129660 h 488233"/>
                <a:gd name="connsiteX13" fmla="*/ 13130 w 433737"/>
                <a:gd name="connsiteY13" fmla="*/ 358574 h 488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3737" h="488233">
                  <a:moveTo>
                    <a:pt x="216869" y="488234"/>
                  </a:moveTo>
                  <a:lnTo>
                    <a:pt x="0" y="366252"/>
                  </a:lnTo>
                  <a:lnTo>
                    <a:pt x="0" y="121982"/>
                  </a:lnTo>
                  <a:lnTo>
                    <a:pt x="216869" y="0"/>
                  </a:lnTo>
                  <a:lnTo>
                    <a:pt x="433738" y="121982"/>
                  </a:lnTo>
                  <a:lnTo>
                    <a:pt x="433738" y="366252"/>
                  </a:lnTo>
                  <a:lnTo>
                    <a:pt x="216869" y="488234"/>
                  </a:lnTo>
                  <a:close/>
                  <a:moveTo>
                    <a:pt x="13130" y="358574"/>
                  </a:moveTo>
                  <a:lnTo>
                    <a:pt x="216869" y="473184"/>
                  </a:lnTo>
                  <a:lnTo>
                    <a:pt x="420608" y="358574"/>
                  </a:lnTo>
                  <a:lnTo>
                    <a:pt x="420608" y="129660"/>
                  </a:lnTo>
                  <a:lnTo>
                    <a:pt x="216869" y="15049"/>
                  </a:lnTo>
                  <a:lnTo>
                    <a:pt x="13130" y="129660"/>
                  </a:lnTo>
                  <a:lnTo>
                    <a:pt x="13130" y="358574"/>
                  </a:lnTo>
                  <a:close/>
                </a:path>
              </a:pathLst>
            </a:custGeom>
            <a:solidFill>
              <a:schemeClr val="tx2"/>
            </a:solidFill>
            <a:ln w="2775" cap="flat">
              <a:noFill/>
              <a:prstDash val="solid"/>
              <a:miter/>
            </a:ln>
          </p:spPr>
          <p:txBody>
            <a:bodyPr rtlCol="0" anchor="ctr"/>
            <a:lstStyle/>
            <a:p>
              <a:endParaRPr lang="en-GB" dirty="0"/>
            </a:p>
          </p:txBody>
        </p:sp>
        <p:grpSp>
          <p:nvGrpSpPr>
            <p:cNvPr id="243" name="Group 242">
              <a:extLst>
                <a:ext uri="{FF2B5EF4-FFF2-40B4-BE49-F238E27FC236}">
                  <a16:creationId xmlns:a16="http://schemas.microsoft.com/office/drawing/2014/main" id="{57BA1061-4CA0-44D4-AC12-EB4BE20C8F9C}"/>
                </a:ext>
              </a:extLst>
            </p:cNvPr>
            <p:cNvGrpSpPr/>
            <p:nvPr/>
          </p:nvGrpSpPr>
          <p:grpSpPr>
            <a:xfrm>
              <a:off x="6206564" y="4222676"/>
              <a:ext cx="289167" cy="315456"/>
              <a:chOff x="6206564" y="4222676"/>
              <a:chExt cx="289167" cy="315456"/>
            </a:xfrm>
          </p:grpSpPr>
          <p:grpSp>
            <p:nvGrpSpPr>
              <p:cNvPr id="244" name="Grafik 162">
                <a:extLst>
                  <a:ext uri="{FF2B5EF4-FFF2-40B4-BE49-F238E27FC236}">
                    <a16:creationId xmlns:a16="http://schemas.microsoft.com/office/drawing/2014/main" id="{38E29E91-5959-48CF-925B-EB502FB30BD5}"/>
                  </a:ext>
                </a:extLst>
              </p:cNvPr>
              <p:cNvGrpSpPr/>
              <p:nvPr/>
            </p:nvGrpSpPr>
            <p:grpSpPr>
              <a:xfrm>
                <a:off x="6206564" y="4222676"/>
                <a:ext cx="289167" cy="289167"/>
                <a:chOff x="6206564" y="4222676"/>
                <a:chExt cx="289167" cy="289167"/>
              </a:xfrm>
              <a:solidFill>
                <a:schemeClr val="accent1"/>
              </a:solidFill>
            </p:grpSpPr>
            <p:sp>
              <p:nvSpPr>
                <p:cNvPr id="249" name="Freihandform: Form 683">
                  <a:extLst>
                    <a:ext uri="{FF2B5EF4-FFF2-40B4-BE49-F238E27FC236}">
                      <a16:creationId xmlns:a16="http://schemas.microsoft.com/office/drawing/2014/main" id="{1A3ACB26-A3EE-4074-98A8-0296EF64B657}"/>
                    </a:ext>
                  </a:extLst>
                </p:cNvPr>
                <p:cNvSpPr/>
                <p:nvPr/>
              </p:nvSpPr>
              <p:spPr>
                <a:xfrm>
                  <a:off x="6206564" y="4393534"/>
                  <a:ext cx="289167" cy="118309"/>
                </a:xfrm>
                <a:custGeom>
                  <a:avLst/>
                  <a:gdLst>
                    <a:gd name="connsiteX0" fmla="*/ 289112 w 289167"/>
                    <a:gd name="connsiteY0" fmla="*/ 118310 h 118309"/>
                    <a:gd name="connsiteX1" fmla="*/ 275982 w 289167"/>
                    <a:gd name="connsiteY1" fmla="*/ 118310 h 118309"/>
                    <a:gd name="connsiteX2" fmla="*/ 275982 w 289167"/>
                    <a:gd name="connsiteY2" fmla="*/ 100840 h 118309"/>
                    <a:gd name="connsiteX3" fmla="*/ 186686 w 289167"/>
                    <a:gd name="connsiteY3" fmla="*/ 13158 h 118309"/>
                    <a:gd name="connsiteX4" fmla="*/ 102426 w 289167"/>
                    <a:gd name="connsiteY4" fmla="*/ 13158 h 118309"/>
                    <a:gd name="connsiteX5" fmla="*/ 13130 w 289167"/>
                    <a:gd name="connsiteY5" fmla="*/ 100840 h 118309"/>
                    <a:gd name="connsiteX6" fmla="*/ 13130 w 289167"/>
                    <a:gd name="connsiteY6" fmla="*/ 118310 h 118309"/>
                    <a:gd name="connsiteX7" fmla="*/ 0 w 289167"/>
                    <a:gd name="connsiteY7" fmla="*/ 118310 h 118309"/>
                    <a:gd name="connsiteX8" fmla="*/ 0 w 289167"/>
                    <a:gd name="connsiteY8" fmla="*/ 100840 h 118309"/>
                    <a:gd name="connsiteX9" fmla="*/ 102454 w 289167"/>
                    <a:gd name="connsiteY9" fmla="*/ 0 h 118309"/>
                    <a:gd name="connsiteX10" fmla="*/ 186714 w 289167"/>
                    <a:gd name="connsiteY10" fmla="*/ 0 h 118309"/>
                    <a:gd name="connsiteX11" fmla="*/ 289168 w 289167"/>
                    <a:gd name="connsiteY11" fmla="*/ 100840 h 118309"/>
                    <a:gd name="connsiteX12" fmla="*/ 289168 w 289167"/>
                    <a:gd name="connsiteY12" fmla="*/ 118310 h 118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9167" h="118309">
                      <a:moveTo>
                        <a:pt x="289112" y="118310"/>
                      </a:moveTo>
                      <a:lnTo>
                        <a:pt x="275982" y="118310"/>
                      </a:lnTo>
                      <a:lnTo>
                        <a:pt x="275982" y="100840"/>
                      </a:lnTo>
                      <a:cubicBezTo>
                        <a:pt x="275982" y="52493"/>
                        <a:pt x="235924" y="13158"/>
                        <a:pt x="186686" y="13158"/>
                      </a:cubicBezTo>
                      <a:lnTo>
                        <a:pt x="102426" y="13158"/>
                      </a:lnTo>
                      <a:cubicBezTo>
                        <a:pt x="53188" y="13158"/>
                        <a:pt x="13130" y="52493"/>
                        <a:pt x="13130" y="100840"/>
                      </a:cubicBezTo>
                      <a:lnTo>
                        <a:pt x="13130" y="118310"/>
                      </a:lnTo>
                      <a:lnTo>
                        <a:pt x="0" y="118310"/>
                      </a:lnTo>
                      <a:lnTo>
                        <a:pt x="0" y="100840"/>
                      </a:lnTo>
                      <a:cubicBezTo>
                        <a:pt x="0" y="45232"/>
                        <a:pt x="45955" y="0"/>
                        <a:pt x="102454" y="0"/>
                      </a:cubicBezTo>
                      <a:lnTo>
                        <a:pt x="186714" y="0"/>
                      </a:lnTo>
                      <a:cubicBezTo>
                        <a:pt x="243213" y="0"/>
                        <a:pt x="289168" y="45232"/>
                        <a:pt x="289168" y="100840"/>
                      </a:cubicBezTo>
                      <a:lnTo>
                        <a:pt x="289168" y="118310"/>
                      </a:lnTo>
                      <a:close/>
                    </a:path>
                  </a:pathLst>
                </a:custGeom>
                <a:solidFill>
                  <a:schemeClr val="accent1"/>
                </a:solidFill>
                <a:ln w="2775" cap="flat">
                  <a:noFill/>
                  <a:prstDash val="solid"/>
                  <a:miter/>
                </a:ln>
              </p:spPr>
              <p:txBody>
                <a:bodyPr rtlCol="0" anchor="ctr"/>
                <a:lstStyle/>
                <a:p>
                  <a:endParaRPr lang="en-GB" dirty="0"/>
                </a:p>
              </p:txBody>
            </p:sp>
            <p:sp>
              <p:nvSpPr>
                <p:cNvPr id="250" name="Freihandform: Form 684">
                  <a:extLst>
                    <a:ext uri="{FF2B5EF4-FFF2-40B4-BE49-F238E27FC236}">
                      <a16:creationId xmlns:a16="http://schemas.microsoft.com/office/drawing/2014/main" id="{BC32D5F0-5937-45AA-9130-631F03230536}"/>
                    </a:ext>
                  </a:extLst>
                </p:cNvPr>
                <p:cNvSpPr/>
                <p:nvPr/>
              </p:nvSpPr>
              <p:spPr>
                <a:xfrm>
                  <a:off x="6278808" y="4222676"/>
                  <a:ext cx="144597" cy="157728"/>
                </a:xfrm>
                <a:custGeom>
                  <a:avLst/>
                  <a:gdLst>
                    <a:gd name="connsiteX0" fmla="*/ 72299 w 144597"/>
                    <a:gd name="connsiteY0" fmla="*/ 157728 h 157728"/>
                    <a:gd name="connsiteX1" fmla="*/ 0 w 144597"/>
                    <a:gd name="connsiteY1" fmla="*/ 78864 h 157728"/>
                    <a:gd name="connsiteX2" fmla="*/ 72299 w 144597"/>
                    <a:gd name="connsiteY2" fmla="*/ 0 h 157728"/>
                    <a:gd name="connsiteX3" fmla="*/ 144598 w 144597"/>
                    <a:gd name="connsiteY3" fmla="*/ 78864 h 157728"/>
                    <a:gd name="connsiteX4" fmla="*/ 72299 w 144597"/>
                    <a:gd name="connsiteY4" fmla="*/ 157728 h 157728"/>
                    <a:gd name="connsiteX5" fmla="*/ 72299 w 144597"/>
                    <a:gd name="connsiteY5" fmla="*/ 13158 h 157728"/>
                    <a:gd name="connsiteX6" fmla="*/ 13158 w 144597"/>
                    <a:gd name="connsiteY6" fmla="*/ 78864 h 157728"/>
                    <a:gd name="connsiteX7" fmla="*/ 72299 w 144597"/>
                    <a:gd name="connsiteY7" fmla="*/ 144570 h 157728"/>
                    <a:gd name="connsiteX8" fmla="*/ 131440 w 144597"/>
                    <a:gd name="connsiteY8" fmla="*/ 78864 h 157728"/>
                    <a:gd name="connsiteX9" fmla="*/ 72299 w 144597"/>
                    <a:gd name="connsiteY9" fmla="*/ 13158 h 157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4597" h="157728">
                      <a:moveTo>
                        <a:pt x="72299" y="157728"/>
                      </a:moveTo>
                      <a:cubicBezTo>
                        <a:pt x="30405" y="157728"/>
                        <a:pt x="0" y="124569"/>
                        <a:pt x="0" y="78864"/>
                      </a:cubicBezTo>
                      <a:cubicBezTo>
                        <a:pt x="0" y="33159"/>
                        <a:pt x="30405" y="0"/>
                        <a:pt x="72299" y="0"/>
                      </a:cubicBezTo>
                      <a:cubicBezTo>
                        <a:pt x="114193" y="0"/>
                        <a:pt x="144598" y="33159"/>
                        <a:pt x="144598" y="78864"/>
                      </a:cubicBezTo>
                      <a:cubicBezTo>
                        <a:pt x="144598" y="124569"/>
                        <a:pt x="114193" y="157728"/>
                        <a:pt x="72299" y="157728"/>
                      </a:cubicBezTo>
                      <a:close/>
                      <a:moveTo>
                        <a:pt x="72299" y="13158"/>
                      </a:moveTo>
                      <a:cubicBezTo>
                        <a:pt x="38027" y="13158"/>
                        <a:pt x="13158" y="40809"/>
                        <a:pt x="13158" y="78864"/>
                      </a:cubicBezTo>
                      <a:cubicBezTo>
                        <a:pt x="13158" y="116947"/>
                        <a:pt x="38027" y="144570"/>
                        <a:pt x="72299" y="144570"/>
                      </a:cubicBezTo>
                      <a:cubicBezTo>
                        <a:pt x="106571" y="144570"/>
                        <a:pt x="131440" y="116919"/>
                        <a:pt x="131440" y="78864"/>
                      </a:cubicBezTo>
                      <a:cubicBezTo>
                        <a:pt x="131440" y="40809"/>
                        <a:pt x="106571" y="13158"/>
                        <a:pt x="72299" y="13158"/>
                      </a:cubicBezTo>
                      <a:close/>
                    </a:path>
                  </a:pathLst>
                </a:custGeom>
                <a:solidFill>
                  <a:schemeClr val="accent1"/>
                </a:solidFill>
                <a:ln w="2775" cap="flat">
                  <a:noFill/>
                  <a:prstDash val="solid"/>
                  <a:miter/>
                </a:ln>
              </p:spPr>
              <p:txBody>
                <a:bodyPr rtlCol="0" anchor="ctr"/>
                <a:lstStyle/>
                <a:p>
                  <a:endParaRPr lang="en-GB" dirty="0"/>
                </a:p>
              </p:txBody>
            </p:sp>
          </p:grpSp>
          <p:sp>
            <p:nvSpPr>
              <p:cNvPr id="245" name="Freihandform: Form 686">
                <a:extLst>
                  <a:ext uri="{FF2B5EF4-FFF2-40B4-BE49-F238E27FC236}">
                    <a16:creationId xmlns:a16="http://schemas.microsoft.com/office/drawing/2014/main" id="{3BBBD2A2-524B-40B2-A81E-2E769AF98A96}"/>
                  </a:ext>
                </a:extLst>
              </p:cNvPr>
              <p:cNvSpPr/>
              <p:nvPr/>
            </p:nvSpPr>
            <p:spPr>
              <a:xfrm>
                <a:off x="6344514" y="4485556"/>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solidFill>
                <a:schemeClr val="accent1"/>
              </a:solidFill>
              <a:ln w="2775" cap="flat">
                <a:noFill/>
                <a:prstDash val="solid"/>
                <a:miter/>
              </a:ln>
            </p:spPr>
            <p:txBody>
              <a:bodyPr rtlCol="0" anchor="ctr"/>
              <a:lstStyle/>
              <a:p>
                <a:endParaRPr lang="en-GB" dirty="0"/>
              </a:p>
            </p:txBody>
          </p:sp>
          <p:sp>
            <p:nvSpPr>
              <p:cNvPr id="246" name="Freihandform: Form 687">
                <a:extLst>
                  <a:ext uri="{FF2B5EF4-FFF2-40B4-BE49-F238E27FC236}">
                    <a16:creationId xmlns:a16="http://schemas.microsoft.com/office/drawing/2014/main" id="{4C0014F6-57F2-4135-B927-253B0B622C53}"/>
                  </a:ext>
                </a:extLst>
              </p:cNvPr>
              <p:cNvSpPr/>
              <p:nvPr/>
            </p:nvSpPr>
            <p:spPr>
              <a:xfrm>
                <a:off x="6344514" y="4525002"/>
                <a:ext cx="13130" cy="13130"/>
              </a:xfrm>
              <a:custGeom>
                <a:avLst/>
                <a:gdLst>
                  <a:gd name="connsiteX0" fmla="*/ 0 w 13130"/>
                  <a:gd name="connsiteY0" fmla="*/ 0 h 13130"/>
                  <a:gd name="connsiteX1" fmla="*/ 13130 w 13130"/>
                  <a:gd name="connsiteY1" fmla="*/ 0 h 13130"/>
                  <a:gd name="connsiteX2" fmla="*/ 13130 w 13130"/>
                  <a:gd name="connsiteY2" fmla="*/ 13130 h 13130"/>
                  <a:gd name="connsiteX3" fmla="*/ 0 w 13130"/>
                  <a:gd name="connsiteY3" fmla="*/ 13130 h 13130"/>
                </a:gdLst>
                <a:ahLst/>
                <a:cxnLst>
                  <a:cxn ang="0">
                    <a:pos x="connsiteX0" y="connsiteY0"/>
                  </a:cxn>
                  <a:cxn ang="0">
                    <a:pos x="connsiteX1" y="connsiteY1"/>
                  </a:cxn>
                  <a:cxn ang="0">
                    <a:pos x="connsiteX2" y="connsiteY2"/>
                  </a:cxn>
                  <a:cxn ang="0">
                    <a:pos x="connsiteX3" y="connsiteY3"/>
                  </a:cxn>
                </a:cxnLst>
                <a:rect l="l" t="t" r="r" b="b"/>
                <a:pathLst>
                  <a:path w="13130" h="13130">
                    <a:moveTo>
                      <a:pt x="0" y="0"/>
                    </a:moveTo>
                    <a:lnTo>
                      <a:pt x="13130" y="0"/>
                    </a:lnTo>
                    <a:lnTo>
                      <a:pt x="13130" y="13130"/>
                    </a:lnTo>
                    <a:lnTo>
                      <a:pt x="0" y="13130"/>
                    </a:lnTo>
                    <a:close/>
                  </a:path>
                </a:pathLst>
              </a:custGeom>
              <a:solidFill>
                <a:schemeClr val="accent1"/>
              </a:solidFill>
              <a:ln w="2775" cap="flat">
                <a:noFill/>
                <a:prstDash val="solid"/>
                <a:miter/>
              </a:ln>
            </p:spPr>
            <p:txBody>
              <a:bodyPr rtlCol="0" anchor="ctr"/>
              <a:lstStyle/>
              <a:p>
                <a:endParaRPr lang="en-GB" dirty="0"/>
              </a:p>
            </p:txBody>
          </p:sp>
          <p:sp>
            <p:nvSpPr>
              <p:cNvPr id="247" name="Freihandform: Form 688">
                <a:extLst>
                  <a:ext uri="{FF2B5EF4-FFF2-40B4-BE49-F238E27FC236}">
                    <a16:creationId xmlns:a16="http://schemas.microsoft.com/office/drawing/2014/main" id="{58F3B02B-3ED1-4A0D-AFB7-C9044578F05E}"/>
                  </a:ext>
                </a:extLst>
              </p:cNvPr>
              <p:cNvSpPr/>
              <p:nvPr/>
            </p:nvSpPr>
            <p:spPr>
              <a:xfrm>
                <a:off x="6416812" y="4505279"/>
                <a:ext cx="26288" cy="32852"/>
              </a:xfrm>
              <a:custGeom>
                <a:avLst/>
                <a:gdLst>
                  <a:gd name="connsiteX0" fmla="*/ 13158 w 26288"/>
                  <a:gd name="connsiteY0" fmla="*/ 32853 h 32852"/>
                  <a:gd name="connsiteX1" fmla="*/ 0 w 26288"/>
                  <a:gd name="connsiteY1" fmla="*/ 32853 h 32852"/>
                  <a:gd name="connsiteX2" fmla="*/ 0 w 26288"/>
                  <a:gd name="connsiteY2" fmla="*/ 0 h 32852"/>
                  <a:gd name="connsiteX3" fmla="*/ 26288 w 26288"/>
                  <a:gd name="connsiteY3" fmla="*/ 0 h 32852"/>
                  <a:gd name="connsiteX4" fmla="*/ 26288 w 26288"/>
                  <a:gd name="connsiteY4" fmla="*/ 13158 h 32852"/>
                  <a:gd name="connsiteX5" fmla="*/ 13158 w 26288"/>
                  <a:gd name="connsiteY5" fmla="*/ 13158 h 3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88" h="32852">
                    <a:moveTo>
                      <a:pt x="13158" y="32853"/>
                    </a:moveTo>
                    <a:lnTo>
                      <a:pt x="0" y="32853"/>
                    </a:lnTo>
                    <a:lnTo>
                      <a:pt x="0" y="0"/>
                    </a:lnTo>
                    <a:lnTo>
                      <a:pt x="26288" y="0"/>
                    </a:lnTo>
                    <a:lnTo>
                      <a:pt x="26288" y="13158"/>
                    </a:lnTo>
                    <a:lnTo>
                      <a:pt x="13158" y="13158"/>
                    </a:lnTo>
                    <a:close/>
                  </a:path>
                </a:pathLst>
              </a:custGeom>
              <a:solidFill>
                <a:schemeClr val="accent1"/>
              </a:solidFill>
              <a:ln w="2775" cap="flat">
                <a:noFill/>
                <a:prstDash val="solid"/>
                <a:miter/>
              </a:ln>
            </p:spPr>
            <p:txBody>
              <a:bodyPr rtlCol="0" anchor="ctr"/>
              <a:lstStyle/>
              <a:p>
                <a:endParaRPr lang="en-GB" dirty="0"/>
              </a:p>
            </p:txBody>
          </p:sp>
          <p:sp>
            <p:nvSpPr>
              <p:cNvPr id="248" name="Freihandform: Form 689">
                <a:extLst>
                  <a:ext uri="{FF2B5EF4-FFF2-40B4-BE49-F238E27FC236}">
                    <a16:creationId xmlns:a16="http://schemas.microsoft.com/office/drawing/2014/main" id="{1B54B9F5-EC8A-48C6-A0C2-2A498B796312}"/>
                  </a:ext>
                </a:extLst>
              </p:cNvPr>
              <p:cNvSpPr/>
              <p:nvPr/>
            </p:nvSpPr>
            <p:spPr>
              <a:xfrm>
                <a:off x="6259085" y="4505279"/>
                <a:ext cx="26287" cy="32852"/>
              </a:xfrm>
              <a:custGeom>
                <a:avLst/>
                <a:gdLst>
                  <a:gd name="connsiteX0" fmla="*/ 26288 w 26287"/>
                  <a:gd name="connsiteY0" fmla="*/ 32853 h 32852"/>
                  <a:gd name="connsiteX1" fmla="*/ 13158 w 26287"/>
                  <a:gd name="connsiteY1" fmla="*/ 32853 h 32852"/>
                  <a:gd name="connsiteX2" fmla="*/ 13158 w 26287"/>
                  <a:gd name="connsiteY2" fmla="*/ 13158 h 32852"/>
                  <a:gd name="connsiteX3" fmla="*/ 0 w 26287"/>
                  <a:gd name="connsiteY3" fmla="*/ 13158 h 32852"/>
                  <a:gd name="connsiteX4" fmla="*/ 0 w 26287"/>
                  <a:gd name="connsiteY4" fmla="*/ 0 h 32852"/>
                  <a:gd name="connsiteX5" fmla="*/ 26288 w 26287"/>
                  <a:gd name="connsiteY5" fmla="*/ 0 h 32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287" h="32852">
                    <a:moveTo>
                      <a:pt x="26288" y="32853"/>
                    </a:moveTo>
                    <a:lnTo>
                      <a:pt x="13158" y="32853"/>
                    </a:lnTo>
                    <a:lnTo>
                      <a:pt x="13158" y="13158"/>
                    </a:lnTo>
                    <a:lnTo>
                      <a:pt x="0" y="13158"/>
                    </a:lnTo>
                    <a:lnTo>
                      <a:pt x="0" y="0"/>
                    </a:lnTo>
                    <a:lnTo>
                      <a:pt x="26288" y="0"/>
                    </a:lnTo>
                    <a:close/>
                  </a:path>
                </a:pathLst>
              </a:custGeom>
              <a:solidFill>
                <a:schemeClr val="accent1"/>
              </a:solidFill>
              <a:ln w="2775" cap="flat">
                <a:noFill/>
                <a:prstDash val="solid"/>
                <a:miter/>
              </a:ln>
            </p:spPr>
            <p:txBody>
              <a:bodyPr rtlCol="0" anchor="ctr"/>
              <a:lstStyle/>
              <a:p>
                <a:endParaRPr lang="en-GB" dirty="0"/>
              </a:p>
            </p:txBody>
          </p:sp>
        </p:grpSp>
      </p:grpSp>
      <p:grpSp>
        <p:nvGrpSpPr>
          <p:cNvPr id="251" name="Group 250">
            <a:extLst>
              <a:ext uri="{FF2B5EF4-FFF2-40B4-BE49-F238E27FC236}">
                <a16:creationId xmlns:a16="http://schemas.microsoft.com/office/drawing/2014/main" id="{B0D276F7-9EA3-4A37-8571-F87711E809EF}"/>
              </a:ext>
            </a:extLst>
          </p:cNvPr>
          <p:cNvGrpSpPr>
            <a:grpSpLocks noChangeAspect="1"/>
          </p:cNvGrpSpPr>
          <p:nvPr/>
        </p:nvGrpSpPr>
        <p:grpSpPr>
          <a:xfrm>
            <a:off x="3723942" y="3197068"/>
            <a:ext cx="466820" cy="432000"/>
            <a:chOff x="857737" y="1653057"/>
            <a:chExt cx="490785" cy="454176"/>
          </a:xfrm>
        </p:grpSpPr>
        <p:grpSp>
          <p:nvGrpSpPr>
            <p:cNvPr id="252" name="Group 251">
              <a:extLst>
                <a:ext uri="{FF2B5EF4-FFF2-40B4-BE49-F238E27FC236}">
                  <a16:creationId xmlns:a16="http://schemas.microsoft.com/office/drawing/2014/main" id="{C46742C8-0CE2-459F-BC7C-3A187DDADD0B}"/>
                </a:ext>
              </a:extLst>
            </p:cNvPr>
            <p:cNvGrpSpPr/>
            <p:nvPr/>
          </p:nvGrpSpPr>
          <p:grpSpPr>
            <a:xfrm>
              <a:off x="857737" y="1653057"/>
              <a:ext cx="490785" cy="454176"/>
              <a:chOff x="857737" y="1653061"/>
              <a:chExt cx="490785" cy="454177"/>
            </a:xfrm>
          </p:grpSpPr>
          <p:sp>
            <p:nvSpPr>
              <p:cNvPr id="254" name="Freihandform: Form 165">
                <a:extLst>
                  <a:ext uri="{FF2B5EF4-FFF2-40B4-BE49-F238E27FC236}">
                    <a16:creationId xmlns:a16="http://schemas.microsoft.com/office/drawing/2014/main" id="{F13A0232-64A2-45C6-AE49-6FDDE6E86EAC}"/>
                  </a:ext>
                </a:extLst>
              </p:cNvPr>
              <p:cNvSpPr/>
              <p:nvPr/>
            </p:nvSpPr>
            <p:spPr>
              <a:xfrm>
                <a:off x="857737" y="1653061"/>
                <a:ext cx="346053" cy="454176"/>
              </a:xfrm>
              <a:custGeom>
                <a:avLst/>
                <a:gdLst>
                  <a:gd name="connsiteX0" fmla="*/ 197420 w 346053"/>
                  <a:gd name="connsiteY0" fmla="*/ 454177 h 454176"/>
                  <a:gd name="connsiteX1" fmla="*/ 184263 w 346053"/>
                  <a:gd name="connsiteY1" fmla="*/ 454177 h 454176"/>
                  <a:gd name="connsiteX2" fmla="*/ 184263 w 346053"/>
                  <a:gd name="connsiteY2" fmla="*/ 368624 h 454176"/>
                  <a:gd name="connsiteX3" fmla="*/ 263237 w 346053"/>
                  <a:gd name="connsiteY3" fmla="*/ 368624 h 454176"/>
                  <a:gd name="connsiteX4" fmla="*/ 289552 w 346053"/>
                  <a:gd name="connsiteY4" fmla="*/ 342309 h 454176"/>
                  <a:gd name="connsiteX5" fmla="*/ 289552 w 346053"/>
                  <a:gd name="connsiteY5" fmla="*/ 269914 h 454176"/>
                  <a:gd name="connsiteX6" fmla="*/ 333099 w 346053"/>
                  <a:gd name="connsiteY6" fmla="*/ 269914 h 454176"/>
                  <a:gd name="connsiteX7" fmla="*/ 289028 w 346053"/>
                  <a:gd name="connsiteY7" fmla="*/ 143026 h 454176"/>
                  <a:gd name="connsiteX8" fmla="*/ 164963 w 346053"/>
                  <a:gd name="connsiteY8" fmla="*/ 13838 h 454176"/>
                  <a:gd name="connsiteX9" fmla="*/ 58656 w 346053"/>
                  <a:gd name="connsiteY9" fmla="*/ 49119 h 454176"/>
                  <a:gd name="connsiteX10" fmla="*/ 13157 w 346053"/>
                  <a:gd name="connsiteY10" fmla="*/ 151410 h 454176"/>
                  <a:gd name="connsiteX11" fmla="*/ 13157 w 346053"/>
                  <a:gd name="connsiteY11" fmla="*/ 454177 h 454176"/>
                  <a:gd name="connsiteX12" fmla="*/ 0 w 346053"/>
                  <a:gd name="connsiteY12" fmla="*/ 454177 h 454176"/>
                  <a:gd name="connsiteX13" fmla="*/ 0 w 346053"/>
                  <a:gd name="connsiteY13" fmla="*/ 151410 h 454176"/>
                  <a:gd name="connsiteX14" fmla="*/ 49835 w 346053"/>
                  <a:gd name="connsiteY14" fmla="*/ 39367 h 454176"/>
                  <a:gd name="connsiteX15" fmla="*/ 166273 w 346053"/>
                  <a:gd name="connsiteY15" fmla="*/ 739 h 454176"/>
                  <a:gd name="connsiteX16" fmla="*/ 302127 w 346053"/>
                  <a:gd name="connsiteY16" fmla="*/ 141105 h 454176"/>
                  <a:gd name="connsiteX17" fmla="*/ 345267 w 346053"/>
                  <a:gd name="connsiteY17" fmla="*/ 265810 h 454176"/>
                  <a:gd name="connsiteX18" fmla="*/ 343783 w 346053"/>
                  <a:gd name="connsiteY18" fmla="*/ 277483 h 454176"/>
                  <a:gd name="connsiteX19" fmla="*/ 333187 w 346053"/>
                  <a:gd name="connsiteY19" fmla="*/ 283042 h 454176"/>
                  <a:gd name="connsiteX20" fmla="*/ 302826 w 346053"/>
                  <a:gd name="connsiteY20" fmla="*/ 283042 h 454176"/>
                  <a:gd name="connsiteX21" fmla="*/ 302826 w 346053"/>
                  <a:gd name="connsiteY21" fmla="*/ 342280 h 454176"/>
                  <a:gd name="connsiteX22" fmla="*/ 263324 w 346053"/>
                  <a:gd name="connsiteY22" fmla="*/ 381782 h 454176"/>
                  <a:gd name="connsiteX23" fmla="*/ 197420 w 346053"/>
                  <a:gd name="connsiteY23" fmla="*/ 381782 h 454176"/>
                  <a:gd name="connsiteX24" fmla="*/ 197420 w 346053"/>
                  <a:gd name="connsiteY24" fmla="*/ 454177 h 454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46053" h="454176">
                    <a:moveTo>
                      <a:pt x="197420" y="454177"/>
                    </a:moveTo>
                    <a:lnTo>
                      <a:pt x="184263" y="454177"/>
                    </a:lnTo>
                    <a:lnTo>
                      <a:pt x="184263" y="368624"/>
                    </a:lnTo>
                    <a:lnTo>
                      <a:pt x="263237" y="368624"/>
                    </a:lnTo>
                    <a:cubicBezTo>
                      <a:pt x="277762" y="368624"/>
                      <a:pt x="289552" y="356806"/>
                      <a:pt x="289552" y="342309"/>
                    </a:cubicBezTo>
                    <a:lnTo>
                      <a:pt x="289552" y="269914"/>
                    </a:lnTo>
                    <a:lnTo>
                      <a:pt x="333099" y="269914"/>
                    </a:lnTo>
                    <a:lnTo>
                      <a:pt x="289028" y="143026"/>
                    </a:lnTo>
                    <a:cubicBezTo>
                      <a:pt x="283439" y="74590"/>
                      <a:pt x="231245" y="20272"/>
                      <a:pt x="164963" y="13838"/>
                    </a:cubicBezTo>
                    <a:cubicBezTo>
                      <a:pt x="125665" y="10025"/>
                      <a:pt x="87911" y="22542"/>
                      <a:pt x="58656" y="49119"/>
                    </a:cubicBezTo>
                    <a:cubicBezTo>
                      <a:pt x="29721" y="75376"/>
                      <a:pt x="13157" y="112665"/>
                      <a:pt x="13157" y="151410"/>
                    </a:cubicBezTo>
                    <a:lnTo>
                      <a:pt x="13157" y="454177"/>
                    </a:lnTo>
                    <a:lnTo>
                      <a:pt x="0" y="454177"/>
                    </a:lnTo>
                    <a:lnTo>
                      <a:pt x="0" y="151410"/>
                    </a:lnTo>
                    <a:cubicBezTo>
                      <a:pt x="0" y="108968"/>
                      <a:pt x="18164" y="68127"/>
                      <a:pt x="49835" y="39367"/>
                    </a:cubicBezTo>
                    <a:cubicBezTo>
                      <a:pt x="81885" y="10287"/>
                      <a:pt x="123191" y="-3453"/>
                      <a:pt x="166273" y="739"/>
                    </a:cubicBezTo>
                    <a:cubicBezTo>
                      <a:pt x="238639" y="7754"/>
                      <a:pt x="295665" y="66730"/>
                      <a:pt x="302127" y="141105"/>
                    </a:cubicBezTo>
                    <a:lnTo>
                      <a:pt x="345267" y="265810"/>
                    </a:lnTo>
                    <a:cubicBezTo>
                      <a:pt x="346693" y="269565"/>
                      <a:pt x="346169" y="274019"/>
                      <a:pt x="343783" y="277483"/>
                    </a:cubicBezTo>
                    <a:cubicBezTo>
                      <a:pt x="341366" y="280976"/>
                      <a:pt x="337408" y="283042"/>
                      <a:pt x="333187" y="283042"/>
                    </a:cubicBezTo>
                    <a:lnTo>
                      <a:pt x="302826" y="283042"/>
                    </a:lnTo>
                    <a:lnTo>
                      <a:pt x="302826" y="342280"/>
                    </a:lnTo>
                    <a:cubicBezTo>
                      <a:pt x="302826" y="364054"/>
                      <a:pt x="285098" y="381782"/>
                      <a:pt x="263324" y="381782"/>
                    </a:cubicBezTo>
                    <a:lnTo>
                      <a:pt x="197420" y="381782"/>
                    </a:lnTo>
                    <a:lnTo>
                      <a:pt x="197420" y="454177"/>
                    </a:lnTo>
                    <a:close/>
                  </a:path>
                </a:pathLst>
              </a:custGeom>
              <a:solidFill>
                <a:schemeClr val="tx2"/>
              </a:solidFill>
              <a:ln w="2908" cap="flat">
                <a:noFill/>
                <a:prstDash val="solid"/>
                <a:miter/>
              </a:ln>
            </p:spPr>
            <p:txBody>
              <a:bodyPr rtlCol="0" anchor="ctr"/>
              <a:lstStyle/>
              <a:p>
                <a:endParaRPr lang="en-GB" dirty="0"/>
              </a:p>
            </p:txBody>
          </p:sp>
          <p:sp>
            <p:nvSpPr>
              <p:cNvPr id="255" name="Freihandform: Form 166">
                <a:extLst>
                  <a:ext uri="{FF2B5EF4-FFF2-40B4-BE49-F238E27FC236}">
                    <a16:creationId xmlns:a16="http://schemas.microsoft.com/office/drawing/2014/main" id="{E7676540-A085-44FD-84B4-330CD57F6D20}"/>
                  </a:ext>
                </a:extLst>
              </p:cNvPr>
              <p:cNvSpPr/>
              <p:nvPr/>
            </p:nvSpPr>
            <p:spPr>
              <a:xfrm>
                <a:off x="1105691" y="1653073"/>
                <a:ext cx="242831" cy="454165"/>
              </a:xfrm>
              <a:custGeom>
                <a:avLst/>
                <a:gdLst>
                  <a:gd name="connsiteX0" fmla="*/ 94285 w 242831"/>
                  <a:gd name="connsiteY0" fmla="*/ 454165 h 454165"/>
                  <a:gd name="connsiteX1" fmla="*/ 81128 w 242831"/>
                  <a:gd name="connsiteY1" fmla="*/ 454165 h 454165"/>
                  <a:gd name="connsiteX2" fmla="*/ 81128 w 242831"/>
                  <a:gd name="connsiteY2" fmla="*/ 368612 h 454165"/>
                  <a:gd name="connsiteX3" fmla="*/ 160102 w 242831"/>
                  <a:gd name="connsiteY3" fmla="*/ 368612 h 454165"/>
                  <a:gd name="connsiteX4" fmla="*/ 186417 w 242831"/>
                  <a:gd name="connsiteY4" fmla="*/ 342298 h 454165"/>
                  <a:gd name="connsiteX5" fmla="*/ 186417 w 242831"/>
                  <a:gd name="connsiteY5" fmla="*/ 269902 h 454165"/>
                  <a:gd name="connsiteX6" fmla="*/ 229965 w 242831"/>
                  <a:gd name="connsiteY6" fmla="*/ 269902 h 454165"/>
                  <a:gd name="connsiteX7" fmla="*/ 185864 w 242831"/>
                  <a:gd name="connsiteY7" fmla="*/ 142985 h 454165"/>
                  <a:gd name="connsiteX8" fmla="*/ 61799 w 242831"/>
                  <a:gd name="connsiteY8" fmla="*/ 13827 h 454165"/>
                  <a:gd name="connsiteX9" fmla="*/ 4221 w 242831"/>
                  <a:gd name="connsiteY9" fmla="*/ 20376 h 454165"/>
                  <a:gd name="connsiteX10" fmla="*/ 0 w 242831"/>
                  <a:gd name="connsiteY10" fmla="*/ 7917 h 454165"/>
                  <a:gd name="connsiteX11" fmla="*/ 63080 w 242831"/>
                  <a:gd name="connsiteY11" fmla="*/ 727 h 454165"/>
                  <a:gd name="connsiteX12" fmla="*/ 198934 w 242831"/>
                  <a:gd name="connsiteY12" fmla="*/ 141093 h 454165"/>
                  <a:gd name="connsiteX13" fmla="*/ 242045 w 242831"/>
                  <a:gd name="connsiteY13" fmla="*/ 265798 h 454165"/>
                  <a:gd name="connsiteX14" fmla="*/ 240560 w 242831"/>
                  <a:gd name="connsiteY14" fmla="*/ 277471 h 454165"/>
                  <a:gd name="connsiteX15" fmla="*/ 229965 w 242831"/>
                  <a:gd name="connsiteY15" fmla="*/ 283031 h 454165"/>
                  <a:gd name="connsiteX16" fmla="*/ 199603 w 242831"/>
                  <a:gd name="connsiteY16" fmla="*/ 283031 h 454165"/>
                  <a:gd name="connsiteX17" fmla="*/ 199603 w 242831"/>
                  <a:gd name="connsiteY17" fmla="*/ 342268 h 454165"/>
                  <a:gd name="connsiteX18" fmla="*/ 160102 w 242831"/>
                  <a:gd name="connsiteY18" fmla="*/ 381770 h 454165"/>
                  <a:gd name="connsiteX19" fmla="*/ 94285 w 242831"/>
                  <a:gd name="connsiteY19" fmla="*/ 381770 h 454165"/>
                  <a:gd name="connsiteX20" fmla="*/ 94285 w 242831"/>
                  <a:gd name="connsiteY20" fmla="*/ 454165 h 45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2831" h="454165">
                    <a:moveTo>
                      <a:pt x="94285" y="454165"/>
                    </a:moveTo>
                    <a:lnTo>
                      <a:pt x="81128" y="454165"/>
                    </a:lnTo>
                    <a:lnTo>
                      <a:pt x="81128" y="368612"/>
                    </a:lnTo>
                    <a:lnTo>
                      <a:pt x="160102" y="368612"/>
                    </a:lnTo>
                    <a:cubicBezTo>
                      <a:pt x="174628" y="368612"/>
                      <a:pt x="186417" y="356794"/>
                      <a:pt x="186417" y="342298"/>
                    </a:cubicBezTo>
                    <a:lnTo>
                      <a:pt x="186417" y="269902"/>
                    </a:lnTo>
                    <a:lnTo>
                      <a:pt x="229965" y="269902"/>
                    </a:lnTo>
                    <a:lnTo>
                      <a:pt x="185864" y="142985"/>
                    </a:lnTo>
                    <a:cubicBezTo>
                      <a:pt x="180275" y="74578"/>
                      <a:pt x="128111" y="20260"/>
                      <a:pt x="61799" y="13827"/>
                    </a:cubicBezTo>
                    <a:cubicBezTo>
                      <a:pt x="42092" y="11934"/>
                      <a:pt x="22734" y="14118"/>
                      <a:pt x="4221" y="20376"/>
                    </a:cubicBezTo>
                    <a:lnTo>
                      <a:pt x="0" y="7917"/>
                    </a:lnTo>
                    <a:cubicBezTo>
                      <a:pt x="20289" y="1077"/>
                      <a:pt x="41481" y="-1369"/>
                      <a:pt x="63080" y="727"/>
                    </a:cubicBezTo>
                    <a:cubicBezTo>
                      <a:pt x="135446" y="7743"/>
                      <a:pt x="192472" y="66689"/>
                      <a:pt x="198934" y="141093"/>
                    </a:cubicBezTo>
                    <a:lnTo>
                      <a:pt x="242045" y="265798"/>
                    </a:lnTo>
                    <a:cubicBezTo>
                      <a:pt x="243471" y="269553"/>
                      <a:pt x="242947" y="274007"/>
                      <a:pt x="240560" y="277471"/>
                    </a:cubicBezTo>
                    <a:cubicBezTo>
                      <a:pt x="238144" y="280964"/>
                      <a:pt x="234185" y="283031"/>
                      <a:pt x="229965" y="283031"/>
                    </a:cubicBezTo>
                    <a:lnTo>
                      <a:pt x="199603" y="283031"/>
                    </a:lnTo>
                    <a:lnTo>
                      <a:pt x="199603" y="342268"/>
                    </a:lnTo>
                    <a:cubicBezTo>
                      <a:pt x="199603" y="364042"/>
                      <a:pt x="181876" y="381770"/>
                      <a:pt x="160102" y="381770"/>
                    </a:cubicBezTo>
                    <a:lnTo>
                      <a:pt x="94285" y="381770"/>
                    </a:lnTo>
                    <a:lnTo>
                      <a:pt x="94285" y="454165"/>
                    </a:lnTo>
                    <a:close/>
                  </a:path>
                </a:pathLst>
              </a:custGeom>
              <a:solidFill>
                <a:schemeClr val="tx2"/>
              </a:solidFill>
              <a:ln w="2908" cap="flat">
                <a:noFill/>
                <a:prstDash val="solid"/>
                <a:miter/>
              </a:ln>
            </p:spPr>
            <p:txBody>
              <a:bodyPr rtlCol="0" anchor="ctr"/>
              <a:lstStyle/>
              <a:p>
                <a:endParaRPr lang="en-GB" dirty="0"/>
              </a:p>
            </p:txBody>
          </p:sp>
        </p:grpSp>
        <p:sp>
          <p:nvSpPr>
            <p:cNvPr id="253" name="Freihandform: Form 167">
              <a:extLst>
                <a:ext uri="{FF2B5EF4-FFF2-40B4-BE49-F238E27FC236}">
                  <a16:creationId xmlns:a16="http://schemas.microsoft.com/office/drawing/2014/main" id="{0469C137-0A00-4C6E-A86B-616B25A0E629}"/>
                </a:ext>
              </a:extLst>
            </p:cNvPr>
            <p:cNvSpPr/>
            <p:nvPr/>
          </p:nvSpPr>
          <p:spPr>
            <a:xfrm>
              <a:off x="897180" y="1764969"/>
              <a:ext cx="210548" cy="144819"/>
            </a:xfrm>
            <a:custGeom>
              <a:avLst/>
              <a:gdLst>
                <a:gd name="connsiteX0" fmla="*/ 177626 w 210548"/>
                <a:gd name="connsiteY0" fmla="*/ 144819 h 144819"/>
                <a:gd name="connsiteX1" fmla="*/ 109160 w 210548"/>
                <a:gd name="connsiteY1" fmla="*/ 144819 h 144819"/>
                <a:gd name="connsiteX2" fmla="*/ 109451 w 210548"/>
                <a:gd name="connsiteY2" fmla="*/ 134253 h 144819"/>
                <a:gd name="connsiteX3" fmla="*/ 111053 w 210548"/>
                <a:gd name="connsiteY3" fmla="*/ 132448 h 144819"/>
                <a:gd name="connsiteX4" fmla="*/ 116350 w 210548"/>
                <a:gd name="connsiteY4" fmla="*/ 121212 h 144819"/>
                <a:gd name="connsiteX5" fmla="*/ 105551 w 210548"/>
                <a:gd name="connsiteY5" fmla="*/ 112042 h 144819"/>
                <a:gd name="connsiteX6" fmla="*/ 104910 w 210548"/>
                <a:gd name="connsiteY6" fmla="*/ 112042 h 144819"/>
                <a:gd name="connsiteX7" fmla="*/ 94256 w 210548"/>
                <a:gd name="connsiteY7" fmla="*/ 121212 h 144819"/>
                <a:gd name="connsiteX8" fmla="*/ 99554 w 210548"/>
                <a:gd name="connsiteY8" fmla="*/ 132448 h 144819"/>
                <a:gd name="connsiteX9" fmla="*/ 101155 w 210548"/>
                <a:gd name="connsiteY9" fmla="*/ 134224 h 144819"/>
                <a:gd name="connsiteX10" fmla="*/ 101534 w 210548"/>
                <a:gd name="connsiteY10" fmla="*/ 144790 h 144819"/>
                <a:gd name="connsiteX11" fmla="*/ 33127 w 210548"/>
                <a:gd name="connsiteY11" fmla="*/ 144790 h 144819"/>
                <a:gd name="connsiteX12" fmla="*/ 33127 w 210548"/>
                <a:gd name="connsiteY12" fmla="*/ 94198 h 144819"/>
                <a:gd name="connsiteX13" fmla="*/ 22414 w 210548"/>
                <a:gd name="connsiteY13" fmla="*/ 96672 h 144819"/>
                <a:gd name="connsiteX14" fmla="*/ 0 w 210548"/>
                <a:gd name="connsiteY14" fmla="*/ 73006 h 144819"/>
                <a:gd name="connsiteX15" fmla="*/ 0 w 210548"/>
                <a:gd name="connsiteY15" fmla="*/ 72162 h 144819"/>
                <a:gd name="connsiteX16" fmla="*/ 22152 w 210548"/>
                <a:gd name="connsiteY16" fmla="*/ 48176 h 144819"/>
                <a:gd name="connsiteX17" fmla="*/ 33127 w 210548"/>
                <a:gd name="connsiteY17" fmla="*/ 50650 h 144819"/>
                <a:gd name="connsiteX18" fmla="*/ 33127 w 210548"/>
                <a:gd name="connsiteY18" fmla="*/ 0 h 144819"/>
                <a:gd name="connsiteX19" fmla="*/ 101388 w 210548"/>
                <a:gd name="connsiteY19" fmla="*/ 0 h 144819"/>
                <a:gd name="connsiteX20" fmla="*/ 101097 w 210548"/>
                <a:gd name="connsiteY20" fmla="*/ 11469 h 144819"/>
                <a:gd name="connsiteX21" fmla="*/ 99496 w 210548"/>
                <a:gd name="connsiteY21" fmla="*/ 13274 h 144819"/>
                <a:gd name="connsiteX22" fmla="*/ 94227 w 210548"/>
                <a:gd name="connsiteY22" fmla="*/ 24510 h 144819"/>
                <a:gd name="connsiteX23" fmla="*/ 105085 w 210548"/>
                <a:gd name="connsiteY23" fmla="*/ 33651 h 144819"/>
                <a:gd name="connsiteX24" fmla="*/ 105696 w 210548"/>
                <a:gd name="connsiteY24" fmla="*/ 33651 h 144819"/>
                <a:gd name="connsiteX25" fmla="*/ 116321 w 210548"/>
                <a:gd name="connsiteY25" fmla="*/ 24423 h 144819"/>
                <a:gd name="connsiteX26" fmla="*/ 110994 w 210548"/>
                <a:gd name="connsiteY26" fmla="*/ 13245 h 144819"/>
                <a:gd name="connsiteX27" fmla="*/ 109393 w 210548"/>
                <a:gd name="connsiteY27" fmla="*/ 11469 h 144819"/>
                <a:gd name="connsiteX28" fmla="*/ 109015 w 210548"/>
                <a:gd name="connsiteY28" fmla="*/ 0 h 144819"/>
                <a:gd name="connsiteX29" fmla="*/ 177626 w 210548"/>
                <a:gd name="connsiteY29" fmla="*/ 0 h 144819"/>
                <a:gd name="connsiteX30" fmla="*/ 177626 w 210548"/>
                <a:gd name="connsiteY30" fmla="*/ 50796 h 144819"/>
                <a:gd name="connsiteX31" fmla="*/ 188804 w 210548"/>
                <a:gd name="connsiteY31" fmla="*/ 48380 h 144819"/>
                <a:gd name="connsiteX32" fmla="*/ 210519 w 210548"/>
                <a:gd name="connsiteY32" fmla="*/ 72424 h 144819"/>
                <a:gd name="connsiteX33" fmla="*/ 210549 w 210548"/>
                <a:gd name="connsiteY33" fmla="*/ 73327 h 144819"/>
                <a:gd name="connsiteX34" fmla="*/ 187727 w 210548"/>
                <a:gd name="connsiteY34" fmla="*/ 96876 h 144819"/>
                <a:gd name="connsiteX35" fmla="*/ 187669 w 210548"/>
                <a:gd name="connsiteY35" fmla="*/ 96876 h 144819"/>
                <a:gd name="connsiteX36" fmla="*/ 177626 w 210548"/>
                <a:gd name="connsiteY36" fmla="*/ 94547 h 144819"/>
                <a:gd name="connsiteX37" fmla="*/ 177626 w 210548"/>
                <a:gd name="connsiteY37" fmla="*/ 144819 h 144819"/>
                <a:gd name="connsiteX38" fmla="*/ 127208 w 210548"/>
                <a:gd name="connsiteY38" fmla="*/ 131662 h 144819"/>
                <a:gd name="connsiteX39" fmla="*/ 164468 w 210548"/>
                <a:gd name="connsiteY39" fmla="*/ 131662 h 144819"/>
                <a:gd name="connsiteX40" fmla="*/ 164468 w 210548"/>
                <a:gd name="connsiteY40" fmla="*/ 75743 h 144819"/>
                <a:gd name="connsiteX41" fmla="*/ 175152 w 210548"/>
                <a:gd name="connsiteY41" fmla="*/ 76383 h 144819"/>
                <a:gd name="connsiteX42" fmla="*/ 176898 w 210548"/>
                <a:gd name="connsiteY42" fmla="*/ 78042 h 144819"/>
                <a:gd name="connsiteX43" fmla="*/ 187698 w 210548"/>
                <a:gd name="connsiteY43" fmla="*/ 83690 h 144819"/>
                <a:gd name="connsiteX44" fmla="*/ 187727 w 210548"/>
                <a:gd name="connsiteY44" fmla="*/ 83690 h 144819"/>
                <a:gd name="connsiteX45" fmla="*/ 197391 w 210548"/>
                <a:gd name="connsiteY45" fmla="*/ 73443 h 144819"/>
                <a:gd name="connsiteX46" fmla="*/ 197362 w 210548"/>
                <a:gd name="connsiteY46" fmla="*/ 72861 h 144819"/>
                <a:gd name="connsiteX47" fmla="*/ 188804 w 210548"/>
                <a:gd name="connsiteY47" fmla="*/ 61537 h 144819"/>
                <a:gd name="connsiteX48" fmla="*/ 177247 w 210548"/>
                <a:gd name="connsiteY48" fmla="*/ 66486 h 144819"/>
                <a:gd name="connsiteX49" fmla="*/ 175413 w 210548"/>
                <a:gd name="connsiteY49" fmla="*/ 68029 h 144819"/>
                <a:gd name="connsiteX50" fmla="*/ 164468 w 210548"/>
                <a:gd name="connsiteY50" fmla="*/ 68029 h 144819"/>
                <a:gd name="connsiteX51" fmla="*/ 164468 w 210548"/>
                <a:gd name="connsiteY51" fmla="*/ 13187 h 144819"/>
                <a:gd name="connsiteX52" fmla="*/ 126743 w 210548"/>
                <a:gd name="connsiteY52" fmla="*/ 13187 h 144819"/>
                <a:gd name="connsiteX53" fmla="*/ 129479 w 210548"/>
                <a:gd name="connsiteY53" fmla="*/ 24452 h 144819"/>
                <a:gd name="connsiteX54" fmla="*/ 105958 w 210548"/>
                <a:gd name="connsiteY54" fmla="*/ 46866 h 144819"/>
                <a:gd name="connsiteX55" fmla="*/ 104940 w 210548"/>
                <a:gd name="connsiteY55" fmla="*/ 46866 h 144819"/>
                <a:gd name="connsiteX56" fmla="*/ 81070 w 210548"/>
                <a:gd name="connsiteY56" fmla="*/ 24597 h 144819"/>
                <a:gd name="connsiteX57" fmla="*/ 83806 w 210548"/>
                <a:gd name="connsiteY57" fmla="*/ 13216 h 144819"/>
                <a:gd name="connsiteX58" fmla="*/ 46313 w 210548"/>
                <a:gd name="connsiteY58" fmla="*/ 13216 h 144819"/>
                <a:gd name="connsiteX59" fmla="*/ 46313 w 210548"/>
                <a:gd name="connsiteY59" fmla="*/ 68436 h 144819"/>
                <a:gd name="connsiteX60" fmla="*/ 35310 w 210548"/>
                <a:gd name="connsiteY60" fmla="*/ 68203 h 144819"/>
                <a:gd name="connsiteX61" fmla="*/ 33505 w 210548"/>
                <a:gd name="connsiteY61" fmla="*/ 66602 h 144819"/>
                <a:gd name="connsiteX62" fmla="*/ 22327 w 210548"/>
                <a:gd name="connsiteY62" fmla="*/ 61334 h 144819"/>
                <a:gd name="connsiteX63" fmla="*/ 22269 w 210548"/>
                <a:gd name="connsiteY63" fmla="*/ 61334 h 144819"/>
                <a:gd name="connsiteX64" fmla="*/ 13187 w 210548"/>
                <a:gd name="connsiteY64" fmla="*/ 72279 h 144819"/>
                <a:gd name="connsiteX65" fmla="*/ 13187 w 210548"/>
                <a:gd name="connsiteY65" fmla="*/ 72919 h 144819"/>
                <a:gd name="connsiteX66" fmla="*/ 22443 w 210548"/>
                <a:gd name="connsiteY66" fmla="*/ 83544 h 144819"/>
                <a:gd name="connsiteX67" fmla="*/ 33563 w 210548"/>
                <a:gd name="connsiteY67" fmla="*/ 78159 h 144819"/>
                <a:gd name="connsiteX68" fmla="*/ 35310 w 210548"/>
                <a:gd name="connsiteY68" fmla="*/ 76558 h 144819"/>
                <a:gd name="connsiteX69" fmla="*/ 46313 w 210548"/>
                <a:gd name="connsiteY69" fmla="*/ 76063 h 144819"/>
                <a:gd name="connsiteX70" fmla="*/ 46313 w 210548"/>
                <a:gd name="connsiteY70" fmla="*/ 131662 h 144819"/>
                <a:gd name="connsiteX71" fmla="*/ 83399 w 210548"/>
                <a:gd name="connsiteY71" fmla="*/ 131662 h 144819"/>
                <a:gd name="connsiteX72" fmla="*/ 81099 w 210548"/>
                <a:gd name="connsiteY72" fmla="*/ 121241 h 144819"/>
                <a:gd name="connsiteX73" fmla="*/ 104823 w 210548"/>
                <a:gd name="connsiteY73" fmla="*/ 98885 h 144819"/>
                <a:gd name="connsiteX74" fmla="*/ 105667 w 210548"/>
                <a:gd name="connsiteY74" fmla="*/ 98885 h 144819"/>
                <a:gd name="connsiteX75" fmla="*/ 129508 w 210548"/>
                <a:gd name="connsiteY75" fmla="*/ 121241 h 144819"/>
                <a:gd name="connsiteX76" fmla="*/ 127208 w 210548"/>
                <a:gd name="connsiteY76" fmla="*/ 131662 h 14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210548" h="144819">
                  <a:moveTo>
                    <a:pt x="177626" y="144819"/>
                  </a:moveTo>
                  <a:lnTo>
                    <a:pt x="109160" y="144819"/>
                  </a:lnTo>
                  <a:lnTo>
                    <a:pt x="109451" y="134253"/>
                  </a:lnTo>
                  <a:lnTo>
                    <a:pt x="111053" y="132448"/>
                  </a:lnTo>
                  <a:cubicBezTo>
                    <a:pt x="113469" y="129741"/>
                    <a:pt x="116350" y="125578"/>
                    <a:pt x="116350" y="121212"/>
                  </a:cubicBezTo>
                  <a:cubicBezTo>
                    <a:pt x="116350" y="116263"/>
                    <a:pt x="111489" y="112159"/>
                    <a:pt x="105551" y="112042"/>
                  </a:cubicBezTo>
                  <a:lnTo>
                    <a:pt x="104910" y="112042"/>
                  </a:lnTo>
                  <a:cubicBezTo>
                    <a:pt x="99059" y="112130"/>
                    <a:pt x="94256" y="116234"/>
                    <a:pt x="94256" y="121212"/>
                  </a:cubicBezTo>
                  <a:cubicBezTo>
                    <a:pt x="94256" y="125607"/>
                    <a:pt x="97138" y="129741"/>
                    <a:pt x="99554" y="132448"/>
                  </a:cubicBezTo>
                  <a:lnTo>
                    <a:pt x="101155" y="134224"/>
                  </a:lnTo>
                  <a:lnTo>
                    <a:pt x="101534" y="144790"/>
                  </a:lnTo>
                  <a:lnTo>
                    <a:pt x="33127" y="144790"/>
                  </a:lnTo>
                  <a:lnTo>
                    <a:pt x="33127" y="94198"/>
                  </a:lnTo>
                  <a:cubicBezTo>
                    <a:pt x="29604" y="95857"/>
                    <a:pt x="26024" y="96672"/>
                    <a:pt x="22414" y="96672"/>
                  </a:cubicBezTo>
                  <a:cubicBezTo>
                    <a:pt x="10276" y="96672"/>
                    <a:pt x="233" y="86048"/>
                    <a:pt x="0" y="73006"/>
                  </a:cubicBezTo>
                  <a:lnTo>
                    <a:pt x="0" y="72162"/>
                  </a:lnTo>
                  <a:cubicBezTo>
                    <a:pt x="233" y="58743"/>
                    <a:pt x="9955" y="48263"/>
                    <a:pt x="22152" y="48176"/>
                  </a:cubicBezTo>
                  <a:cubicBezTo>
                    <a:pt x="25587" y="48089"/>
                    <a:pt x="29517" y="48991"/>
                    <a:pt x="33127" y="50650"/>
                  </a:cubicBezTo>
                  <a:lnTo>
                    <a:pt x="33127" y="0"/>
                  </a:lnTo>
                  <a:lnTo>
                    <a:pt x="101388" y="0"/>
                  </a:lnTo>
                  <a:lnTo>
                    <a:pt x="101097" y="11469"/>
                  </a:lnTo>
                  <a:lnTo>
                    <a:pt x="99496" y="13274"/>
                  </a:lnTo>
                  <a:cubicBezTo>
                    <a:pt x="97080" y="15981"/>
                    <a:pt x="94227" y="20144"/>
                    <a:pt x="94227" y="24510"/>
                  </a:cubicBezTo>
                  <a:cubicBezTo>
                    <a:pt x="94256" y="29430"/>
                    <a:pt x="99118" y="33534"/>
                    <a:pt x="105085" y="33651"/>
                  </a:cubicBezTo>
                  <a:lnTo>
                    <a:pt x="105696" y="33651"/>
                  </a:lnTo>
                  <a:cubicBezTo>
                    <a:pt x="111547" y="33418"/>
                    <a:pt x="116321" y="29342"/>
                    <a:pt x="116321" y="24423"/>
                  </a:cubicBezTo>
                  <a:cubicBezTo>
                    <a:pt x="116321" y="20056"/>
                    <a:pt x="113410" y="15923"/>
                    <a:pt x="110994" y="13245"/>
                  </a:cubicBezTo>
                  <a:lnTo>
                    <a:pt x="109393" y="11469"/>
                  </a:lnTo>
                  <a:lnTo>
                    <a:pt x="109015" y="0"/>
                  </a:lnTo>
                  <a:lnTo>
                    <a:pt x="177626" y="0"/>
                  </a:lnTo>
                  <a:lnTo>
                    <a:pt x="177626" y="50796"/>
                  </a:lnTo>
                  <a:cubicBezTo>
                    <a:pt x="181264" y="49195"/>
                    <a:pt x="185020" y="48380"/>
                    <a:pt x="188804" y="48380"/>
                  </a:cubicBezTo>
                  <a:cubicBezTo>
                    <a:pt x="200710" y="48380"/>
                    <a:pt x="210025" y="58714"/>
                    <a:pt x="210519" y="72424"/>
                  </a:cubicBezTo>
                  <a:lnTo>
                    <a:pt x="210549" y="73327"/>
                  </a:lnTo>
                  <a:cubicBezTo>
                    <a:pt x="210403" y="86455"/>
                    <a:pt x="200186" y="96876"/>
                    <a:pt x="187727" y="96876"/>
                  </a:cubicBezTo>
                  <a:cubicBezTo>
                    <a:pt x="187698" y="96876"/>
                    <a:pt x="187698" y="96876"/>
                    <a:pt x="187669" y="96876"/>
                  </a:cubicBezTo>
                  <a:cubicBezTo>
                    <a:pt x="184292" y="96876"/>
                    <a:pt x="180944" y="96090"/>
                    <a:pt x="177626" y="94547"/>
                  </a:cubicBezTo>
                  <a:lnTo>
                    <a:pt x="177626" y="144819"/>
                  </a:lnTo>
                  <a:close/>
                  <a:moveTo>
                    <a:pt x="127208" y="131662"/>
                  </a:moveTo>
                  <a:lnTo>
                    <a:pt x="164468" y="131662"/>
                  </a:lnTo>
                  <a:lnTo>
                    <a:pt x="164468" y="75743"/>
                  </a:lnTo>
                  <a:lnTo>
                    <a:pt x="175152" y="76383"/>
                  </a:lnTo>
                  <a:lnTo>
                    <a:pt x="176898" y="78042"/>
                  </a:lnTo>
                  <a:cubicBezTo>
                    <a:pt x="179605" y="80604"/>
                    <a:pt x="183651" y="83690"/>
                    <a:pt x="187698" y="83690"/>
                  </a:cubicBezTo>
                  <a:cubicBezTo>
                    <a:pt x="187698" y="83690"/>
                    <a:pt x="187698" y="83690"/>
                    <a:pt x="187727" y="83690"/>
                  </a:cubicBezTo>
                  <a:cubicBezTo>
                    <a:pt x="192996" y="83690"/>
                    <a:pt x="197333" y="79090"/>
                    <a:pt x="197391" y="73443"/>
                  </a:cubicBezTo>
                  <a:lnTo>
                    <a:pt x="197362" y="72861"/>
                  </a:lnTo>
                  <a:cubicBezTo>
                    <a:pt x="197129" y="66399"/>
                    <a:pt x="193461" y="61537"/>
                    <a:pt x="188804" y="61537"/>
                  </a:cubicBezTo>
                  <a:cubicBezTo>
                    <a:pt x="185020" y="61537"/>
                    <a:pt x="181235" y="63167"/>
                    <a:pt x="177247" y="66486"/>
                  </a:cubicBezTo>
                  <a:lnTo>
                    <a:pt x="175413" y="68029"/>
                  </a:lnTo>
                  <a:lnTo>
                    <a:pt x="164468" y="68029"/>
                  </a:lnTo>
                  <a:lnTo>
                    <a:pt x="164468" y="13187"/>
                  </a:lnTo>
                  <a:lnTo>
                    <a:pt x="126743" y="13187"/>
                  </a:lnTo>
                  <a:cubicBezTo>
                    <a:pt x="128547" y="16913"/>
                    <a:pt x="129479" y="20697"/>
                    <a:pt x="129479" y="24452"/>
                  </a:cubicBezTo>
                  <a:cubicBezTo>
                    <a:pt x="129508" y="36474"/>
                    <a:pt x="119174" y="46313"/>
                    <a:pt x="105958" y="46866"/>
                  </a:cubicBezTo>
                  <a:lnTo>
                    <a:pt x="104940" y="46866"/>
                  </a:lnTo>
                  <a:cubicBezTo>
                    <a:pt x="91520" y="46575"/>
                    <a:pt x="81099" y="36794"/>
                    <a:pt x="81070" y="24597"/>
                  </a:cubicBezTo>
                  <a:cubicBezTo>
                    <a:pt x="81070" y="20813"/>
                    <a:pt x="82001" y="16971"/>
                    <a:pt x="83806" y="13216"/>
                  </a:cubicBezTo>
                  <a:lnTo>
                    <a:pt x="46313" y="13216"/>
                  </a:lnTo>
                  <a:lnTo>
                    <a:pt x="46313" y="68436"/>
                  </a:lnTo>
                  <a:lnTo>
                    <a:pt x="35310" y="68203"/>
                  </a:lnTo>
                  <a:lnTo>
                    <a:pt x="33505" y="66602"/>
                  </a:lnTo>
                  <a:cubicBezTo>
                    <a:pt x="30798" y="64215"/>
                    <a:pt x="26635" y="61334"/>
                    <a:pt x="22327" y="61334"/>
                  </a:cubicBezTo>
                  <a:cubicBezTo>
                    <a:pt x="22298" y="61334"/>
                    <a:pt x="22298" y="61334"/>
                    <a:pt x="22269" y="61334"/>
                  </a:cubicBezTo>
                  <a:cubicBezTo>
                    <a:pt x="17378" y="61363"/>
                    <a:pt x="13303" y="66282"/>
                    <a:pt x="13187" y="72279"/>
                  </a:cubicBezTo>
                  <a:lnTo>
                    <a:pt x="13187" y="72919"/>
                  </a:lnTo>
                  <a:cubicBezTo>
                    <a:pt x="13274" y="78625"/>
                    <a:pt x="17524" y="83544"/>
                    <a:pt x="22443" y="83544"/>
                  </a:cubicBezTo>
                  <a:cubicBezTo>
                    <a:pt x="25849" y="83544"/>
                    <a:pt x="29604" y="81739"/>
                    <a:pt x="33563" y="78159"/>
                  </a:cubicBezTo>
                  <a:lnTo>
                    <a:pt x="35310" y="76558"/>
                  </a:lnTo>
                  <a:lnTo>
                    <a:pt x="46313" y="76063"/>
                  </a:lnTo>
                  <a:lnTo>
                    <a:pt x="46313" y="131662"/>
                  </a:lnTo>
                  <a:lnTo>
                    <a:pt x="83399" y="131662"/>
                  </a:lnTo>
                  <a:cubicBezTo>
                    <a:pt x="81856" y="128227"/>
                    <a:pt x="81099" y="124705"/>
                    <a:pt x="81099" y="121241"/>
                  </a:cubicBezTo>
                  <a:cubicBezTo>
                    <a:pt x="81070" y="109102"/>
                    <a:pt x="91724" y="99059"/>
                    <a:pt x="104823" y="98885"/>
                  </a:cubicBezTo>
                  <a:lnTo>
                    <a:pt x="105667" y="98885"/>
                  </a:lnTo>
                  <a:cubicBezTo>
                    <a:pt x="118883" y="99147"/>
                    <a:pt x="129508" y="109160"/>
                    <a:pt x="129508" y="121241"/>
                  </a:cubicBezTo>
                  <a:cubicBezTo>
                    <a:pt x="129508" y="124734"/>
                    <a:pt x="128722" y="128227"/>
                    <a:pt x="127208" y="131662"/>
                  </a:cubicBezTo>
                  <a:close/>
                </a:path>
              </a:pathLst>
            </a:custGeom>
            <a:solidFill>
              <a:schemeClr val="accent1"/>
            </a:solidFill>
            <a:ln w="2908" cap="flat">
              <a:noFill/>
              <a:prstDash val="solid"/>
              <a:miter/>
            </a:ln>
          </p:spPr>
          <p:txBody>
            <a:bodyPr rtlCol="0" anchor="ctr"/>
            <a:lstStyle/>
            <a:p>
              <a:endParaRPr lang="en-GB" dirty="0"/>
            </a:p>
          </p:txBody>
        </p:sp>
      </p:grpSp>
      <p:grpSp>
        <p:nvGrpSpPr>
          <p:cNvPr id="256" name="Group 255">
            <a:extLst>
              <a:ext uri="{FF2B5EF4-FFF2-40B4-BE49-F238E27FC236}">
                <a16:creationId xmlns:a16="http://schemas.microsoft.com/office/drawing/2014/main" id="{94499A89-C3C2-43DB-A2A2-A23D745E0D9B}"/>
              </a:ext>
            </a:extLst>
          </p:cNvPr>
          <p:cNvGrpSpPr>
            <a:grpSpLocks noChangeAspect="1"/>
          </p:cNvGrpSpPr>
          <p:nvPr/>
        </p:nvGrpSpPr>
        <p:grpSpPr>
          <a:xfrm>
            <a:off x="578076" y="4002613"/>
            <a:ext cx="431949" cy="432000"/>
            <a:chOff x="1717222" y="2459668"/>
            <a:chExt cx="492502" cy="492560"/>
          </a:xfrm>
        </p:grpSpPr>
        <p:grpSp>
          <p:nvGrpSpPr>
            <p:cNvPr id="257" name="Group 256">
              <a:extLst>
                <a:ext uri="{FF2B5EF4-FFF2-40B4-BE49-F238E27FC236}">
                  <a16:creationId xmlns:a16="http://schemas.microsoft.com/office/drawing/2014/main" id="{94567A38-C2B8-4E6B-80B3-DF11067B37D0}"/>
                </a:ext>
              </a:extLst>
            </p:cNvPr>
            <p:cNvGrpSpPr/>
            <p:nvPr/>
          </p:nvGrpSpPr>
          <p:grpSpPr>
            <a:xfrm>
              <a:off x="1835348" y="2459668"/>
              <a:ext cx="256482" cy="492560"/>
              <a:chOff x="1835348" y="2459666"/>
              <a:chExt cx="256483" cy="492560"/>
            </a:xfrm>
          </p:grpSpPr>
          <p:sp>
            <p:nvSpPr>
              <p:cNvPr id="261" name="Freihandform: Form 184">
                <a:extLst>
                  <a:ext uri="{FF2B5EF4-FFF2-40B4-BE49-F238E27FC236}">
                    <a16:creationId xmlns:a16="http://schemas.microsoft.com/office/drawing/2014/main" id="{500F9DF3-F44E-4759-93F1-48ABF9CB240D}"/>
                  </a:ext>
                </a:extLst>
              </p:cNvPr>
              <p:cNvSpPr/>
              <p:nvPr/>
            </p:nvSpPr>
            <p:spPr>
              <a:xfrm>
                <a:off x="1835348" y="2459666"/>
                <a:ext cx="254882" cy="256250"/>
              </a:xfrm>
              <a:custGeom>
                <a:avLst/>
                <a:gdLst>
                  <a:gd name="connsiteX0" fmla="*/ 127441 w 254882"/>
                  <a:gd name="connsiteY0" fmla="*/ 256250 h 256250"/>
                  <a:gd name="connsiteX1" fmla="*/ 68378 w 254882"/>
                  <a:gd name="connsiteY1" fmla="*/ 196896 h 256250"/>
                  <a:gd name="connsiteX2" fmla="*/ 76325 w 254882"/>
                  <a:gd name="connsiteY2" fmla="*/ 189386 h 256250"/>
                  <a:gd name="connsiteX3" fmla="*/ 78712 w 254882"/>
                  <a:gd name="connsiteY3" fmla="*/ 189241 h 256250"/>
                  <a:gd name="connsiteX4" fmla="*/ 94693 w 254882"/>
                  <a:gd name="connsiteY4" fmla="*/ 183389 h 256250"/>
                  <a:gd name="connsiteX5" fmla="*/ 93150 w 254882"/>
                  <a:gd name="connsiteY5" fmla="*/ 162664 h 256250"/>
                  <a:gd name="connsiteX6" fmla="*/ 92655 w 254882"/>
                  <a:gd name="connsiteY6" fmla="*/ 162169 h 256250"/>
                  <a:gd name="connsiteX7" fmla="*/ 72337 w 254882"/>
                  <a:gd name="connsiteY7" fmla="*/ 160801 h 256250"/>
                  <a:gd name="connsiteX8" fmla="*/ 66515 w 254882"/>
                  <a:gd name="connsiteY8" fmla="*/ 176927 h 256250"/>
                  <a:gd name="connsiteX9" fmla="*/ 66369 w 254882"/>
                  <a:gd name="connsiteY9" fmla="*/ 179285 h 256250"/>
                  <a:gd name="connsiteX10" fmla="*/ 58917 w 254882"/>
                  <a:gd name="connsiteY10" fmla="*/ 187377 h 256250"/>
                  <a:gd name="connsiteX11" fmla="*/ 0 w 254882"/>
                  <a:gd name="connsiteY11" fmla="*/ 128140 h 256250"/>
                  <a:gd name="connsiteX12" fmla="*/ 46284 w 254882"/>
                  <a:gd name="connsiteY12" fmla="*/ 81623 h 256250"/>
                  <a:gd name="connsiteX13" fmla="*/ 32311 w 254882"/>
                  <a:gd name="connsiteY13" fmla="*/ 73734 h 256250"/>
                  <a:gd name="connsiteX14" fmla="*/ 33272 w 254882"/>
                  <a:gd name="connsiteY14" fmla="*/ 34786 h 256250"/>
                  <a:gd name="connsiteX15" fmla="*/ 34145 w 254882"/>
                  <a:gd name="connsiteY15" fmla="*/ 33883 h 256250"/>
                  <a:gd name="connsiteX16" fmla="*/ 73123 w 254882"/>
                  <a:gd name="connsiteY16" fmla="*/ 32282 h 256250"/>
                  <a:gd name="connsiteX17" fmla="*/ 81215 w 254882"/>
                  <a:gd name="connsiteY17" fmla="*/ 46488 h 256250"/>
                  <a:gd name="connsiteX18" fmla="*/ 127441 w 254882"/>
                  <a:gd name="connsiteY18" fmla="*/ 0 h 256250"/>
                  <a:gd name="connsiteX19" fmla="*/ 186300 w 254882"/>
                  <a:gd name="connsiteY19" fmla="*/ 59179 h 256250"/>
                  <a:gd name="connsiteX20" fmla="*/ 177509 w 254882"/>
                  <a:gd name="connsiteY20" fmla="*/ 67476 h 256250"/>
                  <a:gd name="connsiteX21" fmla="*/ 175122 w 254882"/>
                  <a:gd name="connsiteY21" fmla="*/ 67621 h 256250"/>
                  <a:gd name="connsiteX22" fmla="*/ 159141 w 254882"/>
                  <a:gd name="connsiteY22" fmla="*/ 73530 h 256250"/>
                  <a:gd name="connsiteX23" fmla="*/ 160742 w 254882"/>
                  <a:gd name="connsiteY23" fmla="*/ 94256 h 256250"/>
                  <a:gd name="connsiteX24" fmla="*/ 161208 w 254882"/>
                  <a:gd name="connsiteY24" fmla="*/ 94693 h 256250"/>
                  <a:gd name="connsiteX25" fmla="*/ 181585 w 254882"/>
                  <a:gd name="connsiteY25" fmla="*/ 96061 h 256250"/>
                  <a:gd name="connsiteX26" fmla="*/ 187377 w 254882"/>
                  <a:gd name="connsiteY26" fmla="*/ 79935 h 256250"/>
                  <a:gd name="connsiteX27" fmla="*/ 187494 w 254882"/>
                  <a:gd name="connsiteY27" fmla="*/ 77548 h 256250"/>
                  <a:gd name="connsiteX28" fmla="*/ 195761 w 254882"/>
                  <a:gd name="connsiteY28" fmla="*/ 68669 h 256250"/>
                  <a:gd name="connsiteX29" fmla="*/ 254882 w 254882"/>
                  <a:gd name="connsiteY29" fmla="*/ 128140 h 256250"/>
                  <a:gd name="connsiteX30" fmla="*/ 208569 w 254882"/>
                  <a:gd name="connsiteY30" fmla="*/ 174715 h 256250"/>
                  <a:gd name="connsiteX31" fmla="*/ 222978 w 254882"/>
                  <a:gd name="connsiteY31" fmla="*/ 183360 h 256250"/>
                  <a:gd name="connsiteX32" fmla="*/ 220562 w 254882"/>
                  <a:gd name="connsiteY32" fmla="*/ 222251 h 256250"/>
                  <a:gd name="connsiteX33" fmla="*/ 219660 w 254882"/>
                  <a:gd name="connsiteY33" fmla="*/ 223124 h 256250"/>
                  <a:gd name="connsiteX34" fmla="*/ 180653 w 254882"/>
                  <a:gd name="connsiteY34" fmla="*/ 223211 h 256250"/>
                  <a:gd name="connsiteX35" fmla="*/ 173492 w 254882"/>
                  <a:gd name="connsiteY35" fmla="*/ 210025 h 256250"/>
                  <a:gd name="connsiteX36" fmla="*/ 127441 w 254882"/>
                  <a:gd name="connsiteY36" fmla="*/ 256250 h 256250"/>
                  <a:gd name="connsiteX37" fmla="*/ 90559 w 254882"/>
                  <a:gd name="connsiteY37" fmla="*/ 200535 h 256250"/>
                  <a:gd name="connsiteX38" fmla="*/ 127412 w 254882"/>
                  <a:gd name="connsiteY38" fmla="*/ 237620 h 256250"/>
                  <a:gd name="connsiteX39" fmla="*/ 177509 w 254882"/>
                  <a:gd name="connsiteY39" fmla="*/ 187232 h 256250"/>
                  <a:gd name="connsiteX40" fmla="*/ 184816 w 254882"/>
                  <a:gd name="connsiteY40" fmla="*/ 195528 h 256250"/>
                  <a:gd name="connsiteX41" fmla="*/ 184874 w 254882"/>
                  <a:gd name="connsiteY41" fmla="*/ 197915 h 256250"/>
                  <a:gd name="connsiteX42" fmla="*/ 190172 w 254882"/>
                  <a:gd name="connsiteY42" fmla="*/ 214216 h 256250"/>
                  <a:gd name="connsiteX43" fmla="*/ 210723 w 254882"/>
                  <a:gd name="connsiteY43" fmla="*/ 213343 h 256250"/>
                  <a:gd name="connsiteX44" fmla="*/ 211131 w 254882"/>
                  <a:gd name="connsiteY44" fmla="*/ 212936 h 256250"/>
                  <a:gd name="connsiteX45" fmla="*/ 213256 w 254882"/>
                  <a:gd name="connsiteY45" fmla="*/ 192326 h 256250"/>
                  <a:gd name="connsiteX46" fmla="*/ 197449 w 254882"/>
                  <a:gd name="connsiteY46" fmla="*/ 185980 h 256250"/>
                  <a:gd name="connsiteX47" fmla="*/ 195062 w 254882"/>
                  <a:gd name="connsiteY47" fmla="*/ 185747 h 256250"/>
                  <a:gd name="connsiteX48" fmla="*/ 186999 w 254882"/>
                  <a:gd name="connsiteY48" fmla="*/ 177626 h 256250"/>
                  <a:gd name="connsiteX49" fmla="*/ 236223 w 254882"/>
                  <a:gd name="connsiteY49" fmla="*/ 128111 h 256250"/>
                  <a:gd name="connsiteX50" fmla="*/ 198905 w 254882"/>
                  <a:gd name="connsiteY50" fmla="*/ 90589 h 256250"/>
                  <a:gd name="connsiteX51" fmla="*/ 190841 w 254882"/>
                  <a:gd name="connsiteY51" fmla="*/ 105318 h 256250"/>
                  <a:gd name="connsiteX52" fmla="*/ 152010 w 254882"/>
                  <a:gd name="connsiteY52" fmla="*/ 104212 h 256250"/>
                  <a:gd name="connsiteX53" fmla="*/ 151194 w 254882"/>
                  <a:gd name="connsiteY53" fmla="*/ 103426 h 256250"/>
                  <a:gd name="connsiteX54" fmla="*/ 149681 w 254882"/>
                  <a:gd name="connsiteY54" fmla="*/ 64274 h 256250"/>
                  <a:gd name="connsiteX55" fmla="*/ 164497 w 254882"/>
                  <a:gd name="connsiteY55" fmla="*/ 56007 h 256250"/>
                  <a:gd name="connsiteX56" fmla="*/ 127354 w 254882"/>
                  <a:gd name="connsiteY56" fmla="*/ 18659 h 256250"/>
                  <a:gd name="connsiteX57" fmla="*/ 77809 w 254882"/>
                  <a:gd name="connsiteY57" fmla="*/ 68495 h 256250"/>
                  <a:gd name="connsiteX58" fmla="*/ 69863 w 254882"/>
                  <a:gd name="connsiteY58" fmla="*/ 60082 h 256250"/>
                  <a:gd name="connsiteX59" fmla="*/ 69717 w 254882"/>
                  <a:gd name="connsiteY59" fmla="*/ 57695 h 256250"/>
                  <a:gd name="connsiteX60" fmla="*/ 63779 w 254882"/>
                  <a:gd name="connsiteY60" fmla="*/ 41597 h 256250"/>
                  <a:gd name="connsiteX61" fmla="*/ 43257 w 254882"/>
                  <a:gd name="connsiteY61" fmla="*/ 43286 h 256250"/>
                  <a:gd name="connsiteX62" fmla="*/ 42733 w 254882"/>
                  <a:gd name="connsiteY62" fmla="*/ 43810 h 256250"/>
                  <a:gd name="connsiteX63" fmla="*/ 41510 w 254882"/>
                  <a:gd name="connsiteY63" fmla="*/ 64361 h 256250"/>
                  <a:gd name="connsiteX64" fmla="*/ 57549 w 254882"/>
                  <a:gd name="connsiteY64" fmla="*/ 70125 h 256250"/>
                  <a:gd name="connsiteX65" fmla="*/ 59936 w 254882"/>
                  <a:gd name="connsiteY65" fmla="*/ 70241 h 256250"/>
                  <a:gd name="connsiteX66" fmla="*/ 68349 w 254882"/>
                  <a:gd name="connsiteY66" fmla="*/ 78013 h 256250"/>
                  <a:gd name="connsiteX67" fmla="*/ 18514 w 254882"/>
                  <a:gd name="connsiteY67" fmla="*/ 128111 h 256250"/>
                  <a:gd name="connsiteX68" fmla="*/ 55162 w 254882"/>
                  <a:gd name="connsiteY68" fmla="*/ 164963 h 256250"/>
                  <a:gd name="connsiteX69" fmla="*/ 62935 w 254882"/>
                  <a:gd name="connsiteY69" fmla="*/ 151486 h 256250"/>
                  <a:gd name="connsiteX70" fmla="*/ 81215 w 254882"/>
                  <a:gd name="connsiteY70" fmla="*/ 144092 h 256250"/>
                  <a:gd name="connsiteX71" fmla="*/ 101941 w 254882"/>
                  <a:gd name="connsiteY71" fmla="*/ 152854 h 256250"/>
                  <a:gd name="connsiteX72" fmla="*/ 102640 w 254882"/>
                  <a:gd name="connsiteY72" fmla="*/ 153552 h 256250"/>
                  <a:gd name="connsiteX73" fmla="*/ 104008 w 254882"/>
                  <a:gd name="connsiteY73" fmla="*/ 192675 h 256250"/>
                  <a:gd name="connsiteX74" fmla="*/ 90559 w 254882"/>
                  <a:gd name="connsiteY74" fmla="*/ 200535 h 2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54882" h="256250">
                    <a:moveTo>
                      <a:pt x="127441" y="256250"/>
                    </a:moveTo>
                    <a:lnTo>
                      <a:pt x="68378" y="196896"/>
                    </a:lnTo>
                    <a:lnTo>
                      <a:pt x="76325" y="189386"/>
                    </a:lnTo>
                    <a:lnTo>
                      <a:pt x="78712" y="189241"/>
                    </a:lnTo>
                    <a:cubicBezTo>
                      <a:pt x="85873" y="188833"/>
                      <a:pt x="91229" y="186854"/>
                      <a:pt x="94693" y="183389"/>
                    </a:cubicBezTo>
                    <a:cubicBezTo>
                      <a:pt x="99787" y="178266"/>
                      <a:pt x="99118" y="169155"/>
                      <a:pt x="93150" y="162664"/>
                    </a:cubicBezTo>
                    <a:lnTo>
                      <a:pt x="92655" y="162169"/>
                    </a:lnTo>
                    <a:cubicBezTo>
                      <a:pt x="86979" y="156434"/>
                      <a:pt x="77256" y="155852"/>
                      <a:pt x="72337" y="160801"/>
                    </a:cubicBezTo>
                    <a:cubicBezTo>
                      <a:pt x="68029" y="165138"/>
                      <a:pt x="66777" y="171950"/>
                      <a:pt x="66515" y="176927"/>
                    </a:cubicBezTo>
                    <a:lnTo>
                      <a:pt x="66369" y="179285"/>
                    </a:lnTo>
                    <a:lnTo>
                      <a:pt x="58917" y="187377"/>
                    </a:lnTo>
                    <a:lnTo>
                      <a:pt x="0" y="128140"/>
                    </a:lnTo>
                    <a:lnTo>
                      <a:pt x="46284" y="81623"/>
                    </a:lnTo>
                    <a:cubicBezTo>
                      <a:pt x="40695" y="80051"/>
                      <a:pt x="36008" y="77402"/>
                      <a:pt x="32311" y="73734"/>
                    </a:cubicBezTo>
                    <a:cubicBezTo>
                      <a:pt x="22152" y="63662"/>
                      <a:pt x="22589" y="46546"/>
                      <a:pt x="33272" y="34786"/>
                    </a:cubicBezTo>
                    <a:lnTo>
                      <a:pt x="34145" y="33883"/>
                    </a:lnTo>
                    <a:cubicBezTo>
                      <a:pt x="45847" y="22822"/>
                      <a:pt x="62905" y="22181"/>
                      <a:pt x="73123" y="32282"/>
                    </a:cubicBezTo>
                    <a:cubicBezTo>
                      <a:pt x="76878" y="36008"/>
                      <a:pt x="79585" y="40782"/>
                      <a:pt x="81215" y="46488"/>
                    </a:cubicBezTo>
                    <a:lnTo>
                      <a:pt x="127441" y="0"/>
                    </a:lnTo>
                    <a:lnTo>
                      <a:pt x="186300" y="59179"/>
                    </a:lnTo>
                    <a:lnTo>
                      <a:pt x="177509" y="67476"/>
                    </a:lnTo>
                    <a:lnTo>
                      <a:pt x="175122" y="67621"/>
                    </a:lnTo>
                    <a:cubicBezTo>
                      <a:pt x="170203" y="67912"/>
                      <a:pt x="163449" y="69193"/>
                      <a:pt x="159141" y="73530"/>
                    </a:cubicBezTo>
                    <a:cubicBezTo>
                      <a:pt x="154047" y="78683"/>
                      <a:pt x="154746" y="87794"/>
                      <a:pt x="160742" y="94256"/>
                    </a:cubicBezTo>
                    <a:lnTo>
                      <a:pt x="161208" y="94693"/>
                    </a:lnTo>
                    <a:cubicBezTo>
                      <a:pt x="167496" y="100515"/>
                      <a:pt x="176491" y="101184"/>
                      <a:pt x="181585" y="96061"/>
                    </a:cubicBezTo>
                    <a:cubicBezTo>
                      <a:pt x="185893" y="91695"/>
                      <a:pt x="187115" y="84883"/>
                      <a:pt x="187377" y="79935"/>
                    </a:cubicBezTo>
                    <a:lnTo>
                      <a:pt x="187494" y="77548"/>
                    </a:lnTo>
                    <a:lnTo>
                      <a:pt x="195761" y="68669"/>
                    </a:lnTo>
                    <a:lnTo>
                      <a:pt x="254882" y="128140"/>
                    </a:lnTo>
                    <a:lnTo>
                      <a:pt x="208569" y="174715"/>
                    </a:lnTo>
                    <a:cubicBezTo>
                      <a:pt x="214420" y="176491"/>
                      <a:pt x="219252" y="179372"/>
                      <a:pt x="222978" y="183360"/>
                    </a:cubicBezTo>
                    <a:cubicBezTo>
                      <a:pt x="232730" y="193840"/>
                      <a:pt x="231653" y="210898"/>
                      <a:pt x="220562" y="222251"/>
                    </a:cubicBezTo>
                    <a:lnTo>
                      <a:pt x="219660" y="223124"/>
                    </a:lnTo>
                    <a:cubicBezTo>
                      <a:pt x="207521" y="233749"/>
                      <a:pt x="190463" y="233720"/>
                      <a:pt x="180653" y="223211"/>
                    </a:cubicBezTo>
                    <a:cubicBezTo>
                      <a:pt x="177364" y="219718"/>
                      <a:pt x="174948" y="215235"/>
                      <a:pt x="173492" y="210025"/>
                    </a:cubicBezTo>
                    <a:lnTo>
                      <a:pt x="127441" y="256250"/>
                    </a:lnTo>
                    <a:close/>
                    <a:moveTo>
                      <a:pt x="90559" y="200535"/>
                    </a:moveTo>
                    <a:lnTo>
                      <a:pt x="127412" y="237620"/>
                    </a:lnTo>
                    <a:lnTo>
                      <a:pt x="177509" y="187232"/>
                    </a:lnTo>
                    <a:lnTo>
                      <a:pt x="184816" y="195528"/>
                    </a:lnTo>
                    <a:lnTo>
                      <a:pt x="184874" y="197915"/>
                    </a:lnTo>
                    <a:cubicBezTo>
                      <a:pt x="184990" y="202893"/>
                      <a:pt x="186009" y="209734"/>
                      <a:pt x="190172" y="214216"/>
                    </a:cubicBezTo>
                    <a:cubicBezTo>
                      <a:pt x="195091" y="219514"/>
                      <a:pt x="204145" y="219107"/>
                      <a:pt x="210723" y="213343"/>
                    </a:cubicBezTo>
                    <a:lnTo>
                      <a:pt x="211131" y="212936"/>
                    </a:lnTo>
                    <a:cubicBezTo>
                      <a:pt x="217215" y="206648"/>
                      <a:pt x="218146" y="197624"/>
                      <a:pt x="213256" y="192326"/>
                    </a:cubicBezTo>
                    <a:cubicBezTo>
                      <a:pt x="209908" y="188746"/>
                      <a:pt x="204610" y="186621"/>
                      <a:pt x="197449" y="185980"/>
                    </a:cubicBezTo>
                    <a:lnTo>
                      <a:pt x="195062" y="185747"/>
                    </a:lnTo>
                    <a:lnTo>
                      <a:pt x="186999" y="177626"/>
                    </a:lnTo>
                    <a:lnTo>
                      <a:pt x="236223" y="128111"/>
                    </a:lnTo>
                    <a:lnTo>
                      <a:pt x="198905" y="90589"/>
                    </a:lnTo>
                    <a:cubicBezTo>
                      <a:pt x="197333" y="96527"/>
                      <a:pt x="194597" y="101505"/>
                      <a:pt x="190841" y="105318"/>
                    </a:cubicBezTo>
                    <a:cubicBezTo>
                      <a:pt x="180741" y="115535"/>
                      <a:pt x="163682" y="115040"/>
                      <a:pt x="152010" y="104212"/>
                    </a:cubicBezTo>
                    <a:lnTo>
                      <a:pt x="151194" y="103426"/>
                    </a:lnTo>
                    <a:cubicBezTo>
                      <a:pt x="140191" y="91549"/>
                      <a:pt x="139609" y="74462"/>
                      <a:pt x="149681" y="64274"/>
                    </a:cubicBezTo>
                    <a:cubicBezTo>
                      <a:pt x="153552" y="60373"/>
                      <a:pt x="158501" y="57608"/>
                      <a:pt x="164497" y="56007"/>
                    </a:cubicBezTo>
                    <a:lnTo>
                      <a:pt x="127354" y="18659"/>
                    </a:lnTo>
                    <a:lnTo>
                      <a:pt x="77809" y="68495"/>
                    </a:lnTo>
                    <a:lnTo>
                      <a:pt x="69863" y="60082"/>
                    </a:lnTo>
                    <a:lnTo>
                      <a:pt x="69717" y="57695"/>
                    </a:lnTo>
                    <a:cubicBezTo>
                      <a:pt x="69397" y="52717"/>
                      <a:pt x="68116" y="45906"/>
                      <a:pt x="63779" y="41597"/>
                    </a:cubicBezTo>
                    <a:cubicBezTo>
                      <a:pt x="58656" y="36532"/>
                      <a:pt x="49661" y="37260"/>
                      <a:pt x="43257" y="43286"/>
                    </a:cubicBezTo>
                    <a:lnTo>
                      <a:pt x="42733" y="43810"/>
                    </a:lnTo>
                    <a:cubicBezTo>
                      <a:pt x="36998" y="50126"/>
                      <a:pt x="36387" y="59238"/>
                      <a:pt x="41510" y="64361"/>
                    </a:cubicBezTo>
                    <a:cubicBezTo>
                      <a:pt x="45847" y="68669"/>
                      <a:pt x="52630" y="69863"/>
                      <a:pt x="57549" y="70125"/>
                    </a:cubicBezTo>
                    <a:lnTo>
                      <a:pt x="59936" y="70241"/>
                    </a:lnTo>
                    <a:lnTo>
                      <a:pt x="68349" y="78013"/>
                    </a:lnTo>
                    <a:lnTo>
                      <a:pt x="18514" y="128111"/>
                    </a:lnTo>
                    <a:lnTo>
                      <a:pt x="55162" y="164963"/>
                    </a:lnTo>
                    <a:cubicBezTo>
                      <a:pt x="56763" y="159578"/>
                      <a:pt x="59383" y="155066"/>
                      <a:pt x="62935" y="151486"/>
                    </a:cubicBezTo>
                    <a:cubicBezTo>
                      <a:pt x="67679" y="146712"/>
                      <a:pt x="74171" y="144092"/>
                      <a:pt x="81215" y="144092"/>
                    </a:cubicBezTo>
                    <a:cubicBezTo>
                      <a:pt x="88842" y="144092"/>
                      <a:pt x="96410" y="147294"/>
                      <a:pt x="101941" y="152854"/>
                    </a:cubicBezTo>
                    <a:lnTo>
                      <a:pt x="102640" y="153552"/>
                    </a:lnTo>
                    <a:cubicBezTo>
                      <a:pt x="113585" y="165429"/>
                      <a:pt x="114109" y="182516"/>
                      <a:pt x="104008" y="192675"/>
                    </a:cubicBezTo>
                    <a:cubicBezTo>
                      <a:pt x="100457" y="196285"/>
                      <a:pt x="95945" y="198905"/>
                      <a:pt x="90559" y="200535"/>
                    </a:cubicBezTo>
                    <a:close/>
                  </a:path>
                </a:pathLst>
              </a:custGeom>
              <a:solidFill>
                <a:schemeClr val="accent1"/>
              </a:solidFill>
              <a:ln w="2908" cap="flat">
                <a:noFill/>
                <a:prstDash val="solid"/>
                <a:miter/>
              </a:ln>
            </p:spPr>
            <p:txBody>
              <a:bodyPr rtlCol="0" anchor="ctr"/>
              <a:lstStyle/>
              <a:p>
                <a:endParaRPr lang="en-GB" dirty="0"/>
              </a:p>
            </p:txBody>
          </p:sp>
          <p:sp>
            <p:nvSpPr>
              <p:cNvPr id="262" name="Freihandform: Form 185">
                <a:extLst>
                  <a:ext uri="{FF2B5EF4-FFF2-40B4-BE49-F238E27FC236}">
                    <a16:creationId xmlns:a16="http://schemas.microsoft.com/office/drawing/2014/main" id="{60BD8EBA-4989-4EC2-9C5C-670ACBECAB49}"/>
                  </a:ext>
                </a:extLst>
              </p:cNvPr>
              <p:cNvSpPr/>
              <p:nvPr/>
            </p:nvSpPr>
            <p:spPr>
              <a:xfrm>
                <a:off x="1836949" y="2695976"/>
                <a:ext cx="254882" cy="256250"/>
              </a:xfrm>
              <a:custGeom>
                <a:avLst/>
                <a:gdLst>
                  <a:gd name="connsiteX0" fmla="*/ 127412 w 254882"/>
                  <a:gd name="connsiteY0" fmla="*/ 256250 h 256250"/>
                  <a:gd name="connsiteX1" fmla="*/ 68378 w 254882"/>
                  <a:gd name="connsiteY1" fmla="*/ 196896 h 256250"/>
                  <a:gd name="connsiteX2" fmla="*/ 76296 w 254882"/>
                  <a:gd name="connsiteY2" fmla="*/ 189386 h 256250"/>
                  <a:gd name="connsiteX3" fmla="*/ 78712 w 254882"/>
                  <a:gd name="connsiteY3" fmla="*/ 189241 h 256250"/>
                  <a:gd name="connsiteX4" fmla="*/ 94693 w 254882"/>
                  <a:gd name="connsiteY4" fmla="*/ 183389 h 256250"/>
                  <a:gd name="connsiteX5" fmla="*/ 93150 w 254882"/>
                  <a:gd name="connsiteY5" fmla="*/ 162664 h 256250"/>
                  <a:gd name="connsiteX6" fmla="*/ 92655 w 254882"/>
                  <a:gd name="connsiteY6" fmla="*/ 162169 h 256250"/>
                  <a:gd name="connsiteX7" fmla="*/ 72337 w 254882"/>
                  <a:gd name="connsiteY7" fmla="*/ 160801 h 256250"/>
                  <a:gd name="connsiteX8" fmla="*/ 66515 w 254882"/>
                  <a:gd name="connsiteY8" fmla="*/ 176927 h 256250"/>
                  <a:gd name="connsiteX9" fmla="*/ 66369 w 254882"/>
                  <a:gd name="connsiteY9" fmla="*/ 179285 h 256250"/>
                  <a:gd name="connsiteX10" fmla="*/ 58917 w 254882"/>
                  <a:gd name="connsiteY10" fmla="*/ 187377 h 256250"/>
                  <a:gd name="connsiteX11" fmla="*/ 0 w 254882"/>
                  <a:gd name="connsiteY11" fmla="*/ 128140 h 256250"/>
                  <a:gd name="connsiteX12" fmla="*/ 46284 w 254882"/>
                  <a:gd name="connsiteY12" fmla="*/ 81623 h 256250"/>
                  <a:gd name="connsiteX13" fmla="*/ 32311 w 254882"/>
                  <a:gd name="connsiteY13" fmla="*/ 73734 h 256250"/>
                  <a:gd name="connsiteX14" fmla="*/ 33272 w 254882"/>
                  <a:gd name="connsiteY14" fmla="*/ 34786 h 256250"/>
                  <a:gd name="connsiteX15" fmla="*/ 34145 w 254882"/>
                  <a:gd name="connsiteY15" fmla="*/ 33883 h 256250"/>
                  <a:gd name="connsiteX16" fmla="*/ 73123 w 254882"/>
                  <a:gd name="connsiteY16" fmla="*/ 32282 h 256250"/>
                  <a:gd name="connsiteX17" fmla="*/ 81215 w 254882"/>
                  <a:gd name="connsiteY17" fmla="*/ 46488 h 256250"/>
                  <a:gd name="connsiteX18" fmla="*/ 127441 w 254882"/>
                  <a:gd name="connsiteY18" fmla="*/ 0 h 256250"/>
                  <a:gd name="connsiteX19" fmla="*/ 186300 w 254882"/>
                  <a:gd name="connsiteY19" fmla="*/ 59180 h 256250"/>
                  <a:gd name="connsiteX20" fmla="*/ 177509 w 254882"/>
                  <a:gd name="connsiteY20" fmla="*/ 67505 h 256250"/>
                  <a:gd name="connsiteX21" fmla="*/ 175122 w 254882"/>
                  <a:gd name="connsiteY21" fmla="*/ 67650 h 256250"/>
                  <a:gd name="connsiteX22" fmla="*/ 159141 w 254882"/>
                  <a:gd name="connsiteY22" fmla="*/ 73560 h 256250"/>
                  <a:gd name="connsiteX23" fmla="*/ 160742 w 254882"/>
                  <a:gd name="connsiteY23" fmla="*/ 94286 h 256250"/>
                  <a:gd name="connsiteX24" fmla="*/ 161208 w 254882"/>
                  <a:gd name="connsiteY24" fmla="*/ 94722 h 256250"/>
                  <a:gd name="connsiteX25" fmla="*/ 181585 w 254882"/>
                  <a:gd name="connsiteY25" fmla="*/ 96090 h 256250"/>
                  <a:gd name="connsiteX26" fmla="*/ 187377 w 254882"/>
                  <a:gd name="connsiteY26" fmla="*/ 79964 h 256250"/>
                  <a:gd name="connsiteX27" fmla="*/ 187494 w 254882"/>
                  <a:gd name="connsiteY27" fmla="*/ 77577 h 256250"/>
                  <a:gd name="connsiteX28" fmla="*/ 195761 w 254882"/>
                  <a:gd name="connsiteY28" fmla="*/ 68698 h 256250"/>
                  <a:gd name="connsiteX29" fmla="*/ 254882 w 254882"/>
                  <a:gd name="connsiteY29" fmla="*/ 128169 h 256250"/>
                  <a:gd name="connsiteX30" fmla="*/ 208569 w 254882"/>
                  <a:gd name="connsiteY30" fmla="*/ 174744 h 256250"/>
                  <a:gd name="connsiteX31" fmla="*/ 222978 w 254882"/>
                  <a:gd name="connsiteY31" fmla="*/ 183389 h 256250"/>
                  <a:gd name="connsiteX32" fmla="*/ 220562 w 254882"/>
                  <a:gd name="connsiteY32" fmla="*/ 222280 h 256250"/>
                  <a:gd name="connsiteX33" fmla="*/ 219660 w 254882"/>
                  <a:gd name="connsiteY33" fmla="*/ 223153 h 256250"/>
                  <a:gd name="connsiteX34" fmla="*/ 180653 w 254882"/>
                  <a:gd name="connsiteY34" fmla="*/ 223240 h 256250"/>
                  <a:gd name="connsiteX35" fmla="*/ 173492 w 254882"/>
                  <a:gd name="connsiteY35" fmla="*/ 210054 h 256250"/>
                  <a:gd name="connsiteX36" fmla="*/ 127412 w 254882"/>
                  <a:gd name="connsiteY36" fmla="*/ 256250 h 256250"/>
                  <a:gd name="connsiteX37" fmla="*/ 90560 w 254882"/>
                  <a:gd name="connsiteY37" fmla="*/ 200535 h 256250"/>
                  <a:gd name="connsiteX38" fmla="*/ 127441 w 254882"/>
                  <a:gd name="connsiteY38" fmla="*/ 237620 h 256250"/>
                  <a:gd name="connsiteX39" fmla="*/ 177538 w 254882"/>
                  <a:gd name="connsiteY39" fmla="*/ 187232 h 256250"/>
                  <a:gd name="connsiteX40" fmla="*/ 184845 w 254882"/>
                  <a:gd name="connsiteY40" fmla="*/ 195528 h 256250"/>
                  <a:gd name="connsiteX41" fmla="*/ 184903 w 254882"/>
                  <a:gd name="connsiteY41" fmla="*/ 197915 h 256250"/>
                  <a:gd name="connsiteX42" fmla="*/ 190201 w 254882"/>
                  <a:gd name="connsiteY42" fmla="*/ 214187 h 256250"/>
                  <a:gd name="connsiteX43" fmla="*/ 210752 w 254882"/>
                  <a:gd name="connsiteY43" fmla="*/ 213314 h 256250"/>
                  <a:gd name="connsiteX44" fmla="*/ 211160 w 254882"/>
                  <a:gd name="connsiteY44" fmla="*/ 212907 h 256250"/>
                  <a:gd name="connsiteX45" fmla="*/ 213285 w 254882"/>
                  <a:gd name="connsiteY45" fmla="*/ 192297 h 256250"/>
                  <a:gd name="connsiteX46" fmla="*/ 197478 w 254882"/>
                  <a:gd name="connsiteY46" fmla="*/ 185922 h 256250"/>
                  <a:gd name="connsiteX47" fmla="*/ 195091 w 254882"/>
                  <a:gd name="connsiteY47" fmla="*/ 185689 h 256250"/>
                  <a:gd name="connsiteX48" fmla="*/ 187028 w 254882"/>
                  <a:gd name="connsiteY48" fmla="*/ 177568 h 256250"/>
                  <a:gd name="connsiteX49" fmla="*/ 236252 w 254882"/>
                  <a:gd name="connsiteY49" fmla="*/ 128052 h 256250"/>
                  <a:gd name="connsiteX50" fmla="*/ 198934 w 254882"/>
                  <a:gd name="connsiteY50" fmla="*/ 90530 h 256250"/>
                  <a:gd name="connsiteX51" fmla="*/ 190871 w 254882"/>
                  <a:gd name="connsiteY51" fmla="*/ 105260 h 256250"/>
                  <a:gd name="connsiteX52" fmla="*/ 152039 w 254882"/>
                  <a:gd name="connsiteY52" fmla="*/ 104154 h 256250"/>
                  <a:gd name="connsiteX53" fmla="*/ 151224 w 254882"/>
                  <a:gd name="connsiteY53" fmla="*/ 103368 h 256250"/>
                  <a:gd name="connsiteX54" fmla="*/ 149681 w 254882"/>
                  <a:gd name="connsiteY54" fmla="*/ 64215 h 256250"/>
                  <a:gd name="connsiteX55" fmla="*/ 164497 w 254882"/>
                  <a:gd name="connsiteY55" fmla="*/ 55948 h 256250"/>
                  <a:gd name="connsiteX56" fmla="*/ 127354 w 254882"/>
                  <a:gd name="connsiteY56" fmla="*/ 18601 h 256250"/>
                  <a:gd name="connsiteX57" fmla="*/ 77810 w 254882"/>
                  <a:gd name="connsiteY57" fmla="*/ 68436 h 256250"/>
                  <a:gd name="connsiteX58" fmla="*/ 69863 w 254882"/>
                  <a:gd name="connsiteY58" fmla="*/ 60024 h 256250"/>
                  <a:gd name="connsiteX59" fmla="*/ 69717 w 254882"/>
                  <a:gd name="connsiteY59" fmla="*/ 57637 h 256250"/>
                  <a:gd name="connsiteX60" fmla="*/ 63779 w 254882"/>
                  <a:gd name="connsiteY60" fmla="*/ 41539 h 256250"/>
                  <a:gd name="connsiteX61" fmla="*/ 43257 w 254882"/>
                  <a:gd name="connsiteY61" fmla="*/ 43228 h 256250"/>
                  <a:gd name="connsiteX62" fmla="*/ 42733 w 254882"/>
                  <a:gd name="connsiteY62" fmla="*/ 43751 h 256250"/>
                  <a:gd name="connsiteX63" fmla="*/ 41510 w 254882"/>
                  <a:gd name="connsiteY63" fmla="*/ 64303 h 256250"/>
                  <a:gd name="connsiteX64" fmla="*/ 57520 w 254882"/>
                  <a:gd name="connsiteY64" fmla="*/ 70066 h 256250"/>
                  <a:gd name="connsiteX65" fmla="*/ 59907 w 254882"/>
                  <a:gd name="connsiteY65" fmla="*/ 70183 h 256250"/>
                  <a:gd name="connsiteX66" fmla="*/ 68320 w 254882"/>
                  <a:gd name="connsiteY66" fmla="*/ 77955 h 256250"/>
                  <a:gd name="connsiteX67" fmla="*/ 18485 w 254882"/>
                  <a:gd name="connsiteY67" fmla="*/ 128052 h 256250"/>
                  <a:gd name="connsiteX68" fmla="*/ 55133 w 254882"/>
                  <a:gd name="connsiteY68" fmla="*/ 164905 h 256250"/>
                  <a:gd name="connsiteX69" fmla="*/ 62906 w 254882"/>
                  <a:gd name="connsiteY69" fmla="*/ 151427 h 256250"/>
                  <a:gd name="connsiteX70" fmla="*/ 81186 w 254882"/>
                  <a:gd name="connsiteY70" fmla="*/ 144034 h 256250"/>
                  <a:gd name="connsiteX71" fmla="*/ 101912 w 254882"/>
                  <a:gd name="connsiteY71" fmla="*/ 152795 h 256250"/>
                  <a:gd name="connsiteX72" fmla="*/ 102611 w 254882"/>
                  <a:gd name="connsiteY72" fmla="*/ 153494 h 256250"/>
                  <a:gd name="connsiteX73" fmla="*/ 103979 w 254882"/>
                  <a:gd name="connsiteY73" fmla="*/ 192617 h 256250"/>
                  <a:gd name="connsiteX74" fmla="*/ 90560 w 254882"/>
                  <a:gd name="connsiteY74" fmla="*/ 200535 h 25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54882" h="256250">
                    <a:moveTo>
                      <a:pt x="127412" y="256250"/>
                    </a:moveTo>
                    <a:lnTo>
                      <a:pt x="68378" y="196896"/>
                    </a:lnTo>
                    <a:lnTo>
                      <a:pt x="76296" y="189386"/>
                    </a:lnTo>
                    <a:lnTo>
                      <a:pt x="78712" y="189241"/>
                    </a:lnTo>
                    <a:cubicBezTo>
                      <a:pt x="85873" y="188833"/>
                      <a:pt x="91229" y="186854"/>
                      <a:pt x="94693" y="183389"/>
                    </a:cubicBezTo>
                    <a:cubicBezTo>
                      <a:pt x="99787" y="178266"/>
                      <a:pt x="99118" y="169155"/>
                      <a:pt x="93150" y="162664"/>
                    </a:cubicBezTo>
                    <a:lnTo>
                      <a:pt x="92655" y="162169"/>
                    </a:lnTo>
                    <a:cubicBezTo>
                      <a:pt x="86979" y="156434"/>
                      <a:pt x="77256" y="155852"/>
                      <a:pt x="72337" y="160801"/>
                    </a:cubicBezTo>
                    <a:cubicBezTo>
                      <a:pt x="68029" y="165138"/>
                      <a:pt x="66777" y="171950"/>
                      <a:pt x="66515" y="176927"/>
                    </a:cubicBezTo>
                    <a:lnTo>
                      <a:pt x="66369" y="179285"/>
                    </a:lnTo>
                    <a:lnTo>
                      <a:pt x="58917" y="187377"/>
                    </a:lnTo>
                    <a:lnTo>
                      <a:pt x="0" y="128140"/>
                    </a:lnTo>
                    <a:lnTo>
                      <a:pt x="46284" y="81623"/>
                    </a:lnTo>
                    <a:cubicBezTo>
                      <a:pt x="40695" y="80051"/>
                      <a:pt x="36008" y="77402"/>
                      <a:pt x="32311" y="73734"/>
                    </a:cubicBezTo>
                    <a:cubicBezTo>
                      <a:pt x="22152" y="63633"/>
                      <a:pt x="22589" y="46546"/>
                      <a:pt x="33272" y="34786"/>
                    </a:cubicBezTo>
                    <a:lnTo>
                      <a:pt x="34145" y="33883"/>
                    </a:lnTo>
                    <a:cubicBezTo>
                      <a:pt x="45877" y="22793"/>
                      <a:pt x="62906" y="22181"/>
                      <a:pt x="73123" y="32282"/>
                    </a:cubicBezTo>
                    <a:cubicBezTo>
                      <a:pt x="76878" y="36008"/>
                      <a:pt x="79585" y="40782"/>
                      <a:pt x="81215" y="46488"/>
                    </a:cubicBezTo>
                    <a:lnTo>
                      <a:pt x="127441" y="0"/>
                    </a:lnTo>
                    <a:lnTo>
                      <a:pt x="186300" y="59180"/>
                    </a:lnTo>
                    <a:lnTo>
                      <a:pt x="177509" y="67505"/>
                    </a:lnTo>
                    <a:lnTo>
                      <a:pt x="175122" y="67650"/>
                    </a:lnTo>
                    <a:cubicBezTo>
                      <a:pt x="170203" y="67941"/>
                      <a:pt x="163449" y="69222"/>
                      <a:pt x="159141" y="73560"/>
                    </a:cubicBezTo>
                    <a:cubicBezTo>
                      <a:pt x="154047" y="78712"/>
                      <a:pt x="154746" y="87823"/>
                      <a:pt x="160742" y="94286"/>
                    </a:cubicBezTo>
                    <a:lnTo>
                      <a:pt x="161208" y="94722"/>
                    </a:lnTo>
                    <a:cubicBezTo>
                      <a:pt x="167525" y="100573"/>
                      <a:pt x="176520" y="101214"/>
                      <a:pt x="181585" y="96090"/>
                    </a:cubicBezTo>
                    <a:cubicBezTo>
                      <a:pt x="185893" y="91724"/>
                      <a:pt x="187115" y="84912"/>
                      <a:pt x="187377" y="79964"/>
                    </a:cubicBezTo>
                    <a:lnTo>
                      <a:pt x="187494" y="77577"/>
                    </a:lnTo>
                    <a:lnTo>
                      <a:pt x="195761" y="68698"/>
                    </a:lnTo>
                    <a:lnTo>
                      <a:pt x="254882" y="128169"/>
                    </a:lnTo>
                    <a:lnTo>
                      <a:pt x="208569" y="174744"/>
                    </a:lnTo>
                    <a:cubicBezTo>
                      <a:pt x="214449" y="176520"/>
                      <a:pt x="219252" y="179402"/>
                      <a:pt x="222978" y="183389"/>
                    </a:cubicBezTo>
                    <a:cubicBezTo>
                      <a:pt x="232730" y="193869"/>
                      <a:pt x="231653" y="210927"/>
                      <a:pt x="220562" y="222280"/>
                    </a:cubicBezTo>
                    <a:lnTo>
                      <a:pt x="219660" y="223153"/>
                    </a:lnTo>
                    <a:cubicBezTo>
                      <a:pt x="207521" y="233778"/>
                      <a:pt x="190463" y="233749"/>
                      <a:pt x="180653" y="223240"/>
                    </a:cubicBezTo>
                    <a:cubicBezTo>
                      <a:pt x="177364" y="219747"/>
                      <a:pt x="174948" y="215293"/>
                      <a:pt x="173492" y="210054"/>
                    </a:cubicBezTo>
                    <a:lnTo>
                      <a:pt x="127412" y="256250"/>
                    </a:lnTo>
                    <a:close/>
                    <a:moveTo>
                      <a:pt x="90560" y="200535"/>
                    </a:moveTo>
                    <a:lnTo>
                      <a:pt x="127441" y="237620"/>
                    </a:lnTo>
                    <a:lnTo>
                      <a:pt x="177538" y="187232"/>
                    </a:lnTo>
                    <a:lnTo>
                      <a:pt x="184845" y="195528"/>
                    </a:lnTo>
                    <a:lnTo>
                      <a:pt x="184903" y="197915"/>
                    </a:lnTo>
                    <a:cubicBezTo>
                      <a:pt x="185020" y="202893"/>
                      <a:pt x="186038" y="209734"/>
                      <a:pt x="190201" y="214187"/>
                    </a:cubicBezTo>
                    <a:cubicBezTo>
                      <a:pt x="195121" y="219485"/>
                      <a:pt x="204145" y="219078"/>
                      <a:pt x="210752" y="213314"/>
                    </a:cubicBezTo>
                    <a:lnTo>
                      <a:pt x="211160" y="212907"/>
                    </a:lnTo>
                    <a:cubicBezTo>
                      <a:pt x="217244" y="206619"/>
                      <a:pt x="218175" y="197595"/>
                      <a:pt x="213285" y="192297"/>
                    </a:cubicBezTo>
                    <a:cubicBezTo>
                      <a:pt x="209937" y="188717"/>
                      <a:pt x="204639" y="186592"/>
                      <a:pt x="197478" y="185922"/>
                    </a:cubicBezTo>
                    <a:lnTo>
                      <a:pt x="195091" y="185689"/>
                    </a:lnTo>
                    <a:lnTo>
                      <a:pt x="187028" y="177568"/>
                    </a:lnTo>
                    <a:lnTo>
                      <a:pt x="236252" y="128052"/>
                    </a:lnTo>
                    <a:lnTo>
                      <a:pt x="198934" y="90530"/>
                    </a:lnTo>
                    <a:cubicBezTo>
                      <a:pt x="197362" y="96469"/>
                      <a:pt x="194626" y="101446"/>
                      <a:pt x="190871" y="105260"/>
                    </a:cubicBezTo>
                    <a:cubicBezTo>
                      <a:pt x="180770" y="115477"/>
                      <a:pt x="163711" y="114982"/>
                      <a:pt x="152039" y="104154"/>
                    </a:cubicBezTo>
                    <a:lnTo>
                      <a:pt x="151224" y="103368"/>
                    </a:lnTo>
                    <a:cubicBezTo>
                      <a:pt x="140220" y="91491"/>
                      <a:pt x="139638" y="74375"/>
                      <a:pt x="149681" y="64215"/>
                    </a:cubicBezTo>
                    <a:cubicBezTo>
                      <a:pt x="153552" y="60315"/>
                      <a:pt x="158501" y="57549"/>
                      <a:pt x="164497" y="55948"/>
                    </a:cubicBezTo>
                    <a:lnTo>
                      <a:pt x="127354" y="18601"/>
                    </a:lnTo>
                    <a:lnTo>
                      <a:pt x="77810" y="68436"/>
                    </a:lnTo>
                    <a:lnTo>
                      <a:pt x="69863" y="60024"/>
                    </a:lnTo>
                    <a:lnTo>
                      <a:pt x="69717" y="57637"/>
                    </a:lnTo>
                    <a:cubicBezTo>
                      <a:pt x="69397" y="52659"/>
                      <a:pt x="68116" y="45847"/>
                      <a:pt x="63779" y="41539"/>
                    </a:cubicBezTo>
                    <a:cubicBezTo>
                      <a:pt x="58656" y="36474"/>
                      <a:pt x="49661" y="37202"/>
                      <a:pt x="43257" y="43228"/>
                    </a:cubicBezTo>
                    <a:lnTo>
                      <a:pt x="42733" y="43751"/>
                    </a:lnTo>
                    <a:cubicBezTo>
                      <a:pt x="36998" y="50068"/>
                      <a:pt x="36387" y="59180"/>
                      <a:pt x="41510" y="64303"/>
                    </a:cubicBezTo>
                    <a:cubicBezTo>
                      <a:pt x="44974" y="67738"/>
                      <a:pt x="50388" y="69688"/>
                      <a:pt x="57520" y="70066"/>
                    </a:cubicBezTo>
                    <a:lnTo>
                      <a:pt x="59907" y="70183"/>
                    </a:lnTo>
                    <a:lnTo>
                      <a:pt x="68320" y="77955"/>
                    </a:lnTo>
                    <a:lnTo>
                      <a:pt x="18485" y="128052"/>
                    </a:lnTo>
                    <a:lnTo>
                      <a:pt x="55133" y="164905"/>
                    </a:lnTo>
                    <a:cubicBezTo>
                      <a:pt x="56734" y="159520"/>
                      <a:pt x="59354" y="155008"/>
                      <a:pt x="62906" y="151427"/>
                    </a:cubicBezTo>
                    <a:cubicBezTo>
                      <a:pt x="67650" y="146653"/>
                      <a:pt x="74142" y="144034"/>
                      <a:pt x="81186" y="144034"/>
                    </a:cubicBezTo>
                    <a:cubicBezTo>
                      <a:pt x="88813" y="144034"/>
                      <a:pt x="96381" y="147236"/>
                      <a:pt x="101912" y="152795"/>
                    </a:cubicBezTo>
                    <a:lnTo>
                      <a:pt x="102611" y="153494"/>
                    </a:lnTo>
                    <a:cubicBezTo>
                      <a:pt x="113527" y="165371"/>
                      <a:pt x="114080" y="182458"/>
                      <a:pt x="103979" y="192617"/>
                    </a:cubicBezTo>
                    <a:cubicBezTo>
                      <a:pt x="100457" y="196285"/>
                      <a:pt x="95945" y="198905"/>
                      <a:pt x="90560" y="200535"/>
                    </a:cubicBezTo>
                    <a:close/>
                  </a:path>
                </a:pathLst>
              </a:custGeom>
              <a:solidFill>
                <a:schemeClr val="accent1"/>
              </a:solidFill>
              <a:ln w="2908" cap="flat">
                <a:noFill/>
                <a:prstDash val="solid"/>
                <a:miter/>
              </a:ln>
            </p:spPr>
            <p:txBody>
              <a:bodyPr rtlCol="0" anchor="ctr"/>
              <a:lstStyle/>
              <a:p>
                <a:endParaRPr lang="en-GB" dirty="0"/>
              </a:p>
            </p:txBody>
          </p:sp>
        </p:grpSp>
        <p:grpSp>
          <p:nvGrpSpPr>
            <p:cNvPr id="258" name="Group 257">
              <a:extLst>
                <a:ext uri="{FF2B5EF4-FFF2-40B4-BE49-F238E27FC236}">
                  <a16:creationId xmlns:a16="http://schemas.microsoft.com/office/drawing/2014/main" id="{C0C1E823-A8FA-4A2B-ACBF-18366EA8CFF1}"/>
                </a:ext>
              </a:extLst>
            </p:cNvPr>
            <p:cNvGrpSpPr/>
            <p:nvPr/>
          </p:nvGrpSpPr>
          <p:grpSpPr>
            <a:xfrm>
              <a:off x="1717222" y="2596830"/>
              <a:ext cx="492502" cy="220154"/>
              <a:chOff x="1717222" y="2596830"/>
              <a:chExt cx="492502" cy="220154"/>
            </a:xfrm>
          </p:grpSpPr>
          <p:sp>
            <p:nvSpPr>
              <p:cNvPr id="259" name="Freihandform: Form 186">
                <a:extLst>
                  <a:ext uri="{FF2B5EF4-FFF2-40B4-BE49-F238E27FC236}">
                    <a16:creationId xmlns:a16="http://schemas.microsoft.com/office/drawing/2014/main" id="{E69C89D2-B7B6-45FE-8CCF-CD6E1E7E246C}"/>
                  </a:ext>
                </a:extLst>
              </p:cNvPr>
              <p:cNvSpPr/>
              <p:nvPr/>
            </p:nvSpPr>
            <p:spPr>
              <a:xfrm>
                <a:off x="2089270" y="2596830"/>
                <a:ext cx="120454" cy="220154"/>
              </a:xfrm>
              <a:custGeom>
                <a:avLst/>
                <a:gdLst>
                  <a:gd name="connsiteX0" fmla="*/ 12372 w 120454"/>
                  <a:gd name="connsiteY0" fmla="*/ 220155 h 220154"/>
                  <a:gd name="connsiteX1" fmla="*/ 3027 w 120454"/>
                  <a:gd name="connsiteY1" fmla="*/ 210898 h 220154"/>
                  <a:gd name="connsiteX2" fmla="*/ 30565 w 120454"/>
                  <a:gd name="connsiteY2" fmla="*/ 183128 h 220154"/>
                  <a:gd name="connsiteX3" fmla="*/ 15865 w 120454"/>
                  <a:gd name="connsiteY3" fmla="*/ 175064 h 220154"/>
                  <a:gd name="connsiteX4" fmla="*/ 16825 w 120454"/>
                  <a:gd name="connsiteY4" fmla="*/ 136116 h 220154"/>
                  <a:gd name="connsiteX5" fmla="*/ 17640 w 120454"/>
                  <a:gd name="connsiteY5" fmla="*/ 135272 h 220154"/>
                  <a:gd name="connsiteX6" fmla="*/ 56676 w 120454"/>
                  <a:gd name="connsiteY6" fmla="*/ 133641 h 220154"/>
                  <a:gd name="connsiteX7" fmla="*/ 64914 w 120454"/>
                  <a:gd name="connsiteY7" fmla="*/ 148429 h 220154"/>
                  <a:gd name="connsiteX8" fmla="*/ 101912 w 120454"/>
                  <a:gd name="connsiteY8" fmla="*/ 111023 h 220154"/>
                  <a:gd name="connsiteX9" fmla="*/ 52193 w 120454"/>
                  <a:gd name="connsiteY9" fmla="*/ 61334 h 220154"/>
                  <a:gd name="connsiteX10" fmla="*/ 60519 w 120454"/>
                  <a:gd name="connsiteY10" fmla="*/ 53329 h 220154"/>
                  <a:gd name="connsiteX11" fmla="*/ 62906 w 120454"/>
                  <a:gd name="connsiteY11" fmla="*/ 53154 h 220154"/>
                  <a:gd name="connsiteX12" fmla="*/ 78857 w 120454"/>
                  <a:gd name="connsiteY12" fmla="*/ 47157 h 220154"/>
                  <a:gd name="connsiteX13" fmla="*/ 77111 w 120454"/>
                  <a:gd name="connsiteY13" fmla="*/ 26431 h 220154"/>
                  <a:gd name="connsiteX14" fmla="*/ 76645 w 120454"/>
                  <a:gd name="connsiteY14" fmla="*/ 25995 h 220154"/>
                  <a:gd name="connsiteX15" fmla="*/ 56239 w 120454"/>
                  <a:gd name="connsiteY15" fmla="*/ 24772 h 220154"/>
                  <a:gd name="connsiteX16" fmla="*/ 50563 w 120454"/>
                  <a:gd name="connsiteY16" fmla="*/ 40957 h 220154"/>
                  <a:gd name="connsiteX17" fmla="*/ 50447 w 120454"/>
                  <a:gd name="connsiteY17" fmla="*/ 43315 h 220154"/>
                  <a:gd name="connsiteX18" fmla="*/ 42704 w 120454"/>
                  <a:gd name="connsiteY18" fmla="*/ 51815 h 220154"/>
                  <a:gd name="connsiteX19" fmla="*/ 0 w 120454"/>
                  <a:gd name="connsiteY19" fmla="*/ 9344 h 220154"/>
                  <a:gd name="connsiteX20" fmla="*/ 9286 w 120454"/>
                  <a:gd name="connsiteY20" fmla="*/ 0 h 220154"/>
                  <a:gd name="connsiteX21" fmla="*/ 39065 w 120454"/>
                  <a:gd name="connsiteY21" fmla="*/ 29604 h 220154"/>
                  <a:gd name="connsiteX22" fmla="*/ 46837 w 120454"/>
                  <a:gd name="connsiteY22" fmla="*/ 15574 h 220154"/>
                  <a:gd name="connsiteX23" fmla="*/ 85669 w 120454"/>
                  <a:gd name="connsiteY23" fmla="*/ 16418 h 220154"/>
                  <a:gd name="connsiteX24" fmla="*/ 86484 w 120454"/>
                  <a:gd name="connsiteY24" fmla="*/ 17204 h 220154"/>
                  <a:gd name="connsiteX25" fmla="*/ 88260 w 120454"/>
                  <a:gd name="connsiteY25" fmla="*/ 56356 h 220154"/>
                  <a:gd name="connsiteX26" fmla="*/ 74054 w 120454"/>
                  <a:gd name="connsiteY26" fmla="*/ 64565 h 220154"/>
                  <a:gd name="connsiteX27" fmla="*/ 120455 w 120454"/>
                  <a:gd name="connsiteY27" fmla="*/ 110936 h 220154"/>
                  <a:gd name="connsiteX28" fmla="*/ 61770 w 120454"/>
                  <a:gd name="connsiteY28" fmla="*/ 170261 h 220154"/>
                  <a:gd name="connsiteX29" fmla="*/ 53416 w 120454"/>
                  <a:gd name="connsiteY29" fmla="*/ 161412 h 220154"/>
                  <a:gd name="connsiteX30" fmla="*/ 53270 w 120454"/>
                  <a:gd name="connsiteY30" fmla="*/ 159025 h 220154"/>
                  <a:gd name="connsiteX31" fmla="*/ 47361 w 120454"/>
                  <a:gd name="connsiteY31" fmla="*/ 142927 h 220154"/>
                  <a:gd name="connsiteX32" fmla="*/ 26839 w 120454"/>
                  <a:gd name="connsiteY32" fmla="*/ 144616 h 220154"/>
                  <a:gd name="connsiteX33" fmla="*/ 26373 w 120454"/>
                  <a:gd name="connsiteY33" fmla="*/ 145111 h 220154"/>
                  <a:gd name="connsiteX34" fmla="*/ 25121 w 120454"/>
                  <a:gd name="connsiteY34" fmla="*/ 165691 h 220154"/>
                  <a:gd name="connsiteX35" fmla="*/ 41132 w 120454"/>
                  <a:gd name="connsiteY35" fmla="*/ 171455 h 220154"/>
                  <a:gd name="connsiteX36" fmla="*/ 43548 w 120454"/>
                  <a:gd name="connsiteY36" fmla="*/ 171571 h 220154"/>
                  <a:gd name="connsiteX37" fmla="*/ 52368 w 120454"/>
                  <a:gd name="connsiteY37" fmla="*/ 179809 h 220154"/>
                  <a:gd name="connsiteX38" fmla="*/ 12372 w 120454"/>
                  <a:gd name="connsiteY38" fmla="*/ 220155 h 220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0454" h="220154">
                    <a:moveTo>
                      <a:pt x="12372" y="220155"/>
                    </a:moveTo>
                    <a:lnTo>
                      <a:pt x="3027" y="210898"/>
                    </a:lnTo>
                    <a:lnTo>
                      <a:pt x="30565" y="183128"/>
                    </a:lnTo>
                    <a:cubicBezTo>
                      <a:pt x="24656" y="181556"/>
                      <a:pt x="19649" y="178848"/>
                      <a:pt x="15865" y="175064"/>
                    </a:cubicBezTo>
                    <a:cubicBezTo>
                      <a:pt x="5706" y="164963"/>
                      <a:pt x="6142" y="147847"/>
                      <a:pt x="16825" y="136116"/>
                    </a:cubicBezTo>
                    <a:lnTo>
                      <a:pt x="17640" y="135272"/>
                    </a:lnTo>
                    <a:cubicBezTo>
                      <a:pt x="29430" y="124152"/>
                      <a:pt x="46488" y="123540"/>
                      <a:pt x="56676" y="133641"/>
                    </a:cubicBezTo>
                    <a:cubicBezTo>
                      <a:pt x="60548" y="137513"/>
                      <a:pt x="63313" y="142462"/>
                      <a:pt x="64914" y="148429"/>
                    </a:cubicBezTo>
                    <a:lnTo>
                      <a:pt x="101912" y="111023"/>
                    </a:lnTo>
                    <a:lnTo>
                      <a:pt x="52193" y="61334"/>
                    </a:lnTo>
                    <a:lnTo>
                      <a:pt x="60519" y="53329"/>
                    </a:lnTo>
                    <a:lnTo>
                      <a:pt x="62906" y="53154"/>
                    </a:lnTo>
                    <a:cubicBezTo>
                      <a:pt x="70066" y="52688"/>
                      <a:pt x="75423" y="50650"/>
                      <a:pt x="78857" y="47157"/>
                    </a:cubicBezTo>
                    <a:cubicBezTo>
                      <a:pt x="83923" y="41976"/>
                      <a:pt x="83137" y="32865"/>
                      <a:pt x="77111" y="26431"/>
                    </a:cubicBezTo>
                    <a:lnTo>
                      <a:pt x="76645" y="25995"/>
                    </a:lnTo>
                    <a:cubicBezTo>
                      <a:pt x="70299" y="20202"/>
                      <a:pt x="61275" y="19620"/>
                      <a:pt x="56239" y="24772"/>
                    </a:cubicBezTo>
                    <a:cubicBezTo>
                      <a:pt x="51990" y="29139"/>
                      <a:pt x="50796" y="35979"/>
                      <a:pt x="50563" y="40957"/>
                    </a:cubicBezTo>
                    <a:lnTo>
                      <a:pt x="50447" y="43315"/>
                    </a:lnTo>
                    <a:lnTo>
                      <a:pt x="42704" y="51815"/>
                    </a:lnTo>
                    <a:lnTo>
                      <a:pt x="0" y="9344"/>
                    </a:lnTo>
                    <a:lnTo>
                      <a:pt x="9286" y="0"/>
                    </a:lnTo>
                    <a:lnTo>
                      <a:pt x="39065" y="29604"/>
                    </a:lnTo>
                    <a:cubicBezTo>
                      <a:pt x="40608" y="23986"/>
                      <a:pt x="43228" y="19270"/>
                      <a:pt x="46837" y="15574"/>
                    </a:cubicBezTo>
                    <a:cubicBezTo>
                      <a:pt x="56851" y="5298"/>
                      <a:pt x="73938" y="5676"/>
                      <a:pt x="85669" y="16418"/>
                    </a:cubicBezTo>
                    <a:lnTo>
                      <a:pt x="86484" y="17204"/>
                    </a:lnTo>
                    <a:cubicBezTo>
                      <a:pt x="97546" y="29022"/>
                      <a:pt x="98244" y="46109"/>
                      <a:pt x="88260" y="56356"/>
                    </a:cubicBezTo>
                    <a:cubicBezTo>
                      <a:pt x="84534" y="60169"/>
                      <a:pt x="79789" y="62905"/>
                      <a:pt x="74054" y="64565"/>
                    </a:cubicBezTo>
                    <a:lnTo>
                      <a:pt x="120455" y="110936"/>
                    </a:lnTo>
                    <a:lnTo>
                      <a:pt x="61770" y="170261"/>
                    </a:lnTo>
                    <a:lnTo>
                      <a:pt x="53416" y="161412"/>
                    </a:lnTo>
                    <a:lnTo>
                      <a:pt x="53270" y="159025"/>
                    </a:lnTo>
                    <a:cubicBezTo>
                      <a:pt x="52950" y="154076"/>
                      <a:pt x="51669" y="147265"/>
                      <a:pt x="47361" y="142927"/>
                    </a:cubicBezTo>
                    <a:cubicBezTo>
                      <a:pt x="42238" y="137833"/>
                      <a:pt x="33243" y="138590"/>
                      <a:pt x="26839" y="144616"/>
                    </a:cubicBezTo>
                    <a:lnTo>
                      <a:pt x="26373" y="145111"/>
                    </a:lnTo>
                    <a:cubicBezTo>
                      <a:pt x="20610" y="151456"/>
                      <a:pt x="19969" y="160568"/>
                      <a:pt x="25121" y="165691"/>
                    </a:cubicBezTo>
                    <a:cubicBezTo>
                      <a:pt x="29459" y="169999"/>
                      <a:pt x="36241" y="171193"/>
                      <a:pt x="41132" y="171455"/>
                    </a:cubicBezTo>
                    <a:lnTo>
                      <a:pt x="43548" y="171571"/>
                    </a:lnTo>
                    <a:lnTo>
                      <a:pt x="52368" y="179809"/>
                    </a:lnTo>
                    <a:lnTo>
                      <a:pt x="12372" y="220155"/>
                    </a:lnTo>
                    <a:close/>
                  </a:path>
                </a:pathLst>
              </a:custGeom>
              <a:solidFill>
                <a:schemeClr val="tx2"/>
              </a:solidFill>
              <a:ln w="2908" cap="flat">
                <a:noFill/>
                <a:prstDash val="solid"/>
                <a:miter/>
              </a:ln>
            </p:spPr>
            <p:txBody>
              <a:bodyPr rtlCol="0" anchor="ctr"/>
              <a:lstStyle/>
              <a:p>
                <a:endParaRPr lang="en-GB" dirty="0"/>
              </a:p>
            </p:txBody>
          </p:sp>
          <p:sp>
            <p:nvSpPr>
              <p:cNvPr id="260" name="Freihandform: Form 187">
                <a:extLst>
                  <a:ext uri="{FF2B5EF4-FFF2-40B4-BE49-F238E27FC236}">
                    <a16:creationId xmlns:a16="http://schemas.microsoft.com/office/drawing/2014/main" id="{FD2D8855-DE1B-4A44-A84E-CF594AAE6A41}"/>
                  </a:ext>
                </a:extLst>
              </p:cNvPr>
              <p:cNvSpPr/>
              <p:nvPr/>
            </p:nvSpPr>
            <p:spPr>
              <a:xfrm>
                <a:off x="1717222" y="2597266"/>
                <a:ext cx="119290" cy="217505"/>
              </a:xfrm>
              <a:custGeom>
                <a:avLst/>
                <a:gdLst>
                  <a:gd name="connsiteX0" fmla="*/ 109917 w 119290"/>
                  <a:gd name="connsiteY0" fmla="*/ 217506 h 217505"/>
                  <a:gd name="connsiteX1" fmla="*/ 81215 w 119290"/>
                  <a:gd name="connsiteY1" fmla="*/ 188425 h 217505"/>
                  <a:gd name="connsiteX2" fmla="*/ 73996 w 119290"/>
                  <a:gd name="connsiteY2" fmla="*/ 201554 h 217505"/>
                  <a:gd name="connsiteX3" fmla="*/ 35135 w 119290"/>
                  <a:gd name="connsiteY3" fmla="*/ 201496 h 217505"/>
                  <a:gd name="connsiteX4" fmla="*/ 34262 w 119290"/>
                  <a:gd name="connsiteY4" fmla="*/ 200681 h 217505"/>
                  <a:gd name="connsiteX5" fmla="*/ 31729 w 119290"/>
                  <a:gd name="connsiteY5" fmla="*/ 161616 h 217505"/>
                  <a:gd name="connsiteX6" fmla="*/ 46197 w 119290"/>
                  <a:gd name="connsiteY6" fmla="*/ 153028 h 217505"/>
                  <a:gd name="connsiteX7" fmla="*/ 0 w 119290"/>
                  <a:gd name="connsiteY7" fmla="*/ 106308 h 217505"/>
                  <a:gd name="connsiteX8" fmla="*/ 59267 w 119290"/>
                  <a:gd name="connsiteY8" fmla="*/ 47041 h 217505"/>
                  <a:gd name="connsiteX9" fmla="*/ 67505 w 119290"/>
                  <a:gd name="connsiteY9" fmla="*/ 55919 h 217505"/>
                  <a:gd name="connsiteX10" fmla="*/ 67621 w 119290"/>
                  <a:gd name="connsiteY10" fmla="*/ 58306 h 217505"/>
                  <a:gd name="connsiteX11" fmla="*/ 73385 w 119290"/>
                  <a:gd name="connsiteY11" fmla="*/ 74462 h 217505"/>
                  <a:gd name="connsiteX12" fmla="*/ 93791 w 119290"/>
                  <a:gd name="connsiteY12" fmla="*/ 73152 h 217505"/>
                  <a:gd name="connsiteX13" fmla="*/ 94402 w 119290"/>
                  <a:gd name="connsiteY13" fmla="*/ 72541 h 217505"/>
                  <a:gd name="connsiteX14" fmla="*/ 95887 w 119290"/>
                  <a:gd name="connsiteY14" fmla="*/ 51990 h 217505"/>
                  <a:gd name="connsiteX15" fmla="*/ 79935 w 119290"/>
                  <a:gd name="connsiteY15" fmla="*/ 46051 h 217505"/>
                  <a:gd name="connsiteX16" fmla="*/ 77548 w 119290"/>
                  <a:gd name="connsiteY16" fmla="*/ 45906 h 217505"/>
                  <a:gd name="connsiteX17" fmla="*/ 68786 w 119290"/>
                  <a:gd name="connsiteY17" fmla="*/ 37551 h 217505"/>
                  <a:gd name="connsiteX18" fmla="*/ 106453 w 119290"/>
                  <a:gd name="connsiteY18" fmla="*/ 0 h 217505"/>
                  <a:gd name="connsiteX19" fmla="*/ 115739 w 119290"/>
                  <a:gd name="connsiteY19" fmla="*/ 9315 h 217505"/>
                  <a:gd name="connsiteX20" fmla="*/ 90501 w 119290"/>
                  <a:gd name="connsiteY20" fmla="*/ 34466 h 217505"/>
                  <a:gd name="connsiteX21" fmla="*/ 105260 w 119290"/>
                  <a:gd name="connsiteY21" fmla="*/ 42762 h 217505"/>
                  <a:gd name="connsiteX22" fmla="*/ 103950 w 119290"/>
                  <a:gd name="connsiteY22" fmla="*/ 81594 h 217505"/>
                  <a:gd name="connsiteX23" fmla="*/ 102989 w 119290"/>
                  <a:gd name="connsiteY23" fmla="*/ 82554 h 217505"/>
                  <a:gd name="connsiteX24" fmla="*/ 63983 w 119290"/>
                  <a:gd name="connsiteY24" fmla="*/ 83690 h 217505"/>
                  <a:gd name="connsiteX25" fmla="*/ 55977 w 119290"/>
                  <a:gd name="connsiteY25" fmla="*/ 68960 h 217505"/>
                  <a:gd name="connsiteX26" fmla="*/ 18572 w 119290"/>
                  <a:gd name="connsiteY26" fmla="*/ 106366 h 217505"/>
                  <a:gd name="connsiteX27" fmla="*/ 67650 w 119290"/>
                  <a:gd name="connsiteY27" fmla="*/ 155998 h 217505"/>
                  <a:gd name="connsiteX28" fmla="*/ 59587 w 119290"/>
                  <a:gd name="connsiteY28" fmla="*/ 164119 h 217505"/>
                  <a:gd name="connsiteX29" fmla="*/ 57171 w 119290"/>
                  <a:gd name="connsiteY29" fmla="*/ 164323 h 217505"/>
                  <a:gd name="connsiteX30" fmla="*/ 41335 w 119290"/>
                  <a:gd name="connsiteY30" fmla="*/ 170640 h 217505"/>
                  <a:gd name="connsiteX31" fmla="*/ 43490 w 119290"/>
                  <a:gd name="connsiteY31" fmla="*/ 191307 h 217505"/>
                  <a:gd name="connsiteX32" fmla="*/ 43984 w 119290"/>
                  <a:gd name="connsiteY32" fmla="*/ 191773 h 217505"/>
                  <a:gd name="connsiteX33" fmla="*/ 64390 w 119290"/>
                  <a:gd name="connsiteY33" fmla="*/ 192559 h 217505"/>
                  <a:gd name="connsiteX34" fmla="*/ 69746 w 119290"/>
                  <a:gd name="connsiteY34" fmla="*/ 176287 h 217505"/>
                  <a:gd name="connsiteX35" fmla="*/ 69804 w 119290"/>
                  <a:gd name="connsiteY35" fmla="*/ 173900 h 217505"/>
                  <a:gd name="connsiteX36" fmla="*/ 77140 w 119290"/>
                  <a:gd name="connsiteY36" fmla="*/ 165575 h 217505"/>
                  <a:gd name="connsiteX37" fmla="*/ 119291 w 119290"/>
                  <a:gd name="connsiteY37" fmla="*/ 208278 h 217505"/>
                  <a:gd name="connsiteX38" fmla="*/ 109917 w 119290"/>
                  <a:gd name="connsiteY38" fmla="*/ 217506 h 217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19290" h="217505">
                    <a:moveTo>
                      <a:pt x="109917" y="217506"/>
                    </a:moveTo>
                    <a:lnTo>
                      <a:pt x="81215" y="188425"/>
                    </a:lnTo>
                    <a:cubicBezTo>
                      <a:pt x="79760" y="193607"/>
                      <a:pt x="77344" y="198002"/>
                      <a:pt x="73996" y="201554"/>
                    </a:cubicBezTo>
                    <a:cubicBezTo>
                      <a:pt x="64157" y="212033"/>
                      <a:pt x="47099" y="211975"/>
                      <a:pt x="35135" y="201496"/>
                    </a:cubicBezTo>
                    <a:lnTo>
                      <a:pt x="34262" y="200681"/>
                    </a:lnTo>
                    <a:cubicBezTo>
                      <a:pt x="22996" y="189124"/>
                      <a:pt x="21949" y="172037"/>
                      <a:pt x="31729" y="161616"/>
                    </a:cubicBezTo>
                    <a:cubicBezTo>
                      <a:pt x="35426" y="157715"/>
                      <a:pt x="40317" y="154804"/>
                      <a:pt x="46197" y="153028"/>
                    </a:cubicBezTo>
                    <a:lnTo>
                      <a:pt x="0" y="106308"/>
                    </a:lnTo>
                    <a:lnTo>
                      <a:pt x="59267" y="47041"/>
                    </a:lnTo>
                    <a:lnTo>
                      <a:pt x="67505" y="55919"/>
                    </a:lnTo>
                    <a:lnTo>
                      <a:pt x="67621" y="58306"/>
                    </a:lnTo>
                    <a:cubicBezTo>
                      <a:pt x="67883" y="63255"/>
                      <a:pt x="69077" y="70096"/>
                      <a:pt x="73385" y="74462"/>
                    </a:cubicBezTo>
                    <a:cubicBezTo>
                      <a:pt x="78508" y="79643"/>
                      <a:pt x="87649" y="79061"/>
                      <a:pt x="93791" y="73152"/>
                    </a:cubicBezTo>
                    <a:lnTo>
                      <a:pt x="94402" y="72541"/>
                    </a:lnTo>
                    <a:cubicBezTo>
                      <a:pt x="100253" y="65962"/>
                      <a:pt x="100981" y="57171"/>
                      <a:pt x="95887" y="51990"/>
                    </a:cubicBezTo>
                    <a:cubicBezTo>
                      <a:pt x="91607" y="47652"/>
                      <a:pt x="84854" y="46371"/>
                      <a:pt x="79935" y="46051"/>
                    </a:cubicBezTo>
                    <a:lnTo>
                      <a:pt x="77548" y="45906"/>
                    </a:lnTo>
                    <a:lnTo>
                      <a:pt x="68786" y="37551"/>
                    </a:lnTo>
                    <a:lnTo>
                      <a:pt x="106453" y="0"/>
                    </a:lnTo>
                    <a:lnTo>
                      <a:pt x="115739" y="9315"/>
                    </a:lnTo>
                    <a:lnTo>
                      <a:pt x="90501" y="34466"/>
                    </a:lnTo>
                    <a:cubicBezTo>
                      <a:pt x="96469" y="36067"/>
                      <a:pt x="101417" y="38861"/>
                      <a:pt x="105260" y="42762"/>
                    </a:cubicBezTo>
                    <a:cubicBezTo>
                      <a:pt x="115361" y="53037"/>
                      <a:pt x="114808" y="69368"/>
                      <a:pt x="103950" y="81594"/>
                    </a:cubicBezTo>
                    <a:lnTo>
                      <a:pt x="102989" y="82554"/>
                    </a:lnTo>
                    <a:cubicBezTo>
                      <a:pt x="91637" y="93558"/>
                      <a:pt x="74171" y="94024"/>
                      <a:pt x="63983" y="83690"/>
                    </a:cubicBezTo>
                    <a:cubicBezTo>
                      <a:pt x="60227" y="79876"/>
                      <a:pt x="57549" y="74869"/>
                      <a:pt x="55977" y="68960"/>
                    </a:cubicBezTo>
                    <a:lnTo>
                      <a:pt x="18572" y="106366"/>
                    </a:lnTo>
                    <a:lnTo>
                      <a:pt x="67650" y="155998"/>
                    </a:lnTo>
                    <a:lnTo>
                      <a:pt x="59587" y="164119"/>
                    </a:lnTo>
                    <a:lnTo>
                      <a:pt x="57171" y="164323"/>
                    </a:lnTo>
                    <a:cubicBezTo>
                      <a:pt x="52281" y="164730"/>
                      <a:pt x="45556" y="166186"/>
                      <a:pt x="41335" y="170640"/>
                    </a:cubicBezTo>
                    <a:cubicBezTo>
                      <a:pt x="36387" y="175937"/>
                      <a:pt x="37318" y="185020"/>
                      <a:pt x="43490" y="191307"/>
                    </a:cubicBezTo>
                    <a:lnTo>
                      <a:pt x="43984" y="191773"/>
                    </a:lnTo>
                    <a:cubicBezTo>
                      <a:pt x="50388" y="197391"/>
                      <a:pt x="59442" y="197828"/>
                      <a:pt x="64390" y="192559"/>
                    </a:cubicBezTo>
                    <a:cubicBezTo>
                      <a:pt x="68582" y="188105"/>
                      <a:pt x="69601" y="181235"/>
                      <a:pt x="69746" y="176287"/>
                    </a:cubicBezTo>
                    <a:lnTo>
                      <a:pt x="69804" y="173900"/>
                    </a:lnTo>
                    <a:lnTo>
                      <a:pt x="77140" y="165575"/>
                    </a:lnTo>
                    <a:lnTo>
                      <a:pt x="119291" y="208278"/>
                    </a:lnTo>
                    <a:lnTo>
                      <a:pt x="109917" y="217506"/>
                    </a:lnTo>
                    <a:close/>
                  </a:path>
                </a:pathLst>
              </a:custGeom>
              <a:solidFill>
                <a:schemeClr val="tx2"/>
              </a:solidFill>
              <a:ln w="2908" cap="flat">
                <a:noFill/>
                <a:prstDash val="solid"/>
                <a:miter/>
              </a:ln>
            </p:spPr>
            <p:txBody>
              <a:bodyPr rtlCol="0" anchor="ctr"/>
              <a:lstStyle/>
              <a:p>
                <a:endParaRPr lang="en-GB" dirty="0"/>
              </a:p>
            </p:txBody>
          </p:sp>
        </p:grpSp>
      </p:grpSp>
      <p:grpSp>
        <p:nvGrpSpPr>
          <p:cNvPr id="264" name="Group 263">
            <a:extLst>
              <a:ext uri="{FF2B5EF4-FFF2-40B4-BE49-F238E27FC236}">
                <a16:creationId xmlns:a16="http://schemas.microsoft.com/office/drawing/2014/main" id="{E8E37936-4F42-44D6-B452-CA6375E9BEAB}"/>
              </a:ext>
            </a:extLst>
          </p:cNvPr>
          <p:cNvGrpSpPr/>
          <p:nvPr/>
        </p:nvGrpSpPr>
        <p:grpSpPr>
          <a:xfrm>
            <a:off x="1624336" y="4002611"/>
            <a:ext cx="430297" cy="431999"/>
            <a:chOff x="1720919" y="4141087"/>
            <a:chExt cx="485167" cy="487086"/>
          </a:xfrm>
        </p:grpSpPr>
        <p:sp>
          <p:nvSpPr>
            <p:cNvPr id="268" name="Freihandform: Form 381">
              <a:extLst>
                <a:ext uri="{FF2B5EF4-FFF2-40B4-BE49-F238E27FC236}">
                  <a16:creationId xmlns:a16="http://schemas.microsoft.com/office/drawing/2014/main" id="{7699DF6F-A36F-4176-85E3-2A6FE6BAC6DA}"/>
                </a:ext>
              </a:extLst>
            </p:cNvPr>
            <p:cNvSpPr/>
            <p:nvPr/>
          </p:nvSpPr>
          <p:spPr>
            <a:xfrm>
              <a:off x="1863323" y="4141087"/>
              <a:ext cx="342763" cy="243238"/>
            </a:xfrm>
            <a:custGeom>
              <a:avLst/>
              <a:gdLst>
                <a:gd name="connsiteX0" fmla="*/ 106890 w 342763"/>
                <a:gd name="connsiteY0" fmla="*/ 243239 h 243238"/>
                <a:gd name="connsiteX1" fmla="*/ 93732 w 342763"/>
                <a:gd name="connsiteY1" fmla="*/ 243239 h 243238"/>
                <a:gd name="connsiteX2" fmla="*/ 93732 w 342763"/>
                <a:gd name="connsiteY2" fmla="*/ 162489 h 243238"/>
                <a:gd name="connsiteX3" fmla="*/ 51698 w 342763"/>
                <a:gd name="connsiteY3" fmla="*/ 178965 h 243238"/>
                <a:gd name="connsiteX4" fmla="*/ 51436 w 342763"/>
                <a:gd name="connsiteY4" fmla="*/ 178965 h 243238"/>
                <a:gd name="connsiteX5" fmla="*/ 1281 w 342763"/>
                <a:gd name="connsiteY5" fmla="*/ 132244 h 243238"/>
                <a:gd name="connsiteX6" fmla="*/ 437 w 342763"/>
                <a:gd name="connsiteY6" fmla="*/ 132477 h 243238"/>
                <a:gd name="connsiteX7" fmla="*/ 349 w 342763"/>
                <a:gd name="connsiteY7" fmla="*/ 123919 h 243238"/>
                <a:gd name="connsiteX8" fmla="*/ 378 w 342763"/>
                <a:gd name="connsiteY8" fmla="*/ 123220 h 243238"/>
                <a:gd name="connsiteX9" fmla="*/ 349 w 342763"/>
                <a:gd name="connsiteY9" fmla="*/ 122289 h 243238"/>
                <a:gd name="connsiteX10" fmla="*/ 0 w 342763"/>
                <a:gd name="connsiteY10" fmla="*/ 115361 h 243238"/>
                <a:gd name="connsiteX11" fmla="*/ 961 w 342763"/>
                <a:gd name="connsiteY11" fmla="*/ 115361 h 243238"/>
                <a:gd name="connsiteX12" fmla="*/ 51000 w 342763"/>
                <a:gd name="connsiteY12" fmla="*/ 66457 h 243238"/>
                <a:gd name="connsiteX13" fmla="*/ 51320 w 342763"/>
                <a:gd name="connsiteY13" fmla="*/ 66457 h 243238"/>
                <a:gd name="connsiteX14" fmla="*/ 93761 w 342763"/>
                <a:gd name="connsiteY14" fmla="*/ 82787 h 243238"/>
                <a:gd name="connsiteX15" fmla="*/ 93761 w 342763"/>
                <a:gd name="connsiteY15" fmla="*/ 0 h 243238"/>
                <a:gd name="connsiteX16" fmla="*/ 100340 w 342763"/>
                <a:gd name="connsiteY16" fmla="*/ 0 h 243238"/>
                <a:gd name="connsiteX17" fmla="*/ 342764 w 342763"/>
                <a:gd name="connsiteY17" fmla="*/ 221494 h 243238"/>
                <a:gd name="connsiteX18" fmla="*/ 329664 w 342763"/>
                <a:gd name="connsiteY18" fmla="*/ 222658 h 243238"/>
                <a:gd name="connsiteX19" fmla="*/ 106948 w 342763"/>
                <a:gd name="connsiteY19" fmla="*/ 13245 h 243238"/>
                <a:gd name="connsiteX20" fmla="*/ 106948 w 342763"/>
                <a:gd name="connsiteY20" fmla="*/ 99263 h 243238"/>
                <a:gd name="connsiteX21" fmla="*/ 92539 w 342763"/>
                <a:gd name="connsiteY21" fmla="*/ 98914 h 243238"/>
                <a:gd name="connsiteX22" fmla="*/ 90734 w 342763"/>
                <a:gd name="connsiteY22" fmla="*/ 97342 h 243238"/>
                <a:gd name="connsiteX23" fmla="*/ 51320 w 342763"/>
                <a:gd name="connsiteY23" fmla="*/ 79614 h 243238"/>
                <a:gd name="connsiteX24" fmla="*/ 51087 w 342763"/>
                <a:gd name="connsiteY24" fmla="*/ 79614 h 243238"/>
                <a:gd name="connsiteX25" fmla="*/ 13594 w 342763"/>
                <a:gd name="connsiteY25" fmla="*/ 122143 h 243238"/>
                <a:gd name="connsiteX26" fmla="*/ 13565 w 342763"/>
                <a:gd name="connsiteY26" fmla="*/ 123191 h 243238"/>
                <a:gd name="connsiteX27" fmla="*/ 13594 w 342763"/>
                <a:gd name="connsiteY27" fmla="*/ 123715 h 243238"/>
                <a:gd name="connsiteX28" fmla="*/ 51436 w 342763"/>
                <a:gd name="connsiteY28" fmla="*/ 165778 h 243238"/>
                <a:gd name="connsiteX29" fmla="*/ 51611 w 342763"/>
                <a:gd name="connsiteY29" fmla="*/ 165778 h 243238"/>
                <a:gd name="connsiteX30" fmla="*/ 91025 w 342763"/>
                <a:gd name="connsiteY30" fmla="*/ 147556 h 243238"/>
                <a:gd name="connsiteX31" fmla="*/ 92772 w 342763"/>
                <a:gd name="connsiteY31" fmla="*/ 145984 h 243238"/>
                <a:gd name="connsiteX32" fmla="*/ 106890 w 342763"/>
                <a:gd name="connsiteY32" fmla="*/ 145373 h 243238"/>
                <a:gd name="connsiteX33" fmla="*/ 106890 w 342763"/>
                <a:gd name="connsiteY33" fmla="*/ 243239 h 24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42763" h="243238">
                  <a:moveTo>
                    <a:pt x="106890" y="243239"/>
                  </a:moveTo>
                  <a:lnTo>
                    <a:pt x="93732" y="243239"/>
                  </a:lnTo>
                  <a:lnTo>
                    <a:pt x="93732" y="162489"/>
                  </a:lnTo>
                  <a:cubicBezTo>
                    <a:pt x="79905" y="173318"/>
                    <a:pt x="65787" y="178848"/>
                    <a:pt x="51698" y="178965"/>
                  </a:cubicBezTo>
                  <a:cubicBezTo>
                    <a:pt x="51611" y="178965"/>
                    <a:pt x="51524" y="178965"/>
                    <a:pt x="51436" y="178965"/>
                  </a:cubicBezTo>
                  <a:cubicBezTo>
                    <a:pt x="26606" y="178965"/>
                    <a:pt x="5793" y="159054"/>
                    <a:pt x="1281" y="132244"/>
                  </a:cubicBezTo>
                  <a:lnTo>
                    <a:pt x="437" y="132477"/>
                  </a:lnTo>
                  <a:lnTo>
                    <a:pt x="349" y="123919"/>
                  </a:lnTo>
                  <a:lnTo>
                    <a:pt x="378" y="123220"/>
                  </a:lnTo>
                  <a:lnTo>
                    <a:pt x="349" y="122289"/>
                  </a:lnTo>
                  <a:lnTo>
                    <a:pt x="0" y="115361"/>
                  </a:lnTo>
                  <a:lnTo>
                    <a:pt x="961" y="115361"/>
                  </a:lnTo>
                  <a:cubicBezTo>
                    <a:pt x="4570" y="87648"/>
                    <a:pt x="25558" y="66632"/>
                    <a:pt x="51000" y="66457"/>
                  </a:cubicBezTo>
                  <a:cubicBezTo>
                    <a:pt x="51116" y="66457"/>
                    <a:pt x="51203" y="66457"/>
                    <a:pt x="51320" y="66457"/>
                  </a:cubicBezTo>
                  <a:cubicBezTo>
                    <a:pt x="65496" y="66457"/>
                    <a:pt x="79731" y="71958"/>
                    <a:pt x="93761" y="82787"/>
                  </a:cubicBezTo>
                  <a:lnTo>
                    <a:pt x="93761" y="0"/>
                  </a:lnTo>
                  <a:lnTo>
                    <a:pt x="100340" y="0"/>
                  </a:lnTo>
                  <a:cubicBezTo>
                    <a:pt x="227345" y="0"/>
                    <a:pt x="331586" y="95217"/>
                    <a:pt x="342764" y="221494"/>
                  </a:cubicBezTo>
                  <a:lnTo>
                    <a:pt x="329664" y="222658"/>
                  </a:lnTo>
                  <a:cubicBezTo>
                    <a:pt x="319272" y="105405"/>
                    <a:pt x="224085" y="16476"/>
                    <a:pt x="106948" y="13245"/>
                  </a:cubicBezTo>
                  <a:lnTo>
                    <a:pt x="106948" y="99263"/>
                  </a:lnTo>
                  <a:lnTo>
                    <a:pt x="92539" y="98914"/>
                  </a:lnTo>
                  <a:lnTo>
                    <a:pt x="90734" y="97342"/>
                  </a:lnTo>
                  <a:cubicBezTo>
                    <a:pt x="77373" y="85582"/>
                    <a:pt x="64099" y="79614"/>
                    <a:pt x="51320" y="79614"/>
                  </a:cubicBezTo>
                  <a:cubicBezTo>
                    <a:pt x="51233" y="79614"/>
                    <a:pt x="51174" y="79614"/>
                    <a:pt x="51087" y="79614"/>
                  </a:cubicBezTo>
                  <a:cubicBezTo>
                    <a:pt x="30827" y="79760"/>
                    <a:pt x="14351" y="98448"/>
                    <a:pt x="13594" y="122143"/>
                  </a:cubicBezTo>
                  <a:lnTo>
                    <a:pt x="13565" y="123191"/>
                  </a:lnTo>
                  <a:lnTo>
                    <a:pt x="13594" y="123715"/>
                  </a:lnTo>
                  <a:cubicBezTo>
                    <a:pt x="14671" y="147352"/>
                    <a:pt x="31264" y="165778"/>
                    <a:pt x="51436" y="165778"/>
                  </a:cubicBezTo>
                  <a:cubicBezTo>
                    <a:pt x="51495" y="165778"/>
                    <a:pt x="51553" y="165778"/>
                    <a:pt x="51611" y="165778"/>
                  </a:cubicBezTo>
                  <a:cubicBezTo>
                    <a:pt x="64448" y="165691"/>
                    <a:pt x="77722" y="159549"/>
                    <a:pt x="91025" y="147556"/>
                  </a:cubicBezTo>
                  <a:lnTo>
                    <a:pt x="92772" y="145984"/>
                  </a:lnTo>
                  <a:lnTo>
                    <a:pt x="106890" y="145373"/>
                  </a:lnTo>
                  <a:lnTo>
                    <a:pt x="106890" y="243239"/>
                  </a:lnTo>
                  <a:close/>
                </a:path>
              </a:pathLst>
            </a:custGeom>
            <a:solidFill>
              <a:schemeClr val="accent1"/>
            </a:solidFill>
            <a:ln w="2908" cap="flat">
              <a:noFill/>
              <a:prstDash val="solid"/>
              <a:miter/>
            </a:ln>
          </p:spPr>
          <p:txBody>
            <a:bodyPr rtlCol="0" anchor="ctr"/>
            <a:lstStyle/>
            <a:p>
              <a:endParaRPr lang="en-GB" dirty="0"/>
            </a:p>
          </p:txBody>
        </p:sp>
        <p:sp>
          <p:nvSpPr>
            <p:cNvPr id="269" name="Freihandform: Form 384">
              <a:extLst>
                <a:ext uri="{FF2B5EF4-FFF2-40B4-BE49-F238E27FC236}">
                  <a16:creationId xmlns:a16="http://schemas.microsoft.com/office/drawing/2014/main" id="{7817638C-B06C-48B6-AC5A-3D47783FEFFC}"/>
                </a:ext>
              </a:extLst>
            </p:cNvPr>
            <p:cNvSpPr/>
            <p:nvPr/>
          </p:nvSpPr>
          <p:spPr>
            <a:xfrm>
              <a:off x="1720919" y="4384935"/>
              <a:ext cx="342763" cy="243238"/>
            </a:xfrm>
            <a:custGeom>
              <a:avLst/>
              <a:gdLst>
                <a:gd name="connsiteX0" fmla="*/ 249002 w 342763"/>
                <a:gd name="connsiteY0" fmla="*/ 243238 h 243238"/>
                <a:gd name="connsiteX1" fmla="*/ 242423 w 342763"/>
                <a:gd name="connsiteY1" fmla="*/ 243238 h 243238"/>
                <a:gd name="connsiteX2" fmla="*/ 0 w 342763"/>
                <a:gd name="connsiteY2" fmla="*/ 21745 h 243238"/>
                <a:gd name="connsiteX3" fmla="*/ 13099 w 342763"/>
                <a:gd name="connsiteY3" fmla="*/ 20580 h 243238"/>
                <a:gd name="connsiteX4" fmla="*/ 235816 w 342763"/>
                <a:gd name="connsiteY4" fmla="*/ 229994 h 243238"/>
                <a:gd name="connsiteX5" fmla="*/ 235816 w 342763"/>
                <a:gd name="connsiteY5" fmla="*/ 143975 h 243238"/>
                <a:gd name="connsiteX6" fmla="*/ 250225 w 342763"/>
                <a:gd name="connsiteY6" fmla="*/ 144324 h 243238"/>
                <a:gd name="connsiteX7" fmla="*/ 252029 w 342763"/>
                <a:gd name="connsiteY7" fmla="*/ 145897 h 243238"/>
                <a:gd name="connsiteX8" fmla="*/ 291444 w 342763"/>
                <a:gd name="connsiteY8" fmla="*/ 163624 h 243238"/>
                <a:gd name="connsiteX9" fmla="*/ 291677 w 342763"/>
                <a:gd name="connsiteY9" fmla="*/ 163624 h 243238"/>
                <a:gd name="connsiteX10" fmla="*/ 329170 w 342763"/>
                <a:gd name="connsiteY10" fmla="*/ 121095 h 243238"/>
                <a:gd name="connsiteX11" fmla="*/ 329199 w 342763"/>
                <a:gd name="connsiteY11" fmla="*/ 120047 h 243238"/>
                <a:gd name="connsiteX12" fmla="*/ 329170 w 342763"/>
                <a:gd name="connsiteY12" fmla="*/ 119523 h 243238"/>
                <a:gd name="connsiteX13" fmla="*/ 291327 w 342763"/>
                <a:gd name="connsiteY13" fmla="*/ 77460 h 243238"/>
                <a:gd name="connsiteX14" fmla="*/ 291153 w 342763"/>
                <a:gd name="connsiteY14" fmla="*/ 77460 h 243238"/>
                <a:gd name="connsiteX15" fmla="*/ 251738 w 342763"/>
                <a:gd name="connsiteY15" fmla="*/ 95683 h 243238"/>
                <a:gd name="connsiteX16" fmla="*/ 249992 w 342763"/>
                <a:gd name="connsiteY16" fmla="*/ 97255 h 243238"/>
                <a:gd name="connsiteX17" fmla="*/ 235874 w 342763"/>
                <a:gd name="connsiteY17" fmla="*/ 97866 h 243238"/>
                <a:gd name="connsiteX18" fmla="*/ 235874 w 342763"/>
                <a:gd name="connsiteY18" fmla="*/ 0 h 243238"/>
                <a:gd name="connsiteX19" fmla="*/ 249031 w 342763"/>
                <a:gd name="connsiteY19" fmla="*/ 0 h 243238"/>
                <a:gd name="connsiteX20" fmla="*/ 249031 w 342763"/>
                <a:gd name="connsiteY20" fmla="*/ 80750 h 243238"/>
                <a:gd name="connsiteX21" fmla="*/ 291065 w 342763"/>
                <a:gd name="connsiteY21" fmla="*/ 64274 h 243238"/>
                <a:gd name="connsiteX22" fmla="*/ 291327 w 342763"/>
                <a:gd name="connsiteY22" fmla="*/ 64274 h 243238"/>
                <a:gd name="connsiteX23" fmla="*/ 341483 w 342763"/>
                <a:gd name="connsiteY23" fmla="*/ 110994 h 243238"/>
                <a:gd name="connsiteX24" fmla="*/ 342327 w 342763"/>
                <a:gd name="connsiteY24" fmla="*/ 110761 h 243238"/>
                <a:gd name="connsiteX25" fmla="*/ 342414 w 342763"/>
                <a:gd name="connsiteY25" fmla="*/ 119320 h 243238"/>
                <a:gd name="connsiteX26" fmla="*/ 342385 w 342763"/>
                <a:gd name="connsiteY26" fmla="*/ 120018 h 243238"/>
                <a:gd name="connsiteX27" fmla="*/ 342414 w 342763"/>
                <a:gd name="connsiteY27" fmla="*/ 120950 h 243238"/>
                <a:gd name="connsiteX28" fmla="*/ 342764 w 342763"/>
                <a:gd name="connsiteY28" fmla="*/ 127878 h 243238"/>
                <a:gd name="connsiteX29" fmla="*/ 341803 w 342763"/>
                <a:gd name="connsiteY29" fmla="*/ 127878 h 243238"/>
                <a:gd name="connsiteX30" fmla="*/ 291764 w 342763"/>
                <a:gd name="connsiteY30" fmla="*/ 176782 h 243238"/>
                <a:gd name="connsiteX31" fmla="*/ 291444 w 342763"/>
                <a:gd name="connsiteY31" fmla="*/ 176782 h 243238"/>
                <a:gd name="connsiteX32" fmla="*/ 249002 w 342763"/>
                <a:gd name="connsiteY32" fmla="*/ 160451 h 243238"/>
                <a:gd name="connsiteX33" fmla="*/ 249002 w 342763"/>
                <a:gd name="connsiteY33" fmla="*/ 243238 h 243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342763" h="243238">
                  <a:moveTo>
                    <a:pt x="249002" y="243238"/>
                  </a:moveTo>
                  <a:lnTo>
                    <a:pt x="242423" y="243238"/>
                  </a:lnTo>
                  <a:cubicBezTo>
                    <a:pt x="115419" y="243238"/>
                    <a:pt x="11178" y="148021"/>
                    <a:pt x="0" y="21745"/>
                  </a:cubicBezTo>
                  <a:lnTo>
                    <a:pt x="13099" y="20580"/>
                  </a:lnTo>
                  <a:cubicBezTo>
                    <a:pt x="23491" y="137833"/>
                    <a:pt x="118679" y="226763"/>
                    <a:pt x="235816" y="229994"/>
                  </a:cubicBezTo>
                  <a:lnTo>
                    <a:pt x="235816" y="143975"/>
                  </a:lnTo>
                  <a:lnTo>
                    <a:pt x="250225" y="144324"/>
                  </a:lnTo>
                  <a:lnTo>
                    <a:pt x="252029" y="145897"/>
                  </a:lnTo>
                  <a:cubicBezTo>
                    <a:pt x="265391" y="157657"/>
                    <a:pt x="278665" y="163624"/>
                    <a:pt x="291444" y="163624"/>
                  </a:cubicBezTo>
                  <a:cubicBezTo>
                    <a:pt x="291531" y="163624"/>
                    <a:pt x="291589" y="163624"/>
                    <a:pt x="291677" y="163624"/>
                  </a:cubicBezTo>
                  <a:cubicBezTo>
                    <a:pt x="311937" y="163479"/>
                    <a:pt x="328413" y="144790"/>
                    <a:pt x="329170" y="121095"/>
                  </a:cubicBezTo>
                  <a:lnTo>
                    <a:pt x="329199" y="120047"/>
                  </a:lnTo>
                  <a:lnTo>
                    <a:pt x="329170" y="119523"/>
                  </a:lnTo>
                  <a:cubicBezTo>
                    <a:pt x="328092" y="95887"/>
                    <a:pt x="311500" y="77460"/>
                    <a:pt x="291327" y="77460"/>
                  </a:cubicBezTo>
                  <a:cubicBezTo>
                    <a:pt x="291269" y="77460"/>
                    <a:pt x="291211" y="77460"/>
                    <a:pt x="291153" y="77460"/>
                  </a:cubicBezTo>
                  <a:cubicBezTo>
                    <a:pt x="278315" y="77547"/>
                    <a:pt x="265041" y="83690"/>
                    <a:pt x="251738" y="95683"/>
                  </a:cubicBezTo>
                  <a:lnTo>
                    <a:pt x="249992" y="97255"/>
                  </a:lnTo>
                  <a:lnTo>
                    <a:pt x="235874" y="97866"/>
                  </a:lnTo>
                  <a:lnTo>
                    <a:pt x="235874" y="0"/>
                  </a:lnTo>
                  <a:lnTo>
                    <a:pt x="249031" y="0"/>
                  </a:lnTo>
                  <a:lnTo>
                    <a:pt x="249031" y="80750"/>
                  </a:lnTo>
                  <a:cubicBezTo>
                    <a:pt x="262858" y="69921"/>
                    <a:pt x="276976" y="64390"/>
                    <a:pt x="291065" y="64274"/>
                  </a:cubicBezTo>
                  <a:cubicBezTo>
                    <a:pt x="291153" y="64274"/>
                    <a:pt x="291240" y="64274"/>
                    <a:pt x="291327" y="64274"/>
                  </a:cubicBezTo>
                  <a:cubicBezTo>
                    <a:pt x="316158" y="64274"/>
                    <a:pt x="336971" y="84184"/>
                    <a:pt x="341483" y="110994"/>
                  </a:cubicBezTo>
                  <a:lnTo>
                    <a:pt x="342327" y="110761"/>
                  </a:lnTo>
                  <a:lnTo>
                    <a:pt x="342414" y="119320"/>
                  </a:lnTo>
                  <a:lnTo>
                    <a:pt x="342385" y="120018"/>
                  </a:lnTo>
                  <a:lnTo>
                    <a:pt x="342414" y="120950"/>
                  </a:lnTo>
                  <a:lnTo>
                    <a:pt x="342764" y="127878"/>
                  </a:lnTo>
                  <a:lnTo>
                    <a:pt x="341803" y="127878"/>
                  </a:lnTo>
                  <a:cubicBezTo>
                    <a:pt x="338193" y="155590"/>
                    <a:pt x="317206" y="176607"/>
                    <a:pt x="291764" y="176782"/>
                  </a:cubicBezTo>
                  <a:cubicBezTo>
                    <a:pt x="291647" y="176782"/>
                    <a:pt x="291560" y="176782"/>
                    <a:pt x="291444" y="176782"/>
                  </a:cubicBezTo>
                  <a:cubicBezTo>
                    <a:pt x="277267" y="176782"/>
                    <a:pt x="263033" y="171280"/>
                    <a:pt x="249002" y="160451"/>
                  </a:cubicBezTo>
                  <a:lnTo>
                    <a:pt x="249002" y="243238"/>
                  </a:lnTo>
                  <a:close/>
                </a:path>
              </a:pathLst>
            </a:custGeom>
            <a:solidFill>
              <a:schemeClr val="accent1"/>
            </a:solidFill>
            <a:ln w="2908" cap="flat">
              <a:noFill/>
              <a:prstDash val="solid"/>
              <a:miter/>
            </a:ln>
          </p:spPr>
          <p:txBody>
            <a:bodyPr rtlCol="0" anchor="ctr"/>
            <a:lstStyle/>
            <a:p>
              <a:endParaRPr lang="en-GB" dirty="0"/>
            </a:p>
          </p:txBody>
        </p:sp>
      </p:grpSp>
      <p:grpSp>
        <p:nvGrpSpPr>
          <p:cNvPr id="265" name="Group 264">
            <a:extLst>
              <a:ext uri="{FF2B5EF4-FFF2-40B4-BE49-F238E27FC236}">
                <a16:creationId xmlns:a16="http://schemas.microsoft.com/office/drawing/2014/main" id="{82526E63-84E9-4E1E-A79F-F30F7C770C9C}"/>
              </a:ext>
            </a:extLst>
          </p:cNvPr>
          <p:cNvGrpSpPr/>
          <p:nvPr/>
        </p:nvGrpSpPr>
        <p:grpSpPr>
          <a:xfrm>
            <a:off x="1623458" y="4003462"/>
            <a:ext cx="432052" cy="430299"/>
            <a:chOff x="1719929" y="4142044"/>
            <a:chExt cx="487146" cy="485169"/>
          </a:xfrm>
        </p:grpSpPr>
        <p:sp>
          <p:nvSpPr>
            <p:cNvPr id="266" name="Freihandform: Form 382">
              <a:extLst>
                <a:ext uri="{FF2B5EF4-FFF2-40B4-BE49-F238E27FC236}">
                  <a16:creationId xmlns:a16="http://schemas.microsoft.com/office/drawing/2014/main" id="{78980F33-1F8E-40B7-BD18-B5B5D20482D0}"/>
                </a:ext>
              </a:extLst>
            </p:cNvPr>
            <p:cNvSpPr/>
            <p:nvPr/>
          </p:nvSpPr>
          <p:spPr>
            <a:xfrm>
              <a:off x="1719929" y="4142044"/>
              <a:ext cx="224142" cy="342559"/>
            </a:xfrm>
            <a:custGeom>
              <a:avLst/>
              <a:gdLst>
                <a:gd name="connsiteX0" fmla="*/ 115448 w 224142"/>
                <a:gd name="connsiteY0" fmla="*/ 342560 h 342559"/>
                <a:gd name="connsiteX1" fmla="*/ 115448 w 224142"/>
                <a:gd name="connsiteY1" fmla="*/ 341599 h 342559"/>
                <a:gd name="connsiteX2" fmla="*/ 66515 w 224142"/>
                <a:gd name="connsiteY2" fmla="*/ 291589 h 342559"/>
                <a:gd name="connsiteX3" fmla="*/ 82846 w 224142"/>
                <a:gd name="connsiteY3" fmla="*/ 248857 h 342559"/>
                <a:gd name="connsiteX4" fmla="*/ 0 w 224142"/>
                <a:gd name="connsiteY4" fmla="*/ 248857 h 342559"/>
                <a:gd name="connsiteX5" fmla="*/ 0 w 224142"/>
                <a:gd name="connsiteY5" fmla="*/ 242278 h 342559"/>
                <a:gd name="connsiteX6" fmla="*/ 221639 w 224142"/>
                <a:gd name="connsiteY6" fmla="*/ 0 h 342559"/>
                <a:gd name="connsiteX7" fmla="*/ 222804 w 224142"/>
                <a:gd name="connsiteY7" fmla="*/ 13099 h 342559"/>
                <a:gd name="connsiteX8" fmla="*/ 13245 w 224142"/>
                <a:gd name="connsiteY8" fmla="*/ 235670 h 342559"/>
                <a:gd name="connsiteX9" fmla="*/ 99321 w 224142"/>
                <a:gd name="connsiteY9" fmla="*/ 235670 h 342559"/>
                <a:gd name="connsiteX10" fmla="*/ 98972 w 224142"/>
                <a:gd name="connsiteY10" fmla="*/ 250050 h 342559"/>
                <a:gd name="connsiteX11" fmla="*/ 97400 w 224142"/>
                <a:gd name="connsiteY11" fmla="*/ 251855 h 342559"/>
                <a:gd name="connsiteX12" fmla="*/ 79643 w 224142"/>
                <a:gd name="connsiteY12" fmla="*/ 291473 h 342559"/>
                <a:gd name="connsiteX13" fmla="*/ 122201 w 224142"/>
                <a:gd name="connsiteY13" fmla="*/ 328937 h 342559"/>
                <a:gd name="connsiteX14" fmla="*/ 123249 w 224142"/>
                <a:gd name="connsiteY14" fmla="*/ 328966 h 342559"/>
                <a:gd name="connsiteX15" fmla="*/ 123773 w 224142"/>
                <a:gd name="connsiteY15" fmla="*/ 328937 h 342559"/>
                <a:gd name="connsiteX16" fmla="*/ 165866 w 224142"/>
                <a:gd name="connsiteY16" fmla="*/ 290920 h 342559"/>
                <a:gd name="connsiteX17" fmla="*/ 147643 w 224142"/>
                <a:gd name="connsiteY17" fmla="*/ 251535 h 342559"/>
                <a:gd name="connsiteX18" fmla="*/ 146042 w 224142"/>
                <a:gd name="connsiteY18" fmla="*/ 249788 h 342559"/>
                <a:gd name="connsiteX19" fmla="*/ 145431 w 224142"/>
                <a:gd name="connsiteY19" fmla="*/ 235670 h 342559"/>
                <a:gd name="connsiteX20" fmla="*/ 224143 w 224142"/>
                <a:gd name="connsiteY20" fmla="*/ 235670 h 342559"/>
                <a:gd name="connsiteX21" fmla="*/ 224143 w 224142"/>
                <a:gd name="connsiteY21" fmla="*/ 248827 h 342559"/>
                <a:gd name="connsiteX22" fmla="*/ 162547 w 224142"/>
                <a:gd name="connsiteY22" fmla="*/ 248827 h 342559"/>
                <a:gd name="connsiteX23" fmla="*/ 179023 w 224142"/>
                <a:gd name="connsiteY23" fmla="*/ 290832 h 342559"/>
                <a:gd name="connsiteX24" fmla="*/ 132273 w 224142"/>
                <a:gd name="connsiteY24" fmla="*/ 341221 h 342559"/>
                <a:gd name="connsiteX25" fmla="*/ 132477 w 224142"/>
                <a:gd name="connsiteY25" fmla="*/ 342065 h 342559"/>
                <a:gd name="connsiteX26" fmla="*/ 123919 w 224142"/>
                <a:gd name="connsiteY26" fmla="*/ 342152 h 342559"/>
                <a:gd name="connsiteX27" fmla="*/ 123220 w 224142"/>
                <a:gd name="connsiteY27" fmla="*/ 342123 h 342559"/>
                <a:gd name="connsiteX28" fmla="*/ 122289 w 224142"/>
                <a:gd name="connsiteY28" fmla="*/ 342152 h 342559"/>
                <a:gd name="connsiteX29" fmla="*/ 115448 w 224142"/>
                <a:gd name="connsiteY29" fmla="*/ 342560 h 342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24142" h="342559">
                  <a:moveTo>
                    <a:pt x="115448" y="342560"/>
                  </a:moveTo>
                  <a:lnTo>
                    <a:pt x="115448" y="341599"/>
                  </a:lnTo>
                  <a:cubicBezTo>
                    <a:pt x="87707" y="338019"/>
                    <a:pt x="66690" y="317031"/>
                    <a:pt x="66515" y="291589"/>
                  </a:cubicBezTo>
                  <a:cubicBezTo>
                    <a:pt x="66428" y="277326"/>
                    <a:pt x="71929" y="263004"/>
                    <a:pt x="82846" y="248857"/>
                  </a:cubicBezTo>
                  <a:lnTo>
                    <a:pt x="0" y="248857"/>
                  </a:lnTo>
                  <a:lnTo>
                    <a:pt x="0" y="242278"/>
                  </a:lnTo>
                  <a:cubicBezTo>
                    <a:pt x="0" y="115332"/>
                    <a:pt x="95275" y="11178"/>
                    <a:pt x="221639" y="0"/>
                  </a:cubicBezTo>
                  <a:lnTo>
                    <a:pt x="222804" y="13099"/>
                  </a:lnTo>
                  <a:cubicBezTo>
                    <a:pt x="105493" y="23491"/>
                    <a:pt x="16476" y="118592"/>
                    <a:pt x="13245" y="235670"/>
                  </a:cubicBezTo>
                  <a:lnTo>
                    <a:pt x="99321" y="235670"/>
                  </a:lnTo>
                  <a:lnTo>
                    <a:pt x="98972" y="250050"/>
                  </a:lnTo>
                  <a:lnTo>
                    <a:pt x="97400" y="251855"/>
                  </a:lnTo>
                  <a:cubicBezTo>
                    <a:pt x="85553" y="265303"/>
                    <a:pt x="79585" y="278636"/>
                    <a:pt x="79643" y="291473"/>
                  </a:cubicBezTo>
                  <a:cubicBezTo>
                    <a:pt x="79789" y="311733"/>
                    <a:pt x="98477" y="328180"/>
                    <a:pt x="122201" y="328937"/>
                  </a:cubicBezTo>
                  <a:lnTo>
                    <a:pt x="123249" y="328966"/>
                  </a:lnTo>
                  <a:lnTo>
                    <a:pt x="123773" y="328937"/>
                  </a:lnTo>
                  <a:cubicBezTo>
                    <a:pt x="147498" y="327860"/>
                    <a:pt x="165982" y="311151"/>
                    <a:pt x="165866" y="290920"/>
                  </a:cubicBezTo>
                  <a:cubicBezTo>
                    <a:pt x="165778" y="278082"/>
                    <a:pt x="159636" y="264838"/>
                    <a:pt x="147643" y="251535"/>
                  </a:cubicBezTo>
                  <a:lnTo>
                    <a:pt x="146042" y="249788"/>
                  </a:lnTo>
                  <a:lnTo>
                    <a:pt x="145431" y="235670"/>
                  </a:lnTo>
                  <a:lnTo>
                    <a:pt x="224143" y="235670"/>
                  </a:lnTo>
                  <a:lnTo>
                    <a:pt x="224143" y="248827"/>
                  </a:lnTo>
                  <a:lnTo>
                    <a:pt x="162547" y="248827"/>
                  </a:lnTo>
                  <a:cubicBezTo>
                    <a:pt x="173376" y="262654"/>
                    <a:pt x="178936" y="276744"/>
                    <a:pt x="179023" y="290832"/>
                  </a:cubicBezTo>
                  <a:cubicBezTo>
                    <a:pt x="179169" y="315779"/>
                    <a:pt x="159170" y="336709"/>
                    <a:pt x="132273" y="341221"/>
                  </a:cubicBezTo>
                  <a:lnTo>
                    <a:pt x="132477" y="342065"/>
                  </a:lnTo>
                  <a:lnTo>
                    <a:pt x="123919" y="342152"/>
                  </a:lnTo>
                  <a:lnTo>
                    <a:pt x="123220" y="342123"/>
                  </a:lnTo>
                  <a:lnTo>
                    <a:pt x="122289" y="342152"/>
                  </a:lnTo>
                  <a:lnTo>
                    <a:pt x="115448" y="342560"/>
                  </a:lnTo>
                  <a:close/>
                </a:path>
              </a:pathLst>
            </a:custGeom>
            <a:solidFill>
              <a:schemeClr val="tx2"/>
            </a:solidFill>
            <a:ln w="2908" cap="flat">
              <a:noFill/>
              <a:prstDash val="solid"/>
              <a:miter/>
            </a:ln>
          </p:spPr>
          <p:txBody>
            <a:bodyPr rtlCol="0" anchor="ctr"/>
            <a:lstStyle/>
            <a:p>
              <a:endParaRPr lang="en-GB" dirty="0"/>
            </a:p>
          </p:txBody>
        </p:sp>
        <p:sp>
          <p:nvSpPr>
            <p:cNvPr id="267" name="Freihandform: Form 385">
              <a:extLst>
                <a:ext uri="{FF2B5EF4-FFF2-40B4-BE49-F238E27FC236}">
                  <a16:creationId xmlns:a16="http://schemas.microsoft.com/office/drawing/2014/main" id="{6AED3AA3-FAF8-476C-8F7D-124A006869EA}"/>
                </a:ext>
              </a:extLst>
            </p:cNvPr>
            <p:cNvSpPr/>
            <p:nvPr/>
          </p:nvSpPr>
          <p:spPr>
            <a:xfrm>
              <a:off x="1982875" y="4284712"/>
              <a:ext cx="224200" cy="342501"/>
            </a:xfrm>
            <a:custGeom>
              <a:avLst/>
              <a:gdLst>
                <a:gd name="connsiteX0" fmla="*/ 2503 w 224200"/>
                <a:gd name="connsiteY0" fmla="*/ 342502 h 342501"/>
                <a:gd name="connsiteX1" fmla="*/ 1339 w 224200"/>
                <a:gd name="connsiteY1" fmla="*/ 329402 h 342501"/>
                <a:gd name="connsiteX2" fmla="*/ 210898 w 224200"/>
                <a:gd name="connsiteY2" fmla="*/ 106832 h 342501"/>
                <a:gd name="connsiteX3" fmla="*/ 124821 w 224200"/>
                <a:gd name="connsiteY3" fmla="*/ 106832 h 342501"/>
                <a:gd name="connsiteX4" fmla="*/ 125171 w 224200"/>
                <a:gd name="connsiteY4" fmla="*/ 92451 h 342501"/>
                <a:gd name="connsiteX5" fmla="*/ 126743 w 224200"/>
                <a:gd name="connsiteY5" fmla="*/ 90647 h 342501"/>
                <a:gd name="connsiteX6" fmla="*/ 144499 w 224200"/>
                <a:gd name="connsiteY6" fmla="*/ 51029 h 342501"/>
                <a:gd name="connsiteX7" fmla="*/ 101941 w 224200"/>
                <a:gd name="connsiteY7" fmla="*/ 13565 h 342501"/>
                <a:gd name="connsiteX8" fmla="*/ 100893 w 224200"/>
                <a:gd name="connsiteY8" fmla="*/ 13536 h 342501"/>
                <a:gd name="connsiteX9" fmla="*/ 100369 w 224200"/>
                <a:gd name="connsiteY9" fmla="*/ 13565 h 342501"/>
                <a:gd name="connsiteX10" fmla="*/ 58277 w 224200"/>
                <a:gd name="connsiteY10" fmla="*/ 51582 h 342501"/>
                <a:gd name="connsiteX11" fmla="*/ 76500 w 224200"/>
                <a:gd name="connsiteY11" fmla="*/ 90967 h 342501"/>
                <a:gd name="connsiteX12" fmla="*/ 78101 w 224200"/>
                <a:gd name="connsiteY12" fmla="*/ 92714 h 342501"/>
                <a:gd name="connsiteX13" fmla="*/ 78712 w 224200"/>
                <a:gd name="connsiteY13" fmla="*/ 106832 h 342501"/>
                <a:gd name="connsiteX14" fmla="*/ 0 w 224200"/>
                <a:gd name="connsiteY14" fmla="*/ 106832 h 342501"/>
                <a:gd name="connsiteX15" fmla="*/ 0 w 224200"/>
                <a:gd name="connsiteY15" fmla="*/ 93674 h 342501"/>
                <a:gd name="connsiteX16" fmla="*/ 61596 w 224200"/>
                <a:gd name="connsiteY16" fmla="*/ 93674 h 342501"/>
                <a:gd name="connsiteX17" fmla="*/ 45120 w 224200"/>
                <a:gd name="connsiteY17" fmla="*/ 51669 h 342501"/>
                <a:gd name="connsiteX18" fmla="*/ 91869 w 224200"/>
                <a:gd name="connsiteY18" fmla="*/ 1281 h 342501"/>
                <a:gd name="connsiteX19" fmla="*/ 91666 w 224200"/>
                <a:gd name="connsiteY19" fmla="*/ 437 h 342501"/>
                <a:gd name="connsiteX20" fmla="*/ 100224 w 224200"/>
                <a:gd name="connsiteY20" fmla="*/ 349 h 342501"/>
                <a:gd name="connsiteX21" fmla="*/ 100922 w 224200"/>
                <a:gd name="connsiteY21" fmla="*/ 378 h 342501"/>
                <a:gd name="connsiteX22" fmla="*/ 101854 w 224200"/>
                <a:gd name="connsiteY22" fmla="*/ 349 h 342501"/>
                <a:gd name="connsiteX23" fmla="*/ 108753 w 224200"/>
                <a:gd name="connsiteY23" fmla="*/ 0 h 342501"/>
                <a:gd name="connsiteX24" fmla="*/ 108753 w 224200"/>
                <a:gd name="connsiteY24" fmla="*/ 960 h 342501"/>
                <a:gd name="connsiteX25" fmla="*/ 157686 w 224200"/>
                <a:gd name="connsiteY25" fmla="*/ 50970 h 342501"/>
                <a:gd name="connsiteX26" fmla="*/ 141355 w 224200"/>
                <a:gd name="connsiteY26" fmla="*/ 93703 h 342501"/>
                <a:gd name="connsiteX27" fmla="*/ 224201 w 224200"/>
                <a:gd name="connsiteY27" fmla="*/ 93703 h 342501"/>
                <a:gd name="connsiteX28" fmla="*/ 224201 w 224200"/>
                <a:gd name="connsiteY28" fmla="*/ 100282 h 342501"/>
                <a:gd name="connsiteX29" fmla="*/ 2503 w 224200"/>
                <a:gd name="connsiteY29" fmla="*/ 342502 h 342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24200" h="342501">
                  <a:moveTo>
                    <a:pt x="2503" y="342502"/>
                  </a:moveTo>
                  <a:lnTo>
                    <a:pt x="1339" y="329402"/>
                  </a:lnTo>
                  <a:cubicBezTo>
                    <a:pt x="118650" y="319010"/>
                    <a:pt x="207667" y="223910"/>
                    <a:pt x="210898" y="106832"/>
                  </a:cubicBezTo>
                  <a:lnTo>
                    <a:pt x="124821" y="106832"/>
                  </a:lnTo>
                  <a:lnTo>
                    <a:pt x="125171" y="92451"/>
                  </a:lnTo>
                  <a:lnTo>
                    <a:pt x="126743" y="90647"/>
                  </a:lnTo>
                  <a:cubicBezTo>
                    <a:pt x="138590" y="77198"/>
                    <a:pt x="144557" y="63866"/>
                    <a:pt x="144499" y="51029"/>
                  </a:cubicBezTo>
                  <a:cubicBezTo>
                    <a:pt x="144354" y="30769"/>
                    <a:pt x="125665" y="14322"/>
                    <a:pt x="101941" y="13565"/>
                  </a:cubicBezTo>
                  <a:lnTo>
                    <a:pt x="100893" y="13536"/>
                  </a:lnTo>
                  <a:lnTo>
                    <a:pt x="100369" y="13565"/>
                  </a:lnTo>
                  <a:cubicBezTo>
                    <a:pt x="76645" y="14642"/>
                    <a:pt x="58161" y="31351"/>
                    <a:pt x="58277" y="51582"/>
                  </a:cubicBezTo>
                  <a:cubicBezTo>
                    <a:pt x="58364" y="64419"/>
                    <a:pt x="64507" y="77664"/>
                    <a:pt x="76500" y="90967"/>
                  </a:cubicBezTo>
                  <a:lnTo>
                    <a:pt x="78101" y="92714"/>
                  </a:lnTo>
                  <a:lnTo>
                    <a:pt x="78712" y="106832"/>
                  </a:lnTo>
                  <a:lnTo>
                    <a:pt x="0" y="106832"/>
                  </a:lnTo>
                  <a:lnTo>
                    <a:pt x="0" y="93674"/>
                  </a:lnTo>
                  <a:lnTo>
                    <a:pt x="61596" y="93674"/>
                  </a:lnTo>
                  <a:cubicBezTo>
                    <a:pt x="50767" y="79847"/>
                    <a:pt x="45207" y="65758"/>
                    <a:pt x="45120" y="51669"/>
                  </a:cubicBezTo>
                  <a:cubicBezTo>
                    <a:pt x="44974" y="26722"/>
                    <a:pt x="64972" y="5793"/>
                    <a:pt x="91869" y="1281"/>
                  </a:cubicBezTo>
                  <a:lnTo>
                    <a:pt x="91666" y="437"/>
                  </a:lnTo>
                  <a:lnTo>
                    <a:pt x="100224" y="349"/>
                  </a:lnTo>
                  <a:lnTo>
                    <a:pt x="100922" y="378"/>
                  </a:lnTo>
                  <a:lnTo>
                    <a:pt x="101854" y="349"/>
                  </a:lnTo>
                  <a:lnTo>
                    <a:pt x="108753" y="0"/>
                  </a:lnTo>
                  <a:lnTo>
                    <a:pt x="108753" y="960"/>
                  </a:lnTo>
                  <a:cubicBezTo>
                    <a:pt x="136494" y="4541"/>
                    <a:pt x="157511" y="25529"/>
                    <a:pt x="157686" y="50970"/>
                  </a:cubicBezTo>
                  <a:cubicBezTo>
                    <a:pt x="157773" y="65234"/>
                    <a:pt x="152271" y="79556"/>
                    <a:pt x="141355" y="93703"/>
                  </a:cubicBezTo>
                  <a:lnTo>
                    <a:pt x="224201" y="93703"/>
                  </a:lnTo>
                  <a:lnTo>
                    <a:pt x="224201" y="100282"/>
                  </a:lnTo>
                  <a:cubicBezTo>
                    <a:pt x="224143" y="227170"/>
                    <a:pt x="128867" y="331324"/>
                    <a:pt x="2503" y="342502"/>
                  </a:cubicBezTo>
                  <a:close/>
                </a:path>
              </a:pathLst>
            </a:custGeom>
            <a:solidFill>
              <a:schemeClr val="tx2"/>
            </a:solidFill>
            <a:ln w="2908" cap="flat">
              <a:noFill/>
              <a:prstDash val="solid"/>
              <a:miter/>
            </a:ln>
          </p:spPr>
          <p:txBody>
            <a:bodyPr rtlCol="0" anchor="ctr"/>
            <a:lstStyle/>
            <a:p>
              <a:endParaRPr lang="en-GB" dirty="0"/>
            </a:p>
          </p:txBody>
        </p:sp>
      </p:grpSp>
      <p:grpSp>
        <p:nvGrpSpPr>
          <p:cNvPr id="11" name="Group 10">
            <a:extLst>
              <a:ext uri="{FF2B5EF4-FFF2-40B4-BE49-F238E27FC236}">
                <a16:creationId xmlns:a16="http://schemas.microsoft.com/office/drawing/2014/main" id="{B8CD1A3D-C4CA-1672-ECAC-B903569F367F}"/>
              </a:ext>
            </a:extLst>
          </p:cNvPr>
          <p:cNvGrpSpPr/>
          <p:nvPr/>
        </p:nvGrpSpPr>
        <p:grpSpPr>
          <a:xfrm>
            <a:off x="2670208" y="4002609"/>
            <a:ext cx="429420" cy="432001"/>
            <a:chOff x="2670208" y="4002609"/>
            <a:chExt cx="429420" cy="432001"/>
          </a:xfrm>
        </p:grpSpPr>
        <p:grpSp>
          <p:nvGrpSpPr>
            <p:cNvPr id="271" name="Group 270">
              <a:extLst>
                <a:ext uri="{FF2B5EF4-FFF2-40B4-BE49-F238E27FC236}">
                  <a16:creationId xmlns:a16="http://schemas.microsoft.com/office/drawing/2014/main" id="{338457AB-2F23-43A3-BE3B-F6F8F21808DA}"/>
                </a:ext>
              </a:extLst>
            </p:cNvPr>
            <p:cNvGrpSpPr/>
            <p:nvPr/>
          </p:nvGrpSpPr>
          <p:grpSpPr>
            <a:xfrm>
              <a:off x="2743423" y="4156040"/>
              <a:ext cx="282992" cy="278570"/>
              <a:chOff x="5409561" y="1799299"/>
              <a:chExt cx="318240" cy="313267"/>
            </a:xfrm>
            <a:solidFill>
              <a:schemeClr val="tx2"/>
            </a:solidFill>
          </p:grpSpPr>
          <p:sp>
            <p:nvSpPr>
              <p:cNvPr id="279" name="Freihandform: Form 671">
                <a:extLst>
                  <a:ext uri="{FF2B5EF4-FFF2-40B4-BE49-F238E27FC236}">
                    <a16:creationId xmlns:a16="http://schemas.microsoft.com/office/drawing/2014/main" id="{137E8AEE-508D-4E8E-849C-A666ABC9B541}"/>
                  </a:ext>
                </a:extLst>
              </p:cNvPr>
              <p:cNvSpPr/>
              <p:nvPr/>
            </p:nvSpPr>
            <p:spPr>
              <a:xfrm>
                <a:off x="5463062" y="1949433"/>
                <a:ext cx="211295" cy="163133"/>
              </a:xfrm>
              <a:custGeom>
                <a:avLst/>
                <a:gdLst>
                  <a:gd name="connsiteX0" fmla="*/ 182904 w 211295"/>
                  <a:gd name="connsiteY0" fmla="*/ 163134 h 163133"/>
                  <a:gd name="connsiteX1" fmla="*/ 28362 w 211295"/>
                  <a:gd name="connsiteY1" fmla="*/ 163134 h 163133"/>
                  <a:gd name="connsiteX2" fmla="*/ 0 w 211295"/>
                  <a:gd name="connsiteY2" fmla="*/ 0 h 163133"/>
                  <a:gd name="connsiteX3" fmla="*/ 211295 w 211295"/>
                  <a:gd name="connsiteY3" fmla="*/ 0 h 163133"/>
                  <a:gd name="connsiteX4" fmla="*/ 182904 w 211295"/>
                  <a:gd name="connsiteY4" fmla="*/ 163134 h 163133"/>
                  <a:gd name="connsiteX5" fmla="*/ 39339 w 211295"/>
                  <a:gd name="connsiteY5" fmla="*/ 150088 h 163133"/>
                  <a:gd name="connsiteX6" fmla="*/ 171927 w 211295"/>
                  <a:gd name="connsiteY6" fmla="*/ 150088 h 163133"/>
                  <a:gd name="connsiteX7" fmla="*/ 195749 w 211295"/>
                  <a:gd name="connsiteY7" fmla="*/ 13046 h 163133"/>
                  <a:gd name="connsiteX8" fmla="*/ 15489 w 211295"/>
                  <a:gd name="connsiteY8" fmla="*/ 13046 h 163133"/>
                  <a:gd name="connsiteX9" fmla="*/ 39339 w 211295"/>
                  <a:gd name="connsiteY9" fmla="*/ 150088 h 163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1295" h="163133">
                    <a:moveTo>
                      <a:pt x="182904" y="163134"/>
                    </a:moveTo>
                    <a:lnTo>
                      <a:pt x="28362" y="163134"/>
                    </a:lnTo>
                    <a:lnTo>
                      <a:pt x="0" y="0"/>
                    </a:lnTo>
                    <a:lnTo>
                      <a:pt x="211295" y="0"/>
                    </a:lnTo>
                    <a:lnTo>
                      <a:pt x="182904" y="163134"/>
                    </a:lnTo>
                    <a:close/>
                    <a:moveTo>
                      <a:pt x="39339" y="150088"/>
                    </a:moveTo>
                    <a:lnTo>
                      <a:pt x="171927" y="150088"/>
                    </a:lnTo>
                    <a:lnTo>
                      <a:pt x="195749" y="13046"/>
                    </a:lnTo>
                    <a:lnTo>
                      <a:pt x="15489" y="13046"/>
                    </a:lnTo>
                    <a:lnTo>
                      <a:pt x="39339" y="150088"/>
                    </a:lnTo>
                    <a:close/>
                  </a:path>
                </a:pathLst>
              </a:custGeom>
              <a:grpFill/>
              <a:ln w="2873" cap="flat">
                <a:noFill/>
                <a:prstDash val="solid"/>
                <a:miter/>
              </a:ln>
            </p:spPr>
            <p:txBody>
              <a:bodyPr rtlCol="0" anchor="ctr"/>
              <a:lstStyle/>
              <a:p>
                <a:endParaRPr lang="en-GB" dirty="0"/>
              </a:p>
            </p:txBody>
          </p:sp>
          <p:sp>
            <p:nvSpPr>
              <p:cNvPr id="280" name="Freihandform: Form 672">
                <a:extLst>
                  <a:ext uri="{FF2B5EF4-FFF2-40B4-BE49-F238E27FC236}">
                    <a16:creationId xmlns:a16="http://schemas.microsoft.com/office/drawing/2014/main" id="{8DC02F11-7630-4375-9475-240667C8F622}"/>
                  </a:ext>
                </a:extLst>
              </p:cNvPr>
              <p:cNvSpPr/>
              <p:nvPr/>
            </p:nvSpPr>
            <p:spPr>
              <a:xfrm>
                <a:off x="5444700" y="1916818"/>
                <a:ext cx="247990" cy="45661"/>
              </a:xfrm>
              <a:custGeom>
                <a:avLst/>
                <a:gdLst>
                  <a:gd name="connsiteX0" fmla="*/ 241439 w 247990"/>
                  <a:gd name="connsiteY0" fmla="*/ 45661 h 45661"/>
                  <a:gd name="connsiteX1" fmla="*/ 6523 w 247990"/>
                  <a:gd name="connsiteY1" fmla="*/ 45661 h 45661"/>
                  <a:gd name="connsiteX2" fmla="*/ 0 w 247990"/>
                  <a:gd name="connsiteY2" fmla="*/ 39138 h 45661"/>
                  <a:gd name="connsiteX3" fmla="*/ 0 w 247990"/>
                  <a:gd name="connsiteY3" fmla="*/ 6523 h 45661"/>
                  <a:gd name="connsiteX4" fmla="*/ 6523 w 247990"/>
                  <a:gd name="connsiteY4" fmla="*/ 0 h 45661"/>
                  <a:gd name="connsiteX5" fmla="*/ 241468 w 247990"/>
                  <a:gd name="connsiteY5" fmla="*/ 0 h 45661"/>
                  <a:gd name="connsiteX6" fmla="*/ 247991 w 247990"/>
                  <a:gd name="connsiteY6" fmla="*/ 6523 h 45661"/>
                  <a:gd name="connsiteX7" fmla="*/ 247991 w 247990"/>
                  <a:gd name="connsiteY7" fmla="*/ 39138 h 45661"/>
                  <a:gd name="connsiteX8" fmla="*/ 241439 w 247990"/>
                  <a:gd name="connsiteY8" fmla="*/ 45661 h 45661"/>
                  <a:gd name="connsiteX9" fmla="*/ 13046 w 247990"/>
                  <a:gd name="connsiteY9" fmla="*/ 32615 h 45661"/>
                  <a:gd name="connsiteX10" fmla="*/ 234916 w 247990"/>
                  <a:gd name="connsiteY10" fmla="*/ 32615 h 45661"/>
                  <a:gd name="connsiteX11" fmla="*/ 234916 w 247990"/>
                  <a:gd name="connsiteY11" fmla="*/ 13046 h 45661"/>
                  <a:gd name="connsiteX12" fmla="*/ 13046 w 247990"/>
                  <a:gd name="connsiteY12" fmla="*/ 13046 h 45661"/>
                  <a:gd name="connsiteX13" fmla="*/ 13046 w 247990"/>
                  <a:gd name="connsiteY13" fmla="*/ 32615 h 4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7990" h="45661">
                    <a:moveTo>
                      <a:pt x="241439" y="45661"/>
                    </a:moveTo>
                    <a:lnTo>
                      <a:pt x="6523" y="45661"/>
                    </a:lnTo>
                    <a:cubicBezTo>
                      <a:pt x="2931" y="45661"/>
                      <a:pt x="0" y="42730"/>
                      <a:pt x="0" y="39138"/>
                    </a:cubicBezTo>
                    <a:lnTo>
                      <a:pt x="0" y="6523"/>
                    </a:lnTo>
                    <a:cubicBezTo>
                      <a:pt x="0" y="2931"/>
                      <a:pt x="2931" y="0"/>
                      <a:pt x="6523" y="0"/>
                    </a:cubicBezTo>
                    <a:lnTo>
                      <a:pt x="241468" y="0"/>
                    </a:lnTo>
                    <a:cubicBezTo>
                      <a:pt x="245060" y="0"/>
                      <a:pt x="247991" y="2931"/>
                      <a:pt x="247991" y="6523"/>
                    </a:cubicBezTo>
                    <a:lnTo>
                      <a:pt x="247991" y="39138"/>
                    </a:lnTo>
                    <a:cubicBezTo>
                      <a:pt x="247991" y="42759"/>
                      <a:pt x="245060" y="45661"/>
                      <a:pt x="241439" y="45661"/>
                    </a:cubicBezTo>
                    <a:close/>
                    <a:moveTo>
                      <a:pt x="13046" y="32615"/>
                    </a:moveTo>
                    <a:lnTo>
                      <a:pt x="234916" y="32615"/>
                    </a:lnTo>
                    <a:lnTo>
                      <a:pt x="234916" y="13046"/>
                    </a:lnTo>
                    <a:lnTo>
                      <a:pt x="13046" y="13046"/>
                    </a:lnTo>
                    <a:lnTo>
                      <a:pt x="13046" y="32615"/>
                    </a:lnTo>
                    <a:close/>
                  </a:path>
                </a:pathLst>
              </a:custGeom>
              <a:grpFill/>
              <a:ln w="2873" cap="flat">
                <a:noFill/>
                <a:prstDash val="solid"/>
                <a:miter/>
              </a:ln>
            </p:spPr>
            <p:txBody>
              <a:bodyPr rtlCol="0" anchor="ctr"/>
              <a:lstStyle/>
              <a:p>
                <a:endParaRPr lang="en-GB" dirty="0"/>
              </a:p>
            </p:txBody>
          </p:sp>
          <p:sp>
            <p:nvSpPr>
              <p:cNvPr id="281" name="Freihandform: Form 673">
                <a:extLst>
                  <a:ext uri="{FF2B5EF4-FFF2-40B4-BE49-F238E27FC236}">
                    <a16:creationId xmlns:a16="http://schemas.microsoft.com/office/drawing/2014/main" id="{39FFF8DB-07A1-450F-896C-9BCE1DAE856B}"/>
                  </a:ext>
                </a:extLst>
              </p:cNvPr>
              <p:cNvSpPr/>
              <p:nvPr/>
            </p:nvSpPr>
            <p:spPr>
              <a:xfrm>
                <a:off x="5562172" y="1831961"/>
                <a:ext cx="13046" cy="91351"/>
              </a:xfrm>
              <a:custGeom>
                <a:avLst/>
                <a:gdLst>
                  <a:gd name="connsiteX0" fmla="*/ 0 w 13046"/>
                  <a:gd name="connsiteY0" fmla="*/ 0 h 91351"/>
                  <a:gd name="connsiteX1" fmla="*/ 13046 w 13046"/>
                  <a:gd name="connsiteY1" fmla="*/ 0 h 91351"/>
                  <a:gd name="connsiteX2" fmla="*/ 13046 w 13046"/>
                  <a:gd name="connsiteY2" fmla="*/ 91351 h 91351"/>
                  <a:gd name="connsiteX3" fmla="*/ 0 w 13046"/>
                  <a:gd name="connsiteY3" fmla="*/ 91351 h 91351"/>
                </a:gdLst>
                <a:ahLst/>
                <a:cxnLst>
                  <a:cxn ang="0">
                    <a:pos x="connsiteX0" y="connsiteY0"/>
                  </a:cxn>
                  <a:cxn ang="0">
                    <a:pos x="connsiteX1" y="connsiteY1"/>
                  </a:cxn>
                  <a:cxn ang="0">
                    <a:pos x="connsiteX2" y="connsiteY2"/>
                  </a:cxn>
                  <a:cxn ang="0">
                    <a:pos x="connsiteX3" y="connsiteY3"/>
                  </a:cxn>
                </a:cxnLst>
                <a:rect l="l" t="t" r="r" b="b"/>
                <a:pathLst>
                  <a:path w="13046" h="91351">
                    <a:moveTo>
                      <a:pt x="0" y="0"/>
                    </a:moveTo>
                    <a:lnTo>
                      <a:pt x="13046" y="0"/>
                    </a:lnTo>
                    <a:lnTo>
                      <a:pt x="13046" y="91351"/>
                    </a:lnTo>
                    <a:lnTo>
                      <a:pt x="0" y="91351"/>
                    </a:lnTo>
                    <a:close/>
                  </a:path>
                </a:pathLst>
              </a:custGeom>
              <a:grpFill/>
              <a:ln w="2873" cap="flat">
                <a:noFill/>
                <a:prstDash val="solid"/>
                <a:miter/>
              </a:ln>
            </p:spPr>
            <p:txBody>
              <a:bodyPr rtlCol="0" anchor="ctr"/>
              <a:lstStyle/>
              <a:p>
                <a:endParaRPr lang="en-GB" dirty="0"/>
              </a:p>
            </p:txBody>
          </p:sp>
          <p:grpSp>
            <p:nvGrpSpPr>
              <p:cNvPr id="282" name="Grafik 167">
                <a:extLst>
                  <a:ext uri="{FF2B5EF4-FFF2-40B4-BE49-F238E27FC236}">
                    <a16:creationId xmlns:a16="http://schemas.microsoft.com/office/drawing/2014/main" id="{39572BE0-2EC2-4946-8AE6-023562F8421F}"/>
                  </a:ext>
                </a:extLst>
              </p:cNvPr>
              <p:cNvGrpSpPr/>
              <p:nvPr/>
            </p:nvGrpSpPr>
            <p:grpSpPr>
              <a:xfrm>
                <a:off x="5409561" y="1799299"/>
                <a:ext cx="165649" cy="101369"/>
                <a:chOff x="5409561" y="1799299"/>
                <a:chExt cx="165649" cy="101369"/>
              </a:xfrm>
              <a:grpFill/>
            </p:grpSpPr>
            <p:sp>
              <p:nvSpPr>
                <p:cNvPr id="286" name="Freihandform: Form 675">
                  <a:extLst>
                    <a:ext uri="{FF2B5EF4-FFF2-40B4-BE49-F238E27FC236}">
                      <a16:creationId xmlns:a16="http://schemas.microsoft.com/office/drawing/2014/main" id="{46A173F6-361C-4555-A718-90DDF41ED0AD}"/>
                    </a:ext>
                  </a:extLst>
                </p:cNvPr>
                <p:cNvSpPr/>
                <p:nvPr/>
              </p:nvSpPr>
              <p:spPr>
                <a:xfrm>
                  <a:off x="5409561" y="1799299"/>
                  <a:ext cx="127256" cy="95450"/>
                </a:xfrm>
                <a:custGeom>
                  <a:avLst/>
                  <a:gdLst>
                    <a:gd name="connsiteX0" fmla="*/ 86174 w 127256"/>
                    <a:gd name="connsiteY0" fmla="*/ 95450 h 95450"/>
                    <a:gd name="connsiteX1" fmla="*/ 85370 w 127256"/>
                    <a:gd name="connsiteY1" fmla="*/ 95450 h 95450"/>
                    <a:gd name="connsiteX2" fmla="*/ 714 w 127256"/>
                    <a:gd name="connsiteY2" fmla="*/ 9760 h 95450"/>
                    <a:gd name="connsiteX3" fmla="*/ 886 w 127256"/>
                    <a:gd name="connsiteY3" fmla="*/ 3495 h 95450"/>
                    <a:gd name="connsiteX4" fmla="*/ 6231 w 127256"/>
                    <a:gd name="connsiteY4" fmla="*/ 248 h 95450"/>
                    <a:gd name="connsiteX5" fmla="*/ 122697 w 127256"/>
                    <a:gd name="connsiteY5" fmla="*/ 30995 h 95450"/>
                    <a:gd name="connsiteX6" fmla="*/ 119565 w 127256"/>
                    <a:gd name="connsiteY6" fmla="*/ 72030 h 95450"/>
                    <a:gd name="connsiteX7" fmla="*/ 86174 w 127256"/>
                    <a:gd name="connsiteY7" fmla="*/ 95450 h 95450"/>
                    <a:gd name="connsiteX8" fmla="*/ 17409 w 127256"/>
                    <a:gd name="connsiteY8" fmla="*/ 13035 h 95450"/>
                    <a:gd name="connsiteX9" fmla="*/ 85714 w 127256"/>
                    <a:gd name="connsiteY9" fmla="*/ 82375 h 95450"/>
                    <a:gd name="connsiteX10" fmla="*/ 108272 w 127256"/>
                    <a:gd name="connsiteY10" fmla="*/ 65478 h 95450"/>
                    <a:gd name="connsiteX11" fmla="*/ 108272 w 127256"/>
                    <a:gd name="connsiteY11" fmla="*/ 65478 h 95450"/>
                    <a:gd name="connsiteX12" fmla="*/ 111577 w 127256"/>
                    <a:gd name="connsiteY12" fmla="*/ 37748 h 95450"/>
                    <a:gd name="connsiteX13" fmla="*/ 17783 w 127256"/>
                    <a:gd name="connsiteY13" fmla="*/ 13035 h 95450"/>
                    <a:gd name="connsiteX14" fmla="*/ 17409 w 127256"/>
                    <a:gd name="connsiteY14" fmla="*/ 13035 h 9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7256" h="95450">
                      <a:moveTo>
                        <a:pt x="86174" y="95450"/>
                      </a:moveTo>
                      <a:cubicBezTo>
                        <a:pt x="85916" y="95450"/>
                        <a:pt x="85628" y="95450"/>
                        <a:pt x="85370" y="95450"/>
                      </a:cubicBezTo>
                      <a:cubicBezTo>
                        <a:pt x="45398" y="94473"/>
                        <a:pt x="5196" y="18409"/>
                        <a:pt x="714" y="9760"/>
                      </a:cubicBezTo>
                      <a:cubicBezTo>
                        <a:pt x="-292" y="7777"/>
                        <a:pt x="-235" y="5420"/>
                        <a:pt x="886" y="3495"/>
                      </a:cubicBezTo>
                      <a:cubicBezTo>
                        <a:pt x="2007" y="1570"/>
                        <a:pt x="4018" y="363"/>
                        <a:pt x="6231" y="248"/>
                      </a:cubicBezTo>
                      <a:cubicBezTo>
                        <a:pt x="15944" y="-183"/>
                        <a:pt x="101950" y="-3143"/>
                        <a:pt x="122697" y="30995"/>
                      </a:cubicBezTo>
                      <a:cubicBezTo>
                        <a:pt x="129680" y="42490"/>
                        <a:pt x="128646" y="56312"/>
                        <a:pt x="119565" y="72030"/>
                      </a:cubicBezTo>
                      <a:cubicBezTo>
                        <a:pt x="110600" y="87548"/>
                        <a:pt x="99364" y="95450"/>
                        <a:pt x="86174" y="95450"/>
                      </a:cubicBezTo>
                      <a:close/>
                      <a:moveTo>
                        <a:pt x="17409" y="13035"/>
                      </a:moveTo>
                      <a:cubicBezTo>
                        <a:pt x="31863" y="38266"/>
                        <a:pt x="61662" y="81800"/>
                        <a:pt x="85714" y="82375"/>
                      </a:cubicBezTo>
                      <a:cubicBezTo>
                        <a:pt x="94306" y="82691"/>
                        <a:pt x="101605" y="77059"/>
                        <a:pt x="108272" y="65478"/>
                      </a:cubicBezTo>
                      <a:lnTo>
                        <a:pt x="108272" y="65478"/>
                      </a:lnTo>
                      <a:cubicBezTo>
                        <a:pt x="114881" y="54042"/>
                        <a:pt x="115945" y="44961"/>
                        <a:pt x="111577" y="37748"/>
                      </a:cubicBezTo>
                      <a:cubicBezTo>
                        <a:pt x="99134" y="17288"/>
                        <a:pt x="46950" y="13035"/>
                        <a:pt x="17783" y="13035"/>
                      </a:cubicBezTo>
                      <a:cubicBezTo>
                        <a:pt x="17639" y="13035"/>
                        <a:pt x="17524" y="13035"/>
                        <a:pt x="17409" y="13035"/>
                      </a:cubicBezTo>
                      <a:close/>
                    </a:path>
                  </a:pathLst>
                </a:custGeom>
                <a:grpFill/>
                <a:ln w="2873" cap="flat">
                  <a:noFill/>
                  <a:prstDash val="solid"/>
                  <a:miter/>
                </a:ln>
              </p:spPr>
              <p:txBody>
                <a:bodyPr rtlCol="0" anchor="ctr"/>
                <a:lstStyle/>
                <a:p>
                  <a:endParaRPr lang="en-GB" dirty="0"/>
                </a:p>
              </p:txBody>
            </p:sp>
            <p:sp>
              <p:nvSpPr>
                <p:cNvPr id="287" name="Freihandform: Form 676">
                  <a:extLst>
                    <a:ext uri="{FF2B5EF4-FFF2-40B4-BE49-F238E27FC236}">
                      <a16:creationId xmlns:a16="http://schemas.microsoft.com/office/drawing/2014/main" id="{64B3926F-E4C5-4CF9-9260-74CAFB565652}"/>
                    </a:ext>
                  </a:extLst>
                </p:cNvPr>
                <p:cNvSpPr/>
                <p:nvPr/>
              </p:nvSpPr>
              <p:spPr>
                <a:xfrm>
                  <a:off x="5483042" y="1841940"/>
                  <a:ext cx="92167" cy="58727"/>
                </a:xfrm>
                <a:custGeom>
                  <a:avLst/>
                  <a:gdLst>
                    <a:gd name="connsiteX0" fmla="*/ 85625 w 92167"/>
                    <a:gd name="connsiteY0" fmla="*/ 58728 h 58727"/>
                    <a:gd name="connsiteX1" fmla="*/ 82377 w 92167"/>
                    <a:gd name="connsiteY1" fmla="*/ 57866 h 58727"/>
                    <a:gd name="connsiteX2" fmla="*/ 3267 w 92167"/>
                    <a:gd name="connsiteY2" fmla="*/ 12176 h 58727"/>
                    <a:gd name="connsiteX3" fmla="*/ 882 w 92167"/>
                    <a:gd name="connsiteY3" fmla="*/ 3267 h 58727"/>
                    <a:gd name="connsiteX4" fmla="*/ 9791 w 92167"/>
                    <a:gd name="connsiteY4" fmla="*/ 882 h 58727"/>
                    <a:gd name="connsiteX5" fmla="*/ 88900 w 92167"/>
                    <a:gd name="connsiteY5" fmla="*/ 46572 h 58727"/>
                    <a:gd name="connsiteX6" fmla="*/ 91286 w 92167"/>
                    <a:gd name="connsiteY6" fmla="*/ 55481 h 58727"/>
                    <a:gd name="connsiteX7" fmla="*/ 85625 w 92167"/>
                    <a:gd name="connsiteY7" fmla="*/ 58728 h 5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67" h="58727">
                      <a:moveTo>
                        <a:pt x="85625" y="58728"/>
                      </a:moveTo>
                      <a:cubicBezTo>
                        <a:pt x="84533" y="58728"/>
                        <a:pt x="83383" y="58440"/>
                        <a:pt x="82377" y="57866"/>
                      </a:cubicBezTo>
                      <a:lnTo>
                        <a:pt x="3267" y="12176"/>
                      </a:lnTo>
                      <a:cubicBezTo>
                        <a:pt x="135" y="10365"/>
                        <a:pt x="-928" y="6371"/>
                        <a:pt x="882" y="3267"/>
                      </a:cubicBezTo>
                      <a:cubicBezTo>
                        <a:pt x="2693" y="135"/>
                        <a:pt x="6658" y="-928"/>
                        <a:pt x="9791" y="882"/>
                      </a:cubicBezTo>
                      <a:lnTo>
                        <a:pt x="88900" y="46572"/>
                      </a:lnTo>
                      <a:cubicBezTo>
                        <a:pt x="92033" y="48383"/>
                        <a:pt x="93096" y="52377"/>
                        <a:pt x="91286" y="55481"/>
                      </a:cubicBezTo>
                      <a:cubicBezTo>
                        <a:pt x="90079" y="57550"/>
                        <a:pt x="87895" y="58728"/>
                        <a:pt x="85625" y="58728"/>
                      </a:cubicBezTo>
                      <a:close/>
                    </a:path>
                  </a:pathLst>
                </a:custGeom>
                <a:grpFill/>
                <a:ln w="2873" cap="flat">
                  <a:noFill/>
                  <a:prstDash val="solid"/>
                  <a:miter/>
                </a:ln>
              </p:spPr>
              <p:txBody>
                <a:bodyPr rtlCol="0" anchor="ctr"/>
                <a:lstStyle/>
                <a:p>
                  <a:endParaRPr lang="en-GB" dirty="0"/>
                </a:p>
              </p:txBody>
            </p:sp>
          </p:grpSp>
          <p:grpSp>
            <p:nvGrpSpPr>
              <p:cNvPr id="283" name="Grafik 167">
                <a:extLst>
                  <a:ext uri="{FF2B5EF4-FFF2-40B4-BE49-F238E27FC236}">
                    <a16:creationId xmlns:a16="http://schemas.microsoft.com/office/drawing/2014/main" id="{71212161-9DA5-4A5A-96E3-930CE5EFC4E8}"/>
                  </a:ext>
                </a:extLst>
              </p:cNvPr>
              <p:cNvGrpSpPr/>
              <p:nvPr/>
            </p:nvGrpSpPr>
            <p:grpSpPr>
              <a:xfrm>
                <a:off x="5562152" y="1799299"/>
                <a:ext cx="165649" cy="101369"/>
                <a:chOff x="5562152" y="1799299"/>
                <a:chExt cx="165649" cy="101369"/>
              </a:xfrm>
              <a:grpFill/>
            </p:grpSpPr>
            <p:sp>
              <p:nvSpPr>
                <p:cNvPr id="284" name="Freihandform: Form 678">
                  <a:extLst>
                    <a:ext uri="{FF2B5EF4-FFF2-40B4-BE49-F238E27FC236}">
                      <a16:creationId xmlns:a16="http://schemas.microsoft.com/office/drawing/2014/main" id="{38E015AB-483C-4AB8-83EE-1AB93E6F7BDF}"/>
                    </a:ext>
                  </a:extLst>
                </p:cNvPr>
                <p:cNvSpPr/>
                <p:nvPr/>
              </p:nvSpPr>
              <p:spPr>
                <a:xfrm>
                  <a:off x="5600533" y="1799299"/>
                  <a:ext cx="127268" cy="95450"/>
                </a:xfrm>
                <a:custGeom>
                  <a:avLst/>
                  <a:gdLst>
                    <a:gd name="connsiteX0" fmla="*/ 41094 w 127268"/>
                    <a:gd name="connsiteY0" fmla="*/ 95450 h 95450"/>
                    <a:gd name="connsiteX1" fmla="*/ 7703 w 127268"/>
                    <a:gd name="connsiteY1" fmla="*/ 72030 h 95450"/>
                    <a:gd name="connsiteX2" fmla="*/ 7703 w 127268"/>
                    <a:gd name="connsiteY2" fmla="*/ 72030 h 95450"/>
                    <a:gd name="connsiteX3" fmla="*/ 4571 w 127268"/>
                    <a:gd name="connsiteY3" fmla="*/ 30995 h 95450"/>
                    <a:gd name="connsiteX4" fmla="*/ 121038 w 127268"/>
                    <a:gd name="connsiteY4" fmla="*/ 248 h 95450"/>
                    <a:gd name="connsiteX5" fmla="*/ 126382 w 127268"/>
                    <a:gd name="connsiteY5" fmla="*/ 3495 h 95450"/>
                    <a:gd name="connsiteX6" fmla="*/ 126555 w 127268"/>
                    <a:gd name="connsiteY6" fmla="*/ 9760 h 95450"/>
                    <a:gd name="connsiteX7" fmla="*/ 41899 w 127268"/>
                    <a:gd name="connsiteY7" fmla="*/ 95450 h 95450"/>
                    <a:gd name="connsiteX8" fmla="*/ 41094 w 127268"/>
                    <a:gd name="connsiteY8" fmla="*/ 95450 h 95450"/>
                    <a:gd name="connsiteX9" fmla="*/ 109601 w 127268"/>
                    <a:gd name="connsiteY9" fmla="*/ 13035 h 95450"/>
                    <a:gd name="connsiteX10" fmla="*/ 15720 w 127268"/>
                    <a:gd name="connsiteY10" fmla="*/ 37748 h 95450"/>
                    <a:gd name="connsiteX11" fmla="*/ 19025 w 127268"/>
                    <a:gd name="connsiteY11" fmla="*/ 65478 h 95450"/>
                    <a:gd name="connsiteX12" fmla="*/ 19025 w 127268"/>
                    <a:gd name="connsiteY12" fmla="*/ 65478 h 95450"/>
                    <a:gd name="connsiteX13" fmla="*/ 41612 w 127268"/>
                    <a:gd name="connsiteY13" fmla="*/ 82375 h 95450"/>
                    <a:gd name="connsiteX14" fmla="*/ 109917 w 127268"/>
                    <a:gd name="connsiteY14" fmla="*/ 13035 h 95450"/>
                    <a:gd name="connsiteX15" fmla="*/ 109601 w 127268"/>
                    <a:gd name="connsiteY15" fmla="*/ 13035 h 9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7268" h="95450">
                      <a:moveTo>
                        <a:pt x="41094" y="95450"/>
                      </a:moveTo>
                      <a:cubicBezTo>
                        <a:pt x="27905" y="95450"/>
                        <a:pt x="16697" y="87576"/>
                        <a:pt x="7703" y="72030"/>
                      </a:cubicBezTo>
                      <a:lnTo>
                        <a:pt x="7703" y="72030"/>
                      </a:lnTo>
                      <a:cubicBezTo>
                        <a:pt x="-1377" y="56312"/>
                        <a:pt x="-2441" y="42490"/>
                        <a:pt x="4571" y="30995"/>
                      </a:cubicBezTo>
                      <a:cubicBezTo>
                        <a:pt x="25347" y="-3143"/>
                        <a:pt x="111325" y="-183"/>
                        <a:pt x="121038" y="248"/>
                      </a:cubicBezTo>
                      <a:cubicBezTo>
                        <a:pt x="123250" y="363"/>
                        <a:pt x="125262" y="1570"/>
                        <a:pt x="126382" y="3495"/>
                      </a:cubicBezTo>
                      <a:cubicBezTo>
                        <a:pt x="127503" y="5420"/>
                        <a:pt x="127561" y="7777"/>
                        <a:pt x="126555" y="9760"/>
                      </a:cubicBezTo>
                      <a:cubicBezTo>
                        <a:pt x="122101" y="18438"/>
                        <a:pt x="81899" y="94473"/>
                        <a:pt x="41899" y="95450"/>
                      </a:cubicBezTo>
                      <a:cubicBezTo>
                        <a:pt x="41640" y="95421"/>
                        <a:pt x="41353" y="95450"/>
                        <a:pt x="41094" y="95450"/>
                      </a:cubicBezTo>
                      <a:close/>
                      <a:moveTo>
                        <a:pt x="109601" y="13035"/>
                      </a:moveTo>
                      <a:cubicBezTo>
                        <a:pt x="80462" y="13035"/>
                        <a:pt x="28163" y="17288"/>
                        <a:pt x="15720" y="37748"/>
                      </a:cubicBezTo>
                      <a:cubicBezTo>
                        <a:pt x="11324" y="44961"/>
                        <a:pt x="12416" y="54042"/>
                        <a:pt x="19025" y="65478"/>
                      </a:cubicBezTo>
                      <a:lnTo>
                        <a:pt x="19025" y="65478"/>
                      </a:lnTo>
                      <a:cubicBezTo>
                        <a:pt x="25721" y="77059"/>
                        <a:pt x="32962" y="82691"/>
                        <a:pt x="41612" y="82375"/>
                      </a:cubicBezTo>
                      <a:cubicBezTo>
                        <a:pt x="65664" y="81772"/>
                        <a:pt x="95463" y="38294"/>
                        <a:pt x="109917" y="13035"/>
                      </a:cubicBezTo>
                      <a:cubicBezTo>
                        <a:pt x="109802" y="13035"/>
                        <a:pt x="109687" y="13035"/>
                        <a:pt x="109601" y="13035"/>
                      </a:cubicBezTo>
                      <a:close/>
                    </a:path>
                  </a:pathLst>
                </a:custGeom>
                <a:grpFill/>
                <a:ln w="2873" cap="flat">
                  <a:noFill/>
                  <a:prstDash val="solid"/>
                  <a:miter/>
                </a:ln>
              </p:spPr>
              <p:txBody>
                <a:bodyPr rtlCol="0" anchor="ctr"/>
                <a:lstStyle/>
                <a:p>
                  <a:endParaRPr lang="en-GB" dirty="0"/>
                </a:p>
              </p:txBody>
            </p:sp>
            <p:sp>
              <p:nvSpPr>
                <p:cNvPr id="285" name="Freihandform: Form 679">
                  <a:extLst>
                    <a:ext uri="{FF2B5EF4-FFF2-40B4-BE49-F238E27FC236}">
                      <a16:creationId xmlns:a16="http://schemas.microsoft.com/office/drawing/2014/main" id="{8F0BEA02-648D-473F-940C-E1F7A914ED91}"/>
                    </a:ext>
                  </a:extLst>
                </p:cNvPr>
                <p:cNvSpPr/>
                <p:nvPr/>
              </p:nvSpPr>
              <p:spPr>
                <a:xfrm>
                  <a:off x="5562152" y="1841918"/>
                  <a:ext cx="92167" cy="58750"/>
                </a:xfrm>
                <a:custGeom>
                  <a:avLst/>
                  <a:gdLst>
                    <a:gd name="connsiteX0" fmla="*/ 6543 w 92167"/>
                    <a:gd name="connsiteY0" fmla="*/ 58750 h 58750"/>
                    <a:gd name="connsiteX1" fmla="*/ 882 w 92167"/>
                    <a:gd name="connsiteY1" fmla="*/ 55474 h 58750"/>
                    <a:gd name="connsiteX2" fmla="*/ 3267 w 92167"/>
                    <a:gd name="connsiteY2" fmla="*/ 46566 h 58750"/>
                    <a:gd name="connsiteX3" fmla="*/ 82377 w 92167"/>
                    <a:gd name="connsiteY3" fmla="*/ 876 h 58750"/>
                    <a:gd name="connsiteX4" fmla="*/ 91286 w 92167"/>
                    <a:gd name="connsiteY4" fmla="*/ 3261 h 58750"/>
                    <a:gd name="connsiteX5" fmla="*/ 88900 w 92167"/>
                    <a:gd name="connsiteY5" fmla="*/ 12169 h 58750"/>
                    <a:gd name="connsiteX6" fmla="*/ 9791 w 92167"/>
                    <a:gd name="connsiteY6" fmla="*/ 57859 h 58750"/>
                    <a:gd name="connsiteX7" fmla="*/ 6543 w 92167"/>
                    <a:gd name="connsiteY7" fmla="*/ 58750 h 58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167" h="58750">
                      <a:moveTo>
                        <a:pt x="6543" y="58750"/>
                      </a:moveTo>
                      <a:cubicBezTo>
                        <a:pt x="4273" y="58750"/>
                        <a:pt x="2089" y="57572"/>
                        <a:pt x="882" y="55474"/>
                      </a:cubicBezTo>
                      <a:cubicBezTo>
                        <a:pt x="-928" y="52342"/>
                        <a:pt x="135" y="48377"/>
                        <a:pt x="3267" y="46566"/>
                      </a:cubicBezTo>
                      <a:lnTo>
                        <a:pt x="82377" y="876"/>
                      </a:lnTo>
                      <a:cubicBezTo>
                        <a:pt x="85510" y="-934"/>
                        <a:pt x="89475" y="158"/>
                        <a:pt x="91286" y="3261"/>
                      </a:cubicBezTo>
                      <a:cubicBezTo>
                        <a:pt x="93096" y="6393"/>
                        <a:pt x="92033" y="10388"/>
                        <a:pt x="88900" y="12169"/>
                      </a:cubicBezTo>
                      <a:lnTo>
                        <a:pt x="9791" y="57859"/>
                      </a:lnTo>
                      <a:cubicBezTo>
                        <a:pt x="8785" y="58463"/>
                        <a:pt x="7635" y="58750"/>
                        <a:pt x="6543" y="58750"/>
                      </a:cubicBezTo>
                      <a:close/>
                    </a:path>
                  </a:pathLst>
                </a:custGeom>
                <a:grpFill/>
                <a:ln w="2873" cap="flat">
                  <a:noFill/>
                  <a:prstDash val="solid"/>
                  <a:miter/>
                </a:ln>
              </p:spPr>
              <p:txBody>
                <a:bodyPr rtlCol="0" anchor="ctr"/>
                <a:lstStyle/>
                <a:p>
                  <a:endParaRPr lang="en-GB" dirty="0"/>
                </a:p>
              </p:txBody>
            </p:sp>
          </p:grpSp>
        </p:grpSp>
        <p:grpSp>
          <p:nvGrpSpPr>
            <p:cNvPr id="272" name="Group 271">
              <a:extLst>
                <a:ext uri="{FF2B5EF4-FFF2-40B4-BE49-F238E27FC236}">
                  <a16:creationId xmlns:a16="http://schemas.microsoft.com/office/drawing/2014/main" id="{2ADC1547-C24D-466E-8EA6-B019935D633F}"/>
                </a:ext>
              </a:extLst>
            </p:cNvPr>
            <p:cNvGrpSpPr/>
            <p:nvPr/>
          </p:nvGrpSpPr>
          <p:grpSpPr>
            <a:xfrm>
              <a:off x="2670208" y="4002609"/>
              <a:ext cx="429420" cy="199901"/>
              <a:chOff x="5327227" y="1626758"/>
              <a:chExt cx="482907" cy="224800"/>
            </a:xfrm>
          </p:grpSpPr>
          <p:sp>
            <p:nvSpPr>
              <p:cNvPr id="273" name="Freihandform: Form 680">
                <a:extLst>
                  <a:ext uri="{FF2B5EF4-FFF2-40B4-BE49-F238E27FC236}">
                    <a16:creationId xmlns:a16="http://schemas.microsoft.com/office/drawing/2014/main" id="{1E6D8EAD-AFB2-4F3F-A029-66BE09C16D22}"/>
                  </a:ext>
                </a:extLst>
              </p:cNvPr>
              <p:cNvSpPr/>
              <p:nvPr/>
            </p:nvSpPr>
            <p:spPr>
              <a:xfrm>
                <a:off x="5562172" y="1636183"/>
                <a:ext cx="13046" cy="163133"/>
              </a:xfrm>
              <a:custGeom>
                <a:avLst/>
                <a:gdLst>
                  <a:gd name="connsiteX0" fmla="*/ 0 w 13046"/>
                  <a:gd name="connsiteY0" fmla="*/ 0 h 163133"/>
                  <a:gd name="connsiteX1" fmla="*/ 13046 w 13046"/>
                  <a:gd name="connsiteY1" fmla="*/ 0 h 163133"/>
                  <a:gd name="connsiteX2" fmla="*/ 13046 w 13046"/>
                  <a:gd name="connsiteY2" fmla="*/ 163134 h 163133"/>
                  <a:gd name="connsiteX3" fmla="*/ 0 w 13046"/>
                  <a:gd name="connsiteY3" fmla="*/ 163134 h 163133"/>
                </a:gdLst>
                <a:ahLst/>
                <a:cxnLst>
                  <a:cxn ang="0">
                    <a:pos x="connsiteX0" y="connsiteY0"/>
                  </a:cxn>
                  <a:cxn ang="0">
                    <a:pos x="connsiteX1" y="connsiteY1"/>
                  </a:cxn>
                  <a:cxn ang="0">
                    <a:pos x="connsiteX2" y="connsiteY2"/>
                  </a:cxn>
                  <a:cxn ang="0">
                    <a:pos x="connsiteX3" y="connsiteY3"/>
                  </a:cxn>
                </a:cxnLst>
                <a:rect l="l" t="t" r="r" b="b"/>
                <a:pathLst>
                  <a:path w="13046" h="163133">
                    <a:moveTo>
                      <a:pt x="0" y="0"/>
                    </a:moveTo>
                    <a:lnTo>
                      <a:pt x="13046" y="0"/>
                    </a:lnTo>
                    <a:lnTo>
                      <a:pt x="13046" y="163134"/>
                    </a:lnTo>
                    <a:lnTo>
                      <a:pt x="0" y="163134"/>
                    </a:lnTo>
                    <a:close/>
                  </a:path>
                </a:pathLst>
              </a:custGeom>
              <a:solidFill>
                <a:schemeClr val="accent1"/>
              </a:solidFill>
              <a:ln w="2873" cap="flat">
                <a:noFill/>
                <a:prstDash val="solid"/>
                <a:miter/>
              </a:ln>
            </p:spPr>
            <p:txBody>
              <a:bodyPr rtlCol="0" anchor="ctr"/>
              <a:lstStyle/>
              <a:p>
                <a:endParaRPr lang="en-GB" dirty="0"/>
              </a:p>
            </p:txBody>
          </p:sp>
          <p:sp>
            <p:nvSpPr>
              <p:cNvPr id="274" name="Freihandform: Form 681">
                <a:extLst>
                  <a:ext uri="{FF2B5EF4-FFF2-40B4-BE49-F238E27FC236}">
                    <a16:creationId xmlns:a16="http://schemas.microsoft.com/office/drawing/2014/main" id="{846B1321-2886-49BD-958B-DF7DBBCC7ABF}"/>
                  </a:ext>
                </a:extLst>
              </p:cNvPr>
              <p:cNvSpPr/>
              <p:nvPr/>
            </p:nvSpPr>
            <p:spPr>
              <a:xfrm>
                <a:off x="5527229" y="1626758"/>
                <a:ext cx="83046" cy="50747"/>
              </a:xfrm>
              <a:custGeom>
                <a:avLst/>
                <a:gdLst>
                  <a:gd name="connsiteX0" fmla="*/ 73823 w 83046"/>
                  <a:gd name="connsiteY0" fmla="*/ 50748 h 50747"/>
                  <a:gd name="connsiteX1" fmla="*/ 41523 w 83046"/>
                  <a:gd name="connsiteY1" fmla="*/ 18448 h 50747"/>
                  <a:gd name="connsiteX2" fmla="*/ 9224 w 83046"/>
                  <a:gd name="connsiteY2" fmla="*/ 50748 h 50747"/>
                  <a:gd name="connsiteX3" fmla="*/ 0 w 83046"/>
                  <a:gd name="connsiteY3" fmla="*/ 41523 h 50747"/>
                  <a:gd name="connsiteX4" fmla="*/ 41523 w 83046"/>
                  <a:gd name="connsiteY4" fmla="*/ 0 h 50747"/>
                  <a:gd name="connsiteX5" fmla="*/ 83047 w 83046"/>
                  <a:gd name="connsiteY5" fmla="*/ 41523 h 50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046" h="50747">
                    <a:moveTo>
                      <a:pt x="73823" y="50748"/>
                    </a:moveTo>
                    <a:lnTo>
                      <a:pt x="41523" y="18448"/>
                    </a:lnTo>
                    <a:lnTo>
                      <a:pt x="9224" y="50748"/>
                    </a:lnTo>
                    <a:lnTo>
                      <a:pt x="0" y="41523"/>
                    </a:lnTo>
                    <a:lnTo>
                      <a:pt x="41523" y="0"/>
                    </a:lnTo>
                    <a:lnTo>
                      <a:pt x="83047" y="41523"/>
                    </a:lnTo>
                    <a:close/>
                  </a:path>
                </a:pathLst>
              </a:custGeom>
              <a:solidFill>
                <a:schemeClr val="accent1"/>
              </a:solidFill>
              <a:ln w="2873" cap="flat">
                <a:noFill/>
                <a:prstDash val="solid"/>
                <a:miter/>
              </a:ln>
            </p:spPr>
            <p:txBody>
              <a:bodyPr rtlCol="0" anchor="ctr"/>
              <a:lstStyle/>
              <a:p>
                <a:endParaRPr lang="en-GB" dirty="0"/>
              </a:p>
            </p:txBody>
          </p:sp>
          <p:sp>
            <p:nvSpPr>
              <p:cNvPr id="275" name="Freihandform: Form 682">
                <a:extLst>
                  <a:ext uri="{FF2B5EF4-FFF2-40B4-BE49-F238E27FC236}">
                    <a16:creationId xmlns:a16="http://schemas.microsoft.com/office/drawing/2014/main" id="{6C96DEA1-2F35-45D7-AC02-5FD0C3155BA4}"/>
                  </a:ext>
                </a:extLst>
              </p:cNvPr>
              <p:cNvSpPr/>
              <p:nvPr/>
            </p:nvSpPr>
            <p:spPr>
              <a:xfrm>
                <a:off x="5416280" y="1652534"/>
                <a:ext cx="83046" cy="50747"/>
              </a:xfrm>
              <a:custGeom>
                <a:avLst/>
                <a:gdLst>
                  <a:gd name="connsiteX0" fmla="*/ 73823 w 83046"/>
                  <a:gd name="connsiteY0" fmla="*/ 50748 h 50747"/>
                  <a:gd name="connsiteX1" fmla="*/ 41523 w 83046"/>
                  <a:gd name="connsiteY1" fmla="*/ 18448 h 50747"/>
                  <a:gd name="connsiteX2" fmla="*/ 9224 w 83046"/>
                  <a:gd name="connsiteY2" fmla="*/ 50748 h 50747"/>
                  <a:gd name="connsiteX3" fmla="*/ 0 w 83046"/>
                  <a:gd name="connsiteY3" fmla="*/ 41523 h 50747"/>
                  <a:gd name="connsiteX4" fmla="*/ 41523 w 83046"/>
                  <a:gd name="connsiteY4" fmla="*/ 0 h 50747"/>
                  <a:gd name="connsiteX5" fmla="*/ 83047 w 83046"/>
                  <a:gd name="connsiteY5" fmla="*/ 41523 h 50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046" h="50747">
                    <a:moveTo>
                      <a:pt x="73823" y="50748"/>
                    </a:moveTo>
                    <a:lnTo>
                      <a:pt x="41523" y="18448"/>
                    </a:lnTo>
                    <a:lnTo>
                      <a:pt x="9224" y="50748"/>
                    </a:lnTo>
                    <a:lnTo>
                      <a:pt x="0" y="41523"/>
                    </a:lnTo>
                    <a:lnTo>
                      <a:pt x="41523" y="0"/>
                    </a:lnTo>
                    <a:lnTo>
                      <a:pt x="83047" y="41523"/>
                    </a:lnTo>
                    <a:close/>
                  </a:path>
                </a:pathLst>
              </a:custGeom>
              <a:solidFill>
                <a:schemeClr val="accent1"/>
              </a:solidFill>
              <a:ln w="2873" cap="flat">
                <a:noFill/>
                <a:prstDash val="solid"/>
                <a:miter/>
              </a:ln>
            </p:spPr>
            <p:txBody>
              <a:bodyPr rtlCol="0" anchor="ctr"/>
              <a:lstStyle/>
              <a:p>
                <a:endParaRPr lang="en-GB" dirty="0"/>
              </a:p>
            </p:txBody>
          </p:sp>
          <p:sp>
            <p:nvSpPr>
              <p:cNvPr id="276" name="Freihandform: Form 683">
                <a:extLst>
                  <a:ext uri="{FF2B5EF4-FFF2-40B4-BE49-F238E27FC236}">
                    <a16:creationId xmlns:a16="http://schemas.microsoft.com/office/drawing/2014/main" id="{1A5DEB9B-E381-4EE1-976B-46F77298B1BE}"/>
                  </a:ext>
                </a:extLst>
              </p:cNvPr>
              <p:cNvSpPr/>
              <p:nvPr/>
            </p:nvSpPr>
            <p:spPr>
              <a:xfrm>
                <a:off x="5638092" y="1653281"/>
                <a:ext cx="83075" cy="50747"/>
              </a:xfrm>
              <a:custGeom>
                <a:avLst/>
                <a:gdLst>
                  <a:gd name="connsiteX0" fmla="*/ 73851 w 83075"/>
                  <a:gd name="connsiteY0" fmla="*/ 50748 h 50747"/>
                  <a:gd name="connsiteX1" fmla="*/ 41523 w 83075"/>
                  <a:gd name="connsiteY1" fmla="*/ 18448 h 50747"/>
                  <a:gd name="connsiteX2" fmla="*/ 9224 w 83075"/>
                  <a:gd name="connsiteY2" fmla="*/ 50748 h 50747"/>
                  <a:gd name="connsiteX3" fmla="*/ 0 w 83075"/>
                  <a:gd name="connsiteY3" fmla="*/ 41523 h 50747"/>
                  <a:gd name="connsiteX4" fmla="*/ 41523 w 83075"/>
                  <a:gd name="connsiteY4" fmla="*/ 0 h 50747"/>
                  <a:gd name="connsiteX5" fmla="*/ 83075 w 83075"/>
                  <a:gd name="connsiteY5" fmla="*/ 41523 h 50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075" h="50747">
                    <a:moveTo>
                      <a:pt x="73851" y="50748"/>
                    </a:moveTo>
                    <a:lnTo>
                      <a:pt x="41523" y="18448"/>
                    </a:lnTo>
                    <a:lnTo>
                      <a:pt x="9224" y="50748"/>
                    </a:lnTo>
                    <a:lnTo>
                      <a:pt x="0" y="41523"/>
                    </a:lnTo>
                    <a:lnTo>
                      <a:pt x="41523" y="0"/>
                    </a:lnTo>
                    <a:lnTo>
                      <a:pt x="83075" y="41523"/>
                    </a:lnTo>
                    <a:close/>
                  </a:path>
                </a:pathLst>
              </a:custGeom>
              <a:solidFill>
                <a:schemeClr val="accent1"/>
              </a:solidFill>
              <a:ln w="2873" cap="flat">
                <a:noFill/>
                <a:prstDash val="solid"/>
                <a:miter/>
              </a:ln>
            </p:spPr>
            <p:txBody>
              <a:bodyPr rtlCol="0" anchor="ctr"/>
              <a:lstStyle/>
              <a:p>
                <a:endParaRPr lang="en-GB" dirty="0"/>
              </a:p>
            </p:txBody>
          </p:sp>
          <p:sp>
            <p:nvSpPr>
              <p:cNvPr id="277" name="Freihandform: Form 684">
                <a:extLst>
                  <a:ext uri="{FF2B5EF4-FFF2-40B4-BE49-F238E27FC236}">
                    <a16:creationId xmlns:a16="http://schemas.microsoft.com/office/drawing/2014/main" id="{412B39DD-C14D-4705-86D1-93332B7BE89F}"/>
                  </a:ext>
                </a:extLst>
              </p:cNvPr>
              <p:cNvSpPr/>
              <p:nvPr/>
            </p:nvSpPr>
            <p:spPr>
              <a:xfrm>
                <a:off x="5327227" y="1662304"/>
                <a:ext cx="137041" cy="189254"/>
              </a:xfrm>
              <a:custGeom>
                <a:avLst/>
                <a:gdLst>
                  <a:gd name="connsiteX0" fmla="*/ 13046 w 137041"/>
                  <a:gd name="connsiteY0" fmla="*/ 189255 h 189254"/>
                  <a:gd name="connsiteX1" fmla="*/ 0 w 137041"/>
                  <a:gd name="connsiteY1" fmla="*/ 189255 h 189254"/>
                  <a:gd name="connsiteX2" fmla="*/ 0 w 137041"/>
                  <a:gd name="connsiteY2" fmla="*/ 132473 h 189254"/>
                  <a:gd name="connsiteX3" fmla="*/ 123995 w 137041"/>
                  <a:gd name="connsiteY3" fmla="*/ 86811 h 189254"/>
                  <a:gd name="connsiteX4" fmla="*/ 123995 w 137041"/>
                  <a:gd name="connsiteY4" fmla="*/ 0 h 189254"/>
                  <a:gd name="connsiteX5" fmla="*/ 137042 w 137041"/>
                  <a:gd name="connsiteY5" fmla="*/ 0 h 189254"/>
                  <a:gd name="connsiteX6" fmla="*/ 137042 w 137041"/>
                  <a:gd name="connsiteY6" fmla="*/ 95892 h 189254"/>
                  <a:gd name="connsiteX7" fmla="*/ 13046 w 137041"/>
                  <a:gd name="connsiteY7" fmla="*/ 141582 h 189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041" h="189254">
                    <a:moveTo>
                      <a:pt x="13046" y="189255"/>
                    </a:moveTo>
                    <a:lnTo>
                      <a:pt x="0" y="189255"/>
                    </a:lnTo>
                    <a:lnTo>
                      <a:pt x="0" y="132473"/>
                    </a:lnTo>
                    <a:lnTo>
                      <a:pt x="123995" y="86811"/>
                    </a:lnTo>
                    <a:lnTo>
                      <a:pt x="123995" y="0"/>
                    </a:lnTo>
                    <a:lnTo>
                      <a:pt x="137042" y="0"/>
                    </a:lnTo>
                    <a:lnTo>
                      <a:pt x="137042" y="95892"/>
                    </a:lnTo>
                    <a:lnTo>
                      <a:pt x="13046" y="141582"/>
                    </a:lnTo>
                    <a:close/>
                  </a:path>
                </a:pathLst>
              </a:custGeom>
              <a:solidFill>
                <a:schemeClr val="accent1"/>
              </a:solidFill>
              <a:ln w="2873" cap="flat">
                <a:noFill/>
                <a:prstDash val="solid"/>
                <a:miter/>
              </a:ln>
            </p:spPr>
            <p:txBody>
              <a:bodyPr rtlCol="0" anchor="ctr"/>
              <a:lstStyle/>
              <a:p>
                <a:endParaRPr lang="en-GB" dirty="0"/>
              </a:p>
            </p:txBody>
          </p:sp>
          <p:sp>
            <p:nvSpPr>
              <p:cNvPr id="278" name="Freihandform: Form 685">
                <a:extLst>
                  <a:ext uri="{FF2B5EF4-FFF2-40B4-BE49-F238E27FC236}">
                    <a16:creationId xmlns:a16="http://schemas.microsoft.com/office/drawing/2014/main" id="{F99F7572-C103-4D80-8C0F-9F8C75A16397}"/>
                  </a:ext>
                </a:extLst>
              </p:cNvPr>
              <p:cNvSpPr/>
              <p:nvPr/>
            </p:nvSpPr>
            <p:spPr>
              <a:xfrm>
                <a:off x="5673093" y="1662304"/>
                <a:ext cx="137041" cy="189254"/>
              </a:xfrm>
              <a:custGeom>
                <a:avLst/>
                <a:gdLst>
                  <a:gd name="connsiteX0" fmla="*/ 137042 w 137041"/>
                  <a:gd name="connsiteY0" fmla="*/ 189255 h 189254"/>
                  <a:gd name="connsiteX1" fmla="*/ 123995 w 137041"/>
                  <a:gd name="connsiteY1" fmla="*/ 189255 h 189254"/>
                  <a:gd name="connsiteX2" fmla="*/ 123995 w 137041"/>
                  <a:gd name="connsiteY2" fmla="*/ 141582 h 189254"/>
                  <a:gd name="connsiteX3" fmla="*/ 0 w 137041"/>
                  <a:gd name="connsiteY3" fmla="*/ 95892 h 189254"/>
                  <a:gd name="connsiteX4" fmla="*/ 0 w 137041"/>
                  <a:gd name="connsiteY4" fmla="*/ 0 h 189254"/>
                  <a:gd name="connsiteX5" fmla="*/ 13046 w 137041"/>
                  <a:gd name="connsiteY5" fmla="*/ 0 h 189254"/>
                  <a:gd name="connsiteX6" fmla="*/ 13046 w 137041"/>
                  <a:gd name="connsiteY6" fmla="*/ 86811 h 189254"/>
                  <a:gd name="connsiteX7" fmla="*/ 137042 w 137041"/>
                  <a:gd name="connsiteY7" fmla="*/ 132473 h 189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041" h="189254">
                    <a:moveTo>
                      <a:pt x="137042" y="189255"/>
                    </a:moveTo>
                    <a:lnTo>
                      <a:pt x="123995" y="189255"/>
                    </a:lnTo>
                    <a:lnTo>
                      <a:pt x="123995" y="141582"/>
                    </a:lnTo>
                    <a:lnTo>
                      <a:pt x="0" y="95892"/>
                    </a:lnTo>
                    <a:lnTo>
                      <a:pt x="0" y="0"/>
                    </a:lnTo>
                    <a:lnTo>
                      <a:pt x="13046" y="0"/>
                    </a:lnTo>
                    <a:lnTo>
                      <a:pt x="13046" y="86811"/>
                    </a:lnTo>
                    <a:lnTo>
                      <a:pt x="137042" y="132473"/>
                    </a:lnTo>
                    <a:close/>
                  </a:path>
                </a:pathLst>
              </a:custGeom>
              <a:solidFill>
                <a:schemeClr val="accent1"/>
              </a:solidFill>
              <a:ln w="2873" cap="flat">
                <a:noFill/>
                <a:prstDash val="solid"/>
                <a:miter/>
              </a:ln>
            </p:spPr>
            <p:txBody>
              <a:bodyPr rtlCol="0" anchor="ctr"/>
              <a:lstStyle/>
              <a:p>
                <a:endParaRPr lang="en-GB" dirty="0"/>
              </a:p>
            </p:txBody>
          </p:sp>
        </p:grpSp>
      </p:grpSp>
      <p:grpSp>
        <p:nvGrpSpPr>
          <p:cNvPr id="10" name="Group 9">
            <a:extLst>
              <a:ext uri="{FF2B5EF4-FFF2-40B4-BE49-F238E27FC236}">
                <a16:creationId xmlns:a16="http://schemas.microsoft.com/office/drawing/2014/main" id="{8AEA1C81-391F-B275-5B36-946005F67C77}"/>
              </a:ext>
            </a:extLst>
          </p:cNvPr>
          <p:cNvGrpSpPr/>
          <p:nvPr/>
        </p:nvGrpSpPr>
        <p:grpSpPr>
          <a:xfrm>
            <a:off x="3737812" y="4002603"/>
            <a:ext cx="439095" cy="432006"/>
            <a:chOff x="3737812" y="4002603"/>
            <a:chExt cx="439095" cy="432006"/>
          </a:xfrm>
        </p:grpSpPr>
        <p:grpSp>
          <p:nvGrpSpPr>
            <p:cNvPr id="289" name="Group 288">
              <a:extLst>
                <a:ext uri="{FF2B5EF4-FFF2-40B4-BE49-F238E27FC236}">
                  <a16:creationId xmlns:a16="http://schemas.microsoft.com/office/drawing/2014/main" id="{BBF66399-4698-4AC5-9C05-20A9CF987F31}"/>
                </a:ext>
              </a:extLst>
            </p:cNvPr>
            <p:cNvGrpSpPr/>
            <p:nvPr/>
          </p:nvGrpSpPr>
          <p:grpSpPr>
            <a:xfrm>
              <a:off x="3737812" y="4227470"/>
              <a:ext cx="439095" cy="207139"/>
              <a:chOff x="6156039" y="1877622"/>
              <a:chExt cx="484207" cy="228421"/>
            </a:xfrm>
            <a:solidFill>
              <a:schemeClr val="tx2"/>
            </a:solidFill>
          </p:grpSpPr>
          <p:grpSp>
            <p:nvGrpSpPr>
              <p:cNvPr id="302" name="Grafik 167">
                <a:extLst>
                  <a:ext uri="{FF2B5EF4-FFF2-40B4-BE49-F238E27FC236}">
                    <a16:creationId xmlns:a16="http://schemas.microsoft.com/office/drawing/2014/main" id="{8458652B-CAEE-49C1-A2C4-15313859440E}"/>
                  </a:ext>
                </a:extLst>
              </p:cNvPr>
              <p:cNvGrpSpPr/>
              <p:nvPr/>
            </p:nvGrpSpPr>
            <p:grpSpPr>
              <a:xfrm>
                <a:off x="6156039" y="1877622"/>
                <a:ext cx="156554" cy="228421"/>
                <a:chOff x="6156028" y="1877622"/>
                <a:chExt cx="156553" cy="228421"/>
              </a:xfrm>
              <a:grpFill/>
            </p:grpSpPr>
            <p:sp>
              <p:nvSpPr>
                <p:cNvPr id="318" name="Freihandform: Form 688">
                  <a:extLst>
                    <a:ext uri="{FF2B5EF4-FFF2-40B4-BE49-F238E27FC236}">
                      <a16:creationId xmlns:a16="http://schemas.microsoft.com/office/drawing/2014/main" id="{0F4016A7-D865-4EAA-B69C-AA972859C35A}"/>
                    </a:ext>
                  </a:extLst>
                </p:cNvPr>
                <p:cNvSpPr/>
                <p:nvPr/>
              </p:nvSpPr>
              <p:spPr>
                <a:xfrm>
                  <a:off x="6156028" y="1982048"/>
                  <a:ext cx="156553" cy="123995"/>
                </a:xfrm>
                <a:custGeom>
                  <a:avLst/>
                  <a:gdLst>
                    <a:gd name="connsiteX0" fmla="*/ 13046 w 156553"/>
                    <a:gd name="connsiteY0" fmla="*/ 123995 h 123995"/>
                    <a:gd name="connsiteX1" fmla="*/ 0 w 156553"/>
                    <a:gd name="connsiteY1" fmla="*/ 123995 h 123995"/>
                    <a:gd name="connsiteX2" fmla="*/ 0 w 156553"/>
                    <a:gd name="connsiteY2" fmla="*/ 71782 h 123995"/>
                    <a:gd name="connsiteX3" fmla="*/ 68851 w 156553"/>
                    <a:gd name="connsiteY3" fmla="*/ 0 h 123995"/>
                    <a:gd name="connsiteX4" fmla="*/ 113852 w 156553"/>
                    <a:gd name="connsiteY4" fmla="*/ 0 h 123995"/>
                    <a:gd name="connsiteX5" fmla="*/ 156553 w 156553"/>
                    <a:gd name="connsiteY5" fmla="*/ 14483 h 123995"/>
                    <a:gd name="connsiteX6" fmla="*/ 148421 w 156553"/>
                    <a:gd name="connsiteY6" fmla="*/ 24684 h 123995"/>
                    <a:gd name="connsiteX7" fmla="*/ 113852 w 156553"/>
                    <a:gd name="connsiteY7" fmla="*/ 13046 h 123995"/>
                    <a:gd name="connsiteX8" fmla="*/ 68851 w 156553"/>
                    <a:gd name="connsiteY8" fmla="*/ 13046 h 123995"/>
                    <a:gd name="connsiteX9" fmla="*/ 13046 w 156553"/>
                    <a:gd name="connsiteY9" fmla="*/ 71782 h 123995"/>
                    <a:gd name="connsiteX10" fmla="*/ 13046 w 156553"/>
                    <a:gd name="connsiteY10" fmla="*/ 123995 h 12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553" h="123995">
                      <a:moveTo>
                        <a:pt x="13046" y="123995"/>
                      </a:moveTo>
                      <a:lnTo>
                        <a:pt x="0" y="123995"/>
                      </a:lnTo>
                      <a:lnTo>
                        <a:pt x="0" y="71782"/>
                      </a:lnTo>
                      <a:cubicBezTo>
                        <a:pt x="0" y="30862"/>
                        <a:pt x="29598" y="0"/>
                        <a:pt x="68851" y="0"/>
                      </a:cubicBezTo>
                      <a:lnTo>
                        <a:pt x="113852" y="0"/>
                      </a:lnTo>
                      <a:cubicBezTo>
                        <a:pt x="129915" y="0"/>
                        <a:pt x="144685" y="5000"/>
                        <a:pt x="156553" y="14483"/>
                      </a:cubicBezTo>
                      <a:lnTo>
                        <a:pt x="148421" y="24684"/>
                      </a:lnTo>
                      <a:cubicBezTo>
                        <a:pt x="138909" y="17069"/>
                        <a:pt x="126955" y="13046"/>
                        <a:pt x="113852" y="13046"/>
                      </a:cubicBezTo>
                      <a:lnTo>
                        <a:pt x="68851" y="13046"/>
                      </a:lnTo>
                      <a:cubicBezTo>
                        <a:pt x="36523" y="13046"/>
                        <a:pt x="13046" y="37759"/>
                        <a:pt x="13046" y="71782"/>
                      </a:cubicBezTo>
                      <a:lnTo>
                        <a:pt x="13046" y="123995"/>
                      </a:lnTo>
                      <a:close/>
                    </a:path>
                  </a:pathLst>
                </a:custGeom>
                <a:grpFill/>
                <a:ln w="2873" cap="flat">
                  <a:noFill/>
                  <a:prstDash val="solid"/>
                  <a:miter/>
                </a:ln>
              </p:spPr>
              <p:txBody>
                <a:bodyPr rtlCol="0" anchor="ctr"/>
                <a:lstStyle/>
                <a:p>
                  <a:endParaRPr lang="en-GB" dirty="0"/>
                </a:p>
              </p:txBody>
            </p:sp>
            <p:sp>
              <p:nvSpPr>
                <p:cNvPr id="319" name="Freihandform: Form 689">
                  <a:extLst>
                    <a:ext uri="{FF2B5EF4-FFF2-40B4-BE49-F238E27FC236}">
                      <a16:creationId xmlns:a16="http://schemas.microsoft.com/office/drawing/2014/main" id="{3E19FBFE-09E7-43DD-B5A2-F0C066ECCDB7}"/>
                    </a:ext>
                  </a:extLst>
                </p:cNvPr>
                <p:cNvSpPr/>
                <p:nvPr/>
              </p:nvSpPr>
              <p:spPr>
                <a:xfrm>
                  <a:off x="6208385" y="1877622"/>
                  <a:ext cx="78334" cy="91380"/>
                </a:xfrm>
                <a:custGeom>
                  <a:avLst/>
                  <a:gdLst>
                    <a:gd name="connsiteX0" fmla="*/ 39167 w 78334"/>
                    <a:gd name="connsiteY0" fmla="*/ 91380 h 91380"/>
                    <a:gd name="connsiteX1" fmla="*/ 0 w 78334"/>
                    <a:gd name="connsiteY1" fmla="*/ 45690 h 91380"/>
                    <a:gd name="connsiteX2" fmla="*/ 39167 w 78334"/>
                    <a:gd name="connsiteY2" fmla="*/ 0 h 91380"/>
                    <a:gd name="connsiteX3" fmla="*/ 78334 w 78334"/>
                    <a:gd name="connsiteY3" fmla="*/ 45690 h 91380"/>
                    <a:gd name="connsiteX4" fmla="*/ 39167 w 78334"/>
                    <a:gd name="connsiteY4" fmla="*/ 91380 h 91380"/>
                    <a:gd name="connsiteX5" fmla="*/ 39167 w 78334"/>
                    <a:gd name="connsiteY5" fmla="*/ 13075 h 91380"/>
                    <a:gd name="connsiteX6" fmla="*/ 13075 w 78334"/>
                    <a:gd name="connsiteY6" fmla="*/ 45690 h 91380"/>
                    <a:gd name="connsiteX7" fmla="*/ 39167 w 78334"/>
                    <a:gd name="connsiteY7" fmla="*/ 78305 h 91380"/>
                    <a:gd name="connsiteX8" fmla="*/ 65259 w 78334"/>
                    <a:gd name="connsiteY8" fmla="*/ 45690 h 91380"/>
                    <a:gd name="connsiteX9" fmla="*/ 39167 w 78334"/>
                    <a:gd name="connsiteY9" fmla="*/ 13075 h 9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334" h="91380">
                      <a:moveTo>
                        <a:pt x="39167" y="91380"/>
                      </a:moveTo>
                      <a:cubicBezTo>
                        <a:pt x="15747" y="91380"/>
                        <a:pt x="0" y="73018"/>
                        <a:pt x="0" y="45690"/>
                      </a:cubicBezTo>
                      <a:cubicBezTo>
                        <a:pt x="0" y="18362"/>
                        <a:pt x="15747" y="0"/>
                        <a:pt x="39167" y="0"/>
                      </a:cubicBezTo>
                      <a:cubicBezTo>
                        <a:pt x="62587" y="0"/>
                        <a:pt x="78334" y="18362"/>
                        <a:pt x="78334" y="45690"/>
                      </a:cubicBezTo>
                      <a:cubicBezTo>
                        <a:pt x="78334" y="73018"/>
                        <a:pt x="62587" y="91380"/>
                        <a:pt x="39167" y="91380"/>
                      </a:cubicBezTo>
                      <a:close/>
                      <a:moveTo>
                        <a:pt x="39167" y="13075"/>
                      </a:moveTo>
                      <a:cubicBezTo>
                        <a:pt x="19914" y="13075"/>
                        <a:pt x="13075" y="29943"/>
                        <a:pt x="13075" y="45690"/>
                      </a:cubicBezTo>
                      <a:cubicBezTo>
                        <a:pt x="13075" y="61437"/>
                        <a:pt x="19943" y="78305"/>
                        <a:pt x="39167" y="78305"/>
                      </a:cubicBezTo>
                      <a:cubicBezTo>
                        <a:pt x="58420" y="78305"/>
                        <a:pt x="65259" y="61437"/>
                        <a:pt x="65259" y="45690"/>
                      </a:cubicBezTo>
                      <a:cubicBezTo>
                        <a:pt x="65259" y="29943"/>
                        <a:pt x="58420" y="13075"/>
                        <a:pt x="39167" y="13075"/>
                      </a:cubicBezTo>
                      <a:close/>
                    </a:path>
                  </a:pathLst>
                </a:custGeom>
                <a:grpFill/>
                <a:ln w="2873" cap="flat">
                  <a:noFill/>
                  <a:prstDash val="solid"/>
                  <a:miter/>
                </a:ln>
              </p:spPr>
              <p:txBody>
                <a:bodyPr rtlCol="0" anchor="ctr"/>
                <a:lstStyle/>
                <a:p>
                  <a:endParaRPr lang="en-GB" dirty="0"/>
                </a:p>
              </p:txBody>
            </p:sp>
            <p:grpSp>
              <p:nvGrpSpPr>
                <p:cNvPr id="320" name="Grafik 167">
                  <a:extLst>
                    <a:ext uri="{FF2B5EF4-FFF2-40B4-BE49-F238E27FC236}">
                      <a16:creationId xmlns:a16="http://schemas.microsoft.com/office/drawing/2014/main" id="{D86D8B2D-0DCA-481C-89EE-B7E190CB2AC6}"/>
                    </a:ext>
                  </a:extLst>
                </p:cNvPr>
                <p:cNvGrpSpPr/>
                <p:nvPr/>
              </p:nvGrpSpPr>
              <p:grpSpPr>
                <a:xfrm>
                  <a:off x="6241029" y="2040784"/>
                  <a:ext cx="13046" cy="45690"/>
                  <a:chOff x="6241029" y="2040784"/>
                  <a:chExt cx="13046" cy="45690"/>
                </a:xfrm>
                <a:grpFill/>
              </p:grpSpPr>
              <p:sp>
                <p:nvSpPr>
                  <p:cNvPr id="322" name="Freihandform: Form 691">
                    <a:extLst>
                      <a:ext uri="{FF2B5EF4-FFF2-40B4-BE49-F238E27FC236}">
                        <a16:creationId xmlns:a16="http://schemas.microsoft.com/office/drawing/2014/main" id="{159217A1-5C43-4612-9C15-BEF8EAEA9EB4}"/>
                      </a:ext>
                    </a:extLst>
                  </p:cNvPr>
                  <p:cNvSpPr/>
                  <p:nvPr/>
                </p:nvSpPr>
                <p:spPr>
                  <a:xfrm>
                    <a:off x="6241029" y="2040784"/>
                    <a:ext cx="13046"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grpFill/>
                  <a:ln w="2873" cap="flat">
                    <a:noFill/>
                    <a:prstDash val="solid"/>
                    <a:miter/>
                  </a:ln>
                </p:spPr>
                <p:txBody>
                  <a:bodyPr rtlCol="0" anchor="ctr"/>
                  <a:lstStyle/>
                  <a:p>
                    <a:endParaRPr lang="en-GB" dirty="0"/>
                  </a:p>
                </p:txBody>
              </p:sp>
              <p:sp>
                <p:nvSpPr>
                  <p:cNvPr id="323" name="Freihandform: Form 692">
                    <a:extLst>
                      <a:ext uri="{FF2B5EF4-FFF2-40B4-BE49-F238E27FC236}">
                        <a16:creationId xmlns:a16="http://schemas.microsoft.com/office/drawing/2014/main" id="{F2BD80E6-D66C-4BA9-817E-26C9DF1764F3}"/>
                      </a:ext>
                    </a:extLst>
                  </p:cNvPr>
                  <p:cNvSpPr/>
                  <p:nvPr/>
                </p:nvSpPr>
                <p:spPr>
                  <a:xfrm>
                    <a:off x="6241029" y="2073428"/>
                    <a:ext cx="13046"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grpFill/>
                  <a:ln w="2873" cap="flat">
                    <a:noFill/>
                    <a:prstDash val="solid"/>
                    <a:miter/>
                  </a:ln>
                </p:spPr>
                <p:txBody>
                  <a:bodyPr rtlCol="0" anchor="ctr"/>
                  <a:lstStyle/>
                  <a:p>
                    <a:endParaRPr lang="en-GB" dirty="0"/>
                  </a:p>
                </p:txBody>
              </p:sp>
            </p:grpSp>
            <p:sp>
              <p:nvSpPr>
                <p:cNvPr id="321" name="Freihandform: Form 693">
                  <a:extLst>
                    <a:ext uri="{FF2B5EF4-FFF2-40B4-BE49-F238E27FC236}">
                      <a16:creationId xmlns:a16="http://schemas.microsoft.com/office/drawing/2014/main" id="{44B9D6D4-1735-48E6-A887-73DCB792DDED}"/>
                    </a:ext>
                  </a:extLst>
                </p:cNvPr>
                <p:cNvSpPr/>
                <p:nvPr/>
              </p:nvSpPr>
              <p:spPr>
                <a:xfrm>
                  <a:off x="6182293" y="2060382"/>
                  <a:ext cx="19569" cy="45661"/>
                </a:xfrm>
                <a:custGeom>
                  <a:avLst/>
                  <a:gdLst>
                    <a:gd name="connsiteX0" fmla="*/ 19569 w 19569"/>
                    <a:gd name="connsiteY0" fmla="*/ 45661 h 45661"/>
                    <a:gd name="connsiteX1" fmla="*/ 6523 w 19569"/>
                    <a:gd name="connsiteY1" fmla="*/ 45661 h 45661"/>
                    <a:gd name="connsiteX2" fmla="*/ 6523 w 19569"/>
                    <a:gd name="connsiteY2" fmla="*/ 13046 h 45661"/>
                    <a:gd name="connsiteX3" fmla="*/ 0 w 19569"/>
                    <a:gd name="connsiteY3" fmla="*/ 13046 h 45661"/>
                    <a:gd name="connsiteX4" fmla="*/ 0 w 19569"/>
                    <a:gd name="connsiteY4" fmla="*/ 0 h 45661"/>
                    <a:gd name="connsiteX5" fmla="*/ 19569 w 19569"/>
                    <a:gd name="connsiteY5" fmla="*/ 0 h 4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69" h="45661">
                      <a:moveTo>
                        <a:pt x="19569" y="45661"/>
                      </a:moveTo>
                      <a:lnTo>
                        <a:pt x="6523" y="45661"/>
                      </a:lnTo>
                      <a:lnTo>
                        <a:pt x="6523" y="13046"/>
                      </a:lnTo>
                      <a:lnTo>
                        <a:pt x="0" y="13046"/>
                      </a:lnTo>
                      <a:lnTo>
                        <a:pt x="0" y="0"/>
                      </a:lnTo>
                      <a:lnTo>
                        <a:pt x="19569" y="0"/>
                      </a:lnTo>
                      <a:close/>
                    </a:path>
                  </a:pathLst>
                </a:custGeom>
                <a:grpFill/>
                <a:ln w="2873" cap="flat">
                  <a:noFill/>
                  <a:prstDash val="solid"/>
                  <a:miter/>
                </a:ln>
              </p:spPr>
              <p:txBody>
                <a:bodyPr rtlCol="0" anchor="ctr"/>
                <a:lstStyle/>
                <a:p>
                  <a:endParaRPr lang="en-GB" dirty="0"/>
                </a:p>
              </p:txBody>
            </p:sp>
          </p:grpSp>
          <p:grpSp>
            <p:nvGrpSpPr>
              <p:cNvPr id="303" name="Grafik 167">
                <a:extLst>
                  <a:ext uri="{FF2B5EF4-FFF2-40B4-BE49-F238E27FC236}">
                    <a16:creationId xmlns:a16="http://schemas.microsoft.com/office/drawing/2014/main" id="{657A9C46-6B4B-4D61-8A18-F2E33A3AE948}"/>
                  </a:ext>
                </a:extLst>
              </p:cNvPr>
              <p:cNvGrpSpPr/>
              <p:nvPr/>
            </p:nvGrpSpPr>
            <p:grpSpPr>
              <a:xfrm>
                <a:off x="6483692" y="1877622"/>
                <a:ext cx="156554" cy="228421"/>
                <a:chOff x="6483675" y="1877622"/>
                <a:chExt cx="156553" cy="228421"/>
              </a:xfrm>
              <a:grpFill/>
            </p:grpSpPr>
            <p:sp>
              <p:nvSpPr>
                <p:cNvPr id="312" name="Freihandform: Form 695">
                  <a:extLst>
                    <a:ext uri="{FF2B5EF4-FFF2-40B4-BE49-F238E27FC236}">
                      <a16:creationId xmlns:a16="http://schemas.microsoft.com/office/drawing/2014/main" id="{D4A95D55-FD9C-490D-9CF0-A4A6DCBEDAC9}"/>
                    </a:ext>
                  </a:extLst>
                </p:cNvPr>
                <p:cNvSpPr/>
                <p:nvPr/>
              </p:nvSpPr>
              <p:spPr>
                <a:xfrm>
                  <a:off x="6483675" y="1982048"/>
                  <a:ext cx="156553" cy="123995"/>
                </a:xfrm>
                <a:custGeom>
                  <a:avLst/>
                  <a:gdLst>
                    <a:gd name="connsiteX0" fmla="*/ 156553 w 156553"/>
                    <a:gd name="connsiteY0" fmla="*/ 123995 h 123995"/>
                    <a:gd name="connsiteX1" fmla="*/ 143507 w 156553"/>
                    <a:gd name="connsiteY1" fmla="*/ 123995 h 123995"/>
                    <a:gd name="connsiteX2" fmla="*/ 143507 w 156553"/>
                    <a:gd name="connsiteY2" fmla="*/ 71782 h 123995"/>
                    <a:gd name="connsiteX3" fmla="*/ 87702 w 156553"/>
                    <a:gd name="connsiteY3" fmla="*/ 13046 h 123995"/>
                    <a:gd name="connsiteX4" fmla="*/ 42702 w 156553"/>
                    <a:gd name="connsiteY4" fmla="*/ 13046 h 123995"/>
                    <a:gd name="connsiteX5" fmla="*/ 8132 w 156553"/>
                    <a:gd name="connsiteY5" fmla="*/ 24684 h 123995"/>
                    <a:gd name="connsiteX6" fmla="*/ 0 w 156553"/>
                    <a:gd name="connsiteY6" fmla="*/ 14483 h 123995"/>
                    <a:gd name="connsiteX7" fmla="*/ 42702 w 156553"/>
                    <a:gd name="connsiteY7" fmla="*/ 0 h 123995"/>
                    <a:gd name="connsiteX8" fmla="*/ 87702 w 156553"/>
                    <a:gd name="connsiteY8" fmla="*/ 0 h 123995"/>
                    <a:gd name="connsiteX9" fmla="*/ 156553 w 156553"/>
                    <a:gd name="connsiteY9" fmla="*/ 71782 h 123995"/>
                    <a:gd name="connsiteX10" fmla="*/ 156553 w 156553"/>
                    <a:gd name="connsiteY10" fmla="*/ 123995 h 12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6553" h="123995">
                      <a:moveTo>
                        <a:pt x="156553" y="123995"/>
                      </a:moveTo>
                      <a:lnTo>
                        <a:pt x="143507" y="123995"/>
                      </a:lnTo>
                      <a:lnTo>
                        <a:pt x="143507" y="71782"/>
                      </a:lnTo>
                      <a:cubicBezTo>
                        <a:pt x="143507" y="37759"/>
                        <a:pt x="120030" y="13046"/>
                        <a:pt x="87702" y="13046"/>
                      </a:cubicBezTo>
                      <a:lnTo>
                        <a:pt x="42702" y="13046"/>
                      </a:lnTo>
                      <a:cubicBezTo>
                        <a:pt x="29627" y="13046"/>
                        <a:pt x="17673" y="17069"/>
                        <a:pt x="8132" y="24684"/>
                      </a:cubicBezTo>
                      <a:lnTo>
                        <a:pt x="0" y="14483"/>
                      </a:lnTo>
                      <a:cubicBezTo>
                        <a:pt x="11868" y="5000"/>
                        <a:pt x="26609" y="0"/>
                        <a:pt x="42702" y="0"/>
                      </a:cubicBezTo>
                      <a:lnTo>
                        <a:pt x="87702" y="0"/>
                      </a:lnTo>
                      <a:cubicBezTo>
                        <a:pt x="126955" y="0"/>
                        <a:pt x="156553" y="30862"/>
                        <a:pt x="156553" y="71782"/>
                      </a:cubicBezTo>
                      <a:lnTo>
                        <a:pt x="156553" y="123995"/>
                      </a:lnTo>
                      <a:close/>
                    </a:path>
                  </a:pathLst>
                </a:custGeom>
                <a:grpFill/>
                <a:ln w="2873" cap="flat">
                  <a:noFill/>
                  <a:prstDash val="solid"/>
                  <a:miter/>
                </a:ln>
              </p:spPr>
              <p:txBody>
                <a:bodyPr rtlCol="0" anchor="ctr"/>
                <a:lstStyle/>
                <a:p>
                  <a:endParaRPr lang="en-GB" dirty="0"/>
                </a:p>
              </p:txBody>
            </p:sp>
            <p:sp>
              <p:nvSpPr>
                <p:cNvPr id="313" name="Freihandform: Form 696">
                  <a:extLst>
                    <a:ext uri="{FF2B5EF4-FFF2-40B4-BE49-F238E27FC236}">
                      <a16:creationId xmlns:a16="http://schemas.microsoft.com/office/drawing/2014/main" id="{D22B96D0-833A-4DDB-972C-5D4F095E00ED}"/>
                    </a:ext>
                  </a:extLst>
                </p:cNvPr>
                <p:cNvSpPr/>
                <p:nvPr/>
              </p:nvSpPr>
              <p:spPr>
                <a:xfrm>
                  <a:off x="6509537" y="1877622"/>
                  <a:ext cx="78334" cy="91380"/>
                </a:xfrm>
                <a:custGeom>
                  <a:avLst/>
                  <a:gdLst>
                    <a:gd name="connsiteX0" fmla="*/ 39167 w 78334"/>
                    <a:gd name="connsiteY0" fmla="*/ 91380 h 91380"/>
                    <a:gd name="connsiteX1" fmla="*/ 0 w 78334"/>
                    <a:gd name="connsiteY1" fmla="*/ 45690 h 91380"/>
                    <a:gd name="connsiteX2" fmla="*/ 39167 w 78334"/>
                    <a:gd name="connsiteY2" fmla="*/ 0 h 91380"/>
                    <a:gd name="connsiteX3" fmla="*/ 78334 w 78334"/>
                    <a:gd name="connsiteY3" fmla="*/ 45690 h 91380"/>
                    <a:gd name="connsiteX4" fmla="*/ 39167 w 78334"/>
                    <a:gd name="connsiteY4" fmla="*/ 91380 h 91380"/>
                    <a:gd name="connsiteX5" fmla="*/ 39167 w 78334"/>
                    <a:gd name="connsiteY5" fmla="*/ 13075 h 91380"/>
                    <a:gd name="connsiteX6" fmla="*/ 13075 w 78334"/>
                    <a:gd name="connsiteY6" fmla="*/ 45690 h 91380"/>
                    <a:gd name="connsiteX7" fmla="*/ 39167 w 78334"/>
                    <a:gd name="connsiteY7" fmla="*/ 78305 h 91380"/>
                    <a:gd name="connsiteX8" fmla="*/ 65259 w 78334"/>
                    <a:gd name="connsiteY8" fmla="*/ 45690 h 91380"/>
                    <a:gd name="connsiteX9" fmla="*/ 39167 w 78334"/>
                    <a:gd name="connsiteY9" fmla="*/ 13075 h 9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334" h="91380">
                      <a:moveTo>
                        <a:pt x="39167" y="91380"/>
                      </a:moveTo>
                      <a:cubicBezTo>
                        <a:pt x="15747" y="91380"/>
                        <a:pt x="0" y="73018"/>
                        <a:pt x="0" y="45690"/>
                      </a:cubicBezTo>
                      <a:cubicBezTo>
                        <a:pt x="0" y="18362"/>
                        <a:pt x="15747" y="0"/>
                        <a:pt x="39167" y="0"/>
                      </a:cubicBezTo>
                      <a:cubicBezTo>
                        <a:pt x="62587" y="0"/>
                        <a:pt x="78334" y="18362"/>
                        <a:pt x="78334" y="45690"/>
                      </a:cubicBezTo>
                      <a:cubicBezTo>
                        <a:pt x="78334" y="73018"/>
                        <a:pt x="62587" y="91380"/>
                        <a:pt x="39167" y="91380"/>
                      </a:cubicBezTo>
                      <a:close/>
                      <a:moveTo>
                        <a:pt x="39167" y="13075"/>
                      </a:moveTo>
                      <a:cubicBezTo>
                        <a:pt x="19914" y="13075"/>
                        <a:pt x="13075" y="29943"/>
                        <a:pt x="13075" y="45690"/>
                      </a:cubicBezTo>
                      <a:cubicBezTo>
                        <a:pt x="13075" y="61437"/>
                        <a:pt x="19943" y="78305"/>
                        <a:pt x="39167" y="78305"/>
                      </a:cubicBezTo>
                      <a:cubicBezTo>
                        <a:pt x="58391" y="78305"/>
                        <a:pt x="65259" y="61437"/>
                        <a:pt x="65259" y="45690"/>
                      </a:cubicBezTo>
                      <a:cubicBezTo>
                        <a:pt x="65259" y="29943"/>
                        <a:pt x="58420" y="13075"/>
                        <a:pt x="39167" y="13075"/>
                      </a:cubicBezTo>
                      <a:close/>
                    </a:path>
                  </a:pathLst>
                </a:custGeom>
                <a:grpFill/>
                <a:ln w="2873" cap="flat">
                  <a:noFill/>
                  <a:prstDash val="solid"/>
                  <a:miter/>
                </a:ln>
              </p:spPr>
              <p:txBody>
                <a:bodyPr rtlCol="0" anchor="ctr"/>
                <a:lstStyle/>
                <a:p>
                  <a:endParaRPr lang="en-GB" dirty="0"/>
                </a:p>
              </p:txBody>
            </p:sp>
            <p:grpSp>
              <p:nvGrpSpPr>
                <p:cNvPr id="314" name="Grafik 167">
                  <a:extLst>
                    <a:ext uri="{FF2B5EF4-FFF2-40B4-BE49-F238E27FC236}">
                      <a16:creationId xmlns:a16="http://schemas.microsoft.com/office/drawing/2014/main" id="{F2F3F856-9D8D-4704-80F3-F2BF42AA21A1}"/>
                    </a:ext>
                  </a:extLst>
                </p:cNvPr>
                <p:cNvGrpSpPr/>
                <p:nvPr/>
              </p:nvGrpSpPr>
              <p:grpSpPr>
                <a:xfrm>
                  <a:off x="6542181" y="2040784"/>
                  <a:ext cx="13046" cy="45690"/>
                  <a:chOff x="6542181" y="2040784"/>
                  <a:chExt cx="13046" cy="45690"/>
                </a:xfrm>
                <a:grpFill/>
              </p:grpSpPr>
              <p:sp>
                <p:nvSpPr>
                  <p:cNvPr id="316" name="Freihandform: Form 698">
                    <a:extLst>
                      <a:ext uri="{FF2B5EF4-FFF2-40B4-BE49-F238E27FC236}">
                        <a16:creationId xmlns:a16="http://schemas.microsoft.com/office/drawing/2014/main" id="{F5D0A668-6979-4979-A29A-E549DAD9C0D1}"/>
                      </a:ext>
                    </a:extLst>
                  </p:cNvPr>
                  <p:cNvSpPr/>
                  <p:nvPr/>
                </p:nvSpPr>
                <p:spPr>
                  <a:xfrm>
                    <a:off x="6542181" y="2040784"/>
                    <a:ext cx="13046"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grpFill/>
                  <a:ln w="2873" cap="flat">
                    <a:noFill/>
                    <a:prstDash val="solid"/>
                    <a:miter/>
                  </a:ln>
                </p:spPr>
                <p:txBody>
                  <a:bodyPr rtlCol="0" anchor="ctr"/>
                  <a:lstStyle/>
                  <a:p>
                    <a:endParaRPr lang="en-GB" dirty="0"/>
                  </a:p>
                </p:txBody>
              </p:sp>
              <p:sp>
                <p:nvSpPr>
                  <p:cNvPr id="317" name="Freihandform: Form 699">
                    <a:extLst>
                      <a:ext uri="{FF2B5EF4-FFF2-40B4-BE49-F238E27FC236}">
                        <a16:creationId xmlns:a16="http://schemas.microsoft.com/office/drawing/2014/main" id="{0219F310-B794-4B85-BE10-FC20A61380A2}"/>
                      </a:ext>
                    </a:extLst>
                  </p:cNvPr>
                  <p:cNvSpPr/>
                  <p:nvPr/>
                </p:nvSpPr>
                <p:spPr>
                  <a:xfrm>
                    <a:off x="6542181" y="2073428"/>
                    <a:ext cx="13046"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grpFill/>
                  <a:ln w="2873" cap="flat">
                    <a:noFill/>
                    <a:prstDash val="solid"/>
                    <a:miter/>
                  </a:ln>
                </p:spPr>
                <p:txBody>
                  <a:bodyPr rtlCol="0" anchor="ctr"/>
                  <a:lstStyle/>
                  <a:p>
                    <a:endParaRPr lang="en-GB" dirty="0"/>
                  </a:p>
                </p:txBody>
              </p:sp>
            </p:grpSp>
            <p:sp>
              <p:nvSpPr>
                <p:cNvPr id="315" name="Freihandform: Form 700">
                  <a:extLst>
                    <a:ext uri="{FF2B5EF4-FFF2-40B4-BE49-F238E27FC236}">
                      <a16:creationId xmlns:a16="http://schemas.microsoft.com/office/drawing/2014/main" id="{32BE8146-D7A3-43F8-8A8B-4F23B2B9A86F}"/>
                    </a:ext>
                  </a:extLst>
                </p:cNvPr>
                <p:cNvSpPr/>
                <p:nvPr/>
              </p:nvSpPr>
              <p:spPr>
                <a:xfrm>
                  <a:off x="6594395" y="2060382"/>
                  <a:ext cx="19569" cy="45661"/>
                </a:xfrm>
                <a:custGeom>
                  <a:avLst/>
                  <a:gdLst>
                    <a:gd name="connsiteX0" fmla="*/ 13046 w 19569"/>
                    <a:gd name="connsiteY0" fmla="*/ 45661 h 45661"/>
                    <a:gd name="connsiteX1" fmla="*/ 0 w 19569"/>
                    <a:gd name="connsiteY1" fmla="*/ 45661 h 45661"/>
                    <a:gd name="connsiteX2" fmla="*/ 0 w 19569"/>
                    <a:gd name="connsiteY2" fmla="*/ 0 h 45661"/>
                    <a:gd name="connsiteX3" fmla="*/ 19569 w 19569"/>
                    <a:gd name="connsiteY3" fmla="*/ 0 h 45661"/>
                    <a:gd name="connsiteX4" fmla="*/ 19569 w 19569"/>
                    <a:gd name="connsiteY4" fmla="*/ 13046 h 45661"/>
                    <a:gd name="connsiteX5" fmla="*/ 13046 w 19569"/>
                    <a:gd name="connsiteY5" fmla="*/ 13046 h 4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69" h="45661">
                      <a:moveTo>
                        <a:pt x="13046" y="45661"/>
                      </a:moveTo>
                      <a:lnTo>
                        <a:pt x="0" y="45661"/>
                      </a:lnTo>
                      <a:lnTo>
                        <a:pt x="0" y="0"/>
                      </a:lnTo>
                      <a:lnTo>
                        <a:pt x="19569" y="0"/>
                      </a:lnTo>
                      <a:lnTo>
                        <a:pt x="19569" y="13046"/>
                      </a:lnTo>
                      <a:lnTo>
                        <a:pt x="13046" y="13046"/>
                      </a:lnTo>
                      <a:close/>
                    </a:path>
                  </a:pathLst>
                </a:custGeom>
                <a:grpFill/>
                <a:ln w="2873" cap="flat">
                  <a:noFill/>
                  <a:prstDash val="solid"/>
                  <a:miter/>
                </a:ln>
              </p:spPr>
              <p:txBody>
                <a:bodyPr rtlCol="0" anchor="ctr"/>
                <a:lstStyle/>
                <a:p>
                  <a:endParaRPr lang="en-GB" dirty="0"/>
                </a:p>
              </p:txBody>
            </p:sp>
          </p:grpSp>
          <p:grpSp>
            <p:nvGrpSpPr>
              <p:cNvPr id="304" name="Grafik 167">
                <a:extLst>
                  <a:ext uri="{FF2B5EF4-FFF2-40B4-BE49-F238E27FC236}">
                    <a16:creationId xmlns:a16="http://schemas.microsoft.com/office/drawing/2014/main" id="{0DF1B04D-4350-47BF-9061-AE667A412C7D}"/>
                  </a:ext>
                </a:extLst>
              </p:cNvPr>
              <p:cNvGrpSpPr/>
              <p:nvPr/>
            </p:nvGrpSpPr>
            <p:grpSpPr>
              <a:xfrm>
                <a:off x="6306116" y="1877622"/>
                <a:ext cx="182702" cy="228421"/>
                <a:chOff x="6306116" y="1877622"/>
                <a:chExt cx="182702" cy="228421"/>
              </a:xfrm>
              <a:grpFill/>
            </p:grpSpPr>
            <p:sp>
              <p:nvSpPr>
                <p:cNvPr id="305" name="Freihandform: Form 702">
                  <a:extLst>
                    <a:ext uri="{FF2B5EF4-FFF2-40B4-BE49-F238E27FC236}">
                      <a16:creationId xmlns:a16="http://schemas.microsoft.com/office/drawing/2014/main" id="{12D4B2E5-9872-4ABE-BE2E-44E4565D1042}"/>
                    </a:ext>
                  </a:extLst>
                </p:cNvPr>
                <p:cNvSpPr/>
                <p:nvPr/>
              </p:nvSpPr>
              <p:spPr>
                <a:xfrm>
                  <a:off x="6306116" y="1982048"/>
                  <a:ext cx="182702" cy="123995"/>
                </a:xfrm>
                <a:custGeom>
                  <a:avLst/>
                  <a:gdLst>
                    <a:gd name="connsiteX0" fmla="*/ 182703 w 182702"/>
                    <a:gd name="connsiteY0" fmla="*/ 123995 h 123995"/>
                    <a:gd name="connsiteX1" fmla="*/ 169657 w 182702"/>
                    <a:gd name="connsiteY1" fmla="*/ 123995 h 123995"/>
                    <a:gd name="connsiteX2" fmla="*/ 169657 w 182702"/>
                    <a:gd name="connsiteY2" fmla="*/ 71782 h 123995"/>
                    <a:gd name="connsiteX3" fmla="*/ 113852 w 182702"/>
                    <a:gd name="connsiteY3" fmla="*/ 13046 h 123995"/>
                    <a:gd name="connsiteX4" fmla="*/ 68851 w 182702"/>
                    <a:gd name="connsiteY4" fmla="*/ 13046 h 123995"/>
                    <a:gd name="connsiteX5" fmla="*/ 13046 w 182702"/>
                    <a:gd name="connsiteY5" fmla="*/ 71782 h 123995"/>
                    <a:gd name="connsiteX6" fmla="*/ 13046 w 182702"/>
                    <a:gd name="connsiteY6" fmla="*/ 123995 h 123995"/>
                    <a:gd name="connsiteX7" fmla="*/ 0 w 182702"/>
                    <a:gd name="connsiteY7" fmla="*/ 123995 h 123995"/>
                    <a:gd name="connsiteX8" fmla="*/ 0 w 182702"/>
                    <a:gd name="connsiteY8" fmla="*/ 71782 h 123995"/>
                    <a:gd name="connsiteX9" fmla="*/ 68851 w 182702"/>
                    <a:gd name="connsiteY9" fmla="*/ 0 h 123995"/>
                    <a:gd name="connsiteX10" fmla="*/ 113852 w 182702"/>
                    <a:gd name="connsiteY10" fmla="*/ 0 h 123995"/>
                    <a:gd name="connsiteX11" fmla="*/ 182703 w 182702"/>
                    <a:gd name="connsiteY11" fmla="*/ 71782 h 123995"/>
                    <a:gd name="connsiteX12" fmla="*/ 182703 w 182702"/>
                    <a:gd name="connsiteY12" fmla="*/ 123995 h 123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2702" h="123995">
                      <a:moveTo>
                        <a:pt x="182703" y="123995"/>
                      </a:moveTo>
                      <a:lnTo>
                        <a:pt x="169657" y="123995"/>
                      </a:lnTo>
                      <a:lnTo>
                        <a:pt x="169657" y="71782"/>
                      </a:lnTo>
                      <a:cubicBezTo>
                        <a:pt x="169657" y="37759"/>
                        <a:pt x="146180" y="13046"/>
                        <a:pt x="113852" y="13046"/>
                      </a:cubicBezTo>
                      <a:lnTo>
                        <a:pt x="68851" y="13046"/>
                      </a:lnTo>
                      <a:cubicBezTo>
                        <a:pt x="36523" y="13046"/>
                        <a:pt x="13046" y="37759"/>
                        <a:pt x="13046" y="71782"/>
                      </a:cubicBezTo>
                      <a:lnTo>
                        <a:pt x="13046" y="123995"/>
                      </a:lnTo>
                      <a:lnTo>
                        <a:pt x="0" y="123995"/>
                      </a:lnTo>
                      <a:lnTo>
                        <a:pt x="0" y="71782"/>
                      </a:lnTo>
                      <a:cubicBezTo>
                        <a:pt x="0" y="30862"/>
                        <a:pt x="29598" y="0"/>
                        <a:pt x="68851" y="0"/>
                      </a:cubicBezTo>
                      <a:lnTo>
                        <a:pt x="113852" y="0"/>
                      </a:lnTo>
                      <a:cubicBezTo>
                        <a:pt x="153105" y="0"/>
                        <a:pt x="182703" y="30862"/>
                        <a:pt x="182703" y="71782"/>
                      </a:cubicBezTo>
                      <a:lnTo>
                        <a:pt x="182703" y="123995"/>
                      </a:lnTo>
                      <a:close/>
                    </a:path>
                  </a:pathLst>
                </a:custGeom>
                <a:grpFill/>
                <a:ln w="2873" cap="flat">
                  <a:noFill/>
                  <a:prstDash val="solid"/>
                  <a:miter/>
                </a:ln>
              </p:spPr>
              <p:txBody>
                <a:bodyPr rtlCol="0" anchor="ctr"/>
                <a:lstStyle/>
                <a:p>
                  <a:endParaRPr lang="en-GB" dirty="0"/>
                </a:p>
              </p:txBody>
            </p:sp>
            <p:sp>
              <p:nvSpPr>
                <p:cNvPr id="306" name="Freihandform: Form 703">
                  <a:extLst>
                    <a:ext uri="{FF2B5EF4-FFF2-40B4-BE49-F238E27FC236}">
                      <a16:creationId xmlns:a16="http://schemas.microsoft.com/office/drawing/2014/main" id="{BB3A028F-27BE-4E2F-888B-ACE72924FC65}"/>
                    </a:ext>
                  </a:extLst>
                </p:cNvPr>
                <p:cNvSpPr/>
                <p:nvPr/>
              </p:nvSpPr>
              <p:spPr>
                <a:xfrm>
                  <a:off x="6358473" y="1877622"/>
                  <a:ext cx="78334" cy="91380"/>
                </a:xfrm>
                <a:custGeom>
                  <a:avLst/>
                  <a:gdLst>
                    <a:gd name="connsiteX0" fmla="*/ 39167 w 78334"/>
                    <a:gd name="connsiteY0" fmla="*/ 91380 h 91380"/>
                    <a:gd name="connsiteX1" fmla="*/ 0 w 78334"/>
                    <a:gd name="connsiteY1" fmla="*/ 45690 h 91380"/>
                    <a:gd name="connsiteX2" fmla="*/ 39167 w 78334"/>
                    <a:gd name="connsiteY2" fmla="*/ 0 h 91380"/>
                    <a:gd name="connsiteX3" fmla="*/ 78334 w 78334"/>
                    <a:gd name="connsiteY3" fmla="*/ 45690 h 91380"/>
                    <a:gd name="connsiteX4" fmla="*/ 39167 w 78334"/>
                    <a:gd name="connsiteY4" fmla="*/ 91380 h 91380"/>
                    <a:gd name="connsiteX5" fmla="*/ 39167 w 78334"/>
                    <a:gd name="connsiteY5" fmla="*/ 13075 h 91380"/>
                    <a:gd name="connsiteX6" fmla="*/ 13075 w 78334"/>
                    <a:gd name="connsiteY6" fmla="*/ 45690 h 91380"/>
                    <a:gd name="connsiteX7" fmla="*/ 39167 w 78334"/>
                    <a:gd name="connsiteY7" fmla="*/ 78305 h 91380"/>
                    <a:gd name="connsiteX8" fmla="*/ 65259 w 78334"/>
                    <a:gd name="connsiteY8" fmla="*/ 45690 h 91380"/>
                    <a:gd name="connsiteX9" fmla="*/ 39167 w 78334"/>
                    <a:gd name="connsiteY9" fmla="*/ 13075 h 91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334" h="91380">
                      <a:moveTo>
                        <a:pt x="39167" y="91380"/>
                      </a:moveTo>
                      <a:cubicBezTo>
                        <a:pt x="15747" y="91380"/>
                        <a:pt x="0" y="73018"/>
                        <a:pt x="0" y="45690"/>
                      </a:cubicBezTo>
                      <a:cubicBezTo>
                        <a:pt x="0" y="18362"/>
                        <a:pt x="15747" y="0"/>
                        <a:pt x="39167" y="0"/>
                      </a:cubicBezTo>
                      <a:cubicBezTo>
                        <a:pt x="62587" y="0"/>
                        <a:pt x="78334" y="18362"/>
                        <a:pt x="78334" y="45690"/>
                      </a:cubicBezTo>
                      <a:cubicBezTo>
                        <a:pt x="78334" y="73018"/>
                        <a:pt x="62587" y="91380"/>
                        <a:pt x="39167" y="91380"/>
                      </a:cubicBezTo>
                      <a:close/>
                      <a:moveTo>
                        <a:pt x="39167" y="13075"/>
                      </a:moveTo>
                      <a:cubicBezTo>
                        <a:pt x="19914" y="13075"/>
                        <a:pt x="13075" y="29943"/>
                        <a:pt x="13075" y="45690"/>
                      </a:cubicBezTo>
                      <a:cubicBezTo>
                        <a:pt x="13075" y="61437"/>
                        <a:pt x="19943" y="78305"/>
                        <a:pt x="39167" y="78305"/>
                      </a:cubicBezTo>
                      <a:cubicBezTo>
                        <a:pt x="58391" y="78305"/>
                        <a:pt x="65259" y="61437"/>
                        <a:pt x="65259" y="45690"/>
                      </a:cubicBezTo>
                      <a:cubicBezTo>
                        <a:pt x="65259" y="29943"/>
                        <a:pt x="58420" y="13075"/>
                        <a:pt x="39167" y="13075"/>
                      </a:cubicBezTo>
                      <a:close/>
                    </a:path>
                  </a:pathLst>
                </a:custGeom>
                <a:grpFill/>
                <a:ln w="2873" cap="flat">
                  <a:noFill/>
                  <a:prstDash val="solid"/>
                  <a:miter/>
                </a:ln>
              </p:spPr>
              <p:txBody>
                <a:bodyPr rtlCol="0" anchor="ctr"/>
                <a:lstStyle/>
                <a:p>
                  <a:endParaRPr lang="en-GB" dirty="0"/>
                </a:p>
              </p:txBody>
            </p:sp>
            <p:grpSp>
              <p:nvGrpSpPr>
                <p:cNvPr id="307" name="Grafik 167">
                  <a:extLst>
                    <a:ext uri="{FF2B5EF4-FFF2-40B4-BE49-F238E27FC236}">
                      <a16:creationId xmlns:a16="http://schemas.microsoft.com/office/drawing/2014/main" id="{A26E205D-0098-44C4-B29C-1DED68B0F50D}"/>
                    </a:ext>
                  </a:extLst>
                </p:cNvPr>
                <p:cNvGrpSpPr/>
                <p:nvPr/>
              </p:nvGrpSpPr>
              <p:grpSpPr>
                <a:xfrm>
                  <a:off x="6391117" y="2040784"/>
                  <a:ext cx="13046" cy="45690"/>
                  <a:chOff x="6391117" y="2040784"/>
                  <a:chExt cx="13046" cy="45690"/>
                </a:xfrm>
                <a:grpFill/>
              </p:grpSpPr>
              <p:sp>
                <p:nvSpPr>
                  <p:cNvPr id="310" name="Freihandform: Form 705">
                    <a:extLst>
                      <a:ext uri="{FF2B5EF4-FFF2-40B4-BE49-F238E27FC236}">
                        <a16:creationId xmlns:a16="http://schemas.microsoft.com/office/drawing/2014/main" id="{B0424DF3-94E1-4A0F-BC3E-99C6C168561B}"/>
                      </a:ext>
                    </a:extLst>
                  </p:cNvPr>
                  <p:cNvSpPr/>
                  <p:nvPr/>
                </p:nvSpPr>
                <p:spPr>
                  <a:xfrm>
                    <a:off x="6391117" y="2040784"/>
                    <a:ext cx="13046"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grpFill/>
                  <a:ln w="2873" cap="flat">
                    <a:noFill/>
                    <a:prstDash val="solid"/>
                    <a:miter/>
                  </a:ln>
                </p:spPr>
                <p:txBody>
                  <a:bodyPr rtlCol="0" anchor="ctr"/>
                  <a:lstStyle/>
                  <a:p>
                    <a:endParaRPr lang="en-GB" dirty="0"/>
                  </a:p>
                </p:txBody>
              </p:sp>
              <p:sp>
                <p:nvSpPr>
                  <p:cNvPr id="311" name="Freihandform: Form 706">
                    <a:extLst>
                      <a:ext uri="{FF2B5EF4-FFF2-40B4-BE49-F238E27FC236}">
                        <a16:creationId xmlns:a16="http://schemas.microsoft.com/office/drawing/2014/main" id="{96EF0D66-0E1E-4797-8B4A-3D2FEC6CCA0C}"/>
                      </a:ext>
                    </a:extLst>
                  </p:cNvPr>
                  <p:cNvSpPr/>
                  <p:nvPr/>
                </p:nvSpPr>
                <p:spPr>
                  <a:xfrm>
                    <a:off x="6391117" y="2073428"/>
                    <a:ext cx="13046"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grpFill/>
                  <a:ln w="2873" cap="flat">
                    <a:noFill/>
                    <a:prstDash val="solid"/>
                    <a:miter/>
                  </a:ln>
                </p:spPr>
                <p:txBody>
                  <a:bodyPr rtlCol="0" anchor="ctr"/>
                  <a:lstStyle/>
                  <a:p>
                    <a:endParaRPr lang="en-GB" dirty="0"/>
                  </a:p>
                </p:txBody>
              </p:sp>
            </p:grpSp>
            <p:sp>
              <p:nvSpPr>
                <p:cNvPr id="308" name="Freihandform: Form 707">
                  <a:extLst>
                    <a:ext uri="{FF2B5EF4-FFF2-40B4-BE49-F238E27FC236}">
                      <a16:creationId xmlns:a16="http://schemas.microsoft.com/office/drawing/2014/main" id="{D79D025F-FF1E-4A5A-B24C-C0A4D6014179}"/>
                    </a:ext>
                  </a:extLst>
                </p:cNvPr>
                <p:cNvSpPr/>
                <p:nvPr/>
              </p:nvSpPr>
              <p:spPr>
                <a:xfrm>
                  <a:off x="6332381" y="2060382"/>
                  <a:ext cx="19569" cy="45661"/>
                </a:xfrm>
                <a:custGeom>
                  <a:avLst/>
                  <a:gdLst>
                    <a:gd name="connsiteX0" fmla="*/ 19569 w 19569"/>
                    <a:gd name="connsiteY0" fmla="*/ 45661 h 45661"/>
                    <a:gd name="connsiteX1" fmla="*/ 6523 w 19569"/>
                    <a:gd name="connsiteY1" fmla="*/ 45661 h 45661"/>
                    <a:gd name="connsiteX2" fmla="*/ 6523 w 19569"/>
                    <a:gd name="connsiteY2" fmla="*/ 13046 h 45661"/>
                    <a:gd name="connsiteX3" fmla="*/ 0 w 19569"/>
                    <a:gd name="connsiteY3" fmla="*/ 13046 h 45661"/>
                    <a:gd name="connsiteX4" fmla="*/ 0 w 19569"/>
                    <a:gd name="connsiteY4" fmla="*/ 0 h 45661"/>
                    <a:gd name="connsiteX5" fmla="*/ 19569 w 19569"/>
                    <a:gd name="connsiteY5" fmla="*/ 0 h 4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69" h="45661">
                      <a:moveTo>
                        <a:pt x="19569" y="45661"/>
                      </a:moveTo>
                      <a:lnTo>
                        <a:pt x="6523" y="45661"/>
                      </a:lnTo>
                      <a:lnTo>
                        <a:pt x="6523" y="13046"/>
                      </a:lnTo>
                      <a:lnTo>
                        <a:pt x="0" y="13046"/>
                      </a:lnTo>
                      <a:lnTo>
                        <a:pt x="0" y="0"/>
                      </a:lnTo>
                      <a:lnTo>
                        <a:pt x="19569" y="0"/>
                      </a:lnTo>
                      <a:close/>
                    </a:path>
                  </a:pathLst>
                </a:custGeom>
                <a:grpFill/>
                <a:ln w="2873" cap="flat">
                  <a:noFill/>
                  <a:prstDash val="solid"/>
                  <a:miter/>
                </a:ln>
              </p:spPr>
              <p:txBody>
                <a:bodyPr rtlCol="0" anchor="ctr"/>
                <a:lstStyle/>
                <a:p>
                  <a:endParaRPr lang="en-GB" dirty="0"/>
                </a:p>
              </p:txBody>
            </p:sp>
            <p:sp>
              <p:nvSpPr>
                <p:cNvPr id="309" name="Freihandform: Form 708">
                  <a:extLst>
                    <a:ext uri="{FF2B5EF4-FFF2-40B4-BE49-F238E27FC236}">
                      <a16:creationId xmlns:a16="http://schemas.microsoft.com/office/drawing/2014/main" id="{44B5F6DE-0219-426E-B29B-6DA2689891E1}"/>
                    </a:ext>
                  </a:extLst>
                </p:cNvPr>
                <p:cNvSpPr/>
                <p:nvPr/>
              </p:nvSpPr>
              <p:spPr>
                <a:xfrm>
                  <a:off x="6443416" y="2060382"/>
                  <a:ext cx="19569" cy="45661"/>
                </a:xfrm>
                <a:custGeom>
                  <a:avLst/>
                  <a:gdLst>
                    <a:gd name="connsiteX0" fmla="*/ 13046 w 19569"/>
                    <a:gd name="connsiteY0" fmla="*/ 45661 h 45661"/>
                    <a:gd name="connsiteX1" fmla="*/ 0 w 19569"/>
                    <a:gd name="connsiteY1" fmla="*/ 45661 h 45661"/>
                    <a:gd name="connsiteX2" fmla="*/ 0 w 19569"/>
                    <a:gd name="connsiteY2" fmla="*/ 0 h 45661"/>
                    <a:gd name="connsiteX3" fmla="*/ 19569 w 19569"/>
                    <a:gd name="connsiteY3" fmla="*/ 0 h 45661"/>
                    <a:gd name="connsiteX4" fmla="*/ 19569 w 19569"/>
                    <a:gd name="connsiteY4" fmla="*/ 13046 h 45661"/>
                    <a:gd name="connsiteX5" fmla="*/ 13046 w 19569"/>
                    <a:gd name="connsiteY5" fmla="*/ 13046 h 4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69" h="45661">
                      <a:moveTo>
                        <a:pt x="13046" y="45661"/>
                      </a:moveTo>
                      <a:lnTo>
                        <a:pt x="0" y="45661"/>
                      </a:lnTo>
                      <a:lnTo>
                        <a:pt x="0" y="0"/>
                      </a:lnTo>
                      <a:lnTo>
                        <a:pt x="19569" y="0"/>
                      </a:lnTo>
                      <a:lnTo>
                        <a:pt x="19569" y="13046"/>
                      </a:lnTo>
                      <a:lnTo>
                        <a:pt x="13046" y="13046"/>
                      </a:lnTo>
                      <a:close/>
                    </a:path>
                  </a:pathLst>
                </a:custGeom>
                <a:grpFill/>
                <a:ln w="2873" cap="flat">
                  <a:noFill/>
                  <a:prstDash val="solid"/>
                  <a:miter/>
                </a:ln>
              </p:spPr>
              <p:txBody>
                <a:bodyPr rtlCol="0" anchor="ctr"/>
                <a:lstStyle/>
                <a:p>
                  <a:endParaRPr lang="en-GB" dirty="0"/>
                </a:p>
              </p:txBody>
            </p:sp>
          </p:grpSp>
        </p:grpSp>
        <p:grpSp>
          <p:nvGrpSpPr>
            <p:cNvPr id="290" name="Grafik 167">
              <a:extLst>
                <a:ext uri="{FF2B5EF4-FFF2-40B4-BE49-F238E27FC236}">
                  <a16:creationId xmlns:a16="http://schemas.microsoft.com/office/drawing/2014/main" id="{3D8BD648-7EDA-4413-B1FD-4876A743C9A5}"/>
                </a:ext>
              </a:extLst>
            </p:cNvPr>
            <p:cNvGrpSpPr/>
            <p:nvPr/>
          </p:nvGrpSpPr>
          <p:grpSpPr>
            <a:xfrm>
              <a:off x="3814714" y="4002603"/>
              <a:ext cx="284054" cy="201210"/>
              <a:chOff x="6240857" y="1629648"/>
              <a:chExt cx="313238" cy="221881"/>
            </a:xfrm>
            <a:solidFill>
              <a:schemeClr val="accent1"/>
            </a:solidFill>
          </p:grpSpPr>
          <p:sp>
            <p:nvSpPr>
              <p:cNvPr id="291" name="Freihandform: Form 710">
                <a:extLst>
                  <a:ext uri="{FF2B5EF4-FFF2-40B4-BE49-F238E27FC236}">
                    <a16:creationId xmlns:a16="http://schemas.microsoft.com/office/drawing/2014/main" id="{05DB067C-3EF7-49F7-9DDC-B57FFE2778EE}"/>
                  </a:ext>
                </a:extLst>
              </p:cNvPr>
              <p:cNvSpPr/>
              <p:nvPr/>
            </p:nvSpPr>
            <p:spPr>
              <a:xfrm>
                <a:off x="6338769" y="1629648"/>
                <a:ext cx="117472" cy="130517"/>
              </a:xfrm>
              <a:custGeom>
                <a:avLst/>
                <a:gdLst>
                  <a:gd name="connsiteX0" fmla="*/ 91351 w 117472"/>
                  <a:gd name="connsiteY0" fmla="*/ 130518 h 130518"/>
                  <a:gd name="connsiteX1" fmla="*/ 26092 w 117472"/>
                  <a:gd name="connsiteY1" fmla="*/ 130518 h 130518"/>
                  <a:gd name="connsiteX2" fmla="*/ 26092 w 117472"/>
                  <a:gd name="connsiteY2" fmla="*/ 107530 h 130518"/>
                  <a:gd name="connsiteX3" fmla="*/ 0 w 117472"/>
                  <a:gd name="connsiteY3" fmla="*/ 58736 h 130518"/>
                  <a:gd name="connsiteX4" fmla="*/ 58736 w 117472"/>
                  <a:gd name="connsiteY4" fmla="*/ 0 h 130518"/>
                  <a:gd name="connsiteX5" fmla="*/ 117472 w 117472"/>
                  <a:gd name="connsiteY5" fmla="*/ 58736 h 130518"/>
                  <a:gd name="connsiteX6" fmla="*/ 91380 w 117472"/>
                  <a:gd name="connsiteY6" fmla="*/ 107530 h 130518"/>
                  <a:gd name="connsiteX7" fmla="*/ 91380 w 117472"/>
                  <a:gd name="connsiteY7" fmla="*/ 130518 h 130518"/>
                  <a:gd name="connsiteX8" fmla="*/ 39138 w 117472"/>
                  <a:gd name="connsiteY8" fmla="*/ 117472 h 130518"/>
                  <a:gd name="connsiteX9" fmla="*/ 78305 w 117472"/>
                  <a:gd name="connsiteY9" fmla="*/ 117472 h 130518"/>
                  <a:gd name="connsiteX10" fmla="*/ 78305 w 117472"/>
                  <a:gd name="connsiteY10" fmla="*/ 100145 h 130518"/>
                  <a:gd name="connsiteX11" fmla="*/ 81553 w 117472"/>
                  <a:gd name="connsiteY11" fmla="*/ 98248 h 130518"/>
                  <a:gd name="connsiteX12" fmla="*/ 104398 w 117472"/>
                  <a:gd name="connsiteY12" fmla="*/ 58736 h 130518"/>
                  <a:gd name="connsiteX13" fmla="*/ 58707 w 117472"/>
                  <a:gd name="connsiteY13" fmla="*/ 13046 h 130518"/>
                  <a:gd name="connsiteX14" fmla="*/ 13017 w 117472"/>
                  <a:gd name="connsiteY14" fmla="*/ 58736 h 130518"/>
                  <a:gd name="connsiteX15" fmla="*/ 35862 w 117472"/>
                  <a:gd name="connsiteY15" fmla="*/ 98248 h 130518"/>
                  <a:gd name="connsiteX16" fmla="*/ 39110 w 117472"/>
                  <a:gd name="connsiteY16" fmla="*/ 100145 h 130518"/>
                  <a:gd name="connsiteX17" fmla="*/ 39110 w 117472"/>
                  <a:gd name="connsiteY17" fmla="*/ 117472 h 13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472" h="130518">
                    <a:moveTo>
                      <a:pt x="91351" y="130518"/>
                    </a:moveTo>
                    <a:lnTo>
                      <a:pt x="26092" y="130518"/>
                    </a:lnTo>
                    <a:lnTo>
                      <a:pt x="26092" y="107530"/>
                    </a:lnTo>
                    <a:cubicBezTo>
                      <a:pt x="9885" y="96668"/>
                      <a:pt x="0" y="78305"/>
                      <a:pt x="0" y="58736"/>
                    </a:cubicBezTo>
                    <a:cubicBezTo>
                      <a:pt x="0" y="26351"/>
                      <a:pt x="26351" y="0"/>
                      <a:pt x="58736" y="0"/>
                    </a:cubicBezTo>
                    <a:cubicBezTo>
                      <a:pt x="91122" y="0"/>
                      <a:pt x="117472" y="26351"/>
                      <a:pt x="117472" y="58736"/>
                    </a:cubicBezTo>
                    <a:cubicBezTo>
                      <a:pt x="117472" y="78305"/>
                      <a:pt x="107558" y="96668"/>
                      <a:pt x="91380" y="107530"/>
                    </a:cubicBezTo>
                    <a:lnTo>
                      <a:pt x="91380" y="130518"/>
                    </a:lnTo>
                    <a:close/>
                    <a:moveTo>
                      <a:pt x="39138" y="117472"/>
                    </a:moveTo>
                    <a:lnTo>
                      <a:pt x="78305" y="117472"/>
                    </a:lnTo>
                    <a:lnTo>
                      <a:pt x="78305" y="100145"/>
                    </a:lnTo>
                    <a:lnTo>
                      <a:pt x="81553" y="98248"/>
                    </a:lnTo>
                    <a:cubicBezTo>
                      <a:pt x="95633" y="90087"/>
                      <a:pt x="104398" y="74943"/>
                      <a:pt x="104398" y="58736"/>
                    </a:cubicBezTo>
                    <a:cubicBezTo>
                      <a:pt x="104398" y="33535"/>
                      <a:pt x="83909" y="13046"/>
                      <a:pt x="58707" y="13046"/>
                    </a:cubicBezTo>
                    <a:cubicBezTo>
                      <a:pt x="33506" y="13046"/>
                      <a:pt x="13017" y="33535"/>
                      <a:pt x="13017" y="58736"/>
                    </a:cubicBezTo>
                    <a:cubicBezTo>
                      <a:pt x="13017" y="74943"/>
                      <a:pt x="21782" y="90087"/>
                      <a:pt x="35862" y="98248"/>
                    </a:cubicBezTo>
                    <a:lnTo>
                      <a:pt x="39110" y="100145"/>
                    </a:lnTo>
                    <a:lnTo>
                      <a:pt x="39110" y="117472"/>
                    </a:lnTo>
                    <a:close/>
                  </a:path>
                </a:pathLst>
              </a:custGeom>
              <a:solidFill>
                <a:schemeClr val="accent1"/>
              </a:solidFill>
              <a:ln w="2873" cap="flat">
                <a:noFill/>
                <a:prstDash val="solid"/>
                <a:miter/>
              </a:ln>
            </p:spPr>
            <p:txBody>
              <a:bodyPr rtlCol="0" anchor="ctr"/>
              <a:lstStyle/>
              <a:p>
                <a:endParaRPr lang="en-GB" dirty="0"/>
              </a:p>
            </p:txBody>
          </p:sp>
          <p:sp>
            <p:nvSpPr>
              <p:cNvPr id="292" name="Freihandform: Form 711">
                <a:extLst>
                  <a:ext uri="{FF2B5EF4-FFF2-40B4-BE49-F238E27FC236}">
                    <a16:creationId xmlns:a16="http://schemas.microsoft.com/office/drawing/2014/main" id="{47E8B6FB-6658-4BA8-BBBE-983B87D64931}"/>
                  </a:ext>
                </a:extLst>
              </p:cNvPr>
              <p:cNvSpPr/>
              <p:nvPr/>
            </p:nvSpPr>
            <p:spPr>
              <a:xfrm>
                <a:off x="6377907" y="1773213"/>
                <a:ext cx="39167" cy="13046"/>
              </a:xfrm>
              <a:custGeom>
                <a:avLst/>
                <a:gdLst>
                  <a:gd name="connsiteX0" fmla="*/ 0 w 39167"/>
                  <a:gd name="connsiteY0" fmla="*/ 0 h 13046"/>
                  <a:gd name="connsiteX1" fmla="*/ 39167 w 39167"/>
                  <a:gd name="connsiteY1" fmla="*/ 0 h 13046"/>
                  <a:gd name="connsiteX2" fmla="*/ 39167 w 39167"/>
                  <a:gd name="connsiteY2" fmla="*/ 13046 h 13046"/>
                  <a:gd name="connsiteX3" fmla="*/ 0 w 39167"/>
                  <a:gd name="connsiteY3" fmla="*/ 13046 h 13046"/>
                </a:gdLst>
                <a:ahLst/>
                <a:cxnLst>
                  <a:cxn ang="0">
                    <a:pos x="connsiteX0" y="connsiteY0"/>
                  </a:cxn>
                  <a:cxn ang="0">
                    <a:pos x="connsiteX1" y="connsiteY1"/>
                  </a:cxn>
                  <a:cxn ang="0">
                    <a:pos x="connsiteX2" y="connsiteY2"/>
                  </a:cxn>
                  <a:cxn ang="0">
                    <a:pos x="connsiteX3" y="connsiteY3"/>
                  </a:cxn>
                </a:cxnLst>
                <a:rect l="l" t="t" r="r" b="b"/>
                <a:pathLst>
                  <a:path w="39167" h="13046">
                    <a:moveTo>
                      <a:pt x="0" y="0"/>
                    </a:moveTo>
                    <a:lnTo>
                      <a:pt x="39167" y="0"/>
                    </a:lnTo>
                    <a:lnTo>
                      <a:pt x="39167" y="13046"/>
                    </a:lnTo>
                    <a:lnTo>
                      <a:pt x="0" y="13046"/>
                    </a:lnTo>
                    <a:close/>
                  </a:path>
                </a:pathLst>
              </a:custGeom>
              <a:solidFill>
                <a:schemeClr val="accent1"/>
              </a:solidFill>
              <a:ln w="2873" cap="flat">
                <a:noFill/>
                <a:prstDash val="solid"/>
                <a:miter/>
              </a:ln>
            </p:spPr>
            <p:txBody>
              <a:bodyPr rtlCol="0" anchor="ctr"/>
              <a:lstStyle/>
              <a:p>
                <a:endParaRPr lang="en-GB" dirty="0"/>
              </a:p>
            </p:txBody>
          </p:sp>
          <p:sp>
            <p:nvSpPr>
              <p:cNvPr id="293" name="Freihandform: Form 712">
                <a:extLst>
                  <a:ext uri="{FF2B5EF4-FFF2-40B4-BE49-F238E27FC236}">
                    <a16:creationId xmlns:a16="http://schemas.microsoft.com/office/drawing/2014/main" id="{ABCCE811-EB6A-4B66-B90C-A3C78E3F7DED}"/>
                  </a:ext>
                </a:extLst>
              </p:cNvPr>
              <p:cNvSpPr/>
              <p:nvPr/>
            </p:nvSpPr>
            <p:spPr>
              <a:xfrm>
                <a:off x="6390953" y="1838483"/>
                <a:ext cx="13047"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solidFill>
                <a:schemeClr val="accent1"/>
              </a:solidFill>
              <a:ln w="2873" cap="flat">
                <a:noFill/>
                <a:prstDash val="solid"/>
                <a:miter/>
              </a:ln>
            </p:spPr>
            <p:txBody>
              <a:bodyPr rtlCol="0" anchor="ctr"/>
              <a:lstStyle/>
              <a:p>
                <a:endParaRPr lang="en-GB" dirty="0"/>
              </a:p>
            </p:txBody>
          </p:sp>
          <p:sp>
            <p:nvSpPr>
              <p:cNvPr id="294" name="Freihandform: Form 713">
                <a:extLst>
                  <a:ext uri="{FF2B5EF4-FFF2-40B4-BE49-F238E27FC236}">
                    <a16:creationId xmlns:a16="http://schemas.microsoft.com/office/drawing/2014/main" id="{49CFE33B-543B-4A8F-B4DE-3FC50945829A}"/>
                  </a:ext>
                </a:extLst>
              </p:cNvPr>
              <p:cNvSpPr/>
              <p:nvPr/>
            </p:nvSpPr>
            <p:spPr>
              <a:xfrm>
                <a:off x="6390953" y="1805865"/>
                <a:ext cx="13047"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solidFill>
                <a:schemeClr val="accent1"/>
              </a:solidFill>
              <a:ln w="2873" cap="flat">
                <a:noFill/>
                <a:prstDash val="solid"/>
                <a:miter/>
              </a:ln>
            </p:spPr>
            <p:txBody>
              <a:bodyPr rtlCol="0" anchor="ctr"/>
              <a:lstStyle/>
              <a:p>
                <a:endParaRPr lang="en-GB" dirty="0"/>
              </a:p>
            </p:txBody>
          </p:sp>
          <p:sp>
            <p:nvSpPr>
              <p:cNvPr id="295" name="Freihandform: Form 714">
                <a:extLst>
                  <a:ext uri="{FF2B5EF4-FFF2-40B4-BE49-F238E27FC236}">
                    <a16:creationId xmlns:a16="http://schemas.microsoft.com/office/drawing/2014/main" id="{9147B3AE-BBA4-499C-A4FE-79FA5A707C58}"/>
                  </a:ext>
                </a:extLst>
              </p:cNvPr>
              <p:cNvSpPr/>
              <p:nvPr/>
            </p:nvSpPr>
            <p:spPr>
              <a:xfrm>
                <a:off x="6436643" y="1805865"/>
                <a:ext cx="13047"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solidFill>
                <a:schemeClr val="accent1"/>
              </a:solidFill>
              <a:ln w="2873" cap="flat">
                <a:noFill/>
                <a:prstDash val="solid"/>
                <a:miter/>
              </a:ln>
            </p:spPr>
            <p:txBody>
              <a:bodyPr rtlCol="0" anchor="ctr"/>
              <a:lstStyle/>
              <a:p>
                <a:endParaRPr lang="en-GB" dirty="0"/>
              </a:p>
            </p:txBody>
          </p:sp>
          <p:sp>
            <p:nvSpPr>
              <p:cNvPr id="296" name="Freihandform: Form 715">
                <a:extLst>
                  <a:ext uri="{FF2B5EF4-FFF2-40B4-BE49-F238E27FC236}">
                    <a16:creationId xmlns:a16="http://schemas.microsoft.com/office/drawing/2014/main" id="{8B877E67-D6EB-4F9E-8A45-B11207E4FAE9}"/>
                  </a:ext>
                </a:extLst>
              </p:cNvPr>
              <p:cNvSpPr/>
              <p:nvPr/>
            </p:nvSpPr>
            <p:spPr>
              <a:xfrm>
                <a:off x="6482305" y="1805865"/>
                <a:ext cx="13047"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solidFill>
                <a:schemeClr val="accent1"/>
              </a:solidFill>
              <a:ln w="2873" cap="flat">
                <a:noFill/>
                <a:prstDash val="solid"/>
                <a:miter/>
              </a:ln>
            </p:spPr>
            <p:txBody>
              <a:bodyPr rtlCol="0" anchor="ctr"/>
              <a:lstStyle/>
              <a:p>
                <a:endParaRPr lang="en-GB" dirty="0"/>
              </a:p>
            </p:txBody>
          </p:sp>
          <p:sp>
            <p:nvSpPr>
              <p:cNvPr id="297" name="Freihandform: Form 716">
                <a:extLst>
                  <a:ext uri="{FF2B5EF4-FFF2-40B4-BE49-F238E27FC236}">
                    <a16:creationId xmlns:a16="http://schemas.microsoft.com/office/drawing/2014/main" id="{7638BA2A-5BCB-479C-B219-4275907B44E3}"/>
                  </a:ext>
                </a:extLst>
              </p:cNvPr>
              <p:cNvSpPr/>
              <p:nvPr/>
            </p:nvSpPr>
            <p:spPr>
              <a:xfrm>
                <a:off x="6528003" y="1805842"/>
                <a:ext cx="26092" cy="26092"/>
              </a:xfrm>
              <a:custGeom>
                <a:avLst/>
                <a:gdLst>
                  <a:gd name="connsiteX0" fmla="*/ 26092 w 26092"/>
                  <a:gd name="connsiteY0" fmla="*/ 26092 h 26092"/>
                  <a:gd name="connsiteX1" fmla="*/ 13046 w 26092"/>
                  <a:gd name="connsiteY1" fmla="*/ 26092 h 26092"/>
                  <a:gd name="connsiteX2" fmla="*/ 13046 w 26092"/>
                  <a:gd name="connsiteY2" fmla="*/ 13046 h 26092"/>
                  <a:gd name="connsiteX3" fmla="*/ 0 w 26092"/>
                  <a:gd name="connsiteY3" fmla="*/ 13046 h 26092"/>
                  <a:gd name="connsiteX4" fmla="*/ 0 w 26092"/>
                  <a:gd name="connsiteY4" fmla="*/ 0 h 26092"/>
                  <a:gd name="connsiteX5" fmla="*/ 26092 w 26092"/>
                  <a:gd name="connsiteY5" fmla="*/ 0 h 2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92" h="26092">
                    <a:moveTo>
                      <a:pt x="26092" y="26092"/>
                    </a:moveTo>
                    <a:lnTo>
                      <a:pt x="13046" y="26092"/>
                    </a:lnTo>
                    <a:lnTo>
                      <a:pt x="13046" y="13046"/>
                    </a:lnTo>
                    <a:lnTo>
                      <a:pt x="0" y="13046"/>
                    </a:lnTo>
                    <a:lnTo>
                      <a:pt x="0" y="0"/>
                    </a:lnTo>
                    <a:lnTo>
                      <a:pt x="26092" y="0"/>
                    </a:lnTo>
                    <a:close/>
                  </a:path>
                </a:pathLst>
              </a:custGeom>
              <a:solidFill>
                <a:schemeClr val="accent1"/>
              </a:solidFill>
              <a:ln w="2873" cap="flat">
                <a:noFill/>
                <a:prstDash val="solid"/>
                <a:miter/>
              </a:ln>
            </p:spPr>
            <p:txBody>
              <a:bodyPr rtlCol="0" anchor="ctr"/>
              <a:lstStyle/>
              <a:p>
                <a:endParaRPr lang="en-GB" dirty="0"/>
              </a:p>
            </p:txBody>
          </p:sp>
          <p:grpSp>
            <p:nvGrpSpPr>
              <p:cNvPr id="298" name="Grafik 167">
                <a:extLst>
                  <a:ext uri="{FF2B5EF4-FFF2-40B4-BE49-F238E27FC236}">
                    <a16:creationId xmlns:a16="http://schemas.microsoft.com/office/drawing/2014/main" id="{DE9C72E2-8D69-42FE-963D-3585C54DBEB9}"/>
                  </a:ext>
                </a:extLst>
              </p:cNvPr>
              <p:cNvGrpSpPr/>
              <p:nvPr/>
            </p:nvGrpSpPr>
            <p:grpSpPr>
              <a:xfrm>
                <a:off x="6240857" y="1805868"/>
                <a:ext cx="117443" cy="26092"/>
                <a:chOff x="6240857" y="1805868"/>
                <a:chExt cx="117443" cy="26092"/>
              </a:xfrm>
              <a:solidFill>
                <a:schemeClr val="accent1"/>
              </a:solidFill>
            </p:grpSpPr>
            <p:sp>
              <p:nvSpPr>
                <p:cNvPr id="299" name="Freihandform: Form 718">
                  <a:extLst>
                    <a:ext uri="{FF2B5EF4-FFF2-40B4-BE49-F238E27FC236}">
                      <a16:creationId xmlns:a16="http://schemas.microsoft.com/office/drawing/2014/main" id="{D2B1692B-6BA0-4458-8C7D-BF37FD32278B}"/>
                    </a:ext>
                  </a:extLst>
                </p:cNvPr>
                <p:cNvSpPr/>
                <p:nvPr/>
              </p:nvSpPr>
              <p:spPr>
                <a:xfrm>
                  <a:off x="6345254" y="1805868"/>
                  <a:ext cx="13046"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solidFill>
                  <a:schemeClr val="accent1"/>
                </a:solidFill>
                <a:ln w="2873" cap="flat">
                  <a:noFill/>
                  <a:prstDash val="solid"/>
                  <a:miter/>
                </a:ln>
              </p:spPr>
              <p:txBody>
                <a:bodyPr rtlCol="0" anchor="ctr"/>
                <a:lstStyle/>
                <a:p>
                  <a:endParaRPr lang="en-GB" dirty="0"/>
                </a:p>
              </p:txBody>
            </p:sp>
            <p:sp>
              <p:nvSpPr>
                <p:cNvPr id="300" name="Freihandform: Form 719">
                  <a:extLst>
                    <a:ext uri="{FF2B5EF4-FFF2-40B4-BE49-F238E27FC236}">
                      <a16:creationId xmlns:a16="http://schemas.microsoft.com/office/drawing/2014/main" id="{C3F90BD4-639F-4B2E-AB78-D33724554685}"/>
                    </a:ext>
                  </a:extLst>
                </p:cNvPr>
                <p:cNvSpPr/>
                <p:nvPr/>
              </p:nvSpPr>
              <p:spPr>
                <a:xfrm>
                  <a:off x="6299593" y="1805868"/>
                  <a:ext cx="13046"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solidFill>
                  <a:schemeClr val="accent1"/>
                </a:solidFill>
                <a:ln w="2873" cap="flat">
                  <a:noFill/>
                  <a:prstDash val="solid"/>
                  <a:miter/>
                </a:ln>
              </p:spPr>
              <p:txBody>
                <a:bodyPr rtlCol="0" anchor="ctr"/>
                <a:lstStyle/>
                <a:p>
                  <a:endParaRPr lang="en-GB" dirty="0"/>
                </a:p>
              </p:txBody>
            </p:sp>
            <p:sp>
              <p:nvSpPr>
                <p:cNvPr id="301" name="Freihandform: Form 720">
                  <a:extLst>
                    <a:ext uri="{FF2B5EF4-FFF2-40B4-BE49-F238E27FC236}">
                      <a16:creationId xmlns:a16="http://schemas.microsoft.com/office/drawing/2014/main" id="{8DA6E94D-7A93-4D54-8A9A-AAD0F57749E3}"/>
                    </a:ext>
                  </a:extLst>
                </p:cNvPr>
                <p:cNvSpPr/>
                <p:nvPr/>
              </p:nvSpPr>
              <p:spPr>
                <a:xfrm>
                  <a:off x="6240857" y="1805868"/>
                  <a:ext cx="26092" cy="26092"/>
                </a:xfrm>
                <a:custGeom>
                  <a:avLst/>
                  <a:gdLst>
                    <a:gd name="connsiteX0" fmla="*/ 13046 w 26092"/>
                    <a:gd name="connsiteY0" fmla="*/ 26092 h 26092"/>
                    <a:gd name="connsiteX1" fmla="*/ 0 w 26092"/>
                    <a:gd name="connsiteY1" fmla="*/ 26092 h 26092"/>
                    <a:gd name="connsiteX2" fmla="*/ 0 w 26092"/>
                    <a:gd name="connsiteY2" fmla="*/ 0 h 26092"/>
                    <a:gd name="connsiteX3" fmla="*/ 26092 w 26092"/>
                    <a:gd name="connsiteY3" fmla="*/ 0 h 26092"/>
                    <a:gd name="connsiteX4" fmla="*/ 26092 w 26092"/>
                    <a:gd name="connsiteY4" fmla="*/ 13046 h 26092"/>
                    <a:gd name="connsiteX5" fmla="*/ 13046 w 26092"/>
                    <a:gd name="connsiteY5" fmla="*/ 13046 h 26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092" h="26092">
                      <a:moveTo>
                        <a:pt x="13046" y="26092"/>
                      </a:moveTo>
                      <a:lnTo>
                        <a:pt x="0" y="26092"/>
                      </a:lnTo>
                      <a:lnTo>
                        <a:pt x="0" y="0"/>
                      </a:lnTo>
                      <a:lnTo>
                        <a:pt x="26092" y="0"/>
                      </a:lnTo>
                      <a:lnTo>
                        <a:pt x="26092" y="13046"/>
                      </a:lnTo>
                      <a:lnTo>
                        <a:pt x="13046" y="13046"/>
                      </a:lnTo>
                      <a:close/>
                    </a:path>
                  </a:pathLst>
                </a:custGeom>
                <a:solidFill>
                  <a:schemeClr val="accent1"/>
                </a:solidFill>
                <a:ln w="2873" cap="flat">
                  <a:noFill/>
                  <a:prstDash val="solid"/>
                  <a:miter/>
                </a:ln>
              </p:spPr>
              <p:txBody>
                <a:bodyPr rtlCol="0" anchor="ctr"/>
                <a:lstStyle/>
                <a:p>
                  <a:endParaRPr lang="en-GB" dirty="0"/>
                </a:p>
              </p:txBody>
            </p:sp>
          </p:grpSp>
        </p:grpSp>
      </p:grpSp>
      <p:sp>
        <p:nvSpPr>
          <p:cNvPr id="34" name="TextBox 33">
            <a:extLst>
              <a:ext uri="{FF2B5EF4-FFF2-40B4-BE49-F238E27FC236}">
                <a16:creationId xmlns:a16="http://schemas.microsoft.com/office/drawing/2014/main" id="{5459EA23-F189-467C-8302-9BABE8F224FC}"/>
              </a:ext>
            </a:extLst>
          </p:cNvPr>
          <p:cNvSpPr txBox="1"/>
          <p:nvPr/>
        </p:nvSpPr>
        <p:spPr>
          <a:xfrm>
            <a:off x="487133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ioneer work</a:t>
            </a:r>
          </a:p>
        </p:txBody>
      </p:sp>
      <p:sp>
        <p:nvSpPr>
          <p:cNvPr id="35" name="TextBox 34">
            <a:extLst>
              <a:ext uri="{FF2B5EF4-FFF2-40B4-BE49-F238E27FC236}">
                <a16:creationId xmlns:a16="http://schemas.microsoft.com/office/drawing/2014/main" id="{AD77E876-A407-4FDC-BFD4-421AF19CF2ED}"/>
              </a:ext>
            </a:extLst>
          </p:cNvPr>
          <p:cNvSpPr txBox="1"/>
          <p:nvPr/>
        </p:nvSpPr>
        <p:spPr>
          <a:xfrm>
            <a:off x="8007638"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Analysis</a:t>
            </a:r>
            <a:br>
              <a:rPr lang="en-GB" sz="700" dirty="0">
                <a:solidFill>
                  <a:schemeClr val="tx2"/>
                </a:solidFill>
              </a:rPr>
            </a:br>
            <a:r>
              <a:rPr lang="en-GB" sz="700" dirty="0">
                <a:solidFill>
                  <a:schemeClr val="tx2"/>
                </a:solidFill>
              </a:rPr>
              <a:t>of talents</a:t>
            </a:r>
          </a:p>
        </p:txBody>
      </p:sp>
      <p:sp>
        <p:nvSpPr>
          <p:cNvPr id="36" name="TextBox 35">
            <a:extLst>
              <a:ext uri="{FF2B5EF4-FFF2-40B4-BE49-F238E27FC236}">
                <a16:creationId xmlns:a16="http://schemas.microsoft.com/office/drawing/2014/main" id="{9E7ECB2F-548C-4A02-8906-FBBA501A1EB5}"/>
              </a:ext>
            </a:extLst>
          </p:cNvPr>
          <p:cNvSpPr txBox="1"/>
          <p:nvPr/>
        </p:nvSpPr>
        <p:spPr>
          <a:xfrm>
            <a:off x="6962205"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rainstorming</a:t>
            </a:r>
          </a:p>
        </p:txBody>
      </p:sp>
      <p:sp>
        <p:nvSpPr>
          <p:cNvPr id="37" name="TextBox 36">
            <a:extLst>
              <a:ext uri="{FF2B5EF4-FFF2-40B4-BE49-F238E27FC236}">
                <a16:creationId xmlns:a16="http://schemas.microsoft.com/office/drawing/2014/main" id="{AE3C7110-F3D4-42F1-BD86-1E14A1A81553}"/>
              </a:ext>
            </a:extLst>
          </p:cNvPr>
          <p:cNvSpPr txBox="1"/>
          <p:nvPr/>
        </p:nvSpPr>
        <p:spPr>
          <a:xfrm>
            <a:off x="5916771"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Knowledge</a:t>
            </a:r>
            <a:br>
              <a:rPr lang="en-GB" sz="700" dirty="0">
                <a:solidFill>
                  <a:schemeClr val="tx2"/>
                </a:solidFill>
              </a:rPr>
            </a:br>
            <a:r>
              <a:rPr lang="en-GB" sz="700" dirty="0">
                <a:solidFill>
                  <a:schemeClr val="tx2"/>
                </a:solidFill>
              </a:rPr>
              <a:t>management</a:t>
            </a:r>
          </a:p>
        </p:txBody>
      </p:sp>
      <p:sp>
        <p:nvSpPr>
          <p:cNvPr id="38" name="TextBox 37">
            <a:extLst>
              <a:ext uri="{FF2B5EF4-FFF2-40B4-BE49-F238E27FC236}">
                <a16:creationId xmlns:a16="http://schemas.microsoft.com/office/drawing/2014/main" id="{4AB6CCC1-6CC5-4EE3-AEC3-54BFD2E2EF80}"/>
              </a:ext>
            </a:extLst>
          </p:cNvPr>
          <p:cNvSpPr txBox="1"/>
          <p:nvPr/>
        </p:nvSpPr>
        <p:spPr>
          <a:xfrm>
            <a:off x="487133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nfidence</a:t>
            </a:r>
          </a:p>
        </p:txBody>
      </p:sp>
      <p:sp>
        <p:nvSpPr>
          <p:cNvPr id="39" name="TextBox 38">
            <a:extLst>
              <a:ext uri="{FF2B5EF4-FFF2-40B4-BE49-F238E27FC236}">
                <a16:creationId xmlns:a16="http://schemas.microsoft.com/office/drawing/2014/main" id="{251A82CA-9688-421D-950B-883949ECAD9D}"/>
              </a:ext>
            </a:extLst>
          </p:cNvPr>
          <p:cNvSpPr txBox="1"/>
          <p:nvPr/>
        </p:nvSpPr>
        <p:spPr>
          <a:xfrm>
            <a:off x="8007638"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dependence</a:t>
            </a:r>
          </a:p>
        </p:txBody>
      </p:sp>
      <p:sp>
        <p:nvSpPr>
          <p:cNvPr id="40" name="TextBox 39">
            <a:extLst>
              <a:ext uri="{FF2B5EF4-FFF2-40B4-BE49-F238E27FC236}">
                <a16:creationId xmlns:a16="http://schemas.microsoft.com/office/drawing/2014/main" id="{5A5E426A-19BE-4E2B-B3AB-F16F4F74D21C}"/>
              </a:ext>
            </a:extLst>
          </p:cNvPr>
          <p:cNvSpPr txBox="1"/>
          <p:nvPr/>
        </p:nvSpPr>
        <p:spPr>
          <a:xfrm>
            <a:off x="6962205"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otivation</a:t>
            </a:r>
          </a:p>
        </p:txBody>
      </p:sp>
      <p:sp>
        <p:nvSpPr>
          <p:cNvPr id="41" name="TextBox 40">
            <a:extLst>
              <a:ext uri="{FF2B5EF4-FFF2-40B4-BE49-F238E27FC236}">
                <a16:creationId xmlns:a16="http://schemas.microsoft.com/office/drawing/2014/main" id="{177F8341-35EB-44DD-B675-F56AD1F0648D}"/>
              </a:ext>
            </a:extLst>
          </p:cNvPr>
          <p:cNvSpPr txBox="1"/>
          <p:nvPr/>
        </p:nvSpPr>
        <p:spPr>
          <a:xfrm>
            <a:off x="5916771"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ssistance</a:t>
            </a:r>
          </a:p>
        </p:txBody>
      </p:sp>
      <p:sp>
        <p:nvSpPr>
          <p:cNvPr id="42" name="TextBox 41">
            <a:extLst>
              <a:ext uri="{FF2B5EF4-FFF2-40B4-BE49-F238E27FC236}">
                <a16:creationId xmlns:a16="http://schemas.microsoft.com/office/drawing/2014/main" id="{3AB1AB52-467C-4E46-A3EB-2A35D831CC31}"/>
              </a:ext>
            </a:extLst>
          </p:cNvPr>
          <p:cNvSpPr txBox="1"/>
          <p:nvPr/>
        </p:nvSpPr>
        <p:spPr>
          <a:xfrm>
            <a:off x="4813995" y="3723675"/>
            <a:ext cx="798548" cy="107722"/>
          </a:xfrm>
          <a:prstGeom prst="rect">
            <a:avLst/>
          </a:prstGeom>
          <a:noFill/>
          <a:effectLst/>
        </p:spPr>
        <p:txBody>
          <a:bodyPr wrap="square" lIns="0" tIns="0" rIns="0" bIns="0" rtlCol="0" anchor="t">
            <a:spAutoFit/>
          </a:bodyPr>
          <a:lstStyle/>
          <a:p>
            <a:pPr algn="ctr"/>
            <a:r>
              <a:rPr lang="en-GB" sz="700" dirty="0">
                <a:solidFill>
                  <a:schemeClr val="tx2"/>
                </a:solidFill>
              </a:rPr>
              <a:t>Mind power</a:t>
            </a:r>
          </a:p>
        </p:txBody>
      </p:sp>
      <p:sp>
        <p:nvSpPr>
          <p:cNvPr id="43" name="TextBox 42">
            <a:extLst>
              <a:ext uri="{FF2B5EF4-FFF2-40B4-BE49-F238E27FC236}">
                <a16:creationId xmlns:a16="http://schemas.microsoft.com/office/drawing/2014/main" id="{13A58FB5-99B2-4109-BB52-309FA15BF562}"/>
              </a:ext>
            </a:extLst>
          </p:cNvPr>
          <p:cNvSpPr txBox="1"/>
          <p:nvPr/>
        </p:nvSpPr>
        <p:spPr>
          <a:xfrm>
            <a:off x="8007638"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bout</a:t>
            </a:r>
          </a:p>
        </p:txBody>
      </p:sp>
      <p:sp>
        <p:nvSpPr>
          <p:cNvPr id="44" name="TextBox 43">
            <a:extLst>
              <a:ext uri="{FF2B5EF4-FFF2-40B4-BE49-F238E27FC236}">
                <a16:creationId xmlns:a16="http://schemas.microsoft.com/office/drawing/2014/main" id="{82ED5140-FDFB-41FD-91E4-5C5A582344D3}"/>
              </a:ext>
            </a:extLst>
          </p:cNvPr>
          <p:cNvSpPr txBox="1"/>
          <p:nvPr/>
        </p:nvSpPr>
        <p:spPr>
          <a:xfrm>
            <a:off x="6962205"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Location</a:t>
            </a:r>
          </a:p>
        </p:txBody>
      </p:sp>
      <p:sp>
        <p:nvSpPr>
          <p:cNvPr id="45" name="TextBox 44">
            <a:extLst>
              <a:ext uri="{FF2B5EF4-FFF2-40B4-BE49-F238E27FC236}">
                <a16:creationId xmlns:a16="http://schemas.microsoft.com/office/drawing/2014/main" id="{C426D2D4-0BDE-48A9-A73F-7A2ACAAF2D39}"/>
              </a:ext>
            </a:extLst>
          </p:cNvPr>
          <p:cNvSpPr txBox="1"/>
          <p:nvPr/>
        </p:nvSpPr>
        <p:spPr>
          <a:xfrm>
            <a:off x="5916771"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ersonal</a:t>
            </a:r>
            <a:br>
              <a:rPr lang="en-GB" sz="700" dirty="0">
                <a:solidFill>
                  <a:schemeClr val="tx2"/>
                </a:solidFill>
              </a:rPr>
            </a:br>
            <a:r>
              <a:rPr lang="en-GB" sz="700" dirty="0">
                <a:solidFill>
                  <a:schemeClr val="tx2"/>
                </a:solidFill>
              </a:rPr>
              <a:t>development</a:t>
            </a:r>
          </a:p>
        </p:txBody>
      </p:sp>
      <p:sp>
        <p:nvSpPr>
          <p:cNvPr id="46" name="TextBox 45">
            <a:extLst>
              <a:ext uri="{FF2B5EF4-FFF2-40B4-BE49-F238E27FC236}">
                <a16:creationId xmlns:a16="http://schemas.microsoft.com/office/drawing/2014/main" id="{F5FB9004-CE1E-4C45-B3C2-4EE5CE9F9104}"/>
              </a:ext>
            </a:extLst>
          </p:cNvPr>
          <p:cNvSpPr txBox="1"/>
          <p:nvPr/>
        </p:nvSpPr>
        <p:spPr>
          <a:xfrm>
            <a:off x="487133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log</a:t>
            </a:r>
          </a:p>
        </p:txBody>
      </p:sp>
      <p:sp>
        <p:nvSpPr>
          <p:cNvPr id="47" name="TextBox 46">
            <a:extLst>
              <a:ext uri="{FF2B5EF4-FFF2-40B4-BE49-F238E27FC236}">
                <a16:creationId xmlns:a16="http://schemas.microsoft.com/office/drawing/2014/main" id="{F076ED66-DC4C-49B9-9EAE-FBB0A235FB87}"/>
              </a:ext>
            </a:extLst>
          </p:cNvPr>
          <p:cNvSpPr txBox="1"/>
          <p:nvPr/>
        </p:nvSpPr>
        <p:spPr>
          <a:xfrm>
            <a:off x="8007638"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rchive</a:t>
            </a:r>
          </a:p>
        </p:txBody>
      </p:sp>
      <p:sp>
        <p:nvSpPr>
          <p:cNvPr id="48" name="TextBox 47">
            <a:extLst>
              <a:ext uri="{FF2B5EF4-FFF2-40B4-BE49-F238E27FC236}">
                <a16:creationId xmlns:a16="http://schemas.microsoft.com/office/drawing/2014/main" id="{767B8D4F-4956-4FB7-B673-81F96839E7B1}"/>
              </a:ext>
            </a:extLst>
          </p:cNvPr>
          <p:cNvSpPr txBox="1"/>
          <p:nvPr/>
        </p:nvSpPr>
        <p:spPr>
          <a:xfrm>
            <a:off x="6962205"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hop</a:t>
            </a:r>
          </a:p>
        </p:txBody>
      </p:sp>
      <p:sp>
        <p:nvSpPr>
          <p:cNvPr id="49" name="TextBox 48">
            <a:extLst>
              <a:ext uri="{FF2B5EF4-FFF2-40B4-BE49-F238E27FC236}">
                <a16:creationId xmlns:a16="http://schemas.microsoft.com/office/drawing/2014/main" id="{8D9D7706-CE9E-463E-8BB7-3FEDDC2B65FD}"/>
              </a:ext>
            </a:extLst>
          </p:cNvPr>
          <p:cNvSpPr txBox="1"/>
          <p:nvPr/>
        </p:nvSpPr>
        <p:spPr>
          <a:xfrm>
            <a:off x="5916771"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jects</a:t>
            </a:r>
          </a:p>
        </p:txBody>
      </p:sp>
      <p:grpSp>
        <p:nvGrpSpPr>
          <p:cNvPr id="325" name="Group 324">
            <a:extLst>
              <a:ext uri="{FF2B5EF4-FFF2-40B4-BE49-F238E27FC236}">
                <a16:creationId xmlns:a16="http://schemas.microsoft.com/office/drawing/2014/main" id="{781E006A-958C-4E10-BE77-34D6308E6624}"/>
              </a:ext>
            </a:extLst>
          </p:cNvPr>
          <p:cNvGrpSpPr>
            <a:grpSpLocks noChangeAspect="1"/>
          </p:cNvGrpSpPr>
          <p:nvPr/>
        </p:nvGrpSpPr>
        <p:grpSpPr>
          <a:xfrm>
            <a:off x="4999862" y="1585984"/>
            <a:ext cx="426805" cy="431999"/>
            <a:chOff x="7813585" y="1630464"/>
            <a:chExt cx="469861" cy="475578"/>
          </a:xfrm>
        </p:grpSpPr>
        <p:grpSp>
          <p:nvGrpSpPr>
            <p:cNvPr id="326" name="Group 325">
              <a:extLst>
                <a:ext uri="{FF2B5EF4-FFF2-40B4-BE49-F238E27FC236}">
                  <a16:creationId xmlns:a16="http://schemas.microsoft.com/office/drawing/2014/main" id="{D0D6B9D2-78E8-4EF4-8477-14480C51D6C0}"/>
                </a:ext>
              </a:extLst>
            </p:cNvPr>
            <p:cNvGrpSpPr/>
            <p:nvPr/>
          </p:nvGrpSpPr>
          <p:grpSpPr>
            <a:xfrm>
              <a:off x="7813585" y="1786269"/>
              <a:ext cx="469861" cy="319773"/>
              <a:chOff x="7813573" y="1786270"/>
              <a:chExt cx="469860" cy="319773"/>
            </a:xfrm>
          </p:grpSpPr>
          <p:sp>
            <p:nvSpPr>
              <p:cNvPr id="328" name="Freihandform: Form 739">
                <a:extLst>
                  <a:ext uri="{FF2B5EF4-FFF2-40B4-BE49-F238E27FC236}">
                    <a16:creationId xmlns:a16="http://schemas.microsoft.com/office/drawing/2014/main" id="{9F524409-DE1C-4862-8FC0-0687567C71A9}"/>
                  </a:ext>
                </a:extLst>
              </p:cNvPr>
              <p:cNvSpPr/>
              <p:nvPr/>
            </p:nvSpPr>
            <p:spPr>
              <a:xfrm>
                <a:off x="7944091" y="1903772"/>
                <a:ext cx="208823" cy="156610"/>
              </a:xfrm>
              <a:custGeom>
                <a:avLst/>
                <a:gdLst>
                  <a:gd name="connsiteX0" fmla="*/ 208824 w 208823"/>
                  <a:gd name="connsiteY0" fmla="*/ 156611 h 156610"/>
                  <a:gd name="connsiteX1" fmla="*/ 195778 w 208823"/>
                  <a:gd name="connsiteY1" fmla="*/ 156611 h 156610"/>
                  <a:gd name="connsiteX2" fmla="*/ 195778 w 208823"/>
                  <a:gd name="connsiteY2" fmla="*/ 84828 h 156610"/>
                  <a:gd name="connsiteX3" fmla="*/ 130518 w 208823"/>
                  <a:gd name="connsiteY3" fmla="*/ 13046 h 156610"/>
                  <a:gd name="connsiteX4" fmla="*/ 78305 w 208823"/>
                  <a:gd name="connsiteY4" fmla="*/ 13046 h 156610"/>
                  <a:gd name="connsiteX5" fmla="*/ 13046 w 208823"/>
                  <a:gd name="connsiteY5" fmla="*/ 84828 h 156610"/>
                  <a:gd name="connsiteX6" fmla="*/ 13046 w 208823"/>
                  <a:gd name="connsiteY6" fmla="*/ 156611 h 156610"/>
                  <a:gd name="connsiteX7" fmla="*/ 0 w 208823"/>
                  <a:gd name="connsiteY7" fmla="*/ 156611 h 156610"/>
                  <a:gd name="connsiteX8" fmla="*/ 0 w 208823"/>
                  <a:gd name="connsiteY8" fmla="*/ 84828 h 156610"/>
                  <a:gd name="connsiteX9" fmla="*/ 78305 w 208823"/>
                  <a:gd name="connsiteY9" fmla="*/ 0 h 156610"/>
                  <a:gd name="connsiteX10" fmla="*/ 130518 w 208823"/>
                  <a:gd name="connsiteY10" fmla="*/ 0 h 156610"/>
                  <a:gd name="connsiteX11" fmla="*/ 208824 w 208823"/>
                  <a:gd name="connsiteY11" fmla="*/ 84828 h 156610"/>
                  <a:gd name="connsiteX12" fmla="*/ 208824 w 208823"/>
                  <a:gd name="connsiteY12" fmla="*/ 156611 h 156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8823" h="156610">
                    <a:moveTo>
                      <a:pt x="208824" y="156611"/>
                    </a:moveTo>
                    <a:lnTo>
                      <a:pt x="195778" y="156611"/>
                    </a:lnTo>
                    <a:lnTo>
                      <a:pt x="195778" y="84828"/>
                    </a:lnTo>
                    <a:cubicBezTo>
                      <a:pt x="195778" y="43219"/>
                      <a:pt x="168335" y="13046"/>
                      <a:pt x="130518" y="13046"/>
                    </a:cubicBezTo>
                    <a:lnTo>
                      <a:pt x="78305" y="13046"/>
                    </a:lnTo>
                    <a:cubicBezTo>
                      <a:pt x="40489" y="13046"/>
                      <a:pt x="13046" y="43248"/>
                      <a:pt x="13046" y="84828"/>
                    </a:cubicBezTo>
                    <a:lnTo>
                      <a:pt x="13046" y="156611"/>
                    </a:lnTo>
                    <a:lnTo>
                      <a:pt x="0" y="156611"/>
                    </a:lnTo>
                    <a:lnTo>
                      <a:pt x="0" y="84828"/>
                    </a:lnTo>
                    <a:cubicBezTo>
                      <a:pt x="0" y="36466"/>
                      <a:pt x="33678" y="0"/>
                      <a:pt x="78305" y="0"/>
                    </a:cubicBezTo>
                    <a:lnTo>
                      <a:pt x="130518" y="0"/>
                    </a:lnTo>
                    <a:cubicBezTo>
                      <a:pt x="175174" y="0"/>
                      <a:pt x="208824" y="36466"/>
                      <a:pt x="208824" y="84828"/>
                    </a:cubicBezTo>
                    <a:lnTo>
                      <a:pt x="208824" y="156611"/>
                    </a:lnTo>
                    <a:close/>
                  </a:path>
                </a:pathLst>
              </a:custGeom>
              <a:solidFill>
                <a:schemeClr val="tx2"/>
              </a:solidFill>
              <a:ln w="2873" cap="flat">
                <a:noFill/>
                <a:prstDash val="solid"/>
                <a:miter/>
              </a:ln>
            </p:spPr>
            <p:txBody>
              <a:bodyPr rtlCol="0" anchor="ctr"/>
              <a:lstStyle/>
              <a:p>
                <a:endParaRPr lang="en-GB" dirty="0"/>
              </a:p>
            </p:txBody>
          </p:sp>
          <p:sp>
            <p:nvSpPr>
              <p:cNvPr id="329" name="Freihandform: Form 740">
                <a:extLst>
                  <a:ext uri="{FF2B5EF4-FFF2-40B4-BE49-F238E27FC236}">
                    <a16:creationId xmlns:a16="http://schemas.microsoft.com/office/drawing/2014/main" id="{E2CA2DE6-6984-4C2A-8284-0BD6D33F69C6}"/>
                  </a:ext>
                </a:extLst>
              </p:cNvPr>
              <p:cNvSpPr/>
              <p:nvPr/>
            </p:nvSpPr>
            <p:spPr>
              <a:xfrm>
                <a:off x="7996304" y="1786270"/>
                <a:ext cx="104426" cy="104426"/>
              </a:xfrm>
              <a:custGeom>
                <a:avLst/>
                <a:gdLst>
                  <a:gd name="connsiteX0" fmla="*/ 52213 w 104426"/>
                  <a:gd name="connsiteY0" fmla="*/ 104426 h 104426"/>
                  <a:gd name="connsiteX1" fmla="*/ 0 w 104426"/>
                  <a:gd name="connsiteY1" fmla="*/ 52213 h 104426"/>
                  <a:gd name="connsiteX2" fmla="*/ 52213 w 104426"/>
                  <a:gd name="connsiteY2" fmla="*/ 0 h 104426"/>
                  <a:gd name="connsiteX3" fmla="*/ 104426 w 104426"/>
                  <a:gd name="connsiteY3" fmla="*/ 52213 h 104426"/>
                  <a:gd name="connsiteX4" fmla="*/ 52213 w 104426"/>
                  <a:gd name="connsiteY4" fmla="*/ 104426 h 104426"/>
                  <a:gd name="connsiteX5" fmla="*/ 52213 w 104426"/>
                  <a:gd name="connsiteY5" fmla="*/ 13075 h 104426"/>
                  <a:gd name="connsiteX6" fmla="*/ 13046 w 104426"/>
                  <a:gd name="connsiteY6" fmla="*/ 52242 h 104426"/>
                  <a:gd name="connsiteX7" fmla="*/ 52213 w 104426"/>
                  <a:gd name="connsiteY7" fmla="*/ 91409 h 104426"/>
                  <a:gd name="connsiteX8" fmla="*/ 91380 w 104426"/>
                  <a:gd name="connsiteY8" fmla="*/ 52242 h 104426"/>
                  <a:gd name="connsiteX9" fmla="*/ 52213 w 104426"/>
                  <a:gd name="connsiteY9" fmla="*/ 13075 h 10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426" h="104426">
                    <a:moveTo>
                      <a:pt x="52213" y="104426"/>
                    </a:moveTo>
                    <a:cubicBezTo>
                      <a:pt x="23420" y="104426"/>
                      <a:pt x="0" y="81007"/>
                      <a:pt x="0" y="52213"/>
                    </a:cubicBezTo>
                    <a:cubicBezTo>
                      <a:pt x="0" y="23420"/>
                      <a:pt x="23420" y="0"/>
                      <a:pt x="52213" y="0"/>
                    </a:cubicBezTo>
                    <a:cubicBezTo>
                      <a:pt x="81007" y="0"/>
                      <a:pt x="104426" y="23420"/>
                      <a:pt x="104426" y="52213"/>
                    </a:cubicBezTo>
                    <a:cubicBezTo>
                      <a:pt x="104426" y="81007"/>
                      <a:pt x="81007" y="104426"/>
                      <a:pt x="52213" y="104426"/>
                    </a:cubicBezTo>
                    <a:close/>
                    <a:moveTo>
                      <a:pt x="52213" y="13075"/>
                    </a:moveTo>
                    <a:cubicBezTo>
                      <a:pt x="30633" y="13075"/>
                      <a:pt x="13046" y="30632"/>
                      <a:pt x="13046" y="52242"/>
                    </a:cubicBezTo>
                    <a:cubicBezTo>
                      <a:pt x="13046" y="73851"/>
                      <a:pt x="30604" y="91409"/>
                      <a:pt x="52213" y="91409"/>
                    </a:cubicBezTo>
                    <a:cubicBezTo>
                      <a:pt x="73794" y="91409"/>
                      <a:pt x="91380" y="73851"/>
                      <a:pt x="91380" y="52242"/>
                    </a:cubicBezTo>
                    <a:cubicBezTo>
                      <a:pt x="91380" y="30632"/>
                      <a:pt x="73794" y="13075"/>
                      <a:pt x="52213" y="13075"/>
                    </a:cubicBezTo>
                    <a:close/>
                  </a:path>
                </a:pathLst>
              </a:custGeom>
              <a:solidFill>
                <a:schemeClr val="tx2"/>
              </a:solidFill>
              <a:ln w="2873" cap="flat">
                <a:noFill/>
                <a:prstDash val="solid"/>
                <a:miter/>
              </a:ln>
            </p:spPr>
            <p:txBody>
              <a:bodyPr rtlCol="0" anchor="ctr"/>
              <a:lstStyle/>
              <a:p>
                <a:endParaRPr lang="en-GB" dirty="0"/>
              </a:p>
            </p:txBody>
          </p:sp>
          <p:sp>
            <p:nvSpPr>
              <p:cNvPr id="330" name="Freihandform: Form 741">
                <a:extLst>
                  <a:ext uri="{FF2B5EF4-FFF2-40B4-BE49-F238E27FC236}">
                    <a16:creationId xmlns:a16="http://schemas.microsoft.com/office/drawing/2014/main" id="{61E038CE-8A2F-437E-9B35-053FE6937AB8}"/>
                  </a:ext>
                </a:extLst>
              </p:cNvPr>
              <p:cNvSpPr/>
              <p:nvPr/>
            </p:nvSpPr>
            <p:spPr>
              <a:xfrm>
                <a:off x="8041994" y="1955956"/>
                <a:ext cx="13046"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solidFill>
                <a:schemeClr val="tx2"/>
              </a:solidFill>
              <a:ln w="2873" cap="flat">
                <a:noFill/>
                <a:prstDash val="solid"/>
                <a:miter/>
              </a:ln>
            </p:spPr>
            <p:txBody>
              <a:bodyPr rtlCol="0" anchor="ctr"/>
              <a:lstStyle/>
              <a:p>
                <a:endParaRPr lang="en-GB" dirty="0"/>
              </a:p>
            </p:txBody>
          </p:sp>
          <p:sp>
            <p:nvSpPr>
              <p:cNvPr id="331" name="Freihandform: Form 742">
                <a:extLst>
                  <a:ext uri="{FF2B5EF4-FFF2-40B4-BE49-F238E27FC236}">
                    <a16:creationId xmlns:a16="http://schemas.microsoft.com/office/drawing/2014/main" id="{7BB9BDE8-1FA3-4649-931B-7A9C9FE05DD1}"/>
                  </a:ext>
                </a:extLst>
              </p:cNvPr>
              <p:cNvSpPr/>
              <p:nvPr/>
            </p:nvSpPr>
            <p:spPr>
              <a:xfrm>
                <a:off x="7813573" y="2073428"/>
                <a:ext cx="469860" cy="13046"/>
              </a:xfrm>
              <a:custGeom>
                <a:avLst/>
                <a:gdLst>
                  <a:gd name="connsiteX0" fmla="*/ 0 w 469860"/>
                  <a:gd name="connsiteY0" fmla="*/ 0 h 13046"/>
                  <a:gd name="connsiteX1" fmla="*/ 469861 w 469860"/>
                  <a:gd name="connsiteY1" fmla="*/ 0 h 13046"/>
                  <a:gd name="connsiteX2" fmla="*/ 469861 w 469860"/>
                  <a:gd name="connsiteY2" fmla="*/ 13046 h 13046"/>
                  <a:gd name="connsiteX3" fmla="*/ 0 w 469860"/>
                  <a:gd name="connsiteY3" fmla="*/ 13046 h 13046"/>
                </a:gdLst>
                <a:ahLst/>
                <a:cxnLst>
                  <a:cxn ang="0">
                    <a:pos x="connsiteX0" y="connsiteY0"/>
                  </a:cxn>
                  <a:cxn ang="0">
                    <a:pos x="connsiteX1" y="connsiteY1"/>
                  </a:cxn>
                  <a:cxn ang="0">
                    <a:pos x="connsiteX2" y="connsiteY2"/>
                  </a:cxn>
                  <a:cxn ang="0">
                    <a:pos x="connsiteX3" y="connsiteY3"/>
                  </a:cxn>
                </a:cxnLst>
                <a:rect l="l" t="t" r="r" b="b"/>
                <a:pathLst>
                  <a:path w="469860" h="13046">
                    <a:moveTo>
                      <a:pt x="0" y="0"/>
                    </a:moveTo>
                    <a:lnTo>
                      <a:pt x="469861" y="0"/>
                    </a:lnTo>
                    <a:lnTo>
                      <a:pt x="469861" y="13046"/>
                    </a:lnTo>
                    <a:lnTo>
                      <a:pt x="0" y="13046"/>
                    </a:lnTo>
                    <a:close/>
                  </a:path>
                </a:pathLst>
              </a:custGeom>
              <a:solidFill>
                <a:schemeClr val="tx2"/>
              </a:solidFill>
              <a:ln w="2873" cap="flat">
                <a:noFill/>
                <a:prstDash val="solid"/>
                <a:miter/>
              </a:ln>
            </p:spPr>
            <p:txBody>
              <a:bodyPr rtlCol="0" anchor="ctr"/>
              <a:lstStyle/>
              <a:p>
                <a:endParaRPr lang="en-GB" dirty="0"/>
              </a:p>
            </p:txBody>
          </p:sp>
          <p:sp>
            <p:nvSpPr>
              <p:cNvPr id="332" name="Freihandform: Form 743">
                <a:extLst>
                  <a:ext uri="{FF2B5EF4-FFF2-40B4-BE49-F238E27FC236}">
                    <a16:creationId xmlns:a16="http://schemas.microsoft.com/office/drawing/2014/main" id="{505140BC-6188-4A2D-8785-D22BD87C1EBB}"/>
                  </a:ext>
                </a:extLst>
              </p:cNvPr>
              <p:cNvSpPr/>
              <p:nvPr/>
            </p:nvSpPr>
            <p:spPr>
              <a:xfrm>
                <a:off x="7970224" y="1982048"/>
                <a:ext cx="156630" cy="104426"/>
              </a:xfrm>
              <a:custGeom>
                <a:avLst/>
                <a:gdLst>
                  <a:gd name="connsiteX0" fmla="*/ 144674 w 156630"/>
                  <a:gd name="connsiteY0" fmla="*/ 104426 h 104426"/>
                  <a:gd name="connsiteX1" fmla="*/ 11914 w 156630"/>
                  <a:gd name="connsiteY1" fmla="*/ 104426 h 104426"/>
                  <a:gd name="connsiteX2" fmla="*/ 11914 w 156630"/>
                  <a:gd name="connsiteY2" fmla="*/ 77587 h 104426"/>
                  <a:gd name="connsiteX3" fmla="*/ 276 w 156630"/>
                  <a:gd name="connsiteY3" fmla="*/ 19196 h 104426"/>
                  <a:gd name="connsiteX4" fmla="*/ 3781 w 156630"/>
                  <a:gd name="connsiteY4" fmla="*/ 5632 h 104426"/>
                  <a:gd name="connsiteX5" fmla="*/ 15736 w 156630"/>
                  <a:gd name="connsiteY5" fmla="*/ 0 h 104426"/>
                  <a:gd name="connsiteX6" fmla="*/ 140881 w 156630"/>
                  <a:gd name="connsiteY6" fmla="*/ 0 h 104426"/>
                  <a:gd name="connsiteX7" fmla="*/ 152835 w 156630"/>
                  <a:gd name="connsiteY7" fmla="*/ 5632 h 104426"/>
                  <a:gd name="connsiteX8" fmla="*/ 156369 w 156630"/>
                  <a:gd name="connsiteY8" fmla="*/ 19081 h 104426"/>
                  <a:gd name="connsiteX9" fmla="*/ 144702 w 156630"/>
                  <a:gd name="connsiteY9" fmla="*/ 77587 h 104426"/>
                  <a:gd name="connsiteX10" fmla="*/ 144702 w 156630"/>
                  <a:gd name="connsiteY10" fmla="*/ 104426 h 104426"/>
                  <a:gd name="connsiteX11" fmla="*/ 24960 w 156630"/>
                  <a:gd name="connsiteY11" fmla="*/ 91380 h 104426"/>
                  <a:gd name="connsiteX12" fmla="*/ 131628 w 156630"/>
                  <a:gd name="connsiteY12" fmla="*/ 91380 h 104426"/>
                  <a:gd name="connsiteX13" fmla="*/ 131743 w 156630"/>
                  <a:gd name="connsiteY13" fmla="*/ 75690 h 104426"/>
                  <a:gd name="connsiteX14" fmla="*/ 143524 w 156630"/>
                  <a:gd name="connsiteY14" fmla="*/ 16667 h 104426"/>
                  <a:gd name="connsiteX15" fmla="*/ 142806 w 156630"/>
                  <a:gd name="connsiteY15" fmla="*/ 14023 h 104426"/>
                  <a:gd name="connsiteX16" fmla="*/ 140881 w 156630"/>
                  <a:gd name="connsiteY16" fmla="*/ 13075 h 104426"/>
                  <a:gd name="connsiteX17" fmla="*/ 15736 w 156630"/>
                  <a:gd name="connsiteY17" fmla="*/ 13075 h 104426"/>
                  <a:gd name="connsiteX18" fmla="*/ 13810 w 156630"/>
                  <a:gd name="connsiteY18" fmla="*/ 14023 h 104426"/>
                  <a:gd name="connsiteX19" fmla="*/ 13121 w 156630"/>
                  <a:gd name="connsiteY19" fmla="*/ 16782 h 104426"/>
                  <a:gd name="connsiteX20" fmla="*/ 24989 w 156630"/>
                  <a:gd name="connsiteY20" fmla="*/ 76955 h 104426"/>
                  <a:gd name="connsiteX21" fmla="*/ 24989 w 156630"/>
                  <a:gd name="connsiteY21" fmla="*/ 91380 h 104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6630" h="104426">
                    <a:moveTo>
                      <a:pt x="144674" y="104426"/>
                    </a:moveTo>
                    <a:lnTo>
                      <a:pt x="11914" y="104426"/>
                    </a:lnTo>
                    <a:lnTo>
                      <a:pt x="11914" y="77587"/>
                    </a:lnTo>
                    <a:lnTo>
                      <a:pt x="276" y="19196"/>
                    </a:lnTo>
                    <a:cubicBezTo>
                      <a:pt x="-615" y="14253"/>
                      <a:pt x="678" y="9368"/>
                      <a:pt x="3781" y="5632"/>
                    </a:cubicBezTo>
                    <a:cubicBezTo>
                      <a:pt x="6770" y="2040"/>
                      <a:pt x="11138" y="0"/>
                      <a:pt x="15736" y="0"/>
                    </a:cubicBezTo>
                    <a:lnTo>
                      <a:pt x="140881" y="0"/>
                    </a:lnTo>
                    <a:cubicBezTo>
                      <a:pt x="145478" y="0"/>
                      <a:pt x="149817" y="2040"/>
                      <a:pt x="152835" y="5632"/>
                    </a:cubicBezTo>
                    <a:cubicBezTo>
                      <a:pt x="155938" y="9368"/>
                      <a:pt x="157231" y="14253"/>
                      <a:pt x="156369" y="19081"/>
                    </a:cubicBezTo>
                    <a:lnTo>
                      <a:pt x="144702" y="77587"/>
                    </a:lnTo>
                    <a:lnTo>
                      <a:pt x="144702" y="104426"/>
                    </a:lnTo>
                    <a:close/>
                    <a:moveTo>
                      <a:pt x="24960" y="91380"/>
                    </a:moveTo>
                    <a:lnTo>
                      <a:pt x="131628" y="91380"/>
                    </a:lnTo>
                    <a:lnTo>
                      <a:pt x="131743" y="75690"/>
                    </a:lnTo>
                    <a:lnTo>
                      <a:pt x="143524" y="16667"/>
                    </a:lnTo>
                    <a:cubicBezTo>
                      <a:pt x="143697" y="15776"/>
                      <a:pt x="143438" y="14770"/>
                      <a:pt x="142806" y="14023"/>
                    </a:cubicBezTo>
                    <a:cubicBezTo>
                      <a:pt x="142461" y="13592"/>
                      <a:pt x="141829" y="13075"/>
                      <a:pt x="140881" y="13075"/>
                    </a:cubicBezTo>
                    <a:lnTo>
                      <a:pt x="15736" y="13075"/>
                    </a:lnTo>
                    <a:cubicBezTo>
                      <a:pt x="14787" y="13075"/>
                      <a:pt x="14155" y="13592"/>
                      <a:pt x="13810" y="14023"/>
                    </a:cubicBezTo>
                    <a:cubicBezTo>
                      <a:pt x="13178" y="14770"/>
                      <a:pt x="12920" y="15776"/>
                      <a:pt x="13121" y="16782"/>
                    </a:cubicBezTo>
                    <a:lnTo>
                      <a:pt x="24989" y="76955"/>
                    </a:lnTo>
                    <a:lnTo>
                      <a:pt x="24989" y="91380"/>
                    </a:lnTo>
                    <a:close/>
                  </a:path>
                </a:pathLst>
              </a:custGeom>
              <a:solidFill>
                <a:schemeClr val="tx2"/>
              </a:solidFill>
              <a:ln w="2873" cap="flat">
                <a:noFill/>
                <a:prstDash val="solid"/>
                <a:miter/>
              </a:ln>
            </p:spPr>
            <p:txBody>
              <a:bodyPr rtlCol="0" anchor="ctr"/>
              <a:lstStyle/>
              <a:p>
                <a:endParaRPr lang="en-GB" dirty="0"/>
              </a:p>
            </p:txBody>
          </p:sp>
          <p:sp>
            <p:nvSpPr>
              <p:cNvPr id="333" name="Freihandform: Form 744">
                <a:extLst>
                  <a:ext uri="{FF2B5EF4-FFF2-40B4-BE49-F238E27FC236}">
                    <a16:creationId xmlns:a16="http://schemas.microsoft.com/office/drawing/2014/main" id="{343299AE-89BA-442F-9A95-70781A1E0EB0}"/>
                  </a:ext>
                </a:extLst>
              </p:cNvPr>
              <p:cNvSpPr/>
              <p:nvPr/>
            </p:nvSpPr>
            <p:spPr>
              <a:xfrm>
                <a:off x="8205128" y="2073428"/>
                <a:ext cx="45690" cy="32615"/>
              </a:xfrm>
              <a:custGeom>
                <a:avLst/>
                <a:gdLst>
                  <a:gd name="connsiteX0" fmla="*/ 45690 w 45690"/>
                  <a:gd name="connsiteY0" fmla="*/ 32615 h 32615"/>
                  <a:gd name="connsiteX1" fmla="*/ 32644 w 45690"/>
                  <a:gd name="connsiteY1" fmla="*/ 32615 h 32615"/>
                  <a:gd name="connsiteX2" fmla="*/ 32644 w 45690"/>
                  <a:gd name="connsiteY2" fmla="*/ 13046 h 32615"/>
                  <a:gd name="connsiteX3" fmla="*/ 13046 w 45690"/>
                  <a:gd name="connsiteY3" fmla="*/ 13046 h 32615"/>
                  <a:gd name="connsiteX4" fmla="*/ 13046 w 45690"/>
                  <a:gd name="connsiteY4" fmla="*/ 32615 h 32615"/>
                  <a:gd name="connsiteX5" fmla="*/ 0 w 45690"/>
                  <a:gd name="connsiteY5" fmla="*/ 32615 h 32615"/>
                  <a:gd name="connsiteX6" fmla="*/ 0 w 45690"/>
                  <a:gd name="connsiteY6" fmla="*/ 0 h 32615"/>
                  <a:gd name="connsiteX7" fmla="*/ 45690 w 45690"/>
                  <a:gd name="connsiteY7" fmla="*/ 0 h 3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90" h="32615">
                    <a:moveTo>
                      <a:pt x="45690" y="32615"/>
                    </a:moveTo>
                    <a:lnTo>
                      <a:pt x="32644" y="32615"/>
                    </a:lnTo>
                    <a:lnTo>
                      <a:pt x="32644" y="13046"/>
                    </a:lnTo>
                    <a:lnTo>
                      <a:pt x="13046" y="13046"/>
                    </a:lnTo>
                    <a:lnTo>
                      <a:pt x="13046" y="32615"/>
                    </a:lnTo>
                    <a:lnTo>
                      <a:pt x="0" y="32615"/>
                    </a:lnTo>
                    <a:lnTo>
                      <a:pt x="0" y="0"/>
                    </a:lnTo>
                    <a:lnTo>
                      <a:pt x="45690" y="0"/>
                    </a:lnTo>
                    <a:close/>
                  </a:path>
                </a:pathLst>
              </a:custGeom>
              <a:solidFill>
                <a:schemeClr val="tx2"/>
              </a:solidFill>
              <a:ln w="2873" cap="flat">
                <a:noFill/>
                <a:prstDash val="solid"/>
                <a:miter/>
              </a:ln>
            </p:spPr>
            <p:txBody>
              <a:bodyPr rtlCol="0" anchor="ctr"/>
              <a:lstStyle/>
              <a:p>
                <a:endParaRPr lang="en-GB" dirty="0"/>
              </a:p>
            </p:txBody>
          </p:sp>
          <p:sp>
            <p:nvSpPr>
              <p:cNvPr id="334" name="Freihandform: Form 745">
                <a:extLst>
                  <a:ext uri="{FF2B5EF4-FFF2-40B4-BE49-F238E27FC236}">
                    <a16:creationId xmlns:a16="http://schemas.microsoft.com/office/drawing/2014/main" id="{2D65CA3D-25CD-4D93-8811-C7DEA6727C09}"/>
                  </a:ext>
                </a:extLst>
              </p:cNvPr>
              <p:cNvSpPr/>
              <p:nvPr/>
            </p:nvSpPr>
            <p:spPr>
              <a:xfrm>
                <a:off x="7846217" y="2073428"/>
                <a:ext cx="45661" cy="32615"/>
              </a:xfrm>
              <a:custGeom>
                <a:avLst/>
                <a:gdLst>
                  <a:gd name="connsiteX0" fmla="*/ 45661 w 45661"/>
                  <a:gd name="connsiteY0" fmla="*/ 32615 h 32615"/>
                  <a:gd name="connsiteX1" fmla="*/ 32615 w 45661"/>
                  <a:gd name="connsiteY1" fmla="*/ 32615 h 32615"/>
                  <a:gd name="connsiteX2" fmla="*/ 32615 w 45661"/>
                  <a:gd name="connsiteY2" fmla="*/ 13046 h 32615"/>
                  <a:gd name="connsiteX3" fmla="*/ 13046 w 45661"/>
                  <a:gd name="connsiteY3" fmla="*/ 13046 h 32615"/>
                  <a:gd name="connsiteX4" fmla="*/ 13046 w 45661"/>
                  <a:gd name="connsiteY4" fmla="*/ 32615 h 32615"/>
                  <a:gd name="connsiteX5" fmla="*/ 0 w 45661"/>
                  <a:gd name="connsiteY5" fmla="*/ 32615 h 32615"/>
                  <a:gd name="connsiteX6" fmla="*/ 0 w 45661"/>
                  <a:gd name="connsiteY6" fmla="*/ 0 h 32615"/>
                  <a:gd name="connsiteX7" fmla="*/ 45661 w 45661"/>
                  <a:gd name="connsiteY7" fmla="*/ 0 h 32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661" h="32615">
                    <a:moveTo>
                      <a:pt x="45661" y="32615"/>
                    </a:moveTo>
                    <a:lnTo>
                      <a:pt x="32615" y="32615"/>
                    </a:lnTo>
                    <a:lnTo>
                      <a:pt x="32615" y="13046"/>
                    </a:lnTo>
                    <a:lnTo>
                      <a:pt x="13046" y="13046"/>
                    </a:lnTo>
                    <a:lnTo>
                      <a:pt x="13046" y="32615"/>
                    </a:lnTo>
                    <a:lnTo>
                      <a:pt x="0" y="32615"/>
                    </a:lnTo>
                    <a:lnTo>
                      <a:pt x="0" y="0"/>
                    </a:lnTo>
                    <a:lnTo>
                      <a:pt x="45661" y="0"/>
                    </a:lnTo>
                    <a:close/>
                  </a:path>
                </a:pathLst>
              </a:custGeom>
              <a:solidFill>
                <a:schemeClr val="tx2"/>
              </a:solidFill>
              <a:ln w="2873" cap="flat">
                <a:noFill/>
                <a:prstDash val="solid"/>
                <a:miter/>
              </a:ln>
            </p:spPr>
            <p:txBody>
              <a:bodyPr rtlCol="0" anchor="ctr"/>
              <a:lstStyle/>
              <a:p>
                <a:endParaRPr lang="en-GB" dirty="0"/>
              </a:p>
            </p:txBody>
          </p:sp>
        </p:grpSp>
        <p:sp>
          <p:nvSpPr>
            <p:cNvPr id="327" name="Freihandform: Form 746">
              <a:extLst>
                <a:ext uri="{FF2B5EF4-FFF2-40B4-BE49-F238E27FC236}">
                  <a16:creationId xmlns:a16="http://schemas.microsoft.com/office/drawing/2014/main" id="{F1B25E27-790D-4BAD-B84A-053DF83378BF}"/>
                </a:ext>
              </a:extLst>
            </p:cNvPr>
            <p:cNvSpPr/>
            <p:nvPr/>
          </p:nvSpPr>
          <p:spPr>
            <a:xfrm>
              <a:off x="7885337" y="1630464"/>
              <a:ext cx="326338" cy="279801"/>
            </a:xfrm>
            <a:custGeom>
              <a:avLst/>
              <a:gdLst>
                <a:gd name="connsiteX0" fmla="*/ 254532 w 326337"/>
                <a:gd name="connsiteY0" fmla="*/ 279802 h 279801"/>
                <a:gd name="connsiteX1" fmla="*/ 248124 w 326337"/>
                <a:gd name="connsiteY1" fmla="*/ 274514 h 279801"/>
                <a:gd name="connsiteX2" fmla="*/ 235078 w 326337"/>
                <a:gd name="connsiteY2" fmla="*/ 207674 h 279801"/>
                <a:gd name="connsiteX3" fmla="*/ 236802 w 326337"/>
                <a:gd name="connsiteY3" fmla="*/ 201870 h 279801"/>
                <a:gd name="connsiteX4" fmla="*/ 306228 w 326337"/>
                <a:gd name="connsiteY4" fmla="*/ 130691 h 279801"/>
                <a:gd name="connsiteX5" fmla="*/ 210566 w 326337"/>
                <a:gd name="connsiteY5" fmla="*/ 116064 h 279801"/>
                <a:gd name="connsiteX6" fmla="*/ 205652 w 326337"/>
                <a:gd name="connsiteY6" fmla="*/ 112386 h 279801"/>
                <a:gd name="connsiteX7" fmla="*/ 163152 w 326337"/>
                <a:gd name="connsiteY7" fmla="*/ 21868 h 279801"/>
                <a:gd name="connsiteX8" fmla="*/ 120651 w 326337"/>
                <a:gd name="connsiteY8" fmla="*/ 112386 h 279801"/>
                <a:gd name="connsiteX9" fmla="*/ 115737 w 326337"/>
                <a:gd name="connsiteY9" fmla="*/ 116064 h 279801"/>
                <a:gd name="connsiteX10" fmla="*/ 20076 w 326337"/>
                <a:gd name="connsiteY10" fmla="*/ 130691 h 279801"/>
                <a:gd name="connsiteX11" fmla="*/ 89502 w 326337"/>
                <a:gd name="connsiteY11" fmla="*/ 201870 h 279801"/>
                <a:gd name="connsiteX12" fmla="*/ 91226 w 326337"/>
                <a:gd name="connsiteY12" fmla="*/ 207674 h 279801"/>
                <a:gd name="connsiteX13" fmla="*/ 78180 w 326337"/>
                <a:gd name="connsiteY13" fmla="*/ 274514 h 279801"/>
                <a:gd name="connsiteX14" fmla="*/ 70536 w 326337"/>
                <a:gd name="connsiteY14" fmla="*/ 279658 h 279801"/>
                <a:gd name="connsiteX15" fmla="*/ 65392 w 326337"/>
                <a:gd name="connsiteY15" fmla="*/ 272014 h 279801"/>
                <a:gd name="connsiteX16" fmla="*/ 77777 w 326337"/>
                <a:gd name="connsiteY16" fmla="*/ 208536 h 279801"/>
                <a:gd name="connsiteX17" fmla="*/ 1857 w 326337"/>
                <a:gd name="connsiteY17" fmla="*/ 130720 h 279801"/>
                <a:gd name="connsiteX18" fmla="*/ 334 w 326337"/>
                <a:gd name="connsiteY18" fmla="*/ 124082 h 279801"/>
                <a:gd name="connsiteX19" fmla="*/ 5535 w 326337"/>
                <a:gd name="connsiteY19" fmla="*/ 119714 h 279801"/>
                <a:gd name="connsiteX20" fmla="*/ 110306 w 326337"/>
                <a:gd name="connsiteY20" fmla="*/ 103708 h 279801"/>
                <a:gd name="connsiteX21" fmla="*/ 157261 w 326337"/>
                <a:gd name="connsiteY21" fmla="*/ 3764 h 279801"/>
                <a:gd name="connsiteX22" fmla="*/ 163180 w 326337"/>
                <a:gd name="connsiteY22" fmla="*/ 0 h 279801"/>
                <a:gd name="connsiteX23" fmla="*/ 169100 w 326337"/>
                <a:gd name="connsiteY23" fmla="*/ 3764 h 279801"/>
                <a:gd name="connsiteX24" fmla="*/ 216026 w 326337"/>
                <a:gd name="connsiteY24" fmla="*/ 103737 h 279801"/>
                <a:gd name="connsiteX25" fmla="*/ 320797 w 326337"/>
                <a:gd name="connsiteY25" fmla="*/ 119743 h 279801"/>
                <a:gd name="connsiteX26" fmla="*/ 325998 w 326337"/>
                <a:gd name="connsiteY26" fmla="*/ 124110 h 279801"/>
                <a:gd name="connsiteX27" fmla="*/ 324475 w 326337"/>
                <a:gd name="connsiteY27" fmla="*/ 130748 h 279801"/>
                <a:gd name="connsiteX28" fmla="*/ 248555 w 326337"/>
                <a:gd name="connsiteY28" fmla="*/ 208565 h 279801"/>
                <a:gd name="connsiteX29" fmla="*/ 260940 w 326337"/>
                <a:gd name="connsiteY29" fmla="*/ 272043 h 279801"/>
                <a:gd name="connsiteX30" fmla="*/ 255796 w 326337"/>
                <a:gd name="connsiteY30" fmla="*/ 279687 h 279801"/>
                <a:gd name="connsiteX31" fmla="*/ 254532 w 326337"/>
                <a:gd name="connsiteY31" fmla="*/ 279802 h 279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26337" h="279801">
                  <a:moveTo>
                    <a:pt x="254532" y="279802"/>
                  </a:moveTo>
                  <a:cubicBezTo>
                    <a:pt x="251486" y="279802"/>
                    <a:pt x="248727" y="277646"/>
                    <a:pt x="248124" y="274514"/>
                  </a:cubicBezTo>
                  <a:lnTo>
                    <a:pt x="235078" y="207674"/>
                  </a:lnTo>
                  <a:cubicBezTo>
                    <a:pt x="234675" y="205577"/>
                    <a:pt x="235308" y="203393"/>
                    <a:pt x="236802" y="201870"/>
                  </a:cubicBezTo>
                  <a:lnTo>
                    <a:pt x="306228" y="130691"/>
                  </a:lnTo>
                  <a:lnTo>
                    <a:pt x="210566" y="116064"/>
                  </a:lnTo>
                  <a:cubicBezTo>
                    <a:pt x="208411" y="115719"/>
                    <a:pt x="206572" y="114340"/>
                    <a:pt x="205652" y="112386"/>
                  </a:cubicBezTo>
                  <a:lnTo>
                    <a:pt x="163152" y="21868"/>
                  </a:lnTo>
                  <a:lnTo>
                    <a:pt x="120651" y="112386"/>
                  </a:lnTo>
                  <a:cubicBezTo>
                    <a:pt x="119732" y="114369"/>
                    <a:pt x="117893" y="115748"/>
                    <a:pt x="115737" y="116064"/>
                  </a:cubicBezTo>
                  <a:lnTo>
                    <a:pt x="20076" y="130691"/>
                  </a:lnTo>
                  <a:lnTo>
                    <a:pt x="89502" y="201870"/>
                  </a:lnTo>
                  <a:cubicBezTo>
                    <a:pt x="90996" y="203393"/>
                    <a:pt x="91657" y="205577"/>
                    <a:pt x="91226" y="207674"/>
                  </a:cubicBezTo>
                  <a:lnTo>
                    <a:pt x="78180" y="274514"/>
                  </a:lnTo>
                  <a:cubicBezTo>
                    <a:pt x="77490" y="278049"/>
                    <a:pt x="74042" y="280347"/>
                    <a:pt x="70536" y="279658"/>
                  </a:cubicBezTo>
                  <a:cubicBezTo>
                    <a:pt x="67001" y="278968"/>
                    <a:pt x="64702" y="275549"/>
                    <a:pt x="65392" y="272014"/>
                  </a:cubicBezTo>
                  <a:lnTo>
                    <a:pt x="77777" y="208536"/>
                  </a:lnTo>
                  <a:lnTo>
                    <a:pt x="1857" y="130720"/>
                  </a:lnTo>
                  <a:cubicBezTo>
                    <a:pt x="162" y="128967"/>
                    <a:pt x="-442" y="126409"/>
                    <a:pt x="334" y="124082"/>
                  </a:cubicBezTo>
                  <a:cubicBezTo>
                    <a:pt x="1110" y="121754"/>
                    <a:pt x="3121" y="120059"/>
                    <a:pt x="5535" y="119714"/>
                  </a:cubicBezTo>
                  <a:lnTo>
                    <a:pt x="110306" y="103708"/>
                  </a:lnTo>
                  <a:lnTo>
                    <a:pt x="157261" y="3764"/>
                  </a:lnTo>
                  <a:cubicBezTo>
                    <a:pt x="158324" y="1466"/>
                    <a:pt x="160652" y="0"/>
                    <a:pt x="163180" y="0"/>
                  </a:cubicBezTo>
                  <a:cubicBezTo>
                    <a:pt x="165709" y="0"/>
                    <a:pt x="168008" y="1466"/>
                    <a:pt x="169100" y="3764"/>
                  </a:cubicBezTo>
                  <a:lnTo>
                    <a:pt x="216026" y="103737"/>
                  </a:lnTo>
                  <a:lnTo>
                    <a:pt x="320797" y="119743"/>
                  </a:lnTo>
                  <a:cubicBezTo>
                    <a:pt x="323211" y="120116"/>
                    <a:pt x="325222" y="121811"/>
                    <a:pt x="325998" y="124110"/>
                  </a:cubicBezTo>
                  <a:cubicBezTo>
                    <a:pt x="326774" y="126438"/>
                    <a:pt x="326199" y="128995"/>
                    <a:pt x="324475" y="130748"/>
                  </a:cubicBezTo>
                  <a:lnTo>
                    <a:pt x="248555" y="208565"/>
                  </a:lnTo>
                  <a:lnTo>
                    <a:pt x="260940" y="272043"/>
                  </a:lnTo>
                  <a:cubicBezTo>
                    <a:pt x="261630" y="275577"/>
                    <a:pt x="259331" y="278997"/>
                    <a:pt x="255796" y="279687"/>
                  </a:cubicBezTo>
                  <a:cubicBezTo>
                    <a:pt x="255365" y="279773"/>
                    <a:pt x="254934" y="279802"/>
                    <a:pt x="254532" y="279802"/>
                  </a:cubicBezTo>
                  <a:close/>
                </a:path>
              </a:pathLst>
            </a:custGeom>
            <a:solidFill>
              <a:schemeClr val="accent1"/>
            </a:solidFill>
            <a:ln w="2873" cap="flat">
              <a:noFill/>
              <a:prstDash val="solid"/>
              <a:miter/>
            </a:ln>
          </p:spPr>
          <p:txBody>
            <a:bodyPr rtlCol="0" anchor="ctr"/>
            <a:lstStyle/>
            <a:p>
              <a:endParaRPr lang="en-GB" dirty="0"/>
            </a:p>
          </p:txBody>
        </p:sp>
      </p:grpSp>
      <p:grpSp>
        <p:nvGrpSpPr>
          <p:cNvPr id="12" name="Group 11">
            <a:extLst>
              <a:ext uri="{FF2B5EF4-FFF2-40B4-BE49-F238E27FC236}">
                <a16:creationId xmlns:a16="http://schemas.microsoft.com/office/drawing/2014/main" id="{8E9CD773-6703-AC50-2ED0-4B8364F1C338}"/>
              </a:ext>
            </a:extLst>
          </p:cNvPr>
          <p:cNvGrpSpPr/>
          <p:nvPr/>
        </p:nvGrpSpPr>
        <p:grpSpPr>
          <a:xfrm>
            <a:off x="6010491" y="1585984"/>
            <a:ext cx="491820" cy="432003"/>
            <a:chOff x="6010079" y="1585984"/>
            <a:chExt cx="491820" cy="432003"/>
          </a:xfrm>
        </p:grpSpPr>
        <p:grpSp>
          <p:nvGrpSpPr>
            <p:cNvPr id="336" name="Grafik 167">
              <a:extLst>
                <a:ext uri="{FF2B5EF4-FFF2-40B4-BE49-F238E27FC236}">
                  <a16:creationId xmlns:a16="http://schemas.microsoft.com/office/drawing/2014/main" id="{D188C3C2-217A-4D4D-A6C0-0536AAB86347}"/>
                </a:ext>
              </a:extLst>
            </p:cNvPr>
            <p:cNvGrpSpPr/>
            <p:nvPr/>
          </p:nvGrpSpPr>
          <p:grpSpPr>
            <a:xfrm>
              <a:off x="6149824" y="1779934"/>
              <a:ext cx="210854" cy="238053"/>
              <a:chOff x="5464439" y="2648894"/>
              <a:chExt cx="207032" cy="233737"/>
            </a:xfrm>
            <a:solidFill>
              <a:schemeClr val="accent1"/>
            </a:solidFill>
          </p:grpSpPr>
          <p:grpSp>
            <p:nvGrpSpPr>
              <p:cNvPr id="354" name="Grafik 167">
                <a:extLst>
                  <a:ext uri="{FF2B5EF4-FFF2-40B4-BE49-F238E27FC236}">
                    <a16:creationId xmlns:a16="http://schemas.microsoft.com/office/drawing/2014/main" id="{EEB3AADD-917E-44A0-933D-62C83AE3FC18}"/>
                  </a:ext>
                </a:extLst>
              </p:cNvPr>
              <p:cNvGrpSpPr/>
              <p:nvPr/>
            </p:nvGrpSpPr>
            <p:grpSpPr>
              <a:xfrm>
                <a:off x="5464439" y="2648894"/>
                <a:ext cx="207032" cy="233737"/>
                <a:chOff x="5464439" y="2648894"/>
                <a:chExt cx="207032" cy="233737"/>
              </a:xfrm>
              <a:solidFill>
                <a:schemeClr val="accent1"/>
              </a:solidFill>
            </p:grpSpPr>
            <p:sp>
              <p:nvSpPr>
                <p:cNvPr id="356" name="Freihandform: Form 750">
                  <a:extLst>
                    <a:ext uri="{FF2B5EF4-FFF2-40B4-BE49-F238E27FC236}">
                      <a16:creationId xmlns:a16="http://schemas.microsoft.com/office/drawing/2014/main" id="{D5ADAEAD-C4D1-45DB-BD84-B920267FF982}"/>
                    </a:ext>
                  </a:extLst>
                </p:cNvPr>
                <p:cNvSpPr/>
                <p:nvPr/>
              </p:nvSpPr>
              <p:spPr>
                <a:xfrm>
                  <a:off x="5464452" y="2697122"/>
                  <a:ext cx="206982" cy="137233"/>
                </a:xfrm>
                <a:custGeom>
                  <a:avLst/>
                  <a:gdLst>
                    <a:gd name="connsiteX0" fmla="*/ 180767 w 206982"/>
                    <a:gd name="connsiteY0" fmla="*/ 137233 h 137233"/>
                    <a:gd name="connsiteX1" fmla="*/ 83784 w 206982"/>
                    <a:gd name="connsiteY1" fmla="*/ 102808 h 137233"/>
                    <a:gd name="connsiteX2" fmla="*/ 19559 w 206982"/>
                    <a:gd name="connsiteY2" fmla="*/ 54273 h 137233"/>
                    <a:gd name="connsiteX3" fmla="*/ 2288 w 206982"/>
                    <a:gd name="connsiteY3" fmla="*/ 10192 h 137233"/>
                    <a:gd name="connsiteX4" fmla="*/ 49071 w 206982"/>
                    <a:gd name="connsiteY4" fmla="*/ 3094 h 137233"/>
                    <a:gd name="connsiteX5" fmla="*/ 123209 w 206982"/>
                    <a:gd name="connsiteY5" fmla="*/ 34445 h 137233"/>
                    <a:gd name="connsiteX6" fmla="*/ 204704 w 206982"/>
                    <a:gd name="connsiteY6" fmla="*/ 127032 h 137233"/>
                    <a:gd name="connsiteX7" fmla="*/ 204704 w 206982"/>
                    <a:gd name="connsiteY7" fmla="*/ 127032 h 137233"/>
                    <a:gd name="connsiteX8" fmla="*/ 180767 w 206982"/>
                    <a:gd name="connsiteY8" fmla="*/ 137233 h 137233"/>
                    <a:gd name="connsiteX9" fmla="*/ 26197 w 206982"/>
                    <a:gd name="connsiteY9" fmla="*/ 13037 h 137233"/>
                    <a:gd name="connsiteX10" fmla="*/ 13639 w 206982"/>
                    <a:gd name="connsiteY10" fmla="*/ 16715 h 137233"/>
                    <a:gd name="connsiteX11" fmla="*/ 29070 w 206982"/>
                    <a:gd name="connsiteY11" fmla="*/ 45278 h 137233"/>
                    <a:gd name="connsiteX12" fmla="*/ 90335 w 206982"/>
                    <a:gd name="connsiteY12" fmla="*/ 91486 h 137233"/>
                    <a:gd name="connsiteX13" fmla="*/ 193440 w 206982"/>
                    <a:gd name="connsiteY13" fmla="*/ 120538 h 137233"/>
                    <a:gd name="connsiteX14" fmla="*/ 116715 w 206982"/>
                    <a:gd name="connsiteY14" fmla="*/ 45767 h 137233"/>
                    <a:gd name="connsiteX15" fmla="*/ 46082 w 206982"/>
                    <a:gd name="connsiteY15" fmla="*/ 15795 h 137233"/>
                    <a:gd name="connsiteX16" fmla="*/ 26197 w 206982"/>
                    <a:gd name="connsiteY16" fmla="*/ 13037 h 13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6982" h="137233">
                      <a:moveTo>
                        <a:pt x="180767" y="137233"/>
                      </a:moveTo>
                      <a:cubicBezTo>
                        <a:pt x="156141" y="137233"/>
                        <a:pt x="118238" y="122693"/>
                        <a:pt x="83784" y="102808"/>
                      </a:cubicBezTo>
                      <a:cubicBezTo>
                        <a:pt x="57720" y="87750"/>
                        <a:pt x="34904" y="70537"/>
                        <a:pt x="19559" y="54273"/>
                      </a:cubicBezTo>
                      <a:cubicBezTo>
                        <a:pt x="2202" y="35939"/>
                        <a:pt x="-3746" y="20680"/>
                        <a:pt x="2288" y="10192"/>
                      </a:cubicBezTo>
                      <a:cubicBezTo>
                        <a:pt x="8352" y="-297"/>
                        <a:pt x="24530" y="-2739"/>
                        <a:pt x="49071" y="3094"/>
                      </a:cubicBezTo>
                      <a:cubicBezTo>
                        <a:pt x="70824" y="8266"/>
                        <a:pt x="97174" y="19416"/>
                        <a:pt x="123209" y="34445"/>
                      </a:cubicBezTo>
                      <a:cubicBezTo>
                        <a:pt x="173497" y="63497"/>
                        <a:pt x="217635" y="104618"/>
                        <a:pt x="204704" y="127032"/>
                      </a:cubicBezTo>
                      <a:lnTo>
                        <a:pt x="204704" y="127032"/>
                      </a:lnTo>
                      <a:cubicBezTo>
                        <a:pt x="200652" y="134158"/>
                        <a:pt x="192118" y="137233"/>
                        <a:pt x="180767" y="137233"/>
                      </a:cubicBezTo>
                      <a:close/>
                      <a:moveTo>
                        <a:pt x="26197" y="13037"/>
                      </a:moveTo>
                      <a:cubicBezTo>
                        <a:pt x="18323" y="13037"/>
                        <a:pt x="14645" y="14991"/>
                        <a:pt x="13639" y="16715"/>
                      </a:cubicBezTo>
                      <a:cubicBezTo>
                        <a:pt x="12001" y="19531"/>
                        <a:pt x="13438" y="28726"/>
                        <a:pt x="29070" y="45278"/>
                      </a:cubicBezTo>
                      <a:cubicBezTo>
                        <a:pt x="43582" y="60652"/>
                        <a:pt x="65335" y="77031"/>
                        <a:pt x="90335" y="91486"/>
                      </a:cubicBezTo>
                      <a:cubicBezTo>
                        <a:pt x="145221" y="123181"/>
                        <a:pt x="188066" y="129848"/>
                        <a:pt x="193440" y="120538"/>
                      </a:cubicBezTo>
                      <a:cubicBezTo>
                        <a:pt x="198813" y="111227"/>
                        <a:pt x="171600" y="77462"/>
                        <a:pt x="116715" y="45767"/>
                      </a:cubicBezTo>
                      <a:cubicBezTo>
                        <a:pt x="91715" y="31341"/>
                        <a:pt x="66628" y="20680"/>
                        <a:pt x="46082" y="15795"/>
                      </a:cubicBezTo>
                      <a:cubicBezTo>
                        <a:pt x="37576" y="13784"/>
                        <a:pt x="31082" y="13037"/>
                        <a:pt x="26197" y="13037"/>
                      </a:cubicBezTo>
                      <a:close/>
                    </a:path>
                  </a:pathLst>
                </a:custGeom>
                <a:solidFill>
                  <a:schemeClr val="accent1"/>
                </a:solidFill>
                <a:ln w="2873" cap="flat">
                  <a:noFill/>
                  <a:prstDash val="solid"/>
                  <a:miter/>
                </a:ln>
              </p:spPr>
              <p:txBody>
                <a:bodyPr rtlCol="0" anchor="ctr"/>
                <a:lstStyle/>
                <a:p>
                  <a:endParaRPr lang="en-GB" dirty="0"/>
                </a:p>
              </p:txBody>
            </p:sp>
            <p:sp>
              <p:nvSpPr>
                <p:cNvPr id="357" name="Freihandform: Form 751">
                  <a:extLst>
                    <a:ext uri="{FF2B5EF4-FFF2-40B4-BE49-F238E27FC236}">
                      <a16:creationId xmlns:a16="http://schemas.microsoft.com/office/drawing/2014/main" id="{47365F88-A6FA-4EC9-9ED7-439B6D0F5693}"/>
                    </a:ext>
                  </a:extLst>
                </p:cNvPr>
                <p:cNvSpPr/>
                <p:nvPr/>
              </p:nvSpPr>
              <p:spPr>
                <a:xfrm>
                  <a:off x="5464439" y="2697161"/>
                  <a:ext cx="207032" cy="137222"/>
                </a:xfrm>
                <a:custGeom>
                  <a:avLst/>
                  <a:gdLst>
                    <a:gd name="connsiteX0" fmla="*/ 26238 w 207032"/>
                    <a:gd name="connsiteY0" fmla="*/ 137223 h 137222"/>
                    <a:gd name="connsiteX1" fmla="*/ 2301 w 207032"/>
                    <a:gd name="connsiteY1" fmla="*/ 127021 h 137222"/>
                    <a:gd name="connsiteX2" fmla="*/ 19571 w 207032"/>
                    <a:gd name="connsiteY2" fmla="*/ 82969 h 137222"/>
                    <a:gd name="connsiteX3" fmla="*/ 83796 w 207032"/>
                    <a:gd name="connsiteY3" fmla="*/ 34434 h 137222"/>
                    <a:gd name="connsiteX4" fmla="*/ 204745 w 207032"/>
                    <a:gd name="connsiteY4" fmla="*/ 10152 h 137222"/>
                    <a:gd name="connsiteX5" fmla="*/ 204745 w 207032"/>
                    <a:gd name="connsiteY5" fmla="*/ 10152 h 137222"/>
                    <a:gd name="connsiteX6" fmla="*/ 123250 w 207032"/>
                    <a:gd name="connsiteY6" fmla="*/ 102768 h 137222"/>
                    <a:gd name="connsiteX7" fmla="*/ 49111 w 207032"/>
                    <a:gd name="connsiteY7" fmla="*/ 134119 h 137222"/>
                    <a:gd name="connsiteX8" fmla="*/ 26238 w 207032"/>
                    <a:gd name="connsiteY8" fmla="*/ 137223 h 137222"/>
                    <a:gd name="connsiteX9" fmla="*/ 181354 w 207032"/>
                    <a:gd name="connsiteY9" fmla="*/ 12825 h 137222"/>
                    <a:gd name="connsiteX10" fmla="*/ 90347 w 207032"/>
                    <a:gd name="connsiteY10" fmla="*/ 45756 h 137222"/>
                    <a:gd name="connsiteX11" fmla="*/ 29083 w 207032"/>
                    <a:gd name="connsiteY11" fmla="*/ 91964 h 137222"/>
                    <a:gd name="connsiteX12" fmla="*/ 13651 w 207032"/>
                    <a:gd name="connsiteY12" fmla="*/ 120527 h 137222"/>
                    <a:gd name="connsiteX13" fmla="*/ 46123 w 207032"/>
                    <a:gd name="connsiteY13" fmla="*/ 121447 h 137222"/>
                    <a:gd name="connsiteX14" fmla="*/ 116756 w 207032"/>
                    <a:gd name="connsiteY14" fmla="*/ 91475 h 137222"/>
                    <a:gd name="connsiteX15" fmla="*/ 193481 w 207032"/>
                    <a:gd name="connsiteY15" fmla="*/ 16704 h 137222"/>
                    <a:gd name="connsiteX16" fmla="*/ 193481 w 207032"/>
                    <a:gd name="connsiteY16" fmla="*/ 16704 h 137222"/>
                    <a:gd name="connsiteX17" fmla="*/ 181354 w 207032"/>
                    <a:gd name="connsiteY17" fmla="*/ 12825 h 137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7032" h="137222">
                      <a:moveTo>
                        <a:pt x="26238" y="137223"/>
                      </a:moveTo>
                      <a:cubicBezTo>
                        <a:pt x="14341" y="137223"/>
                        <a:pt x="6237" y="133803"/>
                        <a:pt x="2301" y="127021"/>
                      </a:cubicBezTo>
                      <a:cubicBezTo>
                        <a:pt x="-3763" y="116533"/>
                        <a:pt x="2214" y="101303"/>
                        <a:pt x="19571" y="82969"/>
                      </a:cubicBezTo>
                      <a:cubicBezTo>
                        <a:pt x="34945" y="66705"/>
                        <a:pt x="57732" y="49492"/>
                        <a:pt x="83796" y="34434"/>
                      </a:cubicBezTo>
                      <a:cubicBezTo>
                        <a:pt x="134084" y="5382"/>
                        <a:pt x="191785" y="-12261"/>
                        <a:pt x="204745" y="10152"/>
                      </a:cubicBezTo>
                      <a:lnTo>
                        <a:pt x="204745" y="10152"/>
                      </a:lnTo>
                      <a:cubicBezTo>
                        <a:pt x="217705" y="32595"/>
                        <a:pt x="173567" y="73716"/>
                        <a:pt x="123250" y="102768"/>
                      </a:cubicBezTo>
                      <a:cubicBezTo>
                        <a:pt x="97187" y="117797"/>
                        <a:pt x="70865" y="128947"/>
                        <a:pt x="49111" y="134119"/>
                      </a:cubicBezTo>
                      <a:cubicBezTo>
                        <a:pt x="40404" y="136188"/>
                        <a:pt x="32761" y="137223"/>
                        <a:pt x="26238" y="137223"/>
                      </a:cubicBezTo>
                      <a:close/>
                      <a:moveTo>
                        <a:pt x="181354" y="12825"/>
                      </a:moveTo>
                      <a:cubicBezTo>
                        <a:pt x="163998" y="12825"/>
                        <a:pt x="130377" y="22624"/>
                        <a:pt x="90347" y="45756"/>
                      </a:cubicBezTo>
                      <a:cubicBezTo>
                        <a:pt x="65347" y="60182"/>
                        <a:pt x="43594" y="76590"/>
                        <a:pt x="29083" y="91964"/>
                      </a:cubicBezTo>
                      <a:cubicBezTo>
                        <a:pt x="13421" y="108516"/>
                        <a:pt x="12013" y="117711"/>
                        <a:pt x="13651" y="120527"/>
                      </a:cubicBezTo>
                      <a:cubicBezTo>
                        <a:pt x="15289" y="123343"/>
                        <a:pt x="23939" y="126734"/>
                        <a:pt x="46123" y="121447"/>
                      </a:cubicBezTo>
                      <a:cubicBezTo>
                        <a:pt x="66669" y="116562"/>
                        <a:pt x="91756" y="105901"/>
                        <a:pt x="116756" y="91475"/>
                      </a:cubicBezTo>
                      <a:cubicBezTo>
                        <a:pt x="171641" y="59779"/>
                        <a:pt x="198854" y="26015"/>
                        <a:pt x="193481" y="16704"/>
                      </a:cubicBezTo>
                      <a:lnTo>
                        <a:pt x="193481" y="16704"/>
                      </a:lnTo>
                      <a:cubicBezTo>
                        <a:pt x="191986" y="14175"/>
                        <a:pt x="187791" y="12825"/>
                        <a:pt x="181354" y="12825"/>
                      </a:cubicBezTo>
                      <a:close/>
                    </a:path>
                  </a:pathLst>
                </a:custGeom>
                <a:solidFill>
                  <a:schemeClr val="accent1"/>
                </a:solidFill>
                <a:ln w="2873" cap="flat">
                  <a:noFill/>
                  <a:prstDash val="solid"/>
                  <a:miter/>
                </a:ln>
              </p:spPr>
              <p:txBody>
                <a:bodyPr rtlCol="0" anchor="ctr"/>
                <a:lstStyle/>
                <a:p>
                  <a:endParaRPr lang="en-GB" dirty="0"/>
                </a:p>
              </p:txBody>
            </p:sp>
            <p:sp>
              <p:nvSpPr>
                <p:cNvPr id="358" name="Freihandform: Form 752">
                  <a:extLst>
                    <a:ext uri="{FF2B5EF4-FFF2-40B4-BE49-F238E27FC236}">
                      <a16:creationId xmlns:a16="http://schemas.microsoft.com/office/drawing/2014/main" id="{C8DAA751-956A-4DAA-945E-8F007EBD385B}"/>
                    </a:ext>
                  </a:extLst>
                </p:cNvPr>
                <p:cNvSpPr/>
                <p:nvPr/>
              </p:nvSpPr>
              <p:spPr>
                <a:xfrm>
                  <a:off x="5528522" y="2648894"/>
                  <a:ext cx="78908" cy="233737"/>
                </a:xfrm>
                <a:custGeom>
                  <a:avLst/>
                  <a:gdLst>
                    <a:gd name="connsiteX0" fmla="*/ 39454 w 78908"/>
                    <a:gd name="connsiteY0" fmla="*/ 233738 h 233737"/>
                    <a:gd name="connsiteX1" fmla="*/ 0 w 78908"/>
                    <a:gd name="connsiteY1" fmla="*/ 116869 h 233737"/>
                    <a:gd name="connsiteX2" fmla="*/ 39454 w 78908"/>
                    <a:gd name="connsiteY2" fmla="*/ 0 h 233737"/>
                    <a:gd name="connsiteX3" fmla="*/ 78909 w 78908"/>
                    <a:gd name="connsiteY3" fmla="*/ 116869 h 233737"/>
                    <a:gd name="connsiteX4" fmla="*/ 39454 w 78908"/>
                    <a:gd name="connsiteY4" fmla="*/ 233738 h 233737"/>
                    <a:gd name="connsiteX5" fmla="*/ 39454 w 78908"/>
                    <a:gd name="connsiteY5" fmla="*/ 13046 h 233737"/>
                    <a:gd name="connsiteX6" fmla="*/ 13046 w 78908"/>
                    <a:gd name="connsiteY6" fmla="*/ 116869 h 233737"/>
                    <a:gd name="connsiteX7" fmla="*/ 39454 w 78908"/>
                    <a:gd name="connsiteY7" fmla="*/ 220692 h 233737"/>
                    <a:gd name="connsiteX8" fmla="*/ 65863 w 78908"/>
                    <a:gd name="connsiteY8" fmla="*/ 116869 h 233737"/>
                    <a:gd name="connsiteX9" fmla="*/ 39454 w 78908"/>
                    <a:gd name="connsiteY9" fmla="*/ 13046 h 233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908" h="233737">
                      <a:moveTo>
                        <a:pt x="39454" y="233738"/>
                      </a:moveTo>
                      <a:cubicBezTo>
                        <a:pt x="13563" y="233738"/>
                        <a:pt x="0" y="174944"/>
                        <a:pt x="0" y="116869"/>
                      </a:cubicBezTo>
                      <a:cubicBezTo>
                        <a:pt x="0" y="58794"/>
                        <a:pt x="13563" y="0"/>
                        <a:pt x="39454" y="0"/>
                      </a:cubicBezTo>
                      <a:cubicBezTo>
                        <a:pt x="65345" y="0"/>
                        <a:pt x="78909" y="58794"/>
                        <a:pt x="78909" y="116869"/>
                      </a:cubicBezTo>
                      <a:cubicBezTo>
                        <a:pt x="78909" y="174944"/>
                        <a:pt x="65345" y="233738"/>
                        <a:pt x="39454" y="233738"/>
                      </a:cubicBezTo>
                      <a:close/>
                      <a:moveTo>
                        <a:pt x="39454" y="13046"/>
                      </a:moveTo>
                      <a:cubicBezTo>
                        <a:pt x="28678" y="13046"/>
                        <a:pt x="13046" y="53506"/>
                        <a:pt x="13046" y="116869"/>
                      </a:cubicBezTo>
                      <a:cubicBezTo>
                        <a:pt x="13046" y="180232"/>
                        <a:pt x="28678" y="220692"/>
                        <a:pt x="39454" y="220692"/>
                      </a:cubicBezTo>
                      <a:cubicBezTo>
                        <a:pt x="50230" y="220692"/>
                        <a:pt x="65863" y="180260"/>
                        <a:pt x="65863" y="116869"/>
                      </a:cubicBezTo>
                      <a:cubicBezTo>
                        <a:pt x="65863" y="53506"/>
                        <a:pt x="50230" y="13046"/>
                        <a:pt x="39454" y="13046"/>
                      </a:cubicBezTo>
                      <a:close/>
                    </a:path>
                  </a:pathLst>
                </a:custGeom>
                <a:solidFill>
                  <a:schemeClr val="accent1"/>
                </a:solidFill>
                <a:ln w="2873" cap="flat">
                  <a:noFill/>
                  <a:prstDash val="solid"/>
                  <a:miter/>
                </a:ln>
              </p:spPr>
              <p:txBody>
                <a:bodyPr rtlCol="0" anchor="ctr"/>
                <a:lstStyle/>
                <a:p>
                  <a:endParaRPr lang="en-GB" dirty="0"/>
                </a:p>
              </p:txBody>
            </p:sp>
          </p:grpSp>
          <p:sp>
            <p:nvSpPr>
              <p:cNvPr id="355" name="Freihandform: Form 753">
                <a:extLst>
                  <a:ext uri="{FF2B5EF4-FFF2-40B4-BE49-F238E27FC236}">
                    <a16:creationId xmlns:a16="http://schemas.microsoft.com/office/drawing/2014/main" id="{6F89D6C8-8C35-4638-80F5-AA4ED5B14758}"/>
                  </a:ext>
                </a:extLst>
              </p:cNvPr>
              <p:cNvSpPr/>
              <p:nvPr/>
            </p:nvSpPr>
            <p:spPr>
              <a:xfrm>
                <a:off x="5548034" y="2745820"/>
                <a:ext cx="39885" cy="39885"/>
              </a:xfrm>
              <a:custGeom>
                <a:avLst/>
                <a:gdLst>
                  <a:gd name="connsiteX0" fmla="*/ 19943 w 39885"/>
                  <a:gd name="connsiteY0" fmla="*/ 39885 h 39885"/>
                  <a:gd name="connsiteX1" fmla="*/ 0 w 39885"/>
                  <a:gd name="connsiteY1" fmla="*/ 19943 h 39885"/>
                  <a:gd name="connsiteX2" fmla="*/ 19943 w 39885"/>
                  <a:gd name="connsiteY2" fmla="*/ 0 h 39885"/>
                  <a:gd name="connsiteX3" fmla="*/ 39885 w 39885"/>
                  <a:gd name="connsiteY3" fmla="*/ 19943 h 39885"/>
                  <a:gd name="connsiteX4" fmla="*/ 19943 w 39885"/>
                  <a:gd name="connsiteY4" fmla="*/ 39885 h 39885"/>
                  <a:gd name="connsiteX5" fmla="*/ 19943 w 39885"/>
                  <a:gd name="connsiteY5" fmla="*/ 13046 h 39885"/>
                  <a:gd name="connsiteX6" fmla="*/ 13046 w 39885"/>
                  <a:gd name="connsiteY6" fmla="*/ 19943 h 39885"/>
                  <a:gd name="connsiteX7" fmla="*/ 19943 w 39885"/>
                  <a:gd name="connsiteY7" fmla="*/ 26839 h 39885"/>
                  <a:gd name="connsiteX8" fmla="*/ 26839 w 39885"/>
                  <a:gd name="connsiteY8" fmla="*/ 19943 h 39885"/>
                  <a:gd name="connsiteX9" fmla="*/ 19943 w 39885"/>
                  <a:gd name="connsiteY9" fmla="*/ 13046 h 39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885" h="39885">
                    <a:moveTo>
                      <a:pt x="19943" y="39885"/>
                    </a:moveTo>
                    <a:cubicBezTo>
                      <a:pt x="8937" y="39885"/>
                      <a:pt x="0" y="30949"/>
                      <a:pt x="0" y="19943"/>
                    </a:cubicBezTo>
                    <a:cubicBezTo>
                      <a:pt x="0" y="8937"/>
                      <a:pt x="8966" y="0"/>
                      <a:pt x="19943" y="0"/>
                    </a:cubicBezTo>
                    <a:cubicBezTo>
                      <a:pt x="30949" y="0"/>
                      <a:pt x="39885" y="8966"/>
                      <a:pt x="39885" y="19943"/>
                    </a:cubicBezTo>
                    <a:cubicBezTo>
                      <a:pt x="39885" y="30949"/>
                      <a:pt x="30949" y="39885"/>
                      <a:pt x="19943" y="39885"/>
                    </a:cubicBezTo>
                    <a:close/>
                    <a:moveTo>
                      <a:pt x="19943" y="13046"/>
                    </a:moveTo>
                    <a:cubicBezTo>
                      <a:pt x="16121" y="13046"/>
                      <a:pt x="13046" y="16150"/>
                      <a:pt x="13046" y="19943"/>
                    </a:cubicBezTo>
                    <a:cubicBezTo>
                      <a:pt x="13046" y="23736"/>
                      <a:pt x="16150" y="26839"/>
                      <a:pt x="19943" y="26839"/>
                    </a:cubicBezTo>
                    <a:cubicBezTo>
                      <a:pt x="23736" y="26839"/>
                      <a:pt x="26839" y="23736"/>
                      <a:pt x="26839" y="19943"/>
                    </a:cubicBezTo>
                    <a:cubicBezTo>
                      <a:pt x="26839" y="16121"/>
                      <a:pt x="23736" y="13046"/>
                      <a:pt x="19943" y="13046"/>
                    </a:cubicBezTo>
                    <a:close/>
                  </a:path>
                </a:pathLst>
              </a:custGeom>
              <a:solidFill>
                <a:schemeClr val="accent1"/>
              </a:solidFill>
              <a:ln w="2873" cap="flat">
                <a:noFill/>
                <a:prstDash val="solid"/>
                <a:miter/>
              </a:ln>
            </p:spPr>
            <p:txBody>
              <a:bodyPr rtlCol="0" anchor="ctr"/>
              <a:lstStyle/>
              <a:p>
                <a:endParaRPr lang="en-GB" dirty="0"/>
              </a:p>
            </p:txBody>
          </p:sp>
        </p:grpSp>
        <p:grpSp>
          <p:nvGrpSpPr>
            <p:cNvPr id="337" name="Grafik 167">
              <a:extLst>
                <a:ext uri="{FF2B5EF4-FFF2-40B4-BE49-F238E27FC236}">
                  <a16:creationId xmlns:a16="http://schemas.microsoft.com/office/drawing/2014/main" id="{5F3181E9-DC85-41FF-96D6-94BA63FCA7DC}"/>
                </a:ext>
              </a:extLst>
            </p:cNvPr>
            <p:cNvGrpSpPr/>
            <p:nvPr/>
          </p:nvGrpSpPr>
          <p:grpSpPr>
            <a:xfrm>
              <a:off x="6010079" y="1585984"/>
              <a:ext cx="491820" cy="332319"/>
              <a:chOff x="5327227" y="2458461"/>
              <a:chExt cx="482906" cy="326296"/>
            </a:xfrm>
            <a:solidFill>
              <a:schemeClr val="tx2"/>
            </a:solidFill>
          </p:grpSpPr>
          <p:sp>
            <p:nvSpPr>
              <p:cNvPr id="338" name="Freihandform: Form 755">
                <a:extLst>
                  <a:ext uri="{FF2B5EF4-FFF2-40B4-BE49-F238E27FC236}">
                    <a16:creationId xmlns:a16="http://schemas.microsoft.com/office/drawing/2014/main" id="{0E43CD5B-8852-4B49-8DA1-5971370667E6}"/>
                  </a:ext>
                </a:extLst>
              </p:cNvPr>
              <p:cNvSpPr/>
              <p:nvPr/>
            </p:nvSpPr>
            <p:spPr>
              <a:xfrm>
                <a:off x="5327227" y="2504266"/>
                <a:ext cx="130518" cy="280491"/>
              </a:xfrm>
              <a:custGeom>
                <a:avLst/>
                <a:gdLst>
                  <a:gd name="connsiteX0" fmla="*/ 130518 w 130518"/>
                  <a:gd name="connsiteY0" fmla="*/ 280491 h 280491"/>
                  <a:gd name="connsiteX1" fmla="*/ 0 w 130518"/>
                  <a:gd name="connsiteY1" fmla="*/ 280491 h 280491"/>
                  <a:gd name="connsiteX2" fmla="*/ 0 w 130518"/>
                  <a:gd name="connsiteY2" fmla="*/ 0 h 280491"/>
                  <a:gd name="connsiteX3" fmla="*/ 26092 w 130518"/>
                  <a:gd name="connsiteY3" fmla="*/ 0 h 280491"/>
                  <a:gd name="connsiteX4" fmla="*/ 26092 w 130518"/>
                  <a:gd name="connsiteY4" fmla="*/ 13046 h 280491"/>
                  <a:gd name="connsiteX5" fmla="*/ 13046 w 130518"/>
                  <a:gd name="connsiteY5" fmla="*/ 13046 h 280491"/>
                  <a:gd name="connsiteX6" fmla="*/ 13046 w 130518"/>
                  <a:gd name="connsiteY6" fmla="*/ 267416 h 280491"/>
                  <a:gd name="connsiteX7" fmla="*/ 130518 w 130518"/>
                  <a:gd name="connsiteY7" fmla="*/ 267416 h 28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518" h="280491">
                    <a:moveTo>
                      <a:pt x="130518" y="280491"/>
                    </a:moveTo>
                    <a:lnTo>
                      <a:pt x="0" y="280491"/>
                    </a:lnTo>
                    <a:lnTo>
                      <a:pt x="0" y="0"/>
                    </a:lnTo>
                    <a:lnTo>
                      <a:pt x="26092" y="0"/>
                    </a:lnTo>
                    <a:lnTo>
                      <a:pt x="26092" y="13046"/>
                    </a:lnTo>
                    <a:lnTo>
                      <a:pt x="13046" y="13046"/>
                    </a:lnTo>
                    <a:lnTo>
                      <a:pt x="13046" y="267416"/>
                    </a:lnTo>
                    <a:lnTo>
                      <a:pt x="130518" y="267416"/>
                    </a:lnTo>
                    <a:close/>
                  </a:path>
                </a:pathLst>
              </a:custGeom>
              <a:grpFill/>
              <a:ln w="2873" cap="flat">
                <a:noFill/>
                <a:prstDash val="solid"/>
                <a:miter/>
              </a:ln>
            </p:spPr>
            <p:txBody>
              <a:bodyPr rtlCol="0" anchor="ctr"/>
              <a:lstStyle/>
              <a:p>
                <a:endParaRPr lang="en-GB" dirty="0"/>
              </a:p>
            </p:txBody>
          </p:sp>
          <p:sp>
            <p:nvSpPr>
              <p:cNvPr id="339" name="Freihandform: Form 756">
                <a:extLst>
                  <a:ext uri="{FF2B5EF4-FFF2-40B4-BE49-F238E27FC236}">
                    <a16:creationId xmlns:a16="http://schemas.microsoft.com/office/drawing/2014/main" id="{E32E2140-2D08-48FD-8ED7-33BA4E86F795}"/>
                  </a:ext>
                </a:extLst>
              </p:cNvPr>
              <p:cNvSpPr/>
              <p:nvPr/>
            </p:nvSpPr>
            <p:spPr>
              <a:xfrm>
                <a:off x="5679616" y="2504266"/>
                <a:ext cx="130518" cy="280491"/>
              </a:xfrm>
              <a:custGeom>
                <a:avLst/>
                <a:gdLst>
                  <a:gd name="connsiteX0" fmla="*/ 130518 w 130518"/>
                  <a:gd name="connsiteY0" fmla="*/ 280491 h 280491"/>
                  <a:gd name="connsiteX1" fmla="*/ 0 w 130518"/>
                  <a:gd name="connsiteY1" fmla="*/ 280491 h 280491"/>
                  <a:gd name="connsiteX2" fmla="*/ 0 w 130518"/>
                  <a:gd name="connsiteY2" fmla="*/ 267416 h 280491"/>
                  <a:gd name="connsiteX3" fmla="*/ 117472 w 130518"/>
                  <a:gd name="connsiteY3" fmla="*/ 267416 h 280491"/>
                  <a:gd name="connsiteX4" fmla="*/ 117472 w 130518"/>
                  <a:gd name="connsiteY4" fmla="*/ 13046 h 280491"/>
                  <a:gd name="connsiteX5" fmla="*/ 104426 w 130518"/>
                  <a:gd name="connsiteY5" fmla="*/ 13046 h 280491"/>
                  <a:gd name="connsiteX6" fmla="*/ 104426 w 130518"/>
                  <a:gd name="connsiteY6" fmla="*/ 0 h 280491"/>
                  <a:gd name="connsiteX7" fmla="*/ 130518 w 130518"/>
                  <a:gd name="connsiteY7" fmla="*/ 0 h 28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518" h="280491">
                    <a:moveTo>
                      <a:pt x="130518" y="280491"/>
                    </a:moveTo>
                    <a:lnTo>
                      <a:pt x="0" y="280491"/>
                    </a:lnTo>
                    <a:lnTo>
                      <a:pt x="0" y="267416"/>
                    </a:lnTo>
                    <a:lnTo>
                      <a:pt x="117472" y="267416"/>
                    </a:lnTo>
                    <a:lnTo>
                      <a:pt x="117472" y="13046"/>
                    </a:lnTo>
                    <a:lnTo>
                      <a:pt x="104426" y="13046"/>
                    </a:lnTo>
                    <a:lnTo>
                      <a:pt x="104426" y="0"/>
                    </a:lnTo>
                    <a:lnTo>
                      <a:pt x="130518" y="0"/>
                    </a:lnTo>
                    <a:close/>
                  </a:path>
                </a:pathLst>
              </a:custGeom>
              <a:grpFill/>
              <a:ln w="2873" cap="flat">
                <a:noFill/>
                <a:prstDash val="solid"/>
                <a:miter/>
              </a:ln>
            </p:spPr>
            <p:txBody>
              <a:bodyPr rtlCol="0" anchor="ctr"/>
              <a:lstStyle/>
              <a:p>
                <a:endParaRPr lang="en-GB" dirty="0"/>
              </a:p>
            </p:txBody>
          </p:sp>
          <p:sp>
            <p:nvSpPr>
              <p:cNvPr id="340" name="Freihandform: Form 757">
                <a:extLst>
                  <a:ext uri="{FF2B5EF4-FFF2-40B4-BE49-F238E27FC236}">
                    <a16:creationId xmlns:a16="http://schemas.microsoft.com/office/drawing/2014/main" id="{B329EF2A-1A11-4D77-BDD5-F48BFD23456D}"/>
                  </a:ext>
                </a:extLst>
              </p:cNvPr>
              <p:cNvSpPr/>
              <p:nvPr/>
            </p:nvSpPr>
            <p:spPr>
              <a:xfrm>
                <a:off x="5359871" y="2458461"/>
                <a:ext cx="417647" cy="293652"/>
              </a:xfrm>
              <a:custGeom>
                <a:avLst/>
                <a:gdLst>
                  <a:gd name="connsiteX0" fmla="*/ 417648 w 417647"/>
                  <a:gd name="connsiteY0" fmla="*/ 293652 h 293652"/>
                  <a:gd name="connsiteX1" fmla="*/ 319744 w 417647"/>
                  <a:gd name="connsiteY1" fmla="*/ 293652 h 293652"/>
                  <a:gd name="connsiteX2" fmla="*/ 319744 w 417647"/>
                  <a:gd name="connsiteY2" fmla="*/ 280606 h 293652"/>
                  <a:gd name="connsiteX3" fmla="*/ 404602 w 417647"/>
                  <a:gd name="connsiteY3" fmla="*/ 280606 h 293652"/>
                  <a:gd name="connsiteX4" fmla="*/ 404602 w 417647"/>
                  <a:gd name="connsiteY4" fmla="*/ 13046 h 293652"/>
                  <a:gd name="connsiteX5" fmla="*/ 13046 w 417647"/>
                  <a:gd name="connsiteY5" fmla="*/ 13046 h 293652"/>
                  <a:gd name="connsiteX6" fmla="*/ 13046 w 417647"/>
                  <a:gd name="connsiteY6" fmla="*/ 280606 h 293652"/>
                  <a:gd name="connsiteX7" fmla="*/ 97875 w 417647"/>
                  <a:gd name="connsiteY7" fmla="*/ 280606 h 293652"/>
                  <a:gd name="connsiteX8" fmla="*/ 97875 w 417647"/>
                  <a:gd name="connsiteY8" fmla="*/ 293652 h 293652"/>
                  <a:gd name="connsiteX9" fmla="*/ 0 w 417647"/>
                  <a:gd name="connsiteY9" fmla="*/ 293652 h 293652"/>
                  <a:gd name="connsiteX10" fmla="*/ 0 w 417647"/>
                  <a:gd name="connsiteY10" fmla="*/ 0 h 293652"/>
                  <a:gd name="connsiteX11" fmla="*/ 417648 w 417647"/>
                  <a:gd name="connsiteY11" fmla="*/ 0 h 293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7647" h="293652">
                    <a:moveTo>
                      <a:pt x="417648" y="293652"/>
                    </a:moveTo>
                    <a:lnTo>
                      <a:pt x="319744" y="293652"/>
                    </a:lnTo>
                    <a:lnTo>
                      <a:pt x="319744" y="280606"/>
                    </a:lnTo>
                    <a:lnTo>
                      <a:pt x="404602" y="280606"/>
                    </a:lnTo>
                    <a:lnTo>
                      <a:pt x="404602" y="13046"/>
                    </a:lnTo>
                    <a:lnTo>
                      <a:pt x="13046" y="13046"/>
                    </a:lnTo>
                    <a:lnTo>
                      <a:pt x="13046" y="280606"/>
                    </a:lnTo>
                    <a:lnTo>
                      <a:pt x="97875" y="280606"/>
                    </a:lnTo>
                    <a:lnTo>
                      <a:pt x="97875" y="293652"/>
                    </a:lnTo>
                    <a:lnTo>
                      <a:pt x="0" y="293652"/>
                    </a:lnTo>
                    <a:lnTo>
                      <a:pt x="0" y="0"/>
                    </a:lnTo>
                    <a:lnTo>
                      <a:pt x="417648" y="0"/>
                    </a:lnTo>
                    <a:close/>
                  </a:path>
                </a:pathLst>
              </a:custGeom>
              <a:grpFill/>
              <a:ln w="2873" cap="flat">
                <a:noFill/>
                <a:prstDash val="solid"/>
                <a:miter/>
              </a:ln>
            </p:spPr>
            <p:txBody>
              <a:bodyPr rtlCol="0" anchor="ctr"/>
              <a:lstStyle/>
              <a:p>
                <a:endParaRPr lang="en-GB" dirty="0"/>
              </a:p>
            </p:txBody>
          </p:sp>
          <p:sp>
            <p:nvSpPr>
              <p:cNvPr id="341" name="Freihandform: Form 758">
                <a:extLst>
                  <a:ext uri="{FF2B5EF4-FFF2-40B4-BE49-F238E27FC236}">
                    <a16:creationId xmlns:a16="http://schemas.microsoft.com/office/drawing/2014/main" id="{A51E71A7-6066-41C7-9DF0-9B57DB048605}"/>
                  </a:ext>
                </a:extLst>
              </p:cNvPr>
              <p:cNvSpPr/>
              <p:nvPr/>
            </p:nvSpPr>
            <p:spPr>
              <a:xfrm>
                <a:off x="5562172" y="2465300"/>
                <a:ext cx="13046" cy="162817"/>
              </a:xfrm>
              <a:custGeom>
                <a:avLst/>
                <a:gdLst>
                  <a:gd name="connsiteX0" fmla="*/ 0 w 13046"/>
                  <a:gd name="connsiteY0" fmla="*/ 0 h 162817"/>
                  <a:gd name="connsiteX1" fmla="*/ 13046 w 13046"/>
                  <a:gd name="connsiteY1" fmla="*/ 0 h 162817"/>
                  <a:gd name="connsiteX2" fmla="*/ 13046 w 13046"/>
                  <a:gd name="connsiteY2" fmla="*/ 162818 h 162817"/>
                  <a:gd name="connsiteX3" fmla="*/ 0 w 13046"/>
                  <a:gd name="connsiteY3" fmla="*/ 162818 h 162817"/>
                </a:gdLst>
                <a:ahLst/>
                <a:cxnLst>
                  <a:cxn ang="0">
                    <a:pos x="connsiteX0" y="connsiteY0"/>
                  </a:cxn>
                  <a:cxn ang="0">
                    <a:pos x="connsiteX1" y="connsiteY1"/>
                  </a:cxn>
                  <a:cxn ang="0">
                    <a:pos x="connsiteX2" y="connsiteY2"/>
                  </a:cxn>
                  <a:cxn ang="0">
                    <a:pos x="connsiteX3" y="connsiteY3"/>
                  </a:cxn>
                </a:cxnLst>
                <a:rect l="l" t="t" r="r" b="b"/>
                <a:pathLst>
                  <a:path w="13046" h="162817">
                    <a:moveTo>
                      <a:pt x="0" y="0"/>
                    </a:moveTo>
                    <a:lnTo>
                      <a:pt x="13046" y="0"/>
                    </a:lnTo>
                    <a:lnTo>
                      <a:pt x="13046" y="162818"/>
                    </a:lnTo>
                    <a:lnTo>
                      <a:pt x="0" y="162818"/>
                    </a:lnTo>
                    <a:close/>
                  </a:path>
                </a:pathLst>
              </a:custGeom>
              <a:grpFill/>
              <a:ln w="2873" cap="flat">
                <a:noFill/>
                <a:prstDash val="solid"/>
                <a:miter/>
              </a:ln>
            </p:spPr>
            <p:txBody>
              <a:bodyPr rtlCol="0" anchor="ctr"/>
              <a:lstStyle/>
              <a:p>
                <a:endParaRPr lang="en-GB" dirty="0"/>
              </a:p>
            </p:txBody>
          </p:sp>
          <p:grpSp>
            <p:nvGrpSpPr>
              <p:cNvPr id="342" name="Grafik 167">
                <a:extLst>
                  <a:ext uri="{FF2B5EF4-FFF2-40B4-BE49-F238E27FC236}">
                    <a16:creationId xmlns:a16="http://schemas.microsoft.com/office/drawing/2014/main" id="{E7BC019F-FD26-4E9F-91A1-F8F6ED36D0DD}"/>
                  </a:ext>
                </a:extLst>
              </p:cNvPr>
              <p:cNvGrpSpPr/>
              <p:nvPr/>
            </p:nvGrpSpPr>
            <p:grpSpPr>
              <a:xfrm>
                <a:off x="5399010" y="2510932"/>
                <a:ext cx="137041" cy="182530"/>
                <a:chOff x="5399010" y="2510932"/>
                <a:chExt cx="137041" cy="182530"/>
              </a:xfrm>
              <a:grpFill/>
            </p:grpSpPr>
            <p:sp>
              <p:nvSpPr>
                <p:cNvPr id="349" name="Freihandform: Form 760">
                  <a:extLst>
                    <a:ext uri="{FF2B5EF4-FFF2-40B4-BE49-F238E27FC236}">
                      <a16:creationId xmlns:a16="http://schemas.microsoft.com/office/drawing/2014/main" id="{FFDE9780-212C-4E8A-A131-3A2CF41B1211}"/>
                    </a:ext>
                  </a:extLst>
                </p:cNvPr>
                <p:cNvSpPr/>
                <p:nvPr/>
              </p:nvSpPr>
              <p:spPr>
                <a:xfrm>
                  <a:off x="5425131" y="2510932"/>
                  <a:ext cx="84828" cy="13046"/>
                </a:xfrm>
                <a:custGeom>
                  <a:avLst/>
                  <a:gdLst>
                    <a:gd name="connsiteX0" fmla="*/ 0 w 84828"/>
                    <a:gd name="connsiteY0" fmla="*/ 0 h 13046"/>
                    <a:gd name="connsiteX1" fmla="*/ 84828 w 84828"/>
                    <a:gd name="connsiteY1" fmla="*/ 0 h 13046"/>
                    <a:gd name="connsiteX2" fmla="*/ 84828 w 84828"/>
                    <a:gd name="connsiteY2" fmla="*/ 13046 h 13046"/>
                    <a:gd name="connsiteX3" fmla="*/ 0 w 84828"/>
                    <a:gd name="connsiteY3" fmla="*/ 13046 h 13046"/>
                  </a:gdLst>
                  <a:ahLst/>
                  <a:cxnLst>
                    <a:cxn ang="0">
                      <a:pos x="connsiteX0" y="connsiteY0"/>
                    </a:cxn>
                    <a:cxn ang="0">
                      <a:pos x="connsiteX1" y="connsiteY1"/>
                    </a:cxn>
                    <a:cxn ang="0">
                      <a:pos x="connsiteX2" y="connsiteY2"/>
                    </a:cxn>
                    <a:cxn ang="0">
                      <a:pos x="connsiteX3" y="connsiteY3"/>
                    </a:cxn>
                  </a:cxnLst>
                  <a:rect l="l" t="t" r="r" b="b"/>
                  <a:pathLst>
                    <a:path w="84828" h="13046">
                      <a:moveTo>
                        <a:pt x="0" y="0"/>
                      </a:moveTo>
                      <a:lnTo>
                        <a:pt x="84828" y="0"/>
                      </a:lnTo>
                      <a:lnTo>
                        <a:pt x="84828" y="13046"/>
                      </a:lnTo>
                      <a:lnTo>
                        <a:pt x="0" y="13046"/>
                      </a:lnTo>
                      <a:close/>
                    </a:path>
                  </a:pathLst>
                </a:custGeom>
                <a:grpFill/>
                <a:ln w="2873" cap="flat">
                  <a:noFill/>
                  <a:prstDash val="solid"/>
                  <a:miter/>
                </a:ln>
              </p:spPr>
              <p:txBody>
                <a:bodyPr rtlCol="0" anchor="ctr"/>
                <a:lstStyle/>
                <a:p>
                  <a:endParaRPr lang="en-GB" dirty="0"/>
                </a:p>
              </p:txBody>
            </p:sp>
            <p:grpSp>
              <p:nvGrpSpPr>
                <p:cNvPr id="350" name="Grafik 167">
                  <a:extLst>
                    <a:ext uri="{FF2B5EF4-FFF2-40B4-BE49-F238E27FC236}">
                      <a16:creationId xmlns:a16="http://schemas.microsoft.com/office/drawing/2014/main" id="{F80B0890-6257-4AA5-8BE2-02E4A3B6A8EC}"/>
                    </a:ext>
                  </a:extLst>
                </p:cNvPr>
                <p:cNvGrpSpPr/>
                <p:nvPr/>
              </p:nvGrpSpPr>
              <p:grpSpPr>
                <a:xfrm>
                  <a:off x="5399010" y="2576134"/>
                  <a:ext cx="137041" cy="117328"/>
                  <a:chOff x="5399010" y="2576134"/>
                  <a:chExt cx="137041" cy="117328"/>
                </a:xfrm>
                <a:grpFill/>
              </p:grpSpPr>
              <p:sp>
                <p:nvSpPr>
                  <p:cNvPr id="351" name="Freihandform: Form 762">
                    <a:extLst>
                      <a:ext uri="{FF2B5EF4-FFF2-40B4-BE49-F238E27FC236}">
                        <a16:creationId xmlns:a16="http://schemas.microsoft.com/office/drawing/2014/main" id="{92433D52-A311-4CD8-B1DC-A2945CA44C1E}"/>
                      </a:ext>
                    </a:extLst>
                  </p:cNvPr>
                  <p:cNvSpPr/>
                  <p:nvPr/>
                </p:nvSpPr>
                <p:spPr>
                  <a:xfrm>
                    <a:off x="5399010" y="2576134"/>
                    <a:ext cx="137041" cy="13046"/>
                  </a:xfrm>
                  <a:custGeom>
                    <a:avLst/>
                    <a:gdLst>
                      <a:gd name="connsiteX0" fmla="*/ 0 w 137041"/>
                      <a:gd name="connsiteY0" fmla="*/ 0 h 13046"/>
                      <a:gd name="connsiteX1" fmla="*/ 137042 w 137041"/>
                      <a:gd name="connsiteY1" fmla="*/ 0 h 13046"/>
                      <a:gd name="connsiteX2" fmla="*/ 137042 w 137041"/>
                      <a:gd name="connsiteY2" fmla="*/ 13046 h 13046"/>
                      <a:gd name="connsiteX3" fmla="*/ 0 w 137041"/>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7041" h="13046">
                        <a:moveTo>
                          <a:pt x="0" y="0"/>
                        </a:moveTo>
                        <a:lnTo>
                          <a:pt x="137042" y="0"/>
                        </a:lnTo>
                        <a:lnTo>
                          <a:pt x="137042" y="13046"/>
                        </a:lnTo>
                        <a:lnTo>
                          <a:pt x="0" y="13046"/>
                        </a:lnTo>
                        <a:close/>
                      </a:path>
                    </a:pathLst>
                  </a:custGeom>
                  <a:grpFill/>
                  <a:ln w="2873" cap="flat">
                    <a:noFill/>
                    <a:prstDash val="solid"/>
                    <a:miter/>
                  </a:ln>
                </p:spPr>
                <p:txBody>
                  <a:bodyPr rtlCol="0" anchor="ctr"/>
                  <a:lstStyle/>
                  <a:p>
                    <a:endParaRPr lang="en-GB" dirty="0"/>
                  </a:p>
                </p:txBody>
              </p:sp>
              <p:sp>
                <p:nvSpPr>
                  <p:cNvPr id="352" name="Freihandform: Form 763">
                    <a:extLst>
                      <a:ext uri="{FF2B5EF4-FFF2-40B4-BE49-F238E27FC236}">
                        <a16:creationId xmlns:a16="http://schemas.microsoft.com/office/drawing/2014/main" id="{78DF042F-319E-4036-ABBF-4749BB142A98}"/>
                      </a:ext>
                    </a:extLst>
                  </p:cNvPr>
                  <p:cNvSpPr/>
                  <p:nvPr/>
                </p:nvSpPr>
                <p:spPr>
                  <a:xfrm>
                    <a:off x="5399010" y="2628261"/>
                    <a:ext cx="137041" cy="13046"/>
                  </a:xfrm>
                  <a:custGeom>
                    <a:avLst/>
                    <a:gdLst>
                      <a:gd name="connsiteX0" fmla="*/ 0 w 137041"/>
                      <a:gd name="connsiteY0" fmla="*/ 0 h 13046"/>
                      <a:gd name="connsiteX1" fmla="*/ 137042 w 137041"/>
                      <a:gd name="connsiteY1" fmla="*/ 0 h 13046"/>
                      <a:gd name="connsiteX2" fmla="*/ 137042 w 137041"/>
                      <a:gd name="connsiteY2" fmla="*/ 13046 h 13046"/>
                      <a:gd name="connsiteX3" fmla="*/ 0 w 137041"/>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7041" h="13046">
                        <a:moveTo>
                          <a:pt x="0" y="0"/>
                        </a:moveTo>
                        <a:lnTo>
                          <a:pt x="137042" y="0"/>
                        </a:lnTo>
                        <a:lnTo>
                          <a:pt x="137042" y="13046"/>
                        </a:lnTo>
                        <a:lnTo>
                          <a:pt x="0" y="13046"/>
                        </a:lnTo>
                        <a:close/>
                      </a:path>
                    </a:pathLst>
                  </a:custGeom>
                  <a:grpFill/>
                  <a:ln w="2873" cap="flat">
                    <a:noFill/>
                    <a:prstDash val="solid"/>
                    <a:miter/>
                  </a:ln>
                </p:spPr>
                <p:txBody>
                  <a:bodyPr rtlCol="0" anchor="ctr"/>
                  <a:lstStyle/>
                  <a:p>
                    <a:endParaRPr lang="en-GB" dirty="0"/>
                  </a:p>
                </p:txBody>
              </p:sp>
              <p:sp>
                <p:nvSpPr>
                  <p:cNvPr id="353" name="Freihandform: Form 764">
                    <a:extLst>
                      <a:ext uri="{FF2B5EF4-FFF2-40B4-BE49-F238E27FC236}">
                        <a16:creationId xmlns:a16="http://schemas.microsoft.com/office/drawing/2014/main" id="{6C078AF4-1FCB-41DA-900A-4BBB3405CF8B}"/>
                      </a:ext>
                    </a:extLst>
                  </p:cNvPr>
                  <p:cNvSpPr/>
                  <p:nvPr/>
                </p:nvSpPr>
                <p:spPr>
                  <a:xfrm>
                    <a:off x="5399010" y="2680417"/>
                    <a:ext cx="65259" cy="13046"/>
                  </a:xfrm>
                  <a:custGeom>
                    <a:avLst/>
                    <a:gdLst>
                      <a:gd name="connsiteX0" fmla="*/ 0 w 65259"/>
                      <a:gd name="connsiteY0" fmla="*/ 0 h 13046"/>
                      <a:gd name="connsiteX1" fmla="*/ 65259 w 65259"/>
                      <a:gd name="connsiteY1" fmla="*/ 0 h 13046"/>
                      <a:gd name="connsiteX2" fmla="*/ 65259 w 65259"/>
                      <a:gd name="connsiteY2" fmla="*/ 13046 h 13046"/>
                      <a:gd name="connsiteX3" fmla="*/ 0 w 65259"/>
                      <a:gd name="connsiteY3" fmla="*/ 13046 h 13046"/>
                    </a:gdLst>
                    <a:ahLst/>
                    <a:cxnLst>
                      <a:cxn ang="0">
                        <a:pos x="connsiteX0" y="connsiteY0"/>
                      </a:cxn>
                      <a:cxn ang="0">
                        <a:pos x="connsiteX1" y="connsiteY1"/>
                      </a:cxn>
                      <a:cxn ang="0">
                        <a:pos x="connsiteX2" y="connsiteY2"/>
                      </a:cxn>
                      <a:cxn ang="0">
                        <a:pos x="connsiteX3" y="connsiteY3"/>
                      </a:cxn>
                    </a:cxnLst>
                    <a:rect l="l" t="t" r="r" b="b"/>
                    <a:pathLst>
                      <a:path w="65259" h="13046">
                        <a:moveTo>
                          <a:pt x="0" y="0"/>
                        </a:moveTo>
                        <a:lnTo>
                          <a:pt x="65259" y="0"/>
                        </a:lnTo>
                        <a:lnTo>
                          <a:pt x="65259" y="13046"/>
                        </a:lnTo>
                        <a:lnTo>
                          <a:pt x="0" y="13046"/>
                        </a:lnTo>
                        <a:close/>
                      </a:path>
                    </a:pathLst>
                  </a:custGeom>
                  <a:grpFill/>
                  <a:ln w="2873" cap="flat">
                    <a:noFill/>
                    <a:prstDash val="solid"/>
                    <a:miter/>
                  </a:ln>
                </p:spPr>
                <p:txBody>
                  <a:bodyPr rtlCol="0" anchor="ctr"/>
                  <a:lstStyle/>
                  <a:p>
                    <a:endParaRPr lang="en-GB" dirty="0"/>
                  </a:p>
                </p:txBody>
              </p:sp>
            </p:grpSp>
          </p:grpSp>
          <p:grpSp>
            <p:nvGrpSpPr>
              <p:cNvPr id="343" name="Grafik 167">
                <a:extLst>
                  <a:ext uri="{FF2B5EF4-FFF2-40B4-BE49-F238E27FC236}">
                    <a16:creationId xmlns:a16="http://schemas.microsoft.com/office/drawing/2014/main" id="{745DCD25-7F11-43AF-8126-9979C62051C9}"/>
                  </a:ext>
                </a:extLst>
              </p:cNvPr>
              <p:cNvGrpSpPr/>
              <p:nvPr/>
            </p:nvGrpSpPr>
            <p:grpSpPr>
              <a:xfrm>
                <a:off x="5601310" y="2510932"/>
                <a:ext cx="137041" cy="182530"/>
                <a:chOff x="5601310" y="2510932"/>
                <a:chExt cx="137041" cy="182530"/>
              </a:xfrm>
              <a:grpFill/>
            </p:grpSpPr>
            <p:sp>
              <p:nvSpPr>
                <p:cNvPr id="344" name="Freihandform: Form 766">
                  <a:extLst>
                    <a:ext uri="{FF2B5EF4-FFF2-40B4-BE49-F238E27FC236}">
                      <a16:creationId xmlns:a16="http://schemas.microsoft.com/office/drawing/2014/main" id="{AF36A66F-8A1C-4D6F-B504-418309D02A5E}"/>
                    </a:ext>
                  </a:extLst>
                </p:cNvPr>
                <p:cNvSpPr/>
                <p:nvPr/>
              </p:nvSpPr>
              <p:spPr>
                <a:xfrm>
                  <a:off x="5627431" y="2510932"/>
                  <a:ext cx="84828" cy="13046"/>
                </a:xfrm>
                <a:custGeom>
                  <a:avLst/>
                  <a:gdLst>
                    <a:gd name="connsiteX0" fmla="*/ 0 w 84828"/>
                    <a:gd name="connsiteY0" fmla="*/ 0 h 13046"/>
                    <a:gd name="connsiteX1" fmla="*/ 84828 w 84828"/>
                    <a:gd name="connsiteY1" fmla="*/ 0 h 13046"/>
                    <a:gd name="connsiteX2" fmla="*/ 84828 w 84828"/>
                    <a:gd name="connsiteY2" fmla="*/ 13046 h 13046"/>
                    <a:gd name="connsiteX3" fmla="*/ 0 w 84828"/>
                    <a:gd name="connsiteY3" fmla="*/ 13046 h 13046"/>
                  </a:gdLst>
                  <a:ahLst/>
                  <a:cxnLst>
                    <a:cxn ang="0">
                      <a:pos x="connsiteX0" y="connsiteY0"/>
                    </a:cxn>
                    <a:cxn ang="0">
                      <a:pos x="connsiteX1" y="connsiteY1"/>
                    </a:cxn>
                    <a:cxn ang="0">
                      <a:pos x="connsiteX2" y="connsiteY2"/>
                    </a:cxn>
                    <a:cxn ang="0">
                      <a:pos x="connsiteX3" y="connsiteY3"/>
                    </a:cxn>
                  </a:cxnLst>
                  <a:rect l="l" t="t" r="r" b="b"/>
                  <a:pathLst>
                    <a:path w="84828" h="13046">
                      <a:moveTo>
                        <a:pt x="0" y="0"/>
                      </a:moveTo>
                      <a:lnTo>
                        <a:pt x="84828" y="0"/>
                      </a:lnTo>
                      <a:lnTo>
                        <a:pt x="84828" y="13046"/>
                      </a:lnTo>
                      <a:lnTo>
                        <a:pt x="0" y="13046"/>
                      </a:lnTo>
                      <a:close/>
                    </a:path>
                  </a:pathLst>
                </a:custGeom>
                <a:grpFill/>
                <a:ln w="2873" cap="flat">
                  <a:noFill/>
                  <a:prstDash val="solid"/>
                  <a:miter/>
                </a:ln>
              </p:spPr>
              <p:txBody>
                <a:bodyPr rtlCol="0" anchor="ctr"/>
                <a:lstStyle/>
                <a:p>
                  <a:endParaRPr lang="en-GB" dirty="0"/>
                </a:p>
              </p:txBody>
            </p:sp>
            <p:grpSp>
              <p:nvGrpSpPr>
                <p:cNvPr id="345" name="Grafik 167">
                  <a:extLst>
                    <a:ext uri="{FF2B5EF4-FFF2-40B4-BE49-F238E27FC236}">
                      <a16:creationId xmlns:a16="http://schemas.microsoft.com/office/drawing/2014/main" id="{9B02C6E9-BB9B-428E-9CCC-0A26A755298C}"/>
                    </a:ext>
                  </a:extLst>
                </p:cNvPr>
                <p:cNvGrpSpPr/>
                <p:nvPr/>
              </p:nvGrpSpPr>
              <p:grpSpPr>
                <a:xfrm>
                  <a:off x="5601310" y="2576134"/>
                  <a:ext cx="137041" cy="117328"/>
                  <a:chOff x="5601310" y="2576134"/>
                  <a:chExt cx="137041" cy="117328"/>
                </a:xfrm>
                <a:grpFill/>
              </p:grpSpPr>
              <p:sp>
                <p:nvSpPr>
                  <p:cNvPr id="346" name="Freihandform: Form 768">
                    <a:extLst>
                      <a:ext uri="{FF2B5EF4-FFF2-40B4-BE49-F238E27FC236}">
                        <a16:creationId xmlns:a16="http://schemas.microsoft.com/office/drawing/2014/main" id="{9A4AE75B-35C0-42AF-981E-CFE8E70C5413}"/>
                      </a:ext>
                    </a:extLst>
                  </p:cNvPr>
                  <p:cNvSpPr/>
                  <p:nvPr/>
                </p:nvSpPr>
                <p:spPr>
                  <a:xfrm>
                    <a:off x="5601310" y="2576134"/>
                    <a:ext cx="137041" cy="13046"/>
                  </a:xfrm>
                  <a:custGeom>
                    <a:avLst/>
                    <a:gdLst>
                      <a:gd name="connsiteX0" fmla="*/ 0 w 137041"/>
                      <a:gd name="connsiteY0" fmla="*/ 0 h 13046"/>
                      <a:gd name="connsiteX1" fmla="*/ 137042 w 137041"/>
                      <a:gd name="connsiteY1" fmla="*/ 0 h 13046"/>
                      <a:gd name="connsiteX2" fmla="*/ 137042 w 137041"/>
                      <a:gd name="connsiteY2" fmla="*/ 13046 h 13046"/>
                      <a:gd name="connsiteX3" fmla="*/ 0 w 137041"/>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7041" h="13046">
                        <a:moveTo>
                          <a:pt x="0" y="0"/>
                        </a:moveTo>
                        <a:lnTo>
                          <a:pt x="137042" y="0"/>
                        </a:lnTo>
                        <a:lnTo>
                          <a:pt x="137042" y="13046"/>
                        </a:lnTo>
                        <a:lnTo>
                          <a:pt x="0" y="13046"/>
                        </a:lnTo>
                        <a:close/>
                      </a:path>
                    </a:pathLst>
                  </a:custGeom>
                  <a:grpFill/>
                  <a:ln w="2873" cap="flat">
                    <a:noFill/>
                    <a:prstDash val="solid"/>
                    <a:miter/>
                  </a:ln>
                </p:spPr>
                <p:txBody>
                  <a:bodyPr rtlCol="0" anchor="ctr"/>
                  <a:lstStyle/>
                  <a:p>
                    <a:endParaRPr lang="en-GB" dirty="0"/>
                  </a:p>
                </p:txBody>
              </p:sp>
              <p:sp>
                <p:nvSpPr>
                  <p:cNvPr id="347" name="Freihandform: Form 769">
                    <a:extLst>
                      <a:ext uri="{FF2B5EF4-FFF2-40B4-BE49-F238E27FC236}">
                        <a16:creationId xmlns:a16="http://schemas.microsoft.com/office/drawing/2014/main" id="{D26011D8-8AFE-476D-BD76-435153A14773}"/>
                      </a:ext>
                    </a:extLst>
                  </p:cNvPr>
                  <p:cNvSpPr/>
                  <p:nvPr/>
                </p:nvSpPr>
                <p:spPr>
                  <a:xfrm>
                    <a:off x="5601310" y="2628261"/>
                    <a:ext cx="137041" cy="13046"/>
                  </a:xfrm>
                  <a:custGeom>
                    <a:avLst/>
                    <a:gdLst>
                      <a:gd name="connsiteX0" fmla="*/ 0 w 137041"/>
                      <a:gd name="connsiteY0" fmla="*/ 0 h 13046"/>
                      <a:gd name="connsiteX1" fmla="*/ 137042 w 137041"/>
                      <a:gd name="connsiteY1" fmla="*/ 0 h 13046"/>
                      <a:gd name="connsiteX2" fmla="*/ 137042 w 137041"/>
                      <a:gd name="connsiteY2" fmla="*/ 13046 h 13046"/>
                      <a:gd name="connsiteX3" fmla="*/ 0 w 137041"/>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7041" h="13046">
                        <a:moveTo>
                          <a:pt x="0" y="0"/>
                        </a:moveTo>
                        <a:lnTo>
                          <a:pt x="137042" y="0"/>
                        </a:lnTo>
                        <a:lnTo>
                          <a:pt x="137042" y="13046"/>
                        </a:lnTo>
                        <a:lnTo>
                          <a:pt x="0" y="13046"/>
                        </a:lnTo>
                        <a:close/>
                      </a:path>
                    </a:pathLst>
                  </a:custGeom>
                  <a:grpFill/>
                  <a:ln w="2873" cap="flat">
                    <a:noFill/>
                    <a:prstDash val="solid"/>
                    <a:miter/>
                  </a:ln>
                </p:spPr>
                <p:txBody>
                  <a:bodyPr rtlCol="0" anchor="ctr"/>
                  <a:lstStyle/>
                  <a:p>
                    <a:endParaRPr lang="en-GB" dirty="0"/>
                  </a:p>
                </p:txBody>
              </p:sp>
              <p:sp>
                <p:nvSpPr>
                  <p:cNvPr id="348" name="Freihandform: Form 770">
                    <a:extLst>
                      <a:ext uri="{FF2B5EF4-FFF2-40B4-BE49-F238E27FC236}">
                        <a16:creationId xmlns:a16="http://schemas.microsoft.com/office/drawing/2014/main" id="{8B1756DE-CB57-48C6-85B5-5B97DB62B593}"/>
                      </a:ext>
                    </a:extLst>
                  </p:cNvPr>
                  <p:cNvSpPr/>
                  <p:nvPr/>
                </p:nvSpPr>
                <p:spPr>
                  <a:xfrm>
                    <a:off x="5673093" y="2680417"/>
                    <a:ext cx="65259" cy="13046"/>
                  </a:xfrm>
                  <a:custGeom>
                    <a:avLst/>
                    <a:gdLst>
                      <a:gd name="connsiteX0" fmla="*/ 0 w 65259"/>
                      <a:gd name="connsiteY0" fmla="*/ 0 h 13046"/>
                      <a:gd name="connsiteX1" fmla="*/ 65259 w 65259"/>
                      <a:gd name="connsiteY1" fmla="*/ 0 h 13046"/>
                      <a:gd name="connsiteX2" fmla="*/ 65259 w 65259"/>
                      <a:gd name="connsiteY2" fmla="*/ 13046 h 13046"/>
                      <a:gd name="connsiteX3" fmla="*/ 0 w 65259"/>
                      <a:gd name="connsiteY3" fmla="*/ 13046 h 13046"/>
                    </a:gdLst>
                    <a:ahLst/>
                    <a:cxnLst>
                      <a:cxn ang="0">
                        <a:pos x="connsiteX0" y="connsiteY0"/>
                      </a:cxn>
                      <a:cxn ang="0">
                        <a:pos x="connsiteX1" y="connsiteY1"/>
                      </a:cxn>
                      <a:cxn ang="0">
                        <a:pos x="connsiteX2" y="connsiteY2"/>
                      </a:cxn>
                      <a:cxn ang="0">
                        <a:pos x="connsiteX3" y="connsiteY3"/>
                      </a:cxn>
                    </a:cxnLst>
                    <a:rect l="l" t="t" r="r" b="b"/>
                    <a:pathLst>
                      <a:path w="65259" h="13046">
                        <a:moveTo>
                          <a:pt x="0" y="0"/>
                        </a:moveTo>
                        <a:lnTo>
                          <a:pt x="65259" y="0"/>
                        </a:lnTo>
                        <a:lnTo>
                          <a:pt x="65259" y="13046"/>
                        </a:lnTo>
                        <a:lnTo>
                          <a:pt x="0" y="13046"/>
                        </a:lnTo>
                        <a:close/>
                      </a:path>
                    </a:pathLst>
                  </a:custGeom>
                  <a:grpFill/>
                  <a:ln w="2873" cap="flat">
                    <a:noFill/>
                    <a:prstDash val="solid"/>
                    <a:miter/>
                  </a:ln>
                </p:spPr>
                <p:txBody>
                  <a:bodyPr rtlCol="0" anchor="ctr"/>
                  <a:lstStyle/>
                  <a:p>
                    <a:endParaRPr lang="en-GB" dirty="0"/>
                  </a:p>
                </p:txBody>
              </p:sp>
            </p:grpSp>
          </p:grpSp>
        </p:grpSp>
      </p:grpSp>
      <p:grpSp>
        <p:nvGrpSpPr>
          <p:cNvPr id="7" name="Group 6">
            <a:extLst>
              <a:ext uri="{FF2B5EF4-FFF2-40B4-BE49-F238E27FC236}">
                <a16:creationId xmlns:a16="http://schemas.microsoft.com/office/drawing/2014/main" id="{E61B4917-B897-4F68-99D9-41775C5B354C}"/>
              </a:ext>
            </a:extLst>
          </p:cNvPr>
          <p:cNvGrpSpPr/>
          <p:nvPr/>
        </p:nvGrpSpPr>
        <p:grpSpPr>
          <a:xfrm>
            <a:off x="7033137" y="1585984"/>
            <a:ext cx="532794" cy="432000"/>
            <a:chOff x="7032725" y="1585984"/>
            <a:chExt cx="532794" cy="432000"/>
          </a:xfrm>
        </p:grpSpPr>
        <p:grpSp>
          <p:nvGrpSpPr>
            <p:cNvPr id="360" name="Group 359">
              <a:extLst>
                <a:ext uri="{FF2B5EF4-FFF2-40B4-BE49-F238E27FC236}">
                  <a16:creationId xmlns:a16="http://schemas.microsoft.com/office/drawing/2014/main" id="{91F578DD-703A-47BB-B249-D0E00028E06A}"/>
                </a:ext>
              </a:extLst>
            </p:cNvPr>
            <p:cNvGrpSpPr/>
            <p:nvPr/>
          </p:nvGrpSpPr>
          <p:grpSpPr>
            <a:xfrm>
              <a:off x="7147915" y="1722734"/>
              <a:ext cx="302414" cy="288021"/>
              <a:chOff x="6260426" y="2582427"/>
              <a:chExt cx="274082" cy="261037"/>
            </a:xfrm>
          </p:grpSpPr>
          <p:sp>
            <p:nvSpPr>
              <p:cNvPr id="373" name="Freihandform: Form 975">
                <a:extLst>
                  <a:ext uri="{FF2B5EF4-FFF2-40B4-BE49-F238E27FC236}">
                    <a16:creationId xmlns:a16="http://schemas.microsoft.com/office/drawing/2014/main" id="{CFC878E1-7A7F-4DFB-AAA4-82E06CB04DAF}"/>
                  </a:ext>
                </a:extLst>
              </p:cNvPr>
              <p:cNvSpPr/>
              <p:nvPr/>
            </p:nvSpPr>
            <p:spPr>
              <a:xfrm>
                <a:off x="6328981" y="2784259"/>
                <a:ext cx="32577" cy="18457"/>
              </a:xfrm>
              <a:custGeom>
                <a:avLst/>
                <a:gdLst>
                  <a:gd name="connsiteX0" fmla="*/ 26043 w 32577"/>
                  <a:gd name="connsiteY0" fmla="*/ 18458 h 18457"/>
                  <a:gd name="connsiteX1" fmla="*/ 21130 w 32577"/>
                  <a:gd name="connsiteY1" fmla="*/ 16216 h 18457"/>
                  <a:gd name="connsiteX2" fmla="*/ 15986 w 32577"/>
                  <a:gd name="connsiteY2" fmla="*/ 13056 h 18457"/>
                  <a:gd name="connsiteX3" fmla="*/ 10957 w 32577"/>
                  <a:gd name="connsiteY3" fmla="*/ 15038 h 18457"/>
                  <a:gd name="connsiteX4" fmla="*/ 1762 w 32577"/>
                  <a:gd name="connsiteY4" fmla="*/ 14665 h 18457"/>
                  <a:gd name="connsiteX5" fmla="*/ 1992 w 32577"/>
                  <a:gd name="connsiteY5" fmla="*/ 5527 h 18457"/>
                  <a:gd name="connsiteX6" fmla="*/ 16503 w 32577"/>
                  <a:gd name="connsiteY6" fmla="*/ 9 h 18457"/>
                  <a:gd name="connsiteX7" fmla="*/ 30957 w 32577"/>
                  <a:gd name="connsiteY7" fmla="*/ 7624 h 18457"/>
                  <a:gd name="connsiteX8" fmla="*/ 30354 w 32577"/>
                  <a:gd name="connsiteY8" fmla="*/ 16820 h 18457"/>
                  <a:gd name="connsiteX9" fmla="*/ 26043 w 32577"/>
                  <a:gd name="connsiteY9" fmla="*/ 18458 h 18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77" h="18457">
                    <a:moveTo>
                      <a:pt x="26043" y="18458"/>
                    </a:moveTo>
                    <a:cubicBezTo>
                      <a:pt x="24233" y="18458"/>
                      <a:pt x="22423" y="17711"/>
                      <a:pt x="21130" y="16216"/>
                    </a:cubicBezTo>
                    <a:cubicBezTo>
                      <a:pt x="19377" y="14205"/>
                      <a:pt x="17653" y="13142"/>
                      <a:pt x="15986" y="13056"/>
                    </a:cubicBezTo>
                    <a:cubicBezTo>
                      <a:pt x="13917" y="13027"/>
                      <a:pt x="11618" y="14435"/>
                      <a:pt x="10957" y="15038"/>
                    </a:cubicBezTo>
                    <a:cubicBezTo>
                      <a:pt x="8313" y="17423"/>
                      <a:pt x="4204" y="17280"/>
                      <a:pt x="1762" y="14665"/>
                    </a:cubicBezTo>
                    <a:cubicBezTo>
                      <a:pt x="-652" y="12050"/>
                      <a:pt x="-595" y="7998"/>
                      <a:pt x="1992" y="5527"/>
                    </a:cubicBezTo>
                    <a:cubicBezTo>
                      <a:pt x="2624" y="4923"/>
                      <a:pt x="8313" y="-249"/>
                      <a:pt x="16503" y="9"/>
                    </a:cubicBezTo>
                    <a:cubicBezTo>
                      <a:pt x="20210" y="182"/>
                      <a:pt x="25699" y="1619"/>
                      <a:pt x="30957" y="7624"/>
                    </a:cubicBezTo>
                    <a:cubicBezTo>
                      <a:pt x="33342" y="10326"/>
                      <a:pt x="33055" y="14464"/>
                      <a:pt x="30354" y="16820"/>
                    </a:cubicBezTo>
                    <a:cubicBezTo>
                      <a:pt x="29089" y="17941"/>
                      <a:pt x="27566" y="18458"/>
                      <a:pt x="26043" y="18458"/>
                    </a:cubicBezTo>
                    <a:close/>
                  </a:path>
                </a:pathLst>
              </a:custGeom>
              <a:solidFill>
                <a:schemeClr val="tx2"/>
              </a:solidFill>
              <a:ln w="2873" cap="flat">
                <a:noFill/>
                <a:prstDash val="solid"/>
                <a:miter/>
              </a:ln>
            </p:spPr>
            <p:txBody>
              <a:bodyPr rtlCol="0" anchor="ctr"/>
              <a:lstStyle/>
              <a:p>
                <a:endParaRPr lang="en-GB" dirty="0"/>
              </a:p>
            </p:txBody>
          </p:sp>
          <p:sp>
            <p:nvSpPr>
              <p:cNvPr id="374" name="Freihandform: Form 976">
                <a:extLst>
                  <a:ext uri="{FF2B5EF4-FFF2-40B4-BE49-F238E27FC236}">
                    <a16:creationId xmlns:a16="http://schemas.microsoft.com/office/drawing/2014/main" id="{ADD292DA-CFE0-4E17-A974-1F8080A3EDF9}"/>
                  </a:ext>
                </a:extLst>
              </p:cNvPr>
              <p:cNvSpPr/>
              <p:nvPr/>
            </p:nvSpPr>
            <p:spPr>
              <a:xfrm>
                <a:off x="6306143" y="2719267"/>
                <a:ext cx="21698" cy="17616"/>
              </a:xfrm>
              <a:custGeom>
                <a:avLst/>
                <a:gdLst>
                  <a:gd name="connsiteX0" fmla="*/ 15174 w 21698"/>
                  <a:gd name="connsiteY0" fmla="*/ 17616 h 17616"/>
                  <a:gd name="connsiteX1" fmla="*/ 12128 w 21698"/>
                  <a:gd name="connsiteY1" fmla="*/ 16869 h 17616"/>
                  <a:gd name="connsiteX2" fmla="*/ 3478 w 21698"/>
                  <a:gd name="connsiteY2" fmla="*/ 12300 h 17616"/>
                  <a:gd name="connsiteX3" fmla="*/ 748 w 21698"/>
                  <a:gd name="connsiteY3" fmla="*/ 3478 h 17616"/>
                  <a:gd name="connsiteX4" fmla="*/ 9570 w 21698"/>
                  <a:gd name="connsiteY4" fmla="*/ 748 h 17616"/>
                  <a:gd name="connsiteX5" fmla="*/ 18220 w 21698"/>
                  <a:gd name="connsiteY5" fmla="*/ 5317 h 17616"/>
                  <a:gd name="connsiteX6" fmla="*/ 20950 w 21698"/>
                  <a:gd name="connsiteY6" fmla="*/ 14139 h 17616"/>
                  <a:gd name="connsiteX7" fmla="*/ 15174 w 21698"/>
                  <a:gd name="connsiteY7" fmla="*/ 17616 h 17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98" h="17616">
                    <a:moveTo>
                      <a:pt x="15174" y="17616"/>
                    </a:moveTo>
                    <a:cubicBezTo>
                      <a:pt x="14139" y="17616"/>
                      <a:pt x="13105" y="17386"/>
                      <a:pt x="12128" y="16869"/>
                    </a:cubicBezTo>
                    <a:lnTo>
                      <a:pt x="3478" y="12300"/>
                    </a:lnTo>
                    <a:cubicBezTo>
                      <a:pt x="289" y="10634"/>
                      <a:pt x="-918" y="6668"/>
                      <a:pt x="748" y="3478"/>
                    </a:cubicBezTo>
                    <a:cubicBezTo>
                      <a:pt x="2444" y="289"/>
                      <a:pt x="6381" y="-918"/>
                      <a:pt x="9570" y="748"/>
                    </a:cubicBezTo>
                    <a:lnTo>
                      <a:pt x="18220" y="5317"/>
                    </a:lnTo>
                    <a:cubicBezTo>
                      <a:pt x="21409" y="6984"/>
                      <a:pt x="22616" y="10950"/>
                      <a:pt x="20950" y="14139"/>
                    </a:cubicBezTo>
                    <a:cubicBezTo>
                      <a:pt x="19800" y="16352"/>
                      <a:pt x="17530" y="17616"/>
                      <a:pt x="15174" y="17616"/>
                    </a:cubicBezTo>
                    <a:close/>
                  </a:path>
                </a:pathLst>
              </a:custGeom>
              <a:solidFill>
                <a:schemeClr val="tx2"/>
              </a:solidFill>
              <a:ln w="2873" cap="flat">
                <a:noFill/>
                <a:prstDash val="solid"/>
                <a:miter/>
              </a:ln>
            </p:spPr>
            <p:txBody>
              <a:bodyPr rtlCol="0" anchor="ctr"/>
              <a:lstStyle/>
              <a:p>
                <a:endParaRPr lang="en-GB" dirty="0"/>
              </a:p>
            </p:txBody>
          </p:sp>
          <p:sp>
            <p:nvSpPr>
              <p:cNvPr id="375" name="Freihandform: Form 977">
                <a:extLst>
                  <a:ext uri="{FF2B5EF4-FFF2-40B4-BE49-F238E27FC236}">
                    <a16:creationId xmlns:a16="http://schemas.microsoft.com/office/drawing/2014/main" id="{6E0EC54B-3E10-4502-B326-011EDEAB3D28}"/>
                  </a:ext>
                </a:extLst>
              </p:cNvPr>
              <p:cNvSpPr/>
              <p:nvPr/>
            </p:nvSpPr>
            <p:spPr>
              <a:xfrm>
                <a:off x="6456398" y="2699194"/>
                <a:ext cx="19799" cy="30131"/>
              </a:xfrm>
              <a:custGeom>
                <a:avLst/>
                <a:gdLst>
                  <a:gd name="connsiteX0" fmla="*/ 13282 w 19799"/>
                  <a:gd name="connsiteY0" fmla="*/ 30131 h 30131"/>
                  <a:gd name="connsiteX1" fmla="*/ 9432 w 19799"/>
                  <a:gd name="connsiteY1" fmla="*/ 28867 h 30131"/>
                  <a:gd name="connsiteX2" fmla="*/ 1271 w 19799"/>
                  <a:gd name="connsiteY2" fmla="*/ 4240 h 30131"/>
                  <a:gd name="connsiteX3" fmla="*/ 9662 w 19799"/>
                  <a:gd name="connsiteY3" fmla="*/ 418 h 30131"/>
                  <a:gd name="connsiteX4" fmla="*/ 13483 w 19799"/>
                  <a:gd name="connsiteY4" fmla="*/ 8809 h 30131"/>
                  <a:gd name="connsiteX5" fmla="*/ 17133 w 19799"/>
                  <a:gd name="connsiteY5" fmla="*/ 18350 h 30131"/>
                  <a:gd name="connsiteX6" fmla="*/ 18541 w 19799"/>
                  <a:gd name="connsiteY6" fmla="*/ 27459 h 30131"/>
                  <a:gd name="connsiteX7" fmla="*/ 13282 w 19799"/>
                  <a:gd name="connsiteY7" fmla="*/ 30131 h 30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799" h="30131">
                    <a:moveTo>
                      <a:pt x="13282" y="30131"/>
                    </a:moveTo>
                    <a:cubicBezTo>
                      <a:pt x="11960" y="30131"/>
                      <a:pt x="10610" y="29729"/>
                      <a:pt x="9432" y="28867"/>
                    </a:cubicBezTo>
                    <a:cubicBezTo>
                      <a:pt x="4719" y="25419"/>
                      <a:pt x="-3068" y="15821"/>
                      <a:pt x="1271" y="4240"/>
                    </a:cubicBezTo>
                    <a:cubicBezTo>
                      <a:pt x="2535" y="849"/>
                      <a:pt x="6299" y="-846"/>
                      <a:pt x="9662" y="418"/>
                    </a:cubicBezTo>
                    <a:cubicBezTo>
                      <a:pt x="13052" y="1683"/>
                      <a:pt x="14748" y="5447"/>
                      <a:pt x="13483" y="8809"/>
                    </a:cubicBezTo>
                    <a:cubicBezTo>
                      <a:pt x="11501" y="14154"/>
                      <a:pt x="17075" y="18321"/>
                      <a:pt x="17133" y="18350"/>
                    </a:cubicBezTo>
                    <a:cubicBezTo>
                      <a:pt x="20035" y="20476"/>
                      <a:pt x="20667" y="24556"/>
                      <a:pt x="18541" y="27459"/>
                    </a:cubicBezTo>
                    <a:cubicBezTo>
                      <a:pt x="17277" y="29212"/>
                      <a:pt x="15294" y="30131"/>
                      <a:pt x="13282" y="30131"/>
                    </a:cubicBezTo>
                    <a:close/>
                  </a:path>
                </a:pathLst>
              </a:custGeom>
              <a:solidFill>
                <a:schemeClr val="tx2"/>
              </a:solidFill>
              <a:ln w="2873" cap="flat">
                <a:noFill/>
                <a:prstDash val="solid"/>
                <a:miter/>
              </a:ln>
            </p:spPr>
            <p:txBody>
              <a:bodyPr rtlCol="0" anchor="ctr"/>
              <a:lstStyle/>
              <a:p>
                <a:endParaRPr lang="en-GB" dirty="0"/>
              </a:p>
            </p:txBody>
          </p:sp>
          <p:sp>
            <p:nvSpPr>
              <p:cNvPr id="376" name="Freihandform: Form 978">
                <a:extLst>
                  <a:ext uri="{FF2B5EF4-FFF2-40B4-BE49-F238E27FC236}">
                    <a16:creationId xmlns:a16="http://schemas.microsoft.com/office/drawing/2014/main" id="{2A6FA085-7044-4E79-B2AE-F72CD74149C7}"/>
                  </a:ext>
                </a:extLst>
              </p:cNvPr>
              <p:cNvSpPr/>
              <p:nvPr/>
            </p:nvSpPr>
            <p:spPr>
              <a:xfrm>
                <a:off x="6426882" y="2792449"/>
                <a:ext cx="32595" cy="18429"/>
              </a:xfrm>
              <a:custGeom>
                <a:avLst/>
                <a:gdLst>
                  <a:gd name="connsiteX0" fmla="*/ 6505 w 32595"/>
                  <a:gd name="connsiteY0" fmla="*/ 18429 h 18429"/>
                  <a:gd name="connsiteX1" fmla="*/ 2224 w 32595"/>
                  <a:gd name="connsiteY1" fmla="*/ 16820 h 18429"/>
                  <a:gd name="connsiteX2" fmla="*/ 1620 w 32595"/>
                  <a:gd name="connsiteY2" fmla="*/ 7624 h 18429"/>
                  <a:gd name="connsiteX3" fmla="*/ 16074 w 32595"/>
                  <a:gd name="connsiteY3" fmla="*/ 9 h 18429"/>
                  <a:gd name="connsiteX4" fmla="*/ 30586 w 32595"/>
                  <a:gd name="connsiteY4" fmla="*/ 5527 h 18429"/>
                  <a:gd name="connsiteX5" fmla="*/ 30787 w 32595"/>
                  <a:gd name="connsiteY5" fmla="*/ 14751 h 18429"/>
                  <a:gd name="connsiteX6" fmla="*/ 21620 w 32595"/>
                  <a:gd name="connsiteY6" fmla="*/ 15009 h 18429"/>
                  <a:gd name="connsiteX7" fmla="*/ 16592 w 32595"/>
                  <a:gd name="connsiteY7" fmla="*/ 13055 h 18429"/>
                  <a:gd name="connsiteX8" fmla="*/ 11448 w 32595"/>
                  <a:gd name="connsiteY8" fmla="*/ 16216 h 18429"/>
                  <a:gd name="connsiteX9" fmla="*/ 6505 w 32595"/>
                  <a:gd name="connsiteY9" fmla="*/ 18429 h 1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2595" h="18429">
                    <a:moveTo>
                      <a:pt x="6505" y="18429"/>
                    </a:moveTo>
                    <a:cubicBezTo>
                      <a:pt x="4982" y="18429"/>
                      <a:pt x="3459" y="17883"/>
                      <a:pt x="2224" y="16820"/>
                    </a:cubicBezTo>
                    <a:cubicBezTo>
                      <a:pt x="-477" y="14435"/>
                      <a:pt x="-765" y="10326"/>
                      <a:pt x="1620" y="7624"/>
                    </a:cubicBezTo>
                    <a:cubicBezTo>
                      <a:pt x="6879" y="1619"/>
                      <a:pt x="12367" y="182"/>
                      <a:pt x="16074" y="9"/>
                    </a:cubicBezTo>
                    <a:cubicBezTo>
                      <a:pt x="24235" y="-249"/>
                      <a:pt x="29954" y="4952"/>
                      <a:pt x="30586" y="5527"/>
                    </a:cubicBezTo>
                    <a:cubicBezTo>
                      <a:pt x="33172" y="8027"/>
                      <a:pt x="33287" y="12165"/>
                      <a:pt x="30787" y="14751"/>
                    </a:cubicBezTo>
                    <a:cubicBezTo>
                      <a:pt x="28316" y="17337"/>
                      <a:pt x="24207" y="17423"/>
                      <a:pt x="21620" y="15009"/>
                    </a:cubicBezTo>
                    <a:cubicBezTo>
                      <a:pt x="20959" y="14406"/>
                      <a:pt x="18776" y="12998"/>
                      <a:pt x="16592" y="13055"/>
                    </a:cubicBezTo>
                    <a:cubicBezTo>
                      <a:pt x="14925" y="13142"/>
                      <a:pt x="13201" y="14205"/>
                      <a:pt x="11448" y="16216"/>
                    </a:cubicBezTo>
                    <a:cubicBezTo>
                      <a:pt x="10155" y="17682"/>
                      <a:pt x="8344" y="18429"/>
                      <a:pt x="6505" y="18429"/>
                    </a:cubicBezTo>
                    <a:close/>
                  </a:path>
                </a:pathLst>
              </a:custGeom>
              <a:solidFill>
                <a:schemeClr val="tx2"/>
              </a:solidFill>
              <a:ln w="2873" cap="flat">
                <a:noFill/>
                <a:prstDash val="solid"/>
                <a:miter/>
              </a:ln>
            </p:spPr>
            <p:txBody>
              <a:bodyPr rtlCol="0" anchor="ctr"/>
              <a:lstStyle/>
              <a:p>
                <a:endParaRPr lang="en-GB" dirty="0"/>
              </a:p>
            </p:txBody>
          </p:sp>
          <p:sp>
            <p:nvSpPr>
              <p:cNvPr id="377" name="Freihandform: Form 979">
                <a:extLst>
                  <a:ext uri="{FF2B5EF4-FFF2-40B4-BE49-F238E27FC236}">
                    <a16:creationId xmlns:a16="http://schemas.microsoft.com/office/drawing/2014/main" id="{FD3035CD-EB97-46EF-9A7A-626411C3BC7B}"/>
                  </a:ext>
                </a:extLst>
              </p:cNvPr>
              <p:cNvSpPr/>
              <p:nvPr/>
            </p:nvSpPr>
            <p:spPr>
              <a:xfrm>
                <a:off x="6429138" y="2633524"/>
                <a:ext cx="28038" cy="28386"/>
              </a:xfrm>
              <a:custGeom>
                <a:avLst/>
                <a:gdLst>
                  <a:gd name="connsiteX0" fmla="*/ 15427 w 28038"/>
                  <a:gd name="connsiteY0" fmla="*/ 28387 h 28386"/>
                  <a:gd name="connsiteX1" fmla="*/ 4192 w 28038"/>
                  <a:gd name="connsiteY1" fmla="*/ 23559 h 28386"/>
                  <a:gd name="connsiteX2" fmla="*/ 4853 w 28038"/>
                  <a:gd name="connsiteY2" fmla="*/ 1777 h 28386"/>
                  <a:gd name="connsiteX3" fmla="*/ 14077 w 28038"/>
                  <a:gd name="connsiteY3" fmla="*/ 2065 h 28386"/>
                  <a:gd name="connsiteX4" fmla="*/ 13789 w 28038"/>
                  <a:gd name="connsiteY4" fmla="*/ 11289 h 28386"/>
                  <a:gd name="connsiteX5" fmla="*/ 13703 w 28038"/>
                  <a:gd name="connsiteY5" fmla="*/ 14622 h 28386"/>
                  <a:gd name="connsiteX6" fmla="*/ 17037 w 28038"/>
                  <a:gd name="connsiteY6" fmla="*/ 14709 h 28386"/>
                  <a:gd name="connsiteX7" fmla="*/ 26261 w 28038"/>
                  <a:gd name="connsiteY7" fmla="*/ 14996 h 28386"/>
                  <a:gd name="connsiteX8" fmla="*/ 25973 w 28038"/>
                  <a:gd name="connsiteY8" fmla="*/ 24220 h 28386"/>
                  <a:gd name="connsiteX9" fmla="*/ 15427 w 28038"/>
                  <a:gd name="connsiteY9" fmla="*/ 28387 h 28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038" h="28386">
                    <a:moveTo>
                      <a:pt x="15427" y="28387"/>
                    </a:moveTo>
                    <a:cubicBezTo>
                      <a:pt x="11318" y="28387"/>
                      <a:pt x="7238" y="26778"/>
                      <a:pt x="4192" y="23559"/>
                    </a:cubicBezTo>
                    <a:cubicBezTo>
                      <a:pt x="-1642" y="17381"/>
                      <a:pt x="-1354" y="7582"/>
                      <a:pt x="4853" y="1777"/>
                    </a:cubicBezTo>
                    <a:cubicBezTo>
                      <a:pt x="7468" y="-694"/>
                      <a:pt x="11606" y="-579"/>
                      <a:pt x="14077" y="2065"/>
                    </a:cubicBezTo>
                    <a:cubicBezTo>
                      <a:pt x="16548" y="4680"/>
                      <a:pt x="16433" y="8818"/>
                      <a:pt x="13789" y="11289"/>
                    </a:cubicBezTo>
                    <a:cubicBezTo>
                      <a:pt x="12841" y="12180"/>
                      <a:pt x="12784" y="13674"/>
                      <a:pt x="13703" y="14622"/>
                    </a:cubicBezTo>
                    <a:cubicBezTo>
                      <a:pt x="14594" y="15571"/>
                      <a:pt x="16117" y="15628"/>
                      <a:pt x="17037" y="14709"/>
                    </a:cubicBezTo>
                    <a:cubicBezTo>
                      <a:pt x="19652" y="12237"/>
                      <a:pt x="23790" y="12352"/>
                      <a:pt x="26261" y="14996"/>
                    </a:cubicBezTo>
                    <a:cubicBezTo>
                      <a:pt x="28732" y="17611"/>
                      <a:pt x="28617" y="21749"/>
                      <a:pt x="25973" y="24220"/>
                    </a:cubicBezTo>
                    <a:cubicBezTo>
                      <a:pt x="23014" y="26979"/>
                      <a:pt x="19221" y="28387"/>
                      <a:pt x="15427" y="28387"/>
                    </a:cubicBezTo>
                    <a:close/>
                  </a:path>
                </a:pathLst>
              </a:custGeom>
              <a:solidFill>
                <a:schemeClr val="tx2"/>
              </a:solidFill>
              <a:ln w="2873" cap="flat">
                <a:noFill/>
                <a:prstDash val="solid"/>
                <a:miter/>
              </a:ln>
            </p:spPr>
            <p:txBody>
              <a:bodyPr rtlCol="0" anchor="ctr"/>
              <a:lstStyle/>
              <a:p>
                <a:endParaRPr lang="en-GB" dirty="0"/>
              </a:p>
            </p:txBody>
          </p:sp>
          <p:sp>
            <p:nvSpPr>
              <p:cNvPr id="378" name="Freihandform: Form 980">
                <a:extLst>
                  <a:ext uri="{FF2B5EF4-FFF2-40B4-BE49-F238E27FC236}">
                    <a16:creationId xmlns:a16="http://schemas.microsoft.com/office/drawing/2014/main" id="{5432BD9B-90D2-470E-AB90-E09F0F9AB91E}"/>
                  </a:ext>
                </a:extLst>
              </p:cNvPr>
              <p:cNvSpPr/>
              <p:nvPr/>
            </p:nvSpPr>
            <p:spPr>
              <a:xfrm>
                <a:off x="6403990" y="2582485"/>
                <a:ext cx="130518" cy="260979"/>
              </a:xfrm>
              <a:custGeom>
                <a:avLst/>
                <a:gdLst>
                  <a:gd name="connsiteX0" fmla="*/ 46150 w 130518"/>
                  <a:gd name="connsiteY0" fmla="*/ 260979 h 260979"/>
                  <a:gd name="connsiteX1" fmla="*/ 0 w 130518"/>
                  <a:gd name="connsiteY1" fmla="*/ 213163 h 260979"/>
                  <a:gd name="connsiteX2" fmla="*/ 29 w 130518"/>
                  <a:gd name="connsiteY2" fmla="*/ 212559 h 260979"/>
                  <a:gd name="connsiteX3" fmla="*/ 6523 w 130518"/>
                  <a:gd name="connsiteY3" fmla="*/ 206611 h 260979"/>
                  <a:gd name="connsiteX4" fmla="*/ 13046 w 130518"/>
                  <a:gd name="connsiteY4" fmla="*/ 213134 h 260979"/>
                  <a:gd name="connsiteX5" fmla="*/ 13046 w 130518"/>
                  <a:gd name="connsiteY5" fmla="*/ 213335 h 260979"/>
                  <a:gd name="connsiteX6" fmla="*/ 46121 w 130518"/>
                  <a:gd name="connsiteY6" fmla="*/ 247962 h 260979"/>
                  <a:gd name="connsiteX7" fmla="*/ 79196 w 130518"/>
                  <a:gd name="connsiteY7" fmla="*/ 213192 h 260979"/>
                  <a:gd name="connsiteX8" fmla="*/ 78593 w 130518"/>
                  <a:gd name="connsiteY8" fmla="*/ 207186 h 260979"/>
                  <a:gd name="connsiteX9" fmla="*/ 83018 w 130518"/>
                  <a:gd name="connsiteY9" fmla="*/ 199916 h 260979"/>
                  <a:gd name="connsiteX10" fmla="*/ 117444 w 130518"/>
                  <a:gd name="connsiteY10" fmla="*/ 150921 h 260979"/>
                  <a:gd name="connsiteX11" fmla="*/ 96064 w 130518"/>
                  <a:gd name="connsiteY11" fmla="*/ 108535 h 260979"/>
                  <a:gd name="connsiteX12" fmla="*/ 93995 w 130518"/>
                  <a:gd name="connsiteY12" fmla="*/ 100374 h 260979"/>
                  <a:gd name="connsiteX13" fmla="*/ 98507 w 130518"/>
                  <a:gd name="connsiteY13" fmla="*/ 80863 h 260979"/>
                  <a:gd name="connsiteX14" fmla="*/ 67587 w 130518"/>
                  <a:gd name="connsiteY14" fmla="*/ 39196 h 260979"/>
                  <a:gd name="connsiteX15" fmla="*/ 62845 w 130518"/>
                  <a:gd name="connsiteY15" fmla="*/ 34138 h 260979"/>
                  <a:gd name="connsiteX16" fmla="*/ 38219 w 130518"/>
                  <a:gd name="connsiteY16" fmla="*/ 13046 h 260979"/>
                  <a:gd name="connsiteX17" fmla="*/ 13046 w 130518"/>
                  <a:gd name="connsiteY17" fmla="*/ 39569 h 260979"/>
                  <a:gd name="connsiteX18" fmla="*/ 13046 w 130518"/>
                  <a:gd name="connsiteY18" fmla="*/ 45690 h 260979"/>
                  <a:gd name="connsiteX19" fmla="*/ 6523 w 130518"/>
                  <a:gd name="connsiteY19" fmla="*/ 52213 h 260979"/>
                  <a:gd name="connsiteX20" fmla="*/ 6523 w 130518"/>
                  <a:gd name="connsiteY20" fmla="*/ 52213 h 260979"/>
                  <a:gd name="connsiteX21" fmla="*/ 0 w 130518"/>
                  <a:gd name="connsiteY21" fmla="*/ 45690 h 260979"/>
                  <a:gd name="connsiteX22" fmla="*/ 0 w 130518"/>
                  <a:gd name="connsiteY22" fmla="*/ 39598 h 260979"/>
                  <a:gd name="connsiteX23" fmla="*/ 0 w 130518"/>
                  <a:gd name="connsiteY23" fmla="*/ 39569 h 260979"/>
                  <a:gd name="connsiteX24" fmla="*/ 38219 w 130518"/>
                  <a:gd name="connsiteY24" fmla="*/ 0 h 260979"/>
                  <a:gd name="connsiteX25" fmla="*/ 74685 w 130518"/>
                  <a:gd name="connsiteY25" fmla="*/ 27730 h 260979"/>
                  <a:gd name="connsiteX26" fmla="*/ 111553 w 130518"/>
                  <a:gd name="connsiteY26" fmla="*/ 80863 h 260979"/>
                  <a:gd name="connsiteX27" fmla="*/ 107846 w 130518"/>
                  <a:gd name="connsiteY27" fmla="*/ 101208 h 260979"/>
                  <a:gd name="connsiteX28" fmla="*/ 130519 w 130518"/>
                  <a:gd name="connsiteY28" fmla="*/ 150921 h 260979"/>
                  <a:gd name="connsiteX29" fmla="*/ 92185 w 130518"/>
                  <a:gd name="connsiteY29" fmla="*/ 210433 h 260979"/>
                  <a:gd name="connsiteX30" fmla="*/ 92300 w 130518"/>
                  <a:gd name="connsiteY30" fmla="*/ 213220 h 260979"/>
                  <a:gd name="connsiteX31" fmla="*/ 46150 w 130518"/>
                  <a:gd name="connsiteY31" fmla="*/ 260979 h 26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0518" h="260979">
                    <a:moveTo>
                      <a:pt x="46150" y="260979"/>
                    </a:moveTo>
                    <a:cubicBezTo>
                      <a:pt x="20719" y="260979"/>
                      <a:pt x="0" y="239514"/>
                      <a:pt x="0" y="213163"/>
                    </a:cubicBezTo>
                    <a:cubicBezTo>
                      <a:pt x="0" y="212962"/>
                      <a:pt x="0" y="212761"/>
                      <a:pt x="29" y="212559"/>
                    </a:cubicBezTo>
                    <a:cubicBezTo>
                      <a:pt x="316" y="209226"/>
                      <a:pt x="3132" y="206611"/>
                      <a:pt x="6523" y="206611"/>
                    </a:cubicBezTo>
                    <a:cubicBezTo>
                      <a:pt x="10115" y="206611"/>
                      <a:pt x="13046" y="209542"/>
                      <a:pt x="13046" y="213134"/>
                    </a:cubicBezTo>
                    <a:cubicBezTo>
                      <a:pt x="13046" y="213192"/>
                      <a:pt x="13046" y="213249"/>
                      <a:pt x="13046" y="213335"/>
                    </a:cubicBezTo>
                    <a:cubicBezTo>
                      <a:pt x="13132" y="232445"/>
                      <a:pt x="27931" y="247962"/>
                      <a:pt x="46121" y="247962"/>
                    </a:cubicBezTo>
                    <a:cubicBezTo>
                      <a:pt x="64368" y="247962"/>
                      <a:pt x="79196" y="232359"/>
                      <a:pt x="79196" y="213192"/>
                    </a:cubicBezTo>
                    <a:cubicBezTo>
                      <a:pt x="79196" y="211065"/>
                      <a:pt x="78909" y="208967"/>
                      <a:pt x="78593" y="207186"/>
                    </a:cubicBezTo>
                    <a:cubicBezTo>
                      <a:pt x="78075" y="203996"/>
                      <a:pt x="79943" y="200921"/>
                      <a:pt x="83018" y="199916"/>
                    </a:cubicBezTo>
                    <a:cubicBezTo>
                      <a:pt x="103593" y="193220"/>
                      <a:pt x="117444" y="173536"/>
                      <a:pt x="117444" y="150921"/>
                    </a:cubicBezTo>
                    <a:cubicBezTo>
                      <a:pt x="117444" y="133967"/>
                      <a:pt x="109455" y="118133"/>
                      <a:pt x="96064" y="108535"/>
                    </a:cubicBezTo>
                    <a:cubicBezTo>
                      <a:pt x="93478" y="106696"/>
                      <a:pt x="92616" y="103248"/>
                      <a:pt x="93995" y="100374"/>
                    </a:cubicBezTo>
                    <a:cubicBezTo>
                      <a:pt x="96984" y="94254"/>
                      <a:pt x="98507" y="87673"/>
                      <a:pt x="98507" y="80863"/>
                    </a:cubicBezTo>
                    <a:cubicBezTo>
                      <a:pt x="98507" y="61179"/>
                      <a:pt x="85777" y="44052"/>
                      <a:pt x="67587" y="39196"/>
                    </a:cubicBezTo>
                    <a:cubicBezTo>
                      <a:pt x="65173" y="38564"/>
                      <a:pt x="63334" y="36610"/>
                      <a:pt x="62845" y="34138"/>
                    </a:cubicBezTo>
                    <a:cubicBezTo>
                      <a:pt x="60432" y="21897"/>
                      <a:pt x="50087" y="13046"/>
                      <a:pt x="38219" y="13046"/>
                    </a:cubicBezTo>
                    <a:cubicBezTo>
                      <a:pt x="24339" y="13046"/>
                      <a:pt x="13046" y="24943"/>
                      <a:pt x="13046" y="39569"/>
                    </a:cubicBezTo>
                    <a:lnTo>
                      <a:pt x="13046" y="45690"/>
                    </a:lnTo>
                    <a:cubicBezTo>
                      <a:pt x="13046" y="49282"/>
                      <a:pt x="10115" y="52213"/>
                      <a:pt x="6523" y="52213"/>
                    </a:cubicBezTo>
                    <a:lnTo>
                      <a:pt x="6523" y="52213"/>
                    </a:lnTo>
                    <a:cubicBezTo>
                      <a:pt x="2931" y="52213"/>
                      <a:pt x="0" y="49282"/>
                      <a:pt x="0" y="45690"/>
                    </a:cubicBezTo>
                    <a:lnTo>
                      <a:pt x="0" y="39598"/>
                    </a:lnTo>
                    <a:cubicBezTo>
                      <a:pt x="0" y="39598"/>
                      <a:pt x="0" y="39569"/>
                      <a:pt x="0" y="39569"/>
                    </a:cubicBezTo>
                    <a:cubicBezTo>
                      <a:pt x="0" y="17759"/>
                      <a:pt x="17155" y="0"/>
                      <a:pt x="38219" y="0"/>
                    </a:cubicBezTo>
                    <a:cubicBezTo>
                      <a:pt x="55001" y="0"/>
                      <a:pt x="69771" y="11437"/>
                      <a:pt x="74685" y="27730"/>
                    </a:cubicBezTo>
                    <a:cubicBezTo>
                      <a:pt x="96581" y="35316"/>
                      <a:pt x="111553" y="56638"/>
                      <a:pt x="111553" y="80863"/>
                    </a:cubicBezTo>
                    <a:cubicBezTo>
                      <a:pt x="111553" y="87874"/>
                      <a:pt x="110317" y="94714"/>
                      <a:pt x="107846" y="101208"/>
                    </a:cubicBezTo>
                    <a:cubicBezTo>
                      <a:pt x="122128" y="113392"/>
                      <a:pt x="130519" y="131582"/>
                      <a:pt x="130519" y="150921"/>
                    </a:cubicBezTo>
                    <a:cubicBezTo>
                      <a:pt x="130519" y="177329"/>
                      <a:pt x="115317" y="200577"/>
                      <a:pt x="92185" y="210433"/>
                    </a:cubicBezTo>
                    <a:cubicBezTo>
                      <a:pt x="92242" y="211324"/>
                      <a:pt x="92300" y="212272"/>
                      <a:pt x="92300" y="213220"/>
                    </a:cubicBezTo>
                    <a:cubicBezTo>
                      <a:pt x="92271" y="239543"/>
                      <a:pt x="71581" y="260979"/>
                      <a:pt x="46150" y="260979"/>
                    </a:cubicBezTo>
                    <a:close/>
                  </a:path>
                </a:pathLst>
              </a:custGeom>
              <a:solidFill>
                <a:schemeClr val="tx2"/>
              </a:solidFill>
              <a:ln w="2873" cap="flat">
                <a:noFill/>
                <a:prstDash val="solid"/>
                <a:miter/>
              </a:ln>
            </p:spPr>
            <p:txBody>
              <a:bodyPr rtlCol="0" anchor="ctr"/>
              <a:lstStyle/>
              <a:p>
                <a:endParaRPr lang="en-GB" dirty="0"/>
              </a:p>
            </p:txBody>
          </p:sp>
          <p:grpSp>
            <p:nvGrpSpPr>
              <p:cNvPr id="379" name="Grafik 167">
                <a:extLst>
                  <a:ext uri="{FF2B5EF4-FFF2-40B4-BE49-F238E27FC236}">
                    <a16:creationId xmlns:a16="http://schemas.microsoft.com/office/drawing/2014/main" id="{917C924C-4228-4D18-A051-9FE06EEE2DC0}"/>
                  </a:ext>
                </a:extLst>
              </p:cNvPr>
              <p:cNvGrpSpPr/>
              <p:nvPr/>
            </p:nvGrpSpPr>
            <p:grpSpPr>
              <a:xfrm>
                <a:off x="6460096" y="2757563"/>
                <a:ext cx="35482" cy="37539"/>
                <a:chOff x="6460096" y="2757563"/>
                <a:chExt cx="35482" cy="37539"/>
              </a:xfrm>
              <a:solidFill>
                <a:schemeClr val="tx2"/>
              </a:solidFill>
            </p:grpSpPr>
            <p:sp>
              <p:nvSpPr>
                <p:cNvPr id="386" name="Freihandform: Form 982">
                  <a:extLst>
                    <a:ext uri="{FF2B5EF4-FFF2-40B4-BE49-F238E27FC236}">
                      <a16:creationId xmlns:a16="http://schemas.microsoft.com/office/drawing/2014/main" id="{D5630A21-FB5E-4424-872F-DC2010DB223D}"/>
                    </a:ext>
                  </a:extLst>
                </p:cNvPr>
                <p:cNvSpPr/>
                <p:nvPr/>
              </p:nvSpPr>
              <p:spPr>
                <a:xfrm>
                  <a:off x="6470909" y="2757563"/>
                  <a:ext cx="24669" cy="37539"/>
                </a:xfrm>
                <a:custGeom>
                  <a:avLst/>
                  <a:gdLst>
                    <a:gd name="connsiteX0" fmla="*/ 18140 w 24669"/>
                    <a:gd name="connsiteY0" fmla="*/ 37539 h 37539"/>
                    <a:gd name="connsiteX1" fmla="*/ 13743 w 24669"/>
                    <a:gd name="connsiteY1" fmla="*/ 35815 h 37539"/>
                    <a:gd name="connsiteX2" fmla="*/ 2766 w 24669"/>
                    <a:gd name="connsiteY2" fmla="*/ 25729 h 37539"/>
                    <a:gd name="connsiteX3" fmla="*/ 669 w 24669"/>
                    <a:gd name="connsiteY3" fmla="*/ 21217 h 37539"/>
                    <a:gd name="connsiteX4" fmla="*/ 8 w 24669"/>
                    <a:gd name="connsiteY4" fmla="*/ 6821 h 37539"/>
                    <a:gd name="connsiteX5" fmla="*/ 6215 w 24669"/>
                    <a:gd name="connsiteY5" fmla="*/ 10 h 37539"/>
                    <a:gd name="connsiteX6" fmla="*/ 13025 w 24669"/>
                    <a:gd name="connsiteY6" fmla="*/ 6217 h 37539"/>
                    <a:gd name="connsiteX7" fmla="*/ 13571 w 24669"/>
                    <a:gd name="connsiteY7" fmla="*/ 17941 h 37539"/>
                    <a:gd name="connsiteX8" fmla="*/ 22565 w 24669"/>
                    <a:gd name="connsiteY8" fmla="*/ 26217 h 37539"/>
                    <a:gd name="connsiteX9" fmla="*/ 22968 w 24669"/>
                    <a:gd name="connsiteY9" fmla="*/ 35442 h 37539"/>
                    <a:gd name="connsiteX10" fmla="*/ 18140 w 24669"/>
                    <a:gd name="connsiteY10" fmla="*/ 37539 h 37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669" h="37539">
                      <a:moveTo>
                        <a:pt x="18140" y="37539"/>
                      </a:moveTo>
                      <a:cubicBezTo>
                        <a:pt x="16559" y="37539"/>
                        <a:pt x="14979" y="36965"/>
                        <a:pt x="13743" y="35815"/>
                      </a:cubicBezTo>
                      <a:lnTo>
                        <a:pt x="2766" y="25729"/>
                      </a:lnTo>
                      <a:cubicBezTo>
                        <a:pt x="1502" y="24579"/>
                        <a:pt x="726" y="22941"/>
                        <a:pt x="669" y="21217"/>
                      </a:cubicBezTo>
                      <a:lnTo>
                        <a:pt x="8" y="6821"/>
                      </a:lnTo>
                      <a:cubicBezTo>
                        <a:pt x="-165" y="3229"/>
                        <a:pt x="2623" y="154"/>
                        <a:pt x="6215" y="10"/>
                      </a:cubicBezTo>
                      <a:cubicBezTo>
                        <a:pt x="9692" y="-191"/>
                        <a:pt x="12881" y="2625"/>
                        <a:pt x="13025" y="6217"/>
                      </a:cubicBezTo>
                      <a:lnTo>
                        <a:pt x="13571" y="17941"/>
                      </a:lnTo>
                      <a:lnTo>
                        <a:pt x="22565" y="26217"/>
                      </a:lnTo>
                      <a:cubicBezTo>
                        <a:pt x="25209" y="28660"/>
                        <a:pt x="25381" y="32769"/>
                        <a:pt x="22968" y="35442"/>
                      </a:cubicBezTo>
                      <a:cubicBezTo>
                        <a:pt x="21674" y="36821"/>
                        <a:pt x="19922" y="37539"/>
                        <a:pt x="18140" y="37539"/>
                      </a:cubicBezTo>
                      <a:close/>
                    </a:path>
                  </a:pathLst>
                </a:custGeom>
                <a:solidFill>
                  <a:schemeClr val="accent1"/>
                </a:solidFill>
                <a:ln w="2873" cap="flat">
                  <a:noFill/>
                  <a:prstDash val="solid"/>
                  <a:miter/>
                </a:ln>
              </p:spPr>
              <p:txBody>
                <a:bodyPr rtlCol="0" anchor="ctr"/>
                <a:lstStyle/>
                <a:p>
                  <a:endParaRPr lang="en-GB" dirty="0"/>
                </a:p>
              </p:txBody>
            </p:sp>
            <p:sp>
              <p:nvSpPr>
                <p:cNvPr id="387" name="Freihandform: Form 983">
                  <a:extLst>
                    <a:ext uri="{FF2B5EF4-FFF2-40B4-BE49-F238E27FC236}">
                      <a16:creationId xmlns:a16="http://schemas.microsoft.com/office/drawing/2014/main" id="{D84DD598-DE81-43C7-9442-567762C630D3}"/>
                    </a:ext>
                  </a:extLst>
                </p:cNvPr>
                <p:cNvSpPr/>
                <p:nvPr/>
              </p:nvSpPr>
              <p:spPr>
                <a:xfrm>
                  <a:off x="6460096" y="2771982"/>
                  <a:ext cx="24486" cy="18292"/>
                </a:xfrm>
                <a:custGeom>
                  <a:avLst/>
                  <a:gdLst>
                    <a:gd name="connsiteX0" fmla="*/ 6539 w 24486"/>
                    <a:gd name="connsiteY0" fmla="*/ 18292 h 18292"/>
                    <a:gd name="connsiteX1" fmla="*/ 591 w 24486"/>
                    <a:gd name="connsiteY1" fmla="*/ 14499 h 18292"/>
                    <a:gd name="connsiteX2" fmla="*/ 3809 w 24486"/>
                    <a:gd name="connsiteY2" fmla="*/ 5850 h 18292"/>
                    <a:gd name="connsiteX3" fmla="*/ 15246 w 24486"/>
                    <a:gd name="connsiteY3" fmla="*/ 591 h 18292"/>
                    <a:gd name="connsiteX4" fmla="*/ 23896 w 24486"/>
                    <a:gd name="connsiteY4" fmla="*/ 3809 h 18292"/>
                    <a:gd name="connsiteX5" fmla="*/ 20677 w 24486"/>
                    <a:gd name="connsiteY5" fmla="*/ 12459 h 18292"/>
                    <a:gd name="connsiteX6" fmla="*/ 9240 w 24486"/>
                    <a:gd name="connsiteY6" fmla="*/ 17717 h 18292"/>
                    <a:gd name="connsiteX7" fmla="*/ 6539 w 24486"/>
                    <a:gd name="connsiteY7" fmla="*/ 18292 h 1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86" h="18292">
                      <a:moveTo>
                        <a:pt x="6539" y="18292"/>
                      </a:moveTo>
                      <a:cubicBezTo>
                        <a:pt x="4068" y="18292"/>
                        <a:pt x="1712" y="16884"/>
                        <a:pt x="591" y="14499"/>
                      </a:cubicBezTo>
                      <a:cubicBezTo>
                        <a:pt x="-903" y="11223"/>
                        <a:pt x="533" y="7344"/>
                        <a:pt x="3809" y="5850"/>
                      </a:cubicBezTo>
                      <a:lnTo>
                        <a:pt x="15246" y="591"/>
                      </a:lnTo>
                      <a:cubicBezTo>
                        <a:pt x="18522" y="-903"/>
                        <a:pt x="22401" y="533"/>
                        <a:pt x="23896" y="3809"/>
                      </a:cubicBezTo>
                      <a:cubicBezTo>
                        <a:pt x="25390" y="7085"/>
                        <a:pt x="23953" y="10965"/>
                        <a:pt x="20677" y="12459"/>
                      </a:cubicBezTo>
                      <a:lnTo>
                        <a:pt x="9240" y="17717"/>
                      </a:lnTo>
                      <a:cubicBezTo>
                        <a:pt x="8378" y="18091"/>
                        <a:pt x="7459" y="18292"/>
                        <a:pt x="6539" y="18292"/>
                      </a:cubicBezTo>
                      <a:close/>
                    </a:path>
                  </a:pathLst>
                </a:custGeom>
                <a:solidFill>
                  <a:schemeClr val="accent1"/>
                </a:solidFill>
                <a:ln w="2873" cap="flat">
                  <a:noFill/>
                  <a:prstDash val="solid"/>
                  <a:miter/>
                </a:ln>
              </p:spPr>
              <p:txBody>
                <a:bodyPr rtlCol="0" anchor="ctr"/>
                <a:lstStyle/>
                <a:p>
                  <a:endParaRPr lang="en-GB" dirty="0"/>
                </a:p>
              </p:txBody>
            </p:sp>
          </p:grpSp>
          <p:sp>
            <p:nvSpPr>
              <p:cNvPr id="380" name="Freihandform: Form 984">
                <a:extLst>
                  <a:ext uri="{FF2B5EF4-FFF2-40B4-BE49-F238E27FC236}">
                    <a16:creationId xmlns:a16="http://schemas.microsoft.com/office/drawing/2014/main" id="{ABE15872-4356-444A-878C-A24BAF9AC81D}"/>
                  </a:ext>
                </a:extLst>
              </p:cNvPr>
              <p:cNvSpPr/>
              <p:nvPr/>
            </p:nvSpPr>
            <p:spPr>
              <a:xfrm>
                <a:off x="6487899" y="2681653"/>
                <a:ext cx="21436" cy="13046"/>
              </a:xfrm>
              <a:custGeom>
                <a:avLst/>
                <a:gdLst>
                  <a:gd name="connsiteX0" fmla="*/ 14914 w 21436"/>
                  <a:gd name="connsiteY0" fmla="*/ 13046 h 13046"/>
                  <a:gd name="connsiteX1" fmla="*/ 6523 w 21436"/>
                  <a:gd name="connsiteY1" fmla="*/ 13046 h 13046"/>
                  <a:gd name="connsiteX2" fmla="*/ 0 w 21436"/>
                  <a:gd name="connsiteY2" fmla="*/ 6523 h 13046"/>
                  <a:gd name="connsiteX3" fmla="*/ 6523 w 21436"/>
                  <a:gd name="connsiteY3" fmla="*/ 0 h 13046"/>
                  <a:gd name="connsiteX4" fmla="*/ 14914 w 21436"/>
                  <a:gd name="connsiteY4" fmla="*/ 0 h 13046"/>
                  <a:gd name="connsiteX5" fmla="*/ 21437 w 21436"/>
                  <a:gd name="connsiteY5" fmla="*/ 6523 h 13046"/>
                  <a:gd name="connsiteX6" fmla="*/ 14914 w 21436"/>
                  <a:gd name="connsiteY6" fmla="*/ 13046 h 1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436" h="13046">
                    <a:moveTo>
                      <a:pt x="14914" y="13046"/>
                    </a:moveTo>
                    <a:lnTo>
                      <a:pt x="6523" y="13046"/>
                    </a:lnTo>
                    <a:cubicBezTo>
                      <a:pt x="2931" y="13046"/>
                      <a:pt x="0" y="10115"/>
                      <a:pt x="0" y="6523"/>
                    </a:cubicBezTo>
                    <a:cubicBezTo>
                      <a:pt x="0" y="2931"/>
                      <a:pt x="2931" y="0"/>
                      <a:pt x="6523" y="0"/>
                    </a:cubicBezTo>
                    <a:lnTo>
                      <a:pt x="14914" y="0"/>
                    </a:lnTo>
                    <a:cubicBezTo>
                      <a:pt x="18506" y="0"/>
                      <a:pt x="21437" y="2931"/>
                      <a:pt x="21437" y="6523"/>
                    </a:cubicBezTo>
                    <a:cubicBezTo>
                      <a:pt x="21437" y="10115"/>
                      <a:pt x="18535" y="13046"/>
                      <a:pt x="14914" y="13046"/>
                    </a:cubicBezTo>
                    <a:close/>
                  </a:path>
                </a:pathLst>
              </a:custGeom>
              <a:solidFill>
                <a:schemeClr val="tx2"/>
              </a:solidFill>
              <a:ln w="2873" cap="flat">
                <a:noFill/>
                <a:prstDash val="solid"/>
                <a:miter/>
              </a:ln>
            </p:spPr>
            <p:txBody>
              <a:bodyPr rtlCol="0" anchor="ctr"/>
              <a:lstStyle/>
              <a:p>
                <a:endParaRPr lang="en-GB" dirty="0"/>
              </a:p>
            </p:txBody>
          </p:sp>
          <p:sp>
            <p:nvSpPr>
              <p:cNvPr id="381" name="Freihandform: Form 985">
                <a:extLst>
                  <a:ext uri="{FF2B5EF4-FFF2-40B4-BE49-F238E27FC236}">
                    <a16:creationId xmlns:a16="http://schemas.microsoft.com/office/drawing/2014/main" id="{32AC4916-62C0-4FD5-A0F8-9495184A2E87}"/>
                  </a:ext>
                </a:extLst>
              </p:cNvPr>
              <p:cNvSpPr/>
              <p:nvPr/>
            </p:nvSpPr>
            <p:spPr>
              <a:xfrm>
                <a:off x="6453049" y="2608698"/>
                <a:ext cx="26329" cy="25999"/>
              </a:xfrm>
              <a:custGeom>
                <a:avLst/>
                <a:gdLst>
                  <a:gd name="connsiteX0" fmla="*/ 6516 w 26329"/>
                  <a:gd name="connsiteY0" fmla="*/ 26000 h 25999"/>
                  <a:gd name="connsiteX1" fmla="*/ 3873 w 26329"/>
                  <a:gd name="connsiteY1" fmla="*/ 25425 h 25999"/>
                  <a:gd name="connsiteX2" fmla="*/ 568 w 26329"/>
                  <a:gd name="connsiteY2" fmla="*/ 16804 h 25999"/>
                  <a:gd name="connsiteX3" fmla="*/ 17292 w 26329"/>
                  <a:gd name="connsiteY3" fmla="*/ 511 h 25999"/>
                  <a:gd name="connsiteX4" fmla="*/ 25827 w 26329"/>
                  <a:gd name="connsiteY4" fmla="*/ 4017 h 25999"/>
                  <a:gd name="connsiteX5" fmla="*/ 22321 w 26329"/>
                  <a:gd name="connsiteY5" fmla="*/ 12551 h 25999"/>
                  <a:gd name="connsiteX6" fmla="*/ 12493 w 26329"/>
                  <a:gd name="connsiteY6" fmla="*/ 22092 h 25999"/>
                  <a:gd name="connsiteX7" fmla="*/ 6516 w 26329"/>
                  <a:gd name="connsiteY7" fmla="*/ 26000 h 25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329" h="25999">
                    <a:moveTo>
                      <a:pt x="6516" y="26000"/>
                    </a:moveTo>
                    <a:cubicBezTo>
                      <a:pt x="5625" y="26000"/>
                      <a:pt x="4735" y="25827"/>
                      <a:pt x="3873" y="25425"/>
                    </a:cubicBezTo>
                    <a:cubicBezTo>
                      <a:pt x="568" y="23960"/>
                      <a:pt x="-898" y="20109"/>
                      <a:pt x="568" y="16804"/>
                    </a:cubicBezTo>
                    <a:cubicBezTo>
                      <a:pt x="3844" y="9419"/>
                      <a:pt x="9792" y="3643"/>
                      <a:pt x="17292" y="511"/>
                    </a:cubicBezTo>
                    <a:cubicBezTo>
                      <a:pt x="20626" y="-897"/>
                      <a:pt x="24447" y="712"/>
                      <a:pt x="25827" y="4017"/>
                    </a:cubicBezTo>
                    <a:cubicBezTo>
                      <a:pt x="27206" y="7350"/>
                      <a:pt x="25654" y="11172"/>
                      <a:pt x="22321" y="12551"/>
                    </a:cubicBezTo>
                    <a:cubicBezTo>
                      <a:pt x="17982" y="14362"/>
                      <a:pt x="14390" y="17839"/>
                      <a:pt x="12493" y="22092"/>
                    </a:cubicBezTo>
                    <a:cubicBezTo>
                      <a:pt x="11401" y="24534"/>
                      <a:pt x="9016" y="26000"/>
                      <a:pt x="6516" y="26000"/>
                    </a:cubicBezTo>
                    <a:close/>
                  </a:path>
                </a:pathLst>
              </a:custGeom>
              <a:solidFill>
                <a:schemeClr val="tx2"/>
              </a:solidFill>
              <a:ln w="2873" cap="flat">
                <a:noFill/>
                <a:prstDash val="solid"/>
                <a:miter/>
              </a:ln>
            </p:spPr>
            <p:txBody>
              <a:bodyPr rtlCol="0" anchor="ctr"/>
              <a:lstStyle/>
              <a:p>
                <a:endParaRPr lang="en-GB" dirty="0"/>
              </a:p>
            </p:txBody>
          </p:sp>
          <p:sp>
            <p:nvSpPr>
              <p:cNvPr id="382" name="Freihandform: Form 986">
                <a:extLst>
                  <a:ext uri="{FF2B5EF4-FFF2-40B4-BE49-F238E27FC236}">
                    <a16:creationId xmlns:a16="http://schemas.microsoft.com/office/drawing/2014/main" id="{495BFF38-3803-47DB-A583-9107E082EB2C}"/>
                  </a:ext>
                </a:extLst>
              </p:cNvPr>
              <p:cNvSpPr/>
              <p:nvPr/>
            </p:nvSpPr>
            <p:spPr>
              <a:xfrm>
                <a:off x="6260426" y="2582427"/>
                <a:ext cx="130518" cy="261036"/>
              </a:xfrm>
              <a:custGeom>
                <a:avLst/>
                <a:gdLst>
                  <a:gd name="connsiteX0" fmla="*/ 84369 w 130518"/>
                  <a:gd name="connsiteY0" fmla="*/ 261037 h 261036"/>
                  <a:gd name="connsiteX1" fmla="*/ 38219 w 130518"/>
                  <a:gd name="connsiteY1" fmla="*/ 213220 h 261036"/>
                  <a:gd name="connsiteX2" fmla="*/ 38334 w 130518"/>
                  <a:gd name="connsiteY2" fmla="*/ 210433 h 261036"/>
                  <a:gd name="connsiteX3" fmla="*/ 0 w 130518"/>
                  <a:gd name="connsiteY3" fmla="*/ 150921 h 261036"/>
                  <a:gd name="connsiteX4" fmla="*/ 22673 w 130518"/>
                  <a:gd name="connsiteY4" fmla="*/ 101208 h 261036"/>
                  <a:gd name="connsiteX5" fmla="*/ 18966 w 130518"/>
                  <a:gd name="connsiteY5" fmla="*/ 80863 h 261036"/>
                  <a:gd name="connsiteX6" fmla="*/ 55834 w 130518"/>
                  <a:gd name="connsiteY6" fmla="*/ 27730 h 261036"/>
                  <a:gd name="connsiteX7" fmla="*/ 92300 w 130518"/>
                  <a:gd name="connsiteY7" fmla="*/ 0 h 261036"/>
                  <a:gd name="connsiteX8" fmla="*/ 130519 w 130518"/>
                  <a:gd name="connsiteY8" fmla="*/ 39569 h 261036"/>
                  <a:gd name="connsiteX9" fmla="*/ 130519 w 130518"/>
                  <a:gd name="connsiteY9" fmla="*/ 45690 h 261036"/>
                  <a:gd name="connsiteX10" fmla="*/ 117472 w 130518"/>
                  <a:gd name="connsiteY10" fmla="*/ 45690 h 261036"/>
                  <a:gd name="connsiteX11" fmla="*/ 117472 w 130518"/>
                  <a:gd name="connsiteY11" fmla="*/ 39684 h 261036"/>
                  <a:gd name="connsiteX12" fmla="*/ 117472 w 130518"/>
                  <a:gd name="connsiteY12" fmla="*/ 39512 h 261036"/>
                  <a:gd name="connsiteX13" fmla="*/ 92300 w 130518"/>
                  <a:gd name="connsiteY13" fmla="*/ 13075 h 261036"/>
                  <a:gd name="connsiteX14" fmla="*/ 67673 w 130518"/>
                  <a:gd name="connsiteY14" fmla="*/ 34167 h 261036"/>
                  <a:gd name="connsiteX15" fmla="*/ 62932 w 130518"/>
                  <a:gd name="connsiteY15" fmla="*/ 39224 h 261036"/>
                  <a:gd name="connsiteX16" fmla="*/ 32012 w 130518"/>
                  <a:gd name="connsiteY16" fmla="*/ 80892 h 261036"/>
                  <a:gd name="connsiteX17" fmla="*/ 36523 w 130518"/>
                  <a:gd name="connsiteY17" fmla="*/ 100403 h 261036"/>
                  <a:gd name="connsiteX18" fmla="*/ 34454 w 130518"/>
                  <a:gd name="connsiteY18" fmla="*/ 108564 h 261036"/>
                  <a:gd name="connsiteX19" fmla="*/ 13075 w 130518"/>
                  <a:gd name="connsiteY19" fmla="*/ 150950 h 261036"/>
                  <a:gd name="connsiteX20" fmla="*/ 47500 w 130518"/>
                  <a:gd name="connsiteY20" fmla="*/ 199944 h 261036"/>
                  <a:gd name="connsiteX21" fmla="*/ 51926 w 130518"/>
                  <a:gd name="connsiteY21" fmla="*/ 207215 h 261036"/>
                  <a:gd name="connsiteX22" fmla="*/ 51322 w 130518"/>
                  <a:gd name="connsiteY22" fmla="*/ 213220 h 261036"/>
                  <a:gd name="connsiteX23" fmla="*/ 84397 w 130518"/>
                  <a:gd name="connsiteY23" fmla="*/ 247991 h 261036"/>
                  <a:gd name="connsiteX24" fmla="*/ 117472 w 130518"/>
                  <a:gd name="connsiteY24" fmla="*/ 213364 h 261036"/>
                  <a:gd name="connsiteX25" fmla="*/ 117472 w 130518"/>
                  <a:gd name="connsiteY25" fmla="*/ 213163 h 261036"/>
                  <a:gd name="connsiteX26" fmla="*/ 123995 w 130518"/>
                  <a:gd name="connsiteY26" fmla="*/ 206640 h 261036"/>
                  <a:gd name="connsiteX27" fmla="*/ 130490 w 130518"/>
                  <a:gd name="connsiteY27" fmla="*/ 212588 h 261036"/>
                  <a:gd name="connsiteX28" fmla="*/ 130519 w 130518"/>
                  <a:gd name="connsiteY28" fmla="*/ 213192 h 261036"/>
                  <a:gd name="connsiteX29" fmla="*/ 84369 w 130518"/>
                  <a:gd name="connsiteY29" fmla="*/ 261037 h 261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0518" h="261036">
                    <a:moveTo>
                      <a:pt x="84369" y="261037"/>
                    </a:moveTo>
                    <a:cubicBezTo>
                      <a:pt x="58937" y="261037"/>
                      <a:pt x="38219" y="239571"/>
                      <a:pt x="38219" y="213220"/>
                    </a:cubicBezTo>
                    <a:cubicBezTo>
                      <a:pt x="38219" y="212272"/>
                      <a:pt x="38247" y="211353"/>
                      <a:pt x="38334" y="210433"/>
                    </a:cubicBezTo>
                    <a:cubicBezTo>
                      <a:pt x="15201" y="200577"/>
                      <a:pt x="0" y="177329"/>
                      <a:pt x="0" y="150921"/>
                    </a:cubicBezTo>
                    <a:cubicBezTo>
                      <a:pt x="0" y="131582"/>
                      <a:pt x="8391" y="113392"/>
                      <a:pt x="22673" y="101208"/>
                    </a:cubicBezTo>
                    <a:cubicBezTo>
                      <a:pt x="20201" y="94714"/>
                      <a:pt x="18966" y="87903"/>
                      <a:pt x="18966" y="80863"/>
                    </a:cubicBezTo>
                    <a:cubicBezTo>
                      <a:pt x="18966" y="56638"/>
                      <a:pt x="33937" y="35316"/>
                      <a:pt x="55834" y="27730"/>
                    </a:cubicBezTo>
                    <a:cubicBezTo>
                      <a:pt x="60748" y="11437"/>
                      <a:pt x="75518" y="0"/>
                      <a:pt x="92300" y="0"/>
                    </a:cubicBezTo>
                    <a:cubicBezTo>
                      <a:pt x="113363" y="0"/>
                      <a:pt x="130519" y="17759"/>
                      <a:pt x="130519" y="39569"/>
                    </a:cubicBezTo>
                    <a:lnTo>
                      <a:pt x="130519" y="45690"/>
                    </a:lnTo>
                    <a:lnTo>
                      <a:pt x="117472" y="45690"/>
                    </a:lnTo>
                    <a:lnTo>
                      <a:pt x="117472" y="39684"/>
                    </a:lnTo>
                    <a:cubicBezTo>
                      <a:pt x="117472" y="39627"/>
                      <a:pt x="117472" y="39569"/>
                      <a:pt x="117472" y="39512"/>
                    </a:cubicBezTo>
                    <a:cubicBezTo>
                      <a:pt x="117444" y="24914"/>
                      <a:pt x="106150" y="13075"/>
                      <a:pt x="92300" y="13075"/>
                    </a:cubicBezTo>
                    <a:cubicBezTo>
                      <a:pt x="80432" y="13075"/>
                      <a:pt x="70058" y="21954"/>
                      <a:pt x="67673" y="34167"/>
                    </a:cubicBezTo>
                    <a:cubicBezTo>
                      <a:pt x="67185" y="36610"/>
                      <a:pt x="65345" y="38564"/>
                      <a:pt x="62932" y="39224"/>
                    </a:cubicBezTo>
                    <a:cubicBezTo>
                      <a:pt x="44713" y="44081"/>
                      <a:pt x="32012" y="61207"/>
                      <a:pt x="32012" y="80892"/>
                    </a:cubicBezTo>
                    <a:cubicBezTo>
                      <a:pt x="32012" y="87702"/>
                      <a:pt x="33535" y="94282"/>
                      <a:pt x="36523" y="100403"/>
                    </a:cubicBezTo>
                    <a:cubicBezTo>
                      <a:pt x="37903" y="103277"/>
                      <a:pt x="37041" y="106725"/>
                      <a:pt x="34454" y="108564"/>
                    </a:cubicBezTo>
                    <a:cubicBezTo>
                      <a:pt x="21063" y="118162"/>
                      <a:pt x="13075" y="133996"/>
                      <a:pt x="13075" y="150950"/>
                    </a:cubicBezTo>
                    <a:cubicBezTo>
                      <a:pt x="13075" y="173565"/>
                      <a:pt x="26897" y="193249"/>
                      <a:pt x="47500" y="199944"/>
                    </a:cubicBezTo>
                    <a:cubicBezTo>
                      <a:pt x="50575" y="200950"/>
                      <a:pt x="52443" y="204025"/>
                      <a:pt x="51926" y="207215"/>
                    </a:cubicBezTo>
                    <a:cubicBezTo>
                      <a:pt x="51638" y="208996"/>
                      <a:pt x="51322" y="211094"/>
                      <a:pt x="51322" y="213220"/>
                    </a:cubicBezTo>
                    <a:cubicBezTo>
                      <a:pt x="51322" y="232387"/>
                      <a:pt x="66179" y="247991"/>
                      <a:pt x="84397" y="247991"/>
                    </a:cubicBezTo>
                    <a:cubicBezTo>
                      <a:pt x="102587" y="247991"/>
                      <a:pt x="117415" y="232473"/>
                      <a:pt x="117472" y="213364"/>
                    </a:cubicBezTo>
                    <a:cubicBezTo>
                      <a:pt x="117472" y="213307"/>
                      <a:pt x="117472" y="213249"/>
                      <a:pt x="117472" y="213163"/>
                    </a:cubicBezTo>
                    <a:cubicBezTo>
                      <a:pt x="117472" y="209571"/>
                      <a:pt x="120403" y="206640"/>
                      <a:pt x="123995" y="206640"/>
                    </a:cubicBezTo>
                    <a:cubicBezTo>
                      <a:pt x="127415" y="206640"/>
                      <a:pt x="130202" y="209255"/>
                      <a:pt x="130490" y="212588"/>
                    </a:cubicBezTo>
                    <a:cubicBezTo>
                      <a:pt x="130519" y="212789"/>
                      <a:pt x="130519" y="212991"/>
                      <a:pt x="130519" y="213192"/>
                    </a:cubicBezTo>
                    <a:cubicBezTo>
                      <a:pt x="130519" y="239600"/>
                      <a:pt x="109829" y="261037"/>
                      <a:pt x="84369" y="261037"/>
                    </a:cubicBezTo>
                    <a:close/>
                  </a:path>
                </a:pathLst>
              </a:custGeom>
              <a:solidFill>
                <a:schemeClr val="tx2"/>
              </a:solidFill>
              <a:ln w="2873" cap="flat">
                <a:noFill/>
                <a:prstDash val="solid"/>
                <a:miter/>
              </a:ln>
            </p:spPr>
            <p:txBody>
              <a:bodyPr rtlCol="0" anchor="ctr"/>
              <a:lstStyle/>
              <a:p>
                <a:endParaRPr lang="en-GB" dirty="0"/>
              </a:p>
            </p:txBody>
          </p:sp>
          <p:sp>
            <p:nvSpPr>
              <p:cNvPr id="383" name="Freihandform: Form 987">
                <a:extLst>
                  <a:ext uri="{FF2B5EF4-FFF2-40B4-BE49-F238E27FC236}">
                    <a16:creationId xmlns:a16="http://schemas.microsoft.com/office/drawing/2014/main" id="{7FB4D7CD-78CD-4B6D-89B3-511050FED756}"/>
                  </a:ext>
                </a:extLst>
              </p:cNvPr>
              <p:cNvSpPr/>
              <p:nvPr/>
            </p:nvSpPr>
            <p:spPr>
              <a:xfrm>
                <a:off x="6284601" y="2679304"/>
                <a:ext cx="36939" cy="17176"/>
              </a:xfrm>
              <a:custGeom>
                <a:avLst/>
                <a:gdLst>
                  <a:gd name="connsiteX0" fmla="*/ 18038 w 36939"/>
                  <a:gd name="connsiteY0" fmla="*/ 17176 h 17176"/>
                  <a:gd name="connsiteX1" fmla="*/ 2406 w 36939"/>
                  <a:gd name="connsiteY1" fmla="*/ 11573 h 17176"/>
                  <a:gd name="connsiteX2" fmla="*/ 1458 w 36939"/>
                  <a:gd name="connsiteY2" fmla="*/ 2406 h 17176"/>
                  <a:gd name="connsiteX3" fmla="*/ 10624 w 36939"/>
                  <a:gd name="connsiteY3" fmla="*/ 1458 h 17176"/>
                  <a:gd name="connsiteX4" fmla="*/ 26803 w 36939"/>
                  <a:gd name="connsiteY4" fmla="*/ 1199 h 17176"/>
                  <a:gd name="connsiteX5" fmla="*/ 35854 w 36939"/>
                  <a:gd name="connsiteY5" fmla="*/ 3038 h 17176"/>
                  <a:gd name="connsiteX6" fmla="*/ 34015 w 36939"/>
                  <a:gd name="connsiteY6" fmla="*/ 12090 h 17176"/>
                  <a:gd name="connsiteX7" fmla="*/ 18038 w 36939"/>
                  <a:gd name="connsiteY7" fmla="*/ 17176 h 1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939" h="17176">
                    <a:moveTo>
                      <a:pt x="18038" y="17176"/>
                    </a:moveTo>
                    <a:cubicBezTo>
                      <a:pt x="12435" y="17176"/>
                      <a:pt x="7004" y="15308"/>
                      <a:pt x="2406" y="11573"/>
                    </a:cubicBezTo>
                    <a:cubicBezTo>
                      <a:pt x="-382" y="9302"/>
                      <a:pt x="-813" y="5193"/>
                      <a:pt x="1458" y="2406"/>
                    </a:cubicBezTo>
                    <a:cubicBezTo>
                      <a:pt x="3728" y="-382"/>
                      <a:pt x="7837" y="-813"/>
                      <a:pt x="10624" y="1458"/>
                    </a:cubicBezTo>
                    <a:cubicBezTo>
                      <a:pt x="16803" y="6486"/>
                      <a:pt x="23412" y="3469"/>
                      <a:pt x="26803" y="1199"/>
                    </a:cubicBezTo>
                    <a:cubicBezTo>
                      <a:pt x="29791" y="-784"/>
                      <a:pt x="33843" y="21"/>
                      <a:pt x="35854" y="3038"/>
                    </a:cubicBezTo>
                    <a:cubicBezTo>
                      <a:pt x="37837" y="6027"/>
                      <a:pt x="37033" y="10078"/>
                      <a:pt x="34015" y="12090"/>
                    </a:cubicBezTo>
                    <a:cubicBezTo>
                      <a:pt x="28900" y="15452"/>
                      <a:pt x="23383" y="17176"/>
                      <a:pt x="18038" y="17176"/>
                    </a:cubicBezTo>
                    <a:close/>
                  </a:path>
                </a:pathLst>
              </a:custGeom>
              <a:solidFill>
                <a:schemeClr val="tx2"/>
              </a:solidFill>
              <a:ln w="2873" cap="flat">
                <a:noFill/>
                <a:prstDash val="solid"/>
                <a:miter/>
              </a:ln>
            </p:spPr>
            <p:txBody>
              <a:bodyPr rtlCol="0" anchor="ctr"/>
              <a:lstStyle/>
              <a:p>
                <a:endParaRPr lang="en-GB" dirty="0"/>
              </a:p>
            </p:txBody>
          </p:sp>
          <p:sp>
            <p:nvSpPr>
              <p:cNvPr id="384" name="Freihandform: Form 988">
                <a:extLst>
                  <a:ext uri="{FF2B5EF4-FFF2-40B4-BE49-F238E27FC236}">
                    <a16:creationId xmlns:a16="http://schemas.microsoft.com/office/drawing/2014/main" id="{AE877295-8990-427B-9515-166577DB5EBC}"/>
                  </a:ext>
                </a:extLst>
              </p:cNvPr>
              <p:cNvSpPr/>
              <p:nvPr/>
            </p:nvSpPr>
            <p:spPr>
              <a:xfrm>
                <a:off x="6299324" y="2767483"/>
                <a:ext cx="29554" cy="27532"/>
              </a:xfrm>
              <a:custGeom>
                <a:avLst/>
                <a:gdLst>
                  <a:gd name="connsiteX0" fmla="*/ 6533 w 29554"/>
                  <a:gd name="connsiteY0" fmla="*/ 27533 h 27532"/>
                  <a:gd name="connsiteX1" fmla="*/ 5269 w 29554"/>
                  <a:gd name="connsiteY1" fmla="*/ 27418 h 27532"/>
                  <a:gd name="connsiteX2" fmla="*/ 96 w 29554"/>
                  <a:gd name="connsiteY2" fmla="*/ 19975 h 27532"/>
                  <a:gd name="connsiteX3" fmla="*/ 21389 w 29554"/>
                  <a:gd name="connsiteY3" fmla="*/ 205 h 27532"/>
                  <a:gd name="connsiteX4" fmla="*/ 29349 w 29554"/>
                  <a:gd name="connsiteY4" fmla="*/ 4889 h 27532"/>
                  <a:gd name="connsiteX5" fmla="*/ 24665 w 29554"/>
                  <a:gd name="connsiteY5" fmla="*/ 12849 h 27532"/>
                  <a:gd name="connsiteX6" fmla="*/ 12941 w 29554"/>
                  <a:gd name="connsiteY6" fmla="*/ 22360 h 27532"/>
                  <a:gd name="connsiteX7" fmla="*/ 6533 w 29554"/>
                  <a:gd name="connsiteY7" fmla="*/ 27533 h 27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554" h="27532">
                    <a:moveTo>
                      <a:pt x="6533" y="27533"/>
                    </a:moveTo>
                    <a:cubicBezTo>
                      <a:pt x="6131" y="27533"/>
                      <a:pt x="5700" y="27504"/>
                      <a:pt x="5269" y="27418"/>
                    </a:cubicBezTo>
                    <a:cubicBezTo>
                      <a:pt x="1792" y="26728"/>
                      <a:pt x="-507" y="23452"/>
                      <a:pt x="96" y="19975"/>
                    </a:cubicBezTo>
                    <a:cubicBezTo>
                      <a:pt x="211" y="19372"/>
                      <a:pt x="2912" y="4975"/>
                      <a:pt x="21389" y="205"/>
                    </a:cubicBezTo>
                    <a:cubicBezTo>
                      <a:pt x="24895" y="-686"/>
                      <a:pt x="28430" y="1412"/>
                      <a:pt x="29349" y="4889"/>
                    </a:cubicBezTo>
                    <a:cubicBezTo>
                      <a:pt x="30240" y="8366"/>
                      <a:pt x="28142" y="11929"/>
                      <a:pt x="24665" y="12849"/>
                    </a:cubicBezTo>
                    <a:cubicBezTo>
                      <a:pt x="14780" y="15406"/>
                      <a:pt x="13085" y="21671"/>
                      <a:pt x="12941" y="22360"/>
                    </a:cubicBezTo>
                    <a:cubicBezTo>
                      <a:pt x="12280" y="25406"/>
                      <a:pt x="9550" y="27533"/>
                      <a:pt x="6533" y="27533"/>
                    </a:cubicBezTo>
                    <a:close/>
                  </a:path>
                </a:pathLst>
              </a:custGeom>
              <a:solidFill>
                <a:schemeClr val="tx2"/>
              </a:solidFill>
              <a:ln w="2873" cap="flat">
                <a:noFill/>
                <a:prstDash val="solid"/>
                <a:miter/>
              </a:ln>
            </p:spPr>
            <p:txBody>
              <a:bodyPr rtlCol="0" anchor="ctr"/>
              <a:lstStyle/>
              <a:p>
                <a:endParaRPr lang="en-GB" dirty="0"/>
              </a:p>
            </p:txBody>
          </p:sp>
          <p:sp>
            <p:nvSpPr>
              <p:cNvPr id="385" name="Freihandform: Form 989">
                <a:extLst>
                  <a:ext uri="{FF2B5EF4-FFF2-40B4-BE49-F238E27FC236}">
                    <a16:creationId xmlns:a16="http://schemas.microsoft.com/office/drawing/2014/main" id="{96F3611C-8108-4506-8D81-60EF00D7720F}"/>
                  </a:ext>
                </a:extLst>
              </p:cNvPr>
              <p:cNvSpPr/>
              <p:nvPr/>
            </p:nvSpPr>
            <p:spPr>
              <a:xfrm>
                <a:off x="6336365" y="2625634"/>
                <a:ext cx="26207" cy="32771"/>
              </a:xfrm>
              <a:custGeom>
                <a:avLst/>
                <a:gdLst>
                  <a:gd name="connsiteX0" fmla="*/ 6533 w 26207"/>
                  <a:gd name="connsiteY0" fmla="*/ 32772 h 32771"/>
                  <a:gd name="connsiteX1" fmla="*/ 154 w 26207"/>
                  <a:gd name="connsiteY1" fmla="*/ 27628 h 32771"/>
                  <a:gd name="connsiteX2" fmla="*/ 5125 w 26207"/>
                  <a:gd name="connsiteY2" fmla="*/ 19869 h 32771"/>
                  <a:gd name="connsiteX3" fmla="*/ 11562 w 26207"/>
                  <a:gd name="connsiteY3" fmla="*/ 15386 h 32771"/>
                  <a:gd name="connsiteX4" fmla="*/ 12884 w 26207"/>
                  <a:gd name="connsiteY4" fmla="*/ 7973 h 32771"/>
                  <a:gd name="connsiteX5" fmla="*/ 17826 w 26207"/>
                  <a:gd name="connsiteY5" fmla="*/ 156 h 32771"/>
                  <a:gd name="connsiteX6" fmla="*/ 25642 w 26207"/>
                  <a:gd name="connsiteY6" fmla="*/ 5099 h 32771"/>
                  <a:gd name="connsiteX7" fmla="*/ 22596 w 26207"/>
                  <a:gd name="connsiteY7" fmla="*/ 22398 h 32771"/>
                  <a:gd name="connsiteX8" fmla="*/ 7941 w 26207"/>
                  <a:gd name="connsiteY8" fmla="*/ 32628 h 32771"/>
                  <a:gd name="connsiteX9" fmla="*/ 6533 w 26207"/>
                  <a:gd name="connsiteY9" fmla="*/ 32772 h 3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207" h="32771">
                    <a:moveTo>
                      <a:pt x="6533" y="32772"/>
                    </a:moveTo>
                    <a:cubicBezTo>
                      <a:pt x="3544" y="32772"/>
                      <a:pt x="843" y="30703"/>
                      <a:pt x="154" y="27628"/>
                    </a:cubicBezTo>
                    <a:cubicBezTo>
                      <a:pt x="-622" y="24093"/>
                      <a:pt x="1619" y="20616"/>
                      <a:pt x="5125" y="19869"/>
                    </a:cubicBezTo>
                    <a:cubicBezTo>
                      <a:pt x="7826" y="19294"/>
                      <a:pt x="10096" y="17685"/>
                      <a:pt x="11562" y="15386"/>
                    </a:cubicBezTo>
                    <a:cubicBezTo>
                      <a:pt x="12999" y="13145"/>
                      <a:pt x="13458" y="10501"/>
                      <a:pt x="12884" y="7973"/>
                    </a:cubicBezTo>
                    <a:cubicBezTo>
                      <a:pt x="12079" y="4467"/>
                      <a:pt x="14292" y="961"/>
                      <a:pt x="17826" y="156"/>
                    </a:cubicBezTo>
                    <a:cubicBezTo>
                      <a:pt x="21332" y="-619"/>
                      <a:pt x="24838" y="1564"/>
                      <a:pt x="25642" y="5099"/>
                    </a:cubicBezTo>
                    <a:cubicBezTo>
                      <a:pt x="26993" y="11047"/>
                      <a:pt x="25901" y="17197"/>
                      <a:pt x="22596" y="22398"/>
                    </a:cubicBezTo>
                    <a:cubicBezTo>
                      <a:pt x="19234" y="27657"/>
                      <a:pt x="14033" y="31306"/>
                      <a:pt x="7941" y="32628"/>
                    </a:cubicBezTo>
                    <a:cubicBezTo>
                      <a:pt x="7452" y="32714"/>
                      <a:pt x="6993" y="32772"/>
                      <a:pt x="6533" y="32772"/>
                    </a:cubicBezTo>
                    <a:close/>
                  </a:path>
                </a:pathLst>
              </a:custGeom>
              <a:solidFill>
                <a:schemeClr val="tx2"/>
              </a:solidFill>
              <a:ln w="2873" cap="flat">
                <a:noFill/>
                <a:prstDash val="solid"/>
                <a:miter/>
              </a:ln>
            </p:spPr>
            <p:txBody>
              <a:bodyPr rtlCol="0" anchor="ctr"/>
              <a:lstStyle/>
              <a:p>
                <a:endParaRPr lang="en-GB" dirty="0"/>
              </a:p>
            </p:txBody>
          </p:sp>
        </p:grpSp>
        <p:grpSp>
          <p:nvGrpSpPr>
            <p:cNvPr id="361" name="Group 360">
              <a:extLst>
                <a:ext uri="{FF2B5EF4-FFF2-40B4-BE49-F238E27FC236}">
                  <a16:creationId xmlns:a16="http://schemas.microsoft.com/office/drawing/2014/main" id="{7F5EC64C-8B83-40A0-88B1-556626547227}"/>
                </a:ext>
              </a:extLst>
            </p:cNvPr>
            <p:cNvGrpSpPr/>
            <p:nvPr/>
          </p:nvGrpSpPr>
          <p:grpSpPr>
            <a:xfrm>
              <a:off x="7032725" y="1585984"/>
              <a:ext cx="532794" cy="432000"/>
              <a:chOff x="6156028" y="2458489"/>
              <a:chExt cx="482878" cy="391527"/>
            </a:xfrm>
          </p:grpSpPr>
          <p:sp>
            <p:nvSpPr>
              <p:cNvPr id="362" name="Freihandform: Form 990">
                <a:extLst>
                  <a:ext uri="{FF2B5EF4-FFF2-40B4-BE49-F238E27FC236}">
                    <a16:creationId xmlns:a16="http://schemas.microsoft.com/office/drawing/2014/main" id="{D04DD23E-9AB1-498B-AAF0-2101CC33F19D}"/>
                  </a:ext>
                </a:extLst>
              </p:cNvPr>
              <p:cNvSpPr/>
              <p:nvPr/>
            </p:nvSpPr>
            <p:spPr>
              <a:xfrm>
                <a:off x="6352859" y="2647708"/>
                <a:ext cx="84800" cy="137049"/>
              </a:xfrm>
              <a:custGeom>
                <a:avLst/>
                <a:gdLst>
                  <a:gd name="connsiteX0" fmla="*/ 39177 w 84800"/>
                  <a:gd name="connsiteY0" fmla="*/ 137049 h 137049"/>
                  <a:gd name="connsiteX1" fmla="*/ 37166 w 84800"/>
                  <a:gd name="connsiteY1" fmla="*/ 136733 h 137049"/>
                  <a:gd name="connsiteX2" fmla="*/ 32683 w 84800"/>
                  <a:gd name="connsiteY2" fmla="*/ 129722 h 137049"/>
                  <a:gd name="connsiteX3" fmla="*/ 38287 w 84800"/>
                  <a:gd name="connsiteY3" fmla="*/ 84836 h 137049"/>
                  <a:gd name="connsiteX4" fmla="*/ 6533 w 84800"/>
                  <a:gd name="connsiteY4" fmla="*/ 84836 h 137049"/>
                  <a:gd name="connsiteX5" fmla="*/ 1045 w 84800"/>
                  <a:gd name="connsiteY5" fmla="*/ 81848 h 137049"/>
                  <a:gd name="connsiteX6" fmla="*/ 585 w 84800"/>
                  <a:gd name="connsiteY6" fmla="*/ 75612 h 137049"/>
                  <a:gd name="connsiteX7" fmla="*/ 33200 w 84800"/>
                  <a:gd name="connsiteY7" fmla="*/ 3830 h 137049"/>
                  <a:gd name="connsiteX8" fmla="*/ 40528 w 84800"/>
                  <a:gd name="connsiteY8" fmla="*/ 152 h 137049"/>
                  <a:gd name="connsiteX9" fmla="*/ 45672 w 84800"/>
                  <a:gd name="connsiteY9" fmla="*/ 6531 h 137049"/>
                  <a:gd name="connsiteX10" fmla="*/ 45672 w 84800"/>
                  <a:gd name="connsiteY10" fmla="*/ 52221 h 137049"/>
                  <a:gd name="connsiteX11" fmla="*/ 78287 w 84800"/>
                  <a:gd name="connsiteY11" fmla="*/ 52221 h 137049"/>
                  <a:gd name="connsiteX12" fmla="*/ 83891 w 84800"/>
                  <a:gd name="connsiteY12" fmla="*/ 55411 h 137049"/>
                  <a:gd name="connsiteX13" fmla="*/ 84005 w 84800"/>
                  <a:gd name="connsiteY13" fmla="*/ 61876 h 137049"/>
                  <a:gd name="connsiteX14" fmla="*/ 44838 w 84800"/>
                  <a:gd name="connsiteY14" fmla="*/ 133658 h 137049"/>
                  <a:gd name="connsiteX15" fmla="*/ 39177 w 84800"/>
                  <a:gd name="connsiteY15" fmla="*/ 137049 h 137049"/>
                  <a:gd name="connsiteX16" fmla="*/ 16677 w 84800"/>
                  <a:gd name="connsiteY16" fmla="*/ 71790 h 137049"/>
                  <a:gd name="connsiteX17" fmla="*/ 45700 w 84800"/>
                  <a:gd name="connsiteY17" fmla="*/ 71790 h 137049"/>
                  <a:gd name="connsiteX18" fmla="*/ 50586 w 84800"/>
                  <a:gd name="connsiteY18" fmla="*/ 74003 h 137049"/>
                  <a:gd name="connsiteX19" fmla="*/ 52166 w 84800"/>
                  <a:gd name="connsiteY19" fmla="*/ 79118 h 137049"/>
                  <a:gd name="connsiteX20" fmla="*/ 49896 w 84800"/>
                  <a:gd name="connsiteY20" fmla="*/ 97193 h 137049"/>
                  <a:gd name="connsiteX21" fmla="*/ 67310 w 84800"/>
                  <a:gd name="connsiteY21" fmla="*/ 65267 h 137049"/>
                  <a:gd name="connsiteX22" fmla="*/ 39149 w 84800"/>
                  <a:gd name="connsiteY22" fmla="*/ 65267 h 137049"/>
                  <a:gd name="connsiteX23" fmla="*/ 32626 w 84800"/>
                  <a:gd name="connsiteY23" fmla="*/ 58744 h 137049"/>
                  <a:gd name="connsiteX24" fmla="*/ 32626 w 84800"/>
                  <a:gd name="connsiteY24" fmla="*/ 36675 h 137049"/>
                  <a:gd name="connsiteX25" fmla="*/ 16677 w 84800"/>
                  <a:gd name="connsiteY25" fmla="*/ 71790 h 137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4800" h="137049">
                    <a:moveTo>
                      <a:pt x="39177" y="137049"/>
                    </a:moveTo>
                    <a:cubicBezTo>
                      <a:pt x="38517" y="137049"/>
                      <a:pt x="37827" y="136934"/>
                      <a:pt x="37166" y="136733"/>
                    </a:cubicBezTo>
                    <a:cubicBezTo>
                      <a:pt x="34177" y="135785"/>
                      <a:pt x="32310" y="132825"/>
                      <a:pt x="32683" y="129722"/>
                    </a:cubicBezTo>
                    <a:lnTo>
                      <a:pt x="38287" y="84836"/>
                    </a:lnTo>
                    <a:lnTo>
                      <a:pt x="6533" y="84836"/>
                    </a:lnTo>
                    <a:cubicBezTo>
                      <a:pt x="4321" y="84836"/>
                      <a:pt x="2252" y="83716"/>
                      <a:pt x="1045" y="81848"/>
                    </a:cubicBezTo>
                    <a:cubicBezTo>
                      <a:pt x="-162" y="79980"/>
                      <a:pt x="-334" y="77623"/>
                      <a:pt x="585" y="75612"/>
                    </a:cubicBezTo>
                    <a:lnTo>
                      <a:pt x="33200" y="3830"/>
                    </a:lnTo>
                    <a:cubicBezTo>
                      <a:pt x="34465" y="1042"/>
                      <a:pt x="37511" y="-509"/>
                      <a:pt x="40528" y="152"/>
                    </a:cubicBezTo>
                    <a:cubicBezTo>
                      <a:pt x="43517" y="812"/>
                      <a:pt x="45672" y="3456"/>
                      <a:pt x="45672" y="6531"/>
                    </a:cubicBezTo>
                    <a:lnTo>
                      <a:pt x="45672" y="52221"/>
                    </a:lnTo>
                    <a:lnTo>
                      <a:pt x="78287" y="52221"/>
                    </a:lnTo>
                    <a:cubicBezTo>
                      <a:pt x="80586" y="52221"/>
                      <a:pt x="82712" y="53428"/>
                      <a:pt x="83891" y="55411"/>
                    </a:cubicBezTo>
                    <a:cubicBezTo>
                      <a:pt x="85069" y="57393"/>
                      <a:pt x="85097" y="59836"/>
                      <a:pt x="84005" y="61876"/>
                    </a:cubicBezTo>
                    <a:lnTo>
                      <a:pt x="44838" y="133658"/>
                    </a:lnTo>
                    <a:cubicBezTo>
                      <a:pt x="43718" y="135785"/>
                      <a:pt x="41505" y="137049"/>
                      <a:pt x="39177" y="137049"/>
                    </a:cubicBezTo>
                    <a:close/>
                    <a:moveTo>
                      <a:pt x="16677" y="71790"/>
                    </a:moveTo>
                    <a:lnTo>
                      <a:pt x="45700" y="71790"/>
                    </a:lnTo>
                    <a:cubicBezTo>
                      <a:pt x="47568" y="71790"/>
                      <a:pt x="49350" y="72595"/>
                      <a:pt x="50586" y="74003"/>
                    </a:cubicBezTo>
                    <a:cubicBezTo>
                      <a:pt x="51821" y="75411"/>
                      <a:pt x="52396" y="77279"/>
                      <a:pt x="52166" y="79118"/>
                    </a:cubicBezTo>
                    <a:lnTo>
                      <a:pt x="49896" y="97193"/>
                    </a:lnTo>
                    <a:lnTo>
                      <a:pt x="67310" y="65267"/>
                    </a:lnTo>
                    <a:lnTo>
                      <a:pt x="39149" y="65267"/>
                    </a:lnTo>
                    <a:cubicBezTo>
                      <a:pt x="35557" y="65267"/>
                      <a:pt x="32626" y="62336"/>
                      <a:pt x="32626" y="58744"/>
                    </a:cubicBezTo>
                    <a:lnTo>
                      <a:pt x="32626" y="36675"/>
                    </a:lnTo>
                    <a:lnTo>
                      <a:pt x="16677" y="71790"/>
                    </a:lnTo>
                    <a:close/>
                  </a:path>
                </a:pathLst>
              </a:custGeom>
              <a:solidFill>
                <a:schemeClr val="accent1"/>
              </a:solidFill>
              <a:ln w="2873" cap="flat">
                <a:noFill/>
                <a:prstDash val="solid"/>
                <a:miter/>
              </a:ln>
            </p:spPr>
            <p:txBody>
              <a:bodyPr rtlCol="0" anchor="ctr"/>
              <a:lstStyle/>
              <a:p>
                <a:endParaRPr lang="en-GB" dirty="0"/>
              </a:p>
            </p:txBody>
          </p:sp>
          <p:sp>
            <p:nvSpPr>
              <p:cNvPr id="363" name="Freihandform: Form 991">
                <a:extLst>
                  <a:ext uri="{FF2B5EF4-FFF2-40B4-BE49-F238E27FC236}">
                    <a16:creationId xmlns:a16="http://schemas.microsoft.com/office/drawing/2014/main" id="{147D2863-E31E-4910-9199-57A3FCFF4B0F}"/>
                  </a:ext>
                </a:extLst>
              </p:cNvPr>
              <p:cNvSpPr/>
              <p:nvPr/>
            </p:nvSpPr>
            <p:spPr>
              <a:xfrm>
                <a:off x="6573676" y="2536795"/>
                <a:ext cx="65230" cy="65230"/>
              </a:xfrm>
              <a:custGeom>
                <a:avLst/>
                <a:gdLst>
                  <a:gd name="connsiteX0" fmla="*/ 32615 w 65230"/>
                  <a:gd name="connsiteY0" fmla="*/ 65231 h 65230"/>
                  <a:gd name="connsiteX1" fmla="*/ 0 w 65230"/>
                  <a:gd name="connsiteY1" fmla="*/ 32615 h 65230"/>
                  <a:gd name="connsiteX2" fmla="*/ 32615 w 65230"/>
                  <a:gd name="connsiteY2" fmla="*/ 0 h 65230"/>
                  <a:gd name="connsiteX3" fmla="*/ 65230 w 65230"/>
                  <a:gd name="connsiteY3" fmla="*/ 32615 h 65230"/>
                  <a:gd name="connsiteX4" fmla="*/ 32615 w 65230"/>
                  <a:gd name="connsiteY4" fmla="*/ 65231 h 65230"/>
                  <a:gd name="connsiteX5" fmla="*/ 32615 w 65230"/>
                  <a:gd name="connsiteY5" fmla="*/ 13017 h 65230"/>
                  <a:gd name="connsiteX6" fmla="*/ 13046 w 65230"/>
                  <a:gd name="connsiteY6" fmla="*/ 32587 h 65230"/>
                  <a:gd name="connsiteX7" fmla="*/ 32615 w 65230"/>
                  <a:gd name="connsiteY7" fmla="*/ 52156 h 65230"/>
                  <a:gd name="connsiteX8" fmla="*/ 52184 w 65230"/>
                  <a:gd name="connsiteY8" fmla="*/ 32587 h 65230"/>
                  <a:gd name="connsiteX9" fmla="*/ 32615 w 65230"/>
                  <a:gd name="connsiteY9" fmla="*/ 13017 h 6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30" h="65230">
                    <a:moveTo>
                      <a:pt x="32615" y="65231"/>
                    </a:moveTo>
                    <a:cubicBezTo>
                      <a:pt x="14627" y="65231"/>
                      <a:pt x="0" y="50604"/>
                      <a:pt x="0" y="32615"/>
                    </a:cubicBezTo>
                    <a:cubicBezTo>
                      <a:pt x="0" y="14627"/>
                      <a:pt x="14627" y="0"/>
                      <a:pt x="32615" y="0"/>
                    </a:cubicBezTo>
                    <a:cubicBezTo>
                      <a:pt x="50604" y="0"/>
                      <a:pt x="65230" y="14627"/>
                      <a:pt x="65230" y="32615"/>
                    </a:cubicBezTo>
                    <a:cubicBezTo>
                      <a:pt x="65230" y="50604"/>
                      <a:pt x="50604" y="65231"/>
                      <a:pt x="32615" y="65231"/>
                    </a:cubicBezTo>
                    <a:close/>
                    <a:moveTo>
                      <a:pt x="32615" y="13017"/>
                    </a:moveTo>
                    <a:cubicBezTo>
                      <a:pt x="21811" y="13017"/>
                      <a:pt x="13046" y="21811"/>
                      <a:pt x="13046" y="32587"/>
                    </a:cubicBezTo>
                    <a:cubicBezTo>
                      <a:pt x="13046" y="43391"/>
                      <a:pt x="21839" y="52156"/>
                      <a:pt x="32615" y="52156"/>
                    </a:cubicBezTo>
                    <a:cubicBezTo>
                      <a:pt x="43420" y="52156"/>
                      <a:pt x="52184" y="43362"/>
                      <a:pt x="52184" y="32587"/>
                    </a:cubicBezTo>
                    <a:cubicBezTo>
                      <a:pt x="52213" y="21811"/>
                      <a:pt x="43420" y="13017"/>
                      <a:pt x="32615" y="13017"/>
                    </a:cubicBezTo>
                    <a:close/>
                  </a:path>
                </a:pathLst>
              </a:custGeom>
              <a:solidFill>
                <a:schemeClr val="accent1"/>
              </a:solidFill>
              <a:ln w="2873" cap="flat">
                <a:noFill/>
                <a:prstDash val="solid"/>
                <a:miter/>
              </a:ln>
            </p:spPr>
            <p:txBody>
              <a:bodyPr rtlCol="0" anchor="ctr"/>
              <a:lstStyle/>
              <a:p>
                <a:endParaRPr lang="en-GB" dirty="0"/>
              </a:p>
            </p:txBody>
          </p:sp>
          <p:sp>
            <p:nvSpPr>
              <p:cNvPr id="364" name="Freihandform: Form 992">
                <a:extLst>
                  <a:ext uri="{FF2B5EF4-FFF2-40B4-BE49-F238E27FC236}">
                    <a16:creationId xmlns:a16="http://schemas.microsoft.com/office/drawing/2014/main" id="{F0C6B0E8-5882-4800-821F-81AA986B212B}"/>
                  </a:ext>
                </a:extLst>
              </p:cNvPr>
              <p:cNvSpPr/>
              <p:nvPr/>
            </p:nvSpPr>
            <p:spPr>
              <a:xfrm>
                <a:off x="6156028" y="2784786"/>
                <a:ext cx="65230" cy="65230"/>
              </a:xfrm>
              <a:custGeom>
                <a:avLst/>
                <a:gdLst>
                  <a:gd name="connsiteX0" fmla="*/ 32615 w 65230"/>
                  <a:gd name="connsiteY0" fmla="*/ 65231 h 65230"/>
                  <a:gd name="connsiteX1" fmla="*/ 0 w 65230"/>
                  <a:gd name="connsiteY1" fmla="*/ 32615 h 65230"/>
                  <a:gd name="connsiteX2" fmla="*/ 32615 w 65230"/>
                  <a:gd name="connsiteY2" fmla="*/ 0 h 65230"/>
                  <a:gd name="connsiteX3" fmla="*/ 65230 w 65230"/>
                  <a:gd name="connsiteY3" fmla="*/ 32615 h 65230"/>
                  <a:gd name="connsiteX4" fmla="*/ 32615 w 65230"/>
                  <a:gd name="connsiteY4" fmla="*/ 65231 h 65230"/>
                  <a:gd name="connsiteX5" fmla="*/ 32615 w 65230"/>
                  <a:gd name="connsiteY5" fmla="*/ 13017 h 65230"/>
                  <a:gd name="connsiteX6" fmla="*/ 13046 w 65230"/>
                  <a:gd name="connsiteY6" fmla="*/ 32587 h 65230"/>
                  <a:gd name="connsiteX7" fmla="*/ 32615 w 65230"/>
                  <a:gd name="connsiteY7" fmla="*/ 52156 h 65230"/>
                  <a:gd name="connsiteX8" fmla="*/ 52184 w 65230"/>
                  <a:gd name="connsiteY8" fmla="*/ 32587 h 65230"/>
                  <a:gd name="connsiteX9" fmla="*/ 32615 w 65230"/>
                  <a:gd name="connsiteY9" fmla="*/ 13017 h 6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30" h="65230">
                    <a:moveTo>
                      <a:pt x="32615" y="65231"/>
                    </a:moveTo>
                    <a:cubicBezTo>
                      <a:pt x="14627" y="65231"/>
                      <a:pt x="0" y="50604"/>
                      <a:pt x="0" y="32615"/>
                    </a:cubicBezTo>
                    <a:cubicBezTo>
                      <a:pt x="0" y="14627"/>
                      <a:pt x="14627" y="0"/>
                      <a:pt x="32615" y="0"/>
                    </a:cubicBezTo>
                    <a:cubicBezTo>
                      <a:pt x="50604" y="0"/>
                      <a:pt x="65230" y="14627"/>
                      <a:pt x="65230" y="32615"/>
                    </a:cubicBezTo>
                    <a:cubicBezTo>
                      <a:pt x="65230" y="50575"/>
                      <a:pt x="50604" y="65231"/>
                      <a:pt x="32615" y="65231"/>
                    </a:cubicBezTo>
                    <a:close/>
                    <a:moveTo>
                      <a:pt x="32615" y="13017"/>
                    </a:moveTo>
                    <a:cubicBezTo>
                      <a:pt x="21811" y="13017"/>
                      <a:pt x="13046" y="21811"/>
                      <a:pt x="13046" y="32587"/>
                    </a:cubicBezTo>
                    <a:cubicBezTo>
                      <a:pt x="13046" y="43391"/>
                      <a:pt x="21839" y="52156"/>
                      <a:pt x="32615" y="52156"/>
                    </a:cubicBezTo>
                    <a:cubicBezTo>
                      <a:pt x="43420" y="52156"/>
                      <a:pt x="52184" y="43362"/>
                      <a:pt x="52184" y="32587"/>
                    </a:cubicBezTo>
                    <a:cubicBezTo>
                      <a:pt x="52184" y="21782"/>
                      <a:pt x="43420" y="13017"/>
                      <a:pt x="32615" y="13017"/>
                    </a:cubicBezTo>
                    <a:close/>
                  </a:path>
                </a:pathLst>
              </a:custGeom>
              <a:solidFill>
                <a:schemeClr val="accent1"/>
              </a:solidFill>
              <a:ln w="2873" cap="flat">
                <a:noFill/>
                <a:prstDash val="solid"/>
                <a:miter/>
              </a:ln>
            </p:spPr>
            <p:txBody>
              <a:bodyPr rtlCol="0" anchor="ctr"/>
              <a:lstStyle/>
              <a:p>
                <a:endParaRPr lang="en-GB" dirty="0"/>
              </a:p>
            </p:txBody>
          </p:sp>
          <p:sp>
            <p:nvSpPr>
              <p:cNvPr id="365" name="Freihandform: Form 993">
                <a:extLst>
                  <a:ext uri="{FF2B5EF4-FFF2-40B4-BE49-F238E27FC236}">
                    <a16:creationId xmlns:a16="http://schemas.microsoft.com/office/drawing/2014/main" id="{C06E3BB5-F6F0-491A-B0D4-E3BB911651C6}"/>
                  </a:ext>
                </a:extLst>
              </p:cNvPr>
              <p:cNvSpPr/>
              <p:nvPr/>
            </p:nvSpPr>
            <p:spPr>
              <a:xfrm>
                <a:off x="6573676" y="2784786"/>
                <a:ext cx="65230" cy="65230"/>
              </a:xfrm>
              <a:custGeom>
                <a:avLst/>
                <a:gdLst>
                  <a:gd name="connsiteX0" fmla="*/ 32615 w 65230"/>
                  <a:gd name="connsiteY0" fmla="*/ 65231 h 65230"/>
                  <a:gd name="connsiteX1" fmla="*/ 0 w 65230"/>
                  <a:gd name="connsiteY1" fmla="*/ 32615 h 65230"/>
                  <a:gd name="connsiteX2" fmla="*/ 32615 w 65230"/>
                  <a:gd name="connsiteY2" fmla="*/ 0 h 65230"/>
                  <a:gd name="connsiteX3" fmla="*/ 65230 w 65230"/>
                  <a:gd name="connsiteY3" fmla="*/ 32615 h 65230"/>
                  <a:gd name="connsiteX4" fmla="*/ 32615 w 65230"/>
                  <a:gd name="connsiteY4" fmla="*/ 65231 h 65230"/>
                  <a:gd name="connsiteX5" fmla="*/ 32615 w 65230"/>
                  <a:gd name="connsiteY5" fmla="*/ 13017 h 65230"/>
                  <a:gd name="connsiteX6" fmla="*/ 13046 w 65230"/>
                  <a:gd name="connsiteY6" fmla="*/ 32587 h 65230"/>
                  <a:gd name="connsiteX7" fmla="*/ 32615 w 65230"/>
                  <a:gd name="connsiteY7" fmla="*/ 52156 h 65230"/>
                  <a:gd name="connsiteX8" fmla="*/ 52184 w 65230"/>
                  <a:gd name="connsiteY8" fmla="*/ 32587 h 65230"/>
                  <a:gd name="connsiteX9" fmla="*/ 32615 w 65230"/>
                  <a:gd name="connsiteY9" fmla="*/ 13017 h 6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30" h="65230">
                    <a:moveTo>
                      <a:pt x="32615" y="65231"/>
                    </a:moveTo>
                    <a:cubicBezTo>
                      <a:pt x="14627" y="65231"/>
                      <a:pt x="0" y="50604"/>
                      <a:pt x="0" y="32615"/>
                    </a:cubicBezTo>
                    <a:cubicBezTo>
                      <a:pt x="0" y="14627"/>
                      <a:pt x="14627" y="0"/>
                      <a:pt x="32615" y="0"/>
                    </a:cubicBezTo>
                    <a:cubicBezTo>
                      <a:pt x="50604" y="0"/>
                      <a:pt x="65230" y="14627"/>
                      <a:pt x="65230" y="32615"/>
                    </a:cubicBezTo>
                    <a:cubicBezTo>
                      <a:pt x="65259" y="50575"/>
                      <a:pt x="50604" y="65231"/>
                      <a:pt x="32615" y="65231"/>
                    </a:cubicBezTo>
                    <a:close/>
                    <a:moveTo>
                      <a:pt x="32615" y="13017"/>
                    </a:moveTo>
                    <a:cubicBezTo>
                      <a:pt x="21811" y="13017"/>
                      <a:pt x="13046" y="21811"/>
                      <a:pt x="13046" y="32587"/>
                    </a:cubicBezTo>
                    <a:cubicBezTo>
                      <a:pt x="13046" y="43391"/>
                      <a:pt x="21839" y="52156"/>
                      <a:pt x="32615" y="52156"/>
                    </a:cubicBezTo>
                    <a:cubicBezTo>
                      <a:pt x="43420" y="52156"/>
                      <a:pt x="52184" y="43362"/>
                      <a:pt x="52184" y="32587"/>
                    </a:cubicBezTo>
                    <a:cubicBezTo>
                      <a:pt x="52213" y="21782"/>
                      <a:pt x="43420" y="13017"/>
                      <a:pt x="32615" y="13017"/>
                    </a:cubicBezTo>
                    <a:close/>
                  </a:path>
                </a:pathLst>
              </a:custGeom>
              <a:solidFill>
                <a:schemeClr val="accent1"/>
              </a:solidFill>
              <a:ln w="2873" cap="flat">
                <a:noFill/>
                <a:prstDash val="solid"/>
                <a:miter/>
              </a:ln>
            </p:spPr>
            <p:txBody>
              <a:bodyPr rtlCol="0" anchor="ctr"/>
              <a:lstStyle/>
              <a:p>
                <a:endParaRPr lang="en-GB" dirty="0"/>
              </a:p>
            </p:txBody>
          </p:sp>
          <p:sp>
            <p:nvSpPr>
              <p:cNvPr id="366" name="Freihandform: Form 994">
                <a:extLst>
                  <a:ext uri="{FF2B5EF4-FFF2-40B4-BE49-F238E27FC236}">
                    <a16:creationId xmlns:a16="http://schemas.microsoft.com/office/drawing/2014/main" id="{26ED5F6F-F87A-4602-AB37-CB7DE6A246E9}"/>
                  </a:ext>
                </a:extLst>
              </p:cNvPr>
              <p:cNvSpPr/>
              <p:nvPr/>
            </p:nvSpPr>
            <p:spPr>
              <a:xfrm>
                <a:off x="6364852" y="2458489"/>
                <a:ext cx="65230" cy="65230"/>
              </a:xfrm>
              <a:custGeom>
                <a:avLst/>
                <a:gdLst>
                  <a:gd name="connsiteX0" fmla="*/ 32615 w 65230"/>
                  <a:gd name="connsiteY0" fmla="*/ 65231 h 65230"/>
                  <a:gd name="connsiteX1" fmla="*/ 0 w 65230"/>
                  <a:gd name="connsiteY1" fmla="*/ 32615 h 65230"/>
                  <a:gd name="connsiteX2" fmla="*/ 32615 w 65230"/>
                  <a:gd name="connsiteY2" fmla="*/ 0 h 65230"/>
                  <a:gd name="connsiteX3" fmla="*/ 65231 w 65230"/>
                  <a:gd name="connsiteY3" fmla="*/ 32615 h 65230"/>
                  <a:gd name="connsiteX4" fmla="*/ 32615 w 65230"/>
                  <a:gd name="connsiteY4" fmla="*/ 65231 h 65230"/>
                  <a:gd name="connsiteX5" fmla="*/ 32615 w 65230"/>
                  <a:gd name="connsiteY5" fmla="*/ 13017 h 65230"/>
                  <a:gd name="connsiteX6" fmla="*/ 13046 w 65230"/>
                  <a:gd name="connsiteY6" fmla="*/ 32587 h 65230"/>
                  <a:gd name="connsiteX7" fmla="*/ 32615 w 65230"/>
                  <a:gd name="connsiteY7" fmla="*/ 52156 h 65230"/>
                  <a:gd name="connsiteX8" fmla="*/ 52184 w 65230"/>
                  <a:gd name="connsiteY8" fmla="*/ 32587 h 65230"/>
                  <a:gd name="connsiteX9" fmla="*/ 32615 w 65230"/>
                  <a:gd name="connsiteY9" fmla="*/ 13017 h 6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30" h="65230">
                    <a:moveTo>
                      <a:pt x="32615" y="65231"/>
                    </a:moveTo>
                    <a:cubicBezTo>
                      <a:pt x="14627" y="65231"/>
                      <a:pt x="0" y="50604"/>
                      <a:pt x="0" y="32615"/>
                    </a:cubicBezTo>
                    <a:cubicBezTo>
                      <a:pt x="0" y="14627"/>
                      <a:pt x="14627" y="0"/>
                      <a:pt x="32615" y="0"/>
                    </a:cubicBezTo>
                    <a:cubicBezTo>
                      <a:pt x="50604" y="0"/>
                      <a:pt x="65231" y="14627"/>
                      <a:pt x="65231" y="32615"/>
                    </a:cubicBezTo>
                    <a:cubicBezTo>
                      <a:pt x="65259" y="50575"/>
                      <a:pt x="50604" y="65231"/>
                      <a:pt x="32615" y="65231"/>
                    </a:cubicBezTo>
                    <a:close/>
                    <a:moveTo>
                      <a:pt x="32615" y="13017"/>
                    </a:moveTo>
                    <a:cubicBezTo>
                      <a:pt x="21811" y="13017"/>
                      <a:pt x="13046" y="21811"/>
                      <a:pt x="13046" y="32587"/>
                    </a:cubicBezTo>
                    <a:cubicBezTo>
                      <a:pt x="13046" y="43391"/>
                      <a:pt x="21839" y="52156"/>
                      <a:pt x="32615" y="52156"/>
                    </a:cubicBezTo>
                    <a:cubicBezTo>
                      <a:pt x="43420" y="52156"/>
                      <a:pt x="52184" y="43362"/>
                      <a:pt x="52184" y="32587"/>
                    </a:cubicBezTo>
                    <a:cubicBezTo>
                      <a:pt x="52184" y="21782"/>
                      <a:pt x="43420" y="13017"/>
                      <a:pt x="32615" y="13017"/>
                    </a:cubicBezTo>
                    <a:close/>
                  </a:path>
                </a:pathLst>
              </a:custGeom>
              <a:solidFill>
                <a:schemeClr val="accent1"/>
              </a:solidFill>
              <a:ln w="2873" cap="flat">
                <a:noFill/>
                <a:prstDash val="solid"/>
                <a:miter/>
              </a:ln>
            </p:spPr>
            <p:txBody>
              <a:bodyPr rtlCol="0" anchor="ctr"/>
              <a:lstStyle/>
              <a:p>
                <a:endParaRPr lang="en-GB" dirty="0"/>
              </a:p>
            </p:txBody>
          </p:sp>
          <p:sp>
            <p:nvSpPr>
              <p:cNvPr id="367" name="Freihandform: Form 995">
                <a:extLst>
                  <a:ext uri="{FF2B5EF4-FFF2-40B4-BE49-F238E27FC236}">
                    <a16:creationId xmlns:a16="http://schemas.microsoft.com/office/drawing/2014/main" id="{FC502502-F13A-4CFA-AF90-048F48A38FE5}"/>
                  </a:ext>
                </a:extLst>
              </p:cNvPr>
              <p:cNvSpPr/>
              <p:nvPr/>
            </p:nvSpPr>
            <p:spPr>
              <a:xfrm>
                <a:off x="6156028" y="2536795"/>
                <a:ext cx="65230" cy="65230"/>
              </a:xfrm>
              <a:custGeom>
                <a:avLst/>
                <a:gdLst>
                  <a:gd name="connsiteX0" fmla="*/ 32615 w 65230"/>
                  <a:gd name="connsiteY0" fmla="*/ 65231 h 65230"/>
                  <a:gd name="connsiteX1" fmla="*/ 0 w 65230"/>
                  <a:gd name="connsiteY1" fmla="*/ 32615 h 65230"/>
                  <a:gd name="connsiteX2" fmla="*/ 32615 w 65230"/>
                  <a:gd name="connsiteY2" fmla="*/ 0 h 65230"/>
                  <a:gd name="connsiteX3" fmla="*/ 65230 w 65230"/>
                  <a:gd name="connsiteY3" fmla="*/ 32615 h 65230"/>
                  <a:gd name="connsiteX4" fmla="*/ 32615 w 65230"/>
                  <a:gd name="connsiteY4" fmla="*/ 65231 h 65230"/>
                  <a:gd name="connsiteX5" fmla="*/ 32615 w 65230"/>
                  <a:gd name="connsiteY5" fmla="*/ 13017 h 65230"/>
                  <a:gd name="connsiteX6" fmla="*/ 13046 w 65230"/>
                  <a:gd name="connsiteY6" fmla="*/ 32587 h 65230"/>
                  <a:gd name="connsiteX7" fmla="*/ 32615 w 65230"/>
                  <a:gd name="connsiteY7" fmla="*/ 52156 h 65230"/>
                  <a:gd name="connsiteX8" fmla="*/ 52184 w 65230"/>
                  <a:gd name="connsiteY8" fmla="*/ 32587 h 65230"/>
                  <a:gd name="connsiteX9" fmla="*/ 32615 w 65230"/>
                  <a:gd name="connsiteY9" fmla="*/ 13017 h 6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30" h="65230">
                    <a:moveTo>
                      <a:pt x="32615" y="65231"/>
                    </a:moveTo>
                    <a:cubicBezTo>
                      <a:pt x="14627" y="65231"/>
                      <a:pt x="0" y="50604"/>
                      <a:pt x="0" y="32615"/>
                    </a:cubicBezTo>
                    <a:cubicBezTo>
                      <a:pt x="0" y="14627"/>
                      <a:pt x="14627" y="0"/>
                      <a:pt x="32615" y="0"/>
                    </a:cubicBezTo>
                    <a:cubicBezTo>
                      <a:pt x="50604" y="0"/>
                      <a:pt x="65230" y="14627"/>
                      <a:pt x="65230" y="32615"/>
                    </a:cubicBezTo>
                    <a:cubicBezTo>
                      <a:pt x="65230" y="50604"/>
                      <a:pt x="50604" y="65231"/>
                      <a:pt x="32615" y="65231"/>
                    </a:cubicBezTo>
                    <a:close/>
                    <a:moveTo>
                      <a:pt x="32615" y="13017"/>
                    </a:moveTo>
                    <a:cubicBezTo>
                      <a:pt x="21811" y="13017"/>
                      <a:pt x="13046" y="21811"/>
                      <a:pt x="13046" y="32587"/>
                    </a:cubicBezTo>
                    <a:cubicBezTo>
                      <a:pt x="13046" y="43391"/>
                      <a:pt x="21839" y="52156"/>
                      <a:pt x="32615" y="52156"/>
                    </a:cubicBezTo>
                    <a:cubicBezTo>
                      <a:pt x="43420" y="52156"/>
                      <a:pt x="52184" y="43362"/>
                      <a:pt x="52184" y="32587"/>
                    </a:cubicBezTo>
                    <a:cubicBezTo>
                      <a:pt x="52184" y="21811"/>
                      <a:pt x="43420" y="13017"/>
                      <a:pt x="32615" y="13017"/>
                    </a:cubicBezTo>
                    <a:close/>
                  </a:path>
                </a:pathLst>
              </a:custGeom>
              <a:solidFill>
                <a:schemeClr val="accent1"/>
              </a:solidFill>
              <a:ln w="2873" cap="flat">
                <a:noFill/>
                <a:prstDash val="solid"/>
                <a:miter/>
              </a:ln>
            </p:spPr>
            <p:txBody>
              <a:bodyPr rtlCol="0" anchor="ctr"/>
              <a:lstStyle/>
              <a:p>
                <a:endParaRPr lang="en-GB" dirty="0"/>
              </a:p>
            </p:txBody>
          </p:sp>
          <p:sp>
            <p:nvSpPr>
              <p:cNvPr id="368" name="Freihandform: Form 996">
                <a:extLst>
                  <a:ext uri="{FF2B5EF4-FFF2-40B4-BE49-F238E27FC236}">
                    <a16:creationId xmlns:a16="http://schemas.microsoft.com/office/drawing/2014/main" id="{95E2E86D-FF88-416F-B968-6EE70C49BE9E}"/>
                  </a:ext>
                </a:extLst>
              </p:cNvPr>
              <p:cNvSpPr/>
              <p:nvPr/>
            </p:nvSpPr>
            <p:spPr>
              <a:xfrm rot="18041789">
                <a:off x="6556553" y="2765997"/>
                <a:ext cx="13046" cy="51294"/>
              </a:xfrm>
              <a:custGeom>
                <a:avLst/>
                <a:gdLst>
                  <a:gd name="connsiteX0" fmla="*/ 0 w 13046"/>
                  <a:gd name="connsiteY0" fmla="*/ 0 h 51294"/>
                  <a:gd name="connsiteX1" fmla="*/ 13046 w 13046"/>
                  <a:gd name="connsiteY1" fmla="*/ 0 h 51294"/>
                  <a:gd name="connsiteX2" fmla="*/ 13046 w 13046"/>
                  <a:gd name="connsiteY2" fmla="*/ 51295 h 51294"/>
                  <a:gd name="connsiteX3" fmla="*/ 0 w 13046"/>
                  <a:gd name="connsiteY3" fmla="*/ 51295 h 51294"/>
                </a:gdLst>
                <a:ahLst/>
                <a:cxnLst>
                  <a:cxn ang="0">
                    <a:pos x="connsiteX0" y="connsiteY0"/>
                  </a:cxn>
                  <a:cxn ang="0">
                    <a:pos x="connsiteX1" y="connsiteY1"/>
                  </a:cxn>
                  <a:cxn ang="0">
                    <a:pos x="connsiteX2" y="connsiteY2"/>
                  </a:cxn>
                  <a:cxn ang="0">
                    <a:pos x="connsiteX3" y="connsiteY3"/>
                  </a:cxn>
                </a:cxnLst>
                <a:rect l="l" t="t" r="r" b="b"/>
                <a:pathLst>
                  <a:path w="13046" h="51294">
                    <a:moveTo>
                      <a:pt x="0" y="0"/>
                    </a:moveTo>
                    <a:lnTo>
                      <a:pt x="13046" y="0"/>
                    </a:lnTo>
                    <a:lnTo>
                      <a:pt x="13046" y="51295"/>
                    </a:lnTo>
                    <a:lnTo>
                      <a:pt x="0" y="51295"/>
                    </a:lnTo>
                    <a:close/>
                  </a:path>
                </a:pathLst>
              </a:custGeom>
              <a:solidFill>
                <a:schemeClr val="accent1"/>
              </a:solidFill>
              <a:ln w="2873" cap="flat">
                <a:noFill/>
                <a:prstDash val="solid"/>
                <a:miter/>
              </a:ln>
            </p:spPr>
            <p:txBody>
              <a:bodyPr rtlCol="0" anchor="ctr"/>
              <a:lstStyle/>
              <a:p>
                <a:endParaRPr lang="en-GB" dirty="0"/>
              </a:p>
            </p:txBody>
          </p:sp>
          <p:sp>
            <p:nvSpPr>
              <p:cNvPr id="369" name="Freihandform: Form 997">
                <a:extLst>
                  <a:ext uri="{FF2B5EF4-FFF2-40B4-BE49-F238E27FC236}">
                    <a16:creationId xmlns:a16="http://schemas.microsoft.com/office/drawing/2014/main" id="{6C5750A0-F405-4B9F-8854-A4A6DDF4490F}"/>
                  </a:ext>
                </a:extLst>
              </p:cNvPr>
              <p:cNvSpPr/>
              <p:nvPr/>
            </p:nvSpPr>
            <p:spPr>
              <a:xfrm rot="18041789">
                <a:off x="6235258" y="2564000"/>
                <a:ext cx="13046" cy="73737"/>
              </a:xfrm>
              <a:custGeom>
                <a:avLst/>
                <a:gdLst>
                  <a:gd name="connsiteX0" fmla="*/ 0 w 13046"/>
                  <a:gd name="connsiteY0" fmla="*/ 0 h 73737"/>
                  <a:gd name="connsiteX1" fmla="*/ 13046 w 13046"/>
                  <a:gd name="connsiteY1" fmla="*/ 0 h 73737"/>
                  <a:gd name="connsiteX2" fmla="*/ 13046 w 13046"/>
                  <a:gd name="connsiteY2" fmla="*/ 73738 h 73737"/>
                  <a:gd name="connsiteX3" fmla="*/ 0 w 13046"/>
                  <a:gd name="connsiteY3" fmla="*/ 73738 h 73737"/>
                </a:gdLst>
                <a:ahLst/>
                <a:cxnLst>
                  <a:cxn ang="0">
                    <a:pos x="connsiteX0" y="connsiteY0"/>
                  </a:cxn>
                  <a:cxn ang="0">
                    <a:pos x="connsiteX1" y="connsiteY1"/>
                  </a:cxn>
                  <a:cxn ang="0">
                    <a:pos x="connsiteX2" y="connsiteY2"/>
                  </a:cxn>
                  <a:cxn ang="0">
                    <a:pos x="connsiteX3" y="connsiteY3"/>
                  </a:cxn>
                </a:cxnLst>
                <a:rect l="l" t="t" r="r" b="b"/>
                <a:pathLst>
                  <a:path w="13046" h="73737">
                    <a:moveTo>
                      <a:pt x="0" y="0"/>
                    </a:moveTo>
                    <a:lnTo>
                      <a:pt x="13046" y="0"/>
                    </a:lnTo>
                    <a:lnTo>
                      <a:pt x="13046" y="73738"/>
                    </a:lnTo>
                    <a:lnTo>
                      <a:pt x="0" y="73738"/>
                    </a:lnTo>
                    <a:close/>
                  </a:path>
                </a:pathLst>
              </a:custGeom>
              <a:solidFill>
                <a:schemeClr val="accent1"/>
              </a:solidFill>
              <a:ln w="2873" cap="flat">
                <a:noFill/>
                <a:prstDash val="solid"/>
                <a:miter/>
              </a:ln>
            </p:spPr>
            <p:txBody>
              <a:bodyPr rtlCol="0" anchor="ctr"/>
              <a:lstStyle/>
              <a:p>
                <a:endParaRPr lang="en-GB" dirty="0"/>
              </a:p>
            </p:txBody>
          </p:sp>
          <p:sp>
            <p:nvSpPr>
              <p:cNvPr id="370" name="Freihandform: Form 998">
                <a:extLst>
                  <a:ext uri="{FF2B5EF4-FFF2-40B4-BE49-F238E27FC236}">
                    <a16:creationId xmlns:a16="http://schemas.microsoft.com/office/drawing/2014/main" id="{11979F14-8C36-4260-A34C-03221FC7985D}"/>
                  </a:ext>
                </a:extLst>
              </p:cNvPr>
              <p:cNvSpPr/>
              <p:nvPr/>
            </p:nvSpPr>
            <p:spPr>
              <a:xfrm rot="19757444">
                <a:off x="6206006" y="2785287"/>
                <a:ext cx="51554" cy="13046"/>
              </a:xfrm>
              <a:custGeom>
                <a:avLst/>
                <a:gdLst>
                  <a:gd name="connsiteX0" fmla="*/ 0 w 51554"/>
                  <a:gd name="connsiteY0" fmla="*/ 0 h 13046"/>
                  <a:gd name="connsiteX1" fmla="*/ 51554 w 51554"/>
                  <a:gd name="connsiteY1" fmla="*/ 0 h 13046"/>
                  <a:gd name="connsiteX2" fmla="*/ 51554 w 51554"/>
                  <a:gd name="connsiteY2" fmla="*/ 13047 h 13046"/>
                  <a:gd name="connsiteX3" fmla="*/ 0 w 51554"/>
                  <a:gd name="connsiteY3" fmla="*/ 13047 h 13046"/>
                </a:gdLst>
                <a:ahLst/>
                <a:cxnLst>
                  <a:cxn ang="0">
                    <a:pos x="connsiteX0" y="connsiteY0"/>
                  </a:cxn>
                  <a:cxn ang="0">
                    <a:pos x="connsiteX1" y="connsiteY1"/>
                  </a:cxn>
                  <a:cxn ang="0">
                    <a:pos x="connsiteX2" y="connsiteY2"/>
                  </a:cxn>
                  <a:cxn ang="0">
                    <a:pos x="connsiteX3" y="connsiteY3"/>
                  </a:cxn>
                </a:cxnLst>
                <a:rect l="l" t="t" r="r" b="b"/>
                <a:pathLst>
                  <a:path w="51554" h="13046">
                    <a:moveTo>
                      <a:pt x="0" y="0"/>
                    </a:moveTo>
                    <a:lnTo>
                      <a:pt x="51554" y="0"/>
                    </a:lnTo>
                    <a:lnTo>
                      <a:pt x="51554" y="13047"/>
                    </a:lnTo>
                    <a:lnTo>
                      <a:pt x="0" y="13047"/>
                    </a:lnTo>
                    <a:close/>
                  </a:path>
                </a:pathLst>
              </a:custGeom>
              <a:solidFill>
                <a:schemeClr val="accent1"/>
              </a:solidFill>
              <a:ln w="2873" cap="flat">
                <a:noFill/>
                <a:prstDash val="solid"/>
                <a:miter/>
              </a:ln>
            </p:spPr>
            <p:txBody>
              <a:bodyPr rtlCol="0" anchor="ctr"/>
              <a:lstStyle/>
              <a:p>
                <a:endParaRPr lang="en-GB" dirty="0"/>
              </a:p>
            </p:txBody>
          </p:sp>
          <p:sp>
            <p:nvSpPr>
              <p:cNvPr id="371" name="Freihandform: Form 999">
                <a:extLst>
                  <a:ext uri="{FF2B5EF4-FFF2-40B4-BE49-F238E27FC236}">
                    <a16:creationId xmlns:a16="http://schemas.microsoft.com/office/drawing/2014/main" id="{5397CA9C-28BD-4A62-AA2E-1D920CAF3EEB}"/>
                  </a:ext>
                </a:extLst>
              </p:cNvPr>
              <p:cNvSpPr/>
              <p:nvPr/>
            </p:nvSpPr>
            <p:spPr>
              <a:xfrm rot="19757444">
                <a:off x="6510346" y="2596486"/>
                <a:ext cx="78911" cy="13046"/>
              </a:xfrm>
              <a:custGeom>
                <a:avLst/>
                <a:gdLst>
                  <a:gd name="connsiteX0" fmla="*/ 0 w 78911"/>
                  <a:gd name="connsiteY0" fmla="*/ 0 h 13046"/>
                  <a:gd name="connsiteX1" fmla="*/ 78912 w 78911"/>
                  <a:gd name="connsiteY1" fmla="*/ 0 h 13046"/>
                  <a:gd name="connsiteX2" fmla="*/ 78912 w 78911"/>
                  <a:gd name="connsiteY2" fmla="*/ 13047 h 13046"/>
                  <a:gd name="connsiteX3" fmla="*/ 0 w 78911"/>
                  <a:gd name="connsiteY3" fmla="*/ 13047 h 13046"/>
                </a:gdLst>
                <a:ahLst/>
                <a:cxnLst>
                  <a:cxn ang="0">
                    <a:pos x="connsiteX0" y="connsiteY0"/>
                  </a:cxn>
                  <a:cxn ang="0">
                    <a:pos x="connsiteX1" y="connsiteY1"/>
                  </a:cxn>
                  <a:cxn ang="0">
                    <a:pos x="connsiteX2" y="connsiteY2"/>
                  </a:cxn>
                  <a:cxn ang="0">
                    <a:pos x="connsiteX3" y="connsiteY3"/>
                  </a:cxn>
                </a:cxnLst>
                <a:rect l="l" t="t" r="r" b="b"/>
                <a:pathLst>
                  <a:path w="78911" h="13046">
                    <a:moveTo>
                      <a:pt x="0" y="0"/>
                    </a:moveTo>
                    <a:lnTo>
                      <a:pt x="78912" y="0"/>
                    </a:lnTo>
                    <a:lnTo>
                      <a:pt x="78912" y="13047"/>
                    </a:lnTo>
                    <a:lnTo>
                      <a:pt x="0" y="13047"/>
                    </a:lnTo>
                    <a:close/>
                  </a:path>
                </a:pathLst>
              </a:custGeom>
              <a:solidFill>
                <a:schemeClr val="accent1"/>
              </a:solidFill>
              <a:ln w="2873" cap="flat">
                <a:noFill/>
                <a:prstDash val="solid"/>
                <a:miter/>
              </a:ln>
            </p:spPr>
            <p:txBody>
              <a:bodyPr rtlCol="0" anchor="ctr"/>
              <a:lstStyle/>
              <a:p>
                <a:endParaRPr lang="en-GB" dirty="0"/>
              </a:p>
            </p:txBody>
          </p:sp>
          <p:sp>
            <p:nvSpPr>
              <p:cNvPr id="372" name="Freihandform: Form 1000">
                <a:extLst>
                  <a:ext uri="{FF2B5EF4-FFF2-40B4-BE49-F238E27FC236}">
                    <a16:creationId xmlns:a16="http://schemas.microsoft.com/office/drawing/2014/main" id="{2270C48C-5BD2-4826-BB83-D4753EF0B178}"/>
                  </a:ext>
                </a:extLst>
              </p:cNvPr>
              <p:cNvSpPr/>
              <p:nvPr/>
            </p:nvSpPr>
            <p:spPr>
              <a:xfrm>
                <a:off x="6390944" y="2517197"/>
                <a:ext cx="13046" cy="52213"/>
              </a:xfrm>
              <a:custGeom>
                <a:avLst/>
                <a:gdLst>
                  <a:gd name="connsiteX0" fmla="*/ 0 w 13046"/>
                  <a:gd name="connsiteY0" fmla="*/ 0 h 52213"/>
                  <a:gd name="connsiteX1" fmla="*/ 13046 w 13046"/>
                  <a:gd name="connsiteY1" fmla="*/ 0 h 52213"/>
                  <a:gd name="connsiteX2" fmla="*/ 13046 w 13046"/>
                  <a:gd name="connsiteY2" fmla="*/ 52213 h 52213"/>
                  <a:gd name="connsiteX3" fmla="*/ 0 w 13046"/>
                  <a:gd name="connsiteY3" fmla="*/ 52213 h 52213"/>
                </a:gdLst>
                <a:ahLst/>
                <a:cxnLst>
                  <a:cxn ang="0">
                    <a:pos x="connsiteX0" y="connsiteY0"/>
                  </a:cxn>
                  <a:cxn ang="0">
                    <a:pos x="connsiteX1" y="connsiteY1"/>
                  </a:cxn>
                  <a:cxn ang="0">
                    <a:pos x="connsiteX2" y="connsiteY2"/>
                  </a:cxn>
                  <a:cxn ang="0">
                    <a:pos x="connsiteX3" y="connsiteY3"/>
                  </a:cxn>
                </a:cxnLst>
                <a:rect l="l" t="t" r="r" b="b"/>
                <a:pathLst>
                  <a:path w="13046" h="52213">
                    <a:moveTo>
                      <a:pt x="0" y="0"/>
                    </a:moveTo>
                    <a:lnTo>
                      <a:pt x="13046" y="0"/>
                    </a:lnTo>
                    <a:lnTo>
                      <a:pt x="13046" y="52213"/>
                    </a:lnTo>
                    <a:lnTo>
                      <a:pt x="0" y="52213"/>
                    </a:lnTo>
                    <a:close/>
                  </a:path>
                </a:pathLst>
              </a:custGeom>
              <a:solidFill>
                <a:schemeClr val="accent1"/>
              </a:solidFill>
              <a:ln w="2873" cap="flat">
                <a:noFill/>
                <a:prstDash val="solid"/>
                <a:miter/>
              </a:ln>
            </p:spPr>
            <p:txBody>
              <a:bodyPr rtlCol="0" anchor="ctr"/>
              <a:lstStyle/>
              <a:p>
                <a:endParaRPr lang="en-GB" dirty="0"/>
              </a:p>
            </p:txBody>
          </p:sp>
        </p:grpSp>
      </p:grpSp>
      <p:grpSp>
        <p:nvGrpSpPr>
          <p:cNvPr id="415" name="Group 414">
            <a:extLst>
              <a:ext uri="{FF2B5EF4-FFF2-40B4-BE49-F238E27FC236}">
                <a16:creationId xmlns:a16="http://schemas.microsoft.com/office/drawing/2014/main" id="{C1220E94-5F21-4019-99AE-38C0C24102C9}"/>
              </a:ext>
            </a:extLst>
          </p:cNvPr>
          <p:cNvGrpSpPr>
            <a:grpSpLocks noChangeAspect="1"/>
          </p:cNvGrpSpPr>
          <p:nvPr/>
        </p:nvGrpSpPr>
        <p:grpSpPr>
          <a:xfrm>
            <a:off x="8123710" y="1585983"/>
            <a:ext cx="437916" cy="431999"/>
            <a:chOff x="6984800" y="4102988"/>
            <a:chExt cx="482907" cy="476382"/>
          </a:xfrm>
        </p:grpSpPr>
        <p:sp>
          <p:nvSpPr>
            <p:cNvPr id="416" name="Freihandform: Form 872">
              <a:extLst>
                <a:ext uri="{FF2B5EF4-FFF2-40B4-BE49-F238E27FC236}">
                  <a16:creationId xmlns:a16="http://schemas.microsoft.com/office/drawing/2014/main" id="{65AD3735-ECFB-4ADE-9D90-C58C62D8E43A}"/>
                </a:ext>
              </a:extLst>
            </p:cNvPr>
            <p:cNvSpPr/>
            <p:nvPr/>
          </p:nvSpPr>
          <p:spPr>
            <a:xfrm>
              <a:off x="7102330" y="4207413"/>
              <a:ext cx="287127" cy="371957"/>
            </a:xfrm>
            <a:custGeom>
              <a:avLst/>
              <a:gdLst>
                <a:gd name="connsiteX0" fmla="*/ 163076 w 287127"/>
                <a:gd name="connsiteY0" fmla="*/ 371929 h 371957"/>
                <a:gd name="connsiteX1" fmla="*/ 150030 w 287127"/>
                <a:gd name="connsiteY1" fmla="*/ 371929 h 371957"/>
                <a:gd name="connsiteX2" fmla="*/ 150030 w 287127"/>
                <a:gd name="connsiteY2" fmla="*/ 300922 h 371957"/>
                <a:gd name="connsiteX3" fmla="*/ 217847 w 287127"/>
                <a:gd name="connsiteY3" fmla="*/ 300922 h 371957"/>
                <a:gd name="connsiteX4" fmla="*/ 234887 w 287127"/>
                <a:gd name="connsiteY4" fmla="*/ 280577 h 371957"/>
                <a:gd name="connsiteX5" fmla="*/ 234887 w 287127"/>
                <a:gd name="connsiteY5" fmla="*/ 220318 h 371957"/>
                <a:gd name="connsiteX6" fmla="*/ 273480 w 287127"/>
                <a:gd name="connsiteY6" fmla="*/ 220318 h 371957"/>
                <a:gd name="connsiteX7" fmla="*/ 237991 w 287127"/>
                <a:gd name="connsiteY7" fmla="*/ 117961 h 371957"/>
                <a:gd name="connsiteX8" fmla="*/ 136840 w 287127"/>
                <a:gd name="connsiteY8" fmla="*/ 13563 h 371957"/>
                <a:gd name="connsiteX9" fmla="*/ 49742 w 287127"/>
                <a:gd name="connsiteY9" fmla="*/ 42443 h 371957"/>
                <a:gd name="connsiteX10" fmla="*/ 13046 w 287127"/>
                <a:gd name="connsiteY10" fmla="*/ 124742 h 371957"/>
                <a:gd name="connsiteX11" fmla="*/ 13046 w 287127"/>
                <a:gd name="connsiteY11" fmla="*/ 371958 h 371957"/>
                <a:gd name="connsiteX12" fmla="*/ 0 w 287127"/>
                <a:gd name="connsiteY12" fmla="*/ 371958 h 371957"/>
                <a:gd name="connsiteX13" fmla="*/ 0 w 287127"/>
                <a:gd name="connsiteY13" fmla="*/ 124742 h 371957"/>
                <a:gd name="connsiteX14" fmla="*/ 40977 w 287127"/>
                <a:gd name="connsiteY14" fmla="*/ 32788 h 371957"/>
                <a:gd name="connsiteX15" fmla="*/ 138105 w 287127"/>
                <a:gd name="connsiteY15" fmla="*/ 575 h 371957"/>
                <a:gd name="connsiteX16" fmla="*/ 250951 w 287127"/>
                <a:gd name="connsiteY16" fmla="*/ 116064 h 371957"/>
                <a:gd name="connsiteX17" fmla="*/ 286411 w 287127"/>
                <a:gd name="connsiteY17" fmla="*/ 217732 h 371957"/>
                <a:gd name="connsiteX18" fmla="*/ 285060 w 287127"/>
                <a:gd name="connsiteY18" fmla="*/ 228278 h 371957"/>
                <a:gd name="connsiteX19" fmla="*/ 275405 w 287127"/>
                <a:gd name="connsiteY19" fmla="*/ 233364 h 371957"/>
                <a:gd name="connsiteX20" fmla="*/ 247962 w 287127"/>
                <a:gd name="connsiteY20" fmla="*/ 233364 h 371957"/>
                <a:gd name="connsiteX21" fmla="*/ 247962 w 287127"/>
                <a:gd name="connsiteY21" fmla="*/ 280577 h 371957"/>
                <a:gd name="connsiteX22" fmla="*/ 217876 w 287127"/>
                <a:gd name="connsiteY22" fmla="*/ 313969 h 371957"/>
                <a:gd name="connsiteX23" fmla="*/ 163134 w 287127"/>
                <a:gd name="connsiteY23" fmla="*/ 313969 h 371957"/>
                <a:gd name="connsiteX24" fmla="*/ 163134 w 287127"/>
                <a:gd name="connsiteY24" fmla="*/ 371929 h 371957"/>
                <a:gd name="connsiteX25" fmla="*/ 274083 w 287127"/>
                <a:gd name="connsiteY25" fmla="*/ 222157 h 371957"/>
                <a:gd name="connsiteX26" fmla="*/ 274112 w 287127"/>
                <a:gd name="connsiteY26" fmla="*/ 222215 h 371957"/>
                <a:gd name="connsiteX27" fmla="*/ 274083 w 287127"/>
                <a:gd name="connsiteY27" fmla="*/ 222157 h 371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7127" h="371957">
                  <a:moveTo>
                    <a:pt x="163076" y="371929"/>
                  </a:moveTo>
                  <a:lnTo>
                    <a:pt x="150030" y="371929"/>
                  </a:lnTo>
                  <a:lnTo>
                    <a:pt x="150030" y="300922"/>
                  </a:lnTo>
                  <a:lnTo>
                    <a:pt x="217847" y="300922"/>
                  </a:lnTo>
                  <a:cubicBezTo>
                    <a:pt x="230404" y="300922"/>
                    <a:pt x="234887" y="289974"/>
                    <a:pt x="234887" y="280577"/>
                  </a:cubicBezTo>
                  <a:lnTo>
                    <a:pt x="234887" y="220318"/>
                  </a:lnTo>
                  <a:lnTo>
                    <a:pt x="273480" y="220318"/>
                  </a:lnTo>
                  <a:lnTo>
                    <a:pt x="237991" y="117961"/>
                  </a:lnTo>
                  <a:cubicBezTo>
                    <a:pt x="233450" y="62673"/>
                    <a:pt x="190893" y="18765"/>
                    <a:pt x="136840" y="13563"/>
                  </a:cubicBezTo>
                  <a:cubicBezTo>
                    <a:pt x="104541" y="10460"/>
                    <a:pt x="73650" y="20719"/>
                    <a:pt x="49742" y="42443"/>
                  </a:cubicBezTo>
                  <a:cubicBezTo>
                    <a:pt x="26408" y="63621"/>
                    <a:pt x="13046" y="93622"/>
                    <a:pt x="13046" y="124742"/>
                  </a:cubicBezTo>
                  <a:lnTo>
                    <a:pt x="13046" y="371958"/>
                  </a:lnTo>
                  <a:lnTo>
                    <a:pt x="0" y="371958"/>
                  </a:lnTo>
                  <a:lnTo>
                    <a:pt x="0" y="124742"/>
                  </a:lnTo>
                  <a:cubicBezTo>
                    <a:pt x="0" y="89972"/>
                    <a:pt x="14943" y="56437"/>
                    <a:pt x="40977" y="32788"/>
                  </a:cubicBezTo>
                  <a:cubicBezTo>
                    <a:pt x="67271" y="8908"/>
                    <a:pt x="102645" y="-2816"/>
                    <a:pt x="138105" y="575"/>
                  </a:cubicBezTo>
                  <a:cubicBezTo>
                    <a:pt x="198191" y="6351"/>
                    <a:pt x="245520" y="54857"/>
                    <a:pt x="250951" y="116064"/>
                  </a:cubicBezTo>
                  <a:lnTo>
                    <a:pt x="286411" y="217732"/>
                  </a:lnTo>
                  <a:cubicBezTo>
                    <a:pt x="287704" y="221123"/>
                    <a:pt x="287244" y="225117"/>
                    <a:pt x="285060" y="228278"/>
                  </a:cubicBezTo>
                  <a:cubicBezTo>
                    <a:pt x="282876" y="231468"/>
                    <a:pt x="279256" y="233364"/>
                    <a:pt x="275405" y="233364"/>
                  </a:cubicBezTo>
                  <a:lnTo>
                    <a:pt x="247962" y="233364"/>
                  </a:lnTo>
                  <a:lnTo>
                    <a:pt x="247962" y="280577"/>
                  </a:lnTo>
                  <a:cubicBezTo>
                    <a:pt x="247962" y="300233"/>
                    <a:pt x="235606" y="313969"/>
                    <a:pt x="217876" y="313969"/>
                  </a:cubicBezTo>
                  <a:lnTo>
                    <a:pt x="163134" y="313969"/>
                  </a:lnTo>
                  <a:lnTo>
                    <a:pt x="163134" y="371929"/>
                  </a:lnTo>
                  <a:close/>
                  <a:moveTo>
                    <a:pt x="274083" y="222157"/>
                  </a:moveTo>
                  <a:cubicBezTo>
                    <a:pt x="274083" y="222186"/>
                    <a:pt x="274083" y="222215"/>
                    <a:pt x="274112" y="222215"/>
                  </a:cubicBezTo>
                  <a:lnTo>
                    <a:pt x="274083" y="222157"/>
                  </a:lnTo>
                  <a:close/>
                </a:path>
              </a:pathLst>
            </a:custGeom>
            <a:solidFill>
              <a:schemeClr val="tx2"/>
            </a:solidFill>
            <a:ln w="2873" cap="flat">
              <a:noFill/>
              <a:prstDash val="solid"/>
              <a:miter/>
            </a:ln>
          </p:spPr>
          <p:txBody>
            <a:bodyPr rtlCol="0" anchor="ctr"/>
            <a:lstStyle/>
            <a:p>
              <a:endParaRPr lang="en-GB" dirty="0"/>
            </a:p>
          </p:txBody>
        </p:sp>
        <p:grpSp>
          <p:nvGrpSpPr>
            <p:cNvPr id="417" name="Group 416">
              <a:extLst>
                <a:ext uri="{FF2B5EF4-FFF2-40B4-BE49-F238E27FC236}">
                  <a16:creationId xmlns:a16="http://schemas.microsoft.com/office/drawing/2014/main" id="{839D0923-836F-446C-8BDA-F9F5909258E6}"/>
                </a:ext>
              </a:extLst>
            </p:cNvPr>
            <p:cNvGrpSpPr/>
            <p:nvPr/>
          </p:nvGrpSpPr>
          <p:grpSpPr>
            <a:xfrm>
              <a:off x="6984800" y="4102988"/>
              <a:ext cx="482907" cy="352359"/>
              <a:chOff x="6984800" y="4102988"/>
              <a:chExt cx="482907" cy="352359"/>
            </a:xfrm>
          </p:grpSpPr>
          <p:grpSp>
            <p:nvGrpSpPr>
              <p:cNvPr id="418" name="Grafik 167">
                <a:extLst>
                  <a:ext uri="{FF2B5EF4-FFF2-40B4-BE49-F238E27FC236}">
                    <a16:creationId xmlns:a16="http://schemas.microsoft.com/office/drawing/2014/main" id="{BA5EA598-33D9-4C44-A015-1F6EAF543BFE}"/>
                  </a:ext>
                </a:extLst>
              </p:cNvPr>
              <p:cNvGrpSpPr/>
              <p:nvPr/>
            </p:nvGrpSpPr>
            <p:grpSpPr>
              <a:xfrm>
                <a:off x="7167532" y="4272645"/>
                <a:ext cx="117472" cy="156610"/>
                <a:chOff x="7167532" y="4272645"/>
                <a:chExt cx="117472" cy="156610"/>
              </a:xfrm>
              <a:solidFill>
                <a:schemeClr val="accent1"/>
              </a:solidFill>
            </p:grpSpPr>
            <p:sp>
              <p:nvSpPr>
                <p:cNvPr id="437" name="Freihandform: Form 870">
                  <a:extLst>
                    <a:ext uri="{FF2B5EF4-FFF2-40B4-BE49-F238E27FC236}">
                      <a16:creationId xmlns:a16="http://schemas.microsoft.com/office/drawing/2014/main" id="{57EB5FEA-AAF0-4BFD-9705-EEC37814C18C}"/>
                    </a:ext>
                  </a:extLst>
                </p:cNvPr>
                <p:cNvSpPr/>
                <p:nvPr/>
              </p:nvSpPr>
              <p:spPr>
                <a:xfrm>
                  <a:off x="7167532" y="4272645"/>
                  <a:ext cx="117472" cy="130518"/>
                </a:xfrm>
                <a:custGeom>
                  <a:avLst/>
                  <a:gdLst>
                    <a:gd name="connsiteX0" fmla="*/ 91351 w 117472"/>
                    <a:gd name="connsiteY0" fmla="*/ 130518 h 130518"/>
                    <a:gd name="connsiteX1" fmla="*/ 26092 w 117472"/>
                    <a:gd name="connsiteY1" fmla="*/ 130518 h 130518"/>
                    <a:gd name="connsiteX2" fmla="*/ 26092 w 117472"/>
                    <a:gd name="connsiteY2" fmla="*/ 107501 h 130518"/>
                    <a:gd name="connsiteX3" fmla="*/ 0 w 117472"/>
                    <a:gd name="connsiteY3" fmla="*/ 58736 h 130518"/>
                    <a:gd name="connsiteX4" fmla="*/ 58736 w 117472"/>
                    <a:gd name="connsiteY4" fmla="*/ 0 h 130518"/>
                    <a:gd name="connsiteX5" fmla="*/ 117472 w 117472"/>
                    <a:gd name="connsiteY5" fmla="*/ 58736 h 130518"/>
                    <a:gd name="connsiteX6" fmla="*/ 91380 w 117472"/>
                    <a:gd name="connsiteY6" fmla="*/ 107501 h 130518"/>
                    <a:gd name="connsiteX7" fmla="*/ 91380 w 117472"/>
                    <a:gd name="connsiteY7" fmla="*/ 130518 h 130518"/>
                    <a:gd name="connsiteX8" fmla="*/ 39138 w 117472"/>
                    <a:gd name="connsiteY8" fmla="*/ 117472 h 130518"/>
                    <a:gd name="connsiteX9" fmla="*/ 78305 w 117472"/>
                    <a:gd name="connsiteY9" fmla="*/ 117472 h 130518"/>
                    <a:gd name="connsiteX10" fmla="*/ 78305 w 117472"/>
                    <a:gd name="connsiteY10" fmla="*/ 100145 h 130518"/>
                    <a:gd name="connsiteX11" fmla="*/ 81553 w 117472"/>
                    <a:gd name="connsiteY11" fmla="*/ 98248 h 130518"/>
                    <a:gd name="connsiteX12" fmla="*/ 104398 w 117472"/>
                    <a:gd name="connsiteY12" fmla="*/ 58736 h 130518"/>
                    <a:gd name="connsiteX13" fmla="*/ 58707 w 117472"/>
                    <a:gd name="connsiteY13" fmla="*/ 13046 h 130518"/>
                    <a:gd name="connsiteX14" fmla="*/ 13017 w 117472"/>
                    <a:gd name="connsiteY14" fmla="*/ 58736 h 130518"/>
                    <a:gd name="connsiteX15" fmla="*/ 35862 w 117472"/>
                    <a:gd name="connsiteY15" fmla="*/ 98248 h 130518"/>
                    <a:gd name="connsiteX16" fmla="*/ 39110 w 117472"/>
                    <a:gd name="connsiteY16" fmla="*/ 100145 h 130518"/>
                    <a:gd name="connsiteX17" fmla="*/ 39110 w 117472"/>
                    <a:gd name="connsiteY17" fmla="*/ 117472 h 130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472" h="130518">
                      <a:moveTo>
                        <a:pt x="91351" y="130518"/>
                      </a:moveTo>
                      <a:lnTo>
                        <a:pt x="26092" y="130518"/>
                      </a:lnTo>
                      <a:lnTo>
                        <a:pt x="26092" y="107501"/>
                      </a:lnTo>
                      <a:cubicBezTo>
                        <a:pt x="9885" y="96639"/>
                        <a:pt x="0" y="78305"/>
                        <a:pt x="0" y="58736"/>
                      </a:cubicBezTo>
                      <a:cubicBezTo>
                        <a:pt x="0" y="26351"/>
                        <a:pt x="26351" y="0"/>
                        <a:pt x="58736" y="0"/>
                      </a:cubicBezTo>
                      <a:cubicBezTo>
                        <a:pt x="91121" y="0"/>
                        <a:pt x="117472" y="26351"/>
                        <a:pt x="117472" y="58736"/>
                      </a:cubicBezTo>
                      <a:cubicBezTo>
                        <a:pt x="117472" y="78305"/>
                        <a:pt x="107558" y="96668"/>
                        <a:pt x="91380" y="107501"/>
                      </a:cubicBezTo>
                      <a:lnTo>
                        <a:pt x="91380" y="130518"/>
                      </a:lnTo>
                      <a:close/>
                      <a:moveTo>
                        <a:pt x="39138" y="117472"/>
                      </a:moveTo>
                      <a:lnTo>
                        <a:pt x="78305" y="117472"/>
                      </a:lnTo>
                      <a:lnTo>
                        <a:pt x="78305" y="100145"/>
                      </a:lnTo>
                      <a:lnTo>
                        <a:pt x="81553" y="98248"/>
                      </a:lnTo>
                      <a:cubicBezTo>
                        <a:pt x="95633" y="90087"/>
                        <a:pt x="104398" y="74943"/>
                        <a:pt x="104398" y="58736"/>
                      </a:cubicBezTo>
                      <a:cubicBezTo>
                        <a:pt x="104398" y="33564"/>
                        <a:pt x="83909" y="13046"/>
                        <a:pt x="58707" y="13046"/>
                      </a:cubicBezTo>
                      <a:cubicBezTo>
                        <a:pt x="33535" y="13046"/>
                        <a:pt x="13017" y="33535"/>
                        <a:pt x="13017" y="58736"/>
                      </a:cubicBezTo>
                      <a:cubicBezTo>
                        <a:pt x="13017" y="74943"/>
                        <a:pt x="21782" y="90087"/>
                        <a:pt x="35862" y="98248"/>
                      </a:cubicBezTo>
                      <a:lnTo>
                        <a:pt x="39110" y="100145"/>
                      </a:lnTo>
                      <a:lnTo>
                        <a:pt x="39110" y="117472"/>
                      </a:lnTo>
                      <a:close/>
                    </a:path>
                  </a:pathLst>
                </a:custGeom>
                <a:solidFill>
                  <a:schemeClr val="accent1"/>
                </a:solidFill>
                <a:ln w="2873" cap="flat">
                  <a:noFill/>
                  <a:prstDash val="solid"/>
                  <a:miter/>
                </a:ln>
              </p:spPr>
              <p:txBody>
                <a:bodyPr rtlCol="0" anchor="ctr"/>
                <a:lstStyle/>
                <a:p>
                  <a:endParaRPr lang="en-GB" dirty="0"/>
                </a:p>
              </p:txBody>
            </p:sp>
            <p:sp>
              <p:nvSpPr>
                <p:cNvPr id="438" name="Freihandform: Form 871">
                  <a:extLst>
                    <a:ext uri="{FF2B5EF4-FFF2-40B4-BE49-F238E27FC236}">
                      <a16:creationId xmlns:a16="http://schemas.microsoft.com/office/drawing/2014/main" id="{BFAB93C4-7D16-41D2-81C9-77CAC427799A}"/>
                    </a:ext>
                  </a:extLst>
                </p:cNvPr>
                <p:cNvSpPr/>
                <p:nvPr/>
              </p:nvSpPr>
              <p:spPr>
                <a:xfrm>
                  <a:off x="7206670" y="4416209"/>
                  <a:ext cx="39167" cy="13046"/>
                </a:xfrm>
                <a:custGeom>
                  <a:avLst/>
                  <a:gdLst>
                    <a:gd name="connsiteX0" fmla="*/ 0 w 39167"/>
                    <a:gd name="connsiteY0" fmla="*/ 0 h 13046"/>
                    <a:gd name="connsiteX1" fmla="*/ 39167 w 39167"/>
                    <a:gd name="connsiteY1" fmla="*/ 0 h 13046"/>
                    <a:gd name="connsiteX2" fmla="*/ 39167 w 39167"/>
                    <a:gd name="connsiteY2" fmla="*/ 13046 h 13046"/>
                    <a:gd name="connsiteX3" fmla="*/ 0 w 39167"/>
                    <a:gd name="connsiteY3" fmla="*/ 13046 h 13046"/>
                  </a:gdLst>
                  <a:ahLst/>
                  <a:cxnLst>
                    <a:cxn ang="0">
                      <a:pos x="connsiteX0" y="connsiteY0"/>
                    </a:cxn>
                    <a:cxn ang="0">
                      <a:pos x="connsiteX1" y="connsiteY1"/>
                    </a:cxn>
                    <a:cxn ang="0">
                      <a:pos x="connsiteX2" y="connsiteY2"/>
                    </a:cxn>
                    <a:cxn ang="0">
                      <a:pos x="connsiteX3" y="connsiteY3"/>
                    </a:cxn>
                  </a:cxnLst>
                  <a:rect l="l" t="t" r="r" b="b"/>
                  <a:pathLst>
                    <a:path w="39167" h="13046">
                      <a:moveTo>
                        <a:pt x="0" y="0"/>
                      </a:moveTo>
                      <a:lnTo>
                        <a:pt x="39167" y="0"/>
                      </a:lnTo>
                      <a:lnTo>
                        <a:pt x="39167" y="13046"/>
                      </a:lnTo>
                      <a:lnTo>
                        <a:pt x="0" y="13046"/>
                      </a:lnTo>
                      <a:close/>
                    </a:path>
                  </a:pathLst>
                </a:custGeom>
                <a:solidFill>
                  <a:schemeClr val="accent1"/>
                </a:solidFill>
                <a:ln w="2873" cap="flat">
                  <a:noFill/>
                  <a:prstDash val="solid"/>
                  <a:miter/>
                </a:ln>
              </p:spPr>
              <p:txBody>
                <a:bodyPr rtlCol="0" anchor="ctr"/>
                <a:lstStyle/>
                <a:p>
                  <a:endParaRPr lang="en-GB" dirty="0"/>
                </a:p>
              </p:txBody>
            </p:sp>
          </p:grpSp>
          <p:grpSp>
            <p:nvGrpSpPr>
              <p:cNvPr id="419" name="Grafik 167">
                <a:extLst>
                  <a:ext uri="{FF2B5EF4-FFF2-40B4-BE49-F238E27FC236}">
                    <a16:creationId xmlns:a16="http://schemas.microsoft.com/office/drawing/2014/main" id="{90A2F847-BCA8-43B1-9D24-787EC4762461}"/>
                  </a:ext>
                </a:extLst>
              </p:cNvPr>
              <p:cNvGrpSpPr/>
              <p:nvPr/>
            </p:nvGrpSpPr>
            <p:grpSpPr>
              <a:xfrm>
                <a:off x="7012330" y="4211926"/>
                <a:ext cx="54425" cy="109196"/>
                <a:chOff x="7012330" y="4211926"/>
                <a:chExt cx="54425" cy="109196"/>
              </a:xfrm>
              <a:solidFill>
                <a:schemeClr val="accent1"/>
              </a:solidFill>
            </p:grpSpPr>
            <p:sp>
              <p:nvSpPr>
                <p:cNvPr id="435" name="Freihandform: Form 874">
                  <a:extLst>
                    <a:ext uri="{FF2B5EF4-FFF2-40B4-BE49-F238E27FC236}">
                      <a16:creationId xmlns:a16="http://schemas.microsoft.com/office/drawing/2014/main" id="{15098613-F08A-4534-B54E-010122BA3B1D}"/>
                    </a:ext>
                  </a:extLst>
                </p:cNvPr>
                <p:cNvSpPr/>
                <p:nvPr/>
              </p:nvSpPr>
              <p:spPr>
                <a:xfrm>
                  <a:off x="7034715" y="4211926"/>
                  <a:ext cx="32040" cy="39942"/>
                </a:xfrm>
                <a:custGeom>
                  <a:avLst/>
                  <a:gdLst>
                    <a:gd name="connsiteX0" fmla="*/ 11609 w 32040"/>
                    <a:gd name="connsiteY0" fmla="*/ 39943 h 39942"/>
                    <a:gd name="connsiteX1" fmla="*/ 0 w 32040"/>
                    <a:gd name="connsiteY1" fmla="*/ 33966 h 39942"/>
                    <a:gd name="connsiteX2" fmla="*/ 21753 w 32040"/>
                    <a:gd name="connsiteY2" fmla="*/ 0 h 39942"/>
                    <a:gd name="connsiteX3" fmla="*/ 32041 w 32040"/>
                    <a:gd name="connsiteY3" fmla="*/ 8017 h 39942"/>
                    <a:gd name="connsiteX4" fmla="*/ 11609 w 32040"/>
                    <a:gd name="connsiteY4" fmla="*/ 39943 h 39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040" h="39942">
                      <a:moveTo>
                        <a:pt x="11609" y="39943"/>
                      </a:moveTo>
                      <a:lnTo>
                        <a:pt x="0" y="33966"/>
                      </a:lnTo>
                      <a:cubicBezTo>
                        <a:pt x="6150" y="22040"/>
                        <a:pt x="13477" y="10604"/>
                        <a:pt x="21753" y="0"/>
                      </a:cubicBezTo>
                      <a:lnTo>
                        <a:pt x="32041" y="8017"/>
                      </a:lnTo>
                      <a:cubicBezTo>
                        <a:pt x="24253" y="18017"/>
                        <a:pt x="17385" y="28736"/>
                        <a:pt x="11609" y="39943"/>
                      </a:cubicBezTo>
                      <a:close/>
                    </a:path>
                  </a:pathLst>
                </a:custGeom>
                <a:solidFill>
                  <a:schemeClr val="accent1"/>
                </a:solidFill>
                <a:ln w="2873" cap="flat">
                  <a:noFill/>
                  <a:prstDash val="solid"/>
                  <a:miter/>
                </a:ln>
              </p:spPr>
              <p:txBody>
                <a:bodyPr rtlCol="0" anchor="ctr"/>
                <a:lstStyle/>
                <a:p>
                  <a:endParaRPr lang="en-GB" dirty="0"/>
                </a:p>
              </p:txBody>
            </p:sp>
            <p:sp>
              <p:nvSpPr>
                <p:cNvPr id="436" name="Freihandform: Form 875">
                  <a:extLst>
                    <a:ext uri="{FF2B5EF4-FFF2-40B4-BE49-F238E27FC236}">
                      <a16:creationId xmlns:a16="http://schemas.microsoft.com/office/drawing/2014/main" id="{23FB2874-968C-4677-8125-41026C4EB8B8}"/>
                    </a:ext>
                  </a:extLst>
                </p:cNvPr>
                <p:cNvSpPr/>
                <p:nvPr/>
              </p:nvSpPr>
              <p:spPr>
                <a:xfrm>
                  <a:off x="7012330" y="4280145"/>
                  <a:ext cx="20776" cy="40977"/>
                </a:xfrm>
                <a:custGeom>
                  <a:avLst/>
                  <a:gdLst>
                    <a:gd name="connsiteX0" fmla="*/ 12960 w 20776"/>
                    <a:gd name="connsiteY0" fmla="*/ 40977 h 40977"/>
                    <a:gd name="connsiteX1" fmla="*/ 0 w 20776"/>
                    <a:gd name="connsiteY1" fmla="*/ 39483 h 40977"/>
                    <a:gd name="connsiteX2" fmla="*/ 8333 w 20776"/>
                    <a:gd name="connsiteY2" fmla="*/ 0 h 40977"/>
                    <a:gd name="connsiteX3" fmla="*/ 20776 w 20776"/>
                    <a:gd name="connsiteY3" fmla="*/ 3879 h 40977"/>
                    <a:gd name="connsiteX4" fmla="*/ 12960 w 20776"/>
                    <a:gd name="connsiteY4" fmla="*/ 40977 h 409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76" h="40977">
                      <a:moveTo>
                        <a:pt x="12960" y="40977"/>
                      </a:moveTo>
                      <a:lnTo>
                        <a:pt x="0" y="39483"/>
                      </a:lnTo>
                      <a:cubicBezTo>
                        <a:pt x="1523" y="26092"/>
                        <a:pt x="4339" y="12816"/>
                        <a:pt x="8333" y="0"/>
                      </a:cubicBezTo>
                      <a:lnTo>
                        <a:pt x="20776" y="3879"/>
                      </a:lnTo>
                      <a:cubicBezTo>
                        <a:pt x="17040" y="15920"/>
                        <a:pt x="14397" y="28420"/>
                        <a:pt x="12960" y="40977"/>
                      </a:cubicBezTo>
                      <a:close/>
                    </a:path>
                  </a:pathLst>
                </a:custGeom>
                <a:solidFill>
                  <a:schemeClr val="accent1"/>
                </a:solidFill>
                <a:ln w="2873" cap="flat">
                  <a:noFill/>
                  <a:prstDash val="solid"/>
                  <a:miter/>
                </a:ln>
              </p:spPr>
              <p:txBody>
                <a:bodyPr rtlCol="0" anchor="ctr"/>
                <a:lstStyle/>
                <a:p>
                  <a:endParaRPr lang="en-GB" dirty="0"/>
                </a:p>
              </p:txBody>
            </p:sp>
          </p:grpSp>
          <p:grpSp>
            <p:nvGrpSpPr>
              <p:cNvPr id="420" name="Grafik 167">
                <a:extLst>
                  <a:ext uri="{FF2B5EF4-FFF2-40B4-BE49-F238E27FC236}">
                    <a16:creationId xmlns:a16="http://schemas.microsoft.com/office/drawing/2014/main" id="{B2F37259-16FD-44E1-ACDA-B68E720329D3}"/>
                  </a:ext>
                </a:extLst>
              </p:cNvPr>
              <p:cNvGrpSpPr/>
              <p:nvPr/>
            </p:nvGrpSpPr>
            <p:grpSpPr>
              <a:xfrm>
                <a:off x="7095434" y="4130747"/>
                <a:ext cx="105719" cy="52960"/>
                <a:chOff x="7095434" y="4130747"/>
                <a:chExt cx="105719" cy="52960"/>
              </a:xfrm>
              <a:solidFill>
                <a:schemeClr val="accent1"/>
              </a:solidFill>
            </p:grpSpPr>
            <p:sp>
              <p:nvSpPr>
                <p:cNvPr id="433" name="Freihandform: Form 877">
                  <a:extLst>
                    <a:ext uri="{FF2B5EF4-FFF2-40B4-BE49-F238E27FC236}">
                      <a16:creationId xmlns:a16="http://schemas.microsoft.com/office/drawing/2014/main" id="{8504F369-C8F4-4312-B598-A045B456905D}"/>
                    </a:ext>
                  </a:extLst>
                </p:cNvPr>
                <p:cNvSpPr/>
                <p:nvPr/>
              </p:nvSpPr>
              <p:spPr>
                <a:xfrm>
                  <a:off x="7160147" y="4130747"/>
                  <a:ext cx="41006" cy="21092"/>
                </a:xfrm>
                <a:custGeom>
                  <a:avLst/>
                  <a:gdLst>
                    <a:gd name="connsiteX0" fmla="*/ 3994 w 41006"/>
                    <a:gd name="connsiteY0" fmla="*/ 21092 h 21092"/>
                    <a:gd name="connsiteX1" fmla="*/ 0 w 41006"/>
                    <a:gd name="connsiteY1" fmla="*/ 8678 h 21092"/>
                    <a:gd name="connsiteX2" fmla="*/ 39397 w 41006"/>
                    <a:gd name="connsiteY2" fmla="*/ 0 h 21092"/>
                    <a:gd name="connsiteX3" fmla="*/ 41006 w 41006"/>
                    <a:gd name="connsiteY3" fmla="*/ 12960 h 21092"/>
                    <a:gd name="connsiteX4" fmla="*/ 3994 w 41006"/>
                    <a:gd name="connsiteY4" fmla="*/ 21092 h 210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6" h="21092">
                      <a:moveTo>
                        <a:pt x="3994" y="21092"/>
                      </a:moveTo>
                      <a:lnTo>
                        <a:pt x="0" y="8678"/>
                      </a:lnTo>
                      <a:cubicBezTo>
                        <a:pt x="12759" y="4569"/>
                        <a:pt x="26035" y="1638"/>
                        <a:pt x="39397" y="0"/>
                      </a:cubicBezTo>
                      <a:lnTo>
                        <a:pt x="41006" y="12960"/>
                      </a:lnTo>
                      <a:cubicBezTo>
                        <a:pt x="28449" y="14483"/>
                        <a:pt x="16006" y="17213"/>
                        <a:pt x="3994" y="21092"/>
                      </a:cubicBezTo>
                      <a:close/>
                    </a:path>
                  </a:pathLst>
                </a:custGeom>
                <a:solidFill>
                  <a:schemeClr val="accent1"/>
                </a:solidFill>
                <a:ln w="2873" cap="flat">
                  <a:noFill/>
                  <a:prstDash val="solid"/>
                  <a:miter/>
                </a:ln>
              </p:spPr>
              <p:txBody>
                <a:bodyPr rtlCol="0" anchor="ctr"/>
                <a:lstStyle/>
                <a:p>
                  <a:endParaRPr lang="en-GB" dirty="0"/>
                </a:p>
              </p:txBody>
            </p:sp>
            <p:sp>
              <p:nvSpPr>
                <p:cNvPr id="434" name="Freihandform: Form 878">
                  <a:extLst>
                    <a:ext uri="{FF2B5EF4-FFF2-40B4-BE49-F238E27FC236}">
                      <a16:creationId xmlns:a16="http://schemas.microsoft.com/office/drawing/2014/main" id="{DC84C999-3D2C-40C0-B735-99B96246715A}"/>
                    </a:ext>
                  </a:extLst>
                </p:cNvPr>
                <p:cNvSpPr/>
                <p:nvPr/>
              </p:nvSpPr>
              <p:spPr>
                <a:xfrm>
                  <a:off x="7095434" y="4151925"/>
                  <a:ext cx="40029" cy="31781"/>
                </a:xfrm>
                <a:custGeom>
                  <a:avLst/>
                  <a:gdLst>
                    <a:gd name="connsiteX0" fmla="*/ 7931 w 40029"/>
                    <a:gd name="connsiteY0" fmla="*/ 31782 h 31781"/>
                    <a:gd name="connsiteX1" fmla="*/ 0 w 40029"/>
                    <a:gd name="connsiteY1" fmla="*/ 21408 h 31781"/>
                    <a:gd name="connsiteX2" fmla="*/ 34167 w 40029"/>
                    <a:gd name="connsiteY2" fmla="*/ 0 h 31781"/>
                    <a:gd name="connsiteX3" fmla="*/ 40029 w 40029"/>
                    <a:gd name="connsiteY3" fmla="*/ 11667 h 31781"/>
                    <a:gd name="connsiteX4" fmla="*/ 7931 w 40029"/>
                    <a:gd name="connsiteY4" fmla="*/ 31782 h 317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029" h="31781">
                      <a:moveTo>
                        <a:pt x="7931" y="31782"/>
                      </a:moveTo>
                      <a:lnTo>
                        <a:pt x="0" y="21408"/>
                      </a:lnTo>
                      <a:cubicBezTo>
                        <a:pt x="10661" y="13218"/>
                        <a:pt x="22155" y="6034"/>
                        <a:pt x="34167" y="0"/>
                      </a:cubicBezTo>
                      <a:lnTo>
                        <a:pt x="40029" y="11667"/>
                      </a:lnTo>
                      <a:cubicBezTo>
                        <a:pt x="28765" y="17328"/>
                        <a:pt x="17960" y="24109"/>
                        <a:pt x="7931" y="31782"/>
                      </a:cubicBezTo>
                      <a:close/>
                    </a:path>
                  </a:pathLst>
                </a:custGeom>
                <a:solidFill>
                  <a:schemeClr val="accent1"/>
                </a:solidFill>
                <a:ln w="2873" cap="flat">
                  <a:noFill/>
                  <a:prstDash val="solid"/>
                  <a:miter/>
                </a:ln>
              </p:spPr>
              <p:txBody>
                <a:bodyPr rtlCol="0" anchor="ctr"/>
                <a:lstStyle/>
                <a:p>
                  <a:endParaRPr lang="en-GB" dirty="0"/>
                </a:p>
              </p:txBody>
            </p:sp>
          </p:grpSp>
          <p:grpSp>
            <p:nvGrpSpPr>
              <p:cNvPr id="421" name="Grafik 167">
                <a:extLst>
                  <a:ext uri="{FF2B5EF4-FFF2-40B4-BE49-F238E27FC236}">
                    <a16:creationId xmlns:a16="http://schemas.microsoft.com/office/drawing/2014/main" id="{E2E172FF-EC06-4CF0-BB15-492125D84A39}"/>
                  </a:ext>
                </a:extLst>
              </p:cNvPr>
              <p:cNvGrpSpPr/>
              <p:nvPr/>
            </p:nvGrpSpPr>
            <p:grpSpPr>
              <a:xfrm>
                <a:off x="7251355" y="4130718"/>
                <a:ext cx="108047" cy="54684"/>
                <a:chOff x="7251355" y="4130718"/>
                <a:chExt cx="108047" cy="54684"/>
              </a:xfrm>
              <a:solidFill>
                <a:schemeClr val="accent1"/>
              </a:solidFill>
            </p:grpSpPr>
            <p:sp>
              <p:nvSpPr>
                <p:cNvPr id="431" name="Freihandform: Form 880">
                  <a:extLst>
                    <a:ext uri="{FF2B5EF4-FFF2-40B4-BE49-F238E27FC236}">
                      <a16:creationId xmlns:a16="http://schemas.microsoft.com/office/drawing/2014/main" id="{F726A125-50F7-42AD-A60F-7410D8F00B14}"/>
                    </a:ext>
                  </a:extLst>
                </p:cNvPr>
                <p:cNvSpPr/>
                <p:nvPr/>
              </p:nvSpPr>
              <p:spPr>
                <a:xfrm>
                  <a:off x="7319488" y="4153275"/>
                  <a:ext cx="39914" cy="32126"/>
                </a:xfrm>
                <a:custGeom>
                  <a:avLst/>
                  <a:gdLst>
                    <a:gd name="connsiteX0" fmla="*/ 31811 w 39914"/>
                    <a:gd name="connsiteY0" fmla="*/ 32127 h 32126"/>
                    <a:gd name="connsiteX1" fmla="*/ 0 w 39914"/>
                    <a:gd name="connsiteY1" fmla="*/ 11581 h 32126"/>
                    <a:gd name="connsiteX2" fmla="*/ 6034 w 39914"/>
                    <a:gd name="connsiteY2" fmla="*/ 0 h 32126"/>
                    <a:gd name="connsiteX3" fmla="*/ 39914 w 39914"/>
                    <a:gd name="connsiteY3" fmla="*/ 21897 h 32126"/>
                    <a:gd name="connsiteX4" fmla="*/ 31811 w 39914"/>
                    <a:gd name="connsiteY4" fmla="*/ 32127 h 32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914" h="32126">
                      <a:moveTo>
                        <a:pt x="31811" y="32127"/>
                      </a:moveTo>
                      <a:cubicBezTo>
                        <a:pt x="21897" y="24311"/>
                        <a:pt x="11207" y="17385"/>
                        <a:pt x="0" y="11581"/>
                      </a:cubicBezTo>
                      <a:lnTo>
                        <a:pt x="6034" y="0"/>
                      </a:lnTo>
                      <a:cubicBezTo>
                        <a:pt x="17960" y="6207"/>
                        <a:pt x="29339" y="13563"/>
                        <a:pt x="39914" y="21897"/>
                      </a:cubicBezTo>
                      <a:lnTo>
                        <a:pt x="31811" y="32127"/>
                      </a:lnTo>
                      <a:close/>
                    </a:path>
                  </a:pathLst>
                </a:custGeom>
                <a:solidFill>
                  <a:schemeClr val="accent1"/>
                </a:solidFill>
                <a:ln w="2873" cap="flat">
                  <a:noFill/>
                  <a:prstDash val="solid"/>
                  <a:miter/>
                </a:ln>
              </p:spPr>
              <p:txBody>
                <a:bodyPr rtlCol="0" anchor="ctr"/>
                <a:lstStyle/>
                <a:p>
                  <a:endParaRPr lang="en-GB" dirty="0"/>
                </a:p>
              </p:txBody>
            </p:sp>
            <p:sp>
              <p:nvSpPr>
                <p:cNvPr id="432" name="Freihandform: Form 881">
                  <a:extLst>
                    <a:ext uri="{FF2B5EF4-FFF2-40B4-BE49-F238E27FC236}">
                      <a16:creationId xmlns:a16="http://schemas.microsoft.com/office/drawing/2014/main" id="{2FF47958-739E-481E-9FA7-6D11E1395DBA}"/>
                    </a:ext>
                  </a:extLst>
                </p:cNvPr>
                <p:cNvSpPr/>
                <p:nvPr/>
              </p:nvSpPr>
              <p:spPr>
                <a:xfrm>
                  <a:off x="7251355" y="4130718"/>
                  <a:ext cx="41006" cy="21120"/>
                </a:xfrm>
                <a:custGeom>
                  <a:avLst/>
                  <a:gdLst>
                    <a:gd name="connsiteX0" fmla="*/ 37012 w 41006"/>
                    <a:gd name="connsiteY0" fmla="*/ 21121 h 21120"/>
                    <a:gd name="connsiteX1" fmla="*/ 0 w 41006"/>
                    <a:gd name="connsiteY1" fmla="*/ 12960 h 21120"/>
                    <a:gd name="connsiteX2" fmla="*/ 1609 w 41006"/>
                    <a:gd name="connsiteY2" fmla="*/ 0 h 21120"/>
                    <a:gd name="connsiteX3" fmla="*/ 41006 w 41006"/>
                    <a:gd name="connsiteY3" fmla="*/ 8678 h 21120"/>
                    <a:gd name="connsiteX4" fmla="*/ 37012 w 41006"/>
                    <a:gd name="connsiteY4" fmla="*/ 21121 h 211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006" h="21120">
                      <a:moveTo>
                        <a:pt x="37012" y="21121"/>
                      </a:moveTo>
                      <a:cubicBezTo>
                        <a:pt x="25029" y="17242"/>
                        <a:pt x="12558" y="14512"/>
                        <a:pt x="0" y="12960"/>
                      </a:cubicBezTo>
                      <a:lnTo>
                        <a:pt x="1609" y="0"/>
                      </a:lnTo>
                      <a:cubicBezTo>
                        <a:pt x="14971" y="1638"/>
                        <a:pt x="28247" y="4569"/>
                        <a:pt x="41006" y="8678"/>
                      </a:cubicBezTo>
                      <a:lnTo>
                        <a:pt x="37012" y="21121"/>
                      </a:lnTo>
                      <a:close/>
                    </a:path>
                  </a:pathLst>
                </a:custGeom>
                <a:solidFill>
                  <a:schemeClr val="accent1"/>
                </a:solidFill>
                <a:ln w="2873" cap="flat">
                  <a:noFill/>
                  <a:prstDash val="solid"/>
                  <a:miter/>
                </a:ln>
              </p:spPr>
              <p:txBody>
                <a:bodyPr rtlCol="0" anchor="ctr"/>
                <a:lstStyle/>
                <a:p>
                  <a:endParaRPr lang="en-GB" dirty="0"/>
                </a:p>
              </p:txBody>
            </p:sp>
          </p:grpSp>
          <p:grpSp>
            <p:nvGrpSpPr>
              <p:cNvPr id="422" name="Grafik 167">
                <a:extLst>
                  <a:ext uri="{FF2B5EF4-FFF2-40B4-BE49-F238E27FC236}">
                    <a16:creationId xmlns:a16="http://schemas.microsoft.com/office/drawing/2014/main" id="{77C224D5-4D5D-4C46-8ECC-F1CD016A1973}"/>
                  </a:ext>
                </a:extLst>
              </p:cNvPr>
              <p:cNvGrpSpPr/>
              <p:nvPr/>
            </p:nvGrpSpPr>
            <p:grpSpPr>
              <a:xfrm>
                <a:off x="7386356" y="4212788"/>
                <a:ext cx="53592" cy="106524"/>
                <a:chOff x="7386356" y="4212788"/>
                <a:chExt cx="53592" cy="106524"/>
              </a:xfrm>
              <a:solidFill>
                <a:schemeClr val="accent1"/>
              </a:solidFill>
            </p:grpSpPr>
            <p:sp>
              <p:nvSpPr>
                <p:cNvPr id="429" name="Freihandform: Form 883">
                  <a:extLst>
                    <a:ext uri="{FF2B5EF4-FFF2-40B4-BE49-F238E27FC236}">
                      <a16:creationId xmlns:a16="http://schemas.microsoft.com/office/drawing/2014/main" id="{F0493822-AC75-4727-91BC-51038C692934}"/>
                    </a:ext>
                  </a:extLst>
                </p:cNvPr>
                <p:cNvSpPr/>
                <p:nvPr/>
              </p:nvSpPr>
              <p:spPr>
                <a:xfrm>
                  <a:off x="7418856" y="4278305"/>
                  <a:ext cx="21092" cy="41006"/>
                </a:xfrm>
                <a:custGeom>
                  <a:avLst/>
                  <a:gdLst>
                    <a:gd name="connsiteX0" fmla="*/ 8161 w 21092"/>
                    <a:gd name="connsiteY0" fmla="*/ 41006 h 41006"/>
                    <a:gd name="connsiteX1" fmla="*/ 0 w 21092"/>
                    <a:gd name="connsiteY1" fmla="*/ 3994 h 41006"/>
                    <a:gd name="connsiteX2" fmla="*/ 12414 w 21092"/>
                    <a:gd name="connsiteY2" fmla="*/ 0 h 41006"/>
                    <a:gd name="connsiteX3" fmla="*/ 21092 w 21092"/>
                    <a:gd name="connsiteY3" fmla="*/ 39397 h 41006"/>
                    <a:gd name="connsiteX4" fmla="*/ 8161 w 21092"/>
                    <a:gd name="connsiteY4" fmla="*/ 41006 h 410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092" h="41006">
                      <a:moveTo>
                        <a:pt x="8161" y="41006"/>
                      </a:moveTo>
                      <a:cubicBezTo>
                        <a:pt x="6609" y="28449"/>
                        <a:pt x="3851" y="16006"/>
                        <a:pt x="0" y="3994"/>
                      </a:cubicBezTo>
                      <a:lnTo>
                        <a:pt x="12414" y="0"/>
                      </a:lnTo>
                      <a:cubicBezTo>
                        <a:pt x="16523" y="12759"/>
                        <a:pt x="19454" y="26035"/>
                        <a:pt x="21092" y="39397"/>
                      </a:cubicBezTo>
                      <a:lnTo>
                        <a:pt x="8161" y="41006"/>
                      </a:lnTo>
                      <a:close/>
                    </a:path>
                  </a:pathLst>
                </a:custGeom>
                <a:solidFill>
                  <a:schemeClr val="accent1"/>
                </a:solidFill>
                <a:ln w="2873" cap="flat">
                  <a:noFill/>
                  <a:prstDash val="solid"/>
                  <a:miter/>
                </a:ln>
              </p:spPr>
              <p:txBody>
                <a:bodyPr rtlCol="0" anchor="ctr"/>
                <a:lstStyle/>
                <a:p>
                  <a:endParaRPr lang="en-GB" dirty="0"/>
                </a:p>
              </p:txBody>
            </p:sp>
            <p:sp>
              <p:nvSpPr>
                <p:cNvPr id="430" name="Freihandform: Form 884">
                  <a:extLst>
                    <a:ext uri="{FF2B5EF4-FFF2-40B4-BE49-F238E27FC236}">
                      <a16:creationId xmlns:a16="http://schemas.microsoft.com/office/drawing/2014/main" id="{00D5E0BC-DA55-4A99-90A1-0A94197C16A3}"/>
                    </a:ext>
                  </a:extLst>
                </p:cNvPr>
                <p:cNvSpPr/>
                <p:nvPr/>
              </p:nvSpPr>
              <p:spPr>
                <a:xfrm>
                  <a:off x="7386356" y="4212788"/>
                  <a:ext cx="31896" cy="39971"/>
                </a:xfrm>
                <a:custGeom>
                  <a:avLst/>
                  <a:gdLst>
                    <a:gd name="connsiteX0" fmla="*/ 20288 w 31896"/>
                    <a:gd name="connsiteY0" fmla="*/ 39972 h 39971"/>
                    <a:gd name="connsiteX1" fmla="*/ 0 w 31896"/>
                    <a:gd name="connsiteY1" fmla="*/ 7989 h 39971"/>
                    <a:gd name="connsiteX2" fmla="*/ 10316 w 31896"/>
                    <a:gd name="connsiteY2" fmla="*/ 0 h 39971"/>
                    <a:gd name="connsiteX3" fmla="*/ 31897 w 31896"/>
                    <a:gd name="connsiteY3" fmla="*/ 34052 h 39971"/>
                    <a:gd name="connsiteX4" fmla="*/ 20288 w 31896"/>
                    <a:gd name="connsiteY4" fmla="*/ 39972 h 39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896" h="39971">
                      <a:moveTo>
                        <a:pt x="20288" y="39972"/>
                      </a:moveTo>
                      <a:cubicBezTo>
                        <a:pt x="14569" y="28736"/>
                        <a:pt x="7730" y="17960"/>
                        <a:pt x="0" y="7989"/>
                      </a:cubicBezTo>
                      <a:lnTo>
                        <a:pt x="10316" y="0"/>
                      </a:lnTo>
                      <a:cubicBezTo>
                        <a:pt x="18535" y="10632"/>
                        <a:pt x="25805" y="22098"/>
                        <a:pt x="31897" y="34052"/>
                      </a:cubicBezTo>
                      <a:lnTo>
                        <a:pt x="20288" y="39972"/>
                      </a:lnTo>
                      <a:close/>
                    </a:path>
                  </a:pathLst>
                </a:custGeom>
                <a:solidFill>
                  <a:schemeClr val="accent1"/>
                </a:solidFill>
                <a:ln w="2873" cap="flat">
                  <a:noFill/>
                  <a:prstDash val="solid"/>
                  <a:miter/>
                </a:ln>
              </p:spPr>
              <p:txBody>
                <a:bodyPr rtlCol="0" anchor="ctr"/>
                <a:lstStyle/>
                <a:p>
                  <a:endParaRPr lang="en-GB" dirty="0"/>
                </a:p>
              </p:txBody>
            </p:sp>
          </p:grpSp>
          <p:sp>
            <p:nvSpPr>
              <p:cNvPr id="423" name="Freihandform: Form 885">
                <a:extLst>
                  <a:ext uri="{FF2B5EF4-FFF2-40B4-BE49-F238E27FC236}">
                    <a16:creationId xmlns:a16="http://schemas.microsoft.com/office/drawing/2014/main" id="{CC55A3C3-2823-4AF8-AFAE-80E0DF3BDD76}"/>
                  </a:ext>
                </a:extLst>
              </p:cNvPr>
              <p:cNvSpPr/>
              <p:nvPr/>
            </p:nvSpPr>
            <p:spPr>
              <a:xfrm>
                <a:off x="7193653" y="4102988"/>
                <a:ext cx="65230" cy="65230"/>
              </a:xfrm>
              <a:custGeom>
                <a:avLst/>
                <a:gdLst>
                  <a:gd name="connsiteX0" fmla="*/ 32615 w 65230"/>
                  <a:gd name="connsiteY0" fmla="*/ 65231 h 65230"/>
                  <a:gd name="connsiteX1" fmla="*/ 0 w 65230"/>
                  <a:gd name="connsiteY1" fmla="*/ 32615 h 65230"/>
                  <a:gd name="connsiteX2" fmla="*/ 32615 w 65230"/>
                  <a:gd name="connsiteY2" fmla="*/ 0 h 65230"/>
                  <a:gd name="connsiteX3" fmla="*/ 65231 w 65230"/>
                  <a:gd name="connsiteY3" fmla="*/ 32615 h 65230"/>
                  <a:gd name="connsiteX4" fmla="*/ 32615 w 65230"/>
                  <a:gd name="connsiteY4" fmla="*/ 65231 h 65230"/>
                  <a:gd name="connsiteX5" fmla="*/ 32615 w 65230"/>
                  <a:gd name="connsiteY5" fmla="*/ 13017 h 65230"/>
                  <a:gd name="connsiteX6" fmla="*/ 13046 w 65230"/>
                  <a:gd name="connsiteY6" fmla="*/ 32587 h 65230"/>
                  <a:gd name="connsiteX7" fmla="*/ 32615 w 65230"/>
                  <a:gd name="connsiteY7" fmla="*/ 52156 h 65230"/>
                  <a:gd name="connsiteX8" fmla="*/ 52185 w 65230"/>
                  <a:gd name="connsiteY8" fmla="*/ 32587 h 65230"/>
                  <a:gd name="connsiteX9" fmla="*/ 32615 w 65230"/>
                  <a:gd name="connsiteY9" fmla="*/ 13017 h 6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30" h="65230">
                    <a:moveTo>
                      <a:pt x="32615" y="65231"/>
                    </a:moveTo>
                    <a:cubicBezTo>
                      <a:pt x="14627" y="65231"/>
                      <a:pt x="0" y="50604"/>
                      <a:pt x="0" y="32615"/>
                    </a:cubicBezTo>
                    <a:cubicBezTo>
                      <a:pt x="0" y="14627"/>
                      <a:pt x="14627" y="0"/>
                      <a:pt x="32615" y="0"/>
                    </a:cubicBezTo>
                    <a:cubicBezTo>
                      <a:pt x="50604" y="0"/>
                      <a:pt x="65231" y="14627"/>
                      <a:pt x="65231" y="32615"/>
                    </a:cubicBezTo>
                    <a:cubicBezTo>
                      <a:pt x="65231" y="50604"/>
                      <a:pt x="50604" y="65231"/>
                      <a:pt x="32615" y="65231"/>
                    </a:cubicBezTo>
                    <a:close/>
                    <a:moveTo>
                      <a:pt x="32615" y="13017"/>
                    </a:moveTo>
                    <a:cubicBezTo>
                      <a:pt x="21811" y="13017"/>
                      <a:pt x="13046" y="21811"/>
                      <a:pt x="13046" y="32587"/>
                    </a:cubicBezTo>
                    <a:cubicBezTo>
                      <a:pt x="13046" y="43363"/>
                      <a:pt x="21839" y="52156"/>
                      <a:pt x="32615" y="52156"/>
                    </a:cubicBezTo>
                    <a:cubicBezTo>
                      <a:pt x="43420" y="52156"/>
                      <a:pt x="52185" y="43363"/>
                      <a:pt x="52185" y="32587"/>
                    </a:cubicBezTo>
                    <a:cubicBezTo>
                      <a:pt x="52185" y="21811"/>
                      <a:pt x="43391" y="13017"/>
                      <a:pt x="32615" y="13017"/>
                    </a:cubicBezTo>
                    <a:close/>
                  </a:path>
                </a:pathLst>
              </a:custGeom>
              <a:solidFill>
                <a:schemeClr val="accent1"/>
              </a:solidFill>
              <a:ln w="2873" cap="flat">
                <a:noFill/>
                <a:prstDash val="solid"/>
                <a:miter/>
              </a:ln>
            </p:spPr>
            <p:txBody>
              <a:bodyPr rtlCol="0" anchor="ctr"/>
              <a:lstStyle/>
              <a:p>
                <a:endParaRPr lang="en-GB" dirty="0"/>
              </a:p>
            </p:txBody>
          </p:sp>
          <p:sp>
            <p:nvSpPr>
              <p:cNvPr id="424" name="Freihandform: Form 886">
                <a:extLst>
                  <a:ext uri="{FF2B5EF4-FFF2-40B4-BE49-F238E27FC236}">
                    <a16:creationId xmlns:a16="http://schemas.microsoft.com/office/drawing/2014/main" id="{47E6C47E-B031-4CAC-8FA5-9993D0658ABD}"/>
                  </a:ext>
                </a:extLst>
              </p:cNvPr>
              <p:cNvSpPr/>
              <p:nvPr/>
            </p:nvSpPr>
            <p:spPr>
              <a:xfrm>
                <a:off x="7343741" y="4161724"/>
                <a:ext cx="65230" cy="65230"/>
              </a:xfrm>
              <a:custGeom>
                <a:avLst/>
                <a:gdLst>
                  <a:gd name="connsiteX0" fmla="*/ 32615 w 65230"/>
                  <a:gd name="connsiteY0" fmla="*/ 65231 h 65230"/>
                  <a:gd name="connsiteX1" fmla="*/ 0 w 65230"/>
                  <a:gd name="connsiteY1" fmla="*/ 32615 h 65230"/>
                  <a:gd name="connsiteX2" fmla="*/ 32615 w 65230"/>
                  <a:gd name="connsiteY2" fmla="*/ 0 h 65230"/>
                  <a:gd name="connsiteX3" fmla="*/ 65231 w 65230"/>
                  <a:gd name="connsiteY3" fmla="*/ 32615 h 65230"/>
                  <a:gd name="connsiteX4" fmla="*/ 32615 w 65230"/>
                  <a:gd name="connsiteY4" fmla="*/ 65231 h 65230"/>
                  <a:gd name="connsiteX5" fmla="*/ 32615 w 65230"/>
                  <a:gd name="connsiteY5" fmla="*/ 13017 h 65230"/>
                  <a:gd name="connsiteX6" fmla="*/ 13046 w 65230"/>
                  <a:gd name="connsiteY6" fmla="*/ 32587 h 65230"/>
                  <a:gd name="connsiteX7" fmla="*/ 32615 w 65230"/>
                  <a:gd name="connsiteY7" fmla="*/ 52156 h 65230"/>
                  <a:gd name="connsiteX8" fmla="*/ 52184 w 65230"/>
                  <a:gd name="connsiteY8" fmla="*/ 32587 h 65230"/>
                  <a:gd name="connsiteX9" fmla="*/ 32615 w 65230"/>
                  <a:gd name="connsiteY9" fmla="*/ 13017 h 6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30" h="65230">
                    <a:moveTo>
                      <a:pt x="32615" y="65231"/>
                    </a:moveTo>
                    <a:cubicBezTo>
                      <a:pt x="14626" y="65231"/>
                      <a:pt x="0" y="50604"/>
                      <a:pt x="0" y="32615"/>
                    </a:cubicBezTo>
                    <a:cubicBezTo>
                      <a:pt x="0" y="14627"/>
                      <a:pt x="14626" y="0"/>
                      <a:pt x="32615" y="0"/>
                    </a:cubicBezTo>
                    <a:cubicBezTo>
                      <a:pt x="50604" y="0"/>
                      <a:pt x="65231" y="14627"/>
                      <a:pt x="65231" y="32615"/>
                    </a:cubicBezTo>
                    <a:cubicBezTo>
                      <a:pt x="65231" y="50604"/>
                      <a:pt x="50604" y="65231"/>
                      <a:pt x="32615" y="65231"/>
                    </a:cubicBezTo>
                    <a:close/>
                    <a:moveTo>
                      <a:pt x="32615" y="13017"/>
                    </a:moveTo>
                    <a:cubicBezTo>
                      <a:pt x="21810" y="13017"/>
                      <a:pt x="13046" y="21811"/>
                      <a:pt x="13046" y="32587"/>
                    </a:cubicBezTo>
                    <a:cubicBezTo>
                      <a:pt x="13046" y="43363"/>
                      <a:pt x="21839" y="52156"/>
                      <a:pt x="32615" y="52156"/>
                    </a:cubicBezTo>
                    <a:cubicBezTo>
                      <a:pt x="43420" y="52156"/>
                      <a:pt x="52184" y="43363"/>
                      <a:pt x="52184" y="32587"/>
                    </a:cubicBezTo>
                    <a:cubicBezTo>
                      <a:pt x="52184" y="21811"/>
                      <a:pt x="43391" y="13017"/>
                      <a:pt x="32615" y="13017"/>
                    </a:cubicBezTo>
                    <a:close/>
                  </a:path>
                </a:pathLst>
              </a:custGeom>
              <a:solidFill>
                <a:schemeClr val="accent1"/>
              </a:solidFill>
              <a:ln w="2873" cap="flat">
                <a:noFill/>
                <a:prstDash val="solid"/>
                <a:miter/>
              </a:ln>
            </p:spPr>
            <p:txBody>
              <a:bodyPr rtlCol="0" anchor="ctr"/>
              <a:lstStyle/>
              <a:p>
                <a:endParaRPr lang="en-GB" dirty="0"/>
              </a:p>
            </p:txBody>
          </p:sp>
          <p:sp>
            <p:nvSpPr>
              <p:cNvPr id="425" name="Freihandform: Form 887">
                <a:extLst>
                  <a:ext uri="{FF2B5EF4-FFF2-40B4-BE49-F238E27FC236}">
                    <a16:creationId xmlns:a16="http://schemas.microsoft.com/office/drawing/2014/main" id="{4236DEAB-7E44-4769-B2FB-6BA334CB5A95}"/>
                  </a:ext>
                </a:extLst>
              </p:cNvPr>
              <p:cNvSpPr/>
              <p:nvPr/>
            </p:nvSpPr>
            <p:spPr>
              <a:xfrm>
                <a:off x="7043537" y="4161724"/>
                <a:ext cx="65230" cy="65230"/>
              </a:xfrm>
              <a:custGeom>
                <a:avLst/>
                <a:gdLst>
                  <a:gd name="connsiteX0" fmla="*/ 32615 w 65230"/>
                  <a:gd name="connsiteY0" fmla="*/ 65231 h 65230"/>
                  <a:gd name="connsiteX1" fmla="*/ 0 w 65230"/>
                  <a:gd name="connsiteY1" fmla="*/ 32615 h 65230"/>
                  <a:gd name="connsiteX2" fmla="*/ 32615 w 65230"/>
                  <a:gd name="connsiteY2" fmla="*/ 0 h 65230"/>
                  <a:gd name="connsiteX3" fmla="*/ 65231 w 65230"/>
                  <a:gd name="connsiteY3" fmla="*/ 32615 h 65230"/>
                  <a:gd name="connsiteX4" fmla="*/ 32615 w 65230"/>
                  <a:gd name="connsiteY4" fmla="*/ 65231 h 65230"/>
                  <a:gd name="connsiteX5" fmla="*/ 32615 w 65230"/>
                  <a:gd name="connsiteY5" fmla="*/ 13017 h 65230"/>
                  <a:gd name="connsiteX6" fmla="*/ 13046 w 65230"/>
                  <a:gd name="connsiteY6" fmla="*/ 32587 h 65230"/>
                  <a:gd name="connsiteX7" fmla="*/ 32615 w 65230"/>
                  <a:gd name="connsiteY7" fmla="*/ 52156 h 65230"/>
                  <a:gd name="connsiteX8" fmla="*/ 52185 w 65230"/>
                  <a:gd name="connsiteY8" fmla="*/ 32587 h 65230"/>
                  <a:gd name="connsiteX9" fmla="*/ 32615 w 65230"/>
                  <a:gd name="connsiteY9" fmla="*/ 13017 h 6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30" h="65230">
                    <a:moveTo>
                      <a:pt x="32615" y="65231"/>
                    </a:moveTo>
                    <a:cubicBezTo>
                      <a:pt x="14627" y="65231"/>
                      <a:pt x="0" y="50604"/>
                      <a:pt x="0" y="32615"/>
                    </a:cubicBezTo>
                    <a:cubicBezTo>
                      <a:pt x="0" y="14627"/>
                      <a:pt x="14627" y="0"/>
                      <a:pt x="32615" y="0"/>
                    </a:cubicBezTo>
                    <a:cubicBezTo>
                      <a:pt x="50604" y="0"/>
                      <a:pt x="65231" y="14627"/>
                      <a:pt x="65231" y="32615"/>
                    </a:cubicBezTo>
                    <a:cubicBezTo>
                      <a:pt x="65231" y="50604"/>
                      <a:pt x="50604" y="65231"/>
                      <a:pt x="32615" y="65231"/>
                    </a:cubicBezTo>
                    <a:close/>
                    <a:moveTo>
                      <a:pt x="32615" y="13017"/>
                    </a:moveTo>
                    <a:cubicBezTo>
                      <a:pt x="21811" y="13017"/>
                      <a:pt x="13046" y="21811"/>
                      <a:pt x="13046" y="32587"/>
                    </a:cubicBezTo>
                    <a:cubicBezTo>
                      <a:pt x="13046" y="43363"/>
                      <a:pt x="21839" y="52156"/>
                      <a:pt x="32615" y="52156"/>
                    </a:cubicBezTo>
                    <a:cubicBezTo>
                      <a:pt x="43420" y="52156"/>
                      <a:pt x="52185" y="43363"/>
                      <a:pt x="52185" y="32587"/>
                    </a:cubicBezTo>
                    <a:cubicBezTo>
                      <a:pt x="52185" y="21811"/>
                      <a:pt x="43420" y="13017"/>
                      <a:pt x="32615" y="13017"/>
                    </a:cubicBezTo>
                    <a:close/>
                  </a:path>
                </a:pathLst>
              </a:custGeom>
              <a:solidFill>
                <a:schemeClr val="accent1"/>
              </a:solidFill>
              <a:ln w="2873" cap="flat">
                <a:noFill/>
                <a:prstDash val="solid"/>
                <a:miter/>
              </a:ln>
            </p:spPr>
            <p:txBody>
              <a:bodyPr rtlCol="0" anchor="ctr"/>
              <a:lstStyle/>
              <a:p>
                <a:endParaRPr lang="en-GB" dirty="0"/>
              </a:p>
            </p:txBody>
          </p:sp>
          <p:sp>
            <p:nvSpPr>
              <p:cNvPr id="426" name="Freihandform: Form 888">
                <a:extLst>
                  <a:ext uri="{FF2B5EF4-FFF2-40B4-BE49-F238E27FC236}">
                    <a16:creationId xmlns:a16="http://schemas.microsoft.com/office/drawing/2014/main" id="{22B651F5-78A5-4660-9028-45E403093F05}"/>
                  </a:ext>
                </a:extLst>
              </p:cNvPr>
              <p:cNvSpPr/>
              <p:nvPr/>
            </p:nvSpPr>
            <p:spPr>
              <a:xfrm>
                <a:off x="6984800" y="4311812"/>
                <a:ext cx="65230" cy="65230"/>
              </a:xfrm>
              <a:custGeom>
                <a:avLst/>
                <a:gdLst>
                  <a:gd name="connsiteX0" fmla="*/ 32615 w 65230"/>
                  <a:gd name="connsiteY0" fmla="*/ 65231 h 65230"/>
                  <a:gd name="connsiteX1" fmla="*/ 0 w 65230"/>
                  <a:gd name="connsiteY1" fmla="*/ 32615 h 65230"/>
                  <a:gd name="connsiteX2" fmla="*/ 32615 w 65230"/>
                  <a:gd name="connsiteY2" fmla="*/ 0 h 65230"/>
                  <a:gd name="connsiteX3" fmla="*/ 65231 w 65230"/>
                  <a:gd name="connsiteY3" fmla="*/ 32615 h 65230"/>
                  <a:gd name="connsiteX4" fmla="*/ 32615 w 65230"/>
                  <a:gd name="connsiteY4" fmla="*/ 65231 h 65230"/>
                  <a:gd name="connsiteX5" fmla="*/ 32615 w 65230"/>
                  <a:gd name="connsiteY5" fmla="*/ 13046 h 65230"/>
                  <a:gd name="connsiteX6" fmla="*/ 13046 w 65230"/>
                  <a:gd name="connsiteY6" fmla="*/ 32615 h 65230"/>
                  <a:gd name="connsiteX7" fmla="*/ 32615 w 65230"/>
                  <a:gd name="connsiteY7" fmla="*/ 52184 h 65230"/>
                  <a:gd name="connsiteX8" fmla="*/ 52185 w 65230"/>
                  <a:gd name="connsiteY8" fmla="*/ 32615 h 65230"/>
                  <a:gd name="connsiteX9" fmla="*/ 32615 w 65230"/>
                  <a:gd name="connsiteY9" fmla="*/ 13046 h 6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30" h="65230">
                    <a:moveTo>
                      <a:pt x="32615" y="65231"/>
                    </a:moveTo>
                    <a:cubicBezTo>
                      <a:pt x="14627" y="65231"/>
                      <a:pt x="0" y="50604"/>
                      <a:pt x="0" y="32615"/>
                    </a:cubicBezTo>
                    <a:cubicBezTo>
                      <a:pt x="0" y="14626"/>
                      <a:pt x="14627" y="0"/>
                      <a:pt x="32615" y="0"/>
                    </a:cubicBezTo>
                    <a:cubicBezTo>
                      <a:pt x="50604" y="0"/>
                      <a:pt x="65231" y="14626"/>
                      <a:pt x="65231" y="32615"/>
                    </a:cubicBezTo>
                    <a:cubicBezTo>
                      <a:pt x="65231" y="50604"/>
                      <a:pt x="50604" y="65231"/>
                      <a:pt x="32615" y="65231"/>
                    </a:cubicBezTo>
                    <a:close/>
                    <a:moveTo>
                      <a:pt x="32615" y="13046"/>
                    </a:moveTo>
                    <a:cubicBezTo>
                      <a:pt x="21811" y="13046"/>
                      <a:pt x="13046" y="21839"/>
                      <a:pt x="13046" y="32615"/>
                    </a:cubicBezTo>
                    <a:cubicBezTo>
                      <a:pt x="13046" y="43391"/>
                      <a:pt x="21839" y="52184"/>
                      <a:pt x="32615" y="52184"/>
                    </a:cubicBezTo>
                    <a:cubicBezTo>
                      <a:pt x="43420" y="52184"/>
                      <a:pt x="52185" y="43391"/>
                      <a:pt x="52185" y="32615"/>
                    </a:cubicBezTo>
                    <a:cubicBezTo>
                      <a:pt x="52185" y="21839"/>
                      <a:pt x="43420" y="13046"/>
                      <a:pt x="32615" y="13046"/>
                    </a:cubicBezTo>
                    <a:close/>
                  </a:path>
                </a:pathLst>
              </a:custGeom>
              <a:solidFill>
                <a:schemeClr val="accent1"/>
              </a:solidFill>
              <a:ln w="2873" cap="flat">
                <a:noFill/>
                <a:prstDash val="solid"/>
                <a:miter/>
              </a:ln>
            </p:spPr>
            <p:txBody>
              <a:bodyPr rtlCol="0" anchor="ctr"/>
              <a:lstStyle/>
              <a:p>
                <a:endParaRPr lang="en-GB" dirty="0"/>
              </a:p>
            </p:txBody>
          </p:sp>
          <p:sp>
            <p:nvSpPr>
              <p:cNvPr id="427" name="Freihandform: Form 889">
                <a:extLst>
                  <a:ext uri="{FF2B5EF4-FFF2-40B4-BE49-F238E27FC236}">
                    <a16:creationId xmlns:a16="http://schemas.microsoft.com/office/drawing/2014/main" id="{6C1A8DDA-F3BF-43C5-83B3-E443426F246F}"/>
                  </a:ext>
                </a:extLst>
              </p:cNvPr>
              <p:cNvSpPr/>
              <p:nvPr/>
            </p:nvSpPr>
            <p:spPr>
              <a:xfrm>
                <a:off x="7402477" y="4311812"/>
                <a:ext cx="65230" cy="65230"/>
              </a:xfrm>
              <a:custGeom>
                <a:avLst/>
                <a:gdLst>
                  <a:gd name="connsiteX0" fmla="*/ 32615 w 65230"/>
                  <a:gd name="connsiteY0" fmla="*/ 65231 h 65230"/>
                  <a:gd name="connsiteX1" fmla="*/ 0 w 65230"/>
                  <a:gd name="connsiteY1" fmla="*/ 32615 h 65230"/>
                  <a:gd name="connsiteX2" fmla="*/ 32615 w 65230"/>
                  <a:gd name="connsiteY2" fmla="*/ 0 h 65230"/>
                  <a:gd name="connsiteX3" fmla="*/ 65230 w 65230"/>
                  <a:gd name="connsiteY3" fmla="*/ 32615 h 65230"/>
                  <a:gd name="connsiteX4" fmla="*/ 32615 w 65230"/>
                  <a:gd name="connsiteY4" fmla="*/ 65231 h 65230"/>
                  <a:gd name="connsiteX5" fmla="*/ 32615 w 65230"/>
                  <a:gd name="connsiteY5" fmla="*/ 13046 h 65230"/>
                  <a:gd name="connsiteX6" fmla="*/ 13046 w 65230"/>
                  <a:gd name="connsiteY6" fmla="*/ 32615 h 65230"/>
                  <a:gd name="connsiteX7" fmla="*/ 32615 w 65230"/>
                  <a:gd name="connsiteY7" fmla="*/ 52184 h 65230"/>
                  <a:gd name="connsiteX8" fmla="*/ 52184 w 65230"/>
                  <a:gd name="connsiteY8" fmla="*/ 32615 h 65230"/>
                  <a:gd name="connsiteX9" fmla="*/ 32615 w 65230"/>
                  <a:gd name="connsiteY9" fmla="*/ 13046 h 652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30" h="65230">
                    <a:moveTo>
                      <a:pt x="32615" y="65231"/>
                    </a:moveTo>
                    <a:cubicBezTo>
                      <a:pt x="14626" y="65231"/>
                      <a:pt x="0" y="50604"/>
                      <a:pt x="0" y="32615"/>
                    </a:cubicBezTo>
                    <a:cubicBezTo>
                      <a:pt x="0" y="14626"/>
                      <a:pt x="14626" y="0"/>
                      <a:pt x="32615" y="0"/>
                    </a:cubicBezTo>
                    <a:cubicBezTo>
                      <a:pt x="50604" y="0"/>
                      <a:pt x="65230" y="14626"/>
                      <a:pt x="65230" y="32615"/>
                    </a:cubicBezTo>
                    <a:cubicBezTo>
                      <a:pt x="65230" y="50604"/>
                      <a:pt x="50604" y="65231"/>
                      <a:pt x="32615" y="65231"/>
                    </a:cubicBezTo>
                    <a:close/>
                    <a:moveTo>
                      <a:pt x="32615" y="13046"/>
                    </a:moveTo>
                    <a:cubicBezTo>
                      <a:pt x="21810" y="13046"/>
                      <a:pt x="13046" y="21839"/>
                      <a:pt x="13046" y="32615"/>
                    </a:cubicBezTo>
                    <a:cubicBezTo>
                      <a:pt x="13046" y="43391"/>
                      <a:pt x="21839" y="52184"/>
                      <a:pt x="32615" y="52184"/>
                    </a:cubicBezTo>
                    <a:cubicBezTo>
                      <a:pt x="43420" y="52184"/>
                      <a:pt x="52184" y="43391"/>
                      <a:pt x="52184" y="32615"/>
                    </a:cubicBezTo>
                    <a:cubicBezTo>
                      <a:pt x="52184" y="21839"/>
                      <a:pt x="43391" y="13046"/>
                      <a:pt x="32615" y="13046"/>
                    </a:cubicBezTo>
                    <a:close/>
                  </a:path>
                </a:pathLst>
              </a:custGeom>
              <a:solidFill>
                <a:schemeClr val="accent1"/>
              </a:solidFill>
              <a:ln w="2873" cap="flat">
                <a:noFill/>
                <a:prstDash val="solid"/>
                <a:miter/>
              </a:ln>
            </p:spPr>
            <p:txBody>
              <a:bodyPr rtlCol="0" anchor="ctr"/>
              <a:lstStyle/>
              <a:p>
                <a:endParaRPr lang="en-GB" dirty="0"/>
              </a:p>
            </p:txBody>
          </p:sp>
          <p:sp>
            <p:nvSpPr>
              <p:cNvPr id="428" name="Freihandform: Form 890">
                <a:extLst>
                  <a:ext uri="{FF2B5EF4-FFF2-40B4-BE49-F238E27FC236}">
                    <a16:creationId xmlns:a16="http://schemas.microsoft.com/office/drawing/2014/main" id="{083624C8-D943-454C-8B42-EAE3D634B29D}"/>
                  </a:ext>
                </a:extLst>
              </p:cNvPr>
              <p:cNvSpPr/>
              <p:nvPr/>
            </p:nvSpPr>
            <p:spPr>
              <a:xfrm>
                <a:off x="7219717" y="4442301"/>
                <a:ext cx="13046" cy="13046"/>
              </a:xfrm>
              <a:custGeom>
                <a:avLst/>
                <a:gdLst>
                  <a:gd name="connsiteX0" fmla="*/ 0 w 13046"/>
                  <a:gd name="connsiteY0" fmla="*/ 0 h 13046"/>
                  <a:gd name="connsiteX1" fmla="*/ 13046 w 13046"/>
                  <a:gd name="connsiteY1" fmla="*/ 0 h 13046"/>
                  <a:gd name="connsiteX2" fmla="*/ 13046 w 13046"/>
                  <a:gd name="connsiteY2" fmla="*/ 13046 h 13046"/>
                  <a:gd name="connsiteX3" fmla="*/ 0 w 13046"/>
                  <a:gd name="connsiteY3" fmla="*/ 13046 h 13046"/>
                </a:gdLst>
                <a:ahLst/>
                <a:cxnLst>
                  <a:cxn ang="0">
                    <a:pos x="connsiteX0" y="connsiteY0"/>
                  </a:cxn>
                  <a:cxn ang="0">
                    <a:pos x="connsiteX1" y="connsiteY1"/>
                  </a:cxn>
                  <a:cxn ang="0">
                    <a:pos x="connsiteX2" y="connsiteY2"/>
                  </a:cxn>
                  <a:cxn ang="0">
                    <a:pos x="connsiteX3" y="connsiteY3"/>
                  </a:cxn>
                </a:cxnLst>
                <a:rect l="l" t="t" r="r" b="b"/>
                <a:pathLst>
                  <a:path w="13046" h="13046">
                    <a:moveTo>
                      <a:pt x="0" y="0"/>
                    </a:moveTo>
                    <a:lnTo>
                      <a:pt x="13046" y="0"/>
                    </a:lnTo>
                    <a:lnTo>
                      <a:pt x="13046" y="13046"/>
                    </a:lnTo>
                    <a:lnTo>
                      <a:pt x="0" y="13046"/>
                    </a:lnTo>
                    <a:close/>
                  </a:path>
                </a:pathLst>
              </a:custGeom>
              <a:solidFill>
                <a:schemeClr val="accent1"/>
              </a:solidFill>
              <a:ln w="2873" cap="flat">
                <a:noFill/>
                <a:prstDash val="solid"/>
                <a:miter/>
              </a:ln>
            </p:spPr>
            <p:txBody>
              <a:bodyPr rtlCol="0" anchor="ctr"/>
              <a:lstStyle/>
              <a:p>
                <a:endParaRPr lang="en-GB" dirty="0"/>
              </a:p>
            </p:txBody>
          </p:sp>
        </p:grpSp>
      </p:grpSp>
      <p:grpSp>
        <p:nvGrpSpPr>
          <p:cNvPr id="14" name="Group 13">
            <a:extLst>
              <a:ext uri="{FF2B5EF4-FFF2-40B4-BE49-F238E27FC236}">
                <a16:creationId xmlns:a16="http://schemas.microsoft.com/office/drawing/2014/main" id="{2BB06E75-5727-FCE2-AA54-1C18439205F8}"/>
              </a:ext>
            </a:extLst>
          </p:cNvPr>
          <p:cNvGrpSpPr/>
          <p:nvPr/>
        </p:nvGrpSpPr>
        <p:grpSpPr>
          <a:xfrm>
            <a:off x="4967680" y="2391526"/>
            <a:ext cx="491176" cy="432000"/>
            <a:chOff x="4967268" y="2391526"/>
            <a:chExt cx="491176" cy="432000"/>
          </a:xfrm>
        </p:grpSpPr>
        <p:grpSp>
          <p:nvGrpSpPr>
            <p:cNvPr id="440" name="Group 439">
              <a:extLst>
                <a:ext uri="{FF2B5EF4-FFF2-40B4-BE49-F238E27FC236}">
                  <a16:creationId xmlns:a16="http://schemas.microsoft.com/office/drawing/2014/main" id="{64D50E07-6599-400E-968E-60B134BEE197}"/>
                </a:ext>
              </a:extLst>
            </p:cNvPr>
            <p:cNvGrpSpPr/>
            <p:nvPr/>
          </p:nvGrpSpPr>
          <p:grpSpPr>
            <a:xfrm>
              <a:off x="4967268" y="2498043"/>
              <a:ext cx="491176" cy="183459"/>
              <a:chOff x="876153" y="1743488"/>
              <a:chExt cx="538271" cy="201049"/>
            </a:xfrm>
          </p:grpSpPr>
          <p:sp>
            <p:nvSpPr>
              <p:cNvPr id="451" name="Freihandform: Form 234">
                <a:extLst>
                  <a:ext uri="{FF2B5EF4-FFF2-40B4-BE49-F238E27FC236}">
                    <a16:creationId xmlns:a16="http://schemas.microsoft.com/office/drawing/2014/main" id="{4B045332-2530-43E4-A6FB-F04CF80E618C}"/>
                  </a:ext>
                </a:extLst>
              </p:cNvPr>
              <p:cNvSpPr/>
              <p:nvPr/>
            </p:nvSpPr>
            <p:spPr>
              <a:xfrm>
                <a:off x="1164757" y="1743488"/>
                <a:ext cx="249667" cy="201049"/>
              </a:xfrm>
              <a:custGeom>
                <a:avLst/>
                <a:gdLst>
                  <a:gd name="connsiteX0" fmla="*/ 119760 w 249667"/>
                  <a:gd name="connsiteY0" fmla="*/ 201049 h 201049"/>
                  <a:gd name="connsiteX1" fmla="*/ 97263 w 249667"/>
                  <a:gd name="connsiteY1" fmla="*/ 201049 h 201049"/>
                  <a:gd name="connsiteX2" fmla="*/ 97263 w 249667"/>
                  <a:gd name="connsiteY2" fmla="*/ 188079 h 201049"/>
                  <a:gd name="connsiteX3" fmla="*/ 113676 w 249667"/>
                  <a:gd name="connsiteY3" fmla="*/ 188079 h 201049"/>
                  <a:gd name="connsiteX4" fmla="*/ 141066 w 249667"/>
                  <a:gd name="connsiteY4" fmla="*/ 155201 h 201049"/>
                  <a:gd name="connsiteX5" fmla="*/ 124057 w 249667"/>
                  <a:gd name="connsiteY5" fmla="*/ 129701 h 201049"/>
                  <a:gd name="connsiteX6" fmla="*/ 164961 w 249667"/>
                  <a:gd name="connsiteY6" fmla="*/ 129701 h 201049"/>
                  <a:gd name="connsiteX7" fmla="*/ 187406 w 249667"/>
                  <a:gd name="connsiteY7" fmla="*/ 92732 h 201049"/>
                  <a:gd name="connsiteX8" fmla="*/ 135836 w 249667"/>
                  <a:gd name="connsiteY8" fmla="*/ 58352 h 201049"/>
                  <a:gd name="connsiteX9" fmla="*/ 211301 w 249667"/>
                  <a:gd name="connsiteY9" fmla="*/ 58352 h 201049"/>
                  <a:gd name="connsiteX10" fmla="*/ 230200 w 249667"/>
                  <a:gd name="connsiteY10" fmla="*/ 12970 h 201049"/>
                  <a:gd name="connsiteX11" fmla="*/ 0 w 249667"/>
                  <a:gd name="connsiteY11" fmla="*/ 12970 h 201049"/>
                  <a:gd name="connsiteX12" fmla="*/ 0 w 249667"/>
                  <a:gd name="connsiteY12" fmla="*/ 0 h 201049"/>
                  <a:gd name="connsiteX13" fmla="*/ 249668 w 249667"/>
                  <a:gd name="connsiteY13" fmla="*/ 0 h 201049"/>
                  <a:gd name="connsiteX14" fmla="*/ 219948 w 249667"/>
                  <a:gd name="connsiteY14" fmla="*/ 71323 h 201049"/>
                  <a:gd name="connsiteX15" fmla="*/ 178682 w 249667"/>
                  <a:gd name="connsiteY15" fmla="*/ 71323 h 201049"/>
                  <a:gd name="connsiteX16" fmla="*/ 204933 w 249667"/>
                  <a:gd name="connsiteY16" fmla="*/ 88823 h 201049"/>
                  <a:gd name="connsiteX17" fmla="*/ 172261 w 249667"/>
                  <a:gd name="connsiteY17" fmla="*/ 142671 h 201049"/>
                  <a:gd name="connsiteX18" fmla="*/ 148289 w 249667"/>
                  <a:gd name="connsiteY18" fmla="*/ 142671 h 201049"/>
                  <a:gd name="connsiteX19" fmla="*/ 157220 w 249667"/>
                  <a:gd name="connsiteY19" fmla="*/ 156055 h 201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9667" h="201049">
                    <a:moveTo>
                      <a:pt x="119760" y="201049"/>
                    </a:moveTo>
                    <a:lnTo>
                      <a:pt x="97263" y="201049"/>
                    </a:lnTo>
                    <a:lnTo>
                      <a:pt x="97263" y="188079"/>
                    </a:lnTo>
                    <a:lnTo>
                      <a:pt x="113676" y="188079"/>
                    </a:lnTo>
                    <a:lnTo>
                      <a:pt x="141066" y="155201"/>
                    </a:lnTo>
                    <a:lnTo>
                      <a:pt x="124057" y="129701"/>
                    </a:lnTo>
                    <a:lnTo>
                      <a:pt x="164961" y="129701"/>
                    </a:lnTo>
                    <a:lnTo>
                      <a:pt x="187406" y="92732"/>
                    </a:lnTo>
                    <a:lnTo>
                      <a:pt x="135836" y="58352"/>
                    </a:lnTo>
                    <a:lnTo>
                      <a:pt x="211301" y="58352"/>
                    </a:lnTo>
                    <a:lnTo>
                      <a:pt x="230200" y="12970"/>
                    </a:lnTo>
                    <a:lnTo>
                      <a:pt x="0" y="12970"/>
                    </a:lnTo>
                    <a:lnTo>
                      <a:pt x="0" y="0"/>
                    </a:lnTo>
                    <a:lnTo>
                      <a:pt x="249668" y="0"/>
                    </a:lnTo>
                    <a:lnTo>
                      <a:pt x="219948" y="71323"/>
                    </a:lnTo>
                    <a:lnTo>
                      <a:pt x="178682" y="71323"/>
                    </a:lnTo>
                    <a:lnTo>
                      <a:pt x="204933" y="88823"/>
                    </a:lnTo>
                    <a:lnTo>
                      <a:pt x="172261" y="142671"/>
                    </a:lnTo>
                    <a:lnTo>
                      <a:pt x="148289" y="142671"/>
                    </a:lnTo>
                    <a:lnTo>
                      <a:pt x="157220" y="156055"/>
                    </a:lnTo>
                    <a:close/>
                  </a:path>
                </a:pathLst>
              </a:custGeom>
              <a:solidFill>
                <a:schemeClr val="accent1"/>
              </a:solidFill>
              <a:ln w="2585" cap="flat">
                <a:noFill/>
                <a:prstDash val="solid"/>
                <a:miter/>
              </a:ln>
            </p:spPr>
            <p:txBody>
              <a:bodyPr rtlCol="0" anchor="ctr"/>
              <a:lstStyle/>
              <a:p>
                <a:endParaRPr lang="en-GB" dirty="0"/>
              </a:p>
            </p:txBody>
          </p:sp>
          <p:sp>
            <p:nvSpPr>
              <p:cNvPr id="452" name="Freihandform: Form 235">
                <a:extLst>
                  <a:ext uri="{FF2B5EF4-FFF2-40B4-BE49-F238E27FC236}">
                    <a16:creationId xmlns:a16="http://schemas.microsoft.com/office/drawing/2014/main" id="{276CED84-D8A4-4163-ADF0-D127DF1B8596}"/>
                  </a:ext>
                </a:extLst>
              </p:cNvPr>
              <p:cNvSpPr/>
              <p:nvPr/>
            </p:nvSpPr>
            <p:spPr>
              <a:xfrm>
                <a:off x="876153" y="1743488"/>
                <a:ext cx="249693" cy="201049"/>
              </a:xfrm>
              <a:custGeom>
                <a:avLst/>
                <a:gdLst>
                  <a:gd name="connsiteX0" fmla="*/ 152405 w 249693"/>
                  <a:gd name="connsiteY0" fmla="*/ 201049 h 201049"/>
                  <a:gd name="connsiteX1" fmla="*/ 129908 w 249693"/>
                  <a:gd name="connsiteY1" fmla="*/ 201049 h 201049"/>
                  <a:gd name="connsiteX2" fmla="*/ 92448 w 249693"/>
                  <a:gd name="connsiteY2" fmla="*/ 156081 h 201049"/>
                  <a:gd name="connsiteX3" fmla="*/ 101379 w 249693"/>
                  <a:gd name="connsiteY3" fmla="*/ 142671 h 201049"/>
                  <a:gd name="connsiteX4" fmla="*/ 77432 w 249693"/>
                  <a:gd name="connsiteY4" fmla="*/ 142671 h 201049"/>
                  <a:gd name="connsiteX5" fmla="*/ 44735 w 249693"/>
                  <a:gd name="connsiteY5" fmla="*/ 88849 h 201049"/>
                  <a:gd name="connsiteX6" fmla="*/ 71012 w 249693"/>
                  <a:gd name="connsiteY6" fmla="*/ 71348 h 201049"/>
                  <a:gd name="connsiteX7" fmla="*/ 29720 w 249693"/>
                  <a:gd name="connsiteY7" fmla="*/ 71348 h 201049"/>
                  <a:gd name="connsiteX8" fmla="*/ 0 w 249693"/>
                  <a:gd name="connsiteY8" fmla="*/ 0 h 201049"/>
                  <a:gd name="connsiteX9" fmla="*/ 249694 w 249693"/>
                  <a:gd name="connsiteY9" fmla="*/ 0 h 201049"/>
                  <a:gd name="connsiteX10" fmla="*/ 249694 w 249693"/>
                  <a:gd name="connsiteY10" fmla="*/ 12970 h 201049"/>
                  <a:gd name="connsiteX11" fmla="*/ 19468 w 249693"/>
                  <a:gd name="connsiteY11" fmla="*/ 12970 h 201049"/>
                  <a:gd name="connsiteX12" fmla="*/ 38367 w 249693"/>
                  <a:gd name="connsiteY12" fmla="*/ 58378 h 201049"/>
                  <a:gd name="connsiteX13" fmla="*/ 113831 w 249693"/>
                  <a:gd name="connsiteY13" fmla="*/ 58378 h 201049"/>
                  <a:gd name="connsiteX14" fmla="*/ 62288 w 249693"/>
                  <a:gd name="connsiteY14" fmla="*/ 92732 h 201049"/>
                  <a:gd name="connsiteX15" fmla="*/ 84707 w 249693"/>
                  <a:gd name="connsiteY15" fmla="*/ 129701 h 201049"/>
                  <a:gd name="connsiteX16" fmla="*/ 125611 w 249693"/>
                  <a:gd name="connsiteY16" fmla="*/ 129701 h 201049"/>
                  <a:gd name="connsiteX17" fmla="*/ 108602 w 249693"/>
                  <a:gd name="connsiteY17" fmla="*/ 155201 h 201049"/>
                  <a:gd name="connsiteX18" fmla="*/ 135992 w 249693"/>
                  <a:gd name="connsiteY18" fmla="*/ 188079 h 201049"/>
                  <a:gd name="connsiteX19" fmla="*/ 152405 w 249693"/>
                  <a:gd name="connsiteY19" fmla="*/ 188079 h 201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49693" h="201049">
                    <a:moveTo>
                      <a:pt x="152405" y="201049"/>
                    </a:moveTo>
                    <a:lnTo>
                      <a:pt x="129908" y="201049"/>
                    </a:lnTo>
                    <a:lnTo>
                      <a:pt x="92448" y="156081"/>
                    </a:lnTo>
                    <a:lnTo>
                      <a:pt x="101379" y="142671"/>
                    </a:lnTo>
                    <a:lnTo>
                      <a:pt x="77432" y="142671"/>
                    </a:lnTo>
                    <a:lnTo>
                      <a:pt x="44735" y="88849"/>
                    </a:lnTo>
                    <a:lnTo>
                      <a:pt x="71012" y="71348"/>
                    </a:lnTo>
                    <a:lnTo>
                      <a:pt x="29720" y="71348"/>
                    </a:lnTo>
                    <a:lnTo>
                      <a:pt x="0" y="0"/>
                    </a:lnTo>
                    <a:lnTo>
                      <a:pt x="249694" y="0"/>
                    </a:lnTo>
                    <a:lnTo>
                      <a:pt x="249694" y="12970"/>
                    </a:lnTo>
                    <a:lnTo>
                      <a:pt x="19468" y="12970"/>
                    </a:lnTo>
                    <a:lnTo>
                      <a:pt x="38367" y="58378"/>
                    </a:lnTo>
                    <a:lnTo>
                      <a:pt x="113831" y="58378"/>
                    </a:lnTo>
                    <a:lnTo>
                      <a:pt x="62288" y="92732"/>
                    </a:lnTo>
                    <a:lnTo>
                      <a:pt x="84707" y="129701"/>
                    </a:lnTo>
                    <a:lnTo>
                      <a:pt x="125611" y="129701"/>
                    </a:lnTo>
                    <a:lnTo>
                      <a:pt x="108602" y="155201"/>
                    </a:lnTo>
                    <a:lnTo>
                      <a:pt x="135992" y="188079"/>
                    </a:lnTo>
                    <a:lnTo>
                      <a:pt x="152405" y="188079"/>
                    </a:lnTo>
                    <a:close/>
                  </a:path>
                </a:pathLst>
              </a:custGeom>
              <a:solidFill>
                <a:schemeClr val="accent1"/>
              </a:solidFill>
              <a:ln w="2585" cap="flat">
                <a:noFill/>
                <a:prstDash val="solid"/>
                <a:miter/>
              </a:ln>
            </p:spPr>
            <p:txBody>
              <a:bodyPr rtlCol="0" anchor="ctr"/>
              <a:lstStyle/>
              <a:p>
                <a:endParaRPr lang="en-GB" dirty="0"/>
              </a:p>
            </p:txBody>
          </p:sp>
        </p:grpSp>
        <p:grpSp>
          <p:nvGrpSpPr>
            <p:cNvPr id="441" name="Grafik 168">
              <a:extLst>
                <a:ext uri="{FF2B5EF4-FFF2-40B4-BE49-F238E27FC236}">
                  <a16:creationId xmlns:a16="http://schemas.microsoft.com/office/drawing/2014/main" id="{EDC60885-CFEC-477D-B999-7BF5A97386E2}"/>
                </a:ext>
              </a:extLst>
            </p:cNvPr>
            <p:cNvGrpSpPr/>
            <p:nvPr/>
          </p:nvGrpSpPr>
          <p:grpSpPr>
            <a:xfrm>
              <a:off x="5118173" y="2391526"/>
              <a:ext cx="189364" cy="432000"/>
              <a:chOff x="1041529" y="1626758"/>
              <a:chExt cx="207521" cy="473421"/>
            </a:xfrm>
            <a:solidFill>
              <a:schemeClr val="tx2"/>
            </a:solidFill>
          </p:grpSpPr>
          <p:sp>
            <p:nvSpPr>
              <p:cNvPr id="442" name="Freihandform: Form 225">
                <a:extLst>
                  <a:ext uri="{FF2B5EF4-FFF2-40B4-BE49-F238E27FC236}">
                    <a16:creationId xmlns:a16="http://schemas.microsoft.com/office/drawing/2014/main" id="{124E60B8-CE8B-4EC6-9209-728C93F1DB6A}"/>
                  </a:ext>
                </a:extLst>
              </p:cNvPr>
              <p:cNvSpPr/>
              <p:nvPr/>
            </p:nvSpPr>
            <p:spPr>
              <a:xfrm>
                <a:off x="1073967" y="1840777"/>
                <a:ext cx="19442" cy="259401"/>
              </a:xfrm>
              <a:custGeom>
                <a:avLst/>
                <a:gdLst>
                  <a:gd name="connsiteX0" fmla="*/ 19442 w 19442"/>
                  <a:gd name="connsiteY0" fmla="*/ 259402 h 259401"/>
                  <a:gd name="connsiteX1" fmla="*/ 6472 w 19442"/>
                  <a:gd name="connsiteY1" fmla="*/ 259402 h 259401"/>
                  <a:gd name="connsiteX2" fmla="*/ 6472 w 19442"/>
                  <a:gd name="connsiteY2" fmla="*/ 12970 h 259401"/>
                  <a:gd name="connsiteX3" fmla="*/ 0 w 19442"/>
                  <a:gd name="connsiteY3" fmla="*/ 12970 h 259401"/>
                  <a:gd name="connsiteX4" fmla="*/ 0 w 19442"/>
                  <a:gd name="connsiteY4" fmla="*/ 0 h 259401"/>
                  <a:gd name="connsiteX5" fmla="*/ 19442 w 19442"/>
                  <a:gd name="connsiteY5" fmla="*/ 0 h 25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42" h="259401">
                    <a:moveTo>
                      <a:pt x="19442" y="259402"/>
                    </a:moveTo>
                    <a:lnTo>
                      <a:pt x="6472" y="259402"/>
                    </a:lnTo>
                    <a:lnTo>
                      <a:pt x="6472" y="12970"/>
                    </a:lnTo>
                    <a:lnTo>
                      <a:pt x="0" y="12970"/>
                    </a:lnTo>
                    <a:lnTo>
                      <a:pt x="0" y="0"/>
                    </a:lnTo>
                    <a:lnTo>
                      <a:pt x="19442" y="0"/>
                    </a:lnTo>
                    <a:close/>
                  </a:path>
                </a:pathLst>
              </a:custGeom>
              <a:grpFill/>
              <a:ln w="2585" cap="flat">
                <a:noFill/>
                <a:prstDash val="solid"/>
                <a:miter/>
              </a:ln>
            </p:spPr>
            <p:txBody>
              <a:bodyPr rtlCol="0" anchor="ctr"/>
              <a:lstStyle/>
              <a:p>
                <a:endParaRPr lang="en-GB" dirty="0"/>
              </a:p>
            </p:txBody>
          </p:sp>
          <p:sp>
            <p:nvSpPr>
              <p:cNvPr id="443" name="Freihandform: Form 226">
                <a:extLst>
                  <a:ext uri="{FF2B5EF4-FFF2-40B4-BE49-F238E27FC236}">
                    <a16:creationId xmlns:a16="http://schemas.microsoft.com/office/drawing/2014/main" id="{4EECC04E-2960-4395-93DA-AF417AF016A4}"/>
                  </a:ext>
                </a:extLst>
              </p:cNvPr>
              <p:cNvSpPr/>
              <p:nvPr/>
            </p:nvSpPr>
            <p:spPr>
              <a:xfrm>
                <a:off x="1197170" y="1840777"/>
                <a:ext cx="19468" cy="259401"/>
              </a:xfrm>
              <a:custGeom>
                <a:avLst/>
                <a:gdLst>
                  <a:gd name="connsiteX0" fmla="*/ 12970 w 19468"/>
                  <a:gd name="connsiteY0" fmla="*/ 259402 h 259401"/>
                  <a:gd name="connsiteX1" fmla="*/ 0 w 19468"/>
                  <a:gd name="connsiteY1" fmla="*/ 259402 h 259401"/>
                  <a:gd name="connsiteX2" fmla="*/ 0 w 19468"/>
                  <a:gd name="connsiteY2" fmla="*/ 0 h 259401"/>
                  <a:gd name="connsiteX3" fmla="*/ 19468 w 19468"/>
                  <a:gd name="connsiteY3" fmla="*/ 0 h 259401"/>
                  <a:gd name="connsiteX4" fmla="*/ 19468 w 19468"/>
                  <a:gd name="connsiteY4" fmla="*/ 12970 h 259401"/>
                  <a:gd name="connsiteX5" fmla="*/ 12970 w 19468"/>
                  <a:gd name="connsiteY5" fmla="*/ 12970 h 25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8" h="259401">
                    <a:moveTo>
                      <a:pt x="12970" y="259402"/>
                    </a:moveTo>
                    <a:lnTo>
                      <a:pt x="0" y="259402"/>
                    </a:lnTo>
                    <a:lnTo>
                      <a:pt x="0" y="0"/>
                    </a:lnTo>
                    <a:lnTo>
                      <a:pt x="19468" y="0"/>
                    </a:lnTo>
                    <a:lnTo>
                      <a:pt x="19468" y="12970"/>
                    </a:lnTo>
                    <a:lnTo>
                      <a:pt x="12970" y="12970"/>
                    </a:lnTo>
                    <a:close/>
                  </a:path>
                </a:pathLst>
              </a:custGeom>
              <a:grpFill/>
              <a:ln w="2585" cap="flat">
                <a:noFill/>
                <a:prstDash val="solid"/>
                <a:miter/>
              </a:ln>
            </p:spPr>
            <p:txBody>
              <a:bodyPr rtlCol="0" anchor="ctr"/>
              <a:lstStyle/>
              <a:p>
                <a:endParaRPr lang="en-GB" dirty="0"/>
              </a:p>
            </p:txBody>
          </p:sp>
          <p:sp>
            <p:nvSpPr>
              <p:cNvPr id="444" name="Freihandform: Form 227">
                <a:extLst>
                  <a:ext uri="{FF2B5EF4-FFF2-40B4-BE49-F238E27FC236}">
                    <a16:creationId xmlns:a16="http://schemas.microsoft.com/office/drawing/2014/main" id="{B3230320-2D92-4C1D-80A2-E05D436776FC}"/>
                  </a:ext>
                </a:extLst>
              </p:cNvPr>
              <p:cNvSpPr/>
              <p:nvPr/>
            </p:nvSpPr>
            <p:spPr>
              <a:xfrm>
                <a:off x="1138817" y="1944538"/>
                <a:ext cx="12970" cy="155641"/>
              </a:xfrm>
              <a:custGeom>
                <a:avLst/>
                <a:gdLst>
                  <a:gd name="connsiteX0" fmla="*/ 0 w 12970"/>
                  <a:gd name="connsiteY0" fmla="*/ 0 h 155641"/>
                  <a:gd name="connsiteX1" fmla="*/ 12970 w 12970"/>
                  <a:gd name="connsiteY1" fmla="*/ 0 h 155641"/>
                  <a:gd name="connsiteX2" fmla="*/ 12970 w 12970"/>
                  <a:gd name="connsiteY2" fmla="*/ 155641 h 155641"/>
                  <a:gd name="connsiteX3" fmla="*/ 0 w 12970"/>
                  <a:gd name="connsiteY3" fmla="*/ 155641 h 155641"/>
                </a:gdLst>
                <a:ahLst/>
                <a:cxnLst>
                  <a:cxn ang="0">
                    <a:pos x="connsiteX0" y="connsiteY0"/>
                  </a:cxn>
                  <a:cxn ang="0">
                    <a:pos x="connsiteX1" y="connsiteY1"/>
                  </a:cxn>
                  <a:cxn ang="0">
                    <a:pos x="connsiteX2" y="connsiteY2"/>
                  </a:cxn>
                  <a:cxn ang="0">
                    <a:pos x="connsiteX3" y="connsiteY3"/>
                  </a:cxn>
                </a:cxnLst>
                <a:rect l="l" t="t" r="r" b="b"/>
                <a:pathLst>
                  <a:path w="12970" h="155641">
                    <a:moveTo>
                      <a:pt x="0" y="0"/>
                    </a:moveTo>
                    <a:lnTo>
                      <a:pt x="12970" y="0"/>
                    </a:lnTo>
                    <a:lnTo>
                      <a:pt x="12970" y="155641"/>
                    </a:lnTo>
                    <a:lnTo>
                      <a:pt x="0" y="155641"/>
                    </a:lnTo>
                    <a:close/>
                  </a:path>
                </a:pathLst>
              </a:custGeom>
              <a:grpFill/>
              <a:ln w="2585" cap="flat">
                <a:noFill/>
                <a:prstDash val="solid"/>
                <a:miter/>
              </a:ln>
            </p:spPr>
            <p:txBody>
              <a:bodyPr rtlCol="0" anchor="ctr"/>
              <a:lstStyle/>
              <a:p>
                <a:endParaRPr lang="en-GB" dirty="0"/>
              </a:p>
            </p:txBody>
          </p:sp>
          <p:sp>
            <p:nvSpPr>
              <p:cNvPr id="445" name="Freihandform: Form 228">
                <a:extLst>
                  <a:ext uri="{FF2B5EF4-FFF2-40B4-BE49-F238E27FC236}">
                    <a16:creationId xmlns:a16="http://schemas.microsoft.com/office/drawing/2014/main" id="{3E79EAB9-7114-4767-BA40-0ACB0320A4BC}"/>
                  </a:ext>
                </a:extLst>
              </p:cNvPr>
              <p:cNvSpPr/>
              <p:nvPr/>
            </p:nvSpPr>
            <p:spPr>
              <a:xfrm>
                <a:off x="1041529" y="1743488"/>
                <a:ext cx="207521" cy="214019"/>
              </a:xfrm>
              <a:custGeom>
                <a:avLst/>
                <a:gdLst>
                  <a:gd name="connsiteX0" fmla="*/ 207522 w 207521"/>
                  <a:gd name="connsiteY0" fmla="*/ 214020 h 214019"/>
                  <a:gd name="connsiteX1" fmla="*/ 181581 w 207521"/>
                  <a:gd name="connsiteY1" fmla="*/ 214020 h 214019"/>
                  <a:gd name="connsiteX2" fmla="*/ 181581 w 207521"/>
                  <a:gd name="connsiteY2" fmla="*/ 201049 h 214019"/>
                  <a:gd name="connsiteX3" fmla="*/ 194551 w 207521"/>
                  <a:gd name="connsiteY3" fmla="*/ 201049 h 214019"/>
                  <a:gd name="connsiteX4" fmla="*/ 194551 w 207521"/>
                  <a:gd name="connsiteY4" fmla="*/ 84319 h 214019"/>
                  <a:gd name="connsiteX5" fmla="*/ 129701 w 207521"/>
                  <a:gd name="connsiteY5" fmla="*/ 12970 h 214019"/>
                  <a:gd name="connsiteX6" fmla="*/ 77821 w 207521"/>
                  <a:gd name="connsiteY6" fmla="*/ 12970 h 214019"/>
                  <a:gd name="connsiteX7" fmla="*/ 12970 w 207521"/>
                  <a:gd name="connsiteY7" fmla="*/ 84319 h 214019"/>
                  <a:gd name="connsiteX8" fmla="*/ 12970 w 207521"/>
                  <a:gd name="connsiteY8" fmla="*/ 201049 h 214019"/>
                  <a:gd name="connsiteX9" fmla="*/ 25940 w 207521"/>
                  <a:gd name="connsiteY9" fmla="*/ 201049 h 214019"/>
                  <a:gd name="connsiteX10" fmla="*/ 25940 w 207521"/>
                  <a:gd name="connsiteY10" fmla="*/ 214020 h 214019"/>
                  <a:gd name="connsiteX11" fmla="*/ 0 w 207521"/>
                  <a:gd name="connsiteY11" fmla="*/ 214020 h 214019"/>
                  <a:gd name="connsiteX12" fmla="*/ 0 w 207521"/>
                  <a:gd name="connsiteY12" fmla="*/ 84319 h 214019"/>
                  <a:gd name="connsiteX13" fmla="*/ 77821 w 207521"/>
                  <a:gd name="connsiteY13" fmla="*/ 0 h 214019"/>
                  <a:gd name="connsiteX14" fmla="*/ 129701 w 207521"/>
                  <a:gd name="connsiteY14" fmla="*/ 0 h 214019"/>
                  <a:gd name="connsiteX15" fmla="*/ 207522 w 207521"/>
                  <a:gd name="connsiteY15" fmla="*/ 84319 h 214019"/>
                  <a:gd name="connsiteX16" fmla="*/ 207522 w 207521"/>
                  <a:gd name="connsiteY16" fmla="*/ 214020 h 214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7521" h="214019">
                    <a:moveTo>
                      <a:pt x="207522" y="214020"/>
                    </a:moveTo>
                    <a:lnTo>
                      <a:pt x="181581" y="214020"/>
                    </a:lnTo>
                    <a:lnTo>
                      <a:pt x="181581" y="201049"/>
                    </a:lnTo>
                    <a:lnTo>
                      <a:pt x="194551" y="201049"/>
                    </a:lnTo>
                    <a:lnTo>
                      <a:pt x="194551" y="84319"/>
                    </a:lnTo>
                    <a:cubicBezTo>
                      <a:pt x="194551" y="42975"/>
                      <a:pt x="167265" y="12970"/>
                      <a:pt x="129701" y="12970"/>
                    </a:cubicBezTo>
                    <a:lnTo>
                      <a:pt x="77821" y="12970"/>
                    </a:lnTo>
                    <a:cubicBezTo>
                      <a:pt x="40231" y="12970"/>
                      <a:pt x="12970" y="42975"/>
                      <a:pt x="12970" y="84319"/>
                    </a:cubicBezTo>
                    <a:lnTo>
                      <a:pt x="12970" y="201049"/>
                    </a:lnTo>
                    <a:lnTo>
                      <a:pt x="25940" y="201049"/>
                    </a:lnTo>
                    <a:lnTo>
                      <a:pt x="25940" y="214020"/>
                    </a:lnTo>
                    <a:lnTo>
                      <a:pt x="0" y="214020"/>
                    </a:lnTo>
                    <a:lnTo>
                      <a:pt x="0" y="84319"/>
                    </a:lnTo>
                    <a:cubicBezTo>
                      <a:pt x="0" y="36270"/>
                      <a:pt x="33448" y="0"/>
                      <a:pt x="77821" y="0"/>
                    </a:cubicBezTo>
                    <a:lnTo>
                      <a:pt x="129701" y="0"/>
                    </a:lnTo>
                    <a:cubicBezTo>
                      <a:pt x="174074" y="0"/>
                      <a:pt x="207522" y="36244"/>
                      <a:pt x="207522" y="84319"/>
                    </a:cubicBezTo>
                    <a:lnTo>
                      <a:pt x="207522" y="214020"/>
                    </a:lnTo>
                    <a:close/>
                  </a:path>
                </a:pathLst>
              </a:custGeom>
              <a:grpFill/>
              <a:ln w="2585" cap="flat">
                <a:noFill/>
                <a:prstDash val="solid"/>
                <a:miter/>
              </a:ln>
            </p:spPr>
            <p:txBody>
              <a:bodyPr rtlCol="0" anchor="ctr"/>
              <a:lstStyle/>
              <a:p>
                <a:endParaRPr lang="en-GB" dirty="0"/>
              </a:p>
            </p:txBody>
          </p:sp>
          <p:sp>
            <p:nvSpPr>
              <p:cNvPr id="446" name="Freihandform: Form 229">
                <a:extLst>
                  <a:ext uri="{FF2B5EF4-FFF2-40B4-BE49-F238E27FC236}">
                    <a16:creationId xmlns:a16="http://schemas.microsoft.com/office/drawing/2014/main" id="{F0DAD7C8-7BCD-4C70-9B37-B35457505C42}"/>
                  </a:ext>
                </a:extLst>
              </p:cNvPr>
              <p:cNvSpPr/>
              <p:nvPr/>
            </p:nvSpPr>
            <p:spPr>
              <a:xfrm>
                <a:off x="1099881" y="1626758"/>
                <a:ext cx="90816" cy="103760"/>
              </a:xfrm>
              <a:custGeom>
                <a:avLst/>
                <a:gdLst>
                  <a:gd name="connsiteX0" fmla="*/ 45408 w 90816"/>
                  <a:gd name="connsiteY0" fmla="*/ 103761 h 103760"/>
                  <a:gd name="connsiteX1" fmla="*/ 0 w 90816"/>
                  <a:gd name="connsiteY1" fmla="*/ 51880 h 103760"/>
                  <a:gd name="connsiteX2" fmla="*/ 45408 w 90816"/>
                  <a:gd name="connsiteY2" fmla="*/ 0 h 103760"/>
                  <a:gd name="connsiteX3" fmla="*/ 90817 w 90816"/>
                  <a:gd name="connsiteY3" fmla="*/ 51880 h 103760"/>
                  <a:gd name="connsiteX4" fmla="*/ 45408 w 90816"/>
                  <a:gd name="connsiteY4" fmla="*/ 103761 h 103760"/>
                  <a:gd name="connsiteX5" fmla="*/ 45408 w 90816"/>
                  <a:gd name="connsiteY5" fmla="*/ 12970 h 103760"/>
                  <a:gd name="connsiteX6" fmla="*/ 12970 w 90816"/>
                  <a:gd name="connsiteY6" fmla="*/ 51880 h 103760"/>
                  <a:gd name="connsiteX7" fmla="*/ 45408 w 90816"/>
                  <a:gd name="connsiteY7" fmla="*/ 90791 h 103760"/>
                  <a:gd name="connsiteX8" fmla="*/ 77846 w 90816"/>
                  <a:gd name="connsiteY8" fmla="*/ 51880 h 103760"/>
                  <a:gd name="connsiteX9" fmla="*/ 45408 w 90816"/>
                  <a:gd name="connsiteY9" fmla="*/ 12970 h 10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816" h="103760">
                    <a:moveTo>
                      <a:pt x="45408" y="103761"/>
                    </a:moveTo>
                    <a:cubicBezTo>
                      <a:pt x="18251" y="103761"/>
                      <a:pt x="0" y="82921"/>
                      <a:pt x="0" y="51880"/>
                    </a:cubicBezTo>
                    <a:cubicBezTo>
                      <a:pt x="0" y="20840"/>
                      <a:pt x="18251" y="0"/>
                      <a:pt x="45408" y="0"/>
                    </a:cubicBezTo>
                    <a:cubicBezTo>
                      <a:pt x="72565" y="0"/>
                      <a:pt x="90817" y="20840"/>
                      <a:pt x="90817" y="51880"/>
                    </a:cubicBezTo>
                    <a:cubicBezTo>
                      <a:pt x="90817" y="82921"/>
                      <a:pt x="72565" y="103761"/>
                      <a:pt x="45408" y="103761"/>
                    </a:cubicBezTo>
                    <a:close/>
                    <a:moveTo>
                      <a:pt x="45408" y="12970"/>
                    </a:moveTo>
                    <a:cubicBezTo>
                      <a:pt x="21487" y="12970"/>
                      <a:pt x="12970" y="33940"/>
                      <a:pt x="12970" y="51880"/>
                    </a:cubicBezTo>
                    <a:cubicBezTo>
                      <a:pt x="12970" y="69821"/>
                      <a:pt x="21461" y="90791"/>
                      <a:pt x="45408" y="90791"/>
                    </a:cubicBezTo>
                    <a:cubicBezTo>
                      <a:pt x="69355" y="90791"/>
                      <a:pt x="77846" y="69821"/>
                      <a:pt x="77846" y="51880"/>
                    </a:cubicBezTo>
                    <a:cubicBezTo>
                      <a:pt x="77846" y="33940"/>
                      <a:pt x="69329" y="12970"/>
                      <a:pt x="45408" y="12970"/>
                    </a:cubicBezTo>
                    <a:close/>
                  </a:path>
                </a:pathLst>
              </a:custGeom>
              <a:grpFill/>
              <a:ln w="2585" cap="flat">
                <a:noFill/>
                <a:prstDash val="solid"/>
                <a:miter/>
              </a:ln>
            </p:spPr>
            <p:txBody>
              <a:bodyPr rtlCol="0" anchor="ctr"/>
              <a:lstStyle/>
              <a:p>
                <a:endParaRPr lang="en-GB" dirty="0"/>
              </a:p>
            </p:txBody>
          </p:sp>
          <p:grpSp>
            <p:nvGrpSpPr>
              <p:cNvPr id="447" name="Grafik 168">
                <a:extLst>
                  <a:ext uri="{FF2B5EF4-FFF2-40B4-BE49-F238E27FC236}">
                    <a16:creationId xmlns:a16="http://schemas.microsoft.com/office/drawing/2014/main" id="{90A9F20E-9195-47AE-BFD0-86EF1CFF4F42}"/>
                  </a:ext>
                </a:extLst>
              </p:cNvPr>
              <p:cNvGrpSpPr/>
              <p:nvPr/>
            </p:nvGrpSpPr>
            <p:grpSpPr>
              <a:xfrm>
                <a:off x="1138817" y="1801867"/>
                <a:ext cx="12970" cy="90790"/>
                <a:chOff x="1138817" y="1801867"/>
                <a:chExt cx="12970" cy="90790"/>
              </a:xfrm>
              <a:grpFill/>
            </p:grpSpPr>
            <p:sp>
              <p:nvSpPr>
                <p:cNvPr id="448" name="Freihandform: Form 231">
                  <a:extLst>
                    <a:ext uri="{FF2B5EF4-FFF2-40B4-BE49-F238E27FC236}">
                      <a16:creationId xmlns:a16="http://schemas.microsoft.com/office/drawing/2014/main" id="{EB71C213-AE87-489E-B6D5-AF4747332BAA}"/>
                    </a:ext>
                  </a:extLst>
                </p:cNvPr>
                <p:cNvSpPr/>
                <p:nvPr/>
              </p:nvSpPr>
              <p:spPr>
                <a:xfrm>
                  <a:off x="1138817" y="1801867"/>
                  <a:ext cx="12970" cy="12970"/>
                </a:xfrm>
                <a:custGeom>
                  <a:avLst/>
                  <a:gdLst>
                    <a:gd name="connsiteX0" fmla="*/ 0 w 12970"/>
                    <a:gd name="connsiteY0" fmla="*/ 0 h 12970"/>
                    <a:gd name="connsiteX1" fmla="*/ 12970 w 12970"/>
                    <a:gd name="connsiteY1" fmla="*/ 0 h 12970"/>
                    <a:gd name="connsiteX2" fmla="*/ 12970 w 12970"/>
                    <a:gd name="connsiteY2" fmla="*/ 12970 h 12970"/>
                    <a:gd name="connsiteX3" fmla="*/ 0 w 12970"/>
                    <a:gd name="connsiteY3" fmla="*/ 12970 h 12970"/>
                  </a:gdLst>
                  <a:ahLst/>
                  <a:cxnLst>
                    <a:cxn ang="0">
                      <a:pos x="connsiteX0" y="connsiteY0"/>
                    </a:cxn>
                    <a:cxn ang="0">
                      <a:pos x="connsiteX1" y="connsiteY1"/>
                    </a:cxn>
                    <a:cxn ang="0">
                      <a:pos x="connsiteX2" y="connsiteY2"/>
                    </a:cxn>
                    <a:cxn ang="0">
                      <a:pos x="connsiteX3" y="connsiteY3"/>
                    </a:cxn>
                  </a:cxnLst>
                  <a:rect l="l" t="t" r="r" b="b"/>
                  <a:pathLst>
                    <a:path w="12970" h="12970">
                      <a:moveTo>
                        <a:pt x="0" y="0"/>
                      </a:moveTo>
                      <a:lnTo>
                        <a:pt x="12970" y="0"/>
                      </a:lnTo>
                      <a:lnTo>
                        <a:pt x="12970" y="12970"/>
                      </a:lnTo>
                      <a:lnTo>
                        <a:pt x="0" y="12970"/>
                      </a:lnTo>
                      <a:close/>
                    </a:path>
                  </a:pathLst>
                </a:custGeom>
                <a:grpFill/>
                <a:ln w="2585" cap="flat">
                  <a:noFill/>
                  <a:prstDash val="solid"/>
                  <a:miter/>
                </a:ln>
              </p:spPr>
              <p:txBody>
                <a:bodyPr rtlCol="0" anchor="ctr"/>
                <a:lstStyle/>
                <a:p>
                  <a:endParaRPr lang="en-GB" dirty="0"/>
                </a:p>
              </p:txBody>
            </p:sp>
            <p:sp>
              <p:nvSpPr>
                <p:cNvPr id="449" name="Freihandform: Form 232">
                  <a:extLst>
                    <a:ext uri="{FF2B5EF4-FFF2-40B4-BE49-F238E27FC236}">
                      <a16:creationId xmlns:a16="http://schemas.microsoft.com/office/drawing/2014/main" id="{536CDDD8-AF46-4AE0-BDF0-43A5171FA653}"/>
                    </a:ext>
                  </a:extLst>
                </p:cNvPr>
                <p:cNvSpPr/>
                <p:nvPr/>
              </p:nvSpPr>
              <p:spPr>
                <a:xfrm>
                  <a:off x="1138817" y="1840777"/>
                  <a:ext cx="12970" cy="12970"/>
                </a:xfrm>
                <a:custGeom>
                  <a:avLst/>
                  <a:gdLst>
                    <a:gd name="connsiteX0" fmla="*/ 0 w 12970"/>
                    <a:gd name="connsiteY0" fmla="*/ 0 h 12970"/>
                    <a:gd name="connsiteX1" fmla="*/ 12970 w 12970"/>
                    <a:gd name="connsiteY1" fmla="*/ 0 h 12970"/>
                    <a:gd name="connsiteX2" fmla="*/ 12970 w 12970"/>
                    <a:gd name="connsiteY2" fmla="*/ 12970 h 12970"/>
                    <a:gd name="connsiteX3" fmla="*/ 0 w 12970"/>
                    <a:gd name="connsiteY3" fmla="*/ 12970 h 12970"/>
                  </a:gdLst>
                  <a:ahLst/>
                  <a:cxnLst>
                    <a:cxn ang="0">
                      <a:pos x="connsiteX0" y="connsiteY0"/>
                    </a:cxn>
                    <a:cxn ang="0">
                      <a:pos x="connsiteX1" y="connsiteY1"/>
                    </a:cxn>
                    <a:cxn ang="0">
                      <a:pos x="connsiteX2" y="connsiteY2"/>
                    </a:cxn>
                    <a:cxn ang="0">
                      <a:pos x="connsiteX3" y="connsiteY3"/>
                    </a:cxn>
                  </a:cxnLst>
                  <a:rect l="l" t="t" r="r" b="b"/>
                  <a:pathLst>
                    <a:path w="12970" h="12970">
                      <a:moveTo>
                        <a:pt x="0" y="0"/>
                      </a:moveTo>
                      <a:lnTo>
                        <a:pt x="12970" y="0"/>
                      </a:lnTo>
                      <a:lnTo>
                        <a:pt x="12970" y="12970"/>
                      </a:lnTo>
                      <a:lnTo>
                        <a:pt x="0" y="12970"/>
                      </a:lnTo>
                      <a:close/>
                    </a:path>
                  </a:pathLst>
                </a:custGeom>
                <a:grpFill/>
                <a:ln w="2585" cap="flat">
                  <a:noFill/>
                  <a:prstDash val="solid"/>
                  <a:miter/>
                </a:ln>
              </p:spPr>
              <p:txBody>
                <a:bodyPr rtlCol="0" anchor="ctr"/>
                <a:lstStyle/>
                <a:p>
                  <a:endParaRPr lang="en-GB" dirty="0"/>
                </a:p>
              </p:txBody>
            </p:sp>
            <p:sp>
              <p:nvSpPr>
                <p:cNvPr id="450" name="Freihandform: Form 233">
                  <a:extLst>
                    <a:ext uri="{FF2B5EF4-FFF2-40B4-BE49-F238E27FC236}">
                      <a16:creationId xmlns:a16="http://schemas.microsoft.com/office/drawing/2014/main" id="{A3684A28-98AF-4CE8-81C1-826871BA784E}"/>
                    </a:ext>
                  </a:extLst>
                </p:cNvPr>
                <p:cNvSpPr/>
                <p:nvPr/>
              </p:nvSpPr>
              <p:spPr>
                <a:xfrm>
                  <a:off x="1138817" y="1879687"/>
                  <a:ext cx="12970" cy="12970"/>
                </a:xfrm>
                <a:custGeom>
                  <a:avLst/>
                  <a:gdLst>
                    <a:gd name="connsiteX0" fmla="*/ 0 w 12970"/>
                    <a:gd name="connsiteY0" fmla="*/ 0 h 12970"/>
                    <a:gd name="connsiteX1" fmla="*/ 12970 w 12970"/>
                    <a:gd name="connsiteY1" fmla="*/ 0 h 12970"/>
                    <a:gd name="connsiteX2" fmla="*/ 12970 w 12970"/>
                    <a:gd name="connsiteY2" fmla="*/ 12970 h 12970"/>
                    <a:gd name="connsiteX3" fmla="*/ 0 w 12970"/>
                    <a:gd name="connsiteY3" fmla="*/ 12970 h 12970"/>
                  </a:gdLst>
                  <a:ahLst/>
                  <a:cxnLst>
                    <a:cxn ang="0">
                      <a:pos x="connsiteX0" y="connsiteY0"/>
                    </a:cxn>
                    <a:cxn ang="0">
                      <a:pos x="connsiteX1" y="connsiteY1"/>
                    </a:cxn>
                    <a:cxn ang="0">
                      <a:pos x="connsiteX2" y="connsiteY2"/>
                    </a:cxn>
                    <a:cxn ang="0">
                      <a:pos x="connsiteX3" y="connsiteY3"/>
                    </a:cxn>
                  </a:cxnLst>
                  <a:rect l="l" t="t" r="r" b="b"/>
                  <a:pathLst>
                    <a:path w="12970" h="12970">
                      <a:moveTo>
                        <a:pt x="0" y="0"/>
                      </a:moveTo>
                      <a:lnTo>
                        <a:pt x="12970" y="0"/>
                      </a:lnTo>
                      <a:lnTo>
                        <a:pt x="12970" y="12970"/>
                      </a:lnTo>
                      <a:lnTo>
                        <a:pt x="0" y="12970"/>
                      </a:lnTo>
                      <a:close/>
                    </a:path>
                  </a:pathLst>
                </a:custGeom>
                <a:grpFill/>
                <a:ln w="2585" cap="flat">
                  <a:noFill/>
                  <a:prstDash val="solid"/>
                  <a:miter/>
                </a:ln>
              </p:spPr>
              <p:txBody>
                <a:bodyPr rtlCol="0" anchor="ctr"/>
                <a:lstStyle/>
                <a:p>
                  <a:endParaRPr lang="en-GB" dirty="0"/>
                </a:p>
              </p:txBody>
            </p:sp>
          </p:grpSp>
        </p:grpSp>
      </p:grpSp>
      <p:grpSp>
        <p:nvGrpSpPr>
          <p:cNvPr id="453" name="Group 452">
            <a:extLst>
              <a:ext uri="{FF2B5EF4-FFF2-40B4-BE49-F238E27FC236}">
                <a16:creationId xmlns:a16="http://schemas.microsoft.com/office/drawing/2014/main" id="{41CC30FE-113D-4B08-9730-BFB49796C72F}"/>
              </a:ext>
            </a:extLst>
          </p:cNvPr>
          <p:cNvGrpSpPr>
            <a:grpSpLocks noChangeAspect="1"/>
          </p:cNvGrpSpPr>
          <p:nvPr/>
        </p:nvGrpSpPr>
        <p:grpSpPr>
          <a:xfrm>
            <a:off x="6040397" y="2391526"/>
            <a:ext cx="432000" cy="432000"/>
            <a:chOff x="3369695" y="1626783"/>
            <a:chExt cx="479868" cy="479868"/>
          </a:xfrm>
        </p:grpSpPr>
        <p:grpSp>
          <p:nvGrpSpPr>
            <p:cNvPr id="454" name="Group 453">
              <a:extLst>
                <a:ext uri="{FF2B5EF4-FFF2-40B4-BE49-F238E27FC236}">
                  <a16:creationId xmlns:a16="http://schemas.microsoft.com/office/drawing/2014/main" id="{5975285D-A9D5-4285-A8CA-14336385FE27}"/>
                </a:ext>
              </a:extLst>
            </p:cNvPr>
            <p:cNvGrpSpPr/>
            <p:nvPr/>
          </p:nvGrpSpPr>
          <p:grpSpPr>
            <a:xfrm>
              <a:off x="3369695" y="1626783"/>
              <a:ext cx="479868" cy="479868"/>
              <a:chOff x="3369699" y="1626783"/>
              <a:chExt cx="479868" cy="479868"/>
            </a:xfrm>
          </p:grpSpPr>
          <p:sp>
            <p:nvSpPr>
              <p:cNvPr id="460" name="Freihandform: Form 296">
                <a:extLst>
                  <a:ext uri="{FF2B5EF4-FFF2-40B4-BE49-F238E27FC236}">
                    <a16:creationId xmlns:a16="http://schemas.microsoft.com/office/drawing/2014/main" id="{F2D9312A-BC25-4DB4-9ECA-12ECB6087331}"/>
                  </a:ext>
                </a:extLst>
              </p:cNvPr>
              <p:cNvSpPr/>
              <p:nvPr/>
            </p:nvSpPr>
            <p:spPr>
              <a:xfrm>
                <a:off x="3502817" y="1833321"/>
                <a:ext cx="17630" cy="66119"/>
              </a:xfrm>
              <a:custGeom>
                <a:avLst/>
                <a:gdLst>
                  <a:gd name="connsiteX0" fmla="*/ 5307 w 17630"/>
                  <a:gd name="connsiteY0" fmla="*/ 66119 h 66119"/>
                  <a:gd name="connsiteX1" fmla="*/ 0 w 17630"/>
                  <a:gd name="connsiteY1" fmla="*/ 33059 h 66119"/>
                  <a:gd name="connsiteX2" fmla="*/ 5307 w 17630"/>
                  <a:gd name="connsiteY2" fmla="*/ 0 h 66119"/>
                  <a:gd name="connsiteX3" fmla="*/ 17630 w 17630"/>
                  <a:gd name="connsiteY3" fmla="*/ 4039 h 66119"/>
                  <a:gd name="connsiteX4" fmla="*/ 12970 w 17630"/>
                  <a:gd name="connsiteY4" fmla="*/ 33059 h 66119"/>
                  <a:gd name="connsiteX5" fmla="*/ 17630 w 17630"/>
                  <a:gd name="connsiteY5" fmla="*/ 62055 h 66119"/>
                  <a:gd name="connsiteX6" fmla="*/ 5307 w 17630"/>
                  <a:gd name="connsiteY6" fmla="*/ 66119 h 66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 h="66119">
                    <a:moveTo>
                      <a:pt x="5307" y="66119"/>
                    </a:moveTo>
                    <a:cubicBezTo>
                      <a:pt x="1786" y="55401"/>
                      <a:pt x="0" y="44269"/>
                      <a:pt x="0" y="33059"/>
                    </a:cubicBezTo>
                    <a:cubicBezTo>
                      <a:pt x="0" y="21824"/>
                      <a:pt x="1786" y="10718"/>
                      <a:pt x="5307" y="0"/>
                    </a:cubicBezTo>
                    <a:lnTo>
                      <a:pt x="17630" y="4039"/>
                    </a:lnTo>
                    <a:cubicBezTo>
                      <a:pt x="14549" y="13436"/>
                      <a:pt x="12970" y="23196"/>
                      <a:pt x="12970" y="33059"/>
                    </a:cubicBezTo>
                    <a:cubicBezTo>
                      <a:pt x="12970" y="42897"/>
                      <a:pt x="14549" y="52657"/>
                      <a:pt x="17630" y="62055"/>
                    </a:cubicBezTo>
                    <a:lnTo>
                      <a:pt x="5307" y="66119"/>
                    </a:lnTo>
                    <a:close/>
                  </a:path>
                </a:pathLst>
              </a:custGeom>
              <a:solidFill>
                <a:schemeClr val="tx2"/>
              </a:solidFill>
              <a:ln w="2585" cap="flat">
                <a:noFill/>
                <a:prstDash val="solid"/>
                <a:miter/>
              </a:ln>
            </p:spPr>
            <p:txBody>
              <a:bodyPr rtlCol="0" anchor="ctr"/>
              <a:lstStyle/>
              <a:p>
                <a:endParaRPr lang="en-GB" dirty="0"/>
              </a:p>
            </p:txBody>
          </p:sp>
          <p:sp>
            <p:nvSpPr>
              <p:cNvPr id="461" name="Freihandform: Form 297">
                <a:extLst>
                  <a:ext uri="{FF2B5EF4-FFF2-40B4-BE49-F238E27FC236}">
                    <a16:creationId xmlns:a16="http://schemas.microsoft.com/office/drawing/2014/main" id="{4C9DB8D0-D96D-4B75-9275-6142E4A50B28}"/>
                  </a:ext>
                </a:extLst>
              </p:cNvPr>
              <p:cNvSpPr/>
              <p:nvPr/>
            </p:nvSpPr>
            <p:spPr>
              <a:xfrm>
                <a:off x="3412105" y="1770619"/>
                <a:ext cx="36347" cy="191522"/>
              </a:xfrm>
              <a:custGeom>
                <a:avLst/>
                <a:gdLst>
                  <a:gd name="connsiteX0" fmla="*/ 25060 w 36347"/>
                  <a:gd name="connsiteY0" fmla="*/ 191523 h 191522"/>
                  <a:gd name="connsiteX1" fmla="*/ 0 w 36347"/>
                  <a:gd name="connsiteY1" fmla="*/ 95761 h 191522"/>
                  <a:gd name="connsiteX2" fmla="*/ 25060 w 36347"/>
                  <a:gd name="connsiteY2" fmla="*/ 0 h 191522"/>
                  <a:gd name="connsiteX3" fmla="*/ 36347 w 36347"/>
                  <a:gd name="connsiteY3" fmla="*/ 6369 h 191522"/>
                  <a:gd name="connsiteX4" fmla="*/ 12944 w 36347"/>
                  <a:gd name="connsiteY4" fmla="*/ 95787 h 191522"/>
                  <a:gd name="connsiteX5" fmla="*/ 36347 w 36347"/>
                  <a:gd name="connsiteY5" fmla="*/ 185180 h 191522"/>
                  <a:gd name="connsiteX6" fmla="*/ 25060 w 36347"/>
                  <a:gd name="connsiteY6" fmla="*/ 191523 h 191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47" h="191522">
                    <a:moveTo>
                      <a:pt x="25060" y="191523"/>
                    </a:moveTo>
                    <a:cubicBezTo>
                      <a:pt x="8673" y="162372"/>
                      <a:pt x="0" y="129287"/>
                      <a:pt x="0" y="95761"/>
                    </a:cubicBezTo>
                    <a:cubicBezTo>
                      <a:pt x="0" y="62262"/>
                      <a:pt x="8673" y="29124"/>
                      <a:pt x="25060" y="0"/>
                    </a:cubicBezTo>
                    <a:lnTo>
                      <a:pt x="36347" y="6369"/>
                    </a:lnTo>
                    <a:cubicBezTo>
                      <a:pt x="21047" y="33577"/>
                      <a:pt x="12944" y="64488"/>
                      <a:pt x="12944" y="95787"/>
                    </a:cubicBezTo>
                    <a:cubicBezTo>
                      <a:pt x="12944" y="127060"/>
                      <a:pt x="21047" y="157971"/>
                      <a:pt x="36347" y="185180"/>
                    </a:cubicBezTo>
                    <a:lnTo>
                      <a:pt x="25060" y="191523"/>
                    </a:lnTo>
                    <a:close/>
                  </a:path>
                </a:pathLst>
              </a:custGeom>
              <a:solidFill>
                <a:schemeClr val="tx2"/>
              </a:solidFill>
              <a:ln w="2585" cap="flat">
                <a:noFill/>
                <a:prstDash val="solid"/>
                <a:miter/>
              </a:ln>
            </p:spPr>
            <p:txBody>
              <a:bodyPr rtlCol="0" anchor="ctr"/>
              <a:lstStyle/>
              <a:p>
                <a:endParaRPr lang="en-GB" dirty="0"/>
              </a:p>
            </p:txBody>
          </p:sp>
          <p:sp>
            <p:nvSpPr>
              <p:cNvPr id="462" name="Freihandform: Form 298">
                <a:extLst>
                  <a:ext uri="{FF2B5EF4-FFF2-40B4-BE49-F238E27FC236}">
                    <a16:creationId xmlns:a16="http://schemas.microsoft.com/office/drawing/2014/main" id="{481F44B7-6738-446A-83F9-A6A9A4291F82}"/>
                  </a:ext>
                </a:extLst>
              </p:cNvPr>
              <p:cNvSpPr/>
              <p:nvPr/>
            </p:nvSpPr>
            <p:spPr>
              <a:xfrm>
                <a:off x="3523321" y="1669939"/>
                <a:ext cx="172364" cy="31350"/>
              </a:xfrm>
              <a:custGeom>
                <a:avLst/>
                <a:gdLst>
                  <a:gd name="connsiteX0" fmla="*/ 166721 w 172364"/>
                  <a:gd name="connsiteY0" fmla="*/ 31351 h 31350"/>
                  <a:gd name="connsiteX1" fmla="*/ 86183 w 172364"/>
                  <a:gd name="connsiteY1" fmla="*/ 12970 h 31350"/>
                  <a:gd name="connsiteX2" fmla="*/ 5643 w 172364"/>
                  <a:gd name="connsiteY2" fmla="*/ 31351 h 31350"/>
                  <a:gd name="connsiteX3" fmla="*/ 0 w 172364"/>
                  <a:gd name="connsiteY3" fmla="*/ 19675 h 31350"/>
                  <a:gd name="connsiteX4" fmla="*/ 86183 w 172364"/>
                  <a:gd name="connsiteY4" fmla="*/ 0 h 31350"/>
                  <a:gd name="connsiteX5" fmla="*/ 172365 w 172364"/>
                  <a:gd name="connsiteY5" fmla="*/ 19675 h 31350"/>
                  <a:gd name="connsiteX6" fmla="*/ 166721 w 172364"/>
                  <a:gd name="connsiteY6" fmla="*/ 31351 h 3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364" h="31350">
                    <a:moveTo>
                      <a:pt x="166721" y="31351"/>
                    </a:moveTo>
                    <a:cubicBezTo>
                      <a:pt x="141506" y="19157"/>
                      <a:pt x="114401" y="12970"/>
                      <a:pt x="86183" y="12970"/>
                    </a:cubicBezTo>
                    <a:cubicBezTo>
                      <a:pt x="57964" y="12970"/>
                      <a:pt x="30859" y="19157"/>
                      <a:pt x="5643" y="31351"/>
                    </a:cubicBezTo>
                    <a:lnTo>
                      <a:pt x="0" y="19675"/>
                    </a:lnTo>
                    <a:cubicBezTo>
                      <a:pt x="27001" y="6627"/>
                      <a:pt x="55997" y="0"/>
                      <a:pt x="86183" y="0"/>
                    </a:cubicBezTo>
                    <a:cubicBezTo>
                      <a:pt x="116368" y="0"/>
                      <a:pt x="145364" y="6627"/>
                      <a:pt x="172365" y="19675"/>
                    </a:cubicBezTo>
                    <a:lnTo>
                      <a:pt x="166721" y="31351"/>
                    </a:lnTo>
                    <a:close/>
                  </a:path>
                </a:pathLst>
              </a:custGeom>
              <a:solidFill>
                <a:schemeClr val="tx2"/>
              </a:solidFill>
              <a:ln w="2585" cap="flat">
                <a:noFill/>
                <a:prstDash val="solid"/>
                <a:miter/>
              </a:ln>
            </p:spPr>
            <p:txBody>
              <a:bodyPr rtlCol="0" anchor="ctr"/>
              <a:lstStyle/>
              <a:p>
                <a:endParaRPr lang="en-GB" dirty="0"/>
              </a:p>
            </p:txBody>
          </p:sp>
          <p:sp>
            <p:nvSpPr>
              <p:cNvPr id="463" name="Freihandform: Form 299">
                <a:extLst>
                  <a:ext uri="{FF2B5EF4-FFF2-40B4-BE49-F238E27FC236}">
                    <a16:creationId xmlns:a16="http://schemas.microsoft.com/office/drawing/2014/main" id="{9BB8DF30-94D6-4D45-8D5A-19A63D2A6E6F}"/>
                  </a:ext>
                </a:extLst>
              </p:cNvPr>
              <p:cNvSpPr/>
              <p:nvPr/>
            </p:nvSpPr>
            <p:spPr>
              <a:xfrm>
                <a:off x="3588560" y="1760225"/>
                <a:ext cx="41965" cy="14769"/>
              </a:xfrm>
              <a:custGeom>
                <a:avLst/>
                <a:gdLst>
                  <a:gd name="connsiteX0" fmla="*/ 39428 w 41965"/>
                  <a:gd name="connsiteY0" fmla="*/ 14769 h 14769"/>
                  <a:gd name="connsiteX1" fmla="*/ 2511 w 41965"/>
                  <a:gd name="connsiteY1" fmla="*/ 14769 h 14769"/>
                  <a:gd name="connsiteX2" fmla="*/ 0 w 41965"/>
                  <a:gd name="connsiteY2" fmla="*/ 2058 h 14769"/>
                  <a:gd name="connsiteX3" fmla="*/ 41965 w 41965"/>
                  <a:gd name="connsiteY3" fmla="*/ 2058 h 14769"/>
                  <a:gd name="connsiteX4" fmla="*/ 39428 w 41965"/>
                  <a:gd name="connsiteY4" fmla="*/ 14769 h 147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65" h="14769">
                    <a:moveTo>
                      <a:pt x="39428" y="14769"/>
                    </a:moveTo>
                    <a:cubicBezTo>
                      <a:pt x="27261" y="12362"/>
                      <a:pt x="14653" y="12362"/>
                      <a:pt x="2511" y="14769"/>
                    </a:cubicBezTo>
                    <a:lnTo>
                      <a:pt x="0" y="2058"/>
                    </a:lnTo>
                    <a:cubicBezTo>
                      <a:pt x="13825" y="-686"/>
                      <a:pt x="28141" y="-686"/>
                      <a:pt x="41965" y="2058"/>
                    </a:cubicBezTo>
                    <a:lnTo>
                      <a:pt x="39428" y="14769"/>
                    </a:lnTo>
                    <a:close/>
                  </a:path>
                </a:pathLst>
              </a:custGeom>
              <a:solidFill>
                <a:schemeClr val="tx2"/>
              </a:solidFill>
              <a:ln w="2585" cap="flat">
                <a:noFill/>
                <a:prstDash val="solid"/>
                <a:miter/>
              </a:ln>
            </p:spPr>
            <p:txBody>
              <a:bodyPr rtlCol="0" anchor="ctr"/>
              <a:lstStyle/>
              <a:p>
                <a:endParaRPr lang="en-GB" dirty="0"/>
              </a:p>
            </p:txBody>
          </p:sp>
          <p:sp>
            <p:nvSpPr>
              <p:cNvPr id="464" name="Freihandform: Form 300">
                <a:extLst>
                  <a:ext uri="{FF2B5EF4-FFF2-40B4-BE49-F238E27FC236}">
                    <a16:creationId xmlns:a16="http://schemas.microsoft.com/office/drawing/2014/main" id="{D07EC6B1-6199-4854-BECB-C4EA62DF8B49}"/>
                  </a:ext>
                </a:extLst>
              </p:cNvPr>
              <p:cNvSpPr/>
              <p:nvPr/>
            </p:nvSpPr>
            <p:spPr>
              <a:xfrm>
                <a:off x="3770581" y="1770594"/>
                <a:ext cx="36373" cy="191548"/>
              </a:xfrm>
              <a:custGeom>
                <a:avLst/>
                <a:gdLst>
                  <a:gd name="connsiteX0" fmla="*/ 11313 w 36373"/>
                  <a:gd name="connsiteY0" fmla="*/ 191548 h 191548"/>
                  <a:gd name="connsiteX1" fmla="*/ 0 w 36373"/>
                  <a:gd name="connsiteY1" fmla="*/ 185180 h 191548"/>
                  <a:gd name="connsiteX2" fmla="*/ 23403 w 36373"/>
                  <a:gd name="connsiteY2" fmla="*/ 95787 h 191548"/>
                  <a:gd name="connsiteX3" fmla="*/ 0 w 36373"/>
                  <a:gd name="connsiteY3" fmla="*/ 6369 h 191548"/>
                  <a:gd name="connsiteX4" fmla="*/ 11313 w 36373"/>
                  <a:gd name="connsiteY4" fmla="*/ 0 h 191548"/>
                  <a:gd name="connsiteX5" fmla="*/ 36373 w 36373"/>
                  <a:gd name="connsiteY5" fmla="*/ 95761 h 191548"/>
                  <a:gd name="connsiteX6" fmla="*/ 11313 w 36373"/>
                  <a:gd name="connsiteY6" fmla="*/ 191548 h 19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373" h="191548">
                    <a:moveTo>
                      <a:pt x="11313" y="191548"/>
                    </a:moveTo>
                    <a:lnTo>
                      <a:pt x="0" y="185180"/>
                    </a:lnTo>
                    <a:cubicBezTo>
                      <a:pt x="15300" y="157945"/>
                      <a:pt x="23403" y="127034"/>
                      <a:pt x="23403" y="95787"/>
                    </a:cubicBezTo>
                    <a:cubicBezTo>
                      <a:pt x="23403" y="64514"/>
                      <a:pt x="15300" y="33603"/>
                      <a:pt x="0" y="6369"/>
                    </a:cubicBezTo>
                    <a:lnTo>
                      <a:pt x="11313" y="0"/>
                    </a:lnTo>
                    <a:cubicBezTo>
                      <a:pt x="27700" y="29176"/>
                      <a:pt x="36373" y="62288"/>
                      <a:pt x="36373" y="95761"/>
                    </a:cubicBezTo>
                    <a:cubicBezTo>
                      <a:pt x="36373" y="129261"/>
                      <a:pt x="27700" y="162372"/>
                      <a:pt x="11313" y="191548"/>
                    </a:cubicBezTo>
                    <a:close/>
                  </a:path>
                </a:pathLst>
              </a:custGeom>
              <a:solidFill>
                <a:schemeClr val="tx2"/>
              </a:solidFill>
              <a:ln w="2585" cap="flat">
                <a:noFill/>
                <a:prstDash val="solid"/>
                <a:miter/>
              </a:ln>
            </p:spPr>
            <p:txBody>
              <a:bodyPr rtlCol="0" anchor="ctr"/>
              <a:lstStyle/>
              <a:p>
                <a:endParaRPr lang="en-GB" dirty="0"/>
              </a:p>
            </p:txBody>
          </p:sp>
          <p:sp>
            <p:nvSpPr>
              <p:cNvPr id="465" name="Freihandform: Form 301">
                <a:extLst>
                  <a:ext uri="{FF2B5EF4-FFF2-40B4-BE49-F238E27FC236}">
                    <a16:creationId xmlns:a16="http://schemas.microsoft.com/office/drawing/2014/main" id="{A3BE7014-0359-4F7A-A497-6250DFA37CC3}"/>
                  </a:ext>
                </a:extLst>
              </p:cNvPr>
              <p:cNvSpPr/>
              <p:nvPr/>
            </p:nvSpPr>
            <p:spPr>
              <a:xfrm>
                <a:off x="3698586" y="1833321"/>
                <a:ext cx="17630" cy="66093"/>
              </a:xfrm>
              <a:custGeom>
                <a:avLst/>
                <a:gdLst>
                  <a:gd name="connsiteX0" fmla="*/ 12323 w 17630"/>
                  <a:gd name="connsiteY0" fmla="*/ 66093 h 66093"/>
                  <a:gd name="connsiteX1" fmla="*/ 0 w 17630"/>
                  <a:gd name="connsiteY1" fmla="*/ 62055 h 66093"/>
                  <a:gd name="connsiteX2" fmla="*/ 4660 w 17630"/>
                  <a:gd name="connsiteY2" fmla="*/ 33059 h 66093"/>
                  <a:gd name="connsiteX3" fmla="*/ 0 w 17630"/>
                  <a:gd name="connsiteY3" fmla="*/ 4039 h 66093"/>
                  <a:gd name="connsiteX4" fmla="*/ 12323 w 17630"/>
                  <a:gd name="connsiteY4" fmla="*/ 0 h 66093"/>
                  <a:gd name="connsiteX5" fmla="*/ 17630 w 17630"/>
                  <a:gd name="connsiteY5" fmla="*/ 33059 h 66093"/>
                  <a:gd name="connsiteX6" fmla="*/ 12323 w 17630"/>
                  <a:gd name="connsiteY6" fmla="*/ 66093 h 66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630" h="66093">
                    <a:moveTo>
                      <a:pt x="12323" y="66093"/>
                    </a:moveTo>
                    <a:lnTo>
                      <a:pt x="0" y="62055"/>
                    </a:lnTo>
                    <a:cubicBezTo>
                      <a:pt x="3081" y="52683"/>
                      <a:pt x="4660" y="42923"/>
                      <a:pt x="4660" y="33059"/>
                    </a:cubicBezTo>
                    <a:cubicBezTo>
                      <a:pt x="4660" y="23196"/>
                      <a:pt x="3107" y="13436"/>
                      <a:pt x="0" y="4039"/>
                    </a:cubicBezTo>
                    <a:lnTo>
                      <a:pt x="12323" y="0"/>
                    </a:lnTo>
                    <a:cubicBezTo>
                      <a:pt x="15844" y="10692"/>
                      <a:pt x="17630" y="21824"/>
                      <a:pt x="17630" y="33059"/>
                    </a:cubicBezTo>
                    <a:cubicBezTo>
                      <a:pt x="17604" y="44295"/>
                      <a:pt x="15844" y="55427"/>
                      <a:pt x="12323" y="66093"/>
                    </a:cubicBezTo>
                    <a:close/>
                  </a:path>
                </a:pathLst>
              </a:custGeom>
              <a:solidFill>
                <a:schemeClr val="tx2"/>
              </a:solidFill>
              <a:ln w="2585" cap="flat">
                <a:noFill/>
                <a:prstDash val="solid"/>
                <a:miter/>
              </a:ln>
            </p:spPr>
            <p:txBody>
              <a:bodyPr rtlCol="0" anchor="ctr"/>
              <a:lstStyle/>
              <a:p>
                <a:endParaRPr lang="en-GB" dirty="0"/>
              </a:p>
            </p:txBody>
          </p:sp>
          <p:sp>
            <p:nvSpPr>
              <p:cNvPr id="466" name="Freihandform: Form 302">
                <a:extLst>
                  <a:ext uri="{FF2B5EF4-FFF2-40B4-BE49-F238E27FC236}">
                    <a16:creationId xmlns:a16="http://schemas.microsoft.com/office/drawing/2014/main" id="{906A648C-1244-47DF-B98E-8FE740B83A54}"/>
                  </a:ext>
                </a:extLst>
              </p:cNvPr>
              <p:cNvSpPr/>
              <p:nvPr/>
            </p:nvSpPr>
            <p:spPr>
              <a:xfrm>
                <a:off x="3523321" y="2031471"/>
                <a:ext cx="172364" cy="31350"/>
              </a:xfrm>
              <a:custGeom>
                <a:avLst/>
                <a:gdLst>
                  <a:gd name="connsiteX0" fmla="*/ 86183 w 172364"/>
                  <a:gd name="connsiteY0" fmla="*/ 31351 h 31350"/>
                  <a:gd name="connsiteX1" fmla="*/ 0 w 172364"/>
                  <a:gd name="connsiteY1" fmla="*/ 11676 h 31350"/>
                  <a:gd name="connsiteX2" fmla="*/ 5643 w 172364"/>
                  <a:gd name="connsiteY2" fmla="*/ 0 h 31350"/>
                  <a:gd name="connsiteX3" fmla="*/ 86183 w 172364"/>
                  <a:gd name="connsiteY3" fmla="*/ 18381 h 31350"/>
                  <a:gd name="connsiteX4" fmla="*/ 166721 w 172364"/>
                  <a:gd name="connsiteY4" fmla="*/ 0 h 31350"/>
                  <a:gd name="connsiteX5" fmla="*/ 172365 w 172364"/>
                  <a:gd name="connsiteY5" fmla="*/ 11676 h 31350"/>
                  <a:gd name="connsiteX6" fmla="*/ 86183 w 172364"/>
                  <a:gd name="connsiteY6" fmla="*/ 31351 h 31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364" h="31350">
                    <a:moveTo>
                      <a:pt x="86183" y="31351"/>
                    </a:moveTo>
                    <a:cubicBezTo>
                      <a:pt x="55997" y="31351"/>
                      <a:pt x="27001" y="24723"/>
                      <a:pt x="0" y="11676"/>
                    </a:cubicBezTo>
                    <a:lnTo>
                      <a:pt x="5643" y="0"/>
                    </a:lnTo>
                    <a:cubicBezTo>
                      <a:pt x="30859" y="12193"/>
                      <a:pt x="57964" y="18381"/>
                      <a:pt x="86183" y="18381"/>
                    </a:cubicBezTo>
                    <a:cubicBezTo>
                      <a:pt x="114375" y="18381"/>
                      <a:pt x="141480" y="12193"/>
                      <a:pt x="166721" y="0"/>
                    </a:cubicBezTo>
                    <a:lnTo>
                      <a:pt x="172365" y="11676"/>
                    </a:lnTo>
                    <a:cubicBezTo>
                      <a:pt x="145364" y="24723"/>
                      <a:pt x="116368" y="31351"/>
                      <a:pt x="86183" y="31351"/>
                    </a:cubicBezTo>
                    <a:close/>
                  </a:path>
                </a:pathLst>
              </a:custGeom>
              <a:solidFill>
                <a:schemeClr val="tx2"/>
              </a:solidFill>
              <a:ln w="2585" cap="flat">
                <a:noFill/>
                <a:prstDash val="solid"/>
                <a:miter/>
              </a:ln>
            </p:spPr>
            <p:txBody>
              <a:bodyPr rtlCol="0" anchor="ctr"/>
              <a:lstStyle/>
              <a:p>
                <a:endParaRPr lang="en-GB" dirty="0"/>
              </a:p>
            </p:txBody>
          </p:sp>
          <p:sp>
            <p:nvSpPr>
              <p:cNvPr id="467" name="Freihandform: Form 303">
                <a:extLst>
                  <a:ext uri="{FF2B5EF4-FFF2-40B4-BE49-F238E27FC236}">
                    <a16:creationId xmlns:a16="http://schemas.microsoft.com/office/drawing/2014/main" id="{A599993E-874A-4042-8048-7578C3422111}"/>
                  </a:ext>
                </a:extLst>
              </p:cNvPr>
              <p:cNvSpPr/>
              <p:nvPr/>
            </p:nvSpPr>
            <p:spPr>
              <a:xfrm>
                <a:off x="3588534" y="1957741"/>
                <a:ext cx="41939" cy="14782"/>
              </a:xfrm>
              <a:custGeom>
                <a:avLst/>
                <a:gdLst>
                  <a:gd name="connsiteX0" fmla="*/ 20970 w 41939"/>
                  <a:gd name="connsiteY0" fmla="*/ 14782 h 14782"/>
                  <a:gd name="connsiteX1" fmla="*/ 0 w 41939"/>
                  <a:gd name="connsiteY1" fmla="*/ 12737 h 14782"/>
                  <a:gd name="connsiteX2" fmla="*/ 2511 w 41939"/>
                  <a:gd name="connsiteY2" fmla="*/ 0 h 14782"/>
                  <a:gd name="connsiteX3" fmla="*/ 39454 w 41939"/>
                  <a:gd name="connsiteY3" fmla="*/ 0 h 14782"/>
                  <a:gd name="connsiteX4" fmla="*/ 41939 w 41939"/>
                  <a:gd name="connsiteY4" fmla="*/ 12737 h 14782"/>
                  <a:gd name="connsiteX5" fmla="*/ 20970 w 41939"/>
                  <a:gd name="connsiteY5" fmla="*/ 14782 h 14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939" h="14782">
                    <a:moveTo>
                      <a:pt x="20970" y="14782"/>
                    </a:moveTo>
                    <a:cubicBezTo>
                      <a:pt x="13980" y="14782"/>
                      <a:pt x="6938" y="14083"/>
                      <a:pt x="0" y="12737"/>
                    </a:cubicBezTo>
                    <a:lnTo>
                      <a:pt x="2511" y="0"/>
                    </a:lnTo>
                    <a:cubicBezTo>
                      <a:pt x="14731" y="2408"/>
                      <a:pt x="27235" y="2408"/>
                      <a:pt x="39454" y="0"/>
                    </a:cubicBezTo>
                    <a:lnTo>
                      <a:pt x="41939" y="12737"/>
                    </a:lnTo>
                    <a:cubicBezTo>
                      <a:pt x="35027" y="14109"/>
                      <a:pt x="27960" y="14782"/>
                      <a:pt x="20970" y="14782"/>
                    </a:cubicBezTo>
                    <a:close/>
                  </a:path>
                </a:pathLst>
              </a:custGeom>
              <a:solidFill>
                <a:schemeClr val="tx2"/>
              </a:solidFill>
              <a:ln w="2585" cap="flat">
                <a:noFill/>
                <a:prstDash val="solid"/>
                <a:miter/>
              </a:ln>
            </p:spPr>
            <p:txBody>
              <a:bodyPr rtlCol="0" anchor="ctr"/>
              <a:lstStyle/>
              <a:p>
                <a:endParaRPr lang="en-GB" dirty="0"/>
              </a:p>
            </p:txBody>
          </p:sp>
          <p:sp>
            <p:nvSpPr>
              <p:cNvPr id="468" name="Freihandform: Form 304">
                <a:extLst>
                  <a:ext uri="{FF2B5EF4-FFF2-40B4-BE49-F238E27FC236}">
                    <a16:creationId xmlns:a16="http://schemas.microsoft.com/office/drawing/2014/main" id="{D4989E39-B36E-4381-B3E9-773E02701C4B}"/>
                  </a:ext>
                </a:extLst>
              </p:cNvPr>
              <p:cNvSpPr/>
              <p:nvPr/>
            </p:nvSpPr>
            <p:spPr>
              <a:xfrm>
                <a:off x="3523710" y="1626783"/>
                <a:ext cx="172106" cy="73937"/>
              </a:xfrm>
              <a:custGeom>
                <a:avLst/>
                <a:gdLst>
                  <a:gd name="connsiteX0" fmla="*/ 166436 w 172106"/>
                  <a:gd name="connsiteY0" fmla="*/ 73937 h 73937"/>
                  <a:gd name="connsiteX1" fmla="*/ 131047 w 172106"/>
                  <a:gd name="connsiteY1" fmla="*/ 38729 h 73937"/>
                  <a:gd name="connsiteX2" fmla="*/ 91101 w 172106"/>
                  <a:gd name="connsiteY2" fmla="*/ 13100 h 73937"/>
                  <a:gd name="connsiteX3" fmla="*/ 86648 w 172106"/>
                  <a:gd name="connsiteY3" fmla="*/ 12944 h 73937"/>
                  <a:gd name="connsiteX4" fmla="*/ 80513 w 172106"/>
                  <a:gd name="connsiteY4" fmla="*/ 13100 h 73937"/>
                  <a:gd name="connsiteX5" fmla="*/ 40697 w 172106"/>
                  <a:gd name="connsiteY5" fmla="*/ 38393 h 73937"/>
                  <a:gd name="connsiteX6" fmla="*/ 5721 w 172106"/>
                  <a:gd name="connsiteY6" fmla="*/ 73678 h 73937"/>
                  <a:gd name="connsiteX7" fmla="*/ 0 w 172106"/>
                  <a:gd name="connsiteY7" fmla="*/ 62029 h 73937"/>
                  <a:gd name="connsiteX8" fmla="*/ 28477 w 172106"/>
                  <a:gd name="connsiteY8" fmla="*/ 34043 h 73937"/>
                  <a:gd name="connsiteX9" fmla="*/ 80099 w 172106"/>
                  <a:gd name="connsiteY9" fmla="*/ 155 h 73937"/>
                  <a:gd name="connsiteX10" fmla="*/ 86933 w 172106"/>
                  <a:gd name="connsiteY10" fmla="*/ 0 h 73937"/>
                  <a:gd name="connsiteX11" fmla="*/ 91515 w 172106"/>
                  <a:gd name="connsiteY11" fmla="*/ 155 h 73937"/>
                  <a:gd name="connsiteX12" fmla="*/ 143266 w 172106"/>
                  <a:gd name="connsiteY12" fmla="*/ 34406 h 73937"/>
                  <a:gd name="connsiteX13" fmla="*/ 172106 w 172106"/>
                  <a:gd name="connsiteY13" fmla="*/ 62288 h 73937"/>
                  <a:gd name="connsiteX14" fmla="*/ 166436 w 172106"/>
                  <a:gd name="connsiteY14" fmla="*/ 73937 h 73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106" h="73937">
                    <a:moveTo>
                      <a:pt x="166436" y="73937"/>
                    </a:moveTo>
                    <a:cubicBezTo>
                      <a:pt x="154942" y="68371"/>
                      <a:pt x="138762" y="58637"/>
                      <a:pt x="131047" y="38729"/>
                    </a:cubicBezTo>
                    <a:cubicBezTo>
                      <a:pt x="123073" y="14109"/>
                      <a:pt x="108265" y="13643"/>
                      <a:pt x="91101" y="13100"/>
                    </a:cubicBezTo>
                    <a:lnTo>
                      <a:pt x="86648" y="12944"/>
                    </a:lnTo>
                    <a:lnTo>
                      <a:pt x="80513" y="13100"/>
                    </a:lnTo>
                    <a:cubicBezTo>
                      <a:pt x="63375" y="13643"/>
                      <a:pt x="48567" y="14109"/>
                      <a:pt x="40697" y="38393"/>
                    </a:cubicBezTo>
                    <a:cubicBezTo>
                      <a:pt x="32878" y="58508"/>
                      <a:pt x="17009" y="68138"/>
                      <a:pt x="5721" y="73678"/>
                    </a:cubicBezTo>
                    <a:lnTo>
                      <a:pt x="0" y="62029"/>
                    </a:lnTo>
                    <a:cubicBezTo>
                      <a:pt x="9320" y="57446"/>
                      <a:pt x="22419" y="49576"/>
                      <a:pt x="28477" y="34043"/>
                    </a:cubicBezTo>
                    <a:cubicBezTo>
                      <a:pt x="39014" y="1450"/>
                      <a:pt x="62753" y="699"/>
                      <a:pt x="80099" y="155"/>
                    </a:cubicBezTo>
                    <a:lnTo>
                      <a:pt x="86933" y="0"/>
                    </a:lnTo>
                    <a:lnTo>
                      <a:pt x="91515" y="155"/>
                    </a:lnTo>
                    <a:cubicBezTo>
                      <a:pt x="108861" y="699"/>
                      <a:pt x="132600" y="1476"/>
                      <a:pt x="143266" y="34406"/>
                    </a:cubicBezTo>
                    <a:cubicBezTo>
                      <a:pt x="149143" y="49525"/>
                      <a:pt x="161777" y="57265"/>
                      <a:pt x="172106" y="62288"/>
                    </a:cubicBezTo>
                    <a:lnTo>
                      <a:pt x="166436" y="73937"/>
                    </a:lnTo>
                    <a:close/>
                  </a:path>
                </a:pathLst>
              </a:custGeom>
              <a:solidFill>
                <a:schemeClr val="tx2"/>
              </a:solidFill>
              <a:ln w="2585" cap="flat">
                <a:noFill/>
                <a:prstDash val="solid"/>
                <a:miter/>
              </a:ln>
            </p:spPr>
            <p:txBody>
              <a:bodyPr rtlCol="0" anchor="ctr"/>
              <a:lstStyle/>
              <a:p>
                <a:endParaRPr lang="en-GB" dirty="0"/>
              </a:p>
            </p:txBody>
          </p:sp>
          <p:sp>
            <p:nvSpPr>
              <p:cNvPr id="469" name="Freihandform: Form 305">
                <a:extLst>
                  <a:ext uri="{FF2B5EF4-FFF2-40B4-BE49-F238E27FC236}">
                    <a16:creationId xmlns:a16="http://schemas.microsoft.com/office/drawing/2014/main" id="{C46100A4-C9FA-41DF-87B7-C68A5B032C9E}"/>
                  </a:ext>
                </a:extLst>
              </p:cNvPr>
              <p:cNvSpPr/>
              <p:nvPr/>
            </p:nvSpPr>
            <p:spPr>
              <a:xfrm>
                <a:off x="3369699" y="1780586"/>
                <a:ext cx="74273" cy="171277"/>
              </a:xfrm>
              <a:custGeom>
                <a:avLst/>
                <a:gdLst>
                  <a:gd name="connsiteX0" fmla="*/ 62365 w 74273"/>
                  <a:gd name="connsiteY0" fmla="*/ 171278 h 171277"/>
                  <a:gd name="connsiteX1" fmla="*/ 34225 w 74273"/>
                  <a:gd name="connsiteY1" fmla="*/ 142956 h 171277"/>
                  <a:gd name="connsiteX2" fmla="*/ 155 w 74273"/>
                  <a:gd name="connsiteY2" fmla="*/ 91567 h 171277"/>
                  <a:gd name="connsiteX3" fmla="*/ 0 w 74273"/>
                  <a:gd name="connsiteY3" fmla="*/ 84759 h 171277"/>
                  <a:gd name="connsiteX4" fmla="*/ 155 w 74273"/>
                  <a:gd name="connsiteY4" fmla="*/ 80176 h 171277"/>
                  <a:gd name="connsiteX5" fmla="*/ 34587 w 74273"/>
                  <a:gd name="connsiteY5" fmla="*/ 28684 h 171277"/>
                  <a:gd name="connsiteX6" fmla="*/ 62624 w 74273"/>
                  <a:gd name="connsiteY6" fmla="*/ 0 h 171277"/>
                  <a:gd name="connsiteX7" fmla="*/ 74274 w 74273"/>
                  <a:gd name="connsiteY7" fmla="*/ 5721 h 171277"/>
                  <a:gd name="connsiteX8" fmla="*/ 38910 w 74273"/>
                  <a:gd name="connsiteY8" fmla="*/ 40930 h 171277"/>
                  <a:gd name="connsiteX9" fmla="*/ 13151 w 74273"/>
                  <a:gd name="connsiteY9" fmla="*/ 80617 h 171277"/>
                  <a:gd name="connsiteX10" fmla="*/ 12996 w 74273"/>
                  <a:gd name="connsiteY10" fmla="*/ 85069 h 171277"/>
                  <a:gd name="connsiteX11" fmla="*/ 13151 w 74273"/>
                  <a:gd name="connsiteY11" fmla="*/ 91179 h 171277"/>
                  <a:gd name="connsiteX12" fmla="*/ 38574 w 74273"/>
                  <a:gd name="connsiteY12" fmla="*/ 130736 h 171277"/>
                  <a:gd name="connsiteX13" fmla="*/ 74015 w 74273"/>
                  <a:gd name="connsiteY13" fmla="*/ 165531 h 171277"/>
                  <a:gd name="connsiteX14" fmla="*/ 62365 w 74273"/>
                  <a:gd name="connsiteY14" fmla="*/ 171278 h 171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73" h="171277">
                    <a:moveTo>
                      <a:pt x="62365" y="171278"/>
                    </a:moveTo>
                    <a:cubicBezTo>
                      <a:pt x="57757" y="161984"/>
                      <a:pt x="49835" y="148962"/>
                      <a:pt x="34225" y="142956"/>
                    </a:cubicBezTo>
                    <a:cubicBezTo>
                      <a:pt x="1476" y="132471"/>
                      <a:pt x="699" y="108835"/>
                      <a:pt x="155" y="91567"/>
                    </a:cubicBezTo>
                    <a:lnTo>
                      <a:pt x="0" y="84759"/>
                    </a:lnTo>
                    <a:lnTo>
                      <a:pt x="155" y="80176"/>
                    </a:lnTo>
                    <a:cubicBezTo>
                      <a:pt x="699" y="62909"/>
                      <a:pt x="1476" y="39273"/>
                      <a:pt x="34587" y="28684"/>
                    </a:cubicBezTo>
                    <a:cubicBezTo>
                      <a:pt x="49809" y="22834"/>
                      <a:pt x="57576" y="10252"/>
                      <a:pt x="62624" y="0"/>
                    </a:cubicBezTo>
                    <a:lnTo>
                      <a:pt x="74274" y="5721"/>
                    </a:lnTo>
                    <a:cubicBezTo>
                      <a:pt x="68656" y="17164"/>
                      <a:pt x="58896" y="33241"/>
                      <a:pt x="38910" y="40930"/>
                    </a:cubicBezTo>
                    <a:cubicBezTo>
                      <a:pt x="14161" y="48851"/>
                      <a:pt x="13695" y="63582"/>
                      <a:pt x="13151" y="80617"/>
                    </a:cubicBezTo>
                    <a:lnTo>
                      <a:pt x="12996" y="85069"/>
                    </a:lnTo>
                    <a:lnTo>
                      <a:pt x="13151" y="91179"/>
                    </a:lnTo>
                    <a:cubicBezTo>
                      <a:pt x="13695" y="108214"/>
                      <a:pt x="14187" y="122918"/>
                      <a:pt x="38574" y="130736"/>
                    </a:cubicBezTo>
                    <a:cubicBezTo>
                      <a:pt x="58741" y="138477"/>
                      <a:pt x="68449" y="154295"/>
                      <a:pt x="74015" y="165531"/>
                    </a:cubicBezTo>
                    <a:lnTo>
                      <a:pt x="62365" y="171278"/>
                    </a:lnTo>
                    <a:close/>
                  </a:path>
                </a:pathLst>
              </a:custGeom>
              <a:solidFill>
                <a:schemeClr val="tx2"/>
              </a:solidFill>
              <a:ln w="2585" cap="flat">
                <a:noFill/>
                <a:prstDash val="solid"/>
                <a:miter/>
              </a:ln>
            </p:spPr>
            <p:txBody>
              <a:bodyPr rtlCol="0" anchor="ctr"/>
              <a:lstStyle/>
              <a:p>
                <a:endParaRPr lang="en-GB" dirty="0"/>
              </a:p>
            </p:txBody>
          </p:sp>
          <p:sp>
            <p:nvSpPr>
              <p:cNvPr id="470" name="Freihandform: Form 306">
                <a:extLst>
                  <a:ext uri="{FF2B5EF4-FFF2-40B4-BE49-F238E27FC236}">
                    <a16:creationId xmlns:a16="http://schemas.microsoft.com/office/drawing/2014/main" id="{3C9CF239-78DC-4690-9011-EB685A0319E9}"/>
                  </a:ext>
                </a:extLst>
              </p:cNvPr>
              <p:cNvSpPr/>
              <p:nvPr/>
            </p:nvSpPr>
            <p:spPr>
              <a:xfrm>
                <a:off x="3775293" y="1780561"/>
                <a:ext cx="74274" cy="171303"/>
              </a:xfrm>
              <a:custGeom>
                <a:avLst/>
                <a:gdLst>
                  <a:gd name="connsiteX0" fmla="*/ 11909 w 74274"/>
                  <a:gd name="connsiteY0" fmla="*/ 171304 h 171303"/>
                  <a:gd name="connsiteX1" fmla="*/ 285 w 74274"/>
                  <a:gd name="connsiteY1" fmla="*/ 165531 h 171303"/>
                  <a:gd name="connsiteX2" fmla="*/ 35390 w 74274"/>
                  <a:gd name="connsiteY2" fmla="*/ 130866 h 171303"/>
                  <a:gd name="connsiteX3" fmla="*/ 61148 w 74274"/>
                  <a:gd name="connsiteY3" fmla="*/ 91179 h 171303"/>
                  <a:gd name="connsiteX4" fmla="*/ 61304 w 74274"/>
                  <a:gd name="connsiteY4" fmla="*/ 86726 h 171303"/>
                  <a:gd name="connsiteX5" fmla="*/ 61148 w 74274"/>
                  <a:gd name="connsiteY5" fmla="*/ 80617 h 171303"/>
                  <a:gd name="connsiteX6" fmla="*/ 35726 w 74274"/>
                  <a:gd name="connsiteY6" fmla="*/ 41059 h 171303"/>
                  <a:gd name="connsiteX7" fmla="*/ 0 w 74274"/>
                  <a:gd name="connsiteY7" fmla="*/ 5721 h 171303"/>
                  <a:gd name="connsiteX8" fmla="*/ 11650 w 74274"/>
                  <a:gd name="connsiteY8" fmla="*/ 0 h 171303"/>
                  <a:gd name="connsiteX9" fmla="*/ 40050 w 74274"/>
                  <a:gd name="connsiteY9" fmla="*/ 28814 h 171303"/>
                  <a:gd name="connsiteX10" fmla="*/ 74119 w 74274"/>
                  <a:gd name="connsiteY10" fmla="*/ 80176 h 171303"/>
                  <a:gd name="connsiteX11" fmla="*/ 74274 w 74274"/>
                  <a:gd name="connsiteY11" fmla="*/ 86985 h 171303"/>
                  <a:gd name="connsiteX12" fmla="*/ 74119 w 74274"/>
                  <a:gd name="connsiteY12" fmla="*/ 91567 h 171303"/>
                  <a:gd name="connsiteX13" fmla="*/ 39687 w 74274"/>
                  <a:gd name="connsiteY13" fmla="*/ 143059 h 171303"/>
                  <a:gd name="connsiteX14" fmla="*/ 11909 w 74274"/>
                  <a:gd name="connsiteY14" fmla="*/ 171304 h 171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74" h="171303">
                    <a:moveTo>
                      <a:pt x="11909" y="171304"/>
                    </a:moveTo>
                    <a:lnTo>
                      <a:pt x="285" y="165531"/>
                    </a:lnTo>
                    <a:cubicBezTo>
                      <a:pt x="5851" y="154295"/>
                      <a:pt x="15559" y="138477"/>
                      <a:pt x="35390" y="130866"/>
                    </a:cubicBezTo>
                    <a:cubicBezTo>
                      <a:pt x="60139" y="122918"/>
                      <a:pt x="60605" y="108214"/>
                      <a:pt x="61148" y="91179"/>
                    </a:cubicBezTo>
                    <a:lnTo>
                      <a:pt x="61304" y="86726"/>
                    </a:lnTo>
                    <a:lnTo>
                      <a:pt x="61148" y="80617"/>
                    </a:lnTo>
                    <a:cubicBezTo>
                      <a:pt x="60605" y="63582"/>
                      <a:pt x="60113" y="48877"/>
                      <a:pt x="35726" y="41059"/>
                    </a:cubicBezTo>
                    <a:cubicBezTo>
                      <a:pt x="15378" y="33241"/>
                      <a:pt x="5618" y="17164"/>
                      <a:pt x="0" y="5721"/>
                    </a:cubicBezTo>
                    <a:lnTo>
                      <a:pt x="11650" y="0"/>
                    </a:lnTo>
                    <a:cubicBezTo>
                      <a:pt x="16698" y="10278"/>
                      <a:pt x="24465" y="22834"/>
                      <a:pt x="40050" y="28814"/>
                    </a:cubicBezTo>
                    <a:cubicBezTo>
                      <a:pt x="72798" y="39299"/>
                      <a:pt x="73575" y="62909"/>
                      <a:pt x="74119" y="80176"/>
                    </a:cubicBezTo>
                    <a:lnTo>
                      <a:pt x="74274" y="86985"/>
                    </a:lnTo>
                    <a:lnTo>
                      <a:pt x="74119" y="91567"/>
                    </a:lnTo>
                    <a:cubicBezTo>
                      <a:pt x="73575" y="108835"/>
                      <a:pt x="72798" y="132471"/>
                      <a:pt x="39687" y="143059"/>
                    </a:cubicBezTo>
                    <a:cubicBezTo>
                      <a:pt x="24439" y="148988"/>
                      <a:pt x="16517" y="162036"/>
                      <a:pt x="11909" y="171304"/>
                    </a:cubicBezTo>
                    <a:close/>
                  </a:path>
                </a:pathLst>
              </a:custGeom>
              <a:solidFill>
                <a:schemeClr val="tx2"/>
              </a:solidFill>
              <a:ln w="2585" cap="flat">
                <a:noFill/>
                <a:prstDash val="solid"/>
                <a:miter/>
              </a:ln>
            </p:spPr>
            <p:txBody>
              <a:bodyPr rtlCol="0" anchor="ctr"/>
              <a:lstStyle/>
              <a:p>
                <a:endParaRPr lang="en-GB" dirty="0"/>
              </a:p>
            </p:txBody>
          </p:sp>
          <p:sp>
            <p:nvSpPr>
              <p:cNvPr id="471" name="Freihandform: Form 307">
                <a:extLst>
                  <a:ext uri="{FF2B5EF4-FFF2-40B4-BE49-F238E27FC236}">
                    <a16:creationId xmlns:a16="http://schemas.microsoft.com/office/drawing/2014/main" id="{ED15D18A-E7B8-4320-A367-5399271BCE0E}"/>
                  </a:ext>
                </a:extLst>
              </p:cNvPr>
              <p:cNvSpPr/>
              <p:nvPr/>
            </p:nvSpPr>
            <p:spPr>
              <a:xfrm>
                <a:off x="3524512" y="2032688"/>
                <a:ext cx="172106" cy="73963"/>
              </a:xfrm>
              <a:custGeom>
                <a:avLst/>
                <a:gdLst>
                  <a:gd name="connsiteX0" fmla="*/ 85173 w 172106"/>
                  <a:gd name="connsiteY0" fmla="*/ 73963 h 73963"/>
                  <a:gd name="connsiteX1" fmla="*/ 80591 w 172106"/>
                  <a:gd name="connsiteY1" fmla="*/ 73808 h 73963"/>
                  <a:gd name="connsiteX2" fmla="*/ 28840 w 172106"/>
                  <a:gd name="connsiteY2" fmla="*/ 39557 h 73963"/>
                  <a:gd name="connsiteX3" fmla="*/ 0 w 172106"/>
                  <a:gd name="connsiteY3" fmla="*/ 11676 h 73963"/>
                  <a:gd name="connsiteX4" fmla="*/ 5670 w 172106"/>
                  <a:gd name="connsiteY4" fmla="*/ 0 h 73963"/>
                  <a:gd name="connsiteX5" fmla="*/ 41059 w 172106"/>
                  <a:gd name="connsiteY5" fmla="*/ 35208 h 73963"/>
                  <a:gd name="connsiteX6" fmla="*/ 81005 w 172106"/>
                  <a:gd name="connsiteY6" fmla="*/ 60838 h 73963"/>
                  <a:gd name="connsiteX7" fmla="*/ 85458 w 172106"/>
                  <a:gd name="connsiteY7" fmla="*/ 60993 h 73963"/>
                  <a:gd name="connsiteX8" fmla="*/ 91593 w 172106"/>
                  <a:gd name="connsiteY8" fmla="*/ 60838 h 73963"/>
                  <a:gd name="connsiteX9" fmla="*/ 131410 w 172106"/>
                  <a:gd name="connsiteY9" fmla="*/ 35545 h 73963"/>
                  <a:gd name="connsiteX10" fmla="*/ 166385 w 172106"/>
                  <a:gd name="connsiteY10" fmla="*/ 259 h 73963"/>
                  <a:gd name="connsiteX11" fmla="*/ 172106 w 172106"/>
                  <a:gd name="connsiteY11" fmla="*/ 11909 h 73963"/>
                  <a:gd name="connsiteX12" fmla="*/ 143629 w 172106"/>
                  <a:gd name="connsiteY12" fmla="*/ 39894 h 73963"/>
                  <a:gd name="connsiteX13" fmla="*/ 92008 w 172106"/>
                  <a:gd name="connsiteY13" fmla="*/ 73808 h 73963"/>
                  <a:gd name="connsiteX14" fmla="*/ 85173 w 172106"/>
                  <a:gd name="connsiteY14" fmla="*/ 73963 h 73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106" h="73963">
                    <a:moveTo>
                      <a:pt x="85173" y="73963"/>
                    </a:moveTo>
                    <a:lnTo>
                      <a:pt x="80591" y="73808"/>
                    </a:lnTo>
                    <a:cubicBezTo>
                      <a:pt x="63246" y="73264"/>
                      <a:pt x="39506" y="72488"/>
                      <a:pt x="28840" y="39557"/>
                    </a:cubicBezTo>
                    <a:cubicBezTo>
                      <a:pt x="22937" y="24413"/>
                      <a:pt x="10329" y="16698"/>
                      <a:pt x="0" y="11676"/>
                    </a:cubicBezTo>
                    <a:lnTo>
                      <a:pt x="5670" y="0"/>
                    </a:lnTo>
                    <a:cubicBezTo>
                      <a:pt x="17164" y="5566"/>
                      <a:pt x="33318" y="15274"/>
                      <a:pt x="41059" y="35208"/>
                    </a:cubicBezTo>
                    <a:cubicBezTo>
                      <a:pt x="49033" y="59828"/>
                      <a:pt x="63841" y="60294"/>
                      <a:pt x="81005" y="60838"/>
                    </a:cubicBezTo>
                    <a:lnTo>
                      <a:pt x="85458" y="60993"/>
                    </a:lnTo>
                    <a:lnTo>
                      <a:pt x="91593" y="60838"/>
                    </a:lnTo>
                    <a:cubicBezTo>
                      <a:pt x="108731" y="60294"/>
                      <a:pt x="123565" y="59828"/>
                      <a:pt x="131410" y="35545"/>
                    </a:cubicBezTo>
                    <a:cubicBezTo>
                      <a:pt x="139202" y="15429"/>
                      <a:pt x="155098" y="5799"/>
                      <a:pt x="166385" y="259"/>
                    </a:cubicBezTo>
                    <a:lnTo>
                      <a:pt x="172106" y="11909"/>
                    </a:lnTo>
                    <a:cubicBezTo>
                      <a:pt x="162760" y="16491"/>
                      <a:pt x="149661" y="24361"/>
                      <a:pt x="143629" y="39894"/>
                    </a:cubicBezTo>
                    <a:cubicBezTo>
                      <a:pt x="133092" y="72488"/>
                      <a:pt x="109353" y="73238"/>
                      <a:pt x="92008" y="73808"/>
                    </a:cubicBezTo>
                    <a:lnTo>
                      <a:pt x="85173" y="73963"/>
                    </a:lnTo>
                    <a:close/>
                  </a:path>
                </a:pathLst>
              </a:custGeom>
              <a:solidFill>
                <a:schemeClr val="tx2"/>
              </a:solidFill>
              <a:ln w="2585" cap="flat">
                <a:noFill/>
                <a:prstDash val="solid"/>
                <a:miter/>
              </a:ln>
            </p:spPr>
            <p:txBody>
              <a:bodyPr rtlCol="0" anchor="ctr"/>
              <a:lstStyle/>
              <a:p>
                <a:endParaRPr lang="en-GB" dirty="0"/>
              </a:p>
            </p:txBody>
          </p:sp>
        </p:grpSp>
        <p:grpSp>
          <p:nvGrpSpPr>
            <p:cNvPr id="455" name="Group 454">
              <a:extLst>
                <a:ext uri="{FF2B5EF4-FFF2-40B4-BE49-F238E27FC236}">
                  <a16:creationId xmlns:a16="http://schemas.microsoft.com/office/drawing/2014/main" id="{C017A177-7494-4E49-929F-E875601F61C8}"/>
                </a:ext>
              </a:extLst>
            </p:cNvPr>
            <p:cNvGrpSpPr/>
            <p:nvPr/>
          </p:nvGrpSpPr>
          <p:grpSpPr>
            <a:xfrm>
              <a:off x="3419405" y="1669737"/>
              <a:ext cx="380275" cy="393292"/>
              <a:chOff x="3419405" y="1669737"/>
              <a:chExt cx="380275" cy="393292"/>
            </a:xfrm>
          </p:grpSpPr>
          <p:sp>
            <p:nvSpPr>
              <p:cNvPr id="456" name="Freihandform: Form 308">
                <a:extLst>
                  <a:ext uri="{FF2B5EF4-FFF2-40B4-BE49-F238E27FC236}">
                    <a16:creationId xmlns:a16="http://schemas.microsoft.com/office/drawing/2014/main" id="{5FE9E98C-EE4E-4F97-9484-190C369E2400}"/>
                  </a:ext>
                </a:extLst>
              </p:cNvPr>
              <p:cNvSpPr/>
              <p:nvPr/>
            </p:nvSpPr>
            <p:spPr>
              <a:xfrm>
                <a:off x="3419405" y="1669789"/>
                <a:ext cx="176854" cy="172049"/>
              </a:xfrm>
              <a:custGeom>
                <a:avLst/>
                <a:gdLst>
                  <a:gd name="connsiteX0" fmla="*/ 94881 w 176854"/>
                  <a:gd name="connsiteY0" fmla="*/ 172050 h 172049"/>
                  <a:gd name="connsiteX1" fmla="*/ 90661 w 176854"/>
                  <a:gd name="connsiteY1" fmla="*/ 170497 h 172049"/>
                  <a:gd name="connsiteX2" fmla="*/ 19157 w 176854"/>
                  <a:gd name="connsiteY2" fmla="*/ 108934 h 172049"/>
                  <a:gd name="connsiteX3" fmla="*/ 4272 w 176854"/>
                  <a:gd name="connsiteY3" fmla="*/ 95834 h 172049"/>
                  <a:gd name="connsiteX4" fmla="*/ 0 w 176854"/>
                  <a:gd name="connsiteY4" fmla="*/ 86126 h 172049"/>
                  <a:gd name="connsiteX5" fmla="*/ 4298 w 176854"/>
                  <a:gd name="connsiteY5" fmla="*/ 76030 h 172049"/>
                  <a:gd name="connsiteX6" fmla="*/ 76474 w 176854"/>
                  <a:gd name="connsiteY6" fmla="*/ 4215 h 172049"/>
                  <a:gd name="connsiteX7" fmla="*/ 96305 w 176854"/>
                  <a:gd name="connsiteY7" fmla="*/ 4215 h 172049"/>
                  <a:gd name="connsiteX8" fmla="*/ 111605 w 176854"/>
                  <a:gd name="connsiteY8" fmla="*/ 21457 h 172049"/>
                  <a:gd name="connsiteX9" fmla="*/ 111605 w 176854"/>
                  <a:gd name="connsiteY9" fmla="*/ 21457 h 172049"/>
                  <a:gd name="connsiteX10" fmla="*/ 175264 w 176854"/>
                  <a:gd name="connsiteY10" fmla="*/ 94669 h 172049"/>
                  <a:gd name="connsiteX11" fmla="*/ 176507 w 176854"/>
                  <a:gd name="connsiteY11" fmla="*/ 101012 h 172049"/>
                  <a:gd name="connsiteX12" fmla="*/ 171640 w 176854"/>
                  <a:gd name="connsiteY12" fmla="*/ 105284 h 172049"/>
                  <a:gd name="connsiteX13" fmla="*/ 101043 w 176854"/>
                  <a:gd name="connsiteY13" fmla="*/ 167649 h 172049"/>
                  <a:gd name="connsiteX14" fmla="*/ 96615 w 176854"/>
                  <a:gd name="connsiteY14" fmla="*/ 171869 h 172049"/>
                  <a:gd name="connsiteX15" fmla="*/ 94881 w 176854"/>
                  <a:gd name="connsiteY15" fmla="*/ 172050 h 172049"/>
                  <a:gd name="connsiteX16" fmla="*/ 12970 w 176854"/>
                  <a:gd name="connsiteY16" fmla="*/ 86100 h 172049"/>
                  <a:gd name="connsiteX17" fmla="*/ 13436 w 176854"/>
                  <a:gd name="connsiteY17" fmla="*/ 86618 h 172049"/>
                  <a:gd name="connsiteX18" fmla="*/ 27649 w 176854"/>
                  <a:gd name="connsiteY18" fmla="*/ 99122 h 172049"/>
                  <a:gd name="connsiteX19" fmla="*/ 92111 w 176854"/>
                  <a:gd name="connsiteY19" fmla="*/ 154627 h 172049"/>
                  <a:gd name="connsiteX20" fmla="*/ 158592 w 176854"/>
                  <a:gd name="connsiteY20" fmla="*/ 95161 h 172049"/>
                  <a:gd name="connsiteX21" fmla="*/ 101871 w 176854"/>
                  <a:gd name="connsiteY21" fmla="*/ 29948 h 172049"/>
                  <a:gd name="connsiteX22" fmla="*/ 101871 w 176854"/>
                  <a:gd name="connsiteY22" fmla="*/ 29948 h 172049"/>
                  <a:gd name="connsiteX23" fmla="*/ 87140 w 176854"/>
                  <a:gd name="connsiteY23" fmla="*/ 13328 h 172049"/>
                  <a:gd name="connsiteX24" fmla="*/ 86545 w 176854"/>
                  <a:gd name="connsiteY24" fmla="*/ 12888 h 172049"/>
                  <a:gd name="connsiteX25" fmla="*/ 85510 w 176854"/>
                  <a:gd name="connsiteY25" fmla="*/ 13483 h 172049"/>
                  <a:gd name="connsiteX26" fmla="*/ 13436 w 176854"/>
                  <a:gd name="connsiteY26" fmla="*/ 85194 h 172049"/>
                  <a:gd name="connsiteX27" fmla="*/ 12970 w 176854"/>
                  <a:gd name="connsiteY27" fmla="*/ 86100 h 172049"/>
                  <a:gd name="connsiteX28" fmla="*/ 12970 w 176854"/>
                  <a:gd name="connsiteY28" fmla="*/ 86100 h 172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6854" h="172049">
                    <a:moveTo>
                      <a:pt x="94881" y="172050"/>
                    </a:moveTo>
                    <a:cubicBezTo>
                      <a:pt x="93354" y="172050"/>
                      <a:pt x="91852" y="171506"/>
                      <a:pt x="90661" y="170497"/>
                    </a:cubicBezTo>
                    <a:cubicBezTo>
                      <a:pt x="66999" y="150200"/>
                      <a:pt x="36813" y="124260"/>
                      <a:pt x="19157" y="108934"/>
                    </a:cubicBezTo>
                    <a:cubicBezTo>
                      <a:pt x="7456" y="98786"/>
                      <a:pt x="5100" y="96637"/>
                      <a:pt x="4272" y="95834"/>
                    </a:cubicBezTo>
                    <a:cubicBezTo>
                      <a:pt x="751" y="92314"/>
                      <a:pt x="0" y="88612"/>
                      <a:pt x="0" y="86126"/>
                    </a:cubicBezTo>
                    <a:cubicBezTo>
                      <a:pt x="0" y="80560"/>
                      <a:pt x="3573" y="76729"/>
                      <a:pt x="4298" y="76030"/>
                    </a:cubicBezTo>
                    <a:lnTo>
                      <a:pt x="76474" y="4215"/>
                    </a:lnTo>
                    <a:cubicBezTo>
                      <a:pt x="81290" y="-574"/>
                      <a:pt x="89884" y="-2179"/>
                      <a:pt x="96305" y="4215"/>
                    </a:cubicBezTo>
                    <a:cubicBezTo>
                      <a:pt x="96797" y="4707"/>
                      <a:pt x="98169" y="6105"/>
                      <a:pt x="111605" y="21457"/>
                    </a:cubicBezTo>
                    <a:lnTo>
                      <a:pt x="111605" y="21457"/>
                    </a:lnTo>
                    <a:cubicBezTo>
                      <a:pt x="128303" y="40511"/>
                      <a:pt x="155305" y="71629"/>
                      <a:pt x="175264" y="94669"/>
                    </a:cubicBezTo>
                    <a:cubicBezTo>
                      <a:pt x="176766" y="96404"/>
                      <a:pt x="177258" y="98837"/>
                      <a:pt x="176507" y="101012"/>
                    </a:cubicBezTo>
                    <a:cubicBezTo>
                      <a:pt x="175756" y="103213"/>
                      <a:pt x="173893" y="104818"/>
                      <a:pt x="171640" y="105284"/>
                    </a:cubicBezTo>
                    <a:cubicBezTo>
                      <a:pt x="138607" y="111833"/>
                      <a:pt x="111527" y="135754"/>
                      <a:pt x="101043" y="167649"/>
                    </a:cubicBezTo>
                    <a:cubicBezTo>
                      <a:pt x="100369" y="169694"/>
                      <a:pt x="98713" y="171299"/>
                      <a:pt x="96615" y="171869"/>
                    </a:cubicBezTo>
                    <a:cubicBezTo>
                      <a:pt x="96046" y="171946"/>
                      <a:pt x="95476" y="172050"/>
                      <a:pt x="94881" y="172050"/>
                    </a:cubicBezTo>
                    <a:close/>
                    <a:moveTo>
                      <a:pt x="12970" y="86100"/>
                    </a:moveTo>
                    <a:cubicBezTo>
                      <a:pt x="12996" y="86100"/>
                      <a:pt x="13125" y="86307"/>
                      <a:pt x="13436" y="86618"/>
                    </a:cubicBezTo>
                    <a:cubicBezTo>
                      <a:pt x="14006" y="87188"/>
                      <a:pt x="16931" y="89828"/>
                      <a:pt x="27649" y="99122"/>
                    </a:cubicBezTo>
                    <a:cubicBezTo>
                      <a:pt x="43596" y="112973"/>
                      <a:pt x="69769" y="135470"/>
                      <a:pt x="92111" y="154627"/>
                    </a:cubicBezTo>
                    <a:cubicBezTo>
                      <a:pt x="104460" y="126072"/>
                      <a:pt x="128847" y="104300"/>
                      <a:pt x="158592" y="95161"/>
                    </a:cubicBezTo>
                    <a:cubicBezTo>
                      <a:pt x="139668" y="73337"/>
                      <a:pt x="116705" y="46879"/>
                      <a:pt x="101871" y="29948"/>
                    </a:cubicBezTo>
                    <a:lnTo>
                      <a:pt x="101871" y="29948"/>
                    </a:lnTo>
                    <a:cubicBezTo>
                      <a:pt x="89652" y="15995"/>
                      <a:pt x="87503" y="13716"/>
                      <a:pt x="87140" y="13328"/>
                    </a:cubicBezTo>
                    <a:cubicBezTo>
                      <a:pt x="86778" y="12966"/>
                      <a:pt x="86545" y="12888"/>
                      <a:pt x="86545" y="12888"/>
                    </a:cubicBezTo>
                    <a:cubicBezTo>
                      <a:pt x="86364" y="12914"/>
                      <a:pt x="85820" y="13199"/>
                      <a:pt x="85510" y="13483"/>
                    </a:cubicBezTo>
                    <a:lnTo>
                      <a:pt x="13436" y="85194"/>
                    </a:lnTo>
                    <a:cubicBezTo>
                      <a:pt x="13281" y="85350"/>
                      <a:pt x="12996" y="85893"/>
                      <a:pt x="12970" y="86100"/>
                    </a:cubicBezTo>
                    <a:cubicBezTo>
                      <a:pt x="12970" y="86100"/>
                      <a:pt x="12970" y="86100"/>
                      <a:pt x="12970" y="86100"/>
                    </a:cubicBezTo>
                    <a:close/>
                  </a:path>
                </a:pathLst>
              </a:custGeom>
              <a:solidFill>
                <a:schemeClr val="accent1"/>
              </a:solidFill>
              <a:ln w="2585" cap="flat">
                <a:noFill/>
                <a:prstDash val="solid"/>
                <a:miter/>
              </a:ln>
            </p:spPr>
            <p:txBody>
              <a:bodyPr rtlCol="0" anchor="ctr"/>
              <a:lstStyle/>
              <a:p>
                <a:endParaRPr lang="en-GB" dirty="0"/>
              </a:p>
            </p:txBody>
          </p:sp>
          <p:sp>
            <p:nvSpPr>
              <p:cNvPr id="457" name="Freihandform: Form 309">
                <a:extLst>
                  <a:ext uri="{FF2B5EF4-FFF2-40B4-BE49-F238E27FC236}">
                    <a16:creationId xmlns:a16="http://schemas.microsoft.com/office/drawing/2014/main" id="{DEEE2DC5-55E2-40C7-8292-60FA22316E1A}"/>
                  </a:ext>
                </a:extLst>
              </p:cNvPr>
              <p:cNvSpPr/>
              <p:nvPr/>
            </p:nvSpPr>
            <p:spPr>
              <a:xfrm>
                <a:off x="3622769" y="1669737"/>
                <a:ext cx="176911" cy="172101"/>
              </a:xfrm>
              <a:custGeom>
                <a:avLst/>
                <a:gdLst>
                  <a:gd name="connsiteX0" fmla="*/ 81978 w 176911"/>
                  <a:gd name="connsiteY0" fmla="*/ 172102 h 172101"/>
                  <a:gd name="connsiteX1" fmla="*/ 80244 w 176911"/>
                  <a:gd name="connsiteY1" fmla="*/ 171869 h 172101"/>
                  <a:gd name="connsiteX2" fmla="*/ 75817 w 176911"/>
                  <a:gd name="connsiteY2" fmla="*/ 167649 h 172101"/>
                  <a:gd name="connsiteX3" fmla="*/ 5219 w 176911"/>
                  <a:gd name="connsiteY3" fmla="*/ 105284 h 172101"/>
                  <a:gd name="connsiteX4" fmla="*/ 352 w 176911"/>
                  <a:gd name="connsiteY4" fmla="*/ 101012 h 172101"/>
                  <a:gd name="connsiteX5" fmla="*/ 1595 w 176911"/>
                  <a:gd name="connsiteY5" fmla="*/ 94669 h 172101"/>
                  <a:gd name="connsiteX6" fmla="*/ 65254 w 176911"/>
                  <a:gd name="connsiteY6" fmla="*/ 21457 h 172101"/>
                  <a:gd name="connsiteX7" fmla="*/ 80580 w 176911"/>
                  <a:gd name="connsiteY7" fmla="*/ 4215 h 172101"/>
                  <a:gd name="connsiteX8" fmla="*/ 100411 w 176911"/>
                  <a:gd name="connsiteY8" fmla="*/ 4215 h 172101"/>
                  <a:gd name="connsiteX9" fmla="*/ 172614 w 176911"/>
                  <a:gd name="connsiteY9" fmla="*/ 76030 h 172101"/>
                  <a:gd name="connsiteX10" fmla="*/ 176911 w 176911"/>
                  <a:gd name="connsiteY10" fmla="*/ 86126 h 172101"/>
                  <a:gd name="connsiteX11" fmla="*/ 172639 w 176911"/>
                  <a:gd name="connsiteY11" fmla="*/ 95860 h 172101"/>
                  <a:gd name="connsiteX12" fmla="*/ 157780 w 176911"/>
                  <a:gd name="connsiteY12" fmla="*/ 108960 h 172101"/>
                  <a:gd name="connsiteX13" fmla="*/ 86250 w 176911"/>
                  <a:gd name="connsiteY13" fmla="*/ 170548 h 172101"/>
                  <a:gd name="connsiteX14" fmla="*/ 81978 w 176911"/>
                  <a:gd name="connsiteY14" fmla="*/ 172102 h 172101"/>
                  <a:gd name="connsiteX15" fmla="*/ 18267 w 176911"/>
                  <a:gd name="connsiteY15" fmla="*/ 95187 h 172101"/>
                  <a:gd name="connsiteX16" fmla="*/ 84748 w 176911"/>
                  <a:gd name="connsiteY16" fmla="*/ 154679 h 172101"/>
                  <a:gd name="connsiteX17" fmla="*/ 149211 w 176911"/>
                  <a:gd name="connsiteY17" fmla="*/ 99148 h 172101"/>
                  <a:gd name="connsiteX18" fmla="*/ 163423 w 176911"/>
                  <a:gd name="connsiteY18" fmla="*/ 86644 h 172101"/>
                  <a:gd name="connsiteX19" fmla="*/ 163889 w 176911"/>
                  <a:gd name="connsiteY19" fmla="*/ 86049 h 172101"/>
                  <a:gd name="connsiteX20" fmla="*/ 163423 w 176911"/>
                  <a:gd name="connsiteY20" fmla="*/ 85220 h 172101"/>
                  <a:gd name="connsiteX21" fmla="*/ 163423 w 176911"/>
                  <a:gd name="connsiteY21" fmla="*/ 85220 h 172101"/>
                  <a:gd name="connsiteX22" fmla="*/ 91220 w 176911"/>
                  <a:gd name="connsiteY22" fmla="*/ 13406 h 172101"/>
                  <a:gd name="connsiteX23" fmla="*/ 90237 w 176911"/>
                  <a:gd name="connsiteY23" fmla="*/ 12940 h 172101"/>
                  <a:gd name="connsiteX24" fmla="*/ 89667 w 176911"/>
                  <a:gd name="connsiteY24" fmla="*/ 13406 h 172101"/>
                  <a:gd name="connsiteX25" fmla="*/ 74963 w 176911"/>
                  <a:gd name="connsiteY25" fmla="*/ 29974 h 172101"/>
                  <a:gd name="connsiteX26" fmla="*/ 18267 w 176911"/>
                  <a:gd name="connsiteY26" fmla="*/ 95187 h 172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6911" h="172101">
                    <a:moveTo>
                      <a:pt x="81978" y="172102"/>
                    </a:moveTo>
                    <a:cubicBezTo>
                      <a:pt x="81409" y="172102"/>
                      <a:pt x="80813" y="172024"/>
                      <a:pt x="80244" y="171869"/>
                    </a:cubicBezTo>
                    <a:cubicBezTo>
                      <a:pt x="78173" y="171299"/>
                      <a:pt x="76490" y="169694"/>
                      <a:pt x="75817" y="167649"/>
                    </a:cubicBezTo>
                    <a:cubicBezTo>
                      <a:pt x="65306" y="135728"/>
                      <a:pt x="38253" y="111833"/>
                      <a:pt x="5219" y="105284"/>
                    </a:cubicBezTo>
                    <a:cubicBezTo>
                      <a:pt x="2967" y="104844"/>
                      <a:pt x="1103" y="103213"/>
                      <a:pt x="352" y="101012"/>
                    </a:cubicBezTo>
                    <a:cubicBezTo>
                      <a:pt x="-399" y="98837"/>
                      <a:pt x="67" y="96404"/>
                      <a:pt x="1595" y="94669"/>
                    </a:cubicBezTo>
                    <a:cubicBezTo>
                      <a:pt x="21555" y="71655"/>
                      <a:pt x="48556" y="40511"/>
                      <a:pt x="65254" y="21457"/>
                    </a:cubicBezTo>
                    <a:cubicBezTo>
                      <a:pt x="76568" y="8539"/>
                      <a:pt x="79571" y="5225"/>
                      <a:pt x="80580" y="4215"/>
                    </a:cubicBezTo>
                    <a:cubicBezTo>
                      <a:pt x="87001" y="-2179"/>
                      <a:pt x="95595" y="-574"/>
                      <a:pt x="100411" y="4215"/>
                    </a:cubicBezTo>
                    <a:lnTo>
                      <a:pt x="172614" y="76030"/>
                    </a:lnTo>
                    <a:cubicBezTo>
                      <a:pt x="173338" y="76729"/>
                      <a:pt x="176885" y="80560"/>
                      <a:pt x="176911" y="86126"/>
                    </a:cubicBezTo>
                    <a:cubicBezTo>
                      <a:pt x="176911" y="88612"/>
                      <a:pt x="176160" y="92314"/>
                      <a:pt x="172639" y="95860"/>
                    </a:cubicBezTo>
                    <a:cubicBezTo>
                      <a:pt x="172174" y="96326"/>
                      <a:pt x="170983" y="97517"/>
                      <a:pt x="157780" y="108960"/>
                    </a:cubicBezTo>
                    <a:cubicBezTo>
                      <a:pt x="140098" y="124312"/>
                      <a:pt x="109912" y="150252"/>
                      <a:pt x="86250" y="170548"/>
                    </a:cubicBezTo>
                    <a:cubicBezTo>
                      <a:pt x="85007" y="171558"/>
                      <a:pt x="83506" y="172102"/>
                      <a:pt x="81978" y="172102"/>
                    </a:cubicBezTo>
                    <a:close/>
                    <a:moveTo>
                      <a:pt x="18267" y="95187"/>
                    </a:moveTo>
                    <a:cubicBezTo>
                      <a:pt x="48013" y="104326"/>
                      <a:pt x="72400" y="126124"/>
                      <a:pt x="84748" y="154679"/>
                    </a:cubicBezTo>
                    <a:cubicBezTo>
                      <a:pt x="107090" y="135495"/>
                      <a:pt x="133263" y="112998"/>
                      <a:pt x="149211" y="99148"/>
                    </a:cubicBezTo>
                    <a:cubicBezTo>
                      <a:pt x="160809" y="89078"/>
                      <a:pt x="163009" y="87058"/>
                      <a:pt x="163423" y="86644"/>
                    </a:cubicBezTo>
                    <a:cubicBezTo>
                      <a:pt x="163734" y="86333"/>
                      <a:pt x="163863" y="86100"/>
                      <a:pt x="163889" y="86049"/>
                    </a:cubicBezTo>
                    <a:cubicBezTo>
                      <a:pt x="163863" y="85867"/>
                      <a:pt x="163423" y="85220"/>
                      <a:pt x="163423" y="85220"/>
                    </a:cubicBezTo>
                    <a:lnTo>
                      <a:pt x="163423" y="85220"/>
                    </a:lnTo>
                    <a:lnTo>
                      <a:pt x="91220" y="13406"/>
                    </a:lnTo>
                    <a:cubicBezTo>
                      <a:pt x="91013" y="13250"/>
                      <a:pt x="90470" y="12940"/>
                      <a:pt x="90237" y="12940"/>
                    </a:cubicBezTo>
                    <a:cubicBezTo>
                      <a:pt x="90237" y="12940"/>
                      <a:pt x="90004" y="13069"/>
                      <a:pt x="89667" y="13406"/>
                    </a:cubicBezTo>
                    <a:cubicBezTo>
                      <a:pt x="88295" y="14752"/>
                      <a:pt x="78250" y="26220"/>
                      <a:pt x="74963" y="29974"/>
                    </a:cubicBezTo>
                    <a:cubicBezTo>
                      <a:pt x="60154" y="46905"/>
                      <a:pt x="37191" y="73363"/>
                      <a:pt x="18267" y="95187"/>
                    </a:cubicBezTo>
                    <a:close/>
                  </a:path>
                </a:pathLst>
              </a:custGeom>
              <a:solidFill>
                <a:schemeClr val="accent1"/>
              </a:solidFill>
              <a:ln w="2585" cap="flat">
                <a:noFill/>
                <a:prstDash val="solid"/>
                <a:miter/>
              </a:ln>
            </p:spPr>
            <p:txBody>
              <a:bodyPr rtlCol="0" anchor="ctr"/>
              <a:lstStyle/>
              <a:p>
                <a:endParaRPr lang="en-GB" dirty="0"/>
              </a:p>
            </p:txBody>
          </p:sp>
          <p:sp>
            <p:nvSpPr>
              <p:cNvPr id="458" name="Freihandform: Form 310">
                <a:extLst>
                  <a:ext uri="{FF2B5EF4-FFF2-40B4-BE49-F238E27FC236}">
                    <a16:creationId xmlns:a16="http://schemas.microsoft.com/office/drawing/2014/main" id="{AB33D416-E97D-4C22-AD52-567A3A4D2D33}"/>
                  </a:ext>
                </a:extLst>
              </p:cNvPr>
              <p:cNvSpPr/>
              <p:nvPr/>
            </p:nvSpPr>
            <p:spPr>
              <a:xfrm>
                <a:off x="3419405" y="1890908"/>
                <a:ext cx="176833" cy="172121"/>
              </a:xfrm>
              <a:custGeom>
                <a:avLst/>
                <a:gdLst>
                  <a:gd name="connsiteX0" fmla="*/ 86545 w 176833"/>
                  <a:gd name="connsiteY0" fmla="*/ 172121 h 172121"/>
                  <a:gd name="connsiteX1" fmla="*/ 76474 w 176833"/>
                  <a:gd name="connsiteY1" fmla="*/ 167901 h 172121"/>
                  <a:gd name="connsiteX2" fmla="*/ 4298 w 176833"/>
                  <a:gd name="connsiteY2" fmla="*/ 96087 h 172121"/>
                  <a:gd name="connsiteX3" fmla="*/ 0 w 176833"/>
                  <a:gd name="connsiteY3" fmla="*/ 85964 h 172121"/>
                  <a:gd name="connsiteX4" fmla="*/ 4272 w 176833"/>
                  <a:gd name="connsiteY4" fmla="*/ 76230 h 172121"/>
                  <a:gd name="connsiteX5" fmla="*/ 19132 w 176833"/>
                  <a:gd name="connsiteY5" fmla="*/ 63131 h 172121"/>
                  <a:gd name="connsiteX6" fmla="*/ 90635 w 176833"/>
                  <a:gd name="connsiteY6" fmla="*/ 1568 h 172121"/>
                  <a:gd name="connsiteX7" fmla="*/ 96590 w 176833"/>
                  <a:gd name="connsiteY7" fmla="*/ 248 h 172121"/>
                  <a:gd name="connsiteX8" fmla="*/ 101017 w 176833"/>
                  <a:gd name="connsiteY8" fmla="*/ 4468 h 172121"/>
                  <a:gd name="connsiteX9" fmla="*/ 171614 w 176833"/>
                  <a:gd name="connsiteY9" fmla="*/ 66833 h 172121"/>
                  <a:gd name="connsiteX10" fmla="*/ 176481 w 176833"/>
                  <a:gd name="connsiteY10" fmla="*/ 71104 h 172121"/>
                  <a:gd name="connsiteX11" fmla="*/ 175239 w 176833"/>
                  <a:gd name="connsiteY11" fmla="*/ 77447 h 172121"/>
                  <a:gd name="connsiteX12" fmla="*/ 111579 w 176833"/>
                  <a:gd name="connsiteY12" fmla="*/ 150660 h 172121"/>
                  <a:gd name="connsiteX13" fmla="*/ 96279 w 176833"/>
                  <a:gd name="connsiteY13" fmla="*/ 167875 h 172121"/>
                  <a:gd name="connsiteX14" fmla="*/ 86545 w 176833"/>
                  <a:gd name="connsiteY14" fmla="*/ 172121 h 172121"/>
                  <a:gd name="connsiteX15" fmla="*/ 92111 w 176833"/>
                  <a:gd name="connsiteY15" fmla="*/ 17438 h 172121"/>
                  <a:gd name="connsiteX16" fmla="*/ 27649 w 176833"/>
                  <a:gd name="connsiteY16" fmla="*/ 72943 h 172121"/>
                  <a:gd name="connsiteX17" fmla="*/ 13462 w 176833"/>
                  <a:gd name="connsiteY17" fmla="*/ 85421 h 172121"/>
                  <a:gd name="connsiteX18" fmla="*/ 12970 w 176833"/>
                  <a:gd name="connsiteY18" fmla="*/ 86042 h 172121"/>
                  <a:gd name="connsiteX19" fmla="*/ 13462 w 176833"/>
                  <a:gd name="connsiteY19" fmla="*/ 86896 h 172121"/>
                  <a:gd name="connsiteX20" fmla="*/ 85639 w 176833"/>
                  <a:gd name="connsiteY20" fmla="*/ 158685 h 172121"/>
                  <a:gd name="connsiteX21" fmla="*/ 86623 w 176833"/>
                  <a:gd name="connsiteY21" fmla="*/ 159177 h 172121"/>
                  <a:gd name="connsiteX22" fmla="*/ 87192 w 176833"/>
                  <a:gd name="connsiteY22" fmla="*/ 158685 h 172121"/>
                  <a:gd name="connsiteX23" fmla="*/ 101897 w 176833"/>
                  <a:gd name="connsiteY23" fmla="*/ 142116 h 172121"/>
                  <a:gd name="connsiteX24" fmla="*/ 158618 w 176833"/>
                  <a:gd name="connsiteY24" fmla="*/ 76903 h 172121"/>
                  <a:gd name="connsiteX25" fmla="*/ 92111 w 176833"/>
                  <a:gd name="connsiteY25" fmla="*/ 17438 h 172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6833" h="172121">
                    <a:moveTo>
                      <a:pt x="86545" y="172121"/>
                    </a:moveTo>
                    <a:cubicBezTo>
                      <a:pt x="82713" y="172121"/>
                      <a:pt x="79037" y="170464"/>
                      <a:pt x="76474" y="167901"/>
                    </a:cubicBezTo>
                    <a:lnTo>
                      <a:pt x="4298" y="96087"/>
                    </a:lnTo>
                    <a:cubicBezTo>
                      <a:pt x="3573" y="95362"/>
                      <a:pt x="0" y="91530"/>
                      <a:pt x="0" y="85964"/>
                    </a:cubicBezTo>
                    <a:cubicBezTo>
                      <a:pt x="0" y="83479"/>
                      <a:pt x="751" y="79777"/>
                      <a:pt x="4272" y="76230"/>
                    </a:cubicBezTo>
                    <a:cubicBezTo>
                      <a:pt x="5333" y="75169"/>
                      <a:pt x="9242" y="71726"/>
                      <a:pt x="19132" y="63131"/>
                    </a:cubicBezTo>
                    <a:cubicBezTo>
                      <a:pt x="36813" y="47805"/>
                      <a:pt x="66999" y="21865"/>
                      <a:pt x="90635" y="1568"/>
                    </a:cubicBezTo>
                    <a:cubicBezTo>
                      <a:pt x="92266" y="144"/>
                      <a:pt x="94493" y="-348"/>
                      <a:pt x="96590" y="248"/>
                    </a:cubicBezTo>
                    <a:cubicBezTo>
                      <a:pt x="98661" y="817"/>
                      <a:pt x="100344" y="2422"/>
                      <a:pt x="101017" y="4468"/>
                    </a:cubicBezTo>
                    <a:cubicBezTo>
                      <a:pt x="111501" y="36362"/>
                      <a:pt x="138581" y="60283"/>
                      <a:pt x="171614" y="66833"/>
                    </a:cubicBezTo>
                    <a:cubicBezTo>
                      <a:pt x="173867" y="67273"/>
                      <a:pt x="175731" y="68904"/>
                      <a:pt x="176481" y="71104"/>
                    </a:cubicBezTo>
                    <a:cubicBezTo>
                      <a:pt x="177232" y="73279"/>
                      <a:pt x="176766" y="75713"/>
                      <a:pt x="175239" y="77447"/>
                    </a:cubicBezTo>
                    <a:cubicBezTo>
                      <a:pt x="155279" y="100488"/>
                      <a:pt x="128277" y="131606"/>
                      <a:pt x="111579" y="150660"/>
                    </a:cubicBezTo>
                    <a:cubicBezTo>
                      <a:pt x="99567" y="164380"/>
                      <a:pt x="97107" y="167073"/>
                      <a:pt x="96279" y="167875"/>
                    </a:cubicBezTo>
                    <a:cubicBezTo>
                      <a:pt x="93328" y="170852"/>
                      <a:pt x="89884" y="172121"/>
                      <a:pt x="86545" y="172121"/>
                    </a:cubicBezTo>
                    <a:close/>
                    <a:moveTo>
                      <a:pt x="92111" y="17438"/>
                    </a:moveTo>
                    <a:cubicBezTo>
                      <a:pt x="69769" y="36595"/>
                      <a:pt x="43596" y="59092"/>
                      <a:pt x="27649" y="72943"/>
                    </a:cubicBezTo>
                    <a:cubicBezTo>
                      <a:pt x="24076" y="76049"/>
                      <a:pt x="14575" y="84282"/>
                      <a:pt x="13462" y="85421"/>
                    </a:cubicBezTo>
                    <a:cubicBezTo>
                      <a:pt x="13125" y="85757"/>
                      <a:pt x="12996" y="85990"/>
                      <a:pt x="12970" y="86042"/>
                    </a:cubicBezTo>
                    <a:cubicBezTo>
                      <a:pt x="12996" y="86249"/>
                      <a:pt x="13436" y="86870"/>
                      <a:pt x="13462" y="86896"/>
                    </a:cubicBezTo>
                    <a:lnTo>
                      <a:pt x="85639" y="158685"/>
                    </a:lnTo>
                    <a:cubicBezTo>
                      <a:pt x="85846" y="158866"/>
                      <a:pt x="86390" y="159151"/>
                      <a:pt x="86623" y="159177"/>
                    </a:cubicBezTo>
                    <a:cubicBezTo>
                      <a:pt x="86623" y="159151"/>
                      <a:pt x="86856" y="159047"/>
                      <a:pt x="87192" y="158685"/>
                    </a:cubicBezTo>
                    <a:cubicBezTo>
                      <a:pt x="87736" y="158141"/>
                      <a:pt x="90351" y="155294"/>
                      <a:pt x="101897" y="142116"/>
                    </a:cubicBezTo>
                    <a:cubicBezTo>
                      <a:pt x="116731" y="125185"/>
                      <a:pt x="139694" y="98727"/>
                      <a:pt x="158618" y="76903"/>
                    </a:cubicBezTo>
                    <a:cubicBezTo>
                      <a:pt x="128847" y="67765"/>
                      <a:pt x="104460" y="45967"/>
                      <a:pt x="92111" y="17438"/>
                    </a:cubicBezTo>
                    <a:close/>
                  </a:path>
                </a:pathLst>
              </a:custGeom>
              <a:solidFill>
                <a:schemeClr val="accent1"/>
              </a:solidFill>
              <a:ln w="2585" cap="flat">
                <a:noFill/>
                <a:prstDash val="solid"/>
                <a:miter/>
              </a:ln>
            </p:spPr>
            <p:txBody>
              <a:bodyPr rtlCol="0" anchor="ctr"/>
              <a:lstStyle/>
              <a:p>
                <a:endParaRPr lang="en-GB" dirty="0"/>
              </a:p>
            </p:txBody>
          </p:sp>
          <p:sp>
            <p:nvSpPr>
              <p:cNvPr id="459" name="Freihandform: Form 311">
                <a:extLst>
                  <a:ext uri="{FF2B5EF4-FFF2-40B4-BE49-F238E27FC236}">
                    <a16:creationId xmlns:a16="http://schemas.microsoft.com/office/drawing/2014/main" id="{46222FE8-150B-4F0E-87B4-58321AA26E3E}"/>
                  </a:ext>
                </a:extLst>
              </p:cNvPr>
              <p:cNvSpPr/>
              <p:nvPr/>
            </p:nvSpPr>
            <p:spPr>
              <a:xfrm>
                <a:off x="3622774" y="1890924"/>
                <a:ext cx="176828" cy="172105"/>
              </a:xfrm>
              <a:custGeom>
                <a:avLst/>
                <a:gdLst>
                  <a:gd name="connsiteX0" fmla="*/ 90309 w 176828"/>
                  <a:gd name="connsiteY0" fmla="*/ 172106 h 172105"/>
                  <a:gd name="connsiteX1" fmla="*/ 80549 w 176828"/>
                  <a:gd name="connsiteY1" fmla="*/ 167886 h 172105"/>
                  <a:gd name="connsiteX2" fmla="*/ 65249 w 176828"/>
                  <a:gd name="connsiteY2" fmla="*/ 150670 h 172105"/>
                  <a:gd name="connsiteX3" fmla="*/ 1590 w 176828"/>
                  <a:gd name="connsiteY3" fmla="*/ 77457 h 172105"/>
                  <a:gd name="connsiteX4" fmla="*/ 347 w 176828"/>
                  <a:gd name="connsiteY4" fmla="*/ 71115 h 172105"/>
                  <a:gd name="connsiteX5" fmla="*/ 5214 w 176828"/>
                  <a:gd name="connsiteY5" fmla="*/ 66843 h 172105"/>
                  <a:gd name="connsiteX6" fmla="*/ 75811 w 176828"/>
                  <a:gd name="connsiteY6" fmla="*/ 4452 h 172105"/>
                  <a:gd name="connsiteX7" fmla="*/ 80239 w 176828"/>
                  <a:gd name="connsiteY7" fmla="*/ 232 h 172105"/>
                  <a:gd name="connsiteX8" fmla="*/ 86193 w 176828"/>
                  <a:gd name="connsiteY8" fmla="*/ 1553 h 172105"/>
                  <a:gd name="connsiteX9" fmla="*/ 157722 w 176828"/>
                  <a:gd name="connsiteY9" fmla="*/ 63141 h 172105"/>
                  <a:gd name="connsiteX10" fmla="*/ 172556 w 176828"/>
                  <a:gd name="connsiteY10" fmla="*/ 76215 h 172105"/>
                  <a:gd name="connsiteX11" fmla="*/ 172556 w 176828"/>
                  <a:gd name="connsiteY11" fmla="*/ 76241 h 172105"/>
                  <a:gd name="connsiteX12" fmla="*/ 176828 w 176828"/>
                  <a:gd name="connsiteY12" fmla="*/ 85949 h 172105"/>
                  <a:gd name="connsiteX13" fmla="*/ 172556 w 176828"/>
                  <a:gd name="connsiteY13" fmla="*/ 96071 h 172105"/>
                  <a:gd name="connsiteX14" fmla="*/ 100354 w 176828"/>
                  <a:gd name="connsiteY14" fmla="*/ 167886 h 172105"/>
                  <a:gd name="connsiteX15" fmla="*/ 90309 w 176828"/>
                  <a:gd name="connsiteY15" fmla="*/ 172106 h 172105"/>
                  <a:gd name="connsiteX16" fmla="*/ 18262 w 176828"/>
                  <a:gd name="connsiteY16" fmla="*/ 76888 h 172105"/>
                  <a:gd name="connsiteX17" fmla="*/ 74983 w 176828"/>
                  <a:gd name="connsiteY17" fmla="*/ 142101 h 172105"/>
                  <a:gd name="connsiteX18" fmla="*/ 89636 w 176828"/>
                  <a:gd name="connsiteY18" fmla="*/ 158618 h 172105"/>
                  <a:gd name="connsiteX19" fmla="*/ 90309 w 176828"/>
                  <a:gd name="connsiteY19" fmla="*/ 159135 h 172105"/>
                  <a:gd name="connsiteX20" fmla="*/ 91319 w 176828"/>
                  <a:gd name="connsiteY20" fmla="*/ 158540 h 172105"/>
                  <a:gd name="connsiteX21" fmla="*/ 163418 w 176828"/>
                  <a:gd name="connsiteY21" fmla="*/ 86829 h 172105"/>
                  <a:gd name="connsiteX22" fmla="*/ 163884 w 176828"/>
                  <a:gd name="connsiteY22" fmla="*/ 85897 h 172105"/>
                  <a:gd name="connsiteX23" fmla="*/ 163884 w 176828"/>
                  <a:gd name="connsiteY23" fmla="*/ 85897 h 172105"/>
                  <a:gd name="connsiteX24" fmla="*/ 163444 w 176828"/>
                  <a:gd name="connsiteY24" fmla="*/ 85379 h 172105"/>
                  <a:gd name="connsiteX25" fmla="*/ 149231 w 176828"/>
                  <a:gd name="connsiteY25" fmla="*/ 72875 h 172105"/>
                  <a:gd name="connsiteX26" fmla="*/ 84769 w 176828"/>
                  <a:gd name="connsiteY26" fmla="*/ 17345 h 172105"/>
                  <a:gd name="connsiteX27" fmla="*/ 18262 w 176828"/>
                  <a:gd name="connsiteY27" fmla="*/ 76888 h 172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6828" h="172105">
                    <a:moveTo>
                      <a:pt x="90309" y="172106"/>
                    </a:moveTo>
                    <a:cubicBezTo>
                      <a:pt x="86995" y="172106"/>
                      <a:pt x="83526" y="170863"/>
                      <a:pt x="80549" y="167886"/>
                    </a:cubicBezTo>
                    <a:cubicBezTo>
                      <a:pt x="79384" y="166747"/>
                      <a:pt x="75372" y="162242"/>
                      <a:pt x="65249" y="150670"/>
                    </a:cubicBezTo>
                    <a:cubicBezTo>
                      <a:pt x="48577" y="131616"/>
                      <a:pt x="21549" y="100472"/>
                      <a:pt x="1590" y="77457"/>
                    </a:cubicBezTo>
                    <a:cubicBezTo>
                      <a:pt x="88" y="75723"/>
                      <a:pt x="-404" y="73289"/>
                      <a:pt x="347" y="71115"/>
                    </a:cubicBezTo>
                    <a:cubicBezTo>
                      <a:pt x="1098" y="68940"/>
                      <a:pt x="2961" y="67309"/>
                      <a:pt x="5214" y="66843"/>
                    </a:cubicBezTo>
                    <a:cubicBezTo>
                      <a:pt x="38247" y="60268"/>
                      <a:pt x="65301" y="36373"/>
                      <a:pt x="75811" y="4452"/>
                    </a:cubicBezTo>
                    <a:cubicBezTo>
                      <a:pt x="76485" y="2407"/>
                      <a:pt x="78141" y="828"/>
                      <a:pt x="80239" y="232"/>
                    </a:cubicBezTo>
                    <a:cubicBezTo>
                      <a:pt x="82335" y="-337"/>
                      <a:pt x="84562" y="155"/>
                      <a:pt x="86193" y="1553"/>
                    </a:cubicBezTo>
                    <a:cubicBezTo>
                      <a:pt x="109829" y="21849"/>
                      <a:pt x="140041" y="47789"/>
                      <a:pt x="157722" y="63141"/>
                    </a:cubicBezTo>
                    <a:cubicBezTo>
                      <a:pt x="169450" y="73315"/>
                      <a:pt x="171806" y="75464"/>
                      <a:pt x="172556" y="76215"/>
                    </a:cubicBezTo>
                    <a:cubicBezTo>
                      <a:pt x="172556" y="76215"/>
                      <a:pt x="172556" y="76215"/>
                      <a:pt x="172556" y="76241"/>
                    </a:cubicBezTo>
                    <a:cubicBezTo>
                      <a:pt x="176077" y="79762"/>
                      <a:pt x="176828" y="83464"/>
                      <a:pt x="176828" y="85949"/>
                    </a:cubicBezTo>
                    <a:cubicBezTo>
                      <a:pt x="176828" y="91515"/>
                      <a:pt x="173255" y="95346"/>
                      <a:pt x="172556" y="96071"/>
                    </a:cubicBezTo>
                    <a:lnTo>
                      <a:pt x="100354" y="167886"/>
                    </a:lnTo>
                    <a:cubicBezTo>
                      <a:pt x="97791" y="170449"/>
                      <a:pt x="94141" y="172106"/>
                      <a:pt x="90309" y="172106"/>
                    </a:cubicBezTo>
                    <a:close/>
                    <a:moveTo>
                      <a:pt x="18262" y="76888"/>
                    </a:moveTo>
                    <a:cubicBezTo>
                      <a:pt x="37186" y="98712"/>
                      <a:pt x="60149" y="125170"/>
                      <a:pt x="74983" y="142101"/>
                    </a:cubicBezTo>
                    <a:cubicBezTo>
                      <a:pt x="78634" y="146269"/>
                      <a:pt x="88368" y="157375"/>
                      <a:pt x="89636" y="158618"/>
                    </a:cubicBezTo>
                    <a:cubicBezTo>
                      <a:pt x="90024" y="159006"/>
                      <a:pt x="90257" y="159135"/>
                      <a:pt x="90309" y="159135"/>
                    </a:cubicBezTo>
                    <a:cubicBezTo>
                      <a:pt x="90464" y="159110"/>
                      <a:pt x="91008" y="158825"/>
                      <a:pt x="91319" y="158540"/>
                    </a:cubicBezTo>
                    <a:lnTo>
                      <a:pt x="163418" y="86829"/>
                    </a:lnTo>
                    <a:cubicBezTo>
                      <a:pt x="163573" y="86648"/>
                      <a:pt x="163858" y="86104"/>
                      <a:pt x="163884" y="85897"/>
                    </a:cubicBezTo>
                    <a:lnTo>
                      <a:pt x="163884" y="85897"/>
                    </a:lnTo>
                    <a:cubicBezTo>
                      <a:pt x="163858" y="85897"/>
                      <a:pt x="163729" y="85690"/>
                      <a:pt x="163444" y="85379"/>
                    </a:cubicBezTo>
                    <a:cubicBezTo>
                      <a:pt x="162952" y="84887"/>
                      <a:pt x="160441" y="82609"/>
                      <a:pt x="149231" y="72875"/>
                    </a:cubicBezTo>
                    <a:cubicBezTo>
                      <a:pt x="133284" y="59025"/>
                      <a:pt x="107085" y="36528"/>
                      <a:pt x="84769" y="17345"/>
                    </a:cubicBezTo>
                    <a:cubicBezTo>
                      <a:pt x="72394" y="45951"/>
                      <a:pt x="48007" y="67749"/>
                      <a:pt x="18262" y="76888"/>
                    </a:cubicBezTo>
                    <a:close/>
                  </a:path>
                </a:pathLst>
              </a:custGeom>
              <a:solidFill>
                <a:schemeClr val="accent1"/>
              </a:solidFill>
              <a:ln w="2585" cap="flat">
                <a:noFill/>
                <a:prstDash val="solid"/>
                <a:miter/>
              </a:ln>
            </p:spPr>
            <p:txBody>
              <a:bodyPr rtlCol="0" anchor="ctr"/>
              <a:lstStyle/>
              <a:p>
                <a:endParaRPr lang="en-GB" dirty="0"/>
              </a:p>
            </p:txBody>
          </p:sp>
        </p:grpSp>
      </p:grpSp>
      <p:grpSp>
        <p:nvGrpSpPr>
          <p:cNvPr id="472" name="Group 471">
            <a:extLst>
              <a:ext uri="{FF2B5EF4-FFF2-40B4-BE49-F238E27FC236}">
                <a16:creationId xmlns:a16="http://schemas.microsoft.com/office/drawing/2014/main" id="{C3EBA136-B24D-40DF-A0CE-9A4B54697D2B}"/>
              </a:ext>
            </a:extLst>
          </p:cNvPr>
          <p:cNvGrpSpPr>
            <a:grpSpLocks noChangeAspect="1"/>
          </p:cNvGrpSpPr>
          <p:nvPr/>
        </p:nvGrpSpPr>
        <p:grpSpPr>
          <a:xfrm>
            <a:off x="7165256" y="2391526"/>
            <a:ext cx="268556" cy="432001"/>
            <a:chOff x="1780824" y="2424458"/>
            <a:chExt cx="298312" cy="479867"/>
          </a:xfrm>
        </p:grpSpPr>
        <p:grpSp>
          <p:nvGrpSpPr>
            <p:cNvPr id="473" name="Grafik 168">
              <a:extLst>
                <a:ext uri="{FF2B5EF4-FFF2-40B4-BE49-F238E27FC236}">
                  <a16:creationId xmlns:a16="http://schemas.microsoft.com/office/drawing/2014/main" id="{EEC69290-182B-48E2-993A-3B0075B30F1E}"/>
                </a:ext>
              </a:extLst>
            </p:cNvPr>
            <p:cNvGrpSpPr/>
            <p:nvPr/>
          </p:nvGrpSpPr>
          <p:grpSpPr>
            <a:xfrm>
              <a:off x="1920657" y="2424458"/>
              <a:ext cx="129875" cy="181553"/>
              <a:chOff x="1920657" y="2424459"/>
              <a:chExt cx="129875" cy="181553"/>
            </a:xfrm>
            <a:solidFill>
              <a:schemeClr val="accent1"/>
            </a:solidFill>
          </p:grpSpPr>
          <p:sp>
            <p:nvSpPr>
              <p:cNvPr id="484" name="Freihandform: Form 314">
                <a:extLst>
                  <a:ext uri="{FF2B5EF4-FFF2-40B4-BE49-F238E27FC236}">
                    <a16:creationId xmlns:a16="http://schemas.microsoft.com/office/drawing/2014/main" id="{E93F811D-26F0-4CC5-BCD3-16A08907F74B}"/>
                  </a:ext>
                </a:extLst>
              </p:cNvPr>
              <p:cNvSpPr/>
              <p:nvPr/>
            </p:nvSpPr>
            <p:spPr>
              <a:xfrm>
                <a:off x="1920657" y="2424459"/>
                <a:ext cx="129875" cy="181553"/>
              </a:xfrm>
              <a:custGeom>
                <a:avLst/>
                <a:gdLst>
                  <a:gd name="connsiteX0" fmla="*/ 47599 w 129875"/>
                  <a:gd name="connsiteY0" fmla="*/ 181553 h 181553"/>
                  <a:gd name="connsiteX1" fmla="*/ 46123 w 129875"/>
                  <a:gd name="connsiteY1" fmla="*/ 181398 h 181553"/>
                  <a:gd name="connsiteX2" fmla="*/ 27949 w 129875"/>
                  <a:gd name="connsiteY2" fmla="*/ 174590 h 181553"/>
                  <a:gd name="connsiteX3" fmla="*/ 2527 w 129875"/>
                  <a:gd name="connsiteY3" fmla="*/ 141659 h 181553"/>
                  <a:gd name="connsiteX4" fmla="*/ 14125 w 129875"/>
                  <a:gd name="connsiteY4" fmla="*/ 63528 h 181553"/>
                  <a:gd name="connsiteX5" fmla="*/ 8274 w 129875"/>
                  <a:gd name="connsiteY5" fmla="*/ 10250 h 181553"/>
                  <a:gd name="connsiteX6" fmla="*/ 8067 w 129875"/>
                  <a:gd name="connsiteY6" fmla="*/ 3027 h 181553"/>
                  <a:gd name="connsiteX7" fmla="*/ 14669 w 129875"/>
                  <a:gd name="connsiteY7" fmla="*/ 102 h 181553"/>
                  <a:gd name="connsiteX8" fmla="*/ 80451 w 129875"/>
                  <a:gd name="connsiteY8" fmla="*/ 35103 h 181553"/>
                  <a:gd name="connsiteX9" fmla="*/ 85085 w 129875"/>
                  <a:gd name="connsiteY9" fmla="*/ 18767 h 181553"/>
                  <a:gd name="connsiteX10" fmla="*/ 90108 w 129875"/>
                  <a:gd name="connsiteY10" fmla="*/ 14159 h 181553"/>
                  <a:gd name="connsiteX11" fmla="*/ 96476 w 129875"/>
                  <a:gd name="connsiteY11" fmla="*/ 16567 h 181553"/>
                  <a:gd name="connsiteX12" fmla="*/ 128630 w 129875"/>
                  <a:gd name="connsiteY12" fmla="*/ 116884 h 181553"/>
                  <a:gd name="connsiteX13" fmla="*/ 93835 w 129875"/>
                  <a:gd name="connsiteY13" fmla="*/ 171871 h 181553"/>
                  <a:gd name="connsiteX14" fmla="*/ 84852 w 129875"/>
                  <a:gd name="connsiteY14" fmla="*/ 170033 h 181553"/>
                  <a:gd name="connsiteX15" fmla="*/ 86690 w 129875"/>
                  <a:gd name="connsiteY15" fmla="*/ 161050 h 181553"/>
                  <a:gd name="connsiteX16" fmla="*/ 115841 w 129875"/>
                  <a:gd name="connsiteY16" fmla="*/ 114761 h 181553"/>
                  <a:gd name="connsiteX17" fmla="*/ 93939 w 129875"/>
                  <a:gd name="connsiteY17" fmla="*/ 35232 h 181553"/>
                  <a:gd name="connsiteX18" fmla="*/ 89409 w 129875"/>
                  <a:gd name="connsiteY18" fmla="*/ 51205 h 181553"/>
                  <a:gd name="connsiteX19" fmla="*/ 84153 w 129875"/>
                  <a:gd name="connsiteY19" fmla="*/ 55839 h 181553"/>
                  <a:gd name="connsiteX20" fmla="*/ 77759 w 129875"/>
                  <a:gd name="connsiteY20" fmla="*/ 52992 h 181553"/>
                  <a:gd name="connsiteX21" fmla="*/ 25878 w 129875"/>
                  <a:gd name="connsiteY21" fmla="*/ 15919 h 181553"/>
                  <a:gd name="connsiteX22" fmla="*/ 25645 w 129875"/>
                  <a:gd name="connsiteY22" fmla="*/ 69586 h 181553"/>
                  <a:gd name="connsiteX23" fmla="*/ 15083 w 129875"/>
                  <a:gd name="connsiteY23" fmla="*/ 138294 h 181553"/>
                  <a:gd name="connsiteX24" fmla="*/ 34292 w 129875"/>
                  <a:gd name="connsiteY24" fmla="*/ 163276 h 181553"/>
                  <a:gd name="connsiteX25" fmla="*/ 49074 w 129875"/>
                  <a:gd name="connsiteY25" fmla="*/ 168790 h 181553"/>
                  <a:gd name="connsiteX26" fmla="*/ 53941 w 129875"/>
                  <a:gd name="connsiteY26" fmla="*/ 176583 h 181553"/>
                  <a:gd name="connsiteX27" fmla="*/ 47599 w 129875"/>
                  <a:gd name="connsiteY27" fmla="*/ 181553 h 181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9875" h="181553">
                    <a:moveTo>
                      <a:pt x="47599" y="181553"/>
                    </a:moveTo>
                    <a:cubicBezTo>
                      <a:pt x="47107" y="181553"/>
                      <a:pt x="46615" y="181502"/>
                      <a:pt x="46123" y="181398"/>
                    </a:cubicBezTo>
                    <a:cubicBezTo>
                      <a:pt x="39392" y="179845"/>
                      <a:pt x="33282" y="177541"/>
                      <a:pt x="27949" y="174590"/>
                    </a:cubicBezTo>
                    <a:cubicBezTo>
                      <a:pt x="15083" y="167418"/>
                      <a:pt x="6514" y="156338"/>
                      <a:pt x="2527" y="141659"/>
                    </a:cubicBezTo>
                    <a:cubicBezTo>
                      <a:pt x="-6327" y="109040"/>
                      <a:pt x="10656" y="69457"/>
                      <a:pt x="14125" y="63528"/>
                    </a:cubicBezTo>
                    <a:cubicBezTo>
                      <a:pt x="26681" y="36552"/>
                      <a:pt x="8455" y="10509"/>
                      <a:pt x="8274" y="10250"/>
                    </a:cubicBezTo>
                    <a:cubicBezTo>
                      <a:pt x="6747" y="8101"/>
                      <a:pt x="6669" y="5253"/>
                      <a:pt x="8067" y="3027"/>
                    </a:cubicBezTo>
                    <a:cubicBezTo>
                      <a:pt x="9465" y="801"/>
                      <a:pt x="12080" y="-364"/>
                      <a:pt x="14669" y="102"/>
                    </a:cubicBezTo>
                    <a:cubicBezTo>
                      <a:pt x="42861" y="5046"/>
                      <a:pt x="64530" y="16541"/>
                      <a:pt x="80451" y="35103"/>
                    </a:cubicBezTo>
                    <a:lnTo>
                      <a:pt x="85085" y="18767"/>
                    </a:lnTo>
                    <a:cubicBezTo>
                      <a:pt x="85758" y="16411"/>
                      <a:pt x="87700" y="14625"/>
                      <a:pt x="90108" y="14159"/>
                    </a:cubicBezTo>
                    <a:cubicBezTo>
                      <a:pt x="92515" y="13693"/>
                      <a:pt x="94975" y="14625"/>
                      <a:pt x="96476" y="16567"/>
                    </a:cubicBezTo>
                    <a:cubicBezTo>
                      <a:pt x="129665" y="59723"/>
                      <a:pt x="132280" y="94931"/>
                      <a:pt x="128630" y="116884"/>
                    </a:cubicBezTo>
                    <a:cubicBezTo>
                      <a:pt x="124824" y="139718"/>
                      <a:pt x="112139" y="159755"/>
                      <a:pt x="93835" y="171871"/>
                    </a:cubicBezTo>
                    <a:cubicBezTo>
                      <a:pt x="90858" y="173839"/>
                      <a:pt x="86820" y="173036"/>
                      <a:pt x="84852" y="170033"/>
                    </a:cubicBezTo>
                    <a:cubicBezTo>
                      <a:pt x="82885" y="167056"/>
                      <a:pt x="83687" y="163017"/>
                      <a:pt x="86690" y="161050"/>
                    </a:cubicBezTo>
                    <a:cubicBezTo>
                      <a:pt x="102016" y="150927"/>
                      <a:pt x="112631" y="134048"/>
                      <a:pt x="115841" y="114761"/>
                    </a:cubicBezTo>
                    <a:cubicBezTo>
                      <a:pt x="118792" y="97157"/>
                      <a:pt x="116980" y="69664"/>
                      <a:pt x="93939" y="35232"/>
                    </a:cubicBezTo>
                    <a:lnTo>
                      <a:pt x="89409" y="51205"/>
                    </a:lnTo>
                    <a:cubicBezTo>
                      <a:pt x="88710" y="53639"/>
                      <a:pt x="86664" y="55451"/>
                      <a:pt x="84153" y="55839"/>
                    </a:cubicBezTo>
                    <a:cubicBezTo>
                      <a:pt x="81642" y="56228"/>
                      <a:pt x="79131" y="55114"/>
                      <a:pt x="77759" y="52992"/>
                    </a:cubicBezTo>
                    <a:cubicBezTo>
                      <a:pt x="65695" y="34611"/>
                      <a:pt x="48634" y="22391"/>
                      <a:pt x="25878" y="15919"/>
                    </a:cubicBezTo>
                    <a:cubicBezTo>
                      <a:pt x="31004" y="28449"/>
                      <a:pt x="35509" y="48409"/>
                      <a:pt x="25645" y="69586"/>
                    </a:cubicBezTo>
                    <a:cubicBezTo>
                      <a:pt x="21193" y="77223"/>
                      <a:pt x="8015" y="112250"/>
                      <a:pt x="15083" y="138294"/>
                    </a:cubicBezTo>
                    <a:cubicBezTo>
                      <a:pt x="18164" y="149633"/>
                      <a:pt x="24455" y="157814"/>
                      <a:pt x="34292" y="163276"/>
                    </a:cubicBezTo>
                    <a:cubicBezTo>
                      <a:pt x="38564" y="165658"/>
                      <a:pt x="43534" y="167496"/>
                      <a:pt x="49074" y="168790"/>
                    </a:cubicBezTo>
                    <a:cubicBezTo>
                      <a:pt x="52569" y="169593"/>
                      <a:pt x="54744" y="173088"/>
                      <a:pt x="53941" y="176583"/>
                    </a:cubicBezTo>
                    <a:cubicBezTo>
                      <a:pt x="53217" y="179534"/>
                      <a:pt x="50550" y="181553"/>
                      <a:pt x="47599" y="181553"/>
                    </a:cubicBezTo>
                    <a:close/>
                  </a:path>
                </a:pathLst>
              </a:custGeom>
              <a:solidFill>
                <a:schemeClr val="accent1"/>
              </a:solidFill>
              <a:ln w="2585" cap="flat">
                <a:noFill/>
                <a:prstDash val="solid"/>
                <a:miter/>
              </a:ln>
            </p:spPr>
            <p:txBody>
              <a:bodyPr rtlCol="0" anchor="ctr"/>
              <a:lstStyle/>
              <a:p>
                <a:endParaRPr lang="en-GB" dirty="0"/>
              </a:p>
            </p:txBody>
          </p:sp>
          <p:sp>
            <p:nvSpPr>
              <p:cNvPr id="485" name="Freihandform: Form 315">
                <a:extLst>
                  <a:ext uri="{FF2B5EF4-FFF2-40B4-BE49-F238E27FC236}">
                    <a16:creationId xmlns:a16="http://schemas.microsoft.com/office/drawing/2014/main" id="{59FA0963-6553-4A05-96D9-701F040292C3}"/>
                  </a:ext>
                </a:extLst>
              </p:cNvPr>
              <p:cNvSpPr/>
              <p:nvPr/>
            </p:nvSpPr>
            <p:spPr>
              <a:xfrm>
                <a:off x="1940587" y="2493582"/>
                <a:ext cx="81042" cy="112016"/>
              </a:xfrm>
              <a:custGeom>
                <a:avLst/>
                <a:gdLst>
                  <a:gd name="connsiteX0" fmla="*/ 27669 w 81042"/>
                  <a:gd name="connsiteY0" fmla="*/ 112017 h 112016"/>
                  <a:gd name="connsiteX1" fmla="*/ 23190 w 81042"/>
                  <a:gd name="connsiteY1" fmla="*/ 110230 h 112016"/>
                  <a:gd name="connsiteX2" fmla="*/ 124 w 81042"/>
                  <a:gd name="connsiteY2" fmla="*/ 59204 h 112016"/>
                  <a:gd name="connsiteX3" fmla="*/ 35772 w 81042"/>
                  <a:gd name="connsiteY3" fmla="*/ 1240 h 112016"/>
                  <a:gd name="connsiteX4" fmla="*/ 43875 w 81042"/>
                  <a:gd name="connsiteY4" fmla="*/ 1629 h 112016"/>
                  <a:gd name="connsiteX5" fmla="*/ 45273 w 81042"/>
                  <a:gd name="connsiteY5" fmla="*/ 9602 h 112016"/>
                  <a:gd name="connsiteX6" fmla="*/ 50839 w 81042"/>
                  <a:gd name="connsiteY6" fmla="*/ 24695 h 112016"/>
                  <a:gd name="connsiteX7" fmla="*/ 52366 w 81042"/>
                  <a:gd name="connsiteY7" fmla="*/ 27232 h 112016"/>
                  <a:gd name="connsiteX8" fmla="*/ 59822 w 81042"/>
                  <a:gd name="connsiteY8" fmla="*/ 56797 h 112016"/>
                  <a:gd name="connsiteX9" fmla="*/ 63421 w 81042"/>
                  <a:gd name="connsiteY9" fmla="*/ 54519 h 112016"/>
                  <a:gd name="connsiteX10" fmla="*/ 69556 w 81042"/>
                  <a:gd name="connsiteY10" fmla="*/ 56279 h 112016"/>
                  <a:gd name="connsiteX11" fmla="*/ 75692 w 81042"/>
                  <a:gd name="connsiteY11" fmla="*/ 100962 h 112016"/>
                  <a:gd name="connsiteX12" fmla="*/ 66683 w 81042"/>
                  <a:gd name="connsiteY12" fmla="*/ 102671 h 112016"/>
                  <a:gd name="connsiteX13" fmla="*/ 64948 w 81042"/>
                  <a:gd name="connsiteY13" fmla="*/ 93688 h 112016"/>
                  <a:gd name="connsiteX14" fmla="*/ 66165 w 81042"/>
                  <a:gd name="connsiteY14" fmla="*/ 73676 h 112016"/>
                  <a:gd name="connsiteX15" fmla="*/ 51253 w 81042"/>
                  <a:gd name="connsiteY15" fmla="*/ 84187 h 112016"/>
                  <a:gd name="connsiteX16" fmla="*/ 45506 w 81042"/>
                  <a:gd name="connsiteY16" fmla="*/ 81080 h 112016"/>
                  <a:gd name="connsiteX17" fmla="*/ 44988 w 81042"/>
                  <a:gd name="connsiteY17" fmla="*/ 70906 h 112016"/>
                  <a:gd name="connsiteX18" fmla="*/ 40820 w 81042"/>
                  <a:gd name="connsiteY18" fmla="*/ 33057 h 112016"/>
                  <a:gd name="connsiteX19" fmla="*/ 39862 w 81042"/>
                  <a:gd name="connsiteY19" fmla="*/ 31530 h 112016"/>
                  <a:gd name="connsiteX20" fmla="*/ 33882 w 81042"/>
                  <a:gd name="connsiteY20" fmla="*/ 20216 h 112016"/>
                  <a:gd name="connsiteX21" fmla="*/ 13094 w 81042"/>
                  <a:gd name="connsiteY21" fmla="*/ 60085 h 112016"/>
                  <a:gd name="connsiteX22" fmla="*/ 32174 w 81042"/>
                  <a:gd name="connsiteY22" fmla="*/ 100807 h 112016"/>
                  <a:gd name="connsiteX23" fmla="*/ 32381 w 81042"/>
                  <a:gd name="connsiteY23" fmla="*/ 109972 h 112016"/>
                  <a:gd name="connsiteX24" fmla="*/ 27669 w 81042"/>
                  <a:gd name="connsiteY24" fmla="*/ 112017 h 112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81042" h="112016">
                    <a:moveTo>
                      <a:pt x="27669" y="112017"/>
                    </a:moveTo>
                    <a:cubicBezTo>
                      <a:pt x="26064" y="112017"/>
                      <a:pt x="24459" y="111421"/>
                      <a:pt x="23190" y="110230"/>
                    </a:cubicBezTo>
                    <a:cubicBezTo>
                      <a:pt x="6673" y="94490"/>
                      <a:pt x="-1093" y="77326"/>
                      <a:pt x="124" y="59204"/>
                    </a:cubicBezTo>
                    <a:cubicBezTo>
                      <a:pt x="2350" y="25886"/>
                      <a:pt x="34400" y="2224"/>
                      <a:pt x="35772" y="1240"/>
                    </a:cubicBezTo>
                    <a:cubicBezTo>
                      <a:pt x="38231" y="-546"/>
                      <a:pt x="41597" y="-391"/>
                      <a:pt x="43875" y="1629"/>
                    </a:cubicBezTo>
                    <a:cubicBezTo>
                      <a:pt x="46153" y="3622"/>
                      <a:pt x="46749" y="6936"/>
                      <a:pt x="45273" y="9602"/>
                    </a:cubicBezTo>
                    <a:cubicBezTo>
                      <a:pt x="44082" y="11777"/>
                      <a:pt x="45946" y="16877"/>
                      <a:pt x="50839" y="24695"/>
                    </a:cubicBezTo>
                    <a:cubicBezTo>
                      <a:pt x="51486" y="25731"/>
                      <a:pt x="52030" y="26585"/>
                      <a:pt x="52366" y="27232"/>
                    </a:cubicBezTo>
                    <a:cubicBezTo>
                      <a:pt x="57907" y="39141"/>
                      <a:pt x="59667" y="48978"/>
                      <a:pt x="59822" y="56797"/>
                    </a:cubicBezTo>
                    <a:cubicBezTo>
                      <a:pt x="60703" y="55658"/>
                      <a:pt x="61971" y="54855"/>
                      <a:pt x="63421" y="54519"/>
                    </a:cubicBezTo>
                    <a:cubicBezTo>
                      <a:pt x="65647" y="54001"/>
                      <a:pt x="67951" y="54674"/>
                      <a:pt x="69556" y="56279"/>
                    </a:cubicBezTo>
                    <a:cubicBezTo>
                      <a:pt x="86643" y="73676"/>
                      <a:pt x="81051" y="93118"/>
                      <a:pt x="75692" y="100962"/>
                    </a:cubicBezTo>
                    <a:cubicBezTo>
                      <a:pt x="73673" y="103914"/>
                      <a:pt x="69634" y="104690"/>
                      <a:pt x="66683" y="102671"/>
                    </a:cubicBezTo>
                    <a:cubicBezTo>
                      <a:pt x="63732" y="100652"/>
                      <a:pt x="62955" y="96665"/>
                      <a:pt x="64948" y="93688"/>
                    </a:cubicBezTo>
                    <a:cubicBezTo>
                      <a:pt x="65725" y="92497"/>
                      <a:pt x="70851" y="84031"/>
                      <a:pt x="66165" y="73676"/>
                    </a:cubicBezTo>
                    <a:cubicBezTo>
                      <a:pt x="61427" y="81210"/>
                      <a:pt x="55706" y="84549"/>
                      <a:pt x="51253" y="84187"/>
                    </a:cubicBezTo>
                    <a:cubicBezTo>
                      <a:pt x="48872" y="84031"/>
                      <a:pt x="46826" y="82918"/>
                      <a:pt x="45506" y="81080"/>
                    </a:cubicBezTo>
                    <a:cubicBezTo>
                      <a:pt x="43202" y="77896"/>
                      <a:pt x="44082" y="74504"/>
                      <a:pt x="44988" y="70906"/>
                    </a:cubicBezTo>
                    <a:cubicBezTo>
                      <a:pt x="46645" y="64382"/>
                      <a:pt x="49752" y="52266"/>
                      <a:pt x="40820" y="33057"/>
                    </a:cubicBezTo>
                    <a:cubicBezTo>
                      <a:pt x="40743" y="32954"/>
                      <a:pt x="40328" y="32306"/>
                      <a:pt x="39862" y="31530"/>
                    </a:cubicBezTo>
                    <a:cubicBezTo>
                      <a:pt x="38076" y="28656"/>
                      <a:pt x="35565" y="24643"/>
                      <a:pt x="33882" y="20216"/>
                    </a:cubicBezTo>
                    <a:cubicBezTo>
                      <a:pt x="25417" y="28837"/>
                      <a:pt x="14207" y="43257"/>
                      <a:pt x="13094" y="60085"/>
                    </a:cubicBezTo>
                    <a:cubicBezTo>
                      <a:pt x="12162" y="74168"/>
                      <a:pt x="18582" y="87863"/>
                      <a:pt x="32174" y="100807"/>
                    </a:cubicBezTo>
                    <a:cubicBezTo>
                      <a:pt x="34762" y="103266"/>
                      <a:pt x="34866" y="107383"/>
                      <a:pt x="32381" y="109972"/>
                    </a:cubicBezTo>
                    <a:cubicBezTo>
                      <a:pt x="31086" y="111344"/>
                      <a:pt x="29378" y="112017"/>
                      <a:pt x="27669" y="112017"/>
                    </a:cubicBezTo>
                    <a:close/>
                  </a:path>
                </a:pathLst>
              </a:custGeom>
              <a:solidFill>
                <a:schemeClr val="accent1"/>
              </a:solidFill>
              <a:ln w="2585" cap="flat">
                <a:noFill/>
                <a:prstDash val="solid"/>
                <a:miter/>
              </a:ln>
            </p:spPr>
            <p:txBody>
              <a:bodyPr rtlCol="0" anchor="ctr"/>
              <a:lstStyle/>
              <a:p>
                <a:endParaRPr lang="en-GB" dirty="0"/>
              </a:p>
            </p:txBody>
          </p:sp>
        </p:grpSp>
        <p:grpSp>
          <p:nvGrpSpPr>
            <p:cNvPr id="474" name="Group 473">
              <a:extLst>
                <a:ext uri="{FF2B5EF4-FFF2-40B4-BE49-F238E27FC236}">
                  <a16:creationId xmlns:a16="http://schemas.microsoft.com/office/drawing/2014/main" id="{F4452A0B-B748-4737-8F0F-534F361B3996}"/>
                </a:ext>
              </a:extLst>
            </p:cNvPr>
            <p:cNvGrpSpPr/>
            <p:nvPr/>
          </p:nvGrpSpPr>
          <p:grpSpPr>
            <a:xfrm>
              <a:off x="1780824" y="2618957"/>
              <a:ext cx="298312" cy="285368"/>
              <a:chOff x="1780824" y="2618957"/>
              <a:chExt cx="298312" cy="285368"/>
            </a:xfrm>
          </p:grpSpPr>
          <p:sp>
            <p:nvSpPr>
              <p:cNvPr id="475" name="Freihandform: Form 316">
                <a:extLst>
                  <a:ext uri="{FF2B5EF4-FFF2-40B4-BE49-F238E27FC236}">
                    <a16:creationId xmlns:a16="http://schemas.microsoft.com/office/drawing/2014/main" id="{00A0339A-8BFB-4B94-AD46-19B97E26720C}"/>
                  </a:ext>
                </a:extLst>
              </p:cNvPr>
              <p:cNvSpPr/>
              <p:nvPr/>
            </p:nvSpPr>
            <p:spPr>
              <a:xfrm>
                <a:off x="1780824" y="2735714"/>
                <a:ext cx="58378" cy="168611"/>
              </a:xfrm>
              <a:custGeom>
                <a:avLst/>
                <a:gdLst>
                  <a:gd name="connsiteX0" fmla="*/ 58378 w 58378"/>
                  <a:gd name="connsiteY0" fmla="*/ 168611 h 168611"/>
                  <a:gd name="connsiteX1" fmla="*/ 0 w 58378"/>
                  <a:gd name="connsiteY1" fmla="*/ 168611 h 168611"/>
                  <a:gd name="connsiteX2" fmla="*/ 0 w 58378"/>
                  <a:gd name="connsiteY2" fmla="*/ 155641 h 168611"/>
                  <a:gd name="connsiteX3" fmla="*/ 45408 w 58378"/>
                  <a:gd name="connsiteY3" fmla="*/ 155641 h 168611"/>
                  <a:gd name="connsiteX4" fmla="*/ 45408 w 58378"/>
                  <a:gd name="connsiteY4" fmla="*/ 12970 h 168611"/>
                  <a:gd name="connsiteX5" fmla="*/ 0 w 58378"/>
                  <a:gd name="connsiteY5" fmla="*/ 12970 h 168611"/>
                  <a:gd name="connsiteX6" fmla="*/ 0 w 58378"/>
                  <a:gd name="connsiteY6" fmla="*/ 0 h 168611"/>
                  <a:gd name="connsiteX7" fmla="*/ 58378 w 58378"/>
                  <a:gd name="connsiteY7" fmla="*/ 0 h 168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8378" h="168611">
                    <a:moveTo>
                      <a:pt x="58378" y="168611"/>
                    </a:moveTo>
                    <a:lnTo>
                      <a:pt x="0" y="168611"/>
                    </a:lnTo>
                    <a:lnTo>
                      <a:pt x="0" y="155641"/>
                    </a:lnTo>
                    <a:lnTo>
                      <a:pt x="45408" y="155641"/>
                    </a:lnTo>
                    <a:lnTo>
                      <a:pt x="45408" y="12970"/>
                    </a:lnTo>
                    <a:lnTo>
                      <a:pt x="0" y="12970"/>
                    </a:lnTo>
                    <a:lnTo>
                      <a:pt x="0" y="0"/>
                    </a:lnTo>
                    <a:lnTo>
                      <a:pt x="58378" y="0"/>
                    </a:lnTo>
                    <a:close/>
                  </a:path>
                </a:pathLst>
              </a:custGeom>
              <a:solidFill>
                <a:schemeClr val="tx2"/>
              </a:solidFill>
              <a:ln w="2585" cap="flat">
                <a:noFill/>
                <a:prstDash val="solid"/>
                <a:miter/>
              </a:ln>
            </p:spPr>
            <p:txBody>
              <a:bodyPr rtlCol="0" anchor="ctr"/>
              <a:lstStyle/>
              <a:p>
                <a:endParaRPr lang="en-GB" dirty="0"/>
              </a:p>
            </p:txBody>
          </p:sp>
          <p:sp>
            <p:nvSpPr>
              <p:cNvPr id="476" name="Freihandform: Form 317">
                <a:extLst>
                  <a:ext uri="{FF2B5EF4-FFF2-40B4-BE49-F238E27FC236}">
                    <a16:creationId xmlns:a16="http://schemas.microsoft.com/office/drawing/2014/main" id="{52A97942-DCE9-4BC3-97AE-176EDC8153F0}"/>
                  </a:ext>
                </a:extLst>
              </p:cNvPr>
              <p:cNvSpPr/>
              <p:nvPr/>
            </p:nvSpPr>
            <p:spPr>
              <a:xfrm>
                <a:off x="1826258" y="2709748"/>
                <a:ext cx="239933" cy="194577"/>
              </a:xfrm>
              <a:custGeom>
                <a:avLst/>
                <a:gdLst>
                  <a:gd name="connsiteX0" fmla="*/ 217230 w 239933"/>
                  <a:gd name="connsiteY0" fmla="*/ 194577 h 194577"/>
                  <a:gd name="connsiteX1" fmla="*/ 92007 w 239933"/>
                  <a:gd name="connsiteY1" fmla="*/ 194577 h 194577"/>
                  <a:gd name="connsiteX2" fmla="*/ 64825 w 239933"/>
                  <a:gd name="connsiteY2" fmla="*/ 188079 h 194577"/>
                  <a:gd name="connsiteX3" fmla="*/ 0 w 239933"/>
                  <a:gd name="connsiteY3" fmla="*/ 188079 h 194577"/>
                  <a:gd name="connsiteX4" fmla="*/ 0 w 239933"/>
                  <a:gd name="connsiteY4" fmla="*/ 32438 h 194577"/>
                  <a:gd name="connsiteX5" fmla="*/ 42612 w 239933"/>
                  <a:gd name="connsiteY5" fmla="*/ 32438 h 194577"/>
                  <a:gd name="connsiteX6" fmla="*/ 92007 w 239933"/>
                  <a:gd name="connsiteY6" fmla="*/ 0 h 194577"/>
                  <a:gd name="connsiteX7" fmla="*/ 123772 w 239933"/>
                  <a:gd name="connsiteY7" fmla="*/ 0 h 194577"/>
                  <a:gd name="connsiteX8" fmla="*/ 123772 w 239933"/>
                  <a:gd name="connsiteY8" fmla="*/ 12970 h 194577"/>
                  <a:gd name="connsiteX9" fmla="*/ 92007 w 239933"/>
                  <a:gd name="connsiteY9" fmla="*/ 12970 h 194577"/>
                  <a:gd name="connsiteX10" fmla="*/ 53485 w 239933"/>
                  <a:gd name="connsiteY10" fmla="*/ 40748 h 194577"/>
                  <a:gd name="connsiteX11" fmla="*/ 52113 w 239933"/>
                  <a:gd name="connsiteY11" fmla="*/ 45382 h 194577"/>
                  <a:gd name="connsiteX12" fmla="*/ 12970 w 239933"/>
                  <a:gd name="connsiteY12" fmla="*/ 45382 h 194577"/>
                  <a:gd name="connsiteX13" fmla="*/ 12970 w 239933"/>
                  <a:gd name="connsiteY13" fmla="*/ 175083 h 194577"/>
                  <a:gd name="connsiteX14" fmla="*/ 68061 w 239933"/>
                  <a:gd name="connsiteY14" fmla="*/ 175083 h 194577"/>
                  <a:gd name="connsiteX15" fmla="*/ 69510 w 239933"/>
                  <a:gd name="connsiteY15" fmla="*/ 175860 h 194577"/>
                  <a:gd name="connsiteX16" fmla="*/ 92007 w 239933"/>
                  <a:gd name="connsiteY16" fmla="*/ 181555 h 194577"/>
                  <a:gd name="connsiteX17" fmla="*/ 217230 w 239933"/>
                  <a:gd name="connsiteY17" fmla="*/ 181555 h 194577"/>
                  <a:gd name="connsiteX18" fmla="*/ 226964 w 239933"/>
                  <a:gd name="connsiteY18" fmla="*/ 171847 h 194577"/>
                  <a:gd name="connsiteX19" fmla="*/ 226964 w 239933"/>
                  <a:gd name="connsiteY19" fmla="*/ 165375 h 194577"/>
                  <a:gd name="connsiteX20" fmla="*/ 217230 w 239933"/>
                  <a:gd name="connsiteY20" fmla="*/ 155667 h 194577"/>
                  <a:gd name="connsiteX21" fmla="*/ 201024 w 239933"/>
                  <a:gd name="connsiteY21" fmla="*/ 155667 h 194577"/>
                  <a:gd name="connsiteX22" fmla="*/ 201024 w 239933"/>
                  <a:gd name="connsiteY22" fmla="*/ 142697 h 194577"/>
                  <a:gd name="connsiteX23" fmla="*/ 217230 w 239933"/>
                  <a:gd name="connsiteY23" fmla="*/ 142697 h 194577"/>
                  <a:gd name="connsiteX24" fmla="*/ 239934 w 239933"/>
                  <a:gd name="connsiteY24" fmla="*/ 165375 h 194577"/>
                  <a:gd name="connsiteX25" fmla="*/ 239934 w 239933"/>
                  <a:gd name="connsiteY25" fmla="*/ 171847 h 194577"/>
                  <a:gd name="connsiteX26" fmla="*/ 217230 w 239933"/>
                  <a:gd name="connsiteY26" fmla="*/ 194577 h 19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39933" h="194577">
                    <a:moveTo>
                      <a:pt x="217230" y="194577"/>
                    </a:moveTo>
                    <a:lnTo>
                      <a:pt x="92007" y="194577"/>
                    </a:lnTo>
                    <a:cubicBezTo>
                      <a:pt x="82584" y="194577"/>
                      <a:pt x="73212" y="192351"/>
                      <a:pt x="64825" y="188079"/>
                    </a:cubicBezTo>
                    <a:lnTo>
                      <a:pt x="0" y="188079"/>
                    </a:lnTo>
                    <a:lnTo>
                      <a:pt x="0" y="32438"/>
                    </a:lnTo>
                    <a:lnTo>
                      <a:pt x="42612" y="32438"/>
                    </a:lnTo>
                    <a:cubicBezTo>
                      <a:pt x="50612" y="11210"/>
                      <a:pt x="67595" y="0"/>
                      <a:pt x="92007" y="0"/>
                    </a:cubicBezTo>
                    <a:lnTo>
                      <a:pt x="123772" y="0"/>
                    </a:lnTo>
                    <a:lnTo>
                      <a:pt x="123772" y="12970"/>
                    </a:lnTo>
                    <a:lnTo>
                      <a:pt x="92007" y="12970"/>
                    </a:lnTo>
                    <a:cubicBezTo>
                      <a:pt x="71348" y="12970"/>
                      <a:pt x="59103" y="21798"/>
                      <a:pt x="53485" y="40748"/>
                    </a:cubicBezTo>
                    <a:lnTo>
                      <a:pt x="52113" y="45382"/>
                    </a:lnTo>
                    <a:lnTo>
                      <a:pt x="12970" y="45382"/>
                    </a:lnTo>
                    <a:lnTo>
                      <a:pt x="12970" y="175083"/>
                    </a:lnTo>
                    <a:lnTo>
                      <a:pt x="68061" y="175083"/>
                    </a:lnTo>
                    <a:lnTo>
                      <a:pt x="69510" y="175860"/>
                    </a:lnTo>
                    <a:cubicBezTo>
                      <a:pt x="76397" y="179588"/>
                      <a:pt x="84163" y="181555"/>
                      <a:pt x="92007" y="181555"/>
                    </a:cubicBezTo>
                    <a:lnTo>
                      <a:pt x="217230" y="181555"/>
                    </a:lnTo>
                    <a:cubicBezTo>
                      <a:pt x="222589" y="181555"/>
                      <a:pt x="226964" y="177206"/>
                      <a:pt x="226964" y="171847"/>
                    </a:cubicBezTo>
                    <a:lnTo>
                      <a:pt x="226964" y="165375"/>
                    </a:lnTo>
                    <a:cubicBezTo>
                      <a:pt x="226964" y="160016"/>
                      <a:pt x="222589" y="155667"/>
                      <a:pt x="217230" y="155667"/>
                    </a:cubicBezTo>
                    <a:lnTo>
                      <a:pt x="201024" y="155667"/>
                    </a:lnTo>
                    <a:lnTo>
                      <a:pt x="201024" y="142697"/>
                    </a:lnTo>
                    <a:lnTo>
                      <a:pt x="217230" y="142697"/>
                    </a:lnTo>
                    <a:cubicBezTo>
                      <a:pt x="229734" y="142697"/>
                      <a:pt x="239934" y="152871"/>
                      <a:pt x="239934" y="165375"/>
                    </a:cubicBezTo>
                    <a:lnTo>
                      <a:pt x="239934" y="171847"/>
                    </a:lnTo>
                    <a:cubicBezTo>
                      <a:pt x="239908" y="184403"/>
                      <a:pt x="229734" y="194577"/>
                      <a:pt x="217230" y="194577"/>
                    </a:cubicBezTo>
                    <a:close/>
                  </a:path>
                </a:pathLst>
              </a:custGeom>
              <a:solidFill>
                <a:schemeClr val="tx2"/>
              </a:solidFill>
              <a:ln w="2585" cap="flat">
                <a:noFill/>
                <a:prstDash val="solid"/>
                <a:miter/>
              </a:ln>
            </p:spPr>
            <p:txBody>
              <a:bodyPr rtlCol="0" anchor="ctr"/>
              <a:lstStyle/>
              <a:p>
                <a:endParaRPr lang="en-GB" dirty="0"/>
              </a:p>
            </p:txBody>
          </p:sp>
          <p:sp>
            <p:nvSpPr>
              <p:cNvPr id="477" name="Freihandform: Form 318">
                <a:extLst>
                  <a:ext uri="{FF2B5EF4-FFF2-40B4-BE49-F238E27FC236}">
                    <a16:creationId xmlns:a16="http://schemas.microsoft.com/office/drawing/2014/main" id="{6D2F549B-FE4B-430E-93A6-DE32A1E81CD9}"/>
                  </a:ext>
                </a:extLst>
              </p:cNvPr>
              <p:cNvSpPr/>
              <p:nvPr/>
            </p:nvSpPr>
            <p:spPr>
              <a:xfrm>
                <a:off x="2027282" y="2813586"/>
                <a:ext cx="38910" cy="51828"/>
              </a:xfrm>
              <a:custGeom>
                <a:avLst/>
                <a:gdLst>
                  <a:gd name="connsiteX0" fmla="*/ 16206 w 38910"/>
                  <a:gd name="connsiteY0" fmla="*/ 51829 h 51828"/>
                  <a:gd name="connsiteX1" fmla="*/ 0 w 38910"/>
                  <a:gd name="connsiteY1" fmla="*/ 51829 h 51828"/>
                  <a:gd name="connsiteX2" fmla="*/ 0 w 38910"/>
                  <a:gd name="connsiteY2" fmla="*/ 38859 h 51828"/>
                  <a:gd name="connsiteX3" fmla="*/ 16206 w 38910"/>
                  <a:gd name="connsiteY3" fmla="*/ 38859 h 51828"/>
                  <a:gd name="connsiteX4" fmla="*/ 25940 w 38910"/>
                  <a:gd name="connsiteY4" fmla="*/ 29150 h 51828"/>
                  <a:gd name="connsiteX5" fmla="*/ 25940 w 38910"/>
                  <a:gd name="connsiteY5" fmla="*/ 22678 h 51828"/>
                  <a:gd name="connsiteX6" fmla="*/ 16206 w 38910"/>
                  <a:gd name="connsiteY6" fmla="*/ 12970 h 51828"/>
                  <a:gd name="connsiteX7" fmla="*/ 0 w 38910"/>
                  <a:gd name="connsiteY7" fmla="*/ 12970 h 51828"/>
                  <a:gd name="connsiteX8" fmla="*/ 0 w 38910"/>
                  <a:gd name="connsiteY8" fmla="*/ 0 h 51828"/>
                  <a:gd name="connsiteX9" fmla="*/ 16206 w 38910"/>
                  <a:gd name="connsiteY9" fmla="*/ 0 h 51828"/>
                  <a:gd name="connsiteX10" fmla="*/ 38910 w 38910"/>
                  <a:gd name="connsiteY10" fmla="*/ 22678 h 51828"/>
                  <a:gd name="connsiteX11" fmla="*/ 38910 w 38910"/>
                  <a:gd name="connsiteY11" fmla="*/ 29150 h 51828"/>
                  <a:gd name="connsiteX12" fmla="*/ 16206 w 38910"/>
                  <a:gd name="connsiteY12" fmla="*/ 51829 h 5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10" h="51828">
                    <a:moveTo>
                      <a:pt x="16206" y="51829"/>
                    </a:moveTo>
                    <a:lnTo>
                      <a:pt x="0" y="51829"/>
                    </a:lnTo>
                    <a:lnTo>
                      <a:pt x="0" y="38859"/>
                    </a:lnTo>
                    <a:lnTo>
                      <a:pt x="16206" y="38859"/>
                    </a:lnTo>
                    <a:cubicBezTo>
                      <a:pt x="21565" y="38859"/>
                      <a:pt x="25940" y="34509"/>
                      <a:pt x="25940" y="29150"/>
                    </a:cubicBezTo>
                    <a:lnTo>
                      <a:pt x="25940" y="22678"/>
                    </a:lnTo>
                    <a:cubicBezTo>
                      <a:pt x="25940" y="17319"/>
                      <a:pt x="21565" y="12970"/>
                      <a:pt x="16206" y="12970"/>
                    </a:cubicBezTo>
                    <a:lnTo>
                      <a:pt x="0" y="12970"/>
                    </a:lnTo>
                    <a:lnTo>
                      <a:pt x="0" y="0"/>
                    </a:lnTo>
                    <a:lnTo>
                      <a:pt x="16206" y="0"/>
                    </a:lnTo>
                    <a:cubicBezTo>
                      <a:pt x="28710" y="0"/>
                      <a:pt x="38910" y="10174"/>
                      <a:pt x="38910" y="22678"/>
                    </a:cubicBezTo>
                    <a:lnTo>
                      <a:pt x="38910" y="29150"/>
                    </a:lnTo>
                    <a:cubicBezTo>
                      <a:pt x="38884" y="41654"/>
                      <a:pt x="28710" y="51829"/>
                      <a:pt x="16206" y="51829"/>
                    </a:cubicBezTo>
                    <a:close/>
                  </a:path>
                </a:pathLst>
              </a:custGeom>
              <a:solidFill>
                <a:schemeClr val="tx2"/>
              </a:solidFill>
              <a:ln w="2585" cap="flat">
                <a:noFill/>
                <a:prstDash val="solid"/>
                <a:miter/>
              </a:ln>
            </p:spPr>
            <p:txBody>
              <a:bodyPr rtlCol="0" anchor="ctr"/>
              <a:lstStyle/>
              <a:p>
                <a:endParaRPr lang="en-GB" dirty="0"/>
              </a:p>
            </p:txBody>
          </p:sp>
          <p:sp>
            <p:nvSpPr>
              <p:cNvPr id="478" name="Freihandform: Form 319">
                <a:extLst>
                  <a:ext uri="{FF2B5EF4-FFF2-40B4-BE49-F238E27FC236}">
                    <a16:creationId xmlns:a16="http://schemas.microsoft.com/office/drawing/2014/main" id="{3DE5EF42-F8F6-4E70-BC5C-1724C61C7BC4}"/>
                  </a:ext>
                </a:extLst>
              </p:cNvPr>
              <p:cNvSpPr/>
              <p:nvPr/>
            </p:nvSpPr>
            <p:spPr>
              <a:xfrm>
                <a:off x="2027282" y="2774676"/>
                <a:ext cx="38910" cy="51828"/>
              </a:xfrm>
              <a:custGeom>
                <a:avLst/>
                <a:gdLst>
                  <a:gd name="connsiteX0" fmla="*/ 16206 w 38910"/>
                  <a:gd name="connsiteY0" fmla="*/ 51829 h 51828"/>
                  <a:gd name="connsiteX1" fmla="*/ 0 w 38910"/>
                  <a:gd name="connsiteY1" fmla="*/ 51829 h 51828"/>
                  <a:gd name="connsiteX2" fmla="*/ 0 w 38910"/>
                  <a:gd name="connsiteY2" fmla="*/ 38859 h 51828"/>
                  <a:gd name="connsiteX3" fmla="*/ 16206 w 38910"/>
                  <a:gd name="connsiteY3" fmla="*/ 38859 h 51828"/>
                  <a:gd name="connsiteX4" fmla="*/ 25940 w 38910"/>
                  <a:gd name="connsiteY4" fmla="*/ 29150 h 51828"/>
                  <a:gd name="connsiteX5" fmla="*/ 25940 w 38910"/>
                  <a:gd name="connsiteY5" fmla="*/ 22678 h 51828"/>
                  <a:gd name="connsiteX6" fmla="*/ 16206 w 38910"/>
                  <a:gd name="connsiteY6" fmla="*/ 12970 h 51828"/>
                  <a:gd name="connsiteX7" fmla="*/ 0 w 38910"/>
                  <a:gd name="connsiteY7" fmla="*/ 12970 h 51828"/>
                  <a:gd name="connsiteX8" fmla="*/ 0 w 38910"/>
                  <a:gd name="connsiteY8" fmla="*/ 0 h 51828"/>
                  <a:gd name="connsiteX9" fmla="*/ 16206 w 38910"/>
                  <a:gd name="connsiteY9" fmla="*/ 0 h 51828"/>
                  <a:gd name="connsiteX10" fmla="*/ 38910 w 38910"/>
                  <a:gd name="connsiteY10" fmla="*/ 22678 h 51828"/>
                  <a:gd name="connsiteX11" fmla="*/ 38910 w 38910"/>
                  <a:gd name="connsiteY11" fmla="*/ 29150 h 51828"/>
                  <a:gd name="connsiteX12" fmla="*/ 16206 w 38910"/>
                  <a:gd name="connsiteY12" fmla="*/ 51829 h 5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910" h="51828">
                    <a:moveTo>
                      <a:pt x="16206" y="51829"/>
                    </a:moveTo>
                    <a:lnTo>
                      <a:pt x="0" y="51829"/>
                    </a:lnTo>
                    <a:lnTo>
                      <a:pt x="0" y="38859"/>
                    </a:lnTo>
                    <a:lnTo>
                      <a:pt x="16206" y="38859"/>
                    </a:lnTo>
                    <a:cubicBezTo>
                      <a:pt x="21565" y="38859"/>
                      <a:pt x="25940" y="34509"/>
                      <a:pt x="25940" y="29150"/>
                    </a:cubicBezTo>
                    <a:lnTo>
                      <a:pt x="25940" y="22678"/>
                    </a:lnTo>
                    <a:cubicBezTo>
                      <a:pt x="25940" y="17319"/>
                      <a:pt x="21565" y="12970"/>
                      <a:pt x="16206" y="12970"/>
                    </a:cubicBezTo>
                    <a:lnTo>
                      <a:pt x="0" y="12970"/>
                    </a:lnTo>
                    <a:lnTo>
                      <a:pt x="0" y="0"/>
                    </a:lnTo>
                    <a:lnTo>
                      <a:pt x="16206" y="0"/>
                    </a:lnTo>
                    <a:cubicBezTo>
                      <a:pt x="28710" y="0"/>
                      <a:pt x="38910" y="10174"/>
                      <a:pt x="38910" y="22678"/>
                    </a:cubicBezTo>
                    <a:lnTo>
                      <a:pt x="38910" y="29150"/>
                    </a:lnTo>
                    <a:cubicBezTo>
                      <a:pt x="38884" y="41654"/>
                      <a:pt x="28710" y="51829"/>
                      <a:pt x="16206" y="51829"/>
                    </a:cubicBezTo>
                    <a:close/>
                  </a:path>
                </a:pathLst>
              </a:custGeom>
              <a:solidFill>
                <a:schemeClr val="tx2"/>
              </a:solidFill>
              <a:ln w="2585" cap="flat">
                <a:noFill/>
                <a:prstDash val="solid"/>
                <a:miter/>
              </a:ln>
            </p:spPr>
            <p:txBody>
              <a:bodyPr rtlCol="0" anchor="ctr"/>
              <a:lstStyle/>
              <a:p>
                <a:endParaRPr lang="en-GB" dirty="0"/>
              </a:p>
            </p:txBody>
          </p:sp>
          <p:sp>
            <p:nvSpPr>
              <p:cNvPr id="479" name="Freihandform: Form 320">
                <a:extLst>
                  <a:ext uri="{FF2B5EF4-FFF2-40B4-BE49-F238E27FC236}">
                    <a16:creationId xmlns:a16="http://schemas.microsoft.com/office/drawing/2014/main" id="{4AF4AA28-62CA-494E-9F85-0D7F244C39E0}"/>
                  </a:ext>
                </a:extLst>
              </p:cNvPr>
              <p:cNvSpPr/>
              <p:nvPr/>
            </p:nvSpPr>
            <p:spPr>
              <a:xfrm>
                <a:off x="1923521" y="2735765"/>
                <a:ext cx="142671" cy="51828"/>
              </a:xfrm>
              <a:custGeom>
                <a:avLst/>
                <a:gdLst>
                  <a:gd name="connsiteX0" fmla="*/ 119967 w 142671"/>
                  <a:gd name="connsiteY0" fmla="*/ 51829 h 51828"/>
                  <a:gd name="connsiteX1" fmla="*/ 103761 w 142671"/>
                  <a:gd name="connsiteY1" fmla="*/ 51829 h 51828"/>
                  <a:gd name="connsiteX2" fmla="*/ 103761 w 142671"/>
                  <a:gd name="connsiteY2" fmla="*/ 38859 h 51828"/>
                  <a:gd name="connsiteX3" fmla="*/ 119967 w 142671"/>
                  <a:gd name="connsiteY3" fmla="*/ 38859 h 51828"/>
                  <a:gd name="connsiteX4" fmla="*/ 129701 w 142671"/>
                  <a:gd name="connsiteY4" fmla="*/ 29150 h 51828"/>
                  <a:gd name="connsiteX5" fmla="*/ 129701 w 142671"/>
                  <a:gd name="connsiteY5" fmla="*/ 22678 h 51828"/>
                  <a:gd name="connsiteX6" fmla="*/ 119967 w 142671"/>
                  <a:gd name="connsiteY6" fmla="*/ 12970 h 51828"/>
                  <a:gd name="connsiteX7" fmla="*/ 0 w 142671"/>
                  <a:gd name="connsiteY7" fmla="*/ 12970 h 51828"/>
                  <a:gd name="connsiteX8" fmla="*/ 0 w 142671"/>
                  <a:gd name="connsiteY8" fmla="*/ 0 h 51828"/>
                  <a:gd name="connsiteX9" fmla="*/ 119967 w 142671"/>
                  <a:gd name="connsiteY9" fmla="*/ 0 h 51828"/>
                  <a:gd name="connsiteX10" fmla="*/ 142671 w 142671"/>
                  <a:gd name="connsiteY10" fmla="*/ 22678 h 51828"/>
                  <a:gd name="connsiteX11" fmla="*/ 142671 w 142671"/>
                  <a:gd name="connsiteY11" fmla="*/ 29150 h 51828"/>
                  <a:gd name="connsiteX12" fmla="*/ 119967 w 142671"/>
                  <a:gd name="connsiteY12" fmla="*/ 51829 h 51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2671" h="51828">
                    <a:moveTo>
                      <a:pt x="119967" y="51829"/>
                    </a:moveTo>
                    <a:lnTo>
                      <a:pt x="103761" y="51829"/>
                    </a:lnTo>
                    <a:lnTo>
                      <a:pt x="103761" y="38859"/>
                    </a:lnTo>
                    <a:lnTo>
                      <a:pt x="119967" y="38859"/>
                    </a:lnTo>
                    <a:cubicBezTo>
                      <a:pt x="125326" y="38859"/>
                      <a:pt x="129701" y="34509"/>
                      <a:pt x="129701" y="29150"/>
                    </a:cubicBezTo>
                    <a:lnTo>
                      <a:pt x="129701" y="22678"/>
                    </a:lnTo>
                    <a:cubicBezTo>
                      <a:pt x="129701" y="17319"/>
                      <a:pt x="125326" y="12970"/>
                      <a:pt x="119967" y="12970"/>
                    </a:cubicBezTo>
                    <a:lnTo>
                      <a:pt x="0" y="12970"/>
                    </a:lnTo>
                    <a:lnTo>
                      <a:pt x="0" y="0"/>
                    </a:lnTo>
                    <a:lnTo>
                      <a:pt x="119967" y="0"/>
                    </a:lnTo>
                    <a:cubicBezTo>
                      <a:pt x="132471" y="0"/>
                      <a:pt x="142671" y="10174"/>
                      <a:pt x="142671" y="22678"/>
                    </a:cubicBezTo>
                    <a:lnTo>
                      <a:pt x="142671" y="29150"/>
                    </a:lnTo>
                    <a:cubicBezTo>
                      <a:pt x="142645" y="41654"/>
                      <a:pt x="132471" y="51829"/>
                      <a:pt x="119967" y="51829"/>
                    </a:cubicBezTo>
                    <a:close/>
                  </a:path>
                </a:pathLst>
              </a:custGeom>
              <a:solidFill>
                <a:schemeClr val="tx2"/>
              </a:solidFill>
              <a:ln w="2585" cap="flat">
                <a:noFill/>
                <a:prstDash val="solid"/>
                <a:miter/>
              </a:ln>
            </p:spPr>
            <p:txBody>
              <a:bodyPr rtlCol="0" anchor="ctr"/>
              <a:lstStyle/>
              <a:p>
                <a:endParaRPr lang="en-GB" dirty="0"/>
              </a:p>
            </p:txBody>
          </p:sp>
          <p:grpSp>
            <p:nvGrpSpPr>
              <p:cNvPr id="480" name="Grafik 168">
                <a:extLst>
                  <a:ext uri="{FF2B5EF4-FFF2-40B4-BE49-F238E27FC236}">
                    <a16:creationId xmlns:a16="http://schemas.microsoft.com/office/drawing/2014/main" id="{9DF10A7F-F0AE-4258-9C40-9CB2FCCECB54}"/>
                  </a:ext>
                </a:extLst>
              </p:cNvPr>
              <p:cNvGrpSpPr/>
              <p:nvPr/>
            </p:nvGrpSpPr>
            <p:grpSpPr>
              <a:xfrm>
                <a:off x="1891057" y="2618957"/>
                <a:ext cx="188079" cy="123643"/>
                <a:chOff x="1891057" y="2618957"/>
                <a:chExt cx="188079" cy="123643"/>
              </a:xfrm>
              <a:solidFill>
                <a:schemeClr val="tx2"/>
              </a:solidFill>
            </p:grpSpPr>
            <p:sp>
              <p:nvSpPr>
                <p:cNvPr id="481" name="Freihandform: Form 322">
                  <a:extLst>
                    <a:ext uri="{FF2B5EF4-FFF2-40B4-BE49-F238E27FC236}">
                      <a16:creationId xmlns:a16="http://schemas.microsoft.com/office/drawing/2014/main" id="{3F35E8FA-D735-4212-ACF4-F4CA7EB225EB}"/>
                    </a:ext>
                  </a:extLst>
                </p:cNvPr>
                <p:cNvSpPr/>
                <p:nvPr/>
              </p:nvSpPr>
              <p:spPr>
                <a:xfrm>
                  <a:off x="1942549" y="2683833"/>
                  <a:ext cx="91619" cy="58766"/>
                </a:xfrm>
                <a:custGeom>
                  <a:avLst/>
                  <a:gdLst>
                    <a:gd name="connsiteX0" fmla="*/ 87943 w 91619"/>
                    <a:gd name="connsiteY0" fmla="*/ 58767 h 58766"/>
                    <a:gd name="connsiteX1" fmla="*/ 74999 w 91619"/>
                    <a:gd name="connsiteY1" fmla="*/ 57964 h 58766"/>
                    <a:gd name="connsiteX2" fmla="*/ 77821 w 91619"/>
                    <a:gd name="connsiteY2" fmla="*/ 12970 h 58766"/>
                    <a:gd name="connsiteX3" fmla="*/ 13799 w 91619"/>
                    <a:gd name="connsiteY3" fmla="*/ 12970 h 58766"/>
                    <a:gd name="connsiteX4" fmla="*/ 16620 w 91619"/>
                    <a:gd name="connsiteY4" fmla="*/ 57964 h 58766"/>
                    <a:gd name="connsiteX5" fmla="*/ 3676 w 91619"/>
                    <a:gd name="connsiteY5" fmla="*/ 58767 h 58766"/>
                    <a:gd name="connsiteX6" fmla="*/ 0 w 91619"/>
                    <a:gd name="connsiteY6" fmla="*/ 0 h 58766"/>
                    <a:gd name="connsiteX7" fmla="*/ 91619 w 91619"/>
                    <a:gd name="connsiteY7" fmla="*/ 0 h 58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619" h="58766">
                      <a:moveTo>
                        <a:pt x="87943" y="58767"/>
                      </a:moveTo>
                      <a:lnTo>
                        <a:pt x="74999" y="57964"/>
                      </a:lnTo>
                      <a:lnTo>
                        <a:pt x="77821" y="12970"/>
                      </a:lnTo>
                      <a:lnTo>
                        <a:pt x="13799" y="12970"/>
                      </a:lnTo>
                      <a:lnTo>
                        <a:pt x="16620" y="57964"/>
                      </a:lnTo>
                      <a:lnTo>
                        <a:pt x="3676" y="58767"/>
                      </a:lnTo>
                      <a:lnTo>
                        <a:pt x="0" y="0"/>
                      </a:lnTo>
                      <a:lnTo>
                        <a:pt x="91619" y="0"/>
                      </a:lnTo>
                      <a:close/>
                    </a:path>
                  </a:pathLst>
                </a:custGeom>
                <a:solidFill>
                  <a:schemeClr val="accent1"/>
                </a:solidFill>
                <a:ln w="2585" cap="flat">
                  <a:noFill/>
                  <a:prstDash val="solid"/>
                  <a:miter/>
                </a:ln>
              </p:spPr>
              <p:txBody>
                <a:bodyPr rtlCol="0" anchor="ctr"/>
                <a:lstStyle/>
                <a:p>
                  <a:endParaRPr lang="en-GB" dirty="0"/>
                </a:p>
              </p:txBody>
            </p:sp>
            <p:sp>
              <p:nvSpPr>
                <p:cNvPr id="482" name="Freihandform: Form 323">
                  <a:extLst>
                    <a:ext uri="{FF2B5EF4-FFF2-40B4-BE49-F238E27FC236}">
                      <a16:creationId xmlns:a16="http://schemas.microsoft.com/office/drawing/2014/main" id="{32702312-45DC-4C31-B45B-DC911813330F}"/>
                    </a:ext>
                  </a:extLst>
                </p:cNvPr>
                <p:cNvSpPr/>
                <p:nvPr/>
              </p:nvSpPr>
              <p:spPr>
                <a:xfrm>
                  <a:off x="1917023" y="2651395"/>
                  <a:ext cx="142670" cy="45408"/>
                </a:xfrm>
                <a:custGeom>
                  <a:avLst/>
                  <a:gdLst>
                    <a:gd name="connsiteX0" fmla="*/ 142671 w 142670"/>
                    <a:gd name="connsiteY0" fmla="*/ 45408 h 45408"/>
                    <a:gd name="connsiteX1" fmla="*/ 0 w 142670"/>
                    <a:gd name="connsiteY1" fmla="*/ 45408 h 45408"/>
                    <a:gd name="connsiteX2" fmla="*/ 0 w 142670"/>
                    <a:gd name="connsiteY2" fmla="*/ 0 h 45408"/>
                    <a:gd name="connsiteX3" fmla="*/ 142671 w 142670"/>
                    <a:gd name="connsiteY3" fmla="*/ 0 h 45408"/>
                    <a:gd name="connsiteX4" fmla="*/ 142671 w 142670"/>
                    <a:gd name="connsiteY4" fmla="*/ 45408 h 45408"/>
                    <a:gd name="connsiteX5" fmla="*/ 12970 w 142670"/>
                    <a:gd name="connsiteY5" fmla="*/ 32438 h 45408"/>
                    <a:gd name="connsiteX6" fmla="*/ 129701 w 142670"/>
                    <a:gd name="connsiteY6" fmla="*/ 32438 h 45408"/>
                    <a:gd name="connsiteX7" fmla="*/ 129701 w 142670"/>
                    <a:gd name="connsiteY7" fmla="*/ 12970 h 45408"/>
                    <a:gd name="connsiteX8" fmla="*/ 12970 w 142670"/>
                    <a:gd name="connsiteY8" fmla="*/ 12970 h 45408"/>
                    <a:gd name="connsiteX9" fmla="*/ 12970 w 142670"/>
                    <a:gd name="connsiteY9" fmla="*/ 32438 h 4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2670" h="45408">
                      <a:moveTo>
                        <a:pt x="142671" y="45408"/>
                      </a:moveTo>
                      <a:lnTo>
                        <a:pt x="0" y="45408"/>
                      </a:lnTo>
                      <a:lnTo>
                        <a:pt x="0" y="0"/>
                      </a:lnTo>
                      <a:lnTo>
                        <a:pt x="142671" y="0"/>
                      </a:lnTo>
                      <a:lnTo>
                        <a:pt x="142671" y="45408"/>
                      </a:lnTo>
                      <a:close/>
                      <a:moveTo>
                        <a:pt x="12970" y="32438"/>
                      </a:moveTo>
                      <a:lnTo>
                        <a:pt x="129701" y="32438"/>
                      </a:lnTo>
                      <a:lnTo>
                        <a:pt x="129701" y="12970"/>
                      </a:lnTo>
                      <a:lnTo>
                        <a:pt x="12970" y="12970"/>
                      </a:lnTo>
                      <a:lnTo>
                        <a:pt x="12970" y="32438"/>
                      </a:lnTo>
                      <a:close/>
                    </a:path>
                  </a:pathLst>
                </a:custGeom>
                <a:solidFill>
                  <a:schemeClr val="accent1"/>
                </a:solidFill>
                <a:ln w="2585" cap="flat">
                  <a:noFill/>
                  <a:prstDash val="solid"/>
                  <a:miter/>
                </a:ln>
              </p:spPr>
              <p:txBody>
                <a:bodyPr rtlCol="0" anchor="ctr"/>
                <a:lstStyle/>
                <a:p>
                  <a:endParaRPr lang="en-GB" dirty="0"/>
                </a:p>
              </p:txBody>
            </p:sp>
            <p:sp>
              <p:nvSpPr>
                <p:cNvPr id="483" name="Freihandform: Form 324">
                  <a:extLst>
                    <a:ext uri="{FF2B5EF4-FFF2-40B4-BE49-F238E27FC236}">
                      <a16:creationId xmlns:a16="http://schemas.microsoft.com/office/drawing/2014/main" id="{65CDF47F-7BEC-4CCB-BB19-92D0C85C29D3}"/>
                    </a:ext>
                  </a:extLst>
                </p:cNvPr>
                <p:cNvSpPr/>
                <p:nvPr/>
              </p:nvSpPr>
              <p:spPr>
                <a:xfrm>
                  <a:off x="1891057" y="2618957"/>
                  <a:ext cx="188079" cy="45408"/>
                </a:xfrm>
                <a:custGeom>
                  <a:avLst/>
                  <a:gdLst>
                    <a:gd name="connsiteX0" fmla="*/ 188079 w 188079"/>
                    <a:gd name="connsiteY0" fmla="*/ 45408 h 45408"/>
                    <a:gd name="connsiteX1" fmla="*/ 0 w 188079"/>
                    <a:gd name="connsiteY1" fmla="*/ 45408 h 45408"/>
                    <a:gd name="connsiteX2" fmla="*/ 0 w 188079"/>
                    <a:gd name="connsiteY2" fmla="*/ 0 h 45408"/>
                    <a:gd name="connsiteX3" fmla="*/ 188079 w 188079"/>
                    <a:gd name="connsiteY3" fmla="*/ 0 h 45408"/>
                    <a:gd name="connsiteX4" fmla="*/ 188079 w 188079"/>
                    <a:gd name="connsiteY4" fmla="*/ 45408 h 45408"/>
                    <a:gd name="connsiteX5" fmla="*/ 12996 w 188079"/>
                    <a:gd name="connsiteY5" fmla="*/ 32438 h 45408"/>
                    <a:gd name="connsiteX6" fmla="*/ 175135 w 188079"/>
                    <a:gd name="connsiteY6" fmla="*/ 32438 h 45408"/>
                    <a:gd name="connsiteX7" fmla="*/ 175135 w 188079"/>
                    <a:gd name="connsiteY7" fmla="*/ 12970 h 45408"/>
                    <a:gd name="connsiteX8" fmla="*/ 12996 w 188079"/>
                    <a:gd name="connsiteY8" fmla="*/ 12970 h 45408"/>
                    <a:gd name="connsiteX9" fmla="*/ 12996 w 188079"/>
                    <a:gd name="connsiteY9" fmla="*/ 32438 h 45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8079" h="45408">
                      <a:moveTo>
                        <a:pt x="188079" y="45408"/>
                      </a:moveTo>
                      <a:lnTo>
                        <a:pt x="0" y="45408"/>
                      </a:lnTo>
                      <a:lnTo>
                        <a:pt x="0" y="0"/>
                      </a:lnTo>
                      <a:lnTo>
                        <a:pt x="188079" y="0"/>
                      </a:lnTo>
                      <a:lnTo>
                        <a:pt x="188079" y="45408"/>
                      </a:lnTo>
                      <a:close/>
                      <a:moveTo>
                        <a:pt x="12996" y="32438"/>
                      </a:moveTo>
                      <a:lnTo>
                        <a:pt x="175135" y="32438"/>
                      </a:lnTo>
                      <a:lnTo>
                        <a:pt x="175135" y="12970"/>
                      </a:lnTo>
                      <a:lnTo>
                        <a:pt x="12996" y="12970"/>
                      </a:lnTo>
                      <a:lnTo>
                        <a:pt x="12996" y="32438"/>
                      </a:lnTo>
                      <a:close/>
                    </a:path>
                  </a:pathLst>
                </a:custGeom>
                <a:solidFill>
                  <a:schemeClr val="accent1"/>
                </a:solidFill>
                <a:ln w="2585" cap="flat">
                  <a:noFill/>
                  <a:prstDash val="solid"/>
                  <a:miter/>
                </a:ln>
              </p:spPr>
              <p:txBody>
                <a:bodyPr rtlCol="0" anchor="ctr"/>
                <a:lstStyle/>
                <a:p>
                  <a:endParaRPr lang="en-GB" dirty="0"/>
                </a:p>
              </p:txBody>
            </p:sp>
          </p:grpSp>
        </p:grpSp>
      </p:grpSp>
      <p:grpSp>
        <p:nvGrpSpPr>
          <p:cNvPr id="13" name="Group 12">
            <a:extLst>
              <a:ext uri="{FF2B5EF4-FFF2-40B4-BE49-F238E27FC236}">
                <a16:creationId xmlns:a16="http://schemas.microsoft.com/office/drawing/2014/main" id="{B5AE93BE-924D-6A6C-4DEC-0D664994C2B9}"/>
              </a:ext>
            </a:extLst>
          </p:cNvPr>
          <p:cNvGrpSpPr/>
          <p:nvPr/>
        </p:nvGrpSpPr>
        <p:grpSpPr>
          <a:xfrm>
            <a:off x="8100033" y="2391527"/>
            <a:ext cx="485270" cy="432002"/>
            <a:chOff x="8099621" y="2391527"/>
            <a:chExt cx="485270" cy="432002"/>
          </a:xfrm>
        </p:grpSpPr>
        <p:grpSp>
          <p:nvGrpSpPr>
            <p:cNvPr id="487" name="Grafik 168">
              <a:extLst>
                <a:ext uri="{FF2B5EF4-FFF2-40B4-BE49-F238E27FC236}">
                  <a16:creationId xmlns:a16="http://schemas.microsoft.com/office/drawing/2014/main" id="{5B4E0923-6DF7-465A-8A53-809A4CC06662}"/>
                </a:ext>
              </a:extLst>
            </p:cNvPr>
            <p:cNvGrpSpPr/>
            <p:nvPr/>
          </p:nvGrpSpPr>
          <p:grpSpPr>
            <a:xfrm>
              <a:off x="8235715" y="2533552"/>
              <a:ext cx="222844" cy="289977"/>
              <a:chOff x="2675760" y="2605987"/>
              <a:chExt cx="244211" cy="317780"/>
            </a:xfrm>
            <a:solidFill>
              <a:schemeClr val="tx2"/>
            </a:solidFill>
          </p:grpSpPr>
          <p:sp>
            <p:nvSpPr>
              <p:cNvPr id="510" name="Freihandform: Form 336">
                <a:extLst>
                  <a:ext uri="{FF2B5EF4-FFF2-40B4-BE49-F238E27FC236}">
                    <a16:creationId xmlns:a16="http://schemas.microsoft.com/office/drawing/2014/main" id="{7B28816F-6160-447B-AB31-5BCBA35471D7}"/>
                  </a:ext>
                </a:extLst>
              </p:cNvPr>
              <p:cNvSpPr/>
              <p:nvPr/>
            </p:nvSpPr>
            <p:spPr>
              <a:xfrm>
                <a:off x="2688731" y="2761654"/>
                <a:ext cx="45408" cy="162113"/>
              </a:xfrm>
              <a:custGeom>
                <a:avLst/>
                <a:gdLst>
                  <a:gd name="connsiteX0" fmla="*/ 45408 w 45408"/>
                  <a:gd name="connsiteY0" fmla="*/ 162113 h 162113"/>
                  <a:gd name="connsiteX1" fmla="*/ 32438 w 45408"/>
                  <a:gd name="connsiteY1" fmla="*/ 162113 h 162113"/>
                  <a:gd name="connsiteX2" fmla="*/ 32438 w 45408"/>
                  <a:gd name="connsiteY2" fmla="*/ 96641 h 162113"/>
                  <a:gd name="connsiteX3" fmla="*/ 0 w 45408"/>
                  <a:gd name="connsiteY3" fmla="*/ 45486 h 162113"/>
                  <a:gd name="connsiteX4" fmla="*/ 0 w 45408"/>
                  <a:gd name="connsiteY4" fmla="*/ 0 h 162113"/>
                  <a:gd name="connsiteX5" fmla="*/ 12970 w 45408"/>
                  <a:gd name="connsiteY5" fmla="*/ 0 h 162113"/>
                  <a:gd name="connsiteX6" fmla="*/ 12970 w 45408"/>
                  <a:gd name="connsiteY6" fmla="*/ 45408 h 162113"/>
                  <a:gd name="connsiteX7" fmla="*/ 39040 w 45408"/>
                  <a:gd name="connsiteY7" fmla="*/ 84319 h 162113"/>
                  <a:gd name="connsiteX8" fmla="*/ 45408 w 45408"/>
                  <a:gd name="connsiteY8" fmla="*/ 84448 h 162113"/>
                  <a:gd name="connsiteX9" fmla="*/ 45408 w 45408"/>
                  <a:gd name="connsiteY9" fmla="*/ 162113 h 16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08" h="162113">
                    <a:moveTo>
                      <a:pt x="45408" y="162113"/>
                    </a:moveTo>
                    <a:lnTo>
                      <a:pt x="32438" y="162113"/>
                    </a:lnTo>
                    <a:lnTo>
                      <a:pt x="32438" y="96641"/>
                    </a:lnTo>
                    <a:cubicBezTo>
                      <a:pt x="19623" y="94337"/>
                      <a:pt x="569" y="84344"/>
                      <a:pt x="0" y="45486"/>
                    </a:cubicBezTo>
                    <a:lnTo>
                      <a:pt x="0" y="0"/>
                    </a:lnTo>
                    <a:lnTo>
                      <a:pt x="12970" y="0"/>
                    </a:lnTo>
                    <a:lnTo>
                      <a:pt x="12970" y="45408"/>
                    </a:lnTo>
                    <a:cubicBezTo>
                      <a:pt x="13333" y="70520"/>
                      <a:pt x="22342" y="84008"/>
                      <a:pt x="39040" y="84319"/>
                    </a:cubicBezTo>
                    <a:lnTo>
                      <a:pt x="45408" y="84448"/>
                    </a:lnTo>
                    <a:lnTo>
                      <a:pt x="45408" y="162113"/>
                    </a:lnTo>
                    <a:close/>
                  </a:path>
                </a:pathLst>
              </a:custGeom>
              <a:grpFill/>
              <a:ln w="2585" cap="flat">
                <a:noFill/>
                <a:prstDash val="solid"/>
                <a:miter/>
              </a:ln>
            </p:spPr>
            <p:txBody>
              <a:bodyPr rtlCol="0" anchor="ctr"/>
              <a:lstStyle/>
              <a:p>
                <a:endParaRPr lang="en-GB" dirty="0"/>
              </a:p>
            </p:txBody>
          </p:sp>
          <p:sp>
            <p:nvSpPr>
              <p:cNvPr id="511" name="Freihandform: Form 337">
                <a:extLst>
                  <a:ext uri="{FF2B5EF4-FFF2-40B4-BE49-F238E27FC236}">
                    <a16:creationId xmlns:a16="http://schemas.microsoft.com/office/drawing/2014/main" id="{3BFF538A-A544-463B-907E-FE35C60FEA27}"/>
                  </a:ext>
                </a:extLst>
              </p:cNvPr>
              <p:cNvSpPr/>
              <p:nvPr/>
            </p:nvSpPr>
            <p:spPr>
              <a:xfrm>
                <a:off x="2675760" y="2651369"/>
                <a:ext cx="64876" cy="116756"/>
              </a:xfrm>
              <a:custGeom>
                <a:avLst/>
                <a:gdLst>
                  <a:gd name="connsiteX0" fmla="*/ 32438 w 64876"/>
                  <a:gd name="connsiteY0" fmla="*/ 116757 h 116756"/>
                  <a:gd name="connsiteX1" fmla="*/ 0 w 64876"/>
                  <a:gd name="connsiteY1" fmla="*/ 84319 h 116756"/>
                  <a:gd name="connsiteX2" fmla="*/ 0 w 64876"/>
                  <a:gd name="connsiteY2" fmla="*/ 32438 h 116756"/>
                  <a:gd name="connsiteX3" fmla="*/ 32438 w 64876"/>
                  <a:gd name="connsiteY3" fmla="*/ 0 h 116756"/>
                  <a:gd name="connsiteX4" fmla="*/ 64876 w 64876"/>
                  <a:gd name="connsiteY4" fmla="*/ 32438 h 116756"/>
                  <a:gd name="connsiteX5" fmla="*/ 64876 w 64876"/>
                  <a:gd name="connsiteY5" fmla="*/ 84319 h 116756"/>
                  <a:gd name="connsiteX6" fmla="*/ 32438 w 64876"/>
                  <a:gd name="connsiteY6" fmla="*/ 116757 h 116756"/>
                  <a:gd name="connsiteX7" fmla="*/ 32438 w 64876"/>
                  <a:gd name="connsiteY7" fmla="*/ 12996 h 116756"/>
                  <a:gd name="connsiteX8" fmla="*/ 12970 w 64876"/>
                  <a:gd name="connsiteY8" fmla="*/ 32464 h 116756"/>
                  <a:gd name="connsiteX9" fmla="*/ 12970 w 64876"/>
                  <a:gd name="connsiteY9" fmla="*/ 84344 h 116756"/>
                  <a:gd name="connsiteX10" fmla="*/ 32438 w 64876"/>
                  <a:gd name="connsiteY10" fmla="*/ 103813 h 116756"/>
                  <a:gd name="connsiteX11" fmla="*/ 51906 w 64876"/>
                  <a:gd name="connsiteY11" fmla="*/ 84344 h 116756"/>
                  <a:gd name="connsiteX12" fmla="*/ 51906 w 64876"/>
                  <a:gd name="connsiteY12" fmla="*/ 32464 h 116756"/>
                  <a:gd name="connsiteX13" fmla="*/ 32438 w 64876"/>
                  <a:gd name="connsiteY13" fmla="*/ 12996 h 116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876" h="116756">
                    <a:moveTo>
                      <a:pt x="32438" y="116757"/>
                    </a:moveTo>
                    <a:cubicBezTo>
                      <a:pt x="14549" y="116757"/>
                      <a:pt x="0" y="102207"/>
                      <a:pt x="0" y="84319"/>
                    </a:cubicBezTo>
                    <a:lnTo>
                      <a:pt x="0" y="32438"/>
                    </a:lnTo>
                    <a:cubicBezTo>
                      <a:pt x="0" y="14549"/>
                      <a:pt x="14549" y="0"/>
                      <a:pt x="32438" y="0"/>
                    </a:cubicBezTo>
                    <a:cubicBezTo>
                      <a:pt x="50327" y="0"/>
                      <a:pt x="64876" y="14549"/>
                      <a:pt x="64876" y="32438"/>
                    </a:cubicBezTo>
                    <a:lnTo>
                      <a:pt x="64876" y="84319"/>
                    </a:lnTo>
                    <a:cubicBezTo>
                      <a:pt x="64876" y="102207"/>
                      <a:pt x="50327" y="116757"/>
                      <a:pt x="32438" y="116757"/>
                    </a:cubicBezTo>
                    <a:close/>
                    <a:moveTo>
                      <a:pt x="32438" y="12996"/>
                    </a:moveTo>
                    <a:cubicBezTo>
                      <a:pt x="21720" y="12996"/>
                      <a:pt x="12970" y="21720"/>
                      <a:pt x="12970" y="32464"/>
                    </a:cubicBezTo>
                    <a:lnTo>
                      <a:pt x="12970" y="84344"/>
                    </a:lnTo>
                    <a:cubicBezTo>
                      <a:pt x="12970" y="95062"/>
                      <a:pt x="21695" y="103813"/>
                      <a:pt x="32438" y="103813"/>
                    </a:cubicBezTo>
                    <a:cubicBezTo>
                      <a:pt x="43156" y="103813"/>
                      <a:pt x="51906" y="95088"/>
                      <a:pt x="51906" y="84344"/>
                    </a:cubicBezTo>
                    <a:lnTo>
                      <a:pt x="51906" y="32464"/>
                    </a:lnTo>
                    <a:cubicBezTo>
                      <a:pt x="51906" y="21720"/>
                      <a:pt x="43156" y="12996"/>
                      <a:pt x="32438" y="12996"/>
                    </a:cubicBezTo>
                    <a:close/>
                  </a:path>
                </a:pathLst>
              </a:custGeom>
              <a:grpFill/>
              <a:ln w="2585" cap="flat">
                <a:noFill/>
                <a:prstDash val="solid"/>
                <a:miter/>
              </a:ln>
            </p:spPr>
            <p:txBody>
              <a:bodyPr rtlCol="0" anchor="ctr"/>
              <a:lstStyle/>
              <a:p>
                <a:endParaRPr lang="en-GB" dirty="0"/>
              </a:p>
            </p:txBody>
          </p:sp>
          <p:sp>
            <p:nvSpPr>
              <p:cNvPr id="512" name="Freihandform: Form 338">
                <a:extLst>
                  <a:ext uri="{FF2B5EF4-FFF2-40B4-BE49-F238E27FC236}">
                    <a16:creationId xmlns:a16="http://schemas.microsoft.com/office/drawing/2014/main" id="{6F14520E-795A-416D-BA05-44C19A894DD5}"/>
                  </a:ext>
                </a:extLst>
              </p:cNvPr>
              <p:cNvSpPr/>
              <p:nvPr/>
            </p:nvSpPr>
            <p:spPr>
              <a:xfrm>
                <a:off x="2727641" y="2631927"/>
                <a:ext cx="64876" cy="116756"/>
              </a:xfrm>
              <a:custGeom>
                <a:avLst/>
                <a:gdLst>
                  <a:gd name="connsiteX0" fmla="*/ 32438 w 64876"/>
                  <a:gd name="connsiteY0" fmla="*/ 116757 h 116756"/>
                  <a:gd name="connsiteX1" fmla="*/ 0 w 64876"/>
                  <a:gd name="connsiteY1" fmla="*/ 84319 h 116756"/>
                  <a:gd name="connsiteX2" fmla="*/ 0 w 64876"/>
                  <a:gd name="connsiteY2" fmla="*/ 32438 h 116756"/>
                  <a:gd name="connsiteX3" fmla="*/ 32438 w 64876"/>
                  <a:gd name="connsiteY3" fmla="*/ 0 h 116756"/>
                  <a:gd name="connsiteX4" fmla="*/ 64876 w 64876"/>
                  <a:gd name="connsiteY4" fmla="*/ 32438 h 116756"/>
                  <a:gd name="connsiteX5" fmla="*/ 64876 w 64876"/>
                  <a:gd name="connsiteY5" fmla="*/ 84319 h 116756"/>
                  <a:gd name="connsiteX6" fmla="*/ 32438 w 64876"/>
                  <a:gd name="connsiteY6" fmla="*/ 116757 h 116756"/>
                  <a:gd name="connsiteX7" fmla="*/ 32438 w 64876"/>
                  <a:gd name="connsiteY7" fmla="*/ 12996 h 116756"/>
                  <a:gd name="connsiteX8" fmla="*/ 12970 w 64876"/>
                  <a:gd name="connsiteY8" fmla="*/ 32464 h 116756"/>
                  <a:gd name="connsiteX9" fmla="*/ 12970 w 64876"/>
                  <a:gd name="connsiteY9" fmla="*/ 84345 h 116756"/>
                  <a:gd name="connsiteX10" fmla="*/ 32438 w 64876"/>
                  <a:gd name="connsiteY10" fmla="*/ 103813 h 116756"/>
                  <a:gd name="connsiteX11" fmla="*/ 51906 w 64876"/>
                  <a:gd name="connsiteY11" fmla="*/ 84345 h 116756"/>
                  <a:gd name="connsiteX12" fmla="*/ 51906 w 64876"/>
                  <a:gd name="connsiteY12" fmla="*/ 32438 h 116756"/>
                  <a:gd name="connsiteX13" fmla="*/ 32438 w 64876"/>
                  <a:gd name="connsiteY13" fmla="*/ 12996 h 116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4876" h="116756">
                    <a:moveTo>
                      <a:pt x="32438" y="116757"/>
                    </a:moveTo>
                    <a:cubicBezTo>
                      <a:pt x="14549" y="116757"/>
                      <a:pt x="0" y="102207"/>
                      <a:pt x="0" y="84319"/>
                    </a:cubicBezTo>
                    <a:lnTo>
                      <a:pt x="0" y="32438"/>
                    </a:lnTo>
                    <a:cubicBezTo>
                      <a:pt x="0" y="14549"/>
                      <a:pt x="14549" y="0"/>
                      <a:pt x="32438" y="0"/>
                    </a:cubicBezTo>
                    <a:cubicBezTo>
                      <a:pt x="50327" y="0"/>
                      <a:pt x="64876" y="14549"/>
                      <a:pt x="64876" y="32438"/>
                    </a:cubicBezTo>
                    <a:lnTo>
                      <a:pt x="64876" y="84319"/>
                    </a:lnTo>
                    <a:cubicBezTo>
                      <a:pt x="64876" y="102207"/>
                      <a:pt x="50327" y="116757"/>
                      <a:pt x="32438" y="116757"/>
                    </a:cubicBezTo>
                    <a:close/>
                    <a:moveTo>
                      <a:pt x="32438" y="12996"/>
                    </a:moveTo>
                    <a:cubicBezTo>
                      <a:pt x="21720" y="12996"/>
                      <a:pt x="12970" y="21720"/>
                      <a:pt x="12970" y="32464"/>
                    </a:cubicBezTo>
                    <a:lnTo>
                      <a:pt x="12970" y="84345"/>
                    </a:lnTo>
                    <a:cubicBezTo>
                      <a:pt x="12970" y="95062"/>
                      <a:pt x="21695" y="103813"/>
                      <a:pt x="32438" y="103813"/>
                    </a:cubicBezTo>
                    <a:cubicBezTo>
                      <a:pt x="43156" y="103813"/>
                      <a:pt x="51906" y="95088"/>
                      <a:pt x="51906" y="84345"/>
                    </a:cubicBezTo>
                    <a:lnTo>
                      <a:pt x="51906" y="32438"/>
                    </a:lnTo>
                    <a:cubicBezTo>
                      <a:pt x="51906" y="21720"/>
                      <a:pt x="43156" y="12996"/>
                      <a:pt x="32438" y="12996"/>
                    </a:cubicBezTo>
                    <a:close/>
                  </a:path>
                </a:pathLst>
              </a:custGeom>
              <a:grpFill/>
              <a:ln w="2585" cap="flat">
                <a:noFill/>
                <a:prstDash val="solid"/>
                <a:miter/>
              </a:ln>
            </p:spPr>
            <p:txBody>
              <a:bodyPr rtlCol="0" anchor="ctr"/>
              <a:lstStyle/>
              <a:p>
                <a:endParaRPr lang="en-GB" dirty="0"/>
              </a:p>
            </p:txBody>
          </p:sp>
          <p:sp>
            <p:nvSpPr>
              <p:cNvPr id="513" name="Freihandform: Form 339">
                <a:extLst>
                  <a:ext uri="{FF2B5EF4-FFF2-40B4-BE49-F238E27FC236}">
                    <a16:creationId xmlns:a16="http://schemas.microsoft.com/office/drawing/2014/main" id="{F08E864E-3269-4464-8984-068F2CE220BE}"/>
                  </a:ext>
                </a:extLst>
              </p:cNvPr>
              <p:cNvSpPr/>
              <p:nvPr/>
            </p:nvSpPr>
            <p:spPr>
              <a:xfrm>
                <a:off x="2779547" y="2612485"/>
                <a:ext cx="64876" cy="84318"/>
              </a:xfrm>
              <a:custGeom>
                <a:avLst/>
                <a:gdLst>
                  <a:gd name="connsiteX0" fmla="*/ 12970 w 64876"/>
                  <a:gd name="connsiteY0" fmla="*/ 84319 h 84318"/>
                  <a:gd name="connsiteX1" fmla="*/ 0 w 64876"/>
                  <a:gd name="connsiteY1" fmla="*/ 84319 h 84318"/>
                  <a:gd name="connsiteX2" fmla="*/ 0 w 64876"/>
                  <a:gd name="connsiteY2" fmla="*/ 32438 h 84318"/>
                  <a:gd name="connsiteX3" fmla="*/ 32438 w 64876"/>
                  <a:gd name="connsiteY3" fmla="*/ 0 h 84318"/>
                  <a:gd name="connsiteX4" fmla="*/ 64876 w 64876"/>
                  <a:gd name="connsiteY4" fmla="*/ 32438 h 84318"/>
                  <a:gd name="connsiteX5" fmla="*/ 51906 w 64876"/>
                  <a:gd name="connsiteY5" fmla="*/ 32438 h 84318"/>
                  <a:gd name="connsiteX6" fmla="*/ 32438 w 64876"/>
                  <a:gd name="connsiteY6" fmla="*/ 12970 h 84318"/>
                  <a:gd name="connsiteX7" fmla="*/ 12970 w 64876"/>
                  <a:gd name="connsiteY7" fmla="*/ 32438 h 84318"/>
                  <a:gd name="connsiteX8" fmla="*/ 12970 w 64876"/>
                  <a:gd name="connsiteY8" fmla="*/ 84319 h 8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4876" h="84318">
                    <a:moveTo>
                      <a:pt x="12970" y="84319"/>
                    </a:moveTo>
                    <a:lnTo>
                      <a:pt x="0" y="84319"/>
                    </a:lnTo>
                    <a:lnTo>
                      <a:pt x="0" y="32438"/>
                    </a:lnTo>
                    <a:cubicBezTo>
                      <a:pt x="0" y="14549"/>
                      <a:pt x="14549" y="0"/>
                      <a:pt x="32438" y="0"/>
                    </a:cubicBezTo>
                    <a:cubicBezTo>
                      <a:pt x="50327" y="0"/>
                      <a:pt x="64876" y="14549"/>
                      <a:pt x="64876" y="32438"/>
                    </a:cubicBezTo>
                    <a:lnTo>
                      <a:pt x="51906" y="32438"/>
                    </a:lnTo>
                    <a:cubicBezTo>
                      <a:pt x="51906" y="21720"/>
                      <a:pt x="43182" y="12970"/>
                      <a:pt x="32438" y="12970"/>
                    </a:cubicBezTo>
                    <a:cubicBezTo>
                      <a:pt x="21695" y="12970"/>
                      <a:pt x="12970" y="21695"/>
                      <a:pt x="12970" y="32438"/>
                    </a:cubicBezTo>
                    <a:lnTo>
                      <a:pt x="12970" y="84319"/>
                    </a:lnTo>
                    <a:close/>
                  </a:path>
                </a:pathLst>
              </a:custGeom>
              <a:grpFill/>
              <a:ln w="2585" cap="flat">
                <a:noFill/>
                <a:prstDash val="solid"/>
                <a:miter/>
              </a:ln>
            </p:spPr>
            <p:txBody>
              <a:bodyPr rtlCol="0" anchor="ctr"/>
              <a:lstStyle/>
              <a:p>
                <a:endParaRPr lang="en-GB" dirty="0"/>
              </a:p>
            </p:txBody>
          </p:sp>
          <p:sp>
            <p:nvSpPr>
              <p:cNvPr id="514" name="Freihandform: Form 340">
                <a:extLst>
                  <a:ext uri="{FF2B5EF4-FFF2-40B4-BE49-F238E27FC236}">
                    <a16:creationId xmlns:a16="http://schemas.microsoft.com/office/drawing/2014/main" id="{34D30DEB-3217-479F-A688-81A50018CD39}"/>
                  </a:ext>
                </a:extLst>
              </p:cNvPr>
              <p:cNvSpPr/>
              <p:nvPr/>
            </p:nvSpPr>
            <p:spPr>
              <a:xfrm>
                <a:off x="2831402" y="2605987"/>
                <a:ext cx="64876" cy="84318"/>
              </a:xfrm>
              <a:custGeom>
                <a:avLst/>
                <a:gdLst>
                  <a:gd name="connsiteX0" fmla="*/ 64876 w 64876"/>
                  <a:gd name="connsiteY0" fmla="*/ 84319 h 84318"/>
                  <a:gd name="connsiteX1" fmla="*/ 51906 w 64876"/>
                  <a:gd name="connsiteY1" fmla="*/ 84319 h 84318"/>
                  <a:gd name="connsiteX2" fmla="*/ 51906 w 64876"/>
                  <a:gd name="connsiteY2" fmla="*/ 32438 h 84318"/>
                  <a:gd name="connsiteX3" fmla="*/ 32438 w 64876"/>
                  <a:gd name="connsiteY3" fmla="*/ 12970 h 84318"/>
                  <a:gd name="connsiteX4" fmla="*/ 12970 w 64876"/>
                  <a:gd name="connsiteY4" fmla="*/ 32438 h 84318"/>
                  <a:gd name="connsiteX5" fmla="*/ 12970 w 64876"/>
                  <a:gd name="connsiteY5" fmla="*/ 44606 h 84318"/>
                  <a:gd name="connsiteX6" fmla="*/ 0 w 64876"/>
                  <a:gd name="connsiteY6" fmla="*/ 44606 h 84318"/>
                  <a:gd name="connsiteX7" fmla="*/ 0 w 64876"/>
                  <a:gd name="connsiteY7" fmla="*/ 32438 h 84318"/>
                  <a:gd name="connsiteX8" fmla="*/ 32438 w 64876"/>
                  <a:gd name="connsiteY8" fmla="*/ 0 h 84318"/>
                  <a:gd name="connsiteX9" fmla="*/ 64876 w 64876"/>
                  <a:gd name="connsiteY9" fmla="*/ 32438 h 84318"/>
                  <a:gd name="connsiteX10" fmla="*/ 64876 w 64876"/>
                  <a:gd name="connsiteY10" fmla="*/ 84319 h 8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4876" h="84318">
                    <a:moveTo>
                      <a:pt x="64876" y="84319"/>
                    </a:moveTo>
                    <a:lnTo>
                      <a:pt x="51906" y="84319"/>
                    </a:lnTo>
                    <a:lnTo>
                      <a:pt x="51906" y="32438"/>
                    </a:lnTo>
                    <a:cubicBezTo>
                      <a:pt x="51906" y="21720"/>
                      <a:pt x="43182" y="12970"/>
                      <a:pt x="32438" y="12970"/>
                    </a:cubicBezTo>
                    <a:cubicBezTo>
                      <a:pt x="21695" y="12970"/>
                      <a:pt x="12970" y="21695"/>
                      <a:pt x="12970" y="32438"/>
                    </a:cubicBezTo>
                    <a:lnTo>
                      <a:pt x="12970" y="44606"/>
                    </a:lnTo>
                    <a:lnTo>
                      <a:pt x="0" y="44606"/>
                    </a:lnTo>
                    <a:lnTo>
                      <a:pt x="0" y="32438"/>
                    </a:lnTo>
                    <a:cubicBezTo>
                      <a:pt x="0" y="14549"/>
                      <a:pt x="14549" y="0"/>
                      <a:pt x="32438" y="0"/>
                    </a:cubicBezTo>
                    <a:cubicBezTo>
                      <a:pt x="50327" y="0"/>
                      <a:pt x="64876" y="14549"/>
                      <a:pt x="64876" y="32438"/>
                    </a:cubicBezTo>
                    <a:lnTo>
                      <a:pt x="64876" y="84319"/>
                    </a:lnTo>
                    <a:close/>
                  </a:path>
                </a:pathLst>
              </a:custGeom>
              <a:grpFill/>
              <a:ln w="2585" cap="flat">
                <a:noFill/>
                <a:prstDash val="solid"/>
                <a:miter/>
              </a:ln>
            </p:spPr>
            <p:txBody>
              <a:bodyPr rtlCol="0" anchor="ctr"/>
              <a:lstStyle/>
              <a:p>
                <a:endParaRPr lang="en-GB" dirty="0"/>
              </a:p>
            </p:txBody>
          </p:sp>
          <p:sp>
            <p:nvSpPr>
              <p:cNvPr id="515" name="Freihandform: Form 341">
                <a:extLst>
                  <a:ext uri="{FF2B5EF4-FFF2-40B4-BE49-F238E27FC236}">
                    <a16:creationId xmlns:a16="http://schemas.microsoft.com/office/drawing/2014/main" id="{9C92C009-F04B-4C13-8D98-98D55652FB35}"/>
                  </a:ext>
                </a:extLst>
              </p:cNvPr>
              <p:cNvSpPr/>
              <p:nvPr/>
            </p:nvSpPr>
            <p:spPr>
              <a:xfrm>
                <a:off x="2786550" y="2666850"/>
                <a:ext cx="133421" cy="256916"/>
              </a:xfrm>
              <a:custGeom>
                <a:avLst/>
                <a:gdLst>
                  <a:gd name="connsiteX0" fmla="*/ 77290 w 133421"/>
                  <a:gd name="connsiteY0" fmla="*/ 256917 h 256916"/>
                  <a:gd name="connsiteX1" fmla="*/ 64319 w 133421"/>
                  <a:gd name="connsiteY1" fmla="*/ 256917 h 256916"/>
                  <a:gd name="connsiteX2" fmla="*/ 64319 w 133421"/>
                  <a:gd name="connsiteY2" fmla="*/ 183005 h 256916"/>
                  <a:gd name="connsiteX3" fmla="*/ 65666 w 133421"/>
                  <a:gd name="connsiteY3" fmla="*/ 181245 h 256916"/>
                  <a:gd name="connsiteX4" fmla="*/ 120031 w 133421"/>
                  <a:gd name="connsiteY4" fmla="*/ 53719 h 256916"/>
                  <a:gd name="connsiteX5" fmla="*/ 108174 w 133421"/>
                  <a:gd name="connsiteY5" fmla="*/ 37642 h 256916"/>
                  <a:gd name="connsiteX6" fmla="*/ 53498 w 133421"/>
                  <a:gd name="connsiteY6" fmla="*/ 14420 h 256916"/>
                  <a:gd name="connsiteX7" fmla="*/ 28153 w 133421"/>
                  <a:gd name="connsiteY7" fmla="*/ 25008 h 256916"/>
                  <a:gd name="connsiteX8" fmla="*/ 28205 w 133421"/>
                  <a:gd name="connsiteY8" fmla="*/ 39894 h 256916"/>
                  <a:gd name="connsiteX9" fmla="*/ 38716 w 133421"/>
                  <a:gd name="connsiteY9" fmla="*/ 50431 h 256916"/>
                  <a:gd name="connsiteX10" fmla="*/ 81923 w 133421"/>
                  <a:gd name="connsiteY10" fmla="*/ 70649 h 256916"/>
                  <a:gd name="connsiteX11" fmla="*/ 68306 w 133421"/>
                  <a:gd name="connsiteY11" fmla="*/ 76267 h 256916"/>
                  <a:gd name="connsiteX12" fmla="*/ 13086 w 133421"/>
                  <a:gd name="connsiteY12" fmla="*/ 130814 h 256916"/>
                  <a:gd name="connsiteX13" fmla="*/ 168 w 133421"/>
                  <a:gd name="connsiteY13" fmla="*/ 132057 h 256916"/>
                  <a:gd name="connsiteX14" fmla="*/ 50676 w 133421"/>
                  <a:gd name="connsiteY14" fmla="*/ 70313 h 256916"/>
                  <a:gd name="connsiteX15" fmla="*/ 33486 w 133421"/>
                  <a:gd name="connsiteY15" fmla="*/ 62262 h 256916"/>
                  <a:gd name="connsiteX16" fmla="*/ 16219 w 133421"/>
                  <a:gd name="connsiteY16" fmla="*/ 44839 h 256916"/>
                  <a:gd name="connsiteX17" fmla="*/ 16167 w 133421"/>
                  <a:gd name="connsiteY17" fmla="*/ 20038 h 256916"/>
                  <a:gd name="connsiteX18" fmla="*/ 33693 w 133421"/>
                  <a:gd name="connsiteY18" fmla="*/ 2511 h 256916"/>
                  <a:gd name="connsiteX19" fmla="*/ 58495 w 133421"/>
                  <a:gd name="connsiteY19" fmla="*/ 2459 h 256916"/>
                  <a:gd name="connsiteX20" fmla="*/ 113041 w 133421"/>
                  <a:gd name="connsiteY20" fmla="*/ 25630 h 256916"/>
                  <a:gd name="connsiteX21" fmla="*/ 132950 w 133421"/>
                  <a:gd name="connsiteY21" fmla="*/ 52424 h 256916"/>
                  <a:gd name="connsiteX22" fmla="*/ 77315 w 133421"/>
                  <a:gd name="connsiteY22" fmla="*/ 187380 h 256916"/>
                  <a:gd name="connsiteX23" fmla="*/ 77315 w 133421"/>
                  <a:gd name="connsiteY23" fmla="*/ 256917 h 256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3421" h="256916">
                    <a:moveTo>
                      <a:pt x="77290" y="256917"/>
                    </a:moveTo>
                    <a:lnTo>
                      <a:pt x="64319" y="256917"/>
                    </a:lnTo>
                    <a:lnTo>
                      <a:pt x="64319" y="183005"/>
                    </a:lnTo>
                    <a:lnTo>
                      <a:pt x="65666" y="181245"/>
                    </a:lnTo>
                    <a:cubicBezTo>
                      <a:pt x="66261" y="180468"/>
                      <a:pt x="125830" y="102492"/>
                      <a:pt x="120031" y="53719"/>
                    </a:cubicBezTo>
                    <a:cubicBezTo>
                      <a:pt x="119979" y="53045"/>
                      <a:pt x="118763" y="41706"/>
                      <a:pt x="108174" y="37642"/>
                    </a:cubicBezTo>
                    <a:lnTo>
                      <a:pt x="53498" y="14420"/>
                    </a:lnTo>
                    <a:cubicBezTo>
                      <a:pt x="43609" y="10330"/>
                      <a:pt x="32244" y="15093"/>
                      <a:pt x="28153" y="25008"/>
                    </a:cubicBezTo>
                    <a:cubicBezTo>
                      <a:pt x="26186" y="29798"/>
                      <a:pt x="26186" y="35079"/>
                      <a:pt x="28205" y="39894"/>
                    </a:cubicBezTo>
                    <a:cubicBezTo>
                      <a:pt x="30224" y="44709"/>
                      <a:pt x="33952" y="48463"/>
                      <a:pt x="38716" y="50431"/>
                    </a:cubicBezTo>
                    <a:lnTo>
                      <a:pt x="81923" y="70649"/>
                    </a:lnTo>
                    <a:lnTo>
                      <a:pt x="68306" y="76267"/>
                    </a:lnTo>
                    <a:cubicBezTo>
                      <a:pt x="52126" y="82946"/>
                      <a:pt x="10653" y="105754"/>
                      <a:pt x="13086" y="130814"/>
                    </a:cubicBezTo>
                    <a:lnTo>
                      <a:pt x="168" y="132057"/>
                    </a:lnTo>
                    <a:cubicBezTo>
                      <a:pt x="-2680" y="102829"/>
                      <a:pt x="31389" y="80513"/>
                      <a:pt x="50676" y="70313"/>
                    </a:cubicBezTo>
                    <a:lnTo>
                      <a:pt x="33486" y="62262"/>
                    </a:lnTo>
                    <a:cubicBezTo>
                      <a:pt x="25772" y="59077"/>
                      <a:pt x="19558" y="52864"/>
                      <a:pt x="16219" y="44839"/>
                    </a:cubicBezTo>
                    <a:cubicBezTo>
                      <a:pt x="12879" y="36813"/>
                      <a:pt x="12879" y="28011"/>
                      <a:pt x="16167" y="20038"/>
                    </a:cubicBezTo>
                    <a:cubicBezTo>
                      <a:pt x="19455" y="12064"/>
                      <a:pt x="25694" y="5825"/>
                      <a:pt x="33693" y="2511"/>
                    </a:cubicBezTo>
                    <a:cubicBezTo>
                      <a:pt x="41719" y="-828"/>
                      <a:pt x="50521" y="-828"/>
                      <a:pt x="58495" y="2459"/>
                    </a:cubicBezTo>
                    <a:lnTo>
                      <a:pt x="113041" y="25630"/>
                    </a:lnTo>
                    <a:cubicBezTo>
                      <a:pt x="131111" y="32568"/>
                      <a:pt x="132872" y="51622"/>
                      <a:pt x="132950" y="52424"/>
                    </a:cubicBezTo>
                    <a:cubicBezTo>
                      <a:pt x="138904" y="102440"/>
                      <a:pt x="86713" y="174825"/>
                      <a:pt x="77315" y="187380"/>
                    </a:cubicBezTo>
                    <a:lnTo>
                      <a:pt x="77315" y="256917"/>
                    </a:lnTo>
                    <a:close/>
                  </a:path>
                </a:pathLst>
              </a:custGeom>
              <a:grpFill/>
              <a:ln w="2585" cap="flat">
                <a:noFill/>
                <a:prstDash val="solid"/>
                <a:miter/>
              </a:ln>
            </p:spPr>
            <p:txBody>
              <a:bodyPr rtlCol="0" anchor="ctr"/>
              <a:lstStyle/>
              <a:p>
                <a:endParaRPr lang="en-GB" dirty="0"/>
              </a:p>
            </p:txBody>
          </p:sp>
        </p:grpSp>
        <p:grpSp>
          <p:nvGrpSpPr>
            <p:cNvPr id="488" name="Group 487">
              <a:extLst>
                <a:ext uri="{FF2B5EF4-FFF2-40B4-BE49-F238E27FC236}">
                  <a16:creationId xmlns:a16="http://schemas.microsoft.com/office/drawing/2014/main" id="{B4020709-7D30-487E-94C5-C685EAB199AA}"/>
                </a:ext>
              </a:extLst>
            </p:cNvPr>
            <p:cNvGrpSpPr/>
            <p:nvPr/>
          </p:nvGrpSpPr>
          <p:grpSpPr>
            <a:xfrm>
              <a:off x="8099621" y="2391527"/>
              <a:ext cx="485270" cy="414258"/>
              <a:chOff x="2526617" y="2450346"/>
              <a:chExt cx="531799" cy="453978"/>
            </a:xfrm>
          </p:grpSpPr>
          <p:grpSp>
            <p:nvGrpSpPr>
              <p:cNvPr id="489" name="Grafik 168">
                <a:extLst>
                  <a:ext uri="{FF2B5EF4-FFF2-40B4-BE49-F238E27FC236}">
                    <a16:creationId xmlns:a16="http://schemas.microsoft.com/office/drawing/2014/main" id="{FF7E177D-FD23-42C5-BC37-A4E6184DB807}"/>
                  </a:ext>
                </a:extLst>
              </p:cNvPr>
              <p:cNvGrpSpPr/>
              <p:nvPr/>
            </p:nvGrpSpPr>
            <p:grpSpPr>
              <a:xfrm>
                <a:off x="2760079" y="2450346"/>
                <a:ext cx="64876" cy="129726"/>
                <a:chOff x="2760079" y="2450346"/>
                <a:chExt cx="64876" cy="129726"/>
              </a:xfrm>
              <a:solidFill>
                <a:schemeClr val="accent1"/>
              </a:solidFill>
            </p:grpSpPr>
            <p:sp>
              <p:nvSpPr>
                <p:cNvPr id="508" name="Freihandform: Form 343">
                  <a:extLst>
                    <a:ext uri="{FF2B5EF4-FFF2-40B4-BE49-F238E27FC236}">
                      <a16:creationId xmlns:a16="http://schemas.microsoft.com/office/drawing/2014/main" id="{ACC5E6E2-98DB-4479-B10E-F1C816C4787D}"/>
                    </a:ext>
                  </a:extLst>
                </p:cNvPr>
                <p:cNvSpPr/>
                <p:nvPr/>
              </p:nvSpPr>
              <p:spPr>
                <a:xfrm>
                  <a:off x="2760079" y="2450346"/>
                  <a:ext cx="64876" cy="64876"/>
                </a:xfrm>
                <a:custGeom>
                  <a:avLst/>
                  <a:gdLst>
                    <a:gd name="connsiteX0" fmla="*/ 32438 w 64876"/>
                    <a:gd name="connsiteY0" fmla="*/ 64876 h 64876"/>
                    <a:gd name="connsiteX1" fmla="*/ 0 w 64876"/>
                    <a:gd name="connsiteY1" fmla="*/ 32438 h 64876"/>
                    <a:gd name="connsiteX2" fmla="*/ 32438 w 64876"/>
                    <a:gd name="connsiteY2" fmla="*/ 0 h 64876"/>
                    <a:gd name="connsiteX3" fmla="*/ 64876 w 64876"/>
                    <a:gd name="connsiteY3" fmla="*/ 32438 h 64876"/>
                    <a:gd name="connsiteX4" fmla="*/ 32438 w 64876"/>
                    <a:gd name="connsiteY4" fmla="*/ 64876 h 64876"/>
                    <a:gd name="connsiteX5" fmla="*/ 32438 w 64876"/>
                    <a:gd name="connsiteY5" fmla="*/ 12996 h 64876"/>
                    <a:gd name="connsiteX6" fmla="*/ 12970 w 64876"/>
                    <a:gd name="connsiteY6" fmla="*/ 32464 h 64876"/>
                    <a:gd name="connsiteX7" fmla="*/ 32438 w 64876"/>
                    <a:gd name="connsiteY7" fmla="*/ 51932 h 64876"/>
                    <a:gd name="connsiteX8" fmla="*/ 51906 w 64876"/>
                    <a:gd name="connsiteY8" fmla="*/ 32464 h 64876"/>
                    <a:gd name="connsiteX9" fmla="*/ 32438 w 64876"/>
                    <a:gd name="connsiteY9" fmla="*/ 12996 h 6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76" h="64876">
                      <a:moveTo>
                        <a:pt x="32438" y="64876"/>
                      </a:moveTo>
                      <a:cubicBezTo>
                        <a:pt x="14549" y="64876"/>
                        <a:pt x="0" y="50327"/>
                        <a:pt x="0" y="32438"/>
                      </a:cubicBezTo>
                      <a:cubicBezTo>
                        <a:pt x="0" y="14549"/>
                        <a:pt x="14549" y="0"/>
                        <a:pt x="32438" y="0"/>
                      </a:cubicBezTo>
                      <a:cubicBezTo>
                        <a:pt x="50327" y="0"/>
                        <a:pt x="64876" y="14549"/>
                        <a:pt x="64876" y="32438"/>
                      </a:cubicBezTo>
                      <a:cubicBezTo>
                        <a:pt x="64850" y="50327"/>
                        <a:pt x="50301" y="64876"/>
                        <a:pt x="32438" y="64876"/>
                      </a:cubicBezTo>
                      <a:close/>
                      <a:moveTo>
                        <a:pt x="32438" y="12996"/>
                      </a:moveTo>
                      <a:cubicBezTo>
                        <a:pt x="21720" y="12996"/>
                        <a:pt x="12970" y="21720"/>
                        <a:pt x="12970" y="32464"/>
                      </a:cubicBezTo>
                      <a:cubicBezTo>
                        <a:pt x="12970" y="43182"/>
                        <a:pt x="21695" y="51932"/>
                        <a:pt x="32438" y="51932"/>
                      </a:cubicBezTo>
                      <a:cubicBezTo>
                        <a:pt x="43182" y="51932"/>
                        <a:pt x="51906" y="43208"/>
                        <a:pt x="51906" y="32464"/>
                      </a:cubicBezTo>
                      <a:cubicBezTo>
                        <a:pt x="51880" y="21720"/>
                        <a:pt x="43156" y="12996"/>
                        <a:pt x="32438" y="12996"/>
                      </a:cubicBezTo>
                      <a:close/>
                    </a:path>
                  </a:pathLst>
                </a:custGeom>
                <a:solidFill>
                  <a:schemeClr val="accent1"/>
                </a:solidFill>
                <a:ln w="2585" cap="flat">
                  <a:noFill/>
                  <a:prstDash val="solid"/>
                  <a:miter/>
                </a:ln>
              </p:spPr>
              <p:txBody>
                <a:bodyPr rtlCol="0" anchor="ctr"/>
                <a:lstStyle/>
                <a:p>
                  <a:endParaRPr lang="en-GB" dirty="0"/>
                </a:p>
              </p:txBody>
            </p:sp>
            <p:sp>
              <p:nvSpPr>
                <p:cNvPr id="509" name="Freihandform: Form 344">
                  <a:extLst>
                    <a:ext uri="{FF2B5EF4-FFF2-40B4-BE49-F238E27FC236}">
                      <a16:creationId xmlns:a16="http://schemas.microsoft.com/office/drawing/2014/main" id="{BF8063D5-7700-41BF-BDBE-77AFD6C7B21D}"/>
                    </a:ext>
                  </a:extLst>
                </p:cNvPr>
                <p:cNvSpPr/>
                <p:nvPr/>
              </p:nvSpPr>
              <p:spPr>
                <a:xfrm>
                  <a:off x="2786019" y="2508724"/>
                  <a:ext cx="12970" cy="71348"/>
                </a:xfrm>
                <a:custGeom>
                  <a:avLst/>
                  <a:gdLst>
                    <a:gd name="connsiteX0" fmla="*/ 0 w 12970"/>
                    <a:gd name="connsiteY0" fmla="*/ 0 h 71348"/>
                    <a:gd name="connsiteX1" fmla="*/ 12970 w 12970"/>
                    <a:gd name="connsiteY1" fmla="*/ 0 h 71348"/>
                    <a:gd name="connsiteX2" fmla="*/ 12970 w 12970"/>
                    <a:gd name="connsiteY2" fmla="*/ 71348 h 71348"/>
                    <a:gd name="connsiteX3" fmla="*/ 0 w 12970"/>
                    <a:gd name="connsiteY3" fmla="*/ 71348 h 71348"/>
                  </a:gdLst>
                  <a:ahLst/>
                  <a:cxnLst>
                    <a:cxn ang="0">
                      <a:pos x="connsiteX0" y="connsiteY0"/>
                    </a:cxn>
                    <a:cxn ang="0">
                      <a:pos x="connsiteX1" y="connsiteY1"/>
                    </a:cxn>
                    <a:cxn ang="0">
                      <a:pos x="connsiteX2" y="connsiteY2"/>
                    </a:cxn>
                    <a:cxn ang="0">
                      <a:pos x="connsiteX3" y="connsiteY3"/>
                    </a:cxn>
                  </a:cxnLst>
                  <a:rect l="l" t="t" r="r" b="b"/>
                  <a:pathLst>
                    <a:path w="12970" h="71348">
                      <a:moveTo>
                        <a:pt x="0" y="0"/>
                      </a:moveTo>
                      <a:lnTo>
                        <a:pt x="12970" y="0"/>
                      </a:lnTo>
                      <a:lnTo>
                        <a:pt x="12970" y="71348"/>
                      </a:lnTo>
                      <a:lnTo>
                        <a:pt x="0" y="71348"/>
                      </a:lnTo>
                      <a:close/>
                    </a:path>
                  </a:pathLst>
                </a:custGeom>
                <a:solidFill>
                  <a:schemeClr val="accent1"/>
                </a:solidFill>
                <a:ln w="2585" cap="flat">
                  <a:noFill/>
                  <a:prstDash val="solid"/>
                  <a:miter/>
                </a:ln>
              </p:spPr>
              <p:txBody>
                <a:bodyPr rtlCol="0" anchor="ctr"/>
                <a:lstStyle/>
                <a:p>
                  <a:endParaRPr lang="en-GB" dirty="0"/>
                </a:p>
              </p:txBody>
            </p:sp>
          </p:grpSp>
          <p:grpSp>
            <p:nvGrpSpPr>
              <p:cNvPr id="490" name="Grafik 168">
                <a:extLst>
                  <a:ext uri="{FF2B5EF4-FFF2-40B4-BE49-F238E27FC236}">
                    <a16:creationId xmlns:a16="http://schemas.microsoft.com/office/drawing/2014/main" id="{93489810-9E8F-4C9B-8468-7A4495EC22BB}"/>
                  </a:ext>
                </a:extLst>
              </p:cNvPr>
              <p:cNvGrpSpPr/>
              <p:nvPr/>
            </p:nvGrpSpPr>
            <p:grpSpPr>
              <a:xfrm>
                <a:off x="2526617" y="2657867"/>
                <a:ext cx="129726" cy="64876"/>
                <a:chOff x="2526617" y="2657867"/>
                <a:chExt cx="129726" cy="64876"/>
              </a:xfrm>
              <a:solidFill>
                <a:schemeClr val="accent1"/>
              </a:solidFill>
            </p:grpSpPr>
            <p:sp>
              <p:nvSpPr>
                <p:cNvPr id="506" name="Freihandform: Form 346">
                  <a:extLst>
                    <a:ext uri="{FF2B5EF4-FFF2-40B4-BE49-F238E27FC236}">
                      <a16:creationId xmlns:a16="http://schemas.microsoft.com/office/drawing/2014/main" id="{92845F09-517E-48E6-8E1B-A922CE545CA0}"/>
                    </a:ext>
                  </a:extLst>
                </p:cNvPr>
                <p:cNvSpPr/>
                <p:nvPr/>
              </p:nvSpPr>
              <p:spPr>
                <a:xfrm>
                  <a:off x="2526617" y="2657867"/>
                  <a:ext cx="64876" cy="64876"/>
                </a:xfrm>
                <a:custGeom>
                  <a:avLst/>
                  <a:gdLst>
                    <a:gd name="connsiteX0" fmla="*/ 32438 w 64876"/>
                    <a:gd name="connsiteY0" fmla="*/ 64876 h 64876"/>
                    <a:gd name="connsiteX1" fmla="*/ 0 w 64876"/>
                    <a:gd name="connsiteY1" fmla="*/ 32438 h 64876"/>
                    <a:gd name="connsiteX2" fmla="*/ 32438 w 64876"/>
                    <a:gd name="connsiteY2" fmla="*/ 0 h 64876"/>
                    <a:gd name="connsiteX3" fmla="*/ 64876 w 64876"/>
                    <a:gd name="connsiteY3" fmla="*/ 32438 h 64876"/>
                    <a:gd name="connsiteX4" fmla="*/ 32438 w 64876"/>
                    <a:gd name="connsiteY4" fmla="*/ 64876 h 64876"/>
                    <a:gd name="connsiteX5" fmla="*/ 32438 w 64876"/>
                    <a:gd name="connsiteY5" fmla="*/ 12996 h 64876"/>
                    <a:gd name="connsiteX6" fmla="*/ 12970 w 64876"/>
                    <a:gd name="connsiteY6" fmla="*/ 32464 h 64876"/>
                    <a:gd name="connsiteX7" fmla="*/ 32438 w 64876"/>
                    <a:gd name="connsiteY7" fmla="*/ 51932 h 64876"/>
                    <a:gd name="connsiteX8" fmla="*/ 51906 w 64876"/>
                    <a:gd name="connsiteY8" fmla="*/ 32464 h 64876"/>
                    <a:gd name="connsiteX9" fmla="*/ 32438 w 64876"/>
                    <a:gd name="connsiteY9" fmla="*/ 12996 h 6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76" h="64876">
                      <a:moveTo>
                        <a:pt x="32438" y="64876"/>
                      </a:moveTo>
                      <a:cubicBezTo>
                        <a:pt x="14549" y="64876"/>
                        <a:pt x="0" y="50327"/>
                        <a:pt x="0" y="32438"/>
                      </a:cubicBezTo>
                      <a:cubicBezTo>
                        <a:pt x="0" y="14549"/>
                        <a:pt x="14549" y="0"/>
                        <a:pt x="32438" y="0"/>
                      </a:cubicBezTo>
                      <a:cubicBezTo>
                        <a:pt x="50327" y="0"/>
                        <a:pt x="64876" y="14549"/>
                        <a:pt x="64876" y="32438"/>
                      </a:cubicBezTo>
                      <a:cubicBezTo>
                        <a:pt x="64876" y="50327"/>
                        <a:pt x="50301" y="64876"/>
                        <a:pt x="32438" y="64876"/>
                      </a:cubicBezTo>
                      <a:close/>
                      <a:moveTo>
                        <a:pt x="32438" y="12996"/>
                      </a:moveTo>
                      <a:cubicBezTo>
                        <a:pt x="21720" y="12996"/>
                        <a:pt x="12970" y="21720"/>
                        <a:pt x="12970" y="32464"/>
                      </a:cubicBezTo>
                      <a:cubicBezTo>
                        <a:pt x="12970" y="43208"/>
                        <a:pt x="21695" y="51932"/>
                        <a:pt x="32438" y="51932"/>
                      </a:cubicBezTo>
                      <a:cubicBezTo>
                        <a:pt x="43156" y="51932"/>
                        <a:pt x="51906" y="43208"/>
                        <a:pt x="51906" y="32464"/>
                      </a:cubicBezTo>
                      <a:cubicBezTo>
                        <a:pt x="51906" y="21720"/>
                        <a:pt x="43156" y="12996"/>
                        <a:pt x="32438" y="12996"/>
                      </a:cubicBezTo>
                      <a:close/>
                    </a:path>
                  </a:pathLst>
                </a:custGeom>
                <a:solidFill>
                  <a:schemeClr val="accent1"/>
                </a:solidFill>
                <a:ln w="2585" cap="flat">
                  <a:noFill/>
                  <a:prstDash val="solid"/>
                  <a:miter/>
                </a:ln>
              </p:spPr>
              <p:txBody>
                <a:bodyPr rtlCol="0" anchor="ctr"/>
                <a:lstStyle/>
                <a:p>
                  <a:endParaRPr lang="en-GB" dirty="0"/>
                </a:p>
              </p:txBody>
            </p:sp>
            <p:sp>
              <p:nvSpPr>
                <p:cNvPr id="507" name="Freihandform: Form 347">
                  <a:extLst>
                    <a:ext uri="{FF2B5EF4-FFF2-40B4-BE49-F238E27FC236}">
                      <a16:creationId xmlns:a16="http://schemas.microsoft.com/office/drawing/2014/main" id="{E89FB923-7B51-4E04-99DE-57F8287DD610}"/>
                    </a:ext>
                  </a:extLst>
                </p:cNvPr>
                <p:cNvSpPr/>
                <p:nvPr/>
              </p:nvSpPr>
              <p:spPr>
                <a:xfrm>
                  <a:off x="2584996" y="2683833"/>
                  <a:ext cx="71348" cy="12970"/>
                </a:xfrm>
                <a:custGeom>
                  <a:avLst/>
                  <a:gdLst>
                    <a:gd name="connsiteX0" fmla="*/ 0 w 71348"/>
                    <a:gd name="connsiteY0" fmla="*/ 0 h 12970"/>
                    <a:gd name="connsiteX1" fmla="*/ 71348 w 71348"/>
                    <a:gd name="connsiteY1" fmla="*/ 0 h 12970"/>
                    <a:gd name="connsiteX2" fmla="*/ 71348 w 71348"/>
                    <a:gd name="connsiteY2" fmla="*/ 12970 h 12970"/>
                    <a:gd name="connsiteX3" fmla="*/ 0 w 71348"/>
                    <a:gd name="connsiteY3" fmla="*/ 12970 h 12970"/>
                  </a:gdLst>
                  <a:ahLst/>
                  <a:cxnLst>
                    <a:cxn ang="0">
                      <a:pos x="connsiteX0" y="connsiteY0"/>
                    </a:cxn>
                    <a:cxn ang="0">
                      <a:pos x="connsiteX1" y="connsiteY1"/>
                    </a:cxn>
                    <a:cxn ang="0">
                      <a:pos x="connsiteX2" y="connsiteY2"/>
                    </a:cxn>
                    <a:cxn ang="0">
                      <a:pos x="connsiteX3" y="connsiteY3"/>
                    </a:cxn>
                  </a:cxnLst>
                  <a:rect l="l" t="t" r="r" b="b"/>
                  <a:pathLst>
                    <a:path w="71348" h="12970">
                      <a:moveTo>
                        <a:pt x="0" y="0"/>
                      </a:moveTo>
                      <a:lnTo>
                        <a:pt x="71348" y="0"/>
                      </a:lnTo>
                      <a:lnTo>
                        <a:pt x="71348" y="12970"/>
                      </a:lnTo>
                      <a:lnTo>
                        <a:pt x="0" y="12970"/>
                      </a:lnTo>
                      <a:close/>
                    </a:path>
                  </a:pathLst>
                </a:custGeom>
                <a:solidFill>
                  <a:schemeClr val="accent1"/>
                </a:solidFill>
                <a:ln w="2585" cap="flat">
                  <a:noFill/>
                  <a:prstDash val="solid"/>
                  <a:miter/>
                </a:ln>
              </p:spPr>
              <p:txBody>
                <a:bodyPr rtlCol="0" anchor="ctr"/>
                <a:lstStyle/>
                <a:p>
                  <a:endParaRPr lang="en-GB" dirty="0"/>
                </a:p>
              </p:txBody>
            </p:sp>
          </p:grpSp>
          <p:grpSp>
            <p:nvGrpSpPr>
              <p:cNvPr id="491" name="Grafik 168">
                <a:extLst>
                  <a:ext uri="{FF2B5EF4-FFF2-40B4-BE49-F238E27FC236}">
                    <a16:creationId xmlns:a16="http://schemas.microsoft.com/office/drawing/2014/main" id="{7B289C96-C685-4056-81AC-A84ACB081B19}"/>
                  </a:ext>
                </a:extLst>
              </p:cNvPr>
              <p:cNvGrpSpPr/>
              <p:nvPr/>
            </p:nvGrpSpPr>
            <p:grpSpPr>
              <a:xfrm>
                <a:off x="2928690" y="2657867"/>
                <a:ext cx="129726" cy="64876"/>
                <a:chOff x="2928690" y="2657867"/>
                <a:chExt cx="129726" cy="64876"/>
              </a:xfrm>
              <a:solidFill>
                <a:schemeClr val="accent1"/>
              </a:solidFill>
            </p:grpSpPr>
            <p:sp>
              <p:nvSpPr>
                <p:cNvPr id="504" name="Freihandform: Form 349">
                  <a:extLst>
                    <a:ext uri="{FF2B5EF4-FFF2-40B4-BE49-F238E27FC236}">
                      <a16:creationId xmlns:a16="http://schemas.microsoft.com/office/drawing/2014/main" id="{7C239AC7-0E6C-4EF2-ACCD-E4AE8B4C6D2E}"/>
                    </a:ext>
                  </a:extLst>
                </p:cNvPr>
                <p:cNvSpPr/>
                <p:nvPr/>
              </p:nvSpPr>
              <p:spPr>
                <a:xfrm>
                  <a:off x="2993541" y="2657867"/>
                  <a:ext cx="64876" cy="64876"/>
                </a:xfrm>
                <a:custGeom>
                  <a:avLst/>
                  <a:gdLst>
                    <a:gd name="connsiteX0" fmla="*/ 32438 w 64876"/>
                    <a:gd name="connsiteY0" fmla="*/ 64876 h 64876"/>
                    <a:gd name="connsiteX1" fmla="*/ 0 w 64876"/>
                    <a:gd name="connsiteY1" fmla="*/ 32438 h 64876"/>
                    <a:gd name="connsiteX2" fmla="*/ 32438 w 64876"/>
                    <a:gd name="connsiteY2" fmla="*/ 0 h 64876"/>
                    <a:gd name="connsiteX3" fmla="*/ 64876 w 64876"/>
                    <a:gd name="connsiteY3" fmla="*/ 32438 h 64876"/>
                    <a:gd name="connsiteX4" fmla="*/ 32438 w 64876"/>
                    <a:gd name="connsiteY4" fmla="*/ 64876 h 64876"/>
                    <a:gd name="connsiteX5" fmla="*/ 32438 w 64876"/>
                    <a:gd name="connsiteY5" fmla="*/ 12996 h 64876"/>
                    <a:gd name="connsiteX6" fmla="*/ 12970 w 64876"/>
                    <a:gd name="connsiteY6" fmla="*/ 32464 h 64876"/>
                    <a:gd name="connsiteX7" fmla="*/ 32438 w 64876"/>
                    <a:gd name="connsiteY7" fmla="*/ 51932 h 64876"/>
                    <a:gd name="connsiteX8" fmla="*/ 51906 w 64876"/>
                    <a:gd name="connsiteY8" fmla="*/ 32464 h 64876"/>
                    <a:gd name="connsiteX9" fmla="*/ 32438 w 64876"/>
                    <a:gd name="connsiteY9" fmla="*/ 12996 h 64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4876" h="64876">
                      <a:moveTo>
                        <a:pt x="32438" y="64876"/>
                      </a:moveTo>
                      <a:cubicBezTo>
                        <a:pt x="14549" y="64876"/>
                        <a:pt x="0" y="50327"/>
                        <a:pt x="0" y="32438"/>
                      </a:cubicBezTo>
                      <a:cubicBezTo>
                        <a:pt x="0" y="14549"/>
                        <a:pt x="14549" y="0"/>
                        <a:pt x="32438" y="0"/>
                      </a:cubicBezTo>
                      <a:cubicBezTo>
                        <a:pt x="50327" y="0"/>
                        <a:pt x="64876" y="14549"/>
                        <a:pt x="64876" y="32438"/>
                      </a:cubicBezTo>
                      <a:cubicBezTo>
                        <a:pt x="64876" y="50327"/>
                        <a:pt x="50301" y="64876"/>
                        <a:pt x="32438" y="64876"/>
                      </a:cubicBezTo>
                      <a:close/>
                      <a:moveTo>
                        <a:pt x="32438" y="12996"/>
                      </a:moveTo>
                      <a:cubicBezTo>
                        <a:pt x="21720" y="12996"/>
                        <a:pt x="12970" y="21720"/>
                        <a:pt x="12970" y="32464"/>
                      </a:cubicBezTo>
                      <a:cubicBezTo>
                        <a:pt x="12970" y="43208"/>
                        <a:pt x="21695" y="51932"/>
                        <a:pt x="32438" y="51932"/>
                      </a:cubicBezTo>
                      <a:cubicBezTo>
                        <a:pt x="43156" y="51932"/>
                        <a:pt x="51906" y="43208"/>
                        <a:pt x="51906" y="32464"/>
                      </a:cubicBezTo>
                      <a:cubicBezTo>
                        <a:pt x="51906" y="21720"/>
                        <a:pt x="43156" y="12996"/>
                        <a:pt x="32438" y="12996"/>
                      </a:cubicBezTo>
                      <a:close/>
                    </a:path>
                  </a:pathLst>
                </a:custGeom>
                <a:solidFill>
                  <a:schemeClr val="accent1"/>
                </a:solidFill>
                <a:ln w="2585" cap="flat">
                  <a:noFill/>
                  <a:prstDash val="solid"/>
                  <a:miter/>
                </a:ln>
              </p:spPr>
              <p:txBody>
                <a:bodyPr rtlCol="0" anchor="ctr"/>
                <a:lstStyle/>
                <a:p>
                  <a:endParaRPr lang="en-GB" dirty="0"/>
                </a:p>
              </p:txBody>
            </p:sp>
            <p:sp>
              <p:nvSpPr>
                <p:cNvPr id="505" name="Freihandform: Form 350">
                  <a:extLst>
                    <a:ext uri="{FF2B5EF4-FFF2-40B4-BE49-F238E27FC236}">
                      <a16:creationId xmlns:a16="http://schemas.microsoft.com/office/drawing/2014/main" id="{75C0AE86-F7C9-4426-90DB-9A9BBA601504}"/>
                    </a:ext>
                  </a:extLst>
                </p:cNvPr>
                <p:cNvSpPr/>
                <p:nvPr/>
              </p:nvSpPr>
              <p:spPr>
                <a:xfrm>
                  <a:off x="2928690" y="2683833"/>
                  <a:ext cx="71348" cy="12970"/>
                </a:xfrm>
                <a:custGeom>
                  <a:avLst/>
                  <a:gdLst>
                    <a:gd name="connsiteX0" fmla="*/ 0 w 71348"/>
                    <a:gd name="connsiteY0" fmla="*/ 0 h 12970"/>
                    <a:gd name="connsiteX1" fmla="*/ 71348 w 71348"/>
                    <a:gd name="connsiteY1" fmla="*/ 0 h 12970"/>
                    <a:gd name="connsiteX2" fmla="*/ 71348 w 71348"/>
                    <a:gd name="connsiteY2" fmla="*/ 12970 h 12970"/>
                    <a:gd name="connsiteX3" fmla="*/ 0 w 71348"/>
                    <a:gd name="connsiteY3" fmla="*/ 12970 h 12970"/>
                  </a:gdLst>
                  <a:ahLst/>
                  <a:cxnLst>
                    <a:cxn ang="0">
                      <a:pos x="connsiteX0" y="connsiteY0"/>
                    </a:cxn>
                    <a:cxn ang="0">
                      <a:pos x="connsiteX1" y="connsiteY1"/>
                    </a:cxn>
                    <a:cxn ang="0">
                      <a:pos x="connsiteX2" y="connsiteY2"/>
                    </a:cxn>
                    <a:cxn ang="0">
                      <a:pos x="connsiteX3" y="connsiteY3"/>
                    </a:cxn>
                  </a:cxnLst>
                  <a:rect l="l" t="t" r="r" b="b"/>
                  <a:pathLst>
                    <a:path w="71348" h="12970">
                      <a:moveTo>
                        <a:pt x="0" y="0"/>
                      </a:moveTo>
                      <a:lnTo>
                        <a:pt x="71348" y="0"/>
                      </a:lnTo>
                      <a:lnTo>
                        <a:pt x="71348" y="12970"/>
                      </a:lnTo>
                      <a:lnTo>
                        <a:pt x="0" y="12970"/>
                      </a:lnTo>
                      <a:close/>
                    </a:path>
                  </a:pathLst>
                </a:custGeom>
                <a:solidFill>
                  <a:schemeClr val="accent1"/>
                </a:solidFill>
                <a:ln w="2585" cap="flat">
                  <a:noFill/>
                  <a:prstDash val="solid"/>
                  <a:miter/>
                </a:ln>
              </p:spPr>
              <p:txBody>
                <a:bodyPr rtlCol="0" anchor="ctr"/>
                <a:lstStyle/>
                <a:p>
                  <a:endParaRPr lang="en-GB" dirty="0"/>
                </a:p>
              </p:txBody>
            </p:sp>
          </p:grpSp>
          <p:grpSp>
            <p:nvGrpSpPr>
              <p:cNvPr id="492" name="Grafik 168">
                <a:extLst>
                  <a:ext uri="{FF2B5EF4-FFF2-40B4-BE49-F238E27FC236}">
                    <a16:creationId xmlns:a16="http://schemas.microsoft.com/office/drawing/2014/main" id="{3A266909-7C2E-41CF-AEA6-6E680AF4A939}"/>
                  </a:ext>
                </a:extLst>
              </p:cNvPr>
              <p:cNvGrpSpPr/>
              <p:nvPr/>
            </p:nvGrpSpPr>
            <p:grpSpPr>
              <a:xfrm>
                <a:off x="2891469" y="2508724"/>
                <a:ext cx="82422" cy="82414"/>
                <a:chOff x="2891469" y="2508724"/>
                <a:chExt cx="82422" cy="82414"/>
              </a:xfrm>
              <a:solidFill>
                <a:schemeClr val="accent1"/>
              </a:solidFill>
            </p:grpSpPr>
            <p:sp>
              <p:nvSpPr>
                <p:cNvPr id="502" name="Freihandform: Form 352">
                  <a:extLst>
                    <a:ext uri="{FF2B5EF4-FFF2-40B4-BE49-F238E27FC236}">
                      <a16:creationId xmlns:a16="http://schemas.microsoft.com/office/drawing/2014/main" id="{97E21C51-1393-40E0-A05C-45B2963A8008}"/>
                    </a:ext>
                  </a:extLst>
                </p:cNvPr>
                <p:cNvSpPr/>
                <p:nvPr/>
              </p:nvSpPr>
              <p:spPr>
                <a:xfrm>
                  <a:off x="2909067" y="2508724"/>
                  <a:ext cx="64824" cy="64850"/>
                </a:xfrm>
                <a:custGeom>
                  <a:avLst/>
                  <a:gdLst>
                    <a:gd name="connsiteX0" fmla="*/ 32412 w 64824"/>
                    <a:gd name="connsiteY0" fmla="*/ 64851 h 64850"/>
                    <a:gd name="connsiteX1" fmla="*/ 9475 w 64824"/>
                    <a:gd name="connsiteY1" fmla="*/ 55349 h 64850"/>
                    <a:gd name="connsiteX2" fmla="*/ 9475 w 64824"/>
                    <a:gd name="connsiteY2" fmla="*/ 9501 h 64850"/>
                    <a:gd name="connsiteX3" fmla="*/ 9475 w 64824"/>
                    <a:gd name="connsiteY3" fmla="*/ 9501 h 64850"/>
                    <a:gd name="connsiteX4" fmla="*/ 9475 w 64824"/>
                    <a:gd name="connsiteY4" fmla="*/ 9501 h 64850"/>
                    <a:gd name="connsiteX5" fmla="*/ 32412 w 64824"/>
                    <a:gd name="connsiteY5" fmla="*/ 0 h 64850"/>
                    <a:gd name="connsiteX6" fmla="*/ 55349 w 64824"/>
                    <a:gd name="connsiteY6" fmla="*/ 9501 h 64850"/>
                    <a:gd name="connsiteX7" fmla="*/ 55349 w 64824"/>
                    <a:gd name="connsiteY7" fmla="*/ 55349 h 64850"/>
                    <a:gd name="connsiteX8" fmla="*/ 32412 w 64824"/>
                    <a:gd name="connsiteY8" fmla="*/ 64851 h 64850"/>
                    <a:gd name="connsiteX9" fmla="*/ 32412 w 64824"/>
                    <a:gd name="connsiteY9" fmla="*/ 12970 h 64850"/>
                    <a:gd name="connsiteX10" fmla="*/ 18666 w 64824"/>
                    <a:gd name="connsiteY10" fmla="*/ 18666 h 64850"/>
                    <a:gd name="connsiteX11" fmla="*/ 18666 w 64824"/>
                    <a:gd name="connsiteY11" fmla="*/ 18666 h 64850"/>
                    <a:gd name="connsiteX12" fmla="*/ 18666 w 64824"/>
                    <a:gd name="connsiteY12" fmla="*/ 46185 h 64850"/>
                    <a:gd name="connsiteX13" fmla="*/ 46185 w 64824"/>
                    <a:gd name="connsiteY13" fmla="*/ 46185 h 64850"/>
                    <a:gd name="connsiteX14" fmla="*/ 46185 w 64824"/>
                    <a:gd name="connsiteY14" fmla="*/ 18666 h 64850"/>
                    <a:gd name="connsiteX15" fmla="*/ 32412 w 64824"/>
                    <a:gd name="connsiteY15" fmla="*/ 12970 h 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824" h="64850">
                      <a:moveTo>
                        <a:pt x="32412" y="64851"/>
                      </a:moveTo>
                      <a:cubicBezTo>
                        <a:pt x="23740" y="64851"/>
                        <a:pt x="15611" y="61485"/>
                        <a:pt x="9475" y="55349"/>
                      </a:cubicBezTo>
                      <a:cubicBezTo>
                        <a:pt x="-3158" y="42716"/>
                        <a:pt x="-3158" y="22135"/>
                        <a:pt x="9475" y="9501"/>
                      </a:cubicBezTo>
                      <a:lnTo>
                        <a:pt x="9475" y="9501"/>
                      </a:lnTo>
                      <a:lnTo>
                        <a:pt x="9475" y="9501"/>
                      </a:lnTo>
                      <a:cubicBezTo>
                        <a:pt x="15611" y="3366"/>
                        <a:pt x="23740" y="0"/>
                        <a:pt x="32412" y="0"/>
                      </a:cubicBezTo>
                      <a:cubicBezTo>
                        <a:pt x="41085" y="0"/>
                        <a:pt x="49214" y="3366"/>
                        <a:pt x="55349" y="9501"/>
                      </a:cubicBezTo>
                      <a:cubicBezTo>
                        <a:pt x="67983" y="22135"/>
                        <a:pt x="67983" y="42716"/>
                        <a:pt x="55349" y="55349"/>
                      </a:cubicBezTo>
                      <a:cubicBezTo>
                        <a:pt x="49214" y="61485"/>
                        <a:pt x="41059" y="64851"/>
                        <a:pt x="32412" y="64851"/>
                      </a:cubicBezTo>
                      <a:close/>
                      <a:moveTo>
                        <a:pt x="32412" y="12970"/>
                      </a:moveTo>
                      <a:cubicBezTo>
                        <a:pt x="27209" y="12970"/>
                        <a:pt x="22342" y="14989"/>
                        <a:pt x="18666" y="18666"/>
                      </a:cubicBezTo>
                      <a:lnTo>
                        <a:pt x="18666" y="18666"/>
                      </a:lnTo>
                      <a:cubicBezTo>
                        <a:pt x="11080" y="26251"/>
                        <a:pt x="11080" y="38600"/>
                        <a:pt x="18666" y="46185"/>
                      </a:cubicBezTo>
                      <a:cubicBezTo>
                        <a:pt x="26018" y="53537"/>
                        <a:pt x="38833" y="53537"/>
                        <a:pt x="46185" y="46185"/>
                      </a:cubicBezTo>
                      <a:cubicBezTo>
                        <a:pt x="53770" y="38600"/>
                        <a:pt x="53770" y="26251"/>
                        <a:pt x="46185" y="18666"/>
                      </a:cubicBezTo>
                      <a:cubicBezTo>
                        <a:pt x="42483" y="14989"/>
                        <a:pt x="37616" y="12970"/>
                        <a:pt x="32412" y="12970"/>
                      </a:cubicBezTo>
                      <a:close/>
                    </a:path>
                  </a:pathLst>
                </a:custGeom>
                <a:solidFill>
                  <a:schemeClr val="accent1"/>
                </a:solidFill>
                <a:ln w="2585" cap="flat">
                  <a:noFill/>
                  <a:prstDash val="solid"/>
                  <a:miter/>
                </a:ln>
              </p:spPr>
              <p:txBody>
                <a:bodyPr rtlCol="0" anchor="ctr"/>
                <a:lstStyle/>
                <a:p>
                  <a:endParaRPr lang="en-GB" dirty="0"/>
                </a:p>
              </p:txBody>
            </p:sp>
            <p:sp>
              <p:nvSpPr>
                <p:cNvPr id="503" name="Freihandform: Form 353">
                  <a:extLst>
                    <a:ext uri="{FF2B5EF4-FFF2-40B4-BE49-F238E27FC236}">
                      <a16:creationId xmlns:a16="http://schemas.microsoft.com/office/drawing/2014/main" id="{74A70CA4-389F-4DCF-B330-63D82CF93746}"/>
                    </a:ext>
                  </a:extLst>
                </p:cNvPr>
                <p:cNvSpPr/>
                <p:nvPr/>
              </p:nvSpPr>
              <p:spPr>
                <a:xfrm rot="-2700000">
                  <a:off x="2890451" y="2566540"/>
                  <a:ext cx="38262" cy="12969"/>
                </a:xfrm>
                <a:custGeom>
                  <a:avLst/>
                  <a:gdLst>
                    <a:gd name="connsiteX0" fmla="*/ 0 w 38262"/>
                    <a:gd name="connsiteY0" fmla="*/ 0 h 12969"/>
                    <a:gd name="connsiteX1" fmla="*/ 38263 w 38262"/>
                    <a:gd name="connsiteY1" fmla="*/ 0 h 12969"/>
                    <a:gd name="connsiteX2" fmla="*/ 38263 w 38262"/>
                    <a:gd name="connsiteY2" fmla="*/ 12970 h 12969"/>
                    <a:gd name="connsiteX3" fmla="*/ 0 w 38262"/>
                    <a:gd name="connsiteY3" fmla="*/ 12970 h 12969"/>
                  </a:gdLst>
                  <a:ahLst/>
                  <a:cxnLst>
                    <a:cxn ang="0">
                      <a:pos x="connsiteX0" y="connsiteY0"/>
                    </a:cxn>
                    <a:cxn ang="0">
                      <a:pos x="connsiteX1" y="connsiteY1"/>
                    </a:cxn>
                    <a:cxn ang="0">
                      <a:pos x="connsiteX2" y="connsiteY2"/>
                    </a:cxn>
                    <a:cxn ang="0">
                      <a:pos x="connsiteX3" y="connsiteY3"/>
                    </a:cxn>
                  </a:cxnLst>
                  <a:rect l="l" t="t" r="r" b="b"/>
                  <a:pathLst>
                    <a:path w="38262" h="12969">
                      <a:moveTo>
                        <a:pt x="0" y="0"/>
                      </a:moveTo>
                      <a:lnTo>
                        <a:pt x="38263" y="0"/>
                      </a:lnTo>
                      <a:lnTo>
                        <a:pt x="38263" y="12970"/>
                      </a:lnTo>
                      <a:lnTo>
                        <a:pt x="0" y="12970"/>
                      </a:lnTo>
                      <a:close/>
                    </a:path>
                  </a:pathLst>
                </a:custGeom>
                <a:solidFill>
                  <a:schemeClr val="accent1"/>
                </a:solidFill>
                <a:ln w="2585" cap="flat">
                  <a:noFill/>
                  <a:prstDash val="solid"/>
                  <a:miter/>
                </a:ln>
              </p:spPr>
              <p:txBody>
                <a:bodyPr rtlCol="0" anchor="ctr"/>
                <a:lstStyle/>
                <a:p>
                  <a:endParaRPr lang="en-GB" dirty="0"/>
                </a:p>
              </p:txBody>
            </p:sp>
          </p:grpSp>
          <p:grpSp>
            <p:nvGrpSpPr>
              <p:cNvPr id="493" name="Grafik 168">
                <a:extLst>
                  <a:ext uri="{FF2B5EF4-FFF2-40B4-BE49-F238E27FC236}">
                    <a16:creationId xmlns:a16="http://schemas.microsoft.com/office/drawing/2014/main" id="{C73EA7C3-CB9F-4619-A5DD-1640156D9D66}"/>
                  </a:ext>
                </a:extLst>
              </p:cNvPr>
              <p:cNvGrpSpPr/>
              <p:nvPr/>
            </p:nvGrpSpPr>
            <p:grpSpPr>
              <a:xfrm>
                <a:off x="2578524" y="2821987"/>
                <a:ext cx="82386" cy="82337"/>
                <a:chOff x="2578524" y="2821987"/>
                <a:chExt cx="82386" cy="82337"/>
              </a:xfrm>
              <a:solidFill>
                <a:schemeClr val="accent1"/>
              </a:solidFill>
            </p:grpSpPr>
            <p:sp>
              <p:nvSpPr>
                <p:cNvPr id="500" name="Freihandform: Form 355">
                  <a:extLst>
                    <a:ext uri="{FF2B5EF4-FFF2-40B4-BE49-F238E27FC236}">
                      <a16:creationId xmlns:a16="http://schemas.microsoft.com/office/drawing/2014/main" id="{66B0AB65-3800-4D10-B05A-292430887F6B}"/>
                    </a:ext>
                  </a:extLst>
                </p:cNvPr>
                <p:cNvSpPr/>
                <p:nvPr/>
              </p:nvSpPr>
              <p:spPr>
                <a:xfrm>
                  <a:off x="2578524" y="2839474"/>
                  <a:ext cx="64824" cy="64850"/>
                </a:xfrm>
                <a:custGeom>
                  <a:avLst/>
                  <a:gdLst>
                    <a:gd name="connsiteX0" fmla="*/ 32412 w 64824"/>
                    <a:gd name="connsiteY0" fmla="*/ 64850 h 64850"/>
                    <a:gd name="connsiteX1" fmla="*/ 9475 w 64824"/>
                    <a:gd name="connsiteY1" fmla="*/ 55349 h 64850"/>
                    <a:gd name="connsiteX2" fmla="*/ 9475 w 64824"/>
                    <a:gd name="connsiteY2" fmla="*/ 9501 h 64850"/>
                    <a:gd name="connsiteX3" fmla="*/ 32412 w 64824"/>
                    <a:gd name="connsiteY3" fmla="*/ 0 h 64850"/>
                    <a:gd name="connsiteX4" fmla="*/ 55349 w 64824"/>
                    <a:gd name="connsiteY4" fmla="*/ 9501 h 64850"/>
                    <a:gd name="connsiteX5" fmla="*/ 55349 w 64824"/>
                    <a:gd name="connsiteY5" fmla="*/ 55349 h 64850"/>
                    <a:gd name="connsiteX6" fmla="*/ 55349 w 64824"/>
                    <a:gd name="connsiteY6" fmla="*/ 55349 h 64850"/>
                    <a:gd name="connsiteX7" fmla="*/ 55349 w 64824"/>
                    <a:gd name="connsiteY7" fmla="*/ 55349 h 64850"/>
                    <a:gd name="connsiteX8" fmla="*/ 32412 w 64824"/>
                    <a:gd name="connsiteY8" fmla="*/ 64850 h 64850"/>
                    <a:gd name="connsiteX9" fmla="*/ 32412 w 64824"/>
                    <a:gd name="connsiteY9" fmla="*/ 12970 h 64850"/>
                    <a:gd name="connsiteX10" fmla="*/ 18666 w 64824"/>
                    <a:gd name="connsiteY10" fmla="*/ 18666 h 64850"/>
                    <a:gd name="connsiteX11" fmla="*/ 18666 w 64824"/>
                    <a:gd name="connsiteY11" fmla="*/ 46185 h 64850"/>
                    <a:gd name="connsiteX12" fmla="*/ 46185 w 64824"/>
                    <a:gd name="connsiteY12" fmla="*/ 46185 h 64850"/>
                    <a:gd name="connsiteX13" fmla="*/ 46185 w 64824"/>
                    <a:gd name="connsiteY13" fmla="*/ 46185 h 64850"/>
                    <a:gd name="connsiteX14" fmla="*/ 46185 w 64824"/>
                    <a:gd name="connsiteY14" fmla="*/ 18666 h 64850"/>
                    <a:gd name="connsiteX15" fmla="*/ 32412 w 64824"/>
                    <a:gd name="connsiteY15" fmla="*/ 12970 h 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824" h="64850">
                      <a:moveTo>
                        <a:pt x="32412" y="64850"/>
                      </a:moveTo>
                      <a:cubicBezTo>
                        <a:pt x="23740" y="64850"/>
                        <a:pt x="15611" y="61485"/>
                        <a:pt x="9475" y="55349"/>
                      </a:cubicBezTo>
                      <a:cubicBezTo>
                        <a:pt x="-3158" y="42716"/>
                        <a:pt x="-3158" y="22135"/>
                        <a:pt x="9475" y="9501"/>
                      </a:cubicBezTo>
                      <a:cubicBezTo>
                        <a:pt x="15611" y="3365"/>
                        <a:pt x="23740" y="0"/>
                        <a:pt x="32412" y="0"/>
                      </a:cubicBezTo>
                      <a:cubicBezTo>
                        <a:pt x="41085" y="0"/>
                        <a:pt x="49214" y="3365"/>
                        <a:pt x="55349" y="9501"/>
                      </a:cubicBezTo>
                      <a:cubicBezTo>
                        <a:pt x="67983" y="22135"/>
                        <a:pt x="67983" y="42716"/>
                        <a:pt x="55349" y="55349"/>
                      </a:cubicBezTo>
                      <a:lnTo>
                        <a:pt x="55349" y="55349"/>
                      </a:lnTo>
                      <a:lnTo>
                        <a:pt x="55349" y="55349"/>
                      </a:lnTo>
                      <a:cubicBezTo>
                        <a:pt x="49214" y="61485"/>
                        <a:pt x="41059" y="64850"/>
                        <a:pt x="32412" y="64850"/>
                      </a:cubicBezTo>
                      <a:close/>
                      <a:moveTo>
                        <a:pt x="32412" y="12970"/>
                      </a:moveTo>
                      <a:cubicBezTo>
                        <a:pt x="27209" y="12970"/>
                        <a:pt x="22342" y="14989"/>
                        <a:pt x="18666" y="18666"/>
                      </a:cubicBezTo>
                      <a:cubicBezTo>
                        <a:pt x="11080" y="26251"/>
                        <a:pt x="11080" y="38600"/>
                        <a:pt x="18666" y="46185"/>
                      </a:cubicBezTo>
                      <a:cubicBezTo>
                        <a:pt x="26018" y="53537"/>
                        <a:pt x="38833" y="53537"/>
                        <a:pt x="46185" y="46185"/>
                      </a:cubicBezTo>
                      <a:lnTo>
                        <a:pt x="46185" y="46185"/>
                      </a:lnTo>
                      <a:cubicBezTo>
                        <a:pt x="53770" y="38600"/>
                        <a:pt x="53770" y="26251"/>
                        <a:pt x="46185" y="18666"/>
                      </a:cubicBezTo>
                      <a:cubicBezTo>
                        <a:pt x="42483" y="14989"/>
                        <a:pt x="37590" y="12970"/>
                        <a:pt x="32412" y="12970"/>
                      </a:cubicBezTo>
                      <a:close/>
                    </a:path>
                  </a:pathLst>
                </a:custGeom>
                <a:solidFill>
                  <a:schemeClr val="accent1"/>
                </a:solidFill>
                <a:ln w="2585" cap="flat">
                  <a:noFill/>
                  <a:prstDash val="solid"/>
                  <a:miter/>
                </a:ln>
              </p:spPr>
              <p:txBody>
                <a:bodyPr rtlCol="0" anchor="ctr"/>
                <a:lstStyle/>
                <a:p>
                  <a:endParaRPr lang="en-GB" dirty="0"/>
                </a:p>
              </p:txBody>
            </p:sp>
            <p:sp>
              <p:nvSpPr>
                <p:cNvPr id="501" name="Freihandform: Form 356">
                  <a:extLst>
                    <a:ext uri="{FF2B5EF4-FFF2-40B4-BE49-F238E27FC236}">
                      <a16:creationId xmlns:a16="http://schemas.microsoft.com/office/drawing/2014/main" id="{C696FBED-6864-4B75-9583-AC936A891EBF}"/>
                    </a:ext>
                  </a:extLst>
                </p:cNvPr>
                <p:cNvSpPr/>
                <p:nvPr/>
              </p:nvSpPr>
              <p:spPr>
                <a:xfrm rot="-2700000">
                  <a:off x="2623665" y="2833616"/>
                  <a:ext cx="38262" cy="12969"/>
                </a:xfrm>
                <a:custGeom>
                  <a:avLst/>
                  <a:gdLst>
                    <a:gd name="connsiteX0" fmla="*/ 0 w 38262"/>
                    <a:gd name="connsiteY0" fmla="*/ 0 h 12969"/>
                    <a:gd name="connsiteX1" fmla="*/ 38263 w 38262"/>
                    <a:gd name="connsiteY1" fmla="*/ 0 h 12969"/>
                    <a:gd name="connsiteX2" fmla="*/ 38263 w 38262"/>
                    <a:gd name="connsiteY2" fmla="*/ 12970 h 12969"/>
                    <a:gd name="connsiteX3" fmla="*/ 0 w 38262"/>
                    <a:gd name="connsiteY3" fmla="*/ 12970 h 12969"/>
                  </a:gdLst>
                  <a:ahLst/>
                  <a:cxnLst>
                    <a:cxn ang="0">
                      <a:pos x="connsiteX0" y="connsiteY0"/>
                    </a:cxn>
                    <a:cxn ang="0">
                      <a:pos x="connsiteX1" y="connsiteY1"/>
                    </a:cxn>
                    <a:cxn ang="0">
                      <a:pos x="connsiteX2" y="connsiteY2"/>
                    </a:cxn>
                    <a:cxn ang="0">
                      <a:pos x="connsiteX3" y="connsiteY3"/>
                    </a:cxn>
                  </a:cxnLst>
                  <a:rect l="l" t="t" r="r" b="b"/>
                  <a:pathLst>
                    <a:path w="38262" h="12969">
                      <a:moveTo>
                        <a:pt x="0" y="0"/>
                      </a:moveTo>
                      <a:lnTo>
                        <a:pt x="38263" y="0"/>
                      </a:lnTo>
                      <a:lnTo>
                        <a:pt x="38263" y="12970"/>
                      </a:lnTo>
                      <a:lnTo>
                        <a:pt x="0" y="12970"/>
                      </a:lnTo>
                      <a:close/>
                    </a:path>
                  </a:pathLst>
                </a:custGeom>
                <a:solidFill>
                  <a:schemeClr val="accent1"/>
                </a:solidFill>
                <a:ln w="2585" cap="flat">
                  <a:noFill/>
                  <a:prstDash val="solid"/>
                  <a:miter/>
                </a:ln>
              </p:spPr>
              <p:txBody>
                <a:bodyPr rtlCol="0" anchor="ctr"/>
                <a:lstStyle/>
                <a:p>
                  <a:endParaRPr lang="en-GB" dirty="0"/>
                </a:p>
              </p:txBody>
            </p:sp>
          </p:grpSp>
          <p:grpSp>
            <p:nvGrpSpPr>
              <p:cNvPr id="494" name="Grafik 168">
                <a:extLst>
                  <a:ext uri="{FF2B5EF4-FFF2-40B4-BE49-F238E27FC236}">
                    <a16:creationId xmlns:a16="http://schemas.microsoft.com/office/drawing/2014/main" id="{2E5EA50E-89E7-477C-A369-3DFF3C6E166E}"/>
                  </a:ext>
                </a:extLst>
              </p:cNvPr>
              <p:cNvGrpSpPr/>
              <p:nvPr/>
            </p:nvGrpSpPr>
            <p:grpSpPr>
              <a:xfrm>
                <a:off x="2924105" y="2822028"/>
                <a:ext cx="82405" cy="82296"/>
                <a:chOff x="2924105" y="2822028"/>
                <a:chExt cx="82405" cy="82296"/>
              </a:xfrm>
              <a:solidFill>
                <a:schemeClr val="accent1"/>
              </a:solidFill>
            </p:grpSpPr>
            <p:sp>
              <p:nvSpPr>
                <p:cNvPr id="498" name="Freihandform: Form 358">
                  <a:extLst>
                    <a:ext uri="{FF2B5EF4-FFF2-40B4-BE49-F238E27FC236}">
                      <a16:creationId xmlns:a16="http://schemas.microsoft.com/office/drawing/2014/main" id="{C8DADC10-E7F7-4249-BD26-ADAAC199486B}"/>
                    </a:ext>
                  </a:extLst>
                </p:cNvPr>
                <p:cNvSpPr/>
                <p:nvPr/>
              </p:nvSpPr>
              <p:spPr>
                <a:xfrm>
                  <a:off x="2941686" y="2839474"/>
                  <a:ext cx="64824" cy="64850"/>
                </a:xfrm>
                <a:custGeom>
                  <a:avLst/>
                  <a:gdLst>
                    <a:gd name="connsiteX0" fmla="*/ 32412 w 64824"/>
                    <a:gd name="connsiteY0" fmla="*/ 64850 h 64850"/>
                    <a:gd name="connsiteX1" fmla="*/ 9475 w 64824"/>
                    <a:gd name="connsiteY1" fmla="*/ 55349 h 64850"/>
                    <a:gd name="connsiteX2" fmla="*/ 9475 w 64824"/>
                    <a:gd name="connsiteY2" fmla="*/ 55349 h 64850"/>
                    <a:gd name="connsiteX3" fmla="*/ 9475 w 64824"/>
                    <a:gd name="connsiteY3" fmla="*/ 55349 h 64850"/>
                    <a:gd name="connsiteX4" fmla="*/ 9475 w 64824"/>
                    <a:gd name="connsiteY4" fmla="*/ 9501 h 64850"/>
                    <a:gd name="connsiteX5" fmla="*/ 32412 w 64824"/>
                    <a:gd name="connsiteY5" fmla="*/ 0 h 64850"/>
                    <a:gd name="connsiteX6" fmla="*/ 55349 w 64824"/>
                    <a:gd name="connsiteY6" fmla="*/ 9501 h 64850"/>
                    <a:gd name="connsiteX7" fmla="*/ 55349 w 64824"/>
                    <a:gd name="connsiteY7" fmla="*/ 55349 h 64850"/>
                    <a:gd name="connsiteX8" fmla="*/ 32412 w 64824"/>
                    <a:gd name="connsiteY8" fmla="*/ 64850 h 64850"/>
                    <a:gd name="connsiteX9" fmla="*/ 32412 w 64824"/>
                    <a:gd name="connsiteY9" fmla="*/ 12970 h 64850"/>
                    <a:gd name="connsiteX10" fmla="*/ 18666 w 64824"/>
                    <a:gd name="connsiteY10" fmla="*/ 18666 h 64850"/>
                    <a:gd name="connsiteX11" fmla="*/ 18666 w 64824"/>
                    <a:gd name="connsiteY11" fmla="*/ 46185 h 64850"/>
                    <a:gd name="connsiteX12" fmla="*/ 18666 w 64824"/>
                    <a:gd name="connsiteY12" fmla="*/ 46185 h 64850"/>
                    <a:gd name="connsiteX13" fmla="*/ 46185 w 64824"/>
                    <a:gd name="connsiteY13" fmla="*/ 46185 h 64850"/>
                    <a:gd name="connsiteX14" fmla="*/ 46185 w 64824"/>
                    <a:gd name="connsiteY14" fmla="*/ 18666 h 64850"/>
                    <a:gd name="connsiteX15" fmla="*/ 32412 w 64824"/>
                    <a:gd name="connsiteY15" fmla="*/ 12970 h 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824" h="64850">
                      <a:moveTo>
                        <a:pt x="32412" y="64850"/>
                      </a:moveTo>
                      <a:cubicBezTo>
                        <a:pt x="23740" y="64850"/>
                        <a:pt x="15611" y="61485"/>
                        <a:pt x="9475" y="55349"/>
                      </a:cubicBezTo>
                      <a:lnTo>
                        <a:pt x="9475" y="55349"/>
                      </a:lnTo>
                      <a:lnTo>
                        <a:pt x="9475" y="55349"/>
                      </a:lnTo>
                      <a:cubicBezTo>
                        <a:pt x="-3158" y="42716"/>
                        <a:pt x="-3158" y="22135"/>
                        <a:pt x="9475" y="9501"/>
                      </a:cubicBezTo>
                      <a:cubicBezTo>
                        <a:pt x="15611" y="3365"/>
                        <a:pt x="23740" y="0"/>
                        <a:pt x="32412" y="0"/>
                      </a:cubicBezTo>
                      <a:cubicBezTo>
                        <a:pt x="41085" y="0"/>
                        <a:pt x="49214" y="3365"/>
                        <a:pt x="55349" y="9501"/>
                      </a:cubicBezTo>
                      <a:cubicBezTo>
                        <a:pt x="67983" y="22135"/>
                        <a:pt x="67983" y="42716"/>
                        <a:pt x="55349" y="55349"/>
                      </a:cubicBezTo>
                      <a:cubicBezTo>
                        <a:pt x="49214" y="61485"/>
                        <a:pt x="41059" y="64850"/>
                        <a:pt x="32412" y="64850"/>
                      </a:cubicBezTo>
                      <a:close/>
                      <a:moveTo>
                        <a:pt x="32412" y="12970"/>
                      </a:moveTo>
                      <a:cubicBezTo>
                        <a:pt x="27209" y="12970"/>
                        <a:pt x="22342" y="14989"/>
                        <a:pt x="18666" y="18666"/>
                      </a:cubicBezTo>
                      <a:cubicBezTo>
                        <a:pt x="11080" y="26251"/>
                        <a:pt x="11080" y="38600"/>
                        <a:pt x="18666" y="46185"/>
                      </a:cubicBezTo>
                      <a:lnTo>
                        <a:pt x="18666" y="46185"/>
                      </a:lnTo>
                      <a:cubicBezTo>
                        <a:pt x="26018" y="53537"/>
                        <a:pt x="38833" y="53537"/>
                        <a:pt x="46185" y="46185"/>
                      </a:cubicBezTo>
                      <a:cubicBezTo>
                        <a:pt x="53770" y="38600"/>
                        <a:pt x="53770" y="26251"/>
                        <a:pt x="46185" y="18666"/>
                      </a:cubicBezTo>
                      <a:cubicBezTo>
                        <a:pt x="42483" y="14989"/>
                        <a:pt x="37590" y="12970"/>
                        <a:pt x="32412" y="12970"/>
                      </a:cubicBezTo>
                      <a:close/>
                    </a:path>
                  </a:pathLst>
                </a:custGeom>
                <a:solidFill>
                  <a:schemeClr val="accent1"/>
                </a:solidFill>
                <a:ln w="2585" cap="flat">
                  <a:noFill/>
                  <a:prstDash val="solid"/>
                  <a:miter/>
                </a:ln>
              </p:spPr>
              <p:txBody>
                <a:bodyPr rtlCol="0" anchor="ctr"/>
                <a:lstStyle/>
                <a:p>
                  <a:endParaRPr lang="en-GB" dirty="0"/>
                </a:p>
              </p:txBody>
            </p:sp>
            <p:sp>
              <p:nvSpPr>
                <p:cNvPr id="499" name="Freihandform: Form 359">
                  <a:extLst>
                    <a:ext uri="{FF2B5EF4-FFF2-40B4-BE49-F238E27FC236}">
                      <a16:creationId xmlns:a16="http://schemas.microsoft.com/office/drawing/2014/main" id="{04AA0111-4366-43FB-9E1F-4598447DDDF0}"/>
                    </a:ext>
                  </a:extLst>
                </p:cNvPr>
                <p:cNvSpPr/>
                <p:nvPr/>
              </p:nvSpPr>
              <p:spPr>
                <a:xfrm rot="-2700000">
                  <a:off x="2935734" y="2821010"/>
                  <a:ext cx="12969" cy="38262"/>
                </a:xfrm>
                <a:custGeom>
                  <a:avLst/>
                  <a:gdLst>
                    <a:gd name="connsiteX0" fmla="*/ 0 w 12969"/>
                    <a:gd name="connsiteY0" fmla="*/ 0 h 38262"/>
                    <a:gd name="connsiteX1" fmla="*/ 12970 w 12969"/>
                    <a:gd name="connsiteY1" fmla="*/ 0 h 38262"/>
                    <a:gd name="connsiteX2" fmla="*/ 12970 w 12969"/>
                    <a:gd name="connsiteY2" fmla="*/ 38263 h 38262"/>
                    <a:gd name="connsiteX3" fmla="*/ 0 w 12969"/>
                    <a:gd name="connsiteY3" fmla="*/ 38263 h 38262"/>
                  </a:gdLst>
                  <a:ahLst/>
                  <a:cxnLst>
                    <a:cxn ang="0">
                      <a:pos x="connsiteX0" y="connsiteY0"/>
                    </a:cxn>
                    <a:cxn ang="0">
                      <a:pos x="connsiteX1" y="connsiteY1"/>
                    </a:cxn>
                    <a:cxn ang="0">
                      <a:pos x="connsiteX2" y="connsiteY2"/>
                    </a:cxn>
                    <a:cxn ang="0">
                      <a:pos x="connsiteX3" y="connsiteY3"/>
                    </a:cxn>
                  </a:cxnLst>
                  <a:rect l="l" t="t" r="r" b="b"/>
                  <a:pathLst>
                    <a:path w="12969" h="38262">
                      <a:moveTo>
                        <a:pt x="0" y="0"/>
                      </a:moveTo>
                      <a:lnTo>
                        <a:pt x="12970" y="0"/>
                      </a:lnTo>
                      <a:lnTo>
                        <a:pt x="12970" y="38263"/>
                      </a:lnTo>
                      <a:lnTo>
                        <a:pt x="0" y="38263"/>
                      </a:lnTo>
                      <a:close/>
                    </a:path>
                  </a:pathLst>
                </a:custGeom>
                <a:solidFill>
                  <a:schemeClr val="accent1"/>
                </a:solidFill>
                <a:ln w="2585" cap="flat">
                  <a:noFill/>
                  <a:prstDash val="solid"/>
                  <a:miter/>
                </a:ln>
              </p:spPr>
              <p:txBody>
                <a:bodyPr rtlCol="0" anchor="ctr"/>
                <a:lstStyle/>
                <a:p>
                  <a:endParaRPr lang="en-GB" dirty="0"/>
                </a:p>
              </p:txBody>
            </p:sp>
          </p:grpSp>
          <p:grpSp>
            <p:nvGrpSpPr>
              <p:cNvPr id="495" name="Grafik 168">
                <a:extLst>
                  <a:ext uri="{FF2B5EF4-FFF2-40B4-BE49-F238E27FC236}">
                    <a16:creationId xmlns:a16="http://schemas.microsoft.com/office/drawing/2014/main" id="{EC215A84-1D3F-40CD-8C31-76A51B1DBB5B}"/>
                  </a:ext>
                </a:extLst>
              </p:cNvPr>
              <p:cNvGrpSpPr/>
              <p:nvPr/>
            </p:nvGrpSpPr>
            <p:grpSpPr>
              <a:xfrm>
                <a:off x="2610936" y="2508724"/>
                <a:ext cx="82426" cy="82536"/>
                <a:chOff x="2610936" y="2508724"/>
                <a:chExt cx="82426" cy="82536"/>
              </a:xfrm>
              <a:solidFill>
                <a:schemeClr val="accent1"/>
              </a:solidFill>
            </p:grpSpPr>
            <p:sp>
              <p:nvSpPr>
                <p:cNvPr id="496" name="Freihandform: Form 361">
                  <a:extLst>
                    <a:ext uri="{FF2B5EF4-FFF2-40B4-BE49-F238E27FC236}">
                      <a16:creationId xmlns:a16="http://schemas.microsoft.com/office/drawing/2014/main" id="{87271F0E-363B-42EE-88FB-A91EC10A2BE6}"/>
                    </a:ext>
                  </a:extLst>
                </p:cNvPr>
                <p:cNvSpPr/>
                <p:nvPr/>
              </p:nvSpPr>
              <p:spPr>
                <a:xfrm>
                  <a:off x="2610936" y="2508724"/>
                  <a:ext cx="64824" cy="64850"/>
                </a:xfrm>
                <a:custGeom>
                  <a:avLst/>
                  <a:gdLst>
                    <a:gd name="connsiteX0" fmla="*/ 32412 w 64824"/>
                    <a:gd name="connsiteY0" fmla="*/ 64851 h 64850"/>
                    <a:gd name="connsiteX1" fmla="*/ 9475 w 64824"/>
                    <a:gd name="connsiteY1" fmla="*/ 55349 h 64850"/>
                    <a:gd name="connsiteX2" fmla="*/ 9475 w 64824"/>
                    <a:gd name="connsiteY2" fmla="*/ 9501 h 64850"/>
                    <a:gd name="connsiteX3" fmla="*/ 32412 w 64824"/>
                    <a:gd name="connsiteY3" fmla="*/ 0 h 64850"/>
                    <a:gd name="connsiteX4" fmla="*/ 55350 w 64824"/>
                    <a:gd name="connsiteY4" fmla="*/ 9501 h 64850"/>
                    <a:gd name="connsiteX5" fmla="*/ 55350 w 64824"/>
                    <a:gd name="connsiteY5" fmla="*/ 9501 h 64850"/>
                    <a:gd name="connsiteX6" fmla="*/ 55350 w 64824"/>
                    <a:gd name="connsiteY6" fmla="*/ 9501 h 64850"/>
                    <a:gd name="connsiteX7" fmla="*/ 55350 w 64824"/>
                    <a:gd name="connsiteY7" fmla="*/ 55349 h 64850"/>
                    <a:gd name="connsiteX8" fmla="*/ 32412 w 64824"/>
                    <a:gd name="connsiteY8" fmla="*/ 64851 h 64850"/>
                    <a:gd name="connsiteX9" fmla="*/ 32412 w 64824"/>
                    <a:gd name="connsiteY9" fmla="*/ 12970 h 64850"/>
                    <a:gd name="connsiteX10" fmla="*/ 18666 w 64824"/>
                    <a:gd name="connsiteY10" fmla="*/ 18666 h 64850"/>
                    <a:gd name="connsiteX11" fmla="*/ 18666 w 64824"/>
                    <a:gd name="connsiteY11" fmla="*/ 46185 h 64850"/>
                    <a:gd name="connsiteX12" fmla="*/ 46185 w 64824"/>
                    <a:gd name="connsiteY12" fmla="*/ 46185 h 64850"/>
                    <a:gd name="connsiteX13" fmla="*/ 46185 w 64824"/>
                    <a:gd name="connsiteY13" fmla="*/ 18666 h 64850"/>
                    <a:gd name="connsiteX14" fmla="*/ 46185 w 64824"/>
                    <a:gd name="connsiteY14" fmla="*/ 18666 h 64850"/>
                    <a:gd name="connsiteX15" fmla="*/ 32412 w 64824"/>
                    <a:gd name="connsiteY15" fmla="*/ 12970 h 6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4824" h="64850">
                      <a:moveTo>
                        <a:pt x="32412" y="64851"/>
                      </a:moveTo>
                      <a:cubicBezTo>
                        <a:pt x="23740" y="64851"/>
                        <a:pt x="15611" y="61485"/>
                        <a:pt x="9475" y="55349"/>
                      </a:cubicBezTo>
                      <a:cubicBezTo>
                        <a:pt x="-3158" y="42716"/>
                        <a:pt x="-3158" y="22135"/>
                        <a:pt x="9475" y="9501"/>
                      </a:cubicBezTo>
                      <a:cubicBezTo>
                        <a:pt x="15611" y="3366"/>
                        <a:pt x="23740" y="0"/>
                        <a:pt x="32412" y="0"/>
                      </a:cubicBezTo>
                      <a:cubicBezTo>
                        <a:pt x="41085" y="0"/>
                        <a:pt x="49214" y="3366"/>
                        <a:pt x="55350" y="9501"/>
                      </a:cubicBezTo>
                      <a:lnTo>
                        <a:pt x="55350" y="9501"/>
                      </a:lnTo>
                      <a:lnTo>
                        <a:pt x="55350" y="9501"/>
                      </a:lnTo>
                      <a:cubicBezTo>
                        <a:pt x="67983" y="22135"/>
                        <a:pt x="67983" y="42716"/>
                        <a:pt x="55350" y="55349"/>
                      </a:cubicBezTo>
                      <a:cubicBezTo>
                        <a:pt x="49214" y="61485"/>
                        <a:pt x="41085" y="64851"/>
                        <a:pt x="32412" y="64851"/>
                      </a:cubicBezTo>
                      <a:close/>
                      <a:moveTo>
                        <a:pt x="32412" y="12970"/>
                      </a:moveTo>
                      <a:cubicBezTo>
                        <a:pt x="27209" y="12970"/>
                        <a:pt x="22342" y="14989"/>
                        <a:pt x="18666" y="18666"/>
                      </a:cubicBezTo>
                      <a:cubicBezTo>
                        <a:pt x="11080" y="26251"/>
                        <a:pt x="11080" y="38600"/>
                        <a:pt x="18666" y="46185"/>
                      </a:cubicBezTo>
                      <a:cubicBezTo>
                        <a:pt x="26018" y="53537"/>
                        <a:pt x="38833" y="53537"/>
                        <a:pt x="46185" y="46185"/>
                      </a:cubicBezTo>
                      <a:cubicBezTo>
                        <a:pt x="53770" y="38600"/>
                        <a:pt x="53770" y="26251"/>
                        <a:pt x="46185" y="18666"/>
                      </a:cubicBezTo>
                      <a:lnTo>
                        <a:pt x="46185" y="18666"/>
                      </a:lnTo>
                      <a:cubicBezTo>
                        <a:pt x="42483" y="14989"/>
                        <a:pt x="37616" y="12970"/>
                        <a:pt x="32412" y="12970"/>
                      </a:cubicBezTo>
                      <a:close/>
                    </a:path>
                  </a:pathLst>
                </a:custGeom>
                <a:solidFill>
                  <a:schemeClr val="accent1"/>
                </a:solidFill>
                <a:ln w="2585" cap="flat">
                  <a:noFill/>
                  <a:prstDash val="solid"/>
                  <a:miter/>
                </a:ln>
              </p:spPr>
              <p:txBody>
                <a:bodyPr rtlCol="0" anchor="ctr"/>
                <a:lstStyle/>
                <a:p>
                  <a:endParaRPr lang="en-GB" dirty="0"/>
                </a:p>
              </p:txBody>
            </p:sp>
            <p:sp>
              <p:nvSpPr>
                <p:cNvPr id="497" name="Freihandform: Form 362">
                  <a:extLst>
                    <a:ext uri="{FF2B5EF4-FFF2-40B4-BE49-F238E27FC236}">
                      <a16:creationId xmlns:a16="http://schemas.microsoft.com/office/drawing/2014/main" id="{1FA370D9-B1B9-49E7-AF31-BCFFB69BB8C4}"/>
                    </a:ext>
                  </a:extLst>
                </p:cNvPr>
                <p:cNvSpPr/>
                <p:nvPr/>
              </p:nvSpPr>
              <p:spPr>
                <a:xfrm rot="-2700000">
                  <a:off x="2668764" y="2554015"/>
                  <a:ext cx="12969" cy="38262"/>
                </a:xfrm>
                <a:custGeom>
                  <a:avLst/>
                  <a:gdLst>
                    <a:gd name="connsiteX0" fmla="*/ 0 w 12969"/>
                    <a:gd name="connsiteY0" fmla="*/ 0 h 38262"/>
                    <a:gd name="connsiteX1" fmla="*/ 12970 w 12969"/>
                    <a:gd name="connsiteY1" fmla="*/ 0 h 38262"/>
                    <a:gd name="connsiteX2" fmla="*/ 12970 w 12969"/>
                    <a:gd name="connsiteY2" fmla="*/ 38263 h 38262"/>
                    <a:gd name="connsiteX3" fmla="*/ 0 w 12969"/>
                    <a:gd name="connsiteY3" fmla="*/ 38263 h 38262"/>
                  </a:gdLst>
                  <a:ahLst/>
                  <a:cxnLst>
                    <a:cxn ang="0">
                      <a:pos x="connsiteX0" y="connsiteY0"/>
                    </a:cxn>
                    <a:cxn ang="0">
                      <a:pos x="connsiteX1" y="connsiteY1"/>
                    </a:cxn>
                    <a:cxn ang="0">
                      <a:pos x="connsiteX2" y="connsiteY2"/>
                    </a:cxn>
                    <a:cxn ang="0">
                      <a:pos x="connsiteX3" y="connsiteY3"/>
                    </a:cxn>
                  </a:cxnLst>
                  <a:rect l="l" t="t" r="r" b="b"/>
                  <a:pathLst>
                    <a:path w="12969" h="38262">
                      <a:moveTo>
                        <a:pt x="0" y="0"/>
                      </a:moveTo>
                      <a:lnTo>
                        <a:pt x="12970" y="0"/>
                      </a:lnTo>
                      <a:lnTo>
                        <a:pt x="12970" y="38263"/>
                      </a:lnTo>
                      <a:lnTo>
                        <a:pt x="0" y="38263"/>
                      </a:lnTo>
                      <a:close/>
                    </a:path>
                  </a:pathLst>
                </a:custGeom>
                <a:solidFill>
                  <a:schemeClr val="accent1"/>
                </a:solidFill>
                <a:ln w="2585" cap="flat">
                  <a:noFill/>
                  <a:prstDash val="solid"/>
                  <a:miter/>
                </a:ln>
              </p:spPr>
              <p:txBody>
                <a:bodyPr rtlCol="0" anchor="ctr"/>
                <a:lstStyle/>
                <a:p>
                  <a:endParaRPr lang="en-GB" dirty="0"/>
                </a:p>
              </p:txBody>
            </p:sp>
          </p:grpSp>
        </p:grpSp>
      </p:grpSp>
      <p:grpSp>
        <p:nvGrpSpPr>
          <p:cNvPr id="15" name="Group 14">
            <a:extLst>
              <a:ext uri="{FF2B5EF4-FFF2-40B4-BE49-F238E27FC236}">
                <a16:creationId xmlns:a16="http://schemas.microsoft.com/office/drawing/2014/main" id="{3A74F872-9BDB-4501-5BC2-A77B0AAADDF3}"/>
              </a:ext>
            </a:extLst>
          </p:cNvPr>
          <p:cNvGrpSpPr/>
          <p:nvPr/>
        </p:nvGrpSpPr>
        <p:grpSpPr>
          <a:xfrm>
            <a:off x="5986404" y="3239219"/>
            <a:ext cx="540000" cy="347700"/>
            <a:chOff x="5985992" y="3239219"/>
            <a:chExt cx="540000" cy="347700"/>
          </a:xfrm>
        </p:grpSpPr>
        <p:grpSp>
          <p:nvGrpSpPr>
            <p:cNvPr id="517" name="Group 516">
              <a:extLst>
                <a:ext uri="{FF2B5EF4-FFF2-40B4-BE49-F238E27FC236}">
                  <a16:creationId xmlns:a16="http://schemas.microsoft.com/office/drawing/2014/main" id="{64CB763A-B924-4520-8F35-69CB5797180A}"/>
                </a:ext>
              </a:extLst>
            </p:cNvPr>
            <p:cNvGrpSpPr/>
            <p:nvPr/>
          </p:nvGrpSpPr>
          <p:grpSpPr>
            <a:xfrm>
              <a:off x="5985992" y="3403542"/>
              <a:ext cx="540000" cy="183377"/>
              <a:chOff x="2550398" y="4325418"/>
              <a:chExt cx="493007" cy="167419"/>
            </a:xfrm>
          </p:grpSpPr>
          <p:sp>
            <p:nvSpPr>
              <p:cNvPr id="527" name="Freihandform: Form 237">
                <a:extLst>
                  <a:ext uri="{FF2B5EF4-FFF2-40B4-BE49-F238E27FC236}">
                    <a16:creationId xmlns:a16="http://schemas.microsoft.com/office/drawing/2014/main" id="{07F66FF0-B428-4077-8CDD-E70539503EFF}"/>
                  </a:ext>
                </a:extLst>
              </p:cNvPr>
              <p:cNvSpPr/>
              <p:nvPr/>
            </p:nvSpPr>
            <p:spPr>
              <a:xfrm rot="19506224">
                <a:off x="2819416" y="4391981"/>
                <a:ext cx="223989" cy="12970"/>
              </a:xfrm>
              <a:custGeom>
                <a:avLst/>
                <a:gdLst>
                  <a:gd name="connsiteX0" fmla="*/ 0 w 223989"/>
                  <a:gd name="connsiteY0" fmla="*/ 0 h 12970"/>
                  <a:gd name="connsiteX1" fmla="*/ 223990 w 223989"/>
                  <a:gd name="connsiteY1" fmla="*/ 0 h 12970"/>
                  <a:gd name="connsiteX2" fmla="*/ 223990 w 223989"/>
                  <a:gd name="connsiteY2" fmla="*/ 12970 h 12970"/>
                  <a:gd name="connsiteX3" fmla="*/ 0 w 223989"/>
                  <a:gd name="connsiteY3" fmla="*/ 12970 h 12970"/>
                </a:gdLst>
                <a:ahLst/>
                <a:cxnLst>
                  <a:cxn ang="0">
                    <a:pos x="connsiteX0" y="connsiteY0"/>
                  </a:cxn>
                  <a:cxn ang="0">
                    <a:pos x="connsiteX1" y="connsiteY1"/>
                  </a:cxn>
                  <a:cxn ang="0">
                    <a:pos x="connsiteX2" y="connsiteY2"/>
                  </a:cxn>
                  <a:cxn ang="0">
                    <a:pos x="connsiteX3" y="connsiteY3"/>
                  </a:cxn>
                </a:cxnLst>
                <a:rect l="l" t="t" r="r" b="b"/>
                <a:pathLst>
                  <a:path w="223989" h="12970">
                    <a:moveTo>
                      <a:pt x="0" y="0"/>
                    </a:moveTo>
                    <a:lnTo>
                      <a:pt x="223990" y="0"/>
                    </a:lnTo>
                    <a:lnTo>
                      <a:pt x="223990" y="12970"/>
                    </a:lnTo>
                    <a:lnTo>
                      <a:pt x="0" y="12970"/>
                    </a:lnTo>
                    <a:close/>
                  </a:path>
                </a:pathLst>
              </a:custGeom>
              <a:solidFill>
                <a:schemeClr val="accent1"/>
              </a:solidFill>
              <a:ln w="2585" cap="flat">
                <a:noFill/>
                <a:prstDash val="solid"/>
                <a:miter/>
              </a:ln>
            </p:spPr>
            <p:txBody>
              <a:bodyPr rtlCol="0" anchor="ctr"/>
              <a:lstStyle/>
              <a:p>
                <a:endParaRPr lang="en-GB" dirty="0"/>
              </a:p>
            </p:txBody>
          </p:sp>
          <p:sp>
            <p:nvSpPr>
              <p:cNvPr id="528" name="Freihandform: Form 238">
                <a:extLst>
                  <a:ext uri="{FF2B5EF4-FFF2-40B4-BE49-F238E27FC236}">
                    <a16:creationId xmlns:a16="http://schemas.microsoft.com/office/drawing/2014/main" id="{B33794B1-ABFE-4112-8306-F4C08CBD9240}"/>
                  </a:ext>
                </a:extLst>
              </p:cNvPr>
              <p:cNvSpPr/>
              <p:nvPr/>
            </p:nvSpPr>
            <p:spPr>
              <a:xfrm rot="16788989">
                <a:off x="2739240" y="4393843"/>
                <a:ext cx="12970" cy="118133"/>
              </a:xfrm>
              <a:custGeom>
                <a:avLst/>
                <a:gdLst>
                  <a:gd name="connsiteX0" fmla="*/ 0 w 12970"/>
                  <a:gd name="connsiteY0" fmla="*/ 0 h 118133"/>
                  <a:gd name="connsiteX1" fmla="*/ 12971 w 12970"/>
                  <a:gd name="connsiteY1" fmla="*/ 0 h 118133"/>
                  <a:gd name="connsiteX2" fmla="*/ 12971 w 12970"/>
                  <a:gd name="connsiteY2" fmla="*/ 118134 h 118133"/>
                  <a:gd name="connsiteX3" fmla="*/ 0 w 12970"/>
                  <a:gd name="connsiteY3" fmla="*/ 118134 h 118133"/>
                </a:gdLst>
                <a:ahLst/>
                <a:cxnLst>
                  <a:cxn ang="0">
                    <a:pos x="connsiteX0" y="connsiteY0"/>
                  </a:cxn>
                  <a:cxn ang="0">
                    <a:pos x="connsiteX1" y="connsiteY1"/>
                  </a:cxn>
                  <a:cxn ang="0">
                    <a:pos x="connsiteX2" y="connsiteY2"/>
                  </a:cxn>
                  <a:cxn ang="0">
                    <a:pos x="connsiteX3" y="connsiteY3"/>
                  </a:cxn>
                </a:cxnLst>
                <a:rect l="l" t="t" r="r" b="b"/>
                <a:pathLst>
                  <a:path w="12970" h="118133">
                    <a:moveTo>
                      <a:pt x="0" y="0"/>
                    </a:moveTo>
                    <a:lnTo>
                      <a:pt x="12971" y="0"/>
                    </a:lnTo>
                    <a:lnTo>
                      <a:pt x="12971" y="118134"/>
                    </a:lnTo>
                    <a:lnTo>
                      <a:pt x="0" y="118134"/>
                    </a:lnTo>
                    <a:close/>
                  </a:path>
                </a:pathLst>
              </a:custGeom>
              <a:solidFill>
                <a:schemeClr val="accent1"/>
              </a:solidFill>
              <a:ln w="2585" cap="flat">
                <a:noFill/>
                <a:prstDash val="solid"/>
                <a:miter/>
              </a:ln>
            </p:spPr>
            <p:txBody>
              <a:bodyPr rtlCol="0" anchor="ctr"/>
              <a:lstStyle/>
              <a:p>
                <a:endParaRPr lang="en-GB" dirty="0"/>
              </a:p>
            </p:txBody>
          </p:sp>
          <p:sp>
            <p:nvSpPr>
              <p:cNvPr id="529" name="Freihandform: Form 239">
                <a:extLst>
                  <a:ext uri="{FF2B5EF4-FFF2-40B4-BE49-F238E27FC236}">
                    <a16:creationId xmlns:a16="http://schemas.microsoft.com/office/drawing/2014/main" id="{03DF5AEC-B8E3-42BC-A516-0FCAB1BFDF87}"/>
                  </a:ext>
                </a:extLst>
              </p:cNvPr>
              <p:cNvSpPr/>
              <p:nvPr/>
            </p:nvSpPr>
            <p:spPr>
              <a:xfrm rot="19675669">
                <a:off x="2550398" y="4476342"/>
                <a:ext cx="112902" cy="12970"/>
              </a:xfrm>
              <a:custGeom>
                <a:avLst/>
                <a:gdLst>
                  <a:gd name="connsiteX0" fmla="*/ 0 w 112902"/>
                  <a:gd name="connsiteY0" fmla="*/ 0 h 12970"/>
                  <a:gd name="connsiteX1" fmla="*/ 112902 w 112902"/>
                  <a:gd name="connsiteY1" fmla="*/ 0 h 12970"/>
                  <a:gd name="connsiteX2" fmla="*/ 112902 w 112902"/>
                  <a:gd name="connsiteY2" fmla="*/ 12971 h 12970"/>
                  <a:gd name="connsiteX3" fmla="*/ 0 w 112902"/>
                  <a:gd name="connsiteY3" fmla="*/ 12971 h 12970"/>
                </a:gdLst>
                <a:ahLst/>
                <a:cxnLst>
                  <a:cxn ang="0">
                    <a:pos x="connsiteX0" y="connsiteY0"/>
                  </a:cxn>
                  <a:cxn ang="0">
                    <a:pos x="connsiteX1" y="connsiteY1"/>
                  </a:cxn>
                  <a:cxn ang="0">
                    <a:pos x="connsiteX2" y="connsiteY2"/>
                  </a:cxn>
                  <a:cxn ang="0">
                    <a:pos x="connsiteX3" y="connsiteY3"/>
                  </a:cxn>
                </a:cxnLst>
                <a:rect l="l" t="t" r="r" b="b"/>
                <a:pathLst>
                  <a:path w="112902" h="12970">
                    <a:moveTo>
                      <a:pt x="0" y="0"/>
                    </a:moveTo>
                    <a:lnTo>
                      <a:pt x="112902" y="0"/>
                    </a:lnTo>
                    <a:lnTo>
                      <a:pt x="112902" y="12971"/>
                    </a:lnTo>
                    <a:lnTo>
                      <a:pt x="0" y="12971"/>
                    </a:lnTo>
                    <a:close/>
                  </a:path>
                </a:pathLst>
              </a:custGeom>
              <a:solidFill>
                <a:schemeClr val="accent1"/>
              </a:solidFill>
              <a:ln w="2585" cap="flat">
                <a:noFill/>
                <a:prstDash val="solid"/>
                <a:miter/>
              </a:ln>
            </p:spPr>
            <p:txBody>
              <a:bodyPr rtlCol="0" anchor="ctr"/>
              <a:lstStyle/>
              <a:p>
                <a:endParaRPr lang="en-GB" dirty="0"/>
              </a:p>
            </p:txBody>
          </p:sp>
          <p:sp>
            <p:nvSpPr>
              <p:cNvPr id="530" name="Freihandform: Form 240">
                <a:extLst>
                  <a:ext uri="{FF2B5EF4-FFF2-40B4-BE49-F238E27FC236}">
                    <a16:creationId xmlns:a16="http://schemas.microsoft.com/office/drawing/2014/main" id="{4C33BA4D-B3D7-4E95-847C-3951B424FC12}"/>
                  </a:ext>
                </a:extLst>
              </p:cNvPr>
              <p:cNvSpPr/>
              <p:nvPr/>
            </p:nvSpPr>
            <p:spPr>
              <a:xfrm>
                <a:off x="2644177" y="4418150"/>
                <a:ext cx="49757" cy="49757"/>
              </a:xfrm>
              <a:custGeom>
                <a:avLst/>
                <a:gdLst>
                  <a:gd name="connsiteX0" fmla="*/ 24879 w 49757"/>
                  <a:gd name="connsiteY0" fmla="*/ 49757 h 49757"/>
                  <a:gd name="connsiteX1" fmla="*/ 0 w 49757"/>
                  <a:gd name="connsiteY1" fmla="*/ 24879 h 49757"/>
                  <a:gd name="connsiteX2" fmla="*/ 24879 w 49757"/>
                  <a:gd name="connsiteY2" fmla="*/ 0 h 49757"/>
                  <a:gd name="connsiteX3" fmla="*/ 49758 w 49757"/>
                  <a:gd name="connsiteY3" fmla="*/ 24879 h 49757"/>
                  <a:gd name="connsiteX4" fmla="*/ 24879 w 49757"/>
                  <a:gd name="connsiteY4" fmla="*/ 49757 h 49757"/>
                  <a:gd name="connsiteX5" fmla="*/ 24879 w 49757"/>
                  <a:gd name="connsiteY5" fmla="*/ 12996 h 49757"/>
                  <a:gd name="connsiteX6" fmla="*/ 12970 w 49757"/>
                  <a:gd name="connsiteY6" fmla="*/ 24905 h 49757"/>
                  <a:gd name="connsiteX7" fmla="*/ 24879 w 49757"/>
                  <a:gd name="connsiteY7" fmla="*/ 36813 h 49757"/>
                  <a:gd name="connsiteX8" fmla="*/ 36787 w 49757"/>
                  <a:gd name="connsiteY8" fmla="*/ 24905 h 49757"/>
                  <a:gd name="connsiteX9" fmla="*/ 24879 w 49757"/>
                  <a:gd name="connsiteY9" fmla="*/ 12996 h 4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757" h="49757">
                    <a:moveTo>
                      <a:pt x="24879" y="49757"/>
                    </a:moveTo>
                    <a:cubicBezTo>
                      <a:pt x="11158" y="49757"/>
                      <a:pt x="0" y="38600"/>
                      <a:pt x="0" y="24879"/>
                    </a:cubicBezTo>
                    <a:cubicBezTo>
                      <a:pt x="0" y="11158"/>
                      <a:pt x="11158" y="0"/>
                      <a:pt x="24879" y="0"/>
                    </a:cubicBezTo>
                    <a:cubicBezTo>
                      <a:pt x="38600" y="0"/>
                      <a:pt x="49758" y="11158"/>
                      <a:pt x="49758" y="24879"/>
                    </a:cubicBezTo>
                    <a:cubicBezTo>
                      <a:pt x="49758" y="38600"/>
                      <a:pt x="38600" y="49757"/>
                      <a:pt x="24879" y="49757"/>
                    </a:cubicBezTo>
                    <a:close/>
                    <a:moveTo>
                      <a:pt x="24879" y="12996"/>
                    </a:moveTo>
                    <a:cubicBezTo>
                      <a:pt x="18329" y="12996"/>
                      <a:pt x="12970" y="18329"/>
                      <a:pt x="12970" y="24905"/>
                    </a:cubicBezTo>
                    <a:cubicBezTo>
                      <a:pt x="12970" y="31454"/>
                      <a:pt x="18303" y="36813"/>
                      <a:pt x="24879" y="36813"/>
                    </a:cubicBezTo>
                    <a:cubicBezTo>
                      <a:pt x="31429" y="36813"/>
                      <a:pt x="36787" y="31480"/>
                      <a:pt x="36787" y="24905"/>
                    </a:cubicBezTo>
                    <a:cubicBezTo>
                      <a:pt x="36787" y="18329"/>
                      <a:pt x="31454" y="12996"/>
                      <a:pt x="24879" y="12996"/>
                    </a:cubicBezTo>
                    <a:close/>
                  </a:path>
                </a:pathLst>
              </a:custGeom>
              <a:solidFill>
                <a:schemeClr val="accent1"/>
              </a:solidFill>
              <a:ln w="2585" cap="flat">
                <a:noFill/>
                <a:prstDash val="solid"/>
                <a:miter/>
              </a:ln>
            </p:spPr>
            <p:txBody>
              <a:bodyPr rtlCol="0" anchor="ctr"/>
              <a:lstStyle/>
              <a:p>
                <a:endParaRPr lang="en-GB" dirty="0"/>
              </a:p>
            </p:txBody>
          </p:sp>
          <p:sp>
            <p:nvSpPr>
              <p:cNvPr id="531" name="Freihandform: Form 241">
                <a:extLst>
                  <a:ext uri="{FF2B5EF4-FFF2-40B4-BE49-F238E27FC236}">
                    <a16:creationId xmlns:a16="http://schemas.microsoft.com/office/drawing/2014/main" id="{0FF68FF8-0903-4611-B781-B28DD1910C73}"/>
                  </a:ext>
                </a:extLst>
              </p:cNvPr>
              <p:cNvSpPr/>
              <p:nvPr/>
            </p:nvSpPr>
            <p:spPr>
              <a:xfrm>
                <a:off x="2798989" y="4443080"/>
                <a:ext cx="49757" cy="49757"/>
              </a:xfrm>
              <a:custGeom>
                <a:avLst/>
                <a:gdLst>
                  <a:gd name="connsiteX0" fmla="*/ 24879 w 49757"/>
                  <a:gd name="connsiteY0" fmla="*/ 49757 h 49757"/>
                  <a:gd name="connsiteX1" fmla="*/ 0 w 49757"/>
                  <a:gd name="connsiteY1" fmla="*/ 24879 h 49757"/>
                  <a:gd name="connsiteX2" fmla="*/ 24879 w 49757"/>
                  <a:gd name="connsiteY2" fmla="*/ 0 h 49757"/>
                  <a:gd name="connsiteX3" fmla="*/ 49758 w 49757"/>
                  <a:gd name="connsiteY3" fmla="*/ 24879 h 49757"/>
                  <a:gd name="connsiteX4" fmla="*/ 24879 w 49757"/>
                  <a:gd name="connsiteY4" fmla="*/ 49757 h 49757"/>
                  <a:gd name="connsiteX5" fmla="*/ 24879 w 49757"/>
                  <a:gd name="connsiteY5" fmla="*/ 12970 h 49757"/>
                  <a:gd name="connsiteX6" fmla="*/ 12970 w 49757"/>
                  <a:gd name="connsiteY6" fmla="*/ 24879 h 49757"/>
                  <a:gd name="connsiteX7" fmla="*/ 24879 w 49757"/>
                  <a:gd name="connsiteY7" fmla="*/ 36787 h 49757"/>
                  <a:gd name="connsiteX8" fmla="*/ 36787 w 49757"/>
                  <a:gd name="connsiteY8" fmla="*/ 24879 h 49757"/>
                  <a:gd name="connsiteX9" fmla="*/ 24879 w 49757"/>
                  <a:gd name="connsiteY9" fmla="*/ 12970 h 49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757" h="49757">
                    <a:moveTo>
                      <a:pt x="24879" y="49757"/>
                    </a:moveTo>
                    <a:cubicBezTo>
                      <a:pt x="11158" y="49757"/>
                      <a:pt x="0" y="38600"/>
                      <a:pt x="0" y="24879"/>
                    </a:cubicBezTo>
                    <a:cubicBezTo>
                      <a:pt x="0" y="11158"/>
                      <a:pt x="11158" y="0"/>
                      <a:pt x="24879" y="0"/>
                    </a:cubicBezTo>
                    <a:cubicBezTo>
                      <a:pt x="38600" y="0"/>
                      <a:pt x="49758" y="11158"/>
                      <a:pt x="49758" y="24879"/>
                    </a:cubicBezTo>
                    <a:cubicBezTo>
                      <a:pt x="49758" y="38600"/>
                      <a:pt x="38574" y="49757"/>
                      <a:pt x="24879" y="49757"/>
                    </a:cubicBezTo>
                    <a:close/>
                    <a:moveTo>
                      <a:pt x="24879" y="12970"/>
                    </a:moveTo>
                    <a:cubicBezTo>
                      <a:pt x="18329" y="12970"/>
                      <a:pt x="12970" y="18303"/>
                      <a:pt x="12970" y="24879"/>
                    </a:cubicBezTo>
                    <a:cubicBezTo>
                      <a:pt x="12970" y="31454"/>
                      <a:pt x="18303" y="36787"/>
                      <a:pt x="24879" y="36787"/>
                    </a:cubicBezTo>
                    <a:cubicBezTo>
                      <a:pt x="31429" y="36787"/>
                      <a:pt x="36787" y="31454"/>
                      <a:pt x="36787" y="24879"/>
                    </a:cubicBezTo>
                    <a:cubicBezTo>
                      <a:pt x="36787" y="18303"/>
                      <a:pt x="31429" y="12970"/>
                      <a:pt x="24879" y="12970"/>
                    </a:cubicBezTo>
                    <a:close/>
                  </a:path>
                </a:pathLst>
              </a:custGeom>
              <a:solidFill>
                <a:schemeClr val="accent1"/>
              </a:solidFill>
              <a:ln w="2585" cap="flat">
                <a:noFill/>
                <a:prstDash val="solid"/>
                <a:miter/>
              </a:ln>
            </p:spPr>
            <p:txBody>
              <a:bodyPr rtlCol="0" anchor="ctr"/>
              <a:lstStyle/>
              <a:p>
                <a:endParaRPr lang="en-GB" dirty="0"/>
              </a:p>
            </p:txBody>
          </p:sp>
          <p:grpSp>
            <p:nvGrpSpPr>
              <p:cNvPr id="532" name="Grafik 168">
                <a:extLst>
                  <a:ext uri="{FF2B5EF4-FFF2-40B4-BE49-F238E27FC236}">
                    <a16:creationId xmlns:a16="http://schemas.microsoft.com/office/drawing/2014/main" id="{40FC643B-BD8F-4FCB-8E22-4C10BB83479D}"/>
                  </a:ext>
                </a:extLst>
              </p:cNvPr>
              <p:cNvGrpSpPr/>
              <p:nvPr/>
            </p:nvGrpSpPr>
            <p:grpSpPr>
              <a:xfrm>
                <a:off x="2969878" y="4325418"/>
                <a:ext cx="62100" cy="60527"/>
                <a:chOff x="2969878" y="4325418"/>
                <a:chExt cx="62100" cy="60527"/>
              </a:xfrm>
              <a:solidFill>
                <a:schemeClr val="accent1"/>
              </a:solidFill>
            </p:grpSpPr>
            <p:sp>
              <p:nvSpPr>
                <p:cNvPr id="533" name="Freihandform: Form 243">
                  <a:extLst>
                    <a:ext uri="{FF2B5EF4-FFF2-40B4-BE49-F238E27FC236}">
                      <a16:creationId xmlns:a16="http://schemas.microsoft.com/office/drawing/2014/main" id="{B65CCE94-3167-42C7-B2E1-ED243801E886}"/>
                    </a:ext>
                  </a:extLst>
                </p:cNvPr>
                <p:cNvSpPr/>
                <p:nvPr/>
              </p:nvSpPr>
              <p:spPr>
                <a:xfrm>
                  <a:off x="2969878" y="4325418"/>
                  <a:ext cx="61719" cy="13746"/>
                </a:xfrm>
                <a:custGeom>
                  <a:avLst/>
                  <a:gdLst>
                    <a:gd name="connsiteX0" fmla="*/ 55247 w 61719"/>
                    <a:gd name="connsiteY0" fmla="*/ 13747 h 13746"/>
                    <a:gd name="connsiteX1" fmla="*/ 55143 w 61719"/>
                    <a:gd name="connsiteY1" fmla="*/ 13747 h 13746"/>
                    <a:gd name="connsiteX2" fmla="*/ 6395 w 61719"/>
                    <a:gd name="connsiteY2" fmla="*/ 12970 h 13746"/>
                    <a:gd name="connsiteX3" fmla="*/ 1 w 61719"/>
                    <a:gd name="connsiteY3" fmla="*/ 6394 h 13746"/>
                    <a:gd name="connsiteX4" fmla="*/ 6576 w 61719"/>
                    <a:gd name="connsiteY4" fmla="*/ 0 h 13746"/>
                    <a:gd name="connsiteX5" fmla="*/ 55324 w 61719"/>
                    <a:gd name="connsiteY5" fmla="*/ 776 h 13746"/>
                    <a:gd name="connsiteX6" fmla="*/ 61719 w 61719"/>
                    <a:gd name="connsiteY6" fmla="*/ 7352 h 13746"/>
                    <a:gd name="connsiteX7" fmla="*/ 55247 w 61719"/>
                    <a:gd name="connsiteY7" fmla="*/ 13747 h 13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19" h="13746">
                      <a:moveTo>
                        <a:pt x="55247" y="13747"/>
                      </a:moveTo>
                      <a:cubicBezTo>
                        <a:pt x="55221" y="13747"/>
                        <a:pt x="55169" y="13747"/>
                        <a:pt x="55143" y="13747"/>
                      </a:cubicBezTo>
                      <a:lnTo>
                        <a:pt x="6395" y="12970"/>
                      </a:lnTo>
                      <a:cubicBezTo>
                        <a:pt x="2823" y="12918"/>
                        <a:pt x="-51" y="9967"/>
                        <a:pt x="1" y="6394"/>
                      </a:cubicBezTo>
                      <a:cubicBezTo>
                        <a:pt x="53" y="2822"/>
                        <a:pt x="3030" y="233"/>
                        <a:pt x="6576" y="0"/>
                      </a:cubicBezTo>
                      <a:lnTo>
                        <a:pt x="55324" y="776"/>
                      </a:lnTo>
                      <a:cubicBezTo>
                        <a:pt x="58897" y="828"/>
                        <a:pt x="61771" y="3780"/>
                        <a:pt x="61719" y="7352"/>
                      </a:cubicBezTo>
                      <a:cubicBezTo>
                        <a:pt x="61693" y="10899"/>
                        <a:pt x="58793" y="13747"/>
                        <a:pt x="55247" y="13747"/>
                      </a:cubicBezTo>
                      <a:close/>
                    </a:path>
                  </a:pathLst>
                </a:custGeom>
                <a:solidFill>
                  <a:schemeClr val="accent1"/>
                </a:solidFill>
                <a:ln w="2585" cap="flat">
                  <a:noFill/>
                  <a:prstDash val="solid"/>
                  <a:miter/>
                </a:ln>
              </p:spPr>
              <p:txBody>
                <a:bodyPr rtlCol="0" anchor="ctr"/>
                <a:lstStyle/>
                <a:p>
                  <a:endParaRPr lang="en-GB" dirty="0"/>
                </a:p>
              </p:txBody>
            </p:sp>
            <p:sp>
              <p:nvSpPr>
                <p:cNvPr id="534" name="Freihandform: Form 244">
                  <a:extLst>
                    <a:ext uri="{FF2B5EF4-FFF2-40B4-BE49-F238E27FC236}">
                      <a16:creationId xmlns:a16="http://schemas.microsoft.com/office/drawing/2014/main" id="{5474B6F0-FCF5-4871-9BBD-3B6ACBB2549E}"/>
                    </a:ext>
                  </a:extLst>
                </p:cNvPr>
                <p:cNvSpPr/>
                <p:nvPr/>
              </p:nvSpPr>
              <p:spPr>
                <a:xfrm>
                  <a:off x="3004938" y="4326302"/>
                  <a:ext cx="27041" cy="59643"/>
                </a:xfrm>
                <a:custGeom>
                  <a:avLst/>
                  <a:gdLst>
                    <a:gd name="connsiteX0" fmla="*/ 6466 w 27041"/>
                    <a:gd name="connsiteY0" fmla="*/ 59643 h 59643"/>
                    <a:gd name="connsiteX1" fmla="*/ 4602 w 27041"/>
                    <a:gd name="connsiteY1" fmla="*/ 59358 h 59643"/>
                    <a:gd name="connsiteX2" fmla="*/ 279 w 27041"/>
                    <a:gd name="connsiteY2" fmla="*/ 51281 h 59643"/>
                    <a:gd name="connsiteX3" fmla="*/ 14362 w 27041"/>
                    <a:gd name="connsiteY3" fmla="*/ 4604 h 59643"/>
                    <a:gd name="connsiteX4" fmla="*/ 22439 w 27041"/>
                    <a:gd name="connsiteY4" fmla="*/ 281 h 59643"/>
                    <a:gd name="connsiteX5" fmla="*/ 26762 w 27041"/>
                    <a:gd name="connsiteY5" fmla="*/ 8358 h 59643"/>
                    <a:gd name="connsiteX6" fmla="*/ 12679 w 27041"/>
                    <a:gd name="connsiteY6" fmla="*/ 55035 h 59643"/>
                    <a:gd name="connsiteX7" fmla="*/ 6466 w 27041"/>
                    <a:gd name="connsiteY7" fmla="*/ 59643 h 59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41" h="59643">
                      <a:moveTo>
                        <a:pt x="6466" y="59643"/>
                      </a:moveTo>
                      <a:cubicBezTo>
                        <a:pt x="5845" y="59643"/>
                        <a:pt x="5223" y="59565"/>
                        <a:pt x="4602" y="59358"/>
                      </a:cubicBezTo>
                      <a:cubicBezTo>
                        <a:pt x="1185" y="58323"/>
                        <a:pt x="-757" y="54698"/>
                        <a:pt x="279" y="51281"/>
                      </a:cubicBezTo>
                      <a:lnTo>
                        <a:pt x="14362" y="4604"/>
                      </a:lnTo>
                      <a:cubicBezTo>
                        <a:pt x="15397" y="1161"/>
                        <a:pt x="18996" y="-755"/>
                        <a:pt x="22439" y="281"/>
                      </a:cubicBezTo>
                      <a:cubicBezTo>
                        <a:pt x="25856" y="1316"/>
                        <a:pt x="27798" y="4941"/>
                        <a:pt x="26762" y="8358"/>
                      </a:cubicBezTo>
                      <a:lnTo>
                        <a:pt x="12679" y="55035"/>
                      </a:lnTo>
                      <a:cubicBezTo>
                        <a:pt x="11825" y="57831"/>
                        <a:pt x="9262" y="59643"/>
                        <a:pt x="6466" y="59643"/>
                      </a:cubicBezTo>
                      <a:close/>
                    </a:path>
                  </a:pathLst>
                </a:custGeom>
                <a:solidFill>
                  <a:schemeClr val="accent1"/>
                </a:solidFill>
                <a:ln w="2585" cap="flat">
                  <a:noFill/>
                  <a:prstDash val="solid"/>
                  <a:miter/>
                </a:ln>
              </p:spPr>
              <p:txBody>
                <a:bodyPr rtlCol="0" anchor="ctr"/>
                <a:lstStyle/>
                <a:p>
                  <a:endParaRPr lang="en-GB" dirty="0"/>
                </a:p>
              </p:txBody>
            </p:sp>
          </p:grpSp>
        </p:grpSp>
        <p:grpSp>
          <p:nvGrpSpPr>
            <p:cNvPr id="518" name="Grafik 168">
              <a:extLst>
                <a:ext uri="{FF2B5EF4-FFF2-40B4-BE49-F238E27FC236}">
                  <a16:creationId xmlns:a16="http://schemas.microsoft.com/office/drawing/2014/main" id="{D731613A-AA1F-42C6-81E8-FC586DE5296D}"/>
                </a:ext>
              </a:extLst>
            </p:cNvPr>
            <p:cNvGrpSpPr/>
            <p:nvPr/>
          </p:nvGrpSpPr>
          <p:grpSpPr>
            <a:xfrm>
              <a:off x="6137542" y="3239219"/>
              <a:ext cx="227302" cy="291244"/>
              <a:chOff x="2688756" y="4175394"/>
              <a:chExt cx="207521" cy="265899"/>
            </a:xfrm>
            <a:solidFill>
              <a:schemeClr val="tx2"/>
            </a:solidFill>
          </p:grpSpPr>
          <p:sp>
            <p:nvSpPr>
              <p:cNvPr id="519" name="Freihandform: Form 246">
                <a:extLst>
                  <a:ext uri="{FF2B5EF4-FFF2-40B4-BE49-F238E27FC236}">
                    <a16:creationId xmlns:a16="http://schemas.microsoft.com/office/drawing/2014/main" id="{ACDCB69C-A37D-464B-A67D-8F8657B1E29B}"/>
                  </a:ext>
                </a:extLst>
              </p:cNvPr>
              <p:cNvSpPr/>
              <p:nvPr/>
            </p:nvSpPr>
            <p:spPr>
              <a:xfrm>
                <a:off x="2721169" y="4389414"/>
                <a:ext cx="19468" cy="25940"/>
              </a:xfrm>
              <a:custGeom>
                <a:avLst/>
                <a:gdLst>
                  <a:gd name="connsiteX0" fmla="*/ 19468 w 19468"/>
                  <a:gd name="connsiteY0" fmla="*/ 25940 h 25940"/>
                  <a:gd name="connsiteX1" fmla="*/ 6498 w 19468"/>
                  <a:gd name="connsiteY1" fmla="*/ 25940 h 25940"/>
                  <a:gd name="connsiteX2" fmla="*/ 6498 w 19468"/>
                  <a:gd name="connsiteY2" fmla="*/ 12970 h 25940"/>
                  <a:gd name="connsiteX3" fmla="*/ 0 w 19468"/>
                  <a:gd name="connsiteY3" fmla="*/ 12970 h 25940"/>
                  <a:gd name="connsiteX4" fmla="*/ 0 w 19468"/>
                  <a:gd name="connsiteY4" fmla="*/ 0 h 25940"/>
                  <a:gd name="connsiteX5" fmla="*/ 19468 w 19468"/>
                  <a:gd name="connsiteY5" fmla="*/ 0 h 2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68" h="25940">
                    <a:moveTo>
                      <a:pt x="19468" y="25940"/>
                    </a:moveTo>
                    <a:lnTo>
                      <a:pt x="6498" y="25940"/>
                    </a:lnTo>
                    <a:lnTo>
                      <a:pt x="6498" y="12970"/>
                    </a:lnTo>
                    <a:lnTo>
                      <a:pt x="0" y="12970"/>
                    </a:lnTo>
                    <a:lnTo>
                      <a:pt x="0" y="0"/>
                    </a:lnTo>
                    <a:lnTo>
                      <a:pt x="19468" y="0"/>
                    </a:lnTo>
                    <a:close/>
                  </a:path>
                </a:pathLst>
              </a:custGeom>
              <a:grpFill/>
              <a:ln w="2585" cap="flat">
                <a:noFill/>
                <a:prstDash val="solid"/>
                <a:miter/>
              </a:ln>
            </p:spPr>
            <p:txBody>
              <a:bodyPr rtlCol="0" anchor="ctr"/>
              <a:lstStyle/>
              <a:p>
                <a:endParaRPr lang="en-GB" dirty="0"/>
              </a:p>
            </p:txBody>
          </p:sp>
          <p:sp>
            <p:nvSpPr>
              <p:cNvPr id="520" name="Freihandform: Form 247">
                <a:extLst>
                  <a:ext uri="{FF2B5EF4-FFF2-40B4-BE49-F238E27FC236}">
                    <a16:creationId xmlns:a16="http://schemas.microsoft.com/office/drawing/2014/main" id="{1F67DF06-A7BA-48CB-B049-7C514EA1FF46}"/>
                  </a:ext>
                </a:extLst>
              </p:cNvPr>
              <p:cNvSpPr/>
              <p:nvPr/>
            </p:nvSpPr>
            <p:spPr>
              <a:xfrm>
                <a:off x="2844398" y="4389414"/>
                <a:ext cx="19442" cy="25940"/>
              </a:xfrm>
              <a:custGeom>
                <a:avLst/>
                <a:gdLst>
                  <a:gd name="connsiteX0" fmla="*/ 12970 w 19442"/>
                  <a:gd name="connsiteY0" fmla="*/ 25940 h 25940"/>
                  <a:gd name="connsiteX1" fmla="*/ 0 w 19442"/>
                  <a:gd name="connsiteY1" fmla="*/ 25940 h 25940"/>
                  <a:gd name="connsiteX2" fmla="*/ 0 w 19442"/>
                  <a:gd name="connsiteY2" fmla="*/ 0 h 25940"/>
                  <a:gd name="connsiteX3" fmla="*/ 19442 w 19442"/>
                  <a:gd name="connsiteY3" fmla="*/ 0 h 25940"/>
                  <a:gd name="connsiteX4" fmla="*/ 19442 w 19442"/>
                  <a:gd name="connsiteY4" fmla="*/ 12970 h 25940"/>
                  <a:gd name="connsiteX5" fmla="*/ 12970 w 19442"/>
                  <a:gd name="connsiteY5" fmla="*/ 12970 h 25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442" h="25940">
                    <a:moveTo>
                      <a:pt x="12970" y="25940"/>
                    </a:moveTo>
                    <a:lnTo>
                      <a:pt x="0" y="25940"/>
                    </a:lnTo>
                    <a:lnTo>
                      <a:pt x="0" y="0"/>
                    </a:lnTo>
                    <a:lnTo>
                      <a:pt x="19442" y="0"/>
                    </a:lnTo>
                    <a:lnTo>
                      <a:pt x="19442" y="12970"/>
                    </a:lnTo>
                    <a:lnTo>
                      <a:pt x="12970" y="12970"/>
                    </a:lnTo>
                    <a:close/>
                  </a:path>
                </a:pathLst>
              </a:custGeom>
              <a:grpFill/>
              <a:ln w="2585" cap="flat">
                <a:noFill/>
                <a:prstDash val="solid"/>
                <a:miter/>
              </a:ln>
            </p:spPr>
            <p:txBody>
              <a:bodyPr rtlCol="0" anchor="ctr"/>
              <a:lstStyle/>
              <a:p>
                <a:endParaRPr lang="en-GB" dirty="0"/>
              </a:p>
            </p:txBody>
          </p:sp>
          <p:sp>
            <p:nvSpPr>
              <p:cNvPr id="521" name="Freihandform: Form 248">
                <a:extLst>
                  <a:ext uri="{FF2B5EF4-FFF2-40B4-BE49-F238E27FC236}">
                    <a16:creationId xmlns:a16="http://schemas.microsoft.com/office/drawing/2014/main" id="{3D8C52C4-D587-4F48-BC91-18FE8F050FAE}"/>
                  </a:ext>
                </a:extLst>
              </p:cNvPr>
              <p:cNvSpPr/>
              <p:nvPr/>
            </p:nvSpPr>
            <p:spPr>
              <a:xfrm>
                <a:off x="2688756" y="4292099"/>
                <a:ext cx="207521" cy="116756"/>
              </a:xfrm>
              <a:custGeom>
                <a:avLst/>
                <a:gdLst>
                  <a:gd name="connsiteX0" fmla="*/ 207521 w 207521"/>
                  <a:gd name="connsiteY0" fmla="*/ 116757 h 116756"/>
                  <a:gd name="connsiteX1" fmla="*/ 194551 w 207521"/>
                  <a:gd name="connsiteY1" fmla="*/ 116757 h 116756"/>
                  <a:gd name="connsiteX2" fmla="*/ 194551 w 207521"/>
                  <a:gd name="connsiteY2" fmla="*/ 84318 h 116756"/>
                  <a:gd name="connsiteX3" fmla="*/ 129701 w 207521"/>
                  <a:gd name="connsiteY3" fmla="*/ 12970 h 116756"/>
                  <a:gd name="connsiteX4" fmla="*/ 77821 w 207521"/>
                  <a:gd name="connsiteY4" fmla="*/ 12970 h 116756"/>
                  <a:gd name="connsiteX5" fmla="*/ 12970 w 207521"/>
                  <a:gd name="connsiteY5" fmla="*/ 84318 h 116756"/>
                  <a:gd name="connsiteX6" fmla="*/ 12970 w 207521"/>
                  <a:gd name="connsiteY6" fmla="*/ 116757 h 116756"/>
                  <a:gd name="connsiteX7" fmla="*/ 0 w 207521"/>
                  <a:gd name="connsiteY7" fmla="*/ 116757 h 116756"/>
                  <a:gd name="connsiteX8" fmla="*/ 0 w 207521"/>
                  <a:gd name="connsiteY8" fmla="*/ 84318 h 116756"/>
                  <a:gd name="connsiteX9" fmla="*/ 77821 w 207521"/>
                  <a:gd name="connsiteY9" fmla="*/ 0 h 116756"/>
                  <a:gd name="connsiteX10" fmla="*/ 129701 w 207521"/>
                  <a:gd name="connsiteY10" fmla="*/ 0 h 116756"/>
                  <a:gd name="connsiteX11" fmla="*/ 207521 w 207521"/>
                  <a:gd name="connsiteY11" fmla="*/ 84318 h 116756"/>
                  <a:gd name="connsiteX12" fmla="*/ 207521 w 207521"/>
                  <a:gd name="connsiteY12" fmla="*/ 116757 h 116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7521" h="116756">
                    <a:moveTo>
                      <a:pt x="207521" y="116757"/>
                    </a:moveTo>
                    <a:lnTo>
                      <a:pt x="194551" y="116757"/>
                    </a:lnTo>
                    <a:lnTo>
                      <a:pt x="194551" y="84318"/>
                    </a:lnTo>
                    <a:cubicBezTo>
                      <a:pt x="194551" y="42975"/>
                      <a:pt x="167265" y="12970"/>
                      <a:pt x="129701" y="12970"/>
                    </a:cubicBezTo>
                    <a:lnTo>
                      <a:pt x="77821" y="12970"/>
                    </a:lnTo>
                    <a:cubicBezTo>
                      <a:pt x="40256" y="12970"/>
                      <a:pt x="12970" y="42975"/>
                      <a:pt x="12970" y="84318"/>
                    </a:cubicBezTo>
                    <a:lnTo>
                      <a:pt x="12970" y="116757"/>
                    </a:lnTo>
                    <a:lnTo>
                      <a:pt x="0" y="116757"/>
                    </a:lnTo>
                    <a:lnTo>
                      <a:pt x="0" y="84318"/>
                    </a:lnTo>
                    <a:cubicBezTo>
                      <a:pt x="0" y="36244"/>
                      <a:pt x="33448" y="0"/>
                      <a:pt x="77821" y="0"/>
                    </a:cubicBezTo>
                    <a:lnTo>
                      <a:pt x="129701" y="0"/>
                    </a:lnTo>
                    <a:cubicBezTo>
                      <a:pt x="174074" y="0"/>
                      <a:pt x="207521" y="36244"/>
                      <a:pt x="207521" y="84318"/>
                    </a:cubicBezTo>
                    <a:lnTo>
                      <a:pt x="207521" y="116757"/>
                    </a:lnTo>
                    <a:close/>
                  </a:path>
                </a:pathLst>
              </a:custGeom>
              <a:grpFill/>
              <a:ln w="2585" cap="flat">
                <a:noFill/>
                <a:prstDash val="solid"/>
                <a:miter/>
              </a:ln>
            </p:spPr>
            <p:txBody>
              <a:bodyPr rtlCol="0" anchor="ctr"/>
              <a:lstStyle/>
              <a:p>
                <a:endParaRPr lang="en-GB" dirty="0"/>
              </a:p>
            </p:txBody>
          </p:sp>
          <p:sp>
            <p:nvSpPr>
              <p:cNvPr id="522" name="Freihandform: Form 249">
                <a:extLst>
                  <a:ext uri="{FF2B5EF4-FFF2-40B4-BE49-F238E27FC236}">
                    <a16:creationId xmlns:a16="http://schemas.microsoft.com/office/drawing/2014/main" id="{74530BE7-6E14-4E6E-BD01-E24002B1FB9D}"/>
                  </a:ext>
                </a:extLst>
              </p:cNvPr>
              <p:cNvSpPr/>
              <p:nvPr/>
            </p:nvSpPr>
            <p:spPr>
              <a:xfrm>
                <a:off x="2747109" y="4175394"/>
                <a:ext cx="90816" cy="103760"/>
              </a:xfrm>
              <a:custGeom>
                <a:avLst/>
                <a:gdLst>
                  <a:gd name="connsiteX0" fmla="*/ 45408 w 90816"/>
                  <a:gd name="connsiteY0" fmla="*/ 103761 h 103760"/>
                  <a:gd name="connsiteX1" fmla="*/ 0 w 90816"/>
                  <a:gd name="connsiteY1" fmla="*/ 51880 h 103760"/>
                  <a:gd name="connsiteX2" fmla="*/ 45408 w 90816"/>
                  <a:gd name="connsiteY2" fmla="*/ 0 h 103760"/>
                  <a:gd name="connsiteX3" fmla="*/ 90817 w 90816"/>
                  <a:gd name="connsiteY3" fmla="*/ 51880 h 103760"/>
                  <a:gd name="connsiteX4" fmla="*/ 45408 w 90816"/>
                  <a:gd name="connsiteY4" fmla="*/ 103761 h 103760"/>
                  <a:gd name="connsiteX5" fmla="*/ 45408 w 90816"/>
                  <a:gd name="connsiteY5" fmla="*/ 12970 h 103760"/>
                  <a:gd name="connsiteX6" fmla="*/ 12970 w 90816"/>
                  <a:gd name="connsiteY6" fmla="*/ 51880 h 103760"/>
                  <a:gd name="connsiteX7" fmla="*/ 45408 w 90816"/>
                  <a:gd name="connsiteY7" fmla="*/ 90791 h 103760"/>
                  <a:gd name="connsiteX8" fmla="*/ 77846 w 90816"/>
                  <a:gd name="connsiteY8" fmla="*/ 51880 h 103760"/>
                  <a:gd name="connsiteX9" fmla="*/ 45408 w 90816"/>
                  <a:gd name="connsiteY9" fmla="*/ 12970 h 10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816" h="103760">
                    <a:moveTo>
                      <a:pt x="45408" y="103761"/>
                    </a:moveTo>
                    <a:cubicBezTo>
                      <a:pt x="18251" y="103761"/>
                      <a:pt x="0" y="82921"/>
                      <a:pt x="0" y="51880"/>
                    </a:cubicBezTo>
                    <a:cubicBezTo>
                      <a:pt x="0" y="20840"/>
                      <a:pt x="18251" y="0"/>
                      <a:pt x="45408" y="0"/>
                    </a:cubicBezTo>
                    <a:cubicBezTo>
                      <a:pt x="72565" y="0"/>
                      <a:pt x="90817" y="20840"/>
                      <a:pt x="90817" y="51880"/>
                    </a:cubicBezTo>
                    <a:cubicBezTo>
                      <a:pt x="90791" y="82921"/>
                      <a:pt x="72539" y="103761"/>
                      <a:pt x="45408" y="103761"/>
                    </a:cubicBezTo>
                    <a:close/>
                    <a:moveTo>
                      <a:pt x="45408" y="12970"/>
                    </a:moveTo>
                    <a:cubicBezTo>
                      <a:pt x="21487" y="12970"/>
                      <a:pt x="12970" y="33940"/>
                      <a:pt x="12970" y="51880"/>
                    </a:cubicBezTo>
                    <a:cubicBezTo>
                      <a:pt x="12970" y="69821"/>
                      <a:pt x="21461" y="90791"/>
                      <a:pt x="45408" y="90791"/>
                    </a:cubicBezTo>
                    <a:cubicBezTo>
                      <a:pt x="69355" y="90791"/>
                      <a:pt x="77846" y="69821"/>
                      <a:pt x="77846" y="51880"/>
                    </a:cubicBezTo>
                    <a:cubicBezTo>
                      <a:pt x="77821" y="33940"/>
                      <a:pt x="69329" y="12970"/>
                      <a:pt x="45408" y="12970"/>
                    </a:cubicBezTo>
                    <a:close/>
                  </a:path>
                </a:pathLst>
              </a:custGeom>
              <a:grpFill/>
              <a:ln w="2585" cap="flat">
                <a:noFill/>
                <a:prstDash val="solid"/>
                <a:miter/>
              </a:ln>
            </p:spPr>
            <p:txBody>
              <a:bodyPr rtlCol="0" anchor="ctr"/>
              <a:lstStyle/>
              <a:p>
                <a:endParaRPr lang="en-GB" dirty="0"/>
              </a:p>
            </p:txBody>
          </p:sp>
          <p:grpSp>
            <p:nvGrpSpPr>
              <p:cNvPr id="523" name="Grafik 168">
                <a:extLst>
                  <a:ext uri="{FF2B5EF4-FFF2-40B4-BE49-F238E27FC236}">
                    <a16:creationId xmlns:a16="http://schemas.microsoft.com/office/drawing/2014/main" id="{DC216B88-B3D1-4608-96B1-6C8FC4BD54E0}"/>
                  </a:ext>
                </a:extLst>
              </p:cNvPr>
              <p:cNvGrpSpPr/>
              <p:nvPr/>
            </p:nvGrpSpPr>
            <p:grpSpPr>
              <a:xfrm>
                <a:off x="2786019" y="4350503"/>
                <a:ext cx="12970" cy="90790"/>
                <a:chOff x="2786019" y="4350503"/>
                <a:chExt cx="12970" cy="90790"/>
              </a:xfrm>
              <a:grpFill/>
            </p:grpSpPr>
            <p:sp>
              <p:nvSpPr>
                <p:cNvPr id="524" name="Freihandform: Form 251">
                  <a:extLst>
                    <a:ext uri="{FF2B5EF4-FFF2-40B4-BE49-F238E27FC236}">
                      <a16:creationId xmlns:a16="http://schemas.microsoft.com/office/drawing/2014/main" id="{96BD704A-BF0C-4AEC-844A-5ABB137846FB}"/>
                    </a:ext>
                  </a:extLst>
                </p:cNvPr>
                <p:cNvSpPr/>
                <p:nvPr/>
              </p:nvSpPr>
              <p:spPr>
                <a:xfrm>
                  <a:off x="2786019" y="4350503"/>
                  <a:ext cx="12970" cy="12970"/>
                </a:xfrm>
                <a:custGeom>
                  <a:avLst/>
                  <a:gdLst>
                    <a:gd name="connsiteX0" fmla="*/ 0 w 12970"/>
                    <a:gd name="connsiteY0" fmla="*/ 0 h 12970"/>
                    <a:gd name="connsiteX1" fmla="*/ 12970 w 12970"/>
                    <a:gd name="connsiteY1" fmla="*/ 0 h 12970"/>
                    <a:gd name="connsiteX2" fmla="*/ 12970 w 12970"/>
                    <a:gd name="connsiteY2" fmla="*/ 12970 h 12970"/>
                    <a:gd name="connsiteX3" fmla="*/ 0 w 12970"/>
                    <a:gd name="connsiteY3" fmla="*/ 12970 h 12970"/>
                  </a:gdLst>
                  <a:ahLst/>
                  <a:cxnLst>
                    <a:cxn ang="0">
                      <a:pos x="connsiteX0" y="connsiteY0"/>
                    </a:cxn>
                    <a:cxn ang="0">
                      <a:pos x="connsiteX1" y="connsiteY1"/>
                    </a:cxn>
                    <a:cxn ang="0">
                      <a:pos x="connsiteX2" y="connsiteY2"/>
                    </a:cxn>
                    <a:cxn ang="0">
                      <a:pos x="connsiteX3" y="connsiteY3"/>
                    </a:cxn>
                  </a:cxnLst>
                  <a:rect l="l" t="t" r="r" b="b"/>
                  <a:pathLst>
                    <a:path w="12970" h="12970">
                      <a:moveTo>
                        <a:pt x="0" y="0"/>
                      </a:moveTo>
                      <a:lnTo>
                        <a:pt x="12970" y="0"/>
                      </a:lnTo>
                      <a:lnTo>
                        <a:pt x="12970" y="12970"/>
                      </a:lnTo>
                      <a:lnTo>
                        <a:pt x="0" y="12970"/>
                      </a:lnTo>
                      <a:close/>
                    </a:path>
                  </a:pathLst>
                </a:custGeom>
                <a:grpFill/>
                <a:ln w="2585" cap="flat">
                  <a:noFill/>
                  <a:prstDash val="solid"/>
                  <a:miter/>
                </a:ln>
              </p:spPr>
              <p:txBody>
                <a:bodyPr rtlCol="0" anchor="ctr"/>
                <a:lstStyle/>
                <a:p>
                  <a:endParaRPr lang="en-GB" dirty="0"/>
                </a:p>
              </p:txBody>
            </p:sp>
            <p:sp>
              <p:nvSpPr>
                <p:cNvPr id="525" name="Freihandform: Form 252">
                  <a:extLst>
                    <a:ext uri="{FF2B5EF4-FFF2-40B4-BE49-F238E27FC236}">
                      <a16:creationId xmlns:a16="http://schemas.microsoft.com/office/drawing/2014/main" id="{7F914C16-CBC3-40ED-8601-7414488A5BB7}"/>
                    </a:ext>
                  </a:extLst>
                </p:cNvPr>
                <p:cNvSpPr/>
                <p:nvPr/>
              </p:nvSpPr>
              <p:spPr>
                <a:xfrm>
                  <a:off x="2786019" y="4389414"/>
                  <a:ext cx="12970" cy="12970"/>
                </a:xfrm>
                <a:custGeom>
                  <a:avLst/>
                  <a:gdLst>
                    <a:gd name="connsiteX0" fmla="*/ 0 w 12970"/>
                    <a:gd name="connsiteY0" fmla="*/ 0 h 12970"/>
                    <a:gd name="connsiteX1" fmla="*/ 12970 w 12970"/>
                    <a:gd name="connsiteY1" fmla="*/ 0 h 12970"/>
                    <a:gd name="connsiteX2" fmla="*/ 12970 w 12970"/>
                    <a:gd name="connsiteY2" fmla="*/ 12970 h 12970"/>
                    <a:gd name="connsiteX3" fmla="*/ 0 w 12970"/>
                    <a:gd name="connsiteY3" fmla="*/ 12970 h 12970"/>
                  </a:gdLst>
                  <a:ahLst/>
                  <a:cxnLst>
                    <a:cxn ang="0">
                      <a:pos x="connsiteX0" y="connsiteY0"/>
                    </a:cxn>
                    <a:cxn ang="0">
                      <a:pos x="connsiteX1" y="connsiteY1"/>
                    </a:cxn>
                    <a:cxn ang="0">
                      <a:pos x="connsiteX2" y="connsiteY2"/>
                    </a:cxn>
                    <a:cxn ang="0">
                      <a:pos x="connsiteX3" y="connsiteY3"/>
                    </a:cxn>
                  </a:cxnLst>
                  <a:rect l="l" t="t" r="r" b="b"/>
                  <a:pathLst>
                    <a:path w="12970" h="12970">
                      <a:moveTo>
                        <a:pt x="0" y="0"/>
                      </a:moveTo>
                      <a:lnTo>
                        <a:pt x="12970" y="0"/>
                      </a:lnTo>
                      <a:lnTo>
                        <a:pt x="12970" y="12970"/>
                      </a:lnTo>
                      <a:lnTo>
                        <a:pt x="0" y="12970"/>
                      </a:lnTo>
                      <a:close/>
                    </a:path>
                  </a:pathLst>
                </a:custGeom>
                <a:grpFill/>
                <a:ln w="2585" cap="flat">
                  <a:noFill/>
                  <a:prstDash val="solid"/>
                  <a:miter/>
                </a:ln>
              </p:spPr>
              <p:txBody>
                <a:bodyPr rtlCol="0" anchor="ctr"/>
                <a:lstStyle/>
                <a:p>
                  <a:endParaRPr lang="en-GB" dirty="0"/>
                </a:p>
              </p:txBody>
            </p:sp>
            <p:sp>
              <p:nvSpPr>
                <p:cNvPr id="526" name="Freihandform: Form 253">
                  <a:extLst>
                    <a:ext uri="{FF2B5EF4-FFF2-40B4-BE49-F238E27FC236}">
                      <a16:creationId xmlns:a16="http://schemas.microsoft.com/office/drawing/2014/main" id="{24A084C5-8490-4335-A0A5-FBF64A1C8B6D}"/>
                    </a:ext>
                  </a:extLst>
                </p:cNvPr>
                <p:cNvSpPr/>
                <p:nvPr/>
              </p:nvSpPr>
              <p:spPr>
                <a:xfrm>
                  <a:off x="2786019" y="4428324"/>
                  <a:ext cx="12970" cy="12970"/>
                </a:xfrm>
                <a:custGeom>
                  <a:avLst/>
                  <a:gdLst>
                    <a:gd name="connsiteX0" fmla="*/ 0 w 12970"/>
                    <a:gd name="connsiteY0" fmla="*/ 0 h 12970"/>
                    <a:gd name="connsiteX1" fmla="*/ 12970 w 12970"/>
                    <a:gd name="connsiteY1" fmla="*/ 0 h 12970"/>
                    <a:gd name="connsiteX2" fmla="*/ 12970 w 12970"/>
                    <a:gd name="connsiteY2" fmla="*/ 12970 h 12970"/>
                    <a:gd name="connsiteX3" fmla="*/ 0 w 12970"/>
                    <a:gd name="connsiteY3" fmla="*/ 12970 h 12970"/>
                  </a:gdLst>
                  <a:ahLst/>
                  <a:cxnLst>
                    <a:cxn ang="0">
                      <a:pos x="connsiteX0" y="connsiteY0"/>
                    </a:cxn>
                    <a:cxn ang="0">
                      <a:pos x="connsiteX1" y="connsiteY1"/>
                    </a:cxn>
                    <a:cxn ang="0">
                      <a:pos x="connsiteX2" y="connsiteY2"/>
                    </a:cxn>
                    <a:cxn ang="0">
                      <a:pos x="connsiteX3" y="connsiteY3"/>
                    </a:cxn>
                  </a:cxnLst>
                  <a:rect l="l" t="t" r="r" b="b"/>
                  <a:pathLst>
                    <a:path w="12970" h="12970">
                      <a:moveTo>
                        <a:pt x="0" y="0"/>
                      </a:moveTo>
                      <a:lnTo>
                        <a:pt x="12970" y="0"/>
                      </a:lnTo>
                      <a:lnTo>
                        <a:pt x="12970" y="12970"/>
                      </a:lnTo>
                      <a:lnTo>
                        <a:pt x="0" y="12970"/>
                      </a:lnTo>
                      <a:close/>
                    </a:path>
                  </a:pathLst>
                </a:custGeom>
                <a:grpFill/>
                <a:ln w="2585" cap="flat">
                  <a:noFill/>
                  <a:prstDash val="solid"/>
                  <a:miter/>
                </a:ln>
              </p:spPr>
              <p:txBody>
                <a:bodyPr rtlCol="0" anchor="ctr"/>
                <a:lstStyle/>
                <a:p>
                  <a:endParaRPr lang="en-GB" dirty="0"/>
                </a:p>
              </p:txBody>
            </p:sp>
          </p:grpSp>
        </p:grpSp>
      </p:grpSp>
      <p:grpSp>
        <p:nvGrpSpPr>
          <p:cNvPr id="535" name="Group 534">
            <a:extLst>
              <a:ext uri="{FF2B5EF4-FFF2-40B4-BE49-F238E27FC236}">
                <a16:creationId xmlns:a16="http://schemas.microsoft.com/office/drawing/2014/main" id="{03202F87-6A32-4777-B0C5-DF86C170485A}"/>
              </a:ext>
            </a:extLst>
          </p:cNvPr>
          <p:cNvGrpSpPr>
            <a:grpSpLocks noChangeAspect="1"/>
          </p:cNvGrpSpPr>
          <p:nvPr/>
        </p:nvGrpSpPr>
        <p:grpSpPr>
          <a:xfrm>
            <a:off x="4958932" y="3197068"/>
            <a:ext cx="508672" cy="432000"/>
            <a:chOff x="1735442" y="4181910"/>
            <a:chExt cx="473412" cy="402055"/>
          </a:xfrm>
        </p:grpSpPr>
        <p:grpSp>
          <p:nvGrpSpPr>
            <p:cNvPr id="536" name="Group 535">
              <a:extLst>
                <a:ext uri="{FF2B5EF4-FFF2-40B4-BE49-F238E27FC236}">
                  <a16:creationId xmlns:a16="http://schemas.microsoft.com/office/drawing/2014/main" id="{46F8A15C-D201-4095-BC6A-B16242D5E3A2}"/>
                </a:ext>
              </a:extLst>
            </p:cNvPr>
            <p:cNvGrpSpPr/>
            <p:nvPr/>
          </p:nvGrpSpPr>
          <p:grpSpPr>
            <a:xfrm>
              <a:off x="1988345" y="4246743"/>
              <a:ext cx="116756" cy="181581"/>
              <a:chOff x="1988345" y="4246743"/>
              <a:chExt cx="116756" cy="181581"/>
            </a:xfrm>
          </p:grpSpPr>
          <p:grpSp>
            <p:nvGrpSpPr>
              <p:cNvPr id="543" name="Grafik 168">
                <a:extLst>
                  <a:ext uri="{FF2B5EF4-FFF2-40B4-BE49-F238E27FC236}">
                    <a16:creationId xmlns:a16="http://schemas.microsoft.com/office/drawing/2014/main" id="{223992DA-DFCD-4843-9AE6-0DFE2E457EA7}"/>
                  </a:ext>
                </a:extLst>
              </p:cNvPr>
              <p:cNvGrpSpPr/>
              <p:nvPr/>
            </p:nvGrpSpPr>
            <p:grpSpPr>
              <a:xfrm>
                <a:off x="1988345" y="4246743"/>
                <a:ext cx="116756" cy="155641"/>
                <a:chOff x="1988345" y="4246743"/>
                <a:chExt cx="116756" cy="155641"/>
              </a:xfrm>
              <a:solidFill>
                <a:schemeClr val="accent1"/>
              </a:solidFill>
            </p:grpSpPr>
            <p:sp>
              <p:nvSpPr>
                <p:cNvPr id="545" name="Freihandform: Form 460">
                  <a:extLst>
                    <a:ext uri="{FF2B5EF4-FFF2-40B4-BE49-F238E27FC236}">
                      <a16:creationId xmlns:a16="http://schemas.microsoft.com/office/drawing/2014/main" id="{D8CF41CF-BA5A-4B3A-8733-18E99041C053}"/>
                    </a:ext>
                  </a:extLst>
                </p:cNvPr>
                <p:cNvSpPr/>
                <p:nvPr/>
              </p:nvSpPr>
              <p:spPr>
                <a:xfrm>
                  <a:off x="1988345" y="4246743"/>
                  <a:ext cx="116756" cy="129700"/>
                </a:xfrm>
                <a:custGeom>
                  <a:avLst/>
                  <a:gdLst>
                    <a:gd name="connsiteX0" fmla="*/ 90791 w 116756"/>
                    <a:gd name="connsiteY0" fmla="*/ 129701 h 129700"/>
                    <a:gd name="connsiteX1" fmla="*/ 25940 w 116756"/>
                    <a:gd name="connsiteY1" fmla="*/ 129701 h 129700"/>
                    <a:gd name="connsiteX2" fmla="*/ 25940 w 116756"/>
                    <a:gd name="connsiteY2" fmla="*/ 106842 h 129700"/>
                    <a:gd name="connsiteX3" fmla="*/ 0 w 116756"/>
                    <a:gd name="connsiteY3" fmla="*/ 58378 h 129700"/>
                    <a:gd name="connsiteX4" fmla="*/ 58378 w 116756"/>
                    <a:gd name="connsiteY4" fmla="*/ 0 h 129700"/>
                    <a:gd name="connsiteX5" fmla="*/ 116757 w 116756"/>
                    <a:gd name="connsiteY5" fmla="*/ 58378 h 129700"/>
                    <a:gd name="connsiteX6" fmla="*/ 90817 w 116756"/>
                    <a:gd name="connsiteY6" fmla="*/ 106842 h 129700"/>
                    <a:gd name="connsiteX7" fmla="*/ 90817 w 116756"/>
                    <a:gd name="connsiteY7" fmla="*/ 129701 h 129700"/>
                    <a:gd name="connsiteX8" fmla="*/ 38910 w 116756"/>
                    <a:gd name="connsiteY8" fmla="*/ 116731 h 129700"/>
                    <a:gd name="connsiteX9" fmla="*/ 77821 w 116756"/>
                    <a:gd name="connsiteY9" fmla="*/ 116731 h 129700"/>
                    <a:gd name="connsiteX10" fmla="*/ 77821 w 116756"/>
                    <a:gd name="connsiteY10" fmla="*/ 99515 h 129700"/>
                    <a:gd name="connsiteX11" fmla="*/ 81057 w 116756"/>
                    <a:gd name="connsiteY11" fmla="*/ 97651 h 129700"/>
                    <a:gd name="connsiteX12" fmla="*/ 103761 w 116756"/>
                    <a:gd name="connsiteY12" fmla="*/ 58378 h 129700"/>
                    <a:gd name="connsiteX13" fmla="*/ 58353 w 116756"/>
                    <a:gd name="connsiteY13" fmla="*/ 12970 h 129700"/>
                    <a:gd name="connsiteX14" fmla="*/ 12944 w 116756"/>
                    <a:gd name="connsiteY14" fmla="*/ 58378 h 129700"/>
                    <a:gd name="connsiteX15" fmla="*/ 35648 w 116756"/>
                    <a:gd name="connsiteY15" fmla="*/ 97651 h 129700"/>
                    <a:gd name="connsiteX16" fmla="*/ 38884 w 116756"/>
                    <a:gd name="connsiteY16" fmla="*/ 99515 h 129700"/>
                    <a:gd name="connsiteX17" fmla="*/ 38884 w 116756"/>
                    <a:gd name="connsiteY17" fmla="*/ 116731 h 12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6756" h="129700">
                      <a:moveTo>
                        <a:pt x="90791" y="129701"/>
                      </a:moveTo>
                      <a:lnTo>
                        <a:pt x="25940" y="129701"/>
                      </a:lnTo>
                      <a:lnTo>
                        <a:pt x="25940" y="106842"/>
                      </a:lnTo>
                      <a:cubicBezTo>
                        <a:pt x="9838" y="96046"/>
                        <a:pt x="0" y="77820"/>
                        <a:pt x="0" y="58378"/>
                      </a:cubicBezTo>
                      <a:cubicBezTo>
                        <a:pt x="0" y="26199"/>
                        <a:pt x="26173" y="0"/>
                        <a:pt x="58378" y="0"/>
                      </a:cubicBezTo>
                      <a:cubicBezTo>
                        <a:pt x="90558" y="0"/>
                        <a:pt x="116757" y="26173"/>
                        <a:pt x="116757" y="58378"/>
                      </a:cubicBezTo>
                      <a:cubicBezTo>
                        <a:pt x="116757" y="77820"/>
                        <a:pt x="106919" y="96072"/>
                        <a:pt x="90817" y="106842"/>
                      </a:cubicBezTo>
                      <a:lnTo>
                        <a:pt x="90817" y="129701"/>
                      </a:lnTo>
                      <a:close/>
                      <a:moveTo>
                        <a:pt x="38910" y="116731"/>
                      </a:moveTo>
                      <a:lnTo>
                        <a:pt x="77821" y="116731"/>
                      </a:lnTo>
                      <a:lnTo>
                        <a:pt x="77821" y="99515"/>
                      </a:lnTo>
                      <a:lnTo>
                        <a:pt x="81057" y="97651"/>
                      </a:lnTo>
                      <a:cubicBezTo>
                        <a:pt x="95062" y="89548"/>
                        <a:pt x="103761" y="74481"/>
                        <a:pt x="103761" y="58378"/>
                      </a:cubicBezTo>
                      <a:cubicBezTo>
                        <a:pt x="103761" y="33344"/>
                        <a:pt x="83387" y="12970"/>
                        <a:pt x="58353" y="12970"/>
                      </a:cubicBezTo>
                      <a:cubicBezTo>
                        <a:pt x="33318" y="12970"/>
                        <a:pt x="12944" y="33344"/>
                        <a:pt x="12944" y="58378"/>
                      </a:cubicBezTo>
                      <a:cubicBezTo>
                        <a:pt x="12944" y="74481"/>
                        <a:pt x="21643" y="89548"/>
                        <a:pt x="35648" y="97651"/>
                      </a:cubicBezTo>
                      <a:lnTo>
                        <a:pt x="38884" y="99515"/>
                      </a:lnTo>
                      <a:lnTo>
                        <a:pt x="38884" y="116731"/>
                      </a:lnTo>
                      <a:close/>
                    </a:path>
                  </a:pathLst>
                </a:custGeom>
                <a:solidFill>
                  <a:schemeClr val="accent1"/>
                </a:solidFill>
                <a:ln w="2585" cap="flat">
                  <a:noFill/>
                  <a:prstDash val="solid"/>
                  <a:miter/>
                </a:ln>
              </p:spPr>
              <p:txBody>
                <a:bodyPr rtlCol="0" anchor="ctr"/>
                <a:lstStyle/>
                <a:p>
                  <a:endParaRPr lang="en-GB" dirty="0"/>
                </a:p>
              </p:txBody>
            </p:sp>
            <p:sp>
              <p:nvSpPr>
                <p:cNvPr id="546" name="Freihandform: Form 461">
                  <a:extLst>
                    <a:ext uri="{FF2B5EF4-FFF2-40B4-BE49-F238E27FC236}">
                      <a16:creationId xmlns:a16="http://schemas.microsoft.com/office/drawing/2014/main" id="{D5859D1D-3DBE-4D64-A7E0-06B6C904F0C8}"/>
                    </a:ext>
                  </a:extLst>
                </p:cNvPr>
                <p:cNvSpPr/>
                <p:nvPr/>
              </p:nvSpPr>
              <p:spPr>
                <a:xfrm>
                  <a:off x="2027256" y="4389414"/>
                  <a:ext cx="38910" cy="12970"/>
                </a:xfrm>
                <a:custGeom>
                  <a:avLst/>
                  <a:gdLst>
                    <a:gd name="connsiteX0" fmla="*/ 0 w 38910"/>
                    <a:gd name="connsiteY0" fmla="*/ 0 h 12970"/>
                    <a:gd name="connsiteX1" fmla="*/ 38910 w 38910"/>
                    <a:gd name="connsiteY1" fmla="*/ 0 h 12970"/>
                    <a:gd name="connsiteX2" fmla="*/ 38910 w 38910"/>
                    <a:gd name="connsiteY2" fmla="*/ 12970 h 12970"/>
                    <a:gd name="connsiteX3" fmla="*/ 0 w 38910"/>
                    <a:gd name="connsiteY3" fmla="*/ 12970 h 12970"/>
                  </a:gdLst>
                  <a:ahLst/>
                  <a:cxnLst>
                    <a:cxn ang="0">
                      <a:pos x="connsiteX0" y="connsiteY0"/>
                    </a:cxn>
                    <a:cxn ang="0">
                      <a:pos x="connsiteX1" y="connsiteY1"/>
                    </a:cxn>
                    <a:cxn ang="0">
                      <a:pos x="connsiteX2" y="connsiteY2"/>
                    </a:cxn>
                    <a:cxn ang="0">
                      <a:pos x="connsiteX3" y="connsiteY3"/>
                    </a:cxn>
                  </a:cxnLst>
                  <a:rect l="l" t="t" r="r" b="b"/>
                  <a:pathLst>
                    <a:path w="38910" h="12970">
                      <a:moveTo>
                        <a:pt x="0" y="0"/>
                      </a:moveTo>
                      <a:lnTo>
                        <a:pt x="38910" y="0"/>
                      </a:lnTo>
                      <a:lnTo>
                        <a:pt x="38910" y="12970"/>
                      </a:lnTo>
                      <a:lnTo>
                        <a:pt x="0" y="12970"/>
                      </a:lnTo>
                      <a:close/>
                    </a:path>
                  </a:pathLst>
                </a:custGeom>
                <a:solidFill>
                  <a:schemeClr val="accent1"/>
                </a:solidFill>
                <a:ln w="2585" cap="flat">
                  <a:noFill/>
                  <a:prstDash val="solid"/>
                  <a:miter/>
                </a:ln>
              </p:spPr>
              <p:txBody>
                <a:bodyPr rtlCol="0" anchor="ctr"/>
                <a:lstStyle/>
                <a:p>
                  <a:endParaRPr lang="en-GB" dirty="0"/>
                </a:p>
              </p:txBody>
            </p:sp>
          </p:grpSp>
          <p:sp>
            <p:nvSpPr>
              <p:cNvPr id="544" name="Freihandform: Form 463">
                <a:extLst>
                  <a:ext uri="{FF2B5EF4-FFF2-40B4-BE49-F238E27FC236}">
                    <a16:creationId xmlns:a16="http://schemas.microsoft.com/office/drawing/2014/main" id="{54B1DF5D-3026-43EF-885C-77641FB32B67}"/>
                  </a:ext>
                </a:extLst>
              </p:cNvPr>
              <p:cNvSpPr/>
              <p:nvPr/>
            </p:nvSpPr>
            <p:spPr>
              <a:xfrm>
                <a:off x="2040226" y="4415354"/>
                <a:ext cx="12970" cy="12970"/>
              </a:xfrm>
              <a:custGeom>
                <a:avLst/>
                <a:gdLst>
                  <a:gd name="connsiteX0" fmla="*/ 0 w 12970"/>
                  <a:gd name="connsiteY0" fmla="*/ 0 h 12970"/>
                  <a:gd name="connsiteX1" fmla="*/ 12970 w 12970"/>
                  <a:gd name="connsiteY1" fmla="*/ 0 h 12970"/>
                  <a:gd name="connsiteX2" fmla="*/ 12970 w 12970"/>
                  <a:gd name="connsiteY2" fmla="*/ 12970 h 12970"/>
                  <a:gd name="connsiteX3" fmla="*/ 0 w 12970"/>
                  <a:gd name="connsiteY3" fmla="*/ 12970 h 12970"/>
                </a:gdLst>
                <a:ahLst/>
                <a:cxnLst>
                  <a:cxn ang="0">
                    <a:pos x="connsiteX0" y="connsiteY0"/>
                  </a:cxn>
                  <a:cxn ang="0">
                    <a:pos x="connsiteX1" y="connsiteY1"/>
                  </a:cxn>
                  <a:cxn ang="0">
                    <a:pos x="connsiteX2" y="connsiteY2"/>
                  </a:cxn>
                  <a:cxn ang="0">
                    <a:pos x="connsiteX3" y="connsiteY3"/>
                  </a:cxn>
                </a:cxnLst>
                <a:rect l="l" t="t" r="r" b="b"/>
                <a:pathLst>
                  <a:path w="12970" h="12970">
                    <a:moveTo>
                      <a:pt x="0" y="0"/>
                    </a:moveTo>
                    <a:lnTo>
                      <a:pt x="12970" y="0"/>
                    </a:lnTo>
                    <a:lnTo>
                      <a:pt x="12970" y="12970"/>
                    </a:lnTo>
                    <a:lnTo>
                      <a:pt x="0" y="12970"/>
                    </a:lnTo>
                    <a:close/>
                  </a:path>
                </a:pathLst>
              </a:custGeom>
              <a:solidFill>
                <a:schemeClr val="accent1"/>
              </a:solidFill>
              <a:ln w="2585" cap="flat">
                <a:noFill/>
                <a:prstDash val="solid"/>
                <a:miter/>
              </a:ln>
            </p:spPr>
            <p:txBody>
              <a:bodyPr rtlCol="0" anchor="ctr"/>
              <a:lstStyle/>
              <a:p>
                <a:endParaRPr lang="en-GB" dirty="0"/>
              </a:p>
            </p:txBody>
          </p:sp>
        </p:grpSp>
        <p:grpSp>
          <p:nvGrpSpPr>
            <p:cNvPr id="537" name="Group 536">
              <a:extLst>
                <a:ext uri="{FF2B5EF4-FFF2-40B4-BE49-F238E27FC236}">
                  <a16:creationId xmlns:a16="http://schemas.microsoft.com/office/drawing/2014/main" id="{F8377C27-D17C-4E1F-8DA1-0971B3C8E120}"/>
                </a:ext>
              </a:extLst>
            </p:cNvPr>
            <p:cNvGrpSpPr/>
            <p:nvPr/>
          </p:nvGrpSpPr>
          <p:grpSpPr>
            <a:xfrm>
              <a:off x="1735442" y="4181910"/>
              <a:ext cx="473412" cy="402055"/>
              <a:chOff x="1735442" y="4181910"/>
              <a:chExt cx="473412" cy="402055"/>
            </a:xfrm>
          </p:grpSpPr>
          <p:sp>
            <p:nvSpPr>
              <p:cNvPr id="538" name="Freihandform: Form 462">
                <a:extLst>
                  <a:ext uri="{FF2B5EF4-FFF2-40B4-BE49-F238E27FC236}">
                    <a16:creationId xmlns:a16="http://schemas.microsoft.com/office/drawing/2014/main" id="{0C275595-7252-4CB4-887E-52CBDA396F33}"/>
                  </a:ext>
                </a:extLst>
              </p:cNvPr>
              <p:cNvSpPr/>
              <p:nvPr/>
            </p:nvSpPr>
            <p:spPr>
              <a:xfrm>
                <a:off x="1774326" y="4181910"/>
                <a:ext cx="434528" cy="402055"/>
              </a:xfrm>
              <a:custGeom>
                <a:avLst/>
                <a:gdLst>
                  <a:gd name="connsiteX0" fmla="*/ 131565 w 434528"/>
                  <a:gd name="connsiteY0" fmla="*/ 402055 h 402055"/>
                  <a:gd name="connsiteX1" fmla="*/ 30574 w 434528"/>
                  <a:gd name="connsiteY1" fmla="*/ 402055 h 402055"/>
                  <a:gd name="connsiteX2" fmla="*/ 0 w 434528"/>
                  <a:gd name="connsiteY2" fmla="*/ 371481 h 402055"/>
                  <a:gd name="connsiteX3" fmla="*/ 0 w 434528"/>
                  <a:gd name="connsiteY3" fmla="*/ 194534 h 402055"/>
                  <a:gd name="connsiteX4" fmla="*/ 12970 w 434528"/>
                  <a:gd name="connsiteY4" fmla="*/ 194534 h 402055"/>
                  <a:gd name="connsiteX5" fmla="*/ 12970 w 434528"/>
                  <a:gd name="connsiteY5" fmla="*/ 371481 h 402055"/>
                  <a:gd name="connsiteX6" fmla="*/ 30574 w 434528"/>
                  <a:gd name="connsiteY6" fmla="*/ 389085 h 402055"/>
                  <a:gd name="connsiteX7" fmla="*/ 131565 w 434528"/>
                  <a:gd name="connsiteY7" fmla="*/ 389085 h 402055"/>
                  <a:gd name="connsiteX8" fmla="*/ 149169 w 434528"/>
                  <a:gd name="connsiteY8" fmla="*/ 371481 h 402055"/>
                  <a:gd name="connsiteX9" fmla="*/ 149169 w 434528"/>
                  <a:gd name="connsiteY9" fmla="*/ 123962 h 402055"/>
                  <a:gd name="connsiteX10" fmla="*/ 189891 w 434528"/>
                  <a:gd name="connsiteY10" fmla="*/ 32576 h 402055"/>
                  <a:gd name="connsiteX11" fmla="*/ 286429 w 434528"/>
                  <a:gd name="connsiteY11" fmla="*/ 578 h 402055"/>
                  <a:gd name="connsiteX12" fmla="*/ 398578 w 434528"/>
                  <a:gd name="connsiteY12" fmla="*/ 115341 h 402055"/>
                  <a:gd name="connsiteX13" fmla="*/ 433812 w 434528"/>
                  <a:gd name="connsiteY13" fmla="*/ 216383 h 402055"/>
                  <a:gd name="connsiteX14" fmla="*/ 432466 w 434528"/>
                  <a:gd name="connsiteY14" fmla="*/ 226868 h 402055"/>
                  <a:gd name="connsiteX15" fmla="*/ 422861 w 434528"/>
                  <a:gd name="connsiteY15" fmla="*/ 231916 h 402055"/>
                  <a:gd name="connsiteX16" fmla="*/ 395575 w 434528"/>
                  <a:gd name="connsiteY16" fmla="*/ 231916 h 402055"/>
                  <a:gd name="connsiteX17" fmla="*/ 395575 w 434528"/>
                  <a:gd name="connsiteY17" fmla="*/ 278826 h 402055"/>
                  <a:gd name="connsiteX18" fmla="*/ 365674 w 434528"/>
                  <a:gd name="connsiteY18" fmla="*/ 312015 h 402055"/>
                  <a:gd name="connsiteX19" fmla="*/ 296422 w 434528"/>
                  <a:gd name="connsiteY19" fmla="*/ 312015 h 402055"/>
                  <a:gd name="connsiteX20" fmla="*/ 265848 w 434528"/>
                  <a:gd name="connsiteY20" fmla="*/ 281441 h 402055"/>
                  <a:gd name="connsiteX21" fmla="*/ 265848 w 434528"/>
                  <a:gd name="connsiteY21" fmla="*/ 259358 h 402055"/>
                  <a:gd name="connsiteX22" fmla="*/ 278818 w 434528"/>
                  <a:gd name="connsiteY22" fmla="*/ 259358 h 402055"/>
                  <a:gd name="connsiteX23" fmla="*/ 278818 w 434528"/>
                  <a:gd name="connsiteY23" fmla="*/ 281441 h 402055"/>
                  <a:gd name="connsiteX24" fmla="*/ 296422 w 434528"/>
                  <a:gd name="connsiteY24" fmla="*/ 299045 h 402055"/>
                  <a:gd name="connsiteX25" fmla="*/ 365674 w 434528"/>
                  <a:gd name="connsiteY25" fmla="*/ 299045 h 402055"/>
                  <a:gd name="connsiteX26" fmla="*/ 382605 w 434528"/>
                  <a:gd name="connsiteY26" fmla="*/ 278826 h 402055"/>
                  <a:gd name="connsiteX27" fmla="*/ 382605 w 434528"/>
                  <a:gd name="connsiteY27" fmla="*/ 218947 h 402055"/>
                  <a:gd name="connsiteX28" fmla="*/ 420946 w 434528"/>
                  <a:gd name="connsiteY28" fmla="*/ 218947 h 402055"/>
                  <a:gd name="connsiteX29" fmla="*/ 385686 w 434528"/>
                  <a:gd name="connsiteY29" fmla="*/ 117231 h 402055"/>
                  <a:gd name="connsiteX30" fmla="*/ 285161 w 434528"/>
                  <a:gd name="connsiteY30" fmla="*/ 13470 h 402055"/>
                  <a:gd name="connsiteX31" fmla="*/ 198590 w 434528"/>
                  <a:gd name="connsiteY31" fmla="*/ 42181 h 402055"/>
                  <a:gd name="connsiteX32" fmla="*/ 162113 w 434528"/>
                  <a:gd name="connsiteY32" fmla="*/ 123962 h 402055"/>
                  <a:gd name="connsiteX33" fmla="*/ 162113 w 434528"/>
                  <a:gd name="connsiteY33" fmla="*/ 371481 h 402055"/>
                  <a:gd name="connsiteX34" fmla="*/ 131565 w 434528"/>
                  <a:gd name="connsiteY34" fmla="*/ 402055 h 402055"/>
                  <a:gd name="connsiteX35" fmla="*/ 421619 w 434528"/>
                  <a:gd name="connsiteY35" fmla="*/ 220759 h 402055"/>
                  <a:gd name="connsiteX36" fmla="*/ 421644 w 434528"/>
                  <a:gd name="connsiteY36" fmla="*/ 220836 h 402055"/>
                  <a:gd name="connsiteX37" fmla="*/ 421619 w 434528"/>
                  <a:gd name="connsiteY37" fmla="*/ 220759 h 40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4528" h="402055">
                    <a:moveTo>
                      <a:pt x="131565" y="402055"/>
                    </a:moveTo>
                    <a:lnTo>
                      <a:pt x="30574" y="402055"/>
                    </a:lnTo>
                    <a:cubicBezTo>
                      <a:pt x="13721" y="402055"/>
                      <a:pt x="0" y="388334"/>
                      <a:pt x="0" y="371481"/>
                    </a:cubicBezTo>
                    <a:lnTo>
                      <a:pt x="0" y="194534"/>
                    </a:lnTo>
                    <a:lnTo>
                      <a:pt x="12970" y="194534"/>
                    </a:lnTo>
                    <a:lnTo>
                      <a:pt x="12970" y="371481"/>
                    </a:lnTo>
                    <a:cubicBezTo>
                      <a:pt x="12970" y="381189"/>
                      <a:pt x="20866" y="389085"/>
                      <a:pt x="30574" y="389085"/>
                    </a:cubicBezTo>
                    <a:lnTo>
                      <a:pt x="131565" y="389085"/>
                    </a:lnTo>
                    <a:cubicBezTo>
                      <a:pt x="141273" y="389085"/>
                      <a:pt x="149169" y="381189"/>
                      <a:pt x="149169" y="371481"/>
                    </a:cubicBezTo>
                    <a:lnTo>
                      <a:pt x="149169" y="123962"/>
                    </a:lnTo>
                    <a:cubicBezTo>
                      <a:pt x="149169" y="89401"/>
                      <a:pt x="164003" y="56108"/>
                      <a:pt x="189891" y="32576"/>
                    </a:cubicBezTo>
                    <a:cubicBezTo>
                      <a:pt x="216013" y="8836"/>
                      <a:pt x="251195" y="-2814"/>
                      <a:pt x="286429" y="578"/>
                    </a:cubicBezTo>
                    <a:cubicBezTo>
                      <a:pt x="346128" y="6325"/>
                      <a:pt x="393167" y="54529"/>
                      <a:pt x="398578" y="115341"/>
                    </a:cubicBezTo>
                    <a:lnTo>
                      <a:pt x="433812" y="216383"/>
                    </a:lnTo>
                    <a:cubicBezTo>
                      <a:pt x="435106" y="219749"/>
                      <a:pt x="434641" y="223736"/>
                      <a:pt x="432466" y="226868"/>
                    </a:cubicBezTo>
                    <a:cubicBezTo>
                      <a:pt x="430291" y="230027"/>
                      <a:pt x="426719" y="231916"/>
                      <a:pt x="422861" y="231916"/>
                    </a:cubicBezTo>
                    <a:lnTo>
                      <a:pt x="395575" y="231916"/>
                    </a:lnTo>
                    <a:lnTo>
                      <a:pt x="395575" y="278826"/>
                    </a:lnTo>
                    <a:cubicBezTo>
                      <a:pt x="395575" y="298372"/>
                      <a:pt x="383278" y="312015"/>
                      <a:pt x="365674" y="312015"/>
                    </a:cubicBezTo>
                    <a:lnTo>
                      <a:pt x="296422" y="312015"/>
                    </a:lnTo>
                    <a:cubicBezTo>
                      <a:pt x="279569" y="312015"/>
                      <a:pt x="265848" y="298294"/>
                      <a:pt x="265848" y="281441"/>
                    </a:cubicBezTo>
                    <a:lnTo>
                      <a:pt x="265848" y="259358"/>
                    </a:lnTo>
                    <a:lnTo>
                      <a:pt x="278818" y="259358"/>
                    </a:lnTo>
                    <a:lnTo>
                      <a:pt x="278818" y="281441"/>
                    </a:lnTo>
                    <a:cubicBezTo>
                      <a:pt x="278818" y="291149"/>
                      <a:pt x="286714" y="299045"/>
                      <a:pt x="296422" y="299045"/>
                    </a:cubicBezTo>
                    <a:lnTo>
                      <a:pt x="365674" y="299045"/>
                    </a:lnTo>
                    <a:cubicBezTo>
                      <a:pt x="378152" y="299045"/>
                      <a:pt x="382605" y="288146"/>
                      <a:pt x="382605" y="278826"/>
                    </a:cubicBezTo>
                    <a:lnTo>
                      <a:pt x="382605" y="218947"/>
                    </a:lnTo>
                    <a:lnTo>
                      <a:pt x="420946" y="218947"/>
                    </a:lnTo>
                    <a:lnTo>
                      <a:pt x="385686" y="117231"/>
                    </a:lnTo>
                    <a:cubicBezTo>
                      <a:pt x="381155" y="62270"/>
                      <a:pt x="338879" y="18648"/>
                      <a:pt x="285161" y="13470"/>
                    </a:cubicBezTo>
                    <a:cubicBezTo>
                      <a:pt x="253111" y="10389"/>
                      <a:pt x="222356" y="20589"/>
                      <a:pt x="198590" y="42181"/>
                    </a:cubicBezTo>
                    <a:cubicBezTo>
                      <a:pt x="175420" y="63228"/>
                      <a:pt x="162113" y="93051"/>
                      <a:pt x="162113" y="123962"/>
                    </a:cubicBezTo>
                    <a:lnTo>
                      <a:pt x="162113" y="371481"/>
                    </a:lnTo>
                    <a:cubicBezTo>
                      <a:pt x="162139" y="388334"/>
                      <a:pt x="148444" y="402055"/>
                      <a:pt x="131565" y="402055"/>
                    </a:cubicBezTo>
                    <a:close/>
                    <a:moveTo>
                      <a:pt x="421619" y="220759"/>
                    </a:moveTo>
                    <a:cubicBezTo>
                      <a:pt x="421619" y="220785"/>
                      <a:pt x="421644" y="220811"/>
                      <a:pt x="421644" y="220836"/>
                    </a:cubicBezTo>
                    <a:lnTo>
                      <a:pt x="421619" y="220759"/>
                    </a:lnTo>
                    <a:close/>
                  </a:path>
                </a:pathLst>
              </a:custGeom>
              <a:solidFill>
                <a:schemeClr val="tx2"/>
              </a:solidFill>
              <a:ln w="2585" cap="flat">
                <a:noFill/>
                <a:prstDash val="solid"/>
                <a:miter/>
              </a:ln>
            </p:spPr>
            <p:txBody>
              <a:bodyPr rtlCol="0" anchor="ctr"/>
              <a:lstStyle/>
              <a:p>
                <a:endParaRPr lang="en-GB" dirty="0"/>
              </a:p>
            </p:txBody>
          </p:sp>
          <p:sp>
            <p:nvSpPr>
              <p:cNvPr id="539" name="Freihandform: Form 464">
                <a:extLst>
                  <a:ext uri="{FF2B5EF4-FFF2-40B4-BE49-F238E27FC236}">
                    <a16:creationId xmlns:a16="http://schemas.microsoft.com/office/drawing/2014/main" id="{91B0DF31-06A2-47F7-A090-7F5613789176}"/>
                  </a:ext>
                </a:extLst>
              </p:cNvPr>
              <p:cNvSpPr/>
              <p:nvPr/>
            </p:nvSpPr>
            <p:spPr>
              <a:xfrm>
                <a:off x="1741914" y="4311567"/>
                <a:ext cx="77820" cy="71348"/>
              </a:xfrm>
              <a:custGeom>
                <a:avLst/>
                <a:gdLst>
                  <a:gd name="connsiteX0" fmla="*/ 38910 w 77820"/>
                  <a:gd name="connsiteY0" fmla="*/ 71349 h 71348"/>
                  <a:gd name="connsiteX1" fmla="*/ 0 w 77820"/>
                  <a:gd name="connsiteY1" fmla="*/ 32438 h 71348"/>
                  <a:gd name="connsiteX2" fmla="*/ 0 w 77820"/>
                  <a:gd name="connsiteY2" fmla="*/ 0 h 71348"/>
                  <a:gd name="connsiteX3" fmla="*/ 77821 w 77820"/>
                  <a:gd name="connsiteY3" fmla="*/ 0 h 71348"/>
                  <a:gd name="connsiteX4" fmla="*/ 77821 w 77820"/>
                  <a:gd name="connsiteY4" fmla="*/ 32438 h 71348"/>
                  <a:gd name="connsiteX5" fmla="*/ 38910 w 77820"/>
                  <a:gd name="connsiteY5" fmla="*/ 71349 h 71348"/>
                  <a:gd name="connsiteX6" fmla="*/ 12970 w 77820"/>
                  <a:gd name="connsiteY6" fmla="*/ 12996 h 71348"/>
                  <a:gd name="connsiteX7" fmla="*/ 12970 w 77820"/>
                  <a:gd name="connsiteY7" fmla="*/ 32464 h 71348"/>
                  <a:gd name="connsiteX8" fmla="*/ 38910 w 77820"/>
                  <a:gd name="connsiteY8" fmla="*/ 58404 h 71348"/>
                  <a:gd name="connsiteX9" fmla="*/ 64851 w 77820"/>
                  <a:gd name="connsiteY9" fmla="*/ 32464 h 71348"/>
                  <a:gd name="connsiteX10" fmla="*/ 64851 w 77820"/>
                  <a:gd name="connsiteY10" fmla="*/ 12996 h 71348"/>
                  <a:gd name="connsiteX11" fmla="*/ 12970 w 77820"/>
                  <a:gd name="connsiteY11" fmla="*/ 12996 h 713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820" h="71348">
                    <a:moveTo>
                      <a:pt x="38910" y="71349"/>
                    </a:moveTo>
                    <a:cubicBezTo>
                      <a:pt x="17449" y="71349"/>
                      <a:pt x="0" y="53900"/>
                      <a:pt x="0" y="32438"/>
                    </a:cubicBezTo>
                    <a:lnTo>
                      <a:pt x="0" y="0"/>
                    </a:lnTo>
                    <a:lnTo>
                      <a:pt x="77821" y="0"/>
                    </a:lnTo>
                    <a:lnTo>
                      <a:pt x="77821" y="32438"/>
                    </a:lnTo>
                    <a:cubicBezTo>
                      <a:pt x="77821" y="53900"/>
                      <a:pt x="60372" y="71349"/>
                      <a:pt x="38910" y="71349"/>
                    </a:cubicBezTo>
                    <a:close/>
                    <a:moveTo>
                      <a:pt x="12970" y="12996"/>
                    </a:moveTo>
                    <a:lnTo>
                      <a:pt x="12970" y="32464"/>
                    </a:lnTo>
                    <a:cubicBezTo>
                      <a:pt x="12970" y="46781"/>
                      <a:pt x="24594" y="58404"/>
                      <a:pt x="38910" y="58404"/>
                    </a:cubicBezTo>
                    <a:cubicBezTo>
                      <a:pt x="53227" y="58404"/>
                      <a:pt x="64851" y="46781"/>
                      <a:pt x="64851" y="32464"/>
                    </a:cubicBezTo>
                    <a:lnTo>
                      <a:pt x="64851" y="12996"/>
                    </a:lnTo>
                    <a:lnTo>
                      <a:pt x="12970" y="12996"/>
                    </a:lnTo>
                    <a:close/>
                  </a:path>
                </a:pathLst>
              </a:custGeom>
              <a:solidFill>
                <a:schemeClr val="tx2"/>
              </a:solidFill>
              <a:ln w="2585" cap="flat">
                <a:noFill/>
                <a:prstDash val="solid"/>
                <a:miter/>
              </a:ln>
            </p:spPr>
            <p:txBody>
              <a:bodyPr rtlCol="0" anchor="ctr"/>
              <a:lstStyle/>
              <a:p>
                <a:endParaRPr lang="en-GB" dirty="0"/>
              </a:p>
            </p:txBody>
          </p:sp>
          <p:sp>
            <p:nvSpPr>
              <p:cNvPr id="540" name="Freihandform: Form 465">
                <a:extLst>
                  <a:ext uri="{FF2B5EF4-FFF2-40B4-BE49-F238E27FC236}">
                    <a16:creationId xmlns:a16="http://schemas.microsoft.com/office/drawing/2014/main" id="{BE0B187C-C3AD-49C3-BAF5-6C278B215E66}"/>
                  </a:ext>
                </a:extLst>
              </p:cNvPr>
              <p:cNvSpPr/>
              <p:nvPr/>
            </p:nvSpPr>
            <p:spPr>
              <a:xfrm>
                <a:off x="1735442" y="4285653"/>
                <a:ext cx="90790" cy="12970"/>
              </a:xfrm>
              <a:custGeom>
                <a:avLst/>
                <a:gdLst>
                  <a:gd name="connsiteX0" fmla="*/ 0 w 90790"/>
                  <a:gd name="connsiteY0" fmla="*/ 0 h 12970"/>
                  <a:gd name="connsiteX1" fmla="*/ 90791 w 90790"/>
                  <a:gd name="connsiteY1" fmla="*/ 0 h 12970"/>
                  <a:gd name="connsiteX2" fmla="*/ 90791 w 90790"/>
                  <a:gd name="connsiteY2" fmla="*/ 12970 h 12970"/>
                  <a:gd name="connsiteX3" fmla="*/ 0 w 90790"/>
                  <a:gd name="connsiteY3" fmla="*/ 12970 h 12970"/>
                </a:gdLst>
                <a:ahLst/>
                <a:cxnLst>
                  <a:cxn ang="0">
                    <a:pos x="connsiteX0" y="connsiteY0"/>
                  </a:cxn>
                  <a:cxn ang="0">
                    <a:pos x="connsiteX1" y="connsiteY1"/>
                  </a:cxn>
                  <a:cxn ang="0">
                    <a:pos x="connsiteX2" y="connsiteY2"/>
                  </a:cxn>
                  <a:cxn ang="0">
                    <a:pos x="connsiteX3" y="connsiteY3"/>
                  </a:cxn>
                </a:cxnLst>
                <a:rect l="l" t="t" r="r" b="b"/>
                <a:pathLst>
                  <a:path w="90790" h="12970">
                    <a:moveTo>
                      <a:pt x="0" y="0"/>
                    </a:moveTo>
                    <a:lnTo>
                      <a:pt x="90791" y="0"/>
                    </a:lnTo>
                    <a:lnTo>
                      <a:pt x="90791" y="12970"/>
                    </a:lnTo>
                    <a:lnTo>
                      <a:pt x="0" y="12970"/>
                    </a:lnTo>
                    <a:close/>
                  </a:path>
                </a:pathLst>
              </a:custGeom>
              <a:solidFill>
                <a:schemeClr val="tx2"/>
              </a:solidFill>
              <a:ln w="2585" cap="flat">
                <a:noFill/>
                <a:prstDash val="solid"/>
                <a:miter/>
              </a:ln>
            </p:spPr>
            <p:txBody>
              <a:bodyPr rtlCol="0" anchor="ctr"/>
              <a:lstStyle/>
              <a:p>
                <a:endParaRPr lang="en-GB" dirty="0"/>
              </a:p>
            </p:txBody>
          </p:sp>
          <p:sp>
            <p:nvSpPr>
              <p:cNvPr id="541" name="Freihandform: Form 466">
                <a:extLst>
                  <a:ext uri="{FF2B5EF4-FFF2-40B4-BE49-F238E27FC236}">
                    <a16:creationId xmlns:a16="http://schemas.microsoft.com/office/drawing/2014/main" id="{499FA2F8-E9BB-418F-A946-36FDB32DFC76}"/>
                  </a:ext>
                </a:extLst>
              </p:cNvPr>
              <p:cNvSpPr/>
              <p:nvPr/>
            </p:nvSpPr>
            <p:spPr>
              <a:xfrm>
                <a:off x="1748386" y="4246717"/>
                <a:ext cx="12996" cy="51906"/>
              </a:xfrm>
              <a:custGeom>
                <a:avLst/>
                <a:gdLst>
                  <a:gd name="connsiteX0" fmla="*/ 6498 w 12996"/>
                  <a:gd name="connsiteY0" fmla="*/ 51906 h 51906"/>
                  <a:gd name="connsiteX1" fmla="*/ 0 w 12996"/>
                  <a:gd name="connsiteY1" fmla="*/ 45408 h 51906"/>
                  <a:gd name="connsiteX2" fmla="*/ 0 w 12996"/>
                  <a:gd name="connsiteY2" fmla="*/ 6498 h 51906"/>
                  <a:gd name="connsiteX3" fmla="*/ 6498 w 12996"/>
                  <a:gd name="connsiteY3" fmla="*/ 0 h 51906"/>
                  <a:gd name="connsiteX4" fmla="*/ 12996 w 12996"/>
                  <a:gd name="connsiteY4" fmla="*/ 6498 h 51906"/>
                  <a:gd name="connsiteX5" fmla="*/ 12996 w 12996"/>
                  <a:gd name="connsiteY5" fmla="*/ 45408 h 51906"/>
                  <a:gd name="connsiteX6" fmla="*/ 6498 w 12996"/>
                  <a:gd name="connsiteY6" fmla="*/ 51906 h 5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96" h="51906">
                    <a:moveTo>
                      <a:pt x="6498" y="51906"/>
                    </a:moveTo>
                    <a:cubicBezTo>
                      <a:pt x="2925" y="51906"/>
                      <a:pt x="0" y="49007"/>
                      <a:pt x="0" y="45408"/>
                    </a:cubicBezTo>
                    <a:lnTo>
                      <a:pt x="0" y="6498"/>
                    </a:lnTo>
                    <a:cubicBezTo>
                      <a:pt x="0" y="2925"/>
                      <a:pt x="2899" y="0"/>
                      <a:pt x="6498" y="0"/>
                    </a:cubicBezTo>
                    <a:cubicBezTo>
                      <a:pt x="10071" y="0"/>
                      <a:pt x="12996" y="2899"/>
                      <a:pt x="12996" y="6498"/>
                    </a:cubicBezTo>
                    <a:lnTo>
                      <a:pt x="12996" y="45408"/>
                    </a:lnTo>
                    <a:cubicBezTo>
                      <a:pt x="12996" y="49007"/>
                      <a:pt x="10096" y="51906"/>
                      <a:pt x="6498" y="51906"/>
                    </a:cubicBezTo>
                    <a:close/>
                  </a:path>
                </a:pathLst>
              </a:custGeom>
              <a:solidFill>
                <a:schemeClr val="tx2"/>
              </a:solidFill>
              <a:ln w="2585" cap="flat">
                <a:noFill/>
                <a:prstDash val="solid"/>
                <a:miter/>
              </a:ln>
            </p:spPr>
            <p:txBody>
              <a:bodyPr rtlCol="0" anchor="ctr"/>
              <a:lstStyle/>
              <a:p>
                <a:endParaRPr lang="en-GB" dirty="0"/>
              </a:p>
            </p:txBody>
          </p:sp>
          <p:sp>
            <p:nvSpPr>
              <p:cNvPr id="542" name="Freihandform: Form 467">
                <a:extLst>
                  <a:ext uri="{FF2B5EF4-FFF2-40B4-BE49-F238E27FC236}">
                    <a16:creationId xmlns:a16="http://schemas.microsoft.com/office/drawing/2014/main" id="{AF71BA88-80B0-4987-AC56-63F7282C0DB1}"/>
                  </a:ext>
                </a:extLst>
              </p:cNvPr>
              <p:cNvSpPr/>
              <p:nvPr/>
            </p:nvSpPr>
            <p:spPr>
              <a:xfrm>
                <a:off x="1800266" y="4246717"/>
                <a:ext cx="12995" cy="51906"/>
              </a:xfrm>
              <a:custGeom>
                <a:avLst/>
                <a:gdLst>
                  <a:gd name="connsiteX0" fmla="*/ 6498 w 12995"/>
                  <a:gd name="connsiteY0" fmla="*/ 51906 h 51906"/>
                  <a:gd name="connsiteX1" fmla="*/ 0 w 12995"/>
                  <a:gd name="connsiteY1" fmla="*/ 45408 h 51906"/>
                  <a:gd name="connsiteX2" fmla="*/ 0 w 12995"/>
                  <a:gd name="connsiteY2" fmla="*/ 6498 h 51906"/>
                  <a:gd name="connsiteX3" fmla="*/ 6498 w 12995"/>
                  <a:gd name="connsiteY3" fmla="*/ 0 h 51906"/>
                  <a:gd name="connsiteX4" fmla="*/ 12996 w 12995"/>
                  <a:gd name="connsiteY4" fmla="*/ 6498 h 51906"/>
                  <a:gd name="connsiteX5" fmla="*/ 12996 w 12995"/>
                  <a:gd name="connsiteY5" fmla="*/ 45408 h 51906"/>
                  <a:gd name="connsiteX6" fmla="*/ 6498 w 12995"/>
                  <a:gd name="connsiteY6" fmla="*/ 51906 h 5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95" h="51906">
                    <a:moveTo>
                      <a:pt x="6498" y="51906"/>
                    </a:moveTo>
                    <a:cubicBezTo>
                      <a:pt x="2925" y="51906"/>
                      <a:pt x="0" y="49007"/>
                      <a:pt x="0" y="45408"/>
                    </a:cubicBezTo>
                    <a:lnTo>
                      <a:pt x="0" y="6498"/>
                    </a:lnTo>
                    <a:cubicBezTo>
                      <a:pt x="0" y="2925"/>
                      <a:pt x="2899" y="0"/>
                      <a:pt x="6498" y="0"/>
                    </a:cubicBezTo>
                    <a:cubicBezTo>
                      <a:pt x="10096" y="0"/>
                      <a:pt x="12996" y="2899"/>
                      <a:pt x="12996" y="6498"/>
                    </a:cubicBezTo>
                    <a:lnTo>
                      <a:pt x="12996" y="45408"/>
                    </a:lnTo>
                    <a:cubicBezTo>
                      <a:pt x="12996" y="49007"/>
                      <a:pt x="10096" y="51906"/>
                      <a:pt x="6498" y="51906"/>
                    </a:cubicBezTo>
                    <a:close/>
                  </a:path>
                </a:pathLst>
              </a:custGeom>
              <a:solidFill>
                <a:schemeClr val="tx2"/>
              </a:solidFill>
              <a:ln w="2585" cap="flat">
                <a:noFill/>
                <a:prstDash val="solid"/>
                <a:miter/>
              </a:ln>
            </p:spPr>
            <p:txBody>
              <a:bodyPr rtlCol="0" anchor="ctr"/>
              <a:lstStyle/>
              <a:p>
                <a:endParaRPr lang="en-GB" dirty="0"/>
              </a:p>
            </p:txBody>
          </p:sp>
        </p:grpSp>
      </p:grpSp>
      <p:grpSp>
        <p:nvGrpSpPr>
          <p:cNvPr id="559" name="Group 558">
            <a:extLst>
              <a:ext uri="{FF2B5EF4-FFF2-40B4-BE49-F238E27FC236}">
                <a16:creationId xmlns:a16="http://schemas.microsoft.com/office/drawing/2014/main" id="{55DE215A-162F-445B-BF74-A3CCB6EA44AA}"/>
              </a:ext>
            </a:extLst>
          </p:cNvPr>
          <p:cNvGrpSpPr>
            <a:grpSpLocks noChangeAspect="1"/>
          </p:cNvGrpSpPr>
          <p:nvPr/>
        </p:nvGrpSpPr>
        <p:grpSpPr>
          <a:xfrm>
            <a:off x="7121772" y="3197069"/>
            <a:ext cx="355523" cy="432000"/>
            <a:chOff x="925862" y="1630954"/>
            <a:chExt cx="402246" cy="488773"/>
          </a:xfrm>
        </p:grpSpPr>
        <p:sp>
          <p:nvSpPr>
            <p:cNvPr id="560" name="Freihandform: Form 235">
              <a:extLst>
                <a:ext uri="{FF2B5EF4-FFF2-40B4-BE49-F238E27FC236}">
                  <a16:creationId xmlns:a16="http://schemas.microsoft.com/office/drawing/2014/main" id="{4F991733-57DF-48AD-969F-E26F24094211}"/>
                </a:ext>
              </a:extLst>
            </p:cNvPr>
            <p:cNvSpPr/>
            <p:nvPr/>
          </p:nvSpPr>
          <p:spPr>
            <a:xfrm>
              <a:off x="925862" y="1630954"/>
              <a:ext cx="402246" cy="488773"/>
            </a:xfrm>
            <a:custGeom>
              <a:avLst/>
              <a:gdLst>
                <a:gd name="connsiteX0" fmla="*/ 201123 w 402246"/>
                <a:gd name="connsiteY0" fmla="*/ 488773 h 488773"/>
                <a:gd name="connsiteX1" fmla="*/ 58825 w 402246"/>
                <a:gd name="connsiteY1" fmla="*/ 345597 h 488773"/>
                <a:gd name="connsiteX2" fmla="*/ 58825 w 402246"/>
                <a:gd name="connsiteY2" fmla="*/ 59329 h 488773"/>
                <a:gd name="connsiteX3" fmla="*/ 201123 w 402246"/>
                <a:gd name="connsiteY3" fmla="*/ 0 h 488773"/>
                <a:gd name="connsiteX4" fmla="*/ 343421 w 402246"/>
                <a:gd name="connsiteY4" fmla="*/ 59300 h 488773"/>
                <a:gd name="connsiteX5" fmla="*/ 343421 w 402246"/>
                <a:gd name="connsiteY5" fmla="*/ 345568 h 488773"/>
                <a:gd name="connsiteX6" fmla="*/ 201123 w 402246"/>
                <a:gd name="connsiteY6" fmla="*/ 488773 h 488773"/>
                <a:gd name="connsiteX7" fmla="*/ 68151 w 402246"/>
                <a:gd name="connsiteY7" fmla="*/ 336327 h 488773"/>
                <a:gd name="connsiteX8" fmla="*/ 201123 w 402246"/>
                <a:gd name="connsiteY8" fmla="*/ 470150 h 488773"/>
                <a:gd name="connsiteX9" fmla="*/ 334095 w 402246"/>
                <a:gd name="connsiteY9" fmla="*/ 336327 h 488773"/>
                <a:gd name="connsiteX10" fmla="*/ 334095 w 402246"/>
                <a:gd name="connsiteY10" fmla="*/ 68598 h 488773"/>
                <a:gd name="connsiteX11" fmla="*/ 201123 w 402246"/>
                <a:gd name="connsiteY11" fmla="*/ 13153 h 488773"/>
                <a:gd name="connsiteX12" fmla="*/ 68151 w 402246"/>
                <a:gd name="connsiteY12" fmla="*/ 68598 h 488773"/>
                <a:gd name="connsiteX13" fmla="*/ 68151 w 402246"/>
                <a:gd name="connsiteY13" fmla="*/ 336327 h 488773"/>
                <a:gd name="connsiteX14" fmla="*/ 68151 w 402246"/>
                <a:gd name="connsiteY14" fmla="*/ 336327 h 488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2246" h="488773">
                  <a:moveTo>
                    <a:pt x="201123" y="488773"/>
                  </a:moveTo>
                  <a:lnTo>
                    <a:pt x="58825" y="345597"/>
                  </a:lnTo>
                  <a:cubicBezTo>
                    <a:pt x="-19608" y="266681"/>
                    <a:pt x="-19608" y="138244"/>
                    <a:pt x="58825" y="59329"/>
                  </a:cubicBezTo>
                  <a:cubicBezTo>
                    <a:pt x="96838" y="21061"/>
                    <a:pt x="147379" y="0"/>
                    <a:pt x="201123" y="0"/>
                  </a:cubicBezTo>
                  <a:cubicBezTo>
                    <a:pt x="254868" y="0"/>
                    <a:pt x="305409" y="21061"/>
                    <a:pt x="343421" y="59300"/>
                  </a:cubicBezTo>
                  <a:cubicBezTo>
                    <a:pt x="421855" y="138216"/>
                    <a:pt x="421855" y="266652"/>
                    <a:pt x="343421" y="345568"/>
                  </a:cubicBezTo>
                  <a:lnTo>
                    <a:pt x="201123" y="488773"/>
                  </a:lnTo>
                  <a:close/>
                  <a:moveTo>
                    <a:pt x="68151" y="336327"/>
                  </a:moveTo>
                  <a:lnTo>
                    <a:pt x="201123" y="470150"/>
                  </a:lnTo>
                  <a:lnTo>
                    <a:pt x="334095" y="336327"/>
                  </a:lnTo>
                  <a:cubicBezTo>
                    <a:pt x="407455" y="262514"/>
                    <a:pt x="407455" y="142411"/>
                    <a:pt x="334095" y="68598"/>
                  </a:cubicBezTo>
                  <a:cubicBezTo>
                    <a:pt x="298577" y="32853"/>
                    <a:pt x="251353" y="13153"/>
                    <a:pt x="201123" y="13153"/>
                  </a:cubicBezTo>
                  <a:cubicBezTo>
                    <a:pt x="150894" y="13153"/>
                    <a:pt x="103669" y="32853"/>
                    <a:pt x="68151" y="68598"/>
                  </a:cubicBezTo>
                  <a:cubicBezTo>
                    <a:pt x="-5209" y="142383"/>
                    <a:pt x="-5209" y="262514"/>
                    <a:pt x="68151" y="336327"/>
                  </a:cubicBezTo>
                  <a:lnTo>
                    <a:pt x="68151" y="336327"/>
                  </a:lnTo>
                  <a:close/>
                </a:path>
              </a:pathLst>
            </a:custGeom>
            <a:solidFill>
              <a:schemeClr val="tx2"/>
            </a:solidFill>
            <a:ln w="2827" cap="flat">
              <a:noFill/>
              <a:prstDash val="solid"/>
              <a:miter/>
            </a:ln>
          </p:spPr>
          <p:txBody>
            <a:bodyPr rtlCol="0" anchor="ctr"/>
            <a:lstStyle/>
            <a:p>
              <a:endParaRPr lang="en-GB" dirty="0"/>
            </a:p>
          </p:txBody>
        </p:sp>
        <p:grpSp>
          <p:nvGrpSpPr>
            <p:cNvPr id="561" name="Group 560">
              <a:extLst>
                <a:ext uri="{FF2B5EF4-FFF2-40B4-BE49-F238E27FC236}">
                  <a16:creationId xmlns:a16="http://schemas.microsoft.com/office/drawing/2014/main" id="{ABFFF930-3A0F-45C5-923A-451706C36ED7}"/>
                </a:ext>
              </a:extLst>
            </p:cNvPr>
            <p:cNvGrpSpPr/>
            <p:nvPr/>
          </p:nvGrpSpPr>
          <p:grpSpPr>
            <a:xfrm>
              <a:off x="1033898" y="1740597"/>
              <a:ext cx="186149" cy="309199"/>
              <a:chOff x="1033898" y="1740596"/>
              <a:chExt cx="186149" cy="309199"/>
            </a:xfrm>
          </p:grpSpPr>
          <p:sp>
            <p:nvSpPr>
              <p:cNvPr id="562" name="Freihandform: Form 236">
                <a:extLst>
                  <a:ext uri="{FF2B5EF4-FFF2-40B4-BE49-F238E27FC236}">
                    <a16:creationId xmlns:a16="http://schemas.microsoft.com/office/drawing/2014/main" id="{D4DDC89A-45E7-4047-8A49-D9CC3D2938D9}"/>
                  </a:ext>
                </a:extLst>
              </p:cNvPr>
              <p:cNvSpPr/>
              <p:nvPr/>
            </p:nvSpPr>
            <p:spPr>
              <a:xfrm>
                <a:off x="1033898" y="1740596"/>
                <a:ext cx="186149" cy="186120"/>
              </a:xfrm>
              <a:custGeom>
                <a:avLst/>
                <a:gdLst>
                  <a:gd name="connsiteX0" fmla="*/ 93089 w 186149"/>
                  <a:gd name="connsiteY0" fmla="*/ 186121 h 186120"/>
                  <a:gd name="connsiteX1" fmla="*/ 27269 w 186149"/>
                  <a:gd name="connsiteY1" fmla="*/ 158852 h 186120"/>
                  <a:gd name="connsiteX2" fmla="*/ 0 w 186149"/>
                  <a:gd name="connsiteY2" fmla="*/ 93032 h 186120"/>
                  <a:gd name="connsiteX3" fmla="*/ 27269 w 186149"/>
                  <a:gd name="connsiteY3" fmla="*/ 27212 h 186120"/>
                  <a:gd name="connsiteX4" fmla="*/ 158880 w 186149"/>
                  <a:gd name="connsiteY4" fmla="*/ 27212 h 186120"/>
                  <a:gd name="connsiteX5" fmla="*/ 186149 w 186149"/>
                  <a:gd name="connsiteY5" fmla="*/ 93032 h 186120"/>
                  <a:gd name="connsiteX6" fmla="*/ 158880 w 186149"/>
                  <a:gd name="connsiteY6" fmla="*/ 158852 h 186120"/>
                  <a:gd name="connsiteX7" fmla="*/ 158880 w 186149"/>
                  <a:gd name="connsiteY7" fmla="*/ 158852 h 186120"/>
                  <a:gd name="connsiteX8" fmla="*/ 158880 w 186149"/>
                  <a:gd name="connsiteY8" fmla="*/ 158852 h 186120"/>
                  <a:gd name="connsiteX9" fmla="*/ 93089 w 186149"/>
                  <a:gd name="connsiteY9" fmla="*/ 186121 h 186120"/>
                  <a:gd name="connsiteX10" fmla="*/ 93089 w 186149"/>
                  <a:gd name="connsiteY10" fmla="*/ 13153 h 186120"/>
                  <a:gd name="connsiteX11" fmla="*/ 36567 w 186149"/>
                  <a:gd name="connsiteY11" fmla="*/ 36538 h 186120"/>
                  <a:gd name="connsiteX12" fmla="*/ 13153 w 186149"/>
                  <a:gd name="connsiteY12" fmla="*/ 93060 h 186120"/>
                  <a:gd name="connsiteX13" fmla="*/ 36567 w 186149"/>
                  <a:gd name="connsiteY13" fmla="*/ 149583 h 186120"/>
                  <a:gd name="connsiteX14" fmla="*/ 93089 w 186149"/>
                  <a:gd name="connsiteY14" fmla="*/ 172997 h 186120"/>
                  <a:gd name="connsiteX15" fmla="*/ 149611 w 186149"/>
                  <a:gd name="connsiteY15" fmla="*/ 149583 h 186120"/>
                  <a:gd name="connsiteX16" fmla="*/ 149611 w 186149"/>
                  <a:gd name="connsiteY16" fmla="*/ 149583 h 186120"/>
                  <a:gd name="connsiteX17" fmla="*/ 173025 w 186149"/>
                  <a:gd name="connsiteY17" fmla="*/ 93060 h 186120"/>
                  <a:gd name="connsiteX18" fmla="*/ 149611 w 186149"/>
                  <a:gd name="connsiteY18" fmla="*/ 36538 h 186120"/>
                  <a:gd name="connsiteX19" fmla="*/ 93089 w 186149"/>
                  <a:gd name="connsiteY19" fmla="*/ 13153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6149" h="186120">
                    <a:moveTo>
                      <a:pt x="93089" y="186121"/>
                    </a:moveTo>
                    <a:cubicBezTo>
                      <a:pt x="68229" y="186121"/>
                      <a:pt x="44844" y="176427"/>
                      <a:pt x="27269" y="158852"/>
                    </a:cubicBezTo>
                    <a:cubicBezTo>
                      <a:pt x="9694" y="141277"/>
                      <a:pt x="0" y="117892"/>
                      <a:pt x="0" y="93032"/>
                    </a:cubicBezTo>
                    <a:cubicBezTo>
                      <a:pt x="0" y="68173"/>
                      <a:pt x="9694" y="44787"/>
                      <a:pt x="27269" y="27212"/>
                    </a:cubicBezTo>
                    <a:cubicBezTo>
                      <a:pt x="63552" y="-9071"/>
                      <a:pt x="122597" y="-9071"/>
                      <a:pt x="158880" y="27212"/>
                    </a:cubicBezTo>
                    <a:cubicBezTo>
                      <a:pt x="176455" y="44787"/>
                      <a:pt x="186149" y="68173"/>
                      <a:pt x="186149" y="93032"/>
                    </a:cubicBezTo>
                    <a:cubicBezTo>
                      <a:pt x="186149" y="117892"/>
                      <a:pt x="176455" y="141277"/>
                      <a:pt x="158880" y="158852"/>
                    </a:cubicBezTo>
                    <a:lnTo>
                      <a:pt x="158880" y="158852"/>
                    </a:lnTo>
                    <a:lnTo>
                      <a:pt x="158880" y="158852"/>
                    </a:lnTo>
                    <a:cubicBezTo>
                      <a:pt x="141334" y="176455"/>
                      <a:pt x="117948" y="186121"/>
                      <a:pt x="93089" y="186121"/>
                    </a:cubicBezTo>
                    <a:close/>
                    <a:moveTo>
                      <a:pt x="93089" y="13153"/>
                    </a:moveTo>
                    <a:cubicBezTo>
                      <a:pt x="72623" y="13153"/>
                      <a:pt x="52157" y="20948"/>
                      <a:pt x="36567" y="36538"/>
                    </a:cubicBezTo>
                    <a:cubicBezTo>
                      <a:pt x="21458" y="51647"/>
                      <a:pt x="13153" y="71716"/>
                      <a:pt x="13153" y="93060"/>
                    </a:cubicBezTo>
                    <a:cubicBezTo>
                      <a:pt x="13153" y="114405"/>
                      <a:pt x="21458" y="134474"/>
                      <a:pt x="36567" y="149583"/>
                    </a:cubicBezTo>
                    <a:cubicBezTo>
                      <a:pt x="51675" y="164691"/>
                      <a:pt x="71744" y="172997"/>
                      <a:pt x="93089" y="172997"/>
                    </a:cubicBezTo>
                    <a:cubicBezTo>
                      <a:pt x="114434" y="172997"/>
                      <a:pt x="134503" y="164691"/>
                      <a:pt x="149611" y="149583"/>
                    </a:cubicBezTo>
                    <a:lnTo>
                      <a:pt x="149611" y="149583"/>
                    </a:lnTo>
                    <a:cubicBezTo>
                      <a:pt x="164720" y="134474"/>
                      <a:pt x="173025" y="114405"/>
                      <a:pt x="173025" y="93060"/>
                    </a:cubicBezTo>
                    <a:cubicBezTo>
                      <a:pt x="173025" y="71716"/>
                      <a:pt x="164720" y="51647"/>
                      <a:pt x="149611" y="36538"/>
                    </a:cubicBezTo>
                    <a:cubicBezTo>
                      <a:pt x="134021" y="20948"/>
                      <a:pt x="113555" y="13153"/>
                      <a:pt x="93089" y="13153"/>
                    </a:cubicBezTo>
                    <a:close/>
                  </a:path>
                </a:pathLst>
              </a:custGeom>
              <a:solidFill>
                <a:schemeClr val="accent1"/>
              </a:solidFill>
              <a:ln w="2827" cap="flat">
                <a:noFill/>
                <a:prstDash val="solid"/>
                <a:miter/>
              </a:ln>
            </p:spPr>
            <p:txBody>
              <a:bodyPr rtlCol="0" anchor="ctr"/>
              <a:lstStyle/>
              <a:p>
                <a:endParaRPr lang="en-GB" dirty="0"/>
              </a:p>
            </p:txBody>
          </p:sp>
          <p:grpSp>
            <p:nvGrpSpPr>
              <p:cNvPr id="563" name="Grafik 161">
                <a:extLst>
                  <a:ext uri="{FF2B5EF4-FFF2-40B4-BE49-F238E27FC236}">
                    <a16:creationId xmlns:a16="http://schemas.microsoft.com/office/drawing/2014/main" id="{EE3CC3B8-A513-4F12-BB6C-4E16EC804508}"/>
                  </a:ext>
                </a:extLst>
              </p:cNvPr>
              <p:cNvGrpSpPr/>
              <p:nvPr/>
            </p:nvGrpSpPr>
            <p:grpSpPr>
              <a:xfrm>
                <a:off x="1120410" y="1957869"/>
                <a:ext cx="13124" cy="91926"/>
                <a:chOff x="1120410" y="1957869"/>
                <a:chExt cx="13124" cy="91926"/>
              </a:xfrm>
              <a:solidFill>
                <a:schemeClr val="accent1"/>
              </a:solidFill>
            </p:grpSpPr>
            <p:sp>
              <p:nvSpPr>
                <p:cNvPr id="564" name="Freihandform: Form 238">
                  <a:extLst>
                    <a:ext uri="{FF2B5EF4-FFF2-40B4-BE49-F238E27FC236}">
                      <a16:creationId xmlns:a16="http://schemas.microsoft.com/office/drawing/2014/main" id="{92DA7A25-D8BD-4D14-82AB-C4FCAE42B7F0}"/>
                    </a:ext>
                  </a:extLst>
                </p:cNvPr>
                <p:cNvSpPr/>
                <p:nvPr/>
              </p:nvSpPr>
              <p:spPr>
                <a:xfrm>
                  <a:off x="1120410" y="1997270"/>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565" name="Freihandform: Form 239">
                  <a:extLst>
                    <a:ext uri="{FF2B5EF4-FFF2-40B4-BE49-F238E27FC236}">
                      <a16:creationId xmlns:a16="http://schemas.microsoft.com/office/drawing/2014/main" id="{6B83E5E0-200A-4DF9-ADC2-908475C416CA}"/>
                    </a:ext>
                  </a:extLst>
                </p:cNvPr>
                <p:cNvSpPr/>
                <p:nvPr/>
              </p:nvSpPr>
              <p:spPr>
                <a:xfrm>
                  <a:off x="1120410" y="2036672"/>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566" name="Freihandform: Form 240">
                  <a:extLst>
                    <a:ext uri="{FF2B5EF4-FFF2-40B4-BE49-F238E27FC236}">
                      <a16:creationId xmlns:a16="http://schemas.microsoft.com/office/drawing/2014/main" id="{91D9C98D-7469-46BA-B5B5-A23742427089}"/>
                    </a:ext>
                  </a:extLst>
                </p:cNvPr>
                <p:cNvSpPr/>
                <p:nvPr/>
              </p:nvSpPr>
              <p:spPr>
                <a:xfrm>
                  <a:off x="1120410" y="1957869"/>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grpSp>
      <p:grpSp>
        <p:nvGrpSpPr>
          <p:cNvPr id="590" name="Group 589">
            <a:extLst>
              <a:ext uri="{FF2B5EF4-FFF2-40B4-BE49-F238E27FC236}">
                <a16:creationId xmlns:a16="http://schemas.microsoft.com/office/drawing/2014/main" id="{B22A98AB-F8E3-4968-A843-DFD3CAE44C35}"/>
              </a:ext>
            </a:extLst>
          </p:cNvPr>
          <p:cNvGrpSpPr>
            <a:grpSpLocks noChangeAspect="1"/>
          </p:cNvGrpSpPr>
          <p:nvPr/>
        </p:nvGrpSpPr>
        <p:grpSpPr>
          <a:xfrm>
            <a:off x="8130212" y="3197068"/>
            <a:ext cx="424912" cy="432000"/>
            <a:chOff x="2552176" y="3297679"/>
            <a:chExt cx="486023" cy="494130"/>
          </a:xfrm>
        </p:grpSpPr>
        <p:grpSp>
          <p:nvGrpSpPr>
            <p:cNvPr id="591" name="Group 590">
              <a:extLst>
                <a:ext uri="{FF2B5EF4-FFF2-40B4-BE49-F238E27FC236}">
                  <a16:creationId xmlns:a16="http://schemas.microsoft.com/office/drawing/2014/main" id="{7C7ED0CB-018D-4F5D-AEDD-1548D3439136}"/>
                </a:ext>
              </a:extLst>
            </p:cNvPr>
            <p:cNvGrpSpPr/>
            <p:nvPr/>
          </p:nvGrpSpPr>
          <p:grpSpPr>
            <a:xfrm>
              <a:off x="2657255" y="3363329"/>
              <a:ext cx="275836" cy="223339"/>
              <a:chOff x="2657255" y="3363329"/>
              <a:chExt cx="275836" cy="223339"/>
            </a:xfrm>
          </p:grpSpPr>
          <p:sp>
            <p:nvSpPr>
              <p:cNvPr id="598" name="Freihandform: Form 242">
                <a:extLst>
                  <a:ext uri="{FF2B5EF4-FFF2-40B4-BE49-F238E27FC236}">
                    <a16:creationId xmlns:a16="http://schemas.microsoft.com/office/drawing/2014/main" id="{117F1203-A160-4C58-871B-731BB12EF0A6}"/>
                  </a:ext>
                </a:extLst>
              </p:cNvPr>
              <p:cNvSpPr/>
              <p:nvPr/>
            </p:nvSpPr>
            <p:spPr>
              <a:xfrm>
                <a:off x="2768910" y="3363329"/>
                <a:ext cx="52553" cy="52553"/>
              </a:xfrm>
              <a:custGeom>
                <a:avLst/>
                <a:gdLst>
                  <a:gd name="connsiteX0" fmla="*/ 26277 w 52553"/>
                  <a:gd name="connsiteY0" fmla="*/ 52554 h 52553"/>
                  <a:gd name="connsiteX1" fmla="*/ 0 w 52553"/>
                  <a:gd name="connsiteY1" fmla="*/ 26277 h 52553"/>
                  <a:gd name="connsiteX2" fmla="*/ 26277 w 52553"/>
                  <a:gd name="connsiteY2" fmla="*/ 0 h 52553"/>
                  <a:gd name="connsiteX3" fmla="*/ 52554 w 52553"/>
                  <a:gd name="connsiteY3" fmla="*/ 26277 h 52553"/>
                  <a:gd name="connsiteX4" fmla="*/ 26277 w 52553"/>
                  <a:gd name="connsiteY4" fmla="*/ 52554 h 52553"/>
                  <a:gd name="connsiteX5" fmla="*/ 26277 w 52553"/>
                  <a:gd name="connsiteY5" fmla="*/ 13153 h 52553"/>
                  <a:gd name="connsiteX6" fmla="*/ 13153 w 52553"/>
                  <a:gd name="connsiteY6" fmla="*/ 26277 h 52553"/>
                  <a:gd name="connsiteX7" fmla="*/ 26277 w 52553"/>
                  <a:gd name="connsiteY7" fmla="*/ 39401 h 52553"/>
                  <a:gd name="connsiteX8" fmla="*/ 39401 w 52553"/>
                  <a:gd name="connsiteY8" fmla="*/ 26277 h 52553"/>
                  <a:gd name="connsiteX9" fmla="*/ 26277 w 52553"/>
                  <a:gd name="connsiteY9" fmla="*/ 13153 h 5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53" h="52553">
                    <a:moveTo>
                      <a:pt x="26277" y="52554"/>
                    </a:moveTo>
                    <a:cubicBezTo>
                      <a:pt x="11792" y="52554"/>
                      <a:pt x="0" y="40762"/>
                      <a:pt x="0" y="26277"/>
                    </a:cubicBezTo>
                    <a:cubicBezTo>
                      <a:pt x="0" y="11792"/>
                      <a:pt x="11792" y="0"/>
                      <a:pt x="26277" y="0"/>
                    </a:cubicBezTo>
                    <a:cubicBezTo>
                      <a:pt x="40762" y="0"/>
                      <a:pt x="52554" y="11792"/>
                      <a:pt x="52554" y="26277"/>
                    </a:cubicBezTo>
                    <a:cubicBezTo>
                      <a:pt x="52554" y="40790"/>
                      <a:pt x="40762" y="52554"/>
                      <a:pt x="26277" y="52554"/>
                    </a:cubicBezTo>
                    <a:close/>
                    <a:moveTo>
                      <a:pt x="26277" y="13153"/>
                    </a:moveTo>
                    <a:cubicBezTo>
                      <a:pt x="19049" y="13153"/>
                      <a:pt x="13153" y="19049"/>
                      <a:pt x="13153" y="26277"/>
                    </a:cubicBezTo>
                    <a:cubicBezTo>
                      <a:pt x="13153" y="33505"/>
                      <a:pt x="19049" y="39401"/>
                      <a:pt x="26277" y="39401"/>
                    </a:cubicBezTo>
                    <a:cubicBezTo>
                      <a:pt x="33505" y="39401"/>
                      <a:pt x="39401" y="33505"/>
                      <a:pt x="39401" y="26277"/>
                    </a:cubicBezTo>
                    <a:cubicBezTo>
                      <a:pt x="39401" y="19049"/>
                      <a:pt x="33505" y="13153"/>
                      <a:pt x="26277" y="13153"/>
                    </a:cubicBezTo>
                    <a:close/>
                  </a:path>
                </a:pathLst>
              </a:custGeom>
              <a:solidFill>
                <a:schemeClr val="accent1"/>
              </a:solidFill>
              <a:ln w="2827" cap="flat">
                <a:noFill/>
                <a:prstDash val="solid"/>
                <a:miter/>
              </a:ln>
            </p:spPr>
            <p:txBody>
              <a:bodyPr rtlCol="0" anchor="ctr"/>
              <a:lstStyle/>
              <a:p>
                <a:endParaRPr lang="en-GB" dirty="0"/>
              </a:p>
            </p:txBody>
          </p:sp>
          <p:sp>
            <p:nvSpPr>
              <p:cNvPr id="599" name="Freihandform: Form 244">
                <a:extLst>
                  <a:ext uri="{FF2B5EF4-FFF2-40B4-BE49-F238E27FC236}">
                    <a16:creationId xmlns:a16="http://schemas.microsoft.com/office/drawing/2014/main" id="{B7505963-9F65-4F2D-9E8C-76B5FF29406C}"/>
                  </a:ext>
                </a:extLst>
              </p:cNvPr>
              <p:cNvSpPr/>
              <p:nvPr/>
            </p:nvSpPr>
            <p:spPr>
              <a:xfrm>
                <a:off x="2749210" y="3422488"/>
                <a:ext cx="91954" cy="164180"/>
              </a:xfrm>
              <a:custGeom>
                <a:avLst/>
                <a:gdLst>
                  <a:gd name="connsiteX0" fmla="*/ 91955 w 91954"/>
                  <a:gd name="connsiteY0" fmla="*/ 164181 h 164180"/>
                  <a:gd name="connsiteX1" fmla="*/ 0 w 91954"/>
                  <a:gd name="connsiteY1" fmla="*/ 164181 h 164180"/>
                  <a:gd name="connsiteX2" fmla="*/ 0 w 91954"/>
                  <a:gd name="connsiteY2" fmla="*/ 144480 h 164180"/>
                  <a:gd name="connsiteX3" fmla="*/ 19700 w 91954"/>
                  <a:gd name="connsiteY3" fmla="*/ 124780 h 164180"/>
                  <a:gd name="connsiteX4" fmla="*/ 26277 w 91954"/>
                  <a:gd name="connsiteY4" fmla="*/ 124780 h 164180"/>
                  <a:gd name="connsiteX5" fmla="*/ 26277 w 91954"/>
                  <a:gd name="connsiteY5" fmla="*/ 39401 h 164180"/>
                  <a:gd name="connsiteX6" fmla="*/ 19700 w 91954"/>
                  <a:gd name="connsiteY6" fmla="*/ 39401 h 164180"/>
                  <a:gd name="connsiteX7" fmla="*/ 0 w 91954"/>
                  <a:gd name="connsiteY7" fmla="*/ 19701 h 164180"/>
                  <a:gd name="connsiteX8" fmla="*/ 0 w 91954"/>
                  <a:gd name="connsiteY8" fmla="*/ 0 h 164180"/>
                  <a:gd name="connsiteX9" fmla="*/ 65678 w 91954"/>
                  <a:gd name="connsiteY9" fmla="*/ 0 h 164180"/>
                  <a:gd name="connsiteX10" fmla="*/ 65678 w 91954"/>
                  <a:gd name="connsiteY10" fmla="*/ 124780 h 164180"/>
                  <a:gd name="connsiteX11" fmla="*/ 72254 w 91954"/>
                  <a:gd name="connsiteY11" fmla="*/ 124780 h 164180"/>
                  <a:gd name="connsiteX12" fmla="*/ 91955 w 91954"/>
                  <a:gd name="connsiteY12" fmla="*/ 144480 h 164180"/>
                  <a:gd name="connsiteX13" fmla="*/ 91955 w 91954"/>
                  <a:gd name="connsiteY13" fmla="*/ 164181 h 164180"/>
                  <a:gd name="connsiteX14" fmla="*/ 13124 w 91954"/>
                  <a:gd name="connsiteY14" fmla="*/ 151029 h 164180"/>
                  <a:gd name="connsiteX15" fmla="*/ 78802 w 91954"/>
                  <a:gd name="connsiteY15" fmla="*/ 151029 h 164180"/>
                  <a:gd name="connsiteX16" fmla="*/ 78802 w 91954"/>
                  <a:gd name="connsiteY16" fmla="*/ 144452 h 164180"/>
                  <a:gd name="connsiteX17" fmla="*/ 72226 w 91954"/>
                  <a:gd name="connsiteY17" fmla="*/ 137876 h 164180"/>
                  <a:gd name="connsiteX18" fmla="*/ 52525 w 91954"/>
                  <a:gd name="connsiteY18" fmla="*/ 137876 h 164180"/>
                  <a:gd name="connsiteX19" fmla="*/ 52525 w 91954"/>
                  <a:gd name="connsiteY19" fmla="*/ 13096 h 164180"/>
                  <a:gd name="connsiteX20" fmla="*/ 13124 w 91954"/>
                  <a:gd name="connsiteY20" fmla="*/ 13096 h 164180"/>
                  <a:gd name="connsiteX21" fmla="*/ 13124 w 91954"/>
                  <a:gd name="connsiteY21" fmla="*/ 19672 h 164180"/>
                  <a:gd name="connsiteX22" fmla="*/ 19700 w 91954"/>
                  <a:gd name="connsiteY22" fmla="*/ 26249 h 164180"/>
                  <a:gd name="connsiteX23" fmla="*/ 39401 w 91954"/>
                  <a:gd name="connsiteY23" fmla="*/ 26249 h 164180"/>
                  <a:gd name="connsiteX24" fmla="*/ 39401 w 91954"/>
                  <a:gd name="connsiteY24" fmla="*/ 137904 h 164180"/>
                  <a:gd name="connsiteX25" fmla="*/ 19700 w 91954"/>
                  <a:gd name="connsiteY25" fmla="*/ 137904 h 164180"/>
                  <a:gd name="connsiteX26" fmla="*/ 13124 w 91954"/>
                  <a:gd name="connsiteY26" fmla="*/ 144480 h 164180"/>
                  <a:gd name="connsiteX27" fmla="*/ 13124 w 91954"/>
                  <a:gd name="connsiteY27" fmla="*/ 151029 h 1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1954" h="164180">
                    <a:moveTo>
                      <a:pt x="91955" y="164181"/>
                    </a:moveTo>
                    <a:lnTo>
                      <a:pt x="0" y="164181"/>
                    </a:lnTo>
                    <a:lnTo>
                      <a:pt x="0" y="144480"/>
                    </a:lnTo>
                    <a:cubicBezTo>
                      <a:pt x="0" y="133624"/>
                      <a:pt x="8844" y="124780"/>
                      <a:pt x="19700" y="124780"/>
                    </a:cubicBezTo>
                    <a:lnTo>
                      <a:pt x="26277" y="124780"/>
                    </a:lnTo>
                    <a:lnTo>
                      <a:pt x="26277" y="39401"/>
                    </a:lnTo>
                    <a:lnTo>
                      <a:pt x="19700" y="39401"/>
                    </a:lnTo>
                    <a:cubicBezTo>
                      <a:pt x="8844" y="39401"/>
                      <a:pt x="0" y="30557"/>
                      <a:pt x="0" y="19701"/>
                    </a:cubicBezTo>
                    <a:lnTo>
                      <a:pt x="0" y="0"/>
                    </a:lnTo>
                    <a:lnTo>
                      <a:pt x="65678" y="0"/>
                    </a:lnTo>
                    <a:lnTo>
                      <a:pt x="65678" y="124780"/>
                    </a:lnTo>
                    <a:lnTo>
                      <a:pt x="72254" y="124780"/>
                    </a:lnTo>
                    <a:cubicBezTo>
                      <a:pt x="83111" y="124780"/>
                      <a:pt x="91955" y="133624"/>
                      <a:pt x="91955" y="144480"/>
                    </a:cubicBezTo>
                    <a:lnTo>
                      <a:pt x="91955" y="164181"/>
                    </a:lnTo>
                    <a:close/>
                    <a:moveTo>
                      <a:pt x="13124" y="151029"/>
                    </a:moveTo>
                    <a:lnTo>
                      <a:pt x="78802" y="151029"/>
                    </a:lnTo>
                    <a:lnTo>
                      <a:pt x="78802" y="144452"/>
                    </a:lnTo>
                    <a:cubicBezTo>
                      <a:pt x="78802" y="140824"/>
                      <a:pt x="75854" y="137876"/>
                      <a:pt x="72226" y="137876"/>
                    </a:cubicBezTo>
                    <a:lnTo>
                      <a:pt x="52525" y="137876"/>
                    </a:lnTo>
                    <a:lnTo>
                      <a:pt x="52525" y="13096"/>
                    </a:lnTo>
                    <a:lnTo>
                      <a:pt x="13124" y="13096"/>
                    </a:lnTo>
                    <a:lnTo>
                      <a:pt x="13124" y="19672"/>
                    </a:lnTo>
                    <a:cubicBezTo>
                      <a:pt x="13124" y="23300"/>
                      <a:pt x="16072" y="26249"/>
                      <a:pt x="19700" y="26249"/>
                    </a:cubicBezTo>
                    <a:lnTo>
                      <a:pt x="39401" y="26249"/>
                    </a:lnTo>
                    <a:lnTo>
                      <a:pt x="39401" y="137904"/>
                    </a:lnTo>
                    <a:lnTo>
                      <a:pt x="19700" y="137904"/>
                    </a:lnTo>
                    <a:cubicBezTo>
                      <a:pt x="16072" y="137904"/>
                      <a:pt x="13124" y="140852"/>
                      <a:pt x="13124" y="144480"/>
                    </a:cubicBezTo>
                    <a:lnTo>
                      <a:pt x="13124" y="151029"/>
                    </a:lnTo>
                    <a:close/>
                  </a:path>
                </a:pathLst>
              </a:custGeom>
              <a:solidFill>
                <a:schemeClr val="accent1"/>
              </a:solidFill>
              <a:ln w="2827" cap="flat">
                <a:noFill/>
                <a:prstDash val="solid"/>
                <a:miter/>
              </a:ln>
            </p:spPr>
            <p:txBody>
              <a:bodyPr rtlCol="0" anchor="ctr"/>
              <a:lstStyle/>
              <a:p>
                <a:endParaRPr lang="en-GB" dirty="0"/>
              </a:p>
            </p:txBody>
          </p:sp>
          <p:grpSp>
            <p:nvGrpSpPr>
              <p:cNvPr id="600" name="Grafik 161">
                <a:extLst>
                  <a:ext uri="{FF2B5EF4-FFF2-40B4-BE49-F238E27FC236}">
                    <a16:creationId xmlns:a16="http://schemas.microsoft.com/office/drawing/2014/main" id="{28CA7699-62E9-4B60-9B60-E9F5FF6F6876}"/>
                  </a:ext>
                </a:extLst>
              </p:cNvPr>
              <p:cNvGrpSpPr/>
              <p:nvPr/>
            </p:nvGrpSpPr>
            <p:grpSpPr>
              <a:xfrm>
                <a:off x="2841165" y="3488137"/>
                <a:ext cx="91926" cy="13124"/>
                <a:chOff x="2841165" y="3488137"/>
                <a:chExt cx="91926" cy="13124"/>
              </a:xfrm>
              <a:solidFill>
                <a:schemeClr val="accent1"/>
              </a:solidFill>
            </p:grpSpPr>
            <p:sp>
              <p:nvSpPr>
                <p:cNvPr id="605" name="Freihandform: Form 246">
                  <a:extLst>
                    <a:ext uri="{FF2B5EF4-FFF2-40B4-BE49-F238E27FC236}">
                      <a16:creationId xmlns:a16="http://schemas.microsoft.com/office/drawing/2014/main" id="{D3EC0271-8006-4E80-B0BE-027A4DAB0074}"/>
                    </a:ext>
                  </a:extLst>
                </p:cNvPr>
                <p:cNvSpPr/>
                <p:nvPr/>
              </p:nvSpPr>
              <p:spPr>
                <a:xfrm>
                  <a:off x="2841165"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06" name="Freihandform: Form 247">
                  <a:extLst>
                    <a:ext uri="{FF2B5EF4-FFF2-40B4-BE49-F238E27FC236}">
                      <a16:creationId xmlns:a16="http://schemas.microsoft.com/office/drawing/2014/main" id="{8693BDFD-DC2F-411A-9425-E436006A78B1}"/>
                    </a:ext>
                  </a:extLst>
                </p:cNvPr>
                <p:cNvSpPr/>
                <p:nvPr/>
              </p:nvSpPr>
              <p:spPr>
                <a:xfrm>
                  <a:off x="2880566"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07" name="Freihandform: Form 248">
                  <a:extLst>
                    <a:ext uri="{FF2B5EF4-FFF2-40B4-BE49-F238E27FC236}">
                      <a16:creationId xmlns:a16="http://schemas.microsoft.com/office/drawing/2014/main" id="{E260F73E-8271-431F-9958-0E3FF35C4CF7}"/>
                    </a:ext>
                  </a:extLst>
                </p:cNvPr>
                <p:cNvSpPr/>
                <p:nvPr/>
              </p:nvSpPr>
              <p:spPr>
                <a:xfrm>
                  <a:off x="2919967"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nvGrpSpPr>
              <p:cNvPr id="601" name="Grafik 161">
                <a:extLst>
                  <a:ext uri="{FF2B5EF4-FFF2-40B4-BE49-F238E27FC236}">
                    <a16:creationId xmlns:a16="http://schemas.microsoft.com/office/drawing/2014/main" id="{3A43BB4C-C9F6-4B84-A4DC-1FCEE3790B75}"/>
                  </a:ext>
                </a:extLst>
              </p:cNvPr>
              <p:cNvGrpSpPr/>
              <p:nvPr/>
            </p:nvGrpSpPr>
            <p:grpSpPr>
              <a:xfrm>
                <a:off x="2657255" y="3488137"/>
                <a:ext cx="91955" cy="13124"/>
                <a:chOff x="2657255" y="3488137"/>
                <a:chExt cx="91955" cy="13124"/>
              </a:xfrm>
              <a:solidFill>
                <a:schemeClr val="accent1"/>
              </a:solidFill>
            </p:grpSpPr>
            <p:sp>
              <p:nvSpPr>
                <p:cNvPr id="602" name="Freihandform: Form 250">
                  <a:extLst>
                    <a:ext uri="{FF2B5EF4-FFF2-40B4-BE49-F238E27FC236}">
                      <a16:creationId xmlns:a16="http://schemas.microsoft.com/office/drawing/2014/main" id="{640CD482-780E-4A47-AA7C-EC414995E753}"/>
                    </a:ext>
                  </a:extLst>
                </p:cNvPr>
                <p:cNvSpPr/>
                <p:nvPr/>
              </p:nvSpPr>
              <p:spPr>
                <a:xfrm>
                  <a:off x="2657255"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03" name="Freihandform: Form 251">
                  <a:extLst>
                    <a:ext uri="{FF2B5EF4-FFF2-40B4-BE49-F238E27FC236}">
                      <a16:creationId xmlns:a16="http://schemas.microsoft.com/office/drawing/2014/main" id="{AA4A4D8C-E8C0-4BA2-A6F3-81230E5E466E}"/>
                    </a:ext>
                  </a:extLst>
                </p:cNvPr>
                <p:cNvSpPr/>
                <p:nvPr/>
              </p:nvSpPr>
              <p:spPr>
                <a:xfrm>
                  <a:off x="2696656"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04" name="Freihandform: Form 252">
                  <a:extLst>
                    <a:ext uri="{FF2B5EF4-FFF2-40B4-BE49-F238E27FC236}">
                      <a16:creationId xmlns:a16="http://schemas.microsoft.com/office/drawing/2014/main" id="{2885AC41-2CE9-4152-8381-DFA7A5A82FD1}"/>
                    </a:ext>
                  </a:extLst>
                </p:cNvPr>
                <p:cNvSpPr/>
                <p:nvPr/>
              </p:nvSpPr>
              <p:spPr>
                <a:xfrm>
                  <a:off x="2736086"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grpSp>
          <p:nvGrpSpPr>
            <p:cNvPr id="592" name="Group 591">
              <a:extLst>
                <a:ext uri="{FF2B5EF4-FFF2-40B4-BE49-F238E27FC236}">
                  <a16:creationId xmlns:a16="http://schemas.microsoft.com/office/drawing/2014/main" id="{42B69F5C-A48D-4364-BBA6-E2AABAB235DE}"/>
                </a:ext>
              </a:extLst>
            </p:cNvPr>
            <p:cNvGrpSpPr/>
            <p:nvPr/>
          </p:nvGrpSpPr>
          <p:grpSpPr>
            <a:xfrm>
              <a:off x="2552176" y="3297679"/>
              <a:ext cx="486023" cy="494130"/>
              <a:chOff x="2552176" y="3297679"/>
              <a:chExt cx="486023" cy="494130"/>
            </a:xfrm>
          </p:grpSpPr>
          <p:sp>
            <p:nvSpPr>
              <p:cNvPr id="593" name="Freihandform: Form 243">
                <a:extLst>
                  <a:ext uri="{FF2B5EF4-FFF2-40B4-BE49-F238E27FC236}">
                    <a16:creationId xmlns:a16="http://schemas.microsoft.com/office/drawing/2014/main" id="{B89CB5C0-AA81-4236-ADAA-44CB152187A8}"/>
                  </a:ext>
                </a:extLst>
              </p:cNvPr>
              <p:cNvSpPr/>
              <p:nvPr/>
            </p:nvSpPr>
            <p:spPr>
              <a:xfrm>
                <a:off x="2552176" y="3297679"/>
                <a:ext cx="486023" cy="494130"/>
              </a:xfrm>
              <a:custGeom>
                <a:avLst/>
                <a:gdLst>
                  <a:gd name="connsiteX0" fmla="*/ 243012 w 486023"/>
                  <a:gd name="connsiteY0" fmla="*/ 494131 h 494130"/>
                  <a:gd name="connsiteX1" fmla="*/ 173280 w 486023"/>
                  <a:gd name="connsiteY1" fmla="*/ 354668 h 494130"/>
                  <a:gd name="connsiteX2" fmla="*/ 0 w 486023"/>
                  <a:gd name="connsiteY2" fmla="*/ 354668 h 494130"/>
                  <a:gd name="connsiteX3" fmla="*/ 0 w 486023"/>
                  <a:gd name="connsiteY3" fmla="*/ 0 h 494130"/>
                  <a:gd name="connsiteX4" fmla="*/ 486023 w 486023"/>
                  <a:gd name="connsiteY4" fmla="*/ 0 h 494130"/>
                  <a:gd name="connsiteX5" fmla="*/ 486023 w 486023"/>
                  <a:gd name="connsiteY5" fmla="*/ 354668 h 494130"/>
                  <a:gd name="connsiteX6" fmla="*/ 312743 w 486023"/>
                  <a:gd name="connsiteY6" fmla="*/ 354668 h 494130"/>
                  <a:gd name="connsiteX7" fmla="*/ 243012 w 486023"/>
                  <a:gd name="connsiteY7" fmla="*/ 494131 h 494130"/>
                  <a:gd name="connsiteX8" fmla="*/ 13152 w 486023"/>
                  <a:gd name="connsiteY8" fmla="*/ 341515 h 494130"/>
                  <a:gd name="connsiteX9" fmla="*/ 181416 w 486023"/>
                  <a:gd name="connsiteY9" fmla="*/ 341515 h 494130"/>
                  <a:gd name="connsiteX10" fmla="*/ 243040 w 486023"/>
                  <a:gd name="connsiteY10" fmla="*/ 464736 h 494130"/>
                  <a:gd name="connsiteX11" fmla="*/ 304665 w 486023"/>
                  <a:gd name="connsiteY11" fmla="*/ 341515 h 494130"/>
                  <a:gd name="connsiteX12" fmla="*/ 472928 w 486023"/>
                  <a:gd name="connsiteY12" fmla="*/ 341515 h 494130"/>
                  <a:gd name="connsiteX13" fmla="*/ 472928 w 486023"/>
                  <a:gd name="connsiteY13" fmla="*/ 13124 h 494130"/>
                  <a:gd name="connsiteX14" fmla="*/ 13152 w 486023"/>
                  <a:gd name="connsiteY14" fmla="*/ 13124 h 494130"/>
                  <a:gd name="connsiteX15" fmla="*/ 13152 w 486023"/>
                  <a:gd name="connsiteY15" fmla="*/ 341515 h 49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6023" h="494130">
                    <a:moveTo>
                      <a:pt x="243012" y="494131"/>
                    </a:moveTo>
                    <a:lnTo>
                      <a:pt x="173280" y="354668"/>
                    </a:lnTo>
                    <a:lnTo>
                      <a:pt x="0" y="354668"/>
                    </a:lnTo>
                    <a:lnTo>
                      <a:pt x="0" y="0"/>
                    </a:lnTo>
                    <a:lnTo>
                      <a:pt x="486023" y="0"/>
                    </a:lnTo>
                    <a:lnTo>
                      <a:pt x="486023" y="354668"/>
                    </a:lnTo>
                    <a:lnTo>
                      <a:pt x="312743" y="354668"/>
                    </a:lnTo>
                    <a:lnTo>
                      <a:pt x="243012" y="494131"/>
                    </a:lnTo>
                    <a:close/>
                    <a:moveTo>
                      <a:pt x="13152" y="341515"/>
                    </a:moveTo>
                    <a:lnTo>
                      <a:pt x="181416" y="341515"/>
                    </a:lnTo>
                    <a:lnTo>
                      <a:pt x="243040" y="464736"/>
                    </a:lnTo>
                    <a:lnTo>
                      <a:pt x="304665" y="341515"/>
                    </a:lnTo>
                    <a:lnTo>
                      <a:pt x="472928" y="341515"/>
                    </a:lnTo>
                    <a:lnTo>
                      <a:pt x="472928" y="13124"/>
                    </a:lnTo>
                    <a:lnTo>
                      <a:pt x="13152" y="13124"/>
                    </a:lnTo>
                    <a:lnTo>
                      <a:pt x="13152" y="341515"/>
                    </a:lnTo>
                    <a:close/>
                  </a:path>
                </a:pathLst>
              </a:custGeom>
              <a:solidFill>
                <a:schemeClr val="tx2"/>
              </a:solidFill>
              <a:ln w="2827" cap="flat">
                <a:noFill/>
                <a:prstDash val="solid"/>
                <a:miter/>
              </a:ln>
            </p:spPr>
            <p:txBody>
              <a:bodyPr rtlCol="0" anchor="ctr"/>
              <a:lstStyle/>
              <a:p>
                <a:endParaRPr lang="en-GB" dirty="0"/>
              </a:p>
            </p:txBody>
          </p:sp>
          <p:sp>
            <p:nvSpPr>
              <p:cNvPr id="594" name="Freihandform: Form 253">
                <a:extLst>
                  <a:ext uri="{FF2B5EF4-FFF2-40B4-BE49-F238E27FC236}">
                    <a16:creationId xmlns:a16="http://schemas.microsoft.com/office/drawing/2014/main" id="{DD25605E-49BB-469C-84AB-C883570B4573}"/>
                  </a:ext>
                </a:extLst>
              </p:cNvPr>
              <p:cNvSpPr/>
              <p:nvPr/>
            </p:nvSpPr>
            <p:spPr>
              <a:xfrm>
                <a:off x="2946244" y="3330504"/>
                <a:ext cx="59101" cy="59130"/>
              </a:xfrm>
              <a:custGeom>
                <a:avLst/>
                <a:gdLst>
                  <a:gd name="connsiteX0" fmla="*/ 59102 w 59101"/>
                  <a:gd name="connsiteY0" fmla="*/ 59130 h 59130"/>
                  <a:gd name="connsiteX1" fmla="*/ 45978 w 59101"/>
                  <a:gd name="connsiteY1" fmla="*/ 59130 h 59130"/>
                  <a:gd name="connsiteX2" fmla="*/ 45978 w 59101"/>
                  <a:gd name="connsiteY2" fmla="*/ 13153 h 59130"/>
                  <a:gd name="connsiteX3" fmla="*/ 0 w 59101"/>
                  <a:gd name="connsiteY3" fmla="*/ 13153 h 59130"/>
                  <a:gd name="connsiteX4" fmla="*/ 0 w 59101"/>
                  <a:gd name="connsiteY4" fmla="*/ 0 h 59130"/>
                  <a:gd name="connsiteX5" fmla="*/ 59102 w 59101"/>
                  <a:gd name="connsiteY5" fmla="*/ 0 h 5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01" h="59130">
                    <a:moveTo>
                      <a:pt x="59102" y="59130"/>
                    </a:moveTo>
                    <a:lnTo>
                      <a:pt x="45978" y="59130"/>
                    </a:lnTo>
                    <a:lnTo>
                      <a:pt x="45978" y="13153"/>
                    </a:lnTo>
                    <a:lnTo>
                      <a:pt x="0" y="13153"/>
                    </a:lnTo>
                    <a:lnTo>
                      <a:pt x="0" y="0"/>
                    </a:lnTo>
                    <a:lnTo>
                      <a:pt x="59102" y="0"/>
                    </a:lnTo>
                    <a:close/>
                  </a:path>
                </a:pathLst>
              </a:custGeom>
              <a:solidFill>
                <a:schemeClr val="tx2"/>
              </a:solidFill>
              <a:ln w="2827" cap="flat">
                <a:noFill/>
                <a:prstDash val="solid"/>
                <a:miter/>
              </a:ln>
            </p:spPr>
            <p:txBody>
              <a:bodyPr rtlCol="0" anchor="ctr"/>
              <a:lstStyle/>
              <a:p>
                <a:endParaRPr lang="en-GB" dirty="0"/>
              </a:p>
            </p:txBody>
          </p:sp>
          <p:sp>
            <p:nvSpPr>
              <p:cNvPr id="595" name="Freihandform: Form 254">
                <a:extLst>
                  <a:ext uri="{FF2B5EF4-FFF2-40B4-BE49-F238E27FC236}">
                    <a16:creationId xmlns:a16="http://schemas.microsoft.com/office/drawing/2014/main" id="{55176196-4523-46F4-8F83-95144D0AB368}"/>
                  </a:ext>
                </a:extLst>
              </p:cNvPr>
              <p:cNvSpPr/>
              <p:nvPr/>
            </p:nvSpPr>
            <p:spPr>
              <a:xfrm>
                <a:off x="2585029" y="3330504"/>
                <a:ext cx="59101" cy="59130"/>
              </a:xfrm>
              <a:custGeom>
                <a:avLst/>
                <a:gdLst>
                  <a:gd name="connsiteX0" fmla="*/ 13124 w 59101"/>
                  <a:gd name="connsiteY0" fmla="*/ 59130 h 59130"/>
                  <a:gd name="connsiteX1" fmla="*/ 0 w 59101"/>
                  <a:gd name="connsiteY1" fmla="*/ 59130 h 59130"/>
                  <a:gd name="connsiteX2" fmla="*/ 0 w 59101"/>
                  <a:gd name="connsiteY2" fmla="*/ 0 h 59130"/>
                  <a:gd name="connsiteX3" fmla="*/ 59102 w 59101"/>
                  <a:gd name="connsiteY3" fmla="*/ 0 h 59130"/>
                  <a:gd name="connsiteX4" fmla="*/ 59102 w 59101"/>
                  <a:gd name="connsiteY4" fmla="*/ 13153 h 59130"/>
                  <a:gd name="connsiteX5" fmla="*/ 13124 w 59101"/>
                  <a:gd name="connsiteY5" fmla="*/ 13153 h 5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01" h="59130">
                    <a:moveTo>
                      <a:pt x="13124" y="59130"/>
                    </a:moveTo>
                    <a:lnTo>
                      <a:pt x="0" y="59130"/>
                    </a:lnTo>
                    <a:lnTo>
                      <a:pt x="0" y="0"/>
                    </a:lnTo>
                    <a:lnTo>
                      <a:pt x="59102" y="0"/>
                    </a:lnTo>
                    <a:lnTo>
                      <a:pt x="59102" y="13153"/>
                    </a:lnTo>
                    <a:lnTo>
                      <a:pt x="13124" y="13153"/>
                    </a:lnTo>
                    <a:close/>
                  </a:path>
                </a:pathLst>
              </a:custGeom>
              <a:solidFill>
                <a:schemeClr val="tx2"/>
              </a:solidFill>
              <a:ln w="2827" cap="flat">
                <a:noFill/>
                <a:prstDash val="solid"/>
                <a:miter/>
              </a:ln>
            </p:spPr>
            <p:txBody>
              <a:bodyPr rtlCol="0" anchor="ctr"/>
              <a:lstStyle/>
              <a:p>
                <a:endParaRPr lang="en-GB" dirty="0"/>
              </a:p>
            </p:txBody>
          </p:sp>
          <p:sp>
            <p:nvSpPr>
              <p:cNvPr id="596" name="Freihandform: Form 255">
                <a:extLst>
                  <a:ext uri="{FF2B5EF4-FFF2-40B4-BE49-F238E27FC236}">
                    <a16:creationId xmlns:a16="http://schemas.microsoft.com/office/drawing/2014/main" id="{47E5F9C3-C36C-4EE0-B3E4-B4310832A29D}"/>
                  </a:ext>
                </a:extLst>
              </p:cNvPr>
              <p:cNvSpPr/>
              <p:nvPr/>
            </p:nvSpPr>
            <p:spPr>
              <a:xfrm>
                <a:off x="2946244" y="3560392"/>
                <a:ext cx="59101" cy="59101"/>
              </a:xfrm>
              <a:custGeom>
                <a:avLst/>
                <a:gdLst>
                  <a:gd name="connsiteX0" fmla="*/ 59102 w 59101"/>
                  <a:gd name="connsiteY0" fmla="*/ 59102 h 59101"/>
                  <a:gd name="connsiteX1" fmla="*/ 0 w 59101"/>
                  <a:gd name="connsiteY1" fmla="*/ 59102 h 59101"/>
                  <a:gd name="connsiteX2" fmla="*/ 0 w 59101"/>
                  <a:gd name="connsiteY2" fmla="*/ 45977 h 59101"/>
                  <a:gd name="connsiteX3" fmla="*/ 45978 w 59101"/>
                  <a:gd name="connsiteY3" fmla="*/ 45977 h 59101"/>
                  <a:gd name="connsiteX4" fmla="*/ 45978 w 59101"/>
                  <a:gd name="connsiteY4" fmla="*/ 0 h 59101"/>
                  <a:gd name="connsiteX5" fmla="*/ 59102 w 59101"/>
                  <a:gd name="connsiteY5" fmla="*/ 0 h 5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01" h="59101">
                    <a:moveTo>
                      <a:pt x="59102" y="59102"/>
                    </a:moveTo>
                    <a:lnTo>
                      <a:pt x="0" y="59102"/>
                    </a:lnTo>
                    <a:lnTo>
                      <a:pt x="0" y="45977"/>
                    </a:lnTo>
                    <a:lnTo>
                      <a:pt x="45978" y="45977"/>
                    </a:lnTo>
                    <a:lnTo>
                      <a:pt x="45978" y="0"/>
                    </a:lnTo>
                    <a:lnTo>
                      <a:pt x="59102" y="0"/>
                    </a:lnTo>
                    <a:close/>
                  </a:path>
                </a:pathLst>
              </a:custGeom>
              <a:solidFill>
                <a:schemeClr val="tx2"/>
              </a:solidFill>
              <a:ln w="2827" cap="flat">
                <a:noFill/>
                <a:prstDash val="solid"/>
                <a:miter/>
              </a:ln>
            </p:spPr>
            <p:txBody>
              <a:bodyPr rtlCol="0" anchor="ctr"/>
              <a:lstStyle/>
              <a:p>
                <a:endParaRPr lang="en-GB" dirty="0"/>
              </a:p>
            </p:txBody>
          </p:sp>
          <p:sp>
            <p:nvSpPr>
              <p:cNvPr id="597" name="Freihandform: Form 256">
                <a:extLst>
                  <a:ext uri="{FF2B5EF4-FFF2-40B4-BE49-F238E27FC236}">
                    <a16:creationId xmlns:a16="http://schemas.microsoft.com/office/drawing/2014/main" id="{6EC96BF4-2935-4FE8-9273-3BABF7D721FB}"/>
                  </a:ext>
                </a:extLst>
              </p:cNvPr>
              <p:cNvSpPr/>
              <p:nvPr/>
            </p:nvSpPr>
            <p:spPr>
              <a:xfrm>
                <a:off x="2585029" y="3560392"/>
                <a:ext cx="59101" cy="59101"/>
              </a:xfrm>
              <a:custGeom>
                <a:avLst/>
                <a:gdLst>
                  <a:gd name="connsiteX0" fmla="*/ 59102 w 59101"/>
                  <a:gd name="connsiteY0" fmla="*/ 59102 h 59101"/>
                  <a:gd name="connsiteX1" fmla="*/ 0 w 59101"/>
                  <a:gd name="connsiteY1" fmla="*/ 59102 h 59101"/>
                  <a:gd name="connsiteX2" fmla="*/ 0 w 59101"/>
                  <a:gd name="connsiteY2" fmla="*/ 0 h 59101"/>
                  <a:gd name="connsiteX3" fmla="*/ 13124 w 59101"/>
                  <a:gd name="connsiteY3" fmla="*/ 0 h 59101"/>
                  <a:gd name="connsiteX4" fmla="*/ 13124 w 59101"/>
                  <a:gd name="connsiteY4" fmla="*/ 45977 h 59101"/>
                  <a:gd name="connsiteX5" fmla="*/ 59102 w 59101"/>
                  <a:gd name="connsiteY5" fmla="*/ 45977 h 5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01" h="59101">
                    <a:moveTo>
                      <a:pt x="59102" y="59102"/>
                    </a:moveTo>
                    <a:lnTo>
                      <a:pt x="0" y="59102"/>
                    </a:lnTo>
                    <a:lnTo>
                      <a:pt x="0" y="0"/>
                    </a:lnTo>
                    <a:lnTo>
                      <a:pt x="13124" y="0"/>
                    </a:lnTo>
                    <a:lnTo>
                      <a:pt x="13124" y="45977"/>
                    </a:lnTo>
                    <a:lnTo>
                      <a:pt x="59102" y="45977"/>
                    </a:lnTo>
                    <a:close/>
                  </a:path>
                </a:pathLst>
              </a:custGeom>
              <a:solidFill>
                <a:schemeClr val="tx2"/>
              </a:solidFill>
              <a:ln w="2827" cap="flat">
                <a:noFill/>
                <a:prstDash val="solid"/>
                <a:miter/>
              </a:ln>
            </p:spPr>
            <p:txBody>
              <a:bodyPr rtlCol="0" anchor="ctr"/>
              <a:lstStyle/>
              <a:p>
                <a:endParaRPr lang="en-GB" dirty="0"/>
              </a:p>
            </p:txBody>
          </p:sp>
        </p:grpSp>
      </p:grpSp>
      <p:grpSp>
        <p:nvGrpSpPr>
          <p:cNvPr id="567" name="Group 566">
            <a:extLst>
              <a:ext uri="{FF2B5EF4-FFF2-40B4-BE49-F238E27FC236}">
                <a16:creationId xmlns:a16="http://schemas.microsoft.com/office/drawing/2014/main" id="{1476B275-D39A-454F-9AC7-66D4352DA843}"/>
              </a:ext>
            </a:extLst>
          </p:cNvPr>
          <p:cNvGrpSpPr>
            <a:grpSpLocks noChangeAspect="1"/>
          </p:cNvGrpSpPr>
          <p:nvPr/>
        </p:nvGrpSpPr>
        <p:grpSpPr>
          <a:xfrm>
            <a:off x="4971080" y="4002614"/>
            <a:ext cx="484376" cy="432000"/>
            <a:chOff x="883974" y="2489845"/>
            <a:chExt cx="486022" cy="433469"/>
          </a:xfrm>
        </p:grpSpPr>
        <p:grpSp>
          <p:nvGrpSpPr>
            <p:cNvPr id="568" name="Group 567">
              <a:extLst>
                <a:ext uri="{FF2B5EF4-FFF2-40B4-BE49-F238E27FC236}">
                  <a16:creationId xmlns:a16="http://schemas.microsoft.com/office/drawing/2014/main" id="{CB682E65-0C74-4633-8CFD-AC000E68BA9D}"/>
                </a:ext>
              </a:extLst>
            </p:cNvPr>
            <p:cNvGrpSpPr/>
            <p:nvPr/>
          </p:nvGrpSpPr>
          <p:grpSpPr>
            <a:xfrm>
              <a:off x="883974" y="2489845"/>
              <a:ext cx="486022" cy="433469"/>
              <a:chOff x="883975" y="2489842"/>
              <a:chExt cx="486023" cy="433469"/>
            </a:xfrm>
          </p:grpSpPr>
          <p:sp>
            <p:nvSpPr>
              <p:cNvPr id="574" name="Freihandform: Form 150">
                <a:extLst>
                  <a:ext uri="{FF2B5EF4-FFF2-40B4-BE49-F238E27FC236}">
                    <a16:creationId xmlns:a16="http://schemas.microsoft.com/office/drawing/2014/main" id="{1D55A3C6-DD7F-4740-AB6E-29A83E7CCE9B}"/>
                  </a:ext>
                </a:extLst>
              </p:cNvPr>
              <p:cNvSpPr/>
              <p:nvPr/>
            </p:nvSpPr>
            <p:spPr>
              <a:xfrm>
                <a:off x="1002207" y="2489842"/>
                <a:ext cx="302113" cy="348090"/>
              </a:xfrm>
              <a:custGeom>
                <a:avLst/>
                <a:gdLst>
                  <a:gd name="connsiteX0" fmla="*/ 13124 w 302113"/>
                  <a:gd name="connsiteY0" fmla="*/ 348091 h 348090"/>
                  <a:gd name="connsiteX1" fmla="*/ 0 w 302113"/>
                  <a:gd name="connsiteY1" fmla="*/ 348091 h 348090"/>
                  <a:gd name="connsiteX2" fmla="*/ 0 w 302113"/>
                  <a:gd name="connsiteY2" fmla="*/ 65678 h 348090"/>
                  <a:gd name="connsiteX3" fmla="*/ 65678 w 302113"/>
                  <a:gd name="connsiteY3" fmla="*/ 0 h 348090"/>
                  <a:gd name="connsiteX4" fmla="*/ 302114 w 302113"/>
                  <a:gd name="connsiteY4" fmla="*/ 0 h 348090"/>
                  <a:gd name="connsiteX5" fmla="*/ 302114 w 302113"/>
                  <a:gd name="connsiteY5" fmla="*/ 13124 h 348090"/>
                  <a:gd name="connsiteX6" fmla="*/ 65678 w 302113"/>
                  <a:gd name="connsiteY6" fmla="*/ 13124 h 348090"/>
                  <a:gd name="connsiteX7" fmla="*/ 13124 w 302113"/>
                  <a:gd name="connsiteY7" fmla="*/ 65678 h 348090"/>
                  <a:gd name="connsiteX8" fmla="*/ 13124 w 302113"/>
                  <a:gd name="connsiteY8" fmla="*/ 348091 h 3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113" h="348090">
                    <a:moveTo>
                      <a:pt x="13124" y="348091"/>
                    </a:moveTo>
                    <a:lnTo>
                      <a:pt x="0" y="348091"/>
                    </a:lnTo>
                    <a:lnTo>
                      <a:pt x="0" y="65678"/>
                    </a:lnTo>
                    <a:cubicBezTo>
                      <a:pt x="0" y="29452"/>
                      <a:pt x="29452" y="0"/>
                      <a:pt x="65678" y="0"/>
                    </a:cubicBezTo>
                    <a:lnTo>
                      <a:pt x="302114" y="0"/>
                    </a:lnTo>
                    <a:lnTo>
                      <a:pt x="302114" y="13124"/>
                    </a:lnTo>
                    <a:lnTo>
                      <a:pt x="65678" y="13124"/>
                    </a:lnTo>
                    <a:cubicBezTo>
                      <a:pt x="36708" y="13124"/>
                      <a:pt x="13124" y="36708"/>
                      <a:pt x="13124" y="65678"/>
                    </a:cubicBezTo>
                    <a:lnTo>
                      <a:pt x="13124" y="348091"/>
                    </a:lnTo>
                    <a:close/>
                  </a:path>
                </a:pathLst>
              </a:custGeom>
              <a:solidFill>
                <a:schemeClr val="tx2"/>
              </a:solidFill>
              <a:ln w="2827" cap="flat">
                <a:noFill/>
                <a:prstDash val="solid"/>
                <a:miter/>
              </a:ln>
            </p:spPr>
            <p:txBody>
              <a:bodyPr rtlCol="0" anchor="ctr"/>
              <a:lstStyle/>
              <a:p>
                <a:endParaRPr lang="en-GB" dirty="0"/>
              </a:p>
            </p:txBody>
          </p:sp>
          <p:sp>
            <p:nvSpPr>
              <p:cNvPr id="575" name="Freihandform: Form 151">
                <a:extLst>
                  <a:ext uri="{FF2B5EF4-FFF2-40B4-BE49-F238E27FC236}">
                    <a16:creationId xmlns:a16="http://schemas.microsoft.com/office/drawing/2014/main" id="{6669E0C0-B984-4C41-8972-C0F55A7D8B28}"/>
                  </a:ext>
                </a:extLst>
              </p:cNvPr>
              <p:cNvSpPr/>
              <p:nvPr/>
            </p:nvSpPr>
            <p:spPr>
              <a:xfrm>
                <a:off x="883975" y="2489842"/>
                <a:ext cx="486023" cy="433469"/>
              </a:xfrm>
              <a:custGeom>
                <a:avLst/>
                <a:gdLst>
                  <a:gd name="connsiteX0" fmla="*/ 302114 w 486023"/>
                  <a:gd name="connsiteY0" fmla="*/ 433470 h 433469"/>
                  <a:gd name="connsiteX1" fmla="*/ 65678 w 486023"/>
                  <a:gd name="connsiteY1" fmla="*/ 433470 h 433469"/>
                  <a:gd name="connsiteX2" fmla="*/ 0 w 486023"/>
                  <a:gd name="connsiteY2" fmla="*/ 367792 h 433469"/>
                  <a:gd name="connsiteX3" fmla="*/ 0 w 486023"/>
                  <a:gd name="connsiteY3" fmla="*/ 361215 h 433469"/>
                  <a:gd name="connsiteX4" fmla="*/ 249560 w 486023"/>
                  <a:gd name="connsiteY4" fmla="*/ 361215 h 433469"/>
                  <a:gd name="connsiteX5" fmla="*/ 249560 w 486023"/>
                  <a:gd name="connsiteY5" fmla="*/ 367792 h 433469"/>
                  <a:gd name="connsiteX6" fmla="*/ 302114 w 486023"/>
                  <a:gd name="connsiteY6" fmla="*/ 420345 h 433469"/>
                  <a:gd name="connsiteX7" fmla="*/ 354667 w 486023"/>
                  <a:gd name="connsiteY7" fmla="*/ 367792 h 433469"/>
                  <a:gd name="connsiteX8" fmla="*/ 354667 w 486023"/>
                  <a:gd name="connsiteY8" fmla="*/ 65678 h 433469"/>
                  <a:gd name="connsiteX9" fmla="*/ 420345 w 486023"/>
                  <a:gd name="connsiteY9" fmla="*/ 0 h 433469"/>
                  <a:gd name="connsiteX10" fmla="*/ 486024 w 486023"/>
                  <a:gd name="connsiteY10" fmla="*/ 65678 h 433469"/>
                  <a:gd name="connsiteX11" fmla="*/ 486024 w 486023"/>
                  <a:gd name="connsiteY11" fmla="*/ 72254 h 433469"/>
                  <a:gd name="connsiteX12" fmla="*/ 380944 w 486023"/>
                  <a:gd name="connsiteY12" fmla="*/ 72254 h 433469"/>
                  <a:gd name="connsiteX13" fmla="*/ 380944 w 486023"/>
                  <a:gd name="connsiteY13" fmla="*/ 59130 h 433469"/>
                  <a:gd name="connsiteX14" fmla="*/ 472474 w 486023"/>
                  <a:gd name="connsiteY14" fmla="*/ 59130 h 433469"/>
                  <a:gd name="connsiteX15" fmla="*/ 420345 w 486023"/>
                  <a:gd name="connsiteY15" fmla="*/ 13153 h 433469"/>
                  <a:gd name="connsiteX16" fmla="*/ 367792 w 486023"/>
                  <a:gd name="connsiteY16" fmla="*/ 65706 h 433469"/>
                  <a:gd name="connsiteX17" fmla="*/ 367792 w 486023"/>
                  <a:gd name="connsiteY17" fmla="*/ 367820 h 433469"/>
                  <a:gd name="connsiteX18" fmla="*/ 302114 w 486023"/>
                  <a:gd name="connsiteY18" fmla="*/ 433470 h 433469"/>
                  <a:gd name="connsiteX19" fmla="*/ 13549 w 486023"/>
                  <a:gd name="connsiteY19" fmla="*/ 374368 h 433469"/>
                  <a:gd name="connsiteX20" fmla="*/ 65678 w 486023"/>
                  <a:gd name="connsiteY20" fmla="*/ 420345 h 433469"/>
                  <a:gd name="connsiteX21" fmla="*/ 262741 w 486023"/>
                  <a:gd name="connsiteY21" fmla="*/ 420345 h 433469"/>
                  <a:gd name="connsiteX22" fmla="*/ 236747 w 486023"/>
                  <a:gd name="connsiteY22" fmla="*/ 374368 h 433469"/>
                  <a:gd name="connsiteX23" fmla="*/ 13549 w 486023"/>
                  <a:gd name="connsiteY23" fmla="*/ 374368 h 43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6023" h="433469">
                    <a:moveTo>
                      <a:pt x="302114" y="433470"/>
                    </a:moveTo>
                    <a:lnTo>
                      <a:pt x="65678" y="433470"/>
                    </a:lnTo>
                    <a:cubicBezTo>
                      <a:pt x="29452" y="433470"/>
                      <a:pt x="0" y="404018"/>
                      <a:pt x="0" y="367792"/>
                    </a:cubicBezTo>
                    <a:lnTo>
                      <a:pt x="0" y="361215"/>
                    </a:lnTo>
                    <a:lnTo>
                      <a:pt x="249560" y="361215"/>
                    </a:lnTo>
                    <a:lnTo>
                      <a:pt x="249560" y="367792"/>
                    </a:lnTo>
                    <a:cubicBezTo>
                      <a:pt x="249560" y="396761"/>
                      <a:pt x="273144" y="420345"/>
                      <a:pt x="302114" y="420345"/>
                    </a:cubicBezTo>
                    <a:cubicBezTo>
                      <a:pt x="331083" y="420345"/>
                      <a:pt x="354667" y="396761"/>
                      <a:pt x="354667" y="367792"/>
                    </a:cubicBezTo>
                    <a:lnTo>
                      <a:pt x="354667" y="65678"/>
                    </a:lnTo>
                    <a:cubicBezTo>
                      <a:pt x="354667" y="29452"/>
                      <a:pt x="384119" y="0"/>
                      <a:pt x="420345" y="0"/>
                    </a:cubicBezTo>
                    <a:cubicBezTo>
                      <a:pt x="456572" y="0"/>
                      <a:pt x="486024" y="29452"/>
                      <a:pt x="486024" y="65678"/>
                    </a:cubicBezTo>
                    <a:lnTo>
                      <a:pt x="486024" y="72254"/>
                    </a:lnTo>
                    <a:lnTo>
                      <a:pt x="380944" y="72254"/>
                    </a:lnTo>
                    <a:lnTo>
                      <a:pt x="380944" y="59130"/>
                    </a:lnTo>
                    <a:lnTo>
                      <a:pt x="472474" y="59130"/>
                    </a:lnTo>
                    <a:cubicBezTo>
                      <a:pt x="469214" y="33250"/>
                      <a:pt x="447076" y="13153"/>
                      <a:pt x="420345" y="13153"/>
                    </a:cubicBezTo>
                    <a:cubicBezTo>
                      <a:pt x="391376" y="13153"/>
                      <a:pt x="367792" y="36737"/>
                      <a:pt x="367792" y="65706"/>
                    </a:cubicBezTo>
                    <a:lnTo>
                      <a:pt x="367792" y="367820"/>
                    </a:lnTo>
                    <a:cubicBezTo>
                      <a:pt x="367792" y="404018"/>
                      <a:pt x="338340" y="433470"/>
                      <a:pt x="302114" y="433470"/>
                    </a:cubicBezTo>
                    <a:close/>
                    <a:moveTo>
                      <a:pt x="13549" y="374368"/>
                    </a:moveTo>
                    <a:cubicBezTo>
                      <a:pt x="16809" y="400248"/>
                      <a:pt x="38948" y="420345"/>
                      <a:pt x="65678" y="420345"/>
                    </a:cubicBezTo>
                    <a:lnTo>
                      <a:pt x="262741" y="420345"/>
                    </a:lnTo>
                    <a:cubicBezTo>
                      <a:pt x="248426" y="409602"/>
                      <a:pt x="238618" y="393133"/>
                      <a:pt x="236747" y="374368"/>
                    </a:cubicBezTo>
                    <a:lnTo>
                      <a:pt x="13549" y="374368"/>
                    </a:lnTo>
                    <a:close/>
                  </a:path>
                </a:pathLst>
              </a:custGeom>
              <a:solidFill>
                <a:schemeClr val="tx2"/>
              </a:solidFill>
              <a:ln w="2827" cap="flat">
                <a:noFill/>
                <a:prstDash val="solid"/>
                <a:miter/>
              </a:ln>
            </p:spPr>
            <p:txBody>
              <a:bodyPr rtlCol="0" anchor="ctr"/>
              <a:lstStyle/>
              <a:p>
                <a:endParaRPr lang="en-GB" dirty="0"/>
              </a:p>
            </p:txBody>
          </p:sp>
        </p:grpSp>
        <p:grpSp>
          <p:nvGrpSpPr>
            <p:cNvPr id="569" name="Group 568">
              <a:extLst>
                <a:ext uri="{FF2B5EF4-FFF2-40B4-BE49-F238E27FC236}">
                  <a16:creationId xmlns:a16="http://schemas.microsoft.com/office/drawing/2014/main" id="{20D521F7-73FB-4E29-8159-80F25E11B8AD}"/>
                </a:ext>
              </a:extLst>
            </p:cNvPr>
            <p:cNvGrpSpPr/>
            <p:nvPr/>
          </p:nvGrpSpPr>
          <p:grpSpPr>
            <a:xfrm>
              <a:off x="1035031" y="2594921"/>
              <a:ext cx="183910" cy="223311"/>
              <a:chOff x="1035031" y="2594921"/>
              <a:chExt cx="183910" cy="223311"/>
            </a:xfrm>
          </p:grpSpPr>
          <p:sp>
            <p:nvSpPr>
              <p:cNvPr id="570" name="Freihandform: Form 152">
                <a:extLst>
                  <a:ext uri="{FF2B5EF4-FFF2-40B4-BE49-F238E27FC236}">
                    <a16:creationId xmlns:a16="http://schemas.microsoft.com/office/drawing/2014/main" id="{F54FA7C8-B440-4ACA-944C-5F3AC2113479}"/>
                  </a:ext>
                </a:extLst>
              </p:cNvPr>
              <p:cNvSpPr/>
              <p:nvPr/>
            </p:nvSpPr>
            <p:spPr>
              <a:xfrm>
                <a:off x="1081009" y="2594921"/>
                <a:ext cx="91955" cy="13124"/>
              </a:xfrm>
              <a:custGeom>
                <a:avLst/>
                <a:gdLst>
                  <a:gd name="connsiteX0" fmla="*/ 0 w 91955"/>
                  <a:gd name="connsiteY0" fmla="*/ 0 h 13124"/>
                  <a:gd name="connsiteX1" fmla="*/ 91955 w 91955"/>
                  <a:gd name="connsiteY1" fmla="*/ 0 h 13124"/>
                  <a:gd name="connsiteX2" fmla="*/ 91955 w 91955"/>
                  <a:gd name="connsiteY2" fmla="*/ 13124 h 13124"/>
                  <a:gd name="connsiteX3" fmla="*/ 0 w 91955"/>
                  <a:gd name="connsiteY3" fmla="*/ 13124 h 13124"/>
                </a:gdLst>
                <a:ahLst/>
                <a:cxnLst>
                  <a:cxn ang="0">
                    <a:pos x="connsiteX0" y="connsiteY0"/>
                  </a:cxn>
                  <a:cxn ang="0">
                    <a:pos x="connsiteX1" y="connsiteY1"/>
                  </a:cxn>
                  <a:cxn ang="0">
                    <a:pos x="connsiteX2" y="connsiteY2"/>
                  </a:cxn>
                  <a:cxn ang="0">
                    <a:pos x="connsiteX3" y="connsiteY3"/>
                  </a:cxn>
                </a:cxnLst>
                <a:rect l="l" t="t" r="r" b="b"/>
                <a:pathLst>
                  <a:path w="91955" h="13124">
                    <a:moveTo>
                      <a:pt x="0" y="0"/>
                    </a:moveTo>
                    <a:lnTo>
                      <a:pt x="91955" y="0"/>
                    </a:lnTo>
                    <a:lnTo>
                      <a:pt x="91955"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571" name="Freihandform: Form 153">
                <a:extLst>
                  <a:ext uri="{FF2B5EF4-FFF2-40B4-BE49-F238E27FC236}">
                    <a16:creationId xmlns:a16="http://schemas.microsoft.com/office/drawing/2014/main" id="{C365AB0E-54BD-4DE5-9BB9-92C6342069B1}"/>
                  </a:ext>
                </a:extLst>
              </p:cNvPr>
              <p:cNvSpPr/>
              <p:nvPr/>
            </p:nvSpPr>
            <p:spPr>
              <a:xfrm>
                <a:off x="1035031" y="2805108"/>
                <a:ext cx="183910" cy="13124"/>
              </a:xfrm>
              <a:custGeom>
                <a:avLst/>
                <a:gdLst>
                  <a:gd name="connsiteX0" fmla="*/ 0 w 183910"/>
                  <a:gd name="connsiteY0" fmla="*/ 0 h 13124"/>
                  <a:gd name="connsiteX1" fmla="*/ 183910 w 183910"/>
                  <a:gd name="connsiteY1" fmla="*/ 0 h 13124"/>
                  <a:gd name="connsiteX2" fmla="*/ 183910 w 183910"/>
                  <a:gd name="connsiteY2" fmla="*/ 13124 h 13124"/>
                  <a:gd name="connsiteX3" fmla="*/ 0 w 183910"/>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83910" h="13124">
                    <a:moveTo>
                      <a:pt x="0" y="0"/>
                    </a:moveTo>
                    <a:lnTo>
                      <a:pt x="183910" y="0"/>
                    </a:lnTo>
                    <a:lnTo>
                      <a:pt x="183910"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572" name="Freihandform: Form 154">
                <a:extLst>
                  <a:ext uri="{FF2B5EF4-FFF2-40B4-BE49-F238E27FC236}">
                    <a16:creationId xmlns:a16="http://schemas.microsoft.com/office/drawing/2014/main" id="{17B41D4A-DE4E-47D5-8FA7-683993D7432C}"/>
                  </a:ext>
                </a:extLst>
              </p:cNvPr>
              <p:cNvSpPr/>
              <p:nvPr/>
            </p:nvSpPr>
            <p:spPr>
              <a:xfrm>
                <a:off x="1035031" y="2752554"/>
                <a:ext cx="183910" cy="13124"/>
              </a:xfrm>
              <a:custGeom>
                <a:avLst/>
                <a:gdLst>
                  <a:gd name="connsiteX0" fmla="*/ 0 w 183910"/>
                  <a:gd name="connsiteY0" fmla="*/ 0 h 13124"/>
                  <a:gd name="connsiteX1" fmla="*/ 183910 w 183910"/>
                  <a:gd name="connsiteY1" fmla="*/ 0 h 13124"/>
                  <a:gd name="connsiteX2" fmla="*/ 183910 w 183910"/>
                  <a:gd name="connsiteY2" fmla="*/ 13124 h 13124"/>
                  <a:gd name="connsiteX3" fmla="*/ 0 w 183910"/>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83910" h="13124">
                    <a:moveTo>
                      <a:pt x="0" y="0"/>
                    </a:moveTo>
                    <a:lnTo>
                      <a:pt x="183910" y="0"/>
                    </a:lnTo>
                    <a:lnTo>
                      <a:pt x="183910"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573" name="Freihandform: Form 155">
                <a:extLst>
                  <a:ext uri="{FF2B5EF4-FFF2-40B4-BE49-F238E27FC236}">
                    <a16:creationId xmlns:a16="http://schemas.microsoft.com/office/drawing/2014/main" id="{234F9832-522D-4EA6-A4D0-F461D6D76585}"/>
                  </a:ext>
                </a:extLst>
              </p:cNvPr>
              <p:cNvSpPr/>
              <p:nvPr/>
            </p:nvSpPr>
            <p:spPr>
              <a:xfrm>
                <a:off x="1035031" y="2700029"/>
                <a:ext cx="183910" cy="13124"/>
              </a:xfrm>
              <a:custGeom>
                <a:avLst/>
                <a:gdLst>
                  <a:gd name="connsiteX0" fmla="*/ 0 w 183910"/>
                  <a:gd name="connsiteY0" fmla="*/ 0 h 13124"/>
                  <a:gd name="connsiteX1" fmla="*/ 183910 w 183910"/>
                  <a:gd name="connsiteY1" fmla="*/ 0 h 13124"/>
                  <a:gd name="connsiteX2" fmla="*/ 183910 w 183910"/>
                  <a:gd name="connsiteY2" fmla="*/ 13124 h 13124"/>
                  <a:gd name="connsiteX3" fmla="*/ 0 w 183910"/>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83910" h="13124">
                    <a:moveTo>
                      <a:pt x="0" y="0"/>
                    </a:moveTo>
                    <a:lnTo>
                      <a:pt x="183910" y="0"/>
                    </a:lnTo>
                    <a:lnTo>
                      <a:pt x="183910"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grpSp>
        <p:nvGrpSpPr>
          <p:cNvPr id="576" name="Group 575">
            <a:extLst>
              <a:ext uri="{FF2B5EF4-FFF2-40B4-BE49-F238E27FC236}">
                <a16:creationId xmlns:a16="http://schemas.microsoft.com/office/drawing/2014/main" id="{A775DB90-EE70-4565-9D62-101EACFE67F4}"/>
              </a:ext>
            </a:extLst>
          </p:cNvPr>
          <p:cNvGrpSpPr>
            <a:grpSpLocks noChangeAspect="1"/>
          </p:cNvGrpSpPr>
          <p:nvPr/>
        </p:nvGrpSpPr>
        <p:grpSpPr>
          <a:xfrm>
            <a:off x="6040401" y="4002609"/>
            <a:ext cx="432000" cy="432004"/>
            <a:chOff x="1718089" y="2463561"/>
            <a:chExt cx="486023" cy="486027"/>
          </a:xfrm>
        </p:grpSpPr>
        <p:sp>
          <p:nvSpPr>
            <p:cNvPr id="577" name="Freihandform: Form 222">
              <a:extLst>
                <a:ext uri="{FF2B5EF4-FFF2-40B4-BE49-F238E27FC236}">
                  <a16:creationId xmlns:a16="http://schemas.microsoft.com/office/drawing/2014/main" id="{009BD75D-696C-44F9-89BF-79A8560C8179}"/>
                </a:ext>
              </a:extLst>
            </p:cNvPr>
            <p:cNvSpPr/>
            <p:nvPr/>
          </p:nvSpPr>
          <p:spPr>
            <a:xfrm rot="20400074">
              <a:off x="2177834" y="2632619"/>
              <a:ext cx="13124" cy="76194"/>
            </a:xfrm>
            <a:custGeom>
              <a:avLst/>
              <a:gdLst>
                <a:gd name="connsiteX0" fmla="*/ 0 w 13124"/>
                <a:gd name="connsiteY0" fmla="*/ 0 h 76194"/>
                <a:gd name="connsiteX1" fmla="*/ 13124 w 13124"/>
                <a:gd name="connsiteY1" fmla="*/ 0 h 76194"/>
                <a:gd name="connsiteX2" fmla="*/ 13124 w 13124"/>
                <a:gd name="connsiteY2" fmla="*/ 76195 h 76194"/>
                <a:gd name="connsiteX3" fmla="*/ 0 w 13124"/>
                <a:gd name="connsiteY3" fmla="*/ 76195 h 76194"/>
              </a:gdLst>
              <a:ahLst/>
              <a:cxnLst>
                <a:cxn ang="0">
                  <a:pos x="connsiteX0" y="connsiteY0"/>
                </a:cxn>
                <a:cxn ang="0">
                  <a:pos x="connsiteX1" y="connsiteY1"/>
                </a:cxn>
                <a:cxn ang="0">
                  <a:pos x="connsiteX2" y="connsiteY2"/>
                </a:cxn>
                <a:cxn ang="0">
                  <a:pos x="connsiteX3" y="connsiteY3"/>
                </a:cxn>
              </a:cxnLst>
              <a:rect l="l" t="t" r="r" b="b"/>
              <a:pathLst>
                <a:path w="13124" h="76194">
                  <a:moveTo>
                    <a:pt x="0" y="0"/>
                  </a:moveTo>
                  <a:lnTo>
                    <a:pt x="13124" y="0"/>
                  </a:lnTo>
                  <a:lnTo>
                    <a:pt x="13124" y="76195"/>
                  </a:lnTo>
                  <a:lnTo>
                    <a:pt x="0" y="76195"/>
                  </a:lnTo>
                  <a:close/>
                </a:path>
              </a:pathLst>
            </a:custGeom>
            <a:solidFill>
              <a:schemeClr val="tx2"/>
            </a:solidFill>
            <a:ln w="2827" cap="flat">
              <a:noFill/>
              <a:prstDash val="solid"/>
              <a:miter/>
            </a:ln>
          </p:spPr>
          <p:txBody>
            <a:bodyPr rtlCol="0" anchor="ctr"/>
            <a:lstStyle/>
            <a:p>
              <a:endParaRPr lang="en-GB" dirty="0"/>
            </a:p>
          </p:txBody>
        </p:sp>
        <p:sp>
          <p:nvSpPr>
            <p:cNvPr id="578" name="Freihandform: Form 226">
              <a:extLst>
                <a:ext uri="{FF2B5EF4-FFF2-40B4-BE49-F238E27FC236}">
                  <a16:creationId xmlns:a16="http://schemas.microsoft.com/office/drawing/2014/main" id="{816FF11B-9D5A-4EF3-BCF2-467A818F90D5}"/>
                </a:ext>
              </a:extLst>
            </p:cNvPr>
            <p:cNvSpPr/>
            <p:nvPr/>
          </p:nvSpPr>
          <p:spPr>
            <a:xfrm rot="17399603">
              <a:off x="1699468" y="2664770"/>
              <a:ext cx="76191" cy="13123"/>
            </a:xfrm>
            <a:custGeom>
              <a:avLst/>
              <a:gdLst>
                <a:gd name="connsiteX0" fmla="*/ 0 w 76191"/>
                <a:gd name="connsiteY0" fmla="*/ 0 h 13123"/>
                <a:gd name="connsiteX1" fmla="*/ 76192 w 76191"/>
                <a:gd name="connsiteY1" fmla="*/ 0 h 13123"/>
                <a:gd name="connsiteX2" fmla="*/ 76192 w 76191"/>
                <a:gd name="connsiteY2" fmla="*/ 13124 h 13123"/>
                <a:gd name="connsiteX3" fmla="*/ 0 w 76191"/>
                <a:gd name="connsiteY3" fmla="*/ 13124 h 13123"/>
              </a:gdLst>
              <a:ahLst/>
              <a:cxnLst>
                <a:cxn ang="0">
                  <a:pos x="connsiteX0" y="connsiteY0"/>
                </a:cxn>
                <a:cxn ang="0">
                  <a:pos x="connsiteX1" y="connsiteY1"/>
                </a:cxn>
                <a:cxn ang="0">
                  <a:pos x="connsiteX2" y="connsiteY2"/>
                </a:cxn>
                <a:cxn ang="0">
                  <a:pos x="connsiteX3" y="connsiteY3"/>
                </a:cxn>
              </a:cxnLst>
              <a:rect l="l" t="t" r="r" b="b"/>
              <a:pathLst>
                <a:path w="76191" h="13123">
                  <a:moveTo>
                    <a:pt x="0" y="0"/>
                  </a:moveTo>
                  <a:lnTo>
                    <a:pt x="76192" y="0"/>
                  </a:lnTo>
                  <a:lnTo>
                    <a:pt x="76192" y="13124"/>
                  </a:lnTo>
                  <a:lnTo>
                    <a:pt x="0" y="13124"/>
                  </a:lnTo>
                  <a:close/>
                </a:path>
              </a:pathLst>
            </a:custGeom>
            <a:solidFill>
              <a:schemeClr val="tx2"/>
            </a:solidFill>
            <a:ln w="2827" cap="flat">
              <a:noFill/>
              <a:prstDash val="solid"/>
              <a:miter/>
            </a:ln>
          </p:spPr>
          <p:txBody>
            <a:bodyPr rtlCol="0" anchor="ctr"/>
            <a:lstStyle/>
            <a:p>
              <a:endParaRPr lang="en-GB" dirty="0"/>
            </a:p>
          </p:txBody>
        </p:sp>
        <p:grpSp>
          <p:nvGrpSpPr>
            <p:cNvPr id="579" name="Group 578">
              <a:extLst>
                <a:ext uri="{FF2B5EF4-FFF2-40B4-BE49-F238E27FC236}">
                  <a16:creationId xmlns:a16="http://schemas.microsoft.com/office/drawing/2014/main" id="{0F772325-F46C-4129-AEA4-9376F7FFB5EA}"/>
                </a:ext>
              </a:extLst>
            </p:cNvPr>
            <p:cNvGrpSpPr/>
            <p:nvPr/>
          </p:nvGrpSpPr>
          <p:grpSpPr>
            <a:xfrm>
              <a:off x="1744338" y="2463561"/>
              <a:ext cx="433470" cy="223309"/>
              <a:chOff x="1744338" y="2463565"/>
              <a:chExt cx="433469" cy="223310"/>
            </a:xfrm>
          </p:grpSpPr>
          <p:sp>
            <p:nvSpPr>
              <p:cNvPr id="587" name="Freihandform: Form 227">
                <a:extLst>
                  <a:ext uri="{FF2B5EF4-FFF2-40B4-BE49-F238E27FC236}">
                    <a16:creationId xmlns:a16="http://schemas.microsoft.com/office/drawing/2014/main" id="{51039373-758F-4B61-B888-79EE57148453}"/>
                  </a:ext>
                </a:extLst>
              </p:cNvPr>
              <p:cNvSpPr/>
              <p:nvPr/>
            </p:nvSpPr>
            <p:spPr>
              <a:xfrm>
                <a:off x="1744338" y="2594921"/>
                <a:ext cx="433469" cy="91954"/>
              </a:xfrm>
              <a:custGeom>
                <a:avLst/>
                <a:gdLst>
                  <a:gd name="connsiteX0" fmla="*/ 433470 w 433469"/>
                  <a:gd name="connsiteY0" fmla="*/ 91955 h 91954"/>
                  <a:gd name="connsiteX1" fmla="*/ 420346 w 433469"/>
                  <a:gd name="connsiteY1" fmla="*/ 91955 h 91954"/>
                  <a:gd name="connsiteX2" fmla="*/ 420346 w 433469"/>
                  <a:gd name="connsiteY2" fmla="*/ 13153 h 91954"/>
                  <a:gd name="connsiteX3" fmla="*/ 13153 w 433469"/>
                  <a:gd name="connsiteY3" fmla="*/ 13153 h 91954"/>
                  <a:gd name="connsiteX4" fmla="*/ 13153 w 433469"/>
                  <a:gd name="connsiteY4" fmla="*/ 91955 h 91954"/>
                  <a:gd name="connsiteX5" fmla="*/ 0 w 433469"/>
                  <a:gd name="connsiteY5" fmla="*/ 91955 h 91954"/>
                  <a:gd name="connsiteX6" fmla="*/ 0 w 433469"/>
                  <a:gd name="connsiteY6" fmla="*/ 0 h 91954"/>
                  <a:gd name="connsiteX7" fmla="*/ 433470 w 433469"/>
                  <a:gd name="connsiteY7" fmla="*/ 0 h 9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469" h="91954">
                    <a:moveTo>
                      <a:pt x="433470" y="91955"/>
                    </a:moveTo>
                    <a:lnTo>
                      <a:pt x="420346" y="91955"/>
                    </a:lnTo>
                    <a:lnTo>
                      <a:pt x="420346" y="13153"/>
                    </a:lnTo>
                    <a:lnTo>
                      <a:pt x="13153" y="13153"/>
                    </a:lnTo>
                    <a:lnTo>
                      <a:pt x="13153" y="91955"/>
                    </a:lnTo>
                    <a:lnTo>
                      <a:pt x="0" y="91955"/>
                    </a:lnTo>
                    <a:lnTo>
                      <a:pt x="0" y="0"/>
                    </a:lnTo>
                    <a:lnTo>
                      <a:pt x="433470" y="0"/>
                    </a:lnTo>
                    <a:close/>
                  </a:path>
                </a:pathLst>
              </a:custGeom>
              <a:solidFill>
                <a:schemeClr val="accent1"/>
              </a:solidFill>
              <a:ln w="2827" cap="flat">
                <a:noFill/>
                <a:prstDash val="solid"/>
                <a:miter/>
              </a:ln>
            </p:spPr>
            <p:txBody>
              <a:bodyPr rtlCol="0" anchor="ctr"/>
              <a:lstStyle/>
              <a:p>
                <a:endParaRPr lang="en-GB" dirty="0"/>
              </a:p>
            </p:txBody>
          </p:sp>
          <p:sp>
            <p:nvSpPr>
              <p:cNvPr id="588" name="Freihandform: Form 228">
                <a:extLst>
                  <a:ext uri="{FF2B5EF4-FFF2-40B4-BE49-F238E27FC236}">
                    <a16:creationId xmlns:a16="http://schemas.microsoft.com/office/drawing/2014/main" id="{F8D3C776-11B7-44F0-8AD0-C1972F94C993}"/>
                  </a:ext>
                </a:extLst>
              </p:cNvPr>
              <p:cNvSpPr/>
              <p:nvPr/>
            </p:nvSpPr>
            <p:spPr>
              <a:xfrm>
                <a:off x="1770615" y="2529243"/>
                <a:ext cx="380944" cy="52553"/>
              </a:xfrm>
              <a:custGeom>
                <a:avLst/>
                <a:gdLst>
                  <a:gd name="connsiteX0" fmla="*/ 380944 w 380944"/>
                  <a:gd name="connsiteY0" fmla="*/ 52554 h 52553"/>
                  <a:gd name="connsiteX1" fmla="*/ 367792 w 380944"/>
                  <a:gd name="connsiteY1" fmla="*/ 52554 h 52553"/>
                  <a:gd name="connsiteX2" fmla="*/ 367792 w 380944"/>
                  <a:gd name="connsiteY2" fmla="*/ 13153 h 52553"/>
                  <a:gd name="connsiteX3" fmla="*/ 13153 w 380944"/>
                  <a:gd name="connsiteY3" fmla="*/ 13153 h 52553"/>
                  <a:gd name="connsiteX4" fmla="*/ 13153 w 380944"/>
                  <a:gd name="connsiteY4" fmla="*/ 52554 h 52553"/>
                  <a:gd name="connsiteX5" fmla="*/ 0 w 380944"/>
                  <a:gd name="connsiteY5" fmla="*/ 52554 h 52553"/>
                  <a:gd name="connsiteX6" fmla="*/ 0 w 380944"/>
                  <a:gd name="connsiteY6" fmla="*/ 0 h 52553"/>
                  <a:gd name="connsiteX7" fmla="*/ 380944 w 380944"/>
                  <a:gd name="connsiteY7" fmla="*/ 0 h 5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944" h="52553">
                    <a:moveTo>
                      <a:pt x="380944" y="52554"/>
                    </a:moveTo>
                    <a:lnTo>
                      <a:pt x="367792" y="52554"/>
                    </a:lnTo>
                    <a:lnTo>
                      <a:pt x="367792" y="13153"/>
                    </a:lnTo>
                    <a:lnTo>
                      <a:pt x="13153" y="13153"/>
                    </a:lnTo>
                    <a:lnTo>
                      <a:pt x="13153" y="52554"/>
                    </a:lnTo>
                    <a:lnTo>
                      <a:pt x="0" y="52554"/>
                    </a:lnTo>
                    <a:lnTo>
                      <a:pt x="0" y="0"/>
                    </a:lnTo>
                    <a:lnTo>
                      <a:pt x="380944" y="0"/>
                    </a:lnTo>
                    <a:close/>
                  </a:path>
                </a:pathLst>
              </a:custGeom>
              <a:solidFill>
                <a:schemeClr val="accent1"/>
              </a:solidFill>
              <a:ln w="2827" cap="flat">
                <a:noFill/>
                <a:prstDash val="solid"/>
                <a:miter/>
              </a:ln>
            </p:spPr>
            <p:txBody>
              <a:bodyPr rtlCol="0" anchor="ctr"/>
              <a:lstStyle/>
              <a:p>
                <a:endParaRPr lang="en-GB" dirty="0"/>
              </a:p>
            </p:txBody>
          </p:sp>
          <p:sp>
            <p:nvSpPr>
              <p:cNvPr id="589" name="Freihandform: Form 229">
                <a:extLst>
                  <a:ext uri="{FF2B5EF4-FFF2-40B4-BE49-F238E27FC236}">
                    <a16:creationId xmlns:a16="http://schemas.microsoft.com/office/drawing/2014/main" id="{07BAE54C-9AE6-43BD-8520-4260588516D4}"/>
                  </a:ext>
                </a:extLst>
              </p:cNvPr>
              <p:cNvSpPr/>
              <p:nvPr/>
            </p:nvSpPr>
            <p:spPr>
              <a:xfrm>
                <a:off x="1796892" y="2463565"/>
                <a:ext cx="328390" cy="52553"/>
              </a:xfrm>
              <a:custGeom>
                <a:avLst/>
                <a:gdLst>
                  <a:gd name="connsiteX0" fmla="*/ 328391 w 328390"/>
                  <a:gd name="connsiteY0" fmla="*/ 52554 h 52553"/>
                  <a:gd name="connsiteX1" fmla="*/ 315238 w 328390"/>
                  <a:gd name="connsiteY1" fmla="*/ 52554 h 52553"/>
                  <a:gd name="connsiteX2" fmla="*/ 315238 w 328390"/>
                  <a:gd name="connsiteY2" fmla="*/ 13153 h 52553"/>
                  <a:gd name="connsiteX3" fmla="*/ 13124 w 328390"/>
                  <a:gd name="connsiteY3" fmla="*/ 13153 h 52553"/>
                  <a:gd name="connsiteX4" fmla="*/ 13124 w 328390"/>
                  <a:gd name="connsiteY4" fmla="*/ 52554 h 52553"/>
                  <a:gd name="connsiteX5" fmla="*/ 0 w 328390"/>
                  <a:gd name="connsiteY5" fmla="*/ 52554 h 52553"/>
                  <a:gd name="connsiteX6" fmla="*/ 0 w 328390"/>
                  <a:gd name="connsiteY6" fmla="*/ 0 h 52553"/>
                  <a:gd name="connsiteX7" fmla="*/ 328391 w 328390"/>
                  <a:gd name="connsiteY7" fmla="*/ 0 h 5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390" h="52553">
                    <a:moveTo>
                      <a:pt x="328391" y="52554"/>
                    </a:moveTo>
                    <a:lnTo>
                      <a:pt x="315238" y="52554"/>
                    </a:lnTo>
                    <a:lnTo>
                      <a:pt x="315238" y="13153"/>
                    </a:lnTo>
                    <a:lnTo>
                      <a:pt x="13124" y="13153"/>
                    </a:lnTo>
                    <a:lnTo>
                      <a:pt x="13124" y="52554"/>
                    </a:lnTo>
                    <a:lnTo>
                      <a:pt x="0" y="52554"/>
                    </a:lnTo>
                    <a:lnTo>
                      <a:pt x="0" y="0"/>
                    </a:lnTo>
                    <a:lnTo>
                      <a:pt x="328391" y="0"/>
                    </a:lnTo>
                    <a:close/>
                  </a:path>
                </a:pathLst>
              </a:custGeom>
              <a:solidFill>
                <a:schemeClr val="accent1"/>
              </a:solidFill>
              <a:ln w="2827" cap="flat">
                <a:noFill/>
                <a:prstDash val="solid"/>
                <a:miter/>
              </a:ln>
            </p:spPr>
            <p:txBody>
              <a:bodyPr rtlCol="0" anchor="ctr"/>
              <a:lstStyle/>
              <a:p>
                <a:endParaRPr lang="en-GB" dirty="0"/>
              </a:p>
            </p:txBody>
          </p:sp>
        </p:grpSp>
        <p:grpSp>
          <p:nvGrpSpPr>
            <p:cNvPr id="580" name="Group 579">
              <a:extLst>
                <a:ext uri="{FF2B5EF4-FFF2-40B4-BE49-F238E27FC236}">
                  <a16:creationId xmlns:a16="http://schemas.microsoft.com/office/drawing/2014/main" id="{FD888BFC-AEC6-4208-894E-CCF9D740D8BE}"/>
                </a:ext>
              </a:extLst>
            </p:cNvPr>
            <p:cNvGrpSpPr/>
            <p:nvPr/>
          </p:nvGrpSpPr>
          <p:grpSpPr>
            <a:xfrm>
              <a:off x="1718089" y="2700029"/>
              <a:ext cx="486023" cy="249559"/>
              <a:chOff x="1718089" y="2700029"/>
              <a:chExt cx="486023" cy="249559"/>
            </a:xfrm>
          </p:grpSpPr>
          <p:sp>
            <p:nvSpPr>
              <p:cNvPr id="581" name="Freihandform: Form 224">
                <a:extLst>
                  <a:ext uri="{FF2B5EF4-FFF2-40B4-BE49-F238E27FC236}">
                    <a16:creationId xmlns:a16="http://schemas.microsoft.com/office/drawing/2014/main" id="{11F81026-D358-426C-BCED-D3CEA29AB9BC}"/>
                  </a:ext>
                </a:extLst>
              </p:cNvPr>
              <p:cNvSpPr/>
              <p:nvPr/>
            </p:nvSpPr>
            <p:spPr>
              <a:xfrm>
                <a:off x="1718089" y="2700029"/>
                <a:ext cx="486023" cy="249559"/>
              </a:xfrm>
              <a:custGeom>
                <a:avLst/>
                <a:gdLst>
                  <a:gd name="connsiteX0" fmla="*/ 485995 w 486023"/>
                  <a:gd name="connsiteY0" fmla="*/ 249560 h 249559"/>
                  <a:gd name="connsiteX1" fmla="*/ 0 w 486023"/>
                  <a:gd name="connsiteY1" fmla="*/ 249560 h 249559"/>
                  <a:gd name="connsiteX2" fmla="*/ 0 w 486023"/>
                  <a:gd name="connsiteY2" fmla="*/ 0 h 249559"/>
                  <a:gd name="connsiteX3" fmla="*/ 486024 w 486023"/>
                  <a:gd name="connsiteY3" fmla="*/ 0 h 249559"/>
                  <a:gd name="connsiteX4" fmla="*/ 486024 w 486023"/>
                  <a:gd name="connsiteY4" fmla="*/ 249560 h 249559"/>
                  <a:gd name="connsiteX5" fmla="*/ 13124 w 486023"/>
                  <a:gd name="connsiteY5" fmla="*/ 236435 h 249559"/>
                  <a:gd name="connsiteX6" fmla="*/ 472871 w 486023"/>
                  <a:gd name="connsiteY6" fmla="*/ 236435 h 249559"/>
                  <a:gd name="connsiteX7" fmla="*/ 472871 w 486023"/>
                  <a:gd name="connsiteY7" fmla="*/ 13124 h 249559"/>
                  <a:gd name="connsiteX8" fmla="*/ 13124 w 486023"/>
                  <a:gd name="connsiteY8" fmla="*/ 13124 h 249559"/>
                  <a:gd name="connsiteX9" fmla="*/ 13124 w 486023"/>
                  <a:gd name="connsiteY9" fmla="*/ 236435 h 24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6023" h="249559">
                    <a:moveTo>
                      <a:pt x="485995" y="249560"/>
                    </a:moveTo>
                    <a:lnTo>
                      <a:pt x="0" y="249560"/>
                    </a:lnTo>
                    <a:lnTo>
                      <a:pt x="0" y="0"/>
                    </a:lnTo>
                    <a:lnTo>
                      <a:pt x="486024" y="0"/>
                    </a:lnTo>
                    <a:lnTo>
                      <a:pt x="486024" y="249560"/>
                    </a:lnTo>
                    <a:close/>
                    <a:moveTo>
                      <a:pt x="13124" y="236435"/>
                    </a:moveTo>
                    <a:lnTo>
                      <a:pt x="472871" y="236435"/>
                    </a:lnTo>
                    <a:lnTo>
                      <a:pt x="472871" y="13124"/>
                    </a:lnTo>
                    <a:lnTo>
                      <a:pt x="13124" y="13124"/>
                    </a:lnTo>
                    <a:lnTo>
                      <a:pt x="13124" y="236435"/>
                    </a:lnTo>
                    <a:close/>
                  </a:path>
                </a:pathLst>
              </a:custGeom>
              <a:solidFill>
                <a:schemeClr val="tx2"/>
              </a:solidFill>
              <a:ln w="2827" cap="flat">
                <a:noFill/>
                <a:prstDash val="solid"/>
                <a:miter/>
              </a:ln>
            </p:spPr>
            <p:txBody>
              <a:bodyPr rtlCol="0" anchor="ctr"/>
              <a:lstStyle/>
              <a:p>
                <a:endParaRPr lang="en-GB" dirty="0"/>
              </a:p>
            </p:txBody>
          </p:sp>
          <p:grpSp>
            <p:nvGrpSpPr>
              <p:cNvPr id="582" name="Group 581">
                <a:extLst>
                  <a:ext uri="{FF2B5EF4-FFF2-40B4-BE49-F238E27FC236}">
                    <a16:creationId xmlns:a16="http://schemas.microsoft.com/office/drawing/2014/main" id="{F6DA9614-9B64-4630-BF3F-A2E912B7C98C}"/>
                  </a:ext>
                </a:extLst>
              </p:cNvPr>
              <p:cNvGrpSpPr/>
              <p:nvPr/>
            </p:nvGrpSpPr>
            <p:grpSpPr>
              <a:xfrm>
                <a:off x="1882270" y="2732854"/>
                <a:ext cx="157633" cy="118231"/>
                <a:chOff x="1882270" y="2732854"/>
                <a:chExt cx="157633" cy="118231"/>
              </a:xfrm>
            </p:grpSpPr>
            <p:sp>
              <p:nvSpPr>
                <p:cNvPr id="583" name="Freihandform: Form 225">
                  <a:extLst>
                    <a:ext uri="{FF2B5EF4-FFF2-40B4-BE49-F238E27FC236}">
                      <a16:creationId xmlns:a16="http://schemas.microsoft.com/office/drawing/2014/main" id="{88ABBF43-37C5-448F-8ACB-7E4256CEF28A}"/>
                    </a:ext>
                  </a:extLst>
                </p:cNvPr>
                <p:cNvSpPr/>
                <p:nvPr/>
              </p:nvSpPr>
              <p:spPr>
                <a:xfrm>
                  <a:off x="1882270" y="2805108"/>
                  <a:ext cx="157633" cy="45977"/>
                </a:xfrm>
                <a:custGeom>
                  <a:avLst/>
                  <a:gdLst>
                    <a:gd name="connsiteX0" fmla="*/ 157633 w 157633"/>
                    <a:gd name="connsiteY0" fmla="*/ 45978 h 45977"/>
                    <a:gd name="connsiteX1" fmla="*/ 0 w 157633"/>
                    <a:gd name="connsiteY1" fmla="*/ 45978 h 45977"/>
                    <a:gd name="connsiteX2" fmla="*/ 0 w 157633"/>
                    <a:gd name="connsiteY2" fmla="*/ 0 h 45977"/>
                    <a:gd name="connsiteX3" fmla="*/ 13124 w 157633"/>
                    <a:gd name="connsiteY3" fmla="*/ 0 h 45977"/>
                    <a:gd name="connsiteX4" fmla="*/ 13124 w 157633"/>
                    <a:gd name="connsiteY4" fmla="*/ 32825 h 45977"/>
                    <a:gd name="connsiteX5" fmla="*/ 144480 w 157633"/>
                    <a:gd name="connsiteY5" fmla="*/ 32825 h 45977"/>
                    <a:gd name="connsiteX6" fmla="*/ 144480 w 157633"/>
                    <a:gd name="connsiteY6" fmla="*/ 0 h 45977"/>
                    <a:gd name="connsiteX7" fmla="*/ 157633 w 157633"/>
                    <a:gd name="connsiteY7" fmla="*/ 0 h 4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633" h="45977">
                      <a:moveTo>
                        <a:pt x="157633" y="45978"/>
                      </a:moveTo>
                      <a:lnTo>
                        <a:pt x="0" y="45978"/>
                      </a:lnTo>
                      <a:lnTo>
                        <a:pt x="0" y="0"/>
                      </a:lnTo>
                      <a:lnTo>
                        <a:pt x="13124" y="0"/>
                      </a:lnTo>
                      <a:lnTo>
                        <a:pt x="13124" y="32825"/>
                      </a:lnTo>
                      <a:lnTo>
                        <a:pt x="144480" y="32825"/>
                      </a:lnTo>
                      <a:lnTo>
                        <a:pt x="144480" y="0"/>
                      </a:lnTo>
                      <a:lnTo>
                        <a:pt x="157633" y="0"/>
                      </a:lnTo>
                      <a:close/>
                    </a:path>
                  </a:pathLst>
                </a:custGeom>
                <a:solidFill>
                  <a:schemeClr val="tx2"/>
                </a:solidFill>
                <a:ln w="2827" cap="flat">
                  <a:noFill/>
                  <a:prstDash val="solid"/>
                  <a:miter/>
                </a:ln>
              </p:spPr>
              <p:txBody>
                <a:bodyPr rtlCol="0" anchor="ctr"/>
                <a:lstStyle/>
                <a:p>
                  <a:endParaRPr lang="en-GB" dirty="0"/>
                </a:p>
              </p:txBody>
            </p:sp>
            <p:sp>
              <p:nvSpPr>
                <p:cNvPr id="584" name="Freihandform: Form 230">
                  <a:extLst>
                    <a:ext uri="{FF2B5EF4-FFF2-40B4-BE49-F238E27FC236}">
                      <a16:creationId xmlns:a16="http://schemas.microsoft.com/office/drawing/2014/main" id="{DA962019-8923-43DF-A084-73A844BD6F7C}"/>
                    </a:ext>
                  </a:extLst>
                </p:cNvPr>
                <p:cNvSpPr/>
                <p:nvPr/>
              </p:nvSpPr>
              <p:spPr>
                <a:xfrm>
                  <a:off x="1954525" y="2732854"/>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tx2"/>
                </a:solidFill>
                <a:ln w="2827" cap="flat">
                  <a:noFill/>
                  <a:prstDash val="solid"/>
                  <a:miter/>
                </a:ln>
              </p:spPr>
              <p:txBody>
                <a:bodyPr rtlCol="0" anchor="ctr"/>
                <a:lstStyle/>
                <a:p>
                  <a:endParaRPr lang="en-GB" dirty="0"/>
                </a:p>
              </p:txBody>
            </p:sp>
            <p:sp>
              <p:nvSpPr>
                <p:cNvPr id="585" name="Freihandform: Form 231">
                  <a:extLst>
                    <a:ext uri="{FF2B5EF4-FFF2-40B4-BE49-F238E27FC236}">
                      <a16:creationId xmlns:a16="http://schemas.microsoft.com/office/drawing/2014/main" id="{5B7FA6B7-AD81-4744-B19A-A8891A640E5B}"/>
                    </a:ext>
                  </a:extLst>
                </p:cNvPr>
                <p:cNvSpPr/>
                <p:nvPr/>
              </p:nvSpPr>
              <p:spPr>
                <a:xfrm>
                  <a:off x="1993926" y="2732854"/>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tx2"/>
                </a:solidFill>
                <a:ln w="2827" cap="flat">
                  <a:noFill/>
                  <a:prstDash val="solid"/>
                  <a:miter/>
                </a:ln>
              </p:spPr>
              <p:txBody>
                <a:bodyPr rtlCol="0" anchor="ctr"/>
                <a:lstStyle/>
                <a:p>
                  <a:endParaRPr lang="en-GB" dirty="0"/>
                </a:p>
              </p:txBody>
            </p:sp>
            <p:sp>
              <p:nvSpPr>
                <p:cNvPr id="586" name="Freihandform: Form 232">
                  <a:extLst>
                    <a:ext uri="{FF2B5EF4-FFF2-40B4-BE49-F238E27FC236}">
                      <a16:creationId xmlns:a16="http://schemas.microsoft.com/office/drawing/2014/main" id="{C482C4FD-E345-49E8-8F09-7AE716A3DED1}"/>
                    </a:ext>
                  </a:extLst>
                </p:cNvPr>
                <p:cNvSpPr/>
                <p:nvPr/>
              </p:nvSpPr>
              <p:spPr>
                <a:xfrm>
                  <a:off x="1915124" y="2732854"/>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tx2"/>
                </a:solidFill>
                <a:ln w="2827" cap="flat">
                  <a:noFill/>
                  <a:prstDash val="solid"/>
                  <a:miter/>
                </a:ln>
              </p:spPr>
              <p:txBody>
                <a:bodyPr rtlCol="0" anchor="ctr"/>
                <a:lstStyle/>
                <a:p>
                  <a:endParaRPr lang="en-GB" dirty="0"/>
                </a:p>
              </p:txBody>
            </p:sp>
          </p:grpSp>
        </p:grpSp>
      </p:grpSp>
      <p:grpSp>
        <p:nvGrpSpPr>
          <p:cNvPr id="608" name="Group 607">
            <a:extLst>
              <a:ext uri="{FF2B5EF4-FFF2-40B4-BE49-F238E27FC236}">
                <a16:creationId xmlns:a16="http://schemas.microsoft.com/office/drawing/2014/main" id="{6A93B68C-C624-4659-AC50-834F063CA348}"/>
              </a:ext>
            </a:extLst>
          </p:cNvPr>
          <p:cNvGrpSpPr>
            <a:grpSpLocks noChangeAspect="1"/>
          </p:cNvGrpSpPr>
          <p:nvPr/>
        </p:nvGrpSpPr>
        <p:grpSpPr>
          <a:xfrm>
            <a:off x="7053616" y="4002611"/>
            <a:ext cx="491837" cy="432000"/>
            <a:chOff x="3379714" y="3323956"/>
            <a:chExt cx="486023" cy="426893"/>
          </a:xfrm>
        </p:grpSpPr>
        <p:grpSp>
          <p:nvGrpSpPr>
            <p:cNvPr id="609" name="Group 608">
              <a:extLst>
                <a:ext uri="{FF2B5EF4-FFF2-40B4-BE49-F238E27FC236}">
                  <a16:creationId xmlns:a16="http://schemas.microsoft.com/office/drawing/2014/main" id="{D7820B06-F7CE-4AD6-8526-346B51E452AA}"/>
                </a:ext>
              </a:extLst>
            </p:cNvPr>
            <p:cNvGrpSpPr/>
            <p:nvPr/>
          </p:nvGrpSpPr>
          <p:grpSpPr>
            <a:xfrm>
              <a:off x="3602997" y="3534115"/>
              <a:ext cx="203610" cy="164180"/>
              <a:chOff x="3602997" y="3534115"/>
              <a:chExt cx="203610" cy="164180"/>
            </a:xfrm>
          </p:grpSpPr>
          <p:sp>
            <p:nvSpPr>
              <p:cNvPr id="621" name="Freihandform: Form 204">
                <a:extLst>
                  <a:ext uri="{FF2B5EF4-FFF2-40B4-BE49-F238E27FC236}">
                    <a16:creationId xmlns:a16="http://schemas.microsoft.com/office/drawing/2014/main" id="{C1EF9309-9C7B-4245-9DB2-084A3EC14BAC}"/>
                  </a:ext>
                </a:extLst>
              </p:cNvPr>
              <p:cNvSpPr/>
              <p:nvPr/>
            </p:nvSpPr>
            <p:spPr>
              <a:xfrm>
                <a:off x="3602997" y="3534115"/>
                <a:ext cx="203610" cy="164180"/>
              </a:xfrm>
              <a:custGeom>
                <a:avLst/>
                <a:gdLst>
                  <a:gd name="connsiteX0" fmla="*/ 203611 w 203610"/>
                  <a:gd name="connsiteY0" fmla="*/ 164181 h 164180"/>
                  <a:gd name="connsiteX1" fmla="*/ 0 w 203610"/>
                  <a:gd name="connsiteY1" fmla="*/ 164181 h 164180"/>
                  <a:gd name="connsiteX2" fmla="*/ 0 w 203610"/>
                  <a:gd name="connsiteY2" fmla="*/ 0 h 164180"/>
                  <a:gd name="connsiteX3" fmla="*/ 203611 w 203610"/>
                  <a:gd name="connsiteY3" fmla="*/ 0 h 164180"/>
                  <a:gd name="connsiteX4" fmla="*/ 203611 w 203610"/>
                  <a:gd name="connsiteY4" fmla="*/ 164181 h 164180"/>
                  <a:gd name="connsiteX5" fmla="*/ 13153 w 203610"/>
                  <a:gd name="connsiteY5" fmla="*/ 151057 h 164180"/>
                  <a:gd name="connsiteX6" fmla="*/ 190487 w 203610"/>
                  <a:gd name="connsiteY6" fmla="*/ 151057 h 164180"/>
                  <a:gd name="connsiteX7" fmla="*/ 190487 w 203610"/>
                  <a:gd name="connsiteY7" fmla="*/ 13124 h 164180"/>
                  <a:gd name="connsiteX8" fmla="*/ 13153 w 203610"/>
                  <a:gd name="connsiteY8" fmla="*/ 13124 h 164180"/>
                  <a:gd name="connsiteX9" fmla="*/ 13153 w 203610"/>
                  <a:gd name="connsiteY9" fmla="*/ 151057 h 1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610" h="164180">
                    <a:moveTo>
                      <a:pt x="203611" y="164181"/>
                    </a:moveTo>
                    <a:lnTo>
                      <a:pt x="0" y="164181"/>
                    </a:lnTo>
                    <a:lnTo>
                      <a:pt x="0" y="0"/>
                    </a:lnTo>
                    <a:lnTo>
                      <a:pt x="203611" y="0"/>
                    </a:lnTo>
                    <a:lnTo>
                      <a:pt x="203611" y="164181"/>
                    </a:lnTo>
                    <a:close/>
                    <a:moveTo>
                      <a:pt x="13153" y="151057"/>
                    </a:moveTo>
                    <a:lnTo>
                      <a:pt x="190487" y="151057"/>
                    </a:lnTo>
                    <a:lnTo>
                      <a:pt x="190487" y="13124"/>
                    </a:lnTo>
                    <a:lnTo>
                      <a:pt x="13153" y="13124"/>
                    </a:lnTo>
                    <a:lnTo>
                      <a:pt x="13153" y="151057"/>
                    </a:lnTo>
                    <a:close/>
                  </a:path>
                </a:pathLst>
              </a:custGeom>
              <a:solidFill>
                <a:schemeClr val="accent1"/>
              </a:solidFill>
              <a:ln w="2827" cap="flat">
                <a:noFill/>
                <a:prstDash val="solid"/>
                <a:miter/>
              </a:ln>
            </p:spPr>
            <p:txBody>
              <a:bodyPr rtlCol="0" anchor="ctr"/>
              <a:lstStyle/>
              <a:p>
                <a:endParaRPr lang="en-GB" dirty="0"/>
              </a:p>
            </p:txBody>
          </p:sp>
          <p:sp>
            <p:nvSpPr>
              <p:cNvPr id="622" name="Freihandform: Form 205">
                <a:extLst>
                  <a:ext uri="{FF2B5EF4-FFF2-40B4-BE49-F238E27FC236}">
                    <a16:creationId xmlns:a16="http://schemas.microsoft.com/office/drawing/2014/main" id="{29E7D942-B756-41B6-81C4-665A03325972}"/>
                  </a:ext>
                </a:extLst>
              </p:cNvPr>
              <p:cNvSpPr/>
              <p:nvPr/>
            </p:nvSpPr>
            <p:spPr>
              <a:xfrm>
                <a:off x="3609573" y="3652347"/>
                <a:ext cx="190457" cy="13124"/>
              </a:xfrm>
              <a:custGeom>
                <a:avLst/>
                <a:gdLst>
                  <a:gd name="connsiteX0" fmla="*/ 0 w 190457"/>
                  <a:gd name="connsiteY0" fmla="*/ 0 h 13124"/>
                  <a:gd name="connsiteX1" fmla="*/ 190458 w 190457"/>
                  <a:gd name="connsiteY1" fmla="*/ 0 h 13124"/>
                  <a:gd name="connsiteX2" fmla="*/ 190458 w 190457"/>
                  <a:gd name="connsiteY2" fmla="*/ 13124 h 13124"/>
                  <a:gd name="connsiteX3" fmla="*/ 0 w 190457"/>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90457" h="13124">
                    <a:moveTo>
                      <a:pt x="0" y="0"/>
                    </a:moveTo>
                    <a:lnTo>
                      <a:pt x="190458" y="0"/>
                    </a:lnTo>
                    <a:lnTo>
                      <a:pt x="190458"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nvGrpSpPr>
            <p:cNvPr id="610" name="Group 609">
              <a:extLst>
                <a:ext uri="{FF2B5EF4-FFF2-40B4-BE49-F238E27FC236}">
                  <a16:creationId xmlns:a16="http://schemas.microsoft.com/office/drawing/2014/main" id="{1B26A6F1-1525-4755-9EE7-9923C20AC963}"/>
                </a:ext>
              </a:extLst>
            </p:cNvPr>
            <p:cNvGrpSpPr/>
            <p:nvPr/>
          </p:nvGrpSpPr>
          <p:grpSpPr>
            <a:xfrm>
              <a:off x="3379714" y="3323956"/>
              <a:ext cx="486023" cy="426893"/>
              <a:chOff x="3379714" y="3323956"/>
              <a:chExt cx="486023" cy="426893"/>
            </a:xfrm>
          </p:grpSpPr>
          <p:sp>
            <p:nvSpPr>
              <p:cNvPr id="611" name="Freihandform: Form 193">
                <a:extLst>
                  <a:ext uri="{FF2B5EF4-FFF2-40B4-BE49-F238E27FC236}">
                    <a16:creationId xmlns:a16="http://schemas.microsoft.com/office/drawing/2014/main" id="{FE5B8AE8-5DD5-4DE9-A335-BAA51497DE7E}"/>
                  </a:ext>
                </a:extLst>
              </p:cNvPr>
              <p:cNvSpPr/>
              <p:nvPr/>
            </p:nvSpPr>
            <p:spPr>
              <a:xfrm>
                <a:off x="3405991" y="3501290"/>
                <a:ext cx="433469" cy="249559"/>
              </a:xfrm>
              <a:custGeom>
                <a:avLst/>
                <a:gdLst>
                  <a:gd name="connsiteX0" fmla="*/ 433470 w 433469"/>
                  <a:gd name="connsiteY0" fmla="*/ 249560 h 249559"/>
                  <a:gd name="connsiteX1" fmla="*/ 420317 w 433469"/>
                  <a:gd name="connsiteY1" fmla="*/ 249560 h 249559"/>
                  <a:gd name="connsiteX2" fmla="*/ 420317 w 433469"/>
                  <a:gd name="connsiteY2" fmla="*/ 13124 h 249559"/>
                  <a:gd name="connsiteX3" fmla="*/ 13124 w 433469"/>
                  <a:gd name="connsiteY3" fmla="*/ 13124 h 249559"/>
                  <a:gd name="connsiteX4" fmla="*/ 13124 w 433469"/>
                  <a:gd name="connsiteY4" fmla="*/ 249560 h 249559"/>
                  <a:gd name="connsiteX5" fmla="*/ 0 w 433469"/>
                  <a:gd name="connsiteY5" fmla="*/ 249560 h 249559"/>
                  <a:gd name="connsiteX6" fmla="*/ 0 w 433469"/>
                  <a:gd name="connsiteY6" fmla="*/ 0 h 249559"/>
                  <a:gd name="connsiteX7" fmla="*/ 433470 w 433469"/>
                  <a:gd name="connsiteY7" fmla="*/ 0 h 24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469" h="249559">
                    <a:moveTo>
                      <a:pt x="433470" y="249560"/>
                    </a:moveTo>
                    <a:lnTo>
                      <a:pt x="420317" y="249560"/>
                    </a:lnTo>
                    <a:lnTo>
                      <a:pt x="420317" y="13124"/>
                    </a:lnTo>
                    <a:lnTo>
                      <a:pt x="13124" y="13124"/>
                    </a:lnTo>
                    <a:lnTo>
                      <a:pt x="13124" y="249560"/>
                    </a:lnTo>
                    <a:lnTo>
                      <a:pt x="0" y="249560"/>
                    </a:lnTo>
                    <a:lnTo>
                      <a:pt x="0" y="0"/>
                    </a:lnTo>
                    <a:lnTo>
                      <a:pt x="433470" y="0"/>
                    </a:lnTo>
                    <a:close/>
                  </a:path>
                </a:pathLst>
              </a:custGeom>
              <a:solidFill>
                <a:schemeClr val="tx2"/>
              </a:solidFill>
              <a:ln w="2827" cap="flat">
                <a:noFill/>
                <a:prstDash val="solid"/>
                <a:miter/>
              </a:ln>
            </p:spPr>
            <p:txBody>
              <a:bodyPr rtlCol="0" anchor="ctr"/>
              <a:lstStyle/>
              <a:p>
                <a:endParaRPr lang="en-GB" dirty="0"/>
              </a:p>
            </p:txBody>
          </p:sp>
          <p:sp>
            <p:nvSpPr>
              <p:cNvPr id="612" name="Freihandform: Form 194">
                <a:extLst>
                  <a:ext uri="{FF2B5EF4-FFF2-40B4-BE49-F238E27FC236}">
                    <a16:creationId xmlns:a16="http://schemas.microsoft.com/office/drawing/2014/main" id="{7731D964-C6F6-4613-814F-D3FEB43A6C05}"/>
                  </a:ext>
                </a:extLst>
              </p:cNvPr>
              <p:cNvSpPr/>
              <p:nvPr/>
            </p:nvSpPr>
            <p:spPr>
              <a:xfrm>
                <a:off x="3379714" y="3323956"/>
                <a:ext cx="486023" cy="190457"/>
              </a:xfrm>
              <a:custGeom>
                <a:avLst/>
                <a:gdLst>
                  <a:gd name="connsiteX0" fmla="*/ 485995 w 486023"/>
                  <a:gd name="connsiteY0" fmla="*/ 190458 h 190457"/>
                  <a:gd name="connsiteX1" fmla="*/ 0 w 486023"/>
                  <a:gd name="connsiteY1" fmla="*/ 190458 h 190457"/>
                  <a:gd name="connsiteX2" fmla="*/ 0 w 486023"/>
                  <a:gd name="connsiteY2" fmla="*/ 143432 h 190457"/>
                  <a:gd name="connsiteX3" fmla="*/ 47820 w 486023"/>
                  <a:gd name="connsiteY3" fmla="*/ 0 h 190457"/>
                  <a:gd name="connsiteX4" fmla="*/ 438204 w 486023"/>
                  <a:gd name="connsiteY4" fmla="*/ 0 h 190457"/>
                  <a:gd name="connsiteX5" fmla="*/ 486024 w 486023"/>
                  <a:gd name="connsiteY5" fmla="*/ 143432 h 190457"/>
                  <a:gd name="connsiteX6" fmla="*/ 486024 w 486023"/>
                  <a:gd name="connsiteY6" fmla="*/ 190458 h 190457"/>
                  <a:gd name="connsiteX7" fmla="*/ 13124 w 486023"/>
                  <a:gd name="connsiteY7" fmla="*/ 177334 h 190457"/>
                  <a:gd name="connsiteX8" fmla="*/ 472871 w 486023"/>
                  <a:gd name="connsiteY8" fmla="*/ 177334 h 190457"/>
                  <a:gd name="connsiteX9" fmla="*/ 472871 w 486023"/>
                  <a:gd name="connsiteY9" fmla="*/ 145558 h 190457"/>
                  <a:gd name="connsiteX10" fmla="*/ 428736 w 486023"/>
                  <a:gd name="connsiteY10" fmla="*/ 13153 h 190457"/>
                  <a:gd name="connsiteX11" fmla="*/ 57259 w 486023"/>
                  <a:gd name="connsiteY11" fmla="*/ 13153 h 190457"/>
                  <a:gd name="connsiteX12" fmla="*/ 13124 w 486023"/>
                  <a:gd name="connsiteY12" fmla="*/ 145558 h 190457"/>
                  <a:gd name="connsiteX13" fmla="*/ 13124 w 486023"/>
                  <a:gd name="connsiteY13" fmla="*/ 177334 h 19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6023" h="190457">
                    <a:moveTo>
                      <a:pt x="485995" y="190458"/>
                    </a:moveTo>
                    <a:lnTo>
                      <a:pt x="0" y="190458"/>
                    </a:lnTo>
                    <a:lnTo>
                      <a:pt x="0" y="143432"/>
                    </a:lnTo>
                    <a:lnTo>
                      <a:pt x="47820" y="0"/>
                    </a:lnTo>
                    <a:lnTo>
                      <a:pt x="438204" y="0"/>
                    </a:lnTo>
                    <a:lnTo>
                      <a:pt x="486024" y="143432"/>
                    </a:lnTo>
                    <a:lnTo>
                      <a:pt x="486024" y="190458"/>
                    </a:lnTo>
                    <a:close/>
                    <a:moveTo>
                      <a:pt x="13124" y="177334"/>
                    </a:moveTo>
                    <a:lnTo>
                      <a:pt x="472871" y="177334"/>
                    </a:lnTo>
                    <a:lnTo>
                      <a:pt x="472871" y="145558"/>
                    </a:lnTo>
                    <a:lnTo>
                      <a:pt x="428736" y="13153"/>
                    </a:lnTo>
                    <a:lnTo>
                      <a:pt x="57259" y="13153"/>
                    </a:lnTo>
                    <a:lnTo>
                      <a:pt x="13124" y="145558"/>
                    </a:lnTo>
                    <a:lnTo>
                      <a:pt x="13124" y="177334"/>
                    </a:lnTo>
                    <a:close/>
                  </a:path>
                </a:pathLst>
              </a:custGeom>
              <a:solidFill>
                <a:schemeClr val="tx2"/>
              </a:solidFill>
              <a:ln w="2827" cap="flat">
                <a:noFill/>
                <a:prstDash val="solid"/>
                <a:miter/>
              </a:ln>
            </p:spPr>
            <p:txBody>
              <a:bodyPr rtlCol="0" anchor="ctr"/>
              <a:lstStyle/>
              <a:p>
                <a:endParaRPr lang="en-GB" dirty="0"/>
              </a:p>
            </p:txBody>
          </p:sp>
          <p:sp>
            <p:nvSpPr>
              <p:cNvPr id="613" name="Freihandform: Form 195">
                <a:extLst>
                  <a:ext uri="{FF2B5EF4-FFF2-40B4-BE49-F238E27FC236}">
                    <a16:creationId xmlns:a16="http://schemas.microsoft.com/office/drawing/2014/main" id="{6A6438C0-D30B-4116-8BCC-1BD315CD4E8F}"/>
                  </a:ext>
                </a:extLst>
              </p:cNvPr>
              <p:cNvSpPr/>
              <p:nvPr/>
            </p:nvSpPr>
            <p:spPr>
              <a:xfrm>
                <a:off x="3412539" y="3461861"/>
                <a:ext cx="420345" cy="13124"/>
              </a:xfrm>
              <a:custGeom>
                <a:avLst/>
                <a:gdLst>
                  <a:gd name="connsiteX0" fmla="*/ 0 w 420345"/>
                  <a:gd name="connsiteY0" fmla="*/ 0 h 13124"/>
                  <a:gd name="connsiteX1" fmla="*/ 420345 w 420345"/>
                  <a:gd name="connsiteY1" fmla="*/ 0 h 13124"/>
                  <a:gd name="connsiteX2" fmla="*/ 420345 w 420345"/>
                  <a:gd name="connsiteY2" fmla="*/ 13124 h 13124"/>
                  <a:gd name="connsiteX3" fmla="*/ 0 w 420345"/>
                  <a:gd name="connsiteY3" fmla="*/ 13124 h 13124"/>
                </a:gdLst>
                <a:ahLst/>
                <a:cxnLst>
                  <a:cxn ang="0">
                    <a:pos x="connsiteX0" y="connsiteY0"/>
                  </a:cxn>
                  <a:cxn ang="0">
                    <a:pos x="connsiteX1" y="connsiteY1"/>
                  </a:cxn>
                  <a:cxn ang="0">
                    <a:pos x="connsiteX2" y="connsiteY2"/>
                  </a:cxn>
                  <a:cxn ang="0">
                    <a:pos x="connsiteX3" y="connsiteY3"/>
                  </a:cxn>
                </a:cxnLst>
                <a:rect l="l" t="t" r="r" b="b"/>
                <a:pathLst>
                  <a:path w="420345" h="13124">
                    <a:moveTo>
                      <a:pt x="0" y="0"/>
                    </a:moveTo>
                    <a:lnTo>
                      <a:pt x="420345" y="0"/>
                    </a:lnTo>
                    <a:lnTo>
                      <a:pt x="420345" y="13124"/>
                    </a:lnTo>
                    <a:lnTo>
                      <a:pt x="0" y="13124"/>
                    </a:lnTo>
                    <a:close/>
                  </a:path>
                </a:pathLst>
              </a:custGeom>
              <a:solidFill>
                <a:schemeClr val="tx2"/>
              </a:solidFill>
              <a:ln w="2827" cap="flat">
                <a:noFill/>
                <a:prstDash val="solid"/>
                <a:miter/>
              </a:ln>
            </p:spPr>
            <p:txBody>
              <a:bodyPr rtlCol="0" anchor="ctr"/>
              <a:lstStyle/>
              <a:p>
                <a:endParaRPr lang="en-GB" dirty="0"/>
              </a:p>
            </p:txBody>
          </p:sp>
          <p:sp>
            <p:nvSpPr>
              <p:cNvPr id="614" name="Freihandform: Form 196">
                <a:extLst>
                  <a:ext uri="{FF2B5EF4-FFF2-40B4-BE49-F238E27FC236}">
                    <a16:creationId xmlns:a16="http://schemas.microsoft.com/office/drawing/2014/main" id="{12240B6A-D458-4B19-B71E-16FD347020CC}"/>
                  </a:ext>
                </a:extLst>
              </p:cNvPr>
              <p:cNvSpPr/>
              <p:nvPr/>
            </p:nvSpPr>
            <p:spPr>
              <a:xfrm>
                <a:off x="3616149" y="3330504"/>
                <a:ext cx="13124" cy="177333"/>
              </a:xfrm>
              <a:custGeom>
                <a:avLst/>
                <a:gdLst>
                  <a:gd name="connsiteX0" fmla="*/ 0 w 13124"/>
                  <a:gd name="connsiteY0" fmla="*/ 0 h 177333"/>
                  <a:gd name="connsiteX1" fmla="*/ 13124 w 13124"/>
                  <a:gd name="connsiteY1" fmla="*/ 0 h 177333"/>
                  <a:gd name="connsiteX2" fmla="*/ 13124 w 13124"/>
                  <a:gd name="connsiteY2" fmla="*/ 177334 h 177333"/>
                  <a:gd name="connsiteX3" fmla="*/ 0 w 13124"/>
                  <a:gd name="connsiteY3" fmla="*/ 177334 h 177333"/>
                </a:gdLst>
                <a:ahLst/>
                <a:cxnLst>
                  <a:cxn ang="0">
                    <a:pos x="connsiteX0" y="connsiteY0"/>
                  </a:cxn>
                  <a:cxn ang="0">
                    <a:pos x="connsiteX1" y="connsiteY1"/>
                  </a:cxn>
                  <a:cxn ang="0">
                    <a:pos x="connsiteX2" y="connsiteY2"/>
                  </a:cxn>
                  <a:cxn ang="0">
                    <a:pos x="connsiteX3" y="connsiteY3"/>
                  </a:cxn>
                </a:cxnLst>
                <a:rect l="l" t="t" r="r" b="b"/>
                <a:pathLst>
                  <a:path w="13124" h="177333">
                    <a:moveTo>
                      <a:pt x="0" y="0"/>
                    </a:moveTo>
                    <a:lnTo>
                      <a:pt x="13124" y="0"/>
                    </a:lnTo>
                    <a:lnTo>
                      <a:pt x="13124" y="177334"/>
                    </a:lnTo>
                    <a:lnTo>
                      <a:pt x="0" y="177334"/>
                    </a:lnTo>
                    <a:close/>
                  </a:path>
                </a:pathLst>
              </a:custGeom>
              <a:solidFill>
                <a:schemeClr val="tx2"/>
              </a:solidFill>
              <a:ln w="2827" cap="flat">
                <a:noFill/>
                <a:prstDash val="solid"/>
                <a:miter/>
              </a:ln>
            </p:spPr>
            <p:txBody>
              <a:bodyPr rtlCol="0" anchor="ctr"/>
              <a:lstStyle/>
              <a:p>
                <a:endParaRPr lang="en-GB" dirty="0"/>
              </a:p>
            </p:txBody>
          </p:sp>
          <p:sp>
            <p:nvSpPr>
              <p:cNvPr id="615" name="Freihandform: Form 199">
                <a:extLst>
                  <a:ext uri="{FF2B5EF4-FFF2-40B4-BE49-F238E27FC236}">
                    <a16:creationId xmlns:a16="http://schemas.microsoft.com/office/drawing/2014/main" id="{3E3B0A3F-CE48-4DDA-8C7F-DB3C5815CCF0}"/>
                  </a:ext>
                </a:extLst>
              </p:cNvPr>
              <p:cNvSpPr/>
              <p:nvPr/>
            </p:nvSpPr>
            <p:spPr>
              <a:xfrm>
                <a:off x="3734381" y="3468437"/>
                <a:ext cx="13124" cy="19700"/>
              </a:xfrm>
              <a:custGeom>
                <a:avLst/>
                <a:gdLst>
                  <a:gd name="connsiteX0" fmla="*/ 0 w 13124"/>
                  <a:gd name="connsiteY0" fmla="*/ 0 h 19700"/>
                  <a:gd name="connsiteX1" fmla="*/ 13124 w 13124"/>
                  <a:gd name="connsiteY1" fmla="*/ 0 h 19700"/>
                  <a:gd name="connsiteX2" fmla="*/ 13124 w 13124"/>
                  <a:gd name="connsiteY2" fmla="*/ 19701 h 19700"/>
                  <a:gd name="connsiteX3" fmla="*/ 0 w 13124"/>
                  <a:gd name="connsiteY3" fmla="*/ 19701 h 19700"/>
                </a:gdLst>
                <a:ahLst/>
                <a:cxnLst>
                  <a:cxn ang="0">
                    <a:pos x="connsiteX0" y="connsiteY0"/>
                  </a:cxn>
                  <a:cxn ang="0">
                    <a:pos x="connsiteX1" y="connsiteY1"/>
                  </a:cxn>
                  <a:cxn ang="0">
                    <a:pos x="connsiteX2" y="connsiteY2"/>
                  </a:cxn>
                  <a:cxn ang="0">
                    <a:pos x="connsiteX3" y="connsiteY3"/>
                  </a:cxn>
                </a:cxnLst>
                <a:rect l="l" t="t" r="r" b="b"/>
                <a:pathLst>
                  <a:path w="13124" h="19700">
                    <a:moveTo>
                      <a:pt x="0" y="0"/>
                    </a:moveTo>
                    <a:lnTo>
                      <a:pt x="13124" y="0"/>
                    </a:lnTo>
                    <a:lnTo>
                      <a:pt x="13124" y="19701"/>
                    </a:lnTo>
                    <a:lnTo>
                      <a:pt x="0" y="19701"/>
                    </a:lnTo>
                    <a:close/>
                  </a:path>
                </a:pathLst>
              </a:custGeom>
              <a:solidFill>
                <a:schemeClr val="tx2"/>
              </a:solidFill>
              <a:ln w="2827" cap="flat">
                <a:noFill/>
                <a:prstDash val="solid"/>
                <a:miter/>
              </a:ln>
            </p:spPr>
            <p:txBody>
              <a:bodyPr rtlCol="0" anchor="ctr"/>
              <a:lstStyle/>
              <a:p>
                <a:endParaRPr lang="en-GB" dirty="0"/>
              </a:p>
            </p:txBody>
          </p:sp>
          <p:sp>
            <p:nvSpPr>
              <p:cNvPr id="616" name="Freihandform: Form 200">
                <a:extLst>
                  <a:ext uri="{FF2B5EF4-FFF2-40B4-BE49-F238E27FC236}">
                    <a16:creationId xmlns:a16="http://schemas.microsoft.com/office/drawing/2014/main" id="{59443B8C-446C-4CFD-B8B9-C7827B6ABE64}"/>
                  </a:ext>
                </a:extLst>
              </p:cNvPr>
              <p:cNvSpPr/>
              <p:nvPr/>
            </p:nvSpPr>
            <p:spPr>
              <a:xfrm>
                <a:off x="3491370" y="3468437"/>
                <a:ext cx="13124" cy="19700"/>
              </a:xfrm>
              <a:custGeom>
                <a:avLst/>
                <a:gdLst>
                  <a:gd name="connsiteX0" fmla="*/ 0 w 13124"/>
                  <a:gd name="connsiteY0" fmla="*/ 0 h 19700"/>
                  <a:gd name="connsiteX1" fmla="*/ 13124 w 13124"/>
                  <a:gd name="connsiteY1" fmla="*/ 0 h 19700"/>
                  <a:gd name="connsiteX2" fmla="*/ 13124 w 13124"/>
                  <a:gd name="connsiteY2" fmla="*/ 19701 h 19700"/>
                  <a:gd name="connsiteX3" fmla="*/ 0 w 13124"/>
                  <a:gd name="connsiteY3" fmla="*/ 19701 h 19700"/>
                </a:gdLst>
                <a:ahLst/>
                <a:cxnLst>
                  <a:cxn ang="0">
                    <a:pos x="connsiteX0" y="connsiteY0"/>
                  </a:cxn>
                  <a:cxn ang="0">
                    <a:pos x="connsiteX1" y="connsiteY1"/>
                  </a:cxn>
                  <a:cxn ang="0">
                    <a:pos x="connsiteX2" y="connsiteY2"/>
                  </a:cxn>
                  <a:cxn ang="0">
                    <a:pos x="connsiteX3" y="connsiteY3"/>
                  </a:cxn>
                </a:cxnLst>
                <a:rect l="l" t="t" r="r" b="b"/>
                <a:pathLst>
                  <a:path w="13124" h="19700">
                    <a:moveTo>
                      <a:pt x="0" y="0"/>
                    </a:moveTo>
                    <a:lnTo>
                      <a:pt x="13124" y="0"/>
                    </a:lnTo>
                    <a:lnTo>
                      <a:pt x="13124" y="19701"/>
                    </a:lnTo>
                    <a:lnTo>
                      <a:pt x="0" y="19701"/>
                    </a:lnTo>
                    <a:close/>
                  </a:path>
                </a:pathLst>
              </a:custGeom>
              <a:solidFill>
                <a:schemeClr val="tx2"/>
              </a:solidFill>
              <a:ln w="2827" cap="flat">
                <a:noFill/>
                <a:prstDash val="solid"/>
                <a:miter/>
              </a:ln>
            </p:spPr>
            <p:txBody>
              <a:bodyPr rtlCol="0" anchor="ctr"/>
              <a:lstStyle/>
              <a:p>
                <a:endParaRPr lang="en-GB" dirty="0"/>
              </a:p>
            </p:txBody>
          </p:sp>
          <p:sp>
            <p:nvSpPr>
              <p:cNvPr id="617" name="Freihandform: Form 201">
                <a:extLst>
                  <a:ext uri="{FF2B5EF4-FFF2-40B4-BE49-F238E27FC236}">
                    <a16:creationId xmlns:a16="http://schemas.microsoft.com/office/drawing/2014/main" id="{A42A0692-2869-4776-8B57-0E4D4E309626}"/>
                  </a:ext>
                </a:extLst>
              </p:cNvPr>
              <p:cNvSpPr/>
              <p:nvPr/>
            </p:nvSpPr>
            <p:spPr>
              <a:xfrm rot="20494012">
                <a:off x="3711393" y="3326899"/>
                <a:ext cx="13124" cy="145388"/>
              </a:xfrm>
              <a:custGeom>
                <a:avLst/>
                <a:gdLst>
                  <a:gd name="connsiteX0" fmla="*/ 0 w 13124"/>
                  <a:gd name="connsiteY0" fmla="*/ 0 h 145388"/>
                  <a:gd name="connsiteX1" fmla="*/ 13124 w 13124"/>
                  <a:gd name="connsiteY1" fmla="*/ 0 h 145388"/>
                  <a:gd name="connsiteX2" fmla="*/ 13124 w 13124"/>
                  <a:gd name="connsiteY2" fmla="*/ 145389 h 145388"/>
                  <a:gd name="connsiteX3" fmla="*/ 0 w 13124"/>
                  <a:gd name="connsiteY3" fmla="*/ 145389 h 145388"/>
                </a:gdLst>
                <a:ahLst/>
                <a:cxnLst>
                  <a:cxn ang="0">
                    <a:pos x="connsiteX0" y="connsiteY0"/>
                  </a:cxn>
                  <a:cxn ang="0">
                    <a:pos x="connsiteX1" y="connsiteY1"/>
                  </a:cxn>
                  <a:cxn ang="0">
                    <a:pos x="connsiteX2" y="connsiteY2"/>
                  </a:cxn>
                  <a:cxn ang="0">
                    <a:pos x="connsiteX3" y="connsiteY3"/>
                  </a:cxn>
                </a:cxnLst>
                <a:rect l="l" t="t" r="r" b="b"/>
                <a:pathLst>
                  <a:path w="13124" h="145388">
                    <a:moveTo>
                      <a:pt x="0" y="0"/>
                    </a:moveTo>
                    <a:lnTo>
                      <a:pt x="13124" y="0"/>
                    </a:lnTo>
                    <a:lnTo>
                      <a:pt x="13124" y="145389"/>
                    </a:lnTo>
                    <a:lnTo>
                      <a:pt x="0" y="145389"/>
                    </a:lnTo>
                    <a:close/>
                  </a:path>
                </a:pathLst>
              </a:custGeom>
              <a:solidFill>
                <a:schemeClr val="tx2"/>
              </a:solidFill>
              <a:ln w="2827" cap="flat">
                <a:noFill/>
                <a:prstDash val="solid"/>
                <a:miter/>
              </a:ln>
            </p:spPr>
            <p:txBody>
              <a:bodyPr rtlCol="0" anchor="ctr"/>
              <a:lstStyle/>
              <a:p>
                <a:endParaRPr lang="en-GB" dirty="0"/>
              </a:p>
            </p:txBody>
          </p:sp>
          <p:sp>
            <p:nvSpPr>
              <p:cNvPr id="618" name="Freihandform: Form 202">
                <a:extLst>
                  <a:ext uri="{FF2B5EF4-FFF2-40B4-BE49-F238E27FC236}">
                    <a16:creationId xmlns:a16="http://schemas.microsoft.com/office/drawing/2014/main" id="{7B10E366-5AFA-4499-9D87-5579CC836FC1}"/>
                  </a:ext>
                </a:extLst>
              </p:cNvPr>
              <p:cNvSpPr/>
              <p:nvPr/>
            </p:nvSpPr>
            <p:spPr>
              <a:xfrm rot="17307075">
                <a:off x="3448187" y="3392809"/>
                <a:ext cx="145388" cy="13124"/>
              </a:xfrm>
              <a:custGeom>
                <a:avLst/>
                <a:gdLst>
                  <a:gd name="connsiteX0" fmla="*/ 0 w 145388"/>
                  <a:gd name="connsiteY0" fmla="*/ 0 h 13124"/>
                  <a:gd name="connsiteX1" fmla="*/ 145389 w 145388"/>
                  <a:gd name="connsiteY1" fmla="*/ 0 h 13124"/>
                  <a:gd name="connsiteX2" fmla="*/ 145389 w 145388"/>
                  <a:gd name="connsiteY2" fmla="*/ 13124 h 13124"/>
                  <a:gd name="connsiteX3" fmla="*/ 0 w 145388"/>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45388" h="13124">
                    <a:moveTo>
                      <a:pt x="0" y="0"/>
                    </a:moveTo>
                    <a:lnTo>
                      <a:pt x="145389" y="0"/>
                    </a:lnTo>
                    <a:lnTo>
                      <a:pt x="145389" y="13124"/>
                    </a:lnTo>
                    <a:lnTo>
                      <a:pt x="0" y="13124"/>
                    </a:lnTo>
                    <a:close/>
                  </a:path>
                </a:pathLst>
              </a:custGeom>
              <a:solidFill>
                <a:schemeClr val="tx2"/>
              </a:solidFill>
              <a:ln w="2827" cap="flat">
                <a:noFill/>
                <a:prstDash val="solid"/>
                <a:miter/>
              </a:ln>
            </p:spPr>
            <p:txBody>
              <a:bodyPr rtlCol="0" anchor="ctr"/>
              <a:lstStyle/>
              <a:p>
                <a:endParaRPr lang="en-GB" dirty="0"/>
              </a:p>
            </p:txBody>
          </p:sp>
          <p:sp>
            <p:nvSpPr>
              <p:cNvPr id="619" name="Freihandform: Form 203">
                <a:extLst>
                  <a:ext uri="{FF2B5EF4-FFF2-40B4-BE49-F238E27FC236}">
                    <a16:creationId xmlns:a16="http://schemas.microsoft.com/office/drawing/2014/main" id="{D5DE2A1A-E67E-48A5-BD66-671CB6E71CA5}"/>
                  </a:ext>
                </a:extLst>
              </p:cNvPr>
              <p:cNvSpPr/>
              <p:nvPr/>
            </p:nvSpPr>
            <p:spPr>
              <a:xfrm>
                <a:off x="3438816" y="3606369"/>
                <a:ext cx="144508" cy="144480"/>
              </a:xfrm>
              <a:custGeom>
                <a:avLst/>
                <a:gdLst>
                  <a:gd name="connsiteX0" fmla="*/ 144509 w 144508"/>
                  <a:gd name="connsiteY0" fmla="*/ 144481 h 144480"/>
                  <a:gd name="connsiteX1" fmla="*/ 131356 w 144508"/>
                  <a:gd name="connsiteY1" fmla="*/ 144481 h 144480"/>
                  <a:gd name="connsiteX2" fmla="*/ 131356 w 144508"/>
                  <a:gd name="connsiteY2" fmla="*/ 13124 h 144480"/>
                  <a:gd name="connsiteX3" fmla="*/ 13153 w 144508"/>
                  <a:gd name="connsiteY3" fmla="*/ 13124 h 144480"/>
                  <a:gd name="connsiteX4" fmla="*/ 13153 w 144508"/>
                  <a:gd name="connsiteY4" fmla="*/ 144481 h 144480"/>
                  <a:gd name="connsiteX5" fmla="*/ 0 w 144508"/>
                  <a:gd name="connsiteY5" fmla="*/ 144481 h 144480"/>
                  <a:gd name="connsiteX6" fmla="*/ 0 w 144508"/>
                  <a:gd name="connsiteY6" fmla="*/ 0 h 144480"/>
                  <a:gd name="connsiteX7" fmla="*/ 144509 w 144508"/>
                  <a:gd name="connsiteY7" fmla="*/ 0 h 14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508" h="144480">
                    <a:moveTo>
                      <a:pt x="144509" y="144481"/>
                    </a:moveTo>
                    <a:lnTo>
                      <a:pt x="131356" y="144481"/>
                    </a:lnTo>
                    <a:lnTo>
                      <a:pt x="131356" y="13124"/>
                    </a:lnTo>
                    <a:lnTo>
                      <a:pt x="13153" y="13124"/>
                    </a:lnTo>
                    <a:lnTo>
                      <a:pt x="13153" y="144481"/>
                    </a:lnTo>
                    <a:lnTo>
                      <a:pt x="0" y="144481"/>
                    </a:lnTo>
                    <a:lnTo>
                      <a:pt x="0" y="0"/>
                    </a:lnTo>
                    <a:lnTo>
                      <a:pt x="144509" y="0"/>
                    </a:lnTo>
                    <a:close/>
                  </a:path>
                </a:pathLst>
              </a:custGeom>
              <a:solidFill>
                <a:schemeClr val="tx2"/>
              </a:solidFill>
              <a:ln w="2827" cap="flat">
                <a:noFill/>
                <a:prstDash val="solid"/>
                <a:miter/>
              </a:ln>
            </p:spPr>
            <p:txBody>
              <a:bodyPr rtlCol="0" anchor="ctr"/>
              <a:lstStyle/>
              <a:p>
                <a:endParaRPr lang="en-GB" dirty="0"/>
              </a:p>
            </p:txBody>
          </p:sp>
          <p:sp>
            <p:nvSpPr>
              <p:cNvPr id="620" name="Freihandform: Form 206">
                <a:extLst>
                  <a:ext uri="{FF2B5EF4-FFF2-40B4-BE49-F238E27FC236}">
                    <a16:creationId xmlns:a16="http://schemas.microsoft.com/office/drawing/2014/main" id="{547A7003-CAD0-444F-BBA7-636C74FAC142}"/>
                  </a:ext>
                </a:extLst>
              </p:cNvPr>
              <p:cNvSpPr/>
              <p:nvPr/>
            </p:nvSpPr>
            <p:spPr>
              <a:xfrm>
                <a:off x="3537347" y="3678595"/>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tx2"/>
              </a:solidFill>
              <a:ln w="2827" cap="flat">
                <a:noFill/>
                <a:prstDash val="solid"/>
                <a:miter/>
              </a:ln>
            </p:spPr>
            <p:txBody>
              <a:bodyPr rtlCol="0" anchor="ctr"/>
              <a:lstStyle/>
              <a:p>
                <a:endParaRPr lang="en-GB" dirty="0"/>
              </a:p>
            </p:txBody>
          </p:sp>
        </p:grpSp>
      </p:grpSp>
      <p:grpSp>
        <p:nvGrpSpPr>
          <p:cNvPr id="623" name="Group 622">
            <a:extLst>
              <a:ext uri="{FF2B5EF4-FFF2-40B4-BE49-F238E27FC236}">
                <a16:creationId xmlns:a16="http://schemas.microsoft.com/office/drawing/2014/main" id="{FD96D69D-046C-4DA2-A87D-474142998395}"/>
              </a:ext>
            </a:extLst>
          </p:cNvPr>
          <p:cNvGrpSpPr>
            <a:grpSpLocks noChangeAspect="1"/>
          </p:cNvGrpSpPr>
          <p:nvPr/>
        </p:nvGrpSpPr>
        <p:grpSpPr>
          <a:xfrm>
            <a:off x="8100951" y="4002614"/>
            <a:ext cx="483435" cy="431996"/>
            <a:chOff x="3379771" y="4164595"/>
            <a:chExt cx="485967" cy="434259"/>
          </a:xfrm>
        </p:grpSpPr>
        <p:sp>
          <p:nvSpPr>
            <p:cNvPr id="624" name="Freihandform: Form 258">
              <a:extLst>
                <a:ext uri="{FF2B5EF4-FFF2-40B4-BE49-F238E27FC236}">
                  <a16:creationId xmlns:a16="http://schemas.microsoft.com/office/drawing/2014/main" id="{CB07DA06-8654-4CB7-84D4-9D851666ABCA}"/>
                </a:ext>
              </a:extLst>
            </p:cNvPr>
            <p:cNvSpPr/>
            <p:nvPr/>
          </p:nvSpPr>
          <p:spPr>
            <a:xfrm>
              <a:off x="3379771" y="4164595"/>
              <a:ext cx="485967" cy="328419"/>
            </a:xfrm>
            <a:custGeom>
              <a:avLst/>
              <a:gdLst>
                <a:gd name="connsiteX0" fmla="*/ 374311 w 485967"/>
                <a:gd name="connsiteY0" fmla="*/ 328419 h 328418"/>
                <a:gd name="connsiteX1" fmla="*/ 374311 w 485967"/>
                <a:gd name="connsiteY1" fmla="*/ 315295 h 328418"/>
                <a:gd name="connsiteX2" fmla="*/ 472814 w 485967"/>
                <a:gd name="connsiteY2" fmla="*/ 216792 h 328418"/>
                <a:gd name="connsiteX3" fmla="*/ 374311 w 485967"/>
                <a:gd name="connsiteY3" fmla="*/ 118289 h 328418"/>
                <a:gd name="connsiteX4" fmla="*/ 349509 w 485967"/>
                <a:gd name="connsiteY4" fmla="*/ 121577 h 328418"/>
                <a:gd name="connsiteX5" fmla="*/ 341005 w 485967"/>
                <a:gd name="connsiteY5" fmla="*/ 123788 h 328418"/>
                <a:gd name="connsiteX6" fmla="*/ 341401 w 485967"/>
                <a:gd name="connsiteY6" fmla="*/ 113328 h 328418"/>
                <a:gd name="connsiteX7" fmla="*/ 341487 w 485967"/>
                <a:gd name="connsiteY7" fmla="*/ 111741 h 328418"/>
                <a:gd name="connsiteX8" fmla="*/ 242984 w 485967"/>
                <a:gd name="connsiteY8" fmla="*/ 13238 h 328418"/>
                <a:gd name="connsiteX9" fmla="*/ 144481 w 485967"/>
                <a:gd name="connsiteY9" fmla="*/ 111741 h 328418"/>
                <a:gd name="connsiteX10" fmla="*/ 144566 w 485967"/>
                <a:gd name="connsiteY10" fmla="*/ 113328 h 328418"/>
                <a:gd name="connsiteX11" fmla="*/ 144962 w 485967"/>
                <a:gd name="connsiteY11" fmla="*/ 123788 h 328418"/>
                <a:gd name="connsiteX12" fmla="*/ 136459 w 485967"/>
                <a:gd name="connsiteY12" fmla="*/ 121577 h 328418"/>
                <a:gd name="connsiteX13" fmla="*/ 111656 w 485967"/>
                <a:gd name="connsiteY13" fmla="*/ 118289 h 328418"/>
                <a:gd name="connsiteX14" fmla="*/ 13153 w 485967"/>
                <a:gd name="connsiteY14" fmla="*/ 216792 h 328418"/>
                <a:gd name="connsiteX15" fmla="*/ 111656 w 485967"/>
                <a:gd name="connsiteY15" fmla="*/ 315295 h 328418"/>
                <a:gd name="connsiteX16" fmla="*/ 111656 w 485967"/>
                <a:gd name="connsiteY16" fmla="*/ 328419 h 328418"/>
                <a:gd name="connsiteX17" fmla="*/ 0 w 485967"/>
                <a:gd name="connsiteY17" fmla="*/ 216763 h 328418"/>
                <a:gd name="connsiteX18" fmla="*/ 111656 w 485967"/>
                <a:gd name="connsiteY18" fmla="*/ 105108 h 328418"/>
                <a:gd name="connsiteX19" fmla="*/ 131441 w 485967"/>
                <a:gd name="connsiteY19" fmla="*/ 106950 h 328418"/>
                <a:gd name="connsiteX20" fmla="*/ 242984 w 485967"/>
                <a:gd name="connsiteY20" fmla="*/ 0 h 328418"/>
                <a:gd name="connsiteX21" fmla="*/ 354526 w 485967"/>
                <a:gd name="connsiteY21" fmla="*/ 106950 h 328418"/>
                <a:gd name="connsiteX22" fmla="*/ 374311 w 485967"/>
                <a:gd name="connsiteY22" fmla="*/ 105108 h 328418"/>
                <a:gd name="connsiteX23" fmla="*/ 485967 w 485967"/>
                <a:gd name="connsiteY23" fmla="*/ 216763 h 328418"/>
                <a:gd name="connsiteX24" fmla="*/ 374311 w 485967"/>
                <a:gd name="connsiteY24" fmla="*/ 328419 h 328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5967" h="328418">
                  <a:moveTo>
                    <a:pt x="374311" y="328419"/>
                  </a:moveTo>
                  <a:lnTo>
                    <a:pt x="374311" y="315295"/>
                  </a:lnTo>
                  <a:cubicBezTo>
                    <a:pt x="428622" y="315295"/>
                    <a:pt x="472814" y="271103"/>
                    <a:pt x="472814" y="216792"/>
                  </a:cubicBezTo>
                  <a:cubicBezTo>
                    <a:pt x="472814" y="162480"/>
                    <a:pt x="428622" y="118289"/>
                    <a:pt x="374311" y="118289"/>
                  </a:cubicBezTo>
                  <a:cubicBezTo>
                    <a:pt x="366233" y="118289"/>
                    <a:pt x="357899" y="119394"/>
                    <a:pt x="349509" y="121577"/>
                  </a:cubicBezTo>
                  <a:lnTo>
                    <a:pt x="341005" y="123788"/>
                  </a:lnTo>
                  <a:lnTo>
                    <a:pt x="341401" y="113328"/>
                  </a:lnTo>
                  <a:cubicBezTo>
                    <a:pt x="341430" y="112790"/>
                    <a:pt x="341487" y="112279"/>
                    <a:pt x="341487" y="111741"/>
                  </a:cubicBezTo>
                  <a:cubicBezTo>
                    <a:pt x="341487" y="57429"/>
                    <a:pt x="297295" y="13238"/>
                    <a:pt x="242984" y="13238"/>
                  </a:cubicBezTo>
                  <a:cubicBezTo>
                    <a:pt x="188672" y="13238"/>
                    <a:pt x="144481" y="57429"/>
                    <a:pt x="144481" y="111741"/>
                  </a:cubicBezTo>
                  <a:cubicBezTo>
                    <a:pt x="144481" y="112279"/>
                    <a:pt x="144509" y="112818"/>
                    <a:pt x="144566" y="113328"/>
                  </a:cubicBezTo>
                  <a:lnTo>
                    <a:pt x="144962" y="123788"/>
                  </a:lnTo>
                  <a:lnTo>
                    <a:pt x="136459" y="121577"/>
                  </a:lnTo>
                  <a:cubicBezTo>
                    <a:pt x="128096" y="119394"/>
                    <a:pt x="119763" y="118289"/>
                    <a:pt x="111656" y="118289"/>
                  </a:cubicBezTo>
                  <a:cubicBezTo>
                    <a:pt x="57344" y="118289"/>
                    <a:pt x="13153" y="162480"/>
                    <a:pt x="13153" y="216792"/>
                  </a:cubicBezTo>
                  <a:cubicBezTo>
                    <a:pt x="13153" y="271103"/>
                    <a:pt x="57344" y="315295"/>
                    <a:pt x="111656" y="315295"/>
                  </a:cubicBezTo>
                  <a:lnTo>
                    <a:pt x="111656" y="328419"/>
                  </a:lnTo>
                  <a:cubicBezTo>
                    <a:pt x="50088" y="328419"/>
                    <a:pt x="0" y="278331"/>
                    <a:pt x="0" y="216763"/>
                  </a:cubicBezTo>
                  <a:cubicBezTo>
                    <a:pt x="0" y="155195"/>
                    <a:pt x="50088" y="105108"/>
                    <a:pt x="111656" y="105108"/>
                  </a:cubicBezTo>
                  <a:cubicBezTo>
                    <a:pt x="118147" y="105108"/>
                    <a:pt x="124780" y="105731"/>
                    <a:pt x="131441" y="106950"/>
                  </a:cubicBezTo>
                  <a:cubicBezTo>
                    <a:pt x="133936" y="47565"/>
                    <a:pt x="183003" y="0"/>
                    <a:pt x="242984" y="0"/>
                  </a:cubicBezTo>
                  <a:cubicBezTo>
                    <a:pt x="302964" y="0"/>
                    <a:pt x="352060" y="47565"/>
                    <a:pt x="354526" y="106950"/>
                  </a:cubicBezTo>
                  <a:cubicBezTo>
                    <a:pt x="361187" y="105731"/>
                    <a:pt x="367820" y="105108"/>
                    <a:pt x="374311" y="105108"/>
                  </a:cubicBezTo>
                  <a:cubicBezTo>
                    <a:pt x="435879" y="105108"/>
                    <a:pt x="485967" y="155195"/>
                    <a:pt x="485967" y="216763"/>
                  </a:cubicBezTo>
                  <a:cubicBezTo>
                    <a:pt x="485967" y="278331"/>
                    <a:pt x="435879" y="328419"/>
                    <a:pt x="374311" y="328419"/>
                  </a:cubicBezTo>
                  <a:close/>
                </a:path>
              </a:pathLst>
            </a:custGeom>
            <a:solidFill>
              <a:schemeClr val="tx2"/>
            </a:solidFill>
            <a:ln w="2827" cap="flat">
              <a:noFill/>
              <a:prstDash val="solid"/>
              <a:miter/>
            </a:ln>
          </p:spPr>
          <p:txBody>
            <a:bodyPr rtlCol="0" anchor="ctr"/>
            <a:lstStyle/>
            <a:p>
              <a:endParaRPr lang="en-GB" dirty="0"/>
            </a:p>
          </p:txBody>
        </p:sp>
        <p:grpSp>
          <p:nvGrpSpPr>
            <p:cNvPr id="625" name="Group 624">
              <a:extLst>
                <a:ext uri="{FF2B5EF4-FFF2-40B4-BE49-F238E27FC236}">
                  <a16:creationId xmlns:a16="http://schemas.microsoft.com/office/drawing/2014/main" id="{1EA6F8B0-15BB-4292-87C6-9E65F33CBA48}"/>
                </a:ext>
              </a:extLst>
            </p:cNvPr>
            <p:cNvGrpSpPr/>
            <p:nvPr/>
          </p:nvGrpSpPr>
          <p:grpSpPr>
            <a:xfrm>
              <a:off x="3502963" y="4373984"/>
              <a:ext cx="239525" cy="224870"/>
              <a:chOff x="3502963" y="4373984"/>
              <a:chExt cx="239525" cy="224870"/>
            </a:xfrm>
          </p:grpSpPr>
          <p:sp>
            <p:nvSpPr>
              <p:cNvPr id="626" name="Freihandform: Form 259">
                <a:extLst>
                  <a:ext uri="{FF2B5EF4-FFF2-40B4-BE49-F238E27FC236}">
                    <a16:creationId xmlns:a16="http://schemas.microsoft.com/office/drawing/2014/main" id="{A9CC156E-6A0A-424C-9D1E-2A15D59FBA99}"/>
                  </a:ext>
                </a:extLst>
              </p:cNvPr>
              <p:cNvSpPr/>
              <p:nvPr/>
            </p:nvSpPr>
            <p:spPr>
              <a:xfrm>
                <a:off x="3511070" y="4519258"/>
                <a:ext cx="223311" cy="79596"/>
              </a:xfrm>
              <a:custGeom>
                <a:avLst/>
                <a:gdLst>
                  <a:gd name="connsiteX0" fmla="*/ 111656 w 223311"/>
                  <a:gd name="connsiteY0" fmla="*/ 79596 h 79596"/>
                  <a:gd name="connsiteX1" fmla="*/ 0 w 223311"/>
                  <a:gd name="connsiteY1" fmla="*/ 23783 h 79596"/>
                  <a:gd name="connsiteX2" fmla="*/ 0 w 223311"/>
                  <a:gd name="connsiteY2" fmla="*/ 0 h 79596"/>
                  <a:gd name="connsiteX3" fmla="*/ 13124 w 223311"/>
                  <a:gd name="connsiteY3" fmla="*/ 0 h 79596"/>
                  <a:gd name="connsiteX4" fmla="*/ 13124 w 223311"/>
                  <a:gd name="connsiteY4" fmla="*/ 15647 h 79596"/>
                  <a:gd name="connsiteX5" fmla="*/ 111656 w 223311"/>
                  <a:gd name="connsiteY5" fmla="*/ 64913 h 79596"/>
                  <a:gd name="connsiteX6" fmla="*/ 210159 w 223311"/>
                  <a:gd name="connsiteY6" fmla="*/ 15647 h 79596"/>
                  <a:gd name="connsiteX7" fmla="*/ 210159 w 223311"/>
                  <a:gd name="connsiteY7" fmla="*/ 0 h 79596"/>
                  <a:gd name="connsiteX8" fmla="*/ 223311 w 223311"/>
                  <a:gd name="connsiteY8" fmla="*/ 0 h 79596"/>
                  <a:gd name="connsiteX9" fmla="*/ 223311 w 223311"/>
                  <a:gd name="connsiteY9" fmla="*/ 23783 h 79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311" h="79596">
                    <a:moveTo>
                      <a:pt x="111656" y="79596"/>
                    </a:moveTo>
                    <a:lnTo>
                      <a:pt x="0" y="23783"/>
                    </a:lnTo>
                    <a:lnTo>
                      <a:pt x="0" y="0"/>
                    </a:lnTo>
                    <a:lnTo>
                      <a:pt x="13124" y="0"/>
                    </a:lnTo>
                    <a:lnTo>
                      <a:pt x="13124" y="15647"/>
                    </a:lnTo>
                    <a:lnTo>
                      <a:pt x="111656" y="64913"/>
                    </a:lnTo>
                    <a:lnTo>
                      <a:pt x="210159" y="15647"/>
                    </a:lnTo>
                    <a:lnTo>
                      <a:pt x="210159" y="0"/>
                    </a:lnTo>
                    <a:lnTo>
                      <a:pt x="223311" y="0"/>
                    </a:lnTo>
                    <a:lnTo>
                      <a:pt x="223311" y="23783"/>
                    </a:lnTo>
                    <a:close/>
                  </a:path>
                </a:pathLst>
              </a:custGeom>
              <a:solidFill>
                <a:schemeClr val="accent1"/>
              </a:solidFill>
              <a:ln w="2827" cap="flat">
                <a:noFill/>
                <a:prstDash val="solid"/>
                <a:miter/>
              </a:ln>
            </p:spPr>
            <p:txBody>
              <a:bodyPr rtlCol="0" anchor="ctr"/>
              <a:lstStyle/>
              <a:p>
                <a:endParaRPr lang="en-GB" dirty="0"/>
              </a:p>
            </p:txBody>
          </p:sp>
          <p:sp>
            <p:nvSpPr>
              <p:cNvPr id="627" name="Freihandform: Form 260">
                <a:extLst>
                  <a:ext uri="{FF2B5EF4-FFF2-40B4-BE49-F238E27FC236}">
                    <a16:creationId xmlns:a16="http://schemas.microsoft.com/office/drawing/2014/main" id="{5193B08E-13D7-4198-B6F0-27B29B45D987}"/>
                  </a:ext>
                </a:extLst>
              </p:cNvPr>
              <p:cNvSpPr/>
              <p:nvPr/>
            </p:nvSpPr>
            <p:spPr>
              <a:xfrm>
                <a:off x="3511070" y="4466733"/>
                <a:ext cx="223311" cy="79595"/>
              </a:xfrm>
              <a:custGeom>
                <a:avLst/>
                <a:gdLst>
                  <a:gd name="connsiteX0" fmla="*/ 111656 w 223311"/>
                  <a:gd name="connsiteY0" fmla="*/ 79596 h 79595"/>
                  <a:gd name="connsiteX1" fmla="*/ 0 w 223311"/>
                  <a:gd name="connsiteY1" fmla="*/ 23754 h 79595"/>
                  <a:gd name="connsiteX2" fmla="*/ 0 w 223311"/>
                  <a:gd name="connsiteY2" fmla="*/ 0 h 79595"/>
                  <a:gd name="connsiteX3" fmla="*/ 13124 w 223311"/>
                  <a:gd name="connsiteY3" fmla="*/ 0 h 79595"/>
                  <a:gd name="connsiteX4" fmla="*/ 13124 w 223311"/>
                  <a:gd name="connsiteY4" fmla="*/ 15647 h 79595"/>
                  <a:gd name="connsiteX5" fmla="*/ 111656 w 223311"/>
                  <a:gd name="connsiteY5" fmla="*/ 64913 h 79595"/>
                  <a:gd name="connsiteX6" fmla="*/ 210159 w 223311"/>
                  <a:gd name="connsiteY6" fmla="*/ 15647 h 79595"/>
                  <a:gd name="connsiteX7" fmla="*/ 210159 w 223311"/>
                  <a:gd name="connsiteY7" fmla="*/ 0 h 79595"/>
                  <a:gd name="connsiteX8" fmla="*/ 223311 w 223311"/>
                  <a:gd name="connsiteY8" fmla="*/ 0 h 79595"/>
                  <a:gd name="connsiteX9" fmla="*/ 223311 w 223311"/>
                  <a:gd name="connsiteY9" fmla="*/ 23754 h 7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311" h="79595">
                    <a:moveTo>
                      <a:pt x="111656" y="79596"/>
                    </a:moveTo>
                    <a:lnTo>
                      <a:pt x="0" y="23754"/>
                    </a:lnTo>
                    <a:lnTo>
                      <a:pt x="0" y="0"/>
                    </a:lnTo>
                    <a:lnTo>
                      <a:pt x="13124" y="0"/>
                    </a:lnTo>
                    <a:lnTo>
                      <a:pt x="13124" y="15647"/>
                    </a:lnTo>
                    <a:lnTo>
                      <a:pt x="111656" y="64913"/>
                    </a:lnTo>
                    <a:lnTo>
                      <a:pt x="210159" y="15647"/>
                    </a:lnTo>
                    <a:lnTo>
                      <a:pt x="210159" y="0"/>
                    </a:lnTo>
                    <a:lnTo>
                      <a:pt x="223311" y="0"/>
                    </a:lnTo>
                    <a:lnTo>
                      <a:pt x="223311" y="23754"/>
                    </a:lnTo>
                    <a:close/>
                  </a:path>
                </a:pathLst>
              </a:custGeom>
              <a:solidFill>
                <a:schemeClr val="accent1"/>
              </a:solidFill>
              <a:ln w="2827" cap="flat">
                <a:noFill/>
                <a:prstDash val="solid"/>
                <a:miter/>
              </a:ln>
            </p:spPr>
            <p:txBody>
              <a:bodyPr rtlCol="0" anchor="ctr"/>
              <a:lstStyle/>
              <a:p>
                <a:endParaRPr lang="en-GB" dirty="0"/>
              </a:p>
            </p:txBody>
          </p:sp>
          <p:sp>
            <p:nvSpPr>
              <p:cNvPr id="628" name="Freihandform: Form 261">
                <a:extLst>
                  <a:ext uri="{FF2B5EF4-FFF2-40B4-BE49-F238E27FC236}">
                    <a16:creationId xmlns:a16="http://schemas.microsoft.com/office/drawing/2014/main" id="{C04D9D3C-B23E-416C-A532-5A6B7D363435}"/>
                  </a:ext>
                </a:extLst>
              </p:cNvPr>
              <p:cNvSpPr/>
              <p:nvPr/>
            </p:nvSpPr>
            <p:spPr>
              <a:xfrm>
                <a:off x="3502963" y="4373984"/>
                <a:ext cx="239525" cy="119790"/>
              </a:xfrm>
              <a:custGeom>
                <a:avLst/>
                <a:gdLst>
                  <a:gd name="connsiteX0" fmla="*/ 119763 w 239525"/>
                  <a:gd name="connsiteY0" fmla="*/ 119791 h 119790"/>
                  <a:gd name="connsiteX1" fmla="*/ 0 w 239525"/>
                  <a:gd name="connsiteY1" fmla="*/ 59895 h 119790"/>
                  <a:gd name="connsiteX2" fmla="*/ 119763 w 239525"/>
                  <a:gd name="connsiteY2" fmla="*/ 0 h 119790"/>
                  <a:gd name="connsiteX3" fmla="*/ 239525 w 239525"/>
                  <a:gd name="connsiteY3" fmla="*/ 59895 h 119790"/>
                  <a:gd name="connsiteX4" fmla="*/ 119763 w 239525"/>
                  <a:gd name="connsiteY4" fmla="*/ 119791 h 119790"/>
                  <a:gd name="connsiteX5" fmla="*/ 29367 w 239525"/>
                  <a:gd name="connsiteY5" fmla="*/ 59895 h 119790"/>
                  <a:gd name="connsiteX6" fmla="*/ 119763 w 239525"/>
                  <a:gd name="connsiteY6" fmla="*/ 105079 h 119790"/>
                  <a:gd name="connsiteX7" fmla="*/ 210159 w 239525"/>
                  <a:gd name="connsiteY7" fmla="*/ 59895 h 119790"/>
                  <a:gd name="connsiteX8" fmla="*/ 119763 w 239525"/>
                  <a:gd name="connsiteY8" fmla="*/ 14712 h 119790"/>
                  <a:gd name="connsiteX9" fmla="*/ 29367 w 239525"/>
                  <a:gd name="connsiteY9" fmla="*/ 59895 h 11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525" h="119790">
                    <a:moveTo>
                      <a:pt x="119763" y="119791"/>
                    </a:moveTo>
                    <a:lnTo>
                      <a:pt x="0" y="59895"/>
                    </a:lnTo>
                    <a:lnTo>
                      <a:pt x="119763" y="0"/>
                    </a:lnTo>
                    <a:lnTo>
                      <a:pt x="239525" y="59895"/>
                    </a:lnTo>
                    <a:lnTo>
                      <a:pt x="119763" y="119791"/>
                    </a:lnTo>
                    <a:close/>
                    <a:moveTo>
                      <a:pt x="29367" y="59895"/>
                    </a:moveTo>
                    <a:lnTo>
                      <a:pt x="119763" y="105079"/>
                    </a:lnTo>
                    <a:lnTo>
                      <a:pt x="210159" y="59895"/>
                    </a:lnTo>
                    <a:lnTo>
                      <a:pt x="119763" y="14712"/>
                    </a:lnTo>
                    <a:lnTo>
                      <a:pt x="29367" y="59895"/>
                    </a:lnTo>
                    <a:close/>
                  </a:path>
                </a:pathLst>
              </a:custGeom>
              <a:solidFill>
                <a:schemeClr val="accent1"/>
              </a:solidFill>
              <a:ln w="2827"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2995447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CF1D188-9799-4B9F-AA98-D8321A6B3482}"/>
              </a:ext>
            </a:extLst>
          </p:cNvPr>
          <p:cNvGraphicFramePr>
            <a:graphicFrameLocks noChangeAspect="1"/>
          </p:cNvGraphicFramePr>
          <p:nvPr>
            <p:custDataLst>
              <p:tags r:id="rId1"/>
            </p:custDataLst>
            <p:extLst>
              <p:ext uri="{D42A27DB-BD31-4B8C-83A1-F6EECF244321}">
                <p14:modId xmlns:p14="http://schemas.microsoft.com/office/powerpoint/2010/main" val="1138483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6" name="Objekt 5" hidden="1">
                        <a:extLst>
                          <a:ext uri="{FF2B5EF4-FFF2-40B4-BE49-F238E27FC236}">
                            <a16:creationId xmlns:a16="http://schemas.microsoft.com/office/drawing/2014/main" id="{7CF1D188-9799-4B9F-AA98-D8321A6B3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9282C99-92B3-4363-9F9C-D4D7613AB7B6}"/>
              </a:ext>
            </a:extLst>
          </p:cNvPr>
          <p:cNvSpPr>
            <a:spLocks noGrp="1"/>
          </p:cNvSpPr>
          <p:nvPr>
            <p:ph type="sldNum" sz="quarter" idx="11"/>
          </p:nvPr>
        </p:nvSpPr>
        <p:spPr/>
        <p:txBody>
          <a:bodyPr/>
          <a:lstStyle/>
          <a:p>
            <a:fld id="{D56DB8AA-803C-49D2-90AA-1140CE72DCD7}" type="slidenum">
              <a:rPr lang="en-GB" smtClean="0"/>
              <a:pPr/>
              <a:t>39</a:t>
            </a:fld>
            <a:endParaRPr lang="en-GB" dirty="0"/>
          </a:p>
        </p:txBody>
      </p:sp>
      <p:sp>
        <p:nvSpPr>
          <p:cNvPr id="3" name="Title 2">
            <a:extLst>
              <a:ext uri="{FF2B5EF4-FFF2-40B4-BE49-F238E27FC236}">
                <a16:creationId xmlns:a16="http://schemas.microsoft.com/office/drawing/2014/main" id="{BE225F0C-79AE-CCCE-37C6-9EC381BD528A}"/>
              </a:ext>
            </a:extLst>
          </p:cNvPr>
          <p:cNvSpPr>
            <a:spLocks noGrp="1"/>
          </p:cNvSpPr>
          <p:nvPr>
            <p:ph type="title"/>
          </p:nvPr>
        </p:nvSpPr>
        <p:spPr>
          <a:xfrm>
            <a:off x="252000" y="252000"/>
            <a:ext cx="6748875" cy="576000"/>
          </a:xfrm>
        </p:spPr>
        <p:txBody>
          <a:bodyPr/>
          <a:lstStyle/>
          <a:p>
            <a:r>
              <a:rPr lang="en-US" dirty="0"/>
              <a:t>Sports</a:t>
            </a:r>
          </a:p>
        </p:txBody>
      </p:sp>
      <p:grpSp>
        <p:nvGrpSpPr>
          <p:cNvPr id="4" name="Group 3">
            <a:extLst>
              <a:ext uri="{FF2B5EF4-FFF2-40B4-BE49-F238E27FC236}">
                <a16:creationId xmlns:a16="http://schemas.microsoft.com/office/drawing/2014/main" id="{6AE1CC64-26EB-84ED-5113-19A84ED48A6F}"/>
              </a:ext>
            </a:extLst>
          </p:cNvPr>
          <p:cNvGrpSpPr/>
          <p:nvPr/>
        </p:nvGrpSpPr>
        <p:grpSpPr>
          <a:xfrm>
            <a:off x="484164" y="4097454"/>
            <a:ext cx="431988" cy="432000"/>
            <a:chOff x="484164" y="4097454"/>
            <a:chExt cx="431988" cy="432000"/>
          </a:xfrm>
        </p:grpSpPr>
        <p:sp>
          <p:nvSpPr>
            <p:cNvPr id="291" name="Freihandform: Form 290">
              <a:extLst>
                <a:ext uri="{FF2B5EF4-FFF2-40B4-BE49-F238E27FC236}">
                  <a16:creationId xmlns:a16="http://schemas.microsoft.com/office/drawing/2014/main" id="{D2327A80-A7AD-4F97-A2D0-03455136432F}"/>
                </a:ext>
              </a:extLst>
            </p:cNvPr>
            <p:cNvSpPr/>
            <p:nvPr/>
          </p:nvSpPr>
          <p:spPr>
            <a:xfrm>
              <a:off x="666419" y="4502455"/>
              <a:ext cx="67490" cy="26998"/>
            </a:xfrm>
            <a:custGeom>
              <a:avLst/>
              <a:gdLst>
                <a:gd name="connsiteX0" fmla="*/ 69350 w 77052"/>
                <a:gd name="connsiteY0" fmla="*/ 30824 h 30823"/>
                <a:gd name="connsiteX1" fmla="*/ 7702 w 77052"/>
                <a:gd name="connsiteY1" fmla="*/ 30824 h 30823"/>
                <a:gd name="connsiteX2" fmla="*/ 0 w 77052"/>
                <a:gd name="connsiteY2" fmla="*/ 23121 h 30823"/>
                <a:gd name="connsiteX3" fmla="*/ 0 w 77052"/>
                <a:gd name="connsiteY3" fmla="*/ 7703 h 30823"/>
                <a:gd name="connsiteX4" fmla="*/ 7702 w 77052"/>
                <a:gd name="connsiteY4" fmla="*/ 0 h 30823"/>
                <a:gd name="connsiteX5" fmla="*/ 69350 w 77052"/>
                <a:gd name="connsiteY5" fmla="*/ 0 h 30823"/>
                <a:gd name="connsiteX6" fmla="*/ 77052 w 77052"/>
                <a:gd name="connsiteY6" fmla="*/ 7703 h 30823"/>
                <a:gd name="connsiteX7" fmla="*/ 77052 w 77052"/>
                <a:gd name="connsiteY7" fmla="*/ 23121 h 30823"/>
                <a:gd name="connsiteX8" fmla="*/ 69350 w 77052"/>
                <a:gd name="connsiteY8" fmla="*/ 30824 h 30823"/>
                <a:gd name="connsiteX9" fmla="*/ 15405 w 77052"/>
                <a:gd name="connsiteY9" fmla="*/ 15405 h 30823"/>
                <a:gd name="connsiteX10" fmla="*/ 61647 w 77052"/>
                <a:gd name="connsiteY10" fmla="*/ 15405 h 30823"/>
                <a:gd name="connsiteX11" fmla="*/ 15405 w 77052"/>
                <a:gd name="connsiteY11" fmla="*/ 15405 h 3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7052" h="30823">
                  <a:moveTo>
                    <a:pt x="69350" y="30824"/>
                  </a:moveTo>
                  <a:lnTo>
                    <a:pt x="7702" y="30824"/>
                  </a:lnTo>
                  <a:cubicBezTo>
                    <a:pt x="3445" y="30824"/>
                    <a:pt x="0" y="27379"/>
                    <a:pt x="0" y="23121"/>
                  </a:cubicBezTo>
                  <a:lnTo>
                    <a:pt x="0" y="7703"/>
                  </a:lnTo>
                  <a:cubicBezTo>
                    <a:pt x="0" y="3445"/>
                    <a:pt x="3445" y="0"/>
                    <a:pt x="7702" y="0"/>
                  </a:cubicBezTo>
                  <a:lnTo>
                    <a:pt x="69350" y="0"/>
                  </a:lnTo>
                  <a:cubicBezTo>
                    <a:pt x="73607" y="0"/>
                    <a:pt x="77052" y="3445"/>
                    <a:pt x="77052" y="7703"/>
                  </a:cubicBezTo>
                  <a:lnTo>
                    <a:pt x="77052" y="23121"/>
                  </a:lnTo>
                  <a:cubicBezTo>
                    <a:pt x="77052" y="27379"/>
                    <a:pt x="73607" y="30824"/>
                    <a:pt x="69350" y="30824"/>
                  </a:cubicBezTo>
                  <a:close/>
                  <a:moveTo>
                    <a:pt x="15405" y="15405"/>
                  </a:moveTo>
                  <a:lnTo>
                    <a:pt x="61647" y="15405"/>
                  </a:lnTo>
                  <a:lnTo>
                    <a:pt x="15405" y="15405"/>
                  </a:lnTo>
                  <a:close/>
                </a:path>
              </a:pathLst>
            </a:custGeom>
            <a:solidFill>
              <a:schemeClr val="accent1"/>
            </a:solidFill>
            <a:ln w="1375" cap="flat">
              <a:noFill/>
              <a:prstDash val="solid"/>
              <a:miter/>
            </a:ln>
          </p:spPr>
          <p:txBody>
            <a:bodyPr rtlCol="0" anchor="ctr"/>
            <a:lstStyle/>
            <a:p>
              <a:endParaRPr lang="en-GB" dirty="0"/>
            </a:p>
          </p:txBody>
        </p:sp>
        <p:grpSp>
          <p:nvGrpSpPr>
            <p:cNvPr id="292" name="Grafik 7">
              <a:extLst>
                <a:ext uri="{FF2B5EF4-FFF2-40B4-BE49-F238E27FC236}">
                  <a16:creationId xmlns:a16="http://schemas.microsoft.com/office/drawing/2014/main" id="{7940CA59-2FD8-4F65-825F-6370771CA869}"/>
                </a:ext>
              </a:extLst>
            </p:cNvPr>
            <p:cNvGrpSpPr/>
            <p:nvPr/>
          </p:nvGrpSpPr>
          <p:grpSpPr>
            <a:xfrm>
              <a:off x="484175" y="4097454"/>
              <a:ext cx="431977" cy="432000"/>
              <a:chOff x="510728" y="4065885"/>
              <a:chExt cx="493178" cy="493202"/>
            </a:xfrm>
            <a:solidFill>
              <a:schemeClr val="tx2"/>
            </a:solidFill>
          </p:grpSpPr>
          <p:sp>
            <p:nvSpPr>
              <p:cNvPr id="293" name="Freihandform: Form 292">
                <a:extLst>
                  <a:ext uri="{FF2B5EF4-FFF2-40B4-BE49-F238E27FC236}">
                    <a16:creationId xmlns:a16="http://schemas.microsoft.com/office/drawing/2014/main" id="{0AE912E3-726C-487E-8400-321570DFC14B}"/>
                  </a:ext>
                </a:extLst>
              </p:cNvPr>
              <p:cNvSpPr/>
              <p:nvPr/>
            </p:nvSpPr>
            <p:spPr>
              <a:xfrm>
                <a:off x="510728" y="4065885"/>
                <a:ext cx="493178" cy="493202"/>
              </a:xfrm>
              <a:custGeom>
                <a:avLst/>
                <a:gdLst>
                  <a:gd name="connsiteX0" fmla="*/ 154118 w 493178"/>
                  <a:gd name="connsiteY0" fmla="*/ 493202 h 493202"/>
                  <a:gd name="connsiteX1" fmla="*/ 7702 w 493178"/>
                  <a:gd name="connsiteY1" fmla="*/ 493202 h 493202"/>
                  <a:gd name="connsiteX2" fmla="*/ 0 w 493178"/>
                  <a:gd name="connsiteY2" fmla="*/ 485499 h 493202"/>
                  <a:gd name="connsiteX3" fmla="*/ 0 w 493178"/>
                  <a:gd name="connsiteY3" fmla="*/ 431555 h 493202"/>
                  <a:gd name="connsiteX4" fmla="*/ 7702 w 493178"/>
                  <a:gd name="connsiteY4" fmla="*/ 423852 h 493202"/>
                  <a:gd name="connsiteX5" fmla="*/ 150191 w 493178"/>
                  <a:gd name="connsiteY5" fmla="*/ 423852 h 493202"/>
                  <a:gd name="connsiteX6" fmla="*/ 203654 w 493178"/>
                  <a:gd name="connsiteY6" fmla="*/ 350369 h 493202"/>
                  <a:gd name="connsiteX7" fmla="*/ 216110 w 493178"/>
                  <a:gd name="connsiteY7" fmla="*/ 359435 h 493202"/>
                  <a:gd name="connsiteX8" fmla="*/ 160346 w 493178"/>
                  <a:gd name="connsiteY8" fmla="*/ 436088 h 493202"/>
                  <a:gd name="connsiteX9" fmla="*/ 154118 w 493178"/>
                  <a:gd name="connsiteY9" fmla="*/ 439257 h 493202"/>
                  <a:gd name="connsiteX10" fmla="*/ 15405 w 493178"/>
                  <a:gd name="connsiteY10" fmla="*/ 439257 h 493202"/>
                  <a:gd name="connsiteX11" fmla="*/ 15405 w 493178"/>
                  <a:gd name="connsiteY11" fmla="*/ 477783 h 493202"/>
                  <a:gd name="connsiteX12" fmla="*/ 150150 w 493178"/>
                  <a:gd name="connsiteY12" fmla="*/ 477783 h 493202"/>
                  <a:gd name="connsiteX13" fmla="*/ 474563 w 493178"/>
                  <a:gd name="connsiteY13" fmla="*/ 25115 h 493202"/>
                  <a:gd name="connsiteX14" fmla="*/ 464229 w 493178"/>
                  <a:gd name="connsiteY14" fmla="*/ 18226 h 493202"/>
                  <a:gd name="connsiteX15" fmla="*/ 234023 w 493178"/>
                  <a:gd name="connsiteY15" fmla="*/ 334771 h 493202"/>
                  <a:gd name="connsiteX16" fmla="*/ 221567 w 493178"/>
                  <a:gd name="connsiteY16" fmla="*/ 325704 h 493202"/>
                  <a:gd name="connsiteX17" fmla="*/ 456127 w 493178"/>
                  <a:gd name="connsiteY17" fmla="*/ 3179 h 493202"/>
                  <a:gd name="connsiteX18" fmla="*/ 466626 w 493178"/>
                  <a:gd name="connsiteY18" fmla="*/ 1291 h 493202"/>
                  <a:gd name="connsiteX19" fmla="*/ 489748 w 493178"/>
                  <a:gd name="connsiteY19" fmla="*/ 16710 h 493202"/>
                  <a:gd name="connsiteX20" fmla="*/ 493055 w 493178"/>
                  <a:gd name="connsiteY20" fmla="*/ 21739 h 493202"/>
                  <a:gd name="connsiteX21" fmla="*/ 491732 w 493178"/>
                  <a:gd name="connsiteY21" fmla="*/ 27623 h 493202"/>
                  <a:gd name="connsiteX22" fmla="*/ 160374 w 493178"/>
                  <a:gd name="connsiteY22" fmla="*/ 489991 h 493202"/>
                  <a:gd name="connsiteX23" fmla="*/ 154118 w 493178"/>
                  <a:gd name="connsiteY23" fmla="*/ 493202 h 49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3178" h="493202">
                    <a:moveTo>
                      <a:pt x="154118" y="493202"/>
                    </a:moveTo>
                    <a:lnTo>
                      <a:pt x="7702" y="493202"/>
                    </a:lnTo>
                    <a:cubicBezTo>
                      <a:pt x="3445" y="493202"/>
                      <a:pt x="0" y="489757"/>
                      <a:pt x="0" y="485499"/>
                    </a:cubicBezTo>
                    <a:lnTo>
                      <a:pt x="0" y="431555"/>
                    </a:lnTo>
                    <a:cubicBezTo>
                      <a:pt x="0" y="427297"/>
                      <a:pt x="3445" y="423852"/>
                      <a:pt x="7702" y="423852"/>
                    </a:cubicBezTo>
                    <a:lnTo>
                      <a:pt x="150191" y="423852"/>
                    </a:lnTo>
                    <a:lnTo>
                      <a:pt x="203654" y="350369"/>
                    </a:lnTo>
                    <a:lnTo>
                      <a:pt x="216110" y="359435"/>
                    </a:lnTo>
                    <a:lnTo>
                      <a:pt x="160346" y="436088"/>
                    </a:lnTo>
                    <a:cubicBezTo>
                      <a:pt x="158900" y="438086"/>
                      <a:pt x="156585" y="439257"/>
                      <a:pt x="154118" y="439257"/>
                    </a:cubicBezTo>
                    <a:lnTo>
                      <a:pt x="15405" y="439257"/>
                    </a:lnTo>
                    <a:lnTo>
                      <a:pt x="15405" y="477783"/>
                    </a:lnTo>
                    <a:lnTo>
                      <a:pt x="150150" y="477783"/>
                    </a:lnTo>
                    <a:lnTo>
                      <a:pt x="474563" y="25115"/>
                    </a:lnTo>
                    <a:lnTo>
                      <a:pt x="464229" y="18226"/>
                    </a:lnTo>
                    <a:lnTo>
                      <a:pt x="234023" y="334771"/>
                    </a:lnTo>
                    <a:lnTo>
                      <a:pt x="221567" y="325704"/>
                    </a:lnTo>
                    <a:lnTo>
                      <a:pt x="456127" y="3179"/>
                    </a:lnTo>
                    <a:cubicBezTo>
                      <a:pt x="458552" y="-169"/>
                      <a:pt x="463182" y="-996"/>
                      <a:pt x="466626" y="1291"/>
                    </a:cubicBezTo>
                    <a:lnTo>
                      <a:pt x="489748" y="16710"/>
                    </a:lnTo>
                    <a:cubicBezTo>
                      <a:pt x="491484" y="17867"/>
                      <a:pt x="492682" y="19686"/>
                      <a:pt x="493055" y="21739"/>
                    </a:cubicBezTo>
                    <a:cubicBezTo>
                      <a:pt x="493427" y="23792"/>
                      <a:pt x="492958" y="25914"/>
                      <a:pt x="491732" y="27623"/>
                    </a:cubicBezTo>
                    <a:lnTo>
                      <a:pt x="160374" y="489991"/>
                    </a:lnTo>
                    <a:cubicBezTo>
                      <a:pt x="158927" y="492003"/>
                      <a:pt x="156599" y="493202"/>
                      <a:pt x="154118" y="493202"/>
                    </a:cubicBezTo>
                    <a:close/>
                  </a:path>
                </a:pathLst>
              </a:custGeom>
              <a:grpFill/>
              <a:ln w="1375" cap="flat">
                <a:noFill/>
                <a:prstDash val="solid"/>
                <a:miter/>
              </a:ln>
            </p:spPr>
            <p:txBody>
              <a:bodyPr rtlCol="0" anchor="ctr"/>
              <a:lstStyle/>
              <a:p>
                <a:endParaRPr lang="en-GB" dirty="0"/>
              </a:p>
            </p:txBody>
          </p:sp>
          <p:sp>
            <p:nvSpPr>
              <p:cNvPr id="294" name="Freihandform: Form 293">
                <a:extLst>
                  <a:ext uri="{FF2B5EF4-FFF2-40B4-BE49-F238E27FC236}">
                    <a16:creationId xmlns:a16="http://schemas.microsoft.com/office/drawing/2014/main" id="{ABA9A860-E2A1-43F4-A4BF-125174005869}"/>
                  </a:ext>
                </a:extLst>
              </p:cNvPr>
              <p:cNvSpPr/>
              <p:nvPr/>
            </p:nvSpPr>
            <p:spPr>
              <a:xfrm>
                <a:off x="541551" y="4497440"/>
                <a:ext cx="15418" cy="53944"/>
              </a:xfrm>
              <a:custGeom>
                <a:avLst/>
                <a:gdLst>
                  <a:gd name="connsiteX0" fmla="*/ 0 w 15418"/>
                  <a:gd name="connsiteY0" fmla="*/ 0 h 53944"/>
                  <a:gd name="connsiteX1" fmla="*/ 15419 w 15418"/>
                  <a:gd name="connsiteY1" fmla="*/ 0 h 53944"/>
                  <a:gd name="connsiteX2" fmla="*/ 15419 w 15418"/>
                  <a:gd name="connsiteY2" fmla="*/ 53945 h 53944"/>
                  <a:gd name="connsiteX3" fmla="*/ 0 w 15418"/>
                  <a:gd name="connsiteY3" fmla="*/ 53945 h 53944"/>
                </a:gdLst>
                <a:ahLst/>
                <a:cxnLst>
                  <a:cxn ang="0">
                    <a:pos x="connsiteX0" y="connsiteY0"/>
                  </a:cxn>
                  <a:cxn ang="0">
                    <a:pos x="connsiteX1" y="connsiteY1"/>
                  </a:cxn>
                  <a:cxn ang="0">
                    <a:pos x="connsiteX2" y="connsiteY2"/>
                  </a:cxn>
                  <a:cxn ang="0">
                    <a:pos x="connsiteX3" y="connsiteY3"/>
                  </a:cxn>
                </a:cxnLst>
                <a:rect l="l" t="t" r="r" b="b"/>
                <a:pathLst>
                  <a:path w="15418" h="53944">
                    <a:moveTo>
                      <a:pt x="0" y="0"/>
                    </a:moveTo>
                    <a:lnTo>
                      <a:pt x="15419" y="0"/>
                    </a:lnTo>
                    <a:lnTo>
                      <a:pt x="15419" y="53945"/>
                    </a:lnTo>
                    <a:lnTo>
                      <a:pt x="0" y="53945"/>
                    </a:lnTo>
                    <a:close/>
                  </a:path>
                </a:pathLst>
              </a:custGeom>
              <a:grpFill/>
              <a:ln w="1375" cap="flat">
                <a:noFill/>
                <a:prstDash val="solid"/>
                <a:miter/>
              </a:ln>
            </p:spPr>
            <p:txBody>
              <a:bodyPr rtlCol="0" anchor="ctr"/>
              <a:lstStyle/>
              <a:p>
                <a:endParaRPr lang="en-GB" dirty="0"/>
              </a:p>
            </p:txBody>
          </p:sp>
          <p:sp>
            <p:nvSpPr>
              <p:cNvPr id="295" name="Freihandform: Form 294">
                <a:extLst>
                  <a:ext uri="{FF2B5EF4-FFF2-40B4-BE49-F238E27FC236}">
                    <a16:creationId xmlns:a16="http://schemas.microsoft.com/office/drawing/2014/main" id="{4569864B-7F19-4ED9-9900-5873B202DA0F}"/>
                  </a:ext>
                </a:extLst>
              </p:cNvPr>
              <p:cNvSpPr/>
              <p:nvPr/>
            </p:nvSpPr>
            <p:spPr>
              <a:xfrm>
                <a:off x="572375" y="4497440"/>
                <a:ext cx="15418" cy="53944"/>
              </a:xfrm>
              <a:custGeom>
                <a:avLst/>
                <a:gdLst>
                  <a:gd name="connsiteX0" fmla="*/ 0 w 15418"/>
                  <a:gd name="connsiteY0" fmla="*/ 0 h 53944"/>
                  <a:gd name="connsiteX1" fmla="*/ 15419 w 15418"/>
                  <a:gd name="connsiteY1" fmla="*/ 0 h 53944"/>
                  <a:gd name="connsiteX2" fmla="*/ 15419 w 15418"/>
                  <a:gd name="connsiteY2" fmla="*/ 53945 h 53944"/>
                  <a:gd name="connsiteX3" fmla="*/ 0 w 15418"/>
                  <a:gd name="connsiteY3" fmla="*/ 53945 h 53944"/>
                </a:gdLst>
                <a:ahLst/>
                <a:cxnLst>
                  <a:cxn ang="0">
                    <a:pos x="connsiteX0" y="connsiteY0"/>
                  </a:cxn>
                  <a:cxn ang="0">
                    <a:pos x="connsiteX1" y="connsiteY1"/>
                  </a:cxn>
                  <a:cxn ang="0">
                    <a:pos x="connsiteX2" y="connsiteY2"/>
                  </a:cxn>
                  <a:cxn ang="0">
                    <a:pos x="connsiteX3" y="connsiteY3"/>
                  </a:cxn>
                </a:cxnLst>
                <a:rect l="l" t="t" r="r" b="b"/>
                <a:pathLst>
                  <a:path w="15418" h="53944">
                    <a:moveTo>
                      <a:pt x="0" y="0"/>
                    </a:moveTo>
                    <a:lnTo>
                      <a:pt x="15419" y="0"/>
                    </a:lnTo>
                    <a:lnTo>
                      <a:pt x="15419" y="53945"/>
                    </a:lnTo>
                    <a:lnTo>
                      <a:pt x="0" y="53945"/>
                    </a:lnTo>
                    <a:close/>
                  </a:path>
                </a:pathLst>
              </a:custGeom>
              <a:grpFill/>
              <a:ln w="1375" cap="flat">
                <a:noFill/>
                <a:prstDash val="solid"/>
                <a:miter/>
              </a:ln>
            </p:spPr>
            <p:txBody>
              <a:bodyPr rtlCol="0" anchor="ctr"/>
              <a:lstStyle/>
              <a:p>
                <a:endParaRPr lang="en-GB" dirty="0"/>
              </a:p>
            </p:txBody>
          </p:sp>
          <p:sp>
            <p:nvSpPr>
              <p:cNvPr id="296" name="Freihandform: Form 295">
                <a:extLst>
                  <a:ext uri="{FF2B5EF4-FFF2-40B4-BE49-F238E27FC236}">
                    <a16:creationId xmlns:a16="http://schemas.microsoft.com/office/drawing/2014/main" id="{822E3169-C006-4C37-BCA8-B9AC52CE2759}"/>
                  </a:ext>
                </a:extLst>
              </p:cNvPr>
              <p:cNvSpPr/>
              <p:nvPr/>
            </p:nvSpPr>
            <p:spPr>
              <a:xfrm>
                <a:off x="603199" y="4497440"/>
                <a:ext cx="15418" cy="53944"/>
              </a:xfrm>
              <a:custGeom>
                <a:avLst/>
                <a:gdLst>
                  <a:gd name="connsiteX0" fmla="*/ 0 w 15418"/>
                  <a:gd name="connsiteY0" fmla="*/ 0 h 53944"/>
                  <a:gd name="connsiteX1" fmla="*/ 15419 w 15418"/>
                  <a:gd name="connsiteY1" fmla="*/ 0 h 53944"/>
                  <a:gd name="connsiteX2" fmla="*/ 15419 w 15418"/>
                  <a:gd name="connsiteY2" fmla="*/ 53945 h 53944"/>
                  <a:gd name="connsiteX3" fmla="*/ 0 w 15418"/>
                  <a:gd name="connsiteY3" fmla="*/ 53945 h 53944"/>
                </a:gdLst>
                <a:ahLst/>
                <a:cxnLst>
                  <a:cxn ang="0">
                    <a:pos x="connsiteX0" y="connsiteY0"/>
                  </a:cxn>
                  <a:cxn ang="0">
                    <a:pos x="connsiteX1" y="connsiteY1"/>
                  </a:cxn>
                  <a:cxn ang="0">
                    <a:pos x="connsiteX2" y="connsiteY2"/>
                  </a:cxn>
                  <a:cxn ang="0">
                    <a:pos x="connsiteX3" y="connsiteY3"/>
                  </a:cxn>
                </a:cxnLst>
                <a:rect l="l" t="t" r="r" b="b"/>
                <a:pathLst>
                  <a:path w="15418" h="53944">
                    <a:moveTo>
                      <a:pt x="0" y="0"/>
                    </a:moveTo>
                    <a:lnTo>
                      <a:pt x="15419" y="0"/>
                    </a:lnTo>
                    <a:lnTo>
                      <a:pt x="15419" y="53945"/>
                    </a:lnTo>
                    <a:lnTo>
                      <a:pt x="0" y="53945"/>
                    </a:lnTo>
                    <a:close/>
                  </a:path>
                </a:pathLst>
              </a:custGeom>
              <a:grpFill/>
              <a:ln w="1375" cap="flat">
                <a:noFill/>
                <a:prstDash val="solid"/>
                <a:miter/>
              </a:ln>
            </p:spPr>
            <p:txBody>
              <a:bodyPr rtlCol="0" anchor="ctr"/>
              <a:lstStyle/>
              <a:p>
                <a:endParaRPr lang="en-GB" dirty="0"/>
              </a:p>
            </p:txBody>
          </p:sp>
          <p:sp>
            <p:nvSpPr>
              <p:cNvPr id="297" name="Freihandform: Form 296">
                <a:extLst>
                  <a:ext uri="{FF2B5EF4-FFF2-40B4-BE49-F238E27FC236}">
                    <a16:creationId xmlns:a16="http://schemas.microsoft.com/office/drawing/2014/main" id="{ABBDDCD4-7FF3-489A-8CC5-7231DA2B71A4}"/>
                  </a:ext>
                </a:extLst>
              </p:cNvPr>
              <p:cNvSpPr/>
              <p:nvPr/>
            </p:nvSpPr>
            <p:spPr>
              <a:xfrm>
                <a:off x="634022" y="4497440"/>
                <a:ext cx="15418" cy="53944"/>
              </a:xfrm>
              <a:custGeom>
                <a:avLst/>
                <a:gdLst>
                  <a:gd name="connsiteX0" fmla="*/ 0 w 15418"/>
                  <a:gd name="connsiteY0" fmla="*/ 0 h 53944"/>
                  <a:gd name="connsiteX1" fmla="*/ 15419 w 15418"/>
                  <a:gd name="connsiteY1" fmla="*/ 0 h 53944"/>
                  <a:gd name="connsiteX2" fmla="*/ 15419 w 15418"/>
                  <a:gd name="connsiteY2" fmla="*/ 53945 h 53944"/>
                  <a:gd name="connsiteX3" fmla="*/ 0 w 15418"/>
                  <a:gd name="connsiteY3" fmla="*/ 53945 h 53944"/>
                </a:gdLst>
                <a:ahLst/>
                <a:cxnLst>
                  <a:cxn ang="0">
                    <a:pos x="connsiteX0" y="connsiteY0"/>
                  </a:cxn>
                  <a:cxn ang="0">
                    <a:pos x="connsiteX1" y="connsiteY1"/>
                  </a:cxn>
                  <a:cxn ang="0">
                    <a:pos x="connsiteX2" y="connsiteY2"/>
                  </a:cxn>
                  <a:cxn ang="0">
                    <a:pos x="connsiteX3" y="connsiteY3"/>
                  </a:cxn>
                </a:cxnLst>
                <a:rect l="l" t="t" r="r" b="b"/>
                <a:pathLst>
                  <a:path w="15418" h="53944">
                    <a:moveTo>
                      <a:pt x="0" y="0"/>
                    </a:moveTo>
                    <a:lnTo>
                      <a:pt x="15419" y="0"/>
                    </a:lnTo>
                    <a:lnTo>
                      <a:pt x="15419" y="53945"/>
                    </a:lnTo>
                    <a:lnTo>
                      <a:pt x="0" y="53945"/>
                    </a:lnTo>
                    <a:close/>
                  </a:path>
                </a:pathLst>
              </a:custGeom>
              <a:grpFill/>
              <a:ln w="1375" cap="flat">
                <a:noFill/>
                <a:prstDash val="solid"/>
                <a:miter/>
              </a:ln>
            </p:spPr>
            <p:txBody>
              <a:bodyPr rtlCol="0" anchor="ctr"/>
              <a:lstStyle/>
              <a:p>
                <a:endParaRPr lang="en-GB" dirty="0"/>
              </a:p>
            </p:txBody>
          </p:sp>
          <p:sp>
            <p:nvSpPr>
              <p:cNvPr id="298" name="Freihandform: Form 297">
                <a:extLst>
                  <a:ext uri="{FF2B5EF4-FFF2-40B4-BE49-F238E27FC236}">
                    <a16:creationId xmlns:a16="http://schemas.microsoft.com/office/drawing/2014/main" id="{32079359-6B7C-4CD8-82B6-122B5CC3B54D}"/>
                  </a:ext>
                </a:extLst>
              </p:cNvPr>
              <p:cNvSpPr/>
              <p:nvPr/>
            </p:nvSpPr>
            <p:spPr>
              <a:xfrm rot="-3378691">
                <a:off x="938524" y="4121355"/>
                <a:ext cx="15405" cy="27779"/>
              </a:xfrm>
              <a:custGeom>
                <a:avLst/>
                <a:gdLst>
                  <a:gd name="connsiteX0" fmla="*/ 0 w 15405"/>
                  <a:gd name="connsiteY0" fmla="*/ 0 h 27779"/>
                  <a:gd name="connsiteX1" fmla="*/ 15406 w 15405"/>
                  <a:gd name="connsiteY1" fmla="*/ 0 h 27779"/>
                  <a:gd name="connsiteX2" fmla="*/ 15406 w 15405"/>
                  <a:gd name="connsiteY2" fmla="*/ 27780 h 27779"/>
                  <a:gd name="connsiteX3" fmla="*/ 0 w 15405"/>
                  <a:gd name="connsiteY3" fmla="*/ 27780 h 27779"/>
                </a:gdLst>
                <a:ahLst/>
                <a:cxnLst>
                  <a:cxn ang="0">
                    <a:pos x="connsiteX0" y="connsiteY0"/>
                  </a:cxn>
                  <a:cxn ang="0">
                    <a:pos x="connsiteX1" y="connsiteY1"/>
                  </a:cxn>
                  <a:cxn ang="0">
                    <a:pos x="connsiteX2" y="connsiteY2"/>
                  </a:cxn>
                  <a:cxn ang="0">
                    <a:pos x="connsiteX3" y="connsiteY3"/>
                  </a:cxn>
                </a:cxnLst>
                <a:rect l="l" t="t" r="r" b="b"/>
                <a:pathLst>
                  <a:path w="15405" h="27779">
                    <a:moveTo>
                      <a:pt x="0" y="0"/>
                    </a:moveTo>
                    <a:lnTo>
                      <a:pt x="15406" y="0"/>
                    </a:lnTo>
                    <a:lnTo>
                      <a:pt x="15406" y="27780"/>
                    </a:lnTo>
                    <a:lnTo>
                      <a:pt x="0" y="27780"/>
                    </a:lnTo>
                    <a:close/>
                  </a:path>
                </a:pathLst>
              </a:custGeom>
              <a:grpFill/>
              <a:ln w="1375" cap="flat">
                <a:noFill/>
                <a:prstDash val="solid"/>
                <a:miter/>
              </a:ln>
            </p:spPr>
            <p:txBody>
              <a:bodyPr rtlCol="0" anchor="ctr"/>
              <a:lstStyle/>
              <a:p>
                <a:endParaRPr lang="en-GB" dirty="0"/>
              </a:p>
            </p:txBody>
          </p:sp>
        </p:grpSp>
        <p:grpSp>
          <p:nvGrpSpPr>
            <p:cNvPr id="299" name="Grafik 7">
              <a:extLst>
                <a:ext uri="{FF2B5EF4-FFF2-40B4-BE49-F238E27FC236}">
                  <a16:creationId xmlns:a16="http://schemas.microsoft.com/office/drawing/2014/main" id="{7940CA59-2FD8-4F65-825F-6370771CA869}"/>
                </a:ext>
              </a:extLst>
            </p:cNvPr>
            <p:cNvGrpSpPr/>
            <p:nvPr/>
          </p:nvGrpSpPr>
          <p:grpSpPr>
            <a:xfrm>
              <a:off x="484164" y="4097454"/>
              <a:ext cx="431976" cy="432000"/>
              <a:chOff x="510715" y="4065885"/>
              <a:chExt cx="493177" cy="493202"/>
            </a:xfrm>
            <a:solidFill>
              <a:schemeClr val="tx2"/>
            </a:solidFill>
          </p:grpSpPr>
          <p:sp>
            <p:nvSpPr>
              <p:cNvPr id="300" name="Freihandform: Form 299">
                <a:extLst>
                  <a:ext uri="{FF2B5EF4-FFF2-40B4-BE49-F238E27FC236}">
                    <a16:creationId xmlns:a16="http://schemas.microsoft.com/office/drawing/2014/main" id="{FDD1F51C-C06D-4DFC-8640-F01A28EFB4D4}"/>
                  </a:ext>
                </a:extLst>
              </p:cNvPr>
              <p:cNvSpPr/>
              <p:nvPr/>
            </p:nvSpPr>
            <p:spPr>
              <a:xfrm>
                <a:off x="510715" y="4065885"/>
                <a:ext cx="493177" cy="493202"/>
              </a:xfrm>
              <a:custGeom>
                <a:avLst/>
                <a:gdLst>
                  <a:gd name="connsiteX0" fmla="*/ 485489 w 493177"/>
                  <a:gd name="connsiteY0" fmla="*/ 493202 h 493202"/>
                  <a:gd name="connsiteX1" fmla="*/ 339073 w 493177"/>
                  <a:gd name="connsiteY1" fmla="*/ 493202 h 493202"/>
                  <a:gd name="connsiteX2" fmla="*/ 332803 w 493177"/>
                  <a:gd name="connsiteY2" fmla="*/ 489991 h 493202"/>
                  <a:gd name="connsiteX3" fmla="*/ 1446 w 493177"/>
                  <a:gd name="connsiteY3" fmla="*/ 27623 h 493202"/>
                  <a:gd name="connsiteX4" fmla="*/ 123 w 493177"/>
                  <a:gd name="connsiteY4" fmla="*/ 21739 h 493202"/>
                  <a:gd name="connsiteX5" fmla="*/ 3430 w 493177"/>
                  <a:gd name="connsiteY5" fmla="*/ 16710 h 493202"/>
                  <a:gd name="connsiteX6" fmla="*/ 26551 w 493177"/>
                  <a:gd name="connsiteY6" fmla="*/ 1291 h 493202"/>
                  <a:gd name="connsiteX7" fmla="*/ 37051 w 493177"/>
                  <a:gd name="connsiteY7" fmla="*/ 3179 h 493202"/>
                  <a:gd name="connsiteX8" fmla="*/ 252830 w 493177"/>
                  <a:gd name="connsiteY8" fmla="*/ 299869 h 493202"/>
                  <a:gd name="connsiteX9" fmla="*/ 240374 w 493177"/>
                  <a:gd name="connsiteY9" fmla="*/ 308935 h 493202"/>
                  <a:gd name="connsiteX10" fmla="*/ 28949 w 493177"/>
                  <a:gd name="connsiteY10" fmla="*/ 18239 h 493202"/>
                  <a:gd name="connsiteX11" fmla="*/ 18614 w 493177"/>
                  <a:gd name="connsiteY11" fmla="*/ 25129 h 493202"/>
                  <a:gd name="connsiteX12" fmla="*/ 343027 w 493177"/>
                  <a:gd name="connsiteY12" fmla="*/ 477797 h 493202"/>
                  <a:gd name="connsiteX13" fmla="*/ 477772 w 493177"/>
                  <a:gd name="connsiteY13" fmla="*/ 477797 h 493202"/>
                  <a:gd name="connsiteX14" fmla="*/ 477772 w 493177"/>
                  <a:gd name="connsiteY14" fmla="*/ 439271 h 493202"/>
                  <a:gd name="connsiteX15" fmla="*/ 339073 w 493177"/>
                  <a:gd name="connsiteY15" fmla="*/ 439271 h 493202"/>
                  <a:gd name="connsiteX16" fmla="*/ 332845 w 493177"/>
                  <a:gd name="connsiteY16" fmla="*/ 436102 h 493202"/>
                  <a:gd name="connsiteX17" fmla="*/ 276144 w 493177"/>
                  <a:gd name="connsiteY17" fmla="*/ 358140 h 493202"/>
                  <a:gd name="connsiteX18" fmla="*/ 288600 w 493177"/>
                  <a:gd name="connsiteY18" fmla="*/ 349073 h 493202"/>
                  <a:gd name="connsiteX19" fmla="*/ 342986 w 493177"/>
                  <a:gd name="connsiteY19" fmla="*/ 423866 h 493202"/>
                  <a:gd name="connsiteX20" fmla="*/ 485475 w 493177"/>
                  <a:gd name="connsiteY20" fmla="*/ 423866 h 493202"/>
                  <a:gd name="connsiteX21" fmla="*/ 493177 w 493177"/>
                  <a:gd name="connsiteY21" fmla="*/ 431568 h 493202"/>
                  <a:gd name="connsiteX22" fmla="*/ 493177 w 493177"/>
                  <a:gd name="connsiteY22" fmla="*/ 485513 h 493202"/>
                  <a:gd name="connsiteX23" fmla="*/ 485489 w 493177"/>
                  <a:gd name="connsiteY23" fmla="*/ 493202 h 493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3177" h="493202">
                    <a:moveTo>
                      <a:pt x="485489" y="493202"/>
                    </a:moveTo>
                    <a:lnTo>
                      <a:pt x="339073" y="493202"/>
                    </a:lnTo>
                    <a:cubicBezTo>
                      <a:pt x="336593" y="493202"/>
                      <a:pt x="334250" y="492003"/>
                      <a:pt x="332803" y="489991"/>
                    </a:cubicBezTo>
                    <a:lnTo>
                      <a:pt x="1446" y="27623"/>
                    </a:lnTo>
                    <a:cubicBezTo>
                      <a:pt x="233" y="25928"/>
                      <a:pt x="-249" y="23806"/>
                      <a:pt x="123" y="21739"/>
                    </a:cubicBezTo>
                    <a:cubicBezTo>
                      <a:pt x="495" y="19686"/>
                      <a:pt x="1694" y="17867"/>
                      <a:pt x="3430" y="16710"/>
                    </a:cubicBezTo>
                    <a:lnTo>
                      <a:pt x="26551" y="1291"/>
                    </a:lnTo>
                    <a:cubicBezTo>
                      <a:pt x="29996" y="-996"/>
                      <a:pt x="34625" y="-169"/>
                      <a:pt x="37051" y="3179"/>
                    </a:cubicBezTo>
                    <a:lnTo>
                      <a:pt x="252830" y="299869"/>
                    </a:lnTo>
                    <a:lnTo>
                      <a:pt x="240374" y="308935"/>
                    </a:lnTo>
                    <a:lnTo>
                      <a:pt x="28949" y="18239"/>
                    </a:lnTo>
                    <a:lnTo>
                      <a:pt x="18614" y="25129"/>
                    </a:lnTo>
                    <a:lnTo>
                      <a:pt x="343027" y="477797"/>
                    </a:lnTo>
                    <a:lnTo>
                      <a:pt x="477772" y="477797"/>
                    </a:lnTo>
                    <a:lnTo>
                      <a:pt x="477772" y="439271"/>
                    </a:lnTo>
                    <a:lnTo>
                      <a:pt x="339073" y="439271"/>
                    </a:lnTo>
                    <a:cubicBezTo>
                      <a:pt x="336606" y="439271"/>
                      <a:pt x="334292" y="438086"/>
                      <a:pt x="332845" y="436102"/>
                    </a:cubicBezTo>
                    <a:lnTo>
                      <a:pt x="276144" y="358140"/>
                    </a:lnTo>
                    <a:lnTo>
                      <a:pt x="288600" y="349073"/>
                    </a:lnTo>
                    <a:lnTo>
                      <a:pt x="342986" y="423866"/>
                    </a:lnTo>
                    <a:lnTo>
                      <a:pt x="485475" y="423866"/>
                    </a:lnTo>
                    <a:cubicBezTo>
                      <a:pt x="489733" y="423866"/>
                      <a:pt x="493177" y="427311"/>
                      <a:pt x="493177" y="431568"/>
                    </a:cubicBezTo>
                    <a:lnTo>
                      <a:pt x="493177" y="485513"/>
                    </a:lnTo>
                    <a:cubicBezTo>
                      <a:pt x="493191" y="489757"/>
                      <a:pt x="489733" y="493202"/>
                      <a:pt x="485489" y="493202"/>
                    </a:cubicBezTo>
                    <a:close/>
                  </a:path>
                </a:pathLst>
              </a:custGeom>
              <a:grpFill/>
              <a:ln w="1375" cap="flat">
                <a:noFill/>
                <a:prstDash val="solid"/>
                <a:miter/>
              </a:ln>
            </p:spPr>
            <p:txBody>
              <a:bodyPr rtlCol="0" anchor="ctr"/>
              <a:lstStyle/>
              <a:p>
                <a:endParaRPr lang="en-GB" dirty="0"/>
              </a:p>
            </p:txBody>
          </p:sp>
          <p:sp>
            <p:nvSpPr>
              <p:cNvPr id="301" name="Freihandform: Form 300">
                <a:extLst>
                  <a:ext uri="{FF2B5EF4-FFF2-40B4-BE49-F238E27FC236}">
                    <a16:creationId xmlns:a16="http://schemas.microsoft.com/office/drawing/2014/main" id="{853B27C0-2934-48F1-94AD-B49039FB3D3B}"/>
                  </a:ext>
                </a:extLst>
              </p:cNvPr>
              <p:cNvSpPr/>
              <p:nvPr/>
            </p:nvSpPr>
            <p:spPr>
              <a:xfrm>
                <a:off x="957664" y="4497440"/>
                <a:ext cx="15418" cy="53944"/>
              </a:xfrm>
              <a:custGeom>
                <a:avLst/>
                <a:gdLst>
                  <a:gd name="connsiteX0" fmla="*/ 0 w 15418"/>
                  <a:gd name="connsiteY0" fmla="*/ 0 h 53944"/>
                  <a:gd name="connsiteX1" fmla="*/ 15419 w 15418"/>
                  <a:gd name="connsiteY1" fmla="*/ 0 h 53944"/>
                  <a:gd name="connsiteX2" fmla="*/ 15419 w 15418"/>
                  <a:gd name="connsiteY2" fmla="*/ 53945 h 53944"/>
                  <a:gd name="connsiteX3" fmla="*/ 0 w 15418"/>
                  <a:gd name="connsiteY3" fmla="*/ 53945 h 53944"/>
                </a:gdLst>
                <a:ahLst/>
                <a:cxnLst>
                  <a:cxn ang="0">
                    <a:pos x="connsiteX0" y="connsiteY0"/>
                  </a:cxn>
                  <a:cxn ang="0">
                    <a:pos x="connsiteX1" y="connsiteY1"/>
                  </a:cxn>
                  <a:cxn ang="0">
                    <a:pos x="connsiteX2" y="connsiteY2"/>
                  </a:cxn>
                  <a:cxn ang="0">
                    <a:pos x="connsiteX3" y="connsiteY3"/>
                  </a:cxn>
                </a:cxnLst>
                <a:rect l="l" t="t" r="r" b="b"/>
                <a:pathLst>
                  <a:path w="15418" h="53944">
                    <a:moveTo>
                      <a:pt x="0" y="0"/>
                    </a:moveTo>
                    <a:lnTo>
                      <a:pt x="15419" y="0"/>
                    </a:lnTo>
                    <a:lnTo>
                      <a:pt x="15419" y="53945"/>
                    </a:lnTo>
                    <a:lnTo>
                      <a:pt x="0" y="53945"/>
                    </a:lnTo>
                    <a:close/>
                  </a:path>
                </a:pathLst>
              </a:custGeom>
              <a:grpFill/>
              <a:ln w="1375" cap="flat">
                <a:noFill/>
                <a:prstDash val="solid"/>
                <a:miter/>
              </a:ln>
            </p:spPr>
            <p:txBody>
              <a:bodyPr rtlCol="0" anchor="ctr"/>
              <a:lstStyle/>
              <a:p>
                <a:endParaRPr lang="en-GB" dirty="0"/>
              </a:p>
            </p:txBody>
          </p:sp>
          <p:sp>
            <p:nvSpPr>
              <p:cNvPr id="302" name="Freihandform: Form 301">
                <a:extLst>
                  <a:ext uri="{FF2B5EF4-FFF2-40B4-BE49-F238E27FC236}">
                    <a16:creationId xmlns:a16="http://schemas.microsoft.com/office/drawing/2014/main" id="{C97E2885-2255-4662-9E2C-F841485E5FFA}"/>
                  </a:ext>
                </a:extLst>
              </p:cNvPr>
              <p:cNvSpPr/>
              <p:nvPr/>
            </p:nvSpPr>
            <p:spPr>
              <a:xfrm>
                <a:off x="926840" y="4497440"/>
                <a:ext cx="15418" cy="53944"/>
              </a:xfrm>
              <a:custGeom>
                <a:avLst/>
                <a:gdLst>
                  <a:gd name="connsiteX0" fmla="*/ 0 w 15418"/>
                  <a:gd name="connsiteY0" fmla="*/ 0 h 53944"/>
                  <a:gd name="connsiteX1" fmla="*/ 15419 w 15418"/>
                  <a:gd name="connsiteY1" fmla="*/ 0 h 53944"/>
                  <a:gd name="connsiteX2" fmla="*/ 15419 w 15418"/>
                  <a:gd name="connsiteY2" fmla="*/ 53945 h 53944"/>
                  <a:gd name="connsiteX3" fmla="*/ 0 w 15418"/>
                  <a:gd name="connsiteY3" fmla="*/ 53945 h 53944"/>
                </a:gdLst>
                <a:ahLst/>
                <a:cxnLst>
                  <a:cxn ang="0">
                    <a:pos x="connsiteX0" y="connsiteY0"/>
                  </a:cxn>
                  <a:cxn ang="0">
                    <a:pos x="connsiteX1" y="connsiteY1"/>
                  </a:cxn>
                  <a:cxn ang="0">
                    <a:pos x="connsiteX2" y="connsiteY2"/>
                  </a:cxn>
                  <a:cxn ang="0">
                    <a:pos x="connsiteX3" y="connsiteY3"/>
                  </a:cxn>
                </a:cxnLst>
                <a:rect l="l" t="t" r="r" b="b"/>
                <a:pathLst>
                  <a:path w="15418" h="53944">
                    <a:moveTo>
                      <a:pt x="0" y="0"/>
                    </a:moveTo>
                    <a:lnTo>
                      <a:pt x="15419" y="0"/>
                    </a:lnTo>
                    <a:lnTo>
                      <a:pt x="15419" y="53945"/>
                    </a:lnTo>
                    <a:lnTo>
                      <a:pt x="0" y="53945"/>
                    </a:lnTo>
                    <a:close/>
                  </a:path>
                </a:pathLst>
              </a:custGeom>
              <a:grpFill/>
              <a:ln w="1375" cap="flat">
                <a:noFill/>
                <a:prstDash val="solid"/>
                <a:miter/>
              </a:ln>
            </p:spPr>
            <p:txBody>
              <a:bodyPr rtlCol="0" anchor="ctr"/>
              <a:lstStyle/>
              <a:p>
                <a:endParaRPr lang="en-GB" dirty="0"/>
              </a:p>
            </p:txBody>
          </p:sp>
          <p:sp>
            <p:nvSpPr>
              <p:cNvPr id="303" name="Freihandform: Form 302">
                <a:extLst>
                  <a:ext uri="{FF2B5EF4-FFF2-40B4-BE49-F238E27FC236}">
                    <a16:creationId xmlns:a16="http://schemas.microsoft.com/office/drawing/2014/main" id="{251E597D-2570-44A2-BB65-9829EE7A6654}"/>
                  </a:ext>
                </a:extLst>
              </p:cNvPr>
              <p:cNvSpPr/>
              <p:nvPr/>
            </p:nvSpPr>
            <p:spPr>
              <a:xfrm>
                <a:off x="896016" y="4497440"/>
                <a:ext cx="15418" cy="53944"/>
              </a:xfrm>
              <a:custGeom>
                <a:avLst/>
                <a:gdLst>
                  <a:gd name="connsiteX0" fmla="*/ 0 w 15418"/>
                  <a:gd name="connsiteY0" fmla="*/ 0 h 53944"/>
                  <a:gd name="connsiteX1" fmla="*/ 15419 w 15418"/>
                  <a:gd name="connsiteY1" fmla="*/ 0 h 53944"/>
                  <a:gd name="connsiteX2" fmla="*/ 15419 w 15418"/>
                  <a:gd name="connsiteY2" fmla="*/ 53945 h 53944"/>
                  <a:gd name="connsiteX3" fmla="*/ 0 w 15418"/>
                  <a:gd name="connsiteY3" fmla="*/ 53945 h 53944"/>
                </a:gdLst>
                <a:ahLst/>
                <a:cxnLst>
                  <a:cxn ang="0">
                    <a:pos x="connsiteX0" y="connsiteY0"/>
                  </a:cxn>
                  <a:cxn ang="0">
                    <a:pos x="connsiteX1" y="connsiteY1"/>
                  </a:cxn>
                  <a:cxn ang="0">
                    <a:pos x="connsiteX2" y="connsiteY2"/>
                  </a:cxn>
                  <a:cxn ang="0">
                    <a:pos x="connsiteX3" y="connsiteY3"/>
                  </a:cxn>
                </a:cxnLst>
                <a:rect l="l" t="t" r="r" b="b"/>
                <a:pathLst>
                  <a:path w="15418" h="53944">
                    <a:moveTo>
                      <a:pt x="0" y="0"/>
                    </a:moveTo>
                    <a:lnTo>
                      <a:pt x="15419" y="0"/>
                    </a:lnTo>
                    <a:lnTo>
                      <a:pt x="15419" y="53945"/>
                    </a:lnTo>
                    <a:lnTo>
                      <a:pt x="0" y="53945"/>
                    </a:lnTo>
                    <a:close/>
                  </a:path>
                </a:pathLst>
              </a:custGeom>
              <a:grpFill/>
              <a:ln w="1375" cap="flat">
                <a:noFill/>
                <a:prstDash val="solid"/>
                <a:miter/>
              </a:ln>
            </p:spPr>
            <p:txBody>
              <a:bodyPr rtlCol="0" anchor="ctr"/>
              <a:lstStyle/>
              <a:p>
                <a:endParaRPr lang="en-GB" dirty="0"/>
              </a:p>
            </p:txBody>
          </p:sp>
          <p:sp>
            <p:nvSpPr>
              <p:cNvPr id="304" name="Freihandform: Form 303">
                <a:extLst>
                  <a:ext uri="{FF2B5EF4-FFF2-40B4-BE49-F238E27FC236}">
                    <a16:creationId xmlns:a16="http://schemas.microsoft.com/office/drawing/2014/main" id="{37F26CF6-48FD-487A-8FA8-51B75A774561}"/>
                  </a:ext>
                </a:extLst>
              </p:cNvPr>
              <p:cNvSpPr/>
              <p:nvPr/>
            </p:nvSpPr>
            <p:spPr>
              <a:xfrm>
                <a:off x="865193" y="4497440"/>
                <a:ext cx="15418" cy="53944"/>
              </a:xfrm>
              <a:custGeom>
                <a:avLst/>
                <a:gdLst>
                  <a:gd name="connsiteX0" fmla="*/ 0 w 15418"/>
                  <a:gd name="connsiteY0" fmla="*/ 0 h 53944"/>
                  <a:gd name="connsiteX1" fmla="*/ 15419 w 15418"/>
                  <a:gd name="connsiteY1" fmla="*/ 0 h 53944"/>
                  <a:gd name="connsiteX2" fmla="*/ 15419 w 15418"/>
                  <a:gd name="connsiteY2" fmla="*/ 53945 h 53944"/>
                  <a:gd name="connsiteX3" fmla="*/ 0 w 15418"/>
                  <a:gd name="connsiteY3" fmla="*/ 53945 h 53944"/>
                </a:gdLst>
                <a:ahLst/>
                <a:cxnLst>
                  <a:cxn ang="0">
                    <a:pos x="connsiteX0" y="connsiteY0"/>
                  </a:cxn>
                  <a:cxn ang="0">
                    <a:pos x="connsiteX1" y="connsiteY1"/>
                  </a:cxn>
                  <a:cxn ang="0">
                    <a:pos x="connsiteX2" y="connsiteY2"/>
                  </a:cxn>
                  <a:cxn ang="0">
                    <a:pos x="connsiteX3" y="connsiteY3"/>
                  </a:cxn>
                </a:cxnLst>
                <a:rect l="l" t="t" r="r" b="b"/>
                <a:pathLst>
                  <a:path w="15418" h="53944">
                    <a:moveTo>
                      <a:pt x="0" y="0"/>
                    </a:moveTo>
                    <a:lnTo>
                      <a:pt x="15419" y="0"/>
                    </a:lnTo>
                    <a:lnTo>
                      <a:pt x="15419" y="53945"/>
                    </a:lnTo>
                    <a:lnTo>
                      <a:pt x="0" y="53945"/>
                    </a:lnTo>
                    <a:close/>
                  </a:path>
                </a:pathLst>
              </a:custGeom>
              <a:grpFill/>
              <a:ln w="1375" cap="flat">
                <a:noFill/>
                <a:prstDash val="solid"/>
                <a:miter/>
              </a:ln>
            </p:spPr>
            <p:txBody>
              <a:bodyPr rtlCol="0" anchor="ctr"/>
              <a:lstStyle/>
              <a:p>
                <a:endParaRPr lang="en-GB" dirty="0"/>
              </a:p>
            </p:txBody>
          </p:sp>
          <p:sp>
            <p:nvSpPr>
              <p:cNvPr id="305" name="Freihandform: Form 304">
                <a:extLst>
                  <a:ext uri="{FF2B5EF4-FFF2-40B4-BE49-F238E27FC236}">
                    <a16:creationId xmlns:a16="http://schemas.microsoft.com/office/drawing/2014/main" id="{14B7E694-58D6-4203-AF95-601931D68C7E}"/>
                  </a:ext>
                </a:extLst>
              </p:cNvPr>
              <p:cNvSpPr/>
              <p:nvPr/>
            </p:nvSpPr>
            <p:spPr>
              <a:xfrm rot="-2021499">
                <a:off x="554571" y="4127470"/>
                <a:ext cx="27777" cy="15404"/>
              </a:xfrm>
              <a:custGeom>
                <a:avLst/>
                <a:gdLst>
                  <a:gd name="connsiteX0" fmla="*/ 0 w 27777"/>
                  <a:gd name="connsiteY0" fmla="*/ 0 h 15404"/>
                  <a:gd name="connsiteX1" fmla="*/ 27777 w 27777"/>
                  <a:gd name="connsiteY1" fmla="*/ 0 h 15404"/>
                  <a:gd name="connsiteX2" fmla="*/ 27777 w 27777"/>
                  <a:gd name="connsiteY2" fmla="*/ 15404 h 15404"/>
                  <a:gd name="connsiteX3" fmla="*/ 0 w 27777"/>
                  <a:gd name="connsiteY3" fmla="*/ 15404 h 15404"/>
                </a:gdLst>
                <a:ahLst/>
                <a:cxnLst>
                  <a:cxn ang="0">
                    <a:pos x="connsiteX0" y="connsiteY0"/>
                  </a:cxn>
                  <a:cxn ang="0">
                    <a:pos x="connsiteX1" y="connsiteY1"/>
                  </a:cxn>
                  <a:cxn ang="0">
                    <a:pos x="connsiteX2" y="connsiteY2"/>
                  </a:cxn>
                  <a:cxn ang="0">
                    <a:pos x="connsiteX3" y="connsiteY3"/>
                  </a:cxn>
                </a:cxnLst>
                <a:rect l="l" t="t" r="r" b="b"/>
                <a:pathLst>
                  <a:path w="27777" h="15404">
                    <a:moveTo>
                      <a:pt x="0" y="0"/>
                    </a:moveTo>
                    <a:lnTo>
                      <a:pt x="27777" y="0"/>
                    </a:lnTo>
                    <a:lnTo>
                      <a:pt x="27777" y="15404"/>
                    </a:lnTo>
                    <a:lnTo>
                      <a:pt x="0" y="15404"/>
                    </a:lnTo>
                    <a:close/>
                  </a:path>
                </a:pathLst>
              </a:custGeom>
              <a:grpFill/>
              <a:ln w="1375" cap="flat">
                <a:noFill/>
                <a:prstDash val="solid"/>
                <a:miter/>
              </a:ln>
            </p:spPr>
            <p:txBody>
              <a:bodyPr rtlCol="0" anchor="ctr"/>
              <a:lstStyle/>
              <a:p>
                <a:endParaRPr lang="en-GB" dirty="0"/>
              </a:p>
            </p:txBody>
          </p:sp>
        </p:grpSp>
      </p:grpSp>
      <p:grpSp>
        <p:nvGrpSpPr>
          <p:cNvPr id="671" name="Gruppieren 670">
            <a:extLst>
              <a:ext uri="{FF2B5EF4-FFF2-40B4-BE49-F238E27FC236}">
                <a16:creationId xmlns:a16="http://schemas.microsoft.com/office/drawing/2014/main" id="{D0BA2373-3442-4E38-A5C6-CA9359D81A99}"/>
              </a:ext>
            </a:extLst>
          </p:cNvPr>
          <p:cNvGrpSpPr>
            <a:grpSpLocks noChangeAspect="1"/>
          </p:cNvGrpSpPr>
          <p:nvPr/>
        </p:nvGrpSpPr>
        <p:grpSpPr>
          <a:xfrm>
            <a:off x="3777386" y="2449341"/>
            <a:ext cx="493716" cy="432000"/>
            <a:chOff x="3778063" y="2493875"/>
            <a:chExt cx="493192" cy="431544"/>
          </a:xfrm>
        </p:grpSpPr>
        <p:grpSp>
          <p:nvGrpSpPr>
            <p:cNvPr id="669" name="Gruppieren 668">
              <a:extLst>
                <a:ext uri="{FF2B5EF4-FFF2-40B4-BE49-F238E27FC236}">
                  <a16:creationId xmlns:a16="http://schemas.microsoft.com/office/drawing/2014/main" id="{0949F932-0775-4EC9-91AA-C6D2FED7C976}"/>
                </a:ext>
              </a:extLst>
            </p:cNvPr>
            <p:cNvGrpSpPr/>
            <p:nvPr/>
          </p:nvGrpSpPr>
          <p:grpSpPr>
            <a:xfrm>
              <a:off x="3785779" y="2617169"/>
              <a:ext cx="477759" cy="184955"/>
              <a:chOff x="3785779" y="2617169"/>
              <a:chExt cx="477759" cy="184955"/>
            </a:xfrm>
          </p:grpSpPr>
          <p:sp>
            <p:nvSpPr>
              <p:cNvPr id="311" name="Freihandform: Form 310">
                <a:extLst>
                  <a:ext uri="{FF2B5EF4-FFF2-40B4-BE49-F238E27FC236}">
                    <a16:creationId xmlns:a16="http://schemas.microsoft.com/office/drawing/2014/main" id="{EE32F9B4-1CD8-454D-9923-0E5FE8A327EE}"/>
                  </a:ext>
                </a:extLst>
              </p:cNvPr>
              <p:cNvSpPr/>
              <p:nvPr/>
            </p:nvSpPr>
            <p:spPr>
              <a:xfrm>
                <a:off x="3785779" y="2617169"/>
                <a:ext cx="84754" cy="184955"/>
              </a:xfrm>
              <a:custGeom>
                <a:avLst/>
                <a:gdLst>
                  <a:gd name="connsiteX0" fmla="*/ 84755 w 84754"/>
                  <a:gd name="connsiteY0" fmla="*/ 184956 h 184955"/>
                  <a:gd name="connsiteX1" fmla="*/ 0 w 84754"/>
                  <a:gd name="connsiteY1" fmla="*/ 184956 h 184955"/>
                  <a:gd name="connsiteX2" fmla="*/ 0 w 84754"/>
                  <a:gd name="connsiteY2" fmla="*/ 169537 h 184955"/>
                  <a:gd name="connsiteX3" fmla="*/ 69350 w 84754"/>
                  <a:gd name="connsiteY3" fmla="*/ 169537 h 184955"/>
                  <a:gd name="connsiteX4" fmla="*/ 69350 w 84754"/>
                  <a:gd name="connsiteY4" fmla="*/ 15419 h 184955"/>
                  <a:gd name="connsiteX5" fmla="*/ 0 w 84754"/>
                  <a:gd name="connsiteY5" fmla="*/ 15419 h 184955"/>
                  <a:gd name="connsiteX6" fmla="*/ 0 w 84754"/>
                  <a:gd name="connsiteY6" fmla="*/ 0 h 184955"/>
                  <a:gd name="connsiteX7" fmla="*/ 84755 w 84754"/>
                  <a:gd name="connsiteY7" fmla="*/ 0 h 184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54" h="184955">
                    <a:moveTo>
                      <a:pt x="84755" y="184956"/>
                    </a:moveTo>
                    <a:lnTo>
                      <a:pt x="0" y="184956"/>
                    </a:lnTo>
                    <a:lnTo>
                      <a:pt x="0" y="169537"/>
                    </a:lnTo>
                    <a:lnTo>
                      <a:pt x="69350" y="169537"/>
                    </a:lnTo>
                    <a:lnTo>
                      <a:pt x="69350" y="15419"/>
                    </a:lnTo>
                    <a:lnTo>
                      <a:pt x="0" y="15419"/>
                    </a:lnTo>
                    <a:lnTo>
                      <a:pt x="0" y="0"/>
                    </a:lnTo>
                    <a:lnTo>
                      <a:pt x="84755" y="0"/>
                    </a:lnTo>
                    <a:close/>
                  </a:path>
                </a:pathLst>
              </a:custGeom>
              <a:solidFill>
                <a:schemeClr val="accent1"/>
              </a:solidFill>
              <a:ln w="1375" cap="flat">
                <a:noFill/>
                <a:prstDash val="solid"/>
                <a:miter/>
              </a:ln>
            </p:spPr>
            <p:txBody>
              <a:bodyPr rtlCol="0" anchor="ctr"/>
              <a:lstStyle/>
              <a:p>
                <a:endParaRPr lang="en-GB" dirty="0"/>
              </a:p>
            </p:txBody>
          </p:sp>
          <p:sp>
            <p:nvSpPr>
              <p:cNvPr id="314" name="Freihandform: Form 313">
                <a:extLst>
                  <a:ext uri="{FF2B5EF4-FFF2-40B4-BE49-F238E27FC236}">
                    <a16:creationId xmlns:a16="http://schemas.microsoft.com/office/drawing/2014/main" id="{1862716B-85BC-4058-A0BF-9AE3CF9D8CAB}"/>
                  </a:ext>
                </a:extLst>
              </p:cNvPr>
              <p:cNvSpPr/>
              <p:nvPr/>
            </p:nvSpPr>
            <p:spPr>
              <a:xfrm>
                <a:off x="4178784" y="2617169"/>
                <a:ext cx="84754" cy="184955"/>
              </a:xfrm>
              <a:custGeom>
                <a:avLst/>
                <a:gdLst>
                  <a:gd name="connsiteX0" fmla="*/ 84754 w 84754"/>
                  <a:gd name="connsiteY0" fmla="*/ 184956 h 184955"/>
                  <a:gd name="connsiteX1" fmla="*/ 0 w 84754"/>
                  <a:gd name="connsiteY1" fmla="*/ 184956 h 184955"/>
                  <a:gd name="connsiteX2" fmla="*/ 0 w 84754"/>
                  <a:gd name="connsiteY2" fmla="*/ 0 h 184955"/>
                  <a:gd name="connsiteX3" fmla="*/ 84754 w 84754"/>
                  <a:gd name="connsiteY3" fmla="*/ 0 h 184955"/>
                  <a:gd name="connsiteX4" fmla="*/ 84754 w 84754"/>
                  <a:gd name="connsiteY4" fmla="*/ 15419 h 184955"/>
                  <a:gd name="connsiteX5" fmla="*/ 15405 w 84754"/>
                  <a:gd name="connsiteY5" fmla="*/ 15419 h 184955"/>
                  <a:gd name="connsiteX6" fmla="*/ 15405 w 84754"/>
                  <a:gd name="connsiteY6" fmla="*/ 169537 h 184955"/>
                  <a:gd name="connsiteX7" fmla="*/ 84754 w 84754"/>
                  <a:gd name="connsiteY7" fmla="*/ 169537 h 184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754" h="184955">
                    <a:moveTo>
                      <a:pt x="84754" y="184956"/>
                    </a:moveTo>
                    <a:lnTo>
                      <a:pt x="0" y="184956"/>
                    </a:lnTo>
                    <a:lnTo>
                      <a:pt x="0" y="0"/>
                    </a:lnTo>
                    <a:lnTo>
                      <a:pt x="84754" y="0"/>
                    </a:lnTo>
                    <a:lnTo>
                      <a:pt x="84754" y="15419"/>
                    </a:lnTo>
                    <a:lnTo>
                      <a:pt x="15405" y="15419"/>
                    </a:lnTo>
                    <a:lnTo>
                      <a:pt x="15405" y="169537"/>
                    </a:lnTo>
                    <a:lnTo>
                      <a:pt x="84754" y="169537"/>
                    </a:lnTo>
                    <a:close/>
                  </a:path>
                </a:pathLst>
              </a:custGeom>
              <a:solidFill>
                <a:schemeClr val="accent1"/>
              </a:solidFill>
              <a:ln w="1375" cap="flat">
                <a:noFill/>
                <a:prstDash val="solid"/>
                <a:miter/>
              </a:ln>
            </p:spPr>
            <p:txBody>
              <a:bodyPr rtlCol="0" anchor="ctr"/>
              <a:lstStyle/>
              <a:p>
                <a:endParaRPr lang="en-GB" dirty="0"/>
              </a:p>
            </p:txBody>
          </p:sp>
          <p:sp>
            <p:nvSpPr>
              <p:cNvPr id="320" name="Freihandform: Form 319">
                <a:extLst>
                  <a:ext uri="{FF2B5EF4-FFF2-40B4-BE49-F238E27FC236}">
                    <a16:creationId xmlns:a16="http://schemas.microsoft.com/office/drawing/2014/main" id="{DF0C3F0A-C1A5-4038-9000-B0731530A1A6}"/>
                  </a:ext>
                </a:extLst>
              </p:cNvPr>
              <p:cNvSpPr/>
              <p:nvPr/>
            </p:nvSpPr>
            <p:spPr>
              <a:xfrm>
                <a:off x="3947586" y="2632574"/>
                <a:ext cx="154131" cy="154132"/>
              </a:xfrm>
              <a:custGeom>
                <a:avLst/>
                <a:gdLst>
                  <a:gd name="connsiteX0" fmla="*/ 77066 w 154131"/>
                  <a:gd name="connsiteY0" fmla="*/ 154132 h 154132"/>
                  <a:gd name="connsiteX1" fmla="*/ 0 w 154131"/>
                  <a:gd name="connsiteY1" fmla="*/ 77066 h 154132"/>
                  <a:gd name="connsiteX2" fmla="*/ 77066 w 154131"/>
                  <a:gd name="connsiteY2" fmla="*/ 0 h 154132"/>
                  <a:gd name="connsiteX3" fmla="*/ 154132 w 154131"/>
                  <a:gd name="connsiteY3" fmla="*/ 77066 h 154132"/>
                  <a:gd name="connsiteX4" fmla="*/ 77066 w 154131"/>
                  <a:gd name="connsiteY4" fmla="*/ 154132 h 154132"/>
                  <a:gd name="connsiteX5" fmla="*/ 77066 w 154131"/>
                  <a:gd name="connsiteY5" fmla="*/ 15432 h 154132"/>
                  <a:gd name="connsiteX6" fmla="*/ 15419 w 154131"/>
                  <a:gd name="connsiteY6" fmla="*/ 77080 h 154132"/>
                  <a:gd name="connsiteX7" fmla="*/ 77066 w 154131"/>
                  <a:gd name="connsiteY7" fmla="*/ 138727 h 154132"/>
                  <a:gd name="connsiteX8" fmla="*/ 138713 w 154131"/>
                  <a:gd name="connsiteY8" fmla="*/ 77080 h 154132"/>
                  <a:gd name="connsiteX9" fmla="*/ 77066 w 154131"/>
                  <a:gd name="connsiteY9" fmla="*/ 15432 h 154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131" h="154132">
                    <a:moveTo>
                      <a:pt x="77066" y="154132"/>
                    </a:moveTo>
                    <a:cubicBezTo>
                      <a:pt x="34571" y="154132"/>
                      <a:pt x="0" y="119560"/>
                      <a:pt x="0" y="77066"/>
                    </a:cubicBezTo>
                    <a:cubicBezTo>
                      <a:pt x="0" y="34572"/>
                      <a:pt x="34571" y="0"/>
                      <a:pt x="77066" y="0"/>
                    </a:cubicBezTo>
                    <a:cubicBezTo>
                      <a:pt x="119561" y="0"/>
                      <a:pt x="154132" y="34572"/>
                      <a:pt x="154132" y="77066"/>
                    </a:cubicBezTo>
                    <a:cubicBezTo>
                      <a:pt x="154132" y="119574"/>
                      <a:pt x="119561" y="154132"/>
                      <a:pt x="77066" y="154132"/>
                    </a:cubicBezTo>
                    <a:close/>
                    <a:moveTo>
                      <a:pt x="77066" y="15432"/>
                    </a:moveTo>
                    <a:cubicBezTo>
                      <a:pt x="43073" y="15432"/>
                      <a:pt x="15419" y="43087"/>
                      <a:pt x="15419" y="77080"/>
                    </a:cubicBezTo>
                    <a:cubicBezTo>
                      <a:pt x="15419" y="111073"/>
                      <a:pt x="43073" y="138727"/>
                      <a:pt x="77066" y="138727"/>
                    </a:cubicBezTo>
                    <a:cubicBezTo>
                      <a:pt x="111059" y="138727"/>
                      <a:pt x="138713" y="111073"/>
                      <a:pt x="138713" y="77080"/>
                    </a:cubicBezTo>
                    <a:cubicBezTo>
                      <a:pt x="138713" y="43087"/>
                      <a:pt x="111059" y="15432"/>
                      <a:pt x="77066" y="15432"/>
                    </a:cubicBezTo>
                    <a:close/>
                  </a:path>
                </a:pathLst>
              </a:custGeom>
              <a:solidFill>
                <a:schemeClr val="accent1"/>
              </a:solidFill>
              <a:ln w="1375" cap="flat">
                <a:noFill/>
                <a:prstDash val="solid"/>
                <a:miter/>
              </a:ln>
            </p:spPr>
            <p:txBody>
              <a:bodyPr rtlCol="0" anchor="ctr"/>
              <a:lstStyle/>
              <a:p>
                <a:endParaRPr lang="en-GB" dirty="0"/>
              </a:p>
            </p:txBody>
          </p:sp>
        </p:grpSp>
        <p:grpSp>
          <p:nvGrpSpPr>
            <p:cNvPr id="670" name="Gruppieren 669">
              <a:extLst>
                <a:ext uri="{FF2B5EF4-FFF2-40B4-BE49-F238E27FC236}">
                  <a16:creationId xmlns:a16="http://schemas.microsoft.com/office/drawing/2014/main" id="{E1ED33F9-2E55-4127-9DE3-B6E04823ADEC}"/>
                </a:ext>
              </a:extLst>
            </p:cNvPr>
            <p:cNvGrpSpPr/>
            <p:nvPr/>
          </p:nvGrpSpPr>
          <p:grpSpPr>
            <a:xfrm>
              <a:off x="3778063" y="2493875"/>
              <a:ext cx="493192" cy="431544"/>
              <a:chOff x="3778063" y="2493875"/>
              <a:chExt cx="493192" cy="431544"/>
            </a:xfrm>
          </p:grpSpPr>
          <p:sp>
            <p:nvSpPr>
              <p:cNvPr id="308" name="Freihandform: Form 307">
                <a:extLst>
                  <a:ext uri="{FF2B5EF4-FFF2-40B4-BE49-F238E27FC236}">
                    <a16:creationId xmlns:a16="http://schemas.microsoft.com/office/drawing/2014/main" id="{3E3F7FD8-F3D8-4238-8D53-5AB604E90080}"/>
                  </a:ext>
                </a:extLst>
              </p:cNvPr>
              <p:cNvSpPr/>
              <p:nvPr/>
            </p:nvSpPr>
            <p:spPr>
              <a:xfrm>
                <a:off x="3778077" y="2524698"/>
                <a:ext cx="493178" cy="369897"/>
              </a:xfrm>
              <a:custGeom>
                <a:avLst/>
                <a:gdLst>
                  <a:gd name="connsiteX0" fmla="*/ 493178 w 493178"/>
                  <a:gd name="connsiteY0" fmla="*/ 369898 h 369897"/>
                  <a:gd name="connsiteX1" fmla="*/ 0 w 493178"/>
                  <a:gd name="connsiteY1" fmla="*/ 369898 h 369897"/>
                  <a:gd name="connsiteX2" fmla="*/ 0 w 493178"/>
                  <a:gd name="connsiteY2" fmla="*/ 0 h 369897"/>
                  <a:gd name="connsiteX3" fmla="*/ 493178 w 493178"/>
                  <a:gd name="connsiteY3" fmla="*/ 0 h 369897"/>
                  <a:gd name="connsiteX4" fmla="*/ 493178 w 493178"/>
                  <a:gd name="connsiteY4" fmla="*/ 369898 h 369897"/>
                  <a:gd name="connsiteX5" fmla="*/ 15405 w 493178"/>
                  <a:gd name="connsiteY5" fmla="*/ 354479 h 369897"/>
                  <a:gd name="connsiteX6" fmla="*/ 477760 w 493178"/>
                  <a:gd name="connsiteY6" fmla="*/ 354479 h 369897"/>
                  <a:gd name="connsiteX7" fmla="*/ 477760 w 493178"/>
                  <a:gd name="connsiteY7" fmla="*/ 15419 h 369897"/>
                  <a:gd name="connsiteX8" fmla="*/ 15405 w 493178"/>
                  <a:gd name="connsiteY8" fmla="*/ 15419 h 369897"/>
                  <a:gd name="connsiteX9" fmla="*/ 15405 w 493178"/>
                  <a:gd name="connsiteY9" fmla="*/ 354479 h 369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3178" h="369897">
                    <a:moveTo>
                      <a:pt x="493178" y="369898"/>
                    </a:moveTo>
                    <a:lnTo>
                      <a:pt x="0" y="369898"/>
                    </a:lnTo>
                    <a:lnTo>
                      <a:pt x="0" y="0"/>
                    </a:lnTo>
                    <a:lnTo>
                      <a:pt x="493178" y="0"/>
                    </a:lnTo>
                    <a:lnTo>
                      <a:pt x="493178" y="369898"/>
                    </a:lnTo>
                    <a:close/>
                    <a:moveTo>
                      <a:pt x="15405" y="354479"/>
                    </a:moveTo>
                    <a:lnTo>
                      <a:pt x="477760" y="354479"/>
                    </a:lnTo>
                    <a:lnTo>
                      <a:pt x="477760" y="15419"/>
                    </a:lnTo>
                    <a:lnTo>
                      <a:pt x="15405" y="15419"/>
                    </a:lnTo>
                    <a:lnTo>
                      <a:pt x="15405" y="354479"/>
                    </a:lnTo>
                    <a:close/>
                  </a:path>
                </a:pathLst>
              </a:custGeom>
              <a:solidFill>
                <a:schemeClr val="tx2"/>
              </a:solidFill>
              <a:ln w="1375" cap="flat">
                <a:noFill/>
                <a:prstDash val="solid"/>
                <a:miter/>
              </a:ln>
            </p:spPr>
            <p:txBody>
              <a:bodyPr rtlCol="0" anchor="ctr"/>
              <a:lstStyle/>
              <a:p>
                <a:endParaRPr lang="en-GB" dirty="0"/>
              </a:p>
            </p:txBody>
          </p:sp>
          <p:sp>
            <p:nvSpPr>
              <p:cNvPr id="309" name="Freihandform: Form 308">
                <a:extLst>
                  <a:ext uri="{FF2B5EF4-FFF2-40B4-BE49-F238E27FC236}">
                    <a16:creationId xmlns:a16="http://schemas.microsoft.com/office/drawing/2014/main" id="{D70F0AD1-5CF7-4422-AAA7-EC9DC67809C8}"/>
                  </a:ext>
                </a:extLst>
              </p:cNvPr>
              <p:cNvSpPr/>
              <p:nvPr/>
            </p:nvSpPr>
            <p:spPr>
              <a:xfrm>
                <a:off x="4016949" y="2732761"/>
                <a:ext cx="15418" cy="154118"/>
              </a:xfrm>
              <a:custGeom>
                <a:avLst/>
                <a:gdLst>
                  <a:gd name="connsiteX0" fmla="*/ 0 w 15418"/>
                  <a:gd name="connsiteY0" fmla="*/ 0 h 154118"/>
                  <a:gd name="connsiteX1" fmla="*/ 15419 w 15418"/>
                  <a:gd name="connsiteY1" fmla="*/ 0 h 154118"/>
                  <a:gd name="connsiteX2" fmla="*/ 15419 w 15418"/>
                  <a:gd name="connsiteY2" fmla="*/ 154118 h 154118"/>
                  <a:gd name="connsiteX3" fmla="*/ 0 w 15418"/>
                  <a:gd name="connsiteY3" fmla="*/ 154118 h 154118"/>
                </a:gdLst>
                <a:ahLst/>
                <a:cxnLst>
                  <a:cxn ang="0">
                    <a:pos x="connsiteX0" y="connsiteY0"/>
                  </a:cxn>
                  <a:cxn ang="0">
                    <a:pos x="connsiteX1" y="connsiteY1"/>
                  </a:cxn>
                  <a:cxn ang="0">
                    <a:pos x="connsiteX2" y="connsiteY2"/>
                  </a:cxn>
                  <a:cxn ang="0">
                    <a:pos x="connsiteX3" y="connsiteY3"/>
                  </a:cxn>
                </a:cxnLst>
                <a:rect l="l" t="t" r="r" b="b"/>
                <a:pathLst>
                  <a:path w="15418" h="154118">
                    <a:moveTo>
                      <a:pt x="0" y="0"/>
                    </a:moveTo>
                    <a:lnTo>
                      <a:pt x="15419" y="0"/>
                    </a:lnTo>
                    <a:lnTo>
                      <a:pt x="15419" y="154118"/>
                    </a:lnTo>
                    <a:lnTo>
                      <a:pt x="0" y="154118"/>
                    </a:lnTo>
                    <a:close/>
                  </a:path>
                </a:pathLst>
              </a:custGeom>
              <a:solidFill>
                <a:schemeClr val="tx2"/>
              </a:solidFill>
              <a:ln w="1375" cap="flat">
                <a:noFill/>
                <a:prstDash val="solid"/>
                <a:miter/>
              </a:ln>
            </p:spPr>
            <p:txBody>
              <a:bodyPr rtlCol="0" anchor="ctr"/>
              <a:lstStyle/>
              <a:p>
                <a:endParaRPr lang="en-GB" dirty="0"/>
              </a:p>
            </p:txBody>
          </p:sp>
          <p:sp>
            <p:nvSpPr>
              <p:cNvPr id="310" name="Freihandform: Form 309">
                <a:extLst>
                  <a:ext uri="{FF2B5EF4-FFF2-40B4-BE49-F238E27FC236}">
                    <a16:creationId xmlns:a16="http://schemas.microsoft.com/office/drawing/2014/main" id="{A1AAD28C-A056-4425-B8D3-F979E0B97F81}"/>
                  </a:ext>
                </a:extLst>
              </p:cNvPr>
              <p:cNvSpPr/>
              <p:nvPr/>
            </p:nvSpPr>
            <p:spPr>
              <a:xfrm>
                <a:off x="4016949" y="2532414"/>
                <a:ext cx="15418" cy="154118"/>
              </a:xfrm>
              <a:custGeom>
                <a:avLst/>
                <a:gdLst>
                  <a:gd name="connsiteX0" fmla="*/ 0 w 15418"/>
                  <a:gd name="connsiteY0" fmla="*/ 0 h 154118"/>
                  <a:gd name="connsiteX1" fmla="*/ 15419 w 15418"/>
                  <a:gd name="connsiteY1" fmla="*/ 0 h 154118"/>
                  <a:gd name="connsiteX2" fmla="*/ 15419 w 15418"/>
                  <a:gd name="connsiteY2" fmla="*/ 154118 h 154118"/>
                  <a:gd name="connsiteX3" fmla="*/ 0 w 15418"/>
                  <a:gd name="connsiteY3" fmla="*/ 154118 h 154118"/>
                </a:gdLst>
                <a:ahLst/>
                <a:cxnLst>
                  <a:cxn ang="0">
                    <a:pos x="connsiteX0" y="connsiteY0"/>
                  </a:cxn>
                  <a:cxn ang="0">
                    <a:pos x="connsiteX1" y="connsiteY1"/>
                  </a:cxn>
                  <a:cxn ang="0">
                    <a:pos x="connsiteX2" y="connsiteY2"/>
                  </a:cxn>
                  <a:cxn ang="0">
                    <a:pos x="connsiteX3" y="connsiteY3"/>
                  </a:cxn>
                </a:cxnLst>
                <a:rect l="l" t="t" r="r" b="b"/>
                <a:pathLst>
                  <a:path w="15418" h="154118">
                    <a:moveTo>
                      <a:pt x="0" y="0"/>
                    </a:moveTo>
                    <a:lnTo>
                      <a:pt x="15419" y="0"/>
                    </a:lnTo>
                    <a:lnTo>
                      <a:pt x="15419" y="154118"/>
                    </a:lnTo>
                    <a:lnTo>
                      <a:pt x="0" y="154118"/>
                    </a:lnTo>
                    <a:close/>
                  </a:path>
                </a:pathLst>
              </a:custGeom>
              <a:solidFill>
                <a:schemeClr val="tx2"/>
              </a:solidFill>
              <a:ln w="1375" cap="flat">
                <a:noFill/>
                <a:prstDash val="solid"/>
                <a:miter/>
              </a:ln>
            </p:spPr>
            <p:txBody>
              <a:bodyPr rtlCol="0" anchor="ctr"/>
              <a:lstStyle/>
              <a:p>
                <a:endParaRPr lang="en-GB" dirty="0"/>
              </a:p>
            </p:txBody>
          </p:sp>
          <p:sp>
            <p:nvSpPr>
              <p:cNvPr id="312" name="Freihandform: Form 311">
                <a:extLst>
                  <a:ext uri="{FF2B5EF4-FFF2-40B4-BE49-F238E27FC236}">
                    <a16:creationId xmlns:a16="http://schemas.microsoft.com/office/drawing/2014/main" id="{075F72A2-7D61-49B6-A3D7-577C2F346A98}"/>
                  </a:ext>
                </a:extLst>
              </p:cNvPr>
              <p:cNvSpPr/>
              <p:nvPr/>
            </p:nvSpPr>
            <p:spPr>
              <a:xfrm>
                <a:off x="4016949" y="2701938"/>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13" name="Freihandform: Form 312">
                <a:extLst>
                  <a:ext uri="{FF2B5EF4-FFF2-40B4-BE49-F238E27FC236}">
                    <a16:creationId xmlns:a16="http://schemas.microsoft.com/office/drawing/2014/main" id="{754DB83C-5A79-4D35-9E86-D0C2B28F3F42}"/>
                  </a:ext>
                </a:extLst>
              </p:cNvPr>
              <p:cNvSpPr/>
              <p:nvPr/>
            </p:nvSpPr>
            <p:spPr>
              <a:xfrm>
                <a:off x="3785779" y="2663412"/>
                <a:ext cx="38526" cy="92470"/>
              </a:xfrm>
              <a:custGeom>
                <a:avLst/>
                <a:gdLst>
                  <a:gd name="connsiteX0" fmla="*/ 38526 w 38526"/>
                  <a:gd name="connsiteY0" fmla="*/ 92471 h 92470"/>
                  <a:gd name="connsiteX1" fmla="*/ 0 w 38526"/>
                  <a:gd name="connsiteY1" fmla="*/ 92471 h 92470"/>
                  <a:gd name="connsiteX2" fmla="*/ 0 w 38526"/>
                  <a:gd name="connsiteY2" fmla="*/ 77052 h 92470"/>
                  <a:gd name="connsiteX3" fmla="*/ 23107 w 38526"/>
                  <a:gd name="connsiteY3" fmla="*/ 77052 h 92470"/>
                  <a:gd name="connsiteX4" fmla="*/ 23107 w 38526"/>
                  <a:gd name="connsiteY4" fmla="*/ 15405 h 92470"/>
                  <a:gd name="connsiteX5" fmla="*/ 0 w 38526"/>
                  <a:gd name="connsiteY5" fmla="*/ 15405 h 92470"/>
                  <a:gd name="connsiteX6" fmla="*/ 0 w 38526"/>
                  <a:gd name="connsiteY6" fmla="*/ 0 h 92470"/>
                  <a:gd name="connsiteX7" fmla="*/ 38526 w 38526"/>
                  <a:gd name="connsiteY7" fmla="*/ 0 h 92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26" h="92470">
                    <a:moveTo>
                      <a:pt x="38526" y="92471"/>
                    </a:moveTo>
                    <a:lnTo>
                      <a:pt x="0" y="92471"/>
                    </a:lnTo>
                    <a:lnTo>
                      <a:pt x="0" y="77052"/>
                    </a:lnTo>
                    <a:lnTo>
                      <a:pt x="23107" y="77052"/>
                    </a:lnTo>
                    <a:lnTo>
                      <a:pt x="23107" y="15405"/>
                    </a:lnTo>
                    <a:lnTo>
                      <a:pt x="0" y="15405"/>
                    </a:lnTo>
                    <a:lnTo>
                      <a:pt x="0" y="0"/>
                    </a:lnTo>
                    <a:lnTo>
                      <a:pt x="38526" y="0"/>
                    </a:lnTo>
                    <a:close/>
                  </a:path>
                </a:pathLst>
              </a:custGeom>
              <a:solidFill>
                <a:schemeClr val="tx2"/>
              </a:solidFill>
              <a:ln w="1375" cap="flat">
                <a:noFill/>
                <a:prstDash val="solid"/>
                <a:miter/>
              </a:ln>
            </p:spPr>
            <p:txBody>
              <a:bodyPr rtlCol="0" anchor="ctr"/>
              <a:lstStyle/>
              <a:p>
                <a:endParaRPr lang="en-GB" dirty="0"/>
              </a:p>
            </p:txBody>
          </p:sp>
          <p:sp>
            <p:nvSpPr>
              <p:cNvPr id="315" name="Freihandform: Form 314">
                <a:extLst>
                  <a:ext uri="{FF2B5EF4-FFF2-40B4-BE49-F238E27FC236}">
                    <a16:creationId xmlns:a16="http://schemas.microsoft.com/office/drawing/2014/main" id="{F2D77776-BA4F-4EE8-98D6-B5EC5F970530}"/>
                  </a:ext>
                </a:extLst>
              </p:cNvPr>
              <p:cNvSpPr/>
              <p:nvPr/>
            </p:nvSpPr>
            <p:spPr>
              <a:xfrm>
                <a:off x="4225012" y="2663412"/>
                <a:ext cx="38526" cy="92470"/>
              </a:xfrm>
              <a:custGeom>
                <a:avLst/>
                <a:gdLst>
                  <a:gd name="connsiteX0" fmla="*/ 38526 w 38526"/>
                  <a:gd name="connsiteY0" fmla="*/ 92471 h 92470"/>
                  <a:gd name="connsiteX1" fmla="*/ 0 w 38526"/>
                  <a:gd name="connsiteY1" fmla="*/ 92471 h 92470"/>
                  <a:gd name="connsiteX2" fmla="*/ 0 w 38526"/>
                  <a:gd name="connsiteY2" fmla="*/ 0 h 92470"/>
                  <a:gd name="connsiteX3" fmla="*/ 38526 w 38526"/>
                  <a:gd name="connsiteY3" fmla="*/ 0 h 92470"/>
                  <a:gd name="connsiteX4" fmla="*/ 38526 w 38526"/>
                  <a:gd name="connsiteY4" fmla="*/ 15405 h 92470"/>
                  <a:gd name="connsiteX5" fmla="*/ 15419 w 38526"/>
                  <a:gd name="connsiteY5" fmla="*/ 15405 h 92470"/>
                  <a:gd name="connsiteX6" fmla="*/ 15419 w 38526"/>
                  <a:gd name="connsiteY6" fmla="*/ 77052 h 92470"/>
                  <a:gd name="connsiteX7" fmla="*/ 38526 w 38526"/>
                  <a:gd name="connsiteY7" fmla="*/ 77052 h 92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26" h="92470">
                    <a:moveTo>
                      <a:pt x="38526" y="92471"/>
                    </a:moveTo>
                    <a:lnTo>
                      <a:pt x="0" y="92471"/>
                    </a:lnTo>
                    <a:lnTo>
                      <a:pt x="0" y="0"/>
                    </a:lnTo>
                    <a:lnTo>
                      <a:pt x="38526" y="0"/>
                    </a:lnTo>
                    <a:lnTo>
                      <a:pt x="38526" y="15405"/>
                    </a:lnTo>
                    <a:lnTo>
                      <a:pt x="15419" y="15405"/>
                    </a:lnTo>
                    <a:lnTo>
                      <a:pt x="15419" y="77052"/>
                    </a:lnTo>
                    <a:lnTo>
                      <a:pt x="38526" y="77052"/>
                    </a:lnTo>
                    <a:close/>
                  </a:path>
                </a:pathLst>
              </a:custGeom>
              <a:solidFill>
                <a:schemeClr val="tx2"/>
              </a:solidFill>
              <a:ln w="1375" cap="flat">
                <a:noFill/>
                <a:prstDash val="solid"/>
                <a:miter/>
              </a:ln>
            </p:spPr>
            <p:txBody>
              <a:bodyPr rtlCol="0" anchor="ctr"/>
              <a:lstStyle/>
              <a:p>
                <a:endParaRPr lang="en-GB" dirty="0"/>
              </a:p>
            </p:txBody>
          </p:sp>
          <p:sp>
            <p:nvSpPr>
              <p:cNvPr id="316" name="Freihandform: Form 315">
                <a:extLst>
                  <a:ext uri="{FF2B5EF4-FFF2-40B4-BE49-F238E27FC236}">
                    <a16:creationId xmlns:a16="http://schemas.microsoft.com/office/drawing/2014/main" id="{3F1A1108-8753-4C2A-BC89-4078E7B635AF}"/>
                  </a:ext>
                </a:extLst>
              </p:cNvPr>
              <p:cNvSpPr/>
              <p:nvPr/>
            </p:nvSpPr>
            <p:spPr>
              <a:xfrm>
                <a:off x="4217296" y="2532401"/>
                <a:ext cx="46242" cy="46242"/>
              </a:xfrm>
              <a:custGeom>
                <a:avLst/>
                <a:gdLst>
                  <a:gd name="connsiteX0" fmla="*/ 46242 w 46242"/>
                  <a:gd name="connsiteY0" fmla="*/ 46242 h 46242"/>
                  <a:gd name="connsiteX1" fmla="*/ 0 w 46242"/>
                  <a:gd name="connsiteY1" fmla="*/ 0 h 46242"/>
                  <a:gd name="connsiteX2" fmla="*/ 15419 w 46242"/>
                  <a:gd name="connsiteY2" fmla="*/ 0 h 46242"/>
                  <a:gd name="connsiteX3" fmla="*/ 46242 w 46242"/>
                  <a:gd name="connsiteY3" fmla="*/ 30824 h 46242"/>
                  <a:gd name="connsiteX4" fmla="*/ 46242 w 46242"/>
                  <a:gd name="connsiteY4" fmla="*/ 46242 h 46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42" h="46242">
                    <a:moveTo>
                      <a:pt x="46242" y="46242"/>
                    </a:moveTo>
                    <a:cubicBezTo>
                      <a:pt x="20751" y="46242"/>
                      <a:pt x="0" y="23121"/>
                      <a:pt x="0" y="0"/>
                    </a:cubicBezTo>
                    <a:lnTo>
                      <a:pt x="15419" y="0"/>
                    </a:lnTo>
                    <a:cubicBezTo>
                      <a:pt x="15419" y="15419"/>
                      <a:pt x="29239" y="30824"/>
                      <a:pt x="46242" y="30824"/>
                    </a:cubicBezTo>
                    <a:lnTo>
                      <a:pt x="46242" y="46242"/>
                    </a:lnTo>
                    <a:close/>
                  </a:path>
                </a:pathLst>
              </a:custGeom>
              <a:solidFill>
                <a:schemeClr val="tx2"/>
              </a:solidFill>
              <a:ln w="1375" cap="flat">
                <a:noFill/>
                <a:prstDash val="solid"/>
                <a:miter/>
              </a:ln>
            </p:spPr>
            <p:txBody>
              <a:bodyPr rtlCol="0" anchor="ctr"/>
              <a:lstStyle/>
              <a:p>
                <a:endParaRPr lang="en-GB" dirty="0"/>
              </a:p>
            </p:txBody>
          </p:sp>
          <p:sp>
            <p:nvSpPr>
              <p:cNvPr id="317" name="Freihandform: Form 316">
                <a:extLst>
                  <a:ext uri="{FF2B5EF4-FFF2-40B4-BE49-F238E27FC236}">
                    <a16:creationId xmlns:a16="http://schemas.microsoft.com/office/drawing/2014/main" id="{165A714C-77D2-43D9-BCEA-A8B2B984CAE8}"/>
                  </a:ext>
                </a:extLst>
              </p:cNvPr>
              <p:cNvSpPr/>
              <p:nvPr/>
            </p:nvSpPr>
            <p:spPr>
              <a:xfrm>
                <a:off x="4217296" y="2840651"/>
                <a:ext cx="46242" cy="46228"/>
              </a:xfrm>
              <a:custGeom>
                <a:avLst/>
                <a:gdLst>
                  <a:gd name="connsiteX0" fmla="*/ 15419 w 46242"/>
                  <a:gd name="connsiteY0" fmla="*/ 46229 h 46228"/>
                  <a:gd name="connsiteX1" fmla="*/ 0 w 46242"/>
                  <a:gd name="connsiteY1" fmla="*/ 46229 h 46228"/>
                  <a:gd name="connsiteX2" fmla="*/ 46242 w 46242"/>
                  <a:gd name="connsiteY2" fmla="*/ 0 h 46228"/>
                  <a:gd name="connsiteX3" fmla="*/ 46242 w 46242"/>
                  <a:gd name="connsiteY3" fmla="*/ 15419 h 46228"/>
                  <a:gd name="connsiteX4" fmla="*/ 15419 w 46242"/>
                  <a:gd name="connsiteY4" fmla="*/ 46229 h 462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42" h="46228">
                    <a:moveTo>
                      <a:pt x="15419" y="46229"/>
                    </a:moveTo>
                    <a:lnTo>
                      <a:pt x="0" y="46229"/>
                    </a:lnTo>
                    <a:cubicBezTo>
                      <a:pt x="0" y="23107"/>
                      <a:pt x="20737" y="0"/>
                      <a:pt x="46242" y="0"/>
                    </a:cubicBezTo>
                    <a:lnTo>
                      <a:pt x="46242" y="15419"/>
                    </a:lnTo>
                    <a:cubicBezTo>
                      <a:pt x="29253" y="15419"/>
                      <a:pt x="15419" y="30824"/>
                      <a:pt x="15419" y="46229"/>
                    </a:cubicBezTo>
                    <a:close/>
                  </a:path>
                </a:pathLst>
              </a:custGeom>
              <a:solidFill>
                <a:schemeClr val="tx2"/>
              </a:solidFill>
              <a:ln w="1375" cap="flat">
                <a:noFill/>
                <a:prstDash val="solid"/>
                <a:miter/>
              </a:ln>
            </p:spPr>
            <p:txBody>
              <a:bodyPr rtlCol="0" anchor="ctr"/>
              <a:lstStyle/>
              <a:p>
                <a:endParaRPr lang="en-GB" dirty="0"/>
              </a:p>
            </p:txBody>
          </p:sp>
          <p:sp>
            <p:nvSpPr>
              <p:cNvPr id="318" name="Freihandform: Form 317">
                <a:extLst>
                  <a:ext uri="{FF2B5EF4-FFF2-40B4-BE49-F238E27FC236}">
                    <a16:creationId xmlns:a16="http://schemas.microsoft.com/office/drawing/2014/main" id="{8F3CFBE5-DC31-4D27-A41C-FC6C553EDC7D}"/>
                  </a:ext>
                </a:extLst>
              </p:cNvPr>
              <p:cNvSpPr/>
              <p:nvPr/>
            </p:nvSpPr>
            <p:spPr>
              <a:xfrm>
                <a:off x="3785765" y="2840637"/>
                <a:ext cx="46242" cy="46242"/>
              </a:xfrm>
              <a:custGeom>
                <a:avLst/>
                <a:gdLst>
                  <a:gd name="connsiteX0" fmla="*/ 46242 w 46242"/>
                  <a:gd name="connsiteY0" fmla="*/ 46242 h 46242"/>
                  <a:gd name="connsiteX1" fmla="*/ 30824 w 46242"/>
                  <a:gd name="connsiteY1" fmla="*/ 46242 h 46242"/>
                  <a:gd name="connsiteX2" fmla="*/ 0 w 46242"/>
                  <a:gd name="connsiteY2" fmla="*/ 15419 h 46242"/>
                  <a:gd name="connsiteX3" fmla="*/ 0 w 46242"/>
                  <a:gd name="connsiteY3" fmla="*/ 0 h 46242"/>
                  <a:gd name="connsiteX4" fmla="*/ 46242 w 46242"/>
                  <a:gd name="connsiteY4" fmla="*/ 46242 h 46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42" h="46242">
                    <a:moveTo>
                      <a:pt x="46242" y="46242"/>
                    </a:moveTo>
                    <a:lnTo>
                      <a:pt x="30824" y="46242"/>
                    </a:lnTo>
                    <a:cubicBezTo>
                      <a:pt x="30824" y="30824"/>
                      <a:pt x="17003" y="15419"/>
                      <a:pt x="0" y="15419"/>
                    </a:cubicBezTo>
                    <a:lnTo>
                      <a:pt x="0" y="0"/>
                    </a:lnTo>
                    <a:cubicBezTo>
                      <a:pt x="25505" y="14"/>
                      <a:pt x="46242" y="23135"/>
                      <a:pt x="46242" y="46242"/>
                    </a:cubicBezTo>
                    <a:close/>
                  </a:path>
                </a:pathLst>
              </a:custGeom>
              <a:solidFill>
                <a:schemeClr val="tx2"/>
              </a:solidFill>
              <a:ln w="1375" cap="flat">
                <a:noFill/>
                <a:prstDash val="solid"/>
                <a:miter/>
              </a:ln>
            </p:spPr>
            <p:txBody>
              <a:bodyPr rtlCol="0" anchor="ctr"/>
              <a:lstStyle/>
              <a:p>
                <a:endParaRPr lang="en-GB" dirty="0"/>
              </a:p>
            </p:txBody>
          </p:sp>
          <p:sp>
            <p:nvSpPr>
              <p:cNvPr id="319" name="Freihandform: Form 318">
                <a:extLst>
                  <a:ext uri="{FF2B5EF4-FFF2-40B4-BE49-F238E27FC236}">
                    <a16:creationId xmlns:a16="http://schemas.microsoft.com/office/drawing/2014/main" id="{9F2174DE-2C3B-4A79-A9C5-ABC33323E756}"/>
                  </a:ext>
                </a:extLst>
              </p:cNvPr>
              <p:cNvSpPr/>
              <p:nvPr/>
            </p:nvSpPr>
            <p:spPr>
              <a:xfrm>
                <a:off x="3785779" y="2532401"/>
                <a:ext cx="46242" cy="46242"/>
              </a:xfrm>
              <a:custGeom>
                <a:avLst/>
                <a:gdLst>
                  <a:gd name="connsiteX0" fmla="*/ 0 w 46242"/>
                  <a:gd name="connsiteY0" fmla="*/ 46242 h 46242"/>
                  <a:gd name="connsiteX1" fmla="*/ 0 w 46242"/>
                  <a:gd name="connsiteY1" fmla="*/ 30824 h 46242"/>
                  <a:gd name="connsiteX2" fmla="*/ 30824 w 46242"/>
                  <a:gd name="connsiteY2" fmla="*/ 0 h 46242"/>
                  <a:gd name="connsiteX3" fmla="*/ 46242 w 46242"/>
                  <a:gd name="connsiteY3" fmla="*/ 0 h 46242"/>
                  <a:gd name="connsiteX4" fmla="*/ 0 w 46242"/>
                  <a:gd name="connsiteY4" fmla="*/ 46242 h 46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42" h="46242">
                    <a:moveTo>
                      <a:pt x="0" y="46242"/>
                    </a:moveTo>
                    <a:lnTo>
                      <a:pt x="0" y="30824"/>
                    </a:lnTo>
                    <a:cubicBezTo>
                      <a:pt x="17003" y="30824"/>
                      <a:pt x="30824" y="15405"/>
                      <a:pt x="30824" y="0"/>
                    </a:cubicBezTo>
                    <a:lnTo>
                      <a:pt x="46242" y="0"/>
                    </a:lnTo>
                    <a:cubicBezTo>
                      <a:pt x="46229" y="23121"/>
                      <a:pt x="25491" y="46242"/>
                      <a:pt x="0" y="46242"/>
                    </a:cubicBezTo>
                    <a:close/>
                  </a:path>
                </a:pathLst>
              </a:custGeom>
              <a:solidFill>
                <a:schemeClr val="tx2"/>
              </a:solidFill>
              <a:ln w="1375" cap="flat">
                <a:noFill/>
                <a:prstDash val="solid"/>
                <a:miter/>
              </a:ln>
            </p:spPr>
            <p:txBody>
              <a:bodyPr rtlCol="0" anchor="ctr"/>
              <a:lstStyle/>
              <a:p>
                <a:endParaRPr lang="en-GB" dirty="0"/>
              </a:p>
            </p:txBody>
          </p:sp>
          <p:sp>
            <p:nvSpPr>
              <p:cNvPr id="321" name="Freihandform: Form 320">
                <a:extLst>
                  <a:ext uri="{FF2B5EF4-FFF2-40B4-BE49-F238E27FC236}">
                    <a16:creationId xmlns:a16="http://schemas.microsoft.com/office/drawing/2014/main" id="{05DB7562-CFD8-4700-A9A7-BD3B3FF06002}"/>
                  </a:ext>
                </a:extLst>
              </p:cNvPr>
              <p:cNvSpPr/>
              <p:nvPr/>
            </p:nvSpPr>
            <p:spPr>
              <a:xfrm>
                <a:off x="3778063" y="2493875"/>
                <a:ext cx="493178" cy="15418"/>
              </a:xfrm>
              <a:custGeom>
                <a:avLst/>
                <a:gdLst>
                  <a:gd name="connsiteX0" fmla="*/ 0 w 493178"/>
                  <a:gd name="connsiteY0" fmla="*/ 0 h 15418"/>
                  <a:gd name="connsiteX1" fmla="*/ 493178 w 493178"/>
                  <a:gd name="connsiteY1" fmla="*/ 0 h 15418"/>
                  <a:gd name="connsiteX2" fmla="*/ 493178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8" y="0"/>
                    </a:lnTo>
                    <a:lnTo>
                      <a:pt x="493178"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22" name="Freihandform: Form 321">
                <a:extLst>
                  <a:ext uri="{FF2B5EF4-FFF2-40B4-BE49-F238E27FC236}">
                    <a16:creationId xmlns:a16="http://schemas.microsoft.com/office/drawing/2014/main" id="{893473BD-D94D-4DCC-88E8-1B9FC77221DC}"/>
                  </a:ext>
                </a:extLst>
              </p:cNvPr>
              <p:cNvSpPr/>
              <p:nvPr/>
            </p:nvSpPr>
            <p:spPr>
              <a:xfrm>
                <a:off x="3778063" y="2910001"/>
                <a:ext cx="493178" cy="15418"/>
              </a:xfrm>
              <a:custGeom>
                <a:avLst/>
                <a:gdLst>
                  <a:gd name="connsiteX0" fmla="*/ 0 w 493178"/>
                  <a:gd name="connsiteY0" fmla="*/ 0 h 15418"/>
                  <a:gd name="connsiteX1" fmla="*/ 493178 w 493178"/>
                  <a:gd name="connsiteY1" fmla="*/ 0 h 15418"/>
                  <a:gd name="connsiteX2" fmla="*/ 493178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8" y="0"/>
                    </a:lnTo>
                    <a:lnTo>
                      <a:pt x="493178" y="15419"/>
                    </a:lnTo>
                    <a:lnTo>
                      <a:pt x="0" y="15419"/>
                    </a:lnTo>
                    <a:close/>
                  </a:path>
                </a:pathLst>
              </a:custGeom>
              <a:solidFill>
                <a:schemeClr val="tx2"/>
              </a:solidFill>
              <a:ln w="1375" cap="flat">
                <a:noFill/>
                <a:prstDash val="solid"/>
                <a:miter/>
              </a:ln>
            </p:spPr>
            <p:txBody>
              <a:bodyPr rtlCol="0" anchor="ctr"/>
              <a:lstStyle/>
              <a:p>
                <a:endParaRPr lang="en-GB" dirty="0"/>
              </a:p>
            </p:txBody>
          </p:sp>
        </p:grpSp>
      </p:grpSp>
      <p:grpSp>
        <p:nvGrpSpPr>
          <p:cNvPr id="641" name="Gruppieren 640">
            <a:extLst>
              <a:ext uri="{FF2B5EF4-FFF2-40B4-BE49-F238E27FC236}">
                <a16:creationId xmlns:a16="http://schemas.microsoft.com/office/drawing/2014/main" id="{881B446E-66B0-4731-B906-2E4135CA6CBB}"/>
              </a:ext>
            </a:extLst>
          </p:cNvPr>
          <p:cNvGrpSpPr>
            <a:grpSpLocks noChangeAspect="1"/>
          </p:cNvGrpSpPr>
          <p:nvPr/>
        </p:nvGrpSpPr>
        <p:grpSpPr>
          <a:xfrm>
            <a:off x="484164" y="1626717"/>
            <a:ext cx="431988" cy="432000"/>
            <a:chOff x="510728" y="1615395"/>
            <a:chExt cx="493178" cy="493191"/>
          </a:xfrm>
        </p:grpSpPr>
        <p:grpSp>
          <p:nvGrpSpPr>
            <p:cNvPr id="640" name="Gruppieren 639">
              <a:extLst>
                <a:ext uri="{FF2B5EF4-FFF2-40B4-BE49-F238E27FC236}">
                  <a16:creationId xmlns:a16="http://schemas.microsoft.com/office/drawing/2014/main" id="{DC01B3E1-AA07-4E04-B660-C648E0F8B21C}"/>
                </a:ext>
              </a:extLst>
            </p:cNvPr>
            <p:cNvGrpSpPr/>
            <p:nvPr/>
          </p:nvGrpSpPr>
          <p:grpSpPr>
            <a:xfrm>
              <a:off x="510728" y="1615395"/>
              <a:ext cx="493178" cy="493191"/>
              <a:chOff x="510728" y="1615394"/>
              <a:chExt cx="493178" cy="493191"/>
            </a:xfrm>
          </p:grpSpPr>
          <p:sp>
            <p:nvSpPr>
              <p:cNvPr id="324" name="Freihandform: Form 323">
                <a:extLst>
                  <a:ext uri="{FF2B5EF4-FFF2-40B4-BE49-F238E27FC236}">
                    <a16:creationId xmlns:a16="http://schemas.microsoft.com/office/drawing/2014/main" id="{E8AD25D2-D4BC-4B87-9F5D-969B9AF09BA2}"/>
                  </a:ext>
                </a:extLst>
              </p:cNvPr>
              <p:cNvSpPr/>
              <p:nvPr/>
            </p:nvSpPr>
            <p:spPr>
              <a:xfrm>
                <a:off x="718791" y="1985291"/>
                <a:ext cx="77052" cy="77052"/>
              </a:xfrm>
              <a:custGeom>
                <a:avLst/>
                <a:gdLst>
                  <a:gd name="connsiteX0" fmla="*/ 38526 w 77052"/>
                  <a:gd name="connsiteY0" fmla="*/ 77052 h 77052"/>
                  <a:gd name="connsiteX1" fmla="*/ 0 w 77052"/>
                  <a:gd name="connsiteY1" fmla="*/ 38526 h 77052"/>
                  <a:gd name="connsiteX2" fmla="*/ 38526 w 77052"/>
                  <a:gd name="connsiteY2" fmla="*/ 0 h 77052"/>
                  <a:gd name="connsiteX3" fmla="*/ 77052 w 77052"/>
                  <a:gd name="connsiteY3" fmla="*/ 38526 h 77052"/>
                  <a:gd name="connsiteX4" fmla="*/ 38526 w 77052"/>
                  <a:gd name="connsiteY4" fmla="*/ 77052 h 77052"/>
                  <a:gd name="connsiteX5" fmla="*/ 38526 w 77052"/>
                  <a:gd name="connsiteY5" fmla="*/ 15405 h 77052"/>
                  <a:gd name="connsiteX6" fmla="*/ 15405 w 77052"/>
                  <a:gd name="connsiteY6" fmla="*/ 38526 h 77052"/>
                  <a:gd name="connsiteX7" fmla="*/ 38526 w 77052"/>
                  <a:gd name="connsiteY7" fmla="*/ 61647 h 77052"/>
                  <a:gd name="connsiteX8" fmla="*/ 61647 w 77052"/>
                  <a:gd name="connsiteY8" fmla="*/ 38526 h 77052"/>
                  <a:gd name="connsiteX9" fmla="*/ 38526 w 77052"/>
                  <a:gd name="connsiteY9" fmla="*/ 15405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52" h="77052">
                    <a:moveTo>
                      <a:pt x="38526" y="77052"/>
                    </a:moveTo>
                    <a:cubicBezTo>
                      <a:pt x="17279" y="77052"/>
                      <a:pt x="0" y="59760"/>
                      <a:pt x="0" y="38526"/>
                    </a:cubicBezTo>
                    <a:cubicBezTo>
                      <a:pt x="0" y="17279"/>
                      <a:pt x="17293" y="0"/>
                      <a:pt x="38526" y="0"/>
                    </a:cubicBezTo>
                    <a:cubicBezTo>
                      <a:pt x="59773" y="0"/>
                      <a:pt x="77052" y="17293"/>
                      <a:pt x="77052" y="38526"/>
                    </a:cubicBezTo>
                    <a:cubicBezTo>
                      <a:pt x="77052" y="59773"/>
                      <a:pt x="59760" y="77052"/>
                      <a:pt x="38526" y="77052"/>
                    </a:cubicBezTo>
                    <a:close/>
                    <a:moveTo>
                      <a:pt x="38526" y="15405"/>
                    </a:moveTo>
                    <a:cubicBezTo>
                      <a:pt x="25781" y="15405"/>
                      <a:pt x="15405" y="25781"/>
                      <a:pt x="15405" y="38526"/>
                    </a:cubicBezTo>
                    <a:cubicBezTo>
                      <a:pt x="15405" y="51272"/>
                      <a:pt x="25781" y="61647"/>
                      <a:pt x="38526" y="61647"/>
                    </a:cubicBezTo>
                    <a:cubicBezTo>
                      <a:pt x="51272" y="61647"/>
                      <a:pt x="61647" y="51272"/>
                      <a:pt x="61647" y="38526"/>
                    </a:cubicBezTo>
                    <a:cubicBezTo>
                      <a:pt x="61634" y="25781"/>
                      <a:pt x="51272" y="15405"/>
                      <a:pt x="38526" y="15405"/>
                    </a:cubicBezTo>
                    <a:close/>
                  </a:path>
                </a:pathLst>
              </a:custGeom>
              <a:solidFill>
                <a:schemeClr val="tx2"/>
              </a:solidFill>
              <a:ln w="1375" cap="flat">
                <a:noFill/>
                <a:prstDash val="solid"/>
                <a:miter/>
              </a:ln>
            </p:spPr>
            <p:txBody>
              <a:bodyPr rtlCol="0" anchor="ctr"/>
              <a:lstStyle/>
              <a:p>
                <a:endParaRPr lang="en-GB" dirty="0"/>
              </a:p>
            </p:txBody>
          </p:sp>
          <p:sp>
            <p:nvSpPr>
              <p:cNvPr id="325" name="Freihandform: Form 324">
                <a:extLst>
                  <a:ext uri="{FF2B5EF4-FFF2-40B4-BE49-F238E27FC236}">
                    <a16:creationId xmlns:a16="http://schemas.microsoft.com/office/drawing/2014/main" id="{99503304-A4FE-474D-A67D-4A5AF3C723DB}"/>
                  </a:ext>
                </a:extLst>
              </p:cNvPr>
              <p:cNvSpPr/>
              <p:nvPr/>
            </p:nvSpPr>
            <p:spPr>
              <a:xfrm>
                <a:off x="718791" y="1661636"/>
                <a:ext cx="77052" cy="77052"/>
              </a:xfrm>
              <a:custGeom>
                <a:avLst/>
                <a:gdLst>
                  <a:gd name="connsiteX0" fmla="*/ 38526 w 77052"/>
                  <a:gd name="connsiteY0" fmla="*/ 77052 h 77052"/>
                  <a:gd name="connsiteX1" fmla="*/ 0 w 77052"/>
                  <a:gd name="connsiteY1" fmla="*/ 38526 h 77052"/>
                  <a:gd name="connsiteX2" fmla="*/ 38526 w 77052"/>
                  <a:gd name="connsiteY2" fmla="*/ 0 h 77052"/>
                  <a:gd name="connsiteX3" fmla="*/ 77052 w 77052"/>
                  <a:gd name="connsiteY3" fmla="*/ 38526 h 77052"/>
                  <a:gd name="connsiteX4" fmla="*/ 38526 w 77052"/>
                  <a:gd name="connsiteY4" fmla="*/ 77052 h 77052"/>
                  <a:gd name="connsiteX5" fmla="*/ 38526 w 77052"/>
                  <a:gd name="connsiteY5" fmla="*/ 15405 h 77052"/>
                  <a:gd name="connsiteX6" fmla="*/ 15405 w 77052"/>
                  <a:gd name="connsiteY6" fmla="*/ 38526 h 77052"/>
                  <a:gd name="connsiteX7" fmla="*/ 38526 w 77052"/>
                  <a:gd name="connsiteY7" fmla="*/ 61647 h 77052"/>
                  <a:gd name="connsiteX8" fmla="*/ 61647 w 77052"/>
                  <a:gd name="connsiteY8" fmla="*/ 38526 h 77052"/>
                  <a:gd name="connsiteX9" fmla="*/ 38526 w 77052"/>
                  <a:gd name="connsiteY9" fmla="*/ 15405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52" h="77052">
                    <a:moveTo>
                      <a:pt x="38526" y="77052"/>
                    </a:moveTo>
                    <a:cubicBezTo>
                      <a:pt x="17279" y="77052"/>
                      <a:pt x="0" y="59760"/>
                      <a:pt x="0" y="38526"/>
                    </a:cubicBezTo>
                    <a:cubicBezTo>
                      <a:pt x="0" y="17293"/>
                      <a:pt x="17293" y="0"/>
                      <a:pt x="38526" y="0"/>
                    </a:cubicBezTo>
                    <a:cubicBezTo>
                      <a:pt x="59773" y="0"/>
                      <a:pt x="77052" y="17293"/>
                      <a:pt x="77052" y="38526"/>
                    </a:cubicBezTo>
                    <a:cubicBezTo>
                      <a:pt x="77052" y="59760"/>
                      <a:pt x="59760" y="77052"/>
                      <a:pt x="38526" y="77052"/>
                    </a:cubicBezTo>
                    <a:close/>
                    <a:moveTo>
                      <a:pt x="38526" y="15405"/>
                    </a:moveTo>
                    <a:cubicBezTo>
                      <a:pt x="25781" y="15405"/>
                      <a:pt x="15405" y="25781"/>
                      <a:pt x="15405" y="38526"/>
                    </a:cubicBezTo>
                    <a:cubicBezTo>
                      <a:pt x="15405" y="51272"/>
                      <a:pt x="25781" y="61647"/>
                      <a:pt x="38526" y="61647"/>
                    </a:cubicBezTo>
                    <a:cubicBezTo>
                      <a:pt x="51272" y="61647"/>
                      <a:pt x="61647" y="51272"/>
                      <a:pt x="61647" y="38526"/>
                    </a:cubicBezTo>
                    <a:cubicBezTo>
                      <a:pt x="61647" y="25781"/>
                      <a:pt x="51272" y="15405"/>
                      <a:pt x="38526" y="15405"/>
                    </a:cubicBezTo>
                    <a:close/>
                  </a:path>
                </a:pathLst>
              </a:custGeom>
              <a:solidFill>
                <a:schemeClr val="tx2"/>
              </a:solidFill>
              <a:ln w="1375" cap="flat">
                <a:noFill/>
                <a:prstDash val="solid"/>
                <a:miter/>
              </a:ln>
            </p:spPr>
            <p:txBody>
              <a:bodyPr rtlCol="0" anchor="ctr"/>
              <a:lstStyle/>
              <a:p>
                <a:endParaRPr lang="en-GB" dirty="0"/>
              </a:p>
            </p:txBody>
          </p:sp>
          <p:sp>
            <p:nvSpPr>
              <p:cNvPr id="326" name="Freihandform: Form 325">
                <a:extLst>
                  <a:ext uri="{FF2B5EF4-FFF2-40B4-BE49-F238E27FC236}">
                    <a16:creationId xmlns:a16="http://schemas.microsoft.com/office/drawing/2014/main" id="{BE7B577D-CC2E-468C-B71E-CE64CFA192B8}"/>
                  </a:ext>
                </a:extLst>
              </p:cNvPr>
              <p:cNvSpPr/>
              <p:nvPr/>
            </p:nvSpPr>
            <p:spPr>
              <a:xfrm>
                <a:off x="718791" y="1877415"/>
                <a:ext cx="77052" cy="77052"/>
              </a:xfrm>
              <a:custGeom>
                <a:avLst/>
                <a:gdLst>
                  <a:gd name="connsiteX0" fmla="*/ 38526 w 77052"/>
                  <a:gd name="connsiteY0" fmla="*/ 77052 h 77052"/>
                  <a:gd name="connsiteX1" fmla="*/ 0 w 77052"/>
                  <a:gd name="connsiteY1" fmla="*/ 38526 h 77052"/>
                  <a:gd name="connsiteX2" fmla="*/ 38526 w 77052"/>
                  <a:gd name="connsiteY2" fmla="*/ 0 h 77052"/>
                  <a:gd name="connsiteX3" fmla="*/ 77052 w 77052"/>
                  <a:gd name="connsiteY3" fmla="*/ 38526 h 77052"/>
                  <a:gd name="connsiteX4" fmla="*/ 38526 w 77052"/>
                  <a:gd name="connsiteY4" fmla="*/ 77052 h 77052"/>
                  <a:gd name="connsiteX5" fmla="*/ 38526 w 77052"/>
                  <a:gd name="connsiteY5" fmla="*/ 15405 h 77052"/>
                  <a:gd name="connsiteX6" fmla="*/ 15405 w 77052"/>
                  <a:gd name="connsiteY6" fmla="*/ 38526 h 77052"/>
                  <a:gd name="connsiteX7" fmla="*/ 38526 w 77052"/>
                  <a:gd name="connsiteY7" fmla="*/ 61647 h 77052"/>
                  <a:gd name="connsiteX8" fmla="*/ 61647 w 77052"/>
                  <a:gd name="connsiteY8" fmla="*/ 38526 h 77052"/>
                  <a:gd name="connsiteX9" fmla="*/ 38526 w 77052"/>
                  <a:gd name="connsiteY9" fmla="*/ 15405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52" h="77052">
                    <a:moveTo>
                      <a:pt x="38526" y="77052"/>
                    </a:moveTo>
                    <a:cubicBezTo>
                      <a:pt x="17279" y="77052"/>
                      <a:pt x="0" y="59760"/>
                      <a:pt x="0" y="38526"/>
                    </a:cubicBezTo>
                    <a:cubicBezTo>
                      <a:pt x="0" y="17293"/>
                      <a:pt x="17293" y="0"/>
                      <a:pt x="38526" y="0"/>
                    </a:cubicBezTo>
                    <a:cubicBezTo>
                      <a:pt x="59773" y="0"/>
                      <a:pt x="77052" y="17293"/>
                      <a:pt x="77052" y="38526"/>
                    </a:cubicBezTo>
                    <a:cubicBezTo>
                      <a:pt x="77052" y="59760"/>
                      <a:pt x="59760" y="77052"/>
                      <a:pt x="38526" y="77052"/>
                    </a:cubicBezTo>
                    <a:close/>
                    <a:moveTo>
                      <a:pt x="38526" y="15405"/>
                    </a:moveTo>
                    <a:cubicBezTo>
                      <a:pt x="25781" y="15405"/>
                      <a:pt x="15405" y="25781"/>
                      <a:pt x="15405" y="38526"/>
                    </a:cubicBezTo>
                    <a:cubicBezTo>
                      <a:pt x="15405" y="51272"/>
                      <a:pt x="25781" y="61647"/>
                      <a:pt x="38526" y="61647"/>
                    </a:cubicBezTo>
                    <a:cubicBezTo>
                      <a:pt x="51272" y="61647"/>
                      <a:pt x="61647" y="51272"/>
                      <a:pt x="61647" y="38526"/>
                    </a:cubicBezTo>
                    <a:cubicBezTo>
                      <a:pt x="61634" y="25767"/>
                      <a:pt x="51272" y="15405"/>
                      <a:pt x="38526" y="15405"/>
                    </a:cubicBezTo>
                    <a:close/>
                  </a:path>
                </a:pathLst>
              </a:custGeom>
              <a:solidFill>
                <a:schemeClr val="tx2"/>
              </a:solidFill>
              <a:ln w="1375" cap="flat">
                <a:noFill/>
                <a:prstDash val="solid"/>
                <a:miter/>
              </a:ln>
            </p:spPr>
            <p:txBody>
              <a:bodyPr rtlCol="0" anchor="ctr"/>
              <a:lstStyle/>
              <a:p>
                <a:endParaRPr lang="en-GB" dirty="0"/>
              </a:p>
            </p:txBody>
          </p:sp>
          <p:sp>
            <p:nvSpPr>
              <p:cNvPr id="327" name="Freihandform: Form 326">
                <a:extLst>
                  <a:ext uri="{FF2B5EF4-FFF2-40B4-BE49-F238E27FC236}">
                    <a16:creationId xmlns:a16="http://schemas.microsoft.com/office/drawing/2014/main" id="{571A67AD-B5F2-40C6-85B5-6D119CC71600}"/>
                  </a:ext>
                </a:extLst>
              </p:cNvPr>
              <p:cNvSpPr/>
              <p:nvPr/>
            </p:nvSpPr>
            <p:spPr>
              <a:xfrm>
                <a:off x="610901" y="1877415"/>
                <a:ext cx="77052" cy="77052"/>
              </a:xfrm>
              <a:custGeom>
                <a:avLst/>
                <a:gdLst>
                  <a:gd name="connsiteX0" fmla="*/ 38526 w 77052"/>
                  <a:gd name="connsiteY0" fmla="*/ 77052 h 77052"/>
                  <a:gd name="connsiteX1" fmla="*/ 0 w 77052"/>
                  <a:gd name="connsiteY1" fmla="*/ 38526 h 77052"/>
                  <a:gd name="connsiteX2" fmla="*/ 38526 w 77052"/>
                  <a:gd name="connsiteY2" fmla="*/ 0 h 77052"/>
                  <a:gd name="connsiteX3" fmla="*/ 77052 w 77052"/>
                  <a:gd name="connsiteY3" fmla="*/ 38526 h 77052"/>
                  <a:gd name="connsiteX4" fmla="*/ 38526 w 77052"/>
                  <a:gd name="connsiteY4" fmla="*/ 77052 h 77052"/>
                  <a:gd name="connsiteX5" fmla="*/ 38526 w 77052"/>
                  <a:gd name="connsiteY5" fmla="*/ 15405 h 77052"/>
                  <a:gd name="connsiteX6" fmla="*/ 15405 w 77052"/>
                  <a:gd name="connsiteY6" fmla="*/ 38526 h 77052"/>
                  <a:gd name="connsiteX7" fmla="*/ 38526 w 77052"/>
                  <a:gd name="connsiteY7" fmla="*/ 61647 h 77052"/>
                  <a:gd name="connsiteX8" fmla="*/ 61647 w 77052"/>
                  <a:gd name="connsiteY8" fmla="*/ 38526 h 77052"/>
                  <a:gd name="connsiteX9" fmla="*/ 38526 w 77052"/>
                  <a:gd name="connsiteY9" fmla="*/ 15405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52" h="77052">
                    <a:moveTo>
                      <a:pt x="38526" y="77052"/>
                    </a:moveTo>
                    <a:cubicBezTo>
                      <a:pt x="17279" y="77052"/>
                      <a:pt x="0" y="59760"/>
                      <a:pt x="0" y="38526"/>
                    </a:cubicBezTo>
                    <a:cubicBezTo>
                      <a:pt x="0" y="17293"/>
                      <a:pt x="17293" y="0"/>
                      <a:pt x="38526" y="0"/>
                    </a:cubicBezTo>
                    <a:cubicBezTo>
                      <a:pt x="59773" y="0"/>
                      <a:pt x="77052" y="17293"/>
                      <a:pt x="77052" y="38526"/>
                    </a:cubicBezTo>
                    <a:cubicBezTo>
                      <a:pt x="77052" y="59760"/>
                      <a:pt x="59773" y="77052"/>
                      <a:pt x="38526" y="77052"/>
                    </a:cubicBezTo>
                    <a:close/>
                    <a:moveTo>
                      <a:pt x="38526" y="15405"/>
                    </a:moveTo>
                    <a:cubicBezTo>
                      <a:pt x="25781" y="15405"/>
                      <a:pt x="15405" y="25781"/>
                      <a:pt x="15405" y="38526"/>
                    </a:cubicBezTo>
                    <a:cubicBezTo>
                      <a:pt x="15405" y="51272"/>
                      <a:pt x="25781" y="61647"/>
                      <a:pt x="38526" y="61647"/>
                    </a:cubicBezTo>
                    <a:cubicBezTo>
                      <a:pt x="51272" y="61647"/>
                      <a:pt x="61647" y="51272"/>
                      <a:pt x="61647" y="38526"/>
                    </a:cubicBezTo>
                    <a:cubicBezTo>
                      <a:pt x="61647" y="25767"/>
                      <a:pt x="51272" y="15405"/>
                      <a:pt x="38526" y="15405"/>
                    </a:cubicBezTo>
                    <a:close/>
                  </a:path>
                </a:pathLst>
              </a:custGeom>
              <a:solidFill>
                <a:schemeClr val="tx2"/>
              </a:solidFill>
              <a:ln w="1375" cap="flat">
                <a:noFill/>
                <a:prstDash val="solid"/>
                <a:miter/>
              </a:ln>
            </p:spPr>
            <p:txBody>
              <a:bodyPr rtlCol="0" anchor="ctr"/>
              <a:lstStyle/>
              <a:p>
                <a:endParaRPr lang="en-GB" dirty="0"/>
              </a:p>
            </p:txBody>
          </p:sp>
          <p:sp>
            <p:nvSpPr>
              <p:cNvPr id="328" name="Freihandform: Form 327">
                <a:extLst>
                  <a:ext uri="{FF2B5EF4-FFF2-40B4-BE49-F238E27FC236}">
                    <a16:creationId xmlns:a16="http://schemas.microsoft.com/office/drawing/2014/main" id="{693B7342-DB65-4F14-BA36-10E0348EA634}"/>
                  </a:ext>
                </a:extLst>
              </p:cNvPr>
              <p:cNvSpPr/>
              <p:nvPr/>
            </p:nvSpPr>
            <p:spPr>
              <a:xfrm>
                <a:off x="826667" y="1877415"/>
                <a:ext cx="77052" cy="77052"/>
              </a:xfrm>
              <a:custGeom>
                <a:avLst/>
                <a:gdLst>
                  <a:gd name="connsiteX0" fmla="*/ 38526 w 77052"/>
                  <a:gd name="connsiteY0" fmla="*/ 77052 h 77052"/>
                  <a:gd name="connsiteX1" fmla="*/ 0 w 77052"/>
                  <a:gd name="connsiteY1" fmla="*/ 38526 h 77052"/>
                  <a:gd name="connsiteX2" fmla="*/ 38526 w 77052"/>
                  <a:gd name="connsiteY2" fmla="*/ 0 h 77052"/>
                  <a:gd name="connsiteX3" fmla="*/ 77052 w 77052"/>
                  <a:gd name="connsiteY3" fmla="*/ 38526 h 77052"/>
                  <a:gd name="connsiteX4" fmla="*/ 38526 w 77052"/>
                  <a:gd name="connsiteY4" fmla="*/ 77052 h 77052"/>
                  <a:gd name="connsiteX5" fmla="*/ 38526 w 77052"/>
                  <a:gd name="connsiteY5" fmla="*/ 15405 h 77052"/>
                  <a:gd name="connsiteX6" fmla="*/ 15405 w 77052"/>
                  <a:gd name="connsiteY6" fmla="*/ 38526 h 77052"/>
                  <a:gd name="connsiteX7" fmla="*/ 38526 w 77052"/>
                  <a:gd name="connsiteY7" fmla="*/ 61647 h 77052"/>
                  <a:gd name="connsiteX8" fmla="*/ 61647 w 77052"/>
                  <a:gd name="connsiteY8" fmla="*/ 38526 h 77052"/>
                  <a:gd name="connsiteX9" fmla="*/ 38526 w 77052"/>
                  <a:gd name="connsiteY9" fmla="*/ 15405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52" h="77052">
                    <a:moveTo>
                      <a:pt x="38526" y="77052"/>
                    </a:moveTo>
                    <a:cubicBezTo>
                      <a:pt x="17279" y="77052"/>
                      <a:pt x="0" y="59760"/>
                      <a:pt x="0" y="38526"/>
                    </a:cubicBezTo>
                    <a:cubicBezTo>
                      <a:pt x="0" y="17293"/>
                      <a:pt x="17293" y="0"/>
                      <a:pt x="38526" y="0"/>
                    </a:cubicBezTo>
                    <a:cubicBezTo>
                      <a:pt x="59773" y="0"/>
                      <a:pt x="77052" y="17293"/>
                      <a:pt x="77052" y="38526"/>
                    </a:cubicBezTo>
                    <a:cubicBezTo>
                      <a:pt x="77052" y="59760"/>
                      <a:pt x="59773" y="77052"/>
                      <a:pt x="38526" y="77052"/>
                    </a:cubicBezTo>
                    <a:close/>
                    <a:moveTo>
                      <a:pt x="38526" y="15405"/>
                    </a:moveTo>
                    <a:cubicBezTo>
                      <a:pt x="25781" y="15405"/>
                      <a:pt x="15405" y="25781"/>
                      <a:pt x="15405" y="38526"/>
                    </a:cubicBezTo>
                    <a:cubicBezTo>
                      <a:pt x="15405" y="51272"/>
                      <a:pt x="25781" y="61647"/>
                      <a:pt x="38526" y="61647"/>
                    </a:cubicBezTo>
                    <a:cubicBezTo>
                      <a:pt x="51272" y="61647"/>
                      <a:pt x="61647" y="51272"/>
                      <a:pt x="61647" y="38526"/>
                    </a:cubicBezTo>
                    <a:cubicBezTo>
                      <a:pt x="61647" y="25767"/>
                      <a:pt x="51272" y="15405"/>
                      <a:pt x="38526" y="15405"/>
                    </a:cubicBezTo>
                    <a:close/>
                  </a:path>
                </a:pathLst>
              </a:custGeom>
              <a:solidFill>
                <a:schemeClr val="tx2"/>
              </a:solidFill>
              <a:ln w="1375" cap="flat">
                <a:noFill/>
                <a:prstDash val="solid"/>
                <a:miter/>
              </a:ln>
            </p:spPr>
            <p:txBody>
              <a:bodyPr rtlCol="0" anchor="ctr"/>
              <a:lstStyle/>
              <a:p>
                <a:endParaRPr lang="en-GB" dirty="0"/>
              </a:p>
            </p:txBody>
          </p:sp>
          <p:grpSp>
            <p:nvGrpSpPr>
              <p:cNvPr id="329" name="Grafik 7">
                <a:extLst>
                  <a:ext uri="{FF2B5EF4-FFF2-40B4-BE49-F238E27FC236}">
                    <a16:creationId xmlns:a16="http://schemas.microsoft.com/office/drawing/2014/main" id="{7940CA59-2FD8-4F65-825F-6370771CA869}"/>
                  </a:ext>
                </a:extLst>
              </p:cNvPr>
              <p:cNvGrpSpPr/>
              <p:nvPr/>
            </p:nvGrpSpPr>
            <p:grpSpPr>
              <a:xfrm>
                <a:off x="610898" y="1769508"/>
                <a:ext cx="77062" cy="77069"/>
                <a:chOff x="610898" y="1769508"/>
                <a:chExt cx="77062" cy="77069"/>
              </a:xfrm>
              <a:solidFill>
                <a:schemeClr val="tx2"/>
              </a:solidFill>
            </p:grpSpPr>
            <p:sp>
              <p:nvSpPr>
                <p:cNvPr id="330" name="Freihandform: Form 329">
                  <a:extLst>
                    <a:ext uri="{FF2B5EF4-FFF2-40B4-BE49-F238E27FC236}">
                      <a16:creationId xmlns:a16="http://schemas.microsoft.com/office/drawing/2014/main" id="{3A614484-6BD5-4042-B15E-D90F7FA6F05D}"/>
                    </a:ext>
                  </a:extLst>
                </p:cNvPr>
                <p:cNvSpPr/>
                <p:nvPr/>
              </p:nvSpPr>
              <p:spPr>
                <a:xfrm>
                  <a:off x="610898" y="1769508"/>
                  <a:ext cx="77062" cy="77069"/>
                </a:xfrm>
                <a:custGeom>
                  <a:avLst/>
                  <a:gdLst>
                    <a:gd name="connsiteX0" fmla="*/ 7706 w 77062"/>
                    <a:gd name="connsiteY0" fmla="*/ 77069 h 77069"/>
                    <a:gd name="connsiteX1" fmla="*/ 2263 w 77062"/>
                    <a:gd name="connsiteY1" fmla="*/ 74810 h 77069"/>
                    <a:gd name="connsiteX2" fmla="*/ 2263 w 77062"/>
                    <a:gd name="connsiteY2" fmla="*/ 63911 h 77069"/>
                    <a:gd name="connsiteX3" fmla="*/ 63911 w 77062"/>
                    <a:gd name="connsiteY3" fmla="*/ 2263 h 77069"/>
                    <a:gd name="connsiteX4" fmla="*/ 74810 w 77062"/>
                    <a:gd name="connsiteY4" fmla="*/ 2263 h 77069"/>
                    <a:gd name="connsiteX5" fmla="*/ 74810 w 77062"/>
                    <a:gd name="connsiteY5" fmla="*/ 13162 h 77069"/>
                    <a:gd name="connsiteX6" fmla="*/ 13162 w 77062"/>
                    <a:gd name="connsiteY6" fmla="*/ 74810 h 77069"/>
                    <a:gd name="connsiteX7" fmla="*/ 7706 w 77062"/>
                    <a:gd name="connsiteY7" fmla="*/ 77069 h 7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62" h="77069">
                      <a:moveTo>
                        <a:pt x="7706" y="77069"/>
                      </a:moveTo>
                      <a:cubicBezTo>
                        <a:pt x="5736" y="77069"/>
                        <a:pt x="3765" y="76312"/>
                        <a:pt x="2263" y="74810"/>
                      </a:cubicBezTo>
                      <a:cubicBezTo>
                        <a:pt x="-754" y="71806"/>
                        <a:pt x="-754" y="66928"/>
                        <a:pt x="2263" y="63911"/>
                      </a:cubicBezTo>
                      <a:lnTo>
                        <a:pt x="63911" y="2263"/>
                      </a:lnTo>
                      <a:cubicBezTo>
                        <a:pt x="66914" y="-754"/>
                        <a:pt x="71792" y="-754"/>
                        <a:pt x="74810" y="2263"/>
                      </a:cubicBezTo>
                      <a:cubicBezTo>
                        <a:pt x="77814" y="5267"/>
                        <a:pt x="77814" y="10145"/>
                        <a:pt x="74810" y="13162"/>
                      </a:cubicBezTo>
                      <a:lnTo>
                        <a:pt x="13162" y="74810"/>
                      </a:lnTo>
                      <a:cubicBezTo>
                        <a:pt x="11647" y="76312"/>
                        <a:pt x="9676" y="77069"/>
                        <a:pt x="7706" y="77069"/>
                      </a:cubicBezTo>
                      <a:close/>
                    </a:path>
                  </a:pathLst>
                </a:custGeom>
                <a:solidFill>
                  <a:schemeClr val="accent1"/>
                </a:solidFill>
                <a:ln w="1375" cap="flat">
                  <a:noFill/>
                  <a:prstDash val="solid"/>
                  <a:miter/>
                </a:ln>
              </p:spPr>
              <p:txBody>
                <a:bodyPr rtlCol="0" anchor="ctr"/>
                <a:lstStyle/>
                <a:p>
                  <a:endParaRPr lang="en-GB" dirty="0"/>
                </a:p>
              </p:txBody>
            </p:sp>
            <p:sp>
              <p:nvSpPr>
                <p:cNvPr id="331" name="Freihandform: Form 330">
                  <a:extLst>
                    <a:ext uri="{FF2B5EF4-FFF2-40B4-BE49-F238E27FC236}">
                      <a16:creationId xmlns:a16="http://schemas.microsoft.com/office/drawing/2014/main" id="{0DEFC9E5-BCB4-40DF-8EBA-0157832CA85F}"/>
                    </a:ext>
                  </a:extLst>
                </p:cNvPr>
                <p:cNvSpPr/>
                <p:nvPr/>
              </p:nvSpPr>
              <p:spPr>
                <a:xfrm>
                  <a:off x="610898" y="1769508"/>
                  <a:ext cx="77062" cy="77069"/>
                </a:xfrm>
                <a:custGeom>
                  <a:avLst/>
                  <a:gdLst>
                    <a:gd name="connsiteX0" fmla="*/ 69353 w 77062"/>
                    <a:gd name="connsiteY0" fmla="*/ 77069 h 77069"/>
                    <a:gd name="connsiteX1" fmla="*/ 63911 w 77062"/>
                    <a:gd name="connsiteY1" fmla="*/ 74810 h 77069"/>
                    <a:gd name="connsiteX2" fmla="*/ 2263 w 77062"/>
                    <a:gd name="connsiteY2" fmla="*/ 13162 h 77069"/>
                    <a:gd name="connsiteX3" fmla="*/ 2263 w 77062"/>
                    <a:gd name="connsiteY3" fmla="*/ 2263 h 77069"/>
                    <a:gd name="connsiteX4" fmla="*/ 13162 w 77062"/>
                    <a:gd name="connsiteY4" fmla="*/ 2263 h 77069"/>
                    <a:gd name="connsiteX5" fmla="*/ 74810 w 77062"/>
                    <a:gd name="connsiteY5" fmla="*/ 63911 h 77069"/>
                    <a:gd name="connsiteX6" fmla="*/ 74810 w 77062"/>
                    <a:gd name="connsiteY6" fmla="*/ 74810 h 77069"/>
                    <a:gd name="connsiteX7" fmla="*/ 69353 w 77062"/>
                    <a:gd name="connsiteY7" fmla="*/ 77069 h 7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62" h="77069">
                      <a:moveTo>
                        <a:pt x="69353" y="77069"/>
                      </a:moveTo>
                      <a:cubicBezTo>
                        <a:pt x="67383" y="77069"/>
                        <a:pt x="65412" y="76312"/>
                        <a:pt x="63911" y="74810"/>
                      </a:cubicBezTo>
                      <a:lnTo>
                        <a:pt x="2263" y="13162"/>
                      </a:lnTo>
                      <a:cubicBezTo>
                        <a:pt x="-754" y="10159"/>
                        <a:pt x="-754" y="5281"/>
                        <a:pt x="2263" y="2263"/>
                      </a:cubicBezTo>
                      <a:cubicBezTo>
                        <a:pt x="5267" y="-754"/>
                        <a:pt x="10145" y="-754"/>
                        <a:pt x="13162" y="2263"/>
                      </a:cubicBezTo>
                      <a:lnTo>
                        <a:pt x="74810" y="63911"/>
                      </a:lnTo>
                      <a:cubicBezTo>
                        <a:pt x="77814" y="66914"/>
                        <a:pt x="77814" y="71792"/>
                        <a:pt x="74810" y="74810"/>
                      </a:cubicBezTo>
                      <a:cubicBezTo>
                        <a:pt x="73294" y="76312"/>
                        <a:pt x="71324" y="77069"/>
                        <a:pt x="69353" y="77069"/>
                      </a:cubicBezTo>
                      <a:close/>
                    </a:path>
                  </a:pathLst>
                </a:custGeom>
                <a:solidFill>
                  <a:schemeClr val="accent1"/>
                </a:solidFill>
                <a:ln w="1375" cap="flat">
                  <a:noFill/>
                  <a:prstDash val="solid"/>
                  <a:miter/>
                </a:ln>
              </p:spPr>
              <p:txBody>
                <a:bodyPr rtlCol="0" anchor="ctr"/>
                <a:lstStyle/>
                <a:p>
                  <a:endParaRPr lang="en-GB" dirty="0"/>
                </a:p>
              </p:txBody>
            </p:sp>
          </p:grpSp>
          <p:grpSp>
            <p:nvGrpSpPr>
              <p:cNvPr id="332" name="Grafik 7">
                <a:extLst>
                  <a:ext uri="{FF2B5EF4-FFF2-40B4-BE49-F238E27FC236}">
                    <a16:creationId xmlns:a16="http://schemas.microsoft.com/office/drawing/2014/main" id="{7940CA59-2FD8-4F65-825F-6370771CA869}"/>
                  </a:ext>
                </a:extLst>
              </p:cNvPr>
              <p:cNvGrpSpPr/>
              <p:nvPr/>
            </p:nvGrpSpPr>
            <p:grpSpPr>
              <a:xfrm>
                <a:off x="718787" y="1769508"/>
                <a:ext cx="77062" cy="77069"/>
                <a:chOff x="718787" y="1769508"/>
                <a:chExt cx="77062" cy="77069"/>
              </a:xfrm>
              <a:solidFill>
                <a:schemeClr val="tx2"/>
              </a:solidFill>
            </p:grpSpPr>
            <p:sp>
              <p:nvSpPr>
                <p:cNvPr id="333" name="Freihandform: Form 332">
                  <a:extLst>
                    <a:ext uri="{FF2B5EF4-FFF2-40B4-BE49-F238E27FC236}">
                      <a16:creationId xmlns:a16="http://schemas.microsoft.com/office/drawing/2014/main" id="{A3D4E410-856C-442F-9C48-E74D42C0C961}"/>
                    </a:ext>
                  </a:extLst>
                </p:cNvPr>
                <p:cNvSpPr/>
                <p:nvPr/>
              </p:nvSpPr>
              <p:spPr>
                <a:xfrm>
                  <a:off x="718787" y="1769508"/>
                  <a:ext cx="77062" cy="77069"/>
                </a:xfrm>
                <a:custGeom>
                  <a:avLst/>
                  <a:gdLst>
                    <a:gd name="connsiteX0" fmla="*/ 7706 w 77062"/>
                    <a:gd name="connsiteY0" fmla="*/ 77069 h 77069"/>
                    <a:gd name="connsiteX1" fmla="*/ 2263 w 77062"/>
                    <a:gd name="connsiteY1" fmla="*/ 74810 h 77069"/>
                    <a:gd name="connsiteX2" fmla="*/ 2263 w 77062"/>
                    <a:gd name="connsiteY2" fmla="*/ 63911 h 77069"/>
                    <a:gd name="connsiteX3" fmla="*/ 63911 w 77062"/>
                    <a:gd name="connsiteY3" fmla="*/ 2263 h 77069"/>
                    <a:gd name="connsiteX4" fmla="*/ 74810 w 77062"/>
                    <a:gd name="connsiteY4" fmla="*/ 2263 h 77069"/>
                    <a:gd name="connsiteX5" fmla="*/ 74810 w 77062"/>
                    <a:gd name="connsiteY5" fmla="*/ 13162 h 77069"/>
                    <a:gd name="connsiteX6" fmla="*/ 13162 w 77062"/>
                    <a:gd name="connsiteY6" fmla="*/ 74810 h 77069"/>
                    <a:gd name="connsiteX7" fmla="*/ 7706 w 77062"/>
                    <a:gd name="connsiteY7" fmla="*/ 77069 h 7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62" h="77069">
                      <a:moveTo>
                        <a:pt x="7706" y="77069"/>
                      </a:moveTo>
                      <a:cubicBezTo>
                        <a:pt x="5736" y="77069"/>
                        <a:pt x="3765" y="76312"/>
                        <a:pt x="2263" y="74810"/>
                      </a:cubicBezTo>
                      <a:cubicBezTo>
                        <a:pt x="-754" y="71806"/>
                        <a:pt x="-754" y="66928"/>
                        <a:pt x="2263" y="63911"/>
                      </a:cubicBezTo>
                      <a:lnTo>
                        <a:pt x="63911" y="2263"/>
                      </a:lnTo>
                      <a:cubicBezTo>
                        <a:pt x="66914" y="-754"/>
                        <a:pt x="71792" y="-754"/>
                        <a:pt x="74810" y="2263"/>
                      </a:cubicBezTo>
                      <a:cubicBezTo>
                        <a:pt x="77814" y="5267"/>
                        <a:pt x="77814" y="10145"/>
                        <a:pt x="74810" y="13162"/>
                      </a:cubicBezTo>
                      <a:lnTo>
                        <a:pt x="13162" y="74810"/>
                      </a:lnTo>
                      <a:cubicBezTo>
                        <a:pt x="11647" y="76312"/>
                        <a:pt x="9676" y="77069"/>
                        <a:pt x="7706" y="77069"/>
                      </a:cubicBezTo>
                      <a:close/>
                    </a:path>
                  </a:pathLst>
                </a:custGeom>
                <a:solidFill>
                  <a:schemeClr val="accent1"/>
                </a:solidFill>
                <a:ln w="1375" cap="flat">
                  <a:noFill/>
                  <a:prstDash val="solid"/>
                  <a:miter/>
                </a:ln>
              </p:spPr>
              <p:txBody>
                <a:bodyPr rtlCol="0" anchor="ctr"/>
                <a:lstStyle/>
                <a:p>
                  <a:endParaRPr lang="en-GB" dirty="0"/>
                </a:p>
              </p:txBody>
            </p:sp>
            <p:sp>
              <p:nvSpPr>
                <p:cNvPr id="334" name="Freihandform: Form 333">
                  <a:extLst>
                    <a:ext uri="{FF2B5EF4-FFF2-40B4-BE49-F238E27FC236}">
                      <a16:creationId xmlns:a16="http://schemas.microsoft.com/office/drawing/2014/main" id="{1AE137A1-A7AD-41A6-81F1-F1660AF0522F}"/>
                    </a:ext>
                  </a:extLst>
                </p:cNvPr>
                <p:cNvSpPr/>
                <p:nvPr/>
              </p:nvSpPr>
              <p:spPr>
                <a:xfrm>
                  <a:off x="718787" y="1769508"/>
                  <a:ext cx="77062" cy="77069"/>
                </a:xfrm>
                <a:custGeom>
                  <a:avLst/>
                  <a:gdLst>
                    <a:gd name="connsiteX0" fmla="*/ 69353 w 77062"/>
                    <a:gd name="connsiteY0" fmla="*/ 77069 h 77069"/>
                    <a:gd name="connsiteX1" fmla="*/ 63911 w 77062"/>
                    <a:gd name="connsiteY1" fmla="*/ 74810 h 77069"/>
                    <a:gd name="connsiteX2" fmla="*/ 2263 w 77062"/>
                    <a:gd name="connsiteY2" fmla="*/ 13162 h 77069"/>
                    <a:gd name="connsiteX3" fmla="*/ 2263 w 77062"/>
                    <a:gd name="connsiteY3" fmla="*/ 2263 h 77069"/>
                    <a:gd name="connsiteX4" fmla="*/ 13162 w 77062"/>
                    <a:gd name="connsiteY4" fmla="*/ 2263 h 77069"/>
                    <a:gd name="connsiteX5" fmla="*/ 74810 w 77062"/>
                    <a:gd name="connsiteY5" fmla="*/ 63911 h 77069"/>
                    <a:gd name="connsiteX6" fmla="*/ 74810 w 77062"/>
                    <a:gd name="connsiteY6" fmla="*/ 74810 h 77069"/>
                    <a:gd name="connsiteX7" fmla="*/ 69353 w 77062"/>
                    <a:gd name="connsiteY7" fmla="*/ 77069 h 7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62" h="77069">
                      <a:moveTo>
                        <a:pt x="69353" y="77069"/>
                      </a:moveTo>
                      <a:cubicBezTo>
                        <a:pt x="67383" y="77069"/>
                        <a:pt x="65412" y="76312"/>
                        <a:pt x="63911" y="74810"/>
                      </a:cubicBezTo>
                      <a:lnTo>
                        <a:pt x="2263" y="13162"/>
                      </a:lnTo>
                      <a:cubicBezTo>
                        <a:pt x="-754" y="10159"/>
                        <a:pt x="-754" y="5281"/>
                        <a:pt x="2263" y="2263"/>
                      </a:cubicBezTo>
                      <a:cubicBezTo>
                        <a:pt x="5267" y="-754"/>
                        <a:pt x="10145" y="-754"/>
                        <a:pt x="13162" y="2263"/>
                      </a:cubicBezTo>
                      <a:lnTo>
                        <a:pt x="74810" y="63911"/>
                      </a:lnTo>
                      <a:cubicBezTo>
                        <a:pt x="77814" y="66914"/>
                        <a:pt x="77814" y="71792"/>
                        <a:pt x="74810" y="74810"/>
                      </a:cubicBezTo>
                      <a:cubicBezTo>
                        <a:pt x="73294" y="76312"/>
                        <a:pt x="71324" y="77069"/>
                        <a:pt x="69353" y="77069"/>
                      </a:cubicBezTo>
                      <a:close/>
                    </a:path>
                  </a:pathLst>
                </a:custGeom>
                <a:solidFill>
                  <a:schemeClr val="accent1"/>
                </a:solidFill>
                <a:ln w="1375" cap="flat">
                  <a:noFill/>
                  <a:prstDash val="solid"/>
                  <a:miter/>
                </a:ln>
              </p:spPr>
              <p:txBody>
                <a:bodyPr rtlCol="0" anchor="ctr"/>
                <a:lstStyle/>
                <a:p>
                  <a:endParaRPr lang="en-GB" dirty="0"/>
                </a:p>
              </p:txBody>
            </p:sp>
          </p:grpSp>
          <p:grpSp>
            <p:nvGrpSpPr>
              <p:cNvPr id="335" name="Grafik 7">
                <a:extLst>
                  <a:ext uri="{FF2B5EF4-FFF2-40B4-BE49-F238E27FC236}">
                    <a16:creationId xmlns:a16="http://schemas.microsoft.com/office/drawing/2014/main" id="{7940CA59-2FD8-4F65-825F-6370771CA869}"/>
                  </a:ext>
                </a:extLst>
              </p:cNvPr>
              <p:cNvGrpSpPr/>
              <p:nvPr/>
            </p:nvGrpSpPr>
            <p:grpSpPr>
              <a:xfrm>
                <a:off x="826663" y="1769508"/>
                <a:ext cx="77062" cy="77069"/>
                <a:chOff x="826663" y="1769508"/>
                <a:chExt cx="77062" cy="77069"/>
              </a:xfrm>
              <a:solidFill>
                <a:schemeClr val="tx2"/>
              </a:solidFill>
            </p:grpSpPr>
            <p:sp>
              <p:nvSpPr>
                <p:cNvPr id="336" name="Freihandform: Form 335">
                  <a:extLst>
                    <a:ext uri="{FF2B5EF4-FFF2-40B4-BE49-F238E27FC236}">
                      <a16:creationId xmlns:a16="http://schemas.microsoft.com/office/drawing/2014/main" id="{8FF21F0F-A97E-44C8-9460-0EF8B2CD5C1E}"/>
                    </a:ext>
                  </a:extLst>
                </p:cNvPr>
                <p:cNvSpPr/>
                <p:nvPr/>
              </p:nvSpPr>
              <p:spPr>
                <a:xfrm>
                  <a:off x="826663" y="1769508"/>
                  <a:ext cx="77062" cy="77069"/>
                </a:xfrm>
                <a:custGeom>
                  <a:avLst/>
                  <a:gdLst>
                    <a:gd name="connsiteX0" fmla="*/ 7706 w 77062"/>
                    <a:gd name="connsiteY0" fmla="*/ 77069 h 77069"/>
                    <a:gd name="connsiteX1" fmla="*/ 2263 w 77062"/>
                    <a:gd name="connsiteY1" fmla="*/ 74810 h 77069"/>
                    <a:gd name="connsiteX2" fmla="*/ 2263 w 77062"/>
                    <a:gd name="connsiteY2" fmla="*/ 63911 h 77069"/>
                    <a:gd name="connsiteX3" fmla="*/ 63911 w 77062"/>
                    <a:gd name="connsiteY3" fmla="*/ 2263 h 77069"/>
                    <a:gd name="connsiteX4" fmla="*/ 74810 w 77062"/>
                    <a:gd name="connsiteY4" fmla="*/ 2263 h 77069"/>
                    <a:gd name="connsiteX5" fmla="*/ 74810 w 77062"/>
                    <a:gd name="connsiteY5" fmla="*/ 13162 h 77069"/>
                    <a:gd name="connsiteX6" fmla="*/ 13162 w 77062"/>
                    <a:gd name="connsiteY6" fmla="*/ 74810 h 77069"/>
                    <a:gd name="connsiteX7" fmla="*/ 7706 w 77062"/>
                    <a:gd name="connsiteY7" fmla="*/ 77069 h 7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62" h="77069">
                      <a:moveTo>
                        <a:pt x="7706" y="77069"/>
                      </a:moveTo>
                      <a:cubicBezTo>
                        <a:pt x="5736" y="77069"/>
                        <a:pt x="3765" y="76312"/>
                        <a:pt x="2263" y="74810"/>
                      </a:cubicBezTo>
                      <a:cubicBezTo>
                        <a:pt x="-754" y="71806"/>
                        <a:pt x="-754" y="66928"/>
                        <a:pt x="2263" y="63911"/>
                      </a:cubicBezTo>
                      <a:lnTo>
                        <a:pt x="63911" y="2263"/>
                      </a:lnTo>
                      <a:cubicBezTo>
                        <a:pt x="66914" y="-754"/>
                        <a:pt x="71792" y="-754"/>
                        <a:pt x="74810" y="2263"/>
                      </a:cubicBezTo>
                      <a:cubicBezTo>
                        <a:pt x="77814" y="5267"/>
                        <a:pt x="77814" y="10145"/>
                        <a:pt x="74810" y="13162"/>
                      </a:cubicBezTo>
                      <a:lnTo>
                        <a:pt x="13162" y="74810"/>
                      </a:lnTo>
                      <a:cubicBezTo>
                        <a:pt x="11647" y="76312"/>
                        <a:pt x="9676" y="77069"/>
                        <a:pt x="7706" y="77069"/>
                      </a:cubicBezTo>
                      <a:close/>
                    </a:path>
                  </a:pathLst>
                </a:custGeom>
                <a:solidFill>
                  <a:schemeClr val="accent1"/>
                </a:solidFill>
                <a:ln w="1375" cap="flat">
                  <a:noFill/>
                  <a:prstDash val="solid"/>
                  <a:miter/>
                </a:ln>
              </p:spPr>
              <p:txBody>
                <a:bodyPr rtlCol="0" anchor="ctr"/>
                <a:lstStyle/>
                <a:p>
                  <a:endParaRPr lang="en-GB" dirty="0"/>
                </a:p>
              </p:txBody>
            </p:sp>
            <p:sp>
              <p:nvSpPr>
                <p:cNvPr id="337" name="Freihandform: Form 336">
                  <a:extLst>
                    <a:ext uri="{FF2B5EF4-FFF2-40B4-BE49-F238E27FC236}">
                      <a16:creationId xmlns:a16="http://schemas.microsoft.com/office/drawing/2014/main" id="{E0D5C900-5617-4EF9-A7B5-604CFD46F377}"/>
                    </a:ext>
                  </a:extLst>
                </p:cNvPr>
                <p:cNvSpPr/>
                <p:nvPr/>
              </p:nvSpPr>
              <p:spPr>
                <a:xfrm>
                  <a:off x="826663" y="1769508"/>
                  <a:ext cx="77062" cy="77069"/>
                </a:xfrm>
                <a:custGeom>
                  <a:avLst/>
                  <a:gdLst>
                    <a:gd name="connsiteX0" fmla="*/ 69353 w 77062"/>
                    <a:gd name="connsiteY0" fmla="*/ 77069 h 77069"/>
                    <a:gd name="connsiteX1" fmla="*/ 63911 w 77062"/>
                    <a:gd name="connsiteY1" fmla="*/ 74810 h 77069"/>
                    <a:gd name="connsiteX2" fmla="*/ 2263 w 77062"/>
                    <a:gd name="connsiteY2" fmla="*/ 13162 h 77069"/>
                    <a:gd name="connsiteX3" fmla="*/ 2263 w 77062"/>
                    <a:gd name="connsiteY3" fmla="*/ 2263 h 77069"/>
                    <a:gd name="connsiteX4" fmla="*/ 13162 w 77062"/>
                    <a:gd name="connsiteY4" fmla="*/ 2263 h 77069"/>
                    <a:gd name="connsiteX5" fmla="*/ 74810 w 77062"/>
                    <a:gd name="connsiteY5" fmla="*/ 63911 h 77069"/>
                    <a:gd name="connsiteX6" fmla="*/ 74810 w 77062"/>
                    <a:gd name="connsiteY6" fmla="*/ 74810 h 77069"/>
                    <a:gd name="connsiteX7" fmla="*/ 69353 w 77062"/>
                    <a:gd name="connsiteY7" fmla="*/ 77069 h 7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62" h="77069">
                      <a:moveTo>
                        <a:pt x="69353" y="77069"/>
                      </a:moveTo>
                      <a:cubicBezTo>
                        <a:pt x="67383" y="77069"/>
                        <a:pt x="65412" y="76312"/>
                        <a:pt x="63911" y="74810"/>
                      </a:cubicBezTo>
                      <a:lnTo>
                        <a:pt x="2263" y="13162"/>
                      </a:lnTo>
                      <a:cubicBezTo>
                        <a:pt x="-754" y="10159"/>
                        <a:pt x="-754" y="5281"/>
                        <a:pt x="2263" y="2263"/>
                      </a:cubicBezTo>
                      <a:cubicBezTo>
                        <a:pt x="5267" y="-754"/>
                        <a:pt x="10145" y="-754"/>
                        <a:pt x="13162" y="2263"/>
                      </a:cubicBezTo>
                      <a:lnTo>
                        <a:pt x="74810" y="63911"/>
                      </a:lnTo>
                      <a:cubicBezTo>
                        <a:pt x="77814" y="66914"/>
                        <a:pt x="77814" y="71792"/>
                        <a:pt x="74810" y="74810"/>
                      </a:cubicBezTo>
                      <a:cubicBezTo>
                        <a:pt x="73294" y="76312"/>
                        <a:pt x="71324" y="77069"/>
                        <a:pt x="69353" y="77069"/>
                      </a:cubicBezTo>
                      <a:close/>
                    </a:path>
                  </a:pathLst>
                </a:custGeom>
                <a:solidFill>
                  <a:schemeClr val="accent1"/>
                </a:solidFill>
                <a:ln w="1375" cap="flat">
                  <a:noFill/>
                  <a:prstDash val="solid"/>
                  <a:miter/>
                </a:ln>
              </p:spPr>
              <p:txBody>
                <a:bodyPr rtlCol="0" anchor="ctr"/>
                <a:lstStyle/>
                <a:p>
                  <a:endParaRPr lang="en-GB" dirty="0"/>
                </a:p>
              </p:txBody>
            </p:sp>
          </p:grpSp>
          <p:sp>
            <p:nvSpPr>
              <p:cNvPr id="338" name="Freihandform: Form 337">
                <a:extLst>
                  <a:ext uri="{FF2B5EF4-FFF2-40B4-BE49-F238E27FC236}">
                    <a16:creationId xmlns:a16="http://schemas.microsoft.com/office/drawing/2014/main" id="{22AB8C9F-C80B-4EAF-8B27-2B1B2821ABB5}"/>
                  </a:ext>
                </a:extLst>
              </p:cNvPr>
              <p:cNvSpPr/>
              <p:nvPr/>
            </p:nvSpPr>
            <p:spPr>
              <a:xfrm>
                <a:off x="510728" y="1615394"/>
                <a:ext cx="493178" cy="15418"/>
              </a:xfrm>
              <a:custGeom>
                <a:avLst/>
                <a:gdLst>
                  <a:gd name="connsiteX0" fmla="*/ 0 w 493178"/>
                  <a:gd name="connsiteY0" fmla="*/ 0 h 15418"/>
                  <a:gd name="connsiteX1" fmla="*/ 493179 w 493178"/>
                  <a:gd name="connsiteY1" fmla="*/ 0 h 15418"/>
                  <a:gd name="connsiteX2" fmla="*/ 493179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9" y="0"/>
                    </a:lnTo>
                    <a:lnTo>
                      <a:pt x="49317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39" name="Freihandform: Form 338">
                <a:extLst>
                  <a:ext uri="{FF2B5EF4-FFF2-40B4-BE49-F238E27FC236}">
                    <a16:creationId xmlns:a16="http://schemas.microsoft.com/office/drawing/2014/main" id="{4CDF0DAF-FD85-437F-9663-4B49B6CE368F}"/>
                  </a:ext>
                </a:extLst>
              </p:cNvPr>
              <p:cNvSpPr/>
              <p:nvPr/>
            </p:nvSpPr>
            <p:spPr>
              <a:xfrm>
                <a:off x="510728" y="2093167"/>
                <a:ext cx="493178" cy="15418"/>
              </a:xfrm>
              <a:custGeom>
                <a:avLst/>
                <a:gdLst>
                  <a:gd name="connsiteX0" fmla="*/ 0 w 493178"/>
                  <a:gd name="connsiteY0" fmla="*/ 0 h 15418"/>
                  <a:gd name="connsiteX1" fmla="*/ 493179 w 493178"/>
                  <a:gd name="connsiteY1" fmla="*/ 0 h 15418"/>
                  <a:gd name="connsiteX2" fmla="*/ 493179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9" y="0"/>
                    </a:lnTo>
                    <a:lnTo>
                      <a:pt x="493179" y="15419"/>
                    </a:lnTo>
                    <a:lnTo>
                      <a:pt x="0" y="15419"/>
                    </a:lnTo>
                    <a:close/>
                  </a:path>
                </a:pathLst>
              </a:custGeom>
              <a:solidFill>
                <a:schemeClr val="tx2"/>
              </a:solidFill>
              <a:ln w="1375" cap="flat">
                <a:noFill/>
                <a:prstDash val="solid"/>
                <a:miter/>
              </a:ln>
            </p:spPr>
            <p:txBody>
              <a:bodyPr rtlCol="0" anchor="ctr"/>
              <a:lstStyle/>
              <a:p>
                <a:endParaRPr lang="en-GB" dirty="0"/>
              </a:p>
            </p:txBody>
          </p:sp>
        </p:grpSp>
        <p:grpSp>
          <p:nvGrpSpPr>
            <p:cNvPr id="5" name="Gruppieren 4">
              <a:extLst>
                <a:ext uri="{FF2B5EF4-FFF2-40B4-BE49-F238E27FC236}">
                  <a16:creationId xmlns:a16="http://schemas.microsoft.com/office/drawing/2014/main" id="{8947BCE0-1FE6-4558-BA1D-E9548D9F9020}"/>
                </a:ext>
              </a:extLst>
            </p:cNvPr>
            <p:cNvGrpSpPr/>
            <p:nvPr/>
          </p:nvGrpSpPr>
          <p:grpSpPr>
            <a:xfrm>
              <a:off x="549254" y="1663896"/>
              <a:ext cx="416126" cy="367624"/>
              <a:chOff x="549254" y="1663896"/>
              <a:chExt cx="416126" cy="367624"/>
            </a:xfrm>
          </p:grpSpPr>
          <p:sp>
            <p:nvSpPr>
              <p:cNvPr id="340" name="Freihandform: Form 339">
                <a:extLst>
                  <a:ext uri="{FF2B5EF4-FFF2-40B4-BE49-F238E27FC236}">
                    <a16:creationId xmlns:a16="http://schemas.microsoft.com/office/drawing/2014/main" id="{B50B0808-A8D9-49A1-B46C-C1969B392FCA}"/>
                  </a:ext>
                </a:extLst>
              </p:cNvPr>
              <p:cNvSpPr/>
              <p:nvPr/>
            </p:nvSpPr>
            <p:spPr>
              <a:xfrm>
                <a:off x="549254" y="1692460"/>
                <a:ext cx="131010" cy="231170"/>
              </a:xfrm>
              <a:custGeom>
                <a:avLst/>
                <a:gdLst>
                  <a:gd name="connsiteX0" fmla="*/ 46229 w 131010"/>
                  <a:gd name="connsiteY0" fmla="*/ 231171 h 231170"/>
                  <a:gd name="connsiteX1" fmla="*/ 23121 w 131010"/>
                  <a:gd name="connsiteY1" fmla="*/ 231171 h 231170"/>
                  <a:gd name="connsiteX2" fmla="*/ 0 w 131010"/>
                  <a:gd name="connsiteY2" fmla="*/ 208063 h 231170"/>
                  <a:gd name="connsiteX3" fmla="*/ 0 w 131010"/>
                  <a:gd name="connsiteY3" fmla="*/ 23121 h 231170"/>
                  <a:gd name="connsiteX4" fmla="*/ 23121 w 131010"/>
                  <a:gd name="connsiteY4" fmla="*/ 0 h 231170"/>
                  <a:gd name="connsiteX5" fmla="*/ 131011 w 131010"/>
                  <a:gd name="connsiteY5" fmla="*/ 0 h 231170"/>
                  <a:gd name="connsiteX6" fmla="*/ 131011 w 131010"/>
                  <a:gd name="connsiteY6" fmla="*/ 15419 h 231170"/>
                  <a:gd name="connsiteX7" fmla="*/ 23121 w 131010"/>
                  <a:gd name="connsiteY7" fmla="*/ 15419 h 231170"/>
                  <a:gd name="connsiteX8" fmla="*/ 15419 w 131010"/>
                  <a:gd name="connsiteY8" fmla="*/ 23135 h 231170"/>
                  <a:gd name="connsiteX9" fmla="*/ 15419 w 131010"/>
                  <a:gd name="connsiteY9" fmla="*/ 208077 h 231170"/>
                  <a:gd name="connsiteX10" fmla="*/ 23121 w 131010"/>
                  <a:gd name="connsiteY10" fmla="*/ 215779 h 231170"/>
                  <a:gd name="connsiteX11" fmla="*/ 46242 w 131010"/>
                  <a:gd name="connsiteY11" fmla="*/ 215779 h 231170"/>
                  <a:gd name="connsiteX12" fmla="*/ 46242 w 131010"/>
                  <a:gd name="connsiteY12" fmla="*/ 231171 h 23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010" h="231170">
                    <a:moveTo>
                      <a:pt x="46229" y="231171"/>
                    </a:moveTo>
                    <a:lnTo>
                      <a:pt x="23121" y="231171"/>
                    </a:lnTo>
                    <a:cubicBezTo>
                      <a:pt x="10376" y="231171"/>
                      <a:pt x="0" y="220795"/>
                      <a:pt x="0" y="208063"/>
                    </a:cubicBezTo>
                    <a:lnTo>
                      <a:pt x="0" y="23121"/>
                    </a:lnTo>
                    <a:cubicBezTo>
                      <a:pt x="0" y="10376"/>
                      <a:pt x="10376" y="0"/>
                      <a:pt x="23121" y="0"/>
                    </a:cubicBezTo>
                    <a:lnTo>
                      <a:pt x="131011" y="0"/>
                    </a:lnTo>
                    <a:lnTo>
                      <a:pt x="131011" y="15419"/>
                    </a:lnTo>
                    <a:lnTo>
                      <a:pt x="23121" y="15419"/>
                    </a:lnTo>
                    <a:cubicBezTo>
                      <a:pt x="18877" y="15419"/>
                      <a:pt x="15419" y="18877"/>
                      <a:pt x="15419" y="23135"/>
                    </a:cubicBezTo>
                    <a:lnTo>
                      <a:pt x="15419" y="208077"/>
                    </a:lnTo>
                    <a:cubicBezTo>
                      <a:pt x="15419" y="212321"/>
                      <a:pt x="18877" y="215779"/>
                      <a:pt x="23121" y="215779"/>
                    </a:cubicBezTo>
                    <a:lnTo>
                      <a:pt x="46242" y="215779"/>
                    </a:lnTo>
                    <a:lnTo>
                      <a:pt x="46242" y="231171"/>
                    </a:lnTo>
                    <a:close/>
                  </a:path>
                </a:pathLst>
              </a:custGeom>
              <a:solidFill>
                <a:schemeClr val="accent1"/>
              </a:solidFill>
              <a:ln w="1375" cap="flat">
                <a:noFill/>
                <a:prstDash val="solid"/>
                <a:miter/>
              </a:ln>
            </p:spPr>
            <p:txBody>
              <a:bodyPr rtlCol="0" anchor="ctr"/>
              <a:lstStyle/>
              <a:p>
                <a:endParaRPr lang="en-GB" dirty="0"/>
              </a:p>
            </p:txBody>
          </p:sp>
          <p:sp>
            <p:nvSpPr>
              <p:cNvPr id="341" name="Freihandform: Form 340">
                <a:extLst>
                  <a:ext uri="{FF2B5EF4-FFF2-40B4-BE49-F238E27FC236}">
                    <a16:creationId xmlns:a16="http://schemas.microsoft.com/office/drawing/2014/main" id="{CBC8FDF8-FE67-4E6B-A598-D7B7AA5E346E}"/>
                  </a:ext>
                </a:extLst>
              </p:cNvPr>
              <p:cNvSpPr/>
              <p:nvPr/>
            </p:nvSpPr>
            <p:spPr>
              <a:xfrm>
                <a:off x="643984" y="1663896"/>
                <a:ext cx="47165" cy="72546"/>
              </a:xfrm>
              <a:custGeom>
                <a:avLst/>
                <a:gdLst>
                  <a:gd name="connsiteX0" fmla="*/ 10899 w 47165"/>
                  <a:gd name="connsiteY0" fmla="*/ 72547 h 72546"/>
                  <a:gd name="connsiteX1" fmla="*/ 0 w 47165"/>
                  <a:gd name="connsiteY1" fmla="*/ 61647 h 72546"/>
                  <a:gd name="connsiteX2" fmla="*/ 25367 w 47165"/>
                  <a:gd name="connsiteY2" fmla="*/ 36266 h 72546"/>
                  <a:gd name="connsiteX3" fmla="*/ 0 w 47165"/>
                  <a:gd name="connsiteY3" fmla="*/ 10899 h 72546"/>
                  <a:gd name="connsiteX4" fmla="*/ 10899 w 47165"/>
                  <a:gd name="connsiteY4" fmla="*/ 0 h 72546"/>
                  <a:gd name="connsiteX5" fmla="*/ 47166 w 47165"/>
                  <a:gd name="connsiteY5" fmla="*/ 36266 h 7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65" h="72546">
                    <a:moveTo>
                      <a:pt x="10899" y="72547"/>
                    </a:moveTo>
                    <a:lnTo>
                      <a:pt x="0" y="61647"/>
                    </a:lnTo>
                    <a:lnTo>
                      <a:pt x="25367" y="36266"/>
                    </a:lnTo>
                    <a:lnTo>
                      <a:pt x="0" y="10899"/>
                    </a:lnTo>
                    <a:lnTo>
                      <a:pt x="10899" y="0"/>
                    </a:lnTo>
                    <a:lnTo>
                      <a:pt x="47166" y="36266"/>
                    </a:lnTo>
                    <a:close/>
                  </a:path>
                </a:pathLst>
              </a:custGeom>
              <a:solidFill>
                <a:schemeClr val="accent1"/>
              </a:solidFill>
              <a:ln w="1375" cap="flat">
                <a:noFill/>
                <a:prstDash val="solid"/>
                <a:miter/>
              </a:ln>
            </p:spPr>
            <p:txBody>
              <a:bodyPr rtlCol="0" anchor="ctr"/>
              <a:lstStyle/>
              <a:p>
                <a:endParaRPr lang="en-GB" dirty="0"/>
              </a:p>
            </p:txBody>
          </p:sp>
          <p:sp>
            <p:nvSpPr>
              <p:cNvPr id="342" name="Freihandform: Form 341">
                <a:extLst>
                  <a:ext uri="{FF2B5EF4-FFF2-40B4-BE49-F238E27FC236}">
                    <a16:creationId xmlns:a16="http://schemas.microsoft.com/office/drawing/2014/main" id="{8B4FCE20-AB88-4B41-90A8-4309CA2F4570}"/>
                  </a:ext>
                </a:extLst>
              </p:cNvPr>
              <p:cNvSpPr/>
              <p:nvPr/>
            </p:nvSpPr>
            <p:spPr>
              <a:xfrm>
                <a:off x="823470" y="1663896"/>
                <a:ext cx="47179" cy="72546"/>
              </a:xfrm>
              <a:custGeom>
                <a:avLst/>
                <a:gdLst>
                  <a:gd name="connsiteX0" fmla="*/ 36280 w 47179"/>
                  <a:gd name="connsiteY0" fmla="*/ 72547 h 72546"/>
                  <a:gd name="connsiteX1" fmla="*/ 0 w 47179"/>
                  <a:gd name="connsiteY1" fmla="*/ 36266 h 72546"/>
                  <a:gd name="connsiteX2" fmla="*/ 36280 w 47179"/>
                  <a:gd name="connsiteY2" fmla="*/ 0 h 72546"/>
                  <a:gd name="connsiteX3" fmla="*/ 47179 w 47179"/>
                  <a:gd name="connsiteY3" fmla="*/ 10899 h 72546"/>
                  <a:gd name="connsiteX4" fmla="*/ 21798 w 47179"/>
                  <a:gd name="connsiteY4" fmla="*/ 36266 h 72546"/>
                  <a:gd name="connsiteX5" fmla="*/ 47179 w 47179"/>
                  <a:gd name="connsiteY5" fmla="*/ 61647 h 72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79" h="72546">
                    <a:moveTo>
                      <a:pt x="36280" y="72547"/>
                    </a:moveTo>
                    <a:lnTo>
                      <a:pt x="0" y="36266"/>
                    </a:lnTo>
                    <a:lnTo>
                      <a:pt x="36280" y="0"/>
                    </a:lnTo>
                    <a:lnTo>
                      <a:pt x="47179" y="10899"/>
                    </a:lnTo>
                    <a:lnTo>
                      <a:pt x="21798" y="36266"/>
                    </a:lnTo>
                    <a:lnTo>
                      <a:pt x="47179" y="61647"/>
                    </a:lnTo>
                    <a:close/>
                  </a:path>
                </a:pathLst>
              </a:custGeom>
              <a:solidFill>
                <a:schemeClr val="accent1"/>
              </a:solidFill>
              <a:ln w="1375" cap="flat">
                <a:noFill/>
                <a:prstDash val="solid"/>
                <a:miter/>
              </a:ln>
            </p:spPr>
            <p:txBody>
              <a:bodyPr rtlCol="0" anchor="ctr"/>
              <a:lstStyle/>
              <a:p>
                <a:endParaRPr lang="en-GB" dirty="0"/>
              </a:p>
            </p:txBody>
          </p:sp>
          <p:sp>
            <p:nvSpPr>
              <p:cNvPr id="343" name="Freihandform: Form 342">
                <a:extLst>
                  <a:ext uri="{FF2B5EF4-FFF2-40B4-BE49-F238E27FC236}">
                    <a16:creationId xmlns:a16="http://schemas.microsoft.com/office/drawing/2014/main" id="{435BC23C-F9BD-41AD-A030-3F18FA38BD13}"/>
                  </a:ext>
                </a:extLst>
              </p:cNvPr>
              <p:cNvSpPr/>
              <p:nvPr/>
            </p:nvSpPr>
            <p:spPr>
              <a:xfrm>
                <a:off x="811262" y="1692460"/>
                <a:ext cx="154118" cy="339060"/>
              </a:xfrm>
              <a:custGeom>
                <a:avLst/>
                <a:gdLst>
                  <a:gd name="connsiteX0" fmla="*/ 130997 w 154118"/>
                  <a:gd name="connsiteY0" fmla="*/ 339060 h 339060"/>
                  <a:gd name="connsiteX1" fmla="*/ 0 w 154118"/>
                  <a:gd name="connsiteY1" fmla="*/ 339060 h 339060"/>
                  <a:gd name="connsiteX2" fmla="*/ 0 w 154118"/>
                  <a:gd name="connsiteY2" fmla="*/ 323641 h 339060"/>
                  <a:gd name="connsiteX3" fmla="*/ 130997 w 154118"/>
                  <a:gd name="connsiteY3" fmla="*/ 323641 h 339060"/>
                  <a:gd name="connsiteX4" fmla="*/ 138700 w 154118"/>
                  <a:gd name="connsiteY4" fmla="*/ 315939 h 339060"/>
                  <a:gd name="connsiteX5" fmla="*/ 138700 w 154118"/>
                  <a:gd name="connsiteY5" fmla="*/ 23121 h 339060"/>
                  <a:gd name="connsiteX6" fmla="*/ 130997 w 154118"/>
                  <a:gd name="connsiteY6" fmla="*/ 15405 h 339060"/>
                  <a:gd name="connsiteX7" fmla="*/ 23107 w 154118"/>
                  <a:gd name="connsiteY7" fmla="*/ 15405 h 339060"/>
                  <a:gd name="connsiteX8" fmla="*/ 23107 w 154118"/>
                  <a:gd name="connsiteY8" fmla="*/ 0 h 339060"/>
                  <a:gd name="connsiteX9" fmla="*/ 130997 w 154118"/>
                  <a:gd name="connsiteY9" fmla="*/ 0 h 339060"/>
                  <a:gd name="connsiteX10" fmla="*/ 154118 w 154118"/>
                  <a:gd name="connsiteY10" fmla="*/ 23121 h 339060"/>
                  <a:gd name="connsiteX11" fmla="*/ 154118 w 154118"/>
                  <a:gd name="connsiteY11" fmla="*/ 315953 h 339060"/>
                  <a:gd name="connsiteX12" fmla="*/ 130997 w 154118"/>
                  <a:gd name="connsiteY12" fmla="*/ 339060 h 33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118" h="339060">
                    <a:moveTo>
                      <a:pt x="130997" y="339060"/>
                    </a:moveTo>
                    <a:lnTo>
                      <a:pt x="0" y="339060"/>
                    </a:lnTo>
                    <a:lnTo>
                      <a:pt x="0" y="323641"/>
                    </a:lnTo>
                    <a:lnTo>
                      <a:pt x="130997" y="323641"/>
                    </a:lnTo>
                    <a:cubicBezTo>
                      <a:pt x="135241" y="323641"/>
                      <a:pt x="138700" y="320183"/>
                      <a:pt x="138700" y="315939"/>
                    </a:cubicBezTo>
                    <a:lnTo>
                      <a:pt x="138700" y="23121"/>
                    </a:lnTo>
                    <a:cubicBezTo>
                      <a:pt x="138700" y="18863"/>
                      <a:pt x="135241" y="15405"/>
                      <a:pt x="130997" y="15405"/>
                    </a:cubicBezTo>
                    <a:lnTo>
                      <a:pt x="23107" y="15405"/>
                    </a:lnTo>
                    <a:lnTo>
                      <a:pt x="23107" y="0"/>
                    </a:lnTo>
                    <a:lnTo>
                      <a:pt x="130997" y="0"/>
                    </a:lnTo>
                    <a:cubicBezTo>
                      <a:pt x="143743" y="0"/>
                      <a:pt x="154118" y="10376"/>
                      <a:pt x="154118" y="23121"/>
                    </a:cubicBezTo>
                    <a:lnTo>
                      <a:pt x="154118" y="315953"/>
                    </a:lnTo>
                    <a:cubicBezTo>
                      <a:pt x="154118" y="328685"/>
                      <a:pt x="143743" y="339060"/>
                      <a:pt x="130997" y="339060"/>
                    </a:cubicBezTo>
                    <a:close/>
                  </a:path>
                </a:pathLst>
              </a:custGeom>
              <a:solidFill>
                <a:schemeClr val="accent1"/>
              </a:solidFill>
              <a:ln w="1375" cap="flat">
                <a:noFill/>
                <a:prstDash val="solid"/>
                <a:miter/>
              </a:ln>
            </p:spPr>
            <p:txBody>
              <a:bodyPr rtlCol="0" anchor="ctr"/>
              <a:lstStyle/>
              <a:p>
                <a:endParaRPr lang="en-GB" dirty="0"/>
              </a:p>
            </p:txBody>
          </p:sp>
        </p:grpSp>
      </p:grpSp>
      <p:grpSp>
        <p:nvGrpSpPr>
          <p:cNvPr id="649" name="Gruppieren 648">
            <a:extLst>
              <a:ext uri="{FF2B5EF4-FFF2-40B4-BE49-F238E27FC236}">
                <a16:creationId xmlns:a16="http://schemas.microsoft.com/office/drawing/2014/main" id="{85F44AA9-3B2F-43B4-8C90-C769D08845C9}"/>
              </a:ext>
            </a:extLst>
          </p:cNvPr>
          <p:cNvGrpSpPr>
            <a:grpSpLocks noChangeAspect="1"/>
          </p:cNvGrpSpPr>
          <p:nvPr/>
        </p:nvGrpSpPr>
        <p:grpSpPr>
          <a:xfrm>
            <a:off x="2927378" y="1626722"/>
            <a:ext cx="531690" cy="431996"/>
            <a:chOff x="2961225" y="1707864"/>
            <a:chExt cx="493176" cy="400702"/>
          </a:xfrm>
        </p:grpSpPr>
        <p:grpSp>
          <p:nvGrpSpPr>
            <p:cNvPr id="647" name="Gruppieren 646">
              <a:extLst>
                <a:ext uri="{FF2B5EF4-FFF2-40B4-BE49-F238E27FC236}">
                  <a16:creationId xmlns:a16="http://schemas.microsoft.com/office/drawing/2014/main" id="{E5517958-8BBC-4C88-9587-6CD613E10848}"/>
                </a:ext>
              </a:extLst>
            </p:cNvPr>
            <p:cNvGrpSpPr/>
            <p:nvPr/>
          </p:nvGrpSpPr>
          <p:grpSpPr>
            <a:xfrm>
              <a:off x="2961225" y="1815736"/>
              <a:ext cx="493176" cy="292830"/>
              <a:chOff x="2961229" y="1815740"/>
              <a:chExt cx="493177" cy="292831"/>
            </a:xfrm>
          </p:grpSpPr>
          <p:sp>
            <p:nvSpPr>
              <p:cNvPr id="345" name="Freihandform: Form 344">
                <a:extLst>
                  <a:ext uri="{FF2B5EF4-FFF2-40B4-BE49-F238E27FC236}">
                    <a16:creationId xmlns:a16="http://schemas.microsoft.com/office/drawing/2014/main" id="{8A133AEF-B49E-425F-BF40-2416D52C0EE6}"/>
                  </a:ext>
                </a:extLst>
              </p:cNvPr>
              <p:cNvSpPr/>
              <p:nvPr/>
            </p:nvSpPr>
            <p:spPr>
              <a:xfrm>
                <a:off x="3176994" y="1815754"/>
                <a:ext cx="277412" cy="115192"/>
              </a:xfrm>
              <a:custGeom>
                <a:avLst/>
                <a:gdLst>
                  <a:gd name="connsiteX0" fmla="*/ 110329 w 277412"/>
                  <a:gd name="connsiteY0" fmla="*/ 115193 h 115192"/>
                  <a:gd name="connsiteX1" fmla="*/ 105451 w 277412"/>
                  <a:gd name="connsiteY1" fmla="*/ 100573 h 115192"/>
                  <a:gd name="connsiteX2" fmla="*/ 262008 w 277412"/>
                  <a:gd name="connsiteY2" fmla="*/ 48392 h 115192"/>
                  <a:gd name="connsiteX3" fmla="*/ 262008 w 277412"/>
                  <a:gd name="connsiteY3" fmla="*/ 15419 h 115192"/>
                  <a:gd name="connsiteX4" fmla="*/ 0 w 277412"/>
                  <a:gd name="connsiteY4" fmla="*/ 15419 h 115192"/>
                  <a:gd name="connsiteX5" fmla="*/ 0 w 277412"/>
                  <a:gd name="connsiteY5" fmla="*/ 0 h 115192"/>
                  <a:gd name="connsiteX6" fmla="*/ 269711 w 277412"/>
                  <a:gd name="connsiteY6" fmla="*/ 0 h 115192"/>
                  <a:gd name="connsiteX7" fmla="*/ 277413 w 277412"/>
                  <a:gd name="connsiteY7" fmla="*/ 7702 h 115192"/>
                  <a:gd name="connsiteX8" fmla="*/ 277413 w 277412"/>
                  <a:gd name="connsiteY8" fmla="*/ 53945 h 115192"/>
                  <a:gd name="connsiteX9" fmla="*/ 272150 w 277412"/>
                  <a:gd name="connsiteY9" fmla="*/ 61261 h 115192"/>
                  <a:gd name="connsiteX10" fmla="*/ 110329 w 277412"/>
                  <a:gd name="connsiteY10" fmla="*/ 115193 h 11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7412" h="115192">
                    <a:moveTo>
                      <a:pt x="110329" y="115193"/>
                    </a:moveTo>
                    <a:lnTo>
                      <a:pt x="105451" y="100573"/>
                    </a:lnTo>
                    <a:lnTo>
                      <a:pt x="262008" y="48392"/>
                    </a:lnTo>
                    <a:lnTo>
                      <a:pt x="262008" y="15419"/>
                    </a:lnTo>
                    <a:lnTo>
                      <a:pt x="0" y="15419"/>
                    </a:lnTo>
                    <a:lnTo>
                      <a:pt x="0" y="0"/>
                    </a:lnTo>
                    <a:lnTo>
                      <a:pt x="269711" y="0"/>
                    </a:lnTo>
                    <a:cubicBezTo>
                      <a:pt x="273968" y="0"/>
                      <a:pt x="277413" y="3445"/>
                      <a:pt x="277413" y="7702"/>
                    </a:cubicBezTo>
                    <a:lnTo>
                      <a:pt x="277413" y="53945"/>
                    </a:lnTo>
                    <a:cubicBezTo>
                      <a:pt x="277413" y="57266"/>
                      <a:pt x="275291" y="60201"/>
                      <a:pt x="272150" y="61261"/>
                    </a:cubicBezTo>
                    <a:lnTo>
                      <a:pt x="110329" y="115193"/>
                    </a:lnTo>
                    <a:close/>
                  </a:path>
                </a:pathLst>
              </a:custGeom>
              <a:solidFill>
                <a:schemeClr val="tx2"/>
              </a:solidFill>
              <a:ln w="1375" cap="flat">
                <a:noFill/>
                <a:prstDash val="solid"/>
                <a:miter/>
              </a:ln>
            </p:spPr>
            <p:txBody>
              <a:bodyPr rtlCol="0" anchor="ctr"/>
              <a:lstStyle/>
              <a:p>
                <a:endParaRPr lang="en-GB" dirty="0"/>
              </a:p>
            </p:txBody>
          </p:sp>
          <p:sp>
            <p:nvSpPr>
              <p:cNvPr id="346" name="Freihandform: Form 345">
                <a:extLst>
                  <a:ext uri="{FF2B5EF4-FFF2-40B4-BE49-F238E27FC236}">
                    <a16:creationId xmlns:a16="http://schemas.microsoft.com/office/drawing/2014/main" id="{71368801-4923-476A-A862-4262350302A4}"/>
                  </a:ext>
                </a:extLst>
              </p:cNvPr>
              <p:cNvSpPr/>
              <p:nvPr/>
            </p:nvSpPr>
            <p:spPr>
              <a:xfrm>
                <a:off x="2961229" y="1931346"/>
                <a:ext cx="61647" cy="61647"/>
              </a:xfrm>
              <a:custGeom>
                <a:avLst/>
                <a:gdLst>
                  <a:gd name="connsiteX0" fmla="*/ 30824 w 61647"/>
                  <a:gd name="connsiteY0" fmla="*/ 61647 h 61647"/>
                  <a:gd name="connsiteX1" fmla="*/ 0 w 61647"/>
                  <a:gd name="connsiteY1" fmla="*/ 30824 h 61647"/>
                  <a:gd name="connsiteX2" fmla="*/ 30824 w 61647"/>
                  <a:gd name="connsiteY2" fmla="*/ 0 h 61647"/>
                  <a:gd name="connsiteX3" fmla="*/ 61647 w 61647"/>
                  <a:gd name="connsiteY3" fmla="*/ 30824 h 61647"/>
                  <a:gd name="connsiteX4" fmla="*/ 30824 w 61647"/>
                  <a:gd name="connsiteY4" fmla="*/ 61647 h 61647"/>
                  <a:gd name="connsiteX5" fmla="*/ 30824 w 61647"/>
                  <a:gd name="connsiteY5" fmla="*/ 15405 h 61647"/>
                  <a:gd name="connsiteX6" fmla="*/ 15405 w 61647"/>
                  <a:gd name="connsiteY6" fmla="*/ 30824 h 61647"/>
                  <a:gd name="connsiteX7" fmla="*/ 30824 w 61647"/>
                  <a:gd name="connsiteY7" fmla="*/ 46242 h 61647"/>
                  <a:gd name="connsiteX8" fmla="*/ 46242 w 61647"/>
                  <a:gd name="connsiteY8" fmla="*/ 30824 h 61647"/>
                  <a:gd name="connsiteX9" fmla="*/ 30824 w 61647"/>
                  <a:gd name="connsiteY9" fmla="*/ 15405 h 6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47" h="61647">
                    <a:moveTo>
                      <a:pt x="30824" y="61647"/>
                    </a:moveTo>
                    <a:cubicBezTo>
                      <a:pt x="13820" y="61647"/>
                      <a:pt x="0" y="47813"/>
                      <a:pt x="0" y="30824"/>
                    </a:cubicBezTo>
                    <a:cubicBezTo>
                      <a:pt x="0" y="13834"/>
                      <a:pt x="13820" y="0"/>
                      <a:pt x="30824" y="0"/>
                    </a:cubicBezTo>
                    <a:cubicBezTo>
                      <a:pt x="47827" y="0"/>
                      <a:pt x="61647" y="13834"/>
                      <a:pt x="61647" y="30824"/>
                    </a:cubicBezTo>
                    <a:cubicBezTo>
                      <a:pt x="61647" y="47813"/>
                      <a:pt x="47827" y="61647"/>
                      <a:pt x="30824" y="61647"/>
                    </a:cubicBezTo>
                    <a:close/>
                    <a:moveTo>
                      <a:pt x="30824" y="15405"/>
                    </a:moveTo>
                    <a:cubicBezTo>
                      <a:pt x="22322" y="15405"/>
                      <a:pt x="15405" y="22322"/>
                      <a:pt x="15405" y="30824"/>
                    </a:cubicBezTo>
                    <a:cubicBezTo>
                      <a:pt x="15405" y="39325"/>
                      <a:pt x="22322" y="46242"/>
                      <a:pt x="30824" y="46242"/>
                    </a:cubicBezTo>
                    <a:cubicBezTo>
                      <a:pt x="39325" y="46242"/>
                      <a:pt x="46242" y="39325"/>
                      <a:pt x="46242" y="30824"/>
                    </a:cubicBezTo>
                    <a:cubicBezTo>
                      <a:pt x="46242" y="22322"/>
                      <a:pt x="39325" y="15405"/>
                      <a:pt x="30824" y="15405"/>
                    </a:cubicBezTo>
                    <a:close/>
                  </a:path>
                </a:pathLst>
              </a:custGeom>
              <a:solidFill>
                <a:schemeClr val="tx2"/>
              </a:solidFill>
              <a:ln w="1375" cap="flat">
                <a:noFill/>
                <a:prstDash val="solid"/>
                <a:miter/>
              </a:ln>
            </p:spPr>
            <p:txBody>
              <a:bodyPr rtlCol="0" anchor="ctr"/>
              <a:lstStyle/>
              <a:p>
                <a:endParaRPr lang="en-GB" dirty="0"/>
              </a:p>
            </p:txBody>
          </p:sp>
          <p:sp>
            <p:nvSpPr>
              <p:cNvPr id="347" name="Freihandform: Form 346">
                <a:extLst>
                  <a:ext uri="{FF2B5EF4-FFF2-40B4-BE49-F238E27FC236}">
                    <a16:creationId xmlns:a16="http://schemas.microsoft.com/office/drawing/2014/main" id="{7A882B1C-808A-4636-8B3B-A3E7E0A3C6FB}"/>
                  </a:ext>
                </a:extLst>
              </p:cNvPr>
              <p:cNvSpPr/>
              <p:nvPr/>
            </p:nvSpPr>
            <p:spPr>
              <a:xfrm>
                <a:off x="3038281" y="1846564"/>
                <a:ext cx="231184" cy="231184"/>
              </a:xfrm>
              <a:custGeom>
                <a:avLst/>
                <a:gdLst>
                  <a:gd name="connsiteX0" fmla="*/ 115592 w 231184"/>
                  <a:gd name="connsiteY0" fmla="*/ 231184 h 231184"/>
                  <a:gd name="connsiteX1" fmla="*/ 0 w 231184"/>
                  <a:gd name="connsiteY1" fmla="*/ 115592 h 231184"/>
                  <a:gd name="connsiteX2" fmla="*/ 115592 w 231184"/>
                  <a:gd name="connsiteY2" fmla="*/ 0 h 231184"/>
                  <a:gd name="connsiteX3" fmla="*/ 115592 w 231184"/>
                  <a:gd name="connsiteY3" fmla="*/ 15419 h 231184"/>
                  <a:gd name="connsiteX4" fmla="*/ 15419 w 231184"/>
                  <a:gd name="connsiteY4" fmla="*/ 115592 h 231184"/>
                  <a:gd name="connsiteX5" fmla="*/ 115592 w 231184"/>
                  <a:gd name="connsiteY5" fmla="*/ 215766 h 231184"/>
                  <a:gd name="connsiteX6" fmla="*/ 215766 w 231184"/>
                  <a:gd name="connsiteY6" fmla="*/ 115592 h 231184"/>
                  <a:gd name="connsiteX7" fmla="*/ 231184 w 231184"/>
                  <a:gd name="connsiteY7" fmla="*/ 115592 h 231184"/>
                  <a:gd name="connsiteX8" fmla="*/ 115592 w 231184"/>
                  <a:gd name="connsiteY8" fmla="*/ 231184 h 23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184" h="231184">
                    <a:moveTo>
                      <a:pt x="115592" y="231184"/>
                    </a:moveTo>
                    <a:cubicBezTo>
                      <a:pt x="51850" y="231184"/>
                      <a:pt x="0" y="179334"/>
                      <a:pt x="0" y="115592"/>
                    </a:cubicBezTo>
                    <a:cubicBezTo>
                      <a:pt x="0" y="51850"/>
                      <a:pt x="51850" y="0"/>
                      <a:pt x="115592" y="0"/>
                    </a:cubicBezTo>
                    <a:lnTo>
                      <a:pt x="115592" y="15419"/>
                    </a:lnTo>
                    <a:cubicBezTo>
                      <a:pt x="60352" y="15419"/>
                      <a:pt x="15419" y="60352"/>
                      <a:pt x="15419" y="115592"/>
                    </a:cubicBezTo>
                    <a:cubicBezTo>
                      <a:pt x="15419" y="170832"/>
                      <a:pt x="60366" y="215766"/>
                      <a:pt x="115592" y="215766"/>
                    </a:cubicBezTo>
                    <a:cubicBezTo>
                      <a:pt x="170832" y="215766"/>
                      <a:pt x="215766" y="170832"/>
                      <a:pt x="215766" y="115592"/>
                    </a:cubicBezTo>
                    <a:lnTo>
                      <a:pt x="231184" y="115592"/>
                    </a:lnTo>
                    <a:cubicBezTo>
                      <a:pt x="231184" y="179334"/>
                      <a:pt x="179334" y="231184"/>
                      <a:pt x="115592" y="231184"/>
                    </a:cubicBezTo>
                    <a:close/>
                  </a:path>
                </a:pathLst>
              </a:custGeom>
              <a:solidFill>
                <a:schemeClr val="tx2"/>
              </a:solidFill>
              <a:ln w="1375" cap="flat">
                <a:noFill/>
                <a:prstDash val="solid"/>
                <a:miter/>
              </a:ln>
            </p:spPr>
            <p:txBody>
              <a:bodyPr rtlCol="0" anchor="ctr"/>
              <a:lstStyle/>
              <a:p>
                <a:endParaRPr lang="en-GB" dirty="0"/>
              </a:p>
            </p:txBody>
          </p:sp>
          <p:sp>
            <p:nvSpPr>
              <p:cNvPr id="348" name="Freihandform: Form 347">
                <a:extLst>
                  <a:ext uri="{FF2B5EF4-FFF2-40B4-BE49-F238E27FC236}">
                    <a16:creationId xmlns:a16="http://schemas.microsoft.com/office/drawing/2014/main" id="{16A8EB1B-FA16-4CF1-A446-0A5B74938779}"/>
                  </a:ext>
                </a:extLst>
              </p:cNvPr>
              <p:cNvSpPr/>
              <p:nvPr/>
            </p:nvSpPr>
            <p:spPr>
              <a:xfrm>
                <a:off x="3007458" y="1815740"/>
                <a:ext cx="292817" cy="292831"/>
              </a:xfrm>
              <a:custGeom>
                <a:avLst/>
                <a:gdLst>
                  <a:gd name="connsiteX0" fmla="*/ 146416 w 292817"/>
                  <a:gd name="connsiteY0" fmla="*/ 292832 h 292831"/>
                  <a:gd name="connsiteX1" fmla="*/ 0 w 292817"/>
                  <a:gd name="connsiteY1" fmla="*/ 146416 h 292831"/>
                  <a:gd name="connsiteX2" fmla="*/ 146416 w 292817"/>
                  <a:gd name="connsiteY2" fmla="*/ 0 h 292831"/>
                  <a:gd name="connsiteX3" fmla="*/ 154118 w 292817"/>
                  <a:gd name="connsiteY3" fmla="*/ 0 h 292831"/>
                  <a:gd name="connsiteX4" fmla="*/ 154118 w 292817"/>
                  <a:gd name="connsiteY4" fmla="*/ 30824 h 292831"/>
                  <a:gd name="connsiteX5" fmla="*/ 184942 w 292817"/>
                  <a:gd name="connsiteY5" fmla="*/ 30824 h 292831"/>
                  <a:gd name="connsiteX6" fmla="*/ 184942 w 292817"/>
                  <a:gd name="connsiteY6" fmla="*/ 46242 h 292831"/>
                  <a:gd name="connsiteX7" fmla="*/ 138699 w 292817"/>
                  <a:gd name="connsiteY7" fmla="*/ 46242 h 292831"/>
                  <a:gd name="connsiteX8" fmla="*/ 138699 w 292817"/>
                  <a:gd name="connsiteY8" fmla="*/ 15639 h 292831"/>
                  <a:gd name="connsiteX9" fmla="*/ 15405 w 292817"/>
                  <a:gd name="connsiteY9" fmla="*/ 146416 h 292831"/>
                  <a:gd name="connsiteX10" fmla="*/ 146402 w 292817"/>
                  <a:gd name="connsiteY10" fmla="*/ 277413 h 292831"/>
                  <a:gd name="connsiteX11" fmla="*/ 277399 w 292817"/>
                  <a:gd name="connsiteY11" fmla="*/ 146416 h 292831"/>
                  <a:gd name="connsiteX12" fmla="*/ 255353 w 292817"/>
                  <a:gd name="connsiteY12" fmla="*/ 73663 h 292831"/>
                  <a:gd name="connsiteX13" fmla="*/ 268167 w 292817"/>
                  <a:gd name="connsiteY13" fmla="*/ 65092 h 292831"/>
                  <a:gd name="connsiteX14" fmla="*/ 292818 w 292817"/>
                  <a:gd name="connsiteY14" fmla="*/ 146430 h 292831"/>
                  <a:gd name="connsiteX15" fmla="*/ 146416 w 292817"/>
                  <a:gd name="connsiteY15" fmla="*/ 292832 h 29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2817" h="292831">
                    <a:moveTo>
                      <a:pt x="146416" y="292832"/>
                    </a:moveTo>
                    <a:cubicBezTo>
                      <a:pt x="65684" y="292832"/>
                      <a:pt x="0" y="227147"/>
                      <a:pt x="0" y="146416"/>
                    </a:cubicBezTo>
                    <a:cubicBezTo>
                      <a:pt x="0" y="65685"/>
                      <a:pt x="65684" y="0"/>
                      <a:pt x="146416" y="0"/>
                    </a:cubicBezTo>
                    <a:lnTo>
                      <a:pt x="154118" y="0"/>
                    </a:lnTo>
                    <a:lnTo>
                      <a:pt x="154118" y="30824"/>
                    </a:lnTo>
                    <a:lnTo>
                      <a:pt x="184942" y="30824"/>
                    </a:lnTo>
                    <a:lnTo>
                      <a:pt x="184942" y="46242"/>
                    </a:lnTo>
                    <a:lnTo>
                      <a:pt x="138699" y="46242"/>
                    </a:lnTo>
                    <a:lnTo>
                      <a:pt x="138699" y="15639"/>
                    </a:lnTo>
                    <a:cubicBezTo>
                      <a:pt x="70039" y="19649"/>
                      <a:pt x="15405" y="76763"/>
                      <a:pt x="15405" y="146416"/>
                    </a:cubicBezTo>
                    <a:cubicBezTo>
                      <a:pt x="15405" y="218645"/>
                      <a:pt x="74172" y="277413"/>
                      <a:pt x="146402" y="277413"/>
                    </a:cubicBezTo>
                    <a:cubicBezTo>
                      <a:pt x="218632" y="277413"/>
                      <a:pt x="277399" y="218645"/>
                      <a:pt x="277399" y="146416"/>
                    </a:cubicBezTo>
                    <a:cubicBezTo>
                      <a:pt x="277399" y="120360"/>
                      <a:pt x="269779" y="95199"/>
                      <a:pt x="255353" y="73663"/>
                    </a:cubicBezTo>
                    <a:lnTo>
                      <a:pt x="268167" y="65092"/>
                    </a:lnTo>
                    <a:cubicBezTo>
                      <a:pt x="284289" y="89192"/>
                      <a:pt x="292818" y="117315"/>
                      <a:pt x="292818" y="146430"/>
                    </a:cubicBezTo>
                    <a:cubicBezTo>
                      <a:pt x="292832" y="227161"/>
                      <a:pt x="227161" y="292832"/>
                      <a:pt x="146416" y="292832"/>
                    </a:cubicBezTo>
                    <a:close/>
                  </a:path>
                </a:pathLst>
              </a:custGeom>
              <a:solidFill>
                <a:schemeClr val="tx2"/>
              </a:solidFill>
              <a:ln w="1375" cap="flat">
                <a:noFill/>
                <a:prstDash val="solid"/>
                <a:miter/>
              </a:ln>
            </p:spPr>
            <p:txBody>
              <a:bodyPr rtlCol="0" anchor="ctr"/>
              <a:lstStyle/>
              <a:p>
                <a:endParaRPr lang="en-GB" dirty="0"/>
              </a:p>
            </p:txBody>
          </p:sp>
        </p:grpSp>
        <p:grpSp>
          <p:nvGrpSpPr>
            <p:cNvPr id="648" name="Gruppieren 647">
              <a:extLst>
                <a:ext uri="{FF2B5EF4-FFF2-40B4-BE49-F238E27FC236}">
                  <a16:creationId xmlns:a16="http://schemas.microsoft.com/office/drawing/2014/main" id="{BF3768C6-A200-4404-9498-91BC0A6FEFC5}"/>
                </a:ext>
              </a:extLst>
            </p:cNvPr>
            <p:cNvGrpSpPr/>
            <p:nvPr/>
          </p:nvGrpSpPr>
          <p:grpSpPr>
            <a:xfrm>
              <a:off x="3069251" y="1707864"/>
              <a:ext cx="200146" cy="89517"/>
              <a:chOff x="3069251" y="1707864"/>
              <a:chExt cx="200146" cy="89517"/>
            </a:xfrm>
          </p:grpSpPr>
          <p:sp>
            <p:nvSpPr>
              <p:cNvPr id="349" name="Freihandform: Form 348">
                <a:extLst>
                  <a:ext uri="{FF2B5EF4-FFF2-40B4-BE49-F238E27FC236}">
                    <a16:creationId xmlns:a16="http://schemas.microsoft.com/office/drawing/2014/main" id="{178EBA83-503C-4706-BCAD-A57A8101B998}"/>
                  </a:ext>
                </a:extLst>
              </p:cNvPr>
              <p:cNvSpPr/>
              <p:nvPr/>
            </p:nvSpPr>
            <p:spPr>
              <a:xfrm>
                <a:off x="3161590" y="1707864"/>
                <a:ext cx="15418" cy="77066"/>
              </a:xfrm>
              <a:custGeom>
                <a:avLst/>
                <a:gdLst>
                  <a:gd name="connsiteX0" fmla="*/ 0 w 15418"/>
                  <a:gd name="connsiteY0" fmla="*/ 0 h 77066"/>
                  <a:gd name="connsiteX1" fmla="*/ 15419 w 15418"/>
                  <a:gd name="connsiteY1" fmla="*/ 0 h 77066"/>
                  <a:gd name="connsiteX2" fmla="*/ 15419 w 15418"/>
                  <a:gd name="connsiteY2" fmla="*/ 77066 h 77066"/>
                  <a:gd name="connsiteX3" fmla="*/ 0 w 15418"/>
                  <a:gd name="connsiteY3" fmla="*/ 77066 h 77066"/>
                </a:gdLst>
                <a:ahLst/>
                <a:cxnLst>
                  <a:cxn ang="0">
                    <a:pos x="connsiteX0" y="connsiteY0"/>
                  </a:cxn>
                  <a:cxn ang="0">
                    <a:pos x="connsiteX1" y="connsiteY1"/>
                  </a:cxn>
                  <a:cxn ang="0">
                    <a:pos x="connsiteX2" y="connsiteY2"/>
                  </a:cxn>
                  <a:cxn ang="0">
                    <a:pos x="connsiteX3" y="connsiteY3"/>
                  </a:cxn>
                </a:cxnLst>
                <a:rect l="l" t="t" r="r" b="b"/>
                <a:pathLst>
                  <a:path w="15418" h="77066">
                    <a:moveTo>
                      <a:pt x="0" y="0"/>
                    </a:moveTo>
                    <a:lnTo>
                      <a:pt x="15419" y="0"/>
                    </a:lnTo>
                    <a:lnTo>
                      <a:pt x="15419" y="77066"/>
                    </a:lnTo>
                    <a:lnTo>
                      <a:pt x="0" y="77066"/>
                    </a:lnTo>
                    <a:close/>
                  </a:path>
                </a:pathLst>
              </a:custGeom>
              <a:solidFill>
                <a:schemeClr val="accent1"/>
              </a:solidFill>
              <a:ln w="1375" cap="flat">
                <a:noFill/>
                <a:prstDash val="solid"/>
                <a:miter/>
              </a:ln>
            </p:spPr>
            <p:txBody>
              <a:bodyPr rtlCol="0" anchor="ctr"/>
              <a:lstStyle/>
              <a:p>
                <a:endParaRPr lang="en-GB" dirty="0"/>
              </a:p>
            </p:txBody>
          </p:sp>
          <p:sp>
            <p:nvSpPr>
              <p:cNvPr id="350" name="Freihandform: Form 349">
                <a:extLst>
                  <a:ext uri="{FF2B5EF4-FFF2-40B4-BE49-F238E27FC236}">
                    <a16:creationId xmlns:a16="http://schemas.microsoft.com/office/drawing/2014/main" id="{8D7BD883-77BD-4B2D-91F8-0FC74D414408}"/>
                  </a:ext>
                </a:extLst>
              </p:cNvPr>
              <p:cNvSpPr/>
              <p:nvPr/>
            </p:nvSpPr>
            <p:spPr>
              <a:xfrm rot="19578691">
                <a:off x="3069251" y="1741744"/>
                <a:ext cx="15405" cy="55573"/>
              </a:xfrm>
              <a:custGeom>
                <a:avLst/>
                <a:gdLst>
                  <a:gd name="connsiteX0" fmla="*/ 0 w 15405"/>
                  <a:gd name="connsiteY0" fmla="*/ 0 h 55573"/>
                  <a:gd name="connsiteX1" fmla="*/ 15406 w 15405"/>
                  <a:gd name="connsiteY1" fmla="*/ 0 h 55573"/>
                  <a:gd name="connsiteX2" fmla="*/ 15406 w 15405"/>
                  <a:gd name="connsiteY2" fmla="*/ 55573 h 55573"/>
                  <a:gd name="connsiteX3" fmla="*/ 0 w 15405"/>
                  <a:gd name="connsiteY3" fmla="*/ 55573 h 55573"/>
                </a:gdLst>
                <a:ahLst/>
                <a:cxnLst>
                  <a:cxn ang="0">
                    <a:pos x="connsiteX0" y="connsiteY0"/>
                  </a:cxn>
                  <a:cxn ang="0">
                    <a:pos x="connsiteX1" y="connsiteY1"/>
                  </a:cxn>
                  <a:cxn ang="0">
                    <a:pos x="connsiteX2" y="connsiteY2"/>
                  </a:cxn>
                  <a:cxn ang="0">
                    <a:pos x="connsiteX3" y="connsiteY3"/>
                  </a:cxn>
                </a:cxnLst>
                <a:rect l="l" t="t" r="r" b="b"/>
                <a:pathLst>
                  <a:path w="15405" h="55573">
                    <a:moveTo>
                      <a:pt x="0" y="0"/>
                    </a:moveTo>
                    <a:lnTo>
                      <a:pt x="15406" y="0"/>
                    </a:lnTo>
                    <a:lnTo>
                      <a:pt x="15406" y="55573"/>
                    </a:lnTo>
                    <a:lnTo>
                      <a:pt x="0" y="55573"/>
                    </a:lnTo>
                    <a:close/>
                  </a:path>
                </a:pathLst>
              </a:custGeom>
              <a:solidFill>
                <a:schemeClr val="accent1"/>
              </a:solidFill>
              <a:ln w="1375" cap="flat">
                <a:noFill/>
                <a:prstDash val="solid"/>
                <a:miter/>
              </a:ln>
            </p:spPr>
            <p:txBody>
              <a:bodyPr rtlCol="0" anchor="ctr"/>
              <a:lstStyle/>
              <a:p>
                <a:endParaRPr lang="en-GB" dirty="0"/>
              </a:p>
            </p:txBody>
          </p:sp>
          <p:sp>
            <p:nvSpPr>
              <p:cNvPr id="351" name="Freihandform: Form 350">
                <a:extLst>
                  <a:ext uri="{FF2B5EF4-FFF2-40B4-BE49-F238E27FC236}">
                    <a16:creationId xmlns:a16="http://schemas.microsoft.com/office/drawing/2014/main" id="{3CF5533E-961A-4103-9DCD-28E6B1856813}"/>
                  </a:ext>
                </a:extLst>
              </p:cNvPr>
              <p:cNvSpPr/>
              <p:nvPr/>
            </p:nvSpPr>
            <p:spPr>
              <a:xfrm rot="18221499">
                <a:off x="3233911" y="1761895"/>
                <a:ext cx="55568" cy="15404"/>
              </a:xfrm>
              <a:custGeom>
                <a:avLst/>
                <a:gdLst>
                  <a:gd name="connsiteX0" fmla="*/ 0 w 55568"/>
                  <a:gd name="connsiteY0" fmla="*/ 0 h 15404"/>
                  <a:gd name="connsiteX1" fmla="*/ 55568 w 55568"/>
                  <a:gd name="connsiteY1" fmla="*/ 0 h 15404"/>
                  <a:gd name="connsiteX2" fmla="*/ 55568 w 55568"/>
                  <a:gd name="connsiteY2" fmla="*/ 15404 h 15404"/>
                  <a:gd name="connsiteX3" fmla="*/ 0 w 55568"/>
                  <a:gd name="connsiteY3" fmla="*/ 15404 h 15404"/>
                </a:gdLst>
                <a:ahLst/>
                <a:cxnLst>
                  <a:cxn ang="0">
                    <a:pos x="connsiteX0" y="connsiteY0"/>
                  </a:cxn>
                  <a:cxn ang="0">
                    <a:pos x="connsiteX1" y="connsiteY1"/>
                  </a:cxn>
                  <a:cxn ang="0">
                    <a:pos x="connsiteX2" y="connsiteY2"/>
                  </a:cxn>
                  <a:cxn ang="0">
                    <a:pos x="connsiteX3" y="connsiteY3"/>
                  </a:cxn>
                </a:cxnLst>
                <a:rect l="l" t="t" r="r" b="b"/>
                <a:pathLst>
                  <a:path w="55568" h="15404">
                    <a:moveTo>
                      <a:pt x="0" y="0"/>
                    </a:moveTo>
                    <a:lnTo>
                      <a:pt x="55568" y="0"/>
                    </a:lnTo>
                    <a:lnTo>
                      <a:pt x="55568" y="15404"/>
                    </a:lnTo>
                    <a:lnTo>
                      <a:pt x="0" y="15404"/>
                    </a:lnTo>
                    <a:close/>
                  </a:path>
                </a:pathLst>
              </a:custGeom>
              <a:solidFill>
                <a:schemeClr val="accent1"/>
              </a:solidFill>
              <a:ln w="1375" cap="flat">
                <a:noFill/>
                <a:prstDash val="solid"/>
                <a:miter/>
              </a:ln>
            </p:spPr>
            <p:txBody>
              <a:bodyPr rtlCol="0" anchor="ctr"/>
              <a:lstStyle/>
              <a:p>
                <a:endParaRPr lang="en-GB" dirty="0"/>
              </a:p>
            </p:txBody>
          </p:sp>
        </p:grpSp>
      </p:grpSp>
      <p:grpSp>
        <p:nvGrpSpPr>
          <p:cNvPr id="657" name="Gruppieren 656">
            <a:extLst>
              <a:ext uri="{FF2B5EF4-FFF2-40B4-BE49-F238E27FC236}">
                <a16:creationId xmlns:a16="http://schemas.microsoft.com/office/drawing/2014/main" id="{F482AA4D-6FE4-4984-9D55-2C61BA25CA00}"/>
              </a:ext>
            </a:extLst>
          </p:cNvPr>
          <p:cNvGrpSpPr>
            <a:grpSpLocks noChangeAspect="1"/>
          </p:cNvGrpSpPr>
          <p:nvPr/>
        </p:nvGrpSpPr>
        <p:grpSpPr>
          <a:xfrm>
            <a:off x="504411" y="2449341"/>
            <a:ext cx="391494" cy="432000"/>
            <a:chOff x="533835" y="2432227"/>
            <a:chExt cx="446949" cy="493192"/>
          </a:xfrm>
        </p:grpSpPr>
        <p:grpSp>
          <p:nvGrpSpPr>
            <p:cNvPr id="654" name="Gruppieren 653">
              <a:extLst>
                <a:ext uri="{FF2B5EF4-FFF2-40B4-BE49-F238E27FC236}">
                  <a16:creationId xmlns:a16="http://schemas.microsoft.com/office/drawing/2014/main" id="{CB79E89E-C3A6-4066-9923-41A6E873FBAF}"/>
                </a:ext>
              </a:extLst>
            </p:cNvPr>
            <p:cNvGrpSpPr/>
            <p:nvPr/>
          </p:nvGrpSpPr>
          <p:grpSpPr>
            <a:xfrm>
              <a:off x="749601" y="2809827"/>
              <a:ext cx="123292" cy="46242"/>
              <a:chOff x="749601" y="2809827"/>
              <a:chExt cx="123293" cy="46242"/>
            </a:xfrm>
            <a:solidFill>
              <a:schemeClr val="accent1"/>
            </a:solidFill>
          </p:grpSpPr>
          <p:sp>
            <p:nvSpPr>
              <p:cNvPr id="361" name="Freihandform: Form 360">
                <a:extLst>
                  <a:ext uri="{FF2B5EF4-FFF2-40B4-BE49-F238E27FC236}">
                    <a16:creationId xmlns:a16="http://schemas.microsoft.com/office/drawing/2014/main" id="{4888EC3B-3DA6-4E78-9F3D-4CEE50076F5C}"/>
                  </a:ext>
                </a:extLst>
              </p:cNvPr>
              <p:cNvSpPr/>
              <p:nvPr/>
            </p:nvSpPr>
            <p:spPr>
              <a:xfrm>
                <a:off x="749601" y="2809827"/>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362" name="Freihandform: Form 361">
                <a:extLst>
                  <a:ext uri="{FF2B5EF4-FFF2-40B4-BE49-F238E27FC236}">
                    <a16:creationId xmlns:a16="http://schemas.microsoft.com/office/drawing/2014/main" id="{8E663727-A18D-4FC2-901F-5F0D8EB31E82}"/>
                  </a:ext>
                </a:extLst>
              </p:cNvPr>
              <p:cNvSpPr/>
              <p:nvPr/>
            </p:nvSpPr>
            <p:spPr>
              <a:xfrm>
                <a:off x="749601" y="2840651"/>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363" name="Freihandform: Form 362">
                <a:extLst>
                  <a:ext uri="{FF2B5EF4-FFF2-40B4-BE49-F238E27FC236}">
                    <a16:creationId xmlns:a16="http://schemas.microsoft.com/office/drawing/2014/main" id="{022B57A5-74B7-4F36-94DF-B4A67F716004}"/>
                  </a:ext>
                </a:extLst>
              </p:cNvPr>
              <p:cNvSpPr/>
              <p:nvPr/>
            </p:nvSpPr>
            <p:spPr>
              <a:xfrm>
                <a:off x="780424" y="2840651"/>
                <a:ext cx="92470" cy="15418"/>
              </a:xfrm>
              <a:custGeom>
                <a:avLst/>
                <a:gdLst>
                  <a:gd name="connsiteX0" fmla="*/ 0 w 92470"/>
                  <a:gd name="connsiteY0" fmla="*/ 0 h 15418"/>
                  <a:gd name="connsiteX1" fmla="*/ 92471 w 92470"/>
                  <a:gd name="connsiteY1" fmla="*/ 0 h 15418"/>
                  <a:gd name="connsiteX2" fmla="*/ 92471 w 92470"/>
                  <a:gd name="connsiteY2" fmla="*/ 15419 h 15418"/>
                  <a:gd name="connsiteX3" fmla="*/ 0 w 92470"/>
                  <a:gd name="connsiteY3" fmla="*/ 15419 h 15418"/>
                </a:gdLst>
                <a:ahLst/>
                <a:cxnLst>
                  <a:cxn ang="0">
                    <a:pos x="connsiteX0" y="connsiteY0"/>
                  </a:cxn>
                  <a:cxn ang="0">
                    <a:pos x="connsiteX1" y="connsiteY1"/>
                  </a:cxn>
                  <a:cxn ang="0">
                    <a:pos x="connsiteX2" y="connsiteY2"/>
                  </a:cxn>
                  <a:cxn ang="0">
                    <a:pos x="connsiteX3" y="connsiteY3"/>
                  </a:cxn>
                </a:cxnLst>
                <a:rect l="l" t="t" r="r" b="b"/>
                <a:pathLst>
                  <a:path w="92470" h="15418">
                    <a:moveTo>
                      <a:pt x="0" y="0"/>
                    </a:moveTo>
                    <a:lnTo>
                      <a:pt x="92471" y="0"/>
                    </a:lnTo>
                    <a:lnTo>
                      <a:pt x="92471" y="15419"/>
                    </a:lnTo>
                    <a:lnTo>
                      <a:pt x="0" y="15419"/>
                    </a:lnTo>
                    <a:close/>
                  </a:path>
                </a:pathLst>
              </a:custGeom>
              <a:solidFill>
                <a:schemeClr val="accent1"/>
              </a:solidFill>
              <a:ln w="1375" cap="flat">
                <a:noFill/>
                <a:prstDash val="solid"/>
                <a:miter/>
              </a:ln>
            </p:spPr>
            <p:txBody>
              <a:bodyPr rtlCol="0" anchor="ctr"/>
              <a:lstStyle/>
              <a:p>
                <a:endParaRPr lang="en-GB" dirty="0"/>
              </a:p>
            </p:txBody>
          </p:sp>
        </p:grpSp>
        <p:grpSp>
          <p:nvGrpSpPr>
            <p:cNvPr id="653" name="Gruppieren 652">
              <a:extLst>
                <a:ext uri="{FF2B5EF4-FFF2-40B4-BE49-F238E27FC236}">
                  <a16:creationId xmlns:a16="http://schemas.microsoft.com/office/drawing/2014/main" id="{70E12E92-27A8-4F7A-8225-0BC1647FAE58}"/>
                </a:ext>
              </a:extLst>
            </p:cNvPr>
            <p:cNvGrpSpPr/>
            <p:nvPr/>
          </p:nvGrpSpPr>
          <p:grpSpPr>
            <a:xfrm>
              <a:off x="770035" y="2532387"/>
              <a:ext cx="87469" cy="88617"/>
              <a:chOff x="770035" y="2532387"/>
              <a:chExt cx="87469" cy="88617"/>
            </a:xfrm>
          </p:grpSpPr>
          <p:sp>
            <p:nvSpPr>
              <p:cNvPr id="359" name="Freihandform: Form 358">
                <a:extLst>
                  <a:ext uri="{FF2B5EF4-FFF2-40B4-BE49-F238E27FC236}">
                    <a16:creationId xmlns:a16="http://schemas.microsoft.com/office/drawing/2014/main" id="{0810F38E-6C02-40EC-9631-CCD84A43C66E}"/>
                  </a:ext>
                </a:extLst>
              </p:cNvPr>
              <p:cNvSpPr/>
              <p:nvPr/>
            </p:nvSpPr>
            <p:spPr>
              <a:xfrm>
                <a:off x="826667" y="2532387"/>
                <a:ext cx="30837" cy="69377"/>
              </a:xfrm>
              <a:custGeom>
                <a:avLst/>
                <a:gdLst>
                  <a:gd name="connsiteX0" fmla="*/ 0 w 30837"/>
                  <a:gd name="connsiteY0" fmla="*/ 69377 h 69377"/>
                  <a:gd name="connsiteX1" fmla="*/ 0 w 30837"/>
                  <a:gd name="connsiteY1" fmla="*/ 53959 h 69377"/>
                  <a:gd name="connsiteX2" fmla="*/ 15419 w 30837"/>
                  <a:gd name="connsiteY2" fmla="*/ 38540 h 69377"/>
                  <a:gd name="connsiteX3" fmla="*/ 15419 w 30837"/>
                  <a:gd name="connsiteY3" fmla="*/ 23121 h 69377"/>
                  <a:gd name="connsiteX4" fmla="*/ 7716 w 30837"/>
                  <a:gd name="connsiteY4" fmla="*/ 15419 h 69377"/>
                  <a:gd name="connsiteX5" fmla="*/ 14 w 30837"/>
                  <a:gd name="connsiteY5" fmla="*/ 15419 h 69377"/>
                  <a:gd name="connsiteX6" fmla="*/ 14 w 30837"/>
                  <a:gd name="connsiteY6" fmla="*/ 0 h 69377"/>
                  <a:gd name="connsiteX7" fmla="*/ 7716 w 30837"/>
                  <a:gd name="connsiteY7" fmla="*/ 0 h 69377"/>
                  <a:gd name="connsiteX8" fmla="*/ 30837 w 30837"/>
                  <a:gd name="connsiteY8" fmla="*/ 23121 h 69377"/>
                  <a:gd name="connsiteX9" fmla="*/ 30837 w 30837"/>
                  <a:gd name="connsiteY9" fmla="*/ 38540 h 69377"/>
                  <a:gd name="connsiteX10" fmla="*/ 0 w 30837"/>
                  <a:gd name="connsiteY10" fmla="*/ 69377 h 6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37" h="69377">
                    <a:moveTo>
                      <a:pt x="0" y="69377"/>
                    </a:moveTo>
                    <a:lnTo>
                      <a:pt x="0" y="53959"/>
                    </a:lnTo>
                    <a:cubicBezTo>
                      <a:pt x="8502" y="53959"/>
                      <a:pt x="15419" y="47042"/>
                      <a:pt x="15419" y="38540"/>
                    </a:cubicBezTo>
                    <a:lnTo>
                      <a:pt x="15419" y="23121"/>
                    </a:lnTo>
                    <a:cubicBezTo>
                      <a:pt x="15419" y="18877"/>
                      <a:pt x="11960" y="15419"/>
                      <a:pt x="7716" y="15419"/>
                    </a:cubicBezTo>
                    <a:lnTo>
                      <a:pt x="14" y="15419"/>
                    </a:lnTo>
                    <a:lnTo>
                      <a:pt x="14" y="0"/>
                    </a:lnTo>
                    <a:lnTo>
                      <a:pt x="7716" y="0"/>
                    </a:lnTo>
                    <a:cubicBezTo>
                      <a:pt x="20462" y="0"/>
                      <a:pt x="30837" y="10376"/>
                      <a:pt x="30837" y="23121"/>
                    </a:cubicBezTo>
                    <a:lnTo>
                      <a:pt x="30837" y="38540"/>
                    </a:lnTo>
                    <a:cubicBezTo>
                      <a:pt x="30824" y="55543"/>
                      <a:pt x="17003" y="69377"/>
                      <a:pt x="0" y="69377"/>
                    </a:cubicBezTo>
                    <a:close/>
                  </a:path>
                </a:pathLst>
              </a:custGeom>
              <a:solidFill>
                <a:schemeClr val="accent1"/>
              </a:solidFill>
              <a:ln w="1375" cap="flat">
                <a:noFill/>
                <a:prstDash val="solid"/>
                <a:miter/>
              </a:ln>
            </p:spPr>
            <p:txBody>
              <a:bodyPr rtlCol="0" anchor="ctr"/>
              <a:lstStyle/>
              <a:p>
                <a:endParaRPr lang="en-GB" dirty="0"/>
              </a:p>
            </p:txBody>
          </p:sp>
          <p:sp>
            <p:nvSpPr>
              <p:cNvPr id="365" name="Freihandform: Form 364">
                <a:extLst>
                  <a:ext uri="{FF2B5EF4-FFF2-40B4-BE49-F238E27FC236}">
                    <a16:creationId xmlns:a16="http://schemas.microsoft.com/office/drawing/2014/main" id="{1253D1AC-8173-447F-A1EB-3EA9F7BE5AA8}"/>
                  </a:ext>
                </a:extLst>
              </p:cNvPr>
              <p:cNvSpPr/>
              <p:nvPr/>
            </p:nvSpPr>
            <p:spPr>
              <a:xfrm rot="20005789">
                <a:off x="770035" y="2605586"/>
                <a:ext cx="51699" cy="15418"/>
              </a:xfrm>
              <a:custGeom>
                <a:avLst/>
                <a:gdLst>
                  <a:gd name="connsiteX0" fmla="*/ 0 w 51699"/>
                  <a:gd name="connsiteY0" fmla="*/ 0 h 15418"/>
                  <a:gd name="connsiteX1" fmla="*/ 51700 w 51699"/>
                  <a:gd name="connsiteY1" fmla="*/ 0 h 15418"/>
                  <a:gd name="connsiteX2" fmla="*/ 51700 w 51699"/>
                  <a:gd name="connsiteY2" fmla="*/ 15419 h 15418"/>
                  <a:gd name="connsiteX3" fmla="*/ 0 w 51699"/>
                  <a:gd name="connsiteY3" fmla="*/ 15419 h 15418"/>
                </a:gdLst>
                <a:ahLst/>
                <a:cxnLst>
                  <a:cxn ang="0">
                    <a:pos x="connsiteX0" y="connsiteY0"/>
                  </a:cxn>
                  <a:cxn ang="0">
                    <a:pos x="connsiteX1" y="connsiteY1"/>
                  </a:cxn>
                  <a:cxn ang="0">
                    <a:pos x="connsiteX2" y="connsiteY2"/>
                  </a:cxn>
                  <a:cxn ang="0">
                    <a:pos x="connsiteX3" y="connsiteY3"/>
                  </a:cxn>
                </a:cxnLst>
                <a:rect l="l" t="t" r="r" b="b"/>
                <a:pathLst>
                  <a:path w="51699" h="15418">
                    <a:moveTo>
                      <a:pt x="0" y="0"/>
                    </a:moveTo>
                    <a:lnTo>
                      <a:pt x="51700" y="0"/>
                    </a:lnTo>
                    <a:lnTo>
                      <a:pt x="51700" y="15419"/>
                    </a:lnTo>
                    <a:lnTo>
                      <a:pt x="0" y="15419"/>
                    </a:lnTo>
                    <a:close/>
                  </a:path>
                </a:pathLst>
              </a:custGeom>
              <a:solidFill>
                <a:schemeClr val="accent1"/>
              </a:solidFill>
              <a:ln w="1375" cap="flat">
                <a:noFill/>
                <a:prstDash val="solid"/>
                <a:miter/>
              </a:ln>
            </p:spPr>
            <p:txBody>
              <a:bodyPr rtlCol="0" anchor="ctr"/>
              <a:lstStyle/>
              <a:p>
                <a:endParaRPr lang="en-GB" dirty="0"/>
              </a:p>
            </p:txBody>
          </p:sp>
        </p:grpSp>
        <p:grpSp>
          <p:nvGrpSpPr>
            <p:cNvPr id="656" name="Gruppieren 655">
              <a:extLst>
                <a:ext uri="{FF2B5EF4-FFF2-40B4-BE49-F238E27FC236}">
                  <a16:creationId xmlns:a16="http://schemas.microsoft.com/office/drawing/2014/main" id="{241078D8-6E29-4534-9FE7-51C3C5C0EEEB}"/>
                </a:ext>
              </a:extLst>
            </p:cNvPr>
            <p:cNvGrpSpPr/>
            <p:nvPr/>
          </p:nvGrpSpPr>
          <p:grpSpPr>
            <a:xfrm>
              <a:off x="533835" y="2432227"/>
              <a:ext cx="446949" cy="493192"/>
              <a:chOff x="533835" y="2432227"/>
              <a:chExt cx="446949" cy="493192"/>
            </a:xfrm>
          </p:grpSpPr>
          <p:sp>
            <p:nvSpPr>
              <p:cNvPr id="353" name="Freihandform: Form 352">
                <a:extLst>
                  <a:ext uri="{FF2B5EF4-FFF2-40B4-BE49-F238E27FC236}">
                    <a16:creationId xmlns:a16="http://schemas.microsoft.com/office/drawing/2014/main" id="{4D3A9E5E-A867-4877-8140-E5ADD4456D6F}"/>
                  </a:ext>
                </a:extLst>
              </p:cNvPr>
              <p:cNvSpPr/>
              <p:nvPr/>
            </p:nvSpPr>
            <p:spPr>
              <a:xfrm>
                <a:off x="795829" y="2640304"/>
                <a:ext cx="184955" cy="285115"/>
              </a:xfrm>
              <a:custGeom>
                <a:avLst/>
                <a:gdLst>
                  <a:gd name="connsiteX0" fmla="*/ 184956 w 184955"/>
                  <a:gd name="connsiteY0" fmla="*/ 285115 h 285115"/>
                  <a:gd name="connsiteX1" fmla="*/ 169537 w 184955"/>
                  <a:gd name="connsiteY1" fmla="*/ 285115 h 285115"/>
                  <a:gd name="connsiteX2" fmla="*/ 169537 w 184955"/>
                  <a:gd name="connsiteY2" fmla="*/ 169523 h 285115"/>
                  <a:gd name="connsiteX3" fmla="*/ 90032 w 184955"/>
                  <a:gd name="connsiteY3" fmla="*/ 92071 h 285115"/>
                  <a:gd name="connsiteX4" fmla="*/ 89026 w 184955"/>
                  <a:gd name="connsiteY4" fmla="*/ 91658 h 285115"/>
                  <a:gd name="connsiteX5" fmla="*/ 27379 w 184955"/>
                  <a:gd name="connsiteY5" fmla="*/ 60834 h 285115"/>
                  <a:gd name="connsiteX6" fmla="*/ 0 w 184955"/>
                  <a:gd name="connsiteY6" fmla="*/ 30824 h 285115"/>
                  <a:gd name="connsiteX7" fmla="*/ 0 w 184955"/>
                  <a:gd name="connsiteY7" fmla="*/ 0 h 285115"/>
                  <a:gd name="connsiteX8" fmla="*/ 15419 w 184955"/>
                  <a:gd name="connsiteY8" fmla="*/ 0 h 285115"/>
                  <a:gd name="connsiteX9" fmla="*/ 15419 w 184955"/>
                  <a:gd name="connsiteY9" fmla="*/ 30824 h 285115"/>
                  <a:gd name="connsiteX10" fmla="*/ 33979 w 184955"/>
                  <a:gd name="connsiteY10" fmla="*/ 46904 h 285115"/>
                  <a:gd name="connsiteX11" fmla="*/ 95433 w 184955"/>
                  <a:gd name="connsiteY11" fmla="*/ 77617 h 285115"/>
                  <a:gd name="connsiteX12" fmla="*/ 184942 w 184955"/>
                  <a:gd name="connsiteY12" fmla="*/ 169523 h 285115"/>
                  <a:gd name="connsiteX13" fmla="*/ 184942 w 184955"/>
                  <a:gd name="connsiteY13" fmla="*/ 285115 h 28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4955" h="285115">
                    <a:moveTo>
                      <a:pt x="184956" y="285115"/>
                    </a:moveTo>
                    <a:lnTo>
                      <a:pt x="169537" y="285115"/>
                    </a:lnTo>
                    <a:lnTo>
                      <a:pt x="169537" y="169523"/>
                    </a:lnTo>
                    <a:cubicBezTo>
                      <a:pt x="169537" y="133808"/>
                      <a:pt x="145754" y="110645"/>
                      <a:pt x="90032" y="92071"/>
                    </a:cubicBezTo>
                    <a:lnTo>
                      <a:pt x="89026" y="91658"/>
                    </a:lnTo>
                    <a:lnTo>
                      <a:pt x="27379" y="60834"/>
                    </a:lnTo>
                    <a:cubicBezTo>
                      <a:pt x="23052" y="58905"/>
                      <a:pt x="0" y="47717"/>
                      <a:pt x="0" y="30824"/>
                    </a:cubicBezTo>
                    <a:lnTo>
                      <a:pt x="0" y="0"/>
                    </a:lnTo>
                    <a:lnTo>
                      <a:pt x="15419" y="0"/>
                    </a:lnTo>
                    <a:lnTo>
                      <a:pt x="15419" y="30824"/>
                    </a:lnTo>
                    <a:cubicBezTo>
                      <a:pt x="15419" y="35825"/>
                      <a:pt x="26401" y="43514"/>
                      <a:pt x="33979" y="46904"/>
                    </a:cubicBezTo>
                    <a:lnTo>
                      <a:pt x="95433" y="77617"/>
                    </a:lnTo>
                    <a:cubicBezTo>
                      <a:pt x="137225" y="91617"/>
                      <a:pt x="184942" y="114738"/>
                      <a:pt x="184942" y="169523"/>
                    </a:cubicBezTo>
                    <a:lnTo>
                      <a:pt x="184942" y="285115"/>
                    </a:lnTo>
                    <a:close/>
                  </a:path>
                </a:pathLst>
              </a:custGeom>
              <a:solidFill>
                <a:schemeClr val="tx2"/>
              </a:solidFill>
              <a:ln w="1375" cap="flat">
                <a:noFill/>
                <a:prstDash val="solid"/>
                <a:miter/>
              </a:ln>
            </p:spPr>
            <p:txBody>
              <a:bodyPr rtlCol="0" anchor="ctr"/>
              <a:lstStyle/>
              <a:p>
                <a:endParaRPr lang="en-GB" dirty="0"/>
              </a:p>
            </p:txBody>
          </p:sp>
          <p:sp>
            <p:nvSpPr>
              <p:cNvPr id="354" name="Freihandform: Form 353">
                <a:extLst>
                  <a:ext uri="{FF2B5EF4-FFF2-40B4-BE49-F238E27FC236}">
                    <a16:creationId xmlns:a16="http://schemas.microsoft.com/office/drawing/2014/main" id="{02F03C03-FBD5-4A56-86E7-25EF70C2180C}"/>
                  </a:ext>
                </a:extLst>
              </p:cNvPr>
              <p:cNvSpPr/>
              <p:nvPr/>
            </p:nvSpPr>
            <p:spPr>
              <a:xfrm>
                <a:off x="533835" y="2640290"/>
                <a:ext cx="184955" cy="285129"/>
              </a:xfrm>
              <a:custGeom>
                <a:avLst/>
                <a:gdLst>
                  <a:gd name="connsiteX0" fmla="*/ 15419 w 184955"/>
                  <a:gd name="connsiteY0" fmla="*/ 285129 h 285129"/>
                  <a:gd name="connsiteX1" fmla="*/ 0 w 184955"/>
                  <a:gd name="connsiteY1" fmla="*/ 285129 h 285129"/>
                  <a:gd name="connsiteX2" fmla="*/ 0 w 184955"/>
                  <a:gd name="connsiteY2" fmla="*/ 169537 h 285129"/>
                  <a:gd name="connsiteX3" fmla="*/ 89508 w 184955"/>
                  <a:gd name="connsiteY3" fmla="*/ 77631 h 285129"/>
                  <a:gd name="connsiteX4" fmla="*/ 150674 w 184955"/>
                  <a:gd name="connsiteY4" fmla="*/ 47055 h 285129"/>
                  <a:gd name="connsiteX5" fmla="*/ 169537 w 184955"/>
                  <a:gd name="connsiteY5" fmla="*/ 30824 h 285129"/>
                  <a:gd name="connsiteX6" fmla="*/ 169537 w 184955"/>
                  <a:gd name="connsiteY6" fmla="*/ 0 h 285129"/>
                  <a:gd name="connsiteX7" fmla="*/ 184956 w 184955"/>
                  <a:gd name="connsiteY7" fmla="*/ 0 h 285129"/>
                  <a:gd name="connsiteX8" fmla="*/ 184956 w 184955"/>
                  <a:gd name="connsiteY8" fmla="*/ 30824 h 285129"/>
                  <a:gd name="connsiteX9" fmla="*/ 157287 w 184955"/>
                  <a:gd name="connsiteY9" fmla="*/ 60972 h 285129"/>
                  <a:gd name="connsiteX10" fmla="*/ 94924 w 184955"/>
                  <a:gd name="connsiteY10" fmla="*/ 92071 h 285129"/>
                  <a:gd name="connsiteX11" fmla="*/ 15419 w 184955"/>
                  <a:gd name="connsiteY11" fmla="*/ 169523 h 285129"/>
                  <a:gd name="connsiteX12" fmla="*/ 15419 w 184955"/>
                  <a:gd name="connsiteY12" fmla="*/ 285129 h 28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4955" h="285129">
                    <a:moveTo>
                      <a:pt x="15419" y="285129"/>
                    </a:moveTo>
                    <a:lnTo>
                      <a:pt x="0" y="285129"/>
                    </a:lnTo>
                    <a:lnTo>
                      <a:pt x="0" y="169537"/>
                    </a:lnTo>
                    <a:cubicBezTo>
                      <a:pt x="0" y="114752"/>
                      <a:pt x="47717" y="91630"/>
                      <a:pt x="89508" y="77631"/>
                    </a:cubicBezTo>
                    <a:lnTo>
                      <a:pt x="150674" y="47055"/>
                    </a:lnTo>
                    <a:cubicBezTo>
                      <a:pt x="159740" y="42963"/>
                      <a:pt x="169537" y="35371"/>
                      <a:pt x="169537" y="30824"/>
                    </a:cubicBezTo>
                    <a:lnTo>
                      <a:pt x="169537" y="0"/>
                    </a:lnTo>
                    <a:lnTo>
                      <a:pt x="184956" y="0"/>
                    </a:lnTo>
                    <a:lnTo>
                      <a:pt x="184956" y="30824"/>
                    </a:lnTo>
                    <a:cubicBezTo>
                      <a:pt x="184956" y="47717"/>
                      <a:pt x="161903" y="58905"/>
                      <a:pt x="157287" y="60972"/>
                    </a:cubicBezTo>
                    <a:lnTo>
                      <a:pt x="94924" y="92071"/>
                    </a:lnTo>
                    <a:cubicBezTo>
                      <a:pt x="39201" y="110645"/>
                      <a:pt x="15419" y="133808"/>
                      <a:pt x="15419" y="169523"/>
                    </a:cubicBezTo>
                    <a:lnTo>
                      <a:pt x="15419" y="285129"/>
                    </a:lnTo>
                    <a:close/>
                  </a:path>
                </a:pathLst>
              </a:custGeom>
              <a:solidFill>
                <a:schemeClr val="tx2"/>
              </a:solidFill>
              <a:ln w="1375" cap="flat">
                <a:noFill/>
                <a:prstDash val="solid"/>
                <a:miter/>
              </a:ln>
            </p:spPr>
            <p:txBody>
              <a:bodyPr rtlCol="0" anchor="ctr"/>
              <a:lstStyle/>
              <a:p>
                <a:endParaRPr lang="en-GB" dirty="0"/>
              </a:p>
            </p:txBody>
          </p:sp>
          <p:sp>
            <p:nvSpPr>
              <p:cNvPr id="355" name="Freihandform: Form 354">
                <a:extLst>
                  <a:ext uri="{FF2B5EF4-FFF2-40B4-BE49-F238E27FC236}">
                    <a16:creationId xmlns:a16="http://schemas.microsoft.com/office/drawing/2014/main" id="{4E131FFF-8A84-4B03-B1B7-A539EFC73C8A}"/>
                  </a:ext>
                </a:extLst>
              </p:cNvPr>
              <p:cNvSpPr/>
              <p:nvPr/>
            </p:nvSpPr>
            <p:spPr>
              <a:xfrm>
                <a:off x="610901" y="2840651"/>
                <a:ext cx="15418" cy="84768"/>
              </a:xfrm>
              <a:custGeom>
                <a:avLst/>
                <a:gdLst>
                  <a:gd name="connsiteX0" fmla="*/ 0 w 15418"/>
                  <a:gd name="connsiteY0" fmla="*/ 0 h 84768"/>
                  <a:gd name="connsiteX1" fmla="*/ 15419 w 15418"/>
                  <a:gd name="connsiteY1" fmla="*/ 0 h 84768"/>
                  <a:gd name="connsiteX2" fmla="*/ 15419 w 15418"/>
                  <a:gd name="connsiteY2" fmla="*/ 84768 h 84768"/>
                  <a:gd name="connsiteX3" fmla="*/ 0 w 15418"/>
                  <a:gd name="connsiteY3" fmla="*/ 84768 h 84768"/>
                </a:gdLst>
                <a:ahLst/>
                <a:cxnLst>
                  <a:cxn ang="0">
                    <a:pos x="connsiteX0" y="connsiteY0"/>
                  </a:cxn>
                  <a:cxn ang="0">
                    <a:pos x="connsiteX1" y="connsiteY1"/>
                  </a:cxn>
                  <a:cxn ang="0">
                    <a:pos x="connsiteX2" y="connsiteY2"/>
                  </a:cxn>
                  <a:cxn ang="0">
                    <a:pos x="connsiteX3" y="connsiteY3"/>
                  </a:cxn>
                </a:cxnLst>
                <a:rect l="l" t="t" r="r" b="b"/>
                <a:pathLst>
                  <a:path w="15418" h="84768">
                    <a:moveTo>
                      <a:pt x="0" y="0"/>
                    </a:moveTo>
                    <a:lnTo>
                      <a:pt x="15419" y="0"/>
                    </a:lnTo>
                    <a:lnTo>
                      <a:pt x="15419" y="84768"/>
                    </a:lnTo>
                    <a:lnTo>
                      <a:pt x="0" y="84768"/>
                    </a:lnTo>
                    <a:close/>
                  </a:path>
                </a:pathLst>
              </a:custGeom>
              <a:solidFill>
                <a:schemeClr val="tx2"/>
              </a:solidFill>
              <a:ln w="1375" cap="flat">
                <a:noFill/>
                <a:prstDash val="solid"/>
                <a:miter/>
              </a:ln>
            </p:spPr>
            <p:txBody>
              <a:bodyPr rtlCol="0" anchor="ctr"/>
              <a:lstStyle/>
              <a:p>
                <a:endParaRPr lang="en-GB" dirty="0"/>
              </a:p>
            </p:txBody>
          </p:sp>
          <p:sp>
            <p:nvSpPr>
              <p:cNvPr id="356" name="Freihandform: Form 355">
                <a:extLst>
                  <a:ext uri="{FF2B5EF4-FFF2-40B4-BE49-F238E27FC236}">
                    <a16:creationId xmlns:a16="http://schemas.microsoft.com/office/drawing/2014/main" id="{9B2E770A-7987-43BF-977D-6F97780EC68B}"/>
                  </a:ext>
                </a:extLst>
              </p:cNvPr>
              <p:cNvSpPr/>
              <p:nvPr/>
            </p:nvSpPr>
            <p:spPr>
              <a:xfrm>
                <a:off x="888314" y="2840651"/>
                <a:ext cx="15418" cy="84768"/>
              </a:xfrm>
              <a:custGeom>
                <a:avLst/>
                <a:gdLst>
                  <a:gd name="connsiteX0" fmla="*/ 0 w 15418"/>
                  <a:gd name="connsiteY0" fmla="*/ 0 h 84768"/>
                  <a:gd name="connsiteX1" fmla="*/ 15419 w 15418"/>
                  <a:gd name="connsiteY1" fmla="*/ 0 h 84768"/>
                  <a:gd name="connsiteX2" fmla="*/ 15419 w 15418"/>
                  <a:gd name="connsiteY2" fmla="*/ 84768 h 84768"/>
                  <a:gd name="connsiteX3" fmla="*/ 0 w 15418"/>
                  <a:gd name="connsiteY3" fmla="*/ 84768 h 84768"/>
                </a:gdLst>
                <a:ahLst/>
                <a:cxnLst>
                  <a:cxn ang="0">
                    <a:pos x="connsiteX0" y="connsiteY0"/>
                  </a:cxn>
                  <a:cxn ang="0">
                    <a:pos x="connsiteX1" y="connsiteY1"/>
                  </a:cxn>
                  <a:cxn ang="0">
                    <a:pos x="connsiteX2" y="connsiteY2"/>
                  </a:cxn>
                  <a:cxn ang="0">
                    <a:pos x="connsiteX3" y="connsiteY3"/>
                  </a:cxn>
                </a:cxnLst>
                <a:rect l="l" t="t" r="r" b="b"/>
                <a:pathLst>
                  <a:path w="15418" h="84768">
                    <a:moveTo>
                      <a:pt x="0" y="0"/>
                    </a:moveTo>
                    <a:lnTo>
                      <a:pt x="15419" y="0"/>
                    </a:lnTo>
                    <a:lnTo>
                      <a:pt x="15419" y="84768"/>
                    </a:lnTo>
                    <a:lnTo>
                      <a:pt x="0" y="84768"/>
                    </a:lnTo>
                    <a:close/>
                  </a:path>
                </a:pathLst>
              </a:custGeom>
              <a:solidFill>
                <a:schemeClr val="tx2"/>
              </a:solidFill>
              <a:ln w="1375" cap="flat">
                <a:noFill/>
                <a:prstDash val="solid"/>
                <a:miter/>
              </a:ln>
            </p:spPr>
            <p:txBody>
              <a:bodyPr rtlCol="0" anchor="ctr"/>
              <a:lstStyle/>
              <a:p>
                <a:endParaRPr lang="en-GB" dirty="0"/>
              </a:p>
            </p:txBody>
          </p:sp>
          <p:sp>
            <p:nvSpPr>
              <p:cNvPr id="357" name="Freihandform: Form 356">
                <a:extLst>
                  <a:ext uri="{FF2B5EF4-FFF2-40B4-BE49-F238E27FC236}">
                    <a16:creationId xmlns:a16="http://schemas.microsoft.com/office/drawing/2014/main" id="{ECCE8A1B-8E6B-4B8C-83AD-842B4C3889D2}"/>
                  </a:ext>
                </a:extLst>
              </p:cNvPr>
              <p:cNvSpPr/>
              <p:nvPr/>
            </p:nvSpPr>
            <p:spPr>
              <a:xfrm>
                <a:off x="680251" y="2486158"/>
                <a:ext cx="154118" cy="184955"/>
              </a:xfrm>
              <a:custGeom>
                <a:avLst/>
                <a:gdLst>
                  <a:gd name="connsiteX0" fmla="*/ 77066 w 154118"/>
                  <a:gd name="connsiteY0" fmla="*/ 184956 h 184955"/>
                  <a:gd name="connsiteX1" fmla="*/ 0 w 154118"/>
                  <a:gd name="connsiteY1" fmla="*/ 77066 h 184955"/>
                  <a:gd name="connsiteX2" fmla="*/ 0 w 154118"/>
                  <a:gd name="connsiteY2" fmla="*/ 53945 h 184955"/>
                  <a:gd name="connsiteX3" fmla="*/ 23121 w 154118"/>
                  <a:gd name="connsiteY3" fmla="*/ 24099 h 184955"/>
                  <a:gd name="connsiteX4" fmla="*/ 23121 w 154118"/>
                  <a:gd name="connsiteY4" fmla="*/ 0 h 184955"/>
                  <a:gd name="connsiteX5" fmla="*/ 48805 w 154118"/>
                  <a:gd name="connsiteY5" fmla="*/ 0 h 184955"/>
                  <a:gd name="connsiteX6" fmla="*/ 79629 w 154118"/>
                  <a:gd name="connsiteY6" fmla="*/ 23121 h 184955"/>
                  <a:gd name="connsiteX7" fmla="*/ 123295 w 154118"/>
                  <a:gd name="connsiteY7" fmla="*/ 23121 h 184955"/>
                  <a:gd name="connsiteX8" fmla="*/ 154118 w 154118"/>
                  <a:gd name="connsiteY8" fmla="*/ 53945 h 184955"/>
                  <a:gd name="connsiteX9" fmla="*/ 154118 w 154118"/>
                  <a:gd name="connsiteY9" fmla="*/ 77066 h 184955"/>
                  <a:gd name="connsiteX10" fmla="*/ 77066 w 154118"/>
                  <a:gd name="connsiteY10" fmla="*/ 184956 h 184955"/>
                  <a:gd name="connsiteX11" fmla="*/ 30824 w 154118"/>
                  <a:gd name="connsiteY11" fmla="*/ 38540 h 184955"/>
                  <a:gd name="connsiteX12" fmla="*/ 15405 w 154118"/>
                  <a:gd name="connsiteY12" fmla="*/ 53959 h 184955"/>
                  <a:gd name="connsiteX13" fmla="*/ 15405 w 154118"/>
                  <a:gd name="connsiteY13" fmla="*/ 77080 h 184955"/>
                  <a:gd name="connsiteX14" fmla="*/ 77052 w 154118"/>
                  <a:gd name="connsiteY14" fmla="*/ 169551 h 184955"/>
                  <a:gd name="connsiteX15" fmla="*/ 138700 w 154118"/>
                  <a:gd name="connsiteY15" fmla="*/ 77080 h 184955"/>
                  <a:gd name="connsiteX16" fmla="*/ 138700 w 154118"/>
                  <a:gd name="connsiteY16" fmla="*/ 53959 h 184955"/>
                  <a:gd name="connsiteX17" fmla="*/ 123281 w 154118"/>
                  <a:gd name="connsiteY17" fmla="*/ 38540 h 184955"/>
                  <a:gd name="connsiteX18" fmla="*/ 74489 w 154118"/>
                  <a:gd name="connsiteY18" fmla="*/ 38540 h 184955"/>
                  <a:gd name="connsiteX19" fmla="*/ 43666 w 154118"/>
                  <a:gd name="connsiteY19" fmla="*/ 15419 h 184955"/>
                  <a:gd name="connsiteX20" fmla="*/ 38526 w 154118"/>
                  <a:gd name="connsiteY20" fmla="*/ 15419 h 184955"/>
                  <a:gd name="connsiteX21" fmla="*/ 38526 w 154118"/>
                  <a:gd name="connsiteY21" fmla="*/ 38540 h 184955"/>
                  <a:gd name="connsiteX22" fmla="*/ 30824 w 154118"/>
                  <a:gd name="connsiteY22" fmla="*/ 38540 h 184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4118" h="184955">
                    <a:moveTo>
                      <a:pt x="77066" y="184956"/>
                    </a:moveTo>
                    <a:cubicBezTo>
                      <a:pt x="30259" y="184956"/>
                      <a:pt x="0" y="142613"/>
                      <a:pt x="0" y="77066"/>
                    </a:cubicBezTo>
                    <a:lnTo>
                      <a:pt x="0" y="53945"/>
                    </a:lnTo>
                    <a:cubicBezTo>
                      <a:pt x="0" y="39615"/>
                      <a:pt x="9838" y="27530"/>
                      <a:pt x="23121" y="24099"/>
                    </a:cubicBezTo>
                    <a:lnTo>
                      <a:pt x="23121" y="0"/>
                    </a:lnTo>
                    <a:lnTo>
                      <a:pt x="48805" y="0"/>
                    </a:lnTo>
                    <a:lnTo>
                      <a:pt x="79629" y="23121"/>
                    </a:lnTo>
                    <a:lnTo>
                      <a:pt x="123295" y="23121"/>
                    </a:lnTo>
                    <a:cubicBezTo>
                      <a:pt x="140284" y="23121"/>
                      <a:pt x="154118" y="36955"/>
                      <a:pt x="154118" y="53945"/>
                    </a:cubicBezTo>
                    <a:lnTo>
                      <a:pt x="154118" y="77066"/>
                    </a:lnTo>
                    <a:cubicBezTo>
                      <a:pt x="154118" y="142613"/>
                      <a:pt x="123873" y="184956"/>
                      <a:pt x="77066" y="184956"/>
                    </a:cubicBezTo>
                    <a:close/>
                    <a:moveTo>
                      <a:pt x="30824" y="38540"/>
                    </a:moveTo>
                    <a:cubicBezTo>
                      <a:pt x="22322" y="38540"/>
                      <a:pt x="15405" y="45457"/>
                      <a:pt x="15405" y="53959"/>
                    </a:cubicBezTo>
                    <a:lnTo>
                      <a:pt x="15405" y="77080"/>
                    </a:lnTo>
                    <a:cubicBezTo>
                      <a:pt x="15405" y="121779"/>
                      <a:pt x="31595" y="169551"/>
                      <a:pt x="77052" y="169551"/>
                    </a:cubicBezTo>
                    <a:cubicBezTo>
                      <a:pt x="122509" y="169551"/>
                      <a:pt x="138700" y="121779"/>
                      <a:pt x="138700" y="77080"/>
                    </a:cubicBezTo>
                    <a:lnTo>
                      <a:pt x="138700" y="53959"/>
                    </a:lnTo>
                    <a:cubicBezTo>
                      <a:pt x="138700" y="45457"/>
                      <a:pt x="131783" y="38540"/>
                      <a:pt x="123281" y="38540"/>
                    </a:cubicBezTo>
                    <a:lnTo>
                      <a:pt x="74489" y="38540"/>
                    </a:lnTo>
                    <a:lnTo>
                      <a:pt x="43666" y="15419"/>
                    </a:lnTo>
                    <a:lnTo>
                      <a:pt x="38526" y="15419"/>
                    </a:lnTo>
                    <a:lnTo>
                      <a:pt x="38526" y="38540"/>
                    </a:lnTo>
                    <a:lnTo>
                      <a:pt x="30824" y="38540"/>
                    </a:lnTo>
                    <a:close/>
                  </a:path>
                </a:pathLst>
              </a:custGeom>
              <a:solidFill>
                <a:schemeClr val="tx2"/>
              </a:solidFill>
              <a:ln w="1375" cap="flat">
                <a:noFill/>
                <a:prstDash val="solid"/>
                <a:miter/>
              </a:ln>
            </p:spPr>
            <p:txBody>
              <a:bodyPr rtlCol="0" anchor="ctr"/>
              <a:lstStyle/>
              <a:p>
                <a:endParaRPr lang="en-GB" dirty="0"/>
              </a:p>
            </p:txBody>
          </p:sp>
          <p:sp>
            <p:nvSpPr>
              <p:cNvPr id="358" name="Freihandform: Form 357">
                <a:extLst>
                  <a:ext uri="{FF2B5EF4-FFF2-40B4-BE49-F238E27FC236}">
                    <a16:creationId xmlns:a16="http://schemas.microsoft.com/office/drawing/2014/main" id="{D2E42EA5-210B-4AE3-9FB4-C4ADF4EFEDFA}"/>
                  </a:ext>
                </a:extLst>
              </p:cNvPr>
              <p:cNvSpPr/>
              <p:nvPr/>
            </p:nvSpPr>
            <p:spPr>
              <a:xfrm>
                <a:off x="687967" y="2694235"/>
                <a:ext cx="138713" cy="85677"/>
              </a:xfrm>
              <a:custGeom>
                <a:avLst/>
                <a:gdLst>
                  <a:gd name="connsiteX0" fmla="*/ 69350 w 138713"/>
                  <a:gd name="connsiteY0" fmla="*/ 85678 h 85677"/>
                  <a:gd name="connsiteX1" fmla="*/ 65905 w 138713"/>
                  <a:gd name="connsiteY1" fmla="*/ 83956 h 85677"/>
                  <a:gd name="connsiteX2" fmla="*/ 0 w 138713"/>
                  <a:gd name="connsiteY2" fmla="*/ 0 h 85677"/>
                  <a:gd name="connsiteX3" fmla="*/ 15419 w 138713"/>
                  <a:gd name="connsiteY3" fmla="*/ 0 h 85677"/>
                  <a:gd name="connsiteX4" fmla="*/ 69350 w 138713"/>
                  <a:gd name="connsiteY4" fmla="*/ 68289 h 85677"/>
                  <a:gd name="connsiteX5" fmla="*/ 123295 w 138713"/>
                  <a:gd name="connsiteY5" fmla="*/ 0 h 85677"/>
                  <a:gd name="connsiteX6" fmla="*/ 138713 w 138713"/>
                  <a:gd name="connsiteY6" fmla="*/ 0 h 85677"/>
                  <a:gd name="connsiteX7" fmla="*/ 72808 w 138713"/>
                  <a:gd name="connsiteY7" fmla="*/ 83956 h 85677"/>
                  <a:gd name="connsiteX8" fmla="*/ 69350 w 138713"/>
                  <a:gd name="connsiteY8" fmla="*/ 85678 h 85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713" h="85677">
                    <a:moveTo>
                      <a:pt x="69350" y="85678"/>
                    </a:moveTo>
                    <a:lnTo>
                      <a:pt x="65905" y="83956"/>
                    </a:lnTo>
                    <a:cubicBezTo>
                      <a:pt x="63218" y="82605"/>
                      <a:pt x="0" y="50417"/>
                      <a:pt x="0" y="0"/>
                    </a:cubicBezTo>
                    <a:lnTo>
                      <a:pt x="15419" y="0"/>
                    </a:lnTo>
                    <a:cubicBezTo>
                      <a:pt x="15419" y="35054"/>
                      <a:pt x="56949" y="61248"/>
                      <a:pt x="69350" y="68289"/>
                    </a:cubicBezTo>
                    <a:cubicBezTo>
                      <a:pt x="81751" y="61234"/>
                      <a:pt x="123295" y="34957"/>
                      <a:pt x="123295" y="0"/>
                    </a:cubicBezTo>
                    <a:lnTo>
                      <a:pt x="138713" y="0"/>
                    </a:lnTo>
                    <a:cubicBezTo>
                      <a:pt x="138713" y="50417"/>
                      <a:pt x="75495" y="82605"/>
                      <a:pt x="72808" y="83956"/>
                    </a:cubicBezTo>
                    <a:lnTo>
                      <a:pt x="69350" y="85678"/>
                    </a:lnTo>
                    <a:close/>
                  </a:path>
                </a:pathLst>
              </a:custGeom>
              <a:solidFill>
                <a:schemeClr val="tx2"/>
              </a:solidFill>
              <a:ln w="1375" cap="flat">
                <a:noFill/>
                <a:prstDash val="solid"/>
                <a:miter/>
              </a:ln>
            </p:spPr>
            <p:txBody>
              <a:bodyPr rtlCol="0" anchor="ctr"/>
              <a:lstStyle/>
              <a:p>
                <a:endParaRPr lang="en-GB" dirty="0"/>
              </a:p>
            </p:txBody>
          </p:sp>
          <p:sp>
            <p:nvSpPr>
              <p:cNvPr id="360" name="Freihandform: Form 359">
                <a:extLst>
                  <a:ext uri="{FF2B5EF4-FFF2-40B4-BE49-F238E27FC236}">
                    <a16:creationId xmlns:a16="http://schemas.microsoft.com/office/drawing/2014/main" id="{22A364AA-57E3-41CF-AEF7-252DF7A9DE3B}"/>
                  </a:ext>
                </a:extLst>
              </p:cNvPr>
              <p:cNvSpPr/>
              <p:nvPr/>
            </p:nvSpPr>
            <p:spPr>
              <a:xfrm>
                <a:off x="657130" y="2532401"/>
                <a:ext cx="30837" cy="69363"/>
              </a:xfrm>
              <a:custGeom>
                <a:avLst/>
                <a:gdLst>
                  <a:gd name="connsiteX0" fmla="*/ 30824 w 30837"/>
                  <a:gd name="connsiteY0" fmla="*/ 69364 h 69363"/>
                  <a:gd name="connsiteX1" fmla="*/ 0 w 30837"/>
                  <a:gd name="connsiteY1" fmla="*/ 38540 h 69363"/>
                  <a:gd name="connsiteX2" fmla="*/ 0 w 30837"/>
                  <a:gd name="connsiteY2" fmla="*/ 23121 h 69363"/>
                  <a:gd name="connsiteX3" fmla="*/ 23121 w 30837"/>
                  <a:gd name="connsiteY3" fmla="*/ 0 h 69363"/>
                  <a:gd name="connsiteX4" fmla="*/ 30824 w 30837"/>
                  <a:gd name="connsiteY4" fmla="*/ 0 h 69363"/>
                  <a:gd name="connsiteX5" fmla="*/ 30824 w 30837"/>
                  <a:gd name="connsiteY5" fmla="*/ 15419 h 69363"/>
                  <a:gd name="connsiteX6" fmla="*/ 23121 w 30837"/>
                  <a:gd name="connsiteY6" fmla="*/ 15419 h 69363"/>
                  <a:gd name="connsiteX7" fmla="*/ 15419 w 30837"/>
                  <a:gd name="connsiteY7" fmla="*/ 23121 h 69363"/>
                  <a:gd name="connsiteX8" fmla="*/ 15419 w 30837"/>
                  <a:gd name="connsiteY8" fmla="*/ 38540 h 69363"/>
                  <a:gd name="connsiteX9" fmla="*/ 30837 w 30837"/>
                  <a:gd name="connsiteY9" fmla="*/ 53959 h 69363"/>
                  <a:gd name="connsiteX10" fmla="*/ 30837 w 30837"/>
                  <a:gd name="connsiteY10" fmla="*/ 69364 h 69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837" h="69363">
                    <a:moveTo>
                      <a:pt x="30824" y="69364"/>
                    </a:moveTo>
                    <a:cubicBezTo>
                      <a:pt x="13820" y="69364"/>
                      <a:pt x="0" y="55529"/>
                      <a:pt x="0" y="38540"/>
                    </a:cubicBezTo>
                    <a:lnTo>
                      <a:pt x="0" y="23121"/>
                    </a:lnTo>
                    <a:cubicBezTo>
                      <a:pt x="0" y="10376"/>
                      <a:pt x="10376" y="0"/>
                      <a:pt x="23121" y="0"/>
                    </a:cubicBezTo>
                    <a:lnTo>
                      <a:pt x="30824" y="0"/>
                    </a:lnTo>
                    <a:lnTo>
                      <a:pt x="30824" y="15419"/>
                    </a:lnTo>
                    <a:lnTo>
                      <a:pt x="23121" y="15419"/>
                    </a:lnTo>
                    <a:cubicBezTo>
                      <a:pt x="18877" y="15419"/>
                      <a:pt x="15419" y="18877"/>
                      <a:pt x="15419" y="23121"/>
                    </a:cubicBezTo>
                    <a:lnTo>
                      <a:pt x="15419" y="38540"/>
                    </a:lnTo>
                    <a:cubicBezTo>
                      <a:pt x="15419" y="47042"/>
                      <a:pt x="22336" y="53959"/>
                      <a:pt x="30837" y="53959"/>
                    </a:cubicBezTo>
                    <a:lnTo>
                      <a:pt x="30837" y="69364"/>
                    </a:lnTo>
                    <a:close/>
                  </a:path>
                </a:pathLst>
              </a:custGeom>
              <a:solidFill>
                <a:schemeClr val="tx2"/>
              </a:solidFill>
              <a:ln w="1375" cap="flat">
                <a:noFill/>
                <a:prstDash val="solid"/>
                <a:miter/>
              </a:ln>
            </p:spPr>
            <p:txBody>
              <a:bodyPr rtlCol="0" anchor="ctr"/>
              <a:lstStyle/>
              <a:p>
                <a:endParaRPr lang="en-GB" dirty="0"/>
              </a:p>
            </p:txBody>
          </p:sp>
          <p:sp>
            <p:nvSpPr>
              <p:cNvPr id="364" name="Freihandform: Form 363">
                <a:extLst>
                  <a:ext uri="{FF2B5EF4-FFF2-40B4-BE49-F238E27FC236}">
                    <a16:creationId xmlns:a16="http://schemas.microsoft.com/office/drawing/2014/main" id="{529FB977-64ED-43C3-A83B-FA93EB57BD70}"/>
                  </a:ext>
                </a:extLst>
              </p:cNvPr>
              <p:cNvSpPr/>
              <p:nvPr/>
            </p:nvSpPr>
            <p:spPr>
              <a:xfrm>
                <a:off x="541551" y="2840651"/>
                <a:ext cx="38526" cy="84768"/>
              </a:xfrm>
              <a:custGeom>
                <a:avLst/>
                <a:gdLst>
                  <a:gd name="connsiteX0" fmla="*/ 38526 w 38526"/>
                  <a:gd name="connsiteY0" fmla="*/ 84769 h 84768"/>
                  <a:gd name="connsiteX1" fmla="*/ 23107 w 38526"/>
                  <a:gd name="connsiteY1" fmla="*/ 84769 h 84768"/>
                  <a:gd name="connsiteX2" fmla="*/ 23107 w 38526"/>
                  <a:gd name="connsiteY2" fmla="*/ 15405 h 84768"/>
                  <a:gd name="connsiteX3" fmla="*/ 0 w 38526"/>
                  <a:gd name="connsiteY3" fmla="*/ 15405 h 84768"/>
                  <a:gd name="connsiteX4" fmla="*/ 0 w 38526"/>
                  <a:gd name="connsiteY4" fmla="*/ 0 h 84768"/>
                  <a:gd name="connsiteX5" fmla="*/ 38526 w 38526"/>
                  <a:gd name="connsiteY5" fmla="*/ 0 h 84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526" h="84768">
                    <a:moveTo>
                      <a:pt x="38526" y="84769"/>
                    </a:moveTo>
                    <a:lnTo>
                      <a:pt x="23107" y="84769"/>
                    </a:lnTo>
                    <a:lnTo>
                      <a:pt x="23107" y="15405"/>
                    </a:lnTo>
                    <a:lnTo>
                      <a:pt x="0" y="15405"/>
                    </a:lnTo>
                    <a:lnTo>
                      <a:pt x="0" y="0"/>
                    </a:lnTo>
                    <a:lnTo>
                      <a:pt x="38526" y="0"/>
                    </a:lnTo>
                    <a:close/>
                  </a:path>
                </a:pathLst>
              </a:custGeom>
              <a:solidFill>
                <a:schemeClr val="tx2"/>
              </a:solidFill>
              <a:ln w="1375" cap="flat">
                <a:noFill/>
                <a:prstDash val="solid"/>
                <a:miter/>
              </a:ln>
            </p:spPr>
            <p:txBody>
              <a:bodyPr rtlCol="0" anchor="ctr"/>
              <a:lstStyle/>
              <a:p>
                <a:endParaRPr lang="en-GB" dirty="0"/>
              </a:p>
            </p:txBody>
          </p:sp>
          <p:sp>
            <p:nvSpPr>
              <p:cNvPr id="366" name="Freihandform: Form 365">
                <a:extLst>
                  <a:ext uri="{FF2B5EF4-FFF2-40B4-BE49-F238E27FC236}">
                    <a16:creationId xmlns:a16="http://schemas.microsoft.com/office/drawing/2014/main" id="{422A47C6-B27E-4792-94CC-3618B9827747}"/>
                  </a:ext>
                </a:extLst>
              </p:cNvPr>
              <p:cNvSpPr/>
              <p:nvPr/>
            </p:nvSpPr>
            <p:spPr>
              <a:xfrm>
                <a:off x="664832" y="2432227"/>
                <a:ext cx="184955" cy="107889"/>
              </a:xfrm>
              <a:custGeom>
                <a:avLst/>
                <a:gdLst>
                  <a:gd name="connsiteX0" fmla="*/ 184956 w 184955"/>
                  <a:gd name="connsiteY0" fmla="*/ 107890 h 107889"/>
                  <a:gd name="connsiteX1" fmla="*/ 169537 w 184955"/>
                  <a:gd name="connsiteY1" fmla="*/ 107890 h 107889"/>
                  <a:gd name="connsiteX2" fmla="*/ 169537 w 184955"/>
                  <a:gd name="connsiteY2" fmla="*/ 77066 h 107889"/>
                  <a:gd name="connsiteX3" fmla="*/ 107890 w 184955"/>
                  <a:gd name="connsiteY3" fmla="*/ 15419 h 107889"/>
                  <a:gd name="connsiteX4" fmla="*/ 77066 w 184955"/>
                  <a:gd name="connsiteY4" fmla="*/ 15419 h 107889"/>
                  <a:gd name="connsiteX5" fmla="*/ 15419 w 184955"/>
                  <a:gd name="connsiteY5" fmla="*/ 77066 h 107889"/>
                  <a:gd name="connsiteX6" fmla="*/ 0 w 184955"/>
                  <a:gd name="connsiteY6" fmla="*/ 77066 h 107889"/>
                  <a:gd name="connsiteX7" fmla="*/ 77066 w 184955"/>
                  <a:gd name="connsiteY7" fmla="*/ 0 h 107889"/>
                  <a:gd name="connsiteX8" fmla="*/ 107890 w 184955"/>
                  <a:gd name="connsiteY8" fmla="*/ 0 h 107889"/>
                  <a:gd name="connsiteX9" fmla="*/ 184956 w 184955"/>
                  <a:gd name="connsiteY9" fmla="*/ 77066 h 107889"/>
                  <a:gd name="connsiteX10" fmla="*/ 184956 w 184955"/>
                  <a:gd name="connsiteY10" fmla="*/ 107890 h 107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955" h="107889">
                    <a:moveTo>
                      <a:pt x="184956" y="107890"/>
                    </a:moveTo>
                    <a:lnTo>
                      <a:pt x="169537" y="107890"/>
                    </a:lnTo>
                    <a:lnTo>
                      <a:pt x="169537" y="77066"/>
                    </a:lnTo>
                    <a:cubicBezTo>
                      <a:pt x="169537" y="43073"/>
                      <a:pt x="141883" y="15419"/>
                      <a:pt x="107890" y="15419"/>
                    </a:cubicBezTo>
                    <a:lnTo>
                      <a:pt x="77066" y="15419"/>
                    </a:lnTo>
                    <a:cubicBezTo>
                      <a:pt x="43073" y="15419"/>
                      <a:pt x="15419" y="43073"/>
                      <a:pt x="15419" y="77066"/>
                    </a:cubicBezTo>
                    <a:lnTo>
                      <a:pt x="0" y="77066"/>
                    </a:lnTo>
                    <a:cubicBezTo>
                      <a:pt x="0" y="34572"/>
                      <a:pt x="34572" y="0"/>
                      <a:pt x="77066" y="0"/>
                    </a:cubicBezTo>
                    <a:lnTo>
                      <a:pt x="107890" y="0"/>
                    </a:lnTo>
                    <a:cubicBezTo>
                      <a:pt x="150384" y="0"/>
                      <a:pt x="184956" y="34572"/>
                      <a:pt x="184956" y="77066"/>
                    </a:cubicBezTo>
                    <a:lnTo>
                      <a:pt x="184956" y="107890"/>
                    </a:lnTo>
                    <a:close/>
                  </a:path>
                </a:pathLst>
              </a:custGeom>
              <a:solidFill>
                <a:schemeClr val="tx2"/>
              </a:solidFill>
              <a:ln w="1375" cap="flat">
                <a:noFill/>
                <a:prstDash val="solid"/>
                <a:miter/>
              </a:ln>
            </p:spPr>
            <p:txBody>
              <a:bodyPr rtlCol="0" anchor="ctr"/>
              <a:lstStyle/>
              <a:p>
                <a:endParaRPr lang="en-GB" dirty="0"/>
              </a:p>
            </p:txBody>
          </p:sp>
        </p:grpSp>
      </p:grpSp>
      <p:grpSp>
        <p:nvGrpSpPr>
          <p:cNvPr id="696" name="Gruppieren 695">
            <a:extLst>
              <a:ext uri="{FF2B5EF4-FFF2-40B4-BE49-F238E27FC236}">
                <a16:creationId xmlns:a16="http://schemas.microsoft.com/office/drawing/2014/main" id="{9C1DE7BB-5A7C-4652-AD86-20300B2C184F}"/>
              </a:ext>
            </a:extLst>
          </p:cNvPr>
          <p:cNvGrpSpPr>
            <a:grpSpLocks noChangeAspect="1"/>
          </p:cNvGrpSpPr>
          <p:nvPr/>
        </p:nvGrpSpPr>
        <p:grpSpPr>
          <a:xfrm>
            <a:off x="3044726" y="4097450"/>
            <a:ext cx="296988" cy="432000"/>
            <a:chOff x="3038352" y="4065924"/>
            <a:chExt cx="339061" cy="493196"/>
          </a:xfrm>
        </p:grpSpPr>
        <p:grpSp>
          <p:nvGrpSpPr>
            <p:cNvPr id="695" name="Gruppieren 694">
              <a:extLst>
                <a:ext uri="{FF2B5EF4-FFF2-40B4-BE49-F238E27FC236}">
                  <a16:creationId xmlns:a16="http://schemas.microsoft.com/office/drawing/2014/main" id="{20596A3A-D6A6-43DE-8F2F-5000774A3525}"/>
                </a:ext>
              </a:extLst>
            </p:cNvPr>
            <p:cNvGrpSpPr/>
            <p:nvPr/>
          </p:nvGrpSpPr>
          <p:grpSpPr>
            <a:xfrm>
              <a:off x="3038352" y="4065924"/>
              <a:ext cx="339061" cy="493196"/>
              <a:chOff x="3038300" y="4065895"/>
              <a:chExt cx="339055" cy="493192"/>
            </a:xfrm>
          </p:grpSpPr>
          <p:sp>
            <p:nvSpPr>
              <p:cNvPr id="368" name="Freihandform: Form 367">
                <a:extLst>
                  <a:ext uri="{FF2B5EF4-FFF2-40B4-BE49-F238E27FC236}">
                    <a16:creationId xmlns:a16="http://schemas.microsoft.com/office/drawing/2014/main" id="{54878200-E34C-4B71-A03D-B15D96600178}"/>
                  </a:ext>
                </a:extLst>
              </p:cNvPr>
              <p:cNvSpPr/>
              <p:nvPr/>
            </p:nvSpPr>
            <p:spPr>
              <a:xfrm rot="17041341">
                <a:off x="3211144" y="4281598"/>
                <a:ext cx="31774" cy="15404"/>
              </a:xfrm>
              <a:custGeom>
                <a:avLst/>
                <a:gdLst>
                  <a:gd name="connsiteX0" fmla="*/ 0 w 31774"/>
                  <a:gd name="connsiteY0" fmla="*/ 0 h 15404"/>
                  <a:gd name="connsiteX1" fmla="*/ 31774 w 31774"/>
                  <a:gd name="connsiteY1" fmla="*/ 0 h 15404"/>
                  <a:gd name="connsiteX2" fmla="*/ 31774 w 31774"/>
                  <a:gd name="connsiteY2" fmla="*/ 15405 h 15404"/>
                  <a:gd name="connsiteX3" fmla="*/ 0 w 31774"/>
                  <a:gd name="connsiteY3" fmla="*/ 15405 h 15404"/>
                </a:gdLst>
                <a:ahLst/>
                <a:cxnLst>
                  <a:cxn ang="0">
                    <a:pos x="connsiteX0" y="connsiteY0"/>
                  </a:cxn>
                  <a:cxn ang="0">
                    <a:pos x="connsiteX1" y="connsiteY1"/>
                  </a:cxn>
                  <a:cxn ang="0">
                    <a:pos x="connsiteX2" y="connsiteY2"/>
                  </a:cxn>
                  <a:cxn ang="0">
                    <a:pos x="connsiteX3" y="connsiteY3"/>
                  </a:cxn>
                </a:cxnLst>
                <a:rect l="l" t="t" r="r" b="b"/>
                <a:pathLst>
                  <a:path w="31774" h="15404">
                    <a:moveTo>
                      <a:pt x="0" y="0"/>
                    </a:moveTo>
                    <a:lnTo>
                      <a:pt x="31774" y="0"/>
                    </a:lnTo>
                    <a:lnTo>
                      <a:pt x="31774" y="15405"/>
                    </a:lnTo>
                    <a:lnTo>
                      <a:pt x="0" y="15405"/>
                    </a:lnTo>
                    <a:close/>
                  </a:path>
                </a:pathLst>
              </a:custGeom>
              <a:solidFill>
                <a:schemeClr val="tx2"/>
              </a:solidFill>
              <a:ln w="1375" cap="flat">
                <a:noFill/>
                <a:prstDash val="solid"/>
                <a:miter/>
              </a:ln>
            </p:spPr>
            <p:txBody>
              <a:bodyPr rtlCol="0" anchor="ctr"/>
              <a:lstStyle/>
              <a:p>
                <a:endParaRPr lang="en-GB" dirty="0"/>
              </a:p>
            </p:txBody>
          </p:sp>
          <p:sp>
            <p:nvSpPr>
              <p:cNvPr id="369" name="Freihandform: Form 368">
                <a:extLst>
                  <a:ext uri="{FF2B5EF4-FFF2-40B4-BE49-F238E27FC236}">
                    <a16:creationId xmlns:a16="http://schemas.microsoft.com/office/drawing/2014/main" id="{CF7BE3B9-70BF-4D10-A070-44D9F0584602}"/>
                  </a:ext>
                </a:extLst>
              </p:cNvPr>
              <p:cNvSpPr/>
              <p:nvPr/>
            </p:nvSpPr>
            <p:spPr>
              <a:xfrm rot="17041341">
                <a:off x="3141789" y="4258483"/>
                <a:ext cx="31774" cy="15404"/>
              </a:xfrm>
              <a:custGeom>
                <a:avLst/>
                <a:gdLst>
                  <a:gd name="connsiteX0" fmla="*/ 0 w 31774"/>
                  <a:gd name="connsiteY0" fmla="*/ 0 h 15404"/>
                  <a:gd name="connsiteX1" fmla="*/ 31774 w 31774"/>
                  <a:gd name="connsiteY1" fmla="*/ 0 h 15404"/>
                  <a:gd name="connsiteX2" fmla="*/ 31774 w 31774"/>
                  <a:gd name="connsiteY2" fmla="*/ 15405 h 15404"/>
                  <a:gd name="connsiteX3" fmla="*/ 0 w 31774"/>
                  <a:gd name="connsiteY3" fmla="*/ 15405 h 15404"/>
                </a:gdLst>
                <a:ahLst/>
                <a:cxnLst>
                  <a:cxn ang="0">
                    <a:pos x="connsiteX0" y="connsiteY0"/>
                  </a:cxn>
                  <a:cxn ang="0">
                    <a:pos x="connsiteX1" y="connsiteY1"/>
                  </a:cxn>
                  <a:cxn ang="0">
                    <a:pos x="connsiteX2" y="connsiteY2"/>
                  </a:cxn>
                  <a:cxn ang="0">
                    <a:pos x="connsiteX3" y="connsiteY3"/>
                  </a:cxn>
                </a:cxnLst>
                <a:rect l="l" t="t" r="r" b="b"/>
                <a:pathLst>
                  <a:path w="31774" h="15404">
                    <a:moveTo>
                      <a:pt x="0" y="0"/>
                    </a:moveTo>
                    <a:lnTo>
                      <a:pt x="31774" y="0"/>
                    </a:lnTo>
                    <a:lnTo>
                      <a:pt x="31774" y="15405"/>
                    </a:lnTo>
                    <a:lnTo>
                      <a:pt x="0" y="15405"/>
                    </a:lnTo>
                    <a:close/>
                  </a:path>
                </a:pathLst>
              </a:custGeom>
              <a:solidFill>
                <a:schemeClr val="tx2"/>
              </a:solidFill>
              <a:ln w="1375" cap="flat">
                <a:noFill/>
                <a:prstDash val="solid"/>
                <a:miter/>
              </a:ln>
            </p:spPr>
            <p:txBody>
              <a:bodyPr rtlCol="0" anchor="ctr"/>
              <a:lstStyle/>
              <a:p>
                <a:endParaRPr lang="en-GB" dirty="0"/>
              </a:p>
            </p:txBody>
          </p:sp>
          <p:sp>
            <p:nvSpPr>
              <p:cNvPr id="370" name="Freihandform: Form 369">
                <a:extLst>
                  <a:ext uri="{FF2B5EF4-FFF2-40B4-BE49-F238E27FC236}">
                    <a16:creationId xmlns:a16="http://schemas.microsoft.com/office/drawing/2014/main" id="{BC485DA8-8BC5-4FB5-9EC2-F2BB3A2E8982}"/>
                  </a:ext>
                </a:extLst>
              </p:cNvPr>
              <p:cNvSpPr/>
              <p:nvPr/>
            </p:nvSpPr>
            <p:spPr>
              <a:xfrm>
                <a:off x="3038300" y="4065895"/>
                <a:ext cx="339055" cy="493192"/>
              </a:xfrm>
              <a:custGeom>
                <a:avLst/>
                <a:gdLst>
                  <a:gd name="connsiteX0" fmla="*/ 269705 w 339055"/>
                  <a:gd name="connsiteY0" fmla="*/ 493192 h 493192"/>
                  <a:gd name="connsiteX1" fmla="*/ 46237 w 339055"/>
                  <a:gd name="connsiteY1" fmla="*/ 493192 h 493192"/>
                  <a:gd name="connsiteX2" fmla="*/ 38645 w 339055"/>
                  <a:gd name="connsiteY2" fmla="*/ 486840 h 493192"/>
                  <a:gd name="connsiteX3" fmla="*/ 119 w 339055"/>
                  <a:gd name="connsiteY3" fmla="*/ 271075 h 493192"/>
                  <a:gd name="connsiteX4" fmla="*/ 2255 w 339055"/>
                  <a:gd name="connsiteY4" fmla="*/ 264268 h 493192"/>
                  <a:gd name="connsiteX5" fmla="*/ 40781 w 339055"/>
                  <a:gd name="connsiteY5" fmla="*/ 225742 h 493192"/>
                  <a:gd name="connsiteX6" fmla="*/ 48098 w 339055"/>
                  <a:gd name="connsiteY6" fmla="*/ 223716 h 493192"/>
                  <a:gd name="connsiteX7" fmla="*/ 171392 w 339055"/>
                  <a:gd name="connsiteY7" fmla="*/ 254540 h 493192"/>
                  <a:gd name="connsiteX8" fmla="*/ 176284 w 339055"/>
                  <a:gd name="connsiteY8" fmla="*/ 258301 h 493192"/>
                  <a:gd name="connsiteX9" fmla="*/ 176835 w 339055"/>
                  <a:gd name="connsiteY9" fmla="*/ 264447 h 493192"/>
                  <a:gd name="connsiteX10" fmla="*/ 169133 w 339055"/>
                  <a:gd name="connsiteY10" fmla="*/ 287568 h 493192"/>
                  <a:gd name="connsiteX11" fmla="*/ 167272 w 339055"/>
                  <a:gd name="connsiteY11" fmla="*/ 290572 h 493192"/>
                  <a:gd name="connsiteX12" fmla="*/ 151854 w 339055"/>
                  <a:gd name="connsiteY12" fmla="*/ 305991 h 493192"/>
                  <a:gd name="connsiteX13" fmla="*/ 146411 w 339055"/>
                  <a:gd name="connsiteY13" fmla="*/ 308250 h 493192"/>
                  <a:gd name="connsiteX14" fmla="*/ 92466 w 339055"/>
                  <a:gd name="connsiteY14" fmla="*/ 308250 h 493192"/>
                  <a:gd name="connsiteX15" fmla="*/ 92466 w 339055"/>
                  <a:gd name="connsiteY15" fmla="*/ 323972 h 493192"/>
                  <a:gd name="connsiteX16" fmla="*/ 177235 w 339055"/>
                  <a:gd name="connsiteY16" fmla="*/ 416126 h 493192"/>
                  <a:gd name="connsiteX17" fmla="*/ 177235 w 339055"/>
                  <a:gd name="connsiteY17" fmla="*/ 431545 h 493192"/>
                  <a:gd name="connsiteX18" fmla="*/ 161816 w 339055"/>
                  <a:gd name="connsiteY18" fmla="*/ 431545 h 493192"/>
                  <a:gd name="connsiteX19" fmla="*/ 161816 w 339055"/>
                  <a:gd name="connsiteY19" fmla="*/ 416126 h 493192"/>
                  <a:gd name="connsiteX20" fmla="*/ 84750 w 339055"/>
                  <a:gd name="connsiteY20" fmla="*/ 339060 h 493192"/>
                  <a:gd name="connsiteX21" fmla="*/ 77047 w 339055"/>
                  <a:gd name="connsiteY21" fmla="*/ 331358 h 493192"/>
                  <a:gd name="connsiteX22" fmla="*/ 77047 w 339055"/>
                  <a:gd name="connsiteY22" fmla="*/ 300534 h 493192"/>
                  <a:gd name="connsiteX23" fmla="*/ 84750 w 339055"/>
                  <a:gd name="connsiteY23" fmla="*/ 292831 h 493192"/>
                  <a:gd name="connsiteX24" fmla="*/ 143200 w 339055"/>
                  <a:gd name="connsiteY24" fmla="*/ 292831 h 493192"/>
                  <a:gd name="connsiteX25" fmla="*/ 155064 w 339055"/>
                  <a:gd name="connsiteY25" fmla="*/ 280968 h 493192"/>
                  <a:gd name="connsiteX26" fmla="*/ 159570 w 339055"/>
                  <a:gd name="connsiteY26" fmla="*/ 267464 h 493192"/>
                  <a:gd name="connsiteX27" fmla="*/ 48580 w 339055"/>
                  <a:gd name="connsiteY27" fmla="*/ 239713 h 493192"/>
                  <a:gd name="connsiteX28" fmla="*/ 15979 w 339055"/>
                  <a:gd name="connsiteY28" fmla="*/ 272315 h 493192"/>
                  <a:gd name="connsiteX29" fmla="*/ 52659 w 339055"/>
                  <a:gd name="connsiteY29" fmla="*/ 477773 h 493192"/>
                  <a:gd name="connsiteX30" fmla="*/ 263670 w 339055"/>
                  <a:gd name="connsiteY30" fmla="*/ 477773 h 493192"/>
                  <a:gd name="connsiteX31" fmla="*/ 322011 w 339055"/>
                  <a:gd name="connsiteY31" fmla="*/ 244426 h 493192"/>
                  <a:gd name="connsiteX32" fmla="*/ 121347 w 339055"/>
                  <a:gd name="connsiteY32" fmla="*/ 192396 h 493192"/>
                  <a:gd name="connsiteX33" fmla="*/ 115574 w 339055"/>
                  <a:gd name="connsiteY33" fmla="*/ 184942 h 493192"/>
                  <a:gd name="connsiteX34" fmla="*/ 115574 w 339055"/>
                  <a:gd name="connsiteY34" fmla="*/ 23121 h 493192"/>
                  <a:gd name="connsiteX35" fmla="*/ 107871 w 339055"/>
                  <a:gd name="connsiteY35" fmla="*/ 15419 h 493192"/>
                  <a:gd name="connsiteX36" fmla="*/ 61629 w 339055"/>
                  <a:gd name="connsiteY36" fmla="*/ 15419 h 493192"/>
                  <a:gd name="connsiteX37" fmla="*/ 53926 w 339055"/>
                  <a:gd name="connsiteY37" fmla="*/ 23121 h 493192"/>
                  <a:gd name="connsiteX38" fmla="*/ 53926 w 339055"/>
                  <a:gd name="connsiteY38" fmla="*/ 208063 h 493192"/>
                  <a:gd name="connsiteX39" fmla="*/ 38507 w 339055"/>
                  <a:gd name="connsiteY39" fmla="*/ 208063 h 493192"/>
                  <a:gd name="connsiteX40" fmla="*/ 38507 w 339055"/>
                  <a:gd name="connsiteY40" fmla="*/ 23121 h 493192"/>
                  <a:gd name="connsiteX41" fmla="*/ 61629 w 339055"/>
                  <a:gd name="connsiteY41" fmla="*/ 0 h 493192"/>
                  <a:gd name="connsiteX42" fmla="*/ 107871 w 339055"/>
                  <a:gd name="connsiteY42" fmla="*/ 0 h 493192"/>
                  <a:gd name="connsiteX43" fmla="*/ 130992 w 339055"/>
                  <a:gd name="connsiteY43" fmla="*/ 23121 h 493192"/>
                  <a:gd name="connsiteX44" fmla="*/ 130992 w 339055"/>
                  <a:gd name="connsiteY44" fmla="*/ 178989 h 493192"/>
                  <a:gd name="connsiteX45" fmla="*/ 333282 w 339055"/>
                  <a:gd name="connsiteY45" fmla="*/ 231432 h 493192"/>
                  <a:gd name="connsiteX46" fmla="*/ 338821 w 339055"/>
                  <a:gd name="connsiteY46" fmla="*/ 240761 h 493192"/>
                  <a:gd name="connsiteX47" fmla="*/ 277174 w 339055"/>
                  <a:gd name="connsiteY47" fmla="*/ 487350 h 493192"/>
                  <a:gd name="connsiteX48" fmla="*/ 269705 w 339055"/>
                  <a:gd name="connsiteY48" fmla="*/ 493192 h 493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339055" h="493192">
                    <a:moveTo>
                      <a:pt x="269705" y="493192"/>
                    </a:moveTo>
                    <a:lnTo>
                      <a:pt x="46237" y="493192"/>
                    </a:lnTo>
                    <a:cubicBezTo>
                      <a:pt x="42503" y="493192"/>
                      <a:pt x="39307" y="490519"/>
                      <a:pt x="38645" y="486840"/>
                    </a:cubicBezTo>
                    <a:lnTo>
                      <a:pt x="119" y="271075"/>
                    </a:lnTo>
                    <a:cubicBezTo>
                      <a:pt x="-322" y="268594"/>
                      <a:pt x="477" y="266059"/>
                      <a:pt x="2255" y="264268"/>
                    </a:cubicBezTo>
                    <a:lnTo>
                      <a:pt x="40781" y="225742"/>
                    </a:lnTo>
                    <a:cubicBezTo>
                      <a:pt x="42696" y="223826"/>
                      <a:pt x="45493" y="223055"/>
                      <a:pt x="48098" y="223716"/>
                    </a:cubicBezTo>
                    <a:lnTo>
                      <a:pt x="171392" y="254540"/>
                    </a:lnTo>
                    <a:cubicBezTo>
                      <a:pt x="173473" y="255063"/>
                      <a:pt x="175250" y="256427"/>
                      <a:pt x="176284" y="258301"/>
                    </a:cubicBezTo>
                    <a:cubicBezTo>
                      <a:pt x="177317" y="260189"/>
                      <a:pt x="177524" y="262407"/>
                      <a:pt x="176835" y="264447"/>
                    </a:cubicBezTo>
                    <a:lnTo>
                      <a:pt x="169133" y="287568"/>
                    </a:lnTo>
                    <a:cubicBezTo>
                      <a:pt x="168761" y="288698"/>
                      <a:pt x="168113" y="289731"/>
                      <a:pt x="167272" y="290572"/>
                    </a:cubicBezTo>
                    <a:lnTo>
                      <a:pt x="151854" y="305991"/>
                    </a:lnTo>
                    <a:cubicBezTo>
                      <a:pt x="150407" y="307437"/>
                      <a:pt x="148450" y="308250"/>
                      <a:pt x="146411" y="308250"/>
                    </a:cubicBezTo>
                    <a:lnTo>
                      <a:pt x="92466" y="308250"/>
                    </a:lnTo>
                    <a:lnTo>
                      <a:pt x="92466" y="323972"/>
                    </a:lnTo>
                    <a:cubicBezTo>
                      <a:pt x="139866" y="327899"/>
                      <a:pt x="177235" y="367734"/>
                      <a:pt x="177235" y="416126"/>
                    </a:cubicBezTo>
                    <a:lnTo>
                      <a:pt x="177235" y="431545"/>
                    </a:lnTo>
                    <a:lnTo>
                      <a:pt x="161816" y="431545"/>
                    </a:lnTo>
                    <a:lnTo>
                      <a:pt x="161816" y="416126"/>
                    </a:lnTo>
                    <a:cubicBezTo>
                      <a:pt x="161816" y="373632"/>
                      <a:pt x="127244" y="339060"/>
                      <a:pt x="84750" y="339060"/>
                    </a:cubicBezTo>
                    <a:cubicBezTo>
                      <a:pt x="80492" y="339060"/>
                      <a:pt x="77047" y="335615"/>
                      <a:pt x="77047" y="331358"/>
                    </a:cubicBezTo>
                    <a:lnTo>
                      <a:pt x="77047" y="300534"/>
                    </a:lnTo>
                    <a:cubicBezTo>
                      <a:pt x="77047" y="296276"/>
                      <a:pt x="80492" y="292831"/>
                      <a:pt x="84750" y="292831"/>
                    </a:cubicBezTo>
                    <a:lnTo>
                      <a:pt x="143200" y="292831"/>
                    </a:lnTo>
                    <a:lnTo>
                      <a:pt x="155064" y="280968"/>
                    </a:lnTo>
                    <a:lnTo>
                      <a:pt x="159570" y="267464"/>
                    </a:lnTo>
                    <a:lnTo>
                      <a:pt x="48580" y="239713"/>
                    </a:lnTo>
                    <a:lnTo>
                      <a:pt x="15979" y="272315"/>
                    </a:lnTo>
                    <a:lnTo>
                      <a:pt x="52659" y="477773"/>
                    </a:lnTo>
                    <a:lnTo>
                      <a:pt x="263670" y="477773"/>
                    </a:lnTo>
                    <a:lnTo>
                      <a:pt x="322011" y="244426"/>
                    </a:lnTo>
                    <a:lnTo>
                      <a:pt x="121347" y="192396"/>
                    </a:lnTo>
                    <a:cubicBezTo>
                      <a:pt x="117944" y="191515"/>
                      <a:pt x="115574" y="188455"/>
                      <a:pt x="115574" y="184942"/>
                    </a:cubicBezTo>
                    <a:lnTo>
                      <a:pt x="115574" y="23121"/>
                    </a:lnTo>
                    <a:cubicBezTo>
                      <a:pt x="115574" y="18863"/>
                      <a:pt x="112115" y="15419"/>
                      <a:pt x="107871" y="15419"/>
                    </a:cubicBezTo>
                    <a:lnTo>
                      <a:pt x="61629" y="15419"/>
                    </a:lnTo>
                    <a:cubicBezTo>
                      <a:pt x="57371" y="15419"/>
                      <a:pt x="53926" y="18877"/>
                      <a:pt x="53926" y="23121"/>
                    </a:cubicBezTo>
                    <a:lnTo>
                      <a:pt x="53926" y="208063"/>
                    </a:lnTo>
                    <a:lnTo>
                      <a:pt x="38507" y="208063"/>
                    </a:lnTo>
                    <a:lnTo>
                      <a:pt x="38507" y="23121"/>
                    </a:lnTo>
                    <a:cubicBezTo>
                      <a:pt x="38507" y="10375"/>
                      <a:pt x="48883" y="0"/>
                      <a:pt x="61629" y="0"/>
                    </a:cubicBezTo>
                    <a:lnTo>
                      <a:pt x="107871" y="0"/>
                    </a:lnTo>
                    <a:cubicBezTo>
                      <a:pt x="120617" y="0"/>
                      <a:pt x="130992" y="10375"/>
                      <a:pt x="130992" y="23121"/>
                    </a:cubicBezTo>
                    <a:lnTo>
                      <a:pt x="130992" y="178989"/>
                    </a:lnTo>
                    <a:lnTo>
                      <a:pt x="333282" y="231432"/>
                    </a:lnTo>
                    <a:cubicBezTo>
                      <a:pt x="337374" y="232493"/>
                      <a:pt x="339855" y="236655"/>
                      <a:pt x="338821" y="240761"/>
                    </a:cubicBezTo>
                    <a:lnTo>
                      <a:pt x="277174" y="487350"/>
                    </a:lnTo>
                    <a:cubicBezTo>
                      <a:pt x="276319" y="490781"/>
                      <a:pt x="273233" y="493192"/>
                      <a:pt x="269705" y="493192"/>
                    </a:cubicBezTo>
                    <a:close/>
                  </a:path>
                </a:pathLst>
              </a:custGeom>
              <a:solidFill>
                <a:schemeClr val="tx2"/>
              </a:solidFill>
              <a:ln w="1375" cap="flat">
                <a:noFill/>
                <a:prstDash val="solid"/>
                <a:miter/>
              </a:ln>
            </p:spPr>
            <p:txBody>
              <a:bodyPr rtlCol="0" anchor="ctr"/>
              <a:lstStyle/>
              <a:p>
                <a:endParaRPr lang="en-GB" dirty="0"/>
              </a:p>
            </p:txBody>
          </p:sp>
          <p:sp>
            <p:nvSpPr>
              <p:cNvPr id="371" name="Freihandform: Form 370">
                <a:extLst>
                  <a:ext uri="{FF2B5EF4-FFF2-40B4-BE49-F238E27FC236}">
                    <a16:creationId xmlns:a16="http://schemas.microsoft.com/office/drawing/2014/main" id="{DDC47A11-0D66-492B-9326-545325F10BBA}"/>
                  </a:ext>
                </a:extLst>
              </p:cNvPr>
              <p:cNvSpPr/>
              <p:nvPr/>
            </p:nvSpPr>
            <p:spPr>
              <a:xfrm>
                <a:off x="3205379" y="4287254"/>
                <a:ext cx="102309" cy="125416"/>
              </a:xfrm>
              <a:custGeom>
                <a:avLst/>
                <a:gdLst>
                  <a:gd name="connsiteX0" fmla="*/ 48681 w 102309"/>
                  <a:gd name="connsiteY0" fmla="*/ 125417 h 125416"/>
                  <a:gd name="connsiteX1" fmla="*/ 46242 w 102309"/>
                  <a:gd name="connsiteY1" fmla="*/ 125017 h 125416"/>
                  <a:gd name="connsiteX2" fmla="*/ 0 w 102309"/>
                  <a:gd name="connsiteY2" fmla="*/ 109598 h 125416"/>
                  <a:gd name="connsiteX3" fmla="*/ 4878 w 102309"/>
                  <a:gd name="connsiteY3" fmla="*/ 94979 h 125416"/>
                  <a:gd name="connsiteX4" fmla="*/ 48075 w 102309"/>
                  <a:gd name="connsiteY4" fmla="*/ 109378 h 125416"/>
                  <a:gd name="connsiteX5" fmla="*/ 57596 w 102309"/>
                  <a:gd name="connsiteY5" fmla="*/ 104624 h 125416"/>
                  <a:gd name="connsiteX6" fmla="*/ 87483 w 102309"/>
                  <a:gd name="connsiteY6" fmla="*/ 0 h 125416"/>
                  <a:gd name="connsiteX7" fmla="*/ 102309 w 102309"/>
                  <a:gd name="connsiteY7" fmla="*/ 4230 h 125416"/>
                  <a:gd name="connsiteX8" fmla="*/ 71486 w 102309"/>
                  <a:gd name="connsiteY8" fmla="*/ 112120 h 125416"/>
                  <a:gd name="connsiteX9" fmla="*/ 67517 w 102309"/>
                  <a:gd name="connsiteY9" fmla="*/ 116901 h 125416"/>
                  <a:gd name="connsiteX10" fmla="*/ 52098 w 102309"/>
                  <a:gd name="connsiteY10" fmla="*/ 124604 h 125416"/>
                  <a:gd name="connsiteX11" fmla="*/ 48681 w 102309"/>
                  <a:gd name="connsiteY11" fmla="*/ 125417 h 125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2309" h="125416">
                    <a:moveTo>
                      <a:pt x="48681" y="125417"/>
                    </a:moveTo>
                    <a:cubicBezTo>
                      <a:pt x="47854" y="125417"/>
                      <a:pt x="47041" y="125293"/>
                      <a:pt x="46242" y="125017"/>
                    </a:cubicBezTo>
                    <a:lnTo>
                      <a:pt x="0" y="109598"/>
                    </a:lnTo>
                    <a:lnTo>
                      <a:pt x="4878" y="94979"/>
                    </a:lnTo>
                    <a:lnTo>
                      <a:pt x="48075" y="109378"/>
                    </a:lnTo>
                    <a:lnTo>
                      <a:pt x="57596" y="104624"/>
                    </a:lnTo>
                    <a:lnTo>
                      <a:pt x="87483" y="0"/>
                    </a:lnTo>
                    <a:lnTo>
                      <a:pt x="102309" y="4230"/>
                    </a:lnTo>
                    <a:lnTo>
                      <a:pt x="71486" y="112120"/>
                    </a:lnTo>
                    <a:cubicBezTo>
                      <a:pt x="70893" y="114200"/>
                      <a:pt x="69460" y="115937"/>
                      <a:pt x="67517" y="116901"/>
                    </a:cubicBezTo>
                    <a:lnTo>
                      <a:pt x="52098" y="124604"/>
                    </a:lnTo>
                    <a:cubicBezTo>
                      <a:pt x="51037" y="125141"/>
                      <a:pt x="49866" y="125417"/>
                      <a:pt x="48681" y="125417"/>
                    </a:cubicBezTo>
                    <a:close/>
                  </a:path>
                </a:pathLst>
              </a:custGeom>
              <a:solidFill>
                <a:schemeClr val="tx2"/>
              </a:solidFill>
              <a:ln w="1375" cap="flat">
                <a:noFill/>
                <a:prstDash val="solid"/>
                <a:miter/>
              </a:ln>
            </p:spPr>
            <p:txBody>
              <a:bodyPr rtlCol="0" anchor="ctr"/>
              <a:lstStyle/>
              <a:p>
                <a:endParaRPr lang="en-GB" dirty="0"/>
              </a:p>
            </p:txBody>
          </p:sp>
          <p:sp>
            <p:nvSpPr>
              <p:cNvPr id="372" name="Freihandform: Form 371">
                <a:extLst>
                  <a:ext uri="{FF2B5EF4-FFF2-40B4-BE49-F238E27FC236}">
                    <a16:creationId xmlns:a16="http://schemas.microsoft.com/office/drawing/2014/main" id="{D336F91C-1DF4-4D22-ABC0-0A7E260066FD}"/>
                  </a:ext>
                </a:extLst>
              </p:cNvPr>
              <p:cNvSpPr/>
              <p:nvPr/>
            </p:nvSpPr>
            <p:spPr>
              <a:xfrm>
                <a:off x="3261762" y="4389549"/>
                <a:ext cx="77049" cy="46243"/>
              </a:xfrm>
              <a:custGeom>
                <a:avLst/>
                <a:gdLst>
                  <a:gd name="connsiteX0" fmla="*/ 69365 w 77049"/>
                  <a:gd name="connsiteY0" fmla="*/ 46243 h 46243"/>
                  <a:gd name="connsiteX1" fmla="*/ 67243 w 77049"/>
                  <a:gd name="connsiteY1" fmla="*/ 45954 h 46243"/>
                  <a:gd name="connsiteX2" fmla="*/ 13298 w 77049"/>
                  <a:gd name="connsiteY2" fmla="*/ 30535 h 46243"/>
                  <a:gd name="connsiteX3" fmla="*/ 8517 w 77049"/>
                  <a:gd name="connsiteY3" fmla="*/ 26567 h 46243"/>
                  <a:gd name="connsiteX4" fmla="*/ 814 w 77049"/>
                  <a:gd name="connsiteY4" fmla="*/ 11148 h 46243"/>
                  <a:gd name="connsiteX5" fmla="*/ 4259 w 77049"/>
                  <a:gd name="connsiteY5" fmla="*/ 814 h 46243"/>
                  <a:gd name="connsiteX6" fmla="*/ 14593 w 77049"/>
                  <a:gd name="connsiteY6" fmla="*/ 4259 h 46243"/>
                  <a:gd name="connsiteX7" fmla="*/ 20780 w 77049"/>
                  <a:gd name="connsiteY7" fmla="*/ 16632 h 46243"/>
                  <a:gd name="connsiteX8" fmla="*/ 71459 w 77049"/>
                  <a:gd name="connsiteY8" fmla="*/ 31114 h 46243"/>
                  <a:gd name="connsiteX9" fmla="*/ 76750 w 77049"/>
                  <a:gd name="connsiteY9" fmla="*/ 40635 h 46243"/>
                  <a:gd name="connsiteX10" fmla="*/ 69365 w 77049"/>
                  <a:gd name="connsiteY10" fmla="*/ 46243 h 4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7049" h="46243">
                    <a:moveTo>
                      <a:pt x="69365" y="46243"/>
                    </a:moveTo>
                    <a:cubicBezTo>
                      <a:pt x="68662" y="46243"/>
                      <a:pt x="67945" y="46147"/>
                      <a:pt x="67243" y="45954"/>
                    </a:cubicBezTo>
                    <a:lnTo>
                      <a:pt x="13298" y="30535"/>
                    </a:lnTo>
                    <a:cubicBezTo>
                      <a:pt x="11217" y="29943"/>
                      <a:pt x="9481" y="28510"/>
                      <a:pt x="8517" y="26567"/>
                    </a:cubicBezTo>
                    <a:lnTo>
                      <a:pt x="814" y="11148"/>
                    </a:lnTo>
                    <a:cubicBezTo>
                      <a:pt x="-1087" y="7345"/>
                      <a:pt x="456" y="2716"/>
                      <a:pt x="4259" y="814"/>
                    </a:cubicBezTo>
                    <a:cubicBezTo>
                      <a:pt x="8076" y="-1087"/>
                      <a:pt x="12692" y="456"/>
                      <a:pt x="14593" y="4259"/>
                    </a:cubicBezTo>
                    <a:lnTo>
                      <a:pt x="20780" y="16632"/>
                    </a:lnTo>
                    <a:lnTo>
                      <a:pt x="71459" y="31114"/>
                    </a:lnTo>
                    <a:cubicBezTo>
                      <a:pt x="75551" y="32285"/>
                      <a:pt x="77921" y="36557"/>
                      <a:pt x="76750" y="40635"/>
                    </a:cubicBezTo>
                    <a:cubicBezTo>
                      <a:pt x="75800" y="44039"/>
                      <a:pt x="72713" y="46243"/>
                      <a:pt x="69365" y="46243"/>
                    </a:cubicBezTo>
                    <a:close/>
                  </a:path>
                </a:pathLst>
              </a:custGeom>
              <a:solidFill>
                <a:schemeClr val="tx2"/>
              </a:solidFill>
              <a:ln w="1375" cap="flat">
                <a:noFill/>
                <a:prstDash val="solid"/>
                <a:miter/>
              </a:ln>
            </p:spPr>
            <p:txBody>
              <a:bodyPr rtlCol="0" anchor="ctr"/>
              <a:lstStyle/>
              <a:p>
                <a:endParaRPr lang="en-GB" dirty="0"/>
              </a:p>
            </p:txBody>
          </p:sp>
          <p:sp>
            <p:nvSpPr>
              <p:cNvPr id="373" name="Freihandform: Form 372">
                <a:extLst>
                  <a:ext uri="{FF2B5EF4-FFF2-40B4-BE49-F238E27FC236}">
                    <a16:creationId xmlns:a16="http://schemas.microsoft.com/office/drawing/2014/main" id="{C40C83DF-20E4-48BD-AA31-E4453FE50122}"/>
                  </a:ext>
                </a:extLst>
              </p:cNvPr>
              <p:cNvSpPr/>
              <p:nvPr/>
            </p:nvSpPr>
            <p:spPr>
              <a:xfrm>
                <a:off x="3200116" y="4512845"/>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grpSp>
        <p:sp>
          <p:nvSpPr>
            <p:cNvPr id="374" name="Freihandform: Form 373">
              <a:extLst>
                <a:ext uri="{FF2B5EF4-FFF2-40B4-BE49-F238E27FC236}">
                  <a16:creationId xmlns:a16="http://schemas.microsoft.com/office/drawing/2014/main" id="{E97D0EFE-448D-44CE-8D63-F8089D728380}"/>
                </a:ext>
              </a:extLst>
            </p:cNvPr>
            <p:cNvSpPr/>
            <p:nvPr/>
          </p:nvSpPr>
          <p:spPr>
            <a:xfrm>
              <a:off x="3107645" y="4104421"/>
              <a:ext cx="23121" cy="61662"/>
            </a:xfrm>
            <a:custGeom>
              <a:avLst/>
              <a:gdLst>
                <a:gd name="connsiteX0" fmla="*/ 23121 w 23121"/>
                <a:gd name="connsiteY0" fmla="*/ 61661 h 61661"/>
                <a:gd name="connsiteX1" fmla="*/ 7702 w 23121"/>
                <a:gd name="connsiteY1" fmla="*/ 61661 h 61661"/>
                <a:gd name="connsiteX2" fmla="*/ 7702 w 23121"/>
                <a:gd name="connsiteY2" fmla="*/ 15419 h 61661"/>
                <a:gd name="connsiteX3" fmla="*/ 0 w 23121"/>
                <a:gd name="connsiteY3" fmla="*/ 15419 h 61661"/>
                <a:gd name="connsiteX4" fmla="*/ 0 w 23121"/>
                <a:gd name="connsiteY4" fmla="*/ 0 h 61661"/>
                <a:gd name="connsiteX5" fmla="*/ 15419 w 23121"/>
                <a:gd name="connsiteY5" fmla="*/ 0 h 61661"/>
                <a:gd name="connsiteX6" fmla="*/ 23121 w 23121"/>
                <a:gd name="connsiteY6" fmla="*/ 7702 h 61661"/>
                <a:gd name="connsiteX7" fmla="*/ 23121 w 23121"/>
                <a:gd name="connsiteY7" fmla="*/ 61661 h 61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21" h="61661">
                  <a:moveTo>
                    <a:pt x="23121" y="61661"/>
                  </a:moveTo>
                  <a:lnTo>
                    <a:pt x="7702" y="61661"/>
                  </a:lnTo>
                  <a:lnTo>
                    <a:pt x="7702" y="15419"/>
                  </a:lnTo>
                  <a:lnTo>
                    <a:pt x="0" y="15419"/>
                  </a:lnTo>
                  <a:lnTo>
                    <a:pt x="0" y="0"/>
                  </a:lnTo>
                  <a:lnTo>
                    <a:pt x="15419" y="0"/>
                  </a:lnTo>
                  <a:cubicBezTo>
                    <a:pt x="19676" y="0"/>
                    <a:pt x="23121" y="3445"/>
                    <a:pt x="23121" y="7702"/>
                  </a:cubicBezTo>
                  <a:lnTo>
                    <a:pt x="23121" y="61661"/>
                  </a:lnTo>
                  <a:close/>
                </a:path>
              </a:pathLst>
            </a:custGeom>
            <a:solidFill>
              <a:schemeClr val="accent1"/>
            </a:solidFill>
            <a:ln w="1375" cap="flat">
              <a:noFill/>
              <a:prstDash val="solid"/>
              <a:miter/>
            </a:ln>
          </p:spPr>
          <p:txBody>
            <a:bodyPr rtlCol="0" anchor="ctr"/>
            <a:lstStyle/>
            <a:p>
              <a:endParaRPr lang="en-GB" dirty="0"/>
            </a:p>
          </p:txBody>
        </p:sp>
      </p:grpSp>
      <p:grpSp>
        <p:nvGrpSpPr>
          <p:cNvPr id="684" name="Gruppieren 683">
            <a:extLst>
              <a:ext uri="{FF2B5EF4-FFF2-40B4-BE49-F238E27FC236}">
                <a16:creationId xmlns:a16="http://schemas.microsoft.com/office/drawing/2014/main" id="{E6A24FCD-149C-4C94-AEBF-BEEF34ACF62C}"/>
              </a:ext>
            </a:extLst>
          </p:cNvPr>
          <p:cNvGrpSpPr>
            <a:grpSpLocks noChangeAspect="1"/>
          </p:cNvGrpSpPr>
          <p:nvPr/>
        </p:nvGrpSpPr>
        <p:grpSpPr>
          <a:xfrm>
            <a:off x="2970255" y="3273397"/>
            <a:ext cx="445932" cy="431999"/>
            <a:chOff x="2961229" y="3256778"/>
            <a:chExt cx="493178" cy="477772"/>
          </a:xfrm>
        </p:grpSpPr>
        <p:grpSp>
          <p:nvGrpSpPr>
            <p:cNvPr id="682" name="Gruppieren 681">
              <a:extLst>
                <a:ext uri="{FF2B5EF4-FFF2-40B4-BE49-F238E27FC236}">
                  <a16:creationId xmlns:a16="http://schemas.microsoft.com/office/drawing/2014/main" id="{3D174192-4B3C-45CC-91F7-4C895D971BDA}"/>
                </a:ext>
              </a:extLst>
            </p:cNvPr>
            <p:cNvGrpSpPr/>
            <p:nvPr/>
          </p:nvGrpSpPr>
          <p:grpSpPr>
            <a:xfrm>
              <a:off x="2984350" y="3256778"/>
              <a:ext cx="446949" cy="200347"/>
              <a:chOff x="2984350" y="3256777"/>
              <a:chExt cx="446949" cy="200347"/>
            </a:xfrm>
          </p:grpSpPr>
          <p:sp>
            <p:nvSpPr>
              <p:cNvPr id="394" name="Freihandform: Form 393">
                <a:extLst>
                  <a:ext uri="{FF2B5EF4-FFF2-40B4-BE49-F238E27FC236}">
                    <a16:creationId xmlns:a16="http://schemas.microsoft.com/office/drawing/2014/main" id="{90D51455-D008-4244-8017-2A4341421559}"/>
                  </a:ext>
                </a:extLst>
              </p:cNvPr>
              <p:cNvSpPr/>
              <p:nvPr/>
            </p:nvSpPr>
            <p:spPr>
              <a:xfrm>
                <a:off x="3415881" y="3356951"/>
                <a:ext cx="15418" cy="100173"/>
              </a:xfrm>
              <a:custGeom>
                <a:avLst/>
                <a:gdLst>
                  <a:gd name="connsiteX0" fmla="*/ 0 w 15418"/>
                  <a:gd name="connsiteY0" fmla="*/ 0 h 100173"/>
                  <a:gd name="connsiteX1" fmla="*/ 15419 w 15418"/>
                  <a:gd name="connsiteY1" fmla="*/ 0 h 100173"/>
                  <a:gd name="connsiteX2" fmla="*/ 15419 w 15418"/>
                  <a:gd name="connsiteY2" fmla="*/ 100173 h 100173"/>
                  <a:gd name="connsiteX3" fmla="*/ 0 w 15418"/>
                  <a:gd name="connsiteY3" fmla="*/ 100173 h 100173"/>
                </a:gdLst>
                <a:ahLst/>
                <a:cxnLst>
                  <a:cxn ang="0">
                    <a:pos x="connsiteX0" y="connsiteY0"/>
                  </a:cxn>
                  <a:cxn ang="0">
                    <a:pos x="connsiteX1" y="connsiteY1"/>
                  </a:cxn>
                  <a:cxn ang="0">
                    <a:pos x="connsiteX2" y="connsiteY2"/>
                  </a:cxn>
                  <a:cxn ang="0">
                    <a:pos x="connsiteX3" y="connsiteY3"/>
                  </a:cxn>
                </a:cxnLst>
                <a:rect l="l" t="t" r="r" b="b"/>
                <a:pathLst>
                  <a:path w="15418" h="100173">
                    <a:moveTo>
                      <a:pt x="0" y="0"/>
                    </a:moveTo>
                    <a:lnTo>
                      <a:pt x="15419" y="0"/>
                    </a:lnTo>
                    <a:lnTo>
                      <a:pt x="15419" y="100173"/>
                    </a:lnTo>
                    <a:lnTo>
                      <a:pt x="0" y="100173"/>
                    </a:lnTo>
                    <a:close/>
                  </a:path>
                </a:pathLst>
              </a:custGeom>
              <a:solidFill>
                <a:schemeClr val="accent1"/>
              </a:solidFill>
              <a:ln w="1375" cap="flat">
                <a:noFill/>
                <a:prstDash val="solid"/>
                <a:miter/>
              </a:ln>
            </p:spPr>
            <p:txBody>
              <a:bodyPr rtlCol="0" anchor="ctr"/>
              <a:lstStyle/>
              <a:p>
                <a:endParaRPr lang="en-GB" dirty="0"/>
              </a:p>
            </p:txBody>
          </p:sp>
          <p:sp>
            <p:nvSpPr>
              <p:cNvPr id="395" name="Freihandform: Form 394">
                <a:extLst>
                  <a:ext uri="{FF2B5EF4-FFF2-40B4-BE49-F238E27FC236}">
                    <a16:creationId xmlns:a16="http://schemas.microsoft.com/office/drawing/2014/main" id="{F3E4B1F9-C22C-4B2C-9D6F-31C4A5FF58A4}"/>
                  </a:ext>
                </a:extLst>
              </p:cNvPr>
              <p:cNvSpPr/>
              <p:nvPr/>
            </p:nvSpPr>
            <p:spPr>
              <a:xfrm>
                <a:off x="3354234" y="3256777"/>
                <a:ext cx="77052" cy="107875"/>
              </a:xfrm>
              <a:custGeom>
                <a:avLst/>
                <a:gdLst>
                  <a:gd name="connsiteX0" fmla="*/ 69350 w 77052"/>
                  <a:gd name="connsiteY0" fmla="*/ 107876 h 107875"/>
                  <a:gd name="connsiteX1" fmla="*/ 7703 w 77052"/>
                  <a:gd name="connsiteY1" fmla="*/ 107876 h 107875"/>
                  <a:gd name="connsiteX2" fmla="*/ 0 w 77052"/>
                  <a:gd name="connsiteY2" fmla="*/ 100174 h 107875"/>
                  <a:gd name="connsiteX3" fmla="*/ 0 w 77052"/>
                  <a:gd name="connsiteY3" fmla="*/ 7703 h 107875"/>
                  <a:gd name="connsiteX4" fmla="*/ 7703 w 77052"/>
                  <a:gd name="connsiteY4" fmla="*/ 0 h 107875"/>
                  <a:gd name="connsiteX5" fmla="*/ 69350 w 77052"/>
                  <a:gd name="connsiteY5" fmla="*/ 0 h 107875"/>
                  <a:gd name="connsiteX6" fmla="*/ 77052 w 77052"/>
                  <a:gd name="connsiteY6" fmla="*/ 7703 h 107875"/>
                  <a:gd name="connsiteX7" fmla="*/ 77052 w 77052"/>
                  <a:gd name="connsiteY7" fmla="*/ 100174 h 107875"/>
                  <a:gd name="connsiteX8" fmla="*/ 69350 w 77052"/>
                  <a:gd name="connsiteY8" fmla="*/ 107876 h 107875"/>
                  <a:gd name="connsiteX9" fmla="*/ 15419 w 77052"/>
                  <a:gd name="connsiteY9" fmla="*/ 92471 h 107875"/>
                  <a:gd name="connsiteX10" fmla="*/ 61661 w 77052"/>
                  <a:gd name="connsiteY10" fmla="*/ 92471 h 107875"/>
                  <a:gd name="connsiteX11" fmla="*/ 61661 w 77052"/>
                  <a:gd name="connsiteY11" fmla="*/ 15405 h 107875"/>
                  <a:gd name="connsiteX12" fmla="*/ 15419 w 77052"/>
                  <a:gd name="connsiteY12" fmla="*/ 15405 h 107875"/>
                  <a:gd name="connsiteX13" fmla="*/ 15419 w 77052"/>
                  <a:gd name="connsiteY13" fmla="*/ 92471 h 10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052" h="107875">
                    <a:moveTo>
                      <a:pt x="69350" y="107876"/>
                    </a:moveTo>
                    <a:lnTo>
                      <a:pt x="7703" y="107876"/>
                    </a:lnTo>
                    <a:cubicBezTo>
                      <a:pt x="3445" y="107876"/>
                      <a:pt x="0" y="104431"/>
                      <a:pt x="0" y="100174"/>
                    </a:cubicBezTo>
                    <a:lnTo>
                      <a:pt x="0" y="7703"/>
                    </a:lnTo>
                    <a:cubicBezTo>
                      <a:pt x="0" y="3445"/>
                      <a:pt x="3445" y="0"/>
                      <a:pt x="7703" y="0"/>
                    </a:cubicBezTo>
                    <a:lnTo>
                      <a:pt x="69350" y="0"/>
                    </a:lnTo>
                    <a:cubicBezTo>
                      <a:pt x="73607" y="0"/>
                      <a:pt x="77052" y="3445"/>
                      <a:pt x="77052" y="7703"/>
                    </a:cubicBezTo>
                    <a:lnTo>
                      <a:pt x="77052" y="100174"/>
                    </a:lnTo>
                    <a:cubicBezTo>
                      <a:pt x="77066" y="104431"/>
                      <a:pt x="73621" y="107876"/>
                      <a:pt x="69350" y="107876"/>
                    </a:cubicBezTo>
                    <a:close/>
                    <a:moveTo>
                      <a:pt x="15419" y="92471"/>
                    </a:moveTo>
                    <a:lnTo>
                      <a:pt x="61661" y="92471"/>
                    </a:lnTo>
                    <a:lnTo>
                      <a:pt x="61661" y="15405"/>
                    </a:lnTo>
                    <a:lnTo>
                      <a:pt x="15419" y="15405"/>
                    </a:lnTo>
                    <a:lnTo>
                      <a:pt x="15419" y="92471"/>
                    </a:lnTo>
                    <a:close/>
                  </a:path>
                </a:pathLst>
              </a:custGeom>
              <a:solidFill>
                <a:schemeClr val="accent1"/>
              </a:solidFill>
              <a:ln w="1375" cap="flat">
                <a:noFill/>
                <a:prstDash val="solid"/>
                <a:miter/>
              </a:ln>
            </p:spPr>
            <p:txBody>
              <a:bodyPr rtlCol="0" anchor="ctr"/>
              <a:lstStyle/>
              <a:p>
                <a:endParaRPr lang="en-GB" dirty="0"/>
              </a:p>
            </p:txBody>
          </p:sp>
          <p:sp>
            <p:nvSpPr>
              <p:cNvPr id="396" name="Freihandform: Form 395">
                <a:extLst>
                  <a:ext uri="{FF2B5EF4-FFF2-40B4-BE49-F238E27FC236}">
                    <a16:creationId xmlns:a16="http://schemas.microsoft.com/office/drawing/2014/main" id="{55E402A2-10B7-483D-87B4-5F529BEB2E36}"/>
                  </a:ext>
                </a:extLst>
              </p:cNvPr>
              <p:cNvSpPr/>
              <p:nvPr/>
            </p:nvSpPr>
            <p:spPr>
              <a:xfrm>
                <a:off x="3385058" y="3264480"/>
                <a:ext cx="15418" cy="92470"/>
              </a:xfrm>
              <a:custGeom>
                <a:avLst/>
                <a:gdLst>
                  <a:gd name="connsiteX0" fmla="*/ 0 w 15418"/>
                  <a:gd name="connsiteY0" fmla="*/ 0 h 92470"/>
                  <a:gd name="connsiteX1" fmla="*/ 15419 w 15418"/>
                  <a:gd name="connsiteY1" fmla="*/ 0 h 92470"/>
                  <a:gd name="connsiteX2" fmla="*/ 15419 w 15418"/>
                  <a:gd name="connsiteY2" fmla="*/ 92471 h 92470"/>
                  <a:gd name="connsiteX3" fmla="*/ 0 w 15418"/>
                  <a:gd name="connsiteY3" fmla="*/ 92471 h 92470"/>
                </a:gdLst>
                <a:ahLst/>
                <a:cxnLst>
                  <a:cxn ang="0">
                    <a:pos x="connsiteX0" y="connsiteY0"/>
                  </a:cxn>
                  <a:cxn ang="0">
                    <a:pos x="connsiteX1" y="connsiteY1"/>
                  </a:cxn>
                  <a:cxn ang="0">
                    <a:pos x="connsiteX2" y="connsiteY2"/>
                  </a:cxn>
                  <a:cxn ang="0">
                    <a:pos x="connsiteX3" y="connsiteY3"/>
                  </a:cxn>
                </a:cxnLst>
                <a:rect l="l" t="t" r="r" b="b"/>
                <a:pathLst>
                  <a:path w="15418" h="92470">
                    <a:moveTo>
                      <a:pt x="0" y="0"/>
                    </a:moveTo>
                    <a:lnTo>
                      <a:pt x="15419" y="0"/>
                    </a:lnTo>
                    <a:lnTo>
                      <a:pt x="15419" y="92471"/>
                    </a:lnTo>
                    <a:lnTo>
                      <a:pt x="0" y="92471"/>
                    </a:lnTo>
                    <a:close/>
                  </a:path>
                </a:pathLst>
              </a:custGeom>
              <a:solidFill>
                <a:schemeClr val="accent1"/>
              </a:solidFill>
              <a:ln w="1375" cap="flat">
                <a:noFill/>
                <a:prstDash val="solid"/>
                <a:miter/>
              </a:ln>
            </p:spPr>
            <p:txBody>
              <a:bodyPr rtlCol="0" anchor="ctr"/>
              <a:lstStyle/>
              <a:p>
                <a:endParaRPr lang="en-GB" dirty="0"/>
              </a:p>
            </p:txBody>
          </p:sp>
          <p:sp>
            <p:nvSpPr>
              <p:cNvPr id="397" name="Freihandform: Form 396">
                <a:extLst>
                  <a:ext uri="{FF2B5EF4-FFF2-40B4-BE49-F238E27FC236}">
                    <a16:creationId xmlns:a16="http://schemas.microsoft.com/office/drawing/2014/main" id="{EC5DCE1A-E177-4E5E-8650-AF17F90E65C7}"/>
                  </a:ext>
                </a:extLst>
              </p:cNvPr>
              <p:cNvSpPr/>
              <p:nvPr/>
            </p:nvSpPr>
            <p:spPr>
              <a:xfrm>
                <a:off x="3361936" y="3287601"/>
                <a:ext cx="61647" cy="15418"/>
              </a:xfrm>
              <a:custGeom>
                <a:avLst/>
                <a:gdLst>
                  <a:gd name="connsiteX0" fmla="*/ 0 w 61647"/>
                  <a:gd name="connsiteY0" fmla="*/ 0 h 15418"/>
                  <a:gd name="connsiteX1" fmla="*/ 61647 w 61647"/>
                  <a:gd name="connsiteY1" fmla="*/ 0 h 15418"/>
                  <a:gd name="connsiteX2" fmla="*/ 61647 w 61647"/>
                  <a:gd name="connsiteY2" fmla="*/ 15419 h 15418"/>
                  <a:gd name="connsiteX3" fmla="*/ 0 w 61647"/>
                  <a:gd name="connsiteY3" fmla="*/ 15419 h 15418"/>
                </a:gdLst>
                <a:ahLst/>
                <a:cxnLst>
                  <a:cxn ang="0">
                    <a:pos x="connsiteX0" y="connsiteY0"/>
                  </a:cxn>
                  <a:cxn ang="0">
                    <a:pos x="connsiteX1" y="connsiteY1"/>
                  </a:cxn>
                  <a:cxn ang="0">
                    <a:pos x="connsiteX2" y="connsiteY2"/>
                  </a:cxn>
                  <a:cxn ang="0">
                    <a:pos x="connsiteX3" y="connsiteY3"/>
                  </a:cxn>
                </a:cxnLst>
                <a:rect l="l" t="t" r="r" b="b"/>
                <a:pathLst>
                  <a:path w="61647" h="15418">
                    <a:moveTo>
                      <a:pt x="0" y="0"/>
                    </a:moveTo>
                    <a:lnTo>
                      <a:pt x="61647" y="0"/>
                    </a:lnTo>
                    <a:lnTo>
                      <a:pt x="61647"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398" name="Freihandform: Form 397">
                <a:extLst>
                  <a:ext uri="{FF2B5EF4-FFF2-40B4-BE49-F238E27FC236}">
                    <a16:creationId xmlns:a16="http://schemas.microsoft.com/office/drawing/2014/main" id="{BC2DCB0E-7246-4E88-BA7B-2318B05E405E}"/>
                  </a:ext>
                </a:extLst>
              </p:cNvPr>
              <p:cNvSpPr/>
              <p:nvPr/>
            </p:nvSpPr>
            <p:spPr>
              <a:xfrm>
                <a:off x="3361936" y="3318425"/>
                <a:ext cx="61647" cy="15418"/>
              </a:xfrm>
              <a:custGeom>
                <a:avLst/>
                <a:gdLst>
                  <a:gd name="connsiteX0" fmla="*/ 0 w 61647"/>
                  <a:gd name="connsiteY0" fmla="*/ 0 h 15418"/>
                  <a:gd name="connsiteX1" fmla="*/ 61647 w 61647"/>
                  <a:gd name="connsiteY1" fmla="*/ 0 h 15418"/>
                  <a:gd name="connsiteX2" fmla="*/ 61647 w 61647"/>
                  <a:gd name="connsiteY2" fmla="*/ 15419 h 15418"/>
                  <a:gd name="connsiteX3" fmla="*/ 0 w 61647"/>
                  <a:gd name="connsiteY3" fmla="*/ 15419 h 15418"/>
                </a:gdLst>
                <a:ahLst/>
                <a:cxnLst>
                  <a:cxn ang="0">
                    <a:pos x="connsiteX0" y="connsiteY0"/>
                  </a:cxn>
                  <a:cxn ang="0">
                    <a:pos x="connsiteX1" y="connsiteY1"/>
                  </a:cxn>
                  <a:cxn ang="0">
                    <a:pos x="connsiteX2" y="connsiteY2"/>
                  </a:cxn>
                  <a:cxn ang="0">
                    <a:pos x="connsiteX3" y="connsiteY3"/>
                  </a:cxn>
                </a:cxnLst>
                <a:rect l="l" t="t" r="r" b="b"/>
                <a:pathLst>
                  <a:path w="61647" h="15418">
                    <a:moveTo>
                      <a:pt x="0" y="0"/>
                    </a:moveTo>
                    <a:lnTo>
                      <a:pt x="61647" y="0"/>
                    </a:lnTo>
                    <a:lnTo>
                      <a:pt x="61647"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400" name="Freihandform: Form 399">
                <a:extLst>
                  <a:ext uri="{FF2B5EF4-FFF2-40B4-BE49-F238E27FC236}">
                    <a16:creationId xmlns:a16="http://schemas.microsoft.com/office/drawing/2014/main" id="{5C366356-CEAB-41D9-B2B6-FF2AE025CB53}"/>
                  </a:ext>
                </a:extLst>
              </p:cNvPr>
              <p:cNvSpPr/>
              <p:nvPr/>
            </p:nvSpPr>
            <p:spPr>
              <a:xfrm>
                <a:off x="2984350" y="3356951"/>
                <a:ext cx="15418" cy="100173"/>
              </a:xfrm>
              <a:custGeom>
                <a:avLst/>
                <a:gdLst>
                  <a:gd name="connsiteX0" fmla="*/ 0 w 15418"/>
                  <a:gd name="connsiteY0" fmla="*/ 0 h 100173"/>
                  <a:gd name="connsiteX1" fmla="*/ 15419 w 15418"/>
                  <a:gd name="connsiteY1" fmla="*/ 0 h 100173"/>
                  <a:gd name="connsiteX2" fmla="*/ 15419 w 15418"/>
                  <a:gd name="connsiteY2" fmla="*/ 100173 h 100173"/>
                  <a:gd name="connsiteX3" fmla="*/ 0 w 15418"/>
                  <a:gd name="connsiteY3" fmla="*/ 100173 h 100173"/>
                </a:gdLst>
                <a:ahLst/>
                <a:cxnLst>
                  <a:cxn ang="0">
                    <a:pos x="connsiteX0" y="connsiteY0"/>
                  </a:cxn>
                  <a:cxn ang="0">
                    <a:pos x="connsiteX1" y="connsiteY1"/>
                  </a:cxn>
                  <a:cxn ang="0">
                    <a:pos x="connsiteX2" y="connsiteY2"/>
                  </a:cxn>
                  <a:cxn ang="0">
                    <a:pos x="connsiteX3" y="connsiteY3"/>
                  </a:cxn>
                </a:cxnLst>
                <a:rect l="l" t="t" r="r" b="b"/>
                <a:pathLst>
                  <a:path w="15418" h="100173">
                    <a:moveTo>
                      <a:pt x="0" y="0"/>
                    </a:moveTo>
                    <a:lnTo>
                      <a:pt x="15419" y="0"/>
                    </a:lnTo>
                    <a:lnTo>
                      <a:pt x="15419" y="100173"/>
                    </a:lnTo>
                    <a:lnTo>
                      <a:pt x="0" y="100173"/>
                    </a:lnTo>
                    <a:close/>
                  </a:path>
                </a:pathLst>
              </a:custGeom>
              <a:solidFill>
                <a:schemeClr val="accent1"/>
              </a:solidFill>
              <a:ln w="1375" cap="flat">
                <a:noFill/>
                <a:prstDash val="solid"/>
                <a:miter/>
              </a:ln>
            </p:spPr>
            <p:txBody>
              <a:bodyPr rtlCol="0" anchor="ctr"/>
              <a:lstStyle/>
              <a:p>
                <a:endParaRPr lang="en-GB" dirty="0"/>
              </a:p>
            </p:txBody>
          </p:sp>
          <p:sp>
            <p:nvSpPr>
              <p:cNvPr id="401" name="Freihandform: Form 400">
                <a:extLst>
                  <a:ext uri="{FF2B5EF4-FFF2-40B4-BE49-F238E27FC236}">
                    <a16:creationId xmlns:a16="http://schemas.microsoft.com/office/drawing/2014/main" id="{1DF37F43-A48E-4A8C-B683-D33CB408913C}"/>
                  </a:ext>
                </a:extLst>
              </p:cNvPr>
              <p:cNvSpPr/>
              <p:nvPr/>
            </p:nvSpPr>
            <p:spPr>
              <a:xfrm>
                <a:off x="2984350" y="3256777"/>
                <a:ext cx="77052" cy="107875"/>
              </a:xfrm>
              <a:custGeom>
                <a:avLst/>
                <a:gdLst>
                  <a:gd name="connsiteX0" fmla="*/ 69350 w 77052"/>
                  <a:gd name="connsiteY0" fmla="*/ 107876 h 107875"/>
                  <a:gd name="connsiteX1" fmla="*/ 7702 w 77052"/>
                  <a:gd name="connsiteY1" fmla="*/ 107876 h 107875"/>
                  <a:gd name="connsiteX2" fmla="*/ 0 w 77052"/>
                  <a:gd name="connsiteY2" fmla="*/ 100174 h 107875"/>
                  <a:gd name="connsiteX3" fmla="*/ 0 w 77052"/>
                  <a:gd name="connsiteY3" fmla="*/ 7703 h 107875"/>
                  <a:gd name="connsiteX4" fmla="*/ 7702 w 77052"/>
                  <a:gd name="connsiteY4" fmla="*/ 0 h 107875"/>
                  <a:gd name="connsiteX5" fmla="*/ 69350 w 77052"/>
                  <a:gd name="connsiteY5" fmla="*/ 0 h 107875"/>
                  <a:gd name="connsiteX6" fmla="*/ 77052 w 77052"/>
                  <a:gd name="connsiteY6" fmla="*/ 7703 h 107875"/>
                  <a:gd name="connsiteX7" fmla="*/ 77052 w 77052"/>
                  <a:gd name="connsiteY7" fmla="*/ 100174 h 107875"/>
                  <a:gd name="connsiteX8" fmla="*/ 69350 w 77052"/>
                  <a:gd name="connsiteY8" fmla="*/ 107876 h 107875"/>
                  <a:gd name="connsiteX9" fmla="*/ 15405 w 77052"/>
                  <a:gd name="connsiteY9" fmla="*/ 92471 h 107875"/>
                  <a:gd name="connsiteX10" fmla="*/ 61647 w 77052"/>
                  <a:gd name="connsiteY10" fmla="*/ 92471 h 107875"/>
                  <a:gd name="connsiteX11" fmla="*/ 61647 w 77052"/>
                  <a:gd name="connsiteY11" fmla="*/ 15405 h 107875"/>
                  <a:gd name="connsiteX12" fmla="*/ 15405 w 77052"/>
                  <a:gd name="connsiteY12" fmla="*/ 15405 h 107875"/>
                  <a:gd name="connsiteX13" fmla="*/ 15405 w 77052"/>
                  <a:gd name="connsiteY13" fmla="*/ 92471 h 10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052" h="107875">
                    <a:moveTo>
                      <a:pt x="69350" y="107876"/>
                    </a:moveTo>
                    <a:lnTo>
                      <a:pt x="7702" y="107876"/>
                    </a:lnTo>
                    <a:cubicBezTo>
                      <a:pt x="3445" y="107876"/>
                      <a:pt x="0" y="104431"/>
                      <a:pt x="0" y="100174"/>
                    </a:cubicBezTo>
                    <a:lnTo>
                      <a:pt x="0" y="7703"/>
                    </a:lnTo>
                    <a:cubicBezTo>
                      <a:pt x="0" y="3445"/>
                      <a:pt x="3445" y="0"/>
                      <a:pt x="7702" y="0"/>
                    </a:cubicBezTo>
                    <a:lnTo>
                      <a:pt x="69350" y="0"/>
                    </a:lnTo>
                    <a:cubicBezTo>
                      <a:pt x="73607" y="0"/>
                      <a:pt x="77052" y="3445"/>
                      <a:pt x="77052" y="7703"/>
                    </a:cubicBezTo>
                    <a:lnTo>
                      <a:pt x="77052" y="100174"/>
                    </a:lnTo>
                    <a:cubicBezTo>
                      <a:pt x="77052" y="104431"/>
                      <a:pt x="73607" y="107876"/>
                      <a:pt x="69350" y="107876"/>
                    </a:cubicBezTo>
                    <a:close/>
                    <a:moveTo>
                      <a:pt x="15405" y="92471"/>
                    </a:moveTo>
                    <a:lnTo>
                      <a:pt x="61647" y="92471"/>
                    </a:lnTo>
                    <a:lnTo>
                      <a:pt x="61647" y="15405"/>
                    </a:lnTo>
                    <a:lnTo>
                      <a:pt x="15405" y="15405"/>
                    </a:lnTo>
                    <a:lnTo>
                      <a:pt x="15405" y="92471"/>
                    </a:lnTo>
                    <a:close/>
                  </a:path>
                </a:pathLst>
              </a:custGeom>
              <a:solidFill>
                <a:schemeClr val="accent1"/>
              </a:solidFill>
              <a:ln w="1375" cap="flat">
                <a:noFill/>
                <a:prstDash val="solid"/>
                <a:miter/>
              </a:ln>
            </p:spPr>
            <p:txBody>
              <a:bodyPr rtlCol="0" anchor="ctr"/>
              <a:lstStyle/>
              <a:p>
                <a:endParaRPr lang="en-GB" dirty="0"/>
              </a:p>
            </p:txBody>
          </p:sp>
          <p:sp>
            <p:nvSpPr>
              <p:cNvPr id="402" name="Freihandform: Form 401">
                <a:extLst>
                  <a:ext uri="{FF2B5EF4-FFF2-40B4-BE49-F238E27FC236}">
                    <a16:creationId xmlns:a16="http://schemas.microsoft.com/office/drawing/2014/main" id="{87B05ECD-2757-484E-8C27-1DCDE0FCE60F}"/>
                  </a:ext>
                </a:extLst>
              </p:cNvPr>
              <p:cNvSpPr/>
              <p:nvPr/>
            </p:nvSpPr>
            <p:spPr>
              <a:xfrm>
                <a:off x="3015174" y="3264480"/>
                <a:ext cx="15418" cy="92470"/>
              </a:xfrm>
              <a:custGeom>
                <a:avLst/>
                <a:gdLst>
                  <a:gd name="connsiteX0" fmla="*/ 0 w 15418"/>
                  <a:gd name="connsiteY0" fmla="*/ 0 h 92470"/>
                  <a:gd name="connsiteX1" fmla="*/ 15419 w 15418"/>
                  <a:gd name="connsiteY1" fmla="*/ 0 h 92470"/>
                  <a:gd name="connsiteX2" fmla="*/ 15419 w 15418"/>
                  <a:gd name="connsiteY2" fmla="*/ 92471 h 92470"/>
                  <a:gd name="connsiteX3" fmla="*/ 0 w 15418"/>
                  <a:gd name="connsiteY3" fmla="*/ 92471 h 92470"/>
                </a:gdLst>
                <a:ahLst/>
                <a:cxnLst>
                  <a:cxn ang="0">
                    <a:pos x="connsiteX0" y="connsiteY0"/>
                  </a:cxn>
                  <a:cxn ang="0">
                    <a:pos x="connsiteX1" y="connsiteY1"/>
                  </a:cxn>
                  <a:cxn ang="0">
                    <a:pos x="connsiteX2" y="connsiteY2"/>
                  </a:cxn>
                  <a:cxn ang="0">
                    <a:pos x="connsiteX3" y="connsiteY3"/>
                  </a:cxn>
                </a:cxnLst>
                <a:rect l="l" t="t" r="r" b="b"/>
                <a:pathLst>
                  <a:path w="15418" h="92470">
                    <a:moveTo>
                      <a:pt x="0" y="0"/>
                    </a:moveTo>
                    <a:lnTo>
                      <a:pt x="15419" y="0"/>
                    </a:lnTo>
                    <a:lnTo>
                      <a:pt x="15419" y="92471"/>
                    </a:lnTo>
                    <a:lnTo>
                      <a:pt x="0" y="92471"/>
                    </a:lnTo>
                    <a:close/>
                  </a:path>
                </a:pathLst>
              </a:custGeom>
              <a:solidFill>
                <a:schemeClr val="accent1"/>
              </a:solidFill>
              <a:ln w="1375" cap="flat">
                <a:noFill/>
                <a:prstDash val="solid"/>
                <a:miter/>
              </a:ln>
            </p:spPr>
            <p:txBody>
              <a:bodyPr rtlCol="0" anchor="ctr"/>
              <a:lstStyle/>
              <a:p>
                <a:endParaRPr lang="en-GB" dirty="0"/>
              </a:p>
            </p:txBody>
          </p:sp>
          <p:sp>
            <p:nvSpPr>
              <p:cNvPr id="403" name="Freihandform: Form 402">
                <a:extLst>
                  <a:ext uri="{FF2B5EF4-FFF2-40B4-BE49-F238E27FC236}">
                    <a16:creationId xmlns:a16="http://schemas.microsoft.com/office/drawing/2014/main" id="{FC8CFCB3-934D-4009-9022-A070FAC36FDA}"/>
                  </a:ext>
                </a:extLst>
              </p:cNvPr>
              <p:cNvSpPr/>
              <p:nvPr/>
            </p:nvSpPr>
            <p:spPr>
              <a:xfrm>
                <a:off x="2992053" y="3287601"/>
                <a:ext cx="61647" cy="15418"/>
              </a:xfrm>
              <a:custGeom>
                <a:avLst/>
                <a:gdLst>
                  <a:gd name="connsiteX0" fmla="*/ 0 w 61647"/>
                  <a:gd name="connsiteY0" fmla="*/ 0 h 15418"/>
                  <a:gd name="connsiteX1" fmla="*/ 61647 w 61647"/>
                  <a:gd name="connsiteY1" fmla="*/ 0 h 15418"/>
                  <a:gd name="connsiteX2" fmla="*/ 61647 w 61647"/>
                  <a:gd name="connsiteY2" fmla="*/ 15419 h 15418"/>
                  <a:gd name="connsiteX3" fmla="*/ 0 w 61647"/>
                  <a:gd name="connsiteY3" fmla="*/ 15419 h 15418"/>
                </a:gdLst>
                <a:ahLst/>
                <a:cxnLst>
                  <a:cxn ang="0">
                    <a:pos x="connsiteX0" y="connsiteY0"/>
                  </a:cxn>
                  <a:cxn ang="0">
                    <a:pos x="connsiteX1" y="connsiteY1"/>
                  </a:cxn>
                  <a:cxn ang="0">
                    <a:pos x="connsiteX2" y="connsiteY2"/>
                  </a:cxn>
                  <a:cxn ang="0">
                    <a:pos x="connsiteX3" y="connsiteY3"/>
                  </a:cxn>
                </a:cxnLst>
                <a:rect l="l" t="t" r="r" b="b"/>
                <a:pathLst>
                  <a:path w="61647" h="15418">
                    <a:moveTo>
                      <a:pt x="0" y="0"/>
                    </a:moveTo>
                    <a:lnTo>
                      <a:pt x="61647" y="0"/>
                    </a:lnTo>
                    <a:lnTo>
                      <a:pt x="61647"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404" name="Freihandform: Form 403">
                <a:extLst>
                  <a:ext uri="{FF2B5EF4-FFF2-40B4-BE49-F238E27FC236}">
                    <a16:creationId xmlns:a16="http://schemas.microsoft.com/office/drawing/2014/main" id="{C4637E7F-A057-4AD6-AECD-842929461311}"/>
                  </a:ext>
                </a:extLst>
              </p:cNvPr>
              <p:cNvSpPr/>
              <p:nvPr/>
            </p:nvSpPr>
            <p:spPr>
              <a:xfrm>
                <a:off x="2992053" y="3318425"/>
                <a:ext cx="61647" cy="15418"/>
              </a:xfrm>
              <a:custGeom>
                <a:avLst/>
                <a:gdLst>
                  <a:gd name="connsiteX0" fmla="*/ 0 w 61647"/>
                  <a:gd name="connsiteY0" fmla="*/ 0 h 15418"/>
                  <a:gd name="connsiteX1" fmla="*/ 61647 w 61647"/>
                  <a:gd name="connsiteY1" fmla="*/ 0 h 15418"/>
                  <a:gd name="connsiteX2" fmla="*/ 61647 w 61647"/>
                  <a:gd name="connsiteY2" fmla="*/ 15419 h 15418"/>
                  <a:gd name="connsiteX3" fmla="*/ 0 w 61647"/>
                  <a:gd name="connsiteY3" fmla="*/ 15419 h 15418"/>
                </a:gdLst>
                <a:ahLst/>
                <a:cxnLst>
                  <a:cxn ang="0">
                    <a:pos x="connsiteX0" y="connsiteY0"/>
                  </a:cxn>
                  <a:cxn ang="0">
                    <a:pos x="connsiteX1" y="connsiteY1"/>
                  </a:cxn>
                  <a:cxn ang="0">
                    <a:pos x="connsiteX2" y="connsiteY2"/>
                  </a:cxn>
                  <a:cxn ang="0">
                    <a:pos x="connsiteX3" y="connsiteY3"/>
                  </a:cxn>
                </a:cxnLst>
                <a:rect l="l" t="t" r="r" b="b"/>
                <a:pathLst>
                  <a:path w="61647" h="15418">
                    <a:moveTo>
                      <a:pt x="0" y="0"/>
                    </a:moveTo>
                    <a:lnTo>
                      <a:pt x="61647" y="0"/>
                    </a:lnTo>
                    <a:lnTo>
                      <a:pt x="61647" y="15419"/>
                    </a:lnTo>
                    <a:lnTo>
                      <a:pt x="0" y="15419"/>
                    </a:lnTo>
                    <a:close/>
                  </a:path>
                </a:pathLst>
              </a:custGeom>
              <a:solidFill>
                <a:schemeClr val="accent1"/>
              </a:solidFill>
              <a:ln w="1375" cap="flat">
                <a:noFill/>
                <a:prstDash val="solid"/>
                <a:miter/>
              </a:ln>
            </p:spPr>
            <p:txBody>
              <a:bodyPr rtlCol="0" anchor="ctr"/>
              <a:lstStyle/>
              <a:p>
                <a:endParaRPr lang="en-GB" dirty="0"/>
              </a:p>
            </p:txBody>
          </p:sp>
        </p:grpSp>
        <p:grpSp>
          <p:nvGrpSpPr>
            <p:cNvPr id="683" name="Gruppieren 682">
              <a:extLst>
                <a:ext uri="{FF2B5EF4-FFF2-40B4-BE49-F238E27FC236}">
                  <a16:creationId xmlns:a16="http://schemas.microsoft.com/office/drawing/2014/main" id="{AD911EAB-FE0C-4F8F-8F15-32CE6DBF3977}"/>
                </a:ext>
              </a:extLst>
            </p:cNvPr>
            <p:cNvGrpSpPr/>
            <p:nvPr/>
          </p:nvGrpSpPr>
          <p:grpSpPr>
            <a:xfrm>
              <a:off x="2961229" y="3287601"/>
              <a:ext cx="493178" cy="446949"/>
              <a:chOff x="2961229" y="3287601"/>
              <a:chExt cx="493178" cy="446949"/>
            </a:xfrm>
          </p:grpSpPr>
          <p:sp>
            <p:nvSpPr>
              <p:cNvPr id="376" name="Freihandform: Form 375">
                <a:extLst>
                  <a:ext uri="{FF2B5EF4-FFF2-40B4-BE49-F238E27FC236}">
                    <a16:creationId xmlns:a16="http://schemas.microsoft.com/office/drawing/2014/main" id="{76EA33CE-971D-43D3-BDB3-A8427D17F044}"/>
                  </a:ext>
                </a:extLst>
              </p:cNvPr>
              <p:cNvSpPr/>
              <p:nvPr/>
            </p:nvSpPr>
            <p:spPr>
              <a:xfrm>
                <a:off x="2961229" y="3657485"/>
                <a:ext cx="493178" cy="15418"/>
              </a:xfrm>
              <a:custGeom>
                <a:avLst/>
                <a:gdLst>
                  <a:gd name="connsiteX0" fmla="*/ 0 w 493178"/>
                  <a:gd name="connsiteY0" fmla="*/ 0 h 15418"/>
                  <a:gd name="connsiteX1" fmla="*/ 493178 w 493178"/>
                  <a:gd name="connsiteY1" fmla="*/ 0 h 15418"/>
                  <a:gd name="connsiteX2" fmla="*/ 493178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8" y="0"/>
                    </a:lnTo>
                    <a:lnTo>
                      <a:pt x="493178"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77" name="Freihandform: Form 376">
                <a:extLst>
                  <a:ext uri="{FF2B5EF4-FFF2-40B4-BE49-F238E27FC236}">
                    <a16:creationId xmlns:a16="http://schemas.microsoft.com/office/drawing/2014/main" id="{A195210C-B42B-4ACD-AAAA-34B620A78B45}"/>
                  </a:ext>
                </a:extLst>
              </p:cNvPr>
              <p:cNvSpPr/>
              <p:nvPr/>
            </p:nvSpPr>
            <p:spPr>
              <a:xfrm>
                <a:off x="3107645" y="3487948"/>
                <a:ext cx="15418" cy="84768"/>
              </a:xfrm>
              <a:custGeom>
                <a:avLst/>
                <a:gdLst>
                  <a:gd name="connsiteX0" fmla="*/ 0 w 15418"/>
                  <a:gd name="connsiteY0" fmla="*/ 0 h 84768"/>
                  <a:gd name="connsiteX1" fmla="*/ 15419 w 15418"/>
                  <a:gd name="connsiteY1" fmla="*/ 0 h 84768"/>
                  <a:gd name="connsiteX2" fmla="*/ 15419 w 15418"/>
                  <a:gd name="connsiteY2" fmla="*/ 84769 h 84768"/>
                  <a:gd name="connsiteX3" fmla="*/ 0 w 15418"/>
                  <a:gd name="connsiteY3" fmla="*/ 84769 h 84768"/>
                </a:gdLst>
                <a:ahLst/>
                <a:cxnLst>
                  <a:cxn ang="0">
                    <a:pos x="connsiteX0" y="connsiteY0"/>
                  </a:cxn>
                  <a:cxn ang="0">
                    <a:pos x="connsiteX1" y="connsiteY1"/>
                  </a:cxn>
                  <a:cxn ang="0">
                    <a:pos x="connsiteX2" y="connsiteY2"/>
                  </a:cxn>
                  <a:cxn ang="0">
                    <a:pos x="connsiteX3" y="connsiteY3"/>
                  </a:cxn>
                </a:cxnLst>
                <a:rect l="l" t="t" r="r" b="b"/>
                <a:pathLst>
                  <a:path w="15418" h="84768">
                    <a:moveTo>
                      <a:pt x="0" y="0"/>
                    </a:moveTo>
                    <a:lnTo>
                      <a:pt x="15419" y="0"/>
                    </a:lnTo>
                    <a:lnTo>
                      <a:pt x="15419" y="84769"/>
                    </a:lnTo>
                    <a:lnTo>
                      <a:pt x="0" y="84769"/>
                    </a:lnTo>
                    <a:close/>
                  </a:path>
                </a:pathLst>
              </a:custGeom>
              <a:solidFill>
                <a:schemeClr val="tx2"/>
              </a:solidFill>
              <a:ln w="1375" cap="flat">
                <a:noFill/>
                <a:prstDash val="solid"/>
                <a:miter/>
              </a:ln>
            </p:spPr>
            <p:txBody>
              <a:bodyPr rtlCol="0" anchor="ctr"/>
              <a:lstStyle/>
              <a:p>
                <a:endParaRPr lang="en-GB" dirty="0"/>
              </a:p>
            </p:txBody>
          </p:sp>
          <p:sp>
            <p:nvSpPr>
              <p:cNvPr id="378" name="Freihandform: Form 377">
                <a:extLst>
                  <a:ext uri="{FF2B5EF4-FFF2-40B4-BE49-F238E27FC236}">
                    <a16:creationId xmlns:a16="http://schemas.microsoft.com/office/drawing/2014/main" id="{E53C2153-3D24-484D-BDA8-9E4DA0E47AF8}"/>
                  </a:ext>
                </a:extLst>
              </p:cNvPr>
              <p:cNvSpPr/>
              <p:nvPr/>
            </p:nvSpPr>
            <p:spPr>
              <a:xfrm>
                <a:off x="2984350" y="3487948"/>
                <a:ext cx="15418" cy="177239"/>
              </a:xfrm>
              <a:custGeom>
                <a:avLst/>
                <a:gdLst>
                  <a:gd name="connsiteX0" fmla="*/ 0 w 15418"/>
                  <a:gd name="connsiteY0" fmla="*/ 0 h 177239"/>
                  <a:gd name="connsiteX1" fmla="*/ 15419 w 15418"/>
                  <a:gd name="connsiteY1" fmla="*/ 0 h 177239"/>
                  <a:gd name="connsiteX2" fmla="*/ 15419 w 15418"/>
                  <a:gd name="connsiteY2" fmla="*/ 177239 h 177239"/>
                  <a:gd name="connsiteX3" fmla="*/ 0 w 15418"/>
                  <a:gd name="connsiteY3" fmla="*/ 177239 h 177239"/>
                </a:gdLst>
                <a:ahLst/>
                <a:cxnLst>
                  <a:cxn ang="0">
                    <a:pos x="connsiteX0" y="connsiteY0"/>
                  </a:cxn>
                  <a:cxn ang="0">
                    <a:pos x="connsiteX1" y="connsiteY1"/>
                  </a:cxn>
                  <a:cxn ang="0">
                    <a:pos x="connsiteX2" y="connsiteY2"/>
                  </a:cxn>
                  <a:cxn ang="0">
                    <a:pos x="connsiteX3" y="connsiteY3"/>
                  </a:cxn>
                </a:cxnLst>
                <a:rect l="l" t="t" r="r" b="b"/>
                <a:pathLst>
                  <a:path w="15418" h="177239">
                    <a:moveTo>
                      <a:pt x="0" y="0"/>
                    </a:moveTo>
                    <a:lnTo>
                      <a:pt x="15419" y="0"/>
                    </a:lnTo>
                    <a:lnTo>
                      <a:pt x="15419" y="177239"/>
                    </a:lnTo>
                    <a:lnTo>
                      <a:pt x="0" y="177239"/>
                    </a:lnTo>
                    <a:close/>
                  </a:path>
                </a:pathLst>
              </a:custGeom>
              <a:solidFill>
                <a:schemeClr val="tx2"/>
              </a:solidFill>
              <a:ln w="1375" cap="flat">
                <a:noFill/>
                <a:prstDash val="solid"/>
                <a:miter/>
              </a:ln>
            </p:spPr>
            <p:txBody>
              <a:bodyPr rtlCol="0" anchor="ctr"/>
              <a:lstStyle/>
              <a:p>
                <a:endParaRPr lang="en-GB" dirty="0"/>
              </a:p>
            </p:txBody>
          </p:sp>
          <p:sp>
            <p:nvSpPr>
              <p:cNvPr id="379" name="Freihandform: Form 378">
                <a:extLst>
                  <a:ext uri="{FF2B5EF4-FFF2-40B4-BE49-F238E27FC236}">
                    <a16:creationId xmlns:a16="http://schemas.microsoft.com/office/drawing/2014/main" id="{D8F4A3AA-F509-451B-9684-1FF99A959820}"/>
                  </a:ext>
                </a:extLst>
              </p:cNvPr>
              <p:cNvSpPr/>
              <p:nvPr/>
            </p:nvSpPr>
            <p:spPr>
              <a:xfrm>
                <a:off x="3045997" y="3487948"/>
                <a:ext cx="15418" cy="177239"/>
              </a:xfrm>
              <a:custGeom>
                <a:avLst/>
                <a:gdLst>
                  <a:gd name="connsiteX0" fmla="*/ 0 w 15418"/>
                  <a:gd name="connsiteY0" fmla="*/ 0 h 177239"/>
                  <a:gd name="connsiteX1" fmla="*/ 15419 w 15418"/>
                  <a:gd name="connsiteY1" fmla="*/ 0 h 177239"/>
                  <a:gd name="connsiteX2" fmla="*/ 15419 w 15418"/>
                  <a:gd name="connsiteY2" fmla="*/ 177239 h 177239"/>
                  <a:gd name="connsiteX3" fmla="*/ 0 w 15418"/>
                  <a:gd name="connsiteY3" fmla="*/ 177239 h 177239"/>
                </a:gdLst>
                <a:ahLst/>
                <a:cxnLst>
                  <a:cxn ang="0">
                    <a:pos x="connsiteX0" y="connsiteY0"/>
                  </a:cxn>
                  <a:cxn ang="0">
                    <a:pos x="connsiteX1" y="connsiteY1"/>
                  </a:cxn>
                  <a:cxn ang="0">
                    <a:pos x="connsiteX2" y="connsiteY2"/>
                  </a:cxn>
                  <a:cxn ang="0">
                    <a:pos x="connsiteX3" y="connsiteY3"/>
                  </a:cxn>
                </a:cxnLst>
                <a:rect l="l" t="t" r="r" b="b"/>
                <a:pathLst>
                  <a:path w="15418" h="177239">
                    <a:moveTo>
                      <a:pt x="0" y="0"/>
                    </a:moveTo>
                    <a:lnTo>
                      <a:pt x="15419" y="0"/>
                    </a:lnTo>
                    <a:lnTo>
                      <a:pt x="15419" y="177239"/>
                    </a:lnTo>
                    <a:lnTo>
                      <a:pt x="0" y="177239"/>
                    </a:lnTo>
                    <a:close/>
                  </a:path>
                </a:pathLst>
              </a:custGeom>
              <a:solidFill>
                <a:schemeClr val="tx2"/>
              </a:solidFill>
              <a:ln w="1375" cap="flat">
                <a:noFill/>
                <a:prstDash val="solid"/>
                <a:miter/>
              </a:ln>
            </p:spPr>
            <p:txBody>
              <a:bodyPr rtlCol="0" anchor="ctr"/>
              <a:lstStyle/>
              <a:p>
                <a:endParaRPr lang="en-GB" dirty="0"/>
              </a:p>
            </p:txBody>
          </p:sp>
          <p:sp>
            <p:nvSpPr>
              <p:cNvPr id="380" name="Freihandform: Form 379">
                <a:extLst>
                  <a:ext uri="{FF2B5EF4-FFF2-40B4-BE49-F238E27FC236}">
                    <a16:creationId xmlns:a16="http://schemas.microsoft.com/office/drawing/2014/main" id="{50038AD2-CFA7-4E57-8690-C563ACECA5AA}"/>
                  </a:ext>
                </a:extLst>
              </p:cNvPr>
              <p:cNvSpPr/>
              <p:nvPr/>
            </p:nvSpPr>
            <p:spPr>
              <a:xfrm>
                <a:off x="3169292" y="3487948"/>
                <a:ext cx="15418" cy="84768"/>
              </a:xfrm>
              <a:custGeom>
                <a:avLst/>
                <a:gdLst>
                  <a:gd name="connsiteX0" fmla="*/ 0 w 15418"/>
                  <a:gd name="connsiteY0" fmla="*/ 0 h 84768"/>
                  <a:gd name="connsiteX1" fmla="*/ 15419 w 15418"/>
                  <a:gd name="connsiteY1" fmla="*/ 0 h 84768"/>
                  <a:gd name="connsiteX2" fmla="*/ 15419 w 15418"/>
                  <a:gd name="connsiteY2" fmla="*/ 84769 h 84768"/>
                  <a:gd name="connsiteX3" fmla="*/ 0 w 15418"/>
                  <a:gd name="connsiteY3" fmla="*/ 84769 h 84768"/>
                </a:gdLst>
                <a:ahLst/>
                <a:cxnLst>
                  <a:cxn ang="0">
                    <a:pos x="connsiteX0" y="connsiteY0"/>
                  </a:cxn>
                  <a:cxn ang="0">
                    <a:pos x="connsiteX1" y="connsiteY1"/>
                  </a:cxn>
                  <a:cxn ang="0">
                    <a:pos x="connsiteX2" y="connsiteY2"/>
                  </a:cxn>
                  <a:cxn ang="0">
                    <a:pos x="connsiteX3" y="connsiteY3"/>
                  </a:cxn>
                </a:cxnLst>
                <a:rect l="l" t="t" r="r" b="b"/>
                <a:pathLst>
                  <a:path w="15418" h="84768">
                    <a:moveTo>
                      <a:pt x="0" y="0"/>
                    </a:moveTo>
                    <a:lnTo>
                      <a:pt x="15419" y="0"/>
                    </a:lnTo>
                    <a:lnTo>
                      <a:pt x="15419" y="84769"/>
                    </a:lnTo>
                    <a:lnTo>
                      <a:pt x="0" y="84769"/>
                    </a:lnTo>
                    <a:close/>
                  </a:path>
                </a:pathLst>
              </a:custGeom>
              <a:solidFill>
                <a:schemeClr val="tx2"/>
              </a:solidFill>
              <a:ln w="1375" cap="flat">
                <a:noFill/>
                <a:prstDash val="solid"/>
                <a:miter/>
              </a:ln>
            </p:spPr>
            <p:txBody>
              <a:bodyPr rtlCol="0" anchor="ctr"/>
              <a:lstStyle/>
              <a:p>
                <a:endParaRPr lang="en-GB" dirty="0"/>
              </a:p>
            </p:txBody>
          </p:sp>
          <p:sp>
            <p:nvSpPr>
              <p:cNvPr id="381" name="Freihandform: Form 380">
                <a:extLst>
                  <a:ext uri="{FF2B5EF4-FFF2-40B4-BE49-F238E27FC236}">
                    <a16:creationId xmlns:a16="http://schemas.microsoft.com/office/drawing/2014/main" id="{D5675479-2048-4B6E-8D78-3A592873B8DD}"/>
                  </a:ext>
                </a:extLst>
              </p:cNvPr>
              <p:cNvSpPr/>
              <p:nvPr/>
            </p:nvSpPr>
            <p:spPr>
              <a:xfrm>
                <a:off x="3230939" y="3487948"/>
                <a:ext cx="15418" cy="84768"/>
              </a:xfrm>
              <a:custGeom>
                <a:avLst/>
                <a:gdLst>
                  <a:gd name="connsiteX0" fmla="*/ 0 w 15418"/>
                  <a:gd name="connsiteY0" fmla="*/ 0 h 84768"/>
                  <a:gd name="connsiteX1" fmla="*/ 15419 w 15418"/>
                  <a:gd name="connsiteY1" fmla="*/ 0 h 84768"/>
                  <a:gd name="connsiteX2" fmla="*/ 15419 w 15418"/>
                  <a:gd name="connsiteY2" fmla="*/ 84769 h 84768"/>
                  <a:gd name="connsiteX3" fmla="*/ 0 w 15418"/>
                  <a:gd name="connsiteY3" fmla="*/ 84769 h 84768"/>
                </a:gdLst>
                <a:ahLst/>
                <a:cxnLst>
                  <a:cxn ang="0">
                    <a:pos x="connsiteX0" y="connsiteY0"/>
                  </a:cxn>
                  <a:cxn ang="0">
                    <a:pos x="connsiteX1" y="connsiteY1"/>
                  </a:cxn>
                  <a:cxn ang="0">
                    <a:pos x="connsiteX2" y="connsiteY2"/>
                  </a:cxn>
                  <a:cxn ang="0">
                    <a:pos x="connsiteX3" y="connsiteY3"/>
                  </a:cxn>
                </a:cxnLst>
                <a:rect l="l" t="t" r="r" b="b"/>
                <a:pathLst>
                  <a:path w="15418" h="84768">
                    <a:moveTo>
                      <a:pt x="0" y="0"/>
                    </a:moveTo>
                    <a:lnTo>
                      <a:pt x="15419" y="0"/>
                    </a:lnTo>
                    <a:lnTo>
                      <a:pt x="15419" y="84769"/>
                    </a:lnTo>
                    <a:lnTo>
                      <a:pt x="0" y="84769"/>
                    </a:lnTo>
                    <a:close/>
                  </a:path>
                </a:pathLst>
              </a:custGeom>
              <a:solidFill>
                <a:schemeClr val="tx2"/>
              </a:solidFill>
              <a:ln w="1375" cap="flat">
                <a:noFill/>
                <a:prstDash val="solid"/>
                <a:miter/>
              </a:ln>
            </p:spPr>
            <p:txBody>
              <a:bodyPr rtlCol="0" anchor="ctr"/>
              <a:lstStyle/>
              <a:p>
                <a:endParaRPr lang="en-GB" dirty="0"/>
              </a:p>
            </p:txBody>
          </p:sp>
          <p:sp>
            <p:nvSpPr>
              <p:cNvPr id="382" name="Freihandform: Form 381">
                <a:extLst>
                  <a:ext uri="{FF2B5EF4-FFF2-40B4-BE49-F238E27FC236}">
                    <a16:creationId xmlns:a16="http://schemas.microsoft.com/office/drawing/2014/main" id="{E482E591-AD37-4E8C-BBE4-37F9DC92FC2B}"/>
                  </a:ext>
                </a:extLst>
              </p:cNvPr>
              <p:cNvSpPr/>
              <p:nvPr/>
            </p:nvSpPr>
            <p:spPr>
              <a:xfrm>
                <a:off x="3292587" y="3487948"/>
                <a:ext cx="15418" cy="84768"/>
              </a:xfrm>
              <a:custGeom>
                <a:avLst/>
                <a:gdLst>
                  <a:gd name="connsiteX0" fmla="*/ 0 w 15418"/>
                  <a:gd name="connsiteY0" fmla="*/ 0 h 84768"/>
                  <a:gd name="connsiteX1" fmla="*/ 15419 w 15418"/>
                  <a:gd name="connsiteY1" fmla="*/ 0 h 84768"/>
                  <a:gd name="connsiteX2" fmla="*/ 15419 w 15418"/>
                  <a:gd name="connsiteY2" fmla="*/ 84769 h 84768"/>
                  <a:gd name="connsiteX3" fmla="*/ 0 w 15418"/>
                  <a:gd name="connsiteY3" fmla="*/ 84769 h 84768"/>
                </a:gdLst>
                <a:ahLst/>
                <a:cxnLst>
                  <a:cxn ang="0">
                    <a:pos x="connsiteX0" y="connsiteY0"/>
                  </a:cxn>
                  <a:cxn ang="0">
                    <a:pos x="connsiteX1" y="connsiteY1"/>
                  </a:cxn>
                  <a:cxn ang="0">
                    <a:pos x="connsiteX2" y="connsiteY2"/>
                  </a:cxn>
                  <a:cxn ang="0">
                    <a:pos x="connsiteX3" y="connsiteY3"/>
                  </a:cxn>
                </a:cxnLst>
                <a:rect l="l" t="t" r="r" b="b"/>
                <a:pathLst>
                  <a:path w="15418" h="84768">
                    <a:moveTo>
                      <a:pt x="0" y="0"/>
                    </a:moveTo>
                    <a:lnTo>
                      <a:pt x="15419" y="0"/>
                    </a:lnTo>
                    <a:lnTo>
                      <a:pt x="15419" y="84769"/>
                    </a:lnTo>
                    <a:lnTo>
                      <a:pt x="0" y="84769"/>
                    </a:lnTo>
                    <a:close/>
                  </a:path>
                </a:pathLst>
              </a:custGeom>
              <a:solidFill>
                <a:schemeClr val="tx2"/>
              </a:solidFill>
              <a:ln w="1375" cap="flat">
                <a:noFill/>
                <a:prstDash val="solid"/>
                <a:miter/>
              </a:ln>
            </p:spPr>
            <p:txBody>
              <a:bodyPr rtlCol="0" anchor="ctr"/>
              <a:lstStyle/>
              <a:p>
                <a:endParaRPr lang="en-GB" dirty="0"/>
              </a:p>
            </p:txBody>
          </p:sp>
          <p:sp>
            <p:nvSpPr>
              <p:cNvPr id="383" name="Freihandform: Form 382">
                <a:extLst>
                  <a:ext uri="{FF2B5EF4-FFF2-40B4-BE49-F238E27FC236}">
                    <a16:creationId xmlns:a16="http://schemas.microsoft.com/office/drawing/2014/main" id="{A0F93ED3-B7A5-4345-A065-D5CECA68F13B}"/>
                  </a:ext>
                </a:extLst>
              </p:cNvPr>
              <p:cNvSpPr/>
              <p:nvPr/>
            </p:nvSpPr>
            <p:spPr>
              <a:xfrm>
                <a:off x="3354234" y="3487948"/>
                <a:ext cx="15418" cy="177239"/>
              </a:xfrm>
              <a:custGeom>
                <a:avLst/>
                <a:gdLst>
                  <a:gd name="connsiteX0" fmla="*/ 0 w 15418"/>
                  <a:gd name="connsiteY0" fmla="*/ 0 h 177239"/>
                  <a:gd name="connsiteX1" fmla="*/ 15419 w 15418"/>
                  <a:gd name="connsiteY1" fmla="*/ 0 h 177239"/>
                  <a:gd name="connsiteX2" fmla="*/ 15419 w 15418"/>
                  <a:gd name="connsiteY2" fmla="*/ 177239 h 177239"/>
                  <a:gd name="connsiteX3" fmla="*/ 0 w 15418"/>
                  <a:gd name="connsiteY3" fmla="*/ 177239 h 177239"/>
                </a:gdLst>
                <a:ahLst/>
                <a:cxnLst>
                  <a:cxn ang="0">
                    <a:pos x="connsiteX0" y="connsiteY0"/>
                  </a:cxn>
                  <a:cxn ang="0">
                    <a:pos x="connsiteX1" y="connsiteY1"/>
                  </a:cxn>
                  <a:cxn ang="0">
                    <a:pos x="connsiteX2" y="connsiteY2"/>
                  </a:cxn>
                  <a:cxn ang="0">
                    <a:pos x="connsiteX3" y="connsiteY3"/>
                  </a:cxn>
                </a:cxnLst>
                <a:rect l="l" t="t" r="r" b="b"/>
                <a:pathLst>
                  <a:path w="15418" h="177239">
                    <a:moveTo>
                      <a:pt x="0" y="0"/>
                    </a:moveTo>
                    <a:lnTo>
                      <a:pt x="15419" y="0"/>
                    </a:lnTo>
                    <a:lnTo>
                      <a:pt x="15419" y="177239"/>
                    </a:lnTo>
                    <a:lnTo>
                      <a:pt x="0" y="177239"/>
                    </a:lnTo>
                    <a:close/>
                  </a:path>
                </a:pathLst>
              </a:custGeom>
              <a:solidFill>
                <a:schemeClr val="tx2"/>
              </a:solidFill>
              <a:ln w="1375" cap="flat">
                <a:noFill/>
                <a:prstDash val="solid"/>
                <a:miter/>
              </a:ln>
            </p:spPr>
            <p:txBody>
              <a:bodyPr rtlCol="0" anchor="ctr"/>
              <a:lstStyle/>
              <a:p>
                <a:endParaRPr lang="en-GB" dirty="0"/>
              </a:p>
            </p:txBody>
          </p:sp>
          <p:sp>
            <p:nvSpPr>
              <p:cNvPr id="384" name="Freihandform: Form 383">
                <a:extLst>
                  <a:ext uri="{FF2B5EF4-FFF2-40B4-BE49-F238E27FC236}">
                    <a16:creationId xmlns:a16="http://schemas.microsoft.com/office/drawing/2014/main" id="{020153C0-4E7F-411C-B740-4C9AFB58D6AC}"/>
                  </a:ext>
                </a:extLst>
              </p:cNvPr>
              <p:cNvSpPr/>
              <p:nvPr/>
            </p:nvSpPr>
            <p:spPr>
              <a:xfrm>
                <a:off x="3415881" y="3487948"/>
                <a:ext cx="15418" cy="177239"/>
              </a:xfrm>
              <a:custGeom>
                <a:avLst/>
                <a:gdLst>
                  <a:gd name="connsiteX0" fmla="*/ 0 w 15418"/>
                  <a:gd name="connsiteY0" fmla="*/ 0 h 177239"/>
                  <a:gd name="connsiteX1" fmla="*/ 15419 w 15418"/>
                  <a:gd name="connsiteY1" fmla="*/ 0 h 177239"/>
                  <a:gd name="connsiteX2" fmla="*/ 15419 w 15418"/>
                  <a:gd name="connsiteY2" fmla="*/ 177239 h 177239"/>
                  <a:gd name="connsiteX3" fmla="*/ 0 w 15418"/>
                  <a:gd name="connsiteY3" fmla="*/ 177239 h 177239"/>
                </a:gdLst>
                <a:ahLst/>
                <a:cxnLst>
                  <a:cxn ang="0">
                    <a:pos x="connsiteX0" y="connsiteY0"/>
                  </a:cxn>
                  <a:cxn ang="0">
                    <a:pos x="connsiteX1" y="connsiteY1"/>
                  </a:cxn>
                  <a:cxn ang="0">
                    <a:pos x="connsiteX2" y="connsiteY2"/>
                  </a:cxn>
                  <a:cxn ang="0">
                    <a:pos x="connsiteX3" y="connsiteY3"/>
                  </a:cxn>
                </a:cxnLst>
                <a:rect l="l" t="t" r="r" b="b"/>
                <a:pathLst>
                  <a:path w="15418" h="177239">
                    <a:moveTo>
                      <a:pt x="0" y="0"/>
                    </a:moveTo>
                    <a:lnTo>
                      <a:pt x="15419" y="0"/>
                    </a:lnTo>
                    <a:lnTo>
                      <a:pt x="15419" y="177239"/>
                    </a:lnTo>
                    <a:lnTo>
                      <a:pt x="0" y="177239"/>
                    </a:lnTo>
                    <a:close/>
                  </a:path>
                </a:pathLst>
              </a:custGeom>
              <a:solidFill>
                <a:schemeClr val="tx2"/>
              </a:solidFill>
              <a:ln w="1375" cap="flat">
                <a:noFill/>
                <a:prstDash val="solid"/>
                <a:miter/>
              </a:ln>
            </p:spPr>
            <p:txBody>
              <a:bodyPr rtlCol="0" anchor="ctr"/>
              <a:lstStyle/>
              <a:p>
                <a:endParaRPr lang="en-GB" dirty="0"/>
              </a:p>
            </p:txBody>
          </p:sp>
          <p:sp>
            <p:nvSpPr>
              <p:cNvPr id="385" name="Freihandform: Form 384">
                <a:extLst>
                  <a:ext uri="{FF2B5EF4-FFF2-40B4-BE49-F238E27FC236}">
                    <a16:creationId xmlns:a16="http://schemas.microsoft.com/office/drawing/2014/main" id="{B37690E4-5D82-457B-A70F-A47CF45D468F}"/>
                  </a:ext>
                </a:extLst>
              </p:cNvPr>
              <p:cNvSpPr/>
              <p:nvPr/>
            </p:nvSpPr>
            <p:spPr>
              <a:xfrm>
                <a:off x="2961229" y="3449422"/>
                <a:ext cx="493178" cy="15418"/>
              </a:xfrm>
              <a:custGeom>
                <a:avLst/>
                <a:gdLst>
                  <a:gd name="connsiteX0" fmla="*/ 0 w 493178"/>
                  <a:gd name="connsiteY0" fmla="*/ 0 h 15418"/>
                  <a:gd name="connsiteX1" fmla="*/ 493178 w 493178"/>
                  <a:gd name="connsiteY1" fmla="*/ 0 h 15418"/>
                  <a:gd name="connsiteX2" fmla="*/ 493178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8" y="0"/>
                    </a:lnTo>
                    <a:lnTo>
                      <a:pt x="493178"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86" name="Freihandform: Form 385">
                <a:extLst>
                  <a:ext uri="{FF2B5EF4-FFF2-40B4-BE49-F238E27FC236}">
                    <a16:creationId xmlns:a16="http://schemas.microsoft.com/office/drawing/2014/main" id="{AF86D93F-2F8A-4379-BE9C-1D7CB68AC6D2}"/>
                  </a:ext>
                </a:extLst>
              </p:cNvPr>
              <p:cNvSpPr/>
              <p:nvPr/>
            </p:nvSpPr>
            <p:spPr>
              <a:xfrm>
                <a:off x="2961229" y="3480245"/>
                <a:ext cx="493178" cy="15418"/>
              </a:xfrm>
              <a:custGeom>
                <a:avLst/>
                <a:gdLst>
                  <a:gd name="connsiteX0" fmla="*/ 0 w 493178"/>
                  <a:gd name="connsiteY0" fmla="*/ 0 h 15418"/>
                  <a:gd name="connsiteX1" fmla="*/ 493178 w 493178"/>
                  <a:gd name="connsiteY1" fmla="*/ 0 h 15418"/>
                  <a:gd name="connsiteX2" fmla="*/ 493178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8" y="0"/>
                    </a:lnTo>
                    <a:lnTo>
                      <a:pt x="493178"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87" name="Freihandform: Form 386">
                <a:extLst>
                  <a:ext uri="{FF2B5EF4-FFF2-40B4-BE49-F238E27FC236}">
                    <a16:creationId xmlns:a16="http://schemas.microsoft.com/office/drawing/2014/main" id="{25CDD5AE-9C7D-4F73-8413-0FA02D453AC7}"/>
                  </a:ext>
                </a:extLst>
              </p:cNvPr>
              <p:cNvSpPr/>
              <p:nvPr/>
            </p:nvSpPr>
            <p:spPr>
              <a:xfrm>
                <a:off x="3061402" y="3688308"/>
                <a:ext cx="292831" cy="15418"/>
              </a:xfrm>
              <a:custGeom>
                <a:avLst/>
                <a:gdLst>
                  <a:gd name="connsiteX0" fmla="*/ 0 w 292831"/>
                  <a:gd name="connsiteY0" fmla="*/ 0 h 15418"/>
                  <a:gd name="connsiteX1" fmla="*/ 292832 w 292831"/>
                  <a:gd name="connsiteY1" fmla="*/ 0 h 15418"/>
                  <a:gd name="connsiteX2" fmla="*/ 292832 w 292831"/>
                  <a:gd name="connsiteY2" fmla="*/ 15419 h 15418"/>
                  <a:gd name="connsiteX3" fmla="*/ 0 w 292831"/>
                  <a:gd name="connsiteY3" fmla="*/ 15419 h 15418"/>
                </a:gdLst>
                <a:ahLst/>
                <a:cxnLst>
                  <a:cxn ang="0">
                    <a:pos x="connsiteX0" y="connsiteY0"/>
                  </a:cxn>
                  <a:cxn ang="0">
                    <a:pos x="connsiteX1" y="connsiteY1"/>
                  </a:cxn>
                  <a:cxn ang="0">
                    <a:pos x="connsiteX2" y="connsiteY2"/>
                  </a:cxn>
                  <a:cxn ang="0">
                    <a:pos x="connsiteX3" y="connsiteY3"/>
                  </a:cxn>
                </a:cxnLst>
                <a:rect l="l" t="t" r="r" b="b"/>
                <a:pathLst>
                  <a:path w="292831" h="15418">
                    <a:moveTo>
                      <a:pt x="0" y="0"/>
                    </a:moveTo>
                    <a:lnTo>
                      <a:pt x="292832" y="0"/>
                    </a:lnTo>
                    <a:lnTo>
                      <a:pt x="292832"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88" name="Freihandform: Form 387">
                <a:extLst>
                  <a:ext uri="{FF2B5EF4-FFF2-40B4-BE49-F238E27FC236}">
                    <a16:creationId xmlns:a16="http://schemas.microsoft.com/office/drawing/2014/main" id="{D4D57664-7DC7-40F9-ABDC-DFE3B2512E00}"/>
                  </a:ext>
                </a:extLst>
              </p:cNvPr>
              <p:cNvSpPr/>
              <p:nvPr/>
            </p:nvSpPr>
            <p:spPr>
              <a:xfrm>
                <a:off x="3030579" y="3719132"/>
                <a:ext cx="354478" cy="15418"/>
              </a:xfrm>
              <a:custGeom>
                <a:avLst/>
                <a:gdLst>
                  <a:gd name="connsiteX0" fmla="*/ 0 w 354478"/>
                  <a:gd name="connsiteY0" fmla="*/ 0 h 15418"/>
                  <a:gd name="connsiteX1" fmla="*/ 354479 w 354478"/>
                  <a:gd name="connsiteY1" fmla="*/ 0 h 15418"/>
                  <a:gd name="connsiteX2" fmla="*/ 354479 w 354478"/>
                  <a:gd name="connsiteY2" fmla="*/ 15419 h 15418"/>
                  <a:gd name="connsiteX3" fmla="*/ 0 w 3544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354478" h="15418">
                    <a:moveTo>
                      <a:pt x="0" y="0"/>
                    </a:moveTo>
                    <a:lnTo>
                      <a:pt x="354479" y="0"/>
                    </a:lnTo>
                    <a:lnTo>
                      <a:pt x="35447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89" name="Freihandform: Form 388">
                <a:extLst>
                  <a:ext uri="{FF2B5EF4-FFF2-40B4-BE49-F238E27FC236}">
                    <a16:creationId xmlns:a16="http://schemas.microsoft.com/office/drawing/2014/main" id="{1E64EF0C-647F-43EF-9F4E-CDB7464BC07D}"/>
                  </a:ext>
                </a:extLst>
              </p:cNvPr>
              <p:cNvSpPr/>
              <p:nvPr/>
            </p:nvSpPr>
            <p:spPr>
              <a:xfrm>
                <a:off x="3092226" y="3588135"/>
                <a:ext cx="231184" cy="77052"/>
              </a:xfrm>
              <a:custGeom>
                <a:avLst/>
                <a:gdLst>
                  <a:gd name="connsiteX0" fmla="*/ 231184 w 231184"/>
                  <a:gd name="connsiteY0" fmla="*/ 77052 h 77052"/>
                  <a:gd name="connsiteX1" fmla="*/ 215765 w 231184"/>
                  <a:gd name="connsiteY1" fmla="*/ 77052 h 77052"/>
                  <a:gd name="connsiteX2" fmla="*/ 215765 w 231184"/>
                  <a:gd name="connsiteY2" fmla="*/ 15405 h 77052"/>
                  <a:gd name="connsiteX3" fmla="*/ 15419 w 231184"/>
                  <a:gd name="connsiteY3" fmla="*/ 15405 h 77052"/>
                  <a:gd name="connsiteX4" fmla="*/ 15419 w 231184"/>
                  <a:gd name="connsiteY4" fmla="*/ 77052 h 77052"/>
                  <a:gd name="connsiteX5" fmla="*/ 0 w 231184"/>
                  <a:gd name="connsiteY5" fmla="*/ 77052 h 77052"/>
                  <a:gd name="connsiteX6" fmla="*/ 0 w 231184"/>
                  <a:gd name="connsiteY6" fmla="*/ 7703 h 77052"/>
                  <a:gd name="connsiteX7" fmla="*/ 7702 w 231184"/>
                  <a:gd name="connsiteY7" fmla="*/ 0 h 77052"/>
                  <a:gd name="connsiteX8" fmla="*/ 223468 w 231184"/>
                  <a:gd name="connsiteY8" fmla="*/ 0 h 77052"/>
                  <a:gd name="connsiteX9" fmla="*/ 231171 w 231184"/>
                  <a:gd name="connsiteY9" fmla="*/ 7703 h 77052"/>
                  <a:gd name="connsiteX10" fmla="*/ 231171 w 231184"/>
                  <a:gd name="connsiteY10" fmla="*/ 77052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1184" h="77052">
                    <a:moveTo>
                      <a:pt x="231184" y="77052"/>
                    </a:moveTo>
                    <a:lnTo>
                      <a:pt x="215765" y="77052"/>
                    </a:lnTo>
                    <a:lnTo>
                      <a:pt x="215765" y="15405"/>
                    </a:lnTo>
                    <a:lnTo>
                      <a:pt x="15419" y="15405"/>
                    </a:lnTo>
                    <a:lnTo>
                      <a:pt x="15419" y="77052"/>
                    </a:lnTo>
                    <a:lnTo>
                      <a:pt x="0" y="77052"/>
                    </a:lnTo>
                    <a:lnTo>
                      <a:pt x="0" y="7703"/>
                    </a:lnTo>
                    <a:cubicBezTo>
                      <a:pt x="0" y="3445"/>
                      <a:pt x="3445" y="0"/>
                      <a:pt x="7702" y="0"/>
                    </a:cubicBezTo>
                    <a:lnTo>
                      <a:pt x="223468" y="0"/>
                    </a:lnTo>
                    <a:cubicBezTo>
                      <a:pt x="227726" y="0"/>
                      <a:pt x="231171" y="3445"/>
                      <a:pt x="231171" y="7703"/>
                    </a:cubicBezTo>
                    <a:lnTo>
                      <a:pt x="231171" y="77052"/>
                    </a:lnTo>
                    <a:close/>
                  </a:path>
                </a:pathLst>
              </a:custGeom>
              <a:solidFill>
                <a:schemeClr val="tx2"/>
              </a:solidFill>
              <a:ln w="1375" cap="flat">
                <a:noFill/>
                <a:prstDash val="solid"/>
                <a:miter/>
              </a:ln>
            </p:spPr>
            <p:txBody>
              <a:bodyPr rtlCol="0" anchor="ctr"/>
              <a:lstStyle/>
              <a:p>
                <a:endParaRPr lang="en-GB" dirty="0"/>
              </a:p>
            </p:txBody>
          </p:sp>
          <p:sp>
            <p:nvSpPr>
              <p:cNvPr id="390" name="Freihandform: Form 389">
                <a:extLst>
                  <a:ext uri="{FF2B5EF4-FFF2-40B4-BE49-F238E27FC236}">
                    <a16:creationId xmlns:a16="http://schemas.microsoft.com/office/drawing/2014/main" id="{9674C151-AE32-4E14-B414-CC66A795FB78}"/>
                  </a:ext>
                </a:extLst>
              </p:cNvPr>
              <p:cNvSpPr/>
              <p:nvPr/>
            </p:nvSpPr>
            <p:spPr>
              <a:xfrm>
                <a:off x="3099942" y="3618959"/>
                <a:ext cx="215765" cy="15418"/>
              </a:xfrm>
              <a:custGeom>
                <a:avLst/>
                <a:gdLst>
                  <a:gd name="connsiteX0" fmla="*/ 0 w 215765"/>
                  <a:gd name="connsiteY0" fmla="*/ 0 h 15418"/>
                  <a:gd name="connsiteX1" fmla="*/ 215766 w 215765"/>
                  <a:gd name="connsiteY1" fmla="*/ 0 h 15418"/>
                  <a:gd name="connsiteX2" fmla="*/ 215766 w 215765"/>
                  <a:gd name="connsiteY2" fmla="*/ 15419 h 15418"/>
                  <a:gd name="connsiteX3" fmla="*/ 0 w 215765"/>
                  <a:gd name="connsiteY3" fmla="*/ 15419 h 15418"/>
                </a:gdLst>
                <a:ahLst/>
                <a:cxnLst>
                  <a:cxn ang="0">
                    <a:pos x="connsiteX0" y="connsiteY0"/>
                  </a:cxn>
                  <a:cxn ang="0">
                    <a:pos x="connsiteX1" y="connsiteY1"/>
                  </a:cxn>
                  <a:cxn ang="0">
                    <a:pos x="connsiteX2" y="connsiteY2"/>
                  </a:cxn>
                  <a:cxn ang="0">
                    <a:pos x="connsiteX3" y="connsiteY3"/>
                  </a:cxn>
                </a:cxnLst>
                <a:rect l="l" t="t" r="r" b="b"/>
                <a:pathLst>
                  <a:path w="215765" h="15418">
                    <a:moveTo>
                      <a:pt x="0" y="0"/>
                    </a:moveTo>
                    <a:lnTo>
                      <a:pt x="215766" y="0"/>
                    </a:lnTo>
                    <a:lnTo>
                      <a:pt x="215766"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91" name="Freihandform: Form 390">
                <a:extLst>
                  <a:ext uri="{FF2B5EF4-FFF2-40B4-BE49-F238E27FC236}">
                    <a16:creationId xmlns:a16="http://schemas.microsoft.com/office/drawing/2014/main" id="{02257F12-148E-4FB3-BBCD-C7D675F9ED1D}"/>
                  </a:ext>
                </a:extLst>
              </p:cNvPr>
              <p:cNvSpPr/>
              <p:nvPr/>
            </p:nvSpPr>
            <p:spPr>
              <a:xfrm>
                <a:off x="2961229" y="3511069"/>
                <a:ext cx="493178" cy="15418"/>
              </a:xfrm>
              <a:custGeom>
                <a:avLst/>
                <a:gdLst>
                  <a:gd name="connsiteX0" fmla="*/ 0 w 493178"/>
                  <a:gd name="connsiteY0" fmla="*/ 0 h 15418"/>
                  <a:gd name="connsiteX1" fmla="*/ 493178 w 493178"/>
                  <a:gd name="connsiteY1" fmla="*/ 0 h 15418"/>
                  <a:gd name="connsiteX2" fmla="*/ 493178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8" y="0"/>
                    </a:lnTo>
                    <a:lnTo>
                      <a:pt x="493178"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92" name="Freihandform: Form 391">
                <a:extLst>
                  <a:ext uri="{FF2B5EF4-FFF2-40B4-BE49-F238E27FC236}">
                    <a16:creationId xmlns:a16="http://schemas.microsoft.com/office/drawing/2014/main" id="{E2358BED-FE2F-4D80-8BE7-3A2E3539021C}"/>
                  </a:ext>
                </a:extLst>
              </p:cNvPr>
              <p:cNvSpPr/>
              <p:nvPr/>
            </p:nvSpPr>
            <p:spPr>
              <a:xfrm>
                <a:off x="2961229" y="3541893"/>
                <a:ext cx="493178" cy="15418"/>
              </a:xfrm>
              <a:custGeom>
                <a:avLst/>
                <a:gdLst>
                  <a:gd name="connsiteX0" fmla="*/ 0 w 493178"/>
                  <a:gd name="connsiteY0" fmla="*/ 0 h 15418"/>
                  <a:gd name="connsiteX1" fmla="*/ 493178 w 493178"/>
                  <a:gd name="connsiteY1" fmla="*/ 0 h 15418"/>
                  <a:gd name="connsiteX2" fmla="*/ 493178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8" y="0"/>
                    </a:lnTo>
                    <a:lnTo>
                      <a:pt x="493178"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393" name="Freihandform: Form 392">
                <a:extLst>
                  <a:ext uri="{FF2B5EF4-FFF2-40B4-BE49-F238E27FC236}">
                    <a16:creationId xmlns:a16="http://schemas.microsoft.com/office/drawing/2014/main" id="{D5D5AD91-9304-4005-9C2E-7716A4209221}"/>
                  </a:ext>
                </a:extLst>
              </p:cNvPr>
              <p:cNvSpPr/>
              <p:nvPr/>
            </p:nvSpPr>
            <p:spPr>
              <a:xfrm>
                <a:off x="3385058" y="3380072"/>
                <a:ext cx="15418" cy="77066"/>
              </a:xfrm>
              <a:custGeom>
                <a:avLst/>
                <a:gdLst>
                  <a:gd name="connsiteX0" fmla="*/ 0 w 15418"/>
                  <a:gd name="connsiteY0" fmla="*/ 0 h 77066"/>
                  <a:gd name="connsiteX1" fmla="*/ 15419 w 15418"/>
                  <a:gd name="connsiteY1" fmla="*/ 0 h 77066"/>
                  <a:gd name="connsiteX2" fmla="*/ 15419 w 15418"/>
                  <a:gd name="connsiteY2" fmla="*/ 77066 h 77066"/>
                  <a:gd name="connsiteX3" fmla="*/ 0 w 15418"/>
                  <a:gd name="connsiteY3" fmla="*/ 77066 h 77066"/>
                </a:gdLst>
                <a:ahLst/>
                <a:cxnLst>
                  <a:cxn ang="0">
                    <a:pos x="connsiteX0" y="connsiteY0"/>
                  </a:cxn>
                  <a:cxn ang="0">
                    <a:pos x="connsiteX1" y="connsiteY1"/>
                  </a:cxn>
                  <a:cxn ang="0">
                    <a:pos x="connsiteX2" y="connsiteY2"/>
                  </a:cxn>
                  <a:cxn ang="0">
                    <a:pos x="connsiteX3" y="connsiteY3"/>
                  </a:cxn>
                </a:cxnLst>
                <a:rect l="l" t="t" r="r" b="b"/>
                <a:pathLst>
                  <a:path w="15418" h="77066">
                    <a:moveTo>
                      <a:pt x="0" y="0"/>
                    </a:moveTo>
                    <a:lnTo>
                      <a:pt x="15419" y="0"/>
                    </a:lnTo>
                    <a:lnTo>
                      <a:pt x="15419" y="77066"/>
                    </a:lnTo>
                    <a:lnTo>
                      <a:pt x="0" y="77066"/>
                    </a:lnTo>
                    <a:close/>
                  </a:path>
                </a:pathLst>
              </a:custGeom>
              <a:solidFill>
                <a:schemeClr val="tx2"/>
              </a:solidFill>
              <a:ln w="1375" cap="flat">
                <a:noFill/>
                <a:prstDash val="solid"/>
                <a:miter/>
              </a:ln>
            </p:spPr>
            <p:txBody>
              <a:bodyPr rtlCol="0" anchor="ctr"/>
              <a:lstStyle/>
              <a:p>
                <a:endParaRPr lang="en-GB" dirty="0"/>
              </a:p>
            </p:txBody>
          </p:sp>
          <p:sp>
            <p:nvSpPr>
              <p:cNvPr id="399" name="Freihandform: Form 398">
                <a:extLst>
                  <a:ext uri="{FF2B5EF4-FFF2-40B4-BE49-F238E27FC236}">
                    <a16:creationId xmlns:a16="http://schemas.microsoft.com/office/drawing/2014/main" id="{F8DCD88D-8ED5-4244-B595-8ED8BB16DAD2}"/>
                  </a:ext>
                </a:extLst>
              </p:cNvPr>
              <p:cNvSpPr/>
              <p:nvPr/>
            </p:nvSpPr>
            <p:spPr>
              <a:xfrm>
                <a:off x="3015174" y="3380072"/>
                <a:ext cx="15418" cy="77066"/>
              </a:xfrm>
              <a:custGeom>
                <a:avLst/>
                <a:gdLst>
                  <a:gd name="connsiteX0" fmla="*/ 0 w 15418"/>
                  <a:gd name="connsiteY0" fmla="*/ 0 h 77066"/>
                  <a:gd name="connsiteX1" fmla="*/ 15419 w 15418"/>
                  <a:gd name="connsiteY1" fmla="*/ 0 h 77066"/>
                  <a:gd name="connsiteX2" fmla="*/ 15419 w 15418"/>
                  <a:gd name="connsiteY2" fmla="*/ 77066 h 77066"/>
                  <a:gd name="connsiteX3" fmla="*/ 0 w 15418"/>
                  <a:gd name="connsiteY3" fmla="*/ 77066 h 77066"/>
                </a:gdLst>
                <a:ahLst/>
                <a:cxnLst>
                  <a:cxn ang="0">
                    <a:pos x="connsiteX0" y="connsiteY0"/>
                  </a:cxn>
                  <a:cxn ang="0">
                    <a:pos x="connsiteX1" y="connsiteY1"/>
                  </a:cxn>
                  <a:cxn ang="0">
                    <a:pos x="connsiteX2" y="connsiteY2"/>
                  </a:cxn>
                  <a:cxn ang="0">
                    <a:pos x="connsiteX3" y="connsiteY3"/>
                  </a:cxn>
                </a:cxnLst>
                <a:rect l="l" t="t" r="r" b="b"/>
                <a:pathLst>
                  <a:path w="15418" h="77066">
                    <a:moveTo>
                      <a:pt x="0" y="0"/>
                    </a:moveTo>
                    <a:lnTo>
                      <a:pt x="15419" y="0"/>
                    </a:lnTo>
                    <a:lnTo>
                      <a:pt x="15419" y="77066"/>
                    </a:lnTo>
                    <a:lnTo>
                      <a:pt x="0" y="77066"/>
                    </a:lnTo>
                    <a:close/>
                  </a:path>
                </a:pathLst>
              </a:custGeom>
              <a:solidFill>
                <a:schemeClr val="tx2"/>
              </a:solidFill>
              <a:ln w="1375" cap="flat">
                <a:noFill/>
                <a:prstDash val="solid"/>
                <a:miter/>
              </a:ln>
            </p:spPr>
            <p:txBody>
              <a:bodyPr rtlCol="0" anchor="ctr"/>
              <a:lstStyle/>
              <a:p>
                <a:endParaRPr lang="en-GB" dirty="0"/>
              </a:p>
            </p:txBody>
          </p:sp>
          <p:sp>
            <p:nvSpPr>
              <p:cNvPr id="405" name="Freihandform: Form 404">
                <a:extLst>
                  <a:ext uri="{FF2B5EF4-FFF2-40B4-BE49-F238E27FC236}">
                    <a16:creationId xmlns:a16="http://schemas.microsoft.com/office/drawing/2014/main" id="{CD2704E9-1659-445A-B6DC-E4A032CFA811}"/>
                  </a:ext>
                </a:extLst>
              </p:cNvPr>
              <p:cNvSpPr/>
              <p:nvPr/>
            </p:nvSpPr>
            <p:spPr>
              <a:xfrm>
                <a:off x="3107645" y="3287601"/>
                <a:ext cx="123294" cy="123294"/>
              </a:xfrm>
              <a:custGeom>
                <a:avLst/>
                <a:gdLst>
                  <a:gd name="connsiteX0" fmla="*/ 61647 w 123294"/>
                  <a:gd name="connsiteY0" fmla="*/ 123295 h 123294"/>
                  <a:gd name="connsiteX1" fmla="*/ 0 w 123294"/>
                  <a:gd name="connsiteY1" fmla="*/ 61647 h 123294"/>
                  <a:gd name="connsiteX2" fmla="*/ 61647 w 123294"/>
                  <a:gd name="connsiteY2" fmla="*/ 0 h 123294"/>
                  <a:gd name="connsiteX3" fmla="*/ 123295 w 123294"/>
                  <a:gd name="connsiteY3" fmla="*/ 61647 h 123294"/>
                  <a:gd name="connsiteX4" fmla="*/ 61647 w 123294"/>
                  <a:gd name="connsiteY4" fmla="*/ 123295 h 123294"/>
                  <a:gd name="connsiteX5" fmla="*/ 61647 w 123294"/>
                  <a:gd name="connsiteY5" fmla="*/ 15405 h 123294"/>
                  <a:gd name="connsiteX6" fmla="*/ 15405 w 123294"/>
                  <a:gd name="connsiteY6" fmla="*/ 61647 h 123294"/>
                  <a:gd name="connsiteX7" fmla="*/ 61647 w 123294"/>
                  <a:gd name="connsiteY7" fmla="*/ 107890 h 123294"/>
                  <a:gd name="connsiteX8" fmla="*/ 107890 w 123294"/>
                  <a:gd name="connsiteY8" fmla="*/ 61647 h 123294"/>
                  <a:gd name="connsiteX9" fmla="*/ 61647 w 123294"/>
                  <a:gd name="connsiteY9" fmla="*/ 15405 h 12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94" h="123294">
                    <a:moveTo>
                      <a:pt x="61647" y="123295"/>
                    </a:moveTo>
                    <a:cubicBezTo>
                      <a:pt x="27654" y="123295"/>
                      <a:pt x="0" y="95640"/>
                      <a:pt x="0" y="61647"/>
                    </a:cubicBezTo>
                    <a:cubicBezTo>
                      <a:pt x="0" y="27655"/>
                      <a:pt x="27654" y="0"/>
                      <a:pt x="61647" y="0"/>
                    </a:cubicBezTo>
                    <a:cubicBezTo>
                      <a:pt x="95640" y="0"/>
                      <a:pt x="123295" y="27655"/>
                      <a:pt x="123295" y="61647"/>
                    </a:cubicBezTo>
                    <a:cubicBezTo>
                      <a:pt x="123295" y="95640"/>
                      <a:pt x="95640" y="123295"/>
                      <a:pt x="61647" y="123295"/>
                    </a:cubicBezTo>
                    <a:close/>
                    <a:moveTo>
                      <a:pt x="61647" y="15405"/>
                    </a:moveTo>
                    <a:cubicBezTo>
                      <a:pt x="36156" y="15405"/>
                      <a:pt x="15405" y="36142"/>
                      <a:pt x="15405" y="61647"/>
                    </a:cubicBezTo>
                    <a:cubicBezTo>
                      <a:pt x="15405" y="87138"/>
                      <a:pt x="36142" y="107890"/>
                      <a:pt x="61647" y="107890"/>
                    </a:cubicBezTo>
                    <a:cubicBezTo>
                      <a:pt x="87138" y="107890"/>
                      <a:pt x="107890" y="87152"/>
                      <a:pt x="107890" y="61647"/>
                    </a:cubicBezTo>
                    <a:cubicBezTo>
                      <a:pt x="107890" y="36142"/>
                      <a:pt x="87138" y="15405"/>
                      <a:pt x="61647" y="15405"/>
                    </a:cubicBezTo>
                    <a:close/>
                  </a:path>
                </a:pathLst>
              </a:custGeom>
              <a:solidFill>
                <a:schemeClr val="tx2"/>
              </a:solidFill>
              <a:ln w="1375" cap="flat">
                <a:noFill/>
                <a:prstDash val="solid"/>
                <a:miter/>
              </a:ln>
            </p:spPr>
            <p:txBody>
              <a:bodyPr rtlCol="0" anchor="ctr"/>
              <a:lstStyle/>
              <a:p>
                <a:endParaRPr lang="en-GB" dirty="0"/>
              </a:p>
            </p:txBody>
          </p:sp>
        </p:grpSp>
      </p:grpSp>
      <p:grpSp>
        <p:nvGrpSpPr>
          <p:cNvPr id="694" name="Gruppieren 693">
            <a:extLst>
              <a:ext uri="{FF2B5EF4-FFF2-40B4-BE49-F238E27FC236}">
                <a16:creationId xmlns:a16="http://schemas.microsoft.com/office/drawing/2014/main" id="{A5857780-BE62-4FDB-B19E-93B2EC1B8533}"/>
              </a:ext>
            </a:extLst>
          </p:cNvPr>
          <p:cNvGrpSpPr>
            <a:grpSpLocks noChangeAspect="1"/>
          </p:cNvGrpSpPr>
          <p:nvPr/>
        </p:nvGrpSpPr>
        <p:grpSpPr>
          <a:xfrm>
            <a:off x="2074212" y="4097454"/>
            <a:ext cx="575976" cy="432000"/>
            <a:chOff x="2144395" y="4189189"/>
            <a:chExt cx="493178" cy="369897"/>
          </a:xfrm>
        </p:grpSpPr>
        <p:grpSp>
          <p:nvGrpSpPr>
            <p:cNvPr id="692" name="Gruppieren 691">
              <a:extLst>
                <a:ext uri="{FF2B5EF4-FFF2-40B4-BE49-F238E27FC236}">
                  <a16:creationId xmlns:a16="http://schemas.microsoft.com/office/drawing/2014/main" id="{CAAC83EE-E5B3-4767-9BBE-1138CCDE2532}"/>
                </a:ext>
              </a:extLst>
            </p:cNvPr>
            <p:cNvGrpSpPr/>
            <p:nvPr/>
          </p:nvGrpSpPr>
          <p:grpSpPr>
            <a:xfrm>
              <a:off x="2213745" y="4250823"/>
              <a:ext cx="354478" cy="123322"/>
              <a:chOff x="2213745" y="4250823"/>
              <a:chExt cx="354478" cy="123322"/>
            </a:xfrm>
          </p:grpSpPr>
          <p:sp>
            <p:nvSpPr>
              <p:cNvPr id="407" name="Freihandform: Form 406">
                <a:extLst>
                  <a:ext uri="{FF2B5EF4-FFF2-40B4-BE49-F238E27FC236}">
                    <a16:creationId xmlns:a16="http://schemas.microsoft.com/office/drawing/2014/main" id="{E3123899-4A7B-4441-BA7B-FD2098C0F5B2}"/>
                  </a:ext>
                </a:extLst>
              </p:cNvPr>
              <p:cNvSpPr/>
              <p:nvPr/>
            </p:nvSpPr>
            <p:spPr>
              <a:xfrm>
                <a:off x="2213745" y="4250837"/>
                <a:ext cx="69363" cy="123308"/>
              </a:xfrm>
              <a:custGeom>
                <a:avLst/>
                <a:gdLst>
                  <a:gd name="connsiteX0" fmla="*/ 53945 w 69363"/>
                  <a:gd name="connsiteY0" fmla="*/ 123308 h 123308"/>
                  <a:gd name="connsiteX1" fmla="*/ 15419 w 69363"/>
                  <a:gd name="connsiteY1" fmla="*/ 123308 h 123308"/>
                  <a:gd name="connsiteX2" fmla="*/ 0 w 69363"/>
                  <a:gd name="connsiteY2" fmla="*/ 107890 h 123308"/>
                  <a:gd name="connsiteX3" fmla="*/ 0 w 69363"/>
                  <a:gd name="connsiteY3" fmla="*/ 15419 h 123308"/>
                  <a:gd name="connsiteX4" fmla="*/ 15419 w 69363"/>
                  <a:gd name="connsiteY4" fmla="*/ 0 h 123308"/>
                  <a:gd name="connsiteX5" fmla="*/ 53945 w 69363"/>
                  <a:gd name="connsiteY5" fmla="*/ 0 h 123308"/>
                  <a:gd name="connsiteX6" fmla="*/ 69364 w 69363"/>
                  <a:gd name="connsiteY6" fmla="*/ 15419 h 123308"/>
                  <a:gd name="connsiteX7" fmla="*/ 69364 w 69363"/>
                  <a:gd name="connsiteY7" fmla="*/ 107890 h 123308"/>
                  <a:gd name="connsiteX8" fmla="*/ 53945 w 69363"/>
                  <a:gd name="connsiteY8" fmla="*/ 123308 h 123308"/>
                  <a:gd name="connsiteX9" fmla="*/ 15419 w 69363"/>
                  <a:gd name="connsiteY9" fmla="*/ 15419 h 123308"/>
                  <a:gd name="connsiteX10" fmla="*/ 15419 w 69363"/>
                  <a:gd name="connsiteY10" fmla="*/ 107890 h 123308"/>
                  <a:gd name="connsiteX11" fmla="*/ 53959 w 69363"/>
                  <a:gd name="connsiteY11" fmla="*/ 107890 h 123308"/>
                  <a:gd name="connsiteX12" fmla="*/ 53945 w 69363"/>
                  <a:gd name="connsiteY12" fmla="*/ 15419 h 123308"/>
                  <a:gd name="connsiteX13" fmla="*/ 15419 w 69363"/>
                  <a:gd name="connsiteY13" fmla="*/ 15419 h 12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363" h="123308">
                    <a:moveTo>
                      <a:pt x="53945" y="123308"/>
                    </a:moveTo>
                    <a:lnTo>
                      <a:pt x="15419" y="123308"/>
                    </a:lnTo>
                    <a:cubicBezTo>
                      <a:pt x="6917" y="123308"/>
                      <a:pt x="0" y="116391"/>
                      <a:pt x="0" y="107890"/>
                    </a:cubicBezTo>
                    <a:lnTo>
                      <a:pt x="0" y="15419"/>
                    </a:lnTo>
                    <a:cubicBezTo>
                      <a:pt x="0" y="6917"/>
                      <a:pt x="6917" y="0"/>
                      <a:pt x="15419" y="0"/>
                    </a:cubicBezTo>
                    <a:lnTo>
                      <a:pt x="53945" y="0"/>
                    </a:lnTo>
                    <a:cubicBezTo>
                      <a:pt x="62446" y="0"/>
                      <a:pt x="69364" y="6917"/>
                      <a:pt x="69364" y="15419"/>
                    </a:cubicBezTo>
                    <a:lnTo>
                      <a:pt x="69364" y="107890"/>
                    </a:lnTo>
                    <a:cubicBezTo>
                      <a:pt x="69350" y="116391"/>
                      <a:pt x="62446" y="123308"/>
                      <a:pt x="53945" y="123308"/>
                    </a:cubicBezTo>
                    <a:close/>
                    <a:moveTo>
                      <a:pt x="15419" y="15419"/>
                    </a:moveTo>
                    <a:lnTo>
                      <a:pt x="15419" y="107890"/>
                    </a:lnTo>
                    <a:lnTo>
                      <a:pt x="53959" y="107890"/>
                    </a:lnTo>
                    <a:lnTo>
                      <a:pt x="53945" y="15419"/>
                    </a:lnTo>
                    <a:lnTo>
                      <a:pt x="15419" y="15419"/>
                    </a:lnTo>
                    <a:close/>
                  </a:path>
                </a:pathLst>
              </a:custGeom>
              <a:solidFill>
                <a:schemeClr val="accent1"/>
              </a:solidFill>
              <a:ln w="1375" cap="flat">
                <a:noFill/>
                <a:prstDash val="solid"/>
                <a:miter/>
              </a:ln>
            </p:spPr>
            <p:txBody>
              <a:bodyPr rtlCol="0" anchor="ctr"/>
              <a:lstStyle/>
              <a:p>
                <a:endParaRPr lang="en-GB" dirty="0"/>
              </a:p>
            </p:txBody>
          </p:sp>
          <p:sp>
            <p:nvSpPr>
              <p:cNvPr id="408" name="Freihandform: Form 407">
                <a:extLst>
                  <a:ext uri="{FF2B5EF4-FFF2-40B4-BE49-F238E27FC236}">
                    <a16:creationId xmlns:a16="http://schemas.microsoft.com/office/drawing/2014/main" id="{E108ED45-32AA-44A4-8E0F-BF02466FD79F}"/>
                  </a:ext>
                </a:extLst>
              </p:cNvPr>
              <p:cNvSpPr/>
              <p:nvPr/>
            </p:nvSpPr>
            <p:spPr>
              <a:xfrm>
                <a:off x="2414106" y="4250837"/>
                <a:ext cx="69363" cy="123308"/>
              </a:xfrm>
              <a:custGeom>
                <a:avLst/>
                <a:gdLst>
                  <a:gd name="connsiteX0" fmla="*/ 53945 w 69363"/>
                  <a:gd name="connsiteY0" fmla="*/ 123308 h 123308"/>
                  <a:gd name="connsiteX1" fmla="*/ 15419 w 69363"/>
                  <a:gd name="connsiteY1" fmla="*/ 123308 h 123308"/>
                  <a:gd name="connsiteX2" fmla="*/ 0 w 69363"/>
                  <a:gd name="connsiteY2" fmla="*/ 107890 h 123308"/>
                  <a:gd name="connsiteX3" fmla="*/ 0 w 69363"/>
                  <a:gd name="connsiteY3" fmla="*/ 15419 h 123308"/>
                  <a:gd name="connsiteX4" fmla="*/ 15419 w 69363"/>
                  <a:gd name="connsiteY4" fmla="*/ 0 h 123308"/>
                  <a:gd name="connsiteX5" fmla="*/ 53945 w 69363"/>
                  <a:gd name="connsiteY5" fmla="*/ 0 h 123308"/>
                  <a:gd name="connsiteX6" fmla="*/ 69364 w 69363"/>
                  <a:gd name="connsiteY6" fmla="*/ 15419 h 123308"/>
                  <a:gd name="connsiteX7" fmla="*/ 69364 w 69363"/>
                  <a:gd name="connsiteY7" fmla="*/ 107890 h 123308"/>
                  <a:gd name="connsiteX8" fmla="*/ 53945 w 69363"/>
                  <a:gd name="connsiteY8" fmla="*/ 123308 h 123308"/>
                  <a:gd name="connsiteX9" fmla="*/ 15405 w 69363"/>
                  <a:gd name="connsiteY9" fmla="*/ 15419 h 123308"/>
                  <a:gd name="connsiteX10" fmla="*/ 15405 w 69363"/>
                  <a:gd name="connsiteY10" fmla="*/ 107890 h 123308"/>
                  <a:gd name="connsiteX11" fmla="*/ 53945 w 69363"/>
                  <a:gd name="connsiteY11" fmla="*/ 107890 h 123308"/>
                  <a:gd name="connsiteX12" fmla="*/ 53931 w 69363"/>
                  <a:gd name="connsiteY12" fmla="*/ 15419 h 123308"/>
                  <a:gd name="connsiteX13" fmla="*/ 15405 w 69363"/>
                  <a:gd name="connsiteY13" fmla="*/ 15419 h 12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9363" h="123308">
                    <a:moveTo>
                      <a:pt x="53945" y="123308"/>
                    </a:moveTo>
                    <a:lnTo>
                      <a:pt x="15419" y="123308"/>
                    </a:lnTo>
                    <a:cubicBezTo>
                      <a:pt x="6917" y="123308"/>
                      <a:pt x="0" y="116391"/>
                      <a:pt x="0" y="107890"/>
                    </a:cubicBezTo>
                    <a:lnTo>
                      <a:pt x="0" y="15419"/>
                    </a:lnTo>
                    <a:cubicBezTo>
                      <a:pt x="0" y="6917"/>
                      <a:pt x="6917" y="0"/>
                      <a:pt x="15419" y="0"/>
                    </a:cubicBezTo>
                    <a:lnTo>
                      <a:pt x="53945" y="0"/>
                    </a:lnTo>
                    <a:cubicBezTo>
                      <a:pt x="62446" y="0"/>
                      <a:pt x="69364" y="6917"/>
                      <a:pt x="69364" y="15419"/>
                    </a:cubicBezTo>
                    <a:lnTo>
                      <a:pt x="69364" y="107890"/>
                    </a:lnTo>
                    <a:cubicBezTo>
                      <a:pt x="69350" y="116391"/>
                      <a:pt x="62433" y="123308"/>
                      <a:pt x="53945" y="123308"/>
                    </a:cubicBezTo>
                    <a:close/>
                    <a:moveTo>
                      <a:pt x="15405" y="15419"/>
                    </a:moveTo>
                    <a:lnTo>
                      <a:pt x="15405" y="107890"/>
                    </a:lnTo>
                    <a:lnTo>
                      <a:pt x="53945" y="107890"/>
                    </a:lnTo>
                    <a:lnTo>
                      <a:pt x="53931" y="15419"/>
                    </a:lnTo>
                    <a:lnTo>
                      <a:pt x="15405" y="15419"/>
                    </a:lnTo>
                    <a:close/>
                  </a:path>
                </a:pathLst>
              </a:custGeom>
              <a:solidFill>
                <a:schemeClr val="accent1"/>
              </a:solidFill>
              <a:ln w="1375" cap="flat">
                <a:noFill/>
                <a:prstDash val="solid"/>
                <a:miter/>
              </a:ln>
            </p:spPr>
            <p:txBody>
              <a:bodyPr rtlCol="0" anchor="ctr"/>
              <a:lstStyle/>
              <a:p>
                <a:endParaRPr lang="en-GB" dirty="0"/>
              </a:p>
            </p:txBody>
          </p:sp>
          <p:sp>
            <p:nvSpPr>
              <p:cNvPr id="414" name="Freihandform: Form 413">
                <a:extLst>
                  <a:ext uri="{FF2B5EF4-FFF2-40B4-BE49-F238E27FC236}">
                    <a16:creationId xmlns:a16="http://schemas.microsoft.com/office/drawing/2014/main" id="{BF8FB0EE-6079-4472-8BA6-AC1589DD76AA}"/>
                  </a:ext>
                </a:extLst>
              </p:cNvPr>
              <p:cNvSpPr/>
              <p:nvPr/>
            </p:nvSpPr>
            <p:spPr>
              <a:xfrm>
                <a:off x="2298513" y="4250823"/>
                <a:ext cx="69363" cy="123322"/>
              </a:xfrm>
              <a:custGeom>
                <a:avLst/>
                <a:gdLst>
                  <a:gd name="connsiteX0" fmla="*/ 53945 w 69363"/>
                  <a:gd name="connsiteY0" fmla="*/ 123322 h 123322"/>
                  <a:gd name="connsiteX1" fmla="*/ 15419 w 69363"/>
                  <a:gd name="connsiteY1" fmla="*/ 123322 h 123322"/>
                  <a:gd name="connsiteX2" fmla="*/ 0 w 69363"/>
                  <a:gd name="connsiteY2" fmla="*/ 107903 h 123322"/>
                  <a:gd name="connsiteX3" fmla="*/ 0 w 69363"/>
                  <a:gd name="connsiteY3" fmla="*/ 92485 h 123322"/>
                  <a:gd name="connsiteX4" fmla="*/ 15419 w 69363"/>
                  <a:gd name="connsiteY4" fmla="*/ 92485 h 123322"/>
                  <a:gd name="connsiteX5" fmla="*/ 15419 w 69363"/>
                  <a:gd name="connsiteY5" fmla="*/ 107903 h 123322"/>
                  <a:gd name="connsiteX6" fmla="*/ 53945 w 69363"/>
                  <a:gd name="connsiteY6" fmla="*/ 107903 h 123322"/>
                  <a:gd name="connsiteX7" fmla="*/ 53945 w 69363"/>
                  <a:gd name="connsiteY7" fmla="*/ 61661 h 123322"/>
                  <a:gd name="connsiteX8" fmla="*/ 15419 w 69363"/>
                  <a:gd name="connsiteY8" fmla="*/ 61661 h 123322"/>
                  <a:gd name="connsiteX9" fmla="*/ 0 w 69363"/>
                  <a:gd name="connsiteY9" fmla="*/ 46242 h 123322"/>
                  <a:gd name="connsiteX10" fmla="*/ 0 w 69363"/>
                  <a:gd name="connsiteY10" fmla="*/ 15419 h 123322"/>
                  <a:gd name="connsiteX11" fmla="*/ 15419 w 69363"/>
                  <a:gd name="connsiteY11" fmla="*/ 0 h 123322"/>
                  <a:gd name="connsiteX12" fmla="*/ 69364 w 69363"/>
                  <a:gd name="connsiteY12" fmla="*/ 0 h 123322"/>
                  <a:gd name="connsiteX13" fmla="*/ 69364 w 69363"/>
                  <a:gd name="connsiteY13" fmla="*/ 15419 h 123322"/>
                  <a:gd name="connsiteX14" fmla="*/ 15419 w 69363"/>
                  <a:gd name="connsiteY14" fmla="*/ 15419 h 123322"/>
                  <a:gd name="connsiteX15" fmla="*/ 15419 w 69363"/>
                  <a:gd name="connsiteY15" fmla="*/ 46242 h 123322"/>
                  <a:gd name="connsiteX16" fmla="*/ 53945 w 69363"/>
                  <a:gd name="connsiteY16" fmla="*/ 46242 h 123322"/>
                  <a:gd name="connsiteX17" fmla="*/ 69364 w 69363"/>
                  <a:gd name="connsiteY17" fmla="*/ 61661 h 123322"/>
                  <a:gd name="connsiteX18" fmla="*/ 69364 w 69363"/>
                  <a:gd name="connsiteY18" fmla="*/ 107903 h 123322"/>
                  <a:gd name="connsiteX19" fmla="*/ 53945 w 69363"/>
                  <a:gd name="connsiteY19" fmla="*/ 123322 h 123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363" h="123322">
                    <a:moveTo>
                      <a:pt x="53945" y="123322"/>
                    </a:moveTo>
                    <a:lnTo>
                      <a:pt x="15419" y="123322"/>
                    </a:lnTo>
                    <a:cubicBezTo>
                      <a:pt x="6917" y="123322"/>
                      <a:pt x="0" y="116405"/>
                      <a:pt x="0" y="107903"/>
                    </a:cubicBezTo>
                    <a:lnTo>
                      <a:pt x="0" y="92485"/>
                    </a:lnTo>
                    <a:lnTo>
                      <a:pt x="15419" y="92485"/>
                    </a:lnTo>
                    <a:lnTo>
                      <a:pt x="15419" y="107903"/>
                    </a:lnTo>
                    <a:lnTo>
                      <a:pt x="53945" y="107903"/>
                    </a:lnTo>
                    <a:lnTo>
                      <a:pt x="53945" y="61661"/>
                    </a:lnTo>
                    <a:lnTo>
                      <a:pt x="15419" y="61661"/>
                    </a:lnTo>
                    <a:cubicBezTo>
                      <a:pt x="6917" y="61661"/>
                      <a:pt x="0" y="54744"/>
                      <a:pt x="0" y="46242"/>
                    </a:cubicBezTo>
                    <a:lnTo>
                      <a:pt x="0" y="15419"/>
                    </a:lnTo>
                    <a:cubicBezTo>
                      <a:pt x="0" y="6917"/>
                      <a:pt x="6917" y="0"/>
                      <a:pt x="15419" y="0"/>
                    </a:cubicBezTo>
                    <a:lnTo>
                      <a:pt x="69364" y="0"/>
                    </a:lnTo>
                    <a:lnTo>
                      <a:pt x="69364" y="15419"/>
                    </a:lnTo>
                    <a:lnTo>
                      <a:pt x="15419" y="15419"/>
                    </a:lnTo>
                    <a:lnTo>
                      <a:pt x="15419" y="46242"/>
                    </a:lnTo>
                    <a:lnTo>
                      <a:pt x="53945" y="46242"/>
                    </a:lnTo>
                    <a:cubicBezTo>
                      <a:pt x="62446" y="46242"/>
                      <a:pt x="69364" y="53159"/>
                      <a:pt x="69364" y="61661"/>
                    </a:cubicBezTo>
                    <a:lnTo>
                      <a:pt x="69364" y="107903"/>
                    </a:lnTo>
                    <a:cubicBezTo>
                      <a:pt x="69350" y="116405"/>
                      <a:pt x="62433" y="123322"/>
                      <a:pt x="53945" y="123322"/>
                    </a:cubicBezTo>
                    <a:close/>
                  </a:path>
                </a:pathLst>
              </a:custGeom>
              <a:solidFill>
                <a:schemeClr val="accent1"/>
              </a:solidFill>
              <a:ln w="1375" cap="flat">
                <a:noFill/>
                <a:prstDash val="solid"/>
                <a:miter/>
              </a:ln>
            </p:spPr>
            <p:txBody>
              <a:bodyPr rtlCol="0" anchor="ctr"/>
              <a:lstStyle/>
              <a:p>
                <a:endParaRPr lang="en-GB" dirty="0"/>
              </a:p>
            </p:txBody>
          </p:sp>
          <p:sp>
            <p:nvSpPr>
              <p:cNvPr id="415" name="Freihandform: Form 414">
                <a:extLst>
                  <a:ext uri="{FF2B5EF4-FFF2-40B4-BE49-F238E27FC236}">
                    <a16:creationId xmlns:a16="http://schemas.microsoft.com/office/drawing/2014/main" id="{6E716E0D-2C4F-48B1-8189-F6BBAE845064}"/>
                  </a:ext>
                </a:extLst>
              </p:cNvPr>
              <p:cNvSpPr/>
              <p:nvPr/>
            </p:nvSpPr>
            <p:spPr>
              <a:xfrm>
                <a:off x="2498860" y="4250850"/>
                <a:ext cx="69363" cy="123294"/>
              </a:xfrm>
              <a:custGeom>
                <a:avLst/>
                <a:gdLst>
                  <a:gd name="connsiteX0" fmla="*/ 69364 w 69363"/>
                  <a:gd name="connsiteY0" fmla="*/ 123295 h 123294"/>
                  <a:gd name="connsiteX1" fmla="*/ 15419 w 69363"/>
                  <a:gd name="connsiteY1" fmla="*/ 123295 h 123294"/>
                  <a:gd name="connsiteX2" fmla="*/ 0 w 69363"/>
                  <a:gd name="connsiteY2" fmla="*/ 107890 h 123294"/>
                  <a:gd name="connsiteX3" fmla="*/ 0 w 69363"/>
                  <a:gd name="connsiteY3" fmla="*/ 77066 h 123294"/>
                  <a:gd name="connsiteX4" fmla="*/ 15419 w 69363"/>
                  <a:gd name="connsiteY4" fmla="*/ 61647 h 123294"/>
                  <a:gd name="connsiteX5" fmla="*/ 53945 w 69363"/>
                  <a:gd name="connsiteY5" fmla="*/ 61647 h 123294"/>
                  <a:gd name="connsiteX6" fmla="*/ 53945 w 69363"/>
                  <a:gd name="connsiteY6" fmla="*/ 15405 h 123294"/>
                  <a:gd name="connsiteX7" fmla="*/ 15419 w 69363"/>
                  <a:gd name="connsiteY7" fmla="*/ 15405 h 123294"/>
                  <a:gd name="connsiteX8" fmla="*/ 15419 w 69363"/>
                  <a:gd name="connsiteY8" fmla="*/ 30824 h 123294"/>
                  <a:gd name="connsiteX9" fmla="*/ 0 w 69363"/>
                  <a:gd name="connsiteY9" fmla="*/ 30824 h 123294"/>
                  <a:gd name="connsiteX10" fmla="*/ 0 w 69363"/>
                  <a:gd name="connsiteY10" fmla="*/ 15419 h 123294"/>
                  <a:gd name="connsiteX11" fmla="*/ 15419 w 69363"/>
                  <a:gd name="connsiteY11" fmla="*/ 0 h 123294"/>
                  <a:gd name="connsiteX12" fmla="*/ 53945 w 69363"/>
                  <a:gd name="connsiteY12" fmla="*/ 0 h 123294"/>
                  <a:gd name="connsiteX13" fmla="*/ 69364 w 69363"/>
                  <a:gd name="connsiteY13" fmla="*/ 15419 h 123294"/>
                  <a:gd name="connsiteX14" fmla="*/ 69364 w 69363"/>
                  <a:gd name="connsiteY14" fmla="*/ 61647 h 123294"/>
                  <a:gd name="connsiteX15" fmla="*/ 53945 w 69363"/>
                  <a:gd name="connsiteY15" fmla="*/ 77066 h 123294"/>
                  <a:gd name="connsiteX16" fmla="*/ 15419 w 69363"/>
                  <a:gd name="connsiteY16" fmla="*/ 77066 h 123294"/>
                  <a:gd name="connsiteX17" fmla="*/ 15419 w 69363"/>
                  <a:gd name="connsiteY17" fmla="*/ 107890 h 123294"/>
                  <a:gd name="connsiteX18" fmla="*/ 69364 w 69363"/>
                  <a:gd name="connsiteY18" fmla="*/ 107890 h 123294"/>
                  <a:gd name="connsiteX19" fmla="*/ 69364 w 69363"/>
                  <a:gd name="connsiteY19" fmla="*/ 123295 h 12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9363" h="123294">
                    <a:moveTo>
                      <a:pt x="69364" y="123295"/>
                    </a:moveTo>
                    <a:lnTo>
                      <a:pt x="15419" y="123295"/>
                    </a:lnTo>
                    <a:cubicBezTo>
                      <a:pt x="6917" y="123295"/>
                      <a:pt x="0" y="116391"/>
                      <a:pt x="0" y="107890"/>
                    </a:cubicBezTo>
                    <a:lnTo>
                      <a:pt x="0" y="77066"/>
                    </a:lnTo>
                    <a:cubicBezTo>
                      <a:pt x="0" y="68564"/>
                      <a:pt x="6917" y="61647"/>
                      <a:pt x="15419" y="61647"/>
                    </a:cubicBezTo>
                    <a:lnTo>
                      <a:pt x="53945" y="61647"/>
                    </a:lnTo>
                    <a:lnTo>
                      <a:pt x="53945" y="15405"/>
                    </a:lnTo>
                    <a:lnTo>
                      <a:pt x="15419" y="15405"/>
                    </a:lnTo>
                    <a:lnTo>
                      <a:pt x="15419" y="30824"/>
                    </a:lnTo>
                    <a:lnTo>
                      <a:pt x="0" y="30824"/>
                    </a:lnTo>
                    <a:lnTo>
                      <a:pt x="0" y="15419"/>
                    </a:lnTo>
                    <a:cubicBezTo>
                      <a:pt x="0" y="6917"/>
                      <a:pt x="6917" y="0"/>
                      <a:pt x="15419" y="0"/>
                    </a:cubicBezTo>
                    <a:lnTo>
                      <a:pt x="53945" y="0"/>
                    </a:lnTo>
                    <a:cubicBezTo>
                      <a:pt x="62446" y="0"/>
                      <a:pt x="69364" y="6917"/>
                      <a:pt x="69364" y="15419"/>
                    </a:cubicBezTo>
                    <a:lnTo>
                      <a:pt x="69364" y="61647"/>
                    </a:lnTo>
                    <a:cubicBezTo>
                      <a:pt x="69364" y="70149"/>
                      <a:pt x="62446" y="77066"/>
                      <a:pt x="53945" y="77066"/>
                    </a:cubicBezTo>
                    <a:lnTo>
                      <a:pt x="15419" y="77066"/>
                    </a:lnTo>
                    <a:lnTo>
                      <a:pt x="15419" y="107890"/>
                    </a:lnTo>
                    <a:lnTo>
                      <a:pt x="69364" y="107890"/>
                    </a:lnTo>
                    <a:lnTo>
                      <a:pt x="69364" y="123295"/>
                    </a:lnTo>
                    <a:close/>
                  </a:path>
                </a:pathLst>
              </a:custGeom>
              <a:solidFill>
                <a:schemeClr val="accent1"/>
              </a:solidFill>
              <a:ln w="1375" cap="flat">
                <a:noFill/>
                <a:prstDash val="solid"/>
                <a:miter/>
              </a:ln>
            </p:spPr>
            <p:txBody>
              <a:bodyPr rtlCol="0" anchor="ctr"/>
              <a:lstStyle/>
              <a:p>
                <a:endParaRPr lang="en-GB" dirty="0"/>
              </a:p>
            </p:txBody>
          </p:sp>
        </p:grpSp>
        <p:grpSp>
          <p:nvGrpSpPr>
            <p:cNvPr id="693" name="Gruppieren 692">
              <a:extLst>
                <a:ext uri="{FF2B5EF4-FFF2-40B4-BE49-F238E27FC236}">
                  <a16:creationId xmlns:a16="http://schemas.microsoft.com/office/drawing/2014/main" id="{03D632FD-94CD-4EE4-9472-385EAC1AF37B}"/>
                </a:ext>
              </a:extLst>
            </p:cNvPr>
            <p:cNvGrpSpPr/>
            <p:nvPr/>
          </p:nvGrpSpPr>
          <p:grpSpPr>
            <a:xfrm>
              <a:off x="2144395" y="4189189"/>
              <a:ext cx="493178" cy="369897"/>
              <a:chOff x="2144395" y="4189189"/>
              <a:chExt cx="493178" cy="369897"/>
            </a:xfrm>
          </p:grpSpPr>
          <p:sp>
            <p:nvSpPr>
              <p:cNvPr id="409" name="Freihandform: Form 408">
                <a:extLst>
                  <a:ext uri="{FF2B5EF4-FFF2-40B4-BE49-F238E27FC236}">
                    <a16:creationId xmlns:a16="http://schemas.microsoft.com/office/drawing/2014/main" id="{30641B56-9DD1-4684-8F40-CEEF9456EF6D}"/>
                  </a:ext>
                </a:extLst>
              </p:cNvPr>
              <p:cNvSpPr/>
              <p:nvPr/>
            </p:nvSpPr>
            <p:spPr>
              <a:xfrm>
                <a:off x="2383282" y="4289377"/>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10" name="Freihandform: Form 409">
                <a:extLst>
                  <a:ext uri="{FF2B5EF4-FFF2-40B4-BE49-F238E27FC236}">
                    <a16:creationId xmlns:a16="http://schemas.microsoft.com/office/drawing/2014/main" id="{F8EFFD46-E171-4C24-9290-C122C73AA7AD}"/>
                  </a:ext>
                </a:extLst>
              </p:cNvPr>
              <p:cNvSpPr/>
              <p:nvPr/>
            </p:nvSpPr>
            <p:spPr>
              <a:xfrm>
                <a:off x="2383282" y="4320200"/>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11" name="Freihandform: Form 410">
                <a:extLst>
                  <a:ext uri="{FF2B5EF4-FFF2-40B4-BE49-F238E27FC236}">
                    <a16:creationId xmlns:a16="http://schemas.microsoft.com/office/drawing/2014/main" id="{46BDA4E3-F749-4BCE-AB60-7B64FC365507}"/>
                  </a:ext>
                </a:extLst>
              </p:cNvPr>
              <p:cNvSpPr/>
              <p:nvPr/>
            </p:nvSpPr>
            <p:spPr>
              <a:xfrm>
                <a:off x="2213745" y="4458914"/>
                <a:ext cx="15418" cy="92470"/>
              </a:xfrm>
              <a:custGeom>
                <a:avLst/>
                <a:gdLst>
                  <a:gd name="connsiteX0" fmla="*/ 0 w 15418"/>
                  <a:gd name="connsiteY0" fmla="*/ 0 h 92470"/>
                  <a:gd name="connsiteX1" fmla="*/ 15419 w 15418"/>
                  <a:gd name="connsiteY1" fmla="*/ 0 h 92470"/>
                  <a:gd name="connsiteX2" fmla="*/ 15419 w 15418"/>
                  <a:gd name="connsiteY2" fmla="*/ 92471 h 92470"/>
                  <a:gd name="connsiteX3" fmla="*/ 0 w 15418"/>
                  <a:gd name="connsiteY3" fmla="*/ 92471 h 92470"/>
                </a:gdLst>
                <a:ahLst/>
                <a:cxnLst>
                  <a:cxn ang="0">
                    <a:pos x="connsiteX0" y="connsiteY0"/>
                  </a:cxn>
                  <a:cxn ang="0">
                    <a:pos x="connsiteX1" y="connsiteY1"/>
                  </a:cxn>
                  <a:cxn ang="0">
                    <a:pos x="connsiteX2" y="connsiteY2"/>
                  </a:cxn>
                  <a:cxn ang="0">
                    <a:pos x="connsiteX3" y="connsiteY3"/>
                  </a:cxn>
                </a:cxnLst>
                <a:rect l="l" t="t" r="r" b="b"/>
                <a:pathLst>
                  <a:path w="15418" h="92470">
                    <a:moveTo>
                      <a:pt x="0" y="0"/>
                    </a:moveTo>
                    <a:lnTo>
                      <a:pt x="15419" y="0"/>
                    </a:lnTo>
                    <a:lnTo>
                      <a:pt x="15419" y="92471"/>
                    </a:lnTo>
                    <a:lnTo>
                      <a:pt x="0" y="92471"/>
                    </a:lnTo>
                    <a:close/>
                  </a:path>
                </a:pathLst>
              </a:custGeom>
              <a:solidFill>
                <a:schemeClr val="tx2"/>
              </a:solidFill>
              <a:ln w="1375" cap="flat">
                <a:noFill/>
                <a:prstDash val="solid"/>
                <a:miter/>
              </a:ln>
            </p:spPr>
            <p:txBody>
              <a:bodyPr rtlCol="0" anchor="ctr"/>
              <a:lstStyle/>
              <a:p>
                <a:endParaRPr lang="en-GB" dirty="0"/>
              </a:p>
            </p:txBody>
          </p:sp>
          <p:sp>
            <p:nvSpPr>
              <p:cNvPr id="412" name="Freihandform: Form 411">
                <a:extLst>
                  <a:ext uri="{FF2B5EF4-FFF2-40B4-BE49-F238E27FC236}">
                    <a16:creationId xmlns:a16="http://schemas.microsoft.com/office/drawing/2014/main" id="{4EC580E6-38E2-4D24-A51A-01FC34BBB348}"/>
                  </a:ext>
                </a:extLst>
              </p:cNvPr>
              <p:cNvSpPr/>
              <p:nvPr/>
            </p:nvSpPr>
            <p:spPr>
              <a:xfrm>
                <a:off x="2552805" y="4458914"/>
                <a:ext cx="15418" cy="92470"/>
              </a:xfrm>
              <a:custGeom>
                <a:avLst/>
                <a:gdLst>
                  <a:gd name="connsiteX0" fmla="*/ 0 w 15418"/>
                  <a:gd name="connsiteY0" fmla="*/ 0 h 92470"/>
                  <a:gd name="connsiteX1" fmla="*/ 15419 w 15418"/>
                  <a:gd name="connsiteY1" fmla="*/ 0 h 92470"/>
                  <a:gd name="connsiteX2" fmla="*/ 15419 w 15418"/>
                  <a:gd name="connsiteY2" fmla="*/ 92471 h 92470"/>
                  <a:gd name="connsiteX3" fmla="*/ 0 w 15418"/>
                  <a:gd name="connsiteY3" fmla="*/ 92471 h 92470"/>
                </a:gdLst>
                <a:ahLst/>
                <a:cxnLst>
                  <a:cxn ang="0">
                    <a:pos x="connsiteX0" y="connsiteY0"/>
                  </a:cxn>
                  <a:cxn ang="0">
                    <a:pos x="connsiteX1" y="connsiteY1"/>
                  </a:cxn>
                  <a:cxn ang="0">
                    <a:pos x="connsiteX2" y="connsiteY2"/>
                  </a:cxn>
                  <a:cxn ang="0">
                    <a:pos x="connsiteX3" y="connsiteY3"/>
                  </a:cxn>
                </a:cxnLst>
                <a:rect l="l" t="t" r="r" b="b"/>
                <a:pathLst>
                  <a:path w="15418" h="92470">
                    <a:moveTo>
                      <a:pt x="0" y="0"/>
                    </a:moveTo>
                    <a:lnTo>
                      <a:pt x="15419" y="0"/>
                    </a:lnTo>
                    <a:lnTo>
                      <a:pt x="15419" y="92471"/>
                    </a:lnTo>
                    <a:lnTo>
                      <a:pt x="0" y="92471"/>
                    </a:lnTo>
                    <a:close/>
                  </a:path>
                </a:pathLst>
              </a:custGeom>
              <a:solidFill>
                <a:schemeClr val="tx2"/>
              </a:solidFill>
              <a:ln w="1375" cap="flat">
                <a:noFill/>
                <a:prstDash val="solid"/>
                <a:miter/>
              </a:ln>
            </p:spPr>
            <p:txBody>
              <a:bodyPr rtlCol="0" anchor="ctr"/>
              <a:lstStyle/>
              <a:p>
                <a:endParaRPr lang="en-GB" dirty="0"/>
              </a:p>
            </p:txBody>
          </p:sp>
          <p:sp>
            <p:nvSpPr>
              <p:cNvPr id="413" name="Freihandform: Form 412">
                <a:extLst>
                  <a:ext uri="{FF2B5EF4-FFF2-40B4-BE49-F238E27FC236}">
                    <a16:creationId xmlns:a16="http://schemas.microsoft.com/office/drawing/2014/main" id="{F8985989-A082-4168-B572-56B10F966A19}"/>
                  </a:ext>
                </a:extLst>
              </p:cNvPr>
              <p:cNvSpPr/>
              <p:nvPr/>
            </p:nvSpPr>
            <p:spPr>
              <a:xfrm>
                <a:off x="2144395" y="4543668"/>
                <a:ext cx="493178" cy="15418"/>
              </a:xfrm>
              <a:custGeom>
                <a:avLst/>
                <a:gdLst>
                  <a:gd name="connsiteX0" fmla="*/ 0 w 493178"/>
                  <a:gd name="connsiteY0" fmla="*/ 0 h 15418"/>
                  <a:gd name="connsiteX1" fmla="*/ 493179 w 493178"/>
                  <a:gd name="connsiteY1" fmla="*/ 0 h 15418"/>
                  <a:gd name="connsiteX2" fmla="*/ 493179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9" y="0"/>
                    </a:lnTo>
                    <a:lnTo>
                      <a:pt x="49317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16" name="Freihandform: Form 415">
                <a:extLst>
                  <a:ext uri="{FF2B5EF4-FFF2-40B4-BE49-F238E27FC236}">
                    <a16:creationId xmlns:a16="http://schemas.microsoft.com/office/drawing/2014/main" id="{722BDAD8-5BFE-4B45-874A-D9BA7CFC0703}"/>
                  </a:ext>
                </a:extLst>
              </p:cNvPr>
              <p:cNvSpPr/>
              <p:nvPr/>
            </p:nvSpPr>
            <p:spPr>
              <a:xfrm>
                <a:off x="2221447" y="4512845"/>
                <a:ext cx="339060" cy="15418"/>
              </a:xfrm>
              <a:custGeom>
                <a:avLst/>
                <a:gdLst>
                  <a:gd name="connsiteX0" fmla="*/ 0 w 339060"/>
                  <a:gd name="connsiteY0" fmla="*/ 0 h 15418"/>
                  <a:gd name="connsiteX1" fmla="*/ 339060 w 339060"/>
                  <a:gd name="connsiteY1" fmla="*/ 0 h 15418"/>
                  <a:gd name="connsiteX2" fmla="*/ 339060 w 339060"/>
                  <a:gd name="connsiteY2" fmla="*/ 15419 h 15418"/>
                  <a:gd name="connsiteX3" fmla="*/ 0 w 339060"/>
                  <a:gd name="connsiteY3" fmla="*/ 15419 h 15418"/>
                </a:gdLst>
                <a:ahLst/>
                <a:cxnLst>
                  <a:cxn ang="0">
                    <a:pos x="connsiteX0" y="connsiteY0"/>
                  </a:cxn>
                  <a:cxn ang="0">
                    <a:pos x="connsiteX1" y="connsiteY1"/>
                  </a:cxn>
                  <a:cxn ang="0">
                    <a:pos x="connsiteX2" y="connsiteY2"/>
                  </a:cxn>
                  <a:cxn ang="0">
                    <a:pos x="connsiteX3" y="connsiteY3"/>
                  </a:cxn>
                </a:cxnLst>
                <a:rect l="l" t="t" r="r" b="b"/>
                <a:pathLst>
                  <a:path w="339060" h="15418">
                    <a:moveTo>
                      <a:pt x="0" y="0"/>
                    </a:moveTo>
                    <a:lnTo>
                      <a:pt x="339060" y="0"/>
                    </a:lnTo>
                    <a:lnTo>
                      <a:pt x="339060"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17" name="Freihandform: Form 416">
                <a:extLst>
                  <a:ext uri="{FF2B5EF4-FFF2-40B4-BE49-F238E27FC236}">
                    <a16:creationId xmlns:a16="http://schemas.microsoft.com/office/drawing/2014/main" id="{F0EAFC47-9FE5-4CF9-8F9C-98DD96283875}"/>
                  </a:ext>
                </a:extLst>
              </p:cNvPr>
              <p:cNvSpPr/>
              <p:nvPr/>
            </p:nvSpPr>
            <p:spPr>
              <a:xfrm>
                <a:off x="2283095" y="440496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18" name="Freihandform: Form 417">
                <a:extLst>
                  <a:ext uri="{FF2B5EF4-FFF2-40B4-BE49-F238E27FC236}">
                    <a16:creationId xmlns:a16="http://schemas.microsoft.com/office/drawing/2014/main" id="{4D5D68E2-BA72-4380-A57B-855925D7EA47}"/>
                  </a:ext>
                </a:extLst>
              </p:cNvPr>
              <p:cNvSpPr/>
              <p:nvPr/>
            </p:nvSpPr>
            <p:spPr>
              <a:xfrm>
                <a:off x="2313932" y="440496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19" name="Freihandform: Form 418">
                <a:extLst>
                  <a:ext uri="{FF2B5EF4-FFF2-40B4-BE49-F238E27FC236}">
                    <a16:creationId xmlns:a16="http://schemas.microsoft.com/office/drawing/2014/main" id="{ED5590BC-3537-4D32-B45C-15E85BF6D659}"/>
                  </a:ext>
                </a:extLst>
              </p:cNvPr>
              <p:cNvSpPr/>
              <p:nvPr/>
            </p:nvSpPr>
            <p:spPr>
              <a:xfrm>
                <a:off x="2252271" y="440496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20" name="Freihandform: Form 419">
                <a:extLst>
                  <a:ext uri="{FF2B5EF4-FFF2-40B4-BE49-F238E27FC236}">
                    <a16:creationId xmlns:a16="http://schemas.microsoft.com/office/drawing/2014/main" id="{C78BF595-8EAD-4D5D-873D-E2373B329EC6}"/>
                  </a:ext>
                </a:extLst>
              </p:cNvPr>
              <p:cNvSpPr/>
              <p:nvPr/>
            </p:nvSpPr>
            <p:spPr>
              <a:xfrm>
                <a:off x="2221447" y="440496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21" name="Freihandform: Form 420">
                <a:extLst>
                  <a:ext uri="{FF2B5EF4-FFF2-40B4-BE49-F238E27FC236}">
                    <a16:creationId xmlns:a16="http://schemas.microsoft.com/office/drawing/2014/main" id="{8B60E3D5-A80F-4328-9152-DF3878A5F1AE}"/>
                  </a:ext>
                </a:extLst>
              </p:cNvPr>
              <p:cNvSpPr/>
              <p:nvPr/>
            </p:nvSpPr>
            <p:spPr>
              <a:xfrm>
                <a:off x="2344756" y="440496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22" name="Freihandform: Form 421">
                <a:extLst>
                  <a:ext uri="{FF2B5EF4-FFF2-40B4-BE49-F238E27FC236}">
                    <a16:creationId xmlns:a16="http://schemas.microsoft.com/office/drawing/2014/main" id="{564303E1-7461-44A9-8359-39E8625DF2ED}"/>
                  </a:ext>
                </a:extLst>
              </p:cNvPr>
              <p:cNvSpPr/>
              <p:nvPr/>
            </p:nvSpPr>
            <p:spPr>
              <a:xfrm>
                <a:off x="2483455" y="440496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23" name="Freihandform: Form 422">
                <a:extLst>
                  <a:ext uri="{FF2B5EF4-FFF2-40B4-BE49-F238E27FC236}">
                    <a16:creationId xmlns:a16="http://schemas.microsoft.com/office/drawing/2014/main" id="{35B53844-B234-491A-97DF-6230E405F38F}"/>
                  </a:ext>
                </a:extLst>
              </p:cNvPr>
              <p:cNvSpPr/>
              <p:nvPr/>
            </p:nvSpPr>
            <p:spPr>
              <a:xfrm>
                <a:off x="2514279" y="440496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24" name="Freihandform: Form 423">
                <a:extLst>
                  <a:ext uri="{FF2B5EF4-FFF2-40B4-BE49-F238E27FC236}">
                    <a16:creationId xmlns:a16="http://schemas.microsoft.com/office/drawing/2014/main" id="{DAC45E3B-9615-4B11-9891-649728DE1602}"/>
                  </a:ext>
                </a:extLst>
              </p:cNvPr>
              <p:cNvSpPr/>
              <p:nvPr/>
            </p:nvSpPr>
            <p:spPr>
              <a:xfrm>
                <a:off x="2452632" y="440496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25" name="Freihandform: Form 424">
                <a:extLst>
                  <a:ext uri="{FF2B5EF4-FFF2-40B4-BE49-F238E27FC236}">
                    <a16:creationId xmlns:a16="http://schemas.microsoft.com/office/drawing/2014/main" id="{2DA01E51-BB10-48F0-BAFE-ED6089DA24AA}"/>
                  </a:ext>
                </a:extLst>
              </p:cNvPr>
              <p:cNvSpPr/>
              <p:nvPr/>
            </p:nvSpPr>
            <p:spPr>
              <a:xfrm>
                <a:off x="2421808" y="440496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26" name="Freihandform: Form 425">
                <a:extLst>
                  <a:ext uri="{FF2B5EF4-FFF2-40B4-BE49-F238E27FC236}">
                    <a16:creationId xmlns:a16="http://schemas.microsoft.com/office/drawing/2014/main" id="{32551433-7B0B-47C7-BCAB-A8944C9D14ED}"/>
                  </a:ext>
                </a:extLst>
              </p:cNvPr>
              <p:cNvSpPr/>
              <p:nvPr/>
            </p:nvSpPr>
            <p:spPr>
              <a:xfrm>
                <a:off x="2545103" y="440496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27" name="Freihandform: Form 426">
                <a:extLst>
                  <a:ext uri="{FF2B5EF4-FFF2-40B4-BE49-F238E27FC236}">
                    <a16:creationId xmlns:a16="http://schemas.microsoft.com/office/drawing/2014/main" id="{1456421F-503D-4D15-8379-ACAF4AAAAB64}"/>
                  </a:ext>
                </a:extLst>
              </p:cNvPr>
              <p:cNvSpPr/>
              <p:nvPr/>
            </p:nvSpPr>
            <p:spPr>
              <a:xfrm>
                <a:off x="2383282" y="4458914"/>
                <a:ext cx="15418" cy="61647"/>
              </a:xfrm>
              <a:custGeom>
                <a:avLst/>
                <a:gdLst>
                  <a:gd name="connsiteX0" fmla="*/ 0 w 15418"/>
                  <a:gd name="connsiteY0" fmla="*/ 0 h 61647"/>
                  <a:gd name="connsiteX1" fmla="*/ 15419 w 15418"/>
                  <a:gd name="connsiteY1" fmla="*/ 0 h 61647"/>
                  <a:gd name="connsiteX2" fmla="*/ 15419 w 15418"/>
                  <a:gd name="connsiteY2" fmla="*/ 61647 h 61647"/>
                  <a:gd name="connsiteX3" fmla="*/ 0 w 15418"/>
                  <a:gd name="connsiteY3" fmla="*/ 61647 h 61647"/>
                </a:gdLst>
                <a:ahLst/>
                <a:cxnLst>
                  <a:cxn ang="0">
                    <a:pos x="connsiteX0" y="connsiteY0"/>
                  </a:cxn>
                  <a:cxn ang="0">
                    <a:pos x="connsiteX1" y="connsiteY1"/>
                  </a:cxn>
                  <a:cxn ang="0">
                    <a:pos x="connsiteX2" y="connsiteY2"/>
                  </a:cxn>
                  <a:cxn ang="0">
                    <a:pos x="connsiteX3" y="connsiteY3"/>
                  </a:cxn>
                </a:cxnLst>
                <a:rect l="l" t="t" r="r" b="b"/>
                <a:pathLst>
                  <a:path w="15418" h="61647">
                    <a:moveTo>
                      <a:pt x="0" y="0"/>
                    </a:moveTo>
                    <a:lnTo>
                      <a:pt x="15419" y="0"/>
                    </a:lnTo>
                    <a:lnTo>
                      <a:pt x="15419" y="61647"/>
                    </a:lnTo>
                    <a:lnTo>
                      <a:pt x="0" y="61647"/>
                    </a:lnTo>
                    <a:close/>
                  </a:path>
                </a:pathLst>
              </a:custGeom>
              <a:solidFill>
                <a:schemeClr val="tx2"/>
              </a:solidFill>
              <a:ln w="1375" cap="flat">
                <a:noFill/>
                <a:prstDash val="solid"/>
                <a:miter/>
              </a:ln>
            </p:spPr>
            <p:txBody>
              <a:bodyPr rtlCol="0" anchor="ctr"/>
              <a:lstStyle/>
              <a:p>
                <a:endParaRPr lang="en-GB" dirty="0"/>
              </a:p>
            </p:txBody>
          </p:sp>
          <p:sp>
            <p:nvSpPr>
              <p:cNvPr id="428" name="Freihandform: Form 427">
                <a:extLst>
                  <a:ext uri="{FF2B5EF4-FFF2-40B4-BE49-F238E27FC236}">
                    <a16:creationId xmlns:a16="http://schemas.microsoft.com/office/drawing/2014/main" id="{ACBB96C6-A64A-45F6-AE53-0215247FE6EF}"/>
                  </a:ext>
                </a:extLst>
              </p:cNvPr>
              <p:cNvSpPr/>
              <p:nvPr/>
            </p:nvSpPr>
            <p:spPr>
              <a:xfrm>
                <a:off x="2159800" y="4189189"/>
                <a:ext cx="462368" cy="277426"/>
              </a:xfrm>
              <a:custGeom>
                <a:avLst/>
                <a:gdLst>
                  <a:gd name="connsiteX0" fmla="*/ 446950 w 462368"/>
                  <a:gd name="connsiteY0" fmla="*/ 277427 h 277426"/>
                  <a:gd name="connsiteX1" fmla="*/ 15419 w 462368"/>
                  <a:gd name="connsiteY1" fmla="*/ 277427 h 277426"/>
                  <a:gd name="connsiteX2" fmla="*/ 0 w 462368"/>
                  <a:gd name="connsiteY2" fmla="*/ 262008 h 277426"/>
                  <a:gd name="connsiteX3" fmla="*/ 0 w 462368"/>
                  <a:gd name="connsiteY3" fmla="*/ 15419 h 277426"/>
                  <a:gd name="connsiteX4" fmla="*/ 15419 w 462368"/>
                  <a:gd name="connsiteY4" fmla="*/ 0 h 277426"/>
                  <a:gd name="connsiteX5" fmla="*/ 446950 w 462368"/>
                  <a:gd name="connsiteY5" fmla="*/ 0 h 277426"/>
                  <a:gd name="connsiteX6" fmla="*/ 462369 w 462368"/>
                  <a:gd name="connsiteY6" fmla="*/ 15419 h 277426"/>
                  <a:gd name="connsiteX7" fmla="*/ 462369 w 462368"/>
                  <a:gd name="connsiteY7" fmla="*/ 262008 h 277426"/>
                  <a:gd name="connsiteX8" fmla="*/ 446950 w 462368"/>
                  <a:gd name="connsiteY8" fmla="*/ 277427 h 277426"/>
                  <a:gd name="connsiteX9" fmla="*/ 15419 w 462368"/>
                  <a:gd name="connsiteY9" fmla="*/ 15419 h 277426"/>
                  <a:gd name="connsiteX10" fmla="*/ 15419 w 462368"/>
                  <a:gd name="connsiteY10" fmla="*/ 262008 h 277426"/>
                  <a:gd name="connsiteX11" fmla="*/ 446964 w 462368"/>
                  <a:gd name="connsiteY11" fmla="*/ 262008 h 277426"/>
                  <a:gd name="connsiteX12" fmla="*/ 446950 w 462368"/>
                  <a:gd name="connsiteY12" fmla="*/ 15419 h 277426"/>
                  <a:gd name="connsiteX13" fmla="*/ 15419 w 462368"/>
                  <a:gd name="connsiteY13" fmla="*/ 15419 h 277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2368" h="277426">
                    <a:moveTo>
                      <a:pt x="446950" y="277427"/>
                    </a:moveTo>
                    <a:lnTo>
                      <a:pt x="15419" y="277427"/>
                    </a:lnTo>
                    <a:cubicBezTo>
                      <a:pt x="6917" y="277427"/>
                      <a:pt x="0" y="270510"/>
                      <a:pt x="0" y="262008"/>
                    </a:cubicBezTo>
                    <a:lnTo>
                      <a:pt x="0" y="15419"/>
                    </a:lnTo>
                    <a:cubicBezTo>
                      <a:pt x="0" y="6917"/>
                      <a:pt x="6917" y="0"/>
                      <a:pt x="15419" y="0"/>
                    </a:cubicBezTo>
                    <a:lnTo>
                      <a:pt x="446950" y="0"/>
                    </a:lnTo>
                    <a:cubicBezTo>
                      <a:pt x="455452" y="0"/>
                      <a:pt x="462369" y="6917"/>
                      <a:pt x="462369" y="15419"/>
                    </a:cubicBezTo>
                    <a:lnTo>
                      <a:pt x="462369" y="262008"/>
                    </a:lnTo>
                    <a:cubicBezTo>
                      <a:pt x="462369" y="270510"/>
                      <a:pt x="455452" y="277427"/>
                      <a:pt x="446950" y="277427"/>
                    </a:cubicBezTo>
                    <a:close/>
                    <a:moveTo>
                      <a:pt x="15419" y="15419"/>
                    </a:moveTo>
                    <a:lnTo>
                      <a:pt x="15419" y="262008"/>
                    </a:lnTo>
                    <a:lnTo>
                      <a:pt x="446964" y="262008"/>
                    </a:lnTo>
                    <a:lnTo>
                      <a:pt x="446950" y="15419"/>
                    </a:lnTo>
                    <a:lnTo>
                      <a:pt x="15419" y="15419"/>
                    </a:lnTo>
                    <a:close/>
                  </a:path>
                </a:pathLst>
              </a:custGeom>
              <a:solidFill>
                <a:schemeClr val="tx2"/>
              </a:solidFill>
              <a:ln w="1375" cap="flat">
                <a:noFill/>
                <a:prstDash val="solid"/>
                <a:miter/>
              </a:ln>
            </p:spPr>
            <p:txBody>
              <a:bodyPr rtlCol="0" anchor="ctr"/>
              <a:lstStyle/>
              <a:p>
                <a:endParaRPr lang="en-GB" dirty="0"/>
              </a:p>
            </p:txBody>
          </p:sp>
        </p:grpSp>
      </p:grpSp>
      <p:grpSp>
        <p:nvGrpSpPr>
          <p:cNvPr id="681" name="Gruppieren 680">
            <a:extLst>
              <a:ext uri="{FF2B5EF4-FFF2-40B4-BE49-F238E27FC236}">
                <a16:creationId xmlns:a16="http://schemas.microsoft.com/office/drawing/2014/main" id="{CDF71972-4A6E-4634-B26F-4D662833E630}"/>
              </a:ext>
            </a:extLst>
          </p:cNvPr>
          <p:cNvGrpSpPr>
            <a:grpSpLocks noChangeAspect="1"/>
          </p:cNvGrpSpPr>
          <p:nvPr/>
        </p:nvGrpSpPr>
        <p:grpSpPr>
          <a:xfrm>
            <a:off x="2254200" y="3273399"/>
            <a:ext cx="216006" cy="432000"/>
            <a:chOff x="2267680" y="3241375"/>
            <a:chExt cx="246603" cy="493193"/>
          </a:xfrm>
        </p:grpSpPr>
        <p:grpSp>
          <p:nvGrpSpPr>
            <p:cNvPr id="680" name="Gruppieren 679">
              <a:extLst>
                <a:ext uri="{FF2B5EF4-FFF2-40B4-BE49-F238E27FC236}">
                  <a16:creationId xmlns:a16="http://schemas.microsoft.com/office/drawing/2014/main" id="{F0A733F4-CC9B-428B-BB17-25DC509C72DC}"/>
                </a:ext>
              </a:extLst>
            </p:cNvPr>
            <p:cNvGrpSpPr/>
            <p:nvPr/>
          </p:nvGrpSpPr>
          <p:grpSpPr>
            <a:xfrm>
              <a:off x="2267680" y="3241375"/>
              <a:ext cx="246603" cy="493193"/>
              <a:chOff x="2267676" y="3241359"/>
              <a:chExt cx="246603" cy="493191"/>
            </a:xfrm>
          </p:grpSpPr>
          <p:sp>
            <p:nvSpPr>
              <p:cNvPr id="430" name="Freihandform: Form 429">
                <a:extLst>
                  <a:ext uri="{FF2B5EF4-FFF2-40B4-BE49-F238E27FC236}">
                    <a16:creationId xmlns:a16="http://schemas.microsoft.com/office/drawing/2014/main" id="{B9A25B8F-67F3-488D-97E3-60FE33969F96}"/>
                  </a:ext>
                </a:extLst>
              </p:cNvPr>
              <p:cNvSpPr/>
              <p:nvPr/>
            </p:nvSpPr>
            <p:spPr>
              <a:xfrm>
                <a:off x="2398687" y="3549595"/>
                <a:ext cx="46242" cy="100187"/>
              </a:xfrm>
              <a:custGeom>
                <a:avLst/>
                <a:gdLst>
                  <a:gd name="connsiteX0" fmla="*/ 15419 w 46242"/>
                  <a:gd name="connsiteY0" fmla="*/ 100187 h 100187"/>
                  <a:gd name="connsiteX1" fmla="*/ 0 w 46242"/>
                  <a:gd name="connsiteY1" fmla="*/ 100187 h 100187"/>
                  <a:gd name="connsiteX2" fmla="*/ 0 w 46242"/>
                  <a:gd name="connsiteY2" fmla="*/ 77066 h 100187"/>
                  <a:gd name="connsiteX3" fmla="*/ 1681 w 46242"/>
                  <a:gd name="connsiteY3" fmla="*/ 72257 h 100187"/>
                  <a:gd name="connsiteX4" fmla="*/ 30824 w 46242"/>
                  <a:gd name="connsiteY4" fmla="*/ 0 h 100187"/>
                  <a:gd name="connsiteX5" fmla="*/ 46242 w 46242"/>
                  <a:gd name="connsiteY5" fmla="*/ 0 h 100187"/>
                  <a:gd name="connsiteX6" fmla="*/ 15419 w 46242"/>
                  <a:gd name="connsiteY6" fmla="*/ 79670 h 100187"/>
                  <a:gd name="connsiteX7" fmla="*/ 15419 w 46242"/>
                  <a:gd name="connsiteY7" fmla="*/ 100187 h 10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42" h="100187">
                    <a:moveTo>
                      <a:pt x="15419" y="100187"/>
                    </a:moveTo>
                    <a:lnTo>
                      <a:pt x="0" y="100187"/>
                    </a:lnTo>
                    <a:lnTo>
                      <a:pt x="0" y="77066"/>
                    </a:lnTo>
                    <a:cubicBezTo>
                      <a:pt x="0" y="75316"/>
                      <a:pt x="593" y="73621"/>
                      <a:pt x="1681" y="72257"/>
                    </a:cubicBezTo>
                    <a:cubicBezTo>
                      <a:pt x="1970" y="71885"/>
                      <a:pt x="30824" y="35302"/>
                      <a:pt x="30824" y="0"/>
                    </a:cubicBezTo>
                    <a:lnTo>
                      <a:pt x="46242" y="0"/>
                    </a:lnTo>
                    <a:cubicBezTo>
                      <a:pt x="46242" y="35825"/>
                      <a:pt x="22157" y="70631"/>
                      <a:pt x="15419" y="79670"/>
                    </a:cubicBezTo>
                    <a:lnTo>
                      <a:pt x="15419" y="100187"/>
                    </a:lnTo>
                    <a:close/>
                  </a:path>
                </a:pathLst>
              </a:custGeom>
              <a:solidFill>
                <a:schemeClr val="tx2"/>
              </a:solidFill>
              <a:ln w="1375" cap="flat">
                <a:noFill/>
                <a:prstDash val="solid"/>
                <a:miter/>
              </a:ln>
            </p:spPr>
            <p:txBody>
              <a:bodyPr rtlCol="0" anchor="ctr"/>
              <a:lstStyle/>
              <a:p>
                <a:endParaRPr lang="en-GB" dirty="0"/>
              </a:p>
            </p:txBody>
          </p:sp>
          <p:sp>
            <p:nvSpPr>
              <p:cNvPr id="431" name="Freihandform: Form 430">
                <a:extLst>
                  <a:ext uri="{FF2B5EF4-FFF2-40B4-BE49-F238E27FC236}">
                    <a16:creationId xmlns:a16="http://schemas.microsoft.com/office/drawing/2014/main" id="{56579A1A-A0C8-46C6-A131-332D50F93E15}"/>
                  </a:ext>
                </a:extLst>
              </p:cNvPr>
              <p:cNvSpPr/>
              <p:nvPr/>
            </p:nvSpPr>
            <p:spPr>
              <a:xfrm>
                <a:off x="2267676" y="3642080"/>
                <a:ext cx="161834" cy="92470"/>
              </a:xfrm>
              <a:custGeom>
                <a:avLst/>
                <a:gdLst>
                  <a:gd name="connsiteX0" fmla="*/ 161834 w 161834"/>
                  <a:gd name="connsiteY0" fmla="*/ 92471 h 92470"/>
                  <a:gd name="connsiteX1" fmla="*/ 146416 w 161834"/>
                  <a:gd name="connsiteY1" fmla="*/ 92471 h 92470"/>
                  <a:gd name="connsiteX2" fmla="*/ 146416 w 161834"/>
                  <a:gd name="connsiteY2" fmla="*/ 15405 h 92470"/>
                  <a:gd name="connsiteX3" fmla="*/ 15419 w 161834"/>
                  <a:gd name="connsiteY3" fmla="*/ 15405 h 92470"/>
                  <a:gd name="connsiteX4" fmla="*/ 15419 w 161834"/>
                  <a:gd name="connsiteY4" fmla="*/ 92471 h 92470"/>
                  <a:gd name="connsiteX5" fmla="*/ 0 w 161834"/>
                  <a:gd name="connsiteY5" fmla="*/ 92471 h 92470"/>
                  <a:gd name="connsiteX6" fmla="*/ 0 w 161834"/>
                  <a:gd name="connsiteY6" fmla="*/ 7702 h 92470"/>
                  <a:gd name="connsiteX7" fmla="*/ 7702 w 161834"/>
                  <a:gd name="connsiteY7" fmla="*/ 0 h 92470"/>
                  <a:gd name="connsiteX8" fmla="*/ 154118 w 161834"/>
                  <a:gd name="connsiteY8" fmla="*/ 0 h 92470"/>
                  <a:gd name="connsiteX9" fmla="*/ 161821 w 161834"/>
                  <a:gd name="connsiteY9" fmla="*/ 7702 h 92470"/>
                  <a:gd name="connsiteX10" fmla="*/ 161821 w 161834"/>
                  <a:gd name="connsiteY10" fmla="*/ 92471 h 92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1834" h="92470">
                    <a:moveTo>
                      <a:pt x="161834" y="92471"/>
                    </a:moveTo>
                    <a:lnTo>
                      <a:pt x="146416" y="92471"/>
                    </a:lnTo>
                    <a:lnTo>
                      <a:pt x="146416" y="15405"/>
                    </a:lnTo>
                    <a:lnTo>
                      <a:pt x="15419" y="15405"/>
                    </a:lnTo>
                    <a:lnTo>
                      <a:pt x="15419" y="92471"/>
                    </a:lnTo>
                    <a:lnTo>
                      <a:pt x="0" y="92471"/>
                    </a:lnTo>
                    <a:lnTo>
                      <a:pt x="0" y="7702"/>
                    </a:lnTo>
                    <a:cubicBezTo>
                      <a:pt x="0" y="3445"/>
                      <a:pt x="3445" y="0"/>
                      <a:pt x="7702" y="0"/>
                    </a:cubicBezTo>
                    <a:lnTo>
                      <a:pt x="154118" y="0"/>
                    </a:lnTo>
                    <a:cubicBezTo>
                      <a:pt x="158376" y="0"/>
                      <a:pt x="161821" y="3445"/>
                      <a:pt x="161821" y="7702"/>
                    </a:cubicBezTo>
                    <a:lnTo>
                      <a:pt x="161821" y="92471"/>
                    </a:lnTo>
                    <a:close/>
                  </a:path>
                </a:pathLst>
              </a:custGeom>
              <a:solidFill>
                <a:schemeClr val="tx2"/>
              </a:solidFill>
              <a:ln w="1375" cap="flat">
                <a:noFill/>
                <a:prstDash val="solid"/>
                <a:miter/>
              </a:ln>
            </p:spPr>
            <p:txBody>
              <a:bodyPr rtlCol="0" anchor="ctr"/>
              <a:lstStyle/>
              <a:p>
                <a:endParaRPr lang="en-GB" dirty="0"/>
              </a:p>
            </p:txBody>
          </p:sp>
          <p:sp>
            <p:nvSpPr>
              <p:cNvPr id="432" name="Freihandform: Form 431">
                <a:extLst>
                  <a:ext uri="{FF2B5EF4-FFF2-40B4-BE49-F238E27FC236}">
                    <a16:creationId xmlns:a16="http://schemas.microsoft.com/office/drawing/2014/main" id="{A3B6D32B-238E-4894-A8B1-4EFC434D1C39}"/>
                  </a:ext>
                </a:extLst>
              </p:cNvPr>
              <p:cNvSpPr/>
              <p:nvPr/>
            </p:nvSpPr>
            <p:spPr>
              <a:xfrm>
                <a:off x="2275392" y="3672903"/>
                <a:ext cx="146415" cy="15418"/>
              </a:xfrm>
              <a:custGeom>
                <a:avLst/>
                <a:gdLst>
                  <a:gd name="connsiteX0" fmla="*/ 0 w 146415"/>
                  <a:gd name="connsiteY0" fmla="*/ 0 h 15418"/>
                  <a:gd name="connsiteX1" fmla="*/ 146416 w 146415"/>
                  <a:gd name="connsiteY1" fmla="*/ 0 h 15418"/>
                  <a:gd name="connsiteX2" fmla="*/ 146416 w 146415"/>
                  <a:gd name="connsiteY2" fmla="*/ 15419 h 15418"/>
                  <a:gd name="connsiteX3" fmla="*/ 0 w 146415"/>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46415" h="15418">
                    <a:moveTo>
                      <a:pt x="0" y="0"/>
                    </a:moveTo>
                    <a:lnTo>
                      <a:pt x="146416" y="0"/>
                    </a:lnTo>
                    <a:lnTo>
                      <a:pt x="146416"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33" name="Freihandform: Form 432">
                <a:extLst>
                  <a:ext uri="{FF2B5EF4-FFF2-40B4-BE49-F238E27FC236}">
                    <a16:creationId xmlns:a16="http://schemas.microsoft.com/office/drawing/2014/main" id="{70919C29-55AE-41EE-BC17-3389973CBC00}"/>
                  </a:ext>
                </a:extLst>
              </p:cNvPr>
              <p:cNvSpPr/>
              <p:nvPr/>
            </p:nvSpPr>
            <p:spPr>
              <a:xfrm>
                <a:off x="2267676" y="3366940"/>
                <a:ext cx="67103" cy="259720"/>
              </a:xfrm>
              <a:custGeom>
                <a:avLst/>
                <a:gdLst>
                  <a:gd name="connsiteX0" fmla="*/ 30837 w 67103"/>
                  <a:gd name="connsiteY0" fmla="*/ 259721 h 259720"/>
                  <a:gd name="connsiteX1" fmla="*/ 15419 w 67103"/>
                  <a:gd name="connsiteY1" fmla="*/ 259721 h 259720"/>
                  <a:gd name="connsiteX2" fmla="*/ 15419 w 67103"/>
                  <a:gd name="connsiteY2" fmla="*/ 222145 h 259720"/>
                  <a:gd name="connsiteX3" fmla="*/ 234 w 67103"/>
                  <a:gd name="connsiteY3" fmla="*/ 161421 h 259720"/>
                  <a:gd name="connsiteX4" fmla="*/ 0 w 67103"/>
                  <a:gd name="connsiteY4" fmla="*/ 159561 h 259720"/>
                  <a:gd name="connsiteX5" fmla="*/ 0 w 67103"/>
                  <a:gd name="connsiteY5" fmla="*/ 59388 h 259720"/>
                  <a:gd name="connsiteX6" fmla="*/ 2260 w 67103"/>
                  <a:gd name="connsiteY6" fmla="*/ 53945 h 259720"/>
                  <a:gd name="connsiteX7" fmla="*/ 56204 w 67103"/>
                  <a:gd name="connsiteY7" fmla="*/ 0 h 259720"/>
                  <a:gd name="connsiteX8" fmla="*/ 67104 w 67103"/>
                  <a:gd name="connsiteY8" fmla="*/ 10899 h 259720"/>
                  <a:gd name="connsiteX9" fmla="*/ 15419 w 67103"/>
                  <a:gd name="connsiteY9" fmla="*/ 62584 h 259720"/>
                  <a:gd name="connsiteX10" fmla="*/ 15419 w 67103"/>
                  <a:gd name="connsiteY10" fmla="*/ 158624 h 259720"/>
                  <a:gd name="connsiteX11" fmla="*/ 30603 w 67103"/>
                  <a:gd name="connsiteY11" fmla="*/ 219348 h 259720"/>
                  <a:gd name="connsiteX12" fmla="*/ 30837 w 67103"/>
                  <a:gd name="connsiteY12" fmla="*/ 221208 h 259720"/>
                  <a:gd name="connsiteX13" fmla="*/ 30837 w 67103"/>
                  <a:gd name="connsiteY13" fmla="*/ 259721 h 259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103" h="259720">
                    <a:moveTo>
                      <a:pt x="30837" y="259721"/>
                    </a:moveTo>
                    <a:lnTo>
                      <a:pt x="15419" y="259721"/>
                    </a:lnTo>
                    <a:lnTo>
                      <a:pt x="15419" y="222145"/>
                    </a:lnTo>
                    <a:lnTo>
                      <a:pt x="234" y="161421"/>
                    </a:lnTo>
                    <a:cubicBezTo>
                      <a:pt x="83" y="160815"/>
                      <a:pt x="0" y="160181"/>
                      <a:pt x="0" y="159561"/>
                    </a:cubicBezTo>
                    <a:lnTo>
                      <a:pt x="0" y="59388"/>
                    </a:lnTo>
                    <a:cubicBezTo>
                      <a:pt x="0" y="57334"/>
                      <a:pt x="813" y="55378"/>
                      <a:pt x="2260" y="53945"/>
                    </a:cubicBezTo>
                    <a:lnTo>
                      <a:pt x="56204" y="0"/>
                    </a:lnTo>
                    <a:lnTo>
                      <a:pt x="67104" y="10899"/>
                    </a:lnTo>
                    <a:lnTo>
                      <a:pt x="15419" y="62584"/>
                    </a:lnTo>
                    <a:lnTo>
                      <a:pt x="15419" y="158624"/>
                    </a:lnTo>
                    <a:lnTo>
                      <a:pt x="30603" y="219348"/>
                    </a:lnTo>
                    <a:cubicBezTo>
                      <a:pt x="30755" y="219954"/>
                      <a:pt x="30837" y="220588"/>
                      <a:pt x="30837" y="221208"/>
                    </a:cubicBezTo>
                    <a:lnTo>
                      <a:pt x="30837" y="259721"/>
                    </a:lnTo>
                    <a:close/>
                  </a:path>
                </a:pathLst>
              </a:custGeom>
              <a:solidFill>
                <a:schemeClr val="tx2"/>
              </a:solidFill>
              <a:ln w="1375" cap="flat">
                <a:noFill/>
                <a:prstDash val="solid"/>
                <a:miter/>
              </a:ln>
            </p:spPr>
            <p:txBody>
              <a:bodyPr rtlCol="0" anchor="ctr"/>
              <a:lstStyle/>
              <a:p>
                <a:endParaRPr lang="en-GB" dirty="0"/>
              </a:p>
            </p:txBody>
          </p:sp>
          <p:sp>
            <p:nvSpPr>
              <p:cNvPr id="434" name="Freihandform: Form 433">
                <a:extLst>
                  <a:ext uri="{FF2B5EF4-FFF2-40B4-BE49-F238E27FC236}">
                    <a16:creationId xmlns:a16="http://schemas.microsoft.com/office/drawing/2014/main" id="{F78D0EA4-7BDC-40DB-8F6A-9C7B5662E968}"/>
                  </a:ext>
                </a:extLst>
              </p:cNvPr>
              <p:cNvSpPr/>
              <p:nvPr/>
            </p:nvSpPr>
            <p:spPr>
              <a:xfrm>
                <a:off x="2321621" y="3241359"/>
                <a:ext cx="192658" cy="327100"/>
              </a:xfrm>
              <a:custGeom>
                <a:avLst/>
                <a:gdLst>
                  <a:gd name="connsiteX0" fmla="*/ 45429 w 192658"/>
                  <a:gd name="connsiteY0" fmla="*/ 327100 h 327100"/>
                  <a:gd name="connsiteX1" fmla="*/ 31637 w 192658"/>
                  <a:gd name="connsiteY1" fmla="*/ 320211 h 327100"/>
                  <a:gd name="connsiteX2" fmla="*/ 100091 w 192658"/>
                  <a:gd name="connsiteY2" fmla="*/ 183302 h 327100"/>
                  <a:gd name="connsiteX3" fmla="*/ 87676 w 192658"/>
                  <a:gd name="connsiteY3" fmla="*/ 169813 h 327100"/>
                  <a:gd name="connsiteX4" fmla="*/ 13145 w 192658"/>
                  <a:gd name="connsiteY4" fmla="*/ 244343 h 327100"/>
                  <a:gd name="connsiteX5" fmla="*/ 4754 w 192658"/>
                  <a:gd name="connsiteY5" fmla="*/ 246010 h 327100"/>
                  <a:gd name="connsiteX6" fmla="*/ 0 w 192658"/>
                  <a:gd name="connsiteY6" fmla="*/ 238887 h 327100"/>
                  <a:gd name="connsiteX7" fmla="*/ 0 w 192658"/>
                  <a:gd name="connsiteY7" fmla="*/ 15419 h 327100"/>
                  <a:gd name="connsiteX8" fmla="*/ 15419 w 192658"/>
                  <a:gd name="connsiteY8" fmla="*/ 0 h 327100"/>
                  <a:gd name="connsiteX9" fmla="*/ 177239 w 192658"/>
                  <a:gd name="connsiteY9" fmla="*/ 0 h 327100"/>
                  <a:gd name="connsiteX10" fmla="*/ 192658 w 192658"/>
                  <a:gd name="connsiteY10" fmla="*/ 15419 h 327100"/>
                  <a:gd name="connsiteX11" fmla="*/ 192658 w 192658"/>
                  <a:gd name="connsiteY11" fmla="*/ 277427 h 327100"/>
                  <a:gd name="connsiteX12" fmla="*/ 177239 w 192658"/>
                  <a:gd name="connsiteY12" fmla="*/ 292845 h 327100"/>
                  <a:gd name="connsiteX13" fmla="*/ 84768 w 192658"/>
                  <a:gd name="connsiteY13" fmla="*/ 292845 h 327100"/>
                  <a:gd name="connsiteX14" fmla="*/ 84768 w 192658"/>
                  <a:gd name="connsiteY14" fmla="*/ 277427 h 327100"/>
                  <a:gd name="connsiteX15" fmla="*/ 177239 w 192658"/>
                  <a:gd name="connsiteY15" fmla="*/ 277427 h 327100"/>
                  <a:gd name="connsiteX16" fmla="*/ 177239 w 192658"/>
                  <a:gd name="connsiteY16" fmla="*/ 15419 h 327100"/>
                  <a:gd name="connsiteX17" fmla="*/ 15419 w 192658"/>
                  <a:gd name="connsiteY17" fmla="*/ 15419 h 327100"/>
                  <a:gd name="connsiteX18" fmla="*/ 15419 w 192658"/>
                  <a:gd name="connsiteY18" fmla="*/ 220285 h 327100"/>
                  <a:gd name="connsiteX19" fmla="*/ 79326 w 192658"/>
                  <a:gd name="connsiteY19" fmla="*/ 156378 h 327100"/>
                  <a:gd name="connsiteX20" fmla="*/ 84768 w 192658"/>
                  <a:gd name="connsiteY20" fmla="*/ 154118 h 327100"/>
                  <a:gd name="connsiteX21" fmla="*/ 115592 w 192658"/>
                  <a:gd name="connsiteY21" fmla="*/ 184942 h 327100"/>
                  <a:gd name="connsiteX22" fmla="*/ 114779 w 192658"/>
                  <a:gd name="connsiteY22" fmla="*/ 188387 h 327100"/>
                  <a:gd name="connsiteX23" fmla="*/ 45429 w 192658"/>
                  <a:gd name="connsiteY23" fmla="*/ 327100 h 327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2658" h="327100">
                    <a:moveTo>
                      <a:pt x="45429" y="327100"/>
                    </a:moveTo>
                    <a:lnTo>
                      <a:pt x="31637" y="320211"/>
                    </a:lnTo>
                    <a:lnTo>
                      <a:pt x="100091" y="183302"/>
                    </a:lnTo>
                    <a:cubicBezTo>
                      <a:pt x="99374" y="176551"/>
                      <a:pt x="94262" y="171080"/>
                      <a:pt x="87676" y="169813"/>
                    </a:cubicBezTo>
                    <a:lnTo>
                      <a:pt x="13145" y="244343"/>
                    </a:lnTo>
                    <a:cubicBezTo>
                      <a:pt x="10940" y="246548"/>
                      <a:pt x="7633" y="247223"/>
                      <a:pt x="4754" y="246010"/>
                    </a:cubicBezTo>
                    <a:cubicBezTo>
                      <a:pt x="1874" y="244825"/>
                      <a:pt x="0" y="242001"/>
                      <a:pt x="0" y="238887"/>
                    </a:cubicBezTo>
                    <a:lnTo>
                      <a:pt x="0" y="15419"/>
                    </a:lnTo>
                    <a:cubicBezTo>
                      <a:pt x="0" y="6917"/>
                      <a:pt x="6917" y="0"/>
                      <a:pt x="15419" y="0"/>
                    </a:cubicBezTo>
                    <a:lnTo>
                      <a:pt x="177239" y="0"/>
                    </a:lnTo>
                    <a:cubicBezTo>
                      <a:pt x="185741" y="0"/>
                      <a:pt x="192658" y="6917"/>
                      <a:pt x="192658" y="15419"/>
                    </a:cubicBezTo>
                    <a:lnTo>
                      <a:pt x="192658" y="277427"/>
                    </a:lnTo>
                    <a:cubicBezTo>
                      <a:pt x="192658" y="285928"/>
                      <a:pt x="185741" y="292845"/>
                      <a:pt x="177239" y="292845"/>
                    </a:cubicBezTo>
                    <a:lnTo>
                      <a:pt x="84768" y="292845"/>
                    </a:lnTo>
                    <a:lnTo>
                      <a:pt x="84768" y="277427"/>
                    </a:lnTo>
                    <a:lnTo>
                      <a:pt x="177239" y="277427"/>
                    </a:lnTo>
                    <a:lnTo>
                      <a:pt x="177239" y="15419"/>
                    </a:lnTo>
                    <a:lnTo>
                      <a:pt x="15419" y="15419"/>
                    </a:lnTo>
                    <a:lnTo>
                      <a:pt x="15419" y="220285"/>
                    </a:lnTo>
                    <a:lnTo>
                      <a:pt x="79326" y="156378"/>
                    </a:lnTo>
                    <a:cubicBezTo>
                      <a:pt x="80773" y="154931"/>
                      <a:pt x="82729" y="154118"/>
                      <a:pt x="84768" y="154118"/>
                    </a:cubicBezTo>
                    <a:cubicBezTo>
                      <a:pt x="101772" y="154118"/>
                      <a:pt x="115592" y="167939"/>
                      <a:pt x="115592" y="184942"/>
                    </a:cubicBezTo>
                    <a:cubicBezTo>
                      <a:pt x="115592" y="186141"/>
                      <a:pt x="115316" y="187326"/>
                      <a:pt x="114779" y="188387"/>
                    </a:cubicBezTo>
                    <a:lnTo>
                      <a:pt x="45429" y="327100"/>
                    </a:lnTo>
                    <a:close/>
                  </a:path>
                </a:pathLst>
              </a:custGeom>
              <a:solidFill>
                <a:schemeClr val="tx2"/>
              </a:solidFill>
              <a:ln w="1375" cap="flat">
                <a:noFill/>
                <a:prstDash val="solid"/>
                <a:miter/>
              </a:ln>
            </p:spPr>
            <p:txBody>
              <a:bodyPr rtlCol="0" anchor="ctr"/>
              <a:lstStyle/>
              <a:p>
                <a:endParaRPr lang="en-GB" dirty="0"/>
              </a:p>
            </p:txBody>
          </p:sp>
        </p:grpSp>
        <p:grpSp>
          <p:nvGrpSpPr>
            <p:cNvPr id="679" name="Gruppieren 678">
              <a:extLst>
                <a:ext uri="{FF2B5EF4-FFF2-40B4-BE49-F238E27FC236}">
                  <a16:creationId xmlns:a16="http://schemas.microsoft.com/office/drawing/2014/main" id="{FAD29C4B-AF3B-42EC-9352-597A3E917D22}"/>
                </a:ext>
              </a:extLst>
            </p:cNvPr>
            <p:cNvGrpSpPr/>
            <p:nvPr/>
          </p:nvGrpSpPr>
          <p:grpSpPr>
            <a:xfrm>
              <a:off x="2352458" y="3272182"/>
              <a:ext cx="77066" cy="15418"/>
              <a:chOff x="2352458" y="3272182"/>
              <a:chExt cx="77066" cy="15418"/>
            </a:xfrm>
          </p:grpSpPr>
          <p:sp>
            <p:nvSpPr>
              <p:cNvPr id="435" name="Freihandform: Form 434">
                <a:extLst>
                  <a:ext uri="{FF2B5EF4-FFF2-40B4-BE49-F238E27FC236}">
                    <a16:creationId xmlns:a16="http://schemas.microsoft.com/office/drawing/2014/main" id="{1222EFAB-0810-445D-8C5F-8F578D801A38}"/>
                  </a:ext>
                </a:extLst>
              </p:cNvPr>
              <p:cNvSpPr/>
              <p:nvPr/>
            </p:nvSpPr>
            <p:spPr>
              <a:xfrm>
                <a:off x="2352458" y="3272182"/>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436" name="Freihandform: Form 435">
                <a:extLst>
                  <a:ext uri="{FF2B5EF4-FFF2-40B4-BE49-F238E27FC236}">
                    <a16:creationId xmlns:a16="http://schemas.microsoft.com/office/drawing/2014/main" id="{92CC3DA1-17F4-4899-98EC-5928ED289166}"/>
                  </a:ext>
                </a:extLst>
              </p:cNvPr>
              <p:cNvSpPr/>
              <p:nvPr/>
            </p:nvSpPr>
            <p:spPr>
              <a:xfrm>
                <a:off x="2383282" y="3272182"/>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437" name="Freihandform: Form 436">
                <a:extLst>
                  <a:ext uri="{FF2B5EF4-FFF2-40B4-BE49-F238E27FC236}">
                    <a16:creationId xmlns:a16="http://schemas.microsoft.com/office/drawing/2014/main" id="{71F92BC0-F81F-440B-9179-DF738D27A8D7}"/>
                  </a:ext>
                </a:extLst>
              </p:cNvPr>
              <p:cNvSpPr/>
              <p:nvPr/>
            </p:nvSpPr>
            <p:spPr>
              <a:xfrm>
                <a:off x="2414106" y="3272182"/>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grpSp>
      </p:grpSp>
      <p:grpSp>
        <p:nvGrpSpPr>
          <p:cNvPr id="675" name="Gruppieren 674">
            <a:extLst>
              <a:ext uri="{FF2B5EF4-FFF2-40B4-BE49-F238E27FC236}">
                <a16:creationId xmlns:a16="http://schemas.microsoft.com/office/drawing/2014/main" id="{2C352BFC-D635-4BA2-B685-B7F79DAFD5C2}"/>
              </a:ext>
            </a:extLst>
          </p:cNvPr>
          <p:cNvGrpSpPr>
            <a:grpSpLocks noChangeAspect="1"/>
          </p:cNvGrpSpPr>
          <p:nvPr/>
        </p:nvGrpSpPr>
        <p:grpSpPr>
          <a:xfrm>
            <a:off x="484161" y="3273397"/>
            <a:ext cx="431994" cy="432000"/>
            <a:chOff x="510720" y="3241346"/>
            <a:chExt cx="493196" cy="493204"/>
          </a:xfrm>
        </p:grpSpPr>
        <p:grpSp>
          <p:nvGrpSpPr>
            <p:cNvPr id="672" name="Gruppieren 671">
              <a:extLst>
                <a:ext uri="{FF2B5EF4-FFF2-40B4-BE49-F238E27FC236}">
                  <a16:creationId xmlns:a16="http://schemas.microsoft.com/office/drawing/2014/main" id="{27342698-8046-4C48-A923-F791FF4D64A8}"/>
                </a:ext>
              </a:extLst>
            </p:cNvPr>
            <p:cNvGrpSpPr/>
            <p:nvPr/>
          </p:nvGrpSpPr>
          <p:grpSpPr>
            <a:xfrm>
              <a:off x="510720" y="3356951"/>
              <a:ext cx="493196" cy="184941"/>
              <a:chOff x="510719" y="3356951"/>
              <a:chExt cx="493195" cy="184941"/>
            </a:xfrm>
            <a:solidFill>
              <a:schemeClr val="accent1"/>
            </a:solidFill>
          </p:grpSpPr>
          <p:sp>
            <p:nvSpPr>
              <p:cNvPr id="446" name="Freihandform: Form 445">
                <a:extLst>
                  <a:ext uri="{FF2B5EF4-FFF2-40B4-BE49-F238E27FC236}">
                    <a16:creationId xmlns:a16="http://schemas.microsoft.com/office/drawing/2014/main" id="{20657E5E-6516-4ECC-A3CA-D2970FC56A5C}"/>
                  </a:ext>
                </a:extLst>
              </p:cNvPr>
              <p:cNvSpPr/>
              <p:nvPr/>
            </p:nvSpPr>
            <p:spPr>
              <a:xfrm>
                <a:off x="572375" y="3387774"/>
                <a:ext cx="123294" cy="123294"/>
              </a:xfrm>
              <a:custGeom>
                <a:avLst/>
                <a:gdLst>
                  <a:gd name="connsiteX0" fmla="*/ 123295 w 123294"/>
                  <a:gd name="connsiteY0" fmla="*/ 123295 h 123294"/>
                  <a:gd name="connsiteX1" fmla="*/ 7702 w 123294"/>
                  <a:gd name="connsiteY1" fmla="*/ 123295 h 123294"/>
                  <a:gd name="connsiteX2" fmla="*/ 0 w 123294"/>
                  <a:gd name="connsiteY2" fmla="*/ 115592 h 123294"/>
                  <a:gd name="connsiteX3" fmla="*/ 0 w 123294"/>
                  <a:gd name="connsiteY3" fmla="*/ 7702 h 123294"/>
                  <a:gd name="connsiteX4" fmla="*/ 7702 w 123294"/>
                  <a:gd name="connsiteY4" fmla="*/ 0 h 123294"/>
                  <a:gd name="connsiteX5" fmla="*/ 123295 w 123294"/>
                  <a:gd name="connsiteY5" fmla="*/ 0 h 123294"/>
                  <a:gd name="connsiteX6" fmla="*/ 123295 w 123294"/>
                  <a:gd name="connsiteY6" fmla="*/ 15419 h 123294"/>
                  <a:gd name="connsiteX7" fmla="*/ 15405 w 123294"/>
                  <a:gd name="connsiteY7" fmla="*/ 15419 h 123294"/>
                  <a:gd name="connsiteX8" fmla="*/ 15405 w 123294"/>
                  <a:gd name="connsiteY8" fmla="*/ 107890 h 123294"/>
                  <a:gd name="connsiteX9" fmla="*/ 123295 w 123294"/>
                  <a:gd name="connsiteY9" fmla="*/ 107890 h 123294"/>
                  <a:gd name="connsiteX10" fmla="*/ 123295 w 123294"/>
                  <a:gd name="connsiteY10" fmla="*/ 123295 h 12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294" h="123294">
                    <a:moveTo>
                      <a:pt x="123295" y="123295"/>
                    </a:moveTo>
                    <a:lnTo>
                      <a:pt x="7702" y="123295"/>
                    </a:lnTo>
                    <a:cubicBezTo>
                      <a:pt x="3445" y="123295"/>
                      <a:pt x="0" y="119850"/>
                      <a:pt x="0" y="115592"/>
                    </a:cubicBezTo>
                    <a:lnTo>
                      <a:pt x="0" y="7702"/>
                    </a:lnTo>
                    <a:cubicBezTo>
                      <a:pt x="0" y="3445"/>
                      <a:pt x="3445" y="0"/>
                      <a:pt x="7702" y="0"/>
                    </a:cubicBezTo>
                    <a:lnTo>
                      <a:pt x="123295" y="0"/>
                    </a:lnTo>
                    <a:lnTo>
                      <a:pt x="123295" y="15419"/>
                    </a:lnTo>
                    <a:lnTo>
                      <a:pt x="15405" y="15419"/>
                    </a:lnTo>
                    <a:lnTo>
                      <a:pt x="15405" y="107890"/>
                    </a:lnTo>
                    <a:lnTo>
                      <a:pt x="123295" y="107890"/>
                    </a:lnTo>
                    <a:lnTo>
                      <a:pt x="123295" y="123295"/>
                    </a:lnTo>
                    <a:close/>
                  </a:path>
                </a:pathLst>
              </a:custGeom>
              <a:solidFill>
                <a:schemeClr val="accent1"/>
              </a:solidFill>
              <a:ln w="1375" cap="flat">
                <a:noFill/>
                <a:prstDash val="solid"/>
                <a:miter/>
              </a:ln>
            </p:spPr>
            <p:txBody>
              <a:bodyPr rtlCol="0" anchor="ctr"/>
              <a:lstStyle/>
              <a:p>
                <a:endParaRPr lang="en-GB" dirty="0"/>
              </a:p>
            </p:txBody>
          </p:sp>
          <p:sp>
            <p:nvSpPr>
              <p:cNvPr id="447" name="Freihandform: Form 446">
                <a:extLst>
                  <a:ext uri="{FF2B5EF4-FFF2-40B4-BE49-F238E27FC236}">
                    <a16:creationId xmlns:a16="http://schemas.microsoft.com/office/drawing/2014/main" id="{C112B247-04EA-42F0-98A1-1F8802085122}"/>
                  </a:ext>
                </a:extLst>
              </p:cNvPr>
              <p:cNvSpPr/>
              <p:nvPr/>
            </p:nvSpPr>
            <p:spPr>
              <a:xfrm>
                <a:off x="818964" y="3387761"/>
                <a:ext cx="123294" cy="123308"/>
              </a:xfrm>
              <a:custGeom>
                <a:avLst/>
                <a:gdLst>
                  <a:gd name="connsiteX0" fmla="*/ 115592 w 123294"/>
                  <a:gd name="connsiteY0" fmla="*/ 123308 h 123308"/>
                  <a:gd name="connsiteX1" fmla="*/ 0 w 123294"/>
                  <a:gd name="connsiteY1" fmla="*/ 123308 h 123308"/>
                  <a:gd name="connsiteX2" fmla="*/ 0 w 123294"/>
                  <a:gd name="connsiteY2" fmla="*/ 107890 h 123308"/>
                  <a:gd name="connsiteX3" fmla="*/ 107890 w 123294"/>
                  <a:gd name="connsiteY3" fmla="*/ 107890 h 123308"/>
                  <a:gd name="connsiteX4" fmla="*/ 107890 w 123294"/>
                  <a:gd name="connsiteY4" fmla="*/ 15419 h 123308"/>
                  <a:gd name="connsiteX5" fmla="*/ 0 w 123294"/>
                  <a:gd name="connsiteY5" fmla="*/ 15419 h 123308"/>
                  <a:gd name="connsiteX6" fmla="*/ 0 w 123294"/>
                  <a:gd name="connsiteY6" fmla="*/ 0 h 123308"/>
                  <a:gd name="connsiteX7" fmla="*/ 115592 w 123294"/>
                  <a:gd name="connsiteY7" fmla="*/ 0 h 123308"/>
                  <a:gd name="connsiteX8" fmla="*/ 123295 w 123294"/>
                  <a:gd name="connsiteY8" fmla="*/ 7702 h 123308"/>
                  <a:gd name="connsiteX9" fmla="*/ 123295 w 123294"/>
                  <a:gd name="connsiteY9" fmla="*/ 115592 h 123308"/>
                  <a:gd name="connsiteX10" fmla="*/ 115592 w 123294"/>
                  <a:gd name="connsiteY10" fmla="*/ 123308 h 12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294" h="123308">
                    <a:moveTo>
                      <a:pt x="115592" y="123308"/>
                    </a:moveTo>
                    <a:lnTo>
                      <a:pt x="0" y="123308"/>
                    </a:lnTo>
                    <a:lnTo>
                      <a:pt x="0" y="107890"/>
                    </a:lnTo>
                    <a:lnTo>
                      <a:pt x="107890" y="107890"/>
                    </a:lnTo>
                    <a:lnTo>
                      <a:pt x="107890" y="15419"/>
                    </a:lnTo>
                    <a:lnTo>
                      <a:pt x="0" y="15419"/>
                    </a:lnTo>
                    <a:lnTo>
                      <a:pt x="0" y="0"/>
                    </a:lnTo>
                    <a:lnTo>
                      <a:pt x="115592" y="0"/>
                    </a:lnTo>
                    <a:cubicBezTo>
                      <a:pt x="119850" y="0"/>
                      <a:pt x="123295" y="3445"/>
                      <a:pt x="123295" y="7702"/>
                    </a:cubicBezTo>
                    <a:lnTo>
                      <a:pt x="123295" y="115592"/>
                    </a:lnTo>
                    <a:cubicBezTo>
                      <a:pt x="123295" y="119864"/>
                      <a:pt x="119836" y="123308"/>
                      <a:pt x="115592" y="123308"/>
                    </a:cubicBezTo>
                    <a:close/>
                  </a:path>
                </a:pathLst>
              </a:custGeom>
              <a:solidFill>
                <a:schemeClr val="accent1"/>
              </a:solidFill>
              <a:ln w="1375" cap="flat">
                <a:noFill/>
                <a:prstDash val="solid"/>
                <a:miter/>
              </a:ln>
            </p:spPr>
            <p:txBody>
              <a:bodyPr rtlCol="0" anchor="ctr"/>
              <a:lstStyle/>
              <a:p>
                <a:endParaRPr lang="en-GB" dirty="0"/>
              </a:p>
            </p:txBody>
          </p:sp>
          <p:sp>
            <p:nvSpPr>
              <p:cNvPr id="448" name="Freihandform: Form 447">
                <a:extLst>
                  <a:ext uri="{FF2B5EF4-FFF2-40B4-BE49-F238E27FC236}">
                    <a16:creationId xmlns:a16="http://schemas.microsoft.com/office/drawing/2014/main" id="{61082CC9-B416-4EF2-B499-01F1F4ABC0B4}"/>
                  </a:ext>
                </a:extLst>
              </p:cNvPr>
              <p:cNvSpPr/>
              <p:nvPr/>
            </p:nvSpPr>
            <p:spPr>
              <a:xfrm>
                <a:off x="896018" y="3418598"/>
                <a:ext cx="107896" cy="123294"/>
              </a:xfrm>
              <a:custGeom>
                <a:avLst/>
                <a:gdLst>
                  <a:gd name="connsiteX0" fmla="*/ 100185 w 107896"/>
                  <a:gd name="connsiteY0" fmla="*/ 123295 h 123294"/>
                  <a:gd name="connsiteX1" fmla="*/ 7714 w 107896"/>
                  <a:gd name="connsiteY1" fmla="*/ 123295 h 123294"/>
                  <a:gd name="connsiteX2" fmla="*/ 590 w 107896"/>
                  <a:gd name="connsiteY2" fmla="*/ 118541 h 123294"/>
                  <a:gd name="connsiteX3" fmla="*/ 2258 w 107896"/>
                  <a:gd name="connsiteY3" fmla="*/ 110149 h 123294"/>
                  <a:gd name="connsiteX4" fmla="*/ 33081 w 107896"/>
                  <a:gd name="connsiteY4" fmla="*/ 79326 h 123294"/>
                  <a:gd name="connsiteX5" fmla="*/ 43981 w 107896"/>
                  <a:gd name="connsiteY5" fmla="*/ 90225 h 123294"/>
                  <a:gd name="connsiteX6" fmla="*/ 26316 w 107896"/>
                  <a:gd name="connsiteY6" fmla="*/ 107890 h 123294"/>
                  <a:gd name="connsiteX7" fmla="*/ 86902 w 107896"/>
                  <a:gd name="connsiteY7" fmla="*/ 107890 h 123294"/>
                  <a:gd name="connsiteX8" fmla="*/ 62665 w 107896"/>
                  <a:gd name="connsiteY8" fmla="*/ 65478 h 123294"/>
                  <a:gd name="connsiteX9" fmla="*/ 62665 w 107896"/>
                  <a:gd name="connsiteY9" fmla="*/ 57830 h 123294"/>
                  <a:gd name="connsiteX10" fmla="*/ 86902 w 107896"/>
                  <a:gd name="connsiteY10" fmla="*/ 15419 h 123294"/>
                  <a:gd name="connsiteX11" fmla="*/ 38538 w 107896"/>
                  <a:gd name="connsiteY11" fmla="*/ 15419 h 123294"/>
                  <a:gd name="connsiteX12" fmla="*/ 38538 w 107896"/>
                  <a:gd name="connsiteY12" fmla="*/ 0 h 123294"/>
                  <a:gd name="connsiteX13" fmla="*/ 100185 w 107896"/>
                  <a:gd name="connsiteY13" fmla="*/ 0 h 123294"/>
                  <a:gd name="connsiteX14" fmla="*/ 106854 w 107896"/>
                  <a:gd name="connsiteY14" fmla="*/ 3844 h 123294"/>
                  <a:gd name="connsiteX15" fmla="*/ 106882 w 107896"/>
                  <a:gd name="connsiteY15" fmla="*/ 11533 h 123294"/>
                  <a:gd name="connsiteX16" fmla="*/ 78249 w 107896"/>
                  <a:gd name="connsiteY16" fmla="*/ 61647 h 123294"/>
                  <a:gd name="connsiteX17" fmla="*/ 106882 w 107896"/>
                  <a:gd name="connsiteY17" fmla="*/ 111762 h 123294"/>
                  <a:gd name="connsiteX18" fmla="*/ 106854 w 107896"/>
                  <a:gd name="connsiteY18" fmla="*/ 119450 h 123294"/>
                  <a:gd name="connsiteX19" fmla="*/ 100185 w 107896"/>
                  <a:gd name="connsiteY19" fmla="*/ 123295 h 12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896" h="123294">
                    <a:moveTo>
                      <a:pt x="100185" y="123295"/>
                    </a:moveTo>
                    <a:lnTo>
                      <a:pt x="7714" y="123295"/>
                    </a:lnTo>
                    <a:cubicBezTo>
                      <a:pt x="4600" y="123295"/>
                      <a:pt x="1789" y="121421"/>
                      <a:pt x="590" y="118541"/>
                    </a:cubicBezTo>
                    <a:cubicBezTo>
                      <a:pt x="-608" y="115661"/>
                      <a:pt x="53" y="112354"/>
                      <a:pt x="2258" y="110149"/>
                    </a:cubicBezTo>
                    <a:lnTo>
                      <a:pt x="33081" y="79326"/>
                    </a:lnTo>
                    <a:lnTo>
                      <a:pt x="43981" y="90225"/>
                    </a:lnTo>
                    <a:lnTo>
                      <a:pt x="26316" y="107890"/>
                    </a:lnTo>
                    <a:lnTo>
                      <a:pt x="86902" y="107890"/>
                    </a:lnTo>
                    <a:lnTo>
                      <a:pt x="62665" y="65478"/>
                    </a:lnTo>
                    <a:cubicBezTo>
                      <a:pt x="61315" y="63108"/>
                      <a:pt x="61315" y="60200"/>
                      <a:pt x="62665" y="57830"/>
                    </a:cubicBezTo>
                    <a:lnTo>
                      <a:pt x="86902" y="15419"/>
                    </a:lnTo>
                    <a:lnTo>
                      <a:pt x="38538" y="15419"/>
                    </a:lnTo>
                    <a:lnTo>
                      <a:pt x="38538" y="0"/>
                    </a:lnTo>
                    <a:lnTo>
                      <a:pt x="100185" y="0"/>
                    </a:lnTo>
                    <a:cubicBezTo>
                      <a:pt x="102927" y="0"/>
                      <a:pt x="105476" y="1460"/>
                      <a:pt x="106854" y="3844"/>
                    </a:cubicBezTo>
                    <a:cubicBezTo>
                      <a:pt x="108232" y="6228"/>
                      <a:pt x="108246" y="9149"/>
                      <a:pt x="106882" y="11533"/>
                    </a:cubicBezTo>
                    <a:lnTo>
                      <a:pt x="78249" y="61647"/>
                    </a:lnTo>
                    <a:lnTo>
                      <a:pt x="106882" y="111762"/>
                    </a:lnTo>
                    <a:cubicBezTo>
                      <a:pt x="108246" y="114145"/>
                      <a:pt x="108232" y="117080"/>
                      <a:pt x="106854" y="119450"/>
                    </a:cubicBezTo>
                    <a:cubicBezTo>
                      <a:pt x="105463" y="121834"/>
                      <a:pt x="102927" y="123295"/>
                      <a:pt x="100185" y="123295"/>
                    </a:cubicBezTo>
                    <a:close/>
                  </a:path>
                </a:pathLst>
              </a:custGeom>
              <a:solidFill>
                <a:schemeClr val="accent1"/>
              </a:solidFill>
              <a:ln w="1375" cap="flat">
                <a:noFill/>
                <a:prstDash val="solid"/>
                <a:miter/>
              </a:ln>
            </p:spPr>
            <p:txBody>
              <a:bodyPr rtlCol="0" anchor="ctr"/>
              <a:lstStyle/>
              <a:p>
                <a:endParaRPr lang="en-GB" dirty="0"/>
              </a:p>
            </p:txBody>
          </p:sp>
          <p:sp>
            <p:nvSpPr>
              <p:cNvPr id="449" name="Freihandform: Form 448">
                <a:extLst>
                  <a:ext uri="{FF2B5EF4-FFF2-40B4-BE49-F238E27FC236}">
                    <a16:creationId xmlns:a16="http://schemas.microsoft.com/office/drawing/2014/main" id="{43D1E2E7-224B-4742-A3BF-AA9EBB2061D7}"/>
                  </a:ext>
                </a:extLst>
              </p:cNvPr>
              <p:cNvSpPr/>
              <p:nvPr/>
            </p:nvSpPr>
            <p:spPr>
              <a:xfrm>
                <a:off x="510719" y="3418598"/>
                <a:ext cx="107896" cy="123294"/>
              </a:xfrm>
              <a:custGeom>
                <a:avLst/>
                <a:gdLst>
                  <a:gd name="connsiteX0" fmla="*/ 100182 w 107896"/>
                  <a:gd name="connsiteY0" fmla="*/ 123295 h 123294"/>
                  <a:gd name="connsiteX1" fmla="*/ 7711 w 107896"/>
                  <a:gd name="connsiteY1" fmla="*/ 123295 h 123294"/>
                  <a:gd name="connsiteX2" fmla="*/ 1042 w 107896"/>
                  <a:gd name="connsiteY2" fmla="*/ 119450 h 123294"/>
                  <a:gd name="connsiteX3" fmla="*/ 1015 w 107896"/>
                  <a:gd name="connsiteY3" fmla="*/ 111762 h 123294"/>
                  <a:gd name="connsiteX4" fmla="*/ 29647 w 107896"/>
                  <a:gd name="connsiteY4" fmla="*/ 61647 h 123294"/>
                  <a:gd name="connsiteX5" fmla="*/ 1015 w 107896"/>
                  <a:gd name="connsiteY5" fmla="*/ 11533 h 123294"/>
                  <a:gd name="connsiteX6" fmla="*/ 1042 w 107896"/>
                  <a:gd name="connsiteY6" fmla="*/ 3844 h 123294"/>
                  <a:gd name="connsiteX7" fmla="*/ 7711 w 107896"/>
                  <a:gd name="connsiteY7" fmla="*/ 0 h 123294"/>
                  <a:gd name="connsiteX8" fmla="*/ 69358 w 107896"/>
                  <a:gd name="connsiteY8" fmla="*/ 0 h 123294"/>
                  <a:gd name="connsiteX9" fmla="*/ 69358 w 107896"/>
                  <a:gd name="connsiteY9" fmla="*/ 15419 h 123294"/>
                  <a:gd name="connsiteX10" fmla="*/ 20994 w 107896"/>
                  <a:gd name="connsiteY10" fmla="*/ 15419 h 123294"/>
                  <a:gd name="connsiteX11" fmla="*/ 45231 w 107896"/>
                  <a:gd name="connsiteY11" fmla="*/ 57830 h 123294"/>
                  <a:gd name="connsiteX12" fmla="*/ 45231 w 107896"/>
                  <a:gd name="connsiteY12" fmla="*/ 65478 h 123294"/>
                  <a:gd name="connsiteX13" fmla="*/ 20994 w 107896"/>
                  <a:gd name="connsiteY13" fmla="*/ 107890 h 123294"/>
                  <a:gd name="connsiteX14" fmla="*/ 81580 w 107896"/>
                  <a:gd name="connsiteY14" fmla="*/ 107890 h 123294"/>
                  <a:gd name="connsiteX15" fmla="*/ 63916 w 107896"/>
                  <a:gd name="connsiteY15" fmla="*/ 90225 h 123294"/>
                  <a:gd name="connsiteX16" fmla="*/ 74815 w 107896"/>
                  <a:gd name="connsiteY16" fmla="*/ 79326 h 123294"/>
                  <a:gd name="connsiteX17" fmla="*/ 105639 w 107896"/>
                  <a:gd name="connsiteY17" fmla="*/ 110149 h 123294"/>
                  <a:gd name="connsiteX18" fmla="*/ 107306 w 107896"/>
                  <a:gd name="connsiteY18" fmla="*/ 118541 h 123294"/>
                  <a:gd name="connsiteX19" fmla="*/ 100182 w 107896"/>
                  <a:gd name="connsiteY19" fmla="*/ 123295 h 12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7896" h="123294">
                    <a:moveTo>
                      <a:pt x="100182" y="123295"/>
                    </a:moveTo>
                    <a:lnTo>
                      <a:pt x="7711" y="123295"/>
                    </a:lnTo>
                    <a:cubicBezTo>
                      <a:pt x="4969" y="123295"/>
                      <a:pt x="2420" y="121834"/>
                      <a:pt x="1042" y="119450"/>
                    </a:cubicBezTo>
                    <a:cubicBezTo>
                      <a:pt x="-336" y="117066"/>
                      <a:pt x="-350" y="114145"/>
                      <a:pt x="1015" y="111762"/>
                    </a:cubicBezTo>
                    <a:lnTo>
                      <a:pt x="29647" y="61647"/>
                    </a:lnTo>
                    <a:lnTo>
                      <a:pt x="1015" y="11533"/>
                    </a:lnTo>
                    <a:cubicBezTo>
                      <a:pt x="-350" y="9149"/>
                      <a:pt x="-336" y="6214"/>
                      <a:pt x="1042" y="3844"/>
                    </a:cubicBezTo>
                    <a:cubicBezTo>
                      <a:pt x="2420" y="1460"/>
                      <a:pt x="4955" y="0"/>
                      <a:pt x="7711" y="0"/>
                    </a:cubicBezTo>
                    <a:lnTo>
                      <a:pt x="69358" y="0"/>
                    </a:lnTo>
                    <a:lnTo>
                      <a:pt x="69358" y="15419"/>
                    </a:lnTo>
                    <a:lnTo>
                      <a:pt x="20994" y="15419"/>
                    </a:lnTo>
                    <a:lnTo>
                      <a:pt x="45231" y="57830"/>
                    </a:lnTo>
                    <a:cubicBezTo>
                      <a:pt x="46582" y="60200"/>
                      <a:pt x="46582" y="63108"/>
                      <a:pt x="45231" y="65478"/>
                    </a:cubicBezTo>
                    <a:lnTo>
                      <a:pt x="20994" y="107890"/>
                    </a:lnTo>
                    <a:lnTo>
                      <a:pt x="81580" y="107890"/>
                    </a:lnTo>
                    <a:lnTo>
                      <a:pt x="63916" y="90225"/>
                    </a:lnTo>
                    <a:lnTo>
                      <a:pt x="74815" y="79326"/>
                    </a:lnTo>
                    <a:lnTo>
                      <a:pt x="105639" y="110149"/>
                    </a:lnTo>
                    <a:cubicBezTo>
                      <a:pt x="107843" y="112354"/>
                      <a:pt x="108505" y="115661"/>
                      <a:pt x="107306" y="118541"/>
                    </a:cubicBezTo>
                    <a:cubicBezTo>
                      <a:pt x="106107" y="121421"/>
                      <a:pt x="103296" y="123295"/>
                      <a:pt x="100182" y="123295"/>
                    </a:cubicBezTo>
                    <a:close/>
                  </a:path>
                </a:pathLst>
              </a:custGeom>
              <a:solidFill>
                <a:schemeClr val="accent1"/>
              </a:solidFill>
              <a:ln w="1375" cap="flat">
                <a:noFill/>
                <a:prstDash val="solid"/>
                <a:miter/>
              </a:ln>
            </p:spPr>
            <p:txBody>
              <a:bodyPr rtlCol="0" anchor="ctr"/>
              <a:lstStyle/>
              <a:p>
                <a:endParaRPr lang="en-GB" dirty="0"/>
              </a:p>
            </p:txBody>
          </p:sp>
          <p:sp>
            <p:nvSpPr>
              <p:cNvPr id="450" name="Freihandform: Form 449">
                <a:extLst>
                  <a:ext uri="{FF2B5EF4-FFF2-40B4-BE49-F238E27FC236}">
                    <a16:creationId xmlns:a16="http://schemas.microsoft.com/office/drawing/2014/main" id="{DBA268AF-4519-41D2-836E-1386EFD9113A}"/>
                  </a:ext>
                </a:extLst>
              </p:cNvPr>
              <p:cNvSpPr/>
              <p:nvPr/>
            </p:nvSpPr>
            <p:spPr>
              <a:xfrm>
                <a:off x="664846" y="3356951"/>
                <a:ext cx="184941" cy="184941"/>
              </a:xfrm>
              <a:custGeom>
                <a:avLst/>
                <a:gdLst>
                  <a:gd name="connsiteX0" fmla="*/ 92471 w 184941"/>
                  <a:gd name="connsiteY0" fmla="*/ 184942 h 184941"/>
                  <a:gd name="connsiteX1" fmla="*/ 0 w 184941"/>
                  <a:gd name="connsiteY1" fmla="*/ 92471 h 184941"/>
                  <a:gd name="connsiteX2" fmla="*/ 92471 w 184941"/>
                  <a:gd name="connsiteY2" fmla="*/ 0 h 184941"/>
                  <a:gd name="connsiteX3" fmla="*/ 184942 w 184941"/>
                  <a:gd name="connsiteY3" fmla="*/ 92471 h 184941"/>
                  <a:gd name="connsiteX4" fmla="*/ 92471 w 184941"/>
                  <a:gd name="connsiteY4" fmla="*/ 184942 h 184941"/>
                  <a:gd name="connsiteX5" fmla="*/ 92471 w 184941"/>
                  <a:gd name="connsiteY5" fmla="*/ 15405 h 184941"/>
                  <a:gd name="connsiteX6" fmla="*/ 15405 w 184941"/>
                  <a:gd name="connsiteY6" fmla="*/ 92471 h 184941"/>
                  <a:gd name="connsiteX7" fmla="*/ 92471 w 184941"/>
                  <a:gd name="connsiteY7" fmla="*/ 169537 h 184941"/>
                  <a:gd name="connsiteX8" fmla="*/ 169537 w 184941"/>
                  <a:gd name="connsiteY8" fmla="*/ 92471 h 184941"/>
                  <a:gd name="connsiteX9" fmla="*/ 92471 w 184941"/>
                  <a:gd name="connsiteY9" fmla="*/ 15405 h 184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941" h="184941">
                    <a:moveTo>
                      <a:pt x="92471" y="184942"/>
                    </a:moveTo>
                    <a:cubicBezTo>
                      <a:pt x="41489" y="184942"/>
                      <a:pt x="0" y="143467"/>
                      <a:pt x="0" y="92471"/>
                    </a:cubicBezTo>
                    <a:cubicBezTo>
                      <a:pt x="0" y="41475"/>
                      <a:pt x="41489" y="0"/>
                      <a:pt x="92471" y="0"/>
                    </a:cubicBezTo>
                    <a:cubicBezTo>
                      <a:pt x="143453" y="0"/>
                      <a:pt x="184942" y="41475"/>
                      <a:pt x="184942" y="92471"/>
                    </a:cubicBezTo>
                    <a:cubicBezTo>
                      <a:pt x="184942" y="143467"/>
                      <a:pt x="143453" y="184942"/>
                      <a:pt x="92471" y="184942"/>
                    </a:cubicBezTo>
                    <a:close/>
                    <a:moveTo>
                      <a:pt x="92471" y="15405"/>
                    </a:moveTo>
                    <a:cubicBezTo>
                      <a:pt x="49976" y="15405"/>
                      <a:pt x="15405" y="49976"/>
                      <a:pt x="15405" y="92471"/>
                    </a:cubicBezTo>
                    <a:cubicBezTo>
                      <a:pt x="15405" y="134965"/>
                      <a:pt x="49976" y="169537"/>
                      <a:pt x="92471" y="169537"/>
                    </a:cubicBezTo>
                    <a:cubicBezTo>
                      <a:pt x="134965" y="169537"/>
                      <a:pt x="169537" y="134965"/>
                      <a:pt x="169537" y="92471"/>
                    </a:cubicBezTo>
                    <a:cubicBezTo>
                      <a:pt x="169523" y="49976"/>
                      <a:pt x="134965" y="15405"/>
                      <a:pt x="92471" y="15405"/>
                    </a:cubicBezTo>
                    <a:close/>
                  </a:path>
                </a:pathLst>
              </a:custGeom>
              <a:solidFill>
                <a:schemeClr val="accent1"/>
              </a:solidFill>
              <a:ln w="1375" cap="flat">
                <a:noFill/>
                <a:prstDash val="solid"/>
                <a:miter/>
              </a:ln>
            </p:spPr>
            <p:txBody>
              <a:bodyPr rtlCol="0" anchor="ctr"/>
              <a:lstStyle/>
              <a:p>
                <a:endParaRPr lang="en-GB" dirty="0"/>
              </a:p>
            </p:txBody>
          </p:sp>
          <p:sp>
            <p:nvSpPr>
              <p:cNvPr id="451" name="Freihandform: Form 450">
                <a:extLst>
                  <a:ext uri="{FF2B5EF4-FFF2-40B4-BE49-F238E27FC236}">
                    <a16:creationId xmlns:a16="http://schemas.microsoft.com/office/drawing/2014/main" id="{AEFD1B1A-9DA6-47A9-8B9B-70F12BF1354F}"/>
                  </a:ext>
                </a:extLst>
              </p:cNvPr>
              <p:cNvSpPr/>
              <p:nvPr/>
            </p:nvSpPr>
            <p:spPr>
              <a:xfrm>
                <a:off x="712975" y="3399693"/>
                <a:ext cx="88695" cy="88392"/>
              </a:xfrm>
              <a:custGeom>
                <a:avLst/>
                <a:gdLst>
                  <a:gd name="connsiteX0" fmla="*/ 21690 w 88695"/>
                  <a:gd name="connsiteY0" fmla="*/ 88392 h 88392"/>
                  <a:gd name="connsiteX1" fmla="*/ 17239 w 88695"/>
                  <a:gd name="connsiteY1" fmla="*/ 86973 h 88392"/>
                  <a:gd name="connsiteX2" fmla="*/ 14332 w 88695"/>
                  <a:gd name="connsiteY2" fmla="*/ 78430 h 88392"/>
                  <a:gd name="connsiteX3" fmla="*/ 21455 w 88695"/>
                  <a:gd name="connsiteY3" fmla="*/ 55171 h 88392"/>
                  <a:gd name="connsiteX4" fmla="*/ 2895 w 88695"/>
                  <a:gd name="connsiteY4" fmla="*/ 40345 h 88392"/>
                  <a:gd name="connsiteX5" fmla="*/ 429 w 88695"/>
                  <a:gd name="connsiteY5" fmla="*/ 31774 h 88392"/>
                  <a:gd name="connsiteX6" fmla="*/ 7704 w 88695"/>
                  <a:gd name="connsiteY6" fmla="*/ 26621 h 88392"/>
                  <a:gd name="connsiteX7" fmla="*/ 30095 w 88695"/>
                  <a:gd name="connsiteY7" fmla="*/ 26621 h 88392"/>
                  <a:gd name="connsiteX8" fmla="*/ 37012 w 88695"/>
                  <a:gd name="connsiteY8" fmla="*/ 5319 h 88392"/>
                  <a:gd name="connsiteX9" fmla="*/ 44342 w 88695"/>
                  <a:gd name="connsiteY9" fmla="*/ 0 h 88392"/>
                  <a:gd name="connsiteX10" fmla="*/ 51673 w 88695"/>
                  <a:gd name="connsiteY10" fmla="*/ 5319 h 88392"/>
                  <a:gd name="connsiteX11" fmla="*/ 58590 w 88695"/>
                  <a:gd name="connsiteY11" fmla="*/ 26621 h 88392"/>
                  <a:gd name="connsiteX12" fmla="*/ 80981 w 88695"/>
                  <a:gd name="connsiteY12" fmla="*/ 26621 h 88392"/>
                  <a:gd name="connsiteX13" fmla="*/ 88256 w 88695"/>
                  <a:gd name="connsiteY13" fmla="*/ 31774 h 88392"/>
                  <a:gd name="connsiteX14" fmla="*/ 85817 w 88695"/>
                  <a:gd name="connsiteY14" fmla="*/ 40345 h 88392"/>
                  <a:gd name="connsiteX15" fmla="*/ 67271 w 88695"/>
                  <a:gd name="connsiteY15" fmla="*/ 55254 h 88392"/>
                  <a:gd name="connsiteX16" fmla="*/ 74353 w 88695"/>
                  <a:gd name="connsiteY16" fmla="*/ 77727 h 88392"/>
                  <a:gd name="connsiteX17" fmla="*/ 71542 w 88695"/>
                  <a:gd name="connsiteY17" fmla="*/ 86257 h 88392"/>
                  <a:gd name="connsiteX18" fmla="*/ 62558 w 88695"/>
                  <a:gd name="connsiteY18" fmla="*/ 86326 h 88392"/>
                  <a:gd name="connsiteX19" fmla="*/ 44439 w 88695"/>
                  <a:gd name="connsiteY19" fmla="*/ 73525 h 88392"/>
                  <a:gd name="connsiteX20" fmla="*/ 26264 w 88695"/>
                  <a:gd name="connsiteY20" fmla="*/ 86904 h 88392"/>
                  <a:gd name="connsiteX21" fmla="*/ 21690 w 88695"/>
                  <a:gd name="connsiteY21" fmla="*/ 88392 h 88392"/>
                  <a:gd name="connsiteX22" fmla="*/ 29668 w 88695"/>
                  <a:gd name="connsiteY22" fmla="*/ 42026 h 88392"/>
                  <a:gd name="connsiteX23" fmla="*/ 35152 w 88695"/>
                  <a:gd name="connsiteY23" fmla="*/ 46408 h 88392"/>
                  <a:gd name="connsiteX24" fmla="*/ 37701 w 88695"/>
                  <a:gd name="connsiteY24" fmla="*/ 54689 h 88392"/>
                  <a:gd name="connsiteX25" fmla="*/ 35868 w 88695"/>
                  <a:gd name="connsiteY25" fmla="*/ 60683 h 88392"/>
                  <a:gd name="connsiteX26" fmla="*/ 39768 w 88695"/>
                  <a:gd name="connsiteY26" fmla="*/ 57803 h 88392"/>
                  <a:gd name="connsiteX27" fmla="*/ 48779 w 88695"/>
                  <a:gd name="connsiteY27" fmla="*/ 57720 h 88392"/>
                  <a:gd name="connsiteX28" fmla="*/ 52775 w 88695"/>
                  <a:gd name="connsiteY28" fmla="*/ 60545 h 88392"/>
                  <a:gd name="connsiteX29" fmla="*/ 50984 w 88695"/>
                  <a:gd name="connsiteY29" fmla="*/ 54841 h 88392"/>
                  <a:gd name="connsiteX30" fmla="*/ 53505 w 88695"/>
                  <a:gd name="connsiteY30" fmla="*/ 46532 h 88392"/>
                  <a:gd name="connsiteX31" fmla="*/ 59100 w 88695"/>
                  <a:gd name="connsiteY31" fmla="*/ 42026 h 88392"/>
                  <a:gd name="connsiteX32" fmla="*/ 52996 w 88695"/>
                  <a:gd name="connsiteY32" fmla="*/ 42026 h 88392"/>
                  <a:gd name="connsiteX33" fmla="*/ 45665 w 88695"/>
                  <a:gd name="connsiteY33" fmla="*/ 36707 h 88392"/>
                  <a:gd name="connsiteX34" fmla="*/ 44342 w 88695"/>
                  <a:gd name="connsiteY34" fmla="*/ 32629 h 88392"/>
                  <a:gd name="connsiteX35" fmla="*/ 43020 w 88695"/>
                  <a:gd name="connsiteY35" fmla="*/ 36707 h 88392"/>
                  <a:gd name="connsiteX36" fmla="*/ 35689 w 88695"/>
                  <a:gd name="connsiteY36" fmla="*/ 42026 h 88392"/>
                  <a:gd name="connsiteX37" fmla="*/ 29668 w 88695"/>
                  <a:gd name="connsiteY37" fmla="*/ 42026 h 883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8695" h="88392">
                    <a:moveTo>
                      <a:pt x="21690" y="88392"/>
                    </a:moveTo>
                    <a:cubicBezTo>
                      <a:pt x="20133" y="88392"/>
                      <a:pt x="18576" y="87924"/>
                      <a:pt x="17239" y="86973"/>
                    </a:cubicBezTo>
                    <a:cubicBezTo>
                      <a:pt x="14525" y="85058"/>
                      <a:pt x="13353" y="81613"/>
                      <a:pt x="14332" y="78430"/>
                    </a:cubicBezTo>
                    <a:lnTo>
                      <a:pt x="21455" y="55171"/>
                    </a:lnTo>
                    <a:lnTo>
                      <a:pt x="2895" y="40345"/>
                    </a:lnTo>
                    <a:cubicBezTo>
                      <a:pt x="346" y="38292"/>
                      <a:pt x="-646" y="34861"/>
                      <a:pt x="429" y="31774"/>
                    </a:cubicBezTo>
                    <a:cubicBezTo>
                      <a:pt x="1517" y="28688"/>
                      <a:pt x="4425" y="26621"/>
                      <a:pt x="7704" y="26621"/>
                    </a:cubicBezTo>
                    <a:lnTo>
                      <a:pt x="30095" y="26621"/>
                    </a:lnTo>
                    <a:lnTo>
                      <a:pt x="37012" y="5319"/>
                    </a:lnTo>
                    <a:cubicBezTo>
                      <a:pt x="38045" y="2150"/>
                      <a:pt x="41008" y="0"/>
                      <a:pt x="44342" y="0"/>
                    </a:cubicBezTo>
                    <a:cubicBezTo>
                      <a:pt x="47677" y="0"/>
                      <a:pt x="50639" y="2150"/>
                      <a:pt x="51673" y="5319"/>
                    </a:cubicBezTo>
                    <a:lnTo>
                      <a:pt x="58590" y="26621"/>
                    </a:lnTo>
                    <a:lnTo>
                      <a:pt x="80981" y="26621"/>
                    </a:lnTo>
                    <a:cubicBezTo>
                      <a:pt x="84246" y="26621"/>
                      <a:pt x="87167" y="28688"/>
                      <a:pt x="88256" y="31774"/>
                    </a:cubicBezTo>
                    <a:cubicBezTo>
                      <a:pt x="89345" y="34861"/>
                      <a:pt x="88366" y="38292"/>
                      <a:pt x="85817" y="40345"/>
                    </a:cubicBezTo>
                    <a:lnTo>
                      <a:pt x="67271" y="55254"/>
                    </a:lnTo>
                    <a:lnTo>
                      <a:pt x="74353" y="77727"/>
                    </a:lnTo>
                    <a:cubicBezTo>
                      <a:pt x="75345" y="80883"/>
                      <a:pt x="74215" y="84314"/>
                      <a:pt x="71542" y="86257"/>
                    </a:cubicBezTo>
                    <a:cubicBezTo>
                      <a:pt x="68869" y="88199"/>
                      <a:pt x="65245" y="88213"/>
                      <a:pt x="62558" y="86326"/>
                    </a:cubicBezTo>
                    <a:lnTo>
                      <a:pt x="44439" y="73525"/>
                    </a:lnTo>
                    <a:lnTo>
                      <a:pt x="26264" y="86904"/>
                    </a:lnTo>
                    <a:cubicBezTo>
                      <a:pt x="24900" y="87896"/>
                      <a:pt x="23288" y="88392"/>
                      <a:pt x="21690" y="88392"/>
                    </a:cubicBezTo>
                    <a:close/>
                    <a:moveTo>
                      <a:pt x="29668" y="42026"/>
                    </a:moveTo>
                    <a:lnTo>
                      <a:pt x="35152" y="46408"/>
                    </a:lnTo>
                    <a:cubicBezTo>
                      <a:pt x="37618" y="48378"/>
                      <a:pt x="38638" y="51658"/>
                      <a:pt x="37701" y="54689"/>
                    </a:cubicBezTo>
                    <a:lnTo>
                      <a:pt x="35868" y="60683"/>
                    </a:lnTo>
                    <a:lnTo>
                      <a:pt x="39768" y="57803"/>
                    </a:lnTo>
                    <a:cubicBezTo>
                      <a:pt x="42441" y="55846"/>
                      <a:pt x="46078" y="55819"/>
                      <a:pt x="48779" y="57720"/>
                    </a:cubicBezTo>
                    <a:lnTo>
                      <a:pt x="52775" y="60545"/>
                    </a:lnTo>
                    <a:lnTo>
                      <a:pt x="50984" y="54841"/>
                    </a:lnTo>
                    <a:cubicBezTo>
                      <a:pt x="50033" y="51809"/>
                      <a:pt x="51039" y="48516"/>
                      <a:pt x="53505" y="46532"/>
                    </a:cubicBezTo>
                    <a:lnTo>
                      <a:pt x="59100" y="42026"/>
                    </a:lnTo>
                    <a:lnTo>
                      <a:pt x="52996" y="42026"/>
                    </a:lnTo>
                    <a:cubicBezTo>
                      <a:pt x="49661" y="42026"/>
                      <a:pt x="46699" y="39877"/>
                      <a:pt x="45665" y="36707"/>
                    </a:cubicBezTo>
                    <a:lnTo>
                      <a:pt x="44342" y="32629"/>
                    </a:lnTo>
                    <a:lnTo>
                      <a:pt x="43020" y="36707"/>
                    </a:lnTo>
                    <a:cubicBezTo>
                      <a:pt x="41986" y="39877"/>
                      <a:pt x="39024" y="42026"/>
                      <a:pt x="35689" y="42026"/>
                    </a:cubicBezTo>
                    <a:lnTo>
                      <a:pt x="29668" y="42026"/>
                    </a:lnTo>
                    <a:close/>
                  </a:path>
                </a:pathLst>
              </a:custGeom>
              <a:solidFill>
                <a:schemeClr val="accent1"/>
              </a:solidFill>
              <a:ln w="1375" cap="flat">
                <a:noFill/>
                <a:prstDash val="solid"/>
                <a:miter/>
              </a:ln>
            </p:spPr>
            <p:txBody>
              <a:bodyPr rtlCol="0" anchor="ctr"/>
              <a:lstStyle/>
              <a:p>
                <a:endParaRPr lang="en-GB" dirty="0"/>
              </a:p>
            </p:txBody>
          </p:sp>
          <p:sp>
            <p:nvSpPr>
              <p:cNvPr id="452" name="Freihandform: Form 451">
                <a:extLst>
                  <a:ext uri="{FF2B5EF4-FFF2-40B4-BE49-F238E27FC236}">
                    <a16:creationId xmlns:a16="http://schemas.microsoft.com/office/drawing/2014/main" id="{BFB62E83-987A-46B5-AEC9-7B824564AE19}"/>
                  </a:ext>
                </a:extLst>
              </p:cNvPr>
              <p:cNvSpPr/>
              <p:nvPr/>
            </p:nvSpPr>
            <p:spPr>
              <a:xfrm>
                <a:off x="733212" y="3422084"/>
                <a:ext cx="48179" cy="48832"/>
              </a:xfrm>
              <a:custGeom>
                <a:avLst/>
                <a:gdLst>
                  <a:gd name="connsiteX0" fmla="*/ 13977 w 48179"/>
                  <a:gd name="connsiteY0" fmla="*/ 48833 h 48832"/>
                  <a:gd name="connsiteX1" fmla="*/ 9554 w 48179"/>
                  <a:gd name="connsiteY1" fmla="*/ 47441 h 48832"/>
                  <a:gd name="connsiteX2" fmla="*/ 6592 w 48179"/>
                  <a:gd name="connsiteY2" fmla="*/ 38926 h 48832"/>
                  <a:gd name="connsiteX3" fmla="*/ 9017 w 48179"/>
                  <a:gd name="connsiteY3" fmla="*/ 30755 h 48832"/>
                  <a:gd name="connsiteX4" fmla="*/ 2761 w 48179"/>
                  <a:gd name="connsiteY4" fmla="*/ 25519 h 48832"/>
                  <a:gd name="connsiteX5" fmla="*/ 460 w 48179"/>
                  <a:gd name="connsiteY5" fmla="*/ 16976 h 48832"/>
                  <a:gd name="connsiteX6" fmla="*/ 7708 w 48179"/>
                  <a:gd name="connsiteY6" fmla="*/ 11905 h 48832"/>
                  <a:gd name="connsiteX7" fmla="*/ 14625 w 48179"/>
                  <a:gd name="connsiteY7" fmla="*/ 11905 h 48832"/>
                  <a:gd name="connsiteX8" fmla="*/ 16760 w 48179"/>
                  <a:gd name="connsiteY8" fmla="*/ 5333 h 48832"/>
                  <a:gd name="connsiteX9" fmla="*/ 24091 w 48179"/>
                  <a:gd name="connsiteY9" fmla="*/ 0 h 48832"/>
                  <a:gd name="connsiteX10" fmla="*/ 31421 w 48179"/>
                  <a:gd name="connsiteY10" fmla="*/ 5333 h 48832"/>
                  <a:gd name="connsiteX11" fmla="*/ 33557 w 48179"/>
                  <a:gd name="connsiteY11" fmla="*/ 11905 h 48832"/>
                  <a:gd name="connsiteX12" fmla="*/ 40474 w 48179"/>
                  <a:gd name="connsiteY12" fmla="*/ 11905 h 48832"/>
                  <a:gd name="connsiteX13" fmla="*/ 47708 w 48179"/>
                  <a:gd name="connsiteY13" fmla="*/ 16962 h 48832"/>
                  <a:gd name="connsiteX14" fmla="*/ 45448 w 48179"/>
                  <a:gd name="connsiteY14" fmla="*/ 25505 h 48832"/>
                  <a:gd name="connsiteX15" fmla="*/ 39220 w 48179"/>
                  <a:gd name="connsiteY15" fmla="*/ 30755 h 48832"/>
                  <a:gd name="connsiteX16" fmla="*/ 41576 w 48179"/>
                  <a:gd name="connsiteY16" fmla="*/ 38388 h 48832"/>
                  <a:gd name="connsiteX17" fmla="*/ 38752 w 48179"/>
                  <a:gd name="connsiteY17" fmla="*/ 46890 h 48832"/>
                  <a:gd name="connsiteX18" fmla="*/ 29795 w 48179"/>
                  <a:gd name="connsiteY18" fmla="*/ 46987 h 48832"/>
                  <a:gd name="connsiteX19" fmla="*/ 24201 w 48179"/>
                  <a:gd name="connsiteY19" fmla="*/ 43101 h 48832"/>
                  <a:gd name="connsiteX20" fmla="*/ 18524 w 48179"/>
                  <a:gd name="connsiteY20" fmla="*/ 47303 h 48832"/>
                  <a:gd name="connsiteX21" fmla="*/ 13977 w 48179"/>
                  <a:gd name="connsiteY21" fmla="*/ 48833 h 48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8179" h="48832">
                    <a:moveTo>
                      <a:pt x="13977" y="48833"/>
                    </a:moveTo>
                    <a:cubicBezTo>
                      <a:pt x="12434" y="48833"/>
                      <a:pt x="10891" y="48364"/>
                      <a:pt x="9554" y="47441"/>
                    </a:cubicBezTo>
                    <a:cubicBezTo>
                      <a:pt x="6840" y="45540"/>
                      <a:pt x="5641" y="42109"/>
                      <a:pt x="6592" y="38926"/>
                    </a:cubicBezTo>
                    <a:lnTo>
                      <a:pt x="9017" y="30755"/>
                    </a:lnTo>
                    <a:lnTo>
                      <a:pt x="2761" y="25519"/>
                    </a:lnTo>
                    <a:cubicBezTo>
                      <a:pt x="281" y="23438"/>
                      <a:pt x="-642" y="20021"/>
                      <a:pt x="460" y="16976"/>
                    </a:cubicBezTo>
                    <a:cubicBezTo>
                      <a:pt x="1562" y="13931"/>
                      <a:pt x="4470" y="11905"/>
                      <a:pt x="7708" y="11905"/>
                    </a:cubicBezTo>
                    <a:lnTo>
                      <a:pt x="14625" y="11905"/>
                    </a:lnTo>
                    <a:lnTo>
                      <a:pt x="16760" y="5333"/>
                    </a:lnTo>
                    <a:cubicBezTo>
                      <a:pt x="17794" y="2163"/>
                      <a:pt x="20756" y="0"/>
                      <a:pt x="24091" y="0"/>
                    </a:cubicBezTo>
                    <a:cubicBezTo>
                      <a:pt x="27425" y="0"/>
                      <a:pt x="30388" y="2150"/>
                      <a:pt x="31421" y="5333"/>
                    </a:cubicBezTo>
                    <a:lnTo>
                      <a:pt x="33557" y="11905"/>
                    </a:lnTo>
                    <a:lnTo>
                      <a:pt x="40474" y="11905"/>
                    </a:lnTo>
                    <a:cubicBezTo>
                      <a:pt x="43712" y="11905"/>
                      <a:pt x="46606" y="13931"/>
                      <a:pt x="47708" y="16962"/>
                    </a:cubicBezTo>
                    <a:cubicBezTo>
                      <a:pt x="48824" y="20007"/>
                      <a:pt x="47915" y="23411"/>
                      <a:pt x="45448" y="25505"/>
                    </a:cubicBezTo>
                    <a:lnTo>
                      <a:pt x="39220" y="30755"/>
                    </a:lnTo>
                    <a:lnTo>
                      <a:pt x="41576" y="38388"/>
                    </a:lnTo>
                    <a:cubicBezTo>
                      <a:pt x="42541" y="41530"/>
                      <a:pt x="41411" y="44947"/>
                      <a:pt x="38752" y="46890"/>
                    </a:cubicBezTo>
                    <a:cubicBezTo>
                      <a:pt x="36106" y="48819"/>
                      <a:pt x="32496" y="48874"/>
                      <a:pt x="29795" y="46987"/>
                    </a:cubicBezTo>
                    <a:lnTo>
                      <a:pt x="24201" y="43101"/>
                    </a:lnTo>
                    <a:lnTo>
                      <a:pt x="18524" y="47303"/>
                    </a:lnTo>
                    <a:cubicBezTo>
                      <a:pt x="17201" y="48337"/>
                      <a:pt x="15589" y="48833"/>
                      <a:pt x="13977" y="48833"/>
                    </a:cubicBezTo>
                    <a:close/>
                  </a:path>
                </a:pathLst>
              </a:custGeom>
              <a:solidFill>
                <a:schemeClr val="accent1"/>
              </a:solidFill>
              <a:ln w="1375" cap="flat">
                <a:noFill/>
                <a:prstDash val="solid"/>
                <a:miter/>
              </a:ln>
            </p:spPr>
            <p:txBody>
              <a:bodyPr rtlCol="0" anchor="ctr"/>
              <a:lstStyle/>
              <a:p>
                <a:endParaRPr lang="en-GB" dirty="0"/>
              </a:p>
            </p:txBody>
          </p:sp>
        </p:grpSp>
        <p:grpSp>
          <p:nvGrpSpPr>
            <p:cNvPr id="674" name="Gruppieren 673">
              <a:extLst>
                <a:ext uri="{FF2B5EF4-FFF2-40B4-BE49-F238E27FC236}">
                  <a16:creationId xmlns:a16="http://schemas.microsoft.com/office/drawing/2014/main" id="{609B3CF7-FEF2-474A-82C3-D837AB993407}"/>
                </a:ext>
              </a:extLst>
            </p:cNvPr>
            <p:cNvGrpSpPr/>
            <p:nvPr/>
          </p:nvGrpSpPr>
          <p:grpSpPr>
            <a:xfrm>
              <a:off x="572375" y="3241346"/>
              <a:ext cx="369911" cy="493204"/>
              <a:chOff x="572375" y="3241346"/>
              <a:chExt cx="369911" cy="493204"/>
            </a:xfrm>
          </p:grpSpPr>
          <p:sp>
            <p:nvSpPr>
              <p:cNvPr id="440" name="Freihandform: Form 439">
                <a:extLst>
                  <a:ext uri="{FF2B5EF4-FFF2-40B4-BE49-F238E27FC236}">
                    <a16:creationId xmlns:a16="http://schemas.microsoft.com/office/drawing/2014/main" id="{49F4453C-5B2B-4566-89CE-76F9D7907568}"/>
                  </a:ext>
                </a:extLst>
              </p:cNvPr>
              <p:cNvSpPr/>
              <p:nvPr/>
            </p:nvSpPr>
            <p:spPr>
              <a:xfrm>
                <a:off x="572375" y="3557325"/>
                <a:ext cx="369911" cy="177225"/>
              </a:xfrm>
              <a:custGeom>
                <a:avLst/>
                <a:gdLst>
                  <a:gd name="connsiteX0" fmla="*/ 184942 w 369911"/>
                  <a:gd name="connsiteY0" fmla="*/ 177226 h 177225"/>
                  <a:gd name="connsiteX1" fmla="*/ 180367 w 369911"/>
                  <a:gd name="connsiteY1" fmla="*/ 175710 h 177225"/>
                  <a:gd name="connsiteX2" fmla="*/ 3128 w 369911"/>
                  <a:gd name="connsiteY2" fmla="*/ 44713 h 177225"/>
                  <a:gd name="connsiteX3" fmla="*/ 0 w 369911"/>
                  <a:gd name="connsiteY3" fmla="*/ 38526 h 177225"/>
                  <a:gd name="connsiteX4" fmla="*/ 0 w 369911"/>
                  <a:gd name="connsiteY4" fmla="*/ 0 h 177225"/>
                  <a:gd name="connsiteX5" fmla="*/ 15419 w 369911"/>
                  <a:gd name="connsiteY5" fmla="*/ 0 h 177225"/>
                  <a:gd name="connsiteX6" fmla="*/ 15419 w 369911"/>
                  <a:gd name="connsiteY6" fmla="*/ 34640 h 177225"/>
                  <a:gd name="connsiteX7" fmla="*/ 184956 w 369911"/>
                  <a:gd name="connsiteY7" fmla="*/ 159947 h 177225"/>
                  <a:gd name="connsiteX8" fmla="*/ 354493 w 369911"/>
                  <a:gd name="connsiteY8" fmla="*/ 34640 h 177225"/>
                  <a:gd name="connsiteX9" fmla="*/ 354493 w 369911"/>
                  <a:gd name="connsiteY9" fmla="*/ 0 h 177225"/>
                  <a:gd name="connsiteX10" fmla="*/ 369911 w 369911"/>
                  <a:gd name="connsiteY10" fmla="*/ 0 h 177225"/>
                  <a:gd name="connsiteX11" fmla="*/ 369911 w 369911"/>
                  <a:gd name="connsiteY11" fmla="*/ 38526 h 177225"/>
                  <a:gd name="connsiteX12" fmla="*/ 366784 w 369911"/>
                  <a:gd name="connsiteY12" fmla="*/ 44713 h 177225"/>
                  <a:gd name="connsiteX13" fmla="*/ 189544 w 369911"/>
                  <a:gd name="connsiteY13" fmla="*/ 175710 h 177225"/>
                  <a:gd name="connsiteX14" fmla="*/ 184942 w 369911"/>
                  <a:gd name="connsiteY14" fmla="*/ 177226 h 17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9911" h="177225">
                    <a:moveTo>
                      <a:pt x="184942" y="177226"/>
                    </a:moveTo>
                    <a:cubicBezTo>
                      <a:pt x="183330" y="177226"/>
                      <a:pt x="181718" y="176716"/>
                      <a:pt x="180367" y="175710"/>
                    </a:cubicBezTo>
                    <a:lnTo>
                      <a:pt x="3128" y="44713"/>
                    </a:lnTo>
                    <a:cubicBezTo>
                      <a:pt x="1157" y="43266"/>
                      <a:pt x="0" y="40965"/>
                      <a:pt x="0" y="38526"/>
                    </a:cubicBezTo>
                    <a:lnTo>
                      <a:pt x="0" y="0"/>
                    </a:lnTo>
                    <a:lnTo>
                      <a:pt x="15419" y="0"/>
                    </a:lnTo>
                    <a:lnTo>
                      <a:pt x="15419" y="34640"/>
                    </a:lnTo>
                    <a:lnTo>
                      <a:pt x="184956" y="159947"/>
                    </a:lnTo>
                    <a:lnTo>
                      <a:pt x="354493" y="34640"/>
                    </a:lnTo>
                    <a:lnTo>
                      <a:pt x="354493" y="0"/>
                    </a:lnTo>
                    <a:lnTo>
                      <a:pt x="369911" y="0"/>
                    </a:lnTo>
                    <a:lnTo>
                      <a:pt x="369911" y="38526"/>
                    </a:lnTo>
                    <a:cubicBezTo>
                      <a:pt x="369911" y="40979"/>
                      <a:pt x="368754" y="43266"/>
                      <a:pt x="366784" y="44713"/>
                    </a:cubicBezTo>
                    <a:lnTo>
                      <a:pt x="189544" y="175710"/>
                    </a:lnTo>
                    <a:cubicBezTo>
                      <a:pt x="188152" y="176716"/>
                      <a:pt x="186554" y="177226"/>
                      <a:pt x="184942" y="177226"/>
                    </a:cubicBezTo>
                    <a:close/>
                  </a:path>
                </a:pathLst>
              </a:custGeom>
              <a:solidFill>
                <a:schemeClr val="tx2"/>
              </a:solidFill>
              <a:ln w="1375" cap="flat">
                <a:noFill/>
                <a:prstDash val="solid"/>
                <a:miter/>
              </a:ln>
            </p:spPr>
            <p:txBody>
              <a:bodyPr rtlCol="0" anchor="ctr"/>
              <a:lstStyle/>
              <a:p>
                <a:endParaRPr lang="en-GB" dirty="0"/>
              </a:p>
            </p:txBody>
          </p:sp>
          <p:grpSp>
            <p:nvGrpSpPr>
              <p:cNvPr id="673" name="Gruppieren 672">
                <a:extLst>
                  <a:ext uri="{FF2B5EF4-FFF2-40B4-BE49-F238E27FC236}">
                    <a16:creationId xmlns:a16="http://schemas.microsoft.com/office/drawing/2014/main" id="{4DC26FF3-B8ED-490B-A302-CD70AD9FB224}"/>
                  </a:ext>
                </a:extLst>
              </p:cNvPr>
              <p:cNvGrpSpPr/>
              <p:nvPr/>
            </p:nvGrpSpPr>
            <p:grpSpPr>
              <a:xfrm>
                <a:off x="572375" y="3241346"/>
                <a:ext cx="369883" cy="454664"/>
                <a:chOff x="572375" y="3241346"/>
                <a:chExt cx="369883" cy="454664"/>
              </a:xfrm>
            </p:grpSpPr>
            <p:sp>
              <p:nvSpPr>
                <p:cNvPr id="439" name="Freihandform: Form 438">
                  <a:extLst>
                    <a:ext uri="{FF2B5EF4-FFF2-40B4-BE49-F238E27FC236}">
                      <a16:creationId xmlns:a16="http://schemas.microsoft.com/office/drawing/2014/main" id="{241DAC36-B815-4DC3-ACD2-F5870DB0F47E}"/>
                    </a:ext>
                  </a:extLst>
                </p:cNvPr>
                <p:cNvSpPr/>
                <p:nvPr/>
              </p:nvSpPr>
              <p:spPr>
                <a:xfrm>
                  <a:off x="572375" y="3241346"/>
                  <a:ext cx="369883" cy="131009"/>
                </a:xfrm>
                <a:custGeom>
                  <a:avLst/>
                  <a:gdLst>
                    <a:gd name="connsiteX0" fmla="*/ 369884 w 369883"/>
                    <a:gd name="connsiteY0" fmla="*/ 131010 h 131009"/>
                    <a:gd name="connsiteX1" fmla="*/ 354465 w 369883"/>
                    <a:gd name="connsiteY1" fmla="*/ 131010 h 131009"/>
                    <a:gd name="connsiteX2" fmla="*/ 354465 w 369883"/>
                    <a:gd name="connsiteY2" fmla="*/ 20185 h 131009"/>
                    <a:gd name="connsiteX3" fmla="*/ 288560 w 369883"/>
                    <a:gd name="connsiteY3" fmla="*/ 53144 h 131009"/>
                    <a:gd name="connsiteX4" fmla="*/ 278501 w 369883"/>
                    <a:gd name="connsiteY4" fmla="*/ 50223 h 131009"/>
                    <a:gd name="connsiteX5" fmla="*/ 257626 w 369883"/>
                    <a:gd name="connsiteY5" fmla="*/ 15431 h 131009"/>
                    <a:gd name="connsiteX6" fmla="*/ 112244 w 369883"/>
                    <a:gd name="connsiteY6" fmla="*/ 15431 h 131009"/>
                    <a:gd name="connsiteX7" fmla="*/ 91369 w 369883"/>
                    <a:gd name="connsiteY7" fmla="*/ 50223 h 131009"/>
                    <a:gd name="connsiteX8" fmla="*/ 81310 w 369883"/>
                    <a:gd name="connsiteY8" fmla="*/ 53144 h 131009"/>
                    <a:gd name="connsiteX9" fmla="*/ 15405 w 369883"/>
                    <a:gd name="connsiteY9" fmla="*/ 20185 h 131009"/>
                    <a:gd name="connsiteX10" fmla="*/ 15405 w 369883"/>
                    <a:gd name="connsiteY10" fmla="*/ 131010 h 131009"/>
                    <a:gd name="connsiteX11" fmla="*/ 0 w 369883"/>
                    <a:gd name="connsiteY11" fmla="*/ 131010 h 131009"/>
                    <a:gd name="connsiteX12" fmla="*/ 0 w 369883"/>
                    <a:gd name="connsiteY12" fmla="*/ 7715 h 131009"/>
                    <a:gd name="connsiteX13" fmla="*/ 3651 w 369883"/>
                    <a:gd name="connsiteY13" fmla="*/ 1156 h 131009"/>
                    <a:gd name="connsiteX14" fmla="*/ 11147 w 369883"/>
                    <a:gd name="connsiteY14" fmla="*/ 812 h 131009"/>
                    <a:gd name="connsiteX15" fmla="*/ 81820 w 369883"/>
                    <a:gd name="connsiteY15" fmla="*/ 36155 h 131009"/>
                    <a:gd name="connsiteX16" fmla="*/ 101262 w 369883"/>
                    <a:gd name="connsiteY16" fmla="*/ 3747 h 131009"/>
                    <a:gd name="connsiteX17" fmla="*/ 107876 w 369883"/>
                    <a:gd name="connsiteY17" fmla="*/ 13 h 131009"/>
                    <a:gd name="connsiteX18" fmla="*/ 261994 w 369883"/>
                    <a:gd name="connsiteY18" fmla="*/ 13 h 131009"/>
                    <a:gd name="connsiteX19" fmla="*/ 268608 w 369883"/>
                    <a:gd name="connsiteY19" fmla="*/ 3747 h 131009"/>
                    <a:gd name="connsiteX20" fmla="*/ 288050 w 369883"/>
                    <a:gd name="connsiteY20" fmla="*/ 36155 h 131009"/>
                    <a:gd name="connsiteX21" fmla="*/ 358723 w 369883"/>
                    <a:gd name="connsiteY21" fmla="*/ 812 h 131009"/>
                    <a:gd name="connsiteX22" fmla="*/ 366219 w 369883"/>
                    <a:gd name="connsiteY22" fmla="*/ 1156 h 131009"/>
                    <a:gd name="connsiteX23" fmla="*/ 369870 w 369883"/>
                    <a:gd name="connsiteY23" fmla="*/ 7715 h 131009"/>
                    <a:gd name="connsiteX24" fmla="*/ 369870 w 369883"/>
                    <a:gd name="connsiteY24" fmla="*/ 131010 h 13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69883" h="131009">
                      <a:moveTo>
                        <a:pt x="369884" y="131010"/>
                      </a:moveTo>
                      <a:lnTo>
                        <a:pt x="354465" y="131010"/>
                      </a:lnTo>
                      <a:lnTo>
                        <a:pt x="354465" y="20185"/>
                      </a:lnTo>
                      <a:lnTo>
                        <a:pt x="288560" y="53144"/>
                      </a:lnTo>
                      <a:cubicBezTo>
                        <a:pt x="284964" y="54936"/>
                        <a:pt x="280568" y="53668"/>
                        <a:pt x="278501" y="50223"/>
                      </a:cubicBezTo>
                      <a:lnTo>
                        <a:pt x="257626" y="15431"/>
                      </a:lnTo>
                      <a:lnTo>
                        <a:pt x="112244" y="15431"/>
                      </a:lnTo>
                      <a:lnTo>
                        <a:pt x="91369" y="50223"/>
                      </a:lnTo>
                      <a:cubicBezTo>
                        <a:pt x="89302" y="53682"/>
                        <a:pt x="84906" y="54936"/>
                        <a:pt x="81310" y="53144"/>
                      </a:cubicBezTo>
                      <a:lnTo>
                        <a:pt x="15405" y="20185"/>
                      </a:lnTo>
                      <a:lnTo>
                        <a:pt x="15405" y="131010"/>
                      </a:lnTo>
                      <a:lnTo>
                        <a:pt x="0" y="131010"/>
                      </a:lnTo>
                      <a:lnTo>
                        <a:pt x="0" y="7715"/>
                      </a:lnTo>
                      <a:cubicBezTo>
                        <a:pt x="0" y="5042"/>
                        <a:pt x="1378" y="2562"/>
                        <a:pt x="3651" y="1156"/>
                      </a:cubicBezTo>
                      <a:cubicBezTo>
                        <a:pt x="5925" y="-249"/>
                        <a:pt x="8763" y="-373"/>
                        <a:pt x="11147" y="812"/>
                      </a:cubicBezTo>
                      <a:lnTo>
                        <a:pt x="81820" y="36155"/>
                      </a:lnTo>
                      <a:lnTo>
                        <a:pt x="101262" y="3747"/>
                      </a:lnTo>
                      <a:cubicBezTo>
                        <a:pt x="102654" y="1432"/>
                        <a:pt x="105161" y="13"/>
                        <a:pt x="107876" y="13"/>
                      </a:cubicBezTo>
                      <a:lnTo>
                        <a:pt x="261994" y="13"/>
                      </a:lnTo>
                      <a:cubicBezTo>
                        <a:pt x="264695" y="13"/>
                        <a:pt x="267216" y="1432"/>
                        <a:pt x="268608" y="3747"/>
                      </a:cubicBezTo>
                      <a:lnTo>
                        <a:pt x="288050" y="36155"/>
                      </a:lnTo>
                      <a:lnTo>
                        <a:pt x="358723" y="812"/>
                      </a:lnTo>
                      <a:cubicBezTo>
                        <a:pt x="361107" y="-373"/>
                        <a:pt x="363959" y="-263"/>
                        <a:pt x="366219" y="1156"/>
                      </a:cubicBezTo>
                      <a:cubicBezTo>
                        <a:pt x="368492" y="2562"/>
                        <a:pt x="369870" y="5042"/>
                        <a:pt x="369870" y="7715"/>
                      </a:cubicBezTo>
                      <a:lnTo>
                        <a:pt x="369870" y="131010"/>
                      </a:lnTo>
                      <a:close/>
                    </a:path>
                  </a:pathLst>
                </a:custGeom>
                <a:solidFill>
                  <a:schemeClr val="tx2"/>
                </a:solidFill>
                <a:ln w="1375" cap="flat">
                  <a:noFill/>
                  <a:prstDash val="solid"/>
                  <a:miter/>
                </a:ln>
              </p:spPr>
              <p:txBody>
                <a:bodyPr rtlCol="0" anchor="ctr"/>
                <a:lstStyle/>
                <a:p>
                  <a:endParaRPr lang="en-GB" dirty="0"/>
                </a:p>
              </p:txBody>
            </p:sp>
            <p:sp>
              <p:nvSpPr>
                <p:cNvPr id="441" name="Freihandform: Form 440">
                  <a:extLst>
                    <a:ext uri="{FF2B5EF4-FFF2-40B4-BE49-F238E27FC236}">
                      <a16:creationId xmlns:a16="http://schemas.microsoft.com/office/drawing/2014/main" id="{CE717171-E47D-4D8B-9C96-7089B726FC92}"/>
                    </a:ext>
                  </a:extLst>
                </p:cNvPr>
                <p:cNvSpPr/>
                <p:nvPr/>
              </p:nvSpPr>
              <p:spPr>
                <a:xfrm>
                  <a:off x="896016" y="3264480"/>
                  <a:ext cx="15418" cy="107889"/>
                </a:xfrm>
                <a:custGeom>
                  <a:avLst/>
                  <a:gdLst>
                    <a:gd name="connsiteX0" fmla="*/ 0 w 15418"/>
                    <a:gd name="connsiteY0" fmla="*/ 0 h 107889"/>
                    <a:gd name="connsiteX1" fmla="*/ 15419 w 15418"/>
                    <a:gd name="connsiteY1" fmla="*/ 0 h 107889"/>
                    <a:gd name="connsiteX2" fmla="*/ 15419 w 15418"/>
                    <a:gd name="connsiteY2" fmla="*/ 107890 h 107889"/>
                    <a:gd name="connsiteX3" fmla="*/ 0 w 15418"/>
                    <a:gd name="connsiteY3" fmla="*/ 107890 h 107889"/>
                  </a:gdLst>
                  <a:ahLst/>
                  <a:cxnLst>
                    <a:cxn ang="0">
                      <a:pos x="connsiteX0" y="connsiteY0"/>
                    </a:cxn>
                    <a:cxn ang="0">
                      <a:pos x="connsiteX1" y="connsiteY1"/>
                    </a:cxn>
                    <a:cxn ang="0">
                      <a:pos x="connsiteX2" y="connsiteY2"/>
                    </a:cxn>
                    <a:cxn ang="0">
                      <a:pos x="connsiteX3" y="connsiteY3"/>
                    </a:cxn>
                  </a:cxnLst>
                  <a:rect l="l" t="t" r="r" b="b"/>
                  <a:pathLst>
                    <a:path w="15418" h="107889">
                      <a:moveTo>
                        <a:pt x="0" y="0"/>
                      </a:moveTo>
                      <a:lnTo>
                        <a:pt x="15419" y="0"/>
                      </a:lnTo>
                      <a:lnTo>
                        <a:pt x="15419" y="107890"/>
                      </a:lnTo>
                      <a:lnTo>
                        <a:pt x="0" y="107890"/>
                      </a:lnTo>
                      <a:close/>
                    </a:path>
                  </a:pathLst>
                </a:custGeom>
                <a:solidFill>
                  <a:schemeClr val="tx2"/>
                </a:solidFill>
                <a:ln w="1375" cap="flat">
                  <a:noFill/>
                  <a:prstDash val="solid"/>
                  <a:miter/>
                </a:ln>
              </p:spPr>
              <p:txBody>
                <a:bodyPr rtlCol="0" anchor="ctr"/>
                <a:lstStyle/>
                <a:p>
                  <a:endParaRPr lang="en-GB" dirty="0"/>
                </a:p>
              </p:txBody>
            </p:sp>
            <p:sp>
              <p:nvSpPr>
                <p:cNvPr id="442" name="Freihandform: Form 441">
                  <a:extLst>
                    <a:ext uri="{FF2B5EF4-FFF2-40B4-BE49-F238E27FC236}">
                      <a16:creationId xmlns:a16="http://schemas.microsoft.com/office/drawing/2014/main" id="{C49F4E60-54EF-4999-B366-4915D047ABC5}"/>
                    </a:ext>
                  </a:extLst>
                </p:cNvPr>
                <p:cNvSpPr/>
                <p:nvPr/>
              </p:nvSpPr>
              <p:spPr>
                <a:xfrm>
                  <a:off x="603199" y="3557297"/>
                  <a:ext cx="308264" cy="138713"/>
                </a:xfrm>
                <a:custGeom>
                  <a:avLst/>
                  <a:gdLst>
                    <a:gd name="connsiteX0" fmla="*/ 154118 w 308264"/>
                    <a:gd name="connsiteY0" fmla="*/ 138713 h 138713"/>
                    <a:gd name="connsiteX1" fmla="*/ 149544 w 308264"/>
                    <a:gd name="connsiteY1" fmla="*/ 137212 h 138713"/>
                    <a:gd name="connsiteX2" fmla="*/ 3128 w 308264"/>
                    <a:gd name="connsiteY2" fmla="*/ 29322 h 138713"/>
                    <a:gd name="connsiteX3" fmla="*/ 0 w 308264"/>
                    <a:gd name="connsiteY3" fmla="*/ 23121 h 138713"/>
                    <a:gd name="connsiteX4" fmla="*/ 0 w 308264"/>
                    <a:gd name="connsiteY4" fmla="*/ 0 h 138713"/>
                    <a:gd name="connsiteX5" fmla="*/ 15419 w 308264"/>
                    <a:gd name="connsiteY5" fmla="*/ 0 h 138713"/>
                    <a:gd name="connsiteX6" fmla="*/ 15419 w 308264"/>
                    <a:gd name="connsiteY6" fmla="*/ 19222 h 138713"/>
                    <a:gd name="connsiteX7" fmla="*/ 154132 w 308264"/>
                    <a:gd name="connsiteY7" fmla="*/ 121421 h 138713"/>
                    <a:gd name="connsiteX8" fmla="*/ 292845 w 308264"/>
                    <a:gd name="connsiteY8" fmla="*/ 19222 h 138713"/>
                    <a:gd name="connsiteX9" fmla="*/ 292845 w 308264"/>
                    <a:gd name="connsiteY9" fmla="*/ 0 h 138713"/>
                    <a:gd name="connsiteX10" fmla="*/ 308264 w 308264"/>
                    <a:gd name="connsiteY10" fmla="*/ 0 h 138713"/>
                    <a:gd name="connsiteX11" fmla="*/ 308264 w 308264"/>
                    <a:gd name="connsiteY11" fmla="*/ 23121 h 138713"/>
                    <a:gd name="connsiteX12" fmla="*/ 305136 w 308264"/>
                    <a:gd name="connsiteY12" fmla="*/ 29322 h 138713"/>
                    <a:gd name="connsiteX13" fmla="*/ 158720 w 308264"/>
                    <a:gd name="connsiteY13" fmla="*/ 137212 h 138713"/>
                    <a:gd name="connsiteX14" fmla="*/ 154118 w 308264"/>
                    <a:gd name="connsiteY14" fmla="*/ 138713 h 13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8264" h="138713">
                      <a:moveTo>
                        <a:pt x="154118" y="138713"/>
                      </a:moveTo>
                      <a:cubicBezTo>
                        <a:pt x="152506" y="138713"/>
                        <a:pt x="150908" y="138204"/>
                        <a:pt x="149544" y="137212"/>
                      </a:cubicBezTo>
                      <a:lnTo>
                        <a:pt x="3128" y="29322"/>
                      </a:lnTo>
                      <a:cubicBezTo>
                        <a:pt x="1157" y="27875"/>
                        <a:pt x="0" y="25560"/>
                        <a:pt x="0" y="23121"/>
                      </a:cubicBezTo>
                      <a:lnTo>
                        <a:pt x="0" y="0"/>
                      </a:lnTo>
                      <a:lnTo>
                        <a:pt x="15419" y="0"/>
                      </a:lnTo>
                      <a:lnTo>
                        <a:pt x="15419" y="19222"/>
                      </a:lnTo>
                      <a:lnTo>
                        <a:pt x="154132" y="121421"/>
                      </a:lnTo>
                      <a:lnTo>
                        <a:pt x="292845" y="19222"/>
                      </a:lnTo>
                      <a:lnTo>
                        <a:pt x="292845" y="0"/>
                      </a:lnTo>
                      <a:lnTo>
                        <a:pt x="308264" y="0"/>
                      </a:lnTo>
                      <a:lnTo>
                        <a:pt x="308264" y="23121"/>
                      </a:lnTo>
                      <a:cubicBezTo>
                        <a:pt x="308264" y="25574"/>
                        <a:pt x="307107" y="27875"/>
                        <a:pt x="305136" y="29322"/>
                      </a:cubicBezTo>
                      <a:lnTo>
                        <a:pt x="158720" y="137212"/>
                      </a:lnTo>
                      <a:cubicBezTo>
                        <a:pt x="157329" y="138217"/>
                        <a:pt x="155717" y="138713"/>
                        <a:pt x="154118" y="138713"/>
                      </a:cubicBezTo>
                      <a:close/>
                    </a:path>
                  </a:pathLst>
                </a:custGeom>
                <a:solidFill>
                  <a:schemeClr val="tx2"/>
                </a:solidFill>
                <a:ln w="1375" cap="flat">
                  <a:noFill/>
                  <a:prstDash val="solid"/>
                  <a:miter/>
                </a:ln>
              </p:spPr>
              <p:txBody>
                <a:bodyPr rtlCol="0" anchor="ctr"/>
                <a:lstStyle/>
                <a:p>
                  <a:endParaRPr lang="en-GB" dirty="0"/>
                </a:p>
              </p:txBody>
            </p:sp>
            <p:sp>
              <p:nvSpPr>
                <p:cNvPr id="443" name="Freihandform: Form 442">
                  <a:extLst>
                    <a:ext uri="{FF2B5EF4-FFF2-40B4-BE49-F238E27FC236}">
                      <a16:creationId xmlns:a16="http://schemas.microsoft.com/office/drawing/2014/main" id="{E3141843-353D-41B0-861D-8897F97E1C8A}"/>
                    </a:ext>
                  </a:extLst>
                </p:cNvPr>
                <p:cNvSpPr/>
                <p:nvPr/>
              </p:nvSpPr>
              <p:spPr>
                <a:xfrm>
                  <a:off x="603199" y="3264480"/>
                  <a:ext cx="15418" cy="107889"/>
                </a:xfrm>
                <a:custGeom>
                  <a:avLst/>
                  <a:gdLst>
                    <a:gd name="connsiteX0" fmla="*/ 0 w 15418"/>
                    <a:gd name="connsiteY0" fmla="*/ 0 h 107889"/>
                    <a:gd name="connsiteX1" fmla="*/ 15419 w 15418"/>
                    <a:gd name="connsiteY1" fmla="*/ 0 h 107889"/>
                    <a:gd name="connsiteX2" fmla="*/ 15419 w 15418"/>
                    <a:gd name="connsiteY2" fmla="*/ 107890 h 107889"/>
                    <a:gd name="connsiteX3" fmla="*/ 0 w 15418"/>
                    <a:gd name="connsiteY3" fmla="*/ 107890 h 107889"/>
                  </a:gdLst>
                  <a:ahLst/>
                  <a:cxnLst>
                    <a:cxn ang="0">
                      <a:pos x="connsiteX0" y="connsiteY0"/>
                    </a:cxn>
                    <a:cxn ang="0">
                      <a:pos x="connsiteX1" y="connsiteY1"/>
                    </a:cxn>
                    <a:cxn ang="0">
                      <a:pos x="connsiteX2" y="connsiteY2"/>
                    </a:cxn>
                    <a:cxn ang="0">
                      <a:pos x="connsiteX3" y="connsiteY3"/>
                    </a:cxn>
                  </a:cxnLst>
                  <a:rect l="l" t="t" r="r" b="b"/>
                  <a:pathLst>
                    <a:path w="15418" h="107889">
                      <a:moveTo>
                        <a:pt x="0" y="0"/>
                      </a:moveTo>
                      <a:lnTo>
                        <a:pt x="15419" y="0"/>
                      </a:lnTo>
                      <a:lnTo>
                        <a:pt x="15419" y="107890"/>
                      </a:lnTo>
                      <a:lnTo>
                        <a:pt x="0" y="107890"/>
                      </a:lnTo>
                      <a:close/>
                    </a:path>
                  </a:pathLst>
                </a:custGeom>
                <a:solidFill>
                  <a:schemeClr val="tx2"/>
                </a:solidFill>
                <a:ln w="1375" cap="flat">
                  <a:noFill/>
                  <a:prstDash val="solid"/>
                  <a:miter/>
                </a:ln>
              </p:spPr>
              <p:txBody>
                <a:bodyPr rtlCol="0" anchor="ctr"/>
                <a:lstStyle/>
                <a:p>
                  <a:endParaRPr lang="en-GB" dirty="0"/>
                </a:p>
              </p:txBody>
            </p:sp>
            <p:sp>
              <p:nvSpPr>
                <p:cNvPr id="444" name="Freihandform: Form 443">
                  <a:extLst>
                    <a:ext uri="{FF2B5EF4-FFF2-40B4-BE49-F238E27FC236}">
                      <a16:creationId xmlns:a16="http://schemas.microsoft.com/office/drawing/2014/main" id="{B13DE5AE-2A43-457E-8F17-E60C39164CD2}"/>
                    </a:ext>
                  </a:extLst>
                </p:cNvPr>
                <p:cNvSpPr/>
                <p:nvPr/>
              </p:nvSpPr>
              <p:spPr>
                <a:xfrm>
                  <a:off x="649427" y="3287601"/>
                  <a:ext cx="15418" cy="38526"/>
                </a:xfrm>
                <a:custGeom>
                  <a:avLst/>
                  <a:gdLst>
                    <a:gd name="connsiteX0" fmla="*/ 0 w 15418"/>
                    <a:gd name="connsiteY0" fmla="*/ 0 h 38526"/>
                    <a:gd name="connsiteX1" fmla="*/ 15419 w 15418"/>
                    <a:gd name="connsiteY1" fmla="*/ 0 h 38526"/>
                    <a:gd name="connsiteX2" fmla="*/ 15419 w 15418"/>
                    <a:gd name="connsiteY2" fmla="*/ 38526 h 38526"/>
                    <a:gd name="connsiteX3" fmla="*/ 0 w 15418"/>
                    <a:gd name="connsiteY3" fmla="*/ 38526 h 38526"/>
                  </a:gdLst>
                  <a:ahLst/>
                  <a:cxnLst>
                    <a:cxn ang="0">
                      <a:pos x="connsiteX0" y="connsiteY0"/>
                    </a:cxn>
                    <a:cxn ang="0">
                      <a:pos x="connsiteX1" y="connsiteY1"/>
                    </a:cxn>
                    <a:cxn ang="0">
                      <a:pos x="connsiteX2" y="connsiteY2"/>
                    </a:cxn>
                    <a:cxn ang="0">
                      <a:pos x="connsiteX3" y="connsiteY3"/>
                    </a:cxn>
                  </a:cxnLst>
                  <a:rect l="l" t="t" r="r" b="b"/>
                  <a:pathLst>
                    <a:path w="15418" h="38526">
                      <a:moveTo>
                        <a:pt x="0" y="0"/>
                      </a:moveTo>
                      <a:lnTo>
                        <a:pt x="15419" y="0"/>
                      </a:lnTo>
                      <a:lnTo>
                        <a:pt x="15419" y="38526"/>
                      </a:lnTo>
                      <a:lnTo>
                        <a:pt x="0" y="38526"/>
                      </a:lnTo>
                      <a:close/>
                    </a:path>
                  </a:pathLst>
                </a:custGeom>
                <a:solidFill>
                  <a:schemeClr val="tx2"/>
                </a:solidFill>
                <a:ln w="1375" cap="flat">
                  <a:noFill/>
                  <a:prstDash val="solid"/>
                  <a:miter/>
                </a:ln>
              </p:spPr>
              <p:txBody>
                <a:bodyPr rtlCol="0" anchor="ctr"/>
                <a:lstStyle/>
                <a:p>
                  <a:endParaRPr lang="en-GB" dirty="0"/>
                </a:p>
              </p:txBody>
            </p:sp>
            <p:sp>
              <p:nvSpPr>
                <p:cNvPr id="445" name="Freihandform: Form 444">
                  <a:extLst>
                    <a:ext uri="{FF2B5EF4-FFF2-40B4-BE49-F238E27FC236}">
                      <a16:creationId xmlns:a16="http://schemas.microsoft.com/office/drawing/2014/main" id="{F0A958B5-E95F-4C5B-9AB8-7F7D667C0092}"/>
                    </a:ext>
                  </a:extLst>
                </p:cNvPr>
                <p:cNvSpPr/>
                <p:nvPr/>
              </p:nvSpPr>
              <p:spPr>
                <a:xfrm>
                  <a:off x="849788" y="3287601"/>
                  <a:ext cx="15418" cy="38526"/>
                </a:xfrm>
                <a:custGeom>
                  <a:avLst/>
                  <a:gdLst>
                    <a:gd name="connsiteX0" fmla="*/ 0 w 15418"/>
                    <a:gd name="connsiteY0" fmla="*/ 0 h 38526"/>
                    <a:gd name="connsiteX1" fmla="*/ 15419 w 15418"/>
                    <a:gd name="connsiteY1" fmla="*/ 0 h 38526"/>
                    <a:gd name="connsiteX2" fmla="*/ 15419 w 15418"/>
                    <a:gd name="connsiteY2" fmla="*/ 38526 h 38526"/>
                    <a:gd name="connsiteX3" fmla="*/ 0 w 15418"/>
                    <a:gd name="connsiteY3" fmla="*/ 38526 h 38526"/>
                  </a:gdLst>
                  <a:ahLst/>
                  <a:cxnLst>
                    <a:cxn ang="0">
                      <a:pos x="connsiteX0" y="connsiteY0"/>
                    </a:cxn>
                    <a:cxn ang="0">
                      <a:pos x="connsiteX1" y="connsiteY1"/>
                    </a:cxn>
                    <a:cxn ang="0">
                      <a:pos x="connsiteX2" y="connsiteY2"/>
                    </a:cxn>
                    <a:cxn ang="0">
                      <a:pos x="connsiteX3" y="connsiteY3"/>
                    </a:cxn>
                  </a:cxnLst>
                  <a:rect l="l" t="t" r="r" b="b"/>
                  <a:pathLst>
                    <a:path w="15418" h="38526">
                      <a:moveTo>
                        <a:pt x="0" y="0"/>
                      </a:moveTo>
                      <a:lnTo>
                        <a:pt x="15419" y="0"/>
                      </a:lnTo>
                      <a:lnTo>
                        <a:pt x="15419" y="38526"/>
                      </a:lnTo>
                      <a:lnTo>
                        <a:pt x="0" y="38526"/>
                      </a:lnTo>
                      <a:close/>
                    </a:path>
                  </a:pathLst>
                </a:custGeom>
                <a:solidFill>
                  <a:schemeClr val="tx2"/>
                </a:solidFill>
                <a:ln w="1375" cap="flat">
                  <a:noFill/>
                  <a:prstDash val="solid"/>
                  <a:miter/>
                </a:ln>
              </p:spPr>
              <p:txBody>
                <a:bodyPr rtlCol="0" anchor="ctr"/>
                <a:lstStyle/>
                <a:p>
                  <a:endParaRPr lang="en-GB" dirty="0"/>
                </a:p>
              </p:txBody>
            </p:sp>
            <p:sp>
              <p:nvSpPr>
                <p:cNvPr id="453" name="Freihandform: Form 452">
                  <a:extLst>
                    <a:ext uri="{FF2B5EF4-FFF2-40B4-BE49-F238E27FC236}">
                      <a16:creationId xmlns:a16="http://schemas.microsoft.com/office/drawing/2014/main" id="{17399325-F5A9-4FA2-B8F9-9B4887EBD58B}"/>
                    </a:ext>
                  </a:extLst>
                </p:cNvPr>
                <p:cNvSpPr/>
                <p:nvPr/>
              </p:nvSpPr>
              <p:spPr>
                <a:xfrm>
                  <a:off x="780424" y="3310708"/>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54" name="Freihandform: Form 453">
                  <a:extLst>
                    <a:ext uri="{FF2B5EF4-FFF2-40B4-BE49-F238E27FC236}">
                      <a16:creationId xmlns:a16="http://schemas.microsoft.com/office/drawing/2014/main" id="{223D21CE-5642-4940-9BC0-64AFEA086ED7}"/>
                    </a:ext>
                  </a:extLst>
                </p:cNvPr>
                <p:cNvSpPr/>
                <p:nvPr/>
              </p:nvSpPr>
              <p:spPr>
                <a:xfrm>
                  <a:off x="718777" y="3310708"/>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55" name="Freihandform: Form 454">
                  <a:extLst>
                    <a:ext uri="{FF2B5EF4-FFF2-40B4-BE49-F238E27FC236}">
                      <a16:creationId xmlns:a16="http://schemas.microsoft.com/office/drawing/2014/main" id="{C7FF5496-D03E-4147-88A4-5B7623FC3DE1}"/>
                    </a:ext>
                  </a:extLst>
                </p:cNvPr>
                <p:cNvSpPr/>
                <p:nvPr/>
              </p:nvSpPr>
              <p:spPr>
                <a:xfrm>
                  <a:off x="749601" y="3310708"/>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56" name="Freihandform: Form 455">
                  <a:extLst>
                    <a:ext uri="{FF2B5EF4-FFF2-40B4-BE49-F238E27FC236}">
                      <a16:creationId xmlns:a16="http://schemas.microsoft.com/office/drawing/2014/main" id="{66FC6195-90B9-4B1C-B018-FCC41435F89D}"/>
                    </a:ext>
                  </a:extLst>
                </p:cNvPr>
                <p:cNvSpPr/>
                <p:nvPr/>
              </p:nvSpPr>
              <p:spPr>
                <a:xfrm>
                  <a:off x="780424" y="3572716"/>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57" name="Freihandform: Form 456">
                  <a:extLst>
                    <a:ext uri="{FF2B5EF4-FFF2-40B4-BE49-F238E27FC236}">
                      <a16:creationId xmlns:a16="http://schemas.microsoft.com/office/drawing/2014/main" id="{C6184D8A-DB88-4185-A367-F9D188CE4EF0}"/>
                    </a:ext>
                  </a:extLst>
                </p:cNvPr>
                <p:cNvSpPr/>
                <p:nvPr/>
              </p:nvSpPr>
              <p:spPr>
                <a:xfrm>
                  <a:off x="718777" y="3572716"/>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58" name="Freihandform: Form 457">
                  <a:extLst>
                    <a:ext uri="{FF2B5EF4-FFF2-40B4-BE49-F238E27FC236}">
                      <a16:creationId xmlns:a16="http://schemas.microsoft.com/office/drawing/2014/main" id="{839A091C-9C04-4B41-9D2C-6171E7220C3B}"/>
                    </a:ext>
                  </a:extLst>
                </p:cNvPr>
                <p:cNvSpPr/>
                <p:nvPr/>
              </p:nvSpPr>
              <p:spPr>
                <a:xfrm>
                  <a:off x="749601" y="3572716"/>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grpSp>
        </p:grpSp>
      </p:grpSp>
      <p:grpSp>
        <p:nvGrpSpPr>
          <p:cNvPr id="660" name="Gruppieren 659">
            <a:extLst>
              <a:ext uri="{FF2B5EF4-FFF2-40B4-BE49-F238E27FC236}">
                <a16:creationId xmlns:a16="http://schemas.microsoft.com/office/drawing/2014/main" id="{3A01431A-2A6F-4D09-A9F7-085BB9319B4E}"/>
              </a:ext>
            </a:extLst>
          </p:cNvPr>
          <p:cNvGrpSpPr>
            <a:grpSpLocks noChangeAspect="1"/>
          </p:cNvGrpSpPr>
          <p:nvPr/>
        </p:nvGrpSpPr>
        <p:grpSpPr>
          <a:xfrm>
            <a:off x="1315172" y="2449341"/>
            <a:ext cx="432012" cy="432002"/>
            <a:chOff x="1316095" y="2428491"/>
            <a:chExt cx="496941" cy="496928"/>
          </a:xfrm>
        </p:grpSpPr>
        <p:grpSp>
          <p:nvGrpSpPr>
            <p:cNvPr id="658" name="Gruppieren 657">
              <a:extLst>
                <a:ext uri="{FF2B5EF4-FFF2-40B4-BE49-F238E27FC236}">
                  <a16:creationId xmlns:a16="http://schemas.microsoft.com/office/drawing/2014/main" id="{466EB042-E37A-4B7B-81AB-3B8818F0C19C}"/>
                </a:ext>
              </a:extLst>
            </p:cNvPr>
            <p:cNvGrpSpPr/>
            <p:nvPr/>
          </p:nvGrpSpPr>
          <p:grpSpPr>
            <a:xfrm>
              <a:off x="1316095" y="2428491"/>
              <a:ext cx="496941" cy="130775"/>
              <a:chOff x="1316096" y="2428493"/>
              <a:chExt cx="496941" cy="130775"/>
            </a:xfrm>
          </p:grpSpPr>
          <p:sp>
            <p:nvSpPr>
              <p:cNvPr id="466" name="Freihandform: Form 465">
                <a:extLst>
                  <a:ext uri="{FF2B5EF4-FFF2-40B4-BE49-F238E27FC236}">
                    <a16:creationId xmlns:a16="http://schemas.microsoft.com/office/drawing/2014/main" id="{1667AE25-392B-4F2B-B5CC-31DB47B49D83}"/>
                  </a:ext>
                </a:extLst>
              </p:cNvPr>
              <p:cNvSpPr/>
              <p:nvPr/>
            </p:nvSpPr>
            <p:spPr>
              <a:xfrm rot="18900000">
                <a:off x="1316096" y="2486174"/>
                <a:ext cx="130775" cy="15404"/>
              </a:xfrm>
              <a:custGeom>
                <a:avLst/>
                <a:gdLst>
                  <a:gd name="connsiteX0" fmla="*/ 0 w 130775"/>
                  <a:gd name="connsiteY0" fmla="*/ 0 h 15404"/>
                  <a:gd name="connsiteX1" fmla="*/ 130775 w 130775"/>
                  <a:gd name="connsiteY1" fmla="*/ 0 h 15404"/>
                  <a:gd name="connsiteX2" fmla="*/ 130775 w 130775"/>
                  <a:gd name="connsiteY2" fmla="*/ 15405 h 15404"/>
                  <a:gd name="connsiteX3" fmla="*/ 0 w 130775"/>
                  <a:gd name="connsiteY3" fmla="*/ 15405 h 15404"/>
                </a:gdLst>
                <a:ahLst/>
                <a:cxnLst>
                  <a:cxn ang="0">
                    <a:pos x="connsiteX0" y="connsiteY0"/>
                  </a:cxn>
                  <a:cxn ang="0">
                    <a:pos x="connsiteX1" y="connsiteY1"/>
                  </a:cxn>
                  <a:cxn ang="0">
                    <a:pos x="connsiteX2" y="connsiteY2"/>
                  </a:cxn>
                  <a:cxn ang="0">
                    <a:pos x="connsiteX3" y="connsiteY3"/>
                  </a:cxn>
                </a:cxnLst>
                <a:rect l="l" t="t" r="r" b="b"/>
                <a:pathLst>
                  <a:path w="130775" h="15404">
                    <a:moveTo>
                      <a:pt x="0" y="0"/>
                    </a:moveTo>
                    <a:lnTo>
                      <a:pt x="130775" y="0"/>
                    </a:lnTo>
                    <a:lnTo>
                      <a:pt x="130775" y="15405"/>
                    </a:lnTo>
                    <a:lnTo>
                      <a:pt x="0" y="15405"/>
                    </a:lnTo>
                    <a:close/>
                  </a:path>
                </a:pathLst>
              </a:custGeom>
              <a:solidFill>
                <a:schemeClr val="accent1"/>
              </a:solidFill>
              <a:ln w="1375" cap="flat">
                <a:noFill/>
                <a:prstDash val="solid"/>
                <a:miter/>
              </a:ln>
            </p:spPr>
            <p:txBody>
              <a:bodyPr rtlCol="0" anchor="ctr"/>
              <a:lstStyle/>
              <a:p>
                <a:endParaRPr lang="en-GB" dirty="0"/>
              </a:p>
            </p:txBody>
          </p:sp>
          <p:sp>
            <p:nvSpPr>
              <p:cNvPr id="467" name="Freihandform: Form 466">
                <a:extLst>
                  <a:ext uri="{FF2B5EF4-FFF2-40B4-BE49-F238E27FC236}">
                    <a16:creationId xmlns:a16="http://schemas.microsoft.com/office/drawing/2014/main" id="{6D13924A-0041-4319-8B17-06E5891088BB}"/>
                  </a:ext>
                </a:extLst>
              </p:cNvPr>
              <p:cNvSpPr/>
              <p:nvPr/>
            </p:nvSpPr>
            <p:spPr>
              <a:xfrm>
                <a:off x="1373790" y="2432227"/>
                <a:ext cx="15418" cy="123294"/>
              </a:xfrm>
              <a:custGeom>
                <a:avLst/>
                <a:gdLst>
                  <a:gd name="connsiteX0" fmla="*/ 0 w 15418"/>
                  <a:gd name="connsiteY0" fmla="*/ 0 h 123294"/>
                  <a:gd name="connsiteX1" fmla="*/ 15419 w 15418"/>
                  <a:gd name="connsiteY1" fmla="*/ 0 h 123294"/>
                  <a:gd name="connsiteX2" fmla="*/ 15419 w 15418"/>
                  <a:gd name="connsiteY2" fmla="*/ 123295 h 123294"/>
                  <a:gd name="connsiteX3" fmla="*/ 0 w 15418"/>
                  <a:gd name="connsiteY3" fmla="*/ 123295 h 123294"/>
                </a:gdLst>
                <a:ahLst/>
                <a:cxnLst>
                  <a:cxn ang="0">
                    <a:pos x="connsiteX0" y="connsiteY0"/>
                  </a:cxn>
                  <a:cxn ang="0">
                    <a:pos x="connsiteX1" y="connsiteY1"/>
                  </a:cxn>
                  <a:cxn ang="0">
                    <a:pos x="connsiteX2" y="connsiteY2"/>
                  </a:cxn>
                  <a:cxn ang="0">
                    <a:pos x="connsiteX3" y="connsiteY3"/>
                  </a:cxn>
                </a:cxnLst>
                <a:rect l="l" t="t" r="r" b="b"/>
                <a:pathLst>
                  <a:path w="15418" h="123294">
                    <a:moveTo>
                      <a:pt x="0" y="0"/>
                    </a:moveTo>
                    <a:lnTo>
                      <a:pt x="15419" y="0"/>
                    </a:lnTo>
                    <a:lnTo>
                      <a:pt x="15419" y="123295"/>
                    </a:lnTo>
                    <a:lnTo>
                      <a:pt x="0" y="123295"/>
                    </a:lnTo>
                    <a:close/>
                  </a:path>
                </a:pathLst>
              </a:custGeom>
              <a:solidFill>
                <a:schemeClr val="accent1"/>
              </a:solidFill>
              <a:ln w="1375" cap="flat">
                <a:noFill/>
                <a:prstDash val="solid"/>
                <a:miter/>
              </a:ln>
            </p:spPr>
            <p:txBody>
              <a:bodyPr rtlCol="0" anchor="ctr"/>
              <a:lstStyle/>
              <a:p>
                <a:endParaRPr lang="en-GB" dirty="0"/>
              </a:p>
            </p:txBody>
          </p:sp>
          <p:sp>
            <p:nvSpPr>
              <p:cNvPr id="468" name="Freihandform: Form 467">
                <a:extLst>
                  <a:ext uri="{FF2B5EF4-FFF2-40B4-BE49-F238E27FC236}">
                    <a16:creationId xmlns:a16="http://schemas.microsoft.com/office/drawing/2014/main" id="{9C54AB40-D87B-44E8-BBD3-20A9569D39C6}"/>
                  </a:ext>
                </a:extLst>
              </p:cNvPr>
              <p:cNvSpPr/>
              <p:nvPr/>
            </p:nvSpPr>
            <p:spPr>
              <a:xfrm>
                <a:off x="1319845" y="2486172"/>
                <a:ext cx="123294" cy="15418"/>
              </a:xfrm>
              <a:custGeom>
                <a:avLst/>
                <a:gdLst>
                  <a:gd name="connsiteX0" fmla="*/ 0 w 123294"/>
                  <a:gd name="connsiteY0" fmla="*/ 0 h 15418"/>
                  <a:gd name="connsiteX1" fmla="*/ 123295 w 123294"/>
                  <a:gd name="connsiteY1" fmla="*/ 0 h 15418"/>
                  <a:gd name="connsiteX2" fmla="*/ 123295 w 123294"/>
                  <a:gd name="connsiteY2" fmla="*/ 15419 h 15418"/>
                  <a:gd name="connsiteX3" fmla="*/ 0 w 123294"/>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23294" h="15418">
                    <a:moveTo>
                      <a:pt x="0" y="0"/>
                    </a:moveTo>
                    <a:lnTo>
                      <a:pt x="123295" y="0"/>
                    </a:lnTo>
                    <a:lnTo>
                      <a:pt x="123295"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469" name="Freihandform: Form 468">
                <a:extLst>
                  <a:ext uri="{FF2B5EF4-FFF2-40B4-BE49-F238E27FC236}">
                    <a16:creationId xmlns:a16="http://schemas.microsoft.com/office/drawing/2014/main" id="{658B67FC-71CE-46C0-9F30-6CEE6520452D}"/>
                  </a:ext>
                </a:extLst>
              </p:cNvPr>
              <p:cNvSpPr/>
              <p:nvPr/>
            </p:nvSpPr>
            <p:spPr>
              <a:xfrm rot="18900000">
                <a:off x="1358370" y="2434874"/>
                <a:ext cx="15404" cy="87178"/>
              </a:xfrm>
              <a:custGeom>
                <a:avLst/>
                <a:gdLst>
                  <a:gd name="connsiteX0" fmla="*/ 0 w 15404"/>
                  <a:gd name="connsiteY0" fmla="*/ 0 h 87178"/>
                  <a:gd name="connsiteX1" fmla="*/ 15405 w 15404"/>
                  <a:gd name="connsiteY1" fmla="*/ 0 h 87178"/>
                  <a:gd name="connsiteX2" fmla="*/ 15405 w 15404"/>
                  <a:gd name="connsiteY2" fmla="*/ 87179 h 87178"/>
                  <a:gd name="connsiteX3" fmla="*/ 0 w 15404"/>
                  <a:gd name="connsiteY3" fmla="*/ 87179 h 87178"/>
                </a:gdLst>
                <a:ahLst/>
                <a:cxnLst>
                  <a:cxn ang="0">
                    <a:pos x="connsiteX0" y="connsiteY0"/>
                  </a:cxn>
                  <a:cxn ang="0">
                    <a:pos x="connsiteX1" y="connsiteY1"/>
                  </a:cxn>
                  <a:cxn ang="0">
                    <a:pos x="connsiteX2" y="connsiteY2"/>
                  </a:cxn>
                  <a:cxn ang="0">
                    <a:pos x="connsiteX3" y="connsiteY3"/>
                  </a:cxn>
                </a:cxnLst>
                <a:rect l="l" t="t" r="r" b="b"/>
                <a:pathLst>
                  <a:path w="15404" h="87178">
                    <a:moveTo>
                      <a:pt x="0" y="0"/>
                    </a:moveTo>
                    <a:lnTo>
                      <a:pt x="15405" y="0"/>
                    </a:lnTo>
                    <a:lnTo>
                      <a:pt x="15405" y="87179"/>
                    </a:lnTo>
                    <a:lnTo>
                      <a:pt x="0" y="87179"/>
                    </a:lnTo>
                    <a:close/>
                  </a:path>
                </a:pathLst>
              </a:custGeom>
              <a:solidFill>
                <a:schemeClr val="accent1"/>
              </a:solidFill>
              <a:ln w="1375" cap="flat">
                <a:noFill/>
                <a:prstDash val="solid"/>
                <a:miter/>
              </a:ln>
            </p:spPr>
            <p:txBody>
              <a:bodyPr rtlCol="0" anchor="ctr"/>
              <a:lstStyle/>
              <a:p>
                <a:endParaRPr lang="en-GB" dirty="0"/>
              </a:p>
            </p:txBody>
          </p:sp>
          <p:sp>
            <p:nvSpPr>
              <p:cNvPr id="470" name="Freihandform: Form 469">
                <a:extLst>
                  <a:ext uri="{FF2B5EF4-FFF2-40B4-BE49-F238E27FC236}">
                    <a16:creationId xmlns:a16="http://schemas.microsoft.com/office/drawing/2014/main" id="{C7B6AD67-1CDE-4EAE-8592-CB8EAD96AD07}"/>
                  </a:ext>
                </a:extLst>
              </p:cNvPr>
              <p:cNvSpPr/>
              <p:nvPr/>
            </p:nvSpPr>
            <p:spPr>
              <a:xfrm>
                <a:off x="1350669" y="2463051"/>
                <a:ext cx="61647" cy="61647"/>
              </a:xfrm>
              <a:custGeom>
                <a:avLst/>
                <a:gdLst>
                  <a:gd name="connsiteX0" fmla="*/ 30824 w 61647"/>
                  <a:gd name="connsiteY0" fmla="*/ 61647 h 61647"/>
                  <a:gd name="connsiteX1" fmla="*/ 0 w 61647"/>
                  <a:gd name="connsiteY1" fmla="*/ 30824 h 61647"/>
                  <a:gd name="connsiteX2" fmla="*/ 30824 w 61647"/>
                  <a:gd name="connsiteY2" fmla="*/ 0 h 61647"/>
                  <a:gd name="connsiteX3" fmla="*/ 61647 w 61647"/>
                  <a:gd name="connsiteY3" fmla="*/ 30824 h 61647"/>
                  <a:gd name="connsiteX4" fmla="*/ 30824 w 61647"/>
                  <a:gd name="connsiteY4" fmla="*/ 61647 h 61647"/>
                  <a:gd name="connsiteX5" fmla="*/ 30824 w 61647"/>
                  <a:gd name="connsiteY5" fmla="*/ 15419 h 61647"/>
                  <a:gd name="connsiteX6" fmla="*/ 15405 w 61647"/>
                  <a:gd name="connsiteY6" fmla="*/ 30837 h 61647"/>
                  <a:gd name="connsiteX7" fmla="*/ 30824 w 61647"/>
                  <a:gd name="connsiteY7" fmla="*/ 46256 h 61647"/>
                  <a:gd name="connsiteX8" fmla="*/ 46242 w 61647"/>
                  <a:gd name="connsiteY8" fmla="*/ 30837 h 61647"/>
                  <a:gd name="connsiteX9" fmla="*/ 30824 w 61647"/>
                  <a:gd name="connsiteY9" fmla="*/ 15419 h 6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47" h="61647">
                    <a:moveTo>
                      <a:pt x="30824" y="61647"/>
                    </a:moveTo>
                    <a:cubicBezTo>
                      <a:pt x="13820" y="61647"/>
                      <a:pt x="0" y="47813"/>
                      <a:pt x="0" y="30824"/>
                    </a:cubicBezTo>
                    <a:cubicBezTo>
                      <a:pt x="0" y="13834"/>
                      <a:pt x="13834" y="0"/>
                      <a:pt x="30824" y="0"/>
                    </a:cubicBezTo>
                    <a:cubicBezTo>
                      <a:pt x="47813" y="0"/>
                      <a:pt x="61647" y="13834"/>
                      <a:pt x="61647" y="30824"/>
                    </a:cubicBezTo>
                    <a:cubicBezTo>
                      <a:pt x="61647" y="47813"/>
                      <a:pt x="47827" y="61647"/>
                      <a:pt x="30824" y="61647"/>
                    </a:cubicBezTo>
                    <a:close/>
                    <a:moveTo>
                      <a:pt x="30824" y="15419"/>
                    </a:moveTo>
                    <a:cubicBezTo>
                      <a:pt x="22322" y="15419"/>
                      <a:pt x="15405" y="22336"/>
                      <a:pt x="15405" y="30837"/>
                    </a:cubicBezTo>
                    <a:cubicBezTo>
                      <a:pt x="15405" y="39339"/>
                      <a:pt x="22322" y="46256"/>
                      <a:pt x="30824" y="46256"/>
                    </a:cubicBezTo>
                    <a:cubicBezTo>
                      <a:pt x="39325" y="46256"/>
                      <a:pt x="46242" y="39339"/>
                      <a:pt x="46242" y="30837"/>
                    </a:cubicBezTo>
                    <a:cubicBezTo>
                      <a:pt x="46242" y="22322"/>
                      <a:pt x="39325" y="15419"/>
                      <a:pt x="30824" y="15419"/>
                    </a:cubicBezTo>
                    <a:close/>
                  </a:path>
                </a:pathLst>
              </a:custGeom>
              <a:solidFill>
                <a:schemeClr val="accent1"/>
              </a:solidFill>
              <a:ln w="1375" cap="flat">
                <a:noFill/>
                <a:prstDash val="solid"/>
                <a:miter/>
              </a:ln>
            </p:spPr>
            <p:txBody>
              <a:bodyPr rtlCol="0" anchor="ctr"/>
              <a:lstStyle/>
              <a:p>
                <a:endParaRPr lang="en-GB" dirty="0"/>
              </a:p>
            </p:txBody>
          </p:sp>
          <p:sp>
            <p:nvSpPr>
              <p:cNvPr id="471" name="Freihandform: Form 470">
                <a:extLst>
                  <a:ext uri="{FF2B5EF4-FFF2-40B4-BE49-F238E27FC236}">
                    <a16:creationId xmlns:a16="http://schemas.microsoft.com/office/drawing/2014/main" id="{548AB7C9-746F-46C7-A82E-A7917132B413}"/>
                  </a:ext>
                </a:extLst>
              </p:cNvPr>
              <p:cNvSpPr/>
              <p:nvPr/>
            </p:nvSpPr>
            <p:spPr>
              <a:xfrm rot="17637645">
                <a:off x="1354485" y="2448208"/>
                <a:ext cx="15404" cy="75892"/>
              </a:xfrm>
              <a:custGeom>
                <a:avLst/>
                <a:gdLst>
                  <a:gd name="connsiteX0" fmla="*/ 0 w 15404"/>
                  <a:gd name="connsiteY0" fmla="*/ 0 h 75892"/>
                  <a:gd name="connsiteX1" fmla="*/ 15404 w 15404"/>
                  <a:gd name="connsiteY1" fmla="*/ 0 h 75892"/>
                  <a:gd name="connsiteX2" fmla="*/ 15404 w 15404"/>
                  <a:gd name="connsiteY2" fmla="*/ 75893 h 75892"/>
                  <a:gd name="connsiteX3" fmla="*/ 0 w 15404"/>
                  <a:gd name="connsiteY3" fmla="*/ 75893 h 75892"/>
                </a:gdLst>
                <a:ahLst/>
                <a:cxnLst>
                  <a:cxn ang="0">
                    <a:pos x="connsiteX0" y="connsiteY0"/>
                  </a:cxn>
                  <a:cxn ang="0">
                    <a:pos x="connsiteX1" y="connsiteY1"/>
                  </a:cxn>
                  <a:cxn ang="0">
                    <a:pos x="connsiteX2" y="connsiteY2"/>
                  </a:cxn>
                  <a:cxn ang="0">
                    <a:pos x="connsiteX3" y="connsiteY3"/>
                  </a:cxn>
                </a:cxnLst>
                <a:rect l="l" t="t" r="r" b="b"/>
                <a:pathLst>
                  <a:path w="15404" h="75892">
                    <a:moveTo>
                      <a:pt x="0" y="0"/>
                    </a:moveTo>
                    <a:lnTo>
                      <a:pt x="15404" y="0"/>
                    </a:lnTo>
                    <a:lnTo>
                      <a:pt x="15404" y="75893"/>
                    </a:lnTo>
                    <a:lnTo>
                      <a:pt x="0" y="75893"/>
                    </a:lnTo>
                    <a:close/>
                  </a:path>
                </a:pathLst>
              </a:custGeom>
              <a:solidFill>
                <a:schemeClr val="accent1"/>
              </a:solidFill>
              <a:ln w="1375" cap="flat">
                <a:noFill/>
                <a:prstDash val="solid"/>
                <a:miter/>
              </a:ln>
            </p:spPr>
            <p:txBody>
              <a:bodyPr rtlCol="0" anchor="ctr"/>
              <a:lstStyle/>
              <a:p>
                <a:endParaRPr lang="en-GB" dirty="0"/>
              </a:p>
            </p:txBody>
          </p:sp>
          <p:sp>
            <p:nvSpPr>
              <p:cNvPr id="472" name="Freihandform: Form 471">
                <a:extLst>
                  <a:ext uri="{FF2B5EF4-FFF2-40B4-BE49-F238E27FC236}">
                    <a16:creationId xmlns:a16="http://schemas.microsoft.com/office/drawing/2014/main" id="{A627EBD4-86DE-494C-8B38-4D6F45CA07E1}"/>
                  </a:ext>
                </a:extLst>
              </p:cNvPr>
              <p:cNvSpPr/>
              <p:nvPr/>
            </p:nvSpPr>
            <p:spPr>
              <a:xfrm rot="20207453">
                <a:off x="1322846" y="2486172"/>
                <a:ext cx="117373" cy="15405"/>
              </a:xfrm>
              <a:custGeom>
                <a:avLst/>
                <a:gdLst>
                  <a:gd name="connsiteX0" fmla="*/ 0 w 117373"/>
                  <a:gd name="connsiteY0" fmla="*/ 0 h 15405"/>
                  <a:gd name="connsiteX1" fmla="*/ 117373 w 117373"/>
                  <a:gd name="connsiteY1" fmla="*/ 0 h 15405"/>
                  <a:gd name="connsiteX2" fmla="*/ 117373 w 117373"/>
                  <a:gd name="connsiteY2" fmla="*/ 15405 h 15405"/>
                  <a:gd name="connsiteX3" fmla="*/ 0 w 117373"/>
                  <a:gd name="connsiteY3" fmla="*/ 15405 h 15405"/>
                </a:gdLst>
                <a:ahLst/>
                <a:cxnLst>
                  <a:cxn ang="0">
                    <a:pos x="connsiteX0" y="connsiteY0"/>
                  </a:cxn>
                  <a:cxn ang="0">
                    <a:pos x="connsiteX1" y="connsiteY1"/>
                  </a:cxn>
                  <a:cxn ang="0">
                    <a:pos x="connsiteX2" y="connsiteY2"/>
                  </a:cxn>
                  <a:cxn ang="0">
                    <a:pos x="connsiteX3" y="connsiteY3"/>
                  </a:cxn>
                </a:cxnLst>
                <a:rect l="l" t="t" r="r" b="b"/>
                <a:pathLst>
                  <a:path w="117373" h="15405">
                    <a:moveTo>
                      <a:pt x="0" y="0"/>
                    </a:moveTo>
                    <a:lnTo>
                      <a:pt x="117373" y="0"/>
                    </a:lnTo>
                    <a:lnTo>
                      <a:pt x="117373" y="15405"/>
                    </a:lnTo>
                    <a:lnTo>
                      <a:pt x="0" y="15405"/>
                    </a:lnTo>
                    <a:close/>
                  </a:path>
                </a:pathLst>
              </a:custGeom>
              <a:solidFill>
                <a:schemeClr val="accent1"/>
              </a:solidFill>
              <a:ln w="1375" cap="flat">
                <a:noFill/>
                <a:prstDash val="solid"/>
                <a:miter/>
              </a:ln>
            </p:spPr>
            <p:txBody>
              <a:bodyPr rtlCol="0" anchor="ctr"/>
              <a:lstStyle/>
              <a:p>
                <a:endParaRPr lang="en-GB" dirty="0"/>
              </a:p>
            </p:txBody>
          </p:sp>
          <p:sp>
            <p:nvSpPr>
              <p:cNvPr id="473" name="Freihandform: Form 472">
                <a:extLst>
                  <a:ext uri="{FF2B5EF4-FFF2-40B4-BE49-F238E27FC236}">
                    <a16:creationId xmlns:a16="http://schemas.microsoft.com/office/drawing/2014/main" id="{EA32E6A1-6CF6-4951-A2C5-867434042238}"/>
                  </a:ext>
                </a:extLst>
              </p:cNvPr>
              <p:cNvSpPr/>
              <p:nvPr/>
            </p:nvSpPr>
            <p:spPr>
              <a:xfrm rot="17592547">
                <a:off x="1322849" y="2486180"/>
                <a:ext cx="117373" cy="15405"/>
              </a:xfrm>
              <a:custGeom>
                <a:avLst/>
                <a:gdLst>
                  <a:gd name="connsiteX0" fmla="*/ 0 w 117373"/>
                  <a:gd name="connsiteY0" fmla="*/ 0 h 15405"/>
                  <a:gd name="connsiteX1" fmla="*/ 117373 w 117373"/>
                  <a:gd name="connsiteY1" fmla="*/ 0 h 15405"/>
                  <a:gd name="connsiteX2" fmla="*/ 117373 w 117373"/>
                  <a:gd name="connsiteY2" fmla="*/ 15405 h 15405"/>
                  <a:gd name="connsiteX3" fmla="*/ 0 w 117373"/>
                  <a:gd name="connsiteY3" fmla="*/ 15405 h 15405"/>
                </a:gdLst>
                <a:ahLst/>
                <a:cxnLst>
                  <a:cxn ang="0">
                    <a:pos x="connsiteX0" y="connsiteY0"/>
                  </a:cxn>
                  <a:cxn ang="0">
                    <a:pos x="connsiteX1" y="connsiteY1"/>
                  </a:cxn>
                  <a:cxn ang="0">
                    <a:pos x="connsiteX2" y="connsiteY2"/>
                  </a:cxn>
                  <a:cxn ang="0">
                    <a:pos x="connsiteX3" y="connsiteY3"/>
                  </a:cxn>
                </a:cxnLst>
                <a:rect l="l" t="t" r="r" b="b"/>
                <a:pathLst>
                  <a:path w="117373" h="15405">
                    <a:moveTo>
                      <a:pt x="0" y="0"/>
                    </a:moveTo>
                    <a:lnTo>
                      <a:pt x="117373" y="0"/>
                    </a:lnTo>
                    <a:lnTo>
                      <a:pt x="117373" y="15405"/>
                    </a:lnTo>
                    <a:lnTo>
                      <a:pt x="0" y="15405"/>
                    </a:lnTo>
                    <a:close/>
                  </a:path>
                </a:pathLst>
              </a:custGeom>
              <a:solidFill>
                <a:schemeClr val="accent1"/>
              </a:solidFill>
              <a:ln w="1375" cap="flat">
                <a:noFill/>
                <a:prstDash val="solid"/>
                <a:miter/>
              </a:ln>
            </p:spPr>
            <p:txBody>
              <a:bodyPr rtlCol="0" anchor="ctr"/>
              <a:lstStyle/>
              <a:p>
                <a:endParaRPr lang="en-GB" dirty="0"/>
              </a:p>
            </p:txBody>
          </p:sp>
          <p:sp>
            <p:nvSpPr>
              <p:cNvPr id="474" name="Freihandform: Form 473">
                <a:extLst>
                  <a:ext uri="{FF2B5EF4-FFF2-40B4-BE49-F238E27FC236}">
                    <a16:creationId xmlns:a16="http://schemas.microsoft.com/office/drawing/2014/main" id="{D26A812D-1518-42D3-BB52-A919C64CFAE4}"/>
                  </a:ext>
                </a:extLst>
              </p:cNvPr>
              <p:cNvSpPr/>
              <p:nvPr/>
            </p:nvSpPr>
            <p:spPr>
              <a:xfrm rot="20208085">
                <a:off x="1373731" y="2435173"/>
                <a:ext cx="15404" cy="117363"/>
              </a:xfrm>
              <a:custGeom>
                <a:avLst/>
                <a:gdLst>
                  <a:gd name="connsiteX0" fmla="*/ 0 w 15404"/>
                  <a:gd name="connsiteY0" fmla="*/ 0 h 117363"/>
                  <a:gd name="connsiteX1" fmla="*/ 15404 w 15404"/>
                  <a:gd name="connsiteY1" fmla="*/ 0 h 117363"/>
                  <a:gd name="connsiteX2" fmla="*/ 15404 w 15404"/>
                  <a:gd name="connsiteY2" fmla="*/ 117364 h 117363"/>
                  <a:gd name="connsiteX3" fmla="*/ 0 w 15404"/>
                  <a:gd name="connsiteY3" fmla="*/ 117364 h 117363"/>
                </a:gdLst>
                <a:ahLst/>
                <a:cxnLst>
                  <a:cxn ang="0">
                    <a:pos x="connsiteX0" y="connsiteY0"/>
                  </a:cxn>
                  <a:cxn ang="0">
                    <a:pos x="connsiteX1" y="connsiteY1"/>
                  </a:cxn>
                  <a:cxn ang="0">
                    <a:pos x="connsiteX2" y="connsiteY2"/>
                  </a:cxn>
                  <a:cxn ang="0">
                    <a:pos x="connsiteX3" y="connsiteY3"/>
                  </a:cxn>
                </a:cxnLst>
                <a:rect l="l" t="t" r="r" b="b"/>
                <a:pathLst>
                  <a:path w="15404" h="117363">
                    <a:moveTo>
                      <a:pt x="0" y="0"/>
                    </a:moveTo>
                    <a:lnTo>
                      <a:pt x="15404" y="0"/>
                    </a:lnTo>
                    <a:lnTo>
                      <a:pt x="15404" y="117364"/>
                    </a:lnTo>
                    <a:lnTo>
                      <a:pt x="0" y="117364"/>
                    </a:lnTo>
                    <a:close/>
                  </a:path>
                </a:pathLst>
              </a:custGeom>
              <a:solidFill>
                <a:schemeClr val="accent1"/>
              </a:solidFill>
              <a:ln w="1375" cap="flat">
                <a:noFill/>
                <a:prstDash val="solid"/>
                <a:miter/>
              </a:ln>
            </p:spPr>
            <p:txBody>
              <a:bodyPr rtlCol="0" anchor="ctr"/>
              <a:lstStyle/>
              <a:p>
                <a:endParaRPr lang="en-GB" dirty="0"/>
              </a:p>
            </p:txBody>
          </p:sp>
          <p:sp>
            <p:nvSpPr>
              <p:cNvPr id="477" name="Freihandform: Form 476">
                <a:extLst>
                  <a:ext uri="{FF2B5EF4-FFF2-40B4-BE49-F238E27FC236}">
                    <a16:creationId xmlns:a16="http://schemas.microsoft.com/office/drawing/2014/main" id="{72B1BC8E-F4D2-41C8-93DD-D96B6E04252D}"/>
                  </a:ext>
                </a:extLst>
              </p:cNvPr>
              <p:cNvSpPr/>
              <p:nvPr/>
            </p:nvSpPr>
            <p:spPr>
              <a:xfrm rot="18900000">
                <a:off x="1743675" y="2428493"/>
                <a:ext cx="15404" cy="130775"/>
              </a:xfrm>
              <a:custGeom>
                <a:avLst/>
                <a:gdLst>
                  <a:gd name="connsiteX0" fmla="*/ 0 w 15404"/>
                  <a:gd name="connsiteY0" fmla="*/ 0 h 130775"/>
                  <a:gd name="connsiteX1" fmla="*/ 15405 w 15404"/>
                  <a:gd name="connsiteY1" fmla="*/ 0 h 130775"/>
                  <a:gd name="connsiteX2" fmla="*/ 15405 w 15404"/>
                  <a:gd name="connsiteY2" fmla="*/ 130775 h 130775"/>
                  <a:gd name="connsiteX3" fmla="*/ 0 w 15404"/>
                  <a:gd name="connsiteY3" fmla="*/ 130775 h 130775"/>
                </a:gdLst>
                <a:ahLst/>
                <a:cxnLst>
                  <a:cxn ang="0">
                    <a:pos x="connsiteX0" y="connsiteY0"/>
                  </a:cxn>
                  <a:cxn ang="0">
                    <a:pos x="connsiteX1" y="connsiteY1"/>
                  </a:cxn>
                  <a:cxn ang="0">
                    <a:pos x="connsiteX2" y="connsiteY2"/>
                  </a:cxn>
                  <a:cxn ang="0">
                    <a:pos x="connsiteX3" y="connsiteY3"/>
                  </a:cxn>
                </a:cxnLst>
                <a:rect l="l" t="t" r="r" b="b"/>
                <a:pathLst>
                  <a:path w="15404" h="130775">
                    <a:moveTo>
                      <a:pt x="0" y="0"/>
                    </a:moveTo>
                    <a:lnTo>
                      <a:pt x="15405" y="0"/>
                    </a:lnTo>
                    <a:lnTo>
                      <a:pt x="15405" y="130775"/>
                    </a:lnTo>
                    <a:lnTo>
                      <a:pt x="0" y="130775"/>
                    </a:lnTo>
                    <a:close/>
                  </a:path>
                </a:pathLst>
              </a:custGeom>
              <a:solidFill>
                <a:schemeClr val="accent1"/>
              </a:solidFill>
              <a:ln w="1375" cap="flat">
                <a:noFill/>
                <a:prstDash val="solid"/>
                <a:miter/>
              </a:ln>
            </p:spPr>
            <p:txBody>
              <a:bodyPr rtlCol="0" anchor="ctr"/>
              <a:lstStyle/>
              <a:p>
                <a:endParaRPr lang="en-GB" dirty="0"/>
              </a:p>
            </p:txBody>
          </p:sp>
          <p:sp>
            <p:nvSpPr>
              <p:cNvPr id="478" name="Freihandform: Form 477">
                <a:extLst>
                  <a:ext uri="{FF2B5EF4-FFF2-40B4-BE49-F238E27FC236}">
                    <a16:creationId xmlns:a16="http://schemas.microsoft.com/office/drawing/2014/main" id="{304F8DFD-CFA7-488B-AC66-D2F3AC2C88CC}"/>
                  </a:ext>
                </a:extLst>
              </p:cNvPr>
              <p:cNvSpPr/>
              <p:nvPr/>
            </p:nvSpPr>
            <p:spPr>
              <a:xfrm>
                <a:off x="1743688" y="2432227"/>
                <a:ext cx="15418" cy="123294"/>
              </a:xfrm>
              <a:custGeom>
                <a:avLst/>
                <a:gdLst>
                  <a:gd name="connsiteX0" fmla="*/ 0 w 15418"/>
                  <a:gd name="connsiteY0" fmla="*/ 0 h 123294"/>
                  <a:gd name="connsiteX1" fmla="*/ 15419 w 15418"/>
                  <a:gd name="connsiteY1" fmla="*/ 0 h 123294"/>
                  <a:gd name="connsiteX2" fmla="*/ 15419 w 15418"/>
                  <a:gd name="connsiteY2" fmla="*/ 123295 h 123294"/>
                  <a:gd name="connsiteX3" fmla="*/ 0 w 15418"/>
                  <a:gd name="connsiteY3" fmla="*/ 123295 h 123294"/>
                </a:gdLst>
                <a:ahLst/>
                <a:cxnLst>
                  <a:cxn ang="0">
                    <a:pos x="connsiteX0" y="connsiteY0"/>
                  </a:cxn>
                  <a:cxn ang="0">
                    <a:pos x="connsiteX1" y="connsiteY1"/>
                  </a:cxn>
                  <a:cxn ang="0">
                    <a:pos x="connsiteX2" y="connsiteY2"/>
                  </a:cxn>
                  <a:cxn ang="0">
                    <a:pos x="connsiteX3" y="connsiteY3"/>
                  </a:cxn>
                </a:cxnLst>
                <a:rect l="l" t="t" r="r" b="b"/>
                <a:pathLst>
                  <a:path w="15418" h="123294">
                    <a:moveTo>
                      <a:pt x="0" y="0"/>
                    </a:moveTo>
                    <a:lnTo>
                      <a:pt x="15419" y="0"/>
                    </a:lnTo>
                    <a:lnTo>
                      <a:pt x="15419" y="123295"/>
                    </a:lnTo>
                    <a:lnTo>
                      <a:pt x="0" y="123295"/>
                    </a:lnTo>
                    <a:close/>
                  </a:path>
                </a:pathLst>
              </a:custGeom>
              <a:solidFill>
                <a:schemeClr val="accent1"/>
              </a:solidFill>
              <a:ln w="1375" cap="flat">
                <a:noFill/>
                <a:prstDash val="solid"/>
                <a:miter/>
              </a:ln>
            </p:spPr>
            <p:txBody>
              <a:bodyPr rtlCol="0" anchor="ctr"/>
              <a:lstStyle/>
              <a:p>
                <a:endParaRPr lang="en-GB" dirty="0"/>
              </a:p>
            </p:txBody>
          </p:sp>
          <p:sp>
            <p:nvSpPr>
              <p:cNvPr id="479" name="Freihandform: Form 478">
                <a:extLst>
                  <a:ext uri="{FF2B5EF4-FFF2-40B4-BE49-F238E27FC236}">
                    <a16:creationId xmlns:a16="http://schemas.microsoft.com/office/drawing/2014/main" id="{367C31E8-73FD-47B1-8662-E9A37714A649}"/>
                  </a:ext>
                </a:extLst>
              </p:cNvPr>
              <p:cNvSpPr/>
              <p:nvPr/>
            </p:nvSpPr>
            <p:spPr>
              <a:xfrm>
                <a:off x="1689743" y="2486172"/>
                <a:ext cx="123294" cy="15418"/>
              </a:xfrm>
              <a:custGeom>
                <a:avLst/>
                <a:gdLst>
                  <a:gd name="connsiteX0" fmla="*/ 0 w 123294"/>
                  <a:gd name="connsiteY0" fmla="*/ 0 h 15418"/>
                  <a:gd name="connsiteX1" fmla="*/ 123295 w 123294"/>
                  <a:gd name="connsiteY1" fmla="*/ 0 h 15418"/>
                  <a:gd name="connsiteX2" fmla="*/ 123295 w 123294"/>
                  <a:gd name="connsiteY2" fmla="*/ 15419 h 15418"/>
                  <a:gd name="connsiteX3" fmla="*/ 0 w 123294"/>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23294" h="15418">
                    <a:moveTo>
                      <a:pt x="0" y="0"/>
                    </a:moveTo>
                    <a:lnTo>
                      <a:pt x="123295" y="0"/>
                    </a:lnTo>
                    <a:lnTo>
                      <a:pt x="123295"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480" name="Freihandform: Form 479">
                <a:extLst>
                  <a:ext uri="{FF2B5EF4-FFF2-40B4-BE49-F238E27FC236}">
                    <a16:creationId xmlns:a16="http://schemas.microsoft.com/office/drawing/2014/main" id="{BAD2A3D5-9801-4AE8-902D-D665A1C96F83}"/>
                  </a:ext>
                </a:extLst>
              </p:cNvPr>
              <p:cNvSpPr/>
              <p:nvPr/>
            </p:nvSpPr>
            <p:spPr>
              <a:xfrm rot="18900000">
                <a:off x="1723200" y="2470768"/>
                <a:ext cx="87178" cy="15404"/>
              </a:xfrm>
              <a:custGeom>
                <a:avLst/>
                <a:gdLst>
                  <a:gd name="connsiteX0" fmla="*/ 0 w 87178"/>
                  <a:gd name="connsiteY0" fmla="*/ 0 h 15404"/>
                  <a:gd name="connsiteX1" fmla="*/ 87179 w 87178"/>
                  <a:gd name="connsiteY1" fmla="*/ 0 h 15404"/>
                  <a:gd name="connsiteX2" fmla="*/ 87179 w 87178"/>
                  <a:gd name="connsiteY2" fmla="*/ 15405 h 15404"/>
                  <a:gd name="connsiteX3" fmla="*/ 0 w 87178"/>
                  <a:gd name="connsiteY3" fmla="*/ 15405 h 15404"/>
                </a:gdLst>
                <a:ahLst/>
                <a:cxnLst>
                  <a:cxn ang="0">
                    <a:pos x="connsiteX0" y="connsiteY0"/>
                  </a:cxn>
                  <a:cxn ang="0">
                    <a:pos x="connsiteX1" y="connsiteY1"/>
                  </a:cxn>
                  <a:cxn ang="0">
                    <a:pos x="connsiteX2" y="connsiteY2"/>
                  </a:cxn>
                  <a:cxn ang="0">
                    <a:pos x="connsiteX3" y="connsiteY3"/>
                  </a:cxn>
                </a:cxnLst>
                <a:rect l="l" t="t" r="r" b="b"/>
                <a:pathLst>
                  <a:path w="87178" h="15404">
                    <a:moveTo>
                      <a:pt x="0" y="0"/>
                    </a:moveTo>
                    <a:lnTo>
                      <a:pt x="87179" y="0"/>
                    </a:lnTo>
                    <a:lnTo>
                      <a:pt x="87179" y="15405"/>
                    </a:lnTo>
                    <a:lnTo>
                      <a:pt x="0" y="15405"/>
                    </a:lnTo>
                    <a:close/>
                  </a:path>
                </a:pathLst>
              </a:custGeom>
              <a:solidFill>
                <a:schemeClr val="accent1"/>
              </a:solidFill>
              <a:ln w="1375" cap="flat">
                <a:noFill/>
                <a:prstDash val="solid"/>
                <a:miter/>
              </a:ln>
            </p:spPr>
            <p:txBody>
              <a:bodyPr rtlCol="0" anchor="ctr"/>
              <a:lstStyle/>
              <a:p>
                <a:endParaRPr lang="en-GB" dirty="0"/>
              </a:p>
            </p:txBody>
          </p:sp>
          <p:sp>
            <p:nvSpPr>
              <p:cNvPr id="481" name="Freihandform: Form 480">
                <a:extLst>
                  <a:ext uri="{FF2B5EF4-FFF2-40B4-BE49-F238E27FC236}">
                    <a16:creationId xmlns:a16="http://schemas.microsoft.com/office/drawing/2014/main" id="{A8182D31-4E84-4114-8EC1-4E2C5DF97A78}"/>
                  </a:ext>
                </a:extLst>
              </p:cNvPr>
              <p:cNvSpPr/>
              <p:nvPr/>
            </p:nvSpPr>
            <p:spPr>
              <a:xfrm>
                <a:off x="1720566" y="2463051"/>
                <a:ext cx="61647" cy="61647"/>
              </a:xfrm>
              <a:custGeom>
                <a:avLst/>
                <a:gdLst>
                  <a:gd name="connsiteX0" fmla="*/ 30824 w 61647"/>
                  <a:gd name="connsiteY0" fmla="*/ 61647 h 61647"/>
                  <a:gd name="connsiteX1" fmla="*/ 0 w 61647"/>
                  <a:gd name="connsiteY1" fmla="*/ 30824 h 61647"/>
                  <a:gd name="connsiteX2" fmla="*/ 30824 w 61647"/>
                  <a:gd name="connsiteY2" fmla="*/ 0 h 61647"/>
                  <a:gd name="connsiteX3" fmla="*/ 61647 w 61647"/>
                  <a:gd name="connsiteY3" fmla="*/ 30824 h 61647"/>
                  <a:gd name="connsiteX4" fmla="*/ 30824 w 61647"/>
                  <a:gd name="connsiteY4" fmla="*/ 61647 h 61647"/>
                  <a:gd name="connsiteX5" fmla="*/ 30824 w 61647"/>
                  <a:gd name="connsiteY5" fmla="*/ 15419 h 61647"/>
                  <a:gd name="connsiteX6" fmla="*/ 15405 w 61647"/>
                  <a:gd name="connsiteY6" fmla="*/ 30837 h 61647"/>
                  <a:gd name="connsiteX7" fmla="*/ 30824 w 61647"/>
                  <a:gd name="connsiteY7" fmla="*/ 46256 h 61647"/>
                  <a:gd name="connsiteX8" fmla="*/ 46242 w 61647"/>
                  <a:gd name="connsiteY8" fmla="*/ 30837 h 61647"/>
                  <a:gd name="connsiteX9" fmla="*/ 30824 w 61647"/>
                  <a:gd name="connsiteY9" fmla="*/ 15419 h 6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647" h="61647">
                    <a:moveTo>
                      <a:pt x="30824" y="61647"/>
                    </a:moveTo>
                    <a:cubicBezTo>
                      <a:pt x="13820" y="61647"/>
                      <a:pt x="0" y="47813"/>
                      <a:pt x="0" y="30824"/>
                    </a:cubicBezTo>
                    <a:cubicBezTo>
                      <a:pt x="0" y="13834"/>
                      <a:pt x="13834" y="0"/>
                      <a:pt x="30824" y="0"/>
                    </a:cubicBezTo>
                    <a:cubicBezTo>
                      <a:pt x="47813" y="0"/>
                      <a:pt x="61647" y="13834"/>
                      <a:pt x="61647" y="30824"/>
                    </a:cubicBezTo>
                    <a:cubicBezTo>
                      <a:pt x="61647" y="47813"/>
                      <a:pt x="47813" y="61647"/>
                      <a:pt x="30824" y="61647"/>
                    </a:cubicBezTo>
                    <a:close/>
                    <a:moveTo>
                      <a:pt x="30824" y="15419"/>
                    </a:moveTo>
                    <a:cubicBezTo>
                      <a:pt x="22322" y="15419"/>
                      <a:pt x="15405" y="22336"/>
                      <a:pt x="15405" y="30837"/>
                    </a:cubicBezTo>
                    <a:cubicBezTo>
                      <a:pt x="15405" y="39339"/>
                      <a:pt x="22322" y="46256"/>
                      <a:pt x="30824" y="46256"/>
                    </a:cubicBezTo>
                    <a:cubicBezTo>
                      <a:pt x="39325" y="46256"/>
                      <a:pt x="46242" y="39339"/>
                      <a:pt x="46242" y="30837"/>
                    </a:cubicBezTo>
                    <a:cubicBezTo>
                      <a:pt x="46229" y="22322"/>
                      <a:pt x="39325" y="15419"/>
                      <a:pt x="30824" y="15419"/>
                    </a:cubicBezTo>
                    <a:close/>
                  </a:path>
                </a:pathLst>
              </a:custGeom>
              <a:solidFill>
                <a:schemeClr val="accent1"/>
              </a:solidFill>
              <a:ln w="1375" cap="flat">
                <a:noFill/>
                <a:prstDash val="solid"/>
                <a:miter/>
              </a:ln>
            </p:spPr>
            <p:txBody>
              <a:bodyPr rtlCol="0" anchor="ctr"/>
              <a:lstStyle/>
              <a:p>
                <a:endParaRPr lang="en-GB" dirty="0"/>
              </a:p>
            </p:txBody>
          </p:sp>
          <p:sp>
            <p:nvSpPr>
              <p:cNvPr id="482" name="Freihandform: Form 481">
                <a:extLst>
                  <a:ext uri="{FF2B5EF4-FFF2-40B4-BE49-F238E27FC236}">
                    <a16:creationId xmlns:a16="http://schemas.microsoft.com/office/drawing/2014/main" id="{6715F177-78C0-4F86-A44B-527B451B0192}"/>
                  </a:ext>
                </a:extLst>
              </p:cNvPr>
              <p:cNvSpPr/>
              <p:nvPr/>
            </p:nvSpPr>
            <p:spPr>
              <a:xfrm rot="20161587">
                <a:off x="1732652" y="2478452"/>
                <a:ext cx="75892" cy="15404"/>
              </a:xfrm>
              <a:custGeom>
                <a:avLst/>
                <a:gdLst>
                  <a:gd name="connsiteX0" fmla="*/ 0 w 75892"/>
                  <a:gd name="connsiteY0" fmla="*/ 0 h 15404"/>
                  <a:gd name="connsiteX1" fmla="*/ 75892 w 75892"/>
                  <a:gd name="connsiteY1" fmla="*/ 0 h 15404"/>
                  <a:gd name="connsiteX2" fmla="*/ 75892 w 75892"/>
                  <a:gd name="connsiteY2" fmla="*/ 15404 h 15404"/>
                  <a:gd name="connsiteX3" fmla="*/ 0 w 75892"/>
                  <a:gd name="connsiteY3" fmla="*/ 15404 h 15404"/>
                </a:gdLst>
                <a:ahLst/>
                <a:cxnLst>
                  <a:cxn ang="0">
                    <a:pos x="connsiteX0" y="connsiteY0"/>
                  </a:cxn>
                  <a:cxn ang="0">
                    <a:pos x="connsiteX1" y="connsiteY1"/>
                  </a:cxn>
                  <a:cxn ang="0">
                    <a:pos x="connsiteX2" y="connsiteY2"/>
                  </a:cxn>
                  <a:cxn ang="0">
                    <a:pos x="connsiteX3" y="connsiteY3"/>
                  </a:cxn>
                </a:cxnLst>
                <a:rect l="l" t="t" r="r" b="b"/>
                <a:pathLst>
                  <a:path w="75892" h="15404">
                    <a:moveTo>
                      <a:pt x="0" y="0"/>
                    </a:moveTo>
                    <a:lnTo>
                      <a:pt x="75892" y="0"/>
                    </a:lnTo>
                    <a:lnTo>
                      <a:pt x="75892" y="15404"/>
                    </a:lnTo>
                    <a:lnTo>
                      <a:pt x="0" y="15404"/>
                    </a:lnTo>
                    <a:close/>
                  </a:path>
                </a:pathLst>
              </a:custGeom>
              <a:solidFill>
                <a:schemeClr val="accent1"/>
              </a:solidFill>
              <a:ln w="1375" cap="flat">
                <a:noFill/>
                <a:prstDash val="solid"/>
                <a:miter/>
              </a:ln>
            </p:spPr>
            <p:txBody>
              <a:bodyPr rtlCol="0" anchor="ctr"/>
              <a:lstStyle/>
              <a:p>
                <a:endParaRPr lang="en-GB" dirty="0"/>
              </a:p>
            </p:txBody>
          </p:sp>
          <p:sp>
            <p:nvSpPr>
              <p:cNvPr id="483" name="Freihandform: Form 482">
                <a:extLst>
                  <a:ext uri="{FF2B5EF4-FFF2-40B4-BE49-F238E27FC236}">
                    <a16:creationId xmlns:a16="http://schemas.microsoft.com/office/drawing/2014/main" id="{56CDB9AD-656E-4527-A50F-AB1437E47D9A}"/>
                  </a:ext>
                </a:extLst>
              </p:cNvPr>
              <p:cNvSpPr/>
              <p:nvPr/>
            </p:nvSpPr>
            <p:spPr>
              <a:xfrm rot="17591915">
                <a:off x="1743618" y="2435228"/>
                <a:ext cx="15404" cy="117363"/>
              </a:xfrm>
              <a:custGeom>
                <a:avLst/>
                <a:gdLst>
                  <a:gd name="connsiteX0" fmla="*/ 0 w 15404"/>
                  <a:gd name="connsiteY0" fmla="*/ 0 h 117363"/>
                  <a:gd name="connsiteX1" fmla="*/ 15404 w 15404"/>
                  <a:gd name="connsiteY1" fmla="*/ 0 h 117363"/>
                  <a:gd name="connsiteX2" fmla="*/ 15404 w 15404"/>
                  <a:gd name="connsiteY2" fmla="*/ 117364 h 117363"/>
                  <a:gd name="connsiteX3" fmla="*/ 0 w 15404"/>
                  <a:gd name="connsiteY3" fmla="*/ 117364 h 117363"/>
                </a:gdLst>
                <a:ahLst/>
                <a:cxnLst>
                  <a:cxn ang="0">
                    <a:pos x="connsiteX0" y="connsiteY0"/>
                  </a:cxn>
                  <a:cxn ang="0">
                    <a:pos x="connsiteX1" y="connsiteY1"/>
                  </a:cxn>
                  <a:cxn ang="0">
                    <a:pos x="connsiteX2" y="connsiteY2"/>
                  </a:cxn>
                  <a:cxn ang="0">
                    <a:pos x="connsiteX3" y="connsiteY3"/>
                  </a:cxn>
                </a:cxnLst>
                <a:rect l="l" t="t" r="r" b="b"/>
                <a:pathLst>
                  <a:path w="15404" h="117363">
                    <a:moveTo>
                      <a:pt x="0" y="0"/>
                    </a:moveTo>
                    <a:lnTo>
                      <a:pt x="15404" y="0"/>
                    </a:lnTo>
                    <a:lnTo>
                      <a:pt x="15404" y="117364"/>
                    </a:lnTo>
                    <a:lnTo>
                      <a:pt x="0" y="117364"/>
                    </a:lnTo>
                    <a:close/>
                  </a:path>
                </a:pathLst>
              </a:custGeom>
              <a:solidFill>
                <a:schemeClr val="accent1"/>
              </a:solidFill>
              <a:ln w="1375" cap="flat">
                <a:noFill/>
                <a:prstDash val="solid"/>
                <a:miter/>
              </a:ln>
            </p:spPr>
            <p:txBody>
              <a:bodyPr rtlCol="0" anchor="ctr"/>
              <a:lstStyle/>
              <a:p>
                <a:endParaRPr lang="en-GB" dirty="0"/>
              </a:p>
            </p:txBody>
          </p:sp>
          <p:sp>
            <p:nvSpPr>
              <p:cNvPr id="484" name="Freihandform: Form 483">
                <a:extLst>
                  <a:ext uri="{FF2B5EF4-FFF2-40B4-BE49-F238E27FC236}">
                    <a16:creationId xmlns:a16="http://schemas.microsoft.com/office/drawing/2014/main" id="{C3D5E7C1-6984-4427-9B73-44740B0A2D31}"/>
                  </a:ext>
                </a:extLst>
              </p:cNvPr>
              <p:cNvSpPr/>
              <p:nvPr/>
            </p:nvSpPr>
            <p:spPr>
              <a:xfrm rot="20208085">
                <a:off x="1743611" y="2435177"/>
                <a:ext cx="15404" cy="117363"/>
              </a:xfrm>
              <a:custGeom>
                <a:avLst/>
                <a:gdLst>
                  <a:gd name="connsiteX0" fmla="*/ 0 w 15404"/>
                  <a:gd name="connsiteY0" fmla="*/ 0 h 117363"/>
                  <a:gd name="connsiteX1" fmla="*/ 15404 w 15404"/>
                  <a:gd name="connsiteY1" fmla="*/ 0 h 117363"/>
                  <a:gd name="connsiteX2" fmla="*/ 15404 w 15404"/>
                  <a:gd name="connsiteY2" fmla="*/ 117364 h 117363"/>
                  <a:gd name="connsiteX3" fmla="*/ 0 w 15404"/>
                  <a:gd name="connsiteY3" fmla="*/ 117364 h 117363"/>
                </a:gdLst>
                <a:ahLst/>
                <a:cxnLst>
                  <a:cxn ang="0">
                    <a:pos x="connsiteX0" y="connsiteY0"/>
                  </a:cxn>
                  <a:cxn ang="0">
                    <a:pos x="connsiteX1" y="connsiteY1"/>
                  </a:cxn>
                  <a:cxn ang="0">
                    <a:pos x="connsiteX2" y="connsiteY2"/>
                  </a:cxn>
                  <a:cxn ang="0">
                    <a:pos x="connsiteX3" y="connsiteY3"/>
                  </a:cxn>
                </a:cxnLst>
                <a:rect l="l" t="t" r="r" b="b"/>
                <a:pathLst>
                  <a:path w="15404" h="117363">
                    <a:moveTo>
                      <a:pt x="0" y="0"/>
                    </a:moveTo>
                    <a:lnTo>
                      <a:pt x="15404" y="0"/>
                    </a:lnTo>
                    <a:lnTo>
                      <a:pt x="15404" y="117364"/>
                    </a:lnTo>
                    <a:lnTo>
                      <a:pt x="0" y="117364"/>
                    </a:lnTo>
                    <a:close/>
                  </a:path>
                </a:pathLst>
              </a:custGeom>
              <a:solidFill>
                <a:schemeClr val="accent1"/>
              </a:solidFill>
              <a:ln w="1375" cap="flat">
                <a:noFill/>
                <a:prstDash val="solid"/>
                <a:miter/>
              </a:ln>
            </p:spPr>
            <p:txBody>
              <a:bodyPr rtlCol="0" anchor="ctr"/>
              <a:lstStyle/>
              <a:p>
                <a:endParaRPr lang="en-GB" dirty="0"/>
              </a:p>
            </p:txBody>
          </p:sp>
          <p:sp>
            <p:nvSpPr>
              <p:cNvPr id="485" name="Freihandform: Form 484">
                <a:extLst>
                  <a:ext uri="{FF2B5EF4-FFF2-40B4-BE49-F238E27FC236}">
                    <a16:creationId xmlns:a16="http://schemas.microsoft.com/office/drawing/2014/main" id="{CAB563E1-8980-4C3F-804F-05881B39F2FA}"/>
                  </a:ext>
                </a:extLst>
              </p:cNvPr>
              <p:cNvSpPr/>
              <p:nvPr/>
            </p:nvSpPr>
            <p:spPr>
              <a:xfrm rot="17592547">
                <a:off x="1692749" y="2486163"/>
                <a:ext cx="117373" cy="15405"/>
              </a:xfrm>
              <a:custGeom>
                <a:avLst/>
                <a:gdLst>
                  <a:gd name="connsiteX0" fmla="*/ 0 w 117373"/>
                  <a:gd name="connsiteY0" fmla="*/ 0 h 15405"/>
                  <a:gd name="connsiteX1" fmla="*/ 117373 w 117373"/>
                  <a:gd name="connsiteY1" fmla="*/ 0 h 15405"/>
                  <a:gd name="connsiteX2" fmla="*/ 117373 w 117373"/>
                  <a:gd name="connsiteY2" fmla="*/ 15405 h 15405"/>
                  <a:gd name="connsiteX3" fmla="*/ 0 w 117373"/>
                  <a:gd name="connsiteY3" fmla="*/ 15405 h 15405"/>
                </a:gdLst>
                <a:ahLst/>
                <a:cxnLst>
                  <a:cxn ang="0">
                    <a:pos x="connsiteX0" y="connsiteY0"/>
                  </a:cxn>
                  <a:cxn ang="0">
                    <a:pos x="connsiteX1" y="connsiteY1"/>
                  </a:cxn>
                  <a:cxn ang="0">
                    <a:pos x="connsiteX2" y="connsiteY2"/>
                  </a:cxn>
                  <a:cxn ang="0">
                    <a:pos x="connsiteX3" y="connsiteY3"/>
                  </a:cxn>
                </a:cxnLst>
                <a:rect l="l" t="t" r="r" b="b"/>
                <a:pathLst>
                  <a:path w="117373" h="15405">
                    <a:moveTo>
                      <a:pt x="0" y="0"/>
                    </a:moveTo>
                    <a:lnTo>
                      <a:pt x="117373" y="0"/>
                    </a:lnTo>
                    <a:lnTo>
                      <a:pt x="117373" y="15405"/>
                    </a:lnTo>
                    <a:lnTo>
                      <a:pt x="0" y="15405"/>
                    </a:lnTo>
                    <a:close/>
                  </a:path>
                </a:pathLst>
              </a:custGeom>
              <a:solidFill>
                <a:schemeClr val="accent1"/>
              </a:solidFill>
              <a:ln w="1375" cap="flat">
                <a:noFill/>
                <a:prstDash val="solid"/>
                <a:miter/>
              </a:ln>
            </p:spPr>
            <p:txBody>
              <a:bodyPr rtlCol="0" anchor="ctr"/>
              <a:lstStyle/>
              <a:p>
                <a:endParaRPr lang="en-GB" dirty="0"/>
              </a:p>
            </p:txBody>
          </p:sp>
        </p:grpSp>
        <p:grpSp>
          <p:nvGrpSpPr>
            <p:cNvPr id="659" name="Gruppieren 658">
              <a:extLst>
                <a:ext uri="{FF2B5EF4-FFF2-40B4-BE49-F238E27FC236}">
                  <a16:creationId xmlns:a16="http://schemas.microsoft.com/office/drawing/2014/main" id="{CDF31028-6A28-4D08-A294-22EE8D1E6588}"/>
                </a:ext>
              </a:extLst>
            </p:cNvPr>
            <p:cNvGrpSpPr/>
            <p:nvPr/>
          </p:nvGrpSpPr>
          <p:grpSpPr>
            <a:xfrm>
              <a:off x="1319845" y="2478470"/>
              <a:ext cx="493178" cy="446949"/>
              <a:chOff x="1319845" y="2478470"/>
              <a:chExt cx="493178" cy="446949"/>
            </a:xfrm>
          </p:grpSpPr>
          <p:sp>
            <p:nvSpPr>
              <p:cNvPr id="460" name="Freihandform: Form 459">
                <a:extLst>
                  <a:ext uri="{FF2B5EF4-FFF2-40B4-BE49-F238E27FC236}">
                    <a16:creationId xmlns:a16="http://schemas.microsoft.com/office/drawing/2014/main" id="{E8DC8A6B-3748-429E-9F00-0961179997D1}"/>
                  </a:ext>
                </a:extLst>
              </p:cNvPr>
              <p:cNvSpPr/>
              <p:nvPr/>
            </p:nvSpPr>
            <p:spPr>
              <a:xfrm>
                <a:off x="1558732" y="2601764"/>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61" name="Freihandform: Form 460">
                <a:extLst>
                  <a:ext uri="{FF2B5EF4-FFF2-40B4-BE49-F238E27FC236}">
                    <a16:creationId xmlns:a16="http://schemas.microsoft.com/office/drawing/2014/main" id="{30F6903E-FA13-41EB-82BD-AB4353913E87}"/>
                  </a:ext>
                </a:extLst>
              </p:cNvPr>
              <p:cNvSpPr/>
              <p:nvPr/>
            </p:nvSpPr>
            <p:spPr>
              <a:xfrm rot="18654274">
                <a:off x="1370519" y="2806067"/>
                <a:ext cx="152960" cy="15418"/>
              </a:xfrm>
              <a:custGeom>
                <a:avLst/>
                <a:gdLst>
                  <a:gd name="connsiteX0" fmla="*/ 0 w 152960"/>
                  <a:gd name="connsiteY0" fmla="*/ 0 h 15418"/>
                  <a:gd name="connsiteX1" fmla="*/ 152961 w 152960"/>
                  <a:gd name="connsiteY1" fmla="*/ 0 h 15418"/>
                  <a:gd name="connsiteX2" fmla="*/ 152961 w 152960"/>
                  <a:gd name="connsiteY2" fmla="*/ 15419 h 15418"/>
                  <a:gd name="connsiteX3" fmla="*/ 0 w 152960"/>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2960" h="15418">
                    <a:moveTo>
                      <a:pt x="0" y="0"/>
                    </a:moveTo>
                    <a:lnTo>
                      <a:pt x="152961" y="0"/>
                    </a:lnTo>
                    <a:lnTo>
                      <a:pt x="152961"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62" name="Freihandform: Form 461">
                <a:extLst>
                  <a:ext uri="{FF2B5EF4-FFF2-40B4-BE49-F238E27FC236}">
                    <a16:creationId xmlns:a16="http://schemas.microsoft.com/office/drawing/2014/main" id="{288E2FF0-4675-4991-B394-A174626702D5}"/>
                  </a:ext>
                </a:extLst>
              </p:cNvPr>
              <p:cNvSpPr/>
              <p:nvPr/>
            </p:nvSpPr>
            <p:spPr>
              <a:xfrm>
                <a:off x="1414741" y="2755872"/>
                <a:ext cx="190236" cy="163566"/>
              </a:xfrm>
              <a:custGeom>
                <a:avLst/>
                <a:gdLst>
                  <a:gd name="connsiteX0" fmla="*/ 166919 w 190236"/>
                  <a:gd name="connsiteY0" fmla="*/ 163567 h 163566"/>
                  <a:gd name="connsiteX1" fmla="*/ 151900 w 190236"/>
                  <a:gd name="connsiteY1" fmla="*/ 160095 h 163566"/>
                  <a:gd name="connsiteX2" fmla="*/ 174236 w 190236"/>
                  <a:gd name="connsiteY2" fmla="*/ 63297 h 163566"/>
                  <a:gd name="connsiteX3" fmla="*/ 142861 w 190236"/>
                  <a:gd name="connsiteY3" fmla="*/ 19370 h 163566"/>
                  <a:gd name="connsiteX4" fmla="*/ 10582 w 190236"/>
                  <a:gd name="connsiteY4" fmla="*/ 144304 h 163566"/>
                  <a:gd name="connsiteX5" fmla="*/ 0 w 190236"/>
                  <a:gd name="connsiteY5" fmla="*/ 133102 h 163566"/>
                  <a:gd name="connsiteX6" fmla="*/ 138713 w 190236"/>
                  <a:gd name="connsiteY6" fmla="*/ 2104 h 163566"/>
                  <a:gd name="connsiteX7" fmla="*/ 144749 w 190236"/>
                  <a:gd name="connsiteY7" fmla="*/ 38 h 163566"/>
                  <a:gd name="connsiteX8" fmla="*/ 150274 w 190236"/>
                  <a:gd name="connsiteY8" fmla="*/ 3234 h 163566"/>
                  <a:gd name="connsiteX9" fmla="*/ 188800 w 190236"/>
                  <a:gd name="connsiteY9" fmla="*/ 57179 h 163566"/>
                  <a:gd name="connsiteX10" fmla="*/ 190040 w 190236"/>
                  <a:gd name="connsiteY10" fmla="*/ 63394 h 163566"/>
                  <a:gd name="connsiteX11" fmla="*/ 166919 w 190236"/>
                  <a:gd name="connsiteY11" fmla="*/ 163567 h 163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0236" h="163566">
                    <a:moveTo>
                      <a:pt x="166919" y="163567"/>
                    </a:moveTo>
                    <a:lnTo>
                      <a:pt x="151900" y="160095"/>
                    </a:lnTo>
                    <a:lnTo>
                      <a:pt x="174236" y="63297"/>
                    </a:lnTo>
                    <a:lnTo>
                      <a:pt x="142861" y="19370"/>
                    </a:lnTo>
                    <a:lnTo>
                      <a:pt x="10582" y="144304"/>
                    </a:lnTo>
                    <a:lnTo>
                      <a:pt x="0" y="133102"/>
                    </a:lnTo>
                    <a:lnTo>
                      <a:pt x="138713" y="2104"/>
                    </a:lnTo>
                    <a:cubicBezTo>
                      <a:pt x="140339" y="575"/>
                      <a:pt x="142544" y="-183"/>
                      <a:pt x="144749" y="38"/>
                    </a:cubicBezTo>
                    <a:cubicBezTo>
                      <a:pt x="146967" y="258"/>
                      <a:pt x="148979" y="1415"/>
                      <a:pt x="150274" y="3234"/>
                    </a:cubicBezTo>
                    <a:lnTo>
                      <a:pt x="188800" y="57179"/>
                    </a:lnTo>
                    <a:cubicBezTo>
                      <a:pt x="190082" y="58970"/>
                      <a:pt x="190536" y="61230"/>
                      <a:pt x="190040" y="63394"/>
                    </a:cubicBezTo>
                    <a:lnTo>
                      <a:pt x="166919" y="163567"/>
                    </a:lnTo>
                    <a:close/>
                  </a:path>
                </a:pathLst>
              </a:custGeom>
              <a:solidFill>
                <a:schemeClr val="tx2"/>
              </a:solidFill>
              <a:ln w="1375" cap="flat">
                <a:noFill/>
                <a:prstDash val="solid"/>
                <a:miter/>
              </a:ln>
            </p:spPr>
            <p:txBody>
              <a:bodyPr rtlCol="0" anchor="ctr"/>
              <a:lstStyle/>
              <a:p>
                <a:endParaRPr lang="en-GB" dirty="0"/>
              </a:p>
            </p:txBody>
          </p:sp>
          <p:sp>
            <p:nvSpPr>
              <p:cNvPr id="463" name="Freihandform: Form 462">
                <a:extLst>
                  <a:ext uri="{FF2B5EF4-FFF2-40B4-BE49-F238E27FC236}">
                    <a16:creationId xmlns:a16="http://schemas.microsoft.com/office/drawing/2014/main" id="{3426EF96-CE91-40F6-9A98-73D55494C0B8}"/>
                  </a:ext>
                </a:extLst>
              </p:cNvPr>
              <p:cNvSpPr/>
              <p:nvPr/>
            </p:nvSpPr>
            <p:spPr>
              <a:xfrm>
                <a:off x="1597782" y="2753182"/>
                <a:ext cx="53426" cy="167291"/>
              </a:xfrm>
              <a:custGeom>
                <a:avLst/>
                <a:gdLst>
                  <a:gd name="connsiteX0" fmla="*/ 14385 w 53426"/>
                  <a:gd name="connsiteY0" fmla="*/ 167291 h 167291"/>
                  <a:gd name="connsiteX1" fmla="*/ 0 w 53426"/>
                  <a:gd name="connsiteY1" fmla="*/ 161766 h 167291"/>
                  <a:gd name="connsiteX2" fmla="*/ 37479 w 53426"/>
                  <a:gd name="connsiteY2" fmla="*/ 64320 h 167291"/>
                  <a:gd name="connsiteX3" fmla="*/ 15391 w 53426"/>
                  <a:gd name="connsiteY3" fmla="*/ 5415 h 167291"/>
                  <a:gd name="connsiteX4" fmla="*/ 29818 w 53426"/>
                  <a:gd name="connsiteY4" fmla="*/ 0 h 167291"/>
                  <a:gd name="connsiteX5" fmla="*/ 52939 w 53426"/>
                  <a:gd name="connsiteY5" fmla="*/ 61647 h 167291"/>
                  <a:gd name="connsiteX6" fmla="*/ 52911 w 53426"/>
                  <a:gd name="connsiteY6" fmla="*/ 67118 h 167291"/>
                  <a:gd name="connsiteX7" fmla="*/ 14385 w 53426"/>
                  <a:gd name="connsiteY7" fmla="*/ 167291 h 167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426" h="167291">
                    <a:moveTo>
                      <a:pt x="14385" y="167291"/>
                    </a:moveTo>
                    <a:lnTo>
                      <a:pt x="0" y="161766"/>
                    </a:lnTo>
                    <a:lnTo>
                      <a:pt x="37479" y="64320"/>
                    </a:lnTo>
                    <a:lnTo>
                      <a:pt x="15391" y="5415"/>
                    </a:lnTo>
                    <a:lnTo>
                      <a:pt x="29818" y="0"/>
                    </a:lnTo>
                    <a:lnTo>
                      <a:pt x="52939" y="61647"/>
                    </a:lnTo>
                    <a:cubicBezTo>
                      <a:pt x="53600" y="63411"/>
                      <a:pt x="53587" y="65354"/>
                      <a:pt x="52911" y="67118"/>
                    </a:cubicBezTo>
                    <a:lnTo>
                      <a:pt x="14385" y="167291"/>
                    </a:lnTo>
                    <a:close/>
                  </a:path>
                </a:pathLst>
              </a:custGeom>
              <a:solidFill>
                <a:schemeClr val="tx2"/>
              </a:solidFill>
              <a:ln w="1375" cap="flat">
                <a:noFill/>
                <a:prstDash val="solid"/>
                <a:miter/>
              </a:ln>
            </p:spPr>
            <p:txBody>
              <a:bodyPr rtlCol="0" anchor="ctr"/>
              <a:lstStyle/>
              <a:p>
                <a:endParaRPr lang="en-GB" dirty="0"/>
              </a:p>
            </p:txBody>
          </p:sp>
          <p:sp>
            <p:nvSpPr>
              <p:cNvPr id="464" name="Freihandform: Form 463">
                <a:extLst>
                  <a:ext uri="{FF2B5EF4-FFF2-40B4-BE49-F238E27FC236}">
                    <a16:creationId xmlns:a16="http://schemas.microsoft.com/office/drawing/2014/main" id="{02C551DC-1CAD-4D0C-A8D2-C8FB73BB3503}"/>
                  </a:ext>
                </a:extLst>
              </p:cNvPr>
              <p:cNvSpPr/>
              <p:nvPr/>
            </p:nvSpPr>
            <p:spPr>
              <a:xfrm>
                <a:off x="1651203" y="2910001"/>
                <a:ext cx="161820" cy="15418"/>
              </a:xfrm>
              <a:custGeom>
                <a:avLst/>
                <a:gdLst>
                  <a:gd name="connsiteX0" fmla="*/ 0 w 161820"/>
                  <a:gd name="connsiteY0" fmla="*/ 0 h 15418"/>
                  <a:gd name="connsiteX1" fmla="*/ 161821 w 161820"/>
                  <a:gd name="connsiteY1" fmla="*/ 0 h 15418"/>
                  <a:gd name="connsiteX2" fmla="*/ 161821 w 161820"/>
                  <a:gd name="connsiteY2" fmla="*/ 15419 h 15418"/>
                  <a:gd name="connsiteX3" fmla="*/ 0 w 161820"/>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61820" h="15418">
                    <a:moveTo>
                      <a:pt x="0" y="0"/>
                    </a:moveTo>
                    <a:lnTo>
                      <a:pt x="161821" y="0"/>
                    </a:lnTo>
                    <a:lnTo>
                      <a:pt x="161821"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65" name="Freihandform: Form 464">
                <a:extLst>
                  <a:ext uri="{FF2B5EF4-FFF2-40B4-BE49-F238E27FC236}">
                    <a16:creationId xmlns:a16="http://schemas.microsoft.com/office/drawing/2014/main" id="{56E8318E-699A-42F8-B2FE-490359DECE0D}"/>
                  </a:ext>
                </a:extLst>
              </p:cNvPr>
              <p:cNvSpPr/>
              <p:nvPr/>
            </p:nvSpPr>
            <p:spPr>
              <a:xfrm>
                <a:off x="1319845" y="2910001"/>
                <a:ext cx="315952" cy="15418"/>
              </a:xfrm>
              <a:custGeom>
                <a:avLst/>
                <a:gdLst>
                  <a:gd name="connsiteX0" fmla="*/ 0 w 315952"/>
                  <a:gd name="connsiteY0" fmla="*/ 0 h 15418"/>
                  <a:gd name="connsiteX1" fmla="*/ 315953 w 315952"/>
                  <a:gd name="connsiteY1" fmla="*/ 0 h 15418"/>
                  <a:gd name="connsiteX2" fmla="*/ 315953 w 315952"/>
                  <a:gd name="connsiteY2" fmla="*/ 15419 h 15418"/>
                  <a:gd name="connsiteX3" fmla="*/ 0 w 315952"/>
                  <a:gd name="connsiteY3" fmla="*/ 15419 h 15418"/>
                </a:gdLst>
                <a:ahLst/>
                <a:cxnLst>
                  <a:cxn ang="0">
                    <a:pos x="connsiteX0" y="connsiteY0"/>
                  </a:cxn>
                  <a:cxn ang="0">
                    <a:pos x="connsiteX1" y="connsiteY1"/>
                  </a:cxn>
                  <a:cxn ang="0">
                    <a:pos x="connsiteX2" y="connsiteY2"/>
                  </a:cxn>
                  <a:cxn ang="0">
                    <a:pos x="connsiteX3" y="connsiteY3"/>
                  </a:cxn>
                </a:cxnLst>
                <a:rect l="l" t="t" r="r" b="b"/>
                <a:pathLst>
                  <a:path w="315952" h="15418">
                    <a:moveTo>
                      <a:pt x="0" y="0"/>
                    </a:moveTo>
                    <a:lnTo>
                      <a:pt x="315953" y="0"/>
                    </a:lnTo>
                    <a:lnTo>
                      <a:pt x="315953"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75" name="Freihandform: Form 474">
                <a:extLst>
                  <a:ext uri="{FF2B5EF4-FFF2-40B4-BE49-F238E27FC236}">
                    <a16:creationId xmlns:a16="http://schemas.microsoft.com/office/drawing/2014/main" id="{4E2717F9-E587-44AD-8EFD-3946D178507B}"/>
                  </a:ext>
                </a:extLst>
              </p:cNvPr>
              <p:cNvSpPr/>
              <p:nvPr/>
            </p:nvSpPr>
            <p:spPr>
              <a:xfrm>
                <a:off x="1400439" y="2487398"/>
                <a:ext cx="332046" cy="98947"/>
              </a:xfrm>
              <a:custGeom>
                <a:avLst/>
                <a:gdLst>
                  <a:gd name="connsiteX0" fmla="*/ 196833 w 332046"/>
                  <a:gd name="connsiteY0" fmla="*/ 98947 h 98947"/>
                  <a:gd name="connsiteX1" fmla="*/ 135186 w 332046"/>
                  <a:gd name="connsiteY1" fmla="*/ 98947 h 98947"/>
                  <a:gd name="connsiteX2" fmla="*/ 130997 w 332046"/>
                  <a:gd name="connsiteY2" fmla="*/ 97707 h 98947"/>
                  <a:gd name="connsiteX3" fmla="*/ 0 w 332046"/>
                  <a:gd name="connsiteY3" fmla="*/ 12939 h 98947"/>
                  <a:gd name="connsiteX4" fmla="*/ 8378 w 332046"/>
                  <a:gd name="connsiteY4" fmla="*/ 0 h 98947"/>
                  <a:gd name="connsiteX5" fmla="*/ 137473 w 332046"/>
                  <a:gd name="connsiteY5" fmla="*/ 83528 h 98947"/>
                  <a:gd name="connsiteX6" fmla="*/ 194573 w 332046"/>
                  <a:gd name="connsiteY6" fmla="*/ 83528 h 98947"/>
                  <a:gd name="connsiteX7" fmla="*/ 323669 w 332046"/>
                  <a:gd name="connsiteY7" fmla="*/ 0 h 98947"/>
                  <a:gd name="connsiteX8" fmla="*/ 332047 w 332046"/>
                  <a:gd name="connsiteY8" fmla="*/ 12939 h 98947"/>
                  <a:gd name="connsiteX9" fmla="*/ 201050 w 332046"/>
                  <a:gd name="connsiteY9" fmla="*/ 97707 h 98947"/>
                  <a:gd name="connsiteX10" fmla="*/ 196833 w 332046"/>
                  <a:gd name="connsiteY10" fmla="*/ 98947 h 98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2046" h="98947">
                    <a:moveTo>
                      <a:pt x="196833" y="98947"/>
                    </a:moveTo>
                    <a:lnTo>
                      <a:pt x="135186" y="98947"/>
                    </a:lnTo>
                    <a:cubicBezTo>
                      <a:pt x="133698" y="98947"/>
                      <a:pt x="132251" y="98520"/>
                      <a:pt x="130997" y="97707"/>
                    </a:cubicBezTo>
                    <a:lnTo>
                      <a:pt x="0" y="12939"/>
                    </a:lnTo>
                    <a:lnTo>
                      <a:pt x="8378" y="0"/>
                    </a:lnTo>
                    <a:lnTo>
                      <a:pt x="137473" y="83528"/>
                    </a:lnTo>
                    <a:lnTo>
                      <a:pt x="194573" y="83528"/>
                    </a:lnTo>
                    <a:lnTo>
                      <a:pt x="323669" y="0"/>
                    </a:lnTo>
                    <a:lnTo>
                      <a:pt x="332047" y="12939"/>
                    </a:lnTo>
                    <a:lnTo>
                      <a:pt x="201050" y="97707"/>
                    </a:lnTo>
                    <a:cubicBezTo>
                      <a:pt x="199768" y="98520"/>
                      <a:pt x="198321" y="98947"/>
                      <a:pt x="196833" y="98947"/>
                    </a:cubicBezTo>
                    <a:close/>
                  </a:path>
                </a:pathLst>
              </a:custGeom>
              <a:solidFill>
                <a:schemeClr val="tx2"/>
              </a:solidFill>
              <a:ln w="1375" cap="flat">
                <a:noFill/>
                <a:prstDash val="solid"/>
                <a:miter/>
              </a:ln>
            </p:spPr>
            <p:txBody>
              <a:bodyPr rtlCol="0" anchor="ctr"/>
              <a:lstStyle/>
              <a:p>
                <a:endParaRPr lang="en-GB" dirty="0"/>
              </a:p>
            </p:txBody>
          </p:sp>
          <p:sp>
            <p:nvSpPr>
              <p:cNvPr id="476" name="Freihandform: Form 475">
                <a:extLst>
                  <a:ext uri="{FF2B5EF4-FFF2-40B4-BE49-F238E27FC236}">
                    <a16:creationId xmlns:a16="http://schemas.microsoft.com/office/drawing/2014/main" id="{D7F2FFD2-A469-4CFD-8CD2-C052A43C8A0D}"/>
                  </a:ext>
                </a:extLst>
              </p:cNvPr>
              <p:cNvSpPr/>
              <p:nvPr/>
            </p:nvSpPr>
            <p:spPr>
              <a:xfrm>
                <a:off x="1384124" y="2511181"/>
                <a:ext cx="364620" cy="229282"/>
              </a:xfrm>
              <a:custGeom>
                <a:avLst/>
                <a:gdLst>
                  <a:gd name="connsiteX0" fmla="*/ 251674 w 364620"/>
                  <a:gd name="connsiteY0" fmla="*/ 229283 h 229282"/>
                  <a:gd name="connsiteX1" fmla="*/ 112960 w 364620"/>
                  <a:gd name="connsiteY1" fmla="*/ 229283 h 229282"/>
                  <a:gd name="connsiteX2" fmla="*/ 105258 w 364620"/>
                  <a:gd name="connsiteY2" fmla="*/ 221580 h 229282"/>
                  <a:gd name="connsiteX3" fmla="*/ 105258 w 364620"/>
                  <a:gd name="connsiteY3" fmla="*/ 206162 h 229282"/>
                  <a:gd name="connsiteX4" fmla="*/ 105368 w 364620"/>
                  <a:gd name="connsiteY4" fmla="*/ 204894 h 229282"/>
                  <a:gd name="connsiteX5" fmla="*/ 120070 w 364620"/>
                  <a:gd name="connsiteY5" fmla="*/ 116653 h 229282"/>
                  <a:gd name="connsiteX6" fmla="*/ 0 w 364620"/>
                  <a:gd name="connsiteY6" fmla="*/ 11602 h 229282"/>
                  <a:gd name="connsiteX7" fmla="*/ 10155 w 364620"/>
                  <a:gd name="connsiteY7" fmla="*/ 0 h 229282"/>
                  <a:gd name="connsiteX8" fmla="*/ 133450 w 364620"/>
                  <a:gd name="connsiteY8" fmla="*/ 107890 h 229282"/>
                  <a:gd name="connsiteX9" fmla="*/ 135971 w 364620"/>
                  <a:gd name="connsiteY9" fmla="*/ 114958 h 229282"/>
                  <a:gd name="connsiteX10" fmla="*/ 120663 w 364620"/>
                  <a:gd name="connsiteY10" fmla="*/ 206795 h 229282"/>
                  <a:gd name="connsiteX11" fmla="*/ 120663 w 364620"/>
                  <a:gd name="connsiteY11" fmla="*/ 213864 h 229282"/>
                  <a:gd name="connsiteX12" fmla="*/ 243957 w 364620"/>
                  <a:gd name="connsiteY12" fmla="*/ 213864 h 229282"/>
                  <a:gd name="connsiteX13" fmla="*/ 243957 w 364620"/>
                  <a:gd name="connsiteY13" fmla="*/ 206795 h 229282"/>
                  <a:gd name="connsiteX14" fmla="*/ 228649 w 364620"/>
                  <a:gd name="connsiteY14" fmla="*/ 114958 h 229282"/>
                  <a:gd name="connsiteX15" fmla="*/ 231171 w 364620"/>
                  <a:gd name="connsiteY15" fmla="*/ 107890 h 229282"/>
                  <a:gd name="connsiteX16" fmla="*/ 354465 w 364620"/>
                  <a:gd name="connsiteY16" fmla="*/ 0 h 229282"/>
                  <a:gd name="connsiteX17" fmla="*/ 364620 w 364620"/>
                  <a:gd name="connsiteY17" fmla="*/ 11602 h 229282"/>
                  <a:gd name="connsiteX18" fmla="*/ 244550 w 364620"/>
                  <a:gd name="connsiteY18" fmla="*/ 116653 h 229282"/>
                  <a:gd name="connsiteX19" fmla="*/ 259252 w 364620"/>
                  <a:gd name="connsiteY19" fmla="*/ 204894 h 229282"/>
                  <a:gd name="connsiteX20" fmla="*/ 259362 w 364620"/>
                  <a:gd name="connsiteY20" fmla="*/ 206162 h 229282"/>
                  <a:gd name="connsiteX21" fmla="*/ 259362 w 364620"/>
                  <a:gd name="connsiteY21" fmla="*/ 221580 h 229282"/>
                  <a:gd name="connsiteX22" fmla="*/ 251674 w 364620"/>
                  <a:gd name="connsiteY22" fmla="*/ 229283 h 229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4620" h="229282">
                    <a:moveTo>
                      <a:pt x="251674" y="229283"/>
                    </a:moveTo>
                    <a:lnTo>
                      <a:pt x="112960" y="229283"/>
                    </a:lnTo>
                    <a:cubicBezTo>
                      <a:pt x="108703" y="229283"/>
                      <a:pt x="105258" y="225838"/>
                      <a:pt x="105258" y="221580"/>
                    </a:cubicBezTo>
                    <a:lnTo>
                      <a:pt x="105258" y="206162"/>
                    </a:lnTo>
                    <a:cubicBezTo>
                      <a:pt x="105258" y="205734"/>
                      <a:pt x="105286" y="205321"/>
                      <a:pt x="105368" y="204894"/>
                    </a:cubicBezTo>
                    <a:lnTo>
                      <a:pt x="120070" y="116653"/>
                    </a:lnTo>
                    <a:lnTo>
                      <a:pt x="0" y="11602"/>
                    </a:lnTo>
                    <a:lnTo>
                      <a:pt x="10155" y="0"/>
                    </a:lnTo>
                    <a:lnTo>
                      <a:pt x="133450" y="107890"/>
                    </a:lnTo>
                    <a:cubicBezTo>
                      <a:pt x="135461" y="109653"/>
                      <a:pt x="136412" y="112327"/>
                      <a:pt x="135971" y="114958"/>
                    </a:cubicBezTo>
                    <a:lnTo>
                      <a:pt x="120663" y="206795"/>
                    </a:lnTo>
                    <a:lnTo>
                      <a:pt x="120663" y="213864"/>
                    </a:lnTo>
                    <a:lnTo>
                      <a:pt x="243957" y="213864"/>
                    </a:lnTo>
                    <a:lnTo>
                      <a:pt x="243957" y="206795"/>
                    </a:lnTo>
                    <a:lnTo>
                      <a:pt x="228649" y="114958"/>
                    </a:lnTo>
                    <a:cubicBezTo>
                      <a:pt x="228208" y="112327"/>
                      <a:pt x="229159" y="109653"/>
                      <a:pt x="231171" y="107890"/>
                    </a:cubicBezTo>
                    <a:lnTo>
                      <a:pt x="354465" y="0"/>
                    </a:lnTo>
                    <a:lnTo>
                      <a:pt x="364620" y="11602"/>
                    </a:lnTo>
                    <a:lnTo>
                      <a:pt x="244550" y="116653"/>
                    </a:lnTo>
                    <a:lnTo>
                      <a:pt x="259252" y="204894"/>
                    </a:lnTo>
                    <a:cubicBezTo>
                      <a:pt x="259321" y="205321"/>
                      <a:pt x="259362" y="205734"/>
                      <a:pt x="259362" y="206162"/>
                    </a:cubicBezTo>
                    <a:lnTo>
                      <a:pt x="259362" y="221580"/>
                    </a:lnTo>
                    <a:cubicBezTo>
                      <a:pt x="259376" y="225838"/>
                      <a:pt x="255931" y="229283"/>
                      <a:pt x="251674" y="229283"/>
                    </a:cubicBezTo>
                    <a:close/>
                  </a:path>
                </a:pathLst>
              </a:custGeom>
              <a:solidFill>
                <a:schemeClr val="tx2"/>
              </a:solidFill>
              <a:ln w="1375" cap="flat">
                <a:noFill/>
                <a:prstDash val="solid"/>
                <a:miter/>
              </a:ln>
            </p:spPr>
            <p:txBody>
              <a:bodyPr rtlCol="0" anchor="ctr"/>
              <a:lstStyle/>
              <a:p>
                <a:endParaRPr lang="en-GB" dirty="0"/>
              </a:p>
            </p:txBody>
          </p:sp>
          <p:sp>
            <p:nvSpPr>
              <p:cNvPr id="486" name="Freihandform: Form 485">
                <a:extLst>
                  <a:ext uri="{FF2B5EF4-FFF2-40B4-BE49-F238E27FC236}">
                    <a16:creationId xmlns:a16="http://schemas.microsoft.com/office/drawing/2014/main" id="{289D32A4-B6F5-4111-A7FA-961B342B0910}"/>
                  </a:ext>
                </a:extLst>
              </p:cNvPr>
              <p:cNvSpPr/>
              <p:nvPr/>
            </p:nvSpPr>
            <p:spPr>
              <a:xfrm>
                <a:off x="1504801" y="2694235"/>
                <a:ext cx="123294" cy="15418"/>
              </a:xfrm>
              <a:custGeom>
                <a:avLst/>
                <a:gdLst>
                  <a:gd name="connsiteX0" fmla="*/ 0 w 123294"/>
                  <a:gd name="connsiteY0" fmla="*/ 0 h 15418"/>
                  <a:gd name="connsiteX1" fmla="*/ 123295 w 123294"/>
                  <a:gd name="connsiteY1" fmla="*/ 0 h 15418"/>
                  <a:gd name="connsiteX2" fmla="*/ 123295 w 123294"/>
                  <a:gd name="connsiteY2" fmla="*/ 15419 h 15418"/>
                  <a:gd name="connsiteX3" fmla="*/ 0 w 123294"/>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23294" h="15418">
                    <a:moveTo>
                      <a:pt x="0" y="0"/>
                    </a:moveTo>
                    <a:lnTo>
                      <a:pt x="123295" y="0"/>
                    </a:lnTo>
                    <a:lnTo>
                      <a:pt x="123295"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87" name="Freihandform: Form 486">
                <a:extLst>
                  <a:ext uri="{FF2B5EF4-FFF2-40B4-BE49-F238E27FC236}">
                    <a16:creationId xmlns:a16="http://schemas.microsoft.com/office/drawing/2014/main" id="{25719E3A-0F1A-49AC-89BB-794E42E5799C}"/>
                  </a:ext>
                </a:extLst>
              </p:cNvPr>
              <p:cNvSpPr/>
              <p:nvPr/>
            </p:nvSpPr>
            <p:spPr>
              <a:xfrm>
                <a:off x="1527922" y="2478470"/>
                <a:ext cx="77052" cy="77052"/>
              </a:xfrm>
              <a:custGeom>
                <a:avLst/>
                <a:gdLst>
                  <a:gd name="connsiteX0" fmla="*/ 38526 w 77052"/>
                  <a:gd name="connsiteY0" fmla="*/ 77052 h 77052"/>
                  <a:gd name="connsiteX1" fmla="*/ 0 w 77052"/>
                  <a:gd name="connsiteY1" fmla="*/ 38526 h 77052"/>
                  <a:gd name="connsiteX2" fmla="*/ 38526 w 77052"/>
                  <a:gd name="connsiteY2" fmla="*/ 0 h 77052"/>
                  <a:gd name="connsiteX3" fmla="*/ 77052 w 77052"/>
                  <a:gd name="connsiteY3" fmla="*/ 38526 h 77052"/>
                  <a:gd name="connsiteX4" fmla="*/ 38526 w 77052"/>
                  <a:gd name="connsiteY4" fmla="*/ 77052 h 77052"/>
                  <a:gd name="connsiteX5" fmla="*/ 38526 w 77052"/>
                  <a:gd name="connsiteY5" fmla="*/ 15405 h 77052"/>
                  <a:gd name="connsiteX6" fmla="*/ 15405 w 77052"/>
                  <a:gd name="connsiteY6" fmla="*/ 38526 h 77052"/>
                  <a:gd name="connsiteX7" fmla="*/ 38526 w 77052"/>
                  <a:gd name="connsiteY7" fmla="*/ 61647 h 77052"/>
                  <a:gd name="connsiteX8" fmla="*/ 61647 w 77052"/>
                  <a:gd name="connsiteY8" fmla="*/ 38526 h 77052"/>
                  <a:gd name="connsiteX9" fmla="*/ 38526 w 77052"/>
                  <a:gd name="connsiteY9" fmla="*/ 15405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52" h="77052">
                    <a:moveTo>
                      <a:pt x="38526" y="77052"/>
                    </a:moveTo>
                    <a:cubicBezTo>
                      <a:pt x="17279" y="77052"/>
                      <a:pt x="0" y="59760"/>
                      <a:pt x="0" y="38526"/>
                    </a:cubicBezTo>
                    <a:cubicBezTo>
                      <a:pt x="0" y="17293"/>
                      <a:pt x="17293" y="0"/>
                      <a:pt x="38526" y="0"/>
                    </a:cubicBezTo>
                    <a:cubicBezTo>
                      <a:pt x="59773" y="0"/>
                      <a:pt x="77052" y="17293"/>
                      <a:pt x="77052" y="38526"/>
                    </a:cubicBezTo>
                    <a:cubicBezTo>
                      <a:pt x="77052" y="59760"/>
                      <a:pt x="59760" y="77052"/>
                      <a:pt x="38526" y="77052"/>
                    </a:cubicBezTo>
                    <a:close/>
                    <a:moveTo>
                      <a:pt x="38526" y="15405"/>
                    </a:moveTo>
                    <a:cubicBezTo>
                      <a:pt x="25780" y="15405"/>
                      <a:pt x="15405" y="25781"/>
                      <a:pt x="15405" y="38526"/>
                    </a:cubicBezTo>
                    <a:cubicBezTo>
                      <a:pt x="15405" y="51272"/>
                      <a:pt x="25780" y="61647"/>
                      <a:pt x="38526" y="61647"/>
                    </a:cubicBezTo>
                    <a:cubicBezTo>
                      <a:pt x="51272" y="61647"/>
                      <a:pt x="61647" y="51272"/>
                      <a:pt x="61647" y="38526"/>
                    </a:cubicBezTo>
                    <a:cubicBezTo>
                      <a:pt x="61647" y="25781"/>
                      <a:pt x="51272" y="15405"/>
                      <a:pt x="38526" y="15405"/>
                    </a:cubicBezTo>
                    <a:close/>
                  </a:path>
                </a:pathLst>
              </a:custGeom>
              <a:solidFill>
                <a:schemeClr val="tx2"/>
              </a:solidFill>
              <a:ln w="1375" cap="flat">
                <a:noFill/>
                <a:prstDash val="solid"/>
                <a:miter/>
              </a:ln>
            </p:spPr>
            <p:txBody>
              <a:bodyPr rtlCol="0" anchor="ctr"/>
              <a:lstStyle/>
              <a:p>
                <a:endParaRPr lang="en-GB" dirty="0"/>
              </a:p>
            </p:txBody>
          </p:sp>
        </p:grpSp>
      </p:grpSp>
      <p:grpSp>
        <p:nvGrpSpPr>
          <p:cNvPr id="687" name="Gruppieren 686">
            <a:extLst>
              <a:ext uri="{FF2B5EF4-FFF2-40B4-BE49-F238E27FC236}">
                <a16:creationId xmlns:a16="http://schemas.microsoft.com/office/drawing/2014/main" id="{C3C542C2-0D7E-4F8C-BE71-E746BBC9B1AF}"/>
              </a:ext>
            </a:extLst>
          </p:cNvPr>
          <p:cNvGrpSpPr>
            <a:grpSpLocks noChangeAspect="1"/>
          </p:cNvGrpSpPr>
          <p:nvPr/>
        </p:nvGrpSpPr>
        <p:grpSpPr>
          <a:xfrm>
            <a:off x="3808253" y="3273397"/>
            <a:ext cx="431982" cy="431992"/>
            <a:chOff x="3778075" y="3241367"/>
            <a:chExt cx="493174" cy="493185"/>
          </a:xfrm>
        </p:grpSpPr>
        <p:grpSp>
          <p:nvGrpSpPr>
            <p:cNvPr id="685" name="Gruppieren 684">
              <a:extLst>
                <a:ext uri="{FF2B5EF4-FFF2-40B4-BE49-F238E27FC236}">
                  <a16:creationId xmlns:a16="http://schemas.microsoft.com/office/drawing/2014/main" id="{B8FC7AFF-54DC-46E7-907A-3B2CBA9A92BD}"/>
                </a:ext>
              </a:extLst>
            </p:cNvPr>
            <p:cNvGrpSpPr/>
            <p:nvPr/>
          </p:nvGrpSpPr>
          <p:grpSpPr>
            <a:xfrm>
              <a:off x="4001517" y="3241367"/>
              <a:ext cx="231210" cy="369884"/>
              <a:chOff x="4001517" y="3241359"/>
              <a:chExt cx="231210" cy="369883"/>
            </a:xfrm>
          </p:grpSpPr>
          <p:sp>
            <p:nvSpPr>
              <p:cNvPr id="489" name="Freihandform: Form 488">
                <a:extLst>
                  <a:ext uri="{FF2B5EF4-FFF2-40B4-BE49-F238E27FC236}">
                    <a16:creationId xmlns:a16="http://schemas.microsoft.com/office/drawing/2014/main" id="{4D90386A-3802-46DD-BE89-A2F937255D90}"/>
                  </a:ext>
                </a:extLst>
              </p:cNvPr>
              <p:cNvSpPr/>
              <p:nvPr/>
            </p:nvSpPr>
            <p:spPr>
              <a:xfrm>
                <a:off x="4001517" y="3241359"/>
                <a:ext cx="46256" cy="369883"/>
              </a:xfrm>
              <a:custGeom>
                <a:avLst/>
                <a:gdLst>
                  <a:gd name="connsiteX0" fmla="*/ 46256 w 46256"/>
                  <a:gd name="connsiteY0" fmla="*/ 369884 h 369883"/>
                  <a:gd name="connsiteX1" fmla="*/ 30838 w 46256"/>
                  <a:gd name="connsiteY1" fmla="*/ 369884 h 369883"/>
                  <a:gd name="connsiteX2" fmla="*/ 30838 w 46256"/>
                  <a:gd name="connsiteY2" fmla="*/ 15405 h 369883"/>
                  <a:gd name="connsiteX3" fmla="*/ 15419 w 46256"/>
                  <a:gd name="connsiteY3" fmla="*/ 15405 h 369883"/>
                  <a:gd name="connsiteX4" fmla="*/ 15419 w 46256"/>
                  <a:gd name="connsiteY4" fmla="*/ 369884 h 369883"/>
                  <a:gd name="connsiteX5" fmla="*/ 0 w 46256"/>
                  <a:gd name="connsiteY5" fmla="*/ 369884 h 369883"/>
                  <a:gd name="connsiteX6" fmla="*/ 0 w 46256"/>
                  <a:gd name="connsiteY6" fmla="*/ 7702 h 369883"/>
                  <a:gd name="connsiteX7" fmla="*/ 7703 w 46256"/>
                  <a:gd name="connsiteY7" fmla="*/ 0 h 369883"/>
                  <a:gd name="connsiteX8" fmla="*/ 38526 w 46256"/>
                  <a:gd name="connsiteY8" fmla="*/ 0 h 369883"/>
                  <a:gd name="connsiteX9" fmla="*/ 46229 w 46256"/>
                  <a:gd name="connsiteY9" fmla="*/ 7702 h 369883"/>
                  <a:gd name="connsiteX10" fmla="*/ 46229 w 46256"/>
                  <a:gd name="connsiteY10" fmla="*/ 369884 h 369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6256" h="369883">
                    <a:moveTo>
                      <a:pt x="46256" y="369884"/>
                    </a:moveTo>
                    <a:lnTo>
                      <a:pt x="30838" y="369884"/>
                    </a:lnTo>
                    <a:lnTo>
                      <a:pt x="30838" y="15405"/>
                    </a:lnTo>
                    <a:lnTo>
                      <a:pt x="15419" y="15405"/>
                    </a:lnTo>
                    <a:lnTo>
                      <a:pt x="15419" y="369884"/>
                    </a:lnTo>
                    <a:lnTo>
                      <a:pt x="0" y="369884"/>
                    </a:lnTo>
                    <a:lnTo>
                      <a:pt x="0" y="7702"/>
                    </a:lnTo>
                    <a:cubicBezTo>
                      <a:pt x="0" y="3445"/>
                      <a:pt x="3445" y="0"/>
                      <a:pt x="7703" y="0"/>
                    </a:cubicBezTo>
                    <a:lnTo>
                      <a:pt x="38526" y="0"/>
                    </a:lnTo>
                    <a:cubicBezTo>
                      <a:pt x="42784" y="0"/>
                      <a:pt x="46229" y="3445"/>
                      <a:pt x="46229" y="7702"/>
                    </a:cubicBezTo>
                    <a:lnTo>
                      <a:pt x="46229" y="369884"/>
                    </a:lnTo>
                    <a:close/>
                  </a:path>
                </a:pathLst>
              </a:custGeom>
              <a:solidFill>
                <a:schemeClr val="accent1"/>
              </a:solidFill>
              <a:ln w="1375" cap="flat">
                <a:noFill/>
                <a:prstDash val="solid"/>
                <a:miter/>
              </a:ln>
            </p:spPr>
            <p:txBody>
              <a:bodyPr rtlCol="0" anchor="ctr"/>
              <a:lstStyle/>
              <a:p>
                <a:endParaRPr lang="en-GB" dirty="0"/>
              </a:p>
            </p:txBody>
          </p:sp>
          <p:sp>
            <p:nvSpPr>
              <p:cNvPr id="491" name="Freihandform: Form 490">
                <a:extLst>
                  <a:ext uri="{FF2B5EF4-FFF2-40B4-BE49-F238E27FC236}">
                    <a16:creationId xmlns:a16="http://schemas.microsoft.com/office/drawing/2014/main" id="{31684065-58BD-4F41-B7B1-179A9643CFB8}"/>
                  </a:ext>
                </a:extLst>
              </p:cNvPr>
              <p:cNvSpPr/>
              <p:nvPr/>
            </p:nvSpPr>
            <p:spPr>
              <a:xfrm>
                <a:off x="4040057" y="3295290"/>
                <a:ext cx="192670" cy="123308"/>
              </a:xfrm>
              <a:custGeom>
                <a:avLst/>
                <a:gdLst>
                  <a:gd name="connsiteX0" fmla="*/ 184956 w 192670"/>
                  <a:gd name="connsiteY0" fmla="*/ 123308 h 123308"/>
                  <a:gd name="connsiteX1" fmla="*/ 46242 w 192670"/>
                  <a:gd name="connsiteY1" fmla="*/ 123308 h 123308"/>
                  <a:gd name="connsiteX2" fmla="*/ 39119 w 192670"/>
                  <a:gd name="connsiteY2" fmla="*/ 118555 h 123308"/>
                  <a:gd name="connsiteX3" fmla="*/ 40786 w 192670"/>
                  <a:gd name="connsiteY3" fmla="*/ 110163 h 123308"/>
                  <a:gd name="connsiteX4" fmla="*/ 66167 w 192670"/>
                  <a:gd name="connsiteY4" fmla="*/ 84782 h 123308"/>
                  <a:gd name="connsiteX5" fmla="*/ 0 w 192670"/>
                  <a:gd name="connsiteY5" fmla="*/ 84782 h 123308"/>
                  <a:gd name="connsiteX6" fmla="*/ 0 w 192670"/>
                  <a:gd name="connsiteY6" fmla="*/ 69364 h 123308"/>
                  <a:gd name="connsiteX7" fmla="*/ 84769 w 192670"/>
                  <a:gd name="connsiteY7" fmla="*/ 69364 h 123308"/>
                  <a:gd name="connsiteX8" fmla="*/ 91892 w 192670"/>
                  <a:gd name="connsiteY8" fmla="*/ 74117 h 123308"/>
                  <a:gd name="connsiteX9" fmla="*/ 90225 w 192670"/>
                  <a:gd name="connsiteY9" fmla="*/ 82509 h 123308"/>
                  <a:gd name="connsiteX10" fmla="*/ 64844 w 192670"/>
                  <a:gd name="connsiteY10" fmla="*/ 107890 h 123308"/>
                  <a:gd name="connsiteX11" fmla="*/ 166340 w 192670"/>
                  <a:gd name="connsiteY11" fmla="*/ 107890 h 123308"/>
                  <a:gd name="connsiteX12" fmla="*/ 125555 w 192670"/>
                  <a:gd name="connsiteY12" fmla="*/ 67104 h 123308"/>
                  <a:gd name="connsiteX13" fmla="*/ 125555 w 192670"/>
                  <a:gd name="connsiteY13" fmla="*/ 56204 h 123308"/>
                  <a:gd name="connsiteX14" fmla="*/ 166340 w 192670"/>
                  <a:gd name="connsiteY14" fmla="*/ 15419 h 123308"/>
                  <a:gd name="connsiteX15" fmla="*/ 107890 w 192670"/>
                  <a:gd name="connsiteY15" fmla="*/ 15419 h 123308"/>
                  <a:gd name="connsiteX16" fmla="*/ 107890 w 192670"/>
                  <a:gd name="connsiteY16" fmla="*/ 0 h 123308"/>
                  <a:gd name="connsiteX17" fmla="*/ 184956 w 192670"/>
                  <a:gd name="connsiteY17" fmla="*/ 0 h 123308"/>
                  <a:gd name="connsiteX18" fmla="*/ 192080 w 192670"/>
                  <a:gd name="connsiteY18" fmla="*/ 4754 h 123308"/>
                  <a:gd name="connsiteX19" fmla="*/ 190412 w 192670"/>
                  <a:gd name="connsiteY19" fmla="*/ 13145 h 123308"/>
                  <a:gd name="connsiteX20" fmla="*/ 141924 w 192670"/>
                  <a:gd name="connsiteY20" fmla="*/ 61634 h 123308"/>
                  <a:gd name="connsiteX21" fmla="*/ 190412 w 192670"/>
                  <a:gd name="connsiteY21" fmla="*/ 110122 h 123308"/>
                  <a:gd name="connsiteX22" fmla="*/ 192080 w 192670"/>
                  <a:gd name="connsiteY22" fmla="*/ 118513 h 123308"/>
                  <a:gd name="connsiteX23" fmla="*/ 184956 w 192670"/>
                  <a:gd name="connsiteY23" fmla="*/ 123308 h 123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92670" h="123308">
                    <a:moveTo>
                      <a:pt x="184956" y="123308"/>
                    </a:moveTo>
                    <a:lnTo>
                      <a:pt x="46242" y="123308"/>
                    </a:lnTo>
                    <a:cubicBezTo>
                      <a:pt x="43128" y="123308"/>
                      <a:pt x="40317" y="121434"/>
                      <a:pt x="39119" y="118555"/>
                    </a:cubicBezTo>
                    <a:cubicBezTo>
                      <a:pt x="37920" y="115675"/>
                      <a:pt x="38581" y="112368"/>
                      <a:pt x="40786" y="110163"/>
                    </a:cubicBezTo>
                    <a:lnTo>
                      <a:pt x="66167" y="84782"/>
                    </a:lnTo>
                    <a:lnTo>
                      <a:pt x="0" y="84782"/>
                    </a:lnTo>
                    <a:lnTo>
                      <a:pt x="0" y="69364"/>
                    </a:lnTo>
                    <a:lnTo>
                      <a:pt x="84769" y="69364"/>
                    </a:lnTo>
                    <a:cubicBezTo>
                      <a:pt x="87883" y="69364"/>
                      <a:pt x="90694" y="71237"/>
                      <a:pt x="91892" y="74117"/>
                    </a:cubicBezTo>
                    <a:cubicBezTo>
                      <a:pt x="93091" y="76997"/>
                      <a:pt x="92430" y="80304"/>
                      <a:pt x="90225" y="82509"/>
                    </a:cubicBezTo>
                    <a:lnTo>
                      <a:pt x="64844" y="107890"/>
                    </a:lnTo>
                    <a:lnTo>
                      <a:pt x="166340" y="107890"/>
                    </a:lnTo>
                    <a:lnTo>
                      <a:pt x="125555" y="67104"/>
                    </a:lnTo>
                    <a:cubicBezTo>
                      <a:pt x="122537" y="64100"/>
                      <a:pt x="122537" y="59222"/>
                      <a:pt x="125555" y="56204"/>
                    </a:cubicBezTo>
                    <a:lnTo>
                      <a:pt x="166340" y="15419"/>
                    </a:lnTo>
                    <a:lnTo>
                      <a:pt x="107890" y="15419"/>
                    </a:lnTo>
                    <a:lnTo>
                      <a:pt x="107890" y="0"/>
                    </a:lnTo>
                    <a:lnTo>
                      <a:pt x="184956" y="0"/>
                    </a:lnTo>
                    <a:cubicBezTo>
                      <a:pt x="188070" y="0"/>
                      <a:pt x="190881" y="1874"/>
                      <a:pt x="192080" y="4754"/>
                    </a:cubicBezTo>
                    <a:cubicBezTo>
                      <a:pt x="193278" y="7633"/>
                      <a:pt x="192617" y="10940"/>
                      <a:pt x="190412" y="13145"/>
                    </a:cubicBezTo>
                    <a:lnTo>
                      <a:pt x="141924" y="61634"/>
                    </a:lnTo>
                    <a:lnTo>
                      <a:pt x="190412" y="110122"/>
                    </a:lnTo>
                    <a:cubicBezTo>
                      <a:pt x="192617" y="112326"/>
                      <a:pt x="193278" y="115633"/>
                      <a:pt x="192080" y="118513"/>
                    </a:cubicBezTo>
                    <a:cubicBezTo>
                      <a:pt x="190881" y="121434"/>
                      <a:pt x="188070" y="123308"/>
                      <a:pt x="184956" y="123308"/>
                    </a:cubicBezTo>
                    <a:close/>
                  </a:path>
                </a:pathLst>
              </a:custGeom>
              <a:solidFill>
                <a:schemeClr val="accent1"/>
              </a:solidFill>
              <a:ln w="1375" cap="flat">
                <a:noFill/>
                <a:prstDash val="solid"/>
                <a:miter/>
              </a:ln>
            </p:spPr>
            <p:txBody>
              <a:bodyPr rtlCol="0" anchor="ctr"/>
              <a:lstStyle/>
              <a:p>
                <a:endParaRPr lang="en-GB" dirty="0"/>
              </a:p>
            </p:txBody>
          </p:sp>
          <p:sp>
            <p:nvSpPr>
              <p:cNvPr id="492" name="Freihandform: Form 491">
                <a:extLst>
                  <a:ext uri="{FF2B5EF4-FFF2-40B4-BE49-F238E27FC236}">
                    <a16:creationId xmlns:a16="http://schemas.microsoft.com/office/drawing/2014/main" id="{468177C5-8F93-4F84-AC90-6D51410220F2}"/>
                  </a:ext>
                </a:extLst>
              </p:cNvPr>
              <p:cNvSpPr/>
              <p:nvPr/>
            </p:nvSpPr>
            <p:spPr>
              <a:xfrm>
                <a:off x="4040057" y="3272168"/>
                <a:ext cx="92484" cy="100187"/>
              </a:xfrm>
              <a:custGeom>
                <a:avLst/>
                <a:gdLst>
                  <a:gd name="connsiteX0" fmla="*/ 92485 w 92484"/>
                  <a:gd name="connsiteY0" fmla="*/ 100187 h 100187"/>
                  <a:gd name="connsiteX1" fmla="*/ 77066 w 92484"/>
                  <a:gd name="connsiteY1" fmla="*/ 100187 h 100187"/>
                  <a:gd name="connsiteX2" fmla="*/ 77066 w 92484"/>
                  <a:gd name="connsiteY2" fmla="*/ 15419 h 100187"/>
                  <a:gd name="connsiteX3" fmla="*/ 0 w 92484"/>
                  <a:gd name="connsiteY3" fmla="*/ 15419 h 100187"/>
                  <a:gd name="connsiteX4" fmla="*/ 0 w 92484"/>
                  <a:gd name="connsiteY4" fmla="*/ 0 h 100187"/>
                  <a:gd name="connsiteX5" fmla="*/ 84769 w 92484"/>
                  <a:gd name="connsiteY5" fmla="*/ 0 h 100187"/>
                  <a:gd name="connsiteX6" fmla="*/ 92471 w 92484"/>
                  <a:gd name="connsiteY6" fmla="*/ 7702 h 100187"/>
                  <a:gd name="connsiteX7" fmla="*/ 92471 w 92484"/>
                  <a:gd name="connsiteY7" fmla="*/ 100187 h 10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484" h="100187">
                    <a:moveTo>
                      <a:pt x="92485" y="100187"/>
                    </a:moveTo>
                    <a:lnTo>
                      <a:pt x="77066" y="100187"/>
                    </a:lnTo>
                    <a:lnTo>
                      <a:pt x="77066" y="15419"/>
                    </a:lnTo>
                    <a:lnTo>
                      <a:pt x="0" y="15419"/>
                    </a:lnTo>
                    <a:lnTo>
                      <a:pt x="0" y="0"/>
                    </a:lnTo>
                    <a:lnTo>
                      <a:pt x="84769" y="0"/>
                    </a:lnTo>
                    <a:cubicBezTo>
                      <a:pt x="89026" y="0"/>
                      <a:pt x="92471" y="3445"/>
                      <a:pt x="92471" y="7702"/>
                    </a:cubicBezTo>
                    <a:lnTo>
                      <a:pt x="92471" y="100187"/>
                    </a:lnTo>
                    <a:close/>
                  </a:path>
                </a:pathLst>
              </a:custGeom>
              <a:solidFill>
                <a:schemeClr val="accent1"/>
              </a:solidFill>
              <a:ln w="1375" cap="flat">
                <a:noFill/>
                <a:prstDash val="solid"/>
                <a:miter/>
              </a:ln>
            </p:spPr>
            <p:txBody>
              <a:bodyPr rtlCol="0" anchor="ctr"/>
              <a:lstStyle/>
              <a:p>
                <a:endParaRPr lang="en-GB" dirty="0"/>
              </a:p>
            </p:txBody>
          </p:sp>
          <p:sp>
            <p:nvSpPr>
              <p:cNvPr id="493" name="Freihandform: Form 492">
                <a:extLst>
                  <a:ext uri="{FF2B5EF4-FFF2-40B4-BE49-F238E27FC236}">
                    <a16:creationId xmlns:a16="http://schemas.microsoft.com/office/drawing/2014/main" id="{F5E52669-F133-4271-9FC4-155F01863CD4}"/>
                  </a:ext>
                </a:extLst>
              </p:cNvPr>
              <p:cNvSpPr/>
              <p:nvPr/>
            </p:nvSpPr>
            <p:spPr>
              <a:xfrm>
                <a:off x="4078597" y="3372356"/>
                <a:ext cx="15418" cy="38526"/>
              </a:xfrm>
              <a:custGeom>
                <a:avLst/>
                <a:gdLst>
                  <a:gd name="connsiteX0" fmla="*/ 0 w 15418"/>
                  <a:gd name="connsiteY0" fmla="*/ 0 h 38526"/>
                  <a:gd name="connsiteX1" fmla="*/ 15419 w 15418"/>
                  <a:gd name="connsiteY1" fmla="*/ 0 h 38526"/>
                  <a:gd name="connsiteX2" fmla="*/ 15419 w 15418"/>
                  <a:gd name="connsiteY2" fmla="*/ 38526 h 38526"/>
                  <a:gd name="connsiteX3" fmla="*/ 0 w 15418"/>
                  <a:gd name="connsiteY3" fmla="*/ 38526 h 38526"/>
                </a:gdLst>
                <a:ahLst/>
                <a:cxnLst>
                  <a:cxn ang="0">
                    <a:pos x="connsiteX0" y="connsiteY0"/>
                  </a:cxn>
                  <a:cxn ang="0">
                    <a:pos x="connsiteX1" y="connsiteY1"/>
                  </a:cxn>
                  <a:cxn ang="0">
                    <a:pos x="connsiteX2" y="connsiteY2"/>
                  </a:cxn>
                  <a:cxn ang="0">
                    <a:pos x="connsiteX3" y="connsiteY3"/>
                  </a:cxn>
                </a:cxnLst>
                <a:rect l="l" t="t" r="r" b="b"/>
                <a:pathLst>
                  <a:path w="15418" h="38526">
                    <a:moveTo>
                      <a:pt x="0" y="0"/>
                    </a:moveTo>
                    <a:lnTo>
                      <a:pt x="15419" y="0"/>
                    </a:lnTo>
                    <a:lnTo>
                      <a:pt x="15419" y="38526"/>
                    </a:lnTo>
                    <a:lnTo>
                      <a:pt x="0" y="38526"/>
                    </a:lnTo>
                    <a:close/>
                  </a:path>
                </a:pathLst>
              </a:custGeom>
              <a:solidFill>
                <a:schemeClr val="accent1"/>
              </a:solidFill>
              <a:ln w="1375" cap="flat">
                <a:noFill/>
                <a:prstDash val="solid"/>
                <a:miter/>
              </a:ln>
            </p:spPr>
            <p:txBody>
              <a:bodyPr rtlCol="0" anchor="ctr"/>
              <a:lstStyle/>
              <a:p>
                <a:endParaRPr lang="en-GB" dirty="0"/>
              </a:p>
            </p:txBody>
          </p:sp>
        </p:grpSp>
        <p:grpSp>
          <p:nvGrpSpPr>
            <p:cNvPr id="686" name="Gruppieren 685">
              <a:extLst>
                <a:ext uri="{FF2B5EF4-FFF2-40B4-BE49-F238E27FC236}">
                  <a16:creationId xmlns:a16="http://schemas.microsoft.com/office/drawing/2014/main" id="{301C0598-2B18-4230-B6AB-2D2A72E055CF}"/>
                </a:ext>
              </a:extLst>
            </p:cNvPr>
            <p:cNvGrpSpPr/>
            <p:nvPr/>
          </p:nvGrpSpPr>
          <p:grpSpPr>
            <a:xfrm>
              <a:off x="3778075" y="3595848"/>
              <a:ext cx="493174" cy="138704"/>
              <a:chOff x="3778075" y="3595848"/>
              <a:chExt cx="493174" cy="138704"/>
            </a:xfrm>
          </p:grpSpPr>
          <p:sp>
            <p:nvSpPr>
              <p:cNvPr id="490" name="Freihandform: Form 489">
                <a:extLst>
                  <a:ext uri="{FF2B5EF4-FFF2-40B4-BE49-F238E27FC236}">
                    <a16:creationId xmlns:a16="http://schemas.microsoft.com/office/drawing/2014/main" id="{74E4756A-EDFA-46B2-A1E1-DF6BB82C370C}"/>
                  </a:ext>
                </a:extLst>
              </p:cNvPr>
              <p:cNvSpPr/>
              <p:nvPr/>
            </p:nvSpPr>
            <p:spPr>
              <a:xfrm>
                <a:off x="3778075" y="3595848"/>
                <a:ext cx="493174" cy="138704"/>
              </a:xfrm>
              <a:custGeom>
                <a:avLst/>
                <a:gdLst>
                  <a:gd name="connsiteX0" fmla="*/ 485464 w 493174"/>
                  <a:gd name="connsiteY0" fmla="*/ 138703 h 138704"/>
                  <a:gd name="connsiteX1" fmla="*/ 481937 w 493174"/>
                  <a:gd name="connsiteY1" fmla="*/ 137849 h 138704"/>
                  <a:gd name="connsiteX2" fmla="*/ 246591 w 493174"/>
                  <a:gd name="connsiteY2" fmla="*/ 16373 h 138704"/>
                  <a:gd name="connsiteX3" fmla="*/ 11245 w 493174"/>
                  <a:gd name="connsiteY3" fmla="*/ 137849 h 138704"/>
                  <a:gd name="connsiteX4" fmla="*/ 856 w 493174"/>
                  <a:gd name="connsiteY4" fmla="*/ 134542 h 138704"/>
                  <a:gd name="connsiteX5" fmla="*/ 4163 w 493174"/>
                  <a:gd name="connsiteY5" fmla="*/ 124152 h 138704"/>
                  <a:gd name="connsiteX6" fmla="*/ 243050 w 493174"/>
                  <a:gd name="connsiteY6" fmla="*/ 858 h 138704"/>
                  <a:gd name="connsiteX7" fmla="*/ 250119 w 493174"/>
                  <a:gd name="connsiteY7" fmla="*/ 858 h 138704"/>
                  <a:gd name="connsiteX8" fmla="*/ 489005 w 493174"/>
                  <a:gd name="connsiteY8" fmla="*/ 124152 h 138704"/>
                  <a:gd name="connsiteX9" fmla="*/ 492312 w 493174"/>
                  <a:gd name="connsiteY9" fmla="*/ 134542 h 138704"/>
                  <a:gd name="connsiteX10" fmla="*/ 485464 w 493174"/>
                  <a:gd name="connsiteY10" fmla="*/ 138703 h 138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174" h="138704">
                    <a:moveTo>
                      <a:pt x="485464" y="138703"/>
                    </a:moveTo>
                    <a:cubicBezTo>
                      <a:pt x="484279" y="138703"/>
                      <a:pt x="483066" y="138427"/>
                      <a:pt x="481937" y="137849"/>
                    </a:cubicBezTo>
                    <a:lnTo>
                      <a:pt x="246591" y="16373"/>
                    </a:lnTo>
                    <a:lnTo>
                      <a:pt x="11245" y="137849"/>
                    </a:lnTo>
                    <a:cubicBezTo>
                      <a:pt x="7429" y="139792"/>
                      <a:pt x="2813" y="138317"/>
                      <a:pt x="856" y="134542"/>
                    </a:cubicBezTo>
                    <a:cubicBezTo>
                      <a:pt x="-1087" y="130752"/>
                      <a:pt x="388" y="126109"/>
                      <a:pt x="4163" y="124152"/>
                    </a:cubicBezTo>
                    <a:lnTo>
                      <a:pt x="243050" y="858"/>
                    </a:lnTo>
                    <a:cubicBezTo>
                      <a:pt x="245282" y="-286"/>
                      <a:pt x="247900" y="-286"/>
                      <a:pt x="250119" y="858"/>
                    </a:cubicBezTo>
                    <a:lnTo>
                      <a:pt x="489005" y="124152"/>
                    </a:lnTo>
                    <a:cubicBezTo>
                      <a:pt x="492781" y="126095"/>
                      <a:pt x="494269" y="130752"/>
                      <a:pt x="492312" y="134542"/>
                    </a:cubicBezTo>
                    <a:cubicBezTo>
                      <a:pt x="490948" y="137174"/>
                      <a:pt x="488247" y="138703"/>
                      <a:pt x="485464" y="138703"/>
                    </a:cubicBezTo>
                    <a:close/>
                  </a:path>
                </a:pathLst>
              </a:custGeom>
              <a:solidFill>
                <a:schemeClr val="tx2"/>
              </a:solidFill>
              <a:ln w="1375" cap="flat">
                <a:noFill/>
                <a:prstDash val="solid"/>
                <a:miter/>
              </a:ln>
            </p:spPr>
            <p:txBody>
              <a:bodyPr rtlCol="0" anchor="ctr"/>
              <a:lstStyle/>
              <a:p>
                <a:endParaRPr lang="en-GB" dirty="0"/>
              </a:p>
            </p:txBody>
          </p:sp>
          <p:sp>
            <p:nvSpPr>
              <p:cNvPr id="494" name="Freihandform: Form 493">
                <a:extLst>
                  <a:ext uri="{FF2B5EF4-FFF2-40B4-BE49-F238E27FC236}">
                    <a16:creationId xmlns:a16="http://schemas.microsoft.com/office/drawing/2014/main" id="{96002A7F-42C1-4F72-8707-DAEBFB53F7D1}"/>
                  </a:ext>
                </a:extLst>
              </p:cNvPr>
              <p:cNvSpPr/>
              <p:nvPr/>
            </p:nvSpPr>
            <p:spPr>
              <a:xfrm>
                <a:off x="3924479" y="3649769"/>
                <a:ext cx="200374" cy="46242"/>
              </a:xfrm>
              <a:custGeom>
                <a:avLst/>
                <a:gdLst>
                  <a:gd name="connsiteX0" fmla="*/ 100173 w 200374"/>
                  <a:gd name="connsiteY0" fmla="*/ 46242 h 46242"/>
                  <a:gd name="connsiteX1" fmla="*/ 0 w 200374"/>
                  <a:gd name="connsiteY1" fmla="*/ 0 h 46242"/>
                  <a:gd name="connsiteX2" fmla="*/ 15419 w 200374"/>
                  <a:gd name="connsiteY2" fmla="*/ 0 h 46242"/>
                  <a:gd name="connsiteX3" fmla="*/ 100187 w 200374"/>
                  <a:gd name="connsiteY3" fmla="*/ 30824 h 46242"/>
                  <a:gd name="connsiteX4" fmla="*/ 184956 w 200374"/>
                  <a:gd name="connsiteY4" fmla="*/ 0 h 46242"/>
                  <a:gd name="connsiteX5" fmla="*/ 200374 w 200374"/>
                  <a:gd name="connsiteY5" fmla="*/ 0 h 46242"/>
                  <a:gd name="connsiteX6" fmla="*/ 100173 w 200374"/>
                  <a:gd name="connsiteY6" fmla="*/ 46242 h 46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374" h="46242">
                    <a:moveTo>
                      <a:pt x="100173" y="46242"/>
                    </a:moveTo>
                    <a:cubicBezTo>
                      <a:pt x="43059" y="46242"/>
                      <a:pt x="0" y="26373"/>
                      <a:pt x="0" y="0"/>
                    </a:cubicBezTo>
                    <a:lnTo>
                      <a:pt x="15419" y="0"/>
                    </a:lnTo>
                    <a:cubicBezTo>
                      <a:pt x="15419" y="14551"/>
                      <a:pt x="51671" y="30824"/>
                      <a:pt x="100187" y="30824"/>
                    </a:cubicBezTo>
                    <a:cubicBezTo>
                      <a:pt x="148703" y="30824"/>
                      <a:pt x="184956" y="14551"/>
                      <a:pt x="184956" y="0"/>
                    </a:cubicBezTo>
                    <a:lnTo>
                      <a:pt x="200374" y="0"/>
                    </a:lnTo>
                    <a:cubicBezTo>
                      <a:pt x="200361" y="26373"/>
                      <a:pt x="157287" y="46242"/>
                      <a:pt x="100173" y="46242"/>
                    </a:cubicBezTo>
                    <a:close/>
                  </a:path>
                </a:pathLst>
              </a:custGeom>
              <a:solidFill>
                <a:schemeClr val="tx2"/>
              </a:solidFill>
              <a:ln w="1375" cap="flat">
                <a:noFill/>
                <a:prstDash val="solid"/>
                <a:miter/>
              </a:ln>
            </p:spPr>
            <p:txBody>
              <a:bodyPr rtlCol="0" anchor="ctr"/>
              <a:lstStyle/>
              <a:p>
                <a:endParaRPr lang="en-GB" dirty="0"/>
              </a:p>
            </p:txBody>
          </p:sp>
        </p:grpSp>
      </p:grpSp>
      <p:grpSp>
        <p:nvGrpSpPr>
          <p:cNvPr id="652" name="Gruppieren 651">
            <a:extLst>
              <a:ext uri="{FF2B5EF4-FFF2-40B4-BE49-F238E27FC236}">
                <a16:creationId xmlns:a16="http://schemas.microsoft.com/office/drawing/2014/main" id="{652D12C0-57F7-4233-80ED-B80B4037E4AC}"/>
              </a:ext>
            </a:extLst>
          </p:cNvPr>
          <p:cNvGrpSpPr>
            <a:grpSpLocks noChangeAspect="1"/>
          </p:cNvGrpSpPr>
          <p:nvPr/>
        </p:nvGrpSpPr>
        <p:grpSpPr>
          <a:xfrm>
            <a:off x="3835243" y="1626715"/>
            <a:ext cx="378000" cy="432000"/>
            <a:chOff x="3808899" y="1615396"/>
            <a:chExt cx="431531" cy="493179"/>
          </a:xfrm>
        </p:grpSpPr>
        <p:grpSp>
          <p:nvGrpSpPr>
            <p:cNvPr id="651" name="Gruppieren 650">
              <a:extLst>
                <a:ext uri="{FF2B5EF4-FFF2-40B4-BE49-F238E27FC236}">
                  <a16:creationId xmlns:a16="http://schemas.microsoft.com/office/drawing/2014/main" id="{407355BF-E386-4103-8DB1-6E20444B94AC}"/>
                </a:ext>
              </a:extLst>
            </p:cNvPr>
            <p:cNvGrpSpPr/>
            <p:nvPr/>
          </p:nvGrpSpPr>
          <p:grpSpPr>
            <a:xfrm>
              <a:off x="3808899" y="1615396"/>
              <a:ext cx="431531" cy="493179"/>
              <a:chOff x="3808900" y="1615394"/>
              <a:chExt cx="431531" cy="493178"/>
            </a:xfrm>
          </p:grpSpPr>
          <p:sp>
            <p:nvSpPr>
              <p:cNvPr id="496" name="Freihandform: Form 495">
                <a:extLst>
                  <a:ext uri="{FF2B5EF4-FFF2-40B4-BE49-F238E27FC236}">
                    <a16:creationId xmlns:a16="http://schemas.microsoft.com/office/drawing/2014/main" id="{CE7982FE-BCD4-4B52-B2BB-565A2545B40B}"/>
                  </a:ext>
                </a:extLst>
              </p:cNvPr>
              <p:cNvSpPr/>
              <p:nvPr/>
            </p:nvSpPr>
            <p:spPr>
              <a:xfrm>
                <a:off x="3978409" y="1738674"/>
                <a:ext cx="92484" cy="92484"/>
              </a:xfrm>
              <a:custGeom>
                <a:avLst/>
                <a:gdLst>
                  <a:gd name="connsiteX0" fmla="*/ 46242 w 92484"/>
                  <a:gd name="connsiteY0" fmla="*/ 92485 h 92484"/>
                  <a:gd name="connsiteX1" fmla="*/ 0 w 92484"/>
                  <a:gd name="connsiteY1" fmla="*/ 46242 h 92484"/>
                  <a:gd name="connsiteX2" fmla="*/ 46242 w 92484"/>
                  <a:gd name="connsiteY2" fmla="*/ 0 h 92484"/>
                  <a:gd name="connsiteX3" fmla="*/ 92485 w 92484"/>
                  <a:gd name="connsiteY3" fmla="*/ 46242 h 92484"/>
                  <a:gd name="connsiteX4" fmla="*/ 46242 w 92484"/>
                  <a:gd name="connsiteY4" fmla="*/ 92485 h 92484"/>
                  <a:gd name="connsiteX5" fmla="*/ 46242 w 92484"/>
                  <a:gd name="connsiteY5" fmla="*/ 15432 h 92484"/>
                  <a:gd name="connsiteX6" fmla="*/ 15419 w 92484"/>
                  <a:gd name="connsiteY6" fmla="*/ 46256 h 92484"/>
                  <a:gd name="connsiteX7" fmla="*/ 46242 w 92484"/>
                  <a:gd name="connsiteY7" fmla="*/ 77080 h 92484"/>
                  <a:gd name="connsiteX8" fmla="*/ 77066 w 92484"/>
                  <a:gd name="connsiteY8" fmla="*/ 46256 h 92484"/>
                  <a:gd name="connsiteX9" fmla="*/ 46242 w 92484"/>
                  <a:gd name="connsiteY9" fmla="*/ 15432 h 92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484" h="92484">
                    <a:moveTo>
                      <a:pt x="46242" y="92485"/>
                    </a:moveTo>
                    <a:cubicBezTo>
                      <a:pt x="20751" y="92485"/>
                      <a:pt x="0" y="71747"/>
                      <a:pt x="0" y="46242"/>
                    </a:cubicBezTo>
                    <a:cubicBezTo>
                      <a:pt x="0" y="20737"/>
                      <a:pt x="20737" y="0"/>
                      <a:pt x="46242" y="0"/>
                    </a:cubicBezTo>
                    <a:cubicBezTo>
                      <a:pt x="71734" y="0"/>
                      <a:pt x="92485" y="20737"/>
                      <a:pt x="92485" y="46242"/>
                    </a:cubicBezTo>
                    <a:cubicBezTo>
                      <a:pt x="92485" y="71747"/>
                      <a:pt x="71747" y="92485"/>
                      <a:pt x="46242" y="92485"/>
                    </a:cubicBezTo>
                    <a:close/>
                    <a:moveTo>
                      <a:pt x="46242" y="15432"/>
                    </a:moveTo>
                    <a:cubicBezTo>
                      <a:pt x="29239" y="15432"/>
                      <a:pt x="15419" y="29267"/>
                      <a:pt x="15419" y="46256"/>
                    </a:cubicBezTo>
                    <a:cubicBezTo>
                      <a:pt x="15419" y="63246"/>
                      <a:pt x="29239" y="77080"/>
                      <a:pt x="46242" y="77080"/>
                    </a:cubicBezTo>
                    <a:cubicBezTo>
                      <a:pt x="63246" y="77080"/>
                      <a:pt x="77066" y="63246"/>
                      <a:pt x="77066" y="46256"/>
                    </a:cubicBezTo>
                    <a:cubicBezTo>
                      <a:pt x="77066" y="29267"/>
                      <a:pt x="63246" y="15432"/>
                      <a:pt x="46242" y="15432"/>
                    </a:cubicBezTo>
                    <a:close/>
                  </a:path>
                </a:pathLst>
              </a:custGeom>
              <a:solidFill>
                <a:schemeClr val="tx2"/>
              </a:solidFill>
              <a:ln w="1375" cap="flat">
                <a:noFill/>
                <a:prstDash val="solid"/>
                <a:miter/>
              </a:ln>
            </p:spPr>
            <p:txBody>
              <a:bodyPr rtlCol="0" anchor="ctr"/>
              <a:lstStyle/>
              <a:p>
                <a:endParaRPr lang="en-GB" dirty="0"/>
              </a:p>
            </p:txBody>
          </p:sp>
          <p:sp>
            <p:nvSpPr>
              <p:cNvPr id="497" name="Freihandform: Form 496">
                <a:extLst>
                  <a:ext uri="{FF2B5EF4-FFF2-40B4-BE49-F238E27FC236}">
                    <a16:creationId xmlns:a16="http://schemas.microsoft.com/office/drawing/2014/main" id="{FB264DC2-D418-483F-BB14-33AA255E5BFA}"/>
                  </a:ext>
                </a:extLst>
              </p:cNvPr>
              <p:cNvSpPr/>
              <p:nvPr/>
            </p:nvSpPr>
            <p:spPr>
              <a:xfrm>
                <a:off x="4016949" y="2077748"/>
                <a:ext cx="15418" cy="30823"/>
              </a:xfrm>
              <a:custGeom>
                <a:avLst/>
                <a:gdLst>
                  <a:gd name="connsiteX0" fmla="*/ 0 w 15418"/>
                  <a:gd name="connsiteY0" fmla="*/ 0 h 30823"/>
                  <a:gd name="connsiteX1" fmla="*/ 15419 w 15418"/>
                  <a:gd name="connsiteY1" fmla="*/ 0 h 30823"/>
                  <a:gd name="connsiteX2" fmla="*/ 15419 w 15418"/>
                  <a:gd name="connsiteY2" fmla="*/ 30824 h 30823"/>
                  <a:gd name="connsiteX3" fmla="*/ 0 w 15418"/>
                  <a:gd name="connsiteY3" fmla="*/ 30824 h 30823"/>
                </a:gdLst>
                <a:ahLst/>
                <a:cxnLst>
                  <a:cxn ang="0">
                    <a:pos x="connsiteX0" y="connsiteY0"/>
                  </a:cxn>
                  <a:cxn ang="0">
                    <a:pos x="connsiteX1" y="connsiteY1"/>
                  </a:cxn>
                  <a:cxn ang="0">
                    <a:pos x="connsiteX2" y="connsiteY2"/>
                  </a:cxn>
                  <a:cxn ang="0">
                    <a:pos x="connsiteX3" y="connsiteY3"/>
                  </a:cxn>
                </a:cxnLst>
                <a:rect l="l" t="t" r="r" b="b"/>
                <a:pathLst>
                  <a:path w="15418" h="30823">
                    <a:moveTo>
                      <a:pt x="0" y="0"/>
                    </a:moveTo>
                    <a:lnTo>
                      <a:pt x="15419" y="0"/>
                    </a:lnTo>
                    <a:lnTo>
                      <a:pt x="15419" y="30824"/>
                    </a:lnTo>
                    <a:lnTo>
                      <a:pt x="0" y="30824"/>
                    </a:lnTo>
                    <a:close/>
                  </a:path>
                </a:pathLst>
              </a:custGeom>
              <a:solidFill>
                <a:schemeClr val="tx2"/>
              </a:solidFill>
              <a:ln w="1375" cap="flat">
                <a:noFill/>
                <a:prstDash val="solid"/>
                <a:miter/>
              </a:ln>
            </p:spPr>
            <p:txBody>
              <a:bodyPr rtlCol="0" anchor="ctr"/>
              <a:lstStyle/>
              <a:p>
                <a:endParaRPr lang="en-GB" dirty="0"/>
              </a:p>
            </p:txBody>
          </p:sp>
          <p:sp>
            <p:nvSpPr>
              <p:cNvPr id="498" name="Freihandform: Form 497">
                <a:extLst>
                  <a:ext uri="{FF2B5EF4-FFF2-40B4-BE49-F238E27FC236}">
                    <a16:creationId xmlns:a16="http://schemas.microsoft.com/office/drawing/2014/main" id="{412E370A-D11D-48F5-9017-3B24ACE19C85}"/>
                  </a:ext>
                </a:extLst>
              </p:cNvPr>
              <p:cNvSpPr/>
              <p:nvPr/>
            </p:nvSpPr>
            <p:spPr>
              <a:xfrm>
                <a:off x="4016949" y="1877401"/>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499" name="Freihandform: Form 498">
                <a:extLst>
                  <a:ext uri="{FF2B5EF4-FFF2-40B4-BE49-F238E27FC236}">
                    <a16:creationId xmlns:a16="http://schemas.microsoft.com/office/drawing/2014/main" id="{FEE738B4-DBC7-4EDF-BEB7-3D80FF734F87}"/>
                  </a:ext>
                </a:extLst>
              </p:cNvPr>
              <p:cNvSpPr/>
              <p:nvPr/>
            </p:nvSpPr>
            <p:spPr>
              <a:xfrm>
                <a:off x="4016949" y="1908225"/>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00" name="Freihandform: Form 499">
                <a:extLst>
                  <a:ext uri="{FF2B5EF4-FFF2-40B4-BE49-F238E27FC236}">
                    <a16:creationId xmlns:a16="http://schemas.microsoft.com/office/drawing/2014/main" id="{CF986EFD-C0D4-4F67-BAE9-EAF965FD82FE}"/>
                  </a:ext>
                </a:extLst>
              </p:cNvPr>
              <p:cNvSpPr/>
              <p:nvPr/>
            </p:nvSpPr>
            <p:spPr>
              <a:xfrm>
                <a:off x="3963005" y="2046925"/>
                <a:ext cx="100173" cy="15418"/>
              </a:xfrm>
              <a:custGeom>
                <a:avLst/>
                <a:gdLst>
                  <a:gd name="connsiteX0" fmla="*/ 0 w 100173"/>
                  <a:gd name="connsiteY0" fmla="*/ 0 h 15418"/>
                  <a:gd name="connsiteX1" fmla="*/ 100173 w 100173"/>
                  <a:gd name="connsiteY1" fmla="*/ 0 h 15418"/>
                  <a:gd name="connsiteX2" fmla="*/ 100173 w 100173"/>
                  <a:gd name="connsiteY2" fmla="*/ 15419 h 15418"/>
                  <a:gd name="connsiteX3" fmla="*/ 0 w 100173"/>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00173" h="15418">
                    <a:moveTo>
                      <a:pt x="0" y="0"/>
                    </a:moveTo>
                    <a:lnTo>
                      <a:pt x="100173" y="0"/>
                    </a:lnTo>
                    <a:lnTo>
                      <a:pt x="100173"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01" name="Freihandform: Form 500">
                <a:extLst>
                  <a:ext uri="{FF2B5EF4-FFF2-40B4-BE49-F238E27FC236}">
                    <a16:creationId xmlns:a16="http://schemas.microsoft.com/office/drawing/2014/main" id="{DBC16D7F-9CE1-4D32-BAD2-595FFD978ABF}"/>
                  </a:ext>
                </a:extLst>
              </p:cNvPr>
              <p:cNvSpPr/>
              <p:nvPr/>
            </p:nvSpPr>
            <p:spPr>
              <a:xfrm>
                <a:off x="3947600" y="2016101"/>
                <a:ext cx="154118" cy="15418"/>
              </a:xfrm>
              <a:custGeom>
                <a:avLst/>
                <a:gdLst>
                  <a:gd name="connsiteX0" fmla="*/ 0 w 154118"/>
                  <a:gd name="connsiteY0" fmla="*/ 0 h 15418"/>
                  <a:gd name="connsiteX1" fmla="*/ 154119 w 154118"/>
                  <a:gd name="connsiteY1" fmla="*/ 0 h 15418"/>
                  <a:gd name="connsiteX2" fmla="*/ 154119 w 154118"/>
                  <a:gd name="connsiteY2" fmla="*/ 15419 h 15418"/>
                  <a:gd name="connsiteX3" fmla="*/ 0 w 1541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18" h="15418">
                    <a:moveTo>
                      <a:pt x="0" y="0"/>
                    </a:moveTo>
                    <a:lnTo>
                      <a:pt x="154119" y="0"/>
                    </a:lnTo>
                    <a:lnTo>
                      <a:pt x="1541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02" name="Freihandform: Form 501">
                <a:extLst>
                  <a:ext uri="{FF2B5EF4-FFF2-40B4-BE49-F238E27FC236}">
                    <a16:creationId xmlns:a16="http://schemas.microsoft.com/office/drawing/2014/main" id="{3D2ABC09-D671-40D8-A08D-0B8B2309B837}"/>
                  </a:ext>
                </a:extLst>
              </p:cNvPr>
              <p:cNvSpPr/>
              <p:nvPr/>
            </p:nvSpPr>
            <p:spPr>
              <a:xfrm>
                <a:off x="4078597" y="1746391"/>
                <a:ext cx="130997" cy="362181"/>
              </a:xfrm>
              <a:custGeom>
                <a:avLst/>
                <a:gdLst>
                  <a:gd name="connsiteX0" fmla="*/ 15419 w 130997"/>
                  <a:gd name="connsiteY0" fmla="*/ 362181 h 362181"/>
                  <a:gd name="connsiteX1" fmla="*/ 0 w 130997"/>
                  <a:gd name="connsiteY1" fmla="*/ 362181 h 362181"/>
                  <a:gd name="connsiteX2" fmla="*/ 0 w 130997"/>
                  <a:gd name="connsiteY2" fmla="*/ 308237 h 362181"/>
                  <a:gd name="connsiteX3" fmla="*/ 7703 w 130997"/>
                  <a:gd name="connsiteY3" fmla="*/ 300534 h 362181"/>
                  <a:gd name="connsiteX4" fmla="*/ 15405 w 130997"/>
                  <a:gd name="connsiteY4" fmla="*/ 300534 h 362181"/>
                  <a:gd name="connsiteX5" fmla="*/ 15405 w 130997"/>
                  <a:gd name="connsiteY5" fmla="*/ 169537 h 362181"/>
                  <a:gd name="connsiteX6" fmla="*/ 115579 w 130997"/>
                  <a:gd name="connsiteY6" fmla="*/ 80731 h 362181"/>
                  <a:gd name="connsiteX7" fmla="*/ 115579 w 130997"/>
                  <a:gd name="connsiteY7" fmla="*/ 0 h 362181"/>
                  <a:gd name="connsiteX8" fmla="*/ 130997 w 130997"/>
                  <a:gd name="connsiteY8" fmla="*/ 0 h 362181"/>
                  <a:gd name="connsiteX9" fmla="*/ 130997 w 130997"/>
                  <a:gd name="connsiteY9" fmla="*/ 84768 h 362181"/>
                  <a:gd name="connsiteX10" fmla="*/ 127677 w 130997"/>
                  <a:gd name="connsiteY10" fmla="*/ 91107 h 362181"/>
                  <a:gd name="connsiteX11" fmla="*/ 30824 w 130997"/>
                  <a:gd name="connsiteY11" fmla="*/ 170061 h 362181"/>
                  <a:gd name="connsiteX12" fmla="*/ 30824 w 130997"/>
                  <a:gd name="connsiteY12" fmla="*/ 308237 h 362181"/>
                  <a:gd name="connsiteX13" fmla="*/ 23121 w 130997"/>
                  <a:gd name="connsiteY13" fmla="*/ 315939 h 362181"/>
                  <a:gd name="connsiteX14" fmla="*/ 15419 w 130997"/>
                  <a:gd name="connsiteY14" fmla="*/ 315939 h 362181"/>
                  <a:gd name="connsiteX15" fmla="*/ 15419 w 130997"/>
                  <a:gd name="connsiteY15" fmla="*/ 362181 h 36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997" h="362181">
                    <a:moveTo>
                      <a:pt x="15419" y="362181"/>
                    </a:moveTo>
                    <a:lnTo>
                      <a:pt x="0" y="362181"/>
                    </a:lnTo>
                    <a:lnTo>
                      <a:pt x="0" y="308237"/>
                    </a:lnTo>
                    <a:cubicBezTo>
                      <a:pt x="0" y="303979"/>
                      <a:pt x="3445" y="300534"/>
                      <a:pt x="7703" y="300534"/>
                    </a:cubicBezTo>
                    <a:lnTo>
                      <a:pt x="15405" y="300534"/>
                    </a:lnTo>
                    <a:lnTo>
                      <a:pt x="15405" y="169537"/>
                    </a:lnTo>
                    <a:cubicBezTo>
                      <a:pt x="15405" y="153829"/>
                      <a:pt x="69088" y="113084"/>
                      <a:pt x="115579" y="80731"/>
                    </a:cubicBezTo>
                    <a:lnTo>
                      <a:pt x="115579" y="0"/>
                    </a:lnTo>
                    <a:lnTo>
                      <a:pt x="130997" y="0"/>
                    </a:lnTo>
                    <a:lnTo>
                      <a:pt x="130997" y="84768"/>
                    </a:lnTo>
                    <a:cubicBezTo>
                      <a:pt x="130997" y="87290"/>
                      <a:pt x="129757" y="89660"/>
                      <a:pt x="127677" y="91107"/>
                    </a:cubicBezTo>
                    <a:cubicBezTo>
                      <a:pt x="83832" y="121462"/>
                      <a:pt x="34654" y="160057"/>
                      <a:pt x="30824" y="170061"/>
                    </a:cubicBezTo>
                    <a:lnTo>
                      <a:pt x="30824" y="308237"/>
                    </a:lnTo>
                    <a:cubicBezTo>
                      <a:pt x="30824" y="312494"/>
                      <a:pt x="27379" y="315939"/>
                      <a:pt x="23121" y="315939"/>
                    </a:cubicBezTo>
                    <a:lnTo>
                      <a:pt x="15419" y="315939"/>
                    </a:lnTo>
                    <a:lnTo>
                      <a:pt x="15419" y="362181"/>
                    </a:lnTo>
                    <a:close/>
                  </a:path>
                </a:pathLst>
              </a:custGeom>
              <a:solidFill>
                <a:schemeClr val="tx2"/>
              </a:solidFill>
              <a:ln w="1375" cap="flat">
                <a:noFill/>
                <a:prstDash val="solid"/>
                <a:miter/>
              </a:ln>
            </p:spPr>
            <p:txBody>
              <a:bodyPr rtlCol="0" anchor="ctr"/>
              <a:lstStyle/>
              <a:p>
                <a:endParaRPr lang="en-GB" dirty="0"/>
              </a:p>
            </p:txBody>
          </p:sp>
          <p:sp>
            <p:nvSpPr>
              <p:cNvPr id="503" name="Freihandform: Form 502">
                <a:extLst>
                  <a:ext uri="{FF2B5EF4-FFF2-40B4-BE49-F238E27FC236}">
                    <a16:creationId xmlns:a16="http://schemas.microsoft.com/office/drawing/2014/main" id="{7F9EDF77-F5B6-4967-890F-6DCE76C7B029}"/>
                  </a:ext>
                </a:extLst>
              </p:cNvPr>
              <p:cNvSpPr/>
              <p:nvPr/>
            </p:nvSpPr>
            <p:spPr>
              <a:xfrm>
                <a:off x="3839724" y="1746391"/>
                <a:ext cx="130997" cy="362181"/>
              </a:xfrm>
              <a:custGeom>
                <a:avLst/>
                <a:gdLst>
                  <a:gd name="connsiteX0" fmla="*/ 130997 w 130997"/>
                  <a:gd name="connsiteY0" fmla="*/ 362181 h 362181"/>
                  <a:gd name="connsiteX1" fmla="*/ 115578 w 130997"/>
                  <a:gd name="connsiteY1" fmla="*/ 362181 h 362181"/>
                  <a:gd name="connsiteX2" fmla="*/ 115578 w 130997"/>
                  <a:gd name="connsiteY2" fmla="*/ 315939 h 362181"/>
                  <a:gd name="connsiteX3" fmla="*/ 107876 w 130997"/>
                  <a:gd name="connsiteY3" fmla="*/ 315939 h 362181"/>
                  <a:gd name="connsiteX4" fmla="*/ 100173 w 130997"/>
                  <a:gd name="connsiteY4" fmla="*/ 308237 h 362181"/>
                  <a:gd name="connsiteX5" fmla="*/ 100173 w 130997"/>
                  <a:gd name="connsiteY5" fmla="*/ 170061 h 362181"/>
                  <a:gd name="connsiteX6" fmla="*/ 3321 w 130997"/>
                  <a:gd name="connsiteY6" fmla="*/ 91107 h 362181"/>
                  <a:gd name="connsiteX7" fmla="*/ 0 w 130997"/>
                  <a:gd name="connsiteY7" fmla="*/ 84768 h 362181"/>
                  <a:gd name="connsiteX8" fmla="*/ 0 w 130997"/>
                  <a:gd name="connsiteY8" fmla="*/ 0 h 362181"/>
                  <a:gd name="connsiteX9" fmla="*/ 15419 w 130997"/>
                  <a:gd name="connsiteY9" fmla="*/ 0 h 362181"/>
                  <a:gd name="connsiteX10" fmla="*/ 15419 w 130997"/>
                  <a:gd name="connsiteY10" fmla="*/ 80731 h 362181"/>
                  <a:gd name="connsiteX11" fmla="*/ 115592 w 130997"/>
                  <a:gd name="connsiteY11" fmla="*/ 169537 h 362181"/>
                  <a:gd name="connsiteX12" fmla="*/ 115592 w 130997"/>
                  <a:gd name="connsiteY12" fmla="*/ 300534 h 362181"/>
                  <a:gd name="connsiteX13" fmla="*/ 123295 w 130997"/>
                  <a:gd name="connsiteY13" fmla="*/ 300534 h 362181"/>
                  <a:gd name="connsiteX14" fmla="*/ 130997 w 130997"/>
                  <a:gd name="connsiteY14" fmla="*/ 308237 h 362181"/>
                  <a:gd name="connsiteX15" fmla="*/ 130997 w 130997"/>
                  <a:gd name="connsiteY15" fmla="*/ 362181 h 362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0997" h="362181">
                    <a:moveTo>
                      <a:pt x="130997" y="362181"/>
                    </a:moveTo>
                    <a:lnTo>
                      <a:pt x="115578" y="362181"/>
                    </a:lnTo>
                    <a:lnTo>
                      <a:pt x="115578" y="315939"/>
                    </a:lnTo>
                    <a:lnTo>
                      <a:pt x="107876" y="315939"/>
                    </a:lnTo>
                    <a:cubicBezTo>
                      <a:pt x="103618" y="315939"/>
                      <a:pt x="100173" y="312494"/>
                      <a:pt x="100173" y="308237"/>
                    </a:cubicBezTo>
                    <a:lnTo>
                      <a:pt x="100173" y="170061"/>
                    </a:lnTo>
                    <a:cubicBezTo>
                      <a:pt x="96343" y="160043"/>
                      <a:pt x="47166" y="121462"/>
                      <a:pt x="3321" y="91107"/>
                    </a:cubicBezTo>
                    <a:cubicBezTo>
                      <a:pt x="1240" y="89660"/>
                      <a:pt x="0" y="87304"/>
                      <a:pt x="0" y="84768"/>
                    </a:cubicBezTo>
                    <a:lnTo>
                      <a:pt x="0" y="0"/>
                    </a:lnTo>
                    <a:lnTo>
                      <a:pt x="15419" y="0"/>
                    </a:lnTo>
                    <a:lnTo>
                      <a:pt x="15419" y="80731"/>
                    </a:lnTo>
                    <a:cubicBezTo>
                      <a:pt x="61909" y="113084"/>
                      <a:pt x="115592" y="153829"/>
                      <a:pt x="115592" y="169537"/>
                    </a:cubicBezTo>
                    <a:lnTo>
                      <a:pt x="115592" y="300534"/>
                    </a:lnTo>
                    <a:lnTo>
                      <a:pt x="123295" y="300534"/>
                    </a:lnTo>
                    <a:cubicBezTo>
                      <a:pt x="127552" y="300534"/>
                      <a:pt x="130997" y="303979"/>
                      <a:pt x="130997" y="308237"/>
                    </a:cubicBezTo>
                    <a:lnTo>
                      <a:pt x="130997" y="362181"/>
                    </a:lnTo>
                    <a:close/>
                  </a:path>
                </a:pathLst>
              </a:custGeom>
              <a:solidFill>
                <a:schemeClr val="tx2"/>
              </a:solidFill>
              <a:ln w="1375" cap="flat">
                <a:noFill/>
                <a:prstDash val="solid"/>
                <a:miter/>
              </a:ln>
            </p:spPr>
            <p:txBody>
              <a:bodyPr rtlCol="0" anchor="ctr"/>
              <a:lstStyle/>
              <a:p>
                <a:endParaRPr lang="en-GB" dirty="0"/>
              </a:p>
            </p:txBody>
          </p:sp>
          <p:sp>
            <p:nvSpPr>
              <p:cNvPr id="504" name="Freihandform: Form 503">
                <a:extLst>
                  <a:ext uri="{FF2B5EF4-FFF2-40B4-BE49-F238E27FC236}">
                    <a16:creationId xmlns:a16="http://schemas.microsoft.com/office/drawing/2014/main" id="{61867CEF-3BA2-44ED-8BCE-36DCFBA6E70B}"/>
                  </a:ext>
                </a:extLst>
              </p:cNvPr>
              <p:cNvSpPr/>
              <p:nvPr/>
            </p:nvSpPr>
            <p:spPr>
              <a:xfrm>
                <a:off x="3878250" y="1769512"/>
                <a:ext cx="292845" cy="92470"/>
              </a:xfrm>
              <a:custGeom>
                <a:avLst/>
                <a:gdLst>
                  <a:gd name="connsiteX0" fmla="*/ 192644 w 292845"/>
                  <a:gd name="connsiteY0" fmla="*/ 92471 h 92470"/>
                  <a:gd name="connsiteX1" fmla="*/ 100173 w 292845"/>
                  <a:gd name="connsiteY1" fmla="*/ 92471 h 92470"/>
                  <a:gd name="connsiteX2" fmla="*/ 96729 w 292845"/>
                  <a:gd name="connsiteY2" fmla="*/ 91658 h 92470"/>
                  <a:gd name="connsiteX3" fmla="*/ 4258 w 292845"/>
                  <a:gd name="connsiteY3" fmla="*/ 45416 h 92470"/>
                  <a:gd name="connsiteX4" fmla="*/ 0 w 292845"/>
                  <a:gd name="connsiteY4" fmla="*/ 38526 h 92470"/>
                  <a:gd name="connsiteX5" fmla="*/ 0 w 292845"/>
                  <a:gd name="connsiteY5" fmla="*/ 0 h 92470"/>
                  <a:gd name="connsiteX6" fmla="*/ 15419 w 292845"/>
                  <a:gd name="connsiteY6" fmla="*/ 0 h 92470"/>
                  <a:gd name="connsiteX7" fmla="*/ 15419 w 292845"/>
                  <a:gd name="connsiteY7" fmla="*/ 33772 h 92470"/>
                  <a:gd name="connsiteX8" fmla="*/ 102006 w 292845"/>
                  <a:gd name="connsiteY8" fmla="*/ 77066 h 92470"/>
                  <a:gd name="connsiteX9" fmla="*/ 190839 w 292845"/>
                  <a:gd name="connsiteY9" fmla="*/ 77066 h 92470"/>
                  <a:gd name="connsiteX10" fmla="*/ 277427 w 292845"/>
                  <a:gd name="connsiteY10" fmla="*/ 33772 h 92470"/>
                  <a:gd name="connsiteX11" fmla="*/ 277427 w 292845"/>
                  <a:gd name="connsiteY11" fmla="*/ 0 h 92470"/>
                  <a:gd name="connsiteX12" fmla="*/ 292845 w 292845"/>
                  <a:gd name="connsiteY12" fmla="*/ 0 h 92470"/>
                  <a:gd name="connsiteX13" fmla="*/ 292845 w 292845"/>
                  <a:gd name="connsiteY13" fmla="*/ 38526 h 92470"/>
                  <a:gd name="connsiteX14" fmla="*/ 288588 w 292845"/>
                  <a:gd name="connsiteY14" fmla="*/ 45416 h 92470"/>
                  <a:gd name="connsiteX15" fmla="*/ 196117 w 292845"/>
                  <a:gd name="connsiteY15" fmla="*/ 91658 h 92470"/>
                  <a:gd name="connsiteX16" fmla="*/ 192644 w 292845"/>
                  <a:gd name="connsiteY16" fmla="*/ 92471 h 92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92845" h="92470">
                    <a:moveTo>
                      <a:pt x="192644" y="92471"/>
                    </a:moveTo>
                    <a:lnTo>
                      <a:pt x="100173" y="92471"/>
                    </a:lnTo>
                    <a:cubicBezTo>
                      <a:pt x="98975" y="92471"/>
                      <a:pt x="97790" y="92195"/>
                      <a:pt x="96729" y="91658"/>
                    </a:cubicBezTo>
                    <a:lnTo>
                      <a:pt x="4258" y="45416"/>
                    </a:lnTo>
                    <a:cubicBezTo>
                      <a:pt x="1653" y="44107"/>
                      <a:pt x="0" y="41447"/>
                      <a:pt x="0" y="38526"/>
                    </a:cubicBezTo>
                    <a:lnTo>
                      <a:pt x="0" y="0"/>
                    </a:lnTo>
                    <a:lnTo>
                      <a:pt x="15419" y="0"/>
                    </a:lnTo>
                    <a:lnTo>
                      <a:pt x="15419" y="33772"/>
                    </a:lnTo>
                    <a:lnTo>
                      <a:pt x="102006" y="77066"/>
                    </a:lnTo>
                    <a:lnTo>
                      <a:pt x="190839" y="77066"/>
                    </a:lnTo>
                    <a:lnTo>
                      <a:pt x="277427" y="33772"/>
                    </a:lnTo>
                    <a:lnTo>
                      <a:pt x="277427" y="0"/>
                    </a:lnTo>
                    <a:lnTo>
                      <a:pt x="292845" y="0"/>
                    </a:lnTo>
                    <a:lnTo>
                      <a:pt x="292845" y="38526"/>
                    </a:lnTo>
                    <a:cubicBezTo>
                      <a:pt x="292845" y="41447"/>
                      <a:pt x="291192" y="44120"/>
                      <a:pt x="288588" y="45416"/>
                    </a:cubicBezTo>
                    <a:lnTo>
                      <a:pt x="196117" y="91658"/>
                    </a:lnTo>
                    <a:cubicBezTo>
                      <a:pt x="195028" y="92195"/>
                      <a:pt x="193843" y="92471"/>
                      <a:pt x="192644" y="92471"/>
                    </a:cubicBezTo>
                    <a:close/>
                  </a:path>
                </a:pathLst>
              </a:custGeom>
              <a:solidFill>
                <a:schemeClr val="tx2"/>
              </a:solidFill>
              <a:ln w="1375" cap="flat">
                <a:noFill/>
                <a:prstDash val="solid"/>
                <a:miter/>
              </a:ln>
            </p:spPr>
            <p:txBody>
              <a:bodyPr rtlCol="0" anchor="ctr"/>
              <a:lstStyle/>
              <a:p>
                <a:endParaRPr lang="en-GB" dirty="0"/>
              </a:p>
            </p:txBody>
          </p:sp>
          <p:sp>
            <p:nvSpPr>
              <p:cNvPr id="505" name="Freihandform: Form 504">
                <a:extLst>
                  <a:ext uri="{FF2B5EF4-FFF2-40B4-BE49-F238E27FC236}">
                    <a16:creationId xmlns:a16="http://schemas.microsoft.com/office/drawing/2014/main" id="{801F7BB4-E244-4CEB-A939-78BFC1A163D1}"/>
                  </a:ext>
                </a:extLst>
              </p:cNvPr>
              <p:cNvSpPr/>
              <p:nvPr/>
            </p:nvSpPr>
            <p:spPr>
              <a:xfrm>
                <a:off x="3808900" y="1615394"/>
                <a:ext cx="431531" cy="138713"/>
              </a:xfrm>
              <a:custGeom>
                <a:avLst/>
                <a:gdLst>
                  <a:gd name="connsiteX0" fmla="*/ 423815 w 431531"/>
                  <a:gd name="connsiteY0" fmla="*/ 138713 h 138713"/>
                  <a:gd name="connsiteX1" fmla="*/ 269697 w 431531"/>
                  <a:gd name="connsiteY1" fmla="*/ 138713 h 138713"/>
                  <a:gd name="connsiteX2" fmla="*/ 269697 w 431531"/>
                  <a:gd name="connsiteY2" fmla="*/ 123295 h 138713"/>
                  <a:gd name="connsiteX3" fmla="*/ 416112 w 431531"/>
                  <a:gd name="connsiteY3" fmla="*/ 123295 h 138713"/>
                  <a:gd name="connsiteX4" fmla="*/ 416112 w 431531"/>
                  <a:gd name="connsiteY4" fmla="*/ 15405 h 138713"/>
                  <a:gd name="connsiteX5" fmla="*/ 15405 w 431531"/>
                  <a:gd name="connsiteY5" fmla="*/ 15405 h 138713"/>
                  <a:gd name="connsiteX6" fmla="*/ 15405 w 431531"/>
                  <a:gd name="connsiteY6" fmla="*/ 123295 h 138713"/>
                  <a:gd name="connsiteX7" fmla="*/ 161821 w 431531"/>
                  <a:gd name="connsiteY7" fmla="*/ 123295 h 138713"/>
                  <a:gd name="connsiteX8" fmla="*/ 161821 w 431531"/>
                  <a:gd name="connsiteY8" fmla="*/ 138713 h 138713"/>
                  <a:gd name="connsiteX9" fmla="*/ 7703 w 431531"/>
                  <a:gd name="connsiteY9" fmla="*/ 138713 h 138713"/>
                  <a:gd name="connsiteX10" fmla="*/ 0 w 431531"/>
                  <a:gd name="connsiteY10" fmla="*/ 131011 h 138713"/>
                  <a:gd name="connsiteX11" fmla="*/ 0 w 431531"/>
                  <a:gd name="connsiteY11" fmla="*/ 7702 h 138713"/>
                  <a:gd name="connsiteX12" fmla="*/ 7703 w 431531"/>
                  <a:gd name="connsiteY12" fmla="*/ 0 h 138713"/>
                  <a:gd name="connsiteX13" fmla="*/ 423829 w 431531"/>
                  <a:gd name="connsiteY13" fmla="*/ 0 h 138713"/>
                  <a:gd name="connsiteX14" fmla="*/ 431531 w 431531"/>
                  <a:gd name="connsiteY14" fmla="*/ 7702 h 138713"/>
                  <a:gd name="connsiteX15" fmla="*/ 431531 w 431531"/>
                  <a:gd name="connsiteY15" fmla="*/ 130997 h 138713"/>
                  <a:gd name="connsiteX16" fmla="*/ 423815 w 431531"/>
                  <a:gd name="connsiteY16" fmla="*/ 138713 h 138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31531" h="138713">
                    <a:moveTo>
                      <a:pt x="423815" y="138713"/>
                    </a:moveTo>
                    <a:lnTo>
                      <a:pt x="269697" y="138713"/>
                    </a:lnTo>
                    <a:lnTo>
                      <a:pt x="269697" y="123295"/>
                    </a:lnTo>
                    <a:lnTo>
                      <a:pt x="416112" y="123295"/>
                    </a:lnTo>
                    <a:lnTo>
                      <a:pt x="416112" y="15405"/>
                    </a:lnTo>
                    <a:lnTo>
                      <a:pt x="15405" y="15405"/>
                    </a:lnTo>
                    <a:lnTo>
                      <a:pt x="15405" y="123295"/>
                    </a:lnTo>
                    <a:lnTo>
                      <a:pt x="161821" y="123295"/>
                    </a:lnTo>
                    <a:lnTo>
                      <a:pt x="161821" y="138713"/>
                    </a:lnTo>
                    <a:lnTo>
                      <a:pt x="7703" y="138713"/>
                    </a:lnTo>
                    <a:cubicBezTo>
                      <a:pt x="3445" y="138713"/>
                      <a:pt x="0" y="135269"/>
                      <a:pt x="0" y="131011"/>
                    </a:cubicBezTo>
                    <a:lnTo>
                      <a:pt x="0" y="7702"/>
                    </a:lnTo>
                    <a:cubicBezTo>
                      <a:pt x="0" y="3445"/>
                      <a:pt x="3445" y="0"/>
                      <a:pt x="7703" y="0"/>
                    </a:cubicBezTo>
                    <a:lnTo>
                      <a:pt x="423829" y="0"/>
                    </a:lnTo>
                    <a:cubicBezTo>
                      <a:pt x="428087" y="0"/>
                      <a:pt x="431531" y="3445"/>
                      <a:pt x="431531" y="7702"/>
                    </a:cubicBezTo>
                    <a:lnTo>
                      <a:pt x="431531" y="130997"/>
                    </a:lnTo>
                    <a:cubicBezTo>
                      <a:pt x="431531" y="135255"/>
                      <a:pt x="428073" y="138713"/>
                      <a:pt x="423815" y="138713"/>
                    </a:cubicBezTo>
                    <a:close/>
                  </a:path>
                </a:pathLst>
              </a:custGeom>
              <a:solidFill>
                <a:schemeClr val="tx2"/>
              </a:solidFill>
              <a:ln w="1375" cap="flat">
                <a:noFill/>
                <a:prstDash val="solid"/>
                <a:miter/>
              </a:ln>
            </p:spPr>
            <p:txBody>
              <a:bodyPr rtlCol="0" anchor="ctr"/>
              <a:lstStyle/>
              <a:p>
                <a:endParaRPr lang="en-GB" dirty="0"/>
              </a:p>
            </p:txBody>
          </p:sp>
        </p:grpSp>
        <p:grpSp>
          <p:nvGrpSpPr>
            <p:cNvPr id="650" name="Gruppieren 649">
              <a:extLst>
                <a:ext uri="{FF2B5EF4-FFF2-40B4-BE49-F238E27FC236}">
                  <a16:creationId xmlns:a16="http://schemas.microsoft.com/office/drawing/2014/main" id="{60D70E2A-2A14-486B-82B3-2C3B6AE7A9C6}"/>
                </a:ext>
              </a:extLst>
            </p:cNvPr>
            <p:cNvGrpSpPr/>
            <p:nvPr/>
          </p:nvGrpSpPr>
          <p:grpSpPr>
            <a:xfrm>
              <a:off x="3862831" y="1646216"/>
              <a:ext cx="323655" cy="77066"/>
              <a:chOff x="3862831" y="1646217"/>
              <a:chExt cx="323655" cy="77066"/>
            </a:xfrm>
          </p:grpSpPr>
          <p:sp>
            <p:nvSpPr>
              <p:cNvPr id="506" name="Freihandform: Form 505">
                <a:extLst>
                  <a:ext uri="{FF2B5EF4-FFF2-40B4-BE49-F238E27FC236}">
                    <a16:creationId xmlns:a16="http://schemas.microsoft.com/office/drawing/2014/main" id="{B7DC8981-1D0B-421E-8FFB-20E32CBD45E0}"/>
                  </a:ext>
                </a:extLst>
              </p:cNvPr>
              <p:cNvSpPr/>
              <p:nvPr/>
            </p:nvSpPr>
            <p:spPr>
              <a:xfrm>
                <a:off x="4032368" y="1646231"/>
                <a:ext cx="77052" cy="77052"/>
              </a:xfrm>
              <a:custGeom>
                <a:avLst/>
                <a:gdLst>
                  <a:gd name="connsiteX0" fmla="*/ 38526 w 77052"/>
                  <a:gd name="connsiteY0" fmla="*/ 77052 h 77052"/>
                  <a:gd name="connsiteX1" fmla="*/ 0 w 77052"/>
                  <a:gd name="connsiteY1" fmla="*/ 38526 h 77052"/>
                  <a:gd name="connsiteX2" fmla="*/ 38526 w 77052"/>
                  <a:gd name="connsiteY2" fmla="*/ 0 h 77052"/>
                  <a:gd name="connsiteX3" fmla="*/ 77052 w 77052"/>
                  <a:gd name="connsiteY3" fmla="*/ 38526 h 77052"/>
                  <a:gd name="connsiteX4" fmla="*/ 38526 w 77052"/>
                  <a:gd name="connsiteY4" fmla="*/ 77052 h 77052"/>
                  <a:gd name="connsiteX5" fmla="*/ 38526 w 77052"/>
                  <a:gd name="connsiteY5" fmla="*/ 15405 h 77052"/>
                  <a:gd name="connsiteX6" fmla="*/ 15405 w 77052"/>
                  <a:gd name="connsiteY6" fmla="*/ 38526 h 77052"/>
                  <a:gd name="connsiteX7" fmla="*/ 38526 w 77052"/>
                  <a:gd name="connsiteY7" fmla="*/ 61647 h 77052"/>
                  <a:gd name="connsiteX8" fmla="*/ 61647 w 77052"/>
                  <a:gd name="connsiteY8" fmla="*/ 38526 h 77052"/>
                  <a:gd name="connsiteX9" fmla="*/ 38526 w 77052"/>
                  <a:gd name="connsiteY9" fmla="*/ 15405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052" h="77052">
                    <a:moveTo>
                      <a:pt x="38526" y="77052"/>
                    </a:moveTo>
                    <a:cubicBezTo>
                      <a:pt x="17279" y="77052"/>
                      <a:pt x="0" y="59760"/>
                      <a:pt x="0" y="38526"/>
                    </a:cubicBezTo>
                    <a:cubicBezTo>
                      <a:pt x="0" y="17293"/>
                      <a:pt x="17292" y="0"/>
                      <a:pt x="38526" y="0"/>
                    </a:cubicBezTo>
                    <a:cubicBezTo>
                      <a:pt x="59773" y="0"/>
                      <a:pt x="77052" y="17293"/>
                      <a:pt x="77052" y="38526"/>
                    </a:cubicBezTo>
                    <a:cubicBezTo>
                      <a:pt x="77052" y="59760"/>
                      <a:pt x="59773" y="77052"/>
                      <a:pt x="38526" y="77052"/>
                    </a:cubicBezTo>
                    <a:close/>
                    <a:moveTo>
                      <a:pt x="38526" y="15405"/>
                    </a:moveTo>
                    <a:cubicBezTo>
                      <a:pt x="25780" y="15405"/>
                      <a:pt x="15405" y="25781"/>
                      <a:pt x="15405" y="38526"/>
                    </a:cubicBezTo>
                    <a:cubicBezTo>
                      <a:pt x="15405" y="51272"/>
                      <a:pt x="25780" y="61647"/>
                      <a:pt x="38526" y="61647"/>
                    </a:cubicBezTo>
                    <a:cubicBezTo>
                      <a:pt x="51272" y="61647"/>
                      <a:pt x="61647" y="51272"/>
                      <a:pt x="61647" y="38526"/>
                    </a:cubicBezTo>
                    <a:cubicBezTo>
                      <a:pt x="61647" y="25781"/>
                      <a:pt x="51272" y="15405"/>
                      <a:pt x="38526" y="15405"/>
                    </a:cubicBezTo>
                    <a:close/>
                  </a:path>
                </a:pathLst>
              </a:custGeom>
              <a:solidFill>
                <a:schemeClr val="accent1"/>
              </a:solidFill>
              <a:ln w="1375" cap="flat">
                <a:noFill/>
                <a:prstDash val="solid"/>
                <a:miter/>
              </a:ln>
            </p:spPr>
            <p:txBody>
              <a:bodyPr rtlCol="0" anchor="ctr"/>
              <a:lstStyle/>
              <a:p>
                <a:endParaRPr lang="en-GB" dirty="0"/>
              </a:p>
            </p:txBody>
          </p:sp>
          <p:sp>
            <p:nvSpPr>
              <p:cNvPr id="507" name="Freihandform: Form 506">
                <a:extLst>
                  <a:ext uri="{FF2B5EF4-FFF2-40B4-BE49-F238E27FC236}">
                    <a16:creationId xmlns:a16="http://schemas.microsoft.com/office/drawing/2014/main" id="{AB00EA27-2B97-41D2-8379-76E584A90608}"/>
                  </a:ext>
                </a:extLst>
              </p:cNvPr>
              <p:cNvSpPr/>
              <p:nvPr/>
            </p:nvSpPr>
            <p:spPr>
              <a:xfrm>
                <a:off x="3939897" y="1646231"/>
                <a:ext cx="77052" cy="77052"/>
              </a:xfrm>
              <a:custGeom>
                <a:avLst/>
                <a:gdLst>
                  <a:gd name="connsiteX0" fmla="*/ 38526 w 77052"/>
                  <a:gd name="connsiteY0" fmla="*/ 77052 h 77052"/>
                  <a:gd name="connsiteX1" fmla="*/ 0 w 77052"/>
                  <a:gd name="connsiteY1" fmla="*/ 38526 h 77052"/>
                  <a:gd name="connsiteX2" fmla="*/ 38526 w 77052"/>
                  <a:gd name="connsiteY2" fmla="*/ 0 h 77052"/>
                  <a:gd name="connsiteX3" fmla="*/ 53945 w 77052"/>
                  <a:gd name="connsiteY3" fmla="*/ 0 h 77052"/>
                  <a:gd name="connsiteX4" fmla="*/ 53945 w 77052"/>
                  <a:gd name="connsiteY4" fmla="*/ 15419 h 77052"/>
                  <a:gd name="connsiteX5" fmla="*/ 38526 w 77052"/>
                  <a:gd name="connsiteY5" fmla="*/ 15419 h 77052"/>
                  <a:gd name="connsiteX6" fmla="*/ 15405 w 77052"/>
                  <a:gd name="connsiteY6" fmla="*/ 38540 h 77052"/>
                  <a:gd name="connsiteX7" fmla="*/ 38526 w 77052"/>
                  <a:gd name="connsiteY7" fmla="*/ 61661 h 77052"/>
                  <a:gd name="connsiteX8" fmla="*/ 60035 w 77052"/>
                  <a:gd name="connsiteY8" fmla="*/ 46242 h 77052"/>
                  <a:gd name="connsiteX9" fmla="*/ 38526 w 77052"/>
                  <a:gd name="connsiteY9" fmla="*/ 46242 h 77052"/>
                  <a:gd name="connsiteX10" fmla="*/ 38526 w 77052"/>
                  <a:gd name="connsiteY10" fmla="*/ 30810 h 77052"/>
                  <a:gd name="connsiteX11" fmla="*/ 69350 w 77052"/>
                  <a:gd name="connsiteY11" fmla="*/ 30810 h 77052"/>
                  <a:gd name="connsiteX12" fmla="*/ 77052 w 77052"/>
                  <a:gd name="connsiteY12" fmla="*/ 38512 h 77052"/>
                  <a:gd name="connsiteX13" fmla="*/ 38526 w 77052"/>
                  <a:gd name="connsiteY13" fmla="*/ 77052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7052" h="77052">
                    <a:moveTo>
                      <a:pt x="38526" y="77052"/>
                    </a:moveTo>
                    <a:cubicBezTo>
                      <a:pt x="17279" y="77052"/>
                      <a:pt x="0" y="59760"/>
                      <a:pt x="0" y="38526"/>
                    </a:cubicBezTo>
                    <a:cubicBezTo>
                      <a:pt x="0" y="17293"/>
                      <a:pt x="17293" y="0"/>
                      <a:pt x="38526" y="0"/>
                    </a:cubicBezTo>
                    <a:lnTo>
                      <a:pt x="53945" y="0"/>
                    </a:lnTo>
                    <a:lnTo>
                      <a:pt x="53945" y="15419"/>
                    </a:lnTo>
                    <a:lnTo>
                      <a:pt x="38526" y="15419"/>
                    </a:lnTo>
                    <a:cubicBezTo>
                      <a:pt x="25780" y="15419"/>
                      <a:pt x="15405" y="25794"/>
                      <a:pt x="15405" y="38540"/>
                    </a:cubicBezTo>
                    <a:cubicBezTo>
                      <a:pt x="15405" y="51285"/>
                      <a:pt x="25780" y="61661"/>
                      <a:pt x="38526" y="61661"/>
                    </a:cubicBezTo>
                    <a:cubicBezTo>
                      <a:pt x="48461" y="61661"/>
                      <a:pt x="56687" y="54427"/>
                      <a:pt x="60035" y="46242"/>
                    </a:cubicBezTo>
                    <a:lnTo>
                      <a:pt x="38526" y="46242"/>
                    </a:lnTo>
                    <a:lnTo>
                      <a:pt x="38526" y="30810"/>
                    </a:lnTo>
                    <a:lnTo>
                      <a:pt x="69350" y="30810"/>
                    </a:lnTo>
                    <a:cubicBezTo>
                      <a:pt x="73607" y="30810"/>
                      <a:pt x="77052" y="34255"/>
                      <a:pt x="77052" y="38512"/>
                    </a:cubicBezTo>
                    <a:cubicBezTo>
                      <a:pt x="77052" y="59043"/>
                      <a:pt x="59043" y="77052"/>
                      <a:pt x="38526" y="77052"/>
                    </a:cubicBezTo>
                    <a:close/>
                  </a:path>
                </a:pathLst>
              </a:custGeom>
              <a:solidFill>
                <a:schemeClr val="accent1"/>
              </a:solidFill>
              <a:ln w="1375" cap="flat">
                <a:noFill/>
                <a:prstDash val="solid"/>
                <a:miter/>
              </a:ln>
            </p:spPr>
            <p:txBody>
              <a:bodyPr rtlCol="0" anchor="ctr"/>
              <a:lstStyle/>
              <a:p>
                <a:endParaRPr lang="en-GB" dirty="0"/>
              </a:p>
            </p:txBody>
          </p:sp>
          <p:sp>
            <p:nvSpPr>
              <p:cNvPr id="508" name="Freihandform: Form 507">
                <a:extLst>
                  <a:ext uri="{FF2B5EF4-FFF2-40B4-BE49-F238E27FC236}">
                    <a16:creationId xmlns:a16="http://schemas.microsoft.com/office/drawing/2014/main" id="{BB50DC96-45F3-4E21-A6EE-7A610E126DA0}"/>
                  </a:ext>
                </a:extLst>
              </p:cNvPr>
              <p:cNvSpPr/>
              <p:nvPr/>
            </p:nvSpPr>
            <p:spPr>
              <a:xfrm>
                <a:off x="4140244" y="1646217"/>
                <a:ext cx="15418" cy="46242"/>
              </a:xfrm>
              <a:custGeom>
                <a:avLst/>
                <a:gdLst>
                  <a:gd name="connsiteX0" fmla="*/ 0 w 15418"/>
                  <a:gd name="connsiteY0" fmla="*/ 0 h 46242"/>
                  <a:gd name="connsiteX1" fmla="*/ 15419 w 15418"/>
                  <a:gd name="connsiteY1" fmla="*/ 0 h 46242"/>
                  <a:gd name="connsiteX2" fmla="*/ 15419 w 15418"/>
                  <a:gd name="connsiteY2" fmla="*/ 46242 h 46242"/>
                  <a:gd name="connsiteX3" fmla="*/ 0 w 15418"/>
                  <a:gd name="connsiteY3" fmla="*/ 46242 h 46242"/>
                </a:gdLst>
                <a:ahLst/>
                <a:cxnLst>
                  <a:cxn ang="0">
                    <a:pos x="connsiteX0" y="connsiteY0"/>
                  </a:cxn>
                  <a:cxn ang="0">
                    <a:pos x="connsiteX1" y="connsiteY1"/>
                  </a:cxn>
                  <a:cxn ang="0">
                    <a:pos x="connsiteX2" y="connsiteY2"/>
                  </a:cxn>
                  <a:cxn ang="0">
                    <a:pos x="connsiteX3" y="connsiteY3"/>
                  </a:cxn>
                </a:cxnLst>
                <a:rect l="l" t="t" r="r" b="b"/>
                <a:pathLst>
                  <a:path w="15418" h="46242">
                    <a:moveTo>
                      <a:pt x="0" y="0"/>
                    </a:moveTo>
                    <a:lnTo>
                      <a:pt x="15419" y="0"/>
                    </a:lnTo>
                    <a:lnTo>
                      <a:pt x="15419" y="46242"/>
                    </a:lnTo>
                    <a:lnTo>
                      <a:pt x="0" y="46242"/>
                    </a:lnTo>
                    <a:close/>
                  </a:path>
                </a:pathLst>
              </a:custGeom>
              <a:solidFill>
                <a:schemeClr val="accent1"/>
              </a:solidFill>
              <a:ln w="1375" cap="flat">
                <a:noFill/>
                <a:prstDash val="solid"/>
                <a:miter/>
              </a:ln>
            </p:spPr>
            <p:txBody>
              <a:bodyPr rtlCol="0" anchor="ctr"/>
              <a:lstStyle/>
              <a:p>
                <a:endParaRPr lang="en-GB" dirty="0"/>
              </a:p>
            </p:txBody>
          </p:sp>
          <p:sp>
            <p:nvSpPr>
              <p:cNvPr id="509" name="Freihandform: Form 508">
                <a:extLst>
                  <a:ext uri="{FF2B5EF4-FFF2-40B4-BE49-F238E27FC236}">
                    <a16:creationId xmlns:a16="http://schemas.microsoft.com/office/drawing/2014/main" id="{A26E9872-55BA-4E60-9EFF-4FA598CD9270}"/>
                  </a:ext>
                </a:extLst>
              </p:cNvPr>
              <p:cNvSpPr/>
              <p:nvPr/>
            </p:nvSpPr>
            <p:spPr>
              <a:xfrm>
                <a:off x="4140244" y="1707864"/>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10" name="Freihandform: Form 509">
                <a:extLst>
                  <a:ext uri="{FF2B5EF4-FFF2-40B4-BE49-F238E27FC236}">
                    <a16:creationId xmlns:a16="http://schemas.microsoft.com/office/drawing/2014/main" id="{57869F55-A460-4942-8AD7-63136EC9B30F}"/>
                  </a:ext>
                </a:extLst>
              </p:cNvPr>
              <p:cNvSpPr/>
              <p:nvPr/>
            </p:nvSpPr>
            <p:spPr>
              <a:xfrm>
                <a:off x="4171068" y="1646217"/>
                <a:ext cx="15418" cy="46242"/>
              </a:xfrm>
              <a:custGeom>
                <a:avLst/>
                <a:gdLst>
                  <a:gd name="connsiteX0" fmla="*/ 0 w 15418"/>
                  <a:gd name="connsiteY0" fmla="*/ 0 h 46242"/>
                  <a:gd name="connsiteX1" fmla="*/ 15419 w 15418"/>
                  <a:gd name="connsiteY1" fmla="*/ 0 h 46242"/>
                  <a:gd name="connsiteX2" fmla="*/ 15419 w 15418"/>
                  <a:gd name="connsiteY2" fmla="*/ 46242 h 46242"/>
                  <a:gd name="connsiteX3" fmla="*/ 0 w 15418"/>
                  <a:gd name="connsiteY3" fmla="*/ 46242 h 46242"/>
                </a:gdLst>
                <a:ahLst/>
                <a:cxnLst>
                  <a:cxn ang="0">
                    <a:pos x="connsiteX0" y="connsiteY0"/>
                  </a:cxn>
                  <a:cxn ang="0">
                    <a:pos x="connsiteX1" y="connsiteY1"/>
                  </a:cxn>
                  <a:cxn ang="0">
                    <a:pos x="connsiteX2" y="connsiteY2"/>
                  </a:cxn>
                  <a:cxn ang="0">
                    <a:pos x="connsiteX3" y="connsiteY3"/>
                  </a:cxn>
                </a:cxnLst>
                <a:rect l="l" t="t" r="r" b="b"/>
                <a:pathLst>
                  <a:path w="15418" h="46242">
                    <a:moveTo>
                      <a:pt x="0" y="0"/>
                    </a:moveTo>
                    <a:lnTo>
                      <a:pt x="15419" y="0"/>
                    </a:lnTo>
                    <a:lnTo>
                      <a:pt x="15419" y="46242"/>
                    </a:lnTo>
                    <a:lnTo>
                      <a:pt x="0" y="46242"/>
                    </a:lnTo>
                    <a:close/>
                  </a:path>
                </a:pathLst>
              </a:custGeom>
              <a:solidFill>
                <a:schemeClr val="accent1"/>
              </a:solidFill>
              <a:ln w="1375" cap="flat">
                <a:noFill/>
                <a:prstDash val="solid"/>
                <a:miter/>
              </a:ln>
            </p:spPr>
            <p:txBody>
              <a:bodyPr rtlCol="0" anchor="ctr"/>
              <a:lstStyle/>
              <a:p>
                <a:endParaRPr lang="en-GB" dirty="0"/>
              </a:p>
            </p:txBody>
          </p:sp>
          <p:sp>
            <p:nvSpPr>
              <p:cNvPr id="511" name="Freihandform: Form 510">
                <a:extLst>
                  <a:ext uri="{FF2B5EF4-FFF2-40B4-BE49-F238E27FC236}">
                    <a16:creationId xmlns:a16="http://schemas.microsoft.com/office/drawing/2014/main" id="{B361085D-9FB6-4A30-8F64-05361BBF41E7}"/>
                  </a:ext>
                </a:extLst>
              </p:cNvPr>
              <p:cNvSpPr/>
              <p:nvPr/>
            </p:nvSpPr>
            <p:spPr>
              <a:xfrm>
                <a:off x="4171068" y="1707864"/>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12" name="Freihandform: Form 511">
                <a:extLst>
                  <a:ext uri="{FF2B5EF4-FFF2-40B4-BE49-F238E27FC236}">
                    <a16:creationId xmlns:a16="http://schemas.microsoft.com/office/drawing/2014/main" id="{7D47AE2B-9146-4EC9-84DA-F46C53ABC543}"/>
                  </a:ext>
                </a:extLst>
              </p:cNvPr>
              <p:cNvSpPr/>
              <p:nvPr/>
            </p:nvSpPr>
            <p:spPr>
              <a:xfrm>
                <a:off x="3862831" y="1646217"/>
                <a:ext cx="15418" cy="46242"/>
              </a:xfrm>
              <a:custGeom>
                <a:avLst/>
                <a:gdLst>
                  <a:gd name="connsiteX0" fmla="*/ 0 w 15418"/>
                  <a:gd name="connsiteY0" fmla="*/ 0 h 46242"/>
                  <a:gd name="connsiteX1" fmla="*/ 15419 w 15418"/>
                  <a:gd name="connsiteY1" fmla="*/ 0 h 46242"/>
                  <a:gd name="connsiteX2" fmla="*/ 15419 w 15418"/>
                  <a:gd name="connsiteY2" fmla="*/ 46242 h 46242"/>
                  <a:gd name="connsiteX3" fmla="*/ 0 w 15418"/>
                  <a:gd name="connsiteY3" fmla="*/ 46242 h 46242"/>
                </a:gdLst>
                <a:ahLst/>
                <a:cxnLst>
                  <a:cxn ang="0">
                    <a:pos x="connsiteX0" y="connsiteY0"/>
                  </a:cxn>
                  <a:cxn ang="0">
                    <a:pos x="connsiteX1" y="connsiteY1"/>
                  </a:cxn>
                  <a:cxn ang="0">
                    <a:pos x="connsiteX2" y="connsiteY2"/>
                  </a:cxn>
                  <a:cxn ang="0">
                    <a:pos x="connsiteX3" y="connsiteY3"/>
                  </a:cxn>
                </a:cxnLst>
                <a:rect l="l" t="t" r="r" b="b"/>
                <a:pathLst>
                  <a:path w="15418" h="46242">
                    <a:moveTo>
                      <a:pt x="0" y="0"/>
                    </a:moveTo>
                    <a:lnTo>
                      <a:pt x="15419" y="0"/>
                    </a:lnTo>
                    <a:lnTo>
                      <a:pt x="15419" y="46242"/>
                    </a:lnTo>
                    <a:lnTo>
                      <a:pt x="0" y="46242"/>
                    </a:lnTo>
                    <a:close/>
                  </a:path>
                </a:pathLst>
              </a:custGeom>
              <a:solidFill>
                <a:schemeClr val="accent1"/>
              </a:solidFill>
              <a:ln w="1375" cap="flat">
                <a:noFill/>
                <a:prstDash val="solid"/>
                <a:miter/>
              </a:ln>
            </p:spPr>
            <p:txBody>
              <a:bodyPr rtlCol="0" anchor="ctr"/>
              <a:lstStyle/>
              <a:p>
                <a:endParaRPr lang="en-GB" dirty="0"/>
              </a:p>
            </p:txBody>
          </p:sp>
          <p:sp>
            <p:nvSpPr>
              <p:cNvPr id="513" name="Freihandform: Form 512">
                <a:extLst>
                  <a:ext uri="{FF2B5EF4-FFF2-40B4-BE49-F238E27FC236}">
                    <a16:creationId xmlns:a16="http://schemas.microsoft.com/office/drawing/2014/main" id="{9D0F9A5D-81A7-4D82-9090-FEE7CC5E753F}"/>
                  </a:ext>
                </a:extLst>
              </p:cNvPr>
              <p:cNvSpPr/>
              <p:nvPr/>
            </p:nvSpPr>
            <p:spPr>
              <a:xfrm>
                <a:off x="3862831" y="1707864"/>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14" name="Freihandform: Form 513">
                <a:extLst>
                  <a:ext uri="{FF2B5EF4-FFF2-40B4-BE49-F238E27FC236}">
                    <a16:creationId xmlns:a16="http://schemas.microsoft.com/office/drawing/2014/main" id="{F654A906-C0AC-4058-947C-3F983A96CB1A}"/>
                  </a:ext>
                </a:extLst>
              </p:cNvPr>
              <p:cNvSpPr/>
              <p:nvPr/>
            </p:nvSpPr>
            <p:spPr>
              <a:xfrm>
                <a:off x="3893655" y="1646217"/>
                <a:ext cx="15418" cy="46242"/>
              </a:xfrm>
              <a:custGeom>
                <a:avLst/>
                <a:gdLst>
                  <a:gd name="connsiteX0" fmla="*/ 0 w 15418"/>
                  <a:gd name="connsiteY0" fmla="*/ 0 h 46242"/>
                  <a:gd name="connsiteX1" fmla="*/ 15419 w 15418"/>
                  <a:gd name="connsiteY1" fmla="*/ 0 h 46242"/>
                  <a:gd name="connsiteX2" fmla="*/ 15419 w 15418"/>
                  <a:gd name="connsiteY2" fmla="*/ 46242 h 46242"/>
                  <a:gd name="connsiteX3" fmla="*/ 0 w 15418"/>
                  <a:gd name="connsiteY3" fmla="*/ 46242 h 46242"/>
                </a:gdLst>
                <a:ahLst/>
                <a:cxnLst>
                  <a:cxn ang="0">
                    <a:pos x="connsiteX0" y="connsiteY0"/>
                  </a:cxn>
                  <a:cxn ang="0">
                    <a:pos x="connsiteX1" y="connsiteY1"/>
                  </a:cxn>
                  <a:cxn ang="0">
                    <a:pos x="connsiteX2" y="connsiteY2"/>
                  </a:cxn>
                  <a:cxn ang="0">
                    <a:pos x="connsiteX3" y="connsiteY3"/>
                  </a:cxn>
                </a:cxnLst>
                <a:rect l="l" t="t" r="r" b="b"/>
                <a:pathLst>
                  <a:path w="15418" h="46242">
                    <a:moveTo>
                      <a:pt x="0" y="0"/>
                    </a:moveTo>
                    <a:lnTo>
                      <a:pt x="15419" y="0"/>
                    </a:lnTo>
                    <a:lnTo>
                      <a:pt x="15419" y="46242"/>
                    </a:lnTo>
                    <a:lnTo>
                      <a:pt x="0" y="46242"/>
                    </a:lnTo>
                    <a:close/>
                  </a:path>
                </a:pathLst>
              </a:custGeom>
              <a:solidFill>
                <a:schemeClr val="accent1"/>
              </a:solidFill>
              <a:ln w="1375" cap="flat">
                <a:noFill/>
                <a:prstDash val="solid"/>
                <a:miter/>
              </a:ln>
            </p:spPr>
            <p:txBody>
              <a:bodyPr rtlCol="0" anchor="ctr"/>
              <a:lstStyle/>
              <a:p>
                <a:endParaRPr lang="en-GB" dirty="0"/>
              </a:p>
            </p:txBody>
          </p:sp>
          <p:sp>
            <p:nvSpPr>
              <p:cNvPr id="515" name="Freihandform: Form 514">
                <a:extLst>
                  <a:ext uri="{FF2B5EF4-FFF2-40B4-BE49-F238E27FC236}">
                    <a16:creationId xmlns:a16="http://schemas.microsoft.com/office/drawing/2014/main" id="{3C65A32D-7853-451D-9378-55DE491D642C}"/>
                  </a:ext>
                </a:extLst>
              </p:cNvPr>
              <p:cNvSpPr/>
              <p:nvPr/>
            </p:nvSpPr>
            <p:spPr>
              <a:xfrm>
                <a:off x="3893655" y="1707864"/>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grpSp>
      </p:grpSp>
      <p:grpSp>
        <p:nvGrpSpPr>
          <p:cNvPr id="7" name="Group 6">
            <a:extLst>
              <a:ext uri="{FF2B5EF4-FFF2-40B4-BE49-F238E27FC236}">
                <a16:creationId xmlns:a16="http://schemas.microsoft.com/office/drawing/2014/main" id="{E27774D8-1399-E6FE-E1A3-9D3015EF96C8}"/>
              </a:ext>
            </a:extLst>
          </p:cNvPr>
          <p:cNvGrpSpPr/>
          <p:nvPr/>
        </p:nvGrpSpPr>
        <p:grpSpPr>
          <a:xfrm>
            <a:off x="3758392" y="4097457"/>
            <a:ext cx="531708" cy="432000"/>
            <a:chOff x="3758392" y="4097457"/>
            <a:chExt cx="531708" cy="432000"/>
          </a:xfrm>
        </p:grpSpPr>
        <p:grpSp>
          <p:nvGrpSpPr>
            <p:cNvPr id="517" name="Grafik 7">
              <a:extLst>
                <a:ext uri="{FF2B5EF4-FFF2-40B4-BE49-F238E27FC236}">
                  <a16:creationId xmlns:a16="http://schemas.microsoft.com/office/drawing/2014/main" id="{7940CA59-2FD8-4F65-825F-6370771CA869}"/>
                </a:ext>
              </a:extLst>
            </p:cNvPr>
            <p:cNvGrpSpPr/>
            <p:nvPr/>
          </p:nvGrpSpPr>
          <p:grpSpPr>
            <a:xfrm>
              <a:off x="3758392" y="4097457"/>
              <a:ext cx="531708" cy="432000"/>
              <a:chOff x="3778063" y="4158380"/>
              <a:chExt cx="493192" cy="400707"/>
            </a:xfrm>
            <a:solidFill>
              <a:schemeClr val="tx2"/>
            </a:solidFill>
          </p:grpSpPr>
          <p:sp>
            <p:nvSpPr>
              <p:cNvPr id="518" name="Freihandform: Form 517">
                <a:extLst>
                  <a:ext uri="{FF2B5EF4-FFF2-40B4-BE49-F238E27FC236}">
                    <a16:creationId xmlns:a16="http://schemas.microsoft.com/office/drawing/2014/main" id="{E2A86927-3ACD-46DE-897D-F303BEA4373B}"/>
                  </a:ext>
                </a:extLst>
              </p:cNvPr>
              <p:cNvSpPr/>
              <p:nvPr/>
            </p:nvSpPr>
            <p:spPr>
              <a:xfrm>
                <a:off x="3778077" y="4158380"/>
                <a:ext cx="493178" cy="339060"/>
              </a:xfrm>
              <a:custGeom>
                <a:avLst/>
                <a:gdLst>
                  <a:gd name="connsiteX0" fmla="*/ 493178 w 493178"/>
                  <a:gd name="connsiteY0" fmla="*/ 339060 h 339060"/>
                  <a:gd name="connsiteX1" fmla="*/ 0 w 493178"/>
                  <a:gd name="connsiteY1" fmla="*/ 339060 h 339060"/>
                  <a:gd name="connsiteX2" fmla="*/ 0 w 493178"/>
                  <a:gd name="connsiteY2" fmla="*/ 0 h 339060"/>
                  <a:gd name="connsiteX3" fmla="*/ 493178 w 493178"/>
                  <a:gd name="connsiteY3" fmla="*/ 0 h 339060"/>
                  <a:gd name="connsiteX4" fmla="*/ 493178 w 493178"/>
                  <a:gd name="connsiteY4" fmla="*/ 339060 h 339060"/>
                  <a:gd name="connsiteX5" fmla="*/ 15405 w 493178"/>
                  <a:gd name="connsiteY5" fmla="*/ 323641 h 339060"/>
                  <a:gd name="connsiteX6" fmla="*/ 477760 w 493178"/>
                  <a:gd name="connsiteY6" fmla="*/ 323641 h 339060"/>
                  <a:gd name="connsiteX7" fmla="*/ 477760 w 493178"/>
                  <a:gd name="connsiteY7" fmla="*/ 15405 h 339060"/>
                  <a:gd name="connsiteX8" fmla="*/ 15405 w 493178"/>
                  <a:gd name="connsiteY8" fmla="*/ 15405 h 339060"/>
                  <a:gd name="connsiteX9" fmla="*/ 15405 w 493178"/>
                  <a:gd name="connsiteY9" fmla="*/ 323641 h 339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3178" h="339060">
                    <a:moveTo>
                      <a:pt x="493178" y="339060"/>
                    </a:moveTo>
                    <a:lnTo>
                      <a:pt x="0" y="339060"/>
                    </a:lnTo>
                    <a:lnTo>
                      <a:pt x="0" y="0"/>
                    </a:lnTo>
                    <a:lnTo>
                      <a:pt x="493178" y="0"/>
                    </a:lnTo>
                    <a:lnTo>
                      <a:pt x="493178" y="339060"/>
                    </a:lnTo>
                    <a:close/>
                    <a:moveTo>
                      <a:pt x="15405" y="323641"/>
                    </a:moveTo>
                    <a:lnTo>
                      <a:pt x="477760" y="323641"/>
                    </a:lnTo>
                    <a:lnTo>
                      <a:pt x="477760" y="15405"/>
                    </a:lnTo>
                    <a:lnTo>
                      <a:pt x="15405" y="15405"/>
                    </a:lnTo>
                    <a:lnTo>
                      <a:pt x="15405" y="323641"/>
                    </a:lnTo>
                    <a:close/>
                  </a:path>
                </a:pathLst>
              </a:custGeom>
              <a:grpFill/>
              <a:ln w="1375" cap="flat">
                <a:noFill/>
                <a:prstDash val="solid"/>
                <a:miter/>
              </a:ln>
            </p:spPr>
            <p:txBody>
              <a:bodyPr rtlCol="0" anchor="ctr"/>
              <a:lstStyle/>
              <a:p>
                <a:endParaRPr lang="en-GB" dirty="0"/>
              </a:p>
            </p:txBody>
          </p:sp>
          <p:sp>
            <p:nvSpPr>
              <p:cNvPr id="519" name="Freihandform: Form 518">
                <a:extLst>
                  <a:ext uri="{FF2B5EF4-FFF2-40B4-BE49-F238E27FC236}">
                    <a16:creationId xmlns:a16="http://schemas.microsoft.com/office/drawing/2014/main" id="{AFE9DA33-0A09-473A-BE85-A74E7A4EDA53}"/>
                  </a:ext>
                </a:extLst>
              </p:cNvPr>
              <p:cNvSpPr/>
              <p:nvPr/>
            </p:nvSpPr>
            <p:spPr>
              <a:xfrm>
                <a:off x="3778063" y="4543668"/>
                <a:ext cx="493178" cy="15418"/>
              </a:xfrm>
              <a:custGeom>
                <a:avLst/>
                <a:gdLst>
                  <a:gd name="connsiteX0" fmla="*/ 0 w 493178"/>
                  <a:gd name="connsiteY0" fmla="*/ 0 h 15418"/>
                  <a:gd name="connsiteX1" fmla="*/ 493178 w 493178"/>
                  <a:gd name="connsiteY1" fmla="*/ 0 h 15418"/>
                  <a:gd name="connsiteX2" fmla="*/ 493178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8" y="0"/>
                    </a:lnTo>
                    <a:lnTo>
                      <a:pt x="493178" y="15419"/>
                    </a:lnTo>
                    <a:lnTo>
                      <a:pt x="0" y="15419"/>
                    </a:lnTo>
                    <a:close/>
                  </a:path>
                </a:pathLst>
              </a:custGeom>
              <a:grpFill/>
              <a:ln w="1375" cap="flat">
                <a:noFill/>
                <a:prstDash val="solid"/>
                <a:miter/>
              </a:ln>
            </p:spPr>
            <p:txBody>
              <a:bodyPr rtlCol="0" anchor="ctr"/>
              <a:lstStyle/>
              <a:p>
                <a:endParaRPr lang="en-GB" dirty="0"/>
              </a:p>
            </p:txBody>
          </p:sp>
          <p:sp>
            <p:nvSpPr>
              <p:cNvPr id="520" name="Freihandform: Form 519">
                <a:extLst>
                  <a:ext uri="{FF2B5EF4-FFF2-40B4-BE49-F238E27FC236}">
                    <a16:creationId xmlns:a16="http://schemas.microsoft.com/office/drawing/2014/main" id="{4182AF8B-30D3-464C-A8EB-9BDE040E35F8}"/>
                  </a:ext>
                </a:extLst>
              </p:cNvPr>
              <p:cNvSpPr/>
              <p:nvPr/>
            </p:nvSpPr>
            <p:spPr>
              <a:xfrm>
                <a:off x="3916776" y="4512845"/>
                <a:ext cx="15418" cy="38526"/>
              </a:xfrm>
              <a:custGeom>
                <a:avLst/>
                <a:gdLst>
                  <a:gd name="connsiteX0" fmla="*/ 0 w 15418"/>
                  <a:gd name="connsiteY0" fmla="*/ 0 h 38526"/>
                  <a:gd name="connsiteX1" fmla="*/ 15419 w 15418"/>
                  <a:gd name="connsiteY1" fmla="*/ 0 h 38526"/>
                  <a:gd name="connsiteX2" fmla="*/ 15419 w 15418"/>
                  <a:gd name="connsiteY2" fmla="*/ 38526 h 38526"/>
                  <a:gd name="connsiteX3" fmla="*/ 0 w 15418"/>
                  <a:gd name="connsiteY3" fmla="*/ 38526 h 38526"/>
                </a:gdLst>
                <a:ahLst/>
                <a:cxnLst>
                  <a:cxn ang="0">
                    <a:pos x="connsiteX0" y="connsiteY0"/>
                  </a:cxn>
                  <a:cxn ang="0">
                    <a:pos x="connsiteX1" y="connsiteY1"/>
                  </a:cxn>
                  <a:cxn ang="0">
                    <a:pos x="connsiteX2" y="connsiteY2"/>
                  </a:cxn>
                  <a:cxn ang="0">
                    <a:pos x="connsiteX3" y="connsiteY3"/>
                  </a:cxn>
                </a:cxnLst>
                <a:rect l="l" t="t" r="r" b="b"/>
                <a:pathLst>
                  <a:path w="15418" h="38526">
                    <a:moveTo>
                      <a:pt x="0" y="0"/>
                    </a:moveTo>
                    <a:lnTo>
                      <a:pt x="15419" y="0"/>
                    </a:lnTo>
                    <a:lnTo>
                      <a:pt x="15419" y="38526"/>
                    </a:lnTo>
                    <a:lnTo>
                      <a:pt x="0" y="38526"/>
                    </a:lnTo>
                    <a:close/>
                  </a:path>
                </a:pathLst>
              </a:custGeom>
              <a:grpFill/>
              <a:ln w="1375" cap="flat">
                <a:noFill/>
                <a:prstDash val="solid"/>
                <a:miter/>
              </a:ln>
            </p:spPr>
            <p:txBody>
              <a:bodyPr rtlCol="0" anchor="ctr"/>
              <a:lstStyle/>
              <a:p>
                <a:endParaRPr lang="en-GB" dirty="0"/>
              </a:p>
            </p:txBody>
          </p:sp>
          <p:sp>
            <p:nvSpPr>
              <p:cNvPr id="521" name="Freihandform: Form 520">
                <a:extLst>
                  <a:ext uri="{FF2B5EF4-FFF2-40B4-BE49-F238E27FC236}">
                    <a16:creationId xmlns:a16="http://schemas.microsoft.com/office/drawing/2014/main" id="{4E96A696-60D1-4663-938C-D00FCECB0565}"/>
                  </a:ext>
                </a:extLst>
              </p:cNvPr>
              <p:cNvSpPr/>
              <p:nvPr/>
            </p:nvSpPr>
            <p:spPr>
              <a:xfrm>
                <a:off x="4117137" y="4512845"/>
                <a:ext cx="15418" cy="38526"/>
              </a:xfrm>
              <a:custGeom>
                <a:avLst/>
                <a:gdLst>
                  <a:gd name="connsiteX0" fmla="*/ 0 w 15418"/>
                  <a:gd name="connsiteY0" fmla="*/ 0 h 38526"/>
                  <a:gd name="connsiteX1" fmla="*/ 15418 w 15418"/>
                  <a:gd name="connsiteY1" fmla="*/ 0 h 38526"/>
                  <a:gd name="connsiteX2" fmla="*/ 15418 w 15418"/>
                  <a:gd name="connsiteY2" fmla="*/ 38526 h 38526"/>
                  <a:gd name="connsiteX3" fmla="*/ 0 w 15418"/>
                  <a:gd name="connsiteY3" fmla="*/ 38526 h 38526"/>
                </a:gdLst>
                <a:ahLst/>
                <a:cxnLst>
                  <a:cxn ang="0">
                    <a:pos x="connsiteX0" y="connsiteY0"/>
                  </a:cxn>
                  <a:cxn ang="0">
                    <a:pos x="connsiteX1" y="connsiteY1"/>
                  </a:cxn>
                  <a:cxn ang="0">
                    <a:pos x="connsiteX2" y="connsiteY2"/>
                  </a:cxn>
                  <a:cxn ang="0">
                    <a:pos x="connsiteX3" y="connsiteY3"/>
                  </a:cxn>
                </a:cxnLst>
                <a:rect l="l" t="t" r="r" b="b"/>
                <a:pathLst>
                  <a:path w="15418" h="38526">
                    <a:moveTo>
                      <a:pt x="0" y="0"/>
                    </a:moveTo>
                    <a:lnTo>
                      <a:pt x="15418" y="0"/>
                    </a:lnTo>
                    <a:lnTo>
                      <a:pt x="15418" y="38526"/>
                    </a:lnTo>
                    <a:lnTo>
                      <a:pt x="0" y="38526"/>
                    </a:lnTo>
                    <a:close/>
                  </a:path>
                </a:pathLst>
              </a:custGeom>
              <a:grpFill/>
              <a:ln w="1375" cap="flat">
                <a:noFill/>
                <a:prstDash val="solid"/>
                <a:miter/>
              </a:ln>
            </p:spPr>
            <p:txBody>
              <a:bodyPr rtlCol="0" anchor="ctr"/>
              <a:lstStyle/>
              <a:p>
                <a:endParaRPr lang="en-GB" dirty="0"/>
              </a:p>
            </p:txBody>
          </p:sp>
          <p:sp>
            <p:nvSpPr>
              <p:cNvPr id="522" name="Freihandform: Form 521">
                <a:extLst>
                  <a:ext uri="{FF2B5EF4-FFF2-40B4-BE49-F238E27FC236}">
                    <a16:creationId xmlns:a16="http://schemas.microsoft.com/office/drawing/2014/main" id="{2A6A70AC-BC33-4E42-B441-9E5AB3A66DC1}"/>
                  </a:ext>
                </a:extLst>
              </p:cNvPr>
              <p:cNvSpPr/>
              <p:nvPr/>
            </p:nvSpPr>
            <p:spPr>
              <a:xfrm>
                <a:off x="4047773" y="4451197"/>
                <a:ext cx="192644" cy="15418"/>
              </a:xfrm>
              <a:custGeom>
                <a:avLst/>
                <a:gdLst>
                  <a:gd name="connsiteX0" fmla="*/ 0 w 192644"/>
                  <a:gd name="connsiteY0" fmla="*/ 0 h 15418"/>
                  <a:gd name="connsiteX1" fmla="*/ 192645 w 192644"/>
                  <a:gd name="connsiteY1" fmla="*/ 0 h 15418"/>
                  <a:gd name="connsiteX2" fmla="*/ 192645 w 192644"/>
                  <a:gd name="connsiteY2" fmla="*/ 15419 h 15418"/>
                  <a:gd name="connsiteX3" fmla="*/ 0 w 192644"/>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92644" h="15418">
                    <a:moveTo>
                      <a:pt x="0" y="0"/>
                    </a:moveTo>
                    <a:lnTo>
                      <a:pt x="192645" y="0"/>
                    </a:lnTo>
                    <a:lnTo>
                      <a:pt x="192645" y="15419"/>
                    </a:lnTo>
                    <a:lnTo>
                      <a:pt x="0" y="15419"/>
                    </a:lnTo>
                    <a:close/>
                  </a:path>
                </a:pathLst>
              </a:custGeom>
              <a:grpFill/>
              <a:ln w="1375" cap="flat">
                <a:noFill/>
                <a:prstDash val="solid"/>
                <a:miter/>
              </a:ln>
            </p:spPr>
            <p:txBody>
              <a:bodyPr rtlCol="0" anchor="ctr"/>
              <a:lstStyle/>
              <a:p>
                <a:endParaRPr lang="en-GB" dirty="0"/>
              </a:p>
            </p:txBody>
          </p:sp>
          <p:sp>
            <p:nvSpPr>
              <p:cNvPr id="523" name="Freihandform: Form 522">
                <a:extLst>
                  <a:ext uri="{FF2B5EF4-FFF2-40B4-BE49-F238E27FC236}">
                    <a16:creationId xmlns:a16="http://schemas.microsoft.com/office/drawing/2014/main" id="{70C1F4EB-D900-446E-A2B2-3744BC60E580}"/>
                  </a:ext>
                </a:extLst>
              </p:cNvPr>
              <p:cNvSpPr/>
              <p:nvPr/>
            </p:nvSpPr>
            <p:spPr>
              <a:xfrm>
                <a:off x="3808886" y="4451197"/>
                <a:ext cx="192644" cy="15418"/>
              </a:xfrm>
              <a:custGeom>
                <a:avLst/>
                <a:gdLst>
                  <a:gd name="connsiteX0" fmla="*/ 0 w 192644"/>
                  <a:gd name="connsiteY0" fmla="*/ 0 h 15418"/>
                  <a:gd name="connsiteX1" fmla="*/ 192644 w 192644"/>
                  <a:gd name="connsiteY1" fmla="*/ 0 h 15418"/>
                  <a:gd name="connsiteX2" fmla="*/ 192644 w 192644"/>
                  <a:gd name="connsiteY2" fmla="*/ 15419 h 15418"/>
                  <a:gd name="connsiteX3" fmla="*/ 0 w 192644"/>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92644" h="15418">
                    <a:moveTo>
                      <a:pt x="0" y="0"/>
                    </a:moveTo>
                    <a:lnTo>
                      <a:pt x="192644" y="0"/>
                    </a:lnTo>
                    <a:lnTo>
                      <a:pt x="192644" y="15419"/>
                    </a:lnTo>
                    <a:lnTo>
                      <a:pt x="0" y="15419"/>
                    </a:lnTo>
                    <a:close/>
                  </a:path>
                </a:pathLst>
              </a:custGeom>
              <a:grpFill/>
              <a:ln w="1375" cap="flat">
                <a:noFill/>
                <a:prstDash val="solid"/>
                <a:miter/>
              </a:ln>
            </p:spPr>
            <p:txBody>
              <a:bodyPr rtlCol="0" anchor="ctr"/>
              <a:lstStyle/>
              <a:p>
                <a:endParaRPr lang="en-GB" dirty="0"/>
              </a:p>
            </p:txBody>
          </p:sp>
          <p:sp>
            <p:nvSpPr>
              <p:cNvPr id="524" name="Freihandform: Form 523">
                <a:extLst>
                  <a:ext uri="{FF2B5EF4-FFF2-40B4-BE49-F238E27FC236}">
                    <a16:creationId xmlns:a16="http://schemas.microsoft.com/office/drawing/2014/main" id="{7946CCE2-8D04-4712-99D0-A527021C013D}"/>
                  </a:ext>
                </a:extLst>
              </p:cNvPr>
              <p:cNvSpPr/>
              <p:nvPr/>
            </p:nvSpPr>
            <p:spPr>
              <a:xfrm>
                <a:off x="4016949" y="4451197"/>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grpFill/>
              <a:ln w="1375" cap="flat">
                <a:noFill/>
                <a:prstDash val="solid"/>
                <a:miter/>
              </a:ln>
            </p:spPr>
            <p:txBody>
              <a:bodyPr rtlCol="0" anchor="ctr"/>
              <a:lstStyle/>
              <a:p>
                <a:endParaRPr lang="en-GB" dirty="0"/>
              </a:p>
            </p:txBody>
          </p:sp>
          <p:sp>
            <p:nvSpPr>
              <p:cNvPr id="525" name="Freihandform: Form 524">
                <a:extLst>
                  <a:ext uri="{FF2B5EF4-FFF2-40B4-BE49-F238E27FC236}">
                    <a16:creationId xmlns:a16="http://schemas.microsoft.com/office/drawing/2014/main" id="{1E50DD28-6873-4A11-8F91-066EF642DC34}"/>
                  </a:ext>
                </a:extLst>
              </p:cNvPr>
              <p:cNvSpPr/>
              <p:nvPr/>
            </p:nvSpPr>
            <p:spPr>
              <a:xfrm>
                <a:off x="3808900" y="4189203"/>
                <a:ext cx="431531" cy="246589"/>
              </a:xfrm>
              <a:custGeom>
                <a:avLst/>
                <a:gdLst>
                  <a:gd name="connsiteX0" fmla="*/ 431531 w 431531"/>
                  <a:gd name="connsiteY0" fmla="*/ 246589 h 246589"/>
                  <a:gd name="connsiteX1" fmla="*/ 0 w 431531"/>
                  <a:gd name="connsiteY1" fmla="*/ 246589 h 246589"/>
                  <a:gd name="connsiteX2" fmla="*/ 0 w 431531"/>
                  <a:gd name="connsiteY2" fmla="*/ 0 h 246589"/>
                  <a:gd name="connsiteX3" fmla="*/ 431531 w 431531"/>
                  <a:gd name="connsiteY3" fmla="*/ 0 h 246589"/>
                  <a:gd name="connsiteX4" fmla="*/ 431531 w 431531"/>
                  <a:gd name="connsiteY4" fmla="*/ 246589 h 246589"/>
                  <a:gd name="connsiteX5" fmla="*/ 15405 w 431531"/>
                  <a:gd name="connsiteY5" fmla="*/ 231170 h 246589"/>
                  <a:gd name="connsiteX6" fmla="*/ 416112 w 431531"/>
                  <a:gd name="connsiteY6" fmla="*/ 231170 h 246589"/>
                  <a:gd name="connsiteX7" fmla="*/ 416112 w 431531"/>
                  <a:gd name="connsiteY7" fmla="*/ 15405 h 246589"/>
                  <a:gd name="connsiteX8" fmla="*/ 15405 w 431531"/>
                  <a:gd name="connsiteY8" fmla="*/ 15405 h 246589"/>
                  <a:gd name="connsiteX9" fmla="*/ 15405 w 431531"/>
                  <a:gd name="connsiteY9" fmla="*/ 231170 h 246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1531" h="246589">
                    <a:moveTo>
                      <a:pt x="431531" y="246589"/>
                    </a:moveTo>
                    <a:lnTo>
                      <a:pt x="0" y="246589"/>
                    </a:lnTo>
                    <a:lnTo>
                      <a:pt x="0" y="0"/>
                    </a:lnTo>
                    <a:lnTo>
                      <a:pt x="431531" y="0"/>
                    </a:lnTo>
                    <a:lnTo>
                      <a:pt x="431531" y="246589"/>
                    </a:lnTo>
                    <a:close/>
                    <a:moveTo>
                      <a:pt x="15405" y="231170"/>
                    </a:moveTo>
                    <a:lnTo>
                      <a:pt x="416112" y="231170"/>
                    </a:lnTo>
                    <a:lnTo>
                      <a:pt x="416112" y="15405"/>
                    </a:lnTo>
                    <a:lnTo>
                      <a:pt x="15405" y="15405"/>
                    </a:lnTo>
                    <a:lnTo>
                      <a:pt x="15405" y="231170"/>
                    </a:lnTo>
                    <a:close/>
                  </a:path>
                </a:pathLst>
              </a:custGeom>
              <a:grpFill/>
              <a:ln w="1375" cap="flat">
                <a:noFill/>
                <a:prstDash val="solid"/>
                <a:miter/>
              </a:ln>
            </p:spPr>
            <p:txBody>
              <a:bodyPr rtlCol="0" anchor="ctr"/>
              <a:lstStyle/>
              <a:p>
                <a:endParaRPr lang="en-GB" dirty="0"/>
              </a:p>
            </p:txBody>
          </p:sp>
          <p:sp>
            <p:nvSpPr>
              <p:cNvPr id="526" name="Freihandform: Form 525">
                <a:extLst>
                  <a:ext uri="{FF2B5EF4-FFF2-40B4-BE49-F238E27FC236}">
                    <a16:creationId xmlns:a16="http://schemas.microsoft.com/office/drawing/2014/main" id="{849DDA73-CDC0-4399-8948-4AE857C23E4E}"/>
                  </a:ext>
                </a:extLst>
              </p:cNvPr>
              <p:cNvSpPr/>
              <p:nvPr/>
            </p:nvSpPr>
            <p:spPr>
              <a:xfrm>
                <a:off x="4016949" y="4512845"/>
                <a:ext cx="15418" cy="38526"/>
              </a:xfrm>
              <a:custGeom>
                <a:avLst/>
                <a:gdLst>
                  <a:gd name="connsiteX0" fmla="*/ 0 w 15418"/>
                  <a:gd name="connsiteY0" fmla="*/ 0 h 38526"/>
                  <a:gd name="connsiteX1" fmla="*/ 15419 w 15418"/>
                  <a:gd name="connsiteY1" fmla="*/ 0 h 38526"/>
                  <a:gd name="connsiteX2" fmla="*/ 15419 w 15418"/>
                  <a:gd name="connsiteY2" fmla="*/ 38526 h 38526"/>
                  <a:gd name="connsiteX3" fmla="*/ 0 w 15418"/>
                  <a:gd name="connsiteY3" fmla="*/ 38526 h 38526"/>
                </a:gdLst>
                <a:ahLst/>
                <a:cxnLst>
                  <a:cxn ang="0">
                    <a:pos x="connsiteX0" y="connsiteY0"/>
                  </a:cxn>
                  <a:cxn ang="0">
                    <a:pos x="connsiteX1" y="connsiteY1"/>
                  </a:cxn>
                  <a:cxn ang="0">
                    <a:pos x="connsiteX2" y="connsiteY2"/>
                  </a:cxn>
                  <a:cxn ang="0">
                    <a:pos x="connsiteX3" y="connsiteY3"/>
                  </a:cxn>
                </a:cxnLst>
                <a:rect l="l" t="t" r="r" b="b"/>
                <a:pathLst>
                  <a:path w="15418" h="38526">
                    <a:moveTo>
                      <a:pt x="0" y="0"/>
                    </a:moveTo>
                    <a:lnTo>
                      <a:pt x="15419" y="0"/>
                    </a:lnTo>
                    <a:lnTo>
                      <a:pt x="15419" y="38526"/>
                    </a:lnTo>
                    <a:lnTo>
                      <a:pt x="0" y="38526"/>
                    </a:lnTo>
                    <a:close/>
                  </a:path>
                </a:pathLst>
              </a:custGeom>
              <a:grpFill/>
              <a:ln w="1375" cap="flat">
                <a:noFill/>
                <a:prstDash val="solid"/>
                <a:miter/>
              </a:ln>
            </p:spPr>
            <p:txBody>
              <a:bodyPr rtlCol="0" anchor="ctr"/>
              <a:lstStyle/>
              <a:p>
                <a:endParaRPr lang="en-GB" dirty="0"/>
              </a:p>
            </p:txBody>
          </p:sp>
        </p:grpSp>
        <p:grpSp>
          <p:nvGrpSpPr>
            <p:cNvPr id="697" name="Gruppieren 696">
              <a:extLst>
                <a:ext uri="{FF2B5EF4-FFF2-40B4-BE49-F238E27FC236}">
                  <a16:creationId xmlns:a16="http://schemas.microsoft.com/office/drawing/2014/main" id="{8A825D2D-9807-4CF8-8F4C-EE7E96D9D36E}"/>
                </a:ext>
              </a:extLst>
            </p:cNvPr>
            <p:cNvGrpSpPr/>
            <p:nvPr/>
          </p:nvGrpSpPr>
          <p:grpSpPr>
            <a:xfrm>
              <a:off x="3824851" y="4163927"/>
              <a:ext cx="398784" cy="166153"/>
              <a:chOff x="3839710" y="4220027"/>
              <a:chExt cx="369897" cy="154117"/>
            </a:xfrm>
          </p:grpSpPr>
          <p:sp>
            <p:nvSpPr>
              <p:cNvPr id="527" name="Freihandform: Form 526">
                <a:extLst>
                  <a:ext uri="{FF2B5EF4-FFF2-40B4-BE49-F238E27FC236}">
                    <a16:creationId xmlns:a16="http://schemas.microsoft.com/office/drawing/2014/main" id="{BE07771F-E395-4C32-BA2E-7B2D7181633A}"/>
                  </a:ext>
                </a:extLst>
              </p:cNvPr>
              <p:cNvSpPr/>
              <p:nvPr/>
            </p:nvSpPr>
            <p:spPr>
              <a:xfrm>
                <a:off x="3986126" y="4304795"/>
                <a:ext cx="46242" cy="15418"/>
              </a:xfrm>
              <a:custGeom>
                <a:avLst/>
                <a:gdLst>
                  <a:gd name="connsiteX0" fmla="*/ 0 w 46242"/>
                  <a:gd name="connsiteY0" fmla="*/ 0 h 15418"/>
                  <a:gd name="connsiteX1" fmla="*/ 46243 w 46242"/>
                  <a:gd name="connsiteY1" fmla="*/ 0 h 15418"/>
                  <a:gd name="connsiteX2" fmla="*/ 46243 w 46242"/>
                  <a:gd name="connsiteY2" fmla="*/ 15419 h 15418"/>
                  <a:gd name="connsiteX3" fmla="*/ 0 w 46242"/>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6242" h="15418">
                    <a:moveTo>
                      <a:pt x="0" y="0"/>
                    </a:moveTo>
                    <a:lnTo>
                      <a:pt x="46243" y="0"/>
                    </a:lnTo>
                    <a:lnTo>
                      <a:pt x="46243"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28" name="Freihandform: Form 527">
                <a:extLst>
                  <a:ext uri="{FF2B5EF4-FFF2-40B4-BE49-F238E27FC236}">
                    <a16:creationId xmlns:a16="http://schemas.microsoft.com/office/drawing/2014/main" id="{AF9DFF92-46D5-476D-B6DF-1BE4B0BD825D}"/>
                  </a:ext>
                </a:extLst>
              </p:cNvPr>
              <p:cNvSpPr/>
              <p:nvPr/>
            </p:nvSpPr>
            <p:spPr>
              <a:xfrm>
                <a:off x="4001545" y="4273972"/>
                <a:ext cx="30823" cy="15418"/>
              </a:xfrm>
              <a:custGeom>
                <a:avLst/>
                <a:gdLst>
                  <a:gd name="connsiteX0" fmla="*/ 0 w 30823"/>
                  <a:gd name="connsiteY0" fmla="*/ 0 h 15418"/>
                  <a:gd name="connsiteX1" fmla="*/ 30824 w 30823"/>
                  <a:gd name="connsiteY1" fmla="*/ 0 h 15418"/>
                  <a:gd name="connsiteX2" fmla="*/ 30824 w 30823"/>
                  <a:gd name="connsiteY2" fmla="*/ 15419 h 15418"/>
                  <a:gd name="connsiteX3" fmla="*/ 0 w 30823"/>
                  <a:gd name="connsiteY3" fmla="*/ 15419 h 15418"/>
                </a:gdLst>
                <a:ahLst/>
                <a:cxnLst>
                  <a:cxn ang="0">
                    <a:pos x="connsiteX0" y="connsiteY0"/>
                  </a:cxn>
                  <a:cxn ang="0">
                    <a:pos x="connsiteX1" y="connsiteY1"/>
                  </a:cxn>
                  <a:cxn ang="0">
                    <a:pos x="connsiteX2" y="connsiteY2"/>
                  </a:cxn>
                  <a:cxn ang="0">
                    <a:pos x="connsiteX3" y="connsiteY3"/>
                  </a:cxn>
                </a:cxnLst>
                <a:rect l="l" t="t" r="r" b="b"/>
                <a:pathLst>
                  <a:path w="30823" h="15418">
                    <a:moveTo>
                      <a:pt x="0" y="0"/>
                    </a:moveTo>
                    <a:lnTo>
                      <a:pt x="30824" y="0"/>
                    </a:lnTo>
                    <a:lnTo>
                      <a:pt x="30824"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29" name="Freihandform: Form 528">
                <a:extLst>
                  <a:ext uri="{FF2B5EF4-FFF2-40B4-BE49-F238E27FC236}">
                    <a16:creationId xmlns:a16="http://schemas.microsoft.com/office/drawing/2014/main" id="{5CE36CA9-E11F-4D83-9FDD-C454DE93C48A}"/>
                  </a:ext>
                </a:extLst>
              </p:cNvPr>
              <p:cNvSpPr/>
              <p:nvPr/>
            </p:nvSpPr>
            <p:spPr>
              <a:xfrm>
                <a:off x="3955302" y="4335619"/>
                <a:ext cx="77066" cy="15418"/>
              </a:xfrm>
              <a:custGeom>
                <a:avLst/>
                <a:gdLst>
                  <a:gd name="connsiteX0" fmla="*/ 0 w 77066"/>
                  <a:gd name="connsiteY0" fmla="*/ 0 h 15418"/>
                  <a:gd name="connsiteX1" fmla="*/ 77066 w 77066"/>
                  <a:gd name="connsiteY1" fmla="*/ 0 h 15418"/>
                  <a:gd name="connsiteX2" fmla="*/ 77066 w 77066"/>
                  <a:gd name="connsiteY2" fmla="*/ 15419 h 15418"/>
                  <a:gd name="connsiteX3" fmla="*/ 0 w 77066"/>
                  <a:gd name="connsiteY3" fmla="*/ 15419 h 15418"/>
                </a:gdLst>
                <a:ahLst/>
                <a:cxnLst>
                  <a:cxn ang="0">
                    <a:pos x="connsiteX0" y="connsiteY0"/>
                  </a:cxn>
                  <a:cxn ang="0">
                    <a:pos x="connsiteX1" y="connsiteY1"/>
                  </a:cxn>
                  <a:cxn ang="0">
                    <a:pos x="connsiteX2" y="connsiteY2"/>
                  </a:cxn>
                  <a:cxn ang="0">
                    <a:pos x="connsiteX3" y="connsiteY3"/>
                  </a:cxn>
                </a:cxnLst>
                <a:rect l="l" t="t" r="r" b="b"/>
                <a:pathLst>
                  <a:path w="77066" h="15418">
                    <a:moveTo>
                      <a:pt x="0" y="0"/>
                    </a:moveTo>
                    <a:lnTo>
                      <a:pt x="77066" y="0"/>
                    </a:lnTo>
                    <a:lnTo>
                      <a:pt x="77066"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30" name="Freihandform: Form 529">
                <a:extLst>
                  <a:ext uri="{FF2B5EF4-FFF2-40B4-BE49-F238E27FC236}">
                    <a16:creationId xmlns:a16="http://schemas.microsoft.com/office/drawing/2014/main" id="{3569D3DE-964A-44B0-B605-248CB813C690}"/>
                  </a:ext>
                </a:extLst>
              </p:cNvPr>
              <p:cNvSpPr/>
              <p:nvPr/>
            </p:nvSpPr>
            <p:spPr>
              <a:xfrm>
                <a:off x="3939897" y="4304795"/>
                <a:ext cx="30823" cy="15418"/>
              </a:xfrm>
              <a:custGeom>
                <a:avLst/>
                <a:gdLst>
                  <a:gd name="connsiteX0" fmla="*/ 0 w 30823"/>
                  <a:gd name="connsiteY0" fmla="*/ 0 h 15418"/>
                  <a:gd name="connsiteX1" fmla="*/ 30824 w 30823"/>
                  <a:gd name="connsiteY1" fmla="*/ 0 h 15418"/>
                  <a:gd name="connsiteX2" fmla="*/ 30824 w 30823"/>
                  <a:gd name="connsiteY2" fmla="*/ 15419 h 15418"/>
                  <a:gd name="connsiteX3" fmla="*/ 0 w 30823"/>
                  <a:gd name="connsiteY3" fmla="*/ 15419 h 15418"/>
                </a:gdLst>
                <a:ahLst/>
                <a:cxnLst>
                  <a:cxn ang="0">
                    <a:pos x="connsiteX0" y="connsiteY0"/>
                  </a:cxn>
                  <a:cxn ang="0">
                    <a:pos x="connsiteX1" y="connsiteY1"/>
                  </a:cxn>
                  <a:cxn ang="0">
                    <a:pos x="connsiteX2" y="connsiteY2"/>
                  </a:cxn>
                  <a:cxn ang="0">
                    <a:pos x="connsiteX3" y="connsiteY3"/>
                  </a:cxn>
                </a:cxnLst>
                <a:rect l="l" t="t" r="r" b="b"/>
                <a:pathLst>
                  <a:path w="30823" h="15418">
                    <a:moveTo>
                      <a:pt x="0" y="0"/>
                    </a:moveTo>
                    <a:lnTo>
                      <a:pt x="30824" y="0"/>
                    </a:lnTo>
                    <a:lnTo>
                      <a:pt x="30824"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31" name="Freihandform: Form 530">
                <a:extLst>
                  <a:ext uri="{FF2B5EF4-FFF2-40B4-BE49-F238E27FC236}">
                    <a16:creationId xmlns:a16="http://schemas.microsoft.com/office/drawing/2014/main" id="{13ED695B-817D-4917-9ADC-12C2C2819A5A}"/>
                  </a:ext>
                </a:extLst>
              </p:cNvPr>
              <p:cNvSpPr/>
              <p:nvPr/>
            </p:nvSpPr>
            <p:spPr>
              <a:xfrm>
                <a:off x="3893655" y="4335619"/>
                <a:ext cx="46242" cy="15418"/>
              </a:xfrm>
              <a:custGeom>
                <a:avLst/>
                <a:gdLst>
                  <a:gd name="connsiteX0" fmla="*/ 0 w 46242"/>
                  <a:gd name="connsiteY0" fmla="*/ 0 h 15418"/>
                  <a:gd name="connsiteX1" fmla="*/ 46242 w 46242"/>
                  <a:gd name="connsiteY1" fmla="*/ 0 h 15418"/>
                  <a:gd name="connsiteX2" fmla="*/ 46242 w 46242"/>
                  <a:gd name="connsiteY2" fmla="*/ 15419 h 15418"/>
                  <a:gd name="connsiteX3" fmla="*/ 0 w 46242"/>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6242" h="15418">
                    <a:moveTo>
                      <a:pt x="0" y="0"/>
                    </a:moveTo>
                    <a:lnTo>
                      <a:pt x="46242" y="0"/>
                    </a:lnTo>
                    <a:lnTo>
                      <a:pt x="46242"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32" name="Freihandform: Form 531">
                <a:extLst>
                  <a:ext uri="{FF2B5EF4-FFF2-40B4-BE49-F238E27FC236}">
                    <a16:creationId xmlns:a16="http://schemas.microsoft.com/office/drawing/2014/main" id="{E97DD7E0-2741-46B2-905D-960A9993092F}"/>
                  </a:ext>
                </a:extLst>
              </p:cNvPr>
              <p:cNvSpPr/>
              <p:nvPr/>
            </p:nvSpPr>
            <p:spPr>
              <a:xfrm>
                <a:off x="3909074" y="4273972"/>
                <a:ext cx="77066" cy="15418"/>
              </a:xfrm>
              <a:custGeom>
                <a:avLst/>
                <a:gdLst>
                  <a:gd name="connsiteX0" fmla="*/ 0 w 77066"/>
                  <a:gd name="connsiteY0" fmla="*/ 0 h 15418"/>
                  <a:gd name="connsiteX1" fmla="*/ 77066 w 77066"/>
                  <a:gd name="connsiteY1" fmla="*/ 0 h 15418"/>
                  <a:gd name="connsiteX2" fmla="*/ 77066 w 77066"/>
                  <a:gd name="connsiteY2" fmla="*/ 15419 h 15418"/>
                  <a:gd name="connsiteX3" fmla="*/ 0 w 77066"/>
                  <a:gd name="connsiteY3" fmla="*/ 15419 h 15418"/>
                </a:gdLst>
                <a:ahLst/>
                <a:cxnLst>
                  <a:cxn ang="0">
                    <a:pos x="connsiteX0" y="connsiteY0"/>
                  </a:cxn>
                  <a:cxn ang="0">
                    <a:pos x="connsiteX1" y="connsiteY1"/>
                  </a:cxn>
                  <a:cxn ang="0">
                    <a:pos x="connsiteX2" y="connsiteY2"/>
                  </a:cxn>
                  <a:cxn ang="0">
                    <a:pos x="connsiteX3" y="connsiteY3"/>
                  </a:cxn>
                </a:cxnLst>
                <a:rect l="l" t="t" r="r" b="b"/>
                <a:pathLst>
                  <a:path w="77066" h="15418">
                    <a:moveTo>
                      <a:pt x="0" y="0"/>
                    </a:moveTo>
                    <a:lnTo>
                      <a:pt x="77066" y="0"/>
                    </a:lnTo>
                    <a:lnTo>
                      <a:pt x="77066"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33" name="Freihandform: Form 532">
                <a:extLst>
                  <a:ext uri="{FF2B5EF4-FFF2-40B4-BE49-F238E27FC236}">
                    <a16:creationId xmlns:a16="http://schemas.microsoft.com/office/drawing/2014/main" id="{CDA0676A-6663-40D2-B0EB-63000DFC4E21}"/>
                  </a:ext>
                </a:extLst>
              </p:cNvPr>
              <p:cNvSpPr/>
              <p:nvPr/>
            </p:nvSpPr>
            <p:spPr>
              <a:xfrm>
                <a:off x="3901357" y="4220027"/>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34" name="Freihandform: Form 533">
                <a:extLst>
                  <a:ext uri="{FF2B5EF4-FFF2-40B4-BE49-F238E27FC236}">
                    <a16:creationId xmlns:a16="http://schemas.microsoft.com/office/drawing/2014/main" id="{660B1E56-71E5-467A-AEDE-6F1826F429F4}"/>
                  </a:ext>
                </a:extLst>
              </p:cNvPr>
              <p:cNvSpPr/>
              <p:nvPr/>
            </p:nvSpPr>
            <p:spPr>
              <a:xfrm>
                <a:off x="4194189" y="4220027"/>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35" name="Freihandform: Form 534">
                <a:extLst>
                  <a:ext uri="{FF2B5EF4-FFF2-40B4-BE49-F238E27FC236}">
                    <a16:creationId xmlns:a16="http://schemas.microsoft.com/office/drawing/2014/main" id="{84F9B3B4-1CD1-4102-A15E-0D29B2BDE265}"/>
                  </a:ext>
                </a:extLst>
              </p:cNvPr>
              <p:cNvSpPr/>
              <p:nvPr/>
            </p:nvSpPr>
            <p:spPr>
              <a:xfrm>
                <a:off x="3870534" y="4220027"/>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36" name="Freihandform: Form 535">
                <a:extLst>
                  <a:ext uri="{FF2B5EF4-FFF2-40B4-BE49-F238E27FC236}">
                    <a16:creationId xmlns:a16="http://schemas.microsoft.com/office/drawing/2014/main" id="{CA25E6FC-78EF-4A0D-A031-AFFEF1580F4F}"/>
                  </a:ext>
                </a:extLst>
              </p:cNvPr>
              <p:cNvSpPr/>
              <p:nvPr/>
            </p:nvSpPr>
            <p:spPr>
              <a:xfrm>
                <a:off x="3839710" y="4220027"/>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grpSp>
            <p:nvGrpSpPr>
              <p:cNvPr id="537" name="Grafik 7">
                <a:extLst>
                  <a:ext uri="{FF2B5EF4-FFF2-40B4-BE49-F238E27FC236}">
                    <a16:creationId xmlns:a16="http://schemas.microsoft.com/office/drawing/2014/main" id="{7940CA59-2FD8-4F65-825F-6370771CA869}"/>
                  </a:ext>
                </a:extLst>
              </p:cNvPr>
              <p:cNvGrpSpPr/>
              <p:nvPr/>
            </p:nvGrpSpPr>
            <p:grpSpPr>
              <a:xfrm>
                <a:off x="4047773" y="4250850"/>
                <a:ext cx="123294" cy="123294"/>
                <a:chOff x="4047773" y="4250850"/>
                <a:chExt cx="123294" cy="123294"/>
              </a:xfrm>
              <a:solidFill>
                <a:schemeClr val="accent1"/>
              </a:solidFill>
            </p:grpSpPr>
            <p:sp>
              <p:nvSpPr>
                <p:cNvPr id="538" name="Freihandform: Form 537">
                  <a:extLst>
                    <a:ext uri="{FF2B5EF4-FFF2-40B4-BE49-F238E27FC236}">
                      <a16:creationId xmlns:a16="http://schemas.microsoft.com/office/drawing/2014/main" id="{B0375368-4128-4806-AC1F-3106C7694717}"/>
                    </a:ext>
                  </a:extLst>
                </p:cNvPr>
                <p:cNvSpPr/>
                <p:nvPr/>
              </p:nvSpPr>
              <p:spPr>
                <a:xfrm>
                  <a:off x="4047773" y="4250850"/>
                  <a:ext cx="123294" cy="123294"/>
                </a:xfrm>
                <a:custGeom>
                  <a:avLst/>
                  <a:gdLst>
                    <a:gd name="connsiteX0" fmla="*/ 61647 w 123294"/>
                    <a:gd name="connsiteY0" fmla="*/ 123295 h 123294"/>
                    <a:gd name="connsiteX1" fmla="*/ 0 w 123294"/>
                    <a:gd name="connsiteY1" fmla="*/ 61647 h 123294"/>
                    <a:gd name="connsiteX2" fmla="*/ 61647 w 123294"/>
                    <a:gd name="connsiteY2" fmla="*/ 0 h 123294"/>
                    <a:gd name="connsiteX3" fmla="*/ 123295 w 123294"/>
                    <a:gd name="connsiteY3" fmla="*/ 61647 h 123294"/>
                    <a:gd name="connsiteX4" fmla="*/ 61647 w 123294"/>
                    <a:gd name="connsiteY4" fmla="*/ 123295 h 123294"/>
                    <a:gd name="connsiteX5" fmla="*/ 61647 w 123294"/>
                    <a:gd name="connsiteY5" fmla="*/ 15405 h 123294"/>
                    <a:gd name="connsiteX6" fmla="*/ 15405 w 123294"/>
                    <a:gd name="connsiteY6" fmla="*/ 61647 h 123294"/>
                    <a:gd name="connsiteX7" fmla="*/ 61647 w 123294"/>
                    <a:gd name="connsiteY7" fmla="*/ 107890 h 123294"/>
                    <a:gd name="connsiteX8" fmla="*/ 107890 w 123294"/>
                    <a:gd name="connsiteY8" fmla="*/ 61647 h 123294"/>
                    <a:gd name="connsiteX9" fmla="*/ 61647 w 123294"/>
                    <a:gd name="connsiteY9" fmla="*/ 15405 h 12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94" h="123294">
                      <a:moveTo>
                        <a:pt x="61647" y="123295"/>
                      </a:moveTo>
                      <a:cubicBezTo>
                        <a:pt x="27655" y="123295"/>
                        <a:pt x="0" y="95640"/>
                        <a:pt x="0" y="61647"/>
                      </a:cubicBezTo>
                      <a:cubicBezTo>
                        <a:pt x="0" y="27654"/>
                        <a:pt x="27655" y="0"/>
                        <a:pt x="61647" y="0"/>
                      </a:cubicBezTo>
                      <a:cubicBezTo>
                        <a:pt x="95640" y="0"/>
                        <a:pt x="123295" y="27654"/>
                        <a:pt x="123295" y="61647"/>
                      </a:cubicBezTo>
                      <a:cubicBezTo>
                        <a:pt x="123295" y="95640"/>
                        <a:pt x="95640" y="123295"/>
                        <a:pt x="61647" y="123295"/>
                      </a:cubicBezTo>
                      <a:close/>
                      <a:moveTo>
                        <a:pt x="61647" y="15405"/>
                      </a:moveTo>
                      <a:cubicBezTo>
                        <a:pt x="36156" y="15405"/>
                        <a:pt x="15405" y="36142"/>
                        <a:pt x="15405" y="61647"/>
                      </a:cubicBezTo>
                      <a:cubicBezTo>
                        <a:pt x="15405" y="87138"/>
                        <a:pt x="36142" y="107890"/>
                        <a:pt x="61647" y="107890"/>
                      </a:cubicBezTo>
                      <a:cubicBezTo>
                        <a:pt x="87138" y="107890"/>
                        <a:pt x="107890" y="87152"/>
                        <a:pt x="107890" y="61647"/>
                      </a:cubicBezTo>
                      <a:cubicBezTo>
                        <a:pt x="107890" y="36142"/>
                        <a:pt x="87152" y="15405"/>
                        <a:pt x="61647" y="15405"/>
                      </a:cubicBezTo>
                      <a:close/>
                    </a:path>
                  </a:pathLst>
                </a:custGeom>
                <a:solidFill>
                  <a:schemeClr val="accent1"/>
                </a:solidFill>
                <a:ln w="1375" cap="flat">
                  <a:noFill/>
                  <a:prstDash val="solid"/>
                  <a:miter/>
                </a:ln>
              </p:spPr>
              <p:txBody>
                <a:bodyPr rtlCol="0" anchor="ctr"/>
                <a:lstStyle/>
                <a:p>
                  <a:endParaRPr lang="en-GB" dirty="0"/>
                </a:p>
              </p:txBody>
            </p:sp>
            <p:sp>
              <p:nvSpPr>
                <p:cNvPr id="539" name="Freihandform: Form 538">
                  <a:extLst>
                    <a:ext uri="{FF2B5EF4-FFF2-40B4-BE49-F238E27FC236}">
                      <a16:creationId xmlns:a16="http://schemas.microsoft.com/office/drawing/2014/main" id="{3D98AC33-22EE-4067-9828-6BD080A86555}"/>
                    </a:ext>
                  </a:extLst>
                </p:cNvPr>
                <p:cNvSpPr/>
                <p:nvPr/>
              </p:nvSpPr>
              <p:spPr>
                <a:xfrm>
                  <a:off x="4101718" y="4304795"/>
                  <a:ext cx="61647" cy="61647"/>
                </a:xfrm>
                <a:custGeom>
                  <a:avLst/>
                  <a:gdLst>
                    <a:gd name="connsiteX0" fmla="*/ 15419 w 61647"/>
                    <a:gd name="connsiteY0" fmla="*/ 61647 h 61647"/>
                    <a:gd name="connsiteX1" fmla="*/ 0 w 61647"/>
                    <a:gd name="connsiteY1" fmla="*/ 61647 h 61647"/>
                    <a:gd name="connsiteX2" fmla="*/ 0 w 61647"/>
                    <a:gd name="connsiteY2" fmla="*/ 53945 h 61647"/>
                    <a:gd name="connsiteX3" fmla="*/ 53945 w 61647"/>
                    <a:gd name="connsiteY3" fmla="*/ 0 h 61647"/>
                    <a:gd name="connsiteX4" fmla="*/ 61647 w 61647"/>
                    <a:gd name="connsiteY4" fmla="*/ 0 h 61647"/>
                    <a:gd name="connsiteX5" fmla="*/ 61647 w 61647"/>
                    <a:gd name="connsiteY5" fmla="*/ 15419 h 61647"/>
                    <a:gd name="connsiteX6" fmla="*/ 53945 w 61647"/>
                    <a:gd name="connsiteY6" fmla="*/ 15419 h 61647"/>
                    <a:gd name="connsiteX7" fmla="*/ 15419 w 61647"/>
                    <a:gd name="connsiteY7" fmla="*/ 53945 h 61647"/>
                    <a:gd name="connsiteX8" fmla="*/ 15419 w 61647"/>
                    <a:gd name="connsiteY8" fmla="*/ 61647 h 6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647" h="61647">
                      <a:moveTo>
                        <a:pt x="15419" y="61647"/>
                      </a:moveTo>
                      <a:lnTo>
                        <a:pt x="0" y="61647"/>
                      </a:lnTo>
                      <a:lnTo>
                        <a:pt x="0" y="53945"/>
                      </a:lnTo>
                      <a:cubicBezTo>
                        <a:pt x="0" y="24210"/>
                        <a:pt x="24196" y="0"/>
                        <a:pt x="53945" y="0"/>
                      </a:cubicBezTo>
                      <a:lnTo>
                        <a:pt x="61647" y="0"/>
                      </a:lnTo>
                      <a:lnTo>
                        <a:pt x="61647" y="15419"/>
                      </a:lnTo>
                      <a:lnTo>
                        <a:pt x="53945" y="15419"/>
                      </a:lnTo>
                      <a:cubicBezTo>
                        <a:pt x="32698" y="15419"/>
                        <a:pt x="15419" y="32711"/>
                        <a:pt x="15419" y="53945"/>
                      </a:cubicBezTo>
                      <a:lnTo>
                        <a:pt x="15419" y="61647"/>
                      </a:lnTo>
                      <a:close/>
                    </a:path>
                  </a:pathLst>
                </a:custGeom>
                <a:solidFill>
                  <a:schemeClr val="accent1"/>
                </a:solidFill>
                <a:ln w="1375" cap="flat">
                  <a:noFill/>
                  <a:prstDash val="solid"/>
                  <a:miter/>
                </a:ln>
              </p:spPr>
              <p:txBody>
                <a:bodyPr rtlCol="0" anchor="ctr"/>
                <a:lstStyle/>
                <a:p>
                  <a:endParaRPr lang="en-GB" dirty="0"/>
                </a:p>
              </p:txBody>
            </p:sp>
            <p:sp>
              <p:nvSpPr>
                <p:cNvPr id="540" name="Freihandform: Form 539">
                  <a:extLst>
                    <a:ext uri="{FF2B5EF4-FFF2-40B4-BE49-F238E27FC236}">
                      <a16:creationId xmlns:a16="http://schemas.microsoft.com/office/drawing/2014/main" id="{C7728F57-F072-4633-ABBA-02E481665881}"/>
                    </a:ext>
                  </a:extLst>
                </p:cNvPr>
                <p:cNvSpPr/>
                <p:nvPr/>
              </p:nvSpPr>
              <p:spPr>
                <a:xfrm>
                  <a:off x="4055489" y="4258553"/>
                  <a:ext cx="61647" cy="61647"/>
                </a:xfrm>
                <a:custGeom>
                  <a:avLst/>
                  <a:gdLst>
                    <a:gd name="connsiteX0" fmla="*/ 7703 w 61647"/>
                    <a:gd name="connsiteY0" fmla="*/ 61647 h 61647"/>
                    <a:gd name="connsiteX1" fmla="*/ 0 w 61647"/>
                    <a:gd name="connsiteY1" fmla="*/ 61647 h 61647"/>
                    <a:gd name="connsiteX2" fmla="*/ 0 w 61647"/>
                    <a:gd name="connsiteY2" fmla="*/ 46229 h 61647"/>
                    <a:gd name="connsiteX3" fmla="*/ 7703 w 61647"/>
                    <a:gd name="connsiteY3" fmla="*/ 46229 h 61647"/>
                    <a:gd name="connsiteX4" fmla="*/ 46229 w 61647"/>
                    <a:gd name="connsiteY4" fmla="*/ 7702 h 61647"/>
                    <a:gd name="connsiteX5" fmla="*/ 46229 w 61647"/>
                    <a:gd name="connsiteY5" fmla="*/ 0 h 61647"/>
                    <a:gd name="connsiteX6" fmla="*/ 61647 w 61647"/>
                    <a:gd name="connsiteY6" fmla="*/ 0 h 61647"/>
                    <a:gd name="connsiteX7" fmla="*/ 61647 w 61647"/>
                    <a:gd name="connsiteY7" fmla="*/ 7702 h 61647"/>
                    <a:gd name="connsiteX8" fmla="*/ 7703 w 61647"/>
                    <a:gd name="connsiteY8" fmla="*/ 61647 h 61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647" h="61647">
                      <a:moveTo>
                        <a:pt x="7703" y="61647"/>
                      </a:moveTo>
                      <a:lnTo>
                        <a:pt x="0" y="61647"/>
                      </a:lnTo>
                      <a:lnTo>
                        <a:pt x="0" y="46229"/>
                      </a:lnTo>
                      <a:lnTo>
                        <a:pt x="7703" y="46229"/>
                      </a:lnTo>
                      <a:cubicBezTo>
                        <a:pt x="28950" y="46229"/>
                        <a:pt x="46229" y="28936"/>
                        <a:pt x="46229" y="7702"/>
                      </a:cubicBezTo>
                      <a:lnTo>
                        <a:pt x="46229" y="0"/>
                      </a:lnTo>
                      <a:lnTo>
                        <a:pt x="61647" y="0"/>
                      </a:lnTo>
                      <a:lnTo>
                        <a:pt x="61647" y="7702"/>
                      </a:lnTo>
                      <a:cubicBezTo>
                        <a:pt x="61647" y="37451"/>
                        <a:pt x="37438" y="61647"/>
                        <a:pt x="7703" y="61647"/>
                      </a:cubicBezTo>
                      <a:close/>
                    </a:path>
                  </a:pathLst>
                </a:custGeom>
                <a:solidFill>
                  <a:schemeClr val="accent1"/>
                </a:solidFill>
                <a:ln w="1375" cap="flat">
                  <a:noFill/>
                  <a:prstDash val="solid"/>
                  <a:miter/>
                </a:ln>
              </p:spPr>
              <p:txBody>
                <a:bodyPr rtlCol="0" anchor="ctr"/>
                <a:lstStyle/>
                <a:p>
                  <a:endParaRPr lang="en-GB" dirty="0"/>
                </a:p>
              </p:txBody>
            </p:sp>
          </p:grpSp>
        </p:grpSp>
      </p:grpSp>
      <p:grpSp>
        <p:nvGrpSpPr>
          <p:cNvPr id="644" name="Gruppieren 643">
            <a:extLst>
              <a:ext uri="{FF2B5EF4-FFF2-40B4-BE49-F238E27FC236}">
                <a16:creationId xmlns:a16="http://schemas.microsoft.com/office/drawing/2014/main" id="{8D89C266-8E53-40EA-8623-B8C5021EB491}"/>
              </a:ext>
            </a:extLst>
          </p:cNvPr>
          <p:cNvGrpSpPr>
            <a:grpSpLocks noChangeAspect="1"/>
          </p:cNvGrpSpPr>
          <p:nvPr/>
        </p:nvGrpSpPr>
        <p:grpSpPr>
          <a:xfrm>
            <a:off x="1315191" y="1626716"/>
            <a:ext cx="431976" cy="432000"/>
            <a:chOff x="1319845" y="1615380"/>
            <a:chExt cx="493178" cy="493205"/>
          </a:xfrm>
        </p:grpSpPr>
        <p:grpSp>
          <p:nvGrpSpPr>
            <p:cNvPr id="642" name="Gruppieren 641">
              <a:extLst>
                <a:ext uri="{FF2B5EF4-FFF2-40B4-BE49-F238E27FC236}">
                  <a16:creationId xmlns:a16="http://schemas.microsoft.com/office/drawing/2014/main" id="{FAD1804D-6EA5-417A-A32B-D4387E730E5D}"/>
                </a:ext>
              </a:extLst>
            </p:cNvPr>
            <p:cNvGrpSpPr/>
            <p:nvPr/>
          </p:nvGrpSpPr>
          <p:grpSpPr>
            <a:xfrm>
              <a:off x="1443140" y="1615380"/>
              <a:ext cx="246589" cy="300547"/>
              <a:chOff x="1443140" y="1615380"/>
              <a:chExt cx="246589" cy="300547"/>
            </a:xfrm>
          </p:grpSpPr>
          <p:sp>
            <p:nvSpPr>
              <p:cNvPr id="546" name="Freihandform: Form 545">
                <a:extLst>
                  <a:ext uri="{FF2B5EF4-FFF2-40B4-BE49-F238E27FC236}">
                    <a16:creationId xmlns:a16="http://schemas.microsoft.com/office/drawing/2014/main" id="{A837AAAB-187C-4515-9F45-B15BA7FA6EBC}"/>
                  </a:ext>
                </a:extLst>
              </p:cNvPr>
              <p:cNvSpPr/>
              <p:nvPr/>
            </p:nvSpPr>
            <p:spPr>
              <a:xfrm>
                <a:off x="1489368" y="1877401"/>
                <a:ext cx="154132" cy="38526"/>
              </a:xfrm>
              <a:custGeom>
                <a:avLst/>
                <a:gdLst>
                  <a:gd name="connsiteX0" fmla="*/ 154132 w 154132"/>
                  <a:gd name="connsiteY0" fmla="*/ 38526 h 38526"/>
                  <a:gd name="connsiteX1" fmla="*/ 138713 w 154132"/>
                  <a:gd name="connsiteY1" fmla="*/ 38526 h 38526"/>
                  <a:gd name="connsiteX2" fmla="*/ 138713 w 154132"/>
                  <a:gd name="connsiteY2" fmla="*/ 15405 h 38526"/>
                  <a:gd name="connsiteX3" fmla="*/ 15419 w 154132"/>
                  <a:gd name="connsiteY3" fmla="*/ 15405 h 38526"/>
                  <a:gd name="connsiteX4" fmla="*/ 15419 w 154132"/>
                  <a:gd name="connsiteY4" fmla="*/ 38526 h 38526"/>
                  <a:gd name="connsiteX5" fmla="*/ 0 w 154132"/>
                  <a:gd name="connsiteY5" fmla="*/ 38526 h 38526"/>
                  <a:gd name="connsiteX6" fmla="*/ 0 w 154132"/>
                  <a:gd name="connsiteY6" fmla="*/ 7702 h 38526"/>
                  <a:gd name="connsiteX7" fmla="*/ 7703 w 154132"/>
                  <a:gd name="connsiteY7" fmla="*/ 0 h 38526"/>
                  <a:gd name="connsiteX8" fmla="*/ 146416 w 154132"/>
                  <a:gd name="connsiteY8" fmla="*/ 0 h 38526"/>
                  <a:gd name="connsiteX9" fmla="*/ 154118 w 154132"/>
                  <a:gd name="connsiteY9" fmla="*/ 7702 h 38526"/>
                  <a:gd name="connsiteX10" fmla="*/ 154118 w 154132"/>
                  <a:gd name="connsiteY10" fmla="*/ 38526 h 3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132" h="38526">
                    <a:moveTo>
                      <a:pt x="154132" y="38526"/>
                    </a:moveTo>
                    <a:lnTo>
                      <a:pt x="138713" y="38526"/>
                    </a:lnTo>
                    <a:lnTo>
                      <a:pt x="138713" y="15405"/>
                    </a:lnTo>
                    <a:lnTo>
                      <a:pt x="15419" y="15405"/>
                    </a:lnTo>
                    <a:lnTo>
                      <a:pt x="15419" y="38526"/>
                    </a:lnTo>
                    <a:lnTo>
                      <a:pt x="0" y="38526"/>
                    </a:lnTo>
                    <a:lnTo>
                      <a:pt x="0" y="7702"/>
                    </a:lnTo>
                    <a:cubicBezTo>
                      <a:pt x="0" y="3445"/>
                      <a:pt x="3445" y="0"/>
                      <a:pt x="7703" y="0"/>
                    </a:cubicBezTo>
                    <a:lnTo>
                      <a:pt x="146416" y="0"/>
                    </a:lnTo>
                    <a:cubicBezTo>
                      <a:pt x="150674" y="0"/>
                      <a:pt x="154118" y="3445"/>
                      <a:pt x="154118" y="7702"/>
                    </a:cubicBezTo>
                    <a:lnTo>
                      <a:pt x="154118" y="38526"/>
                    </a:lnTo>
                    <a:close/>
                  </a:path>
                </a:pathLst>
              </a:custGeom>
              <a:solidFill>
                <a:schemeClr val="accent1"/>
              </a:solidFill>
              <a:ln w="1375" cap="flat">
                <a:noFill/>
                <a:prstDash val="solid"/>
                <a:miter/>
              </a:ln>
            </p:spPr>
            <p:txBody>
              <a:bodyPr rtlCol="0" anchor="ctr"/>
              <a:lstStyle/>
              <a:p>
                <a:endParaRPr lang="en-GB" dirty="0"/>
              </a:p>
            </p:txBody>
          </p:sp>
          <p:sp>
            <p:nvSpPr>
              <p:cNvPr id="547" name="Freihandform: Form 546">
                <a:extLst>
                  <a:ext uri="{FF2B5EF4-FFF2-40B4-BE49-F238E27FC236}">
                    <a16:creationId xmlns:a16="http://schemas.microsoft.com/office/drawing/2014/main" id="{699967B4-C979-435F-BE74-235471BE116A}"/>
                  </a:ext>
                </a:extLst>
              </p:cNvPr>
              <p:cNvSpPr/>
              <p:nvPr/>
            </p:nvSpPr>
            <p:spPr>
              <a:xfrm>
                <a:off x="1512503" y="1677041"/>
                <a:ext cx="107889" cy="15418"/>
              </a:xfrm>
              <a:custGeom>
                <a:avLst/>
                <a:gdLst>
                  <a:gd name="connsiteX0" fmla="*/ 0 w 107889"/>
                  <a:gd name="connsiteY0" fmla="*/ 0 h 15418"/>
                  <a:gd name="connsiteX1" fmla="*/ 107890 w 107889"/>
                  <a:gd name="connsiteY1" fmla="*/ 0 h 15418"/>
                  <a:gd name="connsiteX2" fmla="*/ 107890 w 107889"/>
                  <a:gd name="connsiteY2" fmla="*/ 15419 h 15418"/>
                  <a:gd name="connsiteX3" fmla="*/ 0 w 107889"/>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07889" h="15418">
                    <a:moveTo>
                      <a:pt x="0" y="0"/>
                    </a:moveTo>
                    <a:lnTo>
                      <a:pt x="107890" y="0"/>
                    </a:lnTo>
                    <a:lnTo>
                      <a:pt x="107890"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48" name="Freihandform: Form 547">
                <a:extLst>
                  <a:ext uri="{FF2B5EF4-FFF2-40B4-BE49-F238E27FC236}">
                    <a16:creationId xmlns:a16="http://schemas.microsoft.com/office/drawing/2014/main" id="{BCF993DD-8612-48A6-A6AF-775F282A8D1D}"/>
                  </a:ext>
                </a:extLst>
              </p:cNvPr>
              <p:cNvSpPr/>
              <p:nvPr/>
            </p:nvSpPr>
            <p:spPr>
              <a:xfrm>
                <a:off x="1489382" y="1646217"/>
                <a:ext cx="154118" cy="244329"/>
              </a:xfrm>
              <a:custGeom>
                <a:avLst/>
                <a:gdLst>
                  <a:gd name="connsiteX0" fmla="*/ 117852 w 154118"/>
                  <a:gd name="connsiteY0" fmla="*/ 244329 h 244329"/>
                  <a:gd name="connsiteX1" fmla="*/ 87028 w 154118"/>
                  <a:gd name="connsiteY1" fmla="*/ 213506 h 244329"/>
                  <a:gd name="connsiteX2" fmla="*/ 84769 w 154118"/>
                  <a:gd name="connsiteY2" fmla="*/ 208063 h 244329"/>
                  <a:gd name="connsiteX3" fmla="*/ 84769 w 154118"/>
                  <a:gd name="connsiteY3" fmla="*/ 192644 h 244329"/>
                  <a:gd name="connsiteX4" fmla="*/ 107132 w 154118"/>
                  <a:gd name="connsiteY4" fmla="*/ 139678 h 244329"/>
                  <a:gd name="connsiteX5" fmla="*/ 138672 w 154118"/>
                  <a:gd name="connsiteY5" fmla="*/ 57086 h 244329"/>
                  <a:gd name="connsiteX6" fmla="*/ 125554 w 154118"/>
                  <a:gd name="connsiteY6" fmla="*/ 43969 h 244329"/>
                  <a:gd name="connsiteX7" fmla="*/ 125554 w 154118"/>
                  <a:gd name="connsiteY7" fmla="*/ 33070 h 244329"/>
                  <a:gd name="connsiteX8" fmla="*/ 138713 w 154118"/>
                  <a:gd name="connsiteY8" fmla="*/ 19911 h 244329"/>
                  <a:gd name="connsiteX9" fmla="*/ 138713 w 154118"/>
                  <a:gd name="connsiteY9" fmla="*/ 15391 h 244329"/>
                  <a:gd name="connsiteX10" fmla="*/ 15419 w 154118"/>
                  <a:gd name="connsiteY10" fmla="*/ 15391 h 244329"/>
                  <a:gd name="connsiteX11" fmla="*/ 15419 w 154118"/>
                  <a:gd name="connsiteY11" fmla="*/ 19911 h 244329"/>
                  <a:gd name="connsiteX12" fmla="*/ 28578 w 154118"/>
                  <a:gd name="connsiteY12" fmla="*/ 33070 h 244329"/>
                  <a:gd name="connsiteX13" fmla="*/ 28578 w 154118"/>
                  <a:gd name="connsiteY13" fmla="*/ 43969 h 244329"/>
                  <a:gd name="connsiteX14" fmla="*/ 15460 w 154118"/>
                  <a:gd name="connsiteY14" fmla="*/ 57086 h 244329"/>
                  <a:gd name="connsiteX15" fmla="*/ 47000 w 154118"/>
                  <a:gd name="connsiteY15" fmla="*/ 139678 h 244329"/>
                  <a:gd name="connsiteX16" fmla="*/ 69364 w 154118"/>
                  <a:gd name="connsiteY16" fmla="*/ 192644 h 244329"/>
                  <a:gd name="connsiteX17" fmla="*/ 69364 w 154118"/>
                  <a:gd name="connsiteY17" fmla="*/ 208063 h 244329"/>
                  <a:gd name="connsiteX18" fmla="*/ 67104 w 154118"/>
                  <a:gd name="connsiteY18" fmla="*/ 213506 h 244329"/>
                  <a:gd name="connsiteX19" fmla="*/ 36280 w 154118"/>
                  <a:gd name="connsiteY19" fmla="*/ 244329 h 244329"/>
                  <a:gd name="connsiteX20" fmla="*/ 25381 w 154118"/>
                  <a:gd name="connsiteY20" fmla="*/ 233430 h 244329"/>
                  <a:gd name="connsiteX21" fmla="*/ 53945 w 154118"/>
                  <a:gd name="connsiteY21" fmla="*/ 204866 h 244329"/>
                  <a:gd name="connsiteX22" fmla="*/ 53945 w 154118"/>
                  <a:gd name="connsiteY22" fmla="*/ 192644 h 244329"/>
                  <a:gd name="connsiteX23" fmla="*/ 34089 w 154118"/>
                  <a:gd name="connsiteY23" fmla="*/ 148111 h 244329"/>
                  <a:gd name="connsiteX24" fmla="*/ 0 w 154118"/>
                  <a:gd name="connsiteY24" fmla="*/ 53931 h 244329"/>
                  <a:gd name="connsiteX25" fmla="*/ 2260 w 154118"/>
                  <a:gd name="connsiteY25" fmla="*/ 48488 h 244329"/>
                  <a:gd name="connsiteX26" fmla="*/ 12222 w 154118"/>
                  <a:gd name="connsiteY26" fmla="*/ 38526 h 244329"/>
                  <a:gd name="connsiteX27" fmla="*/ 2260 w 154118"/>
                  <a:gd name="connsiteY27" fmla="*/ 28564 h 244329"/>
                  <a:gd name="connsiteX28" fmla="*/ 0 w 154118"/>
                  <a:gd name="connsiteY28" fmla="*/ 23121 h 244329"/>
                  <a:gd name="connsiteX29" fmla="*/ 0 w 154118"/>
                  <a:gd name="connsiteY29" fmla="*/ 7702 h 244329"/>
                  <a:gd name="connsiteX30" fmla="*/ 7703 w 154118"/>
                  <a:gd name="connsiteY30" fmla="*/ 0 h 244329"/>
                  <a:gd name="connsiteX31" fmla="*/ 146416 w 154118"/>
                  <a:gd name="connsiteY31" fmla="*/ 0 h 244329"/>
                  <a:gd name="connsiteX32" fmla="*/ 154118 w 154118"/>
                  <a:gd name="connsiteY32" fmla="*/ 7702 h 244329"/>
                  <a:gd name="connsiteX33" fmla="*/ 154118 w 154118"/>
                  <a:gd name="connsiteY33" fmla="*/ 23121 h 244329"/>
                  <a:gd name="connsiteX34" fmla="*/ 151859 w 154118"/>
                  <a:gd name="connsiteY34" fmla="*/ 28564 h 244329"/>
                  <a:gd name="connsiteX35" fmla="*/ 141896 w 154118"/>
                  <a:gd name="connsiteY35" fmla="*/ 38526 h 244329"/>
                  <a:gd name="connsiteX36" fmla="*/ 151859 w 154118"/>
                  <a:gd name="connsiteY36" fmla="*/ 48488 h 244329"/>
                  <a:gd name="connsiteX37" fmla="*/ 154118 w 154118"/>
                  <a:gd name="connsiteY37" fmla="*/ 53931 h 244329"/>
                  <a:gd name="connsiteX38" fmla="*/ 120029 w 154118"/>
                  <a:gd name="connsiteY38" fmla="*/ 148111 h 244329"/>
                  <a:gd name="connsiteX39" fmla="*/ 100173 w 154118"/>
                  <a:gd name="connsiteY39" fmla="*/ 192644 h 244329"/>
                  <a:gd name="connsiteX40" fmla="*/ 100173 w 154118"/>
                  <a:gd name="connsiteY40" fmla="*/ 204866 h 244329"/>
                  <a:gd name="connsiteX41" fmla="*/ 128737 w 154118"/>
                  <a:gd name="connsiteY41" fmla="*/ 233430 h 244329"/>
                  <a:gd name="connsiteX42" fmla="*/ 117852 w 154118"/>
                  <a:gd name="connsiteY42" fmla="*/ 244329 h 244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4118" h="244329">
                    <a:moveTo>
                      <a:pt x="117852" y="244329"/>
                    </a:moveTo>
                    <a:lnTo>
                      <a:pt x="87028" y="213506"/>
                    </a:lnTo>
                    <a:cubicBezTo>
                      <a:pt x="85581" y="212059"/>
                      <a:pt x="84769" y="210102"/>
                      <a:pt x="84769" y="208063"/>
                    </a:cubicBezTo>
                    <a:lnTo>
                      <a:pt x="84769" y="192644"/>
                    </a:lnTo>
                    <a:cubicBezTo>
                      <a:pt x="84769" y="173891"/>
                      <a:pt x="95626" y="157274"/>
                      <a:pt x="107132" y="139678"/>
                    </a:cubicBezTo>
                    <a:cubicBezTo>
                      <a:pt x="121517" y="117673"/>
                      <a:pt x="137763" y="92829"/>
                      <a:pt x="138672" y="57086"/>
                    </a:cubicBezTo>
                    <a:lnTo>
                      <a:pt x="125554" y="43969"/>
                    </a:lnTo>
                    <a:cubicBezTo>
                      <a:pt x="122537" y="40965"/>
                      <a:pt x="122537" y="36087"/>
                      <a:pt x="125554" y="33070"/>
                    </a:cubicBezTo>
                    <a:lnTo>
                      <a:pt x="138713" y="19911"/>
                    </a:lnTo>
                    <a:lnTo>
                      <a:pt x="138713" y="15391"/>
                    </a:lnTo>
                    <a:lnTo>
                      <a:pt x="15419" y="15391"/>
                    </a:lnTo>
                    <a:lnTo>
                      <a:pt x="15419" y="19911"/>
                    </a:lnTo>
                    <a:lnTo>
                      <a:pt x="28578" y="33070"/>
                    </a:lnTo>
                    <a:cubicBezTo>
                      <a:pt x="31581" y="36073"/>
                      <a:pt x="31581" y="40951"/>
                      <a:pt x="28578" y="43969"/>
                    </a:cubicBezTo>
                    <a:lnTo>
                      <a:pt x="15460" y="57086"/>
                    </a:lnTo>
                    <a:cubicBezTo>
                      <a:pt x="16369" y="92829"/>
                      <a:pt x="32615" y="117673"/>
                      <a:pt x="47000" y="139678"/>
                    </a:cubicBezTo>
                    <a:cubicBezTo>
                      <a:pt x="58506" y="157274"/>
                      <a:pt x="69364" y="173891"/>
                      <a:pt x="69364" y="192644"/>
                    </a:cubicBezTo>
                    <a:lnTo>
                      <a:pt x="69364" y="208063"/>
                    </a:lnTo>
                    <a:cubicBezTo>
                      <a:pt x="69364" y="210102"/>
                      <a:pt x="68551" y="212073"/>
                      <a:pt x="67104" y="213506"/>
                    </a:cubicBezTo>
                    <a:lnTo>
                      <a:pt x="36280" y="244329"/>
                    </a:lnTo>
                    <a:lnTo>
                      <a:pt x="25381" y="233430"/>
                    </a:lnTo>
                    <a:lnTo>
                      <a:pt x="53945" y="204866"/>
                    </a:lnTo>
                    <a:lnTo>
                      <a:pt x="53945" y="192644"/>
                    </a:lnTo>
                    <a:cubicBezTo>
                      <a:pt x="53945" y="178480"/>
                      <a:pt x="44741" y="164411"/>
                      <a:pt x="34089" y="148111"/>
                    </a:cubicBezTo>
                    <a:cubicBezTo>
                      <a:pt x="18905" y="124879"/>
                      <a:pt x="0" y="95971"/>
                      <a:pt x="0" y="53931"/>
                    </a:cubicBezTo>
                    <a:cubicBezTo>
                      <a:pt x="0" y="51892"/>
                      <a:pt x="813" y="49921"/>
                      <a:pt x="2260" y="48488"/>
                    </a:cubicBezTo>
                    <a:lnTo>
                      <a:pt x="12222" y="38526"/>
                    </a:lnTo>
                    <a:lnTo>
                      <a:pt x="2260" y="28564"/>
                    </a:lnTo>
                    <a:cubicBezTo>
                      <a:pt x="813" y="27117"/>
                      <a:pt x="0" y="25160"/>
                      <a:pt x="0" y="23121"/>
                    </a:cubicBezTo>
                    <a:lnTo>
                      <a:pt x="0" y="7702"/>
                    </a:lnTo>
                    <a:cubicBezTo>
                      <a:pt x="0" y="3445"/>
                      <a:pt x="3445" y="0"/>
                      <a:pt x="7703" y="0"/>
                    </a:cubicBezTo>
                    <a:lnTo>
                      <a:pt x="146416" y="0"/>
                    </a:lnTo>
                    <a:cubicBezTo>
                      <a:pt x="150674" y="0"/>
                      <a:pt x="154118" y="3445"/>
                      <a:pt x="154118" y="7702"/>
                    </a:cubicBezTo>
                    <a:lnTo>
                      <a:pt x="154118" y="23121"/>
                    </a:lnTo>
                    <a:cubicBezTo>
                      <a:pt x="154118" y="25160"/>
                      <a:pt x="153305" y="27131"/>
                      <a:pt x="151859" y="28564"/>
                    </a:cubicBezTo>
                    <a:lnTo>
                      <a:pt x="141896" y="38526"/>
                    </a:lnTo>
                    <a:lnTo>
                      <a:pt x="151859" y="48488"/>
                    </a:lnTo>
                    <a:cubicBezTo>
                      <a:pt x="153305" y="49935"/>
                      <a:pt x="154118" y="51892"/>
                      <a:pt x="154118" y="53931"/>
                    </a:cubicBezTo>
                    <a:cubicBezTo>
                      <a:pt x="154118" y="95971"/>
                      <a:pt x="135213" y="124879"/>
                      <a:pt x="120029" y="148111"/>
                    </a:cubicBezTo>
                    <a:cubicBezTo>
                      <a:pt x="109378" y="164411"/>
                      <a:pt x="100173" y="178480"/>
                      <a:pt x="100173" y="192644"/>
                    </a:cubicBezTo>
                    <a:lnTo>
                      <a:pt x="100173" y="204866"/>
                    </a:lnTo>
                    <a:lnTo>
                      <a:pt x="128737" y="233430"/>
                    </a:lnTo>
                    <a:lnTo>
                      <a:pt x="117852" y="244329"/>
                    </a:lnTo>
                    <a:close/>
                  </a:path>
                </a:pathLst>
              </a:custGeom>
              <a:solidFill>
                <a:schemeClr val="accent1"/>
              </a:solidFill>
              <a:ln w="1375" cap="flat">
                <a:noFill/>
                <a:prstDash val="solid"/>
                <a:miter/>
              </a:ln>
            </p:spPr>
            <p:txBody>
              <a:bodyPr rtlCol="0" anchor="ctr"/>
              <a:lstStyle/>
              <a:p>
                <a:endParaRPr lang="en-GB" dirty="0"/>
              </a:p>
            </p:txBody>
          </p:sp>
          <p:sp>
            <p:nvSpPr>
              <p:cNvPr id="549" name="Freihandform: Form 548">
                <a:extLst>
                  <a:ext uri="{FF2B5EF4-FFF2-40B4-BE49-F238E27FC236}">
                    <a16:creationId xmlns:a16="http://schemas.microsoft.com/office/drawing/2014/main" id="{C83A6707-4494-4AC7-B6CB-0142E59ADB1D}"/>
                  </a:ext>
                </a:extLst>
              </p:cNvPr>
              <p:cNvSpPr/>
              <p:nvPr/>
            </p:nvSpPr>
            <p:spPr>
              <a:xfrm>
                <a:off x="1602756" y="1615380"/>
                <a:ext cx="86973" cy="176922"/>
              </a:xfrm>
              <a:custGeom>
                <a:avLst/>
                <a:gdLst>
                  <a:gd name="connsiteX0" fmla="*/ 4423 w 86973"/>
                  <a:gd name="connsiteY0" fmla="*/ 176923 h 176922"/>
                  <a:gd name="connsiteX1" fmla="*/ 0 w 86973"/>
                  <a:gd name="connsiteY1" fmla="*/ 162151 h 176922"/>
                  <a:gd name="connsiteX2" fmla="*/ 71568 w 86973"/>
                  <a:gd name="connsiteY2" fmla="*/ 53945 h 176922"/>
                  <a:gd name="connsiteX3" fmla="*/ 71568 w 86973"/>
                  <a:gd name="connsiteY3" fmla="*/ 30837 h 176922"/>
                  <a:gd name="connsiteX4" fmla="*/ 56149 w 86973"/>
                  <a:gd name="connsiteY4" fmla="*/ 15419 h 176922"/>
                  <a:gd name="connsiteX5" fmla="*/ 33028 w 86973"/>
                  <a:gd name="connsiteY5" fmla="*/ 15419 h 176922"/>
                  <a:gd name="connsiteX6" fmla="*/ 25326 w 86973"/>
                  <a:gd name="connsiteY6" fmla="*/ 23121 h 176922"/>
                  <a:gd name="connsiteX7" fmla="*/ 9907 w 86973"/>
                  <a:gd name="connsiteY7" fmla="*/ 23121 h 176922"/>
                  <a:gd name="connsiteX8" fmla="*/ 33028 w 86973"/>
                  <a:gd name="connsiteY8" fmla="*/ 0 h 176922"/>
                  <a:gd name="connsiteX9" fmla="*/ 56149 w 86973"/>
                  <a:gd name="connsiteY9" fmla="*/ 0 h 176922"/>
                  <a:gd name="connsiteX10" fmla="*/ 86973 w 86973"/>
                  <a:gd name="connsiteY10" fmla="*/ 30824 h 176922"/>
                  <a:gd name="connsiteX11" fmla="*/ 86973 w 86973"/>
                  <a:gd name="connsiteY11" fmla="*/ 53945 h 176922"/>
                  <a:gd name="connsiteX12" fmla="*/ 4423 w 86973"/>
                  <a:gd name="connsiteY12" fmla="*/ 176923 h 176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6973" h="176922">
                    <a:moveTo>
                      <a:pt x="4423" y="176923"/>
                    </a:moveTo>
                    <a:lnTo>
                      <a:pt x="0" y="162151"/>
                    </a:lnTo>
                    <a:cubicBezTo>
                      <a:pt x="2907" y="161270"/>
                      <a:pt x="71568" y="139306"/>
                      <a:pt x="71568" y="53945"/>
                    </a:cubicBezTo>
                    <a:lnTo>
                      <a:pt x="71568" y="30837"/>
                    </a:lnTo>
                    <a:cubicBezTo>
                      <a:pt x="71568" y="22336"/>
                      <a:pt x="64651" y="15419"/>
                      <a:pt x="56149" y="15419"/>
                    </a:cubicBezTo>
                    <a:lnTo>
                      <a:pt x="33028" y="15419"/>
                    </a:lnTo>
                    <a:cubicBezTo>
                      <a:pt x="28784" y="15419"/>
                      <a:pt x="25326" y="18877"/>
                      <a:pt x="25326" y="23121"/>
                    </a:cubicBezTo>
                    <a:lnTo>
                      <a:pt x="9907" y="23121"/>
                    </a:lnTo>
                    <a:cubicBezTo>
                      <a:pt x="9907" y="10376"/>
                      <a:pt x="20283" y="0"/>
                      <a:pt x="33028" y="0"/>
                    </a:cubicBezTo>
                    <a:lnTo>
                      <a:pt x="56149" y="0"/>
                    </a:lnTo>
                    <a:cubicBezTo>
                      <a:pt x="73139" y="0"/>
                      <a:pt x="86973" y="13834"/>
                      <a:pt x="86973" y="30824"/>
                    </a:cubicBezTo>
                    <a:lnTo>
                      <a:pt x="86973" y="53945"/>
                    </a:lnTo>
                    <a:cubicBezTo>
                      <a:pt x="86987" y="151032"/>
                      <a:pt x="5264" y="176675"/>
                      <a:pt x="4423" y="176923"/>
                    </a:cubicBezTo>
                    <a:close/>
                  </a:path>
                </a:pathLst>
              </a:custGeom>
              <a:solidFill>
                <a:schemeClr val="accent1"/>
              </a:solidFill>
              <a:ln w="1375" cap="flat">
                <a:noFill/>
                <a:prstDash val="solid"/>
                <a:miter/>
              </a:ln>
            </p:spPr>
            <p:txBody>
              <a:bodyPr rtlCol="0" anchor="ctr"/>
              <a:lstStyle/>
              <a:p>
                <a:endParaRPr lang="en-GB" dirty="0"/>
              </a:p>
            </p:txBody>
          </p:sp>
          <p:sp>
            <p:nvSpPr>
              <p:cNvPr id="550" name="Freihandform: Form 549">
                <a:extLst>
                  <a:ext uri="{FF2B5EF4-FFF2-40B4-BE49-F238E27FC236}">
                    <a16:creationId xmlns:a16="http://schemas.microsoft.com/office/drawing/2014/main" id="{9BA85C73-A2F2-407D-8DBF-51BFE938746E}"/>
                  </a:ext>
                </a:extLst>
              </p:cNvPr>
              <p:cNvSpPr/>
              <p:nvPr/>
            </p:nvSpPr>
            <p:spPr>
              <a:xfrm>
                <a:off x="1443140" y="1615394"/>
                <a:ext cx="86986" cy="176908"/>
              </a:xfrm>
              <a:custGeom>
                <a:avLst/>
                <a:gdLst>
                  <a:gd name="connsiteX0" fmla="*/ 82564 w 86986"/>
                  <a:gd name="connsiteY0" fmla="*/ 176909 h 176908"/>
                  <a:gd name="connsiteX1" fmla="*/ 14 w 86986"/>
                  <a:gd name="connsiteY1" fmla="*/ 53931 h 176908"/>
                  <a:gd name="connsiteX2" fmla="*/ 7716 w 86986"/>
                  <a:gd name="connsiteY2" fmla="*/ 41943 h 176908"/>
                  <a:gd name="connsiteX3" fmla="*/ 15419 w 86986"/>
                  <a:gd name="connsiteY3" fmla="*/ 53931 h 176908"/>
                  <a:gd name="connsiteX4" fmla="*/ 86987 w 86986"/>
                  <a:gd name="connsiteY4" fmla="*/ 162138 h 176908"/>
                  <a:gd name="connsiteX5" fmla="*/ 82564 w 86986"/>
                  <a:gd name="connsiteY5" fmla="*/ 176909 h 176908"/>
                  <a:gd name="connsiteX6" fmla="*/ 7716 w 86986"/>
                  <a:gd name="connsiteY6" fmla="*/ 38526 h 176908"/>
                  <a:gd name="connsiteX7" fmla="*/ 5250 w 86986"/>
                  <a:gd name="connsiteY7" fmla="*/ 38127 h 176908"/>
                  <a:gd name="connsiteX8" fmla="*/ 0 w 86986"/>
                  <a:gd name="connsiteY8" fmla="*/ 30824 h 176908"/>
                  <a:gd name="connsiteX9" fmla="*/ 0 w 86986"/>
                  <a:gd name="connsiteY9" fmla="*/ 29969 h 176908"/>
                  <a:gd name="connsiteX10" fmla="*/ 14 w 86986"/>
                  <a:gd name="connsiteY10" fmla="*/ 29983 h 176908"/>
                  <a:gd name="connsiteX11" fmla="*/ 30837 w 86986"/>
                  <a:gd name="connsiteY11" fmla="*/ 0 h 176908"/>
                  <a:gd name="connsiteX12" fmla="*/ 53959 w 86986"/>
                  <a:gd name="connsiteY12" fmla="*/ 0 h 176908"/>
                  <a:gd name="connsiteX13" fmla="*/ 77080 w 86986"/>
                  <a:gd name="connsiteY13" fmla="*/ 23121 h 176908"/>
                  <a:gd name="connsiteX14" fmla="*/ 61661 w 86986"/>
                  <a:gd name="connsiteY14" fmla="*/ 23121 h 176908"/>
                  <a:gd name="connsiteX15" fmla="*/ 53959 w 86986"/>
                  <a:gd name="connsiteY15" fmla="*/ 15419 h 176908"/>
                  <a:gd name="connsiteX16" fmla="*/ 30837 w 86986"/>
                  <a:gd name="connsiteY16" fmla="*/ 15419 h 176908"/>
                  <a:gd name="connsiteX17" fmla="*/ 15419 w 86986"/>
                  <a:gd name="connsiteY17" fmla="*/ 30837 h 176908"/>
                  <a:gd name="connsiteX18" fmla="*/ 10169 w 86986"/>
                  <a:gd name="connsiteY18" fmla="*/ 38140 h 176908"/>
                  <a:gd name="connsiteX19" fmla="*/ 7716 w 86986"/>
                  <a:gd name="connsiteY19" fmla="*/ 38526 h 176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6986" h="176908">
                    <a:moveTo>
                      <a:pt x="82564" y="176909"/>
                    </a:moveTo>
                    <a:cubicBezTo>
                      <a:pt x="81737" y="176661"/>
                      <a:pt x="14" y="151018"/>
                      <a:pt x="14" y="53931"/>
                    </a:cubicBezTo>
                    <a:lnTo>
                      <a:pt x="7716" y="41943"/>
                    </a:lnTo>
                    <a:lnTo>
                      <a:pt x="15419" y="53931"/>
                    </a:lnTo>
                    <a:cubicBezTo>
                      <a:pt x="15419" y="139678"/>
                      <a:pt x="86270" y="161931"/>
                      <a:pt x="86987" y="162138"/>
                    </a:cubicBezTo>
                    <a:lnTo>
                      <a:pt x="82564" y="176909"/>
                    </a:lnTo>
                    <a:close/>
                    <a:moveTo>
                      <a:pt x="7716" y="38526"/>
                    </a:moveTo>
                    <a:cubicBezTo>
                      <a:pt x="6848" y="38526"/>
                      <a:pt x="6035" y="38388"/>
                      <a:pt x="5250" y="38127"/>
                    </a:cubicBezTo>
                    <a:cubicBezTo>
                      <a:pt x="2205" y="37107"/>
                      <a:pt x="0" y="34213"/>
                      <a:pt x="0" y="30824"/>
                    </a:cubicBezTo>
                    <a:lnTo>
                      <a:pt x="0" y="29969"/>
                    </a:lnTo>
                    <a:lnTo>
                      <a:pt x="14" y="29983"/>
                    </a:lnTo>
                    <a:cubicBezTo>
                      <a:pt x="469" y="13379"/>
                      <a:pt x="14110" y="0"/>
                      <a:pt x="30837" y="0"/>
                    </a:cubicBezTo>
                    <a:lnTo>
                      <a:pt x="53959" y="0"/>
                    </a:lnTo>
                    <a:cubicBezTo>
                      <a:pt x="66704" y="0"/>
                      <a:pt x="77080" y="10376"/>
                      <a:pt x="77080" y="23121"/>
                    </a:cubicBezTo>
                    <a:lnTo>
                      <a:pt x="61661" y="23121"/>
                    </a:lnTo>
                    <a:cubicBezTo>
                      <a:pt x="61661" y="18877"/>
                      <a:pt x="58203" y="15419"/>
                      <a:pt x="53959" y="15419"/>
                    </a:cubicBezTo>
                    <a:lnTo>
                      <a:pt x="30837" y="15419"/>
                    </a:lnTo>
                    <a:cubicBezTo>
                      <a:pt x="22336" y="15419"/>
                      <a:pt x="15419" y="22336"/>
                      <a:pt x="15419" y="30837"/>
                    </a:cubicBezTo>
                    <a:cubicBezTo>
                      <a:pt x="15419" y="34227"/>
                      <a:pt x="13214" y="37121"/>
                      <a:pt x="10169" y="38140"/>
                    </a:cubicBezTo>
                    <a:cubicBezTo>
                      <a:pt x="9397" y="38388"/>
                      <a:pt x="8571" y="38526"/>
                      <a:pt x="7716" y="38526"/>
                    </a:cubicBezTo>
                    <a:close/>
                  </a:path>
                </a:pathLst>
              </a:custGeom>
              <a:solidFill>
                <a:schemeClr val="accent1"/>
              </a:solidFill>
              <a:ln w="1375" cap="flat">
                <a:noFill/>
                <a:prstDash val="solid"/>
                <a:miter/>
              </a:ln>
            </p:spPr>
            <p:txBody>
              <a:bodyPr rtlCol="0" anchor="ctr"/>
              <a:lstStyle/>
              <a:p>
                <a:endParaRPr lang="en-GB" dirty="0"/>
              </a:p>
            </p:txBody>
          </p:sp>
          <p:sp>
            <p:nvSpPr>
              <p:cNvPr id="551" name="Freihandform: Form 550">
                <a:extLst>
                  <a:ext uri="{FF2B5EF4-FFF2-40B4-BE49-F238E27FC236}">
                    <a16:creationId xmlns:a16="http://schemas.microsoft.com/office/drawing/2014/main" id="{724DE970-46F2-4ADC-A53A-75AE39E0DC40}"/>
                  </a:ext>
                </a:extLst>
              </p:cNvPr>
              <p:cNvSpPr/>
              <p:nvPr/>
            </p:nvSpPr>
            <p:spPr>
              <a:xfrm>
                <a:off x="1558732" y="1707864"/>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52" name="Freihandform: Form 551">
                <a:extLst>
                  <a:ext uri="{FF2B5EF4-FFF2-40B4-BE49-F238E27FC236}">
                    <a16:creationId xmlns:a16="http://schemas.microsoft.com/office/drawing/2014/main" id="{8EFDCD79-B765-4DB1-B1A4-1E346FED02A2}"/>
                  </a:ext>
                </a:extLst>
              </p:cNvPr>
              <p:cNvSpPr/>
              <p:nvPr/>
            </p:nvSpPr>
            <p:spPr>
              <a:xfrm>
                <a:off x="1527908" y="1707864"/>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53" name="Freihandform: Form 552">
                <a:extLst>
                  <a:ext uri="{FF2B5EF4-FFF2-40B4-BE49-F238E27FC236}">
                    <a16:creationId xmlns:a16="http://schemas.microsoft.com/office/drawing/2014/main" id="{CDD1ED8A-467D-44A6-888B-7584ED150E21}"/>
                  </a:ext>
                </a:extLst>
              </p:cNvPr>
              <p:cNvSpPr/>
              <p:nvPr/>
            </p:nvSpPr>
            <p:spPr>
              <a:xfrm>
                <a:off x="1589556" y="1707864"/>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accent1"/>
              </a:solidFill>
              <a:ln w="1375" cap="flat">
                <a:noFill/>
                <a:prstDash val="solid"/>
                <a:miter/>
              </a:ln>
            </p:spPr>
            <p:txBody>
              <a:bodyPr rtlCol="0" anchor="ctr"/>
              <a:lstStyle/>
              <a:p>
                <a:endParaRPr lang="en-GB" dirty="0"/>
              </a:p>
            </p:txBody>
          </p:sp>
        </p:grpSp>
        <p:grpSp>
          <p:nvGrpSpPr>
            <p:cNvPr id="643" name="Gruppieren 642">
              <a:extLst>
                <a:ext uri="{FF2B5EF4-FFF2-40B4-BE49-F238E27FC236}">
                  <a16:creationId xmlns:a16="http://schemas.microsoft.com/office/drawing/2014/main" id="{D6D2503E-2EF2-4741-B6B4-BBD5660E9426}"/>
                </a:ext>
              </a:extLst>
            </p:cNvPr>
            <p:cNvGrpSpPr/>
            <p:nvPr/>
          </p:nvGrpSpPr>
          <p:grpSpPr>
            <a:xfrm>
              <a:off x="1319845" y="1908225"/>
              <a:ext cx="493178" cy="200360"/>
              <a:chOff x="1319845" y="1908225"/>
              <a:chExt cx="493178" cy="200360"/>
            </a:xfrm>
          </p:grpSpPr>
          <p:sp>
            <p:nvSpPr>
              <p:cNvPr id="542" name="Freihandform: Form 541">
                <a:extLst>
                  <a:ext uri="{FF2B5EF4-FFF2-40B4-BE49-F238E27FC236}">
                    <a16:creationId xmlns:a16="http://schemas.microsoft.com/office/drawing/2014/main" id="{87D1C130-C13C-48A0-A951-61064FBA02ED}"/>
                  </a:ext>
                </a:extLst>
              </p:cNvPr>
              <p:cNvSpPr/>
              <p:nvPr/>
            </p:nvSpPr>
            <p:spPr>
              <a:xfrm>
                <a:off x="1319845" y="2093167"/>
                <a:ext cx="493178" cy="15418"/>
              </a:xfrm>
              <a:custGeom>
                <a:avLst/>
                <a:gdLst>
                  <a:gd name="connsiteX0" fmla="*/ 0 w 493178"/>
                  <a:gd name="connsiteY0" fmla="*/ 0 h 15418"/>
                  <a:gd name="connsiteX1" fmla="*/ 493179 w 493178"/>
                  <a:gd name="connsiteY1" fmla="*/ 0 h 15418"/>
                  <a:gd name="connsiteX2" fmla="*/ 493179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9" y="0"/>
                    </a:lnTo>
                    <a:lnTo>
                      <a:pt x="49317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43" name="Freihandform: Form 542">
                <a:extLst>
                  <a:ext uri="{FF2B5EF4-FFF2-40B4-BE49-F238E27FC236}">
                    <a16:creationId xmlns:a16="http://schemas.microsoft.com/office/drawing/2014/main" id="{9F6D6EB5-9524-46E2-A40B-55F41F5552CF}"/>
                  </a:ext>
                </a:extLst>
              </p:cNvPr>
              <p:cNvSpPr/>
              <p:nvPr/>
            </p:nvSpPr>
            <p:spPr>
              <a:xfrm>
                <a:off x="1473963" y="1908225"/>
                <a:ext cx="184955" cy="192644"/>
              </a:xfrm>
              <a:custGeom>
                <a:avLst/>
                <a:gdLst>
                  <a:gd name="connsiteX0" fmla="*/ 184956 w 184955"/>
                  <a:gd name="connsiteY0" fmla="*/ 192644 h 192644"/>
                  <a:gd name="connsiteX1" fmla="*/ 169537 w 184955"/>
                  <a:gd name="connsiteY1" fmla="*/ 192644 h 192644"/>
                  <a:gd name="connsiteX2" fmla="*/ 169537 w 184955"/>
                  <a:gd name="connsiteY2" fmla="*/ 15405 h 192644"/>
                  <a:gd name="connsiteX3" fmla="*/ 15419 w 184955"/>
                  <a:gd name="connsiteY3" fmla="*/ 15405 h 192644"/>
                  <a:gd name="connsiteX4" fmla="*/ 15419 w 184955"/>
                  <a:gd name="connsiteY4" fmla="*/ 192644 h 192644"/>
                  <a:gd name="connsiteX5" fmla="*/ 0 w 184955"/>
                  <a:gd name="connsiteY5" fmla="*/ 192644 h 192644"/>
                  <a:gd name="connsiteX6" fmla="*/ 0 w 184955"/>
                  <a:gd name="connsiteY6" fmla="*/ 7702 h 192644"/>
                  <a:gd name="connsiteX7" fmla="*/ 7703 w 184955"/>
                  <a:gd name="connsiteY7" fmla="*/ 0 h 192644"/>
                  <a:gd name="connsiteX8" fmla="*/ 177239 w 184955"/>
                  <a:gd name="connsiteY8" fmla="*/ 0 h 192644"/>
                  <a:gd name="connsiteX9" fmla="*/ 184942 w 184955"/>
                  <a:gd name="connsiteY9" fmla="*/ 7702 h 192644"/>
                  <a:gd name="connsiteX10" fmla="*/ 184942 w 184955"/>
                  <a:gd name="connsiteY10" fmla="*/ 192644 h 192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955" h="192644">
                    <a:moveTo>
                      <a:pt x="184956" y="192644"/>
                    </a:moveTo>
                    <a:lnTo>
                      <a:pt x="169537" y="192644"/>
                    </a:lnTo>
                    <a:lnTo>
                      <a:pt x="169537" y="15405"/>
                    </a:lnTo>
                    <a:lnTo>
                      <a:pt x="15419" y="15405"/>
                    </a:lnTo>
                    <a:lnTo>
                      <a:pt x="15419" y="192644"/>
                    </a:lnTo>
                    <a:lnTo>
                      <a:pt x="0" y="192644"/>
                    </a:lnTo>
                    <a:lnTo>
                      <a:pt x="0" y="7702"/>
                    </a:lnTo>
                    <a:cubicBezTo>
                      <a:pt x="0" y="3445"/>
                      <a:pt x="3445" y="0"/>
                      <a:pt x="7703" y="0"/>
                    </a:cubicBezTo>
                    <a:lnTo>
                      <a:pt x="177239" y="0"/>
                    </a:lnTo>
                    <a:cubicBezTo>
                      <a:pt x="181497" y="0"/>
                      <a:pt x="184942" y="3445"/>
                      <a:pt x="184942" y="7702"/>
                    </a:cubicBezTo>
                    <a:lnTo>
                      <a:pt x="184942" y="192644"/>
                    </a:lnTo>
                    <a:close/>
                  </a:path>
                </a:pathLst>
              </a:custGeom>
              <a:solidFill>
                <a:schemeClr val="tx2"/>
              </a:solidFill>
              <a:ln w="1375" cap="flat">
                <a:noFill/>
                <a:prstDash val="solid"/>
                <a:miter/>
              </a:ln>
            </p:spPr>
            <p:txBody>
              <a:bodyPr rtlCol="0" anchor="ctr"/>
              <a:lstStyle/>
              <a:p>
                <a:endParaRPr lang="en-GB" dirty="0"/>
              </a:p>
            </p:txBody>
          </p:sp>
          <p:sp>
            <p:nvSpPr>
              <p:cNvPr id="544" name="Freihandform: Form 543">
                <a:extLst>
                  <a:ext uri="{FF2B5EF4-FFF2-40B4-BE49-F238E27FC236}">
                    <a16:creationId xmlns:a16="http://schemas.microsoft.com/office/drawing/2014/main" id="{A597941E-7838-4D79-9C0A-85412EFDB5E7}"/>
                  </a:ext>
                </a:extLst>
              </p:cNvPr>
              <p:cNvSpPr/>
              <p:nvPr/>
            </p:nvSpPr>
            <p:spPr>
              <a:xfrm>
                <a:off x="1674310" y="2000682"/>
                <a:ext cx="123308" cy="100187"/>
              </a:xfrm>
              <a:custGeom>
                <a:avLst/>
                <a:gdLst>
                  <a:gd name="connsiteX0" fmla="*/ 123308 w 123308"/>
                  <a:gd name="connsiteY0" fmla="*/ 100187 h 100187"/>
                  <a:gd name="connsiteX1" fmla="*/ 107890 w 123308"/>
                  <a:gd name="connsiteY1" fmla="*/ 100187 h 100187"/>
                  <a:gd name="connsiteX2" fmla="*/ 107890 w 123308"/>
                  <a:gd name="connsiteY2" fmla="*/ 15419 h 100187"/>
                  <a:gd name="connsiteX3" fmla="*/ 0 w 123308"/>
                  <a:gd name="connsiteY3" fmla="*/ 15419 h 100187"/>
                  <a:gd name="connsiteX4" fmla="*/ 0 w 123308"/>
                  <a:gd name="connsiteY4" fmla="*/ 0 h 100187"/>
                  <a:gd name="connsiteX5" fmla="*/ 115592 w 123308"/>
                  <a:gd name="connsiteY5" fmla="*/ 0 h 100187"/>
                  <a:gd name="connsiteX6" fmla="*/ 123295 w 123308"/>
                  <a:gd name="connsiteY6" fmla="*/ 7702 h 100187"/>
                  <a:gd name="connsiteX7" fmla="*/ 123295 w 123308"/>
                  <a:gd name="connsiteY7" fmla="*/ 100187 h 100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308" h="100187">
                    <a:moveTo>
                      <a:pt x="123308" y="100187"/>
                    </a:moveTo>
                    <a:lnTo>
                      <a:pt x="107890" y="100187"/>
                    </a:lnTo>
                    <a:lnTo>
                      <a:pt x="107890" y="15419"/>
                    </a:lnTo>
                    <a:lnTo>
                      <a:pt x="0" y="15419"/>
                    </a:lnTo>
                    <a:lnTo>
                      <a:pt x="0" y="0"/>
                    </a:lnTo>
                    <a:lnTo>
                      <a:pt x="115592" y="0"/>
                    </a:lnTo>
                    <a:cubicBezTo>
                      <a:pt x="119850" y="0"/>
                      <a:pt x="123295" y="3445"/>
                      <a:pt x="123295" y="7702"/>
                    </a:cubicBezTo>
                    <a:lnTo>
                      <a:pt x="123295" y="100187"/>
                    </a:lnTo>
                    <a:close/>
                  </a:path>
                </a:pathLst>
              </a:custGeom>
              <a:solidFill>
                <a:schemeClr val="tx2"/>
              </a:solidFill>
              <a:ln w="1375" cap="flat">
                <a:noFill/>
                <a:prstDash val="solid"/>
                <a:miter/>
              </a:ln>
            </p:spPr>
            <p:txBody>
              <a:bodyPr rtlCol="0" anchor="ctr"/>
              <a:lstStyle/>
              <a:p>
                <a:endParaRPr lang="en-GB" dirty="0"/>
              </a:p>
            </p:txBody>
          </p:sp>
          <p:sp>
            <p:nvSpPr>
              <p:cNvPr id="545" name="Freihandform: Form 544">
                <a:extLst>
                  <a:ext uri="{FF2B5EF4-FFF2-40B4-BE49-F238E27FC236}">
                    <a16:creationId xmlns:a16="http://schemas.microsoft.com/office/drawing/2014/main" id="{D81F0887-D4EF-4EBC-9B99-02F2F2965A2A}"/>
                  </a:ext>
                </a:extLst>
              </p:cNvPr>
              <p:cNvSpPr/>
              <p:nvPr/>
            </p:nvSpPr>
            <p:spPr>
              <a:xfrm>
                <a:off x="1335250" y="1954467"/>
                <a:ext cx="123294" cy="146402"/>
              </a:xfrm>
              <a:custGeom>
                <a:avLst/>
                <a:gdLst>
                  <a:gd name="connsiteX0" fmla="*/ 15419 w 123294"/>
                  <a:gd name="connsiteY0" fmla="*/ 146402 h 146402"/>
                  <a:gd name="connsiteX1" fmla="*/ 0 w 123294"/>
                  <a:gd name="connsiteY1" fmla="*/ 146402 h 146402"/>
                  <a:gd name="connsiteX2" fmla="*/ 0 w 123294"/>
                  <a:gd name="connsiteY2" fmla="*/ 7702 h 146402"/>
                  <a:gd name="connsiteX3" fmla="*/ 7702 w 123294"/>
                  <a:gd name="connsiteY3" fmla="*/ 0 h 146402"/>
                  <a:gd name="connsiteX4" fmla="*/ 123295 w 123294"/>
                  <a:gd name="connsiteY4" fmla="*/ 0 h 146402"/>
                  <a:gd name="connsiteX5" fmla="*/ 123295 w 123294"/>
                  <a:gd name="connsiteY5" fmla="*/ 15419 h 146402"/>
                  <a:gd name="connsiteX6" fmla="*/ 15405 w 123294"/>
                  <a:gd name="connsiteY6" fmla="*/ 15419 h 146402"/>
                  <a:gd name="connsiteX7" fmla="*/ 15405 w 123294"/>
                  <a:gd name="connsiteY7" fmla="*/ 146402 h 146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294" h="146402">
                    <a:moveTo>
                      <a:pt x="15419" y="146402"/>
                    </a:moveTo>
                    <a:lnTo>
                      <a:pt x="0" y="146402"/>
                    </a:lnTo>
                    <a:lnTo>
                      <a:pt x="0" y="7702"/>
                    </a:lnTo>
                    <a:cubicBezTo>
                      <a:pt x="0" y="3445"/>
                      <a:pt x="3445" y="0"/>
                      <a:pt x="7702" y="0"/>
                    </a:cubicBezTo>
                    <a:lnTo>
                      <a:pt x="123295" y="0"/>
                    </a:lnTo>
                    <a:lnTo>
                      <a:pt x="123295" y="15419"/>
                    </a:lnTo>
                    <a:lnTo>
                      <a:pt x="15405" y="15419"/>
                    </a:lnTo>
                    <a:lnTo>
                      <a:pt x="15405" y="146402"/>
                    </a:lnTo>
                    <a:close/>
                  </a:path>
                </a:pathLst>
              </a:custGeom>
              <a:solidFill>
                <a:schemeClr val="tx2"/>
              </a:solidFill>
              <a:ln w="1375" cap="flat">
                <a:noFill/>
                <a:prstDash val="solid"/>
                <a:miter/>
              </a:ln>
            </p:spPr>
            <p:txBody>
              <a:bodyPr rtlCol="0" anchor="ctr"/>
              <a:lstStyle/>
              <a:p>
                <a:endParaRPr lang="en-GB" dirty="0"/>
              </a:p>
            </p:txBody>
          </p:sp>
          <p:sp>
            <p:nvSpPr>
              <p:cNvPr id="554" name="Freihandform: Form 553">
                <a:extLst>
                  <a:ext uri="{FF2B5EF4-FFF2-40B4-BE49-F238E27FC236}">
                    <a16:creationId xmlns:a16="http://schemas.microsoft.com/office/drawing/2014/main" id="{C90AAEE7-2E72-4332-BC18-B90C7DCC4C0A}"/>
                  </a:ext>
                </a:extLst>
              </p:cNvPr>
              <p:cNvSpPr/>
              <p:nvPr/>
            </p:nvSpPr>
            <p:spPr>
              <a:xfrm>
                <a:off x="1543313" y="1954454"/>
                <a:ext cx="30837" cy="77066"/>
              </a:xfrm>
              <a:custGeom>
                <a:avLst/>
                <a:gdLst>
                  <a:gd name="connsiteX0" fmla="*/ 30837 w 30837"/>
                  <a:gd name="connsiteY0" fmla="*/ 77066 h 77066"/>
                  <a:gd name="connsiteX1" fmla="*/ 15419 w 30837"/>
                  <a:gd name="connsiteY1" fmla="*/ 77066 h 77066"/>
                  <a:gd name="connsiteX2" fmla="*/ 15419 w 30837"/>
                  <a:gd name="connsiteY2" fmla="*/ 15419 h 77066"/>
                  <a:gd name="connsiteX3" fmla="*/ 0 w 30837"/>
                  <a:gd name="connsiteY3" fmla="*/ 15419 h 77066"/>
                  <a:gd name="connsiteX4" fmla="*/ 0 w 30837"/>
                  <a:gd name="connsiteY4" fmla="*/ 0 h 77066"/>
                  <a:gd name="connsiteX5" fmla="*/ 23121 w 30837"/>
                  <a:gd name="connsiteY5" fmla="*/ 0 h 77066"/>
                  <a:gd name="connsiteX6" fmla="*/ 30824 w 30837"/>
                  <a:gd name="connsiteY6" fmla="*/ 7702 h 77066"/>
                  <a:gd name="connsiteX7" fmla="*/ 30824 w 30837"/>
                  <a:gd name="connsiteY7" fmla="*/ 77066 h 77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837" h="77066">
                    <a:moveTo>
                      <a:pt x="30837" y="77066"/>
                    </a:moveTo>
                    <a:lnTo>
                      <a:pt x="15419" y="77066"/>
                    </a:lnTo>
                    <a:lnTo>
                      <a:pt x="15419" y="15419"/>
                    </a:lnTo>
                    <a:lnTo>
                      <a:pt x="0" y="15419"/>
                    </a:lnTo>
                    <a:lnTo>
                      <a:pt x="0" y="0"/>
                    </a:lnTo>
                    <a:lnTo>
                      <a:pt x="23121" y="0"/>
                    </a:lnTo>
                    <a:cubicBezTo>
                      <a:pt x="27379" y="0"/>
                      <a:pt x="30824" y="3445"/>
                      <a:pt x="30824" y="7702"/>
                    </a:cubicBezTo>
                    <a:lnTo>
                      <a:pt x="30824" y="77066"/>
                    </a:lnTo>
                    <a:close/>
                  </a:path>
                </a:pathLst>
              </a:custGeom>
              <a:solidFill>
                <a:schemeClr val="tx2"/>
              </a:solidFill>
              <a:ln w="1375" cap="flat">
                <a:noFill/>
                <a:prstDash val="solid"/>
                <a:miter/>
              </a:ln>
            </p:spPr>
            <p:txBody>
              <a:bodyPr rtlCol="0" anchor="ctr"/>
              <a:lstStyle/>
              <a:p>
                <a:endParaRPr lang="en-GB" dirty="0"/>
              </a:p>
            </p:txBody>
          </p:sp>
          <p:sp>
            <p:nvSpPr>
              <p:cNvPr id="555" name="Freihandform: Form 554">
                <a:extLst>
                  <a:ext uri="{FF2B5EF4-FFF2-40B4-BE49-F238E27FC236}">
                    <a16:creationId xmlns:a16="http://schemas.microsoft.com/office/drawing/2014/main" id="{A2FC6BA8-D76D-4223-B22D-388C97350EE5}"/>
                  </a:ext>
                </a:extLst>
              </p:cNvPr>
              <p:cNvSpPr/>
              <p:nvPr/>
            </p:nvSpPr>
            <p:spPr>
              <a:xfrm>
                <a:off x="1481680" y="2062343"/>
                <a:ext cx="169536" cy="15418"/>
              </a:xfrm>
              <a:custGeom>
                <a:avLst/>
                <a:gdLst>
                  <a:gd name="connsiteX0" fmla="*/ 0 w 169536"/>
                  <a:gd name="connsiteY0" fmla="*/ 0 h 15418"/>
                  <a:gd name="connsiteX1" fmla="*/ 169537 w 169536"/>
                  <a:gd name="connsiteY1" fmla="*/ 0 h 15418"/>
                  <a:gd name="connsiteX2" fmla="*/ 169537 w 169536"/>
                  <a:gd name="connsiteY2" fmla="*/ 15419 h 15418"/>
                  <a:gd name="connsiteX3" fmla="*/ 0 w 169536"/>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69536" h="15418">
                    <a:moveTo>
                      <a:pt x="0" y="0"/>
                    </a:moveTo>
                    <a:lnTo>
                      <a:pt x="169537" y="0"/>
                    </a:lnTo>
                    <a:lnTo>
                      <a:pt x="169537" y="15419"/>
                    </a:lnTo>
                    <a:lnTo>
                      <a:pt x="0" y="15419"/>
                    </a:lnTo>
                    <a:close/>
                  </a:path>
                </a:pathLst>
              </a:custGeom>
              <a:solidFill>
                <a:schemeClr val="tx2"/>
              </a:solidFill>
              <a:ln w="1375" cap="flat">
                <a:noFill/>
                <a:prstDash val="solid"/>
                <a:miter/>
              </a:ln>
            </p:spPr>
            <p:txBody>
              <a:bodyPr rtlCol="0" anchor="ctr"/>
              <a:lstStyle/>
              <a:p>
                <a:endParaRPr lang="en-GB" dirty="0"/>
              </a:p>
            </p:txBody>
          </p:sp>
        </p:grpSp>
      </p:grpSp>
      <p:grpSp>
        <p:nvGrpSpPr>
          <p:cNvPr id="665" name="Gruppieren 664">
            <a:extLst>
              <a:ext uri="{FF2B5EF4-FFF2-40B4-BE49-F238E27FC236}">
                <a16:creationId xmlns:a16="http://schemas.microsoft.com/office/drawing/2014/main" id="{F21BDF10-4498-45B1-88C8-349AE48697B1}"/>
              </a:ext>
            </a:extLst>
          </p:cNvPr>
          <p:cNvGrpSpPr>
            <a:grpSpLocks noChangeAspect="1"/>
          </p:cNvGrpSpPr>
          <p:nvPr/>
        </p:nvGrpSpPr>
        <p:grpSpPr>
          <a:xfrm>
            <a:off x="2146201" y="2449339"/>
            <a:ext cx="431998" cy="432000"/>
            <a:chOff x="2144397" y="2432244"/>
            <a:chExt cx="493176" cy="493179"/>
          </a:xfrm>
        </p:grpSpPr>
        <p:grpSp>
          <p:nvGrpSpPr>
            <p:cNvPr id="664" name="Gruppieren 663">
              <a:extLst>
                <a:ext uri="{FF2B5EF4-FFF2-40B4-BE49-F238E27FC236}">
                  <a16:creationId xmlns:a16="http://schemas.microsoft.com/office/drawing/2014/main" id="{E7392238-9060-4738-8D9D-7DB628A90E5C}"/>
                </a:ext>
              </a:extLst>
            </p:cNvPr>
            <p:cNvGrpSpPr/>
            <p:nvPr/>
          </p:nvGrpSpPr>
          <p:grpSpPr>
            <a:xfrm>
              <a:off x="2144397" y="2432244"/>
              <a:ext cx="431545" cy="493179"/>
              <a:chOff x="2144395" y="2432241"/>
              <a:chExt cx="431545" cy="493178"/>
            </a:xfrm>
          </p:grpSpPr>
          <p:sp>
            <p:nvSpPr>
              <p:cNvPr id="557" name="Freihandform: Form 556">
                <a:extLst>
                  <a:ext uri="{FF2B5EF4-FFF2-40B4-BE49-F238E27FC236}">
                    <a16:creationId xmlns:a16="http://schemas.microsoft.com/office/drawing/2014/main" id="{A209DDDD-AEF5-482F-9C3E-51C34D69EB46}"/>
                  </a:ext>
                </a:extLst>
              </p:cNvPr>
              <p:cNvSpPr/>
              <p:nvPr/>
            </p:nvSpPr>
            <p:spPr>
              <a:xfrm>
                <a:off x="2144395" y="2473468"/>
                <a:ext cx="183123" cy="410683"/>
              </a:xfrm>
              <a:custGeom>
                <a:avLst/>
                <a:gdLst>
                  <a:gd name="connsiteX0" fmla="*/ 171356 w 183123"/>
                  <a:gd name="connsiteY0" fmla="*/ 410684 h 410683"/>
                  <a:gd name="connsiteX1" fmla="*/ 1819 w 183123"/>
                  <a:gd name="connsiteY1" fmla="*/ 210323 h 410683"/>
                  <a:gd name="connsiteX2" fmla="*/ 1819 w 183123"/>
                  <a:gd name="connsiteY2" fmla="*/ 200361 h 410683"/>
                  <a:gd name="connsiteX3" fmla="*/ 171356 w 183123"/>
                  <a:gd name="connsiteY3" fmla="*/ 0 h 410683"/>
                  <a:gd name="connsiteX4" fmla="*/ 183123 w 183123"/>
                  <a:gd name="connsiteY4" fmla="*/ 9962 h 410683"/>
                  <a:gd name="connsiteX5" fmla="*/ 17802 w 183123"/>
                  <a:gd name="connsiteY5" fmla="*/ 205335 h 410683"/>
                  <a:gd name="connsiteX6" fmla="*/ 183123 w 183123"/>
                  <a:gd name="connsiteY6" fmla="*/ 400708 h 410683"/>
                  <a:gd name="connsiteX7" fmla="*/ 171356 w 183123"/>
                  <a:gd name="connsiteY7" fmla="*/ 410684 h 4106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3123" h="410683">
                    <a:moveTo>
                      <a:pt x="171356" y="410684"/>
                    </a:moveTo>
                    <a:lnTo>
                      <a:pt x="1819" y="210323"/>
                    </a:lnTo>
                    <a:cubicBezTo>
                      <a:pt x="-606" y="207443"/>
                      <a:pt x="-606" y="203240"/>
                      <a:pt x="1819" y="200361"/>
                    </a:cubicBezTo>
                    <a:lnTo>
                      <a:pt x="171356" y="0"/>
                    </a:lnTo>
                    <a:lnTo>
                      <a:pt x="183123" y="9962"/>
                    </a:lnTo>
                    <a:lnTo>
                      <a:pt x="17802" y="205335"/>
                    </a:lnTo>
                    <a:lnTo>
                      <a:pt x="183123" y="400708"/>
                    </a:lnTo>
                    <a:lnTo>
                      <a:pt x="171356" y="410684"/>
                    </a:lnTo>
                    <a:close/>
                  </a:path>
                </a:pathLst>
              </a:custGeom>
              <a:solidFill>
                <a:schemeClr val="tx2"/>
              </a:solidFill>
              <a:ln w="1375" cap="flat">
                <a:noFill/>
                <a:prstDash val="solid"/>
                <a:miter/>
              </a:ln>
            </p:spPr>
            <p:txBody>
              <a:bodyPr rtlCol="0" anchor="ctr"/>
              <a:lstStyle/>
              <a:p>
                <a:endParaRPr lang="en-GB" dirty="0"/>
              </a:p>
            </p:txBody>
          </p:sp>
          <p:sp>
            <p:nvSpPr>
              <p:cNvPr id="558" name="Freihandform: Form 557">
                <a:extLst>
                  <a:ext uri="{FF2B5EF4-FFF2-40B4-BE49-F238E27FC236}">
                    <a16:creationId xmlns:a16="http://schemas.microsoft.com/office/drawing/2014/main" id="{05B5F3B8-7C43-4EA1-A10E-105147AA22B5}"/>
                  </a:ext>
                </a:extLst>
              </p:cNvPr>
              <p:cNvSpPr/>
              <p:nvPr/>
            </p:nvSpPr>
            <p:spPr>
              <a:xfrm>
                <a:off x="2321621" y="2432241"/>
                <a:ext cx="208063" cy="493178"/>
              </a:xfrm>
              <a:custGeom>
                <a:avLst/>
                <a:gdLst>
                  <a:gd name="connsiteX0" fmla="*/ 15419 w 208063"/>
                  <a:gd name="connsiteY0" fmla="*/ 493178 h 493178"/>
                  <a:gd name="connsiteX1" fmla="*/ 0 w 208063"/>
                  <a:gd name="connsiteY1" fmla="*/ 493178 h 493178"/>
                  <a:gd name="connsiteX2" fmla="*/ 0 w 208063"/>
                  <a:gd name="connsiteY2" fmla="*/ 466874 h 493178"/>
                  <a:gd name="connsiteX3" fmla="*/ 19924 w 208063"/>
                  <a:gd name="connsiteY3" fmla="*/ 446950 h 493178"/>
                  <a:gd name="connsiteX4" fmla="*/ 23121 w 208063"/>
                  <a:gd name="connsiteY4" fmla="*/ 446950 h 493178"/>
                  <a:gd name="connsiteX5" fmla="*/ 192658 w 208063"/>
                  <a:gd name="connsiteY5" fmla="*/ 246589 h 493178"/>
                  <a:gd name="connsiteX6" fmla="*/ 23121 w 208063"/>
                  <a:gd name="connsiteY6" fmla="*/ 46229 h 493178"/>
                  <a:gd name="connsiteX7" fmla="*/ 19924 w 208063"/>
                  <a:gd name="connsiteY7" fmla="*/ 46229 h 493178"/>
                  <a:gd name="connsiteX8" fmla="*/ 0 w 208063"/>
                  <a:gd name="connsiteY8" fmla="*/ 26304 h 493178"/>
                  <a:gd name="connsiteX9" fmla="*/ 0 w 208063"/>
                  <a:gd name="connsiteY9" fmla="*/ 0 h 493178"/>
                  <a:gd name="connsiteX10" fmla="*/ 15419 w 208063"/>
                  <a:gd name="connsiteY10" fmla="*/ 0 h 493178"/>
                  <a:gd name="connsiteX11" fmla="*/ 15419 w 208063"/>
                  <a:gd name="connsiteY11" fmla="*/ 19924 h 493178"/>
                  <a:gd name="connsiteX12" fmla="*/ 26345 w 208063"/>
                  <a:gd name="connsiteY12" fmla="*/ 30851 h 493178"/>
                  <a:gd name="connsiteX13" fmla="*/ 208063 w 208063"/>
                  <a:gd name="connsiteY13" fmla="*/ 246589 h 493178"/>
                  <a:gd name="connsiteX14" fmla="*/ 26345 w 208063"/>
                  <a:gd name="connsiteY14" fmla="*/ 462327 h 493178"/>
                  <a:gd name="connsiteX15" fmla="*/ 15419 w 208063"/>
                  <a:gd name="connsiteY15" fmla="*/ 473254 h 493178"/>
                  <a:gd name="connsiteX16" fmla="*/ 15419 w 208063"/>
                  <a:gd name="connsiteY16" fmla="*/ 493178 h 493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8063" h="493178">
                    <a:moveTo>
                      <a:pt x="15419" y="493178"/>
                    </a:moveTo>
                    <a:lnTo>
                      <a:pt x="0" y="493178"/>
                    </a:lnTo>
                    <a:lnTo>
                      <a:pt x="0" y="466874"/>
                    </a:lnTo>
                    <a:lnTo>
                      <a:pt x="19924" y="446950"/>
                    </a:lnTo>
                    <a:lnTo>
                      <a:pt x="23121" y="446950"/>
                    </a:lnTo>
                    <a:cubicBezTo>
                      <a:pt x="116598" y="446950"/>
                      <a:pt x="192658" y="357069"/>
                      <a:pt x="192658" y="246589"/>
                    </a:cubicBezTo>
                    <a:cubicBezTo>
                      <a:pt x="192658" y="136109"/>
                      <a:pt x="116612" y="46229"/>
                      <a:pt x="23121" y="46229"/>
                    </a:cubicBezTo>
                    <a:lnTo>
                      <a:pt x="19924" y="46229"/>
                    </a:lnTo>
                    <a:lnTo>
                      <a:pt x="0" y="26304"/>
                    </a:lnTo>
                    <a:lnTo>
                      <a:pt x="0" y="0"/>
                    </a:lnTo>
                    <a:lnTo>
                      <a:pt x="15419" y="0"/>
                    </a:lnTo>
                    <a:lnTo>
                      <a:pt x="15419" y="19924"/>
                    </a:lnTo>
                    <a:lnTo>
                      <a:pt x="26345" y="30851"/>
                    </a:lnTo>
                    <a:cubicBezTo>
                      <a:pt x="126850" y="32863"/>
                      <a:pt x="208063" y="128861"/>
                      <a:pt x="208063" y="246589"/>
                    </a:cubicBezTo>
                    <a:cubicBezTo>
                      <a:pt x="208063" y="364317"/>
                      <a:pt x="126836" y="460316"/>
                      <a:pt x="26345" y="462327"/>
                    </a:cubicBezTo>
                    <a:lnTo>
                      <a:pt x="15419" y="473254"/>
                    </a:lnTo>
                    <a:lnTo>
                      <a:pt x="15419" y="493178"/>
                    </a:lnTo>
                    <a:close/>
                  </a:path>
                </a:pathLst>
              </a:custGeom>
              <a:solidFill>
                <a:schemeClr val="tx2"/>
              </a:solidFill>
              <a:ln w="1375" cap="flat">
                <a:noFill/>
                <a:prstDash val="solid"/>
                <a:miter/>
              </a:ln>
            </p:spPr>
            <p:txBody>
              <a:bodyPr rtlCol="0" anchor="ctr"/>
              <a:lstStyle/>
              <a:p>
                <a:endParaRPr lang="en-GB" dirty="0"/>
              </a:p>
            </p:txBody>
          </p:sp>
          <p:sp>
            <p:nvSpPr>
              <p:cNvPr id="559" name="Freihandform: Form 558">
                <a:extLst>
                  <a:ext uri="{FF2B5EF4-FFF2-40B4-BE49-F238E27FC236}">
                    <a16:creationId xmlns:a16="http://schemas.microsoft.com/office/drawing/2014/main" id="{8A9CF5AA-1F9C-4D30-AF87-FC0335053AD3}"/>
                  </a:ext>
                </a:extLst>
              </p:cNvPr>
              <p:cNvSpPr/>
              <p:nvPr/>
            </p:nvSpPr>
            <p:spPr>
              <a:xfrm>
                <a:off x="2344756" y="2463037"/>
                <a:ext cx="231184" cy="431558"/>
              </a:xfrm>
              <a:custGeom>
                <a:avLst/>
                <a:gdLst>
                  <a:gd name="connsiteX0" fmla="*/ 0 w 231184"/>
                  <a:gd name="connsiteY0" fmla="*/ 431559 h 431558"/>
                  <a:gd name="connsiteX1" fmla="*/ 0 w 231184"/>
                  <a:gd name="connsiteY1" fmla="*/ 416140 h 431558"/>
                  <a:gd name="connsiteX2" fmla="*/ 215766 w 231184"/>
                  <a:gd name="connsiteY2" fmla="*/ 215779 h 431558"/>
                  <a:gd name="connsiteX3" fmla="*/ 0 w 231184"/>
                  <a:gd name="connsiteY3" fmla="*/ 15419 h 431558"/>
                  <a:gd name="connsiteX4" fmla="*/ 0 w 231184"/>
                  <a:gd name="connsiteY4" fmla="*/ 0 h 431558"/>
                  <a:gd name="connsiteX5" fmla="*/ 231184 w 231184"/>
                  <a:gd name="connsiteY5" fmla="*/ 215766 h 431558"/>
                  <a:gd name="connsiteX6" fmla="*/ 0 w 231184"/>
                  <a:gd name="connsiteY6" fmla="*/ 431559 h 43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184" h="431558">
                    <a:moveTo>
                      <a:pt x="0" y="431559"/>
                    </a:moveTo>
                    <a:lnTo>
                      <a:pt x="0" y="416140"/>
                    </a:lnTo>
                    <a:cubicBezTo>
                      <a:pt x="120994" y="416140"/>
                      <a:pt x="215766" y="328133"/>
                      <a:pt x="215766" y="215779"/>
                    </a:cubicBezTo>
                    <a:cubicBezTo>
                      <a:pt x="215766" y="103425"/>
                      <a:pt x="120994" y="15419"/>
                      <a:pt x="0" y="15419"/>
                    </a:cubicBezTo>
                    <a:lnTo>
                      <a:pt x="0" y="0"/>
                    </a:lnTo>
                    <a:cubicBezTo>
                      <a:pt x="129633" y="0"/>
                      <a:pt x="231184" y="94772"/>
                      <a:pt x="231184" y="215766"/>
                    </a:cubicBezTo>
                    <a:cubicBezTo>
                      <a:pt x="231184" y="336759"/>
                      <a:pt x="129633" y="431559"/>
                      <a:pt x="0" y="431559"/>
                    </a:cubicBezTo>
                    <a:close/>
                  </a:path>
                </a:pathLst>
              </a:custGeom>
              <a:solidFill>
                <a:schemeClr val="tx2"/>
              </a:solidFill>
              <a:ln w="1375" cap="flat">
                <a:noFill/>
                <a:prstDash val="solid"/>
                <a:miter/>
              </a:ln>
            </p:spPr>
            <p:txBody>
              <a:bodyPr rtlCol="0" anchor="ctr"/>
              <a:lstStyle/>
              <a:p>
                <a:endParaRPr lang="en-GB" dirty="0"/>
              </a:p>
            </p:txBody>
          </p:sp>
          <p:sp>
            <p:nvSpPr>
              <p:cNvPr id="561" name="Freihandform: Form 560">
                <a:extLst>
                  <a:ext uri="{FF2B5EF4-FFF2-40B4-BE49-F238E27FC236}">
                    <a16:creationId xmlns:a16="http://schemas.microsoft.com/office/drawing/2014/main" id="{74AE2E3A-FBAB-42A4-A36B-91C731CF515F}"/>
                  </a:ext>
                </a:extLst>
              </p:cNvPr>
              <p:cNvSpPr/>
              <p:nvPr/>
            </p:nvSpPr>
            <p:spPr>
              <a:xfrm>
                <a:off x="2521981" y="2640290"/>
                <a:ext cx="46242" cy="15418"/>
              </a:xfrm>
              <a:custGeom>
                <a:avLst/>
                <a:gdLst>
                  <a:gd name="connsiteX0" fmla="*/ 0 w 46242"/>
                  <a:gd name="connsiteY0" fmla="*/ 0 h 15418"/>
                  <a:gd name="connsiteX1" fmla="*/ 46242 w 46242"/>
                  <a:gd name="connsiteY1" fmla="*/ 0 h 15418"/>
                  <a:gd name="connsiteX2" fmla="*/ 46242 w 46242"/>
                  <a:gd name="connsiteY2" fmla="*/ 15419 h 15418"/>
                  <a:gd name="connsiteX3" fmla="*/ 0 w 46242"/>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6242" h="15418">
                    <a:moveTo>
                      <a:pt x="0" y="0"/>
                    </a:moveTo>
                    <a:lnTo>
                      <a:pt x="46242" y="0"/>
                    </a:lnTo>
                    <a:lnTo>
                      <a:pt x="46242"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62" name="Freihandform: Form 561">
                <a:extLst>
                  <a:ext uri="{FF2B5EF4-FFF2-40B4-BE49-F238E27FC236}">
                    <a16:creationId xmlns:a16="http://schemas.microsoft.com/office/drawing/2014/main" id="{600E1056-1DBE-4D5E-AAA1-15CFFD746CFA}"/>
                  </a:ext>
                </a:extLst>
              </p:cNvPr>
              <p:cNvSpPr/>
              <p:nvPr/>
            </p:nvSpPr>
            <p:spPr>
              <a:xfrm>
                <a:off x="2514279" y="2609467"/>
                <a:ext cx="46242" cy="15418"/>
              </a:xfrm>
              <a:custGeom>
                <a:avLst/>
                <a:gdLst>
                  <a:gd name="connsiteX0" fmla="*/ 0 w 46242"/>
                  <a:gd name="connsiteY0" fmla="*/ 0 h 15418"/>
                  <a:gd name="connsiteX1" fmla="*/ 46242 w 46242"/>
                  <a:gd name="connsiteY1" fmla="*/ 0 h 15418"/>
                  <a:gd name="connsiteX2" fmla="*/ 46242 w 46242"/>
                  <a:gd name="connsiteY2" fmla="*/ 15419 h 15418"/>
                  <a:gd name="connsiteX3" fmla="*/ 0 w 46242"/>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6242" h="15418">
                    <a:moveTo>
                      <a:pt x="0" y="0"/>
                    </a:moveTo>
                    <a:lnTo>
                      <a:pt x="46242" y="0"/>
                    </a:lnTo>
                    <a:lnTo>
                      <a:pt x="46242"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63" name="Freihandform: Form 562">
                <a:extLst>
                  <a:ext uri="{FF2B5EF4-FFF2-40B4-BE49-F238E27FC236}">
                    <a16:creationId xmlns:a16="http://schemas.microsoft.com/office/drawing/2014/main" id="{F4565C74-654F-4C36-B22B-AE3D629AA3FF}"/>
                  </a:ext>
                </a:extLst>
              </p:cNvPr>
              <p:cNvSpPr/>
              <p:nvPr/>
            </p:nvSpPr>
            <p:spPr>
              <a:xfrm>
                <a:off x="2514279" y="2732761"/>
                <a:ext cx="46242" cy="15418"/>
              </a:xfrm>
              <a:custGeom>
                <a:avLst/>
                <a:gdLst>
                  <a:gd name="connsiteX0" fmla="*/ 0 w 46242"/>
                  <a:gd name="connsiteY0" fmla="*/ 0 h 15418"/>
                  <a:gd name="connsiteX1" fmla="*/ 46242 w 46242"/>
                  <a:gd name="connsiteY1" fmla="*/ 0 h 15418"/>
                  <a:gd name="connsiteX2" fmla="*/ 46242 w 46242"/>
                  <a:gd name="connsiteY2" fmla="*/ 15419 h 15418"/>
                  <a:gd name="connsiteX3" fmla="*/ 0 w 46242"/>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6242" h="15418">
                    <a:moveTo>
                      <a:pt x="0" y="0"/>
                    </a:moveTo>
                    <a:lnTo>
                      <a:pt x="46242" y="0"/>
                    </a:lnTo>
                    <a:lnTo>
                      <a:pt x="46242"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64" name="Freihandform: Form 563">
                <a:extLst>
                  <a:ext uri="{FF2B5EF4-FFF2-40B4-BE49-F238E27FC236}">
                    <a16:creationId xmlns:a16="http://schemas.microsoft.com/office/drawing/2014/main" id="{9C94EFB8-D7DA-4CF1-B459-B9F42869F707}"/>
                  </a:ext>
                </a:extLst>
              </p:cNvPr>
              <p:cNvSpPr/>
              <p:nvPr/>
            </p:nvSpPr>
            <p:spPr>
              <a:xfrm>
                <a:off x="2521981" y="2701938"/>
                <a:ext cx="46242" cy="15418"/>
              </a:xfrm>
              <a:custGeom>
                <a:avLst/>
                <a:gdLst>
                  <a:gd name="connsiteX0" fmla="*/ 0 w 46242"/>
                  <a:gd name="connsiteY0" fmla="*/ 0 h 15418"/>
                  <a:gd name="connsiteX1" fmla="*/ 46242 w 46242"/>
                  <a:gd name="connsiteY1" fmla="*/ 0 h 15418"/>
                  <a:gd name="connsiteX2" fmla="*/ 46242 w 46242"/>
                  <a:gd name="connsiteY2" fmla="*/ 15419 h 15418"/>
                  <a:gd name="connsiteX3" fmla="*/ 0 w 46242"/>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6242" h="15418">
                    <a:moveTo>
                      <a:pt x="0" y="0"/>
                    </a:moveTo>
                    <a:lnTo>
                      <a:pt x="46242" y="0"/>
                    </a:lnTo>
                    <a:lnTo>
                      <a:pt x="46242" y="15419"/>
                    </a:lnTo>
                    <a:lnTo>
                      <a:pt x="0" y="15419"/>
                    </a:lnTo>
                    <a:close/>
                  </a:path>
                </a:pathLst>
              </a:custGeom>
              <a:solidFill>
                <a:schemeClr val="tx2"/>
              </a:solidFill>
              <a:ln w="1375" cap="flat">
                <a:noFill/>
                <a:prstDash val="solid"/>
                <a:miter/>
              </a:ln>
            </p:spPr>
            <p:txBody>
              <a:bodyPr rtlCol="0" anchor="ctr"/>
              <a:lstStyle/>
              <a:p>
                <a:endParaRPr lang="en-GB" dirty="0"/>
              </a:p>
            </p:txBody>
          </p:sp>
        </p:grpSp>
        <p:grpSp>
          <p:nvGrpSpPr>
            <p:cNvPr id="663" name="Gruppieren 662">
              <a:extLst>
                <a:ext uri="{FF2B5EF4-FFF2-40B4-BE49-F238E27FC236}">
                  <a16:creationId xmlns:a16="http://schemas.microsoft.com/office/drawing/2014/main" id="{EF28224B-B6EF-47BE-8D6F-7EF2D4B3CF2A}"/>
                </a:ext>
              </a:extLst>
            </p:cNvPr>
            <p:cNvGrpSpPr/>
            <p:nvPr/>
          </p:nvGrpSpPr>
          <p:grpSpPr>
            <a:xfrm>
              <a:off x="2152097" y="2640290"/>
              <a:ext cx="485476" cy="77066"/>
              <a:chOff x="2152098" y="2640290"/>
              <a:chExt cx="485475" cy="77066"/>
            </a:xfrm>
          </p:grpSpPr>
          <p:sp>
            <p:nvSpPr>
              <p:cNvPr id="567" name="Freihandform: Form 566">
                <a:extLst>
                  <a:ext uri="{FF2B5EF4-FFF2-40B4-BE49-F238E27FC236}">
                    <a16:creationId xmlns:a16="http://schemas.microsoft.com/office/drawing/2014/main" id="{5BD75FF8-1CBE-43A8-A2F6-4F777CB3FD23}"/>
                  </a:ext>
                </a:extLst>
              </p:cNvPr>
              <p:cNvSpPr/>
              <p:nvPr/>
            </p:nvSpPr>
            <p:spPr>
              <a:xfrm>
                <a:off x="2591345" y="2655687"/>
                <a:ext cx="46228" cy="46250"/>
              </a:xfrm>
              <a:custGeom>
                <a:avLst/>
                <a:gdLst>
                  <a:gd name="connsiteX0" fmla="*/ 7702 w 46228"/>
                  <a:gd name="connsiteY0" fmla="*/ 46250 h 46250"/>
                  <a:gd name="connsiteX1" fmla="*/ 3651 w 46228"/>
                  <a:gd name="connsiteY1" fmla="*/ 45093 h 46250"/>
                  <a:gd name="connsiteX2" fmla="*/ 0 w 46228"/>
                  <a:gd name="connsiteY2" fmla="*/ 38534 h 46250"/>
                  <a:gd name="connsiteX3" fmla="*/ 0 w 46228"/>
                  <a:gd name="connsiteY3" fmla="*/ 7710 h 46250"/>
                  <a:gd name="connsiteX4" fmla="*/ 3651 w 46228"/>
                  <a:gd name="connsiteY4" fmla="*/ 1152 h 46250"/>
                  <a:gd name="connsiteX5" fmla="*/ 11147 w 46228"/>
                  <a:gd name="connsiteY5" fmla="*/ 807 h 46250"/>
                  <a:gd name="connsiteX6" fmla="*/ 41971 w 46228"/>
                  <a:gd name="connsiteY6" fmla="*/ 16226 h 46250"/>
                  <a:gd name="connsiteX7" fmla="*/ 46228 w 46228"/>
                  <a:gd name="connsiteY7" fmla="*/ 23115 h 46250"/>
                  <a:gd name="connsiteX8" fmla="*/ 41971 w 46228"/>
                  <a:gd name="connsiteY8" fmla="*/ 30005 h 46250"/>
                  <a:gd name="connsiteX9" fmla="*/ 11147 w 46228"/>
                  <a:gd name="connsiteY9" fmla="*/ 45424 h 46250"/>
                  <a:gd name="connsiteX10" fmla="*/ 7702 w 46228"/>
                  <a:gd name="connsiteY10" fmla="*/ 46250 h 46250"/>
                  <a:gd name="connsiteX11" fmla="*/ 15405 w 46228"/>
                  <a:gd name="connsiteY11" fmla="*/ 20194 h 46250"/>
                  <a:gd name="connsiteX12" fmla="*/ 15405 w 46228"/>
                  <a:gd name="connsiteY12" fmla="*/ 26078 h 46250"/>
                  <a:gd name="connsiteX13" fmla="*/ 21289 w 46228"/>
                  <a:gd name="connsiteY13" fmla="*/ 23129 h 46250"/>
                  <a:gd name="connsiteX14" fmla="*/ 15405 w 46228"/>
                  <a:gd name="connsiteY14" fmla="*/ 20194 h 4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228" h="46250">
                    <a:moveTo>
                      <a:pt x="7702" y="46250"/>
                    </a:moveTo>
                    <a:cubicBezTo>
                      <a:pt x="6297" y="46250"/>
                      <a:pt x="4891" y="45865"/>
                      <a:pt x="3651" y="45093"/>
                    </a:cubicBezTo>
                    <a:cubicBezTo>
                      <a:pt x="1378" y="43687"/>
                      <a:pt x="0" y="41207"/>
                      <a:pt x="0" y="38534"/>
                    </a:cubicBezTo>
                    <a:lnTo>
                      <a:pt x="0" y="7710"/>
                    </a:lnTo>
                    <a:cubicBezTo>
                      <a:pt x="0" y="5037"/>
                      <a:pt x="1378" y="2557"/>
                      <a:pt x="3651" y="1152"/>
                    </a:cubicBezTo>
                    <a:cubicBezTo>
                      <a:pt x="5925" y="-254"/>
                      <a:pt x="8750" y="-378"/>
                      <a:pt x="11147" y="807"/>
                    </a:cubicBezTo>
                    <a:lnTo>
                      <a:pt x="41971" y="16226"/>
                    </a:lnTo>
                    <a:cubicBezTo>
                      <a:pt x="44575" y="17535"/>
                      <a:pt x="46228" y="20194"/>
                      <a:pt x="46228" y="23115"/>
                    </a:cubicBezTo>
                    <a:cubicBezTo>
                      <a:pt x="46228" y="26036"/>
                      <a:pt x="44575" y="28710"/>
                      <a:pt x="41971" y="30005"/>
                    </a:cubicBezTo>
                    <a:lnTo>
                      <a:pt x="11147" y="45424"/>
                    </a:lnTo>
                    <a:cubicBezTo>
                      <a:pt x="10059" y="45988"/>
                      <a:pt x="8887" y="46250"/>
                      <a:pt x="7702" y="46250"/>
                    </a:cubicBezTo>
                    <a:close/>
                    <a:moveTo>
                      <a:pt x="15405" y="20194"/>
                    </a:moveTo>
                    <a:lnTo>
                      <a:pt x="15405" y="26078"/>
                    </a:lnTo>
                    <a:lnTo>
                      <a:pt x="21289" y="23129"/>
                    </a:lnTo>
                    <a:lnTo>
                      <a:pt x="15405" y="20194"/>
                    </a:lnTo>
                    <a:close/>
                  </a:path>
                </a:pathLst>
              </a:custGeom>
              <a:solidFill>
                <a:schemeClr val="accent1"/>
              </a:solidFill>
              <a:ln w="1375" cap="flat">
                <a:noFill/>
                <a:prstDash val="solid"/>
                <a:miter/>
              </a:ln>
            </p:spPr>
            <p:txBody>
              <a:bodyPr rtlCol="0" anchor="ctr"/>
              <a:lstStyle/>
              <a:p>
                <a:endParaRPr lang="en-GB" dirty="0"/>
              </a:p>
            </p:txBody>
          </p:sp>
          <p:grpSp>
            <p:nvGrpSpPr>
              <p:cNvPr id="661" name="Gruppieren 660">
                <a:extLst>
                  <a:ext uri="{FF2B5EF4-FFF2-40B4-BE49-F238E27FC236}">
                    <a16:creationId xmlns:a16="http://schemas.microsoft.com/office/drawing/2014/main" id="{4F3232DA-E760-4746-A688-4DA824931503}"/>
                  </a:ext>
                </a:extLst>
              </p:cNvPr>
              <p:cNvGrpSpPr/>
              <p:nvPr/>
            </p:nvGrpSpPr>
            <p:grpSpPr>
              <a:xfrm>
                <a:off x="2152098" y="2640290"/>
                <a:ext cx="477773" cy="77066"/>
                <a:chOff x="2152098" y="2640290"/>
                <a:chExt cx="477773" cy="77066"/>
              </a:xfrm>
              <a:solidFill>
                <a:schemeClr val="accent1"/>
              </a:solidFill>
            </p:grpSpPr>
            <p:sp>
              <p:nvSpPr>
                <p:cNvPr id="560" name="Freihandform: Form 559">
                  <a:extLst>
                    <a:ext uri="{FF2B5EF4-FFF2-40B4-BE49-F238E27FC236}">
                      <a16:creationId xmlns:a16="http://schemas.microsoft.com/office/drawing/2014/main" id="{0A3F2606-AB54-4F45-AB01-E84F18C1A14C}"/>
                    </a:ext>
                  </a:extLst>
                </p:cNvPr>
                <p:cNvSpPr/>
                <p:nvPr/>
              </p:nvSpPr>
              <p:spPr>
                <a:xfrm>
                  <a:off x="2521981" y="2671114"/>
                  <a:ext cx="46242" cy="15418"/>
                </a:xfrm>
                <a:custGeom>
                  <a:avLst/>
                  <a:gdLst>
                    <a:gd name="connsiteX0" fmla="*/ 0 w 46242"/>
                    <a:gd name="connsiteY0" fmla="*/ 0 h 15418"/>
                    <a:gd name="connsiteX1" fmla="*/ 46242 w 46242"/>
                    <a:gd name="connsiteY1" fmla="*/ 0 h 15418"/>
                    <a:gd name="connsiteX2" fmla="*/ 46242 w 46242"/>
                    <a:gd name="connsiteY2" fmla="*/ 15419 h 15418"/>
                    <a:gd name="connsiteX3" fmla="*/ 0 w 46242"/>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6242" h="15418">
                      <a:moveTo>
                        <a:pt x="0" y="0"/>
                      </a:moveTo>
                      <a:lnTo>
                        <a:pt x="46242" y="0"/>
                      </a:lnTo>
                      <a:lnTo>
                        <a:pt x="46242"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65" name="Freihandform: Form 564">
                  <a:extLst>
                    <a:ext uri="{FF2B5EF4-FFF2-40B4-BE49-F238E27FC236}">
                      <a16:creationId xmlns:a16="http://schemas.microsoft.com/office/drawing/2014/main" id="{97C46D3A-4F4A-4F5B-BFB4-7B9469D3B528}"/>
                    </a:ext>
                  </a:extLst>
                </p:cNvPr>
                <p:cNvSpPr/>
                <p:nvPr/>
              </p:nvSpPr>
              <p:spPr>
                <a:xfrm>
                  <a:off x="2152098" y="2671114"/>
                  <a:ext cx="346776" cy="15418"/>
                </a:xfrm>
                <a:custGeom>
                  <a:avLst/>
                  <a:gdLst>
                    <a:gd name="connsiteX0" fmla="*/ 0 w 346776"/>
                    <a:gd name="connsiteY0" fmla="*/ 0 h 15418"/>
                    <a:gd name="connsiteX1" fmla="*/ 346777 w 346776"/>
                    <a:gd name="connsiteY1" fmla="*/ 0 h 15418"/>
                    <a:gd name="connsiteX2" fmla="*/ 346777 w 346776"/>
                    <a:gd name="connsiteY2" fmla="*/ 15419 h 15418"/>
                    <a:gd name="connsiteX3" fmla="*/ 0 w 346776"/>
                    <a:gd name="connsiteY3" fmla="*/ 15419 h 15418"/>
                  </a:gdLst>
                  <a:ahLst/>
                  <a:cxnLst>
                    <a:cxn ang="0">
                      <a:pos x="connsiteX0" y="connsiteY0"/>
                    </a:cxn>
                    <a:cxn ang="0">
                      <a:pos x="connsiteX1" y="connsiteY1"/>
                    </a:cxn>
                    <a:cxn ang="0">
                      <a:pos x="connsiteX2" y="connsiteY2"/>
                    </a:cxn>
                    <a:cxn ang="0">
                      <a:pos x="connsiteX3" y="connsiteY3"/>
                    </a:cxn>
                  </a:cxnLst>
                  <a:rect l="l" t="t" r="r" b="b"/>
                  <a:pathLst>
                    <a:path w="346776" h="15418">
                      <a:moveTo>
                        <a:pt x="0" y="0"/>
                      </a:moveTo>
                      <a:lnTo>
                        <a:pt x="346777" y="0"/>
                      </a:lnTo>
                      <a:lnTo>
                        <a:pt x="346777"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66" name="Freihandform: Form 565">
                  <a:extLst>
                    <a:ext uri="{FF2B5EF4-FFF2-40B4-BE49-F238E27FC236}">
                      <a16:creationId xmlns:a16="http://schemas.microsoft.com/office/drawing/2014/main" id="{AD950B61-7843-4E16-8D04-00F28E6FAE07}"/>
                    </a:ext>
                  </a:extLst>
                </p:cNvPr>
                <p:cNvSpPr/>
                <p:nvPr/>
              </p:nvSpPr>
              <p:spPr>
                <a:xfrm>
                  <a:off x="2568224" y="2671114"/>
                  <a:ext cx="61647" cy="15418"/>
                </a:xfrm>
                <a:custGeom>
                  <a:avLst/>
                  <a:gdLst>
                    <a:gd name="connsiteX0" fmla="*/ 0 w 61647"/>
                    <a:gd name="connsiteY0" fmla="*/ 0 h 15418"/>
                    <a:gd name="connsiteX1" fmla="*/ 61647 w 61647"/>
                    <a:gd name="connsiteY1" fmla="*/ 0 h 15418"/>
                    <a:gd name="connsiteX2" fmla="*/ 61647 w 61647"/>
                    <a:gd name="connsiteY2" fmla="*/ 15419 h 15418"/>
                    <a:gd name="connsiteX3" fmla="*/ 0 w 61647"/>
                    <a:gd name="connsiteY3" fmla="*/ 15419 h 15418"/>
                  </a:gdLst>
                  <a:ahLst/>
                  <a:cxnLst>
                    <a:cxn ang="0">
                      <a:pos x="connsiteX0" y="connsiteY0"/>
                    </a:cxn>
                    <a:cxn ang="0">
                      <a:pos x="connsiteX1" y="connsiteY1"/>
                    </a:cxn>
                    <a:cxn ang="0">
                      <a:pos x="connsiteX2" y="connsiteY2"/>
                    </a:cxn>
                    <a:cxn ang="0">
                      <a:pos x="connsiteX3" y="connsiteY3"/>
                    </a:cxn>
                  </a:cxnLst>
                  <a:rect l="l" t="t" r="r" b="b"/>
                  <a:pathLst>
                    <a:path w="61647" h="15418">
                      <a:moveTo>
                        <a:pt x="0" y="0"/>
                      </a:moveTo>
                      <a:lnTo>
                        <a:pt x="61647" y="0"/>
                      </a:lnTo>
                      <a:lnTo>
                        <a:pt x="61647"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68" name="Freihandform: Form 567">
                  <a:extLst>
                    <a:ext uri="{FF2B5EF4-FFF2-40B4-BE49-F238E27FC236}">
                      <a16:creationId xmlns:a16="http://schemas.microsoft.com/office/drawing/2014/main" id="{7C5CC67B-460E-4B8E-8D39-E1EA3E10F338}"/>
                    </a:ext>
                  </a:extLst>
                </p:cNvPr>
                <p:cNvSpPr/>
                <p:nvPr/>
              </p:nvSpPr>
              <p:spPr>
                <a:xfrm>
                  <a:off x="2175219" y="2640290"/>
                  <a:ext cx="107868" cy="77066"/>
                </a:xfrm>
                <a:custGeom>
                  <a:avLst/>
                  <a:gdLst>
                    <a:gd name="connsiteX0" fmla="*/ 69350 w 107868"/>
                    <a:gd name="connsiteY0" fmla="*/ 77066 h 77066"/>
                    <a:gd name="connsiteX1" fmla="*/ 0 w 107868"/>
                    <a:gd name="connsiteY1" fmla="*/ 77066 h 77066"/>
                    <a:gd name="connsiteX2" fmla="*/ 0 w 107868"/>
                    <a:gd name="connsiteY2" fmla="*/ 61647 h 77066"/>
                    <a:gd name="connsiteX3" fmla="*/ 66167 w 107868"/>
                    <a:gd name="connsiteY3" fmla="*/ 61647 h 77066"/>
                    <a:gd name="connsiteX4" fmla="*/ 89288 w 107868"/>
                    <a:gd name="connsiteY4" fmla="*/ 38526 h 77066"/>
                    <a:gd name="connsiteX5" fmla="*/ 66167 w 107868"/>
                    <a:gd name="connsiteY5" fmla="*/ 15419 h 77066"/>
                    <a:gd name="connsiteX6" fmla="*/ 0 w 107868"/>
                    <a:gd name="connsiteY6" fmla="*/ 15419 h 77066"/>
                    <a:gd name="connsiteX7" fmla="*/ 0 w 107868"/>
                    <a:gd name="connsiteY7" fmla="*/ 0 h 77066"/>
                    <a:gd name="connsiteX8" fmla="*/ 69350 w 107868"/>
                    <a:gd name="connsiteY8" fmla="*/ 0 h 77066"/>
                    <a:gd name="connsiteX9" fmla="*/ 74792 w 107868"/>
                    <a:gd name="connsiteY9" fmla="*/ 2260 h 77066"/>
                    <a:gd name="connsiteX10" fmla="*/ 105616 w 107868"/>
                    <a:gd name="connsiteY10" fmla="*/ 33083 h 77066"/>
                    <a:gd name="connsiteX11" fmla="*/ 105616 w 107868"/>
                    <a:gd name="connsiteY11" fmla="*/ 43983 h 77066"/>
                    <a:gd name="connsiteX12" fmla="*/ 74792 w 107868"/>
                    <a:gd name="connsiteY12" fmla="*/ 74806 h 77066"/>
                    <a:gd name="connsiteX13" fmla="*/ 69350 w 107868"/>
                    <a:gd name="connsiteY13" fmla="*/ 77066 h 77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7868" h="77066">
                      <a:moveTo>
                        <a:pt x="69350" y="77066"/>
                      </a:moveTo>
                      <a:lnTo>
                        <a:pt x="0" y="77066"/>
                      </a:lnTo>
                      <a:lnTo>
                        <a:pt x="0" y="61647"/>
                      </a:lnTo>
                      <a:lnTo>
                        <a:pt x="66167" y="61647"/>
                      </a:lnTo>
                      <a:lnTo>
                        <a:pt x="89288" y="38526"/>
                      </a:lnTo>
                      <a:lnTo>
                        <a:pt x="66167" y="15419"/>
                      </a:lnTo>
                      <a:lnTo>
                        <a:pt x="0" y="15419"/>
                      </a:lnTo>
                      <a:lnTo>
                        <a:pt x="0" y="0"/>
                      </a:lnTo>
                      <a:lnTo>
                        <a:pt x="69350" y="0"/>
                      </a:lnTo>
                      <a:cubicBezTo>
                        <a:pt x="71403" y="0"/>
                        <a:pt x="73359" y="813"/>
                        <a:pt x="74792" y="2260"/>
                      </a:cubicBezTo>
                      <a:lnTo>
                        <a:pt x="105616" y="33083"/>
                      </a:lnTo>
                      <a:cubicBezTo>
                        <a:pt x="108620" y="36087"/>
                        <a:pt x="108620" y="40965"/>
                        <a:pt x="105616" y="43983"/>
                      </a:cubicBezTo>
                      <a:lnTo>
                        <a:pt x="74792" y="74806"/>
                      </a:lnTo>
                      <a:cubicBezTo>
                        <a:pt x="73359" y="76253"/>
                        <a:pt x="71403" y="77066"/>
                        <a:pt x="69350" y="77066"/>
                      </a:cubicBezTo>
                      <a:close/>
                    </a:path>
                  </a:pathLst>
                </a:custGeom>
                <a:solidFill>
                  <a:schemeClr val="accent1"/>
                </a:solidFill>
                <a:ln w="1375" cap="flat">
                  <a:noFill/>
                  <a:prstDash val="solid"/>
                  <a:miter/>
                </a:ln>
              </p:spPr>
              <p:txBody>
                <a:bodyPr rtlCol="0" anchor="ctr"/>
                <a:lstStyle/>
                <a:p>
                  <a:endParaRPr lang="en-GB" dirty="0"/>
                </a:p>
              </p:txBody>
            </p:sp>
            <p:sp>
              <p:nvSpPr>
                <p:cNvPr id="569" name="Freihandform: Form 568">
                  <a:extLst>
                    <a:ext uri="{FF2B5EF4-FFF2-40B4-BE49-F238E27FC236}">
                      <a16:creationId xmlns:a16="http://schemas.microsoft.com/office/drawing/2014/main" id="{F6814839-40D7-4336-8680-13EA98DEECEC}"/>
                    </a:ext>
                  </a:extLst>
                </p:cNvPr>
                <p:cNvSpPr/>
                <p:nvPr/>
              </p:nvSpPr>
              <p:spPr>
                <a:xfrm rot="18900000">
                  <a:off x="2213728" y="2641622"/>
                  <a:ext cx="15404" cy="43596"/>
                </a:xfrm>
                <a:custGeom>
                  <a:avLst/>
                  <a:gdLst>
                    <a:gd name="connsiteX0" fmla="*/ 0 w 15404"/>
                    <a:gd name="connsiteY0" fmla="*/ 0 h 43596"/>
                    <a:gd name="connsiteX1" fmla="*/ 15405 w 15404"/>
                    <a:gd name="connsiteY1" fmla="*/ 0 h 43596"/>
                    <a:gd name="connsiteX2" fmla="*/ 15405 w 15404"/>
                    <a:gd name="connsiteY2" fmla="*/ 43596 h 43596"/>
                    <a:gd name="connsiteX3" fmla="*/ 0 w 15404"/>
                    <a:gd name="connsiteY3" fmla="*/ 43596 h 43596"/>
                  </a:gdLst>
                  <a:ahLst/>
                  <a:cxnLst>
                    <a:cxn ang="0">
                      <a:pos x="connsiteX0" y="connsiteY0"/>
                    </a:cxn>
                    <a:cxn ang="0">
                      <a:pos x="connsiteX1" y="connsiteY1"/>
                    </a:cxn>
                    <a:cxn ang="0">
                      <a:pos x="connsiteX2" y="connsiteY2"/>
                    </a:cxn>
                    <a:cxn ang="0">
                      <a:pos x="connsiteX3" y="connsiteY3"/>
                    </a:cxn>
                  </a:cxnLst>
                  <a:rect l="l" t="t" r="r" b="b"/>
                  <a:pathLst>
                    <a:path w="15404" h="43596">
                      <a:moveTo>
                        <a:pt x="0" y="0"/>
                      </a:moveTo>
                      <a:lnTo>
                        <a:pt x="15405" y="0"/>
                      </a:lnTo>
                      <a:lnTo>
                        <a:pt x="15405" y="43596"/>
                      </a:lnTo>
                      <a:lnTo>
                        <a:pt x="0" y="43596"/>
                      </a:lnTo>
                      <a:close/>
                    </a:path>
                  </a:pathLst>
                </a:custGeom>
                <a:solidFill>
                  <a:schemeClr val="accent1"/>
                </a:solidFill>
                <a:ln w="1375" cap="flat">
                  <a:noFill/>
                  <a:prstDash val="solid"/>
                  <a:miter/>
                </a:ln>
              </p:spPr>
              <p:txBody>
                <a:bodyPr rtlCol="0" anchor="ctr"/>
                <a:lstStyle/>
                <a:p>
                  <a:endParaRPr lang="en-GB" dirty="0"/>
                </a:p>
              </p:txBody>
            </p:sp>
            <p:sp>
              <p:nvSpPr>
                <p:cNvPr id="570" name="Freihandform: Form 569">
                  <a:extLst>
                    <a:ext uri="{FF2B5EF4-FFF2-40B4-BE49-F238E27FC236}">
                      <a16:creationId xmlns:a16="http://schemas.microsoft.com/office/drawing/2014/main" id="{EFAA7B5D-BE0F-448F-9AE4-A6A1D60F0309}"/>
                    </a:ext>
                  </a:extLst>
                </p:cNvPr>
                <p:cNvSpPr/>
                <p:nvPr/>
              </p:nvSpPr>
              <p:spPr>
                <a:xfrm rot="18900000">
                  <a:off x="2176522" y="2686536"/>
                  <a:ext cx="43596" cy="15404"/>
                </a:xfrm>
                <a:custGeom>
                  <a:avLst/>
                  <a:gdLst>
                    <a:gd name="connsiteX0" fmla="*/ 0 w 43596"/>
                    <a:gd name="connsiteY0" fmla="*/ 0 h 15404"/>
                    <a:gd name="connsiteX1" fmla="*/ 43596 w 43596"/>
                    <a:gd name="connsiteY1" fmla="*/ 0 h 15404"/>
                    <a:gd name="connsiteX2" fmla="*/ 43596 w 43596"/>
                    <a:gd name="connsiteY2" fmla="*/ 15405 h 15404"/>
                    <a:gd name="connsiteX3" fmla="*/ 0 w 43596"/>
                    <a:gd name="connsiteY3" fmla="*/ 15405 h 15404"/>
                  </a:gdLst>
                  <a:ahLst/>
                  <a:cxnLst>
                    <a:cxn ang="0">
                      <a:pos x="connsiteX0" y="connsiteY0"/>
                    </a:cxn>
                    <a:cxn ang="0">
                      <a:pos x="connsiteX1" y="connsiteY1"/>
                    </a:cxn>
                    <a:cxn ang="0">
                      <a:pos x="connsiteX2" y="connsiteY2"/>
                    </a:cxn>
                    <a:cxn ang="0">
                      <a:pos x="connsiteX3" y="connsiteY3"/>
                    </a:cxn>
                  </a:cxnLst>
                  <a:rect l="l" t="t" r="r" b="b"/>
                  <a:pathLst>
                    <a:path w="43596" h="15404">
                      <a:moveTo>
                        <a:pt x="0" y="0"/>
                      </a:moveTo>
                      <a:lnTo>
                        <a:pt x="43596" y="0"/>
                      </a:lnTo>
                      <a:lnTo>
                        <a:pt x="43596" y="15405"/>
                      </a:lnTo>
                      <a:lnTo>
                        <a:pt x="0" y="15405"/>
                      </a:lnTo>
                      <a:close/>
                    </a:path>
                  </a:pathLst>
                </a:custGeom>
                <a:solidFill>
                  <a:schemeClr val="accent1"/>
                </a:solidFill>
                <a:ln w="1375" cap="flat">
                  <a:noFill/>
                  <a:prstDash val="solid"/>
                  <a:miter/>
                </a:ln>
              </p:spPr>
              <p:txBody>
                <a:bodyPr rtlCol="0" anchor="ctr"/>
                <a:lstStyle/>
                <a:p>
                  <a:endParaRPr lang="en-GB" dirty="0"/>
                </a:p>
              </p:txBody>
            </p:sp>
          </p:grpSp>
        </p:grpSp>
      </p:grpSp>
      <p:grpSp>
        <p:nvGrpSpPr>
          <p:cNvPr id="668" name="Gruppieren 667">
            <a:extLst>
              <a:ext uri="{FF2B5EF4-FFF2-40B4-BE49-F238E27FC236}">
                <a16:creationId xmlns:a16="http://schemas.microsoft.com/office/drawing/2014/main" id="{D8E25853-AC55-4357-8FD4-98C45DF8F6B4}"/>
              </a:ext>
            </a:extLst>
          </p:cNvPr>
          <p:cNvGrpSpPr>
            <a:grpSpLocks noChangeAspect="1"/>
          </p:cNvGrpSpPr>
          <p:nvPr/>
        </p:nvGrpSpPr>
        <p:grpSpPr>
          <a:xfrm>
            <a:off x="2962827" y="2449341"/>
            <a:ext cx="460788" cy="432000"/>
            <a:chOff x="2976648" y="2463051"/>
            <a:chExt cx="493178" cy="462368"/>
          </a:xfrm>
        </p:grpSpPr>
        <p:grpSp>
          <p:nvGrpSpPr>
            <p:cNvPr id="667" name="Gruppieren 666">
              <a:extLst>
                <a:ext uri="{FF2B5EF4-FFF2-40B4-BE49-F238E27FC236}">
                  <a16:creationId xmlns:a16="http://schemas.microsoft.com/office/drawing/2014/main" id="{282BE76F-7824-4B21-BDBD-737C1D1BC6D7}"/>
                </a:ext>
              </a:extLst>
            </p:cNvPr>
            <p:cNvGrpSpPr/>
            <p:nvPr/>
          </p:nvGrpSpPr>
          <p:grpSpPr>
            <a:xfrm>
              <a:off x="3400167" y="2482327"/>
              <a:ext cx="69659" cy="181370"/>
              <a:chOff x="3400167" y="2482327"/>
              <a:chExt cx="69659" cy="181370"/>
            </a:xfrm>
          </p:grpSpPr>
          <p:sp>
            <p:nvSpPr>
              <p:cNvPr id="584" name="Freihandform: Form 583">
                <a:extLst>
                  <a:ext uri="{FF2B5EF4-FFF2-40B4-BE49-F238E27FC236}">
                    <a16:creationId xmlns:a16="http://schemas.microsoft.com/office/drawing/2014/main" id="{3BABC36D-2616-4A52-8001-6DD7AB8FE698}"/>
                  </a:ext>
                </a:extLst>
              </p:cNvPr>
              <p:cNvSpPr/>
              <p:nvPr/>
            </p:nvSpPr>
            <p:spPr>
              <a:xfrm>
                <a:off x="3408179" y="2555522"/>
                <a:ext cx="61647" cy="15418"/>
              </a:xfrm>
              <a:custGeom>
                <a:avLst/>
                <a:gdLst>
                  <a:gd name="connsiteX0" fmla="*/ 0 w 61647"/>
                  <a:gd name="connsiteY0" fmla="*/ 0 h 15418"/>
                  <a:gd name="connsiteX1" fmla="*/ 61647 w 61647"/>
                  <a:gd name="connsiteY1" fmla="*/ 0 h 15418"/>
                  <a:gd name="connsiteX2" fmla="*/ 61647 w 61647"/>
                  <a:gd name="connsiteY2" fmla="*/ 15419 h 15418"/>
                  <a:gd name="connsiteX3" fmla="*/ 0 w 61647"/>
                  <a:gd name="connsiteY3" fmla="*/ 15419 h 15418"/>
                </a:gdLst>
                <a:ahLst/>
                <a:cxnLst>
                  <a:cxn ang="0">
                    <a:pos x="connsiteX0" y="connsiteY0"/>
                  </a:cxn>
                  <a:cxn ang="0">
                    <a:pos x="connsiteX1" y="connsiteY1"/>
                  </a:cxn>
                  <a:cxn ang="0">
                    <a:pos x="connsiteX2" y="connsiteY2"/>
                  </a:cxn>
                  <a:cxn ang="0">
                    <a:pos x="connsiteX3" y="connsiteY3"/>
                  </a:cxn>
                </a:cxnLst>
                <a:rect l="l" t="t" r="r" b="b"/>
                <a:pathLst>
                  <a:path w="61647" h="15418">
                    <a:moveTo>
                      <a:pt x="0" y="0"/>
                    </a:moveTo>
                    <a:lnTo>
                      <a:pt x="61647" y="0"/>
                    </a:lnTo>
                    <a:lnTo>
                      <a:pt x="61647"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85" name="Freihandform: Form 584">
                <a:extLst>
                  <a:ext uri="{FF2B5EF4-FFF2-40B4-BE49-F238E27FC236}">
                    <a16:creationId xmlns:a16="http://schemas.microsoft.com/office/drawing/2014/main" id="{B41C5988-FE7F-467E-B7D2-BD3508A8A9D1}"/>
                  </a:ext>
                </a:extLst>
              </p:cNvPr>
              <p:cNvSpPr/>
              <p:nvPr/>
            </p:nvSpPr>
            <p:spPr>
              <a:xfrm rot="18900000">
                <a:off x="3400167" y="2482327"/>
                <a:ext cx="54495" cy="15404"/>
              </a:xfrm>
              <a:custGeom>
                <a:avLst/>
                <a:gdLst>
                  <a:gd name="connsiteX0" fmla="*/ 0 w 54495"/>
                  <a:gd name="connsiteY0" fmla="*/ 0 h 15404"/>
                  <a:gd name="connsiteX1" fmla="*/ 54496 w 54495"/>
                  <a:gd name="connsiteY1" fmla="*/ 0 h 15404"/>
                  <a:gd name="connsiteX2" fmla="*/ 54496 w 54495"/>
                  <a:gd name="connsiteY2" fmla="*/ 15405 h 15404"/>
                  <a:gd name="connsiteX3" fmla="*/ 0 w 54495"/>
                  <a:gd name="connsiteY3" fmla="*/ 15405 h 15404"/>
                </a:gdLst>
                <a:ahLst/>
                <a:cxnLst>
                  <a:cxn ang="0">
                    <a:pos x="connsiteX0" y="connsiteY0"/>
                  </a:cxn>
                  <a:cxn ang="0">
                    <a:pos x="connsiteX1" y="connsiteY1"/>
                  </a:cxn>
                  <a:cxn ang="0">
                    <a:pos x="connsiteX2" y="connsiteY2"/>
                  </a:cxn>
                  <a:cxn ang="0">
                    <a:pos x="connsiteX3" y="connsiteY3"/>
                  </a:cxn>
                </a:cxnLst>
                <a:rect l="l" t="t" r="r" b="b"/>
                <a:pathLst>
                  <a:path w="54495" h="15404">
                    <a:moveTo>
                      <a:pt x="0" y="0"/>
                    </a:moveTo>
                    <a:lnTo>
                      <a:pt x="54496" y="0"/>
                    </a:lnTo>
                    <a:lnTo>
                      <a:pt x="54496" y="15405"/>
                    </a:lnTo>
                    <a:lnTo>
                      <a:pt x="0" y="15405"/>
                    </a:lnTo>
                    <a:close/>
                  </a:path>
                </a:pathLst>
              </a:custGeom>
              <a:solidFill>
                <a:schemeClr val="accent1"/>
              </a:solidFill>
              <a:ln w="1375" cap="flat">
                <a:noFill/>
                <a:prstDash val="solid"/>
                <a:miter/>
              </a:ln>
            </p:spPr>
            <p:txBody>
              <a:bodyPr rtlCol="0" anchor="ctr"/>
              <a:lstStyle/>
              <a:p>
                <a:endParaRPr lang="en-GB" dirty="0"/>
              </a:p>
            </p:txBody>
          </p:sp>
          <p:sp>
            <p:nvSpPr>
              <p:cNvPr id="586" name="Freihandform: Form 585">
                <a:extLst>
                  <a:ext uri="{FF2B5EF4-FFF2-40B4-BE49-F238E27FC236}">
                    <a16:creationId xmlns:a16="http://schemas.microsoft.com/office/drawing/2014/main" id="{A1F0B907-0B3F-4675-8C0D-FA048CA8075F}"/>
                  </a:ext>
                </a:extLst>
              </p:cNvPr>
              <p:cNvSpPr/>
              <p:nvPr/>
            </p:nvSpPr>
            <p:spPr>
              <a:xfrm rot="18900000">
                <a:off x="3419713" y="2609202"/>
                <a:ext cx="15404" cy="54495"/>
              </a:xfrm>
              <a:custGeom>
                <a:avLst/>
                <a:gdLst>
                  <a:gd name="connsiteX0" fmla="*/ 0 w 15404"/>
                  <a:gd name="connsiteY0" fmla="*/ 0 h 54495"/>
                  <a:gd name="connsiteX1" fmla="*/ 15405 w 15404"/>
                  <a:gd name="connsiteY1" fmla="*/ 0 h 54495"/>
                  <a:gd name="connsiteX2" fmla="*/ 15405 w 15404"/>
                  <a:gd name="connsiteY2" fmla="*/ 54495 h 54495"/>
                  <a:gd name="connsiteX3" fmla="*/ 0 w 15404"/>
                  <a:gd name="connsiteY3" fmla="*/ 54495 h 54495"/>
                </a:gdLst>
                <a:ahLst/>
                <a:cxnLst>
                  <a:cxn ang="0">
                    <a:pos x="connsiteX0" y="connsiteY0"/>
                  </a:cxn>
                  <a:cxn ang="0">
                    <a:pos x="connsiteX1" y="connsiteY1"/>
                  </a:cxn>
                  <a:cxn ang="0">
                    <a:pos x="connsiteX2" y="connsiteY2"/>
                  </a:cxn>
                  <a:cxn ang="0">
                    <a:pos x="connsiteX3" y="connsiteY3"/>
                  </a:cxn>
                </a:cxnLst>
                <a:rect l="l" t="t" r="r" b="b"/>
                <a:pathLst>
                  <a:path w="15404" h="54495">
                    <a:moveTo>
                      <a:pt x="0" y="0"/>
                    </a:moveTo>
                    <a:lnTo>
                      <a:pt x="15405" y="0"/>
                    </a:lnTo>
                    <a:lnTo>
                      <a:pt x="15405" y="54495"/>
                    </a:lnTo>
                    <a:lnTo>
                      <a:pt x="0" y="54495"/>
                    </a:lnTo>
                    <a:close/>
                  </a:path>
                </a:pathLst>
              </a:custGeom>
              <a:solidFill>
                <a:schemeClr val="accent1"/>
              </a:solidFill>
              <a:ln w="1375" cap="flat">
                <a:noFill/>
                <a:prstDash val="solid"/>
                <a:miter/>
              </a:ln>
            </p:spPr>
            <p:txBody>
              <a:bodyPr rtlCol="0" anchor="ctr"/>
              <a:lstStyle/>
              <a:p>
                <a:endParaRPr lang="en-GB" dirty="0"/>
              </a:p>
            </p:txBody>
          </p:sp>
        </p:grpSp>
        <p:grpSp>
          <p:nvGrpSpPr>
            <p:cNvPr id="666" name="Gruppieren 665">
              <a:extLst>
                <a:ext uri="{FF2B5EF4-FFF2-40B4-BE49-F238E27FC236}">
                  <a16:creationId xmlns:a16="http://schemas.microsoft.com/office/drawing/2014/main" id="{F951ABD7-C88A-4630-96DB-95F3C6F96A55}"/>
                </a:ext>
              </a:extLst>
            </p:cNvPr>
            <p:cNvGrpSpPr/>
            <p:nvPr/>
          </p:nvGrpSpPr>
          <p:grpSpPr>
            <a:xfrm>
              <a:off x="2976648" y="2463051"/>
              <a:ext cx="400693" cy="462368"/>
              <a:chOff x="2976648" y="2463051"/>
              <a:chExt cx="400693" cy="462368"/>
            </a:xfrm>
          </p:grpSpPr>
          <p:sp>
            <p:nvSpPr>
              <p:cNvPr id="572" name="Freihandform: Form 571">
                <a:extLst>
                  <a:ext uri="{FF2B5EF4-FFF2-40B4-BE49-F238E27FC236}">
                    <a16:creationId xmlns:a16="http://schemas.microsoft.com/office/drawing/2014/main" id="{917F6651-2F2B-4549-AC0D-20AA91D8CE68}"/>
                  </a:ext>
                </a:extLst>
              </p:cNvPr>
              <p:cNvSpPr/>
              <p:nvPr/>
            </p:nvSpPr>
            <p:spPr>
              <a:xfrm>
                <a:off x="3022862" y="2601764"/>
                <a:ext cx="184955" cy="323655"/>
              </a:xfrm>
              <a:custGeom>
                <a:avLst/>
                <a:gdLst>
                  <a:gd name="connsiteX0" fmla="*/ 161835 w 184955"/>
                  <a:gd name="connsiteY0" fmla="*/ 323655 h 323655"/>
                  <a:gd name="connsiteX1" fmla="*/ 23121 w 184955"/>
                  <a:gd name="connsiteY1" fmla="*/ 323655 h 323655"/>
                  <a:gd name="connsiteX2" fmla="*/ 0 w 184955"/>
                  <a:gd name="connsiteY2" fmla="*/ 300534 h 323655"/>
                  <a:gd name="connsiteX3" fmla="*/ 0 w 184955"/>
                  <a:gd name="connsiteY3" fmla="*/ 23121 h 323655"/>
                  <a:gd name="connsiteX4" fmla="*/ 23121 w 184955"/>
                  <a:gd name="connsiteY4" fmla="*/ 0 h 323655"/>
                  <a:gd name="connsiteX5" fmla="*/ 161835 w 184955"/>
                  <a:gd name="connsiteY5" fmla="*/ 0 h 323655"/>
                  <a:gd name="connsiteX6" fmla="*/ 184956 w 184955"/>
                  <a:gd name="connsiteY6" fmla="*/ 23121 h 323655"/>
                  <a:gd name="connsiteX7" fmla="*/ 184956 w 184955"/>
                  <a:gd name="connsiteY7" fmla="*/ 300534 h 323655"/>
                  <a:gd name="connsiteX8" fmla="*/ 161835 w 184955"/>
                  <a:gd name="connsiteY8" fmla="*/ 323655 h 323655"/>
                  <a:gd name="connsiteX9" fmla="*/ 23135 w 184955"/>
                  <a:gd name="connsiteY9" fmla="*/ 15405 h 323655"/>
                  <a:gd name="connsiteX10" fmla="*/ 15433 w 184955"/>
                  <a:gd name="connsiteY10" fmla="*/ 23107 h 323655"/>
                  <a:gd name="connsiteX11" fmla="*/ 15433 w 184955"/>
                  <a:gd name="connsiteY11" fmla="*/ 300520 h 323655"/>
                  <a:gd name="connsiteX12" fmla="*/ 23135 w 184955"/>
                  <a:gd name="connsiteY12" fmla="*/ 308223 h 323655"/>
                  <a:gd name="connsiteX13" fmla="*/ 161848 w 184955"/>
                  <a:gd name="connsiteY13" fmla="*/ 308223 h 323655"/>
                  <a:gd name="connsiteX14" fmla="*/ 169551 w 184955"/>
                  <a:gd name="connsiteY14" fmla="*/ 300520 h 323655"/>
                  <a:gd name="connsiteX15" fmla="*/ 169551 w 184955"/>
                  <a:gd name="connsiteY15" fmla="*/ 23121 h 323655"/>
                  <a:gd name="connsiteX16" fmla="*/ 161848 w 184955"/>
                  <a:gd name="connsiteY16" fmla="*/ 15419 h 323655"/>
                  <a:gd name="connsiteX17" fmla="*/ 23135 w 184955"/>
                  <a:gd name="connsiteY17" fmla="*/ 15419 h 323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4955" h="323655">
                    <a:moveTo>
                      <a:pt x="161835" y="323655"/>
                    </a:moveTo>
                    <a:lnTo>
                      <a:pt x="23121" y="323655"/>
                    </a:lnTo>
                    <a:cubicBezTo>
                      <a:pt x="10376" y="323655"/>
                      <a:pt x="0" y="313280"/>
                      <a:pt x="0" y="300534"/>
                    </a:cubicBezTo>
                    <a:lnTo>
                      <a:pt x="0" y="23121"/>
                    </a:lnTo>
                    <a:cubicBezTo>
                      <a:pt x="0" y="10376"/>
                      <a:pt x="10376" y="0"/>
                      <a:pt x="23121" y="0"/>
                    </a:cubicBezTo>
                    <a:lnTo>
                      <a:pt x="161835" y="0"/>
                    </a:lnTo>
                    <a:cubicBezTo>
                      <a:pt x="174580" y="0"/>
                      <a:pt x="184956" y="10376"/>
                      <a:pt x="184956" y="23121"/>
                    </a:cubicBezTo>
                    <a:lnTo>
                      <a:pt x="184956" y="300534"/>
                    </a:lnTo>
                    <a:cubicBezTo>
                      <a:pt x="184956" y="313280"/>
                      <a:pt x="174594" y="323655"/>
                      <a:pt x="161835" y="323655"/>
                    </a:cubicBezTo>
                    <a:close/>
                    <a:moveTo>
                      <a:pt x="23135" y="15405"/>
                    </a:moveTo>
                    <a:cubicBezTo>
                      <a:pt x="18877" y="15405"/>
                      <a:pt x="15433" y="18863"/>
                      <a:pt x="15433" y="23107"/>
                    </a:cubicBezTo>
                    <a:lnTo>
                      <a:pt x="15433" y="300520"/>
                    </a:lnTo>
                    <a:cubicBezTo>
                      <a:pt x="15433" y="304764"/>
                      <a:pt x="18891" y="308223"/>
                      <a:pt x="23135" y="308223"/>
                    </a:cubicBezTo>
                    <a:lnTo>
                      <a:pt x="161848" y="308223"/>
                    </a:lnTo>
                    <a:cubicBezTo>
                      <a:pt x="166106" y="308223"/>
                      <a:pt x="169551" y="304764"/>
                      <a:pt x="169551" y="300520"/>
                    </a:cubicBezTo>
                    <a:lnTo>
                      <a:pt x="169551" y="23121"/>
                    </a:lnTo>
                    <a:cubicBezTo>
                      <a:pt x="169551" y="18877"/>
                      <a:pt x="166092" y="15419"/>
                      <a:pt x="161848" y="15419"/>
                    </a:cubicBezTo>
                    <a:lnTo>
                      <a:pt x="23135" y="15419"/>
                    </a:lnTo>
                    <a:close/>
                  </a:path>
                </a:pathLst>
              </a:custGeom>
              <a:solidFill>
                <a:schemeClr val="tx2"/>
              </a:solidFill>
              <a:ln w="1375" cap="flat">
                <a:noFill/>
                <a:prstDash val="solid"/>
                <a:miter/>
              </a:ln>
            </p:spPr>
            <p:txBody>
              <a:bodyPr rtlCol="0" anchor="ctr"/>
              <a:lstStyle/>
              <a:p>
                <a:endParaRPr lang="en-GB" dirty="0"/>
              </a:p>
            </p:txBody>
          </p:sp>
          <p:sp>
            <p:nvSpPr>
              <p:cNvPr id="573" name="Freihandform: Form 572">
                <a:extLst>
                  <a:ext uri="{FF2B5EF4-FFF2-40B4-BE49-F238E27FC236}">
                    <a16:creationId xmlns:a16="http://schemas.microsoft.com/office/drawing/2014/main" id="{D5727A7C-B4B6-4FFC-9480-1C4180F11843}"/>
                  </a:ext>
                </a:extLst>
              </p:cNvPr>
              <p:cNvSpPr/>
              <p:nvPr/>
            </p:nvSpPr>
            <p:spPr>
              <a:xfrm>
                <a:off x="3069119" y="2879177"/>
                <a:ext cx="130997" cy="15418"/>
              </a:xfrm>
              <a:custGeom>
                <a:avLst/>
                <a:gdLst>
                  <a:gd name="connsiteX0" fmla="*/ 0 w 130997"/>
                  <a:gd name="connsiteY0" fmla="*/ 0 h 15418"/>
                  <a:gd name="connsiteX1" fmla="*/ 130997 w 130997"/>
                  <a:gd name="connsiteY1" fmla="*/ 0 h 15418"/>
                  <a:gd name="connsiteX2" fmla="*/ 130997 w 130997"/>
                  <a:gd name="connsiteY2" fmla="*/ 15419 h 15418"/>
                  <a:gd name="connsiteX3" fmla="*/ 0 w 130997"/>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30997" h="15418">
                    <a:moveTo>
                      <a:pt x="0" y="0"/>
                    </a:moveTo>
                    <a:lnTo>
                      <a:pt x="130997" y="0"/>
                    </a:lnTo>
                    <a:lnTo>
                      <a:pt x="130997"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74" name="Freihandform: Form 573">
                <a:extLst>
                  <a:ext uri="{FF2B5EF4-FFF2-40B4-BE49-F238E27FC236}">
                    <a16:creationId xmlns:a16="http://schemas.microsoft.com/office/drawing/2014/main" id="{6F1A091D-E03E-49A0-B54A-1E022328A284}"/>
                  </a:ext>
                </a:extLst>
              </p:cNvPr>
              <p:cNvSpPr/>
              <p:nvPr/>
            </p:nvSpPr>
            <p:spPr>
              <a:xfrm>
                <a:off x="3030579" y="2879177"/>
                <a:ext cx="23121" cy="15418"/>
              </a:xfrm>
              <a:custGeom>
                <a:avLst/>
                <a:gdLst>
                  <a:gd name="connsiteX0" fmla="*/ 0 w 23121"/>
                  <a:gd name="connsiteY0" fmla="*/ 0 h 15418"/>
                  <a:gd name="connsiteX1" fmla="*/ 23121 w 23121"/>
                  <a:gd name="connsiteY1" fmla="*/ 0 h 15418"/>
                  <a:gd name="connsiteX2" fmla="*/ 23121 w 23121"/>
                  <a:gd name="connsiteY2" fmla="*/ 15419 h 15418"/>
                  <a:gd name="connsiteX3" fmla="*/ 0 w 23121"/>
                  <a:gd name="connsiteY3" fmla="*/ 15419 h 15418"/>
                </a:gdLst>
                <a:ahLst/>
                <a:cxnLst>
                  <a:cxn ang="0">
                    <a:pos x="connsiteX0" y="connsiteY0"/>
                  </a:cxn>
                  <a:cxn ang="0">
                    <a:pos x="connsiteX1" y="connsiteY1"/>
                  </a:cxn>
                  <a:cxn ang="0">
                    <a:pos x="connsiteX2" y="connsiteY2"/>
                  </a:cxn>
                  <a:cxn ang="0">
                    <a:pos x="connsiteX3" y="connsiteY3"/>
                  </a:cxn>
                </a:cxnLst>
                <a:rect l="l" t="t" r="r" b="b"/>
                <a:pathLst>
                  <a:path w="23121" h="15418">
                    <a:moveTo>
                      <a:pt x="0" y="0"/>
                    </a:moveTo>
                    <a:lnTo>
                      <a:pt x="23121" y="0"/>
                    </a:lnTo>
                    <a:lnTo>
                      <a:pt x="23121"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75" name="Freihandform: Form 574">
                <a:extLst>
                  <a:ext uri="{FF2B5EF4-FFF2-40B4-BE49-F238E27FC236}">
                    <a16:creationId xmlns:a16="http://schemas.microsoft.com/office/drawing/2014/main" id="{23FA9B8A-DAE8-4969-BC22-91B0E8CD8F65}"/>
                  </a:ext>
                </a:extLst>
              </p:cNvPr>
              <p:cNvSpPr/>
              <p:nvPr/>
            </p:nvSpPr>
            <p:spPr>
              <a:xfrm>
                <a:off x="3069119" y="2632588"/>
                <a:ext cx="130997" cy="15418"/>
              </a:xfrm>
              <a:custGeom>
                <a:avLst/>
                <a:gdLst>
                  <a:gd name="connsiteX0" fmla="*/ 0 w 130997"/>
                  <a:gd name="connsiteY0" fmla="*/ 0 h 15418"/>
                  <a:gd name="connsiteX1" fmla="*/ 130997 w 130997"/>
                  <a:gd name="connsiteY1" fmla="*/ 0 h 15418"/>
                  <a:gd name="connsiteX2" fmla="*/ 130997 w 130997"/>
                  <a:gd name="connsiteY2" fmla="*/ 15419 h 15418"/>
                  <a:gd name="connsiteX3" fmla="*/ 0 w 130997"/>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30997" h="15418">
                    <a:moveTo>
                      <a:pt x="0" y="0"/>
                    </a:moveTo>
                    <a:lnTo>
                      <a:pt x="130997" y="0"/>
                    </a:lnTo>
                    <a:lnTo>
                      <a:pt x="130997"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76" name="Freihandform: Form 575">
                <a:extLst>
                  <a:ext uri="{FF2B5EF4-FFF2-40B4-BE49-F238E27FC236}">
                    <a16:creationId xmlns:a16="http://schemas.microsoft.com/office/drawing/2014/main" id="{5B4AB2FB-1ADE-4C07-89C8-C3BA648D7D55}"/>
                  </a:ext>
                </a:extLst>
              </p:cNvPr>
              <p:cNvSpPr/>
              <p:nvPr/>
            </p:nvSpPr>
            <p:spPr>
              <a:xfrm>
                <a:off x="3030579" y="2632588"/>
                <a:ext cx="23121" cy="15418"/>
              </a:xfrm>
              <a:custGeom>
                <a:avLst/>
                <a:gdLst>
                  <a:gd name="connsiteX0" fmla="*/ 0 w 23121"/>
                  <a:gd name="connsiteY0" fmla="*/ 0 h 15418"/>
                  <a:gd name="connsiteX1" fmla="*/ 23121 w 23121"/>
                  <a:gd name="connsiteY1" fmla="*/ 0 h 15418"/>
                  <a:gd name="connsiteX2" fmla="*/ 23121 w 23121"/>
                  <a:gd name="connsiteY2" fmla="*/ 15419 h 15418"/>
                  <a:gd name="connsiteX3" fmla="*/ 0 w 23121"/>
                  <a:gd name="connsiteY3" fmla="*/ 15419 h 15418"/>
                </a:gdLst>
                <a:ahLst/>
                <a:cxnLst>
                  <a:cxn ang="0">
                    <a:pos x="connsiteX0" y="connsiteY0"/>
                  </a:cxn>
                  <a:cxn ang="0">
                    <a:pos x="connsiteX1" y="connsiteY1"/>
                  </a:cxn>
                  <a:cxn ang="0">
                    <a:pos x="connsiteX2" y="connsiteY2"/>
                  </a:cxn>
                  <a:cxn ang="0">
                    <a:pos x="connsiteX3" y="connsiteY3"/>
                  </a:cxn>
                </a:cxnLst>
                <a:rect l="l" t="t" r="r" b="b"/>
                <a:pathLst>
                  <a:path w="23121" h="15418">
                    <a:moveTo>
                      <a:pt x="0" y="0"/>
                    </a:moveTo>
                    <a:lnTo>
                      <a:pt x="23121" y="0"/>
                    </a:lnTo>
                    <a:lnTo>
                      <a:pt x="23121"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77" name="Freihandform: Form 576">
                <a:extLst>
                  <a:ext uri="{FF2B5EF4-FFF2-40B4-BE49-F238E27FC236}">
                    <a16:creationId xmlns:a16="http://schemas.microsoft.com/office/drawing/2014/main" id="{07C6338E-2314-4B2D-AD00-C79A42DED03A}"/>
                  </a:ext>
                </a:extLst>
              </p:cNvPr>
              <p:cNvSpPr/>
              <p:nvPr/>
            </p:nvSpPr>
            <p:spPr>
              <a:xfrm>
                <a:off x="3053700" y="2725059"/>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78" name="Freihandform: Form 577">
                <a:extLst>
                  <a:ext uri="{FF2B5EF4-FFF2-40B4-BE49-F238E27FC236}">
                    <a16:creationId xmlns:a16="http://schemas.microsoft.com/office/drawing/2014/main" id="{4F41481B-7B4F-4931-B28A-10D7DA1AF2E6}"/>
                  </a:ext>
                </a:extLst>
              </p:cNvPr>
              <p:cNvSpPr/>
              <p:nvPr/>
            </p:nvSpPr>
            <p:spPr>
              <a:xfrm>
                <a:off x="3053700" y="2755882"/>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79" name="Freihandform: Form 578">
                <a:extLst>
                  <a:ext uri="{FF2B5EF4-FFF2-40B4-BE49-F238E27FC236}">
                    <a16:creationId xmlns:a16="http://schemas.microsoft.com/office/drawing/2014/main" id="{94C5E2B2-DA45-4381-8D1B-0B15F40C8668}"/>
                  </a:ext>
                </a:extLst>
              </p:cNvPr>
              <p:cNvSpPr/>
              <p:nvPr/>
            </p:nvSpPr>
            <p:spPr>
              <a:xfrm>
                <a:off x="3053700" y="2786706"/>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80" name="Freihandform: Form 579">
                <a:extLst>
                  <a:ext uri="{FF2B5EF4-FFF2-40B4-BE49-F238E27FC236}">
                    <a16:creationId xmlns:a16="http://schemas.microsoft.com/office/drawing/2014/main" id="{C9F8ACF9-AD78-40A2-A02C-6BE020EE4A51}"/>
                  </a:ext>
                </a:extLst>
              </p:cNvPr>
              <p:cNvSpPr/>
              <p:nvPr/>
            </p:nvSpPr>
            <p:spPr>
              <a:xfrm>
                <a:off x="3084523" y="2524698"/>
                <a:ext cx="61647" cy="30823"/>
              </a:xfrm>
              <a:custGeom>
                <a:avLst/>
                <a:gdLst>
                  <a:gd name="connsiteX0" fmla="*/ 61647 w 61647"/>
                  <a:gd name="connsiteY0" fmla="*/ 30824 h 30823"/>
                  <a:gd name="connsiteX1" fmla="*/ 0 w 61647"/>
                  <a:gd name="connsiteY1" fmla="*/ 30824 h 30823"/>
                  <a:gd name="connsiteX2" fmla="*/ 0 w 61647"/>
                  <a:gd name="connsiteY2" fmla="*/ 0 h 30823"/>
                  <a:gd name="connsiteX3" fmla="*/ 61647 w 61647"/>
                  <a:gd name="connsiteY3" fmla="*/ 0 h 30823"/>
                  <a:gd name="connsiteX4" fmla="*/ 61647 w 61647"/>
                  <a:gd name="connsiteY4" fmla="*/ 30824 h 30823"/>
                  <a:gd name="connsiteX5" fmla="*/ 15419 w 61647"/>
                  <a:gd name="connsiteY5" fmla="*/ 15419 h 30823"/>
                  <a:gd name="connsiteX6" fmla="*/ 46242 w 61647"/>
                  <a:gd name="connsiteY6" fmla="*/ 15419 h 30823"/>
                  <a:gd name="connsiteX7" fmla="*/ 15419 w 61647"/>
                  <a:gd name="connsiteY7" fmla="*/ 15419 h 30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47" h="30823">
                    <a:moveTo>
                      <a:pt x="61647" y="30824"/>
                    </a:moveTo>
                    <a:lnTo>
                      <a:pt x="0" y="30824"/>
                    </a:lnTo>
                    <a:lnTo>
                      <a:pt x="0" y="0"/>
                    </a:lnTo>
                    <a:lnTo>
                      <a:pt x="61647" y="0"/>
                    </a:lnTo>
                    <a:lnTo>
                      <a:pt x="61647" y="30824"/>
                    </a:lnTo>
                    <a:close/>
                    <a:moveTo>
                      <a:pt x="15419" y="15419"/>
                    </a:moveTo>
                    <a:lnTo>
                      <a:pt x="46242" y="15419"/>
                    </a:lnTo>
                    <a:lnTo>
                      <a:pt x="15419" y="15419"/>
                    </a:lnTo>
                    <a:close/>
                  </a:path>
                </a:pathLst>
              </a:custGeom>
              <a:solidFill>
                <a:schemeClr val="tx2"/>
              </a:solidFill>
              <a:ln w="1375" cap="flat">
                <a:noFill/>
                <a:prstDash val="solid"/>
                <a:miter/>
              </a:ln>
            </p:spPr>
            <p:txBody>
              <a:bodyPr rtlCol="0" anchor="ctr"/>
              <a:lstStyle/>
              <a:p>
                <a:endParaRPr lang="en-GB" dirty="0"/>
              </a:p>
            </p:txBody>
          </p:sp>
          <p:sp>
            <p:nvSpPr>
              <p:cNvPr id="581" name="Freihandform: Form 580">
                <a:extLst>
                  <a:ext uri="{FF2B5EF4-FFF2-40B4-BE49-F238E27FC236}">
                    <a16:creationId xmlns:a16="http://schemas.microsoft.com/office/drawing/2014/main" id="{7CB81FF9-7D65-429E-873B-6C43A0401598}"/>
                  </a:ext>
                </a:extLst>
              </p:cNvPr>
              <p:cNvSpPr/>
              <p:nvPr/>
            </p:nvSpPr>
            <p:spPr>
              <a:xfrm>
                <a:off x="2976648" y="2463051"/>
                <a:ext cx="400693" cy="200360"/>
              </a:xfrm>
              <a:custGeom>
                <a:avLst/>
                <a:gdLst>
                  <a:gd name="connsiteX0" fmla="*/ 393005 w 400693"/>
                  <a:gd name="connsiteY0" fmla="*/ 200361 h 200360"/>
                  <a:gd name="connsiteX1" fmla="*/ 385303 w 400693"/>
                  <a:gd name="connsiteY1" fmla="*/ 200361 h 200360"/>
                  <a:gd name="connsiteX2" fmla="*/ 379860 w 400693"/>
                  <a:gd name="connsiteY2" fmla="*/ 198101 h 200360"/>
                  <a:gd name="connsiteX3" fmla="*/ 231184 w 400693"/>
                  <a:gd name="connsiteY3" fmla="*/ 123295 h 200360"/>
                  <a:gd name="connsiteX4" fmla="*/ 169537 w 400693"/>
                  <a:gd name="connsiteY4" fmla="*/ 123295 h 200360"/>
                  <a:gd name="connsiteX5" fmla="*/ 169537 w 400693"/>
                  <a:gd name="connsiteY5" fmla="*/ 107876 h 200360"/>
                  <a:gd name="connsiteX6" fmla="*/ 231184 w 400693"/>
                  <a:gd name="connsiteY6" fmla="*/ 107876 h 200360"/>
                  <a:gd name="connsiteX7" fmla="*/ 385303 w 400693"/>
                  <a:gd name="connsiteY7" fmla="*/ 182007 h 200360"/>
                  <a:gd name="connsiteX8" fmla="*/ 385303 w 400693"/>
                  <a:gd name="connsiteY8" fmla="*/ 18340 h 200360"/>
                  <a:gd name="connsiteX9" fmla="*/ 231184 w 400693"/>
                  <a:gd name="connsiteY9" fmla="*/ 92471 h 200360"/>
                  <a:gd name="connsiteX10" fmla="*/ 53945 w 400693"/>
                  <a:gd name="connsiteY10" fmla="*/ 92471 h 200360"/>
                  <a:gd name="connsiteX11" fmla="*/ 48502 w 400693"/>
                  <a:gd name="connsiteY11" fmla="*/ 90211 h 200360"/>
                  <a:gd name="connsiteX12" fmla="*/ 35536 w 400693"/>
                  <a:gd name="connsiteY12" fmla="*/ 77245 h 200360"/>
                  <a:gd name="connsiteX13" fmla="*/ 15419 w 400693"/>
                  <a:gd name="connsiteY13" fmla="*/ 100173 h 200360"/>
                  <a:gd name="connsiteX14" fmla="*/ 35536 w 400693"/>
                  <a:gd name="connsiteY14" fmla="*/ 123102 h 200360"/>
                  <a:gd name="connsiteX15" fmla="*/ 48502 w 400693"/>
                  <a:gd name="connsiteY15" fmla="*/ 110136 h 200360"/>
                  <a:gd name="connsiteX16" fmla="*/ 53945 w 400693"/>
                  <a:gd name="connsiteY16" fmla="*/ 107876 h 200360"/>
                  <a:gd name="connsiteX17" fmla="*/ 84768 w 400693"/>
                  <a:gd name="connsiteY17" fmla="*/ 107876 h 200360"/>
                  <a:gd name="connsiteX18" fmla="*/ 92471 w 400693"/>
                  <a:gd name="connsiteY18" fmla="*/ 115578 h 200360"/>
                  <a:gd name="connsiteX19" fmla="*/ 92471 w 400693"/>
                  <a:gd name="connsiteY19" fmla="*/ 146402 h 200360"/>
                  <a:gd name="connsiteX20" fmla="*/ 77052 w 400693"/>
                  <a:gd name="connsiteY20" fmla="*/ 146402 h 200360"/>
                  <a:gd name="connsiteX21" fmla="*/ 77052 w 400693"/>
                  <a:gd name="connsiteY21" fmla="*/ 123281 h 200360"/>
                  <a:gd name="connsiteX22" fmla="*/ 57128 w 400693"/>
                  <a:gd name="connsiteY22" fmla="*/ 123281 h 200360"/>
                  <a:gd name="connsiteX23" fmla="*/ 43969 w 400693"/>
                  <a:gd name="connsiteY23" fmla="*/ 136440 h 200360"/>
                  <a:gd name="connsiteX24" fmla="*/ 38526 w 400693"/>
                  <a:gd name="connsiteY24" fmla="*/ 138700 h 200360"/>
                  <a:gd name="connsiteX25" fmla="*/ 0 w 400693"/>
                  <a:gd name="connsiteY25" fmla="*/ 100173 h 200360"/>
                  <a:gd name="connsiteX26" fmla="*/ 38526 w 400693"/>
                  <a:gd name="connsiteY26" fmla="*/ 61647 h 200360"/>
                  <a:gd name="connsiteX27" fmla="*/ 43969 w 400693"/>
                  <a:gd name="connsiteY27" fmla="*/ 63907 h 200360"/>
                  <a:gd name="connsiteX28" fmla="*/ 57128 w 400693"/>
                  <a:gd name="connsiteY28" fmla="*/ 77066 h 200360"/>
                  <a:gd name="connsiteX29" fmla="*/ 231170 w 400693"/>
                  <a:gd name="connsiteY29" fmla="*/ 77066 h 200360"/>
                  <a:gd name="connsiteX30" fmla="*/ 379846 w 400693"/>
                  <a:gd name="connsiteY30" fmla="*/ 2260 h 200360"/>
                  <a:gd name="connsiteX31" fmla="*/ 385289 w 400693"/>
                  <a:gd name="connsiteY31" fmla="*/ 0 h 200360"/>
                  <a:gd name="connsiteX32" fmla="*/ 392991 w 400693"/>
                  <a:gd name="connsiteY32" fmla="*/ 0 h 200360"/>
                  <a:gd name="connsiteX33" fmla="*/ 400694 w 400693"/>
                  <a:gd name="connsiteY33" fmla="*/ 7703 h 200360"/>
                  <a:gd name="connsiteX34" fmla="*/ 400694 w 400693"/>
                  <a:gd name="connsiteY34" fmla="*/ 192658 h 200360"/>
                  <a:gd name="connsiteX35" fmla="*/ 393005 w 400693"/>
                  <a:gd name="connsiteY35" fmla="*/ 200361 h 200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00693" h="200360">
                    <a:moveTo>
                      <a:pt x="393005" y="200361"/>
                    </a:moveTo>
                    <a:lnTo>
                      <a:pt x="385303" y="200361"/>
                    </a:lnTo>
                    <a:cubicBezTo>
                      <a:pt x="383263" y="200361"/>
                      <a:pt x="381293" y="199548"/>
                      <a:pt x="379860" y="198101"/>
                    </a:cubicBezTo>
                    <a:cubicBezTo>
                      <a:pt x="379116" y="197357"/>
                      <a:pt x="304103" y="123295"/>
                      <a:pt x="231184" y="123295"/>
                    </a:cubicBezTo>
                    <a:lnTo>
                      <a:pt x="169537" y="123295"/>
                    </a:lnTo>
                    <a:lnTo>
                      <a:pt x="169537" y="107876"/>
                    </a:lnTo>
                    <a:lnTo>
                      <a:pt x="231184" y="107876"/>
                    </a:lnTo>
                    <a:cubicBezTo>
                      <a:pt x="299473" y="107876"/>
                      <a:pt x="366026" y="164246"/>
                      <a:pt x="385303" y="182007"/>
                    </a:cubicBezTo>
                    <a:lnTo>
                      <a:pt x="385303" y="18340"/>
                    </a:lnTo>
                    <a:cubicBezTo>
                      <a:pt x="366026" y="36101"/>
                      <a:pt x="299473" y="92471"/>
                      <a:pt x="231184" y="92471"/>
                    </a:cubicBezTo>
                    <a:lnTo>
                      <a:pt x="53945" y="92471"/>
                    </a:lnTo>
                    <a:cubicBezTo>
                      <a:pt x="51892" y="92471"/>
                      <a:pt x="49935" y="91658"/>
                      <a:pt x="48502" y="90211"/>
                    </a:cubicBezTo>
                    <a:lnTo>
                      <a:pt x="35536" y="77245"/>
                    </a:lnTo>
                    <a:cubicBezTo>
                      <a:pt x="24196" y="78720"/>
                      <a:pt x="15419" y="88434"/>
                      <a:pt x="15419" y="100173"/>
                    </a:cubicBezTo>
                    <a:cubicBezTo>
                      <a:pt x="15419" y="111899"/>
                      <a:pt x="24196" y="121627"/>
                      <a:pt x="35536" y="123102"/>
                    </a:cubicBezTo>
                    <a:lnTo>
                      <a:pt x="48502" y="110136"/>
                    </a:lnTo>
                    <a:cubicBezTo>
                      <a:pt x="49949" y="108689"/>
                      <a:pt x="51905" y="107876"/>
                      <a:pt x="53945" y="107876"/>
                    </a:cubicBezTo>
                    <a:lnTo>
                      <a:pt x="84768" y="107876"/>
                    </a:lnTo>
                    <a:cubicBezTo>
                      <a:pt x="89026" y="107876"/>
                      <a:pt x="92471" y="111321"/>
                      <a:pt x="92471" y="115578"/>
                    </a:cubicBezTo>
                    <a:lnTo>
                      <a:pt x="92471" y="146402"/>
                    </a:lnTo>
                    <a:lnTo>
                      <a:pt x="77052" y="146402"/>
                    </a:lnTo>
                    <a:lnTo>
                      <a:pt x="77052" y="123281"/>
                    </a:lnTo>
                    <a:lnTo>
                      <a:pt x="57128" y="123281"/>
                    </a:lnTo>
                    <a:lnTo>
                      <a:pt x="43969" y="136440"/>
                    </a:lnTo>
                    <a:cubicBezTo>
                      <a:pt x="42522" y="137887"/>
                      <a:pt x="40565" y="138700"/>
                      <a:pt x="38526" y="138700"/>
                    </a:cubicBezTo>
                    <a:cubicBezTo>
                      <a:pt x="17279" y="138700"/>
                      <a:pt x="0" y="121407"/>
                      <a:pt x="0" y="100173"/>
                    </a:cubicBezTo>
                    <a:cubicBezTo>
                      <a:pt x="0" y="78926"/>
                      <a:pt x="17293" y="61647"/>
                      <a:pt x="38526" y="61647"/>
                    </a:cubicBezTo>
                    <a:cubicBezTo>
                      <a:pt x="40579" y="61647"/>
                      <a:pt x="42536" y="62460"/>
                      <a:pt x="43969" y="63907"/>
                    </a:cubicBezTo>
                    <a:lnTo>
                      <a:pt x="57128" y="77066"/>
                    </a:lnTo>
                    <a:lnTo>
                      <a:pt x="231170" y="77066"/>
                    </a:lnTo>
                    <a:cubicBezTo>
                      <a:pt x="304199" y="77066"/>
                      <a:pt x="379102" y="3018"/>
                      <a:pt x="379846" y="2260"/>
                    </a:cubicBezTo>
                    <a:cubicBezTo>
                      <a:pt x="381293" y="813"/>
                      <a:pt x="383250" y="0"/>
                      <a:pt x="385289" y="0"/>
                    </a:cubicBezTo>
                    <a:lnTo>
                      <a:pt x="392991" y="0"/>
                    </a:lnTo>
                    <a:cubicBezTo>
                      <a:pt x="397249" y="0"/>
                      <a:pt x="400694" y="3445"/>
                      <a:pt x="400694" y="7703"/>
                    </a:cubicBezTo>
                    <a:lnTo>
                      <a:pt x="400694" y="192658"/>
                    </a:lnTo>
                    <a:cubicBezTo>
                      <a:pt x="400707" y="196902"/>
                      <a:pt x="397263" y="200361"/>
                      <a:pt x="393005" y="200361"/>
                    </a:cubicBezTo>
                    <a:close/>
                  </a:path>
                </a:pathLst>
              </a:custGeom>
              <a:solidFill>
                <a:schemeClr val="tx2"/>
              </a:solidFill>
              <a:ln w="1375" cap="flat">
                <a:noFill/>
                <a:prstDash val="solid"/>
                <a:miter/>
              </a:ln>
            </p:spPr>
            <p:txBody>
              <a:bodyPr rtlCol="0" anchor="ctr"/>
              <a:lstStyle/>
              <a:p>
                <a:endParaRPr lang="en-GB" dirty="0"/>
              </a:p>
            </p:txBody>
          </p:sp>
          <p:sp>
            <p:nvSpPr>
              <p:cNvPr id="582" name="Freihandform: Form 581">
                <a:extLst>
                  <a:ext uri="{FF2B5EF4-FFF2-40B4-BE49-F238E27FC236}">
                    <a16:creationId xmlns:a16="http://schemas.microsoft.com/office/drawing/2014/main" id="{87534ACE-0289-4920-ACB6-3C966615FEBB}"/>
                  </a:ext>
                </a:extLst>
              </p:cNvPr>
              <p:cNvSpPr/>
              <p:nvPr/>
            </p:nvSpPr>
            <p:spPr>
              <a:xfrm>
                <a:off x="3161590" y="2578643"/>
                <a:ext cx="15418" cy="30823"/>
              </a:xfrm>
              <a:custGeom>
                <a:avLst/>
                <a:gdLst>
                  <a:gd name="connsiteX0" fmla="*/ 0 w 15418"/>
                  <a:gd name="connsiteY0" fmla="*/ 0 h 30823"/>
                  <a:gd name="connsiteX1" fmla="*/ 15419 w 15418"/>
                  <a:gd name="connsiteY1" fmla="*/ 0 h 30823"/>
                  <a:gd name="connsiteX2" fmla="*/ 15419 w 15418"/>
                  <a:gd name="connsiteY2" fmla="*/ 30824 h 30823"/>
                  <a:gd name="connsiteX3" fmla="*/ 0 w 15418"/>
                  <a:gd name="connsiteY3" fmla="*/ 30824 h 30823"/>
                </a:gdLst>
                <a:ahLst/>
                <a:cxnLst>
                  <a:cxn ang="0">
                    <a:pos x="connsiteX0" y="connsiteY0"/>
                  </a:cxn>
                  <a:cxn ang="0">
                    <a:pos x="connsiteX1" y="connsiteY1"/>
                  </a:cxn>
                  <a:cxn ang="0">
                    <a:pos x="connsiteX2" y="connsiteY2"/>
                  </a:cxn>
                  <a:cxn ang="0">
                    <a:pos x="connsiteX3" y="connsiteY3"/>
                  </a:cxn>
                </a:cxnLst>
                <a:rect l="l" t="t" r="r" b="b"/>
                <a:pathLst>
                  <a:path w="15418" h="30823">
                    <a:moveTo>
                      <a:pt x="0" y="0"/>
                    </a:moveTo>
                    <a:lnTo>
                      <a:pt x="15419" y="0"/>
                    </a:lnTo>
                    <a:lnTo>
                      <a:pt x="15419" y="30824"/>
                    </a:lnTo>
                    <a:lnTo>
                      <a:pt x="0" y="30824"/>
                    </a:lnTo>
                    <a:close/>
                  </a:path>
                </a:pathLst>
              </a:custGeom>
              <a:solidFill>
                <a:schemeClr val="tx2"/>
              </a:solidFill>
              <a:ln w="1375" cap="flat">
                <a:noFill/>
                <a:prstDash val="solid"/>
                <a:miter/>
              </a:ln>
            </p:spPr>
            <p:txBody>
              <a:bodyPr rtlCol="0" anchor="ctr"/>
              <a:lstStyle/>
              <a:p>
                <a:endParaRPr lang="en-GB" dirty="0"/>
              </a:p>
            </p:txBody>
          </p:sp>
          <p:sp>
            <p:nvSpPr>
              <p:cNvPr id="583" name="Freihandform: Form 582">
                <a:extLst>
                  <a:ext uri="{FF2B5EF4-FFF2-40B4-BE49-F238E27FC236}">
                    <a16:creationId xmlns:a16="http://schemas.microsoft.com/office/drawing/2014/main" id="{6173F267-43C2-4C56-B0E3-1332454FBC58}"/>
                  </a:ext>
                </a:extLst>
              </p:cNvPr>
              <p:cNvSpPr/>
              <p:nvPr/>
            </p:nvSpPr>
            <p:spPr>
              <a:xfrm>
                <a:off x="3146171" y="2640290"/>
                <a:ext cx="15418" cy="246589"/>
              </a:xfrm>
              <a:custGeom>
                <a:avLst/>
                <a:gdLst>
                  <a:gd name="connsiteX0" fmla="*/ 0 w 15418"/>
                  <a:gd name="connsiteY0" fmla="*/ 0 h 246589"/>
                  <a:gd name="connsiteX1" fmla="*/ 15419 w 15418"/>
                  <a:gd name="connsiteY1" fmla="*/ 0 h 246589"/>
                  <a:gd name="connsiteX2" fmla="*/ 15419 w 15418"/>
                  <a:gd name="connsiteY2" fmla="*/ 246589 h 246589"/>
                  <a:gd name="connsiteX3" fmla="*/ 0 w 15418"/>
                  <a:gd name="connsiteY3" fmla="*/ 246589 h 246589"/>
                </a:gdLst>
                <a:ahLst/>
                <a:cxnLst>
                  <a:cxn ang="0">
                    <a:pos x="connsiteX0" y="connsiteY0"/>
                  </a:cxn>
                  <a:cxn ang="0">
                    <a:pos x="connsiteX1" y="connsiteY1"/>
                  </a:cxn>
                  <a:cxn ang="0">
                    <a:pos x="connsiteX2" y="connsiteY2"/>
                  </a:cxn>
                  <a:cxn ang="0">
                    <a:pos x="connsiteX3" y="connsiteY3"/>
                  </a:cxn>
                </a:cxnLst>
                <a:rect l="l" t="t" r="r" b="b"/>
                <a:pathLst>
                  <a:path w="15418" h="246589">
                    <a:moveTo>
                      <a:pt x="0" y="0"/>
                    </a:moveTo>
                    <a:lnTo>
                      <a:pt x="15419" y="0"/>
                    </a:lnTo>
                    <a:lnTo>
                      <a:pt x="15419" y="246589"/>
                    </a:lnTo>
                    <a:lnTo>
                      <a:pt x="0" y="246589"/>
                    </a:lnTo>
                    <a:close/>
                  </a:path>
                </a:pathLst>
              </a:custGeom>
              <a:solidFill>
                <a:schemeClr val="tx2"/>
              </a:solidFill>
              <a:ln w="1375" cap="flat">
                <a:noFill/>
                <a:prstDash val="solid"/>
                <a:miter/>
              </a:ln>
            </p:spPr>
            <p:txBody>
              <a:bodyPr rtlCol="0" anchor="ctr"/>
              <a:lstStyle/>
              <a:p>
                <a:endParaRPr lang="en-GB" dirty="0"/>
              </a:p>
            </p:txBody>
          </p:sp>
          <p:sp>
            <p:nvSpPr>
              <p:cNvPr id="587" name="Freihandform: Form 586">
                <a:extLst>
                  <a:ext uri="{FF2B5EF4-FFF2-40B4-BE49-F238E27FC236}">
                    <a16:creationId xmlns:a16="http://schemas.microsoft.com/office/drawing/2014/main" id="{080E02E8-4DEB-4E64-82CE-00DA47922391}"/>
                  </a:ext>
                </a:extLst>
              </p:cNvPr>
              <p:cNvSpPr/>
              <p:nvPr/>
            </p:nvSpPr>
            <p:spPr>
              <a:xfrm>
                <a:off x="3331113" y="2493875"/>
                <a:ext cx="15418" cy="138713"/>
              </a:xfrm>
              <a:custGeom>
                <a:avLst/>
                <a:gdLst>
                  <a:gd name="connsiteX0" fmla="*/ 0 w 15418"/>
                  <a:gd name="connsiteY0" fmla="*/ 0 h 138713"/>
                  <a:gd name="connsiteX1" fmla="*/ 15419 w 15418"/>
                  <a:gd name="connsiteY1" fmla="*/ 0 h 138713"/>
                  <a:gd name="connsiteX2" fmla="*/ 15419 w 15418"/>
                  <a:gd name="connsiteY2" fmla="*/ 138713 h 138713"/>
                  <a:gd name="connsiteX3" fmla="*/ 0 w 15418"/>
                  <a:gd name="connsiteY3" fmla="*/ 138713 h 138713"/>
                </a:gdLst>
                <a:ahLst/>
                <a:cxnLst>
                  <a:cxn ang="0">
                    <a:pos x="connsiteX0" y="connsiteY0"/>
                  </a:cxn>
                  <a:cxn ang="0">
                    <a:pos x="connsiteX1" y="connsiteY1"/>
                  </a:cxn>
                  <a:cxn ang="0">
                    <a:pos x="connsiteX2" y="connsiteY2"/>
                  </a:cxn>
                  <a:cxn ang="0">
                    <a:pos x="connsiteX3" y="connsiteY3"/>
                  </a:cxn>
                </a:cxnLst>
                <a:rect l="l" t="t" r="r" b="b"/>
                <a:pathLst>
                  <a:path w="15418" h="138713">
                    <a:moveTo>
                      <a:pt x="0" y="0"/>
                    </a:moveTo>
                    <a:lnTo>
                      <a:pt x="15419" y="0"/>
                    </a:lnTo>
                    <a:lnTo>
                      <a:pt x="15419" y="138713"/>
                    </a:lnTo>
                    <a:lnTo>
                      <a:pt x="0" y="138713"/>
                    </a:lnTo>
                    <a:close/>
                  </a:path>
                </a:pathLst>
              </a:custGeom>
              <a:solidFill>
                <a:schemeClr val="tx2"/>
              </a:solidFill>
              <a:ln w="1375" cap="flat">
                <a:noFill/>
                <a:prstDash val="solid"/>
                <a:miter/>
              </a:ln>
            </p:spPr>
            <p:txBody>
              <a:bodyPr rtlCol="0" anchor="ctr"/>
              <a:lstStyle/>
              <a:p>
                <a:endParaRPr lang="en-GB" dirty="0"/>
              </a:p>
            </p:txBody>
          </p:sp>
        </p:grpSp>
      </p:grpSp>
      <p:grpSp>
        <p:nvGrpSpPr>
          <p:cNvPr id="678" name="Gruppieren 677">
            <a:extLst>
              <a:ext uri="{FF2B5EF4-FFF2-40B4-BE49-F238E27FC236}">
                <a16:creationId xmlns:a16="http://schemas.microsoft.com/office/drawing/2014/main" id="{8C3472E3-AADB-43CF-8D7E-F3CD55E01590}"/>
              </a:ext>
            </a:extLst>
          </p:cNvPr>
          <p:cNvGrpSpPr>
            <a:grpSpLocks noChangeAspect="1"/>
          </p:cNvGrpSpPr>
          <p:nvPr/>
        </p:nvGrpSpPr>
        <p:grpSpPr>
          <a:xfrm>
            <a:off x="1284331" y="3273399"/>
            <a:ext cx="493698" cy="432000"/>
            <a:chOff x="1319846" y="3303008"/>
            <a:chExt cx="493178" cy="431544"/>
          </a:xfrm>
        </p:grpSpPr>
        <p:grpSp>
          <p:nvGrpSpPr>
            <p:cNvPr id="677" name="Gruppieren 676">
              <a:extLst>
                <a:ext uri="{FF2B5EF4-FFF2-40B4-BE49-F238E27FC236}">
                  <a16:creationId xmlns:a16="http://schemas.microsoft.com/office/drawing/2014/main" id="{2F3B8C55-F1E7-48C1-931F-3CF2E08F45B6}"/>
                </a:ext>
              </a:extLst>
            </p:cNvPr>
            <p:cNvGrpSpPr/>
            <p:nvPr/>
          </p:nvGrpSpPr>
          <p:grpSpPr>
            <a:xfrm>
              <a:off x="1319846" y="3303008"/>
              <a:ext cx="493178" cy="431544"/>
              <a:chOff x="1319845" y="3303006"/>
              <a:chExt cx="493178" cy="431544"/>
            </a:xfrm>
          </p:grpSpPr>
          <p:sp>
            <p:nvSpPr>
              <p:cNvPr id="589" name="Freihandform: Form 588">
                <a:extLst>
                  <a:ext uri="{FF2B5EF4-FFF2-40B4-BE49-F238E27FC236}">
                    <a16:creationId xmlns:a16="http://schemas.microsoft.com/office/drawing/2014/main" id="{11C4AB54-6FAC-4066-8B24-E9294E8AD4FE}"/>
                  </a:ext>
                </a:extLst>
              </p:cNvPr>
              <p:cNvSpPr/>
              <p:nvPr/>
            </p:nvSpPr>
            <p:spPr>
              <a:xfrm>
                <a:off x="1342966" y="3457124"/>
                <a:ext cx="446949" cy="15418"/>
              </a:xfrm>
              <a:custGeom>
                <a:avLst/>
                <a:gdLst>
                  <a:gd name="connsiteX0" fmla="*/ 0 w 446949"/>
                  <a:gd name="connsiteY0" fmla="*/ 0 h 15418"/>
                  <a:gd name="connsiteX1" fmla="*/ 446950 w 446949"/>
                  <a:gd name="connsiteY1" fmla="*/ 0 h 15418"/>
                  <a:gd name="connsiteX2" fmla="*/ 446950 w 446949"/>
                  <a:gd name="connsiteY2" fmla="*/ 15419 h 15418"/>
                  <a:gd name="connsiteX3" fmla="*/ 0 w 446949"/>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46949" h="15418">
                    <a:moveTo>
                      <a:pt x="0" y="0"/>
                    </a:moveTo>
                    <a:lnTo>
                      <a:pt x="446950" y="0"/>
                    </a:lnTo>
                    <a:lnTo>
                      <a:pt x="446950"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599" name="Freihandform: Form 598">
                <a:extLst>
                  <a:ext uri="{FF2B5EF4-FFF2-40B4-BE49-F238E27FC236}">
                    <a16:creationId xmlns:a16="http://schemas.microsoft.com/office/drawing/2014/main" id="{745EAF2D-49D0-4411-AB2C-8FB2C121913A}"/>
                  </a:ext>
                </a:extLst>
              </p:cNvPr>
              <p:cNvSpPr/>
              <p:nvPr/>
            </p:nvSpPr>
            <p:spPr>
              <a:xfrm>
                <a:off x="1366087" y="3487948"/>
                <a:ext cx="15418" cy="238886"/>
              </a:xfrm>
              <a:custGeom>
                <a:avLst/>
                <a:gdLst>
                  <a:gd name="connsiteX0" fmla="*/ 0 w 15418"/>
                  <a:gd name="connsiteY0" fmla="*/ 0 h 238886"/>
                  <a:gd name="connsiteX1" fmla="*/ 15419 w 15418"/>
                  <a:gd name="connsiteY1" fmla="*/ 0 h 238886"/>
                  <a:gd name="connsiteX2" fmla="*/ 15419 w 15418"/>
                  <a:gd name="connsiteY2" fmla="*/ 238887 h 238886"/>
                  <a:gd name="connsiteX3" fmla="*/ 0 w 15418"/>
                  <a:gd name="connsiteY3" fmla="*/ 238887 h 238886"/>
                </a:gdLst>
                <a:ahLst/>
                <a:cxnLst>
                  <a:cxn ang="0">
                    <a:pos x="connsiteX0" y="connsiteY0"/>
                  </a:cxn>
                  <a:cxn ang="0">
                    <a:pos x="connsiteX1" y="connsiteY1"/>
                  </a:cxn>
                  <a:cxn ang="0">
                    <a:pos x="connsiteX2" y="connsiteY2"/>
                  </a:cxn>
                  <a:cxn ang="0">
                    <a:pos x="connsiteX3" y="connsiteY3"/>
                  </a:cxn>
                </a:cxnLst>
                <a:rect l="l" t="t" r="r" b="b"/>
                <a:pathLst>
                  <a:path w="15418" h="238886">
                    <a:moveTo>
                      <a:pt x="0" y="0"/>
                    </a:moveTo>
                    <a:lnTo>
                      <a:pt x="15419" y="0"/>
                    </a:lnTo>
                    <a:lnTo>
                      <a:pt x="15419" y="238887"/>
                    </a:lnTo>
                    <a:lnTo>
                      <a:pt x="0" y="238887"/>
                    </a:lnTo>
                    <a:close/>
                  </a:path>
                </a:pathLst>
              </a:custGeom>
              <a:solidFill>
                <a:schemeClr val="tx2"/>
              </a:solidFill>
              <a:ln w="1375" cap="flat">
                <a:noFill/>
                <a:prstDash val="solid"/>
                <a:miter/>
              </a:ln>
            </p:spPr>
            <p:txBody>
              <a:bodyPr rtlCol="0" anchor="ctr"/>
              <a:lstStyle/>
              <a:p>
                <a:endParaRPr lang="en-GB" dirty="0"/>
              </a:p>
            </p:txBody>
          </p:sp>
          <p:sp>
            <p:nvSpPr>
              <p:cNvPr id="600" name="Freihandform: Form 599">
                <a:extLst>
                  <a:ext uri="{FF2B5EF4-FFF2-40B4-BE49-F238E27FC236}">
                    <a16:creationId xmlns:a16="http://schemas.microsoft.com/office/drawing/2014/main" id="{255D5C85-99E9-4C9C-B2F0-B1B3EE6EF584}"/>
                  </a:ext>
                </a:extLst>
              </p:cNvPr>
              <p:cNvSpPr/>
              <p:nvPr/>
            </p:nvSpPr>
            <p:spPr>
              <a:xfrm>
                <a:off x="1335264" y="3303006"/>
                <a:ext cx="462354" cy="423828"/>
              </a:xfrm>
              <a:custGeom>
                <a:avLst/>
                <a:gdLst>
                  <a:gd name="connsiteX0" fmla="*/ 462355 w 462354"/>
                  <a:gd name="connsiteY0" fmla="*/ 423829 h 423828"/>
                  <a:gd name="connsiteX1" fmla="*/ 446950 w 462354"/>
                  <a:gd name="connsiteY1" fmla="*/ 423829 h 423828"/>
                  <a:gd name="connsiteX2" fmla="*/ 446950 w 462354"/>
                  <a:gd name="connsiteY2" fmla="*/ 15419 h 423828"/>
                  <a:gd name="connsiteX3" fmla="*/ 15405 w 462354"/>
                  <a:gd name="connsiteY3" fmla="*/ 15419 h 423828"/>
                  <a:gd name="connsiteX4" fmla="*/ 15405 w 462354"/>
                  <a:gd name="connsiteY4" fmla="*/ 423829 h 423828"/>
                  <a:gd name="connsiteX5" fmla="*/ 0 w 462354"/>
                  <a:gd name="connsiteY5" fmla="*/ 423829 h 423828"/>
                  <a:gd name="connsiteX6" fmla="*/ 0 w 462354"/>
                  <a:gd name="connsiteY6" fmla="*/ 0 h 423828"/>
                  <a:gd name="connsiteX7" fmla="*/ 462355 w 462354"/>
                  <a:gd name="connsiteY7" fmla="*/ 0 h 423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354" h="423828">
                    <a:moveTo>
                      <a:pt x="462355" y="423829"/>
                    </a:moveTo>
                    <a:lnTo>
                      <a:pt x="446950" y="423829"/>
                    </a:lnTo>
                    <a:lnTo>
                      <a:pt x="446950" y="15419"/>
                    </a:lnTo>
                    <a:lnTo>
                      <a:pt x="15405" y="15419"/>
                    </a:lnTo>
                    <a:lnTo>
                      <a:pt x="15405" y="423829"/>
                    </a:lnTo>
                    <a:lnTo>
                      <a:pt x="0" y="423829"/>
                    </a:lnTo>
                    <a:lnTo>
                      <a:pt x="0" y="0"/>
                    </a:lnTo>
                    <a:lnTo>
                      <a:pt x="462355" y="0"/>
                    </a:lnTo>
                    <a:close/>
                  </a:path>
                </a:pathLst>
              </a:custGeom>
              <a:solidFill>
                <a:schemeClr val="tx2"/>
              </a:solidFill>
              <a:ln w="1375" cap="flat">
                <a:noFill/>
                <a:prstDash val="solid"/>
                <a:miter/>
              </a:ln>
            </p:spPr>
            <p:txBody>
              <a:bodyPr rtlCol="0" anchor="ctr"/>
              <a:lstStyle/>
              <a:p>
                <a:endParaRPr lang="en-GB" dirty="0"/>
              </a:p>
            </p:txBody>
          </p:sp>
          <p:sp>
            <p:nvSpPr>
              <p:cNvPr id="601" name="Freihandform: Form 600">
                <a:extLst>
                  <a:ext uri="{FF2B5EF4-FFF2-40B4-BE49-F238E27FC236}">
                    <a16:creationId xmlns:a16="http://schemas.microsoft.com/office/drawing/2014/main" id="{1564F443-5BAD-4096-8127-BB7713307636}"/>
                  </a:ext>
                </a:extLst>
              </p:cNvPr>
              <p:cNvSpPr/>
              <p:nvPr/>
            </p:nvSpPr>
            <p:spPr>
              <a:xfrm>
                <a:off x="1751390" y="3487948"/>
                <a:ext cx="15418" cy="238886"/>
              </a:xfrm>
              <a:custGeom>
                <a:avLst/>
                <a:gdLst>
                  <a:gd name="connsiteX0" fmla="*/ 0 w 15418"/>
                  <a:gd name="connsiteY0" fmla="*/ 0 h 238886"/>
                  <a:gd name="connsiteX1" fmla="*/ 15419 w 15418"/>
                  <a:gd name="connsiteY1" fmla="*/ 0 h 238886"/>
                  <a:gd name="connsiteX2" fmla="*/ 15419 w 15418"/>
                  <a:gd name="connsiteY2" fmla="*/ 238887 h 238886"/>
                  <a:gd name="connsiteX3" fmla="*/ 0 w 15418"/>
                  <a:gd name="connsiteY3" fmla="*/ 238887 h 238886"/>
                </a:gdLst>
                <a:ahLst/>
                <a:cxnLst>
                  <a:cxn ang="0">
                    <a:pos x="connsiteX0" y="connsiteY0"/>
                  </a:cxn>
                  <a:cxn ang="0">
                    <a:pos x="connsiteX1" y="connsiteY1"/>
                  </a:cxn>
                  <a:cxn ang="0">
                    <a:pos x="connsiteX2" y="connsiteY2"/>
                  </a:cxn>
                  <a:cxn ang="0">
                    <a:pos x="connsiteX3" y="connsiteY3"/>
                  </a:cxn>
                </a:cxnLst>
                <a:rect l="l" t="t" r="r" b="b"/>
                <a:pathLst>
                  <a:path w="15418" h="238886">
                    <a:moveTo>
                      <a:pt x="0" y="0"/>
                    </a:moveTo>
                    <a:lnTo>
                      <a:pt x="15419" y="0"/>
                    </a:lnTo>
                    <a:lnTo>
                      <a:pt x="15419" y="238887"/>
                    </a:lnTo>
                    <a:lnTo>
                      <a:pt x="0" y="238887"/>
                    </a:lnTo>
                    <a:close/>
                  </a:path>
                </a:pathLst>
              </a:custGeom>
              <a:solidFill>
                <a:schemeClr val="tx2"/>
              </a:solidFill>
              <a:ln w="1375" cap="flat">
                <a:noFill/>
                <a:prstDash val="solid"/>
                <a:miter/>
              </a:ln>
            </p:spPr>
            <p:txBody>
              <a:bodyPr rtlCol="0" anchor="ctr"/>
              <a:lstStyle/>
              <a:p>
                <a:endParaRPr lang="en-GB" dirty="0"/>
              </a:p>
            </p:txBody>
          </p:sp>
          <p:sp>
            <p:nvSpPr>
              <p:cNvPr id="602" name="Freihandform: Form 601">
                <a:extLst>
                  <a:ext uri="{FF2B5EF4-FFF2-40B4-BE49-F238E27FC236}">
                    <a16:creationId xmlns:a16="http://schemas.microsoft.com/office/drawing/2014/main" id="{9B7FE4D1-7B0A-4224-95CD-FA22D75108D2}"/>
                  </a:ext>
                </a:extLst>
              </p:cNvPr>
              <p:cNvSpPr/>
              <p:nvPr/>
            </p:nvSpPr>
            <p:spPr>
              <a:xfrm>
                <a:off x="1319845" y="3719132"/>
                <a:ext cx="493178" cy="15418"/>
              </a:xfrm>
              <a:custGeom>
                <a:avLst/>
                <a:gdLst>
                  <a:gd name="connsiteX0" fmla="*/ 0 w 493178"/>
                  <a:gd name="connsiteY0" fmla="*/ 0 h 15418"/>
                  <a:gd name="connsiteX1" fmla="*/ 493179 w 493178"/>
                  <a:gd name="connsiteY1" fmla="*/ 0 h 15418"/>
                  <a:gd name="connsiteX2" fmla="*/ 493179 w 493178"/>
                  <a:gd name="connsiteY2" fmla="*/ 15419 h 15418"/>
                  <a:gd name="connsiteX3" fmla="*/ 0 w 49317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493178" h="15418">
                    <a:moveTo>
                      <a:pt x="0" y="0"/>
                    </a:moveTo>
                    <a:lnTo>
                      <a:pt x="493179" y="0"/>
                    </a:lnTo>
                    <a:lnTo>
                      <a:pt x="49317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05" name="Freihandform: Form 604">
                <a:extLst>
                  <a:ext uri="{FF2B5EF4-FFF2-40B4-BE49-F238E27FC236}">
                    <a16:creationId xmlns:a16="http://schemas.microsoft.com/office/drawing/2014/main" id="{9E36BC75-CDB6-4C9C-86E5-3D92FE40C263}"/>
                  </a:ext>
                </a:extLst>
              </p:cNvPr>
              <p:cNvSpPr/>
              <p:nvPr/>
            </p:nvSpPr>
            <p:spPr>
              <a:xfrm>
                <a:off x="1366087" y="3380072"/>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06" name="Freihandform: Form 605">
                <a:extLst>
                  <a:ext uri="{FF2B5EF4-FFF2-40B4-BE49-F238E27FC236}">
                    <a16:creationId xmlns:a16="http://schemas.microsoft.com/office/drawing/2014/main" id="{8FD8FC1E-C5B2-484B-ADCB-BD9A717AAF9F}"/>
                  </a:ext>
                </a:extLst>
              </p:cNvPr>
              <p:cNvSpPr/>
              <p:nvPr/>
            </p:nvSpPr>
            <p:spPr>
              <a:xfrm>
                <a:off x="1751390" y="3380072"/>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grpSp>
        <p:grpSp>
          <p:nvGrpSpPr>
            <p:cNvPr id="676" name="Gruppieren 675">
              <a:extLst>
                <a:ext uri="{FF2B5EF4-FFF2-40B4-BE49-F238E27FC236}">
                  <a16:creationId xmlns:a16="http://schemas.microsoft.com/office/drawing/2014/main" id="{93B752E4-BA23-4A02-B94A-A499600BFAA5}"/>
                </a:ext>
              </a:extLst>
            </p:cNvPr>
            <p:cNvGrpSpPr/>
            <p:nvPr/>
          </p:nvGrpSpPr>
          <p:grpSpPr>
            <a:xfrm>
              <a:off x="1373790" y="3349234"/>
              <a:ext cx="385302" cy="277426"/>
              <a:chOff x="1373790" y="3349234"/>
              <a:chExt cx="385302" cy="277426"/>
            </a:xfrm>
          </p:grpSpPr>
          <p:sp>
            <p:nvSpPr>
              <p:cNvPr id="590" name="Freihandform: Form 589">
                <a:extLst>
                  <a:ext uri="{FF2B5EF4-FFF2-40B4-BE49-F238E27FC236}">
                    <a16:creationId xmlns:a16="http://schemas.microsoft.com/office/drawing/2014/main" id="{71678C06-807F-4B4E-8D9B-7B3E9A0C7D69}"/>
                  </a:ext>
                </a:extLst>
              </p:cNvPr>
              <p:cNvSpPr/>
              <p:nvPr/>
            </p:nvSpPr>
            <p:spPr>
              <a:xfrm>
                <a:off x="1420018" y="3349248"/>
                <a:ext cx="46228" cy="77052"/>
              </a:xfrm>
              <a:custGeom>
                <a:avLst/>
                <a:gdLst>
                  <a:gd name="connsiteX0" fmla="*/ 15419 w 46228"/>
                  <a:gd name="connsiteY0" fmla="*/ 77052 h 77052"/>
                  <a:gd name="connsiteX1" fmla="*/ 0 w 46228"/>
                  <a:gd name="connsiteY1" fmla="*/ 77052 h 77052"/>
                  <a:gd name="connsiteX2" fmla="*/ 0 w 46228"/>
                  <a:gd name="connsiteY2" fmla="*/ 7703 h 77052"/>
                  <a:gd name="connsiteX3" fmla="*/ 7703 w 46228"/>
                  <a:gd name="connsiteY3" fmla="*/ 0 h 77052"/>
                  <a:gd name="connsiteX4" fmla="*/ 46229 w 46228"/>
                  <a:gd name="connsiteY4" fmla="*/ 0 h 77052"/>
                  <a:gd name="connsiteX5" fmla="*/ 46229 w 46228"/>
                  <a:gd name="connsiteY5" fmla="*/ 15419 h 77052"/>
                  <a:gd name="connsiteX6" fmla="*/ 15405 w 46228"/>
                  <a:gd name="connsiteY6" fmla="*/ 15419 h 77052"/>
                  <a:gd name="connsiteX7" fmla="*/ 15405 w 46228"/>
                  <a:gd name="connsiteY7" fmla="*/ 77052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228" h="77052">
                    <a:moveTo>
                      <a:pt x="15419" y="77052"/>
                    </a:moveTo>
                    <a:lnTo>
                      <a:pt x="0" y="77052"/>
                    </a:lnTo>
                    <a:lnTo>
                      <a:pt x="0" y="7703"/>
                    </a:lnTo>
                    <a:cubicBezTo>
                      <a:pt x="0" y="3445"/>
                      <a:pt x="3445" y="0"/>
                      <a:pt x="7703" y="0"/>
                    </a:cubicBezTo>
                    <a:lnTo>
                      <a:pt x="46229" y="0"/>
                    </a:lnTo>
                    <a:lnTo>
                      <a:pt x="46229" y="15419"/>
                    </a:lnTo>
                    <a:lnTo>
                      <a:pt x="15405" y="15419"/>
                    </a:lnTo>
                    <a:lnTo>
                      <a:pt x="15405" y="77052"/>
                    </a:lnTo>
                    <a:close/>
                  </a:path>
                </a:pathLst>
              </a:custGeom>
              <a:solidFill>
                <a:schemeClr val="accent1"/>
              </a:solidFill>
              <a:ln w="1375" cap="flat">
                <a:noFill/>
                <a:prstDash val="solid"/>
                <a:miter/>
              </a:ln>
            </p:spPr>
            <p:txBody>
              <a:bodyPr rtlCol="0" anchor="ctr"/>
              <a:lstStyle/>
              <a:p>
                <a:endParaRPr lang="en-GB" dirty="0"/>
              </a:p>
            </p:txBody>
          </p:sp>
          <p:sp>
            <p:nvSpPr>
              <p:cNvPr id="591" name="Freihandform: Form 590">
                <a:extLst>
                  <a:ext uri="{FF2B5EF4-FFF2-40B4-BE49-F238E27FC236}">
                    <a16:creationId xmlns:a16="http://schemas.microsoft.com/office/drawing/2014/main" id="{69E72683-7B61-4B1E-876D-C20CDC48F5C7}"/>
                  </a:ext>
                </a:extLst>
              </p:cNvPr>
              <p:cNvSpPr/>
              <p:nvPr/>
            </p:nvSpPr>
            <p:spPr>
              <a:xfrm>
                <a:off x="1427735" y="3380072"/>
                <a:ext cx="23121" cy="15418"/>
              </a:xfrm>
              <a:custGeom>
                <a:avLst/>
                <a:gdLst>
                  <a:gd name="connsiteX0" fmla="*/ 0 w 23121"/>
                  <a:gd name="connsiteY0" fmla="*/ 0 h 15418"/>
                  <a:gd name="connsiteX1" fmla="*/ 23121 w 23121"/>
                  <a:gd name="connsiteY1" fmla="*/ 0 h 15418"/>
                  <a:gd name="connsiteX2" fmla="*/ 23121 w 23121"/>
                  <a:gd name="connsiteY2" fmla="*/ 15419 h 15418"/>
                  <a:gd name="connsiteX3" fmla="*/ 0 w 23121"/>
                  <a:gd name="connsiteY3" fmla="*/ 15419 h 15418"/>
                </a:gdLst>
                <a:ahLst/>
                <a:cxnLst>
                  <a:cxn ang="0">
                    <a:pos x="connsiteX0" y="connsiteY0"/>
                  </a:cxn>
                  <a:cxn ang="0">
                    <a:pos x="connsiteX1" y="connsiteY1"/>
                  </a:cxn>
                  <a:cxn ang="0">
                    <a:pos x="connsiteX2" y="connsiteY2"/>
                  </a:cxn>
                  <a:cxn ang="0">
                    <a:pos x="connsiteX3" y="connsiteY3"/>
                  </a:cxn>
                </a:cxnLst>
                <a:rect l="l" t="t" r="r" b="b"/>
                <a:pathLst>
                  <a:path w="23121" h="15418">
                    <a:moveTo>
                      <a:pt x="0" y="0"/>
                    </a:moveTo>
                    <a:lnTo>
                      <a:pt x="23121" y="0"/>
                    </a:lnTo>
                    <a:lnTo>
                      <a:pt x="23121"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92" name="Freihandform: Form 591">
                <a:extLst>
                  <a:ext uri="{FF2B5EF4-FFF2-40B4-BE49-F238E27FC236}">
                    <a16:creationId xmlns:a16="http://schemas.microsoft.com/office/drawing/2014/main" id="{7677D658-22C9-4443-A855-6D877525D4B0}"/>
                  </a:ext>
                </a:extLst>
              </p:cNvPr>
              <p:cNvSpPr/>
              <p:nvPr/>
            </p:nvSpPr>
            <p:spPr>
              <a:xfrm>
                <a:off x="1481680" y="3349248"/>
                <a:ext cx="15418" cy="77066"/>
              </a:xfrm>
              <a:custGeom>
                <a:avLst/>
                <a:gdLst>
                  <a:gd name="connsiteX0" fmla="*/ 0 w 15418"/>
                  <a:gd name="connsiteY0" fmla="*/ 0 h 77066"/>
                  <a:gd name="connsiteX1" fmla="*/ 15419 w 15418"/>
                  <a:gd name="connsiteY1" fmla="*/ 0 h 77066"/>
                  <a:gd name="connsiteX2" fmla="*/ 15419 w 15418"/>
                  <a:gd name="connsiteY2" fmla="*/ 77066 h 77066"/>
                  <a:gd name="connsiteX3" fmla="*/ 0 w 15418"/>
                  <a:gd name="connsiteY3" fmla="*/ 77066 h 77066"/>
                </a:gdLst>
                <a:ahLst/>
                <a:cxnLst>
                  <a:cxn ang="0">
                    <a:pos x="connsiteX0" y="connsiteY0"/>
                  </a:cxn>
                  <a:cxn ang="0">
                    <a:pos x="connsiteX1" y="connsiteY1"/>
                  </a:cxn>
                  <a:cxn ang="0">
                    <a:pos x="connsiteX2" y="connsiteY2"/>
                  </a:cxn>
                  <a:cxn ang="0">
                    <a:pos x="connsiteX3" y="connsiteY3"/>
                  </a:cxn>
                </a:cxnLst>
                <a:rect l="l" t="t" r="r" b="b"/>
                <a:pathLst>
                  <a:path w="15418" h="77066">
                    <a:moveTo>
                      <a:pt x="0" y="0"/>
                    </a:moveTo>
                    <a:lnTo>
                      <a:pt x="15419" y="0"/>
                    </a:lnTo>
                    <a:lnTo>
                      <a:pt x="15419" y="77066"/>
                    </a:lnTo>
                    <a:lnTo>
                      <a:pt x="0" y="77066"/>
                    </a:lnTo>
                    <a:close/>
                  </a:path>
                </a:pathLst>
              </a:custGeom>
              <a:solidFill>
                <a:schemeClr val="accent1"/>
              </a:solidFill>
              <a:ln w="1375" cap="flat">
                <a:noFill/>
                <a:prstDash val="solid"/>
                <a:miter/>
              </a:ln>
            </p:spPr>
            <p:txBody>
              <a:bodyPr rtlCol="0" anchor="ctr"/>
              <a:lstStyle/>
              <a:p>
                <a:endParaRPr lang="en-GB" dirty="0"/>
              </a:p>
            </p:txBody>
          </p:sp>
          <p:sp>
            <p:nvSpPr>
              <p:cNvPr id="593" name="Freihandform: Form 592">
                <a:extLst>
                  <a:ext uri="{FF2B5EF4-FFF2-40B4-BE49-F238E27FC236}">
                    <a16:creationId xmlns:a16="http://schemas.microsoft.com/office/drawing/2014/main" id="{A2AC7E6E-B2E7-4291-885B-1BAFC3278DE8}"/>
                  </a:ext>
                </a:extLst>
              </p:cNvPr>
              <p:cNvSpPr/>
              <p:nvPr/>
            </p:nvSpPr>
            <p:spPr>
              <a:xfrm>
                <a:off x="1574151" y="3349248"/>
                <a:ext cx="15418" cy="77066"/>
              </a:xfrm>
              <a:custGeom>
                <a:avLst/>
                <a:gdLst>
                  <a:gd name="connsiteX0" fmla="*/ 0 w 15418"/>
                  <a:gd name="connsiteY0" fmla="*/ 0 h 77066"/>
                  <a:gd name="connsiteX1" fmla="*/ 15419 w 15418"/>
                  <a:gd name="connsiteY1" fmla="*/ 0 h 77066"/>
                  <a:gd name="connsiteX2" fmla="*/ 15419 w 15418"/>
                  <a:gd name="connsiteY2" fmla="*/ 77066 h 77066"/>
                  <a:gd name="connsiteX3" fmla="*/ 0 w 15418"/>
                  <a:gd name="connsiteY3" fmla="*/ 77066 h 77066"/>
                </a:gdLst>
                <a:ahLst/>
                <a:cxnLst>
                  <a:cxn ang="0">
                    <a:pos x="connsiteX0" y="connsiteY0"/>
                  </a:cxn>
                  <a:cxn ang="0">
                    <a:pos x="connsiteX1" y="connsiteY1"/>
                  </a:cxn>
                  <a:cxn ang="0">
                    <a:pos x="connsiteX2" y="connsiteY2"/>
                  </a:cxn>
                  <a:cxn ang="0">
                    <a:pos x="connsiteX3" y="connsiteY3"/>
                  </a:cxn>
                </a:cxnLst>
                <a:rect l="l" t="t" r="r" b="b"/>
                <a:pathLst>
                  <a:path w="15418" h="77066">
                    <a:moveTo>
                      <a:pt x="0" y="0"/>
                    </a:moveTo>
                    <a:lnTo>
                      <a:pt x="15419" y="0"/>
                    </a:lnTo>
                    <a:lnTo>
                      <a:pt x="15419" y="77066"/>
                    </a:lnTo>
                    <a:lnTo>
                      <a:pt x="0" y="77066"/>
                    </a:lnTo>
                    <a:close/>
                  </a:path>
                </a:pathLst>
              </a:custGeom>
              <a:solidFill>
                <a:schemeClr val="accent1"/>
              </a:solidFill>
              <a:ln w="1375" cap="flat">
                <a:noFill/>
                <a:prstDash val="solid"/>
                <a:miter/>
              </a:ln>
            </p:spPr>
            <p:txBody>
              <a:bodyPr rtlCol="0" anchor="ctr"/>
              <a:lstStyle/>
              <a:p>
                <a:endParaRPr lang="en-GB" dirty="0"/>
              </a:p>
            </p:txBody>
          </p:sp>
          <p:sp>
            <p:nvSpPr>
              <p:cNvPr id="594" name="Freihandform: Form 593">
                <a:extLst>
                  <a:ext uri="{FF2B5EF4-FFF2-40B4-BE49-F238E27FC236}">
                    <a16:creationId xmlns:a16="http://schemas.microsoft.com/office/drawing/2014/main" id="{2BC03C9C-0B1F-4141-A8DD-767C1B3923B6}"/>
                  </a:ext>
                </a:extLst>
              </p:cNvPr>
              <p:cNvSpPr/>
              <p:nvPr/>
            </p:nvSpPr>
            <p:spPr>
              <a:xfrm>
                <a:off x="1666622" y="3349248"/>
                <a:ext cx="15418" cy="77066"/>
              </a:xfrm>
              <a:custGeom>
                <a:avLst/>
                <a:gdLst>
                  <a:gd name="connsiteX0" fmla="*/ 0 w 15418"/>
                  <a:gd name="connsiteY0" fmla="*/ 0 h 77066"/>
                  <a:gd name="connsiteX1" fmla="*/ 15419 w 15418"/>
                  <a:gd name="connsiteY1" fmla="*/ 0 h 77066"/>
                  <a:gd name="connsiteX2" fmla="*/ 15419 w 15418"/>
                  <a:gd name="connsiteY2" fmla="*/ 77066 h 77066"/>
                  <a:gd name="connsiteX3" fmla="*/ 0 w 15418"/>
                  <a:gd name="connsiteY3" fmla="*/ 77066 h 77066"/>
                </a:gdLst>
                <a:ahLst/>
                <a:cxnLst>
                  <a:cxn ang="0">
                    <a:pos x="connsiteX0" y="connsiteY0"/>
                  </a:cxn>
                  <a:cxn ang="0">
                    <a:pos x="connsiteX1" y="connsiteY1"/>
                  </a:cxn>
                  <a:cxn ang="0">
                    <a:pos x="connsiteX2" y="connsiteY2"/>
                  </a:cxn>
                  <a:cxn ang="0">
                    <a:pos x="connsiteX3" y="connsiteY3"/>
                  </a:cxn>
                </a:cxnLst>
                <a:rect l="l" t="t" r="r" b="b"/>
                <a:pathLst>
                  <a:path w="15418" h="77066">
                    <a:moveTo>
                      <a:pt x="0" y="0"/>
                    </a:moveTo>
                    <a:lnTo>
                      <a:pt x="15419" y="0"/>
                    </a:lnTo>
                    <a:lnTo>
                      <a:pt x="15419" y="77066"/>
                    </a:lnTo>
                    <a:lnTo>
                      <a:pt x="0" y="77066"/>
                    </a:lnTo>
                    <a:close/>
                  </a:path>
                </a:pathLst>
              </a:custGeom>
              <a:solidFill>
                <a:schemeClr val="accent1"/>
              </a:solidFill>
              <a:ln w="1375" cap="flat">
                <a:noFill/>
                <a:prstDash val="solid"/>
                <a:miter/>
              </a:ln>
            </p:spPr>
            <p:txBody>
              <a:bodyPr rtlCol="0" anchor="ctr"/>
              <a:lstStyle/>
              <a:p>
                <a:endParaRPr lang="en-GB" dirty="0"/>
              </a:p>
            </p:txBody>
          </p:sp>
          <p:sp>
            <p:nvSpPr>
              <p:cNvPr id="595" name="Freihandform: Form 594">
                <a:extLst>
                  <a:ext uri="{FF2B5EF4-FFF2-40B4-BE49-F238E27FC236}">
                    <a16:creationId xmlns:a16="http://schemas.microsoft.com/office/drawing/2014/main" id="{67883B8E-1465-4140-91EE-F0601ADFF9C4}"/>
                  </a:ext>
                </a:extLst>
              </p:cNvPr>
              <p:cNvSpPr/>
              <p:nvPr/>
            </p:nvSpPr>
            <p:spPr>
              <a:xfrm>
                <a:off x="1697445" y="3349248"/>
                <a:ext cx="15418" cy="77066"/>
              </a:xfrm>
              <a:custGeom>
                <a:avLst/>
                <a:gdLst>
                  <a:gd name="connsiteX0" fmla="*/ 0 w 15418"/>
                  <a:gd name="connsiteY0" fmla="*/ 0 h 77066"/>
                  <a:gd name="connsiteX1" fmla="*/ 15419 w 15418"/>
                  <a:gd name="connsiteY1" fmla="*/ 0 h 77066"/>
                  <a:gd name="connsiteX2" fmla="*/ 15419 w 15418"/>
                  <a:gd name="connsiteY2" fmla="*/ 77066 h 77066"/>
                  <a:gd name="connsiteX3" fmla="*/ 0 w 15418"/>
                  <a:gd name="connsiteY3" fmla="*/ 77066 h 77066"/>
                </a:gdLst>
                <a:ahLst/>
                <a:cxnLst>
                  <a:cxn ang="0">
                    <a:pos x="connsiteX0" y="connsiteY0"/>
                  </a:cxn>
                  <a:cxn ang="0">
                    <a:pos x="connsiteX1" y="connsiteY1"/>
                  </a:cxn>
                  <a:cxn ang="0">
                    <a:pos x="connsiteX2" y="connsiteY2"/>
                  </a:cxn>
                  <a:cxn ang="0">
                    <a:pos x="connsiteX3" y="connsiteY3"/>
                  </a:cxn>
                </a:cxnLst>
                <a:rect l="l" t="t" r="r" b="b"/>
                <a:pathLst>
                  <a:path w="15418" h="77066">
                    <a:moveTo>
                      <a:pt x="0" y="0"/>
                    </a:moveTo>
                    <a:lnTo>
                      <a:pt x="15419" y="0"/>
                    </a:lnTo>
                    <a:lnTo>
                      <a:pt x="15419" y="77066"/>
                    </a:lnTo>
                    <a:lnTo>
                      <a:pt x="0" y="77066"/>
                    </a:lnTo>
                    <a:close/>
                  </a:path>
                </a:pathLst>
              </a:custGeom>
              <a:solidFill>
                <a:schemeClr val="accent1"/>
              </a:solidFill>
              <a:ln w="1375" cap="flat">
                <a:noFill/>
                <a:prstDash val="solid"/>
                <a:miter/>
              </a:ln>
            </p:spPr>
            <p:txBody>
              <a:bodyPr rtlCol="0" anchor="ctr"/>
              <a:lstStyle/>
              <a:p>
                <a:endParaRPr lang="en-GB" dirty="0"/>
              </a:p>
            </p:txBody>
          </p:sp>
          <p:sp>
            <p:nvSpPr>
              <p:cNvPr id="596" name="Freihandform: Form 595">
                <a:extLst>
                  <a:ext uri="{FF2B5EF4-FFF2-40B4-BE49-F238E27FC236}">
                    <a16:creationId xmlns:a16="http://schemas.microsoft.com/office/drawing/2014/main" id="{8458B679-2984-4164-AC77-59775FDA55C3}"/>
                  </a:ext>
                </a:extLst>
              </p:cNvPr>
              <p:cNvSpPr/>
              <p:nvPr/>
            </p:nvSpPr>
            <p:spPr>
              <a:xfrm>
                <a:off x="1512490" y="3349248"/>
                <a:ext cx="46256" cy="77052"/>
              </a:xfrm>
              <a:custGeom>
                <a:avLst/>
                <a:gdLst>
                  <a:gd name="connsiteX0" fmla="*/ 38540 w 46256"/>
                  <a:gd name="connsiteY0" fmla="*/ 77052 h 77052"/>
                  <a:gd name="connsiteX1" fmla="*/ 31650 w 46256"/>
                  <a:gd name="connsiteY1" fmla="*/ 72795 h 77052"/>
                  <a:gd name="connsiteX2" fmla="*/ 15419 w 46256"/>
                  <a:gd name="connsiteY2" fmla="*/ 40345 h 77052"/>
                  <a:gd name="connsiteX3" fmla="*/ 15419 w 46256"/>
                  <a:gd name="connsiteY3" fmla="*/ 77052 h 77052"/>
                  <a:gd name="connsiteX4" fmla="*/ 0 w 46256"/>
                  <a:gd name="connsiteY4" fmla="*/ 77052 h 77052"/>
                  <a:gd name="connsiteX5" fmla="*/ 0 w 46256"/>
                  <a:gd name="connsiteY5" fmla="*/ 7703 h 77052"/>
                  <a:gd name="connsiteX6" fmla="*/ 5939 w 46256"/>
                  <a:gd name="connsiteY6" fmla="*/ 207 h 77052"/>
                  <a:gd name="connsiteX7" fmla="*/ 14606 w 46256"/>
                  <a:gd name="connsiteY7" fmla="*/ 4258 h 77052"/>
                  <a:gd name="connsiteX8" fmla="*/ 30837 w 46256"/>
                  <a:gd name="connsiteY8" fmla="*/ 36707 h 77052"/>
                  <a:gd name="connsiteX9" fmla="*/ 30837 w 46256"/>
                  <a:gd name="connsiteY9" fmla="*/ 0 h 77052"/>
                  <a:gd name="connsiteX10" fmla="*/ 46256 w 46256"/>
                  <a:gd name="connsiteY10" fmla="*/ 0 h 77052"/>
                  <a:gd name="connsiteX11" fmla="*/ 46256 w 46256"/>
                  <a:gd name="connsiteY11" fmla="*/ 69350 h 77052"/>
                  <a:gd name="connsiteX12" fmla="*/ 40317 w 46256"/>
                  <a:gd name="connsiteY12" fmla="*/ 76846 h 77052"/>
                  <a:gd name="connsiteX13" fmla="*/ 38540 w 46256"/>
                  <a:gd name="connsiteY13" fmla="*/ 77052 h 7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256" h="77052">
                    <a:moveTo>
                      <a:pt x="38540" y="77052"/>
                    </a:moveTo>
                    <a:cubicBezTo>
                      <a:pt x="35674" y="77052"/>
                      <a:pt x="32973" y="75454"/>
                      <a:pt x="31650" y="72795"/>
                    </a:cubicBezTo>
                    <a:lnTo>
                      <a:pt x="15419" y="40345"/>
                    </a:lnTo>
                    <a:lnTo>
                      <a:pt x="15419" y="77052"/>
                    </a:lnTo>
                    <a:lnTo>
                      <a:pt x="0" y="77052"/>
                    </a:lnTo>
                    <a:lnTo>
                      <a:pt x="0" y="7703"/>
                    </a:lnTo>
                    <a:cubicBezTo>
                      <a:pt x="0" y="4134"/>
                      <a:pt x="2453" y="1033"/>
                      <a:pt x="5939" y="207"/>
                    </a:cubicBezTo>
                    <a:cubicBezTo>
                      <a:pt x="9452" y="-592"/>
                      <a:pt x="13007" y="1061"/>
                      <a:pt x="14606" y="4258"/>
                    </a:cubicBezTo>
                    <a:lnTo>
                      <a:pt x="30837" y="36707"/>
                    </a:lnTo>
                    <a:lnTo>
                      <a:pt x="30837" y="0"/>
                    </a:lnTo>
                    <a:lnTo>
                      <a:pt x="46256" y="0"/>
                    </a:lnTo>
                    <a:lnTo>
                      <a:pt x="46256" y="69350"/>
                    </a:lnTo>
                    <a:cubicBezTo>
                      <a:pt x="46256" y="72919"/>
                      <a:pt x="43803" y="76019"/>
                      <a:pt x="40317" y="76846"/>
                    </a:cubicBezTo>
                    <a:cubicBezTo>
                      <a:pt x="39725" y="76983"/>
                      <a:pt x="39132" y="77052"/>
                      <a:pt x="38540" y="77052"/>
                    </a:cubicBezTo>
                    <a:close/>
                  </a:path>
                </a:pathLst>
              </a:custGeom>
              <a:solidFill>
                <a:schemeClr val="accent1"/>
              </a:solidFill>
              <a:ln w="1375" cap="flat">
                <a:noFill/>
                <a:prstDash val="solid"/>
                <a:miter/>
              </a:ln>
            </p:spPr>
            <p:txBody>
              <a:bodyPr rtlCol="0" anchor="ctr"/>
              <a:lstStyle/>
              <a:p>
                <a:endParaRPr lang="en-GB" dirty="0"/>
              </a:p>
            </p:txBody>
          </p:sp>
          <p:sp>
            <p:nvSpPr>
              <p:cNvPr id="597" name="Freihandform: Form 596">
                <a:extLst>
                  <a:ext uri="{FF2B5EF4-FFF2-40B4-BE49-F238E27FC236}">
                    <a16:creationId xmlns:a16="http://schemas.microsoft.com/office/drawing/2014/main" id="{78C05301-9ED4-4E47-8848-1B1670E26E9D}"/>
                  </a:ext>
                </a:extLst>
              </p:cNvPr>
              <p:cNvSpPr/>
              <p:nvPr/>
            </p:nvSpPr>
            <p:spPr>
              <a:xfrm>
                <a:off x="1674324" y="3380072"/>
                <a:ext cx="30823" cy="15418"/>
              </a:xfrm>
              <a:custGeom>
                <a:avLst/>
                <a:gdLst>
                  <a:gd name="connsiteX0" fmla="*/ 0 w 30823"/>
                  <a:gd name="connsiteY0" fmla="*/ 0 h 15418"/>
                  <a:gd name="connsiteX1" fmla="*/ 30824 w 30823"/>
                  <a:gd name="connsiteY1" fmla="*/ 0 h 15418"/>
                  <a:gd name="connsiteX2" fmla="*/ 30824 w 30823"/>
                  <a:gd name="connsiteY2" fmla="*/ 15419 h 15418"/>
                  <a:gd name="connsiteX3" fmla="*/ 0 w 30823"/>
                  <a:gd name="connsiteY3" fmla="*/ 15419 h 15418"/>
                </a:gdLst>
                <a:ahLst/>
                <a:cxnLst>
                  <a:cxn ang="0">
                    <a:pos x="connsiteX0" y="connsiteY0"/>
                  </a:cxn>
                  <a:cxn ang="0">
                    <a:pos x="connsiteX1" y="connsiteY1"/>
                  </a:cxn>
                  <a:cxn ang="0">
                    <a:pos x="connsiteX2" y="connsiteY2"/>
                  </a:cxn>
                  <a:cxn ang="0">
                    <a:pos x="connsiteX3" y="connsiteY3"/>
                  </a:cxn>
                </a:cxnLst>
                <a:rect l="l" t="t" r="r" b="b"/>
                <a:pathLst>
                  <a:path w="30823" h="15418">
                    <a:moveTo>
                      <a:pt x="0" y="0"/>
                    </a:moveTo>
                    <a:lnTo>
                      <a:pt x="30824" y="0"/>
                    </a:lnTo>
                    <a:lnTo>
                      <a:pt x="30824"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598" name="Freihandform: Form 597">
                <a:extLst>
                  <a:ext uri="{FF2B5EF4-FFF2-40B4-BE49-F238E27FC236}">
                    <a16:creationId xmlns:a16="http://schemas.microsoft.com/office/drawing/2014/main" id="{DF36E556-F1DF-4CD3-97AE-702C6261282F}"/>
                  </a:ext>
                </a:extLst>
              </p:cNvPr>
              <p:cNvSpPr/>
              <p:nvPr/>
            </p:nvSpPr>
            <p:spPr>
              <a:xfrm>
                <a:off x="1604974" y="3349234"/>
                <a:ext cx="46242" cy="77066"/>
              </a:xfrm>
              <a:custGeom>
                <a:avLst/>
                <a:gdLst>
                  <a:gd name="connsiteX0" fmla="*/ 23121 w 46242"/>
                  <a:gd name="connsiteY0" fmla="*/ 77066 h 77066"/>
                  <a:gd name="connsiteX1" fmla="*/ 0 w 46242"/>
                  <a:gd name="connsiteY1" fmla="*/ 77066 h 77066"/>
                  <a:gd name="connsiteX2" fmla="*/ 0 w 46242"/>
                  <a:gd name="connsiteY2" fmla="*/ 61647 h 77066"/>
                  <a:gd name="connsiteX3" fmla="*/ 23121 w 46242"/>
                  <a:gd name="connsiteY3" fmla="*/ 61647 h 77066"/>
                  <a:gd name="connsiteX4" fmla="*/ 30824 w 46242"/>
                  <a:gd name="connsiteY4" fmla="*/ 53945 h 77066"/>
                  <a:gd name="connsiteX5" fmla="*/ 19952 w 46242"/>
                  <a:gd name="connsiteY5" fmla="*/ 45567 h 77066"/>
                  <a:gd name="connsiteX6" fmla="*/ 0 w 46242"/>
                  <a:gd name="connsiteY6" fmla="*/ 23121 h 77066"/>
                  <a:gd name="connsiteX7" fmla="*/ 23121 w 46242"/>
                  <a:gd name="connsiteY7" fmla="*/ 0 h 77066"/>
                  <a:gd name="connsiteX8" fmla="*/ 46242 w 46242"/>
                  <a:gd name="connsiteY8" fmla="*/ 0 h 77066"/>
                  <a:gd name="connsiteX9" fmla="*/ 46242 w 46242"/>
                  <a:gd name="connsiteY9" fmla="*/ 15419 h 77066"/>
                  <a:gd name="connsiteX10" fmla="*/ 23121 w 46242"/>
                  <a:gd name="connsiteY10" fmla="*/ 15419 h 77066"/>
                  <a:gd name="connsiteX11" fmla="*/ 15419 w 46242"/>
                  <a:gd name="connsiteY11" fmla="*/ 23121 h 77066"/>
                  <a:gd name="connsiteX12" fmla="*/ 26277 w 46242"/>
                  <a:gd name="connsiteY12" fmla="*/ 31499 h 77066"/>
                  <a:gd name="connsiteX13" fmla="*/ 46242 w 46242"/>
                  <a:gd name="connsiteY13" fmla="*/ 53945 h 77066"/>
                  <a:gd name="connsiteX14" fmla="*/ 23121 w 46242"/>
                  <a:gd name="connsiteY14" fmla="*/ 77066 h 77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6242" h="77066">
                    <a:moveTo>
                      <a:pt x="23121" y="77066"/>
                    </a:moveTo>
                    <a:lnTo>
                      <a:pt x="0" y="77066"/>
                    </a:lnTo>
                    <a:lnTo>
                      <a:pt x="0" y="61647"/>
                    </a:lnTo>
                    <a:lnTo>
                      <a:pt x="23121" y="61647"/>
                    </a:lnTo>
                    <a:cubicBezTo>
                      <a:pt x="27365" y="61647"/>
                      <a:pt x="30824" y="58189"/>
                      <a:pt x="30824" y="53945"/>
                    </a:cubicBezTo>
                    <a:cubicBezTo>
                      <a:pt x="30520" y="52291"/>
                      <a:pt x="25436" y="48047"/>
                      <a:pt x="19952" y="45567"/>
                    </a:cubicBezTo>
                    <a:cubicBezTo>
                      <a:pt x="16631" y="44079"/>
                      <a:pt x="0" y="35991"/>
                      <a:pt x="0" y="23121"/>
                    </a:cubicBezTo>
                    <a:cubicBezTo>
                      <a:pt x="0" y="10376"/>
                      <a:pt x="10376" y="0"/>
                      <a:pt x="23121" y="0"/>
                    </a:cubicBezTo>
                    <a:lnTo>
                      <a:pt x="46242" y="0"/>
                    </a:lnTo>
                    <a:lnTo>
                      <a:pt x="46242" y="15419"/>
                    </a:lnTo>
                    <a:lnTo>
                      <a:pt x="23121" y="15419"/>
                    </a:lnTo>
                    <a:cubicBezTo>
                      <a:pt x="18877" y="15419"/>
                      <a:pt x="15419" y="18877"/>
                      <a:pt x="15419" y="23121"/>
                    </a:cubicBezTo>
                    <a:cubicBezTo>
                      <a:pt x="15749" y="24954"/>
                      <a:pt x="21330" y="29294"/>
                      <a:pt x="26277" y="31499"/>
                    </a:cubicBezTo>
                    <a:cubicBezTo>
                      <a:pt x="29611" y="33001"/>
                      <a:pt x="46242" y="41103"/>
                      <a:pt x="46242" y="53945"/>
                    </a:cubicBezTo>
                    <a:cubicBezTo>
                      <a:pt x="46229" y="66704"/>
                      <a:pt x="35867" y="77066"/>
                      <a:pt x="23121" y="77066"/>
                    </a:cubicBezTo>
                    <a:close/>
                  </a:path>
                </a:pathLst>
              </a:custGeom>
              <a:solidFill>
                <a:schemeClr val="accent1"/>
              </a:solidFill>
              <a:ln w="1375" cap="flat">
                <a:noFill/>
                <a:prstDash val="solid"/>
                <a:miter/>
              </a:ln>
            </p:spPr>
            <p:txBody>
              <a:bodyPr rtlCol="0" anchor="ctr"/>
              <a:lstStyle/>
              <a:p>
                <a:endParaRPr lang="en-GB" dirty="0"/>
              </a:p>
            </p:txBody>
          </p:sp>
          <p:sp>
            <p:nvSpPr>
              <p:cNvPr id="603" name="Freihandform: Form 602">
                <a:extLst>
                  <a:ext uri="{FF2B5EF4-FFF2-40B4-BE49-F238E27FC236}">
                    <a16:creationId xmlns:a16="http://schemas.microsoft.com/office/drawing/2014/main" id="{AE8A743C-3094-4EA8-B49C-579CB51B5225}"/>
                  </a:ext>
                </a:extLst>
              </p:cNvPr>
              <p:cNvSpPr/>
              <p:nvPr/>
            </p:nvSpPr>
            <p:spPr>
              <a:xfrm>
                <a:off x="1396911" y="3611242"/>
                <a:ext cx="362181" cy="15418"/>
              </a:xfrm>
              <a:custGeom>
                <a:avLst/>
                <a:gdLst>
                  <a:gd name="connsiteX0" fmla="*/ 0 w 362181"/>
                  <a:gd name="connsiteY0" fmla="*/ 0 h 15418"/>
                  <a:gd name="connsiteX1" fmla="*/ 362181 w 362181"/>
                  <a:gd name="connsiteY1" fmla="*/ 0 h 15418"/>
                  <a:gd name="connsiteX2" fmla="*/ 362181 w 362181"/>
                  <a:gd name="connsiteY2" fmla="*/ 15419 h 15418"/>
                  <a:gd name="connsiteX3" fmla="*/ 0 w 362181"/>
                  <a:gd name="connsiteY3" fmla="*/ 15419 h 15418"/>
                </a:gdLst>
                <a:ahLst/>
                <a:cxnLst>
                  <a:cxn ang="0">
                    <a:pos x="connsiteX0" y="connsiteY0"/>
                  </a:cxn>
                  <a:cxn ang="0">
                    <a:pos x="connsiteX1" y="connsiteY1"/>
                  </a:cxn>
                  <a:cxn ang="0">
                    <a:pos x="connsiteX2" y="connsiteY2"/>
                  </a:cxn>
                  <a:cxn ang="0">
                    <a:pos x="connsiteX3" y="connsiteY3"/>
                  </a:cxn>
                </a:cxnLst>
                <a:rect l="l" t="t" r="r" b="b"/>
                <a:pathLst>
                  <a:path w="362181" h="15418">
                    <a:moveTo>
                      <a:pt x="0" y="0"/>
                    </a:moveTo>
                    <a:lnTo>
                      <a:pt x="362181" y="0"/>
                    </a:lnTo>
                    <a:lnTo>
                      <a:pt x="362181"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604" name="Freihandform: Form 603">
                <a:extLst>
                  <a:ext uri="{FF2B5EF4-FFF2-40B4-BE49-F238E27FC236}">
                    <a16:creationId xmlns:a16="http://schemas.microsoft.com/office/drawing/2014/main" id="{FDD1E622-D0C0-4163-B679-A775D410DD5A}"/>
                  </a:ext>
                </a:extLst>
              </p:cNvPr>
              <p:cNvSpPr/>
              <p:nvPr/>
            </p:nvSpPr>
            <p:spPr>
              <a:xfrm>
                <a:off x="1373790" y="3580419"/>
                <a:ext cx="362181" cy="15418"/>
              </a:xfrm>
              <a:custGeom>
                <a:avLst/>
                <a:gdLst>
                  <a:gd name="connsiteX0" fmla="*/ 0 w 362181"/>
                  <a:gd name="connsiteY0" fmla="*/ 0 h 15418"/>
                  <a:gd name="connsiteX1" fmla="*/ 362181 w 362181"/>
                  <a:gd name="connsiteY1" fmla="*/ 0 h 15418"/>
                  <a:gd name="connsiteX2" fmla="*/ 362181 w 362181"/>
                  <a:gd name="connsiteY2" fmla="*/ 15419 h 15418"/>
                  <a:gd name="connsiteX3" fmla="*/ 0 w 362181"/>
                  <a:gd name="connsiteY3" fmla="*/ 15419 h 15418"/>
                </a:gdLst>
                <a:ahLst/>
                <a:cxnLst>
                  <a:cxn ang="0">
                    <a:pos x="connsiteX0" y="connsiteY0"/>
                  </a:cxn>
                  <a:cxn ang="0">
                    <a:pos x="connsiteX1" y="connsiteY1"/>
                  </a:cxn>
                  <a:cxn ang="0">
                    <a:pos x="connsiteX2" y="connsiteY2"/>
                  </a:cxn>
                  <a:cxn ang="0">
                    <a:pos x="connsiteX3" y="connsiteY3"/>
                  </a:cxn>
                </a:cxnLst>
                <a:rect l="l" t="t" r="r" b="b"/>
                <a:pathLst>
                  <a:path w="362181" h="15418">
                    <a:moveTo>
                      <a:pt x="0" y="0"/>
                    </a:moveTo>
                    <a:lnTo>
                      <a:pt x="362181" y="0"/>
                    </a:lnTo>
                    <a:lnTo>
                      <a:pt x="362181" y="15419"/>
                    </a:lnTo>
                    <a:lnTo>
                      <a:pt x="0" y="15419"/>
                    </a:lnTo>
                    <a:close/>
                  </a:path>
                </a:pathLst>
              </a:custGeom>
              <a:solidFill>
                <a:schemeClr val="accent1"/>
              </a:solidFill>
              <a:ln w="1375" cap="flat">
                <a:noFill/>
                <a:prstDash val="solid"/>
                <a:miter/>
              </a:ln>
            </p:spPr>
            <p:txBody>
              <a:bodyPr rtlCol="0" anchor="ctr"/>
              <a:lstStyle/>
              <a:p>
                <a:endParaRPr lang="en-GB" dirty="0"/>
              </a:p>
            </p:txBody>
          </p:sp>
          <p:sp>
            <p:nvSpPr>
              <p:cNvPr id="607" name="Freihandform: Form 606">
                <a:extLst>
                  <a:ext uri="{FF2B5EF4-FFF2-40B4-BE49-F238E27FC236}">
                    <a16:creationId xmlns:a16="http://schemas.microsoft.com/office/drawing/2014/main" id="{E3799197-8E0A-40FD-9EB5-DFC43F6D5E9E}"/>
                  </a:ext>
                </a:extLst>
              </p:cNvPr>
              <p:cNvSpPr/>
              <p:nvPr/>
            </p:nvSpPr>
            <p:spPr>
              <a:xfrm rot="18900000">
                <a:off x="1436739" y="3595831"/>
                <a:ext cx="43596" cy="15404"/>
              </a:xfrm>
              <a:custGeom>
                <a:avLst/>
                <a:gdLst>
                  <a:gd name="connsiteX0" fmla="*/ 0 w 43596"/>
                  <a:gd name="connsiteY0" fmla="*/ 0 h 15404"/>
                  <a:gd name="connsiteX1" fmla="*/ 43596 w 43596"/>
                  <a:gd name="connsiteY1" fmla="*/ 0 h 15404"/>
                  <a:gd name="connsiteX2" fmla="*/ 43596 w 43596"/>
                  <a:gd name="connsiteY2" fmla="*/ 15405 h 15404"/>
                  <a:gd name="connsiteX3" fmla="*/ 0 w 43596"/>
                  <a:gd name="connsiteY3" fmla="*/ 15405 h 15404"/>
                </a:gdLst>
                <a:ahLst/>
                <a:cxnLst>
                  <a:cxn ang="0">
                    <a:pos x="connsiteX0" y="connsiteY0"/>
                  </a:cxn>
                  <a:cxn ang="0">
                    <a:pos x="connsiteX1" y="connsiteY1"/>
                  </a:cxn>
                  <a:cxn ang="0">
                    <a:pos x="connsiteX2" y="connsiteY2"/>
                  </a:cxn>
                  <a:cxn ang="0">
                    <a:pos x="connsiteX3" y="connsiteY3"/>
                  </a:cxn>
                </a:cxnLst>
                <a:rect l="l" t="t" r="r" b="b"/>
                <a:pathLst>
                  <a:path w="43596" h="15404">
                    <a:moveTo>
                      <a:pt x="0" y="0"/>
                    </a:moveTo>
                    <a:lnTo>
                      <a:pt x="43596" y="0"/>
                    </a:lnTo>
                    <a:lnTo>
                      <a:pt x="43596" y="15405"/>
                    </a:lnTo>
                    <a:lnTo>
                      <a:pt x="0" y="15405"/>
                    </a:lnTo>
                    <a:close/>
                  </a:path>
                </a:pathLst>
              </a:custGeom>
              <a:solidFill>
                <a:schemeClr val="accent1"/>
              </a:solidFill>
              <a:ln w="1375" cap="flat">
                <a:noFill/>
                <a:prstDash val="solid"/>
                <a:miter/>
              </a:ln>
            </p:spPr>
            <p:txBody>
              <a:bodyPr rtlCol="0" anchor="ctr"/>
              <a:lstStyle/>
              <a:p>
                <a:endParaRPr lang="en-GB" dirty="0"/>
              </a:p>
            </p:txBody>
          </p:sp>
          <p:sp>
            <p:nvSpPr>
              <p:cNvPr id="608" name="Freihandform: Form 607">
                <a:extLst>
                  <a:ext uri="{FF2B5EF4-FFF2-40B4-BE49-F238E27FC236}">
                    <a16:creationId xmlns:a16="http://schemas.microsoft.com/office/drawing/2014/main" id="{DB20C10F-2028-48EC-825B-C8F2A2843B59}"/>
                  </a:ext>
                </a:extLst>
              </p:cNvPr>
              <p:cNvSpPr/>
              <p:nvPr/>
            </p:nvSpPr>
            <p:spPr>
              <a:xfrm rot="18900000">
                <a:off x="1544625" y="3595829"/>
                <a:ext cx="43596" cy="15404"/>
              </a:xfrm>
              <a:custGeom>
                <a:avLst/>
                <a:gdLst>
                  <a:gd name="connsiteX0" fmla="*/ 0 w 43596"/>
                  <a:gd name="connsiteY0" fmla="*/ 0 h 15404"/>
                  <a:gd name="connsiteX1" fmla="*/ 43596 w 43596"/>
                  <a:gd name="connsiteY1" fmla="*/ 0 h 15404"/>
                  <a:gd name="connsiteX2" fmla="*/ 43596 w 43596"/>
                  <a:gd name="connsiteY2" fmla="*/ 15405 h 15404"/>
                  <a:gd name="connsiteX3" fmla="*/ 0 w 43596"/>
                  <a:gd name="connsiteY3" fmla="*/ 15405 h 15404"/>
                </a:gdLst>
                <a:ahLst/>
                <a:cxnLst>
                  <a:cxn ang="0">
                    <a:pos x="connsiteX0" y="connsiteY0"/>
                  </a:cxn>
                  <a:cxn ang="0">
                    <a:pos x="connsiteX1" y="connsiteY1"/>
                  </a:cxn>
                  <a:cxn ang="0">
                    <a:pos x="connsiteX2" y="connsiteY2"/>
                  </a:cxn>
                  <a:cxn ang="0">
                    <a:pos x="connsiteX3" y="connsiteY3"/>
                  </a:cxn>
                </a:cxnLst>
                <a:rect l="l" t="t" r="r" b="b"/>
                <a:pathLst>
                  <a:path w="43596" h="15404">
                    <a:moveTo>
                      <a:pt x="0" y="0"/>
                    </a:moveTo>
                    <a:lnTo>
                      <a:pt x="43596" y="0"/>
                    </a:lnTo>
                    <a:lnTo>
                      <a:pt x="43596" y="15405"/>
                    </a:lnTo>
                    <a:lnTo>
                      <a:pt x="0" y="15405"/>
                    </a:lnTo>
                    <a:close/>
                  </a:path>
                </a:pathLst>
              </a:custGeom>
              <a:solidFill>
                <a:schemeClr val="accent1"/>
              </a:solidFill>
              <a:ln w="1375" cap="flat">
                <a:noFill/>
                <a:prstDash val="solid"/>
                <a:miter/>
              </a:ln>
            </p:spPr>
            <p:txBody>
              <a:bodyPr rtlCol="0" anchor="ctr"/>
              <a:lstStyle/>
              <a:p>
                <a:endParaRPr lang="en-GB" dirty="0"/>
              </a:p>
            </p:txBody>
          </p:sp>
          <p:sp>
            <p:nvSpPr>
              <p:cNvPr id="609" name="Freihandform: Form 608">
                <a:extLst>
                  <a:ext uri="{FF2B5EF4-FFF2-40B4-BE49-F238E27FC236}">
                    <a16:creationId xmlns:a16="http://schemas.microsoft.com/office/drawing/2014/main" id="{80A86521-D76C-4BF7-91EA-9B8FCB24CB29}"/>
                  </a:ext>
                </a:extLst>
              </p:cNvPr>
              <p:cNvSpPr/>
              <p:nvPr/>
            </p:nvSpPr>
            <p:spPr>
              <a:xfrm rot="18900000">
                <a:off x="1652502" y="3595840"/>
                <a:ext cx="43596" cy="15404"/>
              </a:xfrm>
              <a:custGeom>
                <a:avLst/>
                <a:gdLst>
                  <a:gd name="connsiteX0" fmla="*/ 0 w 43596"/>
                  <a:gd name="connsiteY0" fmla="*/ 0 h 15404"/>
                  <a:gd name="connsiteX1" fmla="*/ 43596 w 43596"/>
                  <a:gd name="connsiteY1" fmla="*/ 0 h 15404"/>
                  <a:gd name="connsiteX2" fmla="*/ 43596 w 43596"/>
                  <a:gd name="connsiteY2" fmla="*/ 15405 h 15404"/>
                  <a:gd name="connsiteX3" fmla="*/ 0 w 43596"/>
                  <a:gd name="connsiteY3" fmla="*/ 15405 h 15404"/>
                </a:gdLst>
                <a:ahLst/>
                <a:cxnLst>
                  <a:cxn ang="0">
                    <a:pos x="connsiteX0" y="connsiteY0"/>
                  </a:cxn>
                  <a:cxn ang="0">
                    <a:pos x="connsiteX1" y="connsiteY1"/>
                  </a:cxn>
                  <a:cxn ang="0">
                    <a:pos x="connsiteX2" y="connsiteY2"/>
                  </a:cxn>
                  <a:cxn ang="0">
                    <a:pos x="connsiteX3" y="connsiteY3"/>
                  </a:cxn>
                </a:cxnLst>
                <a:rect l="l" t="t" r="r" b="b"/>
                <a:pathLst>
                  <a:path w="43596" h="15404">
                    <a:moveTo>
                      <a:pt x="0" y="0"/>
                    </a:moveTo>
                    <a:lnTo>
                      <a:pt x="43596" y="0"/>
                    </a:lnTo>
                    <a:lnTo>
                      <a:pt x="43596" y="15405"/>
                    </a:lnTo>
                    <a:lnTo>
                      <a:pt x="0" y="15405"/>
                    </a:lnTo>
                    <a:close/>
                  </a:path>
                </a:pathLst>
              </a:custGeom>
              <a:solidFill>
                <a:schemeClr val="accent1"/>
              </a:solidFill>
              <a:ln w="1375" cap="flat">
                <a:noFill/>
                <a:prstDash val="solid"/>
                <a:miter/>
              </a:ln>
            </p:spPr>
            <p:txBody>
              <a:bodyPr rtlCol="0" anchor="ctr"/>
              <a:lstStyle/>
              <a:p>
                <a:endParaRPr lang="en-GB" dirty="0"/>
              </a:p>
            </p:txBody>
          </p:sp>
        </p:grpSp>
      </p:grpSp>
      <p:grpSp>
        <p:nvGrpSpPr>
          <p:cNvPr id="691" name="Gruppieren 690">
            <a:extLst>
              <a:ext uri="{FF2B5EF4-FFF2-40B4-BE49-F238E27FC236}">
                <a16:creationId xmlns:a16="http://schemas.microsoft.com/office/drawing/2014/main" id="{35436819-F10D-4554-B4B0-A2407A681E6D}"/>
              </a:ext>
            </a:extLst>
          </p:cNvPr>
          <p:cNvGrpSpPr>
            <a:grpSpLocks noChangeAspect="1"/>
          </p:cNvGrpSpPr>
          <p:nvPr/>
        </p:nvGrpSpPr>
        <p:grpSpPr>
          <a:xfrm>
            <a:off x="1230663" y="4097458"/>
            <a:ext cx="601032" cy="432007"/>
            <a:chOff x="1319859" y="4204603"/>
            <a:chExt cx="493178" cy="354484"/>
          </a:xfrm>
        </p:grpSpPr>
        <p:grpSp>
          <p:nvGrpSpPr>
            <p:cNvPr id="689" name="Gruppieren 688">
              <a:extLst>
                <a:ext uri="{FF2B5EF4-FFF2-40B4-BE49-F238E27FC236}">
                  <a16:creationId xmlns:a16="http://schemas.microsoft.com/office/drawing/2014/main" id="{4280EB3F-303A-4866-85A0-12A479431A11}"/>
                </a:ext>
              </a:extLst>
            </p:cNvPr>
            <p:cNvGrpSpPr/>
            <p:nvPr/>
          </p:nvGrpSpPr>
          <p:grpSpPr>
            <a:xfrm>
              <a:off x="1404624" y="4204603"/>
              <a:ext cx="323650" cy="107896"/>
              <a:chOff x="1404624" y="4204608"/>
              <a:chExt cx="323650" cy="107896"/>
            </a:xfrm>
          </p:grpSpPr>
          <p:sp>
            <p:nvSpPr>
              <p:cNvPr id="623" name="Freihandform: Form 622">
                <a:extLst>
                  <a:ext uri="{FF2B5EF4-FFF2-40B4-BE49-F238E27FC236}">
                    <a16:creationId xmlns:a16="http://schemas.microsoft.com/office/drawing/2014/main" id="{C24212C6-76D9-43DD-A8D1-6044C12B83E0}"/>
                  </a:ext>
                </a:extLst>
              </p:cNvPr>
              <p:cNvSpPr/>
              <p:nvPr/>
            </p:nvSpPr>
            <p:spPr>
              <a:xfrm>
                <a:off x="1520216" y="4204608"/>
                <a:ext cx="92466" cy="84770"/>
              </a:xfrm>
              <a:custGeom>
                <a:avLst/>
                <a:gdLst>
                  <a:gd name="connsiteX0" fmla="*/ 23111 w 92466"/>
                  <a:gd name="connsiteY0" fmla="*/ 84769 h 84770"/>
                  <a:gd name="connsiteX1" fmla="*/ 18564 w 92466"/>
                  <a:gd name="connsiteY1" fmla="*/ 83280 h 84770"/>
                  <a:gd name="connsiteX2" fmla="*/ 15780 w 92466"/>
                  <a:gd name="connsiteY2" fmla="*/ 74682 h 84770"/>
                  <a:gd name="connsiteX3" fmla="*/ 23194 w 92466"/>
                  <a:gd name="connsiteY3" fmla="*/ 51837 h 84770"/>
                  <a:gd name="connsiteX4" fmla="*/ 3131 w 92466"/>
                  <a:gd name="connsiteY4" fmla="*/ 37024 h 84770"/>
                  <a:gd name="connsiteX5" fmla="*/ 389 w 92466"/>
                  <a:gd name="connsiteY5" fmla="*/ 28412 h 84770"/>
                  <a:gd name="connsiteX6" fmla="*/ 7706 w 92466"/>
                  <a:gd name="connsiteY6" fmla="*/ 23121 h 84770"/>
                  <a:gd name="connsiteX7" fmla="*/ 32233 w 92466"/>
                  <a:gd name="connsiteY7" fmla="*/ 23121 h 84770"/>
                  <a:gd name="connsiteX8" fmla="*/ 39012 w 92466"/>
                  <a:gd name="connsiteY8" fmla="*/ 5002 h 84770"/>
                  <a:gd name="connsiteX9" fmla="*/ 46232 w 92466"/>
                  <a:gd name="connsiteY9" fmla="*/ 0 h 84770"/>
                  <a:gd name="connsiteX10" fmla="*/ 53452 w 92466"/>
                  <a:gd name="connsiteY10" fmla="*/ 5002 h 84770"/>
                  <a:gd name="connsiteX11" fmla="*/ 60232 w 92466"/>
                  <a:gd name="connsiteY11" fmla="*/ 23121 h 84770"/>
                  <a:gd name="connsiteX12" fmla="*/ 84758 w 92466"/>
                  <a:gd name="connsiteY12" fmla="*/ 23121 h 84770"/>
                  <a:gd name="connsiteX13" fmla="*/ 92075 w 92466"/>
                  <a:gd name="connsiteY13" fmla="*/ 28412 h 84770"/>
                  <a:gd name="connsiteX14" fmla="*/ 89360 w 92466"/>
                  <a:gd name="connsiteY14" fmla="*/ 37010 h 84770"/>
                  <a:gd name="connsiteX15" fmla="*/ 69271 w 92466"/>
                  <a:gd name="connsiteY15" fmla="*/ 51919 h 84770"/>
                  <a:gd name="connsiteX16" fmla="*/ 76670 w 92466"/>
                  <a:gd name="connsiteY16" fmla="*/ 74682 h 84770"/>
                  <a:gd name="connsiteX17" fmla="*/ 73900 w 92466"/>
                  <a:gd name="connsiteY17" fmla="*/ 83280 h 84770"/>
                  <a:gd name="connsiteX18" fmla="*/ 64861 w 92466"/>
                  <a:gd name="connsiteY18" fmla="*/ 83335 h 84770"/>
                  <a:gd name="connsiteX19" fmla="*/ 46232 w 92466"/>
                  <a:gd name="connsiteY19" fmla="*/ 69997 h 84770"/>
                  <a:gd name="connsiteX20" fmla="*/ 27603 w 92466"/>
                  <a:gd name="connsiteY20" fmla="*/ 83335 h 84770"/>
                  <a:gd name="connsiteX21" fmla="*/ 23111 w 92466"/>
                  <a:gd name="connsiteY21" fmla="*/ 84769 h 84770"/>
                  <a:gd name="connsiteX22" fmla="*/ 31116 w 92466"/>
                  <a:gd name="connsiteY22" fmla="*/ 38526 h 84770"/>
                  <a:gd name="connsiteX23" fmla="*/ 36807 w 92466"/>
                  <a:gd name="connsiteY23" fmla="*/ 42729 h 84770"/>
                  <a:gd name="connsiteX24" fmla="*/ 39563 w 92466"/>
                  <a:gd name="connsiteY24" fmla="*/ 51313 h 84770"/>
                  <a:gd name="connsiteX25" fmla="*/ 37662 w 92466"/>
                  <a:gd name="connsiteY25" fmla="*/ 57183 h 84770"/>
                  <a:gd name="connsiteX26" fmla="*/ 41754 w 92466"/>
                  <a:gd name="connsiteY26" fmla="*/ 54262 h 84770"/>
                  <a:gd name="connsiteX27" fmla="*/ 50724 w 92466"/>
                  <a:gd name="connsiteY27" fmla="*/ 54262 h 84770"/>
                  <a:gd name="connsiteX28" fmla="*/ 54775 w 92466"/>
                  <a:gd name="connsiteY28" fmla="*/ 57155 h 84770"/>
                  <a:gd name="connsiteX29" fmla="*/ 52915 w 92466"/>
                  <a:gd name="connsiteY29" fmla="*/ 51423 h 84770"/>
                  <a:gd name="connsiteX30" fmla="*/ 55643 w 92466"/>
                  <a:gd name="connsiteY30" fmla="*/ 42853 h 84770"/>
                  <a:gd name="connsiteX31" fmla="*/ 61458 w 92466"/>
                  <a:gd name="connsiteY31" fmla="*/ 38540 h 84770"/>
                  <a:gd name="connsiteX32" fmla="*/ 54885 w 92466"/>
                  <a:gd name="connsiteY32" fmla="*/ 38540 h 84770"/>
                  <a:gd name="connsiteX33" fmla="*/ 47665 w 92466"/>
                  <a:gd name="connsiteY33" fmla="*/ 33538 h 84770"/>
                  <a:gd name="connsiteX34" fmla="*/ 46232 w 92466"/>
                  <a:gd name="connsiteY34" fmla="*/ 29694 h 84770"/>
                  <a:gd name="connsiteX35" fmla="*/ 44799 w 92466"/>
                  <a:gd name="connsiteY35" fmla="*/ 33538 h 84770"/>
                  <a:gd name="connsiteX36" fmla="*/ 37579 w 92466"/>
                  <a:gd name="connsiteY36" fmla="*/ 38540 h 84770"/>
                  <a:gd name="connsiteX37" fmla="*/ 31116 w 92466"/>
                  <a:gd name="connsiteY37" fmla="*/ 38540 h 84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2466" h="84770">
                    <a:moveTo>
                      <a:pt x="23111" y="84769"/>
                    </a:moveTo>
                    <a:cubicBezTo>
                      <a:pt x="21512" y="84769"/>
                      <a:pt x="19914" y="84273"/>
                      <a:pt x="18564" y="83280"/>
                    </a:cubicBezTo>
                    <a:cubicBezTo>
                      <a:pt x="15877" y="81324"/>
                      <a:pt x="14761" y="77851"/>
                      <a:pt x="15780" y="74682"/>
                    </a:cubicBezTo>
                    <a:lnTo>
                      <a:pt x="23194" y="51837"/>
                    </a:lnTo>
                    <a:lnTo>
                      <a:pt x="3131" y="37024"/>
                    </a:lnTo>
                    <a:cubicBezTo>
                      <a:pt x="458" y="35040"/>
                      <a:pt x="-658" y="31582"/>
                      <a:pt x="389" y="28412"/>
                    </a:cubicBezTo>
                    <a:cubicBezTo>
                      <a:pt x="1423" y="25257"/>
                      <a:pt x="4385" y="23121"/>
                      <a:pt x="7706" y="23121"/>
                    </a:cubicBezTo>
                    <a:lnTo>
                      <a:pt x="32233" y="23121"/>
                    </a:lnTo>
                    <a:lnTo>
                      <a:pt x="39012" y="5002"/>
                    </a:lnTo>
                    <a:cubicBezTo>
                      <a:pt x="40142" y="1998"/>
                      <a:pt x="43021" y="0"/>
                      <a:pt x="46232" y="0"/>
                    </a:cubicBezTo>
                    <a:cubicBezTo>
                      <a:pt x="49443" y="0"/>
                      <a:pt x="52322" y="1998"/>
                      <a:pt x="53452" y="5002"/>
                    </a:cubicBezTo>
                    <a:lnTo>
                      <a:pt x="60232" y="23121"/>
                    </a:lnTo>
                    <a:lnTo>
                      <a:pt x="84758" y="23121"/>
                    </a:lnTo>
                    <a:cubicBezTo>
                      <a:pt x="88079" y="23121"/>
                      <a:pt x="91028" y="25257"/>
                      <a:pt x="92075" y="28412"/>
                    </a:cubicBezTo>
                    <a:cubicBezTo>
                      <a:pt x="93122" y="31568"/>
                      <a:pt x="92020" y="35040"/>
                      <a:pt x="89360" y="37010"/>
                    </a:cubicBezTo>
                    <a:lnTo>
                      <a:pt x="69271" y="51919"/>
                    </a:lnTo>
                    <a:lnTo>
                      <a:pt x="76670" y="74682"/>
                    </a:lnTo>
                    <a:cubicBezTo>
                      <a:pt x="77703" y="77851"/>
                      <a:pt x="76587" y="81324"/>
                      <a:pt x="73900" y="83280"/>
                    </a:cubicBezTo>
                    <a:cubicBezTo>
                      <a:pt x="71213" y="85251"/>
                      <a:pt x="67576" y="85265"/>
                      <a:pt x="64861" y="83335"/>
                    </a:cubicBezTo>
                    <a:lnTo>
                      <a:pt x="46232" y="69997"/>
                    </a:lnTo>
                    <a:lnTo>
                      <a:pt x="27603" y="83335"/>
                    </a:lnTo>
                    <a:cubicBezTo>
                      <a:pt x="26252" y="84286"/>
                      <a:pt x="24682" y="84769"/>
                      <a:pt x="23111" y="84769"/>
                    </a:cubicBezTo>
                    <a:close/>
                    <a:moveTo>
                      <a:pt x="31116" y="38526"/>
                    </a:moveTo>
                    <a:lnTo>
                      <a:pt x="36807" y="42729"/>
                    </a:lnTo>
                    <a:cubicBezTo>
                      <a:pt x="39480" y="44699"/>
                      <a:pt x="40583" y="48158"/>
                      <a:pt x="39563" y="51313"/>
                    </a:cubicBezTo>
                    <a:lnTo>
                      <a:pt x="37662" y="57183"/>
                    </a:lnTo>
                    <a:lnTo>
                      <a:pt x="41754" y="54262"/>
                    </a:lnTo>
                    <a:cubicBezTo>
                      <a:pt x="44441" y="52346"/>
                      <a:pt x="48037" y="52346"/>
                      <a:pt x="50724" y="54262"/>
                    </a:cubicBezTo>
                    <a:lnTo>
                      <a:pt x="54775" y="57155"/>
                    </a:lnTo>
                    <a:lnTo>
                      <a:pt x="52915" y="51423"/>
                    </a:lnTo>
                    <a:cubicBezTo>
                      <a:pt x="51881" y="48282"/>
                      <a:pt x="52984" y="44823"/>
                      <a:pt x="55643" y="42853"/>
                    </a:cubicBezTo>
                    <a:lnTo>
                      <a:pt x="61458" y="38540"/>
                    </a:lnTo>
                    <a:lnTo>
                      <a:pt x="54885" y="38540"/>
                    </a:lnTo>
                    <a:cubicBezTo>
                      <a:pt x="51675" y="38540"/>
                      <a:pt x="48795" y="36542"/>
                      <a:pt x="47665" y="33538"/>
                    </a:cubicBezTo>
                    <a:lnTo>
                      <a:pt x="46232" y="29694"/>
                    </a:lnTo>
                    <a:lnTo>
                      <a:pt x="44799" y="33538"/>
                    </a:lnTo>
                    <a:cubicBezTo>
                      <a:pt x="43669" y="36542"/>
                      <a:pt x="40789" y="38540"/>
                      <a:pt x="37579" y="38540"/>
                    </a:cubicBezTo>
                    <a:lnTo>
                      <a:pt x="31116" y="38540"/>
                    </a:lnTo>
                    <a:close/>
                  </a:path>
                </a:pathLst>
              </a:custGeom>
              <a:solidFill>
                <a:schemeClr val="accent1"/>
              </a:solidFill>
              <a:ln w="1375" cap="flat">
                <a:noFill/>
                <a:prstDash val="solid"/>
                <a:miter/>
              </a:ln>
            </p:spPr>
            <p:txBody>
              <a:bodyPr rtlCol="0" anchor="ctr"/>
              <a:lstStyle/>
              <a:p>
                <a:endParaRPr lang="en-GB" dirty="0"/>
              </a:p>
            </p:txBody>
          </p:sp>
          <p:sp>
            <p:nvSpPr>
              <p:cNvPr id="624" name="Freihandform: Form 623">
                <a:extLst>
                  <a:ext uri="{FF2B5EF4-FFF2-40B4-BE49-F238E27FC236}">
                    <a16:creationId xmlns:a16="http://schemas.microsoft.com/office/drawing/2014/main" id="{B15E8E18-991A-4275-8A22-22F95A30346C}"/>
                  </a:ext>
                </a:extLst>
              </p:cNvPr>
              <p:cNvSpPr/>
              <p:nvPr/>
            </p:nvSpPr>
            <p:spPr>
              <a:xfrm>
                <a:off x="1404624" y="4227729"/>
                <a:ext cx="92466" cy="84775"/>
              </a:xfrm>
              <a:custGeom>
                <a:avLst/>
                <a:gdLst>
                  <a:gd name="connsiteX0" fmla="*/ 23111 w 92466"/>
                  <a:gd name="connsiteY0" fmla="*/ 84769 h 84775"/>
                  <a:gd name="connsiteX1" fmla="*/ 18564 w 92466"/>
                  <a:gd name="connsiteY1" fmla="*/ 83280 h 84775"/>
                  <a:gd name="connsiteX2" fmla="*/ 15780 w 92466"/>
                  <a:gd name="connsiteY2" fmla="*/ 74682 h 84775"/>
                  <a:gd name="connsiteX3" fmla="*/ 23194 w 92466"/>
                  <a:gd name="connsiteY3" fmla="*/ 51837 h 84775"/>
                  <a:gd name="connsiteX4" fmla="*/ 3131 w 92466"/>
                  <a:gd name="connsiteY4" fmla="*/ 37024 h 84775"/>
                  <a:gd name="connsiteX5" fmla="*/ 389 w 92466"/>
                  <a:gd name="connsiteY5" fmla="*/ 28412 h 84775"/>
                  <a:gd name="connsiteX6" fmla="*/ 7706 w 92466"/>
                  <a:gd name="connsiteY6" fmla="*/ 23121 h 84775"/>
                  <a:gd name="connsiteX7" fmla="*/ 32233 w 92466"/>
                  <a:gd name="connsiteY7" fmla="*/ 23121 h 84775"/>
                  <a:gd name="connsiteX8" fmla="*/ 39012 w 92466"/>
                  <a:gd name="connsiteY8" fmla="*/ 5002 h 84775"/>
                  <a:gd name="connsiteX9" fmla="*/ 46232 w 92466"/>
                  <a:gd name="connsiteY9" fmla="*/ 0 h 84775"/>
                  <a:gd name="connsiteX10" fmla="*/ 53452 w 92466"/>
                  <a:gd name="connsiteY10" fmla="*/ 5002 h 84775"/>
                  <a:gd name="connsiteX11" fmla="*/ 60232 w 92466"/>
                  <a:gd name="connsiteY11" fmla="*/ 23121 h 84775"/>
                  <a:gd name="connsiteX12" fmla="*/ 84758 w 92466"/>
                  <a:gd name="connsiteY12" fmla="*/ 23121 h 84775"/>
                  <a:gd name="connsiteX13" fmla="*/ 92075 w 92466"/>
                  <a:gd name="connsiteY13" fmla="*/ 28412 h 84775"/>
                  <a:gd name="connsiteX14" fmla="*/ 89360 w 92466"/>
                  <a:gd name="connsiteY14" fmla="*/ 37010 h 84775"/>
                  <a:gd name="connsiteX15" fmla="*/ 69271 w 92466"/>
                  <a:gd name="connsiteY15" fmla="*/ 51919 h 84775"/>
                  <a:gd name="connsiteX16" fmla="*/ 76670 w 92466"/>
                  <a:gd name="connsiteY16" fmla="*/ 74682 h 84775"/>
                  <a:gd name="connsiteX17" fmla="*/ 73900 w 92466"/>
                  <a:gd name="connsiteY17" fmla="*/ 83280 h 84775"/>
                  <a:gd name="connsiteX18" fmla="*/ 64861 w 92466"/>
                  <a:gd name="connsiteY18" fmla="*/ 83335 h 84775"/>
                  <a:gd name="connsiteX19" fmla="*/ 46232 w 92466"/>
                  <a:gd name="connsiteY19" fmla="*/ 69997 h 84775"/>
                  <a:gd name="connsiteX20" fmla="*/ 27603 w 92466"/>
                  <a:gd name="connsiteY20" fmla="*/ 83335 h 84775"/>
                  <a:gd name="connsiteX21" fmla="*/ 23111 w 92466"/>
                  <a:gd name="connsiteY21" fmla="*/ 84769 h 84775"/>
                  <a:gd name="connsiteX22" fmla="*/ 31116 w 92466"/>
                  <a:gd name="connsiteY22" fmla="*/ 38526 h 84775"/>
                  <a:gd name="connsiteX23" fmla="*/ 36807 w 92466"/>
                  <a:gd name="connsiteY23" fmla="*/ 42729 h 84775"/>
                  <a:gd name="connsiteX24" fmla="*/ 39563 w 92466"/>
                  <a:gd name="connsiteY24" fmla="*/ 51313 h 84775"/>
                  <a:gd name="connsiteX25" fmla="*/ 37661 w 92466"/>
                  <a:gd name="connsiteY25" fmla="*/ 57183 h 84775"/>
                  <a:gd name="connsiteX26" fmla="*/ 41754 w 92466"/>
                  <a:gd name="connsiteY26" fmla="*/ 54262 h 84775"/>
                  <a:gd name="connsiteX27" fmla="*/ 50724 w 92466"/>
                  <a:gd name="connsiteY27" fmla="*/ 54262 h 84775"/>
                  <a:gd name="connsiteX28" fmla="*/ 54775 w 92466"/>
                  <a:gd name="connsiteY28" fmla="*/ 57155 h 84775"/>
                  <a:gd name="connsiteX29" fmla="*/ 52915 w 92466"/>
                  <a:gd name="connsiteY29" fmla="*/ 51423 h 84775"/>
                  <a:gd name="connsiteX30" fmla="*/ 55643 w 92466"/>
                  <a:gd name="connsiteY30" fmla="*/ 42853 h 84775"/>
                  <a:gd name="connsiteX31" fmla="*/ 61458 w 92466"/>
                  <a:gd name="connsiteY31" fmla="*/ 38540 h 84775"/>
                  <a:gd name="connsiteX32" fmla="*/ 54885 w 92466"/>
                  <a:gd name="connsiteY32" fmla="*/ 38540 h 84775"/>
                  <a:gd name="connsiteX33" fmla="*/ 47665 w 92466"/>
                  <a:gd name="connsiteY33" fmla="*/ 33538 h 84775"/>
                  <a:gd name="connsiteX34" fmla="*/ 46232 w 92466"/>
                  <a:gd name="connsiteY34" fmla="*/ 29694 h 84775"/>
                  <a:gd name="connsiteX35" fmla="*/ 44799 w 92466"/>
                  <a:gd name="connsiteY35" fmla="*/ 33538 h 84775"/>
                  <a:gd name="connsiteX36" fmla="*/ 37579 w 92466"/>
                  <a:gd name="connsiteY36" fmla="*/ 38540 h 84775"/>
                  <a:gd name="connsiteX37" fmla="*/ 31116 w 92466"/>
                  <a:gd name="connsiteY37" fmla="*/ 38540 h 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2466" h="84775">
                    <a:moveTo>
                      <a:pt x="23111" y="84769"/>
                    </a:moveTo>
                    <a:cubicBezTo>
                      <a:pt x="21512" y="84769"/>
                      <a:pt x="19914" y="84273"/>
                      <a:pt x="18564" y="83280"/>
                    </a:cubicBezTo>
                    <a:cubicBezTo>
                      <a:pt x="15877" y="81324"/>
                      <a:pt x="14761" y="77851"/>
                      <a:pt x="15780" y="74682"/>
                    </a:cubicBezTo>
                    <a:lnTo>
                      <a:pt x="23194" y="51837"/>
                    </a:lnTo>
                    <a:lnTo>
                      <a:pt x="3131" y="37024"/>
                    </a:lnTo>
                    <a:cubicBezTo>
                      <a:pt x="458" y="35040"/>
                      <a:pt x="-658" y="31582"/>
                      <a:pt x="389" y="28412"/>
                    </a:cubicBezTo>
                    <a:cubicBezTo>
                      <a:pt x="1423" y="25257"/>
                      <a:pt x="4385" y="23121"/>
                      <a:pt x="7706" y="23121"/>
                    </a:cubicBezTo>
                    <a:lnTo>
                      <a:pt x="32233" y="23121"/>
                    </a:lnTo>
                    <a:lnTo>
                      <a:pt x="39012" y="5002"/>
                    </a:lnTo>
                    <a:cubicBezTo>
                      <a:pt x="40142" y="1998"/>
                      <a:pt x="43022" y="0"/>
                      <a:pt x="46232" y="0"/>
                    </a:cubicBezTo>
                    <a:cubicBezTo>
                      <a:pt x="49443" y="0"/>
                      <a:pt x="52322" y="1998"/>
                      <a:pt x="53452" y="5002"/>
                    </a:cubicBezTo>
                    <a:lnTo>
                      <a:pt x="60232" y="23121"/>
                    </a:lnTo>
                    <a:lnTo>
                      <a:pt x="84758" y="23121"/>
                    </a:lnTo>
                    <a:cubicBezTo>
                      <a:pt x="88079" y="23121"/>
                      <a:pt x="91028" y="25257"/>
                      <a:pt x="92075" y="28412"/>
                    </a:cubicBezTo>
                    <a:cubicBezTo>
                      <a:pt x="93122" y="31568"/>
                      <a:pt x="92020" y="35040"/>
                      <a:pt x="89360" y="37010"/>
                    </a:cubicBezTo>
                    <a:lnTo>
                      <a:pt x="69271" y="51919"/>
                    </a:lnTo>
                    <a:lnTo>
                      <a:pt x="76670" y="74682"/>
                    </a:lnTo>
                    <a:cubicBezTo>
                      <a:pt x="77703" y="77851"/>
                      <a:pt x="76587" y="81324"/>
                      <a:pt x="73900" y="83280"/>
                    </a:cubicBezTo>
                    <a:cubicBezTo>
                      <a:pt x="71213" y="85265"/>
                      <a:pt x="67576" y="85265"/>
                      <a:pt x="64861" y="83335"/>
                    </a:cubicBezTo>
                    <a:lnTo>
                      <a:pt x="46232" y="69997"/>
                    </a:lnTo>
                    <a:lnTo>
                      <a:pt x="27603" y="83335"/>
                    </a:lnTo>
                    <a:cubicBezTo>
                      <a:pt x="26252" y="84286"/>
                      <a:pt x="24682" y="84769"/>
                      <a:pt x="23111" y="84769"/>
                    </a:cubicBezTo>
                    <a:close/>
                    <a:moveTo>
                      <a:pt x="31116" y="38526"/>
                    </a:moveTo>
                    <a:lnTo>
                      <a:pt x="36807" y="42729"/>
                    </a:lnTo>
                    <a:cubicBezTo>
                      <a:pt x="39480" y="44699"/>
                      <a:pt x="40583" y="48158"/>
                      <a:pt x="39563" y="51313"/>
                    </a:cubicBezTo>
                    <a:lnTo>
                      <a:pt x="37661" y="57183"/>
                    </a:lnTo>
                    <a:lnTo>
                      <a:pt x="41754" y="54262"/>
                    </a:lnTo>
                    <a:cubicBezTo>
                      <a:pt x="44441" y="52346"/>
                      <a:pt x="48037" y="52346"/>
                      <a:pt x="50724" y="54262"/>
                    </a:cubicBezTo>
                    <a:lnTo>
                      <a:pt x="54775" y="57155"/>
                    </a:lnTo>
                    <a:lnTo>
                      <a:pt x="52915" y="51423"/>
                    </a:lnTo>
                    <a:cubicBezTo>
                      <a:pt x="51881" y="48282"/>
                      <a:pt x="52984" y="44823"/>
                      <a:pt x="55643" y="42853"/>
                    </a:cubicBezTo>
                    <a:lnTo>
                      <a:pt x="61458" y="38540"/>
                    </a:lnTo>
                    <a:lnTo>
                      <a:pt x="54885" y="38540"/>
                    </a:lnTo>
                    <a:cubicBezTo>
                      <a:pt x="51675" y="38540"/>
                      <a:pt x="48795" y="36542"/>
                      <a:pt x="47665" y="33538"/>
                    </a:cubicBezTo>
                    <a:lnTo>
                      <a:pt x="46232" y="29694"/>
                    </a:lnTo>
                    <a:lnTo>
                      <a:pt x="44799" y="33538"/>
                    </a:lnTo>
                    <a:cubicBezTo>
                      <a:pt x="43669" y="36542"/>
                      <a:pt x="40789" y="38540"/>
                      <a:pt x="37579" y="38540"/>
                    </a:cubicBezTo>
                    <a:lnTo>
                      <a:pt x="31116" y="38540"/>
                    </a:lnTo>
                    <a:close/>
                  </a:path>
                </a:pathLst>
              </a:custGeom>
              <a:solidFill>
                <a:schemeClr val="accent1"/>
              </a:solidFill>
              <a:ln w="1375" cap="flat">
                <a:noFill/>
                <a:prstDash val="solid"/>
                <a:miter/>
              </a:ln>
            </p:spPr>
            <p:txBody>
              <a:bodyPr rtlCol="0" anchor="ctr"/>
              <a:lstStyle/>
              <a:p>
                <a:endParaRPr lang="en-GB" dirty="0"/>
              </a:p>
            </p:txBody>
          </p:sp>
          <p:sp>
            <p:nvSpPr>
              <p:cNvPr id="625" name="Freihandform: Form 624">
                <a:extLst>
                  <a:ext uri="{FF2B5EF4-FFF2-40B4-BE49-F238E27FC236}">
                    <a16:creationId xmlns:a16="http://schemas.microsoft.com/office/drawing/2014/main" id="{38C66FBD-F51B-4DB2-88B1-F3CA533D0CBF}"/>
                  </a:ext>
                </a:extLst>
              </p:cNvPr>
              <p:cNvSpPr/>
              <p:nvPr/>
            </p:nvSpPr>
            <p:spPr>
              <a:xfrm>
                <a:off x="1635808" y="4227729"/>
                <a:ext cx="92466" cy="84775"/>
              </a:xfrm>
              <a:custGeom>
                <a:avLst/>
                <a:gdLst>
                  <a:gd name="connsiteX0" fmla="*/ 23111 w 92466"/>
                  <a:gd name="connsiteY0" fmla="*/ 84769 h 84775"/>
                  <a:gd name="connsiteX1" fmla="*/ 18564 w 92466"/>
                  <a:gd name="connsiteY1" fmla="*/ 83280 h 84775"/>
                  <a:gd name="connsiteX2" fmla="*/ 15780 w 92466"/>
                  <a:gd name="connsiteY2" fmla="*/ 74682 h 84775"/>
                  <a:gd name="connsiteX3" fmla="*/ 23194 w 92466"/>
                  <a:gd name="connsiteY3" fmla="*/ 51837 h 84775"/>
                  <a:gd name="connsiteX4" fmla="*/ 3131 w 92466"/>
                  <a:gd name="connsiteY4" fmla="*/ 37024 h 84775"/>
                  <a:gd name="connsiteX5" fmla="*/ 389 w 92466"/>
                  <a:gd name="connsiteY5" fmla="*/ 28412 h 84775"/>
                  <a:gd name="connsiteX6" fmla="*/ 7706 w 92466"/>
                  <a:gd name="connsiteY6" fmla="*/ 23121 h 84775"/>
                  <a:gd name="connsiteX7" fmla="*/ 32233 w 92466"/>
                  <a:gd name="connsiteY7" fmla="*/ 23121 h 84775"/>
                  <a:gd name="connsiteX8" fmla="*/ 39012 w 92466"/>
                  <a:gd name="connsiteY8" fmla="*/ 5002 h 84775"/>
                  <a:gd name="connsiteX9" fmla="*/ 46232 w 92466"/>
                  <a:gd name="connsiteY9" fmla="*/ 0 h 84775"/>
                  <a:gd name="connsiteX10" fmla="*/ 53452 w 92466"/>
                  <a:gd name="connsiteY10" fmla="*/ 5002 h 84775"/>
                  <a:gd name="connsiteX11" fmla="*/ 60232 w 92466"/>
                  <a:gd name="connsiteY11" fmla="*/ 23121 h 84775"/>
                  <a:gd name="connsiteX12" fmla="*/ 84758 w 92466"/>
                  <a:gd name="connsiteY12" fmla="*/ 23121 h 84775"/>
                  <a:gd name="connsiteX13" fmla="*/ 92075 w 92466"/>
                  <a:gd name="connsiteY13" fmla="*/ 28412 h 84775"/>
                  <a:gd name="connsiteX14" fmla="*/ 89360 w 92466"/>
                  <a:gd name="connsiteY14" fmla="*/ 37010 h 84775"/>
                  <a:gd name="connsiteX15" fmla="*/ 69271 w 92466"/>
                  <a:gd name="connsiteY15" fmla="*/ 51919 h 84775"/>
                  <a:gd name="connsiteX16" fmla="*/ 76670 w 92466"/>
                  <a:gd name="connsiteY16" fmla="*/ 74682 h 84775"/>
                  <a:gd name="connsiteX17" fmla="*/ 73900 w 92466"/>
                  <a:gd name="connsiteY17" fmla="*/ 83280 h 84775"/>
                  <a:gd name="connsiteX18" fmla="*/ 64861 w 92466"/>
                  <a:gd name="connsiteY18" fmla="*/ 83335 h 84775"/>
                  <a:gd name="connsiteX19" fmla="*/ 46232 w 92466"/>
                  <a:gd name="connsiteY19" fmla="*/ 69997 h 84775"/>
                  <a:gd name="connsiteX20" fmla="*/ 27603 w 92466"/>
                  <a:gd name="connsiteY20" fmla="*/ 83335 h 84775"/>
                  <a:gd name="connsiteX21" fmla="*/ 23111 w 92466"/>
                  <a:gd name="connsiteY21" fmla="*/ 84769 h 84775"/>
                  <a:gd name="connsiteX22" fmla="*/ 31116 w 92466"/>
                  <a:gd name="connsiteY22" fmla="*/ 38526 h 84775"/>
                  <a:gd name="connsiteX23" fmla="*/ 36807 w 92466"/>
                  <a:gd name="connsiteY23" fmla="*/ 42729 h 84775"/>
                  <a:gd name="connsiteX24" fmla="*/ 39563 w 92466"/>
                  <a:gd name="connsiteY24" fmla="*/ 51313 h 84775"/>
                  <a:gd name="connsiteX25" fmla="*/ 37661 w 92466"/>
                  <a:gd name="connsiteY25" fmla="*/ 57183 h 84775"/>
                  <a:gd name="connsiteX26" fmla="*/ 41754 w 92466"/>
                  <a:gd name="connsiteY26" fmla="*/ 54262 h 84775"/>
                  <a:gd name="connsiteX27" fmla="*/ 50724 w 92466"/>
                  <a:gd name="connsiteY27" fmla="*/ 54262 h 84775"/>
                  <a:gd name="connsiteX28" fmla="*/ 54775 w 92466"/>
                  <a:gd name="connsiteY28" fmla="*/ 57155 h 84775"/>
                  <a:gd name="connsiteX29" fmla="*/ 52915 w 92466"/>
                  <a:gd name="connsiteY29" fmla="*/ 51423 h 84775"/>
                  <a:gd name="connsiteX30" fmla="*/ 55643 w 92466"/>
                  <a:gd name="connsiteY30" fmla="*/ 42853 h 84775"/>
                  <a:gd name="connsiteX31" fmla="*/ 61458 w 92466"/>
                  <a:gd name="connsiteY31" fmla="*/ 38540 h 84775"/>
                  <a:gd name="connsiteX32" fmla="*/ 54885 w 92466"/>
                  <a:gd name="connsiteY32" fmla="*/ 38540 h 84775"/>
                  <a:gd name="connsiteX33" fmla="*/ 47665 w 92466"/>
                  <a:gd name="connsiteY33" fmla="*/ 33538 h 84775"/>
                  <a:gd name="connsiteX34" fmla="*/ 46232 w 92466"/>
                  <a:gd name="connsiteY34" fmla="*/ 29694 h 84775"/>
                  <a:gd name="connsiteX35" fmla="*/ 44799 w 92466"/>
                  <a:gd name="connsiteY35" fmla="*/ 33538 h 84775"/>
                  <a:gd name="connsiteX36" fmla="*/ 37579 w 92466"/>
                  <a:gd name="connsiteY36" fmla="*/ 38540 h 84775"/>
                  <a:gd name="connsiteX37" fmla="*/ 31116 w 92466"/>
                  <a:gd name="connsiteY37" fmla="*/ 38540 h 8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92466" h="84775">
                    <a:moveTo>
                      <a:pt x="23111" y="84769"/>
                    </a:moveTo>
                    <a:cubicBezTo>
                      <a:pt x="21513" y="84769"/>
                      <a:pt x="19914" y="84273"/>
                      <a:pt x="18564" y="83280"/>
                    </a:cubicBezTo>
                    <a:cubicBezTo>
                      <a:pt x="15877" y="81324"/>
                      <a:pt x="14761" y="77851"/>
                      <a:pt x="15780" y="74682"/>
                    </a:cubicBezTo>
                    <a:lnTo>
                      <a:pt x="23194" y="51837"/>
                    </a:lnTo>
                    <a:lnTo>
                      <a:pt x="3131" y="37024"/>
                    </a:lnTo>
                    <a:cubicBezTo>
                      <a:pt x="458" y="35040"/>
                      <a:pt x="-658" y="31582"/>
                      <a:pt x="389" y="28412"/>
                    </a:cubicBezTo>
                    <a:cubicBezTo>
                      <a:pt x="1423" y="25257"/>
                      <a:pt x="4385" y="23121"/>
                      <a:pt x="7706" y="23121"/>
                    </a:cubicBezTo>
                    <a:lnTo>
                      <a:pt x="32233" y="23121"/>
                    </a:lnTo>
                    <a:lnTo>
                      <a:pt x="39012" y="5002"/>
                    </a:lnTo>
                    <a:cubicBezTo>
                      <a:pt x="40142" y="1998"/>
                      <a:pt x="43022" y="0"/>
                      <a:pt x="46232" y="0"/>
                    </a:cubicBezTo>
                    <a:cubicBezTo>
                      <a:pt x="49443" y="0"/>
                      <a:pt x="52322" y="1998"/>
                      <a:pt x="53452" y="5002"/>
                    </a:cubicBezTo>
                    <a:lnTo>
                      <a:pt x="60232" y="23121"/>
                    </a:lnTo>
                    <a:lnTo>
                      <a:pt x="84758" y="23121"/>
                    </a:lnTo>
                    <a:cubicBezTo>
                      <a:pt x="88079" y="23121"/>
                      <a:pt x="91028" y="25257"/>
                      <a:pt x="92075" y="28412"/>
                    </a:cubicBezTo>
                    <a:cubicBezTo>
                      <a:pt x="93122" y="31568"/>
                      <a:pt x="92020" y="35040"/>
                      <a:pt x="89360" y="37010"/>
                    </a:cubicBezTo>
                    <a:lnTo>
                      <a:pt x="69271" y="51919"/>
                    </a:lnTo>
                    <a:lnTo>
                      <a:pt x="76670" y="74682"/>
                    </a:lnTo>
                    <a:cubicBezTo>
                      <a:pt x="77703" y="77851"/>
                      <a:pt x="76587" y="81324"/>
                      <a:pt x="73900" y="83280"/>
                    </a:cubicBezTo>
                    <a:cubicBezTo>
                      <a:pt x="71227" y="85265"/>
                      <a:pt x="67576" y="85265"/>
                      <a:pt x="64861" y="83335"/>
                    </a:cubicBezTo>
                    <a:lnTo>
                      <a:pt x="46232" y="69997"/>
                    </a:lnTo>
                    <a:lnTo>
                      <a:pt x="27603" y="83335"/>
                    </a:lnTo>
                    <a:cubicBezTo>
                      <a:pt x="26253" y="84286"/>
                      <a:pt x="24682" y="84769"/>
                      <a:pt x="23111" y="84769"/>
                    </a:cubicBezTo>
                    <a:close/>
                    <a:moveTo>
                      <a:pt x="31116" y="38526"/>
                    </a:moveTo>
                    <a:lnTo>
                      <a:pt x="36807" y="42729"/>
                    </a:lnTo>
                    <a:cubicBezTo>
                      <a:pt x="39480" y="44699"/>
                      <a:pt x="40583" y="48158"/>
                      <a:pt x="39563" y="51313"/>
                    </a:cubicBezTo>
                    <a:lnTo>
                      <a:pt x="37661" y="57183"/>
                    </a:lnTo>
                    <a:lnTo>
                      <a:pt x="41754" y="54262"/>
                    </a:lnTo>
                    <a:cubicBezTo>
                      <a:pt x="44441" y="52346"/>
                      <a:pt x="48037" y="52346"/>
                      <a:pt x="50724" y="54262"/>
                    </a:cubicBezTo>
                    <a:lnTo>
                      <a:pt x="54775" y="57155"/>
                    </a:lnTo>
                    <a:lnTo>
                      <a:pt x="52915" y="51423"/>
                    </a:lnTo>
                    <a:cubicBezTo>
                      <a:pt x="51881" y="48282"/>
                      <a:pt x="52984" y="44823"/>
                      <a:pt x="55643" y="42853"/>
                    </a:cubicBezTo>
                    <a:lnTo>
                      <a:pt x="61458" y="38540"/>
                    </a:lnTo>
                    <a:lnTo>
                      <a:pt x="54885" y="38540"/>
                    </a:lnTo>
                    <a:cubicBezTo>
                      <a:pt x="51675" y="38540"/>
                      <a:pt x="48795" y="36542"/>
                      <a:pt x="47665" y="33538"/>
                    </a:cubicBezTo>
                    <a:lnTo>
                      <a:pt x="46232" y="29694"/>
                    </a:lnTo>
                    <a:lnTo>
                      <a:pt x="44799" y="33538"/>
                    </a:lnTo>
                    <a:cubicBezTo>
                      <a:pt x="43669" y="36542"/>
                      <a:pt x="40789" y="38540"/>
                      <a:pt x="37579" y="38540"/>
                    </a:cubicBezTo>
                    <a:lnTo>
                      <a:pt x="31116" y="38540"/>
                    </a:lnTo>
                    <a:close/>
                  </a:path>
                </a:pathLst>
              </a:custGeom>
              <a:solidFill>
                <a:schemeClr val="accent1"/>
              </a:solidFill>
              <a:ln w="1375" cap="flat">
                <a:noFill/>
                <a:prstDash val="solid"/>
                <a:miter/>
              </a:ln>
            </p:spPr>
            <p:txBody>
              <a:bodyPr rtlCol="0" anchor="ctr"/>
              <a:lstStyle/>
              <a:p>
                <a:endParaRPr lang="en-GB" dirty="0"/>
              </a:p>
            </p:txBody>
          </p:sp>
        </p:grpSp>
        <p:grpSp>
          <p:nvGrpSpPr>
            <p:cNvPr id="690" name="Gruppieren 689">
              <a:extLst>
                <a:ext uri="{FF2B5EF4-FFF2-40B4-BE49-F238E27FC236}">
                  <a16:creationId xmlns:a16="http://schemas.microsoft.com/office/drawing/2014/main" id="{7805AB6A-5828-4542-AA97-0E44684DBF56}"/>
                </a:ext>
              </a:extLst>
            </p:cNvPr>
            <p:cNvGrpSpPr/>
            <p:nvPr/>
          </p:nvGrpSpPr>
          <p:grpSpPr>
            <a:xfrm>
              <a:off x="1319859" y="4312484"/>
              <a:ext cx="493178" cy="246603"/>
              <a:chOff x="1319859" y="4312484"/>
              <a:chExt cx="493178" cy="246603"/>
            </a:xfrm>
          </p:grpSpPr>
          <p:sp>
            <p:nvSpPr>
              <p:cNvPr id="611" name="Freihandform: Form 610">
                <a:extLst>
                  <a:ext uri="{FF2B5EF4-FFF2-40B4-BE49-F238E27FC236}">
                    <a16:creationId xmlns:a16="http://schemas.microsoft.com/office/drawing/2014/main" id="{2D03BD90-B0B6-4191-880E-A7758862A33A}"/>
                  </a:ext>
                </a:extLst>
              </p:cNvPr>
              <p:cNvSpPr/>
              <p:nvPr/>
            </p:nvSpPr>
            <p:spPr>
              <a:xfrm>
                <a:off x="1443140" y="4312498"/>
                <a:ext cx="123294" cy="183646"/>
              </a:xfrm>
              <a:custGeom>
                <a:avLst/>
                <a:gdLst>
                  <a:gd name="connsiteX0" fmla="*/ 15749 w 123294"/>
                  <a:gd name="connsiteY0" fmla="*/ 183647 h 183646"/>
                  <a:gd name="connsiteX1" fmla="*/ 0 w 123294"/>
                  <a:gd name="connsiteY1" fmla="*/ 123295 h 183646"/>
                  <a:gd name="connsiteX2" fmla="*/ 123295 w 123294"/>
                  <a:gd name="connsiteY2" fmla="*/ 0 h 183646"/>
                  <a:gd name="connsiteX3" fmla="*/ 123295 w 123294"/>
                  <a:gd name="connsiteY3" fmla="*/ 15419 h 183646"/>
                  <a:gd name="connsiteX4" fmla="*/ 15405 w 123294"/>
                  <a:gd name="connsiteY4" fmla="*/ 123308 h 183646"/>
                  <a:gd name="connsiteX5" fmla="*/ 29170 w 123294"/>
                  <a:gd name="connsiteY5" fmla="*/ 176109 h 183646"/>
                  <a:gd name="connsiteX6" fmla="*/ 15749 w 123294"/>
                  <a:gd name="connsiteY6" fmla="*/ 183647 h 183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294" h="183646">
                    <a:moveTo>
                      <a:pt x="15749" y="183647"/>
                    </a:moveTo>
                    <a:cubicBezTo>
                      <a:pt x="5443" y="165320"/>
                      <a:pt x="0" y="144445"/>
                      <a:pt x="0" y="123295"/>
                    </a:cubicBezTo>
                    <a:cubicBezTo>
                      <a:pt x="0" y="55309"/>
                      <a:pt x="55309" y="0"/>
                      <a:pt x="123295" y="0"/>
                    </a:cubicBezTo>
                    <a:lnTo>
                      <a:pt x="123295" y="15419"/>
                    </a:lnTo>
                    <a:cubicBezTo>
                      <a:pt x="63811" y="15419"/>
                      <a:pt x="15405" y="63811"/>
                      <a:pt x="15405" y="123308"/>
                    </a:cubicBezTo>
                    <a:cubicBezTo>
                      <a:pt x="15405" y="141827"/>
                      <a:pt x="20159" y="160085"/>
                      <a:pt x="29170" y="176109"/>
                    </a:cubicBezTo>
                    <a:lnTo>
                      <a:pt x="15749" y="183647"/>
                    </a:lnTo>
                    <a:close/>
                  </a:path>
                </a:pathLst>
              </a:custGeom>
              <a:solidFill>
                <a:schemeClr val="tx2"/>
              </a:solidFill>
              <a:ln w="1375" cap="flat">
                <a:noFill/>
                <a:prstDash val="solid"/>
                <a:miter/>
              </a:ln>
            </p:spPr>
            <p:txBody>
              <a:bodyPr rtlCol="0" anchor="ctr"/>
              <a:lstStyle/>
              <a:p>
                <a:endParaRPr lang="en-GB" dirty="0"/>
              </a:p>
            </p:txBody>
          </p:sp>
          <p:sp>
            <p:nvSpPr>
              <p:cNvPr id="612" name="Freihandform: Form 611">
                <a:extLst>
                  <a:ext uri="{FF2B5EF4-FFF2-40B4-BE49-F238E27FC236}">
                    <a16:creationId xmlns:a16="http://schemas.microsoft.com/office/drawing/2014/main" id="{FE34ED80-5951-4E84-B595-2CAA9C85DD64}"/>
                  </a:ext>
                </a:extLst>
              </p:cNvPr>
              <p:cNvSpPr/>
              <p:nvPr/>
            </p:nvSpPr>
            <p:spPr>
              <a:xfrm>
                <a:off x="1566448" y="4372312"/>
                <a:ext cx="123308" cy="186774"/>
              </a:xfrm>
              <a:custGeom>
                <a:avLst/>
                <a:gdLst>
                  <a:gd name="connsiteX0" fmla="*/ 0 w 123308"/>
                  <a:gd name="connsiteY0" fmla="*/ 186775 h 186774"/>
                  <a:gd name="connsiteX1" fmla="*/ 0 w 123308"/>
                  <a:gd name="connsiteY1" fmla="*/ 171356 h 186774"/>
                  <a:gd name="connsiteX2" fmla="*/ 107890 w 123308"/>
                  <a:gd name="connsiteY2" fmla="*/ 63466 h 186774"/>
                  <a:gd name="connsiteX3" fmla="*/ 92526 w 123308"/>
                  <a:gd name="connsiteY3" fmla="*/ 7950 h 186774"/>
                  <a:gd name="connsiteX4" fmla="*/ 105740 w 123308"/>
                  <a:gd name="connsiteY4" fmla="*/ 0 h 186774"/>
                  <a:gd name="connsiteX5" fmla="*/ 123308 w 123308"/>
                  <a:gd name="connsiteY5" fmla="*/ 63466 h 186774"/>
                  <a:gd name="connsiteX6" fmla="*/ 0 w 123308"/>
                  <a:gd name="connsiteY6" fmla="*/ 186775 h 186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3308" h="186774">
                    <a:moveTo>
                      <a:pt x="0" y="186775"/>
                    </a:moveTo>
                    <a:lnTo>
                      <a:pt x="0" y="171356"/>
                    </a:lnTo>
                    <a:cubicBezTo>
                      <a:pt x="59484" y="171356"/>
                      <a:pt x="107890" y="122964"/>
                      <a:pt x="107890" y="63466"/>
                    </a:cubicBezTo>
                    <a:cubicBezTo>
                      <a:pt x="107890" y="43859"/>
                      <a:pt x="102571" y="24664"/>
                      <a:pt x="92526" y="7950"/>
                    </a:cubicBezTo>
                    <a:lnTo>
                      <a:pt x="105740" y="0"/>
                    </a:lnTo>
                    <a:cubicBezTo>
                      <a:pt x="117232" y="19111"/>
                      <a:pt x="123308" y="41048"/>
                      <a:pt x="123308" y="63466"/>
                    </a:cubicBezTo>
                    <a:cubicBezTo>
                      <a:pt x="123295" y="131465"/>
                      <a:pt x="67986" y="186775"/>
                      <a:pt x="0" y="186775"/>
                    </a:cubicBezTo>
                    <a:close/>
                  </a:path>
                </a:pathLst>
              </a:custGeom>
              <a:solidFill>
                <a:schemeClr val="tx2"/>
              </a:solidFill>
              <a:ln w="1375" cap="flat">
                <a:noFill/>
                <a:prstDash val="solid"/>
                <a:miter/>
              </a:ln>
            </p:spPr>
            <p:txBody>
              <a:bodyPr rtlCol="0" anchor="ctr"/>
              <a:lstStyle/>
              <a:p>
                <a:endParaRPr lang="en-GB" dirty="0"/>
              </a:p>
            </p:txBody>
          </p:sp>
          <p:sp>
            <p:nvSpPr>
              <p:cNvPr id="613" name="Freihandform: Form 612">
                <a:extLst>
                  <a:ext uri="{FF2B5EF4-FFF2-40B4-BE49-F238E27FC236}">
                    <a16:creationId xmlns:a16="http://schemas.microsoft.com/office/drawing/2014/main" id="{590BE46B-57CB-4A7F-B0E0-A50E82502D4A}"/>
                  </a:ext>
                </a:extLst>
              </p:cNvPr>
              <p:cNvSpPr/>
              <p:nvPr/>
            </p:nvSpPr>
            <p:spPr>
              <a:xfrm>
                <a:off x="1319859" y="4482021"/>
                <a:ext cx="493178" cy="77066"/>
              </a:xfrm>
              <a:custGeom>
                <a:avLst/>
                <a:gdLst>
                  <a:gd name="connsiteX0" fmla="*/ 246589 w 493178"/>
                  <a:gd name="connsiteY0" fmla="*/ 77066 h 77066"/>
                  <a:gd name="connsiteX1" fmla="*/ 143123 w 493178"/>
                  <a:gd name="connsiteY1" fmla="*/ 49963 h 77066"/>
                  <a:gd name="connsiteX2" fmla="*/ 0 w 493178"/>
                  <a:gd name="connsiteY2" fmla="*/ 15419 h 77066"/>
                  <a:gd name="connsiteX3" fmla="*/ 0 w 493178"/>
                  <a:gd name="connsiteY3" fmla="*/ 0 h 77066"/>
                  <a:gd name="connsiteX4" fmla="*/ 148648 w 493178"/>
                  <a:gd name="connsiteY4" fmla="*/ 35564 h 77066"/>
                  <a:gd name="connsiteX5" fmla="*/ 246589 w 493178"/>
                  <a:gd name="connsiteY5" fmla="*/ 61647 h 77066"/>
                  <a:gd name="connsiteX6" fmla="*/ 344530 w 493178"/>
                  <a:gd name="connsiteY6" fmla="*/ 35564 h 77066"/>
                  <a:gd name="connsiteX7" fmla="*/ 493178 w 493178"/>
                  <a:gd name="connsiteY7" fmla="*/ 0 h 77066"/>
                  <a:gd name="connsiteX8" fmla="*/ 493178 w 493178"/>
                  <a:gd name="connsiteY8" fmla="*/ 15419 h 77066"/>
                  <a:gd name="connsiteX9" fmla="*/ 350056 w 493178"/>
                  <a:gd name="connsiteY9" fmla="*/ 49963 h 77066"/>
                  <a:gd name="connsiteX10" fmla="*/ 246589 w 493178"/>
                  <a:gd name="connsiteY10" fmla="*/ 77066 h 77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178" h="77066">
                    <a:moveTo>
                      <a:pt x="246589" y="77066"/>
                    </a:moveTo>
                    <a:cubicBezTo>
                      <a:pt x="213657" y="77066"/>
                      <a:pt x="179389" y="63893"/>
                      <a:pt x="143123" y="49963"/>
                    </a:cubicBezTo>
                    <a:cubicBezTo>
                      <a:pt x="101000" y="33772"/>
                      <a:pt x="53256" y="15419"/>
                      <a:pt x="0" y="15419"/>
                    </a:cubicBezTo>
                    <a:lnTo>
                      <a:pt x="0" y="0"/>
                    </a:lnTo>
                    <a:cubicBezTo>
                      <a:pt x="56108" y="0"/>
                      <a:pt x="105272" y="18891"/>
                      <a:pt x="148648" y="35564"/>
                    </a:cubicBezTo>
                    <a:cubicBezTo>
                      <a:pt x="183550" y="48971"/>
                      <a:pt x="216523" y="61647"/>
                      <a:pt x="246589" y="61647"/>
                    </a:cubicBezTo>
                    <a:cubicBezTo>
                      <a:pt x="276655" y="61647"/>
                      <a:pt x="309628" y="48971"/>
                      <a:pt x="344530" y="35564"/>
                    </a:cubicBezTo>
                    <a:cubicBezTo>
                      <a:pt x="387907" y="18891"/>
                      <a:pt x="437070" y="0"/>
                      <a:pt x="493178" y="0"/>
                    </a:cubicBezTo>
                    <a:lnTo>
                      <a:pt x="493178" y="15419"/>
                    </a:lnTo>
                    <a:cubicBezTo>
                      <a:pt x="439923" y="15419"/>
                      <a:pt x="392178" y="33772"/>
                      <a:pt x="350056" y="49963"/>
                    </a:cubicBezTo>
                    <a:cubicBezTo>
                      <a:pt x="313776" y="63893"/>
                      <a:pt x="279507" y="77066"/>
                      <a:pt x="246589" y="77066"/>
                    </a:cubicBezTo>
                    <a:close/>
                  </a:path>
                </a:pathLst>
              </a:custGeom>
              <a:solidFill>
                <a:schemeClr val="tx2"/>
              </a:solidFill>
              <a:ln w="1375" cap="flat">
                <a:noFill/>
                <a:prstDash val="solid"/>
                <a:miter/>
              </a:ln>
            </p:spPr>
            <p:txBody>
              <a:bodyPr rtlCol="0" anchor="ctr"/>
              <a:lstStyle/>
              <a:p>
                <a:endParaRPr lang="en-GB" dirty="0"/>
              </a:p>
            </p:txBody>
          </p:sp>
          <p:sp>
            <p:nvSpPr>
              <p:cNvPr id="614" name="Freihandform: Form 613">
                <a:extLst>
                  <a:ext uri="{FF2B5EF4-FFF2-40B4-BE49-F238E27FC236}">
                    <a16:creationId xmlns:a16="http://schemas.microsoft.com/office/drawing/2014/main" id="{619B662F-72F2-4E09-ABA9-51D59172A7C4}"/>
                  </a:ext>
                </a:extLst>
              </p:cNvPr>
              <p:cNvSpPr/>
              <p:nvPr/>
            </p:nvSpPr>
            <p:spPr>
              <a:xfrm>
                <a:off x="1319859" y="4312484"/>
                <a:ext cx="493178" cy="77065"/>
              </a:xfrm>
              <a:custGeom>
                <a:avLst/>
                <a:gdLst>
                  <a:gd name="connsiteX0" fmla="*/ 493178 w 493178"/>
                  <a:gd name="connsiteY0" fmla="*/ 77066 h 77065"/>
                  <a:gd name="connsiteX1" fmla="*/ 344530 w 493178"/>
                  <a:gd name="connsiteY1" fmla="*/ 41502 h 77065"/>
                  <a:gd name="connsiteX2" fmla="*/ 246589 w 493178"/>
                  <a:gd name="connsiteY2" fmla="*/ 15419 h 77065"/>
                  <a:gd name="connsiteX3" fmla="*/ 148648 w 493178"/>
                  <a:gd name="connsiteY3" fmla="*/ 41502 h 77065"/>
                  <a:gd name="connsiteX4" fmla="*/ 0 w 493178"/>
                  <a:gd name="connsiteY4" fmla="*/ 77066 h 77065"/>
                  <a:gd name="connsiteX5" fmla="*/ 0 w 493178"/>
                  <a:gd name="connsiteY5" fmla="*/ 61647 h 77065"/>
                  <a:gd name="connsiteX6" fmla="*/ 143123 w 493178"/>
                  <a:gd name="connsiteY6" fmla="*/ 27103 h 77065"/>
                  <a:gd name="connsiteX7" fmla="*/ 246589 w 493178"/>
                  <a:gd name="connsiteY7" fmla="*/ 0 h 77065"/>
                  <a:gd name="connsiteX8" fmla="*/ 350056 w 493178"/>
                  <a:gd name="connsiteY8" fmla="*/ 27103 h 77065"/>
                  <a:gd name="connsiteX9" fmla="*/ 493178 w 493178"/>
                  <a:gd name="connsiteY9" fmla="*/ 61647 h 77065"/>
                  <a:gd name="connsiteX10" fmla="*/ 493178 w 493178"/>
                  <a:gd name="connsiteY10" fmla="*/ 77066 h 77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3178" h="77065">
                    <a:moveTo>
                      <a:pt x="493178" y="77066"/>
                    </a:moveTo>
                    <a:cubicBezTo>
                      <a:pt x="437070" y="77066"/>
                      <a:pt x="387907" y="58175"/>
                      <a:pt x="344530" y="41502"/>
                    </a:cubicBezTo>
                    <a:cubicBezTo>
                      <a:pt x="309628" y="28095"/>
                      <a:pt x="276655" y="15419"/>
                      <a:pt x="246589" y="15419"/>
                    </a:cubicBezTo>
                    <a:cubicBezTo>
                      <a:pt x="216523" y="15419"/>
                      <a:pt x="183550" y="28095"/>
                      <a:pt x="148648" y="41502"/>
                    </a:cubicBezTo>
                    <a:cubicBezTo>
                      <a:pt x="105272" y="58175"/>
                      <a:pt x="56108" y="77066"/>
                      <a:pt x="0" y="77066"/>
                    </a:cubicBezTo>
                    <a:lnTo>
                      <a:pt x="0" y="61647"/>
                    </a:lnTo>
                    <a:cubicBezTo>
                      <a:pt x="53256" y="61647"/>
                      <a:pt x="101000" y="43294"/>
                      <a:pt x="143123" y="27103"/>
                    </a:cubicBezTo>
                    <a:cubicBezTo>
                      <a:pt x="179403" y="13173"/>
                      <a:pt x="213671" y="0"/>
                      <a:pt x="246589" y="0"/>
                    </a:cubicBezTo>
                    <a:cubicBezTo>
                      <a:pt x="279521" y="0"/>
                      <a:pt x="313789" y="13173"/>
                      <a:pt x="350056" y="27103"/>
                    </a:cubicBezTo>
                    <a:cubicBezTo>
                      <a:pt x="392178" y="43294"/>
                      <a:pt x="439923" y="61647"/>
                      <a:pt x="493178" y="61647"/>
                    </a:cubicBezTo>
                    <a:lnTo>
                      <a:pt x="493178" y="77066"/>
                    </a:lnTo>
                    <a:close/>
                  </a:path>
                </a:pathLst>
              </a:custGeom>
              <a:solidFill>
                <a:schemeClr val="tx2"/>
              </a:solidFill>
              <a:ln w="1375" cap="flat">
                <a:noFill/>
                <a:prstDash val="solid"/>
                <a:miter/>
              </a:ln>
            </p:spPr>
            <p:txBody>
              <a:bodyPr rtlCol="0" anchor="ctr"/>
              <a:lstStyle/>
              <a:p>
                <a:endParaRPr lang="en-GB" dirty="0"/>
              </a:p>
            </p:txBody>
          </p:sp>
          <p:sp>
            <p:nvSpPr>
              <p:cNvPr id="615" name="Freihandform: Form 614">
                <a:extLst>
                  <a:ext uri="{FF2B5EF4-FFF2-40B4-BE49-F238E27FC236}">
                    <a16:creationId xmlns:a16="http://schemas.microsoft.com/office/drawing/2014/main" id="{6B606F85-5541-47A4-A22E-C39EDF050D8B}"/>
                  </a:ext>
                </a:extLst>
              </p:cNvPr>
              <p:cNvSpPr/>
              <p:nvPr/>
            </p:nvSpPr>
            <p:spPr>
              <a:xfrm>
                <a:off x="1412330" y="4428090"/>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16" name="Freihandform: Form 615">
                <a:extLst>
                  <a:ext uri="{FF2B5EF4-FFF2-40B4-BE49-F238E27FC236}">
                    <a16:creationId xmlns:a16="http://schemas.microsoft.com/office/drawing/2014/main" id="{9C8AEE31-D31B-40F2-8C09-6704B18AE955}"/>
                  </a:ext>
                </a:extLst>
              </p:cNvPr>
              <p:cNvSpPr/>
              <p:nvPr/>
            </p:nvSpPr>
            <p:spPr>
              <a:xfrm>
                <a:off x="1381492" y="4428090"/>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17" name="Freihandform: Form 616">
                <a:extLst>
                  <a:ext uri="{FF2B5EF4-FFF2-40B4-BE49-F238E27FC236}">
                    <a16:creationId xmlns:a16="http://schemas.microsoft.com/office/drawing/2014/main" id="{E20EEFC2-C9BF-4573-A00D-0AB1C50213D2}"/>
                  </a:ext>
                </a:extLst>
              </p:cNvPr>
              <p:cNvSpPr/>
              <p:nvPr/>
            </p:nvSpPr>
            <p:spPr>
              <a:xfrm>
                <a:off x="1350669" y="4428090"/>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18" name="Freihandform: Form 617">
                <a:extLst>
                  <a:ext uri="{FF2B5EF4-FFF2-40B4-BE49-F238E27FC236}">
                    <a16:creationId xmlns:a16="http://schemas.microsoft.com/office/drawing/2014/main" id="{7AE65BC0-5568-43BC-8658-6C8254633656}"/>
                  </a:ext>
                </a:extLst>
              </p:cNvPr>
              <p:cNvSpPr/>
              <p:nvPr/>
            </p:nvSpPr>
            <p:spPr>
              <a:xfrm>
                <a:off x="1766795" y="4428090"/>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19" name="Freihandform: Form 618">
                <a:extLst>
                  <a:ext uri="{FF2B5EF4-FFF2-40B4-BE49-F238E27FC236}">
                    <a16:creationId xmlns:a16="http://schemas.microsoft.com/office/drawing/2014/main" id="{E0945EAA-F500-4510-BB66-3461D3FD8C08}"/>
                  </a:ext>
                </a:extLst>
              </p:cNvPr>
              <p:cNvSpPr/>
              <p:nvPr/>
            </p:nvSpPr>
            <p:spPr>
              <a:xfrm>
                <a:off x="1735971" y="4428090"/>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20" name="Freihandform: Form 619">
                <a:extLst>
                  <a:ext uri="{FF2B5EF4-FFF2-40B4-BE49-F238E27FC236}">
                    <a16:creationId xmlns:a16="http://schemas.microsoft.com/office/drawing/2014/main" id="{E18A6A8C-AC81-4FF8-9A60-B7B0D1C6693B}"/>
                  </a:ext>
                </a:extLst>
              </p:cNvPr>
              <p:cNvSpPr/>
              <p:nvPr/>
            </p:nvSpPr>
            <p:spPr>
              <a:xfrm>
                <a:off x="1705148" y="4428090"/>
                <a:ext cx="15418" cy="15418"/>
              </a:xfrm>
              <a:custGeom>
                <a:avLst/>
                <a:gdLst>
                  <a:gd name="connsiteX0" fmla="*/ 0 w 15418"/>
                  <a:gd name="connsiteY0" fmla="*/ 0 h 15418"/>
                  <a:gd name="connsiteX1" fmla="*/ 15419 w 15418"/>
                  <a:gd name="connsiteY1" fmla="*/ 0 h 15418"/>
                  <a:gd name="connsiteX2" fmla="*/ 15419 w 15418"/>
                  <a:gd name="connsiteY2" fmla="*/ 15419 h 15418"/>
                  <a:gd name="connsiteX3" fmla="*/ 0 w 15418"/>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5418" h="15418">
                    <a:moveTo>
                      <a:pt x="0" y="0"/>
                    </a:moveTo>
                    <a:lnTo>
                      <a:pt x="15419" y="0"/>
                    </a:lnTo>
                    <a:lnTo>
                      <a:pt x="15419"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21" name="Freihandform: Form 620">
                <a:extLst>
                  <a:ext uri="{FF2B5EF4-FFF2-40B4-BE49-F238E27FC236}">
                    <a16:creationId xmlns:a16="http://schemas.microsoft.com/office/drawing/2014/main" id="{E452B469-9374-4700-BB8B-1CF843D5A840}"/>
                  </a:ext>
                </a:extLst>
              </p:cNvPr>
              <p:cNvSpPr/>
              <p:nvPr/>
            </p:nvSpPr>
            <p:spPr>
              <a:xfrm>
                <a:off x="1473977" y="4343321"/>
                <a:ext cx="184941" cy="184941"/>
              </a:xfrm>
              <a:custGeom>
                <a:avLst/>
                <a:gdLst>
                  <a:gd name="connsiteX0" fmla="*/ 92471 w 184941"/>
                  <a:gd name="connsiteY0" fmla="*/ 184942 h 184941"/>
                  <a:gd name="connsiteX1" fmla="*/ 0 w 184941"/>
                  <a:gd name="connsiteY1" fmla="*/ 92471 h 184941"/>
                  <a:gd name="connsiteX2" fmla="*/ 92471 w 184941"/>
                  <a:gd name="connsiteY2" fmla="*/ 0 h 184941"/>
                  <a:gd name="connsiteX3" fmla="*/ 184942 w 184941"/>
                  <a:gd name="connsiteY3" fmla="*/ 92471 h 184941"/>
                  <a:gd name="connsiteX4" fmla="*/ 92471 w 184941"/>
                  <a:gd name="connsiteY4" fmla="*/ 184942 h 184941"/>
                  <a:gd name="connsiteX5" fmla="*/ 92471 w 184941"/>
                  <a:gd name="connsiteY5" fmla="*/ 15405 h 184941"/>
                  <a:gd name="connsiteX6" fmla="*/ 15405 w 184941"/>
                  <a:gd name="connsiteY6" fmla="*/ 92471 h 184941"/>
                  <a:gd name="connsiteX7" fmla="*/ 92471 w 184941"/>
                  <a:gd name="connsiteY7" fmla="*/ 169537 h 184941"/>
                  <a:gd name="connsiteX8" fmla="*/ 169537 w 184941"/>
                  <a:gd name="connsiteY8" fmla="*/ 92471 h 184941"/>
                  <a:gd name="connsiteX9" fmla="*/ 92471 w 184941"/>
                  <a:gd name="connsiteY9" fmla="*/ 15405 h 184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941" h="184941">
                    <a:moveTo>
                      <a:pt x="92471" y="184942"/>
                    </a:moveTo>
                    <a:cubicBezTo>
                      <a:pt x="41489" y="184942"/>
                      <a:pt x="0" y="143467"/>
                      <a:pt x="0" y="92471"/>
                    </a:cubicBezTo>
                    <a:cubicBezTo>
                      <a:pt x="0" y="41475"/>
                      <a:pt x="41489" y="0"/>
                      <a:pt x="92471" y="0"/>
                    </a:cubicBezTo>
                    <a:cubicBezTo>
                      <a:pt x="143453" y="0"/>
                      <a:pt x="184942" y="41475"/>
                      <a:pt x="184942" y="92471"/>
                    </a:cubicBezTo>
                    <a:cubicBezTo>
                      <a:pt x="184942" y="143467"/>
                      <a:pt x="143453" y="184942"/>
                      <a:pt x="92471" y="184942"/>
                    </a:cubicBezTo>
                    <a:close/>
                    <a:moveTo>
                      <a:pt x="92471" y="15405"/>
                    </a:moveTo>
                    <a:cubicBezTo>
                      <a:pt x="49977" y="15405"/>
                      <a:pt x="15405" y="49977"/>
                      <a:pt x="15405" y="92471"/>
                    </a:cubicBezTo>
                    <a:cubicBezTo>
                      <a:pt x="15405" y="134965"/>
                      <a:pt x="49977" y="169537"/>
                      <a:pt x="92471" y="169537"/>
                    </a:cubicBezTo>
                    <a:cubicBezTo>
                      <a:pt x="134965" y="169537"/>
                      <a:pt x="169537" y="134965"/>
                      <a:pt x="169537" y="92471"/>
                    </a:cubicBezTo>
                    <a:cubicBezTo>
                      <a:pt x="169537" y="49977"/>
                      <a:pt x="134952" y="15405"/>
                      <a:pt x="92471" y="15405"/>
                    </a:cubicBezTo>
                    <a:close/>
                  </a:path>
                </a:pathLst>
              </a:custGeom>
              <a:solidFill>
                <a:schemeClr val="tx2"/>
              </a:solidFill>
              <a:ln w="1375" cap="flat">
                <a:noFill/>
                <a:prstDash val="solid"/>
                <a:miter/>
              </a:ln>
            </p:spPr>
            <p:txBody>
              <a:bodyPr rtlCol="0" anchor="ctr"/>
              <a:lstStyle/>
              <a:p>
                <a:endParaRPr lang="en-GB" dirty="0"/>
              </a:p>
            </p:txBody>
          </p:sp>
          <p:sp>
            <p:nvSpPr>
              <p:cNvPr id="622" name="Freihandform: Form 621">
                <a:extLst>
                  <a:ext uri="{FF2B5EF4-FFF2-40B4-BE49-F238E27FC236}">
                    <a16:creationId xmlns:a16="http://schemas.microsoft.com/office/drawing/2014/main" id="{8AFED9CA-6325-4B7E-8DEA-2AD37FC1D5BF}"/>
                  </a:ext>
                </a:extLst>
              </p:cNvPr>
              <p:cNvSpPr/>
              <p:nvPr/>
            </p:nvSpPr>
            <p:spPr>
              <a:xfrm>
                <a:off x="1481680" y="4428090"/>
                <a:ext cx="169536" cy="15418"/>
              </a:xfrm>
              <a:custGeom>
                <a:avLst/>
                <a:gdLst>
                  <a:gd name="connsiteX0" fmla="*/ 0 w 169536"/>
                  <a:gd name="connsiteY0" fmla="*/ 0 h 15418"/>
                  <a:gd name="connsiteX1" fmla="*/ 169537 w 169536"/>
                  <a:gd name="connsiteY1" fmla="*/ 0 h 15418"/>
                  <a:gd name="connsiteX2" fmla="*/ 169537 w 169536"/>
                  <a:gd name="connsiteY2" fmla="*/ 15419 h 15418"/>
                  <a:gd name="connsiteX3" fmla="*/ 0 w 169536"/>
                  <a:gd name="connsiteY3" fmla="*/ 15419 h 15418"/>
                </a:gdLst>
                <a:ahLst/>
                <a:cxnLst>
                  <a:cxn ang="0">
                    <a:pos x="connsiteX0" y="connsiteY0"/>
                  </a:cxn>
                  <a:cxn ang="0">
                    <a:pos x="connsiteX1" y="connsiteY1"/>
                  </a:cxn>
                  <a:cxn ang="0">
                    <a:pos x="connsiteX2" y="connsiteY2"/>
                  </a:cxn>
                  <a:cxn ang="0">
                    <a:pos x="connsiteX3" y="connsiteY3"/>
                  </a:cxn>
                </a:cxnLst>
                <a:rect l="l" t="t" r="r" b="b"/>
                <a:pathLst>
                  <a:path w="169536" h="15418">
                    <a:moveTo>
                      <a:pt x="0" y="0"/>
                    </a:moveTo>
                    <a:lnTo>
                      <a:pt x="169537" y="0"/>
                    </a:lnTo>
                    <a:lnTo>
                      <a:pt x="169537"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26" name="Freihandform: Form 625">
                <a:extLst>
                  <a:ext uri="{FF2B5EF4-FFF2-40B4-BE49-F238E27FC236}">
                    <a16:creationId xmlns:a16="http://schemas.microsoft.com/office/drawing/2014/main" id="{D46B3643-4798-4E95-8955-5619DBFF3B32}"/>
                  </a:ext>
                </a:extLst>
              </p:cNvPr>
              <p:cNvSpPr/>
              <p:nvPr/>
            </p:nvSpPr>
            <p:spPr>
              <a:xfrm>
                <a:off x="1512503" y="4343321"/>
                <a:ext cx="107889" cy="184941"/>
              </a:xfrm>
              <a:custGeom>
                <a:avLst/>
                <a:gdLst>
                  <a:gd name="connsiteX0" fmla="*/ 53945 w 107889"/>
                  <a:gd name="connsiteY0" fmla="*/ 184942 h 184941"/>
                  <a:gd name="connsiteX1" fmla="*/ 0 w 107889"/>
                  <a:gd name="connsiteY1" fmla="*/ 92471 h 184941"/>
                  <a:gd name="connsiteX2" fmla="*/ 53945 w 107889"/>
                  <a:gd name="connsiteY2" fmla="*/ 0 h 184941"/>
                  <a:gd name="connsiteX3" fmla="*/ 107890 w 107889"/>
                  <a:gd name="connsiteY3" fmla="*/ 92471 h 184941"/>
                  <a:gd name="connsiteX4" fmla="*/ 53945 w 107889"/>
                  <a:gd name="connsiteY4" fmla="*/ 184942 h 184941"/>
                  <a:gd name="connsiteX5" fmla="*/ 53945 w 107889"/>
                  <a:gd name="connsiteY5" fmla="*/ 15405 h 184941"/>
                  <a:gd name="connsiteX6" fmla="*/ 15419 w 107889"/>
                  <a:gd name="connsiteY6" fmla="*/ 92471 h 184941"/>
                  <a:gd name="connsiteX7" fmla="*/ 53945 w 107889"/>
                  <a:gd name="connsiteY7" fmla="*/ 169537 h 184941"/>
                  <a:gd name="connsiteX8" fmla="*/ 92471 w 107889"/>
                  <a:gd name="connsiteY8" fmla="*/ 92471 h 184941"/>
                  <a:gd name="connsiteX9" fmla="*/ 53945 w 107889"/>
                  <a:gd name="connsiteY9" fmla="*/ 15405 h 184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889" h="184941">
                    <a:moveTo>
                      <a:pt x="53945" y="184942"/>
                    </a:moveTo>
                    <a:cubicBezTo>
                      <a:pt x="23700" y="184942"/>
                      <a:pt x="0" y="144321"/>
                      <a:pt x="0" y="92471"/>
                    </a:cubicBezTo>
                    <a:cubicBezTo>
                      <a:pt x="0" y="40621"/>
                      <a:pt x="23700" y="0"/>
                      <a:pt x="53945" y="0"/>
                    </a:cubicBezTo>
                    <a:cubicBezTo>
                      <a:pt x="84190" y="0"/>
                      <a:pt x="107890" y="40621"/>
                      <a:pt x="107890" y="92471"/>
                    </a:cubicBezTo>
                    <a:cubicBezTo>
                      <a:pt x="107876" y="144321"/>
                      <a:pt x="84190" y="184942"/>
                      <a:pt x="53945" y="184942"/>
                    </a:cubicBezTo>
                    <a:close/>
                    <a:moveTo>
                      <a:pt x="53945" y="15405"/>
                    </a:moveTo>
                    <a:cubicBezTo>
                      <a:pt x="33056" y="15405"/>
                      <a:pt x="15419" y="50693"/>
                      <a:pt x="15419" y="92471"/>
                    </a:cubicBezTo>
                    <a:cubicBezTo>
                      <a:pt x="15419" y="134249"/>
                      <a:pt x="33056" y="169537"/>
                      <a:pt x="53945" y="169537"/>
                    </a:cubicBezTo>
                    <a:cubicBezTo>
                      <a:pt x="74834" y="169537"/>
                      <a:pt x="92471" y="134249"/>
                      <a:pt x="92471" y="92471"/>
                    </a:cubicBezTo>
                    <a:cubicBezTo>
                      <a:pt x="92471" y="50693"/>
                      <a:pt x="74820" y="15405"/>
                      <a:pt x="53945" y="15405"/>
                    </a:cubicBezTo>
                    <a:close/>
                  </a:path>
                </a:pathLst>
              </a:custGeom>
              <a:solidFill>
                <a:schemeClr val="tx2"/>
              </a:solidFill>
              <a:ln w="1375" cap="flat">
                <a:noFill/>
                <a:prstDash val="solid"/>
                <a:miter/>
              </a:ln>
            </p:spPr>
            <p:txBody>
              <a:bodyPr rtlCol="0" anchor="ctr"/>
              <a:lstStyle/>
              <a:p>
                <a:endParaRPr lang="en-GB" dirty="0"/>
              </a:p>
            </p:txBody>
          </p:sp>
          <p:sp>
            <p:nvSpPr>
              <p:cNvPr id="627" name="Freihandform: Form 626">
                <a:extLst>
                  <a:ext uri="{FF2B5EF4-FFF2-40B4-BE49-F238E27FC236}">
                    <a16:creationId xmlns:a16="http://schemas.microsoft.com/office/drawing/2014/main" id="{82549884-706D-4705-980D-D25E7A15472D}"/>
                  </a:ext>
                </a:extLst>
              </p:cNvPr>
              <p:cNvSpPr/>
              <p:nvPr/>
            </p:nvSpPr>
            <p:spPr>
              <a:xfrm>
                <a:off x="1543327" y="4343321"/>
                <a:ext cx="46242" cy="184941"/>
              </a:xfrm>
              <a:custGeom>
                <a:avLst/>
                <a:gdLst>
                  <a:gd name="connsiteX0" fmla="*/ 23121 w 46242"/>
                  <a:gd name="connsiteY0" fmla="*/ 184942 h 184941"/>
                  <a:gd name="connsiteX1" fmla="*/ 0 w 46242"/>
                  <a:gd name="connsiteY1" fmla="*/ 92471 h 184941"/>
                  <a:gd name="connsiteX2" fmla="*/ 23121 w 46242"/>
                  <a:gd name="connsiteY2" fmla="*/ 0 h 184941"/>
                  <a:gd name="connsiteX3" fmla="*/ 46242 w 46242"/>
                  <a:gd name="connsiteY3" fmla="*/ 92471 h 184941"/>
                  <a:gd name="connsiteX4" fmla="*/ 23121 w 46242"/>
                  <a:gd name="connsiteY4" fmla="*/ 184942 h 184941"/>
                  <a:gd name="connsiteX5" fmla="*/ 23121 w 46242"/>
                  <a:gd name="connsiteY5" fmla="*/ 20076 h 184941"/>
                  <a:gd name="connsiteX6" fmla="*/ 15419 w 46242"/>
                  <a:gd name="connsiteY6" fmla="*/ 92471 h 184941"/>
                  <a:gd name="connsiteX7" fmla="*/ 23121 w 46242"/>
                  <a:gd name="connsiteY7" fmla="*/ 164866 h 184941"/>
                  <a:gd name="connsiteX8" fmla="*/ 30824 w 46242"/>
                  <a:gd name="connsiteY8" fmla="*/ 92471 h 184941"/>
                  <a:gd name="connsiteX9" fmla="*/ 23121 w 46242"/>
                  <a:gd name="connsiteY9" fmla="*/ 20076 h 184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242" h="184941">
                    <a:moveTo>
                      <a:pt x="23121" y="184942"/>
                    </a:moveTo>
                    <a:cubicBezTo>
                      <a:pt x="2260" y="184942"/>
                      <a:pt x="0" y="120277"/>
                      <a:pt x="0" y="92471"/>
                    </a:cubicBezTo>
                    <a:cubicBezTo>
                      <a:pt x="0" y="64665"/>
                      <a:pt x="2260" y="0"/>
                      <a:pt x="23121" y="0"/>
                    </a:cubicBezTo>
                    <a:cubicBezTo>
                      <a:pt x="43983" y="0"/>
                      <a:pt x="46242" y="64665"/>
                      <a:pt x="46242" y="92471"/>
                    </a:cubicBezTo>
                    <a:cubicBezTo>
                      <a:pt x="46242" y="120277"/>
                      <a:pt x="43983" y="184942"/>
                      <a:pt x="23121" y="184942"/>
                    </a:cubicBezTo>
                    <a:close/>
                    <a:moveTo>
                      <a:pt x="23121" y="20076"/>
                    </a:moveTo>
                    <a:cubicBezTo>
                      <a:pt x="19580" y="30645"/>
                      <a:pt x="15419" y="55102"/>
                      <a:pt x="15419" y="92471"/>
                    </a:cubicBezTo>
                    <a:cubicBezTo>
                      <a:pt x="15419" y="129840"/>
                      <a:pt x="19580" y="154297"/>
                      <a:pt x="23121" y="164866"/>
                    </a:cubicBezTo>
                    <a:cubicBezTo>
                      <a:pt x="26662" y="154284"/>
                      <a:pt x="30824" y="129840"/>
                      <a:pt x="30824" y="92471"/>
                    </a:cubicBezTo>
                    <a:cubicBezTo>
                      <a:pt x="30824" y="55102"/>
                      <a:pt x="26662" y="30645"/>
                      <a:pt x="23121" y="20076"/>
                    </a:cubicBezTo>
                    <a:close/>
                  </a:path>
                </a:pathLst>
              </a:custGeom>
              <a:solidFill>
                <a:schemeClr val="tx2"/>
              </a:solidFill>
              <a:ln w="1375" cap="flat">
                <a:noFill/>
                <a:prstDash val="solid"/>
                <a:miter/>
              </a:ln>
            </p:spPr>
            <p:txBody>
              <a:bodyPr rtlCol="0" anchor="ctr"/>
              <a:lstStyle/>
              <a:p>
                <a:endParaRPr lang="en-GB" dirty="0"/>
              </a:p>
            </p:txBody>
          </p:sp>
        </p:grpSp>
      </p:grpSp>
      <p:grpSp>
        <p:nvGrpSpPr>
          <p:cNvPr id="646" name="Gruppieren 645">
            <a:extLst>
              <a:ext uri="{FF2B5EF4-FFF2-40B4-BE49-F238E27FC236}">
                <a16:creationId xmlns:a16="http://schemas.microsoft.com/office/drawing/2014/main" id="{033A685C-FEAE-4587-98A5-C64E6DF1EE23}"/>
              </a:ext>
            </a:extLst>
          </p:cNvPr>
          <p:cNvGrpSpPr>
            <a:grpSpLocks noChangeAspect="1"/>
          </p:cNvGrpSpPr>
          <p:nvPr/>
        </p:nvGrpSpPr>
        <p:grpSpPr>
          <a:xfrm>
            <a:off x="2146203" y="1626716"/>
            <a:ext cx="431994" cy="432000"/>
            <a:chOff x="2144395" y="1615384"/>
            <a:chExt cx="493191" cy="493201"/>
          </a:xfrm>
        </p:grpSpPr>
        <p:grpSp>
          <p:nvGrpSpPr>
            <p:cNvPr id="631" name="Grafik 7">
              <a:extLst>
                <a:ext uri="{FF2B5EF4-FFF2-40B4-BE49-F238E27FC236}">
                  <a16:creationId xmlns:a16="http://schemas.microsoft.com/office/drawing/2014/main" id="{7940CA59-2FD8-4F65-825F-6370771CA869}"/>
                </a:ext>
              </a:extLst>
            </p:cNvPr>
            <p:cNvGrpSpPr/>
            <p:nvPr/>
          </p:nvGrpSpPr>
          <p:grpSpPr>
            <a:xfrm>
              <a:off x="2275392" y="1861983"/>
              <a:ext cx="123294" cy="238886"/>
              <a:chOff x="2275392" y="1861983"/>
              <a:chExt cx="123294" cy="238886"/>
            </a:xfrm>
            <a:solidFill>
              <a:schemeClr val="accent1"/>
            </a:solidFill>
          </p:grpSpPr>
          <p:sp>
            <p:nvSpPr>
              <p:cNvPr id="632" name="Freihandform: Form 631">
                <a:extLst>
                  <a:ext uri="{FF2B5EF4-FFF2-40B4-BE49-F238E27FC236}">
                    <a16:creationId xmlns:a16="http://schemas.microsoft.com/office/drawing/2014/main" id="{10269A59-509A-4DDE-82E9-731CC5BB19CC}"/>
                  </a:ext>
                </a:extLst>
              </p:cNvPr>
              <p:cNvSpPr/>
              <p:nvPr/>
            </p:nvSpPr>
            <p:spPr>
              <a:xfrm>
                <a:off x="2329337" y="1969872"/>
                <a:ext cx="38526" cy="130997"/>
              </a:xfrm>
              <a:custGeom>
                <a:avLst/>
                <a:gdLst>
                  <a:gd name="connsiteX0" fmla="*/ 15419 w 38526"/>
                  <a:gd name="connsiteY0" fmla="*/ 130997 h 130997"/>
                  <a:gd name="connsiteX1" fmla="*/ 0 w 38526"/>
                  <a:gd name="connsiteY1" fmla="*/ 130997 h 130997"/>
                  <a:gd name="connsiteX2" fmla="*/ 0 w 38526"/>
                  <a:gd name="connsiteY2" fmla="*/ 50748 h 130997"/>
                  <a:gd name="connsiteX3" fmla="*/ 23121 w 38526"/>
                  <a:gd name="connsiteY3" fmla="*/ 27627 h 130997"/>
                  <a:gd name="connsiteX4" fmla="*/ 23121 w 38526"/>
                  <a:gd name="connsiteY4" fmla="*/ 0 h 130997"/>
                  <a:gd name="connsiteX5" fmla="*/ 38526 w 38526"/>
                  <a:gd name="connsiteY5" fmla="*/ 0 h 130997"/>
                  <a:gd name="connsiteX6" fmla="*/ 38526 w 38526"/>
                  <a:gd name="connsiteY6" fmla="*/ 34007 h 130997"/>
                  <a:gd name="connsiteX7" fmla="*/ 15419 w 38526"/>
                  <a:gd name="connsiteY7" fmla="*/ 57128 h 13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26" h="130997">
                    <a:moveTo>
                      <a:pt x="15419" y="130997"/>
                    </a:moveTo>
                    <a:lnTo>
                      <a:pt x="0" y="130997"/>
                    </a:lnTo>
                    <a:lnTo>
                      <a:pt x="0" y="50748"/>
                    </a:lnTo>
                    <a:lnTo>
                      <a:pt x="23121" y="27627"/>
                    </a:lnTo>
                    <a:lnTo>
                      <a:pt x="23121" y="0"/>
                    </a:lnTo>
                    <a:lnTo>
                      <a:pt x="38526" y="0"/>
                    </a:lnTo>
                    <a:lnTo>
                      <a:pt x="38526" y="34007"/>
                    </a:lnTo>
                    <a:lnTo>
                      <a:pt x="15419" y="57128"/>
                    </a:lnTo>
                    <a:close/>
                  </a:path>
                </a:pathLst>
              </a:custGeom>
              <a:solidFill>
                <a:schemeClr val="accent1"/>
              </a:solidFill>
              <a:ln w="1375" cap="flat">
                <a:noFill/>
                <a:prstDash val="solid"/>
                <a:miter/>
              </a:ln>
            </p:spPr>
            <p:txBody>
              <a:bodyPr rtlCol="0" anchor="ctr"/>
              <a:lstStyle/>
              <a:p>
                <a:endParaRPr lang="en-GB" dirty="0"/>
              </a:p>
            </p:txBody>
          </p:sp>
          <p:sp>
            <p:nvSpPr>
              <p:cNvPr id="633" name="Freihandform: Form 632">
                <a:extLst>
                  <a:ext uri="{FF2B5EF4-FFF2-40B4-BE49-F238E27FC236}">
                    <a16:creationId xmlns:a16="http://schemas.microsoft.com/office/drawing/2014/main" id="{ACDF0267-C30B-4290-9FA6-86A8B12343B0}"/>
                  </a:ext>
                </a:extLst>
              </p:cNvPr>
              <p:cNvSpPr/>
              <p:nvPr/>
            </p:nvSpPr>
            <p:spPr>
              <a:xfrm>
                <a:off x="2306216" y="1969872"/>
                <a:ext cx="36280" cy="59387"/>
              </a:xfrm>
              <a:custGeom>
                <a:avLst/>
                <a:gdLst>
                  <a:gd name="connsiteX0" fmla="*/ 25381 w 36280"/>
                  <a:gd name="connsiteY0" fmla="*/ 59388 h 59387"/>
                  <a:gd name="connsiteX1" fmla="*/ 0 w 36280"/>
                  <a:gd name="connsiteY1" fmla="*/ 34007 h 59387"/>
                  <a:gd name="connsiteX2" fmla="*/ 0 w 36280"/>
                  <a:gd name="connsiteY2" fmla="*/ 0 h 59387"/>
                  <a:gd name="connsiteX3" fmla="*/ 15419 w 36280"/>
                  <a:gd name="connsiteY3" fmla="*/ 0 h 59387"/>
                  <a:gd name="connsiteX4" fmla="*/ 15419 w 36280"/>
                  <a:gd name="connsiteY4" fmla="*/ 27627 h 59387"/>
                  <a:gd name="connsiteX5" fmla="*/ 36280 w 36280"/>
                  <a:gd name="connsiteY5" fmla="*/ 48488 h 59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80" h="59387">
                    <a:moveTo>
                      <a:pt x="25381" y="59388"/>
                    </a:moveTo>
                    <a:lnTo>
                      <a:pt x="0" y="34007"/>
                    </a:lnTo>
                    <a:lnTo>
                      <a:pt x="0" y="0"/>
                    </a:lnTo>
                    <a:lnTo>
                      <a:pt x="15419" y="0"/>
                    </a:lnTo>
                    <a:lnTo>
                      <a:pt x="15419" y="27627"/>
                    </a:lnTo>
                    <a:lnTo>
                      <a:pt x="36280" y="48488"/>
                    </a:lnTo>
                    <a:close/>
                  </a:path>
                </a:pathLst>
              </a:custGeom>
              <a:solidFill>
                <a:schemeClr val="accent1"/>
              </a:solidFill>
              <a:ln w="1375" cap="flat">
                <a:noFill/>
                <a:prstDash val="solid"/>
                <a:miter/>
              </a:ln>
            </p:spPr>
            <p:txBody>
              <a:bodyPr rtlCol="0" anchor="ctr"/>
              <a:lstStyle/>
              <a:p>
                <a:endParaRPr lang="en-GB" dirty="0"/>
              </a:p>
            </p:txBody>
          </p:sp>
          <p:sp>
            <p:nvSpPr>
              <p:cNvPr id="634" name="Freihandform: Form 633">
                <a:extLst>
                  <a:ext uri="{FF2B5EF4-FFF2-40B4-BE49-F238E27FC236}">
                    <a16:creationId xmlns:a16="http://schemas.microsoft.com/office/drawing/2014/main" id="{556326CB-B432-4479-8D0F-BDB69FC73456}"/>
                  </a:ext>
                </a:extLst>
              </p:cNvPr>
              <p:cNvSpPr/>
              <p:nvPr/>
            </p:nvSpPr>
            <p:spPr>
              <a:xfrm>
                <a:off x="2275392" y="1861983"/>
                <a:ext cx="123294" cy="123294"/>
              </a:xfrm>
              <a:custGeom>
                <a:avLst/>
                <a:gdLst>
                  <a:gd name="connsiteX0" fmla="*/ 61647 w 123294"/>
                  <a:gd name="connsiteY0" fmla="*/ 123295 h 123294"/>
                  <a:gd name="connsiteX1" fmla="*/ 0 w 123294"/>
                  <a:gd name="connsiteY1" fmla="*/ 61647 h 123294"/>
                  <a:gd name="connsiteX2" fmla="*/ 61647 w 123294"/>
                  <a:gd name="connsiteY2" fmla="*/ 0 h 123294"/>
                  <a:gd name="connsiteX3" fmla="*/ 123295 w 123294"/>
                  <a:gd name="connsiteY3" fmla="*/ 61647 h 123294"/>
                  <a:gd name="connsiteX4" fmla="*/ 61647 w 123294"/>
                  <a:gd name="connsiteY4" fmla="*/ 123295 h 123294"/>
                  <a:gd name="connsiteX5" fmla="*/ 61647 w 123294"/>
                  <a:gd name="connsiteY5" fmla="*/ 15419 h 123294"/>
                  <a:gd name="connsiteX6" fmla="*/ 15405 w 123294"/>
                  <a:gd name="connsiteY6" fmla="*/ 61661 h 123294"/>
                  <a:gd name="connsiteX7" fmla="*/ 61647 w 123294"/>
                  <a:gd name="connsiteY7" fmla="*/ 107903 h 123294"/>
                  <a:gd name="connsiteX8" fmla="*/ 107890 w 123294"/>
                  <a:gd name="connsiteY8" fmla="*/ 61661 h 123294"/>
                  <a:gd name="connsiteX9" fmla="*/ 61647 w 123294"/>
                  <a:gd name="connsiteY9" fmla="*/ 15419 h 12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294" h="123294">
                    <a:moveTo>
                      <a:pt x="61647" y="123295"/>
                    </a:moveTo>
                    <a:cubicBezTo>
                      <a:pt x="27654" y="123295"/>
                      <a:pt x="0" y="95640"/>
                      <a:pt x="0" y="61647"/>
                    </a:cubicBezTo>
                    <a:cubicBezTo>
                      <a:pt x="0" y="27654"/>
                      <a:pt x="27654" y="0"/>
                      <a:pt x="61647" y="0"/>
                    </a:cubicBezTo>
                    <a:cubicBezTo>
                      <a:pt x="95640" y="0"/>
                      <a:pt x="123295" y="27654"/>
                      <a:pt x="123295" y="61647"/>
                    </a:cubicBezTo>
                    <a:cubicBezTo>
                      <a:pt x="123295" y="95640"/>
                      <a:pt x="95640" y="123295"/>
                      <a:pt x="61647" y="123295"/>
                    </a:cubicBezTo>
                    <a:close/>
                    <a:moveTo>
                      <a:pt x="61647" y="15419"/>
                    </a:moveTo>
                    <a:cubicBezTo>
                      <a:pt x="36156" y="15419"/>
                      <a:pt x="15405" y="36156"/>
                      <a:pt x="15405" y="61661"/>
                    </a:cubicBezTo>
                    <a:cubicBezTo>
                      <a:pt x="15405" y="87166"/>
                      <a:pt x="36142" y="107903"/>
                      <a:pt x="61647" y="107903"/>
                    </a:cubicBezTo>
                    <a:cubicBezTo>
                      <a:pt x="87138" y="107903"/>
                      <a:pt x="107890" y="87166"/>
                      <a:pt x="107890" y="61661"/>
                    </a:cubicBezTo>
                    <a:cubicBezTo>
                      <a:pt x="107890" y="36156"/>
                      <a:pt x="87152" y="15419"/>
                      <a:pt x="61647" y="15419"/>
                    </a:cubicBezTo>
                    <a:close/>
                  </a:path>
                </a:pathLst>
              </a:custGeom>
              <a:solidFill>
                <a:schemeClr val="accent1"/>
              </a:solidFill>
              <a:ln w="1375" cap="flat">
                <a:noFill/>
                <a:prstDash val="solid"/>
                <a:miter/>
              </a:ln>
            </p:spPr>
            <p:txBody>
              <a:bodyPr rtlCol="0" anchor="ctr"/>
              <a:lstStyle/>
              <a:p>
                <a:endParaRPr lang="en-GB" dirty="0"/>
              </a:p>
            </p:txBody>
          </p:sp>
        </p:grpSp>
        <p:grpSp>
          <p:nvGrpSpPr>
            <p:cNvPr id="645" name="Gruppieren 644">
              <a:extLst>
                <a:ext uri="{FF2B5EF4-FFF2-40B4-BE49-F238E27FC236}">
                  <a16:creationId xmlns:a16="http://schemas.microsoft.com/office/drawing/2014/main" id="{FA23B5F0-4E7C-47F1-B744-EAE5E85D6FE8}"/>
                </a:ext>
              </a:extLst>
            </p:cNvPr>
            <p:cNvGrpSpPr/>
            <p:nvPr/>
          </p:nvGrpSpPr>
          <p:grpSpPr>
            <a:xfrm>
              <a:off x="2144395" y="1615384"/>
              <a:ext cx="493191" cy="493201"/>
              <a:chOff x="2144395" y="1615384"/>
              <a:chExt cx="493191" cy="493201"/>
            </a:xfrm>
          </p:grpSpPr>
          <p:sp>
            <p:nvSpPr>
              <p:cNvPr id="629" name="Freihandform: Form 628">
                <a:extLst>
                  <a:ext uri="{FF2B5EF4-FFF2-40B4-BE49-F238E27FC236}">
                    <a16:creationId xmlns:a16="http://schemas.microsoft.com/office/drawing/2014/main" id="{00D9352B-FDBA-45AD-97F9-3F25F7F012CF}"/>
                  </a:ext>
                </a:extLst>
              </p:cNvPr>
              <p:cNvSpPr/>
              <p:nvPr/>
            </p:nvSpPr>
            <p:spPr>
              <a:xfrm>
                <a:off x="2375579" y="2093167"/>
                <a:ext cx="262007" cy="15418"/>
              </a:xfrm>
              <a:custGeom>
                <a:avLst/>
                <a:gdLst>
                  <a:gd name="connsiteX0" fmla="*/ 0 w 262007"/>
                  <a:gd name="connsiteY0" fmla="*/ 0 h 15418"/>
                  <a:gd name="connsiteX1" fmla="*/ 262008 w 262007"/>
                  <a:gd name="connsiteY1" fmla="*/ 0 h 15418"/>
                  <a:gd name="connsiteX2" fmla="*/ 262008 w 262007"/>
                  <a:gd name="connsiteY2" fmla="*/ 15419 h 15418"/>
                  <a:gd name="connsiteX3" fmla="*/ 0 w 262007"/>
                  <a:gd name="connsiteY3" fmla="*/ 15419 h 15418"/>
                </a:gdLst>
                <a:ahLst/>
                <a:cxnLst>
                  <a:cxn ang="0">
                    <a:pos x="connsiteX0" y="connsiteY0"/>
                  </a:cxn>
                  <a:cxn ang="0">
                    <a:pos x="connsiteX1" y="connsiteY1"/>
                  </a:cxn>
                  <a:cxn ang="0">
                    <a:pos x="connsiteX2" y="connsiteY2"/>
                  </a:cxn>
                  <a:cxn ang="0">
                    <a:pos x="connsiteX3" y="connsiteY3"/>
                  </a:cxn>
                </a:cxnLst>
                <a:rect l="l" t="t" r="r" b="b"/>
                <a:pathLst>
                  <a:path w="262007" h="15418">
                    <a:moveTo>
                      <a:pt x="0" y="0"/>
                    </a:moveTo>
                    <a:lnTo>
                      <a:pt x="262008" y="0"/>
                    </a:lnTo>
                    <a:lnTo>
                      <a:pt x="262008"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30" name="Freihandform: Form 629">
                <a:extLst>
                  <a:ext uri="{FF2B5EF4-FFF2-40B4-BE49-F238E27FC236}">
                    <a16:creationId xmlns:a16="http://schemas.microsoft.com/office/drawing/2014/main" id="{D213803B-880D-45C6-894A-9226F8785CE6}"/>
                  </a:ext>
                </a:extLst>
              </p:cNvPr>
              <p:cNvSpPr/>
              <p:nvPr/>
            </p:nvSpPr>
            <p:spPr>
              <a:xfrm>
                <a:off x="2144395" y="2093167"/>
                <a:ext cx="215765" cy="15418"/>
              </a:xfrm>
              <a:custGeom>
                <a:avLst/>
                <a:gdLst>
                  <a:gd name="connsiteX0" fmla="*/ 0 w 215765"/>
                  <a:gd name="connsiteY0" fmla="*/ 0 h 15418"/>
                  <a:gd name="connsiteX1" fmla="*/ 215766 w 215765"/>
                  <a:gd name="connsiteY1" fmla="*/ 0 h 15418"/>
                  <a:gd name="connsiteX2" fmla="*/ 215766 w 215765"/>
                  <a:gd name="connsiteY2" fmla="*/ 15419 h 15418"/>
                  <a:gd name="connsiteX3" fmla="*/ 0 w 215765"/>
                  <a:gd name="connsiteY3" fmla="*/ 15419 h 15418"/>
                </a:gdLst>
                <a:ahLst/>
                <a:cxnLst>
                  <a:cxn ang="0">
                    <a:pos x="connsiteX0" y="connsiteY0"/>
                  </a:cxn>
                  <a:cxn ang="0">
                    <a:pos x="connsiteX1" y="connsiteY1"/>
                  </a:cxn>
                  <a:cxn ang="0">
                    <a:pos x="connsiteX2" y="connsiteY2"/>
                  </a:cxn>
                  <a:cxn ang="0">
                    <a:pos x="connsiteX3" y="connsiteY3"/>
                  </a:cxn>
                </a:cxnLst>
                <a:rect l="l" t="t" r="r" b="b"/>
                <a:pathLst>
                  <a:path w="215765" h="15418">
                    <a:moveTo>
                      <a:pt x="0" y="0"/>
                    </a:moveTo>
                    <a:lnTo>
                      <a:pt x="215766" y="0"/>
                    </a:lnTo>
                    <a:lnTo>
                      <a:pt x="215766" y="15419"/>
                    </a:lnTo>
                    <a:lnTo>
                      <a:pt x="0" y="15419"/>
                    </a:lnTo>
                    <a:close/>
                  </a:path>
                </a:pathLst>
              </a:custGeom>
              <a:solidFill>
                <a:schemeClr val="tx2"/>
              </a:solidFill>
              <a:ln w="1375" cap="flat">
                <a:noFill/>
                <a:prstDash val="solid"/>
                <a:miter/>
              </a:ln>
            </p:spPr>
            <p:txBody>
              <a:bodyPr rtlCol="0" anchor="ctr"/>
              <a:lstStyle/>
              <a:p>
                <a:endParaRPr lang="en-GB" dirty="0"/>
              </a:p>
            </p:txBody>
          </p:sp>
          <p:sp>
            <p:nvSpPr>
              <p:cNvPr id="635" name="Freihandform: Form 634">
                <a:extLst>
                  <a:ext uri="{FF2B5EF4-FFF2-40B4-BE49-F238E27FC236}">
                    <a16:creationId xmlns:a16="http://schemas.microsoft.com/office/drawing/2014/main" id="{D90E28AD-4700-4484-92FA-B7D3DAD0AB9C}"/>
                  </a:ext>
                </a:extLst>
              </p:cNvPr>
              <p:cNvSpPr/>
              <p:nvPr/>
            </p:nvSpPr>
            <p:spPr>
              <a:xfrm>
                <a:off x="2159800" y="1615384"/>
                <a:ext cx="454647" cy="393014"/>
              </a:xfrm>
              <a:custGeom>
                <a:avLst/>
                <a:gdLst>
                  <a:gd name="connsiteX0" fmla="*/ 123295 w 454647"/>
                  <a:gd name="connsiteY0" fmla="*/ 393014 h 393014"/>
                  <a:gd name="connsiteX1" fmla="*/ 120952 w 454647"/>
                  <a:gd name="connsiteY1" fmla="*/ 392642 h 393014"/>
                  <a:gd name="connsiteX2" fmla="*/ 0 w 454647"/>
                  <a:gd name="connsiteY2" fmla="*/ 254301 h 393014"/>
                  <a:gd name="connsiteX3" fmla="*/ 161821 w 454647"/>
                  <a:gd name="connsiteY3" fmla="*/ 200356 h 393014"/>
                  <a:gd name="connsiteX4" fmla="*/ 313404 w 454647"/>
                  <a:gd name="connsiteY4" fmla="*/ 235465 h 393014"/>
                  <a:gd name="connsiteX5" fmla="*/ 440184 w 454647"/>
                  <a:gd name="connsiteY5" fmla="*/ 4005 h 393014"/>
                  <a:gd name="connsiteX6" fmla="*/ 450643 w 454647"/>
                  <a:gd name="connsiteY6" fmla="*/ 946 h 393014"/>
                  <a:gd name="connsiteX7" fmla="*/ 453702 w 454647"/>
                  <a:gd name="connsiteY7" fmla="*/ 11405 h 393014"/>
                  <a:gd name="connsiteX8" fmla="*/ 318213 w 454647"/>
                  <a:gd name="connsiteY8" fmla="*/ 258765 h 393014"/>
                  <a:gd name="connsiteX9" fmla="*/ 311034 w 454647"/>
                  <a:gd name="connsiteY9" fmla="*/ 252854 h 393014"/>
                  <a:gd name="connsiteX10" fmla="*/ 161821 w 454647"/>
                  <a:gd name="connsiteY10" fmla="*/ 215761 h 393014"/>
                  <a:gd name="connsiteX11" fmla="*/ 15405 w 454647"/>
                  <a:gd name="connsiteY11" fmla="*/ 254287 h 393014"/>
                  <a:gd name="connsiteX12" fmla="*/ 125637 w 454647"/>
                  <a:gd name="connsiteY12" fmla="*/ 377954 h 393014"/>
                  <a:gd name="connsiteX13" fmla="*/ 130625 w 454647"/>
                  <a:gd name="connsiteY13" fmla="*/ 387641 h 393014"/>
                  <a:gd name="connsiteX14" fmla="*/ 123295 w 454647"/>
                  <a:gd name="connsiteY14" fmla="*/ 393014 h 3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54647" h="393014">
                    <a:moveTo>
                      <a:pt x="123295" y="393014"/>
                    </a:moveTo>
                    <a:cubicBezTo>
                      <a:pt x="122523" y="393014"/>
                      <a:pt x="121724" y="392890"/>
                      <a:pt x="120952" y="392642"/>
                    </a:cubicBezTo>
                    <a:cubicBezTo>
                      <a:pt x="49742" y="369852"/>
                      <a:pt x="0" y="312958"/>
                      <a:pt x="0" y="254301"/>
                    </a:cubicBezTo>
                    <a:cubicBezTo>
                      <a:pt x="0" y="202960"/>
                      <a:pt x="134800" y="200356"/>
                      <a:pt x="161821" y="200356"/>
                    </a:cubicBezTo>
                    <a:cubicBezTo>
                      <a:pt x="212679" y="200356"/>
                      <a:pt x="277248" y="211269"/>
                      <a:pt x="313404" y="235465"/>
                    </a:cubicBezTo>
                    <a:lnTo>
                      <a:pt x="440184" y="4005"/>
                    </a:lnTo>
                    <a:cubicBezTo>
                      <a:pt x="442224" y="271"/>
                      <a:pt x="446909" y="-1093"/>
                      <a:pt x="450643" y="946"/>
                    </a:cubicBezTo>
                    <a:cubicBezTo>
                      <a:pt x="454377" y="2986"/>
                      <a:pt x="455741" y="7670"/>
                      <a:pt x="453702" y="11405"/>
                    </a:cubicBezTo>
                    <a:lnTo>
                      <a:pt x="318213" y="258765"/>
                    </a:lnTo>
                    <a:lnTo>
                      <a:pt x="311034" y="252854"/>
                    </a:lnTo>
                    <a:cubicBezTo>
                      <a:pt x="284468" y="231015"/>
                      <a:pt x="223110" y="215761"/>
                      <a:pt x="161821" y="215761"/>
                    </a:cubicBezTo>
                    <a:cubicBezTo>
                      <a:pt x="89853" y="215761"/>
                      <a:pt x="15405" y="230174"/>
                      <a:pt x="15405" y="254287"/>
                    </a:cubicBezTo>
                    <a:cubicBezTo>
                      <a:pt x="15405" y="306331"/>
                      <a:pt x="60738" y="357175"/>
                      <a:pt x="125637" y="377954"/>
                    </a:cubicBezTo>
                    <a:cubicBezTo>
                      <a:pt x="129688" y="379249"/>
                      <a:pt x="131934" y="383590"/>
                      <a:pt x="130625" y="387641"/>
                    </a:cubicBezTo>
                    <a:cubicBezTo>
                      <a:pt x="129592" y="390934"/>
                      <a:pt x="126560" y="393014"/>
                      <a:pt x="123295" y="393014"/>
                    </a:cubicBezTo>
                    <a:close/>
                  </a:path>
                </a:pathLst>
              </a:custGeom>
              <a:solidFill>
                <a:schemeClr val="tx2"/>
              </a:solidFill>
              <a:ln w="1375" cap="flat">
                <a:noFill/>
                <a:prstDash val="solid"/>
                <a:miter/>
              </a:ln>
            </p:spPr>
            <p:txBody>
              <a:bodyPr rtlCol="0" anchor="ctr"/>
              <a:lstStyle/>
              <a:p>
                <a:endParaRPr lang="en-GB" dirty="0"/>
              </a:p>
            </p:txBody>
          </p:sp>
          <p:sp>
            <p:nvSpPr>
              <p:cNvPr id="636" name="Freihandform: Form 635">
                <a:extLst>
                  <a:ext uri="{FF2B5EF4-FFF2-40B4-BE49-F238E27FC236}">
                    <a16:creationId xmlns:a16="http://schemas.microsoft.com/office/drawing/2014/main" id="{8D26175D-627E-45DB-81EC-CDC12EF8026A}"/>
                  </a:ext>
                </a:extLst>
              </p:cNvPr>
              <p:cNvSpPr/>
              <p:nvPr/>
            </p:nvSpPr>
            <p:spPr>
              <a:xfrm>
                <a:off x="2383277" y="1677022"/>
                <a:ext cx="254302" cy="331666"/>
              </a:xfrm>
              <a:custGeom>
                <a:avLst/>
                <a:gdLst>
                  <a:gd name="connsiteX0" fmla="*/ 7708 w 254302"/>
                  <a:gd name="connsiteY0" fmla="*/ 331666 h 331666"/>
                  <a:gd name="connsiteX1" fmla="*/ 322 w 254302"/>
                  <a:gd name="connsiteY1" fmla="*/ 326155 h 331666"/>
                  <a:gd name="connsiteX2" fmla="*/ 5503 w 254302"/>
                  <a:gd name="connsiteY2" fmla="*/ 316564 h 331666"/>
                  <a:gd name="connsiteX3" fmla="*/ 116686 w 254302"/>
                  <a:gd name="connsiteY3" fmla="*/ 227221 h 331666"/>
                  <a:gd name="connsiteX4" fmla="*/ 239843 w 254302"/>
                  <a:gd name="connsiteY4" fmla="*/ 3987 h 331666"/>
                  <a:gd name="connsiteX5" fmla="*/ 250315 w 254302"/>
                  <a:gd name="connsiteY5" fmla="*/ 956 h 331666"/>
                  <a:gd name="connsiteX6" fmla="*/ 253346 w 254302"/>
                  <a:gd name="connsiteY6" fmla="*/ 11428 h 331666"/>
                  <a:gd name="connsiteX7" fmla="*/ 130052 w 254302"/>
                  <a:gd name="connsiteY7" fmla="*/ 234896 h 331666"/>
                  <a:gd name="connsiteX8" fmla="*/ 9912 w 254302"/>
                  <a:gd name="connsiteY8" fmla="*/ 331322 h 331666"/>
                  <a:gd name="connsiteX9" fmla="*/ 7708 w 254302"/>
                  <a:gd name="connsiteY9" fmla="*/ 331666 h 331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4302" h="331666">
                    <a:moveTo>
                      <a:pt x="7708" y="331666"/>
                    </a:moveTo>
                    <a:cubicBezTo>
                      <a:pt x="4387" y="331666"/>
                      <a:pt x="1314" y="329503"/>
                      <a:pt x="322" y="326155"/>
                    </a:cubicBezTo>
                    <a:cubicBezTo>
                      <a:pt x="-890" y="322076"/>
                      <a:pt x="1424" y="317777"/>
                      <a:pt x="5503" y="316564"/>
                    </a:cubicBezTo>
                    <a:cubicBezTo>
                      <a:pt x="67137" y="298197"/>
                      <a:pt x="95356" y="262771"/>
                      <a:pt x="116686" y="227221"/>
                    </a:cubicBezTo>
                    <a:lnTo>
                      <a:pt x="239843" y="3987"/>
                    </a:lnTo>
                    <a:cubicBezTo>
                      <a:pt x="241896" y="267"/>
                      <a:pt x="246581" y="-1097"/>
                      <a:pt x="250315" y="956"/>
                    </a:cubicBezTo>
                    <a:cubicBezTo>
                      <a:pt x="254035" y="3009"/>
                      <a:pt x="255399" y="7694"/>
                      <a:pt x="253346" y="11428"/>
                    </a:cubicBezTo>
                    <a:lnTo>
                      <a:pt x="130052" y="234896"/>
                    </a:lnTo>
                    <a:cubicBezTo>
                      <a:pt x="108088" y="271521"/>
                      <a:pt x="76768" y="311397"/>
                      <a:pt x="9912" y="331322"/>
                    </a:cubicBezTo>
                    <a:cubicBezTo>
                      <a:pt x="9182" y="331556"/>
                      <a:pt x="8438" y="331666"/>
                      <a:pt x="7708" y="331666"/>
                    </a:cubicBezTo>
                    <a:close/>
                  </a:path>
                </a:pathLst>
              </a:custGeom>
              <a:solidFill>
                <a:schemeClr val="tx2"/>
              </a:solidFill>
              <a:ln w="1375" cap="flat">
                <a:noFill/>
                <a:prstDash val="solid"/>
                <a:miter/>
              </a:ln>
            </p:spPr>
            <p:txBody>
              <a:bodyPr rtlCol="0" anchor="ctr"/>
              <a:lstStyle/>
              <a:p>
                <a:endParaRPr lang="en-GB" dirty="0"/>
              </a:p>
            </p:txBody>
          </p:sp>
          <p:sp>
            <p:nvSpPr>
              <p:cNvPr id="637" name="Freihandform: Form 636">
                <a:extLst>
                  <a:ext uri="{FF2B5EF4-FFF2-40B4-BE49-F238E27FC236}">
                    <a16:creationId xmlns:a16="http://schemas.microsoft.com/office/drawing/2014/main" id="{C08C445A-2C0F-4B76-B459-3246608242A4}"/>
                  </a:ext>
                </a:extLst>
              </p:cNvPr>
              <p:cNvSpPr/>
              <p:nvPr/>
            </p:nvSpPr>
            <p:spPr>
              <a:xfrm rot="18057826">
                <a:off x="2510439" y="1812528"/>
                <a:ext cx="15405" cy="44933"/>
              </a:xfrm>
              <a:custGeom>
                <a:avLst/>
                <a:gdLst>
                  <a:gd name="connsiteX0" fmla="*/ 0 w 15405"/>
                  <a:gd name="connsiteY0" fmla="*/ 0 h 44933"/>
                  <a:gd name="connsiteX1" fmla="*/ 15405 w 15405"/>
                  <a:gd name="connsiteY1" fmla="*/ 0 h 44933"/>
                  <a:gd name="connsiteX2" fmla="*/ 15405 w 15405"/>
                  <a:gd name="connsiteY2" fmla="*/ 44934 h 44933"/>
                  <a:gd name="connsiteX3" fmla="*/ 0 w 15405"/>
                  <a:gd name="connsiteY3" fmla="*/ 44934 h 44933"/>
                </a:gdLst>
                <a:ahLst/>
                <a:cxnLst>
                  <a:cxn ang="0">
                    <a:pos x="connsiteX0" y="connsiteY0"/>
                  </a:cxn>
                  <a:cxn ang="0">
                    <a:pos x="connsiteX1" y="connsiteY1"/>
                  </a:cxn>
                  <a:cxn ang="0">
                    <a:pos x="connsiteX2" y="connsiteY2"/>
                  </a:cxn>
                  <a:cxn ang="0">
                    <a:pos x="connsiteX3" y="connsiteY3"/>
                  </a:cxn>
                </a:cxnLst>
                <a:rect l="l" t="t" r="r" b="b"/>
                <a:pathLst>
                  <a:path w="15405" h="44933">
                    <a:moveTo>
                      <a:pt x="0" y="0"/>
                    </a:moveTo>
                    <a:lnTo>
                      <a:pt x="15405" y="0"/>
                    </a:lnTo>
                    <a:lnTo>
                      <a:pt x="15405" y="44934"/>
                    </a:lnTo>
                    <a:lnTo>
                      <a:pt x="0" y="44934"/>
                    </a:lnTo>
                    <a:close/>
                  </a:path>
                </a:pathLst>
              </a:custGeom>
              <a:solidFill>
                <a:schemeClr val="tx2"/>
              </a:solidFill>
              <a:ln w="1375" cap="flat">
                <a:noFill/>
                <a:prstDash val="solid"/>
                <a:miter/>
              </a:ln>
            </p:spPr>
            <p:txBody>
              <a:bodyPr rtlCol="0" anchor="ctr"/>
              <a:lstStyle/>
              <a:p>
                <a:endParaRPr lang="en-GB" dirty="0"/>
              </a:p>
            </p:txBody>
          </p:sp>
          <p:sp>
            <p:nvSpPr>
              <p:cNvPr id="638" name="Freihandform: Form 637">
                <a:extLst>
                  <a:ext uri="{FF2B5EF4-FFF2-40B4-BE49-F238E27FC236}">
                    <a16:creationId xmlns:a16="http://schemas.microsoft.com/office/drawing/2014/main" id="{57DA07C6-68E1-4A26-A60F-94499A057DA5}"/>
                  </a:ext>
                </a:extLst>
              </p:cNvPr>
              <p:cNvSpPr/>
              <p:nvPr/>
            </p:nvSpPr>
            <p:spPr>
              <a:xfrm rot="18057826">
                <a:off x="2525848" y="1781710"/>
                <a:ext cx="15405" cy="44933"/>
              </a:xfrm>
              <a:custGeom>
                <a:avLst/>
                <a:gdLst>
                  <a:gd name="connsiteX0" fmla="*/ 0 w 15405"/>
                  <a:gd name="connsiteY0" fmla="*/ 0 h 44933"/>
                  <a:gd name="connsiteX1" fmla="*/ 15405 w 15405"/>
                  <a:gd name="connsiteY1" fmla="*/ 0 h 44933"/>
                  <a:gd name="connsiteX2" fmla="*/ 15405 w 15405"/>
                  <a:gd name="connsiteY2" fmla="*/ 44934 h 44933"/>
                  <a:gd name="connsiteX3" fmla="*/ 0 w 15405"/>
                  <a:gd name="connsiteY3" fmla="*/ 44934 h 44933"/>
                </a:gdLst>
                <a:ahLst/>
                <a:cxnLst>
                  <a:cxn ang="0">
                    <a:pos x="connsiteX0" y="connsiteY0"/>
                  </a:cxn>
                  <a:cxn ang="0">
                    <a:pos x="connsiteX1" y="connsiteY1"/>
                  </a:cxn>
                  <a:cxn ang="0">
                    <a:pos x="connsiteX2" y="connsiteY2"/>
                  </a:cxn>
                  <a:cxn ang="0">
                    <a:pos x="connsiteX3" y="connsiteY3"/>
                  </a:cxn>
                </a:cxnLst>
                <a:rect l="l" t="t" r="r" b="b"/>
                <a:pathLst>
                  <a:path w="15405" h="44933">
                    <a:moveTo>
                      <a:pt x="0" y="0"/>
                    </a:moveTo>
                    <a:lnTo>
                      <a:pt x="15405" y="0"/>
                    </a:lnTo>
                    <a:lnTo>
                      <a:pt x="15405" y="44934"/>
                    </a:lnTo>
                    <a:lnTo>
                      <a:pt x="0" y="44934"/>
                    </a:lnTo>
                    <a:close/>
                  </a:path>
                </a:pathLst>
              </a:custGeom>
              <a:solidFill>
                <a:schemeClr val="tx2"/>
              </a:solidFill>
              <a:ln w="1375" cap="flat">
                <a:noFill/>
                <a:prstDash val="solid"/>
                <a:miter/>
              </a:ln>
            </p:spPr>
            <p:txBody>
              <a:bodyPr rtlCol="0" anchor="ctr"/>
              <a:lstStyle/>
              <a:p>
                <a:endParaRPr lang="en-GB" dirty="0"/>
              </a:p>
            </p:txBody>
          </p:sp>
        </p:grpSp>
      </p:grpSp>
      <p:sp>
        <p:nvSpPr>
          <p:cNvPr id="714" name="TextBox 713">
            <a:extLst>
              <a:ext uri="{FF2B5EF4-FFF2-40B4-BE49-F238E27FC236}">
                <a16:creationId xmlns:a16="http://schemas.microsoft.com/office/drawing/2014/main" id="{FC6FA622-49AB-4052-9658-60BDA1DF9CE3}"/>
              </a:ext>
            </a:extLst>
          </p:cNvPr>
          <p:cNvSpPr txBox="1"/>
          <p:nvPr/>
        </p:nvSpPr>
        <p:spPr>
          <a:xfrm>
            <a:off x="470928" y="2077494"/>
            <a:ext cx="458459" cy="215444"/>
          </a:xfrm>
          <a:prstGeom prst="rect">
            <a:avLst/>
          </a:prstGeom>
          <a:noFill/>
          <a:effectLst/>
        </p:spPr>
        <p:txBody>
          <a:bodyPr wrap="none" lIns="0" tIns="0" rIns="0" bIns="0" rtlCol="0" anchor="t">
            <a:spAutoFit/>
          </a:bodyPr>
          <a:lstStyle/>
          <a:p>
            <a:pPr algn="ctr"/>
            <a:r>
              <a:rPr lang="en-GB" sz="700" dirty="0">
                <a:solidFill>
                  <a:schemeClr val="tx2"/>
                </a:solidFill>
              </a:rPr>
              <a:t>Tactics and</a:t>
            </a:r>
            <a:br>
              <a:rPr lang="en-GB" sz="700" dirty="0">
                <a:solidFill>
                  <a:schemeClr val="tx2"/>
                </a:solidFill>
              </a:rPr>
            </a:br>
            <a:r>
              <a:rPr lang="en-GB" sz="700" dirty="0">
                <a:solidFill>
                  <a:schemeClr val="tx2"/>
                </a:solidFill>
              </a:rPr>
              <a:t>strategy</a:t>
            </a:r>
          </a:p>
        </p:txBody>
      </p:sp>
      <p:sp>
        <p:nvSpPr>
          <p:cNvPr id="715" name="TextBox 714">
            <a:extLst>
              <a:ext uri="{FF2B5EF4-FFF2-40B4-BE49-F238E27FC236}">
                <a16:creationId xmlns:a16="http://schemas.microsoft.com/office/drawing/2014/main" id="{E90ED3EA-C37D-4AF3-A116-4C2D13044C7E}"/>
              </a:ext>
            </a:extLst>
          </p:cNvPr>
          <p:cNvSpPr txBox="1"/>
          <p:nvPr/>
        </p:nvSpPr>
        <p:spPr>
          <a:xfrm>
            <a:off x="541461" y="2899619"/>
            <a:ext cx="317395" cy="215444"/>
          </a:xfrm>
          <a:prstGeom prst="rect">
            <a:avLst/>
          </a:prstGeom>
          <a:noFill/>
          <a:effectLst/>
        </p:spPr>
        <p:txBody>
          <a:bodyPr wrap="none" lIns="0" tIns="0" rIns="0" bIns="0" rtlCol="0" anchor="t">
            <a:spAutoFit/>
          </a:bodyPr>
          <a:lstStyle/>
          <a:p>
            <a:pPr algn="ctr"/>
            <a:r>
              <a:rPr lang="en-GB" sz="700" dirty="0">
                <a:solidFill>
                  <a:schemeClr val="tx2"/>
                </a:solidFill>
              </a:rPr>
              <a:t>Football</a:t>
            </a:r>
            <a:br>
              <a:rPr lang="en-GB" sz="700" dirty="0">
                <a:solidFill>
                  <a:schemeClr val="tx2"/>
                </a:solidFill>
              </a:rPr>
            </a:br>
            <a:r>
              <a:rPr lang="en-GB" sz="700" dirty="0">
                <a:solidFill>
                  <a:schemeClr val="tx2"/>
                </a:solidFill>
              </a:rPr>
              <a:t>referee</a:t>
            </a:r>
          </a:p>
        </p:txBody>
      </p:sp>
      <p:sp>
        <p:nvSpPr>
          <p:cNvPr id="716" name="TextBox 715">
            <a:extLst>
              <a:ext uri="{FF2B5EF4-FFF2-40B4-BE49-F238E27FC236}">
                <a16:creationId xmlns:a16="http://schemas.microsoft.com/office/drawing/2014/main" id="{8F03738B-A030-4752-82EE-A5462C49F66E}"/>
              </a:ext>
            </a:extLst>
          </p:cNvPr>
          <p:cNvSpPr txBox="1"/>
          <p:nvPr/>
        </p:nvSpPr>
        <p:spPr>
          <a:xfrm>
            <a:off x="498180" y="3723675"/>
            <a:ext cx="403957" cy="215444"/>
          </a:xfrm>
          <a:prstGeom prst="rect">
            <a:avLst/>
          </a:prstGeom>
          <a:noFill/>
          <a:effectLst/>
        </p:spPr>
        <p:txBody>
          <a:bodyPr wrap="none" lIns="0" tIns="0" rIns="0" bIns="0" rtlCol="0" anchor="t">
            <a:spAutoFit/>
          </a:bodyPr>
          <a:lstStyle/>
          <a:p>
            <a:pPr algn="ctr"/>
            <a:r>
              <a:rPr lang="en-GB" sz="700" dirty="0">
                <a:solidFill>
                  <a:schemeClr val="tx2"/>
                </a:solidFill>
              </a:rPr>
              <a:t>Sport club</a:t>
            </a:r>
            <a:br>
              <a:rPr lang="en-GB" sz="700" dirty="0">
                <a:solidFill>
                  <a:schemeClr val="tx2"/>
                </a:solidFill>
              </a:rPr>
            </a:br>
            <a:r>
              <a:rPr lang="en-GB" sz="700" dirty="0">
                <a:solidFill>
                  <a:schemeClr val="tx2"/>
                </a:solidFill>
              </a:rPr>
              <a:t>emblem</a:t>
            </a:r>
          </a:p>
        </p:txBody>
      </p:sp>
      <p:sp>
        <p:nvSpPr>
          <p:cNvPr id="717" name="TextBox 716">
            <a:extLst>
              <a:ext uri="{FF2B5EF4-FFF2-40B4-BE49-F238E27FC236}">
                <a16:creationId xmlns:a16="http://schemas.microsoft.com/office/drawing/2014/main" id="{32D6AF18-FE53-4CFD-9DA2-174201C3C0B3}"/>
              </a:ext>
            </a:extLst>
          </p:cNvPr>
          <p:cNvSpPr txBox="1"/>
          <p:nvPr/>
        </p:nvSpPr>
        <p:spPr>
          <a:xfrm>
            <a:off x="551078" y="4547732"/>
            <a:ext cx="298159" cy="215444"/>
          </a:xfrm>
          <a:prstGeom prst="rect">
            <a:avLst/>
          </a:prstGeom>
          <a:noFill/>
          <a:effectLst/>
        </p:spPr>
        <p:txBody>
          <a:bodyPr wrap="none" lIns="0" tIns="0" rIns="0" bIns="0" rtlCol="0" anchor="t">
            <a:spAutoFit/>
          </a:bodyPr>
          <a:lstStyle/>
          <a:p>
            <a:pPr algn="ctr"/>
            <a:r>
              <a:rPr lang="en-GB" sz="700" dirty="0">
                <a:solidFill>
                  <a:schemeClr val="tx2"/>
                </a:solidFill>
              </a:rPr>
              <a:t>Hockey</a:t>
            </a:r>
            <a:br>
              <a:rPr lang="en-GB" sz="700" dirty="0">
                <a:solidFill>
                  <a:schemeClr val="tx2"/>
                </a:solidFill>
              </a:rPr>
            </a:br>
            <a:r>
              <a:rPr lang="en-GB" sz="700" dirty="0">
                <a:solidFill>
                  <a:schemeClr val="tx2"/>
                </a:solidFill>
              </a:rPr>
              <a:t>sticks</a:t>
            </a:r>
          </a:p>
        </p:txBody>
      </p:sp>
      <p:sp>
        <p:nvSpPr>
          <p:cNvPr id="719" name="TextBox 718">
            <a:extLst>
              <a:ext uri="{FF2B5EF4-FFF2-40B4-BE49-F238E27FC236}">
                <a16:creationId xmlns:a16="http://schemas.microsoft.com/office/drawing/2014/main" id="{8895A89D-60D6-4BFB-ADE2-A94D7793F075}"/>
              </a:ext>
            </a:extLst>
          </p:cNvPr>
          <p:cNvSpPr txBox="1"/>
          <p:nvPr/>
        </p:nvSpPr>
        <p:spPr>
          <a:xfrm>
            <a:off x="3874363" y="2077494"/>
            <a:ext cx="299761" cy="215444"/>
          </a:xfrm>
          <a:prstGeom prst="rect">
            <a:avLst/>
          </a:prstGeom>
          <a:noFill/>
          <a:effectLst/>
        </p:spPr>
        <p:txBody>
          <a:bodyPr wrap="none" lIns="0" tIns="0" rIns="0" bIns="0" rtlCol="0" anchor="t">
            <a:spAutoFit/>
          </a:bodyPr>
          <a:lstStyle/>
          <a:p>
            <a:pPr algn="ctr"/>
            <a:r>
              <a:rPr lang="en-GB" sz="700" dirty="0">
                <a:solidFill>
                  <a:schemeClr val="tx2"/>
                </a:solidFill>
              </a:rPr>
              <a:t>Fans</a:t>
            </a:r>
            <a:br>
              <a:rPr lang="en-GB" sz="700" dirty="0">
                <a:solidFill>
                  <a:schemeClr val="tx2"/>
                </a:solidFill>
              </a:rPr>
            </a:br>
            <a:r>
              <a:rPr lang="en-GB" sz="700" dirty="0">
                <a:solidFill>
                  <a:schemeClr val="tx2"/>
                </a:solidFill>
              </a:rPr>
              <a:t>support</a:t>
            </a:r>
          </a:p>
        </p:txBody>
      </p:sp>
      <p:sp>
        <p:nvSpPr>
          <p:cNvPr id="720" name="TextBox 719">
            <a:extLst>
              <a:ext uri="{FF2B5EF4-FFF2-40B4-BE49-F238E27FC236}">
                <a16:creationId xmlns:a16="http://schemas.microsoft.com/office/drawing/2014/main" id="{2DD7E4D5-F86B-45B1-AA4E-E2E9BCAF1015}"/>
              </a:ext>
            </a:extLst>
          </p:cNvPr>
          <p:cNvSpPr txBox="1"/>
          <p:nvPr/>
        </p:nvSpPr>
        <p:spPr>
          <a:xfrm>
            <a:off x="3901613" y="2899619"/>
            <a:ext cx="245260" cy="215444"/>
          </a:xfrm>
          <a:prstGeom prst="rect">
            <a:avLst/>
          </a:prstGeom>
          <a:noFill/>
          <a:effectLst/>
        </p:spPr>
        <p:txBody>
          <a:bodyPr wrap="none" lIns="0" tIns="0" rIns="0" bIns="0" rtlCol="0" anchor="t">
            <a:spAutoFit/>
          </a:bodyPr>
          <a:lstStyle/>
          <a:p>
            <a:pPr algn="ctr"/>
            <a:r>
              <a:rPr lang="en-GB" sz="700" dirty="0">
                <a:solidFill>
                  <a:schemeClr val="tx2"/>
                </a:solidFill>
              </a:rPr>
              <a:t>Game</a:t>
            </a:r>
            <a:br>
              <a:rPr lang="en-GB" sz="700" dirty="0">
                <a:solidFill>
                  <a:schemeClr val="tx2"/>
                </a:solidFill>
              </a:rPr>
            </a:br>
            <a:r>
              <a:rPr lang="en-GB" sz="700" dirty="0">
                <a:solidFill>
                  <a:schemeClr val="tx2"/>
                </a:solidFill>
              </a:rPr>
              <a:t>field</a:t>
            </a:r>
          </a:p>
        </p:txBody>
      </p:sp>
      <p:sp>
        <p:nvSpPr>
          <p:cNvPr id="721" name="TextBox 720">
            <a:extLst>
              <a:ext uri="{FF2B5EF4-FFF2-40B4-BE49-F238E27FC236}">
                <a16:creationId xmlns:a16="http://schemas.microsoft.com/office/drawing/2014/main" id="{C0329623-8219-413B-AB6C-F8BD543000E9}"/>
              </a:ext>
            </a:extLst>
          </p:cNvPr>
          <p:cNvSpPr txBox="1"/>
          <p:nvPr/>
        </p:nvSpPr>
        <p:spPr>
          <a:xfrm>
            <a:off x="3887186" y="3723675"/>
            <a:ext cx="274114" cy="215444"/>
          </a:xfrm>
          <a:prstGeom prst="rect">
            <a:avLst/>
          </a:prstGeom>
          <a:noFill/>
          <a:effectLst/>
        </p:spPr>
        <p:txBody>
          <a:bodyPr wrap="none" lIns="0" tIns="0" rIns="0" bIns="0" rtlCol="0" anchor="t">
            <a:spAutoFit/>
          </a:bodyPr>
          <a:lstStyle/>
          <a:p>
            <a:pPr algn="ctr"/>
            <a:r>
              <a:rPr lang="en-GB" sz="700" dirty="0">
                <a:solidFill>
                  <a:schemeClr val="tx2"/>
                </a:solidFill>
              </a:rPr>
              <a:t>Corner</a:t>
            </a:r>
            <a:br>
              <a:rPr lang="en-GB" sz="700" dirty="0">
                <a:solidFill>
                  <a:schemeClr val="tx2"/>
                </a:solidFill>
              </a:rPr>
            </a:br>
            <a:r>
              <a:rPr lang="en-GB" sz="700" dirty="0">
                <a:solidFill>
                  <a:schemeClr val="tx2"/>
                </a:solidFill>
              </a:rPr>
              <a:t>flag</a:t>
            </a:r>
          </a:p>
        </p:txBody>
      </p:sp>
      <p:sp>
        <p:nvSpPr>
          <p:cNvPr id="722" name="TextBox 721">
            <a:extLst>
              <a:ext uri="{FF2B5EF4-FFF2-40B4-BE49-F238E27FC236}">
                <a16:creationId xmlns:a16="http://schemas.microsoft.com/office/drawing/2014/main" id="{778CF14F-2B67-4B5E-964B-0BD8D4243D18}"/>
              </a:ext>
            </a:extLst>
          </p:cNvPr>
          <p:cNvSpPr txBox="1"/>
          <p:nvPr/>
        </p:nvSpPr>
        <p:spPr>
          <a:xfrm>
            <a:off x="3815052" y="4547732"/>
            <a:ext cx="418384" cy="215444"/>
          </a:xfrm>
          <a:prstGeom prst="rect">
            <a:avLst/>
          </a:prstGeom>
          <a:noFill/>
          <a:effectLst/>
        </p:spPr>
        <p:txBody>
          <a:bodyPr wrap="none" lIns="0" tIns="0" rIns="0" bIns="0" rtlCol="0" anchor="t">
            <a:spAutoFit/>
          </a:bodyPr>
          <a:lstStyle/>
          <a:p>
            <a:pPr algn="ctr"/>
            <a:r>
              <a:rPr lang="en-GB" sz="700" dirty="0">
                <a:solidFill>
                  <a:schemeClr val="tx2"/>
                </a:solidFill>
              </a:rPr>
              <a:t>Sports live</a:t>
            </a:r>
            <a:br>
              <a:rPr lang="en-GB" sz="700" dirty="0">
                <a:solidFill>
                  <a:schemeClr val="tx2"/>
                </a:solidFill>
              </a:rPr>
            </a:br>
            <a:r>
              <a:rPr lang="en-GB" sz="700" dirty="0">
                <a:solidFill>
                  <a:schemeClr val="tx2"/>
                </a:solidFill>
              </a:rPr>
              <a:t>TV stream</a:t>
            </a:r>
          </a:p>
        </p:txBody>
      </p:sp>
      <p:sp>
        <p:nvSpPr>
          <p:cNvPr id="724" name="TextBox 723">
            <a:extLst>
              <a:ext uri="{FF2B5EF4-FFF2-40B4-BE49-F238E27FC236}">
                <a16:creationId xmlns:a16="http://schemas.microsoft.com/office/drawing/2014/main" id="{E7F97156-FBE2-43A4-BFAD-868872276F65}"/>
              </a:ext>
            </a:extLst>
          </p:cNvPr>
          <p:cNvSpPr txBox="1"/>
          <p:nvPr/>
        </p:nvSpPr>
        <p:spPr>
          <a:xfrm>
            <a:off x="3056969" y="2077494"/>
            <a:ext cx="272510" cy="215444"/>
          </a:xfrm>
          <a:prstGeom prst="rect">
            <a:avLst/>
          </a:prstGeom>
          <a:noFill/>
          <a:effectLst/>
        </p:spPr>
        <p:txBody>
          <a:bodyPr wrap="none" lIns="0" tIns="0" rIns="0" bIns="0" rtlCol="0" anchor="t">
            <a:spAutoFit/>
          </a:bodyPr>
          <a:lstStyle/>
          <a:p>
            <a:pPr algn="ctr"/>
            <a:r>
              <a:rPr lang="en-GB" sz="700" dirty="0">
                <a:solidFill>
                  <a:schemeClr val="tx2"/>
                </a:solidFill>
              </a:rPr>
              <a:t>Coach</a:t>
            </a:r>
            <a:br>
              <a:rPr lang="en-GB" sz="700" dirty="0">
                <a:solidFill>
                  <a:schemeClr val="tx2"/>
                </a:solidFill>
              </a:rPr>
            </a:br>
            <a:r>
              <a:rPr lang="en-GB" sz="700" dirty="0">
                <a:solidFill>
                  <a:schemeClr val="tx2"/>
                </a:solidFill>
              </a:rPr>
              <a:t>whistle</a:t>
            </a:r>
          </a:p>
        </p:txBody>
      </p:sp>
      <p:sp>
        <p:nvSpPr>
          <p:cNvPr id="725" name="TextBox 724">
            <a:extLst>
              <a:ext uri="{FF2B5EF4-FFF2-40B4-BE49-F238E27FC236}">
                <a16:creationId xmlns:a16="http://schemas.microsoft.com/office/drawing/2014/main" id="{C6A7B662-0BD6-4B19-98D8-0B9F5ACE3C28}"/>
              </a:ext>
            </a:extLst>
          </p:cNvPr>
          <p:cNvSpPr txBox="1"/>
          <p:nvPr/>
        </p:nvSpPr>
        <p:spPr>
          <a:xfrm>
            <a:off x="3008078" y="2899619"/>
            <a:ext cx="370293" cy="215444"/>
          </a:xfrm>
          <a:prstGeom prst="rect">
            <a:avLst/>
          </a:prstGeom>
          <a:noFill/>
          <a:effectLst/>
        </p:spPr>
        <p:txBody>
          <a:bodyPr wrap="none" lIns="0" tIns="0" rIns="0" bIns="0" rtlCol="0" anchor="t">
            <a:spAutoFit/>
          </a:bodyPr>
          <a:lstStyle/>
          <a:p>
            <a:pPr algn="ctr"/>
            <a:r>
              <a:rPr lang="en-GB" sz="700" dirty="0">
                <a:solidFill>
                  <a:schemeClr val="tx2"/>
                </a:solidFill>
              </a:rPr>
              <a:t>Fan</a:t>
            </a:r>
            <a:br>
              <a:rPr lang="en-GB" sz="700" dirty="0">
                <a:solidFill>
                  <a:schemeClr val="tx2"/>
                </a:solidFill>
              </a:rPr>
            </a:br>
            <a:r>
              <a:rPr lang="en-GB" sz="700" dirty="0">
                <a:solidFill>
                  <a:schemeClr val="tx2"/>
                </a:solidFill>
              </a:rPr>
              <a:t>attributes</a:t>
            </a:r>
          </a:p>
        </p:txBody>
      </p:sp>
      <p:sp>
        <p:nvSpPr>
          <p:cNvPr id="726" name="TextBox 725">
            <a:extLst>
              <a:ext uri="{FF2B5EF4-FFF2-40B4-BE49-F238E27FC236}">
                <a16:creationId xmlns:a16="http://schemas.microsoft.com/office/drawing/2014/main" id="{0B1850AE-B8D5-4B6D-8E8D-23FF05CC721F}"/>
              </a:ext>
            </a:extLst>
          </p:cNvPr>
          <p:cNvSpPr txBox="1"/>
          <p:nvPr/>
        </p:nvSpPr>
        <p:spPr>
          <a:xfrm>
            <a:off x="3036129" y="3723675"/>
            <a:ext cx="314189" cy="215444"/>
          </a:xfrm>
          <a:prstGeom prst="rect">
            <a:avLst/>
          </a:prstGeom>
          <a:noFill/>
          <a:effectLst/>
        </p:spPr>
        <p:txBody>
          <a:bodyPr wrap="none" lIns="0" tIns="0" rIns="0" bIns="0" rtlCol="0" anchor="t">
            <a:spAutoFit/>
          </a:bodyPr>
          <a:lstStyle/>
          <a:p>
            <a:pPr algn="ctr"/>
            <a:r>
              <a:rPr lang="en-GB" sz="700" dirty="0">
                <a:solidFill>
                  <a:schemeClr val="tx2"/>
                </a:solidFill>
              </a:rPr>
              <a:t>Game</a:t>
            </a:r>
            <a:br>
              <a:rPr lang="en-GB" sz="700" dirty="0">
                <a:solidFill>
                  <a:schemeClr val="tx2"/>
                </a:solidFill>
              </a:rPr>
            </a:br>
            <a:r>
              <a:rPr lang="en-GB" sz="700" dirty="0">
                <a:solidFill>
                  <a:schemeClr val="tx2"/>
                </a:solidFill>
              </a:rPr>
              <a:t>stadium</a:t>
            </a:r>
          </a:p>
        </p:txBody>
      </p:sp>
      <p:sp>
        <p:nvSpPr>
          <p:cNvPr id="727" name="TextBox 726">
            <a:extLst>
              <a:ext uri="{FF2B5EF4-FFF2-40B4-BE49-F238E27FC236}">
                <a16:creationId xmlns:a16="http://schemas.microsoft.com/office/drawing/2014/main" id="{B30AE953-06A3-41B1-8F44-A99B4B8A862D}"/>
              </a:ext>
            </a:extLst>
          </p:cNvPr>
          <p:cNvSpPr txBox="1"/>
          <p:nvPr/>
        </p:nvSpPr>
        <p:spPr>
          <a:xfrm>
            <a:off x="3065785" y="4547732"/>
            <a:ext cx="254877" cy="215444"/>
          </a:xfrm>
          <a:prstGeom prst="rect">
            <a:avLst/>
          </a:prstGeom>
          <a:noFill/>
          <a:effectLst/>
        </p:spPr>
        <p:txBody>
          <a:bodyPr wrap="none" lIns="0" tIns="0" rIns="0" bIns="0" rtlCol="0" anchor="t">
            <a:spAutoFit/>
          </a:bodyPr>
          <a:lstStyle/>
          <a:p>
            <a:pPr algn="ctr"/>
            <a:r>
              <a:rPr lang="en-GB" sz="700" dirty="0">
                <a:solidFill>
                  <a:schemeClr val="tx2"/>
                </a:solidFill>
              </a:rPr>
              <a:t>Foam </a:t>
            </a:r>
            <a:br>
              <a:rPr lang="en-GB" sz="700" dirty="0">
                <a:solidFill>
                  <a:schemeClr val="tx2"/>
                </a:solidFill>
              </a:rPr>
            </a:br>
            <a:r>
              <a:rPr lang="en-GB" sz="700" dirty="0">
                <a:solidFill>
                  <a:schemeClr val="tx2"/>
                </a:solidFill>
              </a:rPr>
              <a:t>finger</a:t>
            </a:r>
          </a:p>
        </p:txBody>
      </p:sp>
      <p:sp>
        <p:nvSpPr>
          <p:cNvPr id="729" name="TextBox 728">
            <a:extLst>
              <a:ext uri="{FF2B5EF4-FFF2-40B4-BE49-F238E27FC236}">
                <a16:creationId xmlns:a16="http://schemas.microsoft.com/office/drawing/2014/main" id="{FAFE2413-C835-4402-B838-73F398B13A69}"/>
              </a:ext>
            </a:extLst>
          </p:cNvPr>
          <p:cNvSpPr txBox="1"/>
          <p:nvPr/>
        </p:nvSpPr>
        <p:spPr>
          <a:xfrm>
            <a:off x="2193085" y="2077494"/>
            <a:ext cx="338233" cy="215444"/>
          </a:xfrm>
          <a:prstGeom prst="rect">
            <a:avLst/>
          </a:prstGeom>
          <a:noFill/>
          <a:effectLst/>
        </p:spPr>
        <p:txBody>
          <a:bodyPr wrap="none" lIns="0" tIns="0" rIns="0" bIns="0" rtlCol="0" anchor="t">
            <a:spAutoFit/>
          </a:bodyPr>
          <a:lstStyle/>
          <a:p>
            <a:pPr algn="ctr"/>
            <a:r>
              <a:rPr lang="en-GB" sz="700" dirty="0">
                <a:solidFill>
                  <a:schemeClr val="tx2"/>
                </a:solidFill>
              </a:rPr>
              <a:t>Golf</a:t>
            </a:r>
            <a:br>
              <a:rPr lang="en-GB" sz="700" dirty="0">
                <a:solidFill>
                  <a:schemeClr val="tx2"/>
                </a:solidFill>
              </a:rPr>
            </a:br>
            <a:r>
              <a:rPr lang="en-GB" sz="700" dirty="0">
                <a:solidFill>
                  <a:schemeClr val="tx2"/>
                </a:solidFill>
              </a:rPr>
              <a:t>shooting</a:t>
            </a:r>
          </a:p>
        </p:txBody>
      </p:sp>
      <p:sp>
        <p:nvSpPr>
          <p:cNvPr id="730" name="TextBox 729">
            <a:extLst>
              <a:ext uri="{FF2B5EF4-FFF2-40B4-BE49-F238E27FC236}">
                <a16:creationId xmlns:a16="http://schemas.microsoft.com/office/drawing/2014/main" id="{D83FC67F-46CB-4167-BDC0-1C69E7DF1879}"/>
              </a:ext>
            </a:extLst>
          </p:cNvPr>
          <p:cNvSpPr txBox="1"/>
          <p:nvPr/>
        </p:nvSpPr>
        <p:spPr>
          <a:xfrm>
            <a:off x="2193085" y="2899619"/>
            <a:ext cx="338234" cy="215444"/>
          </a:xfrm>
          <a:prstGeom prst="rect">
            <a:avLst/>
          </a:prstGeom>
          <a:noFill/>
          <a:effectLst/>
        </p:spPr>
        <p:txBody>
          <a:bodyPr wrap="none" lIns="0" tIns="0" rIns="0" bIns="0" rtlCol="0" anchor="t">
            <a:spAutoFit/>
          </a:bodyPr>
          <a:lstStyle/>
          <a:p>
            <a:pPr algn="ctr"/>
            <a:r>
              <a:rPr lang="en-GB" sz="700" dirty="0">
                <a:solidFill>
                  <a:schemeClr val="tx2"/>
                </a:solidFill>
              </a:rPr>
              <a:t>Archery</a:t>
            </a:r>
            <a:br>
              <a:rPr lang="en-GB" sz="700" dirty="0">
                <a:solidFill>
                  <a:schemeClr val="tx2"/>
                </a:solidFill>
              </a:rPr>
            </a:br>
            <a:r>
              <a:rPr lang="en-GB" sz="700" dirty="0">
                <a:solidFill>
                  <a:schemeClr val="tx2"/>
                </a:solidFill>
              </a:rPr>
              <a:t>shooting</a:t>
            </a:r>
          </a:p>
        </p:txBody>
      </p:sp>
      <p:sp>
        <p:nvSpPr>
          <p:cNvPr id="731" name="TextBox 730">
            <a:extLst>
              <a:ext uri="{FF2B5EF4-FFF2-40B4-BE49-F238E27FC236}">
                <a16:creationId xmlns:a16="http://schemas.microsoft.com/office/drawing/2014/main" id="{286A2DE1-BEF1-4A28-9123-E34B08A527A3}"/>
              </a:ext>
            </a:extLst>
          </p:cNvPr>
          <p:cNvSpPr txBox="1"/>
          <p:nvPr/>
        </p:nvSpPr>
        <p:spPr>
          <a:xfrm>
            <a:off x="2202703" y="3723675"/>
            <a:ext cx="318998" cy="215444"/>
          </a:xfrm>
          <a:prstGeom prst="rect">
            <a:avLst/>
          </a:prstGeom>
          <a:noFill/>
          <a:effectLst/>
        </p:spPr>
        <p:txBody>
          <a:bodyPr wrap="none" lIns="0" tIns="0" rIns="0" bIns="0" rtlCol="0" anchor="t">
            <a:spAutoFit/>
          </a:bodyPr>
          <a:lstStyle/>
          <a:p>
            <a:pPr algn="ctr"/>
            <a:r>
              <a:rPr lang="en-GB" sz="700" dirty="0">
                <a:solidFill>
                  <a:schemeClr val="tx2"/>
                </a:solidFill>
              </a:rPr>
              <a:t>Referee</a:t>
            </a:r>
            <a:br>
              <a:rPr lang="en-GB" sz="700" dirty="0">
                <a:solidFill>
                  <a:schemeClr val="tx2"/>
                </a:solidFill>
              </a:rPr>
            </a:br>
            <a:r>
              <a:rPr lang="en-GB" sz="700" dirty="0">
                <a:solidFill>
                  <a:schemeClr val="tx2"/>
                </a:solidFill>
              </a:rPr>
              <a:t>card</a:t>
            </a:r>
          </a:p>
        </p:txBody>
      </p:sp>
      <p:sp>
        <p:nvSpPr>
          <p:cNvPr id="732" name="TextBox 731">
            <a:extLst>
              <a:ext uri="{FF2B5EF4-FFF2-40B4-BE49-F238E27FC236}">
                <a16:creationId xmlns:a16="http://schemas.microsoft.com/office/drawing/2014/main" id="{CD8A51F0-063F-4F96-8E25-972513655BBE}"/>
              </a:ext>
            </a:extLst>
          </p:cNvPr>
          <p:cNvSpPr txBox="1"/>
          <p:nvPr/>
        </p:nvSpPr>
        <p:spPr>
          <a:xfrm>
            <a:off x="2124958" y="4547732"/>
            <a:ext cx="474489" cy="215444"/>
          </a:xfrm>
          <a:prstGeom prst="rect">
            <a:avLst/>
          </a:prstGeom>
          <a:noFill/>
          <a:effectLst/>
        </p:spPr>
        <p:txBody>
          <a:bodyPr wrap="none" lIns="0" tIns="0" rIns="0" bIns="0" rtlCol="0" anchor="t">
            <a:spAutoFit/>
          </a:bodyPr>
          <a:lstStyle/>
          <a:p>
            <a:pPr algn="ctr"/>
            <a:r>
              <a:rPr lang="en-GB" sz="700" dirty="0">
                <a:solidFill>
                  <a:schemeClr val="tx2"/>
                </a:solidFill>
              </a:rPr>
              <a:t>Game</a:t>
            </a:r>
            <a:br>
              <a:rPr lang="en-GB" sz="700" dirty="0">
                <a:solidFill>
                  <a:schemeClr val="tx2"/>
                </a:solidFill>
              </a:rPr>
            </a:br>
            <a:r>
              <a:rPr lang="en-GB" sz="700" dirty="0">
                <a:solidFill>
                  <a:schemeClr val="tx2"/>
                </a:solidFill>
              </a:rPr>
              <a:t>score board</a:t>
            </a:r>
          </a:p>
        </p:txBody>
      </p:sp>
      <p:sp>
        <p:nvSpPr>
          <p:cNvPr id="734" name="TextBox 733">
            <a:extLst>
              <a:ext uri="{FF2B5EF4-FFF2-40B4-BE49-F238E27FC236}">
                <a16:creationId xmlns:a16="http://schemas.microsoft.com/office/drawing/2014/main" id="{B72C45A0-6664-407B-86D1-A2E9A8A7DBB3}"/>
              </a:ext>
            </a:extLst>
          </p:cNvPr>
          <p:cNvSpPr txBox="1"/>
          <p:nvPr/>
        </p:nvSpPr>
        <p:spPr>
          <a:xfrm>
            <a:off x="1305157" y="2077494"/>
            <a:ext cx="452047" cy="215444"/>
          </a:xfrm>
          <a:prstGeom prst="rect">
            <a:avLst/>
          </a:prstGeom>
          <a:noFill/>
          <a:effectLst/>
        </p:spPr>
        <p:txBody>
          <a:bodyPr wrap="none" lIns="0" tIns="0" rIns="0" bIns="0" rtlCol="0" anchor="t">
            <a:spAutoFit/>
          </a:bodyPr>
          <a:lstStyle/>
          <a:p>
            <a:pPr algn="ctr"/>
            <a:r>
              <a:rPr lang="en-GB" sz="700" dirty="0">
                <a:solidFill>
                  <a:schemeClr val="tx2"/>
                </a:solidFill>
              </a:rPr>
              <a:t>Champions</a:t>
            </a:r>
            <a:br>
              <a:rPr lang="en-GB" sz="700" dirty="0">
                <a:solidFill>
                  <a:schemeClr val="tx2"/>
                </a:solidFill>
              </a:rPr>
            </a:br>
            <a:r>
              <a:rPr lang="en-GB" sz="700" dirty="0">
                <a:solidFill>
                  <a:schemeClr val="tx2"/>
                </a:solidFill>
              </a:rPr>
              <a:t>cup</a:t>
            </a:r>
          </a:p>
        </p:txBody>
      </p:sp>
      <p:sp>
        <p:nvSpPr>
          <p:cNvPr id="735" name="TextBox 734">
            <a:extLst>
              <a:ext uri="{FF2B5EF4-FFF2-40B4-BE49-F238E27FC236}">
                <a16:creationId xmlns:a16="http://schemas.microsoft.com/office/drawing/2014/main" id="{6152A246-6042-40FC-9D9D-8EEA60EAA9D5}"/>
              </a:ext>
            </a:extLst>
          </p:cNvPr>
          <p:cNvSpPr txBox="1"/>
          <p:nvPr/>
        </p:nvSpPr>
        <p:spPr>
          <a:xfrm>
            <a:off x="1285120" y="2899619"/>
            <a:ext cx="492121" cy="215444"/>
          </a:xfrm>
          <a:prstGeom prst="rect">
            <a:avLst/>
          </a:prstGeom>
          <a:noFill/>
          <a:effectLst/>
        </p:spPr>
        <p:txBody>
          <a:bodyPr wrap="none" lIns="0" tIns="0" rIns="0" bIns="0" rtlCol="0" anchor="t">
            <a:spAutoFit/>
          </a:bodyPr>
          <a:lstStyle/>
          <a:p>
            <a:pPr algn="ctr"/>
            <a:r>
              <a:rPr lang="en-GB" sz="700" dirty="0">
                <a:solidFill>
                  <a:schemeClr val="tx2"/>
                </a:solidFill>
              </a:rPr>
              <a:t>Cheerleader</a:t>
            </a:r>
            <a:br>
              <a:rPr lang="en-GB" sz="700" dirty="0">
                <a:solidFill>
                  <a:schemeClr val="tx2"/>
                </a:solidFill>
              </a:rPr>
            </a:br>
            <a:r>
              <a:rPr lang="en-GB" sz="700" dirty="0">
                <a:solidFill>
                  <a:schemeClr val="tx2"/>
                </a:solidFill>
              </a:rPr>
              <a:t>support</a:t>
            </a:r>
          </a:p>
        </p:txBody>
      </p:sp>
      <p:sp>
        <p:nvSpPr>
          <p:cNvPr id="736" name="TextBox 735">
            <a:extLst>
              <a:ext uri="{FF2B5EF4-FFF2-40B4-BE49-F238E27FC236}">
                <a16:creationId xmlns:a16="http://schemas.microsoft.com/office/drawing/2014/main" id="{67D20651-8630-4E77-A425-461C51D607BE}"/>
              </a:ext>
            </a:extLst>
          </p:cNvPr>
          <p:cNvSpPr txBox="1"/>
          <p:nvPr/>
        </p:nvSpPr>
        <p:spPr>
          <a:xfrm>
            <a:off x="1412557" y="3723675"/>
            <a:ext cx="237244" cy="215444"/>
          </a:xfrm>
          <a:prstGeom prst="rect">
            <a:avLst/>
          </a:prstGeom>
          <a:noFill/>
          <a:effectLst/>
        </p:spPr>
        <p:txBody>
          <a:bodyPr wrap="none" lIns="0" tIns="0" rIns="0" bIns="0" rtlCol="0" anchor="t">
            <a:spAutoFit/>
          </a:bodyPr>
          <a:lstStyle/>
          <a:p>
            <a:pPr algn="ctr"/>
            <a:r>
              <a:rPr lang="en-GB" sz="700" dirty="0">
                <a:solidFill>
                  <a:schemeClr val="tx2"/>
                </a:solidFill>
              </a:rPr>
              <a:t>Finish</a:t>
            </a:r>
            <a:br>
              <a:rPr lang="en-GB" sz="700" dirty="0">
                <a:solidFill>
                  <a:schemeClr val="tx2"/>
                </a:solidFill>
              </a:rPr>
            </a:br>
            <a:r>
              <a:rPr lang="en-GB" sz="700" dirty="0">
                <a:solidFill>
                  <a:schemeClr val="tx2"/>
                </a:solidFill>
              </a:rPr>
              <a:t>line</a:t>
            </a:r>
          </a:p>
        </p:txBody>
      </p:sp>
      <p:sp>
        <p:nvSpPr>
          <p:cNvPr id="737" name="TextBox 736">
            <a:extLst>
              <a:ext uri="{FF2B5EF4-FFF2-40B4-BE49-F238E27FC236}">
                <a16:creationId xmlns:a16="http://schemas.microsoft.com/office/drawing/2014/main" id="{A9ED370B-427C-4339-A364-930034CD48C4}"/>
              </a:ext>
            </a:extLst>
          </p:cNvPr>
          <p:cNvSpPr txBox="1"/>
          <p:nvPr/>
        </p:nvSpPr>
        <p:spPr>
          <a:xfrm>
            <a:off x="1245845" y="4547732"/>
            <a:ext cx="570669" cy="215444"/>
          </a:xfrm>
          <a:prstGeom prst="rect">
            <a:avLst/>
          </a:prstGeom>
          <a:noFill/>
          <a:effectLst/>
        </p:spPr>
        <p:txBody>
          <a:bodyPr wrap="none" lIns="0" tIns="0" rIns="0" bIns="0" rtlCol="0" anchor="t">
            <a:spAutoFit/>
          </a:bodyPr>
          <a:lstStyle/>
          <a:p>
            <a:pPr algn="ctr"/>
            <a:r>
              <a:rPr lang="en-GB" sz="700" dirty="0">
                <a:solidFill>
                  <a:schemeClr val="tx2"/>
                </a:solidFill>
              </a:rPr>
              <a:t>Championship</a:t>
            </a:r>
            <a:br>
              <a:rPr lang="en-GB" sz="700" dirty="0">
                <a:solidFill>
                  <a:schemeClr val="tx2"/>
                </a:solidFill>
              </a:rPr>
            </a:br>
            <a:r>
              <a:rPr lang="en-GB" sz="700" dirty="0">
                <a:solidFill>
                  <a:schemeClr val="tx2"/>
                </a:solidFill>
              </a:rPr>
              <a:t>belt</a:t>
            </a:r>
          </a:p>
        </p:txBody>
      </p:sp>
    </p:spTree>
    <p:extLst>
      <p:ext uri="{BB962C8B-B14F-4D97-AF65-F5344CB8AC3E}">
        <p14:creationId xmlns:p14="http://schemas.microsoft.com/office/powerpoint/2010/main" val="24454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 name="Objekt 70" hidden="1">
            <a:extLst>
              <a:ext uri="{FF2B5EF4-FFF2-40B4-BE49-F238E27FC236}">
                <a16:creationId xmlns:a16="http://schemas.microsoft.com/office/drawing/2014/main" id="{E2F0AD72-5EC3-4BAC-B830-2A645F4CE734}"/>
              </a:ext>
            </a:extLst>
          </p:cNvPr>
          <p:cNvGraphicFramePr>
            <a:graphicFrameLocks noChangeAspect="1"/>
          </p:cNvGraphicFramePr>
          <p:nvPr>
            <p:custDataLst>
              <p:tags r:id="rId1"/>
            </p:custDataLst>
            <p:extLst>
              <p:ext uri="{D42A27DB-BD31-4B8C-83A1-F6EECF244321}">
                <p14:modId xmlns:p14="http://schemas.microsoft.com/office/powerpoint/2010/main" val="3188270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71" name="Objekt 70" hidden="1">
                        <a:extLst>
                          <a:ext uri="{FF2B5EF4-FFF2-40B4-BE49-F238E27FC236}">
                            <a16:creationId xmlns:a16="http://schemas.microsoft.com/office/drawing/2014/main" id="{E2F0AD72-5EC3-4BAC-B830-2A645F4CE73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123C7967-684F-43A4-9F8E-B37A69AFFED5}"/>
              </a:ext>
            </a:extLst>
          </p:cNvPr>
          <p:cNvSpPr>
            <a:spLocks noGrp="1"/>
          </p:cNvSpPr>
          <p:nvPr>
            <p:ph type="sldNum" sz="quarter" idx="11"/>
          </p:nvPr>
        </p:nvSpPr>
        <p:spPr/>
        <p:txBody>
          <a:bodyPr/>
          <a:lstStyle/>
          <a:p>
            <a:fld id="{D56DB8AA-803C-49D2-90AA-1140CE72DCD7}" type="slidenum">
              <a:rPr lang="en-GB" smtClean="0"/>
              <a:pPr/>
              <a:t>4</a:t>
            </a:fld>
            <a:endParaRPr lang="en-GB" dirty="0"/>
          </a:p>
        </p:txBody>
      </p:sp>
      <p:sp>
        <p:nvSpPr>
          <p:cNvPr id="37" name="Title 36">
            <a:extLst>
              <a:ext uri="{FF2B5EF4-FFF2-40B4-BE49-F238E27FC236}">
                <a16:creationId xmlns:a16="http://schemas.microsoft.com/office/drawing/2014/main" id="{7D35A709-8906-153D-112D-89227524087D}"/>
              </a:ext>
            </a:extLst>
          </p:cNvPr>
          <p:cNvSpPr>
            <a:spLocks noGrp="1"/>
          </p:cNvSpPr>
          <p:nvPr>
            <p:ph type="title"/>
          </p:nvPr>
        </p:nvSpPr>
        <p:spPr/>
        <p:txBody>
          <a:bodyPr/>
          <a:lstStyle/>
          <a:p>
            <a:r>
              <a:rPr lang="en-GB" sz="2000" dirty="0"/>
              <a:t>Munich Re Icons 2/12</a:t>
            </a:r>
            <a:br>
              <a:rPr lang="en-GB" sz="2000" dirty="0"/>
            </a:br>
            <a:endParaRPr lang="en-US" dirty="0"/>
          </a:p>
        </p:txBody>
      </p:sp>
      <p:sp>
        <p:nvSpPr>
          <p:cNvPr id="5" name="TextBox 4">
            <a:extLst>
              <a:ext uri="{FF2B5EF4-FFF2-40B4-BE49-F238E27FC236}">
                <a16:creationId xmlns:a16="http://schemas.microsoft.com/office/drawing/2014/main" id="{64577B48-C5C9-43A5-BC73-F9E72C43BCC0}"/>
              </a:ext>
            </a:extLst>
          </p:cNvPr>
          <p:cNvSpPr txBox="1"/>
          <p:nvPr/>
        </p:nvSpPr>
        <p:spPr>
          <a:xfrm>
            <a:off x="717106" y="2077494"/>
            <a:ext cx="153888" cy="107722"/>
          </a:xfrm>
          <a:prstGeom prst="rect">
            <a:avLst/>
          </a:prstGeom>
          <a:noFill/>
          <a:effectLst/>
        </p:spPr>
        <p:txBody>
          <a:bodyPr wrap="none" lIns="0" tIns="0" rIns="0" bIns="0" rtlCol="0" anchor="t">
            <a:spAutoFit/>
          </a:bodyPr>
          <a:lstStyle/>
          <a:p>
            <a:pPr algn="ctr"/>
            <a:r>
              <a:rPr lang="en-GB" sz="700" dirty="0">
                <a:solidFill>
                  <a:schemeClr val="tx2"/>
                </a:solidFill>
              </a:rPr>
              <a:t>Bus</a:t>
            </a:r>
          </a:p>
        </p:txBody>
      </p:sp>
      <p:sp>
        <p:nvSpPr>
          <p:cNvPr id="6" name="TextBox 5">
            <a:extLst>
              <a:ext uri="{FF2B5EF4-FFF2-40B4-BE49-F238E27FC236}">
                <a16:creationId xmlns:a16="http://schemas.microsoft.com/office/drawing/2014/main" id="{6CE70108-4870-41F4-8761-3D0645905572}"/>
              </a:ext>
            </a:extLst>
          </p:cNvPr>
          <p:cNvSpPr txBox="1"/>
          <p:nvPr/>
        </p:nvSpPr>
        <p:spPr>
          <a:xfrm>
            <a:off x="612910" y="2899619"/>
            <a:ext cx="362280" cy="107722"/>
          </a:xfrm>
          <a:prstGeom prst="rect">
            <a:avLst/>
          </a:prstGeom>
          <a:noFill/>
          <a:effectLst/>
        </p:spPr>
        <p:txBody>
          <a:bodyPr wrap="none" lIns="0" tIns="0" rIns="0" bIns="0" rtlCol="0" anchor="t">
            <a:spAutoFit/>
          </a:bodyPr>
          <a:lstStyle/>
          <a:p>
            <a:pPr algn="ctr"/>
            <a:r>
              <a:rPr lang="en-GB" sz="700" dirty="0">
                <a:solidFill>
                  <a:schemeClr val="tx2"/>
                </a:solidFill>
              </a:rPr>
              <a:t>Calendar</a:t>
            </a:r>
          </a:p>
        </p:txBody>
      </p:sp>
      <p:sp>
        <p:nvSpPr>
          <p:cNvPr id="7" name="TextBox 6">
            <a:extLst>
              <a:ext uri="{FF2B5EF4-FFF2-40B4-BE49-F238E27FC236}">
                <a16:creationId xmlns:a16="http://schemas.microsoft.com/office/drawing/2014/main" id="{FEE46E72-3B0B-46A5-A9CC-CD9D75450882}"/>
              </a:ext>
            </a:extLst>
          </p:cNvPr>
          <p:cNvSpPr txBox="1"/>
          <p:nvPr/>
        </p:nvSpPr>
        <p:spPr>
          <a:xfrm>
            <a:off x="462227" y="3723675"/>
            <a:ext cx="663644" cy="107722"/>
          </a:xfrm>
          <a:prstGeom prst="rect">
            <a:avLst/>
          </a:prstGeom>
          <a:noFill/>
          <a:effectLst/>
        </p:spPr>
        <p:txBody>
          <a:bodyPr wrap="none" lIns="0" tIns="0" rIns="0" bIns="0" rtlCol="0" anchor="t">
            <a:spAutoFit/>
          </a:bodyPr>
          <a:lstStyle/>
          <a:p>
            <a:pPr algn="ctr"/>
            <a:r>
              <a:rPr lang="en-GB" sz="700" dirty="0">
                <a:solidFill>
                  <a:schemeClr val="tx2"/>
                </a:solidFill>
              </a:rPr>
              <a:t>Car autonomous</a:t>
            </a:r>
          </a:p>
        </p:txBody>
      </p:sp>
      <p:sp>
        <p:nvSpPr>
          <p:cNvPr id="8" name="TextBox 7">
            <a:extLst>
              <a:ext uri="{FF2B5EF4-FFF2-40B4-BE49-F238E27FC236}">
                <a16:creationId xmlns:a16="http://schemas.microsoft.com/office/drawing/2014/main" id="{3EF0DEA6-059D-42BE-88A9-C52F777ACA11}"/>
              </a:ext>
            </a:extLst>
          </p:cNvPr>
          <p:cNvSpPr txBox="1"/>
          <p:nvPr/>
        </p:nvSpPr>
        <p:spPr>
          <a:xfrm>
            <a:off x="502304" y="4547732"/>
            <a:ext cx="583493" cy="107722"/>
          </a:xfrm>
          <a:prstGeom prst="rect">
            <a:avLst/>
          </a:prstGeom>
          <a:noFill/>
          <a:effectLst/>
        </p:spPr>
        <p:txBody>
          <a:bodyPr wrap="none" lIns="0" tIns="0" rIns="0" bIns="0" rtlCol="0" anchor="t">
            <a:spAutoFit/>
          </a:bodyPr>
          <a:lstStyle/>
          <a:p>
            <a:pPr algn="ctr"/>
            <a:r>
              <a:rPr lang="en-GB" sz="700" dirty="0">
                <a:solidFill>
                  <a:schemeClr val="tx2"/>
                </a:solidFill>
              </a:rPr>
              <a:t>Chart negative</a:t>
            </a:r>
          </a:p>
        </p:txBody>
      </p:sp>
      <p:sp>
        <p:nvSpPr>
          <p:cNvPr id="9" name="TextBox 8">
            <a:extLst>
              <a:ext uri="{FF2B5EF4-FFF2-40B4-BE49-F238E27FC236}">
                <a16:creationId xmlns:a16="http://schemas.microsoft.com/office/drawing/2014/main" id="{D7AE6B3F-E971-4D04-9088-D463C51A0CBB}"/>
              </a:ext>
            </a:extLst>
          </p:cNvPr>
          <p:cNvSpPr txBox="1"/>
          <p:nvPr/>
        </p:nvSpPr>
        <p:spPr>
          <a:xfrm>
            <a:off x="1558157" y="2077494"/>
            <a:ext cx="562655" cy="107722"/>
          </a:xfrm>
          <a:prstGeom prst="rect">
            <a:avLst/>
          </a:prstGeom>
          <a:noFill/>
          <a:effectLst/>
        </p:spPr>
        <p:txBody>
          <a:bodyPr wrap="none" lIns="0" tIns="0" rIns="0" bIns="0" rtlCol="0" anchor="t">
            <a:spAutoFit/>
          </a:bodyPr>
          <a:lstStyle/>
          <a:p>
            <a:pPr algn="ctr"/>
            <a:r>
              <a:rPr lang="en-GB" sz="700" dirty="0">
                <a:solidFill>
                  <a:schemeClr val="tx2"/>
                </a:solidFill>
              </a:rPr>
              <a:t>Business card</a:t>
            </a:r>
          </a:p>
        </p:txBody>
      </p:sp>
      <p:sp>
        <p:nvSpPr>
          <p:cNvPr id="10" name="TextBox 9">
            <a:extLst>
              <a:ext uri="{FF2B5EF4-FFF2-40B4-BE49-F238E27FC236}">
                <a16:creationId xmlns:a16="http://schemas.microsoft.com/office/drawing/2014/main" id="{7F6FC74D-ECD8-4FF7-9099-A823B8F1EB21}"/>
              </a:ext>
            </a:extLst>
          </p:cNvPr>
          <p:cNvSpPr txBox="1"/>
          <p:nvPr/>
        </p:nvSpPr>
        <p:spPr>
          <a:xfrm>
            <a:off x="1580599" y="2899619"/>
            <a:ext cx="517770" cy="107722"/>
          </a:xfrm>
          <a:prstGeom prst="rect">
            <a:avLst/>
          </a:prstGeom>
          <a:noFill/>
          <a:effectLst/>
        </p:spPr>
        <p:txBody>
          <a:bodyPr wrap="none" lIns="0" tIns="0" rIns="0" bIns="0" rtlCol="0" anchor="t">
            <a:spAutoFit/>
          </a:bodyPr>
          <a:lstStyle/>
          <a:p>
            <a:pPr algn="ctr"/>
            <a:r>
              <a:rPr lang="en-GB" sz="700" dirty="0">
                <a:solidFill>
                  <a:schemeClr val="tx2"/>
                </a:solidFill>
              </a:rPr>
              <a:t>Call to action</a:t>
            </a:r>
          </a:p>
        </p:txBody>
      </p:sp>
      <p:sp>
        <p:nvSpPr>
          <p:cNvPr id="11" name="TextBox 10">
            <a:extLst>
              <a:ext uri="{FF2B5EF4-FFF2-40B4-BE49-F238E27FC236}">
                <a16:creationId xmlns:a16="http://schemas.microsoft.com/office/drawing/2014/main" id="{B455D5FB-3431-4406-AFCE-BC4FE83961C2}"/>
              </a:ext>
            </a:extLst>
          </p:cNvPr>
          <p:cNvSpPr txBox="1"/>
          <p:nvPr/>
        </p:nvSpPr>
        <p:spPr>
          <a:xfrm>
            <a:off x="1637505" y="3723675"/>
            <a:ext cx="403957" cy="107722"/>
          </a:xfrm>
          <a:prstGeom prst="rect">
            <a:avLst/>
          </a:prstGeom>
          <a:noFill/>
          <a:effectLst/>
        </p:spPr>
        <p:txBody>
          <a:bodyPr wrap="none" lIns="0" tIns="0" rIns="0" bIns="0" rtlCol="0" anchor="t">
            <a:spAutoFit/>
          </a:bodyPr>
          <a:lstStyle/>
          <a:p>
            <a:pPr algn="ctr"/>
            <a:r>
              <a:rPr lang="en-GB" sz="700" dirty="0">
                <a:solidFill>
                  <a:schemeClr val="tx2"/>
                </a:solidFill>
              </a:rPr>
              <a:t>Certificate</a:t>
            </a:r>
          </a:p>
        </p:txBody>
      </p:sp>
      <p:sp>
        <p:nvSpPr>
          <p:cNvPr id="12" name="TextBox 11">
            <a:extLst>
              <a:ext uri="{FF2B5EF4-FFF2-40B4-BE49-F238E27FC236}">
                <a16:creationId xmlns:a16="http://schemas.microsoft.com/office/drawing/2014/main" id="{E1FB367D-A90D-4F4D-AC12-5CE0144C579A}"/>
              </a:ext>
            </a:extLst>
          </p:cNvPr>
          <p:cNvSpPr txBox="1"/>
          <p:nvPr/>
        </p:nvSpPr>
        <p:spPr>
          <a:xfrm>
            <a:off x="1612659" y="4547732"/>
            <a:ext cx="453650" cy="107722"/>
          </a:xfrm>
          <a:prstGeom prst="rect">
            <a:avLst/>
          </a:prstGeom>
          <a:noFill/>
          <a:effectLst/>
        </p:spPr>
        <p:txBody>
          <a:bodyPr wrap="none" lIns="0" tIns="0" rIns="0" bIns="0" rtlCol="0" anchor="t">
            <a:spAutoFit/>
          </a:bodyPr>
          <a:lstStyle/>
          <a:p>
            <a:pPr algn="ctr"/>
            <a:r>
              <a:rPr lang="en-GB" sz="700" dirty="0">
                <a:solidFill>
                  <a:schemeClr val="tx2"/>
                </a:solidFill>
              </a:rPr>
              <a:t>Checkmark</a:t>
            </a:r>
          </a:p>
        </p:txBody>
      </p:sp>
      <p:sp>
        <p:nvSpPr>
          <p:cNvPr id="13" name="TextBox 12">
            <a:extLst>
              <a:ext uri="{FF2B5EF4-FFF2-40B4-BE49-F238E27FC236}">
                <a16:creationId xmlns:a16="http://schemas.microsoft.com/office/drawing/2014/main" id="{BB404664-EEED-4416-9562-2362F72B945C}"/>
              </a:ext>
            </a:extLst>
          </p:cNvPr>
          <p:cNvSpPr txBox="1"/>
          <p:nvPr/>
        </p:nvSpPr>
        <p:spPr>
          <a:xfrm>
            <a:off x="2562714" y="2077494"/>
            <a:ext cx="644408" cy="215444"/>
          </a:xfrm>
          <a:prstGeom prst="rect">
            <a:avLst/>
          </a:prstGeom>
          <a:noFill/>
          <a:effectLst/>
        </p:spPr>
        <p:txBody>
          <a:bodyPr wrap="none" lIns="0" tIns="0" rIns="0" bIns="0" rtlCol="0" anchor="t">
            <a:spAutoFit/>
          </a:bodyPr>
          <a:lstStyle/>
          <a:p>
            <a:pPr algn="ctr"/>
            <a:r>
              <a:rPr lang="en-GB" sz="700" dirty="0">
                <a:solidFill>
                  <a:schemeClr val="tx2"/>
                </a:solidFill>
              </a:rPr>
              <a:t>Business</a:t>
            </a:r>
            <a:br>
              <a:rPr lang="en-GB" sz="700" dirty="0">
                <a:solidFill>
                  <a:schemeClr val="tx2"/>
                </a:solidFill>
              </a:rPr>
            </a:br>
            <a:r>
              <a:rPr lang="en-GB" sz="700" dirty="0">
                <a:solidFill>
                  <a:schemeClr val="tx2"/>
                </a:solidFill>
              </a:rPr>
              <a:t>interruption 2 px</a:t>
            </a:r>
          </a:p>
        </p:txBody>
      </p:sp>
      <p:sp>
        <p:nvSpPr>
          <p:cNvPr id="14" name="TextBox 13">
            <a:extLst>
              <a:ext uri="{FF2B5EF4-FFF2-40B4-BE49-F238E27FC236}">
                <a16:creationId xmlns:a16="http://schemas.microsoft.com/office/drawing/2014/main" id="{10A03AE8-12FA-458C-B877-3526973B243B}"/>
              </a:ext>
            </a:extLst>
          </p:cNvPr>
          <p:cNvSpPr txBox="1"/>
          <p:nvPr/>
        </p:nvSpPr>
        <p:spPr>
          <a:xfrm>
            <a:off x="2725419" y="2899619"/>
            <a:ext cx="318998" cy="107722"/>
          </a:xfrm>
          <a:prstGeom prst="rect">
            <a:avLst/>
          </a:prstGeom>
          <a:noFill/>
          <a:effectLst/>
        </p:spPr>
        <p:txBody>
          <a:bodyPr wrap="none" lIns="0" tIns="0" rIns="0" bIns="0" rtlCol="0" anchor="t">
            <a:spAutoFit/>
          </a:bodyPr>
          <a:lstStyle/>
          <a:p>
            <a:pPr algn="ctr"/>
            <a:r>
              <a:rPr lang="en-GB" sz="700" dirty="0">
                <a:solidFill>
                  <a:schemeClr val="tx2"/>
                </a:solidFill>
              </a:rPr>
              <a:t>Camera</a:t>
            </a:r>
          </a:p>
        </p:txBody>
      </p:sp>
      <p:sp>
        <p:nvSpPr>
          <p:cNvPr id="15" name="TextBox 14">
            <a:extLst>
              <a:ext uri="{FF2B5EF4-FFF2-40B4-BE49-F238E27FC236}">
                <a16:creationId xmlns:a16="http://schemas.microsoft.com/office/drawing/2014/main" id="{55406610-24A1-4C14-A327-03700D9AA3F3}"/>
              </a:ext>
            </a:extLst>
          </p:cNvPr>
          <p:cNvSpPr txBox="1"/>
          <p:nvPr/>
        </p:nvSpPr>
        <p:spPr>
          <a:xfrm>
            <a:off x="2735036" y="3723675"/>
            <a:ext cx="299762" cy="215444"/>
          </a:xfrm>
          <a:prstGeom prst="rect">
            <a:avLst/>
          </a:prstGeom>
          <a:noFill/>
          <a:effectLst/>
        </p:spPr>
        <p:txBody>
          <a:bodyPr wrap="none" lIns="0" tIns="0" rIns="0" bIns="0" rtlCol="0" anchor="t">
            <a:spAutoFit/>
          </a:bodyPr>
          <a:lstStyle/>
          <a:p>
            <a:pPr algn="ctr"/>
            <a:r>
              <a:rPr lang="en-GB" sz="700" dirty="0">
                <a:solidFill>
                  <a:schemeClr val="tx2"/>
                </a:solidFill>
              </a:rPr>
              <a:t>chart_</a:t>
            </a:r>
            <a:br>
              <a:rPr lang="en-GB" sz="700" dirty="0">
                <a:solidFill>
                  <a:schemeClr val="tx2"/>
                </a:solidFill>
              </a:rPr>
            </a:br>
            <a:r>
              <a:rPr lang="en-GB" sz="700" dirty="0">
                <a:solidFill>
                  <a:schemeClr val="tx2"/>
                </a:solidFill>
              </a:rPr>
              <a:t>percent</a:t>
            </a:r>
          </a:p>
        </p:txBody>
      </p:sp>
      <p:sp>
        <p:nvSpPr>
          <p:cNvPr id="16" name="TextBox 15">
            <a:extLst>
              <a:ext uri="{FF2B5EF4-FFF2-40B4-BE49-F238E27FC236}">
                <a16:creationId xmlns:a16="http://schemas.microsoft.com/office/drawing/2014/main" id="{C6B7A30F-2A53-41FD-AABB-6D42DA0C0E9A}"/>
              </a:ext>
            </a:extLst>
          </p:cNvPr>
          <p:cNvSpPr txBox="1"/>
          <p:nvPr/>
        </p:nvSpPr>
        <p:spPr>
          <a:xfrm>
            <a:off x="2758282" y="4547732"/>
            <a:ext cx="253275" cy="107722"/>
          </a:xfrm>
          <a:prstGeom prst="rect">
            <a:avLst/>
          </a:prstGeom>
          <a:noFill/>
          <a:effectLst/>
        </p:spPr>
        <p:txBody>
          <a:bodyPr wrap="none" lIns="0" tIns="0" rIns="0" bIns="0" rtlCol="0" anchor="t">
            <a:spAutoFit/>
          </a:bodyPr>
          <a:lstStyle/>
          <a:p>
            <a:pPr algn="ctr"/>
            <a:r>
              <a:rPr lang="en-GB" sz="700" dirty="0">
                <a:solidFill>
                  <a:schemeClr val="tx2"/>
                </a:solidFill>
              </a:rPr>
              <a:t>Circuit</a:t>
            </a:r>
          </a:p>
        </p:txBody>
      </p:sp>
      <p:sp>
        <p:nvSpPr>
          <p:cNvPr id="17" name="TextBox 16">
            <a:extLst>
              <a:ext uri="{FF2B5EF4-FFF2-40B4-BE49-F238E27FC236}">
                <a16:creationId xmlns:a16="http://schemas.microsoft.com/office/drawing/2014/main" id="{56065402-5556-439B-B5B1-2D2305B4DA3F}"/>
              </a:ext>
            </a:extLst>
          </p:cNvPr>
          <p:cNvSpPr txBox="1"/>
          <p:nvPr/>
        </p:nvSpPr>
        <p:spPr>
          <a:xfrm>
            <a:off x="3608147" y="2077494"/>
            <a:ext cx="644408" cy="215444"/>
          </a:xfrm>
          <a:prstGeom prst="rect">
            <a:avLst/>
          </a:prstGeom>
          <a:noFill/>
          <a:effectLst/>
        </p:spPr>
        <p:txBody>
          <a:bodyPr wrap="none" lIns="0" tIns="0" rIns="0" bIns="0" rtlCol="0" anchor="t">
            <a:spAutoFit/>
          </a:bodyPr>
          <a:lstStyle/>
          <a:p>
            <a:pPr algn="ctr"/>
            <a:r>
              <a:rPr lang="en-GB" sz="700" dirty="0">
                <a:solidFill>
                  <a:schemeClr val="tx2"/>
                </a:solidFill>
              </a:rPr>
              <a:t>Business</a:t>
            </a:r>
            <a:br>
              <a:rPr lang="en-GB" sz="700" dirty="0">
                <a:solidFill>
                  <a:schemeClr val="tx2"/>
                </a:solidFill>
              </a:rPr>
            </a:br>
            <a:r>
              <a:rPr lang="en-GB" sz="700" dirty="0">
                <a:solidFill>
                  <a:schemeClr val="tx2"/>
                </a:solidFill>
              </a:rPr>
              <a:t>interruption 4 px</a:t>
            </a:r>
          </a:p>
        </p:txBody>
      </p:sp>
      <p:sp>
        <p:nvSpPr>
          <p:cNvPr id="18" name="TextBox 17">
            <a:extLst>
              <a:ext uri="{FF2B5EF4-FFF2-40B4-BE49-F238E27FC236}">
                <a16:creationId xmlns:a16="http://schemas.microsoft.com/office/drawing/2014/main" id="{E47A6F2E-6EB7-4828-8B15-963BF3EA08AA}"/>
              </a:ext>
            </a:extLst>
          </p:cNvPr>
          <p:cNvSpPr txBox="1"/>
          <p:nvPr/>
        </p:nvSpPr>
        <p:spPr>
          <a:xfrm>
            <a:off x="3858216" y="2899619"/>
            <a:ext cx="144271" cy="107722"/>
          </a:xfrm>
          <a:prstGeom prst="rect">
            <a:avLst/>
          </a:prstGeom>
          <a:noFill/>
          <a:effectLst/>
        </p:spPr>
        <p:txBody>
          <a:bodyPr wrap="none" lIns="0" tIns="0" rIns="0" bIns="0" rtlCol="0" anchor="t">
            <a:spAutoFit/>
          </a:bodyPr>
          <a:lstStyle/>
          <a:p>
            <a:pPr algn="ctr"/>
            <a:r>
              <a:rPr lang="en-GB" sz="700" dirty="0">
                <a:solidFill>
                  <a:schemeClr val="tx2"/>
                </a:solidFill>
              </a:rPr>
              <a:t>Car</a:t>
            </a:r>
          </a:p>
        </p:txBody>
      </p:sp>
      <p:sp>
        <p:nvSpPr>
          <p:cNvPr id="19" name="TextBox 18">
            <a:extLst>
              <a:ext uri="{FF2B5EF4-FFF2-40B4-BE49-F238E27FC236}">
                <a16:creationId xmlns:a16="http://schemas.microsoft.com/office/drawing/2014/main" id="{1071A549-333C-4796-B550-C8220AE424B4}"/>
              </a:ext>
            </a:extLst>
          </p:cNvPr>
          <p:cNvSpPr txBox="1"/>
          <p:nvPr/>
        </p:nvSpPr>
        <p:spPr>
          <a:xfrm>
            <a:off x="3656237" y="3723675"/>
            <a:ext cx="548228" cy="107722"/>
          </a:xfrm>
          <a:prstGeom prst="rect">
            <a:avLst/>
          </a:prstGeom>
          <a:noFill/>
          <a:effectLst/>
        </p:spPr>
        <p:txBody>
          <a:bodyPr wrap="none" lIns="0" tIns="0" rIns="0" bIns="0" rtlCol="0" anchor="t">
            <a:spAutoFit/>
          </a:bodyPr>
          <a:lstStyle/>
          <a:p>
            <a:pPr algn="ctr"/>
            <a:r>
              <a:rPr lang="en-GB" sz="700" dirty="0">
                <a:solidFill>
                  <a:schemeClr val="tx2"/>
                </a:solidFill>
              </a:rPr>
              <a:t>Chart positive</a:t>
            </a:r>
          </a:p>
        </p:txBody>
      </p:sp>
      <p:sp>
        <p:nvSpPr>
          <p:cNvPr id="20" name="TextBox 19">
            <a:extLst>
              <a:ext uri="{FF2B5EF4-FFF2-40B4-BE49-F238E27FC236}">
                <a16:creationId xmlns:a16="http://schemas.microsoft.com/office/drawing/2014/main" id="{19028A2A-7268-47A7-A4BE-DD84DFA5FE21}"/>
              </a:ext>
            </a:extLst>
          </p:cNvPr>
          <p:cNvSpPr txBox="1"/>
          <p:nvPr/>
        </p:nvSpPr>
        <p:spPr>
          <a:xfrm>
            <a:off x="3794095" y="4547732"/>
            <a:ext cx="272512" cy="107722"/>
          </a:xfrm>
          <a:prstGeom prst="rect">
            <a:avLst/>
          </a:prstGeom>
          <a:noFill/>
          <a:effectLst/>
        </p:spPr>
        <p:txBody>
          <a:bodyPr wrap="none" lIns="0" tIns="0" rIns="0" bIns="0" rtlCol="0" anchor="t">
            <a:spAutoFit/>
          </a:bodyPr>
          <a:lstStyle/>
          <a:p>
            <a:pPr algn="ctr"/>
            <a:r>
              <a:rPr lang="en-GB" sz="700" dirty="0">
                <a:solidFill>
                  <a:schemeClr val="tx2"/>
                </a:solidFill>
              </a:rPr>
              <a:t>Claims</a:t>
            </a:r>
          </a:p>
        </p:txBody>
      </p:sp>
      <p:sp>
        <p:nvSpPr>
          <p:cNvPr id="21" name="TextBox 20">
            <a:extLst>
              <a:ext uri="{FF2B5EF4-FFF2-40B4-BE49-F238E27FC236}">
                <a16:creationId xmlns:a16="http://schemas.microsoft.com/office/drawing/2014/main" id="{C8D663F5-3CD5-4073-9F78-33378CC701A4}"/>
              </a:ext>
            </a:extLst>
          </p:cNvPr>
          <p:cNvSpPr txBox="1"/>
          <p:nvPr/>
        </p:nvSpPr>
        <p:spPr>
          <a:xfrm>
            <a:off x="4869814" y="2077494"/>
            <a:ext cx="686085" cy="107722"/>
          </a:xfrm>
          <a:prstGeom prst="rect">
            <a:avLst/>
          </a:prstGeom>
          <a:noFill/>
          <a:effectLst/>
        </p:spPr>
        <p:txBody>
          <a:bodyPr wrap="none" lIns="0" tIns="0" rIns="0" bIns="0" rtlCol="0" anchor="t">
            <a:spAutoFit/>
          </a:bodyPr>
          <a:lstStyle/>
          <a:p>
            <a:pPr algn="ctr"/>
            <a:r>
              <a:rPr lang="en-GB" sz="700">
                <a:solidFill>
                  <a:schemeClr val="tx2"/>
                </a:solidFill>
              </a:rPr>
              <a:t>Claims prediction</a:t>
            </a:r>
            <a:endParaRPr lang="en-GB" sz="700" dirty="0">
              <a:solidFill>
                <a:schemeClr val="tx2"/>
              </a:solidFill>
            </a:endParaRPr>
          </a:p>
        </p:txBody>
      </p:sp>
      <p:sp>
        <p:nvSpPr>
          <p:cNvPr id="22" name="TextBox 21">
            <a:extLst>
              <a:ext uri="{FF2B5EF4-FFF2-40B4-BE49-F238E27FC236}">
                <a16:creationId xmlns:a16="http://schemas.microsoft.com/office/drawing/2014/main" id="{25A18C59-D331-476C-95E0-66E186F6E62F}"/>
              </a:ext>
            </a:extLst>
          </p:cNvPr>
          <p:cNvSpPr txBox="1"/>
          <p:nvPr/>
        </p:nvSpPr>
        <p:spPr>
          <a:xfrm>
            <a:off x="4982024" y="2899619"/>
            <a:ext cx="461665" cy="107722"/>
          </a:xfrm>
          <a:prstGeom prst="rect">
            <a:avLst/>
          </a:prstGeom>
          <a:noFill/>
          <a:effectLst/>
        </p:spPr>
        <p:txBody>
          <a:bodyPr wrap="none" lIns="0" tIns="0" rIns="0" bIns="0" rtlCol="0" anchor="t">
            <a:spAutoFit/>
          </a:bodyPr>
          <a:lstStyle/>
          <a:p>
            <a:pPr algn="ctr"/>
            <a:r>
              <a:rPr lang="en-GB" sz="700" dirty="0">
                <a:solidFill>
                  <a:schemeClr val="tx2"/>
                </a:solidFill>
              </a:rPr>
              <a:t>Close small</a:t>
            </a:r>
          </a:p>
        </p:txBody>
      </p:sp>
      <p:sp>
        <p:nvSpPr>
          <p:cNvPr id="23" name="TextBox 22">
            <a:extLst>
              <a:ext uri="{FF2B5EF4-FFF2-40B4-BE49-F238E27FC236}">
                <a16:creationId xmlns:a16="http://schemas.microsoft.com/office/drawing/2014/main" id="{8F719506-1929-4529-9289-CF8330EAC197}"/>
              </a:ext>
            </a:extLst>
          </p:cNvPr>
          <p:cNvSpPr txBox="1"/>
          <p:nvPr/>
        </p:nvSpPr>
        <p:spPr>
          <a:xfrm>
            <a:off x="5018090" y="3723675"/>
            <a:ext cx="389530" cy="107722"/>
          </a:xfrm>
          <a:prstGeom prst="rect">
            <a:avLst/>
          </a:prstGeom>
          <a:noFill/>
          <a:effectLst/>
        </p:spPr>
        <p:txBody>
          <a:bodyPr wrap="none" lIns="0" tIns="0" rIns="0" bIns="0" rtlCol="0" anchor="t">
            <a:spAutoFit/>
          </a:bodyPr>
          <a:lstStyle/>
          <a:p>
            <a:pPr algn="ctr"/>
            <a:r>
              <a:rPr lang="en-GB" sz="700" dirty="0">
                <a:solidFill>
                  <a:schemeClr val="tx2"/>
                </a:solidFill>
              </a:rPr>
              <a:t>Comment</a:t>
            </a:r>
          </a:p>
        </p:txBody>
      </p:sp>
      <p:sp>
        <p:nvSpPr>
          <p:cNvPr id="24" name="TextBox 23">
            <a:extLst>
              <a:ext uri="{FF2B5EF4-FFF2-40B4-BE49-F238E27FC236}">
                <a16:creationId xmlns:a16="http://schemas.microsoft.com/office/drawing/2014/main" id="{2A5BE15A-C263-4B2B-9A4C-7972242B6663}"/>
              </a:ext>
            </a:extLst>
          </p:cNvPr>
          <p:cNvSpPr txBox="1"/>
          <p:nvPr/>
        </p:nvSpPr>
        <p:spPr>
          <a:xfrm>
            <a:off x="5015686" y="4547732"/>
            <a:ext cx="394340" cy="107722"/>
          </a:xfrm>
          <a:prstGeom prst="rect">
            <a:avLst/>
          </a:prstGeom>
          <a:noFill/>
          <a:effectLst/>
        </p:spPr>
        <p:txBody>
          <a:bodyPr wrap="none" lIns="0" tIns="0" rIns="0" bIns="0" rtlCol="0" anchor="t">
            <a:spAutoFit/>
          </a:bodyPr>
          <a:lstStyle/>
          <a:p>
            <a:pPr algn="ctr"/>
            <a:r>
              <a:rPr lang="en-GB" sz="700" dirty="0">
                <a:solidFill>
                  <a:schemeClr val="tx2"/>
                </a:solidFill>
              </a:rPr>
              <a:t>Computer</a:t>
            </a:r>
          </a:p>
        </p:txBody>
      </p:sp>
      <p:sp>
        <p:nvSpPr>
          <p:cNvPr id="25" name="TextBox 24">
            <a:extLst>
              <a:ext uri="{FF2B5EF4-FFF2-40B4-BE49-F238E27FC236}">
                <a16:creationId xmlns:a16="http://schemas.microsoft.com/office/drawing/2014/main" id="{2225CB19-16C9-4E7E-9637-1F3BF20D2D13}"/>
              </a:ext>
            </a:extLst>
          </p:cNvPr>
          <p:cNvSpPr txBox="1"/>
          <p:nvPr/>
        </p:nvSpPr>
        <p:spPr>
          <a:xfrm>
            <a:off x="5980970" y="2077494"/>
            <a:ext cx="554640" cy="107722"/>
          </a:xfrm>
          <a:prstGeom prst="rect">
            <a:avLst/>
          </a:prstGeom>
          <a:noFill/>
          <a:effectLst/>
        </p:spPr>
        <p:txBody>
          <a:bodyPr wrap="none" lIns="0" tIns="0" rIns="0" bIns="0" rtlCol="0" anchor="t">
            <a:spAutoFit/>
          </a:bodyPr>
          <a:lstStyle/>
          <a:p>
            <a:pPr algn="ctr"/>
            <a:r>
              <a:rPr lang="en-GB" sz="700">
                <a:solidFill>
                  <a:schemeClr val="tx2"/>
                </a:solidFill>
              </a:rPr>
              <a:t>Climatological</a:t>
            </a:r>
            <a:endParaRPr lang="en-GB" sz="700" dirty="0">
              <a:solidFill>
                <a:schemeClr val="tx2"/>
              </a:solidFill>
            </a:endParaRPr>
          </a:p>
        </p:txBody>
      </p:sp>
      <p:sp>
        <p:nvSpPr>
          <p:cNvPr id="26" name="TextBox 25">
            <a:extLst>
              <a:ext uri="{FF2B5EF4-FFF2-40B4-BE49-F238E27FC236}">
                <a16:creationId xmlns:a16="http://schemas.microsoft.com/office/drawing/2014/main" id="{D0AE57F1-E916-411C-BF7D-72DA99C137A0}"/>
              </a:ext>
            </a:extLst>
          </p:cNvPr>
          <p:cNvSpPr txBox="1"/>
          <p:nvPr/>
        </p:nvSpPr>
        <p:spPr>
          <a:xfrm>
            <a:off x="6142073" y="2899619"/>
            <a:ext cx="232436" cy="107722"/>
          </a:xfrm>
          <a:prstGeom prst="rect">
            <a:avLst/>
          </a:prstGeom>
          <a:noFill/>
          <a:effectLst/>
        </p:spPr>
        <p:txBody>
          <a:bodyPr wrap="none" lIns="0" tIns="0" rIns="0" bIns="0" rtlCol="0" anchor="t">
            <a:spAutoFit/>
          </a:bodyPr>
          <a:lstStyle/>
          <a:p>
            <a:pPr algn="ctr"/>
            <a:r>
              <a:rPr lang="en-GB" sz="700" dirty="0">
                <a:solidFill>
                  <a:schemeClr val="tx2"/>
                </a:solidFill>
              </a:rPr>
              <a:t>Cloud</a:t>
            </a:r>
          </a:p>
        </p:txBody>
      </p:sp>
      <p:sp>
        <p:nvSpPr>
          <p:cNvPr id="27" name="TextBox 26">
            <a:extLst>
              <a:ext uri="{FF2B5EF4-FFF2-40B4-BE49-F238E27FC236}">
                <a16:creationId xmlns:a16="http://schemas.microsoft.com/office/drawing/2014/main" id="{38A648B0-5E81-4023-9A42-8ABCD2D01A8D}"/>
              </a:ext>
            </a:extLst>
          </p:cNvPr>
          <p:cNvSpPr txBox="1"/>
          <p:nvPr/>
        </p:nvSpPr>
        <p:spPr>
          <a:xfrm>
            <a:off x="6026657" y="3723675"/>
            <a:ext cx="463267" cy="215444"/>
          </a:xfrm>
          <a:prstGeom prst="rect">
            <a:avLst/>
          </a:prstGeom>
          <a:noFill/>
          <a:effectLst/>
        </p:spPr>
        <p:txBody>
          <a:bodyPr wrap="none" lIns="0" tIns="0" rIns="0" bIns="0" rtlCol="0" anchor="t">
            <a:spAutoFit/>
          </a:bodyPr>
          <a:lstStyle/>
          <a:p>
            <a:pPr algn="ctr"/>
            <a:r>
              <a:rPr lang="en-GB" sz="700" dirty="0">
                <a:solidFill>
                  <a:schemeClr val="tx2"/>
                </a:solidFill>
              </a:rPr>
              <a:t>Comment</a:t>
            </a:r>
            <a:br>
              <a:rPr lang="en-GB" sz="700" dirty="0">
                <a:solidFill>
                  <a:schemeClr val="tx2"/>
                </a:solidFill>
              </a:rPr>
            </a:br>
            <a:r>
              <a:rPr lang="en-GB" sz="700" dirty="0">
                <a:solidFill>
                  <a:schemeClr val="tx2"/>
                </a:solidFill>
              </a:rPr>
              <a:t>answer-2px</a:t>
            </a:r>
          </a:p>
        </p:txBody>
      </p:sp>
      <p:sp>
        <p:nvSpPr>
          <p:cNvPr id="28" name="TextBox 27">
            <a:extLst>
              <a:ext uri="{FF2B5EF4-FFF2-40B4-BE49-F238E27FC236}">
                <a16:creationId xmlns:a16="http://schemas.microsoft.com/office/drawing/2014/main" id="{92E501A1-8FF4-47E1-AC63-B8D114BA0E33}"/>
              </a:ext>
            </a:extLst>
          </p:cNvPr>
          <p:cNvSpPr txBox="1"/>
          <p:nvPr/>
        </p:nvSpPr>
        <p:spPr>
          <a:xfrm>
            <a:off x="5853531" y="4547732"/>
            <a:ext cx="809517" cy="107722"/>
          </a:xfrm>
          <a:prstGeom prst="rect">
            <a:avLst/>
          </a:prstGeom>
          <a:noFill/>
          <a:effectLst/>
        </p:spPr>
        <p:txBody>
          <a:bodyPr wrap="none" lIns="0" tIns="0" rIns="0" bIns="0" rtlCol="0" anchor="t">
            <a:spAutoFit/>
          </a:bodyPr>
          <a:lstStyle/>
          <a:p>
            <a:pPr algn="ctr"/>
            <a:r>
              <a:rPr lang="en-GB" sz="700" dirty="0">
                <a:solidFill>
                  <a:schemeClr val="tx2"/>
                </a:solidFill>
              </a:rPr>
              <a:t>Computer save data</a:t>
            </a:r>
          </a:p>
        </p:txBody>
      </p:sp>
      <p:sp>
        <p:nvSpPr>
          <p:cNvPr id="29" name="TextBox 28">
            <a:extLst>
              <a:ext uri="{FF2B5EF4-FFF2-40B4-BE49-F238E27FC236}">
                <a16:creationId xmlns:a16="http://schemas.microsoft.com/office/drawing/2014/main" id="{2FAEAF1A-0F16-4363-BD2A-43F845B4BE36}"/>
              </a:ext>
            </a:extLst>
          </p:cNvPr>
          <p:cNvSpPr txBox="1"/>
          <p:nvPr/>
        </p:nvSpPr>
        <p:spPr>
          <a:xfrm>
            <a:off x="7192316" y="2077494"/>
            <a:ext cx="222818" cy="107722"/>
          </a:xfrm>
          <a:prstGeom prst="rect">
            <a:avLst/>
          </a:prstGeom>
          <a:noFill/>
          <a:effectLst/>
        </p:spPr>
        <p:txBody>
          <a:bodyPr wrap="none" lIns="0" tIns="0" rIns="0" bIns="0" rtlCol="0" anchor="t">
            <a:spAutoFit/>
          </a:bodyPr>
          <a:lstStyle/>
          <a:p>
            <a:pPr algn="ctr"/>
            <a:r>
              <a:rPr lang="en-GB" sz="700" dirty="0">
                <a:solidFill>
                  <a:schemeClr val="tx2"/>
                </a:solidFill>
              </a:rPr>
              <a:t>Clock</a:t>
            </a:r>
          </a:p>
        </p:txBody>
      </p:sp>
      <p:sp>
        <p:nvSpPr>
          <p:cNvPr id="30" name="TextBox 29">
            <a:extLst>
              <a:ext uri="{FF2B5EF4-FFF2-40B4-BE49-F238E27FC236}">
                <a16:creationId xmlns:a16="http://schemas.microsoft.com/office/drawing/2014/main" id="{AB11EF09-5D52-4805-B672-FD56D72D9B8A}"/>
              </a:ext>
            </a:extLst>
          </p:cNvPr>
          <p:cNvSpPr txBox="1"/>
          <p:nvPr/>
        </p:nvSpPr>
        <p:spPr>
          <a:xfrm>
            <a:off x="7096936" y="2899619"/>
            <a:ext cx="413576" cy="107722"/>
          </a:xfrm>
          <a:prstGeom prst="rect">
            <a:avLst/>
          </a:prstGeom>
          <a:noFill/>
          <a:effectLst/>
        </p:spPr>
        <p:txBody>
          <a:bodyPr wrap="none" lIns="0" tIns="0" rIns="0" bIns="0" rtlCol="0" anchor="t">
            <a:spAutoFit/>
          </a:bodyPr>
          <a:lstStyle/>
          <a:p>
            <a:pPr algn="ctr"/>
            <a:r>
              <a:rPr lang="en-GB" sz="700">
                <a:solidFill>
                  <a:schemeClr val="tx2"/>
                </a:solidFill>
              </a:rPr>
              <a:t>Cold room</a:t>
            </a:r>
            <a:endParaRPr lang="en-GB" sz="700" dirty="0">
              <a:solidFill>
                <a:schemeClr val="tx2"/>
              </a:solidFill>
            </a:endParaRPr>
          </a:p>
        </p:txBody>
      </p:sp>
      <p:sp>
        <p:nvSpPr>
          <p:cNvPr id="31" name="TextBox 30">
            <a:extLst>
              <a:ext uri="{FF2B5EF4-FFF2-40B4-BE49-F238E27FC236}">
                <a16:creationId xmlns:a16="http://schemas.microsoft.com/office/drawing/2014/main" id="{905A4E00-1159-41AC-85F7-FD967EF6878A}"/>
              </a:ext>
            </a:extLst>
          </p:cNvPr>
          <p:cNvSpPr txBox="1"/>
          <p:nvPr/>
        </p:nvSpPr>
        <p:spPr>
          <a:xfrm>
            <a:off x="7072090" y="3723675"/>
            <a:ext cx="463268" cy="215444"/>
          </a:xfrm>
          <a:prstGeom prst="rect">
            <a:avLst/>
          </a:prstGeom>
          <a:noFill/>
          <a:effectLst/>
        </p:spPr>
        <p:txBody>
          <a:bodyPr wrap="none" lIns="0" tIns="0" rIns="0" bIns="0" rtlCol="0" anchor="t">
            <a:spAutoFit/>
          </a:bodyPr>
          <a:lstStyle/>
          <a:p>
            <a:pPr algn="ctr"/>
            <a:r>
              <a:rPr lang="en-GB" sz="700" dirty="0">
                <a:solidFill>
                  <a:schemeClr val="tx2"/>
                </a:solidFill>
              </a:rPr>
              <a:t>Comment</a:t>
            </a:r>
            <a:br>
              <a:rPr lang="en-GB" sz="700" dirty="0">
                <a:solidFill>
                  <a:schemeClr val="tx2"/>
                </a:solidFill>
              </a:rPr>
            </a:br>
            <a:r>
              <a:rPr lang="en-GB" sz="700" dirty="0">
                <a:solidFill>
                  <a:schemeClr val="tx2"/>
                </a:solidFill>
              </a:rPr>
              <a:t>answer-4px</a:t>
            </a:r>
          </a:p>
        </p:txBody>
      </p:sp>
      <p:sp>
        <p:nvSpPr>
          <p:cNvPr id="32" name="TextBox 31">
            <a:extLst>
              <a:ext uri="{FF2B5EF4-FFF2-40B4-BE49-F238E27FC236}">
                <a16:creationId xmlns:a16="http://schemas.microsoft.com/office/drawing/2014/main" id="{95E07CE3-B81F-4FDE-AB56-937C4058E680}"/>
              </a:ext>
            </a:extLst>
          </p:cNvPr>
          <p:cNvSpPr txBox="1"/>
          <p:nvPr/>
        </p:nvSpPr>
        <p:spPr>
          <a:xfrm>
            <a:off x="7048045" y="4547732"/>
            <a:ext cx="511358" cy="107722"/>
          </a:xfrm>
          <a:prstGeom prst="rect">
            <a:avLst/>
          </a:prstGeom>
          <a:noFill/>
          <a:effectLst/>
        </p:spPr>
        <p:txBody>
          <a:bodyPr wrap="none" lIns="0" tIns="0" rIns="0" bIns="0" rtlCol="0" anchor="t">
            <a:spAutoFit/>
          </a:bodyPr>
          <a:lstStyle/>
          <a:p>
            <a:pPr algn="ctr"/>
            <a:r>
              <a:rPr lang="en-GB" sz="700">
                <a:solidFill>
                  <a:schemeClr val="tx2"/>
                </a:solidFill>
              </a:rPr>
              <a:t>Cross selling</a:t>
            </a:r>
            <a:endParaRPr lang="en-GB" sz="700" dirty="0">
              <a:solidFill>
                <a:schemeClr val="tx2"/>
              </a:solidFill>
            </a:endParaRPr>
          </a:p>
        </p:txBody>
      </p:sp>
      <p:sp>
        <p:nvSpPr>
          <p:cNvPr id="33" name="TextBox 32">
            <a:extLst>
              <a:ext uri="{FF2B5EF4-FFF2-40B4-BE49-F238E27FC236}">
                <a16:creationId xmlns:a16="http://schemas.microsoft.com/office/drawing/2014/main" id="{F939B679-739C-49AC-8872-219B71895831}"/>
              </a:ext>
            </a:extLst>
          </p:cNvPr>
          <p:cNvSpPr txBox="1"/>
          <p:nvPr/>
        </p:nvSpPr>
        <p:spPr>
          <a:xfrm>
            <a:off x="8235344" y="2077494"/>
            <a:ext cx="227627" cy="107722"/>
          </a:xfrm>
          <a:prstGeom prst="rect">
            <a:avLst/>
          </a:prstGeom>
          <a:noFill/>
          <a:effectLst/>
        </p:spPr>
        <p:txBody>
          <a:bodyPr wrap="none" lIns="0" tIns="0" rIns="0" bIns="0" rtlCol="0" anchor="t">
            <a:spAutoFit/>
          </a:bodyPr>
          <a:lstStyle/>
          <a:p>
            <a:pPr algn="ctr"/>
            <a:r>
              <a:rPr lang="en-GB" sz="700" dirty="0">
                <a:solidFill>
                  <a:schemeClr val="tx2"/>
                </a:solidFill>
              </a:rPr>
              <a:t>Close</a:t>
            </a:r>
          </a:p>
        </p:txBody>
      </p:sp>
      <p:sp>
        <p:nvSpPr>
          <p:cNvPr id="34" name="TextBox 33">
            <a:extLst>
              <a:ext uri="{FF2B5EF4-FFF2-40B4-BE49-F238E27FC236}">
                <a16:creationId xmlns:a16="http://schemas.microsoft.com/office/drawing/2014/main" id="{74712A6B-AE9A-424F-AF5E-A876F16150B1}"/>
              </a:ext>
            </a:extLst>
          </p:cNvPr>
          <p:cNvSpPr txBox="1"/>
          <p:nvPr/>
        </p:nvSpPr>
        <p:spPr>
          <a:xfrm>
            <a:off x="8086264" y="2899619"/>
            <a:ext cx="525785" cy="107722"/>
          </a:xfrm>
          <a:prstGeom prst="rect">
            <a:avLst/>
          </a:prstGeom>
          <a:noFill/>
          <a:effectLst/>
        </p:spPr>
        <p:txBody>
          <a:bodyPr wrap="none" lIns="0" tIns="0" rIns="0" bIns="0" rtlCol="0" anchor="t">
            <a:spAutoFit/>
          </a:bodyPr>
          <a:lstStyle/>
          <a:p>
            <a:pPr algn="ctr"/>
            <a:r>
              <a:rPr lang="en-GB" sz="700" dirty="0">
                <a:solidFill>
                  <a:schemeClr val="tx2"/>
                </a:solidFill>
              </a:rPr>
              <a:t>Collaboration</a:t>
            </a:r>
          </a:p>
        </p:txBody>
      </p:sp>
      <p:sp>
        <p:nvSpPr>
          <p:cNvPr id="35" name="TextBox 34">
            <a:extLst>
              <a:ext uri="{FF2B5EF4-FFF2-40B4-BE49-F238E27FC236}">
                <a16:creationId xmlns:a16="http://schemas.microsoft.com/office/drawing/2014/main" id="{679BF114-423D-4A8B-A529-964CD664FC16}"/>
              </a:ext>
            </a:extLst>
          </p:cNvPr>
          <p:cNvSpPr txBox="1"/>
          <p:nvPr/>
        </p:nvSpPr>
        <p:spPr>
          <a:xfrm>
            <a:off x="8164811" y="3723675"/>
            <a:ext cx="368692" cy="107722"/>
          </a:xfrm>
          <a:prstGeom prst="rect">
            <a:avLst/>
          </a:prstGeom>
          <a:noFill/>
          <a:effectLst/>
        </p:spPr>
        <p:txBody>
          <a:bodyPr wrap="none" lIns="0" tIns="0" rIns="0" bIns="0" rtlCol="0" anchor="t">
            <a:spAutoFit/>
          </a:bodyPr>
          <a:lstStyle/>
          <a:p>
            <a:pPr algn="ctr"/>
            <a:r>
              <a:rPr lang="en-GB" sz="700" dirty="0">
                <a:solidFill>
                  <a:schemeClr val="tx2"/>
                </a:solidFill>
              </a:rPr>
              <a:t>Compare</a:t>
            </a:r>
          </a:p>
        </p:txBody>
      </p:sp>
      <p:sp>
        <p:nvSpPr>
          <p:cNvPr id="36" name="TextBox 35">
            <a:extLst>
              <a:ext uri="{FF2B5EF4-FFF2-40B4-BE49-F238E27FC236}">
                <a16:creationId xmlns:a16="http://schemas.microsoft.com/office/drawing/2014/main" id="{A2B5E5A3-8427-4409-92FC-E5206DD24290}"/>
              </a:ext>
            </a:extLst>
          </p:cNvPr>
          <p:cNvSpPr txBox="1"/>
          <p:nvPr/>
        </p:nvSpPr>
        <p:spPr>
          <a:xfrm>
            <a:off x="8194467" y="4547732"/>
            <a:ext cx="309380" cy="107722"/>
          </a:xfrm>
          <a:prstGeom prst="rect">
            <a:avLst/>
          </a:prstGeom>
          <a:noFill/>
          <a:effectLst/>
        </p:spPr>
        <p:txBody>
          <a:bodyPr wrap="none" lIns="0" tIns="0" rIns="0" bIns="0" rtlCol="0" anchor="t">
            <a:spAutoFit/>
          </a:bodyPr>
          <a:lstStyle/>
          <a:p>
            <a:pPr algn="ctr"/>
            <a:r>
              <a:rPr lang="en-GB" sz="700" dirty="0">
                <a:solidFill>
                  <a:schemeClr val="tx2"/>
                </a:solidFill>
              </a:rPr>
              <a:t>Contact</a:t>
            </a:r>
          </a:p>
        </p:txBody>
      </p:sp>
      <p:grpSp>
        <p:nvGrpSpPr>
          <p:cNvPr id="174" name="Grafik 2">
            <a:extLst>
              <a:ext uri="{FF2B5EF4-FFF2-40B4-BE49-F238E27FC236}">
                <a16:creationId xmlns:a16="http://schemas.microsoft.com/office/drawing/2014/main" id="{90E6F81C-C0E1-4073-BFB1-8CCA7075ADD4}"/>
              </a:ext>
            </a:extLst>
          </p:cNvPr>
          <p:cNvGrpSpPr>
            <a:grpSpLocks noChangeAspect="1"/>
          </p:cNvGrpSpPr>
          <p:nvPr/>
        </p:nvGrpSpPr>
        <p:grpSpPr>
          <a:xfrm>
            <a:off x="2692774" y="3222008"/>
            <a:ext cx="384288" cy="385802"/>
            <a:chOff x="4419600" y="2419350"/>
            <a:chExt cx="304800" cy="304800"/>
          </a:xfrm>
          <a:solidFill>
            <a:schemeClr val="tx2"/>
          </a:solidFill>
        </p:grpSpPr>
        <p:sp>
          <p:nvSpPr>
            <p:cNvPr id="175" name="Freihandform: Form 7">
              <a:extLst>
                <a:ext uri="{FF2B5EF4-FFF2-40B4-BE49-F238E27FC236}">
                  <a16:creationId xmlns:a16="http://schemas.microsoft.com/office/drawing/2014/main" id="{C1E2965F-C63C-4167-9150-17D099B3A15F}"/>
                </a:ext>
              </a:extLst>
            </p:cNvPr>
            <p:cNvSpPr/>
            <p:nvPr/>
          </p:nvSpPr>
          <p:spPr>
            <a:xfrm>
              <a:off x="4419600" y="2419350"/>
              <a:ext cx="304800" cy="304800"/>
            </a:xfrm>
            <a:custGeom>
              <a:avLst/>
              <a:gdLst>
                <a:gd name="connsiteX0" fmla="*/ 221723 w 304800"/>
                <a:gd name="connsiteY0" fmla="*/ 214074 h 304800"/>
                <a:gd name="connsiteX1" fmla="*/ 242249 w 304800"/>
                <a:gd name="connsiteY1" fmla="*/ 234963 h 304800"/>
                <a:gd name="connsiteX2" fmla="*/ 221723 w 304800"/>
                <a:gd name="connsiteY2" fmla="*/ 255965 h 304800"/>
                <a:gd name="connsiteX3" fmla="*/ 201282 w 304800"/>
                <a:gd name="connsiteY3" fmla="*/ 234963 h 304800"/>
                <a:gd name="connsiteX4" fmla="*/ 221723 w 304800"/>
                <a:gd name="connsiteY4" fmla="*/ 214074 h 304800"/>
                <a:gd name="connsiteX5" fmla="*/ 272634 w 304800"/>
                <a:gd name="connsiteY5" fmla="*/ 209550 h 304800"/>
                <a:gd name="connsiteX6" fmla="*/ 286350 w 304800"/>
                <a:gd name="connsiteY6" fmla="*/ 209550 h 304800"/>
                <a:gd name="connsiteX7" fmla="*/ 224628 w 304800"/>
                <a:gd name="connsiteY7" fmla="*/ 304800 h 304800"/>
                <a:gd name="connsiteX8" fmla="*/ 210941 w 304800"/>
                <a:gd name="connsiteY8" fmla="*/ 304800 h 304800"/>
                <a:gd name="connsiteX9" fmla="*/ 272634 w 304800"/>
                <a:gd name="connsiteY9" fmla="*/ 209550 h 304800"/>
                <a:gd name="connsiteX10" fmla="*/ 214055 w 304800"/>
                <a:gd name="connsiteY10" fmla="*/ 234953 h 304800"/>
                <a:gd name="connsiteX11" fmla="*/ 221609 w 304800"/>
                <a:gd name="connsiteY11" fmla="*/ 245859 h 304800"/>
                <a:gd name="connsiteX12" fmla="*/ 229238 w 304800"/>
                <a:gd name="connsiteY12" fmla="*/ 234953 h 304800"/>
                <a:gd name="connsiteX13" fmla="*/ 221609 w 304800"/>
                <a:gd name="connsiteY13" fmla="*/ 223923 h 304800"/>
                <a:gd name="connsiteX14" fmla="*/ 214055 w 304800"/>
                <a:gd name="connsiteY14" fmla="*/ 234953 h 304800"/>
                <a:gd name="connsiteX15" fmla="*/ 274749 w 304800"/>
                <a:gd name="connsiteY15" fmla="*/ 259090 h 304800"/>
                <a:gd name="connsiteX16" fmla="*/ 295275 w 304800"/>
                <a:gd name="connsiteY16" fmla="*/ 279968 h 304800"/>
                <a:gd name="connsiteX17" fmla="*/ 274749 w 304800"/>
                <a:gd name="connsiteY17" fmla="*/ 300971 h 304800"/>
                <a:gd name="connsiteX18" fmla="*/ 254308 w 304800"/>
                <a:gd name="connsiteY18" fmla="*/ 279968 h 304800"/>
                <a:gd name="connsiteX19" fmla="*/ 274749 w 304800"/>
                <a:gd name="connsiteY19" fmla="*/ 259090 h 304800"/>
                <a:gd name="connsiteX20" fmla="*/ 267071 w 304800"/>
                <a:gd name="connsiteY20" fmla="*/ 279968 h 304800"/>
                <a:gd name="connsiteX21" fmla="*/ 274625 w 304800"/>
                <a:gd name="connsiteY21" fmla="*/ 290884 h 304800"/>
                <a:gd name="connsiteX22" fmla="*/ 282254 w 304800"/>
                <a:gd name="connsiteY22" fmla="*/ 279968 h 304800"/>
                <a:gd name="connsiteX23" fmla="*/ 274625 w 304800"/>
                <a:gd name="connsiteY23" fmla="*/ 268948 h 304800"/>
                <a:gd name="connsiteX24" fmla="*/ 267071 w 304800"/>
                <a:gd name="connsiteY24" fmla="*/ 279968 h 304800"/>
                <a:gd name="connsiteX25" fmla="*/ 285750 w 304800"/>
                <a:gd name="connsiteY25" fmla="*/ 180975 h 304800"/>
                <a:gd name="connsiteX26" fmla="*/ 285750 w 304800"/>
                <a:gd name="connsiteY26" fmla="*/ 0 h 304800"/>
                <a:gd name="connsiteX27" fmla="*/ 247650 w 304800"/>
                <a:gd name="connsiteY27" fmla="*/ 0 h 304800"/>
                <a:gd name="connsiteX28" fmla="*/ 247650 w 304800"/>
                <a:gd name="connsiteY28" fmla="*/ 180975 h 304800"/>
                <a:gd name="connsiteX29" fmla="*/ 209550 w 304800"/>
                <a:gd name="connsiteY29" fmla="*/ 180975 h 304800"/>
                <a:gd name="connsiteX30" fmla="*/ 209550 w 304800"/>
                <a:gd name="connsiteY30" fmla="*/ 76200 h 304800"/>
                <a:gd name="connsiteX31" fmla="*/ 171450 w 304800"/>
                <a:gd name="connsiteY31" fmla="*/ 76200 h 304800"/>
                <a:gd name="connsiteX32" fmla="*/ 171450 w 304800"/>
                <a:gd name="connsiteY32" fmla="*/ 180975 h 304800"/>
                <a:gd name="connsiteX33" fmla="*/ 133350 w 304800"/>
                <a:gd name="connsiteY33" fmla="*/ 180975 h 304800"/>
                <a:gd name="connsiteX34" fmla="*/ 133350 w 304800"/>
                <a:gd name="connsiteY34" fmla="*/ 47625 h 304800"/>
                <a:gd name="connsiteX35" fmla="*/ 95250 w 304800"/>
                <a:gd name="connsiteY35" fmla="*/ 47625 h 304800"/>
                <a:gd name="connsiteX36" fmla="*/ 95250 w 304800"/>
                <a:gd name="connsiteY36" fmla="*/ 180975 h 304800"/>
                <a:gd name="connsiteX37" fmla="*/ 57150 w 304800"/>
                <a:gd name="connsiteY37" fmla="*/ 180975 h 304800"/>
                <a:gd name="connsiteX38" fmla="*/ 57150 w 304800"/>
                <a:gd name="connsiteY38" fmla="*/ 114300 h 304800"/>
                <a:gd name="connsiteX39" fmla="*/ 19050 w 304800"/>
                <a:gd name="connsiteY39" fmla="*/ 114300 h 304800"/>
                <a:gd name="connsiteX40" fmla="*/ 19050 w 304800"/>
                <a:gd name="connsiteY40" fmla="*/ 180975 h 304800"/>
                <a:gd name="connsiteX41" fmla="*/ 0 w 304800"/>
                <a:gd name="connsiteY41" fmla="*/ 180975 h 304800"/>
                <a:gd name="connsiteX42" fmla="*/ 0 w 304800"/>
                <a:gd name="connsiteY42" fmla="*/ 190500 h 304800"/>
                <a:gd name="connsiteX43" fmla="*/ 304800 w 304800"/>
                <a:gd name="connsiteY43" fmla="*/ 190500 h 304800"/>
                <a:gd name="connsiteX44" fmla="*/ 304800 w 304800"/>
                <a:gd name="connsiteY44" fmla="*/ 180975 h 304800"/>
                <a:gd name="connsiteX45" fmla="*/ 285750 w 304800"/>
                <a:gd name="connsiteY45" fmla="*/ 180975 h 304800"/>
                <a:gd name="connsiteX46" fmla="*/ 152400 w 304800"/>
                <a:gd name="connsiteY46" fmla="*/ 295275 h 304800"/>
                <a:gd name="connsiteX47" fmla="*/ 0 w 304800"/>
                <a:gd name="connsiteY47" fmla="*/ 295275 h 304800"/>
                <a:gd name="connsiteX48" fmla="*/ 0 w 304800"/>
                <a:gd name="connsiteY48" fmla="*/ 304800 h 304800"/>
                <a:gd name="connsiteX49" fmla="*/ 152400 w 304800"/>
                <a:gd name="connsiteY49" fmla="*/ 304800 h 304800"/>
                <a:gd name="connsiteX50" fmla="*/ 152400 w 304800"/>
                <a:gd name="connsiteY50" fmla="*/ 29527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304800" h="304800">
                  <a:moveTo>
                    <a:pt x="221723" y="214074"/>
                  </a:moveTo>
                  <a:cubicBezTo>
                    <a:pt x="232724" y="214074"/>
                    <a:pt x="242249" y="220913"/>
                    <a:pt x="242249" y="234963"/>
                  </a:cubicBezTo>
                  <a:cubicBezTo>
                    <a:pt x="242249" y="248888"/>
                    <a:pt x="232724" y="255965"/>
                    <a:pt x="221723" y="255965"/>
                  </a:cubicBezTo>
                  <a:cubicBezTo>
                    <a:pt x="210331" y="255965"/>
                    <a:pt x="201282" y="248888"/>
                    <a:pt x="201282" y="234963"/>
                  </a:cubicBezTo>
                  <a:cubicBezTo>
                    <a:pt x="201292" y="220913"/>
                    <a:pt x="210817" y="214074"/>
                    <a:pt x="221723" y="214074"/>
                  </a:cubicBezTo>
                  <a:close/>
                  <a:moveTo>
                    <a:pt x="272634" y="209550"/>
                  </a:moveTo>
                  <a:lnTo>
                    <a:pt x="286350" y="209550"/>
                  </a:lnTo>
                  <a:lnTo>
                    <a:pt x="224628" y="304800"/>
                  </a:lnTo>
                  <a:lnTo>
                    <a:pt x="210941" y="304800"/>
                  </a:lnTo>
                  <a:lnTo>
                    <a:pt x="272634" y="209550"/>
                  </a:lnTo>
                  <a:close/>
                  <a:moveTo>
                    <a:pt x="214055" y="234953"/>
                  </a:moveTo>
                  <a:cubicBezTo>
                    <a:pt x="214055" y="242259"/>
                    <a:pt x="216846" y="245859"/>
                    <a:pt x="221609" y="245859"/>
                  </a:cubicBezTo>
                  <a:cubicBezTo>
                    <a:pt x="226238" y="245859"/>
                    <a:pt x="229238" y="242259"/>
                    <a:pt x="229238" y="234953"/>
                  </a:cubicBezTo>
                  <a:cubicBezTo>
                    <a:pt x="229238" y="227638"/>
                    <a:pt x="226247" y="223923"/>
                    <a:pt x="221609" y="223923"/>
                  </a:cubicBezTo>
                  <a:cubicBezTo>
                    <a:pt x="216846" y="223933"/>
                    <a:pt x="214055" y="227409"/>
                    <a:pt x="214055" y="234953"/>
                  </a:cubicBezTo>
                  <a:close/>
                  <a:moveTo>
                    <a:pt x="274749" y="259090"/>
                  </a:moveTo>
                  <a:cubicBezTo>
                    <a:pt x="285750" y="259090"/>
                    <a:pt x="295275" y="265928"/>
                    <a:pt x="295275" y="279968"/>
                  </a:cubicBezTo>
                  <a:cubicBezTo>
                    <a:pt x="295275" y="293894"/>
                    <a:pt x="285750" y="300971"/>
                    <a:pt x="274749" y="300971"/>
                  </a:cubicBezTo>
                  <a:cubicBezTo>
                    <a:pt x="263471" y="300971"/>
                    <a:pt x="254308" y="293894"/>
                    <a:pt x="254308" y="279968"/>
                  </a:cubicBezTo>
                  <a:cubicBezTo>
                    <a:pt x="254308" y="265928"/>
                    <a:pt x="263814" y="259090"/>
                    <a:pt x="274749" y="259090"/>
                  </a:cubicBezTo>
                  <a:close/>
                  <a:moveTo>
                    <a:pt x="267071" y="279968"/>
                  </a:moveTo>
                  <a:cubicBezTo>
                    <a:pt x="267071" y="287274"/>
                    <a:pt x="269862" y="290884"/>
                    <a:pt x="274625" y="290884"/>
                  </a:cubicBezTo>
                  <a:cubicBezTo>
                    <a:pt x="279254" y="290884"/>
                    <a:pt x="282254" y="287284"/>
                    <a:pt x="282254" y="279968"/>
                  </a:cubicBezTo>
                  <a:cubicBezTo>
                    <a:pt x="282254" y="272663"/>
                    <a:pt x="279263" y="268948"/>
                    <a:pt x="274625" y="268948"/>
                  </a:cubicBezTo>
                  <a:cubicBezTo>
                    <a:pt x="269862" y="268948"/>
                    <a:pt x="267071" y="272434"/>
                    <a:pt x="267071" y="279968"/>
                  </a:cubicBezTo>
                  <a:close/>
                  <a:moveTo>
                    <a:pt x="285750" y="180975"/>
                  </a:moveTo>
                  <a:lnTo>
                    <a:pt x="285750" y="0"/>
                  </a:lnTo>
                  <a:lnTo>
                    <a:pt x="247650" y="0"/>
                  </a:lnTo>
                  <a:lnTo>
                    <a:pt x="247650" y="180975"/>
                  </a:lnTo>
                  <a:lnTo>
                    <a:pt x="209550" y="180975"/>
                  </a:lnTo>
                  <a:lnTo>
                    <a:pt x="209550" y="76200"/>
                  </a:lnTo>
                  <a:lnTo>
                    <a:pt x="171450" y="76200"/>
                  </a:lnTo>
                  <a:lnTo>
                    <a:pt x="171450" y="180975"/>
                  </a:lnTo>
                  <a:lnTo>
                    <a:pt x="133350" y="180975"/>
                  </a:lnTo>
                  <a:lnTo>
                    <a:pt x="133350" y="47625"/>
                  </a:lnTo>
                  <a:lnTo>
                    <a:pt x="95250" y="47625"/>
                  </a:lnTo>
                  <a:lnTo>
                    <a:pt x="95250" y="180975"/>
                  </a:lnTo>
                  <a:lnTo>
                    <a:pt x="57150" y="180975"/>
                  </a:lnTo>
                  <a:lnTo>
                    <a:pt x="57150" y="114300"/>
                  </a:lnTo>
                  <a:lnTo>
                    <a:pt x="19050" y="114300"/>
                  </a:lnTo>
                  <a:lnTo>
                    <a:pt x="19050" y="180975"/>
                  </a:lnTo>
                  <a:lnTo>
                    <a:pt x="0" y="180975"/>
                  </a:lnTo>
                  <a:lnTo>
                    <a:pt x="0" y="190500"/>
                  </a:lnTo>
                  <a:lnTo>
                    <a:pt x="304800" y="190500"/>
                  </a:lnTo>
                  <a:lnTo>
                    <a:pt x="304800" y="180975"/>
                  </a:lnTo>
                  <a:lnTo>
                    <a:pt x="285750" y="180975"/>
                  </a:lnTo>
                  <a:close/>
                  <a:moveTo>
                    <a:pt x="152400" y="295275"/>
                  </a:moveTo>
                  <a:lnTo>
                    <a:pt x="0" y="295275"/>
                  </a:lnTo>
                  <a:lnTo>
                    <a:pt x="0" y="304800"/>
                  </a:lnTo>
                  <a:lnTo>
                    <a:pt x="152400" y="304800"/>
                  </a:lnTo>
                  <a:lnTo>
                    <a:pt x="152400" y="295275"/>
                  </a:lnTo>
                  <a:close/>
                </a:path>
              </a:pathLst>
            </a:custGeom>
            <a:grpFill/>
            <a:ln w="9525" cap="flat">
              <a:noFill/>
              <a:prstDash val="solid"/>
              <a:miter/>
            </a:ln>
          </p:spPr>
          <p:txBody>
            <a:bodyPr rtlCol="0" anchor="ctr"/>
            <a:lstStyle/>
            <a:p>
              <a:endParaRPr lang="en-GB" dirty="0"/>
            </a:p>
          </p:txBody>
        </p:sp>
      </p:grpSp>
      <p:sp>
        <p:nvSpPr>
          <p:cNvPr id="176" name="Freihandform: Form 13">
            <a:extLst>
              <a:ext uri="{FF2B5EF4-FFF2-40B4-BE49-F238E27FC236}">
                <a16:creationId xmlns:a16="http://schemas.microsoft.com/office/drawing/2014/main" id="{83433FA0-0BE5-44E3-8C03-0C35E4652598}"/>
              </a:ext>
            </a:extLst>
          </p:cNvPr>
          <p:cNvSpPr>
            <a:spLocks noChangeAspect="1"/>
          </p:cNvSpPr>
          <p:nvPr/>
        </p:nvSpPr>
        <p:spPr>
          <a:xfrm>
            <a:off x="6051291" y="3338709"/>
            <a:ext cx="414000" cy="269101"/>
          </a:xfrm>
          <a:custGeom>
            <a:avLst/>
            <a:gdLst>
              <a:gd name="connsiteX0" fmla="*/ 0 w 190500"/>
              <a:gd name="connsiteY0" fmla="*/ 95250 h 123825"/>
              <a:gd name="connsiteX1" fmla="*/ 0 w 190500"/>
              <a:gd name="connsiteY1" fmla="*/ 0 h 123825"/>
              <a:gd name="connsiteX2" fmla="*/ 19050 w 190500"/>
              <a:gd name="connsiteY2" fmla="*/ 0 h 123825"/>
              <a:gd name="connsiteX3" fmla="*/ 19050 w 190500"/>
              <a:gd name="connsiteY3" fmla="*/ 76200 h 123825"/>
              <a:gd name="connsiteX4" fmla="*/ 154048 w 190500"/>
              <a:gd name="connsiteY4" fmla="*/ 76200 h 123825"/>
              <a:gd name="connsiteX5" fmla="*/ 129416 w 190500"/>
              <a:gd name="connsiteY5" fmla="*/ 51568 h 123825"/>
              <a:gd name="connsiteX6" fmla="*/ 142885 w 190500"/>
              <a:gd name="connsiteY6" fmla="*/ 38100 h 123825"/>
              <a:gd name="connsiteX7" fmla="*/ 190500 w 190500"/>
              <a:gd name="connsiteY7" fmla="*/ 85706 h 123825"/>
              <a:gd name="connsiteX8" fmla="*/ 190490 w 190500"/>
              <a:gd name="connsiteY8" fmla="*/ 85715 h 123825"/>
              <a:gd name="connsiteX9" fmla="*/ 142865 w 190500"/>
              <a:gd name="connsiteY9" fmla="*/ 133340 h 123825"/>
              <a:gd name="connsiteX10" fmla="*/ 129416 w 190500"/>
              <a:gd name="connsiteY10" fmla="*/ 119891 h 123825"/>
              <a:gd name="connsiteX11" fmla="*/ 154067 w 190500"/>
              <a:gd name="connsiteY11" fmla="*/ 95240 h 123825"/>
              <a:gd name="connsiteX12" fmla="*/ 0 w 190500"/>
              <a:gd name="connsiteY12" fmla="*/ 95250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0" h="123825">
                <a:moveTo>
                  <a:pt x="0" y="95250"/>
                </a:moveTo>
                <a:lnTo>
                  <a:pt x="0" y="0"/>
                </a:lnTo>
                <a:lnTo>
                  <a:pt x="19050" y="0"/>
                </a:lnTo>
                <a:lnTo>
                  <a:pt x="19050" y="76200"/>
                </a:lnTo>
                <a:lnTo>
                  <a:pt x="154048" y="76200"/>
                </a:lnTo>
                <a:lnTo>
                  <a:pt x="129416" y="51568"/>
                </a:lnTo>
                <a:lnTo>
                  <a:pt x="142885" y="38100"/>
                </a:lnTo>
                <a:lnTo>
                  <a:pt x="190500" y="85706"/>
                </a:lnTo>
                <a:lnTo>
                  <a:pt x="190490" y="85715"/>
                </a:lnTo>
                <a:lnTo>
                  <a:pt x="142865" y="133340"/>
                </a:lnTo>
                <a:lnTo>
                  <a:pt x="129416" y="119891"/>
                </a:lnTo>
                <a:lnTo>
                  <a:pt x="154067" y="95240"/>
                </a:lnTo>
                <a:lnTo>
                  <a:pt x="0" y="95250"/>
                </a:lnTo>
                <a:close/>
              </a:path>
            </a:pathLst>
          </a:custGeom>
          <a:solidFill>
            <a:schemeClr val="tx2"/>
          </a:solidFill>
          <a:ln w="9525" cap="flat">
            <a:noFill/>
            <a:prstDash val="solid"/>
            <a:miter/>
          </a:ln>
        </p:spPr>
        <p:txBody>
          <a:bodyPr rtlCol="0" anchor="ctr"/>
          <a:lstStyle/>
          <a:p>
            <a:endParaRPr lang="en-GB" dirty="0"/>
          </a:p>
        </p:txBody>
      </p:sp>
      <p:sp>
        <p:nvSpPr>
          <p:cNvPr id="178" name="Freihandform: Form 24">
            <a:extLst>
              <a:ext uri="{FF2B5EF4-FFF2-40B4-BE49-F238E27FC236}">
                <a16:creationId xmlns:a16="http://schemas.microsoft.com/office/drawing/2014/main" id="{392BCD8B-8AC9-4D90-9D59-98FB046611A2}"/>
              </a:ext>
            </a:extLst>
          </p:cNvPr>
          <p:cNvSpPr>
            <a:spLocks noChangeAspect="1"/>
          </p:cNvSpPr>
          <p:nvPr/>
        </p:nvSpPr>
        <p:spPr>
          <a:xfrm>
            <a:off x="7096724" y="3316869"/>
            <a:ext cx="414000" cy="290941"/>
          </a:xfrm>
          <a:custGeom>
            <a:avLst/>
            <a:gdLst>
              <a:gd name="connsiteX0" fmla="*/ 133350 w 190500"/>
              <a:gd name="connsiteY0" fmla="*/ 133350 h 133350"/>
              <a:gd name="connsiteX1" fmla="*/ 133350 w 190500"/>
              <a:gd name="connsiteY1" fmla="*/ 95250 h 133350"/>
              <a:gd name="connsiteX2" fmla="*/ 0 w 190500"/>
              <a:gd name="connsiteY2" fmla="*/ 95250 h 133350"/>
              <a:gd name="connsiteX3" fmla="*/ 0 w 190500"/>
              <a:gd name="connsiteY3" fmla="*/ 0 h 133350"/>
              <a:gd name="connsiteX4" fmla="*/ 38100 w 190500"/>
              <a:gd name="connsiteY4" fmla="*/ 0 h 133350"/>
              <a:gd name="connsiteX5" fmla="*/ 37957 w 190500"/>
              <a:gd name="connsiteY5" fmla="*/ 57150 h 133350"/>
              <a:gd name="connsiteX6" fmla="*/ 133350 w 190500"/>
              <a:gd name="connsiteY6" fmla="*/ 57150 h 133350"/>
              <a:gd name="connsiteX7" fmla="*/ 133350 w 190500"/>
              <a:gd name="connsiteY7" fmla="*/ 19050 h 133350"/>
              <a:gd name="connsiteX8" fmla="*/ 190500 w 190500"/>
              <a:gd name="connsiteY8" fmla="*/ 76200 h 133350"/>
              <a:gd name="connsiteX9" fmla="*/ 133350 w 190500"/>
              <a:gd name="connsiteY9" fmla="*/ 133350 h 133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0" h="133350">
                <a:moveTo>
                  <a:pt x="133350" y="133350"/>
                </a:moveTo>
                <a:lnTo>
                  <a:pt x="133350" y="95250"/>
                </a:lnTo>
                <a:lnTo>
                  <a:pt x="0" y="95250"/>
                </a:lnTo>
                <a:lnTo>
                  <a:pt x="0" y="0"/>
                </a:lnTo>
                <a:lnTo>
                  <a:pt x="38100" y="0"/>
                </a:lnTo>
                <a:lnTo>
                  <a:pt x="37957" y="57150"/>
                </a:lnTo>
                <a:lnTo>
                  <a:pt x="133350" y="57150"/>
                </a:lnTo>
                <a:lnTo>
                  <a:pt x="133350" y="19050"/>
                </a:lnTo>
                <a:lnTo>
                  <a:pt x="190500" y="76200"/>
                </a:lnTo>
                <a:lnTo>
                  <a:pt x="133350" y="133350"/>
                </a:lnTo>
                <a:close/>
              </a:path>
            </a:pathLst>
          </a:custGeom>
          <a:solidFill>
            <a:schemeClr val="tx2"/>
          </a:solidFill>
          <a:ln w="9525" cap="flat">
            <a:noFill/>
            <a:prstDash val="solid"/>
            <a:miter/>
          </a:ln>
        </p:spPr>
        <p:txBody>
          <a:bodyPr rtlCol="0" anchor="ctr"/>
          <a:lstStyle/>
          <a:p>
            <a:endParaRPr lang="en-GB" dirty="0"/>
          </a:p>
        </p:txBody>
      </p:sp>
      <p:pic>
        <p:nvPicPr>
          <p:cNvPr id="184" name="Graphic 183">
            <a:extLst>
              <a:ext uri="{FF2B5EF4-FFF2-40B4-BE49-F238E27FC236}">
                <a16:creationId xmlns:a16="http://schemas.microsoft.com/office/drawing/2014/main" id="{BF560E9C-CA68-4D2A-BA55-42AE9EF3ECC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636385" y="2412736"/>
            <a:ext cx="406198" cy="406198"/>
          </a:xfrm>
          <a:prstGeom prst="rect">
            <a:avLst/>
          </a:prstGeom>
        </p:spPr>
      </p:pic>
      <p:pic>
        <p:nvPicPr>
          <p:cNvPr id="185" name="Graphic 184">
            <a:extLst>
              <a:ext uri="{FF2B5EF4-FFF2-40B4-BE49-F238E27FC236}">
                <a16:creationId xmlns:a16="http://schemas.microsoft.com/office/drawing/2014/main" id="{5C527233-516C-47F1-876F-C3C6F94386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643561" y="3215964"/>
            <a:ext cx="391846" cy="391846"/>
          </a:xfrm>
          <a:prstGeom prst="rect">
            <a:avLst/>
          </a:prstGeom>
        </p:spPr>
      </p:pic>
      <p:pic>
        <p:nvPicPr>
          <p:cNvPr id="186" name="Graphic 185">
            <a:extLst>
              <a:ext uri="{FF2B5EF4-FFF2-40B4-BE49-F238E27FC236}">
                <a16:creationId xmlns:a16="http://schemas.microsoft.com/office/drawing/2014/main" id="{EBF4899B-1D6A-448F-8EF5-60F53156E51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734429" y="4072713"/>
            <a:ext cx="391846" cy="391846"/>
          </a:xfrm>
          <a:prstGeom prst="rect">
            <a:avLst/>
          </a:prstGeom>
        </p:spPr>
      </p:pic>
      <p:pic>
        <p:nvPicPr>
          <p:cNvPr id="187" name="Graphic 186">
            <a:extLst>
              <a:ext uri="{FF2B5EF4-FFF2-40B4-BE49-F238E27FC236}">
                <a16:creationId xmlns:a16="http://schemas.microsoft.com/office/drawing/2014/main" id="{FB4BD2AA-9709-4DA6-88CD-3FD9CBED2E6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016933" y="1613238"/>
            <a:ext cx="391846" cy="391846"/>
          </a:xfrm>
          <a:prstGeom prst="rect">
            <a:avLst/>
          </a:prstGeom>
        </p:spPr>
      </p:pic>
      <p:pic>
        <p:nvPicPr>
          <p:cNvPr id="188" name="Graphic 187">
            <a:extLst>
              <a:ext uri="{FF2B5EF4-FFF2-40B4-BE49-F238E27FC236}">
                <a16:creationId xmlns:a16="http://schemas.microsoft.com/office/drawing/2014/main" id="{FA17B733-6DCE-467D-A960-119E56FFB76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107801" y="4072713"/>
            <a:ext cx="391846" cy="391846"/>
          </a:xfrm>
          <a:prstGeom prst="rect">
            <a:avLst/>
          </a:prstGeom>
        </p:spPr>
      </p:pic>
      <p:sp>
        <p:nvSpPr>
          <p:cNvPr id="198" name="Freeform 110">
            <a:extLst>
              <a:ext uri="{FF2B5EF4-FFF2-40B4-BE49-F238E27FC236}">
                <a16:creationId xmlns:a16="http://schemas.microsoft.com/office/drawing/2014/main" id="{514FD5B8-53A3-489A-90C6-1BDDA9AD4AE5}"/>
              </a:ext>
            </a:extLst>
          </p:cNvPr>
          <p:cNvSpPr>
            <a:spLocks noEditPoints="1"/>
          </p:cNvSpPr>
          <p:nvPr/>
        </p:nvSpPr>
        <p:spPr bwMode="auto">
          <a:xfrm>
            <a:off x="586881" y="1592334"/>
            <a:ext cx="414338" cy="412750"/>
          </a:xfrm>
          <a:custGeom>
            <a:avLst/>
            <a:gdLst>
              <a:gd name="T0" fmla="*/ 104 w 128"/>
              <a:gd name="T1" fmla="*/ 56 h 128"/>
              <a:gd name="T2" fmla="*/ 24 w 128"/>
              <a:gd name="T3" fmla="*/ 56 h 128"/>
              <a:gd name="T4" fmla="*/ 24 w 128"/>
              <a:gd name="T5" fmla="*/ 16 h 128"/>
              <a:gd name="T6" fmla="*/ 104 w 128"/>
              <a:gd name="T7" fmla="*/ 16 h 128"/>
              <a:gd name="T8" fmla="*/ 104 w 128"/>
              <a:gd name="T9" fmla="*/ 56 h 128"/>
              <a:gd name="T10" fmla="*/ 32 w 128"/>
              <a:gd name="T11" fmla="*/ 80 h 128"/>
              <a:gd name="T12" fmla="*/ 24 w 128"/>
              <a:gd name="T13" fmla="*/ 88 h 128"/>
              <a:gd name="T14" fmla="*/ 32 w 128"/>
              <a:gd name="T15" fmla="*/ 96 h 128"/>
              <a:gd name="T16" fmla="*/ 40 w 128"/>
              <a:gd name="T17" fmla="*/ 88 h 128"/>
              <a:gd name="T18" fmla="*/ 32 w 128"/>
              <a:gd name="T19" fmla="*/ 80 h 128"/>
              <a:gd name="T20" fmla="*/ 96 w 128"/>
              <a:gd name="T21" fmla="*/ 80 h 128"/>
              <a:gd name="T22" fmla="*/ 88 w 128"/>
              <a:gd name="T23" fmla="*/ 88 h 128"/>
              <a:gd name="T24" fmla="*/ 96 w 128"/>
              <a:gd name="T25" fmla="*/ 96 h 128"/>
              <a:gd name="T26" fmla="*/ 104 w 128"/>
              <a:gd name="T27" fmla="*/ 88 h 128"/>
              <a:gd name="T28" fmla="*/ 96 w 128"/>
              <a:gd name="T29" fmla="*/ 80 h 128"/>
              <a:gd name="T30" fmla="*/ 120 w 128"/>
              <a:gd name="T31" fmla="*/ 32 h 128"/>
              <a:gd name="T32" fmla="*/ 128 w 128"/>
              <a:gd name="T33" fmla="*/ 32 h 128"/>
              <a:gd name="T34" fmla="*/ 128 w 128"/>
              <a:gd name="T35" fmla="*/ 56 h 128"/>
              <a:gd name="T36" fmla="*/ 120 w 128"/>
              <a:gd name="T37" fmla="*/ 56 h 128"/>
              <a:gd name="T38" fmla="*/ 120 w 128"/>
              <a:gd name="T39" fmla="*/ 112 h 128"/>
              <a:gd name="T40" fmla="*/ 108 w 128"/>
              <a:gd name="T41" fmla="*/ 112 h 128"/>
              <a:gd name="T42" fmla="*/ 108 w 128"/>
              <a:gd name="T43" fmla="*/ 128 h 128"/>
              <a:gd name="T44" fmla="*/ 92 w 128"/>
              <a:gd name="T45" fmla="*/ 128 h 128"/>
              <a:gd name="T46" fmla="*/ 92 w 128"/>
              <a:gd name="T47" fmla="*/ 112 h 128"/>
              <a:gd name="T48" fmla="*/ 36 w 128"/>
              <a:gd name="T49" fmla="*/ 112 h 128"/>
              <a:gd name="T50" fmla="*/ 36 w 128"/>
              <a:gd name="T51" fmla="*/ 128 h 128"/>
              <a:gd name="T52" fmla="*/ 20 w 128"/>
              <a:gd name="T53" fmla="*/ 128 h 128"/>
              <a:gd name="T54" fmla="*/ 20 w 128"/>
              <a:gd name="T55" fmla="*/ 112 h 128"/>
              <a:gd name="T56" fmla="*/ 8 w 128"/>
              <a:gd name="T57" fmla="*/ 112 h 128"/>
              <a:gd name="T58" fmla="*/ 8 w 128"/>
              <a:gd name="T59" fmla="*/ 56 h 128"/>
              <a:gd name="T60" fmla="*/ 0 w 128"/>
              <a:gd name="T61" fmla="*/ 56 h 128"/>
              <a:gd name="T62" fmla="*/ 0 w 128"/>
              <a:gd name="T63" fmla="*/ 32 h 128"/>
              <a:gd name="T64" fmla="*/ 8 w 128"/>
              <a:gd name="T65" fmla="*/ 32 h 128"/>
              <a:gd name="T66" fmla="*/ 8 w 128"/>
              <a:gd name="T67" fmla="*/ 0 h 128"/>
              <a:gd name="T68" fmla="*/ 120 w 128"/>
              <a:gd name="T69" fmla="*/ 0 h 128"/>
              <a:gd name="T70" fmla="*/ 120 w 128"/>
              <a:gd name="T71" fmla="*/ 32 h 128"/>
              <a:gd name="T72" fmla="*/ 112 w 128"/>
              <a:gd name="T73" fmla="*/ 8 h 128"/>
              <a:gd name="T74" fmla="*/ 16 w 128"/>
              <a:gd name="T75" fmla="*/ 8 h 128"/>
              <a:gd name="T76" fmla="*/ 16 w 128"/>
              <a:gd name="T77" fmla="*/ 104 h 128"/>
              <a:gd name="T78" fmla="*/ 112 w 128"/>
              <a:gd name="T79" fmla="*/ 104 h 128"/>
              <a:gd name="T80" fmla="*/ 112 w 128"/>
              <a:gd name="T81" fmla="*/ 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128">
                <a:moveTo>
                  <a:pt x="104" y="56"/>
                </a:moveTo>
                <a:cubicBezTo>
                  <a:pt x="24" y="56"/>
                  <a:pt x="24" y="56"/>
                  <a:pt x="24" y="56"/>
                </a:cubicBezTo>
                <a:cubicBezTo>
                  <a:pt x="24" y="16"/>
                  <a:pt x="24" y="16"/>
                  <a:pt x="24" y="16"/>
                </a:cubicBezTo>
                <a:cubicBezTo>
                  <a:pt x="104" y="16"/>
                  <a:pt x="104" y="16"/>
                  <a:pt x="104" y="16"/>
                </a:cubicBezTo>
                <a:lnTo>
                  <a:pt x="104" y="56"/>
                </a:lnTo>
                <a:close/>
                <a:moveTo>
                  <a:pt x="32" y="80"/>
                </a:moveTo>
                <a:cubicBezTo>
                  <a:pt x="28" y="80"/>
                  <a:pt x="24" y="84"/>
                  <a:pt x="24" y="88"/>
                </a:cubicBezTo>
                <a:cubicBezTo>
                  <a:pt x="24" y="92"/>
                  <a:pt x="28" y="96"/>
                  <a:pt x="32" y="96"/>
                </a:cubicBezTo>
                <a:cubicBezTo>
                  <a:pt x="36" y="96"/>
                  <a:pt x="40" y="92"/>
                  <a:pt x="40" y="88"/>
                </a:cubicBezTo>
                <a:cubicBezTo>
                  <a:pt x="40" y="84"/>
                  <a:pt x="36" y="80"/>
                  <a:pt x="32" y="80"/>
                </a:cubicBezTo>
                <a:close/>
                <a:moveTo>
                  <a:pt x="96" y="80"/>
                </a:moveTo>
                <a:cubicBezTo>
                  <a:pt x="92" y="80"/>
                  <a:pt x="88" y="84"/>
                  <a:pt x="88" y="88"/>
                </a:cubicBezTo>
                <a:cubicBezTo>
                  <a:pt x="88" y="92"/>
                  <a:pt x="92" y="96"/>
                  <a:pt x="96" y="96"/>
                </a:cubicBezTo>
                <a:cubicBezTo>
                  <a:pt x="100" y="96"/>
                  <a:pt x="104" y="92"/>
                  <a:pt x="104" y="88"/>
                </a:cubicBezTo>
                <a:cubicBezTo>
                  <a:pt x="104" y="84"/>
                  <a:pt x="100" y="80"/>
                  <a:pt x="96" y="80"/>
                </a:cubicBezTo>
                <a:close/>
                <a:moveTo>
                  <a:pt x="120" y="32"/>
                </a:moveTo>
                <a:cubicBezTo>
                  <a:pt x="128" y="32"/>
                  <a:pt x="128" y="32"/>
                  <a:pt x="128" y="32"/>
                </a:cubicBezTo>
                <a:cubicBezTo>
                  <a:pt x="128" y="56"/>
                  <a:pt x="128" y="56"/>
                  <a:pt x="128" y="56"/>
                </a:cubicBezTo>
                <a:cubicBezTo>
                  <a:pt x="120" y="56"/>
                  <a:pt x="120" y="56"/>
                  <a:pt x="120" y="56"/>
                </a:cubicBezTo>
                <a:cubicBezTo>
                  <a:pt x="120" y="112"/>
                  <a:pt x="120" y="112"/>
                  <a:pt x="120" y="112"/>
                </a:cubicBezTo>
                <a:cubicBezTo>
                  <a:pt x="108" y="112"/>
                  <a:pt x="108" y="112"/>
                  <a:pt x="108" y="112"/>
                </a:cubicBezTo>
                <a:cubicBezTo>
                  <a:pt x="108" y="128"/>
                  <a:pt x="108" y="128"/>
                  <a:pt x="108" y="128"/>
                </a:cubicBezTo>
                <a:cubicBezTo>
                  <a:pt x="92" y="128"/>
                  <a:pt x="92" y="128"/>
                  <a:pt x="92" y="128"/>
                </a:cubicBezTo>
                <a:cubicBezTo>
                  <a:pt x="92" y="112"/>
                  <a:pt x="92" y="112"/>
                  <a:pt x="92" y="112"/>
                </a:cubicBezTo>
                <a:cubicBezTo>
                  <a:pt x="36" y="112"/>
                  <a:pt x="36" y="112"/>
                  <a:pt x="36" y="112"/>
                </a:cubicBezTo>
                <a:cubicBezTo>
                  <a:pt x="36" y="128"/>
                  <a:pt x="36" y="128"/>
                  <a:pt x="36" y="128"/>
                </a:cubicBezTo>
                <a:cubicBezTo>
                  <a:pt x="20" y="128"/>
                  <a:pt x="20" y="128"/>
                  <a:pt x="20" y="128"/>
                </a:cubicBezTo>
                <a:cubicBezTo>
                  <a:pt x="20" y="112"/>
                  <a:pt x="20" y="112"/>
                  <a:pt x="20" y="112"/>
                </a:cubicBezTo>
                <a:cubicBezTo>
                  <a:pt x="8" y="112"/>
                  <a:pt x="8" y="112"/>
                  <a:pt x="8" y="112"/>
                </a:cubicBezTo>
                <a:cubicBezTo>
                  <a:pt x="8" y="56"/>
                  <a:pt x="8" y="56"/>
                  <a:pt x="8" y="56"/>
                </a:cubicBezTo>
                <a:cubicBezTo>
                  <a:pt x="0" y="56"/>
                  <a:pt x="0" y="56"/>
                  <a:pt x="0" y="56"/>
                </a:cubicBezTo>
                <a:cubicBezTo>
                  <a:pt x="0" y="32"/>
                  <a:pt x="0" y="32"/>
                  <a:pt x="0" y="32"/>
                </a:cubicBezTo>
                <a:cubicBezTo>
                  <a:pt x="8" y="32"/>
                  <a:pt x="8" y="32"/>
                  <a:pt x="8" y="32"/>
                </a:cubicBezTo>
                <a:cubicBezTo>
                  <a:pt x="8" y="0"/>
                  <a:pt x="8" y="0"/>
                  <a:pt x="8" y="0"/>
                </a:cubicBezTo>
                <a:cubicBezTo>
                  <a:pt x="120" y="0"/>
                  <a:pt x="120" y="0"/>
                  <a:pt x="120" y="0"/>
                </a:cubicBezTo>
                <a:lnTo>
                  <a:pt x="120" y="32"/>
                </a:lnTo>
                <a:close/>
                <a:moveTo>
                  <a:pt x="112" y="8"/>
                </a:moveTo>
                <a:cubicBezTo>
                  <a:pt x="16" y="8"/>
                  <a:pt x="16" y="8"/>
                  <a:pt x="16" y="8"/>
                </a:cubicBezTo>
                <a:cubicBezTo>
                  <a:pt x="16" y="104"/>
                  <a:pt x="16" y="104"/>
                  <a:pt x="16" y="104"/>
                </a:cubicBezTo>
                <a:cubicBezTo>
                  <a:pt x="112" y="104"/>
                  <a:pt x="112" y="104"/>
                  <a:pt x="112" y="104"/>
                </a:cubicBezTo>
                <a:lnTo>
                  <a:pt x="112" y="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9" name="Freeform 114">
            <a:extLst>
              <a:ext uri="{FF2B5EF4-FFF2-40B4-BE49-F238E27FC236}">
                <a16:creationId xmlns:a16="http://schemas.microsoft.com/office/drawing/2014/main" id="{EF8FE8FD-9EDD-4331-BA7A-F4F117717178}"/>
              </a:ext>
            </a:extLst>
          </p:cNvPr>
          <p:cNvSpPr>
            <a:spLocks noEditPoints="1"/>
          </p:cNvSpPr>
          <p:nvPr/>
        </p:nvSpPr>
        <p:spPr bwMode="auto">
          <a:xfrm>
            <a:off x="1633109" y="1706634"/>
            <a:ext cx="412750" cy="298450"/>
          </a:xfrm>
          <a:custGeom>
            <a:avLst/>
            <a:gdLst>
              <a:gd name="T0" fmla="*/ 244 w 260"/>
              <a:gd name="T1" fmla="*/ 16 h 188"/>
              <a:gd name="T2" fmla="*/ 244 w 260"/>
              <a:gd name="T3" fmla="*/ 172 h 188"/>
              <a:gd name="T4" fmla="*/ 16 w 260"/>
              <a:gd name="T5" fmla="*/ 172 h 188"/>
              <a:gd name="T6" fmla="*/ 16 w 260"/>
              <a:gd name="T7" fmla="*/ 16 h 188"/>
              <a:gd name="T8" fmla="*/ 244 w 260"/>
              <a:gd name="T9" fmla="*/ 16 h 188"/>
              <a:gd name="T10" fmla="*/ 260 w 260"/>
              <a:gd name="T11" fmla="*/ 0 h 188"/>
              <a:gd name="T12" fmla="*/ 0 w 260"/>
              <a:gd name="T13" fmla="*/ 0 h 188"/>
              <a:gd name="T14" fmla="*/ 0 w 260"/>
              <a:gd name="T15" fmla="*/ 188 h 188"/>
              <a:gd name="T16" fmla="*/ 260 w 260"/>
              <a:gd name="T17" fmla="*/ 188 h 188"/>
              <a:gd name="T18" fmla="*/ 260 w 260"/>
              <a:gd name="T19" fmla="*/ 0 h 188"/>
              <a:gd name="T20" fmla="*/ 260 w 260"/>
              <a:gd name="T21" fmla="*/ 0 h 188"/>
              <a:gd name="T22" fmla="*/ 97 w 260"/>
              <a:gd name="T23" fmla="*/ 65 h 188"/>
              <a:gd name="T24" fmla="*/ 32 w 260"/>
              <a:gd name="T25" fmla="*/ 65 h 188"/>
              <a:gd name="T26" fmla="*/ 32 w 260"/>
              <a:gd name="T27" fmla="*/ 82 h 188"/>
              <a:gd name="T28" fmla="*/ 97 w 260"/>
              <a:gd name="T29" fmla="*/ 82 h 188"/>
              <a:gd name="T30" fmla="*/ 97 w 260"/>
              <a:gd name="T31" fmla="*/ 65 h 188"/>
              <a:gd name="T32" fmla="*/ 146 w 260"/>
              <a:gd name="T33" fmla="*/ 33 h 188"/>
              <a:gd name="T34" fmla="*/ 32 w 260"/>
              <a:gd name="T35" fmla="*/ 33 h 188"/>
              <a:gd name="T36" fmla="*/ 32 w 260"/>
              <a:gd name="T37" fmla="*/ 49 h 188"/>
              <a:gd name="T38" fmla="*/ 146 w 260"/>
              <a:gd name="T39" fmla="*/ 49 h 188"/>
              <a:gd name="T40" fmla="*/ 146 w 260"/>
              <a:gd name="T41" fmla="*/ 3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0" h="188">
                <a:moveTo>
                  <a:pt x="244" y="16"/>
                </a:moveTo>
                <a:lnTo>
                  <a:pt x="244" y="172"/>
                </a:lnTo>
                <a:lnTo>
                  <a:pt x="16" y="172"/>
                </a:lnTo>
                <a:lnTo>
                  <a:pt x="16" y="16"/>
                </a:lnTo>
                <a:lnTo>
                  <a:pt x="244" y="16"/>
                </a:lnTo>
                <a:close/>
                <a:moveTo>
                  <a:pt x="260" y="0"/>
                </a:moveTo>
                <a:lnTo>
                  <a:pt x="0" y="0"/>
                </a:lnTo>
                <a:lnTo>
                  <a:pt x="0" y="188"/>
                </a:lnTo>
                <a:lnTo>
                  <a:pt x="260" y="188"/>
                </a:lnTo>
                <a:lnTo>
                  <a:pt x="260" y="0"/>
                </a:lnTo>
                <a:lnTo>
                  <a:pt x="260" y="0"/>
                </a:lnTo>
                <a:close/>
                <a:moveTo>
                  <a:pt x="97" y="65"/>
                </a:moveTo>
                <a:lnTo>
                  <a:pt x="32" y="65"/>
                </a:lnTo>
                <a:lnTo>
                  <a:pt x="32" y="82"/>
                </a:lnTo>
                <a:lnTo>
                  <a:pt x="97" y="82"/>
                </a:lnTo>
                <a:lnTo>
                  <a:pt x="97" y="65"/>
                </a:lnTo>
                <a:close/>
                <a:moveTo>
                  <a:pt x="146" y="33"/>
                </a:moveTo>
                <a:lnTo>
                  <a:pt x="32" y="33"/>
                </a:lnTo>
                <a:lnTo>
                  <a:pt x="32" y="49"/>
                </a:lnTo>
                <a:lnTo>
                  <a:pt x="146" y="49"/>
                </a:lnTo>
                <a:lnTo>
                  <a:pt x="146" y="3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0" name="Freeform 119">
            <a:extLst>
              <a:ext uri="{FF2B5EF4-FFF2-40B4-BE49-F238E27FC236}">
                <a16:creationId xmlns:a16="http://schemas.microsoft.com/office/drawing/2014/main" id="{B0524B71-D06C-4513-8858-9EFAD265BA9C}"/>
              </a:ext>
            </a:extLst>
          </p:cNvPr>
          <p:cNvSpPr>
            <a:spLocks noEditPoints="1"/>
          </p:cNvSpPr>
          <p:nvPr/>
        </p:nvSpPr>
        <p:spPr bwMode="auto">
          <a:xfrm>
            <a:off x="2677749" y="1673296"/>
            <a:ext cx="414338" cy="331788"/>
          </a:xfrm>
          <a:custGeom>
            <a:avLst/>
            <a:gdLst>
              <a:gd name="T0" fmla="*/ 124 w 261"/>
              <a:gd name="T1" fmla="*/ 113 h 209"/>
              <a:gd name="T2" fmla="*/ 98 w 261"/>
              <a:gd name="T3" fmla="*/ 45 h 209"/>
              <a:gd name="T4" fmla="*/ 71 w 261"/>
              <a:gd name="T5" fmla="*/ 113 h 209"/>
              <a:gd name="T6" fmla="*/ 0 w 261"/>
              <a:gd name="T7" fmla="*/ 113 h 209"/>
              <a:gd name="T8" fmla="*/ 0 w 261"/>
              <a:gd name="T9" fmla="*/ 96 h 209"/>
              <a:gd name="T10" fmla="*/ 59 w 261"/>
              <a:gd name="T11" fmla="*/ 96 h 209"/>
              <a:gd name="T12" fmla="*/ 98 w 261"/>
              <a:gd name="T13" fmla="*/ 0 h 209"/>
              <a:gd name="T14" fmla="*/ 143 w 261"/>
              <a:gd name="T15" fmla="*/ 113 h 209"/>
              <a:gd name="T16" fmla="*/ 124 w 261"/>
              <a:gd name="T17" fmla="*/ 113 h 209"/>
              <a:gd name="T18" fmla="*/ 163 w 261"/>
              <a:gd name="T19" fmla="*/ 209 h 209"/>
              <a:gd name="T20" fmla="*/ 202 w 261"/>
              <a:gd name="T21" fmla="*/ 113 h 209"/>
              <a:gd name="T22" fmla="*/ 261 w 261"/>
              <a:gd name="T23" fmla="*/ 113 h 209"/>
              <a:gd name="T24" fmla="*/ 261 w 261"/>
              <a:gd name="T25" fmla="*/ 96 h 209"/>
              <a:gd name="T26" fmla="*/ 190 w 261"/>
              <a:gd name="T27" fmla="*/ 96 h 209"/>
              <a:gd name="T28" fmla="*/ 155 w 261"/>
              <a:gd name="T29" fmla="*/ 186 h 209"/>
              <a:gd name="T30" fmla="*/ 163 w 261"/>
              <a:gd name="T31"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09">
                <a:moveTo>
                  <a:pt x="124" y="113"/>
                </a:moveTo>
                <a:lnTo>
                  <a:pt x="98" y="45"/>
                </a:lnTo>
                <a:lnTo>
                  <a:pt x="71" y="113"/>
                </a:lnTo>
                <a:lnTo>
                  <a:pt x="0" y="113"/>
                </a:lnTo>
                <a:lnTo>
                  <a:pt x="0" y="96"/>
                </a:lnTo>
                <a:lnTo>
                  <a:pt x="59" y="96"/>
                </a:lnTo>
                <a:lnTo>
                  <a:pt x="98" y="0"/>
                </a:lnTo>
                <a:lnTo>
                  <a:pt x="143" y="113"/>
                </a:lnTo>
                <a:lnTo>
                  <a:pt x="124" y="113"/>
                </a:lnTo>
                <a:close/>
                <a:moveTo>
                  <a:pt x="163" y="209"/>
                </a:moveTo>
                <a:lnTo>
                  <a:pt x="202" y="113"/>
                </a:lnTo>
                <a:lnTo>
                  <a:pt x="261" y="113"/>
                </a:lnTo>
                <a:lnTo>
                  <a:pt x="261" y="96"/>
                </a:lnTo>
                <a:lnTo>
                  <a:pt x="190" y="96"/>
                </a:lnTo>
                <a:lnTo>
                  <a:pt x="155" y="186"/>
                </a:lnTo>
                <a:lnTo>
                  <a:pt x="163" y="2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7" name="Freeform 128">
            <a:extLst>
              <a:ext uri="{FF2B5EF4-FFF2-40B4-BE49-F238E27FC236}">
                <a16:creationId xmlns:a16="http://schemas.microsoft.com/office/drawing/2014/main" id="{EE7763BA-927F-477F-8518-7ADC79D167D1}"/>
              </a:ext>
            </a:extLst>
          </p:cNvPr>
          <p:cNvSpPr>
            <a:spLocks noEditPoints="1"/>
          </p:cNvSpPr>
          <p:nvPr/>
        </p:nvSpPr>
        <p:spPr bwMode="auto">
          <a:xfrm>
            <a:off x="586882" y="2404597"/>
            <a:ext cx="414337" cy="414337"/>
          </a:xfrm>
          <a:custGeom>
            <a:avLst/>
            <a:gdLst>
              <a:gd name="T0" fmla="*/ 196 w 261"/>
              <a:gd name="T1" fmla="*/ 0 h 261"/>
              <a:gd name="T2" fmla="*/ 163 w 261"/>
              <a:gd name="T3" fmla="*/ 0 h 261"/>
              <a:gd name="T4" fmla="*/ 114 w 261"/>
              <a:gd name="T5" fmla="*/ 16 h 261"/>
              <a:gd name="T6" fmla="*/ 98 w 261"/>
              <a:gd name="T7" fmla="*/ 16 h 261"/>
              <a:gd name="T8" fmla="*/ 49 w 261"/>
              <a:gd name="T9" fmla="*/ 0 h 261"/>
              <a:gd name="T10" fmla="*/ 0 w 261"/>
              <a:gd name="T11" fmla="*/ 261 h 261"/>
              <a:gd name="T12" fmla="*/ 212 w 261"/>
              <a:gd name="T13" fmla="*/ 16 h 261"/>
              <a:gd name="T14" fmla="*/ 16 w 261"/>
              <a:gd name="T15" fmla="*/ 73 h 261"/>
              <a:gd name="T16" fmla="*/ 65 w 261"/>
              <a:gd name="T17" fmla="*/ 151 h 261"/>
              <a:gd name="T18" fmla="*/ 49 w 261"/>
              <a:gd name="T19" fmla="*/ 151 h 261"/>
              <a:gd name="T20" fmla="*/ 41 w 261"/>
              <a:gd name="T21" fmla="*/ 143 h 261"/>
              <a:gd name="T22" fmla="*/ 73 w 261"/>
              <a:gd name="T23" fmla="*/ 143 h 261"/>
              <a:gd name="T24" fmla="*/ 65 w 261"/>
              <a:gd name="T25" fmla="*/ 220 h 261"/>
              <a:gd name="T26" fmla="*/ 65 w 261"/>
              <a:gd name="T27" fmla="*/ 204 h 261"/>
              <a:gd name="T28" fmla="*/ 41 w 261"/>
              <a:gd name="T29" fmla="*/ 228 h 261"/>
              <a:gd name="T30" fmla="*/ 73 w 261"/>
              <a:gd name="T31" fmla="*/ 196 h 261"/>
              <a:gd name="T32" fmla="*/ 98 w 261"/>
              <a:gd name="T33" fmla="*/ 114 h 261"/>
              <a:gd name="T34" fmla="*/ 122 w 261"/>
              <a:gd name="T35" fmla="*/ 90 h 261"/>
              <a:gd name="T36" fmla="*/ 122 w 261"/>
              <a:gd name="T37" fmla="*/ 122 h 261"/>
              <a:gd name="T38" fmla="*/ 114 w 261"/>
              <a:gd name="T39" fmla="*/ 151 h 261"/>
              <a:gd name="T40" fmla="*/ 98 w 261"/>
              <a:gd name="T41" fmla="*/ 151 h 261"/>
              <a:gd name="T42" fmla="*/ 90 w 261"/>
              <a:gd name="T43" fmla="*/ 143 h 261"/>
              <a:gd name="T44" fmla="*/ 122 w 261"/>
              <a:gd name="T45" fmla="*/ 143 h 261"/>
              <a:gd name="T46" fmla="*/ 114 w 261"/>
              <a:gd name="T47" fmla="*/ 220 h 261"/>
              <a:gd name="T48" fmla="*/ 114 w 261"/>
              <a:gd name="T49" fmla="*/ 204 h 261"/>
              <a:gd name="T50" fmla="*/ 90 w 261"/>
              <a:gd name="T51" fmla="*/ 228 h 261"/>
              <a:gd name="T52" fmla="*/ 122 w 261"/>
              <a:gd name="T53" fmla="*/ 196 h 261"/>
              <a:gd name="T54" fmla="*/ 147 w 261"/>
              <a:gd name="T55" fmla="*/ 114 h 261"/>
              <a:gd name="T56" fmla="*/ 171 w 261"/>
              <a:gd name="T57" fmla="*/ 90 h 261"/>
              <a:gd name="T58" fmla="*/ 171 w 261"/>
              <a:gd name="T59" fmla="*/ 122 h 261"/>
              <a:gd name="T60" fmla="*/ 171 w 261"/>
              <a:gd name="T61" fmla="*/ 175 h 261"/>
              <a:gd name="T62" fmla="*/ 171 w 261"/>
              <a:gd name="T63" fmla="*/ 143 h 261"/>
              <a:gd name="T64" fmla="*/ 163 w 261"/>
              <a:gd name="T65" fmla="*/ 220 h 261"/>
              <a:gd name="T66" fmla="*/ 163 w 261"/>
              <a:gd name="T67" fmla="*/ 204 h 261"/>
              <a:gd name="T68" fmla="*/ 139 w 261"/>
              <a:gd name="T69" fmla="*/ 228 h 261"/>
              <a:gd name="T70" fmla="*/ 171 w 261"/>
              <a:gd name="T71" fmla="*/ 196 h 261"/>
              <a:gd name="T72" fmla="*/ 196 w 261"/>
              <a:gd name="T73" fmla="*/ 114 h 261"/>
              <a:gd name="T74" fmla="*/ 220 w 261"/>
              <a:gd name="T75" fmla="*/ 90 h 261"/>
              <a:gd name="T76" fmla="*/ 220 w 261"/>
              <a:gd name="T77" fmla="*/ 122 h 261"/>
              <a:gd name="T78" fmla="*/ 212 w 261"/>
              <a:gd name="T79" fmla="*/ 151 h 261"/>
              <a:gd name="T80" fmla="*/ 196 w 261"/>
              <a:gd name="T81" fmla="*/ 151 h 261"/>
              <a:gd name="T82" fmla="*/ 188 w 261"/>
              <a:gd name="T83" fmla="*/ 143 h 261"/>
              <a:gd name="T84" fmla="*/ 220 w 261"/>
              <a:gd name="T85" fmla="*/ 143 h 261"/>
              <a:gd name="T86" fmla="*/ 212 w 261"/>
              <a:gd name="T87" fmla="*/ 220 h 261"/>
              <a:gd name="T88" fmla="*/ 212 w 261"/>
              <a:gd name="T89" fmla="*/ 204 h 261"/>
              <a:gd name="T90" fmla="*/ 188 w 261"/>
              <a:gd name="T91" fmla="*/ 228 h 261"/>
              <a:gd name="T92" fmla="*/ 220 w 261"/>
              <a:gd name="T93" fmla="*/ 19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1" h="261">
                <a:moveTo>
                  <a:pt x="212" y="16"/>
                </a:moveTo>
                <a:lnTo>
                  <a:pt x="212" y="0"/>
                </a:lnTo>
                <a:lnTo>
                  <a:pt x="196" y="0"/>
                </a:lnTo>
                <a:lnTo>
                  <a:pt x="196" y="16"/>
                </a:lnTo>
                <a:lnTo>
                  <a:pt x="163" y="16"/>
                </a:lnTo>
                <a:lnTo>
                  <a:pt x="163" y="0"/>
                </a:lnTo>
                <a:lnTo>
                  <a:pt x="147" y="0"/>
                </a:lnTo>
                <a:lnTo>
                  <a:pt x="147" y="16"/>
                </a:lnTo>
                <a:lnTo>
                  <a:pt x="114" y="16"/>
                </a:lnTo>
                <a:lnTo>
                  <a:pt x="114" y="0"/>
                </a:lnTo>
                <a:lnTo>
                  <a:pt x="98" y="0"/>
                </a:lnTo>
                <a:lnTo>
                  <a:pt x="98" y="16"/>
                </a:lnTo>
                <a:lnTo>
                  <a:pt x="65" y="16"/>
                </a:lnTo>
                <a:lnTo>
                  <a:pt x="65" y="0"/>
                </a:lnTo>
                <a:lnTo>
                  <a:pt x="49" y="0"/>
                </a:lnTo>
                <a:lnTo>
                  <a:pt x="49" y="16"/>
                </a:lnTo>
                <a:lnTo>
                  <a:pt x="0" y="16"/>
                </a:lnTo>
                <a:lnTo>
                  <a:pt x="0" y="261"/>
                </a:lnTo>
                <a:lnTo>
                  <a:pt x="261" y="261"/>
                </a:lnTo>
                <a:lnTo>
                  <a:pt x="261" y="16"/>
                </a:lnTo>
                <a:lnTo>
                  <a:pt x="212" y="16"/>
                </a:lnTo>
                <a:close/>
                <a:moveTo>
                  <a:pt x="245" y="245"/>
                </a:moveTo>
                <a:lnTo>
                  <a:pt x="16" y="245"/>
                </a:lnTo>
                <a:lnTo>
                  <a:pt x="16" y="73"/>
                </a:lnTo>
                <a:lnTo>
                  <a:pt x="245" y="73"/>
                </a:lnTo>
                <a:lnTo>
                  <a:pt x="245" y="245"/>
                </a:lnTo>
                <a:close/>
                <a:moveTo>
                  <a:pt x="65" y="151"/>
                </a:moveTo>
                <a:lnTo>
                  <a:pt x="65" y="167"/>
                </a:lnTo>
                <a:lnTo>
                  <a:pt x="49" y="167"/>
                </a:lnTo>
                <a:lnTo>
                  <a:pt x="49" y="151"/>
                </a:lnTo>
                <a:lnTo>
                  <a:pt x="65" y="151"/>
                </a:lnTo>
                <a:close/>
                <a:moveTo>
                  <a:pt x="73" y="143"/>
                </a:moveTo>
                <a:lnTo>
                  <a:pt x="41" y="143"/>
                </a:lnTo>
                <a:lnTo>
                  <a:pt x="41" y="175"/>
                </a:lnTo>
                <a:lnTo>
                  <a:pt x="73" y="175"/>
                </a:lnTo>
                <a:lnTo>
                  <a:pt x="73" y="143"/>
                </a:lnTo>
                <a:lnTo>
                  <a:pt x="73" y="143"/>
                </a:lnTo>
                <a:close/>
                <a:moveTo>
                  <a:pt x="65" y="204"/>
                </a:moveTo>
                <a:lnTo>
                  <a:pt x="65" y="220"/>
                </a:lnTo>
                <a:lnTo>
                  <a:pt x="49" y="220"/>
                </a:lnTo>
                <a:lnTo>
                  <a:pt x="49" y="204"/>
                </a:lnTo>
                <a:lnTo>
                  <a:pt x="65" y="204"/>
                </a:lnTo>
                <a:close/>
                <a:moveTo>
                  <a:pt x="73" y="196"/>
                </a:moveTo>
                <a:lnTo>
                  <a:pt x="41" y="196"/>
                </a:lnTo>
                <a:lnTo>
                  <a:pt x="41" y="228"/>
                </a:lnTo>
                <a:lnTo>
                  <a:pt x="73" y="228"/>
                </a:lnTo>
                <a:lnTo>
                  <a:pt x="73" y="196"/>
                </a:lnTo>
                <a:lnTo>
                  <a:pt x="73" y="196"/>
                </a:lnTo>
                <a:close/>
                <a:moveTo>
                  <a:pt x="114" y="98"/>
                </a:moveTo>
                <a:lnTo>
                  <a:pt x="114" y="114"/>
                </a:lnTo>
                <a:lnTo>
                  <a:pt x="98" y="114"/>
                </a:lnTo>
                <a:lnTo>
                  <a:pt x="98" y="98"/>
                </a:lnTo>
                <a:lnTo>
                  <a:pt x="114" y="98"/>
                </a:lnTo>
                <a:close/>
                <a:moveTo>
                  <a:pt x="122" y="90"/>
                </a:moveTo>
                <a:lnTo>
                  <a:pt x="90" y="90"/>
                </a:lnTo>
                <a:lnTo>
                  <a:pt x="90" y="122"/>
                </a:lnTo>
                <a:lnTo>
                  <a:pt x="122" y="122"/>
                </a:lnTo>
                <a:lnTo>
                  <a:pt x="122" y="90"/>
                </a:lnTo>
                <a:lnTo>
                  <a:pt x="122" y="90"/>
                </a:lnTo>
                <a:close/>
                <a:moveTo>
                  <a:pt x="114" y="151"/>
                </a:moveTo>
                <a:lnTo>
                  <a:pt x="114" y="167"/>
                </a:lnTo>
                <a:lnTo>
                  <a:pt x="98" y="167"/>
                </a:lnTo>
                <a:lnTo>
                  <a:pt x="98" y="151"/>
                </a:lnTo>
                <a:lnTo>
                  <a:pt x="114" y="151"/>
                </a:lnTo>
                <a:close/>
                <a:moveTo>
                  <a:pt x="122" y="143"/>
                </a:moveTo>
                <a:lnTo>
                  <a:pt x="90" y="143"/>
                </a:lnTo>
                <a:lnTo>
                  <a:pt x="90" y="175"/>
                </a:lnTo>
                <a:lnTo>
                  <a:pt x="122" y="175"/>
                </a:lnTo>
                <a:lnTo>
                  <a:pt x="122" y="143"/>
                </a:lnTo>
                <a:lnTo>
                  <a:pt x="122" y="143"/>
                </a:lnTo>
                <a:close/>
                <a:moveTo>
                  <a:pt x="114" y="204"/>
                </a:moveTo>
                <a:lnTo>
                  <a:pt x="114" y="220"/>
                </a:lnTo>
                <a:lnTo>
                  <a:pt x="98" y="220"/>
                </a:lnTo>
                <a:lnTo>
                  <a:pt x="98" y="204"/>
                </a:lnTo>
                <a:lnTo>
                  <a:pt x="114" y="204"/>
                </a:lnTo>
                <a:close/>
                <a:moveTo>
                  <a:pt x="122" y="196"/>
                </a:moveTo>
                <a:lnTo>
                  <a:pt x="90" y="196"/>
                </a:lnTo>
                <a:lnTo>
                  <a:pt x="90" y="228"/>
                </a:lnTo>
                <a:lnTo>
                  <a:pt x="122" y="228"/>
                </a:lnTo>
                <a:lnTo>
                  <a:pt x="122" y="196"/>
                </a:lnTo>
                <a:lnTo>
                  <a:pt x="122" y="196"/>
                </a:lnTo>
                <a:close/>
                <a:moveTo>
                  <a:pt x="163" y="98"/>
                </a:moveTo>
                <a:lnTo>
                  <a:pt x="163" y="114"/>
                </a:lnTo>
                <a:lnTo>
                  <a:pt x="147" y="114"/>
                </a:lnTo>
                <a:lnTo>
                  <a:pt x="147" y="98"/>
                </a:lnTo>
                <a:lnTo>
                  <a:pt x="163" y="98"/>
                </a:lnTo>
                <a:close/>
                <a:moveTo>
                  <a:pt x="171" y="90"/>
                </a:moveTo>
                <a:lnTo>
                  <a:pt x="139" y="90"/>
                </a:lnTo>
                <a:lnTo>
                  <a:pt x="139" y="122"/>
                </a:lnTo>
                <a:lnTo>
                  <a:pt x="171" y="122"/>
                </a:lnTo>
                <a:lnTo>
                  <a:pt x="171" y="90"/>
                </a:lnTo>
                <a:lnTo>
                  <a:pt x="171" y="90"/>
                </a:lnTo>
                <a:close/>
                <a:moveTo>
                  <a:pt x="171" y="175"/>
                </a:moveTo>
                <a:lnTo>
                  <a:pt x="139" y="175"/>
                </a:lnTo>
                <a:lnTo>
                  <a:pt x="139" y="143"/>
                </a:lnTo>
                <a:lnTo>
                  <a:pt x="171" y="143"/>
                </a:lnTo>
                <a:lnTo>
                  <a:pt x="171" y="175"/>
                </a:lnTo>
                <a:close/>
                <a:moveTo>
                  <a:pt x="163" y="204"/>
                </a:moveTo>
                <a:lnTo>
                  <a:pt x="163" y="220"/>
                </a:lnTo>
                <a:lnTo>
                  <a:pt x="147" y="220"/>
                </a:lnTo>
                <a:lnTo>
                  <a:pt x="147" y="204"/>
                </a:lnTo>
                <a:lnTo>
                  <a:pt x="163" y="204"/>
                </a:lnTo>
                <a:close/>
                <a:moveTo>
                  <a:pt x="171" y="196"/>
                </a:moveTo>
                <a:lnTo>
                  <a:pt x="139" y="196"/>
                </a:lnTo>
                <a:lnTo>
                  <a:pt x="139" y="228"/>
                </a:lnTo>
                <a:lnTo>
                  <a:pt x="171" y="228"/>
                </a:lnTo>
                <a:lnTo>
                  <a:pt x="171" y="196"/>
                </a:lnTo>
                <a:lnTo>
                  <a:pt x="171" y="196"/>
                </a:lnTo>
                <a:close/>
                <a:moveTo>
                  <a:pt x="212" y="98"/>
                </a:moveTo>
                <a:lnTo>
                  <a:pt x="212" y="114"/>
                </a:lnTo>
                <a:lnTo>
                  <a:pt x="196" y="114"/>
                </a:lnTo>
                <a:lnTo>
                  <a:pt x="196" y="98"/>
                </a:lnTo>
                <a:lnTo>
                  <a:pt x="212" y="98"/>
                </a:lnTo>
                <a:close/>
                <a:moveTo>
                  <a:pt x="220" y="90"/>
                </a:moveTo>
                <a:lnTo>
                  <a:pt x="188" y="90"/>
                </a:lnTo>
                <a:lnTo>
                  <a:pt x="188" y="122"/>
                </a:lnTo>
                <a:lnTo>
                  <a:pt x="220" y="122"/>
                </a:lnTo>
                <a:lnTo>
                  <a:pt x="220" y="90"/>
                </a:lnTo>
                <a:lnTo>
                  <a:pt x="220" y="90"/>
                </a:lnTo>
                <a:close/>
                <a:moveTo>
                  <a:pt x="212" y="151"/>
                </a:moveTo>
                <a:lnTo>
                  <a:pt x="212" y="167"/>
                </a:lnTo>
                <a:lnTo>
                  <a:pt x="196" y="167"/>
                </a:lnTo>
                <a:lnTo>
                  <a:pt x="196" y="151"/>
                </a:lnTo>
                <a:lnTo>
                  <a:pt x="212" y="151"/>
                </a:lnTo>
                <a:close/>
                <a:moveTo>
                  <a:pt x="220" y="143"/>
                </a:moveTo>
                <a:lnTo>
                  <a:pt x="188" y="143"/>
                </a:lnTo>
                <a:lnTo>
                  <a:pt x="188" y="175"/>
                </a:lnTo>
                <a:lnTo>
                  <a:pt x="220" y="175"/>
                </a:lnTo>
                <a:lnTo>
                  <a:pt x="220" y="143"/>
                </a:lnTo>
                <a:lnTo>
                  <a:pt x="220" y="143"/>
                </a:lnTo>
                <a:close/>
                <a:moveTo>
                  <a:pt x="212" y="204"/>
                </a:moveTo>
                <a:lnTo>
                  <a:pt x="212" y="220"/>
                </a:lnTo>
                <a:lnTo>
                  <a:pt x="196" y="220"/>
                </a:lnTo>
                <a:lnTo>
                  <a:pt x="196" y="204"/>
                </a:lnTo>
                <a:lnTo>
                  <a:pt x="212" y="204"/>
                </a:lnTo>
                <a:close/>
                <a:moveTo>
                  <a:pt x="220" y="196"/>
                </a:moveTo>
                <a:lnTo>
                  <a:pt x="188" y="196"/>
                </a:lnTo>
                <a:lnTo>
                  <a:pt x="188" y="228"/>
                </a:lnTo>
                <a:lnTo>
                  <a:pt x="220" y="228"/>
                </a:lnTo>
                <a:lnTo>
                  <a:pt x="220" y="196"/>
                </a:lnTo>
                <a:lnTo>
                  <a:pt x="220" y="19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8" name="Freeform 123">
            <a:extLst>
              <a:ext uri="{FF2B5EF4-FFF2-40B4-BE49-F238E27FC236}">
                <a16:creationId xmlns:a16="http://schemas.microsoft.com/office/drawing/2014/main" id="{C1A2CDD1-F719-456E-907E-04EBD0D11F38}"/>
              </a:ext>
            </a:extLst>
          </p:cNvPr>
          <p:cNvSpPr>
            <a:spLocks noEditPoints="1"/>
          </p:cNvSpPr>
          <p:nvPr/>
        </p:nvSpPr>
        <p:spPr bwMode="auto">
          <a:xfrm>
            <a:off x="3723183" y="1605034"/>
            <a:ext cx="414337" cy="400050"/>
          </a:xfrm>
          <a:custGeom>
            <a:avLst/>
            <a:gdLst>
              <a:gd name="T0" fmla="*/ 98 w 261"/>
              <a:gd name="T1" fmla="*/ 89 h 252"/>
              <a:gd name="T2" fmla="*/ 75 w 261"/>
              <a:gd name="T3" fmla="*/ 142 h 252"/>
              <a:gd name="T4" fmla="*/ 0 w 261"/>
              <a:gd name="T5" fmla="*/ 142 h 252"/>
              <a:gd name="T6" fmla="*/ 0 w 261"/>
              <a:gd name="T7" fmla="*/ 110 h 252"/>
              <a:gd name="T8" fmla="*/ 55 w 261"/>
              <a:gd name="T9" fmla="*/ 110 h 252"/>
              <a:gd name="T10" fmla="*/ 98 w 261"/>
              <a:gd name="T11" fmla="*/ 0 h 252"/>
              <a:gd name="T12" fmla="*/ 155 w 261"/>
              <a:gd name="T13" fmla="*/ 142 h 252"/>
              <a:gd name="T14" fmla="*/ 120 w 261"/>
              <a:gd name="T15" fmla="*/ 142 h 252"/>
              <a:gd name="T16" fmla="*/ 98 w 261"/>
              <a:gd name="T17" fmla="*/ 89 h 252"/>
              <a:gd name="T18" fmla="*/ 163 w 261"/>
              <a:gd name="T19" fmla="*/ 252 h 252"/>
              <a:gd name="T20" fmla="*/ 206 w 261"/>
              <a:gd name="T21" fmla="*/ 142 h 252"/>
              <a:gd name="T22" fmla="*/ 261 w 261"/>
              <a:gd name="T23" fmla="*/ 142 h 252"/>
              <a:gd name="T24" fmla="*/ 261 w 261"/>
              <a:gd name="T25" fmla="*/ 110 h 252"/>
              <a:gd name="T26" fmla="*/ 185 w 261"/>
              <a:gd name="T27" fmla="*/ 110 h 252"/>
              <a:gd name="T28" fmla="*/ 145 w 261"/>
              <a:gd name="T29" fmla="*/ 207 h 252"/>
              <a:gd name="T30" fmla="*/ 163 w 261"/>
              <a:gd name="T31" fmla="*/ 25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52">
                <a:moveTo>
                  <a:pt x="98" y="89"/>
                </a:moveTo>
                <a:lnTo>
                  <a:pt x="75" y="142"/>
                </a:lnTo>
                <a:lnTo>
                  <a:pt x="0" y="142"/>
                </a:lnTo>
                <a:lnTo>
                  <a:pt x="0" y="110"/>
                </a:lnTo>
                <a:lnTo>
                  <a:pt x="55" y="110"/>
                </a:lnTo>
                <a:lnTo>
                  <a:pt x="98" y="0"/>
                </a:lnTo>
                <a:lnTo>
                  <a:pt x="155" y="142"/>
                </a:lnTo>
                <a:lnTo>
                  <a:pt x="120" y="142"/>
                </a:lnTo>
                <a:lnTo>
                  <a:pt x="98" y="89"/>
                </a:lnTo>
                <a:close/>
                <a:moveTo>
                  <a:pt x="163" y="252"/>
                </a:moveTo>
                <a:lnTo>
                  <a:pt x="206" y="142"/>
                </a:lnTo>
                <a:lnTo>
                  <a:pt x="261" y="142"/>
                </a:lnTo>
                <a:lnTo>
                  <a:pt x="261" y="110"/>
                </a:lnTo>
                <a:lnTo>
                  <a:pt x="185" y="110"/>
                </a:lnTo>
                <a:lnTo>
                  <a:pt x="145" y="207"/>
                </a:lnTo>
                <a:lnTo>
                  <a:pt x="163" y="25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9" name="Freeform 133">
            <a:extLst>
              <a:ext uri="{FF2B5EF4-FFF2-40B4-BE49-F238E27FC236}">
                <a16:creationId xmlns:a16="http://schemas.microsoft.com/office/drawing/2014/main" id="{928B561D-C4D5-4930-A8FE-A0E1F268F24F}"/>
              </a:ext>
            </a:extLst>
          </p:cNvPr>
          <p:cNvSpPr>
            <a:spLocks noEditPoints="1"/>
          </p:cNvSpPr>
          <p:nvPr/>
        </p:nvSpPr>
        <p:spPr bwMode="auto">
          <a:xfrm>
            <a:off x="2677749" y="2493496"/>
            <a:ext cx="414338" cy="325438"/>
          </a:xfrm>
          <a:custGeom>
            <a:avLst/>
            <a:gdLst>
              <a:gd name="T0" fmla="*/ 44 w 128"/>
              <a:gd name="T1" fmla="*/ 12 h 100"/>
              <a:gd name="T2" fmla="*/ 44 w 128"/>
              <a:gd name="T3" fmla="*/ 0 h 100"/>
              <a:gd name="T4" fmla="*/ 12 w 128"/>
              <a:gd name="T5" fmla="*/ 0 h 100"/>
              <a:gd name="T6" fmla="*/ 12 w 128"/>
              <a:gd name="T7" fmla="*/ 12 h 100"/>
              <a:gd name="T8" fmla="*/ 0 w 128"/>
              <a:gd name="T9" fmla="*/ 12 h 100"/>
              <a:gd name="T10" fmla="*/ 0 w 128"/>
              <a:gd name="T11" fmla="*/ 100 h 100"/>
              <a:gd name="T12" fmla="*/ 128 w 128"/>
              <a:gd name="T13" fmla="*/ 100 h 100"/>
              <a:gd name="T14" fmla="*/ 128 w 128"/>
              <a:gd name="T15" fmla="*/ 12 h 100"/>
              <a:gd name="T16" fmla="*/ 44 w 128"/>
              <a:gd name="T17" fmla="*/ 12 h 100"/>
              <a:gd name="T18" fmla="*/ 120 w 128"/>
              <a:gd name="T19" fmla="*/ 20 h 100"/>
              <a:gd name="T20" fmla="*/ 120 w 128"/>
              <a:gd name="T21" fmla="*/ 92 h 100"/>
              <a:gd name="T22" fmla="*/ 8 w 128"/>
              <a:gd name="T23" fmla="*/ 92 h 100"/>
              <a:gd name="T24" fmla="*/ 8 w 128"/>
              <a:gd name="T25" fmla="*/ 20 h 100"/>
              <a:gd name="T26" fmla="*/ 120 w 128"/>
              <a:gd name="T27" fmla="*/ 20 h 100"/>
              <a:gd name="T28" fmla="*/ 68 w 128"/>
              <a:gd name="T29" fmla="*/ 84 h 100"/>
              <a:gd name="T30" fmla="*/ 40 w 128"/>
              <a:gd name="T31" fmla="*/ 56 h 100"/>
              <a:gd name="T32" fmla="*/ 68 w 128"/>
              <a:gd name="T33" fmla="*/ 28 h 100"/>
              <a:gd name="T34" fmla="*/ 96 w 128"/>
              <a:gd name="T35" fmla="*/ 56 h 100"/>
              <a:gd name="T36" fmla="*/ 68 w 128"/>
              <a:gd name="T37" fmla="*/ 84 h 100"/>
              <a:gd name="T38" fmla="*/ 68 w 128"/>
              <a:gd name="T39" fmla="*/ 36 h 100"/>
              <a:gd name="T40" fmla="*/ 48 w 128"/>
              <a:gd name="T41" fmla="*/ 56 h 100"/>
              <a:gd name="T42" fmla="*/ 68 w 128"/>
              <a:gd name="T43" fmla="*/ 76 h 100"/>
              <a:gd name="T44" fmla="*/ 88 w 128"/>
              <a:gd name="T45" fmla="*/ 56 h 100"/>
              <a:gd name="T46" fmla="*/ 68 w 128"/>
              <a:gd name="T47" fmla="*/ 3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8" h="100">
                <a:moveTo>
                  <a:pt x="44" y="12"/>
                </a:moveTo>
                <a:cubicBezTo>
                  <a:pt x="44" y="0"/>
                  <a:pt x="44" y="0"/>
                  <a:pt x="44" y="0"/>
                </a:cubicBezTo>
                <a:cubicBezTo>
                  <a:pt x="12" y="0"/>
                  <a:pt x="12" y="0"/>
                  <a:pt x="12" y="0"/>
                </a:cubicBezTo>
                <a:cubicBezTo>
                  <a:pt x="12" y="12"/>
                  <a:pt x="12" y="12"/>
                  <a:pt x="12" y="12"/>
                </a:cubicBezTo>
                <a:cubicBezTo>
                  <a:pt x="0" y="12"/>
                  <a:pt x="0" y="12"/>
                  <a:pt x="0" y="12"/>
                </a:cubicBezTo>
                <a:cubicBezTo>
                  <a:pt x="0" y="100"/>
                  <a:pt x="0" y="100"/>
                  <a:pt x="0" y="100"/>
                </a:cubicBezTo>
                <a:cubicBezTo>
                  <a:pt x="128" y="100"/>
                  <a:pt x="128" y="100"/>
                  <a:pt x="128" y="100"/>
                </a:cubicBezTo>
                <a:cubicBezTo>
                  <a:pt x="128" y="12"/>
                  <a:pt x="128" y="12"/>
                  <a:pt x="128" y="12"/>
                </a:cubicBezTo>
                <a:lnTo>
                  <a:pt x="44" y="12"/>
                </a:lnTo>
                <a:close/>
                <a:moveTo>
                  <a:pt x="120" y="20"/>
                </a:moveTo>
                <a:cubicBezTo>
                  <a:pt x="120" y="92"/>
                  <a:pt x="120" y="92"/>
                  <a:pt x="120" y="92"/>
                </a:cubicBezTo>
                <a:cubicBezTo>
                  <a:pt x="8" y="92"/>
                  <a:pt x="8" y="92"/>
                  <a:pt x="8" y="92"/>
                </a:cubicBezTo>
                <a:cubicBezTo>
                  <a:pt x="8" y="20"/>
                  <a:pt x="8" y="20"/>
                  <a:pt x="8" y="20"/>
                </a:cubicBezTo>
                <a:cubicBezTo>
                  <a:pt x="120" y="20"/>
                  <a:pt x="120" y="20"/>
                  <a:pt x="120" y="20"/>
                </a:cubicBezTo>
                <a:close/>
                <a:moveTo>
                  <a:pt x="68" y="84"/>
                </a:moveTo>
                <a:cubicBezTo>
                  <a:pt x="53" y="84"/>
                  <a:pt x="40" y="71"/>
                  <a:pt x="40" y="56"/>
                </a:cubicBezTo>
                <a:cubicBezTo>
                  <a:pt x="40" y="41"/>
                  <a:pt x="53" y="28"/>
                  <a:pt x="68" y="28"/>
                </a:cubicBezTo>
                <a:cubicBezTo>
                  <a:pt x="83" y="28"/>
                  <a:pt x="96" y="41"/>
                  <a:pt x="96" y="56"/>
                </a:cubicBezTo>
                <a:cubicBezTo>
                  <a:pt x="96" y="71"/>
                  <a:pt x="83" y="84"/>
                  <a:pt x="68" y="84"/>
                </a:cubicBezTo>
                <a:close/>
                <a:moveTo>
                  <a:pt x="68" y="36"/>
                </a:moveTo>
                <a:cubicBezTo>
                  <a:pt x="57" y="36"/>
                  <a:pt x="48" y="45"/>
                  <a:pt x="48" y="56"/>
                </a:cubicBezTo>
                <a:cubicBezTo>
                  <a:pt x="48" y="67"/>
                  <a:pt x="57" y="76"/>
                  <a:pt x="68" y="76"/>
                </a:cubicBezTo>
                <a:cubicBezTo>
                  <a:pt x="79" y="76"/>
                  <a:pt x="88" y="67"/>
                  <a:pt x="88" y="56"/>
                </a:cubicBezTo>
                <a:cubicBezTo>
                  <a:pt x="88" y="45"/>
                  <a:pt x="79" y="36"/>
                  <a:pt x="68" y="3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0" name="Freeform 137">
            <a:extLst>
              <a:ext uri="{FF2B5EF4-FFF2-40B4-BE49-F238E27FC236}">
                <a16:creationId xmlns:a16="http://schemas.microsoft.com/office/drawing/2014/main" id="{CB8D6088-0409-4D57-890B-757A98BF7358}"/>
              </a:ext>
            </a:extLst>
          </p:cNvPr>
          <p:cNvSpPr>
            <a:spLocks noEditPoints="1"/>
          </p:cNvSpPr>
          <p:nvPr/>
        </p:nvSpPr>
        <p:spPr bwMode="auto">
          <a:xfrm>
            <a:off x="3723977" y="2520484"/>
            <a:ext cx="412750" cy="298450"/>
          </a:xfrm>
          <a:custGeom>
            <a:avLst/>
            <a:gdLst>
              <a:gd name="T0" fmla="*/ 119 w 128"/>
              <a:gd name="T1" fmla="*/ 28 h 92"/>
              <a:gd name="T2" fmla="*/ 111 w 128"/>
              <a:gd name="T3" fmla="*/ 0 h 92"/>
              <a:gd name="T4" fmla="*/ 17 w 128"/>
              <a:gd name="T5" fmla="*/ 0 h 92"/>
              <a:gd name="T6" fmla="*/ 9 w 128"/>
              <a:gd name="T7" fmla="*/ 28 h 92"/>
              <a:gd name="T8" fmla="*/ 0 w 128"/>
              <a:gd name="T9" fmla="*/ 28 h 92"/>
              <a:gd name="T10" fmla="*/ 0 w 128"/>
              <a:gd name="T11" fmla="*/ 76 h 92"/>
              <a:gd name="T12" fmla="*/ 8 w 128"/>
              <a:gd name="T13" fmla="*/ 76 h 92"/>
              <a:gd name="T14" fmla="*/ 8 w 128"/>
              <a:gd name="T15" fmla="*/ 92 h 92"/>
              <a:gd name="T16" fmla="*/ 24 w 128"/>
              <a:gd name="T17" fmla="*/ 92 h 92"/>
              <a:gd name="T18" fmla="*/ 24 w 128"/>
              <a:gd name="T19" fmla="*/ 76 h 92"/>
              <a:gd name="T20" fmla="*/ 104 w 128"/>
              <a:gd name="T21" fmla="*/ 76 h 92"/>
              <a:gd name="T22" fmla="*/ 104 w 128"/>
              <a:gd name="T23" fmla="*/ 92 h 92"/>
              <a:gd name="T24" fmla="*/ 120 w 128"/>
              <a:gd name="T25" fmla="*/ 92 h 92"/>
              <a:gd name="T26" fmla="*/ 120 w 128"/>
              <a:gd name="T27" fmla="*/ 76 h 92"/>
              <a:gd name="T28" fmla="*/ 128 w 128"/>
              <a:gd name="T29" fmla="*/ 76 h 92"/>
              <a:gd name="T30" fmla="*/ 128 w 128"/>
              <a:gd name="T31" fmla="*/ 28 h 92"/>
              <a:gd name="T32" fmla="*/ 119 w 128"/>
              <a:gd name="T33" fmla="*/ 28 h 92"/>
              <a:gd name="T34" fmla="*/ 23 w 128"/>
              <a:gd name="T35" fmla="*/ 8 h 92"/>
              <a:gd name="T36" fmla="*/ 105 w 128"/>
              <a:gd name="T37" fmla="*/ 8 h 92"/>
              <a:gd name="T38" fmla="*/ 111 w 128"/>
              <a:gd name="T39" fmla="*/ 28 h 92"/>
              <a:gd name="T40" fmla="*/ 17 w 128"/>
              <a:gd name="T41" fmla="*/ 28 h 92"/>
              <a:gd name="T42" fmla="*/ 23 w 128"/>
              <a:gd name="T43" fmla="*/ 8 h 92"/>
              <a:gd name="T44" fmla="*/ 120 w 128"/>
              <a:gd name="T45" fmla="*/ 68 h 92"/>
              <a:gd name="T46" fmla="*/ 8 w 128"/>
              <a:gd name="T47" fmla="*/ 68 h 92"/>
              <a:gd name="T48" fmla="*/ 8 w 128"/>
              <a:gd name="T49" fmla="*/ 36 h 92"/>
              <a:gd name="T50" fmla="*/ 120 w 128"/>
              <a:gd name="T51" fmla="*/ 36 h 92"/>
              <a:gd name="T52" fmla="*/ 120 w 128"/>
              <a:gd name="T53" fmla="*/ 68 h 92"/>
              <a:gd name="T54" fmla="*/ 112 w 128"/>
              <a:gd name="T55" fmla="*/ 52 h 92"/>
              <a:gd name="T56" fmla="*/ 104 w 128"/>
              <a:gd name="T57" fmla="*/ 60 h 92"/>
              <a:gd name="T58" fmla="*/ 96 w 128"/>
              <a:gd name="T59" fmla="*/ 52 h 92"/>
              <a:gd name="T60" fmla="*/ 104 w 128"/>
              <a:gd name="T61" fmla="*/ 44 h 92"/>
              <a:gd name="T62" fmla="*/ 112 w 128"/>
              <a:gd name="T63" fmla="*/ 52 h 92"/>
              <a:gd name="T64" fmla="*/ 32 w 128"/>
              <a:gd name="T65" fmla="*/ 52 h 92"/>
              <a:gd name="T66" fmla="*/ 24 w 128"/>
              <a:gd name="T67" fmla="*/ 60 h 92"/>
              <a:gd name="T68" fmla="*/ 16 w 128"/>
              <a:gd name="T69" fmla="*/ 52 h 92"/>
              <a:gd name="T70" fmla="*/ 24 w 128"/>
              <a:gd name="T71" fmla="*/ 44 h 92"/>
              <a:gd name="T72" fmla="*/ 32 w 128"/>
              <a:gd name="T73" fmla="*/ 5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92">
                <a:moveTo>
                  <a:pt x="119" y="28"/>
                </a:moveTo>
                <a:cubicBezTo>
                  <a:pt x="111" y="0"/>
                  <a:pt x="111" y="0"/>
                  <a:pt x="111" y="0"/>
                </a:cubicBezTo>
                <a:cubicBezTo>
                  <a:pt x="17" y="0"/>
                  <a:pt x="17" y="0"/>
                  <a:pt x="17" y="0"/>
                </a:cubicBezTo>
                <a:cubicBezTo>
                  <a:pt x="9" y="28"/>
                  <a:pt x="9" y="28"/>
                  <a:pt x="9" y="28"/>
                </a:cubicBezTo>
                <a:cubicBezTo>
                  <a:pt x="0" y="28"/>
                  <a:pt x="0" y="28"/>
                  <a:pt x="0" y="28"/>
                </a:cubicBezTo>
                <a:cubicBezTo>
                  <a:pt x="0" y="76"/>
                  <a:pt x="0" y="76"/>
                  <a:pt x="0" y="76"/>
                </a:cubicBezTo>
                <a:cubicBezTo>
                  <a:pt x="8" y="76"/>
                  <a:pt x="8" y="76"/>
                  <a:pt x="8" y="76"/>
                </a:cubicBezTo>
                <a:cubicBezTo>
                  <a:pt x="8" y="92"/>
                  <a:pt x="8" y="92"/>
                  <a:pt x="8" y="92"/>
                </a:cubicBezTo>
                <a:cubicBezTo>
                  <a:pt x="24" y="92"/>
                  <a:pt x="24" y="92"/>
                  <a:pt x="24" y="92"/>
                </a:cubicBezTo>
                <a:cubicBezTo>
                  <a:pt x="24" y="76"/>
                  <a:pt x="24" y="76"/>
                  <a:pt x="24" y="76"/>
                </a:cubicBezTo>
                <a:cubicBezTo>
                  <a:pt x="104" y="76"/>
                  <a:pt x="104" y="76"/>
                  <a:pt x="104" y="76"/>
                </a:cubicBezTo>
                <a:cubicBezTo>
                  <a:pt x="104" y="92"/>
                  <a:pt x="104" y="92"/>
                  <a:pt x="104" y="92"/>
                </a:cubicBezTo>
                <a:cubicBezTo>
                  <a:pt x="120" y="92"/>
                  <a:pt x="120" y="92"/>
                  <a:pt x="120" y="92"/>
                </a:cubicBezTo>
                <a:cubicBezTo>
                  <a:pt x="120" y="76"/>
                  <a:pt x="120" y="76"/>
                  <a:pt x="120" y="76"/>
                </a:cubicBezTo>
                <a:cubicBezTo>
                  <a:pt x="128" y="76"/>
                  <a:pt x="128" y="76"/>
                  <a:pt x="128" y="76"/>
                </a:cubicBezTo>
                <a:cubicBezTo>
                  <a:pt x="128" y="28"/>
                  <a:pt x="128" y="28"/>
                  <a:pt x="128" y="28"/>
                </a:cubicBezTo>
                <a:lnTo>
                  <a:pt x="119" y="28"/>
                </a:lnTo>
                <a:close/>
                <a:moveTo>
                  <a:pt x="23" y="8"/>
                </a:moveTo>
                <a:cubicBezTo>
                  <a:pt x="105" y="8"/>
                  <a:pt x="105" y="8"/>
                  <a:pt x="105" y="8"/>
                </a:cubicBezTo>
                <a:cubicBezTo>
                  <a:pt x="111" y="28"/>
                  <a:pt x="111" y="28"/>
                  <a:pt x="111" y="28"/>
                </a:cubicBezTo>
                <a:cubicBezTo>
                  <a:pt x="17" y="28"/>
                  <a:pt x="17" y="28"/>
                  <a:pt x="17" y="28"/>
                </a:cubicBezTo>
                <a:lnTo>
                  <a:pt x="23" y="8"/>
                </a:lnTo>
                <a:close/>
                <a:moveTo>
                  <a:pt x="120" y="68"/>
                </a:moveTo>
                <a:cubicBezTo>
                  <a:pt x="8" y="68"/>
                  <a:pt x="8" y="68"/>
                  <a:pt x="8" y="68"/>
                </a:cubicBezTo>
                <a:cubicBezTo>
                  <a:pt x="8" y="36"/>
                  <a:pt x="8" y="36"/>
                  <a:pt x="8" y="36"/>
                </a:cubicBezTo>
                <a:cubicBezTo>
                  <a:pt x="120" y="36"/>
                  <a:pt x="120" y="36"/>
                  <a:pt x="120" y="36"/>
                </a:cubicBezTo>
                <a:lnTo>
                  <a:pt x="120" y="68"/>
                </a:lnTo>
                <a:close/>
                <a:moveTo>
                  <a:pt x="112" y="52"/>
                </a:moveTo>
                <a:cubicBezTo>
                  <a:pt x="112" y="56"/>
                  <a:pt x="108" y="60"/>
                  <a:pt x="104" y="60"/>
                </a:cubicBezTo>
                <a:cubicBezTo>
                  <a:pt x="100" y="60"/>
                  <a:pt x="96" y="56"/>
                  <a:pt x="96" y="52"/>
                </a:cubicBezTo>
                <a:cubicBezTo>
                  <a:pt x="96" y="47"/>
                  <a:pt x="100" y="44"/>
                  <a:pt x="104" y="44"/>
                </a:cubicBezTo>
                <a:cubicBezTo>
                  <a:pt x="108" y="44"/>
                  <a:pt x="112" y="47"/>
                  <a:pt x="112" y="52"/>
                </a:cubicBezTo>
                <a:close/>
                <a:moveTo>
                  <a:pt x="32" y="52"/>
                </a:moveTo>
                <a:cubicBezTo>
                  <a:pt x="32" y="56"/>
                  <a:pt x="28" y="60"/>
                  <a:pt x="24" y="60"/>
                </a:cubicBezTo>
                <a:cubicBezTo>
                  <a:pt x="20" y="60"/>
                  <a:pt x="16" y="56"/>
                  <a:pt x="16" y="52"/>
                </a:cubicBezTo>
                <a:cubicBezTo>
                  <a:pt x="16" y="47"/>
                  <a:pt x="20" y="44"/>
                  <a:pt x="24" y="44"/>
                </a:cubicBezTo>
                <a:cubicBezTo>
                  <a:pt x="28" y="44"/>
                  <a:pt x="32" y="47"/>
                  <a:pt x="32" y="5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1" name="Freeform 141">
            <a:extLst>
              <a:ext uri="{FF2B5EF4-FFF2-40B4-BE49-F238E27FC236}">
                <a16:creationId xmlns:a16="http://schemas.microsoft.com/office/drawing/2014/main" id="{155D8766-43A3-4ABD-9D5B-0868564FBEE1}"/>
              </a:ext>
            </a:extLst>
          </p:cNvPr>
          <p:cNvSpPr>
            <a:spLocks noEditPoints="1"/>
          </p:cNvSpPr>
          <p:nvPr/>
        </p:nvSpPr>
        <p:spPr bwMode="auto">
          <a:xfrm>
            <a:off x="587674" y="3195060"/>
            <a:ext cx="412750" cy="412750"/>
          </a:xfrm>
          <a:custGeom>
            <a:avLst/>
            <a:gdLst>
              <a:gd name="T0" fmla="*/ 96 w 128"/>
              <a:gd name="T1" fmla="*/ 92 h 128"/>
              <a:gd name="T2" fmla="*/ 88 w 128"/>
              <a:gd name="T3" fmla="*/ 100 h 128"/>
              <a:gd name="T4" fmla="*/ 80 w 128"/>
              <a:gd name="T5" fmla="*/ 92 h 128"/>
              <a:gd name="T6" fmla="*/ 88 w 128"/>
              <a:gd name="T7" fmla="*/ 84 h 128"/>
              <a:gd name="T8" fmla="*/ 96 w 128"/>
              <a:gd name="T9" fmla="*/ 92 h 128"/>
              <a:gd name="T10" fmla="*/ 24 w 128"/>
              <a:gd name="T11" fmla="*/ 84 h 128"/>
              <a:gd name="T12" fmla="*/ 16 w 128"/>
              <a:gd name="T13" fmla="*/ 92 h 128"/>
              <a:gd name="T14" fmla="*/ 24 w 128"/>
              <a:gd name="T15" fmla="*/ 100 h 128"/>
              <a:gd name="T16" fmla="*/ 32 w 128"/>
              <a:gd name="T17" fmla="*/ 92 h 128"/>
              <a:gd name="T18" fmla="*/ 24 w 128"/>
              <a:gd name="T19" fmla="*/ 84 h 128"/>
              <a:gd name="T20" fmla="*/ 103 w 128"/>
              <a:gd name="T21" fmla="*/ 68 h 128"/>
              <a:gd name="T22" fmla="*/ 112 w 128"/>
              <a:gd name="T23" fmla="*/ 68 h 128"/>
              <a:gd name="T24" fmla="*/ 112 w 128"/>
              <a:gd name="T25" fmla="*/ 116 h 128"/>
              <a:gd name="T26" fmla="*/ 104 w 128"/>
              <a:gd name="T27" fmla="*/ 116 h 128"/>
              <a:gd name="T28" fmla="*/ 104 w 128"/>
              <a:gd name="T29" fmla="*/ 128 h 128"/>
              <a:gd name="T30" fmla="*/ 88 w 128"/>
              <a:gd name="T31" fmla="*/ 128 h 128"/>
              <a:gd name="T32" fmla="*/ 88 w 128"/>
              <a:gd name="T33" fmla="*/ 116 h 128"/>
              <a:gd name="T34" fmla="*/ 24 w 128"/>
              <a:gd name="T35" fmla="*/ 116 h 128"/>
              <a:gd name="T36" fmla="*/ 24 w 128"/>
              <a:gd name="T37" fmla="*/ 128 h 128"/>
              <a:gd name="T38" fmla="*/ 8 w 128"/>
              <a:gd name="T39" fmla="*/ 128 h 128"/>
              <a:gd name="T40" fmla="*/ 8 w 128"/>
              <a:gd name="T41" fmla="*/ 116 h 128"/>
              <a:gd name="T42" fmla="*/ 0 w 128"/>
              <a:gd name="T43" fmla="*/ 116 h 128"/>
              <a:gd name="T44" fmla="*/ 0 w 128"/>
              <a:gd name="T45" fmla="*/ 68 h 128"/>
              <a:gd name="T46" fmla="*/ 9 w 128"/>
              <a:gd name="T47" fmla="*/ 68 h 128"/>
              <a:gd name="T48" fmla="*/ 17 w 128"/>
              <a:gd name="T49" fmla="*/ 40 h 128"/>
              <a:gd name="T50" fmla="*/ 80 w 128"/>
              <a:gd name="T51" fmla="*/ 40 h 128"/>
              <a:gd name="T52" fmla="*/ 82 w 128"/>
              <a:gd name="T53" fmla="*/ 48 h 128"/>
              <a:gd name="T54" fmla="*/ 23 w 128"/>
              <a:gd name="T55" fmla="*/ 48 h 128"/>
              <a:gd name="T56" fmla="*/ 17 w 128"/>
              <a:gd name="T57" fmla="*/ 68 h 128"/>
              <a:gd name="T58" fmla="*/ 95 w 128"/>
              <a:gd name="T59" fmla="*/ 68 h 128"/>
              <a:gd name="T60" fmla="*/ 91 w 128"/>
              <a:gd name="T61" fmla="*/ 55 h 128"/>
              <a:gd name="T62" fmla="*/ 96 w 128"/>
              <a:gd name="T63" fmla="*/ 56 h 128"/>
              <a:gd name="T64" fmla="*/ 99 w 128"/>
              <a:gd name="T65" fmla="*/ 56 h 128"/>
              <a:gd name="T66" fmla="*/ 103 w 128"/>
              <a:gd name="T67" fmla="*/ 68 h 128"/>
              <a:gd name="T68" fmla="*/ 104 w 128"/>
              <a:gd name="T69" fmla="*/ 76 h 128"/>
              <a:gd name="T70" fmla="*/ 8 w 128"/>
              <a:gd name="T71" fmla="*/ 76 h 128"/>
              <a:gd name="T72" fmla="*/ 8 w 128"/>
              <a:gd name="T73" fmla="*/ 108 h 128"/>
              <a:gd name="T74" fmla="*/ 104 w 128"/>
              <a:gd name="T75" fmla="*/ 108 h 128"/>
              <a:gd name="T76" fmla="*/ 104 w 128"/>
              <a:gd name="T77" fmla="*/ 76 h 128"/>
              <a:gd name="T78" fmla="*/ 96 w 128"/>
              <a:gd name="T79" fmla="*/ 8 h 128"/>
              <a:gd name="T80" fmla="*/ 122 w 128"/>
              <a:gd name="T81" fmla="*/ 22 h 128"/>
              <a:gd name="T82" fmla="*/ 128 w 128"/>
              <a:gd name="T83" fmla="*/ 16 h 128"/>
              <a:gd name="T84" fmla="*/ 96 w 128"/>
              <a:gd name="T85" fmla="*/ 0 h 128"/>
              <a:gd name="T86" fmla="*/ 64 w 128"/>
              <a:gd name="T87" fmla="*/ 16 h 128"/>
              <a:gd name="T88" fmla="*/ 70 w 128"/>
              <a:gd name="T89" fmla="*/ 22 h 128"/>
              <a:gd name="T90" fmla="*/ 96 w 128"/>
              <a:gd name="T91" fmla="*/ 8 h 128"/>
              <a:gd name="T92" fmla="*/ 96 w 128"/>
              <a:gd name="T93" fmla="*/ 24 h 128"/>
              <a:gd name="T94" fmla="*/ 111 w 128"/>
              <a:gd name="T95" fmla="*/ 33 h 128"/>
              <a:gd name="T96" fmla="*/ 117 w 128"/>
              <a:gd name="T97" fmla="*/ 28 h 128"/>
              <a:gd name="T98" fmla="*/ 96 w 128"/>
              <a:gd name="T99" fmla="*/ 16 h 128"/>
              <a:gd name="T100" fmla="*/ 75 w 128"/>
              <a:gd name="T101" fmla="*/ 28 h 128"/>
              <a:gd name="T102" fmla="*/ 81 w 128"/>
              <a:gd name="T103" fmla="*/ 34 h 128"/>
              <a:gd name="T104" fmla="*/ 96 w 128"/>
              <a:gd name="T105" fmla="*/ 24 h 128"/>
              <a:gd name="T106" fmla="*/ 96 w 128"/>
              <a:gd name="T107" fmla="*/ 32 h 128"/>
              <a:gd name="T108" fmla="*/ 88 w 128"/>
              <a:gd name="T109" fmla="*/ 40 h 128"/>
              <a:gd name="T110" fmla="*/ 96 w 128"/>
              <a:gd name="T111" fmla="*/ 48 h 128"/>
              <a:gd name="T112" fmla="*/ 104 w 128"/>
              <a:gd name="T113" fmla="*/ 40 h 128"/>
              <a:gd name="T114" fmla="*/ 96 w 128"/>
              <a:gd name="T115" fmla="*/ 3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8" h="128">
                <a:moveTo>
                  <a:pt x="96" y="92"/>
                </a:moveTo>
                <a:cubicBezTo>
                  <a:pt x="96" y="96"/>
                  <a:pt x="92" y="100"/>
                  <a:pt x="88" y="100"/>
                </a:cubicBezTo>
                <a:cubicBezTo>
                  <a:pt x="84" y="100"/>
                  <a:pt x="80" y="96"/>
                  <a:pt x="80" y="92"/>
                </a:cubicBezTo>
                <a:cubicBezTo>
                  <a:pt x="80" y="88"/>
                  <a:pt x="84" y="84"/>
                  <a:pt x="88" y="84"/>
                </a:cubicBezTo>
                <a:cubicBezTo>
                  <a:pt x="92" y="84"/>
                  <a:pt x="96" y="88"/>
                  <a:pt x="96" y="92"/>
                </a:cubicBezTo>
                <a:close/>
                <a:moveTo>
                  <a:pt x="24" y="84"/>
                </a:moveTo>
                <a:cubicBezTo>
                  <a:pt x="20" y="84"/>
                  <a:pt x="16" y="88"/>
                  <a:pt x="16" y="92"/>
                </a:cubicBezTo>
                <a:cubicBezTo>
                  <a:pt x="16" y="96"/>
                  <a:pt x="20" y="100"/>
                  <a:pt x="24" y="100"/>
                </a:cubicBezTo>
                <a:cubicBezTo>
                  <a:pt x="28" y="100"/>
                  <a:pt x="32" y="96"/>
                  <a:pt x="32" y="92"/>
                </a:cubicBezTo>
                <a:cubicBezTo>
                  <a:pt x="32" y="88"/>
                  <a:pt x="28" y="84"/>
                  <a:pt x="24" y="84"/>
                </a:cubicBezTo>
                <a:close/>
                <a:moveTo>
                  <a:pt x="103" y="68"/>
                </a:moveTo>
                <a:cubicBezTo>
                  <a:pt x="112" y="68"/>
                  <a:pt x="112" y="68"/>
                  <a:pt x="112" y="68"/>
                </a:cubicBezTo>
                <a:cubicBezTo>
                  <a:pt x="112" y="116"/>
                  <a:pt x="112" y="116"/>
                  <a:pt x="112" y="116"/>
                </a:cubicBezTo>
                <a:cubicBezTo>
                  <a:pt x="104" y="116"/>
                  <a:pt x="104" y="116"/>
                  <a:pt x="104" y="116"/>
                </a:cubicBezTo>
                <a:cubicBezTo>
                  <a:pt x="104" y="128"/>
                  <a:pt x="104" y="128"/>
                  <a:pt x="104" y="128"/>
                </a:cubicBezTo>
                <a:cubicBezTo>
                  <a:pt x="88" y="128"/>
                  <a:pt x="88" y="128"/>
                  <a:pt x="88" y="128"/>
                </a:cubicBezTo>
                <a:cubicBezTo>
                  <a:pt x="88" y="116"/>
                  <a:pt x="88" y="116"/>
                  <a:pt x="88" y="116"/>
                </a:cubicBezTo>
                <a:cubicBezTo>
                  <a:pt x="24" y="116"/>
                  <a:pt x="24" y="116"/>
                  <a:pt x="24" y="116"/>
                </a:cubicBezTo>
                <a:cubicBezTo>
                  <a:pt x="24" y="128"/>
                  <a:pt x="24" y="128"/>
                  <a:pt x="24" y="128"/>
                </a:cubicBezTo>
                <a:cubicBezTo>
                  <a:pt x="8" y="128"/>
                  <a:pt x="8" y="128"/>
                  <a:pt x="8" y="128"/>
                </a:cubicBezTo>
                <a:cubicBezTo>
                  <a:pt x="8" y="116"/>
                  <a:pt x="8" y="116"/>
                  <a:pt x="8" y="116"/>
                </a:cubicBezTo>
                <a:cubicBezTo>
                  <a:pt x="0" y="116"/>
                  <a:pt x="0" y="116"/>
                  <a:pt x="0" y="116"/>
                </a:cubicBezTo>
                <a:cubicBezTo>
                  <a:pt x="0" y="68"/>
                  <a:pt x="0" y="68"/>
                  <a:pt x="0" y="68"/>
                </a:cubicBezTo>
                <a:cubicBezTo>
                  <a:pt x="9" y="68"/>
                  <a:pt x="9" y="68"/>
                  <a:pt x="9" y="68"/>
                </a:cubicBezTo>
                <a:cubicBezTo>
                  <a:pt x="17" y="40"/>
                  <a:pt x="17" y="40"/>
                  <a:pt x="17" y="40"/>
                </a:cubicBezTo>
                <a:cubicBezTo>
                  <a:pt x="80" y="40"/>
                  <a:pt x="80" y="40"/>
                  <a:pt x="80" y="40"/>
                </a:cubicBezTo>
                <a:cubicBezTo>
                  <a:pt x="80" y="43"/>
                  <a:pt x="81" y="46"/>
                  <a:pt x="82" y="48"/>
                </a:cubicBezTo>
                <a:cubicBezTo>
                  <a:pt x="23" y="48"/>
                  <a:pt x="23" y="48"/>
                  <a:pt x="23" y="48"/>
                </a:cubicBezTo>
                <a:cubicBezTo>
                  <a:pt x="17" y="68"/>
                  <a:pt x="17" y="68"/>
                  <a:pt x="17" y="68"/>
                </a:cubicBezTo>
                <a:cubicBezTo>
                  <a:pt x="95" y="68"/>
                  <a:pt x="95" y="68"/>
                  <a:pt x="95" y="68"/>
                </a:cubicBezTo>
                <a:cubicBezTo>
                  <a:pt x="91" y="55"/>
                  <a:pt x="91" y="55"/>
                  <a:pt x="91" y="55"/>
                </a:cubicBezTo>
                <a:cubicBezTo>
                  <a:pt x="93" y="56"/>
                  <a:pt x="94" y="56"/>
                  <a:pt x="96" y="56"/>
                </a:cubicBezTo>
                <a:cubicBezTo>
                  <a:pt x="97" y="56"/>
                  <a:pt x="98" y="56"/>
                  <a:pt x="99" y="56"/>
                </a:cubicBezTo>
                <a:lnTo>
                  <a:pt x="103" y="68"/>
                </a:lnTo>
                <a:close/>
                <a:moveTo>
                  <a:pt x="104" y="76"/>
                </a:moveTo>
                <a:cubicBezTo>
                  <a:pt x="8" y="76"/>
                  <a:pt x="8" y="76"/>
                  <a:pt x="8" y="76"/>
                </a:cubicBezTo>
                <a:cubicBezTo>
                  <a:pt x="8" y="108"/>
                  <a:pt x="8" y="108"/>
                  <a:pt x="8" y="108"/>
                </a:cubicBezTo>
                <a:cubicBezTo>
                  <a:pt x="104" y="108"/>
                  <a:pt x="104" y="108"/>
                  <a:pt x="104" y="108"/>
                </a:cubicBezTo>
                <a:lnTo>
                  <a:pt x="104" y="76"/>
                </a:lnTo>
                <a:close/>
                <a:moveTo>
                  <a:pt x="96" y="8"/>
                </a:moveTo>
                <a:cubicBezTo>
                  <a:pt x="107" y="8"/>
                  <a:pt x="116" y="13"/>
                  <a:pt x="122" y="22"/>
                </a:cubicBezTo>
                <a:cubicBezTo>
                  <a:pt x="128" y="16"/>
                  <a:pt x="128" y="16"/>
                  <a:pt x="128" y="16"/>
                </a:cubicBezTo>
                <a:cubicBezTo>
                  <a:pt x="121" y="6"/>
                  <a:pt x="109" y="0"/>
                  <a:pt x="96" y="0"/>
                </a:cubicBezTo>
                <a:cubicBezTo>
                  <a:pt x="83" y="0"/>
                  <a:pt x="71" y="6"/>
                  <a:pt x="64" y="16"/>
                </a:cubicBezTo>
                <a:cubicBezTo>
                  <a:pt x="70" y="22"/>
                  <a:pt x="70" y="22"/>
                  <a:pt x="70" y="22"/>
                </a:cubicBezTo>
                <a:cubicBezTo>
                  <a:pt x="76" y="13"/>
                  <a:pt x="85" y="8"/>
                  <a:pt x="96" y="8"/>
                </a:cubicBezTo>
                <a:close/>
                <a:moveTo>
                  <a:pt x="96" y="24"/>
                </a:moveTo>
                <a:cubicBezTo>
                  <a:pt x="103" y="24"/>
                  <a:pt x="108" y="28"/>
                  <a:pt x="111" y="33"/>
                </a:cubicBezTo>
                <a:cubicBezTo>
                  <a:pt x="117" y="28"/>
                  <a:pt x="117" y="28"/>
                  <a:pt x="117" y="28"/>
                </a:cubicBezTo>
                <a:cubicBezTo>
                  <a:pt x="112" y="21"/>
                  <a:pt x="105" y="16"/>
                  <a:pt x="96" y="16"/>
                </a:cubicBezTo>
                <a:cubicBezTo>
                  <a:pt x="87" y="16"/>
                  <a:pt x="80" y="21"/>
                  <a:pt x="75" y="28"/>
                </a:cubicBezTo>
                <a:cubicBezTo>
                  <a:pt x="81" y="34"/>
                  <a:pt x="81" y="34"/>
                  <a:pt x="81" y="34"/>
                </a:cubicBezTo>
                <a:cubicBezTo>
                  <a:pt x="84" y="28"/>
                  <a:pt x="90" y="24"/>
                  <a:pt x="96" y="24"/>
                </a:cubicBezTo>
                <a:close/>
                <a:moveTo>
                  <a:pt x="96" y="32"/>
                </a:moveTo>
                <a:cubicBezTo>
                  <a:pt x="92" y="32"/>
                  <a:pt x="88" y="36"/>
                  <a:pt x="88" y="40"/>
                </a:cubicBezTo>
                <a:cubicBezTo>
                  <a:pt x="88" y="44"/>
                  <a:pt x="92" y="48"/>
                  <a:pt x="96" y="48"/>
                </a:cubicBezTo>
                <a:cubicBezTo>
                  <a:pt x="100" y="48"/>
                  <a:pt x="104" y="44"/>
                  <a:pt x="104" y="40"/>
                </a:cubicBezTo>
                <a:cubicBezTo>
                  <a:pt x="104" y="36"/>
                  <a:pt x="100" y="32"/>
                  <a:pt x="96" y="3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2" name="Freeform 145">
            <a:extLst>
              <a:ext uri="{FF2B5EF4-FFF2-40B4-BE49-F238E27FC236}">
                <a16:creationId xmlns:a16="http://schemas.microsoft.com/office/drawing/2014/main" id="{91CA537D-64F2-42DE-8A06-B125F85420FD}"/>
              </a:ext>
            </a:extLst>
          </p:cNvPr>
          <p:cNvSpPr>
            <a:spLocks noEditPoints="1"/>
          </p:cNvSpPr>
          <p:nvPr/>
        </p:nvSpPr>
        <p:spPr bwMode="auto">
          <a:xfrm>
            <a:off x="599581" y="4050221"/>
            <a:ext cx="388938" cy="414338"/>
          </a:xfrm>
          <a:custGeom>
            <a:avLst/>
            <a:gdLst>
              <a:gd name="T0" fmla="*/ 33 w 245"/>
              <a:gd name="T1" fmla="*/ 261 h 261"/>
              <a:gd name="T2" fmla="*/ 0 w 245"/>
              <a:gd name="T3" fmla="*/ 261 h 261"/>
              <a:gd name="T4" fmla="*/ 0 w 245"/>
              <a:gd name="T5" fmla="*/ 98 h 261"/>
              <a:gd name="T6" fmla="*/ 33 w 245"/>
              <a:gd name="T7" fmla="*/ 98 h 261"/>
              <a:gd name="T8" fmla="*/ 33 w 245"/>
              <a:gd name="T9" fmla="*/ 261 h 261"/>
              <a:gd name="T10" fmla="*/ 90 w 245"/>
              <a:gd name="T11" fmla="*/ 163 h 261"/>
              <a:gd name="T12" fmla="*/ 57 w 245"/>
              <a:gd name="T13" fmla="*/ 163 h 261"/>
              <a:gd name="T14" fmla="*/ 57 w 245"/>
              <a:gd name="T15" fmla="*/ 261 h 261"/>
              <a:gd name="T16" fmla="*/ 90 w 245"/>
              <a:gd name="T17" fmla="*/ 261 h 261"/>
              <a:gd name="T18" fmla="*/ 90 w 245"/>
              <a:gd name="T19" fmla="*/ 163 h 261"/>
              <a:gd name="T20" fmla="*/ 147 w 245"/>
              <a:gd name="T21" fmla="*/ 139 h 261"/>
              <a:gd name="T22" fmla="*/ 114 w 245"/>
              <a:gd name="T23" fmla="*/ 139 h 261"/>
              <a:gd name="T24" fmla="*/ 114 w 245"/>
              <a:gd name="T25" fmla="*/ 261 h 261"/>
              <a:gd name="T26" fmla="*/ 147 w 245"/>
              <a:gd name="T27" fmla="*/ 261 h 261"/>
              <a:gd name="T28" fmla="*/ 147 w 245"/>
              <a:gd name="T29" fmla="*/ 139 h 261"/>
              <a:gd name="T30" fmla="*/ 204 w 245"/>
              <a:gd name="T31" fmla="*/ 196 h 261"/>
              <a:gd name="T32" fmla="*/ 171 w 245"/>
              <a:gd name="T33" fmla="*/ 196 h 261"/>
              <a:gd name="T34" fmla="*/ 171 w 245"/>
              <a:gd name="T35" fmla="*/ 261 h 261"/>
              <a:gd name="T36" fmla="*/ 204 w 245"/>
              <a:gd name="T37" fmla="*/ 261 h 261"/>
              <a:gd name="T38" fmla="*/ 204 w 245"/>
              <a:gd name="T39" fmla="*/ 196 h 261"/>
              <a:gd name="T40" fmla="*/ 229 w 245"/>
              <a:gd name="T41" fmla="*/ 82 h 261"/>
              <a:gd name="T42" fmla="*/ 229 w 245"/>
              <a:gd name="T43" fmla="*/ 126 h 261"/>
              <a:gd name="T44" fmla="*/ 141 w 245"/>
              <a:gd name="T45" fmla="*/ 39 h 261"/>
              <a:gd name="T46" fmla="*/ 84 w 245"/>
              <a:gd name="T47" fmla="*/ 63 h 261"/>
              <a:gd name="T48" fmla="*/ 20 w 245"/>
              <a:gd name="T49" fmla="*/ 0 h 261"/>
              <a:gd name="T50" fmla="*/ 8 w 245"/>
              <a:gd name="T51" fmla="*/ 12 h 261"/>
              <a:gd name="T52" fmla="*/ 80 w 245"/>
              <a:gd name="T53" fmla="*/ 84 h 261"/>
              <a:gd name="T54" fmla="*/ 137 w 245"/>
              <a:gd name="T55" fmla="*/ 59 h 261"/>
              <a:gd name="T56" fmla="*/ 216 w 245"/>
              <a:gd name="T57" fmla="*/ 139 h 261"/>
              <a:gd name="T58" fmla="*/ 171 w 245"/>
              <a:gd name="T59" fmla="*/ 139 h 261"/>
              <a:gd name="T60" fmla="*/ 171 w 245"/>
              <a:gd name="T61" fmla="*/ 155 h 261"/>
              <a:gd name="T62" fmla="*/ 245 w 245"/>
              <a:gd name="T63" fmla="*/ 155 h 261"/>
              <a:gd name="T64" fmla="*/ 245 w 245"/>
              <a:gd name="T65" fmla="*/ 82 h 261"/>
              <a:gd name="T66" fmla="*/ 229 w 245"/>
              <a:gd name="T67" fmla="*/ 8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5" h="261">
                <a:moveTo>
                  <a:pt x="33" y="261"/>
                </a:moveTo>
                <a:lnTo>
                  <a:pt x="0" y="261"/>
                </a:lnTo>
                <a:lnTo>
                  <a:pt x="0" y="98"/>
                </a:lnTo>
                <a:lnTo>
                  <a:pt x="33" y="98"/>
                </a:lnTo>
                <a:lnTo>
                  <a:pt x="33" y="261"/>
                </a:lnTo>
                <a:close/>
                <a:moveTo>
                  <a:pt x="90" y="163"/>
                </a:moveTo>
                <a:lnTo>
                  <a:pt x="57" y="163"/>
                </a:lnTo>
                <a:lnTo>
                  <a:pt x="57" y="261"/>
                </a:lnTo>
                <a:lnTo>
                  <a:pt x="90" y="261"/>
                </a:lnTo>
                <a:lnTo>
                  <a:pt x="90" y="163"/>
                </a:lnTo>
                <a:close/>
                <a:moveTo>
                  <a:pt x="147" y="139"/>
                </a:moveTo>
                <a:lnTo>
                  <a:pt x="114" y="139"/>
                </a:lnTo>
                <a:lnTo>
                  <a:pt x="114" y="261"/>
                </a:lnTo>
                <a:lnTo>
                  <a:pt x="147" y="261"/>
                </a:lnTo>
                <a:lnTo>
                  <a:pt x="147" y="139"/>
                </a:lnTo>
                <a:close/>
                <a:moveTo>
                  <a:pt x="204" y="196"/>
                </a:moveTo>
                <a:lnTo>
                  <a:pt x="171" y="196"/>
                </a:lnTo>
                <a:lnTo>
                  <a:pt x="171" y="261"/>
                </a:lnTo>
                <a:lnTo>
                  <a:pt x="204" y="261"/>
                </a:lnTo>
                <a:lnTo>
                  <a:pt x="204" y="196"/>
                </a:lnTo>
                <a:close/>
                <a:moveTo>
                  <a:pt x="229" y="82"/>
                </a:moveTo>
                <a:lnTo>
                  <a:pt x="229" y="126"/>
                </a:lnTo>
                <a:lnTo>
                  <a:pt x="141" y="39"/>
                </a:lnTo>
                <a:lnTo>
                  <a:pt x="84" y="63"/>
                </a:lnTo>
                <a:lnTo>
                  <a:pt x="20" y="0"/>
                </a:lnTo>
                <a:lnTo>
                  <a:pt x="8" y="12"/>
                </a:lnTo>
                <a:lnTo>
                  <a:pt x="80" y="84"/>
                </a:lnTo>
                <a:lnTo>
                  <a:pt x="137" y="59"/>
                </a:lnTo>
                <a:lnTo>
                  <a:pt x="216" y="139"/>
                </a:lnTo>
                <a:lnTo>
                  <a:pt x="171" y="139"/>
                </a:lnTo>
                <a:lnTo>
                  <a:pt x="171" y="155"/>
                </a:lnTo>
                <a:lnTo>
                  <a:pt x="245" y="155"/>
                </a:lnTo>
                <a:lnTo>
                  <a:pt x="245" y="82"/>
                </a:lnTo>
                <a:lnTo>
                  <a:pt x="229" y="8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3" name="Freeform 149">
            <a:extLst>
              <a:ext uri="{FF2B5EF4-FFF2-40B4-BE49-F238E27FC236}">
                <a16:creationId xmlns:a16="http://schemas.microsoft.com/office/drawing/2014/main" id="{61AE6F60-E852-42C5-B85F-2BB080C29EAF}"/>
              </a:ext>
            </a:extLst>
          </p:cNvPr>
          <p:cNvSpPr>
            <a:spLocks noEditPoints="1"/>
          </p:cNvSpPr>
          <p:nvPr/>
        </p:nvSpPr>
        <p:spPr bwMode="auto">
          <a:xfrm>
            <a:off x="3731914" y="3195060"/>
            <a:ext cx="396875" cy="412750"/>
          </a:xfrm>
          <a:custGeom>
            <a:avLst/>
            <a:gdLst>
              <a:gd name="T0" fmla="*/ 14 w 250"/>
              <a:gd name="T1" fmla="*/ 195 h 260"/>
              <a:gd name="T2" fmla="*/ 47 w 250"/>
              <a:gd name="T3" fmla="*/ 195 h 260"/>
              <a:gd name="T4" fmla="*/ 47 w 250"/>
              <a:gd name="T5" fmla="*/ 260 h 260"/>
              <a:gd name="T6" fmla="*/ 14 w 250"/>
              <a:gd name="T7" fmla="*/ 260 h 260"/>
              <a:gd name="T8" fmla="*/ 14 w 250"/>
              <a:gd name="T9" fmla="*/ 195 h 260"/>
              <a:gd name="T10" fmla="*/ 71 w 250"/>
              <a:gd name="T11" fmla="*/ 260 h 260"/>
              <a:gd name="T12" fmla="*/ 104 w 250"/>
              <a:gd name="T13" fmla="*/ 260 h 260"/>
              <a:gd name="T14" fmla="*/ 104 w 250"/>
              <a:gd name="T15" fmla="*/ 138 h 260"/>
              <a:gd name="T16" fmla="*/ 71 w 250"/>
              <a:gd name="T17" fmla="*/ 138 h 260"/>
              <a:gd name="T18" fmla="*/ 71 w 250"/>
              <a:gd name="T19" fmla="*/ 260 h 260"/>
              <a:gd name="T20" fmla="*/ 128 w 250"/>
              <a:gd name="T21" fmla="*/ 260 h 260"/>
              <a:gd name="T22" fmla="*/ 160 w 250"/>
              <a:gd name="T23" fmla="*/ 260 h 260"/>
              <a:gd name="T24" fmla="*/ 160 w 250"/>
              <a:gd name="T25" fmla="*/ 162 h 260"/>
              <a:gd name="T26" fmla="*/ 128 w 250"/>
              <a:gd name="T27" fmla="*/ 162 h 260"/>
              <a:gd name="T28" fmla="*/ 128 w 250"/>
              <a:gd name="T29" fmla="*/ 260 h 260"/>
              <a:gd name="T30" fmla="*/ 185 w 250"/>
              <a:gd name="T31" fmla="*/ 260 h 260"/>
              <a:gd name="T32" fmla="*/ 217 w 250"/>
              <a:gd name="T33" fmla="*/ 260 h 260"/>
              <a:gd name="T34" fmla="*/ 217 w 250"/>
              <a:gd name="T35" fmla="*/ 97 h 260"/>
              <a:gd name="T36" fmla="*/ 185 w 250"/>
              <a:gd name="T37" fmla="*/ 97 h 260"/>
              <a:gd name="T38" fmla="*/ 185 w 250"/>
              <a:gd name="T39" fmla="*/ 260 h 260"/>
              <a:gd name="T40" fmla="*/ 177 w 250"/>
              <a:gd name="T41" fmla="*/ 0 h 260"/>
              <a:gd name="T42" fmla="*/ 177 w 250"/>
              <a:gd name="T43" fmla="*/ 16 h 260"/>
              <a:gd name="T44" fmla="*/ 221 w 250"/>
              <a:gd name="T45" fmla="*/ 16 h 260"/>
              <a:gd name="T46" fmla="*/ 142 w 250"/>
              <a:gd name="T47" fmla="*/ 95 h 260"/>
              <a:gd name="T48" fmla="*/ 85 w 250"/>
              <a:gd name="T49" fmla="*/ 71 h 260"/>
              <a:gd name="T50" fmla="*/ 0 w 250"/>
              <a:gd name="T51" fmla="*/ 156 h 260"/>
              <a:gd name="T52" fmla="*/ 12 w 250"/>
              <a:gd name="T53" fmla="*/ 169 h 260"/>
              <a:gd name="T54" fmla="*/ 89 w 250"/>
              <a:gd name="T55" fmla="*/ 91 h 260"/>
              <a:gd name="T56" fmla="*/ 146 w 250"/>
              <a:gd name="T57" fmla="*/ 116 h 260"/>
              <a:gd name="T58" fmla="*/ 234 w 250"/>
              <a:gd name="T59" fmla="*/ 28 h 260"/>
              <a:gd name="T60" fmla="*/ 234 w 250"/>
              <a:gd name="T61" fmla="*/ 73 h 260"/>
              <a:gd name="T62" fmla="*/ 250 w 250"/>
              <a:gd name="T63" fmla="*/ 73 h 260"/>
              <a:gd name="T64" fmla="*/ 250 w 250"/>
              <a:gd name="T65" fmla="*/ 0 h 260"/>
              <a:gd name="T66" fmla="*/ 177 w 250"/>
              <a:gd name="T67"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0" h="260">
                <a:moveTo>
                  <a:pt x="14" y="195"/>
                </a:moveTo>
                <a:lnTo>
                  <a:pt x="47" y="195"/>
                </a:lnTo>
                <a:lnTo>
                  <a:pt x="47" y="260"/>
                </a:lnTo>
                <a:lnTo>
                  <a:pt x="14" y="260"/>
                </a:lnTo>
                <a:lnTo>
                  <a:pt x="14" y="195"/>
                </a:lnTo>
                <a:close/>
                <a:moveTo>
                  <a:pt x="71" y="260"/>
                </a:moveTo>
                <a:lnTo>
                  <a:pt x="104" y="260"/>
                </a:lnTo>
                <a:lnTo>
                  <a:pt x="104" y="138"/>
                </a:lnTo>
                <a:lnTo>
                  <a:pt x="71" y="138"/>
                </a:lnTo>
                <a:lnTo>
                  <a:pt x="71" y="260"/>
                </a:lnTo>
                <a:close/>
                <a:moveTo>
                  <a:pt x="128" y="260"/>
                </a:moveTo>
                <a:lnTo>
                  <a:pt x="160" y="260"/>
                </a:lnTo>
                <a:lnTo>
                  <a:pt x="160" y="162"/>
                </a:lnTo>
                <a:lnTo>
                  <a:pt x="128" y="162"/>
                </a:lnTo>
                <a:lnTo>
                  <a:pt x="128" y="260"/>
                </a:lnTo>
                <a:close/>
                <a:moveTo>
                  <a:pt x="185" y="260"/>
                </a:moveTo>
                <a:lnTo>
                  <a:pt x="217" y="260"/>
                </a:lnTo>
                <a:lnTo>
                  <a:pt x="217" y="97"/>
                </a:lnTo>
                <a:lnTo>
                  <a:pt x="185" y="97"/>
                </a:lnTo>
                <a:lnTo>
                  <a:pt x="185" y="260"/>
                </a:lnTo>
                <a:close/>
                <a:moveTo>
                  <a:pt x="177" y="0"/>
                </a:moveTo>
                <a:lnTo>
                  <a:pt x="177" y="16"/>
                </a:lnTo>
                <a:lnTo>
                  <a:pt x="221" y="16"/>
                </a:lnTo>
                <a:lnTo>
                  <a:pt x="142" y="95"/>
                </a:lnTo>
                <a:lnTo>
                  <a:pt x="85" y="71"/>
                </a:lnTo>
                <a:lnTo>
                  <a:pt x="0" y="156"/>
                </a:lnTo>
                <a:lnTo>
                  <a:pt x="12" y="169"/>
                </a:lnTo>
                <a:lnTo>
                  <a:pt x="89" y="91"/>
                </a:lnTo>
                <a:lnTo>
                  <a:pt x="146" y="116"/>
                </a:lnTo>
                <a:lnTo>
                  <a:pt x="234" y="28"/>
                </a:lnTo>
                <a:lnTo>
                  <a:pt x="234" y="73"/>
                </a:lnTo>
                <a:lnTo>
                  <a:pt x="250" y="73"/>
                </a:lnTo>
                <a:lnTo>
                  <a:pt x="250" y="0"/>
                </a:lnTo>
                <a:lnTo>
                  <a:pt x="177"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4" name="Freeform 153">
            <a:extLst>
              <a:ext uri="{FF2B5EF4-FFF2-40B4-BE49-F238E27FC236}">
                <a16:creationId xmlns:a16="http://schemas.microsoft.com/office/drawing/2014/main" id="{50B7BFD5-5572-4880-BC99-1BE6045B6BA1}"/>
              </a:ext>
            </a:extLst>
          </p:cNvPr>
          <p:cNvSpPr>
            <a:spLocks/>
          </p:cNvSpPr>
          <p:nvPr/>
        </p:nvSpPr>
        <p:spPr bwMode="auto">
          <a:xfrm>
            <a:off x="1633109" y="4172459"/>
            <a:ext cx="412750" cy="292100"/>
          </a:xfrm>
          <a:custGeom>
            <a:avLst/>
            <a:gdLst>
              <a:gd name="T0" fmla="*/ 102 w 260"/>
              <a:gd name="T1" fmla="*/ 184 h 184"/>
              <a:gd name="T2" fmla="*/ 0 w 260"/>
              <a:gd name="T3" fmla="*/ 82 h 184"/>
              <a:gd name="T4" fmla="*/ 22 w 260"/>
              <a:gd name="T5" fmla="*/ 57 h 184"/>
              <a:gd name="T6" fmla="*/ 102 w 260"/>
              <a:gd name="T7" fmla="*/ 137 h 184"/>
              <a:gd name="T8" fmla="*/ 238 w 260"/>
              <a:gd name="T9" fmla="*/ 0 h 184"/>
              <a:gd name="T10" fmla="*/ 260 w 260"/>
              <a:gd name="T11" fmla="*/ 24 h 184"/>
              <a:gd name="T12" fmla="*/ 102 w 260"/>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60" h="184">
                <a:moveTo>
                  <a:pt x="102" y="184"/>
                </a:moveTo>
                <a:lnTo>
                  <a:pt x="0" y="82"/>
                </a:lnTo>
                <a:lnTo>
                  <a:pt x="22" y="57"/>
                </a:lnTo>
                <a:lnTo>
                  <a:pt x="102" y="137"/>
                </a:lnTo>
                <a:lnTo>
                  <a:pt x="238" y="0"/>
                </a:lnTo>
                <a:lnTo>
                  <a:pt x="260" y="24"/>
                </a:lnTo>
                <a:lnTo>
                  <a:pt x="102" y="18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5" name="Freeform 157">
            <a:extLst>
              <a:ext uri="{FF2B5EF4-FFF2-40B4-BE49-F238E27FC236}">
                <a16:creationId xmlns:a16="http://schemas.microsoft.com/office/drawing/2014/main" id="{41DE10B1-C972-4C92-B866-5B332BB8ACAF}"/>
              </a:ext>
            </a:extLst>
          </p:cNvPr>
          <p:cNvSpPr>
            <a:spLocks noEditPoints="1"/>
          </p:cNvSpPr>
          <p:nvPr/>
        </p:nvSpPr>
        <p:spPr bwMode="auto">
          <a:xfrm>
            <a:off x="2675368" y="4051809"/>
            <a:ext cx="419100" cy="412750"/>
          </a:xfrm>
          <a:custGeom>
            <a:avLst/>
            <a:gdLst>
              <a:gd name="T0" fmla="*/ 59 w 130"/>
              <a:gd name="T1" fmla="*/ 41 h 128"/>
              <a:gd name="T2" fmla="*/ 42 w 130"/>
              <a:gd name="T3" fmla="*/ 70 h 128"/>
              <a:gd name="T4" fmla="*/ 71 w 130"/>
              <a:gd name="T5" fmla="*/ 87 h 128"/>
              <a:gd name="T6" fmla="*/ 88 w 130"/>
              <a:gd name="T7" fmla="*/ 58 h 128"/>
              <a:gd name="T8" fmla="*/ 48 w 130"/>
              <a:gd name="T9" fmla="*/ 64 h 128"/>
              <a:gd name="T10" fmla="*/ 65 w 130"/>
              <a:gd name="T11" fmla="*/ 81 h 128"/>
              <a:gd name="T12" fmla="*/ 113 w 130"/>
              <a:gd name="T13" fmla="*/ 94 h 128"/>
              <a:gd name="T14" fmla="*/ 97 w 130"/>
              <a:gd name="T15" fmla="*/ 72 h 128"/>
              <a:gd name="T16" fmla="*/ 101 w 130"/>
              <a:gd name="T17" fmla="*/ 87 h 128"/>
              <a:gd name="T18" fmla="*/ 119 w 130"/>
              <a:gd name="T19" fmla="*/ 112 h 128"/>
              <a:gd name="T20" fmla="*/ 123 w 130"/>
              <a:gd name="T21" fmla="*/ 106 h 128"/>
              <a:gd name="T22" fmla="*/ 115 w 130"/>
              <a:gd name="T23" fmla="*/ 98 h 128"/>
              <a:gd name="T24" fmla="*/ 123 w 130"/>
              <a:gd name="T25" fmla="*/ 106 h 128"/>
              <a:gd name="T26" fmla="*/ 26 w 130"/>
              <a:gd name="T27" fmla="*/ 44 h 128"/>
              <a:gd name="T28" fmla="*/ 41 w 130"/>
              <a:gd name="T29" fmla="*/ 48 h 128"/>
              <a:gd name="T30" fmla="*/ 19 w 130"/>
              <a:gd name="T31" fmla="*/ 32 h 128"/>
              <a:gd name="T32" fmla="*/ 4 w 130"/>
              <a:gd name="T33" fmla="*/ 19 h 128"/>
              <a:gd name="T34" fmla="*/ 7 w 130"/>
              <a:gd name="T35" fmla="*/ 22 h 128"/>
              <a:gd name="T36" fmla="*/ 15 w 130"/>
              <a:gd name="T37" fmla="*/ 30 h 128"/>
              <a:gd name="T38" fmla="*/ 7 w 130"/>
              <a:gd name="T39" fmla="*/ 22 h 128"/>
              <a:gd name="T40" fmla="*/ 104 w 130"/>
              <a:gd name="T41" fmla="*/ 44 h 128"/>
              <a:gd name="T42" fmla="*/ 126 w 130"/>
              <a:gd name="T43" fmla="*/ 33 h 128"/>
              <a:gd name="T44" fmla="*/ 112 w 130"/>
              <a:gd name="T45" fmla="*/ 19 h 128"/>
              <a:gd name="T46" fmla="*/ 97 w 130"/>
              <a:gd name="T47" fmla="*/ 40 h 128"/>
              <a:gd name="T48" fmla="*/ 115 w 130"/>
              <a:gd name="T49" fmla="*/ 22 h 128"/>
              <a:gd name="T50" fmla="*/ 125 w 130"/>
              <a:gd name="T51" fmla="*/ 26 h 128"/>
              <a:gd name="T52" fmla="*/ 115 w 130"/>
              <a:gd name="T53" fmla="*/ 30 h 128"/>
              <a:gd name="T54" fmla="*/ 54 w 130"/>
              <a:gd name="T55" fmla="*/ 17 h 128"/>
              <a:gd name="T56" fmla="*/ 75 w 130"/>
              <a:gd name="T57" fmla="*/ 27 h 128"/>
              <a:gd name="T58" fmla="*/ 89 w 130"/>
              <a:gd name="T59" fmla="*/ 32 h 128"/>
              <a:gd name="T60" fmla="*/ 66 w 130"/>
              <a:gd name="T61" fmla="*/ 8 h 128"/>
              <a:gd name="T62" fmla="*/ 47 w 130"/>
              <a:gd name="T63" fmla="*/ 0 h 128"/>
              <a:gd name="T64" fmla="*/ 47 w 130"/>
              <a:gd name="T65" fmla="*/ 20 h 128"/>
              <a:gd name="T66" fmla="*/ 51 w 130"/>
              <a:gd name="T67" fmla="*/ 6 h 128"/>
              <a:gd name="T68" fmla="*/ 47 w 130"/>
              <a:gd name="T69" fmla="*/ 16 h 128"/>
              <a:gd name="T70" fmla="*/ 81 w 130"/>
              <a:gd name="T71" fmla="*/ 88 h 128"/>
              <a:gd name="T72" fmla="*/ 64 w 130"/>
              <a:gd name="T73" fmla="*/ 116 h 128"/>
              <a:gd name="T74" fmla="*/ 47 w 130"/>
              <a:gd name="T75" fmla="*/ 108 h 128"/>
              <a:gd name="T76" fmla="*/ 47 w 130"/>
              <a:gd name="T77" fmla="*/ 128 h 128"/>
              <a:gd name="T78" fmla="*/ 66 w 130"/>
              <a:gd name="T79" fmla="*/ 120 h 128"/>
              <a:gd name="T80" fmla="*/ 89 w 130"/>
              <a:gd name="T81" fmla="*/ 96 h 128"/>
              <a:gd name="T82" fmla="*/ 47 w 130"/>
              <a:gd name="T83" fmla="*/ 124 h 128"/>
              <a:gd name="T84" fmla="*/ 47 w 130"/>
              <a:gd name="T85" fmla="*/ 112 h 128"/>
              <a:gd name="T86" fmla="*/ 51 w 130"/>
              <a:gd name="T87" fmla="*/ 122 h 128"/>
              <a:gd name="T88" fmla="*/ 33 w 130"/>
              <a:gd name="T89" fmla="*/ 72 h 128"/>
              <a:gd name="T90" fmla="*/ 17 w 130"/>
              <a:gd name="T91" fmla="*/ 94 h 128"/>
              <a:gd name="T92" fmla="*/ 4 w 130"/>
              <a:gd name="T93" fmla="*/ 109 h 128"/>
              <a:gd name="T94" fmla="*/ 19 w 130"/>
              <a:gd name="T95" fmla="*/ 97 h 128"/>
              <a:gd name="T96" fmla="*/ 15 w 130"/>
              <a:gd name="T97" fmla="*/ 106 h 128"/>
              <a:gd name="T98" fmla="*/ 5 w 130"/>
              <a:gd name="T99" fmla="*/ 102 h 128"/>
              <a:gd name="T100" fmla="*/ 15 w 130"/>
              <a:gd name="T101" fmla="*/ 9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0" h="128">
                <a:moveTo>
                  <a:pt x="71" y="41"/>
                </a:moveTo>
                <a:cubicBezTo>
                  <a:pt x="65" y="36"/>
                  <a:pt x="65" y="36"/>
                  <a:pt x="65" y="36"/>
                </a:cubicBezTo>
                <a:cubicBezTo>
                  <a:pt x="59" y="41"/>
                  <a:pt x="59" y="41"/>
                  <a:pt x="59" y="41"/>
                </a:cubicBezTo>
                <a:cubicBezTo>
                  <a:pt x="42" y="58"/>
                  <a:pt x="42" y="58"/>
                  <a:pt x="42" y="58"/>
                </a:cubicBezTo>
                <a:cubicBezTo>
                  <a:pt x="37" y="64"/>
                  <a:pt x="37" y="64"/>
                  <a:pt x="37" y="64"/>
                </a:cubicBezTo>
                <a:cubicBezTo>
                  <a:pt x="42" y="70"/>
                  <a:pt x="42" y="70"/>
                  <a:pt x="42" y="70"/>
                </a:cubicBezTo>
                <a:cubicBezTo>
                  <a:pt x="59" y="87"/>
                  <a:pt x="59" y="87"/>
                  <a:pt x="59" y="87"/>
                </a:cubicBezTo>
                <a:cubicBezTo>
                  <a:pt x="65" y="92"/>
                  <a:pt x="65" y="92"/>
                  <a:pt x="65" y="92"/>
                </a:cubicBezTo>
                <a:cubicBezTo>
                  <a:pt x="71" y="87"/>
                  <a:pt x="71" y="87"/>
                  <a:pt x="71" y="87"/>
                </a:cubicBezTo>
                <a:cubicBezTo>
                  <a:pt x="88" y="70"/>
                  <a:pt x="88" y="70"/>
                  <a:pt x="88" y="70"/>
                </a:cubicBezTo>
                <a:cubicBezTo>
                  <a:pt x="93" y="64"/>
                  <a:pt x="93" y="64"/>
                  <a:pt x="93" y="64"/>
                </a:cubicBezTo>
                <a:cubicBezTo>
                  <a:pt x="88" y="58"/>
                  <a:pt x="88" y="58"/>
                  <a:pt x="88" y="58"/>
                </a:cubicBezTo>
                <a:lnTo>
                  <a:pt x="71" y="41"/>
                </a:lnTo>
                <a:close/>
                <a:moveTo>
                  <a:pt x="65" y="81"/>
                </a:moveTo>
                <a:cubicBezTo>
                  <a:pt x="48" y="64"/>
                  <a:pt x="48" y="64"/>
                  <a:pt x="48" y="64"/>
                </a:cubicBezTo>
                <a:cubicBezTo>
                  <a:pt x="65" y="47"/>
                  <a:pt x="65" y="47"/>
                  <a:pt x="65" y="47"/>
                </a:cubicBezTo>
                <a:cubicBezTo>
                  <a:pt x="82" y="64"/>
                  <a:pt x="82" y="64"/>
                  <a:pt x="82" y="64"/>
                </a:cubicBezTo>
                <a:lnTo>
                  <a:pt x="65" y="81"/>
                </a:lnTo>
                <a:close/>
                <a:moveTo>
                  <a:pt x="126" y="95"/>
                </a:moveTo>
                <a:cubicBezTo>
                  <a:pt x="124" y="93"/>
                  <a:pt x="122" y="92"/>
                  <a:pt x="119" y="92"/>
                </a:cubicBezTo>
                <a:cubicBezTo>
                  <a:pt x="117" y="92"/>
                  <a:pt x="115" y="93"/>
                  <a:pt x="113" y="94"/>
                </a:cubicBezTo>
                <a:cubicBezTo>
                  <a:pt x="104" y="84"/>
                  <a:pt x="104" y="84"/>
                  <a:pt x="104" y="84"/>
                </a:cubicBezTo>
                <a:cubicBezTo>
                  <a:pt x="105" y="83"/>
                  <a:pt x="105" y="82"/>
                  <a:pt x="105" y="80"/>
                </a:cubicBezTo>
                <a:cubicBezTo>
                  <a:pt x="105" y="76"/>
                  <a:pt x="101" y="72"/>
                  <a:pt x="97" y="72"/>
                </a:cubicBezTo>
                <a:cubicBezTo>
                  <a:pt x="93" y="72"/>
                  <a:pt x="89" y="76"/>
                  <a:pt x="89" y="80"/>
                </a:cubicBezTo>
                <a:cubicBezTo>
                  <a:pt x="89" y="84"/>
                  <a:pt x="93" y="88"/>
                  <a:pt x="97" y="88"/>
                </a:cubicBezTo>
                <a:cubicBezTo>
                  <a:pt x="98" y="88"/>
                  <a:pt x="100" y="88"/>
                  <a:pt x="101" y="87"/>
                </a:cubicBezTo>
                <a:cubicBezTo>
                  <a:pt x="111" y="96"/>
                  <a:pt x="111" y="96"/>
                  <a:pt x="111" y="96"/>
                </a:cubicBezTo>
                <a:cubicBezTo>
                  <a:pt x="108" y="100"/>
                  <a:pt x="109" y="106"/>
                  <a:pt x="112" y="109"/>
                </a:cubicBezTo>
                <a:cubicBezTo>
                  <a:pt x="114" y="111"/>
                  <a:pt x="116" y="112"/>
                  <a:pt x="119" y="112"/>
                </a:cubicBezTo>
                <a:cubicBezTo>
                  <a:pt x="122" y="112"/>
                  <a:pt x="124" y="111"/>
                  <a:pt x="126" y="109"/>
                </a:cubicBezTo>
                <a:cubicBezTo>
                  <a:pt x="130" y="105"/>
                  <a:pt x="130" y="99"/>
                  <a:pt x="126" y="95"/>
                </a:cubicBezTo>
                <a:close/>
                <a:moveTo>
                  <a:pt x="123" y="106"/>
                </a:moveTo>
                <a:cubicBezTo>
                  <a:pt x="122" y="107"/>
                  <a:pt x="121" y="108"/>
                  <a:pt x="119" y="108"/>
                </a:cubicBezTo>
                <a:cubicBezTo>
                  <a:pt x="117" y="108"/>
                  <a:pt x="116" y="107"/>
                  <a:pt x="115" y="106"/>
                </a:cubicBezTo>
                <a:cubicBezTo>
                  <a:pt x="112" y="104"/>
                  <a:pt x="112" y="100"/>
                  <a:pt x="115" y="98"/>
                </a:cubicBezTo>
                <a:cubicBezTo>
                  <a:pt x="116" y="97"/>
                  <a:pt x="117" y="96"/>
                  <a:pt x="119" y="96"/>
                </a:cubicBezTo>
                <a:cubicBezTo>
                  <a:pt x="121" y="96"/>
                  <a:pt x="122" y="97"/>
                  <a:pt x="123" y="98"/>
                </a:cubicBezTo>
                <a:cubicBezTo>
                  <a:pt x="126" y="100"/>
                  <a:pt x="126" y="104"/>
                  <a:pt x="123" y="106"/>
                </a:cubicBezTo>
                <a:close/>
                <a:moveTo>
                  <a:pt x="11" y="36"/>
                </a:moveTo>
                <a:cubicBezTo>
                  <a:pt x="13" y="36"/>
                  <a:pt x="15" y="36"/>
                  <a:pt x="17" y="34"/>
                </a:cubicBezTo>
                <a:cubicBezTo>
                  <a:pt x="26" y="44"/>
                  <a:pt x="26" y="44"/>
                  <a:pt x="26" y="44"/>
                </a:cubicBezTo>
                <a:cubicBezTo>
                  <a:pt x="25" y="45"/>
                  <a:pt x="25" y="47"/>
                  <a:pt x="25" y="48"/>
                </a:cubicBezTo>
                <a:cubicBezTo>
                  <a:pt x="25" y="52"/>
                  <a:pt x="29" y="56"/>
                  <a:pt x="33" y="56"/>
                </a:cubicBezTo>
                <a:cubicBezTo>
                  <a:pt x="37" y="56"/>
                  <a:pt x="41" y="52"/>
                  <a:pt x="41" y="48"/>
                </a:cubicBezTo>
                <a:cubicBezTo>
                  <a:pt x="41" y="44"/>
                  <a:pt x="37" y="40"/>
                  <a:pt x="33" y="40"/>
                </a:cubicBezTo>
                <a:cubicBezTo>
                  <a:pt x="32" y="40"/>
                  <a:pt x="30" y="40"/>
                  <a:pt x="29" y="41"/>
                </a:cubicBezTo>
                <a:cubicBezTo>
                  <a:pt x="19" y="32"/>
                  <a:pt x="19" y="32"/>
                  <a:pt x="19" y="32"/>
                </a:cubicBezTo>
                <a:cubicBezTo>
                  <a:pt x="22" y="28"/>
                  <a:pt x="21" y="22"/>
                  <a:pt x="18" y="19"/>
                </a:cubicBezTo>
                <a:cubicBezTo>
                  <a:pt x="16" y="17"/>
                  <a:pt x="14" y="16"/>
                  <a:pt x="11" y="16"/>
                </a:cubicBezTo>
                <a:cubicBezTo>
                  <a:pt x="8" y="16"/>
                  <a:pt x="6" y="17"/>
                  <a:pt x="4" y="19"/>
                </a:cubicBezTo>
                <a:cubicBezTo>
                  <a:pt x="0" y="23"/>
                  <a:pt x="0" y="29"/>
                  <a:pt x="4" y="33"/>
                </a:cubicBezTo>
                <a:cubicBezTo>
                  <a:pt x="6" y="35"/>
                  <a:pt x="8" y="36"/>
                  <a:pt x="11" y="36"/>
                </a:cubicBezTo>
                <a:close/>
                <a:moveTo>
                  <a:pt x="7" y="22"/>
                </a:moveTo>
                <a:cubicBezTo>
                  <a:pt x="8" y="21"/>
                  <a:pt x="9" y="20"/>
                  <a:pt x="11" y="20"/>
                </a:cubicBezTo>
                <a:cubicBezTo>
                  <a:pt x="13" y="20"/>
                  <a:pt x="14" y="21"/>
                  <a:pt x="15" y="22"/>
                </a:cubicBezTo>
                <a:cubicBezTo>
                  <a:pt x="18" y="24"/>
                  <a:pt x="18" y="28"/>
                  <a:pt x="15" y="30"/>
                </a:cubicBezTo>
                <a:cubicBezTo>
                  <a:pt x="14" y="31"/>
                  <a:pt x="13" y="32"/>
                  <a:pt x="11" y="32"/>
                </a:cubicBezTo>
                <a:cubicBezTo>
                  <a:pt x="9" y="32"/>
                  <a:pt x="8" y="31"/>
                  <a:pt x="7" y="30"/>
                </a:cubicBezTo>
                <a:cubicBezTo>
                  <a:pt x="4" y="28"/>
                  <a:pt x="4" y="24"/>
                  <a:pt x="7" y="22"/>
                </a:cubicBezTo>
                <a:close/>
                <a:moveTo>
                  <a:pt x="97" y="56"/>
                </a:moveTo>
                <a:cubicBezTo>
                  <a:pt x="101" y="56"/>
                  <a:pt x="105" y="52"/>
                  <a:pt x="105" y="48"/>
                </a:cubicBezTo>
                <a:cubicBezTo>
                  <a:pt x="105" y="47"/>
                  <a:pt x="105" y="45"/>
                  <a:pt x="104" y="44"/>
                </a:cubicBezTo>
                <a:cubicBezTo>
                  <a:pt x="113" y="34"/>
                  <a:pt x="113" y="34"/>
                  <a:pt x="113" y="34"/>
                </a:cubicBezTo>
                <a:cubicBezTo>
                  <a:pt x="115" y="35"/>
                  <a:pt x="117" y="36"/>
                  <a:pt x="119" y="36"/>
                </a:cubicBezTo>
                <a:cubicBezTo>
                  <a:pt x="122" y="36"/>
                  <a:pt x="124" y="35"/>
                  <a:pt x="126" y="33"/>
                </a:cubicBezTo>
                <a:cubicBezTo>
                  <a:pt x="130" y="29"/>
                  <a:pt x="130" y="23"/>
                  <a:pt x="126" y="19"/>
                </a:cubicBezTo>
                <a:cubicBezTo>
                  <a:pt x="124" y="17"/>
                  <a:pt x="122" y="16"/>
                  <a:pt x="119" y="16"/>
                </a:cubicBezTo>
                <a:cubicBezTo>
                  <a:pt x="116" y="16"/>
                  <a:pt x="114" y="17"/>
                  <a:pt x="112" y="19"/>
                </a:cubicBezTo>
                <a:cubicBezTo>
                  <a:pt x="109" y="22"/>
                  <a:pt x="108" y="28"/>
                  <a:pt x="111" y="31"/>
                </a:cubicBezTo>
                <a:cubicBezTo>
                  <a:pt x="101" y="41"/>
                  <a:pt x="101" y="41"/>
                  <a:pt x="101" y="41"/>
                </a:cubicBezTo>
                <a:cubicBezTo>
                  <a:pt x="100" y="40"/>
                  <a:pt x="98" y="40"/>
                  <a:pt x="97" y="40"/>
                </a:cubicBezTo>
                <a:cubicBezTo>
                  <a:pt x="93" y="40"/>
                  <a:pt x="89" y="44"/>
                  <a:pt x="89" y="48"/>
                </a:cubicBezTo>
                <a:cubicBezTo>
                  <a:pt x="89" y="52"/>
                  <a:pt x="93" y="56"/>
                  <a:pt x="97" y="56"/>
                </a:cubicBezTo>
                <a:close/>
                <a:moveTo>
                  <a:pt x="115" y="22"/>
                </a:moveTo>
                <a:cubicBezTo>
                  <a:pt x="116" y="21"/>
                  <a:pt x="117" y="20"/>
                  <a:pt x="119" y="20"/>
                </a:cubicBezTo>
                <a:cubicBezTo>
                  <a:pt x="121" y="20"/>
                  <a:pt x="122" y="21"/>
                  <a:pt x="123" y="22"/>
                </a:cubicBezTo>
                <a:cubicBezTo>
                  <a:pt x="124" y="23"/>
                  <a:pt x="125" y="24"/>
                  <a:pt x="125" y="26"/>
                </a:cubicBezTo>
                <a:cubicBezTo>
                  <a:pt x="125" y="28"/>
                  <a:pt x="124" y="29"/>
                  <a:pt x="123" y="30"/>
                </a:cubicBezTo>
                <a:cubicBezTo>
                  <a:pt x="122" y="31"/>
                  <a:pt x="121" y="32"/>
                  <a:pt x="119" y="32"/>
                </a:cubicBezTo>
                <a:cubicBezTo>
                  <a:pt x="117" y="32"/>
                  <a:pt x="116" y="31"/>
                  <a:pt x="115" y="30"/>
                </a:cubicBezTo>
                <a:cubicBezTo>
                  <a:pt x="112" y="28"/>
                  <a:pt x="112" y="24"/>
                  <a:pt x="115" y="22"/>
                </a:cubicBezTo>
                <a:close/>
                <a:moveTo>
                  <a:pt x="47" y="20"/>
                </a:moveTo>
                <a:cubicBezTo>
                  <a:pt x="50" y="20"/>
                  <a:pt x="52" y="19"/>
                  <a:pt x="54" y="17"/>
                </a:cubicBezTo>
                <a:cubicBezTo>
                  <a:pt x="55" y="16"/>
                  <a:pt x="56" y="14"/>
                  <a:pt x="57" y="12"/>
                </a:cubicBezTo>
                <a:cubicBezTo>
                  <a:pt x="64" y="12"/>
                  <a:pt x="64" y="12"/>
                  <a:pt x="64" y="12"/>
                </a:cubicBezTo>
                <a:cubicBezTo>
                  <a:pt x="75" y="27"/>
                  <a:pt x="75" y="27"/>
                  <a:pt x="75" y="27"/>
                </a:cubicBezTo>
                <a:cubicBezTo>
                  <a:pt x="74" y="28"/>
                  <a:pt x="73" y="30"/>
                  <a:pt x="73" y="32"/>
                </a:cubicBezTo>
                <a:cubicBezTo>
                  <a:pt x="73" y="36"/>
                  <a:pt x="77" y="40"/>
                  <a:pt x="81" y="40"/>
                </a:cubicBezTo>
                <a:cubicBezTo>
                  <a:pt x="85" y="40"/>
                  <a:pt x="89" y="36"/>
                  <a:pt x="89" y="32"/>
                </a:cubicBezTo>
                <a:cubicBezTo>
                  <a:pt x="89" y="28"/>
                  <a:pt x="85" y="24"/>
                  <a:pt x="81" y="24"/>
                </a:cubicBezTo>
                <a:cubicBezTo>
                  <a:pt x="80" y="24"/>
                  <a:pt x="79" y="24"/>
                  <a:pt x="78" y="25"/>
                </a:cubicBezTo>
                <a:cubicBezTo>
                  <a:pt x="66" y="8"/>
                  <a:pt x="66" y="8"/>
                  <a:pt x="66" y="8"/>
                </a:cubicBezTo>
                <a:cubicBezTo>
                  <a:pt x="57" y="8"/>
                  <a:pt x="57" y="8"/>
                  <a:pt x="57" y="8"/>
                </a:cubicBezTo>
                <a:cubicBezTo>
                  <a:pt x="56" y="6"/>
                  <a:pt x="56" y="4"/>
                  <a:pt x="54" y="3"/>
                </a:cubicBezTo>
                <a:cubicBezTo>
                  <a:pt x="52" y="1"/>
                  <a:pt x="50" y="0"/>
                  <a:pt x="47" y="0"/>
                </a:cubicBezTo>
                <a:cubicBezTo>
                  <a:pt x="44" y="0"/>
                  <a:pt x="42" y="1"/>
                  <a:pt x="40" y="3"/>
                </a:cubicBezTo>
                <a:cubicBezTo>
                  <a:pt x="36" y="7"/>
                  <a:pt x="36" y="13"/>
                  <a:pt x="40" y="17"/>
                </a:cubicBezTo>
                <a:cubicBezTo>
                  <a:pt x="42" y="19"/>
                  <a:pt x="44" y="20"/>
                  <a:pt x="47" y="20"/>
                </a:cubicBezTo>
                <a:close/>
                <a:moveTo>
                  <a:pt x="43" y="6"/>
                </a:moveTo>
                <a:cubicBezTo>
                  <a:pt x="44" y="5"/>
                  <a:pt x="45" y="4"/>
                  <a:pt x="47" y="4"/>
                </a:cubicBezTo>
                <a:cubicBezTo>
                  <a:pt x="49" y="4"/>
                  <a:pt x="50" y="5"/>
                  <a:pt x="51" y="6"/>
                </a:cubicBezTo>
                <a:cubicBezTo>
                  <a:pt x="52" y="7"/>
                  <a:pt x="53" y="8"/>
                  <a:pt x="53" y="10"/>
                </a:cubicBezTo>
                <a:cubicBezTo>
                  <a:pt x="53" y="12"/>
                  <a:pt x="52" y="13"/>
                  <a:pt x="51" y="14"/>
                </a:cubicBezTo>
                <a:cubicBezTo>
                  <a:pt x="50" y="15"/>
                  <a:pt x="49" y="16"/>
                  <a:pt x="47" y="16"/>
                </a:cubicBezTo>
                <a:cubicBezTo>
                  <a:pt x="45" y="16"/>
                  <a:pt x="44" y="15"/>
                  <a:pt x="43" y="14"/>
                </a:cubicBezTo>
                <a:cubicBezTo>
                  <a:pt x="40" y="12"/>
                  <a:pt x="40" y="8"/>
                  <a:pt x="43" y="6"/>
                </a:cubicBezTo>
                <a:close/>
                <a:moveTo>
                  <a:pt x="81" y="88"/>
                </a:moveTo>
                <a:cubicBezTo>
                  <a:pt x="77" y="88"/>
                  <a:pt x="73" y="92"/>
                  <a:pt x="73" y="96"/>
                </a:cubicBezTo>
                <a:cubicBezTo>
                  <a:pt x="73" y="98"/>
                  <a:pt x="74" y="100"/>
                  <a:pt x="75" y="101"/>
                </a:cubicBezTo>
                <a:cubicBezTo>
                  <a:pt x="64" y="116"/>
                  <a:pt x="64" y="116"/>
                  <a:pt x="64" y="116"/>
                </a:cubicBezTo>
                <a:cubicBezTo>
                  <a:pt x="57" y="116"/>
                  <a:pt x="57" y="116"/>
                  <a:pt x="57" y="116"/>
                </a:cubicBezTo>
                <a:cubicBezTo>
                  <a:pt x="56" y="114"/>
                  <a:pt x="56" y="112"/>
                  <a:pt x="54" y="111"/>
                </a:cubicBezTo>
                <a:cubicBezTo>
                  <a:pt x="52" y="109"/>
                  <a:pt x="50" y="108"/>
                  <a:pt x="47" y="108"/>
                </a:cubicBezTo>
                <a:cubicBezTo>
                  <a:pt x="44" y="108"/>
                  <a:pt x="42" y="109"/>
                  <a:pt x="40" y="111"/>
                </a:cubicBezTo>
                <a:cubicBezTo>
                  <a:pt x="36" y="115"/>
                  <a:pt x="36" y="121"/>
                  <a:pt x="40" y="125"/>
                </a:cubicBezTo>
                <a:cubicBezTo>
                  <a:pt x="42" y="127"/>
                  <a:pt x="44" y="128"/>
                  <a:pt x="47" y="128"/>
                </a:cubicBezTo>
                <a:cubicBezTo>
                  <a:pt x="50" y="128"/>
                  <a:pt x="52" y="127"/>
                  <a:pt x="54" y="125"/>
                </a:cubicBezTo>
                <a:cubicBezTo>
                  <a:pt x="56" y="124"/>
                  <a:pt x="56" y="122"/>
                  <a:pt x="57" y="120"/>
                </a:cubicBezTo>
                <a:cubicBezTo>
                  <a:pt x="66" y="120"/>
                  <a:pt x="66" y="120"/>
                  <a:pt x="66" y="120"/>
                </a:cubicBezTo>
                <a:cubicBezTo>
                  <a:pt x="78" y="103"/>
                  <a:pt x="78" y="103"/>
                  <a:pt x="78" y="103"/>
                </a:cubicBezTo>
                <a:cubicBezTo>
                  <a:pt x="79" y="104"/>
                  <a:pt x="80" y="104"/>
                  <a:pt x="81" y="104"/>
                </a:cubicBezTo>
                <a:cubicBezTo>
                  <a:pt x="85" y="104"/>
                  <a:pt x="89" y="100"/>
                  <a:pt x="89" y="96"/>
                </a:cubicBezTo>
                <a:cubicBezTo>
                  <a:pt x="89" y="92"/>
                  <a:pt x="85" y="88"/>
                  <a:pt x="81" y="88"/>
                </a:cubicBezTo>
                <a:close/>
                <a:moveTo>
                  <a:pt x="51" y="122"/>
                </a:moveTo>
                <a:cubicBezTo>
                  <a:pt x="50" y="123"/>
                  <a:pt x="49" y="124"/>
                  <a:pt x="47" y="124"/>
                </a:cubicBezTo>
                <a:cubicBezTo>
                  <a:pt x="45" y="124"/>
                  <a:pt x="44" y="123"/>
                  <a:pt x="43" y="122"/>
                </a:cubicBezTo>
                <a:cubicBezTo>
                  <a:pt x="40" y="120"/>
                  <a:pt x="40" y="116"/>
                  <a:pt x="43" y="114"/>
                </a:cubicBezTo>
                <a:cubicBezTo>
                  <a:pt x="44" y="113"/>
                  <a:pt x="45" y="112"/>
                  <a:pt x="47" y="112"/>
                </a:cubicBezTo>
                <a:cubicBezTo>
                  <a:pt x="49" y="112"/>
                  <a:pt x="50" y="113"/>
                  <a:pt x="51" y="114"/>
                </a:cubicBezTo>
                <a:cubicBezTo>
                  <a:pt x="52" y="115"/>
                  <a:pt x="53" y="116"/>
                  <a:pt x="53" y="118"/>
                </a:cubicBezTo>
                <a:cubicBezTo>
                  <a:pt x="53" y="120"/>
                  <a:pt x="52" y="121"/>
                  <a:pt x="51" y="122"/>
                </a:cubicBezTo>
                <a:close/>
                <a:moveTo>
                  <a:pt x="33" y="88"/>
                </a:moveTo>
                <a:cubicBezTo>
                  <a:pt x="37" y="88"/>
                  <a:pt x="41" y="84"/>
                  <a:pt x="41" y="80"/>
                </a:cubicBezTo>
                <a:cubicBezTo>
                  <a:pt x="41" y="76"/>
                  <a:pt x="37" y="72"/>
                  <a:pt x="33" y="72"/>
                </a:cubicBezTo>
                <a:cubicBezTo>
                  <a:pt x="29" y="72"/>
                  <a:pt x="25" y="76"/>
                  <a:pt x="25" y="80"/>
                </a:cubicBezTo>
                <a:cubicBezTo>
                  <a:pt x="25" y="81"/>
                  <a:pt x="25" y="83"/>
                  <a:pt x="26" y="84"/>
                </a:cubicBezTo>
                <a:cubicBezTo>
                  <a:pt x="17" y="94"/>
                  <a:pt x="17" y="94"/>
                  <a:pt x="17" y="94"/>
                </a:cubicBezTo>
                <a:cubicBezTo>
                  <a:pt x="15" y="93"/>
                  <a:pt x="13" y="92"/>
                  <a:pt x="11" y="92"/>
                </a:cubicBezTo>
                <a:cubicBezTo>
                  <a:pt x="8" y="92"/>
                  <a:pt x="6" y="93"/>
                  <a:pt x="4" y="95"/>
                </a:cubicBezTo>
                <a:cubicBezTo>
                  <a:pt x="0" y="99"/>
                  <a:pt x="0" y="105"/>
                  <a:pt x="4" y="109"/>
                </a:cubicBezTo>
                <a:cubicBezTo>
                  <a:pt x="6" y="111"/>
                  <a:pt x="8" y="112"/>
                  <a:pt x="11" y="112"/>
                </a:cubicBezTo>
                <a:cubicBezTo>
                  <a:pt x="14" y="112"/>
                  <a:pt x="16" y="111"/>
                  <a:pt x="18" y="109"/>
                </a:cubicBezTo>
                <a:cubicBezTo>
                  <a:pt x="21" y="106"/>
                  <a:pt x="22" y="100"/>
                  <a:pt x="19" y="97"/>
                </a:cubicBezTo>
                <a:cubicBezTo>
                  <a:pt x="29" y="87"/>
                  <a:pt x="29" y="87"/>
                  <a:pt x="29" y="87"/>
                </a:cubicBezTo>
                <a:cubicBezTo>
                  <a:pt x="30" y="88"/>
                  <a:pt x="32" y="88"/>
                  <a:pt x="33" y="88"/>
                </a:cubicBezTo>
                <a:close/>
                <a:moveTo>
                  <a:pt x="15" y="106"/>
                </a:moveTo>
                <a:cubicBezTo>
                  <a:pt x="14" y="107"/>
                  <a:pt x="13" y="108"/>
                  <a:pt x="11" y="108"/>
                </a:cubicBezTo>
                <a:cubicBezTo>
                  <a:pt x="9" y="108"/>
                  <a:pt x="8" y="107"/>
                  <a:pt x="7" y="106"/>
                </a:cubicBezTo>
                <a:cubicBezTo>
                  <a:pt x="6" y="105"/>
                  <a:pt x="5" y="104"/>
                  <a:pt x="5" y="102"/>
                </a:cubicBezTo>
                <a:cubicBezTo>
                  <a:pt x="5" y="100"/>
                  <a:pt x="6" y="99"/>
                  <a:pt x="7" y="98"/>
                </a:cubicBezTo>
                <a:cubicBezTo>
                  <a:pt x="8" y="97"/>
                  <a:pt x="9" y="96"/>
                  <a:pt x="11" y="96"/>
                </a:cubicBezTo>
                <a:cubicBezTo>
                  <a:pt x="13" y="96"/>
                  <a:pt x="14" y="97"/>
                  <a:pt x="15" y="98"/>
                </a:cubicBezTo>
                <a:cubicBezTo>
                  <a:pt x="18" y="100"/>
                  <a:pt x="18" y="104"/>
                  <a:pt x="15" y="10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6" name="Freeform 5">
            <a:extLst>
              <a:ext uri="{FF2B5EF4-FFF2-40B4-BE49-F238E27FC236}">
                <a16:creationId xmlns:a16="http://schemas.microsoft.com/office/drawing/2014/main" id="{C3F3BF1E-BC8D-4A73-B644-FD20260F4614}"/>
              </a:ext>
            </a:extLst>
          </p:cNvPr>
          <p:cNvSpPr>
            <a:spLocks noEditPoints="1"/>
          </p:cNvSpPr>
          <p:nvPr/>
        </p:nvSpPr>
        <p:spPr bwMode="auto">
          <a:xfrm>
            <a:off x="6051121" y="1590746"/>
            <a:ext cx="414338" cy="414338"/>
          </a:xfrm>
          <a:custGeom>
            <a:avLst/>
            <a:gdLst>
              <a:gd name="T0" fmla="*/ 130 w 261"/>
              <a:gd name="T1" fmla="*/ 22 h 261"/>
              <a:gd name="T2" fmla="*/ 238 w 261"/>
              <a:gd name="T3" fmla="*/ 130 h 261"/>
              <a:gd name="T4" fmla="*/ 130 w 261"/>
              <a:gd name="T5" fmla="*/ 238 h 261"/>
              <a:gd name="T6" fmla="*/ 22 w 261"/>
              <a:gd name="T7" fmla="*/ 130 h 261"/>
              <a:gd name="T8" fmla="*/ 130 w 261"/>
              <a:gd name="T9" fmla="*/ 22 h 261"/>
              <a:gd name="T10" fmla="*/ 130 w 261"/>
              <a:gd name="T11" fmla="*/ 0 h 261"/>
              <a:gd name="T12" fmla="*/ 0 w 261"/>
              <a:gd name="T13" fmla="*/ 130 h 261"/>
              <a:gd name="T14" fmla="*/ 130 w 261"/>
              <a:gd name="T15" fmla="*/ 261 h 261"/>
              <a:gd name="T16" fmla="*/ 261 w 261"/>
              <a:gd name="T17" fmla="*/ 130 h 261"/>
              <a:gd name="T18" fmla="*/ 130 w 261"/>
              <a:gd name="T19" fmla="*/ 0 h 261"/>
              <a:gd name="T20" fmla="*/ 130 w 261"/>
              <a:gd name="T21"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261">
                <a:moveTo>
                  <a:pt x="130" y="22"/>
                </a:moveTo>
                <a:lnTo>
                  <a:pt x="238" y="130"/>
                </a:lnTo>
                <a:lnTo>
                  <a:pt x="130" y="238"/>
                </a:lnTo>
                <a:lnTo>
                  <a:pt x="22" y="130"/>
                </a:lnTo>
                <a:lnTo>
                  <a:pt x="130" y="22"/>
                </a:lnTo>
                <a:close/>
                <a:moveTo>
                  <a:pt x="130" y="0"/>
                </a:moveTo>
                <a:lnTo>
                  <a:pt x="0" y="130"/>
                </a:lnTo>
                <a:lnTo>
                  <a:pt x="130" y="261"/>
                </a:lnTo>
                <a:lnTo>
                  <a:pt x="261" y="130"/>
                </a:lnTo>
                <a:lnTo>
                  <a:pt x="130" y="0"/>
                </a:lnTo>
                <a:lnTo>
                  <a:pt x="13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7" name="Freeform 10">
            <a:extLst>
              <a:ext uri="{FF2B5EF4-FFF2-40B4-BE49-F238E27FC236}">
                <a16:creationId xmlns:a16="http://schemas.microsoft.com/office/drawing/2014/main" id="{F47C62E7-7DAC-4024-8802-54E5311B4A5B}"/>
              </a:ext>
            </a:extLst>
          </p:cNvPr>
          <p:cNvSpPr>
            <a:spLocks noEditPoints="1"/>
          </p:cNvSpPr>
          <p:nvPr/>
        </p:nvSpPr>
        <p:spPr bwMode="auto">
          <a:xfrm>
            <a:off x="7097350" y="1590746"/>
            <a:ext cx="412750" cy="41433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04 w 128"/>
              <a:gd name="T11" fmla="*/ 104 h 128"/>
              <a:gd name="T12" fmla="*/ 64 w 128"/>
              <a:gd name="T13" fmla="*/ 120 h 128"/>
              <a:gd name="T14" fmla="*/ 24 w 128"/>
              <a:gd name="T15" fmla="*/ 104 h 128"/>
              <a:gd name="T16" fmla="*/ 8 w 128"/>
              <a:gd name="T17" fmla="*/ 64 h 128"/>
              <a:gd name="T18" fmla="*/ 24 w 128"/>
              <a:gd name="T19" fmla="*/ 24 h 128"/>
              <a:gd name="T20" fmla="*/ 64 w 128"/>
              <a:gd name="T21" fmla="*/ 8 h 128"/>
              <a:gd name="T22" fmla="*/ 104 w 128"/>
              <a:gd name="T23" fmla="*/ 24 h 128"/>
              <a:gd name="T24" fmla="*/ 120 w 128"/>
              <a:gd name="T25" fmla="*/ 64 h 128"/>
              <a:gd name="T26" fmla="*/ 104 w 128"/>
              <a:gd name="T27" fmla="*/ 104 h 128"/>
              <a:gd name="T28" fmla="*/ 68 w 128"/>
              <a:gd name="T29" fmla="*/ 64 h 128"/>
              <a:gd name="T30" fmla="*/ 96 w 128"/>
              <a:gd name="T31" fmla="*/ 92 h 128"/>
              <a:gd name="T32" fmla="*/ 91 w 128"/>
              <a:gd name="T33" fmla="*/ 99 h 128"/>
              <a:gd name="T34" fmla="*/ 60 w 128"/>
              <a:gd name="T35" fmla="*/ 68 h 128"/>
              <a:gd name="T36" fmla="*/ 60 w 128"/>
              <a:gd name="T37" fmla="*/ 68 h 128"/>
              <a:gd name="T38" fmla="*/ 60 w 128"/>
              <a:gd name="T39" fmla="*/ 68 h 128"/>
              <a:gd name="T40" fmla="*/ 60 w 128"/>
              <a:gd name="T41" fmla="*/ 28 h 128"/>
              <a:gd name="T42" fmla="*/ 68 w 128"/>
              <a:gd name="T43" fmla="*/ 28 h 128"/>
              <a:gd name="T44" fmla="*/ 68 w 128"/>
              <a:gd name="T4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104" y="104"/>
                </a:moveTo>
                <a:cubicBezTo>
                  <a:pt x="93" y="114"/>
                  <a:pt x="79" y="120"/>
                  <a:pt x="64" y="120"/>
                </a:cubicBezTo>
                <a:cubicBezTo>
                  <a:pt x="49" y="120"/>
                  <a:pt x="35" y="114"/>
                  <a:pt x="24" y="104"/>
                </a:cubicBezTo>
                <a:cubicBezTo>
                  <a:pt x="14" y="93"/>
                  <a:pt x="8" y="79"/>
                  <a:pt x="8" y="64"/>
                </a:cubicBezTo>
                <a:cubicBezTo>
                  <a:pt x="8" y="49"/>
                  <a:pt x="14" y="35"/>
                  <a:pt x="24" y="24"/>
                </a:cubicBezTo>
                <a:cubicBezTo>
                  <a:pt x="35" y="14"/>
                  <a:pt x="49" y="8"/>
                  <a:pt x="64" y="8"/>
                </a:cubicBezTo>
                <a:cubicBezTo>
                  <a:pt x="79" y="8"/>
                  <a:pt x="93" y="14"/>
                  <a:pt x="104" y="24"/>
                </a:cubicBezTo>
                <a:cubicBezTo>
                  <a:pt x="114" y="35"/>
                  <a:pt x="120" y="49"/>
                  <a:pt x="120" y="64"/>
                </a:cubicBezTo>
                <a:cubicBezTo>
                  <a:pt x="120" y="79"/>
                  <a:pt x="114" y="93"/>
                  <a:pt x="104" y="104"/>
                </a:cubicBezTo>
                <a:close/>
                <a:moveTo>
                  <a:pt x="68" y="64"/>
                </a:moveTo>
                <a:cubicBezTo>
                  <a:pt x="96" y="92"/>
                  <a:pt x="96" y="92"/>
                  <a:pt x="96" y="92"/>
                </a:cubicBezTo>
                <a:cubicBezTo>
                  <a:pt x="91" y="99"/>
                  <a:pt x="91" y="99"/>
                  <a:pt x="91" y="99"/>
                </a:cubicBezTo>
                <a:cubicBezTo>
                  <a:pt x="60" y="68"/>
                  <a:pt x="60" y="68"/>
                  <a:pt x="60" y="68"/>
                </a:cubicBezTo>
                <a:cubicBezTo>
                  <a:pt x="60" y="68"/>
                  <a:pt x="60" y="68"/>
                  <a:pt x="60" y="68"/>
                </a:cubicBezTo>
                <a:cubicBezTo>
                  <a:pt x="60" y="68"/>
                  <a:pt x="60" y="68"/>
                  <a:pt x="60" y="68"/>
                </a:cubicBezTo>
                <a:cubicBezTo>
                  <a:pt x="60" y="28"/>
                  <a:pt x="60" y="28"/>
                  <a:pt x="60" y="28"/>
                </a:cubicBezTo>
                <a:cubicBezTo>
                  <a:pt x="68" y="28"/>
                  <a:pt x="68" y="28"/>
                  <a:pt x="68" y="28"/>
                </a:cubicBezTo>
                <a:lnTo>
                  <a:pt x="68" y="6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8" name="Freeform 14">
            <a:extLst>
              <a:ext uri="{FF2B5EF4-FFF2-40B4-BE49-F238E27FC236}">
                <a16:creationId xmlns:a16="http://schemas.microsoft.com/office/drawing/2014/main" id="{BC00652F-BF48-4861-8628-DBF029E8B126}"/>
              </a:ext>
            </a:extLst>
          </p:cNvPr>
          <p:cNvSpPr>
            <a:spLocks/>
          </p:cNvSpPr>
          <p:nvPr/>
        </p:nvSpPr>
        <p:spPr bwMode="auto">
          <a:xfrm>
            <a:off x="8142783" y="1590746"/>
            <a:ext cx="412750" cy="414338"/>
          </a:xfrm>
          <a:custGeom>
            <a:avLst/>
            <a:gdLst>
              <a:gd name="T0" fmla="*/ 152 w 260"/>
              <a:gd name="T1" fmla="*/ 130 h 261"/>
              <a:gd name="T2" fmla="*/ 260 w 260"/>
              <a:gd name="T3" fmla="*/ 238 h 261"/>
              <a:gd name="T4" fmla="*/ 238 w 260"/>
              <a:gd name="T5" fmla="*/ 261 h 261"/>
              <a:gd name="T6" fmla="*/ 130 w 260"/>
              <a:gd name="T7" fmla="*/ 153 h 261"/>
              <a:gd name="T8" fmla="*/ 22 w 260"/>
              <a:gd name="T9" fmla="*/ 261 h 261"/>
              <a:gd name="T10" fmla="*/ 0 w 260"/>
              <a:gd name="T11" fmla="*/ 238 h 261"/>
              <a:gd name="T12" fmla="*/ 108 w 260"/>
              <a:gd name="T13" fmla="*/ 130 h 261"/>
              <a:gd name="T14" fmla="*/ 0 w 260"/>
              <a:gd name="T15" fmla="*/ 22 h 261"/>
              <a:gd name="T16" fmla="*/ 22 w 260"/>
              <a:gd name="T17" fmla="*/ 0 h 261"/>
              <a:gd name="T18" fmla="*/ 130 w 260"/>
              <a:gd name="T19" fmla="*/ 108 h 261"/>
              <a:gd name="T20" fmla="*/ 238 w 260"/>
              <a:gd name="T21" fmla="*/ 0 h 261"/>
              <a:gd name="T22" fmla="*/ 260 w 260"/>
              <a:gd name="T23" fmla="*/ 22 h 261"/>
              <a:gd name="T24" fmla="*/ 152 w 260"/>
              <a:gd name="T25" fmla="*/ 13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0" h="261">
                <a:moveTo>
                  <a:pt x="152" y="130"/>
                </a:moveTo>
                <a:lnTo>
                  <a:pt x="260" y="238"/>
                </a:lnTo>
                <a:lnTo>
                  <a:pt x="238" y="261"/>
                </a:lnTo>
                <a:lnTo>
                  <a:pt x="130" y="153"/>
                </a:lnTo>
                <a:lnTo>
                  <a:pt x="22" y="261"/>
                </a:lnTo>
                <a:lnTo>
                  <a:pt x="0" y="238"/>
                </a:lnTo>
                <a:lnTo>
                  <a:pt x="108" y="130"/>
                </a:lnTo>
                <a:lnTo>
                  <a:pt x="0" y="22"/>
                </a:lnTo>
                <a:lnTo>
                  <a:pt x="22" y="0"/>
                </a:lnTo>
                <a:lnTo>
                  <a:pt x="130" y="108"/>
                </a:lnTo>
                <a:lnTo>
                  <a:pt x="238" y="0"/>
                </a:lnTo>
                <a:lnTo>
                  <a:pt x="260" y="22"/>
                </a:lnTo>
                <a:lnTo>
                  <a:pt x="152" y="13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9" name="Freeform 18">
            <a:extLst>
              <a:ext uri="{FF2B5EF4-FFF2-40B4-BE49-F238E27FC236}">
                <a16:creationId xmlns:a16="http://schemas.microsoft.com/office/drawing/2014/main" id="{A5CA7927-8655-4049-B883-8BADF5A8FCCB}"/>
              </a:ext>
            </a:extLst>
          </p:cNvPr>
          <p:cNvSpPr>
            <a:spLocks/>
          </p:cNvSpPr>
          <p:nvPr/>
        </p:nvSpPr>
        <p:spPr bwMode="auto">
          <a:xfrm>
            <a:off x="5107287" y="2607796"/>
            <a:ext cx="211138" cy="211138"/>
          </a:xfrm>
          <a:custGeom>
            <a:avLst/>
            <a:gdLst>
              <a:gd name="T0" fmla="*/ 79 w 133"/>
              <a:gd name="T1" fmla="*/ 66 h 133"/>
              <a:gd name="T2" fmla="*/ 133 w 133"/>
              <a:gd name="T3" fmla="*/ 121 h 133"/>
              <a:gd name="T4" fmla="*/ 121 w 133"/>
              <a:gd name="T5" fmla="*/ 133 h 133"/>
              <a:gd name="T6" fmla="*/ 66 w 133"/>
              <a:gd name="T7" fmla="*/ 79 h 133"/>
              <a:gd name="T8" fmla="*/ 12 w 133"/>
              <a:gd name="T9" fmla="*/ 133 h 133"/>
              <a:gd name="T10" fmla="*/ 0 w 133"/>
              <a:gd name="T11" fmla="*/ 121 h 133"/>
              <a:gd name="T12" fmla="*/ 54 w 133"/>
              <a:gd name="T13" fmla="*/ 66 h 133"/>
              <a:gd name="T14" fmla="*/ 0 w 133"/>
              <a:gd name="T15" fmla="*/ 12 h 133"/>
              <a:gd name="T16" fmla="*/ 12 w 133"/>
              <a:gd name="T17" fmla="*/ 0 h 133"/>
              <a:gd name="T18" fmla="*/ 66 w 133"/>
              <a:gd name="T19" fmla="*/ 54 h 133"/>
              <a:gd name="T20" fmla="*/ 121 w 133"/>
              <a:gd name="T21" fmla="*/ 0 h 133"/>
              <a:gd name="T22" fmla="*/ 133 w 133"/>
              <a:gd name="T23" fmla="*/ 12 h 133"/>
              <a:gd name="T24" fmla="*/ 79 w 133"/>
              <a:gd name="T25"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 h="133">
                <a:moveTo>
                  <a:pt x="79" y="66"/>
                </a:moveTo>
                <a:lnTo>
                  <a:pt x="133" y="121"/>
                </a:lnTo>
                <a:lnTo>
                  <a:pt x="121" y="133"/>
                </a:lnTo>
                <a:lnTo>
                  <a:pt x="66" y="79"/>
                </a:lnTo>
                <a:lnTo>
                  <a:pt x="12" y="133"/>
                </a:lnTo>
                <a:lnTo>
                  <a:pt x="0" y="121"/>
                </a:lnTo>
                <a:lnTo>
                  <a:pt x="54" y="66"/>
                </a:lnTo>
                <a:lnTo>
                  <a:pt x="0" y="12"/>
                </a:lnTo>
                <a:lnTo>
                  <a:pt x="12" y="0"/>
                </a:lnTo>
                <a:lnTo>
                  <a:pt x="66" y="54"/>
                </a:lnTo>
                <a:lnTo>
                  <a:pt x="121" y="0"/>
                </a:lnTo>
                <a:lnTo>
                  <a:pt x="133" y="12"/>
                </a:lnTo>
                <a:lnTo>
                  <a:pt x="79" y="6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0" name="Freeform 22">
            <a:extLst>
              <a:ext uri="{FF2B5EF4-FFF2-40B4-BE49-F238E27FC236}">
                <a16:creationId xmlns:a16="http://schemas.microsoft.com/office/drawing/2014/main" id="{701ED04F-B863-4076-91B2-03C0E773AED6}"/>
              </a:ext>
            </a:extLst>
          </p:cNvPr>
          <p:cNvSpPr>
            <a:spLocks noEditPoints="1"/>
          </p:cNvSpPr>
          <p:nvPr/>
        </p:nvSpPr>
        <p:spPr bwMode="auto">
          <a:xfrm>
            <a:off x="6051915" y="2506196"/>
            <a:ext cx="412750" cy="312738"/>
          </a:xfrm>
          <a:custGeom>
            <a:avLst/>
            <a:gdLst>
              <a:gd name="T0" fmla="*/ 128 w 128"/>
              <a:gd name="T1" fmla="*/ 62 h 96"/>
              <a:gd name="T2" fmla="*/ 118 w 128"/>
              <a:gd name="T3" fmla="*/ 38 h 96"/>
              <a:gd name="T4" fmla="*/ 91 w 128"/>
              <a:gd name="T5" fmla="*/ 28 h 96"/>
              <a:gd name="T6" fmla="*/ 54 w 128"/>
              <a:gd name="T7" fmla="*/ 0 h 96"/>
              <a:gd name="T8" fmla="*/ 16 w 128"/>
              <a:gd name="T9" fmla="*/ 38 h 96"/>
              <a:gd name="T10" fmla="*/ 16 w 128"/>
              <a:gd name="T11" fmla="*/ 43 h 96"/>
              <a:gd name="T12" fmla="*/ 0 w 128"/>
              <a:gd name="T13" fmla="*/ 68 h 96"/>
              <a:gd name="T14" fmla="*/ 26 w 128"/>
              <a:gd name="T15" fmla="*/ 96 h 96"/>
              <a:gd name="T16" fmla="*/ 26 w 128"/>
              <a:gd name="T17" fmla="*/ 96 h 96"/>
              <a:gd name="T18" fmla="*/ 94 w 128"/>
              <a:gd name="T19" fmla="*/ 96 h 96"/>
              <a:gd name="T20" fmla="*/ 94 w 128"/>
              <a:gd name="T21" fmla="*/ 96 h 96"/>
              <a:gd name="T22" fmla="*/ 128 w 128"/>
              <a:gd name="T23" fmla="*/ 62 h 96"/>
              <a:gd name="T24" fmla="*/ 94 w 128"/>
              <a:gd name="T25" fmla="*/ 88 h 96"/>
              <a:gd name="T26" fmla="*/ 28 w 128"/>
              <a:gd name="T27" fmla="*/ 88 h 96"/>
              <a:gd name="T28" fmla="*/ 8 w 128"/>
              <a:gd name="T29" fmla="*/ 68 h 96"/>
              <a:gd name="T30" fmla="*/ 18 w 128"/>
              <a:gd name="T31" fmla="*/ 51 h 96"/>
              <a:gd name="T32" fmla="*/ 26 w 128"/>
              <a:gd name="T33" fmla="*/ 48 h 96"/>
              <a:gd name="T34" fmla="*/ 24 w 128"/>
              <a:gd name="T35" fmla="*/ 38 h 96"/>
              <a:gd name="T36" fmla="*/ 54 w 128"/>
              <a:gd name="T37" fmla="*/ 8 h 96"/>
              <a:gd name="T38" fmla="*/ 83 w 128"/>
              <a:gd name="T39" fmla="*/ 30 h 96"/>
              <a:gd name="T40" fmla="*/ 84 w 128"/>
              <a:gd name="T41" fmla="*/ 38 h 96"/>
              <a:gd name="T42" fmla="*/ 94 w 128"/>
              <a:gd name="T43" fmla="*/ 36 h 96"/>
              <a:gd name="T44" fmla="*/ 111 w 128"/>
              <a:gd name="T45" fmla="*/ 43 h 96"/>
              <a:gd name="T46" fmla="*/ 120 w 128"/>
              <a:gd name="T47" fmla="*/ 62 h 96"/>
              <a:gd name="T48" fmla="*/ 94 w 128"/>
              <a:gd name="T49" fmla="*/ 8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96">
                <a:moveTo>
                  <a:pt x="128" y="62"/>
                </a:moveTo>
                <a:cubicBezTo>
                  <a:pt x="128" y="49"/>
                  <a:pt x="122" y="42"/>
                  <a:pt x="118" y="38"/>
                </a:cubicBezTo>
                <a:cubicBezTo>
                  <a:pt x="114" y="33"/>
                  <a:pt x="105" y="27"/>
                  <a:pt x="91" y="28"/>
                </a:cubicBezTo>
                <a:cubicBezTo>
                  <a:pt x="89" y="16"/>
                  <a:pt x="77" y="0"/>
                  <a:pt x="54" y="0"/>
                </a:cubicBezTo>
                <a:cubicBezTo>
                  <a:pt x="33" y="0"/>
                  <a:pt x="16" y="17"/>
                  <a:pt x="16" y="38"/>
                </a:cubicBezTo>
                <a:cubicBezTo>
                  <a:pt x="16" y="40"/>
                  <a:pt x="16" y="41"/>
                  <a:pt x="16" y="43"/>
                </a:cubicBezTo>
                <a:cubicBezTo>
                  <a:pt x="7" y="47"/>
                  <a:pt x="0" y="57"/>
                  <a:pt x="0" y="68"/>
                </a:cubicBezTo>
                <a:cubicBezTo>
                  <a:pt x="0" y="83"/>
                  <a:pt x="12" y="95"/>
                  <a:pt x="26" y="96"/>
                </a:cubicBezTo>
                <a:cubicBezTo>
                  <a:pt x="26" y="96"/>
                  <a:pt x="26" y="96"/>
                  <a:pt x="26" y="96"/>
                </a:cubicBezTo>
                <a:cubicBezTo>
                  <a:pt x="94" y="96"/>
                  <a:pt x="94" y="96"/>
                  <a:pt x="94" y="96"/>
                </a:cubicBezTo>
                <a:cubicBezTo>
                  <a:pt x="94" y="96"/>
                  <a:pt x="94" y="96"/>
                  <a:pt x="94" y="96"/>
                </a:cubicBezTo>
                <a:cubicBezTo>
                  <a:pt x="114" y="96"/>
                  <a:pt x="128" y="81"/>
                  <a:pt x="128" y="62"/>
                </a:cubicBezTo>
                <a:close/>
                <a:moveTo>
                  <a:pt x="94" y="88"/>
                </a:moveTo>
                <a:cubicBezTo>
                  <a:pt x="28" y="88"/>
                  <a:pt x="28" y="88"/>
                  <a:pt x="28" y="88"/>
                </a:cubicBezTo>
                <a:cubicBezTo>
                  <a:pt x="17" y="88"/>
                  <a:pt x="8" y="79"/>
                  <a:pt x="8" y="68"/>
                </a:cubicBezTo>
                <a:cubicBezTo>
                  <a:pt x="8" y="61"/>
                  <a:pt x="12" y="54"/>
                  <a:pt x="18" y="51"/>
                </a:cubicBezTo>
                <a:cubicBezTo>
                  <a:pt x="21" y="49"/>
                  <a:pt x="23" y="49"/>
                  <a:pt x="26" y="48"/>
                </a:cubicBezTo>
                <a:cubicBezTo>
                  <a:pt x="26" y="48"/>
                  <a:pt x="24" y="44"/>
                  <a:pt x="24" y="38"/>
                </a:cubicBezTo>
                <a:cubicBezTo>
                  <a:pt x="24" y="22"/>
                  <a:pt x="38" y="8"/>
                  <a:pt x="54" y="8"/>
                </a:cubicBezTo>
                <a:cubicBezTo>
                  <a:pt x="67" y="8"/>
                  <a:pt x="79" y="17"/>
                  <a:pt x="83" y="30"/>
                </a:cubicBezTo>
                <a:cubicBezTo>
                  <a:pt x="84" y="33"/>
                  <a:pt x="84" y="35"/>
                  <a:pt x="84" y="38"/>
                </a:cubicBezTo>
                <a:cubicBezTo>
                  <a:pt x="87" y="37"/>
                  <a:pt x="91" y="36"/>
                  <a:pt x="94" y="36"/>
                </a:cubicBezTo>
                <a:cubicBezTo>
                  <a:pt x="99" y="36"/>
                  <a:pt x="106" y="38"/>
                  <a:pt x="111" y="43"/>
                </a:cubicBezTo>
                <a:cubicBezTo>
                  <a:pt x="117" y="48"/>
                  <a:pt x="120" y="54"/>
                  <a:pt x="120" y="62"/>
                </a:cubicBezTo>
                <a:cubicBezTo>
                  <a:pt x="120" y="78"/>
                  <a:pt x="106" y="88"/>
                  <a:pt x="94" y="8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1" name="Freeform 26">
            <a:extLst>
              <a:ext uri="{FF2B5EF4-FFF2-40B4-BE49-F238E27FC236}">
                <a16:creationId xmlns:a16="http://schemas.microsoft.com/office/drawing/2014/main" id="{DCA9F2A2-2940-4B36-ABEA-EEF3BF8C186F}"/>
              </a:ext>
            </a:extLst>
          </p:cNvPr>
          <p:cNvSpPr>
            <a:spLocks noEditPoints="1"/>
          </p:cNvSpPr>
          <p:nvPr/>
        </p:nvSpPr>
        <p:spPr bwMode="auto">
          <a:xfrm>
            <a:off x="8166595" y="2406184"/>
            <a:ext cx="388938" cy="412750"/>
          </a:xfrm>
          <a:custGeom>
            <a:avLst/>
            <a:gdLst>
              <a:gd name="T0" fmla="*/ 99 w 120"/>
              <a:gd name="T1" fmla="*/ 84 h 128"/>
              <a:gd name="T2" fmla="*/ 72 w 120"/>
              <a:gd name="T3" fmla="*/ 64 h 128"/>
              <a:gd name="T4" fmla="*/ 102 w 120"/>
              <a:gd name="T5" fmla="*/ 42 h 128"/>
              <a:gd name="T6" fmla="*/ 116 w 120"/>
              <a:gd name="T7" fmla="*/ 36 h 128"/>
              <a:gd name="T8" fmla="*/ 100 w 120"/>
              <a:gd name="T9" fmla="*/ 36 h 128"/>
              <a:gd name="T10" fmla="*/ 69 w 120"/>
              <a:gd name="T11" fmla="*/ 56 h 128"/>
              <a:gd name="T12" fmla="*/ 62 w 120"/>
              <a:gd name="T13" fmla="*/ 24 h 128"/>
              <a:gd name="T14" fmla="*/ 60 w 120"/>
              <a:gd name="T15" fmla="*/ 0 h 128"/>
              <a:gd name="T16" fmla="*/ 58 w 120"/>
              <a:gd name="T17" fmla="*/ 24 h 128"/>
              <a:gd name="T18" fmla="*/ 51 w 120"/>
              <a:gd name="T19" fmla="*/ 56 h 128"/>
              <a:gd name="T20" fmla="*/ 20 w 120"/>
              <a:gd name="T21" fmla="*/ 36 h 128"/>
              <a:gd name="T22" fmla="*/ 4 w 120"/>
              <a:gd name="T23" fmla="*/ 36 h 128"/>
              <a:gd name="T24" fmla="*/ 18 w 120"/>
              <a:gd name="T25" fmla="*/ 42 h 128"/>
              <a:gd name="T26" fmla="*/ 48 w 120"/>
              <a:gd name="T27" fmla="*/ 64 h 128"/>
              <a:gd name="T28" fmla="*/ 21 w 120"/>
              <a:gd name="T29" fmla="*/ 84 h 128"/>
              <a:gd name="T30" fmla="*/ 0 w 120"/>
              <a:gd name="T31" fmla="*/ 92 h 128"/>
              <a:gd name="T32" fmla="*/ 24 w 120"/>
              <a:gd name="T33" fmla="*/ 92 h 128"/>
              <a:gd name="T34" fmla="*/ 51 w 120"/>
              <a:gd name="T35" fmla="*/ 72 h 128"/>
              <a:gd name="T36" fmla="*/ 58 w 120"/>
              <a:gd name="T37" fmla="*/ 112 h 128"/>
              <a:gd name="T38" fmla="*/ 60 w 120"/>
              <a:gd name="T39" fmla="*/ 128 h 128"/>
              <a:gd name="T40" fmla="*/ 62 w 120"/>
              <a:gd name="T41" fmla="*/ 112 h 128"/>
              <a:gd name="T42" fmla="*/ 69 w 120"/>
              <a:gd name="T43" fmla="*/ 71 h 128"/>
              <a:gd name="T44" fmla="*/ 96 w 120"/>
              <a:gd name="T45" fmla="*/ 92 h 128"/>
              <a:gd name="T46" fmla="*/ 120 w 120"/>
              <a:gd name="T47" fmla="*/ 92 h 128"/>
              <a:gd name="T48" fmla="*/ 12 w 120"/>
              <a:gd name="T49" fmla="*/ 100 h 128"/>
              <a:gd name="T50" fmla="*/ 12 w 120"/>
              <a:gd name="T51" fmla="*/ 84 h 128"/>
              <a:gd name="T52" fmla="*/ 12 w 120"/>
              <a:gd name="T53" fmla="*/ 100 h 128"/>
              <a:gd name="T54" fmla="*/ 60 w 120"/>
              <a:gd name="T55" fmla="*/ 4 h 128"/>
              <a:gd name="T56" fmla="*/ 60 w 120"/>
              <a:gd name="T57" fmla="*/ 20 h 128"/>
              <a:gd name="T58" fmla="*/ 108 w 120"/>
              <a:gd name="T59" fmla="*/ 100 h 128"/>
              <a:gd name="T60" fmla="*/ 108 w 120"/>
              <a:gd name="T61" fmla="*/ 84 h 128"/>
              <a:gd name="T62" fmla="*/ 108 w 120"/>
              <a:gd name="T63" fmla="*/ 10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0" h="128">
                <a:moveTo>
                  <a:pt x="108" y="80"/>
                </a:moveTo>
                <a:cubicBezTo>
                  <a:pt x="104" y="80"/>
                  <a:pt x="101" y="82"/>
                  <a:pt x="99" y="84"/>
                </a:cubicBezTo>
                <a:cubicBezTo>
                  <a:pt x="71" y="68"/>
                  <a:pt x="71" y="68"/>
                  <a:pt x="71" y="68"/>
                </a:cubicBezTo>
                <a:cubicBezTo>
                  <a:pt x="72" y="67"/>
                  <a:pt x="72" y="65"/>
                  <a:pt x="72" y="64"/>
                </a:cubicBezTo>
                <a:cubicBezTo>
                  <a:pt x="72" y="63"/>
                  <a:pt x="72" y="61"/>
                  <a:pt x="71" y="60"/>
                </a:cubicBezTo>
                <a:cubicBezTo>
                  <a:pt x="102" y="42"/>
                  <a:pt x="102" y="42"/>
                  <a:pt x="102" y="42"/>
                </a:cubicBezTo>
                <a:cubicBezTo>
                  <a:pt x="104" y="43"/>
                  <a:pt x="106" y="44"/>
                  <a:pt x="108" y="44"/>
                </a:cubicBezTo>
                <a:cubicBezTo>
                  <a:pt x="112" y="44"/>
                  <a:pt x="116" y="41"/>
                  <a:pt x="116" y="36"/>
                </a:cubicBezTo>
                <a:cubicBezTo>
                  <a:pt x="116" y="32"/>
                  <a:pt x="112" y="28"/>
                  <a:pt x="108" y="28"/>
                </a:cubicBezTo>
                <a:cubicBezTo>
                  <a:pt x="104" y="28"/>
                  <a:pt x="100" y="32"/>
                  <a:pt x="100" y="36"/>
                </a:cubicBezTo>
                <a:cubicBezTo>
                  <a:pt x="100" y="37"/>
                  <a:pt x="100" y="38"/>
                  <a:pt x="100" y="38"/>
                </a:cubicBezTo>
                <a:cubicBezTo>
                  <a:pt x="69" y="56"/>
                  <a:pt x="69" y="56"/>
                  <a:pt x="69" y="56"/>
                </a:cubicBezTo>
                <a:cubicBezTo>
                  <a:pt x="67" y="54"/>
                  <a:pt x="65" y="53"/>
                  <a:pt x="62" y="52"/>
                </a:cubicBezTo>
                <a:cubicBezTo>
                  <a:pt x="62" y="24"/>
                  <a:pt x="62" y="24"/>
                  <a:pt x="62" y="24"/>
                </a:cubicBezTo>
                <a:cubicBezTo>
                  <a:pt x="68" y="23"/>
                  <a:pt x="72" y="18"/>
                  <a:pt x="72" y="12"/>
                </a:cubicBezTo>
                <a:cubicBezTo>
                  <a:pt x="72" y="5"/>
                  <a:pt x="67" y="0"/>
                  <a:pt x="60" y="0"/>
                </a:cubicBezTo>
                <a:cubicBezTo>
                  <a:pt x="53" y="0"/>
                  <a:pt x="48" y="5"/>
                  <a:pt x="48" y="12"/>
                </a:cubicBezTo>
                <a:cubicBezTo>
                  <a:pt x="48" y="18"/>
                  <a:pt x="52" y="23"/>
                  <a:pt x="58" y="24"/>
                </a:cubicBezTo>
                <a:cubicBezTo>
                  <a:pt x="58" y="52"/>
                  <a:pt x="58" y="52"/>
                  <a:pt x="58" y="52"/>
                </a:cubicBezTo>
                <a:cubicBezTo>
                  <a:pt x="55" y="53"/>
                  <a:pt x="53" y="54"/>
                  <a:pt x="51" y="56"/>
                </a:cubicBezTo>
                <a:cubicBezTo>
                  <a:pt x="20" y="38"/>
                  <a:pt x="20" y="38"/>
                  <a:pt x="20" y="38"/>
                </a:cubicBezTo>
                <a:cubicBezTo>
                  <a:pt x="20" y="38"/>
                  <a:pt x="20" y="37"/>
                  <a:pt x="20" y="36"/>
                </a:cubicBezTo>
                <a:cubicBezTo>
                  <a:pt x="20" y="32"/>
                  <a:pt x="16" y="28"/>
                  <a:pt x="12" y="28"/>
                </a:cubicBezTo>
                <a:cubicBezTo>
                  <a:pt x="8" y="28"/>
                  <a:pt x="4" y="32"/>
                  <a:pt x="4" y="36"/>
                </a:cubicBezTo>
                <a:cubicBezTo>
                  <a:pt x="4" y="41"/>
                  <a:pt x="8" y="44"/>
                  <a:pt x="12" y="44"/>
                </a:cubicBezTo>
                <a:cubicBezTo>
                  <a:pt x="14" y="44"/>
                  <a:pt x="16" y="43"/>
                  <a:pt x="18" y="42"/>
                </a:cubicBezTo>
                <a:cubicBezTo>
                  <a:pt x="49" y="60"/>
                  <a:pt x="49" y="60"/>
                  <a:pt x="49" y="60"/>
                </a:cubicBezTo>
                <a:cubicBezTo>
                  <a:pt x="48" y="61"/>
                  <a:pt x="48" y="62"/>
                  <a:pt x="48" y="64"/>
                </a:cubicBezTo>
                <a:cubicBezTo>
                  <a:pt x="48" y="65"/>
                  <a:pt x="48" y="67"/>
                  <a:pt x="49" y="68"/>
                </a:cubicBezTo>
                <a:cubicBezTo>
                  <a:pt x="21" y="84"/>
                  <a:pt x="21" y="84"/>
                  <a:pt x="21" y="84"/>
                </a:cubicBezTo>
                <a:cubicBezTo>
                  <a:pt x="19" y="82"/>
                  <a:pt x="16" y="80"/>
                  <a:pt x="12" y="80"/>
                </a:cubicBezTo>
                <a:cubicBezTo>
                  <a:pt x="5" y="80"/>
                  <a:pt x="0" y="85"/>
                  <a:pt x="0" y="92"/>
                </a:cubicBezTo>
                <a:cubicBezTo>
                  <a:pt x="0" y="99"/>
                  <a:pt x="5" y="104"/>
                  <a:pt x="12" y="104"/>
                </a:cubicBezTo>
                <a:cubicBezTo>
                  <a:pt x="19" y="104"/>
                  <a:pt x="24" y="99"/>
                  <a:pt x="24" y="92"/>
                </a:cubicBezTo>
                <a:cubicBezTo>
                  <a:pt x="24" y="90"/>
                  <a:pt x="24" y="89"/>
                  <a:pt x="23" y="88"/>
                </a:cubicBezTo>
                <a:cubicBezTo>
                  <a:pt x="51" y="72"/>
                  <a:pt x="51" y="72"/>
                  <a:pt x="51" y="72"/>
                </a:cubicBezTo>
                <a:cubicBezTo>
                  <a:pt x="53" y="74"/>
                  <a:pt x="55" y="75"/>
                  <a:pt x="58" y="76"/>
                </a:cubicBezTo>
                <a:cubicBezTo>
                  <a:pt x="58" y="112"/>
                  <a:pt x="58" y="112"/>
                  <a:pt x="58" y="112"/>
                </a:cubicBezTo>
                <a:cubicBezTo>
                  <a:pt x="55" y="113"/>
                  <a:pt x="52" y="116"/>
                  <a:pt x="52" y="120"/>
                </a:cubicBezTo>
                <a:cubicBezTo>
                  <a:pt x="52" y="124"/>
                  <a:pt x="56" y="128"/>
                  <a:pt x="60" y="128"/>
                </a:cubicBezTo>
                <a:cubicBezTo>
                  <a:pt x="64" y="128"/>
                  <a:pt x="68" y="124"/>
                  <a:pt x="68" y="120"/>
                </a:cubicBezTo>
                <a:cubicBezTo>
                  <a:pt x="68" y="116"/>
                  <a:pt x="65" y="113"/>
                  <a:pt x="62" y="112"/>
                </a:cubicBezTo>
                <a:cubicBezTo>
                  <a:pt x="62" y="76"/>
                  <a:pt x="62" y="76"/>
                  <a:pt x="62" y="76"/>
                </a:cubicBezTo>
                <a:cubicBezTo>
                  <a:pt x="65" y="75"/>
                  <a:pt x="68" y="74"/>
                  <a:pt x="69" y="71"/>
                </a:cubicBezTo>
                <a:cubicBezTo>
                  <a:pt x="97" y="87"/>
                  <a:pt x="97" y="87"/>
                  <a:pt x="97" y="87"/>
                </a:cubicBezTo>
                <a:cubicBezTo>
                  <a:pt x="96" y="89"/>
                  <a:pt x="96" y="90"/>
                  <a:pt x="96" y="92"/>
                </a:cubicBezTo>
                <a:cubicBezTo>
                  <a:pt x="96" y="99"/>
                  <a:pt x="101" y="104"/>
                  <a:pt x="108" y="104"/>
                </a:cubicBezTo>
                <a:cubicBezTo>
                  <a:pt x="115" y="104"/>
                  <a:pt x="120" y="99"/>
                  <a:pt x="120" y="92"/>
                </a:cubicBezTo>
                <a:cubicBezTo>
                  <a:pt x="120" y="85"/>
                  <a:pt x="115" y="80"/>
                  <a:pt x="108" y="80"/>
                </a:cubicBezTo>
                <a:close/>
                <a:moveTo>
                  <a:pt x="12" y="100"/>
                </a:moveTo>
                <a:cubicBezTo>
                  <a:pt x="8" y="100"/>
                  <a:pt x="4" y="96"/>
                  <a:pt x="4" y="92"/>
                </a:cubicBezTo>
                <a:cubicBezTo>
                  <a:pt x="4" y="88"/>
                  <a:pt x="8" y="84"/>
                  <a:pt x="12" y="84"/>
                </a:cubicBezTo>
                <a:cubicBezTo>
                  <a:pt x="16" y="84"/>
                  <a:pt x="20" y="88"/>
                  <a:pt x="20" y="92"/>
                </a:cubicBezTo>
                <a:cubicBezTo>
                  <a:pt x="20" y="96"/>
                  <a:pt x="16" y="100"/>
                  <a:pt x="12" y="100"/>
                </a:cubicBezTo>
                <a:close/>
                <a:moveTo>
                  <a:pt x="52" y="12"/>
                </a:moveTo>
                <a:cubicBezTo>
                  <a:pt x="52" y="8"/>
                  <a:pt x="56" y="4"/>
                  <a:pt x="60" y="4"/>
                </a:cubicBezTo>
                <a:cubicBezTo>
                  <a:pt x="64" y="4"/>
                  <a:pt x="68" y="8"/>
                  <a:pt x="68" y="12"/>
                </a:cubicBezTo>
                <a:cubicBezTo>
                  <a:pt x="68" y="16"/>
                  <a:pt x="64" y="20"/>
                  <a:pt x="60" y="20"/>
                </a:cubicBezTo>
                <a:cubicBezTo>
                  <a:pt x="56" y="20"/>
                  <a:pt x="52" y="16"/>
                  <a:pt x="52" y="12"/>
                </a:cubicBezTo>
                <a:close/>
                <a:moveTo>
                  <a:pt x="108" y="100"/>
                </a:moveTo>
                <a:cubicBezTo>
                  <a:pt x="104" y="100"/>
                  <a:pt x="100" y="96"/>
                  <a:pt x="100" y="92"/>
                </a:cubicBezTo>
                <a:cubicBezTo>
                  <a:pt x="100" y="88"/>
                  <a:pt x="104" y="84"/>
                  <a:pt x="108" y="84"/>
                </a:cubicBezTo>
                <a:cubicBezTo>
                  <a:pt x="112" y="84"/>
                  <a:pt x="116" y="88"/>
                  <a:pt x="116" y="92"/>
                </a:cubicBezTo>
                <a:cubicBezTo>
                  <a:pt x="116" y="96"/>
                  <a:pt x="112" y="100"/>
                  <a:pt x="108" y="1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2" name="Freeform: Shape 231">
            <a:extLst>
              <a:ext uri="{FF2B5EF4-FFF2-40B4-BE49-F238E27FC236}">
                <a16:creationId xmlns:a16="http://schemas.microsoft.com/office/drawing/2014/main" id="{928112BE-8358-4E21-B1E6-4FB8BACCDC26}"/>
              </a:ext>
            </a:extLst>
          </p:cNvPr>
          <p:cNvSpPr/>
          <p:nvPr/>
        </p:nvSpPr>
        <p:spPr>
          <a:xfrm>
            <a:off x="7151324" y="2514134"/>
            <a:ext cx="304800" cy="304800"/>
          </a:xfrm>
          <a:custGeom>
            <a:avLst/>
            <a:gdLst>
              <a:gd name="connsiteX0" fmla="*/ 0 w 304800"/>
              <a:gd name="connsiteY0" fmla="*/ 0 h 304800"/>
              <a:gd name="connsiteX1" fmla="*/ 0 w 304800"/>
              <a:gd name="connsiteY1" fmla="*/ 304800 h 304800"/>
              <a:gd name="connsiteX2" fmla="*/ 304800 w 304800"/>
              <a:gd name="connsiteY2" fmla="*/ 304800 h 304800"/>
              <a:gd name="connsiteX3" fmla="*/ 304800 w 304800"/>
              <a:gd name="connsiteY3" fmla="*/ 0 h 304800"/>
              <a:gd name="connsiteX4" fmla="*/ 0 w 304800"/>
              <a:gd name="connsiteY4" fmla="*/ 0 h 304800"/>
              <a:gd name="connsiteX5" fmla="*/ 57150 w 304800"/>
              <a:gd name="connsiteY5" fmla="*/ 285750 h 304800"/>
              <a:gd name="connsiteX6" fmla="*/ 57150 w 304800"/>
              <a:gd name="connsiteY6" fmla="*/ 219075 h 304800"/>
              <a:gd name="connsiteX7" fmla="*/ 76200 w 304800"/>
              <a:gd name="connsiteY7" fmla="*/ 219075 h 304800"/>
              <a:gd name="connsiteX8" fmla="*/ 76200 w 304800"/>
              <a:gd name="connsiteY8" fmla="*/ 200025 h 304800"/>
              <a:gd name="connsiteX9" fmla="*/ 57150 w 304800"/>
              <a:gd name="connsiteY9" fmla="*/ 200025 h 304800"/>
              <a:gd name="connsiteX10" fmla="*/ 57150 w 304800"/>
              <a:gd name="connsiteY10" fmla="*/ 133350 h 304800"/>
              <a:gd name="connsiteX11" fmla="*/ 123825 w 304800"/>
              <a:gd name="connsiteY11" fmla="*/ 133350 h 304800"/>
              <a:gd name="connsiteX12" fmla="*/ 123825 w 304800"/>
              <a:gd name="connsiteY12" fmla="*/ 285750 h 304800"/>
              <a:gd name="connsiteX13" fmla="*/ 57150 w 304800"/>
              <a:gd name="connsiteY13" fmla="*/ 285750 h 304800"/>
              <a:gd name="connsiteX14" fmla="*/ 285750 w 304800"/>
              <a:gd name="connsiteY14" fmla="*/ 285750 h 304800"/>
              <a:gd name="connsiteX15" fmla="*/ 142875 w 304800"/>
              <a:gd name="connsiteY15" fmla="*/ 285750 h 304800"/>
              <a:gd name="connsiteX16" fmla="*/ 142875 w 304800"/>
              <a:gd name="connsiteY16" fmla="*/ 114300 h 304800"/>
              <a:gd name="connsiteX17" fmla="*/ 38100 w 304800"/>
              <a:gd name="connsiteY17" fmla="*/ 114300 h 304800"/>
              <a:gd name="connsiteX18" fmla="*/ 38100 w 304800"/>
              <a:gd name="connsiteY18" fmla="*/ 285750 h 304800"/>
              <a:gd name="connsiteX19" fmla="*/ 19050 w 304800"/>
              <a:gd name="connsiteY19" fmla="*/ 285750 h 304800"/>
              <a:gd name="connsiteX20" fmla="*/ 19050 w 304800"/>
              <a:gd name="connsiteY20" fmla="*/ 19050 h 304800"/>
              <a:gd name="connsiteX21" fmla="*/ 285750 w 304800"/>
              <a:gd name="connsiteY21" fmla="*/ 19050 h 304800"/>
              <a:gd name="connsiteX22" fmla="*/ 285750 w 304800"/>
              <a:gd name="connsiteY22" fmla="*/ 285750 h 304800"/>
              <a:gd name="connsiteX23" fmla="*/ 276225 w 304800"/>
              <a:gd name="connsiteY23" fmla="*/ 80963 h 304800"/>
              <a:gd name="connsiteX24" fmla="*/ 259080 w 304800"/>
              <a:gd name="connsiteY24" fmla="*/ 80963 h 304800"/>
              <a:gd name="connsiteX25" fmla="*/ 269558 w 304800"/>
              <a:gd name="connsiteY25" fmla="*/ 91440 h 304800"/>
              <a:gd name="connsiteX26" fmla="*/ 262890 w 304800"/>
              <a:gd name="connsiteY26" fmla="*/ 98108 h 304800"/>
              <a:gd name="connsiteX27" fmla="*/ 244793 w 304800"/>
              <a:gd name="connsiteY27" fmla="*/ 80010 h 304800"/>
              <a:gd name="connsiteX28" fmla="*/ 232410 w 304800"/>
              <a:gd name="connsiteY28" fmla="*/ 80010 h 304800"/>
              <a:gd name="connsiteX29" fmla="*/ 232410 w 304800"/>
              <a:gd name="connsiteY29" fmla="*/ 92393 h 304800"/>
              <a:gd name="connsiteX30" fmla="*/ 250508 w 304800"/>
              <a:gd name="connsiteY30" fmla="*/ 110490 h 304800"/>
              <a:gd name="connsiteX31" fmla="*/ 243840 w 304800"/>
              <a:gd name="connsiteY31" fmla="*/ 117158 h 304800"/>
              <a:gd name="connsiteX32" fmla="*/ 233363 w 304800"/>
              <a:gd name="connsiteY32" fmla="*/ 106680 h 304800"/>
              <a:gd name="connsiteX33" fmla="*/ 233363 w 304800"/>
              <a:gd name="connsiteY33" fmla="*/ 123825 h 304800"/>
              <a:gd name="connsiteX34" fmla="*/ 223838 w 304800"/>
              <a:gd name="connsiteY34" fmla="*/ 123825 h 304800"/>
              <a:gd name="connsiteX35" fmla="*/ 223838 w 304800"/>
              <a:gd name="connsiteY35" fmla="*/ 106680 h 304800"/>
              <a:gd name="connsiteX36" fmla="*/ 213360 w 304800"/>
              <a:gd name="connsiteY36" fmla="*/ 117158 h 304800"/>
              <a:gd name="connsiteX37" fmla="*/ 206693 w 304800"/>
              <a:gd name="connsiteY37" fmla="*/ 110490 h 304800"/>
              <a:gd name="connsiteX38" fmla="*/ 224790 w 304800"/>
              <a:gd name="connsiteY38" fmla="*/ 92393 h 304800"/>
              <a:gd name="connsiteX39" fmla="*/ 224790 w 304800"/>
              <a:gd name="connsiteY39" fmla="*/ 80963 h 304800"/>
              <a:gd name="connsiteX40" fmla="*/ 212408 w 304800"/>
              <a:gd name="connsiteY40" fmla="*/ 80963 h 304800"/>
              <a:gd name="connsiteX41" fmla="*/ 194310 w 304800"/>
              <a:gd name="connsiteY41" fmla="*/ 99060 h 304800"/>
              <a:gd name="connsiteX42" fmla="*/ 187643 w 304800"/>
              <a:gd name="connsiteY42" fmla="*/ 92393 h 304800"/>
              <a:gd name="connsiteX43" fmla="*/ 198120 w 304800"/>
              <a:gd name="connsiteY43" fmla="*/ 81915 h 304800"/>
              <a:gd name="connsiteX44" fmla="*/ 180975 w 304800"/>
              <a:gd name="connsiteY44" fmla="*/ 81915 h 304800"/>
              <a:gd name="connsiteX45" fmla="*/ 180975 w 304800"/>
              <a:gd name="connsiteY45" fmla="*/ 72390 h 304800"/>
              <a:gd name="connsiteX46" fmla="*/ 198120 w 304800"/>
              <a:gd name="connsiteY46" fmla="*/ 72390 h 304800"/>
              <a:gd name="connsiteX47" fmla="*/ 187643 w 304800"/>
              <a:gd name="connsiteY47" fmla="*/ 61913 h 304800"/>
              <a:gd name="connsiteX48" fmla="*/ 194310 w 304800"/>
              <a:gd name="connsiteY48" fmla="*/ 55245 h 304800"/>
              <a:gd name="connsiteX49" fmla="*/ 212408 w 304800"/>
              <a:gd name="connsiteY49" fmla="*/ 73343 h 304800"/>
              <a:gd name="connsiteX50" fmla="*/ 224790 w 304800"/>
              <a:gd name="connsiteY50" fmla="*/ 73343 h 304800"/>
              <a:gd name="connsiteX51" fmla="*/ 224790 w 304800"/>
              <a:gd name="connsiteY51" fmla="*/ 59055 h 304800"/>
              <a:gd name="connsiteX52" fmla="*/ 206693 w 304800"/>
              <a:gd name="connsiteY52" fmla="*/ 40958 h 304800"/>
              <a:gd name="connsiteX53" fmla="*/ 213360 w 304800"/>
              <a:gd name="connsiteY53" fmla="*/ 34290 h 304800"/>
              <a:gd name="connsiteX54" fmla="*/ 223838 w 304800"/>
              <a:gd name="connsiteY54" fmla="*/ 44768 h 304800"/>
              <a:gd name="connsiteX55" fmla="*/ 223838 w 304800"/>
              <a:gd name="connsiteY55" fmla="*/ 28575 h 304800"/>
              <a:gd name="connsiteX56" fmla="*/ 233363 w 304800"/>
              <a:gd name="connsiteY56" fmla="*/ 28575 h 304800"/>
              <a:gd name="connsiteX57" fmla="*/ 233363 w 304800"/>
              <a:gd name="connsiteY57" fmla="*/ 45720 h 304800"/>
              <a:gd name="connsiteX58" fmla="*/ 243840 w 304800"/>
              <a:gd name="connsiteY58" fmla="*/ 35243 h 304800"/>
              <a:gd name="connsiteX59" fmla="*/ 250508 w 304800"/>
              <a:gd name="connsiteY59" fmla="*/ 41910 h 304800"/>
              <a:gd name="connsiteX60" fmla="*/ 232410 w 304800"/>
              <a:gd name="connsiteY60" fmla="*/ 60008 h 304800"/>
              <a:gd name="connsiteX61" fmla="*/ 232410 w 304800"/>
              <a:gd name="connsiteY61" fmla="*/ 72390 h 304800"/>
              <a:gd name="connsiteX62" fmla="*/ 244793 w 304800"/>
              <a:gd name="connsiteY62" fmla="*/ 72390 h 304800"/>
              <a:gd name="connsiteX63" fmla="*/ 262890 w 304800"/>
              <a:gd name="connsiteY63" fmla="*/ 54293 h 304800"/>
              <a:gd name="connsiteX64" fmla="*/ 269558 w 304800"/>
              <a:gd name="connsiteY64" fmla="*/ 60960 h 304800"/>
              <a:gd name="connsiteX65" fmla="*/ 259080 w 304800"/>
              <a:gd name="connsiteY65" fmla="*/ 71438 h 304800"/>
              <a:gd name="connsiteX66" fmla="*/ 276225 w 304800"/>
              <a:gd name="connsiteY66" fmla="*/ 71438 h 304800"/>
              <a:gd name="connsiteX67" fmla="*/ 276225 w 304800"/>
              <a:gd name="connsiteY67" fmla="*/ 8096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4800" h="304800">
                <a:moveTo>
                  <a:pt x="0" y="0"/>
                </a:moveTo>
                <a:lnTo>
                  <a:pt x="0" y="304800"/>
                </a:lnTo>
                <a:lnTo>
                  <a:pt x="304800" y="304800"/>
                </a:lnTo>
                <a:lnTo>
                  <a:pt x="304800" y="0"/>
                </a:lnTo>
                <a:lnTo>
                  <a:pt x="0" y="0"/>
                </a:lnTo>
                <a:close/>
                <a:moveTo>
                  <a:pt x="57150" y="285750"/>
                </a:moveTo>
                <a:lnTo>
                  <a:pt x="57150" y="219075"/>
                </a:lnTo>
                <a:lnTo>
                  <a:pt x="76200" y="219075"/>
                </a:lnTo>
                <a:lnTo>
                  <a:pt x="76200" y="200025"/>
                </a:lnTo>
                <a:lnTo>
                  <a:pt x="57150" y="200025"/>
                </a:lnTo>
                <a:lnTo>
                  <a:pt x="57150" y="133350"/>
                </a:lnTo>
                <a:lnTo>
                  <a:pt x="123825" y="133350"/>
                </a:lnTo>
                <a:lnTo>
                  <a:pt x="123825" y="285750"/>
                </a:lnTo>
                <a:lnTo>
                  <a:pt x="57150" y="285750"/>
                </a:lnTo>
                <a:close/>
                <a:moveTo>
                  <a:pt x="285750" y="285750"/>
                </a:moveTo>
                <a:lnTo>
                  <a:pt x="142875" y="285750"/>
                </a:lnTo>
                <a:lnTo>
                  <a:pt x="142875" y="114300"/>
                </a:lnTo>
                <a:lnTo>
                  <a:pt x="38100" y="114300"/>
                </a:lnTo>
                <a:lnTo>
                  <a:pt x="38100" y="285750"/>
                </a:lnTo>
                <a:lnTo>
                  <a:pt x="19050" y="285750"/>
                </a:lnTo>
                <a:lnTo>
                  <a:pt x="19050" y="19050"/>
                </a:lnTo>
                <a:lnTo>
                  <a:pt x="285750" y="19050"/>
                </a:lnTo>
                <a:lnTo>
                  <a:pt x="285750" y="285750"/>
                </a:lnTo>
                <a:close/>
                <a:moveTo>
                  <a:pt x="276225" y="80963"/>
                </a:moveTo>
                <a:lnTo>
                  <a:pt x="259080" y="80963"/>
                </a:lnTo>
                <a:lnTo>
                  <a:pt x="269558" y="91440"/>
                </a:lnTo>
                <a:lnTo>
                  <a:pt x="262890" y="98108"/>
                </a:lnTo>
                <a:lnTo>
                  <a:pt x="244793" y="80010"/>
                </a:lnTo>
                <a:lnTo>
                  <a:pt x="232410" y="80010"/>
                </a:lnTo>
                <a:lnTo>
                  <a:pt x="232410" y="92393"/>
                </a:lnTo>
                <a:lnTo>
                  <a:pt x="250508" y="110490"/>
                </a:lnTo>
                <a:lnTo>
                  <a:pt x="243840" y="117158"/>
                </a:lnTo>
                <a:lnTo>
                  <a:pt x="233363" y="106680"/>
                </a:lnTo>
                <a:lnTo>
                  <a:pt x="233363" y="123825"/>
                </a:lnTo>
                <a:lnTo>
                  <a:pt x="223838" y="123825"/>
                </a:lnTo>
                <a:lnTo>
                  <a:pt x="223838" y="106680"/>
                </a:lnTo>
                <a:lnTo>
                  <a:pt x="213360" y="117158"/>
                </a:lnTo>
                <a:lnTo>
                  <a:pt x="206693" y="110490"/>
                </a:lnTo>
                <a:lnTo>
                  <a:pt x="224790" y="92393"/>
                </a:lnTo>
                <a:lnTo>
                  <a:pt x="224790" y="80963"/>
                </a:lnTo>
                <a:lnTo>
                  <a:pt x="212408" y="80963"/>
                </a:lnTo>
                <a:lnTo>
                  <a:pt x="194310" y="99060"/>
                </a:lnTo>
                <a:lnTo>
                  <a:pt x="187643" y="92393"/>
                </a:lnTo>
                <a:lnTo>
                  <a:pt x="198120" y="81915"/>
                </a:lnTo>
                <a:lnTo>
                  <a:pt x="180975" y="81915"/>
                </a:lnTo>
                <a:lnTo>
                  <a:pt x="180975" y="72390"/>
                </a:lnTo>
                <a:lnTo>
                  <a:pt x="198120" y="72390"/>
                </a:lnTo>
                <a:lnTo>
                  <a:pt x="187643" y="61913"/>
                </a:lnTo>
                <a:lnTo>
                  <a:pt x="194310" y="55245"/>
                </a:lnTo>
                <a:lnTo>
                  <a:pt x="212408" y="73343"/>
                </a:lnTo>
                <a:lnTo>
                  <a:pt x="224790" y="73343"/>
                </a:lnTo>
                <a:lnTo>
                  <a:pt x="224790" y="59055"/>
                </a:lnTo>
                <a:lnTo>
                  <a:pt x="206693" y="40958"/>
                </a:lnTo>
                <a:lnTo>
                  <a:pt x="213360" y="34290"/>
                </a:lnTo>
                <a:lnTo>
                  <a:pt x="223838" y="44768"/>
                </a:lnTo>
                <a:lnTo>
                  <a:pt x="223838" y="28575"/>
                </a:lnTo>
                <a:lnTo>
                  <a:pt x="233363" y="28575"/>
                </a:lnTo>
                <a:lnTo>
                  <a:pt x="233363" y="45720"/>
                </a:lnTo>
                <a:lnTo>
                  <a:pt x="243840" y="35243"/>
                </a:lnTo>
                <a:lnTo>
                  <a:pt x="250508" y="41910"/>
                </a:lnTo>
                <a:lnTo>
                  <a:pt x="232410" y="60008"/>
                </a:lnTo>
                <a:lnTo>
                  <a:pt x="232410" y="72390"/>
                </a:lnTo>
                <a:lnTo>
                  <a:pt x="244793" y="72390"/>
                </a:lnTo>
                <a:lnTo>
                  <a:pt x="262890" y="54293"/>
                </a:lnTo>
                <a:lnTo>
                  <a:pt x="269558" y="60960"/>
                </a:lnTo>
                <a:lnTo>
                  <a:pt x="259080" y="71438"/>
                </a:lnTo>
                <a:lnTo>
                  <a:pt x="276225" y="71438"/>
                </a:lnTo>
                <a:lnTo>
                  <a:pt x="276225" y="80963"/>
                </a:lnTo>
                <a:close/>
              </a:path>
            </a:pathLst>
          </a:custGeom>
          <a:solidFill>
            <a:schemeClr val="tx2"/>
          </a:solidFill>
          <a:ln w="9525" cap="flat">
            <a:noFill/>
            <a:prstDash val="solid"/>
            <a:miter/>
          </a:ln>
        </p:spPr>
        <p:txBody>
          <a:bodyPr rtlCol="0" anchor="ctr"/>
          <a:lstStyle/>
          <a:p>
            <a:endParaRPr lang="en-GB"/>
          </a:p>
        </p:txBody>
      </p:sp>
      <p:sp>
        <p:nvSpPr>
          <p:cNvPr id="267" name="Freeform 30">
            <a:extLst>
              <a:ext uri="{FF2B5EF4-FFF2-40B4-BE49-F238E27FC236}">
                <a16:creationId xmlns:a16="http://schemas.microsoft.com/office/drawing/2014/main" id="{D8CB8F1E-577C-406A-B99C-F0C937E341C8}"/>
              </a:ext>
            </a:extLst>
          </p:cNvPr>
          <p:cNvSpPr>
            <a:spLocks noEditPoints="1"/>
          </p:cNvSpPr>
          <p:nvPr/>
        </p:nvSpPr>
        <p:spPr bwMode="auto">
          <a:xfrm>
            <a:off x="5005687" y="3218872"/>
            <a:ext cx="414338" cy="388938"/>
          </a:xfrm>
          <a:custGeom>
            <a:avLst/>
            <a:gdLst>
              <a:gd name="T0" fmla="*/ 0 w 261"/>
              <a:gd name="T1" fmla="*/ 0 h 245"/>
              <a:gd name="T2" fmla="*/ 0 w 261"/>
              <a:gd name="T3" fmla="*/ 180 h 245"/>
              <a:gd name="T4" fmla="*/ 163 w 261"/>
              <a:gd name="T5" fmla="*/ 180 h 245"/>
              <a:gd name="T6" fmla="*/ 228 w 261"/>
              <a:gd name="T7" fmla="*/ 245 h 245"/>
              <a:gd name="T8" fmla="*/ 228 w 261"/>
              <a:gd name="T9" fmla="*/ 180 h 245"/>
              <a:gd name="T10" fmla="*/ 261 w 261"/>
              <a:gd name="T11" fmla="*/ 180 h 245"/>
              <a:gd name="T12" fmla="*/ 261 w 261"/>
              <a:gd name="T13" fmla="*/ 0 h 245"/>
              <a:gd name="T14" fmla="*/ 0 w 261"/>
              <a:gd name="T15" fmla="*/ 0 h 245"/>
              <a:gd name="T16" fmla="*/ 245 w 261"/>
              <a:gd name="T17" fmla="*/ 163 h 245"/>
              <a:gd name="T18" fmla="*/ 16 w 261"/>
              <a:gd name="T19" fmla="*/ 163 h 245"/>
              <a:gd name="T20" fmla="*/ 16 w 261"/>
              <a:gd name="T21" fmla="*/ 16 h 245"/>
              <a:gd name="T22" fmla="*/ 245 w 261"/>
              <a:gd name="T23" fmla="*/ 16 h 245"/>
              <a:gd name="T24" fmla="*/ 245 w 261"/>
              <a:gd name="T25" fmla="*/ 163 h 245"/>
              <a:gd name="T26" fmla="*/ 212 w 261"/>
              <a:gd name="T27" fmla="*/ 65 h 245"/>
              <a:gd name="T28" fmla="*/ 49 w 261"/>
              <a:gd name="T29" fmla="*/ 65 h 245"/>
              <a:gd name="T30" fmla="*/ 49 w 261"/>
              <a:gd name="T31" fmla="*/ 49 h 245"/>
              <a:gd name="T32" fmla="*/ 212 w 261"/>
              <a:gd name="T33" fmla="*/ 49 h 245"/>
              <a:gd name="T34" fmla="*/ 212 w 261"/>
              <a:gd name="T35" fmla="*/ 65 h 245"/>
              <a:gd name="T36" fmla="*/ 212 w 261"/>
              <a:gd name="T37" fmla="*/ 98 h 245"/>
              <a:gd name="T38" fmla="*/ 49 w 261"/>
              <a:gd name="T39" fmla="*/ 98 h 245"/>
              <a:gd name="T40" fmla="*/ 49 w 261"/>
              <a:gd name="T41" fmla="*/ 82 h 245"/>
              <a:gd name="T42" fmla="*/ 212 w 261"/>
              <a:gd name="T43" fmla="*/ 82 h 245"/>
              <a:gd name="T44" fmla="*/ 212 w 261"/>
              <a:gd name="T45" fmla="*/ 98 h 245"/>
              <a:gd name="T46" fmla="*/ 212 w 261"/>
              <a:gd name="T47" fmla="*/ 131 h 245"/>
              <a:gd name="T48" fmla="*/ 49 w 261"/>
              <a:gd name="T49" fmla="*/ 131 h 245"/>
              <a:gd name="T50" fmla="*/ 49 w 261"/>
              <a:gd name="T51" fmla="*/ 114 h 245"/>
              <a:gd name="T52" fmla="*/ 212 w 261"/>
              <a:gd name="T53" fmla="*/ 114 h 245"/>
              <a:gd name="T54" fmla="*/ 212 w 261"/>
              <a:gd name="T55" fmla="*/ 131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1" h="245">
                <a:moveTo>
                  <a:pt x="0" y="0"/>
                </a:moveTo>
                <a:lnTo>
                  <a:pt x="0" y="180"/>
                </a:lnTo>
                <a:lnTo>
                  <a:pt x="163" y="180"/>
                </a:lnTo>
                <a:lnTo>
                  <a:pt x="228" y="245"/>
                </a:lnTo>
                <a:lnTo>
                  <a:pt x="228" y="180"/>
                </a:lnTo>
                <a:lnTo>
                  <a:pt x="261" y="180"/>
                </a:lnTo>
                <a:lnTo>
                  <a:pt x="261" y="0"/>
                </a:lnTo>
                <a:lnTo>
                  <a:pt x="0" y="0"/>
                </a:lnTo>
                <a:close/>
                <a:moveTo>
                  <a:pt x="245" y="163"/>
                </a:moveTo>
                <a:lnTo>
                  <a:pt x="16" y="163"/>
                </a:lnTo>
                <a:lnTo>
                  <a:pt x="16" y="16"/>
                </a:lnTo>
                <a:lnTo>
                  <a:pt x="245" y="16"/>
                </a:lnTo>
                <a:lnTo>
                  <a:pt x="245" y="163"/>
                </a:lnTo>
                <a:close/>
                <a:moveTo>
                  <a:pt x="212" y="65"/>
                </a:moveTo>
                <a:lnTo>
                  <a:pt x="49" y="65"/>
                </a:lnTo>
                <a:lnTo>
                  <a:pt x="49" y="49"/>
                </a:lnTo>
                <a:lnTo>
                  <a:pt x="212" y="49"/>
                </a:lnTo>
                <a:lnTo>
                  <a:pt x="212" y="65"/>
                </a:lnTo>
                <a:close/>
                <a:moveTo>
                  <a:pt x="212" y="98"/>
                </a:moveTo>
                <a:lnTo>
                  <a:pt x="49" y="98"/>
                </a:lnTo>
                <a:lnTo>
                  <a:pt x="49" y="82"/>
                </a:lnTo>
                <a:lnTo>
                  <a:pt x="212" y="82"/>
                </a:lnTo>
                <a:lnTo>
                  <a:pt x="212" y="98"/>
                </a:lnTo>
                <a:close/>
                <a:moveTo>
                  <a:pt x="212" y="131"/>
                </a:moveTo>
                <a:lnTo>
                  <a:pt x="49" y="131"/>
                </a:lnTo>
                <a:lnTo>
                  <a:pt x="49" y="114"/>
                </a:lnTo>
                <a:lnTo>
                  <a:pt x="212" y="114"/>
                </a:lnTo>
                <a:lnTo>
                  <a:pt x="212" y="13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8" name="Freeform 34">
            <a:extLst>
              <a:ext uri="{FF2B5EF4-FFF2-40B4-BE49-F238E27FC236}">
                <a16:creationId xmlns:a16="http://schemas.microsoft.com/office/drawing/2014/main" id="{3136786D-400B-4527-ACB6-2A1DC0681915}"/>
              </a:ext>
            </a:extLst>
          </p:cNvPr>
          <p:cNvSpPr>
            <a:spLocks noEditPoints="1"/>
          </p:cNvSpPr>
          <p:nvPr/>
        </p:nvSpPr>
        <p:spPr bwMode="auto">
          <a:xfrm>
            <a:off x="8142783" y="3195060"/>
            <a:ext cx="412750" cy="412750"/>
          </a:xfrm>
          <a:custGeom>
            <a:avLst/>
            <a:gdLst>
              <a:gd name="T0" fmla="*/ 16 w 260"/>
              <a:gd name="T1" fmla="*/ 179 h 260"/>
              <a:gd name="T2" fmla="*/ 97 w 260"/>
              <a:gd name="T3" fmla="*/ 179 h 260"/>
              <a:gd name="T4" fmla="*/ 97 w 260"/>
              <a:gd name="T5" fmla="*/ 195 h 260"/>
              <a:gd name="T6" fmla="*/ 0 w 260"/>
              <a:gd name="T7" fmla="*/ 195 h 260"/>
              <a:gd name="T8" fmla="*/ 0 w 260"/>
              <a:gd name="T9" fmla="*/ 0 h 260"/>
              <a:gd name="T10" fmla="*/ 154 w 260"/>
              <a:gd name="T11" fmla="*/ 0 h 260"/>
              <a:gd name="T12" fmla="*/ 154 w 260"/>
              <a:gd name="T13" fmla="*/ 49 h 260"/>
              <a:gd name="T14" fmla="*/ 138 w 260"/>
              <a:gd name="T15" fmla="*/ 49 h 260"/>
              <a:gd name="T16" fmla="*/ 138 w 260"/>
              <a:gd name="T17" fmla="*/ 16 h 260"/>
              <a:gd name="T18" fmla="*/ 16 w 260"/>
              <a:gd name="T19" fmla="*/ 16 h 260"/>
              <a:gd name="T20" fmla="*/ 16 w 260"/>
              <a:gd name="T21" fmla="*/ 179 h 260"/>
              <a:gd name="T22" fmla="*/ 260 w 260"/>
              <a:gd name="T23" fmla="*/ 65 h 260"/>
              <a:gd name="T24" fmla="*/ 260 w 260"/>
              <a:gd name="T25" fmla="*/ 260 h 260"/>
              <a:gd name="T26" fmla="*/ 114 w 260"/>
              <a:gd name="T27" fmla="*/ 260 h 260"/>
              <a:gd name="T28" fmla="*/ 114 w 260"/>
              <a:gd name="T29" fmla="*/ 195 h 260"/>
              <a:gd name="T30" fmla="*/ 114 w 260"/>
              <a:gd name="T31" fmla="*/ 195 h 260"/>
              <a:gd name="T32" fmla="*/ 114 w 260"/>
              <a:gd name="T33" fmla="*/ 179 h 260"/>
              <a:gd name="T34" fmla="*/ 114 w 260"/>
              <a:gd name="T35" fmla="*/ 179 h 260"/>
              <a:gd name="T36" fmla="*/ 114 w 260"/>
              <a:gd name="T37" fmla="*/ 65 h 260"/>
              <a:gd name="T38" fmla="*/ 260 w 260"/>
              <a:gd name="T39" fmla="*/ 65 h 260"/>
              <a:gd name="T40" fmla="*/ 244 w 260"/>
              <a:gd name="T41" fmla="*/ 81 h 260"/>
              <a:gd name="T42" fmla="*/ 130 w 260"/>
              <a:gd name="T43" fmla="*/ 81 h 260"/>
              <a:gd name="T44" fmla="*/ 130 w 260"/>
              <a:gd name="T45" fmla="*/ 244 h 260"/>
              <a:gd name="T46" fmla="*/ 244 w 260"/>
              <a:gd name="T47" fmla="*/ 244 h 260"/>
              <a:gd name="T48" fmla="*/ 244 w 260"/>
              <a:gd name="T49" fmla="*/ 81 h 260"/>
              <a:gd name="T50" fmla="*/ 69 w 260"/>
              <a:gd name="T51" fmla="*/ 65 h 260"/>
              <a:gd name="T52" fmla="*/ 63 w 260"/>
              <a:gd name="T53" fmla="*/ 71 h 260"/>
              <a:gd name="T54" fmla="*/ 81 w 260"/>
              <a:gd name="T55" fmla="*/ 89 h 260"/>
              <a:gd name="T56" fmla="*/ 32 w 260"/>
              <a:gd name="T57" fmla="*/ 89 h 260"/>
              <a:gd name="T58" fmla="*/ 32 w 260"/>
              <a:gd name="T59" fmla="*/ 97 h 260"/>
              <a:gd name="T60" fmla="*/ 81 w 260"/>
              <a:gd name="T61" fmla="*/ 97 h 260"/>
              <a:gd name="T62" fmla="*/ 63 w 260"/>
              <a:gd name="T63" fmla="*/ 116 h 260"/>
              <a:gd name="T64" fmla="*/ 69 w 260"/>
              <a:gd name="T65" fmla="*/ 122 h 260"/>
              <a:gd name="T66" fmla="*/ 97 w 260"/>
              <a:gd name="T67" fmla="*/ 93 h 260"/>
              <a:gd name="T68" fmla="*/ 69 w 260"/>
              <a:gd name="T69" fmla="*/ 65 h 260"/>
              <a:gd name="T70" fmla="*/ 183 w 260"/>
              <a:gd name="T71" fmla="*/ 187 h 260"/>
              <a:gd name="T72" fmla="*/ 189 w 260"/>
              <a:gd name="T73" fmla="*/ 181 h 260"/>
              <a:gd name="T74" fmla="*/ 171 w 260"/>
              <a:gd name="T75" fmla="*/ 162 h 260"/>
              <a:gd name="T76" fmla="*/ 227 w 260"/>
              <a:gd name="T77" fmla="*/ 162 h 260"/>
              <a:gd name="T78" fmla="*/ 227 w 260"/>
              <a:gd name="T79" fmla="*/ 154 h 260"/>
              <a:gd name="T80" fmla="*/ 171 w 260"/>
              <a:gd name="T81" fmla="*/ 154 h 260"/>
              <a:gd name="T82" fmla="*/ 189 w 260"/>
              <a:gd name="T83" fmla="*/ 136 h 260"/>
              <a:gd name="T84" fmla="*/ 183 w 260"/>
              <a:gd name="T85" fmla="*/ 130 h 260"/>
              <a:gd name="T86" fmla="*/ 154 w 260"/>
              <a:gd name="T87" fmla="*/ 158 h 260"/>
              <a:gd name="T88" fmla="*/ 183 w 260"/>
              <a:gd name="T89" fmla="*/ 18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260">
                <a:moveTo>
                  <a:pt x="16" y="179"/>
                </a:moveTo>
                <a:lnTo>
                  <a:pt x="97" y="179"/>
                </a:lnTo>
                <a:lnTo>
                  <a:pt x="97" y="195"/>
                </a:lnTo>
                <a:lnTo>
                  <a:pt x="0" y="195"/>
                </a:lnTo>
                <a:lnTo>
                  <a:pt x="0" y="0"/>
                </a:lnTo>
                <a:lnTo>
                  <a:pt x="154" y="0"/>
                </a:lnTo>
                <a:lnTo>
                  <a:pt x="154" y="49"/>
                </a:lnTo>
                <a:lnTo>
                  <a:pt x="138" y="49"/>
                </a:lnTo>
                <a:lnTo>
                  <a:pt x="138" y="16"/>
                </a:lnTo>
                <a:lnTo>
                  <a:pt x="16" y="16"/>
                </a:lnTo>
                <a:lnTo>
                  <a:pt x="16" y="179"/>
                </a:lnTo>
                <a:close/>
                <a:moveTo>
                  <a:pt x="260" y="65"/>
                </a:moveTo>
                <a:lnTo>
                  <a:pt x="260" y="260"/>
                </a:lnTo>
                <a:lnTo>
                  <a:pt x="114" y="260"/>
                </a:lnTo>
                <a:lnTo>
                  <a:pt x="114" y="195"/>
                </a:lnTo>
                <a:lnTo>
                  <a:pt x="114" y="195"/>
                </a:lnTo>
                <a:lnTo>
                  <a:pt x="114" y="179"/>
                </a:lnTo>
                <a:lnTo>
                  <a:pt x="114" y="179"/>
                </a:lnTo>
                <a:lnTo>
                  <a:pt x="114" y="65"/>
                </a:lnTo>
                <a:lnTo>
                  <a:pt x="260" y="65"/>
                </a:lnTo>
                <a:close/>
                <a:moveTo>
                  <a:pt x="244" y="81"/>
                </a:moveTo>
                <a:lnTo>
                  <a:pt x="130" y="81"/>
                </a:lnTo>
                <a:lnTo>
                  <a:pt x="130" y="244"/>
                </a:lnTo>
                <a:lnTo>
                  <a:pt x="244" y="244"/>
                </a:lnTo>
                <a:lnTo>
                  <a:pt x="244" y="81"/>
                </a:lnTo>
                <a:close/>
                <a:moveTo>
                  <a:pt x="69" y="65"/>
                </a:moveTo>
                <a:lnTo>
                  <a:pt x="63" y="71"/>
                </a:lnTo>
                <a:lnTo>
                  <a:pt x="81" y="89"/>
                </a:lnTo>
                <a:lnTo>
                  <a:pt x="32" y="89"/>
                </a:lnTo>
                <a:lnTo>
                  <a:pt x="32" y="97"/>
                </a:lnTo>
                <a:lnTo>
                  <a:pt x="81" y="97"/>
                </a:lnTo>
                <a:lnTo>
                  <a:pt x="63" y="116"/>
                </a:lnTo>
                <a:lnTo>
                  <a:pt x="69" y="122"/>
                </a:lnTo>
                <a:lnTo>
                  <a:pt x="97" y="93"/>
                </a:lnTo>
                <a:lnTo>
                  <a:pt x="69" y="65"/>
                </a:lnTo>
                <a:close/>
                <a:moveTo>
                  <a:pt x="183" y="187"/>
                </a:moveTo>
                <a:lnTo>
                  <a:pt x="189" y="181"/>
                </a:lnTo>
                <a:lnTo>
                  <a:pt x="171" y="162"/>
                </a:lnTo>
                <a:lnTo>
                  <a:pt x="227" y="162"/>
                </a:lnTo>
                <a:lnTo>
                  <a:pt x="227" y="154"/>
                </a:lnTo>
                <a:lnTo>
                  <a:pt x="171" y="154"/>
                </a:lnTo>
                <a:lnTo>
                  <a:pt x="189" y="136"/>
                </a:lnTo>
                <a:lnTo>
                  <a:pt x="183" y="130"/>
                </a:lnTo>
                <a:lnTo>
                  <a:pt x="154" y="158"/>
                </a:lnTo>
                <a:lnTo>
                  <a:pt x="183" y="18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69" name="Freeform 38">
            <a:extLst>
              <a:ext uri="{FF2B5EF4-FFF2-40B4-BE49-F238E27FC236}">
                <a16:creationId xmlns:a16="http://schemas.microsoft.com/office/drawing/2014/main" id="{A4017217-00B0-44D0-BFAA-8C9A97C225C1}"/>
              </a:ext>
            </a:extLst>
          </p:cNvPr>
          <p:cNvSpPr>
            <a:spLocks noEditPoints="1"/>
          </p:cNvSpPr>
          <p:nvPr/>
        </p:nvSpPr>
        <p:spPr bwMode="auto">
          <a:xfrm>
            <a:off x="5006481" y="4139121"/>
            <a:ext cx="412750" cy="325438"/>
          </a:xfrm>
          <a:custGeom>
            <a:avLst/>
            <a:gdLst>
              <a:gd name="T0" fmla="*/ 120 w 128"/>
              <a:gd name="T1" fmla="*/ 12 h 100"/>
              <a:gd name="T2" fmla="*/ 120 w 128"/>
              <a:gd name="T3" fmla="*/ 72 h 100"/>
              <a:gd name="T4" fmla="*/ 108 w 128"/>
              <a:gd name="T5" fmla="*/ 84 h 100"/>
              <a:gd name="T6" fmla="*/ 20 w 128"/>
              <a:gd name="T7" fmla="*/ 84 h 100"/>
              <a:gd name="T8" fmla="*/ 8 w 128"/>
              <a:gd name="T9" fmla="*/ 72 h 100"/>
              <a:gd name="T10" fmla="*/ 8 w 128"/>
              <a:gd name="T11" fmla="*/ 12 h 100"/>
              <a:gd name="T12" fmla="*/ 20 w 128"/>
              <a:gd name="T13" fmla="*/ 0 h 100"/>
              <a:gd name="T14" fmla="*/ 108 w 128"/>
              <a:gd name="T15" fmla="*/ 0 h 100"/>
              <a:gd name="T16" fmla="*/ 120 w 128"/>
              <a:gd name="T17" fmla="*/ 12 h 100"/>
              <a:gd name="T18" fmla="*/ 108 w 128"/>
              <a:gd name="T19" fmla="*/ 8 h 100"/>
              <a:gd name="T20" fmla="*/ 20 w 128"/>
              <a:gd name="T21" fmla="*/ 8 h 100"/>
              <a:gd name="T22" fmla="*/ 16 w 128"/>
              <a:gd name="T23" fmla="*/ 12 h 100"/>
              <a:gd name="T24" fmla="*/ 16 w 128"/>
              <a:gd name="T25" fmla="*/ 72 h 100"/>
              <a:gd name="T26" fmla="*/ 20 w 128"/>
              <a:gd name="T27" fmla="*/ 76 h 100"/>
              <a:gd name="T28" fmla="*/ 108 w 128"/>
              <a:gd name="T29" fmla="*/ 76 h 100"/>
              <a:gd name="T30" fmla="*/ 112 w 128"/>
              <a:gd name="T31" fmla="*/ 72 h 100"/>
              <a:gd name="T32" fmla="*/ 112 w 128"/>
              <a:gd name="T33" fmla="*/ 12 h 100"/>
              <a:gd name="T34" fmla="*/ 108 w 128"/>
              <a:gd name="T35" fmla="*/ 8 h 100"/>
              <a:gd name="T36" fmla="*/ 128 w 128"/>
              <a:gd name="T37" fmla="*/ 92 h 100"/>
              <a:gd name="T38" fmla="*/ 0 w 128"/>
              <a:gd name="T39" fmla="*/ 92 h 100"/>
              <a:gd name="T40" fmla="*/ 0 w 128"/>
              <a:gd name="T41" fmla="*/ 100 h 100"/>
              <a:gd name="T42" fmla="*/ 128 w 128"/>
              <a:gd name="T43" fmla="*/ 100 h 100"/>
              <a:gd name="T44" fmla="*/ 128 w 128"/>
              <a:gd name="T45" fmla="*/ 9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100">
                <a:moveTo>
                  <a:pt x="120" y="12"/>
                </a:moveTo>
                <a:cubicBezTo>
                  <a:pt x="120" y="16"/>
                  <a:pt x="120" y="72"/>
                  <a:pt x="120" y="72"/>
                </a:cubicBezTo>
                <a:cubicBezTo>
                  <a:pt x="120" y="79"/>
                  <a:pt x="115" y="84"/>
                  <a:pt x="108" y="84"/>
                </a:cubicBezTo>
                <a:cubicBezTo>
                  <a:pt x="20" y="84"/>
                  <a:pt x="20" y="84"/>
                  <a:pt x="20" y="84"/>
                </a:cubicBezTo>
                <a:cubicBezTo>
                  <a:pt x="13" y="84"/>
                  <a:pt x="8" y="79"/>
                  <a:pt x="8" y="72"/>
                </a:cubicBezTo>
                <a:cubicBezTo>
                  <a:pt x="8" y="12"/>
                  <a:pt x="8" y="12"/>
                  <a:pt x="8" y="12"/>
                </a:cubicBezTo>
                <a:cubicBezTo>
                  <a:pt x="8" y="5"/>
                  <a:pt x="13" y="0"/>
                  <a:pt x="20" y="0"/>
                </a:cubicBezTo>
                <a:cubicBezTo>
                  <a:pt x="20" y="0"/>
                  <a:pt x="104" y="0"/>
                  <a:pt x="108" y="0"/>
                </a:cubicBezTo>
                <a:cubicBezTo>
                  <a:pt x="115" y="0"/>
                  <a:pt x="120" y="5"/>
                  <a:pt x="120" y="12"/>
                </a:cubicBezTo>
                <a:close/>
                <a:moveTo>
                  <a:pt x="108" y="8"/>
                </a:moveTo>
                <a:cubicBezTo>
                  <a:pt x="106" y="8"/>
                  <a:pt x="20" y="8"/>
                  <a:pt x="20" y="8"/>
                </a:cubicBezTo>
                <a:cubicBezTo>
                  <a:pt x="18" y="8"/>
                  <a:pt x="16" y="10"/>
                  <a:pt x="16" y="12"/>
                </a:cubicBezTo>
                <a:cubicBezTo>
                  <a:pt x="16" y="72"/>
                  <a:pt x="16" y="72"/>
                  <a:pt x="16" y="72"/>
                </a:cubicBezTo>
                <a:cubicBezTo>
                  <a:pt x="16" y="74"/>
                  <a:pt x="18" y="76"/>
                  <a:pt x="20" y="76"/>
                </a:cubicBezTo>
                <a:cubicBezTo>
                  <a:pt x="108" y="76"/>
                  <a:pt x="108" y="76"/>
                  <a:pt x="108" y="76"/>
                </a:cubicBezTo>
                <a:cubicBezTo>
                  <a:pt x="110" y="76"/>
                  <a:pt x="112" y="74"/>
                  <a:pt x="112" y="72"/>
                </a:cubicBezTo>
                <a:cubicBezTo>
                  <a:pt x="112" y="72"/>
                  <a:pt x="112" y="14"/>
                  <a:pt x="112" y="12"/>
                </a:cubicBezTo>
                <a:cubicBezTo>
                  <a:pt x="112" y="10"/>
                  <a:pt x="110" y="8"/>
                  <a:pt x="108" y="8"/>
                </a:cubicBezTo>
                <a:close/>
                <a:moveTo>
                  <a:pt x="128" y="92"/>
                </a:moveTo>
                <a:cubicBezTo>
                  <a:pt x="0" y="92"/>
                  <a:pt x="0" y="92"/>
                  <a:pt x="0" y="92"/>
                </a:cubicBezTo>
                <a:cubicBezTo>
                  <a:pt x="0" y="100"/>
                  <a:pt x="0" y="100"/>
                  <a:pt x="0" y="100"/>
                </a:cubicBezTo>
                <a:cubicBezTo>
                  <a:pt x="128" y="100"/>
                  <a:pt x="128" y="100"/>
                  <a:pt x="128" y="100"/>
                </a:cubicBezTo>
                <a:lnTo>
                  <a:pt x="128" y="9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0" name="Freeform 42">
            <a:extLst>
              <a:ext uri="{FF2B5EF4-FFF2-40B4-BE49-F238E27FC236}">
                <a16:creationId xmlns:a16="http://schemas.microsoft.com/office/drawing/2014/main" id="{41352294-9E17-418A-83E2-2CD24F66D90E}"/>
              </a:ext>
            </a:extLst>
          </p:cNvPr>
          <p:cNvSpPr>
            <a:spLocks noEditPoints="1"/>
          </p:cNvSpPr>
          <p:nvPr/>
        </p:nvSpPr>
        <p:spPr bwMode="auto">
          <a:xfrm>
            <a:off x="8141989" y="4064509"/>
            <a:ext cx="414338" cy="400050"/>
          </a:xfrm>
          <a:custGeom>
            <a:avLst/>
            <a:gdLst>
              <a:gd name="T0" fmla="*/ 78 w 128"/>
              <a:gd name="T1" fmla="*/ 62 h 124"/>
              <a:gd name="T2" fmla="*/ 64 w 128"/>
              <a:gd name="T3" fmla="*/ 86 h 124"/>
              <a:gd name="T4" fmla="*/ 50 w 128"/>
              <a:gd name="T5" fmla="*/ 62 h 124"/>
              <a:gd name="T6" fmla="*/ 0 w 128"/>
              <a:gd name="T7" fmla="*/ 124 h 124"/>
              <a:gd name="T8" fmla="*/ 128 w 128"/>
              <a:gd name="T9" fmla="*/ 124 h 124"/>
              <a:gd name="T10" fmla="*/ 78 w 128"/>
              <a:gd name="T11" fmla="*/ 62 h 124"/>
              <a:gd name="T12" fmla="*/ 46 w 128"/>
              <a:gd name="T13" fmla="*/ 71 h 124"/>
              <a:gd name="T14" fmla="*/ 64 w 128"/>
              <a:gd name="T15" fmla="*/ 102 h 124"/>
              <a:gd name="T16" fmla="*/ 82 w 128"/>
              <a:gd name="T17" fmla="*/ 71 h 124"/>
              <a:gd name="T18" fmla="*/ 119 w 128"/>
              <a:gd name="T19" fmla="*/ 116 h 124"/>
              <a:gd name="T20" fmla="*/ 9 w 128"/>
              <a:gd name="T21" fmla="*/ 116 h 124"/>
              <a:gd name="T22" fmla="*/ 46 w 128"/>
              <a:gd name="T23" fmla="*/ 71 h 124"/>
              <a:gd name="T24" fmla="*/ 64 w 128"/>
              <a:gd name="T25" fmla="*/ 56 h 124"/>
              <a:gd name="T26" fmla="*/ 92 w 128"/>
              <a:gd name="T27" fmla="*/ 28 h 124"/>
              <a:gd name="T28" fmla="*/ 64 w 128"/>
              <a:gd name="T29" fmla="*/ 0 h 124"/>
              <a:gd name="T30" fmla="*/ 36 w 128"/>
              <a:gd name="T31" fmla="*/ 28 h 124"/>
              <a:gd name="T32" fmla="*/ 64 w 128"/>
              <a:gd name="T33" fmla="*/ 56 h 124"/>
              <a:gd name="T34" fmla="*/ 64 w 128"/>
              <a:gd name="T35" fmla="*/ 8 h 124"/>
              <a:gd name="T36" fmla="*/ 84 w 128"/>
              <a:gd name="T37" fmla="*/ 28 h 124"/>
              <a:gd name="T38" fmla="*/ 64 w 128"/>
              <a:gd name="T39" fmla="*/ 48 h 124"/>
              <a:gd name="T40" fmla="*/ 44 w 128"/>
              <a:gd name="T41" fmla="*/ 28 h 124"/>
              <a:gd name="T42" fmla="*/ 64 w 128"/>
              <a:gd name="T43" fmla="*/ 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124">
                <a:moveTo>
                  <a:pt x="78" y="62"/>
                </a:moveTo>
                <a:cubicBezTo>
                  <a:pt x="64" y="86"/>
                  <a:pt x="64" y="86"/>
                  <a:pt x="64" y="86"/>
                </a:cubicBezTo>
                <a:cubicBezTo>
                  <a:pt x="50" y="62"/>
                  <a:pt x="50" y="62"/>
                  <a:pt x="50" y="62"/>
                </a:cubicBezTo>
                <a:cubicBezTo>
                  <a:pt x="21" y="68"/>
                  <a:pt x="0" y="94"/>
                  <a:pt x="0" y="124"/>
                </a:cubicBezTo>
                <a:cubicBezTo>
                  <a:pt x="128" y="124"/>
                  <a:pt x="128" y="124"/>
                  <a:pt x="128" y="124"/>
                </a:cubicBezTo>
                <a:cubicBezTo>
                  <a:pt x="128" y="94"/>
                  <a:pt x="107" y="68"/>
                  <a:pt x="78" y="62"/>
                </a:cubicBezTo>
                <a:moveTo>
                  <a:pt x="46" y="71"/>
                </a:moveTo>
                <a:cubicBezTo>
                  <a:pt x="64" y="102"/>
                  <a:pt x="64" y="102"/>
                  <a:pt x="64" y="102"/>
                </a:cubicBezTo>
                <a:cubicBezTo>
                  <a:pt x="82" y="71"/>
                  <a:pt x="82" y="71"/>
                  <a:pt x="82" y="71"/>
                </a:cubicBezTo>
                <a:cubicBezTo>
                  <a:pt x="102" y="78"/>
                  <a:pt x="116" y="95"/>
                  <a:pt x="119" y="116"/>
                </a:cubicBezTo>
                <a:cubicBezTo>
                  <a:pt x="9" y="116"/>
                  <a:pt x="9" y="116"/>
                  <a:pt x="9" y="116"/>
                </a:cubicBezTo>
                <a:cubicBezTo>
                  <a:pt x="12" y="95"/>
                  <a:pt x="26" y="78"/>
                  <a:pt x="46" y="71"/>
                </a:cubicBezTo>
                <a:moveTo>
                  <a:pt x="64" y="56"/>
                </a:moveTo>
                <a:cubicBezTo>
                  <a:pt x="79" y="56"/>
                  <a:pt x="92" y="43"/>
                  <a:pt x="92" y="28"/>
                </a:cubicBezTo>
                <a:cubicBezTo>
                  <a:pt x="92" y="12"/>
                  <a:pt x="79" y="0"/>
                  <a:pt x="64" y="0"/>
                </a:cubicBezTo>
                <a:cubicBezTo>
                  <a:pt x="49" y="0"/>
                  <a:pt x="36" y="12"/>
                  <a:pt x="36" y="28"/>
                </a:cubicBezTo>
                <a:cubicBezTo>
                  <a:pt x="36" y="43"/>
                  <a:pt x="49" y="56"/>
                  <a:pt x="64" y="56"/>
                </a:cubicBezTo>
                <a:moveTo>
                  <a:pt x="64" y="8"/>
                </a:moveTo>
                <a:cubicBezTo>
                  <a:pt x="75" y="8"/>
                  <a:pt x="84" y="17"/>
                  <a:pt x="84" y="28"/>
                </a:cubicBezTo>
                <a:cubicBezTo>
                  <a:pt x="84" y="39"/>
                  <a:pt x="75" y="48"/>
                  <a:pt x="64" y="48"/>
                </a:cubicBezTo>
                <a:cubicBezTo>
                  <a:pt x="53" y="48"/>
                  <a:pt x="44" y="39"/>
                  <a:pt x="44" y="28"/>
                </a:cubicBezTo>
                <a:cubicBezTo>
                  <a:pt x="44" y="17"/>
                  <a:pt x="53" y="8"/>
                  <a:pt x="64" y="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1" name="Freeform: Shape 280">
            <a:extLst>
              <a:ext uri="{FF2B5EF4-FFF2-40B4-BE49-F238E27FC236}">
                <a16:creationId xmlns:a16="http://schemas.microsoft.com/office/drawing/2014/main" id="{82A6DBE3-2DD7-4A31-BC7C-EA434592DEAF}"/>
              </a:ext>
            </a:extLst>
          </p:cNvPr>
          <p:cNvSpPr/>
          <p:nvPr/>
        </p:nvSpPr>
        <p:spPr>
          <a:xfrm>
            <a:off x="6050009" y="4139121"/>
            <a:ext cx="416561" cy="325438"/>
          </a:xfrm>
          <a:custGeom>
            <a:avLst/>
            <a:gdLst>
              <a:gd name="connsiteX0" fmla="*/ 285750 w 304800"/>
              <a:gd name="connsiteY0" fmla="*/ 28575 h 238125"/>
              <a:gd name="connsiteX1" fmla="*/ 285750 w 304800"/>
              <a:gd name="connsiteY1" fmla="*/ 171450 h 238125"/>
              <a:gd name="connsiteX2" fmla="*/ 257175 w 304800"/>
              <a:gd name="connsiteY2" fmla="*/ 200025 h 238125"/>
              <a:gd name="connsiteX3" fmla="*/ 47625 w 304800"/>
              <a:gd name="connsiteY3" fmla="*/ 200025 h 238125"/>
              <a:gd name="connsiteX4" fmla="*/ 19050 w 304800"/>
              <a:gd name="connsiteY4" fmla="*/ 171450 h 238125"/>
              <a:gd name="connsiteX5" fmla="*/ 19050 w 304800"/>
              <a:gd name="connsiteY5" fmla="*/ 28575 h 238125"/>
              <a:gd name="connsiteX6" fmla="*/ 47625 w 304800"/>
              <a:gd name="connsiteY6" fmla="*/ 0 h 238125"/>
              <a:gd name="connsiteX7" fmla="*/ 257175 w 304800"/>
              <a:gd name="connsiteY7" fmla="*/ 0 h 238125"/>
              <a:gd name="connsiteX8" fmla="*/ 285750 w 304800"/>
              <a:gd name="connsiteY8" fmla="*/ 28575 h 238125"/>
              <a:gd name="connsiteX9" fmla="*/ 257175 w 304800"/>
              <a:gd name="connsiteY9" fmla="*/ 19050 h 238125"/>
              <a:gd name="connsiteX10" fmla="*/ 47625 w 304800"/>
              <a:gd name="connsiteY10" fmla="*/ 19050 h 238125"/>
              <a:gd name="connsiteX11" fmla="*/ 38100 w 304800"/>
              <a:gd name="connsiteY11" fmla="*/ 28575 h 238125"/>
              <a:gd name="connsiteX12" fmla="*/ 38100 w 304800"/>
              <a:gd name="connsiteY12" fmla="*/ 171450 h 238125"/>
              <a:gd name="connsiteX13" fmla="*/ 47625 w 304800"/>
              <a:gd name="connsiteY13" fmla="*/ 180975 h 238125"/>
              <a:gd name="connsiteX14" fmla="*/ 257175 w 304800"/>
              <a:gd name="connsiteY14" fmla="*/ 180975 h 238125"/>
              <a:gd name="connsiteX15" fmla="*/ 266700 w 304800"/>
              <a:gd name="connsiteY15" fmla="*/ 171450 h 238125"/>
              <a:gd name="connsiteX16" fmla="*/ 266700 w 304800"/>
              <a:gd name="connsiteY16" fmla="*/ 28575 h 238125"/>
              <a:gd name="connsiteX17" fmla="*/ 257175 w 304800"/>
              <a:gd name="connsiteY17" fmla="*/ 19050 h 238125"/>
              <a:gd name="connsiteX18" fmla="*/ 304800 w 304800"/>
              <a:gd name="connsiteY18" fmla="*/ 219075 h 238125"/>
              <a:gd name="connsiteX19" fmla="*/ 0 w 304800"/>
              <a:gd name="connsiteY19" fmla="*/ 219075 h 238125"/>
              <a:gd name="connsiteX20" fmla="*/ 0 w 304800"/>
              <a:gd name="connsiteY20" fmla="*/ 238125 h 238125"/>
              <a:gd name="connsiteX21" fmla="*/ 304800 w 304800"/>
              <a:gd name="connsiteY21" fmla="*/ 238125 h 238125"/>
              <a:gd name="connsiteX22" fmla="*/ 304800 w 304800"/>
              <a:gd name="connsiteY22" fmla="*/ 219075 h 238125"/>
              <a:gd name="connsiteX23" fmla="*/ 190500 w 304800"/>
              <a:gd name="connsiteY23" fmla="*/ 142875 h 238125"/>
              <a:gd name="connsiteX24" fmla="*/ 114300 w 304800"/>
              <a:gd name="connsiteY24" fmla="*/ 142875 h 238125"/>
              <a:gd name="connsiteX25" fmla="*/ 114300 w 304800"/>
              <a:gd name="connsiteY25" fmla="*/ 161925 h 238125"/>
              <a:gd name="connsiteX26" fmla="*/ 190500 w 304800"/>
              <a:gd name="connsiteY26" fmla="*/ 161925 h 238125"/>
              <a:gd name="connsiteX27" fmla="*/ 190500 w 304800"/>
              <a:gd name="connsiteY27" fmla="*/ 142875 h 238125"/>
              <a:gd name="connsiteX28" fmla="*/ 161925 w 304800"/>
              <a:gd name="connsiteY28" fmla="*/ 38100 h 238125"/>
              <a:gd name="connsiteX29" fmla="*/ 161925 w 304800"/>
              <a:gd name="connsiteY29" fmla="*/ 97155 h 238125"/>
              <a:gd name="connsiteX30" fmla="*/ 185738 w 304800"/>
              <a:gd name="connsiteY30" fmla="*/ 73343 h 238125"/>
              <a:gd name="connsiteX31" fmla="*/ 200025 w 304800"/>
              <a:gd name="connsiteY31" fmla="*/ 85725 h 238125"/>
              <a:gd name="connsiteX32" fmla="*/ 152400 w 304800"/>
              <a:gd name="connsiteY32" fmla="*/ 133350 h 238125"/>
              <a:gd name="connsiteX33" fmla="*/ 152400 w 304800"/>
              <a:gd name="connsiteY33" fmla="*/ 133350 h 238125"/>
              <a:gd name="connsiteX34" fmla="*/ 152400 w 304800"/>
              <a:gd name="connsiteY34" fmla="*/ 133350 h 238125"/>
              <a:gd name="connsiteX35" fmla="*/ 105728 w 304800"/>
              <a:gd name="connsiteY35" fmla="*/ 85725 h 238125"/>
              <a:gd name="connsiteX36" fmla="*/ 119063 w 304800"/>
              <a:gd name="connsiteY36" fmla="*/ 72390 h 238125"/>
              <a:gd name="connsiteX37" fmla="*/ 142875 w 304800"/>
              <a:gd name="connsiteY37" fmla="*/ 96203 h 238125"/>
              <a:gd name="connsiteX38" fmla="*/ 142875 w 304800"/>
              <a:gd name="connsiteY38" fmla="*/ 38100 h 238125"/>
              <a:gd name="connsiteX39" fmla="*/ 161925 w 304800"/>
              <a:gd name="connsiteY39" fmla="*/ 38100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304800" h="238125">
                <a:moveTo>
                  <a:pt x="285750" y="28575"/>
                </a:moveTo>
                <a:cubicBezTo>
                  <a:pt x="285750" y="38100"/>
                  <a:pt x="285750" y="171450"/>
                  <a:pt x="285750" y="171450"/>
                </a:cubicBezTo>
                <a:cubicBezTo>
                  <a:pt x="285750" y="187643"/>
                  <a:pt x="273368" y="200025"/>
                  <a:pt x="257175" y="200025"/>
                </a:cubicBezTo>
                <a:lnTo>
                  <a:pt x="47625" y="200025"/>
                </a:lnTo>
                <a:cubicBezTo>
                  <a:pt x="31433" y="200025"/>
                  <a:pt x="19050" y="187643"/>
                  <a:pt x="19050" y="171450"/>
                </a:cubicBezTo>
                <a:lnTo>
                  <a:pt x="19050" y="28575"/>
                </a:lnTo>
                <a:cubicBezTo>
                  <a:pt x="19050" y="12383"/>
                  <a:pt x="31433" y="0"/>
                  <a:pt x="47625" y="0"/>
                </a:cubicBezTo>
                <a:cubicBezTo>
                  <a:pt x="47625" y="0"/>
                  <a:pt x="247650" y="0"/>
                  <a:pt x="257175" y="0"/>
                </a:cubicBezTo>
                <a:cubicBezTo>
                  <a:pt x="274320" y="0"/>
                  <a:pt x="285750" y="11430"/>
                  <a:pt x="285750" y="28575"/>
                </a:cubicBezTo>
                <a:close/>
                <a:moveTo>
                  <a:pt x="257175" y="19050"/>
                </a:moveTo>
                <a:cubicBezTo>
                  <a:pt x="251460" y="19050"/>
                  <a:pt x="47625" y="19050"/>
                  <a:pt x="47625" y="19050"/>
                </a:cubicBezTo>
                <a:cubicBezTo>
                  <a:pt x="41910" y="19050"/>
                  <a:pt x="38100" y="22860"/>
                  <a:pt x="38100" y="28575"/>
                </a:cubicBezTo>
                <a:lnTo>
                  <a:pt x="38100" y="171450"/>
                </a:lnTo>
                <a:cubicBezTo>
                  <a:pt x="38100" y="177165"/>
                  <a:pt x="41910" y="180975"/>
                  <a:pt x="47625" y="180975"/>
                </a:cubicBezTo>
                <a:lnTo>
                  <a:pt x="257175" y="180975"/>
                </a:lnTo>
                <a:cubicBezTo>
                  <a:pt x="262890" y="180975"/>
                  <a:pt x="266700" y="177165"/>
                  <a:pt x="266700" y="171450"/>
                </a:cubicBezTo>
                <a:cubicBezTo>
                  <a:pt x="266700" y="171450"/>
                  <a:pt x="266700" y="34290"/>
                  <a:pt x="266700" y="28575"/>
                </a:cubicBezTo>
                <a:cubicBezTo>
                  <a:pt x="266700" y="22860"/>
                  <a:pt x="262890" y="19050"/>
                  <a:pt x="257175" y="19050"/>
                </a:cubicBezTo>
                <a:close/>
                <a:moveTo>
                  <a:pt x="304800" y="219075"/>
                </a:moveTo>
                <a:lnTo>
                  <a:pt x="0" y="219075"/>
                </a:lnTo>
                <a:lnTo>
                  <a:pt x="0" y="238125"/>
                </a:lnTo>
                <a:lnTo>
                  <a:pt x="304800" y="238125"/>
                </a:lnTo>
                <a:lnTo>
                  <a:pt x="304800" y="219075"/>
                </a:lnTo>
                <a:close/>
                <a:moveTo>
                  <a:pt x="190500" y="142875"/>
                </a:moveTo>
                <a:lnTo>
                  <a:pt x="114300" y="142875"/>
                </a:lnTo>
                <a:lnTo>
                  <a:pt x="114300" y="161925"/>
                </a:lnTo>
                <a:lnTo>
                  <a:pt x="190500" y="161925"/>
                </a:lnTo>
                <a:lnTo>
                  <a:pt x="190500" y="142875"/>
                </a:lnTo>
                <a:close/>
                <a:moveTo>
                  <a:pt x="161925" y="38100"/>
                </a:moveTo>
                <a:lnTo>
                  <a:pt x="161925" y="97155"/>
                </a:lnTo>
                <a:lnTo>
                  <a:pt x="185738" y="73343"/>
                </a:lnTo>
                <a:lnTo>
                  <a:pt x="200025" y="85725"/>
                </a:lnTo>
                <a:lnTo>
                  <a:pt x="152400" y="133350"/>
                </a:lnTo>
                <a:lnTo>
                  <a:pt x="152400" y="133350"/>
                </a:lnTo>
                <a:lnTo>
                  <a:pt x="152400" y="133350"/>
                </a:lnTo>
                <a:lnTo>
                  <a:pt x="105728" y="85725"/>
                </a:lnTo>
                <a:lnTo>
                  <a:pt x="119063" y="72390"/>
                </a:lnTo>
                <a:lnTo>
                  <a:pt x="142875" y="96203"/>
                </a:lnTo>
                <a:lnTo>
                  <a:pt x="142875" y="38100"/>
                </a:lnTo>
                <a:lnTo>
                  <a:pt x="161925" y="38100"/>
                </a:lnTo>
                <a:close/>
              </a:path>
            </a:pathLst>
          </a:custGeom>
          <a:solidFill>
            <a:schemeClr val="tx2"/>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3384871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5771D71-D9B4-451C-89DD-DCB301F9FEEC}"/>
              </a:ext>
            </a:extLst>
          </p:cNvPr>
          <p:cNvGraphicFramePr>
            <a:graphicFrameLocks noChangeAspect="1"/>
          </p:cNvGraphicFramePr>
          <p:nvPr>
            <p:custDataLst>
              <p:tags r:id="rId1"/>
            </p:custDataLst>
            <p:extLst>
              <p:ext uri="{D42A27DB-BD31-4B8C-83A1-F6EECF244321}">
                <p14:modId xmlns:p14="http://schemas.microsoft.com/office/powerpoint/2010/main" val="346393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 name="Objekt 2" hidden="1">
                        <a:extLst>
                          <a:ext uri="{FF2B5EF4-FFF2-40B4-BE49-F238E27FC236}">
                            <a16:creationId xmlns:a16="http://schemas.microsoft.com/office/drawing/2014/main" id="{45771D71-D9B4-451C-89DD-DCB301F9F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3CAC65F-4951-48F0-BA86-1A030E7F813D}"/>
              </a:ext>
            </a:extLst>
          </p:cNvPr>
          <p:cNvSpPr>
            <a:spLocks noGrp="1"/>
          </p:cNvSpPr>
          <p:nvPr>
            <p:ph type="sldNum" sz="quarter" idx="11"/>
          </p:nvPr>
        </p:nvSpPr>
        <p:spPr/>
        <p:txBody>
          <a:bodyPr/>
          <a:lstStyle/>
          <a:p>
            <a:fld id="{D56DB8AA-803C-49D2-90AA-1140CE72DCD7}" type="slidenum">
              <a:rPr lang="en-GB" smtClean="0"/>
              <a:pPr/>
              <a:t>40</a:t>
            </a:fld>
            <a:endParaRPr lang="en-GB" dirty="0"/>
          </a:p>
        </p:txBody>
      </p:sp>
      <p:sp>
        <p:nvSpPr>
          <p:cNvPr id="4" name="Title 3">
            <a:extLst>
              <a:ext uri="{FF2B5EF4-FFF2-40B4-BE49-F238E27FC236}">
                <a16:creationId xmlns:a16="http://schemas.microsoft.com/office/drawing/2014/main" id="{ACBCEA85-5E61-6AD8-6AC8-2FFF3FF9DE4F}"/>
              </a:ext>
            </a:extLst>
          </p:cNvPr>
          <p:cNvSpPr>
            <a:spLocks noGrp="1"/>
          </p:cNvSpPr>
          <p:nvPr>
            <p:ph type="title"/>
          </p:nvPr>
        </p:nvSpPr>
        <p:spPr>
          <a:xfrm>
            <a:off x="252000" y="252000"/>
            <a:ext cx="6748875" cy="576000"/>
          </a:xfrm>
        </p:spPr>
        <p:txBody>
          <a:bodyPr/>
          <a:lstStyle/>
          <a:p>
            <a:r>
              <a:rPr lang="en-US" dirty="0"/>
              <a:t>Arrows</a:t>
            </a:r>
          </a:p>
        </p:txBody>
      </p:sp>
      <p:grpSp>
        <p:nvGrpSpPr>
          <p:cNvPr id="7" name="Group 6">
            <a:extLst>
              <a:ext uri="{FF2B5EF4-FFF2-40B4-BE49-F238E27FC236}">
                <a16:creationId xmlns:a16="http://schemas.microsoft.com/office/drawing/2014/main" id="{C29AE036-095F-E6D1-5110-23B404F7A499}"/>
              </a:ext>
            </a:extLst>
          </p:cNvPr>
          <p:cNvGrpSpPr/>
          <p:nvPr/>
        </p:nvGrpSpPr>
        <p:grpSpPr>
          <a:xfrm>
            <a:off x="642521" y="1615392"/>
            <a:ext cx="3388970" cy="3135015"/>
            <a:chOff x="642521" y="1615392"/>
            <a:chExt cx="3388970" cy="3135015"/>
          </a:xfrm>
        </p:grpSpPr>
        <p:sp>
          <p:nvSpPr>
            <p:cNvPr id="127" name="Freihandform: Form 126">
              <a:extLst>
                <a:ext uri="{FF2B5EF4-FFF2-40B4-BE49-F238E27FC236}">
                  <a16:creationId xmlns:a16="http://schemas.microsoft.com/office/drawing/2014/main" id="{A49B13D4-99D8-49A7-948E-691E5F199310}"/>
                </a:ext>
              </a:extLst>
            </p:cNvPr>
            <p:cNvSpPr>
              <a:spLocks noChangeAspect="1"/>
            </p:cNvSpPr>
            <p:nvPr/>
          </p:nvSpPr>
          <p:spPr>
            <a:xfrm>
              <a:off x="1271892" y="4075058"/>
              <a:ext cx="251500" cy="251500"/>
            </a:xfrm>
            <a:custGeom>
              <a:avLst/>
              <a:gdLst>
                <a:gd name="connsiteX0" fmla="*/ 247164 w 251500"/>
                <a:gd name="connsiteY0" fmla="*/ 0 h 251500"/>
                <a:gd name="connsiteX1" fmla="*/ 160439 w 251500"/>
                <a:gd name="connsiteY1" fmla="*/ 0 h 251500"/>
                <a:gd name="connsiteX2" fmla="*/ 156101 w 251500"/>
                <a:gd name="connsiteY2" fmla="*/ 4337 h 251500"/>
                <a:gd name="connsiteX3" fmla="*/ 160439 w 251500"/>
                <a:gd name="connsiteY3" fmla="*/ 8674 h 251500"/>
                <a:gd name="connsiteX4" fmla="*/ 236694 w 251500"/>
                <a:gd name="connsiteY4" fmla="*/ 8674 h 251500"/>
                <a:gd name="connsiteX5" fmla="*/ 8674 w 251500"/>
                <a:gd name="connsiteY5" fmla="*/ 236694 h 251500"/>
                <a:gd name="connsiteX6" fmla="*/ 8674 w 251500"/>
                <a:gd name="connsiteY6" fmla="*/ 160438 h 251500"/>
                <a:gd name="connsiteX7" fmla="*/ 4337 w 251500"/>
                <a:gd name="connsiteY7" fmla="*/ 156101 h 251500"/>
                <a:gd name="connsiteX8" fmla="*/ 0 w 251500"/>
                <a:gd name="connsiteY8" fmla="*/ 160438 h 251500"/>
                <a:gd name="connsiteX9" fmla="*/ 0 w 251500"/>
                <a:gd name="connsiteY9" fmla="*/ 247163 h 251500"/>
                <a:gd name="connsiteX10" fmla="*/ 4337 w 251500"/>
                <a:gd name="connsiteY10" fmla="*/ 251501 h 251500"/>
                <a:gd name="connsiteX11" fmla="*/ 91062 w 251500"/>
                <a:gd name="connsiteY11" fmla="*/ 251501 h 251500"/>
                <a:gd name="connsiteX12" fmla="*/ 95399 w 251500"/>
                <a:gd name="connsiteY12" fmla="*/ 247163 h 251500"/>
                <a:gd name="connsiteX13" fmla="*/ 91062 w 251500"/>
                <a:gd name="connsiteY13" fmla="*/ 242826 h 251500"/>
                <a:gd name="connsiteX14" fmla="*/ 14807 w 251500"/>
                <a:gd name="connsiteY14" fmla="*/ 242826 h 251500"/>
                <a:gd name="connsiteX15" fmla="*/ 242826 w 251500"/>
                <a:gd name="connsiteY15" fmla="*/ 14807 h 251500"/>
                <a:gd name="connsiteX16" fmla="*/ 242826 w 251500"/>
                <a:gd name="connsiteY16" fmla="*/ 91062 h 251500"/>
                <a:gd name="connsiteX17" fmla="*/ 247164 w 251500"/>
                <a:gd name="connsiteY17" fmla="*/ 95399 h 251500"/>
                <a:gd name="connsiteX18" fmla="*/ 251501 w 251500"/>
                <a:gd name="connsiteY18" fmla="*/ 91062 h 251500"/>
                <a:gd name="connsiteX19" fmla="*/ 251501 w 251500"/>
                <a:gd name="connsiteY19" fmla="*/ 4337 h 251500"/>
                <a:gd name="connsiteX20" fmla="*/ 247164 w 251500"/>
                <a:gd name="connsiteY20" fmla="*/ 0 h 25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500" h="251500">
                  <a:moveTo>
                    <a:pt x="247164" y="0"/>
                  </a:moveTo>
                  <a:lnTo>
                    <a:pt x="160439" y="0"/>
                  </a:lnTo>
                  <a:cubicBezTo>
                    <a:pt x="158043" y="0"/>
                    <a:pt x="156101" y="1941"/>
                    <a:pt x="156101" y="4337"/>
                  </a:cubicBezTo>
                  <a:cubicBezTo>
                    <a:pt x="156101" y="6733"/>
                    <a:pt x="158043" y="8674"/>
                    <a:pt x="160439" y="8674"/>
                  </a:cubicBezTo>
                  <a:lnTo>
                    <a:pt x="236694" y="8674"/>
                  </a:lnTo>
                  <a:lnTo>
                    <a:pt x="8674" y="236694"/>
                  </a:lnTo>
                  <a:lnTo>
                    <a:pt x="8674" y="160438"/>
                  </a:lnTo>
                  <a:cubicBezTo>
                    <a:pt x="8674" y="158043"/>
                    <a:pt x="6733" y="156101"/>
                    <a:pt x="4337" y="156101"/>
                  </a:cubicBezTo>
                  <a:cubicBezTo>
                    <a:pt x="1941" y="156101"/>
                    <a:pt x="0" y="158043"/>
                    <a:pt x="0" y="160438"/>
                  </a:cubicBezTo>
                  <a:lnTo>
                    <a:pt x="0" y="247163"/>
                  </a:lnTo>
                  <a:cubicBezTo>
                    <a:pt x="0" y="249560"/>
                    <a:pt x="1941" y="251501"/>
                    <a:pt x="4337" y="251501"/>
                  </a:cubicBezTo>
                  <a:lnTo>
                    <a:pt x="91062" y="251501"/>
                  </a:lnTo>
                  <a:cubicBezTo>
                    <a:pt x="93458" y="251501"/>
                    <a:pt x="95399" y="249560"/>
                    <a:pt x="95399" y="247163"/>
                  </a:cubicBezTo>
                  <a:cubicBezTo>
                    <a:pt x="95399" y="244768"/>
                    <a:pt x="93458" y="242826"/>
                    <a:pt x="91062" y="242826"/>
                  </a:cubicBezTo>
                  <a:lnTo>
                    <a:pt x="14807" y="242826"/>
                  </a:lnTo>
                  <a:lnTo>
                    <a:pt x="242826" y="14807"/>
                  </a:lnTo>
                  <a:lnTo>
                    <a:pt x="242826" y="91062"/>
                  </a:lnTo>
                  <a:cubicBezTo>
                    <a:pt x="242826" y="93458"/>
                    <a:pt x="244768" y="95399"/>
                    <a:pt x="247164" y="95399"/>
                  </a:cubicBezTo>
                  <a:cubicBezTo>
                    <a:pt x="249560" y="95399"/>
                    <a:pt x="251501" y="93458"/>
                    <a:pt x="251501" y="91062"/>
                  </a:cubicBezTo>
                  <a:lnTo>
                    <a:pt x="251501" y="4337"/>
                  </a:lnTo>
                  <a:cubicBezTo>
                    <a:pt x="251501" y="1941"/>
                    <a:pt x="249560" y="0"/>
                    <a:pt x="247164" y="0"/>
                  </a:cubicBezTo>
                  <a:close/>
                </a:path>
              </a:pathLst>
            </a:custGeom>
            <a:solidFill>
              <a:schemeClr val="tx2"/>
            </a:solidFill>
            <a:ln w="581" cap="flat">
              <a:noFill/>
              <a:prstDash val="solid"/>
              <a:miter/>
            </a:ln>
          </p:spPr>
          <p:txBody>
            <a:bodyPr rtlCol="0" anchor="ctr"/>
            <a:lstStyle/>
            <a:p>
              <a:endParaRPr lang="en-GB" dirty="0"/>
            </a:p>
          </p:txBody>
        </p:sp>
        <p:sp>
          <p:nvSpPr>
            <p:cNvPr id="138" name="Freihandform: Form 137">
              <a:extLst>
                <a:ext uri="{FF2B5EF4-FFF2-40B4-BE49-F238E27FC236}">
                  <a16:creationId xmlns:a16="http://schemas.microsoft.com/office/drawing/2014/main" id="{E77925BB-60B7-419B-A74E-22C2E5C9F9B6}"/>
                </a:ext>
              </a:extLst>
            </p:cNvPr>
            <p:cNvSpPr>
              <a:spLocks noChangeAspect="1"/>
            </p:cNvSpPr>
            <p:nvPr/>
          </p:nvSpPr>
          <p:spPr>
            <a:xfrm>
              <a:off x="1306580" y="2055780"/>
              <a:ext cx="182125" cy="182119"/>
            </a:xfrm>
            <a:custGeom>
              <a:avLst/>
              <a:gdLst>
                <a:gd name="connsiteX0" fmla="*/ 167319 w 182125"/>
                <a:gd name="connsiteY0" fmla="*/ 173446 h 182119"/>
                <a:gd name="connsiteX1" fmla="*/ 17350 w 182125"/>
                <a:gd name="connsiteY1" fmla="*/ 173446 h 182119"/>
                <a:gd name="connsiteX2" fmla="*/ 13013 w 182125"/>
                <a:gd name="connsiteY2" fmla="*/ 177783 h 182119"/>
                <a:gd name="connsiteX3" fmla="*/ 17350 w 182125"/>
                <a:gd name="connsiteY3" fmla="*/ 182120 h 182119"/>
                <a:gd name="connsiteX4" fmla="*/ 177789 w 182125"/>
                <a:gd name="connsiteY4" fmla="*/ 182120 h 182119"/>
                <a:gd name="connsiteX5" fmla="*/ 182126 w 182125"/>
                <a:gd name="connsiteY5" fmla="*/ 177783 h 182119"/>
                <a:gd name="connsiteX6" fmla="*/ 182126 w 182125"/>
                <a:gd name="connsiteY6" fmla="*/ 17344 h 182119"/>
                <a:gd name="connsiteX7" fmla="*/ 177789 w 182125"/>
                <a:gd name="connsiteY7" fmla="*/ 13007 h 182119"/>
                <a:gd name="connsiteX8" fmla="*/ 173451 w 182125"/>
                <a:gd name="connsiteY8" fmla="*/ 17344 h 182119"/>
                <a:gd name="connsiteX9" fmla="*/ 173451 w 182125"/>
                <a:gd name="connsiteY9" fmla="*/ 167313 h 182119"/>
                <a:gd name="connsiteX10" fmla="*/ 7405 w 182125"/>
                <a:gd name="connsiteY10" fmla="*/ 1272 h 182119"/>
                <a:gd name="connsiteX11" fmla="*/ 1272 w 182125"/>
                <a:gd name="connsiteY11" fmla="*/ 1272 h 182119"/>
                <a:gd name="connsiteX12" fmla="*/ 1272 w 182125"/>
                <a:gd name="connsiteY12" fmla="*/ 7405 h 182119"/>
                <a:gd name="connsiteX13" fmla="*/ 167319 w 182125"/>
                <a:gd name="connsiteY13" fmla="*/ 173446 h 18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125" h="182119">
                  <a:moveTo>
                    <a:pt x="167319" y="173446"/>
                  </a:moveTo>
                  <a:lnTo>
                    <a:pt x="17350" y="173446"/>
                  </a:lnTo>
                  <a:cubicBezTo>
                    <a:pt x="14954" y="173446"/>
                    <a:pt x="13013" y="175387"/>
                    <a:pt x="13013" y="177783"/>
                  </a:cubicBezTo>
                  <a:cubicBezTo>
                    <a:pt x="13013" y="180179"/>
                    <a:pt x="14954" y="182120"/>
                    <a:pt x="17350" y="182120"/>
                  </a:cubicBezTo>
                  <a:lnTo>
                    <a:pt x="177789" y="182120"/>
                  </a:lnTo>
                  <a:cubicBezTo>
                    <a:pt x="180184" y="182120"/>
                    <a:pt x="182126" y="180179"/>
                    <a:pt x="182126" y="177783"/>
                  </a:cubicBezTo>
                  <a:lnTo>
                    <a:pt x="182126" y="17344"/>
                  </a:lnTo>
                  <a:cubicBezTo>
                    <a:pt x="182126" y="14948"/>
                    <a:pt x="180184" y="13007"/>
                    <a:pt x="177789" y="13007"/>
                  </a:cubicBezTo>
                  <a:cubicBezTo>
                    <a:pt x="175393" y="13007"/>
                    <a:pt x="173451" y="14948"/>
                    <a:pt x="173451" y="17344"/>
                  </a:cubicBezTo>
                  <a:lnTo>
                    <a:pt x="173451" y="167313"/>
                  </a:lnTo>
                  <a:lnTo>
                    <a:pt x="7405" y="1272"/>
                  </a:lnTo>
                  <a:cubicBezTo>
                    <a:pt x="5709" y="-424"/>
                    <a:pt x="2969" y="-424"/>
                    <a:pt x="1272" y="1272"/>
                  </a:cubicBezTo>
                  <a:cubicBezTo>
                    <a:pt x="-424" y="2969"/>
                    <a:pt x="-424" y="5709"/>
                    <a:pt x="1272" y="7405"/>
                  </a:cubicBezTo>
                  <a:lnTo>
                    <a:pt x="167319" y="173446"/>
                  </a:lnTo>
                  <a:close/>
                </a:path>
              </a:pathLst>
            </a:custGeom>
            <a:solidFill>
              <a:schemeClr val="tx2"/>
            </a:solidFill>
            <a:ln w="581" cap="flat">
              <a:noFill/>
              <a:prstDash val="solid"/>
              <a:miter/>
            </a:ln>
          </p:spPr>
          <p:txBody>
            <a:bodyPr rtlCol="0" anchor="ctr"/>
            <a:lstStyle/>
            <a:p>
              <a:endParaRPr lang="en-GB" dirty="0"/>
            </a:p>
          </p:txBody>
        </p:sp>
        <p:sp>
          <p:nvSpPr>
            <p:cNvPr id="139" name="Freihandform: Form 138">
              <a:extLst>
                <a:ext uri="{FF2B5EF4-FFF2-40B4-BE49-F238E27FC236}">
                  <a16:creationId xmlns:a16="http://schemas.microsoft.com/office/drawing/2014/main" id="{42E25FBD-67E1-4B5F-8788-B2337FF33185}"/>
                </a:ext>
              </a:extLst>
            </p:cNvPr>
            <p:cNvSpPr>
              <a:spLocks noChangeAspect="1"/>
            </p:cNvSpPr>
            <p:nvPr/>
          </p:nvSpPr>
          <p:spPr>
            <a:xfrm>
              <a:off x="1280562" y="1615394"/>
              <a:ext cx="234160" cy="251494"/>
            </a:xfrm>
            <a:custGeom>
              <a:avLst/>
              <a:gdLst>
                <a:gd name="connsiteX0" fmla="*/ 114020 w 234160"/>
                <a:gd name="connsiteY0" fmla="*/ 250224 h 251494"/>
                <a:gd name="connsiteX1" fmla="*/ 117086 w 234160"/>
                <a:gd name="connsiteY1" fmla="*/ 251495 h 251494"/>
                <a:gd name="connsiteX2" fmla="*/ 120153 w 234160"/>
                <a:gd name="connsiteY2" fmla="*/ 250224 h 251494"/>
                <a:gd name="connsiteX3" fmla="*/ 232889 w 234160"/>
                <a:gd name="connsiteY3" fmla="*/ 137488 h 251494"/>
                <a:gd name="connsiteX4" fmla="*/ 232889 w 234160"/>
                <a:gd name="connsiteY4" fmla="*/ 131355 h 251494"/>
                <a:gd name="connsiteX5" fmla="*/ 226756 w 234160"/>
                <a:gd name="connsiteY5" fmla="*/ 131355 h 251494"/>
                <a:gd name="connsiteX6" fmla="*/ 121418 w 234160"/>
                <a:gd name="connsiteY6" fmla="*/ 236694 h 251494"/>
                <a:gd name="connsiteX7" fmla="*/ 121418 w 234160"/>
                <a:gd name="connsiteY7" fmla="*/ 4337 h 251494"/>
                <a:gd name="connsiteX8" fmla="*/ 117080 w 234160"/>
                <a:gd name="connsiteY8" fmla="*/ 0 h 251494"/>
                <a:gd name="connsiteX9" fmla="*/ 112743 w 234160"/>
                <a:gd name="connsiteY9" fmla="*/ 4337 h 251494"/>
                <a:gd name="connsiteX10" fmla="*/ 112743 w 234160"/>
                <a:gd name="connsiteY10" fmla="*/ 236694 h 251494"/>
                <a:gd name="connsiteX11" fmla="*/ 7405 w 234160"/>
                <a:gd name="connsiteY11" fmla="*/ 131355 h 251494"/>
                <a:gd name="connsiteX12" fmla="*/ 1272 w 234160"/>
                <a:gd name="connsiteY12" fmla="*/ 131355 h 251494"/>
                <a:gd name="connsiteX13" fmla="*/ 1272 w 234160"/>
                <a:gd name="connsiteY13" fmla="*/ 137488 h 251494"/>
                <a:gd name="connsiteX14" fmla="*/ 114020 w 234160"/>
                <a:gd name="connsiteY14" fmla="*/ 250224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160" h="251494">
                  <a:moveTo>
                    <a:pt x="114020" y="250224"/>
                  </a:moveTo>
                  <a:cubicBezTo>
                    <a:pt x="114865" y="251069"/>
                    <a:pt x="115979" y="251495"/>
                    <a:pt x="117086" y="251495"/>
                  </a:cubicBezTo>
                  <a:cubicBezTo>
                    <a:pt x="118194" y="251495"/>
                    <a:pt x="119307" y="251069"/>
                    <a:pt x="120153" y="250224"/>
                  </a:cubicBezTo>
                  <a:lnTo>
                    <a:pt x="232889" y="137488"/>
                  </a:lnTo>
                  <a:cubicBezTo>
                    <a:pt x="234585" y="135792"/>
                    <a:pt x="234585" y="133052"/>
                    <a:pt x="232889" y="131355"/>
                  </a:cubicBezTo>
                  <a:cubicBezTo>
                    <a:pt x="231192" y="129659"/>
                    <a:pt x="228452" y="129659"/>
                    <a:pt x="226756" y="131355"/>
                  </a:cubicBezTo>
                  <a:lnTo>
                    <a:pt x="121418" y="236694"/>
                  </a:lnTo>
                  <a:lnTo>
                    <a:pt x="121418" y="4337"/>
                  </a:lnTo>
                  <a:cubicBezTo>
                    <a:pt x="121418" y="1941"/>
                    <a:pt x="119476" y="0"/>
                    <a:pt x="117080" y="0"/>
                  </a:cubicBezTo>
                  <a:cubicBezTo>
                    <a:pt x="114685" y="0"/>
                    <a:pt x="112743" y="1941"/>
                    <a:pt x="112743" y="4337"/>
                  </a:cubicBezTo>
                  <a:lnTo>
                    <a:pt x="112743" y="236694"/>
                  </a:lnTo>
                  <a:lnTo>
                    <a:pt x="7405" y="131355"/>
                  </a:lnTo>
                  <a:cubicBezTo>
                    <a:pt x="5709" y="129659"/>
                    <a:pt x="2969" y="129659"/>
                    <a:pt x="1272" y="131355"/>
                  </a:cubicBezTo>
                  <a:cubicBezTo>
                    <a:pt x="-424" y="133052"/>
                    <a:pt x="-424" y="135792"/>
                    <a:pt x="1272" y="137488"/>
                  </a:cubicBezTo>
                  <a:lnTo>
                    <a:pt x="114020" y="250224"/>
                  </a:lnTo>
                  <a:close/>
                </a:path>
              </a:pathLst>
            </a:custGeom>
            <a:solidFill>
              <a:schemeClr val="tx2"/>
            </a:solidFill>
            <a:ln w="581" cap="flat">
              <a:noFill/>
              <a:prstDash val="solid"/>
              <a:miter/>
            </a:ln>
          </p:spPr>
          <p:txBody>
            <a:bodyPr rtlCol="0" anchor="ctr"/>
            <a:lstStyle/>
            <a:p>
              <a:endParaRPr lang="en-GB" dirty="0"/>
            </a:p>
          </p:txBody>
        </p:sp>
        <p:sp>
          <p:nvSpPr>
            <p:cNvPr id="147" name="Freihandform: Form 146">
              <a:extLst>
                <a:ext uri="{FF2B5EF4-FFF2-40B4-BE49-F238E27FC236}">
                  <a16:creationId xmlns:a16="http://schemas.microsoft.com/office/drawing/2014/main" id="{C550933B-BAE3-49B0-9702-F3FC0938E88F}"/>
                </a:ext>
              </a:extLst>
            </p:cNvPr>
            <p:cNvSpPr>
              <a:spLocks noChangeAspect="1"/>
            </p:cNvSpPr>
            <p:nvPr/>
          </p:nvSpPr>
          <p:spPr>
            <a:xfrm>
              <a:off x="1271895" y="2817100"/>
              <a:ext cx="251494" cy="251494"/>
            </a:xfrm>
            <a:custGeom>
              <a:avLst/>
              <a:gdLst>
                <a:gd name="connsiteX0" fmla="*/ 202399 w 251494"/>
                <a:gd name="connsiteY0" fmla="*/ 96664 h 251494"/>
                <a:gd name="connsiteX1" fmla="*/ 202399 w 251494"/>
                <a:gd name="connsiteY1" fmla="*/ 102797 h 251494"/>
                <a:gd name="connsiteX2" fmla="*/ 128814 w 251494"/>
                <a:gd name="connsiteY2" fmla="*/ 176382 h 251494"/>
                <a:gd name="connsiteX3" fmla="*/ 125747 w 251494"/>
                <a:gd name="connsiteY3" fmla="*/ 177653 h 251494"/>
                <a:gd name="connsiteX4" fmla="*/ 122681 w 251494"/>
                <a:gd name="connsiteY4" fmla="*/ 176382 h 251494"/>
                <a:gd name="connsiteX5" fmla="*/ 49096 w 251494"/>
                <a:gd name="connsiteY5" fmla="*/ 102797 h 251494"/>
                <a:gd name="connsiteX6" fmla="*/ 49096 w 251494"/>
                <a:gd name="connsiteY6" fmla="*/ 96664 h 251494"/>
                <a:gd name="connsiteX7" fmla="*/ 55228 w 251494"/>
                <a:gd name="connsiteY7" fmla="*/ 96664 h 251494"/>
                <a:gd name="connsiteX8" fmla="*/ 125747 w 251494"/>
                <a:gd name="connsiteY8" fmla="*/ 167183 h 251494"/>
                <a:gd name="connsiteX9" fmla="*/ 196267 w 251494"/>
                <a:gd name="connsiteY9" fmla="*/ 96664 h 251494"/>
                <a:gd name="connsiteX10" fmla="*/ 202399 w 251494"/>
                <a:gd name="connsiteY10" fmla="*/ 96664 h 251494"/>
                <a:gd name="connsiteX11" fmla="*/ 251495 w 251494"/>
                <a:gd name="connsiteY11" fmla="*/ 125748 h 251494"/>
                <a:gd name="connsiteX12" fmla="*/ 125747 w 251494"/>
                <a:gd name="connsiteY12" fmla="*/ 251495 h 251494"/>
                <a:gd name="connsiteX13" fmla="*/ 0 w 251494"/>
                <a:gd name="connsiteY13" fmla="*/ 125748 h 251494"/>
                <a:gd name="connsiteX14" fmla="*/ 125747 w 251494"/>
                <a:gd name="connsiteY14" fmla="*/ 0 h 251494"/>
                <a:gd name="connsiteX15" fmla="*/ 251495 w 251494"/>
                <a:gd name="connsiteY15" fmla="*/ 125748 h 251494"/>
                <a:gd name="connsiteX16" fmla="*/ 242821 w 251494"/>
                <a:gd name="connsiteY16" fmla="*/ 125748 h 251494"/>
                <a:gd name="connsiteX17" fmla="*/ 125747 w 251494"/>
                <a:gd name="connsiteY17" fmla="*/ 8674 h 251494"/>
                <a:gd name="connsiteX18" fmla="*/ 8674 w 251494"/>
                <a:gd name="connsiteY18" fmla="*/ 125748 h 251494"/>
                <a:gd name="connsiteX19" fmla="*/ 125747 w 251494"/>
                <a:gd name="connsiteY19" fmla="*/ 242821 h 251494"/>
                <a:gd name="connsiteX20" fmla="*/ 242821 w 251494"/>
                <a:gd name="connsiteY20" fmla="*/ 125748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494" h="251494">
                  <a:moveTo>
                    <a:pt x="202399" y="96664"/>
                  </a:moveTo>
                  <a:cubicBezTo>
                    <a:pt x="204096" y="98361"/>
                    <a:pt x="204096" y="101101"/>
                    <a:pt x="202399" y="102797"/>
                  </a:cubicBezTo>
                  <a:lnTo>
                    <a:pt x="128814" y="176382"/>
                  </a:lnTo>
                  <a:cubicBezTo>
                    <a:pt x="127968" y="177227"/>
                    <a:pt x="126855" y="177653"/>
                    <a:pt x="125747" y="177653"/>
                  </a:cubicBezTo>
                  <a:cubicBezTo>
                    <a:pt x="124640" y="177653"/>
                    <a:pt x="123526" y="177227"/>
                    <a:pt x="122681" y="176382"/>
                  </a:cubicBezTo>
                  <a:lnTo>
                    <a:pt x="49096" y="102797"/>
                  </a:lnTo>
                  <a:cubicBezTo>
                    <a:pt x="47399" y="101101"/>
                    <a:pt x="47399" y="98361"/>
                    <a:pt x="49096" y="96664"/>
                  </a:cubicBezTo>
                  <a:cubicBezTo>
                    <a:pt x="50792" y="94968"/>
                    <a:pt x="53532" y="94968"/>
                    <a:pt x="55228" y="96664"/>
                  </a:cubicBezTo>
                  <a:lnTo>
                    <a:pt x="125747" y="167183"/>
                  </a:lnTo>
                  <a:lnTo>
                    <a:pt x="196267" y="96664"/>
                  </a:lnTo>
                  <a:cubicBezTo>
                    <a:pt x="197963" y="94968"/>
                    <a:pt x="200703" y="94968"/>
                    <a:pt x="202399" y="96664"/>
                  </a:cubicBezTo>
                  <a:close/>
                  <a:moveTo>
                    <a:pt x="251495" y="125748"/>
                  </a:moveTo>
                  <a:cubicBezTo>
                    <a:pt x="251495" y="195083"/>
                    <a:pt x="195083" y="251495"/>
                    <a:pt x="125747" y="251495"/>
                  </a:cubicBezTo>
                  <a:cubicBezTo>
                    <a:pt x="56412" y="251495"/>
                    <a:pt x="0" y="195083"/>
                    <a:pt x="0" y="125748"/>
                  </a:cubicBezTo>
                  <a:cubicBezTo>
                    <a:pt x="0" y="56412"/>
                    <a:pt x="56412" y="0"/>
                    <a:pt x="125747" y="0"/>
                  </a:cubicBezTo>
                  <a:cubicBezTo>
                    <a:pt x="195083" y="0"/>
                    <a:pt x="251495" y="56406"/>
                    <a:pt x="251495" y="125748"/>
                  </a:cubicBezTo>
                  <a:close/>
                  <a:moveTo>
                    <a:pt x="242821" y="125748"/>
                  </a:moveTo>
                  <a:cubicBezTo>
                    <a:pt x="242821" y="61192"/>
                    <a:pt x="190303" y="8674"/>
                    <a:pt x="125747" y="8674"/>
                  </a:cubicBezTo>
                  <a:cubicBezTo>
                    <a:pt x="61192" y="8674"/>
                    <a:pt x="8674" y="61192"/>
                    <a:pt x="8674" y="125748"/>
                  </a:cubicBezTo>
                  <a:cubicBezTo>
                    <a:pt x="8674" y="190303"/>
                    <a:pt x="61192" y="242821"/>
                    <a:pt x="125747" y="242821"/>
                  </a:cubicBezTo>
                  <a:cubicBezTo>
                    <a:pt x="190303" y="242821"/>
                    <a:pt x="242821" y="190303"/>
                    <a:pt x="242821" y="125748"/>
                  </a:cubicBezTo>
                  <a:close/>
                </a:path>
              </a:pathLst>
            </a:custGeom>
            <a:solidFill>
              <a:schemeClr val="tx2"/>
            </a:solidFill>
            <a:ln w="581" cap="flat">
              <a:noFill/>
              <a:prstDash val="solid"/>
              <a:miter/>
            </a:ln>
          </p:spPr>
          <p:txBody>
            <a:bodyPr rtlCol="0" anchor="ctr"/>
            <a:lstStyle/>
            <a:p>
              <a:endParaRPr lang="en-GB" dirty="0"/>
            </a:p>
          </p:txBody>
        </p:sp>
        <p:sp>
          <p:nvSpPr>
            <p:cNvPr id="153" name="Freihandform: Form 152">
              <a:extLst>
                <a:ext uri="{FF2B5EF4-FFF2-40B4-BE49-F238E27FC236}">
                  <a16:creationId xmlns:a16="http://schemas.microsoft.com/office/drawing/2014/main" id="{C8215649-017F-4CE3-861A-9B9A4E24F985}"/>
                </a:ext>
              </a:extLst>
            </p:cNvPr>
            <p:cNvSpPr>
              <a:spLocks noChangeAspect="1"/>
            </p:cNvSpPr>
            <p:nvPr/>
          </p:nvSpPr>
          <p:spPr>
            <a:xfrm>
              <a:off x="1280562" y="2449029"/>
              <a:ext cx="234160" cy="169114"/>
            </a:xfrm>
            <a:custGeom>
              <a:avLst/>
              <a:gdLst>
                <a:gd name="connsiteX0" fmla="*/ 232889 w 234160"/>
                <a:gd name="connsiteY0" fmla="*/ 48969 h 169114"/>
                <a:gd name="connsiteX1" fmla="*/ 232889 w 234160"/>
                <a:gd name="connsiteY1" fmla="*/ 55102 h 169114"/>
                <a:gd name="connsiteX2" fmla="*/ 120153 w 234160"/>
                <a:gd name="connsiteY2" fmla="*/ 167843 h 169114"/>
                <a:gd name="connsiteX3" fmla="*/ 117086 w 234160"/>
                <a:gd name="connsiteY3" fmla="*/ 169114 h 169114"/>
                <a:gd name="connsiteX4" fmla="*/ 114020 w 234160"/>
                <a:gd name="connsiteY4" fmla="*/ 167843 h 169114"/>
                <a:gd name="connsiteX5" fmla="*/ 1284 w 234160"/>
                <a:gd name="connsiteY5" fmla="*/ 55102 h 169114"/>
                <a:gd name="connsiteX6" fmla="*/ 1284 w 234160"/>
                <a:gd name="connsiteY6" fmla="*/ 48969 h 169114"/>
                <a:gd name="connsiteX7" fmla="*/ 7417 w 234160"/>
                <a:gd name="connsiteY7" fmla="*/ 48969 h 169114"/>
                <a:gd name="connsiteX8" fmla="*/ 117092 w 234160"/>
                <a:gd name="connsiteY8" fmla="*/ 158645 h 169114"/>
                <a:gd name="connsiteX9" fmla="*/ 226768 w 234160"/>
                <a:gd name="connsiteY9" fmla="*/ 48969 h 169114"/>
                <a:gd name="connsiteX10" fmla="*/ 232889 w 234160"/>
                <a:gd name="connsiteY10" fmla="*/ 48969 h 169114"/>
                <a:gd name="connsiteX11" fmla="*/ 226756 w 234160"/>
                <a:gd name="connsiteY11" fmla="*/ 1272 h 169114"/>
                <a:gd name="connsiteX12" fmla="*/ 117080 w 234160"/>
                <a:gd name="connsiteY12" fmla="*/ 110948 h 169114"/>
                <a:gd name="connsiteX13" fmla="*/ 7405 w 234160"/>
                <a:gd name="connsiteY13" fmla="*/ 1272 h 169114"/>
                <a:gd name="connsiteX14" fmla="*/ 1272 w 234160"/>
                <a:gd name="connsiteY14" fmla="*/ 1272 h 169114"/>
                <a:gd name="connsiteX15" fmla="*/ 1272 w 234160"/>
                <a:gd name="connsiteY15" fmla="*/ 7405 h 169114"/>
                <a:gd name="connsiteX16" fmla="*/ 114008 w 234160"/>
                <a:gd name="connsiteY16" fmla="*/ 120147 h 169114"/>
                <a:gd name="connsiteX17" fmla="*/ 117075 w 234160"/>
                <a:gd name="connsiteY17" fmla="*/ 121418 h 169114"/>
                <a:gd name="connsiteX18" fmla="*/ 120141 w 234160"/>
                <a:gd name="connsiteY18" fmla="*/ 120147 h 169114"/>
                <a:gd name="connsiteX19" fmla="*/ 232877 w 234160"/>
                <a:gd name="connsiteY19" fmla="*/ 7405 h 169114"/>
                <a:gd name="connsiteX20" fmla="*/ 232877 w 234160"/>
                <a:gd name="connsiteY20" fmla="*/ 1272 h 169114"/>
                <a:gd name="connsiteX21" fmla="*/ 226756 w 234160"/>
                <a:gd name="connsiteY21" fmla="*/ 1272 h 16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4160" h="169114">
                  <a:moveTo>
                    <a:pt x="232889" y="48969"/>
                  </a:moveTo>
                  <a:cubicBezTo>
                    <a:pt x="234585" y="50665"/>
                    <a:pt x="234585" y="53405"/>
                    <a:pt x="232889" y="55102"/>
                  </a:cubicBezTo>
                  <a:lnTo>
                    <a:pt x="120153" y="167843"/>
                  </a:lnTo>
                  <a:cubicBezTo>
                    <a:pt x="119307" y="168689"/>
                    <a:pt x="118194" y="169114"/>
                    <a:pt x="117086" y="169114"/>
                  </a:cubicBezTo>
                  <a:cubicBezTo>
                    <a:pt x="115979" y="169114"/>
                    <a:pt x="114865" y="168689"/>
                    <a:pt x="114020" y="167843"/>
                  </a:cubicBezTo>
                  <a:lnTo>
                    <a:pt x="1284" y="55102"/>
                  </a:lnTo>
                  <a:cubicBezTo>
                    <a:pt x="-412" y="53405"/>
                    <a:pt x="-412" y="50665"/>
                    <a:pt x="1284" y="48969"/>
                  </a:cubicBezTo>
                  <a:cubicBezTo>
                    <a:pt x="2980" y="47273"/>
                    <a:pt x="5720" y="47273"/>
                    <a:pt x="7417" y="48969"/>
                  </a:cubicBezTo>
                  <a:lnTo>
                    <a:pt x="117092" y="158645"/>
                  </a:lnTo>
                  <a:lnTo>
                    <a:pt x="226768" y="48969"/>
                  </a:lnTo>
                  <a:cubicBezTo>
                    <a:pt x="228452" y="47278"/>
                    <a:pt x="231198" y="47278"/>
                    <a:pt x="232889" y="48969"/>
                  </a:cubicBezTo>
                  <a:close/>
                  <a:moveTo>
                    <a:pt x="226756" y="1272"/>
                  </a:moveTo>
                  <a:lnTo>
                    <a:pt x="117080" y="110948"/>
                  </a:lnTo>
                  <a:lnTo>
                    <a:pt x="7405" y="1272"/>
                  </a:lnTo>
                  <a:cubicBezTo>
                    <a:pt x="5709" y="-424"/>
                    <a:pt x="2969" y="-424"/>
                    <a:pt x="1272" y="1272"/>
                  </a:cubicBezTo>
                  <a:cubicBezTo>
                    <a:pt x="-424" y="2969"/>
                    <a:pt x="-424" y="5708"/>
                    <a:pt x="1272" y="7405"/>
                  </a:cubicBezTo>
                  <a:lnTo>
                    <a:pt x="114008" y="120147"/>
                  </a:lnTo>
                  <a:cubicBezTo>
                    <a:pt x="114854" y="120992"/>
                    <a:pt x="115967" y="121418"/>
                    <a:pt x="117075" y="121418"/>
                  </a:cubicBezTo>
                  <a:cubicBezTo>
                    <a:pt x="118182" y="121418"/>
                    <a:pt x="119296" y="120992"/>
                    <a:pt x="120141" y="120147"/>
                  </a:cubicBezTo>
                  <a:lnTo>
                    <a:pt x="232877" y="7405"/>
                  </a:lnTo>
                  <a:cubicBezTo>
                    <a:pt x="234573" y="5708"/>
                    <a:pt x="234573" y="2969"/>
                    <a:pt x="232877" y="1272"/>
                  </a:cubicBezTo>
                  <a:cubicBezTo>
                    <a:pt x="231198" y="-418"/>
                    <a:pt x="228452" y="-418"/>
                    <a:pt x="226756" y="1272"/>
                  </a:cubicBezTo>
                  <a:close/>
                </a:path>
              </a:pathLst>
            </a:custGeom>
            <a:solidFill>
              <a:schemeClr val="tx2"/>
            </a:solidFill>
            <a:ln w="581" cap="flat">
              <a:noFill/>
              <a:prstDash val="solid"/>
              <a:miter/>
            </a:ln>
          </p:spPr>
          <p:txBody>
            <a:bodyPr rtlCol="0" anchor="ctr"/>
            <a:lstStyle/>
            <a:p>
              <a:endParaRPr lang="en-GB" dirty="0"/>
            </a:p>
          </p:txBody>
        </p:sp>
        <p:sp>
          <p:nvSpPr>
            <p:cNvPr id="157" name="Freihandform: Form 156">
              <a:extLst>
                <a:ext uri="{FF2B5EF4-FFF2-40B4-BE49-F238E27FC236}">
                  <a16:creationId xmlns:a16="http://schemas.microsoft.com/office/drawing/2014/main" id="{FB937D5E-3E60-4BF3-B848-B6FCCB173433}"/>
                </a:ext>
              </a:extLst>
            </p:cNvPr>
            <p:cNvSpPr>
              <a:spLocks noChangeAspect="1"/>
            </p:cNvSpPr>
            <p:nvPr/>
          </p:nvSpPr>
          <p:spPr>
            <a:xfrm>
              <a:off x="1332600" y="3227889"/>
              <a:ext cx="130085" cy="251494"/>
            </a:xfrm>
            <a:custGeom>
              <a:avLst/>
              <a:gdLst>
                <a:gd name="connsiteX0" fmla="*/ 125749 w 130085"/>
                <a:gd name="connsiteY0" fmla="*/ 0 h 251494"/>
                <a:gd name="connsiteX1" fmla="*/ 130086 w 130085"/>
                <a:gd name="connsiteY1" fmla="*/ 4337 h 251494"/>
                <a:gd name="connsiteX2" fmla="*/ 130086 w 130085"/>
                <a:gd name="connsiteY2" fmla="*/ 247158 h 251494"/>
                <a:gd name="connsiteX3" fmla="*/ 125749 w 130085"/>
                <a:gd name="connsiteY3" fmla="*/ 251495 h 251494"/>
                <a:gd name="connsiteX4" fmla="*/ 121412 w 130085"/>
                <a:gd name="connsiteY4" fmla="*/ 247158 h 251494"/>
                <a:gd name="connsiteX5" fmla="*/ 121412 w 130085"/>
                <a:gd name="connsiteY5" fmla="*/ 4337 h 251494"/>
                <a:gd name="connsiteX6" fmla="*/ 125749 w 130085"/>
                <a:gd name="connsiteY6" fmla="*/ 0 h 251494"/>
                <a:gd name="connsiteX7" fmla="*/ 63776 w 130085"/>
                <a:gd name="connsiteY7" fmla="*/ 57642 h 251494"/>
                <a:gd name="connsiteX8" fmla="*/ 57643 w 130085"/>
                <a:gd name="connsiteY8" fmla="*/ 57642 h 251494"/>
                <a:gd name="connsiteX9" fmla="*/ 1272 w 130085"/>
                <a:gd name="connsiteY9" fmla="*/ 114013 h 251494"/>
                <a:gd name="connsiteX10" fmla="*/ 1272 w 130085"/>
                <a:gd name="connsiteY10" fmla="*/ 120145 h 251494"/>
                <a:gd name="connsiteX11" fmla="*/ 57643 w 130085"/>
                <a:gd name="connsiteY11" fmla="*/ 176516 h 251494"/>
                <a:gd name="connsiteX12" fmla="*/ 60709 w 130085"/>
                <a:gd name="connsiteY12" fmla="*/ 177787 h 251494"/>
                <a:gd name="connsiteX13" fmla="*/ 63776 w 130085"/>
                <a:gd name="connsiteY13" fmla="*/ 176516 h 251494"/>
                <a:gd name="connsiteX14" fmla="*/ 63776 w 130085"/>
                <a:gd name="connsiteY14" fmla="*/ 170384 h 251494"/>
                <a:gd name="connsiteX15" fmla="*/ 10471 w 130085"/>
                <a:gd name="connsiteY15" fmla="*/ 117079 h 251494"/>
                <a:gd name="connsiteX16" fmla="*/ 63776 w 130085"/>
                <a:gd name="connsiteY16" fmla="*/ 63774 h 251494"/>
                <a:gd name="connsiteX17" fmla="*/ 63776 w 130085"/>
                <a:gd name="connsiteY17" fmla="*/ 57642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085" h="251494">
                  <a:moveTo>
                    <a:pt x="125749" y="0"/>
                  </a:moveTo>
                  <a:cubicBezTo>
                    <a:pt x="128145" y="0"/>
                    <a:pt x="130086" y="1941"/>
                    <a:pt x="130086" y="4337"/>
                  </a:cubicBezTo>
                  <a:lnTo>
                    <a:pt x="130086" y="247158"/>
                  </a:lnTo>
                  <a:cubicBezTo>
                    <a:pt x="130086" y="249554"/>
                    <a:pt x="128145" y="251495"/>
                    <a:pt x="125749" y="251495"/>
                  </a:cubicBezTo>
                  <a:cubicBezTo>
                    <a:pt x="123353" y="251495"/>
                    <a:pt x="121412" y="249554"/>
                    <a:pt x="121412" y="247158"/>
                  </a:cubicBezTo>
                  <a:lnTo>
                    <a:pt x="121412" y="4337"/>
                  </a:lnTo>
                  <a:cubicBezTo>
                    <a:pt x="121418" y="1941"/>
                    <a:pt x="123359" y="0"/>
                    <a:pt x="125749" y="0"/>
                  </a:cubicBezTo>
                  <a:close/>
                  <a:moveTo>
                    <a:pt x="63776" y="57642"/>
                  </a:moveTo>
                  <a:cubicBezTo>
                    <a:pt x="62079" y="55945"/>
                    <a:pt x="59340" y="55945"/>
                    <a:pt x="57643" y="57642"/>
                  </a:cubicBezTo>
                  <a:lnTo>
                    <a:pt x="1272" y="114013"/>
                  </a:lnTo>
                  <a:cubicBezTo>
                    <a:pt x="-424" y="115709"/>
                    <a:pt x="-424" y="118449"/>
                    <a:pt x="1272" y="120145"/>
                  </a:cubicBezTo>
                  <a:lnTo>
                    <a:pt x="57643" y="176516"/>
                  </a:lnTo>
                  <a:cubicBezTo>
                    <a:pt x="58489" y="177362"/>
                    <a:pt x="59602" y="177787"/>
                    <a:pt x="60709" y="177787"/>
                  </a:cubicBezTo>
                  <a:cubicBezTo>
                    <a:pt x="61817" y="177787"/>
                    <a:pt x="62931" y="177362"/>
                    <a:pt x="63776" y="176516"/>
                  </a:cubicBezTo>
                  <a:cubicBezTo>
                    <a:pt x="65472" y="174820"/>
                    <a:pt x="65472" y="172080"/>
                    <a:pt x="63776" y="170384"/>
                  </a:cubicBezTo>
                  <a:lnTo>
                    <a:pt x="10471" y="117079"/>
                  </a:lnTo>
                  <a:lnTo>
                    <a:pt x="63776" y="63774"/>
                  </a:lnTo>
                  <a:cubicBezTo>
                    <a:pt x="65466" y="62078"/>
                    <a:pt x="65466" y="59332"/>
                    <a:pt x="63776" y="57642"/>
                  </a:cubicBezTo>
                  <a:close/>
                </a:path>
              </a:pathLst>
            </a:custGeom>
            <a:solidFill>
              <a:schemeClr val="tx2"/>
            </a:solidFill>
            <a:ln w="581" cap="flat">
              <a:noFill/>
              <a:prstDash val="solid"/>
              <a:miter/>
            </a:ln>
          </p:spPr>
          <p:txBody>
            <a:bodyPr rtlCol="0" anchor="ctr"/>
            <a:lstStyle/>
            <a:p>
              <a:endParaRPr lang="en-GB" dirty="0"/>
            </a:p>
          </p:txBody>
        </p:sp>
        <p:sp>
          <p:nvSpPr>
            <p:cNvPr id="163" name="Freihandform: Form 162">
              <a:extLst>
                <a:ext uri="{FF2B5EF4-FFF2-40B4-BE49-F238E27FC236}">
                  <a16:creationId xmlns:a16="http://schemas.microsoft.com/office/drawing/2014/main" id="{193AF2A8-2453-4A8F-8020-3A0727B938FA}"/>
                </a:ext>
              </a:extLst>
            </p:cNvPr>
            <p:cNvSpPr>
              <a:spLocks noChangeAspect="1"/>
            </p:cNvSpPr>
            <p:nvPr/>
          </p:nvSpPr>
          <p:spPr>
            <a:xfrm>
              <a:off x="1271894" y="3696167"/>
              <a:ext cx="251496" cy="208135"/>
            </a:xfrm>
            <a:custGeom>
              <a:avLst/>
              <a:gdLst>
                <a:gd name="connsiteX0" fmla="*/ 182120 w 251496"/>
                <a:gd name="connsiteY0" fmla="*/ 0 h 208135"/>
                <a:gd name="connsiteX1" fmla="*/ 156103 w 251496"/>
                <a:gd name="connsiteY1" fmla="*/ 0 h 208135"/>
                <a:gd name="connsiteX2" fmla="*/ 151766 w 251496"/>
                <a:gd name="connsiteY2" fmla="*/ 4337 h 208135"/>
                <a:gd name="connsiteX3" fmla="*/ 156103 w 251496"/>
                <a:gd name="connsiteY3" fmla="*/ 8674 h 208135"/>
                <a:gd name="connsiteX4" fmla="*/ 182120 w 251496"/>
                <a:gd name="connsiteY4" fmla="*/ 8674 h 208135"/>
                <a:gd name="connsiteX5" fmla="*/ 242828 w 251496"/>
                <a:gd name="connsiteY5" fmla="*/ 69382 h 208135"/>
                <a:gd name="connsiteX6" fmla="*/ 182120 w 251496"/>
                <a:gd name="connsiteY6" fmla="*/ 130090 h 208135"/>
                <a:gd name="connsiteX7" fmla="*/ 14802 w 251496"/>
                <a:gd name="connsiteY7" fmla="*/ 130090 h 208135"/>
                <a:gd name="connsiteX8" fmla="*/ 76776 w 251496"/>
                <a:gd name="connsiteY8" fmla="*/ 68111 h 208135"/>
                <a:gd name="connsiteX9" fmla="*/ 76776 w 251496"/>
                <a:gd name="connsiteY9" fmla="*/ 61979 h 208135"/>
                <a:gd name="connsiteX10" fmla="*/ 70643 w 251496"/>
                <a:gd name="connsiteY10" fmla="*/ 61979 h 208135"/>
                <a:gd name="connsiteX11" fmla="*/ 1272 w 251496"/>
                <a:gd name="connsiteY11" fmla="*/ 131355 h 208135"/>
                <a:gd name="connsiteX12" fmla="*/ 1272 w 251496"/>
                <a:gd name="connsiteY12" fmla="*/ 137488 h 208135"/>
                <a:gd name="connsiteX13" fmla="*/ 70649 w 251496"/>
                <a:gd name="connsiteY13" fmla="*/ 206864 h 208135"/>
                <a:gd name="connsiteX14" fmla="*/ 73715 w 251496"/>
                <a:gd name="connsiteY14" fmla="*/ 208135 h 208135"/>
                <a:gd name="connsiteX15" fmla="*/ 76781 w 251496"/>
                <a:gd name="connsiteY15" fmla="*/ 206864 h 208135"/>
                <a:gd name="connsiteX16" fmla="*/ 76781 w 251496"/>
                <a:gd name="connsiteY16" fmla="*/ 200732 h 208135"/>
                <a:gd name="connsiteX17" fmla="*/ 14808 w 251496"/>
                <a:gd name="connsiteY17" fmla="*/ 138753 h 208135"/>
                <a:gd name="connsiteX18" fmla="*/ 182120 w 251496"/>
                <a:gd name="connsiteY18" fmla="*/ 138753 h 208135"/>
                <a:gd name="connsiteX19" fmla="*/ 251496 w 251496"/>
                <a:gd name="connsiteY19" fmla="*/ 69376 h 208135"/>
                <a:gd name="connsiteX20" fmla="*/ 182120 w 251496"/>
                <a:gd name="connsiteY20" fmla="*/ 0 h 20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496" h="208135">
                  <a:moveTo>
                    <a:pt x="182120" y="0"/>
                  </a:moveTo>
                  <a:lnTo>
                    <a:pt x="156103" y="0"/>
                  </a:lnTo>
                  <a:cubicBezTo>
                    <a:pt x="153707" y="0"/>
                    <a:pt x="151766" y="1941"/>
                    <a:pt x="151766" y="4337"/>
                  </a:cubicBezTo>
                  <a:cubicBezTo>
                    <a:pt x="151766" y="6733"/>
                    <a:pt x="153707" y="8674"/>
                    <a:pt x="156103" y="8674"/>
                  </a:cubicBezTo>
                  <a:lnTo>
                    <a:pt x="182120" y="8674"/>
                  </a:lnTo>
                  <a:cubicBezTo>
                    <a:pt x="215593" y="8674"/>
                    <a:pt x="242828" y="35904"/>
                    <a:pt x="242828" y="69382"/>
                  </a:cubicBezTo>
                  <a:cubicBezTo>
                    <a:pt x="242828" y="102855"/>
                    <a:pt x="215598" y="130090"/>
                    <a:pt x="182120" y="130090"/>
                  </a:cubicBezTo>
                  <a:lnTo>
                    <a:pt x="14802" y="130090"/>
                  </a:lnTo>
                  <a:lnTo>
                    <a:pt x="76776" y="68111"/>
                  </a:lnTo>
                  <a:cubicBezTo>
                    <a:pt x="78472" y="66415"/>
                    <a:pt x="78472" y="63675"/>
                    <a:pt x="76776" y="61979"/>
                  </a:cubicBezTo>
                  <a:cubicBezTo>
                    <a:pt x="75079" y="60282"/>
                    <a:pt x="72339" y="60282"/>
                    <a:pt x="70643" y="61979"/>
                  </a:cubicBezTo>
                  <a:lnTo>
                    <a:pt x="1272" y="131355"/>
                  </a:lnTo>
                  <a:cubicBezTo>
                    <a:pt x="-424" y="133052"/>
                    <a:pt x="-424" y="135792"/>
                    <a:pt x="1272" y="137488"/>
                  </a:cubicBezTo>
                  <a:lnTo>
                    <a:pt x="70649" y="206864"/>
                  </a:lnTo>
                  <a:cubicBezTo>
                    <a:pt x="71494" y="207710"/>
                    <a:pt x="72607" y="208135"/>
                    <a:pt x="73715" y="208135"/>
                  </a:cubicBezTo>
                  <a:cubicBezTo>
                    <a:pt x="74823" y="208135"/>
                    <a:pt x="75936" y="207710"/>
                    <a:pt x="76781" y="206864"/>
                  </a:cubicBezTo>
                  <a:cubicBezTo>
                    <a:pt x="78478" y="205168"/>
                    <a:pt x="78478" y="202428"/>
                    <a:pt x="76781" y="200732"/>
                  </a:cubicBezTo>
                  <a:lnTo>
                    <a:pt x="14808" y="138753"/>
                  </a:lnTo>
                  <a:lnTo>
                    <a:pt x="182120" y="138753"/>
                  </a:lnTo>
                  <a:cubicBezTo>
                    <a:pt x="220373" y="138753"/>
                    <a:pt x="251496" y="107629"/>
                    <a:pt x="251496" y="69376"/>
                  </a:cubicBezTo>
                  <a:cubicBezTo>
                    <a:pt x="251496" y="31123"/>
                    <a:pt x="220373" y="0"/>
                    <a:pt x="182120" y="0"/>
                  </a:cubicBezTo>
                  <a:close/>
                </a:path>
              </a:pathLst>
            </a:custGeom>
            <a:solidFill>
              <a:schemeClr val="tx2"/>
            </a:solidFill>
            <a:ln w="581" cap="flat">
              <a:noFill/>
              <a:prstDash val="solid"/>
              <a:miter/>
            </a:ln>
          </p:spPr>
          <p:txBody>
            <a:bodyPr rtlCol="0" anchor="ctr"/>
            <a:lstStyle/>
            <a:p>
              <a:endParaRPr lang="en-GB" dirty="0"/>
            </a:p>
          </p:txBody>
        </p:sp>
        <p:sp>
          <p:nvSpPr>
            <p:cNvPr id="165" name="Freihandform: Form 164">
              <a:extLst>
                <a:ext uri="{FF2B5EF4-FFF2-40B4-BE49-F238E27FC236}">
                  <a16:creationId xmlns:a16="http://schemas.microsoft.com/office/drawing/2014/main" id="{7FC4CBF6-0411-4F49-A6D8-84E1DD15C1DF}"/>
                </a:ext>
              </a:extLst>
            </p:cNvPr>
            <p:cNvSpPr>
              <a:spLocks noChangeAspect="1"/>
            </p:cNvSpPr>
            <p:nvPr/>
          </p:nvSpPr>
          <p:spPr>
            <a:xfrm>
              <a:off x="1315255" y="4498906"/>
              <a:ext cx="164775" cy="251501"/>
            </a:xfrm>
            <a:custGeom>
              <a:avLst/>
              <a:gdLst>
                <a:gd name="connsiteX0" fmla="*/ 14276 w 164775"/>
                <a:gd name="connsiteY0" fmla="*/ 66312 h 251501"/>
                <a:gd name="connsiteX1" fmla="*/ 79316 w 164775"/>
                <a:gd name="connsiteY1" fmla="*/ 1272 h 251501"/>
                <a:gd name="connsiteX2" fmla="*/ 85448 w 164775"/>
                <a:gd name="connsiteY2" fmla="*/ 1272 h 251501"/>
                <a:gd name="connsiteX3" fmla="*/ 150488 w 164775"/>
                <a:gd name="connsiteY3" fmla="*/ 66312 h 251501"/>
                <a:gd name="connsiteX4" fmla="*/ 150488 w 164775"/>
                <a:gd name="connsiteY4" fmla="*/ 72444 h 251501"/>
                <a:gd name="connsiteX5" fmla="*/ 147421 w 164775"/>
                <a:gd name="connsiteY5" fmla="*/ 73715 h 251501"/>
                <a:gd name="connsiteX6" fmla="*/ 144355 w 164775"/>
                <a:gd name="connsiteY6" fmla="*/ 72444 h 251501"/>
                <a:gd name="connsiteX7" fmla="*/ 86713 w 164775"/>
                <a:gd name="connsiteY7" fmla="*/ 14802 h 251501"/>
                <a:gd name="connsiteX8" fmla="*/ 86713 w 164775"/>
                <a:gd name="connsiteY8" fmla="*/ 169108 h 251501"/>
                <a:gd name="connsiteX9" fmla="*/ 82376 w 164775"/>
                <a:gd name="connsiteY9" fmla="*/ 173445 h 251501"/>
                <a:gd name="connsiteX10" fmla="*/ 78039 w 164775"/>
                <a:gd name="connsiteY10" fmla="*/ 169108 h 251501"/>
                <a:gd name="connsiteX11" fmla="*/ 78039 w 164775"/>
                <a:gd name="connsiteY11" fmla="*/ 14802 h 251501"/>
                <a:gd name="connsiteX12" fmla="*/ 20397 w 164775"/>
                <a:gd name="connsiteY12" fmla="*/ 72444 h 251501"/>
                <a:gd name="connsiteX13" fmla="*/ 14265 w 164775"/>
                <a:gd name="connsiteY13" fmla="*/ 72444 h 251501"/>
                <a:gd name="connsiteX14" fmla="*/ 14276 w 164775"/>
                <a:gd name="connsiteY14" fmla="*/ 66312 h 251501"/>
                <a:gd name="connsiteX15" fmla="*/ 160439 w 164775"/>
                <a:gd name="connsiteY15" fmla="*/ 108406 h 251501"/>
                <a:gd name="connsiteX16" fmla="*/ 138759 w 164775"/>
                <a:gd name="connsiteY16" fmla="*/ 108406 h 251501"/>
                <a:gd name="connsiteX17" fmla="*/ 134422 w 164775"/>
                <a:gd name="connsiteY17" fmla="*/ 112743 h 251501"/>
                <a:gd name="connsiteX18" fmla="*/ 138759 w 164775"/>
                <a:gd name="connsiteY18" fmla="*/ 117080 h 251501"/>
                <a:gd name="connsiteX19" fmla="*/ 156101 w 164775"/>
                <a:gd name="connsiteY19" fmla="*/ 117080 h 251501"/>
                <a:gd name="connsiteX20" fmla="*/ 156101 w 164775"/>
                <a:gd name="connsiteY20" fmla="*/ 242828 h 251501"/>
                <a:gd name="connsiteX21" fmla="*/ 8674 w 164775"/>
                <a:gd name="connsiteY21" fmla="*/ 242828 h 251501"/>
                <a:gd name="connsiteX22" fmla="*/ 8674 w 164775"/>
                <a:gd name="connsiteY22" fmla="*/ 117080 h 251501"/>
                <a:gd name="connsiteX23" fmla="*/ 26017 w 164775"/>
                <a:gd name="connsiteY23" fmla="*/ 117080 h 251501"/>
                <a:gd name="connsiteX24" fmla="*/ 30354 w 164775"/>
                <a:gd name="connsiteY24" fmla="*/ 112743 h 251501"/>
                <a:gd name="connsiteX25" fmla="*/ 26017 w 164775"/>
                <a:gd name="connsiteY25" fmla="*/ 108406 h 251501"/>
                <a:gd name="connsiteX26" fmla="*/ 4337 w 164775"/>
                <a:gd name="connsiteY26" fmla="*/ 108406 h 251501"/>
                <a:gd name="connsiteX27" fmla="*/ 0 w 164775"/>
                <a:gd name="connsiteY27" fmla="*/ 112743 h 251501"/>
                <a:gd name="connsiteX28" fmla="*/ 0 w 164775"/>
                <a:gd name="connsiteY28" fmla="*/ 247165 h 251501"/>
                <a:gd name="connsiteX29" fmla="*/ 4337 w 164775"/>
                <a:gd name="connsiteY29" fmla="*/ 251502 h 251501"/>
                <a:gd name="connsiteX30" fmla="*/ 160439 w 164775"/>
                <a:gd name="connsiteY30" fmla="*/ 251502 h 251501"/>
                <a:gd name="connsiteX31" fmla="*/ 164776 w 164775"/>
                <a:gd name="connsiteY31" fmla="*/ 247165 h 251501"/>
                <a:gd name="connsiteX32" fmla="*/ 164776 w 164775"/>
                <a:gd name="connsiteY32" fmla="*/ 112743 h 251501"/>
                <a:gd name="connsiteX33" fmla="*/ 160439 w 164775"/>
                <a:gd name="connsiteY33" fmla="*/ 108406 h 251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4775" h="251501">
                  <a:moveTo>
                    <a:pt x="14276" y="66312"/>
                  </a:moveTo>
                  <a:lnTo>
                    <a:pt x="79316" y="1272"/>
                  </a:lnTo>
                  <a:cubicBezTo>
                    <a:pt x="81012" y="-424"/>
                    <a:pt x="83752" y="-424"/>
                    <a:pt x="85448" y="1272"/>
                  </a:cubicBezTo>
                  <a:lnTo>
                    <a:pt x="150488" y="66312"/>
                  </a:lnTo>
                  <a:cubicBezTo>
                    <a:pt x="152184" y="68008"/>
                    <a:pt x="152184" y="70748"/>
                    <a:pt x="150488" y="72444"/>
                  </a:cubicBezTo>
                  <a:cubicBezTo>
                    <a:pt x="149642" y="73289"/>
                    <a:pt x="148529" y="73715"/>
                    <a:pt x="147421" y="73715"/>
                  </a:cubicBezTo>
                  <a:cubicBezTo>
                    <a:pt x="146314" y="73715"/>
                    <a:pt x="145200" y="73289"/>
                    <a:pt x="144355" y="72444"/>
                  </a:cubicBezTo>
                  <a:lnTo>
                    <a:pt x="86713" y="14802"/>
                  </a:lnTo>
                  <a:lnTo>
                    <a:pt x="86713" y="169108"/>
                  </a:lnTo>
                  <a:cubicBezTo>
                    <a:pt x="86713" y="171504"/>
                    <a:pt x="84772" y="173445"/>
                    <a:pt x="82376" y="173445"/>
                  </a:cubicBezTo>
                  <a:cubicBezTo>
                    <a:pt x="79980" y="173445"/>
                    <a:pt x="78039" y="171504"/>
                    <a:pt x="78039" y="169108"/>
                  </a:cubicBezTo>
                  <a:lnTo>
                    <a:pt x="78039" y="14802"/>
                  </a:lnTo>
                  <a:lnTo>
                    <a:pt x="20397" y="72444"/>
                  </a:lnTo>
                  <a:cubicBezTo>
                    <a:pt x="18701" y="74140"/>
                    <a:pt x="15961" y="74140"/>
                    <a:pt x="14265" y="72444"/>
                  </a:cubicBezTo>
                  <a:cubicBezTo>
                    <a:pt x="12586" y="70748"/>
                    <a:pt x="12586" y="68008"/>
                    <a:pt x="14276" y="66312"/>
                  </a:cubicBezTo>
                  <a:close/>
                  <a:moveTo>
                    <a:pt x="160439" y="108406"/>
                  </a:moveTo>
                  <a:lnTo>
                    <a:pt x="138759" y="108406"/>
                  </a:lnTo>
                  <a:cubicBezTo>
                    <a:pt x="136363" y="108406"/>
                    <a:pt x="134422" y="110347"/>
                    <a:pt x="134422" y="112743"/>
                  </a:cubicBezTo>
                  <a:cubicBezTo>
                    <a:pt x="134422" y="115139"/>
                    <a:pt x="136363" y="117080"/>
                    <a:pt x="138759" y="117080"/>
                  </a:cubicBezTo>
                  <a:lnTo>
                    <a:pt x="156101" y="117080"/>
                  </a:lnTo>
                  <a:lnTo>
                    <a:pt x="156101" y="242828"/>
                  </a:lnTo>
                  <a:lnTo>
                    <a:pt x="8674" y="242828"/>
                  </a:lnTo>
                  <a:lnTo>
                    <a:pt x="8674" y="117080"/>
                  </a:lnTo>
                  <a:lnTo>
                    <a:pt x="26017" y="117080"/>
                  </a:lnTo>
                  <a:cubicBezTo>
                    <a:pt x="28413" y="117080"/>
                    <a:pt x="30354" y="115139"/>
                    <a:pt x="30354" y="112743"/>
                  </a:cubicBezTo>
                  <a:cubicBezTo>
                    <a:pt x="30354" y="110347"/>
                    <a:pt x="28413" y="108406"/>
                    <a:pt x="26017" y="108406"/>
                  </a:cubicBezTo>
                  <a:lnTo>
                    <a:pt x="4337" y="108406"/>
                  </a:lnTo>
                  <a:cubicBezTo>
                    <a:pt x="1941" y="108406"/>
                    <a:pt x="0" y="110347"/>
                    <a:pt x="0" y="112743"/>
                  </a:cubicBezTo>
                  <a:lnTo>
                    <a:pt x="0" y="247165"/>
                  </a:lnTo>
                  <a:cubicBezTo>
                    <a:pt x="0" y="249561"/>
                    <a:pt x="1941" y="251502"/>
                    <a:pt x="4337" y="251502"/>
                  </a:cubicBezTo>
                  <a:lnTo>
                    <a:pt x="160439" y="251502"/>
                  </a:lnTo>
                  <a:cubicBezTo>
                    <a:pt x="162835" y="251502"/>
                    <a:pt x="164776" y="249561"/>
                    <a:pt x="164776" y="247165"/>
                  </a:cubicBezTo>
                  <a:lnTo>
                    <a:pt x="164776" y="112743"/>
                  </a:lnTo>
                  <a:cubicBezTo>
                    <a:pt x="164770" y="110342"/>
                    <a:pt x="162829" y="108406"/>
                    <a:pt x="160439" y="108406"/>
                  </a:cubicBezTo>
                  <a:close/>
                </a:path>
              </a:pathLst>
            </a:custGeom>
            <a:solidFill>
              <a:schemeClr val="tx2"/>
            </a:solidFill>
            <a:ln w="581" cap="flat">
              <a:noFill/>
              <a:prstDash val="solid"/>
              <a:miter/>
            </a:ln>
          </p:spPr>
          <p:txBody>
            <a:bodyPr rtlCol="0" anchor="ctr"/>
            <a:lstStyle/>
            <a:p>
              <a:endParaRPr lang="en-GB" dirty="0"/>
            </a:p>
          </p:txBody>
        </p:sp>
        <p:sp>
          <p:nvSpPr>
            <p:cNvPr id="128" name="Freihandform: Form 127">
              <a:extLst>
                <a:ext uri="{FF2B5EF4-FFF2-40B4-BE49-F238E27FC236}">
                  <a16:creationId xmlns:a16="http://schemas.microsoft.com/office/drawing/2014/main" id="{07CFAC5B-BA8A-4AF6-B0EE-CF24F06698C0}"/>
                </a:ext>
              </a:extLst>
            </p:cNvPr>
            <p:cNvSpPr>
              <a:spLocks noChangeAspect="1"/>
            </p:cNvSpPr>
            <p:nvPr/>
          </p:nvSpPr>
          <p:spPr>
            <a:xfrm>
              <a:off x="1898919" y="4075058"/>
              <a:ext cx="251500" cy="251500"/>
            </a:xfrm>
            <a:custGeom>
              <a:avLst/>
              <a:gdLst>
                <a:gd name="connsiteX0" fmla="*/ 247164 w 251500"/>
                <a:gd name="connsiteY0" fmla="*/ 156101 h 251500"/>
                <a:gd name="connsiteX1" fmla="*/ 242827 w 251500"/>
                <a:gd name="connsiteY1" fmla="*/ 160438 h 251500"/>
                <a:gd name="connsiteX2" fmla="*/ 242827 w 251500"/>
                <a:gd name="connsiteY2" fmla="*/ 236694 h 251500"/>
                <a:gd name="connsiteX3" fmla="*/ 14807 w 251500"/>
                <a:gd name="connsiteY3" fmla="*/ 8674 h 251500"/>
                <a:gd name="connsiteX4" fmla="*/ 91062 w 251500"/>
                <a:gd name="connsiteY4" fmla="*/ 8674 h 251500"/>
                <a:gd name="connsiteX5" fmla="*/ 95399 w 251500"/>
                <a:gd name="connsiteY5" fmla="*/ 4337 h 251500"/>
                <a:gd name="connsiteX6" fmla="*/ 91062 w 251500"/>
                <a:gd name="connsiteY6" fmla="*/ 0 h 251500"/>
                <a:gd name="connsiteX7" fmla="*/ 4337 w 251500"/>
                <a:gd name="connsiteY7" fmla="*/ 0 h 251500"/>
                <a:gd name="connsiteX8" fmla="*/ 0 w 251500"/>
                <a:gd name="connsiteY8" fmla="*/ 4337 h 251500"/>
                <a:gd name="connsiteX9" fmla="*/ 0 w 251500"/>
                <a:gd name="connsiteY9" fmla="*/ 91062 h 251500"/>
                <a:gd name="connsiteX10" fmla="*/ 4337 w 251500"/>
                <a:gd name="connsiteY10" fmla="*/ 95399 h 251500"/>
                <a:gd name="connsiteX11" fmla="*/ 8674 w 251500"/>
                <a:gd name="connsiteY11" fmla="*/ 91062 h 251500"/>
                <a:gd name="connsiteX12" fmla="*/ 8674 w 251500"/>
                <a:gd name="connsiteY12" fmla="*/ 14807 h 251500"/>
                <a:gd name="connsiteX13" fmla="*/ 236694 w 251500"/>
                <a:gd name="connsiteY13" fmla="*/ 242826 h 251500"/>
                <a:gd name="connsiteX14" fmla="*/ 160439 w 251500"/>
                <a:gd name="connsiteY14" fmla="*/ 242826 h 251500"/>
                <a:gd name="connsiteX15" fmla="*/ 156101 w 251500"/>
                <a:gd name="connsiteY15" fmla="*/ 247163 h 251500"/>
                <a:gd name="connsiteX16" fmla="*/ 160439 w 251500"/>
                <a:gd name="connsiteY16" fmla="*/ 251501 h 251500"/>
                <a:gd name="connsiteX17" fmla="*/ 247164 w 251500"/>
                <a:gd name="connsiteY17" fmla="*/ 251501 h 251500"/>
                <a:gd name="connsiteX18" fmla="*/ 251501 w 251500"/>
                <a:gd name="connsiteY18" fmla="*/ 247163 h 251500"/>
                <a:gd name="connsiteX19" fmla="*/ 251501 w 251500"/>
                <a:gd name="connsiteY19" fmla="*/ 160438 h 251500"/>
                <a:gd name="connsiteX20" fmla="*/ 247164 w 251500"/>
                <a:gd name="connsiteY20" fmla="*/ 156101 h 25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500" h="251500">
                  <a:moveTo>
                    <a:pt x="247164" y="156101"/>
                  </a:moveTo>
                  <a:cubicBezTo>
                    <a:pt x="244768" y="156101"/>
                    <a:pt x="242827" y="158043"/>
                    <a:pt x="242827" y="160438"/>
                  </a:cubicBezTo>
                  <a:lnTo>
                    <a:pt x="242827" y="236694"/>
                  </a:lnTo>
                  <a:lnTo>
                    <a:pt x="14807" y="8674"/>
                  </a:lnTo>
                  <a:lnTo>
                    <a:pt x="91062" y="8674"/>
                  </a:lnTo>
                  <a:cubicBezTo>
                    <a:pt x="93458" y="8674"/>
                    <a:pt x="95399" y="6733"/>
                    <a:pt x="95399" y="4337"/>
                  </a:cubicBezTo>
                  <a:cubicBezTo>
                    <a:pt x="95399" y="1941"/>
                    <a:pt x="93458" y="0"/>
                    <a:pt x="91062" y="0"/>
                  </a:cubicBezTo>
                  <a:lnTo>
                    <a:pt x="4337" y="0"/>
                  </a:lnTo>
                  <a:cubicBezTo>
                    <a:pt x="1941" y="0"/>
                    <a:pt x="0" y="1941"/>
                    <a:pt x="0" y="4337"/>
                  </a:cubicBezTo>
                  <a:lnTo>
                    <a:pt x="0" y="91062"/>
                  </a:lnTo>
                  <a:cubicBezTo>
                    <a:pt x="0" y="93458"/>
                    <a:pt x="1941" y="95399"/>
                    <a:pt x="4337" y="95399"/>
                  </a:cubicBezTo>
                  <a:cubicBezTo>
                    <a:pt x="6733" y="95399"/>
                    <a:pt x="8674" y="93458"/>
                    <a:pt x="8674" y="91062"/>
                  </a:cubicBezTo>
                  <a:lnTo>
                    <a:pt x="8674" y="14807"/>
                  </a:lnTo>
                  <a:lnTo>
                    <a:pt x="236694" y="242826"/>
                  </a:lnTo>
                  <a:lnTo>
                    <a:pt x="160439" y="242826"/>
                  </a:lnTo>
                  <a:cubicBezTo>
                    <a:pt x="158043" y="242826"/>
                    <a:pt x="156101" y="244768"/>
                    <a:pt x="156101" y="247163"/>
                  </a:cubicBezTo>
                  <a:cubicBezTo>
                    <a:pt x="156101" y="249560"/>
                    <a:pt x="158043" y="251501"/>
                    <a:pt x="160439" y="251501"/>
                  </a:cubicBezTo>
                  <a:lnTo>
                    <a:pt x="247164" y="251501"/>
                  </a:lnTo>
                  <a:cubicBezTo>
                    <a:pt x="249559" y="251501"/>
                    <a:pt x="251501" y="249560"/>
                    <a:pt x="251501" y="247163"/>
                  </a:cubicBezTo>
                  <a:lnTo>
                    <a:pt x="251501" y="160438"/>
                  </a:lnTo>
                  <a:cubicBezTo>
                    <a:pt x="251495" y="158043"/>
                    <a:pt x="249554" y="156101"/>
                    <a:pt x="247164" y="156101"/>
                  </a:cubicBezTo>
                  <a:close/>
                </a:path>
              </a:pathLst>
            </a:custGeom>
            <a:solidFill>
              <a:schemeClr val="tx2"/>
            </a:solidFill>
            <a:ln w="581" cap="flat">
              <a:noFill/>
              <a:prstDash val="solid"/>
              <a:miter/>
            </a:ln>
          </p:spPr>
          <p:txBody>
            <a:bodyPr rtlCol="0" anchor="ctr"/>
            <a:lstStyle/>
            <a:p>
              <a:endParaRPr lang="en-GB" dirty="0"/>
            </a:p>
          </p:txBody>
        </p:sp>
        <p:sp>
          <p:nvSpPr>
            <p:cNvPr id="133" name="Freihandform: Form 132">
              <a:extLst>
                <a:ext uri="{FF2B5EF4-FFF2-40B4-BE49-F238E27FC236}">
                  <a16:creationId xmlns:a16="http://schemas.microsoft.com/office/drawing/2014/main" id="{DFDF0D2D-924B-4874-8AB7-FCA54016F74D}"/>
                </a:ext>
              </a:extLst>
            </p:cNvPr>
            <p:cNvSpPr>
              <a:spLocks noChangeAspect="1"/>
            </p:cNvSpPr>
            <p:nvPr/>
          </p:nvSpPr>
          <p:spPr>
            <a:xfrm>
              <a:off x="1898921" y="1624060"/>
              <a:ext cx="251496" cy="234147"/>
            </a:xfrm>
            <a:custGeom>
              <a:avLst/>
              <a:gdLst>
                <a:gd name="connsiteX0" fmla="*/ 247159 w 251496"/>
                <a:gd name="connsiteY0" fmla="*/ 112743 h 234147"/>
                <a:gd name="connsiteX1" fmla="*/ 14802 w 251496"/>
                <a:gd name="connsiteY1" fmla="*/ 112743 h 234147"/>
                <a:gd name="connsiteX2" fmla="*/ 120141 w 251496"/>
                <a:gd name="connsiteY2" fmla="*/ 7405 h 234147"/>
                <a:gd name="connsiteX3" fmla="*/ 120141 w 251496"/>
                <a:gd name="connsiteY3" fmla="*/ 1272 h 234147"/>
                <a:gd name="connsiteX4" fmla="*/ 114008 w 251496"/>
                <a:gd name="connsiteY4" fmla="*/ 1272 h 234147"/>
                <a:gd name="connsiteX5" fmla="*/ 1272 w 251496"/>
                <a:gd name="connsiteY5" fmla="*/ 114008 h 234147"/>
                <a:gd name="connsiteX6" fmla="*/ 1272 w 251496"/>
                <a:gd name="connsiteY6" fmla="*/ 120141 h 234147"/>
                <a:gd name="connsiteX7" fmla="*/ 114008 w 251496"/>
                <a:gd name="connsiteY7" fmla="*/ 232877 h 234147"/>
                <a:gd name="connsiteX8" fmla="*/ 117075 w 251496"/>
                <a:gd name="connsiteY8" fmla="*/ 234148 h 234147"/>
                <a:gd name="connsiteX9" fmla="*/ 120141 w 251496"/>
                <a:gd name="connsiteY9" fmla="*/ 232877 h 234147"/>
                <a:gd name="connsiteX10" fmla="*/ 120141 w 251496"/>
                <a:gd name="connsiteY10" fmla="*/ 226744 h 234147"/>
                <a:gd name="connsiteX11" fmla="*/ 14802 w 251496"/>
                <a:gd name="connsiteY11" fmla="*/ 121406 h 234147"/>
                <a:gd name="connsiteX12" fmla="*/ 247159 w 251496"/>
                <a:gd name="connsiteY12" fmla="*/ 121406 h 234147"/>
                <a:gd name="connsiteX13" fmla="*/ 251496 w 251496"/>
                <a:gd name="connsiteY13" fmla="*/ 117069 h 234147"/>
                <a:gd name="connsiteX14" fmla="*/ 247159 w 251496"/>
                <a:gd name="connsiteY14" fmla="*/ 112743 h 234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1496" h="234147">
                  <a:moveTo>
                    <a:pt x="247159" y="112743"/>
                  </a:moveTo>
                  <a:lnTo>
                    <a:pt x="14802" y="112743"/>
                  </a:lnTo>
                  <a:lnTo>
                    <a:pt x="120141" y="7405"/>
                  </a:lnTo>
                  <a:cubicBezTo>
                    <a:pt x="121837" y="5709"/>
                    <a:pt x="121837" y="2969"/>
                    <a:pt x="120141" y="1272"/>
                  </a:cubicBezTo>
                  <a:cubicBezTo>
                    <a:pt x="118445" y="-424"/>
                    <a:pt x="115705" y="-424"/>
                    <a:pt x="114008" y="1272"/>
                  </a:cubicBezTo>
                  <a:lnTo>
                    <a:pt x="1272" y="114008"/>
                  </a:lnTo>
                  <a:cubicBezTo>
                    <a:pt x="-424" y="115705"/>
                    <a:pt x="-424" y="118445"/>
                    <a:pt x="1272" y="120141"/>
                  </a:cubicBezTo>
                  <a:lnTo>
                    <a:pt x="114008" y="232877"/>
                  </a:lnTo>
                  <a:cubicBezTo>
                    <a:pt x="114854" y="233722"/>
                    <a:pt x="115967" y="234148"/>
                    <a:pt x="117075" y="234148"/>
                  </a:cubicBezTo>
                  <a:cubicBezTo>
                    <a:pt x="118182" y="234148"/>
                    <a:pt x="119296" y="233722"/>
                    <a:pt x="120141" y="232877"/>
                  </a:cubicBezTo>
                  <a:cubicBezTo>
                    <a:pt x="121837" y="231181"/>
                    <a:pt x="121837" y="228441"/>
                    <a:pt x="120141" y="226744"/>
                  </a:cubicBezTo>
                  <a:lnTo>
                    <a:pt x="14802" y="121406"/>
                  </a:lnTo>
                  <a:lnTo>
                    <a:pt x="247159" y="121406"/>
                  </a:lnTo>
                  <a:cubicBezTo>
                    <a:pt x="249555" y="121406"/>
                    <a:pt x="251496" y="119465"/>
                    <a:pt x="251496" y="117069"/>
                  </a:cubicBezTo>
                  <a:cubicBezTo>
                    <a:pt x="251491" y="114685"/>
                    <a:pt x="249549" y="112743"/>
                    <a:pt x="247159" y="112743"/>
                  </a:cubicBezTo>
                  <a:close/>
                </a:path>
              </a:pathLst>
            </a:custGeom>
            <a:solidFill>
              <a:schemeClr val="tx2"/>
            </a:solidFill>
            <a:ln w="581" cap="flat">
              <a:noFill/>
              <a:prstDash val="solid"/>
              <a:miter/>
            </a:ln>
          </p:spPr>
          <p:txBody>
            <a:bodyPr rtlCol="0" anchor="ctr"/>
            <a:lstStyle/>
            <a:p>
              <a:endParaRPr lang="en-GB" dirty="0"/>
            </a:p>
          </p:txBody>
        </p:sp>
        <p:sp>
          <p:nvSpPr>
            <p:cNvPr id="140" name="Freihandform: Form 139">
              <a:extLst>
                <a:ext uri="{FF2B5EF4-FFF2-40B4-BE49-F238E27FC236}">
                  <a16:creationId xmlns:a16="http://schemas.microsoft.com/office/drawing/2014/main" id="{85627F20-1893-4D68-B6D8-8DE290FBD871}"/>
                </a:ext>
              </a:extLst>
            </p:cNvPr>
            <p:cNvSpPr>
              <a:spLocks noChangeAspect="1"/>
            </p:cNvSpPr>
            <p:nvPr/>
          </p:nvSpPr>
          <p:spPr>
            <a:xfrm>
              <a:off x="1907589" y="2086133"/>
              <a:ext cx="234161" cy="121413"/>
            </a:xfrm>
            <a:custGeom>
              <a:avLst/>
              <a:gdLst>
                <a:gd name="connsiteX0" fmla="*/ 7405 w 234161"/>
                <a:gd name="connsiteY0" fmla="*/ 120141 h 121413"/>
                <a:gd name="connsiteX1" fmla="*/ 117081 w 234161"/>
                <a:gd name="connsiteY1" fmla="*/ 10465 h 121413"/>
                <a:gd name="connsiteX2" fmla="*/ 226756 w 234161"/>
                <a:gd name="connsiteY2" fmla="*/ 120141 h 121413"/>
                <a:gd name="connsiteX3" fmla="*/ 229822 w 234161"/>
                <a:gd name="connsiteY3" fmla="*/ 121412 h 121413"/>
                <a:gd name="connsiteX4" fmla="*/ 232889 w 234161"/>
                <a:gd name="connsiteY4" fmla="*/ 120141 h 121413"/>
                <a:gd name="connsiteX5" fmla="*/ 232889 w 234161"/>
                <a:gd name="connsiteY5" fmla="*/ 114008 h 121413"/>
                <a:gd name="connsiteX6" fmla="*/ 120147 w 234161"/>
                <a:gd name="connsiteY6" fmla="*/ 1272 h 121413"/>
                <a:gd name="connsiteX7" fmla="*/ 114014 w 234161"/>
                <a:gd name="connsiteY7" fmla="*/ 1272 h 121413"/>
                <a:gd name="connsiteX8" fmla="*/ 1272 w 234161"/>
                <a:gd name="connsiteY8" fmla="*/ 114008 h 121413"/>
                <a:gd name="connsiteX9" fmla="*/ 1272 w 234161"/>
                <a:gd name="connsiteY9" fmla="*/ 120141 h 121413"/>
                <a:gd name="connsiteX10" fmla="*/ 7405 w 234161"/>
                <a:gd name="connsiteY10" fmla="*/ 120141 h 121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161" h="121413">
                  <a:moveTo>
                    <a:pt x="7405" y="120141"/>
                  </a:moveTo>
                  <a:lnTo>
                    <a:pt x="117081" y="10465"/>
                  </a:lnTo>
                  <a:lnTo>
                    <a:pt x="226756" y="120141"/>
                  </a:lnTo>
                  <a:cubicBezTo>
                    <a:pt x="227601" y="120986"/>
                    <a:pt x="228715" y="121412"/>
                    <a:pt x="229822" y="121412"/>
                  </a:cubicBezTo>
                  <a:cubicBezTo>
                    <a:pt x="230930" y="121412"/>
                    <a:pt x="232043" y="120986"/>
                    <a:pt x="232889" y="120141"/>
                  </a:cubicBezTo>
                  <a:cubicBezTo>
                    <a:pt x="234585" y="118445"/>
                    <a:pt x="234585" y="115705"/>
                    <a:pt x="232889" y="114008"/>
                  </a:cubicBezTo>
                  <a:lnTo>
                    <a:pt x="120147" y="1272"/>
                  </a:lnTo>
                  <a:cubicBezTo>
                    <a:pt x="118450" y="-424"/>
                    <a:pt x="115711" y="-424"/>
                    <a:pt x="114014" y="1272"/>
                  </a:cubicBezTo>
                  <a:lnTo>
                    <a:pt x="1272" y="114008"/>
                  </a:lnTo>
                  <a:cubicBezTo>
                    <a:pt x="-424" y="115705"/>
                    <a:pt x="-424" y="118445"/>
                    <a:pt x="1272" y="120141"/>
                  </a:cubicBezTo>
                  <a:cubicBezTo>
                    <a:pt x="2969" y="121837"/>
                    <a:pt x="5709" y="121837"/>
                    <a:pt x="7405" y="120141"/>
                  </a:cubicBezTo>
                  <a:close/>
                </a:path>
              </a:pathLst>
            </a:custGeom>
            <a:solidFill>
              <a:schemeClr val="tx2"/>
            </a:solidFill>
            <a:ln w="581" cap="flat">
              <a:noFill/>
              <a:prstDash val="solid"/>
              <a:miter/>
            </a:ln>
          </p:spPr>
          <p:txBody>
            <a:bodyPr rtlCol="0" anchor="ctr"/>
            <a:lstStyle/>
            <a:p>
              <a:endParaRPr lang="en-GB" dirty="0"/>
            </a:p>
          </p:txBody>
        </p:sp>
        <p:sp>
          <p:nvSpPr>
            <p:cNvPr id="150" name="Freihandform: Form 149">
              <a:extLst>
                <a:ext uri="{FF2B5EF4-FFF2-40B4-BE49-F238E27FC236}">
                  <a16:creationId xmlns:a16="http://schemas.microsoft.com/office/drawing/2014/main" id="{3AD39224-068E-49A5-BC5E-6AF1A581F052}"/>
                </a:ext>
              </a:extLst>
            </p:cNvPr>
            <p:cNvSpPr>
              <a:spLocks noChangeAspect="1"/>
            </p:cNvSpPr>
            <p:nvPr/>
          </p:nvSpPr>
          <p:spPr>
            <a:xfrm>
              <a:off x="1898922" y="2817100"/>
              <a:ext cx="251494" cy="251494"/>
            </a:xfrm>
            <a:custGeom>
              <a:avLst/>
              <a:gdLst>
                <a:gd name="connsiteX0" fmla="*/ 150499 w 251494"/>
                <a:gd name="connsiteY0" fmla="*/ 55223 h 251494"/>
                <a:gd name="connsiteX1" fmla="*/ 79980 w 251494"/>
                <a:gd name="connsiteY1" fmla="*/ 125742 h 251494"/>
                <a:gd name="connsiteX2" fmla="*/ 150499 w 251494"/>
                <a:gd name="connsiteY2" fmla="*/ 196261 h 251494"/>
                <a:gd name="connsiteX3" fmla="*/ 150499 w 251494"/>
                <a:gd name="connsiteY3" fmla="*/ 202393 h 251494"/>
                <a:gd name="connsiteX4" fmla="*/ 147433 w 251494"/>
                <a:gd name="connsiteY4" fmla="*/ 203664 h 251494"/>
                <a:gd name="connsiteX5" fmla="*/ 144367 w 251494"/>
                <a:gd name="connsiteY5" fmla="*/ 202393 h 251494"/>
                <a:gd name="connsiteX6" fmla="*/ 70781 w 251494"/>
                <a:gd name="connsiteY6" fmla="*/ 128808 h 251494"/>
                <a:gd name="connsiteX7" fmla="*/ 70781 w 251494"/>
                <a:gd name="connsiteY7" fmla="*/ 122675 h 251494"/>
                <a:gd name="connsiteX8" fmla="*/ 144367 w 251494"/>
                <a:gd name="connsiteY8" fmla="*/ 49090 h 251494"/>
                <a:gd name="connsiteX9" fmla="*/ 150499 w 251494"/>
                <a:gd name="connsiteY9" fmla="*/ 49090 h 251494"/>
                <a:gd name="connsiteX10" fmla="*/ 150499 w 251494"/>
                <a:gd name="connsiteY10" fmla="*/ 55223 h 251494"/>
                <a:gd name="connsiteX11" fmla="*/ 251495 w 251494"/>
                <a:gd name="connsiteY11" fmla="*/ 125748 h 251494"/>
                <a:gd name="connsiteX12" fmla="*/ 125747 w 251494"/>
                <a:gd name="connsiteY12" fmla="*/ 251495 h 251494"/>
                <a:gd name="connsiteX13" fmla="*/ 0 w 251494"/>
                <a:gd name="connsiteY13" fmla="*/ 125748 h 251494"/>
                <a:gd name="connsiteX14" fmla="*/ 125747 w 251494"/>
                <a:gd name="connsiteY14" fmla="*/ 0 h 251494"/>
                <a:gd name="connsiteX15" fmla="*/ 251495 w 251494"/>
                <a:gd name="connsiteY15" fmla="*/ 125748 h 251494"/>
                <a:gd name="connsiteX16" fmla="*/ 242827 w 251494"/>
                <a:gd name="connsiteY16" fmla="*/ 125748 h 251494"/>
                <a:gd name="connsiteX17" fmla="*/ 125753 w 251494"/>
                <a:gd name="connsiteY17" fmla="*/ 8674 h 251494"/>
                <a:gd name="connsiteX18" fmla="*/ 8680 w 251494"/>
                <a:gd name="connsiteY18" fmla="*/ 125748 h 251494"/>
                <a:gd name="connsiteX19" fmla="*/ 125753 w 251494"/>
                <a:gd name="connsiteY19" fmla="*/ 242821 h 251494"/>
                <a:gd name="connsiteX20" fmla="*/ 242827 w 251494"/>
                <a:gd name="connsiteY20" fmla="*/ 125748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494" h="251494">
                  <a:moveTo>
                    <a:pt x="150499" y="55223"/>
                  </a:moveTo>
                  <a:lnTo>
                    <a:pt x="79980" y="125742"/>
                  </a:lnTo>
                  <a:lnTo>
                    <a:pt x="150499" y="196261"/>
                  </a:lnTo>
                  <a:cubicBezTo>
                    <a:pt x="152196" y="197957"/>
                    <a:pt x="152196" y="200697"/>
                    <a:pt x="150499" y="202393"/>
                  </a:cubicBezTo>
                  <a:cubicBezTo>
                    <a:pt x="149654" y="203239"/>
                    <a:pt x="148541" y="203664"/>
                    <a:pt x="147433" y="203664"/>
                  </a:cubicBezTo>
                  <a:cubicBezTo>
                    <a:pt x="146325" y="203664"/>
                    <a:pt x="145212" y="203239"/>
                    <a:pt x="144367" y="202393"/>
                  </a:cubicBezTo>
                  <a:lnTo>
                    <a:pt x="70781" y="128808"/>
                  </a:lnTo>
                  <a:cubicBezTo>
                    <a:pt x="69085" y="127112"/>
                    <a:pt x="69085" y="124372"/>
                    <a:pt x="70781" y="122675"/>
                  </a:cubicBezTo>
                  <a:lnTo>
                    <a:pt x="144367" y="49090"/>
                  </a:lnTo>
                  <a:cubicBezTo>
                    <a:pt x="146063" y="47394"/>
                    <a:pt x="148803" y="47394"/>
                    <a:pt x="150499" y="49090"/>
                  </a:cubicBezTo>
                  <a:cubicBezTo>
                    <a:pt x="152190" y="50786"/>
                    <a:pt x="152190" y="53532"/>
                    <a:pt x="150499" y="55223"/>
                  </a:cubicBezTo>
                  <a:close/>
                  <a:moveTo>
                    <a:pt x="251495" y="125748"/>
                  </a:moveTo>
                  <a:cubicBezTo>
                    <a:pt x="251495" y="195083"/>
                    <a:pt x="195083" y="251495"/>
                    <a:pt x="125747" y="251495"/>
                  </a:cubicBezTo>
                  <a:cubicBezTo>
                    <a:pt x="56412" y="251495"/>
                    <a:pt x="0" y="195083"/>
                    <a:pt x="0" y="125748"/>
                  </a:cubicBezTo>
                  <a:cubicBezTo>
                    <a:pt x="0" y="56412"/>
                    <a:pt x="56412" y="0"/>
                    <a:pt x="125747" y="0"/>
                  </a:cubicBezTo>
                  <a:cubicBezTo>
                    <a:pt x="195089" y="0"/>
                    <a:pt x="251495" y="56406"/>
                    <a:pt x="251495" y="125748"/>
                  </a:cubicBezTo>
                  <a:close/>
                  <a:moveTo>
                    <a:pt x="242827" y="125748"/>
                  </a:moveTo>
                  <a:cubicBezTo>
                    <a:pt x="242827" y="61192"/>
                    <a:pt x="190309" y="8674"/>
                    <a:pt x="125753" y="8674"/>
                  </a:cubicBezTo>
                  <a:cubicBezTo>
                    <a:pt x="61198" y="8674"/>
                    <a:pt x="8680" y="61192"/>
                    <a:pt x="8680" y="125748"/>
                  </a:cubicBezTo>
                  <a:cubicBezTo>
                    <a:pt x="8680" y="190303"/>
                    <a:pt x="61198" y="242821"/>
                    <a:pt x="125753" y="242821"/>
                  </a:cubicBezTo>
                  <a:cubicBezTo>
                    <a:pt x="190303" y="242821"/>
                    <a:pt x="242827" y="190303"/>
                    <a:pt x="242827" y="125748"/>
                  </a:cubicBezTo>
                  <a:close/>
                </a:path>
              </a:pathLst>
            </a:custGeom>
            <a:solidFill>
              <a:schemeClr val="tx2"/>
            </a:solidFill>
            <a:ln w="581" cap="flat">
              <a:noFill/>
              <a:prstDash val="solid"/>
              <a:miter/>
            </a:ln>
          </p:spPr>
          <p:txBody>
            <a:bodyPr rtlCol="0" anchor="ctr"/>
            <a:lstStyle/>
            <a:p>
              <a:endParaRPr lang="en-GB" dirty="0"/>
            </a:p>
          </p:txBody>
        </p:sp>
        <p:sp>
          <p:nvSpPr>
            <p:cNvPr id="154" name="Freihandform: Form 153">
              <a:extLst>
                <a:ext uri="{FF2B5EF4-FFF2-40B4-BE49-F238E27FC236}">
                  <a16:creationId xmlns:a16="http://schemas.microsoft.com/office/drawing/2014/main" id="{7F04C7B1-62F9-475E-BEA8-21E8CCACBE9C}"/>
                </a:ext>
              </a:extLst>
            </p:cNvPr>
            <p:cNvSpPr>
              <a:spLocks noChangeAspect="1"/>
            </p:cNvSpPr>
            <p:nvPr/>
          </p:nvSpPr>
          <p:spPr>
            <a:xfrm>
              <a:off x="1940112" y="2416507"/>
              <a:ext cx="169115" cy="234159"/>
            </a:xfrm>
            <a:custGeom>
              <a:avLst/>
              <a:gdLst>
                <a:gd name="connsiteX0" fmla="*/ 120147 w 169115"/>
                <a:gd name="connsiteY0" fmla="*/ 1272 h 234159"/>
                <a:gd name="connsiteX1" fmla="*/ 120147 w 169115"/>
                <a:gd name="connsiteY1" fmla="*/ 7405 h 234159"/>
                <a:gd name="connsiteX2" fmla="*/ 10471 w 169115"/>
                <a:gd name="connsiteY2" fmla="*/ 117080 h 234159"/>
                <a:gd name="connsiteX3" fmla="*/ 120147 w 169115"/>
                <a:gd name="connsiteY3" fmla="*/ 226756 h 234159"/>
                <a:gd name="connsiteX4" fmla="*/ 120147 w 169115"/>
                <a:gd name="connsiteY4" fmla="*/ 232889 h 234159"/>
                <a:gd name="connsiteX5" fmla="*/ 117081 w 169115"/>
                <a:gd name="connsiteY5" fmla="*/ 234159 h 234159"/>
                <a:gd name="connsiteX6" fmla="*/ 114014 w 169115"/>
                <a:gd name="connsiteY6" fmla="*/ 232889 h 234159"/>
                <a:gd name="connsiteX7" fmla="*/ 1272 w 169115"/>
                <a:gd name="connsiteY7" fmla="*/ 120147 h 234159"/>
                <a:gd name="connsiteX8" fmla="*/ 1272 w 169115"/>
                <a:gd name="connsiteY8" fmla="*/ 114014 h 234159"/>
                <a:gd name="connsiteX9" fmla="*/ 114014 w 169115"/>
                <a:gd name="connsiteY9" fmla="*/ 1278 h 234159"/>
                <a:gd name="connsiteX10" fmla="*/ 120147 w 169115"/>
                <a:gd name="connsiteY10" fmla="*/ 1272 h 234159"/>
                <a:gd name="connsiteX11" fmla="*/ 167844 w 169115"/>
                <a:gd name="connsiteY11" fmla="*/ 1272 h 234159"/>
                <a:gd name="connsiteX12" fmla="*/ 161711 w 169115"/>
                <a:gd name="connsiteY12" fmla="*/ 1272 h 234159"/>
                <a:gd name="connsiteX13" fmla="*/ 48975 w 169115"/>
                <a:gd name="connsiteY13" fmla="*/ 114008 h 234159"/>
                <a:gd name="connsiteX14" fmla="*/ 48975 w 169115"/>
                <a:gd name="connsiteY14" fmla="*/ 120141 h 234159"/>
                <a:gd name="connsiteX15" fmla="*/ 161711 w 169115"/>
                <a:gd name="connsiteY15" fmla="*/ 232883 h 234159"/>
                <a:gd name="connsiteX16" fmla="*/ 164777 w 169115"/>
                <a:gd name="connsiteY16" fmla="*/ 234154 h 234159"/>
                <a:gd name="connsiteX17" fmla="*/ 167844 w 169115"/>
                <a:gd name="connsiteY17" fmla="*/ 232883 h 234159"/>
                <a:gd name="connsiteX18" fmla="*/ 167844 w 169115"/>
                <a:gd name="connsiteY18" fmla="*/ 226750 h 234159"/>
                <a:gd name="connsiteX19" fmla="*/ 58168 w 169115"/>
                <a:gd name="connsiteY19" fmla="*/ 117075 h 234159"/>
                <a:gd name="connsiteX20" fmla="*/ 167844 w 169115"/>
                <a:gd name="connsiteY20" fmla="*/ 7399 h 234159"/>
                <a:gd name="connsiteX21" fmla="*/ 167844 w 169115"/>
                <a:gd name="connsiteY21" fmla="*/ 1272 h 23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9115" h="234159">
                  <a:moveTo>
                    <a:pt x="120147" y="1272"/>
                  </a:moveTo>
                  <a:cubicBezTo>
                    <a:pt x="121843" y="2969"/>
                    <a:pt x="121843" y="5708"/>
                    <a:pt x="120147" y="7405"/>
                  </a:cubicBezTo>
                  <a:lnTo>
                    <a:pt x="10471" y="117080"/>
                  </a:lnTo>
                  <a:lnTo>
                    <a:pt x="120147" y="226756"/>
                  </a:lnTo>
                  <a:cubicBezTo>
                    <a:pt x="121843" y="228452"/>
                    <a:pt x="121843" y="231192"/>
                    <a:pt x="120147" y="232889"/>
                  </a:cubicBezTo>
                  <a:cubicBezTo>
                    <a:pt x="119302" y="233734"/>
                    <a:pt x="118188" y="234159"/>
                    <a:pt x="117081" y="234159"/>
                  </a:cubicBezTo>
                  <a:cubicBezTo>
                    <a:pt x="115973" y="234159"/>
                    <a:pt x="114859" y="233734"/>
                    <a:pt x="114014" y="232889"/>
                  </a:cubicBezTo>
                  <a:lnTo>
                    <a:pt x="1272" y="120147"/>
                  </a:lnTo>
                  <a:cubicBezTo>
                    <a:pt x="-424" y="118450"/>
                    <a:pt x="-424" y="115711"/>
                    <a:pt x="1272" y="114014"/>
                  </a:cubicBezTo>
                  <a:lnTo>
                    <a:pt x="114014" y="1278"/>
                  </a:lnTo>
                  <a:cubicBezTo>
                    <a:pt x="115711" y="-424"/>
                    <a:pt x="118450" y="-424"/>
                    <a:pt x="120147" y="1272"/>
                  </a:cubicBezTo>
                  <a:close/>
                  <a:moveTo>
                    <a:pt x="167844" y="1272"/>
                  </a:moveTo>
                  <a:cubicBezTo>
                    <a:pt x="166147" y="-424"/>
                    <a:pt x="163407" y="-424"/>
                    <a:pt x="161711" y="1272"/>
                  </a:cubicBezTo>
                  <a:lnTo>
                    <a:pt x="48975" y="114008"/>
                  </a:lnTo>
                  <a:cubicBezTo>
                    <a:pt x="47278" y="115705"/>
                    <a:pt x="47278" y="118445"/>
                    <a:pt x="48975" y="120141"/>
                  </a:cubicBezTo>
                  <a:lnTo>
                    <a:pt x="161711" y="232883"/>
                  </a:lnTo>
                  <a:cubicBezTo>
                    <a:pt x="162556" y="233728"/>
                    <a:pt x="163670" y="234154"/>
                    <a:pt x="164777" y="234154"/>
                  </a:cubicBezTo>
                  <a:cubicBezTo>
                    <a:pt x="165885" y="234154"/>
                    <a:pt x="166998" y="233728"/>
                    <a:pt x="167844" y="232883"/>
                  </a:cubicBezTo>
                  <a:cubicBezTo>
                    <a:pt x="169540" y="231186"/>
                    <a:pt x="169540" y="228447"/>
                    <a:pt x="167844" y="226750"/>
                  </a:cubicBezTo>
                  <a:lnTo>
                    <a:pt x="58168" y="117075"/>
                  </a:lnTo>
                  <a:lnTo>
                    <a:pt x="167844" y="7399"/>
                  </a:lnTo>
                  <a:cubicBezTo>
                    <a:pt x="169540" y="5708"/>
                    <a:pt x="169540" y="2963"/>
                    <a:pt x="167844" y="1272"/>
                  </a:cubicBezTo>
                  <a:close/>
                </a:path>
              </a:pathLst>
            </a:custGeom>
            <a:solidFill>
              <a:schemeClr val="tx2"/>
            </a:solidFill>
            <a:ln w="581" cap="flat">
              <a:noFill/>
              <a:prstDash val="solid"/>
              <a:miter/>
            </a:ln>
          </p:spPr>
          <p:txBody>
            <a:bodyPr rtlCol="0" anchor="ctr"/>
            <a:lstStyle/>
            <a:p>
              <a:endParaRPr lang="en-GB" dirty="0"/>
            </a:p>
          </p:txBody>
        </p:sp>
        <p:sp>
          <p:nvSpPr>
            <p:cNvPr id="156" name="Freihandform: Form 155">
              <a:extLst>
                <a:ext uri="{FF2B5EF4-FFF2-40B4-BE49-F238E27FC236}">
                  <a16:creationId xmlns:a16="http://schemas.microsoft.com/office/drawing/2014/main" id="{279243E2-74E4-4C1A-BB05-A18A48FAC1F4}"/>
                </a:ext>
              </a:extLst>
            </p:cNvPr>
            <p:cNvSpPr>
              <a:spLocks noChangeAspect="1"/>
            </p:cNvSpPr>
            <p:nvPr/>
          </p:nvSpPr>
          <p:spPr>
            <a:xfrm>
              <a:off x="1898918" y="3674487"/>
              <a:ext cx="251503" cy="251494"/>
            </a:xfrm>
            <a:custGeom>
              <a:avLst/>
              <a:gdLst>
                <a:gd name="connsiteX0" fmla="*/ 130086 w 251503"/>
                <a:gd name="connsiteY0" fmla="*/ 4337 h 251494"/>
                <a:gd name="connsiteX1" fmla="*/ 130086 w 251503"/>
                <a:gd name="connsiteY1" fmla="*/ 247158 h 251494"/>
                <a:gd name="connsiteX2" fmla="*/ 125749 w 251503"/>
                <a:gd name="connsiteY2" fmla="*/ 251495 h 251494"/>
                <a:gd name="connsiteX3" fmla="*/ 121412 w 251503"/>
                <a:gd name="connsiteY3" fmla="*/ 247158 h 251494"/>
                <a:gd name="connsiteX4" fmla="*/ 121412 w 251503"/>
                <a:gd name="connsiteY4" fmla="*/ 4337 h 251494"/>
                <a:gd name="connsiteX5" fmla="*/ 125749 w 251503"/>
                <a:gd name="connsiteY5" fmla="*/ 0 h 251494"/>
                <a:gd name="connsiteX6" fmla="*/ 130086 w 251503"/>
                <a:gd name="connsiteY6" fmla="*/ 4337 h 251494"/>
                <a:gd name="connsiteX7" fmla="*/ 193860 w 251503"/>
                <a:gd name="connsiteY7" fmla="*/ 57636 h 251494"/>
                <a:gd name="connsiteX8" fmla="*/ 187728 w 251503"/>
                <a:gd name="connsiteY8" fmla="*/ 57636 h 251494"/>
                <a:gd name="connsiteX9" fmla="*/ 187728 w 251503"/>
                <a:gd name="connsiteY9" fmla="*/ 63769 h 251494"/>
                <a:gd name="connsiteX10" fmla="*/ 241032 w 251503"/>
                <a:gd name="connsiteY10" fmla="*/ 117073 h 251494"/>
                <a:gd name="connsiteX11" fmla="*/ 187728 w 251503"/>
                <a:gd name="connsiteY11" fmla="*/ 170378 h 251494"/>
                <a:gd name="connsiteX12" fmla="*/ 187728 w 251503"/>
                <a:gd name="connsiteY12" fmla="*/ 176510 h 251494"/>
                <a:gd name="connsiteX13" fmla="*/ 190794 w 251503"/>
                <a:gd name="connsiteY13" fmla="*/ 177781 h 251494"/>
                <a:gd name="connsiteX14" fmla="*/ 193860 w 251503"/>
                <a:gd name="connsiteY14" fmla="*/ 176510 h 251494"/>
                <a:gd name="connsiteX15" fmla="*/ 250231 w 251503"/>
                <a:gd name="connsiteY15" fmla="*/ 120140 h 251494"/>
                <a:gd name="connsiteX16" fmla="*/ 250231 w 251503"/>
                <a:gd name="connsiteY16" fmla="*/ 114007 h 251494"/>
                <a:gd name="connsiteX17" fmla="*/ 193860 w 251503"/>
                <a:gd name="connsiteY17" fmla="*/ 57636 h 251494"/>
                <a:gd name="connsiteX18" fmla="*/ 57643 w 251503"/>
                <a:gd name="connsiteY18" fmla="*/ 176510 h 251494"/>
                <a:gd name="connsiteX19" fmla="*/ 60710 w 251503"/>
                <a:gd name="connsiteY19" fmla="*/ 177781 h 251494"/>
                <a:gd name="connsiteX20" fmla="*/ 63776 w 251503"/>
                <a:gd name="connsiteY20" fmla="*/ 176510 h 251494"/>
                <a:gd name="connsiteX21" fmla="*/ 63776 w 251503"/>
                <a:gd name="connsiteY21" fmla="*/ 170378 h 251494"/>
                <a:gd name="connsiteX22" fmla="*/ 10471 w 251503"/>
                <a:gd name="connsiteY22" fmla="*/ 117073 h 251494"/>
                <a:gd name="connsiteX23" fmla="*/ 63776 w 251503"/>
                <a:gd name="connsiteY23" fmla="*/ 63769 h 251494"/>
                <a:gd name="connsiteX24" fmla="*/ 63776 w 251503"/>
                <a:gd name="connsiteY24" fmla="*/ 57636 h 251494"/>
                <a:gd name="connsiteX25" fmla="*/ 57643 w 251503"/>
                <a:gd name="connsiteY25" fmla="*/ 57636 h 251494"/>
                <a:gd name="connsiteX26" fmla="*/ 1272 w 251503"/>
                <a:gd name="connsiteY26" fmla="*/ 114007 h 251494"/>
                <a:gd name="connsiteX27" fmla="*/ 1272 w 251503"/>
                <a:gd name="connsiteY27" fmla="*/ 120140 h 251494"/>
                <a:gd name="connsiteX28" fmla="*/ 57643 w 251503"/>
                <a:gd name="connsiteY28" fmla="*/ 176510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1503" h="251494">
                  <a:moveTo>
                    <a:pt x="130086" y="4337"/>
                  </a:moveTo>
                  <a:lnTo>
                    <a:pt x="130086" y="247158"/>
                  </a:lnTo>
                  <a:cubicBezTo>
                    <a:pt x="130086" y="249554"/>
                    <a:pt x="128145" y="251495"/>
                    <a:pt x="125749" y="251495"/>
                  </a:cubicBezTo>
                  <a:cubicBezTo>
                    <a:pt x="123353" y="251495"/>
                    <a:pt x="121412" y="249554"/>
                    <a:pt x="121412" y="247158"/>
                  </a:cubicBezTo>
                  <a:lnTo>
                    <a:pt x="121412" y="4337"/>
                  </a:lnTo>
                  <a:cubicBezTo>
                    <a:pt x="121412" y="1941"/>
                    <a:pt x="123353" y="0"/>
                    <a:pt x="125749" y="0"/>
                  </a:cubicBezTo>
                  <a:cubicBezTo>
                    <a:pt x="128151" y="0"/>
                    <a:pt x="130086" y="1935"/>
                    <a:pt x="130086" y="4337"/>
                  </a:cubicBezTo>
                  <a:close/>
                  <a:moveTo>
                    <a:pt x="193860" y="57636"/>
                  </a:moveTo>
                  <a:cubicBezTo>
                    <a:pt x="192164" y="55940"/>
                    <a:pt x="189424" y="55940"/>
                    <a:pt x="187728" y="57636"/>
                  </a:cubicBezTo>
                  <a:cubicBezTo>
                    <a:pt x="186031" y="59332"/>
                    <a:pt x="186031" y="62072"/>
                    <a:pt x="187728" y="63769"/>
                  </a:cubicBezTo>
                  <a:lnTo>
                    <a:pt x="241032" y="117073"/>
                  </a:lnTo>
                  <a:lnTo>
                    <a:pt x="187728" y="170378"/>
                  </a:lnTo>
                  <a:cubicBezTo>
                    <a:pt x="186031" y="172074"/>
                    <a:pt x="186031" y="174814"/>
                    <a:pt x="187728" y="176510"/>
                  </a:cubicBezTo>
                  <a:cubicBezTo>
                    <a:pt x="188573" y="177356"/>
                    <a:pt x="189686" y="177781"/>
                    <a:pt x="190794" y="177781"/>
                  </a:cubicBezTo>
                  <a:cubicBezTo>
                    <a:pt x="191902" y="177781"/>
                    <a:pt x="193015" y="177356"/>
                    <a:pt x="193860" y="176510"/>
                  </a:cubicBezTo>
                  <a:lnTo>
                    <a:pt x="250231" y="120140"/>
                  </a:lnTo>
                  <a:cubicBezTo>
                    <a:pt x="251928" y="118443"/>
                    <a:pt x="251928" y="115703"/>
                    <a:pt x="250231" y="114007"/>
                  </a:cubicBezTo>
                  <a:lnTo>
                    <a:pt x="193860" y="57636"/>
                  </a:lnTo>
                  <a:close/>
                  <a:moveTo>
                    <a:pt x="57643" y="176510"/>
                  </a:moveTo>
                  <a:cubicBezTo>
                    <a:pt x="58489" y="177356"/>
                    <a:pt x="59602" y="177781"/>
                    <a:pt x="60710" y="177781"/>
                  </a:cubicBezTo>
                  <a:cubicBezTo>
                    <a:pt x="61817" y="177781"/>
                    <a:pt x="62931" y="177356"/>
                    <a:pt x="63776" y="176510"/>
                  </a:cubicBezTo>
                  <a:cubicBezTo>
                    <a:pt x="65472" y="174814"/>
                    <a:pt x="65472" y="172074"/>
                    <a:pt x="63776" y="170378"/>
                  </a:cubicBezTo>
                  <a:lnTo>
                    <a:pt x="10471" y="117073"/>
                  </a:lnTo>
                  <a:lnTo>
                    <a:pt x="63776" y="63769"/>
                  </a:lnTo>
                  <a:cubicBezTo>
                    <a:pt x="65472" y="62072"/>
                    <a:pt x="65472" y="59332"/>
                    <a:pt x="63776" y="57636"/>
                  </a:cubicBezTo>
                  <a:cubicBezTo>
                    <a:pt x="62080" y="55940"/>
                    <a:pt x="59340" y="55940"/>
                    <a:pt x="57643" y="57636"/>
                  </a:cubicBezTo>
                  <a:lnTo>
                    <a:pt x="1272" y="114007"/>
                  </a:lnTo>
                  <a:cubicBezTo>
                    <a:pt x="-424" y="115703"/>
                    <a:pt x="-424" y="118443"/>
                    <a:pt x="1272" y="120140"/>
                  </a:cubicBezTo>
                  <a:lnTo>
                    <a:pt x="57643" y="176510"/>
                  </a:lnTo>
                  <a:close/>
                </a:path>
              </a:pathLst>
            </a:custGeom>
            <a:solidFill>
              <a:schemeClr val="tx2"/>
            </a:solidFill>
            <a:ln w="581" cap="flat">
              <a:noFill/>
              <a:prstDash val="solid"/>
              <a:miter/>
            </a:ln>
          </p:spPr>
          <p:txBody>
            <a:bodyPr rtlCol="0" anchor="ctr"/>
            <a:lstStyle/>
            <a:p>
              <a:endParaRPr lang="en-GB" dirty="0"/>
            </a:p>
          </p:txBody>
        </p:sp>
        <p:sp>
          <p:nvSpPr>
            <p:cNvPr id="158" name="Freihandform: Form 157">
              <a:extLst>
                <a:ext uri="{FF2B5EF4-FFF2-40B4-BE49-F238E27FC236}">
                  <a16:creationId xmlns:a16="http://schemas.microsoft.com/office/drawing/2014/main" id="{CDC46515-FD6C-492C-A8FA-03BB38E04A97}"/>
                </a:ext>
              </a:extLst>
            </p:cNvPr>
            <p:cNvSpPr>
              <a:spLocks noChangeAspect="1"/>
            </p:cNvSpPr>
            <p:nvPr/>
          </p:nvSpPr>
          <p:spPr>
            <a:xfrm>
              <a:off x="1959626" y="3227889"/>
              <a:ext cx="130086" cy="251494"/>
            </a:xfrm>
            <a:custGeom>
              <a:avLst/>
              <a:gdLst>
                <a:gd name="connsiteX0" fmla="*/ 4337 w 130086"/>
                <a:gd name="connsiteY0" fmla="*/ 251495 h 251494"/>
                <a:gd name="connsiteX1" fmla="*/ 0 w 130086"/>
                <a:gd name="connsiteY1" fmla="*/ 247158 h 251494"/>
                <a:gd name="connsiteX2" fmla="*/ 0 w 130086"/>
                <a:gd name="connsiteY2" fmla="*/ 4337 h 251494"/>
                <a:gd name="connsiteX3" fmla="*/ 4337 w 130086"/>
                <a:gd name="connsiteY3" fmla="*/ 0 h 251494"/>
                <a:gd name="connsiteX4" fmla="*/ 8674 w 130086"/>
                <a:gd name="connsiteY4" fmla="*/ 4337 h 251494"/>
                <a:gd name="connsiteX5" fmla="*/ 8674 w 130086"/>
                <a:gd name="connsiteY5" fmla="*/ 247158 h 251494"/>
                <a:gd name="connsiteX6" fmla="*/ 4337 w 130086"/>
                <a:gd name="connsiteY6" fmla="*/ 251495 h 251494"/>
                <a:gd name="connsiteX7" fmla="*/ 72443 w 130086"/>
                <a:gd name="connsiteY7" fmla="*/ 57642 h 251494"/>
                <a:gd name="connsiteX8" fmla="*/ 66310 w 130086"/>
                <a:gd name="connsiteY8" fmla="*/ 57642 h 251494"/>
                <a:gd name="connsiteX9" fmla="*/ 66310 w 130086"/>
                <a:gd name="connsiteY9" fmla="*/ 63774 h 251494"/>
                <a:gd name="connsiteX10" fmla="*/ 119615 w 130086"/>
                <a:gd name="connsiteY10" fmla="*/ 117079 h 251494"/>
                <a:gd name="connsiteX11" fmla="*/ 66310 w 130086"/>
                <a:gd name="connsiteY11" fmla="*/ 170384 h 251494"/>
                <a:gd name="connsiteX12" fmla="*/ 66310 w 130086"/>
                <a:gd name="connsiteY12" fmla="*/ 176516 h 251494"/>
                <a:gd name="connsiteX13" fmla="*/ 69376 w 130086"/>
                <a:gd name="connsiteY13" fmla="*/ 177787 h 251494"/>
                <a:gd name="connsiteX14" fmla="*/ 72443 w 130086"/>
                <a:gd name="connsiteY14" fmla="*/ 176516 h 251494"/>
                <a:gd name="connsiteX15" fmla="*/ 128814 w 130086"/>
                <a:gd name="connsiteY15" fmla="*/ 120145 h 251494"/>
                <a:gd name="connsiteX16" fmla="*/ 128814 w 130086"/>
                <a:gd name="connsiteY16" fmla="*/ 114013 h 251494"/>
                <a:gd name="connsiteX17" fmla="*/ 72443 w 130086"/>
                <a:gd name="connsiteY17" fmla="*/ 57642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0086" h="251494">
                  <a:moveTo>
                    <a:pt x="4337" y="251495"/>
                  </a:moveTo>
                  <a:cubicBezTo>
                    <a:pt x="1941" y="251495"/>
                    <a:pt x="0" y="249554"/>
                    <a:pt x="0" y="247158"/>
                  </a:cubicBezTo>
                  <a:lnTo>
                    <a:pt x="0" y="4337"/>
                  </a:lnTo>
                  <a:cubicBezTo>
                    <a:pt x="0" y="1941"/>
                    <a:pt x="1941" y="0"/>
                    <a:pt x="4337" y="0"/>
                  </a:cubicBezTo>
                  <a:cubicBezTo>
                    <a:pt x="6733" y="0"/>
                    <a:pt x="8674" y="1941"/>
                    <a:pt x="8674" y="4337"/>
                  </a:cubicBezTo>
                  <a:lnTo>
                    <a:pt x="8674" y="247158"/>
                  </a:lnTo>
                  <a:cubicBezTo>
                    <a:pt x="8674" y="249554"/>
                    <a:pt x="6733" y="251495"/>
                    <a:pt x="4337" y="251495"/>
                  </a:cubicBezTo>
                  <a:close/>
                  <a:moveTo>
                    <a:pt x="72443" y="57642"/>
                  </a:moveTo>
                  <a:cubicBezTo>
                    <a:pt x="70746" y="55945"/>
                    <a:pt x="68007" y="55945"/>
                    <a:pt x="66310" y="57642"/>
                  </a:cubicBezTo>
                  <a:cubicBezTo>
                    <a:pt x="64614" y="59338"/>
                    <a:pt x="64614" y="62078"/>
                    <a:pt x="66310" y="63774"/>
                  </a:cubicBezTo>
                  <a:lnTo>
                    <a:pt x="119615" y="117079"/>
                  </a:lnTo>
                  <a:lnTo>
                    <a:pt x="66310" y="170384"/>
                  </a:lnTo>
                  <a:cubicBezTo>
                    <a:pt x="64614" y="172080"/>
                    <a:pt x="64614" y="174820"/>
                    <a:pt x="66310" y="176516"/>
                  </a:cubicBezTo>
                  <a:cubicBezTo>
                    <a:pt x="67156" y="177362"/>
                    <a:pt x="68269" y="177787"/>
                    <a:pt x="69376" y="177787"/>
                  </a:cubicBezTo>
                  <a:cubicBezTo>
                    <a:pt x="70484" y="177787"/>
                    <a:pt x="71598" y="177362"/>
                    <a:pt x="72443" y="176516"/>
                  </a:cubicBezTo>
                  <a:lnTo>
                    <a:pt x="128814" y="120145"/>
                  </a:lnTo>
                  <a:cubicBezTo>
                    <a:pt x="130510" y="118449"/>
                    <a:pt x="130510" y="115709"/>
                    <a:pt x="128814" y="114013"/>
                  </a:cubicBezTo>
                  <a:lnTo>
                    <a:pt x="72443" y="57642"/>
                  </a:lnTo>
                  <a:close/>
                </a:path>
              </a:pathLst>
            </a:custGeom>
            <a:solidFill>
              <a:schemeClr val="tx2"/>
            </a:solidFill>
            <a:ln w="581" cap="flat">
              <a:noFill/>
              <a:prstDash val="solid"/>
              <a:miter/>
            </a:ln>
          </p:spPr>
          <p:txBody>
            <a:bodyPr rtlCol="0" anchor="ctr"/>
            <a:lstStyle/>
            <a:p>
              <a:endParaRPr lang="en-GB" dirty="0"/>
            </a:p>
          </p:txBody>
        </p:sp>
        <p:sp>
          <p:nvSpPr>
            <p:cNvPr id="166" name="Freihandform: Form 165">
              <a:extLst>
                <a:ext uri="{FF2B5EF4-FFF2-40B4-BE49-F238E27FC236}">
                  <a16:creationId xmlns:a16="http://schemas.microsoft.com/office/drawing/2014/main" id="{B598B7E7-468F-4A40-8331-B5FF35BA6FF5}"/>
                </a:ext>
              </a:extLst>
            </p:cNvPr>
            <p:cNvSpPr>
              <a:spLocks noChangeAspect="1"/>
            </p:cNvSpPr>
            <p:nvPr/>
          </p:nvSpPr>
          <p:spPr>
            <a:xfrm>
              <a:off x="1911931" y="4498908"/>
              <a:ext cx="225477" cy="251496"/>
            </a:xfrm>
            <a:custGeom>
              <a:avLst/>
              <a:gdLst>
                <a:gd name="connsiteX0" fmla="*/ 198190 w 225477"/>
                <a:gd name="connsiteY0" fmla="*/ 83660 h 251496"/>
                <a:gd name="connsiteX1" fmla="*/ 198190 w 225477"/>
                <a:gd name="connsiteY1" fmla="*/ 89793 h 251496"/>
                <a:gd name="connsiteX2" fmla="*/ 195124 w 225477"/>
                <a:gd name="connsiteY2" fmla="*/ 91064 h 251496"/>
                <a:gd name="connsiteX3" fmla="*/ 192058 w 225477"/>
                <a:gd name="connsiteY3" fmla="*/ 89793 h 251496"/>
                <a:gd name="connsiteX4" fmla="*/ 117073 w 225477"/>
                <a:gd name="connsiteY4" fmla="*/ 14808 h 251496"/>
                <a:gd name="connsiteX5" fmla="*/ 117073 w 225477"/>
                <a:gd name="connsiteY5" fmla="*/ 195131 h 251496"/>
                <a:gd name="connsiteX6" fmla="*/ 112736 w 225477"/>
                <a:gd name="connsiteY6" fmla="*/ 199468 h 251496"/>
                <a:gd name="connsiteX7" fmla="*/ 108399 w 225477"/>
                <a:gd name="connsiteY7" fmla="*/ 195131 h 251496"/>
                <a:gd name="connsiteX8" fmla="*/ 108399 w 225477"/>
                <a:gd name="connsiteY8" fmla="*/ 14808 h 251496"/>
                <a:gd name="connsiteX9" fmla="*/ 33414 w 225477"/>
                <a:gd name="connsiteY9" fmla="*/ 89793 h 251496"/>
                <a:gd name="connsiteX10" fmla="*/ 27282 w 225477"/>
                <a:gd name="connsiteY10" fmla="*/ 89793 h 251496"/>
                <a:gd name="connsiteX11" fmla="*/ 27282 w 225477"/>
                <a:gd name="connsiteY11" fmla="*/ 83660 h 251496"/>
                <a:gd name="connsiteX12" fmla="*/ 109670 w 225477"/>
                <a:gd name="connsiteY12" fmla="*/ 1272 h 251496"/>
                <a:gd name="connsiteX13" fmla="*/ 115802 w 225477"/>
                <a:gd name="connsiteY13" fmla="*/ 1272 h 251496"/>
                <a:gd name="connsiteX14" fmla="*/ 198190 w 225477"/>
                <a:gd name="connsiteY14" fmla="*/ 83660 h 251496"/>
                <a:gd name="connsiteX15" fmla="*/ 4337 w 225477"/>
                <a:gd name="connsiteY15" fmla="*/ 177783 h 251496"/>
                <a:gd name="connsiteX16" fmla="*/ 0 w 225477"/>
                <a:gd name="connsiteY16" fmla="*/ 182120 h 251496"/>
                <a:gd name="connsiteX17" fmla="*/ 0 w 225477"/>
                <a:gd name="connsiteY17" fmla="*/ 247159 h 251496"/>
                <a:gd name="connsiteX18" fmla="*/ 4337 w 225477"/>
                <a:gd name="connsiteY18" fmla="*/ 251496 h 251496"/>
                <a:gd name="connsiteX19" fmla="*/ 221141 w 225477"/>
                <a:gd name="connsiteY19" fmla="*/ 251496 h 251496"/>
                <a:gd name="connsiteX20" fmla="*/ 225478 w 225477"/>
                <a:gd name="connsiteY20" fmla="*/ 247159 h 251496"/>
                <a:gd name="connsiteX21" fmla="*/ 225478 w 225477"/>
                <a:gd name="connsiteY21" fmla="*/ 182120 h 251496"/>
                <a:gd name="connsiteX22" fmla="*/ 221141 w 225477"/>
                <a:gd name="connsiteY22" fmla="*/ 177783 h 251496"/>
                <a:gd name="connsiteX23" fmla="*/ 216804 w 225477"/>
                <a:gd name="connsiteY23" fmla="*/ 182120 h 251496"/>
                <a:gd name="connsiteX24" fmla="*/ 216804 w 225477"/>
                <a:gd name="connsiteY24" fmla="*/ 242828 h 251496"/>
                <a:gd name="connsiteX25" fmla="*/ 8668 w 225477"/>
                <a:gd name="connsiteY25" fmla="*/ 242828 h 251496"/>
                <a:gd name="connsiteX26" fmla="*/ 8668 w 225477"/>
                <a:gd name="connsiteY26" fmla="*/ 182120 h 251496"/>
                <a:gd name="connsiteX27" fmla="*/ 4337 w 225477"/>
                <a:gd name="connsiteY27" fmla="*/ 177783 h 25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5477" h="251496">
                  <a:moveTo>
                    <a:pt x="198190" y="83660"/>
                  </a:moveTo>
                  <a:cubicBezTo>
                    <a:pt x="199887" y="85356"/>
                    <a:pt x="199887" y="88096"/>
                    <a:pt x="198190" y="89793"/>
                  </a:cubicBezTo>
                  <a:cubicBezTo>
                    <a:pt x="197345" y="90638"/>
                    <a:pt x="196232" y="91064"/>
                    <a:pt x="195124" y="91064"/>
                  </a:cubicBezTo>
                  <a:cubicBezTo>
                    <a:pt x="194016" y="91064"/>
                    <a:pt x="192903" y="90638"/>
                    <a:pt x="192058" y="89793"/>
                  </a:cubicBezTo>
                  <a:lnTo>
                    <a:pt x="117073" y="14808"/>
                  </a:lnTo>
                  <a:lnTo>
                    <a:pt x="117073" y="195131"/>
                  </a:lnTo>
                  <a:cubicBezTo>
                    <a:pt x="117073" y="197527"/>
                    <a:pt x="115132" y="199468"/>
                    <a:pt x="112736" y="199468"/>
                  </a:cubicBezTo>
                  <a:cubicBezTo>
                    <a:pt x="110340" y="199468"/>
                    <a:pt x="108399" y="197527"/>
                    <a:pt x="108399" y="195131"/>
                  </a:cubicBezTo>
                  <a:lnTo>
                    <a:pt x="108399" y="14808"/>
                  </a:lnTo>
                  <a:lnTo>
                    <a:pt x="33414" y="89793"/>
                  </a:lnTo>
                  <a:cubicBezTo>
                    <a:pt x="31718" y="91489"/>
                    <a:pt x="28978" y="91489"/>
                    <a:pt x="27282" y="89793"/>
                  </a:cubicBezTo>
                  <a:cubicBezTo>
                    <a:pt x="25586" y="88096"/>
                    <a:pt x="25586" y="85356"/>
                    <a:pt x="27282" y="83660"/>
                  </a:cubicBezTo>
                  <a:lnTo>
                    <a:pt x="109670" y="1272"/>
                  </a:lnTo>
                  <a:cubicBezTo>
                    <a:pt x="111366" y="-424"/>
                    <a:pt x="114106" y="-424"/>
                    <a:pt x="115802" y="1272"/>
                  </a:cubicBezTo>
                  <a:lnTo>
                    <a:pt x="198190" y="83660"/>
                  </a:lnTo>
                  <a:close/>
                  <a:moveTo>
                    <a:pt x="4337" y="177783"/>
                  </a:moveTo>
                  <a:cubicBezTo>
                    <a:pt x="1941" y="177783"/>
                    <a:pt x="0" y="179724"/>
                    <a:pt x="0" y="182120"/>
                  </a:cubicBezTo>
                  <a:lnTo>
                    <a:pt x="0" y="247159"/>
                  </a:lnTo>
                  <a:cubicBezTo>
                    <a:pt x="0" y="249555"/>
                    <a:pt x="1941" y="251496"/>
                    <a:pt x="4337" y="251496"/>
                  </a:cubicBezTo>
                  <a:lnTo>
                    <a:pt x="221141" y="251496"/>
                  </a:lnTo>
                  <a:cubicBezTo>
                    <a:pt x="223537" y="251496"/>
                    <a:pt x="225478" y="249555"/>
                    <a:pt x="225478" y="247159"/>
                  </a:cubicBezTo>
                  <a:lnTo>
                    <a:pt x="225478" y="182120"/>
                  </a:lnTo>
                  <a:cubicBezTo>
                    <a:pt x="225478" y="179724"/>
                    <a:pt x="223537" y="177783"/>
                    <a:pt x="221141" y="177783"/>
                  </a:cubicBezTo>
                  <a:cubicBezTo>
                    <a:pt x="218745" y="177783"/>
                    <a:pt x="216804" y="179724"/>
                    <a:pt x="216804" y="182120"/>
                  </a:cubicBezTo>
                  <a:lnTo>
                    <a:pt x="216804" y="242828"/>
                  </a:lnTo>
                  <a:lnTo>
                    <a:pt x="8668" y="242828"/>
                  </a:lnTo>
                  <a:lnTo>
                    <a:pt x="8668" y="182120"/>
                  </a:lnTo>
                  <a:cubicBezTo>
                    <a:pt x="8674" y="179718"/>
                    <a:pt x="6733" y="177783"/>
                    <a:pt x="4337" y="177783"/>
                  </a:cubicBezTo>
                  <a:close/>
                </a:path>
              </a:pathLst>
            </a:custGeom>
            <a:solidFill>
              <a:schemeClr val="tx2"/>
            </a:solidFill>
            <a:ln w="581" cap="flat">
              <a:noFill/>
              <a:prstDash val="solid"/>
              <a:miter/>
            </a:ln>
          </p:spPr>
          <p:txBody>
            <a:bodyPr rtlCol="0" anchor="ctr"/>
            <a:lstStyle/>
            <a:p>
              <a:endParaRPr lang="en-GB" dirty="0"/>
            </a:p>
          </p:txBody>
        </p:sp>
        <p:sp>
          <p:nvSpPr>
            <p:cNvPr id="129" name="Freihandform: Form 128">
              <a:extLst>
                <a:ext uri="{FF2B5EF4-FFF2-40B4-BE49-F238E27FC236}">
                  <a16:creationId xmlns:a16="http://schemas.microsoft.com/office/drawing/2014/main" id="{DF144FD8-F126-4DB6-B8E7-4588249396EC}"/>
                </a:ext>
              </a:extLst>
            </p:cNvPr>
            <p:cNvSpPr>
              <a:spLocks noChangeAspect="1"/>
            </p:cNvSpPr>
            <p:nvPr/>
          </p:nvSpPr>
          <p:spPr>
            <a:xfrm>
              <a:off x="2526396" y="4075285"/>
              <a:ext cx="250605" cy="251047"/>
            </a:xfrm>
            <a:custGeom>
              <a:avLst/>
              <a:gdLst>
                <a:gd name="connsiteX0" fmla="*/ 47255 w 250605"/>
                <a:gd name="connsiteY0" fmla="*/ 173003 h 251047"/>
                <a:gd name="connsiteX1" fmla="*/ 50321 w 250605"/>
                <a:gd name="connsiteY1" fmla="*/ 171732 h 251047"/>
                <a:gd name="connsiteX2" fmla="*/ 50321 w 250605"/>
                <a:gd name="connsiteY2" fmla="*/ 165599 h 251047"/>
                <a:gd name="connsiteX3" fmla="*/ 14797 w 250605"/>
                <a:gd name="connsiteY3" fmla="*/ 130074 h 251047"/>
                <a:gd name="connsiteX4" fmla="*/ 120969 w 250605"/>
                <a:gd name="connsiteY4" fmla="*/ 130074 h 251047"/>
                <a:gd name="connsiteX5" fmla="*/ 120969 w 250605"/>
                <a:gd name="connsiteY5" fmla="*/ 236246 h 251047"/>
                <a:gd name="connsiteX6" fmla="*/ 85444 w 250605"/>
                <a:gd name="connsiteY6" fmla="*/ 200722 h 251047"/>
                <a:gd name="connsiteX7" fmla="*/ 79311 w 250605"/>
                <a:gd name="connsiteY7" fmla="*/ 200722 h 251047"/>
                <a:gd name="connsiteX8" fmla="*/ 79311 w 250605"/>
                <a:gd name="connsiteY8" fmla="*/ 206854 h 251047"/>
                <a:gd name="connsiteX9" fmla="*/ 122234 w 250605"/>
                <a:gd name="connsiteY9" fmla="*/ 249776 h 251047"/>
                <a:gd name="connsiteX10" fmla="*/ 125300 w 250605"/>
                <a:gd name="connsiteY10" fmla="*/ 251047 h 251047"/>
                <a:gd name="connsiteX11" fmla="*/ 128366 w 250605"/>
                <a:gd name="connsiteY11" fmla="*/ 249776 h 251047"/>
                <a:gd name="connsiteX12" fmla="*/ 171289 w 250605"/>
                <a:gd name="connsiteY12" fmla="*/ 206854 h 251047"/>
                <a:gd name="connsiteX13" fmla="*/ 171289 w 250605"/>
                <a:gd name="connsiteY13" fmla="*/ 200722 h 251047"/>
                <a:gd name="connsiteX14" fmla="*/ 165156 w 250605"/>
                <a:gd name="connsiteY14" fmla="*/ 200722 h 251047"/>
                <a:gd name="connsiteX15" fmla="*/ 129631 w 250605"/>
                <a:gd name="connsiteY15" fmla="*/ 236246 h 251047"/>
                <a:gd name="connsiteX16" fmla="*/ 129631 w 250605"/>
                <a:gd name="connsiteY16" fmla="*/ 130074 h 251047"/>
                <a:gd name="connsiteX17" fmla="*/ 235804 w 250605"/>
                <a:gd name="connsiteY17" fmla="*/ 130074 h 251047"/>
                <a:gd name="connsiteX18" fmla="*/ 200279 w 250605"/>
                <a:gd name="connsiteY18" fmla="*/ 165599 h 251047"/>
                <a:gd name="connsiteX19" fmla="*/ 200279 w 250605"/>
                <a:gd name="connsiteY19" fmla="*/ 171732 h 251047"/>
                <a:gd name="connsiteX20" fmla="*/ 203345 w 250605"/>
                <a:gd name="connsiteY20" fmla="*/ 173003 h 251047"/>
                <a:gd name="connsiteX21" fmla="*/ 206411 w 250605"/>
                <a:gd name="connsiteY21" fmla="*/ 171732 h 251047"/>
                <a:gd name="connsiteX22" fmla="*/ 249334 w 250605"/>
                <a:gd name="connsiteY22" fmla="*/ 128809 h 251047"/>
                <a:gd name="connsiteX23" fmla="*/ 249334 w 250605"/>
                <a:gd name="connsiteY23" fmla="*/ 122677 h 251047"/>
                <a:gd name="connsiteX24" fmla="*/ 206411 w 250605"/>
                <a:gd name="connsiteY24" fmla="*/ 79754 h 251047"/>
                <a:gd name="connsiteX25" fmla="*/ 200279 w 250605"/>
                <a:gd name="connsiteY25" fmla="*/ 79754 h 251047"/>
                <a:gd name="connsiteX26" fmla="*/ 200279 w 250605"/>
                <a:gd name="connsiteY26" fmla="*/ 85887 h 251047"/>
                <a:gd name="connsiteX27" fmla="*/ 235804 w 250605"/>
                <a:gd name="connsiteY27" fmla="*/ 121412 h 251047"/>
                <a:gd name="connsiteX28" fmla="*/ 129643 w 250605"/>
                <a:gd name="connsiteY28" fmla="*/ 121412 h 251047"/>
                <a:gd name="connsiteX29" fmla="*/ 129643 w 250605"/>
                <a:gd name="connsiteY29" fmla="*/ 14803 h 251047"/>
                <a:gd name="connsiteX30" fmla="*/ 165605 w 250605"/>
                <a:gd name="connsiteY30" fmla="*/ 50765 h 251047"/>
                <a:gd name="connsiteX31" fmla="*/ 168671 w 250605"/>
                <a:gd name="connsiteY31" fmla="*/ 52035 h 251047"/>
                <a:gd name="connsiteX32" fmla="*/ 171738 w 250605"/>
                <a:gd name="connsiteY32" fmla="*/ 50765 h 251047"/>
                <a:gd name="connsiteX33" fmla="*/ 171738 w 250605"/>
                <a:gd name="connsiteY33" fmla="*/ 44632 h 251047"/>
                <a:gd name="connsiteX34" fmla="*/ 128378 w 250605"/>
                <a:gd name="connsiteY34" fmla="*/ 1272 h 251047"/>
                <a:gd name="connsiteX35" fmla="*/ 122245 w 250605"/>
                <a:gd name="connsiteY35" fmla="*/ 1272 h 251047"/>
                <a:gd name="connsiteX36" fmla="*/ 78886 w 250605"/>
                <a:gd name="connsiteY36" fmla="*/ 44632 h 251047"/>
                <a:gd name="connsiteX37" fmla="*/ 78886 w 250605"/>
                <a:gd name="connsiteY37" fmla="*/ 50765 h 251047"/>
                <a:gd name="connsiteX38" fmla="*/ 85018 w 250605"/>
                <a:gd name="connsiteY38" fmla="*/ 50765 h 251047"/>
                <a:gd name="connsiteX39" fmla="*/ 120980 w 250605"/>
                <a:gd name="connsiteY39" fmla="*/ 14803 h 251047"/>
                <a:gd name="connsiteX40" fmla="*/ 120980 w 250605"/>
                <a:gd name="connsiteY40" fmla="*/ 121412 h 251047"/>
                <a:gd name="connsiteX41" fmla="*/ 14803 w 250605"/>
                <a:gd name="connsiteY41" fmla="*/ 121412 h 251047"/>
                <a:gd name="connsiteX42" fmla="*/ 50327 w 250605"/>
                <a:gd name="connsiteY42" fmla="*/ 85887 h 251047"/>
                <a:gd name="connsiteX43" fmla="*/ 50327 w 250605"/>
                <a:gd name="connsiteY43" fmla="*/ 79754 h 251047"/>
                <a:gd name="connsiteX44" fmla="*/ 44195 w 250605"/>
                <a:gd name="connsiteY44" fmla="*/ 79754 h 251047"/>
                <a:gd name="connsiteX45" fmla="*/ 1272 w 250605"/>
                <a:gd name="connsiteY45" fmla="*/ 122677 h 251047"/>
                <a:gd name="connsiteX46" fmla="*/ 1272 w 250605"/>
                <a:gd name="connsiteY46" fmla="*/ 128809 h 251047"/>
                <a:gd name="connsiteX47" fmla="*/ 44195 w 250605"/>
                <a:gd name="connsiteY47" fmla="*/ 171732 h 251047"/>
                <a:gd name="connsiteX48" fmla="*/ 47255 w 250605"/>
                <a:gd name="connsiteY48" fmla="*/ 173003 h 251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50605" h="251047">
                  <a:moveTo>
                    <a:pt x="47255" y="173003"/>
                  </a:moveTo>
                  <a:cubicBezTo>
                    <a:pt x="48363" y="173003"/>
                    <a:pt x="49476" y="172577"/>
                    <a:pt x="50321" y="171732"/>
                  </a:cubicBezTo>
                  <a:cubicBezTo>
                    <a:pt x="52018" y="170035"/>
                    <a:pt x="52018" y="167296"/>
                    <a:pt x="50321" y="165599"/>
                  </a:cubicBezTo>
                  <a:lnTo>
                    <a:pt x="14797" y="130074"/>
                  </a:lnTo>
                  <a:lnTo>
                    <a:pt x="120969" y="130074"/>
                  </a:lnTo>
                  <a:lnTo>
                    <a:pt x="120969" y="236246"/>
                  </a:lnTo>
                  <a:lnTo>
                    <a:pt x="85444" y="200722"/>
                  </a:lnTo>
                  <a:cubicBezTo>
                    <a:pt x="83748" y="199025"/>
                    <a:pt x="81008" y="199025"/>
                    <a:pt x="79311" y="200722"/>
                  </a:cubicBezTo>
                  <a:cubicBezTo>
                    <a:pt x="77615" y="202418"/>
                    <a:pt x="77615" y="205158"/>
                    <a:pt x="79311" y="206854"/>
                  </a:cubicBezTo>
                  <a:lnTo>
                    <a:pt x="122234" y="249776"/>
                  </a:lnTo>
                  <a:cubicBezTo>
                    <a:pt x="123079" y="250622"/>
                    <a:pt x="124192" y="251047"/>
                    <a:pt x="125300" y="251047"/>
                  </a:cubicBezTo>
                  <a:cubicBezTo>
                    <a:pt x="126408" y="251047"/>
                    <a:pt x="127521" y="250622"/>
                    <a:pt x="128366" y="249776"/>
                  </a:cubicBezTo>
                  <a:lnTo>
                    <a:pt x="171289" y="206854"/>
                  </a:lnTo>
                  <a:cubicBezTo>
                    <a:pt x="172985" y="205158"/>
                    <a:pt x="172985" y="202418"/>
                    <a:pt x="171289" y="200722"/>
                  </a:cubicBezTo>
                  <a:cubicBezTo>
                    <a:pt x="169592" y="199025"/>
                    <a:pt x="166853" y="199025"/>
                    <a:pt x="165156" y="200722"/>
                  </a:cubicBezTo>
                  <a:lnTo>
                    <a:pt x="129631" y="236246"/>
                  </a:lnTo>
                  <a:lnTo>
                    <a:pt x="129631" y="130074"/>
                  </a:lnTo>
                  <a:lnTo>
                    <a:pt x="235804" y="130074"/>
                  </a:lnTo>
                  <a:lnTo>
                    <a:pt x="200279" y="165599"/>
                  </a:lnTo>
                  <a:cubicBezTo>
                    <a:pt x="198582" y="167296"/>
                    <a:pt x="198582" y="170035"/>
                    <a:pt x="200279" y="171732"/>
                  </a:cubicBezTo>
                  <a:cubicBezTo>
                    <a:pt x="201124" y="172577"/>
                    <a:pt x="202237" y="173003"/>
                    <a:pt x="203345" y="173003"/>
                  </a:cubicBezTo>
                  <a:cubicBezTo>
                    <a:pt x="204453" y="173003"/>
                    <a:pt x="205566" y="172577"/>
                    <a:pt x="206411" y="171732"/>
                  </a:cubicBezTo>
                  <a:lnTo>
                    <a:pt x="249334" y="128809"/>
                  </a:lnTo>
                  <a:cubicBezTo>
                    <a:pt x="251030" y="127113"/>
                    <a:pt x="251030" y="124373"/>
                    <a:pt x="249334" y="122677"/>
                  </a:cubicBezTo>
                  <a:lnTo>
                    <a:pt x="206411" y="79754"/>
                  </a:lnTo>
                  <a:cubicBezTo>
                    <a:pt x="204715" y="78058"/>
                    <a:pt x="201975" y="78058"/>
                    <a:pt x="200279" y="79754"/>
                  </a:cubicBezTo>
                  <a:cubicBezTo>
                    <a:pt x="198582" y="81451"/>
                    <a:pt x="198582" y="84191"/>
                    <a:pt x="200279" y="85887"/>
                  </a:cubicBezTo>
                  <a:lnTo>
                    <a:pt x="235804" y="121412"/>
                  </a:lnTo>
                  <a:lnTo>
                    <a:pt x="129643" y="121412"/>
                  </a:lnTo>
                  <a:lnTo>
                    <a:pt x="129643" y="14803"/>
                  </a:lnTo>
                  <a:lnTo>
                    <a:pt x="165605" y="50765"/>
                  </a:lnTo>
                  <a:cubicBezTo>
                    <a:pt x="166450" y="51610"/>
                    <a:pt x="167564" y="52035"/>
                    <a:pt x="168671" y="52035"/>
                  </a:cubicBezTo>
                  <a:cubicBezTo>
                    <a:pt x="169779" y="52035"/>
                    <a:pt x="170892" y="51610"/>
                    <a:pt x="171738" y="50765"/>
                  </a:cubicBezTo>
                  <a:cubicBezTo>
                    <a:pt x="173434" y="49068"/>
                    <a:pt x="173434" y="46328"/>
                    <a:pt x="171738" y="44632"/>
                  </a:cubicBezTo>
                  <a:lnTo>
                    <a:pt x="128378" y="1272"/>
                  </a:lnTo>
                  <a:cubicBezTo>
                    <a:pt x="126682" y="-424"/>
                    <a:pt x="123942" y="-424"/>
                    <a:pt x="122245" y="1272"/>
                  </a:cubicBezTo>
                  <a:lnTo>
                    <a:pt x="78886" y="44632"/>
                  </a:lnTo>
                  <a:cubicBezTo>
                    <a:pt x="77189" y="46328"/>
                    <a:pt x="77189" y="49068"/>
                    <a:pt x="78886" y="50765"/>
                  </a:cubicBezTo>
                  <a:cubicBezTo>
                    <a:pt x="80582" y="52461"/>
                    <a:pt x="83322" y="52461"/>
                    <a:pt x="85018" y="50765"/>
                  </a:cubicBezTo>
                  <a:lnTo>
                    <a:pt x="120980" y="14803"/>
                  </a:lnTo>
                  <a:lnTo>
                    <a:pt x="120980" y="121412"/>
                  </a:lnTo>
                  <a:lnTo>
                    <a:pt x="14803" y="121412"/>
                  </a:lnTo>
                  <a:lnTo>
                    <a:pt x="50327" y="85887"/>
                  </a:lnTo>
                  <a:cubicBezTo>
                    <a:pt x="52024" y="84191"/>
                    <a:pt x="52024" y="81451"/>
                    <a:pt x="50327" y="79754"/>
                  </a:cubicBezTo>
                  <a:cubicBezTo>
                    <a:pt x="48631" y="78058"/>
                    <a:pt x="45891" y="78058"/>
                    <a:pt x="44195" y="79754"/>
                  </a:cubicBezTo>
                  <a:lnTo>
                    <a:pt x="1272" y="122677"/>
                  </a:lnTo>
                  <a:cubicBezTo>
                    <a:pt x="-424" y="124373"/>
                    <a:pt x="-424" y="127113"/>
                    <a:pt x="1272" y="128809"/>
                  </a:cubicBezTo>
                  <a:lnTo>
                    <a:pt x="44195" y="171732"/>
                  </a:lnTo>
                  <a:cubicBezTo>
                    <a:pt x="45040" y="172577"/>
                    <a:pt x="46148" y="173003"/>
                    <a:pt x="47255" y="173003"/>
                  </a:cubicBezTo>
                  <a:close/>
                </a:path>
              </a:pathLst>
            </a:custGeom>
            <a:solidFill>
              <a:schemeClr val="tx2"/>
            </a:solidFill>
            <a:ln w="581" cap="flat">
              <a:noFill/>
              <a:prstDash val="solid"/>
              <a:miter/>
            </a:ln>
          </p:spPr>
          <p:txBody>
            <a:bodyPr rtlCol="0" anchor="ctr"/>
            <a:lstStyle/>
            <a:p>
              <a:endParaRPr lang="en-GB" dirty="0"/>
            </a:p>
          </p:txBody>
        </p:sp>
        <p:sp>
          <p:nvSpPr>
            <p:cNvPr id="134" name="Freihandform: Form 133">
              <a:extLst>
                <a:ext uri="{FF2B5EF4-FFF2-40B4-BE49-F238E27FC236}">
                  <a16:creationId xmlns:a16="http://schemas.microsoft.com/office/drawing/2014/main" id="{E9DD55BC-9C93-4114-8356-C337EE405F4D}"/>
                </a:ext>
              </a:extLst>
            </p:cNvPr>
            <p:cNvSpPr>
              <a:spLocks noChangeAspect="1"/>
            </p:cNvSpPr>
            <p:nvPr/>
          </p:nvSpPr>
          <p:spPr>
            <a:xfrm>
              <a:off x="2525947" y="1624066"/>
              <a:ext cx="251502" cy="234159"/>
            </a:xfrm>
            <a:custGeom>
              <a:avLst/>
              <a:gdLst>
                <a:gd name="connsiteX0" fmla="*/ 137488 w 251502"/>
                <a:gd name="connsiteY0" fmla="*/ 1272 h 234159"/>
                <a:gd name="connsiteX1" fmla="*/ 131355 w 251502"/>
                <a:gd name="connsiteY1" fmla="*/ 1272 h 234159"/>
                <a:gd name="connsiteX2" fmla="*/ 131355 w 251502"/>
                <a:gd name="connsiteY2" fmla="*/ 7405 h 234159"/>
                <a:gd name="connsiteX3" fmla="*/ 236694 w 251502"/>
                <a:gd name="connsiteY3" fmla="*/ 112743 h 234159"/>
                <a:gd name="connsiteX4" fmla="*/ 4337 w 251502"/>
                <a:gd name="connsiteY4" fmla="*/ 112743 h 234159"/>
                <a:gd name="connsiteX5" fmla="*/ 0 w 251502"/>
                <a:gd name="connsiteY5" fmla="*/ 117080 h 234159"/>
                <a:gd name="connsiteX6" fmla="*/ 4337 w 251502"/>
                <a:gd name="connsiteY6" fmla="*/ 121418 h 234159"/>
                <a:gd name="connsiteX7" fmla="*/ 236694 w 251502"/>
                <a:gd name="connsiteY7" fmla="*/ 121418 h 234159"/>
                <a:gd name="connsiteX8" fmla="*/ 131355 w 251502"/>
                <a:gd name="connsiteY8" fmla="*/ 226756 h 234159"/>
                <a:gd name="connsiteX9" fmla="*/ 131355 w 251502"/>
                <a:gd name="connsiteY9" fmla="*/ 232889 h 234159"/>
                <a:gd name="connsiteX10" fmla="*/ 134422 w 251502"/>
                <a:gd name="connsiteY10" fmla="*/ 234159 h 234159"/>
                <a:gd name="connsiteX11" fmla="*/ 137488 w 251502"/>
                <a:gd name="connsiteY11" fmla="*/ 232889 h 234159"/>
                <a:gd name="connsiteX12" fmla="*/ 250230 w 251502"/>
                <a:gd name="connsiteY12" fmla="*/ 120153 h 234159"/>
                <a:gd name="connsiteX13" fmla="*/ 250230 w 251502"/>
                <a:gd name="connsiteY13" fmla="*/ 114020 h 234159"/>
                <a:gd name="connsiteX14" fmla="*/ 137488 w 251502"/>
                <a:gd name="connsiteY14" fmla="*/ 1272 h 23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1502" h="234159">
                  <a:moveTo>
                    <a:pt x="137488" y="1272"/>
                  </a:moveTo>
                  <a:cubicBezTo>
                    <a:pt x="135792" y="-424"/>
                    <a:pt x="133052" y="-424"/>
                    <a:pt x="131355" y="1272"/>
                  </a:cubicBezTo>
                  <a:cubicBezTo>
                    <a:pt x="129659" y="2969"/>
                    <a:pt x="129659" y="5709"/>
                    <a:pt x="131355" y="7405"/>
                  </a:cubicBezTo>
                  <a:lnTo>
                    <a:pt x="236694" y="112743"/>
                  </a:lnTo>
                  <a:lnTo>
                    <a:pt x="4337" y="112743"/>
                  </a:lnTo>
                  <a:cubicBezTo>
                    <a:pt x="1941" y="112743"/>
                    <a:pt x="0" y="114685"/>
                    <a:pt x="0" y="117080"/>
                  </a:cubicBezTo>
                  <a:cubicBezTo>
                    <a:pt x="0" y="119476"/>
                    <a:pt x="1941" y="121418"/>
                    <a:pt x="4337" y="121418"/>
                  </a:cubicBezTo>
                  <a:lnTo>
                    <a:pt x="236694" y="121418"/>
                  </a:lnTo>
                  <a:lnTo>
                    <a:pt x="131355" y="226756"/>
                  </a:lnTo>
                  <a:cubicBezTo>
                    <a:pt x="129659" y="228452"/>
                    <a:pt x="129659" y="231192"/>
                    <a:pt x="131355" y="232889"/>
                  </a:cubicBezTo>
                  <a:cubicBezTo>
                    <a:pt x="132201" y="233734"/>
                    <a:pt x="133314" y="234159"/>
                    <a:pt x="134422" y="234159"/>
                  </a:cubicBezTo>
                  <a:cubicBezTo>
                    <a:pt x="135529" y="234159"/>
                    <a:pt x="136643" y="233734"/>
                    <a:pt x="137488" y="232889"/>
                  </a:cubicBezTo>
                  <a:lnTo>
                    <a:pt x="250230" y="120153"/>
                  </a:lnTo>
                  <a:cubicBezTo>
                    <a:pt x="251926" y="118456"/>
                    <a:pt x="251926" y="115716"/>
                    <a:pt x="250230" y="114020"/>
                  </a:cubicBezTo>
                  <a:lnTo>
                    <a:pt x="137488" y="1272"/>
                  </a:lnTo>
                  <a:close/>
                </a:path>
              </a:pathLst>
            </a:custGeom>
            <a:solidFill>
              <a:schemeClr val="tx2"/>
            </a:solidFill>
            <a:ln w="581" cap="flat">
              <a:noFill/>
              <a:prstDash val="solid"/>
              <a:miter/>
            </a:ln>
          </p:spPr>
          <p:txBody>
            <a:bodyPr rtlCol="0" anchor="ctr"/>
            <a:lstStyle/>
            <a:p>
              <a:endParaRPr lang="en-GB" dirty="0"/>
            </a:p>
          </p:txBody>
        </p:sp>
        <p:sp>
          <p:nvSpPr>
            <p:cNvPr id="143" name="Freihandform: Form 142">
              <a:extLst>
                <a:ext uri="{FF2B5EF4-FFF2-40B4-BE49-F238E27FC236}">
                  <a16:creationId xmlns:a16="http://schemas.microsoft.com/office/drawing/2014/main" id="{C6079377-40FF-45A2-92E5-90A8507BF02C}"/>
                </a:ext>
              </a:extLst>
            </p:cNvPr>
            <p:cNvSpPr>
              <a:spLocks noChangeAspect="1"/>
            </p:cNvSpPr>
            <p:nvPr/>
          </p:nvSpPr>
          <p:spPr>
            <a:xfrm>
              <a:off x="2534620" y="2086134"/>
              <a:ext cx="234156" cy="121411"/>
            </a:xfrm>
            <a:custGeom>
              <a:avLst/>
              <a:gdLst>
                <a:gd name="connsiteX0" fmla="*/ 232889 w 234156"/>
                <a:gd name="connsiteY0" fmla="*/ 1272 h 121411"/>
                <a:gd name="connsiteX1" fmla="*/ 226756 w 234156"/>
                <a:gd name="connsiteY1" fmla="*/ 1272 h 121411"/>
                <a:gd name="connsiteX2" fmla="*/ 117081 w 234156"/>
                <a:gd name="connsiteY2" fmla="*/ 110948 h 121411"/>
                <a:gd name="connsiteX3" fmla="*/ 7405 w 234156"/>
                <a:gd name="connsiteY3" fmla="*/ 1272 h 121411"/>
                <a:gd name="connsiteX4" fmla="*/ 1272 w 234156"/>
                <a:gd name="connsiteY4" fmla="*/ 1272 h 121411"/>
                <a:gd name="connsiteX5" fmla="*/ 1272 w 234156"/>
                <a:gd name="connsiteY5" fmla="*/ 7405 h 121411"/>
                <a:gd name="connsiteX6" fmla="*/ 114014 w 234156"/>
                <a:gd name="connsiteY6" fmla="*/ 120141 h 121411"/>
                <a:gd name="connsiteX7" fmla="*/ 117081 w 234156"/>
                <a:gd name="connsiteY7" fmla="*/ 121412 h 121411"/>
                <a:gd name="connsiteX8" fmla="*/ 120147 w 234156"/>
                <a:gd name="connsiteY8" fmla="*/ 120141 h 121411"/>
                <a:gd name="connsiteX9" fmla="*/ 232889 w 234156"/>
                <a:gd name="connsiteY9" fmla="*/ 7405 h 121411"/>
                <a:gd name="connsiteX10" fmla="*/ 232889 w 234156"/>
                <a:gd name="connsiteY10" fmla="*/ 1272 h 121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34156" h="121411">
                  <a:moveTo>
                    <a:pt x="232889" y="1272"/>
                  </a:moveTo>
                  <a:cubicBezTo>
                    <a:pt x="231192" y="-424"/>
                    <a:pt x="228453" y="-424"/>
                    <a:pt x="226756" y="1272"/>
                  </a:cubicBezTo>
                  <a:lnTo>
                    <a:pt x="117081" y="110948"/>
                  </a:lnTo>
                  <a:lnTo>
                    <a:pt x="7405" y="1272"/>
                  </a:lnTo>
                  <a:cubicBezTo>
                    <a:pt x="5709" y="-424"/>
                    <a:pt x="2969" y="-424"/>
                    <a:pt x="1272" y="1272"/>
                  </a:cubicBezTo>
                  <a:cubicBezTo>
                    <a:pt x="-424" y="2969"/>
                    <a:pt x="-424" y="5709"/>
                    <a:pt x="1272" y="7405"/>
                  </a:cubicBezTo>
                  <a:lnTo>
                    <a:pt x="114014" y="120141"/>
                  </a:lnTo>
                  <a:cubicBezTo>
                    <a:pt x="114859" y="120986"/>
                    <a:pt x="115973" y="121412"/>
                    <a:pt x="117081" y="121412"/>
                  </a:cubicBezTo>
                  <a:cubicBezTo>
                    <a:pt x="118188" y="121412"/>
                    <a:pt x="119302" y="120986"/>
                    <a:pt x="120147" y="120141"/>
                  </a:cubicBezTo>
                  <a:lnTo>
                    <a:pt x="232889" y="7405"/>
                  </a:lnTo>
                  <a:cubicBezTo>
                    <a:pt x="234579" y="5709"/>
                    <a:pt x="234579" y="2963"/>
                    <a:pt x="232889" y="1272"/>
                  </a:cubicBezTo>
                  <a:close/>
                </a:path>
              </a:pathLst>
            </a:custGeom>
            <a:solidFill>
              <a:schemeClr val="tx2"/>
            </a:solidFill>
            <a:ln w="581" cap="flat">
              <a:noFill/>
              <a:prstDash val="solid"/>
              <a:miter/>
            </a:ln>
          </p:spPr>
          <p:txBody>
            <a:bodyPr rtlCol="0" anchor="ctr"/>
            <a:lstStyle/>
            <a:p>
              <a:endParaRPr lang="en-GB" dirty="0"/>
            </a:p>
          </p:txBody>
        </p:sp>
        <p:sp>
          <p:nvSpPr>
            <p:cNvPr id="144" name="Freihandform: Form 143">
              <a:extLst>
                <a:ext uri="{FF2B5EF4-FFF2-40B4-BE49-F238E27FC236}">
                  <a16:creationId xmlns:a16="http://schemas.microsoft.com/office/drawing/2014/main" id="{9AEC6580-D224-4732-A800-254BB80F2225}"/>
                </a:ext>
              </a:extLst>
            </p:cNvPr>
            <p:cNvSpPr>
              <a:spLocks noChangeAspect="1"/>
            </p:cNvSpPr>
            <p:nvPr/>
          </p:nvSpPr>
          <p:spPr>
            <a:xfrm>
              <a:off x="2525951" y="3227889"/>
              <a:ext cx="251494" cy="251494"/>
            </a:xfrm>
            <a:custGeom>
              <a:avLst/>
              <a:gdLst>
                <a:gd name="connsiteX0" fmla="*/ 0 w 251494"/>
                <a:gd name="connsiteY0" fmla="*/ 125747 h 251494"/>
                <a:gd name="connsiteX1" fmla="*/ 4337 w 251494"/>
                <a:gd name="connsiteY1" fmla="*/ 121410 h 251494"/>
                <a:gd name="connsiteX2" fmla="*/ 202003 w 251494"/>
                <a:gd name="connsiteY2" fmla="*/ 121410 h 251494"/>
                <a:gd name="connsiteX3" fmla="*/ 118344 w 251494"/>
                <a:gd name="connsiteY3" fmla="*/ 37752 h 251494"/>
                <a:gd name="connsiteX4" fmla="*/ 118344 w 251494"/>
                <a:gd name="connsiteY4" fmla="*/ 31619 h 251494"/>
                <a:gd name="connsiteX5" fmla="*/ 124476 w 251494"/>
                <a:gd name="connsiteY5" fmla="*/ 31619 h 251494"/>
                <a:gd name="connsiteX6" fmla="*/ 215533 w 251494"/>
                <a:gd name="connsiteY6" fmla="*/ 122675 h 251494"/>
                <a:gd name="connsiteX7" fmla="*/ 215533 w 251494"/>
                <a:gd name="connsiteY7" fmla="*/ 128808 h 251494"/>
                <a:gd name="connsiteX8" fmla="*/ 124476 w 251494"/>
                <a:gd name="connsiteY8" fmla="*/ 219864 h 251494"/>
                <a:gd name="connsiteX9" fmla="*/ 121410 w 251494"/>
                <a:gd name="connsiteY9" fmla="*/ 221135 h 251494"/>
                <a:gd name="connsiteX10" fmla="*/ 118344 w 251494"/>
                <a:gd name="connsiteY10" fmla="*/ 219864 h 251494"/>
                <a:gd name="connsiteX11" fmla="*/ 118344 w 251494"/>
                <a:gd name="connsiteY11" fmla="*/ 213731 h 251494"/>
                <a:gd name="connsiteX12" fmla="*/ 202003 w 251494"/>
                <a:gd name="connsiteY12" fmla="*/ 130073 h 251494"/>
                <a:gd name="connsiteX13" fmla="*/ 4337 w 251494"/>
                <a:gd name="connsiteY13" fmla="*/ 130073 h 251494"/>
                <a:gd name="connsiteX14" fmla="*/ 0 w 251494"/>
                <a:gd name="connsiteY14" fmla="*/ 125747 h 251494"/>
                <a:gd name="connsiteX15" fmla="*/ 247158 w 251494"/>
                <a:gd name="connsiteY15" fmla="*/ 0 h 251494"/>
                <a:gd name="connsiteX16" fmla="*/ 242821 w 251494"/>
                <a:gd name="connsiteY16" fmla="*/ 4337 h 251494"/>
                <a:gd name="connsiteX17" fmla="*/ 242821 w 251494"/>
                <a:gd name="connsiteY17" fmla="*/ 247158 h 251494"/>
                <a:gd name="connsiteX18" fmla="*/ 247158 w 251494"/>
                <a:gd name="connsiteY18" fmla="*/ 251495 h 251494"/>
                <a:gd name="connsiteX19" fmla="*/ 251495 w 251494"/>
                <a:gd name="connsiteY19" fmla="*/ 247158 h 251494"/>
                <a:gd name="connsiteX20" fmla="*/ 251495 w 251494"/>
                <a:gd name="connsiteY20" fmla="*/ 4337 h 251494"/>
                <a:gd name="connsiteX21" fmla="*/ 247158 w 251494"/>
                <a:gd name="connsiteY21" fmla="*/ 0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1494" h="251494">
                  <a:moveTo>
                    <a:pt x="0" y="125747"/>
                  </a:moveTo>
                  <a:cubicBezTo>
                    <a:pt x="0" y="123351"/>
                    <a:pt x="1941" y="121410"/>
                    <a:pt x="4337" y="121410"/>
                  </a:cubicBezTo>
                  <a:lnTo>
                    <a:pt x="202003" y="121410"/>
                  </a:lnTo>
                  <a:lnTo>
                    <a:pt x="118344" y="37752"/>
                  </a:lnTo>
                  <a:cubicBezTo>
                    <a:pt x="116648" y="36055"/>
                    <a:pt x="116648" y="33315"/>
                    <a:pt x="118344" y="31619"/>
                  </a:cubicBezTo>
                  <a:cubicBezTo>
                    <a:pt x="120040" y="29923"/>
                    <a:pt x="122780" y="29923"/>
                    <a:pt x="124476" y="31619"/>
                  </a:cubicBezTo>
                  <a:lnTo>
                    <a:pt x="215533" y="122675"/>
                  </a:lnTo>
                  <a:cubicBezTo>
                    <a:pt x="217229" y="124372"/>
                    <a:pt x="217229" y="127112"/>
                    <a:pt x="215533" y="128808"/>
                  </a:cubicBezTo>
                  <a:lnTo>
                    <a:pt x="124476" y="219864"/>
                  </a:lnTo>
                  <a:cubicBezTo>
                    <a:pt x="123631" y="220709"/>
                    <a:pt x="122518" y="221135"/>
                    <a:pt x="121410" y="221135"/>
                  </a:cubicBezTo>
                  <a:cubicBezTo>
                    <a:pt x="120303" y="221135"/>
                    <a:pt x="119189" y="220709"/>
                    <a:pt x="118344" y="219864"/>
                  </a:cubicBezTo>
                  <a:cubicBezTo>
                    <a:pt x="116648" y="218168"/>
                    <a:pt x="116648" y="215428"/>
                    <a:pt x="118344" y="213731"/>
                  </a:cubicBezTo>
                  <a:lnTo>
                    <a:pt x="202003" y="130073"/>
                  </a:lnTo>
                  <a:lnTo>
                    <a:pt x="4337" y="130073"/>
                  </a:lnTo>
                  <a:cubicBezTo>
                    <a:pt x="1941" y="130084"/>
                    <a:pt x="0" y="128143"/>
                    <a:pt x="0" y="125747"/>
                  </a:cubicBezTo>
                  <a:close/>
                  <a:moveTo>
                    <a:pt x="247158" y="0"/>
                  </a:moveTo>
                  <a:cubicBezTo>
                    <a:pt x="244762" y="0"/>
                    <a:pt x="242821" y="1941"/>
                    <a:pt x="242821" y="4337"/>
                  </a:cubicBezTo>
                  <a:lnTo>
                    <a:pt x="242821" y="247158"/>
                  </a:lnTo>
                  <a:cubicBezTo>
                    <a:pt x="242821" y="249554"/>
                    <a:pt x="244762" y="251495"/>
                    <a:pt x="247158" y="251495"/>
                  </a:cubicBezTo>
                  <a:cubicBezTo>
                    <a:pt x="249554" y="251495"/>
                    <a:pt x="251495" y="249554"/>
                    <a:pt x="251495" y="247158"/>
                  </a:cubicBezTo>
                  <a:lnTo>
                    <a:pt x="251495" y="4337"/>
                  </a:lnTo>
                  <a:cubicBezTo>
                    <a:pt x="251495" y="1941"/>
                    <a:pt x="249559" y="0"/>
                    <a:pt x="247158" y="0"/>
                  </a:cubicBezTo>
                  <a:close/>
                </a:path>
              </a:pathLst>
            </a:custGeom>
            <a:solidFill>
              <a:schemeClr val="tx2"/>
            </a:solidFill>
            <a:ln w="581" cap="flat">
              <a:noFill/>
              <a:prstDash val="solid"/>
              <a:miter/>
            </a:ln>
          </p:spPr>
          <p:txBody>
            <a:bodyPr rtlCol="0" anchor="ctr"/>
            <a:lstStyle/>
            <a:p>
              <a:endParaRPr lang="en-GB" dirty="0"/>
            </a:p>
          </p:txBody>
        </p:sp>
        <p:sp>
          <p:nvSpPr>
            <p:cNvPr id="151" name="Freihandform: Form 150">
              <a:extLst>
                <a:ext uri="{FF2B5EF4-FFF2-40B4-BE49-F238E27FC236}">
                  <a16:creationId xmlns:a16="http://schemas.microsoft.com/office/drawing/2014/main" id="{0D37C8A0-DE6F-4D99-9546-DE0265D35427}"/>
                </a:ext>
              </a:extLst>
            </p:cNvPr>
            <p:cNvSpPr>
              <a:spLocks noChangeAspect="1"/>
            </p:cNvSpPr>
            <p:nvPr/>
          </p:nvSpPr>
          <p:spPr>
            <a:xfrm>
              <a:off x="2525951" y="2817100"/>
              <a:ext cx="251494" cy="251494"/>
            </a:xfrm>
            <a:custGeom>
              <a:avLst/>
              <a:gdLst>
                <a:gd name="connsiteX0" fmla="*/ 180719 w 251494"/>
                <a:gd name="connsiteY0" fmla="*/ 122681 h 251494"/>
                <a:gd name="connsiteX1" fmla="*/ 180719 w 251494"/>
                <a:gd name="connsiteY1" fmla="*/ 128814 h 251494"/>
                <a:gd name="connsiteX2" fmla="*/ 107134 w 251494"/>
                <a:gd name="connsiteY2" fmla="*/ 202399 h 251494"/>
                <a:gd name="connsiteX3" fmla="*/ 104068 w 251494"/>
                <a:gd name="connsiteY3" fmla="*/ 203670 h 251494"/>
                <a:gd name="connsiteX4" fmla="*/ 101001 w 251494"/>
                <a:gd name="connsiteY4" fmla="*/ 202399 h 251494"/>
                <a:gd name="connsiteX5" fmla="*/ 101001 w 251494"/>
                <a:gd name="connsiteY5" fmla="*/ 196267 h 251494"/>
                <a:gd name="connsiteX6" fmla="*/ 171520 w 251494"/>
                <a:gd name="connsiteY6" fmla="*/ 125748 h 251494"/>
                <a:gd name="connsiteX7" fmla="*/ 101001 w 251494"/>
                <a:gd name="connsiteY7" fmla="*/ 55228 h 251494"/>
                <a:gd name="connsiteX8" fmla="*/ 101001 w 251494"/>
                <a:gd name="connsiteY8" fmla="*/ 49096 h 251494"/>
                <a:gd name="connsiteX9" fmla="*/ 107134 w 251494"/>
                <a:gd name="connsiteY9" fmla="*/ 49096 h 251494"/>
                <a:gd name="connsiteX10" fmla="*/ 180719 w 251494"/>
                <a:gd name="connsiteY10" fmla="*/ 122681 h 251494"/>
                <a:gd name="connsiteX11" fmla="*/ 251495 w 251494"/>
                <a:gd name="connsiteY11" fmla="*/ 125748 h 251494"/>
                <a:gd name="connsiteX12" fmla="*/ 125747 w 251494"/>
                <a:gd name="connsiteY12" fmla="*/ 251495 h 251494"/>
                <a:gd name="connsiteX13" fmla="*/ 0 w 251494"/>
                <a:gd name="connsiteY13" fmla="*/ 125748 h 251494"/>
                <a:gd name="connsiteX14" fmla="*/ 125747 w 251494"/>
                <a:gd name="connsiteY14" fmla="*/ 0 h 251494"/>
                <a:gd name="connsiteX15" fmla="*/ 251495 w 251494"/>
                <a:gd name="connsiteY15" fmla="*/ 125748 h 251494"/>
                <a:gd name="connsiteX16" fmla="*/ 242826 w 251494"/>
                <a:gd name="connsiteY16" fmla="*/ 125748 h 251494"/>
                <a:gd name="connsiteX17" fmla="*/ 125753 w 251494"/>
                <a:gd name="connsiteY17" fmla="*/ 8674 h 251494"/>
                <a:gd name="connsiteX18" fmla="*/ 8680 w 251494"/>
                <a:gd name="connsiteY18" fmla="*/ 125748 h 251494"/>
                <a:gd name="connsiteX19" fmla="*/ 125753 w 251494"/>
                <a:gd name="connsiteY19" fmla="*/ 242821 h 251494"/>
                <a:gd name="connsiteX20" fmla="*/ 242826 w 251494"/>
                <a:gd name="connsiteY20" fmla="*/ 125748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494" h="251494">
                  <a:moveTo>
                    <a:pt x="180719" y="122681"/>
                  </a:moveTo>
                  <a:cubicBezTo>
                    <a:pt x="182416" y="124378"/>
                    <a:pt x="182416" y="127117"/>
                    <a:pt x="180719" y="128814"/>
                  </a:cubicBezTo>
                  <a:lnTo>
                    <a:pt x="107134" y="202399"/>
                  </a:lnTo>
                  <a:cubicBezTo>
                    <a:pt x="106289" y="203244"/>
                    <a:pt x="105175" y="203670"/>
                    <a:pt x="104068" y="203670"/>
                  </a:cubicBezTo>
                  <a:cubicBezTo>
                    <a:pt x="102960" y="203670"/>
                    <a:pt x="101847" y="203244"/>
                    <a:pt x="101001" y="202399"/>
                  </a:cubicBezTo>
                  <a:cubicBezTo>
                    <a:pt x="99305" y="200703"/>
                    <a:pt x="99305" y="197963"/>
                    <a:pt x="101001" y="196267"/>
                  </a:cubicBezTo>
                  <a:lnTo>
                    <a:pt x="171520" y="125748"/>
                  </a:lnTo>
                  <a:lnTo>
                    <a:pt x="101001" y="55228"/>
                  </a:lnTo>
                  <a:cubicBezTo>
                    <a:pt x="99305" y="53532"/>
                    <a:pt x="99305" y="50792"/>
                    <a:pt x="101001" y="49096"/>
                  </a:cubicBezTo>
                  <a:cubicBezTo>
                    <a:pt x="102698" y="47399"/>
                    <a:pt x="105438" y="47399"/>
                    <a:pt x="107134" y="49096"/>
                  </a:cubicBezTo>
                  <a:lnTo>
                    <a:pt x="180719" y="122681"/>
                  </a:lnTo>
                  <a:close/>
                  <a:moveTo>
                    <a:pt x="251495" y="125748"/>
                  </a:moveTo>
                  <a:cubicBezTo>
                    <a:pt x="251495" y="195083"/>
                    <a:pt x="195083" y="251495"/>
                    <a:pt x="125747" y="251495"/>
                  </a:cubicBezTo>
                  <a:cubicBezTo>
                    <a:pt x="56412" y="251495"/>
                    <a:pt x="0" y="195083"/>
                    <a:pt x="0" y="125748"/>
                  </a:cubicBezTo>
                  <a:cubicBezTo>
                    <a:pt x="0" y="56412"/>
                    <a:pt x="56412" y="0"/>
                    <a:pt x="125747" y="0"/>
                  </a:cubicBezTo>
                  <a:cubicBezTo>
                    <a:pt x="195089" y="0"/>
                    <a:pt x="251495" y="56406"/>
                    <a:pt x="251495" y="125748"/>
                  </a:cubicBezTo>
                  <a:close/>
                  <a:moveTo>
                    <a:pt x="242826" y="125748"/>
                  </a:moveTo>
                  <a:cubicBezTo>
                    <a:pt x="242826" y="61192"/>
                    <a:pt x="190309" y="8674"/>
                    <a:pt x="125753" y="8674"/>
                  </a:cubicBezTo>
                  <a:cubicBezTo>
                    <a:pt x="61198" y="8674"/>
                    <a:pt x="8680" y="61192"/>
                    <a:pt x="8680" y="125748"/>
                  </a:cubicBezTo>
                  <a:cubicBezTo>
                    <a:pt x="8680" y="190303"/>
                    <a:pt x="61198" y="242821"/>
                    <a:pt x="125753" y="242821"/>
                  </a:cubicBezTo>
                  <a:cubicBezTo>
                    <a:pt x="190303" y="242821"/>
                    <a:pt x="242826" y="190303"/>
                    <a:pt x="242826" y="125748"/>
                  </a:cubicBezTo>
                  <a:close/>
                </a:path>
              </a:pathLst>
            </a:custGeom>
            <a:solidFill>
              <a:schemeClr val="tx2"/>
            </a:solidFill>
            <a:ln w="581" cap="flat">
              <a:noFill/>
              <a:prstDash val="solid"/>
              <a:miter/>
            </a:ln>
          </p:spPr>
          <p:txBody>
            <a:bodyPr rtlCol="0" anchor="ctr"/>
            <a:lstStyle/>
            <a:p>
              <a:endParaRPr lang="en-GB" dirty="0"/>
            </a:p>
          </p:txBody>
        </p:sp>
        <p:sp>
          <p:nvSpPr>
            <p:cNvPr id="155" name="Freihandform: Form 154">
              <a:extLst>
                <a:ext uri="{FF2B5EF4-FFF2-40B4-BE49-F238E27FC236}">
                  <a16:creationId xmlns:a16="http://schemas.microsoft.com/office/drawing/2014/main" id="{1D7243DD-4C73-4B17-B932-25A3FF249B68}"/>
                </a:ext>
              </a:extLst>
            </p:cNvPr>
            <p:cNvSpPr>
              <a:spLocks noChangeAspect="1"/>
            </p:cNvSpPr>
            <p:nvPr/>
          </p:nvSpPr>
          <p:spPr>
            <a:xfrm>
              <a:off x="2567141" y="2416510"/>
              <a:ext cx="169115" cy="234153"/>
            </a:xfrm>
            <a:custGeom>
              <a:avLst/>
              <a:gdLst>
                <a:gd name="connsiteX0" fmla="*/ 158645 w 169115"/>
                <a:gd name="connsiteY0" fmla="*/ 117080 h 234153"/>
                <a:gd name="connsiteX1" fmla="*/ 48969 w 169115"/>
                <a:gd name="connsiteY1" fmla="*/ 7405 h 234153"/>
                <a:gd name="connsiteX2" fmla="*/ 48969 w 169115"/>
                <a:gd name="connsiteY2" fmla="*/ 1272 h 234153"/>
                <a:gd name="connsiteX3" fmla="*/ 55102 w 169115"/>
                <a:gd name="connsiteY3" fmla="*/ 1272 h 234153"/>
                <a:gd name="connsiteX4" fmla="*/ 167843 w 169115"/>
                <a:gd name="connsiteY4" fmla="*/ 114008 h 234153"/>
                <a:gd name="connsiteX5" fmla="*/ 167843 w 169115"/>
                <a:gd name="connsiteY5" fmla="*/ 120141 h 234153"/>
                <a:gd name="connsiteX6" fmla="*/ 55102 w 169115"/>
                <a:gd name="connsiteY6" fmla="*/ 232883 h 234153"/>
                <a:gd name="connsiteX7" fmla="*/ 52035 w 169115"/>
                <a:gd name="connsiteY7" fmla="*/ 234154 h 234153"/>
                <a:gd name="connsiteX8" fmla="*/ 48969 w 169115"/>
                <a:gd name="connsiteY8" fmla="*/ 232883 h 234153"/>
                <a:gd name="connsiteX9" fmla="*/ 48969 w 169115"/>
                <a:gd name="connsiteY9" fmla="*/ 226750 h 234153"/>
                <a:gd name="connsiteX10" fmla="*/ 158645 w 169115"/>
                <a:gd name="connsiteY10" fmla="*/ 117080 h 234153"/>
                <a:gd name="connsiteX11" fmla="*/ 1272 w 169115"/>
                <a:gd name="connsiteY11" fmla="*/ 232883 h 234153"/>
                <a:gd name="connsiteX12" fmla="*/ 4339 w 169115"/>
                <a:gd name="connsiteY12" fmla="*/ 234154 h 234153"/>
                <a:gd name="connsiteX13" fmla="*/ 7405 w 169115"/>
                <a:gd name="connsiteY13" fmla="*/ 232883 h 234153"/>
                <a:gd name="connsiteX14" fmla="*/ 120147 w 169115"/>
                <a:gd name="connsiteY14" fmla="*/ 120141 h 234153"/>
                <a:gd name="connsiteX15" fmla="*/ 120147 w 169115"/>
                <a:gd name="connsiteY15" fmla="*/ 114008 h 234153"/>
                <a:gd name="connsiteX16" fmla="*/ 7405 w 169115"/>
                <a:gd name="connsiteY16" fmla="*/ 1272 h 234153"/>
                <a:gd name="connsiteX17" fmla="*/ 1272 w 169115"/>
                <a:gd name="connsiteY17" fmla="*/ 1272 h 234153"/>
                <a:gd name="connsiteX18" fmla="*/ 1272 w 169115"/>
                <a:gd name="connsiteY18" fmla="*/ 7405 h 234153"/>
                <a:gd name="connsiteX19" fmla="*/ 110948 w 169115"/>
                <a:gd name="connsiteY19" fmla="*/ 117080 h 234153"/>
                <a:gd name="connsiteX20" fmla="*/ 1272 w 169115"/>
                <a:gd name="connsiteY20" fmla="*/ 226756 h 234153"/>
                <a:gd name="connsiteX21" fmla="*/ 1272 w 169115"/>
                <a:gd name="connsiteY21" fmla="*/ 232883 h 23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69115" h="234153">
                  <a:moveTo>
                    <a:pt x="158645" y="117080"/>
                  </a:moveTo>
                  <a:lnTo>
                    <a:pt x="48969" y="7405"/>
                  </a:lnTo>
                  <a:cubicBezTo>
                    <a:pt x="47273" y="5709"/>
                    <a:pt x="47273" y="2969"/>
                    <a:pt x="48969" y="1272"/>
                  </a:cubicBezTo>
                  <a:cubicBezTo>
                    <a:pt x="50665" y="-424"/>
                    <a:pt x="53405" y="-424"/>
                    <a:pt x="55102" y="1272"/>
                  </a:cubicBezTo>
                  <a:lnTo>
                    <a:pt x="167843" y="114008"/>
                  </a:lnTo>
                  <a:cubicBezTo>
                    <a:pt x="169540" y="115705"/>
                    <a:pt x="169540" y="118445"/>
                    <a:pt x="167843" y="120141"/>
                  </a:cubicBezTo>
                  <a:lnTo>
                    <a:pt x="55102" y="232883"/>
                  </a:lnTo>
                  <a:cubicBezTo>
                    <a:pt x="54256" y="233728"/>
                    <a:pt x="53143" y="234154"/>
                    <a:pt x="52035" y="234154"/>
                  </a:cubicBezTo>
                  <a:cubicBezTo>
                    <a:pt x="50928" y="234154"/>
                    <a:pt x="49814" y="233728"/>
                    <a:pt x="48969" y="232883"/>
                  </a:cubicBezTo>
                  <a:cubicBezTo>
                    <a:pt x="47273" y="231186"/>
                    <a:pt x="47273" y="228447"/>
                    <a:pt x="48969" y="226750"/>
                  </a:cubicBezTo>
                  <a:lnTo>
                    <a:pt x="158645" y="117080"/>
                  </a:lnTo>
                  <a:close/>
                  <a:moveTo>
                    <a:pt x="1272" y="232883"/>
                  </a:moveTo>
                  <a:cubicBezTo>
                    <a:pt x="2118" y="233728"/>
                    <a:pt x="3231" y="234154"/>
                    <a:pt x="4339" y="234154"/>
                  </a:cubicBezTo>
                  <a:cubicBezTo>
                    <a:pt x="5446" y="234154"/>
                    <a:pt x="6560" y="233728"/>
                    <a:pt x="7405" y="232883"/>
                  </a:cubicBezTo>
                  <a:lnTo>
                    <a:pt x="120147" y="120141"/>
                  </a:lnTo>
                  <a:cubicBezTo>
                    <a:pt x="121843" y="118445"/>
                    <a:pt x="121843" y="115705"/>
                    <a:pt x="120147" y="114008"/>
                  </a:cubicBezTo>
                  <a:lnTo>
                    <a:pt x="7405" y="1272"/>
                  </a:lnTo>
                  <a:cubicBezTo>
                    <a:pt x="5709" y="-424"/>
                    <a:pt x="2969" y="-424"/>
                    <a:pt x="1272" y="1272"/>
                  </a:cubicBezTo>
                  <a:cubicBezTo>
                    <a:pt x="-424" y="2969"/>
                    <a:pt x="-424" y="5709"/>
                    <a:pt x="1272" y="7405"/>
                  </a:cubicBezTo>
                  <a:lnTo>
                    <a:pt x="110948" y="117080"/>
                  </a:lnTo>
                  <a:lnTo>
                    <a:pt x="1272" y="226756"/>
                  </a:lnTo>
                  <a:cubicBezTo>
                    <a:pt x="-418" y="228447"/>
                    <a:pt x="-418" y="231192"/>
                    <a:pt x="1272" y="232883"/>
                  </a:cubicBezTo>
                  <a:close/>
                </a:path>
              </a:pathLst>
            </a:custGeom>
            <a:solidFill>
              <a:schemeClr val="tx2"/>
            </a:solidFill>
            <a:ln w="581" cap="flat">
              <a:noFill/>
              <a:prstDash val="solid"/>
              <a:miter/>
            </a:ln>
          </p:spPr>
          <p:txBody>
            <a:bodyPr rtlCol="0" anchor="ctr"/>
            <a:lstStyle/>
            <a:p>
              <a:endParaRPr lang="en-GB" dirty="0"/>
            </a:p>
          </p:txBody>
        </p:sp>
        <p:sp>
          <p:nvSpPr>
            <p:cNvPr id="159" name="Freihandform: Form 158">
              <a:extLst>
                <a:ext uri="{FF2B5EF4-FFF2-40B4-BE49-F238E27FC236}">
                  <a16:creationId xmlns:a16="http://schemas.microsoft.com/office/drawing/2014/main" id="{E09F2B50-9F01-4068-B710-203FDCFB40F3}"/>
                </a:ext>
              </a:extLst>
            </p:cNvPr>
            <p:cNvSpPr>
              <a:spLocks noChangeAspect="1"/>
            </p:cNvSpPr>
            <p:nvPr/>
          </p:nvSpPr>
          <p:spPr>
            <a:xfrm>
              <a:off x="2525950" y="3674487"/>
              <a:ext cx="251497" cy="251494"/>
            </a:xfrm>
            <a:custGeom>
              <a:avLst/>
              <a:gdLst>
                <a:gd name="connsiteX0" fmla="*/ 125749 w 251497"/>
                <a:gd name="connsiteY0" fmla="*/ 0 h 251494"/>
                <a:gd name="connsiteX1" fmla="*/ 130086 w 251497"/>
                <a:gd name="connsiteY1" fmla="*/ 4337 h 251494"/>
                <a:gd name="connsiteX2" fmla="*/ 130086 w 251497"/>
                <a:gd name="connsiteY2" fmla="*/ 247158 h 251494"/>
                <a:gd name="connsiteX3" fmla="*/ 125749 w 251497"/>
                <a:gd name="connsiteY3" fmla="*/ 251495 h 251494"/>
                <a:gd name="connsiteX4" fmla="*/ 121412 w 251497"/>
                <a:gd name="connsiteY4" fmla="*/ 247158 h 251494"/>
                <a:gd name="connsiteX5" fmla="*/ 121412 w 251497"/>
                <a:gd name="connsiteY5" fmla="*/ 4337 h 251494"/>
                <a:gd name="connsiteX6" fmla="*/ 125749 w 251497"/>
                <a:gd name="connsiteY6" fmla="*/ 0 h 251494"/>
                <a:gd name="connsiteX7" fmla="*/ 250226 w 251497"/>
                <a:gd name="connsiteY7" fmla="*/ 114007 h 251494"/>
                <a:gd name="connsiteX8" fmla="*/ 206866 w 251497"/>
                <a:gd name="connsiteY8" fmla="*/ 70647 h 251494"/>
                <a:gd name="connsiteX9" fmla="*/ 200733 w 251497"/>
                <a:gd name="connsiteY9" fmla="*/ 70647 h 251494"/>
                <a:gd name="connsiteX10" fmla="*/ 200733 w 251497"/>
                <a:gd name="connsiteY10" fmla="*/ 76780 h 251494"/>
                <a:gd name="connsiteX11" fmla="*/ 236690 w 251497"/>
                <a:gd name="connsiteY11" fmla="*/ 112742 h 251494"/>
                <a:gd name="connsiteX12" fmla="*/ 160434 w 251497"/>
                <a:gd name="connsiteY12" fmla="*/ 112742 h 251494"/>
                <a:gd name="connsiteX13" fmla="*/ 156097 w 251497"/>
                <a:gd name="connsiteY13" fmla="*/ 117079 h 251494"/>
                <a:gd name="connsiteX14" fmla="*/ 160434 w 251497"/>
                <a:gd name="connsiteY14" fmla="*/ 121416 h 251494"/>
                <a:gd name="connsiteX15" fmla="*/ 236690 w 251497"/>
                <a:gd name="connsiteY15" fmla="*/ 121416 h 251494"/>
                <a:gd name="connsiteX16" fmla="*/ 200733 w 251497"/>
                <a:gd name="connsiteY16" fmla="*/ 157378 h 251494"/>
                <a:gd name="connsiteX17" fmla="*/ 200733 w 251497"/>
                <a:gd name="connsiteY17" fmla="*/ 163511 h 251494"/>
                <a:gd name="connsiteX18" fmla="*/ 203800 w 251497"/>
                <a:gd name="connsiteY18" fmla="*/ 164782 h 251494"/>
                <a:gd name="connsiteX19" fmla="*/ 206866 w 251497"/>
                <a:gd name="connsiteY19" fmla="*/ 163511 h 251494"/>
                <a:gd name="connsiteX20" fmla="*/ 250226 w 251497"/>
                <a:gd name="connsiteY20" fmla="*/ 120151 h 251494"/>
                <a:gd name="connsiteX21" fmla="*/ 250226 w 251497"/>
                <a:gd name="connsiteY21" fmla="*/ 114007 h 251494"/>
                <a:gd name="connsiteX22" fmla="*/ 44632 w 251497"/>
                <a:gd name="connsiteY22" fmla="*/ 163499 h 251494"/>
                <a:gd name="connsiteX23" fmla="*/ 47698 w 251497"/>
                <a:gd name="connsiteY23" fmla="*/ 164770 h 251494"/>
                <a:gd name="connsiteX24" fmla="*/ 50764 w 251497"/>
                <a:gd name="connsiteY24" fmla="*/ 163499 h 251494"/>
                <a:gd name="connsiteX25" fmla="*/ 50764 w 251497"/>
                <a:gd name="connsiteY25" fmla="*/ 157366 h 251494"/>
                <a:gd name="connsiteX26" fmla="*/ 14808 w 251497"/>
                <a:gd name="connsiteY26" fmla="*/ 121404 h 251494"/>
                <a:gd name="connsiteX27" fmla="*/ 91064 w 251497"/>
                <a:gd name="connsiteY27" fmla="*/ 121404 h 251494"/>
                <a:gd name="connsiteX28" fmla="*/ 95401 w 251497"/>
                <a:gd name="connsiteY28" fmla="*/ 117067 h 251494"/>
                <a:gd name="connsiteX29" fmla="*/ 91064 w 251497"/>
                <a:gd name="connsiteY29" fmla="*/ 112730 h 251494"/>
                <a:gd name="connsiteX30" fmla="*/ 14808 w 251497"/>
                <a:gd name="connsiteY30" fmla="*/ 112730 h 251494"/>
                <a:gd name="connsiteX31" fmla="*/ 50764 w 251497"/>
                <a:gd name="connsiteY31" fmla="*/ 76768 h 251494"/>
                <a:gd name="connsiteX32" fmla="*/ 50764 w 251497"/>
                <a:gd name="connsiteY32" fmla="*/ 70636 h 251494"/>
                <a:gd name="connsiteX33" fmla="*/ 44632 w 251497"/>
                <a:gd name="connsiteY33" fmla="*/ 70636 h 251494"/>
                <a:gd name="connsiteX34" fmla="*/ 1272 w 251497"/>
                <a:gd name="connsiteY34" fmla="*/ 113995 h 251494"/>
                <a:gd name="connsiteX35" fmla="*/ 1272 w 251497"/>
                <a:gd name="connsiteY35" fmla="*/ 120128 h 251494"/>
                <a:gd name="connsiteX36" fmla="*/ 44632 w 251497"/>
                <a:gd name="connsiteY36" fmla="*/ 163499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1497" h="251494">
                  <a:moveTo>
                    <a:pt x="125749" y="0"/>
                  </a:moveTo>
                  <a:cubicBezTo>
                    <a:pt x="128145" y="0"/>
                    <a:pt x="130086" y="1941"/>
                    <a:pt x="130086" y="4337"/>
                  </a:cubicBezTo>
                  <a:lnTo>
                    <a:pt x="130086" y="247158"/>
                  </a:lnTo>
                  <a:cubicBezTo>
                    <a:pt x="130086" y="249554"/>
                    <a:pt x="128145" y="251495"/>
                    <a:pt x="125749" y="251495"/>
                  </a:cubicBezTo>
                  <a:cubicBezTo>
                    <a:pt x="123353" y="251495"/>
                    <a:pt x="121412" y="249554"/>
                    <a:pt x="121412" y="247158"/>
                  </a:cubicBezTo>
                  <a:lnTo>
                    <a:pt x="121412" y="4337"/>
                  </a:lnTo>
                  <a:cubicBezTo>
                    <a:pt x="121412" y="1935"/>
                    <a:pt x="123353" y="0"/>
                    <a:pt x="125749" y="0"/>
                  </a:cubicBezTo>
                  <a:close/>
                  <a:moveTo>
                    <a:pt x="250226" y="114007"/>
                  </a:moveTo>
                  <a:lnTo>
                    <a:pt x="206866" y="70647"/>
                  </a:lnTo>
                  <a:cubicBezTo>
                    <a:pt x="205170" y="68951"/>
                    <a:pt x="202430" y="68951"/>
                    <a:pt x="200733" y="70647"/>
                  </a:cubicBezTo>
                  <a:cubicBezTo>
                    <a:pt x="199037" y="72344"/>
                    <a:pt x="199037" y="75084"/>
                    <a:pt x="200733" y="76780"/>
                  </a:cubicBezTo>
                  <a:lnTo>
                    <a:pt x="236690" y="112742"/>
                  </a:lnTo>
                  <a:lnTo>
                    <a:pt x="160434" y="112742"/>
                  </a:lnTo>
                  <a:cubicBezTo>
                    <a:pt x="158038" y="112742"/>
                    <a:pt x="156097" y="114683"/>
                    <a:pt x="156097" y="117079"/>
                  </a:cubicBezTo>
                  <a:cubicBezTo>
                    <a:pt x="156097" y="119475"/>
                    <a:pt x="158038" y="121416"/>
                    <a:pt x="160434" y="121416"/>
                  </a:cubicBezTo>
                  <a:lnTo>
                    <a:pt x="236690" y="121416"/>
                  </a:lnTo>
                  <a:lnTo>
                    <a:pt x="200733" y="157378"/>
                  </a:lnTo>
                  <a:cubicBezTo>
                    <a:pt x="199037" y="159075"/>
                    <a:pt x="199037" y="161814"/>
                    <a:pt x="200733" y="163511"/>
                  </a:cubicBezTo>
                  <a:cubicBezTo>
                    <a:pt x="201578" y="164356"/>
                    <a:pt x="202692" y="164782"/>
                    <a:pt x="203800" y="164782"/>
                  </a:cubicBezTo>
                  <a:cubicBezTo>
                    <a:pt x="204907" y="164782"/>
                    <a:pt x="206021" y="164356"/>
                    <a:pt x="206866" y="163511"/>
                  </a:cubicBezTo>
                  <a:lnTo>
                    <a:pt x="250226" y="120151"/>
                  </a:lnTo>
                  <a:cubicBezTo>
                    <a:pt x="251922" y="118443"/>
                    <a:pt x="251922" y="115703"/>
                    <a:pt x="250226" y="114007"/>
                  </a:cubicBezTo>
                  <a:close/>
                  <a:moveTo>
                    <a:pt x="44632" y="163499"/>
                  </a:moveTo>
                  <a:cubicBezTo>
                    <a:pt x="45477" y="164344"/>
                    <a:pt x="46591" y="164770"/>
                    <a:pt x="47698" y="164770"/>
                  </a:cubicBezTo>
                  <a:cubicBezTo>
                    <a:pt x="48806" y="164770"/>
                    <a:pt x="49919" y="164344"/>
                    <a:pt x="50764" y="163499"/>
                  </a:cubicBezTo>
                  <a:cubicBezTo>
                    <a:pt x="52461" y="161803"/>
                    <a:pt x="52461" y="159063"/>
                    <a:pt x="50764" y="157366"/>
                  </a:cubicBezTo>
                  <a:lnTo>
                    <a:pt x="14808" y="121404"/>
                  </a:lnTo>
                  <a:lnTo>
                    <a:pt x="91064" y="121404"/>
                  </a:lnTo>
                  <a:cubicBezTo>
                    <a:pt x="93459" y="121404"/>
                    <a:pt x="95401" y="119463"/>
                    <a:pt x="95401" y="117067"/>
                  </a:cubicBezTo>
                  <a:cubicBezTo>
                    <a:pt x="95401" y="114671"/>
                    <a:pt x="93459" y="112730"/>
                    <a:pt x="91064" y="112730"/>
                  </a:cubicBezTo>
                  <a:lnTo>
                    <a:pt x="14808" y="112730"/>
                  </a:lnTo>
                  <a:lnTo>
                    <a:pt x="50764" y="76768"/>
                  </a:lnTo>
                  <a:cubicBezTo>
                    <a:pt x="52461" y="75072"/>
                    <a:pt x="52461" y="72332"/>
                    <a:pt x="50764" y="70636"/>
                  </a:cubicBezTo>
                  <a:cubicBezTo>
                    <a:pt x="49068" y="68939"/>
                    <a:pt x="46328" y="68939"/>
                    <a:pt x="44632" y="70636"/>
                  </a:cubicBezTo>
                  <a:lnTo>
                    <a:pt x="1272" y="113995"/>
                  </a:lnTo>
                  <a:cubicBezTo>
                    <a:pt x="-424" y="115692"/>
                    <a:pt x="-424" y="118432"/>
                    <a:pt x="1272" y="120128"/>
                  </a:cubicBezTo>
                  <a:lnTo>
                    <a:pt x="44632" y="163499"/>
                  </a:lnTo>
                  <a:close/>
                </a:path>
              </a:pathLst>
            </a:custGeom>
            <a:solidFill>
              <a:schemeClr val="tx2"/>
            </a:solidFill>
            <a:ln w="581" cap="flat">
              <a:noFill/>
              <a:prstDash val="solid"/>
              <a:miter/>
            </a:ln>
          </p:spPr>
          <p:txBody>
            <a:bodyPr rtlCol="0" anchor="ctr"/>
            <a:lstStyle/>
            <a:p>
              <a:endParaRPr lang="en-GB" dirty="0"/>
            </a:p>
          </p:txBody>
        </p:sp>
        <p:sp>
          <p:nvSpPr>
            <p:cNvPr id="167" name="Freihandform: Form 166">
              <a:extLst>
                <a:ext uri="{FF2B5EF4-FFF2-40B4-BE49-F238E27FC236}">
                  <a16:creationId xmlns:a16="http://schemas.microsoft.com/office/drawing/2014/main" id="{7AFCD2BF-13A1-4F56-93CF-E210243A9B36}"/>
                </a:ext>
              </a:extLst>
            </p:cNvPr>
            <p:cNvSpPr>
              <a:spLocks noChangeAspect="1"/>
            </p:cNvSpPr>
            <p:nvPr/>
          </p:nvSpPr>
          <p:spPr>
            <a:xfrm>
              <a:off x="2538960" y="4498906"/>
              <a:ext cx="225477" cy="251500"/>
            </a:xfrm>
            <a:custGeom>
              <a:avLst/>
              <a:gdLst>
                <a:gd name="connsiteX0" fmla="*/ 108399 w 225477"/>
                <a:gd name="connsiteY0" fmla="*/ 184660 h 251500"/>
                <a:gd name="connsiteX1" fmla="*/ 108399 w 225477"/>
                <a:gd name="connsiteY1" fmla="*/ 4337 h 251500"/>
                <a:gd name="connsiteX2" fmla="*/ 112736 w 225477"/>
                <a:gd name="connsiteY2" fmla="*/ 0 h 251500"/>
                <a:gd name="connsiteX3" fmla="*/ 117073 w 225477"/>
                <a:gd name="connsiteY3" fmla="*/ 4337 h 251500"/>
                <a:gd name="connsiteX4" fmla="*/ 117073 w 225477"/>
                <a:gd name="connsiteY4" fmla="*/ 184660 h 251500"/>
                <a:gd name="connsiteX5" fmla="*/ 192058 w 225477"/>
                <a:gd name="connsiteY5" fmla="*/ 109676 h 251500"/>
                <a:gd name="connsiteX6" fmla="*/ 198190 w 225477"/>
                <a:gd name="connsiteY6" fmla="*/ 109676 h 251500"/>
                <a:gd name="connsiteX7" fmla="*/ 198190 w 225477"/>
                <a:gd name="connsiteY7" fmla="*/ 115808 h 251500"/>
                <a:gd name="connsiteX8" fmla="*/ 115802 w 225477"/>
                <a:gd name="connsiteY8" fmla="*/ 198196 h 251500"/>
                <a:gd name="connsiteX9" fmla="*/ 112736 w 225477"/>
                <a:gd name="connsiteY9" fmla="*/ 199467 h 251500"/>
                <a:gd name="connsiteX10" fmla="*/ 109670 w 225477"/>
                <a:gd name="connsiteY10" fmla="*/ 198196 h 251500"/>
                <a:gd name="connsiteX11" fmla="*/ 27282 w 225477"/>
                <a:gd name="connsiteY11" fmla="*/ 115808 h 251500"/>
                <a:gd name="connsiteX12" fmla="*/ 27282 w 225477"/>
                <a:gd name="connsiteY12" fmla="*/ 109676 h 251500"/>
                <a:gd name="connsiteX13" fmla="*/ 33415 w 225477"/>
                <a:gd name="connsiteY13" fmla="*/ 109676 h 251500"/>
                <a:gd name="connsiteX14" fmla="*/ 108399 w 225477"/>
                <a:gd name="connsiteY14" fmla="*/ 184660 h 251500"/>
                <a:gd name="connsiteX15" fmla="*/ 4337 w 225477"/>
                <a:gd name="connsiteY15" fmla="*/ 177787 h 251500"/>
                <a:gd name="connsiteX16" fmla="*/ 0 w 225477"/>
                <a:gd name="connsiteY16" fmla="*/ 182124 h 251500"/>
                <a:gd name="connsiteX17" fmla="*/ 0 w 225477"/>
                <a:gd name="connsiteY17" fmla="*/ 247164 h 251500"/>
                <a:gd name="connsiteX18" fmla="*/ 4337 w 225477"/>
                <a:gd name="connsiteY18" fmla="*/ 251501 h 251500"/>
                <a:gd name="connsiteX19" fmla="*/ 221141 w 225477"/>
                <a:gd name="connsiteY19" fmla="*/ 251501 h 251500"/>
                <a:gd name="connsiteX20" fmla="*/ 225478 w 225477"/>
                <a:gd name="connsiteY20" fmla="*/ 247164 h 251500"/>
                <a:gd name="connsiteX21" fmla="*/ 225478 w 225477"/>
                <a:gd name="connsiteY21" fmla="*/ 182124 h 251500"/>
                <a:gd name="connsiteX22" fmla="*/ 221141 w 225477"/>
                <a:gd name="connsiteY22" fmla="*/ 177787 h 251500"/>
                <a:gd name="connsiteX23" fmla="*/ 216804 w 225477"/>
                <a:gd name="connsiteY23" fmla="*/ 182124 h 251500"/>
                <a:gd name="connsiteX24" fmla="*/ 216804 w 225477"/>
                <a:gd name="connsiteY24" fmla="*/ 242832 h 251500"/>
                <a:gd name="connsiteX25" fmla="*/ 8668 w 225477"/>
                <a:gd name="connsiteY25" fmla="*/ 242832 h 251500"/>
                <a:gd name="connsiteX26" fmla="*/ 8668 w 225477"/>
                <a:gd name="connsiteY26" fmla="*/ 182124 h 251500"/>
                <a:gd name="connsiteX27" fmla="*/ 4337 w 225477"/>
                <a:gd name="connsiteY27" fmla="*/ 177787 h 25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5477" h="251500">
                  <a:moveTo>
                    <a:pt x="108399" y="184660"/>
                  </a:moveTo>
                  <a:lnTo>
                    <a:pt x="108399" y="4337"/>
                  </a:lnTo>
                  <a:cubicBezTo>
                    <a:pt x="108399" y="1941"/>
                    <a:pt x="110340" y="0"/>
                    <a:pt x="112736" y="0"/>
                  </a:cubicBezTo>
                  <a:cubicBezTo>
                    <a:pt x="115132" y="0"/>
                    <a:pt x="117073" y="1941"/>
                    <a:pt x="117073" y="4337"/>
                  </a:cubicBezTo>
                  <a:lnTo>
                    <a:pt x="117073" y="184660"/>
                  </a:lnTo>
                  <a:lnTo>
                    <a:pt x="192058" y="109676"/>
                  </a:lnTo>
                  <a:cubicBezTo>
                    <a:pt x="193754" y="107979"/>
                    <a:pt x="196494" y="107979"/>
                    <a:pt x="198190" y="109676"/>
                  </a:cubicBezTo>
                  <a:cubicBezTo>
                    <a:pt x="199887" y="111372"/>
                    <a:pt x="199887" y="114112"/>
                    <a:pt x="198190" y="115808"/>
                  </a:cubicBezTo>
                  <a:lnTo>
                    <a:pt x="115802" y="198196"/>
                  </a:lnTo>
                  <a:cubicBezTo>
                    <a:pt x="114957" y="199041"/>
                    <a:pt x="113844" y="199467"/>
                    <a:pt x="112736" y="199467"/>
                  </a:cubicBezTo>
                  <a:cubicBezTo>
                    <a:pt x="111628" y="199467"/>
                    <a:pt x="110515" y="199041"/>
                    <a:pt x="109670" y="198196"/>
                  </a:cubicBezTo>
                  <a:lnTo>
                    <a:pt x="27282" y="115808"/>
                  </a:lnTo>
                  <a:cubicBezTo>
                    <a:pt x="25586" y="114112"/>
                    <a:pt x="25586" y="111372"/>
                    <a:pt x="27282" y="109676"/>
                  </a:cubicBezTo>
                  <a:cubicBezTo>
                    <a:pt x="28978" y="107979"/>
                    <a:pt x="31718" y="107979"/>
                    <a:pt x="33415" y="109676"/>
                  </a:cubicBezTo>
                  <a:lnTo>
                    <a:pt x="108399" y="184660"/>
                  </a:lnTo>
                  <a:close/>
                  <a:moveTo>
                    <a:pt x="4337" y="177787"/>
                  </a:moveTo>
                  <a:cubicBezTo>
                    <a:pt x="1941" y="177787"/>
                    <a:pt x="0" y="179728"/>
                    <a:pt x="0" y="182124"/>
                  </a:cubicBezTo>
                  <a:lnTo>
                    <a:pt x="0" y="247164"/>
                  </a:lnTo>
                  <a:cubicBezTo>
                    <a:pt x="0" y="249560"/>
                    <a:pt x="1941" y="251501"/>
                    <a:pt x="4337" y="251501"/>
                  </a:cubicBezTo>
                  <a:lnTo>
                    <a:pt x="221141" y="251501"/>
                  </a:lnTo>
                  <a:cubicBezTo>
                    <a:pt x="223537" y="251501"/>
                    <a:pt x="225478" y="249560"/>
                    <a:pt x="225478" y="247164"/>
                  </a:cubicBezTo>
                  <a:lnTo>
                    <a:pt x="225478" y="182124"/>
                  </a:lnTo>
                  <a:cubicBezTo>
                    <a:pt x="225478" y="179728"/>
                    <a:pt x="223537" y="177787"/>
                    <a:pt x="221141" y="177787"/>
                  </a:cubicBezTo>
                  <a:cubicBezTo>
                    <a:pt x="218745" y="177787"/>
                    <a:pt x="216804" y="179728"/>
                    <a:pt x="216804" y="182124"/>
                  </a:cubicBezTo>
                  <a:lnTo>
                    <a:pt x="216804" y="242832"/>
                  </a:lnTo>
                  <a:lnTo>
                    <a:pt x="8668" y="242832"/>
                  </a:lnTo>
                  <a:lnTo>
                    <a:pt x="8668" y="182124"/>
                  </a:lnTo>
                  <a:cubicBezTo>
                    <a:pt x="8668" y="179723"/>
                    <a:pt x="6733" y="177787"/>
                    <a:pt x="4337" y="177787"/>
                  </a:cubicBezTo>
                  <a:close/>
                </a:path>
              </a:pathLst>
            </a:custGeom>
            <a:solidFill>
              <a:schemeClr val="tx2"/>
            </a:solidFill>
            <a:ln w="581" cap="flat">
              <a:noFill/>
              <a:prstDash val="solid"/>
              <a:miter/>
            </a:ln>
          </p:spPr>
          <p:txBody>
            <a:bodyPr rtlCol="0" anchor="ctr"/>
            <a:lstStyle/>
            <a:p>
              <a:endParaRPr lang="en-GB" dirty="0"/>
            </a:p>
          </p:txBody>
        </p:sp>
        <p:sp>
          <p:nvSpPr>
            <p:cNvPr id="132" name="Freihandform: Form 131">
              <a:extLst>
                <a:ext uri="{FF2B5EF4-FFF2-40B4-BE49-F238E27FC236}">
                  <a16:creationId xmlns:a16="http://schemas.microsoft.com/office/drawing/2014/main" id="{A17A5F37-0B2D-4653-A577-C07474EAD366}"/>
                </a:ext>
              </a:extLst>
            </p:cNvPr>
            <p:cNvSpPr>
              <a:spLocks noChangeAspect="1"/>
            </p:cNvSpPr>
            <p:nvPr/>
          </p:nvSpPr>
          <p:spPr>
            <a:xfrm>
              <a:off x="652366" y="1615392"/>
              <a:ext cx="234155" cy="251496"/>
            </a:xfrm>
            <a:custGeom>
              <a:avLst/>
              <a:gdLst>
                <a:gd name="connsiteX0" fmla="*/ 7399 w 234155"/>
                <a:gd name="connsiteY0" fmla="*/ 120141 h 251496"/>
                <a:gd name="connsiteX1" fmla="*/ 112738 w 234155"/>
                <a:gd name="connsiteY1" fmla="*/ 14802 h 251496"/>
                <a:gd name="connsiteX2" fmla="*/ 112738 w 234155"/>
                <a:gd name="connsiteY2" fmla="*/ 247159 h 251496"/>
                <a:gd name="connsiteX3" fmla="*/ 117075 w 234155"/>
                <a:gd name="connsiteY3" fmla="*/ 251496 h 251496"/>
                <a:gd name="connsiteX4" fmla="*/ 121412 w 234155"/>
                <a:gd name="connsiteY4" fmla="*/ 247159 h 251496"/>
                <a:gd name="connsiteX5" fmla="*/ 121412 w 234155"/>
                <a:gd name="connsiteY5" fmla="*/ 14808 h 251496"/>
                <a:gd name="connsiteX6" fmla="*/ 226750 w 234155"/>
                <a:gd name="connsiteY6" fmla="*/ 120147 h 251496"/>
                <a:gd name="connsiteX7" fmla="*/ 229817 w 234155"/>
                <a:gd name="connsiteY7" fmla="*/ 121418 h 251496"/>
                <a:gd name="connsiteX8" fmla="*/ 232883 w 234155"/>
                <a:gd name="connsiteY8" fmla="*/ 120147 h 251496"/>
                <a:gd name="connsiteX9" fmla="*/ 232883 w 234155"/>
                <a:gd name="connsiteY9" fmla="*/ 114014 h 251496"/>
                <a:gd name="connsiteX10" fmla="*/ 120141 w 234155"/>
                <a:gd name="connsiteY10" fmla="*/ 1272 h 251496"/>
                <a:gd name="connsiteX11" fmla="*/ 114008 w 234155"/>
                <a:gd name="connsiteY11" fmla="*/ 1272 h 251496"/>
                <a:gd name="connsiteX12" fmla="*/ 1272 w 234155"/>
                <a:gd name="connsiteY12" fmla="*/ 114008 h 251496"/>
                <a:gd name="connsiteX13" fmla="*/ 1272 w 234155"/>
                <a:gd name="connsiteY13" fmla="*/ 120141 h 251496"/>
                <a:gd name="connsiteX14" fmla="*/ 7399 w 234155"/>
                <a:gd name="connsiteY14" fmla="*/ 120141 h 25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34155" h="251496">
                  <a:moveTo>
                    <a:pt x="7399" y="120141"/>
                  </a:moveTo>
                  <a:lnTo>
                    <a:pt x="112738" y="14802"/>
                  </a:lnTo>
                  <a:lnTo>
                    <a:pt x="112738" y="247159"/>
                  </a:lnTo>
                  <a:cubicBezTo>
                    <a:pt x="112738" y="249555"/>
                    <a:pt x="114679" y="251496"/>
                    <a:pt x="117075" y="251496"/>
                  </a:cubicBezTo>
                  <a:cubicBezTo>
                    <a:pt x="119471" y="251496"/>
                    <a:pt x="121412" y="249555"/>
                    <a:pt x="121412" y="247159"/>
                  </a:cubicBezTo>
                  <a:lnTo>
                    <a:pt x="121412" y="14808"/>
                  </a:lnTo>
                  <a:lnTo>
                    <a:pt x="226750" y="120147"/>
                  </a:lnTo>
                  <a:cubicBezTo>
                    <a:pt x="227596" y="120992"/>
                    <a:pt x="228709" y="121418"/>
                    <a:pt x="229817" y="121418"/>
                  </a:cubicBezTo>
                  <a:cubicBezTo>
                    <a:pt x="230924" y="121418"/>
                    <a:pt x="232038" y="120992"/>
                    <a:pt x="232883" y="120147"/>
                  </a:cubicBezTo>
                  <a:cubicBezTo>
                    <a:pt x="234579" y="118450"/>
                    <a:pt x="234579" y="115711"/>
                    <a:pt x="232883" y="114014"/>
                  </a:cubicBezTo>
                  <a:lnTo>
                    <a:pt x="120141" y="1272"/>
                  </a:lnTo>
                  <a:cubicBezTo>
                    <a:pt x="118445" y="-424"/>
                    <a:pt x="115705" y="-424"/>
                    <a:pt x="114008" y="1272"/>
                  </a:cubicBezTo>
                  <a:lnTo>
                    <a:pt x="1272" y="114008"/>
                  </a:lnTo>
                  <a:cubicBezTo>
                    <a:pt x="-424" y="115705"/>
                    <a:pt x="-424" y="118445"/>
                    <a:pt x="1272" y="120141"/>
                  </a:cubicBezTo>
                  <a:cubicBezTo>
                    <a:pt x="2963" y="121837"/>
                    <a:pt x="5709" y="121837"/>
                    <a:pt x="7399" y="120141"/>
                  </a:cubicBezTo>
                  <a:close/>
                </a:path>
              </a:pathLst>
            </a:custGeom>
            <a:solidFill>
              <a:schemeClr val="tx2"/>
            </a:solidFill>
            <a:ln w="581" cap="flat">
              <a:noFill/>
              <a:prstDash val="solid"/>
              <a:miter/>
            </a:ln>
          </p:spPr>
          <p:txBody>
            <a:bodyPr rtlCol="0" anchor="ctr"/>
            <a:lstStyle/>
            <a:p>
              <a:endParaRPr lang="en-GB" dirty="0"/>
            </a:p>
          </p:txBody>
        </p:sp>
        <p:sp>
          <p:nvSpPr>
            <p:cNvPr id="137" name="Freihandform: Form 136">
              <a:extLst>
                <a:ext uri="{FF2B5EF4-FFF2-40B4-BE49-F238E27FC236}">
                  <a16:creationId xmlns:a16="http://schemas.microsoft.com/office/drawing/2014/main" id="{D6676048-E4DB-415F-B23C-79B021D49069}"/>
                </a:ext>
              </a:extLst>
            </p:cNvPr>
            <p:cNvSpPr>
              <a:spLocks noChangeAspect="1"/>
            </p:cNvSpPr>
            <p:nvPr/>
          </p:nvSpPr>
          <p:spPr>
            <a:xfrm>
              <a:off x="678384" y="2055780"/>
              <a:ext cx="182119" cy="182119"/>
            </a:xfrm>
            <a:custGeom>
              <a:avLst/>
              <a:gdLst>
                <a:gd name="connsiteX0" fmla="*/ 4337 w 182119"/>
                <a:gd name="connsiteY0" fmla="*/ 182120 h 182119"/>
                <a:gd name="connsiteX1" fmla="*/ 164776 w 182119"/>
                <a:gd name="connsiteY1" fmla="*/ 182120 h 182119"/>
                <a:gd name="connsiteX2" fmla="*/ 169113 w 182119"/>
                <a:gd name="connsiteY2" fmla="*/ 177783 h 182119"/>
                <a:gd name="connsiteX3" fmla="*/ 164776 w 182119"/>
                <a:gd name="connsiteY3" fmla="*/ 173446 h 182119"/>
                <a:gd name="connsiteX4" fmla="*/ 14807 w 182119"/>
                <a:gd name="connsiteY4" fmla="*/ 173446 h 182119"/>
                <a:gd name="connsiteX5" fmla="*/ 180848 w 182119"/>
                <a:gd name="connsiteY5" fmla="*/ 7405 h 182119"/>
                <a:gd name="connsiteX6" fmla="*/ 180848 w 182119"/>
                <a:gd name="connsiteY6" fmla="*/ 1272 h 182119"/>
                <a:gd name="connsiteX7" fmla="*/ 174715 w 182119"/>
                <a:gd name="connsiteY7" fmla="*/ 1272 h 182119"/>
                <a:gd name="connsiteX8" fmla="*/ 8674 w 182119"/>
                <a:gd name="connsiteY8" fmla="*/ 167313 h 182119"/>
                <a:gd name="connsiteX9" fmla="*/ 8674 w 182119"/>
                <a:gd name="connsiteY9" fmla="*/ 17344 h 182119"/>
                <a:gd name="connsiteX10" fmla="*/ 4337 w 182119"/>
                <a:gd name="connsiteY10" fmla="*/ 13007 h 182119"/>
                <a:gd name="connsiteX11" fmla="*/ 0 w 182119"/>
                <a:gd name="connsiteY11" fmla="*/ 17344 h 182119"/>
                <a:gd name="connsiteX12" fmla="*/ 0 w 182119"/>
                <a:gd name="connsiteY12" fmla="*/ 177783 h 182119"/>
                <a:gd name="connsiteX13" fmla="*/ 4337 w 182119"/>
                <a:gd name="connsiteY13" fmla="*/ 182120 h 18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119" h="182119">
                  <a:moveTo>
                    <a:pt x="4337" y="182120"/>
                  </a:moveTo>
                  <a:lnTo>
                    <a:pt x="164776" y="182120"/>
                  </a:lnTo>
                  <a:cubicBezTo>
                    <a:pt x="167172" y="182120"/>
                    <a:pt x="169113" y="180179"/>
                    <a:pt x="169113" y="177783"/>
                  </a:cubicBezTo>
                  <a:cubicBezTo>
                    <a:pt x="169113" y="175387"/>
                    <a:pt x="167172" y="173446"/>
                    <a:pt x="164776" y="173446"/>
                  </a:cubicBezTo>
                  <a:lnTo>
                    <a:pt x="14807" y="173446"/>
                  </a:lnTo>
                  <a:lnTo>
                    <a:pt x="180848" y="7405"/>
                  </a:lnTo>
                  <a:cubicBezTo>
                    <a:pt x="182544" y="5709"/>
                    <a:pt x="182544" y="2969"/>
                    <a:pt x="180848" y="1272"/>
                  </a:cubicBezTo>
                  <a:cubicBezTo>
                    <a:pt x="179151" y="-424"/>
                    <a:pt x="176411" y="-424"/>
                    <a:pt x="174715" y="1272"/>
                  </a:cubicBezTo>
                  <a:lnTo>
                    <a:pt x="8674" y="167313"/>
                  </a:lnTo>
                  <a:lnTo>
                    <a:pt x="8674" y="17344"/>
                  </a:lnTo>
                  <a:cubicBezTo>
                    <a:pt x="8674" y="14948"/>
                    <a:pt x="6733" y="13007"/>
                    <a:pt x="4337" y="13007"/>
                  </a:cubicBezTo>
                  <a:cubicBezTo>
                    <a:pt x="1941" y="13007"/>
                    <a:pt x="0" y="14948"/>
                    <a:pt x="0" y="17344"/>
                  </a:cubicBezTo>
                  <a:lnTo>
                    <a:pt x="0" y="177783"/>
                  </a:lnTo>
                  <a:cubicBezTo>
                    <a:pt x="6" y="180179"/>
                    <a:pt x="1941" y="182120"/>
                    <a:pt x="4337" y="182120"/>
                  </a:cubicBezTo>
                  <a:close/>
                </a:path>
              </a:pathLst>
            </a:custGeom>
            <a:solidFill>
              <a:schemeClr val="tx2"/>
            </a:solidFill>
            <a:ln w="581" cap="flat">
              <a:noFill/>
              <a:prstDash val="solid"/>
              <a:miter/>
            </a:ln>
          </p:spPr>
          <p:txBody>
            <a:bodyPr rtlCol="0" anchor="ctr"/>
            <a:lstStyle/>
            <a:p>
              <a:endParaRPr lang="en-GB" dirty="0"/>
            </a:p>
          </p:txBody>
        </p:sp>
        <p:sp>
          <p:nvSpPr>
            <p:cNvPr id="146" name="Freihandform: Form 145">
              <a:extLst>
                <a:ext uri="{FF2B5EF4-FFF2-40B4-BE49-F238E27FC236}">
                  <a16:creationId xmlns:a16="http://schemas.microsoft.com/office/drawing/2014/main" id="{05BED2B6-6CDD-44CC-8C2E-1636D22C7156}"/>
                </a:ext>
              </a:extLst>
            </p:cNvPr>
            <p:cNvSpPr>
              <a:spLocks noChangeAspect="1"/>
            </p:cNvSpPr>
            <p:nvPr/>
          </p:nvSpPr>
          <p:spPr>
            <a:xfrm>
              <a:off x="643696" y="2817100"/>
              <a:ext cx="251494" cy="251494"/>
            </a:xfrm>
            <a:custGeom>
              <a:avLst/>
              <a:gdLst>
                <a:gd name="connsiteX0" fmla="*/ 202399 w 251494"/>
                <a:gd name="connsiteY0" fmla="*/ 148698 h 251494"/>
                <a:gd name="connsiteX1" fmla="*/ 202399 w 251494"/>
                <a:gd name="connsiteY1" fmla="*/ 154831 h 251494"/>
                <a:gd name="connsiteX2" fmla="*/ 199333 w 251494"/>
                <a:gd name="connsiteY2" fmla="*/ 156101 h 251494"/>
                <a:gd name="connsiteX3" fmla="*/ 196267 w 251494"/>
                <a:gd name="connsiteY3" fmla="*/ 154831 h 251494"/>
                <a:gd name="connsiteX4" fmla="*/ 125747 w 251494"/>
                <a:gd name="connsiteY4" fmla="*/ 84312 h 251494"/>
                <a:gd name="connsiteX5" fmla="*/ 55228 w 251494"/>
                <a:gd name="connsiteY5" fmla="*/ 154825 h 251494"/>
                <a:gd name="connsiteX6" fmla="*/ 49096 w 251494"/>
                <a:gd name="connsiteY6" fmla="*/ 154825 h 251494"/>
                <a:gd name="connsiteX7" fmla="*/ 49096 w 251494"/>
                <a:gd name="connsiteY7" fmla="*/ 148692 h 251494"/>
                <a:gd name="connsiteX8" fmla="*/ 122681 w 251494"/>
                <a:gd name="connsiteY8" fmla="*/ 75107 h 251494"/>
                <a:gd name="connsiteX9" fmla="*/ 128814 w 251494"/>
                <a:gd name="connsiteY9" fmla="*/ 75107 h 251494"/>
                <a:gd name="connsiteX10" fmla="*/ 202399 w 251494"/>
                <a:gd name="connsiteY10" fmla="*/ 148698 h 251494"/>
                <a:gd name="connsiteX11" fmla="*/ 251495 w 251494"/>
                <a:gd name="connsiteY11" fmla="*/ 125748 h 251494"/>
                <a:gd name="connsiteX12" fmla="*/ 125747 w 251494"/>
                <a:gd name="connsiteY12" fmla="*/ 251495 h 251494"/>
                <a:gd name="connsiteX13" fmla="*/ 0 w 251494"/>
                <a:gd name="connsiteY13" fmla="*/ 125748 h 251494"/>
                <a:gd name="connsiteX14" fmla="*/ 125747 w 251494"/>
                <a:gd name="connsiteY14" fmla="*/ 0 h 251494"/>
                <a:gd name="connsiteX15" fmla="*/ 251495 w 251494"/>
                <a:gd name="connsiteY15" fmla="*/ 125748 h 251494"/>
                <a:gd name="connsiteX16" fmla="*/ 242821 w 251494"/>
                <a:gd name="connsiteY16" fmla="*/ 125748 h 251494"/>
                <a:gd name="connsiteX17" fmla="*/ 125747 w 251494"/>
                <a:gd name="connsiteY17" fmla="*/ 8674 h 251494"/>
                <a:gd name="connsiteX18" fmla="*/ 8674 w 251494"/>
                <a:gd name="connsiteY18" fmla="*/ 125748 h 251494"/>
                <a:gd name="connsiteX19" fmla="*/ 125747 w 251494"/>
                <a:gd name="connsiteY19" fmla="*/ 242821 h 251494"/>
                <a:gd name="connsiteX20" fmla="*/ 242821 w 251494"/>
                <a:gd name="connsiteY20" fmla="*/ 125748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494" h="251494">
                  <a:moveTo>
                    <a:pt x="202399" y="148698"/>
                  </a:moveTo>
                  <a:cubicBezTo>
                    <a:pt x="204095" y="150394"/>
                    <a:pt x="204095" y="153134"/>
                    <a:pt x="202399" y="154831"/>
                  </a:cubicBezTo>
                  <a:cubicBezTo>
                    <a:pt x="201554" y="155676"/>
                    <a:pt x="200440" y="156101"/>
                    <a:pt x="199333" y="156101"/>
                  </a:cubicBezTo>
                  <a:cubicBezTo>
                    <a:pt x="198225" y="156101"/>
                    <a:pt x="197112" y="155676"/>
                    <a:pt x="196267" y="154831"/>
                  </a:cubicBezTo>
                  <a:lnTo>
                    <a:pt x="125747" y="84312"/>
                  </a:lnTo>
                  <a:lnTo>
                    <a:pt x="55228" y="154825"/>
                  </a:lnTo>
                  <a:cubicBezTo>
                    <a:pt x="53532" y="156521"/>
                    <a:pt x="50792" y="156521"/>
                    <a:pt x="49096" y="154825"/>
                  </a:cubicBezTo>
                  <a:cubicBezTo>
                    <a:pt x="47399" y="153129"/>
                    <a:pt x="47399" y="150389"/>
                    <a:pt x="49096" y="148692"/>
                  </a:cubicBezTo>
                  <a:lnTo>
                    <a:pt x="122681" y="75107"/>
                  </a:lnTo>
                  <a:cubicBezTo>
                    <a:pt x="124378" y="73411"/>
                    <a:pt x="127117" y="73411"/>
                    <a:pt x="128814" y="75107"/>
                  </a:cubicBezTo>
                  <a:lnTo>
                    <a:pt x="202399" y="148698"/>
                  </a:lnTo>
                  <a:close/>
                  <a:moveTo>
                    <a:pt x="251495" y="125748"/>
                  </a:moveTo>
                  <a:cubicBezTo>
                    <a:pt x="251495" y="195083"/>
                    <a:pt x="195083" y="251495"/>
                    <a:pt x="125747" y="251495"/>
                  </a:cubicBezTo>
                  <a:cubicBezTo>
                    <a:pt x="56412" y="251495"/>
                    <a:pt x="0" y="195083"/>
                    <a:pt x="0" y="125748"/>
                  </a:cubicBezTo>
                  <a:cubicBezTo>
                    <a:pt x="0" y="56412"/>
                    <a:pt x="56412" y="0"/>
                    <a:pt x="125747" y="0"/>
                  </a:cubicBezTo>
                  <a:cubicBezTo>
                    <a:pt x="195083" y="0"/>
                    <a:pt x="251495" y="56406"/>
                    <a:pt x="251495" y="125748"/>
                  </a:cubicBezTo>
                  <a:close/>
                  <a:moveTo>
                    <a:pt x="242821" y="125748"/>
                  </a:moveTo>
                  <a:cubicBezTo>
                    <a:pt x="242821" y="61192"/>
                    <a:pt x="190303" y="8674"/>
                    <a:pt x="125747" y="8674"/>
                  </a:cubicBezTo>
                  <a:cubicBezTo>
                    <a:pt x="61192" y="8674"/>
                    <a:pt x="8674" y="61192"/>
                    <a:pt x="8674" y="125748"/>
                  </a:cubicBezTo>
                  <a:cubicBezTo>
                    <a:pt x="8674" y="190303"/>
                    <a:pt x="61192" y="242821"/>
                    <a:pt x="125747" y="242821"/>
                  </a:cubicBezTo>
                  <a:cubicBezTo>
                    <a:pt x="190303" y="242821"/>
                    <a:pt x="242821" y="190303"/>
                    <a:pt x="242821" y="125748"/>
                  </a:cubicBezTo>
                  <a:close/>
                </a:path>
              </a:pathLst>
            </a:custGeom>
            <a:solidFill>
              <a:schemeClr val="tx2"/>
            </a:solidFill>
            <a:ln w="581" cap="flat">
              <a:noFill/>
              <a:prstDash val="solid"/>
              <a:miter/>
            </a:ln>
          </p:spPr>
          <p:txBody>
            <a:bodyPr rtlCol="0" anchor="ctr"/>
            <a:lstStyle/>
            <a:p>
              <a:endParaRPr lang="en-GB" dirty="0"/>
            </a:p>
          </p:txBody>
        </p:sp>
        <p:sp>
          <p:nvSpPr>
            <p:cNvPr id="152" name="Freihandform: Form 151">
              <a:extLst>
                <a:ext uri="{FF2B5EF4-FFF2-40B4-BE49-F238E27FC236}">
                  <a16:creationId xmlns:a16="http://schemas.microsoft.com/office/drawing/2014/main" id="{1E64CC33-61A9-4112-B2EE-6BDD591BA088}"/>
                </a:ext>
              </a:extLst>
            </p:cNvPr>
            <p:cNvSpPr>
              <a:spLocks noChangeAspect="1"/>
            </p:cNvSpPr>
            <p:nvPr/>
          </p:nvSpPr>
          <p:spPr>
            <a:xfrm>
              <a:off x="652363" y="2449029"/>
              <a:ext cx="234160" cy="169115"/>
            </a:xfrm>
            <a:custGeom>
              <a:avLst/>
              <a:gdLst>
                <a:gd name="connsiteX0" fmla="*/ 1272 w 234160"/>
                <a:gd name="connsiteY0" fmla="*/ 120147 h 169115"/>
                <a:gd name="connsiteX1" fmla="*/ 1272 w 234160"/>
                <a:gd name="connsiteY1" fmla="*/ 114014 h 169115"/>
                <a:gd name="connsiteX2" fmla="*/ 114008 w 234160"/>
                <a:gd name="connsiteY2" fmla="*/ 1272 h 169115"/>
                <a:gd name="connsiteX3" fmla="*/ 120141 w 234160"/>
                <a:gd name="connsiteY3" fmla="*/ 1272 h 169115"/>
                <a:gd name="connsiteX4" fmla="*/ 232877 w 234160"/>
                <a:gd name="connsiteY4" fmla="*/ 114014 h 169115"/>
                <a:gd name="connsiteX5" fmla="*/ 232877 w 234160"/>
                <a:gd name="connsiteY5" fmla="*/ 120147 h 169115"/>
                <a:gd name="connsiteX6" fmla="*/ 229811 w 234160"/>
                <a:gd name="connsiteY6" fmla="*/ 121418 h 169115"/>
                <a:gd name="connsiteX7" fmla="*/ 226744 w 234160"/>
                <a:gd name="connsiteY7" fmla="*/ 120147 h 169115"/>
                <a:gd name="connsiteX8" fmla="*/ 117069 w 234160"/>
                <a:gd name="connsiteY8" fmla="*/ 10471 h 169115"/>
                <a:gd name="connsiteX9" fmla="*/ 7399 w 234160"/>
                <a:gd name="connsiteY9" fmla="*/ 120147 h 169115"/>
                <a:gd name="connsiteX10" fmla="*/ 1272 w 234160"/>
                <a:gd name="connsiteY10" fmla="*/ 120147 h 169115"/>
                <a:gd name="connsiteX11" fmla="*/ 1272 w 234160"/>
                <a:gd name="connsiteY11" fmla="*/ 167843 h 169115"/>
                <a:gd name="connsiteX12" fmla="*/ 7405 w 234160"/>
                <a:gd name="connsiteY12" fmla="*/ 167843 h 169115"/>
                <a:gd name="connsiteX13" fmla="*/ 117080 w 234160"/>
                <a:gd name="connsiteY13" fmla="*/ 58168 h 169115"/>
                <a:gd name="connsiteX14" fmla="*/ 226756 w 234160"/>
                <a:gd name="connsiteY14" fmla="*/ 167843 h 169115"/>
                <a:gd name="connsiteX15" fmla="*/ 229822 w 234160"/>
                <a:gd name="connsiteY15" fmla="*/ 169114 h 169115"/>
                <a:gd name="connsiteX16" fmla="*/ 232889 w 234160"/>
                <a:gd name="connsiteY16" fmla="*/ 167843 h 169115"/>
                <a:gd name="connsiteX17" fmla="*/ 232889 w 234160"/>
                <a:gd name="connsiteY17" fmla="*/ 161711 h 169115"/>
                <a:gd name="connsiteX18" fmla="*/ 120153 w 234160"/>
                <a:gd name="connsiteY18" fmla="*/ 48969 h 169115"/>
                <a:gd name="connsiteX19" fmla="*/ 114020 w 234160"/>
                <a:gd name="connsiteY19" fmla="*/ 48969 h 169115"/>
                <a:gd name="connsiteX20" fmla="*/ 1284 w 234160"/>
                <a:gd name="connsiteY20" fmla="*/ 161711 h 169115"/>
                <a:gd name="connsiteX21" fmla="*/ 1272 w 234160"/>
                <a:gd name="connsiteY21" fmla="*/ 167843 h 16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34160" h="169115">
                  <a:moveTo>
                    <a:pt x="1272" y="120147"/>
                  </a:moveTo>
                  <a:cubicBezTo>
                    <a:pt x="-424" y="118450"/>
                    <a:pt x="-424" y="115711"/>
                    <a:pt x="1272" y="114014"/>
                  </a:cubicBezTo>
                  <a:lnTo>
                    <a:pt x="114008" y="1272"/>
                  </a:lnTo>
                  <a:cubicBezTo>
                    <a:pt x="115705" y="-424"/>
                    <a:pt x="118445" y="-424"/>
                    <a:pt x="120141" y="1272"/>
                  </a:cubicBezTo>
                  <a:lnTo>
                    <a:pt x="232877" y="114014"/>
                  </a:lnTo>
                  <a:cubicBezTo>
                    <a:pt x="234573" y="115711"/>
                    <a:pt x="234573" y="118450"/>
                    <a:pt x="232877" y="120147"/>
                  </a:cubicBezTo>
                  <a:cubicBezTo>
                    <a:pt x="232032" y="120992"/>
                    <a:pt x="230918" y="121418"/>
                    <a:pt x="229811" y="121418"/>
                  </a:cubicBezTo>
                  <a:cubicBezTo>
                    <a:pt x="228703" y="121418"/>
                    <a:pt x="227590" y="120992"/>
                    <a:pt x="226744" y="120147"/>
                  </a:cubicBezTo>
                  <a:lnTo>
                    <a:pt x="117069" y="10471"/>
                  </a:lnTo>
                  <a:lnTo>
                    <a:pt x="7399" y="120147"/>
                  </a:lnTo>
                  <a:cubicBezTo>
                    <a:pt x="5709" y="121837"/>
                    <a:pt x="2963" y="121837"/>
                    <a:pt x="1272" y="120147"/>
                  </a:cubicBezTo>
                  <a:close/>
                  <a:moveTo>
                    <a:pt x="1272" y="167843"/>
                  </a:moveTo>
                  <a:cubicBezTo>
                    <a:pt x="2969" y="169540"/>
                    <a:pt x="5709" y="169540"/>
                    <a:pt x="7405" y="167843"/>
                  </a:cubicBezTo>
                  <a:lnTo>
                    <a:pt x="117080" y="58168"/>
                  </a:lnTo>
                  <a:lnTo>
                    <a:pt x="226756" y="167843"/>
                  </a:lnTo>
                  <a:cubicBezTo>
                    <a:pt x="227601" y="168689"/>
                    <a:pt x="228715" y="169114"/>
                    <a:pt x="229822" y="169114"/>
                  </a:cubicBezTo>
                  <a:cubicBezTo>
                    <a:pt x="230930" y="169114"/>
                    <a:pt x="232043" y="168689"/>
                    <a:pt x="232889" y="167843"/>
                  </a:cubicBezTo>
                  <a:cubicBezTo>
                    <a:pt x="234585" y="166147"/>
                    <a:pt x="234585" y="163407"/>
                    <a:pt x="232889" y="161711"/>
                  </a:cubicBezTo>
                  <a:lnTo>
                    <a:pt x="120153" y="48969"/>
                  </a:lnTo>
                  <a:cubicBezTo>
                    <a:pt x="118456" y="47273"/>
                    <a:pt x="115716" y="47273"/>
                    <a:pt x="114020" y="48969"/>
                  </a:cubicBezTo>
                  <a:lnTo>
                    <a:pt x="1284" y="161711"/>
                  </a:lnTo>
                  <a:cubicBezTo>
                    <a:pt x="-424" y="163401"/>
                    <a:pt x="-424" y="166147"/>
                    <a:pt x="1272" y="167843"/>
                  </a:cubicBezTo>
                  <a:close/>
                </a:path>
              </a:pathLst>
            </a:custGeom>
            <a:solidFill>
              <a:schemeClr val="tx2"/>
            </a:solidFill>
            <a:ln w="581" cap="flat">
              <a:noFill/>
              <a:prstDash val="solid"/>
              <a:miter/>
            </a:ln>
          </p:spPr>
          <p:txBody>
            <a:bodyPr rtlCol="0" anchor="ctr"/>
            <a:lstStyle/>
            <a:p>
              <a:endParaRPr lang="en-GB" dirty="0"/>
            </a:p>
          </p:txBody>
        </p:sp>
        <p:sp>
          <p:nvSpPr>
            <p:cNvPr id="162" name="Freihandform: Form 161">
              <a:extLst>
                <a:ext uri="{FF2B5EF4-FFF2-40B4-BE49-F238E27FC236}">
                  <a16:creationId xmlns:a16="http://schemas.microsoft.com/office/drawing/2014/main" id="{D52861F2-C016-45C3-BB91-C0B93D873C50}"/>
                </a:ext>
              </a:extLst>
            </p:cNvPr>
            <p:cNvSpPr>
              <a:spLocks noChangeAspect="1"/>
            </p:cNvSpPr>
            <p:nvPr/>
          </p:nvSpPr>
          <p:spPr>
            <a:xfrm>
              <a:off x="643695" y="3696169"/>
              <a:ext cx="251496" cy="208130"/>
            </a:xfrm>
            <a:custGeom>
              <a:avLst/>
              <a:gdLst>
                <a:gd name="connsiteX0" fmla="*/ 180848 w 251496"/>
                <a:gd name="connsiteY0" fmla="*/ 1272 h 208130"/>
                <a:gd name="connsiteX1" fmla="*/ 174715 w 251496"/>
                <a:gd name="connsiteY1" fmla="*/ 1272 h 208130"/>
                <a:gd name="connsiteX2" fmla="*/ 174715 w 251496"/>
                <a:gd name="connsiteY2" fmla="*/ 7405 h 208130"/>
                <a:gd name="connsiteX3" fmla="*/ 236688 w 251496"/>
                <a:gd name="connsiteY3" fmla="*/ 69378 h 208130"/>
                <a:gd name="connsiteX4" fmla="*/ 69376 w 251496"/>
                <a:gd name="connsiteY4" fmla="*/ 69378 h 208130"/>
                <a:gd name="connsiteX5" fmla="*/ 0 w 251496"/>
                <a:gd name="connsiteY5" fmla="*/ 138754 h 208130"/>
                <a:gd name="connsiteX6" fmla="*/ 69376 w 251496"/>
                <a:gd name="connsiteY6" fmla="*/ 208131 h 208130"/>
                <a:gd name="connsiteX7" fmla="*/ 95393 w 251496"/>
                <a:gd name="connsiteY7" fmla="*/ 208131 h 208130"/>
                <a:gd name="connsiteX8" fmla="*/ 99731 w 251496"/>
                <a:gd name="connsiteY8" fmla="*/ 203794 h 208130"/>
                <a:gd name="connsiteX9" fmla="*/ 95393 w 251496"/>
                <a:gd name="connsiteY9" fmla="*/ 199457 h 208130"/>
                <a:gd name="connsiteX10" fmla="*/ 69376 w 251496"/>
                <a:gd name="connsiteY10" fmla="*/ 199457 h 208130"/>
                <a:gd name="connsiteX11" fmla="*/ 8668 w 251496"/>
                <a:gd name="connsiteY11" fmla="*/ 138749 h 208130"/>
                <a:gd name="connsiteX12" fmla="*/ 69376 w 251496"/>
                <a:gd name="connsiteY12" fmla="*/ 78041 h 208130"/>
                <a:gd name="connsiteX13" fmla="*/ 236688 w 251496"/>
                <a:gd name="connsiteY13" fmla="*/ 78041 h 208130"/>
                <a:gd name="connsiteX14" fmla="*/ 174715 w 251496"/>
                <a:gd name="connsiteY14" fmla="*/ 140019 h 208130"/>
                <a:gd name="connsiteX15" fmla="*/ 174715 w 251496"/>
                <a:gd name="connsiteY15" fmla="*/ 146152 h 208130"/>
                <a:gd name="connsiteX16" fmla="*/ 177781 w 251496"/>
                <a:gd name="connsiteY16" fmla="*/ 147423 h 208130"/>
                <a:gd name="connsiteX17" fmla="*/ 180848 w 251496"/>
                <a:gd name="connsiteY17" fmla="*/ 146152 h 208130"/>
                <a:gd name="connsiteX18" fmla="*/ 250224 w 251496"/>
                <a:gd name="connsiteY18" fmla="*/ 76776 h 208130"/>
                <a:gd name="connsiteX19" fmla="*/ 250224 w 251496"/>
                <a:gd name="connsiteY19" fmla="*/ 70643 h 208130"/>
                <a:gd name="connsiteX20" fmla="*/ 180848 w 251496"/>
                <a:gd name="connsiteY20" fmla="*/ 1272 h 20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51496" h="208130">
                  <a:moveTo>
                    <a:pt x="180848" y="1272"/>
                  </a:moveTo>
                  <a:cubicBezTo>
                    <a:pt x="179151" y="-424"/>
                    <a:pt x="176411" y="-424"/>
                    <a:pt x="174715" y="1272"/>
                  </a:cubicBezTo>
                  <a:cubicBezTo>
                    <a:pt x="173019" y="2969"/>
                    <a:pt x="173019" y="5708"/>
                    <a:pt x="174715" y="7405"/>
                  </a:cubicBezTo>
                  <a:lnTo>
                    <a:pt x="236688" y="69378"/>
                  </a:lnTo>
                  <a:lnTo>
                    <a:pt x="69376" y="69378"/>
                  </a:lnTo>
                  <a:cubicBezTo>
                    <a:pt x="31124" y="69378"/>
                    <a:pt x="0" y="100502"/>
                    <a:pt x="0" y="138754"/>
                  </a:cubicBezTo>
                  <a:cubicBezTo>
                    <a:pt x="0" y="177007"/>
                    <a:pt x="31124" y="208131"/>
                    <a:pt x="69376" y="208131"/>
                  </a:cubicBezTo>
                  <a:lnTo>
                    <a:pt x="95393" y="208131"/>
                  </a:lnTo>
                  <a:cubicBezTo>
                    <a:pt x="97789" y="208131"/>
                    <a:pt x="99731" y="206190"/>
                    <a:pt x="99731" y="203794"/>
                  </a:cubicBezTo>
                  <a:cubicBezTo>
                    <a:pt x="99731" y="201398"/>
                    <a:pt x="97789" y="199457"/>
                    <a:pt x="95393" y="199457"/>
                  </a:cubicBezTo>
                  <a:lnTo>
                    <a:pt x="69376" y="199457"/>
                  </a:lnTo>
                  <a:cubicBezTo>
                    <a:pt x="35904" y="199457"/>
                    <a:pt x="8668" y="172227"/>
                    <a:pt x="8668" y="138749"/>
                  </a:cubicBezTo>
                  <a:cubicBezTo>
                    <a:pt x="8668" y="105270"/>
                    <a:pt x="35898" y="78041"/>
                    <a:pt x="69376" y="78041"/>
                  </a:cubicBezTo>
                  <a:lnTo>
                    <a:pt x="236688" y="78041"/>
                  </a:lnTo>
                  <a:lnTo>
                    <a:pt x="174715" y="140019"/>
                  </a:lnTo>
                  <a:cubicBezTo>
                    <a:pt x="173019" y="141716"/>
                    <a:pt x="173019" y="144456"/>
                    <a:pt x="174715" y="146152"/>
                  </a:cubicBezTo>
                  <a:cubicBezTo>
                    <a:pt x="175560" y="146997"/>
                    <a:pt x="176674" y="147423"/>
                    <a:pt x="177781" y="147423"/>
                  </a:cubicBezTo>
                  <a:cubicBezTo>
                    <a:pt x="178889" y="147423"/>
                    <a:pt x="180002" y="146997"/>
                    <a:pt x="180848" y="146152"/>
                  </a:cubicBezTo>
                  <a:lnTo>
                    <a:pt x="250224" y="76776"/>
                  </a:lnTo>
                  <a:cubicBezTo>
                    <a:pt x="251920" y="75079"/>
                    <a:pt x="251920" y="72339"/>
                    <a:pt x="250224" y="70643"/>
                  </a:cubicBezTo>
                  <a:lnTo>
                    <a:pt x="180848" y="1272"/>
                  </a:lnTo>
                  <a:close/>
                </a:path>
              </a:pathLst>
            </a:custGeom>
            <a:solidFill>
              <a:schemeClr val="tx2"/>
            </a:solidFill>
            <a:ln w="581" cap="flat">
              <a:noFill/>
              <a:prstDash val="solid"/>
              <a:miter/>
            </a:ln>
          </p:spPr>
          <p:txBody>
            <a:bodyPr rtlCol="0" anchor="ctr"/>
            <a:lstStyle/>
            <a:p>
              <a:endParaRPr lang="en-GB" dirty="0"/>
            </a:p>
          </p:txBody>
        </p:sp>
        <p:sp>
          <p:nvSpPr>
            <p:cNvPr id="164" name="Freihandform: Form 163">
              <a:extLst>
                <a:ext uri="{FF2B5EF4-FFF2-40B4-BE49-F238E27FC236}">
                  <a16:creationId xmlns:a16="http://schemas.microsoft.com/office/drawing/2014/main" id="{7DDBF939-1036-40DD-83D9-2FEB0C3E7F15}"/>
                </a:ext>
              </a:extLst>
            </p:cNvPr>
            <p:cNvSpPr>
              <a:spLocks noChangeAspect="1"/>
            </p:cNvSpPr>
            <p:nvPr/>
          </p:nvSpPr>
          <p:spPr>
            <a:xfrm>
              <a:off x="645865" y="4501078"/>
              <a:ext cx="247157" cy="247157"/>
            </a:xfrm>
            <a:custGeom>
              <a:avLst/>
              <a:gdLst>
                <a:gd name="connsiteX0" fmla="*/ 229815 w 247157"/>
                <a:gd name="connsiteY0" fmla="*/ 147427 h 247157"/>
                <a:gd name="connsiteX1" fmla="*/ 229815 w 247157"/>
                <a:gd name="connsiteY1" fmla="*/ 242821 h 247157"/>
                <a:gd name="connsiteX2" fmla="*/ 225478 w 247157"/>
                <a:gd name="connsiteY2" fmla="*/ 247158 h 247157"/>
                <a:gd name="connsiteX3" fmla="*/ 4337 w 247157"/>
                <a:gd name="connsiteY3" fmla="*/ 247158 h 247157"/>
                <a:gd name="connsiteX4" fmla="*/ 0 w 247157"/>
                <a:gd name="connsiteY4" fmla="*/ 242821 h 247157"/>
                <a:gd name="connsiteX5" fmla="*/ 0 w 247157"/>
                <a:gd name="connsiteY5" fmla="*/ 21680 h 247157"/>
                <a:gd name="connsiteX6" fmla="*/ 4337 w 247157"/>
                <a:gd name="connsiteY6" fmla="*/ 17343 h 247157"/>
                <a:gd name="connsiteX7" fmla="*/ 99731 w 247157"/>
                <a:gd name="connsiteY7" fmla="*/ 17343 h 247157"/>
                <a:gd name="connsiteX8" fmla="*/ 104068 w 247157"/>
                <a:gd name="connsiteY8" fmla="*/ 21680 h 247157"/>
                <a:gd name="connsiteX9" fmla="*/ 99731 w 247157"/>
                <a:gd name="connsiteY9" fmla="*/ 26017 h 247157"/>
                <a:gd name="connsiteX10" fmla="*/ 8674 w 247157"/>
                <a:gd name="connsiteY10" fmla="*/ 26017 h 247157"/>
                <a:gd name="connsiteX11" fmla="*/ 8674 w 247157"/>
                <a:gd name="connsiteY11" fmla="*/ 238489 h 247157"/>
                <a:gd name="connsiteX12" fmla="*/ 221147 w 247157"/>
                <a:gd name="connsiteY12" fmla="*/ 238489 h 247157"/>
                <a:gd name="connsiteX13" fmla="*/ 221147 w 247157"/>
                <a:gd name="connsiteY13" fmla="*/ 147433 h 247157"/>
                <a:gd name="connsiteX14" fmla="*/ 225484 w 247157"/>
                <a:gd name="connsiteY14" fmla="*/ 143096 h 247157"/>
                <a:gd name="connsiteX15" fmla="*/ 229815 w 247157"/>
                <a:gd name="connsiteY15" fmla="*/ 147427 h 247157"/>
                <a:gd name="connsiteX16" fmla="*/ 242821 w 247157"/>
                <a:gd name="connsiteY16" fmla="*/ 0 h 247157"/>
                <a:gd name="connsiteX17" fmla="*/ 138753 w 247157"/>
                <a:gd name="connsiteY17" fmla="*/ 0 h 247157"/>
                <a:gd name="connsiteX18" fmla="*/ 134416 w 247157"/>
                <a:gd name="connsiteY18" fmla="*/ 4337 h 247157"/>
                <a:gd name="connsiteX19" fmla="*/ 138753 w 247157"/>
                <a:gd name="connsiteY19" fmla="*/ 8674 h 247157"/>
                <a:gd name="connsiteX20" fmla="*/ 232351 w 247157"/>
                <a:gd name="connsiteY20" fmla="*/ 8674 h 247157"/>
                <a:gd name="connsiteX21" fmla="*/ 105333 w 247157"/>
                <a:gd name="connsiteY21" fmla="*/ 135693 h 247157"/>
                <a:gd name="connsiteX22" fmla="*/ 105333 w 247157"/>
                <a:gd name="connsiteY22" fmla="*/ 141825 h 247157"/>
                <a:gd name="connsiteX23" fmla="*/ 108399 w 247157"/>
                <a:gd name="connsiteY23" fmla="*/ 143096 h 247157"/>
                <a:gd name="connsiteX24" fmla="*/ 111465 w 247157"/>
                <a:gd name="connsiteY24" fmla="*/ 141825 h 247157"/>
                <a:gd name="connsiteX25" fmla="*/ 238484 w 247157"/>
                <a:gd name="connsiteY25" fmla="*/ 14807 h 247157"/>
                <a:gd name="connsiteX26" fmla="*/ 238484 w 247157"/>
                <a:gd name="connsiteY26" fmla="*/ 108405 h 247157"/>
                <a:gd name="connsiteX27" fmla="*/ 242821 w 247157"/>
                <a:gd name="connsiteY27" fmla="*/ 112742 h 247157"/>
                <a:gd name="connsiteX28" fmla="*/ 247158 w 247157"/>
                <a:gd name="connsiteY28" fmla="*/ 108405 h 247157"/>
                <a:gd name="connsiteX29" fmla="*/ 247158 w 247157"/>
                <a:gd name="connsiteY29" fmla="*/ 4337 h 247157"/>
                <a:gd name="connsiteX30" fmla="*/ 242821 w 247157"/>
                <a:gd name="connsiteY30" fmla="*/ 0 h 247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47157" h="247157">
                  <a:moveTo>
                    <a:pt x="229815" y="147427"/>
                  </a:moveTo>
                  <a:lnTo>
                    <a:pt x="229815" y="242821"/>
                  </a:lnTo>
                  <a:cubicBezTo>
                    <a:pt x="229815" y="245216"/>
                    <a:pt x="227874" y="247158"/>
                    <a:pt x="225478" y="247158"/>
                  </a:cubicBezTo>
                  <a:lnTo>
                    <a:pt x="4337" y="247158"/>
                  </a:lnTo>
                  <a:cubicBezTo>
                    <a:pt x="1941" y="247158"/>
                    <a:pt x="0" y="245216"/>
                    <a:pt x="0" y="242821"/>
                  </a:cubicBezTo>
                  <a:lnTo>
                    <a:pt x="0" y="21680"/>
                  </a:lnTo>
                  <a:cubicBezTo>
                    <a:pt x="0" y="19284"/>
                    <a:pt x="1941" y="17343"/>
                    <a:pt x="4337" y="17343"/>
                  </a:cubicBezTo>
                  <a:lnTo>
                    <a:pt x="99731" y="17343"/>
                  </a:lnTo>
                  <a:cubicBezTo>
                    <a:pt x="102126" y="17343"/>
                    <a:pt x="104068" y="19284"/>
                    <a:pt x="104068" y="21680"/>
                  </a:cubicBezTo>
                  <a:cubicBezTo>
                    <a:pt x="104068" y="24076"/>
                    <a:pt x="102126" y="26017"/>
                    <a:pt x="99731" y="26017"/>
                  </a:cubicBezTo>
                  <a:lnTo>
                    <a:pt x="8674" y="26017"/>
                  </a:lnTo>
                  <a:lnTo>
                    <a:pt x="8674" y="238489"/>
                  </a:lnTo>
                  <a:lnTo>
                    <a:pt x="221147" y="238489"/>
                  </a:lnTo>
                  <a:lnTo>
                    <a:pt x="221147" y="147433"/>
                  </a:lnTo>
                  <a:cubicBezTo>
                    <a:pt x="221147" y="145037"/>
                    <a:pt x="223088" y="143096"/>
                    <a:pt x="225484" y="143096"/>
                  </a:cubicBezTo>
                  <a:cubicBezTo>
                    <a:pt x="227874" y="143090"/>
                    <a:pt x="229815" y="145031"/>
                    <a:pt x="229815" y="147427"/>
                  </a:cubicBezTo>
                  <a:close/>
                  <a:moveTo>
                    <a:pt x="242821" y="0"/>
                  </a:moveTo>
                  <a:lnTo>
                    <a:pt x="138753" y="0"/>
                  </a:lnTo>
                  <a:cubicBezTo>
                    <a:pt x="136357" y="0"/>
                    <a:pt x="134416" y="1941"/>
                    <a:pt x="134416" y="4337"/>
                  </a:cubicBezTo>
                  <a:cubicBezTo>
                    <a:pt x="134416" y="6733"/>
                    <a:pt x="136357" y="8674"/>
                    <a:pt x="138753" y="8674"/>
                  </a:cubicBezTo>
                  <a:lnTo>
                    <a:pt x="232351" y="8674"/>
                  </a:lnTo>
                  <a:lnTo>
                    <a:pt x="105333" y="135693"/>
                  </a:lnTo>
                  <a:cubicBezTo>
                    <a:pt x="103636" y="137389"/>
                    <a:pt x="103636" y="140129"/>
                    <a:pt x="105333" y="141825"/>
                  </a:cubicBezTo>
                  <a:cubicBezTo>
                    <a:pt x="106178" y="142670"/>
                    <a:pt x="107291" y="143096"/>
                    <a:pt x="108399" y="143096"/>
                  </a:cubicBezTo>
                  <a:cubicBezTo>
                    <a:pt x="109507" y="143096"/>
                    <a:pt x="110620" y="142670"/>
                    <a:pt x="111465" y="141825"/>
                  </a:cubicBezTo>
                  <a:lnTo>
                    <a:pt x="238484" y="14807"/>
                  </a:lnTo>
                  <a:lnTo>
                    <a:pt x="238484" y="108405"/>
                  </a:lnTo>
                  <a:cubicBezTo>
                    <a:pt x="238484" y="110801"/>
                    <a:pt x="240425" y="112742"/>
                    <a:pt x="242821" y="112742"/>
                  </a:cubicBezTo>
                  <a:cubicBezTo>
                    <a:pt x="245217" y="112742"/>
                    <a:pt x="247158" y="110801"/>
                    <a:pt x="247158" y="108405"/>
                  </a:cubicBezTo>
                  <a:lnTo>
                    <a:pt x="247158" y="4337"/>
                  </a:lnTo>
                  <a:cubicBezTo>
                    <a:pt x="247158" y="1941"/>
                    <a:pt x="245217" y="0"/>
                    <a:pt x="242821" y="0"/>
                  </a:cubicBezTo>
                  <a:close/>
                </a:path>
              </a:pathLst>
            </a:custGeom>
            <a:solidFill>
              <a:schemeClr val="tx2"/>
            </a:solidFill>
            <a:ln w="581" cap="flat">
              <a:noFill/>
              <a:prstDash val="solid"/>
              <a:miter/>
            </a:ln>
          </p:spPr>
          <p:txBody>
            <a:bodyPr rtlCol="0" anchor="ctr"/>
            <a:lstStyle/>
            <a:p>
              <a:endParaRPr lang="en-GB" dirty="0"/>
            </a:p>
          </p:txBody>
        </p:sp>
        <p:sp>
          <p:nvSpPr>
            <p:cNvPr id="168" name="Freihandform: Form 167">
              <a:extLst>
                <a:ext uri="{FF2B5EF4-FFF2-40B4-BE49-F238E27FC236}">
                  <a16:creationId xmlns:a16="http://schemas.microsoft.com/office/drawing/2014/main" id="{20206943-148C-4629-9EC3-1E98A336353B}"/>
                </a:ext>
              </a:extLst>
            </p:cNvPr>
            <p:cNvSpPr>
              <a:spLocks noChangeAspect="1"/>
            </p:cNvSpPr>
            <p:nvPr/>
          </p:nvSpPr>
          <p:spPr>
            <a:xfrm>
              <a:off x="643700" y="4075060"/>
              <a:ext cx="251486" cy="251496"/>
            </a:xfrm>
            <a:custGeom>
              <a:avLst/>
              <a:gdLst>
                <a:gd name="connsiteX0" fmla="*/ 69378 w 251486"/>
                <a:gd name="connsiteY0" fmla="*/ 14808 h 251496"/>
                <a:gd name="connsiteX1" fmla="*/ 7405 w 251486"/>
                <a:gd name="connsiteY1" fmla="*/ 76781 h 251496"/>
                <a:gd name="connsiteX2" fmla="*/ 1272 w 251486"/>
                <a:gd name="connsiteY2" fmla="*/ 76781 h 251496"/>
                <a:gd name="connsiteX3" fmla="*/ 1272 w 251486"/>
                <a:gd name="connsiteY3" fmla="*/ 70649 h 251496"/>
                <a:gd name="connsiteX4" fmla="*/ 70649 w 251486"/>
                <a:gd name="connsiteY4" fmla="*/ 1272 h 251496"/>
                <a:gd name="connsiteX5" fmla="*/ 76781 w 251486"/>
                <a:gd name="connsiteY5" fmla="*/ 1272 h 251496"/>
                <a:gd name="connsiteX6" fmla="*/ 146158 w 251486"/>
                <a:gd name="connsiteY6" fmla="*/ 70649 h 251496"/>
                <a:gd name="connsiteX7" fmla="*/ 146158 w 251486"/>
                <a:gd name="connsiteY7" fmla="*/ 76781 h 251496"/>
                <a:gd name="connsiteX8" fmla="*/ 143092 w 251486"/>
                <a:gd name="connsiteY8" fmla="*/ 78052 h 251496"/>
                <a:gd name="connsiteX9" fmla="*/ 140025 w 251486"/>
                <a:gd name="connsiteY9" fmla="*/ 76781 h 251496"/>
                <a:gd name="connsiteX10" fmla="*/ 78046 w 251486"/>
                <a:gd name="connsiteY10" fmla="*/ 14808 h 251496"/>
                <a:gd name="connsiteX11" fmla="*/ 78046 w 251486"/>
                <a:gd name="connsiteY11" fmla="*/ 156103 h 251496"/>
                <a:gd name="connsiteX12" fmla="*/ 73709 w 251486"/>
                <a:gd name="connsiteY12" fmla="*/ 160440 h 251496"/>
                <a:gd name="connsiteX13" fmla="*/ 69372 w 251486"/>
                <a:gd name="connsiteY13" fmla="*/ 156103 h 251496"/>
                <a:gd name="connsiteX14" fmla="*/ 69372 w 251486"/>
                <a:gd name="connsiteY14" fmla="*/ 14808 h 251496"/>
                <a:gd name="connsiteX15" fmla="*/ 244093 w 251486"/>
                <a:gd name="connsiteY15" fmla="*/ 174716 h 251496"/>
                <a:gd name="connsiteX16" fmla="*/ 182114 w 251486"/>
                <a:gd name="connsiteY16" fmla="*/ 236689 h 251496"/>
                <a:gd name="connsiteX17" fmla="*/ 182114 w 251486"/>
                <a:gd name="connsiteY17" fmla="*/ 95395 h 251496"/>
                <a:gd name="connsiteX18" fmla="*/ 177777 w 251486"/>
                <a:gd name="connsiteY18" fmla="*/ 91058 h 251496"/>
                <a:gd name="connsiteX19" fmla="*/ 173440 w 251486"/>
                <a:gd name="connsiteY19" fmla="*/ 95395 h 251496"/>
                <a:gd name="connsiteX20" fmla="*/ 173440 w 251486"/>
                <a:gd name="connsiteY20" fmla="*/ 236689 h 251496"/>
                <a:gd name="connsiteX21" fmla="*/ 111461 w 251486"/>
                <a:gd name="connsiteY21" fmla="*/ 174716 h 251496"/>
                <a:gd name="connsiteX22" fmla="*/ 105328 w 251486"/>
                <a:gd name="connsiteY22" fmla="*/ 174716 h 251496"/>
                <a:gd name="connsiteX23" fmla="*/ 105328 w 251486"/>
                <a:gd name="connsiteY23" fmla="*/ 180849 h 251496"/>
                <a:gd name="connsiteX24" fmla="*/ 174705 w 251486"/>
                <a:gd name="connsiteY24" fmla="*/ 250225 h 251496"/>
                <a:gd name="connsiteX25" fmla="*/ 177771 w 251486"/>
                <a:gd name="connsiteY25" fmla="*/ 251496 h 251496"/>
                <a:gd name="connsiteX26" fmla="*/ 180837 w 251486"/>
                <a:gd name="connsiteY26" fmla="*/ 250225 h 251496"/>
                <a:gd name="connsiteX27" fmla="*/ 250214 w 251486"/>
                <a:gd name="connsiteY27" fmla="*/ 180849 h 251496"/>
                <a:gd name="connsiteX28" fmla="*/ 250214 w 251486"/>
                <a:gd name="connsiteY28" fmla="*/ 174716 h 251496"/>
                <a:gd name="connsiteX29" fmla="*/ 244093 w 251486"/>
                <a:gd name="connsiteY29" fmla="*/ 174716 h 2514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51486" h="251496">
                  <a:moveTo>
                    <a:pt x="69378" y="14808"/>
                  </a:moveTo>
                  <a:lnTo>
                    <a:pt x="7405" y="76781"/>
                  </a:lnTo>
                  <a:cubicBezTo>
                    <a:pt x="5709" y="78478"/>
                    <a:pt x="2969" y="78478"/>
                    <a:pt x="1272" y="76781"/>
                  </a:cubicBezTo>
                  <a:cubicBezTo>
                    <a:pt x="-424" y="75085"/>
                    <a:pt x="-424" y="72345"/>
                    <a:pt x="1272" y="70649"/>
                  </a:cubicBezTo>
                  <a:lnTo>
                    <a:pt x="70649" y="1272"/>
                  </a:lnTo>
                  <a:cubicBezTo>
                    <a:pt x="72345" y="-424"/>
                    <a:pt x="75085" y="-424"/>
                    <a:pt x="76781" y="1272"/>
                  </a:cubicBezTo>
                  <a:lnTo>
                    <a:pt x="146158" y="70649"/>
                  </a:lnTo>
                  <a:cubicBezTo>
                    <a:pt x="147854" y="72345"/>
                    <a:pt x="147854" y="75085"/>
                    <a:pt x="146158" y="76781"/>
                  </a:cubicBezTo>
                  <a:cubicBezTo>
                    <a:pt x="145313" y="77627"/>
                    <a:pt x="144199" y="78052"/>
                    <a:pt x="143092" y="78052"/>
                  </a:cubicBezTo>
                  <a:cubicBezTo>
                    <a:pt x="141984" y="78052"/>
                    <a:pt x="140871" y="77627"/>
                    <a:pt x="140025" y="76781"/>
                  </a:cubicBezTo>
                  <a:lnTo>
                    <a:pt x="78046" y="14808"/>
                  </a:lnTo>
                  <a:lnTo>
                    <a:pt x="78046" y="156103"/>
                  </a:lnTo>
                  <a:cubicBezTo>
                    <a:pt x="78046" y="158499"/>
                    <a:pt x="76105" y="160440"/>
                    <a:pt x="73709" y="160440"/>
                  </a:cubicBezTo>
                  <a:cubicBezTo>
                    <a:pt x="71313" y="160440"/>
                    <a:pt x="69372" y="158499"/>
                    <a:pt x="69372" y="156103"/>
                  </a:cubicBezTo>
                  <a:lnTo>
                    <a:pt x="69372" y="14808"/>
                  </a:lnTo>
                  <a:close/>
                  <a:moveTo>
                    <a:pt x="244093" y="174716"/>
                  </a:moveTo>
                  <a:lnTo>
                    <a:pt x="182114" y="236689"/>
                  </a:lnTo>
                  <a:lnTo>
                    <a:pt x="182114" y="95395"/>
                  </a:lnTo>
                  <a:cubicBezTo>
                    <a:pt x="182114" y="92999"/>
                    <a:pt x="180173" y="91058"/>
                    <a:pt x="177777" y="91058"/>
                  </a:cubicBezTo>
                  <a:cubicBezTo>
                    <a:pt x="175381" y="91058"/>
                    <a:pt x="173440" y="92999"/>
                    <a:pt x="173440" y="95395"/>
                  </a:cubicBezTo>
                  <a:lnTo>
                    <a:pt x="173440" y="236689"/>
                  </a:lnTo>
                  <a:lnTo>
                    <a:pt x="111461" y="174716"/>
                  </a:lnTo>
                  <a:cubicBezTo>
                    <a:pt x="109764" y="173020"/>
                    <a:pt x="107025" y="173020"/>
                    <a:pt x="105328" y="174716"/>
                  </a:cubicBezTo>
                  <a:cubicBezTo>
                    <a:pt x="103632" y="176413"/>
                    <a:pt x="103632" y="179152"/>
                    <a:pt x="105328" y="180849"/>
                  </a:cubicBezTo>
                  <a:lnTo>
                    <a:pt x="174705" y="250225"/>
                  </a:lnTo>
                  <a:cubicBezTo>
                    <a:pt x="175550" y="251071"/>
                    <a:pt x="176663" y="251496"/>
                    <a:pt x="177771" y="251496"/>
                  </a:cubicBezTo>
                  <a:cubicBezTo>
                    <a:pt x="178879" y="251496"/>
                    <a:pt x="179992" y="251071"/>
                    <a:pt x="180837" y="250225"/>
                  </a:cubicBezTo>
                  <a:lnTo>
                    <a:pt x="250214" y="180849"/>
                  </a:lnTo>
                  <a:cubicBezTo>
                    <a:pt x="251910" y="179152"/>
                    <a:pt x="251910" y="176413"/>
                    <a:pt x="250214" y="174716"/>
                  </a:cubicBezTo>
                  <a:cubicBezTo>
                    <a:pt x="248535" y="173026"/>
                    <a:pt x="245789" y="173026"/>
                    <a:pt x="244093" y="174716"/>
                  </a:cubicBezTo>
                  <a:close/>
                </a:path>
              </a:pathLst>
            </a:custGeom>
            <a:solidFill>
              <a:schemeClr val="tx2"/>
            </a:solidFill>
            <a:ln w="581" cap="flat">
              <a:noFill/>
              <a:prstDash val="solid"/>
              <a:miter/>
            </a:ln>
          </p:spPr>
          <p:txBody>
            <a:bodyPr rtlCol="0" anchor="ctr"/>
            <a:lstStyle/>
            <a:p>
              <a:endParaRPr lang="en-GB" dirty="0"/>
            </a:p>
          </p:txBody>
        </p:sp>
        <p:sp>
          <p:nvSpPr>
            <p:cNvPr id="171" name="Freihandform: Form 170">
              <a:extLst>
                <a:ext uri="{FF2B5EF4-FFF2-40B4-BE49-F238E27FC236}">
                  <a16:creationId xmlns:a16="http://schemas.microsoft.com/office/drawing/2014/main" id="{98AD0F13-85B0-467B-B2CE-B9A0CE13EF55}"/>
                </a:ext>
              </a:extLst>
            </p:cNvPr>
            <p:cNvSpPr>
              <a:spLocks noChangeAspect="1"/>
            </p:cNvSpPr>
            <p:nvPr/>
          </p:nvSpPr>
          <p:spPr>
            <a:xfrm>
              <a:off x="642521" y="3253912"/>
              <a:ext cx="253845" cy="199449"/>
            </a:xfrm>
            <a:custGeom>
              <a:avLst/>
              <a:gdLst>
                <a:gd name="connsiteX0" fmla="*/ 252108 w 253845"/>
                <a:gd name="connsiteY0" fmla="*/ 52862 h 199449"/>
                <a:gd name="connsiteX1" fmla="*/ 252983 w 253845"/>
                <a:gd name="connsiteY1" fmla="*/ 58936 h 199449"/>
                <a:gd name="connsiteX2" fmla="*/ 225363 w 253845"/>
                <a:gd name="connsiteY2" fmla="*/ 95837 h 199449"/>
                <a:gd name="connsiteX3" fmla="*/ 221889 w 253845"/>
                <a:gd name="connsiteY3" fmla="*/ 97574 h 199449"/>
                <a:gd name="connsiteX4" fmla="*/ 219778 w 253845"/>
                <a:gd name="connsiteY4" fmla="*/ 97026 h 199449"/>
                <a:gd name="connsiteX5" fmla="*/ 179537 w 253845"/>
                <a:gd name="connsiteY5" fmla="*/ 74547 h 199449"/>
                <a:gd name="connsiteX6" fmla="*/ 177864 w 253845"/>
                <a:gd name="connsiteY6" fmla="*/ 68648 h 199449"/>
                <a:gd name="connsiteX7" fmla="*/ 183764 w 253845"/>
                <a:gd name="connsiteY7" fmla="*/ 66975 h 199449"/>
                <a:gd name="connsiteX8" fmla="*/ 216782 w 253845"/>
                <a:gd name="connsiteY8" fmla="*/ 85413 h 199449"/>
                <a:gd name="connsiteX9" fmla="*/ 126927 w 253845"/>
                <a:gd name="connsiteY9" fmla="*/ 8674 h 199449"/>
                <a:gd name="connsiteX10" fmla="*/ 40575 w 253845"/>
                <a:gd name="connsiteY10" fmla="*/ 70758 h 199449"/>
                <a:gd name="connsiteX11" fmla="*/ 35083 w 253845"/>
                <a:gd name="connsiteY11" fmla="*/ 73486 h 199449"/>
                <a:gd name="connsiteX12" fmla="*/ 32349 w 253845"/>
                <a:gd name="connsiteY12" fmla="*/ 67995 h 199449"/>
                <a:gd name="connsiteX13" fmla="*/ 126927 w 253845"/>
                <a:gd name="connsiteY13" fmla="*/ 0 h 199449"/>
                <a:gd name="connsiteX14" fmla="*/ 225031 w 253845"/>
                <a:gd name="connsiteY14" fmla="*/ 81799 h 199449"/>
                <a:gd name="connsiteX15" fmla="*/ 246040 w 253845"/>
                <a:gd name="connsiteY15" fmla="*/ 53730 h 199449"/>
                <a:gd name="connsiteX16" fmla="*/ 252108 w 253845"/>
                <a:gd name="connsiteY16" fmla="*/ 52862 h 199449"/>
                <a:gd name="connsiteX17" fmla="*/ 218764 w 253845"/>
                <a:gd name="connsiteY17" fmla="*/ 125975 h 199449"/>
                <a:gd name="connsiteX18" fmla="*/ 213273 w 253845"/>
                <a:gd name="connsiteY18" fmla="*/ 128703 h 199449"/>
                <a:gd name="connsiteX19" fmla="*/ 126921 w 253845"/>
                <a:gd name="connsiteY19" fmla="*/ 190787 h 199449"/>
                <a:gd name="connsiteX20" fmla="*/ 37065 w 253845"/>
                <a:gd name="connsiteY20" fmla="*/ 114048 h 199449"/>
                <a:gd name="connsiteX21" fmla="*/ 70083 w 253845"/>
                <a:gd name="connsiteY21" fmla="*/ 132486 h 199449"/>
                <a:gd name="connsiteX22" fmla="*/ 75983 w 253845"/>
                <a:gd name="connsiteY22" fmla="*/ 130813 h 199449"/>
                <a:gd name="connsiteX23" fmla="*/ 74310 w 253845"/>
                <a:gd name="connsiteY23" fmla="*/ 124914 h 199449"/>
                <a:gd name="connsiteX24" fmla="*/ 34069 w 253845"/>
                <a:gd name="connsiteY24" fmla="*/ 102435 h 199449"/>
                <a:gd name="connsiteX25" fmla="*/ 28484 w 253845"/>
                <a:gd name="connsiteY25" fmla="*/ 103619 h 199449"/>
                <a:gd name="connsiteX26" fmla="*/ 864 w 253845"/>
                <a:gd name="connsiteY26" fmla="*/ 140519 h 199449"/>
                <a:gd name="connsiteX27" fmla="*/ 1739 w 253845"/>
                <a:gd name="connsiteY27" fmla="*/ 146594 h 199449"/>
                <a:gd name="connsiteX28" fmla="*/ 4333 w 253845"/>
                <a:gd name="connsiteY28" fmla="*/ 147456 h 199449"/>
                <a:gd name="connsiteX29" fmla="*/ 7807 w 253845"/>
                <a:gd name="connsiteY29" fmla="*/ 145719 h 199449"/>
                <a:gd name="connsiteX30" fmla="*/ 28817 w 253845"/>
                <a:gd name="connsiteY30" fmla="*/ 117650 h 199449"/>
                <a:gd name="connsiteX31" fmla="*/ 126921 w 253845"/>
                <a:gd name="connsiteY31" fmla="*/ 199449 h 199449"/>
                <a:gd name="connsiteX32" fmla="*/ 221498 w 253845"/>
                <a:gd name="connsiteY32" fmla="*/ 131454 h 199449"/>
                <a:gd name="connsiteX33" fmla="*/ 218764 w 253845"/>
                <a:gd name="connsiteY33" fmla="*/ 125975 h 19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53845" h="199449">
                  <a:moveTo>
                    <a:pt x="252108" y="52862"/>
                  </a:moveTo>
                  <a:cubicBezTo>
                    <a:pt x="254021" y="54296"/>
                    <a:pt x="254417" y="57018"/>
                    <a:pt x="252983" y="58936"/>
                  </a:cubicBezTo>
                  <a:lnTo>
                    <a:pt x="225363" y="95837"/>
                  </a:lnTo>
                  <a:cubicBezTo>
                    <a:pt x="224518" y="96962"/>
                    <a:pt x="223218" y="97574"/>
                    <a:pt x="221889" y="97574"/>
                  </a:cubicBezTo>
                  <a:cubicBezTo>
                    <a:pt x="221172" y="97574"/>
                    <a:pt x="220443" y="97393"/>
                    <a:pt x="219778" y="97026"/>
                  </a:cubicBezTo>
                  <a:lnTo>
                    <a:pt x="179537" y="74547"/>
                  </a:lnTo>
                  <a:cubicBezTo>
                    <a:pt x="177445" y="73381"/>
                    <a:pt x="176698" y="70735"/>
                    <a:pt x="177864" y="68648"/>
                  </a:cubicBezTo>
                  <a:cubicBezTo>
                    <a:pt x="179030" y="66549"/>
                    <a:pt x="181671" y="65809"/>
                    <a:pt x="183764" y="66975"/>
                  </a:cubicBezTo>
                  <a:lnTo>
                    <a:pt x="216782" y="85413"/>
                  </a:lnTo>
                  <a:cubicBezTo>
                    <a:pt x="209886" y="41278"/>
                    <a:pt x="172321" y="8674"/>
                    <a:pt x="126927" y="8674"/>
                  </a:cubicBezTo>
                  <a:cubicBezTo>
                    <a:pt x="87729" y="8674"/>
                    <a:pt x="53032" y="33624"/>
                    <a:pt x="40575" y="70758"/>
                  </a:cubicBezTo>
                  <a:cubicBezTo>
                    <a:pt x="39811" y="73026"/>
                    <a:pt x="37351" y="74250"/>
                    <a:pt x="35083" y="73486"/>
                  </a:cubicBezTo>
                  <a:cubicBezTo>
                    <a:pt x="32816" y="72723"/>
                    <a:pt x="31591" y="70268"/>
                    <a:pt x="32349" y="67995"/>
                  </a:cubicBezTo>
                  <a:cubicBezTo>
                    <a:pt x="45990" y="27323"/>
                    <a:pt x="84004" y="0"/>
                    <a:pt x="126927" y="0"/>
                  </a:cubicBezTo>
                  <a:cubicBezTo>
                    <a:pt x="175877" y="0"/>
                    <a:pt x="216572" y="34592"/>
                    <a:pt x="225031" y="81799"/>
                  </a:cubicBezTo>
                  <a:lnTo>
                    <a:pt x="246040" y="53730"/>
                  </a:lnTo>
                  <a:cubicBezTo>
                    <a:pt x="247468" y="51824"/>
                    <a:pt x="250185" y="51416"/>
                    <a:pt x="252108" y="52862"/>
                  </a:cubicBezTo>
                  <a:close/>
                  <a:moveTo>
                    <a:pt x="218764" y="125975"/>
                  </a:moveTo>
                  <a:cubicBezTo>
                    <a:pt x="216502" y="125223"/>
                    <a:pt x="214036" y="126435"/>
                    <a:pt x="213273" y="128703"/>
                  </a:cubicBezTo>
                  <a:cubicBezTo>
                    <a:pt x="200815" y="165842"/>
                    <a:pt x="166112" y="190787"/>
                    <a:pt x="126921" y="190787"/>
                  </a:cubicBezTo>
                  <a:cubicBezTo>
                    <a:pt x="81527" y="190787"/>
                    <a:pt x="43962" y="158188"/>
                    <a:pt x="37065" y="114048"/>
                  </a:cubicBezTo>
                  <a:lnTo>
                    <a:pt x="70083" y="132486"/>
                  </a:lnTo>
                  <a:cubicBezTo>
                    <a:pt x="72170" y="133646"/>
                    <a:pt x="74817" y="132906"/>
                    <a:pt x="75983" y="130813"/>
                  </a:cubicBezTo>
                  <a:cubicBezTo>
                    <a:pt x="77149" y="128726"/>
                    <a:pt x="76403" y="126086"/>
                    <a:pt x="74310" y="124914"/>
                  </a:cubicBezTo>
                  <a:lnTo>
                    <a:pt x="34069" y="102435"/>
                  </a:lnTo>
                  <a:cubicBezTo>
                    <a:pt x="32174" y="101369"/>
                    <a:pt x="29790" y="101887"/>
                    <a:pt x="28484" y="103619"/>
                  </a:cubicBezTo>
                  <a:lnTo>
                    <a:pt x="864" y="140519"/>
                  </a:lnTo>
                  <a:cubicBezTo>
                    <a:pt x="-570" y="142437"/>
                    <a:pt x="-179" y="145154"/>
                    <a:pt x="1739" y="146594"/>
                  </a:cubicBezTo>
                  <a:cubicBezTo>
                    <a:pt x="2520" y="147177"/>
                    <a:pt x="3435" y="147456"/>
                    <a:pt x="4333" y="147456"/>
                  </a:cubicBezTo>
                  <a:cubicBezTo>
                    <a:pt x="5656" y="147456"/>
                    <a:pt x="6956" y="146856"/>
                    <a:pt x="7807" y="145719"/>
                  </a:cubicBezTo>
                  <a:lnTo>
                    <a:pt x="28817" y="117650"/>
                  </a:lnTo>
                  <a:cubicBezTo>
                    <a:pt x="37275" y="164863"/>
                    <a:pt x="77971" y="199449"/>
                    <a:pt x="126921" y="199449"/>
                  </a:cubicBezTo>
                  <a:cubicBezTo>
                    <a:pt x="169843" y="199449"/>
                    <a:pt x="207857" y="172127"/>
                    <a:pt x="221498" y="131454"/>
                  </a:cubicBezTo>
                  <a:cubicBezTo>
                    <a:pt x="222262" y="129193"/>
                    <a:pt x="221037" y="126733"/>
                    <a:pt x="218764" y="125975"/>
                  </a:cubicBezTo>
                  <a:close/>
                </a:path>
              </a:pathLst>
            </a:custGeom>
            <a:solidFill>
              <a:schemeClr val="tx2"/>
            </a:solidFill>
            <a:ln w="581" cap="flat">
              <a:noFill/>
              <a:prstDash val="solid"/>
              <a:miter/>
            </a:ln>
          </p:spPr>
          <p:txBody>
            <a:bodyPr rtlCol="0" anchor="ctr"/>
            <a:lstStyle/>
            <a:p>
              <a:endParaRPr lang="en-GB" dirty="0"/>
            </a:p>
          </p:txBody>
        </p:sp>
        <p:sp>
          <p:nvSpPr>
            <p:cNvPr id="130" name="Freihandform: Form 129">
              <a:extLst>
                <a:ext uri="{FF2B5EF4-FFF2-40B4-BE49-F238E27FC236}">
                  <a16:creationId xmlns:a16="http://schemas.microsoft.com/office/drawing/2014/main" id="{08A2C359-375D-4880-8F7C-3C40F1F790AD}"/>
                </a:ext>
              </a:extLst>
            </p:cNvPr>
            <p:cNvSpPr>
              <a:spLocks noChangeAspect="1"/>
            </p:cNvSpPr>
            <p:nvPr/>
          </p:nvSpPr>
          <p:spPr>
            <a:xfrm>
              <a:off x="3231024" y="4075282"/>
              <a:ext cx="95396" cy="251053"/>
            </a:xfrm>
            <a:custGeom>
              <a:avLst/>
              <a:gdLst>
                <a:gd name="connsiteX0" fmla="*/ 87991 w 95396"/>
                <a:gd name="connsiteY0" fmla="*/ 50764 h 251053"/>
                <a:gd name="connsiteX1" fmla="*/ 91058 w 95396"/>
                <a:gd name="connsiteY1" fmla="*/ 52035 h 251053"/>
                <a:gd name="connsiteX2" fmla="*/ 94124 w 95396"/>
                <a:gd name="connsiteY2" fmla="*/ 50764 h 251053"/>
                <a:gd name="connsiteX3" fmla="*/ 94124 w 95396"/>
                <a:gd name="connsiteY3" fmla="*/ 44632 h 251053"/>
                <a:gd name="connsiteX4" fmla="*/ 50765 w 95396"/>
                <a:gd name="connsiteY4" fmla="*/ 1272 h 251053"/>
                <a:gd name="connsiteX5" fmla="*/ 44632 w 95396"/>
                <a:gd name="connsiteY5" fmla="*/ 1272 h 251053"/>
                <a:gd name="connsiteX6" fmla="*/ 1272 w 95396"/>
                <a:gd name="connsiteY6" fmla="*/ 44632 h 251053"/>
                <a:gd name="connsiteX7" fmla="*/ 1272 w 95396"/>
                <a:gd name="connsiteY7" fmla="*/ 50764 h 251053"/>
                <a:gd name="connsiteX8" fmla="*/ 7405 w 95396"/>
                <a:gd name="connsiteY8" fmla="*/ 50764 h 251053"/>
                <a:gd name="connsiteX9" fmla="*/ 43367 w 95396"/>
                <a:gd name="connsiteY9" fmla="*/ 14803 h 251053"/>
                <a:gd name="connsiteX10" fmla="*/ 43367 w 95396"/>
                <a:gd name="connsiteY10" fmla="*/ 236252 h 251053"/>
                <a:gd name="connsiteX11" fmla="*/ 7842 w 95396"/>
                <a:gd name="connsiteY11" fmla="*/ 200727 h 251053"/>
                <a:gd name="connsiteX12" fmla="*/ 1709 w 95396"/>
                <a:gd name="connsiteY12" fmla="*/ 200727 h 251053"/>
                <a:gd name="connsiteX13" fmla="*/ 1709 w 95396"/>
                <a:gd name="connsiteY13" fmla="*/ 206860 h 251053"/>
                <a:gd name="connsiteX14" fmla="*/ 44632 w 95396"/>
                <a:gd name="connsiteY14" fmla="*/ 249782 h 251053"/>
                <a:gd name="connsiteX15" fmla="*/ 47698 w 95396"/>
                <a:gd name="connsiteY15" fmla="*/ 251053 h 251053"/>
                <a:gd name="connsiteX16" fmla="*/ 50765 w 95396"/>
                <a:gd name="connsiteY16" fmla="*/ 249782 h 251053"/>
                <a:gd name="connsiteX17" fmla="*/ 93687 w 95396"/>
                <a:gd name="connsiteY17" fmla="*/ 206860 h 251053"/>
                <a:gd name="connsiteX18" fmla="*/ 93687 w 95396"/>
                <a:gd name="connsiteY18" fmla="*/ 200727 h 251053"/>
                <a:gd name="connsiteX19" fmla="*/ 87554 w 95396"/>
                <a:gd name="connsiteY19" fmla="*/ 200727 h 251053"/>
                <a:gd name="connsiteX20" fmla="*/ 52029 w 95396"/>
                <a:gd name="connsiteY20" fmla="*/ 236252 h 251053"/>
                <a:gd name="connsiteX21" fmla="*/ 52029 w 95396"/>
                <a:gd name="connsiteY21" fmla="*/ 14803 h 251053"/>
                <a:gd name="connsiteX22" fmla="*/ 87991 w 95396"/>
                <a:gd name="connsiteY22" fmla="*/ 50764 h 251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396" h="251053">
                  <a:moveTo>
                    <a:pt x="87991" y="50764"/>
                  </a:moveTo>
                  <a:cubicBezTo>
                    <a:pt x="88837" y="51610"/>
                    <a:pt x="89950" y="52035"/>
                    <a:pt x="91058" y="52035"/>
                  </a:cubicBezTo>
                  <a:cubicBezTo>
                    <a:pt x="92165" y="52035"/>
                    <a:pt x="93279" y="51610"/>
                    <a:pt x="94124" y="50764"/>
                  </a:cubicBezTo>
                  <a:cubicBezTo>
                    <a:pt x="95820" y="49068"/>
                    <a:pt x="95820" y="46328"/>
                    <a:pt x="94124" y="44632"/>
                  </a:cubicBezTo>
                  <a:lnTo>
                    <a:pt x="50765" y="1272"/>
                  </a:lnTo>
                  <a:cubicBezTo>
                    <a:pt x="49068" y="-424"/>
                    <a:pt x="46328" y="-424"/>
                    <a:pt x="44632" y="1272"/>
                  </a:cubicBezTo>
                  <a:lnTo>
                    <a:pt x="1272" y="44632"/>
                  </a:lnTo>
                  <a:cubicBezTo>
                    <a:pt x="-424" y="46328"/>
                    <a:pt x="-424" y="49068"/>
                    <a:pt x="1272" y="50764"/>
                  </a:cubicBezTo>
                  <a:cubicBezTo>
                    <a:pt x="2969" y="52461"/>
                    <a:pt x="5709" y="52461"/>
                    <a:pt x="7405" y="50764"/>
                  </a:cubicBezTo>
                  <a:lnTo>
                    <a:pt x="43367" y="14803"/>
                  </a:lnTo>
                  <a:lnTo>
                    <a:pt x="43367" y="236252"/>
                  </a:lnTo>
                  <a:lnTo>
                    <a:pt x="7842" y="200727"/>
                  </a:lnTo>
                  <a:cubicBezTo>
                    <a:pt x="6146" y="199031"/>
                    <a:pt x="3406" y="199031"/>
                    <a:pt x="1709" y="200727"/>
                  </a:cubicBezTo>
                  <a:cubicBezTo>
                    <a:pt x="13" y="202424"/>
                    <a:pt x="13" y="205164"/>
                    <a:pt x="1709" y="206860"/>
                  </a:cubicBezTo>
                  <a:lnTo>
                    <a:pt x="44632" y="249782"/>
                  </a:lnTo>
                  <a:cubicBezTo>
                    <a:pt x="45477" y="250628"/>
                    <a:pt x="46591" y="251053"/>
                    <a:pt x="47698" y="251053"/>
                  </a:cubicBezTo>
                  <a:cubicBezTo>
                    <a:pt x="48806" y="251053"/>
                    <a:pt x="49919" y="250628"/>
                    <a:pt x="50765" y="249782"/>
                  </a:cubicBezTo>
                  <a:lnTo>
                    <a:pt x="93687" y="206860"/>
                  </a:lnTo>
                  <a:cubicBezTo>
                    <a:pt x="95383" y="205164"/>
                    <a:pt x="95383" y="202424"/>
                    <a:pt x="93687" y="200727"/>
                  </a:cubicBezTo>
                  <a:cubicBezTo>
                    <a:pt x="91990" y="199031"/>
                    <a:pt x="89251" y="199031"/>
                    <a:pt x="87554" y="200727"/>
                  </a:cubicBezTo>
                  <a:lnTo>
                    <a:pt x="52029" y="236252"/>
                  </a:lnTo>
                  <a:lnTo>
                    <a:pt x="52029" y="14803"/>
                  </a:lnTo>
                  <a:lnTo>
                    <a:pt x="87991" y="50764"/>
                  </a:lnTo>
                  <a:close/>
                </a:path>
              </a:pathLst>
            </a:custGeom>
            <a:solidFill>
              <a:schemeClr val="tx2"/>
            </a:solidFill>
            <a:ln w="581" cap="flat">
              <a:noFill/>
              <a:prstDash val="solid"/>
              <a:miter/>
            </a:ln>
          </p:spPr>
          <p:txBody>
            <a:bodyPr rtlCol="0" anchor="ctr"/>
            <a:lstStyle/>
            <a:p>
              <a:endParaRPr lang="en-GB" dirty="0"/>
            </a:p>
          </p:txBody>
        </p:sp>
        <p:sp>
          <p:nvSpPr>
            <p:cNvPr id="135" name="Freihandform: Form 134">
              <a:extLst>
                <a:ext uri="{FF2B5EF4-FFF2-40B4-BE49-F238E27FC236}">
                  <a16:creationId xmlns:a16="http://schemas.microsoft.com/office/drawing/2014/main" id="{6DEEE4A8-F29F-47CA-9D2F-26AFDC36B936}"/>
                </a:ext>
              </a:extLst>
            </p:cNvPr>
            <p:cNvSpPr>
              <a:spLocks noChangeAspect="1"/>
            </p:cNvSpPr>
            <p:nvPr/>
          </p:nvSpPr>
          <p:spPr>
            <a:xfrm>
              <a:off x="3187663" y="1650079"/>
              <a:ext cx="182119" cy="182118"/>
            </a:xfrm>
            <a:custGeom>
              <a:avLst/>
              <a:gdLst>
                <a:gd name="connsiteX0" fmla="*/ 4333 w 182119"/>
                <a:gd name="connsiteY0" fmla="*/ 182118 h 182118"/>
                <a:gd name="connsiteX1" fmla="*/ 7399 w 182119"/>
                <a:gd name="connsiteY1" fmla="*/ 180848 h 182118"/>
                <a:gd name="connsiteX2" fmla="*/ 173446 w 182119"/>
                <a:gd name="connsiteY2" fmla="*/ 14807 h 182118"/>
                <a:gd name="connsiteX3" fmla="*/ 173446 w 182119"/>
                <a:gd name="connsiteY3" fmla="*/ 164776 h 182118"/>
                <a:gd name="connsiteX4" fmla="*/ 177783 w 182119"/>
                <a:gd name="connsiteY4" fmla="*/ 169113 h 182118"/>
                <a:gd name="connsiteX5" fmla="*/ 182120 w 182119"/>
                <a:gd name="connsiteY5" fmla="*/ 164776 h 182118"/>
                <a:gd name="connsiteX6" fmla="*/ 182120 w 182119"/>
                <a:gd name="connsiteY6" fmla="*/ 4337 h 182118"/>
                <a:gd name="connsiteX7" fmla="*/ 177783 w 182119"/>
                <a:gd name="connsiteY7" fmla="*/ 0 h 182118"/>
                <a:gd name="connsiteX8" fmla="*/ 17344 w 182119"/>
                <a:gd name="connsiteY8" fmla="*/ 0 h 182118"/>
                <a:gd name="connsiteX9" fmla="*/ 13007 w 182119"/>
                <a:gd name="connsiteY9" fmla="*/ 4337 h 182118"/>
                <a:gd name="connsiteX10" fmla="*/ 17344 w 182119"/>
                <a:gd name="connsiteY10" fmla="*/ 8674 h 182118"/>
                <a:gd name="connsiteX11" fmla="*/ 167313 w 182119"/>
                <a:gd name="connsiteY11" fmla="*/ 8674 h 182118"/>
                <a:gd name="connsiteX12" fmla="*/ 1272 w 182119"/>
                <a:gd name="connsiteY12" fmla="*/ 174715 h 182118"/>
                <a:gd name="connsiteX13" fmla="*/ 1272 w 182119"/>
                <a:gd name="connsiteY13" fmla="*/ 180848 h 182118"/>
                <a:gd name="connsiteX14" fmla="*/ 4333 w 182119"/>
                <a:gd name="connsiteY14" fmla="*/ 182118 h 18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119" h="182118">
                  <a:moveTo>
                    <a:pt x="4333" y="182118"/>
                  </a:moveTo>
                  <a:cubicBezTo>
                    <a:pt x="5440" y="182118"/>
                    <a:pt x="6554" y="181693"/>
                    <a:pt x="7399" y="180848"/>
                  </a:cubicBezTo>
                  <a:lnTo>
                    <a:pt x="173446" y="14807"/>
                  </a:lnTo>
                  <a:lnTo>
                    <a:pt x="173446" y="164776"/>
                  </a:lnTo>
                  <a:cubicBezTo>
                    <a:pt x="173446" y="167172"/>
                    <a:pt x="175387" y="169113"/>
                    <a:pt x="177783" y="169113"/>
                  </a:cubicBezTo>
                  <a:cubicBezTo>
                    <a:pt x="180179" y="169113"/>
                    <a:pt x="182120" y="167172"/>
                    <a:pt x="182120" y="164776"/>
                  </a:cubicBezTo>
                  <a:lnTo>
                    <a:pt x="182120" y="4337"/>
                  </a:lnTo>
                  <a:cubicBezTo>
                    <a:pt x="182120" y="1941"/>
                    <a:pt x="180179" y="0"/>
                    <a:pt x="177783" y="0"/>
                  </a:cubicBezTo>
                  <a:lnTo>
                    <a:pt x="17344" y="0"/>
                  </a:lnTo>
                  <a:cubicBezTo>
                    <a:pt x="14948" y="0"/>
                    <a:pt x="13007" y="1941"/>
                    <a:pt x="13007" y="4337"/>
                  </a:cubicBezTo>
                  <a:cubicBezTo>
                    <a:pt x="13007" y="6733"/>
                    <a:pt x="14948" y="8674"/>
                    <a:pt x="17344" y="8674"/>
                  </a:cubicBezTo>
                  <a:lnTo>
                    <a:pt x="167313" y="8674"/>
                  </a:lnTo>
                  <a:lnTo>
                    <a:pt x="1272" y="174715"/>
                  </a:lnTo>
                  <a:cubicBezTo>
                    <a:pt x="-424" y="176411"/>
                    <a:pt x="-424" y="179151"/>
                    <a:pt x="1272" y="180848"/>
                  </a:cubicBezTo>
                  <a:cubicBezTo>
                    <a:pt x="2118" y="181699"/>
                    <a:pt x="3225" y="182118"/>
                    <a:pt x="4333" y="182118"/>
                  </a:cubicBezTo>
                  <a:close/>
                </a:path>
              </a:pathLst>
            </a:custGeom>
            <a:solidFill>
              <a:schemeClr val="tx2"/>
            </a:solidFill>
            <a:ln w="581" cap="flat">
              <a:noFill/>
              <a:prstDash val="solid"/>
              <a:miter/>
            </a:ln>
          </p:spPr>
          <p:txBody>
            <a:bodyPr rtlCol="0" anchor="ctr"/>
            <a:lstStyle/>
            <a:p>
              <a:endParaRPr lang="en-GB" dirty="0"/>
            </a:p>
          </p:txBody>
        </p:sp>
        <p:sp>
          <p:nvSpPr>
            <p:cNvPr id="141" name="Freihandform: Form 140">
              <a:extLst>
                <a:ext uri="{FF2B5EF4-FFF2-40B4-BE49-F238E27FC236}">
                  <a16:creationId xmlns:a16="http://schemas.microsoft.com/office/drawing/2014/main" id="{D7A63472-0D14-4748-B252-95D4944BFD0B}"/>
                </a:ext>
              </a:extLst>
            </p:cNvPr>
            <p:cNvSpPr>
              <a:spLocks noChangeAspect="1"/>
            </p:cNvSpPr>
            <p:nvPr/>
          </p:nvSpPr>
          <p:spPr>
            <a:xfrm>
              <a:off x="3218013" y="2029763"/>
              <a:ext cx="121419" cy="234153"/>
            </a:xfrm>
            <a:custGeom>
              <a:avLst/>
              <a:gdLst>
                <a:gd name="connsiteX0" fmla="*/ 120147 w 121419"/>
                <a:gd name="connsiteY0" fmla="*/ 1272 h 234153"/>
                <a:gd name="connsiteX1" fmla="*/ 114014 w 121419"/>
                <a:gd name="connsiteY1" fmla="*/ 1272 h 234153"/>
                <a:gd name="connsiteX2" fmla="*/ 1272 w 121419"/>
                <a:gd name="connsiteY2" fmla="*/ 114014 h 234153"/>
                <a:gd name="connsiteX3" fmla="*/ 1272 w 121419"/>
                <a:gd name="connsiteY3" fmla="*/ 120147 h 234153"/>
                <a:gd name="connsiteX4" fmla="*/ 114014 w 121419"/>
                <a:gd name="connsiteY4" fmla="*/ 232883 h 234153"/>
                <a:gd name="connsiteX5" fmla="*/ 117081 w 121419"/>
                <a:gd name="connsiteY5" fmla="*/ 234154 h 234153"/>
                <a:gd name="connsiteX6" fmla="*/ 120147 w 121419"/>
                <a:gd name="connsiteY6" fmla="*/ 232883 h 234153"/>
                <a:gd name="connsiteX7" fmla="*/ 120147 w 121419"/>
                <a:gd name="connsiteY7" fmla="*/ 226750 h 234153"/>
                <a:gd name="connsiteX8" fmla="*/ 10471 w 121419"/>
                <a:gd name="connsiteY8" fmla="*/ 117075 h 234153"/>
                <a:gd name="connsiteX9" fmla="*/ 120147 w 121419"/>
                <a:gd name="connsiteY9" fmla="*/ 7399 h 234153"/>
                <a:gd name="connsiteX10" fmla="*/ 120147 w 121419"/>
                <a:gd name="connsiteY10" fmla="*/ 1272 h 2341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419" h="234153">
                  <a:moveTo>
                    <a:pt x="120147" y="1272"/>
                  </a:moveTo>
                  <a:cubicBezTo>
                    <a:pt x="118450" y="-424"/>
                    <a:pt x="115711" y="-424"/>
                    <a:pt x="114014" y="1272"/>
                  </a:cubicBezTo>
                  <a:lnTo>
                    <a:pt x="1272" y="114014"/>
                  </a:lnTo>
                  <a:cubicBezTo>
                    <a:pt x="-424" y="115711"/>
                    <a:pt x="-424" y="118450"/>
                    <a:pt x="1272" y="120147"/>
                  </a:cubicBezTo>
                  <a:lnTo>
                    <a:pt x="114014" y="232883"/>
                  </a:lnTo>
                  <a:cubicBezTo>
                    <a:pt x="114859" y="233728"/>
                    <a:pt x="115973" y="234154"/>
                    <a:pt x="117081" y="234154"/>
                  </a:cubicBezTo>
                  <a:cubicBezTo>
                    <a:pt x="118188" y="234154"/>
                    <a:pt x="119302" y="233728"/>
                    <a:pt x="120147" y="232883"/>
                  </a:cubicBezTo>
                  <a:cubicBezTo>
                    <a:pt x="121843" y="231186"/>
                    <a:pt x="121843" y="228447"/>
                    <a:pt x="120147" y="226750"/>
                  </a:cubicBezTo>
                  <a:lnTo>
                    <a:pt x="10471" y="117075"/>
                  </a:lnTo>
                  <a:lnTo>
                    <a:pt x="120147" y="7399"/>
                  </a:lnTo>
                  <a:cubicBezTo>
                    <a:pt x="121837" y="5708"/>
                    <a:pt x="121837" y="2969"/>
                    <a:pt x="120147" y="1272"/>
                  </a:cubicBezTo>
                  <a:close/>
                </a:path>
              </a:pathLst>
            </a:custGeom>
            <a:solidFill>
              <a:schemeClr val="tx2"/>
            </a:solidFill>
            <a:ln w="581" cap="flat">
              <a:noFill/>
              <a:prstDash val="solid"/>
              <a:miter/>
            </a:ln>
          </p:spPr>
          <p:txBody>
            <a:bodyPr rtlCol="0" anchor="ctr"/>
            <a:lstStyle/>
            <a:p>
              <a:endParaRPr lang="en-GB" dirty="0"/>
            </a:p>
          </p:txBody>
        </p:sp>
        <p:sp>
          <p:nvSpPr>
            <p:cNvPr id="145" name="Freihandform: Form 144">
              <a:extLst>
                <a:ext uri="{FF2B5EF4-FFF2-40B4-BE49-F238E27FC236}">
                  <a16:creationId xmlns:a16="http://schemas.microsoft.com/office/drawing/2014/main" id="{A4950B8B-3010-443E-A119-EFB115985A01}"/>
                </a:ext>
              </a:extLst>
            </p:cNvPr>
            <p:cNvSpPr>
              <a:spLocks noChangeAspect="1"/>
            </p:cNvSpPr>
            <p:nvPr/>
          </p:nvSpPr>
          <p:spPr>
            <a:xfrm>
              <a:off x="3152975" y="3227889"/>
              <a:ext cx="251494" cy="251494"/>
            </a:xfrm>
            <a:custGeom>
              <a:avLst/>
              <a:gdLst>
                <a:gd name="connsiteX0" fmla="*/ 35962 w 251494"/>
                <a:gd name="connsiteY0" fmla="*/ 128814 h 251494"/>
                <a:gd name="connsiteX1" fmla="*/ 35962 w 251494"/>
                <a:gd name="connsiteY1" fmla="*/ 122681 h 251494"/>
                <a:gd name="connsiteX2" fmla="*/ 127018 w 251494"/>
                <a:gd name="connsiteY2" fmla="*/ 31625 h 251494"/>
                <a:gd name="connsiteX3" fmla="*/ 133151 w 251494"/>
                <a:gd name="connsiteY3" fmla="*/ 31625 h 251494"/>
                <a:gd name="connsiteX4" fmla="*/ 133151 w 251494"/>
                <a:gd name="connsiteY4" fmla="*/ 37757 h 251494"/>
                <a:gd name="connsiteX5" fmla="*/ 49492 w 251494"/>
                <a:gd name="connsiteY5" fmla="*/ 121416 h 251494"/>
                <a:gd name="connsiteX6" fmla="*/ 247158 w 251494"/>
                <a:gd name="connsiteY6" fmla="*/ 121416 h 251494"/>
                <a:gd name="connsiteX7" fmla="*/ 251495 w 251494"/>
                <a:gd name="connsiteY7" fmla="*/ 125753 h 251494"/>
                <a:gd name="connsiteX8" fmla="*/ 247158 w 251494"/>
                <a:gd name="connsiteY8" fmla="*/ 130090 h 251494"/>
                <a:gd name="connsiteX9" fmla="*/ 49492 w 251494"/>
                <a:gd name="connsiteY9" fmla="*/ 130090 h 251494"/>
                <a:gd name="connsiteX10" fmla="*/ 133151 w 251494"/>
                <a:gd name="connsiteY10" fmla="*/ 213749 h 251494"/>
                <a:gd name="connsiteX11" fmla="*/ 133151 w 251494"/>
                <a:gd name="connsiteY11" fmla="*/ 219882 h 251494"/>
                <a:gd name="connsiteX12" fmla="*/ 130085 w 251494"/>
                <a:gd name="connsiteY12" fmla="*/ 221152 h 251494"/>
                <a:gd name="connsiteX13" fmla="*/ 127018 w 251494"/>
                <a:gd name="connsiteY13" fmla="*/ 219882 h 251494"/>
                <a:gd name="connsiteX14" fmla="*/ 35962 w 251494"/>
                <a:gd name="connsiteY14" fmla="*/ 128814 h 251494"/>
                <a:gd name="connsiteX15" fmla="*/ 4337 w 251494"/>
                <a:gd name="connsiteY15" fmla="*/ 251495 h 251494"/>
                <a:gd name="connsiteX16" fmla="*/ 8674 w 251494"/>
                <a:gd name="connsiteY16" fmla="*/ 247158 h 251494"/>
                <a:gd name="connsiteX17" fmla="*/ 8674 w 251494"/>
                <a:gd name="connsiteY17" fmla="*/ 4337 h 251494"/>
                <a:gd name="connsiteX18" fmla="*/ 4337 w 251494"/>
                <a:gd name="connsiteY18" fmla="*/ 0 h 251494"/>
                <a:gd name="connsiteX19" fmla="*/ 0 w 251494"/>
                <a:gd name="connsiteY19" fmla="*/ 4337 h 251494"/>
                <a:gd name="connsiteX20" fmla="*/ 0 w 251494"/>
                <a:gd name="connsiteY20" fmla="*/ 247158 h 251494"/>
                <a:gd name="connsiteX21" fmla="*/ 4337 w 251494"/>
                <a:gd name="connsiteY21" fmla="*/ 251495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1494" h="251494">
                  <a:moveTo>
                    <a:pt x="35962" y="128814"/>
                  </a:moveTo>
                  <a:cubicBezTo>
                    <a:pt x="34266" y="127117"/>
                    <a:pt x="34266" y="124377"/>
                    <a:pt x="35962" y="122681"/>
                  </a:cubicBezTo>
                  <a:lnTo>
                    <a:pt x="127018" y="31625"/>
                  </a:lnTo>
                  <a:cubicBezTo>
                    <a:pt x="128715" y="29928"/>
                    <a:pt x="131454" y="29928"/>
                    <a:pt x="133151" y="31625"/>
                  </a:cubicBezTo>
                  <a:cubicBezTo>
                    <a:pt x="134847" y="33321"/>
                    <a:pt x="134847" y="36061"/>
                    <a:pt x="133151" y="37757"/>
                  </a:cubicBezTo>
                  <a:lnTo>
                    <a:pt x="49492" y="121416"/>
                  </a:lnTo>
                  <a:lnTo>
                    <a:pt x="247158" y="121416"/>
                  </a:lnTo>
                  <a:cubicBezTo>
                    <a:pt x="249554" y="121416"/>
                    <a:pt x="251495" y="123357"/>
                    <a:pt x="251495" y="125753"/>
                  </a:cubicBezTo>
                  <a:cubicBezTo>
                    <a:pt x="251495" y="128149"/>
                    <a:pt x="249554" y="130090"/>
                    <a:pt x="247158" y="130090"/>
                  </a:cubicBezTo>
                  <a:lnTo>
                    <a:pt x="49492" y="130090"/>
                  </a:lnTo>
                  <a:lnTo>
                    <a:pt x="133151" y="213749"/>
                  </a:lnTo>
                  <a:cubicBezTo>
                    <a:pt x="134847" y="215445"/>
                    <a:pt x="134847" y="218185"/>
                    <a:pt x="133151" y="219882"/>
                  </a:cubicBezTo>
                  <a:cubicBezTo>
                    <a:pt x="132306" y="220727"/>
                    <a:pt x="131192" y="221152"/>
                    <a:pt x="130085" y="221152"/>
                  </a:cubicBezTo>
                  <a:cubicBezTo>
                    <a:pt x="128977" y="221152"/>
                    <a:pt x="127864" y="220727"/>
                    <a:pt x="127018" y="219882"/>
                  </a:cubicBezTo>
                  <a:lnTo>
                    <a:pt x="35962" y="128814"/>
                  </a:lnTo>
                  <a:close/>
                  <a:moveTo>
                    <a:pt x="4337" y="251495"/>
                  </a:moveTo>
                  <a:cubicBezTo>
                    <a:pt x="6733" y="251495"/>
                    <a:pt x="8674" y="249554"/>
                    <a:pt x="8674" y="247158"/>
                  </a:cubicBezTo>
                  <a:lnTo>
                    <a:pt x="8674" y="4337"/>
                  </a:lnTo>
                  <a:cubicBezTo>
                    <a:pt x="8674" y="1941"/>
                    <a:pt x="6733" y="0"/>
                    <a:pt x="4337" y="0"/>
                  </a:cubicBezTo>
                  <a:cubicBezTo>
                    <a:pt x="1941" y="0"/>
                    <a:pt x="0" y="1941"/>
                    <a:pt x="0" y="4337"/>
                  </a:cubicBezTo>
                  <a:lnTo>
                    <a:pt x="0" y="247158"/>
                  </a:lnTo>
                  <a:cubicBezTo>
                    <a:pt x="0" y="249554"/>
                    <a:pt x="1941" y="251495"/>
                    <a:pt x="4337" y="251495"/>
                  </a:cubicBezTo>
                  <a:close/>
                </a:path>
              </a:pathLst>
            </a:custGeom>
            <a:solidFill>
              <a:schemeClr val="tx2"/>
            </a:solidFill>
            <a:ln w="581" cap="flat">
              <a:noFill/>
              <a:prstDash val="solid"/>
              <a:miter/>
            </a:ln>
          </p:spPr>
          <p:txBody>
            <a:bodyPr rtlCol="0" anchor="ctr"/>
            <a:lstStyle/>
            <a:p>
              <a:endParaRPr lang="en-GB" dirty="0"/>
            </a:p>
          </p:txBody>
        </p:sp>
        <p:sp>
          <p:nvSpPr>
            <p:cNvPr id="148" name="Freihandform: Form 147">
              <a:extLst>
                <a:ext uri="{FF2B5EF4-FFF2-40B4-BE49-F238E27FC236}">
                  <a16:creationId xmlns:a16="http://schemas.microsoft.com/office/drawing/2014/main" id="{429E774E-1012-462E-B303-E89A6CBBA4AE}"/>
                </a:ext>
              </a:extLst>
            </p:cNvPr>
            <p:cNvSpPr>
              <a:spLocks noChangeAspect="1"/>
            </p:cNvSpPr>
            <p:nvPr/>
          </p:nvSpPr>
          <p:spPr>
            <a:xfrm>
              <a:off x="3152975" y="2407839"/>
              <a:ext cx="251494" cy="251494"/>
            </a:xfrm>
            <a:custGeom>
              <a:avLst/>
              <a:gdLst>
                <a:gd name="connsiteX0" fmla="*/ 125748 w 251494"/>
                <a:gd name="connsiteY0" fmla="*/ 0 h 251494"/>
                <a:gd name="connsiteX1" fmla="*/ 0 w 251494"/>
                <a:gd name="connsiteY1" fmla="*/ 125747 h 251494"/>
                <a:gd name="connsiteX2" fmla="*/ 125748 w 251494"/>
                <a:gd name="connsiteY2" fmla="*/ 251495 h 251494"/>
                <a:gd name="connsiteX3" fmla="*/ 251495 w 251494"/>
                <a:gd name="connsiteY3" fmla="*/ 125747 h 251494"/>
                <a:gd name="connsiteX4" fmla="*/ 125748 w 251494"/>
                <a:gd name="connsiteY4" fmla="*/ 0 h 251494"/>
                <a:gd name="connsiteX5" fmla="*/ 125748 w 251494"/>
                <a:gd name="connsiteY5" fmla="*/ 242821 h 251494"/>
                <a:gd name="connsiteX6" fmla="*/ 8674 w 251494"/>
                <a:gd name="connsiteY6" fmla="*/ 125747 h 251494"/>
                <a:gd name="connsiteX7" fmla="*/ 125748 w 251494"/>
                <a:gd name="connsiteY7" fmla="*/ 8674 h 251494"/>
                <a:gd name="connsiteX8" fmla="*/ 242821 w 251494"/>
                <a:gd name="connsiteY8" fmla="*/ 125747 h 251494"/>
                <a:gd name="connsiteX9" fmla="*/ 125748 w 251494"/>
                <a:gd name="connsiteY9" fmla="*/ 242821 h 251494"/>
                <a:gd name="connsiteX10" fmla="*/ 198190 w 251494"/>
                <a:gd name="connsiteY10" fmla="*/ 118344 h 251494"/>
                <a:gd name="connsiteX11" fmla="*/ 198190 w 251494"/>
                <a:gd name="connsiteY11" fmla="*/ 124477 h 251494"/>
                <a:gd name="connsiteX12" fmla="*/ 195124 w 251494"/>
                <a:gd name="connsiteY12" fmla="*/ 125747 h 251494"/>
                <a:gd name="connsiteX13" fmla="*/ 192058 w 251494"/>
                <a:gd name="connsiteY13" fmla="*/ 124477 h 251494"/>
                <a:gd name="connsiteX14" fmla="*/ 130079 w 251494"/>
                <a:gd name="connsiteY14" fmla="*/ 62504 h 251494"/>
                <a:gd name="connsiteX15" fmla="*/ 130079 w 251494"/>
                <a:gd name="connsiteY15" fmla="*/ 199461 h 251494"/>
                <a:gd name="connsiteX16" fmla="*/ 125742 w 251494"/>
                <a:gd name="connsiteY16" fmla="*/ 203798 h 251494"/>
                <a:gd name="connsiteX17" fmla="*/ 121404 w 251494"/>
                <a:gd name="connsiteY17" fmla="*/ 199461 h 251494"/>
                <a:gd name="connsiteX18" fmla="*/ 121404 w 251494"/>
                <a:gd name="connsiteY18" fmla="*/ 62504 h 251494"/>
                <a:gd name="connsiteX19" fmla="*/ 59426 w 251494"/>
                <a:gd name="connsiteY19" fmla="*/ 124477 h 251494"/>
                <a:gd name="connsiteX20" fmla="*/ 53293 w 251494"/>
                <a:gd name="connsiteY20" fmla="*/ 124477 h 251494"/>
                <a:gd name="connsiteX21" fmla="*/ 53293 w 251494"/>
                <a:gd name="connsiteY21" fmla="*/ 118344 h 251494"/>
                <a:gd name="connsiteX22" fmla="*/ 122670 w 251494"/>
                <a:gd name="connsiteY22" fmla="*/ 48968 h 251494"/>
                <a:gd name="connsiteX23" fmla="*/ 128802 w 251494"/>
                <a:gd name="connsiteY23" fmla="*/ 48968 h 251494"/>
                <a:gd name="connsiteX24" fmla="*/ 198190 w 251494"/>
                <a:gd name="connsiteY24" fmla="*/ 118344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1494" h="251494">
                  <a:moveTo>
                    <a:pt x="125748" y="0"/>
                  </a:moveTo>
                  <a:cubicBezTo>
                    <a:pt x="56412" y="0"/>
                    <a:pt x="0" y="56412"/>
                    <a:pt x="0" y="125747"/>
                  </a:cubicBezTo>
                  <a:cubicBezTo>
                    <a:pt x="0" y="195083"/>
                    <a:pt x="56412" y="251495"/>
                    <a:pt x="125748" y="251495"/>
                  </a:cubicBezTo>
                  <a:cubicBezTo>
                    <a:pt x="195083" y="251495"/>
                    <a:pt x="251495" y="195083"/>
                    <a:pt x="251495" y="125747"/>
                  </a:cubicBezTo>
                  <a:cubicBezTo>
                    <a:pt x="251495" y="56412"/>
                    <a:pt x="195083" y="0"/>
                    <a:pt x="125748" y="0"/>
                  </a:cubicBezTo>
                  <a:close/>
                  <a:moveTo>
                    <a:pt x="125748" y="242821"/>
                  </a:moveTo>
                  <a:cubicBezTo>
                    <a:pt x="61192" y="242821"/>
                    <a:pt x="8674" y="190303"/>
                    <a:pt x="8674" y="125747"/>
                  </a:cubicBezTo>
                  <a:cubicBezTo>
                    <a:pt x="8674" y="61192"/>
                    <a:pt x="61192" y="8674"/>
                    <a:pt x="125748" y="8674"/>
                  </a:cubicBezTo>
                  <a:cubicBezTo>
                    <a:pt x="190303" y="8674"/>
                    <a:pt x="242821" y="61192"/>
                    <a:pt x="242821" y="125747"/>
                  </a:cubicBezTo>
                  <a:cubicBezTo>
                    <a:pt x="242821" y="190303"/>
                    <a:pt x="190303" y="242821"/>
                    <a:pt x="125748" y="242821"/>
                  </a:cubicBezTo>
                  <a:close/>
                  <a:moveTo>
                    <a:pt x="198190" y="118344"/>
                  </a:moveTo>
                  <a:cubicBezTo>
                    <a:pt x="199887" y="120040"/>
                    <a:pt x="199887" y="122780"/>
                    <a:pt x="198190" y="124477"/>
                  </a:cubicBezTo>
                  <a:cubicBezTo>
                    <a:pt x="197345" y="125322"/>
                    <a:pt x="196232" y="125747"/>
                    <a:pt x="195124" y="125747"/>
                  </a:cubicBezTo>
                  <a:cubicBezTo>
                    <a:pt x="194016" y="125747"/>
                    <a:pt x="192903" y="125322"/>
                    <a:pt x="192058" y="124477"/>
                  </a:cubicBezTo>
                  <a:lnTo>
                    <a:pt x="130079" y="62504"/>
                  </a:lnTo>
                  <a:lnTo>
                    <a:pt x="130079" y="199461"/>
                  </a:lnTo>
                  <a:cubicBezTo>
                    <a:pt x="130079" y="201857"/>
                    <a:pt x="128138" y="203798"/>
                    <a:pt x="125742" y="203798"/>
                  </a:cubicBezTo>
                  <a:cubicBezTo>
                    <a:pt x="123346" y="203798"/>
                    <a:pt x="121404" y="201857"/>
                    <a:pt x="121404" y="199461"/>
                  </a:cubicBezTo>
                  <a:lnTo>
                    <a:pt x="121404" y="62504"/>
                  </a:lnTo>
                  <a:lnTo>
                    <a:pt x="59426" y="124477"/>
                  </a:lnTo>
                  <a:cubicBezTo>
                    <a:pt x="57729" y="126173"/>
                    <a:pt x="54989" y="126173"/>
                    <a:pt x="53293" y="124477"/>
                  </a:cubicBezTo>
                  <a:cubicBezTo>
                    <a:pt x="51597" y="122780"/>
                    <a:pt x="51597" y="120040"/>
                    <a:pt x="53293" y="118344"/>
                  </a:cubicBezTo>
                  <a:lnTo>
                    <a:pt x="122670" y="48968"/>
                  </a:lnTo>
                  <a:cubicBezTo>
                    <a:pt x="124366" y="47271"/>
                    <a:pt x="127106" y="47271"/>
                    <a:pt x="128802" y="48968"/>
                  </a:cubicBezTo>
                  <a:lnTo>
                    <a:pt x="198190" y="118344"/>
                  </a:lnTo>
                  <a:close/>
                </a:path>
              </a:pathLst>
            </a:custGeom>
            <a:solidFill>
              <a:schemeClr val="tx2"/>
            </a:solidFill>
            <a:ln w="581" cap="flat">
              <a:noFill/>
              <a:prstDash val="solid"/>
              <a:miter/>
            </a:ln>
          </p:spPr>
          <p:txBody>
            <a:bodyPr rtlCol="0" anchor="ctr"/>
            <a:lstStyle/>
            <a:p>
              <a:endParaRPr lang="en-GB" dirty="0"/>
            </a:p>
          </p:txBody>
        </p:sp>
        <p:sp>
          <p:nvSpPr>
            <p:cNvPr id="160" name="Freihandform: Form 159">
              <a:extLst>
                <a:ext uri="{FF2B5EF4-FFF2-40B4-BE49-F238E27FC236}">
                  <a16:creationId xmlns:a16="http://schemas.microsoft.com/office/drawing/2014/main" id="{F95AB0B3-DBC1-4915-85EA-B39F5B3310DB}"/>
                </a:ext>
              </a:extLst>
            </p:cNvPr>
            <p:cNvSpPr>
              <a:spLocks noChangeAspect="1"/>
            </p:cNvSpPr>
            <p:nvPr/>
          </p:nvSpPr>
          <p:spPr>
            <a:xfrm>
              <a:off x="3152975" y="3674483"/>
              <a:ext cx="251494" cy="251502"/>
            </a:xfrm>
            <a:custGeom>
              <a:avLst/>
              <a:gdLst>
                <a:gd name="connsiteX0" fmla="*/ 251495 w 251494"/>
                <a:gd name="connsiteY0" fmla="*/ 125755 h 251502"/>
                <a:gd name="connsiteX1" fmla="*/ 247158 w 251494"/>
                <a:gd name="connsiteY1" fmla="*/ 130092 h 251502"/>
                <a:gd name="connsiteX2" fmla="*/ 4337 w 251494"/>
                <a:gd name="connsiteY2" fmla="*/ 130092 h 251502"/>
                <a:gd name="connsiteX3" fmla="*/ 0 w 251494"/>
                <a:gd name="connsiteY3" fmla="*/ 125755 h 251502"/>
                <a:gd name="connsiteX4" fmla="*/ 4337 w 251494"/>
                <a:gd name="connsiteY4" fmla="*/ 121418 h 251502"/>
                <a:gd name="connsiteX5" fmla="*/ 247158 w 251494"/>
                <a:gd name="connsiteY5" fmla="*/ 121418 h 251502"/>
                <a:gd name="connsiteX6" fmla="*/ 251495 w 251494"/>
                <a:gd name="connsiteY6" fmla="*/ 125755 h 251502"/>
                <a:gd name="connsiteX7" fmla="*/ 125748 w 251494"/>
                <a:gd name="connsiteY7" fmla="*/ 251502 h 251502"/>
                <a:gd name="connsiteX8" fmla="*/ 128814 w 251494"/>
                <a:gd name="connsiteY8" fmla="*/ 250231 h 251502"/>
                <a:gd name="connsiteX9" fmla="*/ 185185 w 251494"/>
                <a:gd name="connsiteY9" fmla="*/ 193860 h 251502"/>
                <a:gd name="connsiteX10" fmla="*/ 185185 w 251494"/>
                <a:gd name="connsiteY10" fmla="*/ 187728 h 251502"/>
                <a:gd name="connsiteX11" fmla="*/ 179052 w 251494"/>
                <a:gd name="connsiteY11" fmla="*/ 187728 h 251502"/>
                <a:gd name="connsiteX12" fmla="*/ 125748 w 251494"/>
                <a:gd name="connsiteY12" fmla="*/ 241032 h 251502"/>
                <a:gd name="connsiteX13" fmla="*/ 72443 w 251494"/>
                <a:gd name="connsiteY13" fmla="*/ 187728 h 251502"/>
                <a:gd name="connsiteX14" fmla="*/ 66310 w 251494"/>
                <a:gd name="connsiteY14" fmla="*/ 187728 h 251502"/>
                <a:gd name="connsiteX15" fmla="*/ 66310 w 251494"/>
                <a:gd name="connsiteY15" fmla="*/ 193860 h 251502"/>
                <a:gd name="connsiteX16" fmla="*/ 122681 w 251494"/>
                <a:gd name="connsiteY16" fmla="*/ 250231 h 251502"/>
                <a:gd name="connsiteX17" fmla="*/ 125748 w 251494"/>
                <a:gd name="connsiteY17" fmla="*/ 251502 h 251502"/>
                <a:gd name="connsiteX18" fmla="*/ 72443 w 251494"/>
                <a:gd name="connsiteY18" fmla="*/ 63776 h 251502"/>
                <a:gd name="connsiteX19" fmla="*/ 125748 w 251494"/>
                <a:gd name="connsiteY19" fmla="*/ 10471 h 251502"/>
                <a:gd name="connsiteX20" fmla="*/ 179052 w 251494"/>
                <a:gd name="connsiteY20" fmla="*/ 63776 h 251502"/>
                <a:gd name="connsiteX21" fmla="*/ 182118 w 251494"/>
                <a:gd name="connsiteY21" fmla="*/ 65047 h 251502"/>
                <a:gd name="connsiteX22" fmla="*/ 185185 w 251494"/>
                <a:gd name="connsiteY22" fmla="*/ 63776 h 251502"/>
                <a:gd name="connsiteX23" fmla="*/ 185185 w 251494"/>
                <a:gd name="connsiteY23" fmla="*/ 57643 h 251502"/>
                <a:gd name="connsiteX24" fmla="*/ 128814 w 251494"/>
                <a:gd name="connsiteY24" fmla="*/ 1272 h 251502"/>
                <a:gd name="connsiteX25" fmla="*/ 122681 w 251494"/>
                <a:gd name="connsiteY25" fmla="*/ 1272 h 251502"/>
                <a:gd name="connsiteX26" fmla="*/ 66310 w 251494"/>
                <a:gd name="connsiteY26" fmla="*/ 57643 h 251502"/>
                <a:gd name="connsiteX27" fmla="*/ 66310 w 251494"/>
                <a:gd name="connsiteY27" fmla="*/ 63776 h 251502"/>
                <a:gd name="connsiteX28" fmla="*/ 72443 w 251494"/>
                <a:gd name="connsiteY28" fmla="*/ 63776 h 25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51494" h="251502">
                  <a:moveTo>
                    <a:pt x="251495" y="125755"/>
                  </a:moveTo>
                  <a:cubicBezTo>
                    <a:pt x="251495" y="128151"/>
                    <a:pt x="249554" y="130092"/>
                    <a:pt x="247158" y="130092"/>
                  </a:cubicBezTo>
                  <a:lnTo>
                    <a:pt x="4337" y="130092"/>
                  </a:lnTo>
                  <a:cubicBezTo>
                    <a:pt x="1941" y="130092"/>
                    <a:pt x="0" y="128151"/>
                    <a:pt x="0" y="125755"/>
                  </a:cubicBezTo>
                  <a:cubicBezTo>
                    <a:pt x="0" y="123359"/>
                    <a:pt x="1941" y="121418"/>
                    <a:pt x="4337" y="121418"/>
                  </a:cubicBezTo>
                  <a:lnTo>
                    <a:pt x="247158" y="121418"/>
                  </a:lnTo>
                  <a:cubicBezTo>
                    <a:pt x="249554" y="121418"/>
                    <a:pt x="251495" y="123359"/>
                    <a:pt x="251495" y="125755"/>
                  </a:cubicBezTo>
                  <a:close/>
                  <a:moveTo>
                    <a:pt x="125748" y="251502"/>
                  </a:moveTo>
                  <a:cubicBezTo>
                    <a:pt x="126855" y="251502"/>
                    <a:pt x="127968" y="251077"/>
                    <a:pt x="128814" y="250231"/>
                  </a:cubicBezTo>
                  <a:lnTo>
                    <a:pt x="185185" y="193860"/>
                  </a:lnTo>
                  <a:cubicBezTo>
                    <a:pt x="186881" y="192164"/>
                    <a:pt x="186881" y="189424"/>
                    <a:pt x="185185" y="187728"/>
                  </a:cubicBezTo>
                  <a:cubicBezTo>
                    <a:pt x="183488" y="186031"/>
                    <a:pt x="180748" y="186031"/>
                    <a:pt x="179052" y="187728"/>
                  </a:cubicBezTo>
                  <a:lnTo>
                    <a:pt x="125748" y="241032"/>
                  </a:lnTo>
                  <a:lnTo>
                    <a:pt x="72443" y="187728"/>
                  </a:lnTo>
                  <a:cubicBezTo>
                    <a:pt x="70746" y="186031"/>
                    <a:pt x="68007" y="186031"/>
                    <a:pt x="66310" y="187728"/>
                  </a:cubicBezTo>
                  <a:cubicBezTo>
                    <a:pt x="64614" y="189424"/>
                    <a:pt x="64614" y="192164"/>
                    <a:pt x="66310" y="193860"/>
                  </a:cubicBezTo>
                  <a:lnTo>
                    <a:pt x="122681" y="250231"/>
                  </a:lnTo>
                  <a:cubicBezTo>
                    <a:pt x="123526" y="251077"/>
                    <a:pt x="124640" y="251502"/>
                    <a:pt x="125748" y="251502"/>
                  </a:cubicBezTo>
                  <a:close/>
                  <a:moveTo>
                    <a:pt x="72443" y="63776"/>
                  </a:moveTo>
                  <a:lnTo>
                    <a:pt x="125748" y="10471"/>
                  </a:lnTo>
                  <a:lnTo>
                    <a:pt x="179052" y="63776"/>
                  </a:lnTo>
                  <a:cubicBezTo>
                    <a:pt x="179897" y="64621"/>
                    <a:pt x="181011" y="65047"/>
                    <a:pt x="182118" y="65047"/>
                  </a:cubicBezTo>
                  <a:cubicBezTo>
                    <a:pt x="183226" y="65047"/>
                    <a:pt x="184340" y="64621"/>
                    <a:pt x="185185" y="63776"/>
                  </a:cubicBezTo>
                  <a:cubicBezTo>
                    <a:pt x="186881" y="62079"/>
                    <a:pt x="186881" y="59340"/>
                    <a:pt x="185185" y="57643"/>
                  </a:cubicBezTo>
                  <a:lnTo>
                    <a:pt x="128814" y="1272"/>
                  </a:lnTo>
                  <a:cubicBezTo>
                    <a:pt x="127117" y="-424"/>
                    <a:pt x="124378" y="-424"/>
                    <a:pt x="122681" y="1272"/>
                  </a:cubicBezTo>
                  <a:lnTo>
                    <a:pt x="66310" y="57643"/>
                  </a:lnTo>
                  <a:cubicBezTo>
                    <a:pt x="64614" y="59340"/>
                    <a:pt x="64614" y="62079"/>
                    <a:pt x="66310" y="63776"/>
                  </a:cubicBezTo>
                  <a:cubicBezTo>
                    <a:pt x="68007" y="65472"/>
                    <a:pt x="70752" y="65472"/>
                    <a:pt x="72443" y="63776"/>
                  </a:cubicBezTo>
                  <a:close/>
                </a:path>
              </a:pathLst>
            </a:custGeom>
            <a:solidFill>
              <a:schemeClr val="tx2"/>
            </a:solidFill>
            <a:ln w="581" cap="flat">
              <a:noFill/>
              <a:prstDash val="solid"/>
              <a:miter/>
            </a:ln>
          </p:spPr>
          <p:txBody>
            <a:bodyPr rtlCol="0" anchor="ctr"/>
            <a:lstStyle/>
            <a:p>
              <a:endParaRPr lang="en-GB" dirty="0"/>
            </a:p>
          </p:txBody>
        </p:sp>
        <p:sp>
          <p:nvSpPr>
            <p:cNvPr id="169" name="Freihandform: Form 168">
              <a:extLst>
                <a:ext uri="{FF2B5EF4-FFF2-40B4-BE49-F238E27FC236}">
                  <a16:creationId xmlns:a16="http://schemas.microsoft.com/office/drawing/2014/main" id="{13EF6A81-3BF9-4495-899D-5374D9E6233F}"/>
                </a:ext>
              </a:extLst>
            </p:cNvPr>
            <p:cNvSpPr>
              <a:spLocks noChangeAspect="1"/>
            </p:cNvSpPr>
            <p:nvPr/>
          </p:nvSpPr>
          <p:spPr>
            <a:xfrm>
              <a:off x="3173712" y="2843092"/>
              <a:ext cx="210020" cy="199510"/>
            </a:xfrm>
            <a:custGeom>
              <a:avLst/>
              <a:gdLst>
                <a:gd name="connsiteX0" fmla="*/ 207224 w 210020"/>
                <a:gd name="connsiteY0" fmla="*/ 20143 h 199510"/>
                <a:gd name="connsiteX1" fmla="*/ 201628 w 210020"/>
                <a:gd name="connsiteY1" fmla="*/ 22656 h 199510"/>
                <a:gd name="connsiteX2" fmla="*/ 189101 w 210020"/>
                <a:gd name="connsiteY2" fmla="*/ 55604 h 199510"/>
                <a:gd name="connsiteX3" fmla="*/ 133895 w 210020"/>
                <a:gd name="connsiteY3" fmla="*/ 6065 h 199510"/>
                <a:gd name="connsiteX4" fmla="*/ 57634 w 210020"/>
                <a:gd name="connsiteY4" fmla="*/ 9394 h 199510"/>
                <a:gd name="connsiteX5" fmla="*/ 6067 w 210020"/>
                <a:gd name="connsiteY5" fmla="*/ 65671 h 199510"/>
                <a:gd name="connsiteX6" fmla="*/ 9401 w 210020"/>
                <a:gd name="connsiteY6" fmla="*/ 141932 h 199510"/>
                <a:gd name="connsiteX7" fmla="*/ 99945 w 210020"/>
                <a:gd name="connsiteY7" fmla="*/ 199510 h 199510"/>
                <a:gd name="connsiteX8" fmla="*/ 141940 w 210020"/>
                <a:gd name="connsiteY8" fmla="*/ 190171 h 199510"/>
                <a:gd name="connsiteX9" fmla="*/ 189823 w 210020"/>
                <a:gd name="connsiteY9" fmla="*/ 142690 h 199510"/>
                <a:gd name="connsiteX10" fmla="*/ 187771 w 210020"/>
                <a:gd name="connsiteY10" fmla="*/ 136907 h 199510"/>
                <a:gd name="connsiteX11" fmla="*/ 181988 w 210020"/>
                <a:gd name="connsiteY11" fmla="*/ 138959 h 199510"/>
                <a:gd name="connsiteX12" fmla="*/ 138273 w 210020"/>
                <a:gd name="connsiteY12" fmla="*/ 182307 h 199510"/>
                <a:gd name="connsiteX13" fmla="*/ 17265 w 210020"/>
                <a:gd name="connsiteY13" fmla="*/ 138260 h 199510"/>
                <a:gd name="connsiteX14" fmla="*/ 14228 w 210020"/>
                <a:gd name="connsiteY14" fmla="*/ 68633 h 199510"/>
                <a:gd name="connsiteX15" fmla="*/ 61313 w 210020"/>
                <a:gd name="connsiteY15" fmla="*/ 17252 h 199510"/>
                <a:gd name="connsiteX16" fmla="*/ 182257 w 210020"/>
                <a:gd name="connsiteY16" fmla="*/ 61177 h 199510"/>
                <a:gd name="connsiteX17" fmla="*/ 145414 w 210020"/>
                <a:gd name="connsiteY17" fmla="*/ 52543 h 199510"/>
                <a:gd name="connsiteX18" fmla="*/ 140203 w 210020"/>
                <a:gd name="connsiteY18" fmla="*/ 55773 h 199510"/>
                <a:gd name="connsiteX19" fmla="*/ 143432 w 210020"/>
                <a:gd name="connsiteY19" fmla="*/ 60984 h 199510"/>
                <a:gd name="connsiteX20" fmla="*/ 188314 w 210020"/>
                <a:gd name="connsiteY20" fmla="*/ 71501 h 199510"/>
                <a:gd name="connsiteX21" fmla="*/ 189305 w 210020"/>
                <a:gd name="connsiteY21" fmla="*/ 71617 h 199510"/>
                <a:gd name="connsiteX22" fmla="*/ 193356 w 210020"/>
                <a:gd name="connsiteY22" fmla="*/ 68825 h 199510"/>
                <a:gd name="connsiteX23" fmla="*/ 209737 w 210020"/>
                <a:gd name="connsiteY23" fmla="*/ 25739 h 199510"/>
                <a:gd name="connsiteX24" fmla="*/ 207224 w 210020"/>
                <a:gd name="connsiteY24" fmla="*/ 20143 h 1995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0020" h="199510">
                  <a:moveTo>
                    <a:pt x="207224" y="20143"/>
                  </a:moveTo>
                  <a:cubicBezTo>
                    <a:pt x="204986" y="19286"/>
                    <a:pt x="202479" y="20417"/>
                    <a:pt x="201628" y="22656"/>
                  </a:cubicBezTo>
                  <a:lnTo>
                    <a:pt x="189101" y="55604"/>
                  </a:lnTo>
                  <a:cubicBezTo>
                    <a:pt x="177681" y="32490"/>
                    <a:pt x="158204" y="14914"/>
                    <a:pt x="133895" y="6065"/>
                  </a:cubicBezTo>
                  <a:cubicBezTo>
                    <a:pt x="108864" y="-3041"/>
                    <a:pt x="81780" y="-1863"/>
                    <a:pt x="57634" y="9394"/>
                  </a:cubicBezTo>
                  <a:cubicBezTo>
                    <a:pt x="33494" y="20650"/>
                    <a:pt x="15178" y="40634"/>
                    <a:pt x="6067" y="65671"/>
                  </a:cubicBezTo>
                  <a:cubicBezTo>
                    <a:pt x="-3045" y="90703"/>
                    <a:pt x="-1861" y="117787"/>
                    <a:pt x="9401" y="141932"/>
                  </a:cubicBezTo>
                  <a:cubicBezTo>
                    <a:pt x="26301" y="178180"/>
                    <a:pt x="62356" y="199510"/>
                    <a:pt x="99945" y="199510"/>
                  </a:cubicBezTo>
                  <a:cubicBezTo>
                    <a:pt x="114034" y="199510"/>
                    <a:pt x="128346" y="196514"/>
                    <a:pt x="141940" y="190171"/>
                  </a:cubicBezTo>
                  <a:cubicBezTo>
                    <a:pt x="162897" y="180395"/>
                    <a:pt x="179902" y="163531"/>
                    <a:pt x="189823" y="142690"/>
                  </a:cubicBezTo>
                  <a:cubicBezTo>
                    <a:pt x="190855" y="140527"/>
                    <a:pt x="189934" y="137939"/>
                    <a:pt x="187771" y="136907"/>
                  </a:cubicBezTo>
                  <a:cubicBezTo>
                    <a:pt x="185603" y="135881"/>
                    <a:pt x="183020" y="136797"/>
                    <a:pt x="181988" y="138959"/>
                  </a:cubicBezTo>
                  <a:cubicBezTo>
                    <a:pt x="172930" y="157987"/>
                    <a:pt x="157406" y="173382"/>
                    <a:pt x="138273" y="182307"/>
                  </a:cubicBezTo>
                  <a:cubicBezTo>
                    <a:pt x="92774" y="203532"/>
                    <a:pt x="38479" y="183765"/>
                    <a:pt x="17265" y="138260"/>
                  </a:cubicBezTo>
                  <a:cubicBezTo>
                    <a:pt x="6982" y="116219"/>
                    <a:pt x="5904" y="91490"/>
                    <a:pt x="14228" y="68633"/>
                  </a:cubicBezTo>
                  <a:cubicBezTo>
                    <a:pt x="22547" y="45781"/>
                    <a:pt x="39266" y="27535"/>
                    <a:pt x="61313" y="17252"/>
                  </a:cubicBezTo>
                  <a:cubicBezTo>
                    <a:pt x="106765" y="-3950"/>
                    <a:pt x="160997" y="15754"/>
                    <a:pt x="182257" y="61177"/>
                  </a:cubicBezTo>
                  <a:lnTo>
                    <a:pt x="145414" y="52543"/>
                  </a:lnTo>
                  <a:cubicBezTo>
                    <a:pt x="143054" y="52007"/>
                    <a:pt x="140745" y="53447"/>
                    <a:pt x="140203" y="55773"/>
                  </a:cubicBezTo>
                  <a:cubicBezTo>
                    <a:pt x="139655" y="58105"/>
                    <a:pt x="141107" y="60442"/>
                    <a:pt x="143432" y="60984"/>
                  </a:cubicBezTo>
                  <a:lnTo>
                    <a:pt x="188314" y="71501"/>
                  </a:lnTo>
                  <a:cubicBezTo>
                    <a:pt x="188646" y="71577"/>
                    <a:pt x="188978" y="71617"/>
                    <a:pt x="189305" y="71617"/>
                  </a:cubicBezTo>
                  <a:cubicBezTo>
                    <a:pt x="191071" y="71617"/>
                    <a:pt x="192703" y="70533"/>
                    <a:pt x="193356" y="68825"/>
                  </a:cubicBezTo>
                  <a:lnTo>
                    <a:pt x="209737" y="25739"/>
                  </a:lnTo>
                  <a:cubicBezTo>
                    <a:pt x="210588" y="23501"/>
                    <a:pt x="209463" y="20994"/>
                    <a:pt x="207224" y="20143"/>
                  </a:cubicBezTo>
                  <a:close/>
                </a:path>
              </a:pathLst>
            </a:custGeom>
            <a:solidFill>
              <a:schemeClr val="tx2"/>
            </a:solidFill>
            <a:ln w="581" cap="flat">
              <a:noFill/>
              <a:prstDash val="solid"/>
              <a:miter/>
            </a:ln>
          </p:spPr>
          <p:txBody>
            <a:bodyPr rtlCol="0" anchor="ctr"/>
            <a:lstStyle/>
            <a:p>
              <a:endParaRPr lang="en-GB" dirty="0"/>
            </a:p>
          </p:txBody>
        </p:sp>
        <p:sp>
          <p:nvSpPr>
            <p:cNvPr id="172" name="Freihandform: Form 171">
              <a:extLst>
                <a:ext uri="{FF2B5EF4-FFF2-40B4-BE49-F238E27FC236}">
                  <a16:creationId xmlns:a16="http://schemas.microsoft.com/office/drawing/2014/main" id="{EDEDC297-E1AC-4ED5-BAB6-9DF891E87EF1}"/>
                </a:ext>
              </a:extLst>
            </p:cNvPr>
            <p:cNvSpPr>
              <a:spLocks noChangeAspect="1"/>
            </p:cNvSpPr>
            <p:nvPr/>
          </p:nvSpPr>
          <p:spPr>
            <a:xfrm>
              <a:off x="3165984" y="4527312"/>
              <a:ext cx="225477" cy="194688"/>
            </a:xfrm>
            <a:custGeom>
              <a:avLst/>
              <a:gdLst>
                <a:gd name="connsiteX0" fmla="*/ 225478 w 225477"/>
                <a:gd name="connsiteY0" fmla="*/ 125312 h 194688"/>
                <a:gd name="connsiteX1" fmla="*/ 225478 w 225477"/>
                <a:gd name="connsiteY1" fmla="*/ 190351 h 194688"/>
                <a:gd name="connsiteX2" fmla="*/ 221141 w 225477"/>
                <a:gd name="connsiteY2" fmla="*/ 194688 h 194688"/>
                <a:gd name="connsiteX3" fmla="*/ 4337 w 225477"/>
                <a:gd name="connsiteY3" fmla="*/ 194688 h 194688"/>
                <a:gd name="connsiteX4" fmla="*/ 0 w 225477"/>
                <a:gd name="connsiteY4" fmla="*/ 190351 h 194688"/>
                <a:gd name="connsiteX5" fmla="*/ 0 w 225477"/>
                <a:gd name="connsiteY5" fmla="*/ 125312 h 194688"/>
                <a:gd name="connsiteX6" fmla="*/ 4337 w 225477"/>
                <a:gd name="connsiteY6" fmla="*/ 120975 h 194688"/>
                <a:gd name="connsiteX7" fmla="*/ 8674 w 225477"/>
                <a:gd name="connsiteY7" fmla="*/ 125312 h 194688"/>
                <a:gd name="connsiteX8" fmla="*/ 8674 w 225477"/>
                <a:gd name="connsiteY8" fmla="*/ 186020 h 194688"/>
                <a:gd name="connsiteX9" fmla="*/ 216810 w 225477"/>
                <a:gd name="connsiteY9" fmla="*/ 186020 h 194688"/>
                <a:gd name="connsiteX10" fmla="*/ 216810 w 225477"/>
                <a:gd name="connsiteY10" fmla="*/ 125312 h 194688"/>
                <a:gd name="connsiteX11" fmla="*/ 221147 w 225477"/>
                <a:gd name="connsiteY11" fmla="*/ 120975 h 194688"/>
                <a:gd name="connsiteX12" fmla="*/ 225478 w 225477"/>
                <a:gd name="connsiteY12" fmla="*/ 125312 h 194688"/>
                <a:gd name="connsiteX13" fmla="*/ 83822 w 225477"/>
                <a:gd name="connsiteY13" fmla="*/ 164002 h 194688"/>
                <a:gd name="connsiteX14" fmla="*/ 86713 w 225477"/>
                <a:gd name="connsiteY14" fmla="*/ 165109 h 194688"/>
                <a:gd name="connsiteX15" fmla="*/ 89943 w 225477"/>
                <a:gd name="connsiteY15" fmla="*/ 163664 h 194688"/>
                <a:gd name="connsiteX16" fmla="*/ 89605 w 225477"/>
                <a:gd name="connsiteY16" fmla="*/ 157543 h 194688"/>
                <a:gd name="connsiteX17" fmla="*/ 69376 w 225477"/>
                <a:gd name="connsiteY17" fmla="*/ 112300 h 194688"/>
                <a:gd name="connsiteX18" fmla="*/ 130085 w 225477"/>
                <a:gd name="connsiteY18" fmla="*/ 51592 h 194688"/>
                <a:gd name="connsiteX19" fmla="*/ 197228 w 225477"/>
                <a:gd name="connsiteY19" fmla="*/ 51592 h 194688"/>
                <a:gd name="connsiteX20" fmla="*/ 161704 w 225477"/>
                <a:gd name="connsiteY20" fmla="*/ 87117 h 194688"/>
                <a:gd name="connsiteX21" fmla="*/ 161704 w 225477"/>
                <a:gd name="connsiteY21" fmla="*/ 93250 h 194688"/>
                <a:gd name="connsiteX22" fmla="*/ 164770 w 225477"/>
                <a:gd name="connsiteY22" fmla="*/ 94520 h 194688"/>
                <a:gd name="connsiteX23" fmla="*/ 167836 w 225477"/>
                <a:gd name="connsiteY23" fmla="*/ 93250 h 194688"/>
                <a:gd name="connsiteX24" fmla="*/ 210759 w 225477"/>
                <a:gd name="connsiteY24" fmla="*/ 50327 h 194688"/>
                <a:gd name="connsiteX25" fmla="*/ 210759 w 225477"/>
                <a:gd name="connsiteY25" fmla="*/ 44195 h 194688"/>
                <a:gd name="connsiteX26" fmla="*/ 167836 w 225477"/>
                <a:gd name="connsiteY26" fmla="*/ 1272 h 194688"/>
                <a:gd name="connsiteX27" fmla="*/ 161704 w 225477"/>
                <a:gd name="connsiteY27" fmla="*/ 1272 h 194688"/>
                <a:gd name="connsiteX28" fmla="*/ 161704 w 225477"/>
                <a:gd name="connsiteY28" fmla="*/ 7405 h 194688"/>
                <a:gd name="connsiteX29" fmla="*/ 197228 w 225477"/>
                <a:gd name="connsiteY29" fmla="*/ 42930 h 194688"/>
                <a:gd name="connsiteX30" fmla="*/ 130085 w 225477"/>
                <a:gd name="connsiteY30" fmla="*/ 42930 h 194688"/>
                <a:gd name="connsiteX31" fmla="*/ 60708 w 225477"/>
                <a:gd name="connsiteY31" fmla="*/ 112306 h 194688"/>
                <a:gd name="connsiteX32" fmla="*/ 83822 w 225477"/>
                <a:gd name="connsiteY32" fmla="*/ 164002 h 194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5477" h="194688">
                  <a:moveTo>
                    <a:pt x="225478" y="125312"/>
                  </a:moveTo>
                  <a:lnTo>
                    <a:pt x="225478" y="190351"/>
                  </a:lnTo>
                  <a:cubicBezTo>
                    <a:pt x="225478" y="192747"/>
                    <a:pt x="223537" y="194688"/>
                    <a:pt x="221141" y="194688"/>
                  </a:cubicBezTo>
                  <a:lnTo>
                    <a:pt x="4337" y="194688"/>
                  </a:lnTo>
                  <a:cubicBezTo>
                    <a:pt x="1941" y="194688"/>
                    <a:pt x="0" y="192747"/>
                    <a:pt x="0" y="190351"/>
                  </a:cubicBezTo>
                  <a:lnTo>
                    <a:pt x="0" y="125312"/>
                  </a:lnTo>
                  <a:cubicBezTo>
                    <a:pt x="0" y="122916"/>
                    <a:pt x="1941" y="120975"/>
                    <a:pt x="4337" y="120975"/>
                  </a:cubicBezTo>
                  <a:cubicBezTo>
                    <a:pt x="6733" y="120975"/>
                    <a:pt x="8674" y="122916"/>
                    <a:pt x="8674" y="125312"/>
                  </a:cubicBezTo>
                  <a:lnTo>
                    <a:pt x="8674" y="186020"/>
                  </a:lnTo>
                  <a:lnTo>
                    <a:pt x="216810" y="186020"/>
                  </a:lnTo>
                  <a:lnTo>
                    <a:pt x="216810" y="125312"/>
                  </a:lnTo>
                  <a:cubicBezTo>
                    <a:pt x="216810" y="122916"/>
                    <a:pt x="218751" y="120975"/>
                    <a:pt x="221147" y="120975"/>
                  </a:cubicBezTo>
                  <a:cubicBezTo>
                    <a:pt x="223543" y="120975"/>
                    <a:pt x="225478" y="122916"/>
                    <a:pt x="225478" y="125312"/>
                  </a:cubicBezTo>
                  <a:close/>
                  <a:moveTo>
                    <a:pt x="83822" y="164002"/>
                  </a:moveTo>
                  <a:cubicBezTo>
                    <a:pt x="84650" y="164742"/>
                    <a:pt x="85681" y="165109"/>
                    <a:pt x="86713" y="165109"/>
                  </a:cubicBezTo>
                  <a:cubicBezTo>
                    <a:pt x="87903" y="165109"/>
                    <a:pt x="89092" y="164620"/>
                    <a:pt x="89943" y="163664"/>
                  </a:cubicBezTo>
                  <a:cubicBezTo>
                    <a:pt x="91540" y="161880"/>
                    <a:pt x="91389" y="159140"/>
                    <a:pt x="89605" y="157543"/>
                  </a:cubicBezTo>
                  <a:cubicBezTo>
                    <a:pt x="76751" y="146030"/>
                    <a:pt x="69376" y="129538"/>
                    <a:pt x="69376" y="112300"/>
                  </a:cubicBezTo>
                  <a:cubicBezTo>
                    <a:pt x="69376" y="78828"/>
                    <a:pt x="96606" y="51592"/>
                    <a:pt x="130085" y="51592"/>
                  </a:cubicBezTo>
                  <a:lnTo>
                    <a:pt x="197228" y="51592"/>
                  </a:lnTo>
                  <a:lnTo>
                    <a:pt x="161704" y="87117"/>
                  </a:lnTo>
                  <a:cubicBezTo>
                    <a:pt x="160007" y="88813"/>
                    <a:pt x="160007" y="91553"/>
                    <a:pt x="161704" y="93250"/>
                  </a:cubicBezTo>
                  <a:cubicBezTo>
                    <a:pt x="162549" y="94095"/>
                    <a:pt x="163662" y="94520"/>
                    <a:pt x="164770" y="94520"/>
                  </a:cubicBezTo>
                  <a:cubicBezTo>
                    <a:pt x="165878" y="94520"/>
                    <a:pt x="166991" y="94095"/>
                    <a:pt x="167836" y="93250"/>
                  </a:cubicBezTo>
                  <a:lnTo>
                    <a:pt x="210759" y="50327"/>
                  </a:lnTo>
                  <a:cubicBezTo>
                    <a:pt x="212455" y="48631"/>
                    <a:pt x="212455" y="45891"/>
                    <a:pt x="210759" y="44195"/>
                  </a:cubicBezTo>
                  <a:lnTo>
                    <a:pt x="167836" y="1272"/>
                  </a:lnTo>
                  <a:cubicBezTo>
                    <a:pt x="166140" y="-424"/>
                    <a:pt x="163400" y="-424"/>
                    <a:pt x="161704" y="1272"/>
                  </a:cubicBezTo>
                  <a:cubicBezTo>
                    <a:pt x="160007" y="2969"/>
                    <a:pt x="160007" y="5708"/>
                    <a:pt x="161704" y="7405"/>
                  </a:cubicBezTo>
                  <a:lnTo>
                    <a:pt x="197228" y="42930"/>
                  </a:lnTo>
                  <a:lnTo>
                    <a:pt x="130085" y="42930"/>
                  </a:lnTo>
                  <a:cubicBezTo>
                    <a:pt x="91832" y="42930"/>
                    <a:pt x="60708" y="74053"/>
                    <a:pt x="60708" y="112306"/>
                  </a:cubicBezTo>
                  <a:cubicBezTo>
                    <a:pt x="60708" y="132004"/>
                    <a:pt x="69138" y="150845"/>
                    <a:pt x="83822" y="164002"/>
                  </a:cubicBezTo>
                  <a:close/>
                </a:path>
              </a:pathLst>
            </a:custGeom>
            <a:solidFill>
              <a:schemeClr val="tx2"/>
            </a:solidFill>
            <a:ln w="581" cap="flat">
              <a:noFill/>
              <a:prstDash val="solid"/>
              <a:miter/>
            </a:ln>
          </p:spPr>
          <p:txBody>
            <a:bodyPr rtlCol="0" anchor="ctr"/>
            <a:lstStyle/>
            <a:p>
              <a:endParaRPr lang="en-GB" dirty="0"/>
            </a:p>
          </p:txBody>
        </p:sp>
        <p:sp>
          <p:nvSpPr>
            <p:cNvPr id="126" name="Freihandform: Form 125">
              <a:extLst>
                <a:ext uri="{FF2B5EF4-FFF2-40B4-BE49-F238E27FC236}">
                  <a16:creationId xmlns:a16="http://schemas.microsoft.com/office/drawing/2014/main" id="{A59FF9B4-11EA-4D11-973C-DF03DB3D2769}"/>
                </a:ext>
              </a:extLst>
            </p:cNvPr>
            <p:cNvSpPr>
              <a:spLocks noChangeAspect="1"/>
            </p:cNvSpPr>
            <p:nvPr/>
          </p:nvSpPr>
          <p:spPr>
            <a:xfrm>
              <a:off x="3780000" y="3227889"/>
              <a:ext cx="251488" cy="251494"/>
            </a:xfrm>
            <a:custGeom>
              <a:avLst/>
              <a:gdLst>
                <a:gd name="connsiteX0" fmla="*/ 247158 w 251488"/>
                <a:gd name="connsiteY0" fmla="*/ 0 h 251494"/>
                <a:gd name="connsiteX1" fmla="*/ 160433 w 251488"/>
                <a:gd name="connsiteY1" fmla="*/ 0 h 251494"/>
                <a:gd name="connsiteX2" fmla="*/ 156096 w 251488"/>
                <a:gd name="connsiteY2" fmla="*/ 4337 h 251494"/>
                <a:gd name="connsiteX3" fmla="*/ 160433 w 251488"/>
                <a:gd name="connsiteY3" fmla="*/ 8674 h 251494"/>
                <a:gd name="connsiteX4" fmla="*/ 236688 w 251488"/>
                <a:gd name="connsiteY4" fmla="*/ 8674 h 251494"/>
                <a:gd name="connsiteX5" fmla="*/ 125747 w 251488"/>
                <a:gd name="connsiteY5" fmla="*/ 119615 h 251494"/>
                <a:gd name="connsiteX6" fmla="*/ 14807 w 251488"/>
                <a:gd name="connsiteY6" fmla="*/ 8674 h 251494"/>
                <a:gd name="connsiteX7" fmla="*/ 91062 w 251488"/>
                <a:gd name="connsiteY7" fmla="*/ 8674 h 251494"/>
                <a:gd name="connsiteX8" fmla="*/ 95399 w 251488"/>
                <a:gd name="connsiteY8" fmla="*/ 4337 h 251494"/>
                <a:gd name="connsiteX9" fmla="*/ 91062 w 251488"/>
                <a:gd name="connsiteY9" fmla="*/ 0 h 251494"/>
                <a:gd name="connsiteX10" fmla="*/ 4337 w 251488"/>
                <a:gd name="connsiteY10" fmla="*/ 0 h 251494"/>
                <a:gd name="connsiteX11" fmla="*/ 0 w 251488"/>
                <a:gd name="connsiteY11" fmla="*/ 4337 h 251494"/>
                <a:gd name="connsiteX12" fmla="*/ 0 w 251488"/>
                <a:gd name="connsiteY12" fmla="*/ 91062 h 251494"/>
                <a:gd name="connsiteX13" fmla="*/ 4337 w 251488"/>
                <a:gd name="connsiteY13" fmla="*/ 95399 h 251494"/>
                <a:gd name="connsiteX14" fmla="*/ 8674 w 251488"/>
                <a:gd name="connsiteY14" fmla="*/ 91062 h 251494"/>
                <a:gd name="connsiteX15" fmla="*/ 8674 w 251488"/>
                <a:gd name="connsiteY15" fmla="*/ 14807 h 251494"/>
                <a:gd name="connsiteX16" fmla="*/ 119615 w 251488"/>
                <a:gd name="connsiteY16" fmla="*/ 125747 h 251494"/>
                <a:gd name="connsiteX17" fmla="*/ 8674 w 251488"/>
                <a:gd name="connsiteY17" fmla="*/ 236688 h 251494"/>
                <a:gd name="connsiteX18" fmla="*/ 8674 w 251488"/>
                <a:gd name="connsiteY18" fmla="*/ 160433 h 251494"/>
                <a:gd name="connsiteX19" fmla="*/ 4337 w 251488"/>
                <a:gd name="connsiteY19" fmla="*/ 156096 h 251494"/>
                <a:gd name="connsiteX20" fmla="*/ 0 w 251488"/>
                <a:gd name="connsiteY20" fmla="*/ 160433 h 251494"/>
                <a:gd name="connsiteX21" fmla="*/ 0 w 251488"/>
                <a:gd name="connsiteY21" fmla="*/ 247158 h 251494"/>
                <a:gd name="connsiteX22" fmla="*/ 4337 w 251488"/>
                <a:gd name="connsiteY22" fmla="*/ 251495 h 251494"/>
                <a:gd name="connsiteX23" fmla="*/ 91062 w 251488"/>
                <a:gd name="connsiteY23" fmla="*/ 251495 h 251494"/>
                <a:gd name="connsiteX24" fmla="*/ 95399 w 251488"/>
                <a:gd name="connsiteY24" fmla="*/ 247158 h 251494"/>
                <a:gd name="connsiteX25" fmla="*/ 91062 w 251488"/>
                <a:gd name="connsiteY25" fmla="*/ 242821 h 251494"/>
                <a:gd name="connsiteX26" fmla="*/ 14801 w 251488"/>
                <a:gd name="connsiteY26" fmla="*/ 242821 h 251494"/>
                <a:gd name="connsiteX27" fmla="*/ 125741 w 251488"/>
                <a:gd name="connsiteY27" fmla="*/ 131880 h 251494"/>
                <a:gd name="connsiteX28" fmla="*/ 236682 w 251488"/>
                <a:gd name="connsiteY28" fmla="*/ 242821 h 251494"/>
                <a:gd name="connsiteX29" fmla="*/ 160427 w 251488"/>
                <a:gd name="connsiteY29" fmla="*/ 242821 h 251494"/>
                <a:gd name="connsiteX30" fmla="*/ 156090 w 251488"/>
                <a:gd name="connsiteY30" fmla="*/ 247158 h 251494"/>
                <a:gd name="connsiteX31" fmla="*/ 160427 w 251488"/>
                <a:gd name="connsiteY31" fmla="*/ 251495 h 251494"/>
                <a:gd name="connsiteX32" fmla="*/ 247152 w 251488"/>
                <a:gd name="connsiteY32" fmla="*/ 251495 h 251494"/>
                <a:gd name="connsiteX33" fmla="*/ 251489 w 251488"/>
                <a:gd name="connsiteY33" fmla="*/ 247158 h 251494"/>
                <a:gd name="connsiteX34" fmla="*/ 251489 w 251488"/>
                <a:gd name="connsiteY34" fmla="*/ 160433 h 251494"/>
                <a:gd name="connsiteX35" fmla="*/ 247152 w 251488"/>
                <a:gd name="connsiteY35" fmla="*/ 156096 h 251494"/>
                <a:gd name="connsiteX36" fmla="*/ 242815 w 251488"/>
                <a:gd name="connsiteY36" fmla="*/ 160433 h 251494"/>
                <a:gd name="connsiteX37" fmla="*/ 242815 w 251488"/>
                <a:gd name="connsiteY37" fmla="*/ 236688 h 251494"/>
                <a:gd name="connsiteX38" fmla="*/ 131874 w 251488"/>
                <a:gd name="connsiteY38" fmla="*/ 125747 h 251494"/>
                <a:gd name="connsiteX39" fmla="*/ 242815 w 251488"/>
                <a:gd name="connsiteY39" fmla="*/ 14807 h 251494"/>
                <a:gd name="connsiteX40" fmla="*/ 242815 w 251488"/>
                <a:gd name="connsiteY40" fmla="*/ 91062 h 251494"/>
                <a:gd name="connsiteX41" fmla="*/ 247152 w 251488"/>
                <a:gd name="connsiteY41" fmla="*/ 95399 h 251494"/>
                <a:gd name="connsiteX42" fmla="*/ 251489 w 251488"/>
                <a:gd name="connsiteY42" fmla="*/ 91062 h 251494"/>
                <a:gd name="connsiteX43" fmla="*/ 251489 w 251488"/>
                <a:gd name="connsiteY43" fmla="*/ 4337 h 251494"/>
                <a:gd name="connsiteX44" fmla="*/ 247158 w 251488"/>
                <a:gd name="connsiteY44" fmla="*/ 0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251488" h="251494">
                  <a:moveTo>
                    <a:pt x="247158" y="0"/>
                  </a:moveTo>
                  <a:lnTo>
                    <a:pt x="160433" y="0"/>
                  </a:lnTo>
                  <a:cubicBezTo>
                    <a:pt x="158037" y="0"/>
                    <a:pt x="156096" y="1941"/>
                    <a:pt x="156096" y="4337"/>
                  </a:cubicBezTo>
                  <a:cubicBezTo>
                    <a:pt x="156096" y="6733"/>
                    <a:pt x="158037" y="8674"/>
                    <a:pt x="160433" y="8674"/>
                  </a:cubicBezTo>
                  <a:lnTo>
                    <a:pt x="236688" y="8674"/>
                  </a:lnTo>
                  <a:lnTo>
                    <a:pt x="125747" y="119615"/>
                  </a:lnTo>
                  <a:lnTo>
                    <a:pt x="14807" y="8674"/>
                  </a:lnTo>
                  <a:lnTo>
                    <a:pt x="91062" y="8674"/>
                  </a:lnTo>
                  <a:cubicBezTo>
                    <a:pt x="93458" y="8674"/>
                    <a:pt x="95399" y="6733"/>
                    <a:pt x="95399" y="4337"/>
                  </a:cubicBezTo>
                  <a:cubicBezTo>
                    <a:pt x="95399" y="1941"/>
                    <a:pt x="93458" y="0"/>
                    <a:pt x="91062" y="0"/>
                  </a:cubicBezTo>
                  <a:lnTo>
                    <a:pt x="4337" y="0"/>
                  </a:lnTo>
                  <a:cubicBezTo>
                    <a:pt x="1941" y="0"/>
                    <a:pt x="0" y="1941"/>
                    <a:pt x="0" y="4337"/>
                  </a:cubicBezTo>
                  <a:lnTo>
                    <a:pt x="0" y="91062"/>
                  </a:lnTo>
                  <a:cubicBezTo>
                    <a:pt x="0" y="93458"/>
                    <a:pt x="1941" y="95399"/>
                    <a:pt x="4337" y="95399"/>
                  </a:cubicBezTo>
                  <a:cubicBezTo>
                    <a:pt x="6733" y="95399"/>
                    <a:pt x="8674" y="93458"/>
                    <a:pt x="8674" y="91062"/>
                  </a:cubicBezTo>
                  <a:lnTo>
                    <a:pt x="8674" y="14807"/>
                  </a:lnTo>
                  <a:lnTo>
                    <a:pt x="119615" y="125747"/>
                  </a:lnTo>
                  <a:lnTo>
                    <a:pt x="8674" y="236688"/>
                  </a:lnTo>
                  <a:lnTo>
                    <a:pt x="8674" y="160433"/>
                  </a:lnTo>
                  <a:cubicBezTo>
                    <a:pt x="8674" y="158037"/>
                    <a:pt x="6733" y="156096"/>
                    <a:pt x="4337" y="156096"/>
                  </a:cubicBezTo>
                  <a:cubicBezTo>
                    <a:pt x="1941" y="156096"/>
                    <a:pt x="0" y="158037"/>
                    <a:pt x="0" y="160433"/>
                  </a:cubicBezTo>
                  <a:lnTo>
                    <a:pt x="0" y="247158"/>
                  </a:lnTo>
                  <a:cubicBezTo>
                    <a:pt x="0" y="249554"/>
                    <a:pt x="1941" y="251495"/>
                    <a:pt x="4337" y="251495"/>
                  </a:cubicBezTo>
                  <a:lnTo>
                    <a:pt x="91062" y="251495"/>
                  </a:lnTo>
                  <a:cubicBezTo>
                    <a:pt x="93458" y="251495"/>
                    <a:pt x="95399" y="249554"/>
                    <a:pt x="95399" y="247158"/>
                  </a:cubicBezTo>
                  <a:cubicBezTo>
                    <a:pt x="95399" y="244762"/>
                    <a:pt x="93458" y="242821"/>
                    <a:pt x="91062" y="242821"/>
                  </a:cubicBezTo>
                  <a:lnTo>
                    <a:pt x="14801" y="242821"/>
                  </a:lnTo>
                  <a:lnTo>
                    <a:pt x="125741" y="131880"/>
                  </a:lnTo>
                  <a:lnTo>
                    <a:pt x="236682" y="242821"/>
                  </a:lnTo>
                  <a:lnTo>
                    <a:pt x="160427" y="242821"/>
                  </a:lnTo>
                  <a:cubicBezTo>
                    <a:pt x="158031" y="242821"/>
                    <a:pt x="156090" y="244762"/>
                    <a:pt x="156090" y="247158"/>
                  </a:cubicBezTo>
                  <a:cubicBezTo>
                    <a:pt x="156090" y="249554"/>
                    <a:pt x="158031" y="251495"/>
                    <a:pt x="160427" y="251495"/>
                  </a:cubicBezTo>
                  <a:lnTo>
                    <a:pt x="247152" y="251495"/>
                  </a:lnTo>
                  <a:cubicBezTo>
                    <a:pt x="249548" y="251495"/>
                    <a:pt x="251489" y="249554"/>
                    <a:pt x="251489" y="247158"/>
                  </a:cubicBezTo>
                  <a:lnTo>
                    <a:pt x="251489" y="160433"/>
                  </a:lnTo>
                  <a:cubicBezTo>
                    <a:pt x="251489" y="158037"/>
                    <a:pt x="249548" y="156096"/>
                    <a:pt x="247152" y="156096"/>
                  </a:cubicBezTo>
                  <a:cubicBezTo>
                    <a:pt x="244756" y="156096"/>
                    <a:pt x="242815" y="158037"/>
                    <a:pt x="242815" y="160433"/>
                  </a:cubicBezTo>
                  <a:lnTo>
                    <a:pt x="242815" y="236688"/>
                  </a:lnTo>
                  <a:lnTo>
                    <a:pt x="131874" y="125747"/>
                  </a:lnTo>
                  <a:lnTo>
                    <a:pt x="242815" y="14807"/>
                  </a:lnTo>
                  <a:lnTo>
                    <a:pt x="242815" y="91062"/>
                  </a:lnTo>
                  <a:cubicBezTo>
                    <a:pt x="242815" y="93458"/>
                    <a:pt x="244756" y="95399"/>
                    <a:pt x="247152" y="95399"/>
                  </a:cubicBezTo>
                  <a:cubicBezTo>
                    <a:pt x="249548" y="95399"/>
                    <a:pt x="251489" y="93458"/>
                    <a:pt x="251489" y="91062"/>
                  </a:cubicBezTo>
                  <a:lnTo>
                    <a:pt x="251489" y="4337"/>
                  </a:lnTo>
                  <a:cubicBezTo>
                    <a:pt x="251495" y="1941"/>
                    <a:pt x="249554" y="0"/>
                    <a:pt x="247158" y="0"/>
                  </a:cubicBezTo>
                  <a:close/>
                </a:path>
              </a:pathLst>
            </a:custGeom>
            <a:solidFill>
              <a:schemeClr val="tx2"/>
            </a:solidFill>
            <a:ln w="581" cap="flat">
              <a:noFill/>
              <a:prstDash val="solid"/>
              <a:miter/>
            </a:ln>
          </p:spPr>
          <p:txBody>
            <a:bodyPr rtlCol="0" anchor="ctr"/>
            <a:lstStyle/>
            <a:p>
              <a:endParaRPr lang="en-GB" dirty="0"/>
            </a:p>
          </p:txBody>
        </p:sp>
        <p:sp>
          <p:nvSpPr>
            <p:cNvPr id="131" name="Freihandform: Form 130">
              <a:extLst>
                <a:ext uri="{FF2B5EF4-FFF2-40B4-BE49-F238E27FC236}">
                  <a16:creationId xmlns:a16="http://schemas.microsoft.com/office/drawing/2014/main" id="{B4007590-75F8-499C-BF27-E27ABAD55BDB}"/>
                </a:ext>
              </a:extLst>
            </p:cNvPr>
            <p:cNvSpPr>
              <a:spLocks noChangeAspect="1"/>
            </p:cNvSpPr>
            <p:nvPr/>
          </p:nvSpPr>
          <p:spPr>
            <a:xfrm>
              <a:off x="3780436" y="4153548"/>
              <a:ext cx="250617" cy="94520"/>
            </a:xfrm>
            <a:custGeom>
              <a:avLst/>
              <a:gdLst>
                <a:gd name="connsiteX0" fmla="*/ 44195 w 250617"/>
                <a:gd name="connsiteY0" fmla="*/ 93250 h 94520"/>
                <a:gd name="connsiteX1" fmla="*/ 47261 w 250617"/>
                <a:gd name="connsiteY1" fmla="*/ 94520 h 94520"/>
                <a:gd name="connsiteX2" fmla="*/ 50327 w 250617"/>
                <a:gd name="connsiteY2" fmla="*/ 93250 h 94520"/>
                <a:gd name="connsiteX3" fmla="*/ 50327 w 250617"/>
                <a:gd name="connsiteY3" fmla="*/ 87117 h 94520"/>
                <a:gd name="connsiteX4" fmla="*/ 14802 w 250617"/>
                <a:gd name="connsiteY4" fmla="*/ 51592 h 94520"/>
                <a:gd name="connsiteX5" fmla="*/ 235815 w 250617"/>
                <a:gd name="connsiteY5" fmla="*/ 51592 h 94520"/>
                <a:gd name="connsiteX6" fmla="*/ 200290 w 250617"/>
                <a:gd name="connsiteY6" fmla="*/ 87117 h 94520"/>
                <a:gd name="connsiteX7" fmla="*/ 200290 w 250617"/>
                <a:gd name="connsiteY7" fmla="*/ 93250 h 94520"/>
                <a:gd name="connsiteX8" fmla="*/ 203357 w 250617"/>
                <a:gd name="connsiteY8" fmla="*/ 94520 h 94520"/>
                <a:gd name="connsiteX9" fmla="*/ 206423 w 250617"/>
                <a:gd name="connsiteY9" fmla="*/ 93250 h 94520"/>
                <a:gd name="connsiteX10" fmla="*/ 249345 w 250617"/>
                <a:gd name="connsiteY10" fmla="*/ 50327 h 94520"/>
                <a:gd name="connsiteX11" fmla="*/ 249345 w 250617"/>
                <a:gd name="connsiteY11" fmla="*/ 44195 h 94520"/>
                <a:gd name="connsiteX12" fmla="*/ 206423 w 250617"/>
                <a:gd name="connsiteY12" fmla="*/ 1272 h 94520"/>
                <a:gd name="connsiteX13" fmla="*/ 200290 w 250617"/>
                <a:gd name="connsiteY13" fmla="*/ 1272 h 94520"/>
                <a:gd name="connsiteX14" fmla="*/ 200290 w 250617"/>
                <a:gd name="connsiteY14" fmla="*/ 7405 h 94520"/>
                <a:gd name="connsiteX15" fmla="*/ 235815 w 250617"/>
                <a:gd name="connsiteY15" fmla="*/ 42930 h 94520"/>
                <a:gd name="connsiteX16" fmla="*/ 14802 w 250617"/>
                <a:gd name="connsiteY16" fmla="*/ 42930 h 94520"/>
                <a:gd name="connsiteX17" fmla="*/ 50327 w 250617"/>
                <a:gd name="connsiteY17" fmla="*/ 7405 h 94520"/>
                <a:gd name="connsiteX18" fmla="*/ 50327 w 250617"/>
                <a:gd name="connsiteY18" fmla="*/ 1272 h 94520"/>
                <a:gd name="connsiteX19" fmla="*/ 44195 w 250617"/>
                <a:gd name="connsiteY19" fmla="*/ 1272 h 94520"/>
                <a:gd name="connsiteX20" fmla="*/ 1272 w 250617"/>
                <a:gd name="connsiteY20" fmla="*/ 44195 h 94520"/>
                <a:gd name="connsiteX21" fmla="*/ 1272 w 250617"/>
                <a:gd name="connsiteY21" fmla="*/ 50327 h 94520"/>
                <a:gd name="connsiteX22" fmla="*/ 44195 w 250617"/>
                <a:gd name="connsiteY22" fmla="*/ 93250 h 9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0617" h="94520">
                  <a:moveTo>
                    <a:pt x="44195" y="93250"/>
                  </a:moveTo>
                  <a:cubicBezTo>
                    <a:pt x="45040" y="94095"/>
                    <a:pt x="46147" y="94520"/>
                    <a:pt x="47261" y="94520"/>
                  </a:cubicBezTo>
                  <a:cubicBezTo>
                    <a:pt x="48368" y="94520"/>
                    <a:pt x="49482" y="94095"/>
                    <a:pt x="50327" y="93250"/>
                  </a:cubicBezTo>
                  <a:cubicBezTo>
                    <a:pt x="52024" y="91553"/>
                    <a:pt x="52024" y="88813"/>
                    <a:pt x="50327" y="87117"/>
                  </a:cubicBezTo>
                  <a:lnTo>
                    <a:pt x="14802" y="51592"/>
                  </a:lnTo>
                  <a:lnTo>
                    <a:pt x="235815" y="51592"/>
                  </a:lnTo>
                  <a:lnTo>
                    <a:pt x="200290" y="87117"/>
                  </a:lnTo>
                  <a:cubicBezTo>
                    <a:pt x="198594" y="88813"/>
                    <a:pt x="198594" y="91553"/>
                    <a:pt x="200290" y="93250"/>
                  </a:cubicBezTo>
                  <a:cubicBezTo>
                    <a:pt x="201135" y="94095"/>
                    <a:pt x="202249" y="94520"/>
                    <a:pt x="203357" y="94520"/>
                  </a:cubicBezTo>
                  <a:cubicBezTo>
                    <a:pt x="204464" y="94520"/>
                    <a:pt x="205578" y="94095"/>
                    <a:pt x="206423" y="93250"/>
                  </a:cubicBezTo>
                  <a:lnTo>
                    <a:pt x="249345" y="50327"/>
                  </a:lnTo>
                  <a:cubicBezTo>
                    <a:pt x="251041" y="48631"/>
                    <a:pt x="251041" y="45891"/>
                    <a:pt x="249345" y="44195"/>
                  </a:cubicBezTo>
                  <a:lnTo>
                    <a:pt x="206423" y="1272"/>
                  </a:lnTo>
                  <a:cubicBezTo>
                    <a:pt x="204727" y="-424"/>
                    <a:pt x="201987" y="-424"/>
                    <a:pt x="200290" y="1272"/>
                  </a:cubicBezTo>
                  <a:cubicBezTo>
                    <a:pt x="198594" y="2969"/>
                    <a:pt x="198594" y="5708"/>
                    <a:pt x="200290" y="7405"/>
                  </a:cubicBezTo>
                  <a:lnTo>
                    <a:pt x="235815" y="42930"/>
                  </a:lnTo>
                  <a:lnTo>
                    <a:pt x="14802" y="42930"/>
                  </a:lnTo>
                  <a:lnTo>
                    <a:pt x="50327" y="7405"/>
                  </a:lnTo>
                  <a:cubicBezTo>
                    <a:pt x="52024" y="5708"/>
                    <a:pt x="52024" y="2969"/>
                    <a:pt x="50327" y="1272"/>
                  </a:cubicBezTo>
                  <a:cubicBezTo>
                    <a:pt x="48631" y="-424"/>
                    <a:pt x="45891" y="-424"/>
                    <a:pt x="44195" y="1272"/>
                  </a:cubicBezTo>
                  <a:lnTo>
                    <a:pt x="1272" y="44195"/>
                  </a:lnTo>
                  <a:cubicBezTo>
                    <a:pt x="-424" y="45891"/>
                    <a:pt x="-424" y="48631"/>
                    <a:pt x="1272" y="50327"/>
                  </a:cubicBezTo>
                  <a:lnTo>
                    <a:pt x="44195" y="93250"/>
                  </a:lnTo>
                  <a:close/>
                </a:path>
              </a:pathLst>
            </a:custGeom>
            <a:solidFill>
              <a:schemeClr val="tx2"/>
            </a:solidFill>
            <a:ln w="581" cap="flat">
              <a:noFill/>
              <a:prstDash val="solid"/>
              <a:miter/>
            </a:ln>
          </p:spPr>
          <p:txBody>
            <a:bodyPr rtlCol="0" anchor="ctr"/>
            <a:lstStyle/>
            <a:p>
              <a:endParaRPr lang="en-GB" dirty="0"/>
            </a:p>
          </p:txBody>
        </p:sp>
        <p:sp>
          <p:nvSpPr>
            <p:cNvPr id="136" name="Freihandform: Form 135">
              <a:extLst>
                <a:ext uri="{FF2B5EF4-FFF2-40B4-BE49-F238E27FC236}">
                  <a16:creationId xmlns:a16="http://schemas.microsoft.com/office/drawing/2014/main" id="{DD5F096D-DFE9-449B-B958-461BC7C978E4}"/>
                </a:ext>
              </a:extLst>
            </p:cNvPr>
            <p:cNvSpPr>
              <a:spLocks noChangeAspect="1"/>
            </p:cNvSpPr>
            <p:nvPr/>
          </p:nvSpPr>
          <p:spPr>
            <a:xfrm>
              <a:off x="3814685" y="1650079"/>
              <a:ext cx="182119" cy="182118"/>
            </a:xfrm>
            <a:custGeom>
              <a:avLst/>
              <a:gdLst>
                <a:gd name="connsiteX0" fmla="*/ 4337 w 182119"/>
                <a:gd name="connsiteY0" fmla="*/ 169113 h 182118"/>
                <a:gd name="connsiteX1" fmla="*/ 8674 w 182119"/>
                <a:gd name="connsiteY1" fmla="*/ 164776 h 182118"/>
                <a:gd name="connsiteX2" fmla="*/ 8674 w 182119"/>
                <a:gd name="connsiteY2" fmla="*/ 14807 h 182118"/>
                <a:gd name="connsiteX3" fmla="*/ 174715 w 182119"/>
                <a:gd name="connsiteY3" fmla="*/ 180848 h 182118"/>
                <a:gd name="connsiteX4" fmla="*/ 177781 w 182119"/>
                <a:gd name="connsiteY4" fmla="*/ 182118 h 182118"/>
                <a:gd name="connsiteX5" fmla="*/ 180848 w 182119"/>
                <a:gd name="connsiteY5" fmla="*/ 180848 h 182118"/>
                <a:gd name="connsiteX6" fmla="*/ 180848 w 182119"/>
                <a:gd name="connsiteY6" fmla="*/ 174715 h 182118"/>
                <a:gd name="connsiteX7" fmla="*/ 14807 w 182119"/>
                <a:gd name="connsiteY7" fmla="*/ 8674 h 182118"/>
                <a:gd name="connsiteX8" fmla="*/ 164776 w 182119"/>
                <a:gd name="connsiteY8" fmla="*/ 8674 h 182118"/>
                <a:gd name="connsiteX9" fmla="*/ 169113 w 182119"/>
                <a:gd name="connsiteY9" fmla="*/ 4337 h 182118"/>
                <a:gd name="connsiteX10" fmla="*/ 164776 w 182119"/>
                <a:gd name="connsiteY10" fmla="*/ 0 h 182118"/>
                <a:gd name="connsiteX11" fmla="*/ 4337 w 182119"/>
                <a:gd name="connsiteY11" fmla="*/ 0 h 182118"/>
                <a:gd name="connsiteX12" fmla="*/ 0 w 182119"/>
                <a:gd name="connsiteY12" fmla="*/ 4337 h 182118"/>
                <a:gd name="connsiteX13" fmla="*/ 0 w 182119"/>
                <a:gd name="connsiteY13" fmla="*/ 164776 h 182118"/>
                <a:gd name="connsiteX14" fmla="*/ 4337 w 182119"/>
                <a:gd name="connsiteY14" fmla="*/ 169113 h 18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2119" h="182118">
                  <a:moveTo>
                    <a:pt x="4337" y="169113"/>
                  </a:moveTo>
                  <a:cubicBezTo>
                    <a:pt x="6733" y="169113"/>
                    <a:pt x="8674" y="167172"/>
                    <a:pt x="8674" y="164776"/>
                  </a:cubicBezTo>
                  <a:lnTo>
                    <a:pt x="8674" y="14807"/>
                  </a:lnTo>
                  <a:lnTo>
                    <a:pt x="174715" y="180848"/>
                  </a:lnTo>
                  <a:cubicBezTo>
                    <a:pt x="175560" y="181693"/>
                    <a:pt x="176674" y="182118"/>
                    <a:pt x="177781" y="182118"/>
                  </a:cubicBezTo>
                  <a:cubicBezTo>
                    <a:pt x="178889" y="182118"/>
                    <a:pt x="180002" y="181693"/>
                    <a:pt x="180848" y="180848"/>
                  </a:cubicBezTo>
                  <a:cubicBezTo>
                    <a:pt x="182544" y="179151"/>
                    <a:pt x="182544" y="176411"/>
                    <a:pt x="180848" y="174715"/>
                  </a:cubicBezTo>
                  <a:lnTo>
                    <a:pt x="14807" y="8674"/>
                  </a:lnTo>
                  <a:lnTo>
                    <a:pt x="164776" y="8674"/>
                  </a:lnTo>
                  <a:cubicBezTo>
                    <a:pt x="167172" y="8674"/>
                    <a:pt x="169113" y="6733"/>
                    <a:pt x="169113" y="4337"/>
                  </a:cubicBezTo>
                  <a:cubicBezTo>
                    <a:pt x="169113" y="1941"/>
                    <a:pt x="167172" y="0"/>
                    <a:pt x="164776" y="0"/>
                  </a:cubicBezTo>
                  <a:lnTo>
                    <a:pt x="4337" y="0"/>
                  </a:lnTo>
                  <a:cubicBezTo>
                    <a:pt x="1941" y="0"/>
                    <a:pt x="0" y="1941"/>
                    <a:pt x="0" y="4337"/>
                  </a:cubicBezTo>
                  <a:lnTo>
                    <a:pt x="0" y="164776"/>
                  </a:lnTo>
                  <a:cubicBezTo>
                    <a:pt x="0" y="167172"/>
                    <a:pt x="1941" y="169113"/>
                    <a:pt x="4337" y="169113"/>
                  </a:cubicBezTo>
                  <a:close/>
                </a:path>
              </a:pathLst>
            </a:custGeom>
            <a:solidFill>
              <a:schemeClr val="tx2"/>
            </a:solidFill>
            <a:ln w="581" cap="flat">
              <a:noFill/>
              <a:prstDash val="solid"/>
              <a:miter/>
            </a:ln>
          </p:spPr>
          <p:txBody>
            <a:bodyPr rtlCol="0" anchor="ctr"/>
            <a:lstStyle/>
            <a:p>
              <a:endParaRPr lang="en-GB" dirty="0"/>
            </a:p>
          </p:txBody>
        </p:sp>
        <p:sp>
          <p:nvSpPr>
            <p:cNvPr id="142" name="Freihandform: Form 141">
              <a:extLst>
                <a:ext uri="{FF2B5EF4-FFF2-40B4-BE49-F238E27FC236}">
                  <a16:creationId xmlns:a16="http://schemas.microsoft.com/office/drawing/2014/main" id="{5931B501-EAD9-40C4-884E-A1060BD84C5A}"/>
                </a:ext>
              </a:extLst>
            </p:cNvPr>
            <p:cNvSpPr>
              <a:spLocks noChangeAspect="1"/>
            </p:cNvSpPr>
            <p:nvPr/>
          </p:nvSpPr>
          <p:spPr>
            <a:xfrm>
              <a:off x="3845035" y="2029760"/>
              <a:ext cx="121418" cy="234159"/>
            </a:xfrm>
            <a:custGeom>
              <a:avLst/>
              <a:gdLst>
                <a:gd name="connsiteX0" fmla="*/ 120147 w 121418"/>
                <a:gd name="connsiteY0" fmla="*/ 114014 h 234159"/>
                <a:gd name="connsiteX1" fmla="*/ 7405 w 121418"/>
                <a:gd name="connsiteY1" fmla="*/ 1272 h 234159"/>
                <a:gd name="connsiteX2" fmla="*/ 1272 w 121418"/>
                <a:gd name="connsiteY2" fmla="*/ 1272 h 234159"/>
                <a:gd name="connsiteX3" fmla="*/ 1272 w 121418"/>
                <a:gd name="connsiteY3" fmla="*/ 7405 h 234159"/>
                <a:gd name="connsiteX4" fmla="*/ 110948 w 121418"/>
                <a:gd name="connsiteY4" fmla="*/ 117080 h 234159"/>
                <a:gd name="connsiteX5" fmla="*/ 1272 w 121418"/>
                <a:gd name="connsiteY5" fmla="*/ 226756 h 234159"/>
                <a:gd name="connsiteX6" fmla="*/ 1272 w 121418"/>
                <a:gd name="connsiteY6" fmla="*/ 232889 h 234159"/>
                <a:gd name="connsiteX7" fmla="*/ 4339 w 121418"/>
                <a:gd name="connsiteY7" fmla="*/ 234159 h 234159"/>
                <a:gd name="connsiteX8" fmla="*/ 7405 w 121418"/>
                <a:gd name="connsiteY8" fmla="*/ 232889 h 234159"/>
                <a:gd name="connsiteX9" fmla="*/ 120147 w 121418"/>
                <a:gd name="connsiteY9" fmla="*/ 120153 h 234159"/>
                <a:gd name="connsiteX10" fmla="*/ 120147 w 121418"/>
                <a:gd name="connsiteY10" fmla="*/ 114014 h 234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1418" h="234159">
                  <a:moveTo>
                    <a:pt x="120147" y="114014"/>
                  </a:moveTo>
                  <a:lnTo>
                    <a:pt x="7405" y="1272"/>
                  </a:lnTo>
                  <a:cubicBezTo>
                    <a:pt x="5708" y="-424"/>
                    <a:pt x="2969" y="-424"/>
                    <a:pt x="1272" y="1272"/>
                  </a:cubicBezTo>
                  <a:cubicBezTo>
                    <a:pt x="-424" y="2969"/>
                    <a:pt x="-424" y="5708"/>
                    <a:pt x="1272" y="7405"/>
                  </a:cubicBezTo>
                  <a:lnTo>
                    <a:pt x="110948" y="117080"/>
                  </a:lnTo>
                  <a:lnTo>
                    <a:pt x="1272" y="226756"/>
                  </a:lnTo>
                  <a:cubicBezTo>
                    <a:pt x="-424" y="228452"/>
                    <a:pt x="-424" y="231192"/>
                    <a:pt x="1272" y="232889"/>
                  </a:cubicBezTo>
                  <a:cubicBezTo>
                    <a:pt x="2118" y="233734"/>
                    <a:pt x="3231" y="234159"/>
                    <a:pt x="4339" y="234159"/>
                  </a:cubicBezTo>
                  <a:cubicBezTo>
                    <a:pt x="5446" y="234159"/>
                    <a:pt x="6560" y="233734"/>
                    <a:pt x="7405" y="232889"/>
                  </a:cubicBezTo>
                  <a:lnTo>
                    <a:pt x="120147" y="120153"/>
                  </a:lnTo>
                  <a:cubicBezTo>
                    <a:pt x="121843" y="118450"/>
                    <a:pt x="121843" y="115705"/>
                    <a:pt x="120147" y="114014"/>
                  </a:cubicBezTo>
                  <a:close/>
                </a:path>
              </a:pathLst>
            </a:custGeom>
            <a:solidFill>
              <a:schemeClr val="tx2"/>
            </a:solidFill>
            <a:ln w="581" cap="flat">
              <a:noFill/>
              <a:prstDash val="solid"/>
              <a:miter/>
            </a:ln>
          </p:spPr>
          <p:txBody>
            <a:bodyPr rtlCol="0" anchor="ctr"/>
            <a:lstStyle/>
            <a:p>
              <a:endParaRPr lang="en-GB" dirty="0"/>
            </a:p>
          </p:txBody>
        </p:sp>
        <p:sp>
          <p:nvSpPr>
            <p:cNvPr id="149" name="Freihandform: Form 148">
              <a:extLst>
                <a:ext uri="{FF2B5EF4-FFF2-40B4-BE49-F238E27FC236}">
                  <a16:creationId xmlns:a16="http://schemas.microsoft.com/office/drawing/2014/main" id="{EF966ADA-DA38-40B3-9FDE-DC45414D0BC7}"/>
                </a:ext>
              </a:extLst>
            </p:cNvPr>
            <p:cNvSpPr>
              <a:spLocks noChangeAspect="1"/>
            </p:cNvSpPr>
            <p:nvPr/>
          </p:nvSpPr>
          <p:spPr>
            <a:xfrm>
              <a:off x="3779997" y="2407839"/>
              <a:ext cx="251494" cy="251494"/>
            </a:xfrm>
            <a:custGeom>
              <a:avLst/>
              <a:gdLst>
                <a:gd name="connsiteX0" fmla="*/ 125747 w 251494"/>
                <a:gd name="connsiteY0" fmla="*/ 0 h 251494"/>
                <a:gd name="connsiteX1" fmla="*/ 0 w 251494"/>
                <a:gd name="connsiteY1" fmla="*/ 125747 h 251494"/>
                <a:gd name="connsiteX2" fmla="*/ 125747 w 251494"/>
                <a:gd name="connsiteY2" fmla="*/ 251495 h 251494"/>
                <a:gd name="connsiteX3" fmla="*/ 251495 w 251494"/>
                <a:gd name="connsiteY3" fmla="*/ 125747 h 251494"/>
                <a:gd name="connsiteX4" fmla="*/ 125747 w 251494"/>
                <a:gd name="connsiteY4" fmla="*/ 0 h 251494"/>
                <a:gd name="connsiteX5" fmla="*/ 125747 w 251494"/>
                <a:gd name="connsiteY5" fmla="*/ 242821 h 251494"/>
                <a:gd name="connsiteX6" fmla="*/ 8674 w 251494"/>
                <a:gd name="connsiteY6" fmla="*/ 125747 h 251494"/>
                <a:gd name="connsiteX7" fmla="*/ 125747 w 251494"/>
                <a:gd name="connsiteY7" fmla="*/ 8674 h 251494"/>
                <a:gd name="connsiteX8" fmla="*/ 242821 w 251494"/>
                <a:gd name="connsiteY8" fmla="*/ 125747 h 251494"/>
                <a:gd name="connsiteX9" fmla="*/ 125747 w 251494"/>
                <a:gd name="connsiteY9" fmla="*/ 242821 h 251494"/>
                <a:gd name="connsiteX10" fmla="*/ 198190 w 251494"/>
                <a:gd name="connsiteY10" fmla="*/ 122681 h 251494"/>
                <a:gd name="connsiteX11" fmla="*/ 198190 w 251494"/>
                <a:gd name="connsiteY11" fmla="*/ 128814 h 251494"/>
                <a:gd name="connsiteX12" fmla="*/ 128814 w 251494"/>
                <a:gd name="connsiteY12" fmla="*/ 198190 h 251494"/>
                <a:gd name="connsiteX13" fmla="*/ 125747 w 251494"/>
                <a:gd name="connsiteY13" fmla="*/ 199461 h 251494"/>
                <a:gd name="connsiteX14" fmla="*/ 122681 w 251494"/>
                <a:gd name="connsiteY14" fmla="*/ 198190 h 251494"/>
                <a:gd name="connsiteX15" fmla="*/ 53305 w 251494"/>
                <a:gd name="connsiteY15" fmla="*/ 128814 h 251494"/>
                <a:gd name="connsiteX16" fmla="*/ 53305 w 251494"/>
                <a:gd name="connsiteY16" fmla="*/ 122681 h 251494"/>
                <a:gd name="connsiteX17" fmla="*/ 59437 w 251494"/>
                <a:gd name="connsiteY17" fmla="*/ 122681 h 251494"/>
                <a:gd name="connsiteX18" fmla="*/ 121410 w 251494"/>
                <a:gd name="connsiteY18" fmla="*/ 184654 h 251494"/>
                <a:gd name="connsiteX19" fmla="*/ 121410 w 251494"/>
                <a:gd name="connsiteY19" fmla="*/ 47697 h 251494"/>
                <a:gd name="connsiteX20" fmla="*/ 125747 w 251494"/>
                <a:gd name="connsiteY20" fmla="*/ 43360 h 251494"/>
                <a:gd name="connsiteX21" fmla="*/ 130085 w 251494"/>
                <a:gd name="connsiteY21" fmla="*/ 47697 h 251494"/>
                <a:gd name="connsiteX22" fmla="*/ 130085 w 251494"/>
                <a:gd name="connsiteY22" fmla="*/ 184654 h 251494"/>
                <a:gd name="connsiteX23" fmla="*/ 192058 w 251494"/>
                <a:gd name="connsiteY23" fmla="*/ 122681 h 251494"/>
                <a:gd name="connsiteX24" fmla="*/ 198190 w 251494"/>
                <a:gd name="connsiteY24" fmla="*/ 122681 h 251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51494" h="251494">
                  <a:moveTo>
                    <a:pt x="125747" y="0"/>
                  </a:moveTo>
                  <a:cubicBezTo>
                    <a:pt x="56412" y="0"/>
                    <a:pt x="0" y="56412"/>
                    <a:pt x="0" y="125747"/>
                  </a:cubicBezTo>
                  <a:cubicBezTo>
                    <a:pt x="0" y="195083"/>
                    <a:pt x="56412" y="251495"/>
                    <a:pt x="125747" y="251495"/>
                  </a:cubicBezTo>
                  <a:cubicBezTo>
                    <a:pt x="195083" y="251495"/>
                    <a:pt x="251495" y="195083"/>
                    <a:pt x="251495" y="125747"/>
                  </a:cubicBezTo>
                  <a:cubicBezTo>
                    <a:pt x="251495" y="56412"/>
                    <a:pt x="195083" y="0"/>
                    <a:pt x="125747" y="0"/>
                  </a:cubicBezTo>
                  <a:close/>
                  <a:moveTo>
                    <a:pt x="125747" y="242821"/>
                  </a:moveTo>
                  <a:cubicBezTo>
                    <a:pt x="61192" y="242821"/>
                    <a:pt x="8674" y="190303"/>
                    <a:pt x="8674" y="125747"/>
                  </a:cubicBezTo>
                  <a:cubicBezTo>
                    <a:pt x="8674" y="61192"/>
                    <a:pt x="61192" y="8674"/>
                    <a:pt x="125747" y="8674"/>
                  </a:cubicBezTo>
                  <a:cubicBezTo>
                    <a:pt x="190303" y="8674"/>
                    <a:pt x="242821" y="61192"/>
                    <a:pt x="242821" y="125747"/>
                  </a:cubicBezTo>
                  <a:cubicBezTo>
                    <a:pt x="242821" y="190303"/>
                    <a:pt x="190303" y="242821"/>
                    <a:pt x="125747" y="242821"/>
                  </a:cubicBezTo>
                  <a:close/>
                  <a:moveTo>
                    <a:pt x="198190" y="122681"/>
                  </a:moveTo>
                  <a:cubicBezTo>
                    <a:pt x="199886" y="124377"/>
                    <a:pt x="199886" y="127117"/>
                    <a:pt x="198190" y="128814"/>
                  </a:cubicBezTo>
                  <a:lnTo>
                    <a:pt x="128814" y="198190"/>
                  </a:lnTo>
                  <a:cubicBezTo>
                    <a:pt x="127968" y="199035"/>
                    <a:pt x="126855" y="199461"/>
                    <a:pt x="125747" y="199461"/>
                  </a:cubicBezTo>
                  <a:cubicBezTo>
                    <a:pt x="124640" y="199461"/>
                    <a:pt x="123526" y="199035"/>
                    <a:pt x="122681" y="198190"/>
                  </a:cubicBezTo>
                  <a:lnTo>
                    <a:pt x="53305" y="128814"/>
                  </a:lnTo>
                  <a:cubicBezTo>
                    <a:pt x="51608" y="127117"/>
                    <a:pt x="51608" y="124377"/>
                    <a:pt x="53305" y="122681"/>
                  </a:cubicBezTo>
                  <a:cubicBezTo>
                    <a:pt x="55001" y="120985"/>
                    <a:pt x="57741" y="120985"/>
                    <a:pt x="59437" y="122681"/>
                  </a:cubicBezTo>
                  <a:lnTo>
                    <a:pt x="121410" y="184654"/>
                  </a:lnTo>
                  <a:lnTo>
                    <a:pt x="121410" y="47697"/>
                  </a:lnTo>
                  <a:cubicBezTo>
                    <a:pt x="121410" y="45301"/>
                    <a:pt x="123351" y="43360"/>
                    <a:pt x="125747" y="43360"/>
                  </a:cubicBezTo>
                  <a:cubicBezTo>
                    <a:pt x="128143" y="43360"/>
                    <a:pt x="130085" y="45301"/>
                    <a:pt x="130085" y="47697"/>
                  </a:cubicBezTo>
                  <a:lnTo>
                    <a:pt x="130085" y="184654"/>
                  </a:lnTo>
                  <a:lnTo>
                    <a:pt x="192058" y="122681"/>
                  </a:lnTo>
                  <a:cubicBezTo>
                    <a:pt x="193754" y="120991"/>
                    <a:pt x="196494" y="120991"/>
                    <a:pt x="198190" y="122681"/>
                  </a:cubicBezTo>
                  <a:close/>
                </a:path>
              </a:pathLst>
            </a:custGeom>
            <a:solidFill>
              <a:schemeClr val="tx2"/>
            </a:solidFill>
            <a:ln w="581" cap="flat">
              <a:noFill/>
              <a:prstDash val="solid"/>
              <a:miter/>
            </a:ln>
          </p:spPr>
          <p:txBody>
            <a:bodyPr rtlCol="0" anchor="ctr"/>
            <a:lstStyle/>
            <a:p>
              <a:endParaRPr lang="en-GB" dirty="0"/>
            </a:p>
          </p:txBody>
        </p:sp>
        <p:sp>
          <p:nvSpPr>
            <p:cNvPr id="161" name="Freihandform: Form 160">
              <a:extLst>
                <a:ext uri="{FF2B5EF4-FFF2-40B4-BE49-F238E27FC236}">
                  <a16:creationId xmlns:a16="http://schemas.microsoft.com/office/drawing/2014/main" id="{16DD6F32-9817-4446-8FA5-F495511565A7}"/>
                </a:ext>
              </a:extLst>
            </p:cNvPr>
            <p:cNvSpPr>
              <a:spLocks noChangeAspect="1"/>
            </p:cNvSpPr>
            <p:nvPr/>
          </p:nvSpPr>
          <p:spPr>
            <a:xfrm>
              <a:off x="3779997" y="3674480"/>
              <a:ext cx="251494" cy="251508"/>
            </a:xfrm>
            <a:custGeom>
              <a:avLst/>
              <a:gdLst>
                <a:gd name="connsiteX0" fmla="*/ 251495 w 251494"/>
                <a:gd name="connsiteY0" fmla="*/ 125755 h 251508"/>
                <a:gd name="connsiteX1" fmla="*/ 247158 w 251494"/>
                <a:gd name="connsiteY1" fmla="*/ 130092 h 251508"/>
                <a:gd name="connsiteX2" fmla="*/ 4337 w 251494"/>
                <a:gd name="connsiteY2" fmla="*/ 130092 h 251508"/>
                <a:gd name="connsiteX3" fmla="*/ 0 w 251494"/>
                <a:gd name="connsiteY3" fmla="*/ 125755 h 251508"/>
                <a:gd name="connsiteX4" fmla="*/ 4337 w 251494"/>
                <a:gd name="connsiteY4" fmla="*/ 121418 h 251508"/>
                <a:gd name="connsiteX5" fmla="*/ 247158 w 251494"/>
                <a:gd name="connsiteY5" fmla="*/ 121418 h 251508"/>
                <a:gd name="connsiteX6" fmla="*/ 251495 w 251494"/>
                <a:gd name="connsiteY6" fmla="*/ 125755 h 251508"/>
                <a:gd name="connsiteX7" fmla="*/ 125747 w 251494"/>
                <a:gd name="connsiteY7" fmla="*/ 156109 h 251508"/>
                <a:gd name="connsiteX8" fmla="*/ 121410 w 251494"/>
                <a:gd name="connsiteY8" fmla="*/ 160446 h 251508"/>
                <a:gd name="connsiteX9" fmla="*/ 121410 w 251494"/>
                <a:gd name="connsiteY9" fmla="*/ 236701 h 251508"/>
                <a:gd name="connsiteX10" fmla="*/ 85448 w 251494"/>
                <a:gd name="connsiteY10" fmla="*/ 200745 h 251508"/>
                <a:gd name="connsiteX11" fmla="*/ 79316 w 251494"/>
                <a:gd name="connsiteY11" fmla="*/ 200745 h 251508"/>
                <a:gd name="connsiteX12" fmla="*/ 79316 w 251494"/>
                <a:gd name="connsiteY12" fmla="*/ 206878 h 251508"/>
                <a:gd name="connsiteX13" fmla="*/ 122675 w 251494"/>
                <a:gd name="connsiteY13" fmla="*/ 250237 h 251508"/>
                <a:gd name="connsiteX14" fmla="*/ 125741 w 251494"/>
                <a:gd name="connsiteY14" fmla="*/ 251508 h 251508"/>
                <a:gd name="connsiteX15" fmla="*/ 128808 w 251494"/>
                <a:gd name="connsiteY15" fmla="*/ 250237 h 251508"/>
                <a:gd name="connsiteX16" fmla="*/ 172167 w 251494"/>
                <a:gd name="connsiteY16" fmla="*/ 206878 h 251508"/>
                <a:gd name="connsiteX17" fmla="*/ 172167 w 251494"/>
                <a:gd name="connsiteY17" fmla="*/ 200745 h 251508"/>
                <a:gd name="connsiteX18" fmla="*/ 166035 w 251494"/>
                <a:gd name="connsiteY18" fmla="*/ 200745 h 251508"/>
                <a:gd name="connsiteX19" fmla="*/ 130073 w 251494"/>
                <a:gd name="connsiteY19" fmla="*/ 236701 h 251508"/>
                <a:gd name="connsiteX20" fmla="*/ 130073 w 251494"/>
                <a:gd name="connsiteY20" fmla="*/ 160446 h 251508"/>
                <a:gd name="connsiteX21" fmla="*/ 125747 w 251494"/>
                <a:gd name="connsiteY21" fmla="*/ 156109 h 251508"/>
                <a:gd name="connsiteX22" fmla="*/ 125747 w 251494"/>
                <a:gd name="connsiteY22" fmla="*/ 95401 h 251508"/>
                <a:gd name="connsiteX23" fmla="*/ 130085 w 251494"/>
                <a:gd name="connsiteY23" fmla="*/ 91063 h 251508"/>
                <a:gd name="connsiteX24" fmla="*/ 130085 w 251494"/>
                <a:gd name="connsiteY24" fmla="*/ 14808 h 251508"/>
                <a:gd name="connsiteX25" fmla="*/ 166046 w 251494"/>
                <a:gd name="connsiteY25" fmla="*/ 50764 h 251508"/>
                <a:gd name="connsiteX26" fmla="*/ 169113 w 251494"/>
                <a:gd name="connsiteY26" fmla="*/ 52035 h 251508"/>
                <a:gd name="connsiteX27" fmla="*/ 172179 w 251494"/>
                <a:gd name="connsiteY27" fmla="*/ 50764 h 251508"/>
                <a:gd name="connsiteX28" fmla="*/ 172179 w 251494"/>
                <a:gd name="connsiteY28" fmla="*/ 44632 h 251508"/>
                <a:gd name="connsiteX29" fmla="*/ 128820 w 251494"/>
                <a:gd name="connsiteY29" fmla="*/ 1272 h 251508"/>
                <a:gd name="connsiteX30" fmla="*/ 122687 w 251494"/>
                <a:gd name="connsiteY30" fmla="*/ 1272 h 251508"/>
                <a:gd name="connsiteX31" fmla="*/ 79327 w 251494"/>
                <a:gd name="connsiteY31" fmla="*/ 44632 h 251508"/>
                <a:gd name="connsiteX32" fmla="*/ 79327 w 251494"/>
                <a:gd name="connsiteY32" fmla="*/ 50764 h 251508"/>
                <a:gd name="connsiteX33" fmla="*/ 85460 w 251494"/>
                <a:gd name="connsiteY33" fmla="*/ 50764 h 251508"/>
                <a:gd name="connsiteX34" fmla="*/ 121422 w 251494"/>
                <a:gd name="connsiteY34" fmla="*/ 14808 h 251508"/>
                <a:gd name="connsiteX35" fmla="*/ 121422 w 251494"/>
                <a:gd name="connsiteY35" fmla="*/ 91063 h 251508"/>
                <a:gd name="connsiteX36" fmla="*/ 125747 w 251494"/>
                <a:gd name="connsiteY36" fmla="*/ 95401 h 251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51494" h="251508">
                  <a:moveTo>
                    <a:pt x="251495" y="125755"/>
                  </a:moveTo>
                  <a:cubicBezTo>
                    <a:pt x="251495" y="128151"/>
                    <a:pt x="249554" y="130092"/>
                    <a:pt x="247158" y="130092"/>
                  </a:cubicBezTo>
                  <a:lnTo>
                    <a:pt x="4337" y="130092"/>
                  </a:lnTo>
                  <a:cubicBezTo>
                    <a:pt x="1941" y="130092"/>
                    <a:pt x="0" y="128151"/>
                    <a:pt x="0" y="125755"/>
                  </a:cubicBezTo>
                  <a:cubicBezTo>
                    <a:pt x="0" y="123359"/>
                    <a:pt x="1941" y="121418"/>
                    <a:pt x="4337" y="121418"/>
                  </a:cubicBezTo>
                  <a:lnTo>
                    <a:pt x="247158" y="121418"/>
                  </a:lnTo>
                  <a:cubicBezTo>
                    <a:pt x="249554" y="121418"/>
                    <a:pt x="251495" y="123359"/>
                    <a:pt x="251495" y="125755"/>
                  </a:cubicBezTo>
                  <a:close/>
                  <a:moveTo>
                    <a:pt x="125747" y="156109"/>
                  </a:moveTo>
                  <a:cubicBezTo>
                    <a:pt x="123351" y="156109"/>
                    <a:pt x="121410" y="158050"/>
                    <a:pt x="121410" y="160446"/>
                  </a:cubicBezTo>
                  <a:lnTo>
                    <a:pt x="121410" y="236701"/>
                  </a:lnTo>
                  <a:lnTo>
                    <a:pt x="85448" y="200745"/>
                  </a:lnTo>
                  <a:cubicBezTo>
                    <a:pt x="83752" y="199049"/>
                    <a:pt x="81012" y="199049"/>
                    <a:pt x="79316" y="200745"/>
                  </a:cubicBezTo>
                  <a:cubicBezTo>
                    <a:pt x="77619" y="202441"/>
                    <a:pt x="77619" y="205181"/>
                    <a:pt x="79316" y="206878"/>
                  </a:cubicBezTo>
                  <a:lnTo>
                    <a:pt x="122675" y="250237"/>
                  </a:lnTo>
                  <a:cubicBezTo>
                    <a:pt x="123520" y="251082"/>
                    <a:pt x="124634" y="251508"/>
                    <a:pt x="125741" y="251508"/>
                  </a:cubicBezTo>
                  <a:cubicBezTo>
                    <a:pt x="126849" y="251508"/>
                    <a:pt x="127962" y="251082"/>
                    <a:pt x="128808" y="250237"/>
                  </a:cubicBezTo>
                  <a:lnTo>
                    <a:pt x="172167" y="206878"/>
                  </a:lnTo>
                  <a:cubicBezTo>
                    <a:pt x="173864" y="205181"/>
                    <a:pt x="173864" y="202441"/>
                    <a:pt x="172167" y="200745"/>
                  </a:cubicBezTo>
                  <a:cubicBezTo>
                    <a:pt x="170471" y="199049"/>
                    <a:pt x="167731" y="199049"/>
                    <a:pt x="166035" y="200745"/>
                  </a:cubicBezTo>
                  <a:lnTo>
                    <a:pt x="130073" y="236701"/>
                  </a:lnTo>
                  <a:lnTo>
                    <a:pt x="130073" y="160446"/>
                  </a:lnTo>
                  <a:cubicBezTo>
                    <a:pt x="130085" y="158044"/>
                    <a:pt x="128143" y="156109"/>
                    <a:pt x="125747" y="156109"/>
                  </a:cubicBezTo>
                  <a:close/>
                  <a:moveTo>
                    <a:pt x="125747" y="95401"/>
                  </a:moveTo>
                  <a:cubicBezTo>
                    <a:pt x="128143" y="95401"/>
                    <a:pt x="130085" y="93459"/>
                    <a:pt x="130085" y="91063"/>
                  </a:cubicBezTo>
                  <a:lnTo>
                    <a:pt x="130085" y="14808"/>
                  </a:lnTo>
                  <a:lnTo>
                    <a:pt x="166046" y="50764"/>
                  </a:lnTo>
                  <a:cubicBezTo>
                    <a:pt x="166892" y="51610"/>
                    <a:pt x="167999" y="52035"/>
                    <a:pt x="169113" y="52035"/>
                  </a:cubicBezTo>
                  <a:cubicBezTo>
                    <a:pt x="170220" y="52035"/>
                    <a:pt x="171334" y="51610"/>
                    <a:pt x="172179" y="50764"/>
                  </a:cubicBezTo>
                  <a:cubicBezTo>
                    <a:pt x="173876" y="49068"/>
                    <a:pt x="173876" y="46328"/>
                    <a:pt x="172179" y="44632"/>
                  </a:cubicBezTo>
                  <a:lnTo>
                    <a:pt x="128820" y="1272"/>
                  </a:lnTo>
                  <a:cubicBezTo>
                    <a:pt x="127123" y="-424"/>
                    <a:pt x="124383" y="-424"/>
                    <a:pt x="122687" y="1272"/>
                  </a:cubicBezTo>
                  <a:lnTo>
                    <a:pt x="79327" y="44632"/>
                  </a:lnTo>
                  <a:cubicBezTo>
                    <a:pt x="77631" y="46328"/>
                    <a:pt x="77631" y="49068"/>
                    <a:pt x="79327" y="50764"/>
                  </a:cubicBezTo>
                  <a:cubicBezTo>
                    <a:pt x="81024" y="52461"/>
                    <a:pt x="83764" y="52461"/>
                    <a:pt x="85460" y="50764"/>
                  </a:cubicBezTo>
                  <a:lnTo>
                    <a:pt x="121422" y="14808"/>
                  </a:lnTo>
                  <a:lnTo>
                    <a:pt x="121422" y="91063"/>
                  </a:lnTo>
                  <a:cubicBezTo>
                    <a:pt x="121410" y="93459"/>
                    <a:pt x="123351" y="95401"/>
                    <a:pt x="125747" y="95401"/>
                  </a:cubicBezTo>
                  <a:close/>
                </a:path>
              </a:pathLst>
            </a:custGeom>
            <a:solidFill>
              <a:schemeClr val="tx2"/>
            </a:solidFill>
            <a:ln w="581" cap="flat">
              <a:noFill/>
              <a:prstDash val="solid"/>
              <a:miter/>
            </a:ln>
          </p:spPr>
          <p:txBody>
            <a:bodyPr rtlCol="0" anchor="ctr"/>
            <a:lstStyle/>
            <a:p>
              <a:endParaRPr lang="en-GB" dirty="0"/>
            </a:p>
          </p:txBody>
        </p:sp>
        <p:sp>
          <p:nvSpPr>
            <p:cNvPr id="170" name="Freihandform: Form 169">
              <a:extLst>
                <a:ext uri="{FF2B5EF4-FFF2-40B4-BE49-F238E27FC236}">
                  <a16:creationId xmlns:a16="http://schemas.microsoft.com/office/drawing/2014/main" id="{A3905A4B-F022-4107-B679-1A28A8393343}"/>
                </a:ext>
              </a:extLst>
            </p:cNvPr>
            <p:cNvSpPr>
              <a:spLocks noChangeAspect="1"/>
            </p:cNvSpPr>
            <p:nvPr/>
          </p:nvSpPr>
          <p:spPr>
            <a:xfrm>
              <a:off x="3800740" y="2843091"/>
              <a:ext cx="210009" cy="199512"/>
            </a:xfrm>
            <a:custGeom>
              <a:avLst/>
              <a:gdLst>
                <a:gd name="connsiteX0" fmla="*/ 152380 w 210009"/>
                <a:gd name="connsiteY0" fmla="*/ 9396 h 199512"/>
                <a:gd name="connsiteX1" fmla="*/ 76119 w 210009"/>
                <a:gd name="connsiteY1" fmla="*/ 6067 h 199512"/>
                <a:gd name="connsiteX2" fmla="*/ 20914 w 210009"/>
                <a:gd name="connsiteY2" fmla="*/ 55600 h 199512"/>
                <a:gd name="connsiteX3" fmla="*/ 8392 w 210009"/>
                <a:gd name="connsiteY3" fmla="*/ 22658 h 199512"/>
                <a:gd name="connsiteX4" fmla="*/ 2796 w 210009"/>
                <a:gd name="connsiteY4" fmla="*/ 20146 h 199512"/>
                <a:gd name="connsiteX5" fmla="*/ 283 w 210009"/>
                <a:gd name="connsiteY5" fmla="*/ 25742 h 199512"/>
                <a:gd name="connsiteX6" fmla="*/ 16658 w 210009"/>
                <a:gd name="connsiteY6" fmla="*/ 68827 h 199512"/>
                <a:gd name="connsiteX7" fmla="*/ 20710 w 210009"/>
                <a:gd name="connsiteY7" fmla="*/ 71620 h 199512"/>
                <a:gd name="connsiteX8" fmla="*/ 21701 w 210009"/>
                <a:gd name="connsiteY8" fmla="*/ 71503 h 199512"/>
                <a:gd name="connsiteX9" fmla="*/ 66582 w 210009"/>
                <a:gd name="connsiteY9" fmla="*/ 60987 h 199512"/>
                <a:gd name="connsiteX10" fmla="*/ 69812 w 210009"/>
                <a:gd name="connsiteY10" fmla="*/ 55775 h 199512"/>
                <a:gd name="connsiteX11" fmla="*/ 64600 w 210009"/>
                <a:gd name="connsiteY11" fmla="*/ 52546 h 199512"/>
                <a:gd name="connsiteX12" fmla="*/ 27758 w 210009"/>
                <a:gd name="connsiteY12" fmla="*/ 61179 h 199512"/>
                <a:gd name="connsiteX13" fmla="*/ 148702 w 210009"/>
                <a:gd name="connsiteY13" fmla="*/ 17254 h 199512"/>
                <a:gd name="connsiteX14" fmla="*/ 192749 w 210009"/>
                <a:gd name="connsiteY14" fmla="*/ 138262 h 199512"/>
                <a:gd name="connsiteX15" fmla="*/ 71741 w 210009"/>
                <a:gd name="connsiteY15" fmla="*/ 182310 h 199512"/>
                <a:gd name="connsiteX16" fmla="*/ 28020 w 210009"/>
                <a:gd name="connsiteY16" fmla="*/ 138962 h 199512"/>
                <a:gd name="connsiteX17" fmla="*/ 22237 w 210009"/>
                <a:gd name="connsiteY17" fmla="*/ 136910 h 199512"/>
                <a:gd name="connsiteX18" fmla="*/ 20185 w 210009"/>
                <a:gd name="connsiteY18" fmla="*/ 142693 h 199512"/>
                <a:gd name="connsiteX19" fmla="*/ 68074 w 210009"/>
                <a:gd name="connsiteY19" fmla="*/ 190174 h 199512"/>
                <a:gd name="connsiteX20" fmla="*/ 110070 w 210009"/>
                <a:gd name="connsiteY20" fmla="*/ 199512 h 199512"/>
                <a:gd name="connsiteX21" fmla="*/ 200613 w 210009"/>
                <a:gd name="connsiteY21" fmla="*/ 141935 h 199512"/>
                <a:gd name="connsiteX22" fmla="*/ 203942 w 210009"/>
                <a:gd name="connsiteY22" fmla="*/ 65674 h 199512"/>
                <a:gd name="connsiteX23" fmla="*/ 152380 w 210009"/>
                <a:gd name="connsiteY23" fmla="*/ 9396 h 19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0009" h="199512">
                  <a:moveTo>
                    <a:pt x="152380" y="9396"/>
                  </a:moveTo>
                  <a:cubicBezTo>
                    <a:pt x="128240" y="-1861"/>
                    <a:pt x="101162" y="-3044"/>
                    <a:pt x="76119" y="6067"/>
                  </a:cubicBezTo>
                  <a:cubicBezTo>
                    <a:pt x="51810" y="14916"/>
                    <a:pt x="32334" y="32492"/>
                    <a:pt x="20914" y="55600"/>
                  </a:cubicBezTo>
                  <a:lnTo>
                    <a:pt x="8392" y="22658"/>
                  </a:lnTo>
                  <a:cubicBezTo>
                    <a:pt x="7541" y="20420"/>
                    <a:pt x="5040" y="19289"/>
                    <a:pt x="2796" y="20146"/>
                  </a:cubicBezTo>
                  <a:cubicBezTo>
                    <a:pt x="563" y="20997"/>
                    <a:pt x="-568" y="23497"/>
                    <a:pt x="283" y="25742"/>
                  </a:cubicBezTo>
                  <a:lnTo>
                    <a:pt x="16658" y="68827"/>
                  </a:lnTo>
                  <a:cubicBezTo>
                    <a:pt x="17311" y="70541"/>
                    <a:pt x="18943" y="71620"/>
                    <a:pt x="20710" y="71620"/>
                  </a:cubicBezTo>
                  <a:cubicBezTo>
                    <a:pt x="21036" y="71620"/>
                    <a:pt x="21369" y="71579"/>
                    <a:pt x="21701" y="71503"/>
                  </a:cubicBezTo>
                  <a:lnTo>
                    <a:pt x="66582" y="60987"/>
                  </a:lnTo>
                  <a:cubicBezTo>
                    <a:pt x="68914" y="60439"/>
                    <a:pt x="70360" y="58107"/>
                    <a:pt x="69812" y="55775"/>
                  </a:cubicBezTo>
                  <a:cubicBezTo>
                    <a:pt x="69264" y="53443"/>
                    <a:pt x="66949" y="52009"/>
                    <a:pt x="64600" y="52546"/>
                  </a:cubicBezTo>
                  <a:lnTo>
                    <a:pt x="27758" y="61179"/>
                  </a:lnTo>
                  <a:cubicBezTo>
                    <a:pt x="49024" y="15762"/>
                    <a:pt x="103255" y="-3930"/>
                    <a:pt x="148702" y="17254"/>
                  </a:cubicBezTo>
                  <a:cubicBezTo>
                    <a:pt x="194212" y="38473"/>
                    <a:pt x="213968" y="92757"/>
                    <a:pt x="192749" y="138262"/>
                  </a:cubicBezTo>
                  <a:cubicBezTo>
                    <a:pt x="171524" y="183773"/>
                    <a:pt x="117228" y="203517"/>
                    <a:pt x="71741" y="182310"/>
                  </a:cubicBezTo>
                  <a:cubicBezTo>
                    <a:pt x="52603" y="173385"/>
                    <a:pt x="37079" y="157989"/>
                    <a:pt x="28020" y="138962"/>
                  </a:cubicBezTo>
                  <a:cubicBezTo>
                    <a:pt x="26988" y="136799"/>
                    <a:pt x="24406" y="135884"/>
                    <a:pt x="22237" y="136910"/>
                  </a:cubicBezTo>
                  <a:cubicBezTo>
                    <a:pt x="20075" y="137942"/>
                    <a:pt x="19154" y="140524"/>
                    <a:pt x="20185" y="142693"/>
                  </a:cubicBezTo>
                  <a:cubicBezTo>
                    <a:pt x="30107" y="163539"/>
                    <a:pt x="47117" y="180403"/>
                    <a:pt x="68074" y="190174"/>
                  </a:cubicBezTo>
                  <a:cubicBezTo>
                    <a:pt x="81669" y="196510"/>
                    <a:pt x="95968" y="199512"/>
                    <a:pt x="110070" y="199512"/>
                  </a:cubicBezTo>
                  <a:cubicBezTo>
                    <a:pt x="147647" y="199512"/>
                    <a:pt x="183708" y="178177"/>
                    <a:pt x="200613" y="141935"/>
                  </a:cubicBezTo>
                  <a:cubicBezTo>
                    <a:pt x="211870" y="117789"/>
                    <a:pt x="213053" y="90711"/>
                    <a:pt x="203942" y="65674"/>
                  </a:cubicBezTo>
                  <a:cubicBezTo>
                    <a:pt x="194830" y="40636"/>
                    <a:pt x="176520" y="20659"/>
                    <a:pt x="152380" y="9396"/>
                  </a:cubicBezTo>
                  <a:close/>
                </a:path>
              </a:pathLst>
            </a:custGeom>
            <a:solidFill>
              <a:schemeClr val="tx2"/>
            </a:solidFill>
            <a:ln w="581" cap="flat">
              <a:noFill/>
              <a:prstDash val="solid"/>
              <a:miter/>
            </a:ln>
          </p:spPr>
          <p:txBody>
            <a:bodyPr rtlCol="0" anchor="ctr"/>
            <a:lstStyle/>
            <a:p>
              <a:endParaRPr lang="en-GB" dirty="0"/>
            </a:p>
          </p:txBody>
        </p:sp>
        <p:sp>
          <p:nvSpPr>
            <p:cNvPr id="173" name="Freihandform: Form 172">
              <a:extLst>
                <a:ext uri="{FF2B5EF4-FFF2-40B4-BE49-F238E27FC236}">
                  <a16:creationId xmlns:a16="http://schemas.microsoft.com/office/drawing/2014/main" id="{BB8201F5-3EA9-4918-A4C3-D252E237148E}"/>
                </a:ext>
              </a:extLst>
            </p:cNvPr>
            <p:cNvSpPr>
              <a:spLocks noChangeAspect="1"/>
            </p:cNvSpPr>
            <p:nvPr/>
          </p:nvSpPr>
          <p:spPr>
            <a:xfrm>
              <a:off x="3793006" y="4527309"/>
              <a:ext cx="225477" cy="194694"/>
            </a:xfrm>
            <a:custGeom>
              <a:avLst/>
              <a:gdLst>
                <a:gd name="connsiteX0" fmla="*/ 225478 w 225477"/>
                <a:gd name="connsiteY0" fmla="*/ 125318 h 194694"/>
                <a:gd name="connsiteX1" fmla="*/ 225478 w 225477"/>
                <a:gd name="connsiteY1" fmla="*/ 190357 h 194694"/>
                <a:gd name="connsiteX2" fmla="*/ 221141 w 225477"/>
                <a:gd name="connsiteY2" fmla="*/ 194694 h 194694"/>
                <a:gd name="connsiteX3" fmla="*/ 4337 w 225477"/>
                <a:gd name="connsiteY3" fmla="*/ 194694 h 194694"/>
                <a:gd name="connsiteX4" fmla="*/ 0 w 225477"/>
                <a:gd name="connsiteY4" fmla="*/ 190357 h 194694"/>
                <a:gd name="connsiteX5" fmla="*/ 0 w 225477"/>
                <a:gd name="connsiteY5" fmla="*/ 125318 h 194694"/>
                <a:gd name="connsiteX6" fmla="*/ 4337 w 225477"/>
                <a:gd name="connsiteY6" fmla="*/ 120981 h 194694"/>
                <a:gd name="connsiteX7" fmla="*/ 8674 w 225477"/>
                <a:gd name="connsiteY7" fmla="*/ 125318 h 194694"/>
                <a:gd name="connsiteX8" fmla="*/ 8674 w 225477"/>
                <a:gd name="connsiteY8" fmla="*/ 186026 h 194694"/>
                <a:gd name="connsiteX9" fmla="*/ 216810 w 225477"/>
                <a:gd name="connsiteY9" fmla="*/ 186026 h 194694"/>
                <a:gd name="connsiteX10" fmla="*/ 216810 w 225477"/>
                <a:gd name="connsiteY10" fmla="*/ 125318 h 194694"/>
                <a:gd name="connsiteX11" fmla="*/ 221147 w 225477"/>
                <a:gd name="connsiteY11" fmla="*/ 120981 h 194694"/>
                <a:gd name="connsiteX12" fmla="*/ 225478 w 225477"/>
                <a:gd name="connsiteY12" fmla="*/ 125318 h 194694"/>
                <a:gd name="connsiteX13" fmla="*/ 63774 w 225477"/>
                <a:gd name="connsiteY13" fmla="*/ 1272 h 194694"/>
                <a:gd name="connsiteX14" fmla="*/ 57642 w 225477"/>
                <a:gd name="connsiteY14" fmla="*/ 1272 h 194694"/>
                <a:gd name="connsiteX15" fmla="*/ 14719 w 225477"/>
                <a:gd name="connsiteY15" fmla="*/ 44195 h 194694"/>
                <a:gd name="connsiteX16" fmla="*/ 14719 w 225477"/>
                <a:gd name="connsiteY16" fmla="*/ 50327 h 194694"/>
                <a:gd name="connsiteX17" fmla="*/ 57642 w 225477"/>
                <a:gd name="connsiteY17" fmla="*/ 93250 h 194694"/>
                <a:gd name="connsiteX18" fmla="*/ 60708 w 225477"/>
                <a:gd name="connsiteY18" fmla="*/ 94520 h 194694"/>
                <a:gd name="connsiteX19" fmla="*/ 63774 w 225477"/>
                <a:gd name="connsiteY19" fmla="*/ 93250 h 194694"/>
                <a:gd name="connsiteX20" fmla="*/ 63774 w 225477"/>
                <a:gd name="connsiteY20" fmla="*/ 87117 h 194694"/>
                <a:gd name="connsiteX21" fmla="*/ 28250 w 225477"/>
                <a:gd name="connsiteY21" fmla="*/ 51592 h 194694"/>
                <a:gd name="connsiteX22" fmla="*/ 95393 w 225477"/>
                <a:gd name="connsiteY22" fmla="*/ 51592 h 194694"/>
                <a:gd name="connsiteX23" fmla="*/ 156101 w 225477"/>
                <a:gd name="connsiteY23" fmla="*/ 112300 h 194694"/>
                <a:gd name="connsiteX24" fmla="*/ 135873 w 225477"/>
                <a:gd name="connsiteY24" fmla="*/ 157543 h 194694"/>
                <a:gd name="connsiteX25" fmla="*/ 135535 w 225477"/>
                <a:gd name="connsiteY25" fmla="*/ 163664 h 194694"/>
                <a:gd name="connsiteX26" fmla="*/ 138764 w 225477"/>
                <a:gd name="connsiteY26" fmla="*/ 165110 h 194694"/>
                <a:gd name="connsiteX27" fmla="*/ 141656 w 225477"/>
                <a:gd name="connsiteY27" fmla="*/ 164002 h 194694"/>
                <a:gd name="connsiteX28" fmla="*/ 164770 w 225477"/>
                <a:gd name="connsiteY28" fmla="*/ 112300 h 194694"/>
                <a:gd name="connsiteX29" fmla="*/ 95393 w 225477"/>
                <a:gd name="connsiteY29" fmla="*/ 42924 h 194694"/>
                <a:gd name="connsiteX30" fmla="*/ 28250 w 225477"/>
                <a:gd name="connsiteY30" fmla="*/ 42924 h 194694"/>
                <a:gd name="connsiteX31" fmla="*/ 63774 w 225477"/>
                <a:gd name="connsiteY31" fmla="*/ 7399 h 194694"/>
                <a:gd name="connsiteX32" fmla="*/ 63774 w 225477"/>
                <a:gd name="connsiteY32" fmla="*/ 1272 h 194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25477" h="194694">
                  <a:moveTo>
                    <a:pt x="225478" y="125318"/>
                  </a:moveTo>
                  <a:lnTo>
                    <a:pt x="225478" y="190357"/>
                  </a:lnTo>
                  <a:cubicBezTo>
                    <a:pt x="225478" y="192753"/>
                    <a:pt x="223537" y="194694"/>
                    <a:pt x="221141" y="194694"/>
                  </a:cubicBezTo>
                  <a:lnTo>
                    <a:pt x="4337" y="194694"/>
                  </a:lnTo>
                  <a:cubicBezTo>
                    <a:pt x="1941" y="194694"/>
                    <a:pt x="0" y="192753"/>
                    <a:pt x="0" y="190357"/>
                  </a:cubicBezTo>
                  <a:lnTo>
                    <a:pt x="0" y="125318"/>
                  </a:lnTo>
                  <a:cubicBezTo>
                    <a:pt x="0" y="122922"/>
                    <a:pt x="1941" y="120981"/>
                    <a:pt x="4337" y="120981"/>
                  </a:cubicBezTo>
                  <a:cubicBezTo>
                    <a:pt x="6733" y="120981"/>
                    <a:pt x="8674" y="122922"/>
                    <a:pt x="8674" y="125318"/>
                  </a:cubicBezTo>
                  <a:lnTo>
                    <a:pt x="8674" y="186026"/>
                  </a:lnTo>
                  <a:lnTo>
                    <a:pt x="216810" y="186026"/>
                  </a:lnTo>
                  <a:lnTo>
                    <a:pt x="216810" y="125318"/>
                  </a:lnTo>
                  <a:cubicBezTo>
                    <a:pt x="216810" y="122922"/>
                    <a:pt x="218751" y="120981"/>
                    <a:pt x="221147" y="120981"/>
                  </a:cubicBezTo>
                  <a:cubicBezTo>
                    <a:pt x="223542" y="120981"/>
                    <a:pt x="225478" y="122922"/>
                    <a:pt x="225478" y="125318"/>
                  </a:cubicBezTo>
                  <a:close/>
                  <a:moveTo>
                    <a:pt x="63774" y="1272"/>
                  </a:moveTo>
                  <a:cubicBezTo>
                    <a:pt x="62078" y="-424"/>
                    <a:pt x="59338" y="-424"/>
                    <a:pt x="57642" y="1272"/>
                  </a:cubicBezTo>
                  <a:lnTo>
                    <a:pt x="14719" y="44195"/>
                  </a:lnTo>
                  <a:cubicBezTo>
                    <a:pt x="13023" y="45891"/>
                    <a:pt x="13023" y="48631"/>
                    <a:pt x="14719" y="50327"/>
                  </a:cubicBezTo>
                  <a:lnTo>
                    <a:pt x="57642" y="93250"/>
                  </a:lnTo>
                  <a:cubicBezTo>
                    <a:pt x="58487" y="94095"/>
                    <a:pt x="59600" y="94520"/>
                    <a:pt x="60708" y="94520"/>
                  </a:cubicBezTo>
                  <a:cubicBezTo>
                    <a:pt x="61815" y="94520"/>
                    <a:pt x="62929" y="94095"/>
                    <a:pt x="63774" y="93250"/>
                  </a:cubicBezTo>
                  <a:cubicBezTo>
                    <a:pt x="65470" y="91553"/>
                    <a:pt x="65470" y="88813"/>
                    <a:pt x="63774" y="87117"/>
                  </a:cubicBezTo>
                  <a:lnTo>
                    <a:pt x="28250" y="51592"/>
                  </a:lnTo>
                  <a:lnTo>
                    <a:pt x="95393" y="51592"/>
                  </a:lnTo>
                  <a:cubicBezTo>
                    <a:pt x="128866" y="51592"/>
                    <a:pt x="156101" y="78822"/>
                    <a:pt x="156101" y="112300"/>
                  </a:cubicBezTo>
                  <a:cubicBezTo>
                    <a:pt x="156101" y="129538"/>
                    <a:pt x="148727" y="146030"/>
                    <a:pt x="135873" y="157543"/>
                  </a:cubicBezTo>
                  <a:cubicBezTo>
                    <a:pt x="134089" y="159140"/>
                    <a:pt x="133938" y="161886"/>
                    <a:pt x="135535" y="163664"/>
                  </a:cubicBezTo>
                  <a:cubicBezTo>
                    <a:pt x="136392" y="164620"/>
                    <a:pt x="137575" y="165110"/>
                    <a:pt x="138764" y="165110"/>
                  </a:cubicBezTo>
                  <a:cubicBezTo>
                    <a:pt x="139796" y="165110"/>
                    <a:pt x="140828" y="164742"/>
                    <a:pt x="141656" y="164002"/>
                  </a:cubicBezTo>
                  <a:cubicBezTo>
                    <a:pt x="156346" y="150845"/>
                    <a:pt x="164770" y="132004"/>
                    <a:pt x="164770" y="112300"/>
                  </a:cubicBezTo>
                  <a:cubicBezTo>
                    <a:pt x="164770" y="74047"/>
                    <a:pt x="133646" y="42924"/>
                    <a:pt x="95393" y="42924"/>
                  </a:cubicBezTo>
                  <a:lnTo>
                    <a:pt x="28250" y="42924"/>
                  </a:lnTo>
                  <a:lnTo>
                    <a:pt x="63774" y="7399"/>
                  </a:lnTo>
                  <a:cubicBezTo>
                    <a:pt x="65465" y="5714"/>
                    <a:pt x="65465" y="2969"/>
                    <a:pt x="63774" y="1272"/>
                  </a:cubicBezTo>
                  <a:close/>
                </a:path>
              </a:pathLst>
            </a:custGeom>
            <a:solidFill>
              <a:schemeClr val="tx2"/>
            </a:solidFill>
            <a:ln w="581" cap="flat">
              <a:noFill/>
              <a:prstDash val="solid"/>
              <a:miter/>
            </a:ln>
          </p:spPr>
          <p:txBody>
            <a:bodyPr rtlCol="0" anchor="ctr"/>
            <a:lstStyle/>
            <a:p>
              <a:endParaRPr lang="en-GB" dirty="0"/>
            </a:p>
          </p:txBody>
        </p:sp>
      </p:grpSp>
    </p:spTree>
    <p:extLst>
      <p:ext uri="{BB962C8B-B14F-4D97-AF65-F5344CB8AC3E}">
        <p14:creationId xmlns:p14="http://schemas.microsoft.com/office/powerpoint/2010/main" val="437104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kt 44" hidden="1">
            <a:extLst>
              <a:ext uri="{FF2B5EF4-FFF2-40B4-BE49-F238E27FC236}">
                <a16:creationId xmlns:a16="http://schemas.microsoft.com/office/drawing/2014/main" id="{2E67DFED-522F-4CBF-BBA3-B3452B606A60}"/>
              </a:ext>
            </a:extLst>
          </p:cNvPr>
          <p:cNvGraphicFramePr>
            <a:graphicFrameLocks noChangeAspect="1"/>
          </p:cNvGraphicFramePr>
          <p:nvPr>
            <p:custDataLst>
              <p:tags r:id="rId1"/>
            </p:custDataLst>
            <p:extLst>
              <p:ext uri="{D42A27DB-BD31-4B8C-83A1-F6EECF244321}">
                <p14:modId xmlns:p14="http://schemas.microsoft.com/office/powerpoint/2010/main" val="1833281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45" name="Objekt 44" hidden="1">
                        <a:extLst>
                          <a:ext uri="{FF2B5EF4-FFF2-40B4-BE49-F238E27FC236}">
                            <a16:creationId xmlns:a16="http://schemas.microsoft.com/office/drawing/2014/main" id="{2E67DFED-522F-4CBF-BBA3-B3452B606A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547B816A-B1DC-49C7-8648-ECAB63194BA7}"/>
              </a:ext>
            </a:extLst>
          </p:cNvPr>
          <p:cNvSpPr>
            <a:spLocks noGrp="1"/>
          </p:cNvSpPr>
          <p:nvPr>
            <p:ph type="sldNum" sz="quarter" idx="11"/>
          </p:nvPr>
        </p:nvSpPr>
        <p:spPr/>
        <p:txBody>
          <a:bodyPr/>
          <a:lstStyle/>
          <a:p>
            <a:fld id="{D94909C6-CC71-4962-A18E-AF0515723D95}" type="slidenum">
              <a:rPr lang="en-GB" noProof="0" smtClean="0"/>
              <a:pPr/>
              <a:t>41</a:t>
            </a:fld>
            <a:endParaRPr lang="en-GB" noProof="0" dirty="0"/>
          </a:p>
        </p:txBody>
      </p:sp>
      <p:sp>
        <p:nvSpPr>
          <p:cNvPr id="3" name="Title 2">
            <a:extLst>
              <a:ext uri="{FF2B5EF4-FFF2-40B4-BE49-F238E27FC236}">
                <a16:creationId xmlns:a16="http://schemas.microsoft.com/office/drawing/2014/main" id="{3C0E08CE-6069-4F23-B610-929DBC98EB9A}"/>
              </a:ext>
            </a:extLst>
          </p:cNvPr>
          <p:cNvSpPr>
            <a:spLocks noGrp="1"/>
          </p:cNvSpPr>
          <p:nvPr>
            <p:ph type="title"/>
          </p:nvPr>
        </p:nvSpPr>
        <p:spPr>
          <a:xfrm>
            <a:off x="252000" y="252000"/>
            <a:ext cx="6748875" cy="576000"/>
          </a:xfrm>
        </p:spPr>
        <p:txBody>
          <a:bodyPr vert="horz"/>
          <a:lstStyle/>
          <a:p>
            <a:r>
              <a:rPr lang="en-GB" dirty="0"/>
              <a:t>Weather conditions and natural disasters</a:t>
            </a:r>
          </a:p>
        </p:txBody>
      </p:sp>
      <p:sp>
        <p:nvSpPr>
          <p:cNvPr id="6" name="TextBox 5">
            <a:extLst>
              <a:ext uri="{FF2B5EF4-FFF2-40B4-BE49-F238E27FC236}">
                <a16:creationId xmlns:a16="http://schemas.microsoft.com/office/drawing/2014/main" id="{CF79B525-DB3D-4A34-A01F-C86E41A64AE2}"/>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un</a:t>
            </a:r>
          </a:p>
        </p:txBody>
      </p:sp>
      <p:sp>
        <p:nvSpPr>
          <p:cNvPr id="8" name="TextBox 7">
            <a:extLst>
              <a:ext uri="{FF2B5EF4-FFF2-40B4-BE49-F238E27FC236}">
                <a16:creationId xmlns:a16="http://schemas.microsoft.com/office/drawing/2014/main" id="{938AC5D2-E56F-4C73-8A5B-08D9D36EF6C9}"/>
              </a:ext>
            </a:extLst>
          </p:cNvPr>
          <p:cNvSpPr txBox="1"/>
          <p:nvPr/>
        </p:nvSpPr>
        <p:spPr>
          <a:xfrm>
            <a:off x="254298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ind</a:t>
            </a:r>
          </a:p>
        </p:txBody>
      </p:sp>
      <p:sp>
        <p:nvSpPr>
          <p:cNvPr id="10" name="TextBox 9">
            <a:extLst>
              <a:ext uri="{FF2B5EF4-FFF2-40B4-BE49-F238E27FC236}">
                <a16:creationId xmlns:a16="http://schemas.microsoft.com/office/drawing/2014/main" id="{8FA015FE-2E8A-4DDE-B18F-5AACACA8FADF}"/>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ildfire</a:t>
            </a:r>
          </a:p>
        </p:txBody>
      </p:sp>
      <p:sp>
        <p:nvSpPr>
          <p:cNvPr id="12" name="TextBox 11">
            <a:extLst>
              <a:ext uri="{FF2B5EF4-FFF2-40B4-BE49-F238E27FC236}">
                <a16:creationId xmlns:a16="http://schemas.microsoft.com/office/drawing/2014/main" id="{628EF056-CBFB-468A-8DEA-1F8AC93ED029}"/>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Umbrella</a:t>
            </a:r>
          </a:p>
        </p:txBody>
      </p:sp>
      <p:sp>
        <p:nvSpPr>
          <p:cNvPr id="14" name="TextBox 13">
            <a:extLst>
              <a:ext uri="{FF2B5EF4-FFF2-40B4-BE49-F238E27FC236}">
                <a16:creationId xmlns:a16="http://schemas.microsoft.com/office/drawing/2014/main" id="{14172BD3-E9E1-4170-B53B-BE76591EF7B3}"/>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ater</a:t>
            </a:r>
          </a:p>
        </p:txBody>
      </p:sp>
      <p:sp>
        <p:nvSpPr>
          <p:cNvPr id="16" name="TextBox 15">
            <a:extLst>
              <a:ext uri="{FF2B5EF4-FFF2-40B4-BE49-F238E27FC236}">
                <a16:creationId xmlns:a16="http://schemas.microsoft.com/office/drawing/2014/main" id="{85CBC89A-1147-43FC-9D0B-2A455612C4CF}"/>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loud</a:t>
            </a:r>
          </a:p>
        </p:txBody>
      </p:sp>
      <p:sp>
        <p:nvSpPr>
          <p:cNvPr id="18" name="TextBox 17">
            <a:extLst>
              <a:ext uri="{FF2B5EF4-FFF2-40B4-BE49-F238E27FC236}">
                <a16:creationId xmlns:a16="http://schemas.microsoft.com/office/drawing/2014/main" id="{6E2568CC-2602-4C5C-B5FD-A6D7F2540456}"/>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Light rain</a:t>
            </a:r>
          </a:p>
        </p:txBody>
      </p:sp>
      <p:sp>
        <p:nvSpPr>
          <p:cNvPr id="20" name="TextBox 19">
            <a:extLst>
              <a:ext uri="{FF2B5EF4-FFF2-40B4-BE49-F238E27FC236}">
                <a16:creationId xmlns:a16="http://schemas.microsoft.com/office/drawing/2014/main" id="{0C7F7C7C-292E-4F68-B482-748D24FBE2B1}"/>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ornado</a:t>
            </a:r>
          </a:p>
        </p:txBody>
      </p:sp>
      <p:sp>
        <p:nvSpPr>
          <p:cNvPr id="22" name="TextBox 21">
            <a:extLst>
              <a:ext uri="{FF2B5EF4-FFF2-40B4-BE49-F238E27FC236}">
                <a16:creationId xmlns:a16="http://schemas.microsoft.com/office/drawing/2014/main" id="{990E23C1-778B-48AE-A135-156BDCEFF107}"/>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ain</a:t>
            </a:r>
          </a:p>
        </p:txBody>
      </p:sp>
      <p:sp>
        <p:nvSpPr>
          <p:cNvPr id="24" name="TextBox 23">
            <a:extLst>
              <a:ext uri="{FF2B5EF4-FFF2-40B4-BE49-F238E27FC236}">
                <a16:creationId xmlns:a16="http://schemas.microsoft.com/office/drawing/2014/main" id="{89BF3864-EE75-4601-A395-3A427ED36B2F}"/>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ind cone</a:t>
            </a:r>
          </a:p>
        </p:txBody>
      </p:sp>
      <p:sp>
        <p:nvSpPr>
          <p:cNvPr id="26" name="TextBox 25">
            <a:extLst>
              <a:ext uri="{FF2B5EF4-FFF2-40B4-BE49-F238E27FC236}">
                <a16:creationId xmlns:a16="http://schemas.microsoft.com/office/drawing/2014/main" id="{5F1DE6F6-C6D8-4FD0-BA1C-190F26A22E66}"/>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Heavy rain</a:t>
            </a:r>
          </a:p>
        </p:txBody>
      </p:sp>
      <p:sp>
        <p:nvSpPr>
          <p:cNvPr id="28" name="TextBox 27">
            <a:extLst>
              <a:ext uri="{FF2B5EF4-FFF2-40B4-BE49-F238E27FC236}">
                <a16:creationId xmlns:a16="http://schemas.microsoft.com/office/drawing/2014/main" id="{53C52C91-E5C5-40C6-8252-03620392D29E}"/>
              </a:ext>
            </a:extLst>
          </p:cNvPr>
          <p:cNvSpPr txBox="1"/>
          <p:nvPr/>
        </p:nvSpPr>
        <p:spPr>
          <a:xfrm>
            <a:off x="3588420"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Snowflake</a:t>
            </a:r>
          </a:p>
          <a:p>
            <a:pPr algn="ctr"/>
            <a:r>
              <a:rPr lang="en-GB" sz="700" dirty="0">
                <a:solidFill>
                  <a:schemeClr val="tx2"/>
                </a:solidFill>
              </a:rPr>
              <a:t>Ice crystal</a:t>
            </a:r>
          </a:p>
        </p:txBody>
      </p:sp>
      <p:sp>
        <p:nvSpPr>
          <p:cNvPr id="30" name="TextBox 29">
            <a:extLst>
              <a:ext uri="{FF2B5EF4-FFF2-40B4-BE49-F238E27FC236}">
                <a16:creationId xmlns:a16="http://schemas.microsoft.com/office/drawing/2014/main" id="{46F6C1AC-2258-4C5E-BCA6-0F4C0E6C7E43}"/>
              </a:ext>
            </a:extLst>
          </p:cNvPr>
          <p:cNvSpPr txBox="1"/>
          <p:nvPr/>
        </p:nvSpPr>
        <p:spPr>
          <a:xfrm>
            <a:off x="2542987"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Thermometer</a:t>
            </a:r>
          </a:p>
          <a:p>
            <a:pPr algn="ctr"/>
            <a:r>
              <a:rPr lang="en-GB" sz="700" dirty="0">
                <a:solidFill>
                  <a:schemeClr val="tx2"/>
                </a:solidFill>
              </a:rPr>
              <a:t>Temperature</a:t>
            </a:r>
          </a:p>
        </p:txBody>
      </p:sp>
      <p:sp>
        <p:nvSpPr>
          <p:cNvPr id="32" name="TextBox 31">
            <a:extLst>
              <a:ext uri="{FF2B5EF4-FFF2-40B4-BE49-F238E27FC236}">
                <a16:creationId xmlns:a16="http://schemas.microsoft.com/office/drawing/2014/main" id="{5468F0F5-DBD2-4F13-9BB1-B5B5EEEDAA27}"/>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Flood</a:t>
            </a:r>
          </a:p>
        </p:txBody>
      </p:sp>
      <p:sp>
        <p:nvSpPr>
          <p:cNvPr id="34" name="TextBox 33">
            <a:extLst>
              <a:ext uri="{FF2B5EF4-FFF2-40B4-BE49-F238E27FC236}">
                <a16:creationId xmlns:a16="http://schemas.microsoft.com/office/drawing/2014/main" id="{5AED8294-B05D-4977-A1E9-04BE9CF25A86}"/>
              </a:ext>
            </a:extLst>
          </p:cNvPr>
          <p:cNvSpPr txBox="1"/>
          <p:nvPr/>
        </p:nvSpPr>
        <p:spPr>
          <a:xfrm>
            <a:off x="3624932"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Night star</a:t>
            </a:r>
          </a:p>
        </p:txBody>
      </p:sp>
      <p:sp>
        <p:nvSpPr>
          <p:cNvPr id="36" name="TextBox 35">
            <a:extLst>
              <a:ext uri="{FF2B5EF4-FFF2-40B4-BE49-F238E27FC236}">
                <a16:creationId xmlns:a16="http://schemas.microsoft.com/office/drawing/2014/main" id="{982829FD-FF99-4475-9236-56535C7210B5}"/>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eathervane</a:t>
            </a:r>
          </a:p>
        </p:txBody>
      </p:sp>
      <p:sp>
        <p:nvSpPr>
          <p:cNvPr id="2" name="Freeform: Shape 1">
            <a:extLst>
              <a:ext uri="{FF2B5EF4-FFF2-40B4-BE49-F238E27FC236}">
                <a16:creationId xmlns:a16="http://schemas.microsoft.com/office/drawing/2014/main" id="{27D20455-FE0A-4C6C-BA0F-4E3DA2F226BE}"/>
              </a:ext>
            </a:extLst>
          </p:cNvPr>
          <p:cNvSpPr/>
          <p:nvPr/>
        </p:nvSpPr>
        <p:spPr>
          <a:xfrm>
            <a:off x="603061" y="1610688"/>
            <a:ext cx="381979" cy="382592"/>
          </a:xfrm>
          <a:custGeom>
            <a:avLst/>
            <a:gdLst>
              <a:gd name="connsiteX0" fmla="*/ 190544 w 381979"/>
              <a:gd name="connsiteY0" fmla="*/ 95425 h 382592"/>
              <a:gd name="connsiteX1" fmla="*/ 95272 w 381979"/>
              <a:gd name="connsiteY1" fmla="*/ 190851 h 382592"/>
              <a:gd name="connsiteX2" fmla="*/ 190544 w 381979"/>
              <a:gd name="connsiteY2" fmla="*/ 286239 h 382592"/>
              <a:gd name="connsiteX3" fmla="*/ 285779 w 381979"/>
              <a:gd name="connsiteY3" fmla="*/ 190851 h 382592"/>
              <a:gd name="connsiteX4" fmla="*/ 190544 w 381979"/>
              <a:gd name="connsiteY4" fmla="*/ 95425 h 382592"/>
              <a:gd name="connsiteX5" fmla="*/ 190544 w 381979"/>
              <a:gd name="connsiteY5" fmla="*/ 272872 h 382592"/>
              <a:gd name="connsiteX6" fmla="*/ 108601 w 381979"/>
              <a:gd name="connsiteY6" fmla="*/ 190851 h 382592"/>
              <a:gd name="connsiteX7" fmla="*/ 190544 w 381979"/>
              <a:gd name="connsiteY7" fmla="*/ 108792 h 382592"/>
              <a:gd name="connsiteX8" fmla="*/ 272450 w 381979"/>
              <a:gd name="connsiteY8" fmla="*/ 190851 h 382592"/>
              <a:gd name="connsiteX9" fmla="*/ 190544 w 381979"/>
              <a:gd name="connsiteY9" fmla="*/ 272872 h 382592"/>
              <a:gd name="connsiteX10" fmla="*/ 190544 w 381979"/>
              <a:gd name="connsiteY10" fmla="*/ 68729 h 382592"/>
              <a:gd name="connsiteX11" fmla="*/ 197190 w 381979"/>
              <a:gd name="connsiteY11" fmla="*/ 61080 h 382592"/>
              <a:gd name="connsiteX12" fmla="*/ 197190 w 381979"/>
              <a:gd name="connsiteY12" fmla="*/ 6683 h 382592"/>
              <a:gd name="connsiteX13" fmla="*/ 190544 w 381979"/>
              <a:gd name="connsiteY13" fmla="*/ 0 h 382592"/>
              <a:gd name="connsiteX14" fmla="*/ 183861 w 381979"/>
              <a:gd name="connsiteY14" fmla="*/ 6683 h 382592"/>
              <a:gd name="connsiteX15" fmla="*/ 183861 w 381979"/>
              <a:gd name="connsiteY15" fmla="*/ 61080 h 382592"/>
              <a:gd name="connsiteX16" fmla="*/ 190544 w 381979"/>
              <a:gd name="connsiteY16" fmla="*/ 68729 h 382592"/>
              <a:gd name="connsiteX17" fmla="*/ 190544 w 381979"/>
              <a:gd name="connsiteY17" fmla="*/ 313901 h 382592"/>
              <a:gd name="connsiteX18" fmla="*/ 183861 w 381979"/>
              <a:gd name="connsiteY18" fmla="*/ 320585 h 382592"/>
              <a:gd name="connsiteX19" fmla="*/ 183861 w 381979"/>
              <a:gd name="connsiteY19" fmla="*/ 374981 h 382592"/>
              <a:gd name="connsiteX20" fmla="*/ 190544 w 381979"/>
              <a:gd name="connsiteY20" fmla="*/ 382593 h 382592"/>
              <a:gd name="connsiteX21" fmla="*/ 197190 w 381979"/>
              <a:gd name="connsiteY21" fmla="*/ 374981 h 382592"/>
              <a:gd name="connsiteX22" fmla="*/ 197190 w 381979"/>
              <a:gd name="connsiteY22" fmla="*/ 320585 h 382592"/>
              <a:gd name="connsiteX23" fmla="*/ 190544 w 381979"/>
              <a:gd name="connsiteY23" fmla="*/ 313901 h 382592"/>
              <a:gd name="connsiteX24" fmla="*/ 94307 w 381979"/>
              <a:gd name="connsiteY24" fmla="*/ 104003 h 382592"/>
              <a:gd name="connsiteX25" fmla="*/ 99096 w 381979"/>
              <a:gd name="connsiteY25" fmla="*/ 105933 h 382592"/>
              <a:gd name="connsiteX26" fmla="*/ 103849 w 381979"/>
              <a:gd name="connsiteY26" fmla="*/ 104003 h 382592"/>
              <a:gd name="connsiteX27" fmla="*/ 103849 w 381979"/>
              <a:gd name="connsiteY27" fmla="*/ 94460 h 382592"/>
              <a:gd name="connsiteX28" fmla="*/ 65755 w 381979"/>
              <a:gd name="connsiteY28" fmla="*/ 56327 h 382592"/>
              <a:gd name="connsiteX29" fmla="*/ 56213 w 381979"/>
              <a:gd name="connsiteY29" fmla="*/ 56327 h 382592"/>
              <a:gd name="connsiteX30" fmla="*/ 56213 w 381979"/>
              <a:gd name="connsiteY30" fmla="*/ 65832 h 382592"/>
              <a:gd name="connsiteX31" fmla="*/ 286744 w 381979"/>
              <a:gd name="connsiteY31" fmla="*/ 277662 h 382592"/>
              <a:gd name="connsiteX32" fmla="*/ 277202 w 381979"/>
              <a:gd name="connsiteY32" fmla="*/ 277662 h 382592"/>
              <a:gd name="connsiteX33" fmla="*/ 277202 w 381979"/>
              <a:gd name="connsiteY33" fmla="*/ 287205 h 382592"/>
              <a:gd name="connsiteX34" fmla="*/ 316262 w 381979"/>
              <a:gd name="connsiteY34" fmla="*/ 326303 h 382592"/>
              <a:gd name="connsiteX35" fmla="*/ 321014 w 381979"/>
              <a:gd name="connsiteY35" fmla="*/ 328234 h 382592"/>
              <a:gd name="connsiteX36" fmla="*/ 325804 w 381979"/>
              <a:gd name="connsiteY36" fmla="*/ 326303 h 382592"/>
              <a:gd name="connsiteX37" fmla="*/ 325804 w 381979"/>
              <a:gd name="connsiteY37" fmla="*/ 316761 h 382592"/>
              <a:gd name="connsiteX38" fmla="*/ 68614 w 381979"/>
              <a:gd name="connsiteY38" fmla="*/ 190851 h 382592"/>
              <a:gd name="connsiteX39" fmla="*/ 60965 w 381979"/>
              <a:gd name="connsiteY39" fmla="*/ 184167 h 382592"/>
              <a:gd name="connsiteX40" fmla="*/ 6683 w 381979"/>
              <a:gd name="connsiteY40" fmla="*/ 184167 h 382592"/>
              <a:gd name="connsiteX41" fmla="*/ 0 w 381979"/>
              <a:gd name="connsiteY41" fmla="*/ 190851 h 382592"/>
              <a:gd name="connsiteX42" fmla="*/ 6683 w 381979"/>
              <a:gd name="connsiteY42" fmla="*/ 197497 h 382592"/>
              <a:gd name="connsiteX43" fmla="*/ 60965 w 381979"/>
              <a:gd name="connsiteY43" fmla="*/ 197497 h 382592"/>
              <a:gd name="connsiteX44" fmla="*/ 68614 w 381979"/>
              <a:gd name="connsiteY44" fmla="*/ 190851 h 382592"/>
              <a:gd name="connsiteX45" fmla="*/ 374368 w 381979"/>
              <a:gd name="connsiteY45" fmla="*/ 184167 h 382592"/>
              <a:gd name="connsiteX46" fmla="*/ 320086 w 381979"/>
              <a:gd name="connsiteY46" fmla="*/ 184167 h 382592"/>
              <a:gd name="connsiteX47" fmla="*/ 313403 w 381979"/>
              <a:gd name="connsiteY47" fmla="*/ 190851 h 382592"/>
              <a:gd name="connsiteX48" fmla="*/ 320086 w 381979"/>
              <a:gd name="connsiteY48" fmla="*/ 197497 h 382592"/>
              <a:gd name="connsiteX49" fmla="*/ 374368 w 381979"/>
              <a:gd name="connsiteY49" fmla="*/ 197497 h 382592"/>
              <a:gd name="connsiteX50" fmla="*/ 381979 w 381979"/>
              <a:gd name="connsiteY50" fmla="*/ 190851 h 382592"/>
              <a:gd name="connsiteX51" fmla="*/ 374368 w 381979"/>
              <a:gd name="connsiteY51" fmla="*/ 184167 h 382592"/>
              <a:gd name="connsiteX52" fmla="*/ 94307 w 381979"/>
              <a:gd name="connsiteY52" fmla="*/ 277662 h 382592"/>
              <a:gd name="connsiteX53" fmla="*/ 56213 w 381979"/>
              <a:gd name="connsiteY53" fmla="*/ 316761 h 382592"/>
              <a:gd name="connsiteX54" fmla="*/ 56213 w 381979"/>
              <a:gd name="connsiteY54" fmla="*/ 326303 h 382592"/>
              <a:gd name="connsiteX55" fmla="*/ 60965 w 381979"/>
              <a:gd name="connsiteY55" fmla="*/ 328234 h 382592"/>
              <a:gd name="connsiteX56" fmla="*/ 65755 w 381979"/>
              <a:gd name="connsiteY56" fmla="*/ 326303 h 382592"/>
              <a:gd name="connsiteX57" fmla="*/ 103849 w 381979"/>
              <a:gd name="connsiteY57" fmla="*/ 287205 h 382592"/>
              <a:gd name="connsiteX58" fmla="*/ 103849 w 381979"/>
              <a:gd name="connsiteY58" fmla="*/ 277662 h 382592"/>
              <a:gd name="connsiteX59" fmla="*/ 94307 w 381979"/>
              <a:gd name="connsiteY59" fmla="*/ 277662 h 382592"/>
              <a:gd name="connsiteX60" fmla="*/ 281992 w 381979"/>
              <a:gd name="connsiteY60" fmla="*/ 105933 h 382592"/>
              <a:gd name="connsiteX61" fmla="*/ 286744 w 381979"/>
              <a:gd name="connsiteY61" fmla="*/ 104003 h 382592"/>
              <a:gd name="connsiteX62" fmla="*/ 325804 w 381979"/>
              <a:gd name="connsiteY62" fmla="*/ 65832 h 382592"/>
              <a:gd name="connsiteX63" fmla="*/ 325804 w 381979"/>
              <a:gd name="connsiteY63" fmla="*/ 56327 h 382592"/>
              <a:gd name="connsiteX64" fmla="*/ 316262 w 381979"/>
              <a:gd name="connsiteY64" fmla="*/ 56327 h 382592"/>
              <a:gd name="connsiteX65" fmla="*/ 277202 w 381979"/>
              <a:gd name="connsiteY65" fmla="*/ 94460 h 382592"/>
              <a:gd name="connsiteX66" fmla="*/ 277202 w 381979"/>
              <a:gd name="connsiteY66" fmla="*/ 104003 h 382592"/>
              <a:gd name="connsiteX67" fmla="*/ 281992 w 381979"/>
              <a:gd name="connsiteY67" fmla="*/ 105933 h 382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81979" h="382592">
                <a:moveTo>
                  <a:pt x="190544" y="95425"/>
                </a:moveTo>
                <a:cubicBezTo>
                  <a:pt x="138156" y="95425"/>
                  <a:pt x="95272" y="138348"/>
                  <a:pt x="95272" y="190851"/>
                </a:cubicBezTo>
                <a:cubicBezTo>
                  <a:pt x="95272" y="244282"/>
                  <a:pt x="138156" y="286239"/>
                  <a:pt x="190544" y="286239"/>
                </a:cubicBezTo>
                <a:cubicBezTo>
                  <a:pt x="243861" y="286239"/>
                  <a:pt x="285779" y="244282"/>
                  <a:pt x="285779" y="190851"/>
                </a:cubicBezTo>
                <a:cubicBezTo>
                  <a:pt x="285779" y="138348"/>
                  <a:pt x="243861" y="95425"/>
                  <a:pt x="190544" y="95425"/>
                </a:cubicBezTo>
                <a:close/>
                <a:moveTo>
                  <a:pt x="190544" y="272872"/>
                </a:moveTo>
                <a:cubicBezTo>
                  <a:pt x="145767" y="272872"/>
                  <a:pt x="109567" y="236633"/>
                  <a:pt x="108601" y="190851"/>
                </a:cubicBezTo>
                <a:cubicBezTo>
                  <a:pt x="109567" y="145997"/>
                  <a:pt x="145767" y="109721"/>
                  <a:pt x="190544" y="108792"/>
                </a:cubicBezTo>
                <a:cubicBezTo>
                  <a:pt x="236249" y="109721"/>
                  <a:pt x="272450" y="145997"/>
                  <a:pt x="272450" y="190851"/>
                </a:cubicBezTo>
                <a:cubicBezTo>
                  <a:pt x="272450" y="236633"/>
                  <a:pt x="236249" y="272872"/>
                  <a:pt x="190544" y="272872"/>
                </a:cubicBezTo>
                <a:close/>
                <a:moveTo>
                  <a:pt x="190544" y="68729"/>
                </a:moveTo>
                <a:cubicBezTo>
                  <a:pt x="194331" y="68729"/>
                  <a:pt x="197190" y="64904"/>
                  <a:pt x="197190" y="61080"/>
                </a:cubicBezTo>
                <a:cubicBezTo>
                  <a:pt x="197190" y="6683"/>
                  <a:pt x="197190" y="6683"/>
                  <a:pt x="197190" y="6683"/>
                </a:cubicBezTo>
                <a:cubicBezTo>
                  <a:pt x="197190" y="2896"/>
                  <a:pt x="194331" y="0"/>
                  <a:pt x="190544" y="0"/>
                </a:cubicBezTo>
                <a:cubicBezTo>
                  <a:pt x="186720" y="0"/>
                  <a:pt x="183861" y="2896"/>
                  <a:pt x="183861" y="6683"/>
                </a:cubicBezTo>
                <a:cubicBezTo>
                  <a:pt x="183861" y="61080"/>
                  <a:pt x="183861" y="61080"/>
                  <a:pt x="183861" y="61080"/>
                </a:cubicBezTo>
                <a:cubicBezTo>
                  <a:pt x="183861" y="64904"/>
                  <a:pt x="186720" y="68729"/>
                  <a:pt x="190544" y="68729"/>
                </a:cubicBezTo>
                <a:close/>
                <a:moveTo>
                  <a:pt x="190544" y="313901"/>
                </a:moveTo>
                <a:cubicBezTo>
                  <a:pt x="186720" y="313901"/>
                  <a:pt x="183861" y="316761"/>
                  <a:pt x="183861" y="320585"/>
                </a:cubicBezTo>
                <a:cubicBezTo>
                  <a:pt x="183861" y="374981"/>
                  <a:pt x="183861" y="374981"/>
                  <a:pt x="183861" y="374981"/>
                </a:cubicBezTo>
                <a:cubicBezTo>
                  <a:pt x="183861" y="378806"/>
                  <a:pt x="186720" y="382593"/>
                  <a:pt x="190544" y="382593"/>
                </a:cubicBezTo>
                <a:cubicBezTo>
                  <a:pt x="194331" y="382593"/>
                  <a:pt x="197190" y="378806"/>
                  <a:pt x="197190" y="374981"/>
                </a:cubicBezTo>
                <a:cubicBezTo>
                  <a:pt x="197190" y="320585"/>
                  <a:pt x="197190" y="320585"/>
                  <a:pt x="197190" y="320585"/>
                </a:cubicBezTo>
                <a:cubicBezTo>
                  <a:pt x="197190" y="316761"/>
                  <a:pt x="194331" y="313901"/>
                  <a:pt x="190544" y="313901"/>
                </a:cubicBezTo>
                <a:close/>
                <a:moveTo>
                  <a:pt x="94307" y="104003"/>
                </a:moveTo>
                <a:cubicBezTo>
                  <a:pt x="96237" y="105933"/>
                  <a:pt x="97166" y="105933"/>
                  <a:pt x="99096" y="105933"/>
                </a:cubicBezTo>
                <a:cubicBezTo>
                  <a:pt x="100990" y="105933"/>
                  <a:pt x="102883" y="105933"/>
                  <a:pt x="103849" y="104003"/>
                </a:cubicBezTo>
                <a:cubicBezTo>
                  <a:pt x="106708" y="101144"/>
                  <a:pt x="106708" y="97319"/>
                  <a:pt x="103849" y="94460"/>
                </a:cubicBezTo>
                <a:cubicBezTo>
                  <a:pt x="65755" y="56327"/>
                  <a:pt x="65755" y="56327"/>
                  <a:pt x="65755" y="56327"/>
                </a:cubicBezTo>
                <a:cubicBezTo>
                  <a:pt x="62896" y="53431"/>
                  <a:pt x="58106" y="53431"/>
                  <a:pt x="56213" y="56327"/>
                </a:cubicBezTo>
                <a:cubicBezTo>
                  <a:pt x="53354" y="58221"/>
                  <a:pt x="53354" y="62973"/>
                  <a:pt x="56213" y="65832"/>
                </a:cubicBezTo>
                <a:close/>
                <a:moveTo>
                  <a:pt x="286744" y="277662"/>
                </a:moveTo>
                <a:cubicBezTo>
                  <a:pt x="284851" y="275768"/>
                  <a:pt x="280061" y="275768"/>
                  <a:pt x="277202" y="277662"/>
                </a:cubicBezTo>
                <a:cubicBezTo>
                  <a:pt x="275309" y="280521"/>
                  <a:pt x="275309" y="285311"/>
                  <a:pt x="277202" y="287205"/>
                </a:cubicBezTo>
                <a:cubicBezTo>
                  <a:pt x="316262" y="326303"/>
                  <a:pt x="316262" y="326303"/>
                  <a:pt x="316262" y="326303"/>
                </a:cubicBezTo>
                <a:cubicBezTo>
                  <a:pt x="317227" y="327269"/>
                  <a:pt x="319121" y="328234"/>
                  <a:pt x="321014" y="328234"/>
                </a:cubicBezTo>
                <a:cubicBezTo>
                  <a:pt x="322945" y="328234"/>
                  <a:pt x="324838" y="327268"/>
                  <a:pt x="325804" y="326303"/>
                </a:cubicBezTo>
                <a:cubicBezTo>
                  <a:pt x="328663" y="323444"/>
                  <a:pt x="328663" y="319657"/>
                  <a:pt x="325804" y="316761"/>
                </a:cubicBezTo>
                <a:close/>
                <a:moveTo>
                  <a:pt x="68614" y="190851"/>
                </a:moveTo>
                <a:cubicBezTo>
                  <a:pt x="68614" y="187026"/>
                  <a:pt x="64789" y="184167"/>
                  <a:pt x="60965" y="184167"/>
                </a:cubicBezTo>
                <a:cubicBezTo>
                  <a:pt x="6683" y="184167"/>
                  <a:pt x="6683" y="184167"/>
                  <a:pt x="6683" y="184167"/>
                </a:cubicBezTo>
                <a:cubicBezTo>
                  <a:pt x="2859" y="184167"/>
                  <a:pt x="0" y="187026"/>
                  <a:pt x="0" y="190851"/>
                </a:cubicBezTo>
                <a:cubicBezTo>
                  <a:pt x="0" y="194638"/>
                  <a:pt x="2859" y="197497"/>
                  <a:pt x="6683" y="197497"/>
                </a:cubicBezTo>
                <a:cubicBezTo>
                  <a:pt x="60965" y="197497"/>
                  <a:pt x="60965" y="197497"/>
                  <a:pt x="60965" y="197497"/>
                </a:cubicBezTo>
                <a:cubicBezTo>
                  <a:pt x="64789" y="197497"/>
                  <a:pt x="68614" y="194638"/>
                  <a:pt x="68614" y="190851"/>
                </a:cubicBezTo>
                <a:close/>
                <a:moveTo>
                  <a:pt x="374368" y="184167"/>
                </a:moveTo>
                <a:cubicBezTo>
                  <a:pt x="320086" y="184167"/>
                  <a:pt x="320086" y="184167"/>
                  <a:pt x="320086" y="184167"/>
                </a:cubicBezTo>
                <a:cubicBezTo>
                  <a:pt x="316262" y="184167"/>
                  <a:pt x="313403" y="187026"/>
                  <a:pt x="313403" y="190851"/>
                </a:cubicBezTo>
                <a:cubicBezTo>
                  <a:pt x="313403" y="194638"/>
                  <a:pt x="316262" y="197497"/>
                  <a:pt x="320086" y="197497"/>
                </a:cubicBezTo>
                <a:cubicBezTo>
                  <a:pt x="374368" y="197497"/>
                  <a:pt x="374368" y="197497"/>
                  <a:pt x="374368" y="197497"/>
                </a:cubicBezTo>
                <a:cubicBezTo>
                  <a:pt x="378192" y="197497"/>
                  <a:pt x="381979" y="194638"/>
                  <a:pt x="381979" y="190851"/>
                </a:cubicBezTo>
                <a:cubicBezTo>
                  <a:pt x="381979" y="187026"/>
                  <a:pt x="378192" y="184167"/>
                  <a:pt x="374368" y="184167"/>
                </a:cubicBezTo>
                <a:close/>
                <a:moveTo>
                  <a:pt x="94307" y="277662"/>
                </a:moveTo>
                <a:cubicBezTo>
                  <a:pt x="56213" y="316761"/>
                  <a:pt x="56213" y="316761"/>
                  <a:pt x="56213" y="316761"/>
                </a:cubicBezTo>
                <a:cubicBezTo>
                  <a:pt x="53354" y="319657"/>
                  <a:pt x="53354" y="323444"/>
                  <a:pt x="56213" y="326303"/>
                </a:cubicBezTo>
                <a:cubicBezTo>
                  <a:pt x="57178" y="327269"/>
                  <a:pt x="59072" y="328234"/>
                  <a:pt x="60965" y="328234"/>
                </a:cubicBezTo>
                <a:cubicBezTo>
                  <a:pt x="62896" y="328234"/>
                  <a:pt x="63824" y="327268"/>
                  <a:pt x="65755" y="326303"/>
                </a:cubicBezTo>
                <a:cubicBezTo>
                  <a:pt x="103849" y="287205"/>
                  <a:pt x="103849" y="287205"/>
                  <a:pt x="103849" y="287205"/>
                </a:cubicBezTo>
                <a:cubicBezTo>
                  <a:pt x="106708" y="285311"/>
                  <a:pt x="106708" y="280521"/>
                  <a:pt x="103849" y="277662"/>
                </a:cubicBezTo>
                <a:cubicBezTo>
                  <a:pt x="100990" y="275768"/>
                  <a:pt x="97166" y="275768"/>
                  <a:pt x="94307" y="277662"/>
                </a:cubicBezTo>
                <a:close/>
                <a:moveTo>
                  <a:pt x="281992" y="105933"/>
                </a:moveTo>
                <a:cubicBezTo>
                  <a:pt x="283886" y="105933"/>
                  <a:pt x="285779" y="105933"/>
                  <a:pt x="286744" y="104003"/>
                </a:cubicBezTo>
                <a:cubicBezTo>
                  <a:pt x="325804" y="65832"/>
                  <a:pt x="325804" y="65832"/>
                  <a:pt x="325804" y="65832"/>
                </a:cubicBezTo>
                <a:cubicBezTo>
                  <a:pt x="328663" y="62973"/>
                  <a:pt x="328663" y="58221"/>
                  <a:pt x="325804" y="56327"/>
                </a:cubicBezTo>
                <a:cubicBezTo>
                  <a:pt x="322945" y="53431"/>
                  <a:pt x="319121" y="53431"/>
                  <a:pt x="316262" y="56327"/>
                </a:cubicBezTo>
                <a:cubicBezTo>
                  <a:pt x="277202" y="94460"/>
                  <a:pt x="277202" y="94460"/>
                  <a:pt x="277202" y="94460"/>
                </a:cubicBezTo>
                <a:cubicBezTo>
                  <a:pt x="275309" y="97319"/>
                  <a:pt x="275309" y="101144"/>
                  <a:pt x="277202" y="104003"/>
                </a:cubicBezTo>
                <a:cubicBezTo>
                  <a:pt x="279133" y="105933"/>
                  <a:pt x="281027" y="105933"/>
                  <a:pt x="281992" y="105933"/>
                </a:cubicBezTo>
                <a:close/>
              </a:path>
            </a:pathLst>
          </a:custGeom>
          <a:solidFill>
            <a:schemeClr val="tx2"/>
          </a:solidFill>
          <a:ln w="3705" cap="flat">
            <a:noFill/>
            <a:prstDash val="solid"/>
            <a:miter/>
          </a:ln>
        </p:spPr>
        <p:txBody>
          <a:bodyPr rtlCol="0" anchor="ctr"/>
          <a:lstStyle/>
          <a:p>
            <a:endParaRPr lang="en-GB" dirty="0"/>
          </a:p>
        </p:txBody>
      </p:sp>
      <p:sp>
        <p:nvSpPr>
          <p:cNvPr id="5" name="Freeform: Shape 4">
            <a:extLst>
              <a:ext uri="{FF2B5EF4-FFF2-40B4-BE49-F238E27FC236}">
                <a16:creationId xmlns:a16="http://schemas.microsoft.com/office/drawing/2014/main" id="{CDD7EE2B-A3B2-4E23-9086-BD07E28ADB04}"/>
              </a:ext>
            </a:extLst>
          </p:cNvPr>
          <p:cNvSpPr/>
          <p:nvPr/>
        </p:nvSpPr>
        <p:spPr>
          <a:xfrm>
            <a:off x="2707592" y="1651977"/>
            <a:ext cx="354652" cy="300014"/>
          </a:xfrm>
          <a:custGeom>
            <a:avLst/>
            <a:gdLst>
              <a:gd name="connsiteX0" fmla="*/ 307054 w 354652"/>
              <a:gd name="connsiteY0" fmla="*/ 81910 h 300014"/>
              <a:gd name="connsiteX1" fmla="*/ 300371 w 354652"/>
              <a:gd name="connsiteY1" fmla="*/ 88593 h 300014"/>
              <a:gd name="connsiteX2" fmla="*/ 307054 w 354652"/>
              <a:gd name="connsiteY2" fmla="*/ 95277 h 300014"/>
              <a:gd name="connsiteX3" fmla="*/ 341361 w 354652"/>
              <a:gd name="connsiteY3" fmla="*/ 129586 h 300014"/>
              <a:gd name="connsiteX4" fmla="*/ 307054 w 354652"/>
              <a:gd name="connsiteY4" fmla="*/ 163820 h 300014"/>
              <a:gd name="connsiteX5" fmla="*/ 75371 w 354652"/>
              <a:gd name="connsiteY5" fmla="*/ 163820 h 300014"/>
              <a:gd name="connsiteX6" fmla="*/ 68688 w 354652"/>
              <a:gd name="connsiteY6" fmla="*/ 170503 h 300014"/>
              <a:gd name="connsiteX7" fmla="*/ 75371 w 354652"/>
              <a:gd name="connsiteY7" fmla="*/ 177187 h 300014"/>
              <a:gd name="connsiteX8" fmla="*/ 307054 w 354652"/>
              <a:gd name="connsiteY8" fmla="*/ 177187 h 300014"/>
              <a:gd name="connsiteX9" fmla="*/ 354653 w 354652"/>
              <a:gd name="connsiteY9" fmla="*/ 129586 h 300014"/>
              <a:gd name="connsiteX10" fmla="*/ 307054 w 354652"/>
              <a:gd name="connsiteY10" fmla="*/ 81910 h 300014"/>
              <a:gd name="connsiteX11" fmla="*/ 34381 w 354652"/>
              <a:gd name="connsiteY11" fmla="*/ 136269 h 300014"/>
              <a:gd name="connsiteX12" fmla="*/ 211708 w 354652"/>
              <a:gd name="connsiteY12" fmla="*/ 136269 h 300014"/>
              <a:gd name="connsiteX13" fmla="*/ 279356 w 354652"/>
              <a:gd name="connsiteY13" fmla="*/ 67652 h 300014"/>
              <a:gd name="connsiteX14" fmla="*/ 211708 w 354652"/>
              <a:gd name="connsiteY14" fmla="*/ 0 h 300014"/>
              <a:gd name="connsiteX15" fmla="*/ 143020 w 354652"/>
              <a:gd name="connsiteY15" fmla="*/ 67652 h 300014"/>
              <a:gd name="connsiteX16" fmla="*/ 149703 w 354652"/>
              <a:gd name="connsiteY16" fmla="*/ 75301 h 300014"/>
              <a:gd name="connsiteX17" fmla="*/ 157351 w 354652"/>
              <a:gd name="connsiteY17" fmla="*/ 67652 h 300014"/>
              <a:gd name="connsiteX18" fmla="*/ 211708 w 354652"/>
              <a:gd name="connsiteY18" fmla="*/ 13367 h 300014"/>
              <a:gd name="connsiteX19" fmla="*/ 265990 w 354652"/>
              <a:gd name="connsiteY19" fmla="*/ 67652 h 300014"/>
              <a:gd name="connsiteX20" fmla="*/ 211708 w 354652"/>
              <a:gd name="connsiteY20" fmla="*/ 122902 h 300014"/>
              <a:gd name="connsiteX21" fmla="*/ 34381 w 354652"/>
              <a:gd name="connsiteY21" fmla="*/ 122902 h 300014"/>
              <a:gd name="connsiteX22" fmla="*/ 27698 w 354652"/>
              <a:gd name="connsiteY22" fmla="*/ 129586 h 300014"/>
              <a:gd name="connsiteX23" fmla="*/ 34381 w 354652"/>
              <a:gd name="connsiteY23" fmla="*/ 136269 h 300014"/>
              <a:gd name="connsiteX24" fmla="*/ 252698 w 354652"/>
              <a:gd name="connsiteY24" fmla="*/ 204812 h 300014"/>
              <a:gd name="connsiteX25" fmla="*/ 6683 w 354652"/>
              <a:gd name="connsiteY25" fmla="*/ 204812 h 300014"/>
              <a:gd name="connsiteX26" fmla="*/ 0 w 354652"/>
              <a:gd name="connsiteY26" fmla="*/ 211495 h 300014"/>
              <a:gd name="connsiteX27" fmla="*/ 6683 w 354652"/>
              <a:gd name="connsiteY27" fmla="*/ 218105 h 300014"/>
              <a:gd name="connsiteX28" fmla="*/ 252698 w 354652"/>
              <a:gd name="connsiteY28" fmla="*/ 218105 h 300014"/>
              <a:gd name="connsiteX29" fmla="*/ 286039 w 354652"/>
              <a:gd name="connsiteY29" fmla="*/ 252413 h 300014"/>
              <a:gd name="connsiteX30" fmla="*/ 252698 w 354652"/>
              <a:gd name="connsiteY30" fmla="*/ 285757 h 300014"/>
              <a:gd name="connsiteX31" fmla="*/ 218391 w 354652"/>
              <a:gd name="connsiteY31" fmla="*/ 252413 h 300014"/>
              <a:gd name="connsiteX32" fmla="*/ 211708 w 354652"/>
              <a:gd name="connsiteY32" fmla="*/ 244839 h 300014"/>
              <a:gd name="connsiteX33" fmla="*/ 205024 w 354652"/>
              <a:gd name="connsiteY33" fmla="*/ 252413 h 300014"/>
              <a:gd name="connsiteX34" fmla="*/ 252698 w 354652"/>
              <a:gd name="connsiteY34" fmla="*/ 300015 h 300014"/>
              <a:gd name="connsiteX35" fmla="*/ 300371 w 354652"/>
              <a:gd name="connsiteY35" fmla="*/ 252413 h 300014"/>
              <a:gd name="connsiteX36" fmla="*/ 252698 w 354652"/>
              <a:gd name="connsiteY36" fmla="*/ 204812 h 30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4652" h="300014">
                <a:moveTo>
                  <a:pt x="307054" y="81910"/>
                </a:moveTo>
                <a:cubicBezTo>
                  <a:pt x="303193" y="81910"/>
                  <a:pt x="300371" y="84806"/>
                  <a:pt x="300371" y="88593"/>
                </a:cubicBezTo>
                <a:cubicBezTo>
                  <a:pt x="300371" y="92455"/>
                  <a:pt x="303193" y="95277"/>
                  <a:pt x="307054" y="95277"/>
                </a:cubicBezTo>
                <a:cubicBezTo>
                  <a:pt x="326064" y="95277"/>
                  <a:pt x="341361" y="110500"/>
                  <a:pt x="341361" y="129586"/>
                </a:cubicBezTo>
                <a:cubicBezTo>
                  <a:pt x="341361" y="148596"/>
                  <a:pt x="326064" y="163820"/>
                  <a:pt x="307054" y="163820"/>
                </a:cubicBezTo>
                <a:cubicBezTo>
                  <a:pt x="75371" y="163820"/>
                  <a:pt x="75371" y="163820"/>
                  <a:pt x="75371" y="163820"/>
                </a:cubicBezTo>
                <a:cubicBezTo>
                  <a:pt x="71510" y="163820"/>
                  <a:pt x="68688" y="166716"/>
                  <a:pt x="68688" y="170503"/>
                </a:cubicBezTo>
                <a:cubicBezTo>
                  <a:pt x="68688" y="174365"/>
                  <a:pt x="71510" y="177187"/>
                  <a:pt x="75371" y="177187"/>
                </a:cubicBezTo>
                <a:cubicBezTo>
                  <a:pt x="307054" y="177187"/>
                  <a:pt x="307054" y="177187"/>
                  <a:pt x="307054" y="177187"/>
                </a:cubicBezTo>
                <a:cubicBezTo>
                  <a:pt x="333712" y="177187"/>
                  <a:pt x="354653" y="155280"/>
                  <a:pt x="354653" y="129586"/>
                </a:cubicBezTo>
                <a:cubicBezTo>
                  <a:pt x="354653" y="102926"/>
                  <a:pt x="333712" y="81910"/>
                  <a:pt x="307054" y="81910"/>
                </a:cubicBezTo>
                <a:close/>
                <a:moveTo>
                  <a:pt x="34381" y="136269"/>
                </a:moveTo>
                <a:cubicBezTo>
                  <a:pt x="211708" y="136269"/>
                  <a:pt x="211708" y="136269"/>
                  <a:pt x="211708" y="136269"/>
                </a:cubicBezTo>
                <a:cubicBezTo>
                  <a:pt x="248836" y="136269"/>
                  <a:pt x="279356" y="105748"/>
                  <a:pt x="279356" y="67652"/>
                </a:cubicBezTo>
                <a:cubicBezTo>
                  <a:pt x="279356" y="30521"/>
                  <a:pt x="248836" y="0"/>
                  <a:pt x="211708" y="0"/>
                </a:cubicBezTo>
                <a:cubicBezTo>
                  <a:pt x="173539" y="0"/>
                  <a:pt x="143020" y="30521"/>
                  <a:pt x="143020" y="67652"/>
                </a:cubicBezTo>
                <a:cubicBezTo>
                  <a:pt x="143020" y="71439"/>
                  <a:pt x="145916" y="75301"/>
                  <a:pt x="149703" y="75301"/>
                </a:cubicBezTo>
                <a:cubicBezTo>
                  <a:pt x="153564" y="75301"/>
                  <a:pt x="157351" y="71439"/>
                  <a:pt x="157351" y="67652"/>
                </a:cubicBezTo>
                <a:cubicBezTo>
                  <a:pt x="157351" y="38096"/>
                  <a:pt x="181188" y="13367"/>
                  <a:pt x="211708" y="13367"/>
                </a:cubicBezTo>
                <a:cubicBezTo>
                  <a:pt x="241262" y="13367"/>
                  <a:pt x="265990" y="38096"/>
                  <a:pt x="265990" y="67652"/>
                </a:cubicBezTo>
                <a:cubicBezTo>
                  <a:pt x="265990" y="98099"/>
                  <a:pt x="241262" y="122902"/>
                  <a:pt x="211708" y="122902"/>
                </a:cubicBezTo>
                <a:cubicBezTo>
                  <a:pt x="34381" y="122902"/>
                  <a:pt x="34381" y="122902"/>
                  <a:pt x="34381" y="122902"/>
                </a:cubicBezTo>
                <a:cubicBezTo>
                  <a:pt x="30520" y="122902"/>
                  <a:pt x="27698" y="125724"/>
                  <a:pt x="27698" y="129586"/>
                </a:cubicBezTo>
                <a:cubicBezTo>
                  <a:pt x="27698" y="133373"/>
                  <a:pt x="30520" y="136269"/>
                  <a:pt x="34381" y="136269"/>
                </a:cubicBezTo>
                <a:close/>
                <a:moveTo>
                  <a:pt x="252698" y="204812"/>
                </a:moveTo>
                <a:cubicBezTo>
                  <a:pt x="6683" y="204812"/>
                  <a:pt x="6683" y="204812"/>
                  <a:pt x="6683" y="204812"/>
                </a:cubicBezTo>
                <a:cubicBezTo>
                  <a:pt x="2896" y="204812"/>
                  <a:pt x="0" y="207634"/>
                  <a:pt x="0" y="211495"/>
                </a:cubicBezTo>
                <a:cubicBezTo>
                  <a:pt x="0" y="215283"/>
                  <a:pt x="2896" y="218105"/>
                  <a:pt x="6683" y="218105"/>
                </a:cubicBezTo>
                <a:cubicBezTo>
                  <a:pt x="252698" y="218105"/>
                  <a:pt x="252698" y="218105"/>
                  <a:pt x="252698" y="218105"/>
                </a:cubicBezTo>
                <a:cubicBezTo>
                  <a:pt x="270816" y="218105"/>
                  <a:pt x="286039" y="233402"/>
                  <a:pt x="286039" y="252413"/>
                </a:cubicBezTo>
                <a:cubicBezTo>
                  <a:pt x="286039" y="270533"/>
                  <a:pt x="270816" y="285757"/>
                  <a:pt x="252698" y="285757"/>
                </a:cubicBezTo>
                <a:cubicBezTo>
                  <a:pt x="233613" y="285757"/>
                  <a:pt x="218391" y="270533"/>
                  <a:pt x="218391" y="252413"/>
                </a:cubicBezTo>
                <a:cubicBezTo>
                  <a:pt x="218391" y="248626"/>
                  <a:pt x="215495" y="244839"/>
                  <a:pt x="211708" y="244839"/>
                </a:cubicBezTo>
                <a:cubicBezTo>
                  <a:pt x="207846" y="244839"/>
                  <a:pt x="205024" y="248626"/>
                  <a:pt x="205024" y="252413"/>
                </a:cubicBezTo>
                <a:cubicBezTo>
                  <a:pt x="205024" y="278108"/>
                  <a:pt x="225965" y="300015"/>
                  <a:pt x="252698" y="300015"/>
                </a:cubicBezTo>
                <a:cubicBezTo>
                  <a:pt x="278391" y="300015"/>
                  <a:pt x="300371" y="278108"/>
                  <a:pt x="300371" y="252413"/>
                </a:cubicBezTo>
                <a:cubicBezTo>
                  <a:pt x="300371" y="225754"/>
                  <a:pt x="278391" y="204812"/>
                  <a:pt x="252698" y="204812"/>
                </a:cubicBezTo>
                <a:close/>
              </a:path>
            </a:pathLst>
          </a:custGeom>
          <a:solidFill>
            <a:schemeClr val="tx2"/>
          </a:solidFill>
          <a:ln w="3705" cap="flat">
            <a:noFill/>
            <a:prstDash val="solid"/>
            <a:miter/>
          </a:ln>
        </p:spPr>
        <p:txBody>
          <a:bodyPr rtlCol="0" anchor="ctr"/>
          <a:lstStyle/>
          <a:p>
            <a:endParaRPr lang="en-GB" dirty="0"/>
          </a:p>
        </p:txBody>
      </p:sp>
      <p:sp>
        <p:nvSpPr>
          <p:cNvPr id="11" name="Freeform: Shape 10">
            <a:extLst>
              <a:ext uri="{FF2B5EF4-FFF2-40B4-BE49-F238E27FC236}">
                <a16:creationId xmlns:a16="http://schemas.microsoft.com/office/drawing/2014/main" id="{AA195C00-A488-4ABB-9C5C-48623F05F645}"/>
              </a:ext>
            </a:extLst>
          </p:cNvPr>
          <p:cNvSpPr/>
          <p:nvPr/>
        </p:nvSpPr>
        <p:spPr>
          <a:xfrm>
            <a:off x="3753025" y="2430195"/>
            <a:ext cx="354652" cy="354671"/>
          </a:xfrm>
          <a:custGeom>
            <a:avLst/>
            <a:gdLst>
              <a:gd name="connsiteX0" fmla="*/ 184010 w 354652"/>
              <a:gd name="connsiteY0" fmla="*/ 27699 h 354671"/>
              <a:gd name="connsiteX1" fmla="*/ 184010 w 354652"/>
              <a:gd name="connsiteY1" fmla="*/ 6684 h 354671"/>
              <a:gd name="connsiteX2" fmla="*/ 177326 w 354652"/>
              <a:gd name="connsiteY2" fmla="*/ 0 h 354671"/>
              <a:gd name="connsiteX3" fmla="*/ 170717 w 354652"/>
              <a:gd name="connsiteY3" fmla="*/ 6684 h 354671"/>
              <a:gd name="connsiteX4" fmla="*/ 170717 w 354652"/>
              <a:gd name="connsiteY4" fmla="*/ 27699 h 354671"/>
              <a:gd name="connsiteX5" fmla="*/ 0 w 354652"/>
              <a:gd name="connsiteY5" fmla="*/ 184019 h 354671"/>
              <a:gd name="connsiteX6" fmla="*/ 3861 w 354652"/>
              <a:gd name="connsiteY6" fmla="*/ 189737 h 354671"/>
              <a:gd name="connsiteX7" fmla="*/ 10545 w 354652"/>
              <a:gd name="connsiteY7" fmla="*/ 189737 h 354671"/>
              <a:gd name="connsiteX8" fmla="*/ 14332 w 354652"/>
              <a:gd name="connsiteY8" fmla="*/ 187881 h 354671"/>
              <a:gd name="connsiteX9" fmla="*/ 55322 w 354652"/>
              <a:gd name="connsiteY9" fmla="*/ 177335 h 354671"/>
              <a:gd name="connsiteX10" fmla="*/ 84876 w 354652"/>
              <a:gd name="connsiteY10" fmla="*/ 186915 h 354671"/>
              <a:gd name="connsiteX11" fmla="*/ 94455 w 354652"/>
              <a:gd name="connsiteY11" fmla="*/ 193599 h 354671"/>
              <a:gd name="connsiteX12" fmla="*/ 98242 w 354652"/>
              <a:gd name="connsiteY12" fmla="*/ 195455 h 354671"/>
              <a:gd name="connsiteX13" fmla="*/ 105891 w 354652"/>
              <a:gd name="connsiteY13" fmla="*/ 196421 h 354671"/>
              <a:gd name="connsiteX14" fmla="*/ 111609 w 354652"/>
              <a:gd name="connsiteY14" fmla="*/ 193599 h 354671"/>
              <a:gd name="connsiteX15" fmla="*/ 170717 w 354652"/>
              <a:gd name="connsiteY15" fmla="*/ 177336 h 354671"/>
              <a:gd name="connsiteX16" fmla="*/ 170717 w 354652"/>
              <a:gd name="connsiteY16" fmla="*/ 320362 h 354671"/>
              <a:gd name="connsiteX17" fmla="*/ 150668 w 354652"/>
              <a:gd name="connsiteY17" fmla="*/ 341378 h 354671"/>
              <a:gd name="connsiteX18" fmla="*/ 129727 w 354652"/>
              <a:gd name="connsiteY18" fmla="*/ 320362 h 354671"/>
              <a:gd name="connsiteX19" fmla="*/ 123044 w 354652"/>
              <a:gd name="connsiteY19" fmla="*/ 313679 h 354671"/>
              <a:gd name="connsiteX20" fmla="*/ 116361 w 354652"/>
              <a:gd name="connsiteY20" fmla="*/ 320362 h 354671"/>
              <a:gd name="connsiteX21" fmla="*/ 150668 w 354652"/>
              <a:gd name="connsiteY21" fmla="*/ 354671 h 354671"/>
              <a:gd name="connsiteX22" fmla="*/ 184010 w 354652"/>
              <a:gd name="connsiteY22" fmla="*/ 320362 h 354671"/>
              <a:gd name="connsiteX23" fmla="*/ 184010 w 354652"/>
              <a:gd name="connsiteY23" fmla="*/ 177336 h 354671"/>
              <a:gd name="connsiteX24" fmla="*/ 227896 w 354652"/>
              <a:gd name="connsiteY24" fmla="*/ 186915 h 354671"/>
              <a:gd name="connsiteX25" fmla="*/ 244084 w 354652"/>
              <a:gd name="connsiteY25" fmla="*/ 193599 h 354671"/>
              <a:gd name="connsiteX26" fmla="*/ 248836 w 354652"/>
              <a:gd name="connsiteY26" fmla="*/ 196421 h 354671"/>
              <a:gd name="connsiteX27" fmla="*/ 252697 w 354652"/>
              <a:gd name="connsiteY27" fmla="*/ 197386 h 354671"/>
              <a:gd name="connsiteX28" fmla="*/ 257450 w 354652"/>
              <a:gd name="connsiteY28" fmla="*/ 195455 h 354671"/>
              <a:gd name="connsiteX29" fmla="*/ 260272 w 354652"/>
              <a:gd name="connsiteY29" fmla="*/ 193599 h 354671"/>
              <a:gd name="connsiteX30" fmla="*/ 300371 w 354652"/>
              <a:gd name="connsiteY30" fmla="*/ 177336 h 354671"/>
              <a:gd name="connsiteX31" fmla="*/ 331781 w 354652"/>
              <a:gd name="connsiteY31" fmla="*/ 184019 h 354671"/>
              <a:gd name="connsiteX32" fmla="*/ 341361 w 354652"/>
              <a:gd name="connsiteY32" fmla="*/ 187881 h 354671"/>
              <a:gd name="connsiteX33" fmla="*/ 344182 w 354652"/>
              <a:gd name="connsiteY33" fmla="*/ 189737 h 354671"/>
              <a:gd name="connsiteX34" fmla="*/ 351831 w 354652"/>
              <a:gd name="connsiteY34" fmla="*/ 189737 h 354671"/>
              <a:gd name="connsiteX35" fmla="*/ 354653 w 354652"/>
              <a:gd name="connsiteY35" fmla="*/ 184019 h 354671"/>
              <a:gd name="connsiteX36" fmla="*/ 184010 w 354652"/>
              <a:gd name="connsiteY36" fmla="*/ 27700 h 354671"/>
              <a:gd name="connsiteX37" fmla="*/ 55322 w 354652"/>
              <a:gd name="connsiteY37" fmla="*/ 164043 h 354671"/>
              <a:gd name="connsiteX38" fmla="*/ 14332 w 354652"/>
              <a:gd name="connsiteY38" fmla="*/ 172583 h 354671"/>
              <a:gd name="connsiteX39" fmla="*/ 62005 w 354652"/>
              <a:gd name="connsiteY39" fmla="*/ 85846 h 354671"/>
              <a:gd name="connsiteX40" fmla="*/ 138267 w 354652"/>
              <a:gd name="connsiteY40" fmla="*/ 45819 h 354671"/>
              <a:gd name="connsiteX41" fmla="*/ 118218 w 354652"/>
              <a:gd name="connsiteY41" fmla="*/ 74410 h 354671"/>
              <a:gd name="connsiteX42" fmla="*/ 96312 w 354652"/>
              <a:gd name="connsiteY42" fmla="*/ 177335 h 354671"/>
              <a:gd name="connsiteX43" fmla="*/ 55322 w 354652"/>
              <a:gd name="connsiteY43" fmla="*/ 164043 h 354671"/>
              <a:gd name="connsiteX44" fmla="*/ 177326 w 354652"/>
              <a:gd name="connsiteY44" fmla="*/ 164043 h 354671"/>
              <a:gd name="connsiteX45" fmla="*/ 109678 w 354652"/>
              <a:gd name="connsiteY45" fmla="*/ 179266 h 354671"/>
              <a:gd name="connsiteX46" fmla="*/ 130619 w 354652"/>
              <a:gd name="connsiteY46" fmla="*/ 80128 h 354671"/>
              <a:gd name="connsiteX47" fmla="*/ 177326 w 354652"/>
              <a:gd name="connsiteY47" fmla="*/ 41066 h 354671"/>
              <a:gd name="connsiteX48" fmla="*/ 225000 w 354652"/>
              <a:gd name="connsiteY48" fmla="*/ 80128 h 354671"/>
              <a:gd name="connsiteX49" fmla="*/ 246014 w 354652"/>
              <a:gd name="connsiteY49" fmla="*/ 179266 h 354671"/>
              <a:gd name="connsiteX50" fmla="*/ 177326 w 354652"/>
              <a:gd name="connsiteY50" fmla="*/ 164043 h 354671"/>
              <a:gd name="connsiteX51" fmla="*/ 300371 w 354652"/>
              <a:gd name="connsiteY51" fmla="*/ 164043 h 354671"/>
              <a:gd name="connsiteX52" fmla="*/ 259381 w 354652"/>
              <a:gd name="connsiteY52" fmla="*/ 177335 h 354671"/>
              <a:gd name="connsiteX53" fmla="*/ 236435 w 354652"/>
              <a:gd name="connsiteY53" fmla="*/ 74410 h 354671"/>
              <a:gd name="connsiteX54" fmla="*/ 217425 w 354652"/>
              <a:gd name="connsiteY54" fmla="*/ 45819 h 354671"/>
              <a:gd name="connsiteX55" fmla="*/ 293687 w 354652"/>
              <a:gd name="connsiteY55" fmla="*/ 85846 h 354671"/>
              <a:gd name="connsiteX56" fmla="*/ 340395 w 354652"/>
              <a:gd name="connsiteY56" fmla="*/ 172583 h 354671"/>
              <a:gd name="connsiteX57" fmla="*/ 300371 w 354652"/>
              <a:gd name="connsiteY57" fmla="*/ 164043 h 35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54652" h="354671">
                <a:moveTo>
                  <a:pt x="184010" y="27699"/>
                </a:moveTo>
                <a:cubicBezTo>
                  <a:pt x="184010" y="6684"/>
                  <a:pt x="184010" y="6684"/>
                  <a:pt x="184010" y="6684"/>
                </a:cubicBezTo>
                <a:cubicBezTo>
                  <a:pt x="184010" y="2896"/>
                  <a:pt x="181188" y="0"/>
                  <a:pt x="177326" y="0"/>
                </a:cubicBezTo>
                <a:cubicBezTo>
                  <a:pt x="173539" y="0"/>
                  <a:pt x="170717" y="2896"/>
                  <a:pt x="170717" y="6684"/>
                </a:cubicBezTo>
                <a:cubicBezTo>
                  <a:pt x="170717" y="27699"/>
                  <a:pt x="170717" y="27699"/>
                  <a:pt x="170717" y="27699"/>
                </a:cubicBezTo>
                <a:cubicBezTo>
                  <a:pt x="76336" y="31487"/>
                  <a:pt x="965" y="106787"/>
                  <a:pt x="0" y="184019"/>
                </a:cubicBezTo>
                <a:cubicBezTo>
                  <a:pt x="0" y="186915"/>
                  <a:pt x="1931" y="188846"/>
                  <a:pt x="3861" y="189737"/>
                </a:cubicBezTo>
                <a:cubicBezTo>
                  <a:pt x="5792" y="191668"/>
                  <a:pt x="8614" y="191668"/>
                  <a:pt x="10545" y="189737"/>
                </a:cubicBezTo>
                <a:cubicBezTo>
                  <a:pt x="10545" y="189737"/>
                  <a:pt x="11510" y="188846"/>
                  <a:pt x="14332" y="187881"/>
                </a:cubicBezTo>
                <a:cubicBezTo>
                  <a:pt x="21015" y="184019"/>
                  <a:pt x="37203" y="177335"/>
                  <a:pt x="55322" y="177335"/>
                </a:cubicBezTo>
                <a:cubicBezTo>
                  <a:pt x="65792" y="177335"/>
                  <a:pt x="77228" y="182162"/>
                  <a:pt x="84876" y="186915"/>
                </a:cubicBezTo>
                <a:cubicBezTo>
                  <a:pt x="88663" y="188846"/>
                  <a:pt x="92525" y="191668"/>
                  <a:pt x="94455" y="193599"/>
                </a:cubicBezTo>
                <a:cubicBezTo>
                  <a:pt x="97277" y="194564"/>
                  <a:pt x="98242" y="195455"/>
                  <a:pt x="98242" y="195455"/>
                </a:cubicBezTo>
                <a:cubicBezTo>
                  <a:pt x="100173" y="198351"/>
                  <a:pt x="103960" y="198351"/>
                  <a:pt x="105891" y="196421"/>
                </a:cubicBezTo>
                <a:cubicBezTo>
                  <a:pt x="105891" y="196421"/>
                  <a:pt x="107747" y="195455"/>
                  <a:pt x="111609" y="193599"/>
                </a:cubicBezTo>
                <a:cubicBezTo>
                  <a:pt x="121114" y="188846"/>
                  <a:pt x="143985" y="179266"/>
                  <a:pt x="170717" y="177336"/>
                </a:cubicBezTo>
                <a:cubicBezTo>
                  <a:pt x="170717" y="320362"/>
                  <a:pt x="170717" y="320362"/>
                  <a:pt x="170717" y="320362"/>
                </a:cubicBezTo>
                <a:cubicBezTo>
                  <a:pt x="170717" y="331799"/>
                  <a:pt x="162104" y="341378"/>
                  <a:pt x="150668" y="341378"/>
                </a:cubicBezTo>
                <a:cubicBezTo>
                  <a:pt x="139232" y="341378"/>
                  <a:pt x="129727" y="331799"/>
                  <a:pt x="129727" y="320362"/>
                </a:cubicBezTo>
                <a:cubicBezTo>
                  <a:pt x="129727" y="316575"/>
                  <a:pt x="126831" y="313679"/>
                  <a:pt x="123044" y="313679"/>
                </a:cubicBezTo>
                <a:cubicBezTo>
                  <a:pt x="119183" y="313679"/>
                  <a:pt x="116361" y="316575"/>
                  <a:pt x="116361" y="320362"/>
                </a:cubicBezTo>
                <a:cubicBezTo>
                  <a:pt x="116361" y="339447"/>
                  <a:pt x="131584" y="354671"/>
                  <a:pt x="150668" y="354671"/>
                </a:cubicBezTo>
                <a:cubicBezTo>
                  <a:pt x="168787" y="354671"/>
                  <a:pt x="184010" y="339447"/>
                  <a:pt x="184010" y="320362"/>
                </a:cubicBezTo>
                <a:cubicBezTo>
                  <a:pt x="184010" y="177336"/>
                  <a:pt x="184010" y="177336"/>
                  <a:pt x="184010" y="177336"/>
                </a:cubicBezTo>
                <a:cubicBezTo>
                  <a:pt x="201163" y="178301"/>
                  <a:pt x="216460" y="183128"/>
                  <a:pt x="227896" y="186915"/>
                </a:cubicBezTo>
                <a:cubicBezTo>
                  <a:pt x="234579" y="189737"/>
                  <a:pt x="240297" y="191668"/>
                  <a:pt x="244084" y="193599"/>
                </a:cubicBezTo>
                <a:cubicBezTo>
                  <a:pt x="246980" y="195455"/>
                  <a:pt x="248836" y="196421"/>
                  <a:pt x="248836" y="196421"/>
                </a:cubicBezTo>
                <a:cubicBezTo>
                  <a:pt x="249802" y="197386"/>
                  <a:pt x="251732" y="197386"/>
                  <a:pt x="252697" y="197386"/>
                </a:cubicBezTo>
                <a:cubicBezTo>
                  <a:pt x="254554" y="197386"/>
                  <a:pt x="256485" y="197386"/>
                  <a:pt x="257450" y="195455"/>
                </a:cubicBezTo>
                <a:cubicBezTo>
                  <a:pt x="257450" y="195455"/>
                  <a:pt x="258415" y="194564"/>
                  <a:pt x="260272" y="193599"/>
                </a:cubicBezTo>
                <a:cubicBezTo>
                  <a:pt x="266955" y="187881"/>
                  <a:pt x="283217" y="177336"/>
                  <a:pt x="300371" y="177336"/>
                </a:cubicBezTo>
                <a:cubicBezTo>
                  <a:pt x="312772" y="177336"/>
                  <a:pt x="323242" y="180232"/>
                  <a:pt x="331781" y="184019"/>
                </a:cubicBezTo>
                <a:cubicBezTo>
                  <a:pt x="335643" y="184985"/>
                  <a:pt x="338465" y="186915"/>
                  <a:pt x="341361" y="187881"/>
                </a:cubicBezTo>
                <a:cubicBezTo>
                  <a:pt x="343217" y="188846"/>
                  <a:pt x="344182" y="189737"/>
                  <a:pt x="344182" y="189737"/>
                </a:cubicBezTo>
                <a:cubicBezTo>
                  <a:pt x="346113" y="191668"/>
                  <a:pt x="348935" y="191668"/>
                  <a:pt x="351831" y="189737"/>
                </a:cubicBezTo>
                <a:cubicBezTo>
                  <a:pt x="353762" y="188846"/>
                  <a:pt x="354653" y="186915"/>
                  <a:pt x="354653" y="184019"/>
                </a:cubicBezTo>
                <a:cubicBezTo>
                  <a:pt x="354653" y="106788"/>
                  <a:pt x="279356" y="31487"/>
                  <a:pt x="184010" y="27700"/>
                </a:cubicBezTo>
                <a:close/>
                <a:moveTo>
                  <a:pt x="55322" y="164043"/>
                </a:moveTo>
                <a:cubicBezTo>
                  <a:pt x="38168" y="164043"/>
                  <a:pt x="23837" y="168795"/>
                  <a:pt x="14332" y="172583"/>
                </a:cubicBezTo>
                <a:cubicBezTo>
                  <a:pt x="18119" y="141170"/>
                  <a:pt x="35346" y="110649"/>
                  <a:pt x="62005" y="85846"/>
                </a:cubicBezTo>
                <a:cubicBezTo>
                  <a:pt x="82054" y="66761"/>
                  <a:pt x="108713" y="52503"/>
                  <a:pt x="138267" y="45819"/>
                </a:cubicBezTo>
                <a:cubicBezTo>
                  <a:pt x="130619" y="53394"/>
                  <a:pt x="124010" y="62973"/>
                  <a:pt x="118218" y="74410"/>
                </a:cubicBezTo>
                <a:cubicBezTo>
                  <a:pt x="105891" y="100178"/>
                  <a:pt x="97277" y="135452"/>
                  <a:pt x="96312" y="177335"/>
                </a:cubicBezTo>
                <a:cubicBezTo>
                  <a:pt x="86807" y="170726"/>
                  <a:pt x="72475" y="164043"/>
                  <a:pt x="55322" y="164043"/>
                </a:cubicBezTo>
                <a:close/>
                <a:moveTo>
                  <a:pt x="177326" y="164043"/>
                </a:moveTo>
                <a:cubicBezTo>
                  <a:pt x="147772" y="164043"/>
                  <a:pt x="123044" y="173548"/>
                  <a:pt x="109678" y="179266"/>
                </a:cubicBezTo>
                <a:cubicBezTo>
                  <a:pt x="110643" y="138274"/>
                  <a:pt x="119183" y="103966"/>
                  <a:pt x="130619" y="80128"/>
                </a:cubicBezTo>
                <a:cubicBezTo>
                  <a:pt x="143985" y="53394"/>
                  <a:pt x="161138" y="41066"/>
                  <a:pt x="177326" y="41066"/>
                </a:cubicBezTo>
                <a:cubicBezTo>
                  <a:pt x="194554" y="41066"/>
                  <a:pt x="211707" y="53394"/>
                  <a:pt x="225000" y="80128"/>
                </a:cubicBezTo>
                <a:cubicBezTo>
                  <a:pt x="236435" y="103966"/>
                  <a:pt x="244084" y="138274"/>
                  <a:pt x="246014" y="179266"/>
                </a:cubicBezTo>
                <a:cubicBezTo>
                  <a:pt x="231683" y="173548"/>
                  <a:pt x="206881" y="164043"/>
                  <a:pt x="177326" y="164043"/>
                </a:cubicBezTo>
                <a:close/>
                <a:moveTo>
                  <a:pt x="300371" y="164043"/>
                </a:moveTo>
                <a:cubicBezTo>
                  <a:pt x="283217" y="164043"/>
                  <a:pt x="268886" y="170726"/>
                  <a:pt x="259381" y="177335"/>
                </a:cubicBezTo>
                <a:cubicBezTo>
                  <a:pt x="257450" y="135452"/>
                  <a:pt x="249801" y="100178"/>
                  <a:pt x="236435" y="74410"/>
                </a:cubicBezTo>
                <a:cubicBezTo>
                  <a:pt x="230717" y="62973"/>
                  <a:pt x="225000" y="53394"/>
                  <a:pt x="217425" y="45819"/>
                </a:cubicBezTo>
                <a:cubicBezTo>
                  <a:pt x="246980" y="52503"/>
                  <a:pt x="272673" y="66761"/>
                  <a:pt x="293687" y="85846"/>
                </a:cubicBezTo>
                <a:cubicBezTo>
                  <a:pt x="320346" y="110649"/>
                  <a:pt x="337499" y="141170"/>
                  <a:pt x="340395" y="172583"/>
                </a:cubicBezTo>
                <a:cubicBezTo>
                  <a:pt x="331781" y="168795"/>
                  <a:pt x="316559" y="164043"/>
                  <a:pt x="300371" y="164043"/>
                </a:cubicBezTo>
                <a:close/>
              </a:path>
            </a:pathLst>
          </a:custGeom>
          <a:solidFill>
            <a:schemeClr val="tx2"/>
          </a:solidFill>
          <a:ln w="3705"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964FB18D-FD9B-4DCA-8EC6-926E260459BE}"/>
              </a:ext>
            </a:extLst>
          </p:cNvPr>
          <p:cNvSpPr/>
          <p:nvPr/>
        </p:nvSpPr>
        <p:spPr>
          <a:xfrm>
            <a:off x="1634831" y="2470890"/>
            <a:ext cx="409306" cy="273280"/>
          </a:xfrm>
          <a:custGeom>
            <a:avLst/>
            <a:gdLst>
              <a:gd name="connsiteX0" fmla="*/ 365494 w 409306"/>
              <a:gd name="connsiteY0" fmla="*/ 115699 h 273280"/>
              <a:gd name="connsiteX1" fmla="*/ 365494 w 409306"/>
              <a:gd name="connsiteY1" fmla="*/ 106193 h 273280"/>
              <a:gd name="connsiteX2" fmla="*/ 263464 w 409306"/>
              <a:gd name="connsiteY2" fmla="*/ 0 h 273280"/>
              <a:gd name="connsiteX3" fmla="*/ 165147 w 409306"/>
              <a:gd name="connsiteY3" fmla="*/ 77529 h 273280"/>
              <a:gd name="connsiteX4" fmla="*/ 131732 w 409306"/>
              <a:gd name="connsiteY4" fmla="*/ 68914 h 273280"/>
              <a:gd name="connsiteX5" fmla="*/ 59257 w 409306"/>
              <a:gd name="connsiteY5" fmla="*/ 144363 h 273280"/>
              <a:gd name="connsiteX6" fmla="*/ 59257 w 409306"/>
              <a:gd name="connsiteY6" fmla="*/ 152978 h 273280"/>
              <a:gd name="connsiteX7" fmla="*/ 58218 w 409306"/>
              <a:gd name="connsiteY7" fmla="*/ 152978 h 273280"/>
              <a:gd name="connsiteX8" fmla="*/ 0 w 409306"/>
              <a:gd name="connsiteY8" fmla="*/ 213129 h 273280"/>
              <a:gd name="connsiteX9" fmla="*/ 58218 w 409306"/>
              <a:gd name="connsiteY9" fmla="*/ 273281 h 273280"/>
              <a:gd name="connsiteX10" fmla="*/ 329257 w 409306"/>
              <a:gd name="connsiteY10" fmla="*/ 273281 h 273280"/>
              <a:gd name="connsiteX11" fmla="*/ 409306 w 409306"/>
              <a:gd name="connsiteY11" fmla="*/ 190257 h 273280"/>
              <a:gd name="connsiteX12" fmla="*/ 365494 w 409306"/>
              <a:gd name="connsiteY12" fmla="*/ 115699 h 273280"/>
              <a:gd name="connsiteX13" fmla="*/ 329256 w 409306"/>
              <a:gd name="connsiteY13" fmla="*/ 259914 h 273280"/>
              <a:gd name="connsiteX14" fmla="*/ 329256 w 409306"/>
              <a:gd name="connsiteY14" fmla="*/ 259914 h 273280"/>
              <a:gd name="connsiteX15" fmla="*/ 58217 w 409306"/>
              <a:gd name="connsiteY15" fmla="*/ 259914 h 273280"/>
              <a:gd name="connsiteX16" fmla="*/ 58217 w 409306"/>
              <a:gd name="connsiteY16" fmla="*/ 259914 h 273280"/>
              <a:gd name="connsiteX17" fmla="*/ 13366 w 409306"/>
              <a:gd name="connsiteY17" fmla="*/ 213129 h 273280"/>
              <a:gd name="connsiteX18" fmla="*/ 58217 w 409306"/>
              <a:gd name="connsiteY18" fmla="*/ 166345 h 273280"/>
              <a:gd name="connsiteX19" fmla="*/ 65940 w 409306"/>
              <a:gd name="connsiteY19" fmla="*/ 167236 h 273280"/>
              <a:gd name="connsiteX20" fmla="*/ 72623 w 409306"/>
              <a:gd name="connsiteY20" fmla="*/ 165305 h 273280"/>
              <a:gd name="connsiteX21" fmla="*/ 74554 w 409306"/>
              <a:gd name="connsiteY21" fmla="*/ 158622 h 273280"/>
              <a:gd name="connsiteX22" fmla="*/ 72623 w 409306"/>
              <a:gd name="connsiteY22" fmla="*/ 144364 h 273280"/>
              <a:gd name="connsiteX23" fmla="*/ 131732 w 409306"/>
              <a:gd name="connsiteY23" fmla="*/ 82281 h 273280"/>
              <a:gd name="connsiteX24" fmla="*/ 166039 w 409306"/>
              <a:gd name="connsiteY24" fmla="*/ 93718 h 273280"/>
              <a:gd name="connsiteX25" fmla="*/ 172722 w 409306"/>
              <a:gd name="connsiteY25" fmla="*/ 94609 h 273280"/>
              <a:gd name="connsiteX26" fmla="*/ 176583 w 409306"/>
              <a:gd name="connsiteY26" fmla="*/ 89856 h 273280"/>
              <a:gd name="connsiteX27" fmla="*/ 263464 w 409306"/>
              <a:gd name="connsiteY27" fmla="*/ 13516 h 273280"/>
              <a:gd name="connsiteX28" fmla="*/ 352127 w 409306"/>
              <a:gd name="connsiteY28" fmla="*/ 106193 h 273280"/>
              <a:gd name="connsiteX29" fmla="*/ 351236 w 409306"/>
              <a:gd name="connsiteY29" fmla="*/ 118521 h 273280"/>
              <a:gd name="connsiteX30" fmla="*/ 354948 w 409306"/>
              <a:gd name="connsiteY30" fmla="*/ 126244 h 273280"/>
              <a:gd name="connsiteX31" fmla="*/ 396087 w 409306"/>
              <a:gd name="connsiteY31" fmla="*/ 190257 h 273280"/>
              <a:gd name="connsiteX32" fmla="*/ 329255 w 409306"/>
              <a:gd name="connsiteY32" fmla="*/ 259914 h 273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09306" h="273280">
                <a:moveTo>
                  <a:pt x="365494" y="115699"/>
                </a:moveTo>
                <a:cubicBezTo>
                  <a:pt x="365494" y="112877"/>
                  <a:pt x="365494" y="109906"/>
                  <a:pt x="365494" y="106193"/>
                </a:cubicBezTo>
                <a:cubicBezTo>
                  <a:pt x="365494" y="47824"/>
                  <a:pt x="320642" y="0"/>
                  <a:pt x="263464" y="0"/>
                </a:cubicBezTo>
                <a:cubicBezTo>
                  <a:pt x="216682" y="0"/>
                  <a:pt x="177474" y="32526"/>
                  <a:pt x="165147" y="77529"/>
                </a:cubicBezTo>
                <a:cubicBezTo>
                  <a:pt x="155643" y="71736"/>
                  <a:pt x="144207" y="68914"/>
                  <a:pt x="131732" y="68914"/>
                </a:cubicBezTo>
                <a:cubicBezTo>
                  <a:pt x="91633" y="68914"/>
                  <a:pt x="59257" y="103223"/>
                  <a:pt x="59257" y="144363"/>
                </a:cubicBezTo>
                <a:cubicBezTo>
                  <a:pt x="59257" y="147185"/>
                  <a:pt x="59257" y="150156"/>
                  <a:pt x="59257" y="152978"/>
                </a:cubicBezTo>
                <a:cubicBezTo>
                  <a:pt x="59257" y="152978"/>
                  <a:pt x="58218" y="152978"/>
                  <a:pt x="58218" y="152978"/>
                </a:cubicBezTo>
                <a:cubicBezTo>
                  <a:pt x="25841" y="152978"/>
                  <a:pt x="0" y="179712"/>
                  <a:pt x="0" y="213129"/>
                </a:cubicBezTo>
                <a:cubicBezTo>
                  <a:pt x="0" y="246547"/>
                  <a:pt x="25841" y="273281"/>
                  <a:pt x="58218" y="273281"/>
                </a:cubicBezTo>
                <a:cubicBezTo>
                  <a:pt x="329257" y="273281"/>
                  <a:pt x="329257" y="273281"/>
                  <a:pt x="329257" y="273281"/>
                </a:cubicBezTo>
                <a:cubicBezTo>
                  <a:pt x="374108" y="273281"/>
                  <a:pt x="409306" y="236150"/>
                  <a:pt x="409306" y="190257"/>
                </a:cubicBezTo>
                <a:cubicBezTo>
                  <a:pt x="409306" y="157730"/>
                  <a:pt x="391187" y="129066"/>
                  <a:pt x="365494" y="115699"/>
                </a:cubicBezTo>
                <a:close/>
                <a:moveTo>
                  <a:pt x="329256" y="259914"/>
                </a:moveTo>
                <a:cubicBezTo>
                  <a:pt x="329256" y="259914"/>
                  <a:pt x="329256" y="259914"/>
                  <a:pt x="329256" y="259914"/>
                </a:cubicBezTo>
                <a:cubicBezTo>
                  <a:pt x="58217" y="259914"/>
                  <a:pt x="58217" y="259914"/>
                  <a:pt x="58217" y="259914"/>
                </a:cubicBezTo>
                <a:cubicBezTo>
                  <a:pt x="58217" y="259914"/>
                  <a:pt x="58217" y="259914"/>
                  <a:pt x="58217" y="259914"/>
                </a:cubicBezTo>
                <a:cubicBezTo>
                  <a:pt x="34455" y="259914"/>
                  <a:pt x="13366" y="238972"/>
                  <a:pt x="13366" y="213129"/>
                </a:cubicBezTo>
                <a:cubicBezTo>
                  <a:pt x="13366" y="187286"/>
                  <a:pt x="34455" y="166345"/>
                  <a:pt x="58217" y="166345"/>
                </a:cubicBezTo>
                <a:cubicBezTo>
                  <a:pt x="61187" y="166345"/>
                  <a:pt x="64009" y="167236"/>
                  <a:pt x="65940" y="167236"/>
                </a:cubicBezTo>
                <a:cubicBezTo>
                  <a:pt x="68762" y="168276"/>
                  <a:pt x="70692" y="167236"/>
                  <a:pt x="72623" y="165305"/>
                </a:cubicBezTo>
                <a:cubicBezTo>
                  <a:pt x="74554" y="163523"/>
                  <a:pt x="74554" y="161592"/>
                  <a:pt x="74554" y="158622"/>
                </a:cubicBezTo>
                <a:cubicBezTo>
                  <a:pt x="73515" y="153869"/>
                  <a:pt x="72623" y="149116"/>
                  <a:pt x="72623" y="144364"/>
                </a:cubicBezTo>
                <a:cubicBezTo>
                  <a:pt x="72623" y="109906"/>
                  <a:pt x="99356" y="82281"/>
                  <a:pt x="131732" y="82281"/>
                </a:cubicBezTo>
                <a:cubicBezTo>
                  <a:pt x="144207" y="82281"/>
                  <a:pt x="156534" y="87034"/>
                  <a:pt x="166039" y="93718"/>
                </a:cubicBezTo>
                <a:cubicBezTo>
                  <a:pt x="167969" y="95648"/>
                  <a:pt x="169900" y="95648"/>
                  <a:pt x="172722" y="94609"/>
                </a:cubicBezTo>
                <a:cubicBezTo>
                  <a:pt x="174652" y="93718"/>
                  <a:pt x="176583" y="91787"/>
                  <a:pt x="176583" y="89856"/>
                </a:cubicBezTo>
                <a:cubicBezTo>
                  <a:pt x="184158" y="45893"/>
                  <a:pt x="220395" y="13516"/>
                  <a:pt x="263464" y="13516"/>
                </a:cubicBezTo>
                <a:cubicBezTo>
                  <a:pt x="312029" y="13516"/>
                  <a:pt x="352127" y="54508"/>
                  <a:pt x="352127" y="106193"/>
                </a:cubicBezTo>
                <a:cubicBezTo>
                  <a:pt x="352127" y="110946"/>
                  <a:pt x="352127" y="114659"/>
                  <a:pt x="351236" y="118521"/>
                </a:cubicBezTo>
                <a:cubicBezTo>
                  <a:pt x="351236" y="122382"/>
                  <a:pt x="352127" y="125204"/>
                  <a:pt x="354948" y="126244"/>
                </a:cubicBezTo>
                <a:cubicBezTo>
                  <a:pt x="378859" y="136640"/>
                  <a:pt x="396087" y="161592"/>
                  <a:pt x="396087" y="190257"/>
                </a:cubicBezTo>
                <a:cubicBezTo>
                  <a:pt x="396087" y="229467"/>
                  <a:pt x="366384" y="259914"/>
                  <a:pt x="329255" y="259914"/>
                </a:cubicBezTo>
                <a:close/>
              </a:path>
            </a:pathLst>
          </a:custGeom>
          <a:solidFill>
            <a:schemeClr val="tx2"/>
          </a:solidFill>
          <a:ln w="3705"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0C1863F5-D955-413E-9E84-1E27C0F741D0}"/>
              </a:ext>
            </a:extLst>
          </p:cNvPr>
          <p:cNvSpPr/>
          <p:nvPr/>
        </p:nvSpPr>
        <p:spPr>
          <a:xfrm>
            <a:off x="617021" y="4054645"/>
            <a:ext cx="354058" cy="327936"/>
          </a:xfrm>
          <a:custGeom>
            <a:avLst/>
            <a:gdLst>
              <a:gd name="connsiteX0" fmla="*/ 315147 w 354058"/>
              <a:gd name="connsiteY0" fmla="*/ 98322 h 327936"/>
              <a:gd name="connsiteX1" fmla="*/ 316039 w 354058"/>
              <a:gd name="connsiteY1" fmla="*/ 90598 h 327936"/>
              <a:gd name="connsiteX2" fmla="*/ 227524 w 354058"/>
              <a:gd name="connsiteY2" fmla="*/ 0 h 327936"/>
              <a:gd name="connsiteX3" fmla="*/ 141831 w 354058"/>
              <a:gd name="connsiteY3" fmla="*/ 64904 h 327936"/>
              <a:gd name="connsiteX4" fmla="*/ 113317 w 354058"/>
              <a:gd name="connsiteY4" fmla="*/ 58221 h 327936"/>
              <a:gd name="connsiteX5" fmla="*/ 50495 w 354058"/>
              <a:gd name="connsiteY5" fmla="*/ 122976 h 327936"/>
              <a:gd name="connsiteX6" fmla="*/ 50495 w 354058"/>
              <a:gd name="connsiteY6" fmla="*/ 128769 h 327936"/>
              <a:gd name="connsiteX7" fmla="*/ 0 w 354058"/>
              <a:gd name="connsiteY7" fmla="*/ 180306 h 327936"/>
              <a:gd name="connsiteX8" fmla="*/ 50495 w 354058"/>
              <a:gd name="connsiteY8" fmla="*/ 232734 h 327936"/>
              <a:gd name="connsiteX9" fmla="*/ 283663 w 354058"/>
              <a:gd name="connsiteY9" fmla="*/ 232734 h 327936"/>
              <a:gd name="connsiteX10" fmla="*/ 354058 w 354058"/>
              <a:gd name="connsiteY10" fmla="*/ 161146 h 327936"/>
              <a:gd name="connsiteX11" fmla="*/ 315148 w 354058"/>
              <a:gd name="connsiteY11" fmla="*/ 98322 h 327936"/>
              <a:gd name="connsiteX12" fmla="*/ 283662 w 354058"/>
              <a:gd name="connsiteY12" fmla="*/ 218327 h 327936"/>
              <a:gd name="connsiteX13" fmla="*/ 283662 w 354058"/>
              <a:gd name="connsiteY13" fmla="*/ 218327 h 327936"/>
              <a:gd name="connsiteX14" fmla="*/ 50494 w 354058"/>
              <a:gd name="connsiteY14" fmla="*/ 218327 h 327936"/>
              <a:gd name="connsiteX15" fmla="*/ 13366 w 354058"/>
              <a:gd name="connsiteY15" fmla="*/ 180306 h 327936"/>
              <a:gd name="connsiteX16" fmla="*/ 50494 w 354058"/>
              <a:gd name="connsiteY16" fmla="*/ 142136 h 327936"/>
              <a:gd name="connsiteX17" fmla="*/ 57177 w 354058"/>
              <a:gd name="connsiteY17" fmla="*/ 143027 h 327936"/>
              <a:gd name="connsiteX18" fmla="*/ 63860 w 354058"/>
              <a:gd name="connsiteY18" fmla="*/ 141096 h 327936"/>
              <a:gd name="connsiteX19" fmla="*/ 64752 w 354058"/>
              <a:gd name="connsiteY19" fmla="*/ 134413 h 327936"/>
              <a:gd name="connsiteX20" fmla="*/ 63860 w 354058"/>
              <a:gd name="connsiteY20" fmla="*/ 122976 h 327936"/>
              <a:gd name="connsiteX21" fmla="*/ 113316 w 354058"/>
              <a:gd name="connsiteY21" fmla="*/ 71588 h 327936"/>
              <a:gd name="connsiteX22" fmla="*/ 142870 w 354058"/>
              <a:gd name="connsiteY22" fmla="*/ 81093 h 327936"/>
              <a:gd name="connsiteX23" fmla="*/ 149553 w 354058"/>
              <a:gd name="connsiteY23" fmla="*/ 81984 h 327936"/>
              <a:gd name="connsiteX24" fmla="*/ 153266 w 354058"/>
              <a:gd name="connsiteY24" fmla="*/ 77231 h 327936"/>
              <a:gd name="connsiteX25" fmla="*/ 227524 w 354058"/>
              <a:gd name="connsiteY25" fmla="*/ 14407 h 327936"/>
              <a:gd name="connsiteX26" fmla="*/ 301781 w 354058"/>
              <a:gd name="connsiteY26" fmla="*/ 90598 h 327936"/>
              <a:gd name="connsiteX27" fmla="*/ 301781 w 354058"/>
              <a:gd name="connsiteY27" fmla="*/ 101144 h 327936"/>
              <a:gd name="connsiteX28" fmla="*/ 305642 w 354058"/>
              <a:gd name="connsiteY28" fmla="*/ 108718 h 327936"/>
              <a:gd name="connsiteX29" fmla="*/ 339801 w 354058"/>
              <a:gd name="connsiteY29" fmla="*/ 161146 h 327936"/>
              <a:gd name="connsiteX30" fmla="*/ 283662 w 354058"/>
              <a:gd name="connsiteY30" fmla="*/ 218327 h 327936"/>
              <a:gd name="connsiteX31" fmla="*/ 180890 w 354058"/>
              <a:gd name="connsiteY31" fmla="*/ 245953 h 327936"/>
              <a:gd name="connsiteX32" fmla="*/ 174207 w 354058"/>
              <a:gd name="connsiteY32" fmla="*/ 247883 h 327936"/>
              <a:gd name="connsiteX33" fmla="*/ 158019 w 354058"/>
              <a:gd name="connsiteY33" fmla="*/ 262290 h 327936"/>
              <a:gd name="connsiteX34" fmla="*/ 137078 w 354058"/>
              <a:gd name="connsiteY34" fmla="*/ 289915 h 327936"/>
              <a:gd name="connsiteX35" fmla="*/ 136186 w 354058"/>
              <a:gd name="connsiteY35" fmla="*/ 299421 h 327936"/>
              <a:gd name="connsiteX36" fmla="*/ 153265 w 354058"/>
              <a:gd name="connsiteY36" fmla="*/ 326155 h 327936"/>
              <a:gd name="connsiteX37" fmla="*/ 162770 w 354058"/>
              <a:gd name="connsiteY37" fmla="*/ 327937 h 327936"/>
              <a:gd name="connsiteX38" fmla="*/ 188463 w 354058"/>
              <a:gd name="connsiteY38" fmla="*/ 308926 h 327936"/>
              <a:gd name="connsiteX39" fmla="*/ 190394 w 354058"/>
              <a:gd name="connsiteY39" fmla="*/ 293628 h 327936"/>
              <a:gd name="connsiteX40" fmla="*/ 185641 w 354058"/>
              <a:gd name="connsiteY40" fmla="*/ 251745 h 327936"/>
              <a:gd name="connsiteX41" fmla="*/ 180889 w 354058"/>
              <a:gd name="connsiteY41" fmla="*/ 245953 h 327936"/>
              <a:gd name="connsiteX42" fmla="*/ 175247 w 354058"/>
              <a:gd name="connsiteY42" fmla="*/ 304173 h 327936"/>
              <a:gd name="connsiteX43" fmla="*/ 162771 w 354058"/>
              <a:gd name="connsiteY43" fmla="*/ 313679 h 327936"/>
              <a:gd name="connsiteX44" fmla="*/ 158019 w 354058"/>
              <a:gd name="connsiteY44" fmla="*/ 312787 h 327936"/>
              <a:gd name="connsiteX45" fmla="*/ 149553 w 354058"/>
              <a:gd name="connsiteY45" fmla="*/ 299420 h 327936"/>
              <a:gd name="connsiteX46" fmla="*/ 150445 w 354058"/>
              <a:gd name="connsiteY46" fmla="*/ 294668 h 327936"/>
              <a:gd name="connsiteX47" fmla="*/ 167524 w 354058"/>
              <a:gd name="connsiteY47" fmla="*/ 271795 h 327936"/>
              <a:gd name="connsiteX48" fmla="*/ 174208 w 354058"/>
              <a:gd name="connsiteY48" fmla="*/ 266003 h 327936"/>
              <a:gd name="connsiteX49" fmla="*/ 177029 w 354058"/>
              <a:gd name="connsiteY49" fmla="*/ 293628 h 327936"/>
              <a:gd name="connsiteX50" fmla="*/ 175247 w 354058"/>
              <a:gd name="connsiteY50" fmla="*/ 304173 h 327936"/>
              <a:gd name="connsiteX51" fmla="*/ 99949 w 354058"/>
              <a:gd name="connsiteY51" fmla="*/ 245953 h 327936"/>
              <a:gd name="connsiteX52" fmla="*/ 93415 w 354058"/>
              <a:gd name="connsiteY52" fmla="*/ 247883 h 327936"/>
              <a:gd name="connsiteX53" fmla="*/ 77227 w 354058"/>
              <a:gd name="connsiteY53" fmla="*/ 262290 h 327936"/>
              <a:gd name="connsiteX54" fmla="*/ 55247 w 354058"/>
              <a:gd name="connsiteY54" fmla="*/ 289915 h 327936"/>
              <a:gd name="connsiteX55" fmla="*/ 54355 w 354058"/>
              <a:gd name="connsiteY55" fmla="*/ 299421 h 327936"/>
              <a:gd name="connsiteX56" fmla="*/ 71434 w 354058"/>
              <a:gd name="connsiteY56" fmla="*/ 326155 h 327936"/>
              <a:gd name="connsiteX57" fmla="*/ 80939 w 354058"/>
              <a:gd name="connsiteY57" fmla="*/ 327937 h 327936"/>
              <a:gd name="connsiteX58" fmla="*/ 80939 w 354058"/>
              <a:gd name="connsiteY58" fmla="*/ 327937 h 327936"/>
              <a:gd name="connsiteX59" fmla="*/ 106632 w 354058"/>
              <a:gd name="connsiteY59" fmla="*/ 308926 h 327936"/>
              <a:gd name="connsiteX60" fmla="*/ 108563 w 354058"/>
              <a:gd name="connsiteY60" fmla="*/ 293628 h 327936"/>
              <a:gd name="connsiteX61" fmla="*/ 103810 w 354058"/>
              <a:gd name="connsiteY61" fmla="*/ 251745 h 327936"/>
              <a:gd name="connsiteX62" fmla="*/ 99949 w 354058"/>
              <a:gd name="connsiteY62" fmla="*/ 245953 h 327936"/>
              <a:gd name="connsiteX63" fmla="*/ 93415 w 354058"/>
              <a:gd name="connsiteY63" fmla="*/ 304173 h 327936"/>
              <a:gd name="connsiteX64" fmla="*/ 80940 w 354058"/>
              <a:gd name="connsiteY64" fmla="*/ 313679 h 327936"/>
              <a:gd name="connsiteX65" fmla="*/ 77227 w 354058"/>
              <a:gd name="connsiteY65" fmla="*/ 312787 h 327936"/>
              <a:gd name="connsiteX66" fmla="*/ 67573 w 354058"/>
              <a:gd name="connsiteY66" fmla="*/ 299420 h 327936"/>
              <a:gd name="connsiteX67" fmla="*/ 68613 w 354058"/>
              <a:gd name="connsiteY67" fmla="*/ 294668 h 327936"/>
              <a:gd name="connsiteX68" fmla="*/ 86731 w 354058"/>
              <a:gd name="connsiteY68" fmla="*/ 271795 h 327936"/>
              <a:gd name="connsiteX69" fmla="*/ 92374 w 354058"/>
              <a:gd name="connsiteY69" fmla="*/ 266003 h 327936"/>
              <a:gd name="connsiteX70" fmla="*/ 95197 w 354058"/>
              <a:gd name="connsiteY70" fmla="*/ 293628 h 327936"/>
              <a:gd name="connsiteX71" fmla="*/ 93414 w 354058"/>
              <a:gd name="connsiteY71" fmla="*/ 304173 h 327936"/>
              <a:gd name="connsiteX72" fmla="*/ 262722 w 354058"/>
              <a:gd name="connsiteY72" fmla="*/ 245953 h 327936"/>
              <a:gd name="connsiteX73" fmla="*/ 256038 w 354058"/>
              <a:gd name="connsiteY73" fmla="*/ 247883 h 327936"/>
              <a:gd name="connsiteX74" fmla="*/ 239850 w 354058"/>
              <a:gd name="connsiteY74" fmla="*/ 262290 h 327936"/>
              <a:gd name="connsiteX75" fmla="*/ 218910 w 354058"/>
              <a:gd name="connsiteY75" fmla="*/ 289915 h 327936"/>
              <a:gd name="connsiteX76" fmla="*/ 217128 w 354058"/>
              <a:gd name="connsiteY76" fmla="*/ 299421 h 327936"/>
              <a:gd name="connsiteX77" fmla="*/ 235098 w 354058"/>
              <a:gd name="connsiteY77" fmla="*/ 326155 h 327936"/>
              <a:gd name="connsiteX78" fmla="*/ 244603 w 354058"/>
              <a:gd name="connsiteY78" fmla="*/ 327937 h 327936"/>
              <a:gd name="connsiteX79" fmla="*/ 244603 w 354058"/>
              <a:gd name="connsiteY79" fmla="*/ 327937 h 327936"/>
              <a:gd name="connsiteX80" fmla="*/ 270444 w 354058"/>
              <a:gd name="connsiteY80" fmla="*/ 308926 h 327936"/>
              <a:gd name="connsiteX81" fmla="*/ 272226 w 354058"/>
              <a:gd name="connsiteY81" fmla="*/ 293628 h 327936"/>
              <a:gd name="connsiteX82" fmla="*/ 267474 w 354058"/>
              <a:gd name="connsiteY82" fmla="*/ 251745 h 327936"/>
              <a:gd name="connsiteX83" fmla="*/ 262722 w 354058"/>
              <a:gd name="connsiteY83" fmla="*/ 245953 h 327936"/>
              <a:gd name="connsiteX84" fmla="*/ 257078 w 354058"/>
              <a:gd name="connsiteY84" fmla="*/ 304173 h 327936"/>
              <a:gd name="connsiteX85" fmla="*/ 244603 w 354058"/>
              <a:gd name="connsiteY85" fmla="*/ 313679 h 327936"/>
              <a:gd name="connsiteX86" fmla="*/ 239850 w 354058"/>
              <a:gd name="connsiteY86" fmla="*/ 312787 h 327936"/>
              <a:gd name="connsiteX87" fmla="*/ 231385 w 354058"/>
              <a:gd name="connsiteY87" fmla="*/ 299420 h 327936"/>
              <a:gd name="connsiteX88" fmla="*/ 232277 w 354058"/>
              <a:gd name="connsiteY88" fmla="*/ 294668 h 327936"/>
              <a:gd name="connsiteX89" fmla="*/ 249505 w 354058"/>
              <a:gd name="connsiteY89" fmla="*/ 271795 h 327936"/>
              <a:gd name="connsiteX90" fmla="*/ 256039 w 354058"/>
              <a:gd name="connsiteY90" fmla="*/ 266003 h 327936"/>
              <a:gd name="connsiteX91" fmla="*/ 257970 w 354058"/>
              <a:gd name="connsiteY91" fmla="*/ 293628 h 327936"/>
              <a:gd name="connsiteX92" fmla="*/ 257078 w 354058"/>
              <a:gd name="connsiteY92" fmla="*/ 304173 h 327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354058" h="327936">
                <a:moveTo>
                  <a:pt x="315147" y="98322"/>
                </a:moveTo>
                <a:cubicBezTo>
                  <a:pt x="316039" y="95351"/>
                  <a:pt x="316039" y="93420"/>
                  <a:pt x="316039" y="90598"/>
                </a:cubicBezTo>
                <a:cubicBezTo>
                  <a:pt x="316039" y="40992"/>
                  <a:pt x="276089" y="0"/>
                  <a:pt x="227524" y="0"/>
                </a:cubicBezTo>
                <a:cubicBezTo>
                  <a:pt x="186683" y="0"/>
                  <a:pt x="153267" y="27774"/>
                  <a:pt x="141831" y="64904"/>
                </a:cubicBezTo>
                <a:cubicBezTo>
                  <a:pt x="133366" y="61043"/>
                  <a:pt x="123861" y="58221"/>
                  <a:pt x="113317" y="58221"/>
                </a:cubicBezTo>
                <a:cubicBezTo>
                  <a:pt x="78119" y="58221"/>
                  <a:pt x="50495" y="86885"/>
                  <a:pt x="50495" y="122976"/>
                </a:cubicBezTo>
                <a:cubicBezTo>
                  <a:pt x="50495" y="124907"/>
                  <a:pt x="50495" y="126838"/>
                  <a:pt x="50495" y="128769"/>
                </a:cubicBezTo>
                <a:cubicBezTo>
                  <a:pt x="21980" y="128769"/>
                  <a:pt x="0" y="151641"/>
                  <a:pt x="0" y="180306"/>
                </a:cubicBezTo>
                <a:cubicBezTo>
                  <a:pt x="0" y="208822"/>
                  <a:pt x="21980" y="232734"/>
                  <a:pt x="50495" y="232734"/>
                </a:cubicBezTo>
                <a:cubicBezTo>
                  <a:pt x="283663" y="232734"/>
                  <a:pt x="283663" y="232734"/>
                  <a:pt x="283663" y="232734"/>
                </a:cubicBezTo>
                <a:cubicBezTo>
                  <a:pt x="322722" y="232734"/>
                  <a:pt x="353167" y="200208"/>
                  <a:pt x="354058" y="161146"/>
                </a:cubicBezTo>
                <a:cubicBezTo>
                  <a:pt x="354058" y="133521"/>
                  <a:pt x="338019" y="109758"/>
                  <a:pt x="315148" y="98322"/>
                </a:cubicBezTo>
                <a:close/>
                <a:moveTo>
                  <a:pt x="283662" y="218327"/>
                </a:moveTo>
                <a:cubicBezTo>
                  <a:pt x="283662" y="218327"/>
                  <a:pt x="283662" y="218327"/>
                  <a:pt x="283662" y="218327"/>
                </a:cubicBezTo>
                <a:cubicBezTo>
                  <a:pt x="50494" y="218327"/>
                  <a:pt x="50494" y="218327"/>
                  <a:pt x="50494" y="218327"/>
                </a:cubicBezTo>
                <a:cubicBezTo>
                  <a:pt x="30593" y="218327"/>
                  <a:pt x="13366" y="201247"/>
                  <a:pt x="13366" y="180306"/>
                </a:cubicBezTo>
                <a:cubicBezTo>
                  <a:pt x="13366" y="159216"/>
                  <a:pt x="30593" y="142136"/>
                  <a:pt x="50494" y="142136"/>
                </a:cubicBezTo>
                <a:cubicBezTo>
                  <a:pt x="52425" y="142136"/>
                  <a:pt x="55247" y="143027"/>
                  <a:pt x="57177" y="143027"/>
                </a:cubicBezTo>
                <a:cubicBezTo>
                  <a:pt x="59999" y="143027"/>
                  <a:pt x="61930" y="143027"/>
                  <a:pt x="63860" y="141096"/>
                </a:cubicBezTo>
                <a:cubicBezTo>
                  <a:pt x="64752" y="139314"/>
                  <a:pt x="65791" y="137383"/>
                  <a:pt x="64752" y="134413"/>
                </a:cubicBezTo>
                <a:cubicBezTo>
                  <a:pt x="63860" y="130699"/>
                  <a:pt x="63860" y="126838"/>
                  <a:pt x="63860" y="122976"/>
                </a:cubicBezTo>
                <a:cubicBezTo>
                  <a:pt x="63860" y="94460"/>
                  <a:pt x="85692" y="71588"/>
                  <a:pt x="113316" y="71588"/>
                </a:cubicBezTo>
                <a:cubicBezTo>
                  <a:pt x="124752" y="71588"/>
                  <a:pt x="134256" y="75449"/>
                  <a:pt x="142870" y="81093"/>
                </a:cubicBezTo>
                <a:cubicBezTo>
                  <a:pt x="144801" y="83024"/>
                  <a:pt x="146583" y="83024"/>
                  <a:pt x="149553" y="81984"/>
                </a:cubicBezTo>
                <a:cubicBezTo>
                  <a:pt x="151336" y="81093"/>
                  <a:pt x="153266" y="79162"/>
                  <a:pt x="153266" y="77231"/>
                </a:cubicBezTo>
                <a:cubicBezTo>
                  <a:pt x="159949" y="40992"/>
                  <a:pt x="190395" y="14407"/>
                  <a:pt x="227524" y="14407"/>
                </a:cubicBezTo>
                <a:cubicBezTo>
                  <a:pt x="268514" y="14407"/>
                  <a:pt x="301781" y="47675"/>
                  <a:pt x="301781" y="90598"/>
                </a:cubicBezTo>
                <a:cubicBezTo>
                  <a:pt x="301781" y="94460"/>
                  <a:pt x="301781" y="97282"/>
                  <a:pt x="301781" y="101144"/>
                </a:cubicBezTo>
                <a:cubicBezTo>
                  <a:pt x="300889" y="103965"/>
                  <a:pt x="302673" y="106787"/>
                  <a:pt x="305642" y="108718"/>
                </a:cubicBezTo>
                <a:cubicBezTo>
                  <a:pt x="325543" y="117332"/>
                  <a:pt x="339801" y="137383"/>
                  <a:pt x="339801" y="161146"/>
                </a:cubicBezTo>
                <a:cubicBezTo>
                  <a:pt x="339801" y="192633"/>
                  <a:pt x="315147" y="218327"/>
                  <a:pt x="283662" y="218327"/>
                </a:cubicBezTo>
                <a:close/>
                <a:moveTo>
                  <a:pt x="180890" y="245953"/>
                </a:moveTo>
                <a:cubicBezTo>
                  <a:pt x="178959" y="245061"/>
                  <a:pt x="176138" y="245953"/>
                  <a:pt x="174207" y="247883"/>
                </a:cubicBezTo>
                <a:cubicBezTo>
                  <a:pt x="174207" y="247883"/>
                  <a:pt x="166633" y="253676"/>
                  <a:pt x="158019" y="262290"/>
                </a:cubicBezTo>
                <a:cubicBezTo>
                  <a:pt x="150445" y="270756"/>
                  <a:pt x="140940" y="280410"/>
                  <a:pt x="137078" y="289915"/>
                </a:cubicBezTo>
                <a:cubicBezTo>
                  <a:pt x="136186" y="292737"/>
                  <a:pt x="136186" y="296599"/>
                  <a:pt x="136186" y="299421"/>
                </a:cubicBezTo>
                <a:cubicBezTo>
                  <a:pt x="136186" y="310857"/>
                  <a:pt x="142869" y="321402"/>
                  <a:pt x="153265" y="326155"/>
                </a:cubicBezTo>
                <a:cubicBezTo>
                  <a:pt x="156087" y="327046"/>
                  <a:pt x="159949" y="327937"/>
                  <a:pt x="162770" y="327937"/>
                </a:cubicBezTo>
                <a:cubicBezTo>
                  <a:pt x="174206" y="327937"/>
                  <a:pt x="184750" y="320362"/>
                  <a:pt x="188463" y="308926"/>
                </a:cubicBezTo>
                <a:cubicBezTo>
                  <a:pt x="189503" y="304173"/>
                  <a:pt x="190394" y="299421"/>
                  <a:pt x="190394" y="293628"/>
                </a:cubicBezTo>
                <a:cubicBezTo>
                  <a:pt x="190394" y="275509"/>
                  <a:pt x="185641" y="251745"/>
                  <a:pt x="185641" y="251745"/>
                </a:cubicBezTo>
                <a:cubicBezTo>
                  <a:pt x="185641" y="248923"/>
                  <a:pt x="183711" y="246992"/>
                  <a:pt x="180889" y="245953"/>
                </a:cubicBezTo>
                <a:close/>
                <a:moveTo>
                  <a:pt x="175247" y="304173"/>
                </a:moveTo>
                <a:cubicBezTo>
                  <a:pt x="173316" y="310857"/>
                  <a:pt x="168563" y="313679"/>
                  <a:pt x="162771" y="313679"/>
                </a:cubicBezTo>
                <a:cubicBezTo>
                  <a:pt x="161879" y="313679"/>
                  <a:pt x="159949" y="313679"/>
                  <a:pt x="158019" y="312787"/>
                </a:cubicBezTo>
                <a:cubicBezTo>
                  <a:pt x="153266" y="310857"/>
                  <a:pt x="149553" y="305064"/>
                  <a:pt x="149553" y="299420"/>
                </a:cubicBezTo>
                <a:cubicBezTo>
                  <a:pt x="149553" y="297490"/>
                  <a:pt x="149553" y="296598"/>
                  <a:pt x="150445" y="294668"/>
                </a:cubicBezTo>
                <a:cubicBezTo>
                  <a:pt x="151337" y="289915"/>
                  <a:pt x="159950" y="280410"/>
                  <a:pt x="167524" y="271795"/>
                </a:cubicBezTo>
                <a:cubicBezTo>
                  <a:pt x="170495" y="269864"/>
                  <a:pt x="172277" y="267934"/>
                  <a:pt x="174208" y="266003"/>
                </a:cubicBezTo>
                <a:cubicBezTo>
                  <a:pt x="175247" y="273726"/>
                  <a:pt x="177029" y="285162"/>
                  <a:pt x="177029" y="293628"/>
                </a:cubicBezTo>
                <a:cubicBezTo>
                  <a:pt x="177029" y="298381"/>
                  <a:pt x="176138" y="302242"/>
                  <a:pt x="175247" y="304173"/>
                </a:cubicBezTo>
                <a:close/>
                <a:moveTo>
                  <a:pt x="99949" y="245953"/>
                </a:moveTo>
                <a:cubicBezTo>
                  <a:pt x="97128" y="245061"/>
                  <a:pt x="95197" y="245953"/>
                  <a:pt x="93415" y="247883"/>
                </a:cubicBezTo>
                <a:cubicBezTo>
                  <a:pt x="93415" y="247883"/>
                  <a:pt x="84801" y="253676"/>
                  <a:pt x="77227" y="262290"/>
                </a:cubicBezTo>
                <a:cubicBezTo>
                  <a:pt x="68613" y="270756"/>
                  <a:pt x="59108" y="280410"/>
                  <a:pt x="55247" y="289915"/>
                </a:cubicBezTo>
                <a:cubicBezTo>
                  <a:pt x="54355" y="292737"/>
                  <a:pt x="54355" y="296599"/>
                  <a:pt x="54355" y="299421"/>
                </a:cubicBezTo>
                <a:cubicBezTo>
                  <a:pt x="54355" y="310857"/>
                  <a:pt x="61038" y="321402"/>
                  <a:pt x="71434" y="326155"/>
                </a:cubicBezTo>
                <a:cubicBezTo>
                  <a:pt x="75295" y="327046"/>
                  <a:pt x="78117" y="327937"/>
                  <a:pt x="80939" y="327937"/>
                </a:cubicBezTo>
                <a:cubicBezTo>
                  <a:pt x="80939" y="327937"/>
                  <a:pt x="80939" y="327937"/>
                  <a:pt x="80939" y="327937"/>
                </a:cubicBezTo>
                <a:cubicBezTo>
                  <a:pt x="92374" y="327937"/>
                  <a:pt x="102919" y="320362"/>
                  <a:pt x="106632" y="308926"/>
                </a:cubicBezTo>
                <a:cubicBezTo>
                  <a:pt x="108563" y="304173"/>
                  <a:pt x="108563" y="299421"/>
                  <a:pt x="108563" y="293628"/>
                </a:cubicBezTo>
                <a:cubicBezTo>
                  <a:pt x="108563" y="275509"/>
                  <a:pt x="103810" y="251745"/>
                  <a:pt x="103810" y="251745"/>
                </a:cubicBezTo>
                <a:cubicBezTo>
                  <a:pt x="103810" y="248923"/>
                  <a:pt x="101879" y="246992"/>
                  <a:pt x="99949" y="245953"/>
                </a:cubicBezTo>
                <a:close/>
                <a:moveTo>
                  <a:pt x="93415" y="304173"/>
                </a:moveTo>
                <a:cubicBezTo>
                  <a:pt x="91484" y="310857"/>
                  <a:pt x="86732" y="313679"/>
                  <a:pt x="80940" y="313679"/>
                </a:cubicBezTo>
                <a:cubicBezTo>
                  <a:pt x="80048" y="313679"/>
                  <a:pt x="78118" y="313679"/>
                  <a:pt x="77227" y="312787"/>
                </a:cubicBezTo>
                <a:cubicBezTo>
                  <a:pt x="71435" y="310857"/>
                  <a:pt x="67573" y="305064"/>
                  <a:pt x="67573" y="299420"/>
                </a:cubicBezTo>
                <a:cubicBezTo>
                  <a:pt x="67573" y="297490"/>
                  <a:pt x="67573" y="296598"/>
                  <a:pt x="68613" y="294668"/>
                </a:cubicBezTo>
                <a:cubicBezTo>
                  <a:pt x="69504" y="289915"/>
                  <a:pt x="78117" y="280410"/>
                  <a:pt x="86731" y="271795"/>
                </a:cubicBezTo>
                <a:cubicBezTo>
                  <a:pt x="88513" y="269864"/>
                  <a:pt x="90444" y="267934"/>
                  <a:pt x="92374" y="266003"/>
                </a:cubicBezTo>
                <a:cubicBezTo>
                  <a:pt x="93414" y="273726"/>
                  <a:pt x="95197" y="285162"/>
                  <a:pt x="95197" y="293628"/>
                </a:cubicBezTo>
                <a:cubicBezTo>
                  <a:pt x="95197" y="298381"/>
                  <a:pt x="94305" y="302242"/>
                  <a:pt x="93414" y="304173"/>
                </a:cubicBezTo>
                <a:close/>
                <a:moveTo>
                  <a:pt x="262722" y="245953"/>
                </a:moveTo>
                <a:cubicBezTo>
                  <a:pt x="260791" y="245061"/>
                  <a:pt x="257969" y="245953"/>
                  <a:pt x="256038" y="247883"/>
                </a:cubicBezTo>
                <a:cubicBezTo>
                  <a:pt x="256038" y="247883"/>
                  <a:pt x="248464" y="253676"/>
                  <a:pt x="239850" y="262290"/>
                </a:cubicBezTo>
                <a:cubicBezTo>
                  <a:pt x="231385" y="270756"/>
                  <a:pt x="222771" y="280410"/>
                  <a:pt x="218910" y="289915"/>
                </a:cubicBezTo>
                <a:cubicBezTo>
                  <a:pt x="218018" y="292737"/>
                  <a:pt x="217128" y="296599"/>
                  <a:pt x="217128" y="299421"/>
                </a:cubicBezTo>
                <a:cubicBezTo>
                  <a:pt x="217128" y="310857"/>
                  <a:pt x="223662" y="321402"/>
                  <a:pt x="235098" y="326155"/>
                </a:cubicBezTo>
                <a:cubicBezTo>
                  <a:pt x="238068" y="327046"/>
                  <a:pt x="241781" y="327937"/>
                  <a:pt x="244603" y="327937"/>
                </a:cubicBezTo>
                <a:cubicBezTo>
                  <a:pt x="244603" y="327937"/>
                  <a:pt x="244603" y="327937"/>
                  <a:pt x="244603" y="327937"/>
                </a:cubicBezTo>
                <a:cubicBezTo>
                  <a:pt x="256038" y="327937"/>
                  <a:pt x="266583" y="320362"/>
                  <a:pt x="270444" y="308926"/>
                </a:cubicBezTo>
                <a:cubicBezTo>
                  <a:pt x="271336" y="304173"/>
                  <a:pt x="272226" y="299421"/>
                  <a:pt x="272226" y="293628"/>
                </a:cubicBezTo>
                <a:cubicBezTo>
                  <a:pt x="272226" y="275509"/>
                  <a:pt x="267474" y="251745"/>
                  <a:pt x="267474" y="251745"/>
                </a:cubicBezTo>
                <a:cubicBezTo>
                  <a:pt x="266582" y="248923"/>
                  <a:pt x="265543" y="246992"/>
                  <a:pt x="262722" y="245953"/>
                </a:cubicBezTo>
                <a:close/>
                <a:moveTo>
                  <a:pt x="257078" y="304173"/>
                </a:moveTo>
                <a:cubicBezTo>
                  <a:pt x="255147" y="310857"/>
                  <a:pt x="249504" y="313679"/>
                  <a:pt x="244603" y="313679"/>
                </a:cubicBezTo>
                <a:cubicBezTo>
                  <a:pt x="242821" y="313679"/>
                  <a:pt x="241781" y="313679"/>
                  <a:pt x="239850" y="312787"/>
                </a:cubicBezTo>
                <a:cubicBezTo>
                  <a:pt x="235098" y="310857"/>
                  <a:pt x="231385" y="305064"/>
                  <a:pt x="231385" y="299420"/>
                </a:cubicBezTo>
                <a:cubicBezTo>
                  <a:pt x="231385" y="297490"/>
                  <a:pt x="231385" y="296598"/>
                  <a:pt x="232277" y="294668"/>
                </a:cubicBezTo>
                <a:cubicBezTo>
                  <a:pt x="233316" y="289915"/>
                  <a:pt x="241782" y="279370"/>
                  <a:pt x="249505" y="271795"/>
                </a:cubicBezTo>
                <a:cubicBezTo>
                  <a:pt x="252326" y="269864"/>
                  <a:pt x="254257" y="267934"/>
                  <a:pt x="256039" y="266003"/>
                </a:cubicBezTo>
                <a:cubicBezTo>
                  <a:pt x="257078" y="273726"/>
                  <a:pt x="257970" y="285162"/>
                  <a:pt x="257970" y="293628"/>
                </a:cubicBezTo>
                <a:cubicBezTo>
                  <a:pt x="257970" y="298381"/>
                  <a:pt x="257970" y="302242"/>
                  <a:pt x="257078" y="304173"/>
                </a:cubicBezTo>
                <a:close/>
              </a:path>
            </a:pathLst>
          </a:custGeom>
          <a:solidFill>
            <a:schemeClr val="tx2"/>
          </a:solidFill>
          <a:ln w="3705"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18862110-4423-4F46-88CA-0C0CBDEE86A1}"/>
              </a:ext>
            </a:extLst>
          </p:cNvPr>
          <p:cNvSpPr/>
          <p:nvPr/>
        </p:nvSpPr>
        <p:spPr>
          <a:xfrm>
            <a:off x="2707592" y="3249102"/>
            <a:ext cx="354652" cy="327936"/>
          </a:xfrm>
          <a:custGeom>
            <a:avLst/>
            <a:gdLst>
              <a:gd name="connsiteX0" fmla="*/ 316559 w 354652"/>
              <a:gd name="connsiteY0" fmla="*/ 98247 h 327936"/>
              <a:gd name="connsiteX1" fmla="*/ 316559 w 354652"/>
              <a:gd name="connsiteY1" fmla="*/ 90598 h 327936"/>
              <a:gd name="connsiteX2" fmla="*/ 227895 w 354652"/>
              <a:gd name="connsiteY2" fmla="*/ 0 h 327936"/>
              <a:gd name="connsiteX3" fmla="*/ 142054 w 354652"/>
              <a:gd name="connsiteY3" fmla="*/ 64830 h 327936"/>
              <a:gd name="connsiteX4" fmla="*/ 114431 w 354652"/>
              <a:gd name="connsiteY4" fmla="*/ 58221 h 327936"/>
              <a:gd name="connsiteX5" fmla="*/ 50569 w 354652"/>
              <a:gd name="connsiteY5" fmla="*/ 122976 h 327936"/>
              <a:gd name="connsiteX6" fmla="*/ 50569 w 354652"/>
              <a:gd name="connsiteY6" fmla="*/ 128694 h 327936"/>
              <a:gd name="connsiteX7" fmla="*/ 0 w 354652"/>
              <a:gd name="connsiteY7" fmla="*/ 180232 h 327936"/>
              <a:gd name="connsiteX8" fmla="*/ 50569 w 354652"/>
              <a:gd name="connsiteY8" fmla="*/ 232660 h 327936"/>
              <a:gd name="connsiteX9" fmla="*/ 284109 w 354652"/>
              <a:gd name="connsiteY9" fmla="*/ 232660 h 327936"/>
              <a:gd name="connsiteX10" fmla="*/ 284109 w 354652"/>
              <a:gd name="connsiteY10" fmla="*/ 232660 h 327936"/>
              <a:gd name="connsiteX11" fmla="*/ 354653 w 354652"/>
              <a:gd name="connsiteY11" fmla="*/ 161146 h 327936"/>
              <a:gd name="connsiteX12" fmla="*/ 316559 w 354652"/>
              <a:gd name="connsiteY12" fmla="*/ 98247 h 327936"/>
              <a:gd name="connsiteX13" fmla="*/ 284109 w 354652"/>
              <a:gd name="connsiteY13" fmla="*/ 218327 h 327936"/>
              <a:gd name="connsiteX14" fmla="*/ 50569 w 354652"/>
              <a:gd name="connsiteY14" fmla="*/ 218327 h 327936"/>
              <a:gd name="connsiteX15" fmla="*/ 13366 w 354652"/>
              <a:gd name="connsiteY15" fmla="*/ 180232 h 327936"/>
              <a:gd name="connsiteX16" fmla="*/ 50569 w 354652"/>
              <a:gd name="connsiteY16" fmla="*/ 142061 h 327936"/>
              <a:gd name="connsiteX17" fmla="*/ 57253 w 354652"/>
              <a:gd name="connsiteY17" fmla="*/ 143027 h 327936"/>
              <a:gd name="connsiteX18" fmla="*/ 63936 w 354652"/>
              <a:gd name="connsiteY18" fmla="*/ 141096 h 327936"/>
              <a:gd name="connsiteX19" fmla="*/ 65792 w 354652"/>
              <a:gd name="connsiteY19" fmla="*/ 134487 h 327936"/>
              <a:gd name="connsiteX20" fmla="*/ 63936 w 354652"/>
              <a:gd name="connsiteY20" fmla="*/ 122976 h 327936"/>
              <a:gd name="connsiteX21" fmla="*/ 114431 w 354652"/>
              <a:gd name="connsiteY21" fmla="*/ 71513 h 327936"/>
              <a:gd name="connsiteX22" fmla="*/ 143020 w 354652"/>
              <a:gd name="connsiteY22" fmla="*/ 81093 h 327936"/>
              <a:gd name="connsiteX23" fmla="*/ 149703 w 354652"/>
              <a:gd name="connsiteY23" fmla="*/ 81984 h 327936"/>
              <a:gd name="connsiteX24" fmla="*/ 153564 w 354652"/>
              <a:gd name="connsiteY24" fmla="*/ 77231 h 327936"/>
              <a:gd name="connsiteX25" fmla="*/ 227895 w 354652"/>
              <a:gd name="connsiteY25" fmla="*/ 14332 h 327936"/>
              <a:gd name="connsiteX26" fmla="*/ 303193 w 354652"/>
              <a:gd name="connsiteY26" fmla="*/ 90598 h 327936"/>
              <a:gd name="connsiteX27" fmla="*/ 302226 w 354652"/>
              <a:gd name="connsiteY27" fmla="*/ 101069 h 327936"/>
              <a:gd name="connsiteX28" fmla="*/ 306088 w 354652"/>
              <a:gd name="connsiteY28" fmla="*/ 108718 h 327936"/>
              <a:gd name="connsiteX29" fmla="*/ 341360 w 354652"/>
              <a:gd name="connsiteY29" fmla="*/ 161146 h 327936"/>
              <a:gd name="connsiteX30" fmla="*/ 284107 w 354652"/>
              <a:gd name="connsiteY30" fmla="*/ 218327 h 327936"/>
              <a:gd name="connsiteX31" fmla="*/ 223143 w 354652"/>
              <a:gd name="connsiteY31" fmla="*/ 245953 h 327936"/>
              <a:gd name="connsiteX32" fmla="*/ 216460 w 354652"/>
              <a:gd name="connsiteY32" fmla="*/ 247883 h 327936"/>
              <a:gd name="connsiteX33" fmla="*/ 200272 w 354652"/>
              <a:gd name="connsiteY33" fmla="*/ 262216 h 327936"/>
              <a:gd name="connsiteX34" fmla="*/ 179257 w 354652"/>
              <a:gd name="connsiteY34" fmla="*/ 289841 h 327936"/>
              <a:gd name="connsiteX35" fmla="*/ 177326 w 354652"/>
              <a:gd name="connsiteY35" fmla="*/ 299346 h 327936"/>
              <a:gd name="connsiteX36" fmla="*/ 194554 w 354652"/>
              <a:gd name="connsiteY36" fmla="*/ 326080 h 327936"/>
              <a:gd name="connsiteX37" fmla="*/ 204059 w 354652"/>
              <a:gd name="connsiteY37" fmla="*/ 327937 h 327936"/>
              <a:gd name="connsiteX38" fmla="*/ 229826 w 354652"/>
              <a:gd name="connsiteY38" fmla="*/ 308926 h 327936"/>
              <a:gd name="connsiteX39" fmla="*/ 231683 w 354652"/>
              <a:gd name="connsiteY39" fmla="*/ 293628 h 327936"/>
              <a:gd name="connsiteX40" fmla="*/ 226930 w 354652"/>
              <a:gd name="connsiteY40" fmla="*/ 251671 h 327936"/>
              <a:gd name="connsiteX41" fmla="*/ 223143 w 354652"/>
              <a:gd name="connsiteY41" fmla="*/ 245953 h 327936"/>
              <a:gd name="connsiteX42" fmla="*/ 217425 w 354652"/>
              <a:gd name="connsiteY42" fmla="*/ 304173 h 327936"/>
              <a:gd name="connsiteX43" fmla="*/ 204059 w 354652"/>
              <a:gd name="connsiteY43" fmla="*/ 313679 h 327936"/>
              <a:gd name="connsiteX44" fmla="*/ 200272 w 354652"/>
              <a:gd name="connsiteY44" fmla="*/ 312713 h 327936"/>
              <a:gd name="connsiteX45" fmla="*/ 190693 w 354652"/>
              <a:gd name="connsiteY45" fmla="*/ 299346 h 327936"/>
              <a:gd name="connsiteX46" fmla="*/ 191659 w 354652"/>
              <a:gd name="connsiteY46" fmla="*/ 294593 h 327936"/>
              <a:gd name="connsiteX47" fmla="*/ 209778 w 354652"/>
              <a:gd name="connsiteY47" fmla="*/ 271721 h 327936"/>
              <a:gd name="connsiteX48" fmla="*/ 215495 w 354652"/>
              <a:gd name="connsiteY48" fmla="*/ 266003 h 327936"/>
              <a:gd name="connsiteX49" fmla="*/ 218392 w 354652"/>
              <a:gd name="connsiteY49" fmla="*/ 293628 h 327936"/>
              <a:gd name="connsiteX50" fmla="*/ 217425 w 354652"/>
              <a:gd name="connsiteY50" fmla="*/ 304173 h 327936"/>
              <a:gd name="connsiteX51" fmla="*/ 141163 w 354652"/>
              <a:gd name="connsiteY51" fmla="*/ 245953 h 327936"/>
              <a:gd name="connsiteX52" fmla="*/ 134480 w 354652"/>
              <a:gd name="connsiteY52" fmla="*/ 247883 h 327936"/>
              <a:gd name="connsiteX53" fmla="*/ 118218 w 354652"/>
              <a:gd name="connsiteY53" fmla="*/ 262216 h 327936"/>
              <a:gd name="connsiteX54" fmla="*/ 97277 w 354652"/>
              <a:gd name="connsiteY54" fmla="*/ 289841 h 327936"/>
              <a:gd name="connsiteX55" fmla="*/ 95346 w 354652"/>
              <a:gd name="connsiteY55" fmla="*/ 299346 h 327936"/>
              <a:gd name="connsiteX56" fmla="*/ 113465 w 354652"/>
              <a:gd name="connsiteY56" fmla="*/ 326080 h 327936"/>
              <a:gd name="connsiteX57" fmla="*/ 122079 w 354652"/>
              <a:gd name="connsiteY57" fmla="*/ 327937 h 327936"/>
              <a:gd name="connsiteX58" fmla="*/ 147772 w 354652"/>
              <a:gd name="connsiteY58" fmla="*/ 308926 h 327936"/>
              <a:gd name="connsiteX59" fmla="*/ 149703 w 354652"/>
              <a:gd name="connsiteY59" fmla="*/ 293628 h 327936"/>
              <a:gd name="connsiteX60" fmla="*/ 144950 w 354652"/>
              <a:gd name="connsiteY60" fmla="*/ 251671 h 327936"/>
              <a:gd name="connsiteX61" fmla="*/ 141163 w 354652"/>
              <a:gd name="connsiteY61" fmla="*/ 245953 h 327936"/>
              <a:gd name="connsiteX62" fmla="*/ 135445 w 354652"/>
              <a:gd name="connsiteY62" fmla="*/ 304173 h 327936"/>
              <a:gd name="connsiteX63" fmla="*/ 122079 w 354652"/>
              <a:gd name="connsiteY63" fmla="*/ 313679 h 327936"/>
              <a:gd name="connsiteX64" fmla="*/ 118218 w 354652"/>
              <a:gd name="connsiteY64" fmla="*/ 312713 h 327936"/>
              <a:gd name="connsiteX65" fmla="*/ 108713 w 354652"/>
              <a:gd name="connsiteY65" fmla="*/ 299346 h 327936"/>
              <a:gd name="connsiteX66" fmla="*/ 109679 w 354652"/>
              <a:gd name="connsiteY66" fmla="*/ 294593 h 327936"/>
              <a:gd name="connsiteX67" fmla="*/ 127798 w 354652"/>
              <a:gd name="connsiteY67" fmla="*/ 271721 h 327936"/>
              <a:gd name="connsiteX68" fmla="*/ 133515 w 354652"/>
              <a:gd name="connsiteY68" fmla="*/ 266003 h 327936"/>
              <a:gd name="connsiteX69" fmla="*/ 136337 w 354652"/>
              <a:gd name="connsiteY69" fmla="*/ 293628 h 327936"/>
              <a:gd name="connsiteX70" fmla="*/ 135445 w 354652"/>
              <a:gd name="connsiteY70" fmla="*/ 304173 h 327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354652" h="327936">
                <a:moveTo>
                  <a:pt x="316559" y="98247"/>
                </a:moveTo>
                <a:cubicBezTo>
                  <a:pt x="316559" y="95351"/>
                  <a:pt x="316559" y="93495"/>
                  <a:pt x="316559" y="90598"/>
                </a:cubicBezTo>
                <a:cubicBezTo>
                  <a:pt x="316559" y="40992"/>
                  <a:pt x="276534" y="0"/>
                  <a:pt x="227895" y="0"/>
                </a:cubicBezTo>
                <a:cubicBezTo>
                  <a:pt x="186906" y="0"/>
                  <a:pt x="153564" y="27699"/>
                  <a:pt x="142054" y="64830"/>
                </a:cubicBezTo>
                <a:cubicBezTo>
                  <a:pt x="134480" y="61043"/>
                  <a:pt x="124010" y="58221"/>
                  <a:pt x="114431" y="58221"/>
                </a:cubicBezTo>
                <a:cubicBezTo>
                  <a:pt x="79158" y="58221"/>
                  <a:pt x="50569" y="86811"/>
                  <a:pt x="50569" y="122976"/>
                </a:cubicBezTo>
                <a:cubicBezTo>
                  <a:pt x="50569" y="124907"/>
                  <a:pt x="50569" y="126838"/>
                  <a:pt x="50569" y="128694"/>
                </a:cubicBezTo>
                <a:cubicBezTo>
                  <a:pt x="22946" y="128694"/>
                  <a:pt x="0" y="151641"/>
                  <a:pt x="0" y="180232"/>
                </a:cubicBezTo>
                <a:cubicBezTo>
                  <a:pt x="0" y="208822"/>
                  <a:pt x="22946" y="231695"/>
                  <a:pt x="50569" y="232660"/>
                </a:cubicBezTo>
                <a:cubicBezTo>
                  <a:pt x="284109" y="232660"/>
                  <a:pt x="284109" y="232660"/>
                  <a:pt x="284109" y="232660"/>
                </a:cubicBezTo>
                <a:cubicBezTo>
                  <a:pt x="284109" y="232660"/>
                  <a:pt x="284109" y="232660"/>
                  <a:pt x="284109" y="232660"/>
                </a:cubicBezTo>
                <a:cubicBezTo>
                  <a:pt x="323242" y="231695"/>
                  <a:pt x="354653" y="200208"/>
                  <a:pt x="354653" y="161146"/>
                </a:cubicBezTo>
                <a:cubicBezTo>
                  <a:pt x="354653" y="133521"/>
                  <a:pt x="339430" y="109684"/>
                  <a:pt x="316559" y="98247"/>
                </a:cubicBezTo>
                <a:close/>
                <a:moveTo>
                  <a:pt x="284109" y="218327"/>
                </a:moveTo>
                <a:cubicBezTo>
                  <a:pt x="50569" y="218327"/>
                  <a:pt x="50569" y="218327"/>
                  <a:pt x="50569" y="218327"/>
                </a:cubicBezTo>
                <a:cubicBezTo>
                  <a:pt x="30520" y="218327"/>
                  <a:pt x="13366" y="201173"/>
                  <a:pt x="13366" y="180232"/>
                </a:cubicBezTo>
                <a:cubicBezTo>
                  <a:pt x="13366" y="159216"/>
                  <a:pt x="30520" y="142061"/>
                  <a:pt x="50569" y="142061"/>
                </a:cubicBezTo>
                <a:cubicBezTo>
                  <a:pt x="53391" y="142061"/>
                  <a:pt x="55322" y="143027"/>
                  <a:pt x="57253" y="143027"/>
                </a:cubicBezTo>
                <a:cubicBezTo>
                  <a:pt x="60074" y="143027"/>
                  <a:pt x="62005" y="143027"/>
                  <a:pt x="63936" y="141096"/>
                </a:cubicBezTo>
                <a:cubicBezTo>
                  <a:pt x="65792" y="139240"/>
                  <a:pt x="65792" y="137309"/>
                  <a:pt x="65792" y="134487"/>
                </a:cubicBezTo>
                <a:cubicBezTo>
                  <a:pt x="64900" y="130625"/>
                  <a:pt x="63936" y="126838"/>
                  <a:pt x="63936" y="122976"/>
                </a:cubicBezTo>
                <a:cubicBezTo>
                  <a:pt x="63936" y="94386"/>
                  <a:pt x="86807" y="71513"/>
                  <a:pt x="114431" y="71513"/>
                </a:cubicBezTo>
                <a:cubicBezTo>
                  <a:pt x="124901" y="71513"/>
                  <a:pt x="134480" y="75375"/>
                  <a:pt x="143020" y="81093"/>
                </a:cubicBezTo>
                <a:cubicBezTo>
                  <a:pt x="144950" y="82950"/>
                  <a:pt x="147772" y="82950"/>
                  <a:pt x="149703" y="81984"/>
                </a:cubicBezTo>
                <a:cubicBezTo>
                  <a:pt x="151633" y="81093"/>
                  <a:pt x="153564" y="79162"/>
                  <a:pt x="153564" y="77231"/>
                </a:cubicBezTo>
                <a:cubicBezTo>
                  <a:pt x="160173" y="40992"/>
                  <a:pt x="190693" y="14332"/>
                  <a:pt x="227895" y="14332"/>
                </a:cubicBezTo>
                <a:cubicBezTo>
                  <a:pt x="268885" y="14332"/>
                  <a:pt x="303193" y="47676"/>
                  <a:pt x="303193" y="90598"/>
                </a:cubicBezTo>
                <a:cubicBezTo>
                  <a:pt x="303193" y="94386"/>
                  <a:pt x="302226" y="97282"/>
                  <a:pt x="302226" y="101069"/>
                </a:cubicBezTo>
                <a:cubicBezTo>
                  <a:pt x="302226" y="103966"/>
                  <a:pt x="303193" y="106787"/>
                  <a:pt x="306088" y="108718"/>
                </a:cubicBezTo>
                <a:cubicBezTo>
                  <a:pt x="327028" y="117258"/>
                  <a:pt x="341360" y="137309"/>
                  <a:pt x="341360" y="161146"/>
                </a:cubicBezTo>
                <a:cubicBezTo>
                  <a:pt x="341360" y="192633"/>
                  <a:pt x="315593" y="218327"/>
                  <a:pt x="284107" y="218327"/>
                </a:cubicBezTo>
                <a:close/>
                <a:moveTo>
                  <a:pt x="223143" y="245953"/>
                </a:moveTo>
                <a:cubicBezTo>
                  <a:pt x="220247" y="245061"/>
                  <a:pt x="218391" y="245953"/>
                  <a:pt x="216460" y="247883"/>
                </a:cubicBezTo>
                <a:cubicBezTo>
                  <a:pt x="216460" y="247883"/>
                  <a:pt x="207846" y="253602"/>
                  <a:pt x="200272" y="262216"/>
                </a:cubicBezTo>
                <a:cubicBezTo>
                  <a:pt x="191658" y="270756"/>
                  <a:pt x="182153" y="280336"/>
                  <a:pt x="179257" y="289841"/>
                </a:cubicBezTo>
                <a:cubicBezTo>
                  <a:pt x="177326" y="292663"/>
                  <a:pt x="177326" y="296524"/>
                  <a:pt x="177326" y="299346"/>
                </a:cubicBezTo>
                <a:cubicBezTo>
                  <a:pt x="177326" y="310783"/>
                  <a:pt x="184009" y="321328"/>
                  <a:pt x="194554" y="326080"/>
                </a:cubicBezTo>
                <a:cubicBezTo>
                  <a:pt x="198341" y="327046"/>
                  <a:pt x="201163" y="327937"/>
                  <a:pt x="204059" y="327937"/>
                </a:cubicBezTo>
                <a:cubicBezTo>
                  <a:pt x="215495" y="327937"/>
                  <a:pt x="225965" y="320362"/>
                  <a:pt x="229826" y="308926"/>
                </a:cubicBezTo>
                <a:cubicBezTo>
                  <a:pt x="231683" y="304173"/>
                  <a:pt x="231683" y="299346"/>
                  <a:pt x="231683" y="293628"/>
                </a:cubicBezTo>
                <a:cubicBezTo>
                  <a:pt x="231683" y="275509"/>
                  <a:pt x="226930" y="251671"/>
                  <a:pt x="226930" y="251671"/>
                </a:cubicBezTo>
                <a:cubicBezTo>
                  <a:pt x="226930" y="248849"/>
                  <a:pt x="225000" y="246918"/>
                  <a:pt x="223143" y="245953"/>
                </a:cubicBezTo>
                <a:close/>
                <a:moveTo>
                  <a:pt x="217425" y="304173"/>
                </a:moveTo>
                <a:cubicBezTo>
                  <a:pt x="214529" y="310783"/>
                  <a:pt x="209777" y="313679"/>
                  <a:pt x="204059" y="313679"/>
                </a:cubicBezTo>
                <a:cubicBezTo>
                  <a:pt x="203093" y="313679"/>
                  <a:pt x="201163" y="313679"/>
                  <a:pt x="200272" y="312713"/>
                </a:cubicBezTo>
                <a:cubicBezTo>
                  <a:pt x="194554" y="310782"/>
                  <a:pt x="190693" y="305064"/>
                  <a:pt x="190693" y="299346"/>
                </a:cubicBezTo>
                <a:cubicBezTo>
                  <a:pt x="190693" y="297490"/>
                  <a:pt x="190693" y="296524"/>
                  <a:pt x="191659" y="294593"/>
                </a:cubicBezTo>
                <a:cubicBezTo>
                  <a:pt x="192625" y="289841"/>
                  <a:pt x="201164" y="279370"/>
                  <a:pt x="209778" y="271721"/>
                </a:cubicBezTo>
                <a:cubicBezTo>
                  <a:pt x="211708" y="269790"/>
                  <a:pt x="213565" y="267934"/>
                  <a:pt x="215495" y="266003"/>
                </a:cubicBezTo>
                <a:cubicBezTo>
                  <a:pt x="217426" y="273652"/>
                  <a:pt x="218392" y="285088"/>
                  <a:pt x="218392" y="293628"/>
                </a:cubicBezTo>
                <a:cubicBezTo>
                  <a:pt x="218392" y="298455"/>
                  <a:pt x="217425" y="302242"/>
                  <a:pt x="217425" y="304173"/>
                </a:cubicBezTo>
                <a:close/>
                <a:moveTo>
                  <a:pt x="141163" y="245953"/>
                </a:moveTo>
                <a:cubicBezTo>
                  <a:pt x="138267" y="245061"/>
                  <a:pt x="136336" y="245953"/>
                  <a:pt x="134480" y="247883"/>
                </a:cubicBezTo>
                <a:cubicBezTo>
                  <a:pt x="134480" y="247883"/>
                  <a:pt x="126832" y="253602"/>
                  <a:pt x="118218" y="262216"/>
                </a:cubicBezTo>
                <a:cubicBezTo>
                  <a:pt x="109678" y="270756"/>
                  <a:pt x="100173" y="280336"/>
                  <a:pt x="97277" y="289841"/>
                </a:cubicBezTo>
                <a:cubicBezTo>
                  <a:pt x="96311" y="292663"/>
                  <a:pt x="95346" y="296524"/>
                  <a:pt x="95346" y="299346"/>
                </a:cubicBezTo>
                <a:cubicBezTo>
                  <a:pt x="95346" y="310783"/>
                  <a:pt x="102030" y="321328"/>
                  <a:pt x="113465" y="326080"/>
                </a:cubicBezTo>
                <a:cubicBezTo>
                  <a:pt x="116361" y="327046"/>
                  <a:pt x="119183" y="327937"/>
                  <a:pt x="122079" y="327937"/>
                </a:cubicBezTo>
                <a:cubicBezTo>
                  <a:pt x="133515" y="327937"/>
                  <a:pt x="143985" y="320362"/>
                  <a:pt x="147772" y="308926"/>
                </a:cubicBezTo>
                <a:cubicBezTo>
                  <a:pt x="149703" y="304173"/>
                  <a:pt x="149703" y="299346"/>
                  <a:pt x="149703" y="293628"/>
                </a:cubicBezTo>
                <a:cubicBezTo>
                  <a:pt x="149703" y="275509"/>
                  <a:pt x="144950" y="251671"/>
                  <a:pt x="144950" y="251671"/>
                </a:cubicBezTo>
                <a:cubicBezTo>
                  <a:pt x="144950" y="248849"/>
                  <a:pt x="143020" y="246918"/>
                  <a:pt x="141163" y="245953"/>
                </a:cubicBezTo>
                <a:close/>
                <a:moveTo>
                  <a:pt x="135445" y="304173"/>
                </a:moveTo>
                <a:cubicBezTo>
                  <a:pt x="132549" y="310783"/>
                  <a:pt x="127797" y="313679"/>
                  <a:pt x="122079" y="313679"/>
                </a:cubicBezTo>
                <a:cubicBezTo>
                  <a:pt x="121113" y="313679"/>
                  <a:pt x="119183" y="313679"/>
                  <a:pt x="118218" y="312713"/>
                </a:cubicBezTo>
                <a:cubicBezTo>
                  <a:pt x="112500" y="310782"/>
                  <a:pt x="108713" y="305064"/>
                  <a:pt x="108713" y="299346"/>
                </a:cubicBezTo>
                <a:cubicBezTo>
                  <a:pt x="108713" y="297490"/>
                  <a:pt x="109679" y="296524"/>
                  <a:pt x="109679" y="294593"/>
                </a:cubicBezTo>
                <a:cubicBezTo>
                  <a:pt x="111609" y="289841"/>
                  <a:pt x="119184" y="279370"/>
                  <a:pt x="127798" y="271721"/>
                </a:cubicBezTo>
                <a:cubicBezTo>
                  <a:pt x="129728" y="269790"/>
                  <a:pt x="131585" y="267934"/>
                  <a:pt x="133515" y="266003"/>
                </a:cubicBezTo>
                <a:cubicBezTo>
                  <a:pt x="135446" y="273652"/>
                  <a:pt x="136337" y="285088"/>
                  <a:pt x="136337" y="293628"/>
                </a:cubicBezTo>
                <a:cubicBezTo>
                  <a:pt x="136337" y="298455"/>
                  <a:pt x="135445" y="302242"/>
                  <a:pt x="135445" y="304173"/>
                </a:cubicBezTo>
                <a:close/>
              </a:path>
            </a:pathLst>
          </a:custGeom>
          <a:solidFill>
            <a:schemeClr val="tx2"/>
          </a:solidFill>
          <a:ln w="3705"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B10555D3-D586-4ED9-94FF-67FCF7744A04}"/>
              </a:ext>
            </a:extLst>
          </p:cNvPr>
          <p:cNvSpPr/>
          <p:nvPr/>
        </p:nvSpPr>
        <p:spPr>
          <a:xfrm>
            <a:off x="589992" y="3235735"/>
            <a:ext cx="408117" cy="354671"/>
          </a:xfrm>
          <a:custGeom>
            <a:avLst/>
            <a:gdLst>
              <a:gd name="connsiteX0" fmla="*/ 372920 w 408117"/>
              <a:gd name="connsiteY0" fmla="*/ 132556 h 354671"/>
              <a:gd name="connsiteX1" fmla="*/ 372920 w 408117"/>
              <a:gd name="connsiteY1" fmla="*/ 125872 h 354671"/>
              <a:gd name="connsiteX2" fmla="*/ 291163 w 408117"/>
              <a:gd name="connsiteY2" fmla="*/ 41066 h 354671"/>
              <a:gd name="connsiteX3" fmla="*/ 212153 w 408117"/>
              <a:gd name="connsiteY3" fmla="*/ 101069 h 354671"/>
              <a:gd name="connsiteX4" fmla="*/ 186460 w 408117"/>
              <a:gd name="connsiteY4" fmla="*/ 95351 h 354671"/>
              <a:gd name="connsiteX5" fmla="*/ 184604 w 408117"/>
              <a:gd name="connsiteY5" fmla="*/ 95351 h 354671"/>
              <a:gd name="connsiteX6" fmla="*/ 121782 w 408117"/>
              <a:gd name="connsiteY6" fmla="*/ 54359 h 354671"/>
              <a:gd name="connsiteX7" fmla="*/ 54282 w 408117"/>
              <a:gd name="connsiteY7" fmla="*/ 123051 h 354671"/>
              <a:gd name="connsiteX8" fmla="*/ 89480 w 408117"/>
              <a:gd name="connsiteY8" fmla="*/ 183128 h 354671"/>
              <a:gd name="connsiteX9" fmla="*/ 80866 w 408117"/>
              <a:gd name="connsiteY9" fmla="*/ 210753 h 354671"/>
              <a:gd name="connsiteX10" fmla="*/ 128465 w 408117"/>
              <a:gd name="connsiteY10" fmla="*/ 259394 h 354671"/>
              <a:gd name="connsiteX11" fmla="*/ 343440 w 408117"/>
              <a:gd name="connsiteY11" fmla="*/ 259394 h 354671"/>
              <a:gd name="connsiteX12" fmla="*/ 408118 w 408117"/>
              <a:gd name="connsiteY12" fmla="*/ 192633 h 354671"/>
              <a:gd name="connsiteX13" fmla="*/ 372920 w 408117"/>
              <a:gd name="connsiteY13" fmla="*/ 132556 h 354671"/>
              <a:gd name="connsiteX14" fmla="*/ 67574 w 408117"/>
              <a:gd name="connsiteY14" fmla="*/ 123051 h 354671"/>
              <a:gd name="connsiteX15" fmla="*/ 121782 w 408117"/>
              <a:gd name="connsiteY15" fmla="*/ 68692 h 354671"/>
              <a:gd name="connsiteX16" fmla="*/ 170346 w 408117"/>
              <a:gd name="connsiteY16" fmla="*/ 97282 h 354671"/>
              <a:gd name="connsiteX17" fmla="*/ 127500 w 408117"/>
              <a:gd name="connsiteY17" fmla="*/ 156394 h 354671"/>
              <a:gd name="connsiteX18" fmla="*/ 127500 w 408117"/>
              <a:gd name="connsiteY18" fmla="*/ 161146 h 354671"/>
              <a:gd name="connsiteX19" fmla="*/ 98985 w 408117"/>
              <a:gd name="connsiteY19" fmla="*/ 171617 h 354671"/>
              <a:gd name="connsiteX20" fmla="*/ 67574 w 408117"/>
              <a:gd name="connsiteY20" fmla="*/ 123051 h 354671"/>
              <a:gd name="connsiteX21" fmla="*/ 343440 w 408117"/>
              <a:gd name="connsiteY21" fmla="*/ 246027 h 354671"/>
              <a:gd name="connsiteX22" fmla="*/ 343440 w 408117"/>
              <a:gd name="connsiteY22" fmla="*/ 246027 h 354671"/>
              <a:gd name="connsiteX23" fmla="*/ 128465 w 408117"/>
              <a:gd name="connsiteY23" fmla="*/ 246027 h 354671"/>
              <a:gd name="connsiteX24" fmla="*/ 95198 w 408117"/>
              <a:gd name="connsiteY24" fmla="*/ 210753 h 354671"/>
              <a:gd name="connsiteX25" fmla="*/ 128465 w 408117"/>
              <a:gd name="connsiteY25" fmla="*/ 174514 h 354671"/>
              <a:gd name="connsiteX26" fmla="*/ 135148 w 408117"/>
              <a:gd name="connsiteY26" fmla="*/ 175479 h 354671"/>
              <a:gd name="connsiteX27" fmla="*/ 140866 w 408117"/>
              <a:gd name="connsiteY27" fmla="*/ 173548 h 354671"/>
              <a:gd name="connsiteX28" fmla="*/ 142722 w 408117"/>
              <a:gd name="connsiteY28" fmla="*/ 166865 h 354671"/>
              <a:gd name="connsiteX29" fmla="*/ 140866 w 408117"/>
              <a:gd name="connsiteY29" fmla="*/ 156394 h 354671"/>
              <a:gd name="connsiteX30" fmla="*/ 186460 w 408117"/>
              <a:gd name="connsiteY30" fmla="*/ 108718 h 354671"/>
              <a:gd name="connsiteX31" fmla="*/ 213118 w 408117"/>
              <a:gd name="connsiteY31" fmla="*/ 117333 h 354671"/>
              <a:gd name="connsiteX32" fmla="*/ 219801 w 408117"/>
              <a:gd name="connsiteY32" fmla="*/ 118224 h 354671"/>
              <a:gd name="connsiteX33" fmla="*/ 223589 w 408117"/>
              <a:gd name="connsiteY33" fmla="*/ 113471 h 354671"/>
              <a:gd name="connsiteX34" fmla="*/ 291163 w 408117"/>
              <a:gd name="connsiteY34" fmla="*/ 54359 h 354671"/>
              <a:gd name="connsiteX35" fmla="*/ 359628 w 408117"/>
              <a:gd name="connsiteY35" fmla="*/ 125873 h 354671"/>
              <a:gd name="connsiteX36" fmla="*/ 358662 w 408117"/>
              <a:gd name="connsiteY36" fmla="*/ 135452 h 354671"/>
              <a:gd name="connsiteX37" fmla="*/ 362524 w 408117"/>
              <a:gd name="connsiteY37" fmla="*/ 143027 h 354671"/>
              <a:gd name="connsiteX38" fmla="*/ 393860 w 408117"/>
              <a:gd name="connsiteY38" fmla="*/ 192633 h 354671"/>
              <a:gd name="connsiteX39" fmla="*/ 343440 w 408117"/>
              <a:gd name="connsiteY39" fmla="*/ 246027 h 354671"/>
              <a:gd name="connsiteX40" fmla="*/ 121782 w 408117"/>
              <a:gd name="connsiteY40" fmla="*/ 41066 h 354671"/>
              <a:gd name="connsiteX41" fmla="*/ 128465 w 408117"/>
              <a:gd name="connsiteY41" fmla="*/ 34383 h 354671"/>
              <a:gd name="connsiteX42" fmla="*/ 128465 w 408117"/>
              <a:gd name="connsiteY42" fmla="*/ 6684 h 354671"/>
              <a:gd name="connsiteX43" fmla="*/ 121782 w 408117"/>
              <a:gd name="connsiteY43" fmla="*/ 0 h 354671"/>
              <a:gd name="connsiteX44" fmla="*/ 115173 w 408117"/>
              <a:gd name="connsiteY44" fmla="*/ 6684 h 354671"/>
              <a:gd name="connsiteX45" fmla="*/ 115173 w 408117"/>
              <a:gd name="connsiteY45" fmla="*/ 34383 h 354671"/>
              <a:gd name="connsiteX46" fmla="*/ 121782 w 408117"/>
              <a:gd name="connsiteY46" fmla="*/ 41066 h 354671"/>
              <a:gd name="connsiteX47" fmla="*/ 54282 w 408117"/>
              <a:gd name="connsiteY47" fmla="*/ 64904 h 354671"/>
              <a:gd name="connsiteX48" fmla="*/ 60000 w 408117"/>
              <a:gd name="connsiteY48" fmla="*/ 66761 h 354671"/>
              <a:gd name="connsiteX49" fmla="*/ 64752 w 408117"/>
              <a:gd name="connsiteY49" fmla="*/ 64904 h 354671"/>
              <a:gd name="connsiteX50" fmla="*/ 64752 w 408117"/>
              <a:gd name="connsiteY50" fmla="*/ 55325 h 354671"/>
              <a:gd name="connsiteX51" fmla="*/ 44777 w 408117"/>
              <a:gd name="connsiteY51" fmla="*/ 36239 h 354671"/>
              <a:gd name="connsiteX52" fmla="*/ 35198 w 408117"/>
              <a:gd name="connsiteY52" fmla="*/ 36239 h 354671"/>
              <a:gd name="connsiteX53" fmla="*/ 35198 w 408117"/>
              <a:gd name="connsiteY53" fmla="*/ 45819 h 354671"/>
              <a:gd name="connsiteX54" fmla="*/ 40025 w 408117"/>
              <a:gd name="connsiteY54" fmla="*/ 123051 h 354671"/>
              <a:gd name="connsiteX55" fmla="*/ 33341 w 408117"/>
              <a:gd name="connsiteY55" fmla="*/ 116367 h 354671"/>
              <a:gd name="connsiteX56" fmla="*/ 6683 w 408117"/>
              <a:gd name="connsiteY56" fmla="*/ 116367 h 354671"/>
              <a:gd name="connsiteX57" fmla="*/ 0 w 408117"/>
              <a:gd name="connsiteY57" fmla="*/ 123051 h 354671"/>
              <a:gd name="connsiteX58" fmla="*/ 6683 w 408117"/>
              <a:gd name="connsiteY58" fmla="*/ 129734 h 354671"/>
              <a:gd name="connsiteX59" fmla="*/ 33341 w 408117"/>
              <a:gd name="connsiteY59" fmla="*/ 129734 h 354671"/>
              <a:gd name="connsiteX60" fmla="*/ 40025 w 408117"/>
              <a:gd name="connsiteY60" fmla="*/ 123051 h 354671"/>
              <a:gd name="connsiteX61" fmla="*/ 54282 w 408117"/>
              <a:gd name="connsiteY61" fmla="*/ 180232 h 354671"/>
              <a:gd name="connsiteX62" fmla="*/ 35198 w 408117"/>
              <a:gd name="connsiteY62" fmla="*/ 200282 h 354671"/>
              <a:gd name="connsiteX63" fmla="*/ 35198 w 408117"/>
              <a:gd name="connsiteY63" fmla="*/ 209788 h 354671"/>
              <a:gd name="connsiteX64" fmla="*/ 40025 w 408117"/>
              <a:gd name="connsiteY64" fmla="*/ 211718 h 354671"/>
              <a:gd name="connsiteX65" fmla="*/ 44777 w 408117"/>
              <a:gd name="connsiteY65" fmla="*/ 209788 h 354671"/>
              <a:gd name="connsiteX66" fmla="*/ 64752 w 408117"/>
              <a:gd name="connsiteY66" fmla="*/ 190702 h 354671"/>
              <a:gd name="connsiteX67" fmla="*/ 64752 w 408117"/>
              <a:gd name="connsiteY67" fmla="*/ 180232 h 354671"/>
              <a:gd name="connsiteX68" fmla="*/ 54282 w 408117"/>
              <a:gd name="connsiteY68" fmla="*/ 180232 h 354671"/>
              <a:gd name="connsiteX69" fmla="*/ 184604 w 408117"/>
              <a:gd name="connsiteY69" fmla="*/ 66761 h 354671"/>
              <a:gd name="connsiteX70" fmla="*/ 189356 w 408117"/>
              <a:gd name="connsiteY70" fmla="*/ 64904 h 354671"/>
              <a:gd name="connsiteX71" fmla="*/ 208366 w 408117"/>
              <a:gd name="connsiteY71" fmla="*/ 45819 h 354671"/>
              <a:gd name="connsiteX72" fmla="*/ 208366 w 408117"/>
              <a:gd name="connsiteY72" fmla="*/ 36239 h 354671"/>
              <a:gd name="connsiteX73" fmla="*/ 198861 w 408117"/>
              <a:gd name="connsiteY73" fmla="*/ 36239 h 354671"/>
              <a:gd name="connsiteX74" fmla="*/ 179851 w 408117"/>
              <a:gd name="connsiteY74" fmla="*/ 55325 h 354671"/>
              <a:gd name="connsiteX75" fmla="*/ 179851 w 408117"/>
              <a:gd name="connsiteY75" fmla="*/ 64904 h 354671"/>
              <a:gd name="connsiteX76" fmla="*/ 184604 w 408117"/>
              <a:gd name="connsiteY76" fmla="*/ 66761 h 354671"/>
              <a:gd name="connsiteX77" fmla="*/ 249282 w 408117"/>
              <a:gd name="connsiteY77" fmla="*/ 273652 h 354671"/>
              <a:gd name="connsiteX78" fmla="*/ 242599 w 408117"/>
              <a:gd name="connsiteY78" fmla="*/ 274618 h 354671"/>
              <a:gd name="connsiteX79" fmla="*/ 226485 w 408117"/>
              <a:gd name="connsiteY79" fmla="*/ 289841 h 354671"/>
              <a:gd name="connsiteX80" fmla="*/ 205544 w 408117"/>
              <a:gd name="connsiteY80" fmla="*/ 316575 h 354671"/>
              <a:gd name="connsiteX81" fmla="*/ 203613 w 408117"/>
              <a:gd name="connsiteY81" fmla="*/ 326080 h 354671"/>
              <a:gd name="connsiteX82" fmla="*/ 221658 w 408117"/>
              <a:gd name="connsiteY82" fmla="*/ 352814 h 354671"/>
              <a:gd name="connsiteX83" fmla="*/ 230272 w 408117"/>
              <a:gd name="connsiteY83" fmla="*/ 354671 h 354671"/>
              <a:gd name="connsiteX84" fmla="*/ 231237 w 408117"/>
              <a:gd name="connsiteY84" fmla="*/ 354671 h 354671"/>
              <a:gd name="connsiteX85" fmla="*/ 255965 w 408117"/>
              <a:gd name="connsiteY85" fmla="*/ 335660 h 354671"/>
              <a:gd name="connsiteX86" fmla="*/ 257821 w 408117"/>
              <a:gd name="connsiteY86" fmla="*/ 320362 h 354671"/>
              <a:gd name="connsiteX87" fmla="*/ 254034 w 408117"/>
              <a:gd name="connsiteY87" fmla="*/ 278405 h 354671"/>
              <a:gd name="connsiteX88" fmla="*/ 249282 w 408117"/>
              <a:gd name="connsiteY88" fmla="*/ 273652 h 354671"/>
              <a:gd name="connsiteX89" fmla="*/ 243564 w 408117"/>
              <a:gd name="connsiteY89" fmla="*/ 331798 h 354671"/>
              <a:gd name="connsiteX90" fmla="*/ 231237 w 408117"/>
              <a:gd name="connsiteY90" fmla="*/ 341378 h 354671"/>
              <a:gd name="connsiteX91" fmla="*/ 226485 w 408117"/>
              <a:gd name="connsiteY91" fmla="*/ 340413 h 354671"/>
              <a:gd name="connsiteX92" fmla="*/ 216905 w 408117"/>
              <a:gd name="connsiteY92" fmla="*/ 326080 h 354671"/>
              <a:gd name="connsiteX93" fmla="*/ 217871 w 408117"/>
              <a:gd name="connsiteY93" fmla="*/ 321328 h 354671"/>
              <a:gd name="connsiteX94" fmla="*/ 235990 w 408117"/>
              <a:gd name="connsiteY94" fmla="*/ 299421 h 354671"/>
              <a:gd name="connsiteX95" fmla="*/ 242599 w 408117"/>
              <a:gd name="connsiteY95" fmla="*/ 292737 h 354671"/>
              <a:gd name="connsiteX96" fmla="*/ 244529 w 408117"/>
              <a:gd name="connsiteY96" fmla="*/ 320362 h 354671"/>
              <a:gd name="connsiteX97" fmla="*/ 243564 w 408117"/>
              <a:gd name="connsiteY97" fmla="*/ 331798 h 35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408117" h="354671">
                <a:moveTo>
                  <a:pt x="372920" y="132556"/>
                </a:moveTo>
                <a:cubicBezTo>
                  <a:pt x="372920" y="130625"/>
                  <a:pt x="372920" y="128769"/>
                  <a:pt x="372920" y="125872"/>
                </a:cubicBezTo>
                <a:cubicBezTo>
                  <a:pt x="372920" y="79162"/>
                  <a:pt x="336831" y="41066"/>
                  <a:pt x="291163" y="41066"/>
                </a:cubicBezTo>
                <a:cubicBezTo>
                  <a:pt x="254034" y="41066"/>
                  <a:pt x="222623" y="66761"/>
                  <a:pt x="212153" y="101069"/>
                </a:cubicBezTo>
                <a:cubicBezTo>
                  <a:pt x="204579" y="97282"/>
                  <a:pt x="196039" y="95351"/>
                  <a:pt x="186460" y="95351"/>
                </a:cubicBezTo>
                <a:cubicBezTo>
                  <a:pt x="185569" y="95351"/>
                  <a:pt x="184604" y="95351"/>
                  <a:pt x="184604" y="95351"/>
                </a:cubicBezTo>
                <a:cubicBezTo>
                  <a:pt x="174133" y="71513"/>
                  <a:pt x="150371" y="54359"/>
                  <a:pt x="121782" y="54359"/>
                </a:cubicBezTo>
                <a:cubicBezTo>
                  <a:pt x="84728" y="54359"/>
                  <a:pt x="54282" y="84880"/>
                  <a:pt x="54282" y="123051"/>
                </a:cubicBezTo>
                <a:cubicBezTo>
                  <a:pt x="54282" y="148745"/>
                  <a:pt x="68540" y="170726"/>
                  <a:pt x="89480" y="183128"/>
                </a:cubicBezTo>
                <a:cubicBezTo>
                  <a:pt x="84728" y="190702"/>
                  <a:pt x="80866" y="200282"/>
                  <a:pt x="80866" y="210753"/>
                </a:cubicBezTo>
                <a:cubicBezTo>
                  <a:pt x="80866" y="237413"/>
                  <a:pt x="101807" y="259394"/>
                  <a:pt x="128465" y="259394"/>
                </a:cubicBezTo>
                <a:cubicBezTo>
                  <a:pt x="343440" y="259394"/>
                  <a:pt x="343440" y="259394"/>
                  <a:pt x="343440" y="259394"/>
                </a:cubicBezTo>
                <a:cubicBezTo>
                  <a:pt x="378638" y="259394"/>
                  <a:pt x="408118" y="228873"/>
                  <a:pt x="408118" y="192633"/>
                </a:cubicBezTo>
                <a:cubicBezTo>
                  <a:pt x="408118" y="165899"/>
                  <a:pt x="393861" y="143992"/>
                  <a:pt x="372920" y="132556"/>
                </a:cubicBezTo>
                <a:close/>
                <a:moveTo>
                  <a:pt x="67574" y="123051"/>
                </a:moveTo>
                <a:cubicBezTo>
                  <a:pt x="67574" y="92529"/>
                  <a:pt x="92302" y="68692"/>
                  <a:pt x="121782" y="68692"/>
                </a:cubicBezTo>
                <a:cubicBezTo>
                  <a:pt x="142722" y="68692"/>
                  <a:pt x="160841" y="80128"/>
                  <a:pt x="170346" y="97282"/>
                </a:cubicBezTo>
                <a:cubicBezTo>
                  <a:pt x="145618" y="104931"/>
                  <a:pt x="127500" y="128769"/>
                  <a:pt x="127500" y="156394"/>
                </a:cubicBezTo>
                <a:cubicBezTo>
                  <a:pt x="127500" y="158325"/>
                  <a:pt x="127500" y="159290"/>
                  <a:pt x="127500" y="161146"/>
                </a:cubicBezTo>
                <a:cubicBezTo>
                  <a:pt x="117029" y="161146"/>
                  <a:pt x="106559" y="165899"/>
                  <a:pt x="98985" y="171617"/>
                </a:cubicBezTo>
                <a:cubicBezTo>
                  <a:pt x="80866" y="163077"/>
                  <a:pt x="67574" y="144958"/>
                  <a:pt x="67574" y="123051"/>
                </a:cubicBezTo>
                <a:close/>
                <a:moveTo>
                  <a:pt x="343440" y="246027"/>
                </a:moveTo>
                <a:cubicBezTo>
                  <a:pt x="343440" y="246027"/>
                  <a:pt x="343440" y="246027"/>
                  <a:pt x="343440" y="246027"/>
                </a:cubicBezTo>
                <a:cubicBezTo>
                  <a:pt x="128465" y="246027"/>
                  <a:pt x="128465" y="246027"/>
                  <a:pt x="128465" y="246027"/>
                </a:cubicBezTo>
                <a:cubicBezTo>
                  <a:pt x="110421" y="245061"/>
                  <a:pt x="95198" y="229838"/>
                  <a:pt x="95198" y="210753"/>
                </a:cubicBezTo>
                <a:cubicBezTo>
                  <a:pt x="95198" y="190702"/>
                  <a:pt x="110421" y="175479"/>
                  <a:pt x="128465" y="174514"/>
                </a:cubicBezTo>
                <a:cubicBezTo>
                  <a:pt x="130396" y="174514"/>
                  <a:pt x="132252" y="175479"/>
                  <a:pt x="135148" y="175479"/>
                </a:cubicBezTo>
                <a:cubicBezTo>
                  <a:pt x="137005" y="176444"/>
                  <a:pt x="138935" y="175479"/>
                  <a:pt x="140866" y="173548"/>
                </a:cubicBezTo>
                <a:cubicBezTo>
                  <a:pt x="142722" y="171617"/>
                  <a:pt x="142722" y="169761"/>
                  <a:pt x="142722" y="166865"/>
                </a:cubicBezTo>
                <a:cubicBezTo>
                  <a:pt x="141757" y="164043"/>
                  <a:pt x="140866" y="160181"/>
                  <a:pt x="140866" y="156394"/>
                </a:cubicBezTo>
                <a:cubicBezTo>
                  <a:pt x="140866" y="129734"/>
                  <a:pt x="161732" y="108718"/>
                  <a:pt x="186460" y="108718"/>
                </a:cubicBezTo>
                <a:cubicBezTo>
                  <a:pt x="196039" y="108718"/>
                  <a:pt x="205544" y="111614"/>
                  <a:pt x="213118" y="117333"/>
                </a:cubicBezTo>
                <a:cubicBezTo>
                  <a:pt x="215049" y="119189"/>
                  <a:pt x="216905" y="119189"/>
                  <a:pt x="219801" y="118224"/>
                </a:cubicBezTo>
                <a:cubicBezTo>
                  <a:pt x="221658" y="117333"/>
                  <a:pt x="223589" y="115402"/>
                  <a:pt x="223589" y="113471"/>
                </a:cubicBezTo>
                <a:cubicBezTo>
                  <a:pt x="229306" y="80128"/>
                  <a:pt x="257821" y="54359"/>
                  <a:pt x="291163" y="54359"/>
                </a:cubicBezTo>
                <a:cubicBezTo>
                  <a:pt x="328217" y="54359"/>
                  <a:pt x="359628" y="86811"/>
                  <a:pt x="359628" y="125873"/>
                </a:cubicBezTo>
                <a:cubicBezTo>
                  <a:pt x="359628" y="129734"/>
                  <a:pt x="359628" y="132556"/>
                  <a:pt x="358662" y="135452"/>
                </a:cubicBezTo>
                <a:cubicBezTo>
                  <a:pt x="358662" y="139240"/>
                  <a:pt x="359628" y="142062"/>
                  <a:pt x="362524" y="143027"/>
                </a:cubicBezTo>
                <a:cubicBezTo>
                  <a:pt x="381534" y="150676"/>
                  <a:pt x="393860" y="169761"/>
                  <a:pt x="393860" y="192633"/>
                </a:cubicBezTo>
                <a:cubicBezTo>
                  <a:pt x="393860" y="222189"/>
                  <a:pt x="371064" y="245062"/>
                  <a:pt x="343440" y="246027"/>
                </a:cubicBezTo>
                <a:close/>
                <a:moveTo>
                  <a:pt x="121782" y="41066"/>
                </a:moveTo>
                <a:cubicBezTo>
                  <a:pt x="125643" y="41066"/>
                  <a:pt x="128465" y="38170"/>
                  <a:pt x="128465" y="34383"/>
                </a:cubicBezTo>
                <a:cubicBezTo>
                  <a:pt x="128465" y="6684"/>
                  <a:pt x="128465" y="6684"/>
                  <a:pt x="128465" y="6684"/>
                </a:cubicBezTo>
                <a:cubicBezTo>
                  <a:pt x="128465" y="2896"/>
                  <a:pt x="125643" y="0"/>
                  <a:pt x="121782" y="0"/>
                </a:cubicBezTo>
                <a:cubicBezTo>
                  <a:pt x="117995" y="0"/>
                  <a:pt x="115173" y="2896"/>
                  <a:pt x="115173" y="6684"/>
                </a:cubicBezTo>
                <a:cubicBezTo>
                  <a:pt x="115173" y="34383"/>
                  <a:pt x="115173" y="34383"/>
                  <a:pt x="115173" y="34383"/>
                </a:cubicBezTo>
                <a:cubicBezTo>
                  <a:pt x="115173" y="38170"/>
                  <a:pt x="117995" y="41066"/>
                  <a:pt x="121782" y="41066"/>
                </a:cubicBezTo>
                <a:close/>
                <a:moveTo>
                  <a:pt x="54282" y="64904"/>
                </a:moveTo>
                <a:cubicBezTo>
                  <a:pt x="56138" y="65795"/>
                  <a:pt x="58069" y="66761"/>
                  <a:pt x="60000" y="66761"/>
                </a:cubicBezTo>
                <a:cubicBezTo>
                  <a:pt x="60891" y="66761"/>
                  <a:pt x="62822" y="65795"/>
                  <a:pt x="64752" y="64904"/>
                </a:cubicBezTo>
                <a:cubicBezTo>
                  <a:pt x="66609" y="62008"/>
                  <a:pt x="66609" y="58221"/>
                  <a:pt x="64752" y="55325"/>
                </a:cubicBezTo>
                <a:cubicBezTo>
                  <a:pt x="44777" y="36239"/>
                  <a:pt x="44777" y="36239"/>
                  <a:pt x="44777" y="36239"/>
                </a:cubicBezTo>
                <a:cubicBezTo>
                  <a:pt x="42846" y="33417"/>
                  <a:pt x="38094" y="33417"/>
                  <a:pt x="35198" y="36239"/>
                </a:cubicBezTo>
                <a:cubicBezTo>
                  <a:pt x="32376" y="39136"/>
                  <a:pt x="32376" y="42923"/>
                  <a:pt x="35198" y="45819"/>
                </a:cubicBezTo>
                <a:close/>
                <a:moveTo>
                  <a:pt x="40025" y="123051"/>
                </a:moveTo>
                <a:cubicBezTo>
                  <a:pt x="40025" y="119189"/>
                  <a:pt x="37129" y="116367"/>
                  <a:pt x="33341" y="116367"/>
                </a:cubicBezTo>
                <a:cubicBezTo>
                  <a:pt x="6683" y="116367"/>
                  <a:pt x="6683" y="116367"/>
                  <a:pt x="6683" y="116367"/>
                </a:cubicBezTo>
                <a:cubicBezTo>
                  <a:pt x="2896" y="116367"/>
                  <a:pt x="0" y="119189"/>
                  <a:pt x="0" y="123051"/>
                </a:cubicBezTo>
                <a:cubicBezTo>
                  <a:pt x="0" y="126838"/>
                  <a:pt x="2896" y="129734"/>
                  <a:pt x="6683" y="129734"/>
                </a:cubicBezTo>
                <a:cubicBezTo>
                  <a:pt x="33341" y="129734"/>
                  <a:pt x="33341" y="129734"/>
                  <a:pt x="33341" y="129734"/>
                </a:cubicBezTo>
                <a:cubicBezTo>
                  <a:pt x="37129" y="129734"/>
                  <a:pt x="40025" y="126838"/>
                  <a:pt x="40025" y="123051"/>
                </a:cubicBezTo>
                <a:close/>
                <a:moveTo>
                  <a:pt x="54282" y="180232"/>
                </a:moveTo>
                <a:cubicBezTo>
                  <a:pt x="35198" y="200282"/>
                  <a:pt x="35198" y="200282"/>
                  <a:pt x="35198" y="200282"/>
                </a:cubicBezTo>
                <a:cubicBezTo>
                  <a:pt x="32376" y="202139"/>
                  <a:pt x="32376" y="206891"/>
                  <a:pt x="35198" y="209788"/>
                </a:cubicBezTo>
                <a:cubicBezTo>
                  <a:pt x="37129" y="210753"/>
                  <a:pt x="38094" y="211718"/>
                  <a:pt x="40025" y="211718"/>
                </a:cubicBezTo>
                <a:cubicBezTo>
                  <a:pt x="41881" y="211718"/>
                  <a:pt x="43812" y="210753"/>
                  <a:pt x="44777" y="209788"/>
                </a:cubicBezTo>
                <a:cubicBezTo>
                  <a:pt x="64752" y="190702"/>
                  <a:pt x="64752" y="190702"/>
                  <a:pt x="64752" y="190702"/>
                </a:cubicBezTo>
                <a:cubicBezTo>
                  <a:pt x="66609" y="187881"/>
                  <a:pt x="66609" y="183128"/>
                  <a:pt x="64752" y="180232"/>
                </a:cubicBezTo>
                <a:cubicBezTo>
                  <a:pt x="61856" y="178301"/>
                  <a:pt x="57104" y="178301"/>
                  <a:pt x="54282" y="180232"/>
                </a:cubicBezTo>
                <a:close/>
                <a:moveTo>
                  <a:pt x="184604" y="66761"/>
                </a:moveTo>
                <a:cubicBezTo>
                  <a:pt x="186460" y="66761"/>
                  <a:pt x="188391" y="65795"/>
                  <a:pt x="189356" y="64904"/>
                </a:cubicBezTo>
                <a:cubicBezTo>
                  <a:pt x="208366" y="45819"/>
                  <a:pt x="208366" y="45819"/>
                  <a:pt x="208366" y="45819"/>
                </a:cubicBezTo>
                <a:cubicBezTo>
                  <a:pt x="211262" y="42923"/>
                  <a:pt x="211262" y="39136"/>
                  <a:pt x="208366" y="36239"/>
                </a:cubicBezTo>
                <a:cubicBezTo>
                  <a:pt x="206435" y="33417"/>
                  <a:pt x="201683" y="33417"/>
                  <a:pt x="198861" y="36239"/>
                </a:cubicBezTo>
                <a:cubicBezTo>
                  <a:pt x="179851" y="55325"/>
                  <a:pt x="179851" y="55325"/>
                  <a:pt x="179851" y="55325"/>
                </a:cubicBezTo>
                <a:cubicBezTo>
                  <a:pt x="176955" y="58221"/>
                  <a:pt x="176955" y="62008"/>
                  <a:pt x="179851" y="64904"/>
                </a:cubicBezTo>
                <a:cubicBezTo>
                  <a:pt x="180817" y="65795"/>
                  <a:pt x="182673" y="66761"/>
                  <a:pt x="184604" y="66761"/>
                </a:cubicBezTo>
                <a:close/>
                <a:moveTo>
                  <a:pt x="249282" y="273652"/>
                </a:moveTo>
                <a:cubicBezTo>
                  <a:pt x="247351" y="272687"/>
                  <a:pt x="244529" y="272687"/>
                  <a:pt x="242599" y="274618"/>
                </a:cubicBezTo>
                <a:cubicBezTo>
                  <a:pt x="242599" y="274618"/>
                  <a:pt x="235024" y="281301"/>
                  <a:pt x="226485" y="289841"/>
                </a:cubicBezTo>
                <a:cubicBezTo>
                  <a:pt x="217871" y="298455"/>
                  <a:pt x="208366" y="307961"/>
                  <a:pt x="205544" y="316575"/>
                </a:cubicBezTo>
                <a:cubicBezTo>
                  <a:pt x="204579" y="320362"/>
                  <a:pt x="203613" y="323259"/>
                  <a:pt x="203613" y="326080"/>
                </a:cubicBezTo>
                <a:cubicBezTo>
                  <a:pt x="203613" y="337517"/>
                  <a:pt x="210296" y="348953"/>
                  <a:pt x="221658" y="352814"/>
                </a:cubicBezTo>
                <a:cubicBezTo>
                  <a:pt x="224554" y="353780"/>
                  <a:pt x="227376" y="354671"/>
                  <a:pt x="230272" y="354671"/>
                </a:cubicBezTo>
                <a:cubicBezTo>
                  <a:pt x="231237" y="354671"/>
                  <a:pt x="231237" y="354671"/>
                  <a:pt x="231237" y="354671"/>
                </a:cubicBezTo>
                <a:cubicBezTo>
                  <a:pt x="241708" y="354671"/>
                  <a:pt x="252104" y="347096"/>
                  <a:pt x="255965" y="335660"/>
                </a:cubicBezTo>
                <a:cubicBezTo>
                  <a:pt x="257821" y="331799"/>
                  <a:pt x="257821" y="326080"/>
                  <a:pt x="257821" y="320362"/>
                </a:cubicBezTo>
                <a:cubicBezTo>
                  <a:pt x="257821" y="302243"/>
                  <a:pt x="254034" y="278405"/>
                  <a:pt x="254034" y="278405"/>
                </a:cubicBezTo>
                <a:cubicBezTo>
                  <a:pt x="253069" y="275583"/>
                  <a:pt x="251212" y="273652"/>
                  <a:pt x="249282" y="273652"/>
                </a:cubicBezTo>
                <a:close/>
                <a:moveTo>
                  <a:pt x="243564" y="331798"/>
                </a:moveTo>
                <a:cubicBezTo>
                  <a:pt x="241707" y="337517"/>
                  <a:pt x="235990" y="341378"/>
                  <a:pt x="231237" y="341378"/>
                </a:cubicBezTo>
                <a:cubicBezTo>
                  <a:pt x="229306" y="341378"/>
                  <a:pt x="227376" y="340413"/>
                  <a:pt x="226485" y="340413"/>
                </a:cubicBezTo>
                <a:cubicBezTo>
                  <a:pt x="220767" y="338482"/>
                  <a:pt x="216905" y="332764"/>
                  <a:pt x="216905" y="326080"/>
                </a:cubicBezTo>
                <a:cubicBezTo>
                  <a:pt x="216905" y="325115"/>
                  <a:pt x="217871" y="323258"/>
                  <a:pt x="217871" y="321328"/>
                </a:cubicBezTo>
                <a:cubicBezTo>
                  <a:pt x="219802" y="317540"/>
                  <a:pt x="228341" y="307070"/>
                  <a:pt x="235990" y="299421"/>
                </a:cubicBezTo>
                <a:cubicBezTo>
                  <a:pt x="237846" y="296524"/>
                  <a:pt x="240742" y="294668"/>
                  <a:pt x="242599" y="292737"/>
                </a:cubicBezTo>
                <a:cubicBezTo>
                  <a:pt x="243564" y="301351"/>
                  <a:pt x="244529" y="311822"/>
                  <a:pt x="244529" y="320362"/>
                </a:cubicBezTo>
                <a:cubicBezTo>
                  <a:pt x="244529" y="325115"/>
                  <a:pt x="244529" y="329942"/>
                  <a:pt x="243564" y="331798"/>
                </a:cubicBezTo>
                <a:close/>
              </a:path>
            </a:pathLst>
          </a:custGeom>
          <a:solidFill>
            <a:schemeClr val="tx2"/>
          </a:solidFill>
          <a:ln w="3705" cap="flat">
            <a:noFill/>
            <a:prstDash val="solid"/>
            <a:miter/>
          </a:ln>
        </p:spPr>
        <p:txBody>
          <a:bodyPr rtlCol="0" anchor="ctr"/>
          <a:lstStyle/>
          <a:p>
            <a:endParaRPr lang="en-GB" dirty="0"/>
          </a:p>
        </p:txBody>
      </p:sp>
      <p:sp>
        <p:nvSpPr>
          <p:cNvPr id="23" name="Freeform: Shape 22">
            <a:extLst>
              <a:ext uri="{FF2B5EF4-FFF2-40B4-BE49-F238E27FC236}">
                <a16:creationId xmlns:a16="http://schemas.microsoft.com/office/drawing/2014/main" id="{1F19A34A-F76F-4A2C-9991-C122659ECC18}"/>
              </a:ext>
            </a:extLst>
          </p:cNvPr>
          <p:cNvSpPr/>
          <p:nvPr/>
        </p:nvSpPr>
        <p:spPr>
          <a:xfrm>
            <a:off x="3766688" y="1638016"/>
            <a:ext cx="327326" cy="327936"/>
          </a:xfrm>
          <a:custGeom>
            <a:avLst/>
            <a:gdLst>
              <a:gd name="connsiteX0" fmla="*/ 289158 w 327326"/>
              <a:gd name="connsiteY0" fmla="*/ 215468 h 327936"/>
              <a:gd name="connsiteX1" fmla="*/ 217611 w 327326"/>
              <a:gd name="connsiteY1" fmla="*/ 237375 h 327936"/>
              <a:gd name="connsiteX2" fmla="*/ 89740 w 327326"/>
              <a:gd name="connsiteY2" fmla="*/ 109646 h 327936"/>
              <a:gd name="connsiteX3" fmla="*/ 111683 w 327326"/>
              <a:gd name="connsiteY3" fmla="*/ 38133 h 327936"/>
              <a:gd name="connsiteX4" fmla="*/ 111683 w 327326"/>
              <a:gd name="connsiteY4" fmla="*/ 30521 h 327936"/>
              <a:gd name="connsiteX5" fmla="*/ 104034 w 327326"/>
              <a:gd name="connsiteY5" fmla="*/ 27662 h 327936"/>
              <a:gd name="connsiteX6" fmla="*/ 0 w 327326"/>
              <a:gd name="connsiteY6" fmla="*/ 173511 h 327936"/>
              <a:gd name="connsiteX7" fmla="*/ 153675 w 327326"/>
              <a:gd name="connsiteY7" fmla="*/ 327937 h 327936"/>
              <a:gd name="connsiteX8" fmla="*/ 299665 w 327326"/>
              <a:gd name="connsiteY8" fmla="*/ 223080 h 327936"/>
              <a:gd name="connsiteX9" fmla="*/ 297772 w 327326"/>
              <a:gd name="connsiteY9" fmla="*/ 215468 h 327936"/>
              <a:gd name="connsiteX10" fmla="*/ 289158 w 327326"/>
              <a:gd name="connsiteY10" fmla="*/ 215468 h 327936"/>
              <a:gd name="connsiteX11" fmla="*/ 153675 w 327326"/>
              <a:gd name="connsiteY11" fmla="*/ 314607 h 327936"/>
              <a:gd name="connsiteX12" fmla="*/ 13366 w 327326"/>
              <a:gd name="connsiteY12" fmla="*/ 173511 h 327936"/>
              <a:gd name="connsiteX13" fmla="*/ 90668 w 327326"/>
              <a:gd name="connsiteY13" fmla="*/ 48641 h 327936"/>
              <a:gd name="connsiteX14" fmla="*/ 76374 w 327326"/>
              <a:gd name="connsiteY14" fmla="*/ 109646 h 327936"/>
              <a:gd name="connsiteX15" fmla="*/ 217611 w 327326"/>
              <a:gd name="connsiteY15" fmla="*/ 250742 h 327936"/>
              <a:gd name="connsiteX16" fmla="*/ 278688 w 327326"/>
              <a:gd name="connsiteY16" fmla="*/ 237375 h 327936"/>
              <a:gd name="connsiteX17" fmla="*/ 153675 w 327326"/>
              <a:gd name="connsiteY17" fmla="*/ 314607 h 327936"/>
              <a:gd name="connsiteX18" fmla="*/ 325432 w 327326"/>
              <a:gd name="connsiteY18" fmla="*/ 63902 h 327936"/>
              <a:gd name="connsiteX19" fmla="*/ 320680 w 327326"/>
              <a:gd name="connsiteY19" fmla="*/ 61971 h 327936"/>
              <a:gd name="connsiteX20" fmla="*/ 284405 w 327326"/>
              <a:gd name="connsiteY20" fmla="*/ 43851 h 327936"/>
              <a:gd name="connsiteX21" fmla="*/ 266287 w 327326"/>
              <a:gd name="connsiteY21" fmla="*/ 7649 h 327936"/>
              <a:gd name="connsiteX22" fmla="*/ 263391 w 327326"/>
              <a:gd name="connsiteY22" fmla="*/ 2859 h 327936"/>
              <a:gd name="connsiteX23" fmla="*/ 258638 w 327326"/>
              <a:gd name="connsiteY23" fmla="*/ 0 h 327936"/>
              <a:gd name="connsiteX24" fmla="*/ 253848 w 327326"/>
              <a:gd name="connsiteY24" fmla="*/ 2859 h 327936"/>
              <a:gd name="connsiteX25" fmla="*/ 251955 w 327326"/>
              <a:gd name="connsiteY25" fmla="*/ 7649 h 327936"/>
              <a:gd name="connsiteX26" fmla="*/ 233836 w 327326"/>
              <a:gd name="connsiteY26" fmla="*/ 43851 h 327936"/>
              <a:gd name="connsiteX27" fmla="*/ 197561 w 327326"/>
              <a:gd name="connsiteY27" fmla="*/ 61971 h 327936"/>
              <a:gd name="connsiteX28" fmla="*/ 192772 w 327326"/>
              <a:gd name="connsiteY28" fmla="*/ 63902 h 327936"/>
              <a:gd name="connsiteX29" fmla="*/ 190878 w 327326"/>
              <a:gd name="connsiteY29" fmla="*/ 68654 h 327936"/>
              <a:gd name="connsiteX30" fmla="*/ 192772 w 327326"/>
              <a:gd name="connsiteY30" fmla="*/ 73407 h 327936"/>
              <a:gd name="connsiteX31" fmla="*/ 197561 w 327326"/>
              <a:gd name="connsiteY31" fmla="*/ 75338 h 327936"/>
              <a:gd name="connsiteX32" fmla="*/ 233836 w 327326"/>
              <a:gd name="connsiteY32" fmla="*/ 93457 h 327936"/>
              <a:gd name="connsiteX33" fmla="*/ 251955 w 327326"/>
              <a:gd name="connsiteY33" fmla="*/ 129660 h 327936"/>
              <a:gd name="connsiteX34" fmla="*/ 253848 w 327326"/>
              <a:gd name="connsiteY34" fmla="*/ 134450 h 327936"/>
              <a:gd name="connsiteX35" fmla="*/ 258638 w 327326"/>
              <a:gd name="connsiteY35" fmla="*/ 137309 h 327936"/>
              <a:gd name="connsiteX36" fmla="*/ 263391 w 327326"/>
              <a:gd name="connsiteY36" fmla="*/ 134450 h 327936"/>
              <a:gd name="connsiteX37" fmla="*/ 266287 w 327326"/>
              <a:gd name="connsiteY37" fmla="*/ 129660 h 327936"/>
              <a:gd name="connsiteX38" fmla="*/ 284405 w 327326"/>
              <a:gd name="connsiteY38" fmla="*/ 93457 h 327936"/>
              <a:gd name="connsiteX39" fmla="*/ 320680 w 327326"/>
              <a:gd name="connsiteY39" fmla="*/ 75338 h 327936"/>
              <a:gd name="connsiteX40" fmla="*/ 325432 w 327326"/>
              <a:gd name="connsiteY40" fmla="*/ 73407 h 327936"/>
              <a:gd name="connsiteX41" fmla="*/ 327326 w 327326"/>
              <a:gd name="connsiteY41" fmla="*/ 68654 h 327936"/>
              <a:gd name="connsiteX42" fmla="*/ 325432 w 327326"/>
              <a:gd name="connsiteY42" fmla="*/ 63902 h 327936"/>
              <a:gd name="connsiteX43" fmla="*/ 273898 w 327326"/>
              <a:gd name="connsiteY43" fmla="*/ 83915 h 327936"/>
              <a:gd name="connsiteX44" fmla="*/ 258638 w 327326"/>
              <a:gd name="connsiteY44" fmla="*/ 104894 h 327936"/>
              <a:gd name="connsiteX45" fmla="*/ 243378 w 327326"/>
              <a:gd name="connsiteY45" fmla="*/ 83915 h 327936"/>
              <a:gd name="connsiteX46" fmla="*/ 223329 w 327326"/>
              <a:gd name="connsiteY46" fmla="*/ 68654 h 327936"/>
              <a:gd name="connsiteX47" fmla="*/ 243378 w 327326"/>
              <a:gd name="connsiteY47" fmla="*/ 53394 h 327936"/>
              <a:gd name="connsiteX48" fmla="*/ 258638 w 327326"/>
              <a:gd name="connsiteY48" fmla="*/ 32415 h 327936"/>
              <a:gd name="connsiteX49" fmla="*/ 273898 w 327326"/>
              <a:gd name="connsiteY49" fmla="*/ 53394 h 327936"/>
              <a:gd name="connsiteX50" fmla="*/ 294913 w 327326"/>
              <a:gd name="connsiteY50" fmla="*/ 68654 h 327936"/>
              <a:gd name="connsiteX51" fmla="*/ 273898 w 327326"/>
              <a:gd name="connsiteY51" fmla="*/ 83915 h 327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27326" h="327936">
                <a:moveTo>
                  <a:pt x="289158" y="215468"/>
                </a:moveTo>
                <a:cubicBezTo>
                  <a:pt x="269145" y="228798"/>
                  <a:pt x="244306" y="237375"/>
                  <a:pt x="217611" y="237375"/>
                </a:cubicBezTo>
                <a:cubicBezTo>
                  <a:pt x="146992" y="237375"/>
                  <a:pt x="90668" y="180194"/>
                  <a:pt x="89740" y="109646"/>
                </a:cubicBezTo>
                <a:cubicBezTo>
                  <a:pt x="89740" y="82950"/>
                  <a:pt x="98317" y="59112"/>
                  <a:pt x="111683" y="38133"/>
                </a:cubicBezTo>
                <a:cubicBezTo>
                  <a:pt x="113577" y="36239"/>
                  <a:pt x="113577" y="32415"/>
                  <a:pt x="111683" y="30521"/>
                </a:cubicBezTo>
                <a:cubicBezTo>
                  <a:pt x="109752" y="27662"/>
                  <a:pt x="106893" y="26697"/>
                  <a:pt x="104034" y="27662"/>
                </a:cubicBezTo>
                <a:cubicBezTo>
                  <a:pt x="43923" y="48641"/>
                  <a:pt x="0" y="105822"/>
                  <a:pt x="0" y="173511"/>
                </a:cubicBezTo>
                <a:cubicBezTo>
                  <a:pt x="0" y="259320"/>
                  <a:pt x="68725" y="327937"/>
                  <a:pt x="153675" y="327937"/>
                </a:cubicBezTo>
                <a:cubicBezTo>
                  <a:pt x="221398" y="327937"/>
                  <a:pt x="278688" y="284086"/>
                  <a:pt x="299665" y="223080"/>
                </a:cubicBezTo>
                <a:cubicBezTo>
                  <a:pt x="300631" y="220221"/>
                  <a:pt x="299665" y="217362"/>
                  <a:pt x="297772" y="215468"/>
                </a:cubicBezTo>
                <a:cubicBezTo>
                  <a:pt x="294913" y="213575"/>
                  <a:pt x="292017" y="213575"/>
                  <a:pt x="289158" y="215468"/>
                </a:cubicBezTo>
                <a:close/>
                <a:moveTo>
                  <a:pt x="153675" y="314607"/>
                </a:moveTo>
                <a:cubicBezTo>
                  <a:pt x="76374" y="313641"/>
                  <a:pt x="13366" y="251708"/>
                  <a:pt x="13366" y="173511"/>
                </a:cubicBezTo>
                <a:cubicBezTo>
                  <a:pt x="13366" y="119189"/>
                  <a:pt x="44851" y="71513"/>
                  <a:pt x="90668" y="48641"/>
                </a:cubicBezTo>
                <a:cubicBezTo>
                  <a:pt x="81126" y="66761"/>
                  <a:pt x="76374" y="87739"/>
                  <a:pt x="76374" y="109646"/>
                </a:cubicBezTo>
                <a:cubicBezTo>
                  <a:pt x="76374" y="187806"/>
                  <a:pt x="139344" y="250742"/>
                  <a:pt x="217611" y="250742"/>
                </a:cubicBezTo>
                <a:cubicBezTo>
                  <a:pt x="239554" y="250742"/>
                  <a:pt x="260532" y="245953"/>
                  <a:pt x="278688" y="237375"/>
                </a:cubicBezTo>
                <a:cubicBezTo>
                  <a:pt x="255779" y="283157"/>
                  <a:pt x="208069" y="314607"/>
                  <a:pt x="153675" y="314607"/>
                </a:cubicBezTo>
                <a:close/>
                <a:moveTo>
                  <a:pt x="325432" y="63902"/>
                </a:moveTo>
                <a:cubicBezTo>
                  <a:pt x="324467" y="62936"/>
                  <a:pt x="322574" y="61971"/>
                  <a:pt x="320680" y="61971"/>
                </a:cubicBezTo>
                <a:cubicBezTo>
                  <a:pt x="309207" y="61971"/>
                  <a:pt x="294913" y="54359"/>
                  <a:pt x="284405" y="43851"/>
                </a:cubicBezTo>
                <a:cubicBezTo>
                  <a:pt x="272933" y="33380"/>
                  <a:pt x="265321" y="19085"/>
                  <a:pt x="266287" y="7649"/>
                </a:cubicBezTo>
                <a:cubicBezTo>
                  <a:pt x="266287" y="5755"/>
                  <a:pt x="265321" y="3824"/>
                  <a:pt x="263391" y="2859"/>
                </a:cubicBezTo>
                <a:cubicBezTo>
                  <a:pt x="262462" y="965"/>
                  <a:pt x="260532" y="0"/>
                  <a:pt x="258638" y="0"/>
                </a:cubicBezTo>
                <a:cubicBezTo>
                  <a:pt x="257673" y="0"/>
                  <a:pt x="255779" y="966"/>
                  <a:pt x="253848" y="2859"/>
                </a:cubicBezTo>
                <a:cubicBezTo>
                  <a:pt x="252920" y="3825"/>
                  <a:pt x="251955" y="5755"/>
                  <a:pt x="251955" y="7649"/>
                </a:cubicBezTo>
                <a:cubicBezTo>
                  <a:pt x="251955" y="19085"/>
                  <a:pt x="245272" y="33380"/>
                  <a:pt x="233836" y="43851"/>
                </a:cubicBezTo>
                <a:cubicBezTo>
                  <a:pt x="223329" y="54359"/>
                  <a:pt x="208997" y="61971"/>
                  <a:pt x="197561" y="61971"/>
                </a:cubicBezTo>
                <a:cubicBezTo>
                  <a:pt x="195668" y="61971"/>
                  <a:pt x="193737" y="62936"/>
                  <a:pt x="192772" y="63902"/>
                </a:cubicBezTo>
                <a:cubicBezTo>
                  <a:pt x="191844" y="64830"/>
                  <a:pt x="190878" y="66761"/>
                  <a:pt x="190878" y="68654"/>
                </a:cubicBezTo>
                <a:cubicBezTo>
                  <a:pt x="190878" y="70548"/>
                  <a:pt x="191844" y="72479"/>
                  <a:pt x="192772" y="73407"/>
                </a:cubicBezTo>
                <a:cubicBezTo>
                  <a:pt x="193737" y="74373"/>
                  <a:pt x="195668" y="75338"/>
                  <a:pt x="197561" y="75338"/>
                </a:cubicBezTo>
                <a:cubicBezTo>
                  <a:pt x="208997" y="75338"/>
                  <a:pt x="223329" y="82950"/>
                  <a:pt x="233836" y="93457"/>
                </a:cubicBezTo>
                <a:cubicBezTo>
                  <a:pt x="245272" y="103928"/>
                  <a:pt x="251955" y="118224"/>
                  <a:pt x="251955" y="129660"/>
                </a:cubicBezTo>
                <a:cubicBezTo>
                  <a:pt x="251955" y="131591"/>
                  <a:pt x="252920" y="133484"/>
                  <a:pt x="253848" y="134450"/>
                </a:cubicBezTo>
                <a:cubicBezTo>
                  <a:pt x="255779" y="136343"/>
                  <a:pt x="257673" y="137309"/>
                  <a:pt x="258638" y="137309"/>
                </a:cubicBezTo>
                <a:cubicBezTo>
                  <a:pt x="260532" y="137309"/>
                  <a:pt x="262462" y="136343"/>
                  <a:pt x="263391" y="134450"/>
                </a:cubicBezTo>
                <a:cubicBezTo>
                  <a:pt x="265321" y="133484"/>
                  <a:pt x="266287" y="131591"/>
                  <a:pt x="266287" y="129660"/>
                </a:cubicBezTo>
                <a:cubicBezTo>
                  <a:pt x="265321" y="118224"/>
                  <a:pt x="272933" y="103928"/>
                  <a:pt x="284405" y="93457"/>
                </a:cubicBezTo>
                <a:cubicBezTo>
                  <a:pt x="294913" y="82950"/>
                  <a:pt x="309207" y="75338"/>
                  <a:pt x="320680" y="75338"/>
                </a:cubicBezTo>
                <a:cubicBezTo>
                  <a:pt x="322574" y="75338"/>
                  <a:pt x="324467" y="74372"/>
                  <a:pt x="325432" y="73407"/>
                </a:cubicBezTo>
                <a:cubicBezTo>
                  <a:pt x="326398" y="72479"/>
                  <a:pt x="327326" y="70548"/>
                  <a:pt x="327326" y="68654"/>
                </a:cubicBezTo>
                <a:cubicBezTo>
                  <a:pt x="327326" y="66761"/>
                  <a:pt x="326398" y="64830"/>
                  <a:pt x="325432" y="63902"/>
                </a:cubicBezTo>
                <a:close/>
                <a:moveTo>
                  <a:pt x="273898" y="83915"/>
                </a:moveTo>
                <a:cubicBezTo>
                  <a:pt x="268180" y="89633"/>
                  <a:pt x="262462" y="97245"/>
                  <a:pt x="258638" y="104894"/>
                </a:cubicBezTo>
                <a:cubicBezTo>
                  <a:pt x="254814" y="97245"/>
                  <a:pt x="250061" y="89633"/>
                  <a:pt x="243378" y="83915"/>
                </a:cubicBezTo>
                <a:cubicBezTo>
                  <a:pt x="237623" y="78197"/>
                  <a:pt x="230977" y="72479"/>
                  <a:pt x="223329" y="68654"/>
                </a:cubicBezTo>
                <a:cubicBezTo>
                  <a:pt x="230977" y="64830"/>
                  <a:pt x="237623" y="59112"/>
                  <a:pt x="243378" y="53394"/>
                </a:cubicBezTo>
                <a:cubicBezTo>
                  <a:pt x="250061" y="47676"/>
                  <a:pt x="254814" y="40064"/>
                  <a:pt x="258638" y="32415"/>
                </a:cubicBezTo>
                <a:cubicBezTo>
                  <a:pt x="262462" y="40064"/>
                  <a:pt x="268180" y="47676"/>
                  <a:pt x="273898" y="53394"/>
                </a:cubicBezTo>
                <a:cubicBezTo>
                  <a:pt x="280581" y="59112"/>
                  <a:pt x="287264" y="64830"/>
                  <a:pt x="294913" y="68654"/>
                </a:cubicBezTo>
                <a:cubicBezTo>
                  <a:pt x="287264" y="72479"/>
                  <a:pt x="280581" y="78197"/>
                  <a:pt x="273898" y="83915"/>
                </a:cubicBezTo>
                <a:close/>
              </a:path>
            </a:pathLst>
          </a:custGeom>
          <a:solidFill>
            <a:schemeClr val="tx2"/>
          </a:solidFill>
          <a:ln w="3705" cap="flat">
            <a:noFill/>
            <a:prstDash val="solid"/>
            <a:miter/>
          </a:ln>
        </p:spPr>
        <p:txBody>
          <a:bodyPr rtlCol="0" anchor="ctr"/>
          <a:lstStyle/>
          <a:p>
            <a:endParaRPr lang="en-GB" dirty="0"/>
          </a:p>
        </p:txBody>
      </p:sp>
      <p:sp>
        <p:nvSpPr>
          <p:cNvPr id="25" name="Freeform: Shape 24">
            <a:extLst>
              <a:ext uri="{FF2B5EF4-FFF2-40B4-BE49-F238E27FC236}">
                <a16:creationId xmlns:a16="http://schemas.microsoft.com/office/drawing/2014/main" id="{4EA6393E-A765-46D4-A070-EF42EDF99FF4}"/>
              </a:ext>
            </a:extLst>
          </p:cNvPr>
          <p:cNvSpPr/>
          <p:nvPr/>
        </p:nvSpPr>
        <p:spPr>
          <a:xfrm>
            <a:off x="2748285" y="4041575"/>
            <a:ext cx="273266" cy="354076"/>
          </a:xfrm>
          <a:custGeom>
            <a:avLst/>
            <a:gdLst>
              <a:gd name="connsiteX0" fmla="*/ 177772 w 273266"/>
              <a:gd name="connsiteY0" fmla="*/ 201842 h 354076"/>
              <a:gd name="connsiteX1" fmla="*/ 177772 w 273266"/>
              <a:gd name="connsiteY1" fmla="*/ 163746 h 354076"/>
              <a:gd name="connsiteX2" fmla="*/ 197821 w 273266"/>
              <a:gd name="connsiteY2" fmla="*/ 163746 h 354076"/>
              <a:gd name="connsiteX3" fmla="*/ 204505 w 273266"/>
              <a:gd name="connsiteY3" fmla="*/ 156097 h 354076"/>
              <a:gd name="connsiteX4" fmla="*/ 197821 w 273266"/>
              <a:gd name="connsiteY4" fmla="*/ 149487 h 354076"/>
              <a:gd name="connsiteX5" fmla="*/ 177772 w 273266"/>
              <a:gd name="connsiteY5" fmla="*/ 149487 h 354076"/>
              <a:gd name="connsiteX6" fmla="*/ 177772 w 273266"/>
              <a:gd name="connsiteY6" fmla="*/ 122828 h 354076"/>
              <a:gd name="connsiteX7" fmla="*/ 197821 w 273266"/>
              <a:gd name="connsiteY7" fmla="*/ 122828 h 354076"/>
              <a:gd name="connsiteX8" fmla="*/ 204505 w 273266"/>
              <a:gd name="connsiteY8" fmla="*/ 115179 h 354076"/>
              <a:gd name="connsiteX9" fmla="*/ 197821 w 273266"/>
              <a:gd name="connsiteY9" fmla="*/ 108570 h 354076"/>
              <a:gd name="connsiteX10" fmla="*/ 177772 w 273266"/>
              <a:gd name="connsiteY10" fmla="*/ 108570 h 354076"/>
              <a:gd name="connsiteX11" fmla="*/ 177772 w 273266"/>
              <a:gd name="connsiteY11" fmla="*/ 81910 h 354076"/>
              <a:gd name="connsiteX12" fmla="*/ 197821 w 273266"/>
              <a:gd name="connsiteY12" fmla="*/ 81910 h 354076"/>
              <a:gd name="connsiteX13" fmla="*/ 204505 w 273266"/>
              <a:gd name="connsiteY13" fmla="*/ 75226 h 354076"/>
              <a:gd name="connsiteX14" fmla="*/ 197821 w 273266"/>
              <a:gd name="connsiteY14" fmla="*/ 67578 h 354076"/>
              <a:gd name="connsiteX15" fmla="*/ 177772 w 273266"/>
              <a:gd name="connsiteY15" fmla="*/ 67578 h 354076"/>
              <a:gd name="connsiteX16" fmla="*/ 177772 w 273266"/>
              <a:gd name="connsiteY16" fmla="*/ 40992 h 354076"/>
              <a:gd name="connsiteX17" fmla="*/ 136633 w 273266"/>
              <a:gd name="connsiteY17" fmla="*/ 0 h 354076"/>
              <a:gd name="connsiteX18" fmla="*/ 95569 w 273266"/>
              <a:gd name="connsiteY18" fmla="*/ 40992 h 354076"/>
              <a:gd name="connsiteX19" fmla="*/ 95569 w 273266"/>
              <a:gd name="connsiteY19" fmla="*/ 67578 h 354076"/>
              <a:gd name="connsiteX20" fmla="*/ 74554 w 273266"/>
              <a:gd name="connsiteY20" fmla="*/ 67578 h 354076"/>
              <a:gd name="connsiteX21" fmla="*/ 67871 w 273266"/>
              <a:gd name="connsiteY21" fmla="*/ 75226 h 354076"/>
              <a:gd name="connsiteX22" fmla="*/ 74554 w 273266"/>
              <a:gd name="connsiteY22" fmla="*/ 81910 h 354076"/>
              <a:gd name="connsiteX23" fmla="*/ 95569 w 273266"/>
              <a:gd name="connsiteY23" fmla="*/ 81910 h 354076"/>
              <a:gd name="connsiteX24" fmla="*/ 95569 w 273266"/>
              <a:gd name="connsiteY24" fmla="*/ 108570 h 354076"/>
              <a:gd name="connsiteX25" fmla="*/ 74554 w 273266"/>
              <a:gd name="connsiteY25" fmla="*/ 108570 h 354076"/>
              <a:gd name="connsiteX26" fmla="*/ 67871 w 273266"/>
              <a:gd name="connsiteY26" fmla="*/ 115179 h 354076"/>
              <a:gd name="connsiteX27" fmla="*/ 74554 w 273266"/>
              <a:gd name="connsiteY27" fmla="*/ 122828 h 354076"/>
              <a:gd name="connsiteX28" fmla="*/ 95569 w 273266"/>
              <a:gd name="connsiteY28" fmla="*/ 122828 h 354076"/>
              <a:gd name="connsiteX29" fmla="*/ 95569 w 273266"/>
              <a:gd name="connsiteY29" fmla="*/ 149487 h 354076"/>
              <a:gd name="connsiteX30" fmla="*/ 74554 w 273266"/>
              <a:gd name="connsiteY30" fmla="*/ 149487 h 354076"/>
              <a:gd name="connsiteX31" fmla="*/ 67871 w 273266"/>
              <a:gd name="connsiteY31" fmla="*/ 156097 h 354076"/>
              <a:gd name="connsiteX32" fmla="*/ 74554 w 273266"/>
              <a:gd name="connsiteY32" fmla="*/ 163746 h 354076"/>
              <a:gd name="connsiteX33" fmla="*/ 95569 w 273266"/>
              <a:gd name="connsiteY33" fmla="*/ 163746 h 354076"/>
              <a:gd name="connsiteX34" fmla="*/ 95569 w 273266"/>
              <a:gd name="connsiteY34" fmla="*/ 201842 h 354076"/>
              <a:gd name="connsiteX35" fmla="*/ 54505 w 273266"/>
              <a:gd name="connsiteY35" fmla="*/ 272241 h 354076"/>
              <a:gd name="connsiteX36" fmla="*/ 136633 w 273266"/>
              <a:gd name="connsiteY36" fmla="*/ 354077 h 354076"/>
              <a:gd name="connsiteX37" fmla="*/ 218836 w 273266"/>
              <a:gd name="connsiteY37" fmla="*/ 272241 h 354076"/>
              <a:gd name="connsiteX38" fmla="*/ 177772 w 273266"/>
              <a:gd name="connsiteY38" fmla="*/ 201842 h 354076"/>
              <a:gd name="connsiteX39" fmla="*/ 136633 w 273266"/>
              <a:gd name="connsiteY39" fmla="*/ 340784 h 354076"/>
              <a:gd name="connsiteX40" fmla="*/ 67871 w 273266"/>
              <a:gd name="connsiteY40" fmla="*/ 272241 h 354076"/>
              <a:gd name="connsiteX41" fmla="*/ 105148 w 273266"/>
              <a:gd name="connsiteY41" fmla="*/ 211347 h 354076"/>
              <a:gd name="connsiteX42" fmla="*/ 108935 w 273266"/>
              <a:gd name="connsiteY42" fmla="*/ 205629 h 354076"/>
              <a:gd name="connsiteX43" fmla="*/ 108935 w 273266"/>
              <a:gd name="connsiteY43" fmla="*/ 156097 h 354076"/>
              <a:gd name="connsiteX44" fmla="*/ 108935 w 273266"/>
              <a:gd name="connsiteY44" fmla="*/ 156097 h 354076"/>
              <a:gd name="connsiteX45" fmla="*/ 108935 w 273266"/>
              <a:gd name="connsiteY45" fmla="*/ 156097 h 354076"/>
              <a:gd name="connsiteX46" fmla="*/ 108935 w 273266"/>
              <a:gd name="connsiteY46" fmla="*/ 116144 h 354076"/>
              <a:gd name="connsiteX47" fmla="*/ 108935 w 273266"/>
              <a:gd name="connsiteY47" fmla="*/ 115178 h 354076"/>
              <a:gd name="connsiteX48" fmla="*/ 108935 w 273266"/>
              <a:gd name="connsiteY48" fmla="*/ 115178 h 354076"/>
              <a:gd name="connsiteX49" fmla="*/ 108935 w 273266"/>
              <a:gd name="connsiteY49" fmla="*/ 75226 h 354076"/>
              <a:gd name="connsiteX50" fmla="*/ 108935 w 273266"/>
              <a:gd name="connsiteY50" fmla="*/ 75226 h 354076"/>
              <a:gd name="connsiteX51" fmla="*/ 108935 w 273266"/>
              <a:gd name="connsiteY51" fmla="*/ 75226 h 354076"/>
              <a:gd name="connsiteX52" fmla="*/ 108935 w 273266"/>
              <a:gd name="connsiteY52" fmla="*/ 40991 h 354076"/>
              <a:gd name="connsiteX53" fmla="*/ 136633 w 273266"/>
              <a:gd name="connsiteY53" fmla="*/ 13366 h 354076"/>
              <a:gd name="connsiteX54" fmla="*/ 163440 w 273266"/>
              <a:gd name="connsiteY54" fmla="*/ 40991 h 354076"/>
              <a:gd name="connsiteX55" fmla="*/ 163440 w 273266"/>
              <a:gd name="connsiteY55" fmla="*/ 205628 h 354076"/>
              <a:gd name="connsiteX56" fmla="*/ 167227 w 273266"/>
              <a:gd name="connsiteY56" fmla="*/ 211346 h 354076"/>
              <a:gd name="connsiteX57" fmla="*/ 204505 w 273266"/>
              <a:gd name="connsiteY57" fmla="*/ 272240 h 354076"/>
              <a:gd name="connsiteX58" fmla="*/ 136633 w 273266"/>
              <a:gd name="connsiteY58" fmla="*/ 340783 h 354076"/>
              <a:gd name="connsiteX59" fmla="*/ 143391 w 273266"/>
              <a:gd name="connsiteY59" fmla="*/ 245581 h 354076"/>
              <a:gd name="connsiteX60" fmla="*/ 143391 w 273266"/>
              <a:gd name="connsiteY60" fmla="*/ 47601 h 354076"/>
              <a:gd name="connsiteX61" fmla="*/ 136633 w 273266"/>
              <a:gd name="connsiteY61" fmla="*/ 40992 h 354076"/>
              <a:gd name="connsiteX62" fmla="*/ 129950 w 273266"/>
              <a:gd name="connsiteY62" fmla="*/ 47601 h 354076"/>
              <a:gd name="connsiteX63" fmla="*/ 129950 w 273266"/>
              <a:gd name="connsiteY63" fmla="*/ 245581 h 354076"/>
              <a:gd name="connsiteX64" fmla="*/ 108935 w 273266"/>
              <a:gd name="connsiteY64" fmla="*/ 272241 h 354076"/>
              <a:gd name="connsiteX65" fmla="*/ 136633 w 273266"/>
              <a:gd name="connsiteY65" fmla="*/ 299866 h 354076"/>
              <a:gd name="connsiteX66" fmla="*/ 163440 w 273266"/>
              <a:gd name="connsiteY66" fmla="*/ 272241 h 354076"/>
              <a:gd name="connsiteX67" fmla="*/ 143391 w 273266"/>
              <a:gd name="connsiteY67" fmla="*/ 245581 h 354076"/>
              <a:gd name="connsiteX68" fmla="*/ 136633 w 273266"/>
              <a:gd name="connsiteY68" fmla="*/ 285608 h 354076"/>
              <a:gd name="connsiteX69" fmla="*/ 123267 w 273266"/>
              <a:gd name="connsiteY69" fmla="*/ 272241 h 354076"/>
              <a:gd name="connsiteX70" fmla="*/ 136633 w 273266"/>
              <a:gd name="connsiteY70" fmla="*/ 258948 h 354076"/>
              <a:gd name="connsiteX71" fmla="*/ 136633 w 273266"/>
              <a:gd name="connsiteY71" fmla="*/ 258948 h 354076"/>
              <a:gd name="connsiteX72" fmla="*/ 136633 w 273266"/>
              <a:gd name="connsiteY72" fmla="*/ 258948 h 354076"/>
              <a:gd name="connsiteX73" fmla="*/ 150074 w 273266"/>
              <a:gd name="connsiteY73" fmla="*/ 272241 h 354076"/>
              <a:gd name="connsiteX74" fmla="*/ 136633 w 273266"/>
              <a:gd name="connsiteY74" fmla="*/ 285608 h 354076"/>
              <a:gd name="connsiteX75" fmla="*/ 34455 w 273266"/>
              <a:gd name="connsiteY75" fmla="*/ 40992 h 354076"/>
              <a:gd name="connsiteX76" fmla="*/ 6758 w 273266"/>
              <a:gd name="connsiteY76" fmla="*/ 40992 h 354076"/>
              <a:gd name="connsiteX77" fmla="*/ 1931 w 273266"/>
              <a:gd name="connsiteY77" fmla="*/ 42849 h 354076"/>
              <a:gd name="connsiteX78" fmla="*/ 0 w 273266"/>
              <a:gd name="connsiteY78" fmla="*/ 47601 h 354076"/>
              <a:gd name="connsiteX79" fmla="*/ 0 w 273266"/>
              <a:gd name="connsiteY79" fmla="*/ 101886 h 354076"/>
              <a:gd name="connsiteX80" fmla="*/ 6758 w 273266"/>
              <a:gd name="connsiteY80" fmla="*/ 108570 h 354076"/>
              <a:gd name="connsiteX81" fmla="*/ 13440 w 273266"/>
              <a:gd name="connsiteY81" fmla="*/ 101886 h 354076"/>
              <a:gd name="connsiteX82" fmla="*/ 13440 w 273266"/>
              <a:gd name="connsiteY82" fmla="*/ 81910 h 354076"/>
              <a:gd name="connsiteX83" fmla="*/ 26807 w 273266"/>
              <a:gd name="connsiteY83" fmla="*/ 81910 h 354076"/>
              <a:gd name="connsiteX84" fmla="*/ 34455 w 273266"/>
              <a:gd name="connsiteY84" fmla="*/ 75226 h 354076"/>
              <a:gd name="connsiteX85" fmla="*/ 26807 w 273266"/>
              <a:gd name="connsiteY85" fmla="*/ 67578 h 354076"/>
              <a:gd name="connsiteX86" fmla="*/ 13440 w 273266"/>
              <a:gd name="connsiteY86" fmla="*/ 67578 h 354076"/>
              <a:gd name="connsiteX87" fmla="*/ 13440 w 273266"/>
              <a:gd name="connsiteY87" fmla="*/ 54285 h 354076"/>
              <a:gd name="connsiteX88" fmla="*/ 34455 w 273266"/>
              <a:gd name="connsiteY88" fmla="*/ 54285 h 354076"/>
              <a:gd name="connsiteX89" fmla="*/ 41138 w 273266"/>
              <a:gd name="connsiteY89" fmla="*/ 47601 h 354076"/>
              <a:gd name="connsiteX90" fmla="*/ 34455 w 273266"/>
              <a:gd name="connsiteY90" fmla="*/ 40992 h 354076"/>
              <a:gd name="connsiteX91" fmla="*/ 266584 w 273266"/>
              <a:gd name="connsiteY91" fmla="*/ 81910 h 354076"/>
              <a:gd name="connsiteX92" fmla="*/ 259900 w 273266"/>
              <a:gd name="connsiteY92" fmla="*/ 88519 h 354076"/>
              <a:gd name="connsiteX93" fmla="*/ 252252 w 273266"/>
              <a:gd name="connsiteY93" fmla="*/ 95203 h 354076"/>
              <a:gd name="connsiteX94" fmla="*/ 245569 w 273266"/>
              <a:gd name="connsiteY94" fmla="*/ 88519 h 354076"/>
              <a:gd name="connsiteX95" fmla="*/ 245569 w 273266"/>
              <a:gd name="connsiteY95" fmla="*/ 60968 h 354076"/>
              <a:gd name="connsiteX96" fmla="*/ 252252 w 273266"/>
              <a:gd name="connsiteY96" fmla="*/ 54285 h 354076"/>
              <a:gd name="connsiteX97" fmla="*/ 259900 w 273266"/>
              <a:gd name="connsiteY97" fmla="*/ 60968 h 354076"/>
              <a:gd name="connsiteX98" fmla="*/ 266584 w 273266"/>
              <a:gd name="connsiteY98" fmla="*/ 67578 h 354076"/>
              <a:gd name="connsiteX99" fmla="*/ 273267 w 273266"/>
              <a:gd name="connsiteY99" fmla="*/ 60968 h 354076"/>
              <a:gd name="connsiteX100" fmla="*/ 252252 w 273266"/>
              <a:gd name="connsiteY100" fmla="*/ 40992 h 354076"/>
              <a:gd name="connsiteX101" fmla="*/ 232202 w 273266"/>
              <a:gd name="connsiteY101" fmla="*/ 60968 h 354076"/>
              <a:gd name="connsiteX102" fmla="*/ 232202 w 273266"/>
              <a:gd name="connsiteY102" fmla="*/ 88519 h 354076"/>
              <a:gd name="connsiteX103" fmla="*/ 252252 w 273266"/>
              <a:gd name="connsiteY103" fmla="*/ 108570 h 354076"/>
              <a:gd name="connsiteX104" fmla="*/ 273267 w 273266"/>
              <a:gd name="connsiteY104" fmla="*/ 88519 h 354076"/>
              <a:gd name="connsiteX105" fmla="*/ 266584 w 273266"/>
              <a:gd name="connsiteY105" fmla="*/ 81910 h 35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73266" h="354076">
                <a:moveTo>
                  <a:pt x="177772" y="201842"/>
                </a:moveTo>
                <a:cubicBezTo>
                  <a:pt x="177772" y="163746"/>
                  <a:pt x="177772" y="163746"/>
                  <a:pt x="177772" y="163746"/>
                </a:cubicBezTo>
                <a:cubicBezTo>
                  <a:pt x="197821" y="163746"/>
                  <a:pt x="197821" y="163746"/>
                  <a:pt x="197821" y="163746"/>
                </a:cubicBezTo>
                <a:cubicBezTo>
                  <a:pt x="201609" y="163746"/>
                  <a:pt x="204505" y="159958"/>
                  <a:pt x="204505" y="156097"/>
                </a:cubicBezTo>
                <a:cubicBezTo>
                  <a:pt x="204505" y="152309"/>
                  <a:pt x="201609" y="149487"/>
                  <a:pt x="197821" y="149487"/>
                </a:cubicBezTo>
                <a:cubicBezTo>
                  <a:pt x="177772" y="149487"/>
                  <a:pt x="177772" y="149487"/>
                  <a:pt x="177772" y="149487"/>
                </a:cubicBezTo>
                <a:cubicBezTo>
                  <a:pt x="177772" y="122828"/>
                  <a:pt x="177772" y="122828"/>
                  <a:pt x="177772" y="122828"/>
                </a:cubicBezTo>
                <a:cubicBezTo>
                  <a:pt x="197821" y="122828"/>
                  <a:pt x="197821" y="122828"/>
                  <a:pt x="197821" y="122828"/>
                </a:cubicBezTo>
                <a:cubicBezTo>
                  <a:pt x="201609" y="122828"/>
                  <a:pt x="204505" y="119040"/>
                  <a:pt x="204505" y="115179"/>
                </a:cubicBezTo>
                <a:cubicBezTo>
                  <a:pt x="204505" y="112357"/>
                  <a:pt x="201609" y="108570"/>
                  <a:pt x="197821" y="108570"/>
                </a:cubicBezTo>
                <a:cubicBezTo>
                  <a:pt x="177772" y="108570"/>
                  <a:pt x="177772" y="108570"/>
                  <a:pt x="177772" y="108570"/>
                </a:cubicBezTo>
                <a:cubicBezTo>
                  <a:pt x="177772" y="81910"/>
                  <a:pt x="177772" y="81910"/>
                  <a:pt x="177772" y="81910"/>
                </a:cubicBezTo>
                <a:cubicBezTo>
                  <a:pt x="197821" y="81910"/>
                  <a:pt x="197821" y="81910"/>
                  <a:pt x="197821" y="81910"/>
                </a:cubicBezTo>
                <a:cubicBezTo>
                  <a:pt x="201609" y="81910"/>
                  <a:pt x="204505" y="78048"/>
                  <a:pt x="204505" y="75226"/>
                </a:cubicBezTo>
                <a:cubicBezTo>
                  <a:pt x="204505" y="71439"/>
                  <a:pt x="201609" y="67578"/>
                  <a:pt x="197821" y="67578"/>
                </a:cubicBezTo>
                <a:cubicBezTo>
                  <a:pt x="177772" y="67578"/>
                  <a:pt x="177772" y="67578"/>
                  <a:pt x="177772" y="67578"/>
                </a:cubicBezTo>
                <a:cubicBezTo>
                  <a:pt x="177772" y="40992"/>
                  <a:pt x="177772" y="40992"/>
                  <a:pt x="177772" y="40992"/>
                </a:cubicBezTo>
                <a:cubicBezTo>
                  <a:pt x="177772" y="18120"/>
                  <a:pt x="159579" y="0"/>
                  <a:pt x="136633" y="0"/>
                </a:cubicBezTo>
                <a:cubicBezTo>
                  <a:pt x="113762" y="0"/>
                  <a:pt x="95569" y="18120"/>
                  <a:pt x="95569" y="40992"/>
                </a:cubicBezTo>
                <a:cubicBezTo>
                  <a:pt x="95569" y="67578"/>
                  <a:pt x="95569" y="67578"/>
                  <a:pt x="95569" y="67578"/>
                </a:cubicBezTo>
                <a:cubicBezTo>
                  <a:pt x="74554" y="67578"/>
                  <a:pt x="74554" y="67578"/>
                  <a:pt x="74554" y="67578"/>
                </a:cubicBezTo>
                <a:cubicBezTo>
                  <a:pt x="71733" y="67578"/>
                  <a:pt x="67871" y="71439"/>
                  <a:pt x="67871" y="75226"/>
                </a:cubicBezTo>
                <a:cubicBezTo>
                  <a:pt x="67871" y="78048"/>
                  <a:pt x="71733" y="81910"/>
                  <a:pt x="74554" y="81910"/>
                </a:cubicBezTo>
                <a:cubicBezTo>
                  <a:pt x="95569" y="81910"/>
                  <a:pt x="95569" y="81910"/>
                  <a:pt x="95569" y="81910"/>
                </a:cubicBezTo>
                <a:cubicBezTo>
                  <a:pt x="95569" y="108570"/>
                  <a:pt x="95569" y="108570"/>
                  <a:pt x="95569" y="108570"/>
                </a:cubicBezTo>
                <a:cubicBezTo>
                  <a:pt x="74554" y="108570"/>
                  <a:pt x="74554" y="108570"/>
                  <a:pt x="74554" y="108570"/>
                </a:cubicBezTo>
                <a:cubicBezTo>
                  <a:pt x="71733" y="108570"/>
                  <a:pt x="67871" y="112357"/>
                  <a:pt x="67871" y="115179"/>
                </a:cubicBezTo>
                <a:cubicBezTo>
                  <a:pt x="67871" y="119040"/>
                  <a:pt x="71733" y="122828"/>
                  <a:pt x="74554" y="122828"/>
                </a:cubicBezTo>
                <a:cubicBezTo>
                  <a:pt x="95569" y="122828"/>
                  <a:pt x="95569" y="122828"/>
                  <a:pt x="95569" y="122828"/>
                </a:cubicBezTo>
                <a:cubicBezTo>
                  <a:pt x="95569" y="149487"/>
                  <a:pt x="95569" y="149487"/>
                  <a:pt x="95569" y="149487"/>
                </a:cubicBezTo>
                <a:cubicBezTo>
                  <a:pt x="74554" y="149487"/>
                  <a:pt x="74554" y="149487"/>
                  <a:pt x="74554" y="149487"/>
                </a:cubicBezTo>
                <a:cubicBezTo>
                  <a:pt x="71733" y="149487"/>
                  <a:pt x="67871" y="152309"/>
                  <a:pt x="67871" y="156097"/>
                </a:cubicBezTo>
                <a:cubicBezTo>
                  <a:pt x="67871" y="159958"/>
                  <a:pt x="71733" y="163746"/>
                  <a:pt x="74554" y="163746"/>
                </a:cubicBezTo>
                <a:cubicBezTo>
                  <a:pt x="95569" y="163746"/>
                  <a:pt x="95569" y="163746"/>
                  <a:pt x="95569" y="163746"/>
                </a:cubicBezTo>
                <a:cubicBezTo>
                  <a:pt x="95569" y="201842"/>
                  <a:pt x="95569" y="201842"/>
                  <a:pt x="95569" y="201842"/>
                </a:cubicBezTo>
                <a:cubicBezTo>
                  <a:pt x="70767" y="216100"/>
                  <a:pt x="54505" y="241794"/>
                  <a:pt x="54505" y="272241"/>
                </a:cubicBezTo>
                <a:cubicBezTo>
                  <a:pt x="54505" y="317021"/>
                  <a:pt x="90817" y="354077"/>
                  <a:pt x="136633" y="354077"/>
                </a:cubicBezTo>
                <a:cubicBezTo>
                  <a:pt x="181559" y="354077"/>
                  <a:pt x="218836" y="317021"/>
                  <a:pt x="218836" y="272241"/>
                </a:cubicBezTo>
                <a:cubicBezTo>
                  <a:pt x="218836" y="241794"/>
                  <a:pt x="201609" y="216100"/>
                  <a:pt x="177772" y="201842"/>
                </a:cubicBezTo>
                <a:close/>
                <a:moveTo>
                  <a:pt x="136633" y="340784"/>
                </a:moveTo>
                <a:cubicBezTo>
                  <a:pt x="98465" y="339818"/>
                  <a:pt x="67871" y="310337"/>
                  <a:pt x="67871" y="272241"/>
                </a:cubicBezTo>
                <a:cubicBezTo>
                  <a:pt x="67871" y="245581"/>
                  <a:pt x="83168" y="222783"/>
                  <a:pt x="105148" y="211347"/>
                </a:cubicBezTo>
                <a:cubicBezTo>
                  <a:pt x="107970" y="210381"/>
                  <a:pt x="108935" y="208451"/>
                  <a:pt x="108935" y="205629"/>
                </a:cubicBezTo>
                <a:cubicBezTo>
                  <a:pt x="108935" y="156097"/>
                  <a:pt x="108935" y="156097"/>
                  <a:pt x="108935" y="156097"/>
                </a:cubicBezTo>
                <a:cubicBezTo>
                  <a:pt x="108935" y="156097"/>
                  <a:pt x="108935" y="156097"/>
                  <a:pt x="108935" y="156097"/>
                </a:cubicBezTo>
                <a:cubicBezTo>
                  <a:pt x="108935" y="156097"/>
                  <a:pt x="108935" y="156097"/>
                  <a:pt x="108935" y="156097"/>
                </a:cubicBezTo>
                <a:cubicBezTo>
                  <a:pt x="108935" y="116144"/>
                  <a:pt x="108935" y="116144"/>
                  <a:pt x="108935" y="116144"/>
                </a:cubicBezTo>
                <a:cubicBezTo>
                  <a:pt x="108935" y="116144"/>
                  <a:pt x="108935" y="115178"/>
                  <a:pt x="108935" y="115178"/>
                </a:cubicBezTo>
                <a:cubicBezTo>
                  <a:pt x="108935" y="115178"/>
                  <a:pt x="108935" y="115178"/>
                  <a:pt x="108935" y="115178"/>
                </a:cubicBezTo>
                <a:cubicBezTo>
                  <a:pt x="108935" y="75226"/>
                  <a:pt x="108935" y="75226"/>
                  <a:pt x="108935" y="75226"/>
                </a:cubicBezTo>
                <a:cubicBezTo>
                  <a:pt x="108935" y="75226"/>
                  <a:pt x="108935" y="75226"/>
                  <a:pt x="108935" y="75226"/>
                </a:cubicBezTo>
                <a:cubicBezTo>
                  <a:pt x="108935" y="75226"/>
                  <a:pt x="108935" y="75226"/>
                  <a:pt x="108935" y="75226"/>
                </a:cubicBezTo>
                <a:cubicBezTo>
                  <a:pt x="108935" y="40991"/>
                  <a:pt x="108935" y="40991"/>
                  <a:pt x="108935" y="40991"/>
                </a:cubicBezTo>
                <a:cubicBezTo>
                  <a:pt x="108935" y="25768"/>
                  <a:pt x="121411" y="13366"/>
                  <a:pt x="136633" y="13366"/>
                </a:cubicBezTo>
                <a:cubicBezTo>
                  <a:pt x="151930" y="13366"/>
                  <a:pt x="163440" y="25768"/>
                  <a:pt x="163440" y="40991"/>
                </a:cubicBezTo>
                <a:cubicBezTo>
                  <a:pt x="163440" y="205628"/>
                  <a:pt x="163440" y="205628"/>
                  <a:pt x="163440" y="205628"/>
                </a:cubicBezTo>
                <a:cubicBezTo>
                  <a:pt x="163440" y="208450"/>
                  <a:pt x="165297" y="210381"/>
                  <a:pt x="167227" y="211346"/>
                </a:cubicBezTo>
                <a:cubicBezTo>
                  <a:pt x="190173" y="222782"/>
                  <a:pt x="204505" y="245580"/>
                  <a:pt x="204505" y="272240"/>
                </a:cubicBezTo>
                <a:cubicBezTo>
                  <a:pt x="204505" y="310336"/>
                  <a:pt x="173911" y="339818"/>
                  <a:pt x="136633" y="340783"/>
                </a:cubicBezTo>
                <a:close/>
                <a:moveTo>
                  <a:pt x="143391" y="245581"/>
                </a:moveTo>
                <a:cubicBezTo>
                  <a:pt x="143391" y="47601"/>
                  <a:pt x="143391" y="47601"/>
                  <a:pt x="143391" y="47601"/>
                </a:cubicBezTo>
                <a:cubicBezTo>
                  <a:pt x="143391" y="43814"/>
                  <a:pt x="140495" y="40992"/>
                  <a:pt x="136633" y="40992"/>
                </a:cubicBezTo>
                <a:cubicBezTo>
                  <a:pt x="132846" y="40992"/>
                  <a:pt x="129950" y="43814"/>
                  <a:pt x="129950" y="47601"/>
                </a:cubicBezTo>
                <a:cubicBezTo>
                  <a:pt x="129950" y="245581"/>
                  <a:pt x="129950" y="245581"/>
                  <a:pt x="129950" y="245581"/>
                </a:cubicBezTo>
                <a:cubicBezTo>
                  <a:pt x="117549" y="249443"/>
                  <a:pt x="108935" y="259914"/>
                  <a:pt x="108935" y="272241"/>
                </a:cubicBezTo>
                <a:cubicBezTo>
                  <a:pt x="108935" y="287464"/>
                  <a:pt x="121411" y="299866"/>
                  <a:pt x="136633" y="299866"/>
                </a:cubicBezTo>
                <a:cubicBezTo>
                  <a:pt x="151930" y="299866"/>
                  <a:pt x="163440" y="287464"/>
                  <a:pt x="163440" y="272241"/>
                </a:cubicBezTo>
                <a:cubicBezTo>
                  <a:pt x="163440" y="259914"/>
                  <a:pt x="154826" y="249443"/>
                  <a:pt x="143391" y="245581"/>
                </a:cubicBezTo>
                <a:close/>
                <a:moveTo>
                  <a:pt x="136633" y="285608"/>
                </a:moveTo>
                <a:cubicBezTo>
                  <a:pt x="129059" y="285608"/>
                  <a:pt x="123267" y="279890"/>
                  <a:pt x="123267" y="272241"/>
                </a:cubicBezTo>
                <a:cubicBezTo>
                  <a:pt x="123267" y="264666"/>
                  <a:pt x="129059" y="258948"/>
                  <a:pt x="136633" y="258948"/>
                </a:cubicBezTo>
                <a:cubicBezTo>
                  <a:pt x="136633" y="258948"/>
                  <a:pt x="136633" y="258948"/>
                  <a:pt x="136633" y="258948"/>
                </a:cubicBezTo>
                <a:cubicBezTo>
                  <a:pt x="136633" y="258948"/>
                  <a:pt x="136633" y="258948"/>
                  <a:pt x="136633" y="258948"/>
                </a:cubicBezTo>
                <a:cubicBezTo>
                  <a:pt x="144282" y="258948"/>
                  <a:pt x="150074" y="264666"/>
                  <a:pt x="150074" y="272241"/>
                </a:cubicBezTo>
                <a:cubicBezTo>
                  <a:pt x="150074" y="279890"/>
                  <a:pt x="144282" y="285608"/>
                  <a:pt x="136633" y="285608"/>
                </a:cubicBezTo>
                <a:close/>
                <a:moveTo>
                  <a:pt x="34455" y="40992"/>
                </a:moveTo>
                <a:cubicBezTo>
                  <a:pt x="6758" y="40992"/>
                  <a:pt x="6758" y="40992"/>
                  <a:pt x="6758" y="40992"/>
                </a:cubicBezTo>
                <a:cubicBezTo>
                  <a:pt x="4827" y="40992"/>
                  <a:pt x="2896" y="41884"/>
                  <a:pt x="1931" y="42849"/>
                </a:cubicBezTo>
                <a:cubicBezTo>
                  <a:pt x="964" y="43815"/>
                  <a:pt x="0" y="45745"/>
                  <a:pt x="0" y="47601"/>
                </a:cubicBezTo>
                <a:cubicBezTo>
                  <a:pt x="0" y="101886"/>
                  <a:pt x="0" y="101886"/>
                  <a:pt x="0" y="101886"/>
                </a:cubicBezTo>
                <a:cubicBezTo>
                  <a:pt x="0" y="105673"/>
                  <a:pt x="2896" y="108570"/>
                  <a:pt x="6758" y="108570"/>
                </a:cubicBezTo>
                <a:cubicBezTo>
                  <a:pt x="10545" y="108570"/>
                  <a:pt x="13440" y="105673"/>
                  <a:pt x="13440" y="101886"/>
                </a:cubicBezTo>
                <a:cubicBezTo>
                  <a:pt x="13440" y="81910"/>
                  <a:pt x="13440" y="81910"/>
                  <a:pt x="13440" y="81910"/>
                </a:cubicBezTo>
                <a:cubicBezTo>
                  <a:pt x="26807" y="81910"/>
                  <a:pt x="26807" y="81910"/>
                  <a:pt x="26807" y="81910"/>
                </a:cubicBezTo>
                <a:cubicBezTo>
                  <a:pt x="30594" y="81910"/>
                  <a:pt x="34455" y="78048"/>
                  <a:pt x="34455" y="75226"/>
                </a:cubicBezTo>
                <a:cubicBezTo>
                  <a:pt x="34455" y="71439"/>
                  <a:pt x="30594" y="67578"/>
                  <a:pt x="26807" y="67578"/>
                </a:cubicBezTo>
                <a:cubicBezTo>
                  <a:pt x="13440" y="67578"/>
                  <a:pt x="13440" y="67578"/>
                  <a:pt x="13440" y="67578"/>
                </a:cubicBezTo>
                <a:cubicBezTo>
                  <a:pt x="13440" y="54285"/>
                  <a:pt x="13440" y="54285"/>
                  <a:pt x="13440" y="54285"/>
                </a:cubicBezTo>
                <a:cubicBezTo>
                  <a:pt x="34455" y="54285"/>
                  <a:pt x="34455" y="54285"/>
                  <a:pt x="34455" y="54285"/>
                </a:cubicBezTo>
                <a:cubicBezTo>
                  <a:pt x="38243" y="54285"/>
                  <a:pt x="41138" y="51463"/>
                  <a:pt x="41138" y="47601"/>
                </a:cubicBezTo>
                <a:cubicBezTo>
                  <a:pt x="41138" y="43814"/>
                  <a:pt x="38243" y="40992"/>
                  <a:pt x="34455" y="40992"/>
                </a:cubicBezTo>
                <a:close/>
                <a:moveTo>
                  <a:pt x="266584" y="81910"/>
                </a:moveTo>
                <a:cubicBezTo>
                  <a:pt x="262797" y="81910"/>
                  <a:pt x="259900" y="84732"/>
                  <a:pt x="259900" y="88519"/>
                </a:cubicBezTo>
                <a:cubicBezTo>
                  <a:pt x="259900" y="92381"/>
                  <a:pt x="256113" y="95203"/>
                  <a:pt x="252252" y="95203"/>
                </a:cubicBezTo>
                <a:cubicBezTo>
                  <a:pt x="249430" y="95203"/>
                  <a:pt x="245569" y="92381"/>
                  <a:pt x="245569" y="88519"/>
                </a:cubicBezTo>
                <a:cubicBezTo>
                  <a:pt x="245569" y="60968"/>
                  <a:pt x="245569" y="60968"/>
                  <a:pt x="245569" y="60968"/>
                </a:cubicBezTo>
                <a:cubicBezTo>
                  <a:pt x="245569" y="57181"/>
                  <a:pt x="249430" y="54285"/>
                  <a:pt x="252252" y="54285"/>
                </a:cubicBezTo>
                <a:cubicBezTo>
                  <a:pt x="256113" y="54285"/>
                  <a:pt x="259900" y="57181"/>
                  <a:pt x="259900" y="60968"/>
                </a:cubicBezTo>
                <a:cubicBezTo>
                  <a:pt x="259900" y="64756"/>
                  <a:pt x="262797" y="67578"/>
                  <a:pt x="266584" y="67578"/>
                </a:cubicBezTo>
                <a:cubicBezTo>
                  <a:pt x="270445" y="67578"/>
                  <a:pt x="273267" y="64756"/>
                  <a:pt x="273267" y="60968"/>
                </a:cubicBezTo>
                <a:cubicBezTo>
                  <a:pt x="273267" y="49532"/>
                  <a:pt x="263762" y="40992"/>
                  <a:pt x="252252" y="40992"/>
                </a:cubicBezTo>
                <a:cubicBezTo>
                  <a:pt x="241782" y="40992"/>
                  <a:pt x="232202" y="49532"/>
                  <a:pt x="232202" y="60968"/>
                </a:cubicBezTo>
                <a:cubicBezTo>
                  <a:pt x="232202" y="88519"/>
                  <a:pt x="232202" y="88519"/>
                  <a:pt x="232202" y="88519"/>
                </a:cubicBezTo>
                <a:cubicBezTo>
                  <a:pt x="232202" y="99955"/>
                  <a:pt x="241782" y="108570"/>
                  <a:pt x="252252" y="108570"/>
                </a:cubicBezTo>
                <a:cubicBezTo>
                  <a:pt x="263762" y="108570"/>
                  <a:pt x="273267" y="99955"/>
                  <a:pt x="273267" y="88519"/>
                </a:cubicBezTo>
                <a:cubicBezTo>
                  <a:pt x="273267" y="84732"/>
                  <a:pt x="270445" y="81910"/>
                  <a:pt x="266584" y="81910"/>
                </a:cubicBezTo>
                <a:close/>
              </a:path>
            </a:pathLst>
          </a:custGeom>
          <a:solidFill>
            <a:schemeClr val="tx2"/>
          </a:solidFill>
          <a:ln w="3705" cap="flat">
            <a:noFill/>
            <a:prstDash val="solid"/>
            <a:miter/>
          </a:ln>
        </p:spPr>
        <p:txBody>
          <a:bodyPr rtlCol="0" anchor="ctr"/>
          <a:lstStyle/>
          <a:p>
            <a:endParaRPr lang="en-GB" dirty="0"/>
          </a:p>
        </p:txBody>
      </p:sp>
      <p:sp>
        <p:nvSpPr>
          <p:cNvPr id="27" name="Freeform: Shape 26">
            <a:extLst>
              <a:ext uri="{FF2B5EF4-FFF2-40B4-BE49-F238E27FC236}">
                <a16:creationId xmlns:a16="http://schemas.microsoft.com/office/drawing/2014/main" id="{07367ACE-584B-4A9D-A1F0-E1A2CDCAA0B1}"/>
              </a:ext>
            </a:extLst>
          </p:cNvPr>
          <p:cNvSpPr/>
          <p:nvPr/>
        </p:nvSpPr>
        <p:spPr>
          <a:xfrm>
            <a:off x="3780107" y="4041575"/>
            <a:ext cx="300489" cy="354077"/>
          </a:xfrm>
          <a:custGeom>
            <a:avLst/>
            <a:gdLst>
              <a:gd name="connsiteX0" fmla="*/ 296639 w 300489"/>
              <a:gd name="connsiteY0" fmla="*/ 253230 h 354077"/>
              <a:gd name="connsiteX1" fmla="*/ 238570 w 300489"/>
              <a:gd name="connsiteY1" fmla="*/ 219961 h 354077"/>
              <a:gd name="connsiteX2" fmla="*/ 288174 w 300489"/>
              <a:gd name="connsiteY2" fmla="*/ 206594 h 354077"/>
              <a:gd name="connsiteX3" fmla="*/ 292926 w 300489"/>
              <a:gd name="connsiteY3" fmla="*/ 199020 h 354077"/>
              <a:gd name="connsiteX4" fmla="*/ 284312 w 300489"/>
              <a:gd name="connsiteY4" fmla="*/ 194267 h 354077"/>
              <a:gd name="connsiteX5" fmla="*/ 284312 w 300489"/>
              <a:gd name="connsiteY5" fmla="*/ 194267 h 354077"/>
              <a:gd name="connsiteX6" fmla="*/ 222233 w 300489"/>
              <a:gd name="connsiteY6" fmla="*/ 210456 h 354077"/>
              <a:gd name="connsiteX7" fmla="*/ 188966 w 300489"/>
              <a:gd name="connsiteY7" fmla="*/ 191445 h 354077"/>
              <a:gd name="connsiteX8" fmla="*/ 190748 w 300489"/>
              <a:gd name="connsiteY8" fmla="*/ 177038 h 354077"/>
              <a:gd name="connsiteX9" fmla="*/ 188966 w 300489"/>
              <a:gd name="connsiteY9" fmla="*/ 162780 h 354077"/>
              <a:gd name="connsiteX10" fmla="*/ 222233 w 300489"/>
              <a:gd name="connsiteY10" fmla="*/ 143770 h 354077"/>
              <a:gd name="connsiteX11" fmla="*/ 284312 w 300489"/>
              <a:gd name="connsiteY11" fmla="*/ 159958 h 354077"/>
              <a:gd name="connsiteX12" fmla="*/ 286243 w 300489"/>
              <a:gd name="connsiteY12" fmla="*/ 159958 h 354077"/>
              <a:gd name="connsiteX13" fmla="*/ 292926 w 300489"/>
              <a:gd name="connsiteY13" fmla="*/ 155206 h 354077"/>
              <a:gd name="connsiteX14" fmla="*/ 288174 w 300489"/>
              <a:gd name="connsiteY14" fmla="*/ 146591 h 354077"/>
              <a:gd name="connsiteX15" fmla="*/ 238570 w 300489"/>
              <a:gd name="connsiteY15" fmla="*/ 133373 h 354077"/>
              <a:gd name="connsiteX16" fmla="*/ 296639 w 300489"/>
              <a:gd name="connsiteY16" fmla="*/ 99955 h 354077"/>
              <a:gd name="connsiteX17" fmla="*/ 299609 w 300489"/>
              <a:gd name="connsiteY17" fmla="*/ 91490 h 354077"/>
              <a:gd name="connsiteX18" fmla="*/ 289956 w 300489"/>
              <a:gd name="connsiteY18" fmla="*/ 88519 h 354077"/>
              <a:gd name="connsiteX19" fmla="*/ 231887 w 300489"/>
              <a:gd name="connsiteY19" fmla="*/ 121937 h 354077"/>
              <a:gd name="connsiteX20" fmla="*/ 245253 w 300489"/>
              <a:gd name="connsiteY20" fmla="*/ 72479 h 354077"/>
              <a:gd name="connsiteX21" fmla="*/ 240352 w 300489"/>
              <a:gd name="connsiteY21" fmla="*/ 64756 h 354077"/>
              <a:gd name="connsiteX22" fmla="*/ 231887 w 300489"/>
              <a:gd name="connsiteY22" fmla="*/ 69508 h 354077"/>
              <a:gd name="connsiteX23" fmla="*/ 231887 w 300489"/>
              <a:gd name="connsiteY23" fmla="*/ 69508 h 354077"/>
              <a:gd name="connsiteX24" fmla="*/ 215550 w 300489"/>
              <a:gd name="connsiteY24" fmla="*/ 131442 h 354077"/>
              <a:gd name="connsiteX25" fmla="*/ 182283 w 300489"/>
              <a:gd name="connsiteY25" fmla="*/ 151344 h 354077"/>
              <a:gd name="connsiteX26" fmla="*/ 157481 w 300489"/>
              <a:gd name="connsiteY26" fmla="*/ 137086 h 354077"/>
              <a:gd name="connsiteX27" fmla="*/ 157481 w 300489"/>
              <a:gd name="connsiteY27" fmla="*/ 98173 h 354077"/>
              <a:gd name="connsiteX28" fmla="*/ 203223 w 300489"/>
              <a:gd name="connsiteY28" fmla="*/ 52428 h 354077"/>
              <a:gd name="connsiteX29" fmla="*/ 203223 w 300489"/>
              <a:gd name="connsiteY29" fmla="*/ 42923 h 354077"/>
              <a:gd name="connsiteX30" fmla="*/ 193719 w 300489"/>
              <a:gd name="connsiteY30" fmla="*/ 42923 h 354077"/>
              <a:gd name="connsiteX31" fmla="*/ 157481 w 300489"/>
              <a:gd name="connsiteY31" fmla="*/ 79014 h 354077"/>
              <a:gd name="connsiteX32" fmla="*/ 157481 w 300489"/>
              <a:gd name="connsiteY32" fmla="*/ 6684 h 354077"/>
              <a:gd name="connsiteX33" fmla="*/ 150798 w 300489"/>
              <a:gd name="connsiteY33" fmla="*/ 0 h 354077"/>
              <a:gd name="connsiteX34" fmla="*/ 143075 w 300489"/>
              <a:gd name="connsiteY34" fmla="*/ 6684 h 354077"/>
              <a:gd name="connsiteX35" fmla="*/ 143075 w 300489"/>
              <a:gd name="connsiteY35" fmla="*/ 79014 h 354077"/>
              <a:gd name="connsiteX36" fmla="*/ 107877 w 300489"/>
              <a:gd name="connsiteY36" fmla="*/ 42923 h 354077"/>
              <a:gd name="connsiteX37" fmla="*/ 97332 w 300489"/>
              <a:gd name="connsiteY37" fmla="*/ 42923 h 354077"/>
              <a:gd name="connsiteX38" fmla="*/ 97332 w 300489"/>
              <a:gd name="connsiteY38" fmla="*/ 52428 h 354077"/>
              <a:gd name="connsiteX39" fmla="*/ 143075 w 300489"/>
              <a:gd name="connsiteY39" fmla="*/ 98173 h 354077"/>
              <a:gd name="connsiteX40" fmla="*/ 143075 w 300489"/>
              <a:gd name="connsiteY40" fmla="*/ 137086 h 354077"/>
              <a:gd name="connsiteX41" fmla="*/ 119312 w 300489"/>
              <a:gd name="connsiteY41" fmla="*/ 151344 h 354077"/>
              <a:gd name="connsiteX42" fmla="*/ 85006 w 300489"/>
              <a:gd name="connsiteY42" fmla="*/ 131442 h 354077"/>
              <a:gd name="connsiteX43" fmla="*/ 68669 w 300489"/>
              <a:gd name="connsiteY43" fmla="*/ 69508 h 354077"/>
              <a:gd name="connsiteX44" fmla="*/ 60204 w 300489"/>
              <a:gd name="connsiteY44" fmla="*/ 64756 h 354077"/>
              <a:gd name="connsiteX45" fmla="*/ 55303 w 300489"/>
              <a:gd name="connsiteY45" fmla="*/ 72479 h 354077"/>
              <a:gd name="connsiteX46" fmla="*/ 55303 w 300489"/>
              <a:gd name="connsiteY46" fmla="*/ 72479 h 354077"/>
              <a:gd name="connsiteX47" fmla="*/ 68669 w 300489"/>
              <a:gd name="connsiteY47" fmla="*/ 121937 h 354077"/>
              <a:gd name="connsiteX48" fmla="*/ 10600 w 300489"/>
              <a:gd name="connsiteY48" fmla="*/ 88519 h 354077"/>
              <a:gd name="connsiteX49" fmla="*/ 946 w 300489"/>
              <a:gd name="connsiteY49" fmla="*/ 91490 h 354077"/>
              <a:gd name="connsiteX50" fmla="*/ 3917 w 300489"/>
              <a:gd name="connsiteY50" fmla="*/ 99955 h 354077"/>
              <a:gd name="connsiteX51" fmla="*/ 61986 w 300489"/>
              <a:gd name="connsiteY51" fmla="*/ 133373 h 354077"/>
              <a:gd name="connsiteX52" fmla="*/ 12382 w 300489"/>
              <a:gd name="connsiteY52" fmla="*/ 146591 h 354077"/>
              <a:gd name="connsiteX53" fmla="*/ 7630 w 300489"/>
              <a:gd name="connsiteY53" fmla="*/ 155206 h 354077"/>
              <a:gd name="connsiteX54" fmla="*/ 14313 w 300489"/>
              <a:gd name="connsiteY54" fmla="*/ 159958 h 354077"/>
              <a:gd name="connsiteX55" fmla="*/ 16243 w 300489"/>
              <a:gd name="connsiteY55" fmla="*/ 159958 h 354077"/>
              <a:gd name="connsiteX56" fmla="*/ 78323 w 300489"/>
              <a:gd name="connsiteY56" fmla="*/ 143770 h 354077"/>
              <a:gd name="connsiteX57" fmla="*/ 111590 w 300489"/>
              <a:gd name="connsiteY57" fmla="*/ 162780 h 354077"/>
              <a:gd name="connsiteX58" fmla="*/ 109808 w 300489"/>
              <a:gd name="connsiteY58" fmla="*/ 177038 h 354077"/>
              <a:gd name="connsiteX59" fmla="*/ 111590 w 300489"/>
              <a:gd name="connsiteY59" fmla="*/ 191445 h 354077"/>
              <a:gd name="connsiteX60" fmla="*/ 78323 w 300489"/>
              <a:gd name="connsiteY60" fmla="*/ 210456 h 354077"/>
              <a:gd name="connsiteX61" fmla="*/ 16243 w 300489"/>
              <a:gd name="connsiteY61" fmla="*/ 194267 h 354077"/>
              <a:gd name="connsiteX62" fmla="*/ 7630 w 300489"/>
              <a:gd name="connsiteY62" fmla="*/ 199020 h 354077"/>
              <a:gd name="connsiteX63" fmla="*/ 12382 w 300489"/>
              <a:gd name="connsiteY63" fmla="*/ 206594 h 354077"/>
              <a:gd name="connsiteX64" fmla="*/ 12382 w 300489"/>
              <a:gd name="connsiteY64" fmla="*/ 206594 h 354077"/>
              <a:gd name="connsiteX65" fmla="*/ 61986 w 300489"/>
              <a:gd name="connsiteY65" fmla="*/ 219961 h 354077"/>
              <a:gd name="connsiteX66" fmla="*/ 3917 w 300489"/>
              <a:gd name="connsiteY66" fmla="*/ 253230 h 354077"/>
              <a:gd name="connsiteX67" fmla="*/ 946 w 300489"/>
              <a:gd name="connsiteY67" fmla="*/ 262736 h 354077"/>
              <a:gd name="connsiteX68" fmla="*/ 6739 w 300489"/>
              <a:gd name="connsiteY68" fmla="*/ 266597 h 354077"/>
              <a:gd name="connsiteX69" fmla="*/ 10600 w 300489"/>
              <a:gd name="connsiteY69" fmla="*/ 265558 h 354077"/>
              <a:gd name="connsiteX70" fmla="*/ 68669 w 300489"/>
              <a:gd name="connsiteY70" fmla="*/ 232289 h 354077"/>
              <a:gd name="connsiteX71" fmla="*/ 55303 w 300489"/>
              <a:gd name="connsiteY71" fmla="*/ 280856 h 354077"/>
              <a:gd name="connsiteX72" fmla="*/ 60204 w 300489"/>
              <a:gd name="connsiteY72" fmla="*/ 289470 h 354077"/>
              <a:gd name="connsiteX73" fmla="*/ 61986 w 300489"/>
              <a:gd name="connsiteY73" fmla="*/ 289470 h 354077"/>
              <a:gd name="connsiteX74" fmla="*/ 68669 w 300489"/>
              <a:gd name="connsiteY74" fmla="*/ 284717 h 354077"/>
              <a:gd name="connsiteX75" fmla="*/ 85006 w 300489"/>
              <a:gd name="connsiteY75" fmla="*/ 221893 h 354077"/>
              <a:gd name="connsiteX76" fmla="*/ 119312 w 300489"/>
              <a:gd name="connsiteY76" fmla="*/ 202882 h 354077"/>
              <a:gd name="connsiteX77" fmla="*/ 143075 w 300489"/>
              <a:gd name="connsiteY77" fmla="*/ 217140 h 354077"/>
              <a:gd name="connsiteX78" fmla="*/ 143075 w 300489"/>
              <a:gd name="connsiteY78" fmla="*/ 256052 h 354077"/>
              <a:gd name="connsiteX79" fmla="*/ 97332 w 300489"/>
              <a:gd name="connsiteY79" fmla="*/ 301797 h 354077"/>
              <a:gd name="connsiteX80" fmla="*/ 97332 w 300489"/>
              <a:gd name="connsiteY80" fmla="*/ 311303 h 354077"/>
              <a:gd name="connsiteX81" fmla="*/ 107877 w 300489"/>
              <a:gd name="connsiteY81" fmla="*/ 311303 h 354077"/>
              <a:gd name="connsiteX82" fmla="*/ 143075 w 300489"/>
              <a:gd name="connsiteY82" fmla="*/ 275212 h 354077"/>
              <a:gd name="connsiteX83" fmla="*/ 143075 w 300489"/>
              <a:gd name="connsiteY83" fmla="*/ 347542 h 354077"/>
              <a:gd name="connsiteX84" fmla="*/ 150798 w 300489"/>
              <a:gd name="connsiteY84" fmla="*/ 354077 h 354077"/>
              <a:gd name="connsiteX85" fmla="*/ 157481 w 300489"/>
              <a:gd name="connsiteY85" fmla="*/ 347542 h 354077"/>
              <a:gd name="connsiteX86" fmla="*/ 157481 w 300489"/>
              <a:gd name="connsiteY86" fmla="*/ 275212 h 354077"/>
              <a:gd name="connsiteX87" fmla="*/ 193719 w 300489"/>
              <a:gd name="connsiteY87" fmla="*/ 311303 h 354077"/>
              <a:gd name="connsiteX88" fmla="*/ 198471 w 300489"/>
              <a:gd name="connsiteY88" fmla="*/ 313233 h 354077"/>
              <a:gd name="connsiteX89" fmla="*/ 203223 w 300489"/>
              <a:gd name="connsiteY89" fmla="*/ 311303 h 354077"/>
              <a:gd name="connsiteX90" fmla="*/ 203223 w 300489"/>
              <a:gd name="connsiteY90" fmla="*/ 301797 h 354077"/>
              <a:gd name="connsiteX91" fmla="*/ 203223 w 300489"/>
              <a:gd name="connsiteY91" fmla="*/ 301797 h 354077"/>
              <a:gd name="connsiteX92" fmla="*/ 157481 w 300489"/>
              <a:gd name="connsiteY92" fmla="*/ 256052 h 354077"/>
              <a:gd name="connsiteX93" fmla="*/ 157481 w 300489"/>
              <a:gd name="connsiteY93" fmla="*/ 217140 h 354077"/>
              <a:gd name="connsiteX94" fmla="*/ 182283 w 300489"/>
              <a:gd name="connsiteY94" fmla="*/ 202882 h 354077"/>
              <a:gd name="connsiteX95" fmla="*/ 215550 w 300489"/>
              <a:gd name="connsiteY95" fmla="*/ 221893 h 354077"/>
              <a:gd name="connsiteX96" fmla="*/ 231887 w 300489"/>
              <a:gd name="connsiteY96" fmla="*/ 284717 h 354077"/>
              <a:gd name="connsiteX97" fmla="*/ 238570 w 300489"/>
              <a:gd name="connsiteY97" fmla="*/ 289470 h 354077"/>
              <a:gd name="connsiteX98" fmla="*/ 240352 w 300489"/>
              <a:gd name="connsiteY98" fmla="*/ 289470 h 354077"/>
              <a:gd name="connsiteX99" fmla="*/ 245253 w 300489"/>
              <a:gd name="connsiteY99" fmla="*/ 280856 h 354077"/>
              <a:gd name="connsiteX100" fmla="*/ 231887 w 300489"/>
              <a:gd name="connsiteY100" fmla="*/ 232289 h 354077"/>
              <a:gd name="connsiteX101" fmla="*/ 289956 w 300489"/>
              <a:gd name="connsiteY101" fmla="*/ 265558 h 354077"/>
              <a:gd name="connsiteX102" fmla="*/ 293817 w 300489"/>
              <a:gd name="connsiteY102" fmla="*/ 266597 h 354077"/>
              <a:gd name="connsiteX103" fmla="*/ 299609 w 300489"/>
              <a:gd name="connsiteY103" fmla="*/ 262736 h 354077"/>
              <a:gd name="connsiteX104" fmla="*/ 296639 w 300489"/>
              <a:gd name="connsiteY104" fmla="*/ 253230 h 354077"/>
              <a:gd name="connsiteX105" fmla="*/ 150798 w 300489"/>
              <a:gd name="connsiteY105" fmla="*/ 203772 h 354077"/>
              <a:gd name="connsiteX106" fmla="*/ 123025 w 300489"/>
              <a:gd name="connsiteY106" fmla="*/ 177038 h 354077"/>
              <a:gd name="connsiteX107" fmla="*/ 150798 w 300489"/>
              <a:gd name="connsiteY107" fmla="*/ 149562 h 354077"/>
              <a:gd name="connsiteX108" fmla="*/ 150798 w 300489"/>
              <a:gd name="connsiteY108" fmla="*/ 149562 h 354077"/>
              <a:gd name="connsiteX109" fmla="*/ 150798 w 300489"/>
              <a:gd name="connsiteY109" fmla="*/ 149562 h 354077"/>
              <a:gd name="connsiteX110" fmla="*/ 177530 w 300489"/>
              <a:gd name="connsiteY110" fmla="*/ 177038 h 354077"/>
              <a:gd name="connsiteX111" fmla="*/ 150798 w 300489"/>
              <a:gd name="connsiteY111" fmla="*/ 203772 h 35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300489" h="354077">
                <a:moveTo>
                  <a:pt x="296639" y="253230"/>
                </a:moveTo>
                <a:cubicBezTo>
                  <a:pt x="238570" y="219961"/>
                  <a:pt x="238570" y="219961"/>
                  <a:pt x="238570" y="219961"/>
                </a:cubicBezTo>
                <a:cubicBezTo>
                  <a:pt x="288174" y="206594"/>
                  <a:pt x="288174" y="206594"/>
                  <a:pt x="288174" y="206594"/>
                </a:cubicBezTo>
                <a:cubicBezTo>
                  <a:pt x="291886" y="205702"/>
                  <a:pt x="293817" y="201842"/>
                  <a:pt x="292926" y="199020"/>
                </a:cubicBezTo>
                <a:cubicBezTo>
                  <a:pt x="291887" y="195158"/>
                  <a:pt x="288174" y="193227"/>
                  <a:pt x="284312" y="194267"/>
                </a:cubicBezTo>
                <a:cubicBezTo>
                  <a:pt x="284312" y="194267"/>
                  <a:pt x="284312" y="194267"/>
                  <a:pt x="284312" y="194267"/>
                </a:cubicBezTo>
                <a:cubicBezTo>
                  <a:pt x="222233" y="210456"/>
                  <a:pt x="222233" y="210456"/>
                  <a:pt x="222233" y="210456"/>
                </a:cubicBezTo>
                <a:cubicBezTo>
                  <a:pt x="188966" y="191445"/>
                  <a:pt x="188966" y="191445"/>
                  <a:pt x="188966" y="191445"/>
                </a:cubicBezTo>
                <a:cubicBezTo>
                  <a:pt x="189858" y="186692"/>
                  <a:pt x="190748" y="181940"/>
                  <a:pt x="190748" y="177038"/>
                </a:cubicBezTo>
                <a:cubicBezTo>
                  <a:pt x="190748" y="172286"/>
                  <a:pt x="189856" y="167533"/>
                  <a:pt x="188966" y="162780"/>
                </a:cubicBezTo>
                <a:cubicBezTo>
                  <a:pt x="222233" y="143770"/>
                  <a:pt x="222233" y="143770"/>
                  <a:pt x="222233" y="143770"/>
                </a:cubicBezTo>
                <a:cubicBezTo>
                  <a:pt x="284312" y="159958"/>
                  <a:pt x="284312" y="159958"/>
                  <a:pt x="284312" y="159958"/>
                </a:cubicBezTo>
                <a:cubicBezTo>
                  <a:pt x="285204" y="159958"/>
                  <a:pt x="286243" y="159958"/>
                  <a:pt x="286243" y="159958"/>
                </a:cubicBezTo>
                <a:cubicBezTo>
                  <a:pt x="289065" y="159958"/>
                  <a:pt x="291886" y="158027"/>
                  <a:pt x="292926" y="155206"/>
                </a:cubicBezTo>
                <a:cubicBezTo>
                  <a:pt x="293818" y="151344"/>
                  <a:pt x="291887" y="147631"/>
                  <a:pt x="288174" y="146591"/>
                </a:cubicBezTo>
                <a:cubicBezTo>
                  <a:pt x="238570" y="133373"/>
                  <a:pt x="238570" y="133373"/>
                  <a:pt x="238570" y="133373"/>
                </a:cubicBezTo>
                <a:cubicBezTo>
                  <a:pt x="296639" y="99955"/>
                  <a:pt x="296639" y="99955"/>
                  <a:pt x="296639" y="99955"/>
                </a:cubicBezTo>
                <a:cubicBezTo>
                  <a:pt x="300500" y="98173"/>
                  <a:pt x="301391" y="94312"/>
                  <a:pt x="299609" y="91490"/>
                </a:cubicBezTo>
                <a:cubicBezTo>
                  <a:pt x="297679" y="87628"/>
                  <a:pt x="293817" y="86737"/>
                  <a:pt x="289956" y="88519"/>
                </a:cubicBezTo>
                <a:cubicBezTo>
                  <a:pt x="231887" y="121937"/>
                  <a:pt x="231887" y="121937"/>
                  <a:pt x="231887" y="121937"/>
                </a:cubicBezTo>
                <a:cubicBezTo>
                  <a:pt x="245253" y="72479"/>
                  <a:pt x="245253" y="72479"/>
                  <a:pt x="245253" y="72479"/>
                </a:cubicBezTo>
                <a:cubicBezTo>
                  <a:pt x="246145" y="69508"/>
                  <a:pt x="244212" y="65795"/>
                  <a:pt x="240352" y="64756"/>
                </a:cubicBezTo>
                <a:cubicBezTo>
                  <a:pt x="236639" y="63864"/>
                  <a:pt x="232778" y="65795"/>
                  <a:pt x="231887" y="69508"/>
                </a:cubicBezTo>
                <a:cubicBezTo>
                  <a:pt x="231887" y="69508"/>
                  <a:pt x="231887" y="69508"/>
                  <a:pt x="231887" y="69508"/>
                </a:cubicBezTo>
                <a:cubicBezTo>
                  <a:pt x="215550" y="131442"/>
                  <a:pt x="215550" y="131442"/>
                  <a:pt x="215550" y="131442"/>
                </a:cubicBezTo>
                <a:cubicBezTo>
                  <a:pt x="182283" y="151344"/>
                  <a:pt x="182283" y="151344"/>
                  <a:pt x="182283" y="151344"/>
                </a:cubicBezTo>
                <a:cubicBezTo>
                  <a:pt x="175599" y="143770"/>
                  <a:pt x="166986" y="138125"/>
                  <a:pt x="157481" y="137086"/>
                </a:cubicBezTo>
                <a:cubicBezTo>
                  <a:pt x="157481" y="98173"/>
                  <a:pt x="157481" y="98173"/>
                  <a:pt x="157481" y="98173"/>
                </a:cubicBezTo>
                <a:cubicBezTo>
                  <a:pt x="203223" y="52428"/>
                  <a:pt x="203223" y="52428"/>
                  <a:pt x="203223" y="52428"/>
                </a:cubicBezTo>
                <a:cubicBezTo>
                  <a:pt x="205154" y="49606"/>
                  <a:pt x="205154" y="45745"/>
                  <a:pt x="203223" y="42923"/>
                </a:cubicBezTo>
                <a:cubicBezTo>
                  <a:pt x="200401" y="40101"/>
                  <a:pt x="195649" y="40101"/>
                  <a:pt x="193719" y="42923"/>
                </a:cubicBezTo>
                <a:cubicBezTo>
                  <a:pt x="157481" y="79014"/>
                  <a:pt x="157481" y="79014"/>
                  <a:pt x="157481" y="79014"/>
                </a:cubicBezTo>
                <a:cubicBezTo>
                  <a:pt x="157481" y="6684"/>
                  <a:pt x="157481" y="6684"/>
                  <a:pt x="157481" y="6684"/>
                </a:cubicBezTo>
                <a:cubicBezTo>
                  <a:pt x="157481" y="2970"/>
                  <a:pt x="154510" y="0"/>
                  <a:pt x="150798" y="0"/>
                </a:cubicBezTo>
                <a:cubicBezTo>
                  <a:pt x="146936" y="0"/>
                  <a:pt x="143075" y="2970"/>
                  <a:pt x="143075" y="6684"/>
                </a:cubicBezTo>
                <a:cubicBezTo>
                  <a:pt x="143075" y="79014"/>
                  <a:pt x="143075" y="79014"/>
                  <a:pt x="143075" y="79014"/>
                </a:cubicBezTo>
                <a:cubicBezTo>
                  <a:pt x="107877" y="42923"/>
                  <a:pt x="107877" y="42923"/>
                  <a:pt x="107877" y="42923"/>
                </a:cubicBezTo>
                <a:cubicBezTo>
                  <a:pt x="104907" y="40101"/>
                  <a:pt x="100154" y="40101"/>
                  <a:pt x="97332" y="42923"/>
                </a:cubicBezTo>
                <a:cubicBezTo>
                  <a:pt x="95402" y="45745"/>
                  <a:pt x="95402" y="49606"/>
                  <a:pt x="97332" y="52428"/>
                </a:cubicBezTo>
                <a:cubicBezTo>
                  <a:pt x="143075" y="98173"/>
                  <a:pt x="143075" y="98173"/>
                  <a:pt x="143075" y="98173"/>
                </a:cubicBezTo>
                <a:cubicBezTo>
                  <a:pt x="143075" y="137086"/>
                  <a:pt x="143075" y="137086"/>
                  <a:pt x="143075" y="137086"/>
                </a:cubicBezTo>
                <a:cubicBezTo>
                  <a:pt x="133570" y="138127"/>
                  <a:pt x="124956" y="143770"/>
                  <a:pt x="119312" y="151344"/>
                </a:cubicBezTo>
                <a:cubicBezTo>
                  <a:pt x="85006" y="131442"/>
                  <a:pt x="85006" y="131442"/>
                  <a:pt x="85006" y="131442"/>
                </a:cubicBezTo>
                <a:cubicBezTo>
                  <a:pt x="68669" y="69508"/>
                  <a:pt x="68669" y="69508"/>
                  <a:pt x="68669" y="69508"/>
                </a:cubicBezTo>
                <a:cubicBezTo>
                  <a:pt x="67777" y="65795"/>
                  <a:pt x="63916" y="63865"/>
                  <a:pt x="60204" y="64756"/>
                </a:cubicBezTo>
                <a:cubicBezTo>
                  <a:pt x="56342" y="65795"/>
                  <a:pt x="54412" y="69508"/>
                  <a:pt x="55303" y="72479"/>
                </a:cubicBezTo>
                <a:cubicBezTo>
                  <a:pt x="55303" y="72479"/>
                  <a:pt x="55303" y="72479"/>
                  <a:pt x="55303" y="72479"/>
                </a:cubicBezTo>
                <a:cubicBezTo>
                  <a:pt x="68669" y="121937"/>
                  <a:pt x="68669" y="121937"/>
                  <a:pt x="68669" y="121937"/>
                </a:cubicBezTo>
                <a:cubicBezTo>
                  <a:pt x="10600" y="88519"/>
                  <a:pt x="10600" y="88519"/>
                  <a:pt x="10600" y="88519"/>
                </a:cubicBezTo>
                <a:cubicBezTo>
                  <a:pt x="7630" y="86737"/>
                  <a:pt x="2877" y="87627"/>
                  <a:pt x="946" y="91490"/>
                </a:cubicBezTo>
                <a:cubicBezTo>
                  <a:pt x="-984" y="94312"/>
                  <a:pt x="55" y="98173"/>
                  <a:pt x="3917" y="99955"/>
                </a:cubicBezTo>
                <a:cubicBezTo>
                  <a:pt x="61986" y="133373"/>
                  <a:pt x="61986" y="133373"/>
                  <a:pt x="61986" y="133373"/>
                </a:cubicBezTo>
                <a:cubicBezTo>
                  <a:pt x="12382" y="146591"/>
                  <a:pt x="12382" y="146591"/>
                  <a:pt x="12382" y="146591"/>
                </a:cubicBezTo>
                <a:cubicBezTo>
                  <a:pt x="8669" y="147630"/>
                  <a:pt x="6739" y="151344"/>
                  <a:pt x="7630" y="155206"/>
                </a:cubicBezTo>
                <a:cubicBezTo>
                  <a:pt x="8669" y="158027"/>
                  <a:pt x="11491" y="159958"/>
                  <a:pt x="14313" y="159958"/>
                </a:cubicBezTo>
                <a:cubicBezTo>
                  <a:pt x="14313" y="159958"/>
                  <a:pt x="15352" y="159958"/>
                  <a:pt x="16243" y="159958"/>
                </a:cubicBezTo>
                <a:cubicBezTo>
                  <a:pt x="78323" y="143770"/>
                  <a:pt x="78323" y="143770"/>
                  <a:pt x="78323" y="143770"/>
                </a:cubicBezTo>
                <a:cubicBezTo>
                  <a:pt x="111590" y="162780"/>
                  <a:pt x="111590" y="162780"/>
                  <a:pt x="111590" y="162780"/>
                </a:cubicBezTo>
                <a:cubicBezTo>
                  <a:pt x="110698" y="167533"/>
                  <a:pt x="109808" y="172286"/>
                  <a:pt x="109808" y="177038"/>
                </a:cubicBezTo>
                <a:cubicBezTo>
                  <a:pt x="109808" y="181940"/>
                  <a:pt x="110700" y="186692"/>
                  <a:pt x="111590" y="191445"/>
                </a:cubicBezTo>
                <a:cubicBezTo>
                  <a:pt x="78323" y="210456"/>
                  <a:pt x="78323" y="210456"/>
                  <a:pt x="78323" y="210456"/>
                </a:cubicBezTo>
                <a:cubicBezTo>
                  <a:pt x="16243" y="194267"/>
                  <a:pt x="16243" y="194267"/>
                  <a:pt x="16243" y="194267"/>
                </a:cubicBezTo>
                <a:cubicBezTo>
                  <a:pt x="12382" y="192336"/>
                  <a:pt x="8669" y="195159"/>
                  <a:pt x="7630" y="199020"/>
                </a:cubicBezTo>
                <a:cubicBezTo>
                  <a:pt x="6738" y="201842"/>
                  <a:pt x="8669" y="205703"/>
                  <a:pt x="12382" y="206594"/>
                </a:cubicBezTo>
                <a:cubicBezTo>
                  <a:pt x="12382" y="206594"/>
                  <a:pt x="12382" y="206594"/>
                  <a:pt x="12382" y="206594"/>
                </a:cubicBezTo>
                <a:cubicBezTo>
                  <a:pt x="61986" y="219961"/>
                  <a:pt x="61986" y="219961"/>
                  <a:pt x="61986" y="219961"/>
                </a:cubicBezTo>
                <a:cubicBezTo>
                  <a:pt x="3917" y="253230"/>
                  <a:pt x="3917" y="253230"/>
                  <a:pt x="3917" y="253230"/>
                </a:cubicBezTo>
                <a:cubicBezTo>
                  <a:pt x="55" y="255161"/>
                  <a:pt x="-984" y="259914"/>
                  <a:pt x="946" y="262736"/>
                </a:cubicBezTo>
                <a:cubicBezTo>
                  <a:pt x="1985" y="264666"/>
                  <a:pt x="4808" y="266597"/>
                  <a:pt x="6739" y="266597"/>
                </a:cubicBezTo>
                <a:cubicBezTo>
                  <a:pt x="8669" y="266597"/>
                  <a:pt x="9560" y="265558"/>
                  <a:pt x="10600" y="265558"/>
                </a:cubicBezTo>
                <a:cubicBezTo>
                  <a:pt x="68669" y="232289"/>
                  <a:pt x="68669" y="232289"/>
                  <a:pt x="68669" y="232289"/>
                </a:cubicBezTo>
                <a:cubicBezTo>
                  <a:pt x="55303" y="280856"/>
                  <a:pt x="55303" y="280856"/>
                  <a:pt x="55303" y="280856"/>
                </a:cubicBezTo>
                <a:cubicBezTo>
                  <a:pt x="54411" y="284717"/>
                  <a:pt x="56344" y="288430"/>
                  <a:pt x="60204" y="289470"/>
                </a:cubicBezTo>
                <a:cubicBezTo>
                  <a:pt x="61096" y="289470"/>
                  <a:pt x="61096" y="289470"/>
                  <a:pt x="61986" y="289470"/>
                </a:cubicBezTo>
                <a:cubicBezTo>
                  <a:pt x="64956" y="289470"/>
                  <a:pt x="67778" y="287539"/>
                  <a:pt x="68669" y="284717"/>
                </a:cubicBezTo>
                <a:cubicBezTo>
                  <a:pt x="85006" y="221893"/>
                  <a:pt x="85006" y="221893"/>
                  <a:pt x="85006" y="221893"/>
                </a:cubicBezTo>
                <a:cubicBezTo>
                  <a:pt x="119312" y="202882"/>
                  <a:pt x="119312" y="202882"/>
                  <a:pt x="119312" y="202882"/>
                </a:cubicBezTo>
                <a:cubicBezTo>
                  <a:pt x="124956" y="210456"/>
                  <a:pt x="133570" y="215209"/>
                  <a:pt x="143075" y="217140"/>
                </a:cubicBezTo>
                <a:cubicBezTo>
                  <a:pt x="143075" y="256052"/>
                  <a:pt x="143075" y="256052"/>
                  <a:pt x="143075" y="256052"/>
                </a:cubicBezTo>
                <a:cubicBezTo>
                  <a:pt x="97332" y="301797"/>
                  <a:pt x="97332" y="301797"/>
                  <a:pt x="97332" y="301797"/>
                </a:cubicBezTo>
                <a:cubicBezTo>
                  <a:pt x="95402" y="303728"/>
                  <a:pt x="95402" y="308481"/>
                  <a:pt x="97332" y="311303"/>
                </a:cubicBezTo>
                <a:cubicBezTo>
                  <a:pt x="100154" y="314125"/>
                  <a:pt x="104907" y="314125"/>
                  <a:pt x="107877" y="311303"/>
                </a:cubicBezTo>
                <a:cubicBezTo>
                  <a:pt x="143075" y="275212"/>
                  <a:pt x="143075" y="275212"/>
                  <a:pt x="143075" y="275212"/>
                </a:cubicBezTo>
                <a:cubicBezTo>
                  <a:pt x="143075" y="347542"/>
                  <a:pt x="143075" y="347542"/>
                  <a:pt x="143075" y="347542"/>
                </a:cubicBezTo>
                <a:cubicBezTo>
                  <a:pt x="143075" y="351255"/>
                  <a:pt x="146936" y="354077"/>
                  <a:pt x="150798" y="354077"/>
                </a:cubicBezTo>
                <a:cubicBezTo>
                  <a:pt x="154510" y="354077"/>
                  <a:pt x="157481" y="351255"/>
                  <a:pt x="157481" y="347542"/>
                </a:cubicBezTo>
                <a:cubicBezTo>
                  <a:pt x="157481" y="275212"/>
                  <a:pt x="157481" y="275212"/>
                  <a:pt x="157481" y="275212"/>
                </a:cubicBezTo>
                <a:cubicBezTo>
                  <a:pt x="193719" y="311303"/>
                  <a:pt x="193719" y="311303"/>
                  <a:pt x="193719" y="311303"/>
                </a:cubicBezTo>
                <a:cubicBezTo>
                  <a:pt x="194608" y="312195"/>
                  <a:pt x="196540" y="313233"/>
                  <a:pt x="198471" y="313233"/>
                </a:cubicBezTo>
                <a:cubicBezTo>
                  <a:pt x="199363" y="313233"/>
                  <a:pt x="201292" y="312193"/>
                  <a:pt x="203223" y="311303"/>
                </a:cubicBezTo>
                <a:cubicBezTo>
                  <a:pt x="206045" y="308481"/>
                  <a:pt x="206045" y="304619"/>
                  <a:pt x="203223" y="301797"/>
                </a:cubicBezTo>
                <a:cubicBezTo>
                  <a:pt x="203223" y="301797"/>
                  <a:pt x="203223" y="301797"/>
                  <a:pt x="203223" y="301797"/>
                </a:cubicBezTo>
                <a:cubicBezTo>
                  <a:pt x="157481" y="256052"/>
                  <a:pt x="157481" y="256052"/>
                  <a:pt x="157481" y="256052"/>
                </a:cubicBezTo>
                <a:cubicBezTo>
                  <a:pt x="157481" y="217140"/>
                  <a:pt x="157481" y="217140"/>
                  <a:pt x="157481" y="217140"/>
                </a:cubicBezTo>
                <a:cubicBezTo>
                  <a:pt x="166986" y="215209"/>
                  <a:pt x="175599" y="210456"/>
                  <a:pt x="182283" y="202882"/>
                </a:cubicBezTo>
                <a:cubicBezTo>
                  <a:pt x="215550" y="221893"/>
                  <a:pt x="215550" y="221893"/>
                  <a:pt x="215550" y="221893"/>
                </a:cubicBezTo>
                <a:cubicBezTo>
                  <a:pt x="231887" y="284717"/>
                  <a:pt x="231887" y="284717"/>
                  <a:pt x="231887" y="284717"/>
                </a:cubicBezTo>
                <a:cubicBezTo>
                  <a:pt x="232778" y="287539"/>
                  <a:pt x="235599" y="289470"/>
                  <a:pt x="238570" y="289470"/>
                </a:cubicBezTo>
                <a:cubicBezTo>
                  <a:pt x="239462" y="289470"/>
                  <a:pt x="239462" y="289470"/>
                  <a:pt x="240352" y="289470"/>
                </a:cubicBezTo>
                <a:cubicBezTo>
                  <a:pt x="244213" y="288429"/>
                  <a:pt x="246144" y="284717"/>
                  <a:pt x="245253" y="280856"/>
                </a:cubicBezTo>
                <a:cubicBezTo>
                  <a:pt x="231887" y="232289"/>
                  <a:pt x="231887" y="232289"/>
                  <a:pt x="231887" y="232289"/>
                </a:cubicBezTo>
                <a:cubicBezTo>
                  <a:pt x="289956" y="265558"/>
                  <a:pt x="289956" y="265558"/>
                  <a:pt x="289956" y="265558"/>
                </a:cubicBezTo>
                <a:cubicBezTo>
                  <a:pt x="290995" y="265558"/>
                  <a:pt x="292926" y="266597"/>
                  <a:pt x="293817" y="266597"/>
                </a:cubicBezTo>
                <a:cubicBezTo>
                  <a:pt x="295748" y="266597"/>
                  <a:pt x="298570" y="264666"/>
                  <a:pt x="299609" y="262736"/>
                </a:cubicBezTo>
                <a:cubicBezTo>
                  <a:pt x="301391" y="259914"/>
                  <a:pt x="300501" y="255161"/>
                  <a:pt x="296639" y="253230"/>
                </a:cubicBezTo>
                <a:close/>
                <a:moveTo>
                  <a:pt x="150798" y="203772"/>
                </a:moveTo>
                <a:cubicBezTo>
                  <a:pt x="135501" y="203772"/>
                  <a:pt x="123025" y="192336"/>
                  <a:pt x="123025" y="177038"/>
                </a:cubicBezTo>
                <a:cubicBezTo>
                  <a:pt x="123025" y="161889"/>
                  <a:pt x="135501" y="149562"/>
                  <a:pt x="150798" y="149562"/>
                </a:cubicBezTo>
                <a:cubicBezTo>
                  <a:pt x="150798" y="149562"/>
                  <a:pt x="150798" y="149562"/>
                  <a:pt x="150798" y="149562"/>
                </a:cubicBezTo>
                <a:cubicBezTo>
                  <a:pt x="150798" y="149562"/>
                  <a:pt x="150798" y="149562"/>
                  <a:pt x="150798" y="149562"/>
                </a:cubicBezTo>
                <a:cubicBezTo>
                  <a:pt x="165055" y="149562"/>
                  <a:pt x="177530" y="161889"/>
                  <a:pt x="177530" y="177038"/>
                </a:cubicBezTo>
                <a:cubicBezTo>
                  <a:pt x="177530" y="192336"/>
                  <a:pt x="165055" y="203772"/>
                  <a:pt x="150798" y="203772"/>
                </a:cubicBezTo>
                <a:close/>
              </a:path>
            </a:pathLst>
          </a:custGeom>
          <a:solidFill>
            <a:schemeClr val="tx2"/>
          </a:solidFill>
          <a:ln w="3705" cap="flat">
            <a:noFill/>
            <a:prstDash val="solid"/>
            <a:miter/>
          </a:ln>
        </p:spPr>
        <p:txBody>
          <a:bodyPr rtlCol="0" anchor="ctr"/>
          <a:lstStyle/>
          <a:p>
            <a:endParaRPr lang="en-GB" dirty="0"/>
          </a:p>
        </p:txBody>
      </p:sp>
      <p:sp>
        <p:nvSpPr>
          <p:cNvPr id="33" name="Freeform: Shape 32">
            <a:extLst>
              <a:ext uri="{FF2B5EF4-FFF2-40B4-BE49-F238E27FC236}">
                <a16:creationId xmlns:a16="http://schemas.microsoft.com/office/drawing/2014/main" id="{9E9A232D-B9C0-4B89-815A-E3C6488BB77E}"/>
              </a:ext>
            </a:extLst>
          </p:cNvPr>
          <p:cNvSpPr/>
          <p:nvPr/>
        </p:nvSpPr>
        <p:spPr>
          <a:xfrm>
            <a:off x="3780352" y="3235735"/>
            <a:ext cx="299998" cy="354671"/>
          </a:xfrm>
          <a:custGeom>
            <a:avLst/>
            <a:gdLst>
              <a:gd name="connsiteX0" fmla="*/ 286782 w 299998"/>
              <a:gd name="connsiteY0" fmla="*/ 30596 h 354671"/>
              <a:gd name="connsiteX1" fmla="*/ 150594 w 299998"/>
              <a:gd name="connsiteY1" fmla="*/ 0 h 354671"/>
              <a:gd name="connsiteX2" fmla="*/ 46782 w 299998"/>
              <a:gd name="connsiteY2" fmla="*/ 14407 h 354671"/>
              <a:gd name="connsiteX3" fmla="*/ 14406 w 299998"/>
              <a:gd name="connsiteY3" fmla="*/ 30596 h 354671"/>
              <a:gd name="connsiteX4" fmla="*/ 0 w 299998"/>
              <a:gd name="connsiteY4" fmla="*/ 54359 h 354671"/>
              <a:gd name="connsiteX5" fmla="*/ 14406 w 299998"/>
              <a:gd name="connsiteY5" fmla="*/ 78271 h 354671"/>
              <a:gd name="connsiteX6" fmla="*/ 150594 w 299998"/>
              <a:gd name="connsiteY6" fmla="*/ 108718 h 354671"/>
              <a:gd name="connsiteX7" fmla="*/ 253366 w 299998"/>
              <a:gd name="connsiteY7" fmla="*/ 94460 h 354671"/>
              <a:gd name="connsiteX8" fmla="*/ 259158 w 299998"/>
              <a:gd name="connsiteY8" fmla="*/ 92529 h 354671"/>
              <a:gd name="connsiteX9" fmla="*/ 225742 w 299998"/>
              <a:gd name="connsiteY9" fmla="*/ 121194 h 354671"/>
              <a:gd name="connsiteX10" fmla="*/ 136188 w 299998"/>
              <a:gd name="connsiteY10" fmla="*/ 136343 h 354671"/>
              <a:gd name="connsiteX11" fmla="*/ 47673 w 299998"/>
              <a:gd name="connsiteY11" fmla="*/ 121194 h 354671"/>
              <a:gd name="connsiteX12" fmla="*/ 14406 w 299998"/>
              <a:gd name="connsiteY12" fmla="*/ 88668 h 354671"/>
              <a:gd name="connsiteX13" fmla="*/ 6683 w 299998"/>
              <a:gd name="connsiteY13" fmla="*/ 82133 h 354671"/>
              <a:gd name="connsiteX14" fmla="*/ 0 w 299998"/>
              <a:gd name="connsiteY14" fmla="*/ 88668 h 354671"/>
              <a:gd name="connsiteX15" fmla="*/ 21089 w 299998"/>
              <a:gd name="connsiteY15" fmla="*/ 122085 h 354671"/>
              <a:gd name="connsiteX16" fmla="*/ 21089 w 299998"/>
              <a:gd name="connsiteY16" fmla="*/ 123125 h 354671"/>
              <a:gd name="connsiteX17" fmla="*/ 60000 w 299998"/>
              <a:gd name="connsiteY17" fmla="*/ 172583 h 354671"/>
              <a:gd name="connsiteX18" fmla="*/ 150594 w 299998"/>
              <a:gd name="connsiteY18" fmla="*/ 190702 h 354671"/>
              <a:gd name="connsiteX19" fmla="*/ 223811 w 299998"/>
              <a:gd name="connsiteY19" fmla="*/ 179266 h 354671"/>
              <a:gd name="connsiteX20" fmla="*/ 200049 w 299998"/>
              <a:gd name="connsiteY20" fmla="*/ 203178 h 354671"/>
              <a:gd name="connsiteX21" fmla="*/ 133366 w 299998"/>
              <a:gd name="connsiteY21" fmla="*/ 218476 h 354671"/>
              <a:gd name="connsiteX22" fmla="*/ 66683 w 299998"/>
              <a:gd name="connsiteY22" fmla="*/ 203178 h 354671"/>
              <a:gd name="connsiteX23" fmla="*/ 40990 w 299998"/>
              <a:gd name="connsiteY23" fmla="*/ 170800 h 354671"/>
              <a:gd name="connsiteX24" fmla="*/ 34307 w 299998"/>
              <a:gd name="connsiteY24" fmla="*/ 164117 h 354671"/>
              <a:gd name="connsiteX25" fmla="*/ 27624 w 299998"/>
              <a:gd name="connsiteY25" fmla="*/ 170800 h 354671"/>
              <a:gd name="connsiteX26" fmla="*/ 60000 w 299998"/>
              <a:gd name="connsiteY26" fmla="*/ 215506 h 354671"/>
              <a:gd name="connsiteX27" fmla="*/ 76188 w 299998"/>
              <a:gd name="connsiteY27" fmla="*/ 222189 h 354671"/>
              <a:gd name="connsiteX28" fmla="*/ 75296 w 299998"/>
              <a:gd name="connsiteY28" fmla="*/ 225011 h 354671"/>
              <a:gd name="connsiteX29" fmla="*/ 98167 w 299998"/>
              <a:gd name="connsiteY29" fmla="*/ 260359 h 354671"/>
              <a:gd name="connsiteX30" fmla="*/ 102920 w 299998"/>
              <a:gd name="connsiteY30" fmla="*/ 262290 h 354671"/>
              <a:gd name="connsiteX31" fmla="*/ 122969 w 299998"/>
              <a:gd name="connsiteY31" fmla="*/ 289024 h 354671"/>
              <a:gd name="connsiteX32" fmla="*/ 123861 w 299998"/>
              <a:gd name="connsiteY32" fmla="*/ 289915 h 354671"/>
              <a:gd name="connsiteX33" fmla="*/ 122969 w 299998"/>
              <a:gd name="connsiteY33" fmla="*/ 293777 h 354671"/>
              <a:gd name="connsiteX34" fmla="*/ 170494 w 299998"/>
              <a:gd name="connsiteY34" fmla="*/ 327046 h 354671"/>
              <a:gd name="connsiteX35" fmla="*/ 176286 w 299998"/>
              <a:gd name="connsiteY35" fmla="*/ 327046 h 354671"/>
              <a:gd name="connsiteX36" fmla="*/ 153415 w 299998"/>
              <a:gd name="connsiteY36" fmla="*/ 341452 h 354671"/>
              <a:gd name="connsiteX37" fmla="*/ 129652 w 299998"/>
              <a:gd name="connsiteY37" fmla="*/ 320362 h 354671"/>
              <a:gd name="connsiteX38" fmla="*/ 122969 w 299998"/>
              <a:gd name="connsiteY38" fmla="*/ 313679 h 354671"/>
              <a:gd name="connsiteX39" fmla="*/ 116286 w 299998"/>
              <a:gd name="connsiteY39" fmla="*/ 320362 h 354671"/>
              <a:gd name="connsiteX40" fmla="*/ 153415 w 299998"/>
              <a:gd name="connsiteY40" fmla="*/ 354671 h 354671"/>
              <a:gd name="connsiteX41" fmla="*/ 190543 w 299998"/>
              <a:gd name="connsiteY41" fmla="*/ 324224 h 354671"/>
              <a:gd name="connsiteX42" fmla="*/ 218167 w 299998"/>
              <a:gd name="connsiteY42" fmla="*/ 293777 h 354671"/>
              <a:gd name="connsiteX43" fmla="*/ 214306 w 299998"/>
              <a:gd name="connsiteY43" fmla="*/ 287093 h 354671"/>
              <a:gd name="connsiteX44" fmla="*/ 232425 w 299998"/>
              <a:gd name="connsiteY44" fmla="*/ 259468 h 354671"/>
              <a:gd name="connsiteX45" fmla="*/ 224850 w 299998"/>
              <a:gd name="connsiteY45" fmla="*/ 252785 h 354671"/>
              <a:gd name="connsiteX46" fmla="*/ 218167 w 299998"/>
              <a:gd name="connsiteY46" fmla="*/ 259468 h 354671"/>
              <a:gd name="connsiteX47" fmla="*/ 218167 w 299998"/>
              <a:gd name="connsiteY47" fmla="*/ 259468 h 354671"/>
              <a:gd name="connsiteX48" fmla="*/ 204801 w 299998"/>
              <a:gd name="connsiteY48" fmla="*/ 277588 h 354671"/>
              <a:gd name="connsiteX49" fmla="*/ 167672 w 299998"/>
              <a:gd name="connsiteY49" fmla="*/ 286054 h 354671"/>
              <a:gd name="connsiteX50" fmla="*/ 129652 w 299998"/>
              <a:gd name="connsiteY50" fmla="*/ 277588 h 354671"/>
              <a:gd name="connsiteX51" fmla="*/ 119999 w 299998"/>
              <a:gd name="connsiteY51" fmla="*/ 268974 h 354671"/>
              <a:gd name="connsiteX52" fmla="*/ 150593 w 299998"/>
              <a:gd name="connsiteY52" fmla="*/ 272687 h 354671"/>
              <a:gd name="connsiteX53" fmla="*/ 201979 w 299998"/>
              <a:gd name="connsiteY53" fmla="*/ 260360 h 354671"/>
              <a:gd name="connsiteX54" fmla="*/ 224850 w 299998"/>
              <a:gd name="connsiteY54" fmla="*/ 225011 h 354671"/>
              <a:gd name="connsiteX55" fmla="*/ 218167 w 299998"/>
              <a:gd name="connsiteY55" fmla="*/ 218476 h 354671"/>
              <a:gd name="connsiteX56" fmla="*/ 211484 w 299998"/>
              <a:gd name="connsiteY56" fmla="*/ 225011 h 354671"/>
              <a:gd name="connsiteX57" fmla="*/ 211484 w 299998"/>
              <a:gd name="connsiteY57" fmla="*/ 225011 h 354671"/>
              <a:gd name="connsiteX58" fmla="*/ 195296 w 299998"/>
              <a:gd name="connsiteY58" fmla="*/ 248032 h 354671"/>
              <a:gd name="connsiteX59" fmla="*/ 150593 w 299998"/>
              <a:gd name="connsiteY59" fmla="*/ 259468 h 354671"/>
              <a:gd name="connsiteX60" fmla="*/ 105741 w 299998"/>
              <a:gd name="connsiteY60" fmla="*/ 248032 h 354671"/>
              <a:gd name="connsiteX61" fmla="*/ 88662 w 299998"/>
              <a:gd name="connsiteY61" fmla="*/ 226051 h 354671"/>
              <a:gd name="connsiteX62" fmla="*/ 133365 w 299998"/>
              <a:gd name="connsiteY62" fmla="*/ 231695 h 354671"/>
              <a:gd name="connsiteX63" fmla="*/ 206731 w 299998"/>
              <a:gd name="connsiteY63" fmla="*/ 215506 h 354671"/>
              <a:gd name="connsiteX64" fmla="*/ 238216 w 299998"/>
              <a:gd name="connsiteY64" fmla="*/ 172583 h 354671"/>
              <a:gd name="connsiteX65" fmla="*/ 239999 w 299998"/>
              <a:gd name="connsiteY65" fmla="*/ 172583 h 354671"/>
              <a:gd name="connsiteX66" fmla="*/ 280098 w 299998"/>
              <a:gd name="connsiteY66" fmla="*/ 123125 h 354671"/>
              <a:gd name="connsiteX67" fmla="*/ 272523 w 299998"/>
              <a:gd name="connsiteY67" fmla="*/ 116441 h 354671"/>
              <a:gd name="connsiteX68" fmla="*/ 265840 w 299998"/>
              <a:gd name="connsiteY68" fmla="*/ 123125 h 354671"/>
              <a:gd name="connsiteX69" fmla="*/ 265840 w 299998"/>
              <a:gd name="connsiteY69" fmla="*/ 123125 h 354671"/>
              <a:gd name="connsiteX70" fmla="*/ 234355 w 299998"/>
              <a:gd name="connsiteY70" fmla="*/ 160256 h 354671"/>
              <a:gd name="connsiteX71" fmla="*/ 150593 w 299998"/>
              <a:gd name="connsiteY71" fmla="*/ 177336 h 354671"/>
              <a:gd name="connsiteX72" fmla="*/ 66682 w 299998"/>
              <a:gd name="connsiteY72" fmla="*/ 160256 h 354671"/>
              <a:gd name="connsiteX73" fmla="*/ 36237 w 299998"/>
              <a:gd name="connsiteY73" fmla="*/ 130700 h 354671"/>
              <a:gd name="connsiteX74" fmla="*/ 42920 w 299998"/>
              <a:gd name="connsiteY74" fmla="*/ 133522 h 354671"/>
              <a:gd name="connsiteX75" fmla="*/ 136187 w 299998"/>
              <a:gd name="connsiteY75" fmla="*/ 149710 h 354671"/>
              <a:gd name="connsiteX76" fmla="*/ 230494 w 299998"/>
              <a:gd name="connsiteY76" fmla="*/ 133522 h 354671"/>
              <a:gd name="connsiteX77" fmla="*/ 272523 w 299998"/>
              <a:gd name="connsiteY77" fmla="*/ 88668 h 354671"/>
              <a:gd name="connsiteX78" fmla="*/ 272523 w 299998"/>
              <a:gd name="connsiteY78" fmla="*/ 86886 h 354671"/>
              <a:gd name="connsiteX79" fmla="*/ 286781 w 299998"/>
              <a:gd name="connsiteY79" fmla="*/ 78271 h 354671"/>
              <a:gd name="connsiteX80" fmla="*/ 299998 w 299998"/>
              <a:gd name="connsiteY80" fmla="*/ 54359 h 354671"/>
              <a:gd name="connsiteX81" fmla="*/ 286781 w 299998"/>
              <a:gd name="connsiteY81" fmla="*/ 30596 h 354671"/>
              <a:gd name="connsiteX82" fmla="*/ 204802 w 299998"/>
              <a:gd name="connsiteY82" fmla="*/ 292737 h 354671"/>
              <a:gd name="connsiteX83" fmla="*/ 204802 w 299998"/>
              <a:gd name="connsiteY83" fmla="*/ 293777 h 354671"/>
              <a:gd name="connsiteX84" fmla="*/ 204802 w 299998"/>
              <a:gd name="connsiteY84" fmla="*/ 293777 h 354671"/>
              <a:gd name="connsiteX85" fmla="*/ 196188 w 299998"/>
              <a:gd name="connsiteY85" fmla="*/ 307144 h 354671"/>
              <a:gd name="connsiteX86" fmla="*/ 170495 w 299998"/>
              <a:gd name="connsiteY86" fmla="*/ 313679 h 354671"/>
              <a:gd name="connsiteX87" fmla="*/ 145841 w 299998"/>
              <a:gd name="connsiteY87" fmla="*/ 307144 h 354671"/>
              <a:gd name="connsiteX88" fmla="*/ 137228 w 299998"/>
              <a:gd name="connsiteY88" fmla="*/ 295560 h 354671"/>
              <a:gd name="connsiteX89" fmla="*/ 167673 w 299998"/>
              <a:gd name="connsiteY89" fmla="*/ 300461 h 354671"/>
              <a:gd name="connsiteX90" fmla="*/ 204802 w 299998"/>
              <a:gd name="connsiteY90" fmla="*/ 292738 h 354671"/>
              <a:gd name="connsiteX91" fmla="*/ 278168 w 299998"/>
              <a:gd name="connsiteY91" fmla="*/ 67726 h 354671"/>
              <a:gd name="connsiteX92" fmla="*/ 150594 w 299998"/>
              <a:gd name="connsiteY92" fmla="*/ 95351 h 354671"/>
              <a:gd name="connsiteX93" fmla="*/ 51535 w 299998"/>
              <a:gd name="connsiteY93" fmla="*/ 82133 h 354671"/>
              <a:gd name="connsiteX94" fmla="*/ 22871 w 299998"/>
              <a:gd name="connsiteY94" fmla="*/ 67726 h 354671"/>
              <a:gd name="connsiteX95" fmla="*/ 14406 w 299998"/>
              <a:gd name="connsiteY95" fmla="*/ 54359 h 354671"/>
              <a:gd name="connsiteX96" fmla="*/ 22871 w 299998"/>
              <a:gd name="connsiteY96" fmla="*/ 41141 h 354671"/>
              <a:gd name="connsiteX97" fmla="*/ 148663 w 299998"/>
              <a:gd name="connsiteY97" fmla="*/ 13367 h 354671"/>
              <a:gd name="connsiteX98" fmla="*/ 150594 w 299998"/>
              <a:gd name="connsiteY98" fmla="*/ 13367 h 354671"/>
              <a:gd name="connsiteX99" fmla="*/ 249653 w 299998"/>
              <a:gd name="connsiteY99" fmla="*/ 27774 h 354671"/>
              <a:gd name="connsiteX100" fmla="*/ 278168 w 299998"/>
              <a:gd name="connsiteY100" fmla="*/ 41141 h 354671"/>
              <a:gd name="connsiteX101" fmla="*/ 286782 w 299998"/>
              <a:gd name="connsiteY101" fmla="*/ 54359 h 354671"/>
              <a:gd name="connsiteX102" fmla="*/ 278168 w 299998"/>
              <a:gd name="connsiteY102" fmla="*/ 67726 h 35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99998" h="354671">
                <a:moveTo>
                  <a:pt x="286782" y="30596"/>
                </a:moveTo>
                <a:cubicBezTo>
                  <a:pt x="261980" y="11585"/>
                  <a:pt x="210594" y="0"/>
                  <a:pt x="150594" y="0"/>
                </a:cubicBezTo>
                <a:cubicBezTo>
                  <a:pt x="110495" y="0"/>
                  <a:pt x="73366" y="5792"/>
                  <a:pt x="46782" y="14407"/>
                </a:cubicBezTo>
                <a:cubicBezTo>
                  <a:pt x="33416" y="19159"/>
                  <a:pt x="21980" y="23912"/>
                  <a:pt x="14406" y="30596"/>
                </a:cubicBezTo>
                <a:cubicBezTo>
                  <a:pt x="5792" y="37279"/>
                  <a:pt x="0" y="44854"/>
                  <a:pt x="0" y="54359"/>
                </a:cubicBezTo>
                <a:cubicBezTo>
                  <a:pt x="0" y="64013"/>
                  <a:pt x="5792" y="72479"/>
                  <a:pt x="14406" y="78271"/>
                </a:cubicBezTo>
                <a:cubicBezTo>
                  <a:pt x="39059" y="97282"/>
                  <a:pt x="89554" y="108718"/>
                  <a:pt x="150594" y="108718"/>
                </a:cubicBezTo>
                <a:cubicBezTo>
                  <a:pt x="190544" y="108718"/>
                  <a:pt x="226782" y="103966"/>
                  <a:pt x="253366" y="94460"/>
                </a:cubicBezTo>
                <a:cubicBezTo>
                  <a:pt x="255296" y="94460"/>
                  <a:pt x="257227" y="93569"/>
                  <a:pt x="259158" y="92529"/>
                </a:cubicBezTo>
                <a:cubicBezTo>
                  <a:pt x="256187" y="102035"/>
                  <a:pt x="244900" y="112580"/>
                  <a:pt x="225742" y="121194"/>
                </a:cubicBezTo>
                <a:cubicBezTo>
                  <a:pt x="202871" y="130699"/>
                  <a:pt x="171534" y="136343"/>
                  <a:pt x="136188" y="136343"/>
                </a:cubicBezTo>
                <a:cubicBezTo>
                  <a:pt x="102030" y="136343"/>
                  <a:pt x="69653" y="130699"/>
                  <a:pt x="47673" y="121194"/>
                </a:cubicBezTo>
                <a:cubicBezTo>
                  <a:pt x="24802" y="111689"/>
                  <a:pt x="13366" y="99213"/>
                  <a:pt x="14406" y="88668"/>
                </a:cubicBezTo>
                <a:cubicBezTo>
                  <a:pt x="14406" y="84955"/>
                  <a:pt x="10545" y="82133"/>
                  <a:pt x="6683" y="82133"/>
                </a:cubicBezTo>
                <a:cubicBezTo>
                  <a:pt x="3861" y="82133"/>
                  <a:pt x="0" y="84955"/>
                  <a:pt x="0" y="88668"/>
                </a:cubicBezTo>
                <a:cubicBezTo>
                  <a:pt x="1039" y="102035"/>
                  <a:pt x="8614" y="112580"/>
                  <a:pt x="21089" y="122085"/>
                </a:cubicBezTo>
                <a:cubicBezTo>
                  <a:pt x="21089" y="122085"/>
                  <a:pt x="21089" y="122085"/>
                  <a:pt x="21089" y="123125"/>
                </a:cubicBezTo>
                <a:cubicBezTo>
                  <a:pt x="21089" y="144067"/>
                  <a:pt x="37277" y="161146"/>
                  <a:pt x="60000" y="172583"/>
                </a:cubicBezTo>
                <a:cubicBezTo>
                  <a:pt x="83911" y="184019"/>
                  <a:pt x="115247" y="190702"/>
                  <a:pt x="150594" y="190702"/>
                </a:cubicBezTo>
                <a:cubicBezTo>
                  <a:pt x="177178" y="190702"/>
                  <a:pt x="202871" y="186989"/>
                  <a:pt x="223811" y="179266"/>
                </a:cubicBezTo>
                <a:cubicBezTo>
                  <a:pt x="220099" y="187880"/>
                  <a:pt x="212524" y="196495"/>
                  <a:pt x="200049" y="203178"/>
                </a:cubicBezTo>
                <a:cubicBezTo>
                  <a:pt x="182970" y="212684"/>
                  <a:pt x="159059" y="218476"/>
                  <a:pt x="133366" y="218476"/>
                </a:cubicBezTo>
                <a:cubicBezTo>
                  <a:pt x="106782" y="218476"/>
                  <a:pt x="82871" y="212684"/>
                  <a:pt x="66683" y="203178"/>
                </a:cubicBezTo>
                <a:cubicBezTo>
                  <a:pt x="49604" y="193673"/>
                  <a:pt x="40990" y="182237"/>
                  <a:pt x="40990" y="170800"/>
                </a:cubicBezTo>
                <a:cubicBezTo>
                  <a:pt x="40990" y="166939"/>
                  <a:pt x="38168" y="164117"/>
                  <a:pt x="34307" y="164117"/>
                </a:cubicBezTo>
                <a:cubicBezTo>
                  <a:pt x="30594" y="164117"/>
                  <a:pt x="27624" y="166939"/>
                  <a:pt x="27624" y="170800"/>
                </a:cubicBezTo>
                <a:cubicBezTo>
                  <a:pt x="27624" y="188920"/>
                  <a:pt x="40990" y="205109"/>
                  <a:pt x="60000" y="215506"/>
                </a:cubicBezTo>
                <a:cubicBezTo>
                  <a:pt x="64901" y="217436"/>
                  <a:pt x="70544" y="220258"/>
                  <a:pt x="76188" y="222189"/>
                </a:cubicBezTo>
                <a:cubicBezTo>
                  <a:pt x="75296" y="223229"/>
                  <a:pt x="75296" y="224120"/>
                  <a:pt x="75296" y="225011"/>
                </a:cubicBezTo>
                <a:cubicBezTo>
                  <a:pt x="75296" y="239418"/>
                  <a:pt x="84801" y="251745"/>
                  <a:pt x="98167" y="260359"/>
                </a:cubicBezTo>
                <a:cubicBezTo>
                  <a:pt x="100098" y="260359"/>
                  <a:pt x="100989" y="261251"/>
                  <a:pt x="102920" y="262290"/>
                </a:cubicBezTo>
                <a:cubicBezTo>
                  <a:pt x="103812" y="273726"/>
                  <a:pt x="112425" y="283232"/>
                  <a:pt x="122969" y="289024"/>
                </a:cubicBezTo>
                <a:cubicBezTo>
                  <a:pt x="122969" y="289915"/>
                  <a:pt x="123861" y="289915"/>
                  <a:pt x="123861" y="289915"/>
                </a:cubicBezTo>
                <a:cubicBezTo>
                  <a:pt x="123861" y="290807"/>
                  <a:pt x="122969" y="291846"/>
                  <a:pt x="122969" y="293777"/>
                </a:cubicBezTo>
                <a:cubicBezTo>
                  <a:pt x="123861" y="314719"/>
                  <a:pt x="145840" y="327046"/>
                  <a:pt x="170494" y="327046"/>
                </a:cubicBezTo>
                <a:cubicBezTo>
                  <a:pt x="172424" y="327046"/>
                  <a:pt x="174355" y="327046"/>
                  <a:pt x="176286" y="327046"/>
                </a:cubicBezTo>
                <a:cubicBezTo>
                  <a:pt x="173464" y="334769"/>
                  <a:pt x="164850" y="341452"/>
                  <a:pt x="153415" y="341452"/>
                </a:cubicBezTo>
                <a:cubicBezTo>
                  <a:pt x="140048" y="341452"/>
                  <a:pt x="129652" y="330907"/>
                  <a:pt x="129652" y="320362"/>
                </a:cubicBezTo>
                <a:cubicBezTo>
                  <a:pt x="129652" y="316649"/>
                  <a:pt x="126682" y="313679"/>
                  <a:pt x="122969" y="313679"/>
                </a:cubicBezTo>
                <a:cubicBezTo>
                  <a:pt x="119108" y="313679"/>
                  <a:pt x="116286" y="316649"/>
                  <a:pt x="116286" y="320362"/>
                </a:cubicBezTo>
                <a:cubicBezTo>
                  <a:pt x="116286" y="340413"/>
                  <a:pt x="133365" y="354671"/>
                  <a:pt x="153415" y="354671"/>
                </a:cubicBezTo>
                <a:cubicBezTo>
                  <a:pt x="172424" y="354671"/>
                  <a:pt x="188613" y="342344"/>
                  <a:pt x="190543" y="324224"/>
                </a:cubicBezTo>
                <a:cubicBezTo>
                  <a:pt x="206731" y="319471"/>
                  <a:pt x="218167" y="308035"/>
                  <a:pt x="218167" y="293777"/>
                </a:cubicBezTo>
                <a:cubicBezTo>
                  <a:pt x="218167" y="290807"/>
                  <a:pt x="217275" y="287985"/>
                  <a:pt x="214306" y="287093"/>
                </a:cubicBezTo>
                <a:cubicBezTo>
                  <a:pt x="224850" y="280410"/>
                  <a:pt x="231533" y="270905"/>
                  <a:pt x="232425" y="259468"/>
                </a:cubicBezTo>
                <a:cubicBezTo>
                  <a:pt x="232425" y="255607"/>
                  <a:pt x="228712" y="252785"/>
                  <a:pt x="224850" y="252785"/>
                </a:cubicBezTo>
                <a:cubicBezTo>
                  <a:pt x="220989" y="252785"/>
                  <a:pt x="218167" y="255607"/>
                  <a:pt x="218167" y="259468"/>
                </a:cubicBezTo>
                <a:cubicBezTo>
                  <a:pt x="218167" y="259468"/>
                  <a:pt x="218167" y="259468"/>
                  <a:pt x="218167" y="259468"/>
                </a:cubicBezTo>
                <a:cubicBezTo>
                  <a:pt x="218167" y="265112"/>
                  <a:pt x="214306" y="271796"/>
                  <a:pt x="204801" y="277588"/>
                </a:cubicBezTo>
                <a:cubicBezTo>
                  <a:pt x="195296" y="283232"/>
                  <a:pt x="181929" y="286054"/>
                  <a:pt x="167672" y="286054"/>
                </a:cubicBezTo>
                <a:cubicBezTo>
                  <a:pt x="152524" y="286054"/>
                  <a:pt x="139157" y="283232"/>
                  <a:pt x="129652" y="277588"/>
                </a:cubicBezTo>
                <a:cubicBezTo>
                  <a:pt x="124900" y="274618"/>
                  <a:pt x="121930" y="271796"/>
                  <a:pt x="119999" y="268974"/>
                </a:cubicBezTo>
                <a:cubicBezTo>
                  <a:pt x="128613" y="271796"/>
                  <a:pt x="139157" y="272687"/>
                  <a:pt x="150593" y="272687"/>
                </a:cubicBezTo>
                <a:cubicBezTo>
                  <a:pt x="170494" y="272687"/>
                  <a:pt x="188613" y="267934"/>
                  <a:pt x="201979" y="260360"/>
                </a:cubicBezTo>
                <a:cubicBezTo>
                  <a:pt x="215345" y="251745"/>
                  <a:pt x="224850" y="239418"/>
                  <a:pt x="224850" y="225011"/>
                </a:cubicBezTo>
                <a:cubicBezTo>
                  <a:pt x="224850" y="221298"/>
                  <a:pt x="222028" y="218476"/>
                  <a:pt x="218167" y="218476"/>
                </a:cubicBezTo>
                <a:cubicBezTo>
                  <a:pt x="214306" y="218476"/>
                  <a:pt x="211484" y="221298"/>
                  <a:pt x="211484" y="225011"/>
                </a:cubicBezTo>
                <a:cubicBezTo>
                  <a:pt x="211484" y="225011"/>
                  <a:pt x="211484" y="225011"/>
                  <a:pt x="211484" y="225011"/>
                </a:cubicBezTo>
                <a:cubicBezTo>
                  <a:pt x="211484" y="232734"/>
                  <a:pt x="205840" y="241349"/>
                  <a:pt x="195296" y="248032"/>
                </a:cubicBezTo>
                <a:cubicBezTo>
                  <a:pt x="183860" y="254567"/>
                  <a:pt x="167672" y="259468"/>
                  <a:pt x="150593" y="259468"/>
                </a:cubicBezTo>
                <a:cubicBezTo>
                  <a:pt x="132474" y="259468"/>
                  <a:pt x="116286" y="254567"/>
                  <a:pt x="105741" y="248032"/>
                </a:cubicBezTo>
                <a:cubicBezTo>
                  <a:pt x="95346" y="242240"/>
                  <a:pt x="89553" y="233626"/>
                  <a:pt x="88662" y="226051"/>
                </a:cubicBezTo>
                <a:cubicBezTo>
                  <a:pt x="102920" y="229913"/>
                  <a:pt x="117177" y="231695"/>
                  <a:pt x="133365" y="231695"/>
                </a:cubicBezTo>
                <a:cubicBezTo>
                  <a:pt x="162029" y="231695"/>
                  <a:pt x="187722" y="226051"/>
                  <a:pt x="206731" y="215506"/>
                </a:cubicBezTo>
                <a:cubicBezTo>
                  <a:pt x="224850" y="205109"/>
                  <a:pt x="237177" y="190703"/>
                  <a:pt x="238216" y="172583"/>
                </a:cubicBezTo>
                <a:cubicBezTo>
                  <a:pt x="239108" y="172583"/>
                  <a:pt x="239108" y="172583"/>
                  <a:pt x="239999" y="172583"/>
                </a:cubicBezTo>
                <a:cubicBezTo>
                  <a:pt x="262870" y="161147"/>
                  <a:pt x="279058" y="144067"/>
                  <a:pt x="280098" y="123125"/>
                </a:cubicBezTo>
                <a:cubicBezTo>
                  <a:pt x="280098" y="119263"/>
                  <a:pt x="276236" y="116441"/>
                  <a:pt x="272523" y="116441"/>
                </a:cubicBezTo>
                <a:cubicBezTo>
                  <a:pt x="269553" y="116441"/>
                  <a:pt x="265840" y="119263"/>
                  <a:pt x="265840" y="123125"/>
                </a:cubicBezTo>
                <a:cubicBezTo>
                  <a:pt x="265840" y="123125"/>
                  <a:pt x="265840" y="123125"/>
                  <a:pt x="265840" y="123125"/>
                </a:cubicBezTo>
                <a:cubicBezTo>
                  <a:pt x="266732" y="135452"/>
                  <a:pt x="255296" y="149710"/>
                  <a:pt x="234355" y="160256"/>
                </a:cubicBezTo>
                <a:cubicBezTo>
                  <a:pt x="213415" y="170801"/>
                  <a:pt x="182969" y="177336"/>
                  <a:pt x="150593" y="177336"/>
                </a:cubicBezTo>
                <a:cubicBezTo>
                  <a:pt x="117177" y="177336"/>
                  <a:pt x="87623" y="170801"/>
                  <a:pt x="66682" y="160256"/>
                </a:cubicBezTo>
                <a:cubicBezTo>
                  <a:pt x="49603" y="151641"/>
                  <a:pt x="39059" y="141245"/>
                  <a:pt x="36237" y="130700"/>
                </a:cubicBezTo>
                <a:cubicBezTo>
                  <a:pt x="38168" y="131591"/>
                  <a:pt x="40098" y="132630"/>
                  <a:pt x="42920" y="133522"/>
                </a:cubicBezTo>
                <a:cubicBezTo>
                  <a:pt x="66682" y="144067"/>
                  <a:pt x="100098" y="149710"/>
                  <a:pt x="136187" y="149710"/>
                </a:cubicBezTo>
                <a:cubicBezTo>
                  <a:pt x="173464" y="149710"/>
                  <a:pt x="206731" y="144067"/>
                  <a:pt x="230494" y="133522"/>
                </a:cubicBezTo>
                <a:cubicBezTo>
                  <a:pt x="255296" y="123125"/>
                  <a:pt x="272523" y="108718"/>
                  <a:pt x="272523" y="88668"/>
                </a:cubicBezTo>
                <a:cubicBezTo>
                  <a:pt x="272523" y="87777"/>
                  <a:pt x="272523" y="87777"/>
                  <a:pt x="272523" y="86886"/>
                </a:cubicBezTo>
                <a:cubicBezTo>
                  <a:pt x="278167" y="84955"/>
                  <a:pt x="282028" y="82133"/>
                  <a:pt x="286781" y="78271"/>
                </a:cubicBezTo>
                <a:cubicBezTo>
                  <a:pt x="294355" y="72479"/>
                  <a:pt x="299998" y="64013"/>
                  <a:pt x="299998" y="54359"/>
                </a:cubicBezTo>
                <a:cubicBezTo>
                  <a:pt x="299998" y="44854"/>
                  <a:pt x="294355" y="37279"/>
                  <a:pt x="286781" y="30596"/>
                </a:cubicBezTo>
                <a:close/>
                <a:moveTo>
                  <a:pt x="204802" y="292737"/>
                </a:moveTo>
                <a:cubicBezTo>
                  <a:pt x="204802" y="292737"/>
                  <a:pt x="204802" y="292737"/>
                  <a:pt x="204802" y="293777"/>
                </a:cubicBezTo>
                <a:cubicBezTo>
                  <a:pt x="204802" y="293777"/>
                  <a:pt x="204802" y="293777"/>
                  <a:pt x="204802" y="293777"/>
                </a:cubicBezTo>
                <a:cubicBezTo>
                  <a:pt x="204802" y="297490"/>
                  <a:pt x="201980" y="303283"/>
                  <a:pt x="196188" y="307144"/>
                </a:cubicBezTo>
                <a:cubicBezTo>
                  <a:pt x="189653" y="310857"/>
                  <a:pt x="181039" y="313679"/>
                  <a:pt x="170495" y="313679"/>
                </a:cubicBezTo>
                <a:cubicBezTo>
                  <a:pt x="160990" y="313679"/>
                  <a:pt x="151485" y="310857"/>
                  <a:pt x="145841" y="307144"/>
                </a:cubicBezTo>
                <a:cubicBezTo>
                  <a:pt x="140049" y="303283"/>
                  <a:pt x="137228" y="299421"/>
                  <a:pt x="137228" y="295560"/>
                </a:cubicBezTo>
                <a:cubicBezTo>
                  <a:pt x="145841" y="298530"/>
                  <a:pt x="156237" y="300461"/>
                  <a:pt x="167673" y="300461"/>
                </a:cubicBezTo>
                <a:cubicBezTo>
                  <a:pt x="181039" y="300461"/>
                  <a:pt x="194406" y="297490"/>
                  <a:pt x="204802" y="292738"/>
                </a:cubicBezTo>
                <a:close/>
                <a:moveTo>
                  <a:pt x="278168" y="67726"/>
                </a:moveTo>
                <a:cubicBezTo>
                  <a:pt x="259158" y="83024"/>
                  <a:pt x="208663" y="95351"/>
                  <a:pt x="150594" y="95351"/>
                </a:cubicBezTo>
                <a:cubicBezTo>
                  <a:pt x="111535" y="95351"/>
                  <a:pt x="76188" y="90599"/>
                  <a:pt x="51535" y="82133"/>
                </a:cubicBezTo>
                <a:cubicBezTo>
                  <a:pt x="39059" y="78271"/>
                  <a:pt x="28663" y="72479"/>
                  <a:pt x="22871" y="67726"/>
                </a:cubicBezTo>
                <a:cubicBezTo>
                  <a:pt x="16188" y="62973"/>
                  <a:pt x="14406" y="58221"/>
                  <a:pt x="14406" y="54359"/>
                </a:cubicBezTo>
                <a:cubicBezTo>
                  <a:pt x="14406" y="50646"/>
                  <a:pt x="16188" y="46785"/>
                  <a:pt x="22871" y="41141"/>
                </a:cubicBezTo>
                <a:cubicBezTo>
                  <a:pt x="42030" y="25843"/>
                  <a:pt x="91485" y="13367"/>
                  <a:pt x="148663" y="13367"/>
                </a:cubicBezTo>
                <a:cubicBezTo>
                  <a:pt x="150594" y="13367"/>
                  <a:pt x="150594" y="13367"/>
                  <a:pt x="150594" y="13367"/>
                </a:cubicBezTo>
                <a:cubicBezTo>
                  <a:pt x="189653" y="13367"/>
                  <a:pt x="224851" y="19159"/>
                  <a:pt x="249653" y="27774"/>
                </a:cubicBezTo>
                <a:cubicBezTo>
                  <a:pt x="261980" y="31487"/>
                  <a:pt x="271485" y="36239"/>
                  <a:pt x="278168" y="41141"/>
                </a:cubicBezTo>
                <a:cubicBezTo>
                  <a:pt x="283811" y="46785"/>
                  <a:pt x="286782" y="50646"/>
                  <a:pt x="286782" y="54359"/>
                </a:cubicBezTo>
                <a:cubicBezTo>
                  <a:pt x="286782" y="58221"/>
                  <a:pt x="283811" y="62973"/>
                  <a:pt x="278168" y="67726"/>
                </a:cubicBezTo>
                <a:close/>
              </a:path>
            </a:pathLst>
          </a:custGeom>
          <a:solidFill>
            <a:schemeClr val="tx2"/>
          </a:solidFill>
          <a:ln w="3705" cap="flat">
            <a:noFill/>
            <a:prstDash val="solid"/>
            <a:miter/>
          </a:ln>
        </p:spPr>
        <p:txBody>
          <a:bodyPr rtlCol="0" anchor="ctr"/>
          <a:lstStyle/>
          <a:p>
            <a:endParaRPr lang="en-GB" dirty="0"/>
          </a:p>
        </p:txBody>
      </p:sp>
      <p:sp>
        <p:nvSpPr>
          <p:cNvPr id="35" name="Freeform: Shape 34">
            <a:extLst>
              <a:ext uri="{FF2B5EF4-FFF2-40B4-BE49-F238E27FC236}">
                <a16:creationId xmlns:a16="http://schemas.microsoft.com/office/drawing/2014/main" id="{6961865A-9ED2-4ADA-8DB1-FB6FBEC3E027}"/>
              </a:ext>
            </a:extLst>
          </p:cNvPr>
          <p:cNvSpPr/>
          <p:nvPr/>
        </p:nvSpPr>
        <p:spPr>
          <a:xfrm>
            <a:off x="589816" y="2457226"/>
            <a:ext cx="408469" cy="300608"/>
          </a:xfrm>
          <a:custGeom>
            <a:avLst/>
            <a:gdLst>
              <a:gd name="connsiteX0" fmla="*/ 405648 w 408469"/>
              <a:gd name="connsiteY0" fmla="*/ 144141 h 300608"/>
              <a:gd name="connsiteX1" fmla="*/ 310376 w 408469"/>
              <a:gd name="connsiteY1" fmla="*/ 83024 h 300608"/>
              <a:gd name="connsiteX2" fmla="*/ 303693 w 408469"/>
              <a:gd name="connsiteY2" fmla="*/ 82133 h 300608"/>
              <a:gd name="connsiteX3" fmla="*/ 299906 w 408469"/>
              <a:gd name="connsiteY3" fmla="*/ 88816 h 300608"/>
              <a:gd name="connsiteX4" fmla="*/ 299906 w 408469"/>
              <a:gd name="connsiteY4" fmla="*/ 143175 h 300608"/>
              <a:gd name="connsiteX5" fmla="*/ 211317 w 408469"/>
              <a:gd name="connsiteY5" fmla="*/ 143175 h 300608"/>
              <a:gd name="connsiteX6" fmla="*/ 211317 w 408469"/>
              <a:gd name="connsiteY6" fmla="*/ 67800 h 300608"/>
              <a:gd name="connsiteX7" fmla="*/ 238941 w 408469"/>
              <a:gd name="connsiteY7" fmla="*/ 34383 h 300608"/>
              <a:gd name="connsiteX8" fmla="*/ 204634 w 408469"/>
              <a:gd name="connsiteY8" fmla="*/ 0 h 300608"/>
              <a:gd name="connsiteX9" fmla="*/ 170327 w 408469"/>
              <a:gd name="connsiteY9" fmla="*/ 34383 h 300608"/>
              <a:gd name="connsiteX10" fmla="*/ 197951 w 408469"/>
              <a:gd name="connsiteY10" fmla="*/ 67800 h 300608"/>
              <a:gd name="connsiteX11" fmla="*/ 197951 w 408469"/>
              <a:gd name="connsiteY11" fmla="*/ 143175 h 300608"/>
              <a:gd name="connsiteX12" fmla="*/ 118867 w 408469"/>
              <a:gd name="connsiteY12" fmla="*/ 143175 h 300608"/>
              <a:gd name="connsiteX13" fmla="*/ 79807 w 408469"/>
              <a:gd name="connsiteY13" fmla="*/ 97356 h 300608"/>
              <a:gd name="connsiteX14" fmla="*/ 75055 w 408469"/>
              <a:gd name="connsiteY14" fmla="*/ 95500 h 300608"/>
              <a:gd name="connsiteX15" fmla="*/ 6441 w 408469"/>
              <a:gd name="connsiteY15" fmla="*/ 95500 h 300608"/>
              <a:gd name="connsiteX16" fmla="*/ 723 w 408469"/>
              <a:gd name="connsiteY16" fmla="*/ 98322 h 300608"/>
              <a:gd name="connsiteX17" fmla="*/ 723 w 408469"/>
              <a:gd name="connsiteY17" fmla="*/ 105971 h 300608"/>
              <a:gd name="connsiteX18" fmla="*/ 26491 w 408469"/>
              <a:gd name="connsiteY18" fmla="*/ 149859 h 300608"/>
              <a:gd name="connsiteX19" fmla="*/ 723 w 408469"/>
              <a:gd name="connsiteY19" fmla="*/ 194712 h 300608"/>
              <a:gd name="connsiteX20" fmla="*/ 723 w 408469"/>
              <a:gd name="connsiteY20" fmla="*/ 201396 h 300608"/>
              <a:gd name="connsiteX21" fmla="*/ 6441 w 408469"/>
              <a:gd name="connsiteY21" fmla="*/ 204292 h 300608"/>
              <a:gd name="connsiteX22" fmla="*/ 75055 w 408469"/>
              <a:gd name="connsiteY22" fmla="*/ 204292 h 300608"/>
              <a:gd name="connsiteX23" fmla="*/ 79807 w 408469"/>
              <a:gd name="connsiteY23" fmla="*/ 202361 h 300608"/>
              <a:gd name="connsiteX24" fmla="*/ 118867 w 408469"/>
              <a:gd name="connsiteY24" fmla="*/ 156542 h 300608"/>
              <a:gd name="connsiteX25" fmla="*/ 197951 w 408469"/>
              <a:gd name="connsiteY25" fmla="*/ 156542 h 300608"/>
              <a:gd name="connsiteX26" fmla="*/ 197951 w 408469"/>
              <a:gd name="connsiteY26" fmla="*/ 293034 h 300608"/>
              <a:gd name="connsiteX27" fmla="*/ 204634 w 408469"/>
              <a:gd name="connsiteY27" fmla="*/ 300609 h 300608"/>
              <a:gd name="connsiteX28" fmla="*/ 211317 w 408469"/>
              <a:gd name="connsiteY28" fmla="*/ 293034 h 300608"/>
              <a:gd name="connsiteX29" fmla="*/ 211317 w 408469"/>
              <a:gd name="connsiteY29" fmla="*/ 156542 h 300608"/>
              <a:gd name="connsiteX30" fmla="*/ 299906 w 408469"/>
              <a:gd name="connsiteY30" fmla="*/ 156542 h 300608"/>
              <a:gd name="connsiteX31" fmla="*/ 299906 w 408469"/>
              <a:gd name="connsiteY31" fmla="*/ 211867 h 300608"/>
              <a:gd name="connsiteX32" fmla="*/ 303693 w 408469"/>
              <a:gd name="connsiteY32" fmla="*/ 217585 h 300608"/>
              <a:gd name="connsiteX33" fmla="*/ 306589 w 408469"/>
              <a:gd name="connsiteY33" fmla="*/ 218550 h 300608"/>
              <a:gd name="connsiteX34" fmla="*/ 310376 w 408469"/>
              <a:gd name="connsiteY34" fmla="*/ 217585 h 300608"/>
              <a:gd name="connsiteX35" fmla="*/ 405648 w 408469"/>
              <a:gd name="connsiteY35" fmla="*/ 155577 h 300608"/>
              <a:gd name="connsiteX36" fmla="*/ 408470 w 408469"/>
              <a:gd name="connsiteY36" fmla="*/ 149859 h 300608"/>
              <a:gd name="connsiteX37" fmla="*/ 405648 w 408469"/>
              <a:gd name="connsiteY37" fmla="*/ 144141 h 300608"/>
              <a:gd name="connsiteX38" fmla="*/ 183693 w 408469"/>
              <a:gd name="connsiteY38" fmla="*/ 34383 h 300608"/>
              <a:gd name="connsiteX39" fmla="*/ 204634 w 408469"/>
              <a:gd name="connsiteY39" fmla="*/ 13367 h 300608"/>
              <a:gd name="connsiteX40" fmla="*/ 224609 w 408469"/>
              <a:gd name="connsiteY40" fmla="*/ 34383 h 300608"/>
              <a:gd name="connsiteX41" fmla="*/ 204634 w 408469"/>
              <a:gd name="connsiteY41" fmla="*/ 54433 h 300608"/>
              <a:gd name="connsiteX42" fmla="*/ 183693 w 408469"/>
              <a:gd name="connsiteY42" fmla="*/ 34383 h 300608"/>
              <a:gd name="connsiteX43" fmla="*/ 72233 w 408469"/>
              <a:gd name="connsiteY43" fmla="*/ 190925 h 300608"/>
              <a:gd name="connsiteX44" fmla="*/ 18842 w 408469"/>
              <a:gd name="connsiteY44" fmla="*/ 190925 h 300608"/>
              <a:gd name="connsiteX45" fmla="*/ 39783 w 408469"/>
              <a:gd name="connsiteY45" fmla="*/ 153646 h 300608"/>
              <a:gd name="connsiteX46" fmla="*/ 39783 w 408469"/>
              <a:gd name="connsiteY46" fmla="*/ 146963 h 300608"/>
              <a:gd name="connsiteX47" fmla="*/ 18842 w 408469"/>
              <a:gd name="connsiteY47" fmla="*/ 108793 h 300608"/>
              <a:gd name="connsiteX48" fmla="*/ 72233 w 408469"/>
              <a:gd name="connsiteY48" fmla="*/ 108793 h 300608"/>
              <a:gd name="connsiteX49" fmla="*/ 106466 w 408469"/>
              <a:gd name="connsiteY49" fmla="*/ 149859 h 300608"/>
              <a:gd name="connsiteX50" fmla="*/ 313198 w 408469"/>
              <a:gd name="connsiteY50" fmla="*/ 198500 h 300608"/>
              <a:gd name="connsiteX51" fmla="*/ 313198 w 408469"/>
              <a:gd name="connsiteY51" fmla="*/ 101218 h 300608"/>
              <a:gd name="connsiteX52" fmla="*/ 389460 w 408469"/>
              <a:gd name="connsiteY52" fmla="*/ 149859 h 300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08469" h="300608">
                <a:moveTo>
                  <a:pt x="405648" y="144141"/>
                </a:moveTo>
                <a:cubicBezTo>
                  <a:pt x="310376" y="83024"/>
                  <a:pt x="310376" y="83024"/>
                  <a:pt x="310376" y="83024"/>
                </a:cubicBezTo>
                <a:cubicBezTo>
                  <a:pt x="308446" y="81167"/>
                  <a:pt x="305624" y="81167"/>
                  <a:pt x="303693" y="82133"/>
                </a:cubicBezTo>
                <a:cubicBezTo>
                  <a:pt x="300871" y="83989"/>
                  <a:pt x="299906" y="85920"/>
                  <a:pt x="299906" y="88816"/>
                </a:cubicBezTo>
                <a:cubicBezTo>
                  <a:pt x="299906" y="143175"/>
                  <a:pt x="299906" y="143175"/>
                  <a:pt x="299906" y="143175"/>
                </a:cubicBezTo>
                <a:cubicBezTo>
                  <a:pt x="211317" y="143175"/>
                  <a:pt x="211317" y="143175"/>
                  <a:pt x="211317" y="143175"/>
                </a:cubicBezTo>
                <a:cubicBezTo>
                  <a:pt x="211317" y="67800"/>
                  <a:pt x="211317" y="67800"/>
                  <a:pt x="211317" y="67800"/>
                </a:cubicBezTo>
                <a:cubicBezTo>
                  <a:pt x="226540" y="63939"/>
                  <a:pt x="238941" y="50646"/>
                  <a:pt x="238941" y="34383"/>
                </a:cubicBezTo>
                <a:cubicBezTo>
                  <a:pt x="238941" y="15298"/>
                  <a:pt x="223644" y="0"/>
                  <a:pt x="204634" y="0"/>
                </a:cubicBezTo>
                <a:cubicBezTo>
                  <a:pt x="185550" y="0"/>
                  <a:pt x="170327" y="15298"/>
                  <a:pt x="170327" y="34383"/>
                </a:cubicBezTo>
                <a:cubicBezTo>
                  <a:pt x="170327" y="50646"/>
                  <a:pt x="181763" y="63939"/>
                  <a:pt x="197951" y="67800"/>
                </a:cubicBezTo>
                <a:cubicBezTo>
                  <a:pt x="197951" y="143175"/>
                  <a:pt x="197951" y="143175"/>
                  <a:pt x="197951" y="143175"/>
                </a:cubicBezTo>
                <a:cubicBezTo>
                  <a:pt x="118867" y="143175"/>
                  <a:pt x="118867" y="143175"/>
                  <a:pt x="118867" y="143175"/>
                </a:cubicBezTo>
                <a:cubicBezTo>
                  <a:pt x="79807" y="97356"/>
                  <a:pt x="79807" y="97356"/>
                  <a:pt x="79807" y="97356"/>
                </a:cubicBezTo>
                <a:cubicBezTo>
                  <a:pt x="78843" y="96391"/>
                  <a:pt x="76986" y="95500"/>
                  <a:pt x="75055" y="95500"/>
                </a:cubicBezTo>
                <a:cubicBezTo>
                  <a:pt x="6441" y="95500"/>
                  <a:pt x="6441" y="95500"/>
                  <a:pt x="6441" y="95500"/>
                </a:cubicBezTo>
                <a:cubicBezTo>
                  <a:pt x="4585" y="95500"/>
                  <a:pt x="2654" y="96391"/>
                  <a:pt x="723" y="98322"/>
                </a:cubicBezTo>
                <a:cubicBezTo>
                  <a:pt x="-241" y="101218"/>
                  <a:pt x="-241" y="103074"/>
                  <a:pt x="723" y="105971"/>
                </a:cubicBezTo>
                <a:cubicBezTo>
                  <a:pt x="26491" y="149859"/>
                  <a:pt x="26491" y="149859"/>
                  <a:pt x="26491" y="149859"/>
                </a:cubicBezTo>
                <a:cubicBezTo>
                  <a:pt x="723" y="194712"/>
                  <a:pt x="723" y="194712"/>
                  <a:pt x="723" y="194712"/>
                </a:cubicBezTo>
                <a:cubicBezTo>
                  <a:pt x="-241" y="196643"/>
                  <a:pt x="-241" y="199465"/>
                  <a:pt x="723" y="201396"/>
                </a:cubicBezTo>
                <a:cubicBezTo>
                  <a:pt x="2654" y="203327"/>
                  <a:pt x="4585" y="204292"/>
                  <a:pt x="6441" y="204292"/>
                </a:cubicBezTo>
                <a:cubicBezTo>
                  <a:pt x="75055" y="204292"/>
                  <a:pt x="75055" y="204292"/>
                  <a:pt x="75055" y="204292"/>
                </a:cubicBezTo>
                <a:cubicBezTo>
                  <a:pt x="76986" y="204292"/>
                  <a:pt x="78842" y="203327"/>
                  <a:pt x="79807" y="202361"/>
                </a:cubicBezTo>
                <a:cubicBezTo>
                  <a:pt x="118867" y="156542"/>
                  <a:pt x="118867" y="156542"/>
                  <a:pt x="118867" y="156542"/>
                </a:cubicBezTo>
                <a:cubicBezTo>
                  <a:pt x="197951" y="156542"/>
                  <a:pt x="197951" y="156542"/>
                  <a:pt x="197951" y="156542"/>
                </a:cubicBezTo>
                <a:cubicBezTo>
                  <a:pt x="197951" y="293034"/>
                  <a:pt x="197951" y="293034"/>
                  <a:pt x="197951" y="293034"/>
                </a:cubicBezTo>
                <a:cubicBezTo>
                  <a:pt x="197951" y="296821"/>
                  <a:pt x="200847" y="300609"/>
                  <a:pt x="204634" y="300609"/>
                </a:cubicBezTo>
                <a:cubicBezTo>
                  <a:pt x="208421" y="300609"/>
                  <a:pt x="211317" y="296821"/>
                  <a:pt x="211317" y="293034"/>
                </a:cubicBezTo>
                <a:cubicBezTo>
                  <a:pt x="211317" y="156542"/>
                  <a:pt x="211317" y="156542"/>
                  <a:pt x="211317" y="156542"/>
                </a:cubicBezTo>
                <a:cubicBezTo>
                  <a:pt x="299906" y="156542"/>
                  <a:pt x="299906" y="156542"/>
                  <a:pt x="299906" y="156542"/>
                </a:cubicBezTo>
                <a:cubicBezTo>
                  <a:pt x="299906" y="211867"/>
                  <a:pt x="299906" y="211867"/>
                  <a:pt x="299906" y="211867"/>
                </a:cubicBezTo>
                <a:cubicBezTo>
                  <a:pt x="299906" y="213798"/>
                  <a:pt x="300872" y="216694"/>
                  <a:pt x="303693" y="217585"/>
                </a:cubicBezTo>
                <a:cubicBezTo>
                  <a:pt x="304659" y="217585"/>
                  <a:pt x="305624" y="218550"/>
                  <a:pt x="306589" y="218550"/>
                </a:cubicBezTo>
                <a:cubicBezTo>
                  <a:pt x="307555" y="218550"/>
                  <a:pt x="309411" y="217585"/>
                  <a:pt x="310376" y="217585"/>
                </a:cubicBezTo>
                <a:cubicBezTo>
                  <a:pt x="405648" y="155577"/>
                  <a:pt x="405648" y="155577"/>
                  <a:pt x="405648" y="155577"/>
                </a:cubicBezTo>
                <a:cubicBezTo>
                  <a:pt x="407579" y="154611"/>
                  <a:pt x="408470" y="152755"/>
                  <a:pt x="408470" y="149859"/>
                </a:cubicBezTo>
                <a:cubicBezTo>
                  <a:pt x="408470" y="147928"/>
                  <a:pt x="407580" y="145106"/>
                  <a:pt x="405648" y="144141"/>
                </a:cubicBezTo>
                <a:close/>
                <a:moveTo>
                  <a:pt x="183693" y="34383"/>
                </a:moveTo>
                <a:cubicBezTo>
                  <a:pt x="183693" y="22947"/>
                  <a:pt x="193198" y="13367"/>
                  <a:pt x="204634" y="13367"/>
                </a:cubicBezTo>
                <a:cubicBezTo>
                  <a:pt x="216070" y="13367"/>
                  <a:pt x="224609" y="22947"/>
                  <a:pt x="224609" y="34383"/>
                </a:cubicBezTo>
                <a:cubicBezTo>
                  <a:pt x="224609" y="44854"/>
                  <a:pt x="216070" y="54433"/>
                  <a:pt x="204634" y="54433"/>
                </a:cubicBezTo>
                <a:cubicBezTo>
                  <a:pt x="193198" y="54433"/>
                  <a:pt x="183693" y="44854"/>
                  <a:pt x="183693" y="34383"/>
                </a:cubicBezTo>
                <a:close/>
                <a:moveTo>
                  <a:pt x="72233" y="190925"/>
                </a:moveTo>
                <a:cubicBezTo>
                  <a:pt x="18842" y="190925"/>
                  <a:pt x="18842" y="190925"/>
                  <a:pt x="18842" y="190925"/>
                </a:cubicBezTo>
                <a:cubicBezTo>
                  <a:pt x="39783" y="153646"/>
                  <a:pt x="39783" y="153646"/>
                  <a:pt x="39783" y="153646"/>
                </a:cubicBezTo>
                <a:cubicBezTo>
                  <a:pt x="40749" y="150824"/>
                  <a:pt x="41713" y="148894"/>
                  <a:pt x="39783" y="146963"/>
                </a:cubicBezTo>
                <a:cubicBezTo>
                  <a:pt x="18842" y="108793"/>
                  <a:pt x="18842" y="108793"/>
                  <a:pt x="18842" y="108793"/>
                </a:cubicBezTo>
                <a:cubicBezTo>
                  <a:pt x="72233" y="108793"/>
                  <a:pt x="72233" y="108793"/>
                  <a:pt x="72233" y="108793"/>
                </a:cubicBezTo>
                <a:cubicBezTo>
                  <a:pt x="106466" y="149859"/>
                  <a:pt x="106466" y="149859"/>
                  <a:pt x="106466" y="149859"/>
                </a:cubicBezTo>
                <a:close/>
                <a:moveTo>
                  <a:pt x="313198" y="198500"/>
                </a:moveTo>
                <a:cubicBezTo>
                  <a:pt x="313198" y="101218"/>
                  <a:pt x="313198" y="101218"/>
                  <a:pt x="313198" y="101218"/>
                </a:cubicBezTo>
                <a:cubicBezTo>
                  <a:pt x="389460" y="149859"/>
                  <a:pt x="389460" y="149859"/>
                  <a:pt x="389460" y="149859"/>
                </a:cubicBezTo>
                <a:close/>
              </a:path>
            </a:pathLst>
          </a:custGeom>
          <a:solidFill>
            <a:schemeClr val="tx2"/>
          </a:solidFill>
          <a:ln w="3705" cap="flat">
            <a:noFill/>
            <a:prstDash val="solid"/>
            <a:miter/>
          </a:ln>
        </p:spPr>
        <p:txBody>
          <a:bodyPr rtlCol="0" anchor="ctr"/>
          <a:lstStyle/>
          <a:p>
            <a:endParaRPr lang="en-GB" dirty="0"/>
          </a:p>
        </p:txBody>
      </p:sp>
      <p:sp>
        <p:nvSpPr>
          <p:cNvPr id="37" name="Freeform: Shape 36">
            <a:extLst>
              <a:ext uri="{FF2B5EF4-FFF2-40B4-BE49-F238E27FC236}">
                <a16:creationId xmlns:a16="http://schemas.microsoft.com/office/drawing/2014/main" id="{975866E9-1BF8-45E9-9809-D2E2FCAD0520}"/>
              </a:ext>
            </a:extLst>
          </p:cNvPr>
          <p:cNvSpPr/>
          <p:nvPr/>
        </p:nvSpPr>
        <p:spPr>
          <a:xfrm>
            <a:off x="1662158" y="3276727"/>
            <a:ext cx="354652" cy="272686"/>
          </a:xfrm>
          <a:custGeom>
            <a:avLst/>
            <a:gdLst>
              <a:gd name="connsiteX0" fmla="*/ 350866 w 354652"/>
              <a:gd name="connsiteY0" fmla="*/ 73444 h 272686"/>
              <a:gd name="connsiteX1" fmla="*/ 345148 w 354652"/>
              <a:gd name="connsiteY1" fmla="*/ 61043 h 272686"/>
              <a:gd name="connsiteX2" fmla="*/ 335643 w 354652"/>
              <a:gd name="connsiteY2" fmla="*/ 54359 h 272686"/>
              <a:gd name="connsiteX3" fmla="*/ 94455 w 354652"/>
              <a:gd name="connsiteY3" fmla="*/ 965 h 272686"/>
              <a:gd name="connsiteX4" fmla="*/ 88663 w 354652"/>
              <a:gd name="connsiteY4" fmla="*/ 0 h 272686"/>
              <a:gd name="connsiteX5" fmla="*/ 72475 w 354652"/>
              <a:gd name="connsiteY5" fmla="*/ 11510 h 272686"/>
              <a:gd name="connsiteX6" fmla="*/ 56287 w 354652"/>
              <a:gd name="connsiteY6" fmla="*/ 70622 h 272686"/>
              <a:gd name="connsiteX7" fmla="*/ 13367 w 354652"/>
              <a:gd name="connsiteY7" fmla="*/ 91564 h 272686"/>
              <a:gd name="connsiteX8" fmla="*/ 13367 w 354652"/>
              <a:gd name="connsiteY8" fmla="*/ 6684 h 272686"/>
              <a:gd name="connsiteX9" fmla="*/ 6683 w 354652"/>
              <a:gd name="connsiteY9" fmla="*/ 0 h 272686"/>
              <a:gd name="connsiteX10" fmla="*/ 0 w 354652"/>
              <a:gd name="connsiteY10" fmla="*/ 6684 h 272686"/>
              <a:gd name="connsiteX11" fmla="*/ 0 w 354652"/>
              <a:gd name="connsiteY11" fmla="*/ 266077 h 272686"/>
              <a:gd name="connsiteX12" fmla="*/ 6683 w 354652"/>
              <a:gd name="connsiteY12" fmla="*/ 272687 h 272686"/>
              <a:gd name="connsiteX13" fmla="*/ 13367 w 354652"/>
              <a:gd name="connsiteY13" fmla="*/ 266077 h 272686"/>
              <a:gd name="connsiteX14" fmla="*/ 13367 w 354652"/>
              <a:gd name="connsiteY14" fmla="*/ 111614 h 272686"/>
              <a:gd name="connsiteX15" fmla="*/ 55322 w 354652"/>
              <a:gd name="connsiteY15" fmla="*/ 126838 h 272686"/>
              <a:gd name="connsiteX16" fmla="*/ 62970 w 354652"/>
              <a:gd name="connsiteY16" fmla="*/ 183128 h 272686"/>
              <a:gd name="connsiteX17" fmla="*/ 72475 w 354652"/>
              <a:gd name="connsiteY17" fmla="*/ 206966 h 272686"/>
              <a:gd name="connsiteX18" fmla="*/ 88663 w 354652"/>
              <a:gd name="connsiteY18" fmla="*/ 218402 h 272686"/>
              <a:gd name="connsiteX19" fmla="*/ 93490 w 354652"/>
              <a:gd name="connsiteY19" fmla="*/ 217436 h 272686"/>
              <a:gd name="connsiteX20" fmla="*/ 335643 w 354652"/>
              <a:gd name="connsiteY20" fmla="*/ 164043 h 272686"/>
              <a:gd name="connsiteX21" fmla="*/ 345148 w 354652"/>
              <a:gd name="connsiteY21" fmla="*/ 157359 h 272686"/>
              <a:gd name="connsiteX22" fmla="*/ 354653 w 354652"/>
              <a:gd name="connsiteY22" fmla="*/ 108718 h 272686"/>
              <a:gd name="connsiteX23" fmla="*/ 350866 w 354652"/>
              <a:gd name="connsiteY23" fmla="*/ 73444 h 272686"/>
              <a:gd name="connsiteX24" fmla="*/ 272673 w 354652"/>
              <a:gd name="connsiteY24" fmla="*/ 108718 h 272686"/>
              <a:gd name="connsiteX25" fmla="*/ 265099 w 354652"/>
              <a:gd name="connsiteY25" fmla="*/ 165008 h 272686"/>
              <a:gd name="connsiteX26" fmla="*/ 250767 w 354652"/>
              <a:gd name="connsiteY26" fmla="*/ 167830 h 272686"/>
              <a:gd name="connsiteX27" fmla="*/ 259381 w 354652"/>
              <a:gd name="connsiteY27" fmla="*/ 108718 h 272686"/>
              <a:gd name="connsiteX28" fmla="*/ 250767 w 354652"/>
              <a:gd name="connsiteY28" fmla="*/ 49607 h 272686"/>
              <a:gd name="connsiteX29" fmla="*/ 265099 w 354652"/>
              <a:gd name="connsiteY29" fmla="*/ 52503 h 272686"/>
              <a:gd name="connsiteX30" fmla="*/ 272673 w 354652"/>
              <a:gd name="connsiteY30" fmla="*/ 108718 h 272686"/>
              <a:gd name="connsiteX31" fmla="*/ 123044 w 354652"/>
              <a:gd name="connsiteY31" fmla="*/ 108718 h 272686"/>
              <a:gd name="connsiteX32" fmla="*/ 114431 w 354652"/>
              <a:gd name="connsiteY32" fmla="*/ 35348 h 272686"/>
              <a:gd name="connsiteX33" fmla="*/ 108713 w 354652"/>
              <a:gd name="connsiteY33" fmla="*/ 18120 h 272686"/>
              <a:gd name="connsiteX34" fmla="*/ 150668 w 354652"/>
              <a:gd name="connsiteY34" fmla="*/ 27699 h 272686"/>
              <a:gd name="connsiteX35" fmla="*/ 164034 w 354652"/>
              <a:gd name="connsiteY35" fmla="*/ 108718 h 272686"/>
              <a:gd name="connsiteX36" fmla="*/ 150668 w 354652"/>
              <a:gd name="connsiteY36" fmla="*/ 190703 h 272686"/>
              <a:gd name="connsiteX37" fmla="*/ 108713 w 354652"/>
              <a:gd name="connsiteY37" fmla="*/ 200282 h 272686"/>
              <a:gd name="connsiteX38" fmla="*/ 123044 w 354652"/>
              <a:gd name="connsiteY38" fmla="*/ 108718 h 272686"/>
              <a:gd name="connsiteX39" fmla="*/ 166856 w 354652"/>
              <a:gd name="connsiteY39" fmla="*/ 31487 h 272686"/>
              <a:gd name="connsiteX40" fmla="*/ 178292 w 354652"/>
              <a:gd name="connsiteY40" fmla="*/ 33417 h 272686"/>
              <a:gd name="connsiteX41" fmla="*/ 190693 w 354652"/>
              <a:gd name="connsiteY41" fmla="*/ 108718 h 272686"/>
              <a:gd name="connsiteX42" fmla="*/ 178292 w 354652"/>
              <a:gd name="connsiteY42" fmla="*/ 184019 h 272686"/>
              <a:gd name="connsiteX43" fmla="*/ 166856 w 354652"/>
              <a:gd name="connsiteY43" fmla="*/ 186915 h 272686"/>
              <a:gd name="connsiteX44" fmla="*/ 177326 w 354652"/>
              <a:gd name="connsiteY44" fmla="*/ 108718 h 272686"/>
              <a:gd name="connsiteX45" fmla="*/ 166856 w 354652"/>
              <a:gd name="connsiteY45" fmla="*/ 31487 h 272686"/>
              <a:gd name="connsiteX46" fmla="*/ 194554 w 354652"/>
              <a:gd name="connsiteY46" fmla="*/ 37205 h 272686"/>
              <a:gd name="connsiteX47" fmla="*/ 235544 w 354652"/>
              <a:gd name="connsiteY47" fmla="*/ 46785 h 272686"/>
              <a:gd name="connsiteX48" fmla="*/ 246014 w 354652"/>
              <a:gd name="connsiteY48" fmla="*/ 108718 h 272686"/>
              <a:gd name="connsiteX49" fmla="*/ 235544 w 354652"/>
              <a:gd name="connsiteY49" fmla="*/ 171692 h 272686"/>
              <a:gd name="connsiteX50" fmla="*/ 194554 w 354652"/>
              <a:gd name="connsiteY50" fmla="*/ 181197 h 272686"/>
              <a:gd name="connsiteX51" fmla="*/ 205024 w 354652"/>
              <a:gd name="connsiteY51" fmla="*/ 108718 h 272686"/>
              <a:gd name="connsiteX52" fmla="*/ 194554 w 354652"/>
              <a:gd name="connsiteY52" fmla="*/ 37205 h 272686"/>
              <a:gd name="connsiteX53" fmla="*/ 76337 w 354652"/>
              <a:gd name="connsiteY53" fmla="*/ 38170 h 272686"/>
              <a:gd name="connsiteX54" fmla="*/ 83911 w 354652"/>
              <a:gd name="connsiteY54" fmla="*/ 18120 h 272686"/>
              <a:gd name="connsiteX55" fmla="*/ 88663 w 354652"/>
              <a:gd name="connsiteY55" fmla="*/ 13367 h 272686"/>
              <a:gd name="connsiteX56" fmla="*/ 89629 w 354652"/>
              <a:gd name="connsiteY56" fmla="*/ 14333 h 272686"/>
              <a:gd name="connsiteX57" fmla="*/ 93490 w 354652"/>
              <a:gd name="connsiteY57" fmla="*/ 18120 h 272686"/>
              <a:gd name="connsiteX58" fmla="*/ 108713 w 354652"/>
              <a:gd name="connsiteY58" fmla="*/ 108718 h 272686"/>
              <a:gd name="connsiteX59" fmla="*/ 108713 w 354652"/>
              <a:gd name="connsiteY59" fmla="*/ 130625 h 272686"/>
              <a:gd name="connsiteX60" fmla="*/ 68688 w 354652"/>
              <a:gd name="connsiteY60" fmla="*/ 116367 h 272686"/>
              <a:gd name="connsiteX61" fmla="*/ 68688 w 354652"/>
              <a:gd name="connsiteY61" fmla="*/ 108718 h 272686"/>
              <a:gd name="connsiteX62" fmla="*/ 76337 w 354652"/>
              <a:gd name="connsiteY62" fmla="*/ 38170 h 272686"/>
              <a:gd name="connsiteX63" fmla="*/ 24802 w 354652"/>
              <a:gd name="connsiteY63" fmla="*/ 101069 h 272686"/>
              <a:gd name="connsiteX64" fmla="*/ 55322 w 354652"/>
              <a:gd name="connsiteY64" fmla="*/ 86811 h 272686"/>
              <a:gd name="connsiteX65" fmla="*/ 54356 w 354652"/>
              <a:gd name="connsiteY65" fmla="*/ 108718 h 272686"/>
              <a:gd name="connsiteX66" fmla="*/ 54356 w 354652"/>
              <a:gd name="connsiteY66" fmla="*/ 111614 h 272686"/>
              <a:gd name="connsiteX67" fmla="*/ 83911 w 354652"/>
              <a:gd name="connsiteY67" fmla="*/ 199317 h 272686"/>
              <a:gd name="connsiteX68" fmla="*/ 68688 w 354652"/>
              <a:gd name="connsiteY68" fmla="*/ 131591 h 272686"/>
              <a:gd name="connsiteX69" fmla="*/ 107747 w 354652"/>
              <a:gd name="connsiteY69" fmla="*/ 144958 h 272686"/>
              <a:gd name="connsiteX70" fmla="*/ 101064 w 354652"/>
              <a:gd name="connsiteY70" fmla="*/ 179266 h 272686"/>
              <a:gd name="connsiteX71" fmla="*/ 93490 w 354652"/>
              <a:gd name="connsiteY71" fmla="*/ 199317 h 272686"/>
              <a:gd name="connsiteX72" fmla="*/ 89629 w 354652"/>
              <a:gd name="connsiteY72" fmla="*/ 204069 h 272686"/>
              <a:gd name="connsiteX73" fmla="*/ 88663 w 354652"/>
              <a:gd name="connsiteY73" fmla="*/ 204069 h 272686"/>
              <a:gd name="connsiteX74" fmla="*/ 83911 w 354652"/>
              <a:gd name="connsiteY74" fmla="*/ 199317 h 272686"/>
              <a:gd name="connsiteX75" fmla="*/ 337499 w 354652"/>
              <a:gd name="connsiteY75" fmla="*/ 141170 h 272686"/>
              <a:gd name="connsiteX76" fmla="*/ 333712 w 354652"/>
              <a:gd name="connsiteY76" fmla="*/ 149710 h 272686"/>
              <a:gd name="connsiteX77" fmla="*/ 332747 w 354652"/>
              <a:gd name="connsiteY77" fmla="*/ 149710 h 272686"/>
              <a:gd name="connsiteX78" fmla="*/ 332747 w 354652"/>
              <a:gd name="connsiteY78" fmla="*/ 149710 h 272686"/>
              <a:gd name="connsiteX79" fmla="*/ 280321 w 354652"/>
              <a:gd name="connsiteY79" fmla="*/ 162112 h 272686"/>
              <a:gd name="connsiteX80" fmla="*/ 286039 w 354652"/>
              <a:gd name="connsiteY80" fmla="*/ 108718 h 272686"/>
              <a:gd name="connsiteX81" fmla="*/ 280321 w 354652"/>
              <a:gd name="connsiteY81" fmla="*/ 56290 h 272686"/>
              <a:gd name="connsiteX82" fmla="*/ 332747 w 354652"/>
              <a:gd name="connsiteY82" fmla="*/ 67726 h 272686"/>
              <a:gd name="connsiteX83" fmla="*/ 333712 w 354652"/>
              <a:gd name="connsiteY83" fmla="*/ 67726 h 272686"/>
              <a:gd name="connsiteX84" fmla="*/ 338465 w 354652"/>
              <a:gd name="connsiteY84" fmla="*/ 80128 h 272686"/>
              <a:gd name="connsiteX85" fmla="*/ 341361 w 354652"/>
              <a:gd name="connsiteY85" fmla="*/ 108718 h 272686"/>
              <a:gd name="connsiteX86" fmla="*/ 337499 w 354652"/>
              <a:gd name="connsiteY86" fmla="*/ 141170 h 272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354652" h="272686">
                <a:moveTo>
                  <a:pt x="350866" y="73444"/>
                </a:moveTo>
                <a:cubicBezTo>
                  <a:pt x="348935" y="68692"/>
                  <a:pt x="347079" y="64904"/>
                  <a:pt x="345148" y="61043"/>
                </a:cubicBezTo>
                <a:cubicBezTo>
                  <a:pt x="343217" y="58221"/>
                  <a:pt x="340395" y="55325"/>
                  <a:pt x="335643" y="54359"/>
                </a:cubicBezTo>
                <a:cubicBezTo>
                  <a:pt x="94455" y="965"/>
                  <a:pt x="94455" y="965"/>
                  <a:pt x="94455" y="965"/>
                </a:cubicBezTo>
                <a:cubicBezTo>
                  <a:pt x="92525" y="0"/>
                  <a:pt x="90594" y="0"/>
                  <a:pt x="88663" y="0"/>
                </a:cubicBezTo>
                <a:cubicBezTo>
                  <a:pt x="81089" y="0"/>
                  <a:pt x="76337" y="4827"/>
                  <a:pt x="72475" y="11510"/>
                </a:cubicBezTo>
                <a:cubicBezTo>
                  <a:pt x="64901" y="23838"/>
                  <a:pt x="59109" y="44854"/>
                  <a:pt x="56287" y="70622"/>
                </a:cubicBezTo>
                <a:cubicBezTo>
                  <a:pt x="13367" y="91564"/>
                  <a:pt x="13367" y="91564"/>
                  <a:pt x="13367" y="91564"/>
                </a:cubicBezTo>
                <a:cubicBezTo>
                  <a:pt x="13367" y="6684"/>
                  <a:pt x="13367" y="6684"/>
                  <a:pt x="13367" y="6684"/>
                </a:cubicBezTo>
                <a:cubicBezTo>
                  <a:pt x="13367" y="2896"/>
                  <a:pt x="10545" y="0"/>
                  <a:pt x="6683" y="0"/>
                </a:cubicBezTo>
                <a:cubicBezTo>
                  <a:pt x="2896" y="0"/>
                  <a:pt x="0" y="2896"/>
                  <a:pt x="0" y="6684"/>
                </a:cubicBezTo>
                <a:cubicBezTo>
                  <a:pt x="0" y="266077"/>
                  <a:pt x="0" y="266077"/>
                  <a:pt x="0" y="266077"/>
                </a:cubicBezTo>
                <a:cubicBezTo>
                  <a:pt x="0" y="269865"/>
                  <a:pt x="2896" y="272687"/>
                  <a:pt x="6683" y="272687"/>
                </a:cubicBezTo>
                <a:cubicBezTo>
                  <a:pt x="10545" y="272687"/>
                  <a:pt x="13367" y="269865"/>
                  <a:pt x="13367" y="266077"/>
                </a:cubicBezTo>
                <a:cubicBezTo>
                  <a:pt x="13367" y="111614"/>
                  <a:pt x="13367" y="111614"/>
                  <a:pt x="13367" y="111614"/>
                </a:cubicBezTo>
                <a:cubicBezTo>
                  <a:pt x="55322" y="126838"/>
                  <a:pt x="55322" y="126838"/>
                  <a:pt x="55322" y="126838"/>
                </a:cubicBezTo>
                <a:cubicBezTo>
                  <a:pt x="56287" y="147854"/>
                  <a:pt x="59109" y="167830"/>
                  <a:pt x="62970" y="183128"/>
                </a:cubicBezTo>
                <a:cubicBezTo>
                  <a:pt x="65792" y="192633"/>
                  <a:pt x="68688" y="201247"/>
                  <a:pt x="72475" y="206966"/>
                </a:cubicBezTo>
                <a:cubicBezTo>
                  <a:pt x="76337" y="212684"/>
                  <a:pt x="81089" y="218402"/>
                  <a:pt x="88663" y="218402"/>
                </a:cubicBezTo>
                <a:cubicBezTo>
                  <a:pt x="90594" y="218402"/>
                  <a:pt x="92525" y="217436"/>
                  <a:pt x="93490" y="217436"/>
                </a:cubicBezTo>
                <a:cubicBezTo>
                  <a:pt x="335643" y="164043"/>
                  <a:pt x="335643" y="164043"/>
                  <a:pt x="335643" y="164043"/>
                </a:cubicBezTo>
                <a:cubicBezTo>
                  <a:pt x="340395" y="163077"/>
                  <a:pt x="343217" y="160181"/>
                  <a:pt x="345148" y="157359"/>
                </a:cubicBezTo>
                <a:cubicBezTo>
                  <a:pt x="351831" y="146888"/>
                  <a:pt x="354653" y="129734"/>
                  <a:pt x="354653" y="108718"/>
                </a:cubicBezTo>
                <a:cubicBezTo>
                  <a:pt x="354653" y="95351"/>
                  <a:pt x="352796" y="82949"/>
                  <a:pt x="350866" y="73444"/>
                </a:cubicBezTo>
                <a:close/>
                <a:moveTo>
                  <a:pt x="272673" y="108718"/>
                </a:moveTo>
                <a:cubicBezTo>
                  <a:pt x="272673" y="132556"/>
                  <a:pt x="269851" y="152606"/>
                  <a:pt x="265099" y="165008"/>
                </a:cubicBezTo>
                <a:cubicBezTo>
                  <a:pt x="250767" y="167830"/>
                  <a:pt x="250767" y="167830"/>
                  <a:pt x="250767" y="167830"/>
                </a:cubicBezTo>
                <a:cubicBezTo>
                  <a:pt x="256485" y="152606"/>
                  <a:pt x="259381" y="131591"/>
                  <a:pt x="259381" y="108718"/>
                </a:cubicBezTo>
                <a:cubicBezTo>
                  <a:pt x="259381" y="85846"/>
                  <a:pt x="256485" y="65795"/>
                  <a:pt x="250767" y="49607"/>
                </a:cubicBezTo>
                <a:cubicBezTo>
                  <a:pt x="265099" y="52503"/>
                  <a:pt x="265099" y="52503"/>
                  <a:pt x="265099" y="52503"/>
                </a:cubicBezTo>
                <a:cubicBezTo>
                  <a:pt x="269851" y="65795"/>
                  <a:pt x="272673" y="85846"/>
                  <a:pt x="272673" y="108718"/>
                </a:cubicBezTo>
                <a:close/>
                <a:moveTo>
                  <a:pt x="123044" y="108718"/>
                </a:moveTo>
                <a:cubicBezTo>
                  <a:pt x="123044" y="80128"/>
                  <a:pt x="120148" y="54359"/>
                  <a:pt x="114431" y="35348"/>
                </a:cubicBezTo>
                <a:cubicBezTo>
                  <a:pt x="112500" y="28665"/>
                  <a:pt x="110643" y="22947"/>
                  <a:pt x="108713" y="18120"/>
                </a:cubicBezTo>
                <a:cubicBezTo>
                  <a:pt x="150668" y="27699"/>
                  <a:pt x="150668" y="27699"/>
                  <a:pt x="150668" y="27699"/>
                </a:cubicBezTo>
                <a:cubicBezTo>
                  <a:pt x="158317" y="42923"/>
                  <a:pt x="164034" y="73444"/>
                  <a:pt x="164034" y="108718"/>
                </a:cubicBezTo>
                <a:cubicBezTo>
                  <a:pt x="164034" y="143992"/>
                  <a:pt x="158317" y="175479"/>
                  <a:pt x="150668" y="190703"/>
                </a:cubicBezTo>
                <a:cubicBezTo>
                  <a:pt x="108713" y="200282"/>
                  <a:pt x="108713" y="200282"/>
                  <a:pt x="108713" y="200282"/>
                </a:cubicBezTo>
                <a:cubicBezTo>
                  <a:pt x="117327" y="180232"/>
                  <a:pt x="123044" y="146889"/>
                  <a:pt x="123044" y="108718"/>
                </a:cubicBezTo>
                <a:close/>
                <a:moveTo>
                  <a:pt x="166856" y="31487"/>
                </a:moveTo>
                <a:cubicBezTo>
                  <a:pt x="178292" y="33417"/>
                  <a:pt x="178292" y="33417"/>
                  <a:pt x="178292" y="33417"/>
                </a:cubicBezTo>
                <a:cubicBezTo>
                  <a:pt x="185940" y="47676"/>
                  <a:pt x="190693" y="76340"/>
                  <a:pt x="190693" y="108718"/>
                </a:cubicBezTo>
                <a:cubicBezTo>
                  <a:pt x="190693" y="142136"/>
                  <a:pt x="185940" y="170726"/>
                  <a:pt x="178292" y="184019"/>
                </a:cubicBezTo>
                <a:cubicBezTo>
                  <a:pt x="166856" y="186915"/>
                  <a:pt x="166856" y="186915"/>
                  <a:pt x="166856" y="186915"/>
                </a:cubicBezTo>
                <a:cubicBezTo>
                  <a:pt x="173539" y="167830"/>
                  <a:pt x="177326" y="140205"/>
                  <a:pt x="177326" y="108718"/>
                </a:cubicBezTo>
                <a:cubicBezTo>
                  <a:pt x="177326" y="78197"/>
                  <a:pt x="173539" y="50572"/>
                  <a:pt x="166856" y="31487"/>
                </a:cubicBezTo>
                <a:close/>
                <a:moveTo>
                  <a:pt x="194554" y="37205"/>
                </a:moveTo>
                <a:cubicBezTo>
                  <a:pt x="235544" y="46785"/>
                  <a:pt x="235544" y="46785"/>
                  <a:pt x="235544" y="46785"/>
                </a:cubicBezTo>
                <a:cubicBezTo>
                  <a:pt x="241262" y="60077"/>
                  <a:pt x="246014" y="82950"/>
                  <a:pt x="246014" y="108718"/>
                </a:cubicBezTo>
                <a:cubicBezTo>
                  <a:pt x="246014" y="135452"/>
                  <a:pt x="241262" y="158325"/>
                  <a:pt x="235544" y="171692"/>
                </a:cubicBezTo>
                <a:cubicBezTo>
                  <a:pt x="194554" y="181197"/>
                  <a:pt x="194554" y="181197"/>
                  <a:pt x="194554" y="181197"/>
                </a:cubicBezTo>
                <a:cubicBezTo>
                  <a:pt x="201163" y="163077"/>
                  <a:pt x="205024" y="137309"/>
                  <a:pt x="205024" y="108718"/>
                </a:cubicBezTo>
                <a:cubicBezTo>
                  <a:pt x="205024" y="80128"/>
                  <a:pt x="201163" y="55325"/>
                  <a:pt x="194554" y="37205"/>
                </a:cubicBezTo>
                <a:close/>
                <a:moveTo>
                  <a:pt x="76337" y="38170"/>
                </a:moveTo>
                <a:cubicBezTo>
                  <a:pt x="78193" y="29556"/>
                  <a:pt x="81089" y="22947"/>
                  <a:pt x="83911" y="18120"/>
                </a:cubicBezTo>
                <a:cubicBezTo>
                  <a:pt x="85841" y="15298"/>
                  <a:pt x="87772" y="14333"/>
                  <a:pt x="88663" y="13367"/>
                </a:cubicBezTo>
                <a:cubicBezTo>
                  <a:pt x="89629" y="14333"/>
                  <a:pt x="89629" y="14333"/>
                  <a:pt x="89629" y="14333"/>
                </a:cubicBezTo>
                <a:cubicBezTo>
                  <a:pt x="90594" y="14333"/>
                  <a:pt x="91559" y="15298"/>
                  <a:pt x="93490" y="18120"/>
                </a:cubicBezTo>
                <a:cubicBezTo>
                  <a:pt x="102030" y="31487"/>
                  <a:pt x="109678" y="67726"/>
                  <a:pt x="108713" y="108718"/>
                </a:cubicBezTo>
                <a:cubicBezTo>
                  <a:pt x="108713" y="116367"/>
                  <a:pt x="108713" y="124016"/>
                  <a:pt x="108713" y="130625"/>
                </a:cubicBezTo>
                <a:cubicBezTo>
                  <a:pt x="68688" y="116367"/>
                  <a:pt x="68688" y="116367"/>
                  <a:pt x="68688" y="116367"/>
                </a:cubicBezTo>
                <a:cubicBezTo>
                  <a:pt x="68688" y="114436"/>
                  <a:pt x="68688" y="111615"/>
                  <a:pt x="68688" y="108718"/>
                </a:cubicBezTo>
                <a:cubicBezTo>
                  <a:pt x="68688" y="81093"/>
                  <a:pt x="71510" y="56290"/>
                  <a:pt x="76337" y="38170"/>
                </a:cubicBezTo>
                <a:close/>
                <a:moveTo>
                  <a:pt x="24802" y="101069"/>
                </a:moveTo>
                <a:cubicBezTo>
                  <a:pt x="55322" y="86811"/>
                  <a:pt x="55322" y="86811"/>
                  <a:pt x="55322" y="86811"/>
                </a:cubicBezTo>
                <a:cubicBezTo>
                  <a:pt x="55322" y="93495"/>
                  <a:pt x="54356" y="101069"/>
                  <a:pt x="54356" y="108718"/>
                </a:cubicBezTo>
                <a:cubicBezTo>
                  <a:pt x="54356" y="109684"/>
                  <a:pt x="54356" y="110649"/>
                  <a:pt x="54356" y="111614"/>
                </a:cubicBezTo>
                <a:close/>
                <a:moveTo>
                  <a:pt x="83911" y="199317"/>
                </a:moveTo>
                <a:cubicBezTo>
                  <a:pt x="77228" y="188846"/>
                  <a:pt x="70619" y="163077"/>
                  <a:pt x="68688" y="131591"/>
                </a:cubicBezTo>
                <a:cubicBezTo>
                  <a:pt x="107747" y="144958"/>
                  <a:pt x="107747" y="144958"/>
                  <a:pt x="107747" y="144958"/>
                </a:cubicBezTo>
                <a:cubicBezTo>
                  <a:pt x="105891" y="158325"/>
                  <a:pt x="103960" y="169761"/>
                  <a:pt x="101064" y="179266"/>
                </a:cubicBezTo>
                <a:cubicBezTo>
                  <a:pt x="99208" y="188846"/>
                  <a:pt x="96312" y="195455"/>
                  <a:pt x="93490" y="199317"/>
                </a:cubicBezTo>
                <a:cubicBezTo>
                  <a:pt x="91559" y="203104"/>
                  <a:pt x="90594" y="204069"/>
                  <a:pt x="89629" y="204069"/>
                </a:cubicBezTo>
                <a:cubicBezTo>
                  <a:pt x="88663" y="204069"/>
                  <a:pt x="88663" y="204069"/>
                  <a:pt x="88663" y="204069"/>
                </a:cubicBezTo>
                <a:cubicBezTo>
                  <a:pt x="87772" y="204069"/>
                  <a:pt x="85841" y="203104"/>
                  <a:pt x="83911" y="199317"/>
                </a:cubicBezTo>
                <a:close/>
                <a:moveTo>
                  <a:pt x="337499" y="141170"/>
                </a:moveTo>
                <a:cubicBezTo>
                  <a:pt x="336608" y="144958"/>
                  <a:pt x="334678" y="147854"/>
                  <a:pt x="333712" y="149710"/>
                </a:cubicBezTo>
                <a:cubicBezTo>
                  <a:pt x="333712" y="149710"/>
                  <a:pt x="333712" y="149710"/>
                  <a:pt x="332747" y="149710"/>
                </a:cubicBezTo>
                <a:cubicBezTo>
                  <a:pt x="332747" y="149710"/>
                  <a:pt x="332747" y="149710"/>
                  <a:pt x="332747" y="149710"/>
                </a:cubicBezTo>
                <a:cubicBezTo>
                  <a:pt x="280321" y="162112"/>
                  <a:pt x="280321" y="162112"/>
                  <a:pt x="280321" y="162112"/>
                </a:cubicBezTo>
                <a:cubicBezTo>
                  <a:pt x="284108" y="147854"/>
                  <a:pt x="286039" y="129734"/>
                  <a:pt x="286039" y="108718"/>
                </a:cubicBezTo>
                <a:cubicBezTo>
                  <a:pt x="286039" y="88742"/>
                  <a:pt x="284108" y="70622"/>
                  <a:pt x="280321" y="56290"/>
                </a:cubicBezTo>
                <a:cubicBezTo>
                  <a:pt x="332747" y="67726"/>
                  <a:pt x="332747" y="67726"/>
                  <a:pt x="332747" y="67726"/>
                </a:cubicBezTo>
                <a:cubicBezTo>
                  <a:pt x="333712" y="67726"/>
                  <a:pt x="333712" y="67726"/>
                  <a:pt x="333712" y="67726"/>
                </a:cubicBezTo>
                <a:cubicBezTo>
                  <a:pt x="333712" y="68692"/>
                  <a:pt x="336608" y="73444"/>
                  <a:pt x="338465" y="80128"/>
                </a:cubicBezTo>
                <a:cubicBezTo>
                  <a:pt x="339430" y="87777"/>
                  <a:pt x="341361" y="98248"/>
                  <a:pt x="341361" y="108718"/>
                </a:cubicBezTo>
                <a:cubicBezTo>
                  <a:pt x="341361" y="122085"/>
                  <a:pt x="339430" y="133521"/>
                  <a:pt x="337499" y="141170"/>
                </a:cubicBezTo>
                <a:close/>
              </a:path>
            </a:pathLst>
          </a:custGeom>
          <a:solidFill>
            <a:schemeClr val="tx2"/>
          </a:solidFill>
          <a:ln w="3705" cap="flat">
            <a:noFill/>
            <a:prstDash val="solid"/>
            <a:miter/>
          </a:ln>
        </p:spPr>
        <p:txBody>
          <a:bodyPr rtlCol="0" anchor="ctr"/>
          <a:lstStyle/>
          <a:p>
            <a:endParaRPr lang="en-GB" dirty="0"/>
          </a:p>
        </p:txBody>
      </p:sp>
      <p:sp>
        <p:nvSpPr>
          <p:cNvPr id="39" name="Freeform: Shape 38">
            <a:extLst>
              <a:ext uri="{FF2B5EF4-FFF2-40B4-BE49-F238E27FC236}">
                <a16:creationId xmlns:a16="http://schemas.microsoft.com/office/drawing/2014/main" id="{B7F23238-4DA6-4534-A2C1-7270FA5142DC}"/>
              </a:ext>
            </a:extLst>
          </p:cNvPr>
          <p:cNvSpPr/>
          <p:nvPr/>
        </p:nvSpPr>
        <p:spPr>
          <a:xfrm>
            <a:off x="2707758" y="2478019"/>
            <a:ext cx="354320" cy="259022"/>
          </a:xfrm>
          <a:custGeom>
            <a:avLst/>
            <a:gdLst>
              <a:gd name="connsiteX0" fmla="*/ 10491 w 354320"/>
              <a:gd name="connsiteY0" fmla="*/ 33417 h 259022"/>
              <a:gd name="connsiteX1" fmla="*/ 10491 w 354320"/>
              <a:gd name="connsiteY1" fmla="*/ 33417 h 259022"/>
              <a:gd name="connsiteX2" fmla="*/ 84897 w 354320"/>
              <a:gd name="connsiteY2" fmla="*/ 14407 h 259022"/>
              <a:gd name="connsiteX3" fmla="*/ 173560 w 354320"/>
              <a:gd name="connsiteY3" fmla="*/ 33417 h 259022"/>
              <a:gd name="connsiteX4" fmla="*/ 268907 w 354320"/>
              <a:gd name="connsiteY4" fmla="*/ 54359 h 259022"/>
              <a:gd name="connsiteX5" fmla="*/ 350738 w 354320"/>
              <a:gd name="connsiteY5" fmla="*/ 33417 h 259022"/>
              <a:gd name="connsiteX6" fmla="*/ 352669 w 354320"/>
              <a:gd name="connsiteY6" fmla="*/ 23912 h 259022"/>
              <a:gd name="connsiteX7" fmla="*/ 343164 w 354320"/>
              <a:gd name="connsiteY7" fmla="*/ 21981 h 259022"/>
              <a:gd name="connsiteX8" fmla="*/ 268907 w 354320"/>
              <a:gd name="connsiteY8" fmla="*/ 40992 h 259022"/>
              <a:gd name="connsiteX9" fmla="*/ 180244 w 354320"/>
              <a:gd name="connsiteY9" fmla="*/ 21090 h 259022"/>
              <a:gd name="connsiteX10" fmla="*/ 84897 w 354320"/>
              <a:gd name="connsiteY10" fmla="*/ 0 h 259022"/>
              <a:gd name="connsiteX11" fmla="*/ 2917 w 354320"/>
              <a:gd name="connsiteY11" fmla="*/ 21981 h 259022"/>
              <a:gd name="connsiteX12" fmla="*/ 987 w 354320"/>
              <a:gd name="connsiteY12" fmla="*/ 31487 h 259022"/>
              <a:gd name="connsiteX13" fmla="*/ 10491 w 354320"/>
              <a:gd name="connsiteY13" fmla="*/ 33417 h 259022"/>
              <a:gd name="connsiteX14" fmla="*/ 343164 w 354320"/>
              <a:gd name="connsiteY14" fmla="*/ 89559 h 259022"/>
              <a:gd name="connsiteX15" fmla="*/ 268907 w 354320"/>
              <a:gd name="connsiteY15" fmla="*/ 109609 h 259022"/>
              <a:gd name="connsiteX16" fmla="*/ 180244 w 354320"/>
              <a:gd name="connsiteY16" fmla="*/ 89559 h 259022"/>
              <a:gd name="connsiteX17" fmla="*/ 84897 w 354320"/>
              <a:gd name="connsiteY17" fmla="*/ 68617 h 259022"/>
              <a:gd name="connsiteX18" fmla="*/ 2917 w 354320"/>
              <a:gd name="connsiteY18" fmla="*/ 89559 h 259022"/>
              <a:gd name="connsiteX19" fmla="*/ 987 w 354320"/>
              <a:gd name="connsiteY19" fmla="*/ 99064 h 259022"/>
              <a:gd name="connsiteX20" fmla="*/ 10491 w 354320"/>
              <a:gd name="connsiteY20" fmla="*/ 100995 h 259022"/>
              <a:gd name="connsiteX21" fmla="*/ 10491 w 354320"/>
              <a:gd name="connsiteY21" fmla="*/ 100995 h 259022"/>
              <a:gd name="connsiteX22" fmla="*/ 84897 w 354320"/>
              <a:gd name="connsiteY22" fmla="*/ 81984 h 259022"/>
              <a:gd name="connsiteX23" fmla="*/ 173560 w 354320"/>
              <a:gd name="connsiteY23" fmla="*/ 102035 h 259022"/>
              <a:gd name="connsiteX24" fmla="*/ 268907 w 354320"/>
              <a:gd name="connsiteY24" fmla="*/ 122976 h 259022"/>
              <a:gd name="connsiteX25" fmla="*/ 350738 w 354320"/>
              <a:gd name="connsiteY25" fmla="*/ 100995 h 259022"/>
              <a:gd name="connsiteX26" fmla="*/ 352669 w 354320"/>
              <a:gd name="connsiteY26" fmla="*/ 91490 h 259022"/>
              <a:gd name="connsiteX27" fmla="*/ 343164 w 354320"/>
              <a:gd name="connsiteY27" fmla="*/ 89559 h 259022"/>
              <a:gd name="connsiteX28" fmla="*/ 343164 w 354320"/>
              <a:gd name="connsiteY28" fmla="*/ 158176 h 259022"/>
              <a:gd name="connsiteX29" fmla="*/ 268907 w 354320"/>
              <a:gd name="connsiteY29" fmla="*/ 177187 h 259022"/>
              <a:gd name="connsiteX30" fmla="*/ 180244 w 354320"/>
              <a:gd name="connsiteY30" fmla="*/ 157136 h 259022"/>
              <a:gd name="connsiteX31" fmla="*/ 84897 w 354320"/>
              <a:gd name="connsiteY31" fmla="*/ 136195 h 259022"/>
              <a:gd name="connsiteX32" fmla="*/ 2917 w 354320"/>
              <a:gd name="connsiteY32" fmla="*/ 158176 h 259022"/>
              <a:gd name="connsiteX33" fmla="*/ 987 w 354320"/>
              <a:gd name="connsiteY33" fmla="*/ 167681 h 259022"/>
              <a:gd name="connsiteX34" fmla="*/ 10491 w 354320"/>
              <a:gd name="connsiteY34" fmla="*/ 169612 h 259022"/>
              <a:gd name="connsiteX35" fmla="*/ 10491 w 354320"/>
              <a:gd name="connsiteY35" fmla="*/ 169612 h 259022"/>
              <a:gd name="connsiteX36" fmla="*/ 84897 w 354320"/>
              <a:gd name="connsiteY36" fmla="*/ 150601 h 259022"/>
              <a:gd name="connsiteX37" fmla="*/ 173560 w 354320"/>
              <a:gd name="connsiteY37" fmla="*/ 169612 h 259022"/>
              <a:gd name="connsiteX38" fmla="*/ 268907 w 354320"/>
              <a:gd name="connsiteY38" fmla="*/ 191445 h 259022"/>
              <a:gd name="connsiteX39" fmla="*/ 350738 w 354320"/>
              <a:gd name="connsiteY39" fmla="*/ 169612 h 259022"/>
              <a:gd name="connsiteX40" fmla="*/ 352669 w 354320"/>
              <a:gd name="connsiteY40" fmla="*/ 160107 h 259022"/>
              <a:gd name="connsiteX41" fmla="*/ 343164 w 354320"/>
              <a:gd name="connsiteY41" fmla="*/ 158176 h 259022"/>
              <a:gd name="connsiteX42" fmla="*/ 343164 w 354320"/>
              <a:gd name="connsiteY42" fmla="*/ 225754 h 259022"/>
              <a:gd name="connsiteX43" fmla="*/ 268907 w 354320"/>
              <a:gd name="connsiteY43" fmla="*/ 245804 h 259022"/>
              <a:gd name="connsiteX44" fmla="*/ 180244 w 354320"/>
              <a:gd name="connsiteY44" fmla="*/ 225754 h 259022"/>
              <a:gd name="connsiteX45" fmla="*/ 84897 w 354320"/>
              <a:gd name="connsiteY45" fmla="*/ 204812 h 259022"/>
              <a:gd name="connsiteX46" fmla="*/ 2917 w 354320"/>
              <a:gd name="connsiteY46" fmla="*/ 225754 h 259022"/>
              <a:gd name="connsiteX47" fmla="*/ 987 w 354320"/>
              <a:gd name="connsiteY47" fmla="*/ 235259 h 259022"/>
              <a:gd name="connsiteX48" fmla="*/ 10491 w 354320"/>
              <a:gd name="connsiteY48" fmla="*/ 237190 h 259022"/>
              <a:gd name="connsiteX49" fmla="*/ 10491 w 354320"/>
              <a:gd name="connsiteY49" fmla="*/ 237190 h 259022"/>
              <a:gd name="connsiteX50" fmla="*/ 84897 w 354320"/>
              <a:gd name="connsiteY50" fmla="*/ 218179 h 259022"/>
              <a:gd name="connsiteX51" fmla="*/ 173560 w 354320"/>
              <a:gd name="connsiteY51" fmla="*/ 238081 h 259022"/>
              <a:gd name="connsiteX52" fmla="*/ 268907 w 354320"/>
              <a:gd name="connsiteY52" fmla="*/ 259023 h 259022"/>
              <a:gd name="connsiteX53" fmla="*/ 350738 w 354320"/>
              <a:gd name="connsiteY53" fmla="*/ 237190 h 259022"/>
              <a:gd name="connsiteX54" fmla="*/ 352669 w 354320"/>
              <a:gd name="connsiteY54" fmla="*/ 228576 h 259022"/>
              <a:gd name="connsiteX55" fmla="*/ 343164 w 354320"/>
              <a:gd name="connsiteY55" fmla="*/ 225754 h 259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354320" h="259022">
                <a:moveTo>
                  <a:pt x="10491" y="33417"/>
                </a:moveTo>
                <a:cubicBezTo>
                  <a:pt x="10491" y="33417"/>
                  <a:pt x="10491" y="33417"/>
                  <a:pt x="10491" y="33417"/>
                </a:cubicBezTo>
                <a:cubicBezTo>
                  <a:pt x="30541" y="20051"/>
                  <a:pt x="57273" y="14407"/>
                  <a:pt x="84897" y="14407"/>
                </a:cubicBezTo>
                <a:cubicBezTo>
                  <a:pt x="116382" y="14407"/>
                  <a:pt x="149649" y="21981"/>
                  <a:pt x="173560" y="33417"/>
                </a:cubicBezTo>
                <a:cubicBezTo>
                  <a:pt x="200145" y="46784"/>
                  <a:pt x="234451" y="54359"/>
                  <a:pt x="268907" y="54359"/>
                </a:cubicBezTo>
                <a:cubicBezTo>
                  <a:pt x="298313" y="54359"/>
                  <a:pt x="327867" y="48567"/>
                  <a:pt x="350738" y="33417"/>
                </a:cubicBezTo>
                <a:cubicBezTo>
                  <a:pt x="354600" y="31487"/>
                  <a:pt x="355491" y="26734"/>
                  <a:pt x="352669" y="23912"/>
                </a:cubicBezTo>
                <a:cubicBezTo>
                  <a:pt x="350738" y="21090"/>
                  <a:pt x="347025" y="20051"/>
                  <a:pt x="343164" y="21981"/>
                </a:cubicBezTo>
                <a:cubicBezTo>
                  <a:pt x="323114" y="35348"/>
                  <a:pt x="296531" y="40992"/>
                  <a:pt x="268907" y="40992"/>
                </a:cubicBezTo>
                <a:cubicBezTo>
                  <a:pt x="237422" y="40992"/>
                  <a:pt x="204006" y="33417"/>
                  <a:pt x="180244" y="21090"/>
                </a:cubicBezTo>
                <a:cubicBezTo>
                  <a:pt x="153511" y="8614"/>
                  <a:pt x="119204" y="0"/>
                  <a:pt x="84897" y="0"/>
                </a:cubicBezTo>
                <a:cubicBezTo>
                  <a:pt x="55343" y="0"/>
                  <a:pt x="25788" y="6684"/>
                  <a:pt x="2917" y="21981"/>
                </a:cubicBezTo>
                <a:cubicBezTo>
                  <a:pt x="95" y="23912"/>
                  <a:pt x="-944" y="27625"/>
                  <a:pt x="987" y="31487"/>
                </a:cubicBezTo>
                <a:cubicBezTo>
                  <a:pt x="2917" y="34309"/>
                  <a:pt x="6779" y="35348"/>
                  <a:pt x="10491" y="33417"/>
                </a:cubicBezTo>
                <a:close/>
                <a:moveTo>
                  <a:pt x="343164" y="89559"/>
                </a:moveTo>
                <a:cubicBezTo>
                  <a:pt x="323114" y="102926"/>
                  <a:pt x="296531" y="109609"/>
                  <a:pt x="268907" y="109609"/>
                </a:cubicBezTo>
                <a:cubicBezTo>
                  <a:pt x="237422" y="109609"/>
                  <a:pt x="204006" y="100995"/>
                  <a:pt x="180244" y="89559"/>
                </a:cubicBezTo>
                <a:cubicBezTo>
                  <a:pt x="153511" y="76192"/>
                  <a:pt x="119204" y="68617"/>
                  <a:pt x="84897" y="68617"/>
                </a:cubicBezTo>
                <a:cubicBezTo>
                  <a:pt x="55343" y="68617"/>
                  <a:pt x="25788" y="74410"/>
                  <a:pt x="2917" y="89559"/>
                </a:cubicBezTo>
                <a:cubicBezTo>
                  <a:pt x="95" y="92381"/>
                  <a:pt x="-944" y="96242"/>
                  <a:pt x="987" y="99064"/>
                </a:cubicBezTo>
                <a:cubicBezTo>
                  <a:pt x="2917" y="102926"/>
                  <a:pt x="6779" y="103817"/>
                  <a:pt x="10491" y="100995"/>
                </a:cubicBezTo>
                <a:cubicBezTo>
                  <a:pt x="10491" y="100995"/>
                  <a:pt x="10491" y="100995"/>
                  <a:pt x="10491" y="100995"/>
                </a:cubicBezTo>
                <a:cubicBezTo>
                  <a:pt x="30541" y="87628"/>
                  <a:pt x="57273" y="81984"/>
                  <a:pt x="84897" y="81984"/>
                </a:cubicBezTo>
                <a:cubicBezTo>
                  <a:pt x="116382" y="81984"/>
                  <a:pt x="149649" y="89559"/>
                  <a:pt x="173560" y="102035"/>
                </a:cubicBezTo>
                <a:cubicBezTo>
                  <a:pt x="200145" y="114362"/>
                  <a:pt x="234451" y="122976"/>
                  <a:pt x="268907" y="122976"/>
                </a:cubicBezTo>
                <a:cubicBezTo>
                  <a:pt x="298313" y="122976"/>
                  <a:pt x="327867" y="116293"/>
                  <a:pt x="350738" y="100995"/>
                </a:cubicBezTo>
                <a:cubicBezTo>
                  <a:pt x="354600" y="99064"/>
                  <a:pt x="355491" y="95351"/>
                  <a:pt x="352669" y="91490"/>
                </a:cubicBezTo>
                <a:cubicBezTo>
                  <a:pt x="350738" y="88668"/>
                  <a:pt x="347025" y="87628"/>
                  <a:pt x="343164" y="89559"/>
                </a:cubicBezTo>
                <a:close/>
                <a:moveTo>
                  <a:pt x="343164" y="158176"/>
                </a:moveTo>
                <a:cubicBezTo>
                  <a:pt x="323114" y="171543"/>
                  <a:pt x="296531" y="177187"/>
                  <a:pt x="268907" y="177187"/>
                </a:cubicBezTo>
                <a:cubicBezTo>
                  <a:pt x="237422" y="177187"/>
                  <a:pt x="204006" y="169612"/>
                  <a:pt x="180244" y="157136"/>
                </a:cubicBezTo>
                <a:cubicBezTo>
                  <a:pt x="153511" y="144809"/>
                  <a:pt x="119204" y="136195"/>
                  <a:pt x="84897" y="136195"/>
                </a:cubicBezTo>
                <a:cubicBezTo>
                  <a:pt x="55343" y="136195"/>
                  <a:pt x="25788" y="142878"/>
                  <a:pt x="2917" y="158176"/>
                </a:cubicBezTo>
                <a:cubicBezTo>
                  <a:pt x="95" y="160107"/>
                  <a:pt x="-944" y="164860"/>
                  <a:pt x="987" y="167681"/>
                </a:cubicBezTo>
                <a:cubicBezTo>
                  <a:pt x="2917" y="170503"/>
                  <a:pt x="6779" y="171543"/>
                  <a:pt x="10491" y="169612"/>
                </a:cubicBezTo>
                <a:cubicBezTo>
                  <a:pt x="10491" y="169612"/>
                  <a:pt x="10491" y="169612"/>
                  <a:pt x="10491" y="169612"/>
                </a:cubicBezTo>
                <a:cubicBezTo>
                  <a:pt x="30541" y="156245"/>
                  <a:pt x="57273" y="150601"/>
                  <a:pt x="84897" y="150601"/>
                </a:cubicBezTo>
                <a:cubicBezTo>
                  <a:pt x="116382" y="150601"/>
                  <a:pt x="149649" y="158176"/>
                  <a:pt x="173560" y="169612"/>
                </a:cubicBezTo>
                <a:cubicBezTo>
                  <a:pt x="200145" y="182979"/>
                  <a:pt x="234451" y="190554"/>
                  <a:pt x="268907" y="191445"/>
                </a:cubicBezTo>
                <a:cubicBezTo>
                  <a:pt x="298313" y="190554"/>
                  <a:pt x="327867" y="184761"/>
                  <a:pt x="350738" y="169612"/>
                </a:cubicBezTo>
                <a:cubicBezTo>
                  <a:pt x="354600" y="167681"/>
                  <a:pt x="355491" y="162929"/>
                  <a:pt x="352669" y="160107"/>
                </a:cubicBezTo>
                <a:cubicBezTo>
                  <a:pt x="350738" y="157136"/>
                  <a:pt x="347025" y="156245"/>
                  <a:pt x="343164" y="158176"/>
                </a:cubicBezTo>
                <a:close/>
                <a:moveTo>
                  <a:pt x="343164" y="225754"/>
                </a:moveTo>
                <a:cubicBezTo>
                  <a:pt x="323114" y="240012"/>
                  <a:pt x="296531" y="245804"/>
                  <a:pt x="268907" y="245804"/>
                </a:cubicBezTo>
                <a:cubicBezTo>
                  <a:pt x="237422" y="245804"/>
                  <a:pt x="204006" y="238081"/>
                  <a:pt x="180244" y="225754"/>
                </a:cubicBezTo>
                <a:cubicBezTo>
                  <a:pt x="153511" y="212387"/>
                  <a:pt x="119204" y="204812"/>
                  <a:pt x="84897" y="204812"/>
                </a:cubicBezTo>
                <a:cubicBezTo>
                  <a:pt x="55343" y="204812"/>
                  <a:pt x="25788" y="210456"/>
                  <a:pt x="2917" y="225754"/>
                </a:cubicBezTo>
                <a:cubicBezTo>
                  <a:pt x="95" y="228576"/>
                  <a:pt x="-944" y="232437"/>
                  <a:pt x="987" y="235259"/>
                </a:cubicBezTo>
                <a:cubicBezTo>
                  <a:pt x="2917" y="239121"/>
                  <a:pt x="6779" y="240012"/>
                  <a:pt x="10491" y="237190"/>
                </a:cubicBezTo>
                <a:cubicBezTo>
                  <a:pt x="10491" y="237190"/>
                  <a:pt x="10491" y="237190"/>
                  <a:pt x="10491" y="237190"/>
                </a:cubicBezTo>
                <a:cubicBezTo>
                  <a:pt x="30541" y="223823"/>
                  <a:pt x="57273" y="218179"/>
                  <a:pt x="84897" y="218179"/>
                </a:cubicBezTo>
                <a:cubicBezTo>
                  <a:pt x="116382" y="218179"/>
                  <a:pt x="149649" y="225754"/>
                  <a:pt x="173560" y="238081"/>
                </a:cubicBezTo>
                <a:cubicBezTo>
                  <a:pt x="200145" y="250557"/>
                  <a:pt x="234451" y="259023"/>
                  <a:pt x="268907" y="259023"/>
                </a:cubicBezTo>
                <a:cubicBezTo>
                  <a:pt x="298313" y="259023"/>
                  <a:pt x="327867" y="253379"/>
                  <a:pt x="350738" y="237190"/>
                </a:cubicBezTo>
                <a:cubicBezTo>
                  <a:pt x="354600" y="235259"/>
                  <a:pt x="355491" y="231546"/>
                  <a:pt x="352669" y="228576"/>
                </a:cubicBezTo>
                <a:cubicBezTo>
                  <a:pt x="350738" y="224862"/>
                  <a:pt x="347025" y="223823"/>
                  <a:pt x="343164" y="225754"/>
                </a:cubicBezTo>
                <a:close/>
              </a:path>
            </a:pathLst>
          </a:custGeom>
          <a:solidFill>
            <a:schemeClr val="tx2"/>
          </a:solidFill>
          <a:ln w="3705" cap="flat">
            <a:noFill/>
            <a:prstDash val="solid"/>
            <a:miter/>
          </a:ln>
        </p:spPr>
        <p:txBody>
          <a:bodyPr rtlCol="0" anchor="ctr"/>
          <a:lstStyle/>
          <a:p>
            <a:endParaRPr lang="en-GB" dirty="0"/>
          </a:p>
        </p:txBody>
      </p:sp>
      <p:sp>
        <p:nvSpPr>
          <p:cNvPr id="43" name="Freeform: Shape 42">
            <a:extLst>
              <a:ext uri="{FF2B5EF4-FFF2-40B4-BE49-F238E27FC236}">
                <a16:creationId xmlns:a16="http://schemas.microsoft.com/office/drawing/2014/main" id="{5623C426-E41D-4083-A9EB-93165580681F}"/>
              </a:ext>
            </a:extLst>
          </p:cNvPr>
          <p:cNvSpPr/>
          <p:nvPr/>
        </p:nvSpPr>
        <p:spPr>
          <a:xfrm>
            <a:off x="1662223" y="4041640"/>
            <a:ext cx="354523" cy="353946"/>
          </a:xfrm>
          <a:custGeom>
            <a:avLst/>
            <a:gdLst>
              <a:gd name="connsiteX0" fmla="*/ 352666 w 354523"/>
              <a:gd name="connsiteY0" fmla="*/ 172379 h 353946"/>
              <a:gd name="connsiteX1" fmla="*/ 300241 w 354523"/>
              <a:gd name="connsiteY1" fmla="*/ 120099 h 353946"/>
              <a:gd name="connsiteX2" fmla="*/ 300241 w 354523"/>
              <a:gd name="connsiteY2" fmla="*/ 47768 h 353946"/>
              <a:gd name="connsiteX3" fmla="*/ 298384 w 354523"/>
              <a:gd name="connsiteY3" fmla="*/ 43016 h 353946"/>
              <a:gd name="connsiteX4" fmla="*/ 293632 w 354523"/>
              <a:gd name="connsiteY4" fmla="*/ 41159 h 353946"/>
              <a:gd name="connsiteX5" fmla="*/ 252642 w 354523"/>
              <a:gd name="connsiteY5" fmla="*/ 41159 h 353946"/>
              <a:gd name="connsiteX6" fmla="*/ 247889 w 354523"/>
              <a:gd name="connsiteY6" fmla="*/ 43016 h 353946"/>
              <a:gd name="connsiteX7" fmla="*/ 245959 w 354523"/>
              <a:gd name="connsiteY7" fmla="*/ 47768 h 353946"/>
              <a:gd name="connsiteX8" fmla="*/ 245959 w 354523"/>
              <a:gd name="connsiteY8" fmla="*/ 64923 h 353946"/>
              <a:gd name="connsiteX9" fmla="*/ 182172 w 354523"/>
              <a:gd name="connsiteY9" fmla="*/ 2172 h 353946"/>
              <a:gd name="connsiteX10" fmla="*/ 172667 w 354523"/>
              <a:gd name="connsiteY10" fmla="*/ 2172 h 353946"/>
              <a:gd name="connsiteX11" fmla="*/ 2172 w 354523"/>
              <a:gd name="connsiteY11" fmla="*/ 172379 h 353946"/>
              <a:gd name="connsiteX12" fmla="*/ 2172 w 354523"/>
              <a:gd name="connsiteY12" fmla="*/ 181884 h 353946"/>
              <a:gd name="connsiteX13" fmla="*/ 29796 w 354523"/>
              <a:gd name="connsiteY13" fmla="*/ 209435 h 353946"/>
              <a:gd name="connsiteX14" fmla="*/ 34548 w 354523"/>
              <a:gd name="connsiteY14" fmla="*/ 211366 h 353946"/>
              <a:gd name="connsiteX15" fmla="*/ 39301 w 354523"/>
              <a:gd name="connsiteY15" fmla="*/ 209435 h 353946"/>
              <a:gd name="connsiteX16" fmla="*/ 41231 w 354523"/>
              <a:gd name="connsiteY16" fmla="*/ 206613 h 353946"/>
              <a:gd name="connsiteX17" fmla="*/ 41231 w 354523"/>
              <a:gd name="connsiteY17" fmla="*/ 297880 h 353946"/>
              <a:gd name="connsiteX18" fmla="*/ 25043 w 354523"/>
              <a:gd name="connsiteY18" fmla="*/ 289340 h 353946"/>
              <a:gd name="connsiteX19" fmla="*/ 15538 w 354523"/>
              <a:gd name="connsiteY19" fmla="*/ 289340 h 353946"/>
              <a:gd name="connsiteX20" fmla="*/ 16430 w 354523"/>
              <a:gd name="connsiteY20" fmla="*/ 299811 h 353946"/>
              <a:gd name="connsiteX21" fmla="*/ 16430 w 354523"/>
              <a:gd name="connsiteY21" fmla="*/ 298844 h 353946"/>
              <a:gd name="connsiteX22" fmla="*/ 54523 w 354523"/>
              <a:gd name="connsiteY22" fmla="*/ 313102 h 353946"/>
              <a:gd name="connsiteX23" fmla="*/ 95513 w 354523"/>
              <a:gd name="connsiteY23" fmla="*/ 296913 h 353946"/>
              <a:gd name="connsiteX24" fmla="*/ 136429 w 354523"/>
              <a:gd name="connsiteY24" fmla="*/ 313102 h 353946"/>
              <a:gd name="connsiteX25" fmla="*/ 177419 w 354523"/>
              <a:gd name="connsiteY25" fmla="*/ 296913 h 353946"/>
              <a:gd name="connsiteX26" fmla="*/ 218335 w 354523"/>
              <a:gd name="connsiteY26" fmla="*/ 313102 h 353946"/>
              <a:gd name="connsiteX27" fmla="*/ 259325 w 354523"/>
              <a:gd name="connsiteY27" fmla="*/ 296913 h 353946"/>
              <a:gd name="connsiteX28" fmla="*/ 300241 w 354523"/>
              <a:gd name="connsiteY28" fmla="*/ 313102 h 353946"/>
              <a:gd name="connsiteX29" fmla="*/ 338335 w 354523"/>
              <a:gd name="connsiteY29" fmla="*/ 298844 h 353946"/>
              <a:gd name="connsiteX30" fmla="*/ 339300 w 354523"/>
              <a:gd name="connsiteY30" fmla="*/ 289339 h 353946"/>
              <a:gd name="connsiteX31" fmla="*/ 329795 w 354523"/>
              <a:gd name="connsiteY31" fmla="*/ 289339 h 353946"/>
              <a:gd name="connsiteX32" fmla="*/ 313607 w 354523"/>
              <a:gd name="connsiteY32" fmla="*/ 297879 h 353946"/>
              <a:gd name="connsiteX33" fmla="*/ 313607 w 354523"/>
              <a:gd name="connsiteY33" fmla="*/ 206612 h 353946"/>
              <a:gd name="connsiteX34" fmla="*/ 315538 w 354523"/>
              <a:gd name="connsiteY34" fmla="*/ 209434 h 353946"/>
              <a:gd name="connsiteX35" fmla="*/ 320290 w 354523"/>
              <a:gd name="connsiteY35" fmla="*/ 211365 h 353946"/>
              <a:gd name="connsiteX36" fmla="*/ 325043 w 354523"/>
              <a:gd name="connsiteY36" fmla="*/ 209434 h 353946"/>
              <a:gd name="connsiteX37" fmla="*/ 352667 w 354523"/>
              <a:gd name="connsiteY37" fmla="*/ 181883 h 353946"/>
              <a:gd name="connsiteX38" fmla="*/ 354523 w 354523"/>
              <a:gd name="connsiteY38" fmla="*/ 177130 h 353946"/>
              <a:gd name="connsiteX39" fmla="*/ 352667 w 354523"/>
              <a:gd name="connsiteY39" fmla="*/ 172378 h 353946"/>
              <a:gd name="connsiteX40" fmla="*/ 259325 w 354523"/>
              <a:gd name="connsiteY40" fmla="*/ 54452 h 353946"/>
              <a:gd name="connsiteX41" fmla="*/ 285983 w 354523"/>
              <a:gd name="connsiteY41" fmla="*/ 54452 h 353946"/>
              <a:gd name="connsiteX42" fmla="*/ 285983 w 354523"/>
              <a:gd name="connsiteY42" fmla="*/ 105841 h 353946"/>
              <a:gd name="connsiteX43" fmla="*/ 259325 w 354523"/>
              <a:gd name="connsiteY43" fmla="*/ 79181 h 353946"/>
              <a:gd name="connsiteX44" fmla="*/ 300241 w 354523"/>
              <a:gd name="connsiteY44" fmla="*/ 299811 h 353946"/>
              <a:gd name="connsiteX45" fmla="*/ 265043 w 354523"/>
              <a:gd name="connsiteY45" fmla="*/ 281691 h 353946"/>
              <a:gd name="connsiteX46" fmla="*/ 259325 w 354523"/>
              <a:gd name="connsiteY46" fmla="*/ 278869 h 353946"/>
              <a:gd name="connsiteX47" fmla="*/ 253607 w 354523"/>
              <a:gd name="connsiteY47" fmla="*/ 281691 h 353946"/>
              <a:gd name="connsiteX48" fmla="*/ 218335 w 354523"/>
              <a:gd name="connsiteY48" fmla="*/ 299811 h 353946"/>
              <a:gd name="connsiteX49" fmla="*/ 183137 w 354523"/>
              <a:gd name="connsiteY49" fmla="*/ 281691 h 353946"/>
              <a:gd name="connsiteX50" fmla="*/ 177419 w 354523"/>
              <a:gd name="connsiteY50" fmla="*/ 278869 h 353946"/>
              <a:gd name="connsiteX51" fmla="*/ 171701 w 354523"/>
              <a:gd name="connsiteY51" fmla="*/ 281691 h 353946"/>
              <a:gd name="connsiteX52" fmla="*/ 136429 w 354523"/>
              <a:gd name="connsiteY52" fmla="*/ 299811 h 353946"/>
              <a:gd name="connsiteX53" fmla="*/ 101231 w 354523"/>
              <a:gd name="connsiteY53" fmla="*/ 281691 h 353946"/>
              <a:gd name="connsiteX54" fmla="*/ 95513 w 354523"/>
              <a:gd name="connsiteY54" fmla="*/ 278869 h 353946"/>
              <a:gd name="connsiteX55" fmla="*/ 89796 w 354523"/>
              <a:gd name="connsiteY55" fmla="*/ 281691 h 353946"/>
              <a:gd name="connsiteX56" fmla="*/ 54523 w 354523"/>
              <a:gd name="connsiteY56" fmla="*/ 299811 h 353946"/>
              <a:gd name="connsiteX57" fmla="*/ 54523 w 354523"/>
              <a:gd name="connsiteY57" fmla="*/ 299811 h 353946"/>
              <a:gd name="connsiteX58" fmla="*/ 54523 w 354523"/>
              <a:gd name="connsiteY58" fmla="*/ 193320 h 353946"/>
              <a:gd name="connsiteX59" fmla="*/ 177419 w 354523"/>
              <a:gd name="connsiteY59" fmla="*/ 70641 h 353946"/>
              <a:gd name="connsiteX60" fmla="*/ 300241 w 354523"/>
              <a:gd name="connsiteY60" fmla="*/ 193320 h 353946"/>
              <a:gd name="connsiteX61" fmla="*/ 320290 w 354523"/>
              <a:gd name="connsiteY61" fmla="*/ 194211 h 353946"/>
              <a:gd name="connsiteX62" fmla="*/ 182172 w 354523"/>
              <a:gd name="connsiteY62" fmla="*/ 56383 h 353946"/>
              <a:gd name="connsiteX63" fmla="*/ 177419 w 354523"/>
              <a:gd name="connsiteY63" fmla="*/ 54452 h 353946"/>
              <a:gd name="connsiteX64" fmla="*/ 172667 w 354523"/>
              <a:gd name="connsiteY64" fmla="*/ 56383 h 353946"/>
              <a:gd name="connsiteX65" fmla="*/ 34548 w 354523"/>
              <a:gd name="connsiteY65" fmla="*/ 194211 h 353946"/>
              <a:gd name="connsiteX66" fmla="*/ 16429 w 354523"/>
              <a:gd name="connsiteY66" fmla="*/ 177131 h 353946"/>
              <a:gd name="connsiteX67" fmla="*/ 177419 w 354523"/>
              <a:gd name="connsiteY67" fmla="*/ 16430 h 353946"/>
              <a:gd name="connsiteX68" fmla="*/ 338335 w 354523"/>
              <a:gd name="connsiteY68" fmla="*/ 177131 h 353946"/>
              <a:gd name="connsiteX69" fmla="*/ 124994 w 354523"/>
              <a:gd name="connsiteY69" fmla="*/ 165695 h 353946"/>
              <a:gd name="connsiteX70" fmla="*/ 123137 w 354523"/>
              <a:gd name="connsiteY70" fmla="*/ 170448 h 353946"/>
              <a:gd name="connsiteX71" fmla="*/ 123137 w 354523"/>
              <a:gd name="connsiteY71" fmla="*/ 252209 h 353946"/>
              <a:gd name="connsiteX72" fmla="*/ 124994 w 354523"/>
              <a:gd name="connsiteY72" fmla="*/ 256962 h 353946"/>
              <a:gd name="connsiteX73" fmla="*/ 129820 w 354523"/>
              <a:gd name="connsiteY73" fmla="*/ 258893 h 353946"/>
              <a:gd name="connsiteX74" fmla="*/ 225018 w 354523"/>
              <a:gd name="connsiteY74" fmla="*/ 258893 h 353946"/>
              <a:gd name="connsiteX75" fmla="*/ 229771 w 354523"/>
              <a:gd name="connsiteY75" fmla="*/ 256962 h 353946"/>
              <a:gd name="connsiteX76" fmla="*/ 231701 w 354523"/>
              <a:gd name="connsiteY76" fmla="*/ 252209 h 353946"/>
              <a:gd name="connsiteX77" fmla="*/ 231701 w 354523"/>
              <a:gd name="connsiteY77" fmla="*/ 170448 h 353946"/>
              <a:gd name="connsiteX78" fmla="*/ 229771 w 354523"/>
              <a:gd name="connsiteY78" fmla="*/ 165695 h 353946"/>
              <a:gd name="connsiteX79" fmla="*/ 225018 w 354523"/>
              <a:gd name="connsiteY79" fmla="*/ 163839 h 353946"/>
              <a:gd name="connsiteX80" fmla="*/ 129820 w 354523"/>
              <a:gd name="connsiteY80" fmla="*/ 163839 h 353946"/>
              <a:gd name="connsiteX81" fmla="*/ 124994 w 354523"/>
              <a:gd name="connsiteY81" fmla="*/ 165695 h 353946"/>
              <a:gd name="connsiteX82" fmla="*/ 184102 w 354523"/>
              <a:gd name="connsiteY82" fmla="*/ 177131 h 353946"/>
              <a:gd name="connsiteX83" fmla="*/ 218335 w 354523"/>
              <a:gd name="connsiteY83" fmla="*/ 177131 h 353946"/>
              <a:gd name="connsiteX84" fmla="*/ 218335 w 354523"/>
              <a:gd name="connsiteY84" fmla="*/ 244634 h 353946"/>
              <a:gd name="connsiteX85" fmla="*/ 184102 w 354523"/>
              <a:gd name="connsiteY85" fmla="*/ 244634 h 353946"/>
              <a:gd name="connsiteX86" fmla="*/ 136429 w 354523"/>
              <a:gd name="connsiteY86" fmla="*/ 177131 h 353946"/>
              <a:gd name="connsiteX87" fmla="*/ 170736 w 354523"/>
              <a:gd name="connsiteY87" fmla="*/ 177131 h 353946"/>
              <a:gd name="connsiteX88" fmla="*/ 170736 w 354523"/>
              <a:gd name="connsiteY88" fmla="*/ 244634 h 353946"/>
              <a:gd name="connsiteX89" fmla="*/ 136429 w 354523"/>
              <a:gd name="connsiteY89" fmla="*/ 244634 h 353946"/>
              <a:gd name="connsiteX90" fmla="*/ 329795 w 354523"/>
              <a:gd name="connsiteY90" fmla="*/ 330183 h 353946"/>
              <a:gd name="connsiteX91" fmla="*/ 300241 w 354523"/>
              <a:gd name="connsiteY91" fmla="*/ 340654 h 353946"/>
              <a:gd name="connsiteX92" fmla="*/ 265043 w 354523"/>
              <a:gd name="connsiteY92" fmla="*/ 322609 h 353946"/>
              <a:gd name="connsiteX93" fmla="*/ 259325 w 354523"/>
              <a:gd name="connsiteY93" fmla="*/ 319787 h 353946"/>
              <a:gd name="connsiteX94" fmla="*/ 253607 w 354523"/>
              <a:gd name="connsiteY94" fmla="*/ 322609 h 353946"/>
              <a:gd name="connsiteX95" fmla="*/ 218335 w 354523"/>
              <a:gd name="connsiteY95" fmla="*/ 340654 h 353946"/>
              <a:gd name="connsiteX96" fmla="*/ 183137 w 354523"/>
              <a:gd name="connsiteY96" fmla="*/ 322609 h 353946"/>
              <a:gd name="connsiteX97" fmla="*/ 177419 w 354523"/>
              <a:gd name="connsiteY97" fmla="*/ 319787 h 353946"/>
              <a:gd name="connsiteX98" fmla="*/ 171701 w 354523"/>
              <a:gd name="connsiteY98" fmla="*/ 322609 h 353946"/>
              <a:gd name="connsiteX99" fmla="*/ 136429 w 354523"/>
              <a:gd name="connsiteY99" fmla="*/ 340654 h 353946"/>
              <a:gd name="connsiteX100" fmla="*/ 101231 w 354523"/>
              <a:gd name="connsiteY100" fmla="*/ 322609 h 353946"/>
              <a:gd name="connsiteX101" fmla="*/ 95513 w 354523"/>
              <a:gd name="connsiteY101" fmla="*/ 319787 h 353946"/>
              <a:gd name="connsiteX102" fmla="*/ 89796 w 354523"/>
              <a:gd name="connsiteY102" fmla="*/ 322609 h 353946"/>
              <a:gd name="connsiteX103" fmla="*/ 54523 w 354523"/>
              <a:gd name="connsiteY103" fmla="*/ 340654 h 353946"/>
              <a:gd name="connsiteX104" fmla="*/ 25043 w 354523"/>
              <a:gd name="connsiteY104" fmla="*/ 330183 h 353946"/>
              <a:gd name="connsiteX105" fmla="*/ 15538 w 354523"/>
              <a:gd name="connsiteY105" fmla="*/ 330183 h 353946"/>
              <a:gd name="connsiteX106" fmla="*/ 16430 w 354523"/>
              <a:gd name="connsiteY106" fmla="*/ 339688 h 353946"/>
              <a:gd name="connsiteX107" fmla="*/ 54523 w 354523"/>
              <a:gd name="connsiteY107" fmla="*/ 353947 h 353946"/>
              <a:gd name="connsiteX108" fmla="*/ 95513 w 354523"/>
              <a:gd name="connsiteY108" fmla="*/ 336867 h 353946"/>
              <a:gd name="connsiteX109" fmla="*/ 136429 w 354523"/>
              <a:gd name="connsiteY109" fmla="*/ 353947 h 353946"/>
              <a:gd name="connsiteX110" fmla="*/ 177419 w 354523"/>
              <a:gd name="connsiteY110" fmla="*/ 336867 h 353946"/>
              <a:gd name="connsiteX111" fmla="*/ 218335 w 354523"/>
              <a:gd name="connsiteY111" fmla="*/ 353947 h 353946"/>
              <a:gd name="connsiteX112" fmla="*/ 259325 w 354523"/>
              <a:gd name="connsiteY112" fmla="*/ 336867 h 353946"/>
              <a:gd name="connsiteX113" fmla="*/ 300241 w 354523"/>
              <a:gd name="connsiteY113" fmla="*/ 353947 h 353946"/>
              <a:gd name="connsiteX114" fmla="*/ 338335 w 354523"/>
              <a:gd name="connsiteY114" fmla="*/ 339688 h 353946"/>
              <a:gd name="connsiteX115" fmla="*/ 339300 w 354523"/>
              <a:gd name="connsiteY115" fmla="*/ 330183 h 353946"/>
              <a:gd name="connsiteX116" fmla="*/ 329795 w 354523"/>
              <a:gd name="connsiteY116" fmla="*/ 330183 h 35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354523" h="353946">
                <a:moveTo>
                  <a:pt x="352666" y="172379"/>
                </a:moveTo>
                <a:cubicBezTo>
                  <a:pt x="300241" y="120099"/>
                  <a:pt x="300241" y="120099"/>
                  <a:pt x="300241" y="120099"/>
                </a:cubicBezTo>
                <a:cubicBezTo>
                  <a:pt x="300241" y="47768"/>
                  <a:pt x="300241" y="47768"/>
                  <a:pt x="300241" y="47768"/>
                </a:cubicBezTo>
                <a:cubicBezTo>
                  <a:pt x="300241" y="45912"/>
                  <a:pt x="299350" y="43981"/>
                  <a:pt x="298384" y="43016"/>
                </a:cubicBezTo>
                <a:cubicBezTo>
                  <a:pt x="296454" y="42124"/>
                  <a:pt x="295488" y="41159"/>
                  <a:pt x="293632" y="41159"/>
                </a:cubicBezTo>
                <a:cubicBezTo>
                  <a:pt x="252642" y="41159"/>
                  <a:pt x="252642" y="41159"/>
                  <a:pt x="252642" y="41159"/>
                </a:cubicBezTo>
                <a:cubicBezTo>
                  <a:pt x="250711" y="41159"/>
                  <a:pt x="248855" y="42126"/>
                  <a:pt x="247889" y="43016"/>
                </a:cubicBezTo>
                <a:cubicBezTo>
                  <a:pt x="245959" y="43982"/>
                  <a:pt x="245959" y="45912"/>
                  <a:pt x="245959" y="47768"/>
                </a:cubicBezTo>
                <a:cubicBezTo>
                  <a:pt x="245959" y="64923"/>
                  <a:pt x="245959" y="64923"/>
                  <a:pt x="245959" y="64923"/>
                </a:cubicBezTo>
                <a:cubicBezTo>
                  <a:pt x="182172" y="2172"/>
                  <a:pt x="182172" y="2172"/>
                  <a:pt x="182172" y="2172"/>
                </a:cubicBezTo>
                <a:cubicBezTo>
                  <a:pt x="179350" y="-724"/>
                  <a:pt x="175489" y="-724"/>
                  <a:pt x="172667" y="2172"/>
                </a:cubicBezTo>
                <a:cubicBezTo>
                  <a:pt x="2172" y="172379"/>
                  <a:pt x="2172" y="172379"/>
                  <a:pt x="2172" y="172379"/>
                </a:cubicBezTo>
                <a:cubicBezTo>
                  <a:pt x="-724" y="175200"/>
                  <a:pt x="-724" y="178988"/>
                  <a:pt x="2172" y="181884"/>
                </a:cubicBezTo>
                <a:cubicBezTo>
                  <a:pt x="29796" y="209435"/>
                  <a:pt x="29796" y="209435"/>
                  <a:pt x="29796" y="209435"/>
                </a:cubicBezTo>
                <a:cubicBezTo>
                  <a:pt x="30761" y="210401"/>
                  <a:pt x="32618" y="211366"/>
                  <a:pt x="34548" y="211366"/>
                </a:cubicBezTo>
                <a:cubicBezTo>
                  <a:pt x="36479" y="211366"/>
                  <a:pt x="38335" y="210399"/>
                  <a:pt x="39301" y="209435"/>
                </a:cubicBezTo>
                <a:cubicBezTo>
                  <a:pt x="41231" y="206613"/>
                  <a:pt x="41231" y="206613"/>
                  <a:pt x="41231" y="206613"/>
                </a:cubicBezTo>
                <a:cubicBezTo>
                  <a:pt x="41231" y="297880"/>
                  <a:pt x="41231" y="297880"/>
                  <a:pt x="41231" y="297880"/>
                </a:cubicBezTo>
                <a:cubicBezTo>
                  <a:pt x="34548" y="295949"/>
                  <a:pt x="29796" y="293127"/>
                  <a:pt x="25043" y="289340"/>
                </a:cubicBezTo>
                <a:cubicBezTo>
                  <a:pt x="22147" y="286443"/>
                  <a:pt x="18360" y="286443"/>
                  <a:pt x="15538" y="289340"/>
                </a:cubicBezTo>
                <a:cubicBezTo>
                  <a:pt x="13608" y="292161"/>
                  <a:pt x="13608" y="296914"/>
                  <a:pt x="16430" y="299811"/>
                </a:cubicBezTo>
                <a:cubicBezTo>
                  <a:pt x="16430" y="298844"/>
                  <a:pt x="16430" y="298844"/>
                  <a:pt x="16430" y="298844"/>
                </a:cubicBezTo>
                <a:cubicBezTo>
                  <a:pt x="26009" y="308350"/>
                  <a:pt x="40266" y="313102"/>
                  <a:pt x="54523" y="313102"/>
                </a:cubicBezTo>
                <a:cubicBezTo>
                  <a:pt x="70712" y="313102"/>
                  <a:pt x="86009" y="306419"/>
                  <a:pt x="95513" y="296913"/>
                </a:cubicBezTo>
                <a:cubicBezTo>
                  <a:pt x="105984" y="306419"/>
                  <a:pt x="120241" y="313102"/>
                  <a:pt x="136429" y="313102"/>
                </a:cubicBezTo>
                <a:cubicBezTo>
                  <a:pt x="152617" y="313102"/>
                  <a:pt x="166949" y="306419"/>
                  <a:pt x="177419" y="296913"/>
                </a:cubicBezTo>
                <a:cubicBezTo>
                  <a:pt x="187890" y="306419"/>
                  <a:pt x="202147" y="313102"/>
                  <a:pt x="218335" y="313102"/>
                </a:cubicBezTo>
                <a:cubicBezTo>
                  <a:pt x="234523" y="313102"/>
                  <a:pt x="248855" y="306419"/>
                  <a:pt x="259325" y="296913"/>
                </a:cubicBezTo>
                <a:cubicBezTo>
                  <a:pt x="268830" y="306419"/>
                  <a:pt x="284053" y="313102"/>
                  <a:pt x="300241" y="313102"/>
                </a:cubicBezTo>
                <a:cubicBezTo>
                  <a:pt x="314572" y="313102"/>
                  <a:pt x="328830" y="308350"/>
                  <a:pt x="338335" y="298844"/>
                </a:cubicBezTo>
                <a:cubicBezTo>
                  <a:pt x="341231" y="296913"/>
                  <a:pt x="341231" y="292161"/>
                  <a:pt x="339300" y="289339"/>
                </a:cubicBezTo>
                <a:cubicBezTo>
                  <a:pt x="336479" y="286443"/>
                  <a:pt x="332617" y="286443"/>
                  <a:pt x="329795" y="289339"/>
                </a:cubicBezTo>
                <a:cubicBezTo>
                  <a:pt x="325043" y="293126"/>
                  <a:pt x="320290" y="295948"/>
                  <a:pt x="313607" y="297879"/>
                </a:cubicBezTo>
                <a:cubicBezTo>
                  <a:pt x="313607" y="206612"/>
                  <a:pt x="313607" y="206612"/>
                  <a:pt x="313607" y="206612"/>
                </a:cubicBezTo>
                <a:cubicBezTo>
                  <a:pt x="315538" y="209434"/>
                  <a:pt x="315538" y="209434"/>
                  <a:pt x="315538" y="209434"/>
                </a:cubicBezTo>
                <a:cubicBezTo>
                  <a:pt x="317394" y="210400"/>
                  <a:pt x="318360" y="211365"/>
                  <a:pt x="320290" y="211365"/>
                </a:cubicBezTo>
                <a:cubicBezTo>
                  <a:pt x="322147" y="211365"/>
                  <a:pt x="324078" y="210398"/>
                  <a:pt x="325043" y="209434"/>
                </a:cubicBezTo>
                <a:cubicBezTo>
                  <a:pt x="352667" y="181883"/>
                  <a:pt x="352667" y="181883"/>
                  <a:pt x="352667" y="181883"/>
                </a:cubicBezTo>
                <a:cubicBezTo>
                  <a:pt x="353632" y="180917"/>
                  <a:pt x="354523" y="178987"/>
                  <a:pt x="354523" y="177130"/>
                </a:cubicBezTo>
                <a:cubicBezTo>
                  <a:pt x="354523" y="175200"/>
                  <a:pt x="353632" y="173343"/>
                  <a:pt x="352667" y="172378"/>
                </a:cubicBezTo>
                <a:close/>
                <a:moveTo>
                  <a:pt x="259325" y="54452"/>
                </a:moveTo>
                <a:cubicBezTo>
                  <a:pt x="285983" y="54452"/>
                  <a:pt x="285983" y="54452"/>
                  <a:pt x="285983" y="54452"/>
                </a:cubicBezTo>
                <a:cubicBezTo>
                  <a:pt x="285983" y="105841"/>
                  <a:pt x="285983" y="105841"/>
                  <a:pt x="285983" y="105841"/>
                </a:cubicBezTo>
                <a:cubicBezTo>
                  <a:pt x="259325" y="79181"/>
                  <a:pt x="259325" y="79181"/>
                  <a:pt x="259325" y="79181"/>
                </a:cubicBezTo>
                <a:close/>
                <a:moveTo>
                  <a:pt x="300241" y="299811"/>
                </a:moveTo>
                <a:cubicBezTo>
                  <a:pt x="285018" y="299811"/>
                  <a:pt x="271726" y="292161"/>
                  <a:pt x="265043" y="281691"/>
                </a:cubicBezTo>
                <a:cubicBezTo>
                  <a:pt x="263112" y="279834"/>
                  <a:pt x="261256" y="278869"/>
                  <a:pt x="259325" y="278869"/>
                </a:cubicBezTo>
                <a:cubicBezTo>
                  <a:pt x="256429" y="278869"/>
                  <a:pt x="254573" y="279835"/>
                  <a:pt x="253607" y="281691"/>
                </a:cubicBezTo>
                <a:cubicBezTo>
                  <a:pt x="246924" y="292161"/>
                  <a:pt x="233632" y="299811"/>
                  <a:pt x="218335" y="299811"/>
                </a:cubicBezTo>
                <a:cubicBezTo>
                  <a:pt x="203112" y="299811"/>
                  <a:pt x="189820" y="292161"/>
                  <a:pt x="183137" y="281691"/>
                </a:cubicBezTo>
                <a:cubicBezTo>
                  <a:pt x="182172" y="279834"/>
                  <a:pt x="179350" y="278869"/>
                  <a:pt x="177419" y="278869"/>
                </a:cubicBezTo>
                <a:cubicBezTo>
                  <a:pt x="175489" y="278869"/>
                  <a:pt x="172667" y="279835"/>
                  <a:pt x="171701" y="281691"/>
                </a:cubicBezTo>
                <a:cubicBezTo>
                  <a:pt x="165018" y="292161"/>
                  <a:pt x="151726" y="299811"/>
                  <a:pt x="136429" y="299811"/>
                </a:cubicBezTo>
                <a:cubicBezTo>
                  <a:pt x="121206" y="299811"/>
                  <a:pt x="107914" y="292161"/>
                  <a:pt x="101231" y="281691"/>
                </a:cubicBezTo>
                <a:cubicBezTo>
                  <a:pt x="100266" y="279834"/>
                  <a:pt x="98335" y="278869"/>
                  <a:pt x="95513" y="278869"/>
                </a:cubicBezTo>
                <a:cubicBezTo>
                  <a:pt x="93583" y="278869"/>
                  <a:pt x="91726" y="279835"/>
                  <a:pt x="89796" y="281691"/>
                </a:cubicBezTo>
                <a:cubicBezTo>
                  <a:pt x="83113" y="292161"/>
                  <a:pt x="69820" y="299811"/>
                  <a:pt x="54523" y="299811"/>
                </a:cubicBezTo>
                <a:cubicBezTo>
                  <a:pt x="54523" y="299811"/>
                  <a:pt x="54523" y="299811"/>
                  <a:pt x="54523" y="299811"/>
                </a:cubicBezTo>
                <a:cubicBezTo>
                  <a:pt x="54523" y="193320"/>
                  <a:pt x="54523" y="193320"/>
                  <a:pt x="54523" y="193320"/>
                </a:cubicBezTo>
                <a:cubicBezTo>
                  <a:pt x="177419" y="70641"/>
                  <a:pt x="177419" y="70641"/>
                  <a:pt x="177419" y="70641"/>
                </a:cubicBezTo>
                <a:cubicBezTo>
                  <a:pt x="300241" y="193320"/>
                  <a:pt x="300241" y="193320"/>
                  <a:pt x="300241" y="193320"/>
                </a:cubicBezTo>
                <a:close/>
                <a:moveTo>
                  <a:pt x="320290" y="194211"/>
                </a:moveTo>
                <a:cubicBezTo>
                  <a:pt x="182172" y="56383"/>
                  <a:pt x="182172" y="56383"/>
                  <a:pt x="182172" y="56383"/>
                </a:cubicBezTo>
                <a:cubicBezTo>
                  <a:pt x="181206" y="55416"/>
                  <a:pt x="179350" y="54452"/>
                  <a:pt x="177419" y="54452"/>
                </a:cubicBezTo>
                <a:cubicBezTo>
                  <a:pt x="175489" y="54452"/>
                  <a:pt x="173632" y="55418"/>
                  <a:pt x="172667" y="56383"/>
                </a:cubicBezTo>
                <a:cubicBezTo>
                  <a:pt x="34548" y="194211"/>
                  <a:pt x="34548" y="194211"/>
                  <a:pt x="34548" y="194211"/>
                </a:cubicBezTo>
                <a:cubicBezTo>
                  <a:pt x="16429" y="177131"/>
                  <a:pt x="16429" y="177131"/>
                  <a:pt x="16429" y="177131"/>
                </a:cubicBezTo>
                <a:cubicBezTo>
                  <a:pt x="177419" y="16430"/>
                  <a:pt x="177419" y="16430"/>
                  <a:pt x="177419" y="16430"/>
                </a:cubicBezTo>
                <a:cubicBezTo>
                  <a:pt x="338335" y="177131"/>
                  <a:pt x="338335" y="177131"/>
                  <a:pt x="338335" y="177131"/>
                </a:cubicBezTo>
                <a:close/>
                <a:moveTo>
                  <a:pt x="124994" y="165695"/>
                </a:moveTo>
                <a:cubicBezTo>
                  <a:pt x="124102" y="166661"/>
                  <a:pt x="123137" y="168591"/>
                  <a:pt x="123137" y="170448"/>
                </a:cubicBezTo>
                <a:cubicBezTo>
                  <a:pt x="123137" y="252209"/>
                  <a:pt x="123137" y="252209"/>
                  <a:pt x="123137" y="252209"/>
                </a:cubicBezTo>
                <a:cubicBezTo>
                  <a:pt x="123137" y="253175"/>
                  <a:pt x="124103" y="255105"/>
                  <a:pt x="124994" y="256962"/>
                </a:cubicBezTo>
                <a:cubicBezTo>
                  <a:pt x="125959" y="257928"/>
                  <a:pt x="127890" y="258893"/>
                  <a:pt x="129820" y="258893"/>
                </a:cubicBezTo>
                <a:cubicBezTo>
                  <a:pt x="225018" y="258893"/>
                  <a:pt x="225018" y="258893"/>
                  <a:pt x="225018" y="258893"/>
                </a:cubicBezTo>
                <a:cubicBezTo>
                  <a:pt x="226949" y="258893"/>
                  <a:pt x="228805" y="257926"/>
                  <a:pt x="229771" y="256962"/>
                </a:cubicBezTo>
                <a:cubicBezTo>
                  <a:pt x="230736" y="255105"/>
                  <a:pt x="231701" y="253174"/>
                  <a:pt x="231701" y="252209"/>
                </a:cubicBezTo>
                <a:cubicBezTo>
                  <a:pt x="231701" y="170448"/>
                  <a:pt x="231701" y="170448"/>
                  <a:pt x="231701" y="170448"/>
                </a:cubicBezTo>
                <a:cubicBezTo>
                  <a:pt x="231701" y="168591"/>
                  <a:pt x="230736" y="166660"/>
                  <a:pt x="229771" y="165695"/>
                </a:cubicBezTo>
                <a:cubicBezTo>
                  <a:pt x="228805" y="163839"/>
                  <a:pt x="226949" y="163839"/>
                  <a:pt x="225018" y="163839"/>
                </a:cubicBezTo>
                <a:cubicBezTo>
                  <a:pt x="129820" y="163839"/>
                  <a:pt x="129820" y="163839"/>
                  <a:pt x="129820" y="163839"/>
                </a:cubicBezTo>
                <a:cubicBezTo>
                  <a:pt x="127890" y="163839"/>
                  <a:pt x="125959" y="163839"/>
                  <a:pt x="124994" y="165695"/>
                </a:cubicBezTo>
                <a:close/>
                <a:moveTo>
                  <a:pt x="184102" y="177131"/>
                </a:moveTo>
                <a:cubicBezTo>
                  <a:pt x="218335" y="177131"/>
                  <a:pt x="218335" y="177131"/>
                  <a:pt x="218335" y="177131"/>
                </a:cubicBezTo>
                <a:cubicBezTo>
                  <a:pt x="218335" y="244634"/>
                  <a:pt x="218335" y="244634"/>
                  <a:pt x="218335" y="244634"/>
                </a:cubicBezTo>
                <a:cubicBezTo>
                  <a:pt x="184102" y="244634"/>
                  <a:pt x="184102" y="244634"/>
                  <a:pt x="184102" y="244634"/>
                </a:cubicBezTo>
                <a:close/>
                <a:moveTo>
                  <a:pt x="136429" y="177131"/>
                </a:moveTo>
                <a:cubicBezTo>
                  <a:pt x="170736" y="177131"/>
                  <a:pt x="170736" y="177131"/>
                  <a:pt x="170736" y="177131"/>
                </a:cubicBezTo>
                <a:cubicBezTo>
                  <a:pt x="170736" y="244634"/>
                  <a:pt x="170736" y="244634"/>
                  <a:pt x="170736" y="244634"/>
                </a:cubicBezTo>
                <a:cubicBezTo>
                  <a:pt x="136429" y="244634"/>
                  <a:pt x="136429" y="244634"/>
                  <a:pt x="136429" y="244634"/>
                </a:cubicBezTo>
                <a:close/>
                <a:moveTo>
                  <a:pt x="329795" y="330183"/>
                </a:moveTo>
                <a:cubicBezTo>
                  <a:pt x="322147" y="336867"/>
                  <a:pt x="311676" y="340654"/>
                  <a:pt x="300241" y="340654"/>
                </a:cubicBezTo>
                <a:cubicBezTo>
                  <a:pt x="285018" y="340654"/>
                  <a:pt x="271726" y="333079"/>
                  <a:pt x="265043" y="322609"/>
                </a:cubicBezTo>
                <a:cubicBezTo>
                  <a:pt x="263112" y="320678"/>
                  <a:pt x="261256" y="319787"/>
                  <a:pt x="259325" y="319787"/>
                </a:cubicBezTo>
                <a:cubicBezTo>
                  <a:pt x="256429" y="319787"/>
                  <a:pt x="254573" y="320679"/>
                  <a:pt x="253607" y="322609"/>
                </a:cubicBezTo>
                <a:cubicBezTo>
                  <a:pt x="246924" y="333079"/>
                  <a:pt x="233632" y="340654"/>
                  <a:pt x="218335" y="340654"/>
                </a:cubicBezTo>
                <a:cubicBezTo>
                  <a:pt x="203112" y="340654"/>
                  <a:pt x="189820" y="333079"/>
                  <a:pt x="183137" y="322609"/>
                </a:cubicBezTo>
                <a:cubicBezTo>
                  <a:pt x="182172" y="320678"/>
                  <a:pt x="179350" y="319787"/>
                  <a:pt x="177419" y="319787"/>
                </a:cubicBezTo>
                <a:cubicBezTo>
                  <a:pt x="175489" y="319787"/>
                  <a:pt x="172667" y="320679"/>
                  <a:pt x="171701" y="322609"/>
                </a:cubicBezTo>
                <a:cubicBezTo>
                  <a:pt x="165018" y="333079"/>
                  <a:pt x="151726" y="340654"/>
                  <a:pt x="136429" y="340654"/>
                </a:cubicBezTo>
                <a:cubicBezTo>
                  <a:pt x="121206" y="340654"/>
                  <a:pt x="107914" y="333079"/>
                  <a:pt x="101231" y="322609"/>
                </a:cubicBezTo>
                <a:cubicBezTo>
                  <a:pt x="100266" y="320678"/>
                  <a:pt x="98335" y="319787"/>
                  <a:pt x="95513" y="319787"/>
                </a:cubicBezTo>
                <a:cubicBezTo>
                  <a:pt x="93583" y="319787"/>
                  <a:pt x="91726" y="320679"/>
                  <a:pt x="89796" y="322609"/>
                </a:cubicBezTo>
                <a:cubicBezTo>
                  <a:pt x="83113" y="333079"/>
                  <a:pt x="69820" y="340654"/>
                  <a:pt x="54523" y="340654"/>
                </a:cubicBezTo>
                <a:cubicBezTo>
                  <a:pt x="43088" y="340654"/>
                  <a:pt x="32618" y="336867"/>
                  <a:pt x="25043" y="330183"/>
                </a:cubicBezTo>
                <a:cubicBezTo>
                  <a:pt x="22147" y="327361"/>
                  <a:pt x="18360" y="327361"/>
                  <a:pt x="15538" y="330183"/>
                </a:cubicBezTo>
                <a:cubicBezTo>
                  <a:pt x="13608" y="333079"/>
                  <a:pt x="13608" y="337832"/>
                  <a:pt x="16430" y="339688"/>
                </a:cubicBezTo>
                <a:cubicBezTo>
                  <a:pt x="26009" y="349194"/>
                  <a:pt x="40266" y="353947"/>
                  <a:pt x="54523" y="353947"/>
                </a:cubicBezTo>
                <a:cubicBezTo>
                  <a:pt x="70712" y="353947"/>
                  <a:pt x="86009" y="347337"/>
                  <a:pt x="95513" y="336867"/>
                </a:cubicBezTo>
                <a:cubicBezTo>
                  <a:pt x="105984" y="347337"/>
                  <a:pt x="120241" y="353947"/>
                  <a:pt x="136429" y="353947"/>
                </a:cubicBezTo>
                <a:cubicBezTo>
                  <a:pt x="152617" y="353947"/>
                  <a:pt x="166949" y="347337"/>
                  <a:pt x="177419" y="336867"/>
                </a:cubicBezTo>
                <a:cubicBezTo>
                  <a:pt x="187890" y="347337"/>
                  <a:pt x="202147" y="353947"/>
                  <a:pt x="218335" y="353947"/>
                </a:cubicBezTo>
                <a:cubicBezTo>
                  <a:pt x="234523" y="353947"/>
                  <a:pt x="248855" y="347337"/>
                  <a:pt x="259325" y="336867"/>
                </a:cubicBezTo>
                <a:cubicBezTo>
                  <a:pt x="268830" y="347337"/>
                  <a:pt x="284053" y="353947"/>
                  <a:pt x="300241" y="353947"/>
                </a:cubicBezTo>
                <a:cubicBezTo>
                  <a:pt x="314572" y="353947"/>
                  <a:pt x="328830" y="349194"/>
                  <a:pt x="338335" y="339688"/>
                </a:cubicBezTo>
                <a:cubicBezTo>
                  <a:pt x="341231" y="337832"/>
                  <a:pt x="341231" y="333079"/>
                  <a:pt x="339300" y="330183"/>
                </a:cubicBezTo>
                <a:cubicBezTo>
                  <a:pt x="336479" y="327361"/>
                  <a:pt x="332617" y="327361"/>
                  <a:pt x="329795" y="330183"/>
                </a:cubicBezTo>
                <a:close/>
              </a:path>
            </a:pathLst>
          </a:custGeom>
          <a:solidFill>
            <a:schemeClr val="tx2"/>
          </a:solidFill>
          <a:ln w="3705" cap="flat">
            <a:noFill/>
            <a:prstDash val="solid"/>
            <a:miter/>
          </a:ln>
        </p:spPr>
        <p:txBody>
          <a:bodyPr rtlCol="0" anchor="ctr"/>
          <a:lstStyle/>
          <a:p>
            <a:endParaRPr lang="en-GB" dirty="0"/>
          </a:p>
        </p:txBody>
      </p:sp>
      <p:grpSp>
        <p:nvGrpSpPr>
          <p:cNvPr id="260" name="Group 80">
            <a:extLst>
              <a:ext uri="{FF2B5EF4-FFF2-40B4-BE49-F238E27FC236}">
                <a16:creationId xmlns:a16="http://schemas.microsoft.com/office/drawing/2014/main" id="{1A97F20E-0119-4866-BE2D-2CCB9874560B}"/>
              </a:ext>
            </a:extLst>
          </p:cNvPr>
          <p:cNvGrpSpPr/>
          <p:nvPr/>
        </p:nvGrpSpPr>
        <p:grpSpPr>
          <a:xfrm>
            <a:off x="1677616" y="1651977"/>
            <a:ext cx="323736" cy="324743"/>
            <a:chOff x="1431704" y="3463391"/>
            <a:chExt cx="724566" cy="726820"/>
          </a:xfrm>
        </p:grpSpPr>
        <p:sp>
          <p:nvSpPr>
            <p:cNvPr id="261" name="Freeform: Shape 38">
              <a:extLst>
                <a:ext uri="{FF2B5EF4-FFF2-40B4-BE49-F238E27FC236}">
                  <a16:creationId xmlns:a16="http://schemas.microsoft.com/office/drawing/2014/main" id="{46C26138-16A9-46CD-B130-0966BEDAC143}"/>
                </a:ext>
              </a:extLst>
            </p:cNvPr>
            <p:cNvSpPr/>
            <p:nvPr/>
          </p:nvSpPr>
          <p:spPr>
            <a:xfrm>
              <a:off x="1788647" y="3837641"/>
              <a:ext cx="248336" cy="344413"/>
            </a:xfrm>
            <a:custGeom>
              <a:avLst/>
              <a:gdLst>
                <a:gd name="connsiteX0" fmla="*/ 106412 w 312850"/>
                <a:gd name="connsiteY0" fmla="*/ 429981 h 433888"/>
                <a:gd name="connsiteX1" fmla="*/ 9913 w 312850"/>
                <a:gd name="connsiteY1" fmla="*/ 212877 h 433888"/>
                <a:gd name="connsiteX2" fmla="*/ 151766 w 312850"/>
                <a:gd name="connsiteY2" fmla="*/ 390 h 433888"/>
                <a:gd name="connsiteX3" fmla="*/ 229941 w 312850"/>
                <a:gd name="connsiteY3" fmla="*/ 83736 h 433888"/>
                <a:gd name="connsiteX4" fmla="*/ 286158 w 312850"/>
                <a:gd name="connsiteY4" fmla="*/ 366658 h 433888"/>
                <a:gd name="connsiteX5" fmla="*/ 153491 w 312850"/>
                <a:gd name="connsiteY5" fmla="*/ 433873 h 433888"/>
                <a:gd name="connsiteX6" fmla="*/ 106412 w 312850"/>
                <a:gd name="connsiteY6" fmla="*/ 429981 h 433888"/>
                <a:gd name="connsiteX7" fmla="*/ 201837 w 312850"/>
                <a:gd name="connsiteY7" fmla="*/ 396735 h 433888"/>
                <a:gd name="connsiteX8" fmla="*/ 264959 w 312850"/>
                <a:gd name="connsiteY8" fmla="*/ 316475 h 433888"/>
                <a:gd name="connsiteX9" fmla="*/ 202188 w 312850"/>
                <a:gd name="connsiteY9" fmla="*/ 111208 h 433888"/>
                <a:gd name="connsiteX10" fmla="*/ 125427 w 312850"/>
                <a:gd name="connsiteY10" fmla="*/ 86913 h 433888"/>
                <a:gd name="connsiteX11" fmla="*/ 37793 w 312850"/>
                <a:gd name="connsiteY11" fmla="*/ 267276 h 433888"/>
                <a:gd name="connsiteX12" fmla="*/ 75193 w 312850"/>
                <a:gd name="connsiteY12" fmla="*/ 367708 h 433888"/>
                <a:gd name="connsiteX13" fmla="*/ 201837 w 312850"/>
                <a:gd name="connsiteY13" fmla="*/ 396735 h 433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12850" h="433888">
                  <a:moveTo>
                    <a:pt x="106412" y="429981"/>
                  </a:moveTo>
                  <a:cubicBezTo>
                    <a:pt x="22894" y="404483"/>
                    <a:pt x="-20992" y="305749"/>
                    <a:pt x="9913" y="212877"/>
                  </a:cubicBezTo>
                  <a:cubicBezTo>
                    <a:pt x="30357" y="151437"/>
                    <a:pt x="127053" y="6593"/>
                    <a:pt x="151766" y="390"/>
                  </a:cubicBezTo>
                  <a:cubicBezTo>
                    <a:pt x="166100" y="-3208"/>
                    <a:pt x="185595" y="17577"/>
                    <a:pt x="229941" y="83736"/>
                  </a:cubicBezTo>
                  <a:cubicBezTo>
                    <a:pt x="320270" y="218494"/>
                    <a:pt x="333174" y="283435"/>
                    <a:pt x="286158" y="366658"/>
                  </a:cubicBezTo>
                  <a:cubicBezTo>
                    <a:pt x="260315" y="412403"/>
                    <a:pt x="216562" y="434570"/>
                    <a:pt x="153491" y="433873"/>
                  </a:cubicBezTo>
                  <a:cubicBezTo>
                    <a:pt x="133898" y="433656"/>
                    <a:pt x="112712" y="431905"/>
                    <a:pt x="106412" y="429981"/>
                  </a:cubicBezTo>
                  <a:close/>
                  <a:moveTo>
                    <a:pt x="201837" y="396735"/>
                  </a:moveTo>
                  <a:cubicBezTo>
                    <a:pt x="227538" y="384488"/>
                    <a:pt x="255538" y="348886"/>
                    <a:pt x="264959" y="316475"/>
                  </a:cubicBezTo>
                  <a:cubicBezTo>
                    <a:pt x="282202" y="257161"/>
                    <a:pt x="265962" y="204054"/>
                    <a:pt x="202188" y="111208"/>
                  </a:cubicBezTo>
                  <a:cubicBezTo>
                    <a:pt x="153439" y="40234"/>
                    <a:pt x="158378" y="41798"/>
                    <a:pt x="125427" y="86913"/>
                  </a:cubicBezTo>
                  <a:cubicBezTo>
                    <a:pt x="70170" y="162570"/>
                    <a:pt x="37974" y="228834"/>
                    <a:pt x="37793" y="267276"/>
                  </a:cubicBezTo>
                  <a:cubicBezTo>
                    <a:pt x="37637" y="300686"/>
                    <a:pt x="53355" y="342899"/>
                    <a:pt x="75193" y="367708"/>
                  </a:cubicBezTo>
                  <a:cubicBezTo>
                    <a:pt x="112750" y="410377"/>
                    <a:pt x="153573" y="419734"/>
                    <a:pt x="201837" y="396735"/>
                  </a:cubicBezTo>
                  <a:close/>
                </a:path>
              </a:pathLst>
            </a:custGeom>
            <a:solidFill>
              <a:schemeClr val="tx2"/>
            </a:solidFill>
            <a:ln w="4572" cap="flat">
              <a:noFill/>
              <a:prstDash val="solid"/>
              <a:miter/>
            </a:ln>
          </p:spPr>
          <p:txBody>
            <a:bodyPr rtlCol="0" anchor="ctr"/>
            <a:lstStyle/>
            <a:p>
              <a:endParaRPr lang="en-GB" dirty="0"/>
            </a:p>
          </p:txBody>
        </p:sp>
        <p:grpSp>
          <p:nvGrpSpPr>
            <p:cNvPr id="262" name="Group 79">
              <a:extLst>
                <a:ext uri="{FF2B5EF4-FFF2-40B4-BE49-F238E27FC236}">
                  <a16:creationId xmlns:a16="http://schemas.microsoft.com/office/drawing/2014/main" id="{AC7368D3-E37B-43AC-BB38-C820FEEE8D06}"/>
                </a:ext>
              </a:extLst>
            </p:cNvPr>
            <p:cNvGrpSpPr/>
            <p:nvPr/>
          </p:nvGrpSpPr>
          <p:grpSpPr>
            <a:xfrm>
              <a:off x="1431704" y="3463391"/>
              <a:ext cx="724566" cy="726820"/>
              <a:chOff x="1431704" y="3463391"/>
              <a:chExt cx="724566" cy="726820"/>
            </a:xfrm>
          </p:grpSpPr>
          <p:sp>
            <p:nvSpPr>
              <p:cNvPr id="263" name="Freeform: Shape 51">
                <a:extLst>
                  <a:ext uri="{FF2B5EF4-FFF2-40B4-BE49-F238E27FC236}">
                    <a16:creationId xmlns:a16="http://schemas.microsoft.com/office/drawing/2014/main" id="{DFF0A9BE-B639-4E57-AF2F-2F49B76AB47D}"/>
                  </a:ext>
                </a:extLst>
              </p:cNvPr>
              <p:cNvSpPr/>
              <p:nvPr/>
            </p:nvSpPr>
            <p:spPr>
              <a:xfrm>
                <a:off x="1669359" y="3579094"/>
                <a:ext cx="486911" cy="611117"/>
              </a:xfrm>
              <a:custGeom>
                <a:avLst/>
                <a:gdLst>
                  <a:gd name="connsiteX0" fmla="*/ 266856 w 625534"/>
                  <a:gd name="connsiteY0" fmla="*/ 782905 h 785100"/>
                  <a:gd name="connsiteX1" fmla="*/ 116410 w 625534"/>
                  <a:gd name="connsiteY1" fmla="*/ 716060 h 785100"/>
                  <a:gd name="connsiteX2" fmla="*/ 3834 w 625534"/>
                  <a:gd name="connsiteY2" fmla="*/ 532280 h 785100"/>
                  <a:gd name="connsiteX3" fmla="*/ 8 w 625534"/>
                  <a:gd name="connsiteY3" fmla="*/ 475095 h 785100"/>
                  <a:gd name="connsiteX4" fmla="*/ 8208 w 625534"/>
                  <a:gd name="connsiteY4" fmla="*/ 412045 h 785100"/>
                  <a:gd name="connsiteX5" fmla="*/ 236035 w 625534"/>
                  <a:gd name="connsiteY5" fmla="*/ 73012 h 785100"/>
                  <a:gd name="connsiteX6" fmla="*/ 312727 w 625534"/>
                  <a:gd name="connsiteY6" fmla="*/ 0 h 785100"/>
                  <a:gd name="connsiteX7" fmla="*/ 415899 w 625534"/>
                  <a:gd name="connsiteY7" fmla="*/ 104279 h 785100"/>
                  <a:gd name="connsiteX8" fmla="*/ 621384 w 625534"/>
                  <a:gd name="connsiteY8" fmla="*/ 438476 h 785100"/>
                  <a:gd name="connsiteX9" fmla="*/ 541894 w 625534"/>
                  <a:gd name="connsiteY9" fmla="*/ 686118 h 785100"/>
                  <a:gd name="connsiteX10" fmla="*/ 389291 w 625534"/>
                  <a:gd name="connsiteY10" fmla="*/ 775971 h 785100"/>
                  <a:gd name="connsiteX11" fmla="*/ 266856 w 625534"/>
                  <a:gd name="connsiteY11" fmla="*/ 782905 h 785100"/>
                  <a:gd name="connsiteX12" fmla="*/ 366488 w 625534"/>
                  <a:gd name="connsiteY12" fmla="*/ 746875 h 785100"/>
                  <a:gd name="connsiteX13" fmla="*/ 461223 w 625534"/>
                  <a:gd name="connsiteY13" fmla="*/ 702951 h 785100"/>
                  <a:gd name="connsiteX14" fmla="*/ 585876 w 625534"/>
                  <a:gd name="connsiteY14" fmla="*/ 476561 h 785100"/>
                  <a:gd name="connsiteX15" fmla="*/ 577984 w 625534"/>
                  <a:gd name="connsiteY15" fmla="*/ 420403 h 785100"/>
                  <a:gd name="connsiteX16" fmla="*/ 346308 w 625534"/>
                  <a:gd name="connsiteY16" fmla="*/ 85994 h 785100"/>
                  <a:gd name="connsiteX17" fmla="*/ 310927 w 625534"/>
                  <a:gd name="connsiteY17" fmla="*/ 47332 h 785100"/>
                  <a:gd name="connsiteX18" fmla="*/ 294315 w 625534"/>
                  <a:gd name="connsiteY18" fmla="*/ 65466 h 785100"/>
                  <a:gd name="connsiteX19" fmla="*/ 47423 w 625534"/>
                  <a:gd name="connsiteY19" fmla="*/ 417315 h 785100"/>
                  <a:gd name="connsiteX20" fmla="*/ 38233 w 625534"/>
                  <a:gd name="connsiteY20" fmla="*/ 479494 h 785100"/>
                  <a:gd name="connsiteX21" fmla="*/ 122508 w 625534"/>
                  <a:gd name="connsiteY21" fmla="*/ 670770 h 785100"/>
                  <a:gd name="connsiteX22" fmla="*/ 268074 w 625534"/>
                  <a:gd name="connsiteY22" fmla="*/ 749333 h 785100"/>
                  <a:gd name="connsiteX23" fmla="*/ 366488 w 625534"/>
                  <a:gd name="connsiteY23" fmla="*/ 746875 h 785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25534" h="785100">
                    <a:moveTo>
                      <a:pt x="266856" y="782905"/>
                    </a:moveTo>
                    <a:cubicBezTo>
                      <a:pt x="212131" y="774275"/>
                      <a:pt x="161138" y="751618"/>
                      <a:pt x="116410" y="716060"/>
                    </a:cubicBezTo>
                    <a:cubicBezTo>
                      <a:pt x="57672" y="669365"/>
                      <a:pt x="18275" y="605050"/>
                      <a:pt x="3834" y="532280"/>
                    </a:cubicBezTo>
                    <a:cubicBezTo>
                      <a:pt x="1548" y="520763"/>
                      <a:pt x="-131" y="495661"/>
                      <a:pt x="8" y="475095"/>
                    </a:cubicBezTo>
                    <a:cubicBezTo>
                      <a:pt x="218" y="444140"/>
                      <a:pt x="1494" y="434333"/>
                      <a:pt x="8208" y="412045"/>
                    </a:cubicBezTo>
                    <a:cubicBezTo>
                      <a:pt x="34882" y="323504"/>
                      <a:pt x="105157" y="218927"/>
                      <a:pt x="236035" y="73012"/>
                    </a:cubicBezTo>
                    <a:cubicBezTo>
                      <a:pt x="288062" y="15008"/>
                      <a:pt x="303794" y="30"/>
                      <a:pt x="312727" y="0"/>
                    </a:cubicBezTo>
                    <a:cubicBezTo>
                      <a:pt x="320724" y="-35"/>
                      <a:pt x="353117" y="32714"/>
                      <a:pt x="415899" y="104279"/>
                    </a:cubicBezTo>
                    <a:cubicBezTo>
                      <a:pt x="537483" y="242873"/>
                      <a:pt x="602272" y="348243"/>
                      <a:pt x="621384" y="438476"/>
                    </a:cubicBezTo>
                    <a:cubicBezTo>
                      <a:pt x="637712" y="515565"/>
                      <a:pt x="604766" y="618205"/>
                      <a:pt x="541894" y="686118"/>
                    </a:cubicBezTo>
                    <a:cubicBezTo>
                      <a:pt x="504215" y="726817"/>
                      <a:pt x="445089" y="761631"/>
                      <a:pt x="389291" y="775971"/>
                    </a:cubicBezTo>
                    <a:cubicBezTo>
                      <a:pt x="356810" y="784319"/>
                      <a:pt x="297222" y="787694"/>
                      <a:pt x="266856" y="782905"/>
                    </a:cubicBezTo>
                    <a:close/>
                    <a:moveTo>
                      <a:pt x="366488" y="746875"/>
                    </a:moveTo>
                    <a:cubicBezTo>
                      <a:pt x="390653" y="740207"/>
                      <a:pt x="437207" y="718622"/>
                      <a:pt x="461223" y="702951"/>
                    </a:cubicBezTo>
                    <a:cubicBezTo>
                      <a:pt x="537135" y="653417"/>
                      <a:pt x="585736" y="565151"/>
                      <a:pt x="585876" y="476561"/>
                    </a:cubicBezTo>
                    <a:cubicBezTo>
                      <a:pt x="585911" y="449239"/>
                      <a:pt x="584713" y="440646"/>
                      <a:pt x="577984" y="420403"/>
                    </a:cubicBezTo>
                    <a:cubicBezTo>
                      <a:pt x="550872" y="338826"/>
                      <a:pt x="467324" y="218231"/>
                      <a:pt x="346308" y="85994"/>
                    </a:cubicBezTo>
                    <a:lnTo>
                      <a:pt x="310927" y="47332"/>
                    </a:lnTo>
                    <a:lnTo>
                      <a:pt x="294315" y="65466"/>
                    </a:lnTo>
                    <a:cubicBezTo>
                      <a:pt x="157854" y="214435"/>
                      <a:pt x="78326" y="327771"/>
                      <a:pt x="47423" y="417315"/>
                    </a:cubicBezTo>
                    <a:cubicBezTo>
                      <a:pt x="38929" y="441927"/>
                      <a:pt x="38120" y="447402"/>
                      <a:pt x="38233" y="479494"/>
                    </a:cubicBezTo>
                    <a:cubicBezTo>
                      <a:pt x="38489" y="552397"/>
                      <a:pt x="67771" y="618859"/>
                      <a:pt x="122508" y="670770"/>
                    </a:cubicBezTo>
                    <a:cubicBezTo>
                      <a:pt x="161882" y="708112"/>
                      <a:pt x="216892" y="737801"/>
                      <a:pt x="268074" y="749333"/>
                    </a:cubicBezTo>
                    <a:cubicBezTo>
                      <a:pt x="290775" y="754448"/>
                      <a:pt x="343851" y="753122"/>
                      <a:pt x="366488" y="746875"/>
                    </a:cubicBezTo>
                    <a:close/>
                  </a:path>
                </a:pathLst>
              </a:custGeom>
              <a:solidFill>
                <a:schemeClr val="tx2"/>
              </a:solidFill>
              <a:ln w="2926" cap="flat">
                <a:noFill/>
                <a:prstDash val="solid"/>
                <a:miter/>
              </a:ln>
            </p:spPr>
            <p:txBody>
              <a:bodyPr rtlCol="0" anchor="ctr"/>
              <a:lstStyle/>
              <a:p>
                <a:endParaRPr lang="en-GB" dirty="0"/>
              </a:p>
            </p:txBody>
          </p:sp>
          <p:sp>
            <p:nvSpPr>
              <p:cNvPr id="264" name="Freeform: Shape 74">
                <a:extLst>
                  <a:ext uri="{FF2B5EF4-FFF2-40B4-BE49-F238E27FC236}">
                    <a16:creationId xmlns:a16="http://schemas.microsoft.com/office/drawing/2014/main" id="{744A17BC-3997-4A8D-B716-5B48B2E308CE}"/>
                  </a:ext>
                </a:extLst>
              </p:cNvPr>
              <p:cNvSpPr/>
              <p:nvPr/>
            </p:nvSpPr>
            <p:spPr>
              <a:xfrm>
                <a:off x="1431704" y="3463391"/>
                <a:ext cx="355804" cy="536546"/>
              </a:xfrm>
              <a:custGeom>
                <a:avLst/>
                <a:gdLst>
                  <a:gd name="connsiteX0" fmla="*/ 580052 w 1175771"/>
                  <a:gd name="connsiteY0" fmla="*/ 763 h 1773037"/>
                  <a:gd name="connsiteX1" fmla="*/ 897641 w 1175771"/>
                  <a:gd name="connsiteY1" fmla="*/ 113749 h 1773037"/>
                  <a:gd name="connsiteX2" fmla="*/ 1150903 w 1175771"/>
                  <a:gd name="connsiteY2" fmla="*/ 562027 h 1773037"/>
                  <a:gd name="connsiteX3" fmla="*/ 1175242 w 1175771"/>
                  <a:gd name="connsiteY3" fmla="*/ 716802 h 1773037"/>
                  <a:gd name="connsiteX4" fmla="*/ 1121405 w 1175771"/>
                  <a:gd name="connsiteY4" fmla="*/ 782561 h 1773037"/>
                  <a:gd name="connsiteX5" fmla="*/ 1070885 w 1175771"/>
                  <a:gd name="connsiteY5" fmla="*/ 842758 h 1773037"/>
                  <a:gd name="connsiteX6" fmla="*/ 1067330 w 1175771"/>
                  <a:gd name="connsiteY6" fmla="*/ 807670 h 1773037"/>
                  <a:gd name="connsiteX7" fmla="*/ 914272 w 1175771"/>
                  <a:gd name="connsiteY7" fmla="*/ 323787 h 1773037"/>
                  <a:gd name="connsiteX8" fmla="*/ 758434 w 1175771"/>
                  <a:gd name="connsiteY8" fmla="*/ 167872 h 1773037"/>
                  <a:gd name="connsiteX9" fmla="*/ 471582 w 1175771"/>
                  <a:gd name="connsiteY9" fmla="*/ 147883 h 1773037"/>
                  <a:gd name="connsiteX10" fmla="*/ 278688 w 1175771"/>
                  <a:gd name="connsiteY10" fmla="*/ 325644 h 1773037"/>
                  <a:gd name="connsiteX11" fmla="*/ 134365 w 1175771"/>
                  <a:gd name="connsiteY11" fmla="*/ 1070588 h 1773037"/>
                  <a:gd name="connsiteX12" fmla="*/ 515895 w 1175771"/>
                  <a:gd name="connsiteY12" fmla="*/ 1641719 h 1773037"/>
                  <a:gd name="connsiteX13" fmla="*/ 705568 w 1175771"/>
                  <a:gd name="connsiteY13" fmla="*/ 1628217 h 1773037"/>
                  <a:gd name="connsiteX14" fmla="*/ 708052 w 1175771"/>
                  <a:gd name="connsiteY14" fmla="*/ 1627157 h 1773037"/>
                  <a:gd name="connsiteX15" fmla="*/ 709765 w 1175771"/>
                  <a:gd name="connsiteY15" fmla="*/ 1677567 h 1773037"/>
                  <a:gd name="connsiteX16" fmla="*/ 718190 w 1175771"/>
                  <a:gd name="connsiteY16" fmla="*/ 1732001 h 1773037"/>
                  <a:gd name="connsiteX17" fmla="*/ 724367 w 1175771"/>
                  <a:gd name="connsiteY17" fmla="*/ 1753770 h 1773037"/>
                  <a:gd name="connsiteX18" fmla="*/ 693014 w 1175771"/>
                  <a:gd name="connsiteY18" fmla="*/ 1761757 h 1773037"/>
                  <a:gd name="connsiteX19" fmla="*/ 546133 w 1175771"/>
                  <a:gd name="connsiteY19" fmla="*/ 1771419 h 1773037"/>
                  <a:gd name="connsiteX20" fmla="*/ 357825 w 1175771"/>
                  <a:gd name="connsiteY20" fmla="*/ 1701981 h 1773037"/>
                  <a:gd name="connsiteX21" fmla="*/ 31944 w 1175771"/>
                  <a:gd name="connsiteY21" fmla="*/ 1181860 h 1773037"/>
                  <a:gd name="connsiteX22" fmla="*/ 62100 w 1175771"/>
                  <a:gd name="connsiteY22" fmla="*/ 498896 h 1773037"/>
                  <a:gd name="connsiteX23" fmla="*/ 466822 w 1175771"/>
                  <a:gd name="connsiteY23" fmla="*/ 22829 h 1773037"/>
                  <a:gd name="connsiteX24" fmla="*/ 580052 w 1175771"/>
                  <a:gd name="connsiteY24" fmla="*/ 763 h 177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75771" h="1773037">
                    <a:moveTo>
                      <a:pt x="580052" y="763"/>
                    </a:moveTo>
                    <a:cubicBezTo>
                      <a:pt x="693045" y="-6033"/>
                      <a:pt x="803722" y="32646"/>
                      <a:pt x="897641" y="113749"/>
                    </a:cubicBezTo>
                    <a:cubicBezTo>
                      <a:pt x="1013730" y="213996"/>
                      <a:pt x="1103202" y="372362"/>
                      <a:pt x="1150903" y="562027"/>
                    </a:cubicBezTo>
                    <a:cubicBezTo>
                      <a:pt x="1163132" y="610650"/>
                      <a:pt x="1178867" y="710717"/>
                      <a:pt x="1175242" y="716802"/>
                    </a:cubicBezTo>
                    <a:cubicBezTo>
                      <a:pt x="1173418" y="719862"/>
                      <a:pt x="1149192" y="749453"/>
                      <a:pt x="1121405" y="782561"/>
                    </a:cubicBezTo>
                    <a:lnTo>
                      <a:pt x="1070885" y="842758"/>
                    </a:lnTo>
                    <a:lnTo>
                      <a:pt x="1067330" y="807670"/>
                    </a:lnTo>
                    <a:cubicBezTo>
                      <a:pt x="1046585" y="602855"/>
                      <a:pt x="998613" y="451198"/>
                      <a:pt x="914272" y="323787"/>
                    </a:cubicBezTo>
                    <a:cubicBezTo>
                      <a:pt x="876924" y="267368"/>
                      <a:pt x="805108" y="195516"/>
                      <a:pt x="758434" y="167872"/>
                    </a:cubicBezTo>
                    <a:cubicBezTo>
                      <a:pt x="667253" y="113867"/>
                      <a:pt x="563158" y="106613"/>
                      <a:pt x="471582" y="147883"/>
                    </a:cubicBezTo>
                    <a:cubicBezTo>
                      <a:pt x="401852" y="179306"/>
                      <a:pt x="334233" y="241620"/>
                      <a:pt x="278688" y="325644"/>
                    </a:cubicBezTo>
                    <a:cubicBezTo>
                      <a:pt x="146042" y="526300"/>
                      <a:pt x="93669" y="796629"/>
                      <a:pt x="134365" y="1070588"/>
                    </a:cubicBezTo>
                    <a:cubicBezTo>
                      <a:pt x="178093" y="1364962"/>
                      <a:pt x="331397" y="1594451"/>
                      <a:pt x="515895" y="1641719"/>
                    </a:cubicBezTo>
                    <a:cubicBezTo>
                      <a:pt x="576253" y="1657184"/>
                      <a:pt x="649958" y="1651937"/>
                      <a:pt x="705568" y="1628217"/>
                    </a:cubicBezTo>
                    <a:lnTo>
                      <a:pt x="708052" y="1627157"/>
                    </a:lnTo>
                    <a:lnTo>
                      <a:pt x="709765" y="1677567"/>
                    </a:lnTo>
                    <a:cubicBezTo>
                      <a:pt x="711600" y="1695956"/>
                      <a:pt x="714547" y="1714814"/>
                      <a:pt x="718190" y="1732001"/>
                    </a:cubicBezTo>
                    <a:lnTo>
                      <a:pt x="724367" y="1753770"/>
                    </a:lnTo>
                    <a:lnTo>
                      <a:pt x="693014" y="1761757"/>
                    </a:lnTo>
                    <a:cubicBezTo>
                      <a:pt x="659933" y="1770186"/>
                      <a:pt x="571201" y="1776022"/>
                      <a:pt x="546133" y="1771419"/>
                    </a:cubicBezTo>
                    <a:cubicBezTo>
                      <a:pt x="473009" y="1757992"/>
                      <a:pt x="408462" y="1734191"/>
                      <a:pt x="357825" y="1701981"/>
                    </a:cubicBezTo>
                    <a:cubicBezTo>
                      <a:pt x="198344" y="1600537"/>
                      <a:pt x="89675" y="1427098"/>
                      <a:pt x="31944" y="1181860"/>
                    </a:cubicBezTo>
                    <a:cubicBezTo>
                      <a:pt x="-19493" y="963358"/>
                      <a:pt x="-8365" y="711341"/>
                      <a:pt x="62100" y="498896"/>
                    </a:cubicBezTo>
                    <a:cubicBezTo>
                      <a:pt x="141218" y="260359"/>
                      <a:pt x="294600" y="79940"/>
                      <a:pt x="466822" y="22829"/>
                    </a:cubicBezTo>
                    <a:cubicBezTo>
                      <a:pt x="504466" y="10345"/>
                      <a:pt x="542387" y="3028"/>
                      <a:pt x="580052" y="763"/>
                    </a:cubicBezTo>
                    <a:close/>
                  </a:path>
                </a:pathLst>
              </a:custGeom>
              <a:solidFill>
                <a:schemeClr val="tx2"/>
              </a:solidFill>
              <a:ln w="2926" cap="flat">
                <a:noFill/>
                <a:prstDash val="solid"/>
                <a:miter/>
              </a:ln>
            </p:spPr>
            <p:txBody>
              <a:bodyPr rtlCol="0" anchor="ctr"/>
              <a:lstStyle/>
              <a:p>
                <a:endParaRPr lang="en-GB" dirty="0"/>
              </a:p>
            </p:txBody>
          </p:sp>
          <p:sp>
            <p:nvSpPr>
              <p:cNvPr id="265" name="Freeform: Shape 69">
                <a:extLst>
                  <a:ext uri="{FF2B5EF4-FFF2-40B4-BE49-F238E27FC236}">
                    <a16:creationId xmlns:a16="http://schemas.microsoft.com/office/drawing/2014/main" id="{BD39F806-EA50-4552-9F7B-BC52E89C333E}"/>
                  </a:ext>
                </a:extLst>
              </p:cNvPr>
              <p:cNvSpPr/>
              <p:nvPr/>
            </p:nvSpPr>
            <p:spPr>
              <a:xfrm>
                <a:off x="1583017" y="3716066"/>
                <a:ext cx="37411" cy="438263"/>
              </a:xfrm>
              <a:custGeom>
                <a:avLst/>
                <a:gdLst>
                  <a:gd name="connsiteX0" fmla="*/ 0 w 70377"/>
                  <a:gd name="connsiteY0" fmla="*/ 395893 h 791787"/>
                  <a:gd name="connsiteX1" fmla="*/ 0 w 70377"/>
                  <a:gd name="connsiteY1" fmla="*/ 0 h 791787"/>
                  <a:gd name="connsiteX2" fmla="*/ 35189 w 70377"/>
                  <a:gd name="connsiteY2" fmla="*/ 0 h 791787"/>
                  <a:gd name="connsiteX3" fmla="*/ 70377 w 70377"/>
                  <a:gd name="connsiteY3" fmla="*/ 0 h 791787"/>
                  <a:gd name="connsiteX4" fmla="*/ 70377 w 70377"/>
                  <a:gd name="connsiteY4" fmla="*/ 395893 h 791787"/>
                  <a:gd name="connsiteX5" fmla="*/ 70377 w 70377"/>
                  <a:gd name="connsiteY5" fmla="*/ 791787 h 791787"/>
                  <a:gd name="connsiteX6" fmla="*/ 35189 w 70377"/>
                  <a:gd name="connsiteY6" fmla="*/ 791787 h 791787"/>
                  <a:gd name="connsiteX7" fmla="*/ 0 w 70377"/>
                  <a:gd name="connsiteY7" fmla="*/ 791787 h 791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77" h="791787">
                    <a:moveTo>
                      <a:pt x="0" y="395893"/>
                    </a:moveTo>
                    <a:lnTo>
                      <a:pt x="0" y="0"/>
                    </a:lnTo>
                    <a:lnTo>
                      <a:pt x="35189" y="0"/>
                    </a:lnTo>
                    <a:lnTo>
                      <a:pt x="70377" y="0"/>
                    </a:lnTo>
                    <a:lnTo>
                      <a:pt x="70377" y="395893"/>
                    </a:lnTo>
                    <a:lnTo>
                      <a:pt x="70377" y="791787"/>
                    </a:lnTo>
                    <a:lnTo>
                      <a:pt x="35189" y="791787"/>
                    </a:lnTo>
                    <a:lnTo>
                      <a:pt x="0" y="791787"/>
                    </a:lnTo>
                    <a:close/>
                  </a:path>
                </a:pathLst>
              </a:custGeom>
              <a:solidFill>
                <a:schemeClr val="tx2"/>
              </a:solidFill>
              <a:ln w="2926" cap="flat">
                <a:noFill/>
                <a:prstDash val="solid"/>
                <a:miter/>
              </a:ln>
            </p:spPr>
            <p:txBody>
              <a:bodyPr rtlCol="0" anchor="ctr"/>
              <a:lstStyle/>
              <a:p>
                <a:endParaRPr lang="en-GB" dirty="0"/>
              </a:p>
            </p:txBody>
          </p:sp>
        </p:grpSp>
      </p:grpSp>
      <p:sp>
        <p:nvSpPr>
          <p:cNvPr id="38" name="TextBox 1423">
            <a:extLst>
              <a:ext uri="{FF2B5EF4-FFF2-40B4-BE49-F238E27FC236}">
                <a16:creationId xmlns:a16="http://schemas.microsoft.com/office/drawing/2014/main" id="{9D62E96A-27DD-4F1B-8315-4ED0105343B7}"/>
              </a:ext>
            </a:extLst>
          </p:cNvPr>
          <p:cNvSpPr txBox="1"/>
          <p:nvPr/>
        </p:nvSpPr>
        <p:spPr>
          <a:xfrm>
            <a:off x="8150549" y="3741645"/>
            <a:ext cx="343044" cy="107722"/>
          </a:xfrm>
          <a:prstGeom prst="rect">
            <a:avLst/>
          </a:prstGeom>
          <a:noFill/>
          <a:effectLst/>
        </p:spPr>
        <p:txBody>
          <a:bodyPr wrap="none" lIns="0" tIns="0" rIns="0" bIns="0" rtlCol="0" anchor="t" anchorCtr="0">
            <a:spAutoFit/>
          </a:bodyPr>
          <a:lstStyle/>
          <a:p>
            <a:pPr algn="ctr"/>
            <a:r>
              <a:rPr lang="en-GB" sz="700" dirty="0">
                <a:solidFill>
                  <a:schemeClr val="tx2"/>
                </a:solidFill>
              </a:rPr>
              <a:t>Tsunami</a:t>
            </a:r>
          </a:p>
        </p:txBody>
      </p:sp>
      <p:sp>
        <p:nvSpPr>
          <p:cNvPr id="40" name="TextBox 1414">
            <a:extLst>
              <a:ext uri="{FF2B5EF4-FFF2-40B4-BE49-F238E27FC236}">
                <a16:creationId xmlns:a16="http://schemas.microsoft.com/office/drawing/2014/main" id="{6EEEEA13-14CC-4C22-9143-4516015D2FC1}"/>
              </a:ext>
            </a:extLst>
          </p:cNvPr>
          <p:cNvSpPr txBox="1"/>
          <p:nvPr/>
        </p:nvSpPr>
        <p:spPr>
          <a:xfrm>
            <a:off x="4874223" y="2907223"/>
            <a:ext cx="601127" cy="107722"/>
          </a:xfrm>
          <a:prstGeom prst="rect">
            <a:avLst/>
          </a:prstGeom>
          <a:noFill/>
          <a:effectLst/>
        </p:spPr>
        <p:txBody>
          <a:bodyPr wrap="none" lIns="0" tIns="0" rIns="0" bIns="0" rtlCol="0" anchor="t" anchorCtr="0">
            <a:spAutoFit/>
          </a:bodyPr>
          <a:lstStyle/>
          <a:p>
            <a:pPr algn="ctr"/>
            <a:r>
              <a:rPr lang="en-GB" sz="700" dirty="0">
                <a:solidFill>
                  <a:schemeClr val="tx2"/>
                </a:solidFill>
              </a:rPr>
              <a:t>Heavy snowfall</a:t>
            </a:r>
          </a:p>
        </p:txBody>
      </p:sp>
      <p:sp>
        <p:nvSpPr>
          <p:cNvPr id="42" name="TextBox 1415">
            <a:extLst>
              <a:ext uri="{FF2B5EF4-FFF2-40B4-BE49-F238E27FC236}">
                <a16:creationId xmlns:a16="http://schemas.microsoft.com/office/drawing/2014/main" id="{B6EEDD81-5560-42B5-8CE5-2D43CD705185}"/>
              </a:ext>
            </a:extLst>
          </p:cNvPr>
          <p:cNvSpPr txBox="1"/>
          <p:nvPr/>
        </p:nvSpPr>
        <p:spPr>
          <a:xfrm>
            <a:off x="7137990" y="2077494"/>
            <a:ext cx="333425" cy="107722"/>
          </a:xfrm>
          <a:prstGeom prst="rect">
            <a:avLst/>
          </a:prstGeom>
          <a:noFill/>
          <a:effectLst/>
        </p:spPr>
        <p:txBody>
          <a:bodyPr wrap="none" lIns="0" tIns="0" rIns="0" bIns="0" rtlCol="0" anchor="t" anchorCtr="0">
            <a:spAutoFit/>
          </a:bodyPr>
          <a:lstStyle/>
          <a:p>
            <a:pPr algn="ctr"/>
            <a:r>
              <a:rPr lang="en-GB" sz="700" dirty="0">
                <a:solidFill>
                  <a:schemeClr val="tx2"/>
                </a:solidFill>
              </a:rPr>
              <a:t>Snowfall</a:t>
            </a:r>
          </a:p>
        </p:txBody>
      </p:sp>
      <p:sp>
        <p:nvSpPr>
          <p:cNvPr id="44" name="TextBox 1413">
            <a:extLst>
              <a:ext uri="{FF2B5EF4-FFF2-40B4-BE49-F238E27FC236}">
                <a16:creationId xmlns:a16="http://schemas.microsoft.com/office/drawing/2014/main" id="{589B3507-0F4F-4BDD-920E-3197390FF1EA}"/>
              </a:ext>
            </a:extLst>
          </p:cNvPr>
          <p:cNvSpPr txBox="1"/>
          <p:nvPr/>
        </p:nvSpPr>
        <p:spPr>
          <a:xfrm>
            <a:off x="4890262" y="2077494"/>
            <a:ext cx="646011" cy="107722"/>
          </a:xfrm>
          <a:prstGeom prst="rect">
            <a:avLst/>
          </a:prstGeom>
          <a:noFill/>
          <a:effectLst/>
        </p:spPr>
        <p:txBody>
          <a:bodyPr wrap="none" lIns="0" tIns="0" rIns="0" bIns="0" rtlCol="0" anchor="t" anchorCtr="0">
            <a:spAutoFit/>
          </a:bodyPr>
          <a:lstStyle/>
          <a:p>
            <a:pPr algn="ctr"/>
            <a:r>
              <a:rPr lang="en-GB" sz="700" dirty="0">
                <a:solidFill>
                  <a:schemeClr val="tx2"/>
                </a:solidFill>
              </a:rPr>
              <a:t>Tropical cyclone</a:t>
            </a:r>
          </a:p>
        </p:txBody>
      </p:sp>
      <p:sp>
        <p:nvSpPr>
          <p:cNvPr id="46" name="TextBox 1416">
            <a:extLst>
              <a:ext uri="{FF2B5EF4-FFF2-40B4-BE49-F238E27FC236}">
                <a16:creationId xmlns:a16="http://schemas.microsoft.com/office/drawing/2014/main" id="{A1C78EE9-91C1-451D-9F5E-396FF3406A6C}"/>
              </a:ext>
            </a:extLst>
          </p:cNvPr>
          <p:cNvSpPr txBox="1"/>
          <p:nvPr/>
        </p:nvSpPr>
        <p:spPr>
          <a:xfrm>
            <a:off x="5987795" y="2077494"/>
            <a:ext cx="541816" cy="107722"/>
          </a:xfrm>
          <a:prstGeom prst="rect">
            <a:avLst/>
          </a:prstGeom>
          <a:noFill/>
          <a:effectLst/>
        </p:spPr>
        <p:txBody>
          <a:bodyPr wrap="none" lIns="0" tIns="0" rIns="0" bIns="0" rtlCol="0" anchor="t" anchorCtr="0">
            <a:spAutoFit/>
          </a:bodyPr>
          <a:lstStyle/>
          <a:p>
            <a:pPr algn="ctr"/>
            <a:r>
              <a:rPr lang="en-GB" sz="700" dirty="0">
                <a:solidFill>
                  <a:schemeClr val="tx2"/>
                </a:solidFill>
              </a:rPr>
              <a:t>Light snowfall</a:t>
            </a:r>
          </a:p>
        </p:txBody>
      </p:sp>
      <p:sp>
        <p:nvSpPr>
          <p:cNvPr id="48" name="TextBox 1419">
            <a:extLst>
              <a:ext uri="{FF2B5EF4-FFF2-40B4-BE49-F238E27FC236}">
                <a16:creationId xmlns:a16="http://schemas.microsoft.com/office/drawing/2014/main" id="{95B816B2-2745-43F9-8388-D10574E61DA1}"/>
              </a:ext>
            </a:extLst>
          </p:cNvPr>
          <p:cNvSpPr txBox="1">
            <a:spLocks/>
          </p:cNvSpPr>
          <p:nvPr/>
        </p:nvSpPr>
        <p:spPr>
          <a:xfrm>
            <a:off x="7145204" y="2899619"/>
            <a:ext cx="318998" cy="107722"/>
          </a:xfrm>
          <a:prstGeom prst="rect">
            <a:avLst/>
          </a:prstGeom>
          <a:noFill/>
          <a:effectLst/>
        </p:spPr>
        <p:txBody>
          <a:bodyPr wrap="none" lIns="0" tIns="0" rIns="0" bIns="0" rtlCol="0" anchor="t" anchorCtr="0">
            <a:spAutoFit/>
          </a:bodyPr>
          <a:lstStyle/>
          <a:p>
            <a:pPr algn="ctr"/>
            <a:r>
              <a:rPr lang="en-GB" sz="700" dirty="0">
                <a:solidFill>
                  <a:schemeClr val="tx2"/>
                </a:solidFill>
              </a:rPr>
              <a:t>Drought</a:t>
            </a:r>
          </a:p>
        </p:txBody>
      </p:sp>
      <p:sp>
        <p:nvSpPr>
          <p:cNvPr id="50" name="TextBox 1420">
            <a:extLst>
              <a:ext uri="{FF2B5EF4-FFF2-40B4-BE49-F238E27FC236}">
                <a16:creationId xmlns:a16="http://schemas.microsoft.com/office/drawing/2014/main" id="{9D784C9F-2246-4531-919F-4D4D93641ADB}"/>
              </a:ext>
            </a:extLst>
          </p:cNvPr>
          <p:cNvSpPr txBox="1"/>
          <p:nvPr/>
        </p:nvSpPr>
        <p:spPr>
          <a:xfrm>
            <a:off x="6167331" y="2899619"/>
            <a:ext cx="182742" cy="107722"/>
          </a:xfrm>
          <a:prstGeom prst="rect">
            <a:avLst/>
          </a:prstGeom>
          <a:noFill/>
          <a:effectLst/>
        </p:spPr>
        <p:txBody>
          <a:bodyPr wrap="none" lIns="0" tIns="0" rIns="0" bIns="0" rtlCol="0" anchor="t" anchorCtr="0">
            <a:spAutoFit/>
          </a:bodyPr>
          <a:lstStyle/>
          <a:p>
            <a:pPr algn="ctr"/>
            <a:r>
              <a:rPr lang="en-GB" sz="700" dirty="0">
                <a:solidFill>
                  <a:schemeClr val="tx2"/>
                </a:solidFill>
              </a:rPr>
              <a:t>Rain</a:t>
            </a:r>
          </a:p>
        </p:txBody>
      </p:sp>
      <p:sp>
        <p:nvSpPr>
          <p:cNvPr id="52" name="TextBox 1418">
            <a:extLst>
              <a:ext uri="{FF2B5EF4-FFF2-40B4-BE49-F238E27FC236}">
                <a16:creationId xmlns:a16="http://schemas.microsoft.com/office/drawing/2014/main" id="{EEB599F6-B448-43EE-B79C-E9234503FF36}"/>
              </a:ext>
            </a:extLst>
          </p:cNvPr>
          <p:cNvSpPr txBox="1"/>
          <p:nvPr/>
        </p:nvSpPr>
        <p:spPr>
          <a:xfrm>
            <a:off x="7972375" y="2899619"/>
            <a:ext cx="740587" cy="215444"/>
          </a:xfrm>
          <a:prstGeom prst="rect">
            <a:avLst/>
          </a:prstGeom>
          <a:noFill/>
          <a:effectLst/>
        </p:spPr>
        <p:txBody>
          <a:bodyPr wrap="none" lIns="0" tIns="0" rIns="0" bIns="0" rtlCol="0" anchor="t" anchorCtr="0">
            <a:spAutoFit/>
          </a:bodyPr>
          <a:lstStyle/>
          <a:p>
            <a:pPr algn="ctr"/>
            <a:r>
              <a:rPr lang="en-GB" sz="700" dirty="0">
                <a:solidFill>
                  <a:schemeClr val="tx2"/>
                </a:solidFill>
              </a:rPr>
              <a:t>Global warming</a:t>
            </a:r>
          </a:p>
          <a:p>
            <a:pPr algn="ctr"/>
            <a:r>
              <a:rPr lang="en-GB" sz="700" dirty="0">
                <a:solidFill>
                  <a:schemeClr val="tx2"/>
                </a:solidFill>
              </a:rPr>
              <a:t>Greenhouse effect</a:t>
            </a:r>
          </a:p>
        </p:txBody>
      </p:sp>
      <p:sp>
        <p:nvSpPr>
          <p:cNvPr id="54" name="TextBox 1427">
            <a:extLst>
              <a:ext uri="{FF2B5EF4-FFF2-40B4-BE49-F238E27FC236}">
                <a16:creationId xmlns:a16="http://schemas.microsoft.com/office/drawing/2014/main" id="{6355204D-944A-4A5B-9511-60617DF2FF82}"/>
              </a:ext>
            </a:extLst>
          </p:cNvPr>
          <p:cNvSpPr txBox="1"/>
          <p:nvPr/>
        </p:nvSpPr>
        <p:spPr>
          <a:xfrm>
            <a:off x="7193294" y="3723675"/>
            <a:ext cx="222818" cy="107722"/>
          </a:xfrm>
          <a:prstGeom prst="rect">
            <a:avLst/>
          </a:prstGeom>
          <a:noFill/>
          <a:effectLst/>
        </p:spPr>
        <p:txBody>
          <a:bodyPr wrap="none" lIns="0" tIns="0" rIns="0" bIns="0" rtlCol="0" anchor="t" anchorCtr="0">
            <a:spAutoFit/>
          </a:bodyPr>
          <a:lstStyle/>
          <a:p>
            <a:pPr algn="ctr"/>
            <a:r>
              <a:rPr lang="en-GB" sz="700" dirty="0">
                <a:solidFill>
                  <a:schemeClr val="tx2"/>
                </a:solidFill>
              </a:rPr>
              <a:t>Flood</a:t>
            </a:r>
          </a:p>
        </p:txBody>
      </p:sp>
      <p:sp>
        <p:nvSpPr>
          <p:cNvPr id="56" name="TextBox 1425">
            <a:extLst>
              <a:ext uri="{FF2B5EF4-FFF2-40B4-BE49-F238E27FC236}">
                <a16:creationId xmlns:a16="http://schemas.microsoft.com/office/drawing/2014/main" id="{EC26DE5A-E5C2-4252-B5B3-D764B703736B}"/>
              </a:ext>
            </a:extLst>
          </p:cNvPr>
          <p:cNvSpPr txBox="1"/>
          <p:nvPr/>
        </p:nvSpPr>
        <p:spPr>
          <a:xfrm>
            <a:off x="4979230" y="3723675"/>
            <a:ext cx="468077" cy="107722"/>
          </a:xfrm>
          <a:prstGeom prst="rect">
            <a:avLst/>
          </a:prstGeom>
          <a:noFill/>
          <a:effectLst/>
        </p:spPr>
        <p:txBody>
          <a:bodyPr wrap="none" lIns="0" tIns="0" rIns="0" bIns="0" rtlCol="0" anchor="t" anchorCtr="0">
            <a:spAutoFit/>
          </a:bodyPr>
          <a:lstStyle/>
          <a:p>
            <a:pPr algn="ctr"/>
            <a:r>
              <a:rPr lang="en-GB" sz="700" dirty="0">
                <a:solidFill>
                  <a:schemeClr val="tx2"/>
                </a:solidFill>
              </a:rPr>
              <a:t>Earthquake</a:t>
            </a:r>
          </a:p>
        </p:txBody>
      </p:sp>
      <p:sp>
        <p:nvSpPr>
          <p:cNvPr id="58" name="TextBox 1428">
            <a:extLst>
              <a:ext uri="{FF2B5EF4-FFF2-40B4-BE49-F238E27FC236}">
                <a16:creationId xmlns:a16="http://schemas.microsoft.com/office/drawing/2014/main" id="{FC8304D9-0C70-4D62-B77B-1948C04CC69D}"/>
              </a:ext>
            </a:extLst>
          </p:cNvPr>
          <p:cNvSpPr txBox="1"/>
          <p:nvPr/>
        </p:nvSpPr>
        <p:spPr>
          <a:xfrm>
            <a:off x="5947720" y="3723675"/>
            <a:ext cx="621965" cy="107722"/>
          </a:xfrm>
          <a:prstGeom prst="rect">
            <a:avLst/>
          </a:prstGeom>
          <a:noFill/>
          <a:effectLst/>
        </p:spPr>
        <p:txBody>
          <a:bodyPr wrap="none" lIns="0" tIns="0" rIns="0" bIns="0" rtlCol="0" anchor="t" anchorCtr="0">
            <a:spAutoFit/>
          </a:bodyPr>
          <a:lstStyle/>
          <a:p>
            <a:pPr algn="ctr"/>
            <a:r>
              <a:rPr lang="en-GB" sz="700" dirty="0">
                <a:solidFill>
                  <a:schemeClr val="tx2"/>
                </a:solidFill>
              </a:rPr>
              <a:t>Global warming</a:t>
            </a:r>
          </a:p>
        </p:txBody>
      </p:sp>
      <p:sp>
        <p:nvSpPr>
          <p:cNvPr id="60" name="TextBox 1421">
            <a:extLst>
              <a:ext uri="{FF2B5EF4-FFF2-40B4-BE49-F238E27FC236}">
                <a16:creationId xmlns:a16="http://schemas.microsoft.com/office/drawing/2014/main" id="{7C4056F4-FA3F-49EE-935E-79067DC7AC4F}"/>
              </a:ext>
            </a:extLst>
          </p:cNvPr>
          <p:cNvSpPr txBox="1"/>
          <p:nvPr/>
        </p:nvSpPr>
        <p:spPr>
          <a:xfrm>
            <a:off x="4870226" y="4547732"/>
            <a:ext cx="686085" cy="107722"/>
          </a:xfrm>
          <a:prstGeom prst="rect">
            <a:avLst/>
          </a:prstGeom>
          <a:noFill/>
          <a:effectLst/>
        </p:spPr>
        <p:txBody>
          <a:bodyPr wrap="none" lIns="0" tIns="0" rIns="0" bIns="0" rtlCol="0" anchor="t" anchorCtr="0">
            <a:spAutoFit/>
          </a:bodyPr>
          <a:lstStyle/>
          <a:p>
            <a:pPr algn="ctr"/>
            <a:r>
              <a:rPr lang="en-GB" sz="700" dirty="0">
                <a:solidFill>
                  <a:schemeClr val="tx2"/>
                </a:solidFill>
              </a:rPr>
              <a:t>Volcanic eruption</a:t>
            </a:r>
          </a:p>
        </p:txBody>
      </p:sp>
      <p:sp>
        <p:nvSpPr>
          <p:cNvPr id="62" name="TextBox 1424">
            <a:extLst>
              <a:ext uri="{FF2B5EF4-FFF2-40B4-BE49-F238E27FC236}">
                <a16:creationId xmlns:a16="http://schemas.microsoft.com/office/drawing/2014/main" id="{D483B380-E742-4FCB-997B-32894ADB9A68}"/>
              </a:ext>
            </a:extLst>
          </p:cNvPr>
          <p:cNvSpPr txBox="1"/>
          <p:nvPr/>
        </p:nvSpPr>
        <p:spPr>
          <a:xfrm>
            <a:off x="6063938" y="4547732"/>
            <a:ext cx="389529" cy="107722"/>
          </a:xfrm>
          <a:prstGeom prst="rect">
            <a:avLst/>
          </a:prstGeom>
          <a:noFill/>
          <a:effectLst/>
        </p:spPr>
        <p:txBody>
          <a:bodyPr wrap="none" lIns="0" tIns="0" rIns="0" bIns="0" rtlCol="0" anchor="t" anchorCtr="0">
            <a:spAutoFit/>
          </a:bodyPr>
          <a:lstStyle/>
          <a:p>
            <a:pPr algn="ctr"/>
            <a:r>
              <a:rPr lang="en-GB" sz="700" dirty="0">
                <a:solidFill>
                  <a:schemeClr val="tx2"/>
                </a:solidFill>
              </a:rPr>
              <a:t>Landslide</a:t>
            </a:r>
          </a:p>
        </p:txBody>
      </p:sp>
      <p:sp>
        <p:nvSpPr>
          <p:cNvPr id="64" name="TextBox 1424">
            <a:extLst>
              <a:ext uri="{FF2B5EF4-FFF2-40B4-BE49-F238E27FC236}">
                <a16:creationId xmlns:a16="http://schemas.microsoft.com/office/drawing/2014/main" id="{69FA8C50-CB97-4B8C-B3B6-B7126D17A83A}"/>
              </a:ext>
            </a:extLst>
          </p:cNvPr>
          <p:cNvSpPr txBox="1"/>
          <p:nvPr/>
        </p:nvSpPr>
        <p:spPr>
          <a:xfrm>
            <a:off x="6971721" y="4547732"/>
            <a:ext cx="665247" cy="107722"/>
          </a:xfrm>
          <a:prstGeom prst="rect">
            <a:avLst/>
          </a:prstGeom>
          <a:noFill/>
          <a:effectLst/>
        </p:spPr>
        <p:txBody>
          <a:bodyPr wrap="none" lIns="0" tIns="0" rIns="0" bIns="0" rtlCol="0" anchor="t" anchorCtr="0">
            <a:spAutoFit/>
          </a:bodyPr>
          <a:lstStyle/>
          <a:p>
            <a:pPr algn="ctr"/>
            <a:r>
              <a:rPr lang="en-GB" sz="700" dirty="0">
                <a:solidFill>
                  <a:schemeClr val="tx2"/>
                </a:solidFill>
              </a:rPr>
              <a:t>Meteorite impact</a:t>
            </a:r>
          </a:p>
        </p:txBody>
      </p:sp>
      <p:sp>
        <p:nvSpPr>
          <p:cNvPr id="66" name="TextBox 1414">
            <a:extLst>
              <a:ext uri="{FF2B5EF4-FFF2-40B4-BE49-F238E27FC236}">
                <a16:creationId xmlns:a16="http://schemas.microsoft.com/office/drawing/2014/main" id="{84438BC5-A926-4D15-B0B8-AFFAE1E4F5A5}"/>
              </a:ext>
            </a:extLst>
          </p:cNvPr>
          <p:cNvSpPr txBox="1"/>
          <p:nvPr/>
        </p:nvSpPr>
        <p:spPr>
          <a:xfrm>
            <a:off x="8099813" y="2077494"/>
            <a:ext cx="485710" cy="107722"/>
          </a:xfrm>
          <a:prstGeom prst="rect">
            <a:avLst/>
          </a:prstGeom>
          <a:noFill/>
          <a:effectLst/>
        </p:spPr>
        <p:txBody>
          <a:bodyPr wrap="none" lIns="0" tIns="0" rIns="0" bIns="0" rtlCol="0" anchor="t" anchorCtr="0">
            <a:spAutoFit/>
          </a:bodyPr>
          <a:lstStyle/>
          <a:p>
            <a:pPr algn="ctr"/>
            <a:r>
              <a:rPr lang="en-GB" sz="700" dirty="0">
                <a:solidFill>
                  <a:schemeClr val="tx2"/>
                </a:solidFill>
              </a:rPr>
              <a:t>Glazed frost</a:t>
            </a:r>
          </a:p>
        </p:txBody>
      </p:sp>
      <p:sp>
        <p:nvSpPr>
          <p:cNvPr id="9" name="Freeform: Shape 8">
            <a:extLst>
              <a:ext uri="{FF2B5EF4-FFF2-40B4-BE49-F238E27FC236}">
                <a16:creationId xmlns:a16="http://schemas.microsoft.com/office/drawing/2014/main" id="{84DEA118-E940-4048-A5F0-1F3F946829EA}"/>
              </a:ext>
            </a:extLst>
          </p:cNvPr>
          <p:cNvSpPr/>
          <p:nvPr/>
        </p:nvSpPr>
        <p:spPr>
          <a:xfrm>
            <a:off x="8179303" y="1624649"/>
            <a:ext cx="326731" cy="354670"/>
          </a:xfrm>
          <a:custGeom>
            <a:avLst/>
            <a:gdLst>
              <a:gd name="connsiteX0" fmla="*/ 320197 w 326731"/>
              <a:gd name="connsiteY0" fmla="*/ 313679 h 354670"/>
              <a:gd name="connsiteX1" fmla="*/ 246831 w 326731"/>
              <a:gd name="connsiteY1" fmla="*/ 313679 h 354670"/>
              <a:gd name="connsiteX2" fmla="*/ 250544 w 326731"/>
              <a:gd name="connsiteY2" fmla="*/ 299420 h 354670"/>
              <a:gd name="connsiteX3" fmla="*/ 248762 w 326731"/>
              <a:gd name="connsiteY3" fmla="*/ 289915 h 354670"/>
              <a:gd name="connsiteX4" fmla="*/ 223960 w 326731"/>
              <a:gd name="connsiteY4" fmla="*/ 226941 h 354670"/>
              <a:gd name="connsiteX5" fmla="*/ 217277 w 326731"/>
              <a:gd name="connsiteY5" fmla="*/ 217436 h 354670"/>
              <a:gd name="connsiteX6" fmla="*/ 190544 w 326731"/>
              <a:gd name="connsiteY6" fmla="*/ 191742 h 354670"/>
              <a:gd name="connsiteX7" fmla="*/ 222920 w 326731"/>
              <a:gd name="connsiteY7" fmla="*/ 185058 h 354670"/>
              <a:gd name="connsiteX8" fmla="*/ 252475 w 326731"/>
              <a:gd name="connsiteY8" fmla="*/ 212683 h 354670"/>
              <a:gd name="connsiteX9" fmla="*/ 272524 w 326731"/>
              <a:gd name="connsiteY9" fmla="*/ 221298 h 354670"/>
              <a:gd name="connsiteX10" fmla="*/ 291534 w 326731"/>
              <a:gd name="connsiteY10" fmla="*/ 213574 h 354670"/>
              <a:gd name="connsiteX11" fmla="*/ 300148 w 326731"/>
              <a:gd name="connsiteY11" fmla="*/ 193673 h 354670"/>
              <a:gd name="connsiteX12" fmla="*/ 291534 w 326731"/>
              <a:gd name="connsiteY12" fmla="*/ 174513 h 354670"/>
              <a:gd name="connsiteX13" fmla="*/ 252475 w 326731"/>
              <a:gd name="connsiteY13" fmla="*/ 135452 h 354670"/>
              <a:gd name="connsiteX14" fmla="*/ 232425 w 326731"/>
              <a:gd name="connsiteY14" fmla="*/ 127877 h 354670"/>
              <a:gd name="connsiteX15" fmla="*/ 226782 w 326731"/>
              <a:gd name="connsiteY15" fmla="*/ 128769 h 354670"/>
              <a:gd name="connsiteX16" fmla="*/ 162029 w 326731"/>
              <a:gd name="connsiteY16" fmla="*/ 141245 h 354670"/>
              <a:gd name="connsiteX17" fmla="*/ 141089 w 326731"/>
              <a:gd name="connsiteY17" fmla="*/ 103075 h 354670"/>
              <a:gd name="connsiteX18" fmla="*/ 169604 w 326731"/>
              <a:gd name="connsiteY18" fmla="*/ 107827 h 354670"/>
              <a:gd name="connsiteX19" fmla="*/ 173465 w 326731"/>
              <a:gd name="connsiteY19" fmla="*/ 107827 h 354670"/>
              <a:gd name="connsiteX20" fmla="*/ 187722 w 326731"/>
              <a:gd name="connsiteY20" fmla="*/ 102035 h 354670"/>
              <a:gd name="connsiteX21" fmla="*/ 227673 w 326731"/>
              <a:gd name="connsiteY21" fmla="*/ 64014 h 354670"/>
              <a:gd name="connsiteX22" fmla="*/ 233465 w 326731"/>
              <a:gd name="connsiteY22" fmla="*/ 48716 h 354670"/>
              <a:gd name="connsiteX23" fmla="*/ 227673 w 326731"/>
              <a:gd name="connsiteY23" fmla="*/ 34457 h 354670"/>
              <a:gd name="connsiteX24" fmla="*/ 212525 w 326731"/>
              <a:gd name="connsiteY24" fmla="*/ 28665 h 354670"/>
              <a:gd name="connsiteX25" fmla="*/ 198267 w 326731"/>
              <a:gd name="connsiteY25" fmla="*/ 34457 h 354670"/>
              <a:gd name="connsiteX26" fmla="*/ 198267 w 326731"/>
              <a:gd name="connsiteY26" fmla="*/ 34457 h 354670"/>
              <a:gd name="connsiteX27" fmla="*/ 165891 w 326731"/>
              <a:gd name="connsiteY27" fmla="*/ 65796 h 354670"/>
              <a:gd name="connsiteX28" fmla="*/ 117178 w 326731"/>
              <a:gd name="connsiteY28" fmla="*/ 58221 h 354670"/>
              <a:gd name="connsiteX29" fmla="*/ 113465 w 326731"/>
              <a:gd name="connsiteY29" fmla="*/ 57329 h 354670"/>
              <a:gd name="connsiteX30" fmla="*/ 103960 w 326731"/>
              <a:gd name="connsiteY30" fmla="*/ 60151 h 354670"/>
              <a:gd name="connsiteX31" fmla="*/ 108713 w 326731"/>
              <a:gd name="connsiteY31" fmla="*/ 41140 h 354670"/>
              <a:gd name="connsiteX32" fmla="*/ 97277 w 326731"/>
              <a:gd name="connsiteY32" fmla="*/ 11584 h 354670"/>
              <a:gd name="connsiteX33" fmla="*/ 97277 w 326731"/>
              <a:gd name="connsiteY33" fmla="*/ 11584 h 354670"/>
              <a:gd name="connsiteX34" fmla="*/ 68614 w 326731"/>
              <a:gd name="connsiteY34" fmla="*/ 0 h 354670"/>
              <a:gd name="connsiteX35" fmla="*/ 39059 w 326731"/>
              <a:gd name="connsiteY35" fmla="*/ 11584 h 354670"/>
              <a:gd name="connsiteX36" fmla="*/ 27624 w 326731"/>
              <a:gd name="connsiteY36" fmla="*/ 41140 h 354670"/>
              <a:gd name="connsiteX37" fmla="*/ 39059 w 326731"/>
              <a:gd name="connsiteY37" fmla="*/ 69657 h 354670"/>
              <a:gd name="connsiteX38" fmla="*/ 68614 w 326731"/>
              <a:gd name="connsiteY38" fmla="*/ 82133 h 354670"/>
              <a:gd name="connsiteX39" fmla="*/ 68614 w 326731"/>
              <a:gd name="connsiteY39" fmla="*/ 82133 h 354670"/>
              <a:gd name="connsiteX40" fmla="*/ 74406 w 326731"/>
              <a:gd name="connsiteY40" fmla="*/ 81094 h 354670"/>
              <a:gd name="connsiteX41" fmla="*/ 61931 w 326731"/>
              <a:gd name="connsiteY41" fmla="*/ 90599 h 354670"/>
              <a:gd name="connsiteX42" fmla="*/ 53465 w 326731"/>
              <a:gd name="connsiteY42" fmla="*/ 102035 h 354670"/>
              <a:gd name="connsiteX43" fmla="*/ 39059 w 326731"/>
              <a:gd name="connsiteY43" fmla="*/ 165008 h 354670"/>
              <a:gd name="connsiteX44" fmla="*/ 38168 w 326731"/>
              <a:gd name="connsiteY44" fmla="*/ 169761 h 354670"/>
              <a:gd name="connsiteX45" fmla="*/ 39059 w 326731"/>
              <a:gd name="connsiteY45" fmla="*/ 176445 h 354670"/>
              <a:gd name="connsiteX46" fmla="*/ 59109 w 326731"/>
              <a:gd name="connsiteY46" fmla="*/ 233626 h 354670"/>
              <a:gd name="connsiteX47" fmla="*/ 79158 w 326731"/>
              <a:gd name="connsiteY47" fmla="*/ 248032 h 354670"/>
              <a:gd name="connsiteX48" fmla="*/ 85842 w 326731"/>
              <a:gd name="connsiteY48" fmla="*/ 246992 h 354670"/>
              <a:gd name="connsiteX49" fmla="*/ 93416 w 326731"/>
              <a:gd name="connsiteY49" fmla="*/ 242239 h 354670"/>
              <a:gd name="connsiteX50" fmla="*/ 100099 w 326731"/>
              <a:gd name="connsiteY50" fmla="*/ 227981 h 354670"/>
              <a:gd name="connsiteX51" fmla="*/ 99207 w 326731"/>
              <a:gd name="connsiteY51" fmla="*/ 221297 h 354670"/>
              <a:gd name="connsiteX52" fmla="*/ 99207 w 326731"/>
              <a:gd name="connsiteY52" fmla="*/ 220256 h 354670"/>
              <a:gd name="connsiteX53" fmla="*/ 81088 w 326731"/>
              <a:gd name="connsiteY53" fmla="*/ 168868 h 354670"/>
              <a:gd name="connsiteX54" fmla="*/ 85841 w 326731"/>
              <a:gd name="connsiteY54" fmla="*/ 145996 h 354670"/>
              <a:gd name="connsiteX55" fmla="*/ 107672 w 326731"/>
              <a:gd name="connsiteY55" fmla="*/ 186988 h 354670"/>
              <a:gd name="connsiteX56" fmla="*/ 113465 w 326731"/>
              <a:gd name="connsiteY56" fmla="*/ 192631 h 354670"/>
              <a:gd name="connsiteX57" fmla="*/ 114356 w 326731"/>
              <a:gd name="connsiteY57" fmla="*/ 193671 h 354670"/>
              <a:gd name="connsiteX58" fmla="*/ 174356 w 326731"/>
              <a:gd name="connsiteY58" fmla="*/ 252782 h 354670"/>
              <a:gd name="connsiteX59" fmla="*/ 196336 w 326731"/>
              <a:gd name="connsiteY59" fmla="*/ 309963 h 354670"/>
              <a:gd name="connsiteX60" fmla="*/ 198267 w 326731"/>
              <a:gd name="connsiteY60" fmla="*/ 313676 h 354670"/>
              <a:gd name="connsiteX61" fmla="*/ 6683 w 326731"/>
              <a:gd name="connsiteY61" fmla="*/ 313676 h 354670"/>
              <a:gd name="connsiteX62" fmla="*/ 0 w 326731"/>
              <a:gd name="connsiteY62" fmla="*/ 320360 h 354670"/>
              <a:gd name="connsiteX63" fmla="*/ 6683 w 326731"/>
              <a:gd name="connsiteY63" fmla="*/ 327043 h 354670"/>
              <a:gd name="connsiteX64" fmla="*/ 320197 w 326731"/>
              <a:gd name="connsiteY64" fmla="*/ 327043 h 354670"/>
              <a:gd name="connsiteX65" fmla="*/ 326732 w 326731"/>
              <a:gd name="connsiteY65" fmla="*/ 320360 h 354670"/>
              <a:gd name="connsiteX66" fmla="*/ 320197 w 326731"/>
              <a:gd name="connsiteY66" fmla="*/ 313676 h 354670"/>
              <a:gd name="connsiteX67" fmla="*/ 68614 w 326731"/>
              <a:gd name="connsiteY67" fmla="*/ 67726 h 354670"/>
              <a:gd name="connsiteX68" fmla="*/ 48713 w 326731"/>
              <a:gd name="connsiteY68" fmla="*/ 60151 h 354670"/>
              <a:gd name="connsiteX69" fmla="*/ 40990 w 326731"/>
              <a:gd name="connsiteY69" fmla="*/ 41140 h 354670"/>
              <a:gd name="connsiteX70" fmla="*/ 48713 w 326731"/>
              <a:gd name="connsiteY70" fmla="*/ 21090 h 354670"/>
              <a:gd name="connsiteX71" fmla="*/ 68614 w 326731"/>
              <a:gd name="connsiteY71" fmla="*/ 13367 h 354670"/>
              <a:gd name="connsiteX72" fmla="*/ 87772 w 326731"/>
              <a:gd name="connsiteY72" fmla="*/ 21090 h 354670"/>
              <a:gd name="connsiteX73" fmla="*/ 87772 w 326731"/>
              <a:gd name="connsiteY73" fmla="*/ 21090 h 354670"/>
              <a:gd name="connsiteX74" fmla="*/ 95346 w 326731"/>
              <a:gd name="connsiteY74" fmla="*/ 41140 h 354670"/>
              <a:gd name="connsiteX75" fmla="*/ 87772 w 326731"/>
              <a:gd name="connsiteY75" fmla="*/ 60151 h 354670"/>
              <a:gd name="connsiteX76" fmla="*/ 68614 w 326731"/>
              <a:gd name="connsiteY76" fmla="*/ 67726 h 354670"/>
              <a:gd name="connsiteX77" fmla="*/ 232425 w 326731"/>
              <a:gd name="connsiteY77" fmla="*/ 309966 h 354670"/>
              <a:gd name="connsiteX78" fmla="*/ 227673 w 326731"/>
              <a:gd name="connsiteY78" fmla="*/ 312787 h 354670"/>
              <a:gd name="connsiteX79" fmla="*/ 222920 w 326731"/>
              <a:gd name="connsiteY79" fmla="*/ 313679 h 354670"/>
              <a:gd name="connsiteX80" fmla="*/ 209702 w 326731"/>
              <a:gd name="connsiteY80" fmla="*/ 305214 h 354670"/>
              <a:gd name="connsiteX81" fmla="*/ 185792 w 326731"/>
              <a:gd name="connsiteY81" fmla="*/ 246102 h 354670"/>
              <a:gd name="connsiteX82" fmla="*/ 184901 w 326731"/>
              <a:gd name="connsiteY82" fmla="*/ 244171 h 354670"/>
              <a:gd name="connsiteX83" fmla="*/ 123862 w 326731"/>
              <a:gd name="connsiteY83" fmla="*/ 184020 h 354670"/>
              <a:gd name="connsiteX84" fmla="*/ 122970 w 326731"/>
              <a:gd name="connsiteY84" fmla="*/ 184020 h 354670"/>
              <a:gd name="connsiteX85" fmla="*/ 120149 w 326731"/>
              <a:gd name="connsiteY85" fmla="*/ 179267 h 354670"/>
              <a:gd name="connsiteX86" fmla="*/ 89554 w 326731"/>
              <a:gd name="connsiteY86" fmla="*/ 124017 h 354670"/>
              <a:gd name="connsiteX87" fmla="*/ 82871 w 326731"/>
              <a:gd name="connsiteY87" fmla="*/ 121195 h 354670"/>
              <a:gd name="connsiteX88" fmla="*/ 77228 w 326731"/>
              <a:gd name="connsiteY88" fmla="*/ 125948 h 354670"/>
              <a:gd name="connsiteX89" fmla="*/ 66683 w 326731"/>
              <a:gd name="connsiteY89" fmla="*/ 167831 h 354670"/>
              <a:gd name="connsiteX90" fmla="*/ 67722 w 326731"/>
              <a:gd name="connsiteY90" fmla="*/ 171692 h 354670"/>
              <a:gd name="connsiteX91" fmla="*/ 85841 w 326731"/>
              <a:gd name="connsiteY91" fmla="*/ 225012 h 354670"/>
              <a:gd name="connsiteX92" fmla="*/ 85841 w 326731"/>
              <a:gd name="connsiteY92" fmla="*/ 226051 h 354670"/>
              <a:gd name="connsiteX93" fmla="*/ 85841 w 326731"/>
              <a:gd name="connsiteY93" fmla="*/ 227982 h 354670"/>
              <a:gd name="connsiteX94" fmla="*/ 83910 w 326731"/>
              <a:gd name="connsiteY94" fmla="*/ 232734 h 354670"/>
              <a:gd name="connsiteX95" fmla="*/ 81088 w 326731"/>
              <a:gd name="connsiteY95" fmla="*/ 233626 h 354670"/>
              <a:gd name="connsiteX96" fmla="*/ 79158 w 326731"/>
              <a:gd name="connsiteY96" fmla="*/ 234665 h 354670"/>
              <a:gd name="connsiteX97" fmla="*/ 72475 w 326731"/>
              <a:gd name="connsiteY97" fmla="*/ 229913 h 354670"/>
              <a:gd name="connsiteX98" fmla="*/ 52425 w 326731"/>
              <a:gd name="connsiteY98" fmla="*/ 171692 h 354670"/>
              <a:gd name="connsiteX99" fmla="*/ 52425 w 326731"/>
              <a:gd name="connsiteY99" fmla="*/ 169761 h 354670"/>
              <a:gd name="connsiteX100" fmla="*/ 52425 w 326731"/>
              <a:gd name="connsiteY100" fmla="*/ 167830 h 354670"/>
              <a:gd name="connsiteX101" fmla="*/ 66683 w 326731"/>
              <a:gd name="connsiteY101" fmla="*/ 105897 h 354670"/>
              <a:gd name="connsiteX102" fmla="*/ 69653 w 326731"/>
              <a:gd name="connsiteY102" fmla="*/ 101144 h 354670"/>
              <a:gd name="connsiteX103" fmla="*/ 109603 w 326731"/>
              <a:gd name="connsiteY103" fmla="*/ 72479 h 354670"/>
              <a:gd name="connsiteX104" fmla="*/ 113465 w 326731"/>
              <a:gd name="connsiteY104" fmla="*/ 71587 h 354670"/>
              <a:gd name="connsiteX105" fmla="*/ 115395 w 326731"/>
              <a:gd name="connsiteY105" fmla="*/ 71587 h 354670"/>
              <a:gd name="connsiteX106" fmla="*/ 166781 w 326731"/>
              <a:gd name="connsiteY106" fmla="*/ 80202 h 354670"/>
              <a:gd name="connsiteX107" fmla="*/ 173464 w 326731"/>
              <a:gd name="connsiteY107" fmla="*/ 78271 h 354670"/>
              <a:gd name="connsiteX108" fmla="*/ 207771 w 326731"/>
              <a:gd name="connsiteY108" fmla="*/ 43962 h 354670"/>
              <a:gd name="connsiteX109" fmla="*/ 207771 w 326731"/>
              <a:gd name="connsiteY109" fmla="*/ 43962 h 354670"/>
              <a:gd name="connsiteX110" fmla="*/ 212524 w 326731"/>
              <a:gd name="connsiteY110" fmla="*/ 42031 h 354670"/>
              <a:gd name="connsiteX111" fmla="*/ 218167 w 326731"/>
              <a:gd name="connsiteY111" fmla="*/ 43962 h 354670"/>
              <a:gd name="connsiteX112" fmla="*/ 220098 w 326731"/>
              <a:gd name="connsiteY112" fmla="*/ 48715 h 354670"/>
              <a:gd name="connsiteX113" fmla="*/ 218167 w 326731"/>
              <a:gd name="connsiteY113" fmla="*/ 53468 h 354670"/>
              <a:gd name="connsiteX114" fmla="*/ 178217 w 326731"/>
              <a:gd name="connsiteY114" fmla="*/ 92529 h 354670"/>
              <a:gd name="connsiteX115" fmla="*/ 173464 w 326731"/>
              <a:gd name="connsiteY115" fmla="*/ 94460 h 354670"/>
              <a:gd name="connsiteX116" fmla="*/ 171534 w 326731"/>
              <a:gd name="connsiteY116" fmla="*/ 94460 h 354670"/>
              <a:gd name="connsiteX117" fmla="*/ 129653 w 326731"/>
              <a:gd name="connsiteY117" fmla="*/ 87776 h 354670"/>
              <a:gd name="connsiteX118" fmla="*/ 122970 w 326731"/>
              <a:gd name="connsiteY118" fmla="*/ 90598 h 354670"/>
              <a:gd name="connsiteX119" fmla="*/ 122970 w 326731"/>
              <a:gd name="connsiteY119" fmla="*/ 97282 h 354670"/>
              <a:gd name="connsiteX120" fmla="*/ 152524 w 326731"/>
              <a:gd name="connsiteY120" fmla="*/ 151641 h 354670"/>
              <a:gd name="connsiteX121" fmla="*/ 160098 w 326731"/>
              <a:gd name="connsiteY121" fmla="*/ 155502 h 354670"/>
              <a:gd name="connsiteX122" fmla="*/ 229603 w 326731"/>
              <a:gd name="connsiteY122" fmla="*/ 142135 h 354670"/>
              <a:gd name="connsiteX123" fmla="*/ 232425 w 326731"/>
              <a:gd name="connsiteY123" fmla="*/ 141243 h 354670"/>
              <a:gd name="connsiteX124" fmla="*/ 242969 w 326731"/>
              <a:gd name="connsiteY124" fmla="*/ 145996 h 354670"/>
              <a:gd name="connsiteX125" fmla="*/ 282029 w 326731"/>
              <a:gd name="connsiteY125" fmla="*/ 184018 h 354670"/>
              <a:gd name="connsiteX126" fmla="*/ 285890 w 326731"/>
              <a:gd name="connsiteY126" fmla="*/ 193672 h 354670"/>
              <a:gd name="connsiteX127" fmla="*/ 282029 w 326731"/>
              <a:gd name="connsiteY127" fmla="*/ 203177 h 354670"/>
              <a:gd name="connsiteX128" fmla="*/ 272524 w 326731"/>
              <a:gd name="connsiteY128" fmla="*/ 206890 h 354670"/>
              <a:gd name="connsiteX129" fmla="*/ 261979 w 326731"/>
              <a:gd name="connsiteY129" fmla="*/ 203177 h 354670"/>
              <a:gd name="connsiteX130" fmla="*/ 230643 w 326731"/>
              <a:gd name="connsiteY130" fmla="*/ 172581 h 354670"/>
              <a:gd name="connsiteX131" fmla="*/ 223959 w 326731"/>
              <a:gd name="connsiteY131" fmla="*/ 170799 h 354670"/>
              <a:gd name="connsiteX132" fmla="*/ 174355 w 326731"/>
              <a:gd name="connsiteY132" fmla="*/ 180305 h 354670"/>
              <a:gd name="connsiteX133" fmla="*/ 169603 w 326731"/>
              <a:gd name="connsiteY133" fmla="*/ 185057 h 354670"/>
              <a:gd name="connsiteX134" fmla="*/ 171534 w 326731"/>
              <a:gd name="connsiteY134" fmla="*/ 191741 h 354670"/>
              <a:gd name="connsiteX135" fmla="*/ 207771 w 326731"/>
              <a:gd name="connsiteY135" fmla="*/ 227980 h 354670"/>
              <a:gd name="connsiteX136" fmla="*/ 211484 w 326731"/>
              <a:gd name="connsiteY136" fmla="*/ 232733 h 354670"/>
              <a:gd name="connsiteX137" fmla="*/ 236286 w 326731"/>
              <a:gd name="connsiteY137" fmla="*/ 294667 h 354670"/>
              <a:gd name="connsiteX138" fmla="*/ 237325 w 326731"/>
              <a:gd name="connsiteY138" fmla="*/ 299419 h 354670"/>
              <a:gd name="connsiteX139" fmla="*/ 232424 w 326731"/>
              <a:gd name="connsiteY139" fmla="*/ 309964 h 354670"/>
              <a:gd name="connsiteX140" fmla="*/ 183861 w 326731"/>
              <a:gd name="connsiteY140" fmla="*/ 340413 h 354670"/>
              <a:gd name="connsiteX141" fmla="*/ 34307 w 326731"/>
              <a:gd name="connsiteY141" fmla="*/ 340413 h 354670"/>
              <a:gd name="connsiteX142" fmla="*/ 27624 w 326731"/>
              <a:gd name="connsiteY142" fmla="*/ 348135 h 354670"/>
              <a:gd name="connsiteX143" fmla="*/ 34307 w 326731"/>
              <a:gd name="connsiteY143" fmla="*/ 354670 h 354670"/>
              <a:gd name="connsiteX144" fmla="*/ 183861 w 326731"/>
              <a:gd name="connsiteY144" fmla="*/ 354670 h 354670"/>
              <a:gd name="connsiteX145" fmla="*/ 190544 w 326731"/>
              <a:gd name="connsiteY145" fmla="*/ 348135 h 354670"/>
              <a:gd name="connsiteX146" fmla="*/ 183861 w 326731"/>
              <a:gd name="connsiteY146" fmla="*/ 340413 h 354670"/>
              <a:gd name="connsiteX147" fmla="*/ 163960 w 326731"/>
              <a:gd name="connsiteY147" fmla="*/ 299420 h 354670"/>
              <a:gd name="connsiteX148" fmla="*/ 170643 w 326731"/>
              <a:gd name="connsiteY148" fmla="*/ 292737 h 354670"/>
              <a:gd name="connsiteX149" fmla="*/ 163960 w 326731"/>
              <a:gd name="connsiteY149" fmla="*/ 286053 h 354670"/>
              <a:gd name="connsiteX150" fmla="*/ 108713 w 326731"/>
              <a:gd name="connsiteY150" fmla="*/ 286053 h 354670"/>
              <a:gd name="connsiteX151" fmla="*/ 102030 w 326731"/>
              <a:gd name="connsiteY151" fmla="*/ 292737 h 354670"/>
              <a:gd name="connsiteX152" fmla="*/ 108713 w 326731"/>
              <a:gd name="connsiteY152" fmla="*/ 299420 h 354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326731" h="354670">
                <a:moveTo>
                  <a:pt x="320197" y="313679"/>
                </a:moveTo>
                <a:cubicBezTo>
                  <a:pt x="246831" y="313679"/>
                  <a:pt x="246831" y="313679"/>
                  <a:pt x="246831" y="313679"/>
                </a:cubicBezTo>
                <a:cubicBezTo>
                  <a:pt x="248762" y="308926"/>
                  <a:pt x="250544" y="305213"/>
                  <a:pt x="250544" y="299420"/>
                </a:cubicBezTo>
                <a:cubicBezTo>
                  <a:pt x="250544" y="296598"/>
                  <a:pt x="249652" y="292737"/>
                  <a:pt x="248762" y="289915"/>
                </a:cubicBezTo>
                <a:cubicBezTo>
                  <a:pt x="223960" y="226941"/>
                  <a:pt x="223960" y="226941"/>
                  <a:pt x="223960" y="226941"/>
                </a:cubicBezTo>
                <a:cubicBezTo>
                  <a:pt x="222029" y="224120"/>
                  <a:pt x="220099" y="220258"/>
                  <a:pt x="217277" y="217436"/>
                </a:cubicBezTo>
                <a:cubicBezTo>
                  <a:pt x="190544" y="191742"/>
                  <a:pt x="190544" y="191742"/>
                  <a:pt x="190544" y="191742"/>
                </a:cubicBezTo>
                <a:cubicBezTo>
                  <a:pt x="222920" y="185058"/>
                  <a:pt x="222920" y="185058"/>
                  <a:pt x="222920" y="185058"/>
                </a:cubicBezTo>
                <a:cubicBezTo>
                  <a:pt x="252475" y="212683"/>
                  <a:pt x="252475" y="212683"/>
                  <a:pt x="252475" y="212683"/>
                </a:cubicBezTo>
                <a:cubicBezTo>
                  <a:pt x="258267" y="218476"/>
                  <a:pt x="264950" y="221298"/>
                  <a:pt x="272524" y="221298"/>
                </a:cubicBezTo>
                <a:cubicBezTo>
                  <a:pt x="279207" y="221298"/>
                  <a:pt x="285891" y="218476"/>
                  <a:pt x="291534" y="213574"/>
                </a:cubicBezTo>
                <a:cubicBezTo>
                  <a:pt x="297326" y="207931"/>
                  <a:pt x="300148" y="201247"/>
                  <a:pt x="300148" y="193673"/>
                </a:cubicBezTo>
                <a:cubicBezTo>
                  <a:pt x="300148" y="186989"/>
                  <a:pt x="297326" y="179266"/>
                  <a:pt x="291534" y="174513"/>
                </a:cubicBezTo>
                <a:cubicBezTo>
                  <a:pt x="252475" y="135452"/>
                  <a:pt x="252475" y="135452"/>
                  <a:pt x="252475" y="135452"/>
                </a:cubicBezTo>
                <a:cubicBezTo>
                  <a:pt x="246831" y="130699"/>
                  <a:pt x="240148" y="127877"/>
                  <a:pt x="232425" y="127877"/>
                </a:cubicBezTo>
                <a:cubicBezTo>
                  <a:pt x="230643" y="127877"/>
                  <a:pt x="228713" y="127877"/>
                  <a:pt x="226782" y="128769"/>
                </a:cubicBezTo>
                <a:cubicBezTo>
                  <a:pt x="162029" y="141245"/>
                  <a:pt x="162029" y="141245"/>
                  <a:pt x="162029" y="141245"/>
                </a:cubicBezTo>
                <a:cubicBezTo>
                  <a:pt x="141089" y="103075"/>
                  <a:pt x="141089" y="103075"/>
                  <a:pt x="141089" y="103075"/>
                </a:cubicBezTo>
                <a:cubicBezTo>
                  <a:pt x="169604" y="107827"/>
                  <a:pt x="169604" y="107827"/>
                  <a:pt x="169604" y="107827"/>
                </a:cubicBezTo>
                <a:cubicBezTo>
                  <a:pt x="170643" y="107827"/>
                  <a:pt x="171534" y="107827"/>
                  <a:pt x="173465" y="107827"/>
                </a:cubicBezTo>
                <a:cubicBezTo>
                  <a:pt x="178218" y="107827"/>
                  <a:pt x="183861" y="105897"/>
                  <a:pt x="187722" y="102035"/>
                </a:cubicBezTo>
                <a:cubicBezTo>
                  <a:pt x="227673" y="64014"/>
                  <a:pt x="227673" y="64014"/>
                  <a:pt x="227673" y="64014"/>
                </a:cubicBezTo>
                <a:cubicBezTo>
                  <a:pt x="231534" y="60152"/>
                  <a:pt x="233465" y="54360"/>
                  <a:pt x="233465" y="48716"/>
                </a:cubicBezTo>
                <a:cubicBezTo>
                  <a:pt x="233465" y="43963"/>
                  <a:pt x="231534" y="38171"/>
                  <a:pt x="227673" y="34457"/>
                </a:cubicBezTo>
                <a:cubicBezTo>
                  <a:pt x="222920" y="30596"/>
                  <a:pt x="218168" y="28665"/>
                  <a:pt x="212525" y="28665"/>
                </a:cubicBezTo>
                <a:cubicBezTo>
                  <a:pt x="207772" y="28665"/>
                  <a:pt x="201980" y="30596"/>
                  <a:pt x="198267" y="34457"/>
                </a:cubicBezTo>
                <a:cubicBezTo>
                  <a:pt x="198267" y="34457"/>
                  <a:pt x="198267" y="34457"/>
                  <a:pt x="198267" y="34457"/>
                </a:cubicBezTo>
                <a:cubicBezTo>
                  <a:pt x="165891" y="65796"/>
                  <a:pt x="165891" y="65796"/>
                  <a:pt x="165891" y="65796"/>
                </a:cubicBezTo>
                <a:cubicBezTo>
                  <a:pt x="117178" y="58221"/>
                  <a:pt x="117178" y="58221"/>
                  <a:pt x="117178" y="58221"/>
                </a:cubicBezTo>
                <a:cubicBezTo>
                  <a:pt x="116286" y="57329"/>
                  <a:pt x="115396" y="57329"/>
                  <a:pt x="113465" y="57329"/>
                </a:cubicBezTo>
                <a:cubicBezTo>
                  <a:pt x="110495" y="57329"/>
                  <a:pt x="106782" y="58221"/>
                  <a:pt x="103960" y="60151"/>
                </a:cubicBezTo>
                <a:cubicBezTo>
                  <a:pt x="107673" y="53468"/>
                  <a:pt x="108713" y="47675"/>
                  <a:pt x="108713" y="41140"/>
                </a:cubicBezTo>
                <a:cubicBezTo>
                  <a:pt x="108713" y="30595"/>
                  <a:pt x="104851" y="20050"/>
                  <a:pt x="97277" y="11584"/>
                </a:cubicBezTo>
                <a:cubicBezTo>
                  <a:pt x="97277" y="11584"/>
                  <a:pt x="97277" y="11584"/>
                  <a:pt x="97277" y="11584"/>
                </a:cubicBezTo>
                <a:cubicBezTo>
                  <a:pt x="89554" y="3861"/>
                  <a:pt x="78119" y="0"/>
                  <a:pt x="68614" y="0"/>
                </a:cubicBezTo>
                <a:cubicBezTo>
                  <a:pt x="58218" y="0"/>
                  <a:pt x="47673" y="3861"/>
                  <a:pt x="39059" y="11584"/>
                </a:cubicBezTo>
                <a:cubicBezTo>
                  <a:pt x="31485" y="20050"/>
                  <a:pt x="27624" y="30595"/>
                  <a:pt x="27624" y="41140"/>
                </a:cubicBezTo>
                <a:cubicBezTo>
                  <a:pt x="27624" y="51537"/>
                  <a:pt x="31485" y="62082"/>
                  <a:pt x="39059" y="69657"/>
                </a:cubicBezTo>
                <a:cubicBezTo>
                  <a:pt x="47673" y="77231"/>
                  <a:pt x="58218" y="82133"/>
                  <a:pt x="68614" y="82133"/>
                </a:cubicBezTo>
                <a:cubicBezTo>
                  <a:pt x="68614" y="82133"/>
                  <a:pt x="68614" y="82133"/>
                  <a:pt x="68614" y="82133"/>
                </a:cubicBezTo>
                <a:cubicBezTo>
                  <a:pt x="70544" y="82133"/>
                  <a:pt x="72475" y="81094"/>
                  <a:pt x="74406" y="81094"/>
                </a:cubicBezTo>
                <a:cubicBezTo>
                  <a:pt x="61931" y="90599"/>
                  <a:pt x="61931" y="90599"/>
                  <a:pt x="61931" y="90599"/>
                </a:cubicBezTo>
                <a:cubicBezTo>
                  <a:pt x="58218" y="93569"/>
                  <a:pt x="55248" y="97282"/>
                  <a:pt x="53465" y="102035"/>
                </a:cubicBezTo>
                <a:cubicBezTo>
                  <a:pt x="39059" y="165008"/>
                  <a:pt x="39059" y="165008"/>
                  <a:pt x="39059" y="165008"/>
                </a:cubicBezTo>
                <a:cubicBezTo>
                  <a:pt x="38168" y="166939"/>
                  <a:pt x="38168" y="167830"/>
                  <a:pt x="38168" y="169761"/>
                </a:cubicBezTo>
                <a:cubicBezTo>
                  <a:pt x="38168" y="171692"/>
                  <a:pt x="39059" y="174514"/>
                  <a:pt x="39059" y="176445"/>
                </a:cubicBezTo>
                <a:cubicBezTo>
                  <a:pt x="59109" y="233626"/>
                  <a:pt x="59109" y="233626"/>
                  <a:pt x="59109" y="233626"/>
                </a:cubicBezTo>
                <a:cubicBezTo>
                  <a:pt x="61931" y="242240"/>
                  <a:pt x="70544" y="248032"/>
                  <a:pt x="79158" y="248032"/>
                </a:cubicBezTo>
                <a:cubicBezTo>
                  <a:pt x="81089" y="248032"/>
                  <a:pt x="83911" y="248032"/>
                  <a:pt x="85842" y="246992"/>
                </a:cubicBezTo>
                <a:cubicBezTo>
                  <a:pt x="88663" y="246100"/>
                  <a:pt x="91485" y="244170"/>
                  <a:pt x="93416" y="242239"/>
                </a:cubicBezTo>
                <a:cubicBezTo>
                  <a:pt x="97277" y="238377"/>
                  <a:pt x="100099" y="232733"/>
                  <a:pt x="100099" y="227981"/>
                </a:cubicBezTo>
                <a:cubicBezTo>
                  <a:pt x="100099" y="225010"/>
                  <a:pt x="99207" y="223228"/>
                  <a:pt x="99207" y="221297"/>
                </a:cubicBezTo>
                <a:cubicBezTo>
                  <a:pt x="99207" y="221297"/>
                  <a:pt x="99207" y="220256"/>
                  <a:pt x="99207" y="220256"/>
                </a:cubicBezTo>
                <a:cubicBezTo>
                  <a:pt x="81088" y="168868"/>
                  <a:pt x="81088" y="168868"/>
                  <a:pt x="81088" y="168868"/>
                </a:cubicBezTo>
                <a:cubicBezTo>
                  <a:pt x="85841" y="145996"/>
                  <a:pt x="85841" y="145996"/>
                  <a:pt x="85841" y="145996"/>
                </a:cubicBezTo>
                <a:cubicBezTo>
                  <a:pt x="107672" y="186988"/>
                  <a:pt x="107672" y="186988"/>
                  <a:pt x="107672" y="186988"/>
                </a:cubicBezTo>
                <a:cubicBezTo>
                  <a:pt x="109603" y="188918"/>
                  <a:pt x="111534" y="190701"/>
                  <a:pt x="113465" y="192631"/>
                </a:cubicBezTo>
                <a:cubicBezTo>
                  <a:pt x="113465" y="192631"/>
                  <a:pt x="113465" y="193671"/>
                  <a:pt x="114356" y="193671"/>
                </a:cubicBezTo>
                <a:cubicBezTo>
                  <a:pt x="174356" y="252782"/>
                  <a:pt x="174356" y="252782"/>
                  <a:pt x="174356" y="252782"/>
                </a:cubicBezTo>
                <a:cubicBezTo>
                  <a:pt x="196336" y="309963"/>
                  <a:pt x="196336" y="309963"/>
                  <a:pt x="196336" y="309963"/>
                </a:cubicBezTo>
                <a:cubicBezTo>
                  <a:pt x="197228" y="310855"/>
                  <a:pt x="198267" y="312785"/>
                  <a:pt x="198267" y="313676"/>
                </a:cubicBezTo>
                <a:cubicBezTo>
                  <a:pt x="6683" y="313676"/>
                  <a:pt x="6683" y="313676"/>
                  <a:pt x="6683" y="313676"/>
                </a:cubicBezTo>
                <a:cubicBezTo>
                  <a:pt x="2970" y="313676"/>
                  <a:pt x="0" y="316647"/>
                  <a:pt x="0" y="320360"/>
                </a:cubicBezTo>
                <a:cubicBezTo>
                  <a:pt x="0" y="324222"/>
                  <a:pt x="2970" y="327043"/>
                  <a:pt x="6683" y="327043"/>
                </a:cubicBezTo>
                <a:cubicBezTo>
                  <a:pt x="320197" y="327043"/>
                  <a:pt x="320197" y="327043"/>
                  <a:pt x="320197" y="327043"/>
                </a:cubicBezTo>
                <a:cubicBezTo>
                  <a:pt x="323910" y="327043"/>
                  <a:pt x="326732" y="324222"/>
                  <a:pt x="326732" y="320360"/>
                </a:cubicBezTo>
                <a:cubicBezTo>
                  <a:pt x="326732" y="316647"/>
                  <a:pt x="323910" y="313676"/>
                  <a:pt x="320197" y="313676"/>
                </a:cubicBezTo>
                <a:close/>
                <a:moveTo>
                  <a:pt x="68614" y="67726"/>
                </a:moveTo>
                <a:cubicBezTo>
                  <a:pt x="61040" y="67726"/>
                  <a:pt x="54356" y="64904"/>
                  <a:pt x="48713" y="60151"/>
                </a:cubicBezTo>
                <a:cubicBezTo>
                  <a:pt x="43960" y="54359"/>
                  <a:pt x="40990" y="47675"/>
                  <a:pt x="40990" y="41140"/>
                </a:cubicBezTo>
                <a:cubicBezTo>
                  <a:pt x="40990" y="33417"/>
                  <a:pt x="43960" y="26734"/>
                  <a:pt x="48713" y="21090"/>
                </a:cubicBezTo>
                <a:cubicBezTo>
                  <a:pt x="54356" y="16337"/>
                  <a:pt x="61040" y="13367"/>
                  <a:pt x="68614" y="13367"/>
                </a:cubicBezTo>
                <a:cubicBezTo>
                  <a:pt x="75297" y="13367"/>
                  <a:pt x="81980" y="16337"/>
                  <a:pt x="87772" y="21090"/>
                </a:cubicBezTo>
                <a:cubicBezTo>
                  <a:pt x="87772" y="21090"/>
                  <a:pt x="87772" y="21090"/>
                  <a:pt x="87772" y="21090"/>
                </a:cubicBezTo>
                <a:cubicBezTo>
                  <a:pt x="92525" y="26734"/>
                  <a:pt x="95346" y="33417"/>
                  <a:pt x="95346" y="41140"/>
                </a:cubicBezTo>
                <a:cubicBezTo>
                  <a:pt x="95346" y="47675"/>
                  <a:pt x="92525" y="54359"/>
                  <a:pt x="87772" y="60151"/>
                </a:cubicBezTo>
                <a:cubicBezTo>
                  <a:pt x="81980" y="64904"/>
                  <a:pt x="75297" y="67726"/>
                  <a:pt x="68614" y="67726"/>
                </a:cubicBezTo>
                <a:close/>
                <a:moveTo>
                  <a:pt x="232425" y="309966"/>
                </a:moveTo>
                <a:cubicBezTo>
                  <a:pt x="231534" y="310857"/>
                  <a:pt x="229604" y="311896"/>
                  <a:pt x="227673" y="312787"/>
                </a:cubicBezTo>
                <a:cubicBezTo>
                  <a:pt x="225891" y="312787"/>
                  <a:pt x="223960" y="313679"/>
                  <a:pt x="222920" y="313679"/>
                </a:cubicBezTo>
                <a:cubicBezTo>
                  <a:pt x="217277" y="313679"/>
                  <a:pt x="211485" y="309967"/>
                  <a:pt x="209702" y="305214"/>
                </a:cubicBezTo>
                <a:cubicBezTo>
                  <a:pt x="185792" y="246102"/>
                  <a:pt x="185792" y="246102"/>
                  <a:pt x="185792" y="246102"/>
                </a:cubicBezTo>
                <a:cubicBezTo>
                  <a:pt x="184901" y="244171"/>
                  <a:pt x="184901" y="244171"/>
                  <a:pt x="184901" y="244171"/>
                </a:cubicBezTo>
                <a:cubicBezTo>
                  <a:pt x="123862" y="184020"/>
                  <a:pt x="123862" y="184020"/>
                  <a:pt x="123862" y="184020"/>
                </a:cubicBezTo>
                <a:cubicBezTo>
                  <a:pt x="123862" y="184020"/>
                  <a:pt x="122970" y="184020"/>
                  <a:pt x="122970" y="184020"/>
                </a:cubicBezTo>
                <a:cubicBezTo>
                  <a:pt x="121931" y="182237"/>
                  <a:pt x="121039" y="181198"/>
                  <a:pt x="120149" y="179267"/>
                </a:cubicBezTo>
                <a:cubicBezTo>
                  <a:pt x="89554" y="124017"/>
                  <a:pt x="89554" y="124017"/>
                  <a:pt x="89554" y="124017"/>
                </a:cubicBezTo>
                <a:cubicBezTo>
                  <a:pt x="88662" y="122086"/>
                  <a:pt x="85842" y="120155"/>
                  <a:pt x="82871" y="121195"/>
                </a:cubicBezTo>
                <a:cubicBezTo>
                  <a:pt x="80049" y="121195"/>
                  <a:pt x="77228" y="123126"/>
                  <a:pt x="77228" y="125948"/>
                </a:cubicBezTo>
                <a:cubicBezTo>
                  <a:pt x="66683" y="167831"/>
                  <a:pt x="66683" y="167831"/>
                  <a:pt x="66683" y="167831"/>
                </a:cubicBezTo>
                <a:cubicBezTo>
                  <a:pt x="66683" y="168872"/>
                  <a:pt x="66683" y="169762"/>
                  <a:pt x="67722" y="171692"/>
                </a:cubicBezTo>
                <a:cubicBezTo>
                  <a:pt x="85841" y="225012"/>
                  <a:pt x="85841" y="225012"/>
                  <a:pt x="85841" y="225012"/>
                </a:cubicBezTo>
                <a:cubicBezTo>
                  <a:pt x="85841" y="225012"/>
                  <a:pt x="85841" y="226051"/>
                  <a:pt x="85841" y="226051"/>
                </a:cubicBezTo>
                <a:cubicBezTo>
                  <a:pt x="85841" y="226051"/>
                  <a:pt x="85841" y="226943"/>
                  <a:pt x="85841" y="227982"/>
                </a:cubicBezTo>
                <a:cubicBezTo>
                  <a:pt x="85841" y="228873"/>
                  <a:pt x="85841" y="230804"/>
                  <a:pt x="83910" y="232734"/>
                </a:cubicBezTo>
                <a:cubicBezTo>
                  <a:pt x="83910" y="232734"/>
                  <a:pt x="82869" y="233626"/>
                  <a:pt x="81088" y="233626"/>
                </a:cubicBezTo>
                <a:cubicBezTo>
                  <a:pt x="81088" y="234665"/>
                  <a:pt x="80049" y="234665"/>
                  <a:pt x="79158" y="234665"/>
                </a:cubicBezTo>
                <a:cubicBezTo>
                  <a:pt x="76336" y="234665"/>
                  <a:pt x="73366" y="232734"/>
                  <a:pt x="72475" y="229913"/>
                </a:cubicBezTo>
                <a:cubicBezTo>
                  <a:pt x="52425" y="171692"/>
                  <a:pt x="52425" y="171692"/>
                  <a:pt x="52425" y="171692"/>
                </a:cubicBezTo>
                <a:cubicBezTo>
                  <a:pt x="52425" y="170800"/>
                  <a:pt x="52425" y="170800"/>
                  <a:pt x="52425" y="169761"/>
                </a:cubicBezTo>
                <a:cubicBezTo>
                  <a:pt x="52425" y="168869"/>
                  <a:pt x="52425" y="168869"/>
                  <a:pt x="52425" y="167830"/>
                </a:cubicBezTo>
                <a:cubicBezTo>
                  <a:pt x="66683" y="105897"/>
                  <a:pt x="66683" y="105897"/>
                  <a:pt x="66683" y="105897"/>
                </a:cubicBezTo>
                <a:cubicBezTo>
                  <a:pt x="67722" y="103966"/>
                  <a:pt x="68613" y="102035"/>
                  <a:pt x="69653" y="101144"/>
                </a:cubicBezTo>
                <a:cubicBezTo>
                  <a:pt x="109603" y="72479"/>
                  <a:pt x="109603" y="72479"/>
                  <a:pt x="109603" y="72479"/>
                </a:cubicBezTo>
                <a:cubicBezTo>
                  <a:pt x="110495" y="71587"/>
                  <a:pt x="112425" y="71587"/>
                  <a:pt x="113465" y="71587"/>
                </a:cubicBezTo>
                <a:cubicBezTo>
                  <a:pt x="114356" y="71587"/>
                  <a:pt x="114356" y="71587"/>
                  <a:pt x="115395" y="71587"/>
                </a:cubicBezTo>
                <a:cubicBezTo>
                  <a:pt x="166781" y="80202"/>
                  <a:pt x="166781" y="80202"/>
                  <a:pt x="166781" y="80202"/>
                </a:cubicBezTo>
                <a:cubicBezTo>
                  <a:pt x="169603" y="80202"/>
                  <a:pt x="171534" y="79161"/>
                  <a:pt x="173464" y="78271"/>
                </a:cubicBezTo>
                <a:cubicBezTo>
                  <a:pt x="207771" y="43962"/>
                  <a:pt x="207771" y="43962"/>
                  <a:pt x="207771" y="43962"/>
                </a:cubicBezTo>
                <a:cubicBezTo>
                  <a:pt x="207771" y="43962"/>
                  <a:pt x="207771" y="43962"/>
                  <a:pt x="207771" y="43962"/>
                </a:cubicBezTo>
                <a:cubicBezTo>
                  <a:pt x="208663" y="42921"/>
                  <a:pt x="210593" y="42031"/>
                  <a:pt x="212524" y="42031"/>
                </a:cubicBezTo>
                <a:cubicBezTo>
                  <a:pt x="214455" y="42031"/>
                  <a:pt x="216237" y="42923"/>
                  <a:pt x="218167" y="43962"/>
                </a:cubicBezTo>
                <a:cubicBezTo>
                  <a:pt x="219206" y="45893"/>
                  <a:pt x="220098" y="47675"/>
                  <a:pt x="220098" y="48715"/>
                </a:cubicBezTo>
                <a:cubicBezTo>
                  <a:pt x="220098" y="50646"/>
                  <a:pt x="219206" y="52576"/>
                  <a:pt x="218167" y="53468"/>
                </a:cubicBezTo>
                <a:cubicBezTo>
                  <a:pt x="178217" y="92529"/>
                  <a:pt x="178217" y="92529"/>
                  <a:pt x="178217" y="92529"/>
                </a:cubicBezTo>
                <a:cubicBezTo>
                  <a:pt x="177178" y="93570"/>
                  <a:pt x="175395" y="94460"/>
                  <a:pt x="173464" y="94460"/>
                </a:cubicBezTo>
                <a:cubicBezTo>
                  <a:pt x="172424" y="94460"/>
                  <a:pt x="172424" y="94460"/>
                  <a:pt x="171534" y="94460"/>
                </a:cubicBezTo>
                <a:cubicBezTo>
                  <a:pt x="129653" y="87776"/>
                  <a:pt x="129653" y="87776"/>
                  <a:pt x="129653" y="87776"/>
                </a:cubicBezTo>
                <a:cubicBezTo>
                  <a:pt x="126831" y="86886"/>
                  <a:pt x="124900" y="87776"/>
                  <a:pt x="122970" y="90598"/>
                </a:cubicBezTo>
                <a:cubicBezTo>
                  <a:pt x="121931" y="92529"/>
                  <a:pt x="121039" y="95351"/>
                  <a:pt x="122970" y="97282"/>
                </a:cubicBezTo>
                <a:cubicBezTo>
                  <a:pt x="152524" y="151641"/>
                  <a:pt x="152524" y="151641"/>
                  <a:pt x="152524" y="151641"/>
                </a:cubicBezTo>
                <a:cubicBezTo>
                  <a:pt x="153416" y="154463"/>
                  <a:pt x="157276" y="156393"/>
                  <a:pt x="160098" y="155502"/>
                </a:cubicBezTo>
                <a:cubicBezTo>
                  <a:pt x="229603" y="142135"/>
                  <a:pt x="229603" y="142135"/>
                  <a:pt x="229603" y="142135"/>
                </a:cubicBezTo>
                <a:cubicBezTo>
                  <a:pt x="230642" y="141243"/>
                  <a:pt x="231534" y="141243"/>
                  <a:pt x="232425" y="141243"/>
                </a:cubicBezTo>
                <a:cubicBezTo>
                  <a:pt x="236286" y="141243"/>
                  <a:pt x="240148" y="143026"/>
                  <a:pt x="242969" y="145996"/>
                </a:cubicBezTo>
                <a:cubicBezTo>
                  <a:pt x="282029" y="184018"/>
                  <a:pt x="282029" y="184018"/>
                  <a:pt x="282029" y="184018"/>
                </a:cubicBezTo>
                <a:cubicBezTo>
                  <a:pt x="284850" y="186988"/>
                  <a:pt x="285890" y="190701"/>
                  <a:pt x="285890" y="193672"/>
                </a:cubicBezTo>
                <a:cubicBezTo>
                  <a:pt x="285890" y="197385"/>
                  <a:pt x="284851" y="200355"/>
                  <a:pt x="282029" y="203177"/>
                </a:cubicBezTo>
                <a:cubicBezTo>
                  <a:pt x="279207" y="205999"/>
                  <a:pt x="275346" y="206890"/>
                  <a:pt x="272524" y="206890"/>
                </a:cubicBezTo>
                <a:cubicBezTo>
                  <a:pt x="268662" y="206890"/>
                  <a:pt x="264949" y="205998"/>
                  <a:pt x="261979" y="203177"/>
                </a:cubicBezTo>
                <a:cubicBezTo>
                  <a:pt x="230643" y="172581"/>
                  <a:pt x="230643" y="172581"/>
                  <a:pt x="230643" y="172581"/>
                </a:cubicBezTo>
                <a:cubicBezTo>
                  <a:pt x="228712" y="170799"/>
                  <a:pt x="226781" y="170799"/>
                  <a:pt x="223959" y="170799"/>
                </a:cubicBezTo>
                <a:cubicBezTo>
                  <a:pt x="174355" y="180305"/>
                  <a:pt x="174355" y="180305"/>
                  <a:pt x="174355" y="180305"/>
                </a:cubicBezTo>
                <a:cubicBezTo>
                  <a:pt x="172425" y="181197"/>
                  <a:pt x="170643" y="183127"/>
                  <a:pt x="169603" y="185057"/>
                </a:cubicBezTo>
                <a:cubicBezTo>
                  <a:pt x="168711" y="187879"/>
                  <a:pt x="169603" y="189810"/>
                  <a:pt x="171534" y="191741"/>
                </a:cubicBezTo>
                <a:cubicBezTo>
                  <a:pt x="207771" y="227980"/>
                  <a:pt x="207771" y="227980"/>
                  <a:pt x="207771" y="227980"/>
                </a:cubicBezTo>
                <a:cubicBezTo>
                  <a:pt x="209702" y="228872"/>
                  <a:pt x="210593" y="230802"/>
                  <a:pt x="211484" y="232733"/>
                </a:cubicBezTo>
                <a:cubicBezTo>
                  <a:pt x="236286" y="294667"/>
                  <a:pt x="236286" y="294667"/>
                  <a:pt x="236286" y="294667"/>
                </a:cubicBezTo>
                <a:cubicBezTo>
                  <a:pt x="236286" y="296597"/>
                  <a:pt x="236286" y="298528"/>
                  <a:pt x="237325" y="299419"/>
                </a:cubicBezTo>
                <a:cubicBezTo>
                  <a:pt x="237325" y="303281"/>
                  <a:pt x="235395" y="307142"/>
                  <a:pt x="232424" y="309964"/>
                </a:cubicBezTo>
                <a:close/>
                <a:moveTo>
                  <a:pt x="183861" y="340413"/>
                </a:moveTo>
                <a:cubicBezTo>
                  <a:pt x="34307" y="340413"/>
                  <a:pt x="34307" y="340413"/>
                  <a:pt x="34307" y="340413"/>
                </a:cubicBezTo>
                <a:cubicBezTo>
                  <a:pt x="30594" y="340413"/>
                  <a:pt x="27624" y="344274"/>
                  <a:pt x="27624" y="348135"/>
                </a:cubicBezTo>
                <a:cubicBezTo>
                  <a:pt x="27624" y="350957"/>
                  <a:pt x="30594" y="354670"/>
                  <a:pt x="34307" y="354670"/>
                </a:cubicBezTo>
                <a:cubicBezTo>
                  <a:pt x="183861" y="354670"/>
                  <a:pt x="183861" y="354670"/>
                  <a:pt x="183861" y="354670"/>
                </a:cubicBezTo>
                <a:cubicBezTo>
                  <a:pt x="187722" y="354670"/>
                  <a:pt x="190544" y="350957"/>
                  <a:pt x="190544" y="348135"/>
                </a:cubicBezTo>
                <a:cubicBezTo>
                  <a:pt x="190544" y="344274"/>
                  <a:pt x="187722" y="340413"/>
                  <a:pt x="183861" y="340413"/>
                </a:cubicBezTo>
                <a:close/>
                <a:moveTo>
                  <a:pt x="163960" y="299420"/>
                </a:moveTo>
                <a:cubicBezTo>
                  <a:pt x="167673" y="299420"/>
                  <a:pt x="170643" y="296598"/>
                  <a:pt x="170643" y="292737"/>
                </a:cubicBezTo>
                <a:cubicBezTo>
                  <a:pt x="170643" y="289024"/>
                  <a:pt x="167673" y="286053"/>
                  <a:pt x="163960" y="286053"/>
                </a:cubicBezTo>
                <a:cubicBezTo>
                  <a:pt x="108713" y="286053"/>
                  <a:pt x="108713" y="286053"/>
                  <a:pt x="108713" y="286053"/>
                </a:cubicBezTo>
                <a:cubicBezTo>
                  <a:pt x="105742" y="286053"/>
                  <a:pt x="102030" y="289024"/>
                  <a:pt x="102030" y="292737"/>
                </a:cubicBezTo>
                <a:cubicBezTo>
                  <a:pt x="102030" y="296598"/>
                  <a:pt x="105742" y="299420"/>
                  <a:pt x="108713" y="299420"/>
                </a:cubicBezTo>
                <a:close/>
              </a:path>
            </a:pathLst>
          </a:custGeom>
          <a:solidFill>
            <a:schemeClr val="tx2"/>
          </a:solidFill>
          <a:ln w="3705"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58F6E127-A2F7-4BA2-B643-C50DE42744B7}"/>
              </a:ext>
            </a:extLst>
          </p:cNvPr>
          <p:cNvSpPr/>
          <p:nvPr/>
        </p:nvSpPr>
        <p:spPr>
          <a:xfrm>
            <a:off x="6054644" y="1624649"/>
            <a:ext cx="408117" cy="354671"/>
          </a:xfrm>
          <a:custGeom>
            <a:avLst/>
            <a:gdLst>
              <a:gd name="connsiteX0" fmla="*/ 372920 w 408117"/>
              <a:gd name="connsiteY0" fmla="*/ 132630 h 354671"/>
              <a:gd name="connsiteX1" fmla="*/ 372920 w 408117"/>
              <a:gd name="connsiteY1" fmla="*/ 125947 h 354671"/>
              <a:gd name="connsiteX2" fmla="*/ 291237 w 408117"/>
              <a:gd name="connsiteY2" fmla="*/ 41140 h 354671"/>
              <a:gd name="connsiteX3" fmla="*/ 212227 w 408117"/>
              <a:gd name="connsiteY3" fmla="*/ 101143 h 354671"/>
              <a:gd name="connsiteX4" fmla="*/ 186534 w 408117"/>
              <a:gd name="connsiteY4" fmla="*/ 95351 h 354671"/>
              <a:gd name="connsiteX5" fmla="*/ 184604 w 408117"/>
              <a:gd name="connsiteY5" fmla="*/ 95351 h 354671"/>
              <a:gd name="connsiteX6" fmla="*/ 121782 w 408117"/>
              <a:gd name="connsiteY6" fmla="*/ 54359 h 354671"/>
              <a:gd name="connsiteX7" fmla="*/ 54356 w 408117"/>
              <a:gd name="connsiteY7" fmla="*/ 122085 h 354671"/>
              <a:gd name="connsiteX8" fmla="*/ 89554 w 408117"/>
              <a:gd name="connsiteY8" fmla="*/ 182236 h 354671"/>
              <a:gd name="connsiteX9" fmla="*/ 80940 w 408117"/>
              <a:gd name="connsiteY9" fmla="*/ 209861 h 354671"/>
              <a:gd name="connsiteX10" fmla="*/ 128465 w 408117"/>
              <a:gd name="connsiteY10" fmla="*/ 259468 h 354671"/>
              <a:gd name="connsiteX11" fmla="*/ 343514 w 408117"/>
              <a:gd name="connsiteY11" fmla="*/ 259468 h 354671"/>
              <a:gd name="connsiteX12" fmla="*/ 343514 w 408117"/>
              <a:gd name="connsiteY12" fmla="*/ 259468 h 354671"/>
              <a:gd name="connsiteX13" fmla="*/ 408118 w 408117"/>
              <a:gd name="connsiteY13" fmla="*/ 191742 h 354671"/>
              <a:gd name="connsiteX14" fmla="*/ 372920 w 408117"/>
              <a:gd name="connsiteY14" fmla="*/ 132630 h 354671"/>
              <a:gd name="connsiteX15" fmla="*/ 67574 w 408117"/>
              <a:gd name="connsiteY15" fmla="*/ 122085 h 354671"/>
              <a:gd name="connsiteX16" fmla="*/ 121782 w 408117"/>
              <a:gd name="connsiteY16" fmla="*/ 67726 h 354671"/>
              <a:gd name="connsiteX17" fmla="*/ 170346 w 408117"/>
              <a:gd name="connsiteY17" fmla="*/ 97282 h 354671"/>
              <a:gd name="connsiteX18" fmla="*/ 127574 w 408117"/>
              <a:gd name="connsiteY18" fmla="*/ 155502 h 354671"/>
              <a:gd name="connsiteX19" fmla="*/ 127574 w 408117"/>
              <a:gd name="connsiteY19" fmla="*/ 161146 h 354671"/>
              <a:gd name="connsiteX20" fmla="*/ 99059 w 408117"/>
              <a:gd name="connsiteY20" fmla="*/ 171691 h 354671"/>
              <a:gd name="connsiteX21" fmla="*/ 67574 w 408117"/>
              <a:gd name="connsiteY21" fmla="*/ 122085 h 354671"/>
              <a:gd name="connsiteX22" fmla="*/ 343514 w 408117"/>
              <a:gd name="connsiteY22" fmla="*/ 245061 h 354671"/>
              <a:gd name="connsiteX23" fmla="*/ 128465 w 408117"/>
              <a:gd name="connsiteY23" fmla="*/ 245061 h 354671"/>
              <a:gd name="connsiteX24" fmla="*/ 95198 w 408117"/>
              <a:gd name="connsiteY24" fmla="*/ 209861 h 354671"/>
              <a:gd name="connsiteX25" fmla="*/ 128465 w 408117"/>
              <a:gd name="connsiteY25" fmla="*/ 174513 h 354671"/>
              <a:gd name="connsiteX26" fmla="*/ 135148 w 408117"/>
              <a:gd name="connsiteY26" fmla="*/ 175554 h 354671"/>
              <a:gd name="connsiteX27" fmla="*/ 140792 w 408117"/>
              <a:gd name="connsiteY27" fmla="*/ 173623 h 354671"/>
              <a:gd name="connsiteX28" fmla="*/ 142722 w 408117"/>
              <a:gd name="connsiteY28" fmla="*/ 166940 h 354671"/>
              <a:gd name="connsiteX29" fmla="*/ 140792 w 408117"/>
              <a:gd name="connsiteY29" fmla="*/ 155503 h 354671"/>
              <a:gd name="connsiteX30" fmla="*/ 186534 w 408117"/>
              <a:gd name="connsiteY30" fmla="*/ 108719 h 354671"/>
              <a:gd name="connsiteX31" fmla="*/ 213118 w 408117"/>
              <a:gd name="connsiteY31" fmla="*/ 117333 h 354671"/>
              <a:gd name="connsiteX32" fmla="*/ 219801 w 408117"/>
              <a:gd name="connsiteY32" fmla="*/ 118225 h 354671"/>
              <a:gd name="connsiteX33" fmla="*/ 223663 w 408117"/>
              <a:gd name="connsiteY33" fmla="*/ 112582 h 354671"/>
              <a:gd name="connsiteX34" fmla="*/ 291237 w 408117"/>
              <a:gd name="connsiteY34" fmla="*/ 54361 h 354671"/>
              <a:gd name="connsiteX35" fmla="*/ 359702 w 408117"/>
              <a:gd name="connsiteY35" fmla="*/ 125948 h 354671"/>
              <a:gd name="connsiteX36" fmla="*/ 358662 w 408117"/>
              <a:gd name="connsiteY36" fmla="*/ 135454 h 354671"/>
              <a:gd name="connsiteX37" fmla="*/ 362524 w 408117"/>
              <a:gd name="connsiteY37" fmla="*/ 143029 h 354671"/>
              <a:gd name="connsiteX38" fmla="*/ 393860 w 408117"/>
              <a:gd name="connsiteY38" fmla="*/ 191744 h 354671"/>
              <a:gd name="connsiteX39" fmla="*/ 343514 w 408117"/>
              <a:gd name="connsiteY39" fmla="*/ 245063 h 354671"/>
              <a:gd name="connsiteX40" fmla="*/ 121782 w 408117"/>
              <a:gd name="connsiteY40" fmla="*/ 41140 h 354671"/>
              <a:gd name="connsiteX41" fmla="*/ 128465 w 408117"/>
              <a:gd name="connsiteY41" fmla="*/ 33417 h 354671"/>
              <a:gd name="connsiteX42" fmla="*/ 128465 w 408117"/>
              <a:gd name="connsiteY42" fmla="*/ 6683 h 354671"/>
              <a:gd name="connsiteX43" fmla="*/ 121782 w 408117"/>
              <a:gd name="connsiteY43" fmla="*/ 0 h 354671"/>
              <a:gd name="connsiteX44" fmla="*/ 115247 w 408117"/>
              <a:gd name="connsiteY44" fmla="*/ 6683 h 354671"/>
              <a:gd name="connsiteX45" fmla="*/ 115247 w 408117"/>
              <a:gd name="connsiteY45" fmla="*/ 33417 h 354671"/>
              <a:gd name="connsiteX46" fmla="*/ 121782 w 408117"/>
              <a:gd name="connsiteY46" fmla="*/ 41140 h 354671"/>
              <a:gd name="connsiteX47" fmla="*/ 55247 w 408117"/>
              <a:gd name="connsiteY47" fmla="*/ 64904 h 354671"/>
              <a:gd name="connsiteX48" fmla="*/ 60000 w 408117"/>
              <a:gd name="connsiteY48" fmla="*/ 66835 h 354671"/>
              <a:gd name="connsiteX49" fmla="*/ 64752 w 408117"/>
              <a:gd name="connsiteY49" fmla="*/ 64904 h 354671"/>
              <a:gd name="connsiteX50" fmla="*/ 64752 w 408117"/>
              <a:gd name="connsiteY50" fmla="*/ 55399 h 354671"/>
              <a:gd name="connsiteX51" fmla="*/ 44851 w 408117"/>
              <a:gd name="connsiteY51" fmla="*/ 35348 h 354671"/>
              <a:gd name="connsiteX52" fmla="*/ 35198 w 408117"/>
              <a:gd name="connsiteY52" fmla="*/ 35348 h 354671"/>
              <a:gd name="connsiteX53" fmla="*/ 35198 w 408117"/>
              <a:gd name="connsiteY53" fmla="*/ 45893 h 354671"/>
              <a:gd name="connsiteX54" fmla="*/ 40099 w 408117"/>
              <a:gd name="connsiteY54" fmla="*/ 122085 h 354671"/>
              <a:gd name="connsiteX55" fmla="*/ 33416 w 408117"/>
              <a:gd name="connsiteY55" fmla="*/ 115402 h 354671"/>
              <a:gd name="connsiteX56" fmla="*/ 6683 w 408117"/>
              <a:gd name="connsiteY56" fmla="*/ 115402 h 354671"/>
              <a:gd name="connsiteX57" fmla="*/ 0 w 408117"/>
              <a:gd name="connsiteY57" fmla="*/ 122085 h 354671"/>
              <a:gd name="connsiteX58" fmla="*/ 6683 w 408117"/>
              <a:gd name="connsiteY58" fmla="*/ 129808 h 354671"/>
              <a:gd name="connsiteX59" fmla="*/ 33416 w 408117"/>
              <a:gd name="connsiteY59" fmla="*/ 129808 h 354671"/>
              <a:gd name="connsiteX60" fmla="*/ 40099 w 408117"/>
              <a:gd name="connsiteY60" fmla="*/ 122085 h 354671"/>
              <a:gd name="connsiteX61" fmla="*/ 54356 w 408117"/>
              <a:gd name="connsiteY61" fmla="*/ 180306 h 354671"/>
              <a:gd name="connsiteX62" fmla="*/ 35198 w 408117"/>
              <a:gd name="connsiteY62" fmla="*/ 199316 h 354671"/>
              <a:gd name="connsiteX63" fmla="*/ 35198 w 408117"/>
              <a:gd name="connsiteY63" fmla="*/ 209861 h 354671"/>
              <a:gd name="connsiteX64" fmla="*/ 40099 w 408117"/>
              <a:gd name="connsiteY64" fmla="*/ 211792 h 354671"/>
              <a:gd name="connsiteX65" fmla="*/ 44851 w 408117"/>
              <a:gd name="connsiteY65" fmla="*/ 209861 h 354671"/>
              <a:gd name="connsiteX66" fmla="*/ 64752 w 408117"/>
              <a:gd name="connsiteY66" fmla="*/ 189811 h 354671"/>
              <a:gd name="connsiteX67" fmla="*/ 64752 w 408117"/>
              <a:gd name="connsiteY67" fmla="*/ 180306 h 354671"/>
              <a:gd name="connsiteX68" fmla="*/ 54356 w 408117"/>
              <a:gd name="connsiteY68" fmla="*/ 180306 h 354671"/>
              <a:gd name="connsiteX69" fmla="*/ 184604 w 408117"/>
              <a:gd name="connsiteY69" fmla="*/ 66835 h 354671"/>
              <a:gd name="connsiteX70" fmla="*/ 189356 w 408117"/>
              <a:gd name="connsiteY70" fmla="*/ 64904 h 354671"/>
              <a:gd name="connsiteX71" fmla="*/ 208366 w 408117"/>
              <a:gd name="connsiteY71" fmla="*/ 45893 h 354671"/>
              <a:gd name="connsiteX72" fmla="*/ 208366 w 408117"/>
              <a:gd name="connsiteY72" fmla="*/ 35348 h 354671"/>
              <a:gd name="connsiteX73" fmla="*/ 198861 w 408117"/>
              <a:gd name="connsiteY73" fmla="*/ 35348 h 354671"/>
              <a:gd name="connsiteX74" fmla="*/ 179851 w 408117"/>
              <a:gd name="connsiteY74" fmla="*/ 55399 h 354671"/>
              <a:gd name="connsiteX75" fmla="*/ 179851 w 408117"/>
              <a:gd name="connsiteY75" fmla="*/ 64904 h 354671"/>
              <a:gd name="connsiteX76" fmla="*/ 184604 w 408117"/>
              <a:gd name="connsiteY76" fmla="*/ 66835 h 354671"/>
              <a:gd name="connsiteX77" fmla="*/ 278762 w 408117"/>
              <a:gd name="connsiteY77" fmla="*/ 313679 h 354671"/>
              <a:gd name="connsiteX78" fmla="*/ 256930 w 408117"/>
              <a:gd name="connsiteY78" fmla="*/ 313679 h 354671"/>
              <a:gd name="connsiteX79" fmla="*/ 267326 w 408117"/>
              <a:gd name="connsiteY79" fmla="*/ 296598 h 354671"/>
              <a:gd name="connsiteX80" fmla="*/ 265544 w 408117"/>
              <a:gd name="connsiteY80" fmla="*/ 287093 h 354671"/>
              <a:gd name="connsiteX81" fmla="*/ 256039 w 408117"/>
              <a:gd name="connsiteY81" fmla="*/ 289915 h 354671"/>
              <a:gd name="connsiteX82" fmla="*/ 244604 w 408117"/>
              <a:gd name="connsiteY82" fmla="*/ 307144 h 354671"/>
              <a:gd name="connsiteX83" fmla="*/ 233168 w 408117"/>
              <a:gd name="connsiteY83" fmla="*/ 289915 h 354671"/>
              <a:gd name="connsiteX84" fmla="*/ 223663 w 408117"/>
              <a:gd name="connsiteY84" fmla="*/ 287093 h 354671"/>
              <a:gd name="connsiteX85" fmla="*/ 221732 w 408117"/>
              <a:gd name="connsiteY85" fmla="*/ 296598 h 354671"/>
              <a:gd name="connsiteX86" fmla="*/ 232128 w 408117"/>
              <a:gd name="connsiteY86" fmla="*/ 313679 h 354671"/>
              <a:gd name="connsiteX87" fmla="*/ 210296 w 408117"/>
              <a:gd name="connsiteY87" fmla="*/ 313679 h 354671"/>
              <a:gd name="connsiteX88" fmla="*/ 203613 w 408117"/>
              <a:gd name="connsiteY88" fmla="*/ 320362 h 354671"/>
              <a:gd name="connsiteX89" fmla="*/ 210296 w 408117"/>
              <a:gd name="connsiteY89" fmla="*/ 327046 h 354671"/>
              <a:gd name="connsiteX90" fmla="*/ 232128 w 408117"/>
              <a:gd name="connsiteY90" fmla="*/ 327046 h 354671"/>
              <a:gd name="connsiteX91" fmla="*/ 221732 w 408117"/>
              <a:gd name="connsiteY91" fmla="*/ 344274 h 354671"/>
              <a:gd name="connsiteX92" fmla="*/ 223663 w 408117"/>
              <a:gd name="connsiteY92" fmla="*/ 353779 h 354671"/>
              <a:gd name="connsiteX93" fmla="*/ 227376 w 408117"/>
              <a:gd name="connsiteY93" fmla="*/ 354671 h 354671"/>
              <a:gd name="connsiteX94" fmla="*/ 233168 w 408117"/>
              <a:gd name="connsiteY94" fmla="*/ 350958 h 354671"/>
              <a:gd name="connsiteX95" fmla="*/ 244604 w 408117"/>
              <a:gd name="connsiteY95" fmla="*/ 332839 h 354671"/>
              <a:gd name="connsiteX96" fmla="*/ 256039 w 408117"/>
              <a:gd name="connsiteY96" fmla="*/ 350958 h 354671"/>
              <a:gd name="connsiteX97" fmla="*/ 261683 w 408117"/>
              <a:gd name="connsiteY97" fmla="*/ 354671 h 354671"/>
              <a:gd name="connsiteX98" fmla="*/ 265544 w 408117"/>
              <a:gd name="connsiteY98" fmla="*/ 353779 h 354671"/>
              <a:gd name="connsiteX99" fmla="*/ 267326 w 408117"/>
              <a:gd name="connsiteY99" fmla="*/ 344274 h 354671"/>
              <a:gd name="connsiteX100" fmla="*/ 256930 w 408117"/>
              <a:gd name="connsiteY100" fmla="*/ 327046 h 354671"/>
              <a:gd name="connsiteX101" fmla="*/ 278762 w 408117"/>
              <a:gd name="connsiteY101" fmla="*/ 327046 h 354671"/>
              <a:gd name="connsiteX102" fmla="*/ 285445 w 408117"/>
              <a:gd name="connsiteY102" fmla="*/ 320362 h 354671"/>
              <a:gd name="connsiteX103" fmla="*/ 278762 w 408117"/>
              <a:gd name="connsiteY103" fmla="*/ 313679 h 35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408117" h="354671">
                <a:moveTo>
                  <a:pt x="372920" y="132630"/>
                </a:moveTo>
                <a:cubicBezTo>
                  <a:pt x="372920" y="130699"/>
                  <a:pt x="372920" y="127877"/>
                  <a:pt x="372920" y="125947"/>
                </a:cubicBezTo>
                <a:cubicBezTo>
                  <a:pt x="372920" y="79162"/>
                  <a:pt x="336831" y="41140"/>
                  <a:pt x="291237" y="41140"/>
                </a:cubicBezTo>
                <a:cubicBezTo>
                  <a:pt x="254108" y="41140"/>
                  <a:pt x="222623" y="65795"/>
                  <a:pt x="212227" y="101143"/>
                </a:cubicBezTo>
                <a:cubicBezTo>
                  <a:pt x="204653" y="97282"/>
                  <a:pt x="196039" y="95351"/>
                  <a:pt x="186534" y="95351"/>
                </a:cubicBezTo>
                <a:cubicBezTo>
                  <a:pt x="185643" y="95351"/>
                  <a:pt x="185643" y="95351"/>
                  <a:pt x="184604" y="95351"/>
                </a:cubicBezTo>
                <a:cubicBezTo>
                  <a:pt x="174208" y="70696"/>
                  <a:pt x="150445" y="54359"/>
                  <a:pt x="121782" y="54359"/>
                </a:cubicBezTo>
                <a:cubicBezTo>
                  <a:pt x="84802" y="54359"/>
                  <a:pt x="54356" y="84954"/>
                  <a:pt x="54356" y="122085"/>
                </a:cubicBezTo>
                <a:cubicBezTo>
                  <a:pt x="54356" y="148819"/>
                  <a:pt x="68614" y="170800"/>
                  <a:pt x="89554" y="182236"/>
                </a:cubicBezTo>
                <a:cubicBezTo>
                  <a:pt x="84802" y="189811"/>
                  <a:pt x="80940" y="199316"/>
                  <a:pt x="80940" y="209861"/>
                </a:cubicBezTo>
                <a:cubicBezTo>
                  <a:pt x="80940" y="236447"/>
                  <a:pt x="101881" y="258428"/>
                  <a:pt x="128465" y="259468"/>
                </a:cubicBezTo>
                <a:cubicBezTo>
                  <a:pt x="343514" y="259468"/>
                  <a:pt x="343514" y="259468"/>
                  <a:pt x="343514" y="259468"/>
                </a:cubicBezTo>
                <a:cubicBezTo>
                  <a:pt x="343514" y="259468"/>
                  <a:pt x="343514" y="259468"/>
                  <a:pt x="343514" y="259468"/>
                </a:cubicBezTo>
                <a:cubicBezTo>
                  <a:pt x="378712" y="259468"/>
                  <a:pt x="408118" y="228872"/>
                  <a:pt x="408118" y="191742"/>
                </a:cubicBezTo>
                <a:cubicBezTo>
                  <a:pt x="408118" y="165899"/>
                  <a:pt x="393861" y="144066"/>
                  <a:pt x="372920" y="132630"/>
                </a:cubicBezTo>
                <a:close/>
                <a:moveTo>
                  <a:pt x="67574" y="122085"/>
                </a:moveTo>
                <a:cubicBezTo>
                  <a:pt x="67574" y="92529"/>
                  <a:pt x="92376" y="67726"/>
                  <a:pt x="121782" y="67726"/>
                </a:cubicBezTo>
                <a:cubicBezTo>
                  <a:pt x="142722" y="67726"/>
                  <a:pt x="160841" y="80202"/>
                  <a:pt x="170346" y="97282"/>
                </a:cubicBezTo>
                <a:cubicBezTo>
                  <a:pt x="145693" y="105005"/>
                  <a:pt x="127574" y="127877"/>
                  <a:pt x="127574" y="155502"/>
                </a:cubicBezTo>
                <a:cubicBezTo>
                  <a:pt x="127574" y="157433"/>
                  <a:pt x="127574" y="159364"/>
                  <a:pt x="127574" y="161146"/>
                </a:cubicBezTo>
                <a:cubicBezTo>
                  <a:pt x="117029" y="161146"/>
                  <a:pt x="106633" y="165008"/>
                  <a:pt x="99059" y="171691"/>
                </a:cubicBezTo>
                <a:cubicBezTo>
                  <a:pt x="80940" y="163077"/>
                  <a:pt x="67574" y="144066"/>
                  <a:pt x="67574" y="122085"/>
                </a:cubicBezTo>
                <a:close/>
                <a:moveTo>
                  <a:pt x="343514" y="245061"/>
                </a:moveTo>
                <a:cubicBezTo>
                  <a:pt x="128465" y="245061"/>
                  <a:pt x="128465" y="245061"/>
                  <a:pt x="128465" y="245061"/>
                </a:cubicBezTo>
                <a:cubicBezTo>
                  <a:pt x="110495" y="245061"/>
                  <a:pt x="95198" y="229912"/>
                  <a:pt x="95198" y="209861"/>
                </a:cubicBezTo>
                <a:cubicBezTo>
                  <a:pt x="95198" y="190702"/>
                  <a:pt x="110495" y="174513"/>
                  <a:pt x="128465" y="174513"/>
                </a:cubicBezTo>
                <a:cubicBezTo>
                  <a:pt x="130396" y="174513"/>
                  <a:pt x="132326" y="174513"/>
                  <a:pt x="135148" y="175554"/>
                </a:cubicBezTo>
                <a:cubicBezTo>
                  <a:pt x="137079" y="175554"/>
                  <a:pt x="139010" y="174513"/>
                  <a:pt x="140792" y="173623"/>
                </a:cubicBezTo>
                <a:cubicBezTo>
                  <a:pt x="142722" y="171692"/>
                  <a:pt x="142722" y="169762"/>
                  <a:pt x="142722" y="166940"/>
                </a:cubicBezTo>
                <a:cubicBezTo>
                  <a:pt x="141831" y="163078"/>
                  <a:pt x="140792" y="159365"/>
                  <a:pt x="140792" y="155503"/>
                </a:cubicBezTo>
                <a:cubicBezTo>
                  <a:pt x="140792" y="129809"/>
                  <a:pt x="161732" y="108719"/>
                  <a:pt x="186534" y="108719"/>
                </a:cubicBezTo>
                <a:cubicBezTo>
                  <a:pt x="196039" y="108719"/>
                  <a:pt x="205544" y="111690"/>
                  <a:pt x="213118" y="117333"/>
                </a:cubicBezTo>
                <a:cubicBezTo>
                  <a:pt x="215049" y="118225"/>
                  <a:pt x="216980" y="119264"/>
                  <a:pt x="219801" y="118225"/>
                </a:cubicBezTo>
                <a:cubicBezTo>
                  <a:pt x="221732" y="117333"/>
                  <a:pt x="223663" y="115403"/>
                  <a:pt x="223663" y="112582"/>
                </a:cubicBezTo>
                <a:cubicBezTo>
                  <a:pt x="229306" y="79164"/>
                  <a:pt x="257821" y="54361"/>
                  <a:pt x="291237" y="54361"/>
                </a:cubicBezTo>
                <a:cubicBezTo>
                  <a:pt x="328217" y="54361"/>
                  <a:pt x="359702" y="85848"/>
                  <a:pt x="359702" y="125948"/>
                </a:cubicBezTo>
                <a:cubicBezTo>
                  <a:pt x="359702" y="128770"/>
                  <a:pt x="359702" y="132632"/>
                  <a:pt x="358662" y="135454"/>
                </a:cubicBezTo>
                <a:cubicBezTo>
                  <a:pt x="358662" y="138276"/>
                  <a:pt x="359702" y="141246"/>
                  <a:pt x="362524" y="143029"/>
                </a:cubicBezTo>
                <a:cubicBezTo>
                  <a:pt x="381533" y="150752"/>
                  <a:pt x="393860" y="169763"/>
                  <a:pt x="393860" y="191744"/>
                </a:cubicBezTo>
                <a:cubicBezTo>
                  <a:pt x="393860" y="221300"/>
                  <a:pt x="371138" y="245063"/>
                  <a:pt x="343514" y="245063"/>
                </a:cubicBezTo>
                <a:close/>
                <a:moveTo>
                  <a:pt x="121782" y="41140"/>
                </a:moveTo>
                <a:cubicBezTo>
                  <a:pt x="125643" y="41140"/>
                  <a:pt x="128465" y="37279"/>
                  <a:pt x="128465" y="33417"/>
                </a:cubicBezTo>
                <a:cubicBezTo>
                  <a:pt x="128465" y="6683"/>
                  <a:pt x="128465" y="6683"/>
                  <a:pt x="128465" y="6683"/>
                </a:cubicBezTo>
                <a:cubicBezTo>
                  <a:pt x="128465" y="2970"/>
                  <a:pt x="125643" y="0"/>
                  <a:pt x="121782" y="0"/>
                </a:cubicBezTo>
                <a:cubicBezTo>
                  <a:pt x="118069" y="0"/>
                  <a:pt x="115247" y="2970"/>
                  <a:pt x="115247" y="6683"/>
                </a:cubicBezTo>
                <a:cubicBezTo>
                  <a:pt x="115247" y="33417"/>
                  <a:pt x="115247" y="33417"/>
                  <a:pt x="115247" y="33417"/>
                </a:cubicBezTo>
                <a:cubicBezTo>
                  <a:pt x="115247" y="37279"/>
                  <a:pt x="118069" y="41140"/>
                  <a:pt x="121782" y="41140"/>
                </a:cubicBezTo>
                <a:close/>
                <a:moveTo>
                  <a:pt x="55247" y="64904"/>
                </a:moveTo>
                <a:cubicBezTo>
                  <a:pt x="56139" y="65796"/>
                  <a:pt x="58069" y="66835"/>
                  <a:pt x="60000" y="66835"/>
                </a:cubicBezTo>
                <a:cubicBezTo>
                  <a:pt x="60891" y="66835"/>
                  <a:pt x="62822" y="65796"/>
                  <a:pt x="64752" y="64904"/>
                </a:cubicBezTo>
                <a:cubicBezTo>
                  <a:pt x="66683" y="62082"/>
                  <a:pt x="66683" y="57329"/>
                  <a:pt x="64752" y="55399"/>
                </a:cubicBezTo>
                <a:cubicBezTo>
                  <a:pt x="44851" y="35348"/>
                  <a:pt x="44851" y="35348"/>
                  <a:pt x="44851" y="35348"/>
                </a:cubicBezTo>
                <a:cubicBezTo>
                  <a:pt x="42921" y="33417"/>
                  <a:pt x="38168" y="33417"/>
                  <a:pt x="35198" y="35348"/>
                </a:cubicBezTo>
                <a:cubicBezTo>
                  <a:pt x="32376" y="38170"/>
                  <a:pt x="32376" y="42923"/>
                  <a:pt x="35198" y="45893"/>
                </a:cubicBezTo>
                <a:close/>
                <a:moveTo>
                  <a:pt x="40099" y="122085"/>
                </a:moveTo>
                <a:cubicBezTo>
                  <a:pt x="40099" y="119263"/>
                  <a:pt x="37129" y="115402"/>
                  <a:pt x="33416" y="115402"/>
                </a:cubicBezTo>
                <a:cubicBezTo>
                  <a:pt x="6683" y="115402"/>
                  <a:pt x="6683" y="115402"/>
                  <a:pt x="6683" y="115402"/>
                </a:cubicBezTo>
                <a:cubicBezTo>
                  <a:pt x="2970" y="115402"/>
                  <a:pt x="0" y="119263"/>
                  <a:pt x="0" y="122085"/>
                </a:cubicBezTo>
                <a:cubicBezTo>
                  <a:pt x="0" y="125947"/>
                  <a:pt x="2970" y="129808"/>
                  <a:pt x="6683" y="129808"/>
                </a:cubicBezTo>
                <a:cubicBezTo>
                  <a:pt x="33416" y="129808"/>
                  <a:pt x="33416" y="129808"/>
                  <a:pt x="33416" y="129808"/>
                </a:cubicBezTo>
                <a:cubicBezTo>
                  <a:pt x="37129" y="129808"/>
                  <a:pt x="40099" y="125947"/>
                  <a:pt x="40099" y="122085"/>
                </a:cubicBezTo>
                <a:close/>
                <a:moveTo>
                  <a:pt x="54356" y="180306"/>
                </a:moveTo>
                <a:cubicBezTo>
                  <a:pt x="35198" y="199316"/>
                  <a:pt x="35198" y="199316"/>
                  <a:pt x="35198" y="199316"/>
                </a:cubicBezTo>
                <a:cubicBezTo>
                  <a:pt x="32376" y="202138"/>
                  <a:pt x="32376" y="206891"/>
                  <a:pt x="35198" y="209861"/>
                </a:cubicBezTo>
                <a:cubicBezTo>
                  <a:pt x="37129" y="210753"/>
                  <a:pt x="38168" y="211792"/>
                  <a:pt x="40099" y="211792"/>
                </a:cubicBezTo>
                <a:cubicBezTo>
                  <a:pt x="41881" y="211792"/>
                  <a:pt x="43812" y="210753"/>
                  <a:pt x="44851" y="209861"/>
                </a:cubicBezTo>
                <a:cubicBezTo>
                  <a:pt x="64752" y="189811"/>
                  <a:pt x="64752" y="189811"/>
                  <a:pt x="64752" y="189811"/>
                </a:cubicBezTo>
                <a:cubicBezTo>
                  <a:pt x="66683" y="187880"/>
                  <a:pt x="66683" y="183128"/>
                  <a:pt x="64752" y="180306"/>
                </a:cubicBezTo>
                <a:cubicBezTo>
                  <a:pt x="61931" y="177335"/>
                  <a:pt x="57178" y="177335"/>
                  <a:pt x="54356" y="180306"/>
                </a:cubicBezTo>
                <a:close/>
                <a:moveTo>
                  <a:pt x="184604" y="66835"/>
                </a:moveTo>
                <a:cubicBezTo>
                  <a:pt x="186534" y="66835"/>
                  <a:pt x="188465" y="65796"/>
                  <a:pt x="189356" y="64904"/>
                </a:cubicBezTo>
                <a:cubicBezTo>
                  <a:pt x="208366" y="45893"/>
                  <a:pt x="208366" y="45893"/>
                  <a:pt x="208366" y="45893"/>
                </a:cubicBezTo>
                <a:cubicBezTo>
                  <a:pt x="211336" y="42923"/>
                  <a:pt x="211336" y="38170"/>
                  <a:pt x="208366" y="35348"/>
                </a:cubicBezTo>
                <a:cubicBezTo>
                  <a:pt x="206435" y="33417"/>
                  <a:pt x="201683" y="33417"/>
                  <a:pt x="198861" y="35348"/>
                </a:cubicBezTo>
                <a:cubicBezTo>
                  <a:pt x="179851" y="55399"/>
                  <a:pt x="179851" y="55399"/>
                  <a:pt x="179851" y="55399"/>
                </a:cubicBezTo>
                <a:cubicBezTo>
                  <a:pt x="177029" y="57329"/>
                  <a:pt x="177029" y="62082"/>
                  <a:pt x="179851" y="64904"/>
                </a:cubicBezTo>
                <a:cubicBezTo>
                  <a:pt x="180891" y="65796"/>
                  <a:pt x="182673" y="66835"/>
                  <a:pt x="184604" y="66835"/>
                </a:cubicBezTo>
                <a:close/>
                <a:moveTo>
                  <a:pt x="278762" y="313679"/>
                </a:moveTo>
                <a:cubicBezTo>
                  <a:pt x="256930" y="313679"/>
                  <a:pt x="256930" y="313679"/>
                  <a:pt x="256930" y="313679"/>
                </a:cubicBezTo>
                <a:cubicBezTo>
                  <a:pt x="267326" y="296598"/>
                  <a:pt x="267326" y="296598"/>
                  <a:pt x="267326" y="296598"/>
                </a:cubicBezTo>
                <a:cubicBezTo>
                  <a:pt x="269257" y="293776"/>
                  <a:pt x="268366" y="289024"/>
                  <a:pt x="265544" y="287093"/>
                </a:cubicBezTo>
                <a:cubicBezTo>
                  <a:pt x="261683" y="285162"/>
                  <a:pt x="257821" y="286054"/>
                  <a:pt x="256039" y="289915"/>
                </a:cubicBezTo>
                <a:cubicBezTo>
                  <a:pt x="244604" y="307144"/>
                  <a:pt x="244604" y="307144"/>
                  <a:pt x="244604" y="307144"/>
                </a:cubicBezTo>
                <a:cubicBezTo>
                  <a:pt x="233168" y="289915"/>
                  <a:pt x="233168" y="289915"/>
                  <a:pt x="233168" y="289915"/>
                </a:cubicBezTo>
                <a:cubicBezTo>
                  <a:pt x="231237" y="286053"/>
                  <a:pt x="227376" y="285162"/>
                  <a:pt x="223663" y="287093"/>
                </a:cubicBezTo>
                <a:cubicBezTo>
                  <a:pt x="220841" y="289024"/>
                  <a:pt x="219801" y="293776"/>
                  <a:pt x="221732" y="296598"/>
                </a:cubicBezTo>
                <a:cubicBezTo>
                  <a:pt x="232128" y="313679"/>
                  <a:pt x="232128" y="313679"/>
                  <a:pt x="232128" y="313679"/>
                </a:cubicBezTo>
                <a:cubicBezTo>
                  <a:pt x="210296" y="313679"/>
                  <a:pt x="210296" y="313679"/>
                  <a:pt x="210296" y="313679"/>
                </a:cubicBezTo>
                <a:cubicBezTo>
                  <a:pt x="206435" y="313679"/>
                  <a:pt x="203613" y="316649"/>
                  <a:pt x="203613" y="320362"/>
                </a:cubicBezTo>
                <a:cubicBezTo>
                  <a:pt x="203613" y="324223"/>
                  <a:pt x="206435" y="327046"/>
                  <a:pt x="210296" y="327046"/>
                </a:cubicBezTo>
                <a:cubicBezTo>
                  <a:pt x="232128" y="327046"/>
                  <a:pt x="232128" y="327046"/>
                  <a:pt x="232128" y="327046"/>
                </a:cubicBezTo>
                <a:cubicBezTo>
                  <a:pt x="221732" y="344274"/>
                  <a:pt x="221732" y="344274"/>
                  <a:pt x="221732" y="344274"/>
                </a:cubicBezTo>
                <a:cubicBezTo>
                  <a:pt x="219801" y="347096"/>
                  <a:pt x="220841" y="351849"/>
                  <a:pt x="223663" y="353779"/>
                </a:cubicBezTo>
                <a:cubicBezTo>
                  <a:pt x="225594" y="353779"/>
                  <a:pt x="226485" y="354671"/>
                  <a:pt x="227376" y="354671"/>
                </a:cubicBezTo>
                <a:cubicBezTo>
                  <a:pt x="230346" y="354671"/>
                  <a:pt x="232128" y="353779"/>
                  <a:pt x="233168" y="350958"/>
                </a:cubicBezTo>
                <a:cubicBezTo>
                  <a:pt x="244604" y="332839"/>
                  <a:pt x="244604" y="332839"/>
                  <a:pt x="244604" y="332839"/>
                </a:cubicBezTo>
                <a:cubicBezTo>
                  <a:pt x="256039" y="350958"/>
                  <a:pt x="256039" y="350958"/>
                  <a:pt x="256039" y="350958"/>
                </a:cubicBezTo>
                <a:cubicBezTo>
                  <a:pt x="256930" y="353780"/>
                  <a:pt x="259752" y="354671"/>
                  <a:pt x="261683" y="354671"/>
                </a:cubicBezTo>
                <a:cubicBezTo>
                  <a:pt x="262574" y="354671"/>
                  <a:pt x="264504" y="353779"/>
                  <a:pt x="265544" y="353779"/>
                </a:cubicBezTo>
                <a:cubicBezTo>
                  <a:pt x="268366" y="351849"/>
                  <a:pt x="269257" y="347096"/>
                  <a:pt x="267326" y="344274"/>
                </a:cubicBezTo>
                <a:cubicBezTo>
                  <a:pt x="256930" y="327046"/>
                  <a:pt x="256930" y="327046"/>
                  <a:pt x="256930" y="327046"/>
                </a:cubicBezTo>
                <a:cubicBezTo>
                  <a:pt x="278762" y="327046"/>
                  <a:pt x="278762" y="327046"/>
                  <a:pt x="278762" y="327046"/>
                </a:cubicBezTo>
                <a:cubicBezTo>
                  <a:pt x="282623" y="327046"/>
                  <a:pt x="285445" y="324223"/>
                  <a:pt x="285445" y="320362"/>
                </a:cubicBezTo>
                <a:cubicBezTo>
                  <a:pt x="285445" y="316649"/>
                  <a:pt x="282623" y="313679"/>
                  <a:pt x="278762" y="313679"/>
                </a:cubicBezTo>
                <a:close/>
              </a:path>
            </a:pathLst>
          </a:custGeom>
          <a:solidFill>
            <a:schemeClr val="tx2"/>
          </a:solidFill>
          <a:ln w="3705" cap="flat">
            <a:noFill/>
            <a:prstDash val="solid"/>
            <a:miter/>
          </a:ln>
        </p:spPr>
        <p:txBody>
          <a:bodyPr rtlCol="0" anchor="ctr"/>
          <a:lstStyle/>
          <a:p>
            <a:endParaRPr lang="en-GB" dirty="0"/>
          </a:p>
        </p:txBody>
      </p:sp>
      <p:sp>
        <p:nvSpPr>
          <p:cNvPr id="29" name="Freeform: Shape 28">
            <a:extLst>
              <a:ext uri="{FF2B5EF4-FFF2-40B4-BE49-F238E27FC236}">
                <a16:creationId xmlns:a16="http://schemas.microsoft.com/office/drawing/2014/main" id="{B4421D67-4344-4052-A8C1-10C082E54562}"/>
              </a:ext>
            </a:extLst>
          </p:cNvPr>
          <p:cNvSpPr/>
          <p:nvPr/>
        </p:nvSpPr>
        <p:spPr>
          <a:xfrm>
            <a:off x="5036239" y="2444156"/>
            <a:ext cx="354058" cy="326749"/>
          </a:xfrm>
          <a:custGeom>
            <a:avLst/>
            <a:gdLst>
              <a:gd name="connsiteX0" fmla="*/ 315147 w 354058"/>
              <a:gd name="connsiteY0" fmla="*/ 97282 h 326749"/>
              <a:gd name="connsiteX1" fmla="*/ 316039 w 354058"/>
              <a:gd name="connsiteY1" fmla="*/ 90599 h 326749"/>
              <a:gd name="connsiteX2" fmla="*/ 227524 w 354058"/>
              <a:gd name="connsiteY2" fmla="*/ 0 h 326749"/>
              <a:gd name="connsiteX3" fmla="*/ 141831 w 354058"/>
              <a:gd name="connsiteY3" fmla="*/ 64904 h 326749"/>
              <a:gd name="connsiteX4" fmla="*/ 113317 w 354058"/>
              <a:gd name="connsiteY4" fmla="*/ 58221 h 326749"/>
              <a:gd name="connsiteX5" fmla="*/ 50495 w 354058"/>
              <a:gd name="connsiteY5" fmla="*/ 121937 h 326749"/>
              <a:gd name="connsiteX6" fmla="*/ 50495 w 354058"/>
              <a:gd name="connsiteY6" fmla="*/ 128620 h 326749"/>
              <a:gd name="connsiteX7" fmla="*/ 0 w 354058"/>
              <a:gd name="connsiteY7" fmla="*/ 180157 h 326749"/>
              <a:gd name="connsiteX8" fmla="*/ 50495 w 354058"/>
              <a:gd name="connsiteY8" fmla="*/ 231546 h 326749"/>
              <a:gd name="connsiteX9" fmla="*/ 283663 w 354058"/>
              <a:gd name="connsiteY9" fmla="*/ 231546 h 326749"/>
              <a:gd name="connsiteX10" fmla="*/ 283663 w 354058"/>
              <a:gd name="connsiteY10" fmla="*/ 231546 h 326749"/>
              <a:gd name="connsiteX11" fmla="*/ 354058 w 354058"/>
              <a:gd name="connsiteY11" fmla="*/ 160998 h 326749"/>
              <a:gd name="connsiteX12" fmla="*/ 315148 w 354058"/>
              <a:gd name="connsiteY12" fmla="*/ 97282 h 326749"/>
              <a:gd name="connsiteX13" fmla="*/ 283662 w 354058"/>
              <a:gd name="connsiteY13" fmla="*/ 218179 h 326749"/>
              <a:gd name="connsiteX14" fmla="*/ 50494 w 354058"/>
              <a:gd name="connsiteY14" fmla="*/ 218179 h 326749"/>
              <a:gd name="connsiteX15" fmla="*/ 13366 w 354058"/>
              <a:gd name="connsiteY15" fmla="*/ 180157 h 326749"/>
              <a:gd name="connsiteX16" fmla="*/ 50494 w 354058"/>
              <a:gd name="connsiteY16" fmla="*/ 141987 h 326749"/>
              <a:gd name="connsiteX17" fmla="*/ 57177 w 354058"/>
              <a:gd name="connsiteY17" fmla="*/ 143028 h 326749"/>
              <a:gd name="connsiteX18" fmla="*/ 63860 w 354058"/>
              <a:gd name="connsiteY18" fmla="*/ 141097 h 326749"/>
              <a:gd name="connsiteX19" fmla="*/ 64752 w 354058"/>
              <a:gd name="connsiteY19" fmla="*/ 134414 h 326749"/>
              <a:gd name="connsiteX20" fmla="*/ 63860 w 354058"/>
              <a:gd name="connsiteY20" fmla="*/ 121938 h 326749"/>
              <a:gd name="connsiteX21" fmla="*/ 113316 w 354058"/>
              <a:gd name="connsiteY21" fmla="*/ 71589 h 326749"/>
              <a:gd name="connsiteX22" fmla="*/ 142870 w 354058"/>
              <a:gd name="connsiteY22" fmla="*/ 81094 h 326749"/>
              <a:gd name="connsiteX23" fmla="*/ 149553 w 354058"/>
              <a:gd name="connsiteY23" fmla="*/ 81984 h 326749"/>
              <a:gd name="connsiteX24" fmla="*/ 153266 w 354058"/>
              <a:gd name="connsiteY24" fmla="*/ 76340 h 326749"/>
              <a:gd name="connsiteX25" fmla="*/ 227524 w 354058"/>
              <a:gd name="connsiteY25" fmla="*/ 13367 h 326749"/>
              <a:gd name="connsiteX26" fmla="*/ 301781 w 354058"/>
              <a:gd name="connsiteY26" fmla="*/ 90599 h 326749"/>
              <a:gd name="connsiteX27" fmla="*/ 301781 w 354058"/>
              <a:gd name="connsiteY27" fmla="*/ 100995 h 326749"/>
              <a:gd name="connsiteX28" fmla="*/ 305642 w 354058"/>
              <a:gd name="connsiteY28" fmla="*/ 107679 h 326749"/>
              <a:gd name="connsiteX29" fmla="*/ 339801 w 354058"/>
              <a:gd name="connsiteY29" fmla="*/ 160998 h 326749"/>
              <a:gd name="connsiteX30" fmla="*/ 283662 w 354058"/>
              <a:gd name="connsiteY30" fmla="*/ 218179 h 326749"/>
              <a:gd name="connsiteX31" fmla="*/ 115247 w 354058"/>
              <a:gd name="connsiteY31" fmla="*/ 285905 h 326749"/>
              <a:gd name="connsiteX32" fmla="*/ 93415 w 354058"/>
              <a:gd name="connsiteY32" fmla="*/ 285905 h 326749"/>
              <a:gd name="connsiteX33" fmla="*/ 103811 w 354058"/>
              <a:gd name="connsiteY33" fmla="*/ 269716 h 326749"/>
              <a:gd name="connsiteX34" fmla="*/ 101880 w 354058"/>
              <a:gd name="connsiteY34" fmla="*/ 260062 h 326749"/>
              <a:gd name="connsiteX35" fmla="*/ 92375 w 354058"/>
              <a:gd name="connsiteY35" fmla="*/ 261993 h 326749"/>
              <a:gd name="connsiteX36" fmla="*/ 80940 w 354058"/>
              <a:gd name="connsiteY36" fmla="*/ 280113 h 326749"/>
              <a:gd name="connsiteX37" fmla="*/ 70544 w 354058"/>
              <a:gd name="connsiteY37" fmla="*/ 261993 h 326749"/>
              <a:gd name="connsiteX38" fmla="*/ 61039 w 354058"/>
              <a:gd name="connsiteY38" fmla="*/ 260062 h 326749"/>
              <a:gd name="connsiteX39" fmla="*/ 58069 w 354058"/>
              <a:gd name="connsiteY39" fmla="*/ 269716 h 326749"/>
              <a:gd name="connsiteX40" fmla="*/ 69504 w 354058"/>
              <a:gd name="connsiteY40" fmla="*/ 285905 h 326749"/>
              <a:gd name="connsiteX41" fmla="*/ 47673 w 354058"/>
              <a:gd name="connsiteY41" fmla="*/ 285905 h 326749"/>
              <a:gd name="connsiteX42" fmla="*/ 40989 w 354058"/>
              <a:gd name="connsiteY42" fmla="*/ 293480 h 326749"/>
              <a:gd name="connsiteX43" fmla="*/ 47673 w 354058"/>
              <a:gd name="connsiteY43" fmla="*/ 300163 h 326749"/>
              <a:gd name="connsiteX44" fmla="*/ 69504 w 354058"/>
              <a:gd name="connsiteY44" fmla="*/ 300163 h 326749"/>
              <a:gd name="connsiteX45" fmla="*/ 58069 w 354058"/>
              <a:gd name="connsiteY45" fmla="*/ 316352 h 326749"/>
              <a:gd name="connsiteX46" fmla="*/ 61039 w 354058"/>
              <a:gd name="connsiteY46" fmla="*/ 325858 h 326749"/>
              <a:gd name="connsiteX47" fmla="*/ 64751 w 354058"/>
              <a:gd name="connsiteY47" fmla="*/ 326749 h 326749"/>
              <a:gd name="connsiteX48" fmla="*/ 70544 w 354058"/>
              <a:gd name="connsiteY48" fmla="*/ 323927 h 326749"/>
              <a:gd name="connsiteX49" fmla="*/ 80940 w 354058"/>
              <a:gd name="connsiteY49" fmla="*/ 305808 h 326749"/>
              <a:gd name="connsiteX50" fmla="*/ 92375 w 354058"/>
              <a:gd name="connsiteY50" fmla="*/ 323927 h 326749"/>
              <a:gd name="connsiteX51" fmla="*/ 98167 w 354058"/>
              <a:gd name="connsiteY51" fmla="*/ 326749 h 326749"/>
              <a:gd name="connsiteX52" fmla="*/ 101880 w 354058"/>
              <a:gd name="connsiteY52" fmla="*/ 325858 h 326749"/>
              <a:gd name="connsiteX53" fmla="*/ 103811 w 354058"/>
              <a:gd name="connsiteY53" fmla="*/ 316352 h 326749"/>
              <a:gd name="connsiteX54" fmla="*/ 93415 w 354058"/>
              <a:gd name="connsiteY54" fmla="*/ 300163 h 326749"/>
              <a:gd name="connsiteX55" fmla="*/ 115247 w 354058"/>
              <a:gd name="connsiteY55" fmla="*/ 300163 h 326749"/>
              <a:gd name="connsiteX56" fmla="*/ 121930 w 354058"/>
              <a:gd name="connsiteY56" fmla="*/ 293480 h 326749"/>
              <a:gd name="connsiteX57" fmla="*/ 115247 w 354058"/>
              <a:gd name="connsiteY57" fmla="*/ 285905 h 326749"/>
              <a:gd name="connsiteX58" fmla="*/ 210444 w 354058"/>
              <a:gd name="connsiteY58" fmla="*/ 285905 h 326749"/>
              <a:gd name="connsiteX59" fmla="*/ 188464 w 354058"/>
              <a:gd name="connsiteY59" fmla="*/ 285905 h 326749"/>
              <a:gd name="connsiteX60" fmla="*/ 199900 w 354058"/>
              <a:gd name="connsiteY60" fmla="*/ 269716 h 326749"/>
              <a:gd name="connsiteX61" fmla="*/ 197078 w 354058"/>
              <a:gd name="connsiteY61" fmla="*/ 260062 h 326749"/>
              <a:gd name="connsiteX62" fmla="*/ 187573 w 354058"/>
              <a:gd name="connsiteY62" fmla="*/ 261993 h 326749"/>
              <a:gd name="connsiteX63" fmla="*/ 177029 w 354058"/>
              <a:gd name="connsiteY63" fmla="*/ 280113 h 326749"/>
              <a:gd name="connsiteX64" fmla="*/ 165741 w 354058"/>
              <a:gd name="connsiteY64" fmla="*/ 261993 h 326749"/>
              <a:gd name="connsiteX65" fmla="*/ 156088 w 354058"/>
              <a:gd name="connsiteY65" fmla="*/ 260062 h 326749"/>
              <a:gd name="connsiteX66" fmla="*/ 154306 w 354058"/>
              <a:gd name="connsiteY66" fmla="*/ 269716 h 326749"/>
              <a:gd name="connsiteX67" fmla="*/ 164702 w 354058"/>
              <a:gd name="connsiteY67" fmla="*/ 285905 h 326749"/>
              <a:gd name="connsiteX68" fmla="*/ 142870 w 354058"/>
              <a:gd name="connsiteY68" fmla="*/ 285905 h 326749"/>
              <a:gd name="connsiteX69" fmla="*/ 136187 w 354058"/>
              <a:gd name="connsiteY69" fmla="*/ 293480 h 326749"/>
              <a:gd name="connsiteX70" fmla="*/ 142870 w 354058"/>
              <a:gd name="connsiteY70" fmla="*/ 300163 h 326749"/>
              <a:gd name="connsiteX71" fmla="*/ 164702 w 354058"/>
              <a:gd name="connsiteY71" fmla="*/ 300163 h 326749"/>
              <a:gd name="connsiteX72" fmla="*/ 154306 w 354058"/>
              <a:gd name="connsiteY72" fmla="*/ 316352 h 326749"/>
              <a:gd name="connsiteX73" fmla="*/ 156088 w 354058"/>
              <a:gd name="connsiteY73" fmla="*/ 325858 h 326749"/>
              <a:gd name="connsiteX74" fmla="*/ 159949 w 354058"/>
              <a:gd name="connsiteY74" fmla="*/ 326749 h 326749"/>
              <a:gd name="connsiteX75" fmla="*/ 165741 w 354058"/>
              <a:gd name="connsiteY75" fmla="*/ 323927 h 326749"/>
              <a:gd name="connsiteX76" fmla="*/ 177029 w 354058"/>
              <a:gd name="connsiteY76" fmla="*/ 305808 h 326749"/>
              <a:gd name="connsiteX77" fmla="*/ 187573 w 354058"/>
              <a:gd name="connsiteY77" fmla="*/ 323927 h 326749"/>
              <a:gd name="connsiteX78" fmla="*/ 193217 w 354058"/>
              <a:gd name="connsiteY78" fmla="*/ 326749 h 326749"/>
              <a:gd name="connsiteX79" fmla="*/ 197078 w 354058"/>
              <a:gd name="connsiteY79" fmla="*/ 325858 h 326749"/>
              <a:gd name="connsiteX80" fmla="*/ 199900 w 354058"/>
              <a:gd name="connsiteY80" fmla="*/ 316352 h 326749"/>
              <a:gd name="connsiteX81" fmla="*/ 188464 w 354058"/>
              <a:gd name="connsiteY81" fmla="*/ 300163 h 326749"/>
              <a:gd name="connsiteX82" fmla="*/ 210444 w 354058"/>
              <a:gd name="connsiteY82" fmla="*/ 300163 h 326749"/>
              <a:gd name="connsiteX83" fmla="*/ 217128 w 354058"/>
              <a:gd name="connsiteY83" fmla="*/ 293480 h 326749"/>
              <a:gd name="connsiteX84" fmla="*/ 210444 w 354058"/>
              <a:gd name="connsiteY84" fmla="*/ 285905 h 326749"/>
              <a:gd name="connsiteX85" fmla="*/ 305642 w 354058"/>
              <a:gd name="connsiteY85" fmla="*/ 285905 h 326749"/>
              <a:gd name="connsiteX86" fmla="*/ 284701 w 354058"/>
              <a:gd name="connsiteY86" fmla="*/ 285905 h 326749"/>
              <a:gd name="connsiteX87" fmla="*/ 295098 w 354058"/>
              <a:gd name="connsiteY87" fmla="*/ 269716 h 326749"/>
              <a:gd name="connsiteX88" fmla="*/ 292276 w 354058"/>
              <a:gd name="connsiteY88" fmla="*/ 260062 h 326749"/>
              <a:gd name="connsiteX89" fmla="*/ 283662 w 354058"/>
              <a:gd name="connsiteY89" fmla="*/ 261993 h 326749"/>
              <a:gd name="connsiteX90" fmla="*/ 272226 w 354058"/>
              <a:gd name="connsiteY90" fmla="*/ 280113 h 326749"/>
              <a:gd name="connsiteX91" fmla="*/ 260791 w 354058"/>
              <a:gd name="connsiteY91" fmla="*/ 261993 h 326749"/>
              <a:gd name="connsiteX92" fmla="*/ 251286 w 354058"/>
              <a:gd name="connsiteY92" fmla="*/ 260062 h 326749"/>
              <a:gd name="connsiteX93" fmla="*/ 249504 w 354058"/>
              <a:gd name="connsiteY93" fmla="*/ 269716 h 326749"/>
              <a:gd name="connsiteX94" fmla="*/ 259900 w 354058"/>
              <a:gd name="connsiteY94" fmla="*/ 285905 h 326749"/>
              <a:gd name="connsiteX95" fmla="*/ 238068 w 354058"/>
              <a:gd name="connsiteY95" fmla="*/ 285905 h 326749"/>
              <a:gd name="connsiteX96" fmla="*/ 231385 w 354058"/>
              <a:gd name="connsiteY96" fmla="*/ 293480 h 326749"/>
              <a:gd name="connsiteX97" fmla="*/ 238068 w 354058"/>
              <a:gd name="connsiteY97" fmla="*/ 300163 h 326749"/>
              <a:gd name="connsiteX98" fmla="*/ 259900 w 354058"/>
              <a:gd name="connsiteY98" fmla="*/ 300163 h 326749"/>
              <a:gd name="connsiteX99" fmla="*/ 249504 w 354058"/>
              <a:gd name="connsiteY99" fmla="*/ 316352 h 326749"/>
              <a:gd name="connsiteX100" fmla="*/ 251286 w 354058"/>
              <a:gd name="connsiteY100" fmla="*/ 325858 h 326749"/>
              <a:gd name="connsiteX101" fmla="*/ 255147 w 354058"/>
              <a:gd name="connsiteY101" fmla="*/ 326749 h 326749"/>
              <a:gd name="connsiteX102" fmla="*/ 260791 w 354058"/>
              <a:gd name="connsiteY102" fmla="*/ 323927 h 326749"/>
              <a:gd name="connsiteX103" fmla="*/ 272226 w 354058"/>
              <a:gd name="connsiteY103" fmla="*/ 305808 h 326749"/>
              <a:gd name="connsiteX104" fmla="*/ 283662 w 354058"/>
              <a:gd name="connsiteY104" fmla="*/ 323927 h 326749"/>
              <a:gd name="connsiteX105" fmla="*/ 289454 w 354058"/>
              <a:gd name="connsiteY105" fmla="*/ 326749 h 326749"/>
              <a:gd name="connsiteX106" fmla="*/ 292276 w 354058"/>
              <a:gd name="connsiteY106" fmla="*/ 325858 h 326749"/>
              <a:gd name="connsiteX107" fmla="*/ 295098 w 354058"/>
              <a:gd name="connsiteY107" fmla="*/ 316352 h 326749"/>
              <a:gd name="connsiteX108" fmla="*/ 284701 w 354058"/>
              <a:gd name="connsiteY108" fmla="*/ 300163 h 326749"/>
              <a:gd name="connsiteX109" fmla="*/ 305642 w 354058"/>
              <a:gd name="connsiteY109" fmla="*/ 300163 h 326749"/>
              <a:gd name="connsiteX110" fmla="*/ 313216 w 354058"/>
              <a:gd name="connsiteY110" fmla="*/ 293480 h 326749"/>
              <a:gd name="connsiteX111" fmla="*/ 305642 w 354058"/>
              <a:gd name="connsiteY111" fmla="*/ 285905 h 32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354058" h="326749">
                <a:moveTo>
                  <a:pt x="315147" y="97282"/>
                </a:moveTo>
                <a:cubicBezTo>
                  <a:pt x="316039" y="95351"/>
                  <a:pt x="316039" y="92529"/>
                  <a:pt x="316039" y="90599"/>
                </a:cubicBezTo>
                <a:cubicBezTo>
                  <a:pt x="316039" y="40101"/>
                  <a:pt x="276089" y="0"/>
                  <a:pt x="227524" y="0"/>
                </a:cubicBezTo>
                <a:cubicBezTo>
                  <a:pt x="186683" y="0"/>
                  <a:pt x="153267" y="27625"/>
                  <a:pt x="141831" y="64904"/>
                </a:cubicBezTo>
                <a:cubicBezTo>
                  <a:pt x="133366" y="60151"/>
                  <a:pt x="123861" y="58221"/>
                  <a:pt x="113317" y="58221"/>
                </a:cubicBezTo>
                <a:cubicBezTo>
                  <a:pt x="78119" y="58221"/>
                  <a:pt x="50495" y="86737"/>
                  <a:pt x="50495" y="121937"/>
                </a:cubicBezTo>
                <a:cubicBezTo>
                  <a:pt x="50495" y="124907"/>
                  <a:pt x="50495" y="126838"/>
                  <a:pt x="50495" y="128620"/>
                </a:cubicBezTo>
                <a:cubicBezTo>
                  <a:pt x="21980" y="128620"/>
                  <a:pt x="0" y="151493"/>
                  <a:pt x="0" y="180157"/>
                </a:cubicBezTo>
                <a:cubicBezTo>
                  <a:pt x="0" y="208674"/>
                  <a:pt x="21980" y="231546"/>
                  <a:pt x="50495" y="231546"/>
                </a:cubicBezTo>
                <a:cubicBezTo>
                  <a:pt x="283663" y="231546"/>
                  <a:pt x="283663" y="231546"/>
                  <a:pt x="283663" y="231546"/>
                </a:cubicBezTo>
                <a:cubicBezTo>
                  <a:pt x="283663" y="231546"/>
                  <a:pt x="283663" y="231546"/>
                  <a:pt x="283663" y="231546"/>
                </a:cubicBezTo>
                <a:cubicBezTo>
                  <a:pt x="322722" y="231546"/>
                  <a:pt x="353167" y="200059"/>
                  <a:pt x="354058" y="160998"/>
                </a:cubicBezTo>
                <a:cubicBezTo>
                  <a:pt x="354058" y="133373"/>
                  <a:pt x="338019" y="109609"/>
                  <a:pt x="315148" y="97282"/>
                </a:cubicBezTo>
                <a:close/>
                <a:moveTo>
                  <a:pt x="283662" y="218179"/>
                </a:moveTo>
                <a:cubicBezTo>
                  <a:pt x="50494" y="218179"/>
                  <a:pt x="50494" y="218179"/>
                  <a:pt x="50494" y="218179"/>
                </a:cubicBezTo>
                <a:cubicBezTo>
                  <a:pt x="30593" y="218179"/>
                  <a:pt x="13366" y="201099"/>
                  <a:pt x="13366" y="180157"/>
                </a:cubicBezTo>
                <a:cubicBezTo>
                  <a:pt x="13366" y="159216"/>
                  <a:pt x="30593" y="141987"/>
                  <a:pt x="50494" y="141987"/>
                </a:cubicBezTo>
                <a:cubicBezTo>
                  <a:pt x="52425" y="141987"/>
                  <a:pt x="55247" y="141987"/>
                  <a:pt x="57177" y="143028"/>
                </a:cubicBezTo>
                <a:cubicBezTo>
                  <a:pt x="59999" y="143028"/>
                  <a:pt x="61930" y="141987"/>
                  <a:pt x="63860" y="141097"/>
                </a:cubicBezTo>
                <a:cubicBezTo>
                  <a:pt x="64752" y="139166"/>
                  <a:pt x="65791" y="136344"/>
                  <a:pt x="64752" y="134414"/>
                </a:cubicBezTo>
                <a:cubicBezTo>
                  <a:pt x="63860" y="130552"/>
                  <a:pt x="63860" y="126839"/>
                  <a:pt x="63860" y="121938"/>
                </a:cubicBezTo>
                <a:cubicBezTo>
                  <a:pt x="63860" y="94313"/>
                  <a:pt x="85692" y="71589"/>
                  <a:pt x="113316" y="71589"/>
                </a:cubicBezTo>
                <a:cubicBezTo>
                  <a:pt x="124752" y="71589"/>
                  <a:pt x="134256" y="75302"/>
                  <a:pt x="142870" y="81094"/>
                </a:cubicBezTo>
                <a:cubicBezTo>
                  <a:pt x="144801" y="81984"/>
                  <a:pt x="146583" y="82877"/>
                  <a:pt x="149553" y="81984"/>
                </a:cubicBezTo>
                <a:cubicBezTo>
                  <a:pt x="151336" y="81094"/>
                  <a:pt x="153266" y="79163"/>
                  <a:pt x="153266" y="76340"/>
                </a:cubicBezTo>
                <a:cubicBezTo>
                  <a:pt x="159949" y="40992"/>
                  <a:pt x="190395" y="13367"/>
                  <a:pt x="227524" y="13367"/>
                </a:cubicBezTo>
                <a:cubicBezTo>
                  <a:pt x="268514" y="13367"/>
                  <a:pt x="301781" y="47676"/>
                  <a:pt x="301781" y="90599"/>
                </a:cubicBezTo>
                <a:cubicBezTo>
                  <a:pt x="301781" y="93421"/>
                  <a:pt x="301781" y="97282"/>
                  <a:pt x="301781" y="100995"/>
                </a:cubicBezTo>
                <a:cubicBezTo>
                  <a:pt x="300889" y="103966"/>
                  <a:pt x="302673" y="106788"/>
                  <a:pt x="305642" y="107679"/>
                </a:cubicBezTo>
                <a:cubicBezTo>
                  <a:pt x="325543" y="116293"/>
                  <a:pt x="339801" y="137234"/>
                  <a:pt x="339801" y="160998"/>
                </a:cubicBezTo>
                <a:cubicBezTo>
                  <a:pt x="339801" y="192485"/>
                  <a:pt x="315147" y="218179"/>
                  <a:pt x="283662" y="218179"/>
                </a:cubicBezTo>
                <a:close/>
                <a:moveTo>
                  <a:pt x="115247" y="285905"/>
                </a:moveTo>
                <a:cubicBezTo>
                  <a:pt x="93415" y="285905"/>
                  <a:pt x="93415" y="285905"/>
                  <a:pt x="93415" y="285905"/>
                </a:cubicBezTo>
                <a:cubicBezTo>
                  <a:pt x="103811" y="269716"/>
                  <a:pt x="103811" y="269716"/>
                  <a:pt x="103811" y="269716"/>
                </a:cubicBezTo>
                <a:cubicBezTo>
                  <a:pt x="105742" y="265855"/>
                  <a:pt x="104703" y="261993"/>
                  <a:pt x="101880" y="260062"/>
                </a:cubicBezTo>
                <a:cubicBezTo>
                  <a:pt x="99058" y="258280"/>
                  <a:pt x="94306" y="259170"/>
                  <a:pt x="92375" y="261993"/>
                </a:cubicBezTo>
                <a:cubicBezTo>
                  <a:pt x="80940" y="280113"/>
                  <a:pt x="80940" y="280113"/>
                  <a:pt x="80940" y="280113"/>
                </a:cubicBezTo>
                <a:cubicBezTo>
                  <a:pt x="70544" y="261993"/>
                  <a:pt x="70544" y="261993"/>
                  <a:pt x="70544" y="261993"/>
                </a:cubicBezTo>
                <a:cubicBezTo>
                  <a:pt x="68613" y="259171"/>
                  <a:pt x="63860" y="258280"/>
                  <a:pt x="61039" y="260062"/>
                </a:cubicBezTo>
                <a:cubicBezTo>
                  <a:pt x="57177" y="261993"/>
                  <a:pt x="56286" y="265855"/>
                  <a:pt x="58069" y="269716"/>
                </a:cubicBezTo>
                <a:cubicBezTo>
                  <a:pt x="69504" y="285905"/>
                  <a:pt x="69504" y="285905"/>
                  <a:pt x="69504" y="285905"/>
                </a:cubicBezTo>
                <a:cubicBezTo>
                  <a:pt x="47673" y="285905"/>
                  <a:pt x="47673" y="285905"/>
                  <a:pt x="47673" y="285905"/>
                </a:cubicBezTo>
                <a:cubicBezTo>
                  <a:pt x="43811" y="285905"/>
                  <a:pt x="40989" y="289618"/>
                  <a:pt x="40989" y="293480"/>
                </a:cubicBezTo>
                <a:cubicBezTo>
                  <a:pt x="40989" y="297341"/>
                  <a:pt x="43811" y="300163"/>
                  <a:pt x="47673" y="300163"/>
                </a:cubicBezTo>
                <a:cubicBezTo>
                  <a:pt x="69504" y="300163"/>
                  <a:pt x="69504" y="300163"/>
                  <a:pt x="69504" y="300163"/>
                </a:cubicBezTo>
                <a:cubicBezTo>
                  <a:pt x="58069" y="316352"/>
                  <a:pt x="58069" y="316352"/>
                  <a:pt x="58069" y="316352"/>
                </a:cubicBezTo>
                <a:cubicBezTo>
                  <a:pt x="56286" y="320214"/>
                  <a:pt x="57177" y="323927"/>
                  <a:pt x="61039" y="325858"/>
                </a:cubicBezTo>
                <a:cubicBezTo>
                  <a:pt x="61931" y="326749"/>
                  <a:pt x="62821" y="326749"/>
                  <a:pt x="64751" y="326749"/>
                </a:cubicBezTo>
                <a:cubicBezTo>
                  <a:pt x="66682" y="326749"/>
                  <a:pt x="68613" y="325858"/>
                  <a:pt x="70544" y="323927"/>
                </a:cubicBezTo>
                <a:cubicBezTo>
                  <a:pt x="80940" y="305808"/>
                  <a:pt x="80940" y="305808"/>
                  <a:pt x="80940" y="305808"/>
                </a:cubicBezTo>
                <a:cubicBezTo>
                  <a:pt x="92375" y="323927"/>
                  <a:pt x="92375" y="323927"/>
                  <a:pt x="92375" y="323927"/>
                </a:cubicBezTo>
                <a:cubicBezTo>
                  <a:pt x="94306" y="325858"/>
                  <a:pt x="96237" y="326749"/>
                  <a:pt x="98167" y="326749"/>
                </a:cubicBezTo>
                <a:cubicBezTo>
                  <a:pt x="99949" y="326749"/>
                  <a:pt x="100989" y="326749"/>
                  <a:pt x="101880" y="325858"/>
                </a:cubicBezTo>
                <a:cubicBezTo>
                  <a:pt x="104702" y="323927"/>
                  <a:pt x="105742" y="320214"/>
                  <a:pt x="103811" y="316352"/>
                </a:cubicBezTo>
                <a:cubicBezTo>
                  <a:pt x="93415" y="300163"/>
                  <a:pt x="93415" y="300163"/>
                  <a:pt x="93415" y="300163"/>
                </a:cubicBezTo>
                <a:cubicBezTo>
                  <a:pt x="115247" y="300163"/>
                  <a:pt x="115247" y="300163"/>
                  <a:pt x="115247" y="300163"/>
                </a:cubicBezTo>
                <a:cubicBezTo>
                  <a:pt x="119108" y="300163"/>
                  <a:pt x="121930" y="297341"/>
                  <a:pt x="121930" y="293480"/>
                </a:cubicBezTo>
                <a:cubicBezTo>
                  <a:pt x="121930" y="289618"/>
                  <a:pt x="119108" y="285905"/>
                  <a:pt x="115247" y="285905"/>
                </a:cubicBezTo>
                <a:close/>
                <a:moveTo>
                  <a:pt x="210444" y="285905"/>
                </a:moveTo>
                <a:cubicBezTo>
                  <a:pt x="188464" y="285905"/>
                  <a:pt x="188464" y="285905"/>
                  <a:pt x="188464" y="285905"/>
                </a:cubicBezTo>
                <a:cubicBezTo>
                  <a:pt x="199900" y="269716"/>
                  <a:pt x="199900" y="269716"/>
                  <a:pt x="199900" y="269716"/>
                </a:cubicBezTo>
                <a:cubicBezTo>
                  <a:pt x="201831" y="265855"/>
                  <a:pt x="200941" y="261993"/>
                  <a:pt x="197078" y="260062"/>
                </a:cubicBezTo>
                <a:cubicBezTo>
                  <a:pt x="194256" y="258280"/>
                  <a:pt x="189504" y="259170"/>
                  <a:pt x="187573" y="261993"/>
                </a:cubicBezTo>
                <a:cubicBezTo>
                  <a:pt x="177029" y="280113"/>
                  <a:pt x="177029" y="280113"/>
                  <a:pt x="177029" y="280113"/>
                </a:cubicBezTo>
                <a:cubicBezTo>
                  <a:pt x="165741" y="261993"/>
                  <a:pt x="165741" y="261993"/>
                  <a:pt x="165741" y="261993"/>
                </a:cubicBezTo>
                <a:cubicBezTo>
                  <a:pt x="163811" y="259171"/>
                  <a:pt x="159058" y="258280"/>
                  <a:pt x="156088" y="260062"/>
                </a:cubicBezTo>
                <a:cubicBezTo>
                  <a:pt x="153266" y="261993"/>
                  <a:pt x="152375" y="265855"/>
                  <a:pt x="154306" y="269716"/>
                </a:cubicBezTo>
                <a:cubicBezTo>
                  <a:pt x="164702" y="285905"/>
                  <a:pt x="164702" y="285905"/>
                  <a:pt x="164702" y="285905"/>
                </a:cubicBezTo>
                <a:cubicBezTo>
                  <a:pt x="142870" y="285905"/>
                  <a:pt x="142870" y="285905"/>
                  <a:pt x="142870" y="285905"/>
                </a:cubicBezTo>
                <a:cubicBezTo>
                  <a:pt x="139009" y="285905"/>
                  <a:pt x="136187" y="289618"/>
                  <a:pt x="136187" y="293480"/>
                </a:cubicBezTo>
                <a:cubicBezTo>
                  <a:pt x="136187" y="297341"/>
                  <a:pt x="139009" y="300163"/>
                  <a:pt x="142870" y="300163"/>
                </a:cubicBezTo>
                <a:cubicBezTo>
                  <a:pt x="164702" y="300163"/>
                  <a:pt x="164702" y="300163"/>
                  <a:pt x="164702" y="300163"/>
                </a:cubicBezTo>
                <a:cubicBezTo>
                  <a:pt x="154306" y="316352"/>
                  <a:pt x="154306" y="316352"/>
                  <a:pt x="154306" y="316352"/>
                </a:cubicBezTo>
                <a:cubicBezTo>
                  <a:pt x="152375" y="320214"/>
                  <a:pt x="153267" y="323927"/>
                  <a:pt x="156088" y="325858"/>
                </a:cubicBezTo>
                <a:cubicBezTo>
                  <a:pt x="157127" y="326749"/>
                  <a:pt x="158019" y="326749"/>
                  <a:pt x="159949" y="326749"/>
                </a:cubicBezTo>
                <a:cubicBezTo>
                  <a:pt x="161880" y="326749"/>
                  <a:pt x="163811" y="325858"/>
                  <a:pt x="165741" y="323927"/>
                </a:cubicBezTo>
                <a:cubicBezTo>
                  <a:pt x="177029" y="305808"/>
                  <a:pt x="177029" y="305808"/>
                  <a:pt x="177029" y="305808"/>
                </a:cubicBezTo>
                <a:cubicBezTo>
                  <a:pt x="187573" y="323927"/>
                  <a:pt x="187573" y="323927"/>
                  <a:pt x="187573" y="323927"/>
                </a:cubicBezTo>
                <a:cubicBezTo>
                  <a:pt x="189504" y="325858"/>
                  <a:pt x="191434" y="326749"/>
                  <a:pt x="193217" y="326749"/>
                </a:cubicBezTo>
                <a:cubicBezTo>
                  <a:pt x="195147" y="326749"/>
                  <a:pt x="196187" y="326749"/>
                  <a:pt x="197078" y="325858"/>
                </a:cubicBezTo>
                <a:cubicBezTo>
                  <a:pt x="200939" y="323927"/>
                  <a:pt x="201831" y="320214"/>
                  <a:pt x="199900" y="316352"/>
                </a:cubicBezTo>
                <a:cubicBezTo>
                  <a:pt x="188464" y="300163"/>
                  <a:pt x="188464" y="300163"/>
                  <a:pt x="188464" y="300163"/>
                </a:cubicBezTo>
                <a:cubicBezTo>
                  <a:pt x="210444" y="300163"/>
                  <a:pt x="210444" y="300163"/>
                  <a:pt x="210444" y="300163"/>
                </a:cubicBezTo>
                <a:cubicBezTo>
                  <a:pt x="214157" y="300163"/>
                  <a:pt x="217128" y="297341"/>
                  <a:pt x="217128" y="293480"/>
                </a:cubicBezTo>
                <a:cubicBezTo>
                  <a:pt x="217128" y="289618"/>
                  <a:pt x="214157" y="285905"/>
                  <a:pt x="210444" y="285905"/>
                </a:cubicBezTo>
                <a:close/>
                <a:moveTo>
                  <a:pt x="305642" y="285905"/>
                </a:moveTo>
                <a:cubicBezTo>
                  <a:pt x="284701" y="285905"/>
                  <a:pt x="284701" y="285905"/>
                  <a:pt x="284701" y="285905"/>
                </a:cubicBezTo>
                <a:cubicBezTo>
                  <a:pt x="295098" y="269716"/>
                  <a:pt x="295098" y="269716"/>
                  <a:pt x="295098" y="269716"/>
                </a:cubicBezTo>
                <a:cubicBezTo>
                  <a:pt x="297028" y="265855"/>
                  <a:pt x="296137" y="261993"/>
                  <a:pt x="292276" y="260062"/>
                </a:cubicBezTo>
                <a:cubicBezTo>
                  <a:pt x="289454" y="258280"/>
                  <a:pt x="285593" y="259170"/>
                  <a:pt x="283662" y="261993"/>
                </a:cubicBezTo>
                <a:cubicBezTo>
                  <a:pt x="272226" y="280113"/>
                  <a:pt x="272226" y="280113"/>
                  <a:pt x="272226" y="280113"/>
                </a:cubicBezTo>
                <a:cubicBezTo>
                  <a:pt x="260791" y="261993"/>
                  <a:pt x="260791" y="261993"/>
                  <a:pt x="260791" y="261993"/>
                </a:cubicBezTo>
                <a:cubicBezTo>
                  <a:pt x="259009" y="259171"/>
                  <a:pt x="254256" y="258280"/>
                  <a:pt x="251286" y="260062"/>
                </a:cubicBezTo>
                <a:cubicBezTo>
                  <a:pt x="248464" y="261993"/>
                  <a:pt x="247573" y="265855"/>
                  <a:pt x="249504" y="269716"/>
                </a:cubicBezTo>
                <a:cubicBezTo>
                  <a:pt x="259900" y="285905"/>
                  <a:pt x="259900" y="285905"/>
                  <a:pt x="259900" y="285905"/>
                </a:cubicBezTo>
                <a:cubicBezTo>
                  <a:pt x="238068" y="285905"/>
                  <a:pt x="238068" y="285905"/>
                  <a:pt x="238068" y="285905"/>
                </a:cubicBezTo>
                <a:cubicBezTo>
                  <a:pt x="234207" y="285905"/>
                  <a:pt x="231385" y="289618"/>
                  <a:pt x="231385" y="293480"/>
                </a:cubicBezTo>
                <a:cubicBezTo>
                  <a:pt x="231385" y="297341"/>
                  <a:pt x="234207" y="300163"/>
                  <a:pt x="238068" y="300163"/>
                </a:cubicBezTo>
                <a:cubicBezTo>
                  <a:pt x="259900" y="300163"/>
                  <a:pt x="259900" y="300163"/>
                  <a:pt x="259900" y="300163"/>
                </a:cubicBezTo>
                <a:cubicBezTo>
                  <a:pt x="249504" y="316352"/>
                  <a:pt x="249504" y="316352"/>
                  <a:pt x="249504" y="316352"/>
                </a:cubicBezTo>
                <a:cubicBezTo>
                  <a:pt x="247573" y="320214"/>
                  <a:pt x="248465" y="323927"/>
                  <a:pt x="251286" y="325858"/>
                </a:cubicBezTo>
                <a:cubicBezTo>
                  <a:pt x="252326" y="326749"/>
                  <a:pt x="254256" y="326749"/>
                  <a:pt x="255147" y="326749"/>
                </a:cubicBezTo>
                <a:cubicBezTo>
                  <a:pt x="257078" y="326749"/>
                  <a:pt x="259900" y="325858"/>
                  <a:pt x="260791" y="323927"/>
                </a:cubicBezTo>
                <a:cubicBezTo>
                  <a:pt x="272226" y="305808"/>
                  <a:pt x="272226" y="305808"/>
                  <a:pt x="272226" y="305808"/>
                </a:cubicBezTo>
                <a:cubicBezTo>
                  <a:pt x="283662" y="323927"/>
                  <a:pt x="283662" y="323927"/>
                  <a:pt x="283662" y="323927"/>
                </a:cubicBezTo>
                <a:cubicBezTo>
                  <a:pt x="284701" y="325858"/>
                  <a:pt x="286484" y="326749"/>
                  <a:pt x="289454" y="326749"/>
                </a:cubicBezTo>
                <a:cubicBezTo>
                  <a:pt x="290346" y="326749"/>
                  <a:pt x="291385" y="326749"/>
                  <a:pt x="292276" y="325858"/>
                </a:cubicBezTo>
                <a:cubicBezTo>
                  <a:pt x="296137" y="323927"/>
                  <a:pt x="297028" y="320214"/>
                  <a:pt x="295098" y="316352"/>
                </a:cubicBezTo>
                <a:cubicBezTo>
                  <a:pt x="284701" y="300163"/>
                  <a:pt x="284701" y="300163"/>
                  <a:pt x="284701" y="300163"/>
                </a:cubicBezTo>
                <a:cubicBezTo>
                  <a:pt x="305642" y="300163"/>
                  <a:pt x="305642" y="300163"/>
                  <a:pt x="305642" y="300163"/>
                </a:cubicBezTo>
                <a:cubicBezTo>
                  <a:pt x="309355" y="300163"/>
                  <a:pt x="313216" y="297341"/>
                  <a:pt x="313216" y="293480"/>
                </a:cubicBezTo>
                <a:cubicBezTo>
                  <a:pt x="313216" y="289618"/>
                  <a:pt x="309355" y="285905"/>
                  <a:pt x="305642" y="285905"/>
                </a:cubicBezTo>
                <a:close/>
              </a:path>
            </a:pathLst>
          </a:custGeom>
          <a:solidFill>
            <a:schemeClr val="tx2"/>
          </a:solidFill>
          <a:ln w="3705" cap="flat">
            <a:noFill/>
            <a:prstDash val="solid"/>
            <a:miter/>
          </a:ln>
        </p:spPr>
        <p:txBody>
          <a:bodyPr rtlCol="0" anchor="ctr"/>
          <a:lstStyle/>
          <a:p>
            <a:endParaRPr lang="en-GB" dirty="0"/>
          </a:p>
        </p:txBody>
      </p:sp>
      <p:sp>
        <p:nvSpPr>
          <p:cNvPr id="31" name="Freeform: Shape 30">
            <a:extLst>
              <a:ext uri="{FF2B5EF4-FFF2-40B4-BE49-F238E27FC236}">
                <a16:creationId xmlns:a16="http://schemas.microsoft.com/office/drawing/2014/main" id="{5B6ED99B-445A-49E9-85B1-872FA7FE35C1}"/>
              </a:ext>
            </a:extLst>
          </p:cNvPr>
          <p:cNvSpPr/>
          <p:nvPr/>
        </p:nvSpPr>
        <p:spPr>
          <a:xfrm>
            <a:off x="7127018" y="1638610"/>
            <a:ext cx="354652" cy="326749"/>
          </a:xfrm>
          <a:custGeom>
            <a:avLst/>
            <a:gdLst>
              <a:gd name="connsiteX0" fmla="*/ 316633 w 354652"/>
              <a:gd name="connsiteY0" fmla="*/ 97282 h 326749"/>
              <a:gd name="connsiteX1" fmla="*/ 316633 w 354652"/>
              <a:gd name="connsiteY1" fmla="*/ 90599 h 326749"/>
              <a:gd name="connsiteX2" fmla="*/ 227970 w 354652"/>
              <a:gd name="connsiteY2" fmla="*/ 0 h 326749"/>
              <a:gd name="connsiteX3" fmla="*/ 142128 w 354652"/>
              <a:gd name="connsiteY3" fmla="*/ 64904 h 326749"/>
              <a:gd name="connsiteX4" fmla="*/ 114505 w 354652"/>
              <a:gd name="connsiteY4" fmla="*/ 58221 h 326749"/>
              <a:gd name="connsiteX5" fmla="*/ 50644 w 354652"/>
              <a:gd name="connsiteY5" fmla="*/ 121937 h 326749"/>
              <a:gd name="connsiteX6" fmla="*/ 50644 w 354652"/>
              <a:gd name="connsiteY6" fmla="*/ 128620 h 326749"/>
              <a:gd name="connsiteX7" fmla="*/ 0 w 354652"/>
              <a:gd name="connsiteY7" fmla="*/ 180157 h 326749"/>
              <a:gd name="connsiteX8" fmla="*/ 50644 w 354652"/>
              <a:gd name="connsiteY8" fmla="*/ 231546 h 326749"/>
              <a:gd name="connsiteX9" fmla="*/ 284109 w 354652"/>
              <a:gd name="connsiteY9" fmla="*/ 231546 h 326749"/>
              <a:gd name="connsiteX10" fmla="*/ 284109 w 354652"/>
              <a:gd name="connsiteY10" fmla="*/ 231546 h 326749"/>
              <a:gd name="connsiteX11" fmla="*/ 354653 w 354652"/>
              <a:gd name="connsiteY11" fmla="*/ 160998 h 326749"/>
              <a:gd name="connsiteX12" fmla="*/ 316633 w 354652"/>
              <a:gd name="connsiteY12" fmla="*/ 97282 h 326749"/>
              <a:gd name="connsiteX13" fmla="*/ 284109 w 354652"/>
              <a:gd name="connsiteY13" fmla="*/ 218179 h 326749"/>
              <a:gd name="connsiteX14" fmla="*/ 50644 w 354652"/>
              <a:gd name="connsiteY14" fmla="*/ 218179 h 326749"/>
              <a:gd name="connsiteX15" fmla="*/ 13366 w 354652"/>
              <a:gd name="connsiteY15" fmla="*/ 180157 h 326749"/>
              <a:gd name="connsiteX16" fmla="*/ 50644 w 354652"/>
              <a:gd name="connsiteY16" fmla="*/ 141987 h 326749"/>
              <a:gd name="connsiteX17" fmla="*/ 57327 w 354652"/>
              <a:gd name="connsiteY17" fmla="*/ 143028 h 326749"/>
              <a:gd name="connsiteX18" fmla="*/ 64010 w 354652"/>
              <a:gd name="connsiteY18" fmla="*/ 141097 h 326749"/>
              <a:gd name="connsiteX19" fmla="*/ 65792 w 354652"/>
              <a:gd name="connsiteY19" fmla="*/ 134414 h 326749"/>
              <a:gd name="connsiteX20" fmla="*/ 64010 w 354652"/>
              <a:gd name="connsiteY20" fmla="*/ 121938 h 326749"/>
              <a:gd name="connsiteX21" fmla="*/ 114505 w 354652"/>
              <a:gd name="connsiteY21" fmla="*/ 71589 h 326749"/>
              <a:gd name="connsiteX22" fmla="*/ 143020 w 354652"/>
              <a:gd name="connsiteY22" fmla="*/ 81094 h 326749"/>
              <a:gd name="connsiteX23" fmla="*/ 149703 w 354652"/>
              <a:gd name="connsiteY23" fmla="*/ 81984 h 326749"/>
              <a:gd name="connsiteX24" fmla="*/ 153564 w 354652"/>
              <a:gd name="connsiteY24" fmla="*/ 76340 h 326749"/>
              <a:gd name="connsiteX25" fmla="*/ 227970 w 354652"/>
              <a:gd name="connsiteY25" fmla="*/ 13367 h 326749"/>
              <a:gd name="connsiteX26" fmla="*/ 303267 w 354652"/>
              <a:gd name="connsiteY26" fmla="*/ 90599 h 326749"/>
              <a:gd name="connsiteX27" fmla="*/ 302228 w 354652"/>
              <a:gd name="connsiteY27" fmla="*/ 100995 h 326749"/>
              <a:gd name="connsiteX28" fmla="*/ 306089 w 354652"/>
              <a:gd name="connsiteY28" fmla="*/ 107679 h 326749"/>
              <a:gd name="connsiteX29" fmla="*/ 341435 w 354652"/>
              <a:gd name="connsiteY29" fmla="*/ 160998 h 326749"/>
              <a:gd name="connsiteX30" fmla="*/ 284109 w 354652"/>
              <a:gd name="connsiteY30" fmla="*/ 218179 h 326749"/>
              <a:gd name="connsiteX31" fmla="*/ 265990 w 354652"/>
              <a:gd name="connsiteY31" fmla="*/ 285905 h 326749"/>
              <a:gd name="connsiteX32" fmla="*/ 244158 w 354652"/>
              <a:gd name="connsiteY32" fmla="*/ 285905 h 326749"/>
              <a:gd name="connsiteX33" fmla="*/ 254554 w 354652"/>
              <a:gd name="connsiteY33" fmla="*/ 269716 h 326749"/>
              <a:gd name="connsiteX34" fmla="*/ 252772 w 354652"/>
              <a:gd name="connsiteY34" fmla="*/ 260062 h 326749"/>
              <a:gd name="connsiteX35" fmla="*/ 243118 w 354652"/>
              <a:gd name="connsiteY35" fmla="*/ 261993 h 326749"/>
              <a:gd name="connsiteX36" fmla="*/ 231683 w 354652"/>
              <a:gd name="connsiteY36" fmla="*/ 280113 h 326749"/>
              <a:gd name="connsiteX37" fmla="*/ 220247 w 354652"/>
              <a:gd name="connsiteY37" fmla="*/ 261993 h 326749"/>
              <a:gd name="connsiteX38" fmla="*/ 210742 w 354652"/>
              <a:gd name="connsiteY38" fmla="*/ 260062 h 326749"/>
              <a:gd name="connsiteX39" fmla="*/ 208811 w 354652"/>
              <a:gd name="connsiteY39" fmla="*/ 269716 h 326749"/>
              <a:gd name="connsiteX40" fmla="*/ 219356 w 354652"/>
              <a:gd name="connsiteY40" fmla="*/ 285905 h 326749"/>
              <a:gd name="connsiteX41" fmla="*/ 197376 w 354652"/>
              <a:gd name="connsiteY41" fmla="*/ 285905 h 326749"/>
              <a:gd name="connsiteX42" fmla="*/ 190693 w 354652"/>
              <a:gd name="connsiteY42" fmla="*/ 293480 h 326749"/>
              <a:gd name="connsiteX43" fmla="*/ 197376 w 354652"/>
              <a:gd name="connsiteY43" fmla="*/ 300163 h 326749"/>
              <a:gd name="connsiteX44" fmla="*/ 219356 w 354652"/>
              <a:gd name="connsiteY44" fmla="*/ 300163 h 326749"/>
              <a:gd name="connsiteX45" fmla="*/ 208811 w 354652"/>
              <a:gd name="connsiteY45" fmla="*/ 316352 h 326749"/>
              <a:gd name="connsiteX46" fmla="*/ 210742 w 354652"/>
              <a:gd name="connsiteY46" fmla="*/ 325858 h 326749"/>
              <a:gd name="connsiteX47" fmla="*/ 214604 w 354652"/>
              <a:gd name="connsiteY47" fmla="*/ 326749 h 326749"/>
              <a:gd name="connsiteX48" fmla="*/ 220247 w 354652"/>
              <a:gd name="connsiteY48" fmla="*/ 323927 h 326749"/>
              <a:gd name="connsiteX49" fmla="*/ 231683 w 354652"/>
              <a:gd name="connsiteY49" fmla="*/ 305808 h 326749"/>
              <a:gd name="connsiteX50" fmla="*/ 243118 w 354652"/>
              <a:gd name="connsiteY50" fmla="*/ 323927 h 326749"/>
              <a:gd name="connsiteX51" fmla="*/ 248910 w 354652"/>
              <a:gd name="connsiteY51" fmla="*/ 326749 h 326749"/>
              <a:gd name="connsiteX52" fmla="*/ 252772 w 354652"/>
              <a:gd name="connsiteY52" fmla="*/ 325858 h 326749"/>
              <a:gd name="connsiteX53" fmla="*/ 254554 w 354652"/>
              <a:gd name="connsiteY53" fmla="*/ 316352 h 326749"/>
              <a:gd name="connsiteX54" fmla="*/ 244158 w 354652"/>
              <a:gd name="connsiteY54" fmla="*/ 300163 h 326749"/>
              <a:gd name="connsiteX55" fmla="*/ 265990 w 354652"/>
              <a:gd name="connsiteY55" fmla="*/ 300163 h 326749"/>
              <a:gd name="connsiteX56" fmla="*/ 272673 w 354652"/>
              <a:gd name="connsiteY56" fmla="*/ 293480 h 326749"/>
              <a:gd name="connsiteX57" fmla="*/ 265990 w 354652"/>
              <a:gd name="connsiteY57" fmla="*/ 285905 h 326749"/>
              <a:gd name="connsiteX58" fmla="*/ 156386 w 354652"/>
              <a:gd name="connsiteY58" fmla="*/ 285905 h 326749"/>
              <a:gd name="connsiteX59" fmla="*/ 135445 w 354652"/>
              <a:gd name="connsiteY59" fmla="*/ 285905 h 326749"/>
              <a:gd name="connsiteX60" fmla="*/ 145990 w 354652"/>
              <a:gd name="connsiteY60" fmla="*/ 269716 h 326749"/>
              <a:gd name="connsiteX61" fmla="*/ 143020 w 354652"/>
              <a:gd name="connsiteY61" fmla="*/ 260062 h 326749"/>
              <a:gd name="connsiteX62" fmla="*/ 133515 w 354652"/>
              <a:gd name="connsiteY62" fmla="*/ 261993 h 326749"/>
              <a:gd name="connsiteX63" fmla="*/ 123118 w 354652"/>
              <a:gd name="connsiteY63" fmla="*/ 280113 h 326749"/>
              <a:gd name="connsiteX64" fmla="*/ 111683 w 354652"/>
              <a:gd name="connsiteY64" fmla="*/ 261993 h 326749"/>
              <a:gd name="connsiteX65" fmla="*/ 102030 w 354652"/>
              <a:gd name="connsiteY65" fmla="*/ 260062 h 326749"/>
              <a:gd name="connsiteX66" fmla="*/ 100247 w 354652"/>
              <a:gd name="connsiteY66" fmla="*/ 269716 h 326749"/>
              <a:gd name="connsiteX67" fmla="*/ 110644 w 354652"/>
              <a:gd name="connsiteY67" fmla="*/ 285905 h 326749"/>
              <a:gd name="connsiteX68" fmla="*/ 88663 w 354652"/>
              <a:gd name="connsiteY68" fmla="*/ 285905 h 326749"/>
              <a:gd name="connsiteX69" fmla="*/ 82128 w 354652"/>
              <a:gd name="connsiteY69" fmla="*/ 293480 h 326749"/>
              <a:gd name="connsiteX70" fmla="*/ 88663 w 354652"/>
              <a:gd name="connsiteY70" fmla="*/ 300163 h 326749"/>
              <a:gd name="connsiteX71" fmla="*/ 110644 w 354652"/>
              <a:gd name="connsiteY71" fmla="*/ 300163 h 326749"/>
              <a:gd name="connsiteX72" fmla="*/ 100247 w 354652"/>
              <a:gd name="connsiteY72" fmla="*/ 316352 h 326749"/>
              <a:gd name="connsiteX73" fmla="*/ 102030 w 354652"/>
              <a:gd name="connsiteY73" fmla="*/ 325858 h 326749"/>
              <a:gd name="connsiteX74" fmla="*/ 105891 w 354652"/>
              <a:gd name="connsiteY74" fmla="*/ 326749 h 326749"/>
              <a:gd name="connsiteX75" fmla="*/ 111683 w 354652"/>
              <a:gd name="connsiteY75" fmla="*/ 323927 h 326749"/>
              <a:gd name="connsiteX76" fmla="*/ 123118 w 354652"/>
              <a:gd name="connsiteY76" fmla="*/ 305808 h 326749"/>
              <a:gd name="connsiteX77" fmla="*/ 133515 w 354652"/>
              <a:gd name="connsiteY77" fmla="*/ 323927 h 326749"/>
              <a:gd name="connsiteX78" fmla="*/ 140198 w 354652"/>
              <a:gd name="connsiteY78" fmla="*/ 326749 h 326749"/>
              <a:gd name="connsiteX79" fmla="*/ 143020 w 354652"/>
              <a:gd name="connsiteY79" fmla="*/ 325858 h 326749"/>
              <a:gd name="connsiteX80" fmla="*/ 145990 w 354652"/>
              <a:gd name="connsiteY80" fmla="*/ 316352 h 326749"/>
              <a:gd name="connsiteX81" fmla="*/ 135445 w 354652"/>
              <a:gd name="connsiteY81" fmla="*/ 300163 h 326749"/>
              <a:gd name="connsiteX82" fmla="*/ 156386 w 354652"/>
              <a:gd name="connsiteY82" fmla="*/ 300163 h 326749"/>
              <a:gd name="connsiteX83" fmla="*/ 164109 w 354652"/>
              <a:gd name="connsiteY83" fmla="*/ 293480 h 326749"/>
              <a:gd name="connsiteX84" fmla="*/ 156386 w 354652"/>
              <a:gd name="connsiteY84" fmla="*/ 285905 h 326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354652" h="326749">
                <a:moveTo>
                  <a:pt x="316633" y="97282"/>
                </a:moveTo>
                <a:cubicBezTo>
                  <a:pt x="316633" y="95351"/>
                  <a:pt x="316633" y="92529"/>
                  <a:pt x="316633" y="90599"/>
                </a:cubicBezTo>
                <a:cubicBezTo>
                  <a:pt x="316633" y="40101"/>
                  <a:pt x="276534" y="0"/>
                  <a:pt x="227970" y="0"/>
                </a:cubicBezTo>
                <a:cubicBezTo>
                  <a:pt x="186980" y="0"/>
                  <a:pt x="153564" y="27625"/>
                  <a:pt x="142128" y="64904"/>
                </a:cubicBezTo>
                <a:cubicBezTo>
                  <a:pt x="134554" y="60151"/>
                  <a:pt x="124010" y="58221"/>
                  <a:pt x="114505" y="58221"/>
                </a:cubicBezTo>
                <a:cubicBezTo>
                  <a:pt x="79158" y="58221"/>
                  <a:pt x="50644" y="86737"/>
                  <a:pt x="50644" y="121937"/>
                </a:cubicBezTo>
                <a:cubicBezTo>
                  <a:pt x="50644" y="124907"/>
                  <a:pt x="50644" y="126838"/>
                  <a:pt x="50644" y="128620"/>
                </a:cubicBezTo>
                <a:cubicBezTo>
                  <a:pt x="23020" y="128620"/>
                  <a:pt x="0" y="151493"/>
                  <a:pt x="0" y="180157"/>
                </a:cubicBezTo>
                <a:cubicBezTo>
                  <a:pt x="0" y="208674"/>
                  <a:pt x="23020" y="231546"/>
                  <a:pt x="50644" y="231546"/>
                </a:cubicBezTo>
                <a:cubicBezTo>
                  <a:pt x="284109" y="231546"/>
                  <a:pt x="284109" y="231546"/>
                  <a:pt x="284109" y="231546"/>
                </a:cubicBezTo>
                <a:cubicBezTo>
                  <a:pt x="284109" y="231546"/>
                  <a:pt x="284109" y="231546"/>
                  <a:pt x="284109" y="231546"/>
                </a:cubicBezTo>
                <a:cubicBezTo>
                  <a:pt x="323316" y="231546"/>
                  <a:pt x="354653" y="200059"/>
                  <a:pt x="354653" y="160998"/>
                </a:cubicBezTo>
                <a:cubicBezTo>
                  <a:pt x="354653" y="133373"/>
                  <a:pt x="339504" y="109609"/>
                  <a:pt x="316633" y="97282"/>
                </a:cubicBezTo>
                <a:close/>
                <a:moveTo>
                  <a:pt x="284109" y="218179"/>
                </a:moveTo>
                <a:cubicBezTo>
                  <a:pt x="50644" y="218179"/>
                  <a:pt x="50644" y="218179"/>
                  <a:pt x="50644" y="218179"/>
                </a:cubicBezTo>
                <a:cubicBezTo>
                  <a:pt x="30594" y="218179"/>
                  <a:pt x="13366" y="201099"/>
                  <a:pt x="13366" y="180157"/>
                </a:cubicBezTo>
                <a:cubicBezTo>
                  <a:pt x="13366" y="159216"/>
                  <a:pt x="30594" y="141987"/>
                  <a:pt x="50644" y="141987"/>
                </a:cubicBezTo>
                <a:cubicBezTo>
                  <a:pt x="53465" y="141987"/>
                  <a:pt x="55396" y="141987"/>
                  <a:pt x="57327" y="143028"/>
                </a:cubicBezTo>
                <a:cubicBezTo>
                  <a:pt x="60149" y="143028"/>
                  <a:pt x="62079" y="141987"/>
                  <a:pt x="64010" y="141097"/>
                </a:cubicBezTo>
                <a:cubicBezTo>
                  <a:pt x="65792" y="139166"/>
                  <a:pt x="65792" y="136344"/>
                  <a:pt x="65792" y="134414"/>
                </a:cubicBezTo>
                <a:cubicBezTo>
                  <a:pt x="64900" y="130552"/>
                  <a:pt x="64010" y="126839"/>
                  <a:pt x="64010" y="121938"/>
                </a:cubicBezTo>
                <a:cubicBezTo>
                  <a:pt x="64010" y="94313"/>
                  <a:pt x="86881" y="71589"/>
                  <a:pt x="114505" y="71589"/>
                </a:cubicBezTo>
                <a:cubicBezTo>
                  <a:pt x="124901" y="71589"/>
                  <a:pt x="134554" y="75302"/>
                  <a:pt x="143020" y="81094"/>
                </a:cubicBezTo>
                <a:cubicBezTo>
                  <a:pt x="144950" y="81984"/>
                  <a:pt x="147772" y="82877"/>
                  <a:pt x="149703" y="81984"/>
                </a:cubicBezTo>
                <a:cubicBezTo>
                  <a:pt x="151633" y="81094"/>
                  <a:pt x="153564" y="79163"/>
                  <a:pt x="153564" y="76340"/>
                </a:cubicBezTo>
                <a:cubicBezTo>
                  <a:pt x="160247" y="40992"/>
                  <a:pt x="190693" y="13367"/>
                  <a:pt x="227970" y="13367"/>
                </a:cubicBezTo>
                <a:cubicBezTo>
                  <a:pt x="268960" y="13367"/>
                  <a:pt x="303267" y="47676"/>
                  <a:pt x="303267" y="90599"/>
                </a:cubicBezTo>
                <a:cubicBezTo>
                  <a:pt x="303267" y="93421"/>
                  <a:pt x="302228" y="97282"/>
                  <a:pt x="302228" y="100995"/>
                </a:cubicBezTo>
                <a:cubicBezTo>
                  <a:pt x="302228" y="103966"/>
                  <a:pt x="303267" y="106788"/>
                  <a:pt x="306089" y="107679"/>
                </a:cubicBezTo>
                <a:cubicBezTo>
                  <a:pt x="327030" y="116293"/>
                  <a:pt x="341435" y="137234"/>
                  <a:pt x="341435" y="160998"/>
                </a:cubicBezTo>
                <a:cubicBezTo>
                  <a:pt x="341435" y="192485"/>
                  <a:pt x="315594" y="218179"/>
                  <a:pt x="284109" y="218179"/>
                </a:cubicBezTo>
                <a:close/>
                <a:moveTo>
                  <a:pt x="265990" y="285905"/>
                </a:moveTo>
                <a:cubicBezTo>
                  <a:pt x="244158" y="285905"/>
                  <a:pt x="244158" y="285905"/>
                  <a:pt x="244158" y="285905"/>
                </a:cubicBezTo>
                <a:cubicBezTo>
                  <a:pt x="254554" y="269716"/>
                  <a:pt x="254554" y="269716"/>
                  <a:pt x="254554" y="269716"/>
                </a:cubicBezTo>
                <a:cubicBezTo>
                  <a:pt x="256485" y="265855"/>
                  <a:pt x="255593" y="261993"/>
                  <a:pt x="252772" y="260062"/>
                </a:cubicBezTo>
                <a:cubicBezTo>
                  <a:pt x="248910" y="258280"/>
                  <a:pt x="245049" y="259170"/>
                  <a:pt x="243118" y="261993"/>
                </a:cubicBezTo>
                <a:cubicBezTo>
                  <a:pt x="231683" y="280113"/>
                  <a:pt x="231683" y="280113"/>
                  <a:pt x="231683" y="280113"/>
                </a:cubicBezTo>
                <a:cubicBezTo>
                  <a:pt x="220247" y="261993"/>
                  <a:pt x="220247" y="261993"/>
                  <a:pt x="220247" y="261993"/>
                </a:cubicBezTo>
                <a:cubicBezTo>
                  <a:pt x="218465" y="259171"/>
                  <a:pt x="214604" y="258280"/>
                  <a:pt x="210742" y="260062"/>
                </a:cubicBezTo>
                <a:cubicBezTo>
                  <a:pt x="207920" y="261993"/>
                  <a:pt x="206881" y="265855"/>
                  <a:pt x="208811" y="269716"/>
                </a:cubicBezTo>
                <a:cubicBezTo>
                  <a:pt x="219356" y="285905"/>
                  <a:pt x="219356" y="285905"/>
                  <a:pt x="219356" y="285905"/>
                </a:cubicBezTo>
                <a:cubicBezTo>
                  <a:pt x="197376" y="285905"/>
                  <a:pt x="197376" y="285905"/>
                  <a:pt x="197376" y="285905"/>
                </a:cubicBezTo>
                <a:cubicBezTo>
                  <a:pt x="193663" y="285905"/>
                  <a:pt x="190693" y="289618"/>
                  <a:pt x="190693" y="293480"/>
                </a:cubicBezTo>
                <a:cubicBezTo>
                  <a:pt x="190693" y="297341"/>
                  <a:pt x="193663" y="300163"/>
                  <a:pt x="197376" y="300163"/>
                </a:cubicBezTo>
                <a:cubicBezTo>
                  <a:pt x="219356" y="300163"/>
                  <a:pt x="219356" y="300163"/>
                  <a:pt x="219356" y="300163"/>
                </a:cubicBezTo>
                <a:cubicBezTo>
                  <a:pt x="208811" y="316352"/>
                  <a:pt x="208811" y="316352"/>
                  <a:pt x="208811" y="316352"/>
                </a:cubicBezTo>
                <a:cubicBezTo>
                  <a:pt x="206881" y="320214"/>
                  <a:pt x="207920" y="323927"/>
                  <a:pt x="210742" y="325858"/>
                </a:cubicBezTo>
                <a:cubicBezTo>
                  <a:pt x="212673" y="326749"/>
                  <a:pt x="213564" y="326749"/>
                  <a:pt x="214604" y="326749"/>
                </a:cubicBezTo>
                <a:cubicBezTo>
                  <a:pt x="217425" y="326749"/>
                  <a:pt x="219356" y="325858"/>
                  <a:pt x="220247" y="323927"/>
                </a:cubicBezTo>
                <a:cubicBezTo>
                  <a:pt x="231683" y="305808"/>
                  <a:pt x="231683" y="305808"/>
                  <a:pt x="231683" y="305808"/>
                </a:cubicBezTo>
                <a:cubicBezTo>
                  <a:pt x="243118" y="323927"/>
                  <a:pt x="243118" y="323927"/>
                  <a:pt x="243118" y="323927"/>
                </a:cubicBezTo>
                <a:cubicBezTo>
                  <a:pt x="244159" y="325858"/>
                  <a:pt x="246980" y="326749"/>
                  <a:pt x="248910" y="326749"/>
                </a:cubicBezTo>
                <a:cubicBezTo>
                  <a:pt x="249802" y="326749"/>
                  <a:pt x="251732" y="326749"/>
                  <a:pt x="252772" y="325858"/>
                </a:cubicBezTo>
                <a:cubicBezTo>
                  <a:pt x="255593" y="323927"/>
                  <a:pt x="256485" y="320214"/>
                  <a:pt x="254554" y="316352"/>
                </a:cubicBezTo>
                <a:cubicBezTo>
                  <a:pt x="244158" y="300163"/>
                  <a:pt x="244158" y="300163"/>
                  <a:pt x="244158" y="300163"/>
                </a:cubicBezTo>
                <a:cubicBezTo>
                  <a:pt x="265990" y="300163"/>
                  <a:pt x="265990" y="300163"/>
                  <a:pt x="265990" y="300163"/>
                </a:cubicBezTo>
                <a:cubicBezTo>
                  <a:pt x="269851" y="300163"/>
                  <a:pt x="272673" y="297341"/>
                  <a:pt x="272673" y="293480"/>
                </a:cubicBezTo>
                <a:cubicBezTo>
                  <a:pt x="272673" y="289618"/>
                  <a:pt x="269851" y="285905"/>
                  <a:pt x="265990" y="285905"/>
                </a:cubicBezTo>
                <a:close/>
                <a:moveTo>
                  <a:pt x="156386" y="285905"/>
                </a:moveTo>
                <a:cubicBezTo>
                  <a:pt x="135445" y="285905"/>
                  <a:pt x="135445" y="285905"/>
                  <a:pt x="135445" y="285905"/>
                </a:cubicBezTo>
                <a:cubicBezTo>
                  <a:pt x="145990" y="269716"/>
                  <a:pt x="145990" y="269716"/>
                  <a:pt x="145990" y="269716"/>
                </a:cubicBezTo>
                <a:cubicBezTo>
                  <a:pt x="147772" y="265855"/>
                  <a:pt x="146882" y="261993"/>
                  <a:pt x="143020" y="260062"/>
                </a:cubicBezTo>
                <a:cubicBezTo>
                  <a:pt x="140198" y="258280"/>
                  <a:pt x="136336" y="259170"/>
                  <a:pt x="133515" y="261993"/>
                </a:cubicBezTo>
                <a:cubicBezTo>
                  <a:pt x="123118" y="280113"/>
                  <a:pt x="123118" y="280113"/>
                  <a:pt x="123118" y="280113"/>
                </a:cubicBezTo>
                <a:cubicBezTo>
                  <a:pt x="111683" y="261993"/>
                  <a:pt x="111683" y="261993"/>
                  <a:pt x="111683" y="261993"/>
                </a:cubicBezTo>
                <a:cubicBezTo>
                  <a:pt x="109752" y="259171"/>
                  <a:pt x="105000" y="258280"/>
                  <a:pt x="102030" y="260062"/>
                </a:cubicBezTo>
                <a:cubicBezTo>
                  <a:pt x="99208" y="261993"/>
                  <a:pt x="98317" y="265855"/>
                  <a:pt x="100247" y="269716"/>
                </a:cubicBezTo>
                <a:cubicBezTo>
                  <a:pt x="110644" y="285905"/>
                  <a:pt x="110644" y="285905"/>
                  <a:pt x="110644" y="285905"/>
                </a:cubicBezTo>
                <a:cubicBezTo>
                  <a:pt x="88663" y="285905"/>
                  <a:pt x="88663" y="285905"/>
                  <a:pt x="88663" y="285905"/>
                </a:cubicBezTo>
                <a:cubicBezTo>
                  <a:pt x="84950" y="285905"/>
                  <a:pt x="82128" y="289618"/>
                  <a:pt x="82128" y="293480"/>
                </a:cubicBezTo>
                <a:cubicBezTo>
                  <a:pt x="82128" y="297341"/>
                  <a:pt x="84950" y="300163"/>
                  <a:pt x="88663" y="300163"/>
                </a:cubicBezTo>
                <a:cubicBezTo>
                  <a:pt x="110644" y="300163"/>
                  <a:pt x="110644" y="300163"/>
                  <a:pt x="110644" y="300163"/>
                </a:cubicBezTo>
                <a:cubicBezTo>
                  <a:pt x="100247" y="316352"/>
                  <a:pt x="100247" y="316352"/>
                  <a:pt x="100247" y="316352"/>
                </a:cubicBezTo>
                <a:cubicBezTo>
                  <a:pt x="98317" y="320214"/>
                  <a:pt x="99207" y="323927"/>
                  <a:pt x="102030" y="325858"/>
                </a:cubicBezTo>
                <a:cubicBezTo>
                  <a:pt x="103070" y="326749"/>
                  <a:pt x="103960" y="326749"/>
                  <a:pt x="105891" y="326749"/>
                </a:cubicBezTo>
                <a:cubicBezTo>
                  <a:pt x="107821" y="326749"/>
                  <a:pt x="109752" y="325858"/>
                  <a:pt x="111683" y="323927"/>
                </a:cubicBezTo>
                <a:cubicBezTo>
                  <a:pt x="123118" y="305808"/>
                  <a:pt x="123118" y="305808"/>
                  <a:pt x="123118" y="305808"/>
                </a:cubicBezTo>
                <a:cubicBezTo>
                  <a:pt x="133515" y="323927"/>
                  <a:pt x="133515" y="323927"/>
                  <a:pt x="133515" y="323927"/>
                </a:cubicBezTo>
                <a:cubicBezTo>
                  <a:pt x="135445" y="325858"/>
                  <a:pt x="137376" y="326749"/>
                  <a:pt x="140198" y="326749"/>
                </a:cubicBezTo>
                <a:cubicBezTo>
                  <a:pt x="141239" y="326749"/>
                  <a:pt x="142128" y="326749"/>
                  <a:pt x="143020" y="325858"/>
                </a:cubicBezTo>
                <a:cubicBezTo>
                  <a:pt x="146881" y="323927"/>
                  <a:pt x="147772" y="320214"/>
                  <a:pt x="145990" y="316352"/>
                </a:cubicBezTo>
                <a:cubicBezTo>
                  <a:pt x="135445" y="300163"/>
                  <a:pt x="135445" y="300163"/>
                  <a:pt x="135445" y="300163"/>
                </a:cubicBezTo>
                <a:cubicBezTo>
                  <a:pt x="156386" y="300163"/>
                  <a:pt x="156386" y="300163"/>
                  <a:pt x="156386" y="300163"/>
                </a:cubicBezTo>
                <a:cubicBezTo>
                  <a:pt x="160247" y="300163"/>
                  <a:pt x="164109" y="297341"/>
                  <a:pt x="164109" y="293480"/>
                </a:cubicBezTo>
                <a:cubicBezTo>
                  <a:pt x="164109" y="289618"/>
                  <a:pt x="160247" y="285905"/>
                  <a:pt x="156386" y="285905"/>
                </a:cubicBezTo>
                <a:close/>
              </a:path>
            </a:pathLst>
          </a:custGeom>
          <a:solidFill>
            <a:schemeClr val="tx2"/>
          </a:solidFill>
          <a:ln w="3705" cap="flat">
            <a:noFill/>
            <a:prstDash val="solid"/>
            <a:miter/>
          </a:ln>
        </p:spPr>
        <p:txBody>
          <a:bodyPr rtlCol="0" anchor="ctr"/>
          <a:lstStyle/>
          <a:p>
            <a:endParaRPr lang="en-GB" dirty="0"/>
          </a:p>
        </p:txBody>
      </p:sp>
      <p:sp>
        <p:nvSpPr>
          <p:cNvPr id="41" name="Freeform: Shape 40">
            <a:extLst>
              <a:ext uri="{FF2B5EF4-FFF2-40B4-BE49-F238E27FC236}">
                <a16:creationId xmlns:a16="http://schemas.microsoft.com/office/drawing/2014/main" id="{F523F15D-50FA-4192-9DC8-C31D769736F7}"/>
              </a:ext>
            </a:extLst>
          </p:cNvPr>
          <p:cNvSpPr/>
          <p:nvPr/>
        </p:nvSpPr>
        <p:spPr>
          <a:xfrm flipH="1">
            <a:off x="5022118" y="1610985"/>
            <a:ext cx="382300" cy="381998"/>
          </a:xfrm>
          <a:custGeom>
            <a:avLst/>
            <a:gdLst>
              <a:gd name="connsiteX0" fmla="*/ 324231 w 382300"/>
              <a:gd name="connsiteY0" fmla="*/ 63349 h 381998"/>
              <a:gd name="connsiteX1" fmla="*/ 344280 w 382300"/>
              <a:gd name="connsiteY1" fmla="*/ 135827 h 381998"/>
              <a:gd name="connsiteX2" fmla="*/ 270914 w 382300"/>
              <a:gd name="connsiteY2" fmla="*/ 260586 h 381998"/>
              <a:gd name="connsiteX3" fmla="*/ 267944 w 382300"/>
              <a:gd name="connsiteY3" fmla="*/ 270091 h 381998"/>
              <a:gd name="connsiteX4" fmla="*/ 274627 w 382300"/>
              <a:gd name="connsiteY4" fmla="*/ 272913 h 381998"/>
              <a:gd name="connsiteX5" fmla="*/ 277597 w 382300"/>
              <a:gd name="connsiteY5" fmla="*/ 272022 h 381998"/>
              <a:gd name="connsiteX6" fmla="*/ 357647 w 382300"/>
              <a:gd name="connsiteY6" fmla="*/ 135827 h 381998"/>
              <a:gd name="connsiteX7" fmla="*/ 335667 w 382300"/>
              <a:gd name="connsiteY7" fmla="*/ 56665 h 381998"/>
              <a:gd name="connsiteX8" fmla="*/ 327201 w 382300"/>
              <a:gd name="connsiteY8" fmla="*/ 54734 h 381998"/>
              <a:gd name="connsiteX9" fmla="*/ 324231 w 382300"/>
              <a:gd name="connsiteY9" fmla="*/ 63349 h 381998"/>
              <a:gd name="connsiteX10" fmla="*/ 378587 w 382300"/>
              <a:gd name="connsiteY10" fmla="*/ 238605 h 381998"/>
              <a:gd name="connsiteX11" fmla="*/ 369082 w 382300"/>
              <a:gd name="connsiteY11" fmla="*/ 240535 h 381998"/>
              <a:gd name="connsiteX12" fmla="*/ 242251 w 382300"/>
              <a:gd name="connsiteY12" fmla="*/ 313014 h 381998"/>
              <a:gd name="connsiteX13" fmla="*/ 169776 w 382300"/>
              <a:gd name="connsiteY13" fmla="*/ 293855 h 381998"/>
              <a:gd name="connsiteX14" fmla="*/ 160271 w 382300"/>
              <a:gd name="connsiteY14" fmla="*/ 295786 h 381998"/>
              <a:gd name="connsiteX15" fmla="*/ 163093 w 382300"/>
              <a:gd name="connsiteY15" fmla="*/ 305291 h 381998"/>
              <a:gd name="connsiteX16" fmla="*/ 242251 w 382300"/>
              <a:gd name="connsiteY16" fmla="*/ 326233 h 381998"/>
              <a:gd name="connsiteX17" fmla="*/ 242251 w 382300"/>
              <a:gd name="connsiteY17" fmla="*/ 326233 h 381998"/>
              <a:gd name="connsiteX18" fmla="*/ 381558 w 382300"/>
              <a:gd name="connsiteY18" fmla="*/ 248259 h 381998"/>
              <a:gd name="connsiteX19" fmla="*/ 378587 w 382300"/>
              <a:gd name="connsiteY19" fmla="*/ 238605 h 381998"/>
              <a:gd name="connsiteX20" fmla="*/ 235568 w 382300"/>
              <a:gd name="connsiteY20" fmla="*/ 368264 h 381998"/>
              <a:gd name="connsiteX21" fmla="*/ 89727 w 382300"/>
              <a:gd name="connsiteY21" fmla="*/ 224347 h 381998"/>
              <a:gd name="connsiteX22" fmla="*/ 83043 w 382300"/>
              <a:gd name="connsiteY22" fmla="*/ 216772 h 381998"/>
              <a:gd name="connsiteX23" fmla="*/ 76360 w 382300"/>
              <a:gd name="connsiteY23" fmla="*/ 224347 h 381998"/>
              <a:gd name="connsiteX24" fmla="*/ 235568 w 382300"/>
              <a:gd name="connsiteY24" fmla="*/ 381483 h 381998"/>
              <a:gd name="connsiteX25" fmla="*/ 243142 w 382300"/>
              <a:gd name="connsiteY25" fmla="*/ 374948 h 381998"/>
              <a:gd name="connsiteX26" fmla="*/ 235568 w 382300"/>
              <a:gd name="connsiteY26" fmla="*/ 368264 h 381998"/>
              <a:gd name="connsiteX27" fmla="*/ 57202 w 382300"/>
              <a:gd name="connsiteY27" fmla="*/ 317767 h 381998"/>
              <a:gd name="connsiteX28" fmla="*/ 38192 w 382300"/>
              <a:gd name="connsiteY28" fmla="*/ 246328 h 381998"/>
              <a:gd name="connsiteX29" fmla="*/ 111558 w 382300"/>
              <a:gd name="connsiteY29" fmla="*/ 121421 h 381998"/>
              <a:gd name="connsiteX30" fmla="*/ 113489 w 382300"/>
              <a:gd name="connsiteY30" fmla="*/ 111915 h 381998"/>
              <a:gd name="connsiteX31" fmla="*/ 103984 w 382300"/>
              <a:gd name="connsiteY31" fmla="*/ 109094 h 381998"/>
              <a:gd name="connsiteX32" fmla="*/ 24826 w 382300"/>
              <a:gd name="connsiteY32" fmla="*/ 246328 h 381998"/>
              <a:gd name="connsiteX33" fmla="*/ 45766 w 382300"/>
              <a:gd name="connsiteY33" fmla="*/ 324450 h 381998"/>
              <a:gd name="connsiteX34" fmla="*/ 51558 w 382300"/>
              <a:gd name="connsiteY34" fmla="*/ 328163 h 381998"/>
              <a:gd name="connsiteX35" fmla="*/ 55271 w 382300"/>
              <a:gd name="connsiteY35" fmla="*/ 327272 h 381998"/>
              <a:gd name="connsiteX36" fmla="*/ 57202 w 382300"/>
              <a:gd name="connsiteY36" fmla="*/ 317767 h 381998"/>
              <a:gd name="connsiteX37" fmla="*/ 139182 w 382300"/>
              <a:gd name="connsiteY37" fmla="*/ 68101 h 381998"/>
              <a:gd name="connsiteX38" fmla="*/ 212697 w 382300"/>
              <a:gd name="connsiteY38" fmla="*/ 88152 h 381998"/>
              <a:gd name="connsiteX39" fmla="*/ 221310 w 382300"/>
              <a:gd name="connsiteY39" fmla="*/ 85330 h 381998"/>
              <a:gd name="connsiteX40" fmla="*/ 219380 w 382300"/>
              <a:gd name="connsiteY40" fmla="*/ 75824 h 381998"/>
              <a:gd name="connsiteX41" fmla="*/ 139182 w 382300"/>
              <a:gd name="connsiteY41" fmla="*/ 54734 h 381998"/>
              <a:gd name="connsiteX42" fmla="*/ 915 w 382300"/>
              <a:gd name="connsiteY42" fmla="*/ 133897 h 381998"/>
              <a:gd name="connsiteX43" fmla="*/ 3885 w 382300"/>
              <a:gd name="connsiteY43" fmla="*/ 143402 h 381998"/>
              <a:gd name="connsiteX44" fmla="*/ 6707 w 382300"/>
              <a:gd name="connsiteY44" fmla="*/ 144293 h 381998"/>
              <a:gd name="connsiteX45" fmla="*/ 12350 w 382300"/>
              <a:gd name="connsiteY45" fmla="*/ 140580 h 381998"/>
              <a:gd name="connsiteX46" fmla="*/ 12350 w 382300"/>
              <a:gd name="connsiteY46" fmla="*/ 140580 h 381998"/>
              <a:gd name="connsiteX47" fmla="*/ 139182 w 382300"/>
              <a:gd name="connsiteY47" fmla="*/ 68101 h 381998"/>
              <a:gd name="connsiteX48" fmla="*/ 145865 w 382300"/>
              <a:gd name="connsiteY48" fmla="*/ 13891 h 381998"/>
              <a:gd name="connsiteX49" fmla="*/ 145865 w 382300"/>
              <a:gd name="connsiteY49" fmla="*/ 13891 h 381998"/>
              <a:gd name="connsiteX50" fmla="*/ 291855 w 382300"/>
              <a:gd name="connsiteY50" fmla="*/ 157660 h 381998"/>
              <a:gd name="connsiteX51" fmla="*/ 299429 w 382300"/>
              <a:gd name="connsiteY51" fmla="*/ 164344 h 381998"/>
              <a:gd name="connsiteX52" fmla="*/ 306112 w 382300"/>
              <a:gd name="connsiteY52" fmla="*/ 157660 h 381998"/>
              <a:gd name="connsiteX53" fmla="*/ 145865 w 382300"/>
              <a:gd name="connsiteY53" fmla="*/ -516 h 381998"/>
              <a:gd name="connsiteX54" fmla="*/ 139182 w 382300"/>
              <a:gd name="connsiteY54" fmla="*/ 7207 h 381998"/>
              <a:gd name="connsiteX55" fmla="*/ 145865 w 382300"/>
              <a:gd name="connsiteY55" fmla="*/ 13891 h 381998"/>
              <a:gd name="connsiteX56" fmla="*/ 136360 w 382300"/>
              <a:gd name="connsiteY56" fmla="*/ 191078 h 381998"/>
              <a:gd name="connsiteX57" fmla="*/ 190716 w 382300"/>
              <a:gd name="connsiteY57" fmla="*/ 245288 h 381998"/>
              <a:gd name="connsiteX58" fmla="*/ 246112 w 382300"/>
              <a:gd name="connsiteY58" fmla="*/ 191078 h 381998"/>
              <a:gd name="connsiteX59" fmla="*/ 190716 w 382300"/>
              <a:gd name="connsiteY59" fmla="*/ 135827 h 381998"/>
              <a:gd name="connsiteX60" fmla="*/ 136360 w 382300"/>
              <a:gd name="connsiteY60" fmla="*/ 191078 h 381998"/>
              <a:gd name="connsiteX61" fmla="*/ 231706 w 382300"/>
              <a:gd name="connsiteY61" fmla="*/ 191078 h 381998"/>
              <a:gd name="connsiteX62" fmla="*/ 190716 w 382300"/>
              <a:gd name="connsiteY62" fmla="*/ 231921 h 381998"/>
              <a:gd name="connsiteX63" fmla="*/ 149726 w 382300"/>
              <a:gd name="connsiteY63" fmla="*/ 191078 h 381998"/>
              <a:gd name="connsiteX64" fmla="*/ 190716 w 382300"/>
              <a:gd name="connsiteY64" fmla="*/ 150085 h 381998"/>
              <a:gd name="connsiteX65" fmla="*/ 231706 w 382300"/>
              <a:gd name="connsiteY65" fmla="*/ 191078 h 381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82300" h="381998">
                <a:moveTo>
                  <a:pt x="324231" y="63349"/>
                </a:moveTo>
                <a:cubicBezTo>
                  <a:pt x="337597" y="86221"/>
                  <a:pt x="344280" y="111024"/>
                  <a:pt x="344280" y="135827"/>
                </a:cubicBezTo>
                <a:cubicBezTo>
                  <a:pt x="344280" y="185285"/>
                  <a:pt x="317548" y="233852"/>
                  <a:pt x="270914" y="260586"/>
                </a:cubicBezTo>
                <a:cubicBezTo>
                  <a:pt x="267944" y="262517"/>
                  <a:pt x="266162" y="266230"/>
                  <a:pt x="267944" y="270091"/>
                </a:cubicBezTo>
                <a:cubicBezTo>
                  <a:pt x="269875" y="272022"/>
                  <a:pt x="271805" y="272913"/>
                  <a:pt x="274627" y="272913"/>
                </a:cubicBezTo>
                <a:cubicBezTo>
                  <a:pt x="275667" y="272913"/>
                  <a:pt x="276558" y="272913"/>
                  <a:pt x="277597" y="272022"/>
                </a:cubicBezTo>
                <a:cubicBezTo>
                  <a:pt x="328983" y="243357"/>
                  <a:pt x="357647" y="190038"/>
                  <a:pt x="357647" y="135827"/>
                </a:cubicBezTo>
                <a:cubicBezTo>
                  <a:pt x="357647" y="109094"/>
                  <a:pt x="350964" y="81468"/>
                  <a:pt x="335667" y="56665"/>
                </a:cubicBezTo>
                <a:cubicBezTo>
                  <a:pt x="333884" y="53843"/>
                  <a:pt x="330023" y="52952"/>
                  <a:pt x="327201" y="54734"/>
                </a:cubicBezTo>
                <a:cubicBezTo>
                  <a:pt x="323340" y="56665"/>
                  <a:pt x="322300" y="60527"/>
                  <a:pt x="324231" y="63349"/>
                </a:cubicBezTo>
                <a:close/>
                <a:moveTo>
                  <a:pt x="378587" y="238605"/>
                </a:moveTo>
                <a:cubicBezTo>
                  <a:pt x="375766" y="236822"/>
                  <a:pt x="371013" y="237714"/>
                  <a:pt x="369082" y="240535"/>
                </a:cubicBezTo>
                <a:cubicBezTo>
                  <a:pt x="342350" y="287171"/>
                  <a:pt x="292746" y="313014"/>
                  <a:pt x="242251" y="313014"/>
                </a:cubicBezTo>
                <a:cubicBezTo>
                  <a:pt x="217449" y="313014"/>
                  <a:pt x="192647" y="306331"/>
                  <a:pt x="169776" y="293855"/>
                </a:cubicBezTo>
                <a:cubicBezTo>
                  <a:pt x="165915" y="292073"/>
                  <a:pt x="162202" y="292964"/>
                  <a:pt x="160271" y="295786"/>
                </a:cubicBezTo>
                <a:cubicBezTo>
                  <a:pt x="158340" y="299647"/>
                  <a:pt x="159231" y="303509"/>
                  <a:pt x="163093" y="305291"/>
                </a:cubicBezTo>
                <a:cubicBezTo>
                  <a:pt x="187895" y="319698"/>
                  <a:pt x="215518" y="326233"/>
                  <a:pt x="242251" y="326233"/>
                </a:cubicBezTo>
                <a:cubicBezTo>
                  <a:pt x="242251" y="326233"/>
                  <a:pt x="242251" y="326233"/>
                  <a:pt x="242251" y="326233"/>
                </a:cubicBezTo>
                <a:cubicBezTo>
                  <a:pt x="297647" y="326233"/>
                  <a:pt x="352003" y="298608"/>
                  <a:pt x="381558" y="248259"/>
                </a:cubicBezTo>
                <a:cubicBezTo>
                  <a:pt x="383340" y="244397"/>
                  <a:pt x="381558" y="240535"/>
                  <a:pt x="378587" y="238605"/>
                </a:cubicBezTo>
                <a:close/>
                <a:moveTo>
                  <a:pt x="235568" y="368264"/>
                </a:moveTo>
                <a:cubicBezTo>
                  <a:pt x="155518" y="368264"/>
                  <a:pt x="89727" y="303509"/>
                  <a:pt x="89727" y="224347"/>
                </a:cubicBezTo>
                <a:cubicBezTo>
                  <a:pt x="89727" y="220633"/>
                  <a:pt x="86756" y="216772"/>
                  <a:pt x="83043" y="216772"/>
                </a:cubicBezTo>
                <a:cubicBezTo>
                  <a:pt x="79182" y="216772"/>
                  <a:pt x="76360" y="220633"/>
                  <a:pt x="76360" y="224347"/>
                </a:cubicBezTo>
                <a:cubicBezTo>
                  <a:pt x="76360" y="311084"/>
                  <a:pt x="147796" y="381483"/>
                  <a:pt x="235568" y="381483"/>
                </a:cubicBezTo>
                <a:cubicBezTo>
                  <a:pt x="239429" y="381483"/>
                  <a:pt x="243142" y="378661"/>
                  <a:pt x="243142" y="374948"/>
                </a:cubicBezTo>
                <a:cubicBezTo>
                  <a:pt x="243142" y="371086"/>
                  <a:pt x="239429" y="368264"/>
                  <a:pt x="235568" y="368264"/>
                </a:cubicBezTo>
                <a:close/>
                <a:moveTo>
                  <a:pt x="57202" y="317767"/>
                </a:moveTo>
                <a:cubicBezTo>
                  <a:pt x="44875" y="294894"/>
                  <a:pt x="38192" y="270091"/>
                  <a:pt x="38192" y="246328"/>
                </a:cubicBezTo>
                <a:cubicBezTo>
                  <a:pt x="38192" y="195830"/>
                  <a:pt x="63885" y="148155"/>
                  <a:pt x="111558" y="121421"/>
                </a:cubicBezTo>
                <a:cubicBezTo>
                  <a:pt x="114528" y="119639"/>
                  <a:pt x="115420" y="114886"/>
                  <a:pt x="113489" y="111915"/>
                </a:cubicBezTo>
                <a:cubicBezTo>
                  <a:pt x="111558" y="108202"/>
                  <a:pt x="107845" y="107163"/>
                  <a:pt x="103984" y="109094"/>
                </a:cubicBezTo>
                <a:cubicBezTo>
                  <a:pt x="53489" y="138649"/>
                  <a:pt x="24826" y="191078"/>
                  <a:pt x="24826" y="246328"/>
                </a:cubicBezTo>
                <a:cubicBezTo>
                  <a:pt x="24826" y="272913"/>
                  <a:pt x="31509" y="299647"/>
                  <a:pt x="45766" y="324450"/>
                </a:cubicBezTo>
                <a:cubicBezTo>
                  <a:pt x="46806" y="326233"/>
                  <a:pt x="49628" y="328163"/>
                  <a:pt x="51558" y="328163"/>
                </a:cubicBezTo>
                <a:cubicBezTo>
                  <a:pt x="53489" y="328163"/>
                  <a:pt x="54380" y="327272"/>
                  <a:pt x="55271" y="327272"/>
                </a:cubicBezTo>
                <a:cubicBezTo>
                  <a:pt x="58241" y="325342"/>
                  <a:pt x="59133" y="320589"/>
                  <a:pt x="57202" y="317767"/>
                </a:cubicBezTo>
                <a:close/>
                <a:moveTo>
                  <a:pt x="139182" y="68101"/>
                </a:moveTo>
                <a:cubicBezTo>
                  <a:pt x="163984" y="68101"/>
                  <a:pt x="189825" y="74785"/>
                  <a:pt x="212697" y="88152"/>
                </a:cubicBezTo>
                <a:cubicBezTo>
                  <a:pt x="215518" y="90083"/>
                  <a:pt x="220271" y="88152"/>
                  <a:pt x="221310" y="85330"/>
                </a:cubicBezTo>
                <a:cubicBezTo>
                  <a:pt x="223241" y="82359"/>
                  <a:pt x="222202" y="77607"/>
                  <a:pt x="219380" y="75824"/>
                </a:cubicBezTo>
                <a:cubicBezTo>
                  <a:pt x="193687" y="61418"/>
                  <a:pt x="166954" y="54734"/>
                  <a:pt x="139182" y="54734"/>
                </a:cubicBezTo>
                <a:cubicBezTo>
                  <a:pt x="83934" y="54734"/>
                  <a:pt x="30469" y="83399"/>
                  <a:pt x="915" y="133897"/>
                </a:cubicBezTo>
                <a:cubicBezTo>
                  <a:pt x="-1016" y="136718"/>
                  <a:pt x="24" y="141471"/>
                  <a:pt x="3885" y="143402"/>
                </a:cubicBezTo>
                <a:cubicBezTo>
                  <a:pt x="4776" y="143402"/>
                  <a:pt x="5667" y="144293"/>
                  <a:pt x="6707" y="144293"/>
                </a:cubicBezTo>
                <a:cubicBezTo>
                  <a:pt x="9529" y="144293"/>
                  <a:pt x="11459" y="142511"/>
                  <a:pt x="12350" y="140580"/>
                </a:cubicBezTo>
                <a:cubicBezTo>
                  <a:pt x="12350" y="140580"/>
                  <a:pt x="12350" y="140580"/>
                  <a:pt x="12350" y="140580"/>
                </a:cubicBezTo>
                <a:cubicBezTo>
                  <a:pt x="40123" y="94835"/>
                  <a:pt x="88687" y="68101"/>
                  <a:pt x="139182" y="68101"/>
                </a:cubicBezTo>
                <a:close/>
                <a:moveTo>
                  <a:pt x="145865" y="13891"/>
                </a:moveTo>
                <a:cubicBezTo>
                  <a:pt x="145865" y="13891"/>
                  <a:pt x="145865" y="13891"/>
                  <a:pt x="145865" y="13891"/>
                </a:cubicBezTo>
                <a:cubicBezTo>
                  <a:pt x="226954" y="13891"/>
                  <a:pt x="291855" y="77607"/>
                  <a:pt x="291855" y="157660"/>
                </a:cubicBezTo>
                <a:cubicBezTo>
                  <a:pt x="291855" y="161522"/>
                  <a:pt x="295716" y="164344"/>
                  <a:pt x="299429" y="164344"/>
                </a:cubicBezTo>
                <a:cubicBezTo>
                  <a:pt x="303290" y="164344"/>
                  <a:pt x="306112" y="161522"/>
                  <a:pt x="306112" y="157660"/>
                </a:cubicBezTo>
                <a:cubicBezTo>
                  <a:pt x="306112" y="70032"/>
                  <a:pt x="234677" y="524"/>
                  <a:pt x="145865" y="-516"/>
                </a:cubicBezTo>
                <a:cubicBezTo>
                  <a:pt x="142152" y="-516"/>
                  <a:pt x="139182" y="3346"/>
                  <a:pt x="139182" y="7207"/>
                </a:cubicBezTo>
                <a:cubicBezTo>
                  <a:pt x="139182" y="10920"/>
                  <a:pt x="142152" y="13891"/>
                  <a:pt x="145865" y="13891"/>
                </a:cubicBezTo>
                <a:close/>
                <a:moveTo>
                  <a:pt x="136360" y="191078"/>
                </a:moveTo>
                <a:cubicBezTo>
                  <a:pt x="136360" y="220633"/>
                  <a:pt x="161162" y="245288"/>
                  <a:pt x="190716" y="245288"/>
                </a:cubicBezTo>
                <a:cubicBezTo>
                  <a:pt x="221310" y="245288"/>
                  <a:pt x="246112" y="220633"/>
                  <a:pt x="246112" y="191078"/>
                </a:cubicBezTo>
                <a:cubicBezTo>
                  <a:pt x="246112" y="160482"/>
                  <a:pt x="221310" y="135827"/>
                  <a:pt x="190716" y="135827"/>
                </a:cubicBezTo>
                <a:cubicBezTo>
                  <a:pt x="161162" y="135827"/>
                  <a:pt x="136360" y="160482"/>
                  <a:pt x="136360" y="191078"/>
                </a:cubicBezTo>
                <a:close/>
                <a:moveTo>
                  <a:pt x="231706" y="191078"/>
                </a:moveTo>
                <a:cubicBezTo>
                  <a:pt x="231706" y="212910"/>
                  <a:pt x="213588" y="231921"/>
                  <a:pt x="190716" y="231921"/>
                </a:cubicBezTo>
                <a:cubicBezTo>
                  <a:pt x="168885" y="231921"/>
                  <a:pt x="149726" y="212910"/>
                  <a:pt x="149726" y="191078"/>
                </a:cubicBezTo>
                <a:cubicBezTo>
                  <a:pt x="149726" y="168205"/>
                  <a:pt x="168885" y="150085"/>
                  <a:pt x="190716" y="150085"/>
                </a:cubicBezTo>
                <a:cubicBezTo>
                  <a:pt x="213588" y="150085"/>
                  <a:pt x="231706" y="168205"/>
                  <a:pt x="231706" y="191078"/>
                </a:cubicBezTo>
                <a:close/>
              </a:path>
            </a:pathLst>
          </a:custGeom>
          <a:solidFill>
            <a:schemeClr val="tx2"/>
          </a:solidFill>
          <a:ln w="3705" cap="flat">
            <a:noFill/>
            <a:prstDash val="solid"/>
            <a:miter/>
          </a:ln>
        </p:spPr>
        <p:txBody>
          <a:bodyPr rtlCol="0" anchor="ctr"/>
          <a:lstStyle/>
          <a:p>
            <a:endParaRPr lang="en-GB" dirty="0"/>
          </a:p>
        </p:txBody>
      </p:sp>
      <p:grpSp>
        <p:nvGrpSpPr>
          <p:cNvPr id="89" name="Group 88">
            <a:extLst>
              <a:ext uri="{FF2B5EF4-FFF2-40B4-BE49-F238E27FC236}">
                <a16:creationId xmlns:a16="http://schemas.microsoft.com/office/drawing/2014/main" id="{A425CC8F-5947-4F68-9131-C04E3D5D8EF3}"/>
              </a:ext>
            </a:extLst>
          </p:cNvPr>
          <p:cNvGrpSpPr/>
          <p:nvPr/>
        </p:nvGrpSpPr>
        <p:grpSpPr>
          <a:xfrm>
            <a:off x="7119882" y="2421664"/>
            <a:ext cx="368924" cy="371732"/>
            <a:chOff x="1655022" y="1616118"/>
            <a:chExt cx="368924" cy="371732"/>
          </a:xfrm>
        </p:grpSpPr>
        <p:grpSp>
          <p:nvGrpSpPr>
            <p:cNvPr id="91" name="Group 90">
              <a:extLst>
                <a:ext uri="{FF2B5EF4-FFF2-40B4-BE49-F238E27FC236}">
                  <a16:creationId xmlns:a16="http://schemas.microsoft.com/office/drawing/2014/main" id="{07C76720-154D-4737-A0E9-F342F33A977E}"/>
                </a:ext>
              </a:extLst>
            </p:cNvPr>
            <p:cNvGrpSpPr/>
            <p:nvPr/>
          </p:nvGrpSpPr>
          <p:grpSpPr>
            <a:xfrm>
              <a:off x="1659703" y="1862379"/>
              <a:ext cx="343643" cy="125471"/>
              <a:chOff x="1659703" y="1862379"/>
              <a:chExt cx="343643" cy="125471"/>
            </a:xfrm>
          </p:grpSpPr>
          <p:sp>
            <p:nvSpPr>
              <p:cNvPr id="106" name="Freeform 15">
                <a:extLst>
                  <a:ext uri="{FF2B5EF4-FFF2-40B4-BE49-F238E27FC236}">
                    <a16:creationId xmlns:a16="http://schemas.microsoft.com/office/drawing/2014/main" id="{2225C12D-94D2-4045-8762-73D8C8AA7097}"/>
                  </a:ext>
                </a:extLst>
              </p:cNvPr>
              <p:cNvSpPr>
                <a:spLocks/>
              </p:cNvSpPr>
              <p:nvPr/>
            </p:nvSpPr>
            <p:spPr bwMode="auto">
              <a:xfrm>
                <a:off x="1699031" y="1866592"/>
                <a:ext cx="46350" cy="113298"/>
              </a:xfrm>
              <a:custGeom>
                <a:avLst/>
                <a:gdLst>
                  <a:gd name="T0" fmla="*/ 60 w 106"/>
                  <a:gd name="T1" fmla="*/ 260 h 260"/>
                  <a:gd name="T2" fmla="*/ 36 w 106"/>
                  <a:gd name="T3" fmla="*/ 248 h 260"/>
                  <a:gd name="T4" fmla="*/ 75 w 106"/>
                  <a:gd name="T5" fmla="*/ 166 h 260"/>
                  <a:gd name="T6" fmla="*/ 5 w 106"/>
                  <a:gd name="T7" fmla="*/ 90 h 260"/>
                  <a:gd name="T8" fmla="*/ 6 w 106"/>
                  <a:gd name="T9" fmla="*/ 71 h 260"/>
                  <a:gd name="T10" fmla="*/ 82 w 106"/>
                  <a:gd name="T11" fmla="*/ 0 h 260"/>
                  <a:gd name="T12" fmla="*/ 100 w 106"/>
                  <a:gd name="T13" fmla="*/ 20 h 260"/>
                  <a:gd name="T14" fmla="*/ 34 w 106"/>
                  <a:gd name="T15" fmla="*/ 81 h 260"/>
                  <a:gd name="T16" fmla="*/ 101 w 106"/>
                  <a:gd name="T17" fmla="*/ 155 h 260"/>
                  <a:gd name="T18" fmla="*/ 103 w 106"/>
                  <a:gd name="T19" fmla="*/ 170 h 260"/>
                  <a:gd name="T20" fmla="*/ 60 w 106"/>
                  <a:gd name="T21"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6" h="260">
                    <a:moveTo>
                      <a:pt x="60" y="260"/>
                    </a:moveTo>
                    <a:cubicBezTo>
                      <a:pt x="36" y="248"/>
                      <a:pt x="36" y="248"/>
                      <a:pt x="36" y="248"/>
                    </a:cubicBezTo>
                    <a:cubicBezTo>
                      <a:pt x="75" y="166"/>
                      <a:pt x="75" y="166"/>
                      <a:pt x="75" y="166"/>
                    </a:cubicBezTo>
                    <a:cubicBezTo>
                      <a:pt x="5" y="90"/>
                      <a:pt x="5" y="90"/>
                      <a:pt x="5" y="90"/>
                    </a:cubicBezTo>
                    <a:cubicBezTo>
                      <a:pt x="0" y="84"/>
                      <a:pt x="1" y="76"/>
                      <a:pt x="6" y="71"/>
                    </a:cubicBezTo>
                    <a:cubicBezTo>
                      <a:pt x="82" y="0"/>
                      <a:pt x="82" y="0"/>
                      <a:pt x="82" y="0"/>
                    </a:cubicBezTo>
                    <a:cubicBezTo>
                      <a:pt x="100" y="20"/>
                      <a:pt x="100" y="20"/>
                      <a:pt x="100" y="20"/>
                    </a:cubicBezTo>
                    <a:cubicBezTo>
                      <a:pt x="34" y="81"/>
                      <a:pt x="34" y="81"/>
                      <a:pt x="34" y="81"/>
                    </a:cubicBezTo>
                    <a:cubicBezTo>
                      <a:pt x="101" y="155"/>
                      <a:pt x="101" y="155"/>
                      <a:pt x="101" y="155"/>
                    </a:cubicBezTo>
                    <a:cubicBezTo>
                      <a:pt x="105" y="159"/>
                      <a:pt x="106" y="165"/>
                      <a:pt x="103" y="170"/>
                    </a:cubicBezTo>
                    <a:lnTo>
                      <a:pt x="60" y="260"/>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7" name="Freeform 16">
                <a:extLst>
                  <a:ext uri="{FF2B5EF4-FFF2-40B4-BE49-F238E27FC236}">
                    <a16:creationId xmlns:a16="http://schemas.microsoft.com/office/drawing/2014/main" id="{AE11CAB4-711E-424F-AF1B-14B436FEE8F6}"/>
                  </a:ext>
                </a:extLst>
              </p:cNvPr>
              <p:cNvSpPr>
                <a:spLocks/>
              </p:cNvSpPr>
              <p:nvPr/>
            </p:nvSpPr>
            <p:spPr bwMode="auto">
              <a:xfrm>
                <a:off x="1659703" y="1910601"/>
                <a:ext cx="66949" cy="28559"/>
              </a:xfrm>
              <a:custGeom>
                <a:avLst/>
                <a:gdLst>
                  <a:gd name="T0" fmla="*/ 47 w 154"/>
                  <a:gd name="T1" fmla="*/ 65 h 65"/>
                  <a:gd name="T2" fmla="*/ 39 w 154"/>
                  <a:gd name="T3" fmla="*/ 62 h 65"/>
                  <a:gd name="T4" fmla="*/ 0 w 154"/>
                  <a:gd name="T5" fmla="*/ 31 h 65"/>
                  <a:gd name="T6" fmla="*/ 17 w 154"/>
                  <a:gd name="T7" fmla="*/ 10 h 65"/>
                  <a:gd name="T8" fmla="*/ 49 w 154"/>
                  <a:gd name="T9" fmla="*/ 35 h 65"/>
                  <a:gd name="T10" fmla="*/ 154 w 154"/>
                  <a:gd name="T11" fmla="*/ 12 h 65"/>
                  <a:gd name="T12" fmla="*/ 134 w 154"/>
                  <a:gd name="T13" fmla="*/ 30 h 65"/>
                  <a:gd name="T14" fmla="*/ 142 w 154"/>
                  <a:gd name="T15" fmla="*/ 34 h 65"/>
                  <a:gd name="T16" fmla="*/ 52 w 154"/>
                  <a:gd name="T17" fmla="*/ 64 h 65"/>
                  <a:gd name="T18" fmla="*/ 47 w 154"/>
                  <a:gd name="T19" fmla="*/ 6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65">
                    <a:moveTo>
                      <a:pt x="47" y="65"/>
                    </a:moveTo>
                    <a:cubicBezTo>
                      <a:pt x="44" y="65"/>
                      <a:pt x="41" y="64"/>
                      <a:pt x="39" y="62"/>
                    </a:cubicBezTo>
                    <a:cubicBezTo>
                      <a:pt x="0" y="31"/>
                      <a:pt x="0" y="31"/>
                      <a:pt x="0" y="31"/>
                    </a:cubicBezTo>
                    <a:cubicBezTo>
                      <a:pt x="17" y="10"/>
                      <a:pt x="17" y="10"/>
                      <a:pt x="17" y="10"/>
                    </a:cubicBezTo>
                    <a:cubicBezTo>
                      <a:pt x="49" y="35"/>
                      <a:pt x="49" y="35"/>
                      <a:pt x="49" y="35"/>
                    </a:cubicBezTo>
                    <a:cubicBezTo>
                      <a:pt x="143" y="0"/>
                      <a:pt x="148" y="5"/>
                      <a:pt x="154" y="12"/>
                    </a:cubicBezTo>
                    <a:cubicBezTo>
                      <a:pt x="134" y="30"/>
                      <a:pt x="134" y="30"/>
                      <a:pt x="134" y="30"/>
                    </a:cubicBezTo>
                    <a:cubicBezTo>
                      <a:pt x="137" y="33"/>
                      <a:pt x="140" y="34"/>
                      <a:pt x="142" y="34"/>
                    </a:cubicBezTo>
                    <a:cubicBezTo>
                      <a:pt x="133" y="34"/>
                      <a:pt x="88" y="49"/>
                      <a:pt x="52" y="64"/>
                    </a:cubicBezTo>
                    <a:cubicBezTo>
                      <a:pt x="50" y="64"/>
                      <a:pt x="49" y="65"/>
                      <a:pt x="47" y="6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8" name="Freeform 17">
                <a:extLst>
                  <a:ext uri="{FF2B5EF4-FFF2-40B4-BE49-F238E27FC236}">
                    <a16:creationId xmlns:a16="http://schemas.microsoft.com/office/drawing/2014/main" id="{21451F67-CDDB-4980-99EF-BBF4FE02EFA8}"/>
                  </a:ext>
                </a:extLst>
              </p:cNvPr>
              <p:cNvSpPr>
                <a:spLocks/>
              </p:cNvSpPr>
              <p:nvPr/>
            </p:nvSpPr>
            <p:spPr bwMode="auto">
              <a:xfrm>
                <a:off x="1730399" y="1898428"/>
                <a:ext cx="178844" cy="58054"/>
              </a:xfrm>
              <a:custGeom>
                <a:avLst/>
                <a:gdLst>
                  <a:gd name="T0" fmla="*/ 10 w 411"/>
                  <a:gd name="T1" fmla="*/ 133 h 133"/>
                  <a:gd name="T2" fmla="*/ 0 w 411"/>
                  <a:gd name="T3" fmla="*/ 108 h 133"/>
                  <a:gd name="T4" fmla="*/ 149 w 411"/>
                  <a:gd name="T5" fmla="*/ 51 h 133"/>
                  <a:gd name="T6" fmla="*/ 164 w 411"/>
                  <a:gd name="T7" fmla="*/ 55 h 133"/>
                  <a:gd name="T8" fmla="*/ 196 w 411"/>
                  <a:gd name="T9" fmla="*/ 89 h 133"/>
                  <a:gd name="T10" fmla="*/ 298 w 411"/>
                  <a:gd name="T11" fmla="*/ 4 h 133"/>
                  <a:gd name="T12" fmla="*/ 309 w 411"/>
                  <a:gd name="T13" fmla="*/ 1 h 133"/>
                  <a:gd name="T14" fmla="*/ 411 w 411"/>
                  <a:gd name="T15" fmla="*/ 23 h 133"/>
                  <a:gd name="T16" fmla="*/ 406 w 411"/>
                  <a:gd name="T17" fmla="*/ 50 h 133"/>
                  <a:gd name="T18" fmla="*/ 310 w 411"/>
                  <a:gd name="T19" fmla="*/ 29 h 133"/>
                  <a:gd name="T20" fmla="*/ 203 w 411"/>
                  <a:gd name="T21" fmla="*/ 118 h 133"/>
                  <a:gd name="T22" fmla="*/ 185 w 411"/>
                  <a:gd name="T23" fmla="*/ 117 h 133"/>
                  <a:gd name="T24" fmla="*/ 150 w 411"/>
                  <a:gd name="T25" fmla="*/ 80 h 133"/>
                  <a:gd name="T26" fmla="*/ 10 w 411"/>
                  <a:gd name="T2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1" h="133">
                    <a:moveTo>
                      <a:pt x="10" y="133"/>
                    </a:moveTo>
                    <a:cubicBezTo>
                      <a:pt x="0" y="108"/>
                      <a:pt x="0" y="108"/>
                      <a:pt x="0" y="108"/>
                    </a:cubicBezTo>
                    <a:cubicBezTo>
                      <a:pt x="149" y="51"/>
                      <a:pt x="149" y="51"/>
                      <a:pt x="149" y="51"/>
                    </a:cubicBezTo>
                    <a:cubicBezTo>
                      <a:pt x="154" y="49"/>
                      <a:pt x="160" y="50"/>
                      <a:pt x="164" y="55"/>
                    </a:cubicBezTo>
                    <a:cubicBezTo>
                      <a:pt x="196" y="89"/>
                      <a:pt x="196" y="89"/>
                      <a:pt x="196" y="89"/>
                    </a:cubicBezTo>
                    <a:cubicBezTo>
                      <a:pt x="298" y="4"/>
                      <a:pt x="298" y="4"/>
                      <a:pt x="298" y="4"/>
                    </a:cubicBezTo>
                    <a:cubicBezTo>
                      <a:pt x="301" y="1"/>
                      <a:pt x="305" y="0"/>
                      <a:pt x="309" y="1"/>
                    </a:cubicBezTo>
                    <a:cubicBezTo>
                      <a:pt x="411" y="23"/>
                      <a:pt x="411" y="23"/>
                      <a:pt x="411" y="23"/>
                    </a:cubicBezTo>
                    <a:cubicBezTo>
                      <a:pt x="406" y="50"/>
                      <a:pt x="406" y="50"/>
                      <a:pt x="406" y="50"/>
                    </a:cubicBezTo>
                    <a:cubicBezTo>
                      <a:pt x="310" y="29"/>
                      <a:pt x="310" y="29"/>
                      <a:pt x="310" y="29"/>
                    </a:cubicBezTo>
                    <a:cubicBezTo>
                      <a:pt x="203" y="118"/>
                      <a:pt x="203" y="118"/>
                      <a:pt x="203" y="118"/>
                    </a:cubicBezTo>
                    <a:cubicBezTo>
                      <a:pt x="198" y="123"/>
                      <a:pt x="190" y="122"/>
                      <a:pt x="185" y="117"/>
                    </a:cubicBezTo>
                    <a:cubicBezTo>
                      <a:pt x="150" y="80"/>
                      <a:pt x="150" y="80"/>
                      <a:pt x="150" y="80"/>
                    </a:cubicBezTo>
                    <a:lnTo>
                      <a:pt x="10" y="13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9" name="Freeform 18">
                <a:extLst>
                  <a:ext uri="{FF2B5EF4-FFF2-40B4-BE49-F238E27FC236}">
                    <a16:creationId xmlns:a16="http://schemas.microsoft.com/office/drawing/2014/main" id="{7B185170-F2F2-4E97-9527-96777E13B537}"/>
                  </a:ext>
                </a:extLst>
              </p:cNvPr>
              <p:cNvSpPr>
                <a:spLocks/>
              </p:cNvSpPr>
              <p:nvPr/>
            </p:nvSpPr>
            <p:spPr bwMode="auto">
              <a:xfrm>
                <a:off x="1856338" y="1951332"/>
                <a:ext cx="124535" cy="36518"/>
              </a:xfrm>
              <a:custGeom>
                <a:avLst/>
                <a:gdLst>
                  <a:gd name="T0" fmla="*/ 275 w 287"/>
                  <a:gd name="T1" fmla="*/ 85 h 85"/>
                  <a:gd name="T2" fmla="*/ 164 w 287"/>
                  <a:gd name="T3" fmla="*/ 30 h 85"/>
                  <a:gd name="T4" fmla="*/ 92 w 287"/>
                  <a:gd name="T5" fmla="*/ 71 h 85"/>
                  <a:gd name="T6" fmla="*/ 82 w 287"/>
                  <a:gd name="T7" fmla="*/ 73 h 85"/>
                  <a:gd name="T8" fmla="*/ 0 w 287"/>
                  <a:gd name="T9" fmla="*/ 49 h 85"/>
                  <a:gd name="T10" fmla="*/ 8 w 287"/>
                  <a:gd name="T11" fmla="*/ 23 h 85"/>
                  <a:gd name="T12" fmla="*/ 84 w 287"/>
                  <a:gd name="T13" fmla="*/ 45 h 85"/>
                  <a:gd name="T14" fmla="*/ 157 w 287"/>
                  <a:gd name="T15" fmla="*/ 2 h 85"/>
                  <a:gd name="T16" fmla="*/ 170 w 287"/>
                  <a:gd name="T17" fmla="*/ 2 h 85"/>
                  <a:gd name="T18" fmla="*/ 287 w 287"/>
                  <a:gd name="T19" fmla="*/ 61 h 85"/>
                  <a:gd name="T20" fmla="*/ 275 w 287"/>
                  <a:gd name="T21"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7" h="85">
                    <a:moveTo>
                      <a:pt x="275" y="85"/>
                    </a:moveTo>
                    <a:cubicBezTo>
                      <a:pt x="164" y="30"/>
                      <a:pt x="164" y="30"/>
                      <a:pt x="164" y="30"/>
                    </a:cubicBezTo>
                    <a:cubicBezTo>
                      <a:pt x="92" y="71"/>
                      <a:pt x="92" y="71"/>
                      <a:pt x="92" y="71"/>
                    </a:cubicBezTo>
                    <a:cubicBezTo>
                      <a:pt x="89" y="73"/>
                      <a:pt x="85" y="74"/>
                      <a:pt x="82" y="73"/>
                    </a:cubicBezTo>
                    <a:cubicBezTo>
                      <a:pt x="0" y="49"/>
                      <a:pt x="0" y="49"/>
                      <a:pt x="0" y="49"/>
                    </a:cubicBezTo>
                    <a:cubicBezTo>
                      <a:pt x="8" y="23"/>
                      <a:pt x="8" y="23"/>
                      <a:pt x="8" y="23"/>
                    </a:cubicBezTo>
                    <a:cubicBezTo>
                      <a:pt x="84" y="45"/>
                      <a:pt x="84" y="45"/>
                      <a:pt x="84" y="45"/>
                    </a:cubicBezTo>
                    <a:cubicBezTo>
                      <a:pt x="157" y="2"/>
                      <a:pt x="157" y="2"/>
                      <a:pt x="157" y="2"/>
                    </a:cubicBezTo>
                    <a:cubicBezTo>
                      <a:pt x="161" y="0"/>
                      <a:pt x="166" y="0"/>
                      <a:pt x="170" y="2"/>
                    </a:cubicBezTo>
                    <a:cubicBezTo>
                      <a:pt x="287" y="61"/>
                      <a:pt x="287" y="61"/>
                      <a:pt x="287" y="61"/>
                    </a:cubicBezTo>
                    <a:lnTo>
                      <a:pt x="275" y="8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0" name="Freeform 19">
                <a:extLst>
                  <a:ext uri="{FF2B5EF4-FFF2-40B4-BE49-F238E27FC236}">
                    <a16:creationId xmlns:a16="http://schemas.microsoft.com/office/drawing/2014/main" id="{C2F17105-026A-4BA7-BD08-A630A8D166AB}"/>
                  </a:ext>
                </a:extLst>
              </p:cNvPr>
              <p:cNvSpPr>
                <a:spLocks/>
              </p:cNvSpPr>
              <p:nvPr/>
            </p:nvSpPr>
            <p:spPr bwMode="auto">
              <a:xfrm>
                <a:off x="1931247" y="1862379"/>
                <a:ext cx="36050" cy="55713"/>
              </a:xfrm>
              <a:custGeom>
                <a:avLst/>
                <a:gdLst>
                  <a:gd name="T0" fmla="*/ 45 w 83"/>
                  <a:gd name="T1" fmla="*/ 128 h 128"/>
                  <a:gd name="T2" fmla="*/ 4 w 83"/>
                  <a:gd name="T3" fmla="*/ 81 h 128"/>
                  <a:gd name="T4" fmla="*/ 4 w 83"/>
                  <a:gd name="T5" fmla="*/ 63 h 128"/>
                  <a:gd name="T6" fmla="*/ 63 w 83"/>
                  <a:gd name="T7" fmla="*/ 0 h 128"/>
                  <a:gd name="T8" fmla="*/ 83 w 83"/>
                  <a:gd name="T9" fmla="*/ 18 h 128"/>
                  <a:gd name="T10" fmla="*/ 33 w 83"/>
                  <a:gd name="T11" fmla="*/ 72 h 128"/>
                  <a:gd name="T12" fmla="*/ 65 w 83"/>
                  <a:gd name="T13" fmla="*/ 111 h 128"/>
                  <a:gd name="T14" fmla="*/ 45 w 83"/>
                  <a:gd name="T15" fmla="*/ 128 h 1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128">
                    <a:moveTo>
                      <a:pt x="45" y="128"/>
                    </a:moveTo>
                    <a:cubicBezTo>
                      <a:pt x="4" y="81"/>
                      <a:pt x="4" y="81"/>
                      <a:pt x="4" y="81"/>
                    </a:cubicBezTo>
                    <a:cubicBezTo>
                      <a:pt x="0" y="76"/>
                      <a:pt x="0" y="68"/>
                      <a:pt x="4" y="63"/>
                    </a:cubicBezTo>
                    <a:cubicBezTo>
                      <a:pt x="63" y="0"/>
                      <a:pt x="63" y="0"/>
                      <a:pt x="63" y="0"/>
                    </a:cubicBezTo>
                    <a:cubicBezTo>
                      <a:pt x="83" y="18"/>
                      <a:pt x="83" y="18"/>
                      <a:pt x="83" y="18"/>
                    </a:cubicBezTo>
                    <a:cubicBezTo>
                      <a:pt x="33" y="72"/>
                      <a:pt x="33" y="72"/>
                      <a:pt x="33" y="72"/>
                    </a:cubicBezTo>
                    <a:cubicBezTo>
                      <a:pt x="65" y="111"/>
                      <a:pt x="65" y="111"/>
                      <a:pt x="65" y="111"/>
                    </a:cubicBezTo>
                    <a:lnTo>
                      <a:pt x="45" y="12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1" name="Freeform 20">
                <a:extLst>
                  <a:ext uri="{FF2B5EF4-FFF2-40B4-BE49-F238E27FC236}">
                    <a16:creationId xmlns:a16="http://schemas.microsoft.com/office/drawing/2014/main" id="{B0DA9D94-A7E0-48FF-837E-7FE989B5C964}"/>
                  </a:ext>
                </a:extLst>
              </p:cNvPr>
              <p:cNvSpPr>
                <a:spLocks/>
              </p:cNvSpPr>
              <p:nvPr/>
            </p:nvSpPr>
            <p:spPr bwMode="auto">
              <a:xfrm>
                <a:off x="1809052" y="1944310"/>
                <a:ext cx="17323" cy="30432"/>
              </a:xfrm>
              <a:custGeom>
                <a:avLst/>
                <a:gdLst>
                  <a:gd name="T0" fmla="*/ 11 w 37"/>
                  <a:gd name="T1" fmla="*/ 65 h 65"/>
                  <a:gd name="T2" fmla="*/ 0 w 37"/>
                  <a:gd name="T3" fmla="*/ 4 h 65"/>
                  <a:gd name="T4" fmla="*/ 25 w 37"/>
                  <a:gd name="T5" fmla="*/ 0 h 65"/>
                  <a:gd name="T6" fmla="*/ 37 w 37"/>
                  <a:gd name="T7" fmla="*/ 60 h 65"/>
                  <a:gd name="T8" fmla="*/ 11 w 37"/>
                  <a:gd name="T9" fmla="*/ 65 h 65"/>
                </a:gdLst>
                <a:ahLst/>
                <a:cxnLst>
                  <a:cxn ang="0">
                    <a:pos x="T0" y="T1"/>
                  </a:cxn>
                  <a:cxn ang="0">
                    <a:pos x="T2" y="T3"/>
                  </a:cxn>
                  <a:cxn ang="0">
                    <a:pos x="T4" y="T5"/>
                  </a:cxn>
                  <a:cxn ang="0">
                    <a:pos x="T6" y="T7"/>
                  </a:cxn>
                  <a:cxn ang="0">
                    <a:pos x="T8" y="T9"/>
                  </a:cxn>
                </a:cxnLst>
                <a:rect l="0" t="0" r="r" b="b"/>
                <a:pathLst>
                  <a:path w="37" h="65">
                    <a:moveTo>
                      <a:pt x="11" y="65"/>
                    </a:moveTo>
                    <a:lnTo>
                      <a:pt x="0" y="4"/>
                    </a:lnTo>
                    <a:lnTo>
                      <a:pt x="25" y="0"/>
                    </a:lnTo>
                    <a:lnTo>
                      <a:pt x="37" y="60"/>
                    </a:lnTo>
                    <a:lnTo>
                      <a:pt x="11" y="65"/>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2" name="Freeform 21">
                <a:extLst>
                  <a:ext uri="{FF2B5EF4-FFF2-40B4-BE49-F238E27FC236}">
                    <a16:creationId xmlns:a16="http://schemas.microsoft.com/office/drawing/2014/main" id="{70B75088-BF33-454D-A00D-182B1A6E69BA}"/>
                  </a:ext>
                </a:extLst>
              </p:cNvPr>
              <p:cNvSpPr>
                <a:spLocks/>
              </p:cNvSpPr>
              <p:nvPr/>
            </p:nvSpPr>
            <p:spPr bwMode="auto">
              <a:xfrm>
                <a:off x="1770662" y="1873615"/>
                <a:ext cx="96913" cy="35581"/>
              </a:xfrm>
              <a:custGeom>
                <a:avLst/>
                <a:gdLst>
                  <a:gd name="T0" fmla="*/ 206 w 223"/>
                  <a:gd name="T1" fmla="*/ 82 h 82"/>
                  <a:gd name="T2" fmla="*/ 146 w 223"/>
                  <a:gd name="T3" fmla="*/ 30 h 82"/>
                  <a:gd name="T4" fmla="*/ 73 w 223"/>
                  <a:gd name="T5" fmla="*/ 60 h 82"/>
                  <a:gd name="T6" fmla="*/ 63 w 223"/>
                  <a:gd name="T7" fmla="*/ 60 h 82"/>
                  <a:gd name="T8" fmla="*/ 0 w 223"/>
                  <a:gd name="T9" fmla="*/ 35 h 82"/>
                  <a:gd name="T10" fmla="*/ 10 w 223"/>
                  <a:gd name="T11" fmla="*/ 10 h 82"/>
                  <a:gd name="T12" fmla="*/ 68 w 223"/>
                  <a:gd name="T13" fmla="*/ 33 h 82"/>
                  <a:gd name="T14" fmla="*/ 143 w 223"/>
                  <a:gd name="T15" fmla="*/ 2 h 82"/>
                  <a:gd name="T16" fmla="*/ 157 w 223"/>
                  <a:gd name="T17" fmla="*/ 4 h 82"/>
                  <a:gd name="T18" fmla="*/ 223 w 223"/>
                  <a:gd name="T19" fmla="*/ 61 h 82"/>
                  <a:gd name="T20" fmla="*/ 206 w 223"/>
                  <a:gd name="T21"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3" h="82">
                    <a:moveTo>
                      <a:pt x="206" y="82"/>
                    </a:moveTo>
                    <a:cubicBezTo>
                      <a:pt x="146" y="30"/>
                      <a:pt x="146" y="30"/>
                      <a:pt x="146" y="30"/>
                    </a:cubicBezTo>
                    <a:cubicBezTo>
                      <a:pt x="73" y="60"/>
                      <a:pt x="73" y="60"/>
                      <a:pt x="73" y="60"/>
                    </a:cubicBezTo>
                    <a:cubicBezTo>
                      <a:pt x="70" y="62"/>
                      <a:pt x="66" y="62"/>
                      <a:pt x="63" y="60"/>
                    </a:cubicBezTo>
                    <a:cubicBezTo>
                      <a:pt x="0" y="35"/>
                      <a:pt x="0" y="35"/>
                      <a:pt x="0" y="35"/>
                    </a:cubicBezTo>
                    <a:cubicBezTo>
                      <a:pt x="10" y="10"/>
                      <a:pt x="10" y="10"/>
                      <a:pt x="10" y="10"/>
                    </a:cubicBezTo>
                    <a:cubicBezTo>
                      <a:pt x="68" y="33"/>
                      <a:pt x="68" y="33"/>
                      <a:pt x="68" y="33"/>
                    </a:cubicBezTo>
                    <a:cubicBezTo>
                      <a:pt x="143" y="2"/>
                      <a:pt x="143" y="2"/>
                      <a:pt x="143" y="2"/>
                    </a:cubicBezTo>
                    <a:cubicBezTo>
                      <a:pt x="148" y="0"/>
                      <a:pt x="153" y="1"/>
                      <a:pt x="157" y="4"/>
                    </a:cubicBezTo>
                    <a:cubicBezTo>
                      <a:pt x="223" y="61"/>
                      <a:pt x="223" y="61"/>
                      <a:pt x="223" y="61"/>
                    </a:cubicBezTo>
                    <a:lnTo>
                      <a:pt x="206" y="8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3" name="Freeform 22">
                <a:extLst>
                  <a:ext uri="{FF2B5EF4-FFF2-40B4-BE49-F238E27FC236}">
                    <a16:creationId xmlns:a16="http://schemas.microsoft.com/office/drawing/2014/main" id="{ACA89AC0-441D-4E34-AA56-8B4CF9D80E60}"/>
                  </a:ext>
                </a:extLst>
              </p:cNvPr>
              <p:cNvSpPr>
                <a:spLocks/>
              </p:cNvSpPr>
              <p:nvPr/>
            </p:nvSpPr>
            <p:spPr bwMode="auto">
              <a:xfrm>
                <a:off x="1924224" y="1918091"/>
                <a:ext cx="79122" cy="44477"/>
              </a:xfrm>
              <a:custGeom>
                <a:avLst/>
                <a:gdLst>
                  <a:gd name="T0" fmla="*/ 13 w 182"/>
                  <a:gd name="T1" fmla="*/ 102 h 102"/>
                  <a:gd name="T2" fmla="*/ 0 w 182"/>
                  <a:gd name="T3" fmla="*/ 78 h 102"/>
                  <a:gd name="T4" fmla="*/ 82 w 182"/>
                  <a:gd name="T5" fmla="*/ 34 h 102"/>
                  <a:gd name="T6" fmla="*/ 90 w 182"/>
                  <a:gd name="T7" fmla="*/ 33 h 102"/>
                  <a:gd name="T8" fmla="*/ 143 w 182"/>
                  <a:gd name="T9" fmla="*/ 37 h 102"/>
                  <a:gd name="T10" fmla="*/ 157 w 182"/>
                  <a:gd name="T11" fmla="*/ 0 h 102"/>
                  <a:gd name="T12" fmla="*/ 182 w 182"/>
                  <a:gd name="T13" fmla="*/ 10 h 102"/>
                  <a:gd name="T14" fmla="*/ 164 w 182"/>
                  <a:gd name="T15" fmla="*/ 57 h 102"/>
                  <a:gd name="T16" fmla="*/ 150 w 182"/>
                  <a:gd name="T17" fmla="*/ 65 h 102"/>
                  <a:gd name="T18" fmla="*/ 92 w 182"/>
                  <a:gd name="T19" fmla="*/ 60 h 102"/>
                  <a:gd name="T20" fmla="*/ 13 w 182"/>
                  <a:gd name="T21"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2" h="102">
                    <a:moveTo>
                      <a:pt x="13" y="102"/>
                    </a:moveTo>
                    <a:cubicBezTo>
                      <a:pt x="0" y="78"/>
                      <a:pt x="0" y="78"/>
                      <a:pt x="0" y="78"/>
                    </a:cubicBezTo>
                    <a:cubicBezTo>
                      <a:pt x="82" y="34"/>
                      <a:pt x="82" y="34"/>
                      <a:pt x="82" y="34"/>
                    </a:cubicBezTo>
                    <a:cubicBezTo>
                      <a:pt x="85" y="33"/>
                      <a:pt x="87" y="32"/>
                      <a:pt x="90" y="33"/>
                    </a:cubicBezTo>
                    <a:cubicBezTo>
                      <a:pt x="143" y="37"/>
                      <a:pt x="143" y="37"/>
                      <a:pt x="143" y="37"/>
                    </a:cubicBezTo>
                    <a:cubicBezTo>
                      <a:pt x="157" y="0"/>
                      <a:pt x="157" y="0"/>
                      <a:pt x="157" y="0"/>
                    </a:cubicBezTo>
                    <a:cubicBezTo>
                      <a:pt x="182" y="10"/>
                      <a:pt x="182" y="10"/>
                      <a:pt x="182" y="10"/>
                    </a:cubicBezTo>
                    <a:cubicBezTo>
                      <a:pt x="164" y="57"/>
                      <a:pt x="164" y="57"/>
                      <a:pt x="164" y="57"/>
                    </a:cubicBezTo>
                    <a:cubicBezTo>
                      <a:pt x="162" y="62"/>
                      <a:pt x="157" y="66"/>
                      <a:pt x="150" y="65"/>
                    </a:cubicBezTo>
                    <a:cubicBezTo>
                      <a:pt x="92" y="60"/>
                      <a:pt x="92" y="60"/>
                      <a:pt x="92" y="60"/>
                    </a:cubicBezTo>
                    <a:lnTo>
                      <a:pt x="13" y="10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92" name="Group 91">
              <a:extLst>
                <a:ext uri="{FF2B5EF4-FFF2-40B4-BE49-F238E27FC236}">
                  <a16:creationId xmlns:a16="http://schemas.microsoft.com/office/drawing/2014/main" id="{0B56C8ED-1FEF-459F-B19C-9F788ACF5178}"/>
                </a:ext>
              </a:extLst>
            </p:cNvPr>
            <p:cNvGrpSpPr/>
            <p:nvPr/>
          </p:nvGrpSpPr>
          <p:grpSpPr>
            <a:xfrm>
              <a:off x="1655022" y="1616118"/>
              <a:ext cx="368924" cy="236429"/>
              <a:chOff x="1655022" y="1616118"/>
              <a:chExt cx="368924" cy="236429"/>
            </a:xfrm>
          </p:grpSpPr>
          <p:sp>
            <p:nvSpPr>
              <p:cNvPr id="93" name="Freeform 5">
                <a:extLst>
                  <a:ext uri="{FF2B5EF4-FFF2-40B4-BE49-F238E27FC236}">
                    <a16:creationId xmlns:a16="http://schemas.microsoft.com/office/drawing/2014/main" id="{9010CBDE-E209-480D-AE63-1C56929DF325}"/>
                  </a:ext>
                </a:extLst>
              </p:cNvPr>
              <p:cNvSpPr>
                <a:spLocks noEditPoints="1"/>
              </p:cNvSpPr>
              <p:nvPr/>
            </p:nvSpPr>
            <p:spPr bwMode="auto">
              <a:xfrm>
                <a:off x="1903156" y="1633908"/>
                <a:ext cx="94104" cy="94572"/>
              </a:xfrm>
              <a:custGeom>
                <a:avLst/>
                <a:gdLst>
                  <a:gd name="T0" fmla="*/ 109 w 217"/>
                  <a:gd name="T1" fmla="*/ 218 h 218"/>
                  <a:gd name="T2" fmla="*/ 0 w 217"/>
                  <a:gd name="T3" fmla="*/ 109 h 218"/>
                  <a:gd name="T4" fmla="*/ 76 w 217"/>
                  <a:gd name="T5" fmla="*/ 5 h 218"/>
                  <a:gd name="T6" fmla="*/ 109 w 217"/>
                  <a:gd name="T7" fmla="*/ 0 h 218"/>
                  <a:gd name="T8" fmla="*/ 217 w 217"/>
                  <a:gd name="T9" fmla="*/ 109 h 218"/>
                  <a:gd name="T10" fmla="*/ 109 w 217"/>
                  <a:gd name="T11" fmla="*/ 218 h 218"/>
                  <a:gd name="T12" fmla="*/ 109 w 217"/>
                  <a:gd name="T13" fmla="*/ 28 h 218"/>
                  <a:gd name="T14" fmla="*/ 84 w 217"/>
                  <a:gd name="T15" fmla="*/ 31 h 218"/>
                  <a:gd name="T16" fmla="*/ 27 w 217"/>
                  <a:gd name="T17" fmla="*/ 109 h 218"/>
                  <a:gd name="T18" fmla="*/ 109 w 217"/>
                  <a:gd name="T19" fmla="*/ 191 h 218"/>
                  <a:gd name="T20" fmla="*/ 190 w 217"/>
                  <a:gd name="T21" fmla="*/ 109 h 218"/>
                  <a:gd name="T22" fmla="*/ 109 w 217"/>
                  <a:gd name="T23" fmla="*/ 2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7" h="218">
                    <a:moveTo>
                      <a:pt x="109" y="218"/>
                    </a:moveTo>
                    <a:cubicBezTo>
                      <a:pt x="49" y="218"/>
                      <a:pt x="0" y="169"/>
                      <a:pt x="0" y="109"/>
                    </a:cubicBezTo>
                    <a:cubicBezTo>
                      <a:pt x="0" y="62"/>
                      <a:pt x="30" y="20"/>
                      <a:pt x="76" y="5"/>
                    </a:cubicBezTo>
                    <a:cubicBezTo>
                      <a:pt x="86" y="2"/>
                      <a:pt x="97" y="0"/>
                      <a:pt x="109" y="0"/>
                    </a:cubicBezTo>
                    <a:cubicBezTo>
                      <a:pt x="169" y="0"/>
                      <a:pt x="217" y="49"/>
                      <a:pt x="217" y="109"/>
                    </a:cubicBezTo>
                    <a:cubicBezTo>
                      <a:pt x="217" y="169"/>
                      <a:pt x="169" y="218"/>
                      <a:pt x="109" y="218"/>
                    </a:cubicBezTo>
                    <a:close/>
                    <a:moveTo>
                      <a:pt x="109" y="28"/>
                    </a:moveTo>
                    <a:cubicBezTo>
                      <a:pt x="100" y="28"/>
                      <a:pt x="92" y="29"/>
                      <a:pt x="84" y="31"/>
                    </a:cubicBezTo>
                    <a:cubicBezTo>
                      <a:pt x="50" y="42"/>
                      <a:pt x="27" y="73"/>
                      <a:pt x="27" y="109"/>
                    </a:cubicBezTo>
                    <a:cubicBezTo>
                      <a:pt x="27" y="154"/>
                      <a:pt x="64" y="191"/>
                      <a:pt x="109" y="191"/>
                    </a:cubicBezTo>
                    <a:cubicBezTo>
                      <a:pt x="154" y="191"/>
                      <a:pt x="190" y="154"/>
                      <a:pt x="190" y="109"/>
                    </a:cubicBezTo>
                    <a:cubicBezTo>
                      <a:pt x="190" y="64"/>
                      <a:pt x="154" y="28"/>
                      <a:pt x="109"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4" name="Rectangle 6">
                <a:extLst>
                  <a:ext uri="{FF2B5EF4-FFF2-40B4-BE49-F238E27FC236}">
                    <a16:creationId xmlns:a16="http://schemas.microsoft.com/office/drawing/2014/main" id="{0A033C04-AA19-421F-B57F-E0A41CD103D8}"/>
                  </a:ext>
                </a:extLst>
              </p:cNvPr>
              <p:cNvSpPr>
                <a:spLocks noChangeArrowheads="1"/>
              </p:cNvSpPr>
              <p:nvPr/>
            </p:nvSpPr>
            <p:spPr bwMode="auto">
              <a:xfrm>
                <a:off x="1944356" y="1616118"/>
                <a:ext cx="11704" cy="13577"/>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5" name="Freeform 7">
                <a:extLst>
                  <a:ext uri="{FF2B5EF4-FFF2-40B4-BE49-F238E27FC236}">
                    <a16:creationId xmlns:a16="http://schemas.microsoft.com/office/drawing/2014/main" id="{42ADF6F5-F462-4CA2-B21B-A01B0D8F9809}"/>
                  </a:ext>
                </a:extLst>
              </p:cNvPr>
              <p:cNvSpPr>
                <a:spLocks/>
              </p:cNvSpPr>
              <p:nvPr/>
            </p:nvSpPr>
            <p:spPr bwMode="auto">
              <a:xfrm>
                <a:off x="1899879" y="1630631"/>
                <a:ext cx="17791" cy="17791"/>
              </a:xfrm>
              <a:custGeom>
                <a:avLst/>
                <a:gdLst>
                  <a:gd name="T0" fmla="*/ 21 w 38"/>
                  <a:gd name="T1" fmla="*/ 38 h 38"/>
                  <a:gd name="T2" fmla="*/ 0 w 38"/>
                  <a:gd name="T3" fmla="*/ 18 h 38"/>
                  <a:gd name="T4" fmla="*/ 18 w 38"/>
                  <a:gd name="T5" fmla="*/ 0 h 38"/>
                  <a:gd name="T6" fmla="*/ 38 w 38"/>
                  <a:gd name="T7" fmla="*/ 21 h 38"/>
                  <a:gd name="T8" fmla="*/ 21 w 38"/>
                  <a:gd name="T9" fmla="*/ 38 h 38"/>
                </a:gdLst>
                <a:ahLst/>
                <a:cxnLst>
                  <a:cxn ang="0">
                    <a:pos x="T0" y="T1"/>
                  </a:cxn>
                  <a:cxn ang="0">
                    <a:pos x="T2" y="T3"/>
                  </a:cxn>
                  <a:cxn ang="0">
                    <a:pos x="T4" y="T5"/>
                  </a:cxn>
                  <a:cxn ang="0">
                    <a:pos x="T6" y="T7"/>
                  </a:cxn>
                  <a:cxn ang="0">
                    <a:pos x="T8" y="T9"/>
                  </a:cxn>
                </a:cxnLst>
                <a:rect l="0" t="0" r="r" b="b"/>
                <a:pathLst>
                  <a:path w="38" h="38">
                    <a:moveTo>
                      <a:pt x="21" y="38"/>
                    </a:moveTo>
                    <a:lnTo>
                      <a:pt x="0" y="18"/>
                    </a:lnTo>
                    <a:lnTo>
                      <a:pt x="18" y="0"/>
                    </a:lnTo>
                    <a:lnTo>
                      <a:pt x="38" y="21"/>
                    </a:lnTo>
                    <a:lnTo>
                      <a:pt x="21" y="3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6" name="Rectangle 8">
                <a:extLst>
                  <a:ext uri="{FF2B5EF4-FFF2-40B4-BE49-F238E27FC236}">
                    <a16:creationId xmlns:a16="http://schemas.microsoft.com/office/drawing/2014/main" id="{C855487B-71C7-493A-BDD2-E71903A8AD8D}"/>
                  </a:ext>
                </a:extLst>
              </p:cNvPr>
              <p:cNvSpPr>
                <a:spLocks noChangeArrowheads="1"/>
              </p:cNvSpPr>
              <p:nvPr/>
            </p:nvSpPr>
            <p:spPr bwMode="auto">
              <a:xfrm>
                <a:off x="1884897" y="1675576"/>
                <a:ext cx="13577" cy="11704"/>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7" name="Freeform 9">
                <a:extLst>
                  <a:ext uri="{FF2B5EF4-FFF2-40B4-BE49-F238E27FC236}">
                    <a16:creationId xmlns:a16="http://schemas.microsoft.com/office/drawing/2014/main" id="{1AA084FE-8075-41C9-9E31-32A67696465D}"/>
                  </a:ext>
                </a:extLst>
              </p:cNvPr>
              <p:cNvSpPr>
                <a:spLocks/>
              </p:cNvSpPr>
              <p:nvPr/>
            </p:nvSpPr>
            <p:spPr bwMode="auto">
              <a:xfrm>
                <a:off x="1899879" y="1713967"/>
                <a:ext cx="17791" cy="17791"/>
              </a:xfrm>
              <a:custGeom>
                <a:avLst/>
                <a:gdLst>
                  <a:gd name="T0" fmla="*/ 18 w 38"/>
                  <a:gd name="T1" fmla="*/ 38 h 38"/>
                  <a:gd name="T2" fmla="*/ 0 w 38"/>
                  <a:gd name="T3" fmla="*/ 20 h 38"/>
                  <a:gd name="T4" fmla="*/ 21 w 38"/>
                  <a:gd name="T5" fmla="*/ 0 h 38"/>
                  <a:gd name="T6" fmla="*/ 38 w 38"/>
                  <a:gd name="T7" fmla="*/ 17 h 38"/>
                  <a:gd name="T8" fmla="*/ 18 w 38"/>
                  <a:gd name="T9" fmla="*/ 38 h 38"/>
                </a:gdLst>
                <a:ahLst/>
                <a:cxnLst>
                  <a:cxn ang="0">
                    <a:pos x="T0" y="T1"/>
                  </a:cxn>
                  <a:cxn ang="0">
                    <a:pos x="T2" y="T3"/>
                  </a:cxn>
                  <a:cxn ang="0">
                    <a:pos x="T4" y="T5"/>
                  </a:cxn>
                  <a:cxn ang="0">
                    <a:pos x="T6" y="T7"/>
                  </a:cxn>
                  <a:cxn ang="0">
                    <a:pos x="T8" y="T9"/>
                  </a:cxn>
                </a:cxnLst>
                <a:rect l="0" t="0" r="r" b="b"/>
                <a:pathLst>
                  <a:path w="38" h="38">
                    <a:moveTo>
                      <a:pt x="18" y="38"/>
                    </a:moveTo>
                    <a:lnTo>
                      <a:pt x="0" y="20"/>
                    </a:lnTo>
                    <a:lnTo>
                      <a:pt x="21" y="0"/>
                    </a:lnTo>
                    <a:lnTo>
                      <a:pt x="38" y="17"/>
                    </a:lnTo>
                    <a:lnTo>
                      <a:pt x="18" y="3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8" name="Rectangle 10">
                <a:extLst>
                  <a:ext uri="{FF2B5EF4-FFF2-40B4-BE49-F238E27FC236}">
                    <a16:creationId xmlns:a16="http://schemas.microsoft.com/office/drawing/2014/main" id="{A8C930A1-34E3-4118-BBD4-8C5F2AC9DBED}"/>
                  </a:ext>
                </a:extLst>
              </p:cNvPr>
              <p:cNvSpPr>
                <a:spLocks noChangeArrowheads="1"/>
              </p:cNvSpPr>
              <p:nvPr/>
            </p:nvSpPr>
            <p:spPr bwMode="auto">
              <a:xfrm>
                <a:off x="1944356" y="1733162"/>
                <a:ext cx="11704" cy="13577"/>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9" name="Freeform 11">
                <a:extLst>
                  <a:ext uri="{FF2B5EF4-FFF2-40B4-BE49-F238E27FC236}">
                    <a16:creationId xmlns:a16="http://schemas.microsoft.com/office/drawing/2014/main" id="{0BAF5C6F-1C99-4217-959C-972EEB77480B}"/>
                  </a:ext>
                </a:extLst>
              </p:cNvPr>
              <p:cNvSpPr>
                <a:spLocks/>
              </p:cNvSpPr>
              <p:nvPr/>
            </p:nvSpPr>
            <p:spPr bwMode="auto">
              <a:xfrm>
                <a:off x="1982746" y="1713967"/>
                <a:ext cx="18259" cy="17791"/>
              </a:xfrm>
              <a:custGeom>
                <a:avLst/>
                <a:gdLst>
                  <a:gd name="T0" fmla="*/ 20 w 39"/>
                  <a:gd name="T1" fmla="*/ 38 h 38"/>
                  <a:gd name="T2" fmla="*/ 0 w 39"/>
                  <a:gd name="T3" fmla="*/ 17 h 38"/>
                  <a:gd name="T4" fmla="*/ 18 w 39"/>
                  <a:gd name="T5" fmla="*/ 0 h 38"/>
                  <a:gd name="T6" fmla="*/ 39 w 39"/>
                  <a:gd name="T7" fmla="*/ 20 h 38"/>
                  <a:gd name="T8" fmla="*/ 20 w 39"/>
                  <a:gd name="T9" fmla="*/ 38 h 38"/>
                </a:gdLst>
                <a:ahLst/>
                <a:cxnLst>
                  <a:cxn ang="0">
                    <a:pos x="T0" y="T1"/>
                  </a:cxn>
                  <a:cxn ang="0">
                    <a:pos x="T2" y="T3"/>
                  </a:cxn>
                  <a:cxn ang="0">
                    <a:pos x="T4" y="T5"/>
                  </a:cxn>
                  <a:cxn ang="0">
                    <a:pos x="T6" y="T7"/>
                  </a:cxn>
                  <a:cxn ang="0">
                    <a:pos x="T8" y="T9"/>
                  </a:cxn>
                </a:cxnLst>
                <a:rect l="0" t="0" r="r" b="b"/>
                <a:pathLst>
                  <a:path w="39" h="38">
                    <a:moveTo>
                      <a:pt x="20" y="38"/>
                    </a:moveTo>
                    <a:lnTo>
                      <a:pt x="0" y="17"/>
                    </a:lnTo>
                    <a:lnTo>
                      <a:pt x="18" y="0"/>
                    </a:lnTo>
                    <a:lnTo>
                      <a:pt x="39" y="20"/>
                    </a:lnTo>
                    <a:lnTo>
                      <a:pt x="20" y="3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0" name="Rectangle 12">
                <a:extLst>
                  <a:ext uri="{FF2B5EF4-FFF2-40B4-BE49-F238E27FC236}">
                    <a16:creationId xmlns:a16="http://schemas.microsoft.com/office/drawing/2014/main" id="{BA80BE18-7390-4CB5-8C90-5336FCEB745A}"/>
                  </a:ext>
                </a:extLst>
              </p:cNvPr>
              <p:cNvSpPr>
                <a:spLocks noChangeArrowheads="1"/>
              </p:cNvSpPr>
              <p:nvPr/>
            </p:nvSpPr>
            <p:spPr bwMode="auto">
              <a:xfrm>
                <a:off x="2002410" y="1675576"/>
                <a:ext cx="13109" cy="11704"/>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1" name="Freeform 13">
                <a:extLst>
                  <a:ext uri="{FF2B5EF4-FFF2-40B4-BE49-F238E27FC236}">
                    <a16:creationId xmlns:a16="http://schemas.microsoft.com/office/drawing/2014/main" id="{45C1D88C-F749-4F4E-A2EC-A6A2B8A4FA11}"/>
                  </a:ext>
                </a:extLst>
              </p:cNvPr>
              <p:cNvSpPr>
                <a:spLocks/>
              </p:cNvSpPr>
              <p:nvPr/>
            </p:nvSpPr>
            <p:spPr bwMode="auto">
              <a:xfrm>
                <a:off x="1982746" y="1630631"/>
                <a:ext cx="18259" cy="17791"/>
              </a:xfrm>
              <a:custGeom>
                <a:avLst/>
                <a:gdLst>
                  <a:gd name="T0" fmla="*/ 18 w 39"/>
                  <a:gd name="T1" fmla="*/ 38 h 38"/>
                  <a:gd name="T2" fmla="*/ 0 w 39"/>
                  <a:gd name="T3" fmla="*/ 21 h 38"/>
                  <a:gd name="T4" fmla="*/ 20 w 39"/>
                  <a:gd name="T5" fmla="*/ 0 h 38"/>
                  <a:gd name="T6" fmla="*/ 39 w 39"/>
                  <a:gd name="T7" fmla="*/ 18 h 38"/>
                  <a:gd name="T8" fmla="*/ 18 w 39"/>
                  <a:gd name="T9" fmla="*/ 38 h 38"/>
                </a:gdLst>
                <a:ahLst/>
                <a:cxnLst>
                  <a:cxn ang="0">
                    <a:pos x="T0" y="T1"/>
                  </a:cxn>
                  <a:cxn ang="0">
                    <a:pos x="T2" y="T3"/>
                  </a:cxn>
                  <a:cxn ang="0">
                    <a:pos x="T4" y="T5"/>
                  </a:cxn>
                  <a:cxn ang="0">
                    <a:pos x="T6" y="T7"/>
                  </a:cxn>
                  <a:cxn ang="0">
                    <a:pos x="T8" y="T9"/>
                  </a:cxn>
                </a:cxnLst>
                <a:rect l="0" t="0" r="r" b="b"/>
                <a:pathLst>
                  <a:path w="39" h="38">
                    <a:moveTo>
                      <a:pt x="18" y="38"/>
                    </a:moveTo>
                    <a:lnTo>
                      <a:pt x="0" y="21"/>
                    </a:lnTo>
                    <a:lnTo>
                      <a:pt x="20" y="0"/>
                    </a:lnTo>
                    <a:lnTo>
                      <a:pt x="39" y="18"/>
                    </a:lnTo>
                    <a:lnTo>
                      <a:pt x="18" y="3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2" name="Rectangle 14">
                <a:extLst>
                  <a:ext uri="{FF2B5EF4-FFF2-40B4-BE49-F238E27FC236}">
                    <a16:creationId xmlns:a16="http://schemas.microsoft.com/office/drawing/2014/main" id="{1B253AC4-FD62-42D1-9045-367798506632}"/>
                  </a:ext>
                </a:extLst>
              </p:cNvPr>
              <p:cNvSpPr>
                <a:spLocks noChangeArrowheads="1"/>
              </p:cNvSpPr>
              <p:nvPr/>
            </p:nvSpPr>
            <p:spPr bwMode="auto">
              <a:xfrm>
                <a:off x="1655022" y="1840843"/>
                <a:ext cx="368924" cy="11704"/>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3" name="Freeform 23">
                <a:extLst>
                  <a:ext uri="{FF2B5EF4-FFF2-40B4-BE49-F238E27FC236}">
                    <a16:creationId xmlns:a16="http://schemas.microsoft.com/office/drawing/2014/main" id="{16586723-85D4-49DC-95A8-B53235C0F923}"/>
                  </a:ext>
                </a:extLst>
              </p:cNvPr>
              <p:cNvSpPr>
                <a:spLocks/>
              </p:cNvSpPr>
              <p:nvPr/>
            </p:nvSpPr>
            <p:spPr bwMode="auto">
              <a:xfrm>
                <a:off x="1789857" y="1712562"/>
                <a:ext cx="69291" cy="58522"/>
              </a:xfrm>
              <a:custGeom>
                <a:avLst/>
                <a:gdLst>
                  <a:gd name="T0" fmla="*/ 6 w 159"/>
                  <a:gd name="T1" fmla="*/ 135 h 135"/>
                  <a:gd name="T2" fmla="*/ 0 w 159"/>
                  <a:gd name="T3" fmla="*/ 108 h 135"/>
                  <a:gd name="T4" fmla="*/ 68 w 159"/>
                  <a:gd name="T5" fmla="*/ 65 h 135"/>
                  <a:gd name="T6" fmla="*/ 153 w 159"/>
                  <a:gd name="T7" fmla="*/ 0 h 135"/>
                  <a:gd name="T8" fmla="*/ 159 w 159"/>
                  <a:gd name="T9" fmla="*/ 27 h 135"/>
                  <a:gd name="T10" fmla="*/ 95 w 159"/>
                  <a:gd name="T11" fmla="*/ 66 h 135"/>
                  <a:gd name="T12" fmla="*/ 6 w 159"/>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159" h="135">
                    <a:moveTo>
                      <a:pt x="6" y="135"/>
                    </a:moveTo>
                    <a:cubicBezTo>
                      <a:pt x="0" y="108"/>
                      <a:pt x="0" y="108"/>
                      <a:pt x="0" y="108"/>
                    </a:cubicBezTo>
                    <a:cubicBezTo>
                      <a:pt x="22" y="103"/>
                      <a:pt x="67" y="85"/>
                      <a:pt x="68" y="65"/>
                    </a:cubicBezTo>
                    <a:cubicBezTo>
                      <a:pt x="69" y="19"/>
                      <a:pt x="145" y="2"/>
                      <a:pt x="153" y="0"/>
                    </a:cubicBezTo>
                    <a:cubicBezTo>
                      <a:pt x="159" y="27"/>
                      <a:pt x="159" y="27"/>
                      <a:pt x="159" y="27"/>
                    </a:cubicBezTo>
                    <a:cubicBezTo>
                      <a:pt x="138" y="31"/>
                      <a:pt x="96" y="46"/>
                      <a:pt x="95" y="66"/>
                    </a:cubicBezTo>
                    <a:cubicBezTo>
                      <a:pt x="93" y="112"/>
                      <a:pt x="15" y="132"/>
                      <a:pt x="6" y="13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4" name="Freeform 24">
                <a:extLst>
                  <a:ext uri="{FF2B5EF4-FFF2-40B4-BE49-F238E27FC236}">
                    <a16:creationId xmlns:a16="http://schemas.microsoft.com/office/drawing/2014/main" id="{F6C1F72D-23DB-486D-B410-DF66B5B9FB3B}"/>
                  </a:ext>
                </a:extLst>
              </p:cNvPr>
              <p:cNvSpPr>
                <a:spLocks/>
              </p:cNvSpPr>
              <p:nvPr/>
            </p:nvSpPr>
            <p:spPr bwMode="auto">
              <a:xfrm>
                <a:off x="1845570" y="1761252"/>
                <a:ext cx="32773" cy="58522"/>
              </a:xfrm>
              <a:custGeom>
                <a:avLst/>
                <a:gdLst>
                  <a:gd name="T0" fmla="*/ 12 w 75"/>
                  <a:gd name="T1" fmla="*/ 135 h 135"/>
                  <a:gd name="T2" fmla="*/ 0 w 75"/>
                  <a:gd name="T3" fmla="*/ 111 h 135"/>
                  <a:gd name="T4" fmla="*/ 29 w 75"/>
                  <a:gd name="T5" fmla="*/ 79 h 135"/>
                  <a:gd name="T6" fmla="*/ 55 w 75"/>
                  <a:gd name="T7" fmla="*/ 0 h 135"/>
                  <a:gd name="T8" fmla="*/ 75 w 75"/>
                  <a:gd name="T9" fmla="*/ 19 h 135"/>
                  <a:gd name="T10" fmla="*/ 53 w 75"/>
                  <a:gd name="T11" fmla="*/ 67 h 135"/>
                  <a:gd name="T12" fmla="*/ 12 w 75"/>
                  <a:gd name="T13" fmla="*/ 135 h 135"/>
                </a:gdLst>
                <a:ahLst/>
                <a:cxnLst>
                  <a:cxn ang="0">
                    <a:pos x="T0" y="T1"/>
                  </a:cxn>
                  <a:cxn ang="0">
                    <a:pos x="T2" y="T3"/>
                  </a:cxn>
                  <a:cxn ang="0">
                    <a:pos x="T4" y="T5"/>
                  </a:cxn>
                  <a:cxn ang="0">
                    <a:pos x="T6" y="T7"/>
                  </a:cxn>
                  <a:cxn ang="0">
                    <a:pos x="T8" y="T9"/>
                  </a:cxn>
                  <a:cxn ang="0">
                    <a:pos x="T10" y="T11"/>
                  </a:cxn>
                  <a:cxn ang="0">
                    <a:pos x="T12" y="T13"/>
                  </a:cxn>
                </a:cxnLst>
                <a:rect l="0" t="0" r="r" b="b"/>
                <a:pathLst>
                  <a:path w="75" h="135">
                    <a:moveTo>
                      <a:pt x="12" y="135"/>
                    </a:moveTo>
                    <a:cubicBezTo>
                      <a:pt x="0" y="111"/>
                      <a:pt x="0" y="111"/>
                      <a:pt x="0" y="111"/>
                    </a:cubicBezTo>
                    <a:cubicBezTo>
                      <a:pt x="13" y="104"/>
                      <a:pt x="33" y="87"/>
                      <a:pt x="29" y="79"/>
                    </a:cubicBezTo>
                    <a:cubicBezTo>
                      <a:pt x="13" y="46"/>
                      <a:pt x="51" y="5"/>
                      <a:pt x="55" y="0"/>
                    </a:cubicBezTo>
                    <a:cubicBezTo>
                      <a:pt x="75" y="19"/>
                      <a:pt x="75" y="19"/>
                      <a:pt x="75" y="19"/>
                    </a:cubicBezTo>
                    <a:cubicBezTo>
                      <a:pt x="63" y="31"/>
                      <a:pt x="48" y="56"/>
                      <a:pt x="53" y="67"/>
                    </a:cubicBezTo>
                    <a:cubicBezTo>
                      <a:pt x="71" y="102"/>
                      <a:pt x="18" y="131"/>
                      <a:pt x="12" y="135"/>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5" name="Freeform 25">
                <a:extLst>
                  <a:ext uri="{FF2B5EF4-FFF2-40B4-BE49-F238E27FC236}">
                    <a16:creationId xmlns:a16="http://schemas.microsoft.com/office/drawing/2014/main" id="{4345EBE8-15AF-4072-8DBE-892102E05161}"/>
                  </a:ext>
                </a:extLst>
              </p:cNvPr>
              <p:cNvSpPr>
                <a:spLocks/>
              </p:cNvSpPr>
              <p:nvPr/>
            </p:nvSpPr>
            <p:spPr bwMode="auto">
              <a:xfrm>
                <a:off x="1918137" y="1759848"/>
                <a:ext cx="31836" cy="61331"/>
              </a:xfrm>
              <a:custGeom>
                <a:avLst/>
                <a:gdLst>
                  <a:gd name="T0" fmla="*/ 28 w 73"/>
                  <a:gd name="T1" fmla="*/ 141 h 141"/>
                  <a:gd name="T2" fmla="*/ 8 w 73"/>
                  <a:gd name="T3" fmla="*/ 123 h 141"/>
                  <a:gd name="T4" fmla="*/ 25 w 73"/>
                  <a:gd name="T5" fmla="*/ 83 h 141"/>
                  <a:gd name="T6" fmla="*/ 24 w 73"/>
                  <a:gd name="T7" fmla="*/ 0 h 141"/>
                  <a:gd name="T8" fmla="*/ 49 w 73"/>
                  <a:gd name="T9" fmla="*/ 11 h 141"/>
                  <a:gd name="T10" fmla="*/ 37 w 73"/>
                  <a:gd name="T11" fmla="*/ 6 h 141"/>
                  <a:gd name="T12" fmla="*/ 49 w 73"/>
                  <a:gd name="T13" fmla="*/ 11 h 141"/>
                  <a:gd name="T14" fmla="*/ 45 w 73"/>
                  <a:gd name="T15" fmla="*/ 64 h 141"/>
                  <a:gd name="T16" fmla="*/ 28 w 73"/>
                  <a:gd name="T17" fmla="*/ 141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41">
                    <a:moveTo>
                      <a:pt x="28" y="141"/>
                    </a:moveTo>
                    <a:cubicBezTo>
                      <a:pt x="8" y="123"/>
                      <a:pt x="8" y="123"/>
                      <a:pt x="8" y="123"/>
                    </a:cubicBezTo>
                    <a:cubicBezTo>
                      <a:pt x="18" y="112"/>
                      <a:pt x="32" y="90"/>
                      <a:pt x="25" y="83"/>
                    </a:cubicBezTo>
                    <a:cubicBezTo>
                      <a:pt x="0" y="58"/>
                      <a:pt x="22" y="6"/>
                      <a:pt x="24" y="0"/>
                    </a:cubicBezTo>
                    <a:cubicBezTo>
                      <a:pt x="49" y="11"/>
                      <a:pt x="49" y="11"/>
                      <a:pt x="49" y="11"/>
                    </a:cubicBezTo>
                    <a:cubicBezTo>
                      <a:pt x="37" y="6"/>
                      <a:pt x="37" y="6"/>
                      <a:pt x="37" y="6"/>
                    </a:cubicBezTo>
                    <a:cubicBezTo>
                      <a:pt x="49" y="11"/>
                      <a:pt x="49" y="11"/>
                      <a:pt x="49" y="11"/>
                    </a:cubicBezTo>
                    <a:cubicBezTo>
                      <a:pt x="42" y="27"/>
                      <a:pt x="36" y="55"/>
                      <a:pt x="45" y="64"/>
                    </a:cubicBezTo>
                    <a:cubicBezTo>
                      <a:pt x="73" y="92"/>
                      <a:pt x="33" y="136"/>
                      <a:pt x="28" y="14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14" name="Group 113">
            <a:extLst>
              <a:ext uri="{FF2B5EF4-FFF2-40B4-BE49-F238E27FC236}">
                <a16:creationId xmlns:a16="http://schemas.microsoft.com/office/drawing/2014/main" id="{4BDCB63C-5B50-4C98-9644-77DAD6F7F345}"/>
              </a:ext>
            </a:extLst>
          </p:cNvPr>
          <p:cNvGrpSpPr/>
          <p:nvPr/>
        </p:nvGrpSpPr>
        <p:grpSpPr>
          <a:xfrm>
            <a:off x="6081966" y="3223225"/>
            <a:ext cx="353472" cy="379690"/>
            <a:chOff x="3756628" y="2417685"/>
            <a:chExt cx="353472" cy="379690"/>
          </a:xfrm>
        </p:grpSpPr>
        <p:grpSp>
          <p:nvGrpSpPr>
            <p:cNvPr id="115" name="Group 114">
              <a:extLst>
                <a:ext uri="{FF2B5EF4-FFF2-40B4-BE49-F238E27FC236}">
                  <a16:creationId xmlns:a16="http://schemas.microsoft.com/office/drawing/2014/main" id="{741961D7-41E6-4638-8226-2F82D492B3C4}"/>
                </a:ext>
              </a:extLst>
            </p:cNvPr>
            <p:cNvGrpSpPr/>
            <p:nvPr/>
          </p:nvGrpSpPr>
          <p:grpSpPr>
            <a:xfrm>
              <a:off x="3761309" y="2424708"/>
              <a:ext cx="348791" cy="372667"/>
              <a:chOff x="3761309" y="2424708"/>
              <a:chExt cx="348791" cy="372667"/>
            </a:xfrm>
          </p:grpSpPr>
          <p:sp>
            <p:nvSpPr>
              <p:cNvPr id="120" name="Freeform 26">
                <a:extLst>
                  <a:ext uri="{FF2B5EF4-FFF2-40B4-BE49-F238E27FC236}">
                    <a16:creationId xmlns:a16="http://schemas.microsoft.com/office/drawing/2014/main" id="{A046616C-D9CB-4828-8166-C17BF357A2C4}"/>
                  </a:ext>
                </a:extLst>
              </p:cNvPr>
              <p:cNvSpPr>
                <a:spLocks noEditPoints="1"/>
              </p:cNvSpPr>
              <p:nvPr/>
            </p:nvSpPr>
            <p:spPr bwMode="auto">
              <a:xfrm>
                <a:off x="3761309" y="2558138"/>
                <a:ext cx="239237" cy="239237"/>
              </a:xfrm>
              <a:custGeom>
                <a:avLst/>
                <a:gdLst>
                  <a:gd name="T0" fmla="*/ 276 w 551"/>
                  <a:gd name="T1" fmla="*/ 550 h 550"/>
                  <a:gd name="T2" fmla="*/ 0 w 551"/>
                  <a:gd name="T3" fmla="*/ 275 h 550"/>
                  <a:gd name="T4" fmla="*/ 276 w 551"/>
                  <a:gd name="T5" fmla="*/ 0 h 550"/>
                  <a:gd name="T6" fmla="*/ 551 w 551"/>
                  <a:gd name="T7" fmla="*/ 275 h 550"/>
                  <a:gd name="T8" fmla="*/ 276 w 551"/>
                  <a:gd name="T9" fmla="*/ 550 h 550"/>
                  <a:gd name="T10" fmla="*/ 276 w 551"/>
                  <a:gd name="T11" fmla="*/ 27 h 550"/>
                  <a:gd name="T12" fmla="*/ 27 w 551"/>
                  <a:gd name="T13" fmla="*/ 275 h 550"/>
                  <a:gd name="T14" fmla="*/ 276 w 551"/>
                  <a:gd name="T15" fmla="*/ 523 h 550"/>
                  <a:gd name="T16" fmla="*/ 524 w 551"/>
                  <a:gd name="T17" fmla="*/ 275 h 550"/>
                  <a:gd name="T18" fmla="*/ 276 w 551"/>
                  <a:gd name="T19" fmla="*/ 27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1" h="550">
                    <a:moveTo>
                      <a:pt x="276" y="550"/>
                    </a:moveTo>
                    <a:cubicBezTo>
                      <a:pt x="124" y="550"/>
                      <a:pt x="0" y="427"/>
                      <a:pt x="0" y="275"/>
                    </a:cubicBezTo>
                    <a:cubicBezTo>
                      <a:pt x="0" y="123"/>
                      <a:pt x="124" y="0"/>
                      <a:pt x="276" y="0"/>
                    </a:cubicBezTo>
                    <a:cubicBezTo>
                      <a:pt x="427" y="0"/>
                      <a:pt x="551" y="123"/>
                      <a:pt x="551" y="275"/>
                    </a:cubicBezTo>
                    <a:cubicBezTo>
                      <a:pt x="551" y="427"/>
                      <a:pt x="427" y="550"/>
                      <a:pt x="276" y="550"/>
                    </a:cubicBezTo>
                    <a:close/>
                    <a:moveTo>
                      <a:pt x="276" y="27"/>
                    </a:moveTo>
                    <a:cubicBezTo>
                      <a:pt x="139" y="27"/>
                      <a:pt x="27" y="138"/>
                      <a:pt x="27" y="275"/>
                    </a:cubicBezTo>
                    <a:cubicBezTo>
                      <a:pt x="27" y="412"/>
                      <a:pt x="139" y="523"/>
                      <a:pt x="276" y="523"/>
                    </a:cubicBezTo>
                    <a:cubicBezTo>
                      <a:pt x="412" y="523"/>
                      <a:pt x="524" y="412"/>
                      <a:pt x="524" y="275"/>
                    </a:cubicBezTo>
                    <a:cubicBezTo>
                      <a:pt x="524" y="138"/>
                      <a:pt x="412" y="27"/>
                      <a:pt x="276" y="2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1" name="Freeform 27">
                <a:extLst>
                  <a:ext uri="{FF2B5EF4-FFF2-40B4-BE49-F238E27FC236}">
                    <a16:creationId xmlns:a16="http://schemas.microsoft.com/office/drawing/2014/main" id="{7E22948A-C7B0-4691-B333-7D0F9644D65A}"/>
                  </a:ext>
                </a:extLst>
              </p:cNvPr>
              <p:cNvSpPr>
                <a:spLocks noEditPoints="1"/>
              </p:cNvSpPr>
              <p:nvPr/>
            </p:nvSpPr>
            <p:spPr bwMode="auto">
              <a:xfrm>
                <a:off x="3764587" y="2570310"/>
                <a:ext cx="107212" cy="131557"/>
              </a:xfrm>
              <a:custGeom>
                <a:avLst/>
                <a:gdLst>
                  <a:gd name="T0" fmla="*/ 106 w 246"/>
                  <a:gd name="T1" fmla="*/ 302 h 302"/>
                  <a:gd name="T2" fmla="*/ 97 w 246"/>
                  <a:gd name="T3" fmla="*/ 299 h 302"/>
                  <a:gd name="T4" fmla="*/ 55 w 246"/>
                  <a:gd name="T5" fmla="*/ 259 h 302"/>
                  <a:gd name="T6" fmla="*/ 40 w 246"/>
                  <a:gd name="T7" fmla="*/ 248 h 302"/>
                  <a:gd name="T8" fmla="*/ 0 w 246"/>
                  <a:gd name="T9" fmla="*/ 190 h 302"/>
                  <a:gd name="T10" fmla="*/ 27 w 246"/>
                  <a:gd name="T11" fmla="*/ 185 h 302"/>
                  <a:gd name="T12" fmla="*/ 53 w 246"/>
                  <a:gd name="T13" fmla="*/ 224 h 302"/>
                  <a:gd name="T14" fmla="*/ 78 w 246"/>
                  <a:gd name="T15" fmla="*/ 245 h 302"/>
                  <a:gd name="T16" fmla="*/ 100 w 246"/>
                  <a:gd name="T17" fmla="*/ 265 h 302"/>
                  <a:gd name="T18" fmla="*/ 101 w 246"/>
                  <a:gd name="T19" fmla="*/ 259 h 302"/>
                  <a:gd name="T20" fmla="*/ 85 w 246"/>
                  <a:gd name="T21" fmla="*/ 239 h 302"/>
                  <a:gd name="T22" fmla="*/ 85 w 246"/>
                  <a:gd name="T23" fmla="*/ 239 h 302"/>
                  <a:gd name="T24" fmla="*/ 71 w 246"/>
                  <a:gd name="T25" fmla="*/ 208 h 302"/>
                  <a:gd name="T26" fmla="*/ 79 w 246"/>
                  <a:gd name="T27" fmla="*/ 194 h 302"/>
                  <a:gd name="T28" fmla="*/ 114 w 246"/>
                  <a:gd name="T29" fmla="*/ 193 h 302"/>
                  <a:gd name="T30" fmla="*/ 117 w 246"/>
                  <a:gd name="T31" fmla="*/ 193 h 302"/>
                  <a:gd name="T32" fmla="*/ 130 w 246"/>
                  <a:gd name="T33" fmla="*/ 179 h 302"/>
                  <a:gd name="T34" fmla="*/ 175 w 246"/>
                  <a:gd name="T35" fmla="*/ 135 h 302"/>
                  <a:gd name="T36" fmla="*/ 202 w 246"/>
                  <a:gd name="T37" fmla="*/ 126 h 302"/>
                  <a:gd name="T38" fmla="*/ 211 w 246"/>
                  <a:gd name="T39" fmla="*/ 96 h 302"/>
                  <a:gd name="T40" fmla="*/ 193 w 246"/>
                  <a:gd name="T41" fmla="*/ 85 h 302"/>
                  <a:gd name="T42" fmla="*/ 164 w 246"/>
                  <a:gd name="T43" fmla="*/ 61 h 302"/>
                  <a:gd name="T44" fmla="*/ 164 w 246"/>
                  <a:gd name="T45" fmla="*/ 0 h 302"/>
                  <a:gd name="T46" fmla="*/ 191 w 246"/>
                  <a:gd name="T47" fmla="*/ 3 h 302"/>
                  <a:gd name="T48" fmla="*/ 190 w 246"/>
                  <a:gd name="T49" fmla="*/ 51 h 302"/>
                  <a:gd name="T50" fmla="*/ 206 w 246"/>
                  <a:gd name="T51" fmla="*/ 61 h 302"/>
                  <a:gd name="T52" fmla="*/ 233 w 246"/>
                  <a:gd name="T53" fmla="*/ 81 h 302"/>
                  <a:gd name="T54" fmla="*/ 228 w 246"/>
                  <a:gd name="T55" fmla="*/ 134 h 302"/>
                  <a:gd name="T56" fmla="*/ 207 w 246"/>
                  <a:gd name="T57" fmla="*/ 153 h 302"/>
                  <a:gd name="T58" fmla="*/ 186 w 246"/>
                  <a:gd name="T59" fmla="*/ 160 h 302"/>
                  <a:gd name="T60" fmla="*/ 156 w 246"/>
                  <a:gd name="T61" fmla="*/ 187 h 302"/>
                  <a:gd name="T62" fmla="*/ 119 w 246"/>
                  <a:gd name="T63" fmla="*/ 220 h 302"/>
                  <a:gd name="T64" fmla="*/ 111 w 246"/>
                  <a:gd name="T65" fmla="*/ 220 h 302"/>
                  <a:gd name="T66" fmla="*/ 103 w 246"/>
                  <a:gd name="T67" fmla="*/ 219 h 302"/>
                  <a:gd name="T68" fmla="*/ 104 w 246"/>
                  <a:gd name="T69" fmla="*/ 220 h 302"/>
                  <a:gd name="T70" fmla="*/ 125 w 246"/>
                  <a:gd name="T71" fmla="*/ 246 h 302"/>
                  <a:gd name="T72" fmla="*/ 118 w 246"/>
                  <a:gd name="T73" fmla="*/ 294 h 302"/>
                  <a:gd name="T74" fmla="*/ 109 w 246"/>
                  <a:gd name="T75" fmla="*/ 302 h 302"/>
                  <a:gd name="T76" fmla="*/ 106 w 246"/>
                  <a:gd name="T77" fmla="*/ 302 h 302"/>
                  <a:gd name="T78" fmla="*/ 79 w 246"/>
                  <a:gd name="T79" fmla="*/ 247 h 302"/>
                  <a:gd name="T80" fmla="*/ 79 w 246"/>
                  <a:gd name="T81" fmla="*/ 247 h 302"/>
                  <a:gd name="T82" fmla="*/ 79 w 246"/>
                  <a:gd name="T83" fmla="*/ 247 h 302"/>
                  <a:gd name="T84" fmla="*/ 78 w 246"/>
                  <a:gd name="T85" fmla="*/ 245 h 302"/>
                  <a:gd name="T86" fmla="*/ 78 w 246"/>
                  <a:gd name="T87" fmla="*/ 245 h 302"/>
                  <a:gd name="T88" fmla="*/ 52 w 246"/>
                  <a:gd name="T89" fmla="*/ 224 h 302"/>
                  <a:gd name="T90" fmla="*/ 53 w 246"/>
                  <a:gd name="T91" fmla="*/ 224 h 302"/>
                  <a:gd name="T92" fmla="*/ 52 w 246"/>
                  <a:gd name="T93" fmla="*/ 224 h 302"/>
                  <a:gd name="T94" fmla="*/ 103 w 246"/>
                  <a:gd name="T95" fmla="*/ 219 h 302"/>
                  <a:gd name="T96" fmla="*/ 104 w 246"/>
                  <a:gd name="T97" fmla="*/ 220 h 302"/>
                  <a:gd name="T98" fmla="*/ 103 w 246"/>
                  <a:gd name="T99" fmla="*/ 219 h 302"/>
                  <a:gd name="T100" fmla="*/ 211 w 246"/>
                  <a:gd name="T101" fmla="*/ 96 h 302"/>
                  <a:gd name="T102" fmla="*/ 211 w 246"/>
                  <a:gd name="T103" fmla="*/ 9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6" h="302">
                    <a:moveTo>
                      <a:pt x="106" y="302"/>
                    </a:moveTo>
                    <a:cubicBezTo>
                      <a:pt x="103" y="302"/>
                      <a:pt x="99" y="301"/>
                      <a:pt x="97" y="299"/>
                    </a:cubicBezTo>
                    <a:cubicBezTo>
                      <a:pt x="63" y="270"/>
                      <a:pt x="57" y="262"/>
                      <a:pt x="55" y="259"/>
                    </a:cubicBezTo>
                    <a:cubicBezTo>
                      <a:pt x="52" y="256"/>
                      <a:pt x="43" y="249"/>
                      <a:pt x="40" y="248"/>
                    </a:cubicBezTo>
                    <a:cubicBezTo>
                      <a:pt x="32" y="244"/>
                      <a:pt x="3" y="209"/>
                      <a:pt x="0" y="190"/>
                    </a:cubicBezTo>
                    <a:cubicBezTo>
                      <a:pt x="27" y="185"/>
                      <a:pt x="27" y="185"/>
                      <a:pt x="27" y="185"/>
                    </a:cubicBezTo>
                    <a:cubicBezTo>
                      <a:pt x="28" y="195"/>
                      <a:pt x="48" y="219"/>
                      <a:pt x="53" y="224"/>
                    </a:cubicBezTo>
                    <a:cubicBezTo>
                      <a:pt x="58" y="227"/>
                      <a:pt x="73" y="237"/>
                      <a:pt x="78" y="245"/>
                    </a:cubicBezTo>
                    <a:cubicBezTo>
                      <a:pt x="81" y="248"/>
                      <a:pt x="90" y="256"/>
                      <a:pt x="100" y="265"/>
                    </a:cubicBezTo>
                    <a:cubicBezTo>
                      <a:pt x="100" y="263"/>
                      <a:pt x="101" y="261"/>
                      <a:pt x="101" y="259"/>
                    </a:cubicBezTo>
                    <a:cubicBezTo>
                      <a:pt x="96" y="253"/>
                      <a:pt x="87" y="241"/>
                      <a:pt x="85" y="239"/>
                    </a:cubicBezTo>
                    <a:cubicBezTo>
                      <a:pt x="85" y="239"/>
                      <a:pt x="85" y="239"/>
                      <a:pt x="85" y="239"/>
                    </a:cubicBezTo>
                    <a:cubicBezTo>
                      <a:pt x="81" y="235"/>
                      <a:pt x="70" y="219"/>
                      <a:pt x="71" y="208"/>
                    </a:cubicBezTo>
                    <a:cubicBezTo>
                      <a:pt x="71" y="202"/>
                      <a:pt x="74" y="197"/>
                      <a:pt x="79" y="194"/>
                    </a:cubicBezTo>
                    <a:cubicBezTo>
                      <a:pt x="87" y="190"/>
                      <a:pt x="99" y="191"/>
                      <a:pt x="114" y="193"/>
                    </a:cubicBezTo>
                    <a:cubicBezTo>
                      <a:pt x="115" y="193"/>
                      <a:pt x="116" y="193"/>
                      <a:pt x="117" y="193"/>
                    </a:cubicBezTo>
                    <a:cubicBezTo>
                      <a:pt x="121" y="191"/>
                      <a:pt x="129" y="183"/>
                      <a:pt x="130" y="179"/>
                    </a:cubicBezTo>
                    <a:cubicBezTo>
                      <a:pt x="135" y="163"/>
                      <a:pt x="155" y="144"/>
                      <a:pt x="175" y="135"/>
                    </a:cubicBezTo>
                    <a:cubicBezTo>
                      <a:pt x="190" y="128"/>
                      <a:pt x="195" y="126"/>
                      <a:pt x="202" y="126"/>
                    </a:cubicBezTo>
                    <a:cubicBezTo>
                      <a:pt x="207" y="119"/>
                      <a:pt x="212" y="102"/>
                      <a:pt x="211" y="96"/>
                    </a:cubicBezTo>
                    <a:cubicBezTo>
                      <a:pt x="208" y="93"/>
                      <a:pt x="199" y="88"/>
                      <a:pt x="193" y="85"/>
                    </a:cubicBezTo>
                    <a:cubicBezTo>
                      <a:pt x="180" y="78"/>
                      <a:pt x="168" y="72"/>
                      <a:pt x="164" y="61"/>
                    </a:cubicBezTo>
                    <a:cubicBezTo>
                      <a:pt x="163" y="57"/>
                      <a:pt x="159" y="47"/>
                      <a:pt x="164" y="0"/>
                    </a:cubicBezTo>
                    <a:cubicBezTo>
                      <a:pt x="191" y="3"/>
                      <a:pt x="191" y="3"/>
                      <a:pt x="191" y="3"/>
                    </a:cubicBezTo>
                    <a:cubicBezTo>
                      <a:pt x="188" y="33"/>
                      <a:pt x="189" y="47"/>
                      <a:pt x="190" y="51"/>
                    </a:cubicBezTo>
                    <a:cubicBezTo>
                      <a:pt x="192" y="53"/>
                      <a:pt x="201" y="58"/>
                      <a:pt x="206" y="61"/>
                    </a:cubicBezTo>
                    <a:cubicBezTo>
                      <a:pt x="217" y="67"/>
                      <a:pt x="227" y="73"/>
                      <a:pt x="233" y="81"/>
                    </a:cubicBezTo>
                    <a:cubicBezTo>
                      <a:pt x="246" y="98"/>
                      <a:pt x="231" y="128"/>
                      <a:pt x="228" y="134"/>
                    </a:cubicBezTo>
                    <a:cubicBezTo>
                      <a:pt x="222" y="147"/>
                      <a:pt x="215" y="153"/>
                      <a:pt x="207" y="153"/>
                    </a:cubicBezTo>
                    <a:cubicBezTo>
                      <a:pt x="201" y="153"/>
                      <a:pt x="200" y="153"/>
                      <a:pt x="186" y="160"/>
                    </a:cubicBezTo>
                    <a:cubicBezTo>
                      <a:pt x="171" y="166"/>
                      <a:pt x="158" y="180"/>
                      <a:pt x="156" y="187"/>
                    </a:cubicBezTo>
                    <a:cubicBezTo>
                      <a:pt x="152" y="202"/>
                      <a:pt x="131" y="220"/>
                      <a:pt x="119" y="220"/>
                    </a:cubicBezTo>
                    <a:cubicBezTo>
                      <a:pt x="117" y="220"/>
                      <a:pt x="115" y="220"/>
                      <a:pt x="111" y="220"/>
                    </a:cubicBezTo>
                    <a:cubicBezTo>
                      <a:pt x="109" y="219"/>
                      <a:pt x="106" y="219"/>
                      <a:pt x="103" y="219"/>
                    </a:cubicBezTo>
                    <a:cubicBezTo>
                      <a:pt x="103" y="219"/>
                      <a:pt x="104" y="219"/>
                      <a:pt x="104" y="220"/>
                    </a:cubicBezTo>
                    <a:cubicBezTo>
                      <a:pt x="109" y="225"/>
                      <a:pt x="124" y="244"/>
                      <a:pt x="125" y="246"/>
                    </a:cubicBezTo>
                    <a:cubicBezTo>
                      <a:pt x="127" y="249"/>
                      <a:pt x="134" y="258"/>
                      <a:pt x="118" y="294"/>
                    </a:cubicBezTo>
                    <a:cubicBezTo>
                      <a:pt x="117" y="298"/>
                      <a:pt x="113" y="301"/>
                      <a:pt x="109" y="302"/>
                    </a:cubicBezTo>
                    <a:cubicBezTo>
                      <a:pt x="108" y="302"/>
                      <a:pt x="107" y="302"/>
                      <a:pt x="106" y="302"/>
                    </a:cubicBezTo>
                    <a:close/>
                    <a:moveTo>
                      <a:pt x="79" y="247"/>
                    </a:moveTo>
                    <a:cubicBezTo>
                      <a:pt x="79" y="247"/>
                      <a:pt x="79" y="247"/>
                      <a:pt x="79" y="247"/>
                    </a:cubicBezTo>
                    <a:cubicBezTo>
                      <a:pt x="79" y="247"/>
                      <a:pt x="79" y="247"/>
                      <a:pt x="79" y="247"/>
                    </a:cubicBezTo>
                    <a:close/>
                    <a:moveTo>
                      <a:pt x="78" y="245"/>
                    </a:moveTo>
                    <a:cubicBezTo>
                      <a:pt x="78" y="245"/>
                      <a:pt x="78" y="245"/>
                      <a:pt x="78" y="245"/>
                    </a:cubicBezTo>
                    <a:moveTo>
                      <a:pt x="52" y="224"/>
                    </a:moveTo>
                    <a:cubicBezTo>
                      <a:pt x="52" y="224"/>
                      <a:pt x="52" y="224"/>
                      <a:pt x="53" y="224"/>
                    </a:cubicBezTo>
                    <a:cubicBezTo>
                      <a:pt x="53" y="224"/>
                      <a:pt x="52" y="224"/>
                      <a:pt x="52" y="224"/>
                    </a:cubicBezTo>
                    <a:close/>
                    <a:moveTo>
                      <a:pt x="103" y="219"/>
                    </a:moveTo>
                    <a:cubicBezTo>
                      <a:pt x="103" y="219"/>
                      <a:pt x="103" y="219"/>
                      <a:pt x="104" y="220"/>
                    </a:cubicBezTo>
                    <a:cubicBezTo>
                      <a:pt x="103" y="219"/>
                      <a:pt x="103" y="219"/>
                      <a:pt x="103" y="219"/>
                    </a:cubicBezTo>
                    <a:close/>
                    <a:moveTo>
                      <a:pt x="211" y="96"/>
                    </a:moveTo>
                    <a:cubicBezTo>
                      <a:pt x="211" y="96"/>
                      <a:pt x="211" y="96"/>
                      <a:pt x="211" y="9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2" name="Freeform 28">
                <a:extLst>
                  <a:ext uri="{FF2B5EF4-FFF2-40B4-BE49-F238E27FC236}">
                    <a16:creationId xmlns:a16="http://schemas.microsoft.com/office/drawing/2014/main" id="{68521550-2B72-477D-99F8-2489B2D291B6}"/>
                  </a:ext>
                </a:extLst>
              </p:cNvPr>
              <p:cNvSpPr>
                <a:spLocks noEditPoints="1"/>
              </p:cNvSpPr>
              <p:nvPr/>
            </p:nvSpPr>
            <p:spPr bwMode="auto">
              <a:xfrm>
                <a:off x="3868054" y="2574056"/>
                <a:ext cx="51967" cy="47286"/>
              </a:xfrm>
              <a:custGeom>
                <a:avLst/>
                <a:gdLst>
                  <a:gd name="T0" fmla="*/ 43 w 119"/>
                  <a:gd name="T1" fmla="*/ 109 h 109"/>
                  <a:gd name="T2" fmla="*/ 31 w 119"/>
                  <a:gd name="T3" fmla="*/ 106 h 109"/>
                  <a:gd name="T4" fmla="*/ 9 w 119"/>
                  <a:gd name="T5" fmla="*/ 78 h 109"/>
                  <a:gd name="T6" fmla="*/ 9 w 119"/>
                  <a:gd name="T7" fmla="*/ 47 h 109"/>
                  <a:gd name="T8" fmla="*/ 1 w 119"/>
                  <a:gd name="T9" fmla="*/ 24 h 109"/>
                  <a:gd name="T10" fmla="*/ 8 w 119"/>
                  <a:gd name="T11" fmla="*/ 10 h 109"/>
                  <a:gd name="T12" fmla="*/ 59 w 119"/>
                  <a:gd name="T13" fmla="*/ 2 h 109"/>
                  <a:gd name="T14" fmla="*/ 95 w 119"/>
                  <a:gd name="T15" fmla="*/ 10 h 109"/>
                  <a:gd name="T16" fmla="*/ 108 w 119"/>
                  <a:gd name="T17" fmla="*/ 26 h 109"/>
                  <a:gd name="T18" fmla="*/ 113 w 119"/>
                  <a:gd name="T19" fmla="*/ 34 h 109"/>
                  <a:gd name="T20" fmla="*/ 117 w 119"/>
                  <a:gd name="T21" fmla="*/ 53 h 109"/>
                  <a:gd name="T22" fmla="*/ 96 w 119"/>
                  <a:gd name="T23" fmla="*/ 77 h 109"/>
                  <a:gd name="T24" fmla="*/ 83 w 119"/>
                  <a:gd name="T25" fmla="*/ 80 h 109"/>
                  <a:gd name="T26" fmla="*/ 64 w 119"/>
                  <a:gd name="T27" fmla="*/ 85 h 109"/>
                  <a:gd name="T28" fmla="*/ 61 w 119"/>
                  <a:gd name="T29" fmla="*/ 92 h 109"/>
                  <a:gd name="T30" fmla="*/ 53 w 119"/>
                  <a:gd name="T31" fmla="*/ 106 h 109"/>
                  <a:gd name="T32" fmla="*/ 43 w 119"/>
                  <a:gd name="T33" fmla="*/ 109 h 109"/>
                  <a:gd name="T34" fmla="*/ 36 w 119"/>
                  <a:gd name="T35" fmla="*/ 77 h 109"/>
                  <a:gd name="T36" fmla="*/ 37 w 119"/>
                  <a:gd name="T37" fmla="*/ 78 h 109"/>
                  <a:gd name="T38" fmla="*/ 51 w 119"/>
                  <a:gd name="T39" fmla="*/ 61 h 109"/>
                  <a:gd name="T40" fmla="*/ 77 w 119"/>
                  <a:gd name="T41" fmla="*/ 53 h 109"/>
                  <a:gd name="T42" fmla="*/ 86 w 119"/>
                  <a:gd name="T43" fmla="*/ 51 h 109"/>
                  <a:gd name="T44" fmla="*/ 90 w 119"/>
                  <a:gd name="T45" fmla="*/ 47 h 109"/>
                  <a:gd name="T46" fmla="*/ 85 w 119"/>
                  <a:gd name="T47" fmla="*/ 40 h 109"/>
                  <a:gd name="T48" fmla="*/ 80 w 119"/>
                  <a:gd name="T49" fmla="*/ 33 h 109"/>
                  <a:gd name="T50" fmla="*/ 58 w 119"/>
                  <a:gd name="T51" fmla="*/ 30 h 109"/>
                  <a:gd name="T52" fmla="*/ 56 w 119"/>
                  <a:gd name="T53" fmla="*/ 29 h 109"/>
                  <a:gd name="T54" fmla="*/ 30 w 119"/>
                  <a:gd name="T55" fmla="*/ 30 h 109"/>
                  <a:gd name="T56" fmla="*/ 35 w 119"/>
                  <a:gd name="T57" fmla="*/ 42 h 109"/>
                  <a:gd name="T58" fmla="*/ 36 w 119"/>
                  <a:gd name="T59" fmla="*/ 77 h 109"/>
                  <a:gd name="T60" fmla="*/ 36 w 119"/>
                  <a:gd name="T61" fmla="*/ 76 h 109"/>
                  <a:gd name="T62" fmla="*/ 36 w 119"/>
                  <a:gd name="T63" fmla="*/ 7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09">
                    <a:moveTo>
                      <a:pt x="43" y="109"/>
                    </a:moveTo>
                    <a:cubicBezTo>
                      <a:pt x="39" y="109"/>
                      <a:pt x="36" y="109"/>
                      <a:pt x="31" y="106"/>
                    </a:cubicBezTo>
                    <a:cubicBezTo>
                      <a:pt x="23" y="103"/>
                      <a:pt x="9" y="92"/>
                      <a:pt x="9" y="78"/>
                    </a:cubicBezTo>
                    <a:cubicBezTo>
                      <a:pt x="9" y="70"/>
                      <a:pt x="9" y="55"/>
                      <a:pt x="9" y="47"/>
                    </a:cubicBezTo>
                    <a:cubicBezTo>
                      <a:pt x="4" y="43"/>
                      <a:pt x="0" y="37"/>
                      <a:pt x="1" y="24"/>
                    </a:cubicBezTo>
                    <a:cubicBezTo>
                      <a:pt x="1" y="19"/>
                      <a:pt x="4" y="14"/>
                      <a:pt x="8" y="10"/>
                    </a:cubicBezTo>
                    <a:cubicBezTo>
                      <a:pt x="21" y="0"/>
                      <a:pt x="48" y="1"/>
                      <a:pt x="59" y="2"/>
                    </a:cubicBezTo>
                    <a:cubicBezTo>
                      <a:pt x="65" y="3"/>
                      <a:pt x="87" y="4"/>
                      <a:pt x="95" y="10"/>
                    </a:cubicBezTo>
                    <a:cubicBezTo>
                      <a:pt x="100" y="13"/>
                      <a:pt x="104" y="20"/>
                      <a:pt x="108" y="26"/>
                    </a:cubicBezTo>
                    <a:cubicBezTo>
                      <a:pt x="110" y="29"/>
                      <a:pt x="112" y="31"/>
                      <a:pt x="113" y="34"/>
                    </a:cubicBezTo>
                    <a:cubicBezTo>
                      <a:pt x="118" y="39"/>
                      <a:pt x="119" y="46"/>
                      <a:pt x="117" y="53"/>
                    </a:cubicBezTo>
                    <a:cubicBezTo>
                      <a:pt x="114" y="64"/>
                      <a:pt x="104" y="73"/>
                      <a:pt x="96" y="77"/>
                    </a:cubicBezTo>
                    <a:cubicBezTo>
                      <a:pt x="93" y="78"/>
                      <a:pt x="88" y="79"/>
                      <a:pt x="83" y="80"/>
                    </a:cubicBezTo>
                    <a:cubicBezTo>
                      <a:pt x="77" y="81"/>
                      <a:pt x="67" y="83"/>
                      <a:pt x="64" y="85"/>
                    </a:cubicBezTo>
                    <a:cubicBezTo>
                      <a:pt x="63" y="86"/>
                      <a:pt x="62" y="90"/>
                      <a:pt x="61" y="92"/>
                    </a:cubicBezTo>
                    <a:cubicBezTo>
                      <a:pt x="59" y="97"/>
                      <a:pt x="57" y="102"/>
                      <a:pt x="53" y="106"/>
                    </a:cubicBezTo>
                    <a:cubicBezTo>
                      <a:pt x="51" y="107"/>
                      <a:pt x="48" y="109"/>
                      <a:pt x="43" y="109"/>
                    </a:cubicBezTo>
                    <a:close/>
                    <a:moveTo>
                      <a:pt x="36" y="77"/>
                    </a:moveTo>
                    <a:cubicBezTo>
                      <a:pt x="37" y="77"/>
                      <a:pt x="37" y="78"/>
                      <a:pt x="37" y="78"/>
                    </a:cubicBezTo>
                    <a:cubicBezTo>
                      <a:pt x="40" y="72"/>
                      <a:pt x="44" y="65"/>
                      <a:pt x="51" y="61"/>
                    </a:cubicBezTo>
                    <a:cubicBezTo>
                      <a:pt x="58" y="57"/>
                      <a:pt x="68" y="55"/>
                      <a:pt x="77" y="53"/>
                    </a:cubicBezTo>
                    <a:cubicBezTo>
                      <a:pt x="80" y="53"/>
                      <a:pt x="85" y="52"/>
                      <a:pt x="86" y="51"/>
                    </a:cubicBezTo>
                    <a:cubicBezTo>
                      <a:pt x="87" y="51"/>
                      <a:pt x="89" y="49"/>
                      <a:pt x="90" y="47"/>
                    </a:cubicBezTo>
                    <a:cubicBezTo>
                      <a:pt x="88" y="45"/>
                      <a:pt x="87" y="43"/>
                      <a:pt x="85" y="40"/>
                    </a:cubicBezTo>
                    <a:cubicBezTo>
                      <a:pt x="84" y="38"/>
                      <a:pt x="82" y="34"/>
                      <a:pt x="80" y="33"/>
                    </a:cubicBezTo>
                    <a:cubicBezTo>
                      <a:pt x="76" y="31"/>
                      <a:pt x="61" y="30"/>
                      <a:pt x="58" y="30"/>
                    </a:cubicBezTo>
                    <a:cubicBezTo>
                      <a:pt x="56" y="29"/>
                      <a:pt x="56" y="29"/>
                      <a:pt x="56" y="29"/>
                    </a:cubicBezTo>
                    <a:cubicBezTo>
                      <a:pt x="46" y="28"/>
                      <a:pt x="36" y="29"/>
                      <a:pt x="30" y="30"/>
                    </a:cubicBezTo>
                    <a:cubicBezTo>
                      <a:pt x="32" y="32"/>
                      <a:pt x="34" y="36"/>
                      <a:pt x="35" y="42"/>
                    </a:cubicBezTo>
                    <a:cubicBezTo>
                      <a:pt x="36" y="49"/>
                      <a:pt x="36" y="63"/>
                      <a:pt x="36" y="77"/>
                    </a:cubicBezTo>
                    <a:close/>
                    <a:moveTo>
                      <a:pt x="36" y="76"/>
                    </a:moveTo>
                    <a:cubicBezTo>
                      <a:pt x="36" y="76"/>
                      <a:pt x="36" y="76"/>
                      <a:pt x="36" y="76"/>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3" name="Freeform 29">
                <a:extLst>
                  <a:ext uri="{FF2B5EF4-FFF2-40B4-BE49-F238E27FC236}">
                    <a16:creationId xmlns:a16="http://schemas.microsoft.com/office/drawing/2014/main" id="{E577DBC2-D909-44E2-A608-91F9699B5588}"/>
                  </a:ext>
                </a:extLst>
              </p:cNvPr>
              <p:cNvSpPr>
                <a:spLocks noEditPoints="1"/>
              </p:cNvSpPr>
              <p:nvPr/>
            </p:nvSpPr>
            <p:spPr bwMode="auto">
              <a:xfrm>
                <a:off x="3804382" y="2694377"/>
                <a:ext cx="84740" cy="87080"/>
              </a:xfrm>
              <a:custGeom>
                <a:avLst/>
                <a:gdLst>
                  <a:gd name="T0" fmla="*/ 107 w 195"/>
                  <a:gd name="T1" fmla="*/ 200 h 200"/>
                  <a:gd name="T2" fmla="*/ 103 w 195"/>
                  <a:gd name="T3" fmla="*/ 199 h 200"/>
                  <a:gd name="T4" fmla="*/ 65 w 195"/>
                  <a:gd name="T5" fmla="*/ 177 h 200"/>
                  <a:gd name="T6" fmla="*/ 60 w 195"/>
                  <a:gd name="T7" fmla="*/ 172 h 200"/>
                  <a:gd name="T8" fmla="*/ 44 w 195"/>
                  <a:gd name="T9" fmla="*/ 147 h 200"/>
                  <a:gd name="T10" fmla="*/ 36 w 195"/>
                  <a:gd name="T11" fmla="*/ 114 h 200"/>
                  <a:gd name="T12" fmla="*/ 35 w 195"/>
                  <a:gd name="T13" fmla="*/ 112 h 200"/>
                  <a:gd name="T14" fmla="*/ 31 w 195"/>
                  <a:gd name="T15" fmla="*/ 98 h 200"/>
                  <a:gd name="T16" fmla="*/ 4 w 195"/>
                  <a:gd name="T17" fmla="*/ 73 h 200"/>
                  <a:gd name="T18" fmla="*/ 22 w 195"/>
                  <a:gd name="T19" fmla="*/ 18 h 200"/>
                  <a:gd name="T20" fmla="*/ 27 w 195"/>
                  <a:gd name="T21" fmla="*/ 15 h 200"/>
                  <a:gd name="T22" fmla="*/ 75 w 195"/>
                  <a:gd name="T23" fmla="*/ 15 h 200"/>
                  <a:gd name="T24" fmla="*/ 89 w 195"/>
                  <a:gd name="T25" fmla="*/ 18 h 200"/>
                  <a:gd name="T26" fmla="*/ 99 w 195"/>
                  <a:gd name="T27" fmla="*/ 15 h 200"/>
                  <a:gd name="T28" fmla="*/ 120 w 195"/>
                  <a:gd name="T29" fmla="*/ 30 h 200"/>
                  <a:gd name="T30" fmla="*/ 122 w 195"/>
                  <a:gd name="T31" fmla="*/ 34 h 200"/>
                  <a:gd name="T32" fmla="*/ 124 w 195"/>
                  <a:gd name="T33" fmla="*/ 40 h 200"/>
                  <a:gd name="T34" fmla="*/ 179 w 195"/>
                  <a:gd name="T35" fmla="*/ 50 h 200"/>
                  <a:gd name="T36" fmla="*/ 190 w 195"/>
                  <a:gd name="T37" fmla="*/ 100 h 200"/>
                  <a:gd name="T38" fmla="*/ 189 w 195"/>
                  <a:gd name="T39" fmla="*/ 103 h 200"/>
                  <a:gd name="T40" fmla="*/ 155 w 195"/>
                  <a:gd name="T41" fmla="*/ 136 h 200"/>
                  <a:gd name="T42" fmla="*/ 141 w 195"/>
                  <a:gd name="T43" fmla="*/ 143 h 200"/>
                  <a:gd name="T44" fmla="*/ 128 w 195"/>
                  <a:gd name="T45" fmla="*/ 166 h 200"/>
                  <a:gd name="T46" fmla="*/ 127 w 195"/>
                  <a:gd name="T47" fmla="*/ 167 h 200"/>
                  <a:gd name="T48" fmla="*/ 119 w 195"/>
                  <a:gd name="T49" fmla="*/ 191 h 200"/>
                  <a:gd name="T50" fmla="*/ 107 w 195"/>
                  <a:gd name="T51" fmla="*/ 200 h 200"/>
                  <a:gd name="T52" fmla="*/ 89 w 195"/>
                  <a:gd name="T53" fmla="*/ 164 h 200"/>
                  <a:gd name="T54" fmla="*/ 98 w 195"/>
                  <a:gd name="T55" fmla="*/ 169 h 200"/>
                  <a:gd name="T56" fmla="*/ 100 w 195"/>
                  <a:gd name="T57" fmla="*/ 164 h 200"/>
                  <a:gd name="T58" fmla="*/ 110 w 195"/>
                  <a:gd name="T59" fmla="*/ 146 h 200"/>
                  <a:gd name="T60" fmla="*/ 114 w 195"/>
                  <a:gd name="T61" fmla="*/ 142 h 200"/>
                  <a:gd name="T62" fmla="*/ 147 w 195"/>
                  <a:gd name="T63" fmla="*/ 111 h 200"/>
                  <a:gd name="T64" fmla="*/ 164 w 195"/>
                  <a:gd name="T65" fmla="*/ 93 h 200"/>
                  <a:gd name="T66" fmla="*/ 164 w 195"/>
                  <a:gd name="T67" fmla="*/ 73 h 200"/>
                  <a:gd name="T68" fmla="*/ 124 w 195"/>
                  <a:gd name="T69" fmla="*/ 67 h 200"/>
                  <a:gd name="T70" fmla="*/ 98 w 195"/>
                  <a:gd name="T71" fmla="*/ 48 h 200"/>
                  <a:gd name="T72" fmla="*/ 98 w 195"/>
                  <a:gd name="T73" fmla="*/ 46 h 200"/>
                  <a:gd name="T74" fmla="*/ 97 w 195"/>
                  <a:gd name="T75" fmla="*/ 44 h 200"/>
                  <a:gd name="T76" fmla="*/ 60 w 195"/>
                  <a:gd name="T77" fmla="*/ 38 h 200"/>
                  <a:gd name="T78" fmla="*/ 41 w 195"/>
                  <a:gd name="T79" fmla="*/ 38 h 200"/>
                  <a:gd name="T80" fmla="*/ 33 w 195"/>
                  <a:gd name="T81" fmla="*/ 42 h 200"/>
                  <a:gd name="T82" fmla="*/ 29 w 195"/>
                  <a:gd name="T83" fmla="*/ 64 h 200"/>
                  <a:gd name="T84" fmla="*/ 45 w 195"/>
                  <a:gd name="T85" fmla="*/ 75 h 200"/>
                  <a:gd name="T86" fmla="*/ 62 w 195"/>
                  <a:gd name="T87" fmla="*/ 106 h 200"/>
                  <a:gd name="T88" fmla="*/ 71 w 195"/>
                  <a:gd name="T89" fmla="*/ 145 h 200"/>
                  <a:gd name="T90" fmla="*/ 79 w 195"/>
                  <a:gd name="T91" fmla="*/ 153 h 200"/>
                  <a:gd name="T92" fmla="*/ 89 w 195"/>
                  <a:gd name="T93" fmla="*/ 164 h 200"/>
                  <a:gd name="T94" fmla="*/ 90 w 195"/>
                  <a:gd name="T95" fmla="*/ 166 h 200"/>
                  <a:gd name="T96" fmla="*/ 90 w 195"/>
                  <a:gd name="T97" fmla="*/ 166 h 200"/>
                  <a:gd name="T98" fmla="*/ 90 w 195"/>
                  <a:gd name="T99" fmla="*/ 166 h 200"/>
                  <a:gd name="T100" fmla="*/ 100 w 195"/>
                  <a:gd name="T101" fmla="*/ 165 h 200"/>
                  <a:gd name="T102" fmla="*/ 100 w 195"/>
                  <a:gd name="T103" fmla="*/ 165 h 200"/>
                  <a:gd name="T104" fmla="*/ 100 w 195"/>
                  <a:gd name="T105" fmla="*/ 165 h 200"/>
                  <a:gd name="T106" fmla="*/ 89 w 195"/>
                  <a:gd name="T107" fmla="*/ 164 h 200"/>
                  <a:gd name="T108" fmla="*/ 89 w 195"/>
                  <a:gd name="T109" fmla="*/ 164 h 200"/>
                  <a:gd name="T110" fmla="*/ 100 w 195"/>
                  <a:gd name="T111" fmla="*/ 163 h 200"/>
                  <a:gd name="T112" fmla="*/ 100 w 195"/>
                  <a:gd name="T113" fmla="*/ 163 h 200"/>
                  <a:gd name="T114" fmla="*/ 29 w 195"/>
                  <a:gd name="T115" fmla="*/ 63 h 200"/>
                  <a:gd name="T116" fmla="*/ 29 w 195"/>
                  <a:gd name="T117" fmla="*/ 6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5" h="200">
                    <a:moveTo>
                      <a:pt x="107" y="200"/>
                    </a:moveTo>
                    <a:cubicBezTo>
                      <a:pt x="105" y="200"/>
                      <a:pt x="104" y="199"/>
                      <a:pt x="103" y="199"/>
                    </a:cubicBezTo>
                    <a:cubicBezTo>
                      <a:pt x="71" y="190"/>
                      <a:pt x="67" y="180"/>
                      <a:pt x="65" y="177"/>
                    </a:cubicBezTo>
                    <a:cubicBezTo>
                      <a:pt x="65" y="176"/>
                      <a:pt x="62" y="174"/>
                      <a:pt x="60" y="172"/>
                    </a:cubicBezTo>
                    <a:cubicBezTo>
                      <a:pt x="53" y="166"/>
                      <a:pt x="45" y="158"/>
                      <a:pt x="44" y="147"/>
                    </a:cubicBezTo>
                    <a:cubicBezTo>
                      <a:pt x="44" y="141"/>
                      <a:pt x="39" y="124"/>
                      <a:pt x="36" y="114"/>
                    </a:cubicBezTo>
                    <a:cubicBezTo>
                      <a:pt x="36" y="113"/>
                      <a:pt x="35" y="113"/>
                      <a:pt x="35" y="112"/>
                    </a:cubicBezTo>
                    <a:cubicBezTo>
                      <a:pt x="34" y="107"/>
                      <a:pt x="32" y="101"/>
                      <a:pt x="31" y="98"/>
                    </a:cubicBezTo>
                    <a:cubicBezTo>
                      <a:pt x="24" y="94"/>
                      <a:pt x="8" y="85"/>
                      <a:pt x="4" y="73"/>
                    </a:cubicBezTo>
                    <a:cubicBezTo>
                      <a:pt x="0" y="62"/>
                      <a:pt x="2" y="25"/>
                      <a:pt x="22" y="18"/>
                    </a:cubicBezTo>
                    <a:cubicBezTo>
                      <a:pt x="23" y="17"/>
                      <a:pt x="25" y="16"/>
                      <a:pt x="27" y="15"/>
                    </a:cubicBezTo>
                    <a:cubicBezTo>
                      <a:pt x="36" y="10"/>
                      <a:pt x="52" y="0"/>
                      <a:pt x="75" y="15"/>
                    </a:cubicBezTo>
                    <a:cubicBezTo>
                      <a:pt x="84" y="21"/>
                      <a:pt x="86" y="20"/>
                      <a:pt x="89" y="18"/>
                    </a:cubicBezTo>
                    <a:cubicBezTo>
                      <a:pt x="92" y="17"/>
                      <a:pt x="95" y="15"/>
                      <a:pt x="99" y="15"/>
                    </a:cubicBezTo>
                    <a:cubicBezTo>
                      <a:pt x="114" y="13"/>
                      <a:pt x="119" y="25"/>
                      <a:pt x="120" y="30"/>
                    </a:cubicBezTo>
                    <a:cubicBezTo>
                      <a:pt x="121" y="31"/>
                      <a:pt x="122" y="33"/>
                      <a:pt x="122" y="34"/>
                    </a:cubicBezTo>
                    <a:cubicBezTo>
                      <a:pt x="123" y="36"/>
                      <a:pt x="124" y="38"/>
                      <a:pt x="124" y="40"/>
                    </a:cubicBezTo>
                    <a:cubicBezTo>
                      <a:pt x="141" y="40"/>
                      <a:pt x="165" y="42"/>
                      <a:pt x="179" y="50"/>
                    </a:cubicBezTo>
                    <a:cubicBezTo>
                      <a:pt x="195" y="58"/>
                      <a:pt x="193" y="85"/>
                      <a:pt x="190" y="100"/>
                    </a:cubicBezTo>
                    <a:cubicBezTo>
                      <a:pt x="190" y="101"/>
                      <a:pt x="190" y="102"/>
                      <a:pt x="189" y="103"/>
                    </a:cubicBezTo>
                    <a:cubicBezTo>
                      <a:pt x="188" y="106"/>
                      <a:pt x="176" y="129"/>
                      <a:pt x="155" y="136"/>
                    </a:cubicBezTo>
                    <a:cubicBezTo>
                      <a:pt x="143" y="140"/>
                      <a:pt x="141" y="143"/>
                      <a:pt x="141" y="143"/>
                    </a:cubicBezTo>
                    <a:cubicBezTo>
                      <a:pt x="141" y="154"/>
                      <a:pt x="133" y="161"/>
                      <a:pt x="128" y="166"/>
                    </a:cubicBezTo>
                    <a:cubicBezTo>
                      <a:pt x="128" y="166"/>
                      <a:pt x="127" y="167"/>
                      <a:pt x="127" y="167"/>
                    </a:cubicBezTo>
                    <a:cubicBezTo>
                      <a:pt x="126" y="172"/>
                      <a:pt x="124" y="179"/>
                      <a:pt x="119" y="191"/>
                    </a:cubicBezTo>
                    <a:cubicBezTo>
                      <a:pt x="117" y="196"/>
                      <a:pt x="112" y="200"/>
                      <a:pt x="107" y="200"/>
                    </a:cubicBezTo>
                    <a:close/>
                    <a:moveTo>
                      <a:pt x="89" y="164"/>
                    </a:moveTo>
                    <a:cubicBezTo>
                      <a:pt x="91" y="165"/>
                      <a:pt x="94" y="167"/>
                      <a:pt x="98" y="169"/>
                    </a:cubicBezTo>
                    <a:cubicBezTo>
                      <a:pt x="99" y="167"/>
                      <a:pt x="100" y="165"/>
                      <a:pt x="100" y="164"/>
                    </a:cubicBezTo>
                    <a:cubicBezTo>
                      <a:pt x="99" y="155"/>
                      <a:pt x="106" y="150"/>
                      <a:pt x="110" y="146"/>
                    </a:cubicBezTo>
                    <a:cubicBezTo>
                      <a:pt x="111" y="144"/>
                      <a:pt x="113" y="143"/>
                      <a:pt x="114" y="142"/>
                    </a:cubicBezTo>
                    <a:cubicBezTo>
                      <a:pt x="116" y="121"/>
                      <a:pt x="139" y="113"/>
                      <a:pt x="147" y="111"/>
                    </a:cubicBezTo>
                    <a:cubicBezTo>
                      <a:pt x="154" y="108"/>
                      <a:pt x="161" y="98"/>
                      <a:pt x="164" y="93"/>
                    </a:cubicBezTo>
                    <a:cubicBezTo>
                      <a:pt x="165" y="85"/>
                      <a:pt x="165" y="77"/>
                      <a:pt x="164" y="73"/>
                    </a:cubicBezTo>
                    <a:cubicBezTo>
                      <a:pt x="157" y="70"/>
                      <a:pt x="141" y="67"/>
                      <a:pt x="124" y="67"/>
                    </a:cubicBezTo>
                    <a:cubicBezTo>
                      <a:pt x="117" y="67"/>
                      <a:pt x="99" y="67"/>
                      <a:pt x="98" y="48"/>
                    </a:cubicBezTo>
                    <a:cubicBezTo>
                      <a:pt x="98" y="47"/>
                      <a:pt x="98" y="46"/>
                      <a:pt x="98" y="46"/>
                    </a:cubicBezTo>
                    <a:cubicBezTo>
                      <a:pt x="98" y="46"/>
                      <a:pt x="97" y="45"/>
                      <a:pt x="97" y="44"/>
                    </a:cubicBezTo>
                    <a:cubicBezTo>
                      <a:pt x="88" y="48"/>
                      <a:pt x="77" y="49"/>
                      <a:pt x="60" y="38"/>
                    </a:cubicBezTo>
                    <a:cubicBezTo>
                      <a:pt x="51" y="32"/>
                      <a:pt x="49" y="34"/>
                      <a:pt x="41" y="38"/>
                    </a:cubicBezTo>
                    <a:cubicBezTo>
                      <a:pt x="39" y="40"/>
                      <a:pt x="36" y="41"/>
                      <a:pt x="33" y="42"/>
                    </a:cubicBezTo>
                    <a:cubicBezTo>
                      <a:pt x="31" y="46"/>
                      <a:pt x="29" y="59"/>
                      <a:pt x="29" y="64"/>
                    </a:cubicBezTo>
                    <a:cubicBezTo>
                      <a:pt x="31" y="66"/>
                      <a:pt x="38" y="71"/>
                      <a:pt x="45" y="75"/>
                    </a:cubicBezTo>
                    <a:cubicBezTo>
                      <a:pt x="53" y="79"/>
                      <a:pt x="58" y="89"/>
                      <a:pt x="62" y="106"/>
                    </a:cubicBezTo>
                    <a:cubicBezTo>
                      <a:pt x="64" y="112"/>
                      <a:pt x="70" y="134"/>
                      <a:pt x="71" y="145"/>
                    </a:cubicBezTo>
                    <a:cubicBezTo>
                      <a:pt x="72" y="146"/>
                      <a:pt x="76" y="150"/>
                      <a:pt x="79" y="153"/>
                    </a:cubicBezTo>
                    <a:cubicBezTo>
                      <a:pt x="83" y="156"/>
                      <a:pt x="87" y="160"/>
                      <a:pt x="89" y="164"/>
                    </a:cubicBezTo>
                    <a:close/>
                    <a:moveTo>
                      <a:pt x="90" y="166"/>
                    </a:moveTo>
                    <a:cubicBezTo>
                      <a:pt x="90" y="166"/>
                      <a:pt x="90" y="166"/>
                      <a:pt x="90" y="166"/>
                    </a:cubicBezTo>
                    <a:cubicBezTo>
                      <a:pt x="90" y="166"/>
                      <a:pt x="90" y="166"/>
                      <a:pt x="90" y="166"/>
                    </a:cubicBezTo>
                    <a:close/>
                    <a:moveTo>
                      <a:pt x="100" y="165"/>
                    </a:moveTo>
                    <a:cubicBezTo>
                      <a:pt x="100" y="165"/>
                      <a:pt x="100" y="165"/>
                      <a:pt x="100" y="165"/>
                    </a:cubicBezTo>
                    <a:cubicBezTo>
                      <a:pt x="100" y="165"/>
                      <a:pt x="100" y="165"/>
                      <a:pt x="100" y="165"/>
                    </a:cubicBezTo>
                    <a:close/>
                    <a:moveTo>
                      <a:pt x="89" y="164"/>
                    </a:moveTo>
                    <a:cubicBezTo>
                      <a:pt x="89" y="164"/>
                      <a:pt x="89" y="164"/>
                      <a:pt x="89" y="164"/>
                    </a:cubicBezTo>
                    <a:moveTo>
                      <a:pt x="100" y="163"/>
                    </a:moveTo>
                    <a:cubicBezTo>
                      <a:pt x="100" y="163"/>
                      <a:pt x="100" y="163"/>
                      <a:pt x="100" y="163"/>
                    </a:cubicBezTo>
                    <a:close/>
                    <a:moveTo>
                      <a:pt x="29" y="63"/>
                    </a:moveTo>
                    <a:cubicBezTo>
                      <a:pt x="29" y="63"/>
                      <a:pt x="29" y="63"/>
                      <a:pt x="29" y="6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4" name="Freeform 30">
                <a:extLst>
                  <a:ext uri="{FF2B5EF4-FFF2-40B4-BE49-F238E27FC236}">
                    <a16:creationId xmlns:a16="http://schemas.microsoft.com/office/drawing/2014/main" id="{968051E1-E39C-47EA-AF49-E7ED70336282}"/>
                  </a:ext>
                </a:extLst>
              </p:cNvPr>
              <p:cNvSpPr>
                <a:spLocks noEditPoints="1"/>
              </p:cNvSpPr>
              <p:nvPr/>
            </p:nvSpPr>
            <p:spPr bwMode="auto">
              <a:xfrm>
                <a:off x="3927512" y="2650836"/>
                <a:ext cx="73035" cy="108617"/>
              </a:xfrm>
              <a:custGeom>
                <a:avLst/>
                <a:gdLst>
                  <a:gd name="T0" fmla="*/ 80 w 168"/>
                  <a:gd name="T1" fmla="*/ 250 h 250"/>
                  <a:gd name="T2" fmla="*/ 65 w 168"/>
                  <a:gd name="T3" fmla="*/ 231 h 250"/>
                  <a:gd name="T4" fmla="*/ 69 w 168"/>
                  <a:gd name="T5" fmla="*/ 215 h 250"/>
                  <a:gd name="T6" fmla="*/ 72 w 168"/>
                  <a:gd name="T7" fmla="*/ 204 h 250"/>
                  <a:gd name="T8" fmla="*/ 74 w 168"/>
                  <a:gd name="T9" fmla="*/ 197 h 250"/>
                  <a:gd name="T10" fmla="*/ 81 w 168"/>
                  <a:gd name="T11" fmla="*/ 184 h 250"/>
                  <a:gd name="T12" fmla="*/ 86 w 168"/>
                  <a:gd name="T13" fmla="*/ 175 h 250"/>
                  <a:gd name="T14" fmla="*/ 92 w 168"/>
                  <a:gd name="T15" fmla="*/ 153 h 250"/>
                  <a:gd name="T16" fmla="*/ 86 w 168"/>
                  <a:gd name="T17" fmla="*/ 154 h 250"/>
                  <a:gd name="T18" fmla="*/ 81 w 168"/>
                  <a:gd name="T19" fmla="*/ 157 h 250"/>
                  <a:gd name="T20" fmla="*/ 45 w 168"/>
                  <a:gd name="T21" fmla="*/ 160 h 250"/>
                  <a:gd name="T22" fmla="*/ 6 w 168"/>
                  <a:gd name="T23" fmla="*/ 131 h 250"/>
                  <a:gd name="T24" fmla="*/ 0 w 168"/>
                  <a:gd name="T25" fmla="*/ 73 h 250"/>
                  <a:gd name="T26" fmla="*/ 29 w 168"/>
                  <a:gd name="T27" fmla="*/ 27 h 250"/>
                  <a:gd name="T28" fmla="*/ 77 w 168"/>
                  <a:gd name="T29" fmla="*/ 7 h 250"/>
                  <a:gd name="T30" fmla="*/ 81 w 168"/>
                  <a:gd name="T31" fmla="*/ 6 h 250"/>
                  <a:gd name="T32" fmla="*/ 112 w 168"/>
                  <a:gd name="T33" fmla="*/ 14 h 250"/>
                  <a:gd name="T34" fmla="*/ 116 w 168"/>
                  <a:gd name="T35" fmla="*/ 19 h 250"/>
                  <a:gd name="T36" fmla="*/ 117 w 168"/>
                  <a:gd name="T37" fmla="*/ 19 h 250"/>
                  <a:gd name="T38" fmla="*/ 133 w 168"/>
                  <a:gd name="T39" fmla="*/ 15 h 250"/>
                  <a:gd name="T40" fmla="*/ 168 w 168"/>
                  <a:gd name="T41" fmla="*/ 36 h 250"/>
                  <a:gd name="T42" fmla="*/ 143 w 168"/>
                  <a:gd name="T43" fmla="*/ 45 h 250"/>
                  <a:gd name="T44" fmla="*/ 143 w 168"/>
                  <a:gd name="T45" fmla="*/ 46 h 250"/>
                  <a:gd name="T46" fmla="*/ 133 w 168"/>
                  <a:gd name="T47" fmla="*/ 43 h 250"/>
                  <a:gd name="T48" fmla="*/ 127 w 168"/>
                  <a:gd name="T49" fmla="*/ 44 h 250"/>
                  <a:gd name="T50" fmla="*/ 112 w 168"/>
                  <a:gd name="T51" fmla="*/ 47 h 250"/>
                  <a:gd name="T52" fmla="*/ 91 w 168"/>
                  <a:gd name="T53" fmla="*/ 32 h 250"/>
                  <a:gd name="T54" fmla="*/ 88 w 168"/>
                  <a:gd name="T55" fmla="*/ 32 h 250"/>
                  <a:gd name="T56" fmla="*/ 77 w 168"/>
                  <a:gd name="T57" fmla="*/ 34 h 250"/>
                  <a:gd name="T58" fmla="*/ 47 w 168"/>
                  <a:gd name="T59" fmla="*/ 47 h 250"/>
                  <a:gd name="T60" fmla="*/ 27 w 168"/>
                  <a:gd name="T61" fmla="*/ 75 h 250"/>
                  <a:gd name="T62" fmla="*/ 30 w 168"/>
                  <a:gd name="T63" fmla="*/ 117 h 250"/>
                  <a:gd name="T64" fmla="*/ 58 w 168"/>
                  <a:gd name="T65" fmla="*/ 136 h 250"/>
                  <a:gd name="T66" fmla="*/ 68 w 168"/>
                  <a:gd name="T67" fmla="*/ 133 h 250"/>
                  <a:gd name="T68" fmla="*/ 84 w 168"/>
                  <a:gd name="T69" fmla="*/ 127 h 250"/>
                  <a:gd name="T70" fmla="*/ 94 w 168"/>
                  <a:gd name="T71" fmla="*/ 117 h 250"/>
                  <a:gd name="T72" fmla="*/ 122 w 168"/>
                  <a:gd name="T73" fmla="*/ 133 h 250"/>
                  <a:gd name="T74" fmla="*/ 125 w 168"/>
                  <a:gd name="T75" fmla="*/ 138 h 250"/>
                  <a:gd name="T76" fmla="*/ 123 w 168"/>
                  <a:gd name="T77" fmla="*/ 144 h 250"/>
                  <a:gd name="T78" fmla="*/ 112 w 168"/>
                  <a:gd name="T79" fmla="*/ 182 h 250"/>
                  <a:gd name="T80" fmla="*/ 103 w 168"/>
                  <a:gd name="T81" fmla="*/ 200 h 250"/>
                  <a:gd name="T82" fmla="*/ 99 w 168"/>
                  <a:gd name="T83" fmla="*/ 206 h 250"/>
                  <a:gd name="T84" fmla="*/ 99 w 168"/>
                  <a:gd name="T85" fmla="*/ 208 h 250"/>
                  <a:gd name="T86" fmla="*/ 94 w 168"/>
                  <a:gd name="T87" fmla="*/ 227 h 250"/>
                  <a:gd name="T88" fmla="*/ 94 w 168"/>
                  <a:gd name="T89" fmla="*/ 227 h 250"/>
                  <a:gd name="T90" fmla="*/ 94 w 168"/>
                  <a:gd name="T91" fmla="*/ 227 h 250"/>
                  <a:gd name="T92" fmla="*/ 93 w 168"/>
                  <a:gd name="T93" fmla="*/ 229 h 250"/>
                  <a:gd name="T94" fmla="*/ 80 w 168"/>
                  <a:gd name="T95" fmla="*/ 250 h 250"/>
                  <a:gd name="T96" fmla="*/ 27 w 168"/>
                  <a:gd name="T97" fmla="*/ 76 h 250"/>
                  <a:gd name="T98" fmla="*/ 27 w 168"/>
                  <a:gd name="T99" fmla="*/ 7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8" h="250">
                    <a:moveTo>
                      <a:pt x="80" y="250"/>
                    </a:moveTo>
                    <a:cubicBezTo>
                      <a:pt x="77" y="248"/>
                      <a:pt x="66" y="241"/>
                      <a:pt x="65" y="231"/>
                    </a:cubicBezTo>
                    <a:cubicBezTo>
                      <a:pt x="64" y="225"/>
                      <a:pt x="65" y="219"/>
                      <a:pt x="69" y="215"/>
                    </a:cubicBezTo>
                    <a:cubicBezTo>
                      <a:pt x="71" y="213"/>
                      <a:pt x="72" y="208"/>
                      <a:pt x="72" y="204"/>
                    </a:cubicBezTo>
                    <a:cubicBezTo>
                      <a:pt x="73" y="202"/>
                      <a:pt x="73" y="199"/>
                      <a:pt x="74" y="197"/>
                    </a:cubicBezTo>
                    <a:cubicBezTo>
                      <a:pt x="75" y="193"/>
                      <a:pt x="77" y="189"/>
                      <a:pt x="81" y="184"/>
                    </a:cubicBezTo>
                    <a:cubicBezTo>
                      <a:pt x="82" y="182"/>
                      <a:pt x="86" y="177"/>
                      <a:pt x="86" y="175"/>
                    </a:cubicBezTo>
                    <a:cubicBezTo>
                      <a:pt x="87" y="172"/>
                      <a:pt x="90" y="162"/>
                      <a:pt x="92" y="153"/>
                    </a:cubicBezTo>
                    <a:cubicBezTo>
                      <a:pt x="91" y="154"/>
                      <a:pt x="88" y="154"/>
                      <a:pt x="86" y="154"/>
                    </a:cubicBezTo>
                    <a:cubicBezTo>
                      <a:pt x="86" y="154"/>
                      <a:pt x="83" y="156"/>
                      <a:pt x="81" y="157"/>
                    </a:cubicBezTo>
                    <a:cubicBezTo>
                      <a:pt x="73" y="161"/>
                      <a:pt x="60" y="168"/>
                      <a:pt x="45" y="160"/>
                    </a:cubicBezTo>
                    <a:cubicBezTo>
                      <a:pt x="26" y="149"/>
                      <a:pt x="12" y="140"/>
                      <a:pt x="6" y="131"/>
                    </a:cubicBezTo>
                    <a:cubicBezTo>
                      <a:pt x="5" y="128"/>
                      <a:pt x="0" y="120"/>
                      <a:pt x="0" y="73"/>
                    </a:cubicBezTo>
                    <a:cubicBezTo>
                      <a:pt x="0" y="62"/>
                      <a:pt x="22" y="33"/>
                      <a:pt x="29" y="27"/>
                    </a:cubicBezTo>
                    <a:cubicBezTo>
                      <a:pt x="40" y="17"/>
                      <a:pt x="66" y="7"/>
                      <a:pt x="77" y="7"/>
                    </a:cubicBezTo>
                    <a:cubicBezTo>
                      <a:pt x="78" y="7"/>
                      <a:pt x="80" y="6"/>
                      <a:pt x="81" y="6"/>
                    </a:cubicBezTo>
                    <a:cubicBezTo>
                      <a:pt x="89" y="4"/>
                      <a:pt x="105" y="0"/>
                      <a:pt x="112" y="14"/>
                    </a:cubicBezTo>
                    <a:cubicBezTo>
                      <a:pt x="114" y="17"/>
                      <a:pt x="115" y="18"/>
                      <a:pt x="116" y="19"/>
                    </a:cubicBezTo>
                    <a:cubicBezTo>
                      <a:pt x="116" y="19"/>
                      <a:pt x="117" y="19"/>
                      <a:pt x="117" y="19"/>
                    </a:cubicBezTo>
                    <a:cubicBezTo>
                      <a:pt x="121" y="17"/>
                      <a:pt x="126" y="15"/>
                      <a:pt x="133" y="15"/>
                    </a:cubicBezTo>
                    <a:cubicBezTo>
                      <a:pt x="147" y="15"/>
                      <a:pt x="164" y="23"/>
                      <a:pt x="168" y="36"/>
                    </a:cubicBezTo>
                    <a:cubicBezTo>
                      <a:pt x="143" y="45"/>
                      <a:pt x="143" y="45"/>
                      <a:pt x="143" y="45"/>
                    </a:cubicBezTo>
                    <a:cubicBezTo>
                      <a:pt x="143" y="45"/>
                      <a:pt x="143" y="46"/>
                      <a:pt x="143" y="46"/>
                    </a:cubicBezTo>
                    <a:cubicBezTo>
                      <a:pt x="142" y="45"/>
                      <a:pt x="137" y="43"/>
                      <a:pt x="133" y="43"/>
                    </a:cubicBezTo>
                    <a:cubicBezTo>
                      <a:pt x="131" y="43"/>
                      <a:pt x="129" y="43"/>
                      <a:pt x="127" y="44"/>
                    </a:cubicBezTo>
                    <a:cubicBezTo>
                      <a:pt x="123" y="46"/>
                      <a:pt x="118" y="48"/>
                      <a:pt x="112" y="47"/>
                    </a:cubicBezTo>
                    <a:cubicBezTo>
                      <a:pt x="101" y="45"/>
                      <a:pt x="95" y="38"/>
                      <a:pt x="91" y="32"/>
                    </a:cubicBezTo>
                    <a:cubicBezTo>
                      <a:pt x="90" y="32"/>
                      <a:pt x="89" y="32"/>
                      <a:pt x="88" y="32"/>
                    </a:cubicBezTo>
                    <a:cubicBezTo>
                      <a:pt x="84" y="33"/>
                      <a:pt x="81" y="34"/>
                      <a:pt x="77" y="34"/>
                    </a:cubicBezTo>
                    <a:cubicBezTo>
                      <a:pt x="72" y="35"/>
                      <a:pt x="53" y="42"/>
                      <a:pt x="47" y="47"/>
                    </a:cubicBezTo>
                    <a:cubicBezTo>
                      <a:pt x="41" y="53"/>
                      <a:pt x="30" y="70"/>
                      <a:pt x="27" y="75"/>
                    </a:cubicBezTo>
                    <a:cubicBezTo>
                      <a:pt x="27" y="97"/>
                      <a:pt x="29" y="113"/>
                      <a:pt x="30" y="117"/>
                    </a:cubicBezTo>
                    <a:cubicBezTo>
                      <a:pt x="32" y="119"/>
                      <a:pt x="38" y="125"/>
                      <a:pt x="58" y="136"/>
                    </a:cubicBezTo>
                    <a:cubicBezTo>
                      <a:pt x="60" y="137"/>
                      <a:pt x="61" y="137"/>
                      <a:pt x="68" y="133"/>
                    </a:cubicBezTo>
                    <a:cubicBezTo>
                      <a:pt x="72" y="131"/>
                      <a:pt x="77" y="128"/>
                      <a:pt x="84" y="127"/>
                    </a:cubicBezTo>
                    <a:cubicBezTo>
                      <a:pt x="85" y="124"/>
                      <a:pt x="88" y="119"/>
                      <a:pt x="94" y="117"/>
                    </a:cubicBezTo>
                    <a:cubicBezTo>
                      <a:pt x="107" y="113"/>
                      <a:pt x="117" y="126"/>
                      <a:pt x="122" y="133"/>
                    </a:cubicBezTo>
                    <a:cubicBezTo>
                      <a:pt x="125" y="138"/>
                      <a:pt x="125" y="138"/>
                      <a:pt x="125" y="138"/>
                    </a:cubicBezTo>
                    <a:cubicBezTo>
                      <a:pt x="123" y="144"/>
                      <a:pt x="123" y="144"/>
                      <a:pt x="123" y="144"/>
                    </a:cubicBezTo>
                    <a:cubicBezTo>
                      <a:pt x="121" y="153"/>
                      <a:pt x="114" y="177"/>
                      <a:pt x="112" y="182"/>
                    </a:cubicBezTo>
                    <a:cubicBezTo>
                      <a:pt x="111" y="188"/>
                      <a:pt x="107" y="194"/>
                      <a:pt x="103" y="200"/>
                    </a:cubicBezTo>
                    <a:cubicBezTo>
                      <a:pt x="102" y="202"/>
                      <a:pt x="100" y="205"/>
                      <a:pt x="99" y="206"/>
                    </a:cubicBezTo>
                    <a:cubicBezTo>
                      <a:pt x="99" y="206"/>
                      <a:pt x="99" y="207"/>
                      <a:pt x="99" y="208"/>
                    </a:cubicBezTo>
                    <a:cubicBezTo>
                      <a:pt x="98" y="213"/>
                      <a:pt x="97" y="220"/>
                      <a:pt x="94" y="227"/>
                    </a:cubicBezTo>
                    <a:cubicBezTo>
                      <a:pt x="94" y="227"/>
                      <a:pt x="94" y="227"/>
                      <a:pt x="94" y="227"/>
                    </a:cubicBezTo>
                    <a:cubicBezTo>
                      <a:pt x="94" y="227"/>
                      <a:pt x="94" y="227"/>
                      <a:pt x="94" y="227"/>
                    </a:cubicBezTo>
                    <a:cubicBezTo>
                      <a:pt x="93" y="228"/>
                      <a:pt x="93" y="228"/>
                      <a:pt x="93" y="229"/>
                    </a:cubicBezTo>
                    <a:lnTo>
                      <a:pt x="80" y="250"/>
                    </a:lnTo>
                    <a:close/>
                    <a:moveTo>
                      <a:pt x="27" y="76"/>
                    </a:moveTo>
                    <a:cubicBezTo>
                      <a:pt x="27" y="76"/>
                      <a:pt x="27" y="76"/>
                      <a:pt x="27" y="7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5" name="Freeform 31">
                <a:extLst>
                  <a:ext uri="{FF2B5EF4-FFF2-40B4-BE49-F238E27FC236}">
                    <a16:creationId xmlns:a16="http://schemas.microsoft.com/office/drawing/2014/main" id="{DE876E29-2BA6-461A-99C9-9F7434282A34}"/>
                  </a:ext>
                </a:extLst>
              </p:cNvPr>
              <p:cNvSpPr>
                <a:spLocks noEditPoints="1"/>
              </p:cNvSpPr>
              <p:nvPr/>
            </p:nvSpPr>
            <p:spPr bwMode="auto">
              <a:xfrm>
                <a:off x="4029106" y="2424708"/>
                <a:ext cx="80994" cy="198974"/>
              </a:xfrm>
              <a:custGeom>
                <a:avLst/>
                <a:gdLst>
                  <a:gd name="T0" fmla="*/ 94 w 187"/>
                  <a:gd name="T1" fmla="*/ 457 h 457"/>
                  <a:gd name="T2" fmla="*/ 90 w 187"/>
                  <a:gd name="T3" fmla="*/ 457 h 457"/>
                  <a:gd name="T4" fmla="*/ 1 w 187"/>
                  <a:gd name="T5" fmla="*/ 367 h 457"/>
                  <a:gd name="T6" fmla="*/ 38 w 187"/>
                  <a:gd name="T7" fmla="*/ 290 h 457"/>
                  <a:gd name="T8" fmla="*/ 38 w 187"/>
                  <a:gd name="T9" fmla="*/ 53 h 457"/>
                  <a:gd name="T10" fmla="*/ 92 w 187"/>
                  <a:gd name="T11" fmla="*/ 0 h 457"/>
                  <a:gd name="T12" fmla="*/ 96 w 187"/>
                  <a:gd name="T13" fmla="*/ 0 h 457"/>
                  <a:gd name="T14" fmla="*/ 149 w 187"/>
                  <a:gd name="T15" fmla="*/ 53 h 457"/>
                  <a:gd name="T16" fmla="*/ 149 w 187"/>
                  <a:gd name="T17" fmla="*/ 290 h 457"/>
                  <a:gd name="T18" fmla="*/ 187 w 187"/>
                  <a:gd name="T19" fmla="*/ 364 h 457"/>
                  <a:gd name="T20" fmla="*/ 158 w 187"/>
                  <a:gd name="T21" fmla="*/ 431 h 457"/>
                  <a:gd name="T22" fmla="*/ 94 w 187"/>
                  <a:gd name="T23" fmla="*/ 457 h 457"/>
                  <a:gd name="T24" fmla="*/ 92 w 187"/>
                  <a:gd name="T25" fmla="*/ 27 h 457"/>
                  <a:gd name="T26" fmla="*/ 66 w 187"/>
                  <a:gd name="T27" fmla="*/ 53 h 457"/>
                  <a:gd name="T28" fmla="*/ 66 w 187"/>
                  <a:gd name="T29" fmla="*/ 297 h 457"/>
                  <a:gd name="T30" fmla="*/ 59 w 187"/>
                  <a:gd name="T31" fmla="*/ 308 h 457"/>
                  <a:gd name="T32" fmla="*/ 28 w 187"/>
                  <a:gd name="T33" fmla="*/ 366 h 457"/>
                  <a:gd name="T34" fmla="*/ 91 w 187"/>
                  <a:gd name="T35" fmla="*/ 430 h 457"/>
                  <a:gd name="T36" fmla="*/ 139 w 187"/>
                  <a:gd name="T37" fmla="*/ 411 h 457"/>
                  <a:gd name="T38" fmla="*/ 159 w 187"/>
                  <a:gd name="T39" fmla="*/ 364 h 457"/>
                  <a:gd name="T40" fmla="*/ 128 w 187"/>
                  <a:gd name="T41" fmla="*/ 308 h 457"/>
                  <a:gd name="T42" fmla="*/ 122 w 187"/>
                  <a:gd name="T43" fmla="*/ 297 h 457"/>
                  <a:gd name="T44" fmla="*/ 122 w 187"/>
                  <a:gd name="T45" fmla="*/ 53 h 457"/>
                  <a:gd name="T46" fmla="*/ 96 w 187"/>
                  <a:gd name="T47" fmla="*/ 27 h 457"/>
                  <a:gd name="T48" fmla="*/ 92 w 187"/>
                  <a:gd name="T49" fmla="*/ 27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7" h="457">
                    <a:moveTo>
                      <a:pt x="94" y="457"/>
                    </a:moveTo>
                    <a:cubicBezTo>
                      <a:pt x="93" y="457"/>
                      <a:pt x="91" y="457"/>
                      <a:pt x="90" y="457"/>
                    </a:cubicBezTo>
                    <a:cubicBezTo>
                      <a:pt x="42" y="455"/>
                      <a:pt x="3" y="416"/>
                      <a:pt x="1" y="367"/>
                    </a:cubicBezTo>
                    <a:cubicBezTo>
                      <a:pt x="0" y="337"/>
                      <a:pt x="14" y="308"/>
                      <a:pt x="38" y="290"/>
                    </a:cubicBezTo>
                    <a:cubicBezTo>
                      <a:pt x="38" y="53"/>
                      <a:pt x="38" y="53"/>
                      <a:pt x="38" y="53"/>
                    </a:cubicBezTo>
                    <a:cubicBezTo>
                      <a:pt x="38" y="23"/>
                      <a:pt x="62" y="0"/>
                      <a:pt x="92" y="0"/>
                    </a:cubicBezTo>
                    <a:cubicBezTo>
                      <a:pt x="96" y="0"/>
                      <a:pt x="96" y="0"/>
                      <a:pt x="96" y="0"/>
                    </a:cubicBezTo>
                    <a:cubicBezTo>
                      <a:pt x="125" y="0"/>
                      <a:pt x="149" y="23"/>
                      <a:pt x="149" y="53"/>
                    </a:cubicBezTo>
                    <a:cubicBezTo>
                      <a:pt x="149" y="290"/>
                      <a:pt x="149" y="290"/>
                      <a:pt x="149" y="290"/>
                    </a:cubicBezTo>
                    <a:cubicBezTo>
                      <a:pt x="173" y="307"/>
                      <a:pt x="187" y="334"/>
                      <a:pt x="187" y="364"/>
                    </a:cubicBezTo>
                    <a:cubicBezTo>
                      <a:pt x="187" y="389"/>
                      <a:pt x="176" y="413"/>
                      <a:pt x="158" y="431"/>
                    </a:cubicBezTo>
                    <a:cubicBezTo>
                      <a:pt x="141" y="448"/>
                      <a:pt x="118" y="457"/>
                      <a:pt x="94" y="457"/>
                    </a:cubicBezTo>
                    <a:close/>
                    <a:moveTo>
                      <a:pt x="92" y="27"/>
                    </a:moveTo>
                    <a:cubicBezTo>
                      <a:pt x="77" y="27"/>
                      <a:pt x="66" y="38"/>
                      <a:pt x="66" y="53"/>
                    </a:cubicBezTo>
                    <a:cubicBezTo>
                      <a:pt x="66" y="297"/>
                      <a:pt x="66" y="297"/>
                      <a:pt x="66" y="297"/>
                    </a:cubicBezTo>
                    <a:cubicBezTo>
                      <a:pt x="66" y="302"/>
                      <a:pt x="63" y="306"/>
                      <a:pt x="59" y="308"/>
                    </a:cubicBezTo>
                    <a:cubicBezTo>
                      <a:pt x="39" y="321"/>
                      <a:pt x="27" y="343"/>
                      <a:pt x="28" y="366"/>
                    </a:cubicBezTo>
                    <a:cubicBezTo>
                      <a:pt x="29" y="400"/>
                      <a:pt x="58" y="428"/>
                      <a:pt x="91" y="430"/>
                    </a:cubicBezTo>
                    <a:cubicBezTo>
                      <a:pt x="109" y="430"/>
                      <a:pt x="126" y="424"/>
                      <a:pt x="139" y="411"/>
                    </a:cubicBezTo>
                    <a:cubicBezTo>
                      <a:pt x="152" y="399"/>
                      <a:pt x="159" y="382"/>
                      <a:pt x="159" y="364"/>
                    </a:cubicBezTo>
                    <a:cubicBezTo>
                      <a:pt x="159" y="341"/>
                      <a:pt x="148" y="320"/>
                      <a:pt x="128" y="308"/>
                    </a:cubicBezTo>
                    <a:cubicBezTo>
                      <a:pt x="125" y="306"/>
                      <a:pt x="122" y="302"/>
                      <a:pt x="122" y="297"/>
                    </a:cubicBezTo>
                    <a:cubicBezTo>
                      <a:pt x="122" y="53"/>
                      <a:pt x="122" y="53"/>
                      <a:pt x="122" y="53"/>
                    </a:cubicBezTo>
                    <a:cubicBezTo>
                      <a:pt x="122" y="38"/>
                      <a:pt x="110" y="27"/>
                      <a:pt x="96" y="27"/>
                    </a:cubicBezTo>
                    <a:lnTo>
                      <a:pt x="92" y="2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6" name="Rectangle 32">
                <a:extLst>
                  <a:ext uri="{FF2B5EF4-FFF2-40B4-BE49-F238E27FC236}">
                    <a16:creationId xmlns:a16="http://schemas.microsoft.com/office/drawing/2014/main" id="{6A1EA946-D879-4534-A1CE-6EA22C40E1A4}"/>
                  </a:ext>
                </a:extLst>
              </p:cNvPr>
              <p:cNvSpPr>
                <a:spLocks noChangeArrowheads="1"/>
              </p:cNvSpPr>
              <p:nvPr/>
            </p:nvSpPr>
            <p:spPr bwMode="auto">
              <a:xfrm>
                <a:off x="4009442" y="2449990"/>
                <a:ext cx="18727" cy="1217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7" name="Rectangle 33">
                <a:extLst>
                  <a:ext uri="{FF2B5EF4-FFF2-40B4-BE49-F238E27FC236}">
                    <a16:creationId xmlns:a16="http://schemas.microsoft.com/office/drawing/2014/main" id="{9708174B-170A-4C89-9D4A-75F58DC188A7}"/>
                  </a:ext>
                </a:extLst>
              </p:cNvPr>
              <p:cNvSpPr>
                <a:spLocks noChangeArrowheads="1"/>
              </p:cNvSpPr>
              <p:nvPr/>
            </p:nvSpPr>
            <p:spPr bwMode="auto">
              <a:xfrm>
                <a:off x="4009442" y="2472930"/>
                <a:ext cx="18727" cy="11704"/>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8" name="Rectangle 34">
                <a:extLst>
                  <a:ext uri="{FF2B5EF4-FFF2-40B4-BE49-F238E27FC236}">
                    <a16:creationId xmlns:a16="http://schemas.microsoft.com/office/drawing/2014/main" id="{F273E1B2-F454-42EA-B65E-2D404C19D5C0}"/>
                  </a:ext>
                </a:extLst>
              </p:cNvPr>
              <p:cNvSpPr>
                <a:spLocks noChangeArrowheads="1"/>
              </p:cNvSpPr>
              <p:nvPr/>
            </p:nvSpPr>
            <p:spPr bwMode="auto">
              <a:xfrm>
                <a:off x="4009442" y="2495871"/>
                <a:ext cx="18727" cy="1217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9" name="Freeform 35">
                <a:extLst>
                  <a:ext uri="{FF2B5EF4-FFF2-40B4-BE49-F238E27FC236}">
                    <a16:creationId xmlns:a16="http://schemas.microsoft.com/office/drawing/2014/main" id="{EDB5320C-CF3A-41A3-86B7-A1CCBB258FB2}"/>
                  </a:ext>
                </a:extLst>
              </p:cNvPr>
              <p:cNvSpPr>
                <a:spLocks noEditPoints="1"/>
              </p:cNvSpPr>
              <p:nvPr/>
            </p:nvSpPr>
            <p:spPr bwMode="auto">
              <a:xfrm>
                <a:off x="4052047" y="2565161"/>
                <a:ext cx="35581" cy="35581"/>
              </a:xfrm>
              <a:custGeom>
                <a:avLst/>
                <a:gdLst>
                  <a:gd name="T0" fmla="*/ 41 w 82"/>
                  <a:gd name="T1" fmla="*/ 82 h 82"/>
                  <a:gd name="T2" fmla="*/ 0 w 82"/>
                  <a:gd name="T3" fmla="*/ 41 h 82"/>
                  <a:gd name="T4" fmla="*/ 41 w 82"/>
                  <a:gd name="T5" fmla="*/ 0 h 82"/>
                  <a:gd name="T6" fmla="*/ 82 w 82"/>
                  <a:gd name="T7" fmla="*/ 41 h 82"/>
                  <a:gd name="T8" fmla="*/ 41 w 82"/>
                  <a:gd name="T9" fmla="*/ 82 h 82"/>
                  <a:gd name="T10" fmla="*/ 41 w 82"/>
                  <a:gd name="T11" fmla="*/ 27 h 82"/>
                  <a:gd name="T12" fmla="*/ 27 w 82"/>
                  <a:gd name="T13" fmla="*/ 41 h 82"/>
                  <a:gd name="T14" fmla="*/ 41 w 82"/>
                  <a:gd name="T15" fmla="*/ 55 h 82"/>
                  <a:gd name="T16" fmla="*/ 55 w 82"/>
                  <a:gd name="T17" fmla="*/ 41 h 82"/>
                  <a:gd name="T18" fmla="*/ 41 w 82"/>
                  <a:gd name="T19" fmla="*/ 2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41" y="82"/>
                    </a:moveTo>
                    <a:cubicBezTo>
                      <a:pt x="18" y="82"/>
                      <a:pt x="0" y="64"/>
                      <a:pt x="0" y="41"/>
                    </a:cubicBezTo>
                    <a:cubicBezTo>
                      <a:pt x="0" y="19"/>
                      <a:pt x="18" y="0"/>
                      <a:pt x="41" y="0"/>
                    </a:cubicBezTo>
                    <a:cubicBezTo>
                      <a:pt x="63" y="0"/>
                      <a:pt x="82" y="19"/>
                      <a:pt x="82" y="41"/>
                    </a:cubicBezTo>
                    <a:cubicBezTo>
                      <a:pt x="82" y="64"/>
                      <a:pt x="63" y="82"/>
                      <a:pt x="41" y="82"/>
                    </a:cubicBezTo>
                    <a:close/>
                    <a:moveTo>
                      <a:pt x="41" y="27"/>
                    </a:moveTo>
                    <a:cubicBezTo>
                      <a:pt x="33" y="27"/>
                      <a:pt x="27" y="34"/>
                      <a:pt x="27" y="41"/>
                    </a:cubicBezTo>
                    <a:cubicBezTo>
                      <a:pt x="27" y="49"/>
                      <a:pt x="33" y="55"/>
                      <a:pt x="41" y="55"/>
                    </a:cubicBezTo>
                    <a:cubicBezTo>
                      <a:pt x="48" y="55"/>
                      <a:pt x="55" y="49"/>
                      <a:pt x="55" y="41"/>
                    </a:cubicBezTo>
                    <a:cubicBezTo>
                      <a:pt x="55" y="34"/>
                      <a:pt x="48" y="27"/>
                      <a:pt x="41" y="2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0" name="Rectangle 36">
                <a:extLst>
                  <a:ext uri="{FF2B5EF4-FFF2-40B4-BE49-F238E27FC236}">
                    <a16:creationId xmlns:a16="http://schemas.microsoft.com/office/drawing/2014/main" id="{1EAFD5CF-9947-4F3B-A29E-91BB2458FDC3}"/>
                  </a:ext>
                </a:extLst>
              </p:cNvPr>
              <p:cNvSpPr>
                <a:spLocks noChangeArrowheads="1"/>
              </p:cNvSpPr>
              <p:nvPr/>
            </p:nvSpPr>
            <p:spPr bwMode="auto">
              <a:xfrm>
                <a:off x="4063750" y="2461693"/>
                <a:ext cx="11704" cy="10955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16" name="Group 115">
              <a:extLst>
                <a:ext uri="{FF2B5EF4-FFF2-40B4-BE49-F238E27FC236}">
                  <a16:creationId xmlns:a16="http://schemas.microsoft.com/office/drawing/2014/main" id="{C7DC895B-FE97-42DF-9A52-7628418890CE}"/>
                </a:ext>
              </a:extLst>
            </p:cNvPr>
            <p:cNvGrpSpPr/>
            <p:nvPr/>
          </p:nvGrpSpPr>
          <p:grpSpPr>
            <a:xfrm>
              <a:off x="3756628" y="2417685"/>
              <a:ext cx="225192" cy="157775"/>
              <a:chOff x="3756628" y="2417685"/>
              <a:chExt cx="225192" cy="157775"/>
            </a:xfrm>
          </p:grpSpPr>
          <p:sp>
            <p:nvSpPr>
              <p:cNvPr id="117" name="Freeform 37">
                <a:extLst>
                  <a:ext uri="{FF2B5EF4-FFF2-40B4-BE49-F238E27FC236}">
                    <a16:creationId xmlns:a16="http://schemas.microsoft.com/office/drawing/2014/main" id="{B255111E-D894-4360-A928-B5AABFAC8A2C}"/>
                  </a:ext>
                </a:extLst>
              </p:cNvPr>
              <p:cNvSpPr>
                <a:spLocks/>
              </p:cNvSpPr>
              <p:nvPr/>
            </p:nvSpPr>
            <p:spPr bwMode="auto">
              <a:xfrm>
                <a:off x="3756628" y="2467312"/>
                <a:ext cx="46817" cy="108148"/>
              </a:xfrm>
              <a:custGeom>
                <a:avLst/>
                <a:gdLst>
                  <a:gd name="T0" fmla="*/ 48 w 108"/>
                  <a:gd name="T1" fmla="*/ 248 h 248"/>
                  <a:gd name="T2" fmla="*/ 62 w 108"/>
                  <a:gd name="T3" fmla="*/ 105 h 248"/>
                  <a:gd name="T4" fmla="*/ 79 w 108"/>
                  <a:gd name="T5" fmla="*/ 68 h 248"/>
                  <a:gd name="T6" fmla="*/ 50 w 108"/>
                  <a:gd name="T7" fmla="*/ 21 h 248"/>
                  <a:gd name="T8" fmla="*/ 66 w 108"/>
                  <a:gd name="T9" fmla="*/ 0 h 248"/>
                  <a:gd name="T10" fmla="*/ 106 w 108"/>
                  <a:gd name="T11" fmla="*/ 67 h 248"/>
                  <a:gd name="T12" fmla="*/ 81 w 108"/>
                  <a:gd name="T13" fmla="*/ 124 h 248"/>
                  <a:gd name="T14" fmla="*/ 68 w 108"/>
                  <a:gd name="T15" fmla="*/ 230 h 248"/>
                  <a:gd name="T16" fmla="*/ 48 w 108"/>
                  <a:gd name="T17"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248">
                    <a:moveTo>
                      <a:pt x="48" y="248"/>
                    </a:moveTo>
                    <a:cubicBezTo>
                      <a:pt x="0" y="196"/>
                      <a:pt x="4" y="161"/>
                      <a:pt x="62" y="105"/>
                    </a:cubicBezTo>
                    <a:cubicBezTo>
                      <a:pt x="74" y="93"/>
                      <a:pt x="80" y="81"/>
                      <a:pt x="79" y="68"/>
                    </a:cubicBezTo>
                    <a:cubicBezTo>
                      <a:pt x="78" y="43"/>
                      <a:pt x="50" y="22"/>
                      <a:pt x="50" y="21"/>
                    </a:cubicBezTo>
                    <a:cubicBezTo>
                      <a:pt x="66" y="0"/>
                      <a:pt x="66" y="0"/>
                      <a:pt x="66" y="0"/>
                    </a:cubicBezTo>
                    <a:cubicBezTo>
                      <a:pt x="68" y="1"/>
                      <a:pt x="104" y="28"/>
                      <a:pt x="106" y="67"/>
                    </a:cubicBezTo>
                    <a:cubicBezTo>
                      <a:pt x="108" y="87"/>
                      <a:pt x="99" y="107"/>
                      <a:pt x="81" y="124"/>
                    </a:cubicBezTo>
                    <a:cubicBezTo>
                      <a:pt x="30" y="173"/>
                      <a:pt x="32" y="191"/>
                      <a:pt x="68" y="230"/>
                    </a:cubicBezTo>
                    <a:lnTo>
                      <a:pt x="48" y="2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8" name="Freeform 38">
                <a:extLst>
                  <a:ext uri="{FF2B5EF4-FFF2-40B4-BE49-F238E27FC236}">
                    <a16:creationId xmlns:a16="http://schemas.microsoft.com/office/drawing/2014/main" id="{E031FFE1-0FE5-4AE6-88AF-53F3590B635D}"/>
                  </a:ext>
                </a:extLst>
              </p:cNvPr>
              <p:cNvSpPr>
                <a:spLocks/>
              </p:cNvSpPr>
              <p:nvPr/>
            </p:nvSpPr>
            <p:spPr bwMode="auto">
              <a:xfrm>
                <a:off x="3855413" y="2417685"/>
                <a:ext cx="46817" cy="108148"/>
              </a:xfrm>
              <a:custGeom>
                <a:avLst/>
                <a:gdLst>
                  <a:gd name="T0" fmla="*/ 48 w 107"/>
                  <a:gd name="T1" fmla="*/ 248 h 248"/>
                  <a:gd name="T2" fmla="*/ 62 w 107"/>
                  <a:gd name="T3" fmla="*/ 105 h 248"/>
                  <a:gd name="T4" fmla="*/ 79 w 107"/>
                  <a:gd name="T5" fmla="*/ 68 h 248"/>
                  <a:gd name="T6" fmla="*/ 50 w 107"/>
                  <a:gd name="T7" fmla="*/ 21 h 248"/>
                  <a:gd name="T8" fmla="*/ 66 w 107"/>
                  <a:gd name="T9" fmla="*/ 0 h 248"/>
                  <a:gd name="T10" fmla="*/ 106 w 107"/>
                  <a:gd name="T11" fmla="*/ 67 h 248"/>
                  <a:gd name="T12" fmla="*/ 80 w 107"/>
                  <a:gd name="T13" fmla="*/ 124 h 248"/>
                  <a:gd name="T14" fmla="*/ 68 w 107"/>
                  <a:gd name="T15" fmla="*/ 229 h 248"/>
                  <a:gd name="T16" fmla="*/ 48 w 107"/>
                  <a:gd name="T17"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248">
                    <a:moveTo>
                      <a:pt x="48" y="248"/>
                    </a:moveTo>
                    <a:cubicBezTo>
                      <a:pt x="0" y="196"/>
                      <a:pt x="3" y="161"/>
                      <a:pt x="62" y="105"/>
                    </a:cubicBezTo>
                    <a:cubicBezTo>
                      <a:pt x="74" y="93"/>
                      <a:pt x="80" y="81"/>
                      <a:pt x="79" y="68"/>
                    </a:cubicBezTo>
                    <a:cubicBezTo>
                      <a:pt x="77" y="43"/>
                      <a:pt x="50" y="22"/>
                      <a:pt x="50" y="21"/>
                    </a:cubicBezTo>
                    <a:cubicBezTo>
                      <a:pt x="66" y="0"/>
                      <a:pt x="66" y="0"/>
                      <a:pt x="66" y="0"/>
                    </a:cubicBezTo>
                    <a:cubicBezTo>
                      <a:pt x="67" y="1"/>
                      <a:pt x="104" y="28"/>
                      <a:pt x="106" y="67"/>
                    </a:cubicBezTo>
                    <a:cubicBezTo>
                      <a:pt x="107" y="87"/>
                      <a:pt x="99" y="107"/>
                      <a:pt x="80" y="124"/>
                    </a:cubicBezTo>
                    <a:cubicBezTo>
                      <a:pt x="30" y="173"/>
                      <a:pt x="32" y="191"/>
                      <a:pt x="68" y="229"/>
                    </a:cubicBezTo>
                    <a:lnTo>
                      <a:pt x="48" y="2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9" name="Freeform 39">
                <a:extLst>
                  <a:ext uri="{FF2B5EF4-FFF2-40B4-BE49-F238E27FC236}">
                    <a16:creationId xmlns:a16="http://schemas.microsoft.com/office/drawing/2014/main" id="{FE5166F1-AB6D-40C7-9A17-A4EBAB2B9CE0}"/>
                  </a:ext>
                </a:extLst>
              </p:cNvPr>
              <p:cNvSpPr>
                <a:spLocks/>
              </p:cNvSpPr>
              <p:nvPr/>
            </p:nvSpPr>
            <p:spPr bwMode="auto">
              <a:xfrm>
                <a:off x="3935003" y="2453735"/>
                <a:ext cx="46817" cy="108148"/>
              </a:xfrm>
              <a:custGeom>
                <a:avLst/>
                <a:gdLst>
                  <a:gd name="T0" fmla="*/ 47 w 107"/>
                  <a:gd name="T1" fmla="*/ 248 h 248"/>
                  <a:gd name="T2" fmla="*/ 61 w 107"/>
                  <a:gd name="T3" fmla="*/ 105 h 248"/>
                  <a:gd name="T4" fmla="*/ 79 w 107"/>
                  <a:gd name="T5" fmla="*/ 68 h 248"/>
                  <a:gd name="T6" fmla="*/ 49 w 107"/>
                  <a:gd name="T7" fmla="*/ 21 h 248"/>
                  <a:gd name="T8" fmla="*/ 66 w 107"/>
                  <a:gd name="T9" fmla="*/ 0 h 248"/>
                  <a:gd name="T10" fmla="*/ 106 w 107"/>
                  <a:gd name="T11" fmla="*/ 67 h 248"/>
                  <a:gd name="T12" fmla="*/ 80 w 107"/>
                  <a:gd name="T13" fmla="*/ 124 h 248"/>
                  <a:gd name="T14" fmla="*/ 67 w 107"/>
                  <a:gd name="T15" fmla="*/ 230 h 248"/>
                  <a:gd name="T16" fmla="*/ 47 w 107"/>
                  <a:gd name="T17" fmla="*/ 248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7" h="248">
                    <a:moveTo>
                      <a:pt x="47" y="248"/>
                    </a:moveTo>
                    <a:cubicBezTo>
                      <a:pt x="0" y="196"/>
                      <a:pt x="3" y="161"/>
                      <a:pt x="61" y="105"/>
                    </a:cubicBezTo>
                    <a:cubicBezTo>
                      <a:pt x="74" y="93"/>
                      <a:pt x="79" y="81"/>
                      <a:pt x="79" y="68"/>
                    </a:cubicBezTo>
                    <a:cubicBezTo>
                      <a:pt x="77" y="43"/>
                      <a:pt x="50" y="22"/>
                      <a:pt x="49" y="21"/>
                    </a:cubicBezTo>
                    <a:cubicBezTo>
                      <a:pt x="66" y="0"/>
                      <a:pt x="66" y="0"/>
                      <a:pt x="66" y="0"/>
                    </a:cubicBezTo>
                    <a:cubicBezTo>
                      <a:pt x="67" y="1"/>
                      <a:pt x="103" y="28"/>
                      <a:pt x="106" y="67"/>
                    </a:cubicBezTo>
                    <a:cubicBezTo>
                      <a:pt x="107" y="87"/>
                      <a:pt x="98" y="107"/>
                      <a:pt x="80" y="124"/>
                    </a:cubicBezTo>
                    <a:cubicBezTo>
                      <a:pt x="29" y="173"/>
                      <a:pt x="32" y="191"/>
                      <a:pt x="67" y="230"/>
                    </a:cubicBezTo>
                    <a:lnTo>
                      <a:pt x="47" y="2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31" name="Group 130">
            <a:extLst>
              <a:ext uri="{FF2B5EF4-FFF2-40B4-BE49-F238E27FC236}">
                <a16:creationId xmlns:a16="http://schemas.microsoft.com/office/drawing/2014/main" id="{835062C4-6B1F-417E-951A-F580E07A94B1}"/>
              </a:ext>
            </a:extLst>
          </p:cNvPr>
          <p:cNvGrpSpPr/>
          <p:nvPr/>
        </p:nvGrpSpPr>
        <p:grpSpPr>
          <a:xfrm>
            <a:off x="5034659" y="4041877"/>
            <a:ext cx="357218" cy="353472"/>
            <a:chOff x="1660875" y="4041877"/>
            <a:chExt cx="357218" cy="353472"/>
          </a:xfrm>
        </p:grpSpPr>
        <p:grpSp>
          <p:nvGrpSpPr>
            <p:cNvPr id="132" name="Group 131">
              <a:extLst>
                <a:ext uri="{FF2B5EF4-FFF2-40B4-BE49-F238E27FC236}">
                  <a16:creationId xmlns:a16="http://schemas.microsoft.com/office/drawing/2014/main" id="{4D474A51-6F4A-4739-98E5-6487140BAD72}"/>
                </a:ext>
              </a:extLst>
            </p:cNvPr>
            <p:cNvGrpSpPr/>
            <p:nvPr/>
          </p:nvGrpSpPr>
          <p:grpSpPr>
            <a:xfrm>
              <a:off x="1660875" y="4041877"/>
              <a:ext cx="352068" cy="177906"/>
              <a:chOff x="1660875" y="4041877"/>
              <a:chExt cx="352068" cy="177906"/>
            </a:xfrm>
          </p:grpSpPr>
          <p:sp>
            <p:nvSpPr>
              <p:cNvPr id="137" name="Rectangle 60">
                <a:extLst>
                  <a:ext uri="{FF2B5EF4-FFF2-40B4-BE49-F238E27FC236}">
                    <a16:creationId xmlns:a16="http://schemas.microsoft.com/office/drawing/2014/main" id="{069DF593-6D2A-4310-AEA3-D137B5F77E23}"/>
                  </a:ext>
                </a:extLst>
              </p:cNvPr>
              <p:cNvSpPr>
                <a:spLocks noChangeArrowheads="1"/>
              </p:cNvSpPr>
              <p:nvPr/>
            </p:nvSpPr>
            <p:spPr bwMode="auto">
              <a:xfrm>
                <a:off x="1869213" y="4157984"/>
                <a:ext cx="12173" cy="4354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8" name="Rectangle 61">
                <a:extLst>
                  <a:ext uri="{FF2B5EF4-FFF2-40B4-BE49-F238E27FC236}">
                    <a16:creationId xmlns:a16="http://schemas.microsoft.com/office/drawing/2014/main" id="{69CE1644-8266-43E6-AAC3-66F0499E0030}"/>
                  </a:ext>
                </a:extLst>
              </p:cNvPr>
              <p:cNvSpPr>
                <a:spLocks noChangeArrowheads="1"/>
              </p:cNvSpPr>
              <p:nvPr/>
            </p:nvSpPr>
            <p:spPr bwMode="auto">
              <a:xfrm>
                <a:off x="1826141" y="4157984"/>
                <a:ext cx="11704" cy="4354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9" name="Freeform 62">
                <a:extLst>
                  <a:ext uri="{FF2B5EF4-FFF2-40B4-BE49-F238E27FC236}">
                    <a16:creationId xmlns:a16="http://schemas.microsoft.com/office/drawing/2014/main" id="{28CD250D-4CB6-4FF4-8871-7DC118403A6C}"/>
                  </a:ext>
                </a:extLst>
              </p:cNvPr>
              <p:cNvSpPr>
                <a:spLocks/>
              </p:cNvSpPr>
              <p:nvPr/>
            </p:nvSpPr>
            <p:spPr bwMode="auto">
              <a:xfrm>
                <a:off x="1774173" y="4167348"/>
                <a:ext cx="47286" cy="21536"/>
              </a:xfrm>
              <a:custGeom>
                <a:avLst/>
                <a:gdLst>
                  <a:gd name="T0" fmla="*/ 68 w 109"/>
                  <a:gd name="T1" fmla="*/ 49 h 49"/>
                  <a:gd name="T2" fmla="*/ 0 w 109"/>
                  <a:gd name="T3" fmla="*/ 18 h 49"/>
                  <a:gd name="T4" fmla="*/ 20 w 109"/>
                  <a:gd name="T5" fmla="*/ 0 h 49"/>
                  <a:gd name="T6" fmla="*/ 68 w 109"/>
                  <a:gd name="T7" fmla="*/ 22 h 49"/>
                  <a:gd name="T8" fmla="*/ 97 w 109"/>
                  <a:gd name="T9" fmla="*/ 16 h 49"/>
                  <a:gd name="T10" fmla="*/ 109 w 109"/>
                  <a:gd name="T11" fmla="*/ 40 h 49"/>
                  <a:gd name="T12" fmla="*/ 68 w 109"/>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09" h="49">
                    <a:moveTo>
                      <a:pt x="68" y="49"/>
                    </a:moveTo>
                    <a:cubicBezTo>
                      <a:pt x="42" y="49"/>
                      <a:pt x="17" y="38"/>
                      <a:pt x="0" y="18"/>
                    </a:cubicBezTo>
                    <a:cubicBezTo>
                      <a:pt x="20" y="0"/>
                      <a:pt x="20" y="0"/>
                      <a:pt x="20" y="0"/>
                    </a:cubicBezTo>
                    <a:cubicBezTo>
                      <a:pt x="32" y="14"/>
                      <a:pt x="50" y="22"/>
                      <a:pt x="68" y="22"/>
                    </a:cubicBezTo>
                    <a:cubicBezTo>
                      <a:pt x="78" y="22"/>
                      <a:pt x="88" y="20"/>
                      <a:pt x="97" y="16"/>
                    </a:cubicBezTo>
                    <a:cubicBezTo>
                      <a:pt x="109" y="40"/>
                      <a:pt x="109" y="40"/>
                      <a:pt x="109" y="40"/>
                    </a:cubicBezTo>
                    <a:cubicBezTo>
                      <a:pt x="96" y="46"/>
                      <a:pt x="82" y="49"/>
                      <a:pt x="68" y="4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0" name="Freeform 63">
                <a:extLst>
                  <a:ext uri="{FF2B5EF4-FFF2-40B4-BE49-F238E27FC236}">
                    <a16:creationId xmlns:a16="http://schemas.microsoft.com/office/drawing/2014/main" id="{A61353A2-9E82-42E5-87A1-684A4A9DA4FB}"/>
                  </a:ext>
                </a:extLst>
              </p:cNvPr>
              <p:cNvSpPr>
                <a:spLocks/>
              </p:cNvSpPr>
              <p:nvPr/>
            </p:nvSpPr>
            <p:spPr bwMode="auto">
              <a:xfrm>
                <a:off x="1699265" y="4155175"/>
                <a:ext cx="85208" cy="64608"/>
              </a:xfrm>
              <a:custGeom>
                <a:avLst/>
                <a:gdLst>
                  <a:gd name="T0" fmla="*/ 98 w 196"/>
                  <a:gd name="T1" fmla="*/ 148 h 148"/>
                  <a:gd name="T2" fmla="*/ 0 w 196"/>
                  <a:gd name="T3" fmla="*/ 50 h 148"/>
                  <a:gd name="T4" fmla="*/ 1 w 196"/>
                  <a:gd name="T5" fmla="*/ 35 h 148"/>
                  <a:gd name="T6" fmla="*/ 28 w 196"/>
                  <a:gd name="T7" fmla="*/ 39 h 148"/>
                  <a:gd name="T8" fmla="*/ 27 w 196"/>
                  <a:gd name="T9" fmla="*/ 50 h 148"/>
                  <a:gd name="T10" fmla="*/ 98 w 196"/>
                  <a:gd name="T11" fmla="*/ 121 h 148"/>
                  <a:gd name="T12" fmla="*/ 169 w 196"/>
                  <a:gd name="T13" fmla="*/ 50 h 148"/>
                  <a:gd name="T14" fmla="*/ 160 w 196"/>
                  <a:gd name="T15" fmla="*/ 14 h 148"/>
                  <a:gd name="T16" fmla="*/ 183 w 196"/>
                  <a:gd name="T17" fmla="*/ 0 h 148"/>
                  <a:gd name="T18" fmla="*/ 196 w 196"/>
                  <a:gd name="T19" fmla="*/ 50 h 148"/>
                  <a:gd name="T20" fmla="*/ 98 w 196"/>
                  <a:gd name="T21"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6" h="148">
                    <a:moveTo>
                      <a:pt x="98" y="148"/>
                    </a:moveTo>
                    <a:cubicBezTo>
                      <a:pt x="44" y="148"/>
                      <a:pt x="0" y="104"/>
                      <a:pt x="0" y="50"/>
                    </a:cubicBezTo>
                    <a:cubicBezTo>
                      <a:pt x="0" y="45"/>
                      <a:pt x="0" y="40"/>
                      <a:pt x="1" y="35"/>
                    </a:cubicBezTo>
                    <a:cubicBezTo>
                      <a:pt x="28" y="39"/>
                      <a:pt x="28" y="39"/>
                      <a:pt x="28" y="39"/>
                    </a:cubicBezTo>
                    <a:cubicBezTo>
                      <a:pt x="27" y="42"/>
                      <a:pt x="27" y="46"/>
                      <a:pt x="27" y="50"/>
                    </a:cubicBezTo>
                    <a:cubicBezTo>
                      <a:pt x="27" y="89"/>
                      <a:pt x="59" y="121"/>
                      <a:pt x="98" y="121"/>
                    </a:cubicBezTo>
                    <a:cubicBezTo>
                      <a:pt x="137" y="121"/>
                      <a:pt x="169" y="89"/>
                      <a:pt x="169" y="50"/>
                    </a:cubicBezTo>
                    <a:cubicBezTo>
                      <a:pt x="169" y="37"/>
                      <a:pt x="166" y="24"/>
                      <a:pt x="160" y="14"/>
                    </a:cubicBezTo>
                    <a:cubicBezTo>
                      <a:pt x="183" y="0"/>
                      <a:pt x="183" y="0"/>
                      <a:pt x="183" y="0"/>
                    </a:cubicBezTo>
                    <a:cubicBezTo>
                      <a:pt x="192" y="15"/>
                      <a:pt x="196" y="32"/>
                      <a:pt x="196" y="50"/>
                    </a:cubicBezTo>
                    <a:cubicBezTo>
                      <a:pt x="196" y="104"/>
                      <a:pt x="152" y="148"/>
                      <a:pt x="98" y="14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1" name="Freeform 64">
                <a:extLst>
                  <a:ext uri="{FF2B5EF4-FFF2-40B4-BE49-F238E27FC236}">
                    <a16:creationId xmlns:a16="http://schemas.microsoft.com/office/drawing/2014/main" id="{7A90B18C-8867-473A-9C42-261FA91FDD0F}"/>
                  </a:ext>
                </a:extLst>
              </p:cNvPr>
              <p:cNvSpPr>
                <a:spLocks/>
              </p:cNvSpPr>
              <p:nvPr/>
            </p:nvSpPr>
            <p:spPr bwMode="auto">
              <a:xfrm>
                <a:off x="1660875" y="4110698"/>
                <a:ext cx="61331" cy="68354"/>
              </a:xfrm>
              <a:custGeom>
                <a:avLst/>
                <a:gdLst>
                  <a:gd name="T0" fmla="*/ 78 w 141"/>
                  <a:gd name="T1" fmla="*/ 158 h 158"/>
                  <a:gd name="T2" fmla="*/ 0 w 141"/>
                  <a:gd name="T3" fmla="*/ 79 h 158"/>
                  <a:gd name="T4" fmla="*/ 78 w 141"/>
                  <a:gd name="T5" fmla="*/ 0 h 158"/>
                  <a:gd name="T6" fmla="*/ 83 w 141"/>
                  <a:gd name="T7" fmla="*/ 1 h 158"/>
                  <a:gd name="T8" fmla="*/ 81 w 141"/>
                  <a:gd name="T9" fmla="*/ 28 h 158"/>
                  <a:gd name="T10" fmla="*/ 78 w 141"/>
                  <a:gd name="T11" fmla="*/ 28 h 158"/>
                  <a:gd name="T12" fmla="*/ 27 w 141"/>
                  <a:gd name="T13" fmla="*/ 79 h 158"/>
                  <a:gd name="T14" fmla="*/ 78 w 141"/>
                  <a:gd name="T15" fmla="*/ 131 h 158"/>
                  <a:gd name="T16" fmla="*/ 119 w 141"/>
                  <a:gd name="T17" fmla="*/ 111 h 158"/>
                  <a:gd name="T18" fmla="*/ 141 w 141"/>
                  <a:gd name="T19" fmla="*/ 127 h 158"/>
                  <a:gd name="T20" fmla="*/ 78 w 141"/>
                  <a:gd name="T21" fmla="*/ 15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58">
                    <a:moveTo>
                      <a:pt x="78" y="158"/>
                    </a:moveTo>
                    <a:cubicBezTo>
                      <a:pt x="35" y="158"/>
                      <a:pt x="0" y="123"/>
                      <a:pt x="0" y="79"/>
                    </a:cubicBezTo>
                    <a:cubicBezTo>
                      <a:pt x="0" y="36"/>
                      <a:pt x="35" y="0"/>
                      <a:pt x="78" y="0"/>
                    </a:cubicBezTo>
                    <a:cubicBezTo>
                      <a:pt x="80" y="0"/>
                      <a:pt x="81" y="0"/>
                      <a:pt x="83" y="1"/>
                    </a:cubicBezTo>
                    <a:cubicBezTo>
                      <a:pt x="81" y="28"/>
                      <a:pt x="81" y="28"/>
                      <a:pt x="81" y="28"/>
                    </a:cubicBezTo>
                    <a:cubicBezTo>
                      <a:pt x="80" y="28"/>
                      <a:pt x="79" y="28"/>
                      <a:pt x="78" y="28"/>
                    </a:cubicBezTo>
                    <a:cubicBezTo>
                      <a:pt x="50" y="28"/>
                      <a:pt x="27" y="51"/>
                      <a:pt x="27" y="79"/>
                    </a:cubicBezTo>
                    <a:cubicBezTo>
                      <a:pt x="27" y="108"/>
                      <a:pt x="50" y="131"/>
                      <a:pt x="78" y="131"/>
                    </a:cubicBezTo>
                    <a:cubicBezTo>
                      <a:pt x="95" y="131"/>
                      <a:pt x="110" y="123"/>
                      <a:pt x="119" y="111"/>
                    </a:cubicBezTo>
                    <a:cubicBezTo>
                      <a:pt x="141" y="127"/>
                      <a:pt x="141" y="127"/>
                      <a:pt x="141" y="127"/>
                    </a:cubicBezTo>
                    <a:cubicBezTo>
                      <a:pt x="126" y="147"/>
                      <a:pt x="103" y="158"/>
                      <a:pt x="78" y="15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2" name="Freeform 65">
                <a:extLst>
                  <a:ext uri="{FF2B5EF4-FFF2-40B4-BE49-F238E27FC236}">
                    <a16:creationId xmlns:a16="http://schemas.microsoft.com/office/drawing/2014/main" id="{4BB95E8F-50B6-4C13-8012-05445F5A0593}"/>
                  </a:ext>
                </a:extLst>
              </p:cNvPr>
              <p:cNvSpPr>
                <a:spLocks/>
              </p:cNvSpPr>
              <p:nvPr/>
            </p:nvSpPr>
            <p:spPr bwMode="auto">
              <a:xfrm>
                <a:off x="1685688" y="4068095"/>
                <a:ext cx="33709" cy="60395"/>
              </a:xfrm>
              <a:custGeom>
                <a:avLst/>
                <a:gdLst>
                  <a:gd name="T0" fmla="*/ 33 w 77"/>
                  <a:gd name="T1" fmla="*/ 139 h 139"/>
                  <a:gd name="T2" fmla="*/ 0 w 77"/>
                  <a:gd name="T3" fmla="*/ 77 h 139"/>
                  <a:gd name="T4" fmla="*/ 77 w 77"/>
                  <a:gd name="T5" fmla="*/ 0 h 139"/>
                  <a:gd name="T6" fmla="*/ 77 w 77"/>
                  <a:gd name="T7" fmla="*/ 27 h 139"/>
                  <a:gd name="T8" fmla="*/ 28 w 77"/>
                  <a:gd name="T9" fmla="*/ 77 h 139"/>
                  <a:gd name="T10" fmla="*/ 49 w 77"/>
                  <a:gd name="T11" fmla="*/ 117 h 139"/>
                  <a:gd name="T12" fmla="*/ 33 w 77"/>
                  <a:gd name="T13" fmla="*/ 139 h 139"/>
                </a:gdLst>
                <a:ahLst/>
                <a:cxnLst>
                  <a:cxn ang="0">
                    <a:pos x="T0" y="T1"/>
                  </a:cxn>
                  <a:cxn ang="0">
                    <a:pos x="T2" y="T3"/>
                  </a:cxn>
                  <a:cxn ang="0">
                    <a:pos x="T4" y="T5"/>
                  </a:cxn>
                  <a:cxn ang="0">
                    <a:pos x="T6" y="T7"/>
                  </a:cxn>
                  <a:cxn ang="0">
                    <a:pos x="T8" y="T9"/>
                  </a:cxn>
                  <a:cxn ang="0">
                    <a:pos x="T10" y="T11"/>
                  </a:cxn>
                  <a:cxn ang="0">
                    <a:pos x="T12" y="T13"/>
                  </a:cxn>
                </a:cxnLst>
                <a:rect l="0" t="0" r="r" b="b"/>
                <a:pathLst>
                  <a:path w="77" h="139">
                    <a:moveTo>
                      <a:pt x="33" y="139"/>
                    </a:moveTo>
                    <a:cubicBezTo>
                      <a:pt x="13" y="125"/>
                      <a:pt x="0" y="101"/>
                      <a:pt x="0" y="77"/>
                    </a:cubicBezTo>
                    <a:cubicBezTo>
                      <a:pt x="0" y="34"/>
                      <a:pt x="35" y="0"/>
                      <a:pt x="77" y="0"/>
                    </a:cubicBezTo>
                    <a:cubicBezTo>
                      <a:pt x="77" y="27"/>
                      <a:pt x="77" y="27"/>
                      <a:pt x="77" y="27"/>
                    </a:cubicBezTo>
                    <a:cubicBezTo>
                      <a:pt x="50" y="27"/>
                      <a:pt x="28" y="49"/>
                      <a:pt x="28" y="77"/>
                    </a:cubicBezTo>
                    <a:cubicBezTo>
                      <a:pt x="28" y="93"/>
                      <a:pt x="35" y="108"/>
                      <a:pt x="49" y="117"/>
                    </a:cubicBezTo>
                    <a:lnTo>
                      <a:pt x="33" y="139"/>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3" name="Freeform 66">
                <a:extLst>
                  <a:ext uri="{FF2B5EF4-FFF2-40B4-BE49-F238E27FC236}">
                    <a16:creationId xmlns:a16="http://schemas.microsoft.com/office/drawing/2014/main" id="{99C2CB96-CDEF-4C26-A7C7-00885D26C87F}"/>
                  </a:ext>
                </a:extLst>
              </p:cNvPr>
              <p:cNvSpPr>
                <a:spLocks/>
              </p:cNvSpPr>
              <p:nvPr/>
            </p:nvSpPr>
            <p:spPr bwMode="auto">
              <a:xfrm>
                <a:off x="1884195" y="4137385"/>
                <a:ext cx="35113" cy="35581"/>
              </a:xfrm>
              <a:custGeom>
                <a:avLst/>
                <a:gdLst>
                  <a:gd name="T0" fmla="*/ 0 w 81"/>
                  <a:gd name="T1" fmla="*/ 81 h 81"/>
                  <a:gd name="T2" fmla="*/ 0 w 81"/>
                  <a:gd name="T3" fmla="*/ 54 h 81"/>
                  <a:gd name="T4" fmla="*/ 48 w 81"/>
                  <a:gd name="T5" fmla="*/ 24 h 81"/>
                  <a:gd name="T6" fmla="*/ 54 w 81"/>
                  <a:gd name="T7" fmla="*/ 0 h 81"/>
                  <a:gd name="T8" fmla="*/ 81 w 81"/>
                  <a:gd name="T9" fmla="*/ 0 h 81"/>
                  <a:gd name="T10" fmla="*/ 72 w 81"/>
                  <a:gd name="T11" fmla="*/ 36 h 81"/>
                  <a:gd name="T12" fmla="*/ 0 w 81"/>
                  <a:gd name="T13" fmla="*/ 81 h 81"/>
                </a:gdLst>
                <a:ahLst/>
                <a:cxnLst>
                  <a:cxn ang="0">
                    <a:pos x="T0" y="T1"/>
                  </a:cxn>
                  <a:cxn ang="0">
                    <a:pos x="T2" y="T3"/>
                  </a:cxn>
                  <a:cxn ang="0">
                    <a:pos x="T4" y="T5"/>
                  </a:cxn>
                  <a:cxn ang="0">
                    <a:pos x="T6" y="T7"/>
                  </a:cxn>
                  <a:cxn ang="0">
                    <a:pos x="T8" y="T9"/>
                  </a:cxn>
                  <a:cxn ang="0">
                    <a:pos x="T10" y="T11"/>
                  </a:cxn>
                  <a:cxn ang="0">
                    <a:pos x="T12" y="T13"/>
                  </a:cxn>
                </a:cxnLst>
                <a:rect l="0" t="0" r="r" b="b"/>
                <a:pathLst>
                  <a:path w="81" h="81">
                    <a:moveTo>
                      <a:pt x="0" y="81"/>
                    </a:moveTo>
                    <a:cubicBezTo>
                      <a:pt x="0" y="54"/>
                      <a:pt x="0" y="54"/>
                      <a:pt x="0" y="54"/>
                    </a:cubicBezTo>
                    <a:cubicBezTo>
                      <a:pt x="21" y="54"/>
                      <a:pt x="39" y="42"/>
                      <a:pt x="48" y="24"/>
                    </a:cubicBezTo>
                    <a:cubicBezTo>
                      <a:pt x="52" y="17"/>
                      <a:pt x="54" y="9"/>
                      <a:pt x="54" y="0"/>
                    </a:cubicBezTo>
                    <a:cubicBezTo>
                      <a:pt x="81" y="0"/>
                      <a:pt x="81" y="0"/>
                      <a:pt x="81" y="0"/>
                    </a:cubicBezTo>
                    <a:cubicBezTo>
                      <a:pt x="81" y="13"/>
                      <a:pt x="78" y="25"/>
                      <a:pt x="72" y="36"/>
                    </a:cubicBezTo>
                    <a:cubicBezTo>
                      <a:pt x="59" y="64"/>
                      <a:pt x="31" y="81"/>
                      <a:pt x="0" y="8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4" name="Freeform 67">
                <a:extLst>
                  <a:ext uri="{FF2B5EF4-FFF2-40B4-BE49-F238E27FC236}">
                    <a16:creationId xmlns:a16="http://schemas.microsoft.com/office/drawing/2014/main" id="{D22BA528-94A6-4584-B1F9-DBC3225BF8DF}"/>
                  </a:ext>
                </a:extLst>
              </p:cNvPr>
              <p:cNvSpPr>
                <a:spLocks/>
              </p:cNvSpPr>
              <p:nvPr/>
            </p:nvSpPr>
            <p:spPr bwMode="auto">
              <a:xfrm>
                <a:off x="1896835" y="4136448"/>
                <a:ext cx="66013" cy="51967"/>
              </a:xfrm>
              <a:custGeom>
                <a:avLst/>
                <a:gdLst>
                  <a:gd name="T0" fmla="*/ 75 w 151"/>
                  <a:gd name="T1" fmla="*/ 119 h 119"/>
                  <a:gd name="T2" fmla="*/ 0 w 151"/>
                  <a:gd name="T3" fmla="*/ 56 h 119"/>
                  <a:gd name="T4" fmla="*/ 27 w 151"/>
                  <a:gd name="T5" fmla="*/ 51 h 119"/>
                  <a:gd name="T6" fmla="*/ 75 w 151"/>
                  <a:gd name="T7" fmla="*/ 91 h 119"/>
                  <a:gd name="T8" fmla="*/ 124 w 151"/>
                  <a:gd name="T9" fmla="*/ 43 h 119"/>
                  <a:gd name="T10" fmla="*/ 115 w 151"/>
                  <a:gd name="T11" fmla="*/ 15 h 119"/>
                  <a:gd name="T12" fmla="*/ 138 w 151"/>
                  <a:gd name="T13" fmla="*/ 0 h 119"/>
                  <a:gd name="T14" fmla="*/ 151 w 151"/>
                  <a:gd name="T15" fmla="*/ 43 h 119"/>
                  <a:gd name="T16" fmla="*/ 75 w 151"/>
                  <a:gd name="T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19">
                    <a:moveTo>
                      <a:pt x="75" y="119"/>
                    </a:moveTo>
                    <a:cubicBezTo>
                      <a:pt x="38" y="119"/>
                      <a:pt x="6" y="92"/>
                      <a:pt x="0" y="56"/>
                    </a:cubicBezTo>
                    <a:cubicBezTo>
                      <a:pt x="27" y="51"/>
                      <a:pt x="27" y="51"/>
                      <a:pt x="27" y="51"/>
                    </a:cubicBezTo>
                    <a:cubicBezTo>
                      <a:pt x="31" y="74"/>
                      <a:pt x="51" y="91"/>
                      <a:pt x="75" y="91"/>
                    </a:cubicBezTo>
                    <a:cubicBezTo>
                      <a:pt x="102" y="91"/>
                      <a:pt x="124" y="70"/>
                      <a:pt x="124" y="43"/>
                    </a:cubicBezTo>
                    <a:cubicBezTo>
                      <a:pt x="124" y="33"/>
                      <a:pt x="121" y="23"/>
                      <a:pt x="115" y="15"/>
                    </a:cubicBezTo>
                    <a:cubicBezTo>
                      <a:pt x="138" y="0"/>
                      <a:pt x="138" y="0"/>
                      <a:pt x="138" y="0"/>
                    </a:cubicBezTo>
                    <a:cubicBezTo>
                      <a:pt x="146" y="13"/>
                      <a:pt x="151" y="27"/>
                      <a:pt x="151" y="43"/>
                    </a:cubicBezTo>
                    <a:cubicBezTo>
                      <a:pt x="151" y="84"/>
                      <a:pt x="117" y="119"/>
                      <a:pt x="75" y="11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5" name="Freeform 68">
                <a:extLst>
                  <a:ext uri="{FF2B5EF4-FFF2-40B4-BE49-F238E27FC236}">
                    <a16:creationId xmlns:a16="http://schemas.microsoft.com/office/drawing/2014/main" id="{1F1DB28B-2063-4A3B-9E2F-9869ABB2D2CF}"/>
                  </a:ext>
                </a:extLst>
              </p:cNvPr>
              <p:cNvSpPr>
                <a:spLocks/>
              </p:cNvSpPr>
              <p:nvPr/>
            </p:nvSpPr>
            <p:spPr bwMode="auto">
              <a:xfrm>
                <a:off x="1953953" y="4079799"/>
                <a:ext cx="58990" cy="82867"/>
              </a:xfrm>
              <a:custGeom>
                <a:avLst/>
                <a:gdLst>
                  <a:gd name="T0" fmla="*/ 41 w 136"/>
                  <a:gd name="T1" fmla="*/ 191 h 191"/>
                  <a:gd name="T2" fmla="*/ 0 w 136"/>
                  <a:gd name="T3" fmla="*/ 182 h 191"/>
                  <a:gd name="T4" fmla="*/ 12 w 136"/>
                  <a:gd name="T5" fmla="*/ 158 h 191"/>
                  <a:gd name="T6" fmla="*/ 41 w 136"/>
                  <a:gd name="T7" fmla="*/ 164 h 191"/>
                  <a:gd name="T8" fmla="*/ 109 w 136"/>
                  <a:gd name="T9" fmla="*/ 96 h 191"/>
                  <a:gd name="T10" fmla="*/ 41 w 136"/>
                  <a:gd name="T11" fmla="*/ 28 h 191"/>
                  <a:gd name="T12" fmla="*/ 16 w 136"/>
                  <a:gd name="T13" fmla="*/ 32 h 191"/>
                  <a:gd name="T14" fmla="*/ 7 w 136"/>
                  <a:gd name="T15" fmla="*/ 7 h 191"/>
                  <a:gd name="T16" fmla="*/ 41 w 136"/>
                  <a:gd name="T17" fmla="*/ 0 h 191"/>
                  <a:gd name="T18" fmla="*/ 136 w 136"/>
                  <a:gd name="T19" fmla="*/ 96 h 191"/>
                  <a:gd name="T20" fmla="*/ 41 w 136"/>
                  <a:gd name="T21" fmla="*/ 19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91">
                    <a:moveTo>
                      <a:pt x="41" y="191"/>
                    </a:moveTo>
                    <a:cubicBezTo>
                      <a:pt x="27" y="191"/>
                      <a:pt x="13" y="188"/>
                      <a:pt x="0" y="182"/>
                    </a:cubicBezTo>
                    <a:cubicBezTo>
                      <a:pt x="12" y="158"/>
                      <a:pt x="12" y="158"/>
                      <a:pt x="12" y="158"/>
                    </a:cubicBezTo>
                    <a:cubicBezTo>
                      <a:pt x="21" y="162"/>
                      <a:pt x="31" y="164"/>
                      <a:pt x="41" y="164"/>
                    </a:cubicBezTo>
                    <a:cubicBezTo>
                      <a:pt x="79" y="164"/>
                      <a:pt x="109" y="133"/>
                      <a:pt x="109" y="96"/>
                    </a:cubicBezTo>
                    <a:cubicBezTo>
                      <a:pt x="109" y="58"/>
                      <a:pt x="79" y="28"/>
                      <a:pt x="41" y="28"/>
                    </a:cubicBezTo>
                    <a:cubicBezTo>
                      <a:pt x="33" y="28"/>
                      <a:pt x="24" y="29"/>
                      <a:pt x="16" y="32"/>
                    </a:cubicBezTo>
                    <a:cubicBezTo>
                      <a:pt x="7" y="7"/>
                      <a:pt x="7" y="7"/>
                      <a:pt x="7" y="7"/>
                    </a:cubicBezTo>
                    <a:cubicBezTo>
                      <a:pt x="18" y="3"/>
                      <a:pt x="29" y="0"/>
                      <a:pt x="41" y="0"/>
                    </a:cubicBezTo>
                    <a:cubicBezTo>
                      <a:pt x="94" y="0"/>
                      <a:pt x="136" y="43"/>
                      <a:pt x="136" y="96"/>
                    </a:cubicBezTo>
                    <a:cubicBezTo>
                      <a:pt x="136" y="148"/>
                      <a:pt x="94" y="191"/>
                      <a:pt x="41" y="191"/>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46" name="Freeform 69">
                <a:extLst>
                  <a:ext uri="{FF2B5EF4-FFF2-40B4-BE49-F238E27FC236}">
                    <a16:creationId xmlns:a16="http://schemas.microsoft.com/office/drawing/2014/main" id="{B1D3C7D9-586E-4A86-8F3F-6F72E31ABFDC}"/>
                  </a:ext>
                </a:extLst>
              </p:cNvPr>
              <p:cNvSpPr>
                <a:spLocks/>
              </p:cNvSpPr>
              <p:nvPr/>
            </p:nvSpPr>
            <p:spPr bwMode="auto">
              <a:xfrm>
                <a:off x="1924458" y="4041877"/>
                <a:ext cx="53372" cy="46350"/>
              </a:xfrm>
              <a:custGeom>
                <a:avLst/>
                <a:gdLst>
                  <a:gd name="T0" fmla="*/ 116 w 123"/>
                  <a:gd name="T1" fmla="*/ 107 h 107"/>
                  <a:gd name="T2" fmla="*/ 91 w 123"/>
                  <a:gd name="T3" fmla="*/ 96 h 107"/>
                  <a:gd name="T4" fmla="*/ 95 w 123"/>
                  <a:gd name="T5" fmla="*/ 75 h 107"/>
                  <a:gd name="T6" fmla="*/ 47 w 123"/>
                  <a:gd name="T7" fmla="*/ 27 h 107"/>
                  <a:gd name="T8" fmla="*/ 17 w 123"/>
                  <a:gd name="T9" fmla="*/ 37 h 107"/>
                  <a:gd name="T10" fmla="*/ 0 w 123"/>
                  <a:gd name="T11" fmla="*/ 16 h 107"/>
                  <a:gd name="T12" fmla="*/ 47 w 123"/>
                  <a:gd name="T13" fmla="*/ 0 h 107"/>
                  <a:gd name="T14" fmla="*/ 123 w 123"/>
                  <a:gd name="T15" fmla="*/ 75 h 107"/>
                  <a:gd name="T16" fmla="*/ 116 w 123"/>
                  <a:gd name="T1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 h="107">
                    <a:moveTo>
                      <a:pt x="116" y="107"/>
                    </a:moveTo>
                    <a:cubicBezTo>
                      <a:pt x="91" y="96"/>
                      <a:pt x="91" y="96"/>
                      <a:pt x="91" y="96"/>
                    </a:cubicBezTo>
                    <a:cubicBezTo>
                      <a:pt x="94" y="89"/>
                      <a:pt x="95" y="82"/>
                      <a:pt x="95" y="75"/>
                    </a:cubicBezTo>
                    <a:cubicBezTo>
                      <a:pt x="95" y="49"/>
                      <a:pt x="74" y="27"/>
                      <a:pt x="47" y="27"/>
                    </a:cubicBezTo>
                    <a:cubicBezTo>
                      <a:pt x="36" y="27"/>
                      <a:pt x="26" y="30"/>
                      <a:pt x="17" y="37"/>
                    </a:cubicBezTo>
                    <a:cubicBezTo>
                      <a:pt x="0" y="16"/>
                      <a:pt x="0" y="16"/>
                      <a:pt x="0" y="16"/>
                    </a:cubicBezTo>
                    <a:cubicBezTo>
                      <a:pt x="14" y="5"/>
                      <a:pt x="30" y="0"/>
                      <a:pt x="47" y="0"/>
                    </a:cubicBezTo>
                    <a:cubicBezTo>
                      <a:pt x="89" y="0"/>
                      <a:pt x="123" y="34"/>
                      <a:pt x="123" y="75"/>
                    </a:cubicBezTo>
                    <a:cubicBezTo>
                      <a:pt x="123" y="86"/>
                      <a:pt x="120" y="97"/>
                      <a:pt x="116" y="10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33" name="Group 132">
              <a:extLst>
                <a:ext uri="{FF2B5EF4-FFF2-40B4-BE49-F238E27FC236}">
                  <a16:creationId xmlns:a16="http://schemas.microsoft.com/office/drawing/2014/main" id="{918A7D94-02B2-41C8-8519-C05B92CAE047}"/>
                </a:ext>
              </a:extLst>
            </p:cNvPr>
            <p:cNvGrpSpPr/>
            <p:nvPr/>
          </p:nvGrpSpPr>
          <p:grpSpPr>
            <a:xfrm>
              <a:off x="1667429" y="4220252"/>
              <a:ext cx="350664" cy="175097"/>
              <a:chOff x="1667429" y="4220252"/>
              <a:chExt cx="350664" cy="175097"/>
            </a:xfrm>
          </p:grpSpPr>
          <p:sp>
            <p:nvSpPr>
              <p:cNvPr id="134" name="Freeform 70">
                <a:extLst>
                  <a:ext uri="{FF2B5EF4-FFF2-40B4-BE49-F238E27FC236}">
                    <a16:creationId xmlns:a16="http://schemas.microsoft.com/office/drawing/2014/main" id="{2C244C2E-4976-4897-94A4-71B732A1BA23}"/>
                  </a:ext>
                </a:extLst>
              </p:cNvPr>
              <p:cNvSpPr>
                <a:spLocks/>
              </p:cNvSpPr>
              <p:nvPr/>
            </p:nvSpPr>
            <p:spPr bwMode="auto">
              <a:xfrm>
                <a:off x="1667429" y="4220252"/>
                <a:ext cx="182588" cy="175097"/>
              </a:xfrm>
              <a:custGeom>
                <a:avLst/>
                <a:gdLst>
                  <a:gd name="T0" fmla="*/ 420 w 420"/>
                  <a:gd name="T1" fmla="*/ 403 h 403"/>
                  <a:gd name="T2" fmla="*/ 15 w 420"/>
                  <a:gd name="T3" fmla="*/ 403 h 403"/>
                  <a:gd name="T4" fmla="*/ 2 w 420"/>
                  <a:gd name="T5" fmla="*/ 392 h 403"/>
                  <a:gd name="T6" fmla="*/ 9 w 420"/>
                  <a:gd name="T7" fmla="*/ 377 h 403"/>
                  <a:gd name="T8" fmla="*/ 304 w 420"/>
                  <a:gd name="T9" fmla="*/ 9 h 403"/>
                  <a:gd name="T10" fmla="*/ 317 w 420"/>
                  <a:gd name="T11" fmla="*/ 0 h 403"/>
                  <a:gd name="T12" fmla="*/ 420 w 420"/>
                  <a:gd name="T13" fmla="*/ 0 h 403"/>
                  <a:gd name="T14" fmla="*/ 420 w 420"/>
                  <a:gd name="T15" fmla="*/ 27 h 403"/>
                  <a:gd name="T16" fmla="*/ 326 w 420"/>
                  <a:gd name="T17" fmla="*/ 27 h 403"/>
                  <a:gd name="T18" fmla="*/ 68 w 420"/>
                  <a:gd name="T19" fmla="*/ 376 h 403"/>
                  <a:gd name="T20" fmla="*/ 420 w 420"/>
                  <a:gd name="T21" fmla="*/ 376 h 403"/>
                  <a:gd name="T22" fmla="*/ 420 w 420"/>
                  <a:gd name="T23" fmla="*/ 40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0" h="403">
                    <a:moveTo>
                      <a:pt x="420" y="403"/>
                    </a:moveTo>
                    <a:cubicBezTo>
                      <a:pt x="15" y="403"/>
                      <a:pt x="15" y="403"/>
                      <a:pt x="15" y="403"/>
                    </a:cubicBezTo>
                    <a:cubicBezTo>
                      <a:pt x="8" y="403"/>
                      <a:pt x="3" y="399"/>
                      <a:pt x="2" y="392"/>
                    </a:cubicBezTo>
                    <a:cubicBezTo>
                      <a:pt x="0" y="386"/>
                      <a:pt x="4" y="380"/>
                      <a:pt x="9" y="377"/>
                    </a:cubicBezTo>
                    <a:cubicBezTo>
                      <a:pt x="184" y="300"/>
                      <a:pt x="303" y="12"/>
                      <a:pt x="304" y="9"/>
                    </a:cubicBezTo>
                    <a:cubicBezTo>
                      <a:pt x="307" y="4"/>
                      <a:pt x="311" y="0"/>
                      <a:pt x="317" y="0"/>
                    </a:cubicBezTo>
                    <a:cubicBezTo>
                      <a:pt x="420" y="0"/>
                      <a:pt x="420" y="0"/>
                      <a:pt x="420" y="0"/>
                    </a:cubicBezTo>
                    <a:cubicBezTo>
                      <a:pt x="420" y="27"/>
                      <a:pt x="420" y="27"/>
                      <a:pt x="420" y="27"/>
                    </a:cubicBezTo>
                    <a:cubicBezTo>
                      <a:pt x="326" y="27"/>
                      <a:pt x="326" y="27"/>
                      <a:pt x="326" y="27"/>
                    </a:cubicBezTo>
                    <a:cubicBezTo>
                      <a:pt x="306" y="73"/>
                      <a:pt x="211" y="281"/>
                      <a:pt x="68" y="376"/>
                    </a:cubicBezTo>
                    <a:cubicBezTo>
                      <a:pt x="420" y="376"/>
                      <a:pt x="420" y="376"/>
                      <a:pt x="420" y="376"/>
                    </a:cubicBezTo>
                    <a:lnTo>
                      <a:pt x="420" y="40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5" name="Freeform 71">
                <a:extLst>
                  <a:ext uri="{FF2B5EF4-FFF2-40B4-BE49-F238E27FC236}">
                    <a16:creationId xmlns:a16="http://schemas.microsoft.com/office/drawing/2014/main" id="{60F221B5-72DB-4F49-8515-93A232B5F30A}"/>
                  </a:ext>
                </a:extLst>
              </p:cNvPr>
              <p:cNvSpPr>
                <a:spLocks/>
              </p:cNvSpPr>
              <p:nvPr/>
            </p:nvSpPr>
            <p:spPr bwMode="auto">
              <a:xfrm>
                <a:off x="1835973" y="4220252"/>
                <a:ext cx="182120" cy="175097"/>
              </a:xfrm>
              <a:custGeom>
                <a:avLst/>
                <a:gdLst>
                  <a:gd name="T0" fmla="*/ 405 w 419"/>
                  <a:gd name="T1" fmla="*/ 403 h 403"/>
                  <a:gd name="T2" fmla="*/ 0 w 419"/>
                  <a:gd name="T3" fmla="*/ 403 h 403"/>
                  <a:gd name="T4" fmla="*/ 0 w 419"/>
                  <a:gd name="T5" fmla="*/ 376 h 403"/>
                  <a:gd name="T6" fmla="*/ 352 w 419"/>
                  <a:gd name="T7" fmla="*/ 376 h 403"/>
                  <a:gd name="T8" fmla="*/ 94 w 419"/>
                  <a:gd name="T9" fmla="*/ 27 h 403"/>
                  <a:gd name="T10" fmla="*/ 0 w 419"/>
                  <a:gd name="T11" fmla="*/ 27 h 403"/>
                  <a:gd name="T12" fmla="*/ 0 w 419"/>
                  <a:gd name="T13" fmla="*/ 0 h 403"/>
                  <a:gd name="T14" fmla="*/ 103 w 419"/>
                  <a:gd name="T15" fmla="*/ 0 h 403"/>
                  <a:gd name="T16" fmla="*/ 115 w 419"/>
                  <a:gd name="T17" fmla="*/ 9 h 403"/>
                  <a:gd name="T18" fmla="*/ 410 w 419"/>
                  <a:gd name="T19" fmla="*/ 377 h 403"/>
                  <a:gd name="T20" fmla="*/ 418 w 419"/>
                  <a:gd name="T21" fmla="*/ 392 h 403"/>
                  <a:gd name="T22" fmla="*/ 405 w 419"/>
                  <a:gd name="T23" fmla="*/ 40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9" h="403">
                    <a:moveTo>
                      <a:pt x="405" y="403"/>
                    </a:moveTo>
                    <a:cubicBezTo>
                      <a:pt x="0" y="403"/>
                      <a:pt x="0" y="403"/>
                      <a:pt x="0" y="403"/>
                    </a:cubicBezTo>
                    <a:cubicBezTo>
                      <a:pt x="0" y="376"/>
                      <a:pt x="0" y="376"/>
                      <a:pt x="0" y="376"/>
                    </a:cubicBezTo>
                    <a:cubicBezTo>
                      <a:pt x="352" y="376"/>
                      <a:pt x="352" y="376"/>
                      <a:pt x="352" y="376"/>
                    </a:cubicBezTo>
                    <a:cubicBezTo>
                      <a:pt x="209" y="281"/>
                      <a:pt x="113" y="73"/>
                      <a:pt x="94" y="27"/>
                    </a:cubicBezTo>
                    <a:cubicBezTo>
                      <a:pt x="0" y="27"/>
                      <a:pt x="0" y="27"/>
                      <a:pt x="0" y="27"/>
                    </a:cubicBezTo>
                    <a:cubicBezTo>
                      <a:pt x="0" y="0"/>
                      <a:pt x="0" y="0"/>
                      <a:pt x="0" y="0"/>
                    </a:cubicBezTo>
                    <a:cubicBezTo>
                      <a:pt x="103" y="0"/>
                      <a:pt x="103" y="0"/>
                      <a:pt x="103" y="0"/>
                    </a:cubicBezTo>
                    <a:cubicBezTo>
                      <a:pt x="108" y="0"/>
                      <a:pt x="113" y="4"/>
                      <a:pt x="115" y="9"/>
                    </a:cubicBezTo>
                    <a:cubicBezTo>
                      <a:pt x="117" y="12"/>
                      <a:pt x="235" y="300"/>
                      <a:pt x="410" y="377"/>
                    </a:cubicBezTo>
                    <a:cubicBezTo>
                      <a:pt x="416" y="380"/>
                      <a:pt x="419" y="386"/>
                      <a:pt x="418" y="392"/>
                    </a:cubicBezTo>
                    <a:cubicBezTo>
                      <a:pt x="417" y="399"/>
                      <a:pt x="411" y="403"/>
                      <a:pt x="405" y="40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36" name="Freeform 72">
                <a:extLst>
                  <a:ext uri="{FF2B5EF4-FFF2-40B4-BE49-F238E27FC236}">
                    <a16:creationId xmlns:a16="http://schemas.microsoft.com/office/drawing/2014/main" id="{5E129495-2067-4B67-840E-10C68AC88215}"/>
                  </a:ext>
                </a:extLst>
              </p:cNvPr>
              <p:cNvSpPr>
                <a:spLocks/>
              </p:cNvSpPr>
              <p:nvPr/>
            </p:nvSpPr>
            <p:spPr bwMode="auto">
              <a:xfrm>
                <a:off x="1777451" y="4266601"/>
                <a:ext cx="131089" cy="44945"/>
              </a:xfrm>
              <a:custGeom>
                <a:avLst/>
                <a:gdLst>
                  <a:gd name="T0" fmla="*/ 147 w 301"/>
                  <a:gd name="T1" fmla="*/ 103 h 103"/>
                  <a:gd name="T2" fmla="*/ 137 w 301"/>
                  <a:gd name="T3" fmla="*/ 103 h 103"/>
                  <a:gd name="T4" fmla="*/ 70 w 301"/>
                  <a:gd name="T5" fmla="*/ 60 h 103"/>
                  <a:gd name="T6" fmla="*/ 6 w 301"/>
                  <a:gd name="T7" fmla="*/ 42 h 103"/>
                  <a:gd name="T8" fmla="*/ 0 w 301"/>
                  <a:gd name="T9" fmla="*/ 15 h 103"/>
                  <a:gd name="T10" fmla="*/ 94 w 301"/>
                  <a:gd name="T11" fmla="*/ 49 h 103"/>
                  <a:gd name="T12" fmla="*/ 140 w 301"/>
                  <a:gd name="T13" fmla="*/ 76 h 103"/>
                  <a:gd name="T14" fmla="*/ 188 w 301"/>
                  <a:gd name="T15" fmla="*/ 58 h 103"/>
                  <a:gd name="T16" fmla="*/ 301 w 301"/>
                  <a:gd name="T17" fmla="*/ 19 h 103"/>
                  <a:gd name="T18" fmla="*/ 300 w 301"/>
                  <a:gd name="T19" fmla="*/ 47 h 103"/>
                  <a:gd name="T20" fmla="*/ 210 w 301"/>
                  <a:gd name="T21" fmla="*/ 74 h 103"/>
                  <a:gd name="T22" fmla="*/ 147 w 301"/>
                  <a:gd name="T23"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1" h="103">
                    <a:moveTo>
                      <a:pt x="147" y="103"/>
                    </a:moveTo>
                    <a:cubicBezTo>
                      <a:pt x="144" y="103"/>
                      <a:pt x="140" y="103"/>
                      <a:pt x="137" y="103"/>
                    </a:cubicBezTo>
                    <a:cubicBezTo>
                      <a:pt x="106" y="100"/>
                      <a:pt x="80" y="84"/>
                      <a:pt x="70" y="60"/>
                    </a:cubicBezTo>
                    <a:cubicBezTo>
                      <a:pt x="56" y="31"/>
                      <a:pt x="7" y="41"/>
                      <a:pt x="6" y="42"/>
                    </a:cubicBezTo>
                    <a:cubicBezTo>
                      <a:pt x="0" y="15"/>
                      <a:pt x="0" y="15"/>
                      <a:pt x="0" y="15"/>
                    </a:cubicBezTo>
                    <a:cubicBezTo>
                      <a:pt x="3" y="14"/>
                      <a:pt x="71" y="0"/>
                      <a:pt x="94" y="49"/>
                    </a:cubicBezTo>
                    <a:cubicBezTo>
                      <a:pt x="101" y="63"/>
                      <a:pt x="119" y="74"/>
                      <a:pt x="140" y="76"/>
                    </a:cubicBezTo>
                    <a:cubicBezTo>
                      <a:pt x="160" y="77"/>
                      <a:pt x="178" y="71"/>
                      <a:pt x="188" y="58"/>
                    </a:cubicBezTo>
                    <a:cubicBezTo>
                      <a:pt x="218" y="15"/>
                      <a:pt x="298" y="19"/>
                      <a:pt x="301" y="19"/>
                    </a:cubicBezTo>
                    <a:cubicBezTo>
                      <a:pt x="300" y="47"/>
                      <a:pt x="300" y="47"/>
                      <a:pt x="300" y="47"/>
                    </a:cubicBezTo>
                    <a:cubicBezTo>
                      <a:pt x="281" y="45"/>
                      <a:pt x="228" y="48"/>
                      <a:pt x="210" y="74"/>
                    </a:cubicBezTo>
                    <a:cubicBezTo>
                      <a:pt x="196" y="92"/>
                      <a:pt x="173" y="103"/>
                      <a:pt x="147" y="10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47" name="Group 146">
            <a:extLst>
              <a:ext uri="{FF2B5EF4-FFF2-40B4-BE49-F238E27FC236}">
                <a16:creationId xmlns:a16="http://schemas.microsoft.com/office/drawing/2014/main" id="{358C03C8-CA97-48E6-861C-279A242DACA4}"/>
              </a:ext>
            </a:extLst>
          </p:cNvPr>
          <p:cNvGrpSpPr/>
          <p:nvPr/>
        </p:nvGrpSpPr>
        <p:grpSpPr>
          <a:xfrm>
            <a:off x="7120118" y="3301177"/>
            <a:ext cx="368452" cy="223786"/>
            <a:chOff x="2700692" y="3301177"/>
            <a:chExt cx="368452" cy="223786"/>
          </a:xfrm>
        </p:grpSpPr>
        <p:sp>
          <p:nvSpPr>
            <p:cNvPr id="148" name="Freeform 92">
              <a:extLst>
                <a:ext uri="{FF2B5EF4-FFF2-40B4-BE49-F238E27FC236}">
                  <a16:creationId xmlns:a16="http://schemas.microsoft.com/office/drawing/2014/main" id="{D1A9D6C1-947B-4D44-9FD9-66FE8A61DA22}"/>
                </a:ext>
              </a:extLst>
            </p:cNvPr>
            <p:cNvSpPr>
              <a:spLocks/>
            </p:cNvSpPr>
            <p:nvPr/>
          </p:nvSpPr>
          <p:spPr bwMode="auto">
            <a:xfrm>
              <a:off x="2700692" y="3420093"/>
              <a:ext cx="368452" cy="29495"/>
            </a:xfrm>
            <a:custGeom>
              <a:avLst/>
              <a:gdLst>
                <a:gd name="T0" fmla="*/ 848 w 848"/>
                <a:gd name="T1" fmla="*/ 68 h 68"/>
                <a:gd name="T2" fmla="*/ 787 w 848"/>
                <a:gd name="T3" fmla="*/ 45 h 68"/>
                <a:gd name="T4" fmla="*/ 742 w 848"/>
                <a:gd name="T5" fmla="*/ 27 h 68"/>
                <a:gd name="T6" fmla="*/ 698 w 848"/>
                <a:gd name="T7" fmla="*/ 45 h 68"/>
                <a:gd name="T8" fmla="*/ 636 w 848"/>
                <a:gd name="T9" fmla="*/ 68 h 68"/>
                <a:gd name="T10" fmla="*/ 575 w 848"/>
                <a:gd name="T11" fmla="*/ 45 h 68"/>
                <a:gd name="T12" fmla="*/ 530 w 848"/>
                <a:gd name="T13" fmla="*/ 27 h 68"/>
                <a:gd name="T14" fmla="*/ 485 w 848"/>
                <a:gd name="T15" fmla="*/ 45 h 68"/>
                <a:gd name="T16" fmla="*/ 424 w 848"/>
                <a:gd name="T17" fmla="*/ 68 h 68"/>
                <a:gd name="T18" fmla="*/ 363 w 848"/>
                <a:gd name="T19" fmla="*/ 45 h 68"/>
                <a:gd name="T20" fmla="*/ 318 w 848"/>
                <a:gd name="T21" fmla="*/ 27 h 68"/>
                <a:gd name="T22" fmla="*/ 273 w 848"/>
                <a:gd name="T23" fmla="*/ 45 h 68"/>
                <a:gd name="T24" fmla="*/ 212 w 848"/>
                <a:gd name="T25" fmla="*/ 68 h 68"/>
                <a:gd name="T26" fmla="*/ 151 w 848"/>
                <a:gd name="T27" fmla="*/ 45 h 68"/>
                <a:gd name="T28" fmla="*/ 106 w 848"/>
                <a:gd name="T29" fmla="*/ 27 h 68"/>
                <a:gd name="T30" fmla="*/ 61 w 848"/>
                <a:gd name="T31" fmla="*/ 45 h 68"/>
                <a:gd name="T32" fmla="*/ 0 w 848"/>
                <a:gd name="T33" fmla="*/ 68 h 68"/>
                <a:gd name="T34" fmla="*/ 0 w 848"/>
                <a:gd name="T35" fmla="*/ 41 h 68"/>
                <a:gd name="T36" fmla="*/ 45 w 848"/>
                <a:gd name="T37" fmla="*/ 23 h 68"/>
                <a:gd name="T38" fmla="*/ 106 w 848"/>
                <a:gd name="T39" fmla="*/ 0 h 68"/>
                <a:gd name="T40" fmla="*/ 167 w 848"/>
                <a:gd name="T41" fmla="*/ 23 h 68"/>
                <a:gd name="T42" fmla="*/ 212 w 848"/>
                <a:gd name="T43" fmla="*/ 41 h 68"/>
                <a:gd name="T44" fmla="*/ 257 w 848"/>
                <a:gd name="T45" fmla="*/ 23 h 68"/>
                <a:gd name="T46" fmla="*/ 318 w 848"/>
                <a:gd name="T47" fmla="*/ 0 h 68"/>
                <a:gd name="T48" fmla="*/ 379 w 848"/>
                <a:gd name="T49" fmla="*/ 23 h 68"/>
                <a:gd name="T50" fmla="*/ 424 w 848"/>
                <a:gd name="T51" fmla="*/ 41 h 68"/>
                <a:gd name="T52" fmla="*/ 469 w 848"/>
                <a:gd name="T53" fmla="*/ 23 h 68"/>
                <a:gd name="T54" fmla="*/ 530 w 848"/>
                <a:gd name="T55" fmla="*/ 0 h 68"/>
                <a:gd name="T56" fmla="*/ 591 w 848"/>
                <a:gd name="T57" fmla="*/ 23 h 68"/>
                <a:gd name="T58" fmla="*/ 636 w 848"/>
                <a:gd name="T59" fmla="*/ 41 h 68"/>
                <a:gd name="T60" fmla="*/ 681 w 848"/>
                <a:gd name="T61" fmla="*/ 23 h 68"/>
                <a:gd name="T62" fmla="*/ 742 w 848"/>
                <a:gd name="T63" fmla="*/ 0 h 68"/>
                <a:gd name="T64" fmla="*/ 804 w 848"/>
                <a:gd name="T65" fmla="*/ 23 h 68"/>
                <a:gd name="T66" fmla="*/ 848 w 848"/>
                <a:gd name="T67" fmla="*/ 41 h 68"/>
                <a:gd name="T68" fmla="*/ 848 w 848"/>
                <a:gd name="T6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8" h="68">
                  <a:moveTo>
                    <a:pt x="848" y="68"/>
                  </a:moveTo>
                  <a:cubicBezTo>
                    <a:pt x="817" y="68"/>
                    <a:pt x="801" y="56"/>
                    <a:pt x="787" y="45"/>
                  </a:cubicBezTo>
                  <a:cubicBezTo>
                    <a:pt x="774" y="35"/>
                    <a:pt x="764" y="27"/>
                    <a:pt x="742" y="27"/>
                  </a:cubicBezTo>
                  <a:cubicBezTo>
                    <a:pt x="720" y="27"/>
                    <a:pt x="710" y="35"/>
                    <a:pt x="698" y="45"/>
                  </a:cubicBezTo>
                  <a:cubicBezTo>
                    <a:pt x="683" y="56"/>
                    <a:pt x="667" y="68"/>
                    <a:pt x="636" y="68"/>
                  </a:cubicBezTo>
                  <a:cubicBezTo>
                    <a:pt x="605" y="68"/>
                    <a:pt x="589" y="56"/>
                    <a:pt x="575" y="45"/>
                  </a:cubicBezTo>
                  <a:cubicBezTo>
                    <a:pt x="562" y="35"/>
                    <a:pt x="552" y="27"/>
                    <a:pt x="530" y="27"/>
                  </a:cubicBezTo>
                  <a:cubicBezTo>
                    <a:pt x="508" y="27"/>
                    <a:pt x="498" y="35"/>
                    <a:pt x="485" y="45"/>
                  </a:cubicBezTo>
                  <a:cubicBezTo>
                    <a:pt x="471" y="56"/>
                    <a:pt x="455" y="68"/>
                    <a:pt x="424" y="68"/>
                  </a:cubicBezTo>
                  <a:cubicBezTo>
                    <a:pt x="393" y="68"/>
                    <a:pt x="377" y="56"/>
                    <a:pt x="363" y="45"/>
                  </a:cubicBezTo>
                  <a:cubicBezTo>
                    <a:pt x="350" y="35"/>
                    <a:pt x="340" y="27"/>
                    <a:pt x="318" y="27"/>
                  </a:cubicBezTo>
                  <a:cubicBezTo>
                    <a:pt x="296" y="27"/>
                    <a:pt x="286" y="35"/>
                    <a:pt x="273" y="45"/>
                  </a:cubicBezTo>
                  <a:cubicBezTo>
                    <a:pt x="259" y="56"/>
                    <a:pt x="243" y="68"/>
                    <a:pt x="212" y="68"/>
                  </a:cubicBezTo>
                  <a:cubicBezTo>
                    <a:pt x="181" y="68"/>
                    <a:pt x="165" y="56"/>
                    <a:pt x="151" y="45"/>
                  </a:cubicBezTo>
                  <a:cubicBezTo>
                    <a:pt x="138" y="35"/>
                    <a:pt x="128" y="27"/>
                    <a:pt x="106" y="27"/>
                  </a:cubicBezTo>
                  <a:cubicBezTo>
                    <a:pt x="84" y="27"/>
                    <a:pt x="74" y="35"/>
                    <a:pt x="61" y="45"/>
                  </a:cubicBezTo>
                  <a:cubicBezTo>
                    <a:pt x="47" y="56"/>
                    <a:pt x="31" y="68"/>
                    <a:pt x="0" y="68"/>
                  </a:cubicBezTo>
                  <a:cubicBezTo>
                    <a:pt x="0" y="41"/>
                    <a:pt x="0" y="41"/>
                    <a:pt x="0" y="41"/>
                  </a:cubicBezTo>
                  <a:cubicBezTo>
                    <a:pt x="22" y="41"/>
                    <a:pt x="32" y="33"/>
                    <a:pt x="45" y="23"/>
                  </a:cubicBezTo>
                  <a:cubicBezTo>
                    <a:pt x="59" y="12"/>
                    <a:pt x="75" y="0"/>
                    <a:pt x="106" y="0"/>
                  </a:cubicBezTo>
                  <a:cubicBezTo>
                    <a:pt x="137" y="0"/>
                    <a:pt x="153" y="12"/>
                    <a:pt x="167" y="23"/>
                  </a:cubicBezTo>
                  <a:cubicBezTo>
                    <a:pt x="180" y="33"/>
                    <a:pt x="190" y="41"/>
                    <a:pt x="212" y="41"/>
                  </a:cubicBezTo>
                  <a:cubicBezTo>
                    <a:pt x="234" y="41"/>
                    <a:pt x="244" y="33"/>
                    <a:pt x="257" y="23"/>
                  </a:cubicBezTo>
                  <a:cubicBezTo>
                    <a:pt x="271" y="12"/>
                    <a:pt x="287" y="0"/>
                    <a:pt x="318" y="0"/>
                  </a:cubicBezTo>
                  <a:cubicBezTo>
                    <a:pt x="349" y="0"/>
                    <a:pt x="365" y="12"/>
                    <a:pt x="379" y="23"/>
                  </a:cubicBezTo>
                  <a:cubicBezTo>
                    <a:pt x="392" y="33"/>
                    <a:pt x="402" y="41"/>
                    <a:pt x="424" y="41"/>
                  </a:cubicBezTo>
                  <a:cubicBezTo>
                    <a:pt x="446" y="41"/>
                    <a:pt x="456" y="33"/>
                    <a:pt x="469" y="23"/>
                  </a:cubicBezTo>
                  <a:cubicBezTo>
                    <a:pt x="483" y="12"/>
                    <a:pt x="499" y="0"/>
                    <a:pt x="530" y="0"/>
                  </a:cubicBezTo>
                  <a:cubicBezTo>
                    <a:pt x="561" y="0"/>
                    <a:pt x="577" y="12"/>
                    <a:pt x="591" y="23"/>
                  </a:cubicBezTo>
                  <a:cubicBezTo>
                    <a:pt x="604" y="33"/>
                    <a:pt x="614" y="41"/>
                    <a:pt x="636" y="41"/>
                  </a:cubicBezTo>
                  <a:cubicBezTo>
                    <a:pt x="658" y="41"/>
                    <a:pt x="668" y="33"/>
                    <a:pt x="681" y="23"/>
                  </a:cubicBezTo>
                  <a:cubicBezTo>
                    <a:pt x="695" y="12"/>
                    <a:pt x="711" y="0"/>
                    <a:pt x="742" y="0"/>
                  </a:cubicBezTo>
                  <a:cubicBezTo>
                    <a:pt x="773" y="0"/>
                    <a:pt x="790" y="12"/>
                    <a:pt x="804" y="23"/>
                  </a:cubicBezTo>
                  <a:cubicBezTo>
                    <a:pt x="816" y="33"/>
                    <a:pt x="827" y="41"/>
                    <a:pt x="848" y="41"/>
                  </a:cubicBezTo>
                  <a:lnTo>
                    <a:pt x="848" y="6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149" name="Group 148">
              <a:extLst>
                <a:ext uri="{FF2B5EF4-FFF2-40B4-BE49-F238E27FC236}">
                  <a16:creationId xmlns:a16="http://schemas.microsoft.com/office/drawing/2014/main" id="{EF43D508-D27F-4BDE-B4D8-248F47CFB0E3}"/>
                </a:ext>
              </a:extLst>
            </p:cNvPr>
            <p:cNvGrpSpPr/>
            <p:nvPr/>
          </p:nvGrpSpPr>
          <p:grpSpPr>
            <a:xfrm>
              <a:off x="2700692" y="3301177"/>
              <a:ext cx="368452" cy="223786"/>
              <a:chOff x="2700692" y="3301177"/>
              <a:chExt cx="368452" cy="223786"/>
            </a:xfrm>
          </p:grpSpPr>
          <p:sp>
            <p:nvSpPr>
              <p:cNvPr id="150" name="Freeform 91">
                <a:extLst>
                  <a:ext uri="{FF2B5EF4-FFF2-40B4-BE49-F238E27FC236}">
                    <a16:creationId xmlns:a16="http://schemas.microsoft.com/office/drawing/2014/main" id="{2A518D31-A691-4E74-8834-93D9205545D9}"/>
                  </a:ext>
                </a:extLst>
              </p:cNvPr>
              <p:cNvSpPr>
                <a:spLocks/>
              </p:cNvSpPr>
              <p:nvPr/>
            </p:nvSpPr>
            <p:spPr bwMode="auto">
              <a:xfrm>
                <a:off x="2700692" y="3495000"/>
                <a:ext cx="368452" cy="29963"/>
              </a:xfrm>
              <a:custGeom>
                <a:avLst/>
                <a:gdLst>
                  <a:gd name="T0" fmla="*/ 848 w 848"/>
                  <a:gd name="T1" fmla="*/ 68 h 68"/>
                  <a:gd name="T2" fmla="*/ 787 w 848"/>
                  <a:gd name="T3" fmla="*/ 45 h 68"/>
                  <a:gd name="T4" fmla="*/ 742 w 848"/>
                  <a:gd name="T5" fmla="*/ 27 h 68"/>
                  <a:gd name="T6" fmla="*/ 698 w 848"/>
                  <a:gd name="T7" fmla="*/ 45 h 68"/>
                  <a:gd name="T8" fmla="*/ 636 w 848"/>
                  <a:gd name="T9" fmla="*/ 68 h 68"/>
                  <a:gd name="T10" fmla="*/ 575 w 848"/>
                  <a:gd name="T11" fmla="*/ 45 h 68"/>
                  <a:gd name="T12" fmla="*/ 530 w 848"/>
                  <a:gd name="T13" fmla="*/ 27 h 68"/>
                  <a:gd name="T14" fmla="*/ 485 w 848"/>
                  <a:gd name="T15" fmla="*/ 45 h 68"/>
                  <a:gd name="T16" fmla="*/ 424 w 848"/>
                  <a:gd name="T17" fmla="*/ 68 h 68"/>
                  <a:gd name="T18" fmla="*/ 363 w 848"/>
                  <a:gd name="T19" fmla="*/ 45 h 68"/>
                  <a:gd name="T20" fmla="*/ 318 w 848"/>
                  <a:gd name="T21" fmla="*/ 27 h 68"/>
                  <a:gd name="T22" fmla="*/ 273 w 848"/>
                  <a:gd name="T23" fmla="*/ 45 h 68"/>
                  <a:gd name="T24" fmla="*/ 212 w 848"/>
                  <a:gd name="T25" fmla="*/ 68 h 68"/>
                  <a:gd name="T26" fmla="*/ 151 w 848"/>
                  <a:gd name="T27" fmla="*/ 45 h 68"/>
                  <a:gd name="T28" fmla="*/ 106 w 848"/>
                  <a:gd name="T29" fmla="*/ 27 h 68"/>
                  <a:gd name="T30" fmla="*/ 61 w 848"/>
                  <a:gd name="T31" fmla="*/ 45 h 68"/>
                  <a:gd name="T32" fmla="*/ 0 w 848"/>
                  <a:gd name="T33" fmla="*/ 68 h 68"/>
                  <a:gd name="T34" fmla="*/ 0 w 848"/>
                  <a:gd name="T35" fmla="*/ 41 h 68"/>
                  <a:gd name="T36" fmla="*/ 45 w 848"/>
                  <a:gd name="T37" fmla="*/ 23 h 68"/>
                  <a:gd name="T38" fmla="*/ 106 w 848"/>
                  <a:gd name="T39" fmla="*/ 0 h 68"/>
                  <a:gd name="T40" fmla="*/ 167 w 848"/>
                  <a:gd name="T41" fmla="*/ 23 h 68"/>
                  <a:gd name="T42" fmla="*/ 212 w 848"/>
                  <a:gd name="T43" fmla="*/ 41 h 68"/>
                  <a:gd name="T44" fmla="*/ 257 w 848"/>
                  <a:gd name="T45" fmla="*/ 23 h 68"/>
                  <a:gd name="T46" fmla="*/ 318 w 848"/>
                  <a:gd name="T47" fmla="*/ 0 h 68"/>
                  <a:gd name="T48" fmla="*/ 379 w 848"/>
                  <a:gd name="T49" fmla="*/ 23 h 68"/>
                  <a:gd name="T50" fmla="*/ 424 w 848"/>
                  <a:gd name="T51" fmla="*/ 41 h 68"/>
                  <a:gd name="T52" fmla="*/ 469 w 848"/>
                  <a:gd name="T53" fmla="*/ 23 h 68"/>
                  <a:gd name="T54" fmla="*/ 530 w 848"/>
                  <a:gd name="T55" fmla="*/ 0 h 68"/>
                  <a:gd name="T56" fmla="*/ 591 w 848"/>
                  <a:gd name="T57" fmla="*/ 23 h 68"/>
                  <a:gd name="T58" fmla="*/ 636 w 848"/>
                  <a:gd name="T59" fmla="*/ 41 h 68"/>
                  <a:gd name="T60" fmla="*/ 681 w 848"/>
                  <a:gd name="T61" fmla="*/ 23 h 68"/>
                  <a:gd name="T62" fmla="*/ 742 w 848"/>
                  <a:gd name="T63" fmla="*/ 0 h 68"/>
                  <a:gd name="T64" fmla="*/ 804 w 848"/>
                  <a:gd name="T65" fmla="*/ 23 h 68"/>
                  <a:gd name="T66" fmla="*/ 848 w 848"/>
                  <a:gd name="T67" fmla="*/ 41 h 68"/>
                  <a:gd name="T68" fmla="*/ 848 w 848"/>
                  <a:gd name="T6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8" h="68">
                    <a:moveTo>
                      <a:pt x="848" y="68"/>
                    </a:moveTo>
                    <a:cubicBezTo>
                      <a:pt x="817" y="68"/>
                      <a:pt x="801" y="56"/>
                      <a:pt x="787" y="45"/>
                    </a:cubicBezTo>
                    <a:cubicBezTo>
                      <a:pt x="774" y="35"/>
                      <a:pt x="764" y="27"/>
                      <a:pt x="742" y="27"/>
                    </a:cubicBezTo>
                    <a:cubicBezTo>
                      <a:pt x="720" y="27"/>
                      <a:pt x="710" y="35"/>
                      <a:pt x="698" y="45"/>
                    </a:cubicBezTo>
                    <a:cubicBezTo>
                      <a:pt x="683" y="56"/>
                      <a:pt x="667" y="68"/>
                      <a:pt x="636" y="68"/>
                    </a:cubicBezTo>
                    <a:cubicBezTo>
                      <a:pt x="605" y="68"/>
                      <a:pt x="589" y="56"/>
                      <a:pt x="575" y="45"/>
                    </a:cubicBezTo>
                    <a:cubicBezTo>
                      <a:pt x="562" y="35"/>
                      <a:pt x="552" y="27"/>
                      <a:pt x="530" y="27"/>
                    </a:cubicBezTo>
                    <a:cubicBezTo>
                      <a:pt x="508" y="27"/>
                      <a:pt x="498" y="35"/>
                      <a:pt x="485" y="45"/>
                    </a:cubicBezTo>
                    <a:cubicBezTo>
                      <a:pt x="471" y="56"/>
                      <a:pt x="455" y="68"/>
                      <a:pt x="424" y="68"/>
                    </a:cubicBezTo>
                    <a:cubicBezTo>
                      <a:pt x="393" y="68"/>
                      <a:pt x="377" y="56"/>
                      <a:pt x="363" y="45"/>
                    </a:cubicBezTo>
                    <a:cubicBezTo>
                      <a:pt x="350" y="35"/>
                      <a:pt x="340" y="27"/>
                      <a:pt x="318" y="27"/>
                    </a:cubicBezTo>
                    <a:cubicBezTo>
                      <a:pt x="296" y="27"/>
                      <a:pt x="286" y="35"/>
                      <a:pt x="273" y="45"/>
                    </a:cubicBezTo>
                    <a:cubicBezTo>
                      <a:pt x="259" y="56"/>
                      <a:pt x="243" y="68"/>
                      <a:pt x="212" y="68"/>
                    </a:cubicBezTo>
                    <a:cubicBezTo>
                      <a:pt x="181" y="68"/>
                      <a:pt x="165" y="56"/>
                      <a:pt x="151" y="45"/>
                    </a:cubicBezTo>
                    <a:cubicBezTo>
                      <a:pt x="138" y="35"/>
                      <a:pt x="128" y="27"/>
                      <a:pt x="106" y="27"/>
                    </a:cubicBezTo>
                    <a:cubicBezTo>
                      <a:pt x="84" y="27"/>
                      <a:pt x="74" y="35"/>
                      <a:pt x="61" y="45"/>
                    </a:cubicBezTo>
                    <a:cubicBezTo>
                      <a:pt x="47" y="56"/>
                      <a:pt x="31" y="68"/>
                      <a:pt x="0" y="68"/>
                    </a:cubicBezTo>
                    <a:cubicBezTo>
                      <a:pt x="0" y="41"/>
                      <a:pt x="0" y="41"/>
                      <a:pt x="0" y="41"/>
                    </a:cubicBezTo>
                    <a:cubicBezTo>
                      <a:pt x="22" y="41"/>
                      <a:pt x="32" y="33"/>
                      <a:pt x="45" y="23"/>
                    </a:cubicBezTo>
                    <a:cubicBezTo>
                      <a:pt x="59" y="13"/>
                      <a:pt x="75" y="0"/>
                      <a:pt x="106" y="0"/>
                    </a:cubicBezTo>
                    <a:cubicBezTo>
                      <a:pt x="137" y="0"/>
                      <a:pt x="153" y="13"/>
                      <a:pt x="167" y="23"/>
                    </a:cubicBezTo>
                    <a:cubicBezTo>
                      <a:pt x="180" y="33"/>
                      <a:pt x="190" y="41"/>
                      <a:pt x="212" y="41"/>
                    </a:cubicBezTo>
                    <a:cubicBezTo>
                      <a:pt x="234" y="41"/>
                      <a:pt x="244" y="33"/>
                      <a:pt x="257" y="23"/>
                    </a:cubicBezTo>
                    <a:cubicBezTo>
                      <a:pt x="271" y="13"/>
                      <a:pt x="287" y="0"/>
                      <a:pt x="318" y="0"/>
                    </a:cubicBezTo>
                    <a:cubicBezTo>
                      <a:pt x="349" y="0"/>
                      <a:pt x="365" y="13"/>
                      <a:pt x="379" y="23"/>
                    </a:cubicBezTo>
                    <a:cubicBezTo>
                      <a:pt x="392" y="33"/>
                      <a:pt x="402" y="41"/>
                      <a:pt x="424" y="41"/>
                    </a:cubicBezTo>
                    <a:cubicBezTo>
                      <a:pt x="446" y="41"/>
                      <a:pt x="456" y="33"/>
                      <a:pt x="469" y="23"/>
                    </a:cubicBezTo>
                    <a:cubicBezTo>
                      <a:pt x="483" y="13"/>
                      <a:pt x="499" y="0"/>
                      <a:pt x="530" y="0"/>
                    </a:cubicBezTo>
                    <a:cubicBezTo>
                      <a:pt x="561" y="0"/>
                      <a:pt x="577" y="13"/>
                      <a:pt x="591" y="23"/>
                    </a:cubicBezTo>
                    <a:cubicBezTo>
                      <a:pt x="604" y="33"/>
                      <a:pt x="614" y="41"/>
                      <a:pt x="636" y="41"/>
                    </a:cubicBezTo>
                    <a:cubicBezTo>
                      <a:pt x="658" y="41"/>
                      <a:pt x="668" y="33"/>
                      <a:pt x="681" y="23"/>
                    </a:cubicBezTo>
                    <a:cubicBezTo>
                      <a:pt x="695" y="13"/>
                      <a:pt x="711" y="0"/>
                      <a:pt x="742" y="0"/>
                    </a:cubicBezTo>
                    <a:cubicBezTo>
                      <a:pt x="773" y="0"/>
                      <a:pt x="790" y="13"/>
                      <a:pt x="804" y="23"/>
                    </a:cubicBezTo>
                    <a:cubicBezTo>
                      <a:pt x="816" y="33"/>
                      <a:pt x="827" y="41"/>
                      <a:pt x="848" y="41"/>
                    </a:cubicBezTo>
                    <a:lnTo>
                      <a:pt x="848" y="6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1" name="Freeform 93">
                <a:extLst>
                  <a:ext uri="{FF2B5EF4-FFF2-40B4-BE49-F238E27FC236}">
                    <a16:creationId xmlns:a16="http://schemas.microsoft.com/office/drawing/2014/main" id="{8138FD85-7C58-4E73-8856-D3A03CEC7851}"/>
                  </a:ext>
                </a:extLst>
              </p:cNvPr>
              <p:cNvSpPr>
                <a:spLocks/>
              </p:cNvSpPr>
              <p:nvPr/>
            </p:nvSpPr>
            <p:spPr bwMode="auto">
              <a:xfrm>
                <a:off x="3023263" y="3365785"/>
                <a:ext cx="45881" cy="29027"/>
              </a:xfrm>
              <a:custGeom>
                <a:avLst/>
                <a:gdLst>
                  <a:gd name="T0" fmla="*/ 106 w 106"/>
                  <a:gd name="T1" fmla="*/ 67 h 67"/>
                  <a:gd name="T2" fmla="*/ 45 w 106"/>
                  <a:gd name="T3" fmla="*/ 44 h 67"/>
                  <a:gd name="T4" fmla="*/ 0 w 106"/>
                  <a:gd name="T5" fmla="*/ 27 h 67"/>
                  <a:gd name="T6" fmla="*/ 0 w 106"/>
                  <a:gd name="T7" fmla="*/ 0 h 67"/>
                  <a:gd name="T8" fmla="*/ 62 w 106"/>
                  <a:gd name="T9" fmla="*/ 23 h 67"/>
                  <a:gd name="T10" fmla="*/ 106 w 106"/>
                  <a:gd name="T11" fmla="*/ 40 h 67"/>
                  <a:gd name="T12" fmla="*/ 106 w 106"/>
                  <a:gd name="T13" fmla="*/ 67 h 67"/>
                </a:gdLst>
                <a:ahLst/>
                <a:cxnLst>
                  <a:cxn ang="0">
                    <a:pos x="T0" y="T1"/>
                  </a:cxn>
                  <a:cxn ang="0">
                    <a:pos x="T2" y="T3"/>
                  </a:cxn>
                  <a:cxn ang="0">
                    <a:pos x="T4" y="T5"/>
                  </a:cxn>
                  <a:cxn ang="0">
                    <a:pos x="T6" y="T7"/>
                  </a:cxn>
                  <a:cxn ang="0">
                    <a:pos x="T8" y="T9"/>
                  </a:cxn>
                  <a:cxn ang="0">
                    <a:pos x="T10" y="T11"/>
                  </a:cxn>
                  <a:cxn ang="0">
                    <a:pos x="T12" y="T13"/>
                  </a:cxn>
                </a:cxnLst>
                <a:rect l="0" t="0" r="r" b="b"/>
                <a:pathLst>
                  <a:path w="106" h="67">
                    <a:moveTo>
                      <a:pt x="106" y="67"/>
                    </a:moveTo>
                    <a:cubicBezTo>
                      <a:pt x="75" y="67"/>
                      <a:pt x="59" y="55"/>
                      <a:pt x="45" y="44"/>
                    </a:cubicBezTo>
                    <a:cubicBezTo>
                      <a:pt x="32" y="35"/>
                      <a:pt x="22" y="27"/>
                      <a:pt x="0" y="27"/>
                    </a:cubicBezTo>
                    <a:cubicBezTo>
                      <a:pt x="0" y="0"/>
                      <a:pt x="0" y="0"/>
                      <a:pt x="0" y="0"/>
                    </a:cubicBezTo>
                    <a:cubicBezTo>
                      <a:pt x="31" y="0"/>
                      <a:pt x="48" y="12"/>
                      <a:pt x="62" y="23"/>
                    </a:cubicBezTo>
                    <a:cubicBezTo>
                      <a:pt x="74" y="33"/>
                      <a:pt x="85" y="40"/>
                      <a:pt x="106" y="40"/>
                    </a:cubicBezTo>
                    <a:lnTo>
                      <a:pt x="106" y="6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2" name="Freeform 94">
                <a:extLst>
                  <a:ext uri="{FF2B5EF4-FFF2-40B4-BE49-F238E27FC236}">
                    <a16:creationId xmlns:a16="http://schemas.microsoft.com/office/drawing/2014/main" id="{5DDB36B1-6176-44F3-8D03-E67BCC608A0C}"/>
                  </a:ext>
                </a:extLst>
              </p:cNvPr>
              <p:cNvSpPr>
                <a:spLocks/>
              </p:cNvSpPr>
              <p:nvPr/>
            </p:nvSpPr>
            <p:spPr bwMode="auto">
              <a:xfrm>
                <a:off x="2700692" y="3365785"/>
                <a:ext cx="138111" cy="29027"/>
              </a:xfrm>
              <a:custGeom>
                <a:avLst/>
                <a:gdLst>
                  <a:gd name="T0" fmla="*/ 212 w 318"/>
                  <a:gd name="T1" fmla="*/ 67 h 67"/>
                  <a:gd name="T2" fmla="*/ 151 w 318"/>
                  <a:gd name="T3" fmla="*/ 44 h 67"/>
                  <a:gd name="T4" fmla="*/ 106 w 318"/>
                  <a:gd name="T5" fmla="*/ 27 h 67"/>
                  <a:gd name="T6" fmla="*/ 61 w 318"/>
                  <a:gd name="T7" fmla="*/ 44 h 67"/>
                  <a:gd name="T8" fmla="*/ 0 w 318"/>
                  <a:gd name="T9" fmla="*/ 67 h 67"/>
                  <a:gd name="T10" fmla="*/ 0 w 318"/>
                  <a:gd name="T11" fmla="*/ 40 h 67"/>
                  <a:gd name="T12" fmla="*/ 45 w 318"/>
                  <a:gd name="T13" fmla="*/ 23 h 67"/>
                  <a:gd name="T14" fmla="*/ 106 w 318"/>
                  <a:gd name="T15" fmla="*/ 0 h 67"/>
                  <a:gd name="T16" fmla="*/ 167 w 318"/>
                  <a:gd name="T17" fmla="*/ 23 h 67"/>
                  <a:gd name="T18" fmla="*/ 212 w 318"/>
                  <a:gd name="T19" fmla="*/ 40 h 67"/>
                  <a:gd name="T20" fmla="*/ 257 w 318"/>
                  <a:gd name="T21" fmla="*/ 23 h 67"/>
                  <a:gd name="T22" fmla="*/ 318 w 318"/>
                  <a:gd name="T23" fmla="*/ 0 h 67"/>
                  <a:gd name="T24" fmla="*/ 318 w 318"/>
                  <a:gd name="T25" fmla="*/ 27 h 67"/>
                  <a:gd name="T26" fmla="*/ 273 w 318"/>
                  <a:gd name="T27" fmla="*/ 44 h 67"/>
                  <a:gd name="T28" fmla="*/ 212 w 318"/>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8" h="67">
                    <a:moveTo>
                      <a:pt x="212" y="67"/>
                    </a:moveTo>
                    <a:cubicBezTo>
                      <a:pt x="181" y="67"/>
                      <a:pt x="165" y="55"/>
                      <a:pt x="151" y="44"/>
                    </a:cubicBezTo>
                    <a:cubicBezTo>
                      <a:pt x="138" y="35"/>
                      <a:pt x="128" y="27"/>
                      <a:pt x="106" y="27"/>
                    </a:cubicBezTo>
                    <a:cubicBezTo>
                      <a:pt x="84" y="27"/>
                      <a:pt x="74" y="35"/>
                      <a:pt x="61" y="44"/>
                    </a:cubicBezTo>
                    <a:cubicBezTo>
                      <a:pt x="47" y="55"/>
                      <a:pt x="31" y="67"/>
                      <a:pt x="0" y="67"/>
                    </a:cubicBezTo>
                    <a:cubicBezTo>
                      <a:pt x="0" y="40"/>
                      <a:pt x="0" y="40"/>
                      <a:pt x="0" y="40"/>
                    </a:cubicBezTo>
                    <a:cubicBezTo>
                      <a:pt x="22" y="40"/>
                      <a:pt x="32" y="33"/>
                      <a:pt x="45" y="23"/>
                    </a:cubicBezTo>
                    <a:cubicBezTo>
                      <a:pt x="59" y="12"/>
                      <a:pt x="75" y="0"/>
                      <a:pt x="106" y="0"/>
                    </a:cubicBezTo>
                    <a:cubicBezTo>
                      <a:pt x="137" y="0"/>
                      <a:pt x="153" y="12"/>
                      <a:pt x="167" y="23"/>
                    </a:cubicBezTo>
                    <a:cubicBezTo>
                      <a:pt x="180" y="33"/>
                      <a:pt x="190" y="40"/>
                      <a:pt x="212" y="40"/>
                    </a:cubicBezTo>
                    <a:cubicBezTo>
                      <a:pt x="234" y="40"/>
                      <a:pt x="244" y="33"/>
                      <a:pt x="257" y="23"/>
                    </a:cubicBezTo>
                    <a:cubicBezTo>
                      <a:pt x="271" y="12"/>
                      <a:pt x="287" y="0"/>
                      <a:pt x="318" y="0"/>
                    </a:cubicBezTo>
                    <a:cubicBezTo>
                      <a:pt x="318" y="27"/>
                      <a:pt x="318" y="27"/>
                      <a:pt x="318" y="27"/>
                    </a:cubicBezTo>
                    <a:cubicBezTo>
                      <a:pt x="296" y="27"/>
                      <a:pt x="286" y="35"/>
                      <a:pt x="273" y="44"/>
                    </a:cubicBezTo>
                    <a:cubicBezTo>
                      <a:pt x="259" y="55"/>
                      <a:pt x="243" y="67"/>
                      <a:pt x="212" y="6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3" name="Rectangle 95">
                <a:extLst>
                  <a:ext uri="{FF2B5EF4-FFF2-40B4-BE49-F238E27FC236}">
                    <a16:creationId xmlns:a16="http://schemas.microsoft.com/office/drawing/2014/main" id="{FFBFD512-A493-48EF-834E-1F5628AB349A}"/>
                  </a:ext>
                </a:extLst>
              </p:cNvPr>
              <p:cNvSpPr>
                <a:spLocks noChangeArrowheads="1"/>
              </p:cNvSpPr>
              <p:nvPr/>
            </p:nvSpPr>
            <p:spPr bwMode="auto">
              <a:xfrm>
                <a:off x="2880002" y="3347995"/>
                <a:ext cx="11704" cy="79121"/>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4" name="Rectangle 96">
                <a:extLst>
                  <a:ext uri="{FF2B5EF4-FFF2-40B4-BE49-F238E27FC236}">
                    <a16:creationId xmlns:a16="http://schemas.microsoft.com/office/drawing/2014/main" id="{64534355-AB3C-4EEF-82EC-2E03D5127639}"/>
                  </a:ext>
                </a:extLst>
              </p:cNvPr>
              <p:cNvSpPr>
                <a:spLocks noChangeArrowheads="1"/>
              </p:cNvSpPr>
              <p:nvPr/>
            </p:nvSpPr>
            <p:spPr bwMode="auto">
              <a:xfrm>
                <a:off x="2987214" y="3347995"/>
                <a:ext cx="11704" cy="6975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5" name="Freeform 97">
                <a:extLst>
                  <a:ext uri="{FF2B5EF4-FFF2-40B4-BE49-F238E27FC236}">
                    <a16:creationId xmlns:a16="http://schemas.microsoft.com/office/drawing/2014/main" id="{0BB643D1-0FD4-485C-8F5D-27D534E13E4C}"/>
                  </a:ext>
                </a:extLst>
              </p:cNvPr>
              <p:cNvSpPr>
                <a:spLocks/>
              </p:cNvSpPr>
              <p:nvPr/>
            </p:nvSpPr>
            <p:spPr bwMode="auto">
              <a:xfrm>
                <a:off x="2861744" y="3301177"/>
                <a:ext cx="154965" cy="66480"/>
              </a:xfrm>
              <a:custGeom>
                <a:avLst/>
                <a:gdLst>
                  <a:gd name="T0" fmla="*/ 340 w 356"/>
                  <a:gd name="T1" fmla="*/ 153 h 153"/>
                  <a:gd name="T2" fmla="*/ 178 w 356"/>
                  <a:gd name="T3" fmla="*/ 30 h 153"/>
                  <a:gd name="T4" fmla="*/ 16 w 356"/>
                  <a:gd name="T5" fmla="*/ 153 h 153"/>
                  <a:gd name="T6" fmla="*/ 0 w 356"/>
                  <a:gd name="T7" fmla="*/ 131 h 153"/>
                  <a:gd name="T8" fmla="*/ 170 w 356"/>
                  <a:gd name="T9" fmla="*/ 3 h 153"/>
                  <a:gd name="T10" fmla="*/ 178 w 356"/>
                  <a:gd name="T11" fmla="*/ 0 h 153"/>
                  <a:gd name="T12" fmla="*/ 179 w 356"/>
                  <a:gd name="T13" fmla="*/ 0 h 153"/>
                  <a:gd name="T14" fmla="*/ 187 w 356"/>
                  <a:gd name="T15" fmla="*/ 3 h 153"/>
                  <a:gd name="T16" fmla="*/ 356 w 356"/>
                  <a:gd name="T17" fmla="*/ 131 h 153"/>
                  <a:gd name="T18" fmla="*/ 340 w 356"/>
                  <a:gd name="T1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6" h="153">
                    <a:moveTo>
                      <a:pt x="340" y="153"/>
                    </a:moveTo>
                    <a:cubicBezTo>
                      <a:pt x="178" y="30"/>
                      <a:pt x="178" y="30"/>
                      <a:pt x="178" y="30"/>
                    </a:cubicBezTo>
                    <a:cubicBezTo>
                      <a:pt x="16" y="153"/>
                      <a:pt x="16" y="153"/>
                      <a:pt x="16" y="153"/>
                    </a:cubicBezTo>
                    <a:cubicBezTo>
                      <a:pt x="0" y="131"/>
                      <a:pt x="0" y="131"/>
                      <a:pt x="0" y="131"/>
                    </a:cubicBezTo>
                    <a:cubicBezTo>
                      <a:pt x="170" y="3"/>
                      <a:pt x="170" y="3"/>
                      <a:pt x="170" y="3"/>
                    </a:cubicBezTo>
                    <a:cubicBezTo>
                      <a:pt x="172" y="1"/>
                      <a:pt x="175" y="0"/>
                      <a:pt x="178" y="0"/>
                    </a:cubicBezTo>
                    <a:cubicBezTo>
                      <a:pt x="179" y="0"/>
                      <a:pt x="179" y="0"/>
                      <a:pt x="179" y="0"/>
                    </a:cubicBezTo>
                    <a:cubicBezTo>
                      <a:pt x="182" y="0"/>
                      <a:pt x="185" y="1"/>
                      <a:pt x="187" y="3"/>
                    </a:cubicBezTo>
                    <a:cubicBezTo>
                      <a:pt x="356" y="131"/>
                      <a:pt x="356" y="131"/>
                      <a:pt x="356" y="131"/>
                    </a:cubicBezTo>
                    <a:lnTo>
                      <a:pt x="340" y="15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6" name="Rectangle 98">
                <a:extLst>
                  <a:ext uri="{FF2B5EF4-FFF2-40B4-BE49-F238E27FC236}">
                    <a16:creationId xmlns:a16="http://schemas.microsoft.com/office/drawing/2014/main" id="{4EF68D4A-0009-481E-A88C-10F995EE32D3}"/>
                  </a:ext>
                </a:extLst>
              </p:cNvPr>
              <p:cNvSpPr>
                <a:spLocks noChangeArrowheads="1"/>
              </p:cNvSpPr>
              <p:nvPr/>
            </p:nvSpPr>
            <p:spPr bwMode="auto">
              <a:xfrm>
                <a:off x="2971296" y="3306327"/>
                <a:ext cx="12173" cy="28090"/>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57" name="Group 156">
            <a:extLst>
              <a:ext uri="{FF2B5EF4-FFF2-40B4-BE49-F238E27FC236}">
                <a16:creationId xmlns:a16="http://schemas.microsoft.com/office/drawing/2014/main" id="{7398E954-9396-487B-9A1D-52653CB0108B}"/>
              </a:ext>
            </a:extLst>
          </p:cNvPr>
          <p:cNvGrpSpPr/>
          <p:nvPr/>
        </p:nvGrpSpPr>
        <p:grpSpPr>
          <a:xfrm>
            <a:off x="8158206" y="3290408"/>
            <a:ext cx="368924" cy="245324"/>
            <a:chOff x="3748902" y="3290408"/>
            <a:chExt cx="368924" cy="245324"/>
          </a:xfrm>
        </p:grpSpPr>
        <p:grpSp>
          <p:nvGrpSpPr>
            <p:cNvPr id="158" name="Group 157">
              <a:extLst>
                <a:ext uri="{FF2B5EF4-FFF2-40B4-BE49-F238E27FC236}">
                  <a16:creationId xmlns:a16="http://schemas.microsoft.com/office/drawing/2014/main" id="{5AB12767-2EEE-4A26-B02C-F8D351E9A010}"/>
                </a:ext>
              </a:extLst>
            </p:cNvPr>
            <p:cNvGrpSpPr/>
            <p:nvPr/>
          </p:nvGrpSpPr>
          <p:grpSpPr>
            <a:xfrm>
              <a:off x="3748902" y="3380297"/>
              <a:ext cx="368924" cy="155435"/>
              <a:chOff x="3748902" y="3380297"/>
              <a:chExt cx="368924" cy="155435"/>
            </a:xfrm>
          </p:grpSpPr>
          <p:sp>
            <p:nvSpPr>
              <p:cNvPr id="164" name="Freeform 99">
                <a:extLst>
                  <a:ext uri="{FF2B5EF4-FFF2-40B4-BE49-F238E27FC236}">
                    <a16:creationId xmlns:a16="http://schemas.microsoft.com/office/drawing/2014/main" id="{7A9E5BDB-FE5D-441B-9B43-91241A220B0C}"/>
                  </a:ext>
                </a:extLst>
              </p:cNvPr>
              <p:cNvSpPr>
                <a:spLocks/>
              </p:cNvSpPr>
              <p:nvPr/>
            </p:nvSpPr>
            <p:spPr bwMode="auto">
              <a:xfrm>
                <a:off x="3748902" y="3506237"/>
                <a:ext cx="368924" cy="29495"/>
              </a:xfrm>
              <a:custGeom>
                <a:avLst/>
                <a:gdLst>
                  <a:gd name="T0" fmla="*/ 849 w 849"/>
                  <a:gd name="T1" fmla="*/ 68 h 68"/>
                  <a:gd name="T2" fmla="*/ 788 w 849"/>
                  <a:gd name="T3" fmla="*/ 45 h 68"/>
                  <a:gd name="T4" fmla="*/ 743 w 849"/>
                  <a:gd name="T5" fmla="*/ 27 h 68"/>
                  <a:gd name="T6" fmla="*/ 698 w 849"/>
                  <a:gd name="T7" fmla="*/ 44 h 68"/>
                  <a:gd name="T8" fmla="*/ 637 w 849"/>
                  <a:gd name="T9" fmla="*/ 68 h 68"/>
                  <a:gd name="T10" fmla="*/ 576 w 849"/>
                  <a:gd name="T11" fmla="*/ 44 h 68"/>
                  <a:gd name="T12" fmla="*/ 531 w 849"/>
                  <a:gd name="T13" fmla="*/ 27 h 68"/>
                  <a:gd name="T14" fmla="*/ 486 w 849"/>
                  <a:gd name="T15" fmla="*/ 44 h 68"/>
                  <a:gd name="T16" fmla="*/ 425 w 849"/>
                  <a:gd name="T17" fmla="*/ 68 h 68"/>
                  <a:gd name="T18" fmla="*/ 363 w 849"/>
                  <a:gd name="T19" fmla="*/ 44 h 68"/>
                  <a:gd name="T20" fmla="*/ 319 w 849"/>
                  <a:gd name="T21" fmla="*/ 27 h 68"/>
                  <a:gd name="T22" fmla="*/ 274 w 849"/>
                  <a:gd name="T23" fmla="*/ 44 h 68"/>
                  <a:gd name="T24" fmla="*/ 213 w 849"/>
                  <a:gd name="T25" fmla="*/ 68 h 68"/>
                  <a:gd name="T26" fmla="*/ 151 w 849"/>
                  <a:gd name="T27" fmla="*/ 44 h 68"/>
                  <a:gd name="T28" fmla="*/ 107 w 849"/>
                  <a:gd name="T29" fmla="*/ 27 h 68"/>
                  <a:gd name="T30" fmla="*/ 62 w 849"/>
                  <a:gd name="T31" fmla="*/ 44 h 68"/>
                  <a:gd name="T32" fmla="*/ 0 w 849"/>
                  <a:gd name="T33" fmla="*/ 68 h 68"/>
                  <a:gd name="T34" fmla="*/ 0 w 849"/>
                  <a:gd name="T35" fmla="*/ 41 h 68"/>
                  <a:gd name="T36" fmla="*/ 45 w 849"/>
                  <a:gd name="T37" fmla="*/ 23 h 68"/>
                  <a:gd name="T38" fmla="*/ 107 w 849"/>
                  <a:gd name="T39" fmla="*/ 0 h 68"/>
                  <a:gd name="T40" fmla="*/ 168 w 849"/>
                  <a:gd name="T41" fmla="*/ 23 h 68"/>
                  <a:gd name="T42" fmla="*/ 213 w 849"/>
                  <a:gd name="T43" fmla="*/ 41 h 68"/>
                  <a:gd name="T44" fmla="*/ 257 w 849"/>
                  <a:gd name="T45" fmla="*/ 23 h 68"/>
                  <a:gd name="T46" fmla="*/ 319 w 849"/>
                  <a:gd name="T47" fmla="*/ 0 h 68"/>
                  <a:gd name="T48" fmla="*/ 380 w 849"/>
                  <a:gd name="T49" fmla="*/ 23 h 68"/>
                  <a:gd name="T50" fmla="*/ 425 w 849"/>
                  <a:gd name="T51" fmla="*/ 41 h 68"/>
                  <a:gd name="T52" fmla="*/ 469 w 849"/>
                  <a:gd name="T53" fmla="*/ 23 h 68"/>
                  <a:gd name="T54" fmla="*/ 531 w 849"/>
                  <a:gd name="T55" fmla="*/ 0 h 68"/>
                  <a:gd name="T56" fmla="*/ 592 w 849"/>
                  <a:gd name="T57" fmla="*/ 23 h 68"/>
                  <a:gd name="T58" fmla="*/ 637 w 849"/>
                  <a:gd name="T59" fmla="*/ 41 h 68"/>
                  <a:gd name="T60" fmla="*/ 682 w 849"/>
                  <a:gd name="T61" fmla="*/ 23 h 68"/>
                  <a:gd name="T62" fmla="*/ 743 w 849"/>
                  <a:gd name="T63" fmla="*/ 0 h 68"/>
                  <a:gd name="T64" fmla="*/ 804 w 849"/>
                  <a:gd name="T65" fmla="*/ 23 h 68"/>
                  <a:gd name="T66" fmla="*/ 849 w 849"/>
                  <a:gd name="T67" fmla="*/ 41 h 68"/>
                  <a:gd name="T68" fmla="*/ 849 w 849"/>
                  <a:gd name="T6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9" h="68">
                    <a:moveTo>
                      <a:pt x="849" y="68"/>
                    </a:moveTo>
                    <a:cubicBezTo>
                      <a:pt x="818" y="68"/>
                      <a:pt x="802" y="55"/>
                      <a:pt x="788" y="45"/>
                    </a:cubicBezTo>
                    <a:cubicBezTo>
                      <a:pt x="775" y="35"/>
                      <a:pt x="765" y="27"/>
                      <a:pt x="743" y="27"/>
                    </a:cubicBezTo>
                    <a:cubicBezTo>
                      <a:pt x="721" y="27"/>
                      <a:pt x="711" y="35"/>
                      <a:pt x="698" y="44"/>
                    </a:cubicBezTo>
                    <a:cubicBezTo>
                      <a:pt x="684" y="55"/>
                      <a:pt x="668" y="68"/>
                      <a:pt x="637" y="68"/>
                    </a:cubicBezTo>
                    <a:cubicBezTo>
                      <a:pt x="606" y="68"/>
                      <a:pt x="590" y="55"/>
                      <a:pt x="576" y="44"/>
                    </a:cubicBezTo>
                    <a:cubicBezTo>
                      <a:pt x="563" y="35"/>
                      <a:pt x="553" y="27"/>
                      <a:pt x="531" y="27"/>
                    </a:cubicBezTo>
                    <a:cubicBezTo>
                      <a:pt x="509" y="27"/>
                      <a:pt x="499" y="35"/>
                      <a:pt x="486" y="44"/>
                    </a:cubicBezTo>
                    <a:cubicBezTo>
                      <a:pt x="472" y="55"/>
                      <a:pt x="456" y="68"/>
                      <a:pt x="425" y="68"/>
                    </a:cubicBezTo>
                    <a:cubicBezTo>
                      <a:pt x="394" y="68"/>
                      <a:pt x="378" y="55"/>
                      <a:pt x="363" y="44"/>
                    </a:cubicBezTo>
                    <a:cubicBezTo>
                      <a:pt x="351" y="35"/>
                      <a:pt x="341" y="27"/>
                      <a:pt x="319" y="27"/>
                    </a:cubicBezTo>
                    <a:cubicBezTo>
                      <a:pt x="297" y="27"/>
                      <a:pt x="287" y="35"/>
                      <a:pt x="274" y="44"/>
                    </a:cubicBezTo>
                    <a:cubicBezTo>
                      <a:pt x="260" y="55"/>
                      <a:pt x="244" y="68"/>
                      <a:pt x="213" y="68"/>
                    </a:cubicBezTo>
                    <a:cubicBezTo>
                      <a:pt x="181" y="68"/>
                      <a:pt x="165" y="55"/>
                      <a:pt x="151" y="44"/>
                    </a:cubicBezTo>
                    <a:cubicBezTo>
                      <a:pt x="138" y="35"/>
                      <a:pt x="128" y="27"/>
                      <a:pt x="107" y="27"/>
                    </a:cubicBezTo>
                    <a:cubicBezTo>
                      <a:pt x="85" y="27"/>
                      <a:pt x="75" y="35"/>
                      <a:pt x="62" y="44"/>
                    </a:cubicBezTo>
                    <a:cubicBezTo>
                      <a:pt x="48" y="55"/>
                      <a:pt x="32" y="68"/>
                      <a:pt x="0" y="68"/>
                    </a:cubicBezTo>
                    <a:cubicBezTo>
                      <a:pt x="0" y="41"/>
                      <a:pt x="0" y="41"/>
                      <a:pt x="0" y="41"/>
                    </a:cubicBezTo>
                    <a:cubicBezTo>
                      <a:pt x="22" y="41"/>
                      <a:pt x="32" y="33"/>
                      <a:pt x="45" y="23"/>
                    </a:cubicBezTo>
                    <a:cubicBezTo>
                      <a:pt x="59" y="12"/>
                      <a:pt x="75" y="0"/>
                      <a:pt x="107" y="0"/>
                    </a:cubicBezTo>
                    <a:cubicBezTo>
                      <a:pt x="138" y="0"/>
                      <a:pt x="154" y="12"/>
                      <a:pt x="168" y="23"/>
                    </a:cubicBezTo>
                    <a:cubicBezTo>
                      <a:pt x="181" y="33"/>
                      <a:pt x="191" y="41"/>
                      <a:pt x="213" y="41"/>
                    </a:cubicBezTo>
                    <a:cubicBezTo>
                      <a:pt x="234" y="41"/>
                      <a:pt x="245" y="33"/>
                      <a:pt x="257" y="23"/>
                    </a:cubicBezTo>
                    <a:cubicBezTo>
                      <a:pt x="272" y="12"/>
                      <a:pt x="288" y="0"/>
                      <a:pt x="319" y="0"/>
                    </a:cubicBezTo>
                    <a:cubicBezTo>
                      <a:pt x="350" y="0"/>
                      <a:pt x="366" y="12"/>
                      <a:pt x="380" y="23"/>
                    </a:cubicBezTo>
                    <a:cubicBezTo>
                      <a:pt x="393" y="33"/>
                      <a:pt x="403" y="41"/>
                      <a:pt x="425" y="41"/>
                    </a:cubicBezTo>
                    <a:cubicBezTo>
                      <a:pt x="447" y="41"/>
                      <a:pt x="457" y="33"/>
                      <a:pt x="469" y="23"/>
                    </a:cubicBezTo>
                    <a:cubicBezTo>
                      <a:pt x="484" y="12"/>
                      <a:pt x="500" y="0"/>
                      <a:pt x="531" y="0"/>
                    </a:cubicBezTo>
                    <a:cubicBezTo>
                      <a:pt x="562" y="0"/>
                      <a:pt x="578" y="12"/>
                      <a:pt x="592" y="23"/>
                    </a:cubicBezTo>
                    <a:cubicBezTo>
                      <a:pt x="605" y="33"/>
                      <a:pt x="615" y="41"/>
                      <a:pt x="637" y="41"/>
                    </a:cubicBezTo>
                    <a:cubicBezTo>
                      <a:pt x="659" y="41"/>
                      <a:pt x="669" y="33"/>
                      <a:pt x="682" y="23"/>
                    </a:cubicBezTo>
                    <a:cubicBezTo>
                      <a:pt x="696" y="12"/>
                      <a:pt x="712" y="0"/>
                      <a:pt x="743" y="0"/>
                    </a:cubicBezTo>
                    <a:cubicBezTo>
                      <a:pt x="774" y="0"/>
                      <a:pt x="790" y="12"/>
                      <a:pt x="804" y="23"/>
                    </a:cubicBezTo>
                    <a:cubicBezTo>
                      <a:pt x="817" y="33"/>
                      <a:pt x="827" y="41"/>
                      <a:pt x="849" y="41"/>
                    </a:cubicBezTo>
                    <a:lnTo>
                      <a:pt x="849" y="6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5" name="Rectangle 100">
                <a:extLst>
                  <a:ext uri="{FF2B5EF4-FFF2-40B4-BE49-F238E27FC236}">
                    <a16:creationId xmlns:a16="http://schemas.microsoft.com/office/drawing/2014/main" id="{1B51DDCB-AC98-4466-A661-1AC16506BFA9}"/>
                  </a:ext>
                </a:extLst>
              </p:cNvPr>
              <p:cNvSpPr>
                <a:spLocks noChangeArrowheads="1"/>
              </p:cNvSpPr>
              <p:nvPr/>
            </p:nvSpPr>
            <p:spPr bwMode="auto">
              <a:xfrm>
                <a:off x="3957709" y="3426647"/>
                <a:ext cx="11704" cy="70694"/>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6" name="Rectangle 101">
                <a:extLst>
                  <a:ext uri="{FF2B5EF4-FFF2-40B4-BE49-F238E27FC236}">
                    <a16:creationId xmlns:a16="http://schemas.microsoft.com/office/drawing/2014/main" id="{849C2C4D-56A7-42D8-8994-A30D4A557DD7}"/>
                  </a:ext>
                </a:extLst>
              </p:cNvPr>
              <p:cNvSpPr>
                <a:spLocks noChangeArrowheads="1"/>
              </p:cNvSpPr>
              <p:nvPr/>
            </p:nvSpPr>
            <p:spPr bwMode="auto">
              <a:xfrm>
                <a:off x="4064922" y="3426647"/>
                <a:ext cx="11704" cy="70694"/>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7" name="Freeform 102">
                <a:extLst>
                  <a:ext uri="{FF2B5EF4-FFF2-40B4-BE49-F238E27FC236}">
                    <a16:creationId xmlns:a16="http://schemas.microsoft.com/office/drawing/2014/main" id="{1FACE5CD-2B23-4701-A291-AE5FCF8B1DC1}"/>
                  </a:ext>
                </a:extLst>
              </p:cNvPr>
              <p:cNvSpPr>
                <a:spLocks/>
              </p:cNvSpPr>
              <p:nvPr/>
            </p:nvSpPr>
            <p:spPr bwMode="auto">
              <a:xfrm>
                <a:off x="3939450" y="3380297"/>
                <a:ext cx="154967" cy="66481"/>
              </a:xfrm>
              <a:custGeom>
                <a:avLst/>
                <a:gdLst>
                  <a:gd name="T0" fmla="*/ 340 w 356"/>
                  <a:gd name="T1" fmla="*/ 153 h 153"/>
                  <a:gd name="T2" fmla="*/ 178 w 356"/>
                  <a:gd name="T3" fmla="*/ 30 h 153"/>
                  <a:gd name="T4" fmla="*/ 16 w 356"/>
                  <a:gd name="T5" fmla="*/ 153 h 153"/>
                  <a:gd name="T6" fmla="*/ 0 w 356"/>
                  <a:gd name="T7" fmla="*/ 131 h 153"/>
                  <a:gd name="T8" fmla="*/ 169 w 356"/>
                  <a:gd name="T9" fmla="*/ 3 h 153"/>
                  <a:gd name="T10" fmla="*/ 177 w 356"/>
                  <a:gd name="T11" fmla="*/ 0 h 153"/>
                  <a:gd name="T12" fmla="*/ 178 w 356"/>
                  <a:gd name="T13" fmla="*/ 0 h 153"/>
                  <a:gd name="T14" fmla="*/ 187 w 356"/>
                  <a:gd name="T15" fmla="*/ 3 h 153"/>
                  <a:gd name="T16" fmla="*/ 356 w 356"/>
                  <a:gd name="T17" fmla="*/ 131 h 153"/>
                  <a:gd name="T18" fmla="*/ 340 w 356"/>
                  <a:gd name="T1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6" h="153">
                    <a:moveTo>
                      <a:pt x="340" y="153"/>
                    </a:moveTo>
                    <a:cubicBezTo>
                      <a:pt x="178" y="30"/>
                      <a:pt x="178" y="30"/>
                      <a:pt x="178" y="30"/>
                    </a:cubicBezTo>
                    <a:cubicBezTo>
                      <a:pt x="16" y="153"/>
                      <a:pt x="16" y="153"/>
                      <a:pt x="16" y="153"/>
                    </a:cubicBezTo>
                    <a:cubicBezTo>
                      <a:pt x="0" y="131"/>
                      <a:pt x="0" y="131"/>
                      <a:pt x="0" y="131"/>
                    </a:cubicBezTo>
                    <a:cubicBezTo>
                      <a:pt x="169" y="3"/>
                      <a:pt x="169" y="3"/>
                      <a:pt x="169" y="3"/>
                    </a:cubicBezTo>
                    <a:cubicBezTo>
                      <a:pt x="172" y="1"/>
                      <a:pt x="175" y="0"/>
                      <a:pt x="177" y="0"/>
                    </a:cubicBezTo>
                    <a:cubicBezTo>
                      <a:pt x="178" y="0"/>
                      <a:pt x="178" y="0"/>
                      <a:pt x="178" y="0"/>
                    </a:cubicBezTo>
                    <a:cubicBezTo>
                      <a:pt x="181" y="0"/>
                      <a:pt x="184" y="1"/>
                      <a:pt x="187" y="3"/>
                    </a:cubicBezTo>
                    <a:cubicBezTo>
                      <a:pt x="356" y="131"/>
                      <a:pt x="356" y="131"/>
                      <a:pt x="356" y="131"/>
                    </a:cubicBezTo>
                    <a:lnTo>
                      <a:pt x="340" y="15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8" name="Rectangle 103">
                <a:extLst>
                  <a:ext uri="{FF2B5EF4-FFF2-40B4-BE49-F238E27FC236}">
                    <a16:creationId xmlns:a16="http://schemas.microsoft.com/office/drawing/2014/main" id="{7D6517FC-8A78-4A06-ABAF-B746B86BF805}"/>
                  </a:ext>
                </a:extLst>
              </p:cNvPr>
              <p:cNvSpPr>
                <a:spLocks noChangeArrowheads="1"/>
              </p:cNvSpPr>
              <p:nvPr/>
            </p:nvSpPr>
            <p:spPr bwMode="auto">
              <a:xfrm>
                <a:off x="4049004" y="3385916"/>
                <a:ext cx="11704" cy="27622"/>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59" name="Group 158">
              <a:extLst>
                <a:ext uri="{FF2B5EF4-FFF2-40B4-BE49-F238E27FC236}">
                  <a16:creationId xmlns:a16="http://schemas.microsoft.com/office/drawing/2014/main" id="{E6ED701B-EF13-405A-96A8-968DCC888118}"/>
                </a:ext>
              </a:extLst>
            </p:cNvPr>
            <p:cNvGrpSpPr/>
            <p:nvPr/>
          </p:nvGrpSpPr>
          <p:grpSpPr>
            <a:xfrm>
              <a:off x="3790570" y="3290408"/>
              <a:ext cx="259370" cy="211147"/>
              <a:chOff x="3790570" y="3290408"/>
              <a:chExt cx="259370" cy="211147"/>
            </a:xfrm>
          </p:grpSpPr>
          <p:sp>
            <p:nvSpPr>
              <p:cNvPr id="160" name="Freeform 104">
                <a:extLst>
                  <a:ext uri="{FF2B5EF4-FFF2-40B4-BE49-F238E27FC236}">
                    <a16:creationId xmlns:a16="http://schemas.microsoft.com/office/drawing/2014/main" id="{C92FF565-AF95-47F2-8A14-57E04E4764A4}"/>
                  </a:ext>
                </a:extLst>
              </p:cNvPr>
              <p:cNvSpPr>
                <a:spLocks/>
              </p:cNvSpPr>
              <p:nvPr/>
            </p:nvSpPr>
            <p:spPr bwMode="auto">
              <a:xfrm>
                <a:off x="3790570" y="3290408"/>
                <a:ext cx="221916" cy="205997"/>
              </a:xfrm>
              <a:custGeom>
                <a:avLst/>
                <a:gdLst>
                  <a:gd name="T0" fmla="*/ 27 w 511"/>
                  <a:gd name="T1" fmla="*/ 474 h 474"/>
                  <a:gd name="T2" fmla="*/ 0 w 511"/>
                  <a:gd name="T3" fmla="*/ 472 h 474"/>
                  <a:gd name="T4" fmla="*/ 136 w 511"/>
                  <a:gd name="T5" fmla="*/ 105 h 474"/>
                  <a:gd name="T6" fmla="*/ 388 w 511"/>
                  <a:gd name="T7" fmla="*/ 12 h 474"/>
                  <a:gd name="T8" fmla="*/ 482 w 511"/>
                  <a:gd name="T9" fmla="*/ 69 h 474"/>
                  <a:gd name="T10" fmla="*/ 475 w 511"/>
                  <a:gd name="T11" fmla="*/ 148 h 474"/>
                  <a:gd name="T12" fmla="*/ 385 w 511"/>
                  <a:gd name="T13" fmla="*/ 135 h 474"/>
                  <a:gd name="T14" fmla="*/ 406 w 511"/>
                  <a:gd name="T15" fmla="*/ 119 h 474"/>
                  <a:gd name="T16" fmla="*/ 460 w 511"/>
                  <a:gd name="T17" fmla="*/ 125 h 474"/>
                  <a:gd name="T18" fmla="*/ 459 w 511"/>
                  <a:gd name="T19" fmla="*/ 82 h 474"/>
                  <a:gd name="T20" fmla="*/ 384 w 511"/>
                  <a:gd name="T21" fmla="*/ 39 h 474"/>
                  <a:gd name="T22" fmla="*/ 155 w 511"/>
                  <a:gd name="T23" fmla="*/ 125 h 474"/>
                  <a:gd name="T24" fmla="*/ 27 w 511"/>
                  <a:gd name="T25" fmla="*/ 474 h 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474">
                    <a:moveTo>
                      <a:pt x="27" y="474"/>
                    </a:moveTo>
                    <a:cubicBezTo>
                      <a:pt x="0" y="472"/>
                      <a:pt x="0" y="472"/>
                      <a:pt x="0" y="472"/>
                    </a:cubicBezTo>
                    <a:cubicBezTo>
                      <a:pt x="0" y="462"/>
                      <a:pt x="16" y="220"/>
                      <a:pt x="136" y="105"/>
                    </a:cubicBezTo>
                    <a:cubicBezTo>
                      <a:pt x="207" y="37"/>
                      <a:pt x="306" y="0"/>
                      <a:pt x="388" y="12"/>
                    </a:cubicBezTo>
                    <a:cubicBezTo>
                      <a:pt x="432" y="19"/>
                      <a:pt x="465" y="39"/>
                      <a:pt x="482" y="69"/>
                    </a:cubicBezTo>
                    <a:cubicBezTo>
                      <a:pt x="511" y="119"/>
                      <a:pt x="484" y="142"/>
                      <a:pt x="475" y="148"/>
                    </a:cubicBezTo>
                    <a:cubicBezTo>
                      <a:pt x="448" y="166"/>
                      <a:pt x="402" y="159"/>
                      <a:pt x="385" y="135"/>
                    </a:cubicBezTo>
                    <a:cubicBezTo>
                      <a:pt x="406" y="119"/>
                      <a:pt x="406" y="119"/>
                      <a:pt x="406" y="119"/>
                    </a:cubicBezTo>
                    <a:cubicBezTo>
                      <a:pt x="415" y="130"/>
                      <a:pt x="444" y="136"/>
                      <a:pt x="460" y="125"/>
                    </a:cubicBezTo>
                    <a:cubicBezTo>
                      <a:pt x="474" y="116"/>
                      <a:pt x="467" y="97"/>
                      <a:pt x="459" y="82"/>
                    </a:cubicBezTo>
                    <a:cubicBezTo>
                      <a:pt x="446" y="60"/>
                      <a:pt x="420" y="44"/>
                      <a:pt x="384" y="39"/>
                    </a:cubicBezTo>
                    <a:cubicBezTo>
                      <a:pt x="328" y="31"/>
                      <a:pt x="235" y="48"/>
                      <a:pt x="155" y="125"/>
                    </a:cubicBezTo>
                    <a:cubicBezTo>
                      <a:pt x="43" y="232"/>
                      <a:pt x="27" y="472"/>
                      <a:pt x="27" y="47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1" name="Freeform 105">
                <a:extLst>
                  <a:ext uri="{FF2B5EF4-FFF2-40B4-BE49-F238E27FC236}">
                    <a16:creationId xmlns:a16="http://schemas.microsoft.com/office/drawing/2014/main" id="{95D5C05E-0D8C-49E4-A839-4963AEF7B436}"/>
                  </a:ext>
                </a:extLst>
              </p:cNvPr>
              <p:cNvSpPr>
                <a:spLocks/>
              </p:cNvSpPr>
              <p:nvPr/>
            </p:nvSpPr>
            <p:spPr bwMode="auto">
              <a:xfrm>
                <a:off x="3884673" y="3324116"/>
                <a:ext cx="78654" cy="177439"/>
              </a:xfrm>
              <a:custGeom>
                <a:avLst/>
                <a:gdLst>
                  <a:gd name="T0" fmla="*/ 84 w 181"/>
                  <a:gd name="T1" fmla="*/ 408 h 408"/>
                  <a:gd name="T2" fmla="*/ 21 w 181"/>
                  <a:gd name="T3" fmla="*/ 215 h 408"/>
                  <a:gd name="T4" fmla="*/ 169 w 181"/>
                  <a:gd name="T5" fmla="*/ 0 h 408"/>
                  <a:gd name="T6" fmla="*/ 181 w 181"/>
                  <a:gd name="T7" fmla="*/ 25 h 408"/>
                  <a:gd name="T8" fmla="*/ 175 w 181"/>
                  <a:gd name="T9" fmla="*/ 12 h 408"/>
                  <a:gd name="T10" fmla="*/ 181 w 181"/>
                  <a:gd name="T11" fmla="*/ 25 h 408"/>
                  <a:gd name="T12" fmla="*/ 47 w 181"/>
                  <a:gd name="T13" fmla="*/ 219 h 408"/>
                  <a:gd name="T14" fmla="*/ 94 w 181"/>
                  <a:gd name="T15" fmla="*/ 383 h 408"/>
                  <a:gd name="T16" fmla="*/ 84 w 181"/>
                  <a:gd name="T17" fmla="*/ 408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408">
                    <a:moveTo>
                      <a:pt x="84" y="408"/>
                    </a:moveTo>
                    <a:cubicBezTo>
                      <a:pt x="81" y="406"/>
                      <a:pt x="0" y="372"/>
                      <a:pt x="21" y="215"/>
                    </a:cubicBezTo>
                    <a:cubicBezTo>
                      <a:pt x="41" y="61"/>
                      <a:pt x="164" y="2"/>
                      <a:pt x="169" y="0"/>
                    </a:cubicBezTo>
                    <a:cubicBezTo>
                      <a:pt x="181" y="25"/>
                      <a:pt x="181" y="25"/>
                      <a:pt x="181" y="25"/>
                    </a:cubicBezTo>
                    <a:cubicBezTo>
                      <a:pt x="175" y="12"/>
                      <a:pt x="175" y="12"/>
                      <a:pt x="175" y="12"/>
                    </a:cubicBezTo>
                    <a:cubicBezTo>
                      <a:pt x="181" y="25"/>
                      <a:pt x="181" y="25"/>
                      <a:pt x="181" y="25"/>
                    </a:cubicBezTo>
                    <a:cubicBezTo>
                      <a:pt x="180" y="25"/>
                      <a:pt x="66" y="80"/>
                      <a:pt x="47" y="219"/>
                    </a:cubicBezTo>
                    <a:cubicBezTo>
                      <a:pt x="30" y="353"/>
                      <a:pt x="92" y="381"/>
                      <a:pt x="94" y="383"/>
                    </a:cubicBezTo>
                    <a:lnTo>
                      <a:pt x="84" y="4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2" name="Freeform 106">
                <a:extLst>
                  <a:ext uri="{FF2B5EF4-FFF2-40B4-BE49-F238E27FC236}">
                    <a16:creationId xmlns:a16="http://schemas.microsoft.com/office/drawing/2014/main" id="{33A9445D-F64A-458F-AADF-9DEAB3704DA2}"/>
                  </a:ext>
                </a:extLst>
              </p:cNvPr>
              <p:cNvSpPr>
                <a:spLocks/>
              </p:cNvSpPr>
              <p:nvPr/>
            </p:nvSpPr>
            <p:spPr bwMode="auto">
              <a:xfrm>
                <a:off x="4000781" y="3305858"/>
                <a:ext cx="49159" cy="62735"/>
              </a:xfrm>
              <a:custGeom>
                <a:avLst/>
                <a:gdLst>
                  <a:gd name="T0" fmla="*/ 41 w 113"/>
                  <a:gd name="T1" fmla="*/ 144 h 144"/>
                  <a:gd name="T2" fmla="*/ 0 w 113"/>
                  <a:gd name="T3" fmla="*/ 137 h 144"/>
                  <a:gd name="T4" fmla="*/ 9 w 113"/>
                  <a:gd name="T5" fmla="*/ 111 h 144"/>
                  <a:gd name="T6" fmla="*/ 63 w 113"/>
                  <a:gd name="T7" fmla="*/ 112 h 144"/>
                  <a:gd name="T8" fmla="*/ 75 w 113"/>
                  <a:gd name="T9" fmla="*/ 90 h 144"/>
                  <a:gd name="T10" fmla="*/ 2 w 113"/>
                  <a:gd name="T11" fmla="*/ 26 h 144"/>
                  <a:gd name="T12" fmla="*/ 7 w 113"/>
                  <a:gd name="T13" fmla="*/ 0 h 144"/>
                  <a:gd name="T14" fmla="*/ 102 w 113"/>
                  <a:gd name="T15" fmla="*/ 94 h 144"/>
                  <a:gd name="T16" fmla="*/ 77 w 113"/>
                  <a:gd name="T17" fmla="*/ 135 h 144"/>
                  <a:gd name="T18" fmla="*/ 41 w 113"/>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44">
                    <a:moveTo>
                      <a:pt x="41" y="144"/>
                    </a:moveTo>
                    <a:cubicBezTo>
                      <a:pt x="21" y="144"/>
                      <a:pt x="3" y="138"/>
                      <a:pt x="0" y="137"/>
                    </a:cubicBezTo>
                    <a:cubicBezTo>
                      <a:pt x="9" y="111"/>
                      <a:pt x="9" y="111"/>
                      <a:pt x="9" y="111"/>
                    </a:cubicBezTo>
                    <a:cubicBezTo>
                      <a:pt x="19" y="115"/>
                      <a:pt x="47" y="121"/>
                      <a:pt x="63" y="112"/>
                    </a:cubicBezTo>
                    <a:cubicBezTo>
                      <a:pt x="70" y="108"/>
                      <a:pt x="74" y="100"/>
                      <a:pt x="75" y="90"/>
                    </a:cubicBezTo>
                    <a:cubicBezTo>
                      <a:pt x="82" y="44"/>
                      <a:pt x="3" y="27"/>
                      <a:pt x="2" y="26"/>
                    </a:cubicBezTo>
                    <a:cubicBezTo>
                      <a:pt x="7" y="0"/>
                      <a:pt x="7" y="0"/>
                      <a:pt x="7" y="0"/>
                    </a:cubicBezTo>
                    <a:cubicBezTo>
                      <a:pt x="12" y="1"/>
                      <a:pt x="113" y="23"/>
                      <a:pt x="102" y="94"/>
                    </a:cubicBezTo>
                    <a:cubicBezTo>
                      <a:pt x="99" y="117"/>
                      <a:pt x="87" y="129"/>
                      <a:pt x="77" y="135"/>
                    </a:cubicBezTo>
                    <a:cubicBezTo>
                      <a:pt x="66" y="142"/>
                      <a:pt x="53" y="144"/>
                      <a:pt x="41" y="14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3" name="Freeform 107">
                <a:extLst>
                  <a:ext uri="{FF2B5EF4-FFF2-40B4-BE49-F238E27FC236}">
                    <a16:creationId xmlns:a16="http://schemas.microsoft.com/office/drawing/2014/main" id="{B04ED737-9F7E-4787-95E2-D7D177249641}"/>
                  </a:ext>
                </a:extLst>
              </p:cNvPr>
              <p:cNvSpPr>
                <a:spLocks/>
              </p:cNvSpPr>
              <p:nvPr/>
            </p:nvSpPr>
            <p:spPr bwMode="auto">
              <a:xfrm>
                <a:off x="3945068" y="3363911"/>
                <a:ext cx="36986" cy="50095"/>
              </a:xfrm>
              <a:custGeom>
                <a:avLst/>
                <a:gdLst>
                  <a:gd name="T0" fmla="*/ 27 w 85"/>
                  <a:gd name="T1" fmla="*/ 115 h 115"/>
                  <a:gd name="T2" fmla="*/ 0 w 85"/>
                  <a:gd name="T3" fmla="*/ 115 h 115"/>
                  <a:gd name="T4" fmla="*/ 68 w 85"/>
                  <a:gd name="T5" fmla="*/ 0 h 115"/>
                  <a:gd name="T6" fmla="*/ 85 w 85"/>
                  <a:gd name="T7" fmla="*/ 21 h 115"/>
                  <a:gd name="T8" fmla="*/ 27 w 85"/>
                  <a:gd name="T9" fmla="*/ 115 h 115"/>
                </a:gdLst>
                <a:ahLst/>
                <a:cxnLst>
                  <a:cxn ang="0">
                    <a:pos x="T0" y="T1"/>
                  </a:cxn>
                  <a:cxn ang="0">
                    <a:pos x="T2" y="T3"/>
                  </a:cxn>
                  <a:cxn ang="0">
                    <a:pos x="T4" y="T5"/>
                  </a:cxn>
                  <a:cxn ang="0">
                    <a:pos x="T6" y="T7"/>
                  </a:cxn>
                  <a:cxn ang="0">
                    <a:pos x="T8" y="T9"/>
                  </a:cxn>
                </a:cxnLst>
                <a:rect l="0" t="0" r="r" b="b"/>
                <a:pathLst>
                  <a:path w="85" h="115">
                    <a:moveTo>
                      <a:pt x="27" y="115"/>
                    </a:moveTo>
                    <a:cubicBezTo>
                      <a:pt x="0" y="115"/>
                      <a:pt x="0" y="115"/>
                      <a:pt x="0" y="115"/>
                    </a:cubicBezTo>
                    <a:cubicBezTo>
                      <a:pt x="0" y="56"/>
                      <a:pt x="65" y="2"/>
                      <a:pt x="68" y="0"/>
                    </a:cubicBezTo>
                    <a:cubicBezTo>
                      <a:pt x="85" y="21"/>
                      <a:pt x="85" y="21"/>
                      <a:pt x="85" y="21"/>
                    </a:cubicBezTo>
                    <a:cubicBezTo>
                      <a:pt x="85" y="21"/>
                      <a:pt x="27" y="69"/>
                      <a:pt x="27" y="11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69" name="Group 168">
            <a:extLst>
              <a:ext uri="{FF2B5EF4-FFF2-40B4-BE49-F238E27FC236}">
                <a16:creationId xmlns:a16="http://schemas.microsoft.com/office/drawing/2014/main" id="{B6524D75-2948-44ED-A425-40784F50C607}"/>
              </a:ext>
            </a:extLst>
          </p:cNvPr>
          <p:cNvGrpSpPr/>
          <p:nvPr/>
        </p:nvGrpSpPr>
        <p:grpSpPr>
          <a:xfrm>
            <a:off x="7146100" y="4046792"/>
            <a:ext cx="316488" cy="343642"/>
            <a:chOff x="3775120" y="4046792"/>
            <a:chExt cx="316488" cy="343642"/>
          </a:xfrm>
        </p:grpSpPr>
        <p:grpSp>
          <p:nvGrpSpPr>
            <p:cNvPr id="170" name="Group 169">
              <a:extLst>
                <a:ext uri="{FF2B5EF4-FFF2-40B4-BE49-F238E27FC236}">
                  <a16:creationId xmlns:a16="http://schemas.microsoft.com/office/drawing/2014/main" id="{BCF3BD0F-6365-405D-A66F-DA2F57AE4989}"/>
                </a:ext>
              </a:extLst>
            </p:cNvPr>
            <p:cNvGrpSpPr/>
            <p:nvPr/>
          </p:nvGrpSpPr>
          <p:grpSpPr>
            <a:xfrm>
              <a:off x="3775120" y="4046792"/>
              <a:ext cx="316488" cy="343642"/>
              <a:chOff x="3775120" y="4046792"/>
              <a:chExt cx="316488" cy="343642"/>
            </a:xfrm>
          </p:grpSpPr>
          <p:sp>
            <p:nvSpPr>
              <p:cNvPr id="175" name="Freeform 146">
                <a:extLst>
                  <a:ext uri="{FF2B5EF4-FFF2-40B4-BE49-F238E27FC236}">
                    <a16:creationId xmlns:a16="http://schemas.microsoft.com/office/drawing/2014/main" id="{7308EE86-01BA-496A-A2D2-C5BDAAB23718}"/>
                  </a:ext>
                </a:extLst>
              </p:cNvPr>
              <p:cNvSpPr>
                <a:spLocks/>
              </p:cNvSpPr>
              <p:nvPr/>
            </p:nvSpPr>
            <p:spPr bwMode="auto">
              <a:xfrm>
                <a:off x="3775120" y="4113741"/>
                <a:ext cx="227066" cy="276693"/>
              </a:xfrm>
              <a:custGeom>
                <a:avLst/>
                <a:gdLst>
                  <a:gd name="T0" fmla="*/ 228 w 523"/>
                  <a:gd name="T1" fmla="*/ 637 h 637"/>
                  <a:gd name="T2" fmla="*/ 67 w 523"/>
                  <a:gd name="T3" fmla="*/ 570 h 637"/>
                  <a:gd name="T4" fmla="*/ 0 w 523"/>
                  <a:gd name="T5" fmla="*/ 409 h 637"/>
                  <a:gd name="T6" fmla="*/ 67 w 523"/>
                  <a:gd name="T7" fmla="*/ 247 h 637"/>
                  <a:gd name="T8" fmla="*/ 314 w 523"/>
                  <a:gd name="T9" fmla="*/ 0 h 637"/>
                  <a:gd name="T10" fmla="*/ 333 w 523"/>
                  <a:gd name="T11" fmla="*/ 19 h 637"/>
                  <a:gd name="T12" fmla="*/ 86 w 523"/>
                  <a:gd name="T13" fmla="*/ 266 h 637"/>
                  <a:gd name="T14" fmla="*/ 27 w 523"/>
                  <a:gd name="T15" fmla="*/ 409 h 637"/>
                  <a:gd name="T16" fmla="*/ 86 w 523"/>
                  <a:gd name="T17" fmla="*/ 551 h 637"/>
                  <a:gd name="T18" fmla="*/ 371 w 523"/>
                  <a:gd name="T19" fmla="*/ 551 h 637"/>
                  <a:gd name="T20" fmla="*/ 504 w 523"/>
                  <a:gd name="T21" fmla="*/ 418 h 637"/>
                  <a:gd name="T22" fmla="*/ 523 w 523"/>
                  <a:gd name="T23" fmla="*/ 437 h 637"/>
                  <a:gd name="T24" fmla="*/ 390 w 523"/>
                  <a:gd name="T25" fmla="*/ 570 h 637"/>
                  <a:gd name="T26" fmla="*/ 228 w 523"/>
                  <a:gd name="T27" fmla="*/ 637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3" h="637">
                    <a:moveTo>
                      <a:pt x="228" y="637"/>
                    </a:moveTo>
                    <a:cubicBezTo>
                      <a:pt x="170" y="637"/>
                      <a:pt x="111" y="615"/>
                      <a:pt x="67" y="570"/>
                    </a:cubicBezTo>
                    <a:cubicBezTo>
                      <a:pt x="24" y="527"/>
                      <a:pt x="0" y="470"/>
                      <a:pt x="0" y="409"/>
                    </a:cubicBezTo>
                    <a:cubicBezTo>
                      <a:pt x="0" y="348"/>
                      <a:pt x="24" y="290"/>
                      <a:pt x="67" y="247"/>
                    </a:cubicBezTo>
                    <a:cubicBezTo>
                      <a:pt x="314" y="0"/>
                      <a:pt x="314" y="0"/>
                      <a:pt x="314" y="0"/>
                    </a:cubicBezTo>
                    <a:cubicBezTo>
                      <a:pt x="333" y="19"/>
                      <a:pt x="333" y="19"/>
                      <a:pt x="333" y="19"/>
                    </a:cubicBezTo>
                    <a:cubicBezTo>
                      <a:pt x="86" y="266"/>
                      <a:pt x="86" y="266"/>
                      <a:pt x="86" y="266"/>
                    </a:cubicBezTo>
                    <a:cubicBezTo>
                      <a:pt x="48" y="304"/>
                      <a:pt x="27" y="355"/>
                      <a:pt x="27" y="409"/>
                    </a:cubicBezTo>
                    <a:cubicBezTo>
                      <a:pt x="27" y="462"/>
                      <a:pt x="48" y="513"/>
                      <a:pt x="86" y="551"/>
                    </a:cubicBezTo>
                    <a:cubicBezTo>
                      <a:pt x="164" y="630"/>
                      <a:pt x="292" y="630"/>
                      <a:pt x="371" y="551"/>
                    </a:cubicBezTo>
                    <a:cubicBezTo>
                      <a:pt x="504" y="418"/>
                      <a:pt x="504" y="418"/>
                      <a:pt x="504" y="418"/>
                    </a:cubicBezTo>
                    <a:cubicBezTo>
                      <a:pt x="523" y="437"/>
                      <a:pt x="523" y="437"/>
                      <a:pt x="523" y="437"/>
                    </a:cubicBezTo>
                    <a:cubicBezTo>
                      <a:pt x="390" y="570"/>
                      <a:pt x="390" y="570"/>
                      <a:pt x="390" y="570"/>
                    </a:cubicBezTo>
                    <a:cubicBezTo>
                      <a:pt x="345" y="615"/>
                      <a:pt x="287" y="637"/>
                      <a:pt x="228" y="63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6" name="Freeform 147">
                <a:extLst>
                  <a:ext uri="{FF2B5EF4-FFF2-40B4-BE49-F238E27FC236}">
                    <a16:creationId xmlns:a16="http://schemas.microsoft.com/office/drawing/2014/main" id="{6AC0B742-6235-4CC2-916D-1368DACB33BB}"/>
                  </a:ext>
                </a:extLst>
              </p:cNvPr>
              <p:cNvSpPr>
                <a:spLocks/>
              </p:cNvSpPr>
              <p:nvPr/>
            </p:nvSpPr>
            <p:spPr bwMode="auto">
              <a:xfrm>
                <a:off x="3907615" y="4107187"/>
                <a:ext cx="83804" cy="84272"/>
              </a:xfrm>
              <a:custGeom>
                <a:avLst/>
                <a:gdLst>
                  <a:gd name="T0" fmla="*/ 18 w 179"/>
                  <a:gd name="T1" fmla="*/ 180 h 180"/>
                  <a:gd name="T2" fmla="*/ 0 w 179"/>
                  <a:gd name="T3" fmla="*/ 162 h 180"/>
                  <a:gd name="T4" fmla="*/ 161 w 179"/>
                  <a:gd name="T5" fmla="*/ 0 h 180"/>
                  <a:gd name="T6" fmla="*/ 179 w 179"/>
                  <a:gd name="T7" fmla="*/ 18 h 180"/>
                  <a:gd name="T8" fmla="*/ 18 w 179"/>
                  <a:gd name="T9" fmla="*/ 180 h 180"/>
                </a:gdLst>
                <a:ahLst/>
                <a:cxnLst>
                  <a:cxn ang="0">
                    <a:pos x="T0" y="T1"/>
                  </a:cxn>
                  <a:cxn ang="0">
                    <a:pos x="T2" y="T3"/>
                  </a:cxn>
                  <a:cxn ang="0">
                    <a:pos x="T4" y="T5"/>
                  </a:cxn>
                  <a:cxn ang="0">
                    <a:pos x="T6" y="T7"/>
                  </a:cxn>
                  <a:cxn ang="0">
                    <a:pos x="T8" y="T9"/>
                  </a:cxn>
                </a:cxnLst>
                <a:rect l="0" t="0" r="r" b="b"/>
                <a:pathLst>
                  <a:path w="179" h="180">
                    <a:moveTo>
                      <a:pt x="18" y="180"/>
                    </a:moveTo>
                    <a:lnTo>
                      <a:pt x="0" y="162"/>
                    </a:lnTo>
                    <a:lnTo>
                      <a:pt x="161" y="0"/>
                    </a:lnTo>
                    <a:lnTo>
                      <a:pt x="179" y="18"/>
                    </a:lnTo>
                    <a:lnTo>
                      <a:pt x="18" y="18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7" name="Freeform 148">
                <a:extLst>
                  <a:ext uri="{FF2B5EF4-FFF2-40B4-BE49-F238E27FC236}">
                    <a16:creationId xmlns:a16="http://schemas.microsoft.com/office/drawing/2014/main" id="{F8C98F0E-3B34-4BDD-BEAB-F04E2039D6E0}"/>
                  </a:ext>
                </a:extLst>
              </p:cNvPr>
              <p:cNvSpPr>
                <a:spLocks/>
              </p:cNvSpPr>
              <p:nvPr/>
            </p:nvSpPr>
            <p:spPr bwMode="auto">
              <a:xfrm>
                <a:off x="3969882" y="4168986"/>
                <a:ext cx="56650" cy="56650"/>
              </a:xfrm>
              <a:custGeom>
                <a:avLst/>
                <a:gdLst>
                  <a:gd name="T0" fmla="*/ 17 w 121"/>
                  <a:gd name="T1" fmla="*/ 121 h 121"/>
                  <a:gd name="T2" fmla="*/ 0 w 121"/>
                  <a:gd name="T3" fmla="*/ 104 h 121"/>
                  <a:gd name="T4" fmla="*/ 104 w 121"/>
                  <a:gd name="T5" fmla="*/ 0 h 121"/>
                  <a:gd name="T6" fmla="*/ 121 w 121"/>
                  <a:gd name="T7" fmla="*/ 17 h 121"/>
                  <a:gd name="T8" fmla="*/ 17 w 121"/>
                  <a:gd name="T9" fmla="*/ 121 h 121"/>
                </a:gdLst>
                <a:ahLst/>
                <a:cxnLst>
                  <a:cxn ang="0">
                    <a:pos x="T0" y="T1"/>
                  </a:cxn>
                  <a:cxn ang="0">
                    <a:pos x="T2" y="T3"/>
                  </a:cxn>
                  <a:cxn ang="0">
                    <a:pos x="T4" y="T5"/>
                  </a:cxn>
                  <a:cxn ang="0">
                    <a:pos x="T6" y="T7"/>
                  </a:cxn>
                  <a:cxn ang="0">
                    <a:pos x="T8" y="T9"/>
                  </a:cxn>
                </a:cxnLst>
                <a:rect l="0" t="0" r="r" b="b"/>
                <a:pathLst>
                  <a:path w="121" h="121">
                    <a:moveTo>
                      <a:pt x="17" y="121"/>
                    </a:moveTo>
                    <a:lnTo>
                      <a:pt x="0" y="104"/>
                    </a:lnTo>
                    <a:lnTo>
                      <a:pt x="104" y="0"/>
                    </a:lnTo>
                    <a:lnTo>
                      <a:pt x="121" y="17"/>
                    </a:lnTo>
                    <a:lnTo>
                      <a:pt x="17" y="12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8" name="Freeform 149">
                <a:extLst>
                  <a:ext uri="{FF2B5EF4-FFF2-40B4-BE49-F238E27FC236}">
                    <a16:creationId xmlns:a16="http://schemas.microsoft.com/office/drawing/2014/main" id="{79ED5E57-E030-4AA9-9045-8352A3C706F0}"/>
                  </a:ext>
                </a:extLst>
              </p:cNvPr>
              <p:cNvSpPr>
                <a:spLocks/>
              </p:cNvSpPr>
              <p:nvPr/>
            </p:nvSpPr>
            <p:spPr bwMode="auto">
              <a:xfrm>
                <a:off x="3991887" y="4046792"/>
                <a:ext cx="29495" cy="29495"/>
              </a:xfrm>
              <a:custGeom>
                <a:avLst/>
                <a:gdLst>
                  <a:gd name="T0" fmla="*/ 18 w 63"/>
                  <a:gd name="T1" fmla="*/ 63 h 63"/>
                  <a:gd name="T2" fmla="*/ 0 w 63"/>
                  <a:gd name="T3" fmla="*/ 45 h 63"/>
                  <a:gd name="T4" fmla="*/ 45 w 63"/>
                  <a:gd name="T5" fmla="*/ 0 h 63"/>
                  <a:gd name="T6" fmla="*/ 63 w 63"/>
                  <a:gd name="T7" fmla="*/ 18 h 63"/>
                  <a:gd name="T8" fmla="*/ 18 w 63"/>
                  <a:gd name="T9" fmla="*/ 63 h 63"/>
                </a:gdLst>
                <a:ahLst/>
                <a:cxnLst>
                  <a:cxn ang="0">
                    <a:pos x="T0" y="T1"/>
                  </a:cxn>
                  <a:cxn ang="0">
                    <a:pos x="T2" y="T3"/>
                  </a:cxn>
                  <a:cxn ang="0">
                    <a:pos x="T4" y="T5"/>
                  </a:cxn>
                  <a:cxn ang="0">
                    <a:pos x="T6" y="T7"/>
                  </a:cxn>
                  <a:cxn ang="0">
                    <a:pos x="T8" y="T9"/>
                  </a:cxn>
                </a:cxnLst>
                <a:rect l="0" t="0" r="r" b="b"/>
                <a:pathLst>
                  <a:path w="63" h="63">
                    <a:moveTo>
                      <a:pt x="18" y="63"/>
                    </a:moveTo>
                    <a:lnTo>
                      <a:pt x="0" y="45"/>
                    </a:lnTo>
                    <a:lnTo>
                      <a:pt x="45" y="0"/>
                    </a:lnTo>
                    <a:lnTo>
                      <a:pt x="63" y="18"/>
                    </a:lnTo>
                    <a:lnTo>
                      <a:pt x="18" y="6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9" name="Freeform 150">
                <a:extLst>
                  <a:ext uri="{FF2B5EF4-FFF2-40B4-BE49-F238E27FC236}">
                    <a16:creationId xmlns:a16="http://schemas.microsoft.com/office/drawing/2014/main" id="{72033CE4-D525-455B-A751-9DFBD361B86D}"/>
                  </a:ext>
                </a:extLst>
              </p:cNvPr>
              <p:cNvSpPr>
                <a:spLocks/>
              </p:cNvSpPr>
              <p:nvPr/>
            </p:nvSpPr>
            <p:spPr bwMode="auto">
              <a:xfrm>
                <a:off x="4060708" y="4112805"/>
                <a:ext cx="29495" cy="29027"/>
              </a:xfrm>
              <a:custGeom>
                <a:avLst/>
                <a:gdLst>
                  <a:gd name="T0" fmla="*/ 17 w 63"/>
                  <a:gd name="T1" fmla="*/ 62 h 62"/>
                  <a:gd name="T2" fmla="*/ 0 w 63"/>
                  <a:gd name="T3" fmla="*/ 45 h 62"/>
                  <a:gd name="T4" fmla="*/ 45 w 63"/>
                  <a:gd name="T5" fmla="*/ 0 h 62"/>
                  <a:gd name="T6" fmla="*/ 63 w 63"/>
                  <a:gd name="T7" fmla="*/ 18 h 62"/>
                  <a:gd name="T8" fmla="*/ 17 w 63"/>
                  <a:gd name="T9" fmla="*/ 62 h 62"/>
                </a:gdLst>
                <a:ahLst/>
                <a:cxnLst>
                  <a:cxn ang="0">
                    <a:pos x="T0" y="T1"/>
                  </a:cxn>
                  <a:cxn ang="0">
                    <a:pos x="T2" y="T3"/>
                  </a:cxn>
                  <a:cxn ang="0">
                    <a:pos x="T4" y="T5"/>
                  </a:cxn>
                  <a:cxn ang="0">
                    <a:pos x="T6" y="T7"/>
                  </a:cxn>
                  <a:cxn ang="0">
                    <a:pos x="T8" y="T9"/>
                  </a:cxn>
                </a:cxnLst>
                <a:rect l="0" t="0" r="r" b="b"/>
                <a:pathLst>
                  <a:path w="63" h="62">
                    <a:moveTo>
                      <a:pt x="17" y="62"/>
                    </a:moveTo>
                    <a:lnTo>
                      <a:pt x="0" y="45"/>
                    </a:lnTo>
                    <a:lnTo>
                      <a:pt x="45" y="0"/>
                    </a:lnTo>
                    <a:lnTo>
                      <a:pt x="63" y="18"/>
                    </a:lnTo>
                    <a:lnTo>
                      <a:pt x="17" y="6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0" name="Freeform 151">
                <a:extLst>
                  <a:ext uri="{FF2B5EF4-FFF2-40B4-BE49-F238E27FC236}">
                    <a16:creationId xmlns:a16="http://schemas.microsoft.com/office/drawing/2014/main" id="{9B4B5080-95C6-4E99-85EC-FC2E2B545A19}"/>
                  </a:ext>
                </a:extLst>
              </p:cNvPr>
              <p:cNvSpPr>
                <a:spLocks/>
              </p:cNvSpPr>
              <p:nvPr/>
            </p:nvSpPr>
            <p:spPr bwMode="auto">
              <a:xfrm>
                <a:off x="4025127" y="4154004"/>
                <a:ext cx="66481" cy="66013"/>
              </a:xfrm>
              <a:custGeom>
                <a:avLst/>
                <a:gdLst>
                  <a:gd name="T0" fmla="*/ 18 w 142"/>
                  <a:gd name="T1" fmla="*/ 141 h 141"/>
                  <a:gd name="T2" fmla="*/ 0 w 142"/>
                  <a:gd name="T3" fmla="*/ 124 h 141"/>
                  <a:gd name="T4" fmla="*/ 124 w 142"/>
                  <a:gd name="T5" fmla="*/ 0 h 141"/>
                  <a:gd name="T6" fmla="*/ 142 w 142"/>
                  <a:gd name="T7" fmla="*/ 18 h 141"/>
                  <a:gd name="T8" fmla="*/ 18 w 142"/>
                  <a:gd name="T9" fmla="*/ 141 h 141"/>
                </a:gdLst>
                <a:ahLst/>
                <a:cxnLst>
                  <a:cxn ang="0">
                    <a:pos x="T0" y="T1"/>
                  </a:cxn>
                  <a:cxn ang="0">
                    <a:pos x="T2" y="T3"/>
                  </a:cxn>
                  <a:cxn ang="0">
                    <a:pos x="T4" y="T5"/>
                  </a:cxn>
                  <a:cxn ang="0">
                    <a:pos x="T6" y="T7"/>
                  </a:cxn>
                  <a:cxn ang="0">
                    <a:pos x="T8" y="T9"/>
                  </a:cxn>
                </a:cxnLst>
                <a:rect l="0" t="0" r="r" b="b"/>
                <a:pathLst>
                  <a:path w="142" h="141">
                    <a:moveTo>
                      <a:pt x="18" y="141"/>
                    </a:moveTo>
                    <a:lnTo>
                      <a:pt x="0" y="124"/>
                    </a:lnTo>
                    <a:lnTo>
                      <a:pt x="124" y="0"/>
                    </a:lnTo>
                    <a:lnTo>
                      <a:pt x="142" y="18"/>
                    </a:lnTo>
                    <a:lnTo>
                      <a:pt x="18" y="14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1" name="Freeform 152">
                <a:extLst>
                  <a:ext uri="{FF2B5EF4-FFF2-40B4-BE49-F238E27FC236}">
                    <a16:creationId xmlns:a16="http://schemas.microsoft.com/office/drawing/2014/main" id="{6A2210BE-3CF8-4D8B-9E93-F06C24238CF1}"/>
                  </a:ext>
                </a:extLst>
              </p:cNvPr>
              <p:cNvSpPr>
                <a:spLocks/>
              </p:cNvSpPr>
              <p:nvPr/>
            </p:nvSpPr>
            <p:spPr bwMode="auto">
              <a:xfrm>
                <a:off x="4015763" y="4245767"/>
                <a:ext cx="36050" cy="36050"/>
              </a:xfrm>
              <a:custGeom>
                <a:avLst/>
                <a:gdLst>
                  <a:gd name="T0" fmla="*/ 19 w 77"/>
                  <a:gd name="T1" fmla="*/ 77 h 77"/>
                  <a:gd name="T2" fmla="*/ 0 w 77"/>
                  <a:gd name="T3" fmla="*/ 59 h 77"/>
                  <a:gd name="T4" fmla="*/ 59 w 77"/>
                  <a:gd name="T5" fmla="*/ 0 h 77"/>
                  <a:gd name="T6" fmla="*/ 77 w 77"/>
                  <a:gd name="T7" fmla="*/ 18 h 77"/>
                  <a:gd name="T8" fmla="*/ 19 w 77"/>
                  <a:gd name="T9" fmla="*/ 77 h 77"/>
                </a:gdLst>
                <a:ahLst/>
                <a:cxnLst>
                  <a:cxn ang="0">
                    <a:pos x="T0" y="T1"/>
                  </a:cxn>
                  <a:cxn ang="0">
                    <a:pos x="T2" y="T3"/>
                  </a:cxn>
                  <a:cxn ang="0">
                    <a:pos x="T4" y="T5"/>
                  </a:cxn>
                  <a:cxn ang="0">
                    <a:pos x="T6" y="T7"/>
                  </a:cxn>
                  <a:cxn ang="0">
                    <a:pos x="T8" y="T9"/>
                  </a:cxn>
                </a:cxnLst>
                <a:rect l="0" t="0" r="r" b="b"/>
                <a:pathLst>
                  <a:path w="77" h="77">
                    <a:moveTo>
                      <a:pt x="19" y="77"/>
                    </a:moveTo>
                    <a:lnTo>
                      <a:pt x="0" y="59"/>
                    </a:lnTo>
                    <a:lnTo>
                      <a:pt x="59" y="0"/>
                    </a:lnTo>
                    <a:lnTo>
                      <a:pt x="77" y="18"/>
                    </a:lnTo>
                    <a:lnTo>
                      <a:pt x="19" y="7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2" name="Freeform 153">
                <a:extLst>
                  <a:ext uri="{FF2B5EF4-FFF2-40B4-BE49-F238E27FC236}">
                    <a16:creationId xmlns:a16="http://schemas.microsoft.com/office/drawing/2014/main" id="{5ADEDB46-826F-4CC4-93CC-E9540AA21284}"/>
                  </a:ext>
                </a:extLst>
              </p:cNvPr>
              <p:cNvSpPr>
                <a:spLocks/>
              </p:cNvSpPr>
              <p:nvPr/>
            </p:nvSpPr>
            <p:spPr bwMode="auto">
              <a:xfrm>
                <a:off x="3929150" y="4064583"/>
                <a:ext cx="39795" cy="39327"/>
              </a:xfrm>
              <a:custGeom>
                <a:avLst/>
                <a:gdLst>
                  <a:gd name="T0" fmla="*/ 18 w 85"/>
                  <a:gd name="T1" fmla="*/ 84 h 84"/>
                  <a:gd name="T2" fmla="*/ 0 w 85"/>
                  <a:gd name="T3" fmla="*/ 67 h 84"/>
                  <a:gd name="T4" fmla="*/ 67 w 85"/>
                  <a:gd name="T5" fmla="*/ 0 h 84"/>
                  <a:gd name="T6" fmla="*/ 85 w 85"/>
                  <a:gd name="T7" fmla="*/ 18 h 84"/>
                  <a:gd name="T8" fmla="*/ 18 w 85"/>
                  <a:gd name="T9" fmla="*/ 84 h 84"/>
                </a:gdLst>
                <a:ahLst/>
                <a:cxnLst>
                  <a:cxn ang="0">
                    <a:pos x="T0" y="T1"/>
                  </a:cxn>
                  <a:cxn ang="0">
                    <a:pos x="T2" y="T3"/>
                  </a:cxn>
                  <a:cxn ang="0">
                    <a:pos x="T4" y="T5"/>
                  </a:cxn>
                  <a:cxn ang="0">
                    <a:pos x="T6" y="T7"/>
                  </a:cxn>
                  <a:cxn ang="0">
                    <a:pos x="T8" y="T9"/>
                  </a:cxn>
                </a:cxnLst>
                <a:rect l="0" t="0" r="r" b="b"/>
                <a:pathLst>
                  <a:path w="85" h="84">
                    <a:moveTo>
                      <a:pt x="18" y="84"/>
                    </a:moveTo>
                    <a:lnTo>
                      <a:pt x="0" y="67"/>
                    </a:lnTo>
                    <a:lnTo>
                      <a:pt x="67" y="0"/>
                    </a:lnTo>
                    <a:lnTo>
                      <a:pt x="85" y="18"/>
                    </a:lnTo>
                    <a:lnTo>
                      <a:pt x="18" y="8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3" name="Freeform 154">
                <a:extLst>
                  <a:ext uri="{FF2B5EF4-FFF2-40B4-BE49-F238E27FC236}">
                    <a16:creationId xmlns:a16="http://schemas.microsoft.com/office/drawing/2014/main" id="{9F634C29-8EB5-4413-8B56-1E3CB2F58D76}"/>
                  </a:ext>
                </a:extLst>
              </p:cNvPr>
              <p:cNvSpPr>
                <a:spLocks/>
              </p:cNvSpPr>
              <p:nvPr/>
            </p:nvSpPr>
            <p:spPr bwMode="auto">
              <a:xfrm>
                <a:off x="4016700" y="4071605"/>
                <a:ext cx="60395" cy="60395"/>
              </a:xfrm>
              <a:custGeom>
                <a:avLst/>
                <a:gdLst>
                  <a:gd name="T0" fmla="*/ 18 w 129"/>
                  <a:gd name="T1" fmla="*/ 129 h 129"/>
                  <a:gd name="T2" fmla="*/ 0 w 129"/>
                  <a:gd name="T3" fmla="*/ 111 h 129"/>
                  <a:gd name="T4" fmla="*/ 111 w 129"/>
                  <a:gd name="T5" fmla="*/ 0 h 129"/>
                  <a:gd name="T6" fmla="*/ 129 w 129"/>
                  <a:gd name="T7" fmla="*/ 17 h 129"/>
                  <a:gd name="T8" fmla="*/ 18 w 129"/>
                  <a:gd name="T9" fmla="*/ 129 h 129"/>
                </a:gdLst>
                <a:ahLst/>
                <a:cxnLst>
                  <a:cxn ang="0">
                    <a:pos x="T0" y="T1"/>
                  </a:cxn>
                  <a:cxn ang="0">
                    <a:pos x="T2" y="T3"/>
                  </a:cxn>
                  <a:cxn ang="0">
                    <a:pos x="T4" y="T5"/>
                  </a:cxn>
                  <a:cxn ang="0">
                    <a:pos x="T6" y="T7"/>
                  </a:cxn>
                  <a:cxn ang="0">
                    <a:pos x="T8" y="T9"/>
                  </a:cxn>
                </a:cxnLst>
                <a:rect l="0" t="0" r="r" b="b"/>
                <a:pathLst>
                  <a:path w="129" h="129">
                    <a:moveTo>
                      <a:pt x="18" y="129"/>
                    </a:moveTo>
                    <a:lnTo>
                      <a:pt x="0" y="111"/>
                    </a:lnTo>
                    <a:lnTo>
                      <a:pt x="111" y="0"/>
                    </a:lnTo>
                    <a:lnTo>
                      <a:pt x="129" y="17"/>
                    </a:lnTo>
                    <a:lnTo>
                      <a:pt x="18" y="12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71" name="Group 170">
              <a:extLst>
                <a:ext uri="{FF2B5EF4-FFF2-40B4-BE49-F238E27FC236}">
                  <a16:creationId xmlns:a16="http://schemas.microsoft.com/office/drawing/2014/main" id="{5028F412-1C89-49B3-BCEC-9A2929EA6B00}"/>
                </a:ext>
              </a:extLst>
            </p:cNvPr>
            <p:cNvGrpSpPr/>
            <p:nvPr/>
          </p:nvGrpSpPr>
          <p:grpSpPr>
            <a:xfrm>
              <a:off x="3797592" y="4211590"/>
              <a:ext cx="148881" cy="153094"/>
              <a:chOff x="3797592" y="4211590"/>
              <a:chExt cx="148881" cy="153094"/>
            </a:xfrm>
          </p:grpSpPr>
          <p:sp>
            <p:nvSpPr>
              <p:cNvPr id="172" name="Freeform 155">
                <a:extLst>
                  <a:ext uri="{FF2B5EF4-FFF2-40B4-BE49-F238E27FC236}">
                    <a16:creationId xmlns:a16="http://schemas.microsoft.com/office/drawing/2014/main" id="{AD3CBE28-D78A-4649-9E48-378B51AA2E73}"/>
                  </a:ext>
                </a:extLst>
              </p:cNvPr>
              <p:cNvSpPr>
                <a:spLocks noEditPoints="1"/>
              </p:cNvSpPr>
              <p:nvPr/>
            </p:nvSpPr>
            <p:spPr bwMode="auto">
              <a:xfrm>
                <a:off x="3797592" y="4211590"/>
                <a:ext cx="148881" cy="153094"/>
              </a:xfrm>
              <a:custGeom>
                <a:avLst/>
                <a:gdLst>
                  <a:gd name="T0" fmla="*/ 242 w 342"/>
                  <a:gd name="T1" fmla="*/ 352 h 352"/>
                  <a:gd name="T2" fmla="*/ 204 w 342"/>
                  <a:gd name="T3" fmla="*/ 337 h 352"/>
                  <a:gd name="T4" fmla="*/ 201 w 342"/>
                  <a:gd name="T5" fmla="*/ 333 h 352"/>
                  <a:gd name="T6" fmla="*/ 69 w 342"/>
                  <a:gd name="T7" fmla="*/ 291 h 352"/>
                  <a:gd name="T8" fmla="*/ 25 w 342"/>
                  <a:gd name="T9" fmla="*/ 177 h 352"/>
                  <a:gd name="T10" fmla="*/ 21 w 342"/>
                  <a:gd name="T11" fmla="*/ 174 h 352"/>
                  <a:gd name="T12" fmla="*/ 21 w 342"/>
                  <a:gd name="T13" fmla="*/ 96 h 352"/>
                  <a:gd name="T14" fmla="*/ 65 w 342"/>
                  <a:gd name="T15" fmla="*/ 81 h 352"/>
                  <a:gd name="T16" fmla="*/ 69 w 342"/>
                  <a:gd name="T17" fmla="*/ 77 h 352"/>
                  <a:gd name="T18" fmla="*/ 136 w 342"/>
                  <a:gd name="T19" fmla="*/ 38 h 352"/>
                  <a:gd name="T20" fmla="*/ 147 w 342"/>
                  <a:gd name="T21" fmla="*/ 16 h 352"/>
                  <a:gd name="T22" fmla="*/ 206 w 342"/>
                  <a:gd name="T23" fmla="*/ 16 h 352"/>
                  <a:gd name="T24" fmla="*/ 217 w 342"/>
                  <a:gd name="T25" fmla="*/ 38 h 352"/>
                  <a:gd name="T26" fmla="*/ 283 w 342"/>
                  <a:gd name="T27" fmla="*/ 77 h 352"/>
                  <a:gd name="T28" fmla="*/ 292 w 342"/>
                  <a:gd name="T29" fmla="*/ 282 h 352"/>
                  <a:gd name="T30" fmla="*/ 279 w 342"/>
                  <a:gd name="T31" fmla="*/ 337 h 352"/>
                  <a:gd name="T32" fmla="*/ 242 w 342"/>
                  <a:gd name="T33" fmla="*/ 352 h 352"/>
                  <a:gd name="T34" fmla="*/ 207 w 342"/>
                  <a:gd name="T35" fmla="*/ 305 h 352"/>
                  <a:gd name="T36" fmla="*/ 219 w 342"/>
                  <a:gd name="T37" fmla="*/ 312 h 352"/>
                  <a:gd name="T38" fmla="*/ 223 w 342"/>
                  <a:gd name="T39" fmla="*/ 317 h 352"/>
                  <a:gd name="T40" fmla="*/ 260 w 342"/>
                  <a:gd name="T41" fmla="*/ 317 h 352"/>
                  <a:gd name="T42" fmla="*/ 264 w 342"/>
                  <a:gd name="T43" fmla="*/ 286 h 352"/>
                  <a:gd name="T44" fmla="*/ 266 w 342"/>
                  <a:gd name="T45" fmla="*/ 270 h 352"/>
                  <a:gd name="T46" fmla="*/ 264 w 342"/>
                  <a:gd name="T47" fmla="*/ 96 h 352"/>
                  <a:gd name="T48" fmla="*/ 202 w 342"/>
                  <a:gd name="T49" fmla="*/ 62 h 352"/>
                  <a:gd name="T50" fmla="*/ 191 w 342"/>
                  <a:gd name="T51" fmla="*/ 47 h 352"/>
                  <a:gd name="T52" fmla="*/ 187 w 342"/>
                  <a:gd name="T53" fmla="*/ 36 h 352"/>
                  <a:gd name="T54" fmla="*/ 167 w 342"/>
                  <a:gd name="T55" fmla="*/ 36 h 352"/>
                  <a:gd name="T56" fmla="*/ 163 w 342"/>
                  <a:gd name="T57" fmla="*/ 47 h 352"/>
                  <a:gd name="T58" fmla="*/ 152 w 342"/>
                  <a:gd name="T59" fmla="*/ 62 h 352"/>
                  <a:gd name="T60" fmla="*/ 88 w 342"/>
                  <a:gd name="T61" fmla="*/ 96 h 352"/>
                  <a:gd name="T62" fmla="*/ 81 w 342"/>
                  <a:gd name="T63" fmla="*/ 104 h 352"/>
                  <a:gd name="T64" fmla="*/ 67 w 342"/>
                  <a:gd name="T65" fmla="*/ 108 h 352"/>
                  <a:gd name="T66" fmla="*/ 40 w 342"/>
                  <a:gd name="T67" fmla="*/ 116 h 352"/>
                  <a:gd name="T68" fmla="*/ 40 w 342"/>
                  <a:gd name="T69" fmla="*/ 155 h 352"/>
                  <a:gd name="T70" fmla="*/ 46 w 342"/>
                  <a:gd name="T71" fmla="*/ 159 h 352"/>
                  <a:gd name="T72" fmla="*/ 52 w 342"/>
                  <a:gd name="T73" fmla="*/ 172 h 352"/>
                  <a:gd name="T74" fmla="*/ 88 w 342"/>
                  <a:gd name="T75" fmla="*/ 272 h 352"/>
                  <a:gd name="T76" fmla="*/ 204 w 342"/>
                  <a:gd name="T77" fmla="*/ 305 h 352"/>
                  <a:gd name="T78" fmla="*/ 207 w 342"/>
                  <a:gd name="T79" fmla="*/ 305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2" h="352">
                    <a:moveTo>
                      <a:pt x="242" y="352"/>
                    </a:moveTo>
                    <a:cubicBezTo>
                      <a:pt x="228" y="352"/>
                      <a:pt x="215" y="347"/>
                      <a:pt x="204" y="337"/>
                    </a:cubicBezTo>
                    <a:cubicBezTo>
                      <a:pt x="203" y="336"/>
                      <a:pt x="202" y="334"/>
                      <a:pt x="201" y="333"/>
                    </a:cubicBezTo>
                    <a:cubicBezTo>
                      <a:pt x="153" y="341"/>
                      <a:pt x="104" y="326"/>
                      <a:pt x="69" y="291"/>
                    </a:cubicBezTo>
                    <a:cubicBezTo>
                      <a:pt x="39" y="261"/>
                      <a:pt x="23" y="220"/>
                      <a:pt x="25" y="177"/>
                    </a:cubicBezTo>
                    <a:cubicBezTo>
                      <a:pt x="24" y="176"/>
                      <a:pt x="22" y="175"/>
                      <a:pt x="21" y="174"/>
                    </a:cubicBezTo>
                    <a:cubicBezTo>
                      <a:pt x="0" y="153"/>
                      <a:pt x="0" y="118"/>
                      <a:pt x="21" y="96"/>
                    </a:cubicBezTo>
                    <a:cubicBezTo>
                      <a:pt x="33" y="85"/>
                      <a:pt x="49" y="79"/>
                      <a:pt x="65" y="81"/>
                    </a:cubicBezTo>
                    <a:cubicBezTo>
                      <a:pt x="67" y="79"/>
                      <a:pt x="68" y="78"/>
                      <a:pt x="69" y="77"/>
                    </a:cubicBezTo>
                    <a:cubicBezTo>
                      <a:pt x="88" y="58"/>
                      <a:pt x="111" y="45"/>
                      <a:pt x="136" y="38"/>
                    </a:cubicBezTo>
                    <a:cubicBezTo>
                      <a:pt x="138" y="30"/>
                      <a:pt x="142" y="22"/>
                      <a:pt x="147" y="16"/>
                    </a:cubicBezTo>
                    <a:cubicBezTo>
                      <a:pt x="164" y="0"/>
                      <a:pt x="190" y="0"/>
                      <a:pt x="206" y="16"/>
                    </a:cubicBezTo>
                    <a:cubicBezTo>
                      <a:pt x="212" y="22"/>
                      <a:pt x="216" y="30"/>
                      <a:pt x="217" y="38"/>
                    </a:cubicBezTo>
                    <a:cubicBezTo>
                      <a:pt x="242" y="45"/>
                      <a:pt x="265" y="58"/>
                      <a:pt x="283" y="77"/>
                    </a:cubicBezTo>
                    <a:cubicBezTo>
                      <a:pt x="339" y="132"/>
                      <a:pt x="342" y="223"/>
                      <a:pt x="292" y="282"/>
                    </a:cubicBezTo>
                    <a:cubicBezTo>
                      <a:pt x="298" y="301"/>
                      <a:pt x="294" y="322"/>
                      <a:pt x="279" y="337"/>
                    </a:cubicBezTo>
                    <a:cubicBezTo>
                      <a:pt x="269" y="347"/>
                      <a:pt x="255" y="352"/>
                      <a:pt x="242" y="352"/>
                    </a:cubicBezTo>
                    <a:close/>
                    <a:moveTo>
                      <a:pt x="207" y="305"/>
                    </a:moveTo>
                    <a:cubicBezTo>
                      <a:pt x="212" y="305"/>
                      <a:pt x="217" y="307"/>
                      <a:pt x="219" y="312"/>
                    </a:cubicBezTo>
                    <a:cubicBezTo>
                      <a:pt x="220" y="314"/>
                      <a:pt x="222" y="316"/>
                      <a:pt x="223" y="317"/>
                    </a:cubicBezTo>
                    <a:cubicBezTo>
                      <a:pt x="233" y="328"/>
                      <a:pt x="250" y="328"/>
                      <a:pt x="260" y="317"/>
                    </a:cubicBezTo>
                    <a:cubicBezTo>
                      <a:pt x="268" y="309"/>
                      <a:pt x="270" y="296"/>
                      <a:pt x="264" y="286"/>
                    </a:cubicBezTo>
                    <a:cubicBezTo>
                      <a:pt x="261" y="281"/>
                      <a:pt x="262" y="274"/>
                      <a:pt x="266" y="270"/>
                    </a:cubicBezTo>
                    <a:cubicBezTo>
                      <a:pt x="312" y="222"/>
                      <a:pt x="312" y="143"/>
                      <a:pt x="264" y="96"/>
                    </a:cubicBezTo>
                    <a:cubicBezTo>
                      <a:pt x="247" y="79"/>
                      <a:pt x="225" y="67"/>
                      <a:pt x="202" y="62"/>
                    </a:cubicBezTo>
                    <a:cubicBezTo>
                      <a:pt x="195" y="61"/>
                      <a:pt x="190" y="54"/>
                      <a:pt x="191" y="47"/>
                    </a:cubicBezTo>
                    <a:cubicBezTo>
                      <a:pt x="191" y="43"/>
                      <a:pt x="190" y="39"/>
                      <a:pt x="187" y="36"/>
                    </a:cubicBezTo>
                    <a:cubicBezTo>
                      <a:pt x="181" y="30"/>
                      <a:pt x="172" y="30"/>
                      <a:pt x="167" y="36"/>
                    </a:cubicBezTo>
                    <a:cubicBezTo>
                      <a:pt x="163" y="40"/>
                      <a:pt x="162" y="45"/>
                      <a:pt x="163" y="47"/>
                    </a:cubicBezTo>
                    <a:cubicBezTo>
                      <a:pt x="163" y="54"/>
                      <a:pt x="159" y="60"/>
                      <a:pt x="152" y="62"/>
                    </a:cubicBezTo>
                    <a:cubicBezTo>
                      <a:pt x="128" y="67"/>
                      <a:pt x="106" y="78"/>
                      <a:pt x="88" y="96"/>
                    </a:cubicBezTo>
                    <a:cubicBezTo>
                      <a:pt x="86" y="98"/>
                      <a:pt x="84" y="101"/>
                      <a:pt x="81" y="104"/>
                    </a:cubicBezTo>
                    <a:cubicBezTo>
                      <a:pt x="77" y="108"/>
                      <a:pt x="72" y="110"/>
                      <a:pt x="67" y="108"/>
                    </a:cubicBezTo>
                    <a:cubicBezTo>
                      <a:pt x="58" y="106"/>
                      <a:pt x="47" y="109"/>
                      <a:pt x="40" y="116"/>
                    </a:cubicBezTo>
                    <a:cubicBezTo>
                      <a:pt x="30" y="126"/>
                      <a:pt x="30" y="144"/>
                      <a:pt x="40" y="155"/>
                    </a:cubicBezTo>
                    <a:cubicBezTo>
                      <a:pt x="42" y="156"/>
                      <a:pt x="44" y="158"/>
                      <a:pt x="46" y="159"/>
                    </a:cubicBezTo>
                    <a:cubicBezTo>
                      <a:pt x="50" y="162"/>
                      <a:pt x="53" y="167"/>
                      <a:pt x="52" y="172"/>
                    </a:cubicBezTo>
                    <a:cubicBezTo>
                      <a:pt x="49" y="209"/>
                      <a:pt x="62" y="245"/>
                      <a:pt x="88" y="272"/>
                    </a:cubicBezTo>
                    <a:cubicBezTo>
                      <a:pt x="119" y="302"/>
                      <a:pt x="162" y="315"/>
                      <a:pt x="204" y="305"/>
                    </a:cubicBezTo>
                    <a:cubicBezTo>
                      <a:pt x="205" y="305"/>
                      <a:pt x="206" y="305"/>
                      <a:pt x="207" y="30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3" name="Freeform 156">
                <a:extLst>
                  <a:ext uri="{FF2B5EF4-FFF2-40B4-BE49-F238E27FC236}">
                    <a16:creationId xmlns:a16="http://schemas.microsoft.com/office/drawing/2014/main" id="{9A3C344A-B0CB-4F54-8A9E-E22C4B9B414E}"/>
                  </a:ext>
                </a:extLst>
              </p:cNvPr>
              <p:cNvSpPr>
                <a:spLocks noEditPoints="1"/>
              </p:cNvSpPr>
              <p:nvPr/>
            </p:nvSpPr>
            <p:spPr bwMode="auto">
              <a:xfrm>
                <a:off x="3869692" y="4260749"/>
                <a:ext cx="40263" cy="39795"/>
              </a:xfrm>
              <a:custGeom>
                <a:avLst/>
                <a:gdLst>
                  <a:gd name="T0" fmla="*/ 48 w 92"/>
                  <a:gd name="T1" fmla="*/ 92 h 92"/>
                  <a:gd name="T2" fmla="*/ 17 w 92"/>
                  <a:gd name="T3" fmla="*/ 79 h 92"/>
                  <a:gd name="T4" fmla="*/ 17 w 92"/>
                  <a:gd name="T5" fmla="*/ 17 h 92"/>
                  <a:gd name="T6" fmla="*/ 79 w 92"/>
                  <a:gd name="T7" fmla="*/ 17 h 92"/>
                  <a:gd name="T8" fmla="*/ 92 w 92"/>
                  <a:gd name="T9" fmla="*/ 48 h 92"/>
                  <a:gd name="T10" fmla="*/ 79 w 92"/>
                  <a:gd name="T11" fmla="*/ 79 h 92"/>
                  <a:gd name="T12" fmla="*/ 79 w 92"/>
                  <a:gd name="T13" fmla="*/ 79 h 92"/>
                  <a:gd name="T14" fmla="*/ 79 w 92"/>
                  <a:gd name="T15" fmla="*/ 79 h 92"/>
                  <a:gd name="T16" fmla="*/ 79 w 92"/>
                  <a:gd name="T17" fmla="*/ 79 h 92"/>
                  <a:gd name="T18" fmla="*/ 48 w 92"/>
                  <a:gd name="T19" fmla="*/ 92 h 92"/>
                  <a:gd name="T20" fmla="*/ 48 w 92"/>
                  <a:gd name="T21" fmla="*/ 32 h 92"/>
                  <a:gd name="T22" fmla="*/ 36 w 92"/>
                  <a:gd name="T23" fmla="*/ 37 h 92"/>
                  <a:gd name="T24" fmla="*/ 36 w 92"/>
                  <a:gd name="T25" fmla="*/ 60 h 92"/>
                  <a:gd name="T26" fmla="*/ 60 w 92"/>
                  <a:gd name="T27" fmla="*/ 60 h 92"/>
                  <a:gd name="T28" fmla="*/ 60 w 92"/>
                  <a:gd name="T29" fmla="*/ 60 h 92"/>
                  <a:gd name="T30" fmla="*/ 64 w 92"/>
                  <a:gd name="T31" fmla="*/ 48 h 92"/>
                  <a:gd name="T32" fmla="*/ 60 w 92"/>
                  <a:gd name="T33" fmla="*/ 37 h 92"/>
                  <a:gd name="T34" fmla="*/ 48 w 92"/>
                  <a:gd name="T35" fmla="*/ 3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2" h="92">
                    <a:moveTo>
                      <a:pt x="48" y="92"/>
                    </a:moveTo>
                    <a:cubicBezTo>
                      <a:pt x="36" y="92"/>
                      <a:pt x="25" y="87"/>
                      <a:pt x="17" y="79"/>
                    </a:cubicBezTo>
                    <a:cubicBezTo>
                      <a:pt x="0" y="62"/>
                      <a:pt x="0" y="34"/>
                      <a:pt x="17" y="17"/>
                    </a:cubicBezTo>
                    <a:cubicBezTo>
                      <a:pt x="34" y="0"/>
                      <a:pt x="62" y="0"/>
                      <a:pt x="79" y="17"/>
                    </a:cubicBezTo>
                    <a:cubicBezTo>
                      <a:pt x="87" y="26"/>
                      <a:pt x="92" y="37"/>
                      <a:pt x="92" y="48"/>
                    </a:cubicBezTo>
                    <a:cubicBezTo>
                      <a:pt x="92" y="60"/>
                      <a:pt x="87" y="71"/>
                      <a:pt x="79" y="79"/>
                    </a:cubicBezTo>
                    <a:cubicBezTo>
                      <a:pt x="79" y="79"/>
                      <a:pt x="79" y="79"/>
                      <a:pt x="79" y="79"/>
                    </a:cubicBezTo>
                    <a:cubicBezTo>
                      <a:pt x="79" y="79"/>
                      <a:pt x="79" y="79"/>
                      <a:pt x="79" y="79"/>
                    </a:cubicBezTo>
                    <a:cubicBezTo>
                      <a:pt x="79" y="79"/>
                      <a:pt x="79" y="79"/>
                      <a:pt x="79" y="79"/>
                    </a:cubicBezTo>
                    <a:cubicBezTo>
                      <a:pt x="71" y="87"/>
                      <a:pt x="60" y="92"/>
                      <a:pt x="48" y="92"/>
                    </a:cubicBezTo>
                    <a:close/>
                    <a:moveTo>
                      <a:pt x="48" y="32"/>
                    </a:moveTo>
                    <a:cubicBezTo>
                      <a:pt x="44" y="32"/>
                      <a:pt x="40" y="33"/>
                      <a:pt x="36" y="37"/>
                    </a:cubicBezTo>
                    <a:cubicBezTo>
                      <a:pt x="30" y="43"/>
                      <a:pt x="30" y="53"/>
                      <a:pt x="36" y="60"/>
                    </a:cubicBezTo>
                    <a:cubicBezTo>
                      <a:pt x="43" y="66"/>
                      <a:pt x="53" y="66"/>
                      <a:pt x="60" y="60"/>
                    </a:cubicBezTo>
                    <a:cubicBezTo>
                      <a:pt x="60" y="60"/>
                      <a:pt x="60" y="60"/>
                      <a:pt x="60" y="60"/>
                    </a:cubicBezTo>
                    <a:cubicBezTo>
                      <a:pt x="63" y="57"/>
                      <a:pt x="64" y="53"/>
                      <a:pt x="64" y="48"/>
                    </a:cubicBezTo>
                    <a:cubicBezTo>
                      <a:pt x="64" y="44"/>
                      <a:pt x="63" y="40"/>
                      <a:pt x="60" y="37"/>
                    </a:cubicBezTo>
                    <a:cubicBezTo>
                      <a:pt x="56" y="33"/>
                      <a:pt x="52" y="32"/>
                      <a:pt x="48" y="3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4" name="Freeform 157">
                <a:extLst>
                  <a:ext uri="{FF2B5EF4-FFF2-40B4-BE49-F238E27FC236}">
                    <a16:creationId xmlns:a16="http://schemas.microsoft.com/office/drawing/2014/main" id="{23F239F9-1359-4670-A97C-2DF18C26BE85}"/>
                  </a:ext>
                </a:extLst>
              </p:cNvPr>
              <p:cNvSpPr>
                <a:spLocks noEditPoints="1"/>
              </p:cNvSpPr>
              <p:nvPr/>
            </p:nvSpPr>
            <p:spPr bwMode="auto">
              <a:xfrm>
                <a:off x="3828492" y="4271517"/>
                <a:ext cx="30432" cy="31836"/>
              </a:xfrm>
              <a:custGeom>
                <a:avLst/>
                <a:gdLst>
                  <a:gd name="T0" fmla="*/ 35 w 70"/>
                  <a:gd name="T1" fmla="*/ 73 h 73"/>
                  <a:gd name="T2" fmla="*/ 11 w 70"/>
                  <a:gd name="T3" fmla="*/ 63 h 73"/>
                  <a:gd name="T4" fmla="*/ 0 w 70"/>
                  <a:gd name="T5" fmla="*/ 38 h 73"/>
                  <a:gd name="T6" fmla="*/ 11 w 70"/>
                  <a:gd name="T7" fmla="*/ 13 h 73"/>
                  <a:gd name="T8" fmla="*/ 60 w 70"/>
                  <a:gd name="T9" fmla="*/ 13 h 73"/>
                  <a:gd name="T10" fmla="*/ 70 w 70"/>
                  <a:gd name="T11" fmla="*/ 38 h 73"/>
                  <a:gd name="T12" fmla="*/ 60 w 70"/>
                  <a:gd name="T13" fmla="*/ 63 h 73"/>
                  <a:gd name="T14" fmla="*/ 60 w 70"/>
                  <a:gd name="T15" fmla="*/ 63 h 73"/>
                  <a:gd name="T16" fmla="*/ 35 w 70"/>
                  <a:gd name="T17" fmla="*/ 73 h 73"/>
                  <a:gd name="T18" fmla="*/ 35 w 70"/>
                  <a:gd name="T19" fmla="*/ 30 h 73"/>
                  <a:gd name="T20" fmla="*/ 30 w 70"/>
                  <a:gd name="T21" fmla="*/ 32 h 73"/>
                  <a:gd name="T22" fmla="*/ 27 w 70"/>
                  <a:gd name="T23" fmla="*/ 38 h 73"/>
                  <a:gd name="T24" fmla="*/ 30 w 70"/>
                  <a:gd name="T25" fmla="*/ 44 h 73"/>
                  <a:gd name="T26" fmla="*/ 41 w 70"/>
                  <a:gd name="T27" fmla="*/ 44 h 73"/>
                  <a:gd name="T28" fmla="*/ 43 w 70"/>
                  <a:gd name="T29" fmla="*/ 38 h 73"/>
                  <a:gd name="T30" fmla="*/ 41 w 70"/>
                  <a:gd name="T31" fmla="*/ 32 h 73"/>
                  <a:gd name="T32" fmla="*/ 35 w 70"/>
                  <a:gd name="T33" fmla="*/ 30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73">
                    <a:moveTo>
                      <a:pt x="35" y="73"/>
                    </a:moveTo>
                    <a:cubicBezTo>
                      <a:pt x="26" y="73"/>
                      <a:pt x="17" y="70"/>
                      <a:pt x="11" y="63"/>
                    </a:cubicBezTo>
                    <a:cubicBezTo>
                      <a:pt x="4" y="56"/>
                      <a:pt x="0" y="47"/>
                      <a:pt x="0" y="38"/>
                    </a:cubicBezTo>
                    <a:cubicBezTo>
                      <a:pt x="0" y="29"/>
                      <a:pt x="4" y="20"/>
                      <a:pt x="11" y="13"/>
                    </a:cubicBezTo>
                    <a:cubicBezTo>
                      <a:pt x="24" y="0"/>
                      <a:pt x="47" y="0"/>
                      <a:pt x="60" y="13"/>
                    </a:cubicBezTo>
                    <a:cubicBezTo>
                      <a:pt x="67" y="20"/>
                      <a:pt x="70" y="29"/>
                      <a:pt x="70" y="38"/>
                    </a:cubicBezTo>
                    <a:cubicBezTo>
                      <a:pt x="70" y="47"/>
                      <a:pt x="67" y="56"/>
                      <a:pt x="60" y="63"/>
                    </a:cubicBezTo>
                    <a:cubicBezTo>
                      <a:pt x="60" y="63"/>
                      <a:pt x="60" y="63"/>
                      <a:pt x="60" y="63"/>
                    </a:cubicBezTo>
                    <a:cubicBezTo>
                      <a:pt x="53" y="70"/>
                      <a:pt x="44" y="73"/>
                      <a:pt x="35" y="73"/>
                    </a:cubicBezTo>
                    <a:close/>
                    <a:moveTo>
                      <a:pt x="35" y="30"/>
                    </a:moveTo>
                    <a:cubicBezTo>
                      <a:pt x="33" y="30"/>
                      <a:pt x="31" y="31"/>
                      <a:pt x="30" y="32"/>
                    </a:cubicBezTo>
                    <a:cubicBezTo>
                      <a:pt x="28" y="34"/>
                      <a:pt x="27" y="36"/>
                      <a:pt x="27" y="38"/>
                    </a:cubicBezTo>
                    <a:cubicBezTo>
                      <a:pt x="27" y="40"/>
                      <a:pt x="28" y="42"/>
                      <a:pt x="30" y="44"/>
                    </a:cubicBezTo>
                    <a:cubicBezTo>
                      <a:pt x="33" y="47"/>
                      <a:pt x="38" y="47"/>
                      <a:pt x="41" y="44"/>
                    </a:cubicBezTo>
                    <a:cubicBezTo>
                      <a:pt x="42" y="42"/>
                      <a:pt x="43" y="40"/>
                      <a:pt x="43" y="38"/>
                    </a:cubicBezTo>
                    <a:cubicBezTo>
                      <a:pt x="43" y="36"/>
                      <a:pt x="42" y="34"/>
                      <a:pt x="41" y="32"/>
                    </a:cubicBezTo>
                    <a:cubicBezTo>
                      <a:pt x="39" y="31"/>
                      <a:pt x="37" y="30"/>
                      <a:pt x="35" y="3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84" name="Group 183">
            <a:extLst>
              <a:ext uri="{FF2B5EF4-FFF2-40B4-BE49-F238E27FC236}">
                <a16:creationId xmlns:a16="http://schemas.microsoft.com/office/drawing/2014/main" id="{F967F8A0-208C-4D20-9E26-6B53A4ED2AB3}"/>
              </a:ext>
            </a:extLst>
          </p:cNvPr>
          <p:cNvGrpSpPr/>
          <p:nvPr/>
        </p:nvGrpSpPr>
        <p:grpSpPr>
          <a:xfrm>
            <a:off x="6132295" y="4042345"/>
            <a:ext cx="252814" cy="352536"/>
            <a:chOff x="2758511" y="4042345"/>
            <a:chExt cx="252814" cy="352536"/>
          </a:xfrm>
        </p:grpSpPr>
        <p:grpSp>
          <p:nvGrpSpPr>
            <p:cNvPr id="185" name="Group 184">
              <a:extLst>
                <a:ext uri="{FF2B5EF4-FFF2-40B4-BE49-F238E27FC236}">
                  <a16:creationId xmlns:a16="http://schemas.microsoft.com/office/drawing/2014/main" id="{113CCFE6-AAE6-40E3-9470-58CBE4BAF565}"/>
                </a:ext>
              </a:extLst>
            </p:cNvPr>
            <p:cNvGrpSpPr/>
            <p:nvPr/>
          </p:nvGrpSpPr>
          <p:grpSpPr>
            <a:xfrm>
              <a:off x="2860105" y="4136448"/>
              <a:ext cx="134365" cy="126407"/>
              <a:chOff x="2860105" y="4136448"/>
              <a:chExt cx="134365" cy="126407"/>
            </a:xfrm>
          </p:grpSpPr>
          <p:sp>
            <p:nvSpPr>
              <p:cNvPr id="194" name="Freeform 213">
                <a:extLst>
                  <a:ext uri="{FF2B5EF4-FFF2-40B4-BE49-F238E27FC236}">
                    <a16:creationId xmlns:a16="http://schemas.microsoft.com/office/drawing/2014/main" id="{8BB9A3E1-6795-4DA5-9923-F05D844E602C}"/>
                  </a:ext>
                </a:extLst>
              </p:cNvPr>
              <p:cNvSpPr>
                <a:spLocks noEditPoints="1"/>
              </p:cNvSpPr>
              <p:nvPr/>
            </p:nvSpPr>
            <p:spPr bwMode="auto">
              <a:xfrm>
                <a:off x="2920499" y="4198715"/>
                <a:ext cx="73971" cy="64140"/>
              </a:xfrm>
              <a:custGeom>
                <a:avLst/>
                <a:gdLst>
                  <a:gd name="T0" fmla="*/ 64 w 171"/>
                  <a:gd name="T1" fmla="*/ 147 h 147"/>
                  <a:gd name="T2" fmla="*/ 54 w 171"/>
                  <a:gd name="T3" fmla="*/ 142 h 147"/>
                  <a:gd name="T4" fmla="*/ 5 w 171"/>
                  <a:gd name="T5" fmla="*/ 86 h 147"/>
                  <a:gd name="T6" fmla="*/ 4 w 171"/>
                  <a:gd name="T7" fmla="*/ 70 h 147"/>
                  <a:gd name="T8" fmla="*/ 46 w 171"/>
                  <a:gd name="T9" fmla="*/ 6 h 147"/>
                  <a:gd name="T10" fmla="*/ 57 w 171"/>
                  <a:gd name="T11" fmla="*/ 0 h 147"/>
                  <a:gd name="T12" fmla="*/ 158 w 171"/>
                  <a:gd name="T13" fmla="*/ 0 h 147"/>
                  <a:gd name="T14" fmla="*/ 158 w 171"/>
                  <a:gd name="T15" fmla="*/ 0 h 147"/>
                  <a:gd name="T16" fmla="*/ 167 w 171"/>
                  <a:gd name="T17" fmla="*/ 4 h 147"/>
                  <a:gd name="T18" fmla="*/ 171 w 171"/>
                  <a:gd name="T19" fmla="*/ 13 h 147"/>
                  <a:gd name="T20" fmla="*/ 171 w 171"/>
                  <a:gd name="T21" fmla="*/ 98 h 147"/>
                  <a:gd name="T22" fmla="*/ 162 w 171"/>
                  <a:gd name="T23" fmla="*/ 111 h 147"/>
                  <a:gd name="T24" fmla="*/ 69 w 171"/>
                  <a:gd name="T25" fmla="*/ 146 h 147"/>
                  <a:gd name="T26" fmla="*/ 64 w 171"/>
                  <a:gd name="T27" fmla="*/ 147 h 147"/>
                  <a:gd name="T28" fmla="*/ 32 w 171"/>
                  <a:gd name="T29" fmla="*/ 76 h 147"/>
                  <a:gd name="T30" fmla="*/ 68 w 171"/>
                  <a:gd name="T31" fmla="*/ 117 h 147"/>
                  <a:gd name="T32" fmla="*/ 144 w 171"/>
                  <a:gd name="T33" fmla="*/ 89 h 147"/>
                  <a:gd name="T34" fmla="*/ 144 w 171"/>
                  <a:gd name="T35" fmla="*/ 27 h 147"/>
                  <a:gd name="T36" fmla="*/ 64 w 171"/>
                  <a:gd name="T37" fmla="*/ 27 h 147"/>
                  <a:gd name="T38" fmla="*/ 32 w 171"/>
                  <a:gd name="T39" fmla="*/ 7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1" h="147">
                    <a:moveTo>
                      <a:pt x="64" y="147"/>
                    </a:moveTo>
                    <a:cubicBezTo>
                      <a:pt x="60" y="147"/>
                      <a:pt x="57" y="145"/>
                      <a:pt x="54" y="142"/>
                    </a:cubicBezTo>
                    <a:cubicBezTo>
                      <a:pt x="5" y="86"/>
                      <a:pt x="5" y="86"/>
                      <a:pt x="5" y="86"/>
                    </a:cubicBezTo>
                    <a:cubicBezTo>
                      <a:pt x="1" y="81"/>
                      <a:pt x="0" y="75"/>
                      <a:pt x="4" y="70"/>
                    </a:cubicBezTo>
                    <a:cubicBezTo>
                      <a:pt x="46" y="6"/>
                      <a:pt x="46" y="6"/>
                      <a:pt x="46" y="6"/>
                    </a:cubicBezTo>
                    <a:cubicBezTo>
                      <a:pt x="48" y="2"/>
                      <a:pt x="52" y="0"/>
                      <a:pt x="57" y="0"/>
                    </a:cubicBezTo>
                    <a:cubicBezTo>
                      <a:pt x="158" y="0"/>
                      <a:pt x="158" y="0"/>
                      <a:pt x="158" y="0"/>
                    </a:cubicBezTo>
                    <a:cubicBezTo>
                      <a:pt x="158" y="0"/>
                      <a:pt x="158" y="0"/>
                      <a:pt x="158" y="0"/>
                    </a:cubicBezTo>
                    <a:cubicBezTo>
                      <a:pt x="161" y="0"/>
                      <a:pt x="165" y="1"/>
                      <a:pt x="167" y="4"/>
                    </a:cubicBezTo>
                    <a:cubicBezTo>
                      <a:pt x="170" y="6"/>
                      <a:pt x="171" y="10"/>
                      <a:pt x="171" y="13"/>
                    </a:cubicBezTo>
                    <a:cubicBezTo>
                      <a:pt x="171" y="98"/>
                      <a:pt x="171" y="98"/>
                      <a:pt x="171" y="98"/>
                    </a:cubicBezTo>
                    <a:cubicBezTo>
                      <a:pt x="171" y="104"/>
                      <a:pt x="168" y="109"/>
                      <a:pt x="162" y="111"/>
                    </a:cubicBezTo>
                    <a:cubicBezTo>
                      <a:pt x="69" y="146"/>
                      <a:pt x="69" y="146"/>
                      <a:pt x="69" y="146"/>
                    </a:cubicBezTo>
                    <a:cubicBezTo>
                      <a:pt x="67" y="146"/>
                      <a:pt x="66" y="147"/>
                      <a:pt x="64" y="147"/>
                    </a:cubicBezTo>
                    <a:close/>
                    <a:moveTo>
                      <a:pt x="32" y="76"/>
                    </a:moveTo>
                    <a:cubicBezTo>
                      <a:pt x="68" y="117"/>
                      <a:pt x="68" y="117"/>
                      <a:pt x="68" y="117"/>
                    </a:cubicBezTo>
                    <a:cubicBezTo>
                      <a:pt x="144" y="89"/>
                      <a:pt x="144" y="89"/>
                      <a:pt x="144" y="89"/>
                    </a:cubicBezTo>
                    <a:cubicBezTo>
                      <a:pt x="144" y="27"/>
                      <a:pt x="144" y="27"/>
                      <a:pt x="144" y="27"/>
                    </a:cubicBezTo>
                    <a:cubicBezTo>
                      <a:pt x="64" y="27"/>
                      <a:pt x="64" y="27"/>
                      <a:pt x="64" y="27"/>
                    </a:cubicBezTo>
                    <a:lnTo>
                      <a:pt x="32" y="7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5" name="Freeform 214">
                <a:extLst>
                  <a:ext uri="{FF2B5EF4-FFF2-40B4-BE49-F238E27FC236}">
                    <a16:creationId xmlns:a16="http://schemas.microsoft.com/office/drawing/2014/main" id="{4B0C713C-A967-4BA2-B26E-213D1108AEED}"/>
                  </a:ext>
                </a:extLst>
              </p:cNvPr>
              <p:cNvSpPr>
                <a:spLocks noEditPoints="1"/>
              </p:cNvSpPr>
              <p:nvPr/>
            </p:nvSpPr>
            <p:spPr bwMode="auto">
              <a:xfrm>
                <a:off x="2935012" y="4136448"/>
                <a:ext cx="52904" cy="45881"/>
              </a:xfrm>
              <a:custGeom>
                <a:avLst/>
                <a:gdLst>
                  <a:gd name="T0" fmla="*/ 79 w 122"/>
                  <a:gd name="T1" fmla="*/ 105 h 105"/>
                  <a:gd name="T2" fmla="*/ 34 w 122"/>
                  <a:gd name="T3" fmla="*/ 105 h 105"/>
                  <a:gd name="T4" fmla="*/ 21 w 122"/>
                  <a:gd name="T5" fmla="*/ 96 h 105"/>
                  <a:gd name="T6" fmla="*/ 2 w 122"/>
                  <a:gd name="T7" fmla="*/ 48 h 105"/>
                  <a:gd name="T8" fmla="*/ 7 w 122"/>
                  <a:gd name="T9" fmla="*/ 33 h 105"/>
                  <a:gd name="T10" fmla="*/ 44 w 122"/>
                  <a:gd name="T11" fmla="*/ 4 h 105"/>
                  <a:gd name="T12" fmla="*/ 58 w 122"/>
                  <a:gd name="T13" fmla="*/ 2 h 105"/>
                  <a:gd name="T14" fmla="*/ 113 w 122"/>
                  <a:gd name="T15" fmla="*/ 26 h 105"/>
                  <a:gd name="T16" fmla="*/ 121 w 122"/>
                  <a:gd name="T17" fmla="*/ 34 h 105"/>
                  <a:gd name="T18" fmla="*/ 120 w 122"/>
                  <a:gd name="T19" fmla="*/ 45 h 105"/>
                  <a:gd name="T20" fmla="*/ 91 w 122"/>
                  <a:gd name="T21" fmla="*/ 97 h 105"/>
                  <a:gd name="T22" fmla="*/ 79 w 122"/>
                  <a:gd name="T23" fmla="*/ 105 h 105"/>
                  <a:gd name="T24" fmla="*/ 43 w 122"/>
                  <a:gd name="T25" fmla="*/ 77 h 105"/>
                  <a:gd name="T26" fmla="*/ 71 w 122"/>
                  <a:gd name="T27" fmla="*/ 77 h 105"/>
                  <a:gd name="T28" fmla="*/ 89 w 122"/>
                  <a:gd name="T29" fmla="*/ 45 h 105"/>
                  <a:gd name="T30" fmla="*/ 54 w 122"/>
                  <a:gd name="T31" fmla="*/ 30 h 105"/>
                  <a:gd name="T32" fmla="*/ 31 w 122"/>
                  <a:gd name="T33" fmla="*/ 48 h 105"/>
                  <a:gd name="T34" fmla="*/ 43 w 122"/>
                  <a:gd name="T35" fmla="*/ 77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05">
                    <a:moveTo>
                      <a:pt x="79" y="105"/>
                    </a:moveTo>
                    <a:cubicBezTo>
                      <a:pt x="34" y="105"/>
                      <a:pt x="34" y="105"/>
                      <a:pt x="34" y="105"/>
                    </a:cubicBezTo>
                    <a:cubicBezTo>
                      <a:pt x="28" y="105"/>
                      <a:pt x="23" y="101"/>
                      <a:pt x="21" y="96"/>
                    </a:cubicBezTo>
                    <a:cubicBezTo>
                      <a:pt x="2" y="48"/>
                      <a:pt x="2" y="48"/>
                      <a:pt x="2" y="48"/>
                    </a:cubicBezTo>
                    <a:cubicBezTo>
                      <a:pt x="0" y="43"/>
                      <a:pt x="2" y="36"/>
                      <a:pt x="7" y="33"/>
                    </a:cubicBezTo>
                    <a:cubicBezTo>
                      <a:pt x="44" y="4"/>
                      <a:pt x="44" y="4"/>
                      <a:pt x="44" y="4"/>
                    </a:cubicBezTo>
                    <a:cubicBezTo>
                      <a:pt x="48" y="1"/>
                      <a:pt x="53" y="0"/>
                      <a:pt x="58" y="2"/>
                    </a:cubicBezTo>
                    <a:cubicBezTo>
                      <a:pt x="113" y="26"/>
                      <a:pt x="113" y="26"/>
                      <a:pt x="113" y="26"/>
                    </a:cubicBezTo>
                    <a:cubicBezTo>
                      <a:pt x="117" y="27"/>
                      <a:pt x="119" y="30"/>
                      <a:pt x="121" y="34"/>
                    </a:cubicBezTo>
                    <a:cubicBezTo>
                      <a:pt x="122" y="38"/>
                      <a:pt x="122" y="42"/>
                      <a:pt x="120" y="45"/>
                    </a:cubicBezTo>
                    <a:cubicBezTo>
                      <a:pt x="91" y="97"/>
                      <a:pt x="91" y="97"/>
                      <a:pt x="91" y="97"/>
                    </a:cubicBezTo>
                    <a:cubicBezTo>
                      <a:pt x="89" y="102"/>
                      <a:pt x="84" y="105"/>
                      <a:pt x="79" y="105"/>
                    </a:cubicBezTo>
                    <a:close/>
                    <a:moveTo>
                      <a:pt x="43" y="77"/>
                    </a:moveTo>
                    <a:cubicBezTo>
                      <a:pt x="71" y="77"/>
                      <a:pt x="71" y="77"/>
                      <a:pt x="71" y="77"/>
                    </a:cubicBezTo>
                    <a:cubicBezTo>
                      <a:pt x="89" y="45"/>
                      <a:pt x="89" y="45"/>
                      <a:pt x="89" y="45"/>
                    </a:cubicBezTo>
                    <a:cubicBezTo>
                      <a:pt x="54" y="30"/>
                      <a:pt x="54" y="30"/>
                      <a:pt x="54" y="30"/>
                    </a:cubicBezTo>
                    <a:cubicBezTo>
                      <a:pt x="31" y="48"/>
                      <a:pt x="31" y="48"/>
                      <a:pt x="31" y="48"/>
                    </a:cubicBezTo>
                    <a:lnTo>
                      <a:pt x="43" y="77"/>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6" name="Freeform 215">
                <a:extLst>
                  <a:ext uri="{FF2B5EF4-FFF2-40B4-BE49-F238E27FC236}">
                    <a16:creationId xmlns:a16="http://schemas.microsoft.com/office/drawing/2014/main" id="{9FF020CD-38EF-4018-BCFD-CDC1316E7A67}"/>
                  </a:ext>
                </a:extLst>
              </p:cNvPr>
              <p:cNvSpPr>
                <a:spLocks noEditPoints="1"/>
              </p:cNvSpPr>
              <p:nvPr/>
            </p:nvSpPr>
            <p:spPr bwMode="auto">
              <a:xfrm>
                <a:off x="2860105" y="4136448"/>
                <a:ext cx="48690" cy="36986"/>
              </a:xfrm>
              <a:custGeom>
                <a:avLst/>
                <a:gdLst>
                  <a:gd name="T0" fmla="*/ 68 w 112"/>
                  <a:gd name="T1" fmla="*/ 85 h 85"/>
                  <a:gd name="T2" fmla="*/ 63 w 112"/>
                  <a:gd name="T3" fmla="*/ 84 h 85"/>
                  <a:gd name="T4" fmla="*/ 9 w 112"/>
                  <a:gd name="T5" fmla="*/ 66 h 85"/>
                  <a:gd name="T6" fmla="*/ 0 w 112"/>
                  <a:gd name="T7" fmla="*/ 55 h 85"/>
                  <a:gd name="T8" fmla="*/ 6 w 112"/>
                  <a:gd name="T9" fmla="*/ 42 h 85"/>
                  <a:gd name="T10" fmla="*/ 58 w 112"/>
                  <a:gd name="T11" fmla="*/ 4 h 85"/>
                  <a:gd name="T12" fmla="*/ 74 w 112"/>
                  <a:gd name="T13" fmla="*/ 4 h 85"/>
                  <a:gd name="T14" fmla="*/ 106 w 112"/>
                  <a:gd name="T15" fmla="*/ 27 h 85"/>
                  <a:gd name="T16" fmla="*/ 112 w 112"/>
                  <a:gd name="T17" fmla="*/ 36 h 85"/>
                  <a:gd name="T18" fmla="*/ 109 w 112"/>
                  <a:gd name="T19" fmla="*/ 47 h 85"/>
                  <a:gd name="T20" fmla="*/ 78 w 112"/>
                  <a:gd name="T21" fmla="*/ 80 h 85"/>
                  <a:gd name="T22" fmla="*/ 68 w 112"/>
                  <a:gd name="T23" fmla="*/ 85 h 85"/>
                  <a:gd name="T24" fmla="*/ 43 w 112"/>
                  <a:gd name="T25" fmla="*/ 48 h 85"/>
                  <a:gd name="T26" fmla="*/ 64 w 112"/>
                  <a:gd name="T27" fmla="*/ 56 h 85"/>
                  <a:gd name="T28" fmla="*/ 78 w 112"/>
                  <a:gd name="T29" fmla="*/ 40 h 85"/>
                  <a:gd name="T30" fmla="*/ 66 w 112"/>
                  <a:gd name="T31" fmla="*/ 31 h 85"/>
                  <a:gd name="T32" fmla="*/ 43 w 112"/>
                  <a:gd name="T33" fmla="*/ 4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85">
                    <a:moveTo>
                      <a:pt x="68" y="85"/>
                    </a:moveTo>
                    <a:cubicBezTo>
                      <a:pt x="66" y="85"/>
                      <a:pt x="65" y="85"/>
                      <a:pt x="63" y="84"/>
                    </a:cubicBezTo>
                    <a:cubicBezTo>
                      <a:pt x="9" y="66"/>
                      <a:pt x="9" y="66"/>
                      <a:pt x="9" y="66"/>
                    </a:cubicBezTo>
                    <a:cubicBezTo>
                      <a:pt x="5" y="64"/>
                      <a:pt x="1" y="60"/>
                      <a:pt x="0" y="55"/>
                    </a:cubicBezTo>
                    <a:cubicBezTo>
                      <a:pt x="0" y="50"/>
                      <a:pt x="2" y="45"/>
                      <a:pt x="6" y="42"/>
                    </a:cubicBezTo>
                    <a:cubicBezTo>
                      <a:pt x="58" y="4"/>
                      <a:pt x="58" y="4"/>
                      <a:pt x="58" y="4"/>
                    </a:cubicBezTo>
                    <a:cubicBezTo>
                      <a:pt x="63" y="0"/>
                      <a:pt x="70" y="0"/>
                      <a:pt x="74" y="4"/>
                    </a:cubicBezTo>
                    <a:cubicBezTo>
                      <a:pt x="106" y="27"/>
                      <a:pt x="106" y="27"/>
                      <a:pt x="106" y="27"/>
                    </a:cubicBezTo>
                    <a:cubicBezTo>
                      <a:pt x="110" y="29"/>
                      <a:pt x="112" y="32"/>
                      <a:pt x="112" y="36"/>
                    </a:cubicBezTo>
                    <a:cubicBezTo>
                      <a:pt x="112" y="40"/>
                      <a:pt x="111" y="44"/>
                      <a:pt x="109" y="47"/>
                    </a:cubicBezTo>
                    <a:cubicBezTo>
                      <a:pt x="78" y="80"/>
                      <a:pt x="78" y="80"/>
                      <a:pt x="78" y="80"/>
                    </a:cubicBezTo>
                    <a:cubicBezTo>
                      <a:pt x="75" y="83"/>
                      <a:pt x="72" y="85"/>
                      <a:pt x="68" y="85"/>
                    </a:cubicBezTo>
                    <a:close/>
                    <a:moveTo>
                      <a:pt x="43" y="48"/>
                    </a:moveTo>
                    <a:cubicBezTo>
                      <a:pt x="64" y="56"/>
                      <a:pt x="64" y="56"/>
                      <a:pt x="64" y="56"/>
                    </a:cubicBezTo>
                    <a:cubicBezTo>
                      <a:pt x="78" y="40"/>
                      <a:pt x="78" y="40"/>
                      <a:pt x="78" y="40"/>
                    </a:cubicBezTo>
                    <a:cubicBezTo>
                      <a:pt x="66" y="31"/>
                      <a:pt x="66" y="31"/>
                      <a:pt x="66" y="31"/>
                    </a:cubicBezTo>
                    <a:lnTo>
                      <a:pt x="43" y="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86" name="Group 185">
              <a:extLst>
                <a:ext uri="{FF2B5EF4-FFF2-40B4-BE49-F238E27FC236}">
                  <a16:creationId xmlns:a16="http://schemas.microsoft.com/office/drawing/2014/main" id="{4DCAA8DE-2EA3-4EFF-ABF4-9181AD0F2C06}"/>
                </a:ext>
              </a:extLst>
            </p:cNvPr>
            <p:cNvGrpSpPr/>
            <p:nvPr/>
          </p:nvGrpSpPr>
          <p:grpSpPr>
            <a:xfrm>
              <a:off x="2758511" y="4042345"/>
              <a:ext cx="252814" cy="352536"/>
              <a:chOff x="2758511" y="4042345"/>
              <a:chExt cx="252814" cy="352536"/>
            </a:xfrm>
          </p:grpSpPr>
          <p:sp>
            <p:nvSpPr>
              <p:cNvPr id="187" name="Freeform 209">
                <a:extLst>
                  <a:ext uri="{FF2B5EF4-FFF2-40B4-BE49-F238E27FC236}">
                    <a16:creationId xmlns:a16="http://schemas.microsoft.com/office/drawing/2014/main" id="{609EF87B-A838-4EC7-BBF9-CDED42A8A064}"/>
                  </a:ext>
                </a:extLst>
              </p:cNvPr>
              <p:cNvSpPr>
                <a:spLocks/>
              </p:cNvSpPr>
              <p:nvPr/>
            </p:nvSpPr>
            <p:spPr bwMode="auto">
              <a:xfrm>
                <a:off x="2758511" y="4112103"/>
                <a:ext cx="252814" cy="282778"/>
              </a:xfrm>
              <a:custGeom>
                <a:avLst/>
                <a:gdLst>
                  <a:gd name="T0" fmla="*/ 567 w 581"/>
                  <a:gd name="T1" fmla="*/ 650 h 650"/>
                  <a:gd name="T2" fmla="*/ 5 w 581"/>
                  <a:gd name="T3" fmla="*/ 650 h 650"/>
                  <a:gd name="T4" fmla="*/ 5 w 581"/>
                  <a:gd name="T5" fmla="*/ 623 h 650"/>
                  <a:gd name="T6" fmla="*/ 553 w 581"/>
                  <a:gd name="T7" fmla="*/ 623 h 650"/>
                  <a:gd name="T8" fmla="*/ 553 w 581"/>
                  <a:gd name="T9" fmla="*/ 548 h 650"/>
                  <a:gd name="T10" fmla="*/ 542 w 581"/>
                  <a:gd name="T11" fmla="*/ 477 h 650"/>
                  <a:gd name="T12" fmla="*/ 382 w 581"/>
                  <a:gd name="T13" fmla="*/ 426 h 650"/>
                  <a:gd name="T14" fmla="*/ 375 w 581"/>
                  <a:gd name="T15" fmla="*/ 420 h 650"/>
                  <a:gd name="T16" fmla="*/ 266 w 581"/>
                  <a:gd name="T17" fmla="*/ 222 h 650"/>
                  <a:gd name="T18" fmla="*/ 168 w 581"/>
                  <a:gd name="T19" fmla="*/ 167 h 650"/>
                  <a:gd name="T20" fmla="*/ 161 w 581"/>
                  <a:gd name="T21" fmla="*/ 159 h 650"/>
                  <a:gd name="T22" fmla="*/ 140 w 581"/>
                  <a:gd name="T23" fmla="*/ 70 h 650"/>
                  <a:gd name="T24" fmla="*/ 0 w 581"/>
                  <a:gd name="T25" fmla="*/ 26 h 650"/>
                  <a:gd name="T26" fmla="*/ 9 w 581"/>
                  <a:gd name="T27" fmla="*/ 0 h 650"/>
                  <a:gd name="T28" fmla="*/ 155 w 581"/>
                  <a:gd name="T29" fmla="*/ 46 h 650"/>
                  <a:gd name="T30" fmla="*/ 164 w 581"/>
                  <a:gd name="T31" fmla="*/ 56 h 650"/>
                  <a:gd name="T32" fmla="*/ 186 w 581"/>
                  <a:gd name="T33" fmla="*/ 147 h 650"/>
                  <a:gd name="T34" fmla="*/ 283 w 581"/>
                  <a:gd name="T35" fmla="*/ 200 h 650"/>
                  <a:gd name="T36" fmla="*/ 288 w 581"/>
                  <a:gd name="T37" fmla="*/ 206 h 650"/>
                  <a:gd name="T38" fmla="*/ 396 w 581"/>
                  <a:gd name="T39" fmla="*/ 402 h 650"/>
                  <a:gd name="T40" fmla="*/ 558 w 581"/>
                  <a:gd name="T41" fmla="*/ 454 h 650"/>
                  <a:gd name="T42" fmla="*/ 567 w 581"/>
                  <a:gd name="T43" fmla="*/ 465 h 650"/>
                  <a:gd name="T44" fmla="*/ 580 w 581"/>
                  <a:gd name="T45" fmla="*/ 545 h 650"/>
                  <a:gd name="T46" fmla="*/ 581 w 581"/>
                  <a:gd name="T47" fmla="*/ 547 h 650"/>
                  <a:gd name="T48" fmla="*/ 581 w 581"/>
                  <a:gd name="T49" fmla="*/ 637 h 650"/>
                  <a:gd name="T50" fmla="*/ 567 w 581"/>
                  <a:gd name="T51" fmla="*/ 650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1" h="650">
                    <a:moveTo>
                      <a:pt x="567" y="650"/>
                    </a:moveTo>
                    <a:cubicBezTo>
                      <a:pt x="5" y="650"/>
                      <a:pt x="5" y="650"/>
                      <a:pt x="5" y="650"/>
                    </a:cubicBezTo>
                    <a:cubicBezTo>
                      <a:pt x="5" y="623"/>
                      <a:pt x="5" y="623"/>
                      <a:pt x="5" y="623"/>
                    </a:cubicBezTo>
                    <a:cubicBezTo>
                      <a:pt x="553" y="623"/>
                      <a:pt x="553" y="623"/>
                      <a:pt x="553" y="623"/>
                    </a:cubicBezTo>
                    <a:cubicBezTo>
                      <a:pt x="553" y="548"/>
                      <a:pt x="553" y="548"/>
                      <a:pt x="553" y="548"/>
                    </a:cubicBezTo>
                    <a:cubicBezTo>
                      <a:pt x="542" y="477"/>
                      <a:pt x="542" y="477"/>
                      <a:pt x="542" y="477"/>
                    </a:cubicBezTo>
                    <a:cubicBezTo>
                      <a:pt x="382" y="426"/>
                      <a:pt x="382" y="426"/>
                      <a:pt x="382" y="426"/>
                    </a:cubicBezTo>
                    <a:cubicBezTo>
                      <a:pt x="379" y="425"/>
                      <a:pt x="376" y="423"/>
                      <a:pt x="375" y="420"/>
                    </a:cubicBezTo>
                    <a:cubicBezTo>
                      <a:pt x="266" y="222"/>
                      <a:pt x="266" y="222"/>
                      <a:pt x="266" y="222"/>
                    </a:cubicBezTo>
                    <a:cubicBezTo>
                      <a:pt x="168" y="167"/>
                      <a:pt x="168" y="167"/>
                      <a:pt x="168" y="167"/>
                    </a:cubicBezTo>
                    <a:cubicBezTo>
                      <a:pt x="164" y="166"/>
                      <a:pt x="162" y="162"/>
                      <a:pt x="161" y="159"/>
                    </a:cubicBezTo>
                    <a:cubicBezTo>
                      <a:pt x="140" y="70"/>
                      <a:pt x="140" y="70"/>
                      <a:pt x="140" y="70"/>
                    </a:cubicBezTo>
                    <a:cubicBezTo>
                      <a:pt x="0" y="26"/>
                      <a:pt x="0" y="26"/>
                      <a:pt x="0" y="26"/>
                    </a:cubicBezTo>
                    <a:cubicBezTo>
                      <a:pt x="9" y="0"/>
                      <a:pt x="9" y="0"/>
                      <a:pt x="9" y="0"/>
                    </a:cubicBezTo>
                    <a:cubicBezTo>
                      <a:pt x="155" y="46"/>
                      <a:pt x="155" y="46"/>
                      <a:pt x="155" y="46"/>
                    </a:cubicBezTo>
                    <a:cubicBezTo>
                      <a:pt x="160" y="48"/>
                      <a:pt x="163" y="52"/>
                      <a:pt x="164" y="56"/>
                    </a:cubicBezTo>
                    <a:cubicBezTo>
                      <a:pt x="186" y="147"/>
                      <a:pt x="186" y="147"/>
                      <a:pt x="186" y="147"/>
                    </a:cubicBezTo>
                    <a:cubicBezTo>
                      <a:pt x="283" y="200"/>
                      <a:pt x="283" y="200"/>
                      <a:pt x="283" y="200"/>
                    </a:cubicBezTo>
                    <a:cubicBezTo>
                      <a:pt x="285" y="202"/>
                      <a:pt x="287" y="203"/>
                      <a:pt x="288" y="206"/>
                    </a:cubicBezTo>
                    <a:cubicBezTo>
                      <a:pt x="396" y="402"/>
                      <a:pt x="396" y="402"/>
                      <a:pt x="396" y="402"/>
                    </a:cubicBezTo>
                    <a:cubicBezTo>
                      <a:pt x="558" y="454"/>
                      <a:pt x="558" y="454"/>
                      <a:pt x="558" y="454"/>
                    </a:cubicBezTo>
                    <a:cubicBezTo>
                      <a:pt x="563" y="455"/>
                      <a:pt x="566" y="460"/>
                      <a:pt x="567" y="465"/>
                    </a:cubicBezTo>
                    <a:cubicBezTo>
                      <a:pt x="580" y="545"/>
                      <a:pt x="580" y="545"/>
                      <a:pt x="580" y="545"/>
                    </a:cubicBezTo>
                    <a:cubicBezTo>
                      <a:pt x="581" y="545"/>
                      <a:pt x="581" y="546"/>
                      <a:pt x="581" y="547"/>
                    </a:cubicBezTo>
                    <a:cubicBezTo>
                      <a:pt x="581" y="637"/>
                      <a:pt x="581" y="637"/>
                      <a:pt x="581" y="637"/>
                    </a:cubicBezTo>
                    <a:cubicBezTo>
                      <a:pt x="581" y="644"/>
                      <a:pt x="575" y="650"/>
                      <a:pt x="567" y="65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8" name="Freeform 210">
                <a:extLst>
                  <a:ext uri="{FF2B5EF4-FFF2-40B4-BE49-F238E27FC236}">
                    <a16:creationId xmlns:a16="http://schemas.microsoft.com/office/drawing/2014/main" id="{32AC9FB7-AB0E-487E-844A-7C184DCC2F90}"/>
                  </a:ext>
                </a:extLst>
              </p:cNvPr>
              <p:cNvSpPr>
                <a:spLocks/>
              </p:cNvSpPr>
              <p:nvPr/>
            </p:nvSpPr>
            <p:spPr bwMode="auto">
              <a:xfrm>
                <a:off x="2786601" y="4174371"/>
                <a:ext cx="50095" cy="68354"/>
              </a:xfrm>
              <a:custGeom>
                <a:avLst/>
                <a:gdLst>
                  <a:gd name="T0" fmla="*/ 26 w 116"/>
                  <a:gd name="T1" fmla="*/ 157 h 157"/>
                  <a:gd name="T2" fmla="*/ 0 w 116"/>
                  <a:gd name="T3" fmla="*/ 151 h 157"/>
                  <a:gd name="T4" fmla="*/ 29 w 116"/>
                  <a:gd name="T5" fmla="*/ 39 h 157"/>
                  <a:gd name="T6" fmla="*/ 36 w 116"/>
                  <a:gd name="T7" fmla="*/ 29 h 157"/>
                  <a:gd name="T8" fmla="*/ 105 w 116"/>
                  <a:gd name="T9" fmla="*/ 0 h 157"/>
                  <a:gd name="T10" fmla="*/ 116 w 116"/>
                  <a:gd name="T11" fmla="*/ 25 h 157"/>
                  <a:gd name="T12" fmla="*/ 53 w 116"/>
                  <a:gd name="T13" fmla="*/ 52 h 157"/>
                  <a:gd name="T14" fmla="*/ 26 w 116"/>
                  <a:gd name="T15" fmla="*/ 157 h 1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57">
                    <a:moveTo>
                      <a:pt x="26" y="157"/>
                    </a:moveTo>
                    <a:cubicBezTo>
                      <a:pt x="0" y="151"/>
                      <a:pt x="0" y="151"/>
                      <a:pt x="0" y="151"/>
                    </a:cubicBezTo>
                    <a:cubicBezTo>
                      <a:pt x="29" y="39"/>
                      <a:pt x="29" y="39"/>
                      <a:pt x="29" y="39"/>
                    </a:cubicBezTo>
                    <a:cubicBezTo>
                      <a:pt x="30" y="34"/>
                      <a:pt x="33" y="31"/>
                      <a:pt x="36" y="29"/>
                    </a:cubicBezTo>
                    <a:cubicBezTo>
                      <a:pt x="105" y="0"/>
                      <a:pt x="105" y="0"/>
                      <a:pt x="105" y="0"/>
                    </a:cubicBezTo>
                    <a:cubicBezTo>
                      <a:pt x="116" y="25"/>
                      <a:pt x="116" y="25"/>
                      <a:pt x="116" y="25"/>
                    </a:cubicBezTo>
                    <a:cubicBezTo>
                      <a:pt x="53" y="52"/>
                      <a:pt x="53" y="52"/>
                      <a:pt x="53" y="52"/>
                    </a:cubicBezTo>
                    <a:lnTo>
                      <a:pt x="26" y="15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89" name="Freeform 211">
                <a:extLst>
                  <a:ext uri="{FF2B5EF4-FFF2-40B4-BE49-F238E27FC236}">
                    <a16:creationId xmlns:a16="http://schemas.microsoft.com/office/drawing/2014/main" id="{8E5A2C0C-C07B-4EBC-8362-2097E258C8DD}"/>
                  </a:ext>
                </a:extLst>
              </p:cNvPr>
              <p:cNvSpPr>
                <a:spLocks/>
              </p:cNvSpPr>
              <p:nvPr/>
            </p:nvSpPr>
            <p:spPr bwMode="auto">
              <a:xfrm>
                <a:off x="2872277" y="4286732"/>
                <a:ext cx="66481" cy="59458"/>
              </a:xfrm>
              <a:custGeom>
                <a:avLst/>
                <a:gdLst>
                  <a:gd name="T0" fmla="*/ 138 w 152"/>
                  <a:gd name="T1" fmla="*/ 137 h 137"/>
                  <a:gd name="T2" fmla="*/ 7 w 152"/>
                  <a:gd name="T3" fmla="*/ 58 h 137"/>
                  <a:gd name="T4" fmla="*/ 1 w 152"/>
                  <a:gd name="T5" fmla="*/ 45 h 137"/>
                  <a:gd name="T6" fmla="*/ 10 w 152"/>
                  <a:gd name="T7" fmla="*/ 34 h 137"/>
                  <a:gd name="T8" fmla="*/ 120 w 152"/>
                  <a:gd name="T9" fmla="*/ 0 h 137"/>
                  <a:gd name="T10" fmla="*/ 128 w 152"/>
                  <a:gd name="T11" fmla="*/ 26 h 137"/>
                  <a:gd name="T12" fmla="*/ 47 w 152"/>
                  <a:gd name="T13" fmla="*/ 51 h 137"/>
                  <a:gd name="T14" fmla="*/ 152 w 152"/>
                  <a:gd name="T15" fmla="*/ 114 h 137"/>
                  <a:gd name="T16" fmla="*/ 138 w 152"/>
                  <a:gd name="T17"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 h="137">
                    <a:moveTo>
                      <a:pt x="138" y="137"/>
                    </a:moveTo>
                    <a:cubicBezTo>
                      <a:pt x="7" y="58"/>
                      <a:pt x="7" y="58"/>
                      <a:pt x="7" y="58"/>
                    </a:cubicBezTo>
                    <a:cubicBezTo>
                      <a:pt x="3" y="55"/>
                      <a:pt x="0" y="50"/>
                      <a:pt x="1" y="45"/>
                    </a:cubicBezTo>
                    <a:cubicBezTo>
                      <a:pt x="1" y="40"/>
                      <a:pt x="5" y="35"/>
                      <a:pt x="10" y="34"/>
                    </a:cubicBezTo>
                    <a:cubicBezTo>
                      <a:pt x="120" y="0"/>
                      <a:pt x="120" y="0"/>
                      <a:pt x="120" y="0"/>
                    </a:cubicBezTo>
                    <a:cubicBezTo>
                      <a:pt x="128" y="26"/>
                      <a:pt x="128" y="26"/>
                      <a:pt x="128" y="26"/>
                    </a:cubicBezTo>
                    <a:cubicBezTo>
                      <a:pt x="47" y="51"/>
                      <a:pt x="47" y="51"/>
                      <a:pt x="47" y="51"/>
                    </a:cubicBezTo>
                    <a:cubicBezTo>
                      <a:pt x="152" y="114"/>
                      <a:pt x="152" y="114"/>
                      <a:pt x="152" y="114"/>
                    </a:cubicBezTo>
                    <a:lnTo>
                      <a:pt x="138" y="13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0" name="Freeform 212">
                <a:extLst>
                  <a:ext uri="{FF2B5EF4-FFF2-40B4-BE49-F238E27FC236}">
                    <a16:creationId xmlns:a16="http://schemas.microsoft.com/office/drawing/2014/main" id="{9B3B536C-0767-4DCA-B968-8F9FD43A720B}"/>
                  </a:ext>
                </a:extLst>
              </p:cNvPr>
              <p:cNvSpPr>
                <a:spLocks/>
              </p:cNvSpPr>
              <p:nvPr/>
            </p:nvSpPr>
            <p:spPr bwMode="auto">
              <a:xfrm>
                <a:off x="2794092" y="4215101"/>
                <a:ext cx="53840" cy="41200"/>
              </a:xfrm>
              <a:custGeom>
                <a:avLst/>
                <a:gdLst>
                  <a:gd name="T0" fmla="*/ 102 w 115"/>
                  <a:gd name="T1" fmla="*/ 88 h 88"/>
                  <a:gd name="T2" fmla="*/ 0 w 115"/>
                  <a:gd name="T3" fmla="*/ 22 h 88"/>
                  <a:gd name="T4" fmla="*/ 14 w 115"/>
                  <a:gd name="T5" fmla="*/ 0 h 88"/>
                  <a:gd name="T6" fmla="*/ 115 w 115"/>
                  <a:gd name="T7" fmla="*/ 66 h 88"/>
                  <a:gd name="T8" fmla="*/ 102 w 115"/>
                  <a:gd name="T9" fmla="*/ 88 h 88"/>
                </a:gdLst>
                <a:ahLst/>
                <a:cxnLst>
                  <a:cxn ang="0">
                    <a:pos x="T0" y="T1"/>
                  </a:cxn>
                  <a:cxn ang="0">
                    <a:pos x="T2" y="T3"/>
                  </a:cxn>
                  <a:cxn ang="0">
                    <a:pos x="T4" y="T5"/>
                  </a:cxn>
                  <a:cxn ang="0">
                    <a:pos x="T6" y="T7"/>
                  </a:cxn>
                  <a:cxn ang="0">
                    <a:pos x="T8" y="T9"/>
                  </a:cxn>
                </a:cxnLst>
                <a:rect l="0" t="0" r="r" b="b"/>
                <a:pathLst>
                  <a:path w="115" h="88">
                    <a:moveTo>
                      <a:pt x="102" y="88"/>
                    </a:moveTo>
                    <a:lnTo>
                      <a:pt x="0" y="22"/>
                    </a:lnTo>
                    <a:lnTo>
                      <a:pt x="14" y="0"/>
                    </a:lnTo>
                    <a:lnTo>
                      <a:pt x="115" y="66"/>
                    </a:lnTo>
                    <a:lnTo>
                      <a:pt x="102" y="8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1" name="Freeform 216">
                <a:extLst>
                  <a:ext uri="{FF2B5EF4-FFF2-40B4-BE49-F238E27FC236}">
                    <a16:creationId xmlns:a16="http://schemas.microsoft.com/office/drawing/2014/main" id="{4BA1114B-0B39-4AE7-AF3E-25986557F8BC}"/>
                  </a:ext>
                </a:extLst>
              </p:cNvPr>
              <p:cNvSpPr>
                <a:spLocks/>
              </p:cNvSpPr>
              <p:nvPr/>
            </p:nvSpPr>
            <p:spPr bwMode="auto">
              <a:xfrm>
                <a:off x="2861041" y="4064817"/>
                <a:ext cx="70226" cy="70226"/>
              </a:xfrm>
              <a:custGeom>
                <a:avLst/>
                <a:gdLst>
                  <a:gd name="T0" fmla="*/ 131 w 150"/>
                  <a:gd name="T1" fmla="*/ 150 h 150"/>
                  <a:gd name="T2" fmla="*/ 0 w 150"/>
                  <a:gd name="T3" fmla="*/ 18 h 150"/>
                  <a:gd name="T4" fmla="*/ 18 w 150"/>
                  <a:gd name="T5" fmla="*/ 0 h 150"/>
                  <a:gd name="T6" fmla="*/ 150 w 150"/>
                  <a:gd name="T7" fmla="*/ 132 h 150"/>
                  <a:gd name="T8" fmla="*/ 131 w 150"/>
                  <a:gd name="T9" fmla="*/ 150 h 150"/>
                </a:gdLst>
                <a:ahLst/>
                <a:cxnLst>
                  <a:cxn ang="0">
                    <a:pos x="T0" y="T1"/>
                  </a:cxn>
                  <a:cxn ang="0">
                    <a:pos x="T2" y="T3"/>
                  </a:cxn>
                  <a:cxn ang="0">
                    <a:pos x="T4" y="T5"/>
                  </a:cxn>
                  <a:cxn ang="0">
                    <a:pos x="T6" y="T7"/>
                  </a:cxn>
                  <a:cxn ang="0">
                    <a:pos x="T8" y="T9"/>
                  </a:cxn>
                </a:cxnLst>
                <a:rect l="0" t="0" r="r" b="b"/>
                <a:pathLst>
                  <a:path w="150" h="150">
                    <a:moveTo>
                      <a:pt x="131" y="150"/>
                    </a:moveTo>
                    <a:lnTo>
                      <a:pt x="0" y="18"/>
                    </a:lnTo>
                    <a:lnTo>
                      <a:pt x="18" y="0"/>
                    </a:lnTo>
                    <a:lnTo>
                      <a:pt x="150" y="132"/>
                    </a:lnTo>
                    <a:lnTo>
                      <a:pt x="131" y="15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2" name="Freeform 217">
                <a:extLst>
                  <a:ext uri="{FF2B5EF4-FFF2-40B4-BE49-F238E27FC236}">
                    <a16:creationId xmlns:a16="http://schemas.microsoft.com/office/drawing/2014/main" id="{5DC18170-EF3D-4CF5-8FE8-DBF955404AA1}"/>
                  </a:ext>
                </a:extLst>
              </p:cNvPr>
              <p:cNvSpPr>
                <a:spLocks/>
              </p:cNvSpPr>
              <p:nvPr/>
            </p:nvSpPr>
            <p:spPr bwMode="auto">
              <a:xfrm>
                <a:off x="2800178" y="4042345"/>
                <a:ext cx="70226" cy="69758"/>
              </a:xfrm>
              <a:custGeom>
                <a:avLst/>
                <a:gdLst>
                  <a:gd name="T0" fmla="*/ 132 w 150"/>
                  <a:gd name="T1" fmla="*/ 149 h 149"/>
                  <a:gd name="T2" fmla="*/ 0 w 150"/>
                  <a:gd name="T3" fmla="*/ 18 h 149"/>
                  <a:gd name="T4" fmla="*/ 18 w 150"/>
                  <a:gd name="T5" fmla="*/ 0 h 149"/>
                  <a:gd name="T6" fmla="*/ 150 w 150"/>
                  <a:gd name="T7" fmla="*/ 132 h 149"/>
                  <a:gd name="T8" fmla="*/ 132 w 150"/>
                  <a:gd name="T9" fmla="*/ 149 h 149"/>
                </a:gdLst>
                <a:ahLst/>
                <a:cxnLst>
                  <a:cxn ang="0">
                    <a:pos x="T0" y="T1"/>
                  </a:cxn>
                  <a:cxn ang="0">
                    <a:pos x="T2" y="T3"/>
                  </a:cxn>
                  <a:cxn ang="0">
                    <a:pos x="T4" y="T5"/>
                  </a:cxn>
                  <a:cxn ang="0">
                    <a:pos x="T6" y="T7"/>
                  </a:cxn>
                  <a:cxn ang="0">
                    <a:pos x="T8" y="T9"/>
                  </a:cxn>
                </a:cxnLst>
                <a:rect l="0" t="0" r="r" b="b"/>
                <a:pathLst>
                  <a:path w="150" h="149">
                    <a:moveTo>
                      <a:pt x="132" y="149"/>
                    </a:moveTo>
                    <a:lnTo>
                      <a:pt x="0" y="18"/>
                    </a:lnTo>
                    <a:lnTo>
                      <a:pt x="18" y="0"/>
                    </a:lnTo>
                    <a:lnTo>
                      <a:pt x="150" y="132"/>
                    </a:lnTo>
                    <a:lnTo>
                      <a:pt x="132" y="14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3" name="Freeform 218">
                <a:extLst>
                  <a:ext uri="{FF2B5EF4-FFF2-40B4-BE49-F238E27FC236}">
                    <a16:creationId xmlns:a16="http://schemas.microsoft.com/office/drawing/2014/main" id="{5E258FB5-089F-46B1-B70A-769FDC59AF79}"/>
                  </a:ext>
                </a:extLst>
              </p:cNvPr>
              <p:cNvSpPr>
                <a:spLocks/>
              </p:cNvSpPr>
              <p:nvPr/>
            </p:nvSpPr>
            <p:spPr bwMode="auto">
              <a:xfrm>
                <a:off x="2802051" y="4086354"/>
                <a:ext cx="27622" cy="27622"/>
              </a:xfrm>
              <a:custGeom>
                <a:avLst/>
                <a:gdLst>
                  <a:gd name="T0" fmla="*/ 42 w 59"/>
                  <a:gd name="T1" fmla="*/ 59 h 59"/>
                  <a:gd name="T2" fmla="*/ 0 w 59"/>
                  <a:gd name="T3" fmla="*/ 17 h 59"/>
                  <a:gd name="T4" fmla="*/ 18 w 59"/>
                  <a:gd name="T5" fmla="*/ 0 h 59"/>
                  <a:gd name="T6" fmla="*/ 59 w 59"/>
                  <a:gd name="T7" fmla="*/ 41 h 59"/>
                  <a:gd name="T8" fmla="*/ 42 w 59"/>
                  <a:gd name="T9" fmla="*/ 59 h 59"/>
                </a:gdLst>
                <a:ahLst/>
                <a:cxnLst>
                  <a:cxn ang="0">
                    <a:pos x="T0" y="T1"/>
                  </a:cxn>
                  <a:cxn ang="0">
                    <a:pos x="T2" y="T3"/>
                  </a:cxn>
                  <a:cxn ang="0">
                    <a:pos x="T4" y="T5"/>
                  </a:cxn>
                  <a:cxn ang="0">
                    <a:pos x="T6" y="T7"/>
                  </a:cxn>
                  <a:cxn ang="0">
                    <a:pos x="T8" y="T9"/>
                  </a:cxn>
                </a:cxnLst>
                <a:rect l="0" t="0" r="r" b="b"/>
                <a:pathLst>
                  <a:path w="59" h="59">
                    <a:moveTo>
                      <a:pt x="42" y="59"/>
                    </a:moveTo>
                    <a:lnTo>
                      <a:pt x="0" y="17"/>
                    </a:lnTo>
                    <a:lnTo>
                      <a:pt x="18" y="0"/>
                    </a:lnTo>
                    <a:lnTo>
                      <a:pt x="59" y="41"/>
                    </a:lnTo>
                    <a:lnTo>
                      <a:pt x="42" y="5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197" name="Group 196">
            <a:extLst>
              <a:ext uri="{FF2B5EF4-FFF2-40B4-BE49-F238E27FC236}">
                <a16:creationId xmlns:a16="http://schemas.microsoft.com/office/drawing/2014/main" id="{C1659CCE-ED98-4B7A-9AB7-57B33C4ACC17}"/>
              </a:ext>
            </a:extLst>
          </p:cNvPr>
          <p:cNvGrpSpPr/>
          <p:nvPr/>
        </p:nvGrpSpPr>
        <p:grpSpPr>
          <a:xfrm>
            <a:off x="6095543" y="2435008"/>
            <a:ext cx="326318" cy="345044"/>
            <a:chOff x="630891" y="1629462"/>
            <a:chExt cx="326318" cy="345044"/>
          </a:xfrm>
        </p:grpSpPr>
        <p:grpSp>
          <p:nvGrpSpPr>
            <p:cNvPr id="198" name="Group 197">
              <a:extLst>
                <a:ext uri="{FF2B5EF4-FFF2-40B4-BE49-F238E27FC236}">
                  <a16:creationId xmlns:a16="http://schemas.microsoft.com/office/drawing/2014/main" id="{C419B948-8408-4954-901E-73E36DE322C9}"/>
                </a:ext>
              </a:extLst>
            </p:cNvPr>
            <p:cNvGrpSpPr/>
            <p:nvPr/>
          </p:nvGrpSpPr>
          <p:grpSpPr>
            <a:xfrm>
              <a:off x="641659" y="1629462"/>
              <a:ext cx="315550" cy="198038"/>
              <a:chOff x="641659" y="1629462"/>
              <a:chExt cx="315550" cy="198038"/>
            </a:xfrm>
          </p:grpSpPr>
          <p:sp>
            <p:nvSpPr>
              <p:cNvPr id="216" name="Freeform 272">
                <a:extLst>
                  <a:ext uri="{FF2B5EF4-FFF2-40B4-BE49-F238E27FC236}">
                    <a16:creationId xmlns:a16="http://schemas.microsoft.com/office/drawing/2014/main" id="{BBB80BB2-6086-4731-8F40-74337EF1D2A6}"/>
                  </a:ext>
                </a:extLst>
              </p:cNvPr>
              <p:cNvSpPr>
                <a:spLocks/>
              </p:cNvSpPr>
              <p:nvPr/>
            </p:nvSpPr>
            <p:spPr bwMode="auto">
              <a:xfrm>
                <a:off x="641659" y="1685643"/>
                <a:ext cx="132493" cy="141857"/>
              </a:xfrm>
              <a:custGeom>
                <a:avLst/>
                <a:gdLst>
                  <a:gd name="T0" fmla="*/ 163 w 305"/>
                  <a:gd name="T1" fmla="*/ 326 h 326"/>
                  <a:gd name="T2" fmla="*/ 0 w 305"/>
                  <a:gd name="T3" fmla="*/ 163 h 326"/>
                  <a:gd name="T4" fmla="*/ 163 w 305"/>
                  <a:gd name="T5" fmla="*/ 0 h 326"/>
                  <a:gd name="T6" fmla="*/ 225 w 305"/>
                  <a:gd name="T7" fmla="*/ 12 h 326"/>
                  <a:gd name="T8" fmla="*/ 305 w 305"/>
                  <a:gd name="T9" fmla="*/ 83 h 326"/>
                  <a:gd name="T10" fmla="*/ 281 w 305"/>
                  <a:gd name="T11" fmla="*/ 96 h 326"/>
                  <a:gd name="T12" fmla="*/ 214 w 305"/>
                  <a:gd name="T13" fmla="*/ 37 h 326"/>
                  <a:gd name="T14" fmla="*/ 163 w 305"/>
                  <a:gd name="T15" fmla="*/ 27 h 326"/>
                  <a:gd name="T16" fmla="*/ 27 w 305"/>
                  <a:gd name="T17" fmla="*/ 163 h 326"/>
                  <a:gd name="T18" fmla="*/ 163 w 305"/>
                  <a:gd name="T19" fmla="*/ 298 h 326"/>
                  <a:gd name="T20" fmla="*/ 163 w 305"/>
                  <a:gd name="T21"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5" h="326">
                    <a:moveTo>
                      <a:pt x="163" y="326"/>
                    </a:moveTo>
                    <a:cubicBezTo>
                      <a:pt x="73" y="326"/>
                      <a:pt x="0" y="252"/>
                      <a:pt x="0" y="163"/>
                    </a:cubicBezTo>
                    <a:cubicBezTo>
                      <a:pt x="0" y="73"/>
                      <a:pt x="73" y="0"/>
                      <a:pt x="163" y="0"/>
                    </a:cubicBezTo>
                    <a:cubicBezTo>
                      <a:pt x="184" y="0"/>
                      <a:pt x="205" y="4"/>
                      <a:pt x="225" y="12"/>
                    </a:cubicBezTo>
                    <a:cubicBezTo>
                      <a:pt x="258" y="26"/>
                      <a:pt x="287" y="51"/>
                      <a:pt x="305" y="83"/>
                    </a:cubicBezTo>
                    <a:cubicBezTo>
                      <a:pt x="281" y="96"/>
                      <a:pt x="281" y="96"/>
                      <a:pt x="281" y="96"/>
                    </a:cubicBezTo>
                    <a:cubicBezTo>
                      <a:pt x="266" y="69"/>
                      <a:pt x="242" y="48"/>
                      <a:pt x="214" y="37"/>
                    </a:cubicBezTo>
                    <a:cubicBezTo>
                      <a:pt x="198" y="30"/>
                      <a:pt x="181" y="27"/>
                      <a:pt x="163" y="27"/>
                    </a:cubicBezTo>
                    <a:cubicBezTo>
                      <a:pt x="88" y="27"/>
                      <a:pt x="27" y="88"/>
                      <a:pt x="27" y="163"/>
                    </a:cubicBezTo>
                    <a:cubicBezTo>
                      <a:pt x="27" y="238"/>
                      <a:pt x="88" y="298"/>
                      <a:pt x="163" y="298"/>
                    </a:cubicBezTo>
                    <a:lnTo>
                      <a:pt x="163" y="32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7" name="Freeform 273">
                <a:extLst>
                  <a:ext uri="{FF2B5EF4-FFF2-40B4-BE49-F238E27FC236}">
                    <a16:creationId xmlns:a16="http://schemas.microsoft.com/office/drawing/2014/main" id="{0D78A68F-7AB6-4C47-B2FC-028A945FE325}"/>
                  </a:ext>
                </a:extLst>
              </p:cNvPr>
              <p:cNvSpPr>
                <a:spLocks/>
              </p:cNvSpPr>
              <p:nvPr/>
            </p:nvSpPr>
            <p:spPr bwMode="auto">
              <a:xfrm>
                <a:off x="731549" y="1629462"/>
                <a:ext cx="185866" cy="144666"/>
              </a:xfrm>
              <a:custGeom>
                <a:avLst/>
                <a:gdLst>
                  <a:gd name="T0" fmla="*/ 397 w 428"/>
                  <a:gd name="T1" fmla="*/ 333 h 333"/>
                  <a:gd name="T2" fmla="*/ 374 w 428"/>
                  <a:gd name="T3" fmla="*/ 319 h 333"/>
                  <a:gd name="T4" fmla="*/ 398 w 428"/>
                  <a:gd name="T5" fmla="*/ 256 h 333"/>
                  <a:gd name="T6" fmla="*/ 401 w 428"/>
                  <a:gd name="T7" fmla="*/ 220 h 333"/>
                  <a:gd name="T8" fmla="*/ 208 w 428"/>
                  <a:gd name="T9" fmla="*/ 27 h 333"/>
                  <a:gd name="T10" fmla="*/ 25 w 428"/>
                  <a:gd name="T11" fmla="*/ 158 h 333"/>
                  <a:gd name="T12" fmla="*/ 0 w 428"/>
                  <a:gd name="T13" fmla="*/ 149 h 333"/>
                  <a:gd name="T14" fmla="*/ 208 w 428"/>
                  <a:gd name="T15" fmla="*/ 0 h 333"/>
                  <a:gd name="T16" fmla="*/ 428 w 428"/>
                  <a:gd name="T17" fmla="*/ 220 h 333"/>
                  <a:gd name="T18" fmla="*/ 424 w 428"/>
                  <a:gd name="T19" fmla="*/ 261 h 333"/>
                  <a:gd name="T20" fmla="*/ 397 w 428"/>
                  <a:gd name="T21"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8" h="333">
                    <a:moveTo>
                      <a:pt x="397" y="333"/>
                    </a:moveTo>
                    <a:cubicBezTo>
                      <a:pt x="374" y="319"/>
                      <a:pt x="374" y="319"/>
                      <a:pt x="374" y="319"/>
                    </a:cubicBezTo>
                    <a:cubicBezTo>
                      <a:pt x="385" y="300"/>
                      <a:pt x="393" y="278"/>
                      <a:pt x="398" y="256"/>
                    </a:cubicBezTo>
                    <a:cubicBezTo>
                      <a:pt x="400" y="244"/>
                      <a:pt x="401" y="232"/>
                      <a:pt x="401" y="220"/>
                    </a:cubicBezTo>
                    <a:cubicBezTo>
                      <a:pt x="401" y="113"/>
                      <a:pt x="314" y="27"/>
                      <a:pt x="208" y="27"/>
                    </a:cubicBezTo>
                    <a:cubicBezTo>
                      <a:pt x="125" y="27"/>
                      <a:pt x="52" y="79"/>
                      <a:pt x="25" y="158"/>
                    </a:cubicBezTo>
                    <a:cubicBezTo>
                      <a:pt x="0" y="149"/>
                      <a:pt x="0" y="149"/>
                      <a:pt x="0" y="149"/>
                    </a:cubicBezTo>
                    <a:cubicBezTo>
                      <a:pt x="30" y="60"/>
                      <a:pt x="114" y="0"/>
                      <a:pt x="208" y="0"/>
                    </a:cubicBezTo>
                    <a:cubicBezTo>
                      <a:pt x="329" y="0"/>
                      <a:pt x="428" y="98"/>
                      <a:pt x="428" y="220"/>
                    </a:cubicBezTo>
                    <a:cubicBezTo>
                      <a:pt x="428" y="234"/>
                      <a:pt x="427" y="248"/>
                      <a:pt x="424" y="261"/>
                    </a:cubicBezTo>
                    <a:cubicBezTo>
                      <a:pt x="419" y="287"/>
                      <a:pt x="410" y="311"/>
                      <a:pt x="397" y="333"/>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8" name="Freeform 274">
                <a:extLst>
                  <a:ext uri="{FF2B5EF4-FFF2-40B4-BE49-F238E27FC236}">
                    <a16:creationId xmlns:a16="http://schemas.microsoft.com/office/drawing/2014/main" id="{315ADE3E-07DC-42E8-847A-56B5C547BAED}"/>
                  </a:ext>
                </a:extLst>
              </p:cNvPr>
              <p:cNvSpPr>
                <a:spLocks/>
              </p:cNvSpPr>
              <p:nvPr/>
            </p:nvSpPr>
            <p:spPr bwMode="auto">
              <a:xfrm>
                <a:off x="911796" y="1736206"/>
                <a:ext cx="45413" cy="91294"/>
              </a:xfrm>
              <a:custGeom>
                <a:avLst/>
                <a:gdLst>
                  <a:gd name="T0" fmla="*/ 0 w 104"/>
                  <a:gd name="T1" fmla="*/ 210 h 210"/>
                  <a:gd name="T2" fmla="*/ 0 w 104"/>
                  <a:gd name="T3" fmla="*/ 182 h 210"/>
                  <a:gd name="T4" fmla="*/ 77 w 104"/>
                  <a:gd name="T5" fmla="*/ 105 h 210"/>
                  <a:gd name="T6" fmla="*/ 0 w 104"/>
                  <a:gd name="T7" fmla="*/ 27 h 210"/>
                  <a:gd name="T8" fmla="*/ 0 w 104"/>
                  <a:gd name="T9" fmla="*/ 0 h 210"/>
                  <a:gd name="T10" fmla="*/ 104 w 104"/>
                  <a:gd name="T11" fmla="*/ 105 h 210"/>
                  <a:gd name="T12" fmla="*/ 0 w 104"/>
                  <a:gd name="T13" fmla="*/ 210 h 210"/>
                </a:gdLst>
                <a:ahLst/>
                <a:cxnLst>
                  <a:cxn ang="0">
                    <a:pos x="T0" y="T1"/>
                  </a:cxn>
                  <a:cxn ang="0">
                    <a:pos x="T2" y="T3"/>
                  </a:cxn>
                  <a:cxn ang="0">
                    <a:pos x="T4" y="T5"/>
                  </a:cxn>
                  <a:cxn ang="0">
                    <a:pos x="T6" y="T7"/>
                  </a:cxn>
                  <a:cxn ang="0">
                    <a:pos x="T8" y="T9"/>
                  </a:cxn>
                  <a:cxn ang="0">
                    <a:pos x="T10" y="T11"/>
                  </a:cxn>
                  <a:cxn ang="0">
                    <a:pos x="T12" y="T13"/>
                  </a:cxn>
                </a:cxnLst>
                <a:rect l="0" t="0" r="r" b="b"/>
                <a:pathLst>
                  <a:path w="104" h="210">
                    <a:moveTo>
                      <a:pt x="0" y="210"/>
                    </a:moveTo>
                    <a:cubicBezTo>
                      <a:pt x="0" y="182"/>
                      <a:pt x="0" y="182"/>
                      <a:pt x="0" y="182"/>
                    </a:cubicBezTo>
                    <a:cubicBezTo>
                      <a:pt x="42" y="182"/>
                      <a:pt x="77" y="148"/>
                      <a:pt x="77" y="105"/>
                    </a:cubicBezTo>
                    <a:cubicBezTo>
                      <a:pt x="77" y="62"/>
                      <a:pt x="42" y="27"/>
                      <a:pt x="0" y="27"/>
                    </a:cubicBezTo>
                    <a:cubicBezTo>
                      <a:pt x="0" y="0"/>
                      <a:pt x="0" y="0"/>
                      <a:pt x="0" y="0"/>
                    </a:cubicBezTo>
                    <a:cubicBezTo>
                      <a:pt x="57" y="0"/>
                      <a:pt x="104" y="47"/>
                      <a:pt x="104" y="105"/>
                    </a:cubicBezTo>
                    <a:cubicBezTo>
                      <a:pt x="104" y="163"/>
                      <a:pt x="57" y="210"/>
                      <a:pt x="0" y="21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9" name="Rectangle 275">
                <a:extLst>
                  <a:ext uri="{FF2B5EF4-FFF2-40B4-BE49-F238E27FC236}">
                    <a16:creationId xmlns:a16="http://schemas.microsoft.com/office/drawing/2014/main" id="{11F52EBC-279D-4A60-8D67-FAB81F63D4ED}"/>
                  </a:ext>
                </a:extLst>
              </p:cNvPr>
              <p:cNvSpPr>
                <a:spLocks noChangeArrowheads="1"/>
              </p:cNvSpPr>
              <p:nvPr/>
            </p:nvSpPr>
            <p:spPr bwMode="auto">
              <a:xfrm>
                <a:off x="712354" y="1815327"/>
                <a:ext cx="199442" cy="12173"/>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199" name="Group 198">
              <a:extLst>
                <a:ext uri="{FF2B5EF4-FFF2-40B4-BE49-F238E27FC236}">
                  <a16:creationId xmlns:a16="http://schemas.microsoft.com/office/drawing/2014/main" id="{1B1A1E67-6F01-4D5C-8ACE-DC6F92824318}"/>
                </a:ext>
              </a:extLst>
            </p:cNvPr>
            <p:cNvGrpSpPr/>
            <p:nvPr/>
          </p:nvGrpSpPr>
          <p:grpSpPr>
            <a:xfrm>
              <a:off x="630891" y="1841077"/>
              <a:ext cx="269668" cy="133429"/>
              <a:chOff x="630891" y="1841077"/>
              <a:chExt cx="269668" cy="133429"/>
            </a:xfrm>
          </p:grpSpPr>
          <p:sp>
            <p:nvSpPr>
              <p:cNvPr id="200" name="Freeform 276">
                <a:extLst>
                  <a:ext uri="{FF2B5EF4-FFF2-40B4-BE49-F238E27FC236}">
                    <a16:creationId xmlns:a16="http://schemas.microsoft.com/office/drawing/2014/main" id="{705DF1FF-29BD-4128-8A5B-6692582B0AEF}"/>
                  </a:ext>
                </a:extLst>
              </p:cNvPr>
              <p:cNvSpPr>
                <a:spLocks/>
              </p:cNvSpPr>
              <p:nvPr/>
            </p:nvSpPr>
            <p:spPr bwMode="auto">
              <a:xfrm>
                <a:off x="672091" y="1841077"/>
                <a:ext cx="37454" cy="37922"/>
              </a:xfrm>
              <a:custGeom>
                <a:avLst/>
                <a:gdLst>
                  <a:gd name="T0" fmla="*/ 17 w 80"/>
                  <a:gd name="T1" fmla="*/ 81 h 81"/>
                  <a:gd name="T2" fmla="*/ 0 w 80"/>
                  <a:gd name="T3" fmla="*/ 63 h 81"/>
                  <a:gd name="T4" fmla="*/ 63 w 80"/>
                  <a:gd name="T5" fmla="*/ 0 h 81"/>
                  <a:gd name="T6" fmla="*/ 80 w 80"/>
                  <a:gd name="T7" fmla="*/ 18 h 81"/>
                  <a:gd name="T8" fmla="*/ 17 w 80"/>
                  <a:gd name="T9" fmla="*/ 81 h 81"/>
                </a:gdLst>
                <a:ahLst/>
                <a:cxnLst>
                  <a:cxn ang="0">
                    <a:pos x="T0" y="T1"/>
                  </a:cxn>
                  <a:cxn ang="0">
                    <a:pos x="T2" y="T3"/>
                  </a:cxn>
                  <a:cxn ang="0">
                    <a:pos x="T4" y="T5"/>
                  </a:cxn>
                  <a:cxn ang="0">
                    <a:pos x="T6" y="T7"/>
                  </a:cxn>
                  <a:cxn ang="0">
                    <a:pos x="T8" y="T9"/>
                  </a:cxn>
                </a:cxnLst>
                <a:rect l="0" t="0" r="r" b="b"/>
                <a:pathLst>
                  <a:path w="80" h="81">
                    <a:moveTo>
                      <a:pt x="17" y="81"/>
                    </a:moveTo>
                    <a:lnTo>
                      <a:pt x="0" y="63"/>
                    </a:lnTo>
                    <a:lnTo>
                      <a:pt x="63" y="0"/>
                    </a:lnTo>
                    <a:lnTo>
                      <a:pt x="80" y="18"/>
                    </a:lnTo>
                    <a:lnTo>
                      <a:pt x="17" y="8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1" name="Freeform 277">
                <a:extLst>
                  <a:ext uri="{FF2B5EF4-FFF2-40B4-BE49-F238E27FC236}">
                    <a16:creationId xmlns:a16="http://schemas.microsoft.com/office/drawing/2014/main" id="{A0AB1B1D-996F-4356-8544-A04DF1A2D3DB}"/>
                  </a:ext>
                </a:extLst>
              </p:cNvPr>
              <p:cNvSpPr>
                <a:spLocks/>
              </p:cNvSpPr>
              <p:nvPr/>
            </p:nvSpPr>
            <p:spPr bwMode="auto">
              <a:xfrm>
                <a:off x="702053" y="1889299"/>
                <a:ext cx="43540" cy="44008"/>
              </a:xfrm>
              <a:custGeom>
                <a:avLst/>
                <a:gdLst>
                  <a:gd name="T0" fmla="*/ 17 w 93"/>
                  <a:gd name="T1" fmla="*/ 94 h 94"/>
                  <a:gd name="T2" fmla="*/ 0 w 93"/>
                  <a:gd name="T3" fmla="*/ 76 h 94"/>
                  <a:gd name="T4" fmla="*/ 75 w 93"/>
                  <a:gd name="T5" fmla="*/ 0 h 94"/>
                  <a:gd name="T6" fmla="*/ 93 w 93"/>
                  <a:gd name="T7" fmla="*/ 18 h 94"/>
                  <a:gd name="T8" fmla="*/ 17 w 93"/>
                  <a:gd name="T9" fmla="*/ 94 h 94"/>
                </a:gdLst>
                <a:ahLst/>
                <a:cxnLst>
                  <a:cxn ang="0">
                    <a:pos x="T0" y="T1"/>
                  </a:cxn>
                  <a:cxn ang="0">
                    <a:pos x="T2" y="T3"/>
                  </a:cxn>
                  <a:cxn ang="0">
                    <a:pos x="T4" y="T5"/>
                  </a:cxn>
                  <a:cxn ang="0">
                    <a:pos x="T6" y="T7"/>
                  </a:cxn>
                  <a:cxn ang="0">
                    <a:pos x="T8" y="T9"/>
                  </a:cxn>
                </a:cxnLst>
                <a:rect l="0" t="0" r="r" b="b"/>
                <a:pathLst>
                  <a:path w="93" h="94">
                    <a:moveTo>
                      <a:pt x="17" y="94"/>
                    </a:moveTo>
                    <a:lnTo>
                      <a:pt x="0" y="76"/>
                    </a:lnTo>
                    <a:lnTo>
                      <a:pt x="75" y="0"/>
                    </a:lnTo>
                    <a:lnTo>
                      <a:pt x="93" y="18"/>
                    </a:lnTo>
                    <a:lnTo>
                      <a:pt x="17" y="94"/>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2" name="Freeform 278">
                <a:extLst>
                  <a:ext uri="{FF2B5EF4-FFF2-40B4-BE49-F238E27FC236}">
                    <a16:creationId xmlns:a16="http://schemas.microsoft.com/office/drawing/2014/main" id="{A32328A7-3A5D-4A19-B9F5-22F212A8C6B1}"/>
                  </a:ext>
                </a:extLst>
              </p:cNvPr>
              <p:cNvSpPr>
                <a:spLocks/>
              </p:cNvSpPr>
              <p:nvPr/>
            </p:nvSpPr>
            <p:spPr bwMode="auto">
              <a:xfrm>
                <a:off x="630891" y="1925348"/>
                <a:ext cx="35113" cy="35581"/>
              </a:xfrm>
              <a:custGeom>
                <a:avLst/>
                <a:gdLst>
                  <a:gd name="T0" fmla="*/ 18 w 75"/>
                  <a:gd name="T1" fmla="*/ 76 h 76"/>
                  <a:gd name="T2" fmla="*/ 0 w 75"/>
                  <a:gd name="T3" fmla="*/ 57 h 76"/>
                  <a:gd name="T4" fmla="*/ 58 w 75"/>
                  <a:gd name="T5" fmla="*/ 0 h 76"/>
                  <a:gd name="T6" fmla="*/ 75 w 75"/>
                  <a:gd name="T7" fmla="*/ 18 h 76"/>
                  <a:gd name="T8" fmla="*/ 18 w 75"/>
                  <a:gd name="T9" fmla="*/ 76 h 76"/>
                </a:gdLst>
                <a:ahLst/>
                <a:cxnLst>
                  <a:cxn ang="0">
                    <a:pos x="T0" y="T1"/>
                  </a:cxn>
                  <a:cxn ang="0">
                    <a:pos x="T2" y="T3"/>
                  </a:cxn>
                  <a:cxn ang="0">
                    <a:pos x="T4" y="T5"/>
                  </a:cxn>
                  <a:cxn ang="0">
                    <a:pos x="T6" y="T7"/>
                  </a:cxn>
                  <a:cxn ang="0">
                    <a:pos x="T8" y="T9"/>
                  </a:cxn>
                </a:cxnLst>
                <a:rect l="0" t="0" r="r" b="b"/>
                <a:pathLst>
                  <a:path w="75" h="76">
                    <a:moveTo>
                      <a:pt x="18" y="76"/>
                    </a:moveTo>
                    <a:lnTo>
                      <a:pt x="0" y="57"/>
                    </a:lnTo>
                    <a:lnTo>
                      <a:pt x="58" y="0"/>
                    </a:lnTo>
                    <a:lnTo>
                      <a:pt x="75" y="18"/>
                    </a:lnTo>
                    <a:lnTo>
                      <a:pt x="18" y="76"/>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3" name="Freeform 279">
                <a:extLst>
                  <a:ext uri="{FF2B5EF4-FFF2-40B4-BE49-F238E27FC236}">
                    <a16:creationId xmlns:a16="http://schemas.microsoft.com/office/drawing/2014/main" id="{DBD0DF8D-4B3D-42CF-9D08-30773C211FD4}"/>
                  </a:ext>
                </a:extLst>
              </p:cNvPr>
              <p:cNvSpPr>
                <a:spLocks/>
              </p:cNvSpPr>
              <p:nvPr/>
            </p:nvSpPr>
            <p:spPr bwMode="auto">
              <a:xfrm>
                <a:off x="782580" y="1861676"/>
                <a:ext cx="50563" cy="50563"/>
              </a:xfrm>
              <a:custGeom>
                <a:avLst/>
                <a:gdLst>
                  <a:gd name="T0" fmla="*/ 19 w 108"/>
                  <a:gd name="T1" fmla="*/ 108 h 108"/>
                  <a:gd name="T2" fmla="*/ 0 w 108"/>
                  <a:gd name="T3" fmla="*/ 89 h 108"/>
                  <a:gd name="T4" fmla="*/ 90 w 108"/>
                  <a:gd name="T5" fmla="*/ 0 h 108"/>
                  <a:gd name="T6" fmla="*/ 108 w 108"/>
                  <a:gd name="T7" fmla="*/ 18 h 108"/>
                  <a:gd name="T8" fmla="*/ 19 w 108"/>
                  <a:gd name="T9" fmla="*/ 108 h 108"/>
                </a:gdLst>
                <a:ahLst/>
                <a:cxnLst>
                  <a:cxn ang="0">
                    <a:pos x="T0" y="T1"/>
                  </a:cxn>
                  <a:cxn ang="0">
                    <a:pos x="T2" y="T3"/>
                  </a:cxn>
                  <a:cxn ang="0">
                    <a:pos x="T4" y="T5"/>
                  </a:cxn>
                  <a:cxn ang="0">
                    <a:pos x="T6" y="T7"/>
                  </a:cxn>
                  <a:cxn ang="0">
                    <a:pos x="T8" y="T9"/>
                  </a:cxn>
                </a:cxnLst>
                <a:rect l="0" t="0" r="r" b="b"/>
                <a:pathLst>
                  <a:path w="108" h="108">
                    <a:moveTo>
                      <a:pt x="19" y="108"/>
                    </a:moveTo>
                    <a:lnTo>
                      <a:pt x="0" y="89"/>
                    </a:lnTo>
                    <a:lnTo>
                      <a:pt x="90" y="0"/>
                    </a:lnTo>
                    <a:lnTo>
                      <a:pt x="108" y="18"/>
                    </a:lnTo>
                    <a:lnTo>
                      <a:pt x="19" y="1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4" name="Freeform 280">
                <a:extLst>
                  <a:ext uri="{FF2B5EF4-FFF2-40B4-BE49-F238E27FC236}">
                    <a16:creationId xmlns:a16="http://schemas.microsoft.com/office/drawing/2014/main" id="{ADE7A664-8182-45AA-8BFD-4317C969E060}"/>
                  </a:ext>
                </a:extLst>
              </p:cNvPr>
              <p:cNvSpPr>
                <a:spLocks/>
              </p:cNvSpPr>
              <p:nvPr/>
            </p:nvSpPr>
            <p:spPr bwMode="auto">
              <a:xfrm>
                <a:off x="745126" y="1947352"/>
                <a:ext cx="28090" cy="27154"/>
              </a:xfrm>
              <a:custGeom>
                <a:avLst/>
                <a:gdLst>
                  <a:gd name="T0" fmla="*/ 19 w 60"/>
                  <a:gd name="T1" fmla="*/ 58 h 58"/>
                  <a:gd name="T2" fmla="*/ 0 w 60"/>
                  <a:gd name="T3" fmla="*/ 41 h 58"/>
                  <a:gd name="T4" fmla="*/ 41 w 60"/>
                  <a:gd name="T5" fmla="*/ 0 h 58"/>
                  <a:gd name="T6" fmla="*/ 60 w 60"/>
                  <a:gd name="T7" fmla="*/ 17 h 58"/>
                  <a:gd name="T8" fmla="*/ 19 w 60"/>
                  <a:gd name="T9" fmla="*/ 58 h 58"/>
                </a:gdLst>
                <a:ahLst/>
                <a:cxnLst>
                  <a:cxn ang="0">
                    <a:pos x="T0" y="T1"/>
                  </a:cxn>
                  <a:cxn ang="0">
                    <a:pos x="T2" y="T3"/>
                  </a:cxn>
                  <a:cxn ang="0">
                    <a:pos x="T4" y="T5"/>
                  </a:cxn>
                  <a:cxn ang="0">
                    <a:pos x="T6" y="T7"/>
                  </a:cxn>
                  <a:cxn ang="0">
                    <a:pos x="T8" y="T9"/>
                  </a:cxn>
                </a:cxnLst>
                <a:rect l="0" t="0" r="r" b="b"/>
                <a:pathLst>
                  <a:path w="60" h="58">
                    <a:moveTo>
                      <a:pt x="19" y="58"/>
                    </a:moveTo>
                    <a:lnTo>
                      <a:pt x="0" y="41"/>
                    </a:lnTo>
                    <a:lnTo>
                      <a:pt x="41" y="0"/>
                    </a:lnTo>
                    <a:lnTo>
                      <a:pt x="60" y="17"/>
                    </a:lnTo>
                    <a:lnTo>
                      <a:pt x="19" y="5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5" name="Freeform 281">
                <a:extLst>
                  <a:ext uri="{FF2B5EF4-FFF2-40B4-BE49-F238E27FC236}">
                    <a16:creationId xmlns:a16="http://schemas.microsoft.com/office/drawing/2014/main" id="{BA424243-0FF3-4B86-9F8F-E40CE18E80BF}"/>
                  </a:ext>
                </a:extLst>
              </p:cNvPr>
              <p:cNvSpPr>
                <a:spLocks/>
              </p:cNvSpPr>
              <p:nvPr/>
            </p:nvSpPr>
            <p:spPr bwMode="auto">
              <a:xfrm>
                <a:off x="829866" y="1901471"/>
                <a:ext cx="31368" cy="31836"/>
              </a:xfrm>
              <a:custGeom>
                <a:avLst/>
                <a:gdLst>
                  <a:gd name="T0" fmla="*/ 17 w 67"/>
                  <a:gd name="T1" fmla="*/ 68 h 68"/>
                  <a:gd name="T2" fmla="*/ 0 w 67"/>
                  <a:gd name="T3" fmla="*/ 50 h 68"/>
                  <a:gd name="T4" fmla="*/ 49 w 67"/>
                  <a:gd name="T5" fmla="*/ 0 h 68"/>
                  <a:gd name="T6" fmla="*/ 67 w 67"/>
                  <a:gd name="T7" fmla="*/ 18 h 68"/>
                  <a:gd name="T8" fmla="*/ 17 w 67"/>
                  <a:gd name="T9" fmla="*/ 68 h 68"/>
                </a:gdLst>
                <a:ahLst/>
                <a:cxnLst>
                  <a:cxn ang="0">
                    <a:pos x="T0" y="T1"/>
                  </a:cxn>
                  <a:cxn ang="0">
                    <a:pos x="T2" y="T3"/>
                  </a:cxn>
                  <a:cxn ang="0">
                    <a:pos x="T4" y="T5"/>
                  </a:cxn>
                  <a:cxn ang="0">
                    <a:pos x="T6" y="T7"/>
                  </a:cxn>
                  <a:cxn ang="0">
                    <a:pos x="T8" y="T9"/>
                  </a:cxn>
                </a:cxnLst>
                <a:rect l="0" t="0" r="r" b="b"/>
                <a:pathLst>
                  <a:path w="67" h="68">
                    <a:moveTo>
                      <a:pt x="17" y="68"/>
                    </a:moveTo>
                    <a:lnTo>
                      <a:pt x="0" y="50"/>
                    </a:lnTo>
                    <a:lnTo>
                      <a:pt x="49" y="0"/>
                    </a:lnTo>
                    <a:lnTo>
                      <a:pt x="67" y="18"/>
                    </a:lnTo>
                    <a:lnTo>
                      <a:pt x="17" y="6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6" name="Freeform 282">
                <a:extLst>
                  <a:ext uri="{FF2B5EF4-FFF2-40B4-BE49-F238E27FC236}">
                    <a16:creationId xmlns:a16="http://schemas.microsoft.com/office/drawing/2014/main" id="{3AC7822E-9490-4A66-B53D-1FDE31C6D2DC}"/>
                  </a:ext>
                </a:extLst>
              </p:cNvPr>
              <p:cNvSpPr>
                <a:spLocks/>
              </p:cNvSpPr>
              <p:nvPr/>
            </p:nvSpPr>
            <p:spPr bwMode="auto">
              <a:xfrm>
                <a:off x="850465" y="1848567"/>
                <a:ext cx="26686" cy="27154"/>
              </a:xfrm>
              <a:custGeom>
                <a:avLst/>
                <a:gdLst>
                  <a:gd name="T0" fmla="*/ 18 w 57"/>
                  <a:gd name="T1" fmla="*/ 58 h 58"/>
                  <a:gd name="T2" fmla="*/ 0 w 57"/>
                  <a:gd name="T3" fmla="*/ 39 h 58"/>
                  <a:gd name="T4" fmla="*/ 39 w 57"/>
                  <a:gd name="T5" fmla="*/ 0 h 58"/>
                  <a:gd name="T6" fmla="*/ 57 w 57"/>
                  <a:gd name="T7" fmla="*/ 18 h 58"/>
                  <a:gd name="T8" fmla="*/ 18 w 57"/>
                  <a:gd name="T9" fmla="*/ 58 h 58"/>
                </a:gdLst>
                <a:ahLst/>
                <a:cxnLst>
                  <a:cxn ang="0">
                    <a:pos x="T0" y="T1"/>
                  </a:cxn>
                  <a:cxn ang="0">
                    <a:pos x="T2" y="T3"/>
                  </a:cxn>
                  <a:cxn ang="0">
                    <a:pos x="T4" y="T5"/>
                  </a:cxn>
                  <a:cxn ang="0">
                    <a:pos x="T6" y="T7"/>
                  </a:cxn>
                  <a:cxn ang="0">
                    <a:pos x="T8" y="T9"/>
                  </a:cxn>
                </a:cxnLst>
                <a:rect l="0" t="0" r="r" b="b"/>
                <a:pathLst>
                  <a:path w="57" h="58">
                    <a:moveTo>
                      <a:pt x="18" y="58"/>
                    </a:moveTo>
                    <a:lnTo>
                      <a:pt x="0" y="39"/>
                    </a:lnTo>
                    <a:lnTo>
                      <a:pt x="39" y="0"/>
                    </a:lnTo>
                    <a:lnTo>
                      <a:pt x="57" y="18"/>
                    </a:lnTo>
                    <a:lnTo>
                      <a:pt x="18" y="5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7" name="Freeform 283">
                <a:extLst>
                  <a:ext uri="{FF2B5EF4-FFF2-40B4-BE49-F238E27FC236}">
                    <a16:creationId xmlns:a16="http://schemas.microsoft.com/office/drawing/2014/main" id="{9CF925BC-B964-4E0F-BDA6-187A1D3620F9}"/>
                  </a:ext>
                </a:extLst>
              </p:cNvPr>
              <p:cNvSpPr>
                <a:spLocks/>
              </p:cNvSpPr>
              <p:nvPr/>
            </p:nvSpPr>
            <p:spPr bwMode="auto">
              <a:xfrm>
                <a:off x="755894" y="1842950"/>
                <a:ext cx="24813" cy="24813"/>
              </a:xfrm>
              <a:custGeom>
                <a:avLst/>
                <a:gdLst>
                  <a:gd name="T0" fmla="*/ 18 w 53"/>
                  <a:gd name="T1" fmla="*/ 53 h 53"/>
                  <a:gd name="T2" fmla="*/ 0 w 53"/>
                  <a:gd name="T3" fmla="*/ 35 h 53"/>
                  <a:gd name="T4" fmla="*/ 35 w 53"/>
                  <a:gd name="T5" fmla="*/ 0 h 53"/>
                  <a:gd name="T6" fmla="*/ 53 w 53"/>
                  <a:gd name="T7" fmla="*/ 19 h 53"/>
                  <a:gd name="T8" fmla="*/ 18 w 53"/>
                  <a:gd name="T9" fmla="*/ 53 h 53"/>
                </a:gdLst>
                <a:ahLst/>
                <a:cxnLst>
                  <a:cxn ang="0">
                    <a:pos x="T0" y="T1"/>
                  </a:cxn>
                  <a:cxn ang="0">
                    <a:pos x="T2" y="T3"/>
                  </a:cxn>
                  <a:cxn ang="0">
                    <a:pos x="T4" y="T5"/>
                  </a:cxn>
                  <a:cxn ang="0">
                    <a:pos x="T6" y="T7"/>
                  </a:cxn>
                  <a:cxn ang="0">
                    <a:pos x="T8" y="T9"/>
                  </a:cxn>
                </a:cxnLst>
                <a:rect l="0" t="0" r="r" b="b"/>
                <a:pathLst>
                  <a:path w="53" h="53">
                    <a:moveTo>
                      <a:pt x="18" y="53"/>
                    </a:moveTo>
                    <a:lnTo>
                      <a:pt x="0" y="35"/>
                    </a:lnTo>
                    <a:lnTo>
                      <a:pt x="35" y="0"/>
                    </a:lnTo>
                    <a:lnTo>
                      <a:pt x="53" y="19"/>
                    </a:lnTo>
                    <a:lnTo>
                      <a:pt x="18" y="53"/>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8" name="Freeform 284">
                <a:extLst>
                  <a:ext uri="{FF2B5EF4-FFF2-40B4-BE49-F238E27FC236}">
                    <a16:creationId xmlns:a16="http://schemas.microsoft.com/office/drawing/2014/main" id="{CD8E35FC-F974-4A09-9A16-33ACE3E5B119}"/>
                  </a:ext>
                </a:extLst>
              </p:cNvPr>
              <p:cNvSpPr>
                <a:spLocks/>
              </p:cNvSpPr>
              <p:nvPr/>
            </p:nvSpPr>
            <p:spPr bwMode="auto">
              <a:xfrm>
                <a:off x="645873" y="1880403"/>
                <a:ext cx="11704" cy="12173"/>
              </a:xfrm>
              <a:custGeom>
                <a:avLst/>
                <a:gdLst>
                  <a:gd name="T0" fmla="*/ 14 w 27"/>
                  <a:gd name="T1" fmla="*/ 28 h 28"/>
                  <a:gd name="T2" fmla="*/ 4 w 27"/>
                  <a:gd name="T3" fmla="*/ 24 h 28"/>
                  <a:gd name="T4" fmla="*/ 2 w 27"/>
                  <a:gd name="T5" fmla="*/ 22 h 28"/>
                  <a:gd name="T6" fmla="*/ 1 w 27"/>
                  <a:gd name="T7" fmla="*/ 20 h 28"/>
                  <a:gd name="T8" fmla="*/ 0 w 27"/>
                  <a:gd name="T9" fmla="*/ 17 h 28"/>
                  <a:gd name="T10" fmla="*/ 0 w 27"/>
                  <a:gd name="T11" fmla="*/ 15 h 28"/>
                  <a:gd name="T12" fmla="*/ 0 w 27"/>
                  <a:gd name="T13" fmla="*/ 12 h 28"/>
                  <a:gd name="T14" fmla="*/ 1 w 27"/>
                  <a:gd name="T15" fmla="*/ 10 h 28"/>
                  <a:gd name="T16" fmla="*/ 2 w 27"/>
                  <a:gd name="T17" fmla="*/ 7 h 28"/>
                  <a:gd name="T18" fmla="*/ 4 w 27"/>
                  <a:gd name="T19" fmla="*/ 5 h 28"/>
                  <a:gd name="T20" fmla="*/ 23 w 27"/>
                  <a:gd name="T21" fmla="*/ 5 h 28"/>
                  <a:gd name="T22" fmla="*/ 27 w 27"/>
                  <a:gd name="T23" fmla="*/ 15 h 28"/>
                  <a:gd name="T24" fmla="*/ 27 w 27"/>
                  <a:gd name="T25" fmla="*/ 17 h 28"/>
                  <a:gd name="T26" fmla="*/ 26 w 27"/>
                  <a:gd name="T27" fmla="*/ 20 h 28"/>
                  <a:gd name="T28" fmla="*/ 25 w 27"/>
                  <a:gd name="T29" fmla="*/ 22 h 28"/>
                  <a:gd name="T30" fmla="*/ 23 w 27"/>
                  <a:gd name="T31" fmla="*/ 24 h 28"/>
                  <a:gd name="T32" fmla="*/ 14 w 27"/>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8">
                    <a:moveTo>
                      <a:pt x="14" y="28"/>
                    </a:moveTo>
                    <a:cubicBezTo>
                      <a:pt x="10" y="28"/>
                      <a:pt x="6" y="27"/>
                      <a:pt x="4" y="24"/>
                    </a:cubicBezTo>
                    <a:cubicBezTo>
                      <a:pt x="3" y="24"/>
                      <a:pt x="3" y="23"/>
                      <a:pt x="2" y="22"/>
                    </a:cubicBezTo>
                    <a:cubicBezTo>
                      <a:pt x="2" y="21"/>
                      <a:pt x="1" y="21"/>
                      <a:pt x="1" y="20"/>
                    </a:cubicBezTo>
                    <a:cubicBezTo>
                      <a:pt x="1" y="19"/>
                      <a:pt x="0" y="18"/>
                      <a:pt x="0" y="17"/>
                    </a:cubicBezTo>
                    <a:cubicBezTo>
                      <a:pt x="0" y="16"/>
                      <a:pt x="0" y="16"/>
                      <a:pt x="0" y="15"/>
                    </a:cubicBezTo>
                    <a:cubicBezTo>
                      <a:pt x="0" y="14"/>
                      <a:pt x="0" y="13"/>
                      <a:pt x="0" y="12"/>
                    </a:cubicBezTo>
                    <a:cubicBezTo>
                      <a:pt x="0" y="11"/>
                      <a:pt x="1" y="10"/>
                      <a:pt x="1" y="10"/>
                    </a:cubicBezTo>
                    <a:cubicBezTo>
                      <a:pt x="1" y="9"/>
                      <a:pt x="2" y="8"/>
                      <a:pt x="2" y="7"/>
                    </a:cubicBezTo>
                    <a:cubicBezTo>
                      <a:pt x="3" y="6"/>
                      <a:pt x="3" y="6"/>
                      <a:pt x="4" y="5"/>
                    </a:cubicBezTo>
                    <a:cubicBezTo>
                      <a:pt x="9" y="0"/>
                      <a:pt x="18" y="0"/>
                      <a:pt x="23" y="5"/>
                    </a:cubicBezTo>
                    <a:cubicBezTo>
                      <a:pt x="26" y="8"/>
                      <a:pt x="27" y="11"/>
                      <a:pt x="27" y="15"/>
                    </a:cubicBezTo>
                    <a:cubicBezTo>
                      <a:pt x="27" y="16"/>
                      <a:pt x="27" y="16"/>
                      <a:pt x="27" y="17"/>
                    </a:cubicBezTo>
                    <a:cubicBezTo>
                      <a:pt x="27" y="18"/>
                      <a:pt x="26" y="19"/>
                      <a:pt x="26" y="20"/>
                    </a:cubicBezTo>
                    <a:cubicBezTo>
                      <a:pt x="26" y="21"/>
                      <a:pt x="25" y="21"/>
                      <a:pt x="25" y="22"/>
                    </a:cubicBezTo>
                    <a:cubicBezTo>
                      <a:pt x="24" y="23"/>
                      <a:pt x="24" y="24"/>
                      <a:pt x="23" y="24"/>
                    </a:cubicBezTo>
                    <a:cubicBezTo>
                      <a:pt x="21" y="27"/>
                      <a:pt x="17" y="28"/>
                      <a:pt x="14" y="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9" name="Freeform 285">
                <a:extLst>
                  <a:ext uri="{FF2B5EF4-FFF2-40B4-BE49-F238E27FC236}">
                    <a16:creationId xmlns:a16="http://schemas.microsoft.com/office/drawing/2014/main" id="{C3994857-059E-4BEC-84B8-D76E9D9D1600}"/>
                  </a:ext>
                </a:extLst>
              </p:cNvPr>
              <p:cNvSpPr>
                <a:spLocks/>
              </p:cNvSpPr>
              <p:nvPr/>
            </p:nvSpPr>
            <p:spPr bwMode="auto">
              <a:xfrm>
                <a:off x="717504" y="1864954"/>
                <a:ext cx="12173" cy="12173"/>
              </a:xfrm>
              <a:custGeom>
                <a:avLst/>
                <a:gdLst>
                  <a:gd name="T0" fmla="*/ 14 w 28"/>
                  <a:gd name="T1" fmla="*/ 28 h 28"/>
                  <a:gd name="T2" fmla="*/ 4 w 28"/>
                  <a:gd name="T3" fmla="*/ 24 h 28"/>
                  <a:gd name="T4" fmla="*/ 3 w 28"/>
                  <a:gd name="T5" fmla="*/ 22 h 28"/>
                  <a:gd name="T6" fmla="*/ 2 w 28"/>
                  <a:gd name="T7" fmla="*/ 20 h 28"/>
                  <a:gd name="T8" fmla="*/ 1 w 28"/>
                  <a:gd name="T9" fmla="*/ 17 h 28"/>
                  <a:gd name="T10" fmla="*/ 0 w 28"/>
                  <a:gd name="T11" fmla="*/ 14 h 28"/>
                  <a:gd name="T12" fmla="*/ 4 w 28"/>
                  <a:gd name="T13" fmla="*/ 5 h 28"/>
                  <a:gd name="T14" fmla="*/ 17 w 28"/>
                  <a:gd name="T15" fmla="*/ 1 h 28"/>
                  <a:gd name="T16" fmla="*/ 19 w 28"/>
                  <a:gd name="T17" fmla="*/ 2 h 28"/>
                  <a:gd name="T18" fmla="*/ 22 w 28"/>
                  <a:gd name="T19" fmla="*/ 3 h 28"/>
                  <a:gd name="T20" fmla="*/ 24 w 28"/>
                  <a:gd name="T21" fmla="*/ 5 h 28"/>
                  <a:gd name="T22" fmla="*/ 28 w 28"/>
                  <a:gd name="T23" fmla="*/ 14 h 28"/>
                  <a:gd name="T24" fmla="*/ 24 w 28"/>
                  <a:gd name="T25" fmla="*/ 24 h 28"/>
                  <a:gd name="T26" fmla="*/ 22 w 28"/>
                  <a:gd name="T27" fmla="*/ 26 h 28"/>
                  <a:gd name="T28" fmla="*/ 19 w 28"/>
                  <a:gd name="T29" fmla="*/ 27 h 28"/>
                  <a:gd name="T30" fmla="*/ 17 w 28"/>
                  <a:gd name="T31" fmla="*/ 28 h 28"/>
                  <a:gd name="T32" fmla="*/ 14 w 28"/>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14" y="28"/>
                    </a:moveTo>
                    <a:cubicBezTo>
                      <a:pt x="11" y="28"/>
                      <a:pt x="7" y="27"/>
                      <a:pt x="4" y="24"/>
                    </a:cubicBezTo>
                    <a:cubicBezTo>
                      <a:pt x="4" y="23"/>
                      <a:pt x="3" y="23"/>
                      <a:pt x="3" y="22"/>
                    </a:cubicBezTo>
                    <a:cubicBezTo>
                      <a:pt x="2" y="21"/>
                      <a:pt x="2" y="20"/>
                      <a:pt x="2" y="20"/>
                    </a:cubicBezTo>
                    <a:cubicBezTo>
                      <a:pt x="1" y="19"/>
                      <a:pt x="1" y="18"/>
                      <a:pt x="1" y="17"/>
                    </a:cubicBezTo>
                    <a:cubicBezTo>
                      <a:pt x="1" y="16"/>
                      <a:pt x="0" y="15"/>
                      <a:pt x="0" y="14"/>
                    </a:cubicBezTo>
                    <a:cubicBezTo>
                      <a:pt x="0" y="11"/>
                      <a:pt x="2" y="7"/>
                      <a:pt x="4" y="5"/>
                    </a:cubicBezTo>
                    <a:cubicBezTo>
                      <a:pt x="8" y="2"/>
                      <a:pt x="12" y="0"/>
                      <a:pt x="17" y="1"/>
                    </a:cubicBezTo>
                    <a:cubicBezTo>
                      <a:pt x="18" y="1"/>
                      <a:pt x="18" y="2"/>
                      <a:pt x="19" y="2"/>
                    </a:cubicBezTo>
                    <a:cubicBezTo>
                      <a:pt x="20" y="2"/>
                      <a:pt x="21" y="3"/>
                      <a:pt x="22" y="3"/>
                    </a:cubicBezTo>
                    <a:cubicBezTo>
                      <a:pt x="22" y="4"/>
                      <a:pt x="23" y="4"/>
                      <a:pt x="24" y="5"/>
                    </a:cubicBezTo>
                    <a:cubicBezTo>
                      <a:pt x="26" y="7"/>
                      <a:pt x="28" y="11"/>
                      <a:pt x="28" y="14"/>
                    </a:cubicBezTo>
                    <a:cubicBezTo>
                      <a:pt x="28" y="18"/>
                      <a:pt x="26" y="22"/>
                      <a:pt x="24" y="24"/>
                    </a:cubicBezTo>
                    <a:cubicBezTo>
                      <a:pt x="23" y="25"/>
                      <a:pt x="22" y="25"/>
                      <a:pt x="22" y="26"/>
                    </a:cubicBezTo>
                    <a:cubicBezTo>
                      <a:pt x="21" y="26"/>
                      <a:pt x="20" y="27"/>
                      <a:pt x="19" y="27"/>
                    </a:cubicBezTo>
                    <a:cubicBezTo>
                      <a:pt x="18" y="27"/>
                      <a:pt x="18" y="28"/>
                      <a:pt x="17" y="28"/>
                    </a:cubicBezTo>
                    <a:cubicBezTo>
                      <a:pt x="16" y="28"/>
                      <a:pt x="15" y="28"/>
                      <a:pt x="14" y="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0" name="Freeform 286">
                <a:extLst>
                  <a:ext uri="{FF2B5EF4-FFF2-40B4-BE49-F238E27FC236}">
                    <a16:creationId xmlns:a16="http://schemas.microsoft.com/office/drawing/2014/main" id="{1F44A5F9-580E-4A01-9619-12315F25EFC2}"/>
                  </a:ext>
                </a:extLst>
              </p:cNvPr>
              <p:cNvSpPr>
                <a:spLocks/>
              </p:cNvSpPr>
              <p:nvPr/>
            </p:nvSpPr>
            <p:spPr bwMode="auto">
              <a:xfrm>
                <a:off x="758703" y="1915048"/>
                <a:ext cx="11704" cy="12173"/>
              </a:xfrm>
              <a:custGeom>
                <a:avLst/>
                <a:gdLst>
                  <a:gd name="T0" fmla="*/ 14 w 27"/>
                  <a:gd name="T1" fmla="*/ 28 h 28"/>
                  <a:gd name="T2" fmla="*/ 4 w 27"/>
                  <a:gd name="T3" fmla="*/ 24 h 28"/>
                  <a:gd name="T4" fmla="*/ 2 w 27"/>
                  <a:gd name="T5" fmla="*/ 22 h 28"/>
                  <a:gd name="T6" fmla="*/ 1 w 27"/>
                  <a:gd name="T7" fmla="*/ 20 h 28"/>
                  <a:gd name="T8" fmla="*/ 0 w 27"/>
                  <a:gd name="T9" fmla="*/ 18 h 28"/>
                  <a:gd name="T10" fmla="*/ 0 w 27"/>
                  <a:gd name="T11" fmla="*/ 15 h 28"/>
                  <a:gd name="T12" fmla="*/ 0 w 27"/>
                  <a:gd name="T13" fmla="*/ 12 h 28"/>
                  <a:gd name="T14" fmla="*/ 1 w 27"/>
                  <a:gd name="T15" fmla="*/ 10 h 28"/>
                  <a:gd name="T16" fmla="*/ 2 w 27"/>
                  <a:gd name="T17" fmla="*/ 7 h 28"/>
                  <a:gd name="T18" fmla="*/ 4 w 27"/>
                  <a:gd name="T19" fmla="*/ 5 h 28"/>
                  <a:gd name="T20" fmla="*/ 23 w 27"/>
                  <a:gd name="T21" fmla="*/ 5 h 28"/>
                  <a:gd name="T22" fmla="*/ 25 w 27"/>
                  <a:gd name="T23" fmla="*/ 7 h 28"/>
                  <a:gd name="T24" fmla="*/ 26 w 27"/>
                  <a:gd name="T25" fmla="*/ 10 h 28"/>
                  <a:gd name="T26" fmla="*/ 27 w 27"/>
                  <a:gd name="T27" fmla="*/ 12 h 28"/>
                  <a:gd name="T28" fmla="*/ 27 w 27"/>
                  <a:gd name="T29" fmla="*/ 15 h 28"/>
                  <a:gd name="T30" fmla="*/ 27 w 27"/>
                  <a:gd name="T31" fmla="*/ 18 h 28"/>
                  <a:gd name="T32" fmla="*/ 26 w 27"/>
                  <a:gd name="T33" fmla="*/ 20 h 28"/>
                  <a:gd name="T34" fmla="*/ 25 w 27"/>
                  <a:gd name="T35" fmla="*/ 22 h 28"/>
                  <a:gd name="T36" fmla="*/ 23 w 27"/>
                  <a:gd name="T37" fmla="*/ 24 h 28"/>
                  <a:gd name="T38" fmla="*/ 14 w 27"/>
                  <a:gd name="T3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8">
                    <a:moveTo>
                      <a:pt x="14" y="28"/>
                    </a:moveTo>
                    <a:cubicBezTo>
                      <a:pt x="10" y="28"/>
                      <a:pt x="6" y="27"/>
                      <a:pt x="4" y="24"/>
                    </a:cubicBezTo>
                    <a:cubicBezTo>
                      <a:pt x="3" y="24"/>
                      <a:pt x="3" y="23"/>
                      <a:pt x="2" y="22"/>
                    </a:cubicBezTo>
                    <a:cubicBezTo>
                      <a:pt x="2" y="22"/>
                      <a:pt x="1" y="21"/>
                      <a:pt x="1" y="20"/>
                    </a:cubicBezTo>
                    <a:cubicBezTo>
                      <a:pt x="1" y="19"/>
                      <a:pt x="0" y="18"/>
                      <a:pt x="0" y="18"/>
                    </a:cubicBezTo>
                    <a:cubicBezTo>
                      <a:pt x="0" y="17"/>
                      <a:pt x="0" y="16"/>
                      <a:pt x="0" y="15"/>
                    </a:cubicBezTo>
                    <a:cubicBezTo>
                      <a:pt x="0" y="14"/>
                      <a:pt x="0" y="13"/>
                      <a:pt x="0" y="12"/>
                    </a:cubicBezTo>
                    <a:cubicBezTo>
                      <a:pt x="0" y="11"/>
                      <a:pt x="1" y="10"/>
                      <a:pt x="1" y="10"/>
                    </a:cubicBezTo>
                    <a:cubicBezTo>
                      <a:pt x="1" y="9"/>
                      <a:pt x="2" y="8"/>
                      <a:pt x="2" y="7"/>
                    </a:cubicBezTo>
                    <a:cubicBezTo>
                      <a:pt x="3" y="7"/>
                      <a:pt x="3" y="6"/>
                      <a:pt x="4" y="5"/>
                    </a:cubicBezTo>
                    <a:cubicBezTo>
                      <a:pt x="9" y="0"/>
                      <a:pt x="18" y="0"/>
                      <a:pt x="23" y="5"/>
                    </a:cubicBezTo>
                    <a:cubicBezTo>
                      <a:pt x="24" y="6"/>
                      <a:pt x="24" y="7"/>
                      <a:pt x="25" y="7"/>
                    </a:cubicBezTo>
                    <a:cubicBezTo>
                      <a:pt x="25" y="8"/>
                      <a:pt x="26" y="9"/>
                      <a:pt x="26" y="10"/>
                    </a:cubicBezTo>
                    <a:cubicBezTo>
                      <a:pt x="26" y="10"/>
                      <a:pt x="27" y="11"/>
                      <a:pt x="27" y="12"/>
                    </a:cubicBezTo>
                    <a:cubicBezTo>
                      <a:pt x="27" y="13"/>
                      <a:pt x="27" y="14"/>
                      <a:pt x="27" y="15"/>
                    </a:cubicBezTo>
                    <a:cubicBezTo>
                      <a:pt x="27" y="16"/>
                      <a:pt x="27" y="17"/>
                      <a:pt x="27" y="18"/>
                    </a:cubicBezTo>
                    <a:cubicBezTo>
                      <a:pt x="27" y="18"/>
                      <a:pt x="26" y="19"/>
                      <a:pt x="26" y="20"/>
                    </a:cubicBezTo>
                    <a:cubicBezTo>
                      <a:pt x="26" y="21"/>
                      <a:pt x="25" y="22"/>
                      <a:pt x="25" y="22"/>
                    </a:cubicBezTo>
                    <a:cubicBezTo>
                      <a:pt x="24" y="23"/>
                      <a:pt x="24" y="24"/>
                      <a:pt x="23" y="24"/>
                    </a:cubicBezTo>
                    <a:cubicBezTo>
                      <a:pt x="21" y="27"/>
                      <a:pt x="17" y="28"/>
                      <a:pt x="14" y="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1" name="Freeform 287">
                <a:extLst>
                  <a:ext uri="{FF2B5EF4-FFF2-40B4-BE49-F238E27FC236}">
                    <a16:creationId xmlns:a16="http://schemas.microsoft.com/office/drawing/2014/main" id="{0BDCC17F-381D-4725-AC80-D353BBAE7273}"/>
                  </a:ext>
                </a:extLst>
              </p:cNvPr>
              <p:cNvSpPr>
                <a:spLocks/>
              </p:cNvSpPr>
              <p:nvPr/>
            </p:nvSpPr>
            <p:spPr bwMode="auto">
              <a:xfrm>
                <a:off x="793348" y="1961398"/>
                <a:ext cx="12173" cy="11704"/>
              </a:xfrm>
              <a:custGeom>
                <a:avLst/>
                <a:gdLst>
                  <a:gd name="T0" fmla="*/ 14 w 28"/>
                  <a:gd name="T1" fmla="*/ 27 h 27"/>
                  <a:gd name="T2" fmla="*/ 4 w 28"/>
                  <a:gd name="T3" fmla="*/ 23 h 27"/>
                  <a:gd name="T4" fmla="*/ 0 w 28"/>
                  <a:gd name="T5" fmla="*/ 14 h 27"/>
                  <a:gd name="T6" fmla="*/ 1 w 28"/>
                  <a:gd name="T7" fmla="*/ 11 h 27"/>
                  <a:gd name="T8" fmla="*/ 2 w 28"/>
                  <a:gd name="T9" fmla="*/ 9 h 27"/>
                  <a:gd name="T10" fmla="*/ 3 w 28"/>
                  <a:gd name="T11" fmla="*/ 6 h 27"/>
                  <a:gd name="T12" fmla="*/ 4 w 28"/>
                  <a:gd name="T13" fmla="*/ 4 h 27"/>
                  <a:gd name="T14" fmla="*/ 17 w 28"/>
                  <a:gd name="T15" fmla="*/ 1 h 27"/>
                  <a:gd name="T16" fmla="*/ 19 w 28"/>
                  <a:gd name="T17" fmla="*/ 1 h 27"/>
                  <a:gd name="T18" fmla="*/ 22 w 28"/>
                  <a:gd name="T19" fmla="*/ 3 h 27"/>
                  <a:gd name="T20" fmla="*/ 24 w 28"/>
                  <a:gd name="T21" fmla="*/ 4 h 27"/>
                  <a:gd name="T22" fmla="*/ 25 w 28"/>
                  <a:gd name="T23" fmla="*/ 6 h 27"/>
                  <a:gd name="T24" fmla="*/ 27 w 28"/>
                  <a:gd name="T25" fmla="*/ 9 h 27"/>
                  <a:gd name="T26" fmla="*/ 27 w 28"/>
                  <a:gd name="T27" fmla="*/ 11 h 27"/>
                  <a:gd name="T28" fmla="*/ 28 w 28"/>
                  <a:gd name="T29" fmla="*/ 14 h 27"/>
                  <a:gd name="T30" fmla="*/ 27 w 28"/>
                  <a:gd name="T31" fmla="*/ 17 h 27"/>
                  <a:gd name="T32" fmla="*/ 27 w 28"/>
                  <a:gd name="T33" fmla="*/ 19 h 27"/>
                  <a:gd name="T34" fmla="*/ 25 w 28"/>
                  <a:gd name="T35" fmla="*/ 21 h 27"/>
                  <a:gd name="T36" fmla="*/ 24 w 28"/>
                  <a:gd name="T37" fmla="*/ 23 h 27"/>
                  <a:gd name="T38" fmla="*/ 22 w 28"/>
                  <a:gd name="T39" fmla="*/ 25 h 27"/>
                  <a:gd name="T40" fmla="*/ 19 w 28"/>
                  <a:gd name="T41" fmla="*/ 26 h 27"/>
                  <a:gd name="T42" fmla="*/ 17 w 28"/>
                  <a:gd name="T43" fmla="*/ 27 h 27"/>
                  <a:gd name="T44" fmla="*/ 14 w 28"/>
                  <a:gd name="T4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7">
                    <a:moveTo>
                      <a:pt x="14" y="27"/>
                    </a:moveTo>
                    <a:cubicBezTo>
                      <a:pt x="10" y="27"/>
                      <a:pt x="7" y="26"/>
                      <a:pt x="4" y="23"/>
                    </a:cubicBezTo>
                    <a:cubicBezTo>
                      <a:pt x="2" y="21"/>
                      <a:pt x="0" y="18"/>
                      <a:pt x="0" y="14"/>
                    </a:cubicBezTo>
                    <a:cubicBezTo>
                      <a:pt x="0" y="13"/>
                      <a:pt x="1" y="12"/>
                      <a:pt x="1" y="11"/>
                    </a:cubicBezTo>
                    <a:cubicBezTo>
                      <a:pt x="1" y="10"/>
                      <a:pt x="1" y="10"/>
                      <a:pt x="2" y="9"/>
                    </a:cubicBezTo>
                    <a:cubicBezTo>
                      <a:pt x="2" y="8"/>
                      <a:pt x="2" y="7"/>
                      <a:pt x="3" y="6"/>
                    </a:cubicBezTo>
                    <a:cubicBezTo>
                      <a:pt x="3" y="6"/>
                      <a:pt x="4" y="5"/>
                      <a:pt x="4" y="4"/>
                    </a:cubicBezTo>
                    <a:cubicBezTo>
                      <a:pt x="8" y="1"/>
                      <a:pt x="12" y="0"/>
                      <a:pt x="17" y="1"/>
                    </a:cubicBezTo>
                    <a:cubicBezTo>
                      <a:pt x="18" y="1"/>
                      <a:pt x="18" y="1"/>
                      <a:pt x="19" y="1"/>
                    </a:cubicBezTo>
                    <a:cubicBezTo>
                      <a:pt x="20" y="2"/>
                      <a:pt x="21" y="2"/>
                      <a:pt x="22" y="3"/>
                    </a:cubicBezTo>
                    <a:cubicBezTo>
                      <a:pt x="22" y="3"/>
                      <a:pt x="23" y="4"/>
                      <a:pt x="24" y="4"/>
                    </a:cubicBezTo>
                    <a:cubicBezTo>
                      <a:pt x="24" y="5"/>
                      <a:pt x="25" y="6"/>
                      <a:pt x="25" y="6"/>
                    </a:cubicBezTo>
                    <a:cubicBezTo>
                      <a:pt x="26" y="7"/>
                      <a:pt x="26" y="8"/>
                      <a:pt x="27" y="9"/>
                    </a:cubicBezTo>
                    <a:cubicBezTo>
                      <a:pt x="27" y="10"/>
                      <a:pt x="27" y="10"/>
                      <a:pt x="27" y="11"/>
                    </a:cubicBezTo>
                    <a:cubicBezTo>
                      <a:pt x="28" y="12"/>
                      <a:pt x="28" y="13"/>
                      <a:pt x="28" y="14"/>
                    </a:cubicBezTo>
                    <a:cubicBezTo>
                      <a:pt x="28" y="15"/>
                      <a:pt x="28" y="16"/>
                      <a:pt x="27" y="17"/>
                    </a:cubicBezTo>
                    <a:cubicBezTo>
                      <a:pt x="27" y="17"/>
                      <a:pt x="27" y="18"/>
                      <a:pt x="27" y="19"/>
                    </a:cubicBezTo>
                    <a:cubicBezTo>
                      <a:pt x="26" y="20"/>
                      <a:pt x="26" y="21"/>
                      <a:pt x="25" y="21"/>
                    </a:cubicBezTo>
                    <a:cubicBezTo>
                      <a:pt x="25" y="22"/>
                      <a:pt x="24" y="23"/>
                      <a:pt x="24" y="23"/>
                    </a:cubicBezTo>
                    <a:cubicBezTo>
                      <a:pt x="23" y="24"/>
                      <a:pt x="22" y="25"/>
                      <a:pt x="22" y="25"/>
                    </a:cubicBezTo>
                    <a:cubicBezTo>
                      <a:pt x="21" y="26"/>
                      <a:pt x="20" y="26"/>
                      <a:pt x="19" y="26"/>
                    </a:cubicBezTo>
                    <a:cubicBezTo>
                      <a:pt x="18" y="27"/>
                      <a:pt x="18" y="27"/>
                      <a:pt x="17" y="27"/>
                    </a:cubicBezTo>
                    <a:cubicBezTo>
                      <a:pt x="16" y="27"/>
                      <a:pt x="15" y="27"/>
                      <a:pt x="14" y="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2" name="Freeform 288">
                <a:extLst>
                  <a:ext uri="{FF2B5EF4-FFF2-40B4-BE49-F238E27FC236}">
                    <a16:creationId xmlns:a16="http://schemas.microsoft.com/office/drawing/2014/main" id="{DC9EADA2-D7B3-4971-92B9-BE8B3D79BE7E}"/>
                  </a:ext>
                </a:extLst>
              </p:cNvPr>
              <p:cNvSpPr>
                <a:spLocks/>
              </p:cNvSpPr>
              <p:nvPr/>
            </p:nvSpPr>
            <p:spPr bwMode="auto">
              <a:xfrm>
                <a:off x="814415" y="1903812"/>
                <a:ext cx="11704" cy="11704"/>
              </a:xfrm>
              <a:custGeom>
                <a:avLst/>
                <a:gdLst>
                  <a:gd name="T0" fmla="*/ 14 w 27"/>
                  <a:gd name="T1" fmla="*/ 27 h 27"/>
                  <a:gd name="T2" fmla="*/ 11 w 27"/>
                  <a:gd name="T3" fmla="*/ 27 h 27"/>
                  <a:gd name="T4" fmla="*/ 9 w 27"/>
                  <a:gd name="T5" fmla="*/ 26 h 27"/>
                  <a:gd name="T6" fmla="*/ 6 w 27"/>
                  <a:gd name="T7" fmla="*/ 25 h 27"/>
                  <a:gd name="T8" fmla="*/ 4 w 27"/>
                  <a:gd name="T9" fmla="*/ 23 h 27"/>
                  <a:gd name="T10" fmla="*/ 0 w 27"/>
                  <a:gd name="T11" fmla="*/ 14 h 27"/>
                  <a:gd name="T12" fmla="*/ 4 w 27"/>
                  <a:gd name="T13" fmla="*/ 4 h 27"/>
                  <a:gd name="T14" fmla="*/ 6 w 27"/>
                  <a:gd name="T15" fmla="*/ 2 h 27"/>
                  <a:gd name="T16" fmla="*/ 9 w 27"/>
                  <a:gd name="T17" fmla="*/ 1 h 27"/>
                  <a:gd name="T18" fmla="*/ 11 w 27"/>
                  <a:gd name="T19" fmla="*/ 0 h 27"/>
                  <a:gd name="T20" fmla="*/ 16 w 27"/>
                  <a:gd name="T21" fmla="*/ 0 h 27"/>
                  <a:gd name="T22" fmla="*/ 19 w 27"/>
                  <a:gd name="T23" fmla="*/ 1 h 27"/>
                  <a:gd name="T24" fmla="*/ 21 w 27"/>
                  <a:gd name="T25" fmla="*/ 2 h 27"/>
                  <a:gd name="T26" fmla="*/ 23 w 27"/>
                  <a:gd name="T27" fmla="*/ 4 h 27"/>
                  <a:gd name="T28" fmla="*/ 27 w 27"/>
                  <a:gd name="T29" fmla="*/ 14 h 27"/>
                  <a:gd name="T30" fmla="*/ 23 w 27"/>
                  <a:gd name="T31" fmla="*/ 23 h 27"/>
                  <a:gd name="T32" fmla="*/ 21 w 27"/>
                  <a:gd name="T33" fmla="*/ 25 h 27"/>
                  <a:gd name="T34" fmla="*/ 19 w 27"/>
                  <a:gd name="T35" fmla="*/ 26 h 27"/>
                  <a:gd name="T36" fmla="*/ 16 w 27"/>
                  <a:gd name="T37" fmla="*/ 27 h 27"/>
                  <a:gd name="T38" fmla="*/ 14 w 27"/>
                  <a:gd name="T3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7">
                    <a:moveTo>
                      <a:pt x="14" y="27"/>
                    </a:moveTo>
                    <a:cubicBezTo>
                      <a:pt x="13" y="27"/>
                      <a:pt x="12" y="27"/>
                      <a:pt x="11" y="27"/>
                    </a:cubicBezTo>
                    <a:cubicBezTo>
                      <a:pt x="10" y="27"/>
                      <a:pt x="9" y="27"/>
                      <a:pt x="9" y="26"/>
                    </a:cubicBezTo>
                    <a:cubicBezTo>
                      <a:pt x="8" y="26"/>
                      <a:pt x="7" y="25"/>
                      <a:pt x="6" y="25"/>
                    </a:cubicBezTo>
                    <a:cubicBezTo>
                      <a:pt x="5" y="25"/>
                      <a:pt x="5" y="24"/>
                      <a:pt x="4" y="23"/>
                    </a:cubicBezTo>
                    <a:cubicBezTo>
                      <a:pt x="2" y="21"/>
                      <a:pt x="0" y="17"/>
                      <a:pt x="0" y="14"/>
                    </a:cubicBezTo>
                    <a:cubicBezTo>
                      <a:pt x="0" y="10"/>
                      <a:pt x="2" y="7"/>
                      <a:pt x="4" y="4"/>
                    </a:cubicBezTo>
                    <a:cubicBezTo>
                      <a:pt x="5" y="3"/>
                      <a:pt x="5" y="3"/>
                      <a:pt x="6" y="2"/>
                    </a:cubicBezTo>
                    <a:cubicBezTo>
                      <a:pt x="7" y="2"/>
                      <a:pt x="8" y="1"/>
                      <a:pt x="9" y="1"/>
                    </a:cubicBezTo>
                    <a:cubicBezTo>
                      <a:pt x="9" y="1"/>
                      <a:pt x="10" y="1"/>
                      <a:pt x="11" y="0"/>
                    </a:cubicBezTo>
                    <a:cubicBezTo>
                      <a:pt x="13" y="0"/>
                      <a:pt x="15" y="0"/>
                      <a:pt x="16" y="0"/>
                    </a:cubicBezTo>
                    <a:cubicBezTo>
                      <a:pt x="17" y="1"/>
                      <a:pt x="18" y="1"/>
                      <a:pt x="19" y="1"/>
                    </a:cubicBezTo>
                    <a:cubicBezTo>
                      <a:pt x="20" y="1"/>
                      <a:pt x="20" y="2"/>
                      <a:pt x="21" y="2"/>
                    </a:cubicBezTo>
                    <a:cubicBezTo>
                      <a:pt x="22" y="3"/>
                      <a:pt x="23" y="3"/>
                      <a:pt x="23" y="4"/>
                    </a:cubicBezTo>
                    <a:cubicBezTo>
                      <a:pt x="26" y="7"/>
                      <a:pt x="27" y="10"/>
                      <a:pt x="27" y="14"/>
                    </a:cubicBezTo>
                    <a:cubicBezTo>
                      <a:pt x="27" y="17"/>
                      <a:pt x="26" y="21"/>
                      <a:pt x="23" y="23"/>
                    </a:cubicBezTo>
                    <a:cubicBezTo>
                      <a:pt x="23" y="24"/>
                      <a:pt x="22" y="25"/>
                      <a:pt x="21" y="25"/>
                    </a:cubicBezTo>
                    <a:cubicBezTo>
                      <a:pt x="20" y="25"/>
                      <a:pt x="20" y="26"/>
                      <a:pt x="19" y="26"/>
                    </a:cubicBezTo>
                    <a:cubicBezTo>
                      <a:pt x="18" y="27"/>
                      <a:pt x="17" y="27"/>
                      <a:pt x="16" y="27"/>
                    </a:cubicBezTo>
                    <a:cubicBezTo>
                      <a:pt x="15" y="27"/>
                      <a:pt x="15" y="27"/>
                      <a:pt x="14" y="27"/>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3" name="Freeform 289">
                <a:extLst>
                  <a:ext uri="{FF2B5EF4-FFF2-40B4-BE49-F238E27FC236}">
                    <a16:creationId xmlns:a16="http://schemas.microsoft.com/office/drawing/2014/main" id="{8D1374C0-47C8-4F8F-85E4-A96A44E98044}"/>
                  </a:ext>
                </a:extLst>
              </p:cNvPr>
              <p:cNvSpPr>
                <a:spLocks/>
              </p:cNvSpPr>
              <p:nvPr/>
            </p:nvSpPr>
            <p:spPr bwMode="auto">
              <a:xfrm>
                <a:off x="888855" y="1873849"/>
                <a:ext cx="11704" cy="12173"/>
              </a:xfrm>
              <a:custGeom>
                <a:avLst/>
                <a:gdLst>
                  <a:gd name="T0" fmla="*/ 13 w 27"/>
                  <a:gd name="T1" fmla="*/ 28 h 28"/>
                  <a:gd name="T2" fmla="*/ 4 w 27"/>
                  <a:gd name="T3" fmla="*/ 24 h 28"/>
                  <a:gd name="T4" fmla="*/ 0 w 27"/>
                  <a:gd name="T5" fmla="*/ 15 h 28"/>
                  <a:gd name="T6" fmla="*/ 4 w 27"/>
                  <a:gd name="T7" fmla="*/ 5 h 28"/>
                  <a:gd name="T8" fmla="*/ 23 w 27"/>
                  <a:gd name="T9" fmla="*/ 5 h 28"/>
                  <a:gd name="T10" fmla="*/ 27 w 27"/>
                  <a:gd name="T11" fmla="*/ 15 h 28"/>
                  <a:gd name="T12" fmla="*/ 23 w 27"/>
                  <a:gd name="T13" fmla="*/ 24 h 28"/>
                  <a:gd name="T14" fmla="*/ 21 w 27"/>
                  <a:gd name="T15" fmla="*/ 26 h 28"/>
                  <a:gd name="T16" fmla="*/ 18 w 27"/>
                  <a:gd name="T17" fmla="*/ 27 h 28"/>
                  <a:gd name="T18" fmla="*/ 16 w 27"/>
                  <a:gd name="T19" fmla="*/ 28 h 28"/>
                  <a:gd name="T20" fmla="*/ 13 w 27"/>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8">
                    <a:moveTo>
                      <a:pt x="13" y="28"/>
                    </a:moveTo>
                    <a:cubicBezTo>
                      <a:pt x="10" y="28"/>
                      <a:pt x="6" y="27"/>
                      <a:pt x="4" y="24"/>
                    </a:cubicBezTo>
                    <a:cubicBezTo>
                      <a:pt x="1" y="22"/>
                      <a:pt x="0" y="18"/>
                      <a:pt x="0" y="15"/>
                    </a:cubicBezTo>
                    <a:cubicBezTo>
                      <a:pt x="0" y="11"/>
                      <a:pt x="1" y="8"/>
                      <a:pt x="4" y="5"/>
                    </a:cubicBezTo>
                    <a:cubicBezTo>
                      <a:pt x="9" y="0"/>
                      <a:pt x="18" y="0"/>
                      <a:pt x="23" y="5"/>
                    </a:cubicBezTo>
                    <a:cubicBezTo>
                      <a:pt x="25" y="8"/>
                      <a:pt x="27" y="11"/>
                      <a:pt x="27" y="15"/>
                    </a:cubicBezTo>
                    <a:cubicBezTo>
                      <a:pt x="27" y="18"/>
                      <a:pt x="25" y="22"/>
                      <a:pt x="23" y="24"/>
                    </a:cubicBezTo>
                    <a:cubicBezTo>
                      <a:pt x="22" y="25"/>
                      <a:pt x="22" y="25"/>
                      <a:pt x="21" y="26"/>
                    </a:cubicBezTo>
                    <a:cubicBezTo>
                      <a:pt x="20" y="26"/>
                      <a:pt x="19" y="27"/>
                      <a:pt x="18" y="27"/>
                    </a:cubicBezTo>
                    <a:cubicBezTo>
                      <a:pt x="18" y="28"/>
                      <a:pt x="17" y="28"/>
                      <a:pt x="16" y="28"/>
                    </a:cubicBezTo>
                    <a:cubicBezTo>
                      <a:pt x="15" y="28"/>
                      <a:pt x="14" y="28"/>
                      <a:pt x="13" y="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4" name="Freeform 290">
                <a:extLst>
                  <a:ext uri="{FF2B5EF4-FFF2-40B4-BE49-F238E27FC236}">
                    <a16:creationId xmlns:a16="http://schemas.microsoft.com/office/drawing/2014/main" id="{ED8007BD-56C4-433D-8207-1C833922CBB0}"/>
                  </a:ext>
                </a:extLst>
              </p:cNvPr>
              <p:cNvSpPr>
                <a:spLocks/>
              </p:cNvSpPr>
              <p:nvPr/>
            </p:nvSpPr>
            <p:spPr bwMode="auto">
              <a:xfrm>
                <a:off x="802243" y="1841545"/>
                <a:ext cx="11704" cy="12641"/>
              </a:xfrm>
              <a:custGeom>
                <a:avLst/>
                <a:gdLst>
                  <a:gd name="T0" fmla="*/ 13 w 27"/>
                  <a:gd name="T1" fmla="*/ 29 h 29"/>
                  <a:gd name="T2" fmla="*/ 4 w 27"/>
                  <a:gd name="T3" fmla="*/ 25 h 29"/>
                  <a:gd name="T4" fmla="*/ 0 w 27"/>
                  <a:gd name="T5" fmla="*/ 15 h 29"/>
                  <a:gd name="T6" fmla="*/ 4 w 27"/>
                  <a:gd name="T7" fmla="*/ 5 h 29"/>
                  <a:gd name="T8" fmla="*/ 23 w 27"/>
                  <a:gd name="T9" fmla="*/ 5 h 29"/>
                  <a:gd name="T10" fmla="*/ 27 w 27"/>
                  <a:gd name="T11" fmla="*/ 15 h 29"/>
                  <a:gd name="T12" fmla="*/ 27 w 27"/>
                  <a:gd name="T13" fmla="*/ 18 h 29"/>
                  <a:gd name="T14" fmla="*/ 26 w 27"/>
                  <a:gd name="T15" fmla="*/ 20 h 29"/>
                  <a:gd name="T16" fmla="*/ 25 w 27"/>
                  <a:gd name="T17" fmla="*/ 22 h 29"/>
                  <a:gd name="T18" fmla="*/ 23 w 27"/>
                  <a:gd name="T19" fmla="*/ 25 h 29"/>
                  <a:gd name="T20" fmla="*/ 13 w 27"/>
                  <a:gd name="T21"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9">
                    <a:moveTo>
                      <a:pt x="13" y="29"/>
                    </a:moveTo>
                    <a:cubicBezTo>
                      <a:pt x="10" y="29"/>
                      <a:pt x="6" y="27"/>
                      <a:pt x="4" y="25"/>
                    </a:cubicBezTo>
                    <a:cubicBezTo>
                      <a:pt x="1" y="22"/>
                      <a:pt x="0" y="19"/>
                      <a:pt x="0" y="15"/>
                    </a:cubicBezTo>
                    <a:cubicBezTo>
                      <a:pt x="0" y="11"/>
                      <a:pt x="1" y="8"/>
                      <a:pt x="4" y="5"/>
                    </a:cubicBezTo>
                    <a:cubicBezTo>
                      <a:pt x="9" y="0"/>
                      <a:pt x="18" y="0"/>
                      <a:pt x="23" y="5"/>
                    </a:cubicBezTo>
                    <a:cubicBezTo>
                      <a:pt x="26" y="8"/>
                      <a:pt x="27" y="11"/>
                      <a:pt x="27" y="15"/>
                    </a:cubicBezTo>
                    <a:cubicBezTo>
                      <a:pt x="27" y="16"/>
                      <a:pt x="27" y="17"/>
                      <a:pt x="27" y="18"/>
                    </a:cubicBezTo>
                    <a:cubicBezTo>
                      <a:pt x="26" y="18"/>
                      <a:pt x="26" y="19"/>
                      <a:pt x="26" y="20"/>
                    </a:cubicBezTo>
                    <a:cubicBezTo>
                      <a:pt x="26" y="21"/>
                      <a:pt x="25" y="22"/>
                      <a:pt x="25" y="22"/>
                    </a:cubicBezTo>
                    <a:cubicBezTo>
                      <a:pt x="24" y="23"/>
                      <a:pt x="24" y="24"/>
                      <a:pt x="23" y="25"/>
                    </a:cubicBezTo>
                    <a:cubicBezTo>
                      <a:pt x="20" y="27"/>
                      <a:pt x="17" y="29"/>
                      <a:pt x="13" y="29"/>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5" name="Freeform 291">
                <a:extLst>
                  <a:ext uri="{FF2B5EF4-FFF2-40B4-BE49-F238E27FC236}">
                    <a16:creationId xmlns:a16="http://schemas.microsoft.com/office/drawing/2014/main" id="{1EA75F1D-3F96-4FD4-97AC-6EFBBA29F1E0}"/>
                  </a:ext>
                </a:extLst>
              </p:cNvPr>
              <p:cNvSpPr>
                <a:spLocks/>
              </p:cNvSpPr>
              <p:nvPr/>
            </p:nvSpPr>
            <p:spPr bwMode="auto">
              <a:xfrm>
                <a:off x="678177" y="1957652"/>
                <a:ext cx="11704" cy="12173"/>
              </a:xfrm>
              <a:custGeom>
                <a:avLst/>
                <a:gdLst>
                  <a:gd name="T0" fmla="*/ 14 w 27"/>
                  <a:gd name="T1" fmla="*/ 28 h 28"/>
                  <a:gd name="T2" fmla="*/ 4 w 27"/>
                  <a:gd name="T3" fmla="*/ 24 h 28"/>
                  <a:gd name="T4" fmla="*/ 0 w 27"/>
                  <a:gd name="T5" fmla="*/ 14 h 28"/>
                  <a:gd name="T6" fmla="*/ 4 w 27"/>
                  <a:gd name="T7" fmla="*/ 4 h 28"/>
                  <a:gd name="T8" fmla="*/ 16 w 27"/>
                  <a:gd name="T9" fmla="*/ 1 h 28"/>
                  <a:gd name="T10" fmla="*/ 19 w 27"/>
                  <a:gd name="T11" fmla="*/ 1 h 28"/>
                  <a:gd name="T12" fmla="*/ 21 w 27"/>
                  <a:gd name="T13" fmla="*/ 3 h 28"/>
                  <a:gd name="T14" fmla="*/ 23 w 27"/>
                  <a:gd name="T15" fmla="*/ 4 h 28"/>
                  <a:gd name="T16" fmla="*/ 27 w 27"/>
                  <a:gd name="T17" fmla="*/ 14 h 28"/>
                  <a:gd name="T18" fmla="*/ 27 w 27"/>
                  <a:gd name="T19" fmla="*/ 17 h 28"/>
                  <a:gd name="T20" fmla="*/ 26 w 27"/>
                  <a:gd name="T21" fmla="*/ 19 h 28"/>
                  <a:gd name="T22" fmla="*/ 25 w 27"/>
                  <a:gd name="T23" fmla="*/ 22 h 28"/>
                  <a:gd name="T24" fmla="*/ 23 w 27"/>
                  <a:gd name="T25" fmla="*/ 24 h 28"/>
                  <a:gd name="T26" fmla="*/ 21 w 27"/>
                  <a:gd name="T27" fmla="*/ 25 h 28"/>
                  <a:gd name="T28" fmla="*/ 19 w 27"/>
                  <a:gd name="T29" fmla="*/ 27 h 28"/>
                  <a:gd name="T30" fmla="*/ 16 w 27"/>
                  <a:gd name="T31" fmla="*/ 27 h 28"/>
                  <a:gd name="T32" fmla="*/ 14 w 27"/>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28">
                    <a:moveTo>
                      <a:pt x="14" y="28"/>
                    </a:moveTo>
                    <a:cubicBezTo>
                      <a:pt x="10" y="28"/>
                      <a:pt x="7" y="26"/>
                      <a:pt x="4" y="24"/>
                    </a:cubicBezTo>
                    <a:cubicBezTo>
                      <a:pt x="2" y="21"/>
                      <a:pt x="0" y="18"/>
                      <a:pt x="0" y="14"/>
                    </a:cubicBezTo>
                    <a:cubicBezTo>
                      <a:pt x="0" y="10"/>
                      <a:pt x="2" y="7"/>
                      <a:pt x="4" y="4"/>
                    </a:cubicBezTo>
                    <a:cubicBezTo>
                      <a:pt x="7" y="1"/>
                      <a:pt x="12" y="0"/>
                      <a:pt x="16" y="1"/>
                    </a:cubicBezTo>
                    <a:cubicBezTo>
                      <a:pt x="17" y="1"/>
                      <a:pt x="18" y="1"/>
                      <a:pt x="19" y="1"/>
                    </a:cubicBezTo>
                    <a:cubicBezTo>
                      <a:pt x="20" y="2"/>
                      <a:pt x="20" y="2"/>
                      <a:pt x="21" y="3"/>
                    </a:cubicBezTo>
                    <a:cubicBezTo>
                      <a:pt x="22" y="3"/>
                      <a:pt x="23" y="4"/>
                      <a:pt x="23" y="4"/>
                    </a:cubicBezTo>
                    <a:cubicBezTo>
                      <a:pt x="26" y="7"/>
                      <a:pt x="27" y="10"/>
                      <a:pt x="27" y="14"/>
                    </a:cubicBezTo>
                    <a:cubicBezTo>
                      <a:pt x="27" y="15"/>
                      <a:pt x="27" y="16"/>
                      <a:pt x="27" y="17"/>
                    </a:cubicBezTo>
                    <a:cubicBezTo>
                      <a:pt x="27" y="18"/>
                      <a:pt x="27" y="18"/>
                      <a:pt x="26" y="19"/>
                    </a:cubicBezTo>
                    <a:cubicBezTo>
                      <a:pt x="26" y="20"/>
                      <a:pt x="25" y="21"/>
                      <a:pt x="25" y="22"/>
                    </a:cubicBezTo>
                    <a:cubicBezTo>
                      <a:pt x="24" y="22"/>
                      <a:pt x="24" y="23"/>
                      <a:pt x="23" y="24"/>
                    </a:cubicBezTo>
                    <a:cubicBezTo>
                      <a:pt x="23" y="24"/>
                      <a:pt x="22" y="25"/>
                      <a:pt x="21" y="25"/>
                    </a:cubicBezTo>
                    <a:cubicBezTo>
                      <a:pt x="20" y="26"/>
                      <a:pt x="20" y="26"/>
                      <a:pt x="19" y="27"/>
                    </a:cubicBezTo>
                    <a:cubicBezTo>
                      <a:pt x="18" y="27"/>
                      <a:pt x="17" y="27"/>
                      <a:pt x="16" y="27"/>
                    </a:cubicBezTo>
                    <a:cubicBezTo>
                      <a:pt x="15" y="28"/>
                      <a:pt x="15" y="28"/>
                      <a:pt x="14" y="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grpSp>
        <p:nvGrpSpPr>
          <p:cNvPr id="223" name="Group 222">
            <a:extLst>
              <a:ext uri="{FF2B5EF4-FFF2-40B4-BE49-F238E27FC236}">
                <a16:creationId xmlns:a16="http://schemas.microsoft.com/office/drawing/2014/main" id="{17102A3F-2E63-434D-84A9-6AA17F9B6D46}"/>
              </a:ext>
            </a:extLst>
          </p:cNvPr>
          <p:cNvGrpSpPr/>
          <p:nvPr/>
        </p:nvGrpSpPr>
        <p:grpSpPr>
          <a:xfrm>
            <a:off x="5029508" y="3269106"/>
            <a:ext cx="367520" cy="287928"/>
            <a:chOff x="1655724" y="2463566"/>
            <a:chExt cx="367520" cy="287928"/>
          </a:xfrm>
        </p:grpSpPr>
        <p:grpSp>
          <p:nvGrpSpPr>
            <p:cNvPr id="224" name="Group 223">
              <a:extLst>
                <a:ext uri="{FF2B5EF4-FFF2-40B4-BE49-F238E27FC236}">
                  <a16:creationId xmlns:a16="http://schemas.microsoft.com/office/drawing/2014/main" id="{CD0B0CD1-3CFC-4F3C-B41C-C0E1B2BDD05C}"/>
                </a:ext>
              </a:extLst>
            </p:cNvPr>
            <p:cNvGrpSpPr/>
            <p:nvPr/>
          </p:nvGrpSpPr>
          <p:grpSpPr>
            <a:xfrm>
              <a:off x="1659469" y="2463566"/>
              <a:ext cx="341771" cy="269201"/>
              <a:chOff x="1659469" y="2463566"/>
              <a:chExt cx="341771" cy="269201"/>
            </a:xfrm>
          </p:grpSpPr>
          <p:sp>
            <p:nvSpPr>
              <p:cNvPr id="226" name="Freeform 158">
                <a:extLst>
                  <a:ext uri="{FF2B5EF4-FFF2-40B4-BE49-F238E27FC236}">
                    <a16:creationId xmlns:a16="http://schemas.microsoft.com/office/drawing/2014/main" id="{5FE94C29-0EB5-4AD6-AAE0-E26C595D7D1E}"/>
                  </a:ext>
                </a:extLst>
              </p:cNvPr>
              <p:cNvSpPr>
                <a:spLocks/>
              </p:cNvSpPr>
              <p:nvPr/>
            </p:nvSpPr>
            <p:spPr bwMode="auto">
              <a:xfrm>
                <a:off x="1675387" y="2574524"/>
                <a:ext cx="28091" cy="79590"/>
              </a:xfrm>
              <a:custGeom>
                <a:avLst/>
                <a:gdLst>
                  <a:gd name="T0" fmla="*/ 36 w 60"/>
                  <a:gd name="T1" fmla="*/ 170 h 170"/>
                  <a:gd name="T2" fmla="*/ 0 w 60"/>
                  <a:gd name="T3" fmla="*/ 6 h 170"/>
                  <a:gd name="T4" fmla="*/ 24 w 60"/>
                  <a:gd name="T5" fmla="*/ 0 h 170"/>
                  <a:gd name="T6" fmla="*/ 60 w 60"/>
                  <a:gd name="T7" fmla="*/ 164 h 170"/>
                  <a:gd name="T8" fmla="*/ 36 w 60"/>
                  <a:gd name="T9" fmla="*/ 170 h 170"/>
                </a:gdLst>
                <a:ahLst/>
                <a:cxnLst>
                  <a:cxn ang="0">
                    <a:pos x="T0" y="T1"/>
                  </a:cxn>
                  <a:cxn ang="0">
                    <a:pos x="T2" y="T3"/>
                  </a:cxn>
                  <a:cxn ang="0">
                    <a:pos x="T4" y="T5"/>
                  </a:cxn>
                  <a:cxn ang="0">
                    <a:pos x="T6" y="T7"/>
                  </a:cxn>
                  <a:cxn ang="0">
                    <a:pos x="T8" y="T9"/>
                  </a:cxn>
                </a:cxnLst>
                <a:rect l="0" t="0" r="r" b="b"/>
                <a:pathLst>
                  <a:path w="60" h="170">
                    <a:moveTo>
                      <a:pt x="36" y="170"/>
                    </a:moveTo>
                    <a:lnTo>
                      <a:pt x="0" y="6"/>
                    </a:lnTo>
                    <a:lnTo>
                      <a:pt x="24" y="0"/>
                    </a:lnTo>
                    <a:lnTo>
                      <a:pt x="60" y="164"/>
                    </a:lnTo>
                    <a:lnTo>
                      <a:pt x="36" y="17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7" name="Freeform 159">
                <a:extLst>
                  <a:ext uri="{FF2B5EF4-FFF2-40B4-BE49-F238E27FC236}">
                    <a16:creationId xmlns:a16="http://schemas.microsoft.com/office/drawing/2014/main" id="{0211103A-131D-44EF-9B25-A8749B7AD495}"/>
                  </a:ext>
                </a:extLst>
              </p:cNvPr>
              <p:cNvSpPr>
                <a:spLocks/>
              </p:cNvSpPr>
              <p:nvPr/>
            </p:nvSpPr>
            <p:spPr bwMode="auto">
              <a:xfrm>
                <a:off x="1779791" y="2551583"/>
                <a:ext cx="27622" cy="75376"/>
              </a:xfrm>
              <a:custGeom>
                <a:avLst/>
                <a:gdLst>
                  <a:gd name="T0" fmla="*/ 34 w 59"/>
                  <a:gd name="T1" fmla="*/ 161 h 161"/>
                  <a:gd name="T2" fmla="*/ 0 w 59"/>
                  <a:gd name="T3" fmla="*/ 5 h 161"/>
                  <a:gd name="T4" fmla="*/ 24 w 59"/>
                  <a:gd name="T5" fmla="*/ 0 h 161"/>
                  <a:gd name="T6" fmla="*/ 59 w 59"/>
                  <a:gd name="T7" fmla="*/ 156 h 161"/>
                  <a:gd name="T8" fmla="*/ 34 w 59"/>
                  <a:gd name="T9" fmla="*/ 161 h 161"/>
                </a:gdLst>
                <a:ahLst/>
                <a:cxnLst>
                  <a:cxn ang="0">
                    <a:pos x="T0" y="T1"/>
                  </a:cxn>
                  <a:cxn ang="0">
                    <a:pos x="T2" y="T3"/>
                  </a:cxn>
                  <a:cxn ang="0">
                    <a:pos x="T4" y="T5"/>
                  </a:cxn>
                  <a:cxn ang="0">
                    <a:pos x="T6" y="T7"/>
                  </a:cxn>
                  <a:cxn ang="0">
                    <a:pos x="T8" y="T9"/>
                  </a:cxn>
                </a:cxnLst>
                <a:rect l="0" t="0" r="r" b="b"/>
                <a:pathLst>
                  <a:path w="59" h="161">
                    <a:moveTo>
                      <a:pt x="34" y="161"/>
                    </a:moveTo>
                    <a:lnTo>
                      <a:pt x="0" y="5"/>
                    </a:lnTo>
                    <a:lnTo>
                      <a:pt x="24" y="0"/>
                    </a:lnTo>
                    <a:lnTo>
                      <a:pt x="59" y="156"/>
                    </a:lnTo>
                    <a:lnTo>
                      <a:pt x="34" y="1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8" name="Freeform 160">
                <a:extLst>
                  <a:ext uri="{FF2B5EF4-FFF2-40B4-BE49-F238E27FC236}">
                    <a16:creationId xmlns:a16="http://schemas.microsoft.com/office/drawing/2014/main" id="{E6FFF744-59F3-44AE-933A-3E403FA2A18A}"/>
                  </a:ext>
                </a:extLst>
              </p:cNvPr>
              <p:cNvSpPr>
                <a:spLocks/>
              </p:cNvSpPr>
              <p:nvPr/>
            </p:nvSpPr>
            <p:spPr bwMode="auto">
              <a:xfrm>
                <a:off x="1659469" y="2518342"/>
                <a:ext cx="151222" cy="80526"/>
              </a:xfrm>
              <a:custGeom>
                <a:avLst/>
                <a:gdLst>
                  <a:gd name="T0" fmla="*/ 20 w 348"/>
                  <a:gd name="T1" fmla="*/ 185 h 185"/>
                  <a:gd name="T2" fmla="*/ 0 w 348"/>
                  <a:gd name="T3" fmla="*/ 168 h 185"/>
                  <a:gd name="T4" fmla="*/ 137 w 348"/>
                  <a:gd name="T5" fmla="*/ 5 h 185"/>
                  <a:gd name="T6" fmla="*/ 145 w 348"/>
                  <a:gd name="T7" fmla="*/ 1 h 185"/>
                  <a:gd name="T8" fmla="*/ 146 w 348"/>
                  <a:gd name="T9" fmla="*/ 1 h 185"/>
                  <a:gd name="T10" fmla="*/ 154 w 348"/>
                  <a:gd name="T11" fmla="*/ 2 h 185"/>
                  <a:gd name="T12" fmla="*/ 348 w 348"/>
                  <a:gd name="T13" fmla="*/ 90 h 185"/>
                  <a:gd name="T14" fmla="*/ 336 w 348"/>
                  <a:gd name="T15" fmla="*/ 115 h 185"/>
                  <a:gd name="T16" fmla="*/ 152 w 348"/>
                  <a:gd name="T17" fmla="*/ 30 h 185"/>
                  <a:gd name="T18" fmla="*/ 20 w 348"/>
                  <a:gd name="T19" fmla="*/ 185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8" h="185">
                    <a:moveTo>
                      <a:pt x="20" y="185"/>
                    </a:moveTo>
                    <a:cubicBezTo>
                      <a:pt x="0" y="168"/>
                      <a:pt x="0" y="168"/>
                      <a:pt x="0" y="168"/>
                    </a:cubicBezTo>
                    <a:cubicBezTo>
                      <a:pt x="137" y="5"/>
                      <a:pt x="137" y="5"/>
                      <a:pt x="137" y="5"/>
                    </a:cubicBezTo>
                    <a:cubicBezTo>
                      <a:pt x="139" y="3"/>
                      <a:pt x="142" y="1"/>
                      <a:pt x="145" y="1"/>
                    </a:cubicBezTo>
                    <a:cubicBezTo>
                      <a:pt x="146" y="1"/>
                      <a:pt x="146" y="1"/>
                      <a:pt x="146" y="1"/>
                    </a:cubicBezTo>
                    <a:cubicBezTo>
                      <a:pt x="149" y="0"/>
                      <a:pt x="152" y="0"/>
                      <a:pt x="154" y="2"/>
                    </a:cubicBezTo>
                    <a:cubicBezTo>
                      <a:pt x="348" y="90"/>
                      <a:pt x="348" y="90"/>
                      <a:pt x="348" y="90"/>
                    </a:cubicBezTo>
                    <a:cubicBezTo>
                      <a:pt x="336" y="115"/>
                      <a:pt x="336" y="115"/>
                      <a:pt x="336" y="115"/>
                    </a:cubicBezTo>
                    <a:cubicBezTo>
                      <a:pt x="152" y="30"/>
                      <a:pt x="152" y="30"/>
                      <a:pt x="152" y="30"/>
                    </a:cubicBezTo>
                    <a:lnTo>
                      <a:pt x="20" y="18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9" name="Freeform 161">
                <a:extLst>
                  <a:ext uri="{FF2B5EF4-FFF2-40B4-BE49-F238E27FC236}">
                    <a16:creationId xmlns:a16="http://schemas.microsoft.com/office/drawing/2014/main" id="{3097DB72-0FC4-4FB3-B31E-C0C67E4D3809}"/>
                  </a:ext>
                </a:extLst>
              </p:cNvPr>
              <p:cNvSpPr>
                <a:spLocks/>
              </p:cNvSpPr>
              <p:nvPr/>
            </p:nvSpPr>
            <p:spPr bwMode="auto">
              <a:xfrm>
                <a:off x="1755446" y="2514597"/>
                <a:ext cx="17791" cy="29495"/>
              </a:xfrm>
              <a:custGeom>
                <a:avLst/>
                <a:gdLst>
                  <a:gd name="T0" fmla="*/ 13 w 38"/>
                  <a:gd name="T1" fmla="*/ 63 h 63"/>
                  <a:gd name="T2" fmla="*/ 0 w 38"/>
                  <a:gd name="T3" fmla="*/ 6 h 63"/>
                  <a:gd name="T4" fmla="*/ 25 w 38"/>
                  <a:gd name="T5" fmla="*/ 0 h 63"/>
                  <a:gd name="T6" fmla="*/ 38 w 38"/>
                  <a:gd name="T7" fmla="*/ 58 h 63"/>
                  <a:gd name="T8" fmla="*/ 13 w 38"/>
                  <a:gd name="T9" fmla="*/ 63 h 63"/>
                </a:gdLst>
                <a:ahLst/>
                <a:cxnLst>
                  <a:cxn ang="0">
                    <a:pos x="T0" y="T1"/>
                  </a:cxn>
                  <a:cxn ang="0">
                    <a:pos x="T2" y="T3"/>
                  </a:cxn>
                  <a:cxn ang="0">
                    <a:pos x="T4" y="T5"/>
                  </a:cxn>
                  <a:cxn ang="0">
                    <a:pos x="T6" y="T7"/>
                  </a:cxn>
                  <a:cxn ang="0">
                    <a:pos x="T8" y="T9"/>
                  </a:cxn>
                </a:cxnLst>
                <a:rect l="0" t="0" r="r" b="b"/>
                <a:pathLst>
                  <a:path w="38" h="63">
                    <a:moveTo>
                      <a:pt x="13" y="63"/>
                    </a:moveTo>
                    <a:lnTo>
                      <a:pt x="0" y="6"/>
                    </a:lnTo>
                    <a:lnTo>
                      <a:pt x="25" y="0"/>
                    </a:lnTo>
                    <a:lnTo>
                      <a:pt x="38" y="58"/>
                    </a:lnTo>
                    <a:lnTo>
                      <a:pt x="13" y="6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0" name="Freeform 163">
                <a:extLst>
                  <a:ext uri="{FF2B5EF4-FFF2-40B4-BE49-F238E27FC236}">
                    <a16:creationId xmlns:a16="http://schemas.microsoft.com/office/drawing/2014/main" id="{F6C1A5B8-A7B1-4102-BFA0-813AB81790E4}"/>
                  </a:ext>
                </a:extLst>
              </p:cNvPr>
              <p:cNvSpPr>
                <a:spLocks/>
              </p:cNvSpPr>
              <p:nvPr/>
            </p:nvSpPr>
            <p:spPr bwMode="auto">
              <a:xfrm>
                <a:off x="1679601" y="2697654"/>
                <a:ext cx="11704" cy="11704"/>
              </a:xfrm>
              <a:custGeom>
                <a:avLst/>
                <a:gdLst>
                  <a:gd name="T0" fmla="*/ 14 w 27"/>
                  <a:gd name="T1" fmla="*/ 27 h 27"/>
                  <a:gd name="T2" fmla="*/ 11 w 27"/>
                  <a:gd name="T3" fmla="*/ 27 h 27"/>
                  <a:gd name="T4" fmla="*/ 9 w 27"/>
                  <a:gd name="T5" fmla="*/ 26 h 27"/>
                  <a:gd name="T6" fmla="*/ 6 w 27"/>
                  <a:gd name="T7" fmla="*/ 25 h 27"/>
                  <a:gd name="T8" fmla="*/ 4 w 27"/>
                  <a:gd name="T9" fmla="*/ 23 h 27"/>
                  <a:gd name="T10" fmla="*/ 2 w 27"/>
                  <a:gd name="T11" fmla="*/ 21 h 27"/>
                  <a:gd name="T12" fmla="*/ 1 w 27"/>
                  <a:gd name="T13" fmla="*/ 19 h 27"/>
                  <a:gd name="T14" fmla="*/ 0 w 27"/>
                  <a:gd name="T15" fmla="*/ 16 h 27"/>
                  <a:gd name="T16" fmla="*/ 0 w 27"/>
                  <a:gd name="T17" fmla="*/ 13 h 27"/>
                  <a:gd name="T18" fmla="*/ 4 w 27"/>
                  <a:gd name="T19" fmla="*/ 4 h 27"/>
                  <a:gd name="T20" fmla="*/ 6 w 27"/>
                  <a:gd name="T21" fmla="*/ 2 h 27"/>
                  <a:gd name="T22" fmla="*/ 9 w 27"/>
                  <a:gd name="T23" fmla="*/ 1 h 27"/>
                  <a:gd name="T24" fmla="*/ 11 w 27"/>
                  <a:gd name="T25" fmla="*/ 0 h 27"/>
                  <a:gd name="T26" fmla="*/ 16 w 27"/>
                  <a:gd name="T27" fmla="*/ 0 h 27"/>
                  <a:gd name="T28" fmla="*/ 19 w 27"/>
                  <a:gd name="T29" fmla="*/ 1 h 27"/>
                  <a:gd name="T30" fmla="*/ 21 w 27"/>
                  <a:gd name="T31" fmla="*/ 2 h 27"/>
                  <a:gd name="T32" fmla="*/ 23 w 27"/>
                  <a:gd name="T33" fmla="*/ 4 h 27"/>
                  <a:gd name="T34" fmla="*/ 25 w 27"/>
                  <a:gd name="T35" fmla="*/ 6 h 27"/>
                  <a:gd name="T36" fmla="*/ 26 w 27"/>
                  <a:gd name="T37" fmla="*/ 8 h 27"/>
                  <a:gd name="T38" fmla="*/ 27 w 27"/>
                  <a:gd name="T39" fmla="*/ 11 h 27"/>
                  <a:gd name="T40" fmla="*/ 27 w 27"/>
                  <a:gd name="T41" fmla="*/ 13 h 27"/>
                  <a:gd name="T42" fmla="*/ 27 w 27"/>
                  <a:gd name="T43" fmla="*/ 16 h 27"/>
                  <a:gd name="T44" fmla="*/ 26 w 27"/>
                  <a:gd name="T45" fmla="*/ 19 h 27"/>
                  <a:gd name="T46" fmla="*/ 25 w 27"/>
                  <a:gd name="T47" fmla="*/ 21 h 27"/>
                  <a:gd name="T48" fmla="*/ 23 w 27"/>
                  <a:gd name="T49" fmla="*/ 23 h 27"/>
                  <a:gd name="T50" fmla="*/ 21 w 27"/>
                  <a:gd name="T51" fmla="*/ 25 h 27"/>
                  <a:gd name="T52" fmla="*/ 19 w 27"/>
                  <a:gd name="T53" fmla="*/ 26 h 27"/>
                  <a:gd name="T54" fmla="*/ 16 w 27"/>
                  <a:gd name="T55" fmla="*/ 27 h 27"/>
                  <a:gd name="T56" fmla="*/ 14 w 27"/>
                  <a:gd name="T5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27">
                    <a:moveTo>
                      <a:pt x="14" y="27"/>
                    </a:moveTo>
                    <a:cubicBezTo>
                      <a:pt x="13" y="27"/>
                      <a:pt x="12" y="27"/>
                      <a:pt x="11" y="27"/>
                    </a:cubicBezTo>
                    <a:cubicBezTo>
                      <a:pt x="10" y="26"/>
                      <a:pt x="9" y="26"/>
                      <a:pt x="9" y="26"/>
                    </a:cubicBezTo>
                    <a:cubicBezTo>
                      <a:pt x="8" y="25"/>
                      <a:pt x="7" y="25"/>
                      <a:pt x="6" y="25"/>
                    </a:cubicBezTo>
                    <a:cubicBezTo>
                      <a:pt x="6" y="24"/>
                      <a:pt x="5" y="24"/>
                      <a:pt x="4" y="23"/>
                    </a:cubicBezTo>
                    <a:cubicBezTo>
                      <a:pt x="4" y="22"/>
                      <a:pt x="3" y="22"/>
                      <a:pt x="2" y="21"/>
                    </a:cubicBezTo>
                    <a:cubicBezTo>
                      <a:pt x="2" y="20"/>
                      <a:pt x="2" y="19"/>
                      <a:pt x="1" y="19"/>
                    </a:cubicBezTo>
                    <a:cubicBezTo>
                      <a:pt x="1" y="18"/>
                      <a:pt x="1" y="17"/>
                      <a:pt x="0" y="16"/>
                    </a:cubicBezTo>
                    <a:cubicBezTo>
                      <a:pt x="0" y="15"/>
                      <a:pt x="0" y="14"/>
                      <a:pt x="0" y="13"/>
                    </a:cubicBezTo>
                    <a:cubicBezTo>
                      <a:pt x="0" y="10"/>
                      <a:pt x="2" y="6"/>
                      <a:pt x="4" y="4"/>
                    </a:cubicBezTo>
                    <a:cubicBezTo>
                      <a:pt x="5" y="3"/>
                      <a:pt x="6" y="2"/>
                      <a:pt x="6" y="2"/>
                    </a:cubicBezTo>
                    <a:cubicBezTo>
                      <a:pt x="7" y="2"/>
                      <a:pt x="8" y="1"/>
                      <a:pt x="9" y="1"/>
                    </a:cubicBezTo>
                    <a:cubicBezTo>
                      <a:pt x="9" y="0"/>
                      <a:pt x="10" y="0"/>
                      <a:pt x="11" y="0"/>
                    </a:cubicBezTo>
                    <a:cubicBezTo>
                      <a:pt x="13" y="0"/>
                      <a:pt x="15" y="0"/>
                      <a:pt x="16" y="0"/>
                    </a:cubicBezTo>
                    <a:cubicBezTo>
                      <a:pt x="17" y="0"/>
                      <a:pt x="18" y="0"/>
                      <a:pt x="19" y="1"/>
                    </a:cubicBezTo>
                    <a:cubicBezTo>
                      <a:pt x="20" y="1"/>
                      <a:pt x="21" y="2"/>
                      <a:pt x="21" y="2"/>
                    </a:cubicBezTo>
                    <a:cubicBezTo>
                      <a:pt x="22" y="2"/>
                      <a:pt x="23" y="3"/>
                      <a:pt x="23" y="4"/>
                    </a:cubicBezTo>
                    <a:cubicBezTo>
                      <a:pt x="24" y="4"/>
                      <a:pt x="25" y="5"/>
                      <a:pt x="25" y="6"/>
                    </a:cubicBezTo>
                    <a:cubicBezTo>
                      <a:pt x="26" y="6"/>
                      <a:pt x="26" y="7"/>
                      <a:pt x="26" y="8"/>
                    </a:cubicBezTo>
                    <a:cubicBezTo>
                      <a:pt x="27" y="9"/>
                      <a:pt x="27" y="10"/>
                      <a:pt x="27" y="11"/>
                    </a:cubicBezTo>
                    <a:cubicBezTo>
                      <a:pt x="27" y="12"/>
                      <a:pt x="27" y="12"/>
                      <a:pt x="27" y="13"/>
                    </a:cubicBezTo>
                    <a:cubicBezTo>
                      <a:pt x="27" y="14"/>
                      <a:pt x="27" y="15"/>
                      <a:pt x="27" y="16"/>
                    </a:cubicBezTo>
                    <a:cubicBezTo>
                      <a:pt x="27" y="17"/>
                      <a:pt x="27" y="18"/>
                      <a:pt x="26" y="19"/>
                    </a:cubicBezTo>
                    <a:cubicBezTo>
                      <a:pt x="26" y="19"/>
                      <a:pt x="26" y="20"/>
                      <a:pt x="25" y="21"/>
                    </a:cubicBezTo>
                    <a:cubicBezTo>
                      <a:pt x="25" y="22"/>
                      <a:pt x="24" y="22"/>
                      <a:pt x="23" y="23"/>
                    </a:cubicBezTo>
                    <a:cubicBezTo>
                      <a:pt x="23" y="24"/>
                      <a:pt x="22" y="24"/>
                      <a:pt x="21" y="25"/>
                    </a:cubicBezTo>
                    <a:cubicBezTo>
                      <a:pt x="21" y="25"/>
                      <a:pt x="20" y="25"/>
                      <a:pt x="19" y="26"/>
                    </a:cubicBezTo>
                    <a:cubicBezTo>
                      <a:pt x="18" y="26"/>
                      <a:pt x="17" y="26"/>
                      <a:pt x="16" y="27"/>
                    </a:cubicBezTo>
                    <a:cubicBezTo>
                      <a:pt x="16" y="27"/>
                      <a:pt x="15" y="27"/>
                      <a:pt x="14" y="2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1" name="Freeform 164">
                <a:extLst>
                  <a:ext uri="{FF2B5EF4-FFF2-40B4-BE49-F238E27FC236}">
                    <a16:creationId xmlns:a16="http://schemas.microsoft.com/office/drawing/2014/main" id="{BB51A16B-2E5A-41A3-870A-D88B6960E267}"/>
                  </a:ext>
                </a:extLst>
              </p:cNvPr>
              <p:cNvSpPr>
                <a:spLocks/>
              </p:cNvSpPr>
              <p:nvPr/>
            </p:nvSpPr>
            <p:spPr bwMode="auto">
              <a:xfrm>
                <a:off x="1715651" y="2684077"/>
                <a:ext cx="11704" cy="12173"/>
              </a:xfrm>
              <a:custGeom>
                <a:avLst/>
                <a:gdLst>
                  <a:gd name="T0" fmla="*/ 13 w 27"/>
                  <a:gd name="T1" fmla="*/ 28 h 28"/>
                  <a:gd name="T2" fmla="*/ 4 w 27"/>
                  <a:gd name="T3" fmla="*/ 24 h 28"/>
                  <a:gd name="T4" fmla="*/ 0 w 27"/>
                  <a:gd name="T5" fmla="*/ 14 h 28"/>
                  <a:gd name="T6" fmla="*/ 0 w 27"/>
                  <a:gd name="T7" fmla="*/ 11 h 28"/>
                  <a:gd name="T8" fmla="*/ 1 w 27"/>
                  <a:gd name="T9" fmla="*/ 9 h 28"/>
                  <a:gd name="T10" fmla="*/ 2 w 27"/>
                  <a:gd name="T11" fmla="*/ 6 h 28"/>
                  <a:gd name="T12" fmla="*/ 4 w 27"/>
                  <a:gd name="T13" fmla="*/ 4 h 28"/>
                  <a:gd name="T14" fmla="*/ 6 w 27"/>
                  <a:gd name="T15" fmla="*/ 3 h 28"/>
                  <a:gd name="T16" fmla="*/ 8 w 27"/>
                  <a:gd name="T17" fmla="*/ 1 h 28"/>
                  <a:gd name="T18" fmla="*/ 10 w 27"/>
                  <a:gd name="T19" fmla="*/ 1 h 28"/>
                  <a:gd name="T20" fmla="*/ 16 w 27"/>
                  <a:gd name="T21" fmla="*/ 1 h 28"/>
                  <a:gd name="T22" fmla="*/ 18 w 27"/>
                  <a:gd name="T23" fmla="*/ 1 h 28"/>
                  <a:gd name="T24" fmla="*/ 21 w 27"/>
                  <a:gd name="T25" fmla="*/ 3 h 28"/>
                  <a:gd name="T26" fmla="*/ 23 w 27"/>
                  <a:gd name="T27" fmla="*/ 4 h 28"/>
                  <a:gd name="T28" fmla="*/ 24 w 27"/>
                  <a:gd name="T29" fmla="*/ 6 h 28"/>
                  <a:gd name="T30" fmla="*/ 26 w 27"/>
                  <a:gd name="T31" fmla="*/ 9 h 28"/>
                  <a:gd name="T32" fmla="*/ 26 w 27"/>
                  <a:gd name="T33" fmla="*/ 11 h 28"/>
                  <a:gd name="T34" fmla="*/ 27 w 27"/>
                  <a:gd name="T35" fmla="*/ 14 h 28"/>
                  <a:gd name="T36" fmla="*/ 23 w 27"/>
                  <a:gd name="T37" fmla="*/ 24 h 28"/>
                  <a:gd name="T38" fmla="*/ 13 w 27"/>
                  <a:gd name="T3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8">
                    <a:moveTo>
                      <a:pt x="13" y="28"/>
                    </a:moveTo>
                    <a:cubicBezTo>
                      <a:pt x="9" y="28"/>
                      <a:pt x="6" y="26"/>
                      <a:pt x="4" y="24"/>
                    </a:cubicBezTo>
                    <a:cubicBezTo>
                      <a:pt x="1" y="21"/>
                      <a:pt x="0" y="18"/>
                      <a:pt x="0" y="14"/>
                    </a:cubicBezTo>
                    <a:cubicBezTo>
                      <a:pt x="0" y="13"/>
                      <a:pt x="0" y="12"/>
                      <a:pt x="0" y="11"/>
                    </a:cubicBezTo>
                    <a:cubicBezTo>
                      <a:pt x="0" y="10"/>
                      <a:pt x="0" y="10"/>
                      <a:pt x="1" y="9"/>
                    </a:cubicBezTo>
                    <a:cubicBezTo>
                      <a:pt x="1" y="8"/>
                      <a:pt x="1" y="7"/>
                      <a:pt x="2" y="6"/>
                    </a:cubicBezTo>
                    <a:cubicBezTo>
                      <a:pt x="2" y="6"/>
                      <a:pt x="3" y="5"/>
                      <a:pt x="4" y="4"/>
                    </a:cubicBezTo>
                    <a:cubicBezTo>
                      <a:pt x="4" y="4"/>
                      <a:pt x="5" y="3"/>
                      <a:pt x="6" y="3"/>
                    </a:cubicBezTo>
                    <a:cubicBezTo>
                      <a:pt x="6" y="2"/>
                      <a:pt x="7" y="2"/>
                      <a:pt x="8" y="1"/>
                    </a:cubicBezTo>
                    <a:cubicBezTo>
                      <a:pt x="9" y="1"/>
                      <a:pt x="10" y="1"/>
                      <a:pt x="10" y="1"/>
                    </a:cubicBezTo>
                    <a:cubicBezTo>
                      <a:pt x="12" y="0"/>
                      <a:pt x="14" y="0"/>
                      <a:pt x="16" y="1"/>
                    </a:cubicBezTo>
                    <a:cubicBezTo>
                      <a:pt x="17" y="1"/>
                      <a:pt x="18" y="1"/>
                      <a:pt x="18" y="1"/>
                    </a:cubicBezTo>
                    <a:cubicBezTo>
                      <a:pt x="19" y="2"/>
                      <a:pt x="20" y="2"/>
                      <a:pt x="21" y="3"/>
                    </a:cubicBezTo>
                    <a:cubicBezTo>
                      <a:pt x="21" y="3"/>
                      <a:pt x="22" y="4"/>
                      <a:pt x="23" y="4"/>
                    </a:cubicBezTo>
                    <a:cubicBezTo>
                      <a:pt x="23" y="5"/>
                      <a:pt x="24" y="6"/>
                      <a:pt x="24" y="6"/>
                    </a:cubicBezTo>
                    <a:cubicBezTo>
                      <a:pt x="25" y="7"/>
                      <a:pt x="25" y="8"/>
                      <a:pt x="26" y="9"/>
                    </a:cubicBezTo>
                    <a:cubicBezTo>
                      <a:pt x="26" y="10"/>
                      <a:pt x="26" y="10"/>
                      <a:pt x="26" y="11"/>
                    </a:cubicBezTo>
                    <a:cubicBezTo>
                      <a:pt x="27" y="12"/>
                      <a:pt x="27" y="13"/>
                      <a:pt x="27" y="14"/>
                    </a:cubicBezTo>
                    <a:cubicBezTo>
                      <a:pt x="27" y="18"/>
                      <a:pt x="25" y="21"/>
                      <a:pt x="23" y="24"/>
                    </a:cubicBezTo>
                    <a:cubicBezTo>
                      <a:pt x="20" y="26"/>
                      <a:pt x="17" y="28"/>
                      <a:pt x="13"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2" name="Freeform 165">
                <a:extLst>
                  <a:ext uri="{FF2B5EF4-FFF2-40B4-BE49-F238E27FC236}">
                    <a16:creationId xmlns:a16="http://schemas.microsoft.com/office/drawing/2014/main" id="{0FF97E87-4668-497C-AC37-ACC8AF007B43}"/>
                  </a:ext>
                </a:extLst>
              </p:cNvPr>
              <p:cNvSpPr>
                <a:spLocks/>
              </p:cNvSpPr>
              <p:nvPr/>
            </p:nvSpPr>
            <p:spPr bwMode="auto">
              <a:xfrm>
                <a:off x="1730165" y="2705613"/>
                <a:ext cx="12173" cy="12173"/>
              </a:xfrm>
              <a:custGeom>
                <a:avLst/>
                <a:gdLst>
                  <a:gd name="T0" fmla="*/ 14 w 28"/>
                  <a:gd name="T1" fmla="*/ 28 h 28"/>
                  <a:gd name="T2" fmla="*/ 4 w 28"/>
                  <a:gd name="T3" fmla="*/ 24 h 28"/>
                  <a:gd name="T4" fmla="*/ 0 w 28"/>
                  <a:gd name="T5" fmla="*/ 14 h 28"/>
                  <a:gd name="T6" fmla="*/ 4 w 28"/>
                  <a:gd name="T7" fmla="*/ 4 h 28"/>
                  <a:gd name="T8" fmla="*/ 6 w 28"/>
                  <a:gd name="T9" fmla="*/ 3 h 28"/>
                  <a:gd name="T10" fmla="*/ 9 w 28"/>
                  <a:gd name="T11" fmla="*/ 1 h 28"/>
                  <a:gd name="T12" fmla="*/ 11 w 28"/>
                  <a:gd name="T13" fmla="*/ 1 h 28"/>
                  <a:gd name="T14" fmla="*/ 17 w 28"/>
                  <a:gd name="T15" fmla="*/ 1 h 28"/>
                  <a:gd name="T16" fmla="*/ 19 w 28"/>
                  <a:gd name="T17" fmla="*/ 1 h 28"/>
                  <a:gd name="T18" fmla="*/ 22 w 28"/>
                  <a:gd name="T19" fmla="*/ 3 h 28"/>
                  <a:gd name="T20" fmla="*/ 24 w 28"/>
                  <a:gd name="T21" fmla="*/ 4 h 28"/>
                  <a:gd name="T22" fmla="*/ 28 w 28"/>
                  <a:gd name="T23" fmla="*/ 14 h 28"/>
                  <a:gd name="T24" fmla="*/ 27 w 28"/>
                  <a:gd name="T25" fmla="*/ 17 h 28"/>
                  <a:gd name="T26" fmla="*/ 27 w 28"/>
                  <a:gd name="T27" fmla="*/ 19 h 28"/>
                  <a:gd name="T28" fmla="*/ 25 w 28"/>
                  <a:gd name="T29" fmla="*/ 21 h 28"/>
                  <a:gd name="T30" fmla="*/ 24 w 28"/>
                  <a:gd name="T31" fmla="*/ 24 h 28"/>
                  <a:gd name="T32" fmla="*/ 14 w 28"/>
                  <a:gd name="T3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28">
                    <a:moveTo>
                      <a:pt x="14" y="28"/>
                    </a:moveTo>
                    <a:cubicBezTo>
                      <a:pt x="11" y="28"/>
                      <a:pt x="7" y="26"/>
                      <a:pt x="4" y="24"/>
                    </a:cubicBezTo>
                    <a:cubicBezTo>
                      <a:pt x="2" y="21"/>
                      <a:pt x="0" y="18"/>
                      <a:pt x="0" y="14"/>
                    </a:cubicBezTo>
                    <a:cubicBezTo>
                      <a:pt x="0" y="10"/>
                      <a:pt x="2" y="7"/>
                      <a:pt x="4" y="4"/>
                    </a:cubicBezTo>
                    <a:cubicBezTo>
                      <a:pt x="5" y="4"/>
                      <a:pt x="6" y="3"/>
                      <a:pt x="6" y="3"/>
                    </a:cubicBezTo>
                    <a:cubicBezTo>
                      <a:pt x="7" y="2"/>
                      <a:pt x="8" y="2"/>
                      <a:pt x="9" y="1"/>
                    </a:cubicBezTo>
                    <a:cubicBezTo>
                      <a:pt x="10" y="1"/>
                      <a:pt x="11" y="1"/>
                      <a:pt x="11" y="1"/>
                    </a:cubicBezTo>
                    <a:cubicBezTo>
                      <a:pt x="13" y="0"/>
                      <a:pt x="15" y="0"/>
                      <a:pt x="17" y="1"/>
                    </a:cubicBezTo>
                    <a:cubicBezTo>
                      <a:pt x="18" y="1"/>
                      <a:pt x="18" y="1"/>
                      <a:pt x="19" y="1"/>
                    </a:cubicBezTo>
                    <a:cubicBezTo>
                      <a:pt x="20" y="2"/>
                      <a:pt x="21" y="2"/>
                      <a:pt x="22" y="3"/>
                    </a:cubicBezTo>
                    <a:cubicBezTo>
                      <a:pt x="22" y="3"/>
                      <a:pt x="23" y="4"/>
                      <a:pt x="24" y="4"/>
                    </a:cubicBezTo>
                    <a:cubicBezTo>
                      <a:pt x="26" y="7"/>
                      <a:pt x="28" y="10"/>
                      <a:pt x="28" y="14"/>
                    </a:cubicBezTo>
                    <a:cubicBezTo>
                      <a:pt x="28" y="15"/>
                      <a:pt x="28" y="16"/>
                      <a:pt x="27" y="17"/>
                    </a:cubicBezTo>
                    <a:cubicBezTo>
                      <a:pt x="27" y="17"/>
                      <a:pt x="27" y="18"/>
                      <a:pt x="27" y="19"/>
                    </a:cubicBezTo>
                    <a:cubicBezTo>
                      <a:pt x="26" y="20"/>
                      <a:pt x="26" y="21"/>
                      <a:pt x="25" y="21"/>
                    </a:cubicBezTo>
                    <a:cubicBezTo>
                      <a:pt x="25" y="22"/>
                      <a:pt x="24" y="23"/>
                      <a:pt x="24" y="24"/>
                    </a:cubicBezTo>
                    <a:cubicBezTo>
                      <a:pt x="21" y="26"/>
                      <a:pt x="18" y="28"/>
                      <a:pt x="14"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3" name="Freeform 166">
                <a:extLst>
                  <a:ext uri="{FF2B5EF4-FFF2-40B4-BE49-F238E27FC236}">
                    <a16:creationId xmlns:a16="http://schemas.microsoft.com/office/drawing/2014/main" id="{0EE55DB5-52F1-48C4-AD50-0778EFFA4DF5}"/>
                  </a:ext>
                </a:extLst>
              </p:cNvPr>
              <p:cNvSpPr>
                <a:spLocks/>
              </p:cNvSpPr>
              <p:nvPr/>
            </p:nvSpPr>
            <p:spPr bwMode="auto">
              <a:xfrm>
                <a:off x="1776514" y="2686886"/>
                <a:ext cx="11704" cy="11704"/>
              </a:xfrm>
              <a:custGeom>
                <a:avLst/>
                <a:gdLst>
                  <a:gd name="T0" fmla="*/ 13 w 27"/>
                  <a:gd name="T1" fmla="*/ 27 h 27"/>
                  <a:gd name="T2" fmla="*/ 4 w 27"/>
                  <a:gd name="T3" fmla="*/ 23 h 27"/>
                  <a:gd name="T4" fmla="*/ 0 w 27"/>
                  <a:gd name="T5" fmla="*/ 13 h 27"/>
                  <a:gd name="T6" fmla="*/ 0 w 27"/>
                  <a:gd name="T7" fmla="*/ 11 h 27"/>
                  <a:gd name="T8" fmla="*/ 1 w 27"/>
                  <a:gd name="T9" fmla="*/ 8 h 27"/>
                  <a:gd name="T10" fmla="*/ 2 w 27"/>
                  <a:gd name="T11" fmla="*/ 6 h 27"/>
                  <a:gd name="T12" fmla="*/ 4 w 27"/>
                  <a:gd name="T13" fmla="*/ 4 h 27"/>
                  <a:gd name="T14" fmla="*/ 6 w 27"/>
                  <a:gd name="T15" fmla="*/ 2 h 27"/>
                  <a:gd name="T16" fmla="*/ 8 w 27"/>
                  <a:gd name="T17" fmla="*/ 1 h 27"/>
                  <a:gd name="T18" fmla="*/ 10 w 27"/>
                  <a:gd name="T19" fmla="*/ 0 h 27"/>
                  <a:gd name="T20" fmla="*/ 16 w 27"/>
                  <a:gd name="T21" fmla="*/ 0 h 27"/>
                  <a:gd name="T22" fmla="*/ 18 w 27"/>
                  <a:gd name="T23" fmla="*/ 1 h 27"/>
                  <a:gd name="T24" fmla="*/ 21 w 27"/>
                  <a:gd name="T25" fmla="*/ 2 h 27"/>
                  <a:gd name="T26" fmla="*/ 23 w 27"/>
                  <a:gd name="T27" fmla="*/ 4 h 27"/>
                  <a:gd name="T28" fmla="*/ 24 w 27"/>
                  <a:gd name="T29" fmla="*/ 6 h 27"/>
                  <a:gd name="T30" fmla="*/ 26 w 27"/>
                  <a:gd name="T31" fmla="*/ 8 h 27"/>
                  <a:gd name="T32" fmla="*/ 26 w 27"/>
                  <a:gd name="T33" fmla="*/ 11 h 27"/>
                  <a:gd name="T34" fmla="*/ 27 w 27"/>
                  <a:gd name="T35" fmla="*/ 13 h 27"/>
                  <a:gd name="T36" fmla="*/ 23 w 27"/>
                  <a:gd name="T37" fmla="*/ 23 h 27"/>
                  <a:gd name="T38" fmla="*/ 13 w 27"/>
                  <a:gd name="T3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7">
                    <a:moveTo>
                      <a:pt x="13" y="27"/>
                    </a:moveTo>
                    <a:cubicBezTo>
                      <a:pt x="10" y="27"/>
                      <a:pt x="6" y="26"/>
                      <a:pt x="4" y="23"/>
                    </a:cubicBezTo>
                    <a:cubicBezTo>
                      <a:pt x="1" y="20"/>
                      <a:pt x="0" y="17"/>
                      <a:pt x="0" y="13"/>
                    </a:cubicBezTo>
                    <a:cubicBezTo>
                      <a:pt x="0" y="12"/>
                      <a:pt x="0" y="12"/>
                      <a:pt x="0" y="11"/>
                    </a:cubicBezTo>
                    <a:cubicBezTo>
                      <a:pt x="0" y="10"/>
                      <a:pt x="0" y="9"/>
                      <a:pt x="1" y="8"/>
                    </a:cubicBezTo>
                    <a:cubicBezTo>
                      <a:pt x="1" y="7"/>
                      <a:pt x="1" y="7"/>
                      <a:pt x="2" y="6"/>
                    </a:cubicBezTo>
                    <a:cubicBezTo>
                      <a:pt x="2" y="5"/>
                      <a:pt x="3" y="4"/>
                      <a:pt x="4" y="4"/>
                    </a:cubicBezTo>
                    <a:cubicBezTo>
                      <a:pt x="4" y="3"/>
                      <a:pt x="5" y="3"/>
                      <a:pt x="6" y="2"/>
                    </a:cubicBezTo>
                    <a:cubicBezTo>
                      <a:pt x="6" y="2"/>
                      <a:pt x="7" y="1"/>
                      <a:pt x="8" y="1"/>
                    </a:cubicBezTo>
                    <a:cubicBezTo>
                      <a:pt x="9" y="0"/>
                      <a:pt x="10" y="0"/>
                      <a:pt x="10" y="0"/>
                    </a:cubicBezTo>
                    <a:cubicBezTo>
                      <a:pt x="12" y="0"/>
                      <a:pt x="14" y="0"/>
                      <a:pt x="16" y="0"/>
                    </a:cubicBezTo>
                    <a:cubicBezTo>
                      <a:pt x="17" y="0"/>
                      <a:pt x="18" y="0"/>
                      <a:pt x="18" y="1"/>
                    </a:cubicBezTo>
                    <a:cubicBezTo>
                      <a:pt x="19" y="1"/>
                      <a:pt x="20" y="2"/>
                      <a:pt x="21" y="2"/>
                    </a:cubicBezTo>
                    <a:cubicBezTo>
                      <a:pt x="21" y="3"/>
                      <a:pt x="22" y="3"/>
                      <a:pt x="23" y="4"/>
                    </a:cubicBezTo>
                    <a:cubicBezTo>
                      <a:pt x="23" y="4"/>
                      <a:pt x="24" y="5"/>
                      <a:pt x="24" y="6"/>
                    </a:cubicBezTo>
                    <a:cubicBezTo>
                      <a:pt x="25" y="7"/>
                      <a:pt x="25" y="7"/>
                      <a:pt x="26" y="8"/>
                    </a:cubicBezTo>
                    <a:cubicBezTo>
                      <a:pt x="26" y="9"/>
                      <a:pt x="26" y="10"/>
                      <a:pt x="26" y="11"/>
                    </a:cubicBezTo>
                    <a:cubicBezTo>
                      <a:pt x="27" y="12"/>
                      <a:pt x="27" y="12"/>
                      <a:pt x="27" y="13"/>
                    </a:cubicBezTo>
                    <a:cubicBezTo>
                      <a:pt x="27" y="17"/>
                      <a:pt x="25" y="20"/>
                      <a:pt x="23" y="23"/>
                    </a:cubicBezTo>
                    <a:cubicBezTo>
                      <a:pt x="20" y="26"/>
                      <a:pt x="17" y="27"/>
                      <a:pt x="13" y="2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4" name="Freeform 167">
                <a:extLst>
                  <a:ext uri="{FF2B5EF4-FFF2-40B4-BE49-F238E27FC236}">
                    <a16:creationId xmlns:a16="http://schemas.microsoft.com/office/drawing/2014/main" id="{502E7AD1-DABE-45EF-90E4-F36440E8F50F}"/>
                  </a:ext>
                </a:extLst>
              </p:cNvPr>
              <p:cNvSpPr>
                <a:spLocks/>
              </p:cNvSpPr>
              <p:nvPr/>
            </p:nvSpPr>
            <p:spPr bwMode="auto">
              <a:xfrm>
                <a:off x="1872491" y="2684077"/>
                <a:ext cx="11704" cy="12173"/>
              </a:xfrm>
              <a:custGeom>
                <a:avLst/>
                <a:gdLst>
                  <a:gd name="T0" fmla="*/ 13 w 27"/>
                  <a:gd name="T1" fmla="*/ 28 h 28"/>
                  <a:gd name="T2" fmla="*/ 11 w 27"/>
                  <a:gd name="T3" fmla="*/ 27 h 28"/>
                  <a:gd name="T4" fmla="*/ 8 w 27"/>
                  <a:gd name="T5" fmla="*/ 26 h 28"/>
                  <a:gd name="T6" fmla="*/ 6 w 27"/>
                  <a:gd name="T7" fmla="*/ 25 h 28"/>
                  <a:gd name="T8" fmla="*/ 4 w 27"/>
                  <a:gd name="T9" fmla="*/ 24 h 28"/>
                  <a:gd name="T10" fmla="*/ 2 w 27"/>
                  <a:gd name="T11" fmla="*/ 22 h 28"/>
                  <a:gd name="T12" fmla="*/ 1 w 27"/>
                  <a:gd name="T13" fmla="*/ 19 h 28"/>
                  <a:gd name="T14" fmla="*/ 0 w 27"/>
                  <a:gd name="T15" fmla="*/ 17 h 28"/>
                  <a:gd name="T16" fmla="*/ 0 w 27"/>
                  <a:gd name="T17" fmla="*/ 14 h 28"/>
                  <a:gd name="T18" fmla="*/ 0 w 27"/>
                  <a:gd name="T19" fmla="*/ 11 h 28"/>
                  <a:gd name="T20" fmla="*/ 1 w 27"/>
                  <a:gd name="T21" fmla="*/ 9 h 28"/>
                  <a:gd name="T22" fmla="*/ 2 w 27"/>
                  <a:gd name="T23" fmla="*/ 6 h 28"/>
                  <a:gd name="T24" fmla="*/ 4 w 27"/>
                  <a:gd name="T25" fmla="*/ 4 h 28"/>
                  <a:gd name="T26" fmla="*/ 6 w 27"/>
                  <a:gd name="T27" fmla="*/ 3 h 28"/>
                  <a:gd name="T28" fmla="*/ 8 w 27"/>
                  <a:gd name="T29" fmla="*/ 1 h 28"/>
                  <a:gd name="T30" fmla="*/ 11 w 27"/>
                  <a:gd name="T31" fmla="*/ 1 h 28"/>
                  <a:gd name="T32" fmla="*/ 16 w 27"/>
                  <a:gd name="T33" fmla="*/ 1 h 28"/>
                  <a:gd name="T34" fmla="*/ 19 w 27"/>
                  <a:gd name="T35" fmla="*/ 1 h 28"/>
                  <a:gd name="T36" fmla="*/ 21 w 27"/>
                  <a:gd name="T37" fmla="*/ 3 h 28"/>
                  <a:gd name="T38" fmla="*/ 23 w 27"/>
                  <a:gd name="T39" fmla="*/ 4 h 28"/>
                  <a:gd name="T40" fmla="*/ 27 w 27"/>
                  <a:gd name="T41" fmla="*/ 14 h 28"/>
                  <a:gd name="T42" fmla="*/ 27 w 27"/>
                  <a:gd name="T43" fmla="*/ 17 h 28"/>
                  <a:gd name="T44" fmla="*/ 26 w 27"/>
                  <a:gd name="T45" fmla="*/ 19 h 28"/>
                  <a:gd name="T46" fmla="*/ 25 w 27"/>
                  <a:gd name="T47" fmla="*/ 22 h 28"/>
                  <a:gd name="T48" fmla="*/ 23 w 27"/>
                  <a:gd name="T49" fmla="*/ 24 h 28"/>
                  <a:gd name="T50" fmla="*/ 21 w 27"/>
                  <a:gd name="T51" fmla="*/ 25 h 28"/>
                  <a:gd name="T52" fmla="*/ 19 w 27"/>
                  <a:gd name="T53" fmla="*/ 26 h 28"/>
                  <a:gd name="T54" fmla="*/ 16 w 27"/>
                  <a:gd name="T55" fmla="*/ 27 h 28"/>
                  <a:gd name="T56" fmla="*/ 13 w 27"/>
                  <a:gd name="T5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 h="28">
                    <a:moveTo>
                      <a:pt x="13" y="28"/>
                    </a:moveTo>
                    <a:cubicBezTo>
                      <a:pt x="12" y="28"/>
                      <a:pt x="12" y="27"/>
                      <a:pt x="11" y="27"/>
                    </a:cubicBezTo>
                    <a:cubicBezTo>
                      <a:pt x="10" y="27"/>
                      <a:pt x="9" y="27"/>
                      <a:pt x="8" y="26"/>
                    </a:cubicBezTo>
                    <a:cubicBezTo>
                      <a:pt x="7" y="26"/>
                      <a:pt x="6" y="26"/>
                      <a:pt x="6" y="25"/>
                    </a:cubicBezTo>
                    <a:cubicBezTo>
                      <a:pt x="5" y="25"/>
                      <a:pt x="4" y="24"/>
                      <a:pt x="4" y="24"/>
                    </a:cubicBezTo>
                    <a:cubicBezTo>
                      <a:pt x="3" y="23"/>
                      <a:pt x="3" y="22"/>
                      <a:pt x="2" y="22"/>
                    </a:cubicBezTo>
                    <a:cubicBezTo>
                      <a:pt x="2" y="21"/>
                      <a:pt x="1" y="20"/>
                      <a:pt x="1" y="19"/>
                    </a:cubicBezTo>
                    <a:cubicBezTo>
                      <a:pt x="0" y="18"/>
                      <a:pt x="0" y="17"/>
                      <a:pt x="0" y="17"/>
                    </a:cubicBezTo>
                    <a:cubicBezTo>
                      <a:pt x="0" y="16"/>
                      <a:pt x="0" y="15"/>
                      <a:pt x="0" y="14"/>
                    </a:cubicBezTo>
                    <a:cubicBezTo>
                      <a:pt x="0" y="13"/>
                      <a:pt x="0" y="12"/>
                      <a:pt x="0" y="11"/>
                    </a:cubicBezTo>
                    <a:cubicBezTo>
                      <a:pt x="0" y="10"/>
                      <a:pt x="0" y="10"/>
                      <a:pt x="1" y="9"/>
                    </a:cubicBezTo>
                    <a:cubicBezTo>
                      <a:pt x="1" y="8"/>
                      <a:pt x="2" y="7"/>
                      <a:pt x="2" y="6"/>
                    </a:cubicBezTo>
                    <a:cubicBezTo>
                      <a:pt x="3" y="6"/>
                      <a:pt x="3" y="5"/>
                      <a:pt x="4" y="4"/>
                    </a:cubicBezTo>
                    <a:cubicBezTo>
                      <a:pt x="4" y="4"/>
                      <a:pt x="5" y="3"/>
                      <a:pt x="6" y="3"/>
                    </a:cubicBezTo>
                    <a:cubicBezTo>
                      <a:pt x="6" y="2"/>
                      <a:pt x="7" y="2"/>
                      <a:pt x="8" y="1"/>
                    </a:cubicBezTo>
                    <a:cubicBezTo>
                      <a:pt x="9" y="1"/>
                      <a:pt x="10" y="1"/>
                      <a:pt x="11" y="1"/>
                    </a:cubicBezTo>
                    <a:cubicBezTo>
                      <a:pt x="12" y="0"/>
                      <a:pt x="14" y="0"/>
                      <a:pt x="16" y="1"/>
                    </a:cubicBezTo>
                    <a:cubicBezTo>
                      <a:pt x="17" y="1"/>
                      <a:pt x="18" y="1"/>
                      <a:pt x="19" y="1"/>
                    </a:cubicBezTo>
                    <a:cubicBezTo>
                      <a:pt x="19" y="2"/>
                      <a:pt x="20" y="2"/>
                      <a:pt x="21" y="3"/>
                    </a:cubicBezTo>
                    <a:cubicBezTo>
                      <a:pt x="22" y="3"/>
                      <a:pt x="22" y="4"/>
                      <a:pt x="23" y="4"/>
                    </a:cubicBezTo>
                    <a:cubicBezTo>
                      <a:pt x="25" y="7"/>
                      <a:pt x="27" y="10"/>
                      <a:pt x="27" y="14"/>
                    </a:cubicBezTo>
                    <a:cubicBezTo>
                      <a:pt x="27" y="15"/>
                      <a:pt x="27" y="16"/>
                      <a:pt x="27" y="17"/>
                    </a:cubicBezTo>
                    <a:cubicBezTo>
                      <a:pt x="26" y="17"/>
                      <a:pt x="26" y="18"/>
                      <a:pt x="26" y="19"/>
                    </a:cubicBezTo>
                    <a:cubicBezTo>
                      <a:pt x="26" y="20"/>
                      <a:pt x="25" y="21"/>
                      <a:pt x="25" y="22"/>
                    </a:cubicBezTo>
                    <a:cubicBezTo>
                      <a:pt x="24" y="22"/>
                      <a:pt x="24" y="23"/>
                      <a:pt x="23" y="24"/>
                    </a:cubicBezTo>
                    <a:cubicBezTo>
                      <a:pt x="22" y="24"/>
                      <a:pt x="22" y="25"/>
                      <a:pt x="21" y="25"/>
                    </a:cubicBezTo>
                    <a:cubicBezTo>
                      <a:pt x="20" y="26"/>
                      <a:pt x="19" y="26"/>
                      <a:pt x="19" y="26"/>
                    </a:cubicBezTo>
                    <a:cubicBezTo>
                      <a:pt x="18" y="27"/>
                      <a:pt x="17" y="27"/>
                      <a:pt x="16" y="27"/>
                    </a:cubicBezTo>
                    <a:cubicBezTo>
                      <a:pt x="15" y="27"/>
                      <a:pt x="14" y="28"/>
                      <a:pt x="13"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5" name="Freeform 168">
                <a:extLst>
                  <a:ext uri="{FF2B5EF4-FFF2-40B4-BE49-F238E27FC236}">
                    <a16:creationId xmlns:a16="http://schemas.microsoft.com/office/drawing/2014/main" id="{62A400D4-AC82-438F-8A89-54FD95395E37}"/>
                  </a:ext>
                </a:extLst>
              </p:cNvPr>
              <p:cNvSpPr>
                <a:spLocks/>
              </p:cNvSpPr>
              <p:nvPr/>
            </p:nvSpPr>
            <p:spPr bwMode="auto">
              <a:xfrm>
                <a:off x="1901986" y="2721063"/>
                <a:ext cx="11704" cy="11704"/>
              </a:xfrm>
              <a:custGeom>
                <a:avLst/>
                <a:gdLst>
                  <a:gd name="T0" fmla="*/ 13 w 27"/>
                  <a:gd name="T1" fmla="*/ 27 h 27"/>
                  <a:gd name="T2" fmla="*/ 4 w 27"/>
                  <a:gd name="T3" fmla="*/ 23 h 27"/>
                  <a:gd name="T4" fmla="*/ 0 w 27"/>
                  <a:gd name="T5" fmla="*/ 14 h 27"/>
                  <a:gd name="T6" fmla="*/ 4 w 27"/>
                  <a:gd name="T7" fmla="*/ 4 h 27"/>
                  <a:gd name="T8" fmla="*/ 16 w 27"/>
                  <a:gd name="T9" fmla="*/ 0 h 27"/>
                  <a:gd name="T10" fmla="*/ 18 w 27"/>
                  <a:gd name="T11" fmla="*/ 1 h 27"/>
                  <a:gd name="T12" fmla="*/ 21 w 27"/>
                  <a:gd name="T13" fmla="*/ 3 h 27"/>
                  <a:gd name="T14" fmla="*/ 23 w 27"/>
                  <a:gd name="T15" fmla="*/ 4 h 27"/>
                  <a:gd name="T16" fmla="*/ 27 w 27"/>
                  <a:gd name="T17" fmla="*/ 14 h 27"/>
                  <a:gd name="T18" fmla="*/ 23 w 27"/>
                  <a:gd name="T19" fmla="*/ 23 h 27"/>
                  <a:gd name="T20" fmla="*/ 13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3" y="27"/>
                    </a:moveTo>
                    <a:cubicBezTo>
                      <a:pt x="10" y="27"/>
                      <a:pt x="6" y="26"/>
                      <a:pt x="4" y="23"/>
                    </a:cubicBezTo>
                    <a:cubicBezTo>
                      <a:pt x="1" y="21"/>
                      <a:pt x="0" y="17"/>
                      <a:pt x="0" y="14"/>
                    </a:cubicBezTo>
                    <a:cubicBezTo>
                      <a:pt x="0" y="10"/>
                      <a:pt x="1" y="7"/>
                      <a:pt x="4" y="4"/>
                    </a:cubicBezTo>
                    <a:cubicBezTo>
                      <a:pt x="7" y="1"/>
                      <a:pt x="11" y="0"/>
                      <a:pt x="16" y="0"/>
                    </a:cubicBezTo>
                    <a:cubicBezTo>
                      <a:pt x="17" y="1"/>
                      <a:pt x="18" y="1"/>
                      <a:pt x="18" y="1"/>
                    </a:cubicBezTo>
                    <a:cubicBezTo>
                      <a:pt x="19" y="2"/>
                      <a:pt x="20" y="2"/>
                      <a:pt x="21" y="3"/>
                    </a:cubicBezTo>
                    <a:cubicBezTo>
                      <a:pt x="21" y="3"/>
                      <a:pt x="22" y="4"/>
                      <a:pt x="23" y="4"/>
                    </a:cubicBezTo>
                    <a:cubicBezTo>
                      <a:pt x="25" y="7"/>
                      <a:pt x="27" y="10"/>
                      <a:pt x="27" y="14"/>
                    </a:cubicBezTo>
                    <a:cubicBezTo>
                      <a:pt x="27" y="17"/>
                      <a:pt x="25" y="21"/>
                      <a:pt x="23" y="23"/>
                    </a:cubicBezTo>
                    <a:cubicBezTo>
                      <a:pt x="20" y="26"/>
                      <a:pt x="17" y="27"/>
                      <a:pt x="13" y="2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6" name="Freeform 169">
                <a:extLst>
                  <a:ext uri="{FF2B5EF4-FFF2-40B4-BE49-F238E27FC236}">
                    <a16:creationId xmlns:a16="http://schemas.microsoft.com/office/drawing/2014/main" id="{789F4F52-2E10-4F5E-A935-D4CED37CD0B7}"/>
                  </a:ext>
                </a:extLst>
              </p:cNvPr>
              <p:cNvSpPr>
                <a:spLocks/>
              </p:cNvSpPr>
              <p:nvPr/>
            </p:nvSpPr>
            <p:spPr bwMode="auto">
              <a:xfrm>
                <a:off x="1926799" y="2671436"/>
                <a:ext cx="11704" cy="12173"/>
              </a:xfrm>
              <a:custGeom>
                <a:avLst/>
                <a:gdLst>
                  <a:gd name="T0" fmla="*/ 13 w 27"/>
                  <a:gd name="T1" fmla="*/ 28 h 28"/>
                  <a:gd name="T2" fmla="*/ 4 w 27"/>
                  <a:gd name="T3" fmla="*/ 24 h 28"/>
                  <a:gd name="T4" fmla="*/ 2 w 27"/>
                  <a:gd name="T5" fmla="*/ 22 h 28"/>
                  <a:gd name="T6" fmla="*/ 1 w 27"/>
                  <a:gd name="T7" fmla="*/ 20 h 28"/>
                  <a:gd name="T8" fmla="*/ 0 w 27"/>
                  <a:gd name="T9" fmla="*/ 17 h 28"/>
                  <a:gd name="T10" fmla="*/ 0 w 27"/>
                  <a:gd name="T11" fmla="*/ 15 h 28"/>
                  <a:gd name="T12" fmla="*/ 0 w 27"/>
                  <a:gd name="T13" fmla="*/ 12 h 28"/>
                  <a:gd name="T14" fmla="*/ 1 w 27"/>
                  <a:gd name="T15" fmla="*/ 10 h 28"/>
                  <a:gd name="T16" fmla="*/ 2 w 27"/>
                  <a:gd name="T17" fmla="*/ 7 h 28"/>
                  <a:gd name="T18" fmla="*/ 4 w 27"/>
                  <a:gd name="T19" fmla="*/ 5 h 28"/>
                  <a:gd name="T20" fmla="*/ 16 w 27"/>
                  <a:gd name="T21" fmla="*/ 1 h 28"/>
                  <a:gd name="T22" fmla="*/ 19 w 27"/>
                  <a:gd name="T23" fmla="*/ 2 h 28"/>
                  <a:gd name="T24" fmla="*/ 21 w 27"/>
                  <a:gd name="T25" fmla="*/ 3 h 28"/>
                  <a:gd name="T26" fmla="*/ 23 w 27"/>
                  <a:gd name="T27" fmla="*/ 5 h 28"/>
                  <a:gd name="T28" fmla="*/ 25 w 27"/>
                  <a:gd name="T29" fmla="*/ 7 h 28"/>
                  <a:gd name="T30" fmla="*/ 26 w 27"/>
                  <a:gd name="T31" fmla="*/ 10 h 28"/>
                  <a:gd name="T32" fmla="*/ 27 w 27"/>
                  <a:gd name="T33" fmla="*/ 12 h 28"/>
                  <a:gd name="T34" fmla="*/ 27 w 27"/>
                  <a:gd name="T35" fmla="*/ 15 h 28"/>
                  <a:gd name="T36" fmla="*/ 23 w 27"/>
                  <a:gd name="T37" fmla="*/ 24 h 28"/>
                  <a:gd name="T38" fmla="*/ 13 w 27"/>
                  <a:gd name="T3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8">
                    <a:moveTo>
                      <a:pt x="13" y="28"/>
                    </a:moveTo>
                    <a:cubicBezTo>
                      <a:pt x="10" y="28"/>
                      <a:pt x="6" y="27"/>
                      <a:pt x="4" y="24"/>
                    </a:cubicBezTo>
                    <a:cubicBezTo>
                      <a:pt x="3" y="24"/>
                      <a:pt x="3" y="23"/>
                      <a:pt x="2" y="22"/>
                    </a:cubicBezTo>
                    <a:cubicBezTo>
                      <a:pt x="2" y="22"/>
                      <a:pt x="1" y="21"/>
                      <a:pt x="1" y="20"/>
                    </a:cubicBezTo>
                    <a:cubicBezTo>
                      <a:pt x="1" y="19"/>
                      <a:pt x="0" y="18"/>
                      <a:pt x="0" y="17"/>
                    </a:cubicBezTo>
                    <a:cubicBezTo>
                      <a:pt x="0" y="17"/>
                      <a:pt x="0" y="16"/>
                      <a:pt x="0" y="15"/>
                    </a:cubicBezTo>
                    <a:cubicBezTo>
                      <a:pt x="0" y="14"/>
                      <a:pt x="0" y="13"/>
                      <a:pt x="0" y="12"/>
                    </a:cubicBezTo>
                    <a:cubicBezTo>
                      <a:pt x="0" y="11"/>
                      <a:pt x="1" y="10"/>
                      <a:pt x="1" y="10"/>
                    </a:cubicBezTo>
                    <a:cubicBezTo>
                      <a:pt x="1" y="9"/>
                      <a:pt x="2" y="8"/>
                      <a:pt x="2" y="7"/>
                    </a:cubicBezTo>
                    <a:cubicBezTo>
                      <a:pt x="3" y="6"/>
                      <a:pt x="3" y="6"/>
                      <a:pt x="4" y="5"/>
                    </a:cubicBezTo>
                    <a:cubicBezTo>
                      <a:pt x="7" y="2"/>
                      <a:pt x="12" y="0"/>
                      <a:pt x="16" y="1"/>
                    </a:cubicBezTo>
                    <a:cubicBezTo>
                      <a:pt x="17" y="2"/>
                      <a:pt x="18" y="2"/>
                      <a:pt x="19" y="2"/>
                    </a:cubicBezTo>
                    <a:cubicBezTo>
                      <a:pt x="19" y="3"/>
                      <a:pt x="20" y="3"/>
                      <a:pt x="21" y="3"/>
                    </a:cubicBezTo>
                    <a:cubicBezTo>
                      <a:pt x="22" y="4"/>
                      <a:pt x="22" y="5"/>
                      <a:pt x="23" y="5"/>
                    </a:cubicBezTo>
                    <a:cubicBezTo>
                      <a:pt x="24" y="6"/>
                      <a:pt x="24" y="6"/>
                      <a:pt x="25" y="7"/>
                    </a:cubicBezTo>
                    <a:cubicBezTo>
                      <a:pt x="25" y="8"/>
                      <a:pt x="26" y="9"/>
                      <a:pt x="26" y="10"/>
                    </a:cubicBezTo>
                    <a:cubicBezTo>
                      <a:pt x="26" y="10"/>
                      <a:pt x="27" y="11"/>
                      <a:pt x="27" y="12"/>
                    </a:cubicBezTo>
                    <a:cubicBezTo>
                      <a:pt x="27" y="13"/>
                      <a:pt x="27" y="14"/>
                      <a:pt x="27" y="15"/>
                    </a:cubicBezTo>
                    <a:cubicBezTo>
                      <a:pt x="27" y="18"/>
                      <a:pt x="25" y="22"/>
                      <a:pt x="23" y="24"/>
                    </a:cubicBezTo>
                    <a:cubicBezTo>
                      <a:pt x="20" y="27"/>
                      <a:pt x="17" y="28"/>
                      <a:pt x="13"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7" name="Freeform 170">
                <a:extLst>
                  <a:ext uri="{FF2B5EF4-FFF2-40B4-BE49-F238E27FC236}">
                    <a16:creationId xmlns:a16="http://schemas.microsoft.com/office/drawing/2014/main" id="{D1353EDD-F934-429E-8889-1A3E92BAD81C}"/>
                  </a:ext>
                </a:extLst>
              </p:cNvPr>
              <p:cNvSpPr>
                <a:spLocks/>
              </p:cNvSpPr>
              <p:nvPr/>
            </p:nvSpPr>
            <p:spPr bwMode="auto">
              <a:xfrm>
                <a:off x="1901986" y="2655518"/>
                <a:ext cx="11704" cy="12173"/>
              </a:xfrm>
              <a:custGeom>
                <a:avLst/>
                <a:gdLst>
                  <a:gd name="T0" fmla="*/ 13 w 27"/>
                  <a:gd name="T1" fmla="*/ 28 h 28"/>
                  <a:gd name="T2" fmla="*/ 4 w 27"/>
                  <a:gd name="T3" fmla="*/ 24 h 28"/>
                  <a:gd name="T4" fmla="*/ 0 w 27"/>
                  <a:gd name="T5" fmla="*/ 14 h 28"/>
                  <a:gd name="T6" fmla="*/ 0 w 27"/>
                  <a:gd name="T7" fmla="*/ 12 h 28"/>
                  <a:gd name="T8" fmla="*/ 1 w 27"/>
                  <a:gd name="T9" fmla="*/ 9 h 28"/>
                  <a:gd name="T10" fmla="*/ 2 w 27"/>
                  <a:gd name="T11" fmla="*/ 7 h 28"/>
                  <a:gd name="T12" fmla="*/ 4 w 27"/>
                  <a:gd name="T13" fmla="*/ 5 h 28"/>
                  <a:gd name="T14" fmla="*/ 23 w 27"/>
                  <a:gd name="T15" fmla="*/ 5 h 28"/>
                  <a:gd name="T16" fmla="*/ 25 w 27"/>
                  <a:gd name="T17" fmla="*/ 7 h 28"/>
                  <a:gd name="T18" fmla="*/ 26 w 27"/>
                  <a:gd name="T19" fmla="*/ 9 h 28"/>
                  <a:gd name="T20" fmla="*/ 27 w 27"/>
                  <a:gd name="T21" fmla="*/ 12 h 28"/>
                  <a:gd name="T22" fmla="*/ 27 w 27"/>
                  <a:gd name="T23" fmla="*/ 14 h 28"/>
                  <a:gd name="T24" fmla="*/ 23 w 27"/>
                  <a:gd name="T25" fmla="*/ 24 h 28"/>
                  <a:gd name="T26" fmla="*/ 13 w 27"/>
                  <a:gd name="T2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8">
                    <a:moveTo>
                      <a:pt x="13" y="28"/>
                    </a:moveTo>
                    <a:cubicBezTo>
                      <a:pt x="10" y="28"/>
                      <a:pt x="6" y="26"/>
                      <a:pt x="4" y="24"/>
                    </a:cubicBezTo>
                    <a:cubicBezTo>
                      <a:pt x="1" y="21"/>
                      <a:pt x="0" y="18"/>
                      <a:pt x="0" y="14"/>
                    </a:cubicBezTo>
                    <a:cubicBezTo>
                      <a:pt x="0" y="14"/>
                      <a:pt x="0" y="13"/>
                      <a:pt x="0" y="12"/>
                    </a:cubicBezTo>
                    <a:cubicBezTo>
                      <a:pt x="0" y="11"/>
                      <a:pt x="0" y="10"/>
                      <a:pt x="1" y="9"/>
                    </a:cubicBezTo>
                    <a:cubicBezTo>
                      <a:pt x="1" y="8"/>
                      <a:pt x="1" y="8"/>
                      <a:pt x="2" y="7"/>
                    </a:cubicBezTo>
                    <a:cubicBezTo>
                      <a:pt x="2" y="6"/>
                      <a:pt x="3" y="5"/>
                      <a:pt x="4" y="5"/>
                    </a:cubicBezTo>
                    <a:cubicBezTo>
                      <a:pt x="9" y="0"/>
                      <a:pt x="18" y="0"/>
                      <a:pt x="23" y="5"/>
                    </a:cubicBezTo>
                    <a:cubicBezTo>
                      <a:pt x="23" y="5"/>
                      <a:pt x="24" y="6"/>
                      <a:pt x="25" y="7"/>
                    </a:cubicBezTo>
                    <a:cubicBezTo>
                      <a:pt x="25" y="8"/>
                      <a:pt x="25" y="8"/>
                      <a:pt x="26" y="9"/>
                    </a:cubicBezTo>
                    <a:cubicBezTo>
                      <a:pt x="26" y="10"/>
                      <a:pt x="26" y="11"/>
                      <a:pt x="27" y="12"/>
                    </a:cubicBezTo>
                    <a:cubicBezTo>
                      <a:pt x="27" y="13"/>
                      <a:pt x="27" y="14"/>
                      <a:pt x="27" y="14"/>
                    </a:cubicBezTo>
                    <a:cubicBezTo>
                      <a:pt x="27" y="18"/>
                      <a:pt x="25" y="21"/>
                      <a:pt x="23" y="24"/>
                    </a:cubicBezTo>
                    <a:cubicBezTo>
                      <a:pt x="20" y="26"/>
                      <a:pt x="17" y="28"/>
                      <a:pt x="13"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8" name="Freeform 171">
                <a:extLst>
                  <a:ext uri="{FF2B5EF4-FFF2-40B4-BE49-F238E27FC236}">
                    <a16:creationId xmlns:a16="http://schemas.microsoft.com/office/drawing/2014/main" id="{75688933-7017-4E72-B2F9-3762843DEF9E}"/>
                  </a:ext>
                </a:extLst>
              </p:cNvPr>
              <p:cNvSpPr>
                <a:spLocks/>
              </p:cNvSpPr>
              <p:nvPr/>
            </p:nvSpPr>
            <p:spPr bwMode="auto">
              <a:xfrm>
                <a:off x="1971276" y="2701868"/>
                <a:ext cx="11704" cy="12173"/>
              </a:xfrm>
              <a:custGeom>
                <a:avLst/>
                <a:gdLst>
                  <a:gd name="T0" fmla="*/ 13 w 27"/>
                  <a:gd name="T1" fmla="*/ 28 h 28"/>
                  <a:gd name="T2" fmla="*/ 11 w 27"/>
                  <a:gd name="T3" fmla="*/ 28 h 28"/>
                  <a:gd name="T4" fmla="*/ 8 w 27"/>
                  <a:gd name="T5" fmla="*/ 27 h 28"/>
                  <a:gd name="T6" fmla="*/ 6 w 27"/>
                  <a:gd name="T7" fmla="*/ 26 h 28"/>
                  <a:gd name="T8" fmla="*/ 4 w 27"/>
                  <a:gd name="T9" fmla="*/ 24 h 28"/>
                  <a:gd name="T10" fmla="*/ 0 w 27"/>
                  <a:gd name="T11" fmla="*/ 14 h 28"/>
                  <a:gd name="T12" fmla="*/ 4 w 27"/>
                  <a:gd name="T13" fmla="*/ 5 h 28"/>
                  <a:gd name="T14" fmla="*/ 16 w 27"/>
                  <a:gd name="T15" fmla="*/ 1 h 28"/>
                  <a:gd name="T16" fmla="*/ 18 w 27"/>
                  <a:gd name="T17" fmla="*/ 2 h 28"/>
                  <a:gd name="T18" fmla="*/ 21 w 27"/>
                  <a:gd name="T19" fmla="*/ 3 h 28"/>
                  <a:gd name="T20" fmla="*/ 23 w 27"/>
                  <a:gd name="T21" fmla="*/ 5 h 28"/>
                  <a:gd name="T22" fmla="*/ 25 w 27"/>
                  <a:gd name="T23" fmla="*/ 7 h 28"/>
                  <a:gd name="T24" fmla="*/ 26 w 27"/>
                  <a:gd name="T25" fmla="*/ 9 h 28"/>
                  <a:gd name="T26" fmla="*/ 27 w 27"/>
                  <a:gd name="T27" fmla="*/ 12 h 28"/>
                  <a:gd name="T28" fmla="*/ 27 w 27"/>
                  <a:gd name="T29" fmla="*/ 14 h 28"/>
                  <a:gd name="T30" fmla="*/ 27 w 27"/>
                  <a:gd name="T31" fmla="*/ 17 h 28"/>
                  <a:gd name="T32" fmla="*/ 26 w 27"/>
                  <a:gd name="T33" fmla="*/ 20 h 28"/>
                  <a:gd name="T34" fmla="*/ 25 w 27"/>
                  <a:gd name="T35" fmla="*/ 22 h 28"/>
                  <a:gd name="T36" fmla="*/ 23 w 27"/>
                  <a:gd name="T37" fmla="*/ 24 h 28"/>
                  <a:gd name="T38" fmla="*/ 13 w 27"/>
                  <a:gd name="T3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8">
                    <a:moveTo>
                      <a:pt x="13" y="28"/>
                    </a:moveTo>
                    <a:cubicBezTo>
                      <a:pt x="12" y="28"/>
                      <a:pt x="11" y="28"/>
                      <a:pt x="11" y="28"/>
                    </a:cubicBezTo>
                    <a:cubicBezTo>
                      <a:pt x="10" y="27"/>
                      <a:pt x="9" y="27"/>
                      <a:pt x="8" y="27"/>
                    </a:cubicBezTo>
                    <a:cubicBezTo>
                      <a:pt x="7" y="26"/>
                      <a:pt x="6" y="26"/>
                      <a:pt x="6" y="26"/>
                    </a:cubicBezTo>
                    <a:cubicBezTo>
                      <a:pt x="5" y="25"/>
                      <a:pt x="4" y="25"/>
                      <a:pt x="4" y="24"/>
                    </a:cubicBezTo>
                    <a:cubicBezTo>
                      <a:pt x="1" y="21"/>
                      <a:pt x="0" y="18"/>
                      <a:pt x="0" y="14"/>
                    </a:cubicBezTo>
                    <a:cubicBezTo>
                      <a:pt x="0" y="11"/>
                      <a:pt x="1" y="7"/>
                      <a:pt x="4" y="5"/>
                    </a:cubicBezTo>
                    <a:cubicBezTo>
                      <a:pt x="7" y="2"/>
                      <a:pt x="11" y="0"/>
                      <a:pt x="16" y="1"/>
                    </a:cubicBezTo>
                    <a:cubicBezTo>
                      <a:pt x="17" y="1"/>
                      <a:pt x="18" y="1"/>
                      <a:pt x="18" y="2"/>
                    </a:cubicBezTo>
                    <a:cubicBezTo>
                      <a:pt x="19" y="2"/>
                      <a:pt x="20" y="3"/>
                      <a:pt x="21" y="3"/>
                    </a:cubicBezTo>
                    <a:cubicBezTo>
                      <a:pt x="22" y="4"/>
                      <a:pt x="22" y="4"/>
                      <a:pt x="23" y="5"/>
                    </a:cubicBezTo>
                    <a:cubicBezTo>
                      <a:pt x="23" y="5"/>
                      <a:pt x="24" y="6"/>
                      <a:pt x="25" y="7"/>
                    </a:cubicBezTo>
                    <a:cubicBezTo>
                      <a:pt x="25" y="7"/>
                      <a:pt x="25" y="8"/>
                      <a:pt x="26" y="9"/>
                    </a:cubicBezTo>
                    <a:cubicBezTo>
                      <a:pt x="26" y="10"/>
                      <a:pt x="26" y="11"/>
                      <a:pt x="27" y="12"/>
                    </a:cubicBezTo>
                    <a:cubicBezTo>
                      <a:pt x="27" y="13"/>
                      <a:pt x="27" y="13"/>
                      <a:pt x="27" y="14"/>
                    </a:cubicBezTo>
                    <a:cubicBezTo>
                      <a:pt x="27" y="15"/>
                      <a:pt x="27" y="16"/>
                      <a:pt x="27" y="17"/>
                    </a:cubicBezTo>
                    <a:cubicBezTo>
                      <a:pt x="26" y="18"/>
                      <a:pt x="26" y="19"/>
                      <a:pt x="26" y="20"/>
                    </a:cubicBezTo>
                    <a:cubicBezTo>
                      <a:pt x="25" y="20"/>
                      <a:pt x="25" y="21"/>
                      <a:pt x="25" y="22"/>
                    </a:cubicBezTo>
                    <a:cubicBezTo>
                      <a:pt x="24" y="23"/>
                      <a:pt x="23" y="23"/>
                      <a:pt x="23" y="24"/>
                    </a:cubicBezTo>
                    <a:cubicBezTo>
                      <a:pt x="20" y="26"/>
                      <a:pt x="17" y="28"/>
                      <a:pt x="13"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9" name="Freeform 172">
                <a:extLst>
                  <a:ext uri="{FF2B5EF4-FFF2-40B4-BE49-F238E27FC236}">
                    <a16:creationId xmlns:a16="http://schemas.microsoft.com/office/drawing/2014/main" id="{FAF1755D-3E6F-482B-822A-5D1598E909AB}"/>
                  </a:ext>
                </a:extLst>
              </p:cNvPr>
              <p:cNvSpPr>
                <a:spLocks/>
              </p:cNvSpPr>
              <p:nvPr/>
            </p:nvSpPr>
            <p:spPr bwMode="auto">
              <a:xfrm>
                <a:off x="1976426" y="2671904"/>
                <a:ext cx="11704" cy="11704"/>
              </a:xfrm>
              <a:custGeom>
                <a:avLst/>
                <a:gdLst>
                  <a:gd name="T0" fmla="*/ 13 w 27"/>
                  <a:gd name="T1" fmla="*/ 27 h 27"/>
                  <a:gd name="T2" fmla="*/ 3 w 27"/>
                  <a:gd name="T3" fmla="*/ 23 h 27"/>
                  <a:gd name="T4" fmla="*/ 0 w 27"/>
                  <a:gd name="T5" fmla="*/ 14 h 27"/>
                  <a:gd name="T6" fmla="*/ 0 w 27"/>
                  <a:gd name="T7" fmla="*/ 11 h 27"/>
                  <a:gd name="T8" fmla="*/ 1 w 27"/>
                  <a:gd name="T9" fmla="*/ 9 h 27"/>
                  <a:gd name="T10" fmla="*/ 2 w 27"/>
                  <a:gd name="T11" fmla="*/ 6 h 27"/>
                  <a:gd name="T12" fmla="*/ 3 w 27"/>
                  <a:gd name="T13" fmla="*/ 4 h 27"/>
                  <a:gd name="T14" fmla="*/ 6 w 27"/>
                  <a:gd name="T15" fmla="*/ 2 h 27"/>
                  <a:gd name="T16" fmla="*/ 8 w 27"/>
                  <a:gd name="T17" fmla="*/ 1 h 27"/>
                  <a:gd name="T18" fmla="*/ 10 w 27"/>
                  <a:gd name="T19" fmla="*/ 0 h 27"/>
                  <a:gd name="T20" fmla="*/ 16 w 27"/>
                  <a:gd name="T21" fmla="*/ 0 h 27"/>
                  <a:gd name="T22" fmla="*/ 18 w 27"/>
                  <a:gd name="T23" fmla="*/ 1 h 27"/>
                  <a:gd name="T24" fmla="*/ 21 w 27"/>
                  <a:gd name="T25" fmla="*/ 2 h 27"/>
                  <a:gd name="T26" fmla="*/ 23 w 27"/>
                  <a:gd name="T27" fmla="*/ 4 h 27"/>
                  <a:gd name="T28" fmla="*/ 24 w 27"/>
                  <a:gd name="T29" fmla="*/ 6 h 27"/>
                  <a:gd name="T30" fmla="*/ 26 w 27"/>
                  <a:gd name="T31" fmla="*/ 9 h 27"/>
                  <a:gd name="T32" fmla="*/ 26 w 27"/>
                  <a:gd name="T33" fmla="*/ 11 h 27"/>
                  <a:gd name="T34" fmla="*/ 27 w 27"/>
                  <a:gd name="T35" fmla="*/ 14 h 27"/>
                  <a:gd name="T36" fmla="*/ 23 w 27"/>
                  <a:gd name="T37" fmla="*/ 23 h 27"/>
                  <a:gd name="T38" fmla="*/ 13 w 27"/>
                  <a:gd name="T39"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7">
                    <a:moveTo>
                      <a:pt x="13" y="27"/>
                    </a:moveTo>
                    <a:cubicBezTo>
                      <a:pt x="10" y="27"/>
                      <a:pt x="6" y="26"/>
                      <a:pt x="3" y="23"/>
                    </a:cubicBezTo>
                    <a:cubicBezTo>
                      <a:pt x="1" y="21"/>
                      <a:pt x="0" y="17"/>
                      <a:pt x="0" y="14"/>
                    </a:cubicBezTo>
                    <a:cubicBezTo>
                      <a:pt x="0" y="13"/>
                      <a:pt x="0" y="12"/>
                      <a:pt x="0" y="11"/>
                    </a:cubicBezTo>
                    <a:cubicBezTo>
                      <a:pt x="0" y="10"/>
                      <a:pt x="0" y="9"/>
                      <a:pt x="1" y="9"/>
                    </a:cubicBezTo>
                    <a:cubicBezTo>
                      <a:pt x="1" y="8"/>
                      <a:pt x="1" y="7"/>
                      <a:pt x="2" y="6"/>
                    </a:cubicBezTo>
                    <a:cubicBezTo>
                      <a:pt x="2" y="5"/>
                      <a:pt x="3" y="5"/>
                      <a:pt x="3" y="4"/>
                    </a:cubicBezTo>
                    <a:cubicBezTo>
                      <a:pt x="4" y="4"/>
                      <a:pt x="5" y="3"/>
                      <a:pt x="6" y="2"/>
                    </a:cubicBezTo>
                    <a:cubicBezTo>
                      <a:pt x="6" y="2"/>
                      <a:pt x="7" y="2"/>
                      <a:pt x="8" y="1"/>
                    </a:cubicBezTo>
                    <a:cubicBezTo>
                      <a:pt x="9" y="1"/>
                      <a:pt x="10" y="1"/>
                      <a:pt x="10" y="0"/>
                    </a:cubicBezTo>
                    <a:cubicBezTo>
                      <a:pt x="12" y="0"/>
                      <a:pt x="14" y="0"/>
                      <a:pt x="16" y="0"/>
                    </a:cubicBezTo>
                    <a:cubicBezTo>
                      <a:pt x="17" y="1"/>
                      <a:pt x="17" y="1"/>
                      <a:pt x="18" y="1"/>
                    </a:cubicBezTo>
                    <a:cubicBezTo>
                      <a:pt x="19" y="2"/>
                      <a:pt x="20" y="2"/>
                      <a:pt x="21" y="2"/>
                    </a:cubicBezTo>
                    <a:cubicBezTo>
                      <a:pt x="21" y="3"/>
                      <a:pt x="22" y="4"/>
                      <a:pt x="23" y="4"/>
                    </a:cubicBezTo>
                    <a:cubicBezTo>
                      <a:pt x="23" y="5"/>
                      <a:pt x="24" y="5"/>
                      <a:pt x="24" y="6"/>
                    </a:cubicBezTo>
                    <a:cubicBezTo>
                      <a:pt x="25" y="7"/>
                      <a:pt x="25" y="8"/>
                      <a:pt x="26" y="9"/>
                    </a:cubicBezTo>
                    <a:cubicBezTo>
                      <a:pt x="26" y="9"/>
                      <a:pt x="26" y="10"/>
                      <a:pt x="26" y="11"/>
                    </a:cubicBezTo>
                    <a:cubicBezTo>
                      <a:pt x="27" y="12"/>
                      <a:pt x="27" y="13"/>
                      <a:pt x="27" y="14"/>
                    </a:cubicBezTo>
                    <a:cubicBezTo>
                      <a:pt x="27" y="17"/>
                      <a:pt x="25" y="21"/>
                      <a:pt x="23" y="23"/>
                    </a:cubicBezTo>
                    <a:cubicBezTo>
                      <a:pt x="20" y="26"/>
                      <a:pt x="17" y="27"/>
                      <a:pt x="13" y="2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0" name="Freeform 173">
                <a:extLst>
                  <a:ext uri="{FF2B5EF4-FFF2-40B4-BE49-F238E27FC236}">
                    <a16:creationId xmlns:a16="http://schemas.microsoft.com/office/drawing/2014/main" id="{F5F41C09-504B-43E2-A776-154E6DDBE1A3}"/>
                  </a:ext>
                </a:extLst>
              </p:cNvPr>
              <p:cNvSpPr>
                <a:spLocks/>
              </p:cNvSpPr>
              <p:nvPr/>
            </p:nvSpPr>
            <p:spPr bwMode="auto">
              <a:xfrm>
                <a:off x="1758723" y="2671436"/>
                <a:ext cx="11704" cy="12173"/>
              </a:xfrm>
              <a:custGeom>
                <a:avLst/>
                <a:gdLst>
                  <a:gd name="T0" fmla="*/ 13 w 27"/>
                  <a:gd name="T1" fmla="*/ 28 h 28"/>
                  <a:gd name="T2" fmla="*/ 4 w 27"/>
                  <a:gd name="T3" fmla="*/ 24 h 28"/>
                  <a:gd name="T4" fmla="*/ 2 w 27"/>
                  <a:gd name="T5" fmla="*/ 22 h 28"/>
                  <a:gd name="T6" fmla="*/ 1 w 27"/>
                  <a:gd name="T7" fmla="*/ 20 h 28"/>
                  <a:gd name="T8" fmla="*/ 0 w 27"/>
                  <a:gd name="T9" fmla="*/ 17 h 28"/>
                  <a:gd name="T10" fmla="*/ 0 w 27"/>
                  <a:gd name="T11" fmla="*/ 15 h 28"/>
                  <a:gd name="T12" fmla="*/ 0 w 27"/>
                  <a:gd name="T13" fmla="*/ 12 h 28"/>
                  <a:gd name="T14" fmla="*/ 1 w 27"/>
                  <a:gd name="T15" fmla="*/ 10 h 28"/>
                  <a:gd name="T16" fmla="*/ 2 w 27"/>
                  <a:gd name="T17" fmla="*/ 7 h 28"/>
                  <a:gd name="T18" fmla="*/ 4 w 27"/>
                  <a:gd name="T19" fmla="*/ 5 h 28"/>
                  <a:gd name="T20" fmla="*/ 16 w 27"/>
                  <a:gd name="T21" fmla="*/ 1 h 28"/>
                  <a:gd name="T22" fmla="*/ 19 w 27"/>
                  <a:gd name="T23" fmla="*/ 2 h 28"/>
                  <a:gd name="T24" fmla="*/ 21 w 27"/>
                  <a:gd name="T25" fmla="*/ 3 h 28"/>
                  <a:gd name="T26" fmla="*/ 23 w 27"/>
                  <a:gd name="T27" fmla="*/ 5 h 28"/>
                  <a:gd name="T28" fmla="*/ 25 w 27"/>
                  <a:gd name="T29" fmla="*/ 7 h 28"/>
                  <a:gd name="T30" fmla="*/ 26 w 27"/>
                  <a:gd name="T31" fmla="*/ 10 h 28"/>
                  <a:gd name="T32" fmla="*/ 27 w 27"/>
                  <a:gd name="T33" fmla="*/ 12 h 28"/>
                  <a:gd name="T34" fmla="*/ 27 w 27"/>
                  <a:gd name="T35" fmla="*/ 15 h 28"/>
                  <a:gd name="T36" fmla="*/ 23 w 27"/>
                  <a:gd name="T37" fmla="*/ 24 h 28"/>
                  <a:gd name="T38" fmla="*/ 13 w 27"/>
                  <a:gd name="T3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28">
                    <a:moveTo>
                      <a:pt x="13" y="28"/>
                    </a:moveTo>
                    <a:cubicBezTo>
                      <a:pt x="10" y="28"/>
                      <a:pt x="6" y="27"/>
                      <a:pt x="4" y="24"/>
                    </a:cubicBezTo>
                    <a:cubicBezTo>
                      <a:pt x="3" y="24"/>
                      <a:pt x="3" y="23"/>
                      <a:pt x="2" y="22"/>
                    </a:cubicBezTo>
                    <a:cubicBezTo>
                      <a:pt x="2" y="22"/>
                      <a:pt x="1" y="21"/>
                      <a:pt x="1" y="20"/>
                    </a:cubicBezTo>
                    <a:cubicBezTo>
                      <a:pt x="1" y="19"/>
                      <a:pt x="0" y="18"/>
                      <a:pt x="0" y="17"/>
                    </a:cubicBezTo>
                    <a:cubicBezTo>
                      <a:pt x="0" y="17"/>
                      <a:pt x="0" y="16"/>
                      <a:pt x="0" y="15"/>
                    </a:cubicBezTo>
                    <a:cubicBezTo>
                      <a:pt x="0" y="14"/>
                      <a:pt x="0" y="13"/>
                      <a:pt x="0" y="12"/>
                    </a:cubicBezTo>
                    <a:cubicBezTo>
                      <a:pt x="0" y="11"/>
                      <a:pt x="1" y="10"/>
                      <a:pt x="1" y="10"/>
                    </a:cubicBezTo>
                    <a:cubicBezTo>
                      <a:pt x="1" y="9"/>
                      <a:pt x="2" y="8"/>
                      <a:pt x="2" y="7"/>
                    </a:cubicBezTo>
                    <a:cubicBezTo>
                      <a:pt x="3" y="6"/>
                      <a:pt x="3" y="6"/>
                      <a:pt x="4" y="5"/>
                    </a:cubicBezTo>
                    <a:cubicBezTo>
                      <a:pt x="7" y="2"/>
                      <a:pt x="12" y="0"/>
                      <a:pt x="16" y="1"/>
                    </a:cubicBezTo>
                    <a:cubicBezTo>
                      <a:pt x="17" y="2"/>
                      <a:pt x="18" y="2"/>
                      <a:pt x="19" y="2"/>
                    </a:cubicBezTo>
                    <a:cubicBezTo>
                      <a:pt x="19" y="3"/>
                      <a:pt x="20" y="3"/>
                      <a:pt x="21" y="3"/>
                    </a:cubicBezTo>
                    <a:cubicBezTo>
                      <a:pt x="22" y="4"/>
                      <a:pt x="22" y="5"/>
                      <a:pt x="23" y="5"/>
                    </a:cubicBezTo>
                    <a:cubicBezTo>
                      <a:pt x="24" y="6"/>
                      <a:pt x="24" y="6"/>
                      <a:pt x="25" y="7"/>
                    </a:cubicBezTo>
                    <a:cubicBezTo>
                      <a:pt x="25" y="8"/>
                      <a:pt x="26" y="9"/>
                      <a:pt x="26" y="10"/>
                    </a:cubicBezTo>
                    <a:cubicBezTo>
                      <a:pt x="26" y="10"/>
                      <a:pt x="27" y="11"/>
                      <a:pt x="27" y="12"/>
                    </a:cubicBezTo>
                    <a:cubicBezTo>
                      <a:pt x="27" y="13"/>
                      <a:pt x="27" y="14"/>
                      <a:pt x="27" y="15"/>
                    </a:cubicBezTo>
                    <a:cubicBezTo>
                      <a:pt x="27" y="18"/>
                      <a:pt x="26" y="22"/>
                      <a:pt x="23" y="24"/>
                    </a:cubicBezTo>
                    <a:cubicBezTo>
                      <a:pt x="20" y="27"/>
                      <a:pt x="17" y="28"/>
                      <a:pt x="13"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1" name="Freeform 174">
                <a:extLst>
                  <a:ext uri="{FF2B5EF4-FFF2-40B4-BE49-F238E27FC236}">
                    <a16:creationId xmlns:a16="http://schemas.microsoft.com/office/drawing/2014/main" id="{D46A1544-E0BC-4449-8543-E6D5699D8328}"/>
                  </a:ext>
                </a:extLst>
              </p:cNvPr>
              <p:cNvSpPr>
                <a:spLocks/>
              </p:cNvSpPr>
              <p:nvPr/>
            </p:nvSpPr>
            <p:spPr bwMode="auto">
              <a:xfrm>
                <a:off x="1925394" y="2537538"/>
                <a:ext cx="31836" cy="107212"/>
              </a:xfrm>
              <a:custGeom>
                <a:avLst/>
                <a:gdLst>
                  <a:gd name="T0" fmla="*/ 25 w 68"/>
                  <a:gd name="T1" fmla="*/ 229 h 229"/>
                  <a:gd name="T2" fmla="*/ 0 w 68"/>
                  <a:gd name="T3" fmla="*/ 223 h 229"/>
                  <a:gd name="T4" fmla="*/ 44 w 68"/>
                  <a:gd name="T5" fmla="*/ 0 h 229"/>
                  <a:gd name="T6" fmla="*/ 68 w 68"/>
                  <a:gd name="T7" fmla="*/ 6 h 229"/>
                  <a:gd name="T8" fmla="*/ 25 w 68"/>
                  <a:gd name="T9" fmla="*/ 229 h 229"/>
                </a:gdLst>
                <a:ahLst/>
                <a:cxnLst>
                  <a:cxn ang="0">
                    <a:pos x="T0" y="T1"/>
                  </a:cxn>
                  <a:cxn ang="0">
                    <a:pos x="T2" y="T3"/>
                  </a:cxn>
                  <a:cxn ang="0">
                    <a:pos x="T4" y="T5"/>
                  </a:cxn>
                  <a:cxn ang="0">
                    <a:pos x="T6" y="T7"/>
                  </a:cxn>
                  <a:cxn ang="0">
                    <a:pos x="T8" y="T9"/>
                  </a:cxn>
                </a:cxnLst>
                <a:rect l="0" t="0" r="r" b="b"/>
                <a:pathLst>
                  <a:path w="68" h="229">
                    <a:moveTo>
                      <a:pt x="25" y="229"/>
                    </a:moveTo>
                    <a:lnTo>
                      <a:pt x="0" y="223"/>
                    </a:lnTo>
                    <a:lnTo>
                      <a:pt x="44" y="0"/>
                    </a:lnTo>
                    <a:lnTo>
                      <a:pt x="68" y="6"/>
                    </a:lnTo>
                    <a:lnTo>
                      <a:pt x="25" y="22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2" name="Freeform 175">
                <a:extLst>
                  <a:ext uri="{FF2B5EF4-FFF2-40B4-BE49-F238E27FC236}">
                    <a16:creationId xmlns:a16="http://schemas.microsoft.com/office/drawing/2014/main" id="{6295E40F-093D-4AAC-B3E9-AFCF1BA368D5}"/>
                  </a:ext>
                </a:extLst>
              </p:cNvPr>
              <p:cNvSpPr>
                <a:spLocks noEditPoints="1"/>
              </p:cNvSpPr>
              <p:nvPr/>
            </p:nvSpPr>
            <p:spPr bwMode="auto">
              <a:xfrm>
                <a:off x="1899177" y="2463566"/>
                <a:ext cx="102063" cy="141389"/>
              </a:xfrm>
              <a:custGeom>
                <a:avLst/>
                <a:gdLst>
                  <a:gd name="T0" fmla="*/ 106 w 235"/>
                  <a:gd name="T1" fmla="*/ 325 h 325"/>
                  <a:gd name="T2" fmla="*/ 92 w 235"/>
                  <a:gd name="T3" fmla="*/ 324 h 325"/>
                  <a:gd name="T4" fmla="*/ 17 w 235"/>
                  <a:gd name="T5" fmla="*/ 148 h 325"/>
                  <a:gd name="T6" fmla="*/ 152 w 235"/>
                  <a:gd name="T7" fmla="*/ 12 h 325"/>
                  <a:gd name="T8" fmla="*/ 219 w 235"/>
                  <a:gd name="T9" fmla="*/ 75 h 325"/>
                  <a:gd name="T10" fmla="*/ 228 w 235"/>
                  <a:gd name="T11" fmla="*/ 188 h 325"/>
                  <a:gd name="T12" fmla="*/ 178 w 235"/>
                  <a:gd name="T13" fmla="*/ 291 h 325"/>
                  <a:gd name="T14" fmla="*/ 106 w 235"/>
                  <a:gd name="T15" fmla="*/ 325 h 325"/>
                  <a:gd name="T16" fmla="*/ 138 w 235"/>
                  <a:gd name="T17" fmla="*/ 38 h 325"/>
                  <a:gd name="T18" fmla="*/ 43 w 235"/>
                  <a:gd name="T19" fmla="*/ 153 h 325"/>
                  <a:gd name="T20" fmla="*/ 97 w 235"/>
                  <a:gd name="T21" fmla="*/ 297 h 325"/>
                  <a:gd name="T22" fmla="*/ 158 w 235"/>
                  <a:gd name="T23" fmla="*/ 272 h 325"/>
                  <a:gd name="T24" fmla="*/ 201 w 235"/>
                  <a:gd name="T25" fmla="*/ 183 h 325"/>
                  <a:gd name="T26" fmla="*/ 201 w 235"/>
                  <a:gd name="T27" fmla="*/ 183 h 325"/>
                  <a:gd name="T28" fmla="*/ 194 w 235"/>
                  <a:gd name="T29" fmla="*/ 85 h 325"/>
                  <a:gd name="T30" fmla="*/ 147 w 235"/>
                  <a:gd name="T31" fmla="*/ 39 h 325"/>
                  <a:gd name="T32" fmla="*/ 138 w 235"/>
                  <a:gd name="T33" fmla="*/ 38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5" h="325">
                    <a:moveTo>
                      <a:pt x="106" y="325"/>
                    </a:moveTo>
                    <a:cubicBezTo>
                      <a:pt x="102" y="325"/>
                      <a:pt x="97" y="325"/>
                      <a:pt x="92" y="324"/>
                    </a:cubicBezTo>
                    <a:cubicBezTo>
                      <a:pt x="33" y="313"/>
                      <a:pt x="0" y="235"/>
                      <a:pt x="17" y="148"/>
                    </a:cubicBezTo>
                    <a:cubicBezTo>
                      <a:pt x="33" y="60"/>
                      <a:pt x="93" y="0"/>
                      <a:pt x="152" y="12"/>
                    </a:cubicBezTo>
                    <a:cubicBezTo>
                      <a:pt x="181" y="18"/>
                      <a:pt x="205" y="40"/>
                      <a:pt x="219" y="75"/>
                    </a:cubicBezTo>
                    <a:cubicBezTo>
                      <a:pt x="233" y="107"/>
                      <a:pt x="235" y="148"/>
                      <a:pt x="228" y="188"/>
                    </a:cubicBezTo>
                    <a:cubicBezTo>
                      <a:pt x="220" y="229"/>
                      <a:pt x="202" y="265"/>
                      <a:pt x="178" y="291"/>
                    </a:cubicBezTo>
                    <a:cubicBezTo>
                      <a:pt x="156" y="313"/>
                      <a:pt x="131" y="325"/>
                      <a:pt x="106" y="325"/>
                    </a:cubicBezTo>
                    <a:close/>
                    <a:moveTo>
                      <a:pt x="138" y="38"/>
                    </a:moveTo>
                    <a:cubicBezTo>
                      <a:pt x="98" y="38"/>
                      <a:pt x="56" y="88"/>
                      <a:pt x="43" y="153"/>
                    </a:cubicBezTo>
                    <a:cubicBezTo>
                      <a:pt x="30" y="223"/>
                      <a:pt x="54" y="289"/>
                      <a:pt x="97" y="297"/>
                    </a:cubicBezTo>
                    <a:cubicBezTo>
                      <a:pt x="117" y="301"/>
                      <a:pt x="139" y="292"/>
                      <a:pt x="158" y="272"/>
                    </a:cubicBezTo>
                    <a:cubicBezTo>
                      <a:pt x="179" y="250"/>
                      <a:pt x="194" y="219"/>
                      <a:pt x="201" y="183"/>
                    </a:cubicBezTo>
                    <a:cubicBezTo>
                      <a:pt x="201" y="183"/>
                      <a:pt x="201" y="183"/>
                      <a:pt x="201" y="183"/>
                    </a:cubicBezTo>
                    <a:cubicBezTo>
                      <a:pt x="208" y="148"/>
                      <a:pt x="205" y="113"/>
                      <a:pt x="194" y="85"/>
                    </a:cubicBezTo>
                    <a:cubicBezTo>
                      <a:pt x="184" y="59"/>
                      <a:pt x="167" y="42"/>
                      <a:pt x="147" y="39"/>
                    </a:cubicBezTo>
                    <a:cubicBezTo>
                      <a:pt x="144" y="38"/>
                      <a:pt x="141" y="38"/>
                      <a:pt x="138" y="3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225" name="Freeform 162">
              <a:extLst>
                <a:ext uri="{FF2B5EF4-FFF2-40B4-BE49-F238E27FC236}">
                  <a16:creationId xmlns:a16="http://schemas.microsoft.com/office/drawing/2014/main" id="{46B76957-7705-40AD-802D-7CDE4263F61D}"/>
                </a:ext>
              </a:extLst>
            </p:cNvPr>
            <p:cNvSpPr>
              <a:spLocks/>
            </p:cNvSpPr>
            <p:nvPr/>
          </p:nvSpPr>
          <p:spPr bwMode="auto">
            <a:xfrm>
              <a:off x="1655724" y="2633046"/>
              <a:ext cx="367520" cy="118448"/>
            </a:xfrm>
            <a:custGeom>
              <a:avLst/>
              <a:gdLst>
                <a:gd name="T0" fmla="*/ 449 w 846"/>
                <a:gd name="T1" fmla="*/ 272 h 272"/>
                <a:gd name="T2" fmla="*/ 438 w 846"/>
                <a:gd name="T3" fmla="*/ 266 h 272"/>
                <a:gd name="T4" fmla="*/ 341 w 846"/>
                <a:gd name="T5" fmla="*/ 113 h 272"/>
                <a:gd name="T6" fmla="*/ 340 w 846"/>
                <a:gd name="T7" fmla="*/ 101 h 272"/>
                <a:gd name="T8" fmla="*/ 367 w 846"/>
                <a:gd name="T9" fmla="*/ 34 h 272"/>
                <a:gd name="T10" fmla="*/ 6 w 846"/>
                <a:gd name="T11" fmla="*/ 119 h 272"/>
                <a:gd name="T12" fmla="*/ 0 w 846"/>
                <a:gd name="T13" fmla="*/ 93 h 272"/>
                <a:gd name="T14" fmla="*/ 386 w 846"/>
                <a:gd name="T15" fmla="*/ 1 h 272"/>
                <a:gd name="T16" fmla="*/ 400 w 846"/>
                <a:gd name="T17" fmla="*/ 6 h 272"/>
                <a:gd name="T18" fmla="*/ 402 w 846"/>
                <a:gd name="T19" fmla="*/ 20 h 272"/>
                <a:gd name="T20" fmla="*/ 367 w 846"/>
                <a:gd name="T21" fmla="*/ 105 h 272"/>
                <a:gd name="T22" fmla="*/ 441 w 846"/>
                <a:gd name="T23" fmla="*/ 221 h 272"/>
                <a:gd name="T24" fmla="*/ 452 w 846"/>
                <a:gd name="T25" fmla="*/ 155 h 272"/>
                <a:gd name="T26" fmla="*/ 431 w 846"/>
                <a:gd name="T27" fmla="*/ 103 h 272"/>
                <a:gd name="T28" fmla="*/ 435 w 846"/>
                <a:gd name="T29" fmla="*/ 87 h 272"/>
                <a:gd name="T30" fmla="*/ 530 w 846"/>
                <a:gd name="T31" fmla="*/ 4 h 272"/>
                <a:gd name="T32" fmla="*/ 540 w 846"/>
                <a:gd name="T33" fmla="*/ 1 h 272"/>
                <a:gd name="T34" fmla="*/ 846 w 846"/>
                <a:gd name="T35" fmla="*/ 23 h 272"/>
                <a:gd name="T36" fmla="*/ 844 w 846"/>
                <a:gd name="T37" fmla="*/ 50 h 272"/>
                <a:gd name="T38" fmla="*/ 544 w 846"/>
                <a:gd name="T39" fmla="*/ 28 h 272"/>
                <a:gd name="T40" fmla="*/ 460 w 846"/>
                <a:gd name="T41" fmla="*/ 102 h 272"/>
                <a:gd name="T42" fmla="*/ 479 w 846"/>
                <a:gd name="T43" fmla="*/ 149 h 272"/>
                <a:gd name="T44" fmla="*/ 479 w 846"/>
                <a:gd name="T45" fmla="*/ 156 h 272"/>
                <a:gd name="T46" fmla="*/ 462 w 846"/>
                <a:gd name="T47" fmla="*/ 260 h 272"/>
                <a:gd name="T48" fmla="*/ 452 w 846"/>
                <a:gd name="T49" fmla="*/ 272 h 272"/>
                <a:gd name="T50" fmla="*/ 449 w 846"/>
                <a:gd name="T51"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46" h="272">
                  <a:moveTo>
                    <a:pt x="449" y="272"/>
                  </a:moveTo>
                  <a:cubicBezTo>
                    <a:pt x="444" y="272"/>
                    <a:pt x="440" y="270"/>
                    <a:pt x="438" y="266"/>
                  </a:cubicBezTo>
                  <a:cubicBezTo>
                    <a:pt x="341" y="113"/>
                    <a:pt x="341" y="113"/>
                    <a:pt x="341" y="113"/>
                  </a:cubicBezTo>
                  <a:cubicBezTo>
                    <a:pt x="338" y="110"/>
                    <a:pt x="338" y="105"/>
                    <a:pt x="340" y="101"/>
                  </a:cubicBezTo>
                  <a:cubicBezTo>
                    <a:pt x="367" y="34"/>
                    <a:pt x="367" y="34"/>
                    <a:pt x="367" y="34"/>
                  </a:cubicBezTo>
                  <a:cubicBezTo>
                    <a:pt x="6" y="119"/>
                    <a:pt x="6" y="119"/>
                    <a:pt x="6" y="119"/>
                  </a:cubicBezTo>
                  <a:cubicBezTo>
                    <a:pt x="0" y="93"/>
                    <a:pt x="0" y="93"/>
                    <a:pt x="0" y="93"/>
                  </a:cubicBezTo>
                  <a:cubicBezTo>
                    <a:pt x="386" y="1"/>
                    <a:pt x="386" y="1"/>
                    <a:pt x="386" y="1"/>
                  </a:cubicBezTo>
                  <a:cubicBezTo>
                    <a:pt x="391" y="0"/>
                    <a:pt x="397" y="2"/>
                    <a:pt x="400" y="6"/>
                  </a:cubicBezTo>
                  <a:cubicBezTo>
                    <a:pt x="403" y="9"/>
                    <a:pt x="404" y="15"/>
                    <a:pt x="402" y="20"/>
                  </a:cubicBezTo>
                  <a:cubicBezTo>
                    <a:pt x="367" y="105"/>
                    <a:pt x="367" y="105"/>
                    <a:pt x="367" y="105"/>
                  </a:cubicBezTo>
                  <a:cubicBezTo>
                    <a:pt x="441" y="221"/>
                    <a:pt x="441" y="221"/>
                    <a:pt x="441" y="221"/>
                  </a:cubicBezTo>
                  <a:cubicBezTo>
                    <a:pt x="452" y="155"/>
                    <a:pt x="452" y="155"/>
                    <a:pt x="452" y="155"/>
                  </a:cubicBezTo>
                  <a:cubicBezTo>
                    <a:pt x="431" y="103"/>
                    <a:pt x="431" y="103"/>
                    <a:pt x="431" y="103"/>
                  </a:cubicBezTo>
                  <a:cubicBezTo>
                    <a:pt x="429" y="97"/>
                    <a:pt x="431" y="91"/>
                    <a:pt x="435" y="87"/>
                  </a:cubicBezTo>
                  <a:cubicBezTo>
                    <a:pt x="530" y="4"/>
                    <a:pt x="530" y="4"/>
                    <a:pt x="530" y="4"/>
                  </a:cubicBezTo>
                  <a:cubicBezTo>
                    <a:pt x="533" y="2"/>
                    <a:pt x="536" y="1"/>
                    <a:pt x="540" y="1"/>
                  </a:cubicBezTo>
                  <a:cubicBezTo>
                    <a:pt x="846" y="23"/>
                    <a:pt x="846" y="23"/>
                    <a:pt x="846" y="23"/>
                  </a:cubicBezTo>
                  <a:cubicBezTo>
                    <a:pt x="844" y="50"/>
                    <a:pt x="844" y="50"/>
                    <a:pt x="844" y="50"/>
                  </a:cubicBezTo>
                  <a:cubicBezTo>
                    <a:pt x="544" y="28"/>
                    <a:pt x="544" y="28"/>
                    <a:pt x="544" y="28"/>
                  </a:cubicBezTo>
                  <a:cubicBezTo>
                    <a:pt x="460" y="102"/>
                    <a:pt x="460" y="102"/>
                    <a:pt x="460" y="102"/>
                  </a:cubicBezTo>
                  <a:cubicBezTo>
                    <a:pt x="479" y="149"/>
                    <a:pt x="479" y="149"/>
                    <a:pt x="479" y="149"/>
                  </a:cubicBezTo>
                  <a:cubicBezTo>
                    <a:pt x="479" y="151"/>
                    <a:pt x="480" y="153"/>
                    <a:pt x="479" y="156"/>
                  </a:cubicBezTo>
                  <a:cubicBezTo>
                    <a:pt x="462" y="260"/>
                    <a:pt x="462" y="260"/>
                    <a:pt x="462" y="260"/>
                  </a:cubicBezTo>
                  <a:cubicBezTo>
                    <a:pt x="461" y="266"/>
                    <a:pt x="457" y="270"/>
                    <a:pt x="452" y="272"/>
                  </a:cubicBezTo>
                  <a:cubicBezTo>
                    <a:pt x="451" y="272"/>
                    <a:pt x="450" y="272"/>
                    <a:pt x="449" y="2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243" name="Group 242">
            <a:extLst>
              <a:ext uri="{FF2B5EF4-FFF2-40B4-BE49-F238E27FC236}">
                <a16:creationId xmlns:a16="http://schemas.microsoft.com/office/drawing/2014/main" id="{E413737E-8A3B-4C6D-A921-09F870503C40}"/>
              </a:ext>
            </a:extLst>
          </p:cNvPr>
          <p:cNvGrpSpPr/>
          <p:nvPr/>
        </p:nvGrpSpPr>
        <p:grpSpPr>
          <a:xfrm>
            <a:off x="8157738" y="2423303"/>
            <a:ext cx="369860" cy="368454"/>
            <a:chOff x="3748434" y="1617757"/>
            <a:chExt cx="369860" cy="368454"/>
          </a:xfrm>
        </p:grpSpPr>
        <p:grpSp>
          <p:nvGrpSpPr>
            <p:cNvPr id="244" name="Group 243">
              <a:extLst>
                <a:ext uri="{FF2B5EF4-FFF2-40B4-BE49-F238E27FC236}">
                  <a16:creationId xmlns:a16="http://schemas.microsoft.com/office/drawing/2014/main" id="{695F3B84-AFE9-4F71-B1F5-2E007CECDFBA}"/>
                </a:ext>
              </a:extLst>
            </p:cNvPr>
            <p:cNvGrpSpPr/>
            <p:nvPr/>
          </p:nvGrpSpPr>
          <p:grpSpPr>
            <a:xfrm>
              <a:off x="3748434" y="1617757"/>
              <a:ext cx="369860" cy="342237"/>
              <a:chOff x="3748434" y="1617757"/>
              <a:chExt cx="369860" cy="342237"/>
            </a:xfrm>
          </p:grpSpPr>
          <p:sp>
            <p:nvSpPr>
              <p:cNvPr id="248" name="Freeform 41">
                <a:extLst>
                  <a:ext uri="{FF2B5EF4-FFF2-40B4-BE49-F238E27FC236}">
                    <a16:creationId xmlns:a16="http://schemas.microsoft.com/office/drawing/2014/main" id="{0C6C81DC-41CE-4F61-A140-A63858546801}"/>
                  </a:ext>
                </a:extLst>
              </p:cNvPr>
              <p:cNvSpPr>
                <a:spLocks noEditPoints="1"/>
              </p:cNvSpPr>
              <p:nvPr/>
            </p:nvSpPr>
            <p:spPr bwMode="auto">
              <a:xfrm>
                <a:off x="3931491" y="1796132"/>
                <a:ext cx="131090" cy="163862"/>
              </a:xfrm>
              <a:custGeom>
                <a:avLst/>
                <a:gdLst>
                  <a:gd name="T0" fmla="*/ 130 w 302"/>
                  <a:gd name="T1" fmla="*/ 377 h 377"/>
                  <a:gd name="T2" fmla="*/ 121 w 302"/>
                  <a:gd name="T3" fmla="*/ 374 h 377"/>
                  <a:gd name="T4" fmla="*/ 68 w 302"/>
                  <a:gd name="T5" fmla="*/ 324 h 377"/>
                  <a:gd name="T6" fmla="*/ 48 w 302"/>
                  <a:gd name="T7" fmla="*/ 309 h 377"/>
                  <a:gd name="T8" fmla="*/ 0 w 302"/>
                  <a:gd name="T9" fmla="*/ 239 h 377"/>
                  <a:gd name="T10" fmla="*/ 27 w 302"/>
                  <a:gd name="T11" fmla="*/ 234 h 377"/>
                  <a:gd name="T12" fmla="*/ 62 w 302"/>
                  <a:gd name="T13" fmla="*/ 286 h 377"/>
                  <a:gd name="T14" fmla="*/ 92 w 302"/>
                  <a:gd name="T15" fmla="*/ 311 h 377"/>
                  <a:gd name="T16" fmla="*/ 124 w 302"/>
                  <a:gd name="T17" fmla="*/ 341 h 377"/>
                  <a:gd name="T18" fmla="*/ 127 w 302"/>
                  <a:gd name="T19" fmla="*/ 325 h 377"/>
                  <a:gd name="T20" fmla="*/ 106 w 302"/>
                  <a:gd name="T21" fmla="*/ 299 h 377"/>
                  <a:gd name="T22" fmla="*/ 89 w 302"/>
                  <a:gd name="T23" fmla="*/ 262 h 377"/>
                  <a:gd name="T24" fmla="*/ 98 w 302"/>
                  <a:gd name="T25" fmla="*/ 248 h 377"/>
                  <a:gd name="T26" fmla="*/ 140 w 302"/>
                  <a:gd name="T27" fmla="*/ 246 h 377"/>
                  <a:gd name="T28" fmla="*/ 145 w 302"/>
                  <a:gd name="T29" fmla="*/ 247 h 377"/>
                  <a:gd name="T30" fmla="*/ 164 w 302"/>
                  <a:gd name="T31" fmla="*/ 227 h 377"/>
                  <a:gd name="T32" fmla="*/ 218 w 302"/>
                  <a:gd name="T33" fmla="*/ 173 h 377"/>
                  <a:gd name="T34" fmla="*/ 252 w 302"/>
                  <a:gd name="T35" fmla="*/ 162 h 377"/>
                  <a:gd name="T36" fmla="*/ 265 w 302"/>
                  <a:gd name="T37" fmla="*/ 120 h 377"/>
                  <a:gd name="T38" fmla="*/ 241 w 302"/>
                  <a:gd name="T39" fmla="*/ 104 h 377"/>
                  <a:gd name="T40" fmla="*/ 207 w 302"/>
                  <a:gd name="T41" fmla="*/ 76 h 377"/>
                  <a:gd name="T42" fmla="*/ 207 w 302"/>
                  <a:gd name="T43" fmla="*/ 0 h 377"/>
                  <a:gd name="T44" fmla="*/ 234 w 302"/>
                  <a:gd name="T45" fmla="*/ 3 h 377"/>
                  <a:gd name="T46" fmla="*/ 232 w 302"/>
                  <a:gd name="T47" fmla="*/ 66 h 377"/>
                  <a:gd name="T48" fmla="*/ 254 w 302"/>
                  <a:gd name="T49" fmla="*/ 80 h 377"/>
                  <a:gd name="T50" fmla="*/ 287 w 302"/>
                  <a:gd name="T51" fmla="*/ 104 h 377"/>
                  <a:gd name="T52" fmla="*/ 281 w 302"/>
                  <a:gd name="T53" fmla="*/ 167 h 377"/>
                  <a:gd name="T54" fmla="*/ 256 w 302"/>
                  <a:gd name="T55" fmla="*/ 189 h 377"/>
                  <a:gd name="T56" fmla="*/ 229 w 302"/>
                  <a:gd name="T57" fmla="*/ 198 h 377"/>
                  <a:gd name="T58" fmla="*/ 190 w 302"/>
                  <a:gd name="T59" fmla="*/ 235 h 377"/>
                  <a:gd name="T60" fmla="*/ 146 w 302"/>
                  <a:gd name="T61" fmla="*/ 274 h 377"/>
                  <a:gd name="T62" fmla="*/ 136 w 302"/>
                  <a:gd name="T63" fmla="*/ 273 h 377"/>
                  <a:gd name="T64" fmla="*/ 119 w 302"/>
                  <a:gd name="T65" fmla="*/ 271 h 377"/>
                  <a:gd name="T66" fmla="*/ 124 w 302"/>
                  <a:gd name="T67" fmla="*/ 279 h 377"/>
                  <a:gd name="T68" fmla="*/ 151 w 302"/>
                  <a:gd name="T69" fmla="*/ 312 h 377"/>
                  <a:gd name="T70" fmla="*/ 142 w 302"/>
                  <a:gd name="T71" fmla="*/ 369 h 377"/>
                  <a:gd name="T72" fmla="*/ 133 w 302"/>
                  <a:gd name="T73" fmla="*/ 377 h 377"/>
                  <a:gd name="T74" fmla="*/ 130 w 302"/>
                  <a:gd name="T75" fmla="*/ 377 h 377"/>
                  <a:gd name="T76" fmla="*/ 93 w 302"/>
                  <a:gd name="T77" fmla="*/ 313 h 377"/>
                  <a:gd name="T78" fmla="*/ 93 w 302"/>
                  <a:gd name="T79" fmla="*/ 313 h 377"/>
                  <a:gd name="T80" fmla="*/ 93 w 302"/>
                  <a:gd name="T81" fmla="*/ 313 h 377"/>
                  <a:gd name="T82" fmla="*/ 93 w 302"/>
                  <a:gd name="T83" fmla="*/ 313 h 377"/>
                  <a:gd name="T84" fmla="*/ 93 w 302"/>
                  <a:gd name="T85" fmla="*/ 313 h 377"/>
                  <a:gd name="T86" fmla="*/ 93 w 302"/>
                  <a:gd name="T87" fmla="*/ 313 h 377"/>
                  <a:gd name="T88" fmla="*/ 92 w 302"/>
                  <a:gd name="T89" fmla="*/ 311 h 377"/>
                  <a:gd name="T90" fmla="*/ 92 w 302"/>
                  <a:gd name="T91" fmla="*/ 311 h 377"/>
                  <a:gd name="T92" fmla="*/ 60 w 302"/>
                  <a:gd name="T93" fmla="*/ 285 h 377"/>
                  <a:gd name="T94" fmla="*/ 61 w 302"/>
                  <a:gd name="T95" fmla="*/ 285 h 377"/>
                  <a:gd name="T96" fmla="*/ 60 w 302"/>
                  <a:gd name="T97" fmla="*/ 285 h 377"/>
                  <a:gd name="T98" fmla="*/ 124 w 302"/>
                  <a:gd name="T99" fmla="*/ 278 h 377"/>
                  <a:gd name="T100" fmla="*/ 124 w 302"/>
                  <a:gd name="T101" fmla="*/ 279 h 377"/>
                  <a:gd name="T102" fmla="*/ 124 w 302"/>
                  <a:gd name="T103" fmla="*/ 278 h 377"/>
                  <a:gd name="T104" fmla="*/ 110 w 302"/>
                  <a:gd name="T105" fmla="*/ 272 h 377"/>
                  <a:gd name="T106" fmla="*/ 110 w 302"/>
                  <a:gd name="T107" fmla="*/ 272 h 377"/>
                  <a:gd name="T108" fmla="*/ 144 w 302"/>
                  <a:gd name="T109" fmla="*/ 247 h 377"/>
                  <a:gd name="T110" fmla="*/ 144 w 302"/>
                  <a:gd name="T111" fmla="*/ 24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2" h="377">
                    <a:moveTo>
                      <a:pt x="130" y="377"/>
                    </a:moveTo>
                    <a:cubicBezTo>
                      <a:pt x="126" y="377"/>
                      <a:pt x="123" y="376"/>
                      <a:pt x="121" y="374"/>
                    </a:cubicBezTo>
                    <a:cubicBezTo>
                      <a:pt x="77" y="336"/>
                      <a:pt x="70" y="328"/>
                      <a:pt x="68" y="324"/>
                    </a:cubicBezTo>
                    <a:cubicBezTo>
                      <a:pt x="65" y="320"/>
                      <a:pt x="52" y="311"/>
                      <a:pt x="48" y="309"/>
                    </a:cubicBezTo>
                    <a:cubicBezTo>
                      <a:pt x="39" y="304"/>
                      <a:pt x="4" y="262"/>
                      <a:pt x="0" y="239"/>
                    </a:cubicBezTo>
                    <a:cubicBezTo>
                      <a:pt x="27" y="234"/>
                      <a:pt x="27" y="234"/>
                      <a:pt x="27" y="234"/>
                    </a:cubicBezTo>
                    <a:cubicBezTo>
                      <a:pt x="29" y="248"/>
                      <a:pt x="55" y="280"/>
                      <a:pt x="62" y="286"/>
                    </a:cubicBezTo>
                    <a:cubicBezTo>
                      <a:pt x="67" y="289"/>
                      <a:pt x="87" y="301"/>
                      <a:pt x="92" y="311"/>
                    </a:cubicBezTo>
                    <a:cubicBezTo>
                      <a:pt x="95" y="315"/>
                      <a:pt x="109" y="327"/>
                      <a:pt x="124" y="341"/>
                    </a:cubicBezTo>
                    <a:cubicBezTo>
                      <a:pt x="126" y="334"/>
                      <a:pt x="127" y="328"/>
                      <a:pt x="127" y="325"/>
                    </a:cubicBezTo>
                    <a:cubicBezTo>
                      <a:pt x="121" y="317"/>
                      <a:pt x="109" y="302"/>
                      <a:pt x="106" y="299"/>
                    </a:cubicBezTo>
                    <a:cubicBezTo>
                      <a:pt x="101" y="294"/>
                      <a:pt x="88" y="276"/>
                      <a:pt x="89" y="262"/>
                    </a:cubicBezTo>
                    <a:cubicBezTo>
                      <a:pt x="90" y="256"/>
                      <a:pt x="93" y="251"/>
                      <a:pt x="98" y="248"/>
                    </a:cubicBezTo>
                    <a:cubicBezTo>
                      <a:pt x="107" y="243"/>
                      <a:pt x="121" y="244"/>
                      <a:pt x="140" y="246"/>
                    </a:cubicBezTo>
                    <a:cubicBezTo>
                      <a:pt x="142" y="246"/>
                      <a:pt x="143" y="247"/>
                      <a:pt x="145" y="247"/>
                    </a:cubicBezTo>
                    <a:cubicBezTo>
                      <a:pt x="150" y="244"/>
                      <a:pt x="162" y="234"/>
                      <a:pt x="164" y="227"/>
                    </a:cubicBezTo>
                    <a:cubicBezTo>
                      <a:pt x="170" y="207"/>
                      <a:pt x="193" y="184"/>
                      <a:pt x="218" y="173"/>
                    </a:cubicBezTo>
                    <a:cubicBezTo>
                      <a:pt x="237" y="164"/>
                      <a:pt x="243" y="162"/>
                      <a:pt x="252" y="162"/>
                    </a:cubicBezTo>
                    <a:cubicBezTo>
                      <a:pt x="259" y="154"/>
                      <a:pt x="268" y="127"/>
                      <a:pt x="265" y="120"/>
                    </a:cubicBezTo>
                    <a:cubicBezTo>
                      <a:pt x="262" y="115"/>
                      <a:pt x="250" y="109"/>
                      <a:pt x="241" y="104"/>
                    </a:cubicBezTo>
                    <a:cubicBezTo>
                      <a:pt x="226" y="96"/>
                      <a:pt x="211" y="88"/>
                      <a:pt x="207" y="76"/>
                    </a:cubicBezTo>
                    <a:cubicBezTo>
                      <a:pt x="205" y="71"/>
                      <a:pt x="200" y="59"/>
                      <a:pt x="207" y="0"/>
                    </a:cubicBezTo>
                    <a:cubicBezTo>
                      <a:pt x="234" y="3"/>
                      <a:pt x="234" y="3"/>
                      <a:pt x="234" y="3"/>
                    </a:cubicBezTo>
                    <a:cubicBezTo>
                      <a:pt x="229" y="45"/>
                      <a:pt x="231" y="62"/>
                      <a:pt x="232" y="66"/>
                    </a:cubicBezTo>
                    <a:cubicBezTo>
                      <a:pt x="234" y="69"/>
                      <a:pt x="246" y="76"/>
                      <a:pt x="254" y="80"/>
                    </a:cubicBezTo>
                    <a:cubicBezTo>
                      <a:pt x="267" y="87"/>
                      <a:pt x="280" y="95"/>
                      <a:pt x="287" y="104"/>
                    </a:cubicBezTo>
                    <a:cubicBezTo>
                      <a:pt x="302" y="125"/>
                      <a:pt x="283" y="163"/>
                      <a:pt x="281" y="167"/>
                    </a:cubicBezTo>
                    <a:cubicBezTo>
                      <a:pt x="273" y="182"/>
                      <a:pt x="265" y="189"/>
                      <a:pt x="256" y="189"/>
                    </a:cubicBezTo>
                    <a:cubicBezTo>
                      <a:pt x="249" y="189"/>
                      <a:pt x="248" y="189"/>
                      <a:pt x="229" y="198"/>
                    </a:cubicBezTo>
                    <a:cubicBezTo>
                      <a:pt x="209" y="207"/>
                      <a:pt x="193" y="225"/>
                      <a:pt x="190" y="235"/>
                    </a:cubicBezTo>
                    <a:cubicBezTo>
                      <a:pt x="184" y="253"/>
                      <a:pt x="159" y="274"/>
                      <a:pt x="146" y="274"/>
                    </a:cubicBezTo>
                    <a:cubicBezTo>
                      <a:pt x="144" y="274"/>
                      <a:pt x="141" y="274"/>
                      <a:pt x="136" y="273"/>
                    </a:cubicBezTo>
                    <a:cubicBezTo>
                      <a:pt x="133" y="273"/>
                      <a:pt x="125" y="272"/>
                      <a:pt x="119" y="271"/>
                    </a:cubicBezTo>
                    <a:cubicBezTo>
                      <a:pt x="121" y="274"/>
                      <a:pt x="123" y="277"/>
                      <a:pt x="124" y="279"/>
                    </a:cubicBezTo>
                    <a:cubicBezTo>
                      <a:pt x="130" y="285"/>
                      <a:pt x="148" y="307"/>
                      <a:pt x="151" y="312"/>
                    </a:cubicBezTo>
                    <a:cubicBezTo>
                      <a:pt x="153" y="315"/>
                      <a:pt x="161" y="325"/>
                      <a:pt x="142" y="369"/>
                    </a:cubicBezTo>
                    <a:cubicBezTo>
                      <a:pt x="140" y="373"/>
                      <a:pt x="137" y="376"/>
                      <a:pt x="133" y="377"/>
                    </a:cubicBezTo>
                    <a:cubicBezTo>
                      <a:pt x="132" y="377"/>
                      <a:pt x="131" y="377"/>
                      <a:pt x="130" y="377"/>
                    </a:cubicBezTo>
                    <a:close/>
                    <a:moveTo>
                      <a:pt x="93" y="313"/>
                    </a:moveTo>
                    <a:cubicBezTo>
                      <a:pt x="93" y="313"/>
                      <a:pt x="93" y="313"/>
                      <a:pt x="93" y="313"/>
                    </a:cubicBezTo>
                    <a:cubicBezTo>
                      <a:pt x="93" y="313"/>
                      <a:pt x="93" y="313"/>
                      <a:pt x="93" y="313"/>
                    </a:cubicBezTo>
                    <a:close/>
                    <a:moveTo>
                      <a:pt x="93" y="313"/>
                    </a:moveTo>
                    <a:cubicBezTo>
                      <a:pt x="93" y="313"/>
                      <a:pt x="93" y="313"/>
                      <a:pt x="93" y="313"/>
                    </a:cubicBezTo>
                    <a:cubicBezTo>
                      <a:pt x="93" y="313"/>
                      <a:pt x="93" y="313"/>
                      <a:pt x="93" y="313"/>
                    </a:cubicBezTo>
                    <a:close/>
                    <a:moveTo>
                      <a:pt x="92" y="311"/>
                    </a:moveTo>
                    <a:cubicBezTo>
                      <a:pt x="92" y="311"/>
                      <a:pt x="92" y="311"/>
                      <a:pt x="92" y="311"/>
                    </a:cubicBezTo>
                    <a:close/>
                    <a:moveTo>
                      <a:pt x="60" y="285"/>
                    </a:moveTo>
                    <a:cubicBezTo>
                      <a:pt x="60" y="285"/>
                      <a:pt x="61" y="285"/>
                      <a:pt x="61" y="285"/>
                    </a:cubicBezTo>
                    <a:cubicBezTo>
                      <a:pt x="61" y="285"/>
                      <a:pt x="61" y="285"/>
                      <a:pt x="60" y="285"/>
                    </a:cubicBezTo>
                    <a:close/>
                    <a:moveTo>
                      <a:pt x="124" y="278"/>
                    </a:moveTo>
                    <a:cubicBezTo>
                      <a:pt x="124" y="278"/>
                      <a:pt x="124" y="279"/>
                      <a:pt x="124" y="279"/>
                    </a:cubicBezTo>
                    <a:cubicBezTo>
                      <a:pt x="124" y="279"/>
                      <a:pt x="124" y="278"/>
                      <a:pt x="124" y="278"/>
                    </a:cubicBezTo>
                    <a:close/>
                    <a:moveTo>
                      <a:pt x="110" y="272"/>
                    </a:moveTo>
                    <a:cubicBezTo>
                      <a:pt x="110" y="272"/>
                      <a:pt x="110" y="272"/>
                      <a:pt x="110" y="272"/>
                    </a:cubicBezTo>
                    <a:close/>
                    <a:moveTo>
                      <a:pt x="144" y="247"/>
                    </a:moveTo>
                    <a:cubicBezTo>
                      <a:pt x="144" y="247"/>
                      <a:pt x="144" y="247"/>
                      <a:pt x="144" y="24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9" name="Freeform 42">
                <a:extLst>
                  <a:ext uri="{FF2B5EF4-FFF2-40B4-BE49-F238E27FC236}">
                    <a16:creationId xmlns:a16="http://schemas.microsoft.com/office/drawing/2014/main" id="{4F47AE2F-292B-4411-AE56-BBAB645173F5}"/>
                  </a:ext>
                </a:extLst>
              </p:cNvPr>
              <p:cNvSpPr>
                <a:spLocks noEditPoints="1"/>
              </p:cNvSpPr>
              <p:nvPr/>
            </p:nvSpPr>
            <p:spPr bwMode="auto">
              <a:xfrm>
                <a:off x="4061176" y="1801750"/>
                <a:ext cx="57118" cy="57118"/>
              </a:xfrm>
              <a:custGeom>
                <a:avLst/>
                <a:gdLst>
                  <a:gd name="T0" fmla="*/ 50 w 131"/>
                  <a:gd name="T1" fmla="*/ 132 h 132"/>
                  <a:gd name="T2" fmla="*/ 38 w 131"/>
                  <a:gd name="T3" fmla="*/ 128 h 132"/>
                  <a:gd name="T4" fmla="*/ 12 w 131"/>
                  <a:gd name="T5" fmla="*/ 95 h 132"/>
                  <a:gd name="T6" fmla="*/ 11 w 131"/>
                  <a:gd name="T7" fmla="*/ 55 h 132"/>
                  <a:gd name="T8" fmla="*/ 11 w 131"/>
                  <a:gd name="T9" fmla="*/ 55 h 132"/>
                  <a:gd name="T10" fmla="*/ 1 w 131"/>
                  <a:gd name="T11" fmla="*/ 28 h 132"/>
                  <a:gd name="T12" fmla="*/ 9 w 131"/>
                  <a:gd name="T13" fmla="*/ 13 h 132"/>
                  <a:gd name="T14" fmla="*/ 70 w 131"/>
                  <a:gd name="T15" fmla="*/ 4 h 132"/>
                  <a:gd name="T16" fmla="*/ 76 w 131"/>
                  <a:gd name="T17" fmla="*/ 3 h 132"/>
                  <a:gd name="T18" fmla="*/ 108 w 131"/>
                  <a:gd name="T19" fmla="*/ 5 h 132"/>
                  <a:gd name="T20" fmla="*/ 120 w 131"/>
                  <a:gd name="T21" fmla="*/ 28 h 132"/>
                  <a:gd name="T22" fmla="*/ 124 w 131"/>
                  <a:gd name="T23" fmla="*/ 41 h 132"/>
                  <a:gd name="T24" fmla="*/ 128 w 131"/>
                  <a:gd name="T25" fmla="*/ 72 h 132"/>
                  <a:gd name="T26" fmla="*/ 110 w 131"/>
                  <a:gd name="T27" fmla="*/ 97 h 132"/>
                  <a:gd name="T28" fmla="*/ 92 w 131"/>
                  <a:gd name="T29" fmla="*/ 99 h 132"/>
                  <a:gd name="T30" fmla="*/ 76 w 131"/>
                  <a:gd name="T31" fmla="*/ 101 h 132"/>
                  <a:gd name="T32" fmla="*/ 70 w 131"/>
                  <a:gd name="T33" fmla="*/ 113 h 132"/>
                  <a:gd name="T34" fmla="*/ 61 w 131"/>
                  <a:gd name="T35" fmla="*/ 128 h 132"/>
                  <a:gd name="T36" fmla="*/ 50 w 131"/>
                  <a:gd name="T37" fmla="*/ 132 h 132"/>
                  <a:gd name="T38" fmla="*/ 28 w 131"/>
                  <a:gd name="T39" fmla="*/ 33 h 132"/>
                  <a:gd name="T40" fmla="*/ 29 w 131"/>
                  <a:gd name="T41" fmla="*/ 35 h 132"/>
                  <a:gd name="T42" fmla="*/ 30 w 131"/>
                  <a:gd name="T43" fmla="*/ 35 h 132"/>
                  <a:gd name="T44" fmla="*/ 38 w 131"/>
                  <a:gd name="T45" fmla="*/ 50 h 132"/>
                  <a:gd name="T46" fmla="*/ 39 w 131"/>
                  <a:gd name="T47" fmla="*/ 95 h 132"/>
                  <a:gd name="T48" fmla="*/ 45 w 131"/>
                  <a:gd name="T49" fmla="*/ 101 h 132"/>
                  <a:gd name="T50" fmla="*/ 63 w 131"/>
                  <a:gd name="T51" fmla="*/ 78 h 132"/>
                  <a:gd name="T52" fmla="*/ 91 w 131"/>
                  <a:gd name="T53" fmla="*/ 72 h 132"/>
                  <a:gd name="T54" fmla="*/ 98 w 131"/>
                  <a:gd name="T55" fmla="*/ 72 h 132"/>
                  <a:gd name="T56" fmla="*/ 102 w 131"/>
                  <a:gd name="T57" fmla="*/ 57 h 132"/>
                  <a:gd name="T58" fmla="*/ 94 w 131"/>
                  <a:gd name="T59" fmla="*/ 34 h 132"/>
                  <a:gd name="T60" fmla="*/ 92 w 131"/>
                  <a:gd name="T61" fmla="*/ 29 h 132"/>
                  <a:gd name="T62" fmla="*/ 79 w 131"/>
                  <a:gd name="T63" fmla="*/ 30 h 132"/>
                  <a:gd name="T64" fmla="*/ 69 w 131"/>
                  <a:gd name="T65" fmla="*/ 31 h 132"/>
                  <a:gd name="T66" fmla="*/ 68 w 131"/>
                  <a:gd name="T67" fmla="*/ 31 h 132"/>
                  <a:gd name="T68" fmla="*/ 28 w 131"/>
                  <a:gd name="T69" fmla="*/ 33 h 132"/>
                  <a:gd name="T70" fmla="*/ 91 w 131"/>
                  <a:gd name="T71" fmla="*/ 26 h 132"/>
                  <a:gd name="T72" fmla="*/ 91 w 131"/>
                  <a:gd name="T73"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1" h="132">
                    <a:moveTo>
                      <a:pt x="50" y="132"/>
                    </a:moveTo>
                    <a:cubicBezTo>
                      <a:pt x="47" y="132"/>
                      <a:pt x="43" y="131"/>
                      <a:pt x="38" y="128"/>
                    </a:cubicBezTo>
                    <a:cubicBezTo>
                      <a:pt x="28" y="124"/>
                      <a:pt x="12" y="112"/>
                      <a:pt x="12" y="95"/>
                    </a:cubicBezTo>
                    <a:cubicBezTo>
                      <a:pt x="12" y="85"/>
                      <a:pt x="12" y="64"/>
                      <a:pt x="11" y="55"/>
                    </a:cubicBezTo>
                    <a:cubicBezTo>
                      <a:pt x="11" y="55"/>
                      <a:pt x="11" y="55"/>
                      <a:pt x="11" y="55"/>
                    </a:cubicBezTo>
                    <a:cubicBezTo>
                      <a:pt x="5" y="50"/>
                      <a:pt x="0" y="43"/>
                      <a:pt x="1" y="28"/>
                    </a:cubicBezTo>
                    <a:cubicBezTo>
                      <a:pt x="2" y="22"/>
                      <a:pt x="5" y="17"/>
                      <a:pt x="9" y="13"/>
                    </a:cubicBezTo>
                    <a:cubicBezTo>
                      <a:pt x="24" y="0"/>
                      <a:pt x="58" y="3"/>
                      <a:pt x="70" y="4"/>
                    </a:cubicBezTo>
                    <a:cubicBezTo>
                      <a:pt x="71" y="4"/>
                      <a:pt x="74" y="3"/>
                      <a:pt x="76" y="3"/>
                    </a:cubicBezTo>
                    <a:cubicBezTo>
                      <a:pt x="90" y="1"/>
                      <a:pt x="101" y="0"/>
                      <a:pt x="108" y="5"/>
                    </a:cubicBezTo>
                    <a:cubicBezTo>
                      <a:pt x="116" y="10"/>
                      <a:pt x="118" y="19"/>
                      <a:pt x="120" y="28"/>
                    </a:cubicBezTo>
                    <a:cubicBezTo>
                      <a:pt x="121" y="33"/>
                      <a:pt x="122" y="39"/>
                      <a:pt x="124" y="41"/>
                    </a:cubicBezTo>
                    <a:cubicBezTo>
                      <a:pt x="130" y="49"/>
                      <a:pt x="131" y="60"/>
                      <a:pt x="128" y="72"/>
                    </a:cubicBezTo>
                    <a:cubicBezTo>
                      <a:pt x="126" y="77"/>
                      <a:pt x="121" y="92"/>
                      <a:pt x="110" y="97"/>
                    </a:cubicBezTo>
                    <a:cubicBezTo>
                      <a:pt x="104" y="99"/>
                      <a:pt x="98" y="99"/>
                      <a:pt x="92" y="99"/>
                    </a:cubicBezTo>
                    <a:cubicBezTo>
                      <a:pt x="86" y="100"/>
                      <a:pt x="79" y="100"/>
                      <a:pt x="76" y="101"/>
                    </a:cubicBezTo>
                    <a:cubicBezTo>
                      <a:pt x="74" y="102"/>
                      <a:pt x="71" y="109"/>
                      <a:pt x="70" y="113"/>
                    </a:cubicBezTo>
                    <a:cubicBezTo>
                      <a:pt x="68" y="118"/>
                      <a:pt x="66" y="124"/>
                      <a:pt x="61" y="128"/>
                    </a:cubicBezTo>
                    <a:cubicBezTo>
                      <a:pt x="59" y="130"/>
                      <a:pt x="55" y="132"/>
                      <a:pt x="50" y="132"/>
                    </a:cubicBezTo>
                    <a:close/>
                    <a:moveTo>
                      <a:pt x="28" y="33"/>
                    </a:moveTo>
                    <a:cubicBezTo>
                      <a:pt x="28" y="34"/>
                      <a:pt x="29" y="35"/>
                      <a:pt x="29" y="35"/>
                    </a:cubicBezTo>
                    <a:cubicBezTo>
                      <a:pt x="29" y="35"/>
                      <a:pt x="29" y="35"/>
                      <a:pt x="30" y="35"/>
                    </a:cubicBezTo>
                    <a:cubicBezTo>
                      <a:pt x="32" y="38"/>
                      <a:pt x="37" y="42"/>
                      <a:pt x="38" y="50"/>
                    </a:cubicBezTo>
                    <a:cubicBezTo>
                      <a:pt x="39" y="59"/>
                      <a:pt x="39" y="77"/>
                      <a:pt x="39" y="95"/>
                    </a:cubicBezTo>
                    <a:cubicBezTo>
                      <a:pt x="40" y="97"/>
                      <a:pt x="42" y="99"/>
                      <a:pt x="45" y="101"/>
                    </a:cubicBezTo>
                    <a:cubicBezTo>
                      <a:pt x="48" y="94"/>
                      <a:pt x="53" y="83"/>
                      <a:pt x="63" y="78"/>
                    </a:cubicBezTo>
                    <a:cubicBezTo>
                      <a:pt x="72" y="73"/>
                      <a:pt x="83" y="72"/>
                      <a:pt x="91" y="72"/>
                    </a:cubicBezTo>
                    <a:cubicBezTo>
                      <a:pt x="93" y="72"/>
                      <a:pt x="96" y="72"/>
                      <a:pt x="98" y="72"/>
                    </a:cubicBezTo>
                    <a:cubicBezTo>
                      <a:pt x="101" y="68"/>
                      <a:pt x="103" y="60"/>
                      <a:pt x="102" y="57"/>
                    </a:cubicBezTo>
                    <a:cubicBezTo>
                      <a:pt x="97" y="50"/>
                      <a:pt x="95" y="41"/>
                      <a:pt x="94" y="34"/>
                    </a:cubicBezTo>
                    <a:cubicBezTo>
                      <a:pt x="93" y="32"/>
                      <a:pt x="93" y="30"/>
                      <a:pt x="92" y="29"/>
                    </a:cubicBezTo>
                    <a:cubicBezTo>
                      <a:pt x="88" y="29"/>
                      <a:pt x="82" y="30"/>
                      <a:pt x="79" y="30"/>
                    </a:cubicBezTo>
                    <a:cubicBezTo>
                      <a:pt x="75" y="31"/>
                      <a:pt x="72" y="31"/>
                      <a:pt x="69" y="31"/>
                    </a:cubicBezTo>
                    <a:cubicBezTo>
                      <a:pt x="68" y="31"/>
                      <a:pt x="68" y="31"/>
                      <a:pt x="68" y="31"/>
                    </a:cubicBezTo>
                    <a:cubicBezTo>
                      <a:pt x="52" y="29"/>
                      <a:pt x="35" y="30"/>
                      <a:pt x="28" y="33"/>
                    </a:cubicBezTo>
                    <a:close/>
                    <a:moveTo>
                      <a:pt x="91" y="26"/>
                    </a:moveTo>
                    <a:cubicBezTo>
                      <a:pt x="91" y="26"/>
                      <a:pt x="91" y="26"/>
                      <a:pt x="91" y="2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0" name="Freeform 43">
                <a:extLst>
                  <a:ext uri="{FF2B5EF4-FFF2-40B4-BE49-F238E27FC236}">
                    <a16:creationId xmlns:a16="http://schemas.microsoft.com/office/drawing/2014/main" id="{08394955-B6B8-4228-A279-10239EC8B934}"/>
                  </a:ext>
                </a:extLst>
              </p:cNvPr>
              <p:cNvSpPr>
                <a:spLocks/>
              </p:cNvSpPr>
              <p:nvPr/>
            </p:nvSpPr>
            <p:spPr bwMode="auto">
              <a:xfrm>
                <a:off x="3967073" y="1712328"/>
                <a:ext cx="98317" cy="66949"/>
              </a:xfrm>
              <a:custGeom>
                <a:avLst/>
                <a:gdLst>
                  <a:gd name="T0" fmla="*/ 139 w 227"/>
                  <a:gd name="T1" fmla="*/ 154 h 154"/>
                  <a:gd name="T2" fmla="*/ 132 w 227"/>
                  <a:gd name="T3" fmla="*/ 151 h 154"/>
                  <a:gd name="T4" fmla="*/ 0 w 227"/>
                  <a:gd name="T5" fmla="*/ 75 h 154"/>
                  <a:gd name="T6" fmla="*/ 13 w 227"/>
                  <a:gd name="T7" fmla="*/ 52 h 154"/>
                  <a:gd name="T8" fmla="*/ 134 w 227"/>
                  <a:gd name="T9" fmla="*/ 121 h 154"/>
                  <a:gd name="T10" fmla="*/ 204 w 227"/>
                  <a:gd name="T11" fmla="*/ 0 h 154"/>
                  <a:gd name="T12" fmla="*/ 227 w 227"/>
                  <a:gd name="T13" fmla="*/ 14 h 154"/>
                  <a:gd name="T14" fmla="*/ 152 w 227"/>
                  <a:gd name="T15" fmla="*/ 145 h 154"/>
                  <a:gd name="T16" fmla="*/ 140 w 227"/>
                  <a:gd name="T17" fmla="*/ 154 h 154"/>
                  <a:gd name="T18" fmla="*/ 139 w 227"/>
                  <a:gd name="T19"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154">
                    <a:moveTo>
                      <a:pt x="139" y="154"/>
                    </a:moveTo>
                    <a:cubicBezTo>
                      <a:pt x="136" y="154"/>
                      <a:pt x="134" y="153"/>
                      <a:pt x="132" y="151"/>
                    </a:cubicBezTo>
                    <a:cubicBezTo>
                      <a:pt x="0" y="75"/>
                      <a:pt x="0" y="75"/>
                      <a:pt x="0" y="75"/>
                    </a:cubicBezTo>
                    <a:cubicBezTo>
                      <a:pt x="13" y="52"/>
                      <a:pt x="13" y="52"/>
                      <a:pt x="13" y="52"/>
                    </a:cubicBezTo>
                    <a:cubicBezTo>
                      <a:pt x="134" y="121"/>
                      <a:pt x="134" y="121"/>
                      <a:pt x="134" y="121"/>
                    </a:cubicBezTo>
                    <a:cubicBezTo>
                      <a:pt x="204" y="0"/>
                      <a:pt x="204" y="0"/>
                      <a:pt x="204" y="0"/>
                    </a:cubicBezTo>
                    <a:cubicBezTo>
                      <a:pt x="227" y="14"/>
                      <a:pt x="227" y="14"/>
                      <a:pt x="227" y="14"/>
                    </a:cubicBezTo>
                    <a:cubicBezTo>
                      <a:pt x="152" y="145"/>
                      <a:pt x="152" y="145"/>
                      <a:pt x="152" y="145"/>
                    </a:cubicBezTo>
                    <a:cubicBezTo>
                      <a:pt x="150" y="150"/>
                      <a:pt x="145" y="153"/>
                      <a:pt x="140" y="154"/>
                    </a:cubicBezTo>
                    <a:cubicBezTo>
                      <a:pt x="140" y="154"/>
                      <a:pt x="139" y="154"/>
                      <a:pt x="139" y="15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1" name="Freeform 44">
                <a:extLst>
                  <a:ext uri="{FF2B5EF4-FFF2-40B4-BE49-F238E27FC236}">
                    <a16:creationId xmlns:a16="http://schemas.microsoft.com/office/drawing/2014/main" id="{CD20A7EC-BDEC-4DCB-9FE5-A75A860FC52B}"/>
                  </a:ext>
                </a:extLst>
              </p:cNvPr>
              <p:cNvSpPr>
                <a:spLocks/>
              </p:cNvSpPr>
              <p:nvPr/>
            </p:nvSpPr>
            <p:spPr bwMode="auto">
              <a:xfrm>
                <a:off x="3962859" y="1723097"/>
                <a:ext cx="46350" cy="54308"/>
              </a:xfrm>
              <a:custGeom>
                <a:avLst/>
                <a:gdLst>
                  <a:gd name="T0" fmla="*/ 24 w 99"/>
                  <a:gd name="T1" fmla="*/ 116 h 116"/>
                  <a:gd name="T2" fmla="*/ 0 w 99"/>
                  <a:gd name="T3" fmla="*/ 25 h 116"/>
                  <a:gd name="T4" fmla="*/ 92 w 99"/>
                  <a:gd name="T5" fmla="*/ 0 h 116"/>
                  <a:gd name="T6" fmla="*/ 99 w 99"/>
                  <a:gd name="T7" fmla="*/ 25 h 116"/>
                  <a:gd name="T8" fmla="*/ 31 w 99"/>
                  <a:gd name="T9" fmla="*/ 42 h 116"/>
                  <a:gd name="T10" fmla="*/ 50 w 99"/>
                  <a:gd name="T11" fmla="*/ 109 h 116"/>
                  <a:gd name="T12" fmla="*/ 24 w 99"/>
                  <a:gd name="T13" fmla="*/ 116 h 116"/>
                </a:gdLst>
                <a:ahLst/>
                <a:cxnLst>
                  <a:cxn ang="0">
                    <a:pos x="T0" y="T1"/>
                  </a:cxn>
                  <a:cxn ang="0">
                    <a:pos x="T2" y="T3"/>
                  </a:cxn>
                  <a:cxn ang="0">
                    <a:pos x="T4" y="T5"/>
                  </a:cxn>
                  <a:cxn ang="0">
                    <a:pos x="T6" y="T7"/>
                  </a:cxn>
                  <a:cxn ang="0">
                    <a:pos x="T8" y="T9"/>
                  </a:cxn>
                  <a:cxn ang="0">
                    <a:pos x="T10" y="T11"/>
                  </a:cxn>
                  <a:cxn ang="0">
                    <a:pos x="T12" y="T13"/>
                  </a:cxn>
                </a:cxnLst>
                <a:rect l="0" t="0" r="r" b="b"/>
                <a:pathLst>
                  <a:path w="99" h="116">
                    <a:moveTo>
                      <a:pt x="24" y="116"/>
                    </a:moveTo>
                    <a:lnTo>
                      <a:pt x="0" y="25"/>
                    </a:lnTo>
                    <a:lnTo>
                      <a:pt x="92" y="0"/>
                    </a:lnTo>
                    <a:lnTo>
                      <a:pt x="99" y="25"/>
                    </a:lnTo>
                    <a:lnTo>
                      <a:pt x="31" y="42"/>
                    </a:lnTo>
                    <a:lnTo>
                      <a:pt x="50" y="109"/>
                    </a:lnTo>
                    <a:lnTo>
                      <a:pt x="24" y="1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2" name="Freeform 45">
                <a:extLst>
                  <a:ext uri="{FF2B5EF4-FFF2-40B4-BE49-F238E27FC236}">
                    <a16:creationId xmlns:a16="http://schemas.microsoft.com/office/drawing/2014/main" id="{E4F23CAC-B53D-4845-89C3-42607FB4E42C}"/>
                  </a:ext>
                </a:extLst>
              </p:cNvPr>
              <p:cNvSpPr>
                <a:spLocks/>
              </p:cNvSpPr>
              <p:nvPr/>
            </p:nvSpPr>
            <p:spPr bwMode="auto">
              <a:xfrm>
                <a:off x="3857987" y="1808304"/>
                <a:ext cx="70695" cy="93167"/>
              </a:xfrm>
              <a:custGeom>
                <a:avLst/>
                <a:gdLst>
                  <a:gd name="T0" fmla="*/ 10 w 163"/>
                  <a:gd name="T1" fmla="*/ 215 h 215"/>
                  <a:gd name="T2" fmla="*/ 0 w 163"/>
                  <a:gd name="T3" fmla="*/ 190 h 215"/>
                  <a:gd name="T4" fmla="*/ 131 w 163"/>
                  <a:gd name="T5" fmla="*/ 141 h 215"/>
                  <a:gd name="T6" fmla="*/ 82 w 163"/>
                  <a:gd name="T7" fmla="*/ 10 h 215"/>
                  <a:gd name="T8" fmla="*/ 107 w 163"/>
                  <a:gd name="T9" fmla="*/ 0 h 215"/>
                  <a:gd name="T10" fmla="*/ 160 w 163"/>
                  <a:gd name="T11" fmla="*/ 142 h 215"/>
                  <a:gd name="T12" fmla="*/ 159 w 163"/>
                  <a:gd name="T13" fmla="*/ 157 h 215"/>
                  <a:gd name="T14" fmla="*/ 152 w 163"/>
                  <a:gd name="T15" fmla="*/ 162 h 215"/>
                  <a:gd name="T16" fmla="*/ 10 w 163"/>
                  <a:gd name="T17"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15">
                    <a:moveTo>
                      <a:pt x="10" y="215"/>
                    </a:moveTo>
                    <a:cubicBezTo>
                      <a:pt x="0" y="190"/>
                      <a:pt x="0" y="190"/>
                      <a:pt x="0" y="190"/>
                    </a:cubicBezTo>
                    <a:cubicBezTo>
                      <a:pt x="131" y="141"/>
                      <a:pt x="131" y="141"/>
                      <a:pt x="131" y="141"/>
                    </a:cubicBezTo>
                    <a:cubicBezTo>
                      <a:pt x="82" y="10"/>
                      <a:pt x="82" y="10"/>
                      <a:pt x="82" y="10"/>
                    </a:cubicBezTo>
                    <a:cubicBezTo>
                      <a:pt x="107" y="0"/>
                      <a:pt x="107" y="0"/>
                      <a:pt x="107" y="0"/>
                    </a:cubicBezTo>
                    <a:cubicBezTo>
                      <a:pt x="160" y="142"/>
                      <a:pt x="160" y="142"/>
                      <a:pt x="160" y="142"/>
                    </a:cubicBezTo>
                    <a:cubicBezTo>
                      <a:pt x="163" y="147"/>
                      <a:pt x="162" y="153"/>
                      <a:pt x="159" y="157"/>
                    </a:cubicBezTo>
                    <a:cubicBezTo>
                      <a:pt x="157" y="159"/>
                      <a:pt x="155" y="161"/>
                      <a:pt x="152" y="162"/>
                    </a:cubicBezTo>
                    <a:lnTo>
                      <a:pt x="10" y="2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3" name="Freeform 46">
                <a:extLst>
                  <a:ext uri="{FF2B5EF4-FFF2-40B4-BE49-F238E27FC236}">
                    <a16:creationId xmlns:a16="http://schemas.microsoft.com/office/drawing/2014/main" id="{2E668B72-67DC-4890-8F3B-F7714906DECA}"/>
                  </a:ext>
                </a:extLst>
              </p:cNvPr>
              <p:cNvSpPr>
                <a:spLocks/>
              </p:cNvSpPr>
              <p:nvPr/>
            </p:nvSpPr>
            <p:spPr bwMode="auto">
              <a:xfrm>
                <a:off x="3851901" y="1857931"/>
                <a:ext cx="44945" cy="58522"/>
              </a:xfrm>
              <a:custGeom>
                <a:avLst/>
                <a:gdLst>
                  <a:gd name="T0" fmla="*/ 86 w 96"/>
                  <a:gd name="T1" fmla="*/ 125 h 125"/>
                  <a:gd name="T2" fmla="*/ 0 w 96"/>
                  <a:gd name="T3" fmla="*/ 86 h 125"/>
                  <a:gd name="T4" fmla="*/ 39 w 96"/>
                  <a:gd name="T5" fmla="*/ 0 h 125"/>
                  <a:gd name="T6" fmla="*/ 62 w 96"/>
                  <a:gd name="T7" fmla="*/ 10 h 125"/>
                  <a:gd name="T8" fmla="*/ 33 w 96"/>
                  <a:gd name="T9" fmla="*/ 73 h 125"/>
                  <a:gd name="T10" fmla="*/ 96 w 96"/>
                  <a:gd name="T11" fmla="*/ 103 h 125"/>
                  <a:gd name="T12" fmla="*/ 86 w 96"/>
                  <a:gd name="T13" fmla="*/ 125 h 125"/>
                </a:gdLst>
                <a:ahLst/>
                <a:cxnLst>
                  <a:cxn ang="0">
                    <a:pos x="T0" y="T1"/>
                  </a:cxn>
                  <a:cxn ang="0">
                    <a:pos x="T2" y="T3"/>
                  </a:cxn>
                  <a:cxn ang="0">
                    <a:pos x="T4" y="T5"/>
                  </a:cxn>
                  <a:cxn ang="0">
                    <a:pos x="T6" y="T7"/>
                  </a:cxn>
                  <a:cxn ang="0">
                    <a:pos x="T8" y="T9"/>
                  </a:cxn>
                  <a:cxn ang="0">
                    <a:pos x="T10" y="T11"/>
                  </a:cxn>
                  <a:cxn ang="0">
                    <a:pos x="T12" y="T13"/>
                  </a:cxn>
                </a:cxnLst>
                <a:rect l="0" t="0" r="r" b="b"/>
                <a:pathLst>
                  <a:path w="96" h="125">
                    <a:moveTo>
                      <a:pt x="86" y="125"/>
                    </a:moveTo>
                    <a:lnTo>
                      <a:pt x="0" y="86"/>
                    </a:lnTo>
                    <a:lnTo>
                      <a:pt x="39" y="0"/>
                    </a:lnTo>
                    <a:lnTo>
                      <a:pt x="62" y="10"/>
                    </a:lnTo>
                    <a:lnTo>
                      <a:pt x="33" y="73"/>
                    </a:lnTo>
                    <a:lnTo>
                      <a:pt x="96" y="103"/>
                    </a:lnTo>
                    <a:lnTo>
                      <a:pt x="86" y="12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4" name="Freeform 48">
                <a:extLst>
                  <a:ext uri="{FF2B5EF4-FFF2-40B4-BE49-F238E27FC236}">
                    <a16:creationId xmlns:a16="http://schemas.microsoft.com/office/drawing/2014/main" id="{53CA8554-742A-487C-A6FD-42AD99897FEB}"/>
                  </a:ext>
                </a:extLst>
              </p:cNvPr>
              <p:cNvSpPr>
                <a:spLocks/>
              </p:cNvSpPr>
              <p:nvPr/>
            </p:nvSpPr>
            <p:spPr bwMode="auto">
              <a:xfrm>
                <a:off x="3863137" y="1617757"/>
                <a:ext cx="79122" cy="79122"/>
              </a:xfrm>
              <a:custGeom>
                <a:avLst/>
                <a:gdLst>
                  <a:gd name="T0" fmla="*/ 151 w 169"/>
                  <a:gd name="T1" fmla="*/ 169 h 169"/>
                  <a:gd name="T2" fmla="*/ 0 w 169"/>
                  <a:gd name="T3" fmla="*/ 18 h 169"/>
                  <a:gd name="T4" fmla="*/ 17 w 169"/>
                  <a:gd name="T5" fmla="*/ 0 h 169"/>
                  <a:gd name="T6" fmla="*/ 169 w 169"/>
                  <a:gd name="T7" fmla="*/ 151 h 169"/>
                  <a:gd name="T8" fmla="*/ 151 w 169"/>
                  <a:gd name="T9" fmla="*/ 169 h 169"/>
                </a:gdLst>
                <a:ahLst/>
                <a:cxnLst>
                  <a:cxn ang="0">
                    <a:pos x="T0" y="T1"/>
                  </a:cxn>
                  <a:cxn ang="0">
                    <a:pos x="T2" y="T3"/>
                  </a:cxn>
                  <a:cxn ang="0">
                    <a:pos x="T4" y="T5"/>
                  </a:cxn>
                  <a:cxn ang="0">
                    <a:pos x="T6" y="T7"/>
                  </a:cxn>
                  <a:cxn ang="0">
                    <a:pos x="T8" y="T9"/>
                  </a:cxn>
                </a:cxnLst>
                <a:rect l="0" t="0" r="r" b="b"/>
                <a:pathLst>
                  <a:path w="169" h="169">
                    <a:moveTo>
                      <a:pt x="151" y="169"/>
                    </a:moveTo>
                    <a:lnTo>
                      <a:pt x="0" y="18"/>
                    </a:lnTo>
                    <a:lnTo>
                      <a:pt x="17" y="0"/>
                    </a:lnTo>
                    <a:lnTo>
                      <a:pt x="169" y="151"/>
                    </a:lnTo>
                    <a:lnTo>
                      <a:pt x="151" y="16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5" name="Freeform 49">
                <a:extLst>
                  <a:ext uri="{FF2B5EF4-FFF2-40B4-BE49-F238E27FC236}">
                    <a16:creationId xmlns:a16="http://schemas.microsoft.com/office/drawing/2014/main" id="{DEF464E2-4E92-4F43-97E5-91AC4C24E47D}"/>
                  </a:ext>
                </a:extLst>
              </p:cNvPr>
              <p:cNvSpPr>
                <a:spLocks/>
              </p:cNvSpPr>
              <p:nvPr/>
            </p:nvSpPr>
            <p:spPr bwMode="auto">
              <a:xfrm>
                <a:off x="3899187" y="1653807"/>
                <a:ext cx="44477" cy="44945"/>
              </a:xfrm>
              <a:custGeom>
                <a:avLst/>
                <a:gdLst>
                  <a:gd name="T0" fmla="*/ 95 w 95"/>
                  <a:gd name="T1" fmla="*/ 96 h 96"/>
                  <a:gd name="T2" fmla="*/ 0 w 95"/>
                  <a:gd name="T3" fmla="*/ 96 h 96"/>
                  <a:gd name="T4" fmla="*/ 0 w 95"/>
                  <a:gd name="T5" fmla="*/ 70 h 96"/>
                  <a:gd name="T6" fmla="*/ 70 w 95"/>
                  <a:gd name="T7" fmla="*/ 70 h 96"/>
                  <a:gd name="T8" fmla="*/ 70 w 95"/>
                  <a:gd name="T9" fmla="*/ 0 h 96"/>
                  <a:gd name="T10" fmla="*/ 95 w 95"/>
                  <a:gd name="T11" fmla="*/ 0 h 96"/>
                  <a:gd name="T12" fmla="*/ 95 w 95"/>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95" h="96">
                    <a:moveTo>
                      <a:pt x="95" y="96"/>
                    </a:moveTo>
                    <a:lnTo>
                      <a:pt x="0" y="96"/>
                    </a:lnTo>
                    <a:lnTo>
                      <a:pt x="0" y="70"/>
                    </a:lnTo>
                    <a:lnTo>
                      <a:pt x="70" y="70"/>
                    </a:lnTo>
                    <a:lnTo>
                      <a:pt x="70" y="0"/>
                    </a:lnTo>
                    <a:lnTo>
                      <a:pt x="95" y="0"/>
                    </a:lnTo>
                    <a:lnTo>
                      <a:pt x="95" y="9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6" name="Freeform 50">
                <a:extLst>
                  <a:ext uri="{FF2B5EF4-FFF2-40B4-BE49-F238E27FC236}">
                    <a16:creationId xmlns:a16="http://schemas.microsoft.com/office/drawing/2014/main" id="{38E922B6-4470-45F1-8AAE-F3B19D9F56CD}"/>
                  </a:ext>
                </a:extLst>
              </p:cNvPr>
              <p:cNvSpPr>
                <a:spLocks/>
              </p:cNvSpPr>
              <p:nvPr/>
            </p:nvSpPr>
            <p:spPr bwMode="auto">
              <a:xfrm>
                <a:off x="3757329" y="1729651"/>
                <a:ext cx="79122" cy="79122"/>
              </a:xfrm>
              <a:custGeom>
                <a:avLst/>
                <a:gdLst>
                  <a:gd name="T0" fmla="*/ 152 w 169"/>
                  <a:gd name="T1" fmla="*/ 169 h 169"/>
                  <a:gd name="T2" fmla="*/ 0 w 169"/>
                  <a:gd name="T3" fmla="*/ 17 h 169"/>
                  <a:gd name="T4" fmla="*/ 19 w 169"/>
                  <a:gd name="T5" fmla="*/ 0 h 169"/>
                  <a:gd name="T6" fmla="*/ 169 w 169"/>
                  <a:gd name="T7" fmla="*/ 150 h 169"/>
                  <a:gd name="T8" fmla="*/ 152 w 169"/>
                  <a:gd name="T9" fmla="*/ 169 h 169"/>
                </a:gdLst>
                <a:ahLst/>
                <a:cxnLst>
                  <a:cxn ang="0">
                    <a:pos x="T0" y="T1"/>
                  </a:cxn>
                  <a:cxn ang="0">
                    <a:pos x="T2" y="T3"/>
                  </a:cxn>
                  <a:cxn ang="0">
                    <a:pos x="T4" y="T5"/>
                  </a:cxn>
                  <a:cxn ang="0">
                    <a:pos x="T6" y="T7"/>
                  </a:cxn>
                  <a:cxn ang="0">
                    <a:pos x="T8" y="T9"/>
                  </a:cxn>
                </a:cxnLst>
                <a:rect l="0" t="0" r="r" b="b"/>
                <a:pathLst>
                  <a:path w="169" h="169">
                    <a:moveTo>
                      <a:pt x="152" y="169"/>
                    </a:moveTo>
                    <a:lnTo>
                      <a:pt x="0" y="17"/>
                    </a:lnTo>
                    <a:lnTo>
                      <a:pt x="19" y="0"/>
                    </a:lnTo>
                    <a:lnTo>
                      <a:pt x="169" y="150"/>
                    </a:lnTo>
                    <a:lnTo>
                      <a:pt x="152" y="16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7" name="Freeform 51">
                <a:extLst>
                  <a:ext uri="{FF2B5EF4-FFF2-40B4-BE49-F238E27FC236}">
                    <a16:creationId xmlns:a16="http://schemas.microsoft.com/office/drawing/2014/main" id="{389F9C6B-AD8F-461D-AF08-8DDCA6EC7123}"/>
                  </a:ext>
                </a:extLst>
              </p:cNvPr>
              <p:cNvSpPr>
                <a:spLocks/>
              </p:cNvSpPr>
              <p:nvPr/>
            </p:nvSpPr>
            <p:spPr bwMode="auto">
              <a:xfrm>
                <a:off x="3793847" y="1765701"/>
                <a:ext cx="44477" cy="44477"/>
              </a:xfrm>
              <a:custGeom>
                <a:avLst/>
                <a:gdLst>
                  <a:gd name="T0" fmla="*/ 95 w 95"/>
                  <a:gd name="T1" fmla="*/ 95 h 95"/>
                  <a:gd name="T2" fmla="*/ 0 w 95"/>
                  <a:gd name="T3" fmla="*/ 95 h 95"/>
                  <a:gd name="T4" fmla="*/ 0 w 95"/>
                  <a:gd name="T5" fmla="*/ 69 h 95"/>
                  <a:gd name="T6" fmla="*/ 70 w 95"/>
                  <a:gd name="T7" fmla="*/ 69 h 95"/>
                  <a:gd name="T8" fmla="*/ 70 w 95"/>
                  <a:gd name="T9" fmla="*/ 0 h 95"/>
                  <a:gd name="T10" fmla="*/ 95 w 95"/>
                  <a:gd name="T11" fmla="*/ 0 h 95"/>
                  <a:gd name="T12" fmla="*/ 95 w 95"/>
                  <a:gd name="T13" fmla="*/ 95 h 95"/>
                </a:gdLst>
                <a:ahLst/>
                <a:cxnLst>
                  <a:cxn ang="0">
                    <a:pos x="T0" y="T1"/>
                  </a:cxn>
                  <a:cxn ang="0">
                    <a:pos x="T2" y="T3"/>
                  </a:cxn>
                  <a:cxn ang="0">
                    <a:pos x="T4" y="T5"/>
                  </a:cxn>
                  <a:cxn ang="0">
                    <a:pos x="T6" y="T7"/>
                  </a:cxn>
                  <a:cxn ang="0">
                    <a:pos x="T8" y="T9"/>
                  </a:cxn>
                  <a:cxn ang="0">
                    <a:pos x="T10" y="T11"/>
                  </a:cxn>
                  <a:cxn ang="0">
                    <a:pos x="T12" y="T13"/>
                  </a:cxn>
                </a:cxnLst>
                <a:rect l="0" t="0" r="r" b="b"/>
                <a:pathLst>
                  <a:path w="95" h="95">
                    <a:moveTo>
                      <a:pt x="95" y="95"/>
                    </a:moveTo>
                    <a:lnTo>
                      <a:pt x="0" y="95"/>
                    </a:lnTo>
                    <a:lnTo>
                      <a:pt x="0" y="69"/>
                    </a:lnTo>
                    <a:lnTo>
                      <a:pt x="70" y="69"/>
                    </a:lnTo>
                    <a:lnTo>
                      <a:pt x="70" y="0"/>
                    </a:lnTo>
                    <a:lnTo>
                      <a:pt x="95" y="0"/>
                    </a:lnTo>
                    <a:lnTo>
                      <a:pt x="95" y="9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8" name="Freeform 52">
                <a:extLst>
                  <a:ext uri="{FF2B5EF4-FFF2-40B4-BE49-F238E27FC236}">
                    <a16:creationId xmlns:a16="http://schemas.microsoft.com/office/drawing/2014/main" id="{2591F6C1-6A45-4A75-8184-A98B65F9A364}"/>
                  </a:ext>
                </a:extLst>
              </p:cNvPr>
              <p:cNvSpPr>
                <a:spLocks/>
              </p:cNvSpPr>
              <p:nvPr/>
            </p:nvSpPr>
            <p:spPr bwMode="auto">
              <a:xfrm>
                <a:off x="3748434" y="1617757"/>
                <a:ext cx="79122" cy="79122"/>
              </a:xfrm>
              <a:custGeom>
                <a:avLst/>
                <a:gdLst>
                  <a:gd name="T0" fmla="*/ 151 w 169"/>
                  <a:gd name="T1" fmla="*/ 169 h 169"/>
                  <a:gd name="T2" fmla="*/ 0 w 169"/>
                  <a:gd name="T3" fmla="*/ 18 h 169"/>
                  <a:gd name="T4" fmla="*/ 17 w 169"/>
                  <a:gd name="T5" fmla="*/ 0 h 169"/>
                  <a:gd name="T6" fmla="*/ 169 w 169"/>
                  <a:gd name="T7" fmla="*/ 151 h 169"/>
                  <a:gd name="T8" fmla="*/ 151 w 169"/>
                  <a:gd name="T9" fmla="*/ 169 h 169"/>
                </a:gdLst>
                <a:ahLst/>
                <a:cxnLst>
                  <a:cxn ang="0">
                    <a:pos x="T0" y="T1"/>
                  </a:cxn>
                  <a:cxn ang="0">
                    <a:pos x="T2" y="T3"/>
                  </a:cxn>
                  <a:cxn ang="0">
                    <a:pos x="T4" y="T5"/>
                  </a:cxn>
                  <a:cxn ang="0">
                    <a:pos x="T6" y="T7"/>
                  </a:cxn>
                  <a:cxn ang="0">
                    <a:pos x="T8" y="T9"/>
                  </a:cxn>
                </a:cxnLst>
                <a:rect l="0" t="0" r="r" b="b"/>
                <a:pathLst>
                  <a:path w="169" h="169">
                    <a:moveTo>
                      <a:pt x="151" y="169"/>
                    </a:moveTo>
                    <a:lnTo>
                      <a:pt x="0" y="18"/>
                    </a:lnTo>
                    <a:lnTo>
                      <a:pt x="17" y="0"/>
                    </a:lnTo>
                    <a:lnTo>
                      <a:pt x="169" y="151"/>
                    </a:lnTo>
                    <a:lnTo>
                      <a:pt x="151" y="16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9" name="Freeform 53">
                <a:extLst>
                  <a:ext uri="{FF2B5EF4-FFF2-40B4-BE49-F238E27FC236}">
                    <a16:creationId xmlns:a16="http://schemas.microsoft.com/office/drawing/2014/main" id="{EE15F97C-F857-493D-806C-D8F5A959C0C8}"/>
                  </a:ext>
                </a:extLst>
              </p:cNvPr>
              <p:cNvSpPr>
                <a:spLocks/>
              </p:cNvSpPr>
              <p:nvPr/>
            </p:nvSpPr>
            <p:spPr bwMode="auto">
              <a:xfrm>
                <a:off x="3784484" y="1653807"/>
                <a:ext cx="44477" cy="44945"/>
              </a:xfrm>
              <a:custGeom>
                <a:avLst/>
                <a:gdLst>
                  <a:gd name="T0" fmla="*/ 95 w 95"/>
                  <a:gd name="T1" fmla="*/ 96 h 96"/>
                  <a:gd name="T2" fmla="*/ 0 w 95"/>
                  <a:gd name="T3" fmla="*/ 96 h 96"/>
                  <a:gd name="T4" fmla="*/ 0 w 95"/>
                  <a:gd name="T5" fmla="*/ 70 h 96"/>
                  <a:gd name="T6" fmla="*/ 70 w 95"/>
                  <a:gd name="T7" fmla="*/ 70 h 96"/>
                  <a:gd name="T8" fmla="*/ 70 w 95"/>
                  <a:gd name="T9" fmla="*/ 0 h 96"/>
                  <a:gd name="T10" fmla="*/ 95 w 95"/>
                  <a:gd name="T11" fmla="*/ 0 h 96"/>
                  <a:gd name="T12" fmla="*/ 95 w 95"/>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95" h="96">
                    <a:moveTo>
                      <a:pt x="95" y="96"/>
                    </a:moveTo>
                    <a:lnTo>
                      <a:pt x="0" y="96"/>
                    </a:lnTo>
                    <a:lnTo>
                      <a:pt x="0" y="70"/>
                    </a:lnTo>
                    <a:lnTo>
                      <a:pt x="70" y="70"/>
                    </a:lnTo>
                    <a:lnTo>
                      <a:pt x="70" y="0"/>
                    </a:lnTo>
                    <a:lnTo>
                      <a:pt x="95" y="0"/>
                    </a:lnTo>
                    <a:lnTo>
                      <a:pt x="95" y="9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245" name="Group 244">
              <a:extLst>
                <a:ext uri="{FF2B5EF4-FFF2-40B4-BE49-F238E27FC236}">
                  <a16:creationId xmlns:a16="http://schemas.microsoft.com/office/drawing/2014/main" id="{AD03F5FF-42C7-4D65-B5FD-7514155DE06A}"/>
                </a:ext>
              </a:extLst>
            </p:cNvPr>
            <p:cNvGrpSpPr/>
            <p:nvPr/>
          </p:nvGrpSpPr>
          <p:grpSpPr>
            <a:xfrm>
              <a:off x="3824279" y="1681897"/>
              <a:ext cx="294015" cy="304314"/>
              <a:chOff x="3824279" y="1681897"/>
              <a:chExt cx="294015" cy="304314"/>
            </a:xfrm>
          </p:grpSpPr>
          <p:sp>
            <p:nvSpPr>
              <p:cNvPr id="246" name="Freeform 40">
                <a:extLst>
                  <a:ext uri="{FF2B5EF4-FFF2-40B4-BE49-F238E27FC236}">
                    <a16:creationId xmlns:a16="http://schemas.microsoft.com/office/drawing/2014/main" id="{66219B81-31B8-44A2-9F9D-1956EC65EAEB}"/>
                  </a:ext>
                </a:extLst>
              </p:cNvPr>
              <p:cNvSpPr>
                <a:spLocks/>
              </p:cNvSpPr>
              <p:nvPr/>
            </p:nvSpPr>
            <p:spPr bwMode="auto">
              <a:xfrm>
                <a:off x="3926809" y="1782087"/>
                <a:ext cx="178844" cy="194761"/>
              </a:xfrm>
              <a:custGeom>
                <a:avLst/>
                <a:gdLst>
                  <a:gd name="T0" fmla="*/ 17 w 411"/>
                  <a:gd name="T1" fmla="*/ 448 h 448"/>
                  <a:gd name="T2" fmla="*/ 0 w 411"/>
                  <a:gd name="T3" fmla="*/ 343 h 448"/>
                  <a:gd name="T4" fmla="*/ 343 w 411"/>
                  <a:gd name="T5" fmla="*/ 0 h 448"/>
                  <a:gd name="T6" fmla="*/ 411 w 411"/>
                  <a:gd name="T7" fmla="*/ 7 h 448"/>
                  <a:gd name="T8" fmla="*/ 405 w 411"/>
                  <a:gd name="T9" fmla="*/ 34 h 448"/>
                  <a:gd name="T10" fmla="*/ 343 w 411"/>
                  <a:gd name="T11" fmla="*/ 27 h 448"/>
                  <a:gd name="T12" fmla="*/ 27 w 411"/>
                  <a:gd name="T13" fmla="*/ 343 h 448"/>
                  <a:gd name="T14" fmla="*/ 42 w 411"/>
                  <a:gd name="T15" fmla="*/ 439 h 448"/>
                  <a:gd name="T16" fmla="*/ 17 w 411"/>
                  <a:gd name="T17" fmla="*/ 448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1" h="448">
                    <a:moveTo>
                      <a:pt x="17" y="448"/>
                    </a:moveTo>
                    <a:cubicBezTo>
                      <a:pt x="6" y="414"/>
                      <a:pt x="0" y="379"/>
                      <a:pt x="0" y="343"/>
                    </a:cubicBezTo>
                    <a:cubicBezTo>
                      <a:pt x="0" y="154"/>
                      <a:pt x="154" y="0"/>
                      <a:pt x="343" y="0"/>
                    </a:cubicBezTo>
                    <a:cubicBezTo>
                      <a:pt x="366" y="0"/>
                      <a:pt x="389" y="3"/>
                      <a:pt x="411" y="7"/>
                    </a:cubicBezTo>
                    <a:cubicBezTo>
                      <a:pt x="405" y="34"/>
                      <a:pt x="405" y="34"/>
                      <a:pt x="405" y="34"/>
                    </a:cubicBezTo>
                    <a:cubicBezTo>
                      <a:pt x="385" y="30"/>
                      <a:pt x="364" y="27"/>
                      <a:pt x="343" y="27"/>
                    </a:cubicBezTo>
                    <a:cubicBezTo>
                      <a:pt x="169" y="27"/>
                      <a:pt x="27" y="169"/>
                      <a:pt x="27" y="343"/>
                    </a:cubicBezTo>
                    <a:cubicBezTo>
                      <a:pt x="27" y="376"/>
                      <a:pt x="33" y="408"/>
                      <a:pt x="42" y="439"/>
                    </a:cubicBezTo>
                    <a:lnTo>
                      <a:pt x="17" y="44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7" name="Freeform 47">
                <a:extLst>
                  <a:ext uri="{FF2B5EF4-FFF2-40B4-BE49-F238E27FC236}">
                    <a16:creationId xmlns:a16="http://schemas.microsoft.com/office/drawing/2014/main" id="{C60E1638-7195-47FD-8B3A-4DA3086B17E2}"/>
                  </a:ext>
                </a:extLst>
              </p:cNvPr>
              <p:cNvSpPr>
                <a:spLocks/>
              </p:cNvSpPr>
              <p:nvPr/>
            </p:nvSpPr>
            <p:spPr bwMode="auto">
              <a:xfrm>
                <a:off x="3824279" y="1681897"/>
                <a:ext cx="294015" cy="304314"/>
              </a:xfrm>
              <a:custGeom>
                <a:avLst/>
                <a:gdLst>
                  <a:gd name="T0" fmla="*/ 19 w 676"/>
                  <a:gd name="T1" fmla="*/ 701 h 701"/>
                  <a:gd name="T2" fmla="*/ 5 w 676"/>
                  <a:gd name="T3" fmla="*/ 583 h 701"/>
                  <a:gd name="T4" fmla="*/ 571 w 676"/>
                  <a:gd name="T5" fmla="*/ 0 h 701"/>
                  <a:gd name="T6" fmla="*/ 676 w 676"/>
                  <a:gd name="T7" fmla="*/ 8 h 701"/>
                  <a:gd name="T8" fmla="*/ 671 w 676"/>
                  <a:gd name="T9" fmla="*/ 35 h 701"/>
                  <a:gd name="T10" fmla="*/ 571 w 676"/>
                  <a:gd name="T11" fmla="*/ 27 h 701"/>
                  <a:gd name="T12" fmla="*/ 187 w 676"/>
                  <a:gd name="T13" fmla="*/ 193 h 701"/>
                  <a:gd name="T14" fmla="*/ 32 w 676"/>
                  <a:gd name="T15" fmla="*/ 582 h 701"/>
                  <a:gd name="T16" fmla="*/ 46 w 676"/>
                  <a:gd name="T17" fmla="*/ 695 h 701"/>
                  <a:gd name="T18" fmla="*/ 19 w 676"/>
                  <a:gd name="T19"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6" h="701">
                    <a:moveTo>
                      <a:pt x="19" y="701"/>
                    </a:moveTo>
                    <a:cubicBezTo>
                      <a:pt x="10" y="662"/>
                      <a:pt x="6" y="622"/>
                      <a:pt x="5" y="583"/>
                    </a:cubicBezTo>
                    <a:cubicBezTo>
                      <a:pt x="0" y="266"/>
                      <a:pt x="254" y="5"/>
                      <a:pt x="571" y="0"/>
                    </a:cubicBezTo>
                    <a:cubicBezTo>
                      <a:pt x="606" y="0"/>
                      <a:pt x="641" y="2"/>
                      <a:pt x="676" y="8"/>
                    </a:cubicBezTo>
                    <a:cubicBezTo>
                      <a:pt x="671" y="35"/>
                      <a:pt x="671" y="35"/>
                      <a:pt x="671" y="35"/>
                    </a:cubicBezTo>
                    <a:cubicBezTo>
                      <a:pt x="638" y="29"/>
                      <a:pt x="605" y="27"/>
                      <a:pt x="571" y="27"/>
                    </a:cubicBezTo>
                    <a:cubicBezTo>
                      <a:pt x="425" y="29"/>
                      <a:pt x="289" y="88"/>
                      <a:pt x="187" y="193"/>
                    </a:cubicBezTo>
                    <a:cubicBezTo>
                      <a:pt x="85" y="298"/>
                      <a:pt x="30" y="436"/>
                      <a:pt x="32" y="582"/>
                    </a:cubicBezTo>
                    <a:cubicBezTo>
                      <a:pt x="33" y="620"/>
                      <a:pt x="37" y="658"/>
                      <a:pt x="46" y="695"/>
                    </a:cubicBezTo>
                    <a:lnTo>
                      <a:pt x="19" y="701"/>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3118059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kt 37" hidden="1">
            <a:extLst>
              <a:ext uri="{FF2B5EF4-FFF2-40B4-BE49-F238E27FC236}">
                <a16:creationId xmlns:a16="http://schemas.microsoft.com/office/drawing/2014/main" id="{F02DEBD7-A51D-45E9-9FC4-675DEA208373}"/>
              </a:ext>
            </a:extLst>
          </p:cNvPr>
          <p:cNvGraphicFramePr>
            <a:graphicFrameLocks noChangeAspect="1"/>
          </p:cNvGraphicFramePr>
          <p:nvPr>
            <p:custDataLst>
              <p:tags r:id="rId1"/>
            </p:custDataLst>
            <p:extLst>
              <p:ext uri="{D42A27DB-BD31-4B8C-83A1-F6EECF244321}">
                <p14:modId xmlns:p14="http://schemas.microsoft.com/office/powerpoint/2010/main" val="3850972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8" name="Objekt 37" hidden="1">
                        <a:extLst>
                          <a:ext uri="{FF2B5EF4-FFF2-40B4-BE49-F238E27FC236}">
                            <a16:creationId xmlns:a16="http://schemas.microsoft.com/office/drawing/2014/main" id="{F02DEBD7-A51D-45E9-9FC4-675DEA2083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C3892DD-DFF6-4324-BBD6-E3C410F8C2D9}"/>
              </a:ext>
            </a:extLst>
          </p:cNvPr>
          <p:cNvSpPr>
            <a:spLocks noGrp="1"/>
          </p:cNvSpPr>
          <p:nvPr>
            <p:ph type="sldNum" sz="quarter" idx="11"/>
          </p:nvPr>
        </p:nvSpPr>
        <p:spPr/>
        <p:txBody>
          <a:bodyPr/>
          <a:lstStyle/>
          <a:p>
            <a:fld id="{D56DB8AA-803C-49D2-90AA-1140CE72DCD7}" type="slidenum">
              <a:rPr lang="en-GB" smtClean="0"/>
              <a:pPr/>
              <a:t>42</a:t>
            </a:fld>
            <a:endParaRPr lang="en-GB" dirty="0"/>
          </a:p>
        </p:txBody>
      </p:sp>
      <p:sp>
        <p:nvSpPr>
          <p:cNvPr id="3" name="Title 2">
            <a:extLst>
              <a:ext uri="{FF2B5EF4-FFF2-40B4-BE49-F238E27FC236}">
                <a16:creationId xmlns:a16="http://schemas.microsoft.com/office/drawing/2014/main" id="{5112601F-CF7B-11BE-AC46-AFBB3D435C0F}"/>
              </a:ext>
            </a:extLst>
          </p:cNvPr>
          <p:cNvSpPr>
            <a:spLocks noGrp="1"/>
          </p:cNvSpPr>
          <p:nvPr>
            <p:ph type="title"/>
          </p:nvPr>
        </p:nvSpPr>
        <p:spPr>
          <a:xfrm>
            <a:off x="252000" y="252000"/>
            <a:ext cx="6748875" cy="576000"/>
          </a:xfrm>
        </p:spPr>
        <p:txBody>
          <a:bodyPr/>
          <a:lstStyle/>
          <a:p>
            <a:r>
              <a:rPr lang="en-US" dirty="0"/>
              <a:t>Mixed General 1/3</a:t>
            </a:r>
            <a:br>
              <a:rPr lang="en-US" dirty="0"/>
            </a:br>
            <a:endParaRPr lang="en-US" dirty="0"/>
          </a:p>
        </p:txBody>
      </p:sp>
      <p:sp>
        <p:nvSpPr>
          <p:cNvPr id="29" name="TextBox 28">
            <a:extLst>
              <a:ext uri="{FF2B5EF4-FFF2-40B4-BE49-F238E27FC236}">
                <a16:creationId xmlns:a16="http://schemas.microsoft.com/office/drawing/2014/main" id="{24AB0A82-92D4-4F90-8CAD-E58C0A54DA55}"/>
              </a:ext>
            </a:extLst>
          </p:cNvPr>
          <p:cNvSpPr txBox="1"/>
          <p:nvPr/>
        </p:nvSpPr>
        <p:spPr>
          <a:xfrm>
            <a:off x="4908600" y="3723675"/>
            <a:ext cx="798548" cy="107722"/>
          </a:xfrm>
          <a:prstGeom prst="rect">
            <a:avLst/>
          </a:prstGeom>
          <a:noFill/>
          <a:effectLst/>
        </p:spPr>
        <p:txBody>
          <a:bodyPr wrap="square" lIns="0" tIns="0" rIns="0" bIns="0" rtlCol="0" anchor="t">
            <a:spAutoFit/>
          </a:bodyPr>
          <a:lstStyle/>
          <a:p>
            <a:pPr algn="ctr"/>
            <a:r>
              <a:rPr lang="en-GB" sz="700" dirty="0">
                <a:solidFill>
                  <a:schemeClr val="tx2"/>
                </a:solidFill>
              </a:rPr>
              <a:t>Problem-solving</a:t>
            </a:r>
          </a:p>
        </p:txBody>
      </p:sp>
      <p:sp>
        <p:nvSpPr>
          <p:cNvPr id="6" name="TextBox 5">
            <a:extLst>
              <a:ext uri="{FF2B5EF4-FFF2-40B4-BE49-F238E27FC236}">
                <a16:creationId xmlns:a16="http://schemas.microsoft.com/office/drawing/2014/main" id="{7A9D3835-30AC-477E-8DB2-27B5A08D1816}"/>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ward</a:t>
            </a:r>
          </a:p>
        </p:txBody>
      </p:sp>
      <p:sp>
        <p:nvSpPr>
          <p:cNvPr id="7" name="TextBox 6">
            <a:extLst>
              <a:ext uri="{FF2B5EF4-FFF2-40B4-BE49-F238E27FC236}">
                <a16:creationId xmlns:a16="http://schemas.microsoft.com/office/drawing/2014/main" id="{C1140B79-30FB-426C-BB8F-BCB83E94438D}"/>
              </a:ext>
            </a:extLst>
          </p:cNvPr>
          <p:cNvSpPr txBox="1"/>
          <p:nvPr/>
        </p:nvSpPr>
        <p:spPr>
          <a:xfrm>
            <a:off x="3588420"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ecisiveness</a:t>
            </a:r>
          </a:p>
        </p:txBody>
      </p:sp>
      <p:sp>
        <p:nvSpPr>
          <p:cNvPr id="8" name="TextBox 7">
            <a:extLst>
              <a:ext uri="{FF2B5EF4-FFF2-40B4-BE49-F238E27FC236}">
                <a16:creationId xmlns:a16="http://schemas.microsoft.com/office/drawing/2014/main" id="{AAE76287-066D-4C7F-B311-95F8DDE957CB}"/>
              </a:ext>
            </a:extLst>
          </p:cNvPr>
          <p:cNvSpPr txBox="1"/>
          <p:nvPr/>
        </p:nvSpPr>
        <p:spPr>
          <a:xfrm>
            <a:off x="254298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ime</a:t>
            </a:r>
          </a:p>
        </p:txBody>
      </p:sp>
      <p:sp>
        <p:nvSpPr>
          <p:cNvPr id="10" name="TextBox 9">
            <a:extLst>
              <a:ext uri="{FF2B5EF4-FFF2-40B4-BE49-F238E27FC236}">
                <a16:creationId xmlns:a16="http://schemas.microsoft.com/office/drawing/2014/main" id="{29AC5F1D-DE8B-44BA-8B5E-BFB8ABAB676A}"/>
              </a:ext>
            </a:extLst>
          </p:cNvPr>
          <p:cNvSpPr txBox="1"/>
          <p:nvPr/>
        </p:nvSpPr>
        <p:spPr>
          <a:xfrm>
            <a:off x="3588420"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Work/life</a:t>
            </a:r>
            <a:br>
              <a:rPr lang="en-GB" sz="700" dirty="0">
                <a:solidFill>
                  <a:schemeClr val="tx2"/>
                </a:solidFill>
              </a:rPr>
            </a:br>
            <a:r>
              <a:rPr lang="en-GB" sz="700" dirty="0">
                <a:solidFill>
                  <a:schemeClr val="tx2"/>
                </a:solidFill>
              </a:rPr>
              <a:t>balance</a:t>
            </a:r>
          </a:p>
        </p:txBody>
      </p:sp>
      <p:sp>
        <p:nvSpPr>
          <p:cNvPr id="11" name="TextBox 10">
            <a:extLst>
              <a:ext uri="{FF2B5EF4-FFF2-40B4-BE49-F238E27FC236}">
                <a16:creationId xmlns:a16="http://schemas.microsoft.com/office/drawing/2014/main" id="{B485528C-F375-4E34-B22B-931874FC239C}"/>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entor</a:t>
            </a:r>
          </a:p>
        </p:txBody>
      </p:sp>
      <p:sp>
        <p:nvSpPr>
          <p:cNvPr id="12" name="TextBox 11">
            <a:extLst>
              <a:ext uri="{FF2B5EF4-FFF2-40B4-BE49-F238E27FC236}">
                <a16:creationId xmlns:a16="http://schemas.microsoft.com/office/drawing/2014/main" id="{5AE25827-B266-4CAD-9AF3-74F068AEF49F}"/>
              </a:ext>
            </a:extLst>
          </p:cNvPr>
          <p:cNvSpPr txBox="1"/>
          <p:nvPr/>
        </p:nvSpPr>
        <p:spPr>
          <a:xfrm>
            <a:off x="1497553"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ersonal</a:t>
            </a:r>
            <a:br>
              <a:rPr lang="en-GB" sz="700" dirty="0">
                <a:solidFill>
                  <a:schemeClr val="tx2"/>
                </a:solidFill>
              </a:rPr>
            </a:br>
            <a:r>
              <a:rPr lang="en-GB" sz="700" dirty="0">
                <a:solidFill>
                  <a:schemeClr val="tx2"/>
                </a:solidFill>
              </a:rPr>
              <a:t>achievement</a:t>
            </a:r>
          </a:p>
        </p:txBody>
      </p:sp>
      <p:sp>
        <p:nvSpPr>
          <p:cNvPr id="13" name="TextBox 12">
            <a:extLst>
              <a:ext uri="{FF2B5EF4-FFF2-40B4-BE49-F238E27FC236}">
                <a16:creationId xmlns:a16="http://schemas.microsoft.com/office/drawing/2014/main" id="{730082AD-7FF4-49D0-8C55-1B4FD89B9666}"/>
              </a:ext>
            </a:extLst>
          </p:cNvPr>
          <p:cNvSpPr txBox="1"/>
          <p:nvPr/>
        </p:nvSpPr>
        <p:spPr>
          <a:xfrm>
            <a:off x="452119"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mpowerment</a:t>
            </a:r>
          </a:p>
        </p:txBody>
      </p:sp>
      <p:sp>
        <p:nvSpPr>
          <p:cNvPr id="14" name="TextBox 13">
            <a:extLst>
              <a:ext uri="{FF2B5EF4-FFF2-40B4-BE49-F238E27FC236}">
                <a16:creationId xmlns:a16="http://schemas.microsoft.com/office/drawing/2014/main" id="{22DCC219-C71C-44D9-B6F4-54D1A59CA2B1}"/>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nternship</a:t>
            </a:r>
          </a:p>
        </p:txBody>
      </p:sp>
      <p:sp>
        <p:nvSpPr>
          <p:cNvPr id="15" name="TextBox 14">
            <a:extLst>
              <a:ext uri="{FF2B5EF4-FFF2-40B4-BE49-F238E27FC236}">
                <a16:creationId xmlns:a16="http://schemas.microsoft.com/office/drawing/2014/main" id="{BA9EC1A0-E024-475E-8F2C-C8833FB11394}"/>
              </a:ext>
            </a:extLst>
          </p:cNvPr>
          <p:cNvSpPr txBox="1"/>
          <p:nvPr/>
        </p:nvSpPr>
        <p:spPr>
          <a:xfrm>
            <a:off x="2542987"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Education</a:t>
            </a:r>
            <a:br>
              <a:rPr lang="en-GB" sz="700" dirty="0">
                <a:solidFill>
                  <a:schemeClr val="tx2"/>
                </a:solidFill>
              </a:rPr>
            </a:br>
            <a:r>
              <a:rPr lang="en-GB" sz="700" dirty="0">
                <a:solidFill>
                  <a:schemeClr val="tx2"/>
                </a:solidFill>
              </a:rPr>
              <a:t>technology</a:t>
            </a:r>
          </a:p>
        </p:txBody>
      </p:sp>
      <p:sp>
        <p:nvSpPr>
          <p:cNvPr id="16" name="TextBox 15">
            <a:extLst>
              <a:ext uri="{FF2B5EF4-FFF2-40B4-BE49-F238E27FC236}">
                <a16:creationId xmlns:a16="http://schemas.microsoft.com/office/drawing/2014/main" id="{FDFD8FD4-3FFD-45DF-B8AE-BC5AE27E3E52}"/>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aching</a:t>
            </a:r>
          </a:p>
        </p:txBody>
      </p:sp>
      <p:sp>
        <p:nvSpPr>
          <p:cNvPr id="17" name="TextBox 16">
            <a:extLst>
              <a:ext uri="{FF2B5EF4-FFF2-40B4-BE49-F238E27FC236}">
                <a16:creationId xmlns:a16="http://schemas.microsoft.com/office/drawing/2014/main" id="{D93EA1F2-20DC-47CE-884C-D677B4DA189B}"/>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dea</a:t>
            </a:r>
          </a:p>
        </p:txBody>
      </p:sp>
      <p:sp>
        <p:nvSpPr>
          <p:cNvPr id="18" name="TextBox 17">
            <a:extLst>
              <a:ext uri="{FF2B5EF4-FFF2-40B4-BE49-F238E27FC236}">
                <a16:creationId xmlns:a16="http://schemas.microsoft.com/office/drawing/2014/main" id="{04E0DFE5-1FA1-4901-9EF9-4AA133EB6ED7}"/>
              </a:ext>
            </a:extLst>
          </p:cNvPr>
          <p:cNvSpPr txBox="1"/>
          <p:nvPr/>
        </p:nvSpPr>
        <p:spPr>
          <a:xfrm>
            <a:off x="3588420"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Project</a:t>
            </a:r>
            <a:br>
              <a:rPr lang="en-GB" sz="700" dirty="0">
                <a:solidFill>
                  <a:schemeClr val="tx2"/>
                </a:solidFill>
              </a:rPr>
            </a:br>
            <a:r>
              <a:rPr lang="en-GB" sz="700" dirty="0">
                <a:solidFill>
                  <a:schemeClr val="tx2"/>
                </a:solidFill>
              </a:rPr>
              <a:t>management</a:t>
            </a:r>
          </a:p>
        </p:txBody>
      </p:sp>
      <p:sp>
        <p:nvSpPr>
          <p:cNvPr id="19" name="TextBox 18">
            <a:extLst>
              <a:ext uri="{FF2B5EF4-FFF2-40B4-BE49-F238E27FC236}">
                <a16:creationId xmlns:a16="http://schemas.microsoft.com/office/drawing/2014/main" id="{66030CE0-D469-4CBA-8853-825CCB4E9F89}"/>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ank</a:t>
            </a:r>
          </a:p>
        </p:txBody>
      </p:sp>
      <p:sp>
        <p:nvSpPr>
          <p:cNvPr id="20" name="TextBox 19">
            <a:extLst>
              <a:ext uri="{FF2B5EF4-FFF2-40B4-BE49-F238E27FC236}">
                <a16:creationId xmlns:a16="http://schemas.microsoft.com/office/drawing/2014/main" id="{B88AC88E-4A73-44A9-8268-1CA338D43A97}"/>
              </a:ext>
            </a:extLst>
          </p:cNvPr>
          <p:cNvSpPr txBox="1"/>
          <p:nvPr/>
        </p:nvSpPr>
        <p:spPr>
          <a:xfrm>
            <a:off x="1497553" y="4547732"/>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Generate</a:t>
            </a:r>
            <a:br>
              <a:rPr lang="en-GB" sz="700" dirty="0">
                <a:solidFill>
                  <a:schemeClr val="tx2"/>
                </a:solidFill>
              </a:rPr>
            </a:br>
            <a:r>
              <a:rPr lang="en-GB" sz="700" dirty="0">
                <a:solidFill>
                  <a:schemeClr val="tx2"/>
                </a:solidFill>
              </a:rPr>
              <a:t>ideas</a:t>
            </a:r>
          </a:p>
        </p:txBody>
      </p:sp>
      <p:sp>
        <p:nvSpPr>
          <p:cNvPr id="37" name="TextBox 36">
            <a:extLst>
              <a:ext uri="{FF2B5EF4-FFF2-40B4-BE49-F238E27FC236}">
                <a16:creationId xmlns:a16="http://schemas.microsoft.com/office/drawing/2014/main" id="{49323A0C-BF2A-485E-8A25-F7F80540E8E7}"/>
              </a:ext>
            </a:extLst>
          </p:cNvPr>
          <p:cNvSpPr txBox="1"/>
          <p:nvPr/>
        </p:nvSpPr>
        <p:spPr>
          <a:xfrm>
            <a:off x="452119"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Focus</a:t>
            </a:r>
          </a:p>
        </p:txBody>
      </p:sp>
      <p:grpSp>
        <p:nvGrpSpPr>
          <p:cNvPr id="4" name="Group 3">
            <a:extLst>
              <a:ext uri="{FF2B5EF4-FFF2-40B4-BE49-F238E27FC236}">
                <a16:creationId xmlns:a16="http://schemas.microsoft.com/office/drawing/2014/main" id="{BD1AE876-A13B-2466-B96E-0D2A5674922E}"/>
              </a:ext>
            </a:extLst>
          </p:cNvPr>
          <p:cNvGrpSpPr/>
          <p:nvPr/>
        </p:nvGrpSpPr>
        <p:grpSpPr>
          <a:xfrm>
            <a:off x="578042" y="1585983"/>
            <a:ext cx="432013" cy="432000"/>
            <a:chOff x="578042" y="1585983"/>
            <a:chExt cx="432013" cy="432000"/>
          </a:xfrm>
        </p:grpSpPr>
        <p:grpSp>
          <p:nvGrpSpPr>
            <p:cNvPr id="51" name="Group 50">
              <a:extLst>
                <a:ext uri="{FF2B5EF4-FFF2-40B4-BE49-F238E27FC236}">
                  <a16:creationId xmlns:a16="http://schemas.microsoft.com/office/drawing/2014/main" id="{4A1CBD32-D510-42C8-A0D6-BDD4FDEFC3C9}"/>
                </a:ext>
              </a:extLst>
            </p:cNvPr>
            <p:cNvGrpSpPr/>
            <p:nvPr/>
          </p:nvGrpSpPr>
          <p:grpSpPr>
            <a:xfrm>
              <a:off x="578042" y="1585983"/>
              <a:ext cx="432013" cy="432000"/>
              <a:chOff x="2535185" y="2474412"/>
              <a:chExt cx="440625" cy="440612"/>
            </a:xfrm>
            <a:solidFill>
              <a:schemeClr val="tx2"/>
            </a:solidFill>
          </p:grpSpPr>
          <p:sp>
            <p:nvSpPr>
              <p:cNvPr id="53" name="Freihandform: Form 223">
                <a:extLst>
                  <a:ext uri="{FF2B5EF4-FFF2-40B4-BE49-F238E27FC236}">
                    <a16:creationId xmlns:a16="http://schemas.microsoft.com/office/drawing/2014/main" id="{95DE31C3-1027-4DC4-A80E-E11AE38A1D70}"/>
                  </a:ext>
                </a:extLst>
              </p:cNvPr>
              <p:cNvSpPr/>
              <p:nvPr/>
            </p:nvSpPr>
            <p:spPr>
              <a:xfrm>
                <a:off x="2684266" y="2545643"/>
                <a:ext cx="142433" cy="13370"/>
              </a:xfrm>
              <a:custGeom>
                <a:avLst/>
                <a:gdLst>
                  <a:gd name="connsiteX0" fmla="*/ 135748 w 142433"/>
                  <a:gd name="connsiteY0" fmla="*/ 13370 h 13370"/>
                  <a:gd name="connsiteX1" fmla="*/ 6685 w 142433"/>
                  <a:gd name="connsiteY1" fmla="*/ 13370 h 13370"/>
                  <a:gd name="connsiteX2" fmla="*/ 0 w 142433"/>
                  <a:gd name="connsiteY2" fmla="*/ 6685 h 13370"/>
                  <a:gd name="connsiteX3" fmla="*/ 6685 w 142433"/>
                  <a:gd name="connsiteY3" fmla="*/ 0 h 13370"/>
                  <a:gd name="connsiteX4" fmla="*/ 135748 w 142433"/>
                  <a:gd name="connsiteY4" fmla="*/ 0 h 13370"/>
                  <a:gd name="connsiteX5" fmla="*/ 142433 w 142433"/>
                  <a:gd name="connsiteY5" fmla="*/ 6685 h 13370"/>
                  <a:gd name="connsiteX6" fmla="*/ 135748 w 142433"/>
                  <a:gd name="connsiteY6" fmla="*/ 13370 h 1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433" h="13370">
                    <a:moveTo>
                      <a:pt x="135748" y="13370"/>
                    </a:moveTo>
                    <a:lnTo>
                      <a:pt x="6685" y="13370"/>
                    </a:lnTo>
                    <a:cubicBezTo>
                      <a:pt x="2997" y="13370"/>
                      <a:pt x="0" y="10373"/>
                      <a:pt x="0" y="6685"/>
                    </a:cubicBezTo>
                    <a:cubicBezTo>
                      <a:pt x="0" y="2997"/>
                      <a:pt x="2997" y="0"/>
                      <a:pt x="6685" y="0"/>
                    </a:cubicBezTo>
                    <a:lnTo>
                      <a:pt x="135748" y="0"/>
                    </a:lnTo>
                    <a:cubicBezTo>
                      <a:pt x="139436" y="0"/>
                      <a:pt x="142433" y="2997"/>
                      <a:pt x="142433" y="6685"/>
                    </a:cubicBezTo>
                    <a:cubicBezTo>
                      <a:pt x="142404" y="10402"/>
                      <a:pt x="139436" y="13370"/>
                      <a:pt x="135748" y="13370"/>
                    </a:cubicBezTo>
                    <a:close/>
                  </a:path>
                </a:pathLst>
              </a:custGeom>
              <a:grpFill/>
              <a:ln w="2878" cap="flat">
                <a:noFill/>
                <a:prstDash val="solid"/>
                <a:miter/>
              </a:ln>
            </p:spPr>
            <p:txBody>
              <a:bodyPr rtlCol="0" anchor="ctr"/>
              <a:lstStyle/>
              <a:p>
                <a:endParaRPr lang="en-GB" dirty="0"/>
              </a:p>
            </p:txBody>
          </p:sp>
          <p:sp>
            <p:nvSpPr>
              <p:cNvPr id="54" name="Freihandform: Form 224">
                <a:extLst>
                  <a:ext uri="{FF2B5EF4-FFF2-40B4-BE49-F238E27FC236}">
                    <a16:creationId xmlns:a16="http://schemas.microsoft.com/office/drawing/2014/main" id="{E8937128-59F4-4973-8430-0BC3541FF95C}"/>
                  </a:ext>
                </a:extLst>
              </p:cNvPr>
              <p:cNvSpPr/>
              <p:nvPr/>
            </p:nvSpPr>
            <p:spPr>
              <a:xfrm>
                <a:off x="2575748" y="2474441"/>
                <a:ext cx="357999" cy="13370"/>
              </a:xfrm>
              <a:custGeom>
                <a:avLst/>
                <a:gdLst>
                  <a:gd name="connsiteX0" fmla="*/ 351314 w 357999"/>
                  <a:gd name="connsiteY0" fmla="*/ 13370 h 13370"/>
                  <a:gd name="connsiteX1" fmla="*/ 6685 w 357999"/>
                  <a:gd name="connsiteY1" fmla="*/ 13370 h 13370"/>
                  <a:gd name="connsiteX2" fmla="*/ 0 w 357999"/>
                  <a:gd name="connsiteY2" fmla="*/ 6685 h 13370"/>
                  <a:gd name="connsiteX3" fmla="*/ 6685 w 357999"/>
                  <a:gd name="connsiteY3" fmla="*/ 0 h 13370"/>
                  <a:gd name="connsiteX4" fmla="*/ 351314 w 357999"/>
                  <a:gd name="connsiteY4" fmla="*/ 0 h 13370"/>
                  <a:gd name="connsiteX5" fmla="*/ 357999 w 357999"/>
                  <a:gd name="connsiteY5" fmla="*/ 6685 h 13370"/>
                  <a:gd name="connsiteX6" fmla="*/ 351314 w 357999"/>
                  <a:gd name="connsiteY6" fmla="*/ 13370 h 1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999" h="13370">
                    <a:moveTo>
                      <a:pt x="351314" y="13370"/>
                    </a:moveTo>
                    <a:lnTo>
                      <a:pt x="6685" y="13370"/>
                    </a:lnTo>
                    <a:cubicBezTo>
                      <a:pt x="2997" y="13370"/>
                      <a:pt x="0" y="10373"/>
                      <a:pt x="0" y="6685"/>
                    </a:cubicBezTo>
                    <a:cubicBezTo>
                      <a:pt x="0" y="2997"/>
                      <a:pt x="2997" y="0"/>
                      <a:pt x="6685" y="0"/>
                    </a:cubicBezTo>
                    <a:lnTo>
                      <a:pt x="351314" y="0"/>
                    </a:lnTo>
                    <a:cubicBezTo>
                      <a:pt x="355002" y="0"/>
                      <a:pt x="357999" y="2997"/>
                      <a:pt x="357999" y="6685"/>
                    </a:cubicBezTo>
                    <a:cubicBezTo>
                      <a:pt x="357971" y="10402"/>
                      <a:pt x="355002" y="13370"/>
                      <a:pt x="351314" y="13370"/>
                    </a:cubicBezTo>
                    <a:close/>
                  </a:path>
                </a:pathLst>
              </a:custGeom>
              <a:grpFill/>
              <a:ln w="2878" cap="flat">
                <a:noFill/>
                <a:prstDash val="solid"/>
                <a:miter/>
              </a:ln>
            </p:spPr>
            <p:txBody>
              <a:bodyPr rtlCol="0" anchor="ctr"/>
              <a:lstStyle/>
              <a:p>
                <a:endParaRPr lang="en-GB" dirty="0"/>
              </a:p>
            </p:txBody>
          </p:sp>
          <p:sp>
            <p:nvSpPr>
              <p:cNvPr id="55" name="Freihandform: Form 225">
                <a:extLst>
                  <a:ext uri="{FF2B5EF4-FFF2-40B4-BE49-F238E27FC236}">
                    <a16:creationId xmlns:a16="http://schemas.microsoft.com/office/drawing/2014/main" id="{0D1900BE-2127-4412-8201-101E15B09004}"/>
                  </a:ext>
                </a:extLst>
              </p:cNvPr>
              <p:cNvSpPr/>
              <p:nvPr/>
            </p:nvSpPr>
            <p:spPr>
              <a:xfrm>
                <a:off x="2772416" y="2474412"/>
                <a:ext cx="203394" cy="240519"/>
              </a:xfrm>
              <a:custGeom>
                <a:avLst/>
                <a:gdLst>
                  <a:gd name="connsiteX0" fmla="*/ 71890 w 203394"/>
                  <a:gd name="connsiteY0" fmla="*/ 240520 h 240519"/>
                  <a:gd name="connsiteX1" fmla="*/ 68201 w 203394"/>
                  <a:gd name="connsiteY1" fmla="*/ 239396 h 240519"/>
                  <a:gd name="connsiteX2" fmla="*/ 66328 w 203394"/>
                  <a:gd name="connsiteY2" fmla="*/ 230146 h 240519"/>
                  <a:gd name="connsiteX3" fmla="*/ 186026 w 203394"/>
                  <a:gd name="connsiteY3" fmla="*/ 50081 h 240519"/>
                  <a:gd name="connsiteX4" fmla="*/ 187237 w 203394"/>
                  <a:gd name="connsiteY4" fmla="*/ 26308 h 240519"/>
                  <a:gd name="connsiteX5" fmla="*/ 166951 w 203394"/>
                  <a:gd name="connsiteY5" fmla="*/ 13889 h 240519"/>
                  <a:gd name="connsiteX6" fmla="*/ 135542 w 203394"/>
                  <a:gd name="connsiteY6" fmla="*/ 13457 h 240519"/>
                  <a:gd name="connsiteX7" fmla="*/ 12242 w 203394"/>
                  <a:gd name="connsiteY7" fmla="*/ 199430 h 240519"/>
                  <a:gd name="connsiteX8" fmla="*/ 2993 w 203394"/>
                  <a:gd name="connsiteY8" fmla="*/ 201303 h 240519"/>
                  <a:gd name="connsiteX9" fmla="*/ 1120 w 203394"/>
                  <a:gd name="connsiteY9" fmla="*/ 192053 h 240519"/>
                  <a:gd name="connsiteX10" fmla="*/ 128454 w 203394"/>
                  <a:gd name="connsiteY10" fmla="*/ 0 h 240519"/>
                  <a:gd name="connsiteX11" fmla="*/ 167152 w 203394"/>
                  <a:gd name="connsiteY11" fmla="*/ 519 h 240519"/>
                  <a:gd name="connsiteX12" fmla="*/ 199080 w 203394"/>
                  <a:gd name="connsiteY12" fmla="*/ 20084 h 240519"/>
                  <a:gd name="connsiteX13" fmla="*/ 197178 w 203394"/>
                  <a:gd name="connsiteY13" fmla="*/ 57486 h 240519"/>
                  <a:gd name="connsiteX14" fmla="*/ 77480 w 203394"/>
                  <a:gd name="connsiteY14" fmla="*/ 237552 h 240519"/>
                  <a:gd name="connsiteX15" fmla="*/ 71890 w 203394"/>
                  <a:gd name="connsiteY15" fmla="*/ 240520 h 24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394" h="240519">
                    <a:moveTo>
                      <a:pt x="71890" y="240520"/>
                    </a:moveTo>
                    <a:cubicBezTo>
                      <a:pt x="70622" y="240520"/>
                      <a:pt x="69325" y="240145"/>
                      <a:pt x="68201" y="239396"/>
                    </a:cubicBezTo>
                    <a:cubicBezTo>
                      <a:pt x="65118" y="237350"/>
                      <a:pt x="64282" y="233201"/>
                      <a:pt x="66328" y="230146"/>
                    </a:cubicBezTo>
                    <a:lnTo>
                      <a:pt x="186026" y="50081"/>
                    </a:lnTo>
                    <a:cubicBezTo>
                      <a:pt x="190839" y="42848"/>
                      <a:pt x="191271" y="33973"/>
                      <a:pt x="187237" y="26308"/>
                    </a:cubicBezTo>
                    <a:cubicBezTo>
                      <a:pt x="183202" y="18643"/>
                      <a:pt x="175595" y="14004"/>
                      <a:pt x="166951" y="13889"/>
                    </a:cubicBezTo>
                    <a:lnTo>
                      <a:pt x="135542" y="13457"/>
                    </a:lnTo>
                    <a:lnTo>
                      <a:pt x="12242" y="199430"/>
                    </a:lnTo>
                    <a:cubicBezTo>
                      <a:pt x="10196" y="202484"/>
                      <a:pt x="6076" y="203348"/>
                      <a:pt x="2993" y="201303"/>
                    </a:cubicBezTo>
                    <a:cubicBezTo>
                      <a:pt x="-91" y="199257"/>
                      <a:pt x="-926" y="195136"/>
                      <a:pt x="1120" y="192053"/>
                    </a:cubicBezTo>
                    <a:lnTo>
                      <a:pt x="128454" y="0"/>
                    </a:lnTo>
                    <a:lnTo>
                      <a:pt x="167152" y="519"/>
                    </a:lnTo>
                    <a:cubicBezTo>
                      <a:pt x="180782" y="692"/>
                      <a:pt x="192711" y="8011"/>
                      <a:pt x="199080" y="20084"/>
                    </a:cubicBezTo>
                    <a:cubicBezTo>
                      <a:pt x="205448" y="32158"/>
                      <a:pt x="204727" y="46133"/>
                      <a:pt x="197178" y="57486"/>
                    </a:cubicBezTo>
                    <a:lnTo>
                      <a:pt x="77480" y="237552"/>
                    </a:lnTo>
                    <a:cubicBezTo>
                      <a:pt x="76154" y="239483"/>
                      <a:pt x="74051" y="240520"/>
                      <a:pt x="71890" y="240520"/>
                    </a:cubicBezTo>
                    <a:close/>
                  </a:path>
                </a:pathLst>
              </a:custGeom>
              <a:grpFill/>
              <a:ln w="2878" cap="flat">
                <a:noFill/>
                <a:prstDash val="solid"/>
                <a:miter/>
              </a:ln>
            </p:spPr>
            <p:txBody>
              <a:bodyPr rtlCol="0" anchor="ctr"/>
              <a:lstStyle/>
              <a:p>
                <a:endParaRPr lang="en-GB" dirty="0"/>
              </a:p>
            </p:txBody>
          </p:sp>
          <p:sp>
            <p:nvSpPr>
              <p:cNvPr id="56" name="Freihandform: Form 226">
                <a:extLst>
                  <a:ext uri="{FF2B5EF4-FFF2-40B4-BE49-F238E27FC236}">
                    <a16:creationId xmlns:a16="http://schemas.microsoft.com/office/drawing/2014/main" id="{0F58E066-A918-4753-8BE1-177C7CB9A8F4}"/>
                  </a:ext>
                </a:extLst>
              </p:cNvPr>
              <p:cNvSpPr/>
              <p:nvPr/>
            </p:nvSpPr>
            <p:spPr>
              <a:xfrm>
                <a:off x="2535185" y="2474412"/>
                <a:ext cx="203980" cy="239309"/>
              </a:xfrm>
              <a:custGeom>
                <a:avLst/>
                <a:gdLst>
                  <a:gd name="connsiteX0" fmla="*/ 130698 w 203980"/>
                  <a:gd name="connsiteY0" fmla="*/ 239310 h 239309"/>
                  <a:gd name="connsiteX1" fmla="*/ 125136 w 203980"/>
                  <a:gd name="connsiteY1" fmla="*/ 236342 h 239309"/>
                  <a:gd name="connsiteX2" fmla="*/ 6216 w 203980"/>
                  <a:gd name="connsiteY2" fmla="*/ 57457 h 239309"/>
                  <a:gd name="connsiteX3" fmla="*/ 4315 w 203980"/>
                  <a:gd name="connsiteY3" fmla="*/ 20084 h 239309"/>
                  <a:gd name="connsiteX4" fmla="*/ 36242 w 203980"/>
                  <a:gd name="connsiteY4" fmla="*/ 519 h 239309"/>
                  <a:gd name="connsiteX5" fmla="*/ 73413 w 203980"/>
                  <a:gd name="connsiteY5" fmla="*/ 0 h 239309"/>
                  <a:gd name="connsiteX6" fmla="*/ 202851 w 203980"/>
                  <a:gd name="connsiteY6" fmla="*/ 192226 h 239309"/>
                  <a:gd name="connsiteX7" fmla="*/ 201035 w 203980"/>
                  <a:gd name="connsiteY7" fmla="*/ 201504 h 239309"/>
                  <a:gd name="connsiteX8" fmla="*/ 191786 w 203980"/>
                  <a:gd name="connsiteY8" fmla="*/ 199689 h 239309"/>
                  <a:gd name="connsiteX9" fmla="*/ 66382 w 203980"/>
                  <a:gd name="connsiteY9" fmla="*/ 13457 h 239309"/>
                  <a:gd name="connsiteX10" fmla="*/ 36415 w 203980"/>
                  <a:gd name="connsiteY10" fmla="*/ 13860 h 239309"/>
                  <a:gd name="connsiteX11" fmla="*/ 16129 w 203980"/>
                  <a:gd name="connsiteY11" fmla="*/ 26279 h 239309"/>
                  <a:gd name="connsiteX12" fmla="*/ 17339 w 203980"/>
                  <a:gd name="connsiteY12" fmla="*/ 50052 h 239309"/>
                  <a:gd name="connsiteX13" fmla="*/ 136259 w 203980"/>
                  <a:gd name="connsiteY13" fmla="*/ 228936 h 239309"/>
                  <a:gd name="connsiteX14" fmla="*/ 134386 w 203980"/>
                  <a:gd name="connsiteY14" fmla="*/ 238186 h 239309"/>
                  <a:gd name="connsiteX15" fmla="*/ 130698 w 203980"/>
                  <a:gd name="connsiteY15" fmla="*/ 239310 h 239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3980" h="239309">
                    <a:moveTo>
                      <a:pt x="130698" y="239310"/>
                    </a:moveTo>
                    <a:cubicBezTo>
                      <a:pt x="128537" y="239310"/>
                      <a:pt x="126404" y="238272"/>
                      <a:pt x="125136" y="236342"/>
                    </a:cubicBezTo>
                    <a:lnTo>
                      <a:pt x="6216" y="57457"/>
                    </a:lnTo>
                    <a:cubicBezTo>
                      <a:pt x="-1333" y="46104"/>
                      <a:pt x="-2054" y="32129"/>
                      <a:pt x="4315" y="20084"/>
                    </a:cubicBezTo>
                    <a:cubicBezTo>
                      <a:pt x="10683" y="8039"/>
                      <a:pt x="22612" y="720"/>
                      <a:pt x="36242" y="519"/>
                    </a:cubicBezTo>
                    <a:lnTo>
                      <a:pt x="73413" y="0"/>
                    </a:lnTo>
                    <a:lnTo>
                      <a:pt x="202851" y="192226"/>
                    </a:lnTo>
                    <a:cubicBezTo>
                      <a:pt x="204897" y="195280"/>
                      <a:pt x="204090" y="199430"/>
                      <a:pt x="201035" y="201504"/>
                    </a:cubicBezTo>
                    <a:cubicBezTo>
                      <a:pt x="197981" y="203550"/>
                      <a:pt x="193832" y="202743"/>
                      <a:pt x="191786" y="199689"/>
                    </a:cubicBezTo>
                    <a:lnTo>
                      <a:pt x="66382" y="13457"/>
                    </a:lnTo>
                    <a:lnTo>
                      <a:pt x="36415" y="13860"/>
                    </a:lnTo>
                    <a:cubicBezTo>
                      <a:pt x="27741" y="13975"/>
                      <a:pt x="20163" y="18615"/>
                      <a:pt x="16129" y="26279"/>
                    </a:cubicBezTo>
                    <a:cubicBezTo>
                      <a:pt x="12095" y="33944"/>
                      <a:pt x="12527" y="42848"/>
                      <a:pt x="17339" y="50052"/>
                    </a:cubicBezTo>
                    <a:lnTo>
                      <a:pt x="136259" y="228936"/>
                    </a:lnTo>
                    <a:cubicBezTo>
                      <a:pt x="138305" y="232019"/>
                      <a:pt x="137469" y="236140"/>
                      <a:pt x="134386" y="238186"/>
                    </a:cubicBezTo>
                    <a:cubicBezTo>
                      <a:pt x="133233" y="238964"/>
                      <a:pt x="131966" y="239310"/>
                      <a:pt x="130698" y="239310"/>
                    </a:cubicBezTo>
                    <a:close/>
                  </a:path>
                </a:pathLst>
              </a:custGeom>
              <a:grpFill/>
              <a:ln w="2878" cap="flat">
                <a:noFill/>
                <a:prstDash val="solid"/>
                <a:miter/>
              </a:ln>
            </p:spPr>
            <p:txBody>
              <a:bodyPr rtlCol="0" anchor="ctr"/>
              <a:lstStyle/>
              <a:p>
                <a:endParaRPr lang="en-GB" dirty="0"/>
              </a:p>
            </p:txBody>
          </p:sp>
          <p:grpSp>
            <p:nvGrpSpPr>
              <p:cNvPr id="57" name="Grafik 205">
                <a:extLst>
                  <a:ext uri="{FF2B5EF4-FFF2-40B4-BE49-F238E27FC236}">
                    <a16:creationId xmlns:a16="http://schemas.microsoft.com/office/drawing/2014/main" id="{1BEC73FF-8818-4C9A-AA4F-B88E86CAC6D0}"/>
                  </a:ext>
                </a:extLst>
              </p:cNvPr>
              <p:cNvGrpSpPr/>
              <p:nvPr/>
            </p:nvGrpSpPr>
            <p:grpSpPr>
              <a:xfrm>
                <a:off x="2628163" y="2661855"/>
                <a:ext cx="253112" cy="253169"/>
                <a:chOff x="2628163" y="2661855"/>
                <a:chExt cx="253112" cy="253169"/>
              </a:xfrm>
              <a:grpFill/>
            </p:grpSpPr>
            <p:sp>
              <p:nvSpPr>
                <p:cNvPr id="60" name="Freihandform: Form 228">
                  <a:extLst>
                    <a:ext uri="{FF2B5EF4-FFF2-40B4-BE49-F238E27FC236}">
                      <a16:creationId xmlns:a16="http://schemas.microsoft.com/office/drawing/2014/main" id="{AC018813-CDD2-4477-9EFE-C43BF08188E5}"/>
                    </a:ext>
                  </a:extLst>
                </p:cNvPr>
                <p:cNvSpPr/>
                <p:nvPr/>
              </p:nvSpPr>
              <p:spPr>
                <a:xfrm>
                  <a:off x="2628163" y="2661855"/>
                  <a:ext cx="253112" cy="253169"/>
                </a:xfrm>
                <a:custGeom>
                  <a:avLst/>
                  <a:gdLst>
                    <a:gd name="connsiteX0" fmla="*/ 126556 w 253112"/>
                    <a:gd name="connsiteY0" fmla="*/ 253170 h 253169"/>
                    <a:gd name="connsiteX1" fmla="*/ 0 w 253112"/>
                    <a:gd name="connsiteY1" fmla="*/ 126585 h 253169"/>
                    <a:gd name="connsiteX2" fmla="*/ 126556 w 253112"/>
                    <a:gd name="connsiteY2" fmla="*/ 0 h 253169"/>
                    <a:gd name="connsiteX3" fmla="*/ 253112 w 253112"/>
                    <a:gd name="connsiteY3" fmla="*/ 126585 h 253169"/>
                    <a:gd name="connsiteX4" fmla="*/ 126556 w 253112"/>
                    <a:gd name="connsiteY4" fmla="*/ 253170 h 253169"/>
                    <a:gd name="connsiteX5" fmla="*/ 126556 w 253112"/>
                    <a:gd name="connsiteY5" fmla="*/ 13341 h 253169"/>
                    <a:gd name="connsiteX6" fmla="*/ 13370 w 253112"/>
                    <a:gd name="connsiteY6" fmla="*/ 126585 h 253169"/>
                    <a:gd name="connsiteX7" fmla="*/ 126556 w 253112"/>
                    <a:gd name="connsiteY7" fmla="*/ 239828 h 253169"/>
                    <a:gd name="connsiteX8" fmla="*/ 239771 w 253112"/>
                    <a:gd name="connsiteY8" fmla="*/ 126585 h 253169"/>
                    <a:gd name="connsiteX9" fmla="*/ 126556 w 253112"/>
                    <a:gd name="connsiteY9" fmla="*/ 13341 h 2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112" h="253169">
                      <a:moveTo>
                        <a:pt x="126556" y="253170"/>
                      </a:moveTo>
                      <a:cubicBezTo>
                        <a:pt x="56766" y="253170"/>
                        <a:pt x="0" y="196375"/>
                        <a:pt x="0" y="126585"/>
                      </a:cubicBezTo>
                      <a:cubicBezTo>
                        <a:pt x="0" y="56795"/>
                        <a:pt x="56766" y="0"/>
                        <a:pt x="126556" y="0"/>
                      </a:cubicBezTo>
                      <a:cubicBezTo>
                        <a:pt x="196346" y="0"/>
                        <a:pt x="253112" y="56795"/>
                        <a:pt x="253112" y="126585"/>
                      </a:cubicBezTo>
                      <a:cubicBezTo>
                        <a:pt x="253112" y="196375"/>
                        <a:pt x="196346" y="253170"/>
                        <a:pt x="126556" y="253170"/>
                      </a:cubicBezTo>
                      <a:close/>
                      <a:moveTo>
                        <a:pt x="126556" y="13341"/>
                      </a:moveTo>
                      <a:cubicBezTo>
                        <a:pt x="64143" y="13341"/>
                        <a:pt x="13370" y="64143"/>
                        <a:pt x="13370" y="126585"/>
                      </a:cubicBezTo>
                      <a:cubicBezTo>
                        <a:pt x="13370" y="189027"/>
                        <a:pt x="64143" y="239828"/>
                        <a:pt x="126556" y="239828"/>
                      </a:cubicBezTo>
                      <a:cubicBezTo>
                        <a:pt x="188970" y="239828"/>
                        <a:pt x="239771" y="189027"/>
                        <a:pt x="239771" y="126585"/>
                      </a:cubicBezTo>
                      <a:cubicBezTo>
                        <a:pt x="239771" y="64143"/>
                        <a:pt x="188999" y="13341"/>
                        <a:pt x="126556" y="13341"/>
                      </a:cubicBezTo>
                      <a:close/>
                    </a:path>
                  </a:pathLst>
                </a:custGeom>
                <a:grpFill/>
                <a:ln w="2878" cap="flat">
                  <a:noFill/>
                  <a:prstDash val="solid"/>
                  <a:miter/>
                </a:ln>
              </p:spPr>
              <p:txBody>
                <a:bodyPr rtlCol="0" anchor="ctr"/>
                <a:lstStyle/>
                <a:p>
                  <a:endParaRPr lang="en-GB" dirty="0"/>
                </a:p>
              </p:txBody>
            </p:sp>
            <p:sp>
              <p:nvSpPr>
                <p:cNvPr id="61" name="Freihandform: Form 229">
                  <a:extLst>
                    <a:ext uri="{FF2B5EF4-FFF2-40B4-BE49-F238E27FC236}">
                      <a16:creationId xmlns:a16="http://schemas.microsoft.com/office/drawing/2014/main" id="{8DAE6229-4AB6-4567-8464-07177C200F97}"/>
                    </a:ext>
                  </a:extLst>
                </p:cNvPr>
                <p:cNvSpPr/>
                <p:nvPr/>
              </p:nvSpPr>
              <p:spPr>
                <a:xfrm>
                  <a:off x="2628163" y="2661855"/>
                  <a:ext cx="253112" cy="253169"/>
                </a:xfrm>
                <a:custGeom>
                  <a:avLst/>
                  <a:gdLst>
                    <a:gd name="connsiteX0" fmla="*/ 126556 w 253112"/>
                    <a:gd name="connsiteY0" fmla="*/ 253170 h 253169"/>
                    <a:gd name="connsiteX1" fmla="*/ 0 w 253112"/>
                    <a:gd name="connsiteY1" fmla="*/ 126585 h 253169"/>
                    <a:gd name="connsiteX2" fmla="*/ 126556 w 253112"/>
                    <a:gd name="connsiteY2" fmla="*/ 0 h 253169"/>
                    <a:gd name="connsiteX3" fmla="*/ 253112 w 253112"/>
                    <a:gd name="connsiteY3" fmla="*/ 126585 h 253169"/>
                    <a:gd name="connsiteX4" fmla="*/ 126556 w 253112"/>
                    <a:gd name="connsiteY4" fmla="*/ 253170 h 253169"/>
                    <a:gd name="connsiteX5" fmla="*/ 126556 w 253112"/>
                    <a:gd name="connsiteY5" fmla="*/ 13341 h 253169"/>
                    <a:gd name="connsiteX6" fmla="*/ 13370 w 253112"/>
                    <a:gd name="connsiteY6" fmla="*/ 126585 h 253169"/>
                    <a:gd name="connsiteX7" fmla="*/ 126556 w 253112"/>
                    <a:gd name="connsiteY7" fmla="*/ 239828 h 253169"/>
                    <a:gd name="connsiteX8" fmla="*/ 239771 w 253112"/>
                    <a:gd name="connsiteY8" fmla="*/ 126585 h 253169"/>
                    <a:gd name="connsiteX9" fmla="*/ 126556 w 253112"/>
                    <a:gd name="connsiteY9" fmla="*/ 13341 h 253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3112" h="253169">
                      <a:moveTo>
                        <a:pt x="126556" y="253170"/>
                      </a:moveTo>
                      <a:cubicBezTo>
                        <a:pt x="56766" y="253170"/>
                        <a:pt x="0" y="196375"/>
                        <a:pt x="0" y="126585"/>
                      </a:cubicBezTo>
                      <a:cubicBezTo>
                        <a:pt x="0" y="56795"/>
                        <a:pt x="56766" y="0"/>
                        <a:pt x="126556" y="0"/>
                      </a:cubicBezTo>
                      <a:cubicBezTo>
                        <a:pt x="196346" y="0"/>
                        <a:pt x="253112" y="56795"/>
                        <a:pt x="253112" y="126585"/>
                      </a:cubicBezTo>
                      <a:cubicBezTo>
                        <a:pt x="253112" y="196375"/>
                        <a:pt x="196346" y="253170"/>
                        <a:pt x="126556" y="253170"/>
                      </a:cubicBezTo>
                      <a:close/>
                      <a:moveTo>
                        <a:pt x="126556" y="13341"/>
                      </a:moveTo>
                      <a:cubicBezTo>
                        <a:pt x="64143" y="13341"/>
                        <a:pt x="13370" y="64143"/>
                        <a:pt x="13370" y="126585"/>
                      </a:cubicBezTo>
                      <a:cubicBezTo>
                        <a:pt x="13370" y="189027"/>
                        <a:pt x="64143" y="239828"/>
                        <a:pt x="126556" y="239828"/>
                      </a:cubicBezTo>
                      <a:cubicBezTo>
                        <a:pt x="188970" y="239828"/>
                        <a:pt x="239771" y="189027"/>
                        <a:pt x="239771" y="126585"/>
                      </a:cubicBezTo>
                      <a:cubicBezTo>
                        <a:pt x="239771" y="64143"/>
                        <a:pt x="188999" y="13341"/>
                        <a:pt x="126556" y="13341"/>
                      </a:cubicBezTo>
                      <a:close/>
                    </a:path>
                  </a:pathLst>
                </a:custGeom>
                <a:grpFill/>
                <a:ln w="2878" cap="flat">
                  <a:noFill/>
                  <a:prstDash val="solid"/>
                  <a:miter/>
                </a:ln>
              </p:spPr>
              <p:txBody>
                <a:bodyPr rtlCol="0" anchor="ctr"/>
                <a:lstStyle/>
                <a:p>
                  <a:endParaRPr lang="en-GB" dirty="0"/>
                </a:p>
              </p:txBody>
            </p:sp>
          </p:grpSp>
          <p:sp>
            <p:nvSpPr>
              <p:cNvPr id="58" name="Freihandform: Form 230">
                <a:extLst>
                  <a:ext uri="{FF2B5EF4-FFF2-40B4-BE49-F238E27FC236}">
                    <a16:creationId xmlns:a16="http://schemas.microsoft.com/office/drawing/2014/main" id="{8BEDF88A-0DFE-4E71-A1BF-05671602B8CD}"/>
                  </a:ext>
                </a:extLst>
              </p:cNvPr>
              <p:cNvSpPr/>
              <p:nvPr/>
            </p:nvSpPr>
            <p:spPr>
              <a:xfrm>
                <a:off x="2725068" y="2510057"/>
                <a:ext cx="19306" cy="13370"/>
              </a:xfrm>
              <a:custGeom>
                <a:avLst/>
                <a:gdLst>
                  <a:gd name="connsiteX0" fmla="*/ 12621 w 19306"/>
                  <a:gd name="connsiteY0" fmla="*/ 13370 h 13370"/>
                  <a:gd name="connsiteX1" fmla="*/ 6685 w 19306"/>
                  <a:gd name="connsiteY1" fmla="*/ 13370 h 13370"/>
                  <a:gd name="connsiteX2" fmla="*/ 0 w 19306"/>
                  <a:gd name="connsiteY2" fmla="*/ 6685 h 13370"/>
                  <a:gd name="connsiteX3" fmla="*/ 6685 w 19306"/>
                  <a:gd name="connsiteY3" fmla="*/ 0 h 13370"/>
                  <a:gd name="connsiteX4" fmla="*/ 12621 w 19306"/>
                  <a:gd name="connsiteY4" fmla="*/ 0 h 13370"/>
                  <a:gd name="connsiteX5" fmla="*/ 19306 w 19306"/>
                  <a:gd name="connsiteY5" fmla="*/ 6685 h 13370"/>
                  <a:gd name="connsiteX6" fmla="*/ 12621 w 19306"/>
                  <a:gd name="connsiteY6" fmla="*/ 13370 h 1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6" h="13370">
                    <a:moveTo>
                      <a:pt x="12621" y="13370"/>
                    </a:moveTo>
                    <a:lnTo>
                      <a:pt x="6685" y="13370"/>
                    </a:lnTo>
                    <a:cubicBezTo>
                      <a:pt x="2997" y="13370"/>
                      <a:pt x="0" y="10373"/>
                      <a:pt x="0" y="6685"/>
                    </a:cubicBezTo>
                    <a:cubicBezTo>
                      <a:pt x="0" y="2997"/>
                      <a:pt x="2997" y="0"/>
                      <a:pt x="6685" y="0"/>
                    </a:cubicBezTo>
                    <a:lnTo>
                      <a:pt x="12621" y="0"/>
                    </a:lnTo>
                    <a:cubicBezTo>
                      <a:pt x="16309" y="0"/>
                      <a:pt x="19306" y="2997"/>
                      <a:pt x="19306" y="6685"/>
                    </a:cubicBezTo>
                    <a:cubicBezTo>
                      <a:pt x="19306" y="10373"/>
                      <a:pt x="16309" y="13370"/>
                      <a:pt x="12621" y="13370"/>
                    </a:cubicBezTo>
                    <a:close/>
                  </a:path>
                </a:pathLst>
              </a:custGeom>
              <a:grpFill/>
              <a:ln w="2878" cap="flat">
                <a:noFill/>
                <a:prstDash val="solid"/>
                <a:miter/>
              </a:ln>
            </p:spPr>
            <p:txBody>
              <a:bodyPr rtlCol="0" anchor="ctr"/>
              <a:lstStyle/>
              <a:p>
                <a:endParaRPr lang="en-GB" dirty="0"/>
              </a:p>
            </p:txBody>
          </p:sp>
          <p:sp>
            <p:nvSpPr>
              <p:cNvPr id="59" name="Freihandform: Form 231">
                <a:extLst>
                  <a:ext uri="{FF2B5EF4-FFF2-40B4-BE49-F238E27FC236}">
                    <a16:creationId xmlns:a16="http://schemas.microsoft.com/office/drawing/2014/main" id="{1A837EDC-DD74-4A4A-B56D-9E4CF4BB1F31}"/>
                  </a:ext>
                </a:extLst>
              </p:cNvPr>
              <p:cNvSpPr/>
              <p:nvPr/>
            </p:nvSpPr>
            <p:spPr>
              <a:xfrm>
                <a:off x="2766591" y="2510057"/>
                <a:ext cx="19305" cy="13370"/>
              </a:xfrm>
              <a:custGeom>
                <a:avLst/>
                <a:gdLst>
                  <a:gd name="connsiteX0" fmla="*/ 12621 w 19305"/>
                  <a:gd name="connsiteY0" fmla="*/ 13370 h 13370"/>
                  <a:gd name="connsiteX1" fmla="*/ 6685 w 19305"/>
                  <a:gd name="connsiteY1" fmla="*/ 13370 h 13370"/>
                  <a:gd name="connsiteX2" fmla="*/ 0 w 19305"/>
                  <a:gd name="connsiteY2" fmla="*/ 6685 h 13370"/>
                  <a:gd name="connsiteX3" fmla="*/ 6685 w 19305"/>
                  <a:gd name="connsiteY3" fmla="*/ 0 h 13370"/>
                  <a:gd name="connsiteX4" fmla="*/ 12621 w 19305"/>
                  <a:gd name="connsiteY4" fmla="*/ 0 h 13370"/>
                  <a:gd name="connsiteX5" fmla="*/ 19306 w 19305"/>
                  <a:gd name="connsiteY5" fmla="*/ 6685 h 13370"/>
                  <a:gd name="connsiteX6" fmla="*/ 12621 w 19305"/>
                  <a:gd name="connsiteY6" fmla="*/ 13370 h 1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05" h="13370">
                    <a:moveTo>
                      <a:pt x="12621" y="13370"/>
                    </a:moveTo>
                    <a:lnTo>
                      <a:pt x="6685" y="13370"/>
                    </a:lnTo>
                    <a:cubicBezTo>
                      <a:pt x="2997" y="13370"/>
                      <a:pt x="0" y="10373"/>
                      <a:pt x="0" y="6685"/>
                    </a:cubicBezTo>
                    <a:cubicBezTo>
                      <a:pt x="0" y="2997"/>
                      <a:pt x="2997" y="0"/>
                      <a:pt x="6685" y="0"/>
                    </a:cubicBezTo>
                    <a:lnTo>
                      <a:pt x="12621" y="0"/>
                    </a:lnTo>
                    <a:cubicBezTo>
                      <a:pt x="16309" y="0"/>
                      <a:pt x="19306" y="2997"/>
                      <a:pt x="19306" y="6685"/>
                    </a:cubicBezTo>
                    <a:cubicBezTo>
                      <a:pt x="19306" y="10373"/>
                      <a:pt x="16309" y="13370"/>
                      <a:pt x="12621" y="13370"/>
                    </a:cubicBezTo>
                    <a:close/>
                  </a:path>
                </a:pathLst>
              </a:custGeom>
              <a:grpFill/>
              <a:ln w="2878" cap="flat">
                <a:noFill/>
                <a:prstDash val="solid"/>
                <a:miter/>
              </a:ln>
            </p:spPr>
            <p:txBody>
              <a:bodyPr rtlCol="0" anchor="ctr"/>
              <a:lstStyle/>
              <a:p>
                <a:endParaRPr lang="en-GB" dirty="0"/>
              </a:p>
            </p:txBody>
          </p:sp>
        </p:grpSp>
        <p:sp>
          <p:nvSpPr>
            <p:cNvPr id="52" name="Freihandform: Form 232">
              <a:extLst>
                <a:ext uri="{FF2B5EF4-FFF2-40B4-BE49-F238E27FC236}">
                  <a16:creationId xmlns:a16="http://schemas.microsoft.com/office/drawing/2014/main" id="{859686CA-08DC-4B1A-920C-6EEFC14DFC1E}"/>
                </a:ext>
              </a:extLst>
            </p:cNvPr>
            <p:cNvSpPr/>
            <p:nvPr/>
          </p:nvSpPr>
          <p:spPr>
            <a:xfrm>
              <a:off x="714739" y="1819114"/>
              <a:ext cx="156050" cy="149973"/>
            </a:xfrm>
            <a:custGeom>
              <a:avLst/>
              <a:gdLst>
                <a:gd name="connsiteX0" fmla="*/ 40602 w 159161"/>
                <a:gd name="connsiteY0" fmla="*/ 152951 h 152963"/>
                <a:gd name="connsiteX1" fmla="*/ 30892 w 159161"/>
                <a:gd name="connsiteY1" fmla="*/ 149781 h 152963"/>
                <a:gd name="connsiteX2" fmla="*/ 24322 w 159161"/>
                <a:gd name="connsiteY2" fmla="*/ 133587 h 152963"/>
                <a:gd name="connsiteX3" fmla="*/ 30287 w 159161"/>
                <a:gd name="connsiteY3" fmla="*/ 98807 h 152963"/>
                <a:gd name="connsiteX4" fmla="*/ 5016 w 159161"/>
                <a:gd name="connsiteY4" fmla="*/ 74170 h 152963"/>
                <a:gd name="connsiteX5" fmla="*/ 838 w 159161"/>
                <a:gd name="connsiteY5" fmla="*/ 57198 h 152963"/>
                <a:gd name="connsiteX6" fmla="*/ 14208 w 159161"/>
                <a:gd name="connsiteY6" fmla="*/ 45931 h 152963"/>
                <a:gd name="connsiteX7" fmla="*/ 49132 w 159161"/>
                <a:gd name="connsiteY7" fmla="*/ 40860 h 152963"/>
                <a:gd name="connsiteX8" fmla="*/ 64750 w 159161"/>
                <a:gd name="connsiteY8" fmla="*/ 9221 h 152963"/>
                <a:gd name="connsiteX9" fmla="*/ 79589 w 159161"/>
                <a:gd name="connsiteY9" fmla="*/ 0 h 152963"/>
                <a:gd name="connsiteX10" fmla="*/ 94429 w 159161"/>
                <a:gd name="connsiteY10" fmla="*/ 9221 h 152963"/>
                <a:gd name="connsiteX11" fmla="*/ 110047 w 159161"/>
                <a:gd name="connsiteY11" fmla="*/ 40860 h 152963"/>
                <a:gd name="connsiteX12" fmla="*/ 144971 w 159161"/>
                <a:gd name="connsiteY12" fmla="*/ 45931 h 152963"/>
                <a:gd name="connsiteX13" fmla="*/ 158341 w 159161"/>
                <a:gd name="connsiteY13" fmla="*/ 57198 h 152963"/>
                <a:gd name="connsiteX14" fmla="*/ 154163 w 159161"/>
                <a:gd name="connsiteY14" fmla="*/ 74170 h 152963"/>
                <a:gd name="connsiteX15" fmla="*/ 128892 w 159161"/>
                <a:gd name="connsiteY15" fmla="*/ 98807 h 152963"/>
                <a:gd name="connsiteX16" fmla="*/ 134857 w 159161"/>
                <a:gd name="connsiteY16" fmla="*/ 133587 h 152963"/>
                <a:gd name="connsiteX17" fmla="*/ 128287 w 159161"/>
                <a:gd name="connsiteY17" fmla="*/ 149781 h 152963"/>
                <a:gd name="connsiteX18" fmla="*/ 110854 w 159161"/>
                <a:gd name="connsiteY18" fmla="*/ 151049 h 152963"/>
                <a:gd name="connsiteX19" fmla="*/ 79618 w 159161"/>
                <a:gd name="connsiteY19" fmla="*/ 134624 h 152963"/>
                <a:gd name="connsiteX20" fmla="*/ 48383 w 159161"/>
                <a:gd name="connsiteY20" fmla="*/ 151049 h 152963"/>
                <a:gd name="connsiteX21" fmla="*/ 40602 w 159161"/>
                <a:gd name="connsiteY21" fmla="*/ 152951 h 152963"/>
                <a:gd name="connsiteX22" fmla="*/ 79561 w 159161"/>
                <a:gd name="connsiteY22" fmla="*/ 13313 h 152963"/>
                <a:gd name="connsiteX23" fmla="*/ 76679 w 159161"/>
                <a:gd name="connsiteY23" fmla="*/ 15099 h 152963"/>
                <a:gd name="connsiteX24" fmla="*/ 59505 w 159161"/>
                <a:gd name="connsiteY24" fmla="*/ 49879 h 152963"/>
                <a:gd name="connsiteX25" fmla="*/ 54491 w 159161"/>
                <a:gd name="connsiteY25" fmla="*/ 53538 h 152963"/>
                <a:gd name="connsiteX26" fmla="*/ 16081 w 159161"/>
                <a:gd name="connsiteY26" fmla="*/ 59129 h 152963"/>
                <a:gd name="connsiteX27" fmla="*/ 13487 w 159161"/>
                <a:gd name="connsiteY27" fmla="*/ 61319 h 152963"/>
                <a:gd name="connsiteX28" fmla="*/ 14294 w 159161"/>
                <a:gd name="connsiteY28" fmla="*/ 64603 h 152963"/>
                <a:gd name="connsiteX29" fmla="*/ 42072 w 159161"/>
                <a:gd name="connsiteY29" fmla="*/ 91690 h 152963"/>
                <a:gd name="connsiteX30" fmla="*/ 44003 w 159161"/>
                <a:gd name="connsiteY30" fmla="*/ 97597 h 152963"/>
                <a:gd name="connsiteX31" fmla="*/ 37433 w 159161"/>
                <a:gd name="connsiteY31" fmla="*/ 135835 h 152963"/>
                <a:gd name="connsiteX32" fmla="*/ 38701 w 159161"/>
                <a:gd name="connsiteY32" fmla="*/ 138975 h 152963"/>
                <a:gd name="connsiteX33" fmla="*/ 42072 w 159161"/>
                <a:gd name="connsiteY33" fmla="*/ 139235 h 152963"/>
                <a:gd name="connsiteX34" fmla="*/ 76420 w 159161"/>
                <a:gd name="connsiteY34" fmla="*/ 121168 h 152963"/>
                <a:gd name="connsiteX35" fmla="*/ 82615 w 159161"/>
                <a:gd name="connsiteY35" fmla="*/ 121168 h 152963"/>
                <a:gd name="connsiteX36" fmla="*/ 116963 w 159161"/>
                <a:gd name="connsiteY36" fmla="*/ 139235 h 152963"/>
                <a:gd name="connsiteX37" fmla="*/ 120334 w 159161"/>
                <a:gd name="connsiteY37" fmla="*/ 139004 h 152963"/>
                <a:gd name="connsiteX38" fmla="*/ 121602 w 159161"/>
                <a:gd name="connsiteY38" fmla="*/ 135863 h 152963"/>
                <a:gd name="connsiteX39" fmla="*/ 115032 w 159161"/>
                <a:gd name="connsiteY39" fmla="*/ 97626 h 152963"/>
                <a:gd name="connsiteX40" fmla="*/ 116963 w 159161"/>
                <a:gd name="connsiteY40" fmla="*/ 91719 h 152963"/>
                <a:gd name="connsiteX41" fmla="*/ 144740 w 159161"/>
                <a:gd name="connsiteY41" fmla="*/ 64632 h 152963"/>
                <a:gd name="connsiteX42" fmla="*/ 145547 w 159161"/>
                <a:gd name="connsiteY42" fmla="*/ 61347 h 152963"/>
                <a:gd name="connsiteX43" fmla="*/ 142954 w 159161"/>
                <a:gd name="connsiteY43" fmla="*/ 59157 h 152963"/>
                <a:gd name="connsiteX44" fmla="*/ 104543 w 159161"/>
                <a:gd name="connsiteY44" fmla="*/ 53567 h 152963"/>
                <a:gd name="connsiteX45" fmla="*/ 99529 w 159161"/>
                <a:gd name="connsiteY45" fmla="*/ 49908 h 152963"/>
                <a:gd name="connsiteX46" fmla="*/ 82356 w 159161"/>
                <a:gd name="connsiteY46" fmla="*/ 15128 h 152963"/>
                <a:gd name="connsiteX47" fmla="*/ 82356 w 159161"/>
                <a:gd name="connsiteY47" fmla="*/ 15128 h 152963"/>
                <a:gd name="connsiteX48" fmla="*/ 79561 w 159161"/>
                <a:gd name="connsiteY48" fmla="*/ 13313 h 152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59161" h="152963">
                  <a:moveTo>
                    <a:pt x="40602" y="152951"/>
                  </a:moveTo>
                  <a:cubicBezTo>
                    <a:pt x="37173" y="152951"/>
                    <a:pt x="33802" y="151885"/>
                    <a:pt x="30892" y="149781"/>
                  </a:cubicBezTo>
                  <a:cubicBezTo>
                    <a:pt x="25763" y="146035"/>
                    <a:pt x="23227" y="139840"/>
                    <a:pt x="24322" y="133587"/>
                  </a:cubicBezTo>
                  <a:lnTo>
                    <a:pt x="30287" y="98807"/>
                  </a:lnTo>
                  <a:lnTo>
                    <a:pt x="5016" y="74170"/>
                  </a:lnTo>
                  <a:cubicBezTo>
                    <a:pt x="463" y="69733"/>
                    <a:pt x="-1151" y="63249"/>
                    <a:pt x="838" y="57198"/>
                  </a:cubicBezTo>
                  <a:cubicBezTo>
                    <a:pt x="2797" y="51147"/>
                    <a:pt x="7926" y="46825"/>
                    <a:pt x="14208" y="45931"/>
                  </a:cubicBezTo>
                  <a:lnTo>
                    <a:pt x="49132" y="40860"/>
                  </a:lnTo>
                  <a:lnTo>
                    <a:pt x="64750" y="9221"/>
                  </a:lnTo>
                  <a:cubicBezTo>
                    <a:pt x="67545" y="3515"/>
                    <a:pt x="73250" y="0"/>
                    <a:pt x="79589" y="0"/>
                  </a:cubicBezTo>
                  <a:cubicBezTo>
                    <a:pt x="85929" y="0"/>
                    <a:pt x="91634" y="3544"/>
                    <a:pt x="94429" y="9221"/>
                  </a:cubicBezTo>
                  <a:lnTo>
                    <a:pt x="110047" y="40860"/>
                  </a:lnTo>
                  <a:lnTo>
                    <a:pt x="144971" y="45931"/>
                  </a:lnTo>
                  <a:cubicBezTo>
                    <a:pt x="151252" y="46853"/>
                    <a:pt x="156382" y="51176"/>
                    <a:pt x="158341" y="57198"/>
                  </a:cubicBezTo>
                  <a:cubicBezTo>
                    <a:pt x="160300" y="63249"/>
                    <a:pt x="158687" y="69733"/>
                    <a:pt x="154163" y="74170"/>
                  </a:cubicBezTo>
                  <a:lnTo>
                    <a:pt x="128892" y="98807"/>
                  </a:lnTo>
                  <a:lnTo>
                    <a:pt x="134857" y="133587"/>
                  </a:lnTo>
                  <a:cubicBezTo>
                    <a:pt x="135923" y="139840"/>
                    <a:pt x="133416" y="146035"/>
                    <a:pt x="128287" y="149781"/>
                  </a:cubicBezTo>
                  <a:cubicBezTo>
                    <a:pt x="123158" y="153527"/>
                    <a:pt x="116444" y="153988"/>
                    <a:pt x="110854" y="151049"/>
                  </a:cubicBezTo>
                  <a:lnTo>
                    <a:pt x="79618" y="134624"/>
                  </a:lnTo>
                  <a:lnTo>
                    <a:pt x="48383" y="151049"/>
                  </a:lnTo>
                  <a:cubicBezTo>
                    <a:pt x="45876" y="152317"/>
                    <a:pt x="43225" y="152951"/>
                    <a:pt x="40602" y="152951"/>
                  </a:cubicBezTo>
                  <a:close/>
                  <a:moveTo>
                    <a:pt x="79561" y="13313"/>
                  </a:moveTo>
                  <a:cubicBezTo>
                    <a:pt x="78955" y="13313"/>
                    <a:pt x="77486" y="13485"/>
                    <a:pt x="76679" y="15099"/>
                  </a:cubicBezTo>
                  <a:lnTo>
                    <a:pt x="59505" y="49879"/>
                  </a:lnTo>
                  <a:cubicBezTo>
                    <a:pt x="58525" y="51838"/>
                    <a:pt x="56653" y="53222"/>
                    <a:pt x="54491" y="53538"/>
                  </a:cubicBezTo>
                  <a:lnTo>
                    <a:pt x="16081" y="59129"/>
                  </a:lnTo>
                  <a:cubicBezTo>
                    <a:pt x="14294" y="59388"/>
                    <a:pt x="13689" y="60742"/>
                    <a:pt x="13487" y="61319"/>
                  </a:cubicBezTo>
                  <a:cubicBezTo>
                    <a:pt x="13314" y="61895"/>
                    <a:pt x="12998" y="63336"/>
                    <a:pt x="14294" y="64603"/>
                  </a:cubicBezTo>
                  <a:lnTo>
                    <a:pt x="42072" y="91690"/>
                  </a:lnTo>
                  <a:cubicBezTo>
                    <a:pt x="43657" y="93217"/>
                    <a:pt x="44348" y="95436"/>
                    <a:pt x="44003" y="97597"/>
                  </a:cubicBezTo>
                  <a:lnTo>
                    <a:pt x="37433" y="135835"/>
                  </a:lnTo>
                  <a:cubicBezTo>
                    <a:pt x="37116" y="137621"/>
                    <a:pt x="38240" y="138630"/>
                    <a:pt x="38701" y="138975"/>
                  </a:cubicBezTo>
                  <a:cubicBezTo>
                    <a:pt x="39191" y="139321"/>
                    <a:pt x="40487" y="140042"/>
                    <a:pt x="42072" y="139235"/>
                  </a:cubicBezTo>
                  <a:lnTo>
                    <a:pt x="76420" y="121168"/>
                  </a:lnTo>
                  <a:cubicBezTo>
                    <a:pt x="78350" y="120130"/>
                    <a:pt x="80684" y="120130"/>
                    <a:pt x="82615" y="121168"/>
                  </a:cubicBezTo>
                  <a:lnTo>
                    <a:pt x="116963" y="139235"/>
                  </a:lnTo>
                  <a:cubicBezTo>
                    <a:pt x="118547" y="140070"/>
                    <a:pt x="119844" y="139350"/>
                    <a:pt x="120334" y="139004"/>
                  </a:cubicBezTo>
                  <a:cubicBezTo>
                    <a:pt x="120824" y="138658"/>
                    <a:pt x="121919" y="137650"/>
                    <a:pt x="121602" y="135863"/>
                  </a:cubicBezTo>
                  <a:lnTo>
                    <a:pt x="115032" y="97626"/>
                  </a:lnTo>
                  <a:cubicBezTo>
                    <a:pt x="114657" y="95465"/>
                    <a:pt x="115378" y="93246"/>
                    <a:pt x="116963" y="91719"/>
                  </a:cubicBezTo>
                  <a:lnTo>
                    <a:pt x="144740" y="64632"/>
                  </a:lnTo>
                  <a:cubicBezTo>
                    <a:pt x="146037" y="63364"/>
                    <a:pt x="145749" y="61924"/>
                    <a:pt x="145547" y="61347"/>
                  </a:cubicBezTo>
                  <a:cubicBezTo>
                    <a:pt x="145345" y="60771"/>
                    <a:pt x="144740" y="59417"/>
                    <a:pt x="142954" y="59157"/>
                  </a:cubicBezTo>
                  <a:lnTo>
                    <a:pt x="104543" y="53567"/>
                  </a:lnTo>
                  <a:cubicBezTo>
                    <a:pt x="102353" y="53250"/>
                    <a:pt x="100480" y="51896"/>
                    <a:pt x="99529" y="49908"/>
                  </a:cubicBezTo>
                  <a:lnTo>
                    <a:pt x="82356" y="15128"/>
                  </a:lnTo>
                  <a:lnTo>
                    <a:pt x="82356" y="15128"/>
                  </a:lnTo>
                  <a:cubicBezTo>
                    <a:pt x="81635" y="13485"/>
                    <a:pt x="80166" y="13313"/>
                    <a:pt x="79561" y="13313"/>
                  </a:cubicBezTo>
                  <a:close/>
                </a:path>
              </a:pathLst>
            </a:custGeom>
            <a:solidFill>
              <a:schemeClr val="accent1"/>
            </a:solidFill>
            <a:ln w="2878" cap="flat">
              <a:noFill/>
              <a:prstDash val="solid"/>
              <a:miter/>
            </a:ln>
          </p:spPr>
          <p:txBody>
            <a:bodyPr rtlCol="0" anchor="ctr"/>
            <a:lstStyle/>
            <a:p>
              <a:endParaRPr lang="en-GB" dirty="0"/>
            </a:p>
          </p:txBody>
        </p:sp>
      </p:grpSp>
      <p:grpSp>
        <p:nvGrpSpPr>
          <p:cNvPr id="39" name="Group 38">
            <a:extLst>
              <a:ext uri="{FF2B5EF4-FFF2-40B4-BE49-F238E27FC236}">
                <a16:creationId xmlns:a16="http://schemas.microsoft.com/office/drawing/2014/main" id="{41F781E5-9A79-035A-0F5F-47037E5C3ED7}"/>
              </a:ext>
            </a:extLst>
          </p:cNvPr>
          <p:cNvGrpSpPr/>
          <p:nvPr/>
        </p:nvGrpSpPr>
        <p:grpSpPr>
          <a:xfrm>
            <a:off x="2678857" y="1585982"/>
            <a:ext cx="412133" cy="432000"/>
            <a:chOff x="2678857" y="1585982"/>
            <a:chExt cx="412133" cy="432000"/>
          </a:xfrm>
        </p:grpSpPr>
        <p:grpSp>
          <p:nvGrpSpPr>
            <p:cNvPr id="75" name="Group 74">
              <a:extLst>
                <a:ext uri="{FF2B5EF4-FFF2-40B4-BE49-F238E27FC236}">
                  <a16:creationId xmlns:a16="http://schemas.microsoft.com/office/drawing/2014/main" id="{B5E28F19-D3F2-4986-82BE-D6686C9DEF37}"/>
                </a:ext>
              </a:extLst>
            </p:cNvPr>
            <p:cNvGrpSpPr/>
            <p:nvPr/>
          </p:nvGrpSpPr>
          <p:grpSpPr>
            <a:xfrm>
              <a:off x="2678857" y="1585982"/>
              <a:ext cx="412133" cy="432000"/>
              <a:chOff x="3440462" y="4236660"/>
              <a:chExt cx="312010" cy="327051"/>
            </a:xfrm>
            <a:solidFill>
              <a:schemeClr val="tx2"/>
            </a:solidFill>
          </p:grpSpPr>
          <p:sp>
            <p:nvSpPr>
              <p:cNvPr id="82" name="Freihandform: Form 235">
                <a:extLst>
                  <a:ext uri="{FF2B5EF4-FFF2-40B4-BE49-F238E27FC236}">
                    <a16:creationId xmlns:a16="http://schemas.microsoft.com/office/drawing/2014/main" id="{7414A717-C82D-42F1-8F46-ACAF21C13A98}"/>
                  </a:ext>
                </a:extLst>
              </p:cNvPr>
              <p:cNvSpPr/>
              <p:nvPr/>
            </p:nvSpPr>
            <p:spPr>
              <a:xfrm>
                <a:off x="3449683" y="4283359"/>
                <a:ext cx="293654" cy="280352"/>
              </a:xfrm>
              <a:custGeom>
                <a:avLst/>
                <a:gdLst>
                  <a:gd name="connsiteX0" fmla="*/ 146842 w 293654"/>
                  <a:gd name="connsiteY0" fmla="*/ 280353 h 280352"/>
                  <a:gd name="connsiteX1" fmla="*/ 0 w 293654"/>
                  <a:gd name="connsiteY1" fmla="*/ 133511 h 280352"/>
                  <a:gd name="connsiteX2" fmla="*/ 83910 w 293654"/>
                  <a:gd name="connsiteY2" fmla="*/ 788 h 280352"/>
                  <a:gd name="connsiteX3" fmla="*/ 92813 w 293654"/>
                  <a:gd name="connsiteY3" fmla="*/ 3958 h 280352"/>
                  <a:gd name="connsiteX4" fmla="*/ 89644 w 293654"/>
                  <a:gd name="connsiteY4" fmla="*/ 12862 h 280352"/>
                  <a:gd name="connsiteX5" fmla="*/ 13341 w 293654"/>
                  <a:gd name="connsiteY5" fmla="*/ 133511 h 280352"/>
                  <a:gd name="connsiteX6" fmla="*/ 146842 w 293654"/>
                  <a:gd name="connsiteY6" fmla="*/ 267012 h 280352"/>
                  <a:gd name="connsiteX7" fmla="*/ 280342 w 293654"/>
                  <a:gd name="connsiteY7" fmla="*/ 133511 h 280352"/>
                  <a:gd name="connsiteX8" fmla="*/ 203752 w 293654"/>
                  <a:gd name="connsiteY8" fmla="*/ 12718 h 280352"/>
                  <a:gd name="connsiteX9" fmla="*/ 200553 w 293654"/>
                  <a:gd name="connsiteY9" fmla="*/ 3843 h 280352"/>
                  <a:gd name="connsiteX10" fmla="*/ 209428 w 293654"/>
                  <a:gd name="connsiteY10" fmla="*/ 644 h 280352"/>
                  <a:gd name="connsiteX11" fmla="*/ 293655 w 293654"/>
                  <a:gd name="connsiteY11" fmla="*/ 133511 h 280352"/>
                  <a:gd name="connsiteX12" fmla="*/ 146842 w 293654"/>
                  <a:gd name="connsiteY12" fmla="*/ 280353 h 28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3654" h="280352">
                    <a:moveTo>
                      <a:pt x="146842" y="280353"/>
                    </a:moveTo>
                    <a:cubicBezTo>
                      <a:pt x="65871" y="280353"/>
                      <a:pt x="0" y="214482"/>
                      <a:pt x="0" y="133511"/>
                    </a:cubicBezTo>
                    <a:cubicBezTo>
                      <a:pt x="0" y="77091"/>
                      <a:pt x="32936" y="24993"/>
                      <a:pt x="83910" y="788"/>
                    </a:cubicBezTo>
                    <a:cubicBezTo>
                      <a:pt x="87252" y="-796"/>
                      <a:pt x="91229" y="616"/>
                      <a:pt x="92813" y="3958"/>
                    </a:cubicBezTo>
                    <a:cubicBezTo>
                      <a:pt x="94398" y="7301"/>
                      <a:pt x="92986" y="11277"/>
                      <a:pt x="89644" y="12862"/>
                    </a:cubicBezTo>
                    <a:cubicBezTo>
                      <a:pt x="43309" y="34877"/>
                      <a:pt x="13341" y="82249"/>
                      <a:pt x="13341" y="133511"/>
                    </a:cubicBezTo>
                    <a:cubicBezTo>
                      <a:pt x="13341" y="207134"/>
                      <a:pt x="73219" y="267012"/>
                      <a:pt x="146842" y="267012"/>
                    </a:cubicBezTo>
                    <a:cubicBezTo>
                      <a:pt x="220464" y="267012"/>
                      <a:pt x="280342" y="207134"/>
                      <a:pt x="280342" y="133511"/>
                    </a:cubicBezTo>
                    <a:cubicBezTo>
                      <a:pt x="280342" y="82076"/>
                      <a:pt x="250288" y="34675"/>
                      <a:pt x="203752" y="12718"/>
                    </a:cubicBezTo>
                    <a:cubicBezTo>
                      <a:pt x="200409" y="11133"/>
                      <a:pt x="198997" y="7157"/>
                      <a:pt x="200553" y="3843"/>
                    </a:cubicBezTo>
                    <a:cubicBezTo>
                      <a:pt x="202138" y="500"/>
                      <a:pt x="206115" y="-940"/>
                      <a:pt x="209428" y="644"/>
                    </a:cubicBezTo>
                    <a:cubicBezTo>
                      <a:pt x="260604" y="24792"/>
                      <a:pt x="293655" y="76947"/>
                      <a:pt x="293655" y="133511"/>
                    </a:cubicBezTo>
                    <a:cubicBezTo>
                      <a:pt x="293684" y="214482"/>
                      <a:pt x="227812" y="280353"/>
                      <a:pt x="146842" y="280353"/>
                    </a:cubicBezTo>
                    <a:close/>
                  </a:path>
                </a:pathLst>
              </a:custGeom>
              <a:grpFill/>
              <a:ln w="2878" cap="flat">
                <a:noFill/>
                <a:prstDash val="solid"/>
                <a:miter/>
              </a:ln>
            </p:spPr>
            <p:txBody>
              <a:bodyPr rtlCol="0" anchor="ctr"/>
              <a:lstStyle/>
              <a:p>
                <a:endParaRPr lang="en-GB" dirty="0"/>
              </a:p>
            </p:txBody>
          </p:sp>
          <p:sp>
            <p:nvSpPr>
              <p:cNvPr id="83" name="Freihandform: Form 236">
                <a:extLst>
                  <a:ext uri="{FF2B5EF4-FFF2-40B4-BE49-F238E27FC236}">
                    <a16:creationId xmlns:a16="http://schemas.microsoft.com/office/drawing/2014/main" id="{FC7E2B37-5C40-48C7-93AD-7C602FCB5921}"/>
                  </a:ext>
                </a:extLst>
              </p:cNvPr>
              <p:cNvSpPr/>
              <p:nvPr/>
            </p:nvSpPr>
            <p:spPr>
              <a:xfrm>
                <a:off x="3483050" y="4303396"/>
                <a:ext cx="226948" cy="226947"/>
              </a:xfrm>
              <a:custGeom>
                <a:avLst/>
                <a:gdLst>
                  <a:gd name="connsiteX0" fmla="*/ 113474 w 226948"/>
                  <a:gd name="connsiteY0" fmla="*/ 226948 h 226947"/>
                  <a:gd name="connsiteX1" fmla="*/ 0 w 226948"/>
                  <a:gd name="connsiteY1" fmla="*/ 113474 h 226947"/>
                  <a:gd name="connsiteX2" fmla="*/ 113474 w 226948"/>
                  <a:gd name="connsiteY2" fmla="*/ 0 h 226947"/>
                  <a:gd name="connsiteX3" fmla="*/ 226948 w 226948"/>
                  <a:gd name="connsiteY3" fmla="*/ 113474 h 226947"/>
                  <a:gd name="connsiteX4" fmla="*/ 113474 w 226948"/>
                  <a:gd name="connsiteY4" fmla="*/ 226948 h 226947"/>
                  <a:gd name="connsiteX5" fmla="*/ 113474 w 226948"/>
                  <a:gd name="connsiteY5" fmla="*/ 13370 h 226947"/>
                  <a:gd name="connsiteX6" fmla="*/ 13341 w 226948"/>
                  <a:gd name="connsiteY6" fmla="*/ 113503 h 226947"/>
                  <a:gd name="connsiteX7" fmla="*/ 113474 w 226948"/>
                  <a:gd name="connsiteY7" fmla="*/ 213635 h 226947"/>
                  <a:gd name="connsiteX8" fmla="*/ 213607 w 226948"/>
                  <a:gd name="connsiteY8" fmla="*/ 113503 h 226947"/>
                  <a:gd name="connsiteX9" fmla="*/ 113474 w 226948"/>
                  <a:gd name="connsiteY9" fmla="*/ 13370 h 226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948" h="226947">
                    <a:moveTo>
                      <a:pt x="113474" y="226948"/>
                    </a:moveTo>
                    <a:cubicBezTo>
                      <a:pt x="50916" y="226948"/>
                      <a:pt x="0" y="176032"/>
                      <a:pt x="0" y="113474"/>
                    </a:cubicBezTo>
                    <a:cubicBezTo>
                      <a:pt x="0" y="50916"/>
                      <a:pt x="50916" y="0"/>
                      <a:pt x="113474" y="0"/>
                    </a:cubicBezTo>
                    <a:cubicBezTo>
                      <a:pt x="176032" y="0"/>
                      <a:pt x="226948" y="50916"/>
                      <a:pt x="226948" y="113474"/>
                    </a:cubicBezTo>
                    <a:cubicBezTo>
                      <a:pt x="226948" y="176032"/>
                      <a:pt x="176032" y="226948"/>
                      <a:pt x="113474" y="226948"/>
                    </a:cubicBezTo>
                    <a:close/>
                    <a:moveTo>
                      <a:pt x="113474" y="13370"/>
                    </a:moveTo>
                    <a:cubicBezTo>
                      <a:pt x="58264" y="13370"/>
                      <a:pt x="13341" y="58293"/>
                      <a:pt x="13341" y="113503"/>
                    </a:cubicBezTo>
                    <a:cubicBezTo>
                      <a:pt x="13341" y="168713"/>
                      <a:pt x="58264" y="213635"/>
                      <a:pt x="113474" y="213635"/>
                    </a:cubicBezTo>
                    <a:cubicBezTo>
                      <a:pt x="168684" y="213635"/>
                      <a:pt x="213607" y="168713"/>
                      <a:pt x="213607" y="113503"/>
                    </a:cubicBezTo>
                    <a:cubicBezTo>
                      <a:pt x="213607" y="58293"/>
                      <a:pt x="168684" y="13370"/>
                      <a:pt x="113474" y="13370"/>
                    </a:cubicBezTo>
                    <a:close/>
                  </a:path>
                </a:pathLst>
              </a:custGeom>
              <a:grpFill/>
              <a:ln w="2878" cap="flat">
                <a:noFill/>
                <a:prstDash val="solid"/>
                <a:miter/>
              </a:ln>
            </p:spPr>
            <p:txBody>
              <a:bodyPr rtlCol="0" anchor="ctr"/>
              <a:lstStyle/>
              <a:p>
                <a:endParaRPr lang="en-GB" dirty="0"/>
              </a:p>
            </p:txBody>
          </p:sp>
          <p:sp>
            <p:nvSpPr>
              <p:cNvPr id="84" name="Freihandform: Form 237">
                <a:extLst>
                  <a:ext uri="{FF2B5EF4-FFF2-40B4-BE49-F238E27FC236}">
                    <a16:creationId xmlns:a16="http://schemas.microsoft.com/office/drawing/2014/main" id="{53E7F8EF-E822-4681-BD92-1267E4AE8565}"/>
                  </a:ext>
                </a:extLst>
              </p:cNvPr>
              <p:cNvSpPr/>
              <p:nvPr/>
            </p:nvSpPr>
            <p:spPr>
              <a:xfrm>
                <a:off x="3556472" y="4236660"/>
                <a:ext cx="80077" cy="46709"/>
              </a:xfrm>
              <a:custGeom>
                <a:avLst/>
                <a:gdLst>
                  <a:gd name="connsiteX0" fmla="*/ 66736 w 80077"/>
                  <a:gd name="connsiteY0" fmla="*/ 46709 h 46709"/>
                  <a:gd name="connsiteX1" fmla="*/ 13341 w 80077"/>
                  <a:gd name="connsiteY1" fmla="*/ 46709 h 46709"/>
                  <a:gd name="connsiteX2" fmla="*/ 0 w 80077"/>
                  <a:gd name="connsiteY2" fmla="*/ 33368 h 46709"/>
                  <a:gd name="connsiteX3" fmla="*/ 0 w 80077"/>
                  <a:gd name="connsiteY3" fmla="*/ 13341 h 46709"/>
                  <a:gd name="connsiteX4" fmla="*/ 13341 w 80077"/>
                  <a:gd name="connsiteY4" fmla="*/ 0 h 46709"/>
                  <a:gd name="connsiteX5" fmla="*/ 66736 w 80077"/>
                  <a:gd name="connsiteY5" fmla="*/ 0 h 46709"/>
                  <a:gd name="connsiteX6" fmla="*/ 80077 w 80077"/>
                  <a:gd name="connsiteY6" fmla="*/ 13341 h 46709"/>
                  <a:gd name="connsiteX7" fmla="*/ 80077 w 80077"/>
                  <a:gd name="connsiteY7" fmla="*/ 33368 h 46709"/>
                  <a:gd name="connsiteX8" fmla="*/ 66736 w 80077"/>
                  <a:gd name="connsiteY8" fmla="*/ 46709 h 46709"/>
                  <a:gd name="connsiteX9" fmla="*/ 13341 w 80077"/>
                  <a:gd name="connsiteY9" fmla="*/ 13341 h 46709"/>
                  <a:gd name="connsiteX10" fmla="*/ 13341 w 80077"/>
                  <a:gd name="connsiteY10" fmla="*/ 33368 h 46709"/>
                  <a:gd name="connsiteX11" fmla="*/ 66736 w 80077"/>
                  <a:gd name="connsiteY11" fmla="*/ 33368 h 46709"/>
                  <a:gd name="connsiteX12" fmla="*/ 66736 w 80077"/>
                  <a:gd name="connsiteY12" fmla="*/ 13341 h 46709"/>
                  <a:gd name="connsiteX13" fmla="*/ 13341 w 80077"/>
                  <a:gd name="connsiteY13" fmla="*/ 13341 h 46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077" h="46709">
                    <a:moveTo>
                      <a:pt x="66736" y="46709"/>
                    </a:moveTo>
                    <a:lnTo>
                      <a:pt x="13341" y="46709"/>
                    </a:lnTo>
                    <a:cubicBezTo>
                      <a:pt x="5993" y="46709"/>
                      <a:pt x="0" y="40716"/>
                      <a:pt x="0" y="33368"/>
                    </a:cubicBezTo>
                    <a:lnTo>
                      <a:pt x="0" y="13341"/>
                    </a:lnTo>
                    <a:cubicBezTo>
                      <a:pt x="0" y="5994"/>
                      <a:pt x="5993" y="0"/>
                      <a:pt x="13341" y="0"/>
                    </a:cubicBezTo>
                    <a:lnTo>
                      <a:pt x="66736" y="0"/>
                    </a:lnTo>
                    <a:cubicBezTo>
                      <a:pt x="74084" y="0"/>
                      <a:pt x="80077" y="5994"/>
                      <a:pt x="80077" y="13341"/>
                    </a:cubicBezTo>
                    <a:lnTo>
                      <a:pt x="80077" y="33368"/>
                    </a:lnTo>
                    <a:cubicBezTo>
                      <a:pt x="80106" y="40716"/>
                      <a:pt x="74112" y="46709"/>
                      <a:pt x="66736" y="46709"/>
                    </a:cubicBezTo>
                    <a:close/>
                    <a:moveTo>
                      <a:pt x="13341" y="13341"/>
                    </a:moveTo>
                    <a:lnTo>
                      <a:pt x="13341" y="33368"/>
                    </a:lnTo>
                    <a:lnTo>
                      <a:pt x="66736" y="33368"/>
                    </a:lnTo>
                    <a:lnTo>
                      <a:pt x="66736" y="13341"/>
                    </a:lnTo>
                    <a:lnTo>
                      <a:pt x="13341" y="13341"/>
                    </a:lnTo>
                    <a:close/>
                  </a:path>
                </a:pathLst>
              </a:custGeom>
              <a:grpFill/>
              <a:ln w="2878" cap="flat">
                <a:noFill/>
                <a:prstDash val="solid"/>
                <a:miter/>
              </a:ln>
            </p:spPr>
            <p:txBody>
              <a:bodyPr rtlCol="0" anchor="ctr"/>
              <a:lstStyle/>
              <a:p>
                <a:endParaRPr lang="en-GB" dirty="0"/>
              </a:p>
            </p:txBody>
          </p:sp>
          <p:sp>
            <p:nvSpPr>
              <p:cNvPr id="85" name="Freihandform: Form 238">
                <a:extLst>
                  <a:ext uri="{FF2B5EF4-FFF2-40B4-BE49-F238E27FC236}">
                    <a16:creationId xmlns:a16="http://schemas.microsoft.com/office/drawing/2014/main" id="{87BA737F-1220-45CE-9076-13E74F59C102}"/>
                  </a:ext>
                </a:extLst>
              </p:cNvPr>
              <p:cNvSpPr/>
              <p:nvPr/>
            </p:nvSpPr>
            <p:spPr>
              <a:xfrm>
                <a:off x="3576469" y="4270028"/>
                <a:ext cx="40081" cy="46738"/>
              </a:xfrm>
              <a:custGeom>
                <a:avLst/>
                <a:gdLst>
                  <a:gd name="connsiteX0" fmla="*/ 33397 w 40081"/>
                  <a:gd name="connsiteY0" fmla="*/ 46738 h 46738"/>
                  <a:gd name="connsiteX1" fmla="*/ 6685 w 40081"/>
                  <a:gd name="connsiteY1" fmla="*/ 46738 h 46738"/>
                  <a:gd name="connsiteX2" fmla="*/ 0 w 40081"/>
                  <a:gd name="connsiteY2" fmla="*/ 40053 h 46738"/>
                  <a:gd name="connsiteX3" fmla="*/ 0 w 40081"/>
                  <a:gd name="connsiteY3" fmla="*/ 6685 h 46738"/>
                  <a:gd name="connsiteX4" fmla="*/ 6685 w 40081"/>
                  <a:gd name="connsiteY4" fmla="*/ 0 h 46738"/>
                  <a:gd name="connsiteX5" fmla="*/ 33397 w 40081"/>
                  <a:gd name="connsiteY5" fmla="*/ 0 h 46738"/>
                  <a:gd name="connsiteX6" fmla="*/ 40082 w 40081"/>
                  <a:gd name="connsiteY6" fmla="*/ 6685 h 46738"/>
                  <a:gd name="connsiteX7" fmla="*/ 40082 w 40081"/>
                  <a:gd name="connsiteY7" fmla="*/ 40053 h 46738"/>
                  <a:gd name="connsiteX8" fmla="*/ 33397 w 40081"/>
                  <a:gd name="connsiteY8" fmla="*/ 46738 h 46738"/>
                  <a:gd name="connsiteX9" fmla="*/ 13370 w 40081"/>
                  <a:gd name="connsiteY9" fmla="*/ 33368 h 46738"/>
                  <a:gd name="connsiteX10" fmla="*/ 26712 w 40081"/>
                  <a:gd name="connsiteY10" fmla="*/ 33368 h 46738"/>
                  <a:gd name="connsiteX11" fmla="*/ 26712 w 40081"/>
                  <a:gd name="connsiteY11" fmla="*/ 13341 h 46738"/>
                  <a:gd name="connsiteX12" fmla="*/ 13370 w 40081"/>
                  <a:gd name="connsiteY12" fmla="*/ 13341 h 46738"/>
                  <a:gd name="connsiteX13" fmla="*/ 13370 w 40081"/>
                  <a:gd name="connsiteY13" fmla="*/ 33368 h 46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0081" h="46738">
                    <a:moveTo>
                      <a:pt x="33397" y="46738"/>
                    </a:moveTo>
                    <a:lnTo>
                      <a:pt x="6685" y="46738"/>
                    </a:lnTo>
                    <a:cubicBezTo>
                      <a:pt x="2997" y="46738"/>
                      <a:pt x="0" y="43741"/>
                      <a:pt x="0" y="40053"/>
                    </a:cubicBezTo>
                    <a:lnTo>
                      <a:pt x="0" y="6685"/>
                    </a:lnTo>
                    <a:cubicBezTo>
                      <a:pt x="0" y="2997"/>
                      <a:pt x="2997" y="0"/>
                      <a:pt x="6685" y="0"/>
                    </a:cubicBezTo>
                    <a:lnTo>
                      <a:pt x="33397" y="0"/>
                    </a:lnTo>
                    <a:cubicBezTo>
                      <a:pt x="37085" y="0"/>
                      <a:pt x="40082" y="2997"/>
                      <a:pt x="40082" y="6685"/>
                    </a:cubicBezTo>
                    <a:lnTo>
                      <a:pt x="40082" y="40053"/>
                    </a:lnTo>
                    <a:cubicBezTo>
                      <a:pt x="40082" y="43741"/>
                      <a:pt x="37085" y="46738"/>
                      <a:pt x="33397" y="46738"/>
                    </a:cubicBezTo>
                    <a:close/>
                    <a:moveTo>
                      <a:pt x="13370" y="33368"/>
                    </a:moveTo>
                    <a:lnTo>
                      <a:pt x="26712" y="33368"/>
                    </a:lnTo>
                    <a:lnTo>
                      <a:pt x="26712" y="13341"/>
                    </a:lnTo>
                    <a:lnTo>
                      <a:pt x="13370" y="13341"/>
                    </a:lnTo>
                    <a:lnTo>
                      <a:pt x="13370" y="33368"/>
                    </a:lnTo>
                    <a:close/>
                  </a:path>
                </a:pathLst>
              </a:custGeom>
              <a:grpFill/>
              <a:ln w="2878" cap="flat">
                <a:noFill/>
                <a:prstDash val="solid"/>
                <a:miter/>
              </a:ln>
            </p:spPr>
            <p:txBody>
              <a:bodyPr rtlCol="0" anchor="ctr"/>
              <a:lstStyle/>
              <a:p>
                <a:endParaRPr lang="en-GB" dirty="0"/>
              </a:p>
            </p:txBody>
          </p:sp>
          <p:grpSp>
            <p:nvGrpSpPr>
              <p:cNvPr id="86" name="Grafik 205">
                <a:extLst>
                  <a:ext uri="{FF2B5EF4-FFF2-40B4-BE49-F238E27FC236}">
                    <a16:creationId xmlns:a16="http://schemas.microsoft.com/office/drawing/2014/main" id="{3C480297-C596-46F5-8730-A7A6621ABD47}"/>
                  </a:ext>
                </a:extLst>
              </p:cNvPr>
              <p:cNvGrpSpPr/>
              <p:nvPr/>
            </p:nvGrpSpPr>
            <p:grpSpPr>
              <a:xfrm>
                <a:off x="3440462" y="4260807"/>
                <a:ext cx="62507" cy="62500"/>
                <a:chOff x="3440462" y="4260807"/>
                <a:chExt cx="62507" cy="62500"/>
              </a:xfrm>
              <a:grpFill/>
            </p:grpSpPr>
            <p:sp>
              <p:nvSpPr>
                <p:cNvPr id="90" name="Freihandform: Form 240">
                  <a:extLst>
                    <a:ext uri="{FF2B5EF4-FFF2-40B4-BE49-F238E27FC236}">
                      <a16:creationId xmlns:a16="http://schemas.microsoft.com/office/drawing/2014/main" id="{FDE5EAA3-8F9D-4D63-8DD9-3993E458060E}"/>
                    </a:ext>
                  </a:extLst>
                </p:cNvPr>
                <p:cNvSpPr/>
                <p:nvPr/>
              </p:nvSpPr>
              <p:spPr>
                <a:xfrm>
                  <a:off x="3470732" y="4291077"/>
                  <a:ext cx="32236" cy="32229"/>
                </a:xfrm>
                <a:custGeom>
                  <a:avLst/>
                  <a:gdLst>
                    <a:gd name="connsiteX0" fmla="*/ 25545 w 32236"/>
                    <a:gd name="connsiteY0" fmla="*/ 32230 h 32229"/>
                    <a:gd name="connsiteX1" fmla="*/ 20819 w 32236"/>
                    <a:gd name="connsiteY1" fmla="*/ 30270 h 32229"/>
                    <a:gd name="connsiteX2" fmla="*/ 1945 w 32236"/>
                    <a:gd name="connsiteY2" fmla="*/ 11396 h 32229"/>
                    <a:gd name="connsiteX3" fmla="*/ 1945 w 32236"/>
                    <a:gd name="connsiteY3" fmla="*/ 1945 h 32229"/>
                    <a:gd name="connsiteX4" fmla="*/ 11396 w 32236"/>
                    <a:gd name="connsiteY4" fmla="*/ 1945 h 32229"/>
                    <a:gd name="connsiteX5" fmla="*/ 30270 w 32236"/>
                    <a:gd name="connsiteY5" fmla="*/ 20819 h 32229"/>
                    <a:gd name="connsiteX6" fmla="*/ 30270 w 32236"/>
                    <a:gd name="connsiteY6" fmla="*/ 30270 h 32229"/>
                    <a:gd name="connsiteX7" fmla="*/ 25545 w 32236"/>
                    <a:gd name="connsiteY7" fmla="*/ 32230 h 3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36" h="32229">
                      <a:moveTo>
                        <a:pt x="25545" y="32230"/>
                      </a:moveTo>
                      <a:cubicBezTo>
                        <a:pt x="23845" y="32230"/>
                        <a:pt x="22116" y="31567"/>
                        <a:pt x="20819" y="30270"/>
                      </a:cubicBezTo>
                      <a:lnTo>
                        <a:pt x="1945" y="11396"/>
                      </a:lnTo>
                      <a:cubicBezTo>
                        <a:pt x="-648" y="8803"/>
                        <a:pt x="-648" y="4567"/>
                        <a:pt x="1945" y="1945"/>
                      </a:cubicBezTo>
                      <a:cubicBezTo>
                        <a:pt x="4567" y="-648"/>
                        <a:pt x="8774" y="-648"/>
                        <a:pt x="11396" y="1945"/>
                      </a:cubicBezTo>
                      <a:lnTo>
                        <a:pt x="30270" y="20819"/>
                      </a:lnTo>
                      <a:cubicBezTo>
                        <a:pt x="32893" y="23412"/>
                        <a:pt x="32893" y="27648"/>
                        <a:pt x="30270" y="30270"/>
                      </a:cubicBezTo>
                      <a:cubicBezTo>
                        <a:pt x="28974" y="31596"/>
                        <a:pt x="27274" y="32230"/>
                        <a:pt x="25545" y="32230"/>
                      </a:cubicBezTo>
                      <a:close/>
                    </a:path>
                  </a:pathLst>
                </a:custGeom>
                <a:grpFill/>
                <a:ln w="2878" cap="flat">
                  <a:noFill/>
                  <a:prstDash val="solid"/>
                  <a:miter/>
                </a:ln>
              </p:spPr>
              <p:txBody>
                <a:bodyPr rtlCol="0" anchor="ctr"/>
                <a:lstStyle/>
                <a:p>
                  <a:endParaRPr lang="en-GB" dirty="0"/>
                </a:p>
              </p:txBody>
            </p:sp>
            <p:sp>
              <p:nvSpPr>
                <p:cNvPr id="91" name="Freihandform: Form 241">
                  <a:extLst>
                    <a:ext uri="{FF2B5EF4-FFF2-40B4-BE49-F238E27FC236}">
                      <a16:creationId xmlns:a16="http://schemas.microsoft.com/office/drawing/2014/main" id="{418D689E-6D63-4A50-94BD-173DFFE743C4}"/>
                    </a:ext>
                  </a:extLst>
                </p:cNvPr>
                <p:cNvSpPr/>
                <p:nvPr/>
              </p:nvSpPr>
              <p:spPr>
                <a:xfrm>
                  <a:off x="3440462" y="4260807"/>
                  <a:ext cx="55029" cy="55008"/>
                </a:xfrm>
                <a:custGeom>
                  <a:avLst/>
                  <a:gdLst>
                    <a:gd name="connsiteX0" fmla="*/ 22793 w 55029"/>
                    <a:gd name="connsiteY0" fmla="*/ 55008 h 55008"/>
                    <a:gd name="connsiteX1" fmla="*/ 13341 w 55029"/>
                    <a:gd name="connsiteY1" fmla="*/ 51118 h 55008"/>
                    <a:gd name="connsiteX2" fmla="*/ 3890 w 55029"/>
                    <a:gd name="connsiteY2" fmla="*/ 41667 h 55008"/>
                    <a:gd name="connsiteX3" fmla="*/ 3890 w 55029"/>
                    <a:gd name="connsiteY3" fmla="*/ 22793 h 55008"/>
                    <a:gd name="connsiteX4" fmla="*/ 22793 w 55029"/>
                    <a:gd name="connsiteY4" fmla="*/ 3890 h 55008"/>
                    <a:gd name="connsiteX5" fmla="*/ 22793 w 55029"/>
                    <a:gd name="connsiteY5" fmla="*/ 3890 h 55008"/>
                    <a:gd name="connsiteX6" fmla="*/ 41667 w 55029"/>
                    <a:gd name="connsiteY6" fmla="*/ 3890 h 55008"/>
                    <a:gd name="connsiteX7" fmla="*/ 51118 w 55029"/>
                    <a:gd name="connsiteY7" fmla="*/ 13341 h 55008"/>
                    <a:gd name="connsiteX8" fmla="*/ 51118 w 55029"/>
                    <a:gd name="connsiteY8" fmla="*/ 32215 h 55008"/>
                    <a:gd name="connsiteX9" fmla="*/ 32244 w 55029"/>
                    <a:gd name="connsiteY9" fmla="*/ 51089 h 55008"/>
                    <a:gd name="connsiteX10" fmla="*/ 22793 w 55029"/>
                    <a:gd name="connsiteY10" fmla="*/ 55008 h 55008"/>
                    <a:gd name="connsiteX11" fmla="*/ 32215 w 55029"/>
                    <a:gd name="connsiteY11" fmla="*/ 13341 h 55008"/>
                    <a:gd name="connsiteX12" fmla="*/ 13341 w 55029"/>
                    <a:gd name="connsiteY12" fmla="*/ 32215 h 55008"/>
                    <a:gd name="connsiteX13" fmla="*/ 22793 w 55029"/>
                    <a:gd name="connsiteY13" fmla="*/ 41667 h 55008"/>
                    <a:gd name="connsiteX14" fmla="*/ 41667 w 55029"/>
                    <a:gd name="connsiteY14" fmla="*/ 22793 h 55008"/>
                    <a:gd name="connsiteX15" fmla="*/ 32215 w 55029"/>
                    <a:gd name="connsiteY15" fmla="*/ 13341 h 5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029" h="55008">
                      <a:moveTo>
                        <a:pt x="22793" y="55008"/>
                      </a:moveTo>
                      <a:cubicBezTo>
                        <a:pt x="19364" y="55008"/>
                        <a:pt x="15964" y="53712"/>
                        <a:pt x="13341" y="51118"/>
                      </a:cubicBezTo>
                      <a:lnTo>
                        <a:pt x="3890" y="41667"/>
                      </a:lnTo>
                      <a:cubicBezTo>
                        <a:pt x="-1297" y="36451"/>
                        <a:pt x="-1297" y="28008"/>
                        <a:pt x="3890" y="22793"/>
                      </a:cubicBezTo>
                      <a:lnTo>
                        <a:pt x="22793" y="3890"/>
                      </a:lnTo>
                      <a:lnTo>
                        <a:pt x="22793" y="3890"/>
                      </a:lnTo>
                      <a:cubicBezTo>
                        <a:pt x="28008" y="-1297"/>
                        <a:pt x="36451" y="-1297"/>
                        <a:pt x="41667" y="3890"/>
                      </a:cubicBezTo>
                      <a:lnTo>
                        <a:pt x="51118" y="13341"/>
                      </a:lnTo>
                      <a:cubicBezTo>
                        <a:pt x="56334" y="18557"/>
                        <a:pt x="56334" y="27029"/>
                        <a:pt x="51118" y="32215"/>
                      </a:cubicBezTo>
                      <a:lnTo>
                        <a:pt x="32244" y="51089"/>
                      </a:lnTo>
                      <a:cubicBezTo>
                        <a:pt x="29622" y="53712"/>
                        <a:pt x="26193" y="55008"/>
                        <a:pt x="22793" y="55008"/>
                      </a:cubicBezTo>
                      <a:close/>
                      <a:moveTo>
                        <a:pt x="32215" y="13341"/>
                      </a:moveTo>
                      <a:lnTo>
                        <a:pt x="13341" y="32215"/>
                      </a:lnTo>
                      <a:lnTo>
                        <a:pt x="22793" y="41667"/>
                      </a:lnTo>
                      <a:lnTo>
                        <a:pt x="41667" y="22793"/>
                      </a:lnTo>
                      <a:lnTo>
                        <a:pt x="32215" y="13341"/>
                      </a:lnTo>
                      <a:close/>
                    </a:path>
                  </a:pathLst>
                </a:custGeom>
                <a:grpFill/>
                <a:ln w="2878" cap="flat">
                  <a:noFill/>
                  <a:prstDash val="solid"/>
                  <a:miter/>
                </a:ln>
              </p:spPr>
              <p:txBody>
                <a:bodyPr rtlCol="0" anchor="ctr"/>
                <a:lstStyle/>
                <a:p>
                  <a:endParaRPr lang="en-GB" dirty="0"/>
                </a:p>
              </p:txBody>
            </p:sp>
          </p:grpSp>
          <p:grpSp>
            <p:nvGrpSpPr>
              <p:cNvPr id="87" name="Grafik 205">
                <a:extLst>
                  <a:ext uri="{FF2B5EF4-FFF2-40B4-BE49-F238E27FC236}">
                    <a16:creationId xmlns:a16="http://schemas.microsoft.com/office/drawing/2014/main" id="{8A933B26-E044-4B7F-9A91-8E6ADE3B134D}"/>
                  </a:ext>
                </a:extLst>
              </p:cNvPr>
              <p:cNvGrpSpPr/>
              <p:nvPr/>
            </p:nvGrpSpPr>
            <p:grpSpPr>
              <a:xfrm>
                <a:off x="3689965" y="4260922"/>
                <a:ext cx="62507" cy="62500"/>
                <a:chOff x="3689965" y="4260922"/>
                <a:chExt cx="62507" cy="62500"/>
              </a:xfrm>
              <a:grpFill/>
            </p:grpSpPr>
            <p:sp>
              <p:nvSpPr>
                <p:cNvPr id="88" name="Freihandform: Form 243">
                  <a:extLst>
                    <a:ext uri="{FF2B5EF4-FFF2-40B4-BE49-F238E27FC236}">
                      <a16:creationId xmlns:a16="http://schemas.microsoft.com/office/drawing/2014/main" id="{F6240EFC-D119-4627-9758-985697543717}"/>
                    </a:ext>
                  </a:extLst>
                </p:cNvPr>
                <p:cNvSpPr/>
                <p:nvPr/>
              </p:nvSpPr>
              <p:spPr>
                <a:xfrm>
                  <a:off x="3689965" y="4291192"/>
                  <a:ext cx="32236" cy="32229"/>
                </a:xfrm>
                <a:custGeom>
                  <a:avLst/>
                  <a:gdLst>
                    <a:gd name="connsiteX0" fmla="*/ 6692 w 32236"/>
                    <a:gd name="connsiteY0" fmla="*/ 32230 h 32229"/>
                    <a:gd name="connsiteX1" fmla="*/ 1967 w 32236"/>
                    <a:gd name="connsiteY1" fmla="*/ 30270 h 32229"/>
                    <a:gd name="connsiteX2" fmla="*/ 1967 w 32236"/>
                    <a:gd name="connsiteY2" fmla="*/ 20819 h 32229"/>
                    <a:gd name="connsiteX3" fmla="*/ 20841 w 32236"/>
                    <a:gd name="connsiteY3" fmla="*/ 1945 h 32229"/>
                    <a:gd name="connsiteX4" fmla="*/ 30292 w 32236"/>
                    <a:gd name="connsiteY4" fmla="*/ 1945 h 32229"/>
                    <a:gd name="connsiteX5" fmla="*/ 30292 w 32236"/>
                    <a:gd name="connsiteY5" fmla="*/ 11396 h 32229"/>
                    <a:gd name="connsiteX6" fmla="*/ 11418 w 32236"/>
                    <a:gd name="connsiteY6" fmla="*/ 30270 h 32229"/>
                    <a:gd name="connsiteX7" fmla="*/ 6692 w 32236"/>
                    <a:gd name="connsiteY7" fmla="*/ 32230 h 32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36" h="32229">
                      <a:moveTo>
                        <a:pt x="6692" y="32230"/>
                      </a:moveTo>
                      <a:cubicBezTo>
                        <a:pt x="4992" y="32230"/>
                        <a:pt x="3263" y="31567"/>
                        <a:pt x="1967" y="30270"/>
                      </a:cubicBezTo>
                      <a:cubicBezTo>
                        <a:pt x="-656" y="27677"/>
                        <a:pt x="-656" y="23441"/>
                        <a:pt x="1967" y="20819"/>
                      </a:cubicBezTo>
                      <a:lnTo>
                        <a:pt x="20841" y="1945"/>
                      </a:lnTo>
                      <a:cubicBezTo>
                        <a:pt x="23434" y="-648"/>
                        <a:pt x="27670" y="-648"/>
                        <a:pt x="30292" y="1945"/>
                      </a:cubicBezTo>
                      <a:cubicBezTo>
                        <a:pt x="32885" y="4567"/>
                        <a:pt x="32885" y="8774"/>
                        <a:pt x="30292" y="11396"/>
                      </a:cubicBezTo>
                      <a:lnTo>
                        <a:pt x="11418" y="30270"/>
                      </a:lnTo>
                      <a:cubicBezTo>
                        <a:pt x="10092" y="31596"/>
                        <a:pt x="8392" y="32230"/>
                        <a:pt x="6692" y="32230"/>
                      </a:cubicBezTo>
                      <a:close/>
                    </a:path>
                  </a:pathLst>
                </a:custGeom>
                <a:grpFill/>
                <a:ln w="2878" cap="flat">
                  <a:noFill/>
                  <a:prstDash val="solid"/>
                  <a:miter/>
                </a:ln>
              </p:spPr>
              <p:txBody>
                <a:bodyPr rtlCol="0" anchor="ctr"/>
                <a:lstStyle/>
                <a:p>
                  <a:endParaRPr lang="en-GB" dirty="0"/>
                </a:p>
              </p:txBody>
            </p:sp>
            <p:sp>
              <p:nvSpPr>
                <p:cNvPr id="89" name="Freihandform: Form 244">
                  <a:extLst>
                    <a:ext uri="{FF2B5EF4-FFF2-40B4-BE49-F238E27FC236}">
                      <a16:creationId xmlns:a16="http://schemas.microsoft.com/office/drawing/2014/main" id="{7B3FF5E8-7E0A-45FF-80E0-6E2CC44CC611}"/>
                    </a:ext>
                  </a:extLst>
                </p:cNvPr>
                <p:cNvSpPr/>
                <p:nvPr/>
              </p:nvSpPr>
              <p:spPr>
                <a:xfrm>
                  <a:off x="3697442" y="4260922"/>
                  <a:ext cx="55029" cy="55008"/>
                </a:xfrm>
                <a:custGeom>
                  <a:avLst/>
                  <a:gdLst>
                    <a:gd name="connsiteX0" fmla="*/ 32237 w 55029"/>
                    <a:gd name="connsiteY0" fmla="*/ 55008 h 55008"/>
                    <a:gd name="connsiteX1" fmla="*/ 22786 w 55029"/>
                    <a:gd name="connsiteY1" fmla="*/ 51118 h 55008"/>
                    <a:gd name="connsiteX2" fmla="*/ 3912 w 55029"/>
                    <a:gd name="connsiteY2" fmla="*/ 32244 h 55008"/>
                    <a:gd name="connsiteX3" fmla="*/ 3912 w 55029"/>
                    <a:gd name="connsiteY3" fmla="*/ 13370 h 55008"/>
                    <a:gd name="connsiteX4" fmla="*/ 13363 w 55029"/>
                    <a:gd name="connsiteY4" fmla="*/ 3919 h 55008"/>
                    <a:gd name="connsiteX5" fmla="*/ 22814 w 55029"/>
                    <a:gd name="connsiteY5" fmla="*/ 0 h 55008"/>
                    <a:gd name="connsiteX6" fmla="*/ 22814 w 55029"/>
                    <a:gd name="connsiteY6" fmla="*/ 0 h 55008"/>
                    <a:gd name="connsiteX7" fmla="*/ 32237 w 55029"/>
                    <a:gd name="connsiteY7" fmla="*/ 3919 h 55008"/>
                    <a:gd name="connsiteX8" fmla="*/ 51111 w 55029"/>
                    <a:gd name="connsiteY8" fmla="*/ 22793 h 55008"/>
                    <a:gd name="connsiteX9" fmla="*/ 55030 w 55029"/>
                    <a:gd name="connsiteY9" fmla="*/ 32215 h 55008"/>
                    <a:gd name="connsiteX10" fmla="*/ 51111 w 55029"/>
                    <a:gd name="connsiteY10" fmla="*/ 41667 h 55008"/>
                    <a:gd name="connsiteX11" fmla="*/ 41660 w 55029"/>
                    <a:gd name="connsiteY11" fmla="*/ 51118 h 55008"/>
                    <a:gd name="connsiteX12" fmla="*/ 32237 w 55029"/>
                    <a:gd name="connsiteY12" fmla="*/ 55008 h 55008"/>
                    <a:gd name="connsiteX13" fmla="*/ 22814 w 55029"/>
                    <a:gd name="connsiteY13" fmla="*/ 13370 h 55008"/>
                    <a:gd name="connsiteX14" fmla="*/ 13363 w 55029"/>
                    <a:gd name="connsiteY14" fmla="*/ 22793 h 55008"/>
                    <a:gd name="connsiteX15" fmla="*/ 32237 w 55029"/>
                    <a:gd name="connsiteY15" fmla="*/ 41667 h 55008"/>
                    <a:gd name="connsiteX16" fmla="*/ 41688 w 55029"/>
                    <a:gd name="connsiteY16" fmla="*/ 32215 h 55008"/>
                    <a:gd name="connsiteX17" fmla="*/ 22814 w 55029"/>
                    <a:gd name="connsiteY17" fmla="*/ 13370 h 55008"/>
                    <a:gd name="connsiteX18" fmla="*/ 27511 w 55029"/>
                    <a:gd name="connsiteY18" fmla="*/ 8616 h 55008"/>
                    <a:gd name="connsiteX19" fmla="*/ 22786 w 55029"/>
                    <a:gd name="connsiteY19" fmla="*/ 13341 h 55008"/>
                    <a:gd name="connsiteX20" fmla="*/ 22786 w 55029"/>
                    <a:gd name="connsiteY20" fmla="*/ 13341 h 55008"/>
                    <a:gd name="connsiteX21" fmla="*/ 27511 w 55029"/>
                    <a:gd name="connsiteY21" fmla="*/ 8616 h 5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5029" h="55008">
                      <a:moveTo>
                        <a:pt x="32237" y="55008"/>
                      </a:moveTo>
                      <a:cubicBezTo>
                        <a:pt x="28808" y="55008"/>
                        <a:pt x="25379" y="53711"/>
                        <a:pt x="22786" y="51118"/>
                      </a:cubicBezTo>
                      <a:lnTo>
                        <a:pt x="3912" y="32244"/>
                      </a:lnTo>
                      <a:cubicBezTo>
                        <a:pt x="-1304" y="27029"/>
                        <a:pt x="-1304" y="18557"/>
                        <a:pt x="3912" y="13370"/>
                      </a:cubicBezTo>
                      <a:lnTo>
                        <a:pt x="13363" y="3919"/>
                      </a:lnTo>
                      <a:cubicBezTo>
                        <a:pt x="15899" y="1383"/>
                        <a:pt x="19241" y="0"/>
                        <a:pt x="22814" y="0"/>
                      </a:cubicBezTo>
                      <a:cubicBezTo>
                        <a:pt x="22814" y="0"/>
                        <a:pt x="22814" y="0"/>
                        <a:pt x="22814" y="0"/>
                      </a:cubicBezTo>
                      <a:cubicBezTo>
                        <a:pt x="26387" y="0"/>
                        <a:pt x="29730" y="1383"/>
                        <a:pt x="32237" y="3919"/>
                      </a:cubicBezTo>
                      <a:lnTo>
                        <a:pt x="51111" y="22793"/>
                      </a:lnTo>
                      <a:cubicBezTo>
                        <a:pt x="53618" y="25300"/>
                        <a:pt x="55030" y="28642"/>
                        <a:pt x="55030" y="32215"/>
                      </a:cubicBezTo>
                      <a:cubicBezTo>
                        <a:pt x="55030" y="35789"/>
                        <a:pt x="53647" y="39131"/>
                        <a:pt x="51111" y="41667"/>
                      </a:cubicBezTo>
                      <a:lnTo>
                        <a:pt x="41660" y="51118"/>
                      </a:lnTo>
                      <a:cubicBezTo>
                        <a:pt x="39095" y="53711"/>
                        <a:pt x="35666" y="55008"/>
                        <a:pt x="32237" y="55008"/>
                      </a:cubicBezTo>
                      <a:close/>
                      <a:moveTo>
                        <a:pt x="22814" y="13370"/>
                      </a:moveTo>
                      <a:lnTo>
                        <a:pt x="13363" y="22793"/>
                      </a:lnTo>
                      <a:lnTo>
                        <a:pt x="32237" y="41667"/>
                      </a:lnTo>
                      <a:lnTo>
                        <a:pt x="41688" y="32215"/>
                      </a:lnTo>
                      <a:lnTo>
                        <a:pt x="22814" y="13370"/>
                      </a:lnTo>
                      <a:close/>
                      <a:moveTo>
                        <a:pt x="27511" y="8616"/>
                      </a:moveTo>
                      <a:lnTo>
                        <a:pt x="22786" y="13341"/>
                      </a:lnTo>
                      <a:cubicBezTo>
                        <a:pt x="22786" y="13341"/>
                        <a:pt x="22786" y="13341"/>
                        <a:pt x="22786" y="13341"/>
                      </a:cubicBezTo>
                      <a:lnTo>
                        <a:pt x="27511" y="8616"/>
                      </a:lnTo>
                      <a:close/>
                    </a:path>
                  </a:pathLst>
                </a:custGeom>
                <a:grpFill/>
                <a:ln w="2878" cap="flat">
                  <a:noFill/>
                  <a:prstDash val="solid"/>
                  <a:miter/>
                </a:ln>
              </p:spPr>
              <p:txBody>
                <a:bodyPr rtlCol="0" anchor="ctr"/>
                <a:lstStyle/>
                <a:p>
                  <a:endParaRPr lang="en-GB" dirty="0"/>
                </a:p>
              </p:txBody>
            </p:sp>
          </p:grpSp>
        </p:grpSp>
        <p:grpSp>
          <p:nvGrpSpPr>
            <p:cNvPr id="76" name="Group 75">
              <a:extLst>
                <a:ext uri="{FF2B5EF4-FFF2-40B4-BE49-F238E27FC236}">
                  <a16:creationId xmlns:a16="http://schemas.microsoft.com/office/drawing/2014/main" id="{3C81F475-0689-43DF-B5E7-D0D1C226C1EE}"/>
                </a:ext>
              </a:extLst>
            </p:cNvPr>
            <p:cNvGrpSpPr/>
            <p:nvPr/>
          </p:nvGrpSpPr>
          <p:grpSpPr>
            <a:xfrm>
              <a:off x="2771468" y="1709380"/>
              <a:ext cx="229816" cy="229285"/>
              <a:chOff x="3510569" y="4330078"/>
              <a:chExt cx="173985" cy="173583"/>
            </a:xfrm>
            <a:solidFill>
              <a:schemeClr val="accent1"/>
            </a:solidFill>
          </p:grpSpPr>
          <p:sp>
            <p:nvSpPr>
              <p:cNvPr id="77" name="Freihandform: Form 245">
                <a:extLst>
                  <a:ext uri="{FF2B5EF4-FFF2-40B4-BE49-F238E27FC236}">
                    <a16:creationId xmlns:a16="http://schemas.microsoft.com/office/drawing/2014/main" id="{C251F498-82D0-4BF0-BF0F-66775F03D718}"/>
                  </a:ext>
                </a:extLst>
              </p:cNvPr>
              <p:cNvSpPr/>
              <p:nvPr/>
            </p:nvSpPr>
            <p:spPr>
              <a:xfrm>
                <a:off x="3589839" y="4330078"/>
                <a:ext cx="13370" cy="20055"/>
              </a:xfrm>
              <a:custGeom>
                <a:avLst/>
                <a:gdLst>
                  <a:gd name="connsiteX0" fmla="*/ 6685 w 13370"/>
                  <a:gd name="connsiteY0" fmla="*/ 20055 h 20055"/>
                  <a:gd name="connsiteX1" fmla="*/ 0 w 13370"/>
                  <a:gd name="connsiteY1" fmla="*/ 13370 h 20055"/>
                  <a:gd name="connsiteX2" fmla="*/ 0 w 13370"/>
                  <a:gd name="connsiteY2" fmla="*/ 6685 h 20055"/>
                  <a:gd name="connsiteX3" fmla="*/ 6685 w 13370"/>
                  <a:gd name="connsiteY3" fmla="*/ 0 h 20055"/>
                  <a:gd name="connsiteX4" fmla="*/ 13370 w 13370"/>
                  <a:gd name="connsiteY4" fmla="*/ 6685 h 20055"/>
                  <a:gd name="connsiteX5" fmla="*/ 13370 w 13370"/>
                  <a:gd name="connsiteY5" fmla="*/ 13370 h 20055"/>
                  <a:gd name="connsiteX6" fmla="*/ 6685 w 13370"/>
                  <a:gd name="connsiteY6" fmla="*/ 20055 h 2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70" h="20055">
                    <a:moveTo>
                      <a:pt x="6685" y="20055"/>
                    </a:moveTo>
                    <a:cubicBezTo>
                      <a:pt x="2997" y="20055"/>
                      <a:pt x="0" y="17059"/>
                      <a:pt x="0" y="13370"/>
                    </a:cubicBezTo>
                    <a:lnTo>
                      <a:pt x="0" y="6685"/>
                    </a:lnTo>
                    <a:cubicBezTo>
                      <a:pt x="0" y="2997"/>
                      <a:pt x="2997" y="0"/>
                      <a:pt x="6685" y="0"/>
                    </a:cubicBezTo>
                    <a:cubicBezTo>
                      <a:pt x="10374" y="0"/>
                      <a:pt x="13370" y="2997"/>
                      <a:pt x="13370" y="6685"/>
                    </a:cubicBezTo>
                    <a:lnTo>
                      <a:pt x="13370" y="13370"/>
                    </a:lnTo>
                    <a:cubicBezTo>
                      <a:pt x="13370" y="17059"/>
                      <a:pt x="10374" y="20055"/>
                      <a:pt x="6685" y="20055"/>
                    </a:cubicBezTo>
                    <a:close/>
                  </a:path>
                </a:pathLst>
              </a:custGeom>
              <a:solidFill>
                <a:schemeClr val="accent1"/>
              </a:solidFill>
              <a:ln w="2878" cap="flat">
                <a:noFill/>
                <a:prstDash val="solid"/>
                <a:miter/>
              </a:ln>
            </p:spPr>
            <p:txBody>
              <a:bodyPr rtlCol="0" anchor="ctr"/>
              <a:lstStyle/>
              <a:p>
                <a:endParaRPr lang="en-GB" dirty="0"/>
              </a:p>
            </p:txBody>
          </p:sp>
          <p:sp>
            <p:nvSpPr>
              <p:cNvPr id="78" name="Freihandform: Form 246">
                <a:extLst>
                  <a:ext uri="{FF2B5EF4-FFF2-40B4-BE49-F238E27FC236}">
                    <a16:creationId xmlns:a16="http://schemas.microsoft.com/office/drawing/2014/main" id="{C9E730F5-5011-420D-9F99-006C0C879D7D}"/>
                  </a:ext>
                </a:extLst>
              </p:cNvPr>
              <p:cNvSpPr/>
              <p:nvPr/>
            </p:nvSpPr>
            <p:spPr>
              <a:xfrm>
                <a:off x="3589839" y="4483606"/>
                <a:ext cx="13370" cy="20055"/>
              </a:xfrm>
              <a:custGeom>
                <a:avLst/>
                <a:gdLst>
                  <a:gd name="connsiteX0" fmla="*/ 6685 w 13370"/>
                  <a:gd name="connsiteY0" fmla="*/ 20055 h 20055"/>
                  <a:gd name="connsiteX1" fmla="*/ 0 w 13370"/>
                  <a:gd name="connsiteY1" fmla="*/ 13370 h 20055"/>
                  <a:gd name="connsiteX2" fmla="*/ 0 w 13370"/>
                  <a:gd name="connsiteY2" fmla="*/ 6685 h 20055"/>
                  <a:gd name="connsiteX3" fmla="*/ 6685 w 13370"/>
                  <a:gd name="connsiteY3" fmla="*/ 0 h 20055"/>
                  <a:gd name="connsiteX4" fmla="*/ 13370 w 13370"/>
                  <a:gd name="connsiteY4" fmla="*/ 6685 h 20055"/>
                  <a:gd name="connsiteX5" fmla="*/ 13370 w 13370"/>
                  <a:gd name="connsiteY5" fmla="*/ 13370 h 20055"/>
                  <a:gd name="connsiteX6" fmla="*/ 6685 w 13370"/>
                  <a:gd name="connsiteY6" fmla="*/ 20055 h 2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370" h="20055">
                    <a:moveTo>
                      <a:pt x="6685" y="20055"/>
                    </a:moveTo>
                    <a:cubicBezTo>
                      <a:pt x="2997" y="20055"/>
                      <a:pt x="0" y="17059"/>
                      <a:pt x="0" y="13370"/>
                    </a:cubicBezTo>
                    <a:lnTo>
                      <a:pt x="0" y="6685"/>
                    </a:lnTo>
                    <a:cubicBezTo>
                      <a:pt x="0" y="2997"/>
                      <a:pt x="2997" y="0"/>
                      <a:pt x="6685" y="0"/>
                    </a:cubicBezTo>
                    <a:cubicBezTo>
                      <a:pt x="10374" y="0"/>
                      <a:pt x="13370" y="2997"/>
                      <a:pt x="13370" y="6685"/>
                    </a:cubicBezTo>
                    <a:lnTo>
                      <a:pt x="13370" y="13370"/>
                    </a:lnTo>
                    <a:cubicBezTo>
                      <a:pt x="13370" y="17059"/>
                      <a:pt x="10374" y="20055"/>
                      <a:pt x="6685" y="20055"/>
                    </a:cubicBezTo>
                    <a:close/>
                  </a:path>
                </a:pathLst>
              </a:custGeom>
              <a:solidFill>
                <a:schemeClr val="accent1"/>
              </a:solidFill>
              <a:ln w="2878" cap="flat">
                <a:noFill/>
                <a:prstDash val="solid"/>
                <a:miter/>
              </a:ln>
            </p:spPr>
            <p:txBody>
              <a:bodyPr rtlCol="0" anchor="ctr"/>
              <a:lstStyle/>
              <a:p>
                <a:endParaRPr lang="en-GB" dirty="0"/>
              </a:p>
            </p:txBody>
          </p:sp>
          <p:sp>
            <p:nvSpPr>
              <p:cNvPr id="79" name="Freihandform: Form 247">
                <a:extLst>
                  <a:ext uri="{FF2B5EF4-FFF2-40B4-BE49-F238E27FC236}">
                    <a16:creationId xmlns:a16="http://schemas.microsoft.com/office/drawing/2014/main" id="{4C66C6F4-73C8-4F7C-8B82-7DC6259AD8A4}"/>
                  </a:ext>
                </a:extLst>
              </p:cNvPr>
              <p:cNvSpPr/>
              <p:nvPr/>
            </p:nvSpPr>
            <p:spPr>
              <a:xfrm>
                <a:off x="3510569" y="4410185"/>
                <a:ext cx="20055" cy="13370"/>
              </a:xfrm>
              <a:custGeom>
                <a:avLst/>
                <a:gdLst>
                  <a:gd name="connsiteX0" fmla="*/ 13370 w 20055"/>
                  <a:gd name="connsiteY0" fmla="*/ 13370 h 13370"/>
                  <a:gd name="connsiteX1" fmla="*/ 6685 w 20055"/>
                  <a:gd name="connsiteY1" fmla="*/ 13370 h 13370"/>
                  <a:gd name="connsiteX2" fmla="*/ 0 w 20055"/>
                  <a:gd name="connsiteY2" fmla="*/ 6685 h 13370"/>
                  <a:gd name="connsiteX3" fmla="*/ 6685 w 20055"/>
                  <a:gd name="connsiteY3" fmla="*/ 0 h 13370"/>
                  <a:gd name="connsiteX4" fmla="*/ 13370 w 20055"/>
                  <a:gd name="connsiteY4" fmla="*/ 0 h 13370"/>
                  <a:gd name="connsiteX5" fmla="*/ 20055 w 20055"/>
                  <a:gd name="connsiteY5" fmla="*/ 6685 h 13370"/>
                  <a:gd name="connsiteX6" fmla="*/ 13370 w 20055"/>
                  <a:gd name="connsiteY6" fmla="*/ 13370 h 1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55" h="13370">
                    <a:moveTo>
                      <a:pt x="13370" y="13370"/>
                    </a:moveTo>
                    <a:lnTo>
                      <a:pt x="6685" y="13370"/>
                    </a:lnTo>
                    <a:cubicBezTo>
                      <a:pt x="2997" y="13370"/>
                      <a:pt x="0" y="10373"/>
                      <a:pt x="0" y="6685"/>
                    </a:cubicBezTo>
                    <a:cubicBezTo>
                      <a:pt x="0" y="2997"/>
                      <a:pt x="2997" y="0"/>
                      <a:pt x="6685" y="0"/>
                    </a:cubicBezTo>
                    <a:lnTo>
                      <a:pt x="13370" y="0"/>
                    </a:lnTo>
                    <a:cubicBezTo>
                      <a:pt x="17059" y="0"/>
                      <a:pt x="20055" y="2997"/>
                      <a:pt x="20055" y="6685"/>
                    </a:cubicBezTo>
                    <a:cubicBezTo>
                      <a:pt x="20026" y="10373"/>
                      <a:pt x="17059" y="13370"/>
                      <a:pt x="13370" y="13370"/>
                    </a:cubicBezTo>
                    <a:close/>
                  </a:path>
                </a:pathLst>
              </a:custGeom>
              <a:solidFill>
                <a:schemeClr val="accent1"/>
              </a:solidFill>
              <a:ln w="2878" cap="flat">
                <a:noFill/>
                <a:prstDash val="solid"/>
                <a:miter/>
              </a:ln>
            </p:spPr>
            <p:txBody>
              <a:bodyPr rtlCol="0" anchor="ctr"/>
              <a:lstStyle/>
              <a:p>
                <a:endParaRPr lang="en-GB" dirty="0"/>
              </a:p>
            </p:txBody>
          </p:sp>
          <p:sp>
            <p:nvSpPr>
              <p:cNvPr id="80" name="Freihandform: Form 248">
                <a:extLst>
                  <a:ext uri="{FF2B5EF4-FFF2-40B4-BE49-F238E27FC236}">
                    <a16:creationId xmlns:a16="http://schemas.microsoft.com/office/drawing/2014/main" id="{79091653-1156-48D2-AEF9-EA8F25726019}"/>
                  </a:ext>
                </a:extLst>
              </p:cNvPr>
              <p:cNvSpPr/>
              <p:nvPr/>
            </p:nvSpPr>
            <p:spPr>
              <a:xfrm>
                <a:off x="3664499" y="4410185"/>
                <a:ext cx="20055" cy="13370"/>
              </a:xfrm>
              <a:custGeom>
                <a:avLst/>
                <a:gdLst>
                  <a:gd name="connsiteX0" fmla="*/ 13370 w 20055"/>
                  <a:gd name="connsiteY0" fmla="*/ 13370 h 13370"/>
                  <a:gd name="connsiteX1" fmla="*/ 6685 w 20055"/>
                  <a:gd name="connsiteY1" fmla="*/ 13370 h 13370"/>
                  <a:gd name="connsiteX2" fmla="*/ 0 w 20055"/>
                  <a:gd name="connsiteY2" fmla="*/ 6685 h 13370"/>
                  <a:gd name="connsiteX3" fmla="*/ 6685 w 20055"/>
                  <a:gd name="connsiteY3" fmla="*/ 0 h 13370"/>
                  <a:gd name="connsiteX4" fmla="*/ 13370 w 20055"/>
                  <a:gd name="connsiteY4" fmla="*/ 0 h 13370"/>
                  <a:gd name="connsiteX5" fmla="*/ 20055 w 20055"/>
                  <a:gd name="connsiteY5" fmla="*/ 6685 h 13370"/>
                  <a:gd name="connsiteX6" fmla="*/ 13370 w 20055"/>
                  <a:gd name="connsiteY6" fmla="*/ 13370 h 13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55" h="13370">
                    <a:moveTo>
                      <a:pt x="13370" y="13370"/>
                    </a:moveTo>
                    <a:lnTo>
                      <a:pt x="6685" y="13370"/>
                    </a:lnTo>
                    <a:cubicBezTo>
                      <a:pt x="2997" y="13370"/>
                      <a:pt x="0" y="10373"/>
                      <a:pt x="0" y="6685"/>
                    </a:cubicBezTo>
                    <a:cubicBezTo>
                      <a:pt x="0" y="2997"/>
                      <a:pt x="2997" y="0"/>
                      <a:pt x="6685" y="0"/>
                    </a:cubicBezTo>
                    <a:lnTo>
                      <a:pt x="13370" y="0"/>
                    </a:lnTo>
                    <a:cubicBezTo>
                      <a:pt x="17059" y="0"/>
                      <a:pt x="20055" y="2997"/>
                      <a:pt x="20055" y="6685"/>
                    </a:cubicBezTo>
                    <a:cubicBezTo>
                      <a:pt x="20055" y="10373"/>
                      <a:pt x="17059" y="13370"/>
                      <a:pt x="13370" y="13370"/>
                    </a:cubicBezTo>
                    <a:close/>
                  </a:path>
                </a:pathLst>
              </a:custGeom>
              <a:solidFill>
                <a:schemeClr val="accent1"/>
              </a:solidFill>
              <a:ln w="2878" cap="flat">
                <a:noFill/>
                <a:prstDash val="solid"/>
                <a:miter/>
              </a:ln>
            </p:spPr>
            <p:txBody>
              <a:bodyPr rtlCol="0" anchor="ctr"/>
              <a:lstStyle/>
              <a:p>
                <a:endParaRPr lang="en-GB" dirty="0"/>
              </a:p>
            </p:txBody>
          </p:sp>
          <p:sp>
            <p:nvSpPr>
              <p:cNvPr id="81" name="Freihandform: Form 249">
                <a:extLst>
                  <a:ext uri="{FF2B5EF4-FFF2-40B4-BE49-F238E27FC236}">
                    <a16:creationId xmlns:a16="http://schemas.microsoft.com/office/drawing/2014/main" id="{AEBAF0D4-F4C3-43CA-BD41-8685D3406A26}"/>
                  </a:ext>
                </a:extLst>
              </p:cNvPr>
              <p:cNvSpPr/>
              <p:nvPr/>
            </p:nvSpPr>
            <p:spPr>
              <a:xfrm>
                <a:off x="3589522" y="4364069"/>
                <a:ext cx="60061" cy="100085"/>
              </a:xfrm>
              <a:custGeom>
                <a:avLst/>
                <a:gdLst>
                  <a:gd name="connsiteX0" fmla="*/ 6685 w 60061"/>
                  <a:gd name="connsiteY0" fmla="*/ 100086 h 100085"/>
                  <a:gd name="connsiteX1" fmla="*/ 6628 w 60061"/>
                  <a:gd name="connsiteY1" fmla="*/ 100086 h 100085"/>
                  <a:gd name="connsiteX2" fmla="*/ 0 w 60061"/>
                  <a:gd name="connsiteY2" fmla="*/ 93372 h 100085"/>
                  <a:gd name="connsiteX3" fmla="*/ 317 w 60061"/>
                  <a:gd name="connsiteY3" fmla="*/ 52771 h 100085"/>
                  <a:gd name="connsiteX4" fmla="*/ 2277 w 60061"/>
                  <a:gd name="connsiteY4" fmla="*/ 48103 h 100085"/>
                  <a:gd name="connsiteX5" fmla="*/ 48669 w 60061"/>
                  <a:gd name="connsiteY5" fmla="*/ 1941 h 100085"/>
                  <a:gd name="connsiteX6" fmla="*/ 58120 w 60061"/>
                  <a:gd name="connsiteY6" fmla="*/ 1970 h 100085"/>
                  <a:gd name="connsiteX7" fmla="*/ 58092 w 60061"/>
                  <a:gd name="connsiteY7" fmla="*/ 11422 h 100085"/>
                  <a:gd name="connsiteX8" fmla="*/ 13630 w 60061"/>
                  <a:gd name="connsiteY8" fmla="*/ 55653 h 100085"/>
                  <a:gd name="connsiteX9" fmla="*/ 13342 w 60061"/>
                  <a:gd name="connsiteY9" fmla="*/ 93516 h 100085"/>
                  <a:gd name="connsiteX10" fmla="*/ 6685 w 60061"/>
                  <a:gd name="connsiteY10" fmla="*/ 100086 h 100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0061" h="100085">
                    <a:moveTo>
                      <a:pt x="6685" y="100086"/>
                    </a:moveTo>
                    <a:cubicBezTo>
                      <a:pt x="6656" y="100086"/>
                      <a:pt x="6656" y="100086"/>
                      <a:pt x="6628" y="100086"/>
                    </a:cubicBezTo>
                    <a:cubicBezTo>
                      <a:pt x="2939" y="100057"/>
                      <a:pt x="-29" y="97060"/>
                      <a:pt x="0" y="93372"/>
                    </a:cubicBezTo>
                    <a:lnTo>
                      <a:pt x="317" y="52771"/>
                    </a:lnTo>
                    <a:cubicBezTo>
                      <a:pt x="317" y="51014"/>
                      <a:pt x="1038" y="49342"/>
                      <a:pt x="2277" y="48103"/>
                    </a:cubicBezTo>
                    <a:lnTo>
                      <a:pt x="48669" y="1941"/>
                    </a:lnTo>
                    <a:cubicBezTo>
                      <a:pt x="51291" y="-652"/>
                      <a:pt x="55498" y="-652"/>
                      <a:pt x="58120" y="1970"/>
                    </a:cubicBezTo>
                    <a:cubicBezTo>
                      <a:pt x="60714" y="4592"/>
                      <a:pt x="60714" y="8800"/>
                      <a:pt x="58092" y="11422"/>
                    </a:cubicBezTo>
                    <a:lnTo>
                      <a:pt x="13630" y="55653"/>
                    </a:lnTo>
                    <a:lnTo>
                      <a:pt x="13342" y="93516"/>
                    </a:lnTo>
                    <a:cubicBezTo>
                      <a:pt x="13342" y="97147"/>
                      <a:pt x="10345" y="100086"/>
                      <a:pt x="6685" y="100086"/>
                    </a:cubicBezTo>
                    <a:close/>
                  </a:path>
                </a:pathLst>
              </a:custGeom>
              <a:solidFill>
                <a:schemeClr val="accent1"/>
              </a:solidFill>
              <a:ln w="2878" cap="flat">
                <a:noFill/>
                <a:prstDash val="solid"/>
                <a:miter/>
              </a:ln>
            </p:spPr>
            <p:txBody>
              <a:bodyPr rtlCol="0" anchor="ctr"/>
              <a:lstStyle/>
              <a:p>
                <a:endParaRPr lang="en-GB" dirty="0"/>
              </a:p>
            </p:txBody>
          </p:sp>
        </p:grpSp>
      </p:grpSp>
      <p:grpSp>
        <p:nvGrpSpPr>
          <p:cNvPr id="40" name="Group 39">
            <a:extLst>
              <a:ext uri="{FF2B5EF4-FFF2-40B4-BE49-F238E27FC236}">
                <a16:creationId xmlns:a16="http://schemas.microsoft.com/office/drawing/2014/main" id="{A202B6A5-91A4-DD63-E40B-39D630538214}"/>
              </a:ext>
            </a:extLst>
          </p:cNvPr>
          <p:cNvGrpSpPr/>
          <p:nvPr/>
        </p:nvGrpSpPr>
        <p:grpSpPr>
          <a:xfrm>
            <a:off x="3795797" y="1585984"/>
            <a:ext cx="323111" cy="432000"/>
            <a:chOff x="3795797" y="1585984"/>
            <a:chExt cx="323111" cy="432000"/>
          </a:xfrm>
        </p:grpSpPr>
        <p:grpSp>
          <p:nvGrpSpPr>
            <p:cNvPr id="93" name="Grafik 259">
              <a:extLst>
                <a:ext uri="{FF2B5EF4-FFF2-40B4-BE49-F238E27FC236}">
                  <a16:creationId xmlns:a16="http://schemas.microsoft.com/office/drawing/2014/main" id="{DB24792D-67AF-4E66-B36D-7B97328819AD}"/>
                </a:ext>
              </a:extLst>
            </p:cNvPr>
            <p:cNvGrpSpPr/>
            <p:nvPr/>
          </p:nvGrpSpPr>
          <p:grpSpPr>
            <a:xfrm>
              <a:off x="3795797" y="1585984"/>
              <a:ext cx="323111" cy="212901"/>
              <a:chOff x="3435033" y="2501822"/>
              <a:chExt cx="361838" cy="238419"/>
            </a:xfrm>
            <a:solidFill>
              <a:schemeClr val="accent1"/>
            </a:solidFill>
          </p:grpSpPr>
          <p:sp>
            <p:nvSpPr>
              <p:cNvPr id="101" name="Freihandform: Form 362">
                <a:extLst>
                  <a:ext uri="{FF2B5EF4-FFF2-40B4-BE49-F238E27FC236}">
                    <a16:creationId xmlns:a16="http://schemas.microsoft.com/office/drawing/2014/main" id="{2D17363A-B0CE-4AE4-A0DB-B6F1F4C691AB}"/>
                  </a:ext>
                </a:extLst>
              </p:cNvPr>
              <p:cNvSpPr/>
              <p:nvPr/>
            </p:nvSpPr>
            <p:spPr>
              <a:xfrm>
                <a:off x="3621086" y="2601802"/>
                <a:ext cx="175785" cy="135763"/>
              </a:xfrm>
              <a:custGeom>
                <a:avLst/>
                <a:gdLst>
                  <a:gd name="connsiteX0" fmla="*/ 34295 w 175785"/>
                  <a:gd name="connsiteY0" fmla="*/ 135763 h 135763"/>
                  <a:gd name="connsiteX1" fmla="*/ 31031 w 175785"/>
                  <a:gd name="connsiteY1" fmla="*/ 134894 h 135763"/>
                  <a:gd name="connsiteX2" fmla="*/ 28659 w 175785"/>
                  <a:gd name="connsiteY2" fmla="*/ 125994 h 135763"/>
                  <a:gd name="connsiteX3" fmla="*/ 101436 w 175785"/>
                  <a:gd name="connsiteY3" fmla="*/ 84005 h 135763"/>
                  <a:gd name="connsiteX4" fmla="*/ 107941 w 175785"/>
                  <a:gd name="connsiteY4" fmla="*/ 90510 h 135763"/>
                  <a:gd name="connsiteX5" fmla="*/ 107941 w 175785"/>
                  <a:gd name="connsiteY5" fmla="*/ 102745 h 135763"/>
                  <a:gd name="connsiteX6" fmla="*/ 158900 w 175785"/>
                  <a:gd name="connsiteY6" fmla="*/ 61437 h 135763"/>
                  <a:gd name="connsiteX7" fmla="*/ 107941 w 175785"/>
                  <a:gd name="connsiteY7" fmla="*/ 20152 h 135763"/>
                  <a:gd name="connsiteX8" fmla="*/ 107941 w 175785"/>
                  <a:gd name="connsiteY8" fmla="*/ 32387 h 135763"/>
                  <a:gd name="connsiteX9" fmla="*/ 101436 w 175785"/>
                  <a:gd name="connsiteY9" fmla="*/ 38892 h 135763"/>
                  <a:gd name="connsiteX10" fmla="*/ 11070 w 175785"/>
                  <a:gd name="connsiteY10" fmla="*/ 75785 h 135763"/>
                  <a:gd name="connsiteX11" fmla="*/ 1864 w 175785"/>
                  <a:gd name="connsiteY11" fmla="*/ 75692 h 135763"/>
                  <a:gd name="connsiteX12" fmla="*/ 1958 w 175785"/>
                  <a:gd name="connsiteY12" fmla="*/ 66486 h 135763"/>
                  <a:gd name="connsiteX13" fmla="*/ 94930 w 175785"/>
                  <a:gd name="connsiteY13" fmla="*/ 26023 h 135763"/>
                  <a:gd name="connsiteX14" fmla="*/ 94930 w 175785"/>
                  <a:gd name="connsiteY14" fmla="*/ 6508 h 135763"/>
                  <a:gd name="connsiteX15" fmla="*/ 98641 w 175785"/>
                  <a:gd name="connsiteY15" fmla="*/ 637 h 135763"/>
                  <a:gd name="connsiteX16" fmla="*/ 105545 w 175785"/>
                  <a:gd name="connsiteY16" fmla="*/ 1459 h 135763"/>
                  <a:gd name="connsiteX17" fmla="*/ 173366 w 175785"/>
                  <a:gd name="connsiteY17" fmla="*/ 56411 h 135763"/>
                  <a:gd name="connsiteX18" fmla="*/ 175785 w 175785"/>
                  <a:gd name="connsiteY18" fmla="*/ 61460 h 135763"/>
                  <a:gd name="connsiteX19" fmla="*/ 173366 w 175785"/>
                  <a:gd name="connsiteY19" fmla="*/ 66509 h 135763"/>
                  <a:gd name="connsiteX20" fmla="*/ 105545 w 175785"/>
                  <a:gd name="connsiteY20" fmla="*/ 121462 h 135763"/>
                  <a:gd name="connsiteX21" fmla="*/ 98641 w 175785"/>
                  <a:gd name="connsiteY21" fmla="*/ 122283 h 135763"/>
                  <a:gd name="connsiteX22" fmla="*/ 94930 w 175785"/>
                  <a:gd name="connsiteY22" fmla="*/ 116412 h 135763"/>
                  <a:gd name="connsiteX23" fmla="*/ 94930 w 175785"/>
                  <a:gd name="connsiteY23" fmla="*/ 97344 h 135763"/>
                  <a:gd name="connsiteX24" fmla="*/ 39931 w 175785"/>
                  <a:gd name="connsiteY24" fmla="*/ 132546 h 135763"/>
                  <a:gd name="connsiteX25" fmla="*/ 34295 w 175785"/>
                  <a:gd name="connsiteY25" fmla="*/ 135763 h 13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5785" h="135763">
                    <a:moveTo>
                      <a:pt x="34295" y="135763"/>
                    </a:moveTo>
                    <a:cubicBezTo>
                      <a:pt x="33191" y="135763"/>
                      <a:pt x="32064" y="135481"/>
                      <a:pt x="31031" y="134894"/>
                    </a:cubicBezTo>
                    <a:cubicBezTo>
                      <a:pt x="27931" y="133086"/>
                      <a:pt x="26851" y="129117"/>
                      <a:pt x="28659" y="125994"/>
                    </a:cubicBezTo>
                    <a:cubicBezTo>
                      <a:pt x="43642" y="100091"/>
                      <a:pt x="71517" y="84005"/>
                      <a:pt x="101436" y="84005"/>
                    </a:cubicBezTo>
                    <a:cubicBezTo>
                      <a:pt x="105029" y="84005"/>
                      <a:pt x="107941" y="86917"/>
                      <a:pt x="107941" y="90510"/>
                    </a:cubicBezTo>
                    <a:lnTo>
                      <a:pt x="107941" y="102745"/>
                    </a:lnTo>
                    <a:lnTo>
                      <a:pt x="158900" y="61437"/>
                    </a:lnTo>
                    <a:lnTo>
                      <a:pt x="107941" y="20152"/>
                    </a:lnTo>
                    <a:lnTo>
                      <a:pt x="107941" y="32387"/>
                    </a:lnTo>
                    <a:cubicBezTo>
                      <a:pt x="107941" y="35980"/>
                      <a:pt x="105029" y="38892"/>
                      <a:pt x="101436" y="38892"/>
                    </a:cubicBezTo>
                    <a:cubicBezTo>
                      <a:pt x="67431" y="38892"/>
                      <a:pt x="35329" y="51996"/>
                      <a:pt x="11070" y="75785"/>
                    </a:cubicBezTo>
                    <a:cubicBezTo>
                      <a:pt x="8487" y="78298"/>
                      <a:pt x="4377" y="78275"/>
                      <a:pt x="1864" y="75692"/>
                    </a:cubicBezTo>
                    <a:cubicBezTo>
                      <a:pt x="-648" y="73132"/>
                      <a:pt x="-625" y="68999"/>
                      <a:pt x="1958" y="66486"/>
                    </a:cubicBezTo>
                    <a:cubicBezTo>
                      <a:pt x="27133" y="41828"/>
                      <a:pt x="59940" y="27597"/>
                      <a:pt x="94930" y="26023"/>
                    </a:cubicBezTo>
                    <a:lnTo>
                      <a:pt x="94930" y="6508"/>
                    </a:lnTo>
                    <a:cubicBezTo>
                      <a:pt x="94930" y="3996"/>
                      <a:pt x="96363" y="1718"/>
                      <a:pt x="98641" y="637"/>
                    </a:cubicBezTo>
                    <a:cubicBezTo>
                      <a:pt x="100895" y="-443"/>
                      <a:pt x="103596" y="-138"/>
                      <a:pt x="105545" y="1459"/>
                    </a:cubicBezTo>
                    <a:lnTo>
                      <a:pt x="173366" y="56411"/>
                    </a:lnTo>
                    <a:cubicBezTo>
                      <a:pt x="174893" y="57656"/>
                      <a:pt x="175785" y="59511"/>
                      <a:pt x="175785" y="61460"/>
                    </a:cubicBezTo>
                    <a:cubicBezTo>
                      <a:pt x="175785" y="63433"/>
                      <a:pt x="174893" y="65288"/>
                      <a:pt x="173366" y="66509"/>
                    </a:cubicBezTo>
                    <a:lnTo>
                      <a:pt x="105545" y="121462"/>
                    </a:lnTo>
                    <a:cubicBezTo>
                      <a:pt x="103596" y="123058"/>
                      <a:pt x="100919" y="123364"/>
                      <a:pt x="98641" y="122283"/>
                    </a:cubicBezTo>
                    <a:cubicBezTo>
                      <a:pt x="96386" y="121203"/>
                      <a:pt x="94930" y="118925"/>
                      <a:pt x="94930" y="116412"/>
                    </a:cubicBezTo>
                    <a:lnTo>
                      <a:pt x="94930" y="97344"/>
                    </a:lnTo>
                    <a:cubicBezTo>
                      <a:pt x="72175" y="99457"/>
                      <a:pt x="51509" y="112538"/>
                      <a:pt x="39931" y="132546"/>
                    </a:cubicBezTo>
                    <a:cubicBezTo>
                      <a:pt x="38734" y="134589"/>
                      <a:pt x="36550" y="135763"/>
                      <a:pt x="34295" y="135763"/>
                    </a:cubicBezTo>
                    <a:close/>
                  </a:path>
                </a:pathLst>
              </a:custGeom>
              <a:solidFill>
                <a:schemeClr val="accent1"/>
              </a:solidFill>
              <a:ln w="2345" cap="flat">
                <a:noFill/>
                <a:prstDash val="solid"/>
                <a:miter/>
              </a:ln>
            </p:spPr>
            <p:txBody>
              <a:bodyPr rtlCol="0" anchor="ctr"/>
              <a:lstStyle/>
              <a:p>
                <a:endParaRPr lang="en-GB" dirty="0"/>
              </a:p>
            </p:txBody>
          </p:sp>
          <p:sp>
            <p:nvSpPr>
              <p:cNvPr id="102" name="Freihandform: Form 363">
                <a:extLst>
                  <a:ext uri="{FF2B5EF4-FFF2-40B4-BE49-F238E27FC236}">
                    <a16:creationId xmlns:a16="http://schemas.microsoft.com/office/drawing/2014/main" id="{B4A4BDCC-80C6-4334-BAB0-CB14DC02BAF4}"/>
                  </a:ext>
                </a:extLst>
              </p:cNvPr>
              <p:cNvSpPr/>
              <p:nvPr/>
            </p:nvSpPr>
            <p:spPr>
              <a:xfrm>
                <a:off x="3435033" y="2601795"/>
                <a:ext cx="173244" cy="138446"/>
              </a:xfrm>
              <a:custGeom>
                <a:avLst/>
                <a:gdLst>
                  <a:gd name="connsiteX0" fmla="*/ 142993 w 173244"/>
                  <a:gd name="connsiteY0" fmla="*/ 138447 h 138446"/>
                  <a:gd name="connsiteX1" fmla="*/ 137216 w 173244"/>
                  <a:gd name="connsiteY1" fmla="*/ 134971 h 138446"/>
                  <a:gd name="connsiteX2" fmla="*/ 80855 w 173244"/>
                  <a:gd name="connsiteY2" fmla="*/ 97303 h 138446"/>
                  <a:gd name="connsiteX3" fmla="*/ 80855 w 173244"/>
                  <a:gd name="connsiteY3" fmla="*/ 116396 h 138446"/>
                  <a:gd name="connsiteX4" fmla="*/ 77144 w 173244"/>
                  <a:gd name="connsiteY4" fmla="*/ 122267 h 138446"/>
                  <a:gd name="connsiteX5" fmla="*/ 70240 w 173244"/>
                  <a:gd name="connsiteY5" fmla="*/ 121445 h 138446"/>
                  <a:gd name="connsiteX6" fmla="*/ 2419 w 173244"/>
                  <a:gd name="connsiteY6" fmla="*/ 66493 h 138446"/>
                  <a:gd name="connsiteX7" fmla="*/ 0 w 173244"/>
                  <a:gd name="connsiteY7" fmla="*/ 61444 h 138446"/>
                  <a:gd name="connsiteX8" fmla="*/ 2419 w 173244"/>
                  <a:gd name="connsiteY8" fmla="*/ 56395 h 138446"/>
                  <a:gd name="connsiteX9" fmla="*/ 70240 w 173244"/>
                  <a:gd name="connsiteY9" fmla="*/ 1442 h 138446"/>
                  <a:gd name="connsiteX10" fmla="*/ 77144 w 173244"/>
                  <a:gd name="connsiteY10" fmla="*/ 620 h 138446"/>
                  <a:gd name="connsiteX11" fmla="*/ 80855 w 173244"/>
                  <a:gd name="connsiteY11" fmla="*/ 6491 h 138446"/>
                  <a:gd name="connsiteX12" fmla="*/ 80855 w 173244"/>
                  <a:gd name="connsiteY12" fmla="*/ 26006 h 138446"/>
                  <a:gd name="connsiteX13" fmla="*/ 171173 w 173244"/>
                  <a:gd name="connsiteY13" fmla="*/ 63933 h 138446"/>
                  <a:gd name="connsiteX14" fmla="*/ 171502 w 173244"/>
                  <a:gd name="connsiteY14" fmla="*/ 73138 h 138446"/>
                  <a:gd name="connsiteX15" fmla="*/ 162296 w 173244"/>
                  <a:gd name="connsiteY15" fmla="*/ 73467 h 138446"/>
                  <a:gd name="connsiteX16" fmla="*/ 74350 w 173244"/>
                  <a:gd name="connsiteY16" fmla="*/ 38876 h 138446"/>
                  <a:gd name="connsiteX17" fmla="*/ 67845 w 173244"/>
                  <a:gd name="connsiteY17" fmla="*/ 32371 h 138446"/>
                  <a:gd name="connsiteX18" fmla="*/ 67845 w 173244"/>
                  <a:gd name="connsiteY18" fmla="*/ 20136 h 138446"/>
                  <a:gd name="connsiteX19" fmla="*/ 16885 w 173244"/>
                  <a:gd name="connsiteY19" fmla="*/ 61420 h 138446"/>
                  <a:gd name="connsiteX20" fmla="*/ 67845 w 173244"/>
                  <a:gd name="connsiteY20" fmla="*/ 102728 h 138446"/>
                  <a:gd name="connsiteX21" fmla="*/ 67845 w 173244"/>
                  <a:gd name="connsiteY21" fmla="*/ 90493 h 138446"/>
                  <a:gd name="connsiteX22" fmla="*/ 74350 w 173244"/>
                  <a:gd name="connsiteY22" fmla="*/ 83988 h 138446"/>
                  <a:gd name="connsiteX23" fmla="*/ 148747 w 173244"/>
                  <a:gd name="connsiteY23" fmla="*/ 128912 h 138446"/>
                  <a:gd name="connsiteX24" fmla="*/ 146022 w 173244"/>
                  <a:gd name="connsiteY24" fmla="*/ 137695 h 138446"/>
                  <a:gd name="connsiteX25" fmla="*/ 142993 w 173244"/>
                  <a:gd name="connsiteY25" fmla="*/ 138447 h 13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73244" h="138446">
                    <a:moveTo>
                      <a:pt x="142993" y="138447"/>
                    </a:moveTo>
                    <a:cubicBezTo>
                      <a:pt x="140644" y="138447"/>
                      <a:pt x="138390" y="137179"/>
                      <a:pt x="137216" y="134971"/>
                    </a:cubicBezTo>
                    <a:cubicBezTo>
                      <a:pt x="125897" y="113484"/>
                      <a:pt x="104691" y="99487"/>
                      <a:pt x="80855" y="97303"/>
                    </a:cubicBezTo>
                    <a:lnTo>
                      <a:pt x="80855" y="116396"/>
                    </a:lnTo>
                    <a:cubicBezTo>
                      <a:pt x="80855" y="118908"/>
                      <a:pt x="79422" y="121186"/>
                      <a:pt x="77144" y="122267"/>
                    </a:cubicBezTo>
                    <a:cubicBezTo>
                      <a:pt x="74866" y="123323"/>
                      <a:pt x="72189" y="123018"/>
                      <a:pt x="70240" y="121445"/>
                    </a:cubicBezTo>
                    <a:lnTo>
                      <a:pt x="2419" y="66493"/>
                    </a:lnTo>
                    <a:cubicBezTo>
                      <a:pt x="892" y="65248"/>
                      <a:pt x="0" y="63393"/>
                      <a:pt x="0" y="61444"/>
                    </a:cubicBezTo>
                    <a:cubicBezTo>
                      <a:pt x="0" y="59471"/>
                      <a:pt x="892" y="57616"/>
                      <a:pt x="2419" y="56395"/>
                    </a:cubicBezTo>
                    <a:lnTo>
                      <a:pt x="70240" y="1442"/>
                    </a:lnTo>
                    <a:cubicBezTo>
                      <a:pt x="72189" y="-131"/>
                      <a:pt x="74866" y="-436"/>
                      <a:pt x="77144" y="620"/>
                    </a:cubicBezTo>
                    <a:cubicBezTo>
                      <a:pt x="79399" y="1701"/>
                      <a:pt x="80855" y="3979"/>
                      <a:pt x="80855" y="6491"/>
                    </a:cubicBezTo>
                    <a:lnTo>
                      <a:pt x="80855" y="26006"/>
                    </a:lnTo>
                    <a:cubicBezTo>
                      <a:pt x="114531" y="27533"/>
                      <a:pt x="146398" y="40872"/>
                      <a:pt x="171173" y="63933"/>
                    </a:cubicBezTo>
                    <a:cubicBezTo>
                      <a:pt x="173804" y="66375"/>
                      <a:pt x="173945" y="70508"/>
                      <a:pt x="171502" y="73138"/>
                    </a:cubicBezTo>
                    <a:cubicBezTo>
                      <a:pt x="169060" y="75769"/>
                      <a:pt x="164950" y="75910"/>
                      <a:pt x="162296" y="73467"/>
                    </a:cubicBezTo>
                    <a:cubicBezTo>
                      <a:pt x="138343" y="51158"/>
                      <a:pt x="107110" y="38876"/>
                      <a:pt x="74350" y="38876"/>
                    </a:cubicBezTo>
                    <a:cubicBezTo>
                      <a:pt x="70757" y="38876"/>
                      <a:pt x="67845" y="35964"/>
                      <a:pt x="67845" y="32371"/>
                    </a:cubicBezTo>
                    <a:lnTo>
                      <a:pt x="67845" y="20136"/>
                    </a:lnTo>
                    <a:lnTo>
                      <a:pt x="16885" y="61420"/>
                    </a:lnTo>
                    <a:lnTo>
                      <a:pt x="67845" y="102728"/>
                    </a:lnTo>
                    <a:lnTo>
                      <a:pt x="67845" y="90493"/>
                    </a:lnTo>
                    <a:cubicBezTo>
                      <a:pt x="67845" y="86900"/>
                      <a:pt x="70757" y="83988"/>
                      <a:pt x="74350" y="83988"/>
                    </a:cubicBezTo>
                    <a:cubicBezTo>
                      <a:pt x="105630" y="83988"/>
                      <a:pt x="134139" y="101202"/>
                      <a:pt x="148747" y="128912"/>
                    </a:cubicBezTo>
                    <a:cubicBezTo>
                      <a:pt x="150414" y="132083"/>
                      <a:pt x="149193" y="136028"/>
                      <a:pt x="146022" y="137695"/>
                    </a:cubicBezTo>
                    <a:cubicBezTo>
                      <a:pt x="145059" y="138212"/>
                      <a:pt x="144003" y="138447"/>
                      <a:pt x="142993" y="138447"/>
                    </a:cubicBezTo>
                    <a:close/>
                  </a:path>
                </a:pathLst>
              </a:custGeom>
              <a:solidFill>
                <a:schemeClr val="accent1"/>
              </a:solidFill>
              <a:ln w="2345" cap="flat">
                <a:noFill/>
                <a:prstDash val="solid"/>
                <a:miter/>
              </a:ln>
            </p:spPr>
            <p:txBody>
              <a:bodyPr rtlCol="0" anchor="ctr"/>
              <a:lstStyle/>
              <a:p>
                <a:endParaRPr lang="en-GB" dirty="0"/>
              </a:p>
            </p:txBody>
          </p:sp>
          <p:sp>
            <p:nvSpPr>
              <p:cNvPr id="103" name="Freihandform: Form 364">
                <a:extLst>
                  <a:ext uri="{FF2B5EF4-FFF2-40B4-BE49-F238E27FC236}">
                    <a16:creationId xmlns:a16="http://schemas.microsoft.com/office/drawing/2014/main" id="{CB8EAF3B-4B98-4CBE-A4F2-008CA652A7CC}"/>
                  </a:ext>
                </a:extLst>
              </p:cNvPr>
              <p:cNvSpPr/>
              <p:nvPr/>
            </p:nvSpPr>
            <p:spPr>
              <a:xfrm>
                <a:off x="3554546" y="2501822"/>
                <a:ext cx="122930" cy="162824"/>
              </a:xfrm>
              <a:custGeom>
                <a:avLst/>
                <a:gdLst>
                  <a:gd name="connsiteX0" fmla="*/ 90480 w 122930"/>
                  <a:gd name="connsiteY0" fmla="*/ 162825 h 162824"/>
                  <a:gd name="connsiteX1" fmla="*/ 83975 w 122930"/>
                  <a:gd name="connsiteY1" fmla="*/ 156320 h 162824"/>
                  <a:gd name="connsiteX2" fmla="*/ 83975 w 122930"/>
                  <a:gd name="connsiteY2" fmla="*/ 74244 h 162824"/>
                  <a:gd name="connsiteX3" fmla="*/ 90480 w 122930"/>
                  <a:gd name="connsiteY3" fmla="*/ 67739 h 162824"/>
                  <a:gd name="connsiteX4" fmla="*/ 102715 w 122930"/>
                  <a:gd name="connsiteY4" fmla="*/ 67739 h 162824"/>
                  <a:gd name="connsiteX5" fmla="*/ 61430 w 122930"/>
                  <a:gd name="connsiteY5" fmla="*/ 16779 h 162824"/>
                  <a:gd name="connsiteX6" fmla="*/ 20146 w 122930"/>
                  <a:gd name="connsiteY6" fmla="*/ 67739 h 162824"/>
                  <a:gd name="connsiteX7" fmla="*/ 32381 w 122930"/>
                  <a:gd name="connsiteY7" fmla="*/ 67739 h 162824"/>
                  <a:gd name="connsiteX8" fmla="*/ 38886 w 122930"/>
                  <a:gd name="connsiteY8" fmla="*/ 74244 h 162824"/>
                  <a:gd name="connsiteX9" fmla="*/ 38886 w 122930"/>
                  <a:gd name="connsiteY9" fmla="*/ 156320 h 162824"/>
                  <a:gd name="connsiteX10" fmla="*/ 32381 w 122930"/>
                  <a:gd name="connsiteY10" fmla="*/ 162825 h 162824"/>
                  <a:gd name="connsiteX11" fmla="*/ 25876 w 122930"/>
                  <a:gd name="connsiteY11" fmla="*/ 156320 h 162824"/>
                  <a:gd name="connsiteX12" fmla="*/ 25876 w 122930"/>
                  <a:gd name="connsiteY12" fmla="*/ 80726 h 162824"/>
                  <a:gd name="connsiteX13" fmla="*/ 6502 w 122930"/>
                  <a:gd name="connsiteY13" fmla="*/ 80726 h 162824"/>
                  <a:gd name="connsiteX14" fmla="*/ 631 w 122930"/>
                  <a:gd name="connsiteY14" fmla="*/ 77015 h 162824"/>
                  <a:gd name="connsiteX15" fmla="*/ 1453 w 122930"/>
                  <a:gd name="connsiteY15" fmla="*/ 70111 h 162824"/>
                  <a:gd name="connsiteX16" fmla="*/ 56405 w 122930"/>
                  <a:gd name="connsiteY16" fmla="*/ 2290 h 162824"/>
                  <a:gd name="connsiteX17" fmla="*/ 66526 w 122930"/>
                  <a:gd name="connsiteY17" fmla="*/ 2290 h 162824"/>
                  <a:gd name="connsiteX18" fmla="*/ 121478 w 122930"/>
                  <a:gd name="connsiteY18" fmla="*/ 70111 h 162824"/>
                  <a:gd name="connsiteX19" fmla="*/ 122300 w 122930"/>
                  <a:gd name="connsiteY19" fmla="*/ 77015 h 162824"/>
                  <a:gd name="connsiteX20" fmla="*/ 116429 w 122930"/>
                  <a:gd name="connsiteY20" fmla="*/ 80726 h 162824"/>
                  <a:gd name="connsiteX21" fmla="*/ 97055 w 122930"/>
                  <a:gd name="connsiteY21" fmla="*/ 80726 h 162824"/>
                  <a:gd name="connsiteX22" fmla="*/ 97055 w 122930"/>
                  <a:gd name="connsiteY22" fmla="*/ 156296 h 162824"/>
                  <a:gd name="connsiteX23" fmla="*/ 90480 w 122930"/>
                  <a:gd name="connsiteY23" fmla="*/ 162825 h 1628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22930" h="162824">
                    <a:moveTo>
                      <a:pt x="90480" y="162825"/>
                    </a:moveTo>
                    <a:cubicBezTo>
                      <a:pt x="86887" y="162825"/>
                      <a:pt x="83975" y="159913"/>
                      <a:pt x="83975" y="156320"/>
                    </a:cubicBezTo>
                    <a:lnTo>
                      <a:pt x="83975" y="74244"/>
                    </a:lnTo>
                    <a:cubicBezTo>
                      <a:pt x="83975" y="70651"/>
                      <a:pt x="86887" y="67739"/>
                      <a:pt x="90480" y="67739"/>
                    </a:cubicBezTo>
                    <a:lnTo>
                      <a:pt x="102715" y="67739"/>
                    </a:lnTo>
                    <a:lnTo>
                      <a:pt x="61430" y="16779"/>
                    </a:lnTo>
                    <a:lnTo>
                      <a:pt x="20146" y="67739"/>
                    </a:lnTo>
                    <a:lnTo>
                      <a:pt x="32381" y="67739"/>
                    </a:lnTo>
                    <a:cubicBezTo>
                      <a:pt x="35974" y="67739"/>
                      <a:pt x="38886" y="70651"/>
                      <a:pt x="38886" y="74244"/>
                    </a:cubicBezTo>
                    <a:lnTo>
                      <a:pt x="38886" y="156320"/>
                    </a:lnTo>
                    <a:cubicBezTo>
                      <a:pt x="38886" y="159913"/>
                      <a:pt x="35974" y="162825"/>
                      <a:pt x="32381" y="162825"/>
                    </a:cubicBezTo>
                    <a:cubicBezTo>
                      <a:pt x="28788" y="162825"/>
                      <a:pt x="25876" y="159913"/>
                      <a:pt x="25876" y="156320"/>
                    </a:cubicBezTo>
                    <a:lnTo>
                      <a:pt x="25876" y="80726"/>
                    </a:lnTo>
                    <a:lnTo>
                      <a:pt x="6502" y="80726"/>
                    </a:lnTo>
                    <a:cubicBezTo>
                      <a:pt x="3989" y="80726"/>
                      <a:pt x="1711" y="79293"/>
                      <a:pt x="631" y="77015"/>
                    </a:cubicBezTo>
                    <a:cubicBezTo>
                      <a:pt x="-450" y="74761"/>
                      <a:pt x="-121" y="72060"/>
                      <a:pt x="1453" y="70111"/>
                    </a:cubicBezTo>
                    <a:lnTo>
                      <a:pt x="56405" y="2290"/>
                    </a:lnTo>
                    <a:cubicBezTo>
                      <a:pt x="58894" y="-763"/>
                      <a:pt x="64037" y="-763"/>
                      <a:pt x="66526" y="2290"/>
                    </a:cubicBezTo>
                    <a:lnTo>
                      <a:pt x="121478" y="70111"/>
                    </a:lnTo>
                    <a:cubicBezTo>
                      <a:pt x="123052" y="72060"/>
                      <a:pt x="123381" y="74737"/>
                      <a:pt x="122300" y="77015"/>
                    </a:cubicBezTo>
                    <a:cubicBezTo>
                      <a:pt x="121220" y="79293"/>
                      <a:pt x="118942" y="80726"/>
                      <a:pt x="116429" y="80726"/>
                    </a:cubicBezTo>
                    <a:lnTo>
                      <a:pt x="97055" y="80726"/>
                    </a:lnTo>
                    <a:lnTo>
                      <a:pt x="97055" y="156296"/>
                    </a:lnTo>
                    <a:cubicBezTo>
                      <a:pt x="96985" y="159889"/>
                      <a:pt x="94073" y="162825"/>
                      <a:pt x="90480" y="162825"/>
                    </a:cubicBezTo>
                    <a:close/>
                  </a:path>
                </a:pathLst>
              </a:custGeom>
              <a:solidFill>
                <a:schemeClr val="accent1"/>
              </a:solidFill>
              <a:ln w="2345" cap="flat">
                <a:noFill/>
                <a:prstDash val="solid"/>
                <a:miter/>
              </a:ln>
            </p:spPr>
            <p:txBody>
              <a:bodyPr rtlCol="0" anchor="ctr"/>
              <a:lstStyle/>
              <a:p>
                <a:endParaRPr lang="en-GB" dirty="0"/>
              </a:p>
            </p:txBody>
          </p:sp>
        </p:grpSp>
        <p:grpSp>
          <p:nvGrpSpPr>
            <p:cNvPr id="94" name="Grafik 259">
              <a:extLst>
                <a:ext uri="{FF2B5EF4-FFF2-40B4-BE49-F238E27FC236}">
                  <a16:creationId xmlns:a16="http://schemas.microsoft.com/office/drawing/2014/main" id="{BF3EB021-F827-4D4E-8AB9-D156D91CF811}"/>
                </a:ext>
              </a:extLst>
            </p:cNvPr>
            <p:cNvGrpSpPr/>
            <p:nvPr/>
          </p:nvGrpSpPr>
          <p:grpSpPr>
            <a:xfrm>
              <a:off x="3852743" y="1733123"/>
              <a:ext cx="197688" cy="284861"/>
              <a:chOff x="3498804" y="2666597"/>
              <a:chExt cx="221382" cy="319003"/>
            </a:xfrm>
            <a:solidFill>
              <a:schemeClr val="tx2"/>
            </a:solidFill>
          </p:grpSpPr>
          <p:sp>
            <p:nvSpPr>
              <p:cNvPr id="95" name="Freihandform: Form 366">
                <a:extLst>
                  <a:ext uri="{FF2B5EF4-FFF2-40B4-BE49-F238E27FC236}">
                    <a16:creationId xmlns:a16="http://schemas.microsoft.com/office/drawing/2014/main" id="{A3D415E6-D1C0-4671-BC09-D825044C4B8A}"/>
                  </a:ext>
                </a:extLst>
              </p:cNvPr>
              <p:cNvSpPr/>
              <p:nvPr/>
            </p:nvSpPr>
            <p:spPr>
              <a:xfrm>
                <a:off x="3602966" y="2783804"/>
                <a:ext cx="26020" cy="13009"/>
              </a:xfrm>
              <a:custGeom>
                <a:avLst/>
                <a:gdLst>
                  <a:gd name="connsiteX0" fmla="*/ 19515 w 26020"/>
                  <a:gd name="connsiteY0" fmla="*/ 13010 h 13009"/>
                  <a:gd name="connsiteX1" fmla="*/ 6505 w 26020"/>
                  <a:gd name="connsiteY1" fmla="*/ 13010 h 13009"/>
                  <a:gd name="connsiteX2" fmla="*/ 0 w 26020"/>
                  <a:gd name="connsiteY2" fmla="*/ 6505 h 13009"/>
                  <a:gd name="connsiteX3" fmla="*/ 6505 w 26020"/>
                  <a:gd name="connsiteY3" fmla="*/ 0 h 13009"/>
                  <a:gd name="connsiteX4" fmla="*/ 19515 w 26020"/>
                  <a:gd name="connsiteY4" fmla="*/ 0 h 13009"/>
                  <a:gd name="connsiteX5" fmla="*/ 26020 w 26020"/>
                  <a:gd name="connsiteY5" fmla="*/ 6505 h 13009"/>
                  <a:gd name="connsiteX6" fmla="*/ 19515 w 26020"/>
                  <a:gd name="connsiteY6" fmla="*/ 13010 h 13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20" h="13009">
                    <a:moveTo>
                      <a:pt x="19515" y="13010"/>
                    </a:moveTo>
                    <a:lnTo>
                      <a:pt x="6505" y="13010"/>
                    </a:lnTo>
                    <a:cubicBezTo>
                      <a:pt x="2912" y="13010"/>
                      <a:pt x="0" y="10098"/>
                      <a:pt x="0" y="6505"/>
                    </a:cubicBezTo>
                    <a:cubicBezTo>
                      <a:pt x="0" y="2912"/>
                      <a:pt x="2912" y="0"/>
                      <a:pt x="6505" y="0"/>
                    </a:cubicBezTo>
                    <a:lnTo>
                      <a:pt x="19515" y="0"/>
                    </a:lnTo>
                    <a:cubicBezTo>
                      <a:pt x="23108" y="0"/>
                      <a:pt x="26020" y="2912"/>
                      <a:pt x="26020" y="6505"/>
                    </a:cubicBezTo>
                    <a:cubicBezTo>
                      <a:pt x="26020" y="10098"/>
                      <a:pt x="23108" y="13010"/>
                      <a:pt x="19515" y="13010"/>
                    </a:cubicBezTo>
                    <a:close/>
                  </a:path>
                </a:pathLst>
              </a:custGeom>
              <a:grpFill/>
              <a:ln w="2345" cap="flat">
                <a:noFill/>
                <a:prstDash val="solid"/>
                <a:miter/>
              </a:ln>
            </p:spPr>
            <p:txBody>
              <a:bodyPr rtlCol="0" anchor="ctr"/>
              <a:lstStyle/>
              <a:p>
                <a:endParaRPr lang="en-GB" dirty="0"/>
              </a:p>
            </p:txBody>
          </p:sp>
          <p:sp>
            <p:nvSpPr>
              <p:cNvPr id="96" name="Freihandform: Form 367">
                <a:extLst>
                  <a:ext uri="{FF2B5EF4-FFF2-40B4-BE49-F238E27FC236}">
                    <a16:creationId xmlns:a16="http://schemas.microsoft.com/office/drawing/2014/main" id="{283C9161-42F7-414F-B5C3-7B555A24F2E9}"/>
                  </a:ext>
                </a:extLst>
              </p:cNvPr>
              <p:cNvSpPr/>
              <p:nvPr/>
            </p:nvSpPr>
            <p:spPr>
              <a:xfrm>
                <a:off x="3570394" y="2666597"/>
                <a:ext cx="91117" cy="104174"/>
              </a:xfrm>
              <a:custGeom>
                <a:avLst/>
                <a:gdLst>
                  <a:gd name="connsiteX0" fmla="*/ 45559 w 91117"/>
                  <a:gd name="connsiteY0" fmla="*/ 104174 h 104174"/>
                  <a:gd name="connsiteX1" fmla="*/ 0 w 91117"/>
                  <a:gd name="connsiteY1" fmla="*/ 52087 h 104174"/>
                  <a:gd name="connsiteX2" fmla="*/ 45559 w 91117"/>
                  <a:gd name="connsiteY2" fmla="*/ 0 h 104174"/>
                  <a:gd name="connsiteX3" fmla="*/ 91117 w 91117"/>
                  <a:gd name="connsiteY3" fmla="*/ 52087 h 104174"/>
                  <a:gd name="connsiteX4" fmla="*/ 45559 w 91117"/>
                  <a:gd name="connsiteY4" fmla="*/ 104174 h 104174"/>
                  <a:gd name="connsiteX5" fmla="*/ 45559 w 91117"/>
                  <a:gd name="connsiteY5" fmla="*/ 13033 h 104174"/>
                  <a:gd name="connsiteX6" fmla="*/ 13010 w 91117"/>
                  <a:gd name="connsiteY6" fmla="*/ 52087 h 104174"/>
                  <a:gd name="connsiteX7" fmla="*/ 45559 w 91117"/>
                  <a:gd name="connsiteY7" fmla="*/ 91141 h 104174"/>
                  <a:gd name="connsiteX8" fmla="*/ 78107 w 91117"/>
                  <a:gd name="connsiteY8" fmla="*/ 52087 h 104174"/>
                  <a:gd name="connsiteX9" fmla="*/ 45559 w 91117"/>
                  <a:gd name="connsiteY9" fmla="*/ 13033 h 104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117" h="104174">
                    <a:moveTo>
                      <a:pt x="45559" y="104174"/>
                    </a:moveTo>
                    <a:cubicBezTo>
                      <a:pt x="18294" y="104174"/>
                      <a:pt x="0" y="83250"/>
                      <a:pt x="0" y="52087"/>
                    </a:cubicBezTo>
                    <a:cubicBezTo>
                      <a:pt x="0" y="20948"/>
                      <a:pt x="18317" y="0"/>
                      <a:pt x="45559" y="0"/>
                    </a:cubicBezTo>
                    <a:cubicBezTo>
                      <a:pt x="72800" y="0"/>
                      <a:pt x="91117" y="20924"/>
                      <a:pt x="91117" y="52087"/>
                    </a:cubicBezTo>
                    <a:cubicBezTo>
                      <a:pt x="91141" y="83250"/>
                      <a:pt x="72823" y="104174"/>
                      <a:pt x="45559" y="104174"/>
                    </a:cubicBezTo>
                    <a:close/>
                    <a:moveTo>
                      <a:pt x="45559" y="13033"/>
                    </a:moveTo>
                    <a:cubicBezTo>
                      <a:pt x="21535" y="13033"/>
                      <a:pt x="13010" y="34075"/>
                      <a:pt x="13010" y="52087"/>
                    </a:cubicBezTo>
                    <a:cubicBezTo>
                      <a:pt x="13010" y="70099"/>
                      <a:pt x="21535" y="91141"/>
                      <a:pt x="45559" y="91141"/>
                    </a:cubicBezTo>
                    <a:cubicBezTo>
                      <a:pt x="69583" y="91141"/>
                      <a:pt x="78107" y="70099"/>
                      <a:pt x="78107" y="52087"/>
                    </a:cubicBezTo>
                    <a:cubicBezTo>
                      <a:pt x="78107" y="34075"/>
                      <a:pt x="69583" y="13033"/>
                      <a:pt x="45559" y="13033"/>
                    </a:cubicBezTo>
                    <a:close/>
                  </a:path>
                </a:pathLst>
              </a:custGeom>
              <a:grpFill/>
              <a:ln w="2345" cap="flat">
                <a:noFill/>
                <a:prstDash val="solid"/>
                <a:miter/>
              </a:ln>
            </p:spPr>
            <p:txBody>
              <a:bodyPr rtlCol="0" anchor="ctr"/>
              <a:lstStyle/>
              <a:p>
                <a:endParaRPr lang="en-GB" dirty="0"/>
              </a:p>
            </p:txBody>
          </p:sp>
          <p:sp>
            <p:nvSpPr>
              <p:cNvPr id="97" name="Freihandform: Form 368">
                <a:extLst>
                  <a:ext uri="{FF2B5EF4-FFF2-40B4-BE49-F238E27FC236}">
                    <a16:creationId xmlns:a16="http://schemas.microsoft.com/office/drawing/2014/main" id="{DB907F98-4706-4877-84E4-1284056A8046}"/>
                  </a:ext>
                </a:extLst>
              </p:cNvPr>
              <p:cNvSpPr/>
              <p:nvPr/>
            </p:nvSpPr>
            <p:spPr>
              <a:xfrm>
                <a:off x="3609447" y="2783804"/>
                <a:ext cx="13010" cy="84612"/>
              </a:xfrm>
              <a:custGeom>
                <a:avLst/>
                <a:gdLst>
                  <a:gd name="connsiteX0" fmla="*/ 6505 w 13010"/>
                  <a:gd name="connsiteY0" fmla="*/ 84612 h 84612"/>
                  <a:gd name="connsiteX1" fmla="*/ 0 w 13010"/>
                  <a:gd name="connsiteY1" fmla="*/ 78107 h 84612"/>
                  <a:gd name="connsiteX2" fmla="*/ 0 w 13010"/>
                  <a:gd name="connsiteY2" fmla="*/ 6505 h 84612"/>
                  <a:gd name="connsiteX3" fmla="*/ 6505 w 13010"/>
                  <a:gd name="connsiteY3" fmla="*/ 0 h 84612"/>
                  <a:gd name="connsiteX4" fmla="*/ 13010 w 13010"/>
                  <a:gd name="connsiteY4" fmla="*/ 6505 h 84612"/>
                  <a:gd name="connsiteX5" fmla="*/ 13010 w 13010"/>
                  <a:gd name="connsiteY5" fmla="*/ 78107 h 84612"/>
                  <a:gd name="connsiteX6" fmla="*/ 6505 w 13010"/>
                  <a:gd name="connsiteY6" fmla="*/ 84612 h 84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10" h="84612">
                    <a:moveTo>
                      <a:pt x="6505" y="84612"/>
                    </a:moveTo>
                    <a:cubicBezTo>
                      <a:pt x="2912" y="84612"/>
                      <a:pt x="0" y="81700"/>
                      <a:pt x="0" y="78107"/>
                    </a:cubicBezTo>
                    <a:lnTo>
                      <a:pt x="0" y="6505"/>
                    </a:lnTo>
                    <a:cubicBezTo>
                      <a:pt x="0" y="2912"/>
                      <a:pt x="2912" y="0"/>
                      <a:pt x="6505" y="0"/>
                    </a:cubicBezTo>
                    <a:cubicBezTo>
                      <a:pt x="10098" y="0"/>
                      <a:pt x="13010" y="2912"/>
                      <a:pt x="13010" y="6505"/>
                    </a:cubicBezTo>
                    <a:lnTo>
                      <a:pt x="13010" y="78107"/>
                    </a:lnTo>
                    <a:cubicBezTo>
                      <a:pt x="13034" y="81700"/>
                      <a:pt x="10122" y="84612"/>
                      <a:pt x="6505" y="84612"/>
                    </a:cubicBezTo>
                    <a:close/>
                  </a:path>
                </a:pathLst>
              </a:custGeom>
              <a:grpFill/>
              <a:ln w="2345" cap="flat">
                <a:noFill/>
                <a:prstDash val="solid"/>
                <a:miter/>
              </a:ln>
            </p:spPr>
            <p:txBody>
              <a:bodyPr rtlCol="0" anchor="ctr"/>
              <a:lstStyle/>
              <a:p>
                <a:endParaRPr lang="en-GB" dirty="0"/>
              </a:p>
            </p:txBody>
          </p:sp>
          <p:sp>
            <p:nvSpPr>
              <p:cNvPr id="98" name="Freihandform: Form 369">
                <a:extLst>
                  <a:ext uri="{FF2B5EF4-FFF2-40B4-BE49-F238E27FC236}">
                    <a16:creationId xmlns:a16="http://schemas.microsoft.com/office/drawing/2014/main" id="{9DF81F93-D3B5-4577-9CAD-64ED88334100}"/>
                  </a:ext>
                </a:extLst>
              </p:cNvPr>
              <p:cNvSpPr/>
              <p:nvPr/>
            </p:nvSpPr>
            <p:spPr>
              <a:xfrm>
                <a:off x="3540358" y="2844290"/>
                <a:ext cx="138679" cy="45684"/>
              </a:xfrm>
              <a:custGeom>
                <a:avLst/>
                <a:gdLst>
                  <a:gd name="connsiteX0" fmla="*/ 6505 w 138679"/>
                  <a:gd name="connsiteY0" fmla="*/ 45684 h 45684"/>
                  <a:gd name="connsiteX1" fmla="*/ 2701 w 138679"/>
                  <a:gd name="connsiteY1" fmla="*/ 44463 h 45684"/>
                  <a:gd name="connsiteX2" fmla="*/ 1221 w 138679"/>
                  <a:gd name="connsiteY2" fmla="*/ 35375 h 45684"/>
                  <a:gd name="connsiteX3" fmla="*/ 9088 w 138679"/>
                  <a:gd name="connsiteY3" fmla="*/ 24455 h 45684"/>
                  <a:gd name="connsiteX4" fmla="*/ 26748 w 138679"/>
                  <a:gd name="connsiteY4" fmla="*/ 17856 h 45684"/>
                  <a:gd name="connsiteX5" fmla="*/ 52345 w 138679"/>
                  <a:gd name="connsiteY5" fmla="*/ 22647 h 45684"/>
                  <a:gd name="connsiteX6" fmla="*/ 124629 w 138679"/>
                  <a:gd name="connsiteY6" fmla="*/ 26475 h 45684"/>
                  <a:gd name="connsiteX7" fmla="*/ 122726 w 138679"/>
                  <a:gd name="connsiteY7" fmla="*/ 7148 h 45684"/>
                  <a:gd name="connsiteX8" fmla="*/ 128574 w 138679"/>
                  <a:gd name="connsiteY8" fmla="*/ 32 h 45684"/>
                  <a:gd name="connsiteX9" fmla="*/ 135689 w 138679"/>
                  <a:gd name="connsiteY9" fmla="*/ 5879 h 45684"/>
                  <a:gd name="connsiteX10" fmla="*/ 138648 w 138679"/>
                  <a:gd name="connsiteY10" fmla="*/ 35962 h 45684"/>
                  <a:gd name="connsiteX11" fmla="*/ 135783 w 138679"/>
                  <a:gd name="connsiteY11" fmla="*/ 42021 h 45684"/>
                  <a:gd name="connsiteX12" fmla="*/ 129090 w 138679"/>
                  <a:gd name="connsiteY12" fmla="*/ 42326 h 45684"/>
                  <a:gd name="connsiteX13" fmla="*/ 52932 w 138679"/>
                  <a:gd name="connsiteY13" fmla="*/ 35704 h 45684"/>
                  <a:gd name="connsiteX14" fmla="*/ 50913 w 138679"/>
                  <a:gd name="connsiteY14" fmla="*/ 35633 h 45684"/>
                  <a:gd name="connsiteX15" fmla="*/ 23719 w 138679"/>
                  <a:gd name="connsiteY15" fmla="*/ 30537 h 45684"/>
                  <a:gd name="connsiteX16" fmla="*/ 22333 w 138679"/>
                  <a:gd name="connsiteY16" fmla="*/ 30115 h 45684"/>
                  <a:gd name="connsiteX17" fmla="*/ 19656 w 138679"/>
                  <a:gd name="connsiteY17" fmla="*/ 32087 h 45684"/>
                  <a:gd name="connsiteX18" fmla="*/ 11789 w 138679"/>
                  <a:gd name="connsiteY18" fmla="*/ 43007 h 45684"/>
                  <a:gd name="connsiteX19" fmla="*/ 6505 w 138679"/>
                  <a:gd name="connsiteY19" fmla="*/ 45684 h 45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679" h="45684">
                    <a:moveTo>
                      <a:pt x="6505" y="45684"/>
                    </a:moveTo>
                    <a:cubicBezTo>
                      <a:pt x="5190" y="45684"/>
                      <a:pt x="3851" y="45285"/>
                      <a:pt x="2701" y="44463"/>
                    </a:cubicBezTo>
                    <a:cubicBezTo>
                      <a:pt x="-211" y="42350"/>
                      <a:pt x="-869" y="38287"/>
                      <a:pt x="1221" y="35375"/>
                    </a:cubicBezTo>
                    <a:lnTo>
                      <a:pt x="9088" y="24455"/>
                    </a:lnTo>
                    <a:cubicBezTo>
                      <a:pt x="12587" y="19594"/>
                      <a:pt x="19257" y="15062"/>
                      <a:pt x="26748" y="17856"/>
                    </a:cubicBezTo>
                    <a:lnTo>
                      <a:pt x="52345" y="22647"/>
                    </a:lnTo>
                    <a:cubicBezTo>
                      <a:pt x="59320" y="21848"/>
                      <a:pt x="97763" y="18021"/>
                      <a:pt x="124629" y="26475"/>
                    </a:cubicBezTo>
                    <a:lnTo>
                      <a:pt x="122726" y="7148"/>
                    </a:lnTo>
                    <a:cubicBezTo>
                      <a:pt x="122374" y="3578"/>
                      <a:pt x="124981" y="384"/>
                      <a:pt x="128574" y="32"/>
                    </a:cubicBezTo>
                    <a:cubicBezTo>
                      <a:pt x="132308" y="-320"/>
                      <a:pt x="135337" y="2286"/>
                      <a:pt x="135689" y="5879"/>
                    </a:cubicBezTo>
                    <a:lnTo>
                      <a:pt x="138648" y="35962"/>
                    </a:lnTo>
                    <a:cubicBezTo>
                      <a:pt x="138883" y="38357"/>
                      <a:pt x="137779" y="40682"/>
                      <a:pt x="135783" y="42021"/>
                    </a:cubicBezTo>
                    <a:cubicBezTo>
                      <a:pt x="133764" y="43360"/>
                      <a:pt x="131204" y="43477"/>
                      <a:pt x="129090" y="42326"/>
                    </a:cubicBezTo>
                    <a:cubicBezTo>
                      <a:pt x="105043" y="29387"/>
                      <a:pt x="53449" y="35633"/>
                      <a:pt x="52932" y="35704"/>
                    </a:cubicBezTo>
                    <a:cubicBezTo>
                      <a:pt x="52275" y="35774"/>
                      <a:pt x="51594" y="35751"/>
                      <a:pt x="50913" y="35633"/>
                    </a:cubicBezTo>
                    <a:lnTo>
                      <a:pt x="23719" y="30537"/>
                    </a:lnTo>
                    <a:cubicBezTo>
                      <a:pt x="23249" y="30443"/>
                      <a:pt x="22779" y="30303"/>
                      <a:pt x="22333" y="30115"/>
                    </a:cubicBezTo>
                    <a:cubicBezTo>
                      <a:pt x="21863" y="29903"/>
                      <a:pt x="20525" y="30890"/>
                      <a:pt x="19656" y="32087"/>
                    </a:cubicBezTo>
                    <a:lnTo>
                      <a:pt x="11789" y="43007"/>
                    </a:lnTo>
                    <a:cubicBezTo>
                      <a:pt x="10521" y="44745"/>
                      <a:pt x="8524" y="45684"/>
                      <a:pt x="6505" y="45684"/>
                    </a:cubicBezTo>
                    <a:close/>
                  </a:path>
                </a:pathLst>
              </a:custGeom>
              <a:grpFill/>
              <a:ln w="2345" cap="flat">
                <a:noFill/>
                <a:prstDash val="solid"/>
                <a:miter/>
              </a:ln>
            </p:spPr>
            <p:txBody>
              <a:bodyPr rtlCol="0" anchor="ctr"/>
              <a:lstStyle/>
              <a:p>
                <a:endParaRPr lang="en-GB" dirty="0"/>
              </a:p>
            </p:txBody>
          </p:sp>
          <p:sp>
            <p:nvSpPr>
              <p:cNvPr id="99" name="Freihandform: Form 370">
                <a:extLst>
                  <a:ext uri="{FF2B5EF4-FFF2-40B4-BE49-F238E27FC236}">
                    <a16:creationId xmlns:a16="http://schemas.microsoft.com/office/drawing/2014/main" id="{E8BD23C4-BF3E-4F78-94F9-91F6A01381EC}"/>
                  </a:ext>
                </a:extLst>
              </p:cNvPr>
              <p:cNvSpPr/>
              <p:nvPr/>
            </p:nvSpPr>
            <p:spPr>
              <a:xfrm>
                <a:off x="3544350" y="2920480"/>
                <a:ext cx="143204" cy="65120"/>
              </a:xfrm>
              <a:custGeom>
                <a:avLst/>
                <a:gdLst>
                  <a:gd name="connsiteX0" fmla="*/ 71602 w 143204"/>
                  <a:gd name="connsiteY0" fmla="*/ 65121 h 65120"/>
                  <a:gd name="connsiteX1" fmla="*/ 1362 w 143204"/>
                  <a:gd name="connsiteY1" fmla="*/ 43069 h 65120"/>
                  <a:gd name="connsiteX2" fmla="*/ 0 w 143204"/>
                  <a:gd name="connsiteY2" fmla="*/ 39077 h 65120"/>
                  <a:gd name="connsiteX3" fmla="*/ 0 w 143204"/>
                  <a:gd name="connsiteY3" fmla="*/ 6528 h 65120"/>
                  <a:gd name="connsiteX4" fmla="*/ 6505 w 143204"/>
                  <a:gd name="connsiteY4" fmla="*/ 23 h 65120"/>
                  <a:gd name="connsiteX5" fmla="*/ 13010 w 143204"/>
                  <a:gd name="connsiteY5" fmla="*/ 6528 h 65120"/>
                  <a:gd name="connsiteX6" fmla="*/ 13010 w 143204"/>
                  <a:gd name="connsiteY6" fmla="*/ 36423 h 65120"/>
                  <a:gd name="connsiteX7" fmla="*/ 71602 w 143204"/>
                  <a:gd name="connsiteY7" fmla="*/ 52087 h 65120"/>
                  <a:gd name="connsiteX8" fmla="*/ 130194 w 143204"/>
                  <a:gd name="connsiteY8" fmla="*/ 36423 h 65120"/>
                  <a:gd name="connsiteX9" fmla="*/ 130194 w 143204"/>
                  <a:gd name="connsiteY9" fmla="*/ 6505 h 65120"/>
                  <a:gd name="connsiteX10" fmla="*/ 136699 w 143204"/>
                  <a:gd name="connsiteY10" fmla="*/ 0 h 65120"/>
                  <a:gd name="connsiteX11" fmla="*/ 143204 w 143204"/>
                  <a:gd name="connsiteY11" fmla="*/ 6505 h 65120"/>
                  <a:gd name="connsiteX12" fmla="*/ 143204 w 143204"/>
                  <a:gd name="connsiteY12" fmla="*/ 39054 h 65120"/>
                  <a:gd name="connsiteX13" fmla="*/ 141842 w 143204"/>
                  <a:gd name="connsiteY13" fmla="*/ 43046 h 65120"/>
                  <a:gd name="connsiteX14" fmla="*/ 71602 w 143204"/>
                  <a:gd name="connsiteY14" fmla="*/ 65121 h 65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204" h="65120">
                    <a:moveTo>
                      <a:pt x="71602" y="65121"/>
                    </a:moveTo>
                    <a:cubicBezTo>
                      <a:pt x="19116" y="65121"/>
                      <a:pt x="2067" y="43985"/>
                      <a:pt x="1362" y="43069"/>
                    </a:cubicBezTo>
                    <a:cubicBezTo>
                      <a:pt x="470" y="41919"/>
                      <a:pt x="0" y="40510"/>
                      <a:pt x="0" y="39077"/>
                    </a:cubicBezTo>
                    <a:lnTo>
                      <a:pt x="0" y="6528"/>
                    </a:lnTo>
                    <a:cubicBezTo>
                      <a:pt x="0" y="2935"/>
                      <a:pt x="2912" y="23"/>
                      <a:pt x="6505" y="23"/>
                    </a:cubicBezTo>
                    <a:cubicBezTo>
                      <a:pt x="10098" y="23"/>
                      <a:pt x="13010" y="2935"/>
                      <a:pt x="13010" y="6528"/>
                    </a:cubicBezTo>
                    <a:lnTo>
                      <a:pt x="13010" y="36423"/>
                    </a:lnTo>
                    <a:cubicBezTo>
                      <a:pt x="17542" y="40439"/>
                      <a:pt x="33934" y="52087"/>
                      <a:pt x="71602" y="52087"/>
                    </a:cubicBezTo>
                    <a:cubicBezTo>
                      <a:pt x="109364" y="52087"/>
                      <a:pt x="125685" y="40463"/>
                      <a:pt x="130194" y="36423"/>
                    </a:cubicBezTo>
                    <a:lnTo>
                      <a:pt x="130194" y="6505"/>
                    </a:lnTo>
                    <a:cubicBezTo>
                      <a:pt x="130194" y="2912"/>
                      <a:pt x="133106" y="0"/>
                      <a:pt x="136699" y="0"/>
                    </a:cubicBezTo>
                    <a:cubicBezTo>
                      <a:pt x="140292" y="0"/>
                      <a:pt x="143204" y="2912"/>
                      <a:pt x="143204" y="6505"/>
                    </a:cubicBezTo>
                    <a:lnTo>
                      <a:pt x="143204" y="39054"/>
                    </a:lnTo>
                    <a:cubicBezTo>
                      <a:pt x="143204" y="40510"/>
                      <a:pt x="142711" y="41919"/>
                      <a:pt x="141842" y="43046"/>
                    </a:cubicBezTo>
                    <a:cubicBezTo>
                      <a:pt x="141138" y="43962"/>
                      <a:pt x="124112" y="65121"/>
                      <a:pt x="71602" y="65121"/>
                    </a:cubicBezTo>
                    <a:close/>
                  </a:path>
                </a:pathLst>
              </a:custGeom>
              <a:grpFill/>
              <a:ln w="2345" cap="flat">
                <a:noFill/>
                <a:prstDash val="solid"/>
                <a:miter/>
              </a:ln>
            </p:spPr>
            <p:txBody>
              <a:bodyPr rtlCol="0" anchor="ctr"/>
              <a:lstStyle/>
              <a:p>
                <a:endParaRPr lang="en-GB" dirty="0"/>
              </a:p>
            </p:txBody>
          </p:sp>
          <p:sp>
            <p:nvSpPr>
              <p:cNvPr id="100" name="Freihandform: Form 371">
                <a:extLst>
                  <a:ext uri="{FF2B5EF4-FFF2-40B4-BE49-F238E27FC236}">
                    <a16:creationId xmlns:a16="http://schemas.microsoft.com/office/drawing/2014/main" id="{27BE2129-A909-464E-BD1B-A4002E296F0E}"/>
                  </a:ext>
                </a:extLst>
              </p:cNvPr>
              <p:cNvSpPr/>
              <p:nvPr/>
            </p:nvSpPr>
            <p:spPr>
              <a:xfrm>
                <a:off x="3498804" y="2783757"/>
                <a:ext cx="221382" cy="143767"/>
              </a:xfrm>
              <a:custGeom>
                <a:avLst/>
                <a:gdLst>
                  <a:gd name="connsiteX0" fmla="*/ 194387 w 221382"/>
                  <a:gd name="connsiteY0" fmla="*/ 143768 h 143767"/>
                  <a:gd name="connsiteX1" fmla="*/ 146010 w 221382"/>
                  <a:gd name="connsiteY1" fmla="*/ 143768 h 143767"/>
                  <a:gd name="connsiteX2" fmla="*/ 128491 w 221382"/>
                  <a:gd name="connsiteY2" fmla="*/ 140551 h 143767"/>
                  <a:gd name="connsiteX3" fmla="*/ 127646 w 221382"/>
                  <a:gd name="connsiteY3" fmla="*/ 140668 h 143767"/>
                  <a:gd name="connsiteX4" fmla="*/ 90213 w 221382"/>
                  <a:gd name="connsiteY4" fmla="*/ 143721 h 143767"/>
                  <a:gd name="connsiteX5" fmla="*/ 26854 w 221382"/>
                  <a:gd name="connsiteY5" fmla="*/ 143744 h 143767"/>
                  <a:gd name="connsiteX6" fmla="*/ 4990 w 221382"/>
                  <a:gd name="connsiteY6" fmla="*/ 134374 h 143767"/>
                  <a:gd name="connsiteX7" fmla="*/ 223 w 221382"/>
                  <a:gd name="connsiteY7" fmla="*/ 118170 h 143767"/>
                  <a:gd name="connsiteX8" fmla="*/ 13749 w 221382"/>
                  <a:gd name="connsiteY8" fmla="*/ 42694 h 143767"/>
                  <a:gd name="connsiteX9" fmla="*/ 70134 w 221382"/>
                  <a:gd name="connsiteY9" fmla="*/ 0 h 143767"/>
                  <a:gd name="connsiteX10" fmla="*/ 78119 w 221382"/>
                  <a:gd name="connsiteY10" fmla="*/ 0 h 143767"/>
                  <a:gd name="connsiteX11" fmla="*/ 84060 w 221382"/>
                  <a:gd name="connsiteY11" fmla="*/ 3828 h 143767"/>
                  <a:gd name="connsiteX12" fmla="*/ 117383 w 221382"/>
                  <a:gd name="connsiteY12" fmla="*/ 77802 h 143767"/>
                  <a:gd name="connsiteX13" fmla="*/ 150308 w 221382"/>
                  <a:gd name="connsiteY13" fmla="*/ 3828 h 143767"/>
                  <a:gd name="connsiteX14" fmla="*/ 156249 w 221382"/>
                  <a:gd name="connsiteY14" fmla="*/ 0 h 143767"/>
                  <a:gd name="connsiteX15" fmla="*/ 160899 w 221382"/>
                  <a:gd name="connsiteY15" fmla="*/ 0 h 143767"/>
                  <a:gd name="connsiteX16" fmla="*/ 210849 w 221382"/>
                  <a:gd name="connsiteY16" fmla="*/ 42529 h 143767"/>
                  <a:gd name="connsiteX17" fmla="*/ 221064 w 221382"/>
                  <a:gd name="connsiteY17" fmla="*/ 118241 h 143767"/>
                  <a:gd name="connsiteX18" fmla="*/ 216814 w 221382"/>
                  <a:gd name="connsiteY18" fmla="*/ 133599 h 143767"/>
                  <a:gd name="connsiteX19" fmla="*/ 194387 w 221382"/>
                  <a:gd name="connsiteY19" fmla="*/ 143768 h 143767"/>
                  <a:gd name="connsiteX20" fmla="*/ 126636 w 221382"/>
                  <a:gd name="connsiteY20" fmla="*/ 126085 h 143767"/>
                  <a:gd name="connsiteX21" fmla="*/ 146010 w 221382"/>
                  <a:gd name="connsiteY21" fmla="*/ 130758 h 143767"/>
                  <a:gd name="connsiteX22" fmla="*/ 194387 w 221382"/>
                  <a:gd name="connsiteY22" fmla="*/ 130758 h 143767"/>
                  <a:gd name="connsiteX23" fmla="*/ 206716 w 221382"/>
                  <a:gd name="connsiteY23" fmla="*/ 125404 h 143767"/>
                  <a:gd name="connsiteX24" fmla="*/ 208195 w 221382"/>
                  <a:gd name="connsiteY24" fmla="*/ 120425 h 143767"/>
                  <a:gd name="connsiteX25" fmla="*/ 197980 w 221382"/>
                  <a:gd name="connsiteY25" fmla="*/ 44737 h 143767"/>
                  <a:gd name="connsiteX26" fmla="*/ 160875 w 221382"/>
                  <a:gd name="connsiteY26" fmla="*/ 13057 h 143767"/>
                  <a:gd name="connsiteX27" fmla="*/ 160429 w 221382"/>
                  <a:gd name="connsiteY27" fmla="*/ 13057 h 143767"/>
                  <a:gd name="connsiteX28" fmla="*/ 128844 w 221382"/>
                  <a:gd name="connsiteY28" fmla="*/ 83203 h 143767"/>
                  <a:gd name="connsiteX29" fmla="*/ 117172 w 221382"/>
                  <a:gd name="connsiteY29" fmla="*/ 90460 h 143767"/>
                  <a:gd name="connsiteX30" fmla="*/ 105712 w 221382"/>
                  <a:gd name="connsiteY30" fmla="*/ 83626 h 143767"/>
                  <a:gd name="connsiteX31" fmla="*/ 73915 w 221382"/>
                  <a:gd name="connsiteY31" fmla="*/ 13057 h 143767"/>
                  <a:gd name="connsiteX32" fmla="*/ 70134 w 221382"/>
                  <a:gd name="connsiteY32" fmla="*/ 13057 h 143767"/>
                  <a:gd name="connsiteX33" fmla="*/ 26525 w 221382"/>
                  <a:gd name="connsiteY33" fmla="*/ 45183 h 143767"/>
                  <a:gd name="connsiteX34" fmla="*/ 13069 w 221382"/>
                  <a:gd name="connsiteY34" fmla="*/ 120307 h 143767"/>
                  <a:gd name="connsiteX35" fmla="*/ 14830 w 221382"/>
                  <a:gd name="connsiteY35" fmla="*/ 125897 h 143767"/>
                  <a:gd name="connsiteX36" fmla="*/ 26854 w 221382"/>
                  <a:gd name="connsiteY36" fmla="*/ 130758 h 143767"/>
                  <a:gd name="connsiteX37" fmla="*/ 89673 w 221382"/>
                  <a:gd name="connsiteY37" fmla="*/ 130758 h 143767"/>
                  <a:gd name="connsiteX38" fmla="*/ 108107 w 221382"/>
                  <a:gd name="connsiteY38" fmla="*/ 129231 h 143767"/>
                  <a:gd name="connsiteX39" fmla="*/ 47496 w 221382"/>
                  <a:gd name="connsiteY39" fmla="*/ 108072 h 143767"/>
                  <a:gd name="connsiteX40" fmla="*/ 42000 w 221382"/>
                  <a:gd name="connsiteY40" fmla="*/ 105912 h 143767"/>
                  <a:gd name="connsiteX41" fmla="*/ 40497 w 221382"/>
                  <a:gd name="connsiteY41" fmla="*/ 100205 h 143767"/>
                  <a:gd name="connsiteX42" fmla="*/ 47684 w 221382"/>
                  <a:gd name="connsiteY42" fmla="*/ 67422 h 143767"/>
                  <a:gd name="connsiteX43" fmla="*/ 55433 w 221382"/>
                  <a:gd name="connsiteY43" fmla="*/ 62443 h 143767"/>
                  <a:gd name="connsiteX44" fmla="*/ 60388 w 221382"/>
                  <a:gd name="connsiteY44" fmla="*/ 70193 h 143767"/>
                  <a:gd name="connsiteX45" fmla="*/ 54964 w 221382"/>
                  <a:gd name="connsiteY45" fmla="*/ 94968 h 143767"/>
                  <a:gd name="connsiteX46" fmla="*/ 126636 w 221382"/>
                  <a:gd name="connsiteY46" fmla="*/ 126085 h 143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21382" h="143767">
                    <a:moveTo>
                      <a:pt x="194387" y="143768"/>
                    </a:moveTo>
                    <a:lnTo>
                      <a:pt x="146010" y="143768"/>
                    </a:lnTo>
                    <a:cubicBezTo>
                      <a:pt x="141314" y="143768"/>
                      <a:pt x="134362" y="142335"/>
                      <a:pt x="128491" y="140551"/>
                    </a:cubicBezTo>
                    <a:cubicBezTo>
                      <a:pt x="128209" y="140621"/>
                      <a:pt x="127928" y="140645"/>
                      <a:pt x="127646" y="140668"/>
                    </a:cubicBezTo>
                    <a:lnTo>
                      <a:pt x="90213" y="143721"/>
                    </a:lnTo>
                    <a:lnTo>
                      <a:pt x="26854" y="143744"/>
                    </a:lnTo>
                    <a:cubicBezTo>
                      <a:pt x="18352" y="143744"/>
                      <a:pt x="9969" y="140151"/>
                      <a:pt x="4990" y="134374"/>
                    </a:cubicBezTo>
                    <a:cubicBezTo>
                      <a:pt x="1045" y="129819"/>
                      <a:pt x="-646" y="124065"/>
                      <a:pt x="223" y="118170"/>
                    </a:cubicBezTo>
                    <a:lnTo>
                      <a:pt x="13749" y="42694"/>
                    </a:lnTo>
                    <a:cubicBezTo>
                      <a:pt x="18470" y="19492"/>
                      <a:pt x="44278" y="0"/>
                      <a:pt x="70134" y="0"/>
                    </a:cubicBezTo>
                    <a:lnTo>
                      <a:pt x="78119" y="0"/>
                    </a:lnTo>
                    <a:cubicBezTo>
                      <a:pt x="80678" y="0"/>
                      <a:pt x="83003" y="1503"/>
                      <a:pt x="84060" y="3828"/>
                    </a:cubicBezTo>
                    <a:lnTo>
                      <a:pt x="117383" y="77802"/>
                    </a:lnTo>
                    <a:lnTo>
                      <a:pt x="150308" y="3828"/>
                    </a:lnTo>
                    <a:cubicBezTo>
                      <a:pt x="151364" y="1503"/>
                      <a:pt x="153689" y="0"/>
                      <a:pt x="156249" y="0"/>
                    </a:cubicBezTo>
                    <a:lnTo>
                      <a:pt x="160899" y="0"/>
                    </a:lnTo>
                    <a:cubicBezTo>
                      <a:pt x="184805" y="0"/>
                      <a:pt x="205823" y="17895"/>
                      <a:pt x="210849" y="42529"/>
                    </a:cubicBezTo>
                    <a:lnTo>
                      <a:pt x="221064" y="118241"/>
                    </a:lnTo>
                    <a:cubicBezTo>
                      <a:pt x="222098" y="123384"/>
                      <a:pt x="220595" y="128973"/>
                      <a:pt x="216814" y="133599"/>
                    </a:cubicBezTo>
                    <a:cubicBezTo>
                      <a:pt x="211718" y="139799"/>
                      <a:pt x="202935" y="143768"/>
                      <a:pt x="194387" y="143768"/>
                    </a:cubicBezTo>
                    <a:close/>
                    <a:moveTo>
                      <a:pt x="126636" y="126085"/>
                    </a:moveTo>
                    <a:cubicBezTo>
                      <a:pt x="131380" y="128292"/>
                      <a:pt x="141548" y="130758"/>
                      <a:pt x="146010" y="130758"/>
                    </a:cubicBezTo>
                    <a:lnTo>
                      <a:pt x="194387" y="130758"/>
                    </a:lnTo>
                    <a:cubicBezTo>
                      <a:pt x="199060" y="130758"/>
                      <a:pt x="204133" y="128550"/>
                      <a:pt x="206716" y="125404"/>
                    </a:cubicBezTo>
                    <a:cubicBezTo>
                      <a:pt x="208688" y="122985"/>
                      <a:pt x="208313" y="121059"/>
                      <a:pt x="208195" y="120425"/>
                    </a:cubicBezTo>
                    <a:lnTo>
                      <a:pt x="197980" y="44737"/>
                    </a:lnTo>
                    <a:cubicBezTo>
                      <a:pt x="194269" y="26560"/>
                      <a:pt x="178629" y="13057"/>
                      <a:pt x="160875" y="13057"/>
                    </a:cubicBezTo>
                    <a:lnTo>
                      <a:pt x="160429" y="13057"/>
                    </a:lnTo>
                    <a:lnTo>
                      <a:pt x="128844" y="83203"/>
                    </a:lnTo>
                    <a:cubicBezTo>
                      <a:pt x="126354" y="87829"/>
                      <a:pt x="121963" y="90460"/>
                      <a:pt x="117172" y="90460"/>
                    </a:cubicBezTo>
                    <a:cubicBezTo>
                      <a:pt x="112381" y="90460"/>
                      <a:pt x="107990" y="87829"/>
                      <a:pt x="105712" y="83626"/>
                    </a:cubicBezTo>
                    <a:lnTo>
                      <a:pt x="73915" y="13057"/>
                    </a:lnTo>
                    <a:lnTo>
                      <a:pt x="70134" y="13057"/>
                    </a:lnTo>
                    <a:cubicBezTo>
                      <a:pt x="50384" y="13057"/>
                      <a:pt x="30024" y="28063"/>
                      <a:pt x="26525" y="45183"/>
                    </a:cubicBezTo>
                    <a:lnTo>
                      <a:pt x="13069" y="120307"/>
                    </a:lnTo>
                    <a:cubicBezTo>
                      <a:pt x="12787" y="122280"/>
                      <a:pt x="13350" y="124182"/>
                      <a:pt x="14830" y="125897"/>
                    </a:cubicBezTo>
                    <a:cubicBezTo>
                      <a:pt x="17343" y="128809"/>
                      <a:pt x="22180" y="130758"/>
                      <a:pt x="26854" y="130758"/>
                    </a:cubicBezTo>
                    <a:lnTo>
                      <a:pt x="89673" y="130758"/>
                    </a:lnTo>
                    <a:lnTo>
                      <a:pt x="108107" y="129231"/>
                    </a:lnTo>
                    <a:cubicBezTo>
                      <a:pt x="93571" y="120049"/>
                      <a:pt x="67692" y="106053"/>
                      <a:pt x="47496" y="108072"/>
                    </a:cubicBezTo>
                    <a:cubicBezTo>
                      <a:pt x="45382" y="108307"/>
                      <a:pt x="43362" y="107485"/>
                      <a:pt x="42000" y="105912"/>
                    </a:cubicBezTo>
                    <a:cubicBezTo>
                      <a:pt x="40615" y="104362"/>
                      <a:pt x="40051" y="102225"/>
                      <a:pt x="40497" y="100205"/>
                    </a:cubicBezTo>
                    <a:lnTo>
                      <a:pt x="47684" y="67422"/>
                    </a:lnTo>
                    <a:cubicBezTo>
                      <a:pt x="48459" y="63899"/>
                      <a:pt x="51911" y="61668"/>
                      <a:pt x="55433" y="62443"/>
                    </a:cubicBezTo>
                    <a:cubicBezTo>
                      <a:pt x="58956" y="63218"/>
                      <a:pt x="61163" y="66694"/>
                      <a:pt x="60388" y="70193"/>
                    </a:cubicBezTo>
                    <a:lnTo>
                      <a:pt x="54964" y="94968"/>
                    </a:lnTo>
                    <a:cubicBezTo>
                      <a:pt x="86267" y="96847"/>
                      <a:pt x="121634" y="122351"/>
                      <a:pt x="126636" y="126085"/>
                    </a:cubicBezTo>
                    <a:close/>
                  </a:path>
                </a:pathLst>
              </a:custGeom>
              <a:grpFill/>
              <a:ln w="2345" cap="flat">
                <a:noFill/>
                <a:prstDash val="solid"/>
                <a:miter/>
              </a:ln>
            </p:spPr>
            <p:txBody>
              <a:bodyPr rtlCol="0" anchor="ctr"/>
              <a:lstStyle/>
              <a:p>
                <a:endParaRPr lang="en-GB" dirty="0"/>
              </a:p>
            </p:txBody>
          </p:sp>
        </p:grpSp>
      </p:grpSp>
      <p:grpSp>
        <p:nvGrpSpPr>
          <p:cNvPr id="42" name="Group 41">
            <a:extLst>
              <a:ext uri="{FF2B5EF4-FFF2-40B4-BE49-F238E27FC236}">
                <a16:creationId xmlns:a16="http://schemas.microsoft.com/office/drawing/2014/main" id="{26EF1DBD-665A-19FA-6CFD-9F20EACA8CF5}"/>
              </a:ext>
            </a:extLst>
          </p:cNvPr>
          <p:cNvGrpSpPr/>
          <p:nvPr/>
        </p:nvGrpSpPr>
        <p:grpSpPr>
          <a:xfrm>
            <a:off x="1673311" y="2391526"/>
            <a:ext cx="332346" cy="431999"/>
            <a:chOff x="1673311" y="2391526"/>
            <a:chExt cx="332346" cy="431999"/>
          </a:xfrm>
        </p:grpSpPr>
        <p:grpSp>
          <p:nvGrpSpPr>
            <p:cNvPr id="105" name="Group 104">
              <a:extLst>
                <a:ext uri="{FF2B5EF4-FFF2-40B4-BE49-F238E27FC236}">
                  <a16:creationId xmlns:a16="http://schemas.microsoft.com/office/drawing/2014/main" id="{D0C72EA0-6323-475F-9837-083787774AC0}"/>
                </a:ext>
              </a:extLst>
            </p:cNvPr>
            <p:cNvGrpSpPr/>
            <p:nvPr/>
          </p:nvGrpSpPr>
          <p:grpSpPr>
            <a:xfrm>
              <a:off x="1761918" y="2391526"/>
              <a:ext cx="166161" cy="404302"/>
              <a:chOff x="7940042" y="2445451"/>
              <a:chExt cx="193907" cy="471812"/>
            </a:xfrm>
            <a:solidFill>
              <a:schemeClr val="tx2"/>
            </a:solidFill>
          </p:grpSpPr>
          <p:sp>
            <p:nvSpPr>
              <p:cNvPr id="117" name="Freihandform: Form 797">
                <a:extLst>
                  <a:ext uri="{FF2B5EF4-FFF2-40B4-BE49-F238E27FC236}">
                    <a16:creationId xmlns:a16="http://schemas.microsoft.com/office/drawing/2014/main" id="{4C4E9159-C4B6-42F8-9942-0FF4E1C1C0C6}"/>
                  </a:ext>
                </a:extLst>
              </p:cNvPr>
              <p:cNvSpPr/>
              <p:nvPr/>
            </p:nvSpPr>
            <p:spPr>
              <a:xfrm>
                <a:off x="7972365" y="2658737"/>
                <a:ext cx="19377" cy="258526"/>
              </a:xfrm>
              <a:custGeom>
                <a:avLst/>
                <a:gdLst>
                  <a:gd name="connsiteX0" fmla="*/ 12919 w 19377"/>
                  <a:gd name="connsiteY0" fmla="*/ 258527 h 258526"/>
                  <a:gd name="connsiteX1" fmla="*/ 6459 w 19377"/>
                  <a:gd name="connsiteY1" fmla="*/ 252067 h 258526"/>
                  <a:gd name="connsiteX2" fmla="*/ 6459 w 19377"/>
                  <a:gd name="connsiteY2" fmla="*/ 12918 h 258526"/>
                  <a:gd name="connsiteX3" fmla="*/ 0 w 19377"/>
                  <a:gd name="connsiteY3" fmla="*/ 6459 h 258526"/>
                  <a:gd name="connsiteX4" fmla="*/ 6459 w 19377"/>
                  <a:gd name="connsiteY4" fmla="*/ 0 h 258526"/>
                  <a:gd name="connsiteX5" fmla="*/ 12919 w 19377"/>
                  <a:gd name="connsiteY5" fmla="*/ 0 h 258526"/>
                  <a:gd name="connsiteX6" fmla="*/ 19378 w 19377"/>
                  <a:gd name="connsiteY6" fmla="*/ 6459 h 258526"/>
                  <a:gd name="connsiteX7" fmla="*/ 19378 w 19377"/>
                  <a:gd name="connsiteY7" fmla="*/ 252067 h 258526"/>
                  <a:gd name="connsiteX8" fmla="*/ 12919 w 19377"/>
                  <a:gd name="connsiteY8" fmla="*/ 258527 h 2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77" h="258526">
                    <a:moveTo>
                      <a:pt x="12919" y="258527"/>
                    </a:moveTo>
                    <a:cubicBezTo>
                      <a:pt x="9348" y="258527"/>
                      <a:pt x="6459" y="255638"/>
                      <a:pt x="6459" y="252067"/>
                    </a:cubicBezTo>
                    <a:lnTo>
                      <a:pt x="6459" y="12918"/>
                    </a:lnTo>
                    <a:cubicBezTo>
                      <a:pt x="2888" y="12918"/>
                      <a:pt x="0" y="10030"/>
                      <a:pt x="0" y="6459"/>
                    </a:cubicBezTo>
                    <a:cubicBezTo>
                      <a:pt x="0" y="2888"/>
                      <a:pt x="2888" y="0"/>
                      <a:pt x="6459" y="0"/>
                    </a:cubicBezTo>
                    <a:lnTo>
                      <a:pt x="12919" y="0"/>
                    </a:lnTo>
                    <a:cubicBezTo>
                      <a:pt x="16489" y="0"/>
                      <a:pt x="19378" y="2888"/>
                      <a:pt x="19378" y="6459"/>
                    </a:cubicBezTo>
                    <a:lnTo>
                      <a:pt x="19378" y="252067"/>
                    </a:lnTo>
                    <a:cubicBezTo>
                      <a:pt x="19404" y="255638"/>
                      <a:pt x="16489" y="258527"/>
                      <a:pt x="12919" y="258527"/>
                    </a:cubicBezTo>
                    <a:close/>
                  </a:path>
                </a:pathLst>
              </a:custGeom>
              <a:grpFill/>
              <a:ln w="2618" cap="flat">
                <a:noFill/>
                <a:prstDash val="solid"/>
                <a:miter/>
              </a:ln>
            </p:spPr>
            <p:txBody>
              <a:bodyPr rtlCol="0" anchor="ctr"/>
              <a:lstStyle/>
              <a:p>
                <a:endParaRPr lang="en-GB" dirty="0"/>
              </a:p>
            </p:txBody>
          </p:sp>
          <p:sp>
            <p:nvSpPr>
              <p:cNvPr id="118" name="Freihandform: Form 798">
                <a:extLst>
                  <a:ext uri="{FF2B5EF4-FFF2-40B4-BE49-F238E27FC236}">
                    <a16:creationId xmlns:a16="http://schemas.microsoft.com/office/drawing/2014/main" id="{3FCE352F-4FE5-4A44-801D-3E9BCFD812E2}"/>
                  </a:ext>
                </a:extLst>
              </p:cNvPr>
              <p:cNvSpPr/>
              <p:nvPr/>
            </p:nvSpPr>
            <p:spPr>
              <a:xfrm>
                <a:off x="8082250" y="2658737"/>
                <a:ext cx="19377" cy="258526"/>
              </a:xfrm>
              <a:custGeom>
                <a:avLst/>
                <a:gdLst>
                  <a:gd name="connsiteX0" fmla="*/ 6459 w 19377"/>
                  <a:gd name="connsiteY0" fmla="*/ 258527 h 258526"/>
                  <a:gd name="connsiteX1" fmla="*/ 0 w 19377"/>
                  <a:gd name="connsiteY1" fmla="*/ 252067 h 258526"/>
                  <a:gd name="connsiteX2" fmla="*/ 0 w 19377"/>
                  <a:gd name="connsiteY2" fmla="*/ 6459 h 258526"/>
                  <a:gd name="connsiteX3" fmla="*/ 6459 w 19377"/>
                  <a:gd name="connsiteY3" fmla="*/ 0 h 258526"/>
                  <a:gd name="connsiteX4" fmla="*/ 12919 w 19377"/>
                  <a:gd name="connsiteY4" fmla="*/ 0 h 258526"/>
                  <a:gd name="connsiteX5" fmla="*/ 19378 w 19377"/>
                  <a:gd name="connsiteY5" fmla="*/ 6459 h 258526"/>
                  <a:gd name="connsiteX6" fmla="*/ 12919 w 19377"/>
                  <a:gd name="connsiteY6" fmla="*/ 12918 h 258526"/>
                  <a:gd name="connsiteX7" fmla="*/ 12919 w 19377"/>
                  <a:gd name="connsiteY7" fmla="*/ 252067 h 258526"/>
                  <a:gd name="connsiteX8" fmla="*/ 6459 w 19377"/>
                  <a:gd name="connsiteY8" fmla="*/ 258527 h 258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77" h="258526">
                    <a:moveTo>
                      <a:pt x="6459" y="258527"/>
                    </a:moveTo>
                    <a:cubicBezTo>
                      <a:pt x="2889" y="258527"/>
                      <a:pt x="0" y="255638"/>
                      <a:pt x="0" y="252067"/>
                    </a:cubicBezTo>
                    <a:lnTo>
                      <a:pt x="0" y="6459"/>
                    </a:lnTo>
                    <a:cubicBezTo>
                      <a:pt x="0" y="2888"/>
                      <a:pt x="2889" y="0"/>
                      <a:pt x="6459" y="0"/>
                    </a:cubicBezTo>
                    <a:lnTo>
                      <a:pt x="12919" y="0"/>
                    </a:lnTo>
                    <a:cubicBezTo>
                      <a:pt x="16489" y="0"/>
                      <a:pt x="19378" y="2888"/>
                      <a:pt x="19378" y="6459"/>
                    </a:cubicBezTo>
                    <a:cubicBezTo>
                      <a:pt x="19378" y="10030"/>
                      <a:pt x="16489" y="12918"/>
                      <a:pt x="12919" y="12918"/>
                    </a:cubicBezTo>
                    <a:lnTo>
                      <a:pt x="12919" y="252067"/>
                    </a:lnTo>
                    <a:cubicBezTo>
                      <a:pt x="12919" y="255638"/>
                      <a:pt x="10030" y="258527"/>
                      <a:pt x="6459" y="258527"/>
                    </a:cubicBezTo>
                    <a:close/>
                  </a:path>
                </a:pathLst>
              </a:custGeom>
              <a:grpFill/>
              <a:ln w="2618" cap="flat">
                <a:noFill/>
                <a:prstDash val="solid"/>
                <a:miter/>
              </a:ln>
            </p:spPr>
            <p:txBody>
              <a:bodyPr rtlCol="0" anchor="ctr"/>
              <a:lstStyle/>
              <a:p>
                <a:endParaRPr lang="en-GB" dirty="0"/>
              </a:p>
            </p:txBody>
          </p:sp>
          <p:sp>
            <p:nvSpPr>
              <p:cNvPr id="119" name="Freihandform: Form 799">
                <a:extLst>
                  <a:ext uri="{FF2B5EF4-FFF2-40B4-BE49-F238E27FC236}">
                    <a16:creationId xmlns:a16="http://schemas.microsoft.com/office/drawing/2014/main" id="{67A36B43-948C-4011-8BC6-78FBBE826722}"/>
                  </a:ext>
                </a:extLst>
              </p:cNvPr>
              <p:cNvSpPr/>
              <p:nvPr/>
            </p:nvSpPr>
            <p:spPr>
              <a:xfrm>
                <a:off x="8030550" y="2755678"/>
                <a:ext cx="12918" cy="161585"/>
              </a:xfrm>
              <a:custGeom>
                <a:avLst/>
                <a:gdLst>
                  <a:gd name="connsiteX0" fmla="*/ 6459 w 12918"/>
                  <a:gd name="connsiteY0" fmla="*/ 161586 h 161585"/>
                  <a:gd name="connsiteX1" fmla="*/ 0 w 12918"/>
                  <a:gd name="connsiteY1" fmla="*/ 155126 h 161585"/>
                  <a:gd name="connsiteX2" fmla="*/ 0 w 12918"/>
                  <a:gd name="connsiteY2" fmla="*/ 6459 h 161585"/>
                  <a:gd name="connsiteX3" fmla="*/ 6459 w 12918"/>
                  <a:gd name="connsiteY3" fmla="*/ 0 h 161585"/>
                  <a:gd name="connsiteX4" fmla="*/ 12919 w 12918"/>
                  <a:gd name="connsiteY4" fmla="*/ 6459 h 161585"/>
                  <a:gd name="connsiteX5" fmla="*/ 12919 w 12918"/>
                  <a:gd name="connsiteY5" fmla="*/ 155126 h 161585"/>
                  <a:gd name="connsiteX6" fmla="*/ 6459 w 12918"/>
                  <a:gd name="connsiteY6" fmla="*/ 161586 h 161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8" h="161585">
                    <a:moveTo>
                      <a:pt x="6459" y="161586"/>
                    </a:moveTo>
                    <a:cubicBezTo>
                      <a:pt x="2888" y="161586"/>
                      <a:pt x="0" y="158697"/>
                      <a:pt x="0" y="155126"/>
                    </a:cubicBezTo>
                    <a:lnTo>
                      <a:pt x="0" y="6459"/>
                    </a:lnTo>
                    <a:cubicBezTo>
                      <a:pt x="0" y="2888"/>
                      <a:pt x="2888" y="0"/>
                      <a:pt x="6459" y="0"/>
                    </a:cubicBezTo>
                    <a:cubicBezTo>
                      <a:pt x="10030" y="0"/>
                      <a:pt x="12919" y="2888"/>
                      <a:pt x="12919" y="6459"/>
                    </a:cubicBezTo>
                    <a:lnTo>
                      <a:pt x="12919" y="155126"/>
                    </a:lnTo>
                    <a:cubicBezTo>
                      <a:pt x="12919" y="158697"/>
                      <a:pt x="10030" y="161586"/>
                      <a:pt x="6459" y="161586"/>
                    </a:cubicBezTo>
                    <a:close/>
                  </a:path>
                </a:pathLst>
              </a:custGeom>
              <a:grpFill/>
              <a:ln w="2618" cap="flat">
                <a:noFill/>
                <a:prstDash val="solid"/>
                <a:miter/>
              </a:ln>
            </p:spPr>
            <p:txBody>
              <a:bodyPr rtlCol="0" anchor="ctr"/>
              <a:lstStyle/>
              <a:p>
                <a:endParaRPr lang="en-GB" dirty="0"/>
              </a:p>
            </p:txBody>
          </p:sp>
          <p:sp>
            <p:nvSpPr>
              <p:cNvPr id="120" name="Freihandform: Form 800">
                <a:extLst>
                  <a:ext uri="{FF2B5EF4-FFF2-40B4-BE49-F238E27FC236}">
                    <a16:creationId xmlns:a16="http://schemas.microsoft.com/office/drawing/2014/main" id="{842AA594-A46A-498B-9AE0-DAD51B7FD015}"/>
                  </a:ext>
                </a:extLst>
              </p:cNvPr>
              <p:cNvSpPr/>
              <p:nvPr/>
            </p:nvSpPr>
            <p:spPr>
              <a:xfrm>
                <a:off x="7940042" y="2561796"/>
                <a:ext cx="193907" cy="213285"/>
              </a:xfrm>
              <a:custGeom>
                <a:avLst/>
                <a:gdLst>
                  <a:gd name="connsiteX0" fmla="*/ 187449 w 193907"/>
                  <a:gd name="connsiteY0" fmla="*/ 213286 h 213285"/>
                  <a:gd name="connsiteX1" fmla="*/ 174530 w 193907"/>
                  <a:gd name="connsiteY1" fmla="*/ 213286 h 213285"/>
                  <a:gd name="connsiteX2" fmla="*/ 168071 w 193907"/>
                  <a:gd name="connsiteY2" fmla="*/ 206827 h 213285"/>
                  <a:gd name="connsiteX3" fmla="*/ 174530 w 193907"/>
                  <a:gd name="connsiteY3" fmla="*/ 200367 h 213285"/>
                  <a:gd name="connsiteX4" fmla="*/ 180989 w 193907"/>
                  <a:gd name="connsiteY4" fmla="*/ 200367 h 213285"/>
                  <a:gd name="connsiteX5" fmla="*/ 180989 w 193907"/>
                  <a:gd name="connsiteY5" fmla="*/ 84022 h 213285"/>
                  <a:gd name="connsiteX6" fmla="*/ 116345 w 193907"/>
                  <a:gd name="connsiteY6" fmla="*/ 12918 h 213285"/>
                  <a:gd name="connsiteX7" fmla="*/ 77563 w 193907"/>
                  <a:gd name="connsiteY7" fmla="*/ 12918 h 213285"/>
                  <a:gd name="connsiteX8" fmla="*/ 12918 w 193907"/>
                  <a:gd name="connsiteY8" fmla="*/ 84022 h 213285"/>
                  <a:gd name="connsiteX9" fmla="*/ 12918 w 193907"/>
                  <a:gd name="connsiteY9" fmla="*/ 200367 h 213285"/>
                  <a:gd name="connsiteX10" fmla="*/ 19378 w 193907"/>
                  <a:gd name="connsiteY10" fmla="*/ 200367 h 213285"/>
                  <a:gd name="connsiteX11" fmla="*/ 25837 w 193907"/>
                  <a:gd name="connsiteY11" fmla="*/ 206827 h 213285"/>
                  <a:gd name="connsiteX12" fmla="*/ 19378 w 193907"/>
                  <a:gd name="connsiteY12" fmla="*/ 213286 h 213285"/>
                  <a:gd name="connsiteX13" fmla="*/ 6459 w 193907"/>
                  <a:gd name="connsiteY13" fmla="*/ 213286 h 213285"/>
                  <a:gd name="connsiteX14" fmla="*/ 0 w 193907"/>
                  <a:gd name="connsiteY14" fmla="*/ 206827 h 213285"/>
                  <a:gd name="connsiteX15" fmla="*/ 0 w 193907"/>
                  <a:gd name="connsiteY15" fmla="*/ 84022 h 213285"/>
                  <a:gd name="connsiteX16" fmla="*/ 77563 w 193907"/>
                  <a:gd name="connsiteY16" fmla="*/ 0 h 213285"/>
                  <a:gd name="connsiteX17" fmla="*/ 116345 w 193907"/>
                  <a:gd name="connsiteY17" fmla="*/ 0 h 213285"/>
                  <a:gd name="connsiteX18" fmla="*/ 193908 w 193907"/>
                  <a:gd name="connsiteY18" fmla="*/ 84022 h 213285"/>
                  <a:gd name="connsiteX19" fmla="*/ 193908 w 193907"/>
                  <a:gd name="connsiteY19" fmla="*/ 206827 h 213285"/>
                  <a:gd name="connsiteX20" fmla="*/ 187449 w 193907"/>
                  <a:gd name="connsiteY20" fmla="*/ 213286 h 213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3907" h="213285">
                    <a:moveTo>
                      <a:pt x="187449" y="213286"/>
                    </a:moveTo>
                    <a:lnTo>
                      <a:pt x="174530" y="213286"/>
                    </a:lnTo>
                    <a:cubicBezTo>
                      <a:pt x="170959" y="213286"/>
                      <a:pt x="168071" y="210397"/>
                      <a:pt x="168071" y="206827"/>
                    </a:cubicBezTo>
                    <a:cubicBezTo>
                      <a:pt x="168071" y="203256"/>
                      <a:pt x="170959" y="200367"/>
                      <a:pt x="174530" y="200367"/>
                    </a:cubicBezTo>
                    <a:lnTo>
                      <a:pt x="180989" y="200367"/>
                    </a:lnTo>
                    <a:lnTo>
                      <a:pt x="180989" y="84022"/>
                    </a:lnTo>
                    <a:cubicBezTo>
                      <a:pt x="180989" y="42825"/>
                      <a:pt x="153813" y="12918"/>
                      <a:pt x="116345" y="12918"/>
                    </a:cubicBezTo>
                    <a:lnTo>
                      <a:pt x="77563" y="12918"/>
                    </a:lnTo>
                    <a:cubicBezTo>
                      <a:pt x="40120" y="12918"/>
                      <a:pt x="12918" y="42825"/>
                      <a:pt x="12918" y="84022"/>
                    </a:cubicBezTo>
                    <a:lnTo>
                      <a:pt x="12918" y="200367"/>
                    </a:lnTo>
                    <a:lnTo>
                      <a:pt x="19378" y="200367"/>
                    </a:lnTo>
                    <a:cubicBezTo>
                      <a:pt x="22949" y="200367"/>
                      <a:pt x="25837" y="203256"/>
                      <a:pt x="25837" y="206827"/>
                    </a:cubicBezTo>
                    <a:cubicBezTo>
                      <a:pt x="25837" y="210397"/>
                      <a:pt x="22949" y="213286"/>
                      <a:pt x="19378" y="213286"/>
                    </a:cubicBezTo>
                    <a:lnTo>
                      <a:pt x="6459" y="213286"/>
                    </a:lnTo>
                    <a:cubicBezTo>
                      <a:pt x="2888" y="213286"/>
                      <a:pt x="0" y="210397"/>
                      <a:pt x="0" y="206827"/>
                    </a:cubicBezTo>
                    <a:lnTo>
                      <a:pt x="0" y="84022"/>
                    </a:lnTo>
                    <a:cubicBezTo>
                      <a:pt x="0" y="36130"/>
                      <a:pt x="33346" y="0"/>
                      <a:pt x="77563" y="0"/>
                    </a:cubicBezTo>
                    <a:lnTo>
                      <a:pt x="116345" y="0"/>
                    </a:lnTo>
                    <a:cubicBezTo>
                      <a:pt x="160561" y="0"/>
                      <a:pt x="193908" y="36130"/>
                      <a:pt x="193908" y="84022"/>
                    </a:cubicBezTo>
                    <a:lnTo>
                      <a:pt x="193908" y="206827"/>
                    </a:lnTo>
                    <a:cubicBezTo>
                      <a:pt x="193908" y="210371"/>
                      <a:pt x="191020" y="213286"/>
                      <a:pt x="187449" y="213286"/>
                    </a:cubicBezTo>
                    <a:close/>
                  </a:path>
                </a:pathLst>
              </a:custGeom>
              <a:grpFill/>
              <a:ln w="2618" cap="flat">
                <a:noFill/>
                <a:prstDash val="solid"/>
                <a:miter/>
              </a:ln>
            </p:spPr>
            <p:txBody>
              <a:bodyPr rtlCol="0" anchor="ctr"/>
              <a:lstStyle/>
              <a:p>
                <a:endParaRPr lang="en-GB" dirty="0"/>
              </a:p>
            </p:txBody>
          </p:sp>
          <p:sp>
            <p:nvSpPr>
              <p:cNvPr id="121" name="Freihandform: Form 801">
                <a:extLst>
                  <a:ext uri="{FF2B5EF4-FFF2-40B4-BE49-F238E27FC236}">
                    <a16:creationId xmlns:a16="http://schemas.microsoft.com/office/drawing/2014/main" id="{9D2345E2-B4CB-4595-9D33-25CCFE232E5C}"/>
                  </a:ext>
                </a:extLst>
              </p:cNvPr>
              <p:cNvSpPr/>
              <p:nvPr/>
            </p:nvSpPr>
            <p:spPr>
              <a:xfrm>
                <a:off x="7991768" y="2445451"/>
                <a:ext cx="90481" cy="103400"/>
              </a:xfrm>
              <a:custGeom>
                <a:avLst/>
                <a:gdLst>
                  <a:gd name="connsiteX0" fmla="*/ 45241 w 90481"/>
                  <a:gd name="connsiteY0" fmla="*/ 103400 h 103400"/>
                  <a:gd name="connsiteX1" fmla="*/ 0 w 90481"/>
                  <a:gd name="connsiteY1" fmla="*/ 51700 h 103400"/>
                  <a:gd name="connsiteX2" fmla="*/ 45241 w 90481"/>
                  <a:gd name="connsiteY2" fmla="*/ 0 h 103400"/>
                  <a:gd name="connsiteX3" fmla="*/ 90482 w 90481"/>
                  <a:gd name="connsiteY3" fmla="*/ 51700 h 103400"/>
                  <a:gd name="connsiteX4" fmla="*/ 45241 w 90481"/>
                  <a:gd name="connsiteY4" fmla="*/ 103400 h 103400"/>
                  <a:gd name="connsiteX5" fmla="*/ 45241 w 90481"/>
                  <a:gd name="connsiteY5" fmla="*/ 12918 h 103400"/>
                  <a:gd name="connsiteX6" fmla="*/ 12919 w 90481"/>
                  <a:gd name="connsiteY6" fmla="*/ 51700 h 103400"/>
                  <a:gd name="connsiteX7" fmla="*/ 45241 w 90481"/>
                  <a:gd name="connsiteY7" fmla="*/ 90482 h 103400"/>
                  <a:gd name="connsiteX8" fmla="*/ 77563 w 90481"/>
                  <a:gd name="connsiteY8" fmla="*/ 51700 h 103400"/>
                  <a:gd name="connsiteX9" fmla="*/ 45241 w 90481"/>
                  <a:gd name="connsiteY9" fmla="*/ 12918 h 10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81" h="103400">
                    <a:moveTo>
                      <a:pt x="45241" y="103400"/>
                    </a:moveTo>
                    <a:cubicBezTo>
                      <a:pt x="18170" y="103400"/>
                      <a:pt x="0" y="82631"/>
                      <a:pt x="0" y="51700"/>
                    </a:cubicBezTo>
                    <a:cubicBezTo>
                      <a:pt x="0" y="20769"/>
                      <a:pt x="18196" y="0"/>
                      <a:pt x="45241" y="0"/>
                    </a:cubicBezTo>
                    <a:cubicBezTo>
                      <a:pt x="72286" y="0"/>
                      <a:pt x="90482" y="20769"/>
                      <a:pt x="90482" y="51700"/>
                    </a:cubicBezTo>
                    <a:cubicBezTo>
                      <a:pt x="90482" y="82631"/>
                      <a:pt x="72286" y="103400"/>
                      <a:pt x="45241" y="103400"/>
                    </a:cubicBezTo>
                    <a:close/>
                    <a:moveTo>
                      <a:pt x="45241" y="12918"/>
                    </a:moveTo>
                    <a:cubicBezTo>
                      <a:pt x="21400" y="12918"/>
                      <a:pt x="12919" y="33819"/>
                      <a:pt x="12919" y="51700"/>
                    </a:cubicBezTo>
                    <a:cubicBezTo>
                      <a:pt x="12919" y="69581"/>
                      <a:pt x="21373" y="90482"/>
                      <a:pt x="45241" y="90482"/>
                    </a:cubicBezTo>
                    <a:cubicBezTo>
                      <a:pt x="69108" y="90482"/>
                      <a:pt x="77563" y="69581"/>
                      <a:pt x="77563" y="51700"/>
                    </a:cubicBezTo>
                    <a:cubicBezTo>
                      <a:pt x="77563" y="33819"/>
                      <a:pt x="69082" y="12918"/>
                      <a:pt x="45241" y="12918"/>
                    </a:cubicBezTo>
                    <a:close/>
                  </a:path>
                </a:pathLst>
              </a:custGeom>
              <a:grpFill/>
              <a:ln w="2618" cap="flat">
                <a:noFill/>
                <a:prstDash val="solid"/>
                <a:miter/>
              </a:ln>
            </p:spPr>
            <p:txBody>
              <a:bodyPr rtlCol="0" anchor="ctr"/>
              <a:lstStyle/>
              <a:p>
                <a:endParaRPr lang="en-GB" dirty="0"/>
              </a:p>
            </p:txBody>
          </p:sp>
        </p:grpSp>
        <p:grpSp>
          <p:nvGrpSpPr>
            <p:cNvPr id="106" name="Group 105">
              <a:extLst>
                <a:ext uri="{FF2B5EF4-FFF2-40B4-BE49-F238E27FC236}">
                  <a16:creationId xmlns:a16="http://schemas.microsoft.com/office/drawing/2014/main" id="{CE0E3543-38C6-43B6-A858-1B84D5C8907B}"/>
                </a:ext>
              </a:extLst>
            </p:cNvPr>
            <p:cNvGrpSpPr/>
            <p:nvPr/>
          </p:nvGrpSpPr>
          <p:grpSpPr>
            <a:xfrm>
              <a:off x="1673311" y="2394377"/>
              <a:ext cx="332346" cy="429148"/>
              <a:chOff x="7836639" y="2448779"/>
              <a:chExt cx="387841" cy="500807"/>
            </a:xfrm>
            <a:solidFill>
              <a:schemeClr val="accent1"/>
            </a:solidFill>
          </p:grpSpPr>
          <p:sp>
            <p:nvSpPr>
              <p:cNvPr id="107" name="Freihandform: Form 788">
                <a:extLst>
                  <a:ext uri="{FF2B5EF4-FFF2-40B4-BE49-F238E27FC236}">
                    <a16:creationId xmlns:a16="http://schemas.microsoft.com/office/drawing/2014/main" id="{A5B41787-9358-4697-9DD6-9605420DA621}"/>
                  </a:ext>
                </a:extLst>
              </p:cNvPr>
              <p:cNvSpPr/>
              <p:nvPr/>
            </p:nvSpPr>
            <p:spPr>
              <a:xfrm>
                <a:off x="8185650" y="2506840"/>
                <a:ext cx="12918" cy="161585"/>
              </a:xfrm>
              <a:custGeom>
                <a:avLst/>
                <a:gdLst>
                  <a:gd name="connsiteX0" fmla="*/ 0 w 12918"/>
                  <a:gd name="connsiteY0" fmla="*/ 0 h 161585"/>
                  <a:gd name="connsiteX1" fmla="*/ 12918 w 12918"/>
                  <a:gd name="connsiteY1" fmla="*/ 0 h 161585"/>
                  <a:gd name="connsiteX2" fmla="*/ 12918 w 12918"/>
                  <a:gd name="connsiteY2" fmla="*/ 161586 h 161585"/>
                  <a:gd name="connsiteX3" fmla="*/ 0 w 12918"/>
                  <a:gd name="connsiteY3" fmla="*/ 161586 h 161585"/>
                </a:gdLst>
                <a:ahLst/>
                <a:cxnLst>
                  <a:cxn ang="0">
                    <a:pos x="connsiteX0" y="connsiteY0"/>
                  </a:cxn>
                  <a:cxn ang="0">
                    <a:pos x="connsiteX1" y="connsiteY1"/>
                  </a:cxn>
                  <a:cxn ang="0">
                    <a:pos x="connsiteX2" y="connsiteY2"/>
                  </a:cxn>
                  <a:cxn ang="0">
                    <a:pos x="connsiteX3" y="connsiteY3"/>
                  </a:cxn>
                </a:cxnLst>
                <a:rect l="l" t="t" r="r" b="b"/>
                <a:pathLst>
                  <a:path w="12918" h="161585">
                    <a:moveTo>
                      <a:pt x="0" y="0"/>
                    </a:moveTo>
                    <a:lnTo>
                      <a:pt x="12918" y="0"/>
                    </a:lnTo>
                    <a:lnTo>
                      <a:pt x="12918" y="161586"/>
                    </a:lnTo>
                    <a:lnTo>
                      <a:pt x="0" y="161586"/>
                    </a:lnTo>
                    <a:close/>
                  </a:path>
                </a:pathLst>
              </a:custGeom>
              <a:solidFill>
                <a:schemeClr val="accent1"/>
              </a:solidFill>
              <a:ln w="2618" cap="flat">
                <a:noFill/>
                <a:prstDash val="solid"/>
                <a:miter/>
              </a:ln>
            </p:spPr>
            <p:txBody>
              <a:bodyPr rtlCol="0" anchor="ctr"/>
              <a:lstStyle/>
              <a:p>
                <a:endParaRPr lang="en-GB" dirty="0"/>
              </a:p>
            </p:txBody>
          </p:sp>
          <p:sp>
            <p:nvSpPr>
              <p:cNvPr id="108" name="Freihandform: Form 789">
                <a:extLst>
                  <a:ext uri="{FF2B5EF4-FFF2-40B4-BE49-F238E27FC236}">
                    <a16:creationId xmlns:a16="http://schemas.microsoft.com/office/drawing/2014/main" id="{91BCAE13-DCA8-40E4-A3A6-B29F80B12019}"/>
                  </a:ext>
                </a:extLst>
              </p:cNvPr>
              <p:cNvSpPr/>
              <p:nvPr/>
            </p:nvSpPr>
            <p:spPr>
              <a:xfrm>
                <a:off x="8146869" y="2603807"/>
                <a:ext cx="12918" cy="12918"/>
              </a:xfrm>
              <a:custGeom>
                <a:avLst/>
                <a:gdLst>
                  <a:gd name="connsiteX0" fmla="*/ 0 w 12918"/>
                  <a:gd name="connsiteY0" fmla="*/ 0 h 12918"/>
                  <a:gd name="connsiteX1" fmla="*/ 12918 w 12918"/>
                  <a:gd name="connsiteY1" fmla="*/ 0 h 12918"/>
                  <a:gd name="connsiteX2" fmla="*/ 12918 w 12918"/>
                  <a:gd name="connsiteY2" fmla="*/ 12918 h 12918"/>
                  <a:gd name="connsiteX3" fmla="*/ 0 w 12918"/>
                  <a:gd name="connsiteY3" fmla="*/ 12918 h 12918"/>
                </a:gdLst>
                <a:ahLst/>
                <a:cxnLst>
                  <a:cxn ang="0">
                    <a:pos x="connsiteX0" y="connsiteY0"/>
                  </a:cxn>
                  <a:cxn ang="0">
                    <a:pos x="connsiteX1" y="connsiteY1"/>
                  </a:cxn>
                  <a:cxn ang="0">
                    <a:pos x="connsiteX2" y="connsiteY2"/>
                  </a:cxn>
                  <a:cxn ang="0">
                    <a:pos x="connsiteX3" y="connsiteY3"/>
                  </a:cxn>
                </a:cxnLst>
                <a:rect l="l" t="t" r="r" b="b"/>
                <a:pathLst>
                  <a:path w="12918" h="12918">
                    <a:moveTo>
                      <a:pt x="0" y="0"/>
                    </a:moveTo>
                    <a:lnTo>
                      <a:pt x="12918" y="0"/>
                    </a:lnTo>
                    <a:lnTo>
                      <a:pt x="12918" y="12918"/>
                    </a:lnTo>
                    <a:lnTo>
                      <a:pt x="0" y="12918"/>
                    </a:lnTo>
                    <a:close/>
                  </a:path>
                </a:pathLst>
              </a:custGeom>
              <a:solidFill>
                <a:schemeClr val="accent1"/>
              </a:solidFill>
              <a:ln w="2618" cap="flat">
                <a:noFill/>
                <a:prstDash val="solid"/>
                <a:miter/>
              </a:ln>
            </p:spPr>
            <p:txBody>
              <a:bodyPr rtlCol="0" anchor="ctr"/>
              <a:lstStyle/>
              <a:p>
                <a:endParaRPr lang="en-GB" dirty="0"/>
              </a:p>
            </p:txBody>
          </p:sp>
          <p:sp>
            <p:nvSpPr>
              <p:cNvPr id="109" name="Freihandform: Form 790">
                <a:extLst>
                  <a:ext uri="{FF2B5EF4-FFF2-40B4-BE49-F238E27FC236}">
                    <a16:creationId xmlns:a16="http://schemas.microsoft.com/office/drawing/2014/main" id="{0F07F5C0-FB84-4CB1-8067-7F15FAD99423}"/>
                  </a:ext>
                </a:extLst>
              </p:cNvPr>
              <p:cNvSpPr/>
              <p:nvPr/>
            </p:nvSpPr>
            <p:spPr>
              <a:xfrm>
                <a:off x="8146869" y="2571485"/>
                <a:ext cx="12918" cy="12918"/>
              </a:xfrm>
              <a:custGeom>
                <a:avLst/>
                <a:gdLst>
                  <a:gd name="connsiteX0" fmla="*/ 0 w 12918"/>
                  <a:gd name="connsiteY0" fmla="*/ 0 h 12918"/>
                  <a:gd name="connsiteX1" fmla="*/ 12918 w 12918"/>
                  <a:gd name="connsiteY1" fmla="*/ 0 h 12918"/>
                  <a:gd name="connsiteX2" fmla="*/ 12918 w 12918"/>
                  <a:gd name="connsiteY2" fmla="*/ 12918 h 12918"/>
                  <a:gd name="connsiteX3" fmla="*/ 0 w 12918"/>
                  <a:gd name="connsiteY3" fmla="*/ 12918 h 12918"/>
                </a:gdLst>
                <a:ahLst/>
                <a:cxnLst>
                  <a:cxn ang="0">
                    <a:pos x="connsiteX0" y="connsiteY0"/>
                  </a:cxn>
                  <a:cxn ang="0">
                    <a:pos x="connsiteX1" y="connsiteY1"/>
                  </a:cxn>
                  <a:cxn ang="0">
                    <a:pos x="connsiteX2" y="connsiteY2"/>
                  </a:cxn>
                  <a:cxn ang="0">
                    <a:pos x="connsiteX3" y="connsiteY3"/>
                  </a:cxn>
                </a:cxnLst>
                <a:rect l="l" t="t" r="r" b="b"/>
                <a:pathLst>
                  <a:path w="12918" h="12918">
                    <a:moveTo>
                      <a:pt x="0" y="0"/>
                    </a:moveTo>
                    <a:lnTo>
                      <a:pt x="12918" y="0"/>
                    </a:lnTo>
                    <a:lnTo>
                      <a:pt x="12918" y="12918"/>
                    </a:lnTo>
                    <a:lnTo>
                      <a:pt x="0" y="12918"/>
                    </a:lnTo>
                    <a:close/>
                  </a:path>
                </a:pathLst>
              </a:custGeom>
              <a:solidFill>
                <a:schemeClr val="accent1"/>
              </a:solidFill>
              <a:ln w="2618" cap="flat">
                <a:noFill/>
                <a:prstDash val="solid"/>
                <a:miter/>
              </a:ln>
            </p:spPr>
            <p:txBody>
              <a:bodyPr rtlCol="0" anchor="ctr"/>
              <a:lstStyle/>
              <a:p>
                <a:endParaRPr lang="en-GB" dirty="0"/>
              </a:p>
            </p:txBody>
          </p:sp>
          <p:sp>
            <p:nvSpPr>
              <p:cNvPr id="110" name="Freihandform: Form 791">
                <a:extLst>
                  <a:ext uri="{FF2B5EF4-FFF2-40B4-BE49-F238E27FC236}">
                    <a16:creationId xmlns:a16="http://schemas.microsoft.com/office/drawing/2014/main" id="{AFD3BCF2-C75A-4D63-A2F9-1DAE62E67BE2}"/>
                  </a:ext>
                </a:extLst>
              </p:cNvPr>
              <p:cNvSpPr/>
              <p:nvPr/>
            </p:nvSpPr>
            <p:spPr>
              <a:xfrm>
                <a:off x="8121055" y="2448779"/>
                <a:ext cx="103425" cy="103301"/>
              </a:xfrm>
              <a:custGeom>
                <a:avLst/>
                <a:gdLst>
                  <a:gd name="connsiteX0" fmla="*/ 38758 w 103425"/>
                  <a:gd name="connsiteY0" fmla="*/ 103302 h 103301"/>
                  <a:gd name="connsiteX1" fmla="*/ 25840 w 103425"/>
                  <a:gd name="connsiteY1" fmla="*/ 103302 h 103301"/>
                  <a:gd name="connsiteX2" fmla="*/ 25840 w 103425"/>
                  <a:gd name="connsiteY2" fmla="*/ 64520 h 103301"/>
                  <a:gd name="connsiteX3" fmla="*/ 6462 w 103425"/>
                  <a:gd name="connsiteY3" fmla="*/ 64520 h 103301"/>
                  <a:gd name="connsiteX4" fmla="*/ 581 w 103425"/>
                  <a:gd name="connsiteY4" fmla="*/ 60739 h 103301"/>
                  <a:gd name="connsiteX5" fmla="*/ 1605 w 103425"/>
                  <a:gd name="connsiteY5" fmla="*/ 53807 h 103301"/>
                  <a:gd name="connsiteX6" fmla="*/ 46845 w 103425"/>
                  <a:gd name="connsiteY6" fmla="*/ 2107 h 103301"/>
                  <a:gd name="connsiteX7" fmla="*/ 56587 w 103425"/>
                  <a:gd name="connsiteY7" fmla="*/ 2107 h 103301"/>
                  <a:gd name="connsiteX8" fmla="*/ 101828 w 103425"/>
                  <a:gd name="connsiteY8" fmla="*/ 53807 h 103301"/>
                  <a:gd name="connsiteX9" fmla="*/ 102852 w 103425"/>
                  <a:gd name="connsiteY9" fmla="*/ 60739 h 103301"/>
                  <a:gd name="connsiteX10" fmla="*/ 96970 w 103425"/>
                  <a:gd name="connsiteY10" fmla="*/ 64520 h 103301"/>
                  <a:gd name="connsiteX11" fmla="*/ 58136 w 103425"/>
                  <a:gd name="connsiteY11" fmla="*/ 64520 h 103301"/>
                  <a:gd name="connsiteX12" fmla="*/ 58136 w 103425"/>
                  <a:gd name="connsiteY12" fmla="*/ 51602 h 103301"/>
                  <a:gd name="connsiteX13" fmla="*/ 82660 w 103425"/>
                  <a:gd name="connsiteY13" fmla="*/ 51602 h 103301"/>
                  <a:gd name="connsiteX14" fmla="*/ 51651 w 103425"/>
                  <a:gd name="connsiteY14" fmla="*/ 16181 h 103301"/>
                  <a:gd name="connsiteX15" fmla="*/ 20641 w 103425"/>
                  <a:gd name="connsiteY15" fmla="*/ 51602 h 103301"/>
                  <a:gd name="connsiteX16" fmla="*/ 32247 w 103425"/>
                  <a:gd name="connsiteY16" fmla="*/ 51602 h 103301"/>
                  <a:gd name="connsiteX17" fmla="*/ 38706 w 103425"/>
                  <a:gd name="connsiteY17" fmla="*/ 58061 h 103301"/>
                  <a:gd name="connsiteX18" fmla="*/ 38706 w 103425"/>
                  <a:gd name="connsiteY18" fmla="*/ 103302 h 103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425" h="103301">
                    <a:moveTo>
                      <a:pt x="38758" y="103302"/>
                    </a:moveTo>
                    <a:lnTo>
                      <a:pt x="25840" y="103302"/>
                    </a:lnTo>
                    <a:lnTo>
                      <a:pt x="25840" y="64520"/>
                    </a:lnTo>
                    <a:lnTo>
                      <a:pt x="6462" y="64520"/>
                    </a:lnTo>
                    <a:cubicBezTo>
                      <a:pt x="3915" y="64520"/>
                      <a:pt x="1631" y="63050"/>
                      <a:pt x="581" y="60739"/>
                    </a:cubicBezTo>
                    <a:cubicBezTo>
                      <a:pt x="-469" y="58428"/>
                      <a:pt x="-76" y="55724"/>
                      <a:pt x="1605" y="53807"/>
                    </a:cubicBezTo>
                    <a:lnTo>
                      <a:pt x="46845" y="2107"/>
                    </a:lnTo>
                    <a:cubicBezTo>
                      <a:pt x="49314" y="-702"/>
                      <a:pt x="54119" y="-702"/>
                      <a:pt x="56587" y="2107"/>
                    </a:cubicBezTo>
                    <a:lnTo>
                      <a:pt x="101828" y="53807"/>
                    </a:lnTo>
                    <a:cubicBezTo>
                      <a:pt x="103482" y="55724"/>
                      <a:pt x="103902" y="58428"/>
                      <a:pt x="102852" y="60739"/>
                    </a:cubicBezTo>
                    <a:cubicBezTo>
                      <a:pt x="101801" y="63050"/>
                      <a:pt x="99517" y="64520"/>
                      <a:pt x="96970" y="64520"/>
                    </a:cubicBezTo>
                    <a:lnTo>
                      <a:pt x="58136" y="64520"/>
                    </a:lnTo>
                    <a:lnTo>
                      <a:pt x="58136" y="51602"/>
                    </a:lnTo>
                    <a:lnTo>
                      <a:pt x="82660" y="51602"/>
                    </a:lnTo>
                    <a:lnTo>
                      <a:pt x="51651" y="16181"/>
                    </a:lnTo>
                    <a:lnTo>
                      <a:pt x="20641" y="51602"/>
                    </a:lnTo>
                    <a:lnTo>
                      <a:pt x="32247" y="51602"/>
                    </a:lnTo>
                    <a:cubicBezTo>
                      <a:pt x="35818" y="51602"/>
                      <a:pt x="38706" y="54490"/>
                      <a:pt x="38706" y="58061"/>
                    </a:cubicBezTo>
                    <a:lnTo>
                      <a:pt x="38706" y="103302"/>
                    </a:lnTo>
                    <a:close/>
                  </a:path>
                </a:pathLst>
              </a:custGeom>
              <a:solidFill>
                <a:schemeClr val="accent1"/>
              </a:solidFill>
              <a:ln w="2618" cap="flat">
                <a:noFill/>
                <a:prstDash val="solid"/>
                <a:miter/>
              </a:ln>
            </p:spPr>
            <p:txBody>
              <a:bodyPr rtlCol="0" anchor="ctr"/>
              <a:lstStyle/>
              <a:p>
                <a:endParaRPr lang="en-GB" dirty="0"/>
              </a:p>
            </p:txBody>
          </p:sp>
          <p:sp>
            <p:nvSpPr>
              <p:cNvPr id="111" name="Freihandform: Form 792">
                <a:extLst>
                  <a:ext uri="{FF2B5EF4-FFF2-40B4-BE49-F238E27FC236}">
                    <a16:creationId xmlns:a16="http://schemas.microsoft.com/office/drawing/2014/main" id="{8302EDBF-BCF7-4458-A253-AE8064C9B3FE}"/>
                  </a:ext>
                </a:extLst>
              </p:cNvPr>
              <p:cNvSpPr/>
              <p:nvPr/>
            </p:nvSpPr>
            <p:spPr>
              <a:xfrm>
                <a:off x="7862479" y="2565025"/>
                <a:ext cx="12918" cy="148667"/>
              </a:xfrm>
              <a:custGeom>
                <a:avLst/>
                <a:gdLst>
                  <a:gd name="connsiteX0" fmla="*/ 0 w 12918"/>
                  <a:gd name="connsiteY0" fmla="*/ 0 h 148667"/>
                  <a:gd name="connsiteX1" fmla="*/ 12918 w 12918"/>
                  <a:gd name="connsiteY1" fmla="*/ 0 h 148667"/>
                  <a:gd name="connsiteX2" fmla="*/ 12918 w 12918"/>
                  <a:gd name="connsiteY2" fmla="*/ 148667 h 148667"/>
                  <a:gd name="connsiteX3" fmla="*/ 0 w 12918"/>
                  <a:gd name="connsiteY3" fmla="*/ 148667 h 148667"/>
                </a:gdLst>
                <a:ahLst/>
                <a:cxnLst>
                  <a:cxn ang="0">
                    <a:pos x="connsiteX0" y="connsiteY0"/>
                  </a:cxn>
                  <a:cxn ang="0">
                    <a:pos x="connsiteX1" y="connsiteY1"/>
                  </a:cxn>
                  <a:cxn ang="0">
                    <a:pos x="connsiteX2" y="connsiteY2"/>
                  </a:cxn>
                  <a:cxn ang="0">
                    <a:pos x="connsiteX3" y="connsiteY3"/>
                  </a:cxn>
                </a:cxnLst>
                <a:rect l="l" t="t" r="r" b="b"/>
                <a:pathLst>
                  <a:path w="12918" h="148667">
                    <a:moveTo>
                      <a:pt x="0" y="0"/>
                    </a:moveTo>
                    <a:lnTo>
                      <a:pt x="12918" y="0"/>
                    </a:lnTo>
                    <a:lnTo>
                      <a:pt x="12918" y="148667"/>
                    </a:lnTo>
                    <a:lnTo>
                      <a:pt x="0" y="148667"/>
                    </a:lnTo>
                    <a:close/>
                  </a:path>
                </a:pathLst>
              </a:custGeom>
              <a:solidFill>
                <a:schemeClr val="accent1"/>
              </a:solidFill>
              <a:ln w="2618" cap="flat">
                <a:noFill/>
                <a:prstDash val="solid"/>
                <a:miter/>
              </a:ln>
            </p:spPr>
            <p:txBody>
              <a:bodyPr rtlCol="0" anchor="ctr"/>
              <a:lstStyle/>
              <a:p>
                <a:endParaRPr lang="en-GB" dirty="0"/>
              </a:p>
            </p:txBody>
          </p:sp>
          <p:sp>
            <p:nvSpPr>
              <p:cNvPr id="112" name="Freihandform: Form 793">
                <a:extLst>
                  <a:ext uri="{FF2B5EF4-FFF2-40B4-BE49-F238E27FC236}">
                    <a16:creationId xmlns:a16="http://schemas.microsoft.com/office/drawing/2014/main" id="{F22CBFC3-7163-4D46-A497-84046DB3D353}"/>
                  </a:ext>
                </a:extLst>
              </p:cNvPr>
              <p:cNvSpPr/>
              <p:nvPr/>
            </p:nvSpPr>
            <p:spPr>
              <a:xfrm>
                <a:off x="7901261" y="2681344"/>
                <a:ext cx="12918" cy="12918"/>
              </a:xfrm>
              <a:custGeom>
                <a:avLst/>
                <a:gdLst>
                  <a:gd name="connsiteX0" fmla="*/ 0 w 12918"/>
                  <a:gd name="connsiteY0" fmla="*/ 0 h 12918"/>
                  <a:gd name="connsiteX1" fmla="*/ 12918 w 12918"/>
                  <a:gd name="connsiteY1" fmla="*/ 0 h 12918"/>
                  <a:gd name="connsiteX2" fmla="*/ 12918 w 12918"/>
                  <a:gd name="connsiteY2" fmla="*/ 12919 h 12918"/>
                  <a:gd name="connsiteX3" fmla="*/ 0 w 12918"/>
                  <a:gd name="connsiteY3" fmla="*/ 12919 h 12918"/>
                </a:gdLst>
                <a:ahLst/>
                <a:cxnLst>
                  <a:cxn ang="0">
                    <a:pos x="connsiteX0" y="connsiteY0"/>
                  </a:cxn>
                  <a:cxn ang="0">
                    <a:pos x="connsiteX1" y="connsiteY1"/>
                  </a:cxn>
                  <a:cxn ang="0">
                    <a:pos x="connsiteX2" y="connsiteY2"/>
                  </a:cxn>
                  <a:cxn ang="0">
                    <a:pos x="connsiteX3" y="connsiteY3"/>
                  </a:cxn>
                </a:cxnLst>
                <a:rect l="l" t="t" r="r" b="b"/>
                <a:pathLst>
                  <a:path w="12918" h="12918">
                    <a:moveTo>
                      <a:pt x="0" y="0"/>
                    </a:moveTo>
                    <a:lnTo>
                      <a:pt x="12918" y="0"/>
                    </a:lnTo>
                    <a:lnTo>
                      <a:pt x="12918" y="12919"/>
                    </a:lnTo>
                    <a:lnTo>
                      <a:pt x="0" y="12919"/>
                    </a:lnTo>
                    <a:close/>
                  </a:path>
                </a:pathLst>
              </a:custGeom>
              <a:solidFill>
                <a:schemeClr val="accent1"/>
              </a:solidFill>
              <a:ln w="2618" cap="flat">
                <a:noFill/>
                <a:prstDash val="solid"/>
                <a:miter/>
              </a:ln>
            </p:spPr>
            <p:txBody>
              <a:bodyPr rtlCol="0" anchor="ctr"/>
              <a:lstStyle/>
              <a:p>
                <a:endParaRPr lang="en-GB" dirty="0"/>
              </a:p>
            </p:txBody>
          </p:sp>
          <p:sp>
            <p:nvSpPr>
              <p:cNvPr id="113" name="Freihandform: Form 794">
                <a:extLst>
                  <a:ext uri="{FF2B5EF4-FFF2-40B4-BE49-F238E27FC236}">
                    <a16:creationId xmlns:a16="http://schemas.microsoft.com/office/drawing/2014/main" id="{1C33F27A-06BB-49F4-9A97-C07961FCFF05}"/>
                  </a:ext>
                </a:extLst>
              </p:cNvPr>
              <p:cNvSpPr/>
              <p:nvPr/>
            </p:nvSpPr>
            <p:spPr>
              <a:xfrm>
                <a:off x="7901261" y="2649048"/>
                <a:ext cx="12918" cy="12918"/>
              </a:xfrm>
              <a:custGeom>
                <a:avLst/>
                <a:gdLst>
                  <a:gd name="connsiteX0" fmla="*/ 0 w 12918"/>
                  <a:gd name="connsiteY0" fmla="*/ 0 h 12918"/>
                  <a:gd name="connsiteX1" fmla="*/ 12918 w 12918"/>
                  <a:gd name="connsiteY1" fmla="*/ 0 h 12918"/>
                  <a:gd name="connsiteX2" fmla="*/ 12918 w 12918"/>
                  <a:gd name="connsiteY2" fmla="*/ 12918 h 12918"/>
                  <a:gd name="connsiteX3" fmla="*/ 0 w 12918"/>
                  <a:gd name="connsiteY3" fmla="*/ 12918 h 12918"/>
                </a:gdLst>
                <a:ahLst/>
                <a:cxnLst>
                  <a:cxn ang="0">
                    <a:pos x="connsiteX0" y="connsiteY0"/>
                  </a:cxn>
                  <a:cxn ang="0">
                    <a:pos x="connsiteX1" y="connsiteY1"/>
                  </a:cxn>
                  <a:cxn ang="0">
                    <a:pos x="connsiteX2" y="connsiteY2"/>
                  </a:cxn>
                  <a:cxn ang="0">
                    <a:pos x="connsiteX3" y="connsiteY3"/>
                  </a:cxn>
                </a:cxnLst>
                <a:rect l="l" t="t" r="r" b="b"/>
                <a:pathLst>
                  <a:path w="12918" h="12918">
                    <a:moveTo>
                      <a:pt x="0" y="0"/>
                    </a:moveTo>
                    <a:lnTo>
                      <a:pt x="12918" y="0"/>
                    </a:lnTo>
                    <a:lnTo>
                      <a:pt x="12918" y="12918"/>
                    </a:lnTo>
                    <a:lnTo>
                      <a:pt x="0" y="12918"/>
                    </a:lnTo>
                    <a:close/>
                  </a:path>
                </a:pathLst>
              </a:custGeom>
              <a:solidFill>
                <a:schemeClr val="accent1"/>
              </a:solidFill>
              <a:ln w="2618" cap="flat">
                <a:noFill/>
                <a:prstDash val="solid"/>
                <a:miter/>
              </a:ln>
            </p:spPr>
            <p:txBody>
              <a:bodyPr rtlCol="0" anchor="ctr"/>
              <a:lstStyle/>
              <a:p>
                <a:endParaRPr lang="en-GB" dirty="0"/>
              </a:p>
            </p:txBody>
          </p:sp>
          <p:sp>
            <p:nvSpPr>
              <p:cNvPr id="114" name="Freihandform: Form 795">
                <a:extLst>
                  <a:ext uri="{FF2B5EF4-FFF2-40B4-BE49-F238E27FC236}">
                    <a16:creationId xmlns:a16="http://schemas.microsoft.com/office/drawing/2014/main" id="{6AC581BD-211D-4181-AB70-1AE54B33A447}"/>
                  </a:ext>
                </a:extLst>
              </p:cNvPr>
              <p:cNvSpPr/>
              <p:nvPr/>
            </p:nvSpPr>
            <p:spPr>
              <a:xfrm>
                <a:off x="7836639" y="2506938"/>
                <a:ext cx="103425" cy="122705"/>
              </a:xfrm>
              <a:custGeom>
                <a:avLst/>
                <a:gdLst>
                  <a:gd name="connsiteX0" fmla="*/ 77566 w 103425"/>
                  <a:gd name="connsiteY0" fmla="*/ 122706 h 122705"/>
                  <a:gd name="connsiteX1" fmla="*/ 64648 w 103425"/>
                  <a:gd name="connsiteY1" fmla="*/ 122706 h 122705"/>
                  <a:gd name="connsiteX2" fmla="*/ 64648 w 103425"/>
                  <a:gd name="connsiteY2" fmla="*/ 58061 h 122705"/>
                  <a:gd name="connsiteX3" fmla="*/ 71107 w 103425"/>
                  <a:gd name="connsiteY3" fmla="*/ 51602 h 122705"/>
                  <a:gd name="connsiteX4" fmla="*/ 82713 w 103425"/>
                  <a:gd name="connsiteY4" fmla="*/ 51602 h 122705"/>
                  <a:gd name="connsiteX5" fmla="*/ 51703 w 103425"/>
                  <a:gd name="connsiteY5" fmla="*/ 16181 h 122705"/>
                  <a:gd name="connsiteX6" fmla="*/ 20694 w 103425"/>
                  <a:gd name="connsiteY6" fmla="*/ 51602 h 122705"/>
                  <a:gd name="connsiteX7" fmla="*/ 45218 w 103425"/>
                  <a:gd name="connsiteY7" fmla="*/ 51602 h 122705"/>
                  <a:gd name="connsiteX8" fmla="*/ 45218 w 103425"/>
                  <a:gd name="connsiteY8" fmla="*/ 64520 h 122705"/>
                  <a:gd name="connsiteX9" fmla="*/ 6462 w 103425"/>
                  <a:gd name="connsiteY9" fmla="*/ 64520 h 122705"/>
                  <a:gd name="connsiteX10" fmla="*/ 581 w 103425"/>
                  <a:gd name="connsiteY10" fmla="*/ 60739 h 122705"/>
                  <a:gd name="connsiteX11" fmla="*/ 1605 w 103425"/>
                  <a:gd name="connsiteY11" fmla="*/ 53807 h 122705"/>
                  <a:gd name="connsiteX12" fmla="*/ 46846 w 103425"/>
                  <a:gd name="connsiteY12" fmla="*/ 2107 h 122705"/>
                  <a:gd name="connsiteX13" fmla="*/ 56587 w 103425"/>
                  <a:gd name="connsiteY13" fmla="*/ 2107 h 122705"/>
                  <a:gd name="connsiteX14" fmla="*/ 101828 w 103425"/>
                  <a:gd name="connsiteY14" fmla="*/ 53807 h 122705"/>
                  <a:gd name="connsiteX15" fmla="*/ 102852 w 103425"/>
                  <a:gd name="connsiteY15" fmla="*/ 60739 h 122705"/>
                  <a:gd name="connsiteX16" fmla="*/ 96970 w 103425"/>
                  <a:gd name="connsiteY16" fmla="*/ 64520 h 122705"/>
                  <a:gd name="connsiteX17" fmla="*/ 77593 w 103425"/>
                  <a:gd name="connsiteY17" fmla="*/ 64520 h 122705"/>
                  <a:gd name="connsiteX18" fmla="*/ 77593 w 103425"/>
                  <a:gd name="connsiteY18" fmla="*/ 122706 h 122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3425" h="122705">
                    <a:moveTo>
                      <a:pt x="77566" y="122706"/>
                    </a:moveTo>
                    <a:lnTo>
                      <a:pt x="64648" y="122706"/>
                    </a:lnTo>
                    <a:lnTo>
                      <a:pt x="64648" y="58061"/>
                    </a:lnTo>
                    <a:cubicBezTo>
                      <a:pt x="64648" y="54490"/>
                      <a:pt x="67536" y="51602"/>
                      <a:pt x="71107" y="51602"/>
                    </a:cubicBezTo>
                    <a:lnTo>
                      <a:pt x="82713" y="51602"/>
                    </a:lnTo>
                    <a:lnTo>
                      <a:pt x="51703" y="16181"/>
                    </a:lnTo>
                    <a:lnTo>
                      <a:pt x="20694" y="51602"/>
                    </a:lnTo>
                    <a:lnTo>
                      <a:pt x="45218" y="51602"/>
                    </a:lnTo>
                    <a:lnTo>
                      <a:pt x="45218" y="64520"/>
                    </a:lnTo>
                    <a:lnTo>
                      <a:pt x="6462" y="64520"/>
                    </a:lnTo>
                    <a:cubicBezTo>
                      <a:pt x="3915" y="64520"/>
                      <a:pt x="1631" y="63050"/>
                      <a:pt x="581" y="60739"/>
                    </a:cubicBezTo>
                    <a:cubicBezTo>
                      <a:pt x="-470" y="58428"/>
                      <a:pt x="-76" y="55724"/>
                      <a:pt x="1605" y="53807"/>
                    </a:cubicBezTo>
                    <a:lnTo>
                      <a:pt x="46846" y="2107"/>
                    </a:lnTo>
                    <a:cubicBezTo>
                      <a:pt x="49314" y="-702"/>
                      <a:pt x="54119" y="-702"/>
                      <a:pt x="56587" y="2107"/>
                    </a:cubicBezTo>
                    <a:lnTo>
                      <a:pt x="101828" y="53807"/>
                    </a:lnTo>
                    <a:cubicBezTo>
                      <a:pt x="103482" y="55724"/>
                      <a:pt x="103902" y="58428"/>
                      <a:pt x="102852" y="60739"/>
                    </a:cubicBezTo>
                    <a:cubicBezTo>
                      <a:pt x="101802" y="63050"/>
                      <a:pt x="99517" y="64520"/>
                      <a:pt x="96970" y="64520"/>
                    </a:cubicBezTo>
                    <a:lnTo>
                      <a:pt x="77593" y="64520"/>
                    </a:lnTo>
                    <a:lnTo>
                      <a:pt x="77593" y="122706"/>
                    </a:lnTo>
                    <a:close/>
                  </a:path>
                </a:pathLst>
              </a:custGeom>
              <a:solidFill>
                <a:schemeClr val="accent1"/>
              </a:solidFill>
              <a:ln w="2618" cap="flat">
                <a:noFill/>
                <a:prstDash val="solid"/>
                <a:miter/>
              </a:ln>
            </p:spPr>
            <p:txBody>
              <a:bodyPr rtlCol="0" anchor="ctr"/>
              <a:lstStyle/>
              <a:p>
                <a:endParaRPr lang="en-GB" dirty="0"/>
              </a:p>
            </p:txBody>
          </p:sp>
          <p:sp>
            <p:nvSpPr>
              <p:cNvPr id="115" name="Freihandform: Form 802">
                <a:extLst>
                  <a:ext uri="{FF2B5EF4-FFF2-40B4-BE49-F238E27FC236}">
                    <a16:creationId xmlns:a16="http://schemas.microsoft.com/office/drawing/2014/main" id="{209B6595-B530-4C1D-845F-40A4A5C9DD92}"/>
                  </a:ext>
                </a:extLst>
              </p:cNvPr>
              <p:cNvSpPr/>
              <p:nvPr/>
            </p:nvSpPr>
            <p:spPr>
              <a:xfrm>
                <a:off x="7862479" y="2733070"/>
                <a:ext cx="12918" cy="12918"/>
              </a:xfrm>
              <a:custGeom>
                <a:avLst/>
                <a:gdLst>
                  <a:gd name="connsiteX0" fmla="*/ 0 w 12918"/>
                  <a:gd name="connsiteY0" fmla="*/ 0 h 12918"/>
                  <a:gd name="connsiteX1" fmla="*/ 12918 w 12918"/>
                  <a:gd name="connsiteY1" fmla="*/ 0 h 12918"/>
                  <a:gd name="connsiteX2" fmla="*/ 12918 w 12918"/>
                  <a:gd name="connsiteY2" fmla="*/ 12918 h 12918"/>
                  <a:gd name="connsiteX3" fmla="*/ 0 w 12918"/>
                  <a:gd name="connsiteY3" fmla="*/ 12918 h 12918"/>
                </a:gdLst>
                <a:ahLst/>
                <a:cxnLst>
                  <a:cxn ang="0">
                    <a:pos x="connsiteX0" y="connsiteY0"/>
                  </a:cxn>
                  <a:cxn ang="0">
                    <a:pos x="connsiteX1" y="connsiteY1"/>
                  </a:cxn>
                  <a:cxn ang="0">
                    <a:pos x="connsiteX2" y="connsiteY2"/>
                  </a:cxn>
                  <a:cxn ang="0">
                    <a:pos x="connsiteX3" y="connsiteY3"/>
                  </a:cxn>
                </a:cxnLst>
                <a:rect l="l" t="t" r="r" b="b"/>
                <a:pathLst>
                  <a:path w="12918" h="12918">
                    <a:moveTo>
                      <a:pt x="0" y="0"/>
                    </a:moveTo>
                    <a:lnTo>
                      <a:pt x="12918" y="0"/>
                    </a:lnTo>
                    <a:lnTo>
                      <a:pt x="12918" y="12918"/>
                    </a:lnTo>
                    <a:lnTo>
                      <a:pt x="0" y="12918"/>
                    </a:lnTo>
                    <a:close/>
                  </a:path>
                </a:pathLst>
              </a:custGeom>
              <a:solidFill>
                <a:schemeClr val="accent1"/>
              </a:solidFill>
              <a:ln w="2618" cap="flat">
                <a:noFill/>
                <a:prstDash val="solid"/>
                <a:miter/>
              </a:ln>
            </p:spPr>
            <p:txBody>
              <a:bodyPr rtlCol="0" anchor="ctr"/>
              <a:lstStyle/>
              <a:p>
                <a:endParaRPr lang="en-GB" dirty="0"/>
              </a:p>
            </p:txBody>
          </p:sp>
          <p:sp>
            <p:nvSpPr>
              <p:cNvPr id="116" name="Freihandform: Form 803">
                <a:extLst>
                  <a:ext uri="{FF2B5EF4-FFF2-40B4-BE49-F238E27FC236}">
                    <a16:creationId xmlns:a16="http://schemas.microsoft.com/office/drawing/2014/main" id="{50A65374-D6FD-42DB-A808-3E9905993BE3}"/>
                  </a:ext>
                </a:extLst>
              </p:cNvPr>
              <p:cNvSpPr/>
              <p:nvPr/>
            </p:nvSpPr>
            <p:spPr>
              <a:xfrm>
                <a:off x="7907746" y="2884952"/>
                <a:ext cx="258526" cy="64634"/>
              </a:xfrm>
              <a:custGeom>
                <a:avLst/>
                <a:gdLst>
                  <a:gd name="connsiteX0" fmla="*/ 129263 w 258526"/>
                  <a:gd name="connsiteY0" fmla="*/ 64634 h 64634"/>
                  <a:gd name="connsiteX1" fmla="*/ 0 w 258526"/>
                  <a:gd name="connsiteY1" fmla="*/ 29082 h 64634"/>
                  <a:gd name="connsiteX2" fmla="*/ 50860 w 258526"/>
                  <a:gd name="connsiteY2" fmla="*/ 121 h 64634"/>
                  <a:gd name="connsiteX3" fmla="*/ 58422 w 258526"/>
                  <a:gd name="connsiteY3" fmla="*/ 5241 h 64634"/>
                  <a:gd name="connsiteX4" fmla="*/ 53302 w 258526"/>
                  <a:gd name="connsiteY4" fmla="*/ 12803 h 64634"/>
                  <a:gd name="connsiteX5" fmla="*/ 12918 w 258526"/>
                  <a:gd name="connsiteY5" fmla="*/ 29082 h 64634"/>
                  <a:gd name="connsiteX6" fmla="*/ 129263 w 258526"/>
                  <a:gd name="connsiteY6" fmla="*/ 51716 h 64634"/>
                  <a:gd name="connsiteX7" fmla="*/ 245608 w 258526"/>
                  <a:gd name="connsiteY7" fmla="*/ 29082 h 64634"/>
                  <a:gd name="connsiteX8" fmla="*/ 205225 w 258526"/>
                  <a:gd name="connsiteY8" fmla="*/ 12803 h 64634"/>
                  <a:gd name="connsiteX9" fmla="*/ 200105 w 258526"/>
                  <a:gd name="connsiteY9" fmla="*/ 5241 h 64634"/>
                  <a:gd name="connsiteX10" fmla="*/ 207667 w 258526"/>
                  <a:gd name="connsiteY10" fmla="*/ 121 h 64634"/>
                  <a:gd name="connsiteX11" fmla="*/ 258526 w 258526"/>
                  <a:gd name="connsiteY11" fmla="*/ 29082 h 64634"/>
                  <a:gd name="connsiteX12" fmla="*/ 129263 w 258526"/>
                  <a:gd name="connsiteY12" fmla="*/ 64634 h 64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8526" h="64634">
                    <a:moveTo>
                      <a:pt x="129263" y="64634"/>
                    </a:moveTo>
                    <a:cubicBezTo>
                      <a:pt x="84547" y="64634"/>
                      <a:pt x="0" y="57203"/>
                      <a:pt x="0" y="29082"/>
                    </a:cubicBezTo>
                    <a:cubicBezTo>
                      <a:pt x="0" y="16321"/>
                      <a:pt x="17120" y="6580"/>
                      <a:pt x="50860" y="121"/>
                    </a:cubicBezTo>
                    <a:cubicBezTo>
                      <a:pt x="54352" y="-536"/>
                      <a:pt x="57739" y="1749"/>
                      <a:pt x="58422" y="5241"/>
                    </a:cubicBezTo>
                    <a:cubicBezTo>
                      <a:pt x="59078" y="8759"/>
                      <a:pt x="56794" y="12120"/>
                      <a:pt x="53302" y="12803"/>
                    </a:cubicBezTo>
                    <a:cubicBezTo>
                      <a:pt x="20113" y="19157"/>
                      <a:pt x="12918" y="27375"/>
                      <a:pt x="12918" y="29082"/>
                    </a:cubicBezTo>
                    <a:cubicBezTo>
                      <a:pt x="12918" y="35856"/>
                      <a:pt x="52488" y="51716"/>
                      <a:pt x="129263" y="51716"/>
                    </a:cubicBezTo>
                    <a:cubicBezTo>
                      <a:pt x="206012" y="51716"/>
                      <a:pt x="245608" y="35856"/>
                      <a:pt x="245608" y="29082"/>
                    </a:cubicBezTo>
                    <a:cubicBezTo>
                      <a:pt x="245608" y="27375"/>
                      <a:pt x="238414" y="19157"/>
                      <a:pt x="205225" y="12803"/>
                    </a:cubicBezTo>
                    <a:cubicBezTo>
                      <a:pt x="201732" y="12146"/>
                      <a:pt x="199422" y="8759"/>
                      <a:pt x="200105" y="5241"/>
                    </a:cubicBezTo>
                    <a:cubicBezTo>
                      <a:pt x="200787" y="1722"/>
                      <a:pt x="204148" y="-562"/>
                      <a:pt x="207667" y="121"/>
                    </a:cubicBezTo>
                    <a:cubicBezTo>
                      <a:pt x="241407" y="6580"/>
                      <a:pt x="258526" y="16321"/>
                      <a:pt x="258526" y="29082"/>
                    </a:cubicBezTo>
                    <a:cubicBezTo>
                      <a:pt x="258526" y="57203"/>
                      <a:pt x="173953" y="64634"/>
                      <a:pt x="129263" y="64634"/>
                    </a:cubicBezTo>
                    <a:close/>
                  </a:path>
                </a:pathLst>
              </a:custGeom>
              <a:solidFill>
                <a:schemeClr val="accent1"/>
              </a:solidFill>
              <a:ln w="2618" cap="flat">
                <a:noFill/>
                <a:prstDash val="solid"/>
                <a:miter/>
              </a:ln>
            </p:spPr>
            <p:txBody>
              <a:bodyPr rtlCol="0" anchor="ctr"/>
              <a:lstStyle/>
              <a:p>
                <a:endParaRPr lang="en-GB" dirty="0"/>
              </a:p>
            </p:txBody>
          </p:sp>
        </p:grpSp>
      </p:grpSp>
      <p:grpSp>
        <p:nvGrpSpPr>
          <p:cNvPr id="122" name="Group 121">
            <a:extLst>
              <a:ext uri="{FF2B5EF4-FFF2-40B4-BE49-F238E27FC236}">
                <a16:creationId xmlns:a16="http://schemas.microsoft.com/office/drawing/2014/main" id="{EFBB91B0-B772-4160-81E5-00A515281FF0}"/>
              </a:ext>
            </a:extLst>
          </p:cNvPr>
          <p:cNvGrpSpPr>
            <a:grpSpLocks noChangeAspect="1"/>
          </p:cNvGrpSpPr>
          <p:nvPr/>
        </p:nvGrpSpPr>
        <p:grpSpPr>
          <a:xfrm>
            <a:off x="631925" y="2391526"/>
            <a:ext cx="324251" cy="432000"/>
            <a:chOff x="6210572" y="2472496"/>
            <a:chExt cx="359178" cy="478534"/>
          </a:xfrm>
        </p:grpSpPr>
        <p:grpSp>
          <p:nvGrpSpPr>
            <p:cNvPr id="123" name="Grafik 260">
              <a:extLst>
                <a:ext uri="{FF2B5EF4-FFF2-40B4-BE49-F238E27FC236}">
                  <a16:creationId xmlns:a16="http://schemas.microsoft.com/office/drawing/2014/main" id="{CC4F2737-6CCA-472D-8123-DDD53646E0F7}"/>
                </a:ext>
              </a:extLst>
            </p:cNvPr>
            <p:cNvGrpSpPr/>
            <p:nvPr/>
          </p:nvGrpSpPr>
          <p:grpSpPr>
            <a:xfrm>
              <a:off x="6259489" y="2550112"/>
              <a:ext cx="219744" cy="219743"/>
              <a:chOff x="6259489" y="2550112"/>
              <a:chExt cx="219744" cy="219744"/>
            </a:xfrm>
            <a:solidFill>
              <a:schemeClr val="accent1"/>
            </a:solidFill>
          </p:grpSpPr>
          <p:sp>
            <p:nvSpPr>
              <p:cNvPr id="125" name="Freihandform: Form 1038">
                <a:extLst>
                  <a:ext uri="{FF2B5EF4-FFF2-40B4-BE49-F238E27FC236}">
                    <a16:creationId xmlns:a16="http://schemas.microsoft.com/office/drawing/2014/main" id="{AEAAC155-0887-4C80-BBDA-B495112F1A2A}"/>
                  </a:ext>
                </a:extLst>
              </p:cNvPr>
              <p:cNvSpPr/>
              <p:nvPr/>
            </p:nvSpPr>
            <p:spPr>
              <a:xfrm>
                <a:off x="6272985" y="2563581"/>
                <a:ext cx="192778" cy="192778"/>
              </a:xfrm>
              <a:custGeom>
                <a:avLst/>
                <a:gdLst>
                  <a:gd name="connsiteX0" fmla="*/ 96390 w 192778"/>
                  <a:gd name="connsiteY0" fmla="*/ 192779 h 192778"/>
                  <a:gd name="connsiteX1" fmla="*/ 0 w 192778"/>
                  <a:gd name="connsiteY1" fmla="*/ 96389 h 192778"/>
                  <a:gd name="connsiteX2" fmla="*/ 96390 w 192778"/>
                  <a:gd name="connsiteY2" fmla="*/ 0 h 192778"/>
                  <a:gd name="connsiteX3" fmla="*/ 192779 w 192778"/>
                  <a:gd name="connsiteY3" fmla="*/ 96389 h 192778"/>
                  <a:gd name="connsiteX4" fmla="*/ 96390 w 192778"/>
                  <a:gd name="connsiteY4" fmla="*/ 192779 h 192778"/>
                  <a:gd name="connsiteX5" fmla="*/ 96390 w 192778"/>
                  <a:gd name="connsiteY5" fmla="*/ 12918 h 192778"/>
                  <a:gd name="connsiteX6" fmla="*/ 12918 w 192778"/>
                  <a:gd name="connsiteY6" fmla="*/ 96389 h 192778"/>
                  <a:gd name="connsiteX7" fmla="*/ 96390 w 192778"/>
                  <a:gd name="connsiteY7" fmla="*/ 179861 h 192778"/>
                  <a:gd name="connsiteX8" fmla="*/ 179860 w 192778"/>
                  <a:gd name="connsiteY8" fmla="*/ 96389 h 192778"/>
                  <a:gd name="connsiteX9" fmla="*/ 96390 w 192778"/>
                  <a:gd name="connsiteY9" fmla="*/ 12918 h 19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2778" h="192778">
                    <a:moveTo>
                      <a:pt x="96390" y="192779"/>
                    </a:moveTo>
                    <a:cubicBezTo>
                      <a:pt x="43245" y="192779"/>
                      <a:pt x="0" y="149534"/>
                      <a:pt x="0" y="96389"/>
                    </a:cubicBezTo>
                    <a:cubicBezTo>
                      <a:pt x="0" y="43245"/>
                      <a:pt x="43245" y="0"/>
                      <a:pt x="96390" y="0"/>
                    </a:cubicBezTo>
                    <a:cubicBezTo>
                      <a:pt x="149534" y="0"/>
                      <a:pt x="192779" y="43245"/>
                      <a:pt x="192779" y="96389"/>
                    </a:cubicBezTo>
                    <a:cubicBezTo>
                      <a:pt x="192779" y="149534"/>
                      <a:pt x="149534" y="192779"/>
                      <a:pt x="96390" y="192779"/>
                    </a:cubicBezTo>
                    <a:close/>
                    <a:moveTo>
                      <a:pt x="96390" y="12918"/>
                    </a:moveTo>
                    <a:cubicBezTo>
                      <a:pt x="50361" y="12918"/>
                      <a:pt x="12918" y="50361"/>
                      <a:pt x="12918" y="96389"/>
                    </a:cubicBezTo>
                    <a:cubicBezTo>
                      <a:pt x="12918" y="142418"/>
                      <a:pt x="50361" y="179861"/>
                      <a:pt x="96390" y="179861"/>
                    </a:cubicBezTo>
                    <a:cubicBezTo>
                      <a:pt x="142418" y="179861"/>
                      <a:pt x="179860" y="142418"/>
                      <a:pt x="179860" y="96389"/>
                    </a:cubicBezTo>
                    <a:cubicBezTo>
                      <a:pt x="179834" y="50361"/>
                      <a:pt x="142392" y="12918"/>
                      <a:pt x="96390" y="12918"/>
                    </a:cubicBezTo>
                    <a:close/>
                  </a:path>
                </a:pathLst>
              </a:custGeom>
              <a:solidFill>
                <a:schemeClr val="accent1"/>
              </a:solidFill>
              <a:ln w="2618" cap="flat">
                <a:noFill/>
                <a:prstDash val="solid"/>
                <a:miter/>
              </a:ln>
            </p:spPr>
            <p:txBody>
              <a:bodyPr rtlCol="0" anchor="ctr"/>
              <a:lstStyle/>
              <a:p>
                <a:endParaRPr lang="en-GB" dirty="0"/>
              </a:p>
            </p:txBody>
          </p:sp>
          <p:sp>
            <p:nvSpPr>
              <p:cNvPr id="126" name="Freihandform: Form 1039">
                <a:extLst>
                  <a:ext uri="{FF2B5EF4-FFF2-40B4-BE49-F238E27FC236}">
                    <a16:creationId xmlns:a16="http://schemas.microsoft.com/office/drawing/2014/main" id="{589F95F0-2003-44F8-B462-D82AE01FAABC}"/>
                  </a:ext>
                </a:extLst>
              </p:cNvPr>
              <p:cNvSpPr/>
              <p:nvPr/>
            </p:nvSpPr>
            <p:spPr>
              <a:xfrm>
                <a:off x="6362915" y="2550112"/>
                <a:ext cx="12918" cy="51700"/>
              </a:xfrm>
              <a:custGeom>
                <a:avLst/>
                <a:gdLst>
                  <a:gd name="connsiteX0" fmla="*/ 6459 w 12918"/>
                  <a:gd name="connsiteY0" fmla="*/ 51700 h 51700"/>
                  <a:gd name="connsiteX1" fmla="*/ 0 w 12918"/>
                  <a:gd name="connsiteY1" fmla="*/ 45241 h 51700"/>
                  <a:gd name="connsiteX2" fmla="*/ 0 w 12918"/>
                  <a:gd name="connsiteY2" fmla="*/ 6459 h 51700"/>
                  <a:gd name="connsiteX3" fmla="*/ 6459 w 12918"/>
                  <a:gd name="connsiteY3" fmla="*/ 0 h 51700"/>
                  <a:gd name="connsiteX4" fmla="*/ 12918 w 12918"/>
                  <a:gd name="connsiteY4" fmla="*/ 6459 h 51700"/>
                  <a:gd name="connsiteX5" fmla="*/ 12918 w 12918"/>
                  <a:gd name="connsiteY5" fmla="*/ 45241 h 51700"/>
                  <a:gd name="connsiteX6" fmla="*/ 6459 w 12918"/>
                  <a:gd name="connsiteY6" fmla="*/ 51700 h 5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8" h="51700">
                    <a:moveTo>
                      <a:pt x="6459" y="51700"/>
                    </a:moveTo>
                    <a:cubicBezTo>
                      <a:pt x="2888" y="51700"/>
                      <a:pt x="0" y="48812"/>
                      <a:pt x="0" y="45241"/>
                    </a:cubicBezTo>
                    <a:lnTo>
                      <a:pt x="0" y="6459"/>
                    </a:lnTo>
                    <a:cubicBezTo>
                      <a:pt x="0" y="2888"/>
                      <a:pt x="2888" y="0"/>
                      <a:pt x="6459" y="0"/>
                    </a:cubicBezTo>
                    <a:cubicBezTo>
                      <a:pt x="10030" y="0"/>
                      <a:pt x="12918" y="2888"/>
                      <a:pt x="12918" y="6459"/>
                    </a:cubicBezTo>
                    <a:lnTo>
                      <a:pt x="12918" y="45241"/>
                    </a:lnTo>
                    <a:cubicBezTo>
                      <a:pt x="12918" y="48785"/>
                      <a:pt x="10030" y="51700"/>
                      <a:pt x="6459" y="51700"/>
                    </a:cubicBezTo>
                    <a:close/>
                  </a:path>
                </a:pathLst>
              </a:custGeom>
              <a:solidFill>
                <a:schemeClr val="accent1"/>
              </a:solidFill>
              <a:ln w="2618" cap="flat">
                <a:noFill/>
                <a:prstDash val="solid"/>
                <a:miter/>
              </a:ln>
            </p:spPr>
            <p:txBody>
              <a:bodyPr rtlCol="0" anchor="ctr"/>
              <a:lstStyle/>
              <a:p>
                <a:endParaRPr lang="en-GB" dirty="0"/>
              </a:p>
            </p:txBody>
          </p:sp>
          <p:sp>
            <p:nvSpPr>
              <p:cNvPr id="127" name="Freihandform: Form 1040">
                <a:extLst>
                  <a:ext uri="{FF2B5EF4-FFF2-40B4-BE49-F238E27FC236}">
                    <a16:creationId xmlns:a16="http://schemas.microsoft.com/office/drawing/2014/main" id="{931CA201-F2C7-4484-85ED-D09817565BC5}"/>
                  </a:ext>
                </a:extLst>
              </p:cNvPr>
              <p:cNvSpPr/>
              <p:nvPr/>
            </p:nvSpPr>
            <p:spPr>
              <a:xfrm>
                <a:off x="6259489" y="2653512"/>
                <a:ext cx="51700" cy="12918"/>
              </a:xfrm>
              <a:custGeom>
                <a:avLst/>
                <a:gdLst>
                  <a:gd name="connsiteX0" fmla="*/ 45241 w 51700"/>
                  <a:gd name="connsiteY0" fmla="*/ 12918 h 12918"/>
                  <a:gd name="connsiteX1" fmla="*/ 6459 w 51700"/>
                  <a:gd name="connsiteY1" fmla="*/ 12918 h 12918"/>
                  <a:gd name="connsiteX2" fmla="*/ 0 w 51700"/>
                  <a:gd name="connsiteY2" fmla="*/ 6459 h 12918"/>
                  <a:gd name="connsiteX3" fmla="*/ 6459 w 51700"/>
                  <a:gd name="connsiteY3" fmla="*/ 0 h 12918"/>
                  <a:gd name="connsiteX4" fmla="*/ 45241 w 51700"/>
                  <a:gd name="connsiteY4" fmla="*/ 0 h 12918"/>
                  <a:gd name="connsiteX5" fmla="*/ 51700 w 51700"/>
                  <a:gd name="connsiteY5" fmla="*/ 6459 h 12918"/>
                  <a:gd name="connsiteX6" fmla="*/ 45241 w 51700"/>
                  <a:gd name="connsiteY6" fmla="*/ 12918 h 1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00" h="12918">
                    <a:moveTo>
                      <a:pt x="45241" y="12918"/>
                    </a:moveTo>
                    <a:lnTo>
                      <a:pt x="6459" y="12918"/>
                    </a:lnTo>
                    <a:cubicBezTo>
                      <a:pt x="2888" y="12918"/>
                      <a:pt x="0" y="10030"/>
                      <a:pt x="0" y="6459"/>
                    </a:cubicBezTo>
                    <a:cubicBezTo>
                      <a:pt x="0" y="2888"/>
                      <a:pt x="2888" y="0"/>
                      <a:pt x="6459" y="0"/>
                    </a:cubicBezTo>
                    <a:lnTo>
                      <a:pt x="45241" y="0"/>
                    </a:lnTo>
                    <a:cubicBezTo>
                      <a:pt x="48812" y="0"/>
                      <a:pt x="51700" y="2888"/>
                      <a:pt x="51700" y="6459"/>
                    </a:cubicBezTo>
                    <a:cubicBezTo>
                      <a:pt x="51700" y="10030"/>
                      <a:pt x="48812" y="12918"/>
                      <a:pt x="45241" y="12918"/>
                    </a:cubicBezTo>
                    <a:close/>
                  </a:path>
                </a:pathLst>
              </a:custGeom>
              <a:solidFill>
                <a:schemeClr val="accent1"/>
              </a:solidFill>
              <a:ln w="2618" cap="flat">
                <a:noFill/>
                <a:prstDash val="solid"/>
                <a:miter/>
              </a:ln>
            </p:spPr>
            <p:txBody>
              <a:bodyPr rtlCol="0" anchor="ctr"/>
              <a:lstStyle/>
              <a:p>
                <a:endParaRPr lang="en-GB" dirty="0"/>
              </a:p>
            </p:txBody>
          </p:sp>
          <p:sp>
            <p:nvSpPr>
              <p:cNvPr id="128" name="Freihandform: Form 1041">
                <a:extLst>
                  <a:ext uri="{FF2B5EF4-FFF2-40B4-BE49-F238E27FC236}">
                    <a16:creationId xmlns:a16="http://schemas.microsoft.com/office/drawing/2014/main" id="{B9112D13-C74E-4948-9ED9-DF827648F2E2}"/>
                  </a:ext>
                </a:extLst>
              </p:cNvPr>
              <p:cNvSpPr/>
              <p:nvPr/>
            </p:nvSpPr>
            <p:spPr>
              <a:xfrm>
                <a:off x="6427534" y="2653512"/>
                <a:ext cx="51700" cy="12918"/>
              </a:xfrm>
              <a:custGeom>
                <a:avLst/>
                <a:gdLst>
                  <a:gd name="connsiteX0" fmla="*/ 45241 w 51700"/>
                  <a:gd name="connsiteY0" fmla="*/ 12918 h 12918"/>
                  <a:gd name="connsiteX1" fmla="*/ 6459 w 51700"/>
                  <a:gd name="connsiteY1" fmla="*/ 12918 h 12918"/>
                  <a:gd name="connsiteX2" fmla="*/ 0 w 51700"/>
                  <a:gd name="connsiteY2" fmla="*/ 6459 h 12918"/>
                  <a:gd name="connsiteX3" fmla="*/ 6459 w 51700"/>
                  <a:gd name="connsiteY3" fmla="*/ 0 h 12918"/>
                  <a:gd name="connsiteX4" fmla="*/ 45241 w 51700"/>
                  <a:gd name="connsiteY4" fmla="*/ 0 h 12918"/>
                  <a:gd name="connsiteX5" fmla="*/ 51700 w 51700"/>
                  <a:gd name="connsiteY5" fmla="*/ 6459 h 12918"/>
                  <a:gd name="connsiteX6" fmla="*/ 45241 w 51700"/>
                  <a:gd name="connsiteY6" fmla="*/ 12918 h 12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700" h="12918">
                    <a:moveTo>
                      <a:pt x="45241" y="12918"/>
                    </a:moveTo>
                    <a:lnTo>
                      <a:pt x="6459" y="12918"/>
                    </a:lnTo>
                    <a:cubicBezTo>
                      <a:pt x="2888" y="12918"/>
                      <a:pt x="0" y="10030"/>
                      <a:pt x="0" y="6459"/>
                    </a:cubicBezTo>
                    <a:cubicBezTo>
                      <a:pt x="0" y="2888"/>
                      <a:pt x="2888" y="0"/>
                      <a:pt x="6459" y="0"/>
                    </a:cubicBezTo>
                    <a:lnTo>
                      <a:pt x="45241" y="0"/>
                    </a:lnTo>
                    <a:cubicBezTo>
                      <a:pt x="48812" y="0"/>
                      <a:pt x="51700" y="2888"/>
                      <a:pt x="51700" y="6459"/>
                    </a:cubicBezTo>
                    <a:cubicBezTo>
                      <a:pt x="51700" y="10030"/>
                      <a:pt x="48812" y="12918"/>
                      <a:pt x="45241" y="12918"/>
                    </a:cubicBezTo>
                    <a:close/>
                  </a:path>
                </a:pathLst>
              </a:custGeom>
              <a:solidFill>
                <a:schemeClr val="accent1"/>
              </a:solidFill>
              <a:ln w="2618" cap="flat">
                <a:noFill/>
                <a:prstDash val="solid"/>
                <a:miter/>
              </a:ln>
            </p:spPr>
            <p:txBody>
              <a:bodyPr rtlCol="0" anchor="ctr"/>
              <a:lstStyle/>
              <a:p>
                <a:endParaRPr lang="en-GB" dirty="0"/>
              </a:p>
            </p:txBody>
          </p:sp>
          <p:sp>
            <p:nvSpPr>
              <p:cNvPr id="129" name="Freihandform: Form 1042">
                <a:extLst>
                  <a:ext uri="{FF2B5EF4-FFF2-40B4-BE49-F238E27FC236}">
                    <a16:creationId xmlns:a16="http://schemas.microsoft.com/office/drawing/2014/main" id="{6E93ED88-FB37-49F0-975E-6A86B04B9076}"/>
                  </a:ext>
                </a:extLst>
              </p:cNvPr>
              <p:cNvSpPr/>
              <p:nvPr/>
            </p:nvSpPr>
            <p:spPr>
              <a:xfrm>
                <a:off x="6362915" y="2718156"/>
                <a:ext cx="12918" cy="51700"/>
              </a:xfrm>
              <a:custGeom>
                <a:avLst/>
                <a:gdLst>
                  <a:gd name="connsiteX0" fmla="*/ 6459 w 12918"/>
                  <a:gd name="connsiteY0" fmla="*/ 51700 h 51700"/>
                  <a:gd name="connsiteX1" fmla="*/ 0 w 12918"/>
                  <a:gd name="connsiteY1" fmla="*/ 45241 h 51700"/>
                  <a:gd name="connsiteX2" fmla="*/ 0 w 12918"/>
                  <a:gd name="connsiteY2" fmla="*/ 6459 h 51700"/>
                  <a:gd name="connsiteX3" fmla="*/ 6459 w 12918"/>
                  <a:gd name="connsiteY3" fmla="*/ 0 h 51700"/>
                  <a:gd name="connsiteX4" fmla="*/ 12918 w 12918"/>
                  <a:gd name="connsiteY4" fmla="*/ 6459 h 51700"/>
                  <a:gd name="connsiteX5" fmla="*/ 12918 w 12918"/>
                  <a:gd name="connsiteY5" fmla="*/ 45241 h 51700"/>
                  <a:gd name="connsiteX6" fmla="*/ 6459 w 12918"/>
                  <a:gd name="connsiteY6" fmla="*/ 51700 h 5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8" h="51700">
                    <a:moveTo>
                      <a:pt x="6459" y="51700"/>
                    </a:moveTo>
                    <a:cubicBezTo>
                      <a:pt x="2888" y="51700"/>
                      <a:pt x="0" y="48812"/>
                      <a:pt x="0" y="45241"/>
                    </a:cubicBezTo>
                    <a:lnTo>
                      <a:pt x="0" y="6459"/>
                    </a:lnTo>
                    <a:cubicBezTo>
                      <a:pt x="0" y="2888"/>
                      <a:pt x="2888" y="0"/>
                      <a:pt x="6459" y="0"/>
                    </a:cubicBezTo>
                    <a:cubicBezTo>
                      <a:pt x="10030" y="0"/>
                      <a:pt x="12918" y="2888"/>
                      <a:pt x="12918" y="6459"/>
                    </a:cubicBezTo>
                    <a:lnTo>
                      <a:pt x="12918" y="45241"/>
                    </a:lnTo>
                    <a:cubicBezTo>
                      <a:pt x="12918" y="48785"/>
                      <a:pt x="10030" y="51700"/>
                      <a:pt x="6459" y="51700"/>
                    </a:cubicBezTo>
                    <a:close/>
                  </a:path>
                </a:pathLst>
              </a:custGeom>
              <a:solidFill>
                <a:schemeClr val="accent1"/>
              </a:solidFill>
              <a:ln w="2618" cap="flat">
                <a:noFill/>
                <a:prstDash val="solid"/>
                <a:miter/>
              </a:ln>
            </p:spPr>
            <p:txBody>
              <a:bodyPr rtlCol="0" anchor="ctr"/>
              <a:lstStyle/>
              <a:p>
                <a:endParaRPr lang="en-GB" dirty="0"/>
              </a:p>
            </p:txBody>
          </p:sp>
          <p:sp>
            <p:nvSpPr>
              <p:cNvPr id="130" name="Freihandform: Form 1043">
                <a:extLst>
                  <a:ext uri="{FF2B5EF4-FFF2-40B4-BE49-F238E27FC236}">
                    <a16:creationId xmlns:a16="http://schemas.microsoft.com/office/drawing/2014/main" id="{05226B78-02EA-407F-9C5A-8DAD5990EE66}"/>
                  </a:ext>
                </a:extLst>
              </p:cNvPr>
              <p:cNvSpPr/>
              <p:nvPr/>
            </p:nvSpPr>
            <p:spPr>
              <a:xfrm>
                <a:off x="6340439" y="2631036"/>
                <a:ext cx="57870" cy="57870"/>
              </a:xfrm>
              <a:custGeom>
                <a:avLst/>
                <a:gdLst>
                  <a:gd name="connsiteX0" fmla="*/ 28935 w 57870"/>
                  <a:gd name="connsiteY0" fmla="*/ 57870 h 57870"/>
                  <a:gd name="connsiteX1" fmla="*/ 0 w 57870"/>
                  <a:gd name="connsiteY1" fmla="*/ 28935 h 57870"/>
                  <a:gd name="connsiteX2" fmla="*/ 28935 w 57870"/>
                  <a:gd name="connsiteY2" fmla="*/ 0 h 57870"/>
                  <a:gd name="connsiteX3" fmla="*/ 57870 w 57870"/>
                  <a:gd name="connsiteY3" fmla="*/ 28935 h 57870"/>
                  <a:gd name="connsiteX4" fmla="*/ 28935 w 57870"/>
                  <a:gd name="connsiteY4" fmla="*/ 57870 h 57870"/>
                  <a:gd name="connsiteX5" fmla="*/ 28935 w 57870"/>
                  <a:gd name="connsiteY5" fmla="*/ 12918 h 57870"/>
                  <a:gd name="connsiteX6" fmla="*/ 12918 w 57870"/>
                  <a:gd name="connsiteY6" fmla="*/ 28935 h 57870"/>
                  <a:gd name="connsiteX7" fmla="*/ 28935 w 57870"/>
                  <a:gd name="connsiteY7" fmla="*/ 44952 h 57870"/>
                  <a:gd name="connsiteX8" fmla="*/ 44952 w 57870"/>
                  <a:gd name="connsiteY8" fmla="*/ 28935 h 57870"/>
                  <a:gd name="connsiteX9" fmla="*/ 28935 w 57870"/>
                  <a:gd name="connsiteY9" fmla="*/ 12918 h 57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7870" h="57870">
                    <a:moveTo>
                      <a:pt x="28935" y="57870"/>
                    </a:moveTo>
                    <a:cubicBezTo>
                      <a:pt x="12971" y="57870"/>
                      <a:pt x="0" y="44899"/>
                      <a:pt x="0" y="28935"/>
                    </a:cubicBezTo>
                    <a:cubicBezTo>
                      <a:pt x="0" y="12971"/>
                      <a:pt x="12997" y="0"/>
                      <a:pt x="28935" y="0"/>
                    </a:cubicBezTo>
                    <a:cubicBezTo>
                      <a:pt x="44873" y="0"/>
                      <a:pt x="57870" y="12971"/>
                      <a:pt x="57870" y="28935"/>
                    </a:cubicBezTo>
                    <a:cubicBezTo>
                      <a:pt x="57870" y="44899"/>
                      <a:pt x="44899" y="57870"/>
                      <a:pt x="28935" y="57870"/>
                    </a:cubicBezTo>
                    <a:close/>
                    <a:moveTo>
                      <a:pt x="28935" y="12918"/>
                    </a:moveTo>
                    <a:cubicBezTo>
                      <a:pt x="20113" y="12918"/>
                      <a:pt x="12918" y="20113"/>
                      <a:pt x="12918" y="28935"/>
                    </a:cubicBezTo>
                    <a:cubicBezTo>
                      <a:pt x="12918" y="37758"/>
                      <a:pt x="20113" y="44952"/>
                      <a:pt x="28935" y="44952"/>
                    </a:cubicBezTo>
                    <a:cubicBezTo>
                      <a:pt x="37758" y="44952"/>
                      <a:pt x="44952" y="37758"/>
                      <a:pt x="44952" y="28935"/>
                    </a:cubicBezTo>
                    <a:cubicBezTo>
                      <a:pt x="44952" y="20113"/>
                      <a:pt x="37758" y="12918"/>
                      <a:pt x="28935" y="12918"/>
                    </a:cubicBezTo>
                    <a:close/>
                  </a:path>
                </a:pathLst>
              </a:custGeom>
              <a:solidFill>
                <a:schemeClr val="accent1"/>
              </a:solidFill>
              <a:ln w="2618" cap="flat">
                <a:noFill/>
                <a:prstDash val="solid"/>
                <a:miter/>
              </a:ln>
            </p:spPr>
            <p:txBody>
              <a:bodyPr rtlCol="0" anchor="ctr"/>
              <a:lstStyle/>
              <a:p>
                <a:endParaRPr lang="en-GB" dirty="0"/>
              </a:p>
            </p:txBody>
          </p:sp>
        </p:grpSp>
        <p:sp>
          <p:nvSpPr>
            <p:cNvPr id="124" name="Freihandform: Form 1044">
              <a:extLst>
                <a:ext uri="{FF2B5EF4-FFF2-40B4-BE49-F238E27FC236}">
                  <a16:creationId xmlns:a16="http://schemas.microsoft.com/office/drawing/2014/main" id="{D2822068-42EE-4A1E-B1BC-AF94F13BF718}"/>
                </a:ext>
              </a:extLst>
            </p:cNvPr>
            <p:cNvSpPr/>
            <p:nvPr/>
          </p:nvSpPr>
          <p:spPr>
            <a:xfrm>
              <a:off x="6210572" y="2472496"/>
              <a:ext cx="359178" cy="478534"/>
            </a:xfrm>
            <a:custGeom>
              <a:avLst/>
              <a:gdLst>
                <a:gd name="connsiteX0" fmla="*/ 198162 w 359178"/>
                <a:gd name="connsiteY0" fmla="*/ 478534 h 478534"/>
                <a:gd name="connsiteX1" fmla="*/ 191702 w 359178"/>
                <a:gd name="connsiteY1" fmla="*/ 472075 h 478534"/>
                <a:gd name="connsiteX2" fmla="*/ 191702 w 359178"/>
                <a:gd name="connsiteY2" fmla="*/ 389917 h 478534"/>
                <a:gd name="connsiteX3" fmla="*/ 198162 w 359178"/>
                <a:gd name="connsiteY3" fmla="*/ 383457 h 478534"/>
                <a:gd name="connsiteX4" fmla="*/ 273467 w 359178"/>
                <a:gd name="connsiteY4" fmla="*/ 383457 h 478534"/>
                <a:gd name="connsiteX5" fmla="*/ 301247 w 359178"/>
                <a:gd name="connsiteY5" fmla="*/ 355678 h 478534"/>
                <a:gd name="connsiteX6" fmla="*/ 301247 w 359178"/>
                <a:gd name="connsiteY6" fmla="*/ 287199 h 478534"/>
                <a:gd name="connsiteX7" fmla="*/ 307706 w 359178"/>
                <a:gd name="connsiteY7" fmla="*/ 280740 h 478534"/>
                <a:gd name="connsiteX8" fmla="*/ 346146 w 359178"/>
                <a:gd name="connsiteY8" fmla="*/ 280740 h 478534"/>
                <a:gd name="connsiteX9" fmla="*/ 301010 w 359178"/>
                <a:gd name="connsiteY9" fmla="*/ 149928 h 478534"/>
                <a:gd name="connsiteX10" fmla="*/ 300669 w 359178"/>
                <a:gd name="connsiteY10" fmla="*/ 148352 h 478534"/>
                <a:gd name="connsiteX11" fmla="*/ 171274 w 359178"/>
                <a:gd name="connsiteY11" fmla="*/ 13654 h 478534"/>
                <a:gd name="connsiteX12" fmla="*/ 60391 w 359178"/>
                <a:gd name="connsiteY12" fmla="*/ 50440 h 478534"/>
                <a:gd name="connsiteX13" fmla="*/ 12918 w 359178"/>
                <a:gd name="connsiteY13" fmla="*/ 157122 h 478534"/>
                <a:gd name="connsiteX14" fmla="*/ 12918 w 359178"/>
                <a:gd name="connsiteY14" fmla="*/ 472075 h 478534"/>
                <a:gd name="connsiteX15" fmla="*/ 6459 w 359178"/>
                <a:gd name="connsiteY15" fmla="*/ 478534 h 478534"/>
                <a:gd name="connsiteX16" fmla="*/ 0 w 359178"/>
                <a:gd name="connsiteY16" fmla="*/ 472075 h 478534"/>
                <a:gd name="connsiteX17" fmla="*/ 0 w 359178"/>
                <a:gd name="connsiteY17" fmla="*/ 157122 h 478534"/>
                <a:gd name="connsiteX18" fmla="*/ 51700 w 359178"/>
                <a:gd name="connsiteY18" fmla="*/ 40856 h 478534"/>
                <a:gd name="connsiteX19" fmla="*/ 172535 w 359178"/>
                <a:gd name="connsiteY19" fmla="*/ 762 h 478534"/>
                <a:gd name="connsiteX20" fmla="*/ 313509 w 359178"/>
                <a:gd name="connsiteY20" fmla="*/ 146462 h 478534"/>
                <a:gd name="connsiteX21" fmla="*/ 358382 w 359178"/>
                <a:gd name="connsiteY21" fmla="*/ 276224 h 478534"/>
                <a:gd name="connsiteX22" fmla="*/ 356859 w 359178"/>
                <a:gd name="connsiteY22" fmla="*/ 288039 h 478534"/>
                <a:gd name="connsiteX23" fmla="*/ 346146 w 359178"/>
                <a:gd name="connsiteY23" fmla="*/ 293658 h 478534"/>
                <a:gd name="connsiteX24" fmla="*/ 314165 w 359178"/>
                <a:gd name="connsiteY24" fmla="*/ 293658 h 478534"/>
                <a:gd name="connsiteX25" fmla="*/ 314165 w 359178"/>
                <a:gd name="connsiteY25" fmla="*/ 355651 h 478534"/>
                <a:gd name="connsiteX26" fmla="*/ 273467 w 359178"/>
                <a:gd name="connsiteY26" fmla="*/ 396350 h 478534"/>
                <a:gd name="connsiteX27" fmla="*/ 204621 w 359178"/>
                <a:gd name="connsiteY27" fmla="*/ 396350 h 478534"/>
                <a:gd name="connsiteX28" fmla="*/ 204621 w 359178"/>
                <a:gd name="connsiteY28" fmla="*/ 472049 h 478534"/>
                <a:gd name="connsiteX29" fmla="*/ 198162 w 359178"/>
                <a:gd name="connsiteY29" fmla="*/ 478534 h 478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59178" h="478534">
                  <a:moveTo>
                    <a:pt x="198162" y="478534"/>
                  </a:moveTo>
                  <a:cubicBezTo>
                    <a:pt x="194591" y="478534"/>
                    <a:pt x="191702" y="475646"/>
                    <a:pt x="191702" y="472075"/>
                  </a:cubicBezTo>
                  <a:lnTo>
                    <a:pt x="191702" y="389917"/>
                  </a:lnTo>
                  <a:cubicBezTo>
                    <a:pt x="191702" y="386346"/>
                    <a:pt x="194591" y="383457"/>
                    <a:pt x="198162" y="383457"/>
                  </a:cubicBezTo>
                  <a:lnTo>
                    <a:pt x="273467" y="383457"/>
                  </a:lnTo>
                  <a:cubicBezTo>
                    <a:pt x="288775" y="383457"/>
                    <a:pt x="301247" y="370985"/>
                    <a:pt x="301247" y="355678"/>
                  </a:cubicBezTo>
                  <a:lnTo>
                    <a:pt x="301247" y="287199"/>
                  </a:lnTo>
                  <a:cubicBezTo>
                    <a:pt x="301247" y="283628"/>
                    <a:pt x="304135" y="280740"/>
                    <a:pt x="307706" y="280740"/>
                  </a:cubicBezTo>
                  <a:lnTo>
                    <a:pt x="346146" y="280740"/>
                  </a:lnTo>
                  <a:lnTo>
                    <a:pt x="301010" y="149928"/>
                  </a:lnTo>
                  <a:cubicBezTo>
                    <a:pt x="300827" y="149429"/>
                    <a:pt x="300721" y="148877"/>
                    <a:pt x="300669" y="148352"/>
                  </a:cubicBezTo>
                  <a:cubicBezTo>
                    <a:pt x="294840" y="77012"/>
                    <a:pt x="240409" y="20349"/>
                    <a:pt x="171274" y="13654"/>
                  </a:cubicBezTo>
                  <a:cubicBezTo>
                    <a:pt x="130314" y="9715"/>
                    <a:pt x="90902" y="22739"/>
                    <a:pt x="60391" y="50440"/>
                  </a:cubicBezTo>
                  <a:cubicBezTo>
                    <a:pt x="30222" y="77826"/>
                    <a:pt x="12918" y="116712"/>
                    <a:pt x="12918" y="157122"/>
                  </a:cubicBezTo>
                  <a:lnTo>
                    <a:pt x="12918" y="472075"/>
                  </a:lnTo>
                  <a:cubicBezTo>
                    <a:pt x="12918" y="475646"/>
                    <a:pt x="10030" y="478534"/>
                    <a:pt x="6459" y="478534"/>
                  </a:cubicBezTo>
                  <a:cubicBezTo>
                    <a:pt x="2888" y="478534"/>
                    <a:pt x="0" y="475646"/>
                    <a:pt x="0" y="472075"/>
                  </a:cubicBezTo>
                  <a:lnTo>
                    <a:pt x="0" y="157122"/>
                  </a:lnTo>
                  <a:cubicBezTo>
                    <a:pt x="0" y="113063"/>
                    <a:pt x="18853" y="70684"/>
                    <a:pt x="51700" y="40856"/>
                  </a:cubicBezTo>
                  <a:cubicBezTo>
                    <a:pt x="84941" y="10687"/>
                    <a:pt x="127845" y="-3571"/>
                    <a:pt x="172535" y="762"/>
                  </a:cubicBezTo>
                  <a:cubicBezTo>
                    <a:pt x="247656" y="8035"/>
                    <a:pt x="306813" y="69240"/>
                    <a:pt x="313509" y="146462"/>
                  </a:cubicBezTo>
                  <a:lnTo>
                    <a:pt x="358382" y="276224"/>
                  </a:lnTo>
                  <a:cubicBezTo>
                    <a:pt x="359826" y="280031"/>
                    <a:pt x="359301" y="284521"/>
                    <a:pt x="356859" y="288039"/>
                  </a:cubicBezTo>
                  <a:cubicBezTo>
                    <a:pt x="354443" y="291558"/>
                    <a:pt x="350426" y="293658"/>
                    <a:pt x="346146" y="293658"/>
                  </a:cubicBezTo>
                  <a:lnTo>
                    <a:pt x="314165" y="293658"/>
                  </a:lnTo>
                  <a:lnTo>
                    <a:pt x="314165" y="355651"/>
                  </a:lnTo>
                  <a:cubicBezTo>
                    <a:pt x="314165" y="378101"/>
                    <a:pt x="295916" y="396350"/>
                    <a:pt x="273467" y="396350"/>
                  </a:cubicBezTo>
                  <a:lnTo>
                    <a:pt x="204621" y="396350"/>
                  </a:lnTo>
                  <a:lnTo>
                    <a:pt x="204621" y="472049"/>
                  </a:lnTo>
                  <a:cubicBezTo>
                    <a:pt x="204621" y="475646"/>
                    <a:pt x="201733" y="478534"/>
                    <a:pt x="198162" y="478534"/>
                  </a:cubicBezTo>
                  <a:close/>
                </a:path>
              </a:pathLst>
            </a:custGeom>
            <a:solidFill>
              <a:schemeClr val="tx2"/>
            </a:solidFill>
            <a:ln w="2618" cap="flat">
              <a:noFill/>
              <a:prstDash val="solid"/>
              <a:miter/>
            </a:ln>
          </p:spPr>
          <p:txBody>
            <a:bodyPr rtlCol="0" anchor="ctr"/>
            <a:lstStyle/>
            <a:p>
              <a:endParaRPr lang="en-GB" dirty="0"/>
            </a:p>
          </p:txBody>
        </p:sp>
      </p:grpSp>
      <p:grpSp>
        <p:nvGrpSpPr>
          <p:cNvPr id="41" name="Group 40">
            <a:extLst>
              <a:ext uri="{FF2B5EF4-FFF2-40B4-BE49-F238E27FC236}">
                <a16:creationId xmlns:a16="http://schemas.microsoft.com/office/drawing/2014/main" id="{8F8B7583-2CA8-0E96-F954-C738D268B122}"/>
              </a:ext>
            </a:extLst>
          </p:cNvPr>
          <p:cNvGrpSpPr/>
          <p:nvPr/>
        </p:nvGrpSpPr>
        <p:grpSpPr>
          <a:xfrm>
            <a:off x="2636467" y="2391525"/>
            <a:ext cx="496902" cy="431998"/>
            <a:chOff x="2636467" y="2391525"/>
            <a:chExt cx="496902" cy="431998"/>
          </a:xfrm>
        </p:grpSpPr>
        <p:grpSp>
          <p:nvGrpSpPr>
            <p:cNvPr id="132" name="Group 131">
              <a:extLst>
                <a:ext uri="{FF2B5EF4-FFF2-40B4-BE49-F238E27FC236}">
                  <a16:creationId xmlns:a16="http://schemas.microsoft.com/office/drawing/2014/main" id="{2D8A0CE3-E18E-4554-9533-1872D40C3B03}"/>
                </a:ext>
              </a:extLst>
            </p:cNvPr>
            <p:cNvGrpSpPr/>
            <p:nvPr/>
          </p:nvGrpSpPr>
          <p:grpSpPr>
            <a:xfrm>
              <a:off x="2859486" y="2391525"/>
              <a:ext cx="232675" cy="329541"/>
              <a:chOff x="7149186" y="4032243"/>
              <a:chExt cx="293545" cy="415751"/>
            </a:xfrm>
          </p:grpSpPr>
          <p:sp>
            <p:nvSpPr>
              <p:cNvPr id="144" name="Freihandform: Form 838">
                <a:extLst>
                  <a:ext uri="{FF2B5EF4-FFF2-40B4-BE49-F238E27FC236}">
                    <a16:creationId xmlns:a16="http://schemas.microsoft.com/office/drawing/2014/main" id="{CA2F6059-0F27-406C-8B90-F8C7805DA53D}"/>
                  </a:ext>
                </a:extLst>
              </p:cNvPr>
              <p:cNvSpPr/>
              <p:nvPr/>
            </p:nvSpPr>
            <p:spPr>
              <a:xfrm>
                <a:off x="7191319" y="4032243"/>
                <a:ext cx="84136" cy="91030"/>
              </a:xfrm>
              <a:custGeom>
                <a:avLst/>
                <a:gdLst>
                  <a:gd name="connsiteX0" fmla="*/ 44195 w 84136"/>
                  <a:gd name="connsiteY0" fmla="*/ 91031 h 91030"/>
                  <a:gd name="connsiteX1" fmla="*/ 4389 w 84136"/>
                  <a:gd name="connsiteY1" fmla="*/ 60783 h 91030"/>
                  <a:gd name="connsiteX2" fmla="*/ 3129 w 84136"/>
                  <a:gd name="connsiteY2" fmla="*/ 23629 h 91030"/>
                  <a:gd name="connsiteX3" fmla="*/ 24660 w 84136"/>
                  <a:gd name="connsiteY3" fmla="*/ 3070 h 91030"/>
                  <a:gd name="connsiteX4" fmla="*/ 79747 w 84136"/>
                  <a:gd name="connsiteY4" fmla="*/ 30272 h 91030"/>
                  <a:gd name="connsiteX5" fmla="*/ 81007 w 84136"/>
                  <a:gd name="connsiteY5" fmla="*/ 67426 h 91030"/>
                  <a:gd name="connsiteX6" fmla="*/ 59477 w 84136"/>
                  <a:gd name="connsiteY6" fmla="*/ 87985 h 91030"/>
                  <a:gd name="connsiteX7" fmla="*/ 44195 w 84136"/>
                  <a:gd name="connsiteY7" fmla="*/ 91031 h 91030"/>
                  <a:gd name="connsiteX8" fmla="*/ 40178 w 84136"/>
                  <a:gd name="connsiteY8" fmla="*/ 12811 h 91030"/>
                  <a:gd name="connsiteX9" fmla="*/ 29517 w 84136"/>
                  <a:gd name="connsiteY9" fmla="*/ 15017 h 91030"/>
                  <a:gd name="connsiteX10" fmla="*/ 15050 w 84136"/>
                  <a:gd name="connsiteY10" fmla="*/ 28618 h 91030"/>
                  <a:gd name="connsiteX11" fmla="*/ 16363 w 84136"/>
                  <a:gd name="connsiteY11" fmla="*/ 55847 h 91030"/>
                  <a:gd name="connsiteX12" fmla="*/ 54645 w 84136"/>
                  <a:gd name="connsiteY12" fmla="*/ 75959 h 91030"/>
                  <a:gd name="connsiteX13" fmla="*/ 69113 w 84136"/>
                  <a:gd name="connsiteY13" fmla="*/ 62358 h 91030"/>
                  <a:gd name="connsiteX14" fmla="*/ 67800 w 84136"/>
                  <a:gd name="connsiteY14" fmla="*/ 35130 h 91030"/>
                  <a:gd name="connsiteX15" fmla="*/ 40178 w 84136"/>
                  <a:gd name="connsiteY15" fmla="*/ 12811 h 91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4136" h="91030">
                    <a:moveTo>
                      <a:pt x="44195" y="91031"/>
                    </a:moveTo>
                    <a:cubicBezTo>
                      <a:pt x="27496" y="91031"/>
                      <a:pt x="12266" y="79977"/>
                      <a:pt x="4389" y="60783"/>
                    </a:cubicBezTo>
                    <a:cubicBezTo>
                      <a:pt x="-993" y="47681"/>
                      <a:pt x="-1440" y="34473"/>
                      <a:pt x="3129" y="23629"/>
                    </a:cubicBezTo>
                    <a:cubicBezTo>
                      <a:pt x="7068" y="14282"/>
                      <a:pt x="14498" y="7166"/>
                      <a:pt x="24660" y="3070"/>
                    </a:cubicBezTo>
                    <a:cubicBezTo>
                      <a:pt x="46847" y="-5910"/>
                      <a:pt x="69507" y="5302"/>
                      <a:pt x="79747" y="30272"/>
                    </a:cubicBezTo>
                    <a:cubicBezTo>
                      <a:pt x="85130" y="43375"/>
                      <a:pt x="85576" y="56582"/>
                      <a:pt x="81007" y="67426"/>
                    </a:cubicBezTo>
                    <a:cubicBezTo>
                      <a:pt x="77069" y="76773"/>
                      <a:pt x="69638" y="83889"/>
                      <a:pt x="59477" y="87985"/>
                    </a:cubicBezTo>
                    <a:cubicBezTo>
                      <a:pt x="54356" y="90033"/>
                      <a:pt x="49210" y="91031"/>
                      <a:pt x="44195" y="91031"/>
                    </a:cubicBezTo>
                    <a:close/>
                    <a:moveTo>
                      <a:pt x="40178" y="12811"/>
                    </a:moveTo>
                    <a:cubicBezTo>
                      <a:pt x="36843" y="12811"/>
                      <a:pt x="33298" y="13494"/>
                      <a:pt x="29517" y="15017"/>
                    </a:cubicBezTo>
                    <a:cubicBezTo>
                      <a:pt x="22533" y="17826"/>
                      <a:pt x="17675" y="22421"/>
                      <a:pt x="15050" y="28618"/>
                    </a:cubicBezTo>
                    <a:cubicBezTo>
                      <a:pt x="11820" y="36285"/>
                      <a:pt x="12293" y="45948"/>
                      <a:pt x="16363" y="55847"/>
                    </a:cubicBezTo>
                    <a:cubicBezTo>
                      <a:pt x="22139" y="69920"/>
                      <a:pt x="35688" y="83653"/>
                      <a:pt x="54645" y="75959"/>
                    </a:cubicBezTo>
                    <a:cubicBezTo>
                      <a:pt x="61630" y="73124"/>
                      <a:pt x="66513" y="68555"/>
                      <a:pt x="69113" y="62358"/>
                    </a:cubicBezTo>
                    <a:cubicBezTo>
                      <a:pt x="72343" y="54691"/>
                      <a:pt x="71870" y="45029"/>
                      <a:pt x="67800" y="35130"/>
                    </a:cubicBezTo>
                    <a:cubicBezTo>
                      <a:pt x="63153" y="23866"/>
                      <a:pt x="53569" y="12811"/>
                      <a:pt x="40178" y="12811"/>
                    </a:cubicBezTo>
                    <a:close/>
                  </a:path>
                </a:pathLst>
              </a:custGeom>
              <a:solidFill>
                <a:schemeClr val="accent1"/>
              </a:solidFill>
              <a:ln w="2618" cap="flat">
                <a:noFill/>
                <a:prstDash val="solid"/>
                <a:miter/>
              </a:ln>
            </p:spPr>
            <p:txBody>
              <a:bodyPr rtlCol="0" anchor="ctr"/>
              <a:lstStyle/>
              <a:p>
                <a:endParaRPr lang="en-GB" dirty="0"/>
              </a:p>
            </p:txBody>
          </p:sp>
          <p:grpSp>
            <p:nvGrpSpPr>
              <p:cNvPr id="145" name="Grafik 260">
                <a:extLst>
                  <a:ext uri="{FF2B5EF4-FFF2-40B4-BE49-F238E27FC236}">
                    <a16:creationId xmlns:a16="http://schemas.microsoft.com/office/drawing/2014/main" id="{FCB6A7BF-8DBE-4702-ADFF-A172A395AF13}"/>
                  </a:ext>
                </a:extLst>
              </p:cNvPr>
              <p:cNvGrpSpPr/>
              <p:nvPr/>
            </p:nvGrpSpPr>
            <p:grpSpPr>
              <a:xfrm>
                <a:off x="7149186" y="4121420"/>
                <a:ext cx="293545" cy="326574"/>
                <a:chOff x="7149186" y="4121420"/>
                <a:chExt cx="293545" cy="326574"/>
              </a:xfrm>
              <a:solidFill>
                <a:schemeClr val="accent1"/>
              </a:solidFill>
            </p:grpSpPr>
            <p:sp>
              <p:nvSpPr>
                <p:cNvPr id="146" name="Freihandform: Form 842">
                  <a:extLst>
                    <a:ext uri="{FF2B5EF4-FFF2-40B4-BE49-F238E27FC236}">
                      <a16:creationId xmlns:a16="http://schemas.microsoft.com/office/drawing/2014/main" id="{F89AB792-66FD-4CB9-8DEC-210701826B5B}"/>
                    </a:ext>
                  </a:extLst>
                </p:cNvPr>
                <p:cNvSpPr/>
                <p:nvPr/>
              </p:nvSpPr>
              <p:spPr>
                <a:xfrm>
                  <a:off x="7219993" y="4215649"/>
                  <a:ext cx="73208" cy="229640"/>
                </a:xfrm>
                <a:custGeom>
                  <a:avLst/>
                  <a:gdLst>
                    <a:gd name="connsiteX0" fmla="*/ 6489 w 73208"/>
                    <a:gd name="connsiteY0" fmla="*/ 229640 h 229640"/>
                    <a:gd name="connsiteX1" fmla="*/ 5833 w 73208"/>
                    <a:gd name="connsiteY1" fmla="*/ 229614 h 229640"/>
                    <a:gd name="connsiteX2" fmla="*/ 30 w 73208"/>
                    <a:gd name="connsiteY2" fmla="*/ 222551 h 229640"/>
                    <a:gd name="connsiteX3" fmla="*/ 7067 w 73208"/>
                    <a:gd name="connsiteY3" fmla="*/ 151447 h 229640"/>
                    <a:gd name="connsiteX4" fmla="*/ 17964 w 73208"/>
                    <a:gd name="connsiteY4" fmla="*/ 128210 h 229640"/>
                    <a:gd name="connsiteX5" fmla="*/ 59555 w 73208"/>
                    <a:gd name="connsiteY5" fmla="*/ 80501 h 229640"/>
                    <a:gd name="connsiteX6" fmla="*/ 38444 w 73208"/>
                    <a:gd name="connsiteY6" fmla="*/ 8268 h 229640"/>
                    <a:gd name="connsiteX7" fmla="*/ 42829 w 73208"/>
                    <a:gd name="connsiteY7" fmla="*/ 259 h 229640"/>
                    <a:gd name="connsiteX8" fmla="*/ 50837 w 73208"/>
                    <a:gd name="connsiteY8" fmla="*/ 4644 h 229640"/>
                    <a:gd name="connsiteX9" fmla="*/ 72946 w 73208"/>
                    <a:gd name="connsiteY9" fmla="*/ 80291 h 229640"/>
                    <a:gd name="connsiteX10" fmla="*/ 71607 w 73208"/>
                    <a:gd name="connsiteY10" fmla="*/ 86356 h 229640"/>
                    <a:gd name="connsiteX11" fmla="*/ 27390 w 73208"/>
                    <a:gd name="connsiteY11" fmla="*/ 137059 h 229640"/>
                    <a:gd name="connsiteX12" fmla="*/ 19907 w 73208"/>
                    <a:gd name="connsiteY12" fmla="*/ 152708 h 229640"/>
                    <a:gd name="connsiteX13" fmla="*/ 12844 w 73208"/>
                    <a:gd name="connsiteY13" fmla="*/ 223864 h 229640"/>
                    <a:gd name="connsiteX14" fmla="*/ 6489 w 73208"/>
                    <a:gd name="connsiteY14" fmla="*/ 229640 h 229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3208" h="229640">
                      <a:moveTo>
                        <a:pt x="6489" y="229640"/>
                      </a:moveTo>
                      <a:cubicBezTo>
                        <a:pt x="6279" y="229640"/>
                        <a:pt x="6069" y="229640"/>
                        <a:pt x="5833" y="229614"/>
                      </a:cubicBezTo>
                      <a:cubicBezTo>
                        <a:pt x="2288" y="229273"/>
                        <a:pt x="-311" y="226096"/>
                        <a:pt x="30" y="222551"/>
                      </a:cubicBezTo>
                      <a:lnTo>
                        <a:pt x="7067" y="151447"/>
                      </a:lnTo>
                      <a:cubicBezTo>
                        <a:pt x="7855" y="142730"/>
                        <a:pt x="11741" y="134433"/>
                        <a:pt x="17964" y="128210"/>
                      </a:cubicBezTo>
                      <a:lnTo>
                        <a:pt x="59555" y="80501"/>
                      </a:lnTo>
                      <a:lnTo>
                        <a:pt x="38444" y="8268"/>
                      </a:lnTo>
                      <a:cubicBezTo>
                        <a:pt x="37446" y="4828"/>
                        <a:pt x="39416" y="1257"/>
                        <a:pt x="42829" y="259"/>
                      </a:cubicBezTo>
                      <a:cubicBezTo>
                        <a:pt x="46269" y="-738"/>
                        <a:pt x="49840" y="1231"/>
                        <a:pt x="50837" y="4644"/>
                      </a:cubicBezTo>
                      <a:lnTo>
                        <a:pt x="72946" y="80291"/>
                      </a:lnTo>
                      <a:cubicBezTo>
                        <a:pt x="73576" y="82418"/>
                        <a:pt x="73051" y="84702"/>
                        <a:pt x="71607" y="86356"/>
                      </a:cubicBezTo>
                      <a:lnTo>
                        <a:pt x="27390" y="137059"/>
                      </a:lnTo>
                      <a:cubicBezTo>
                        <a:pt x="22979" y="141470"/>
                        <a:pt x="20432" y="146931"/>
                        <a:pt x="19907" y="152708"/>
                      </a:cubicBezTo>
                      <a:lnTo>
                        <a:pt x="12844" y="223864"/>
                      </a:lnTo>
                      <a:cubicBezTo>
                        <a:pt x="12607" y="227146"/>
                        <a:pt x="9771" y="229640"/>
                        <a:pt x="6489" y="229640"/>
                      </a:cubicBezTo>
                      <a:close/>
                    </a:path>
                  </a:pathLst>
                </a:custGeom>
                <a:solidFill>
                  <a:schemeClr val="accent1"/>
                </a:solidFill>
                <a:ln w="2618" cap="flat">
                  <a:noFill/>
                  <a:prstDash val="solid"/>
                  <a:miter/>
                </a:ln>
              </p:spPr>
              <p:txBody>
                <a:bodyPr rtlCol="0" anchor="ctr"/>
                <a:lstStyle/>
                <a:p>
                  <a:endParaRPr lang="en-GB" dirty="0"/>
                </a:p>
              </p:txBody>
            </p:sp>
            <p:sp>
              <p:nvSpPr>
                <p:cNvPr id="147" name="Freihandform: Form 843">
                  <a:extLst>
                    <a:ext uri="{FF2B5EF4-FFF2-40B4-BE49-F238E27FC236}">
                      <a16:creationId xmlns:a16="http://schemas.microsoft.com/office/drawing/2014/main" id="{A0D9076C-BF82-4F65-B3B7-B007FF6B051E}"/>
                    </a:ext>
                  </a:extLst>
                </p:cNvPr>
                <p:cNvSpPr/>
                <p:nvPr/>
              </p:nvSpPr>
              <p:spPr>
                <a:xfrm>
                  <a:off x="7149186" y="4121420"/>
                  <a:ext cx="237601" cy="324973"/>
                </a:xfrm>
                <a:custGeom>
                  <a:avLst/>
                  <a:gdLst>
                    <a:gd name="connsiteX0" fmla="*/ 118808 w 237601"/>
                    <a:gd name="connsiteY0" fmla="*/ 324973 h 324973"/>
                    <a:gd name="connsiteX1" fmla="*/ 117811 w 237601"/>
                    <a:gd name="connsiteY1" fmla="*/ 324894 h 324973"/>
                    <a:gd name="connsiteX2" fmla="*/ 112402 w 237601"/>
                    <a:gd name="connsiteY2" fmla="*/ 317516 h 324973"/>
                    <a:gd name="connsiteX3" fmla="*/ 122589 w 237601"/>
                    <a:gd name="connsiteY3" fmla="*/ 251244 h 324973"/>
                    <a:gd name="connsiteX4" fmla="*/ 125215 w 237601"/>
                    <a:gd name="connsiteY4" fmla="*/ 246990 h 324973"/>
                    <a:gd name="connsiteX5" fmla="*/ 209763 w 237601"/>
                    <a:gd name="connsiteY5" fmla="*/ 186126 h 324973"/>
                    <a:gd name="connsiteX6" fmla="*/ 220554 w 237601"/>
                    <a:gd name="connsiteY6" fmla="*/ 136894 h 324973"/>
                    <a:gd name="connsiteX7" fmla="*/ 164522 w 237601"/>
                    <a:gd name="connsiteY7" fmla="*/ 28689 h 324973"/>
                    <a:gd name="connsiteX8" fmla="*/ 127762 w 237601"/>
                    <a:gd name="connsiteY8" fmla="*/ 15088 h 324973"/>
                    <a:gd name="connsiteX9" fmla="*/ 101190 w 237601"/>
                    <a:gd name="connsiteY9" fmla="*/ 25827 h 324973"/>
                    <a:gd name="connsiteX10" fmla="*/ 83913 w 237601"/>
                    <a:gd name="connsiteY10" fmla="*/ 45572 h 324973"/>
                    <a:gd name="connsiteX11" fmla="*/ 72885 w 237601"/>
                    <a:gd name="connsiteY11" fmla="*/ 111136 h 324973"/>
                    <a:gd name="connsiteX12" fmla="*/ 70023 w 237601"/>
                    <a:gd name="connsiteY12" fmla="*/ 115469 h 324973"/>
                    <a:gd name="connsiteX13" fmla="*/ 9973 w 237601"/>
                    <a:gd name="connsiteY13" fmla="*/ 154513 h 324973"/>
                    <a:gd name="connsiteX14" fmla="*/ 1046 w 237601"/>
                    <a:gd name="connsiteY14" fmla="*/ 152622 h 324973"/>
                    <a:gd name="connsiteX15" fmla="*/ 2936 w 237601"/>
                    <a:gd name="connsiteY15" fmla="*/ 143695 h 324973"/>
                    <a:gd name="connsiteX16" fmla="*/ 60597 w 237601"/>
                    <a:gd name="connsiteY16" fmla="*/ 106200 h 324973"/>
                    <a:gd name="connsiteX17" fmla="*/ 71283 w 237601"/>
                    <a:gd name="connsiteY17" fmla="*/ 42894 h 324973"/>
                    <a:gd name="connsiteX18" fmla="*/ 96359 w 237601"/>
                    <a:gd name="connsiteY18" fmla="*/ 13854 h 324973"/>
                    <a:gd name="connsiteX19" fmla="*/ 122931 w 237601"/>
                    <a:gd name="connsiteY19" fmla="*/ 3115 h 324973"/>
                    <a:gd name="connsiteX20" fmla="*/ 176023 w 237601"/>
                    <a:gd name="connsiteY20" fmla="*/ 22755 h 324973"/>
                    <a:gd name="connsiteX21" fmla="*/ 232212 w 237601"/>
                    <a:gd name="connsiteY21" fmla="*/ 131328 h 324973"/>
                    <a:gd name="connsiteX22" fmla="*/ 216852 w 237601"/>
                    <a:gd name="connsiteY22" fmla="*/ 196944 h 324973"/>
                    <a:gd name="connsiteX23" fmla="*/ 134957 w 237601"/>
                    <a:gd name="connsiteY23" fmla="*/ 255917 h 324973"/>
                    <a:gd name="connsiteX24" fmla="*/ 125163 w 237601"/>
                    <a:gd name="connsiteY24" fmla="*/ 319512 h 324973"/>
                    <a:gd name="connsiteX25" fmla="*/ 118808 w 237601"/>
                    <a:gd name="connsiteY25" fmla="*/ 324973 h 324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37601" h="324973">
                      <a:moveTo>
                        <a:pt x="118808" y="324973"/>
                      </a:moveTo>
                      <a:cubicBezTo>
                        <a:pt x="118467" y="324973"/>
                        <a:pt x="118152" y="324947"/>
                        <a:pt x="117811" y="324894"/>
                      </a:cubicBezTo>
                      <a:cubicBezTo>
                        <a:pt x="114292" y="324343"/>
                        <a:pt x="111877" y="321061"/>
                        <a:pt x="112402" y="317516"/>
                      </a:cubicBezTo>
                      <a:lnTo>
                        <a:pt x="122589" y="251244"/>
                      </a:lnTo>
                      <a:cubicBezTo>
                        <a:pt x="122852" y="249537"/>
                        <a:pt x="123797" y="247988"/>
                        <a:pt x="125215" y="246990"/>
                      </a:cubicBezTo>
                      <a:lnTo>
                        <a:pt x="209763" y="186126"/>
                      </a:lnTo>
                      <a:cubicBezTo>
                        <a:pt x="226016" y="176332"/>
                        <a:pt x="227880" y="153489"/>
                        <a:pt x="220554" y="136894"/>
                      </a:cubicBezTo>
                      <a:lnTo>
                        <a:pt x="164522" y="28689"/>
                      </a:lnTo>
                      <a:cubicBezTo>
                        <a:pt x="157564" y="15272"/>
                        <a:pt x="141783" y="9443"/>
                        <a:pt x="127762" y="15088"/>
                      </a:cubicBezTo>
                      <a:lnTo>
                        <a:pt x="101190" y="25827"/>
                      </a:lnTo>
                      <a:cubicBezTo>
                        <a:pt x="92657" y="29293"/>
                        <a:pt x="86197" y="36671"/>
                        <a:pt x="83913" y="45572"/>
                      </a:cubicBezTo>
                      <a:lnTo>
                        <a:pt x="72885" y="111136"/>
                      </a:lnTo>
                      <a:cubicBezTo>
                        <a:pt x="72570" y="112922"/>
                        <a:pt x="71546" y="114497"/>
                        <a:pt x="70023" y="115469"/>
                      </a:cubicBezTo>
                      <a:lnTo>
                        <a:pt x="9973" y="154513"/>
                      </a:lnTo>
                      <a:cubicBezTo>
                        <a:pt x="6980" y="156482"/>
                        <a:pt x="2989" y="155615"/>
                        <a:pt x="1046" y="152622"/>
                      </a:cubicBezTo>
                      <a:cubicBezTo>
                        <a:pt x="-897" y="149629"/>
                        <a:pt x="-57" y="145638"/>
                        <a:pt x="2936" y="143695"/>
                      </a:cubicBezTo>
                      <a:lnTo>
                        <a:pt x="60597" y="106200"/>
                      </a:lnTo>
                      <a:lnTo>
                        <a:pt x="71283" y="42894"/>
                      </a:lnTo>
                      <a:cubicBezTo>
                        <a:pt x="74697" y="29503"/>
                        <a:pt x="84018" y="18843"/>
                        <a:pt x="96359" y="13854"/>
                      </a:cubicBezTo>
                      <a:lnTo>
                        <a:pt x="122931" y="3115"/>
                      </a:lnTo>
                      <a:cubicBezTo>
                        <a:pt x="143175" y="-5077"/>
                        <a:pt x="165992" y="3377"/>
                        <a:pt x="176023" y="22755"/>
                      </a:cubicBezTo>
                      <a:lnTo>
                        <a:pt x="232212" y="131328"/>
                      </a:lnTo>
                      <a:cubicBezTo>
                        <a:pt x="241849" y="153121"/>
                        <a:pt x="239617" y="183290"/>
                        <a:pt x="216852" y="196944"/>
                      </a:cubicBezTo>
                      <a:lnTo>
                        <a:pt x="134957" y="255917"/>
                      </a:lnTo>
                      <a:lnTo>
                        <a:pt x="125163" y="319512"/>
                      </a:lnTo>
                      <a:cubicBezTo>
                        <a:pt x="124716" y="322689"/>
                        <a:pt x="121959" y="324973"/>
                        <a:pt x="118808" y="324973"/>
                      </a:cubicBezTo>
                      <a:close/>
                    </a:path>
                  </a:pathLst>
                </a:custGeom>
                <a:solidFill>
                  <a:schemeClr val="accent1"/>
                </a:solidFill>
                <a:ln w="2618" cap="flat">
                  <a:noFill/>
                  <a:prstDash val="solid"/>
                  <a:miter/>
                </a:ln>
              </p:spPr>
              <p:txBody>
                <a:bodyPr rtlCol="0" anchor="ctr"/>
                <a:lstStyle/>
                <a:p>
                  <a:endParaRPr lang="en-GB" dirty="0"/>
                </a:p>
              </p:txBody>
            </p:sp>
            <p:sp>
              <p:nvSpPr>
                <p:cNvPr id="148" name="Freihandform: Form 844">
                  <a:extLst>
                    <a:ext uri="{FF2B5EF4-FFF2-40B4-BE49-F238E27FC236}">
                      <a16:creationId xmlns:a16="http://schemas.microsoft.com/office/drawing/2014/main" id="{A4544FBC-0FF6-405A-AFC4-C064B1CCDCB2}"/>
                    </a:ext>
                  </a:extLst>
                </p:cNvPr>
                <p:cNvSpPr/>
                <p:nvPr/>
              </p:nvSpPr>
              <p:spPr>
                <a:xfrm>
                  <a:off x="7156180" y="4203488"/>
                  <a:ext cx="120907" cy="97467"/>
                </a:xfrm>
                <a:custGeom>
                  <a:avLst/>
                  <a:gdLst>
                    <a:gd name="connsiteX0" fmla="*/ 6471 w 120907"/>
                    <a:gd name="connsiteY0" fmla="*/ 97467 h 97467"/>
                    <a:gd name="connsiteX1" fmla="*/ 511 w 120907"/>
                    <a:gd name="connsiteY1" fmla="*/ 93529 h 97467"/>
                    <a:gd name="connsiteX2" fmla="*/ 3951 w 120907"/>
                    <a:gd name="connsiteY2" fmla="*/ 85048 h 97467"/>
                    <a:gd name="connsiteX3" fmla="*/ 73191 w 120907"/>
                    <a:gd name="connsiteY3" fmla="*/ 55850 h 97467"/>
                    <a:gd name="connsiteX4" fmla="*/ 109084 w 120907"/>
                    <a:gd name="connsiteY4" fmla="*/ 2837 h 97467"/>
                    <a:gd name="connsiteX5" fmla="*/ 118064 w 120907"/>
                    <a:gd name="connsiteY5" fmla="*/ 1104 h 97467"/>
                    <a:gd name="connsiteX6" fmla="*/ 119797 w 120907"/>
                    <a:gd name="connsiteY6" fmla="*/ 10084 h 97467"/>
                    <a:gd name="connsiteX7" fmla="*/ 82827 w 120907"/>
                    <a:gd name="connsiteY7" fmla="*/ 64698 h 97467"/>
                    <a:gd name="connsiteX8" fmla="*/ 79991 w 120907"/>
                    <a:gd name="connsiteY8" fmla="*/ 67035 h 97467"/>
                    <a:gd name="connsiteX9" fmla="*/ 8966 w 120907"/>
                    <a:gd name="connsiteY9" fmla="*/ 96995 h 97467"/>
                    <a:gd name="connsiteX10" fmla="*/ 6471 w 120907"/>
                    <a:gd name="connsiteY10" fmla="*/ 97467 h 9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907" h="97467">
                      <a:moveTo>
                        <a:pt x="6471" y="97467"/>
                      </a:moveTo>
                      <a:cubicBezTo>
                        <a:pt x="3951" y="97467"/>
                        <a:pt x="1561" y="95997"/>
                        <a:pt x="511" y="93529"/>
                      </a:cubicBezTo>
                      <a:cubicBezTo>
                        <a:pt x="-880" y="90246"/>
                        <a:pt x="669" y="86439"/>
                        <a:pt x="3951" y="85048"/>
                      </a:cubicBezTo>
                      <a:lnTo>
                        <a:pt x="73191" y="55850"/>
                      </a:lnTo>
                      <a:lnTo>
                        <a:pt x="109084" y="2837"/>
                      </a:lnTo>
                      <a:cubicBezTo>
                        <a:pt x="111079" y="-104"/>
                        <a:pt x="115123" y="-891"/>
                        <a:pt x="118064" y="1104"/>
                      </a:cubicBezTo>
                      <a:cubicBezTo>
                        <a:pt x="121031" y="3100"/>
                        <a:pt x="121792" y="7117"/>
                        <a:pt x="119797" y="10084"/>
                      </a:cubicBezTo>
                      <a:lnTo>
                        <a:pt x="82827" y="64698"/>
                      </a:lnTo>
                      <a:cubicBezTo>
                        <a:pt x="82118" y="65723"/>
                        <a:pt x="81146" y="66536"/>
                        <a:pt x="79991" y="67035"/>
                      </a:cubicBezTo>
                      <a:lnTo>
                        <a:pt x="8966" y="96995"/>
                      </a:lnTo>
                      <a:cubicBezTo>
                        <a:pt x="8178" y="97284"/>
                        <a:pt x="7312" y="97467"/>
                        <a:pt x="6471" y="97467"/>
                      </a:cubicBezTo>
                      <a:close/>
                    </a:path>
                  </a:pathLst>
                </a:custGeom>
                <a:solidFill>
                  <a:schemeClr val="accent1"/>
                </a:solidFill>
                <a:ln w="2618" cap="flat">
                  <a:noFill/>
                  <a:prstDash val="solid"/>
                  <a:miter/>
                </a:ln>
              </p:spPr>
              <p:txBody>
                <a:bodyPr rtlCol="0" anchor="ctr"/>
                <a:lstStyle/>
                <a:p>
                  <a:endParaRPr lang="en-GB" dirty="0"/>
                </a:p>
              </p:txBody>
            </p:sp>
            <p:sp>
              <p:nvSpPr>
                <p:cNvPr id="149" name="Freihandform: Form 845">
                  <a:extLst>
                    <a:ext uri="{FF2B5EF4-FFF2-40B4-BE49-F238E27FC236}">
                      <a16:creationId xmlns:a16="http://schemas.microsoft.com/office/drawing/2014/main" id="{A7894813-0E32-440B-A104-2653F94B7E13}"/>
                    </a:ext>
                  </a:extLst>
                </p:cNvPr>
                <p:cNvSpPr/>
                <p:nvPr/>
              </p:nvSpPr>
              <p:spPr>
                <a:xfrm>
                  <a:off x="7374590" y="4272341"/>
                  <a:ext cx="68140" cy="172975"/>
                </a:xfrm>
                <a:custGeom>
                  <a:avLst/>
                  <a:gdLst>
                    <a:gd name="connsiteX0" fmla="*/ 61685 w 68140"/>
                    <a:gd name="connsiteY0" fmla="*/ 172975 h 172975"/>
                    <a:gd name="connsiteX1" fmla="*/ 56066 w 68140"/>
                    <a:gd name="connsiteY1" fmla="*/ 169719 h 172975"/>
                    <a:gd name="connsiteX2" fmla="*/ 15552 w 68140"/>
                    <a:gd name="connsiteY2" fmla="*/ 99167 h 172975"/>
                    <a:gd name="connsiteX3" fmla="*/ 14790 w 68140"/>
                    <a:gd name="connsiteY3" fmla="*/ 96988 h 172975"/>
                    <a:gd name="connsiteX4" fmla="*/ 86 w 68140"/>
                    <a:gd name="connsiteY4" fmla="*/ 7530 h 172975"/>
                    <a:gd name="connsiteX5" fmla="*/ 5416 w 68140"/>
                    <a:gd name="connsiteY5" fmla="*/ 99 h 172975"/>
                    <a:gd name="connsiteX6" fmla="*/ 12847 w 68140"/>
                    <a:gd name="connsiteY6" fmla="*/ 5429 h 172975"/>
                    <a:gd name="connsiteX7" fmla="*/ 27367 w 68140"/>
                    <a:gd name="connsiteY7" fmla="*/ 93732 h 172975"/>
                    <a:gd name="connsiteX8" fmla="*/ 67278 w 68140"/>
                    <a:gd name="connsiteY8" fmla="*/ 163260 h 172975"/>
                    <a:gd name="connsiteX9" fmla="*/ 64889 w 68140"/>
                    <a:gd name="connsiteY9" fmla="*/ 172083 h 172975"/>
                    <a:gd name="connsiteX10" fmla="*/ 61685 w 68140"/>
                    <a:gd name="connsiteY10" fmla="*/ 172975 h 17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140" h="172975">
                      <a:moveTo>
                        <a:pt x="61685" y="172975"/>
                      </a:moveTo>
                      <a:cubicBezTo>
                        <a:pt x="59453" y="172975"/>
                        <a:pt x="57274" y="171820"/>
                        <a:pt x="56066" y="169719"/>
                      </a:cubicBezTo>
                      <a:lnTo>
                        <a:pt x="15552" y="99167"/>
                      </a:lnTo>
                      <a:cubicBezTo>
                        <a:pt x="15158" y="98510"/>
                        <a:pt x="14895" y="97749"/>
                        <a:pt x="14790" y="96988"/>
                      </a:cubicBezTo>
                      <a:lnTo>
                        <a:pt x="86" y="7530"/>
                      </a:lnTo>
                      <a:cubicBezTo>
                        <a:pt x="-491" y="4011"/>
                        <a:pt x="1898" y="677"/>
                        <a:pt x="5416" y="99"/>
                      </a:cubicBezTo>
                      <a:cubicBezTo>
                        <a:pt x="8935" y="-531"/>
                        <a:pt x="12269" y="1911"/>
                        <a:pt x="12847" y="5429"/>
                      </a:cubicBezTo>
                      <a:lnTo>
                        <a:pt x="27367" y="93732"/>
                      </a:lnTo>
                      <a:lnTo>
                        <a:pt x="67278" y="163260"/>
                      </a:lnTo>
                      <a:cubicBezTo>
                        <a:pt x="69063" y="166359"/>
                        <a:pt x="67987" y="170297"/>
                        <a:pt x="64889" y="172083"/>
                      </a:cubicBezTo>
                      <a:cubicBezTo>
                        <a:pt x="63891" y="172686"/>
                        <a:pt x="62788" y="172975"/>
                        <a:pt x="61685" y="172975"/>
                      </a:cubicBezTo>
                      <a:close/>
                    </a:path>
                  </a:pathLst>
                </a:custGeom>
                <a:solidFill>
                  <a:schemeClr val="accent1"/>
                </a:solidFill>
                <a:ln w="2618" cap="flat">
                  <a:noFill/>
                  <a:prstDash val="solid"/>
                  <a:miter/>
                </a:ln>
              </p:spPr>
              <p:txBody>
                <a:bodyPr rtlCol="0" anchor="ctr"/>
                <a:lstStyle/>
                <a:p>
                  <a:endParaRPr lang="en-GB" dirty="0"/>
                </a:p>
              </p:txBody>
            </p:sp>
            <p:sp>
              <p:nvSpPr>
                <p:cNvPr id="150" name="Freihandform: Form 846">
                  <a:extLst>
                    <a:ext uri="{FF2B5EF4-FFF2-40B4-BE49-F238E27FC236}">
                      <a16:creationId xmlns:a16="http://schemas.microsoft.com/office/drawing/2014/main" id="{58E30F76-05E4-4134-A177-83F4AAAA46E4}"/>
                    </a:ext>
                  </a:extLst>
                </p:cNvPr>
                <p:cNvSpPr/>
                <p:nvPr/>
              </p:nvSpPr>
              <p:spPr>
                <a:xfrm>
                  <a:off x="7335291" y="4323589"/>
                  <a:ext cx="68392" cy="124405"/>
                </a:xfrm>
                <a:custGeom>
                  <a:avLst/>
                  <a:gdLst>
                    <a:gd name="connsiteX0" fmla="*/ 61940 w 68392"/>
                    <a:gd name="connsiteY0" fmla="*/ 124405 h 124405"/>
                    <a:gd name="connsiteX1" fmla="*/ 56689 w 68392"/>
                    <a:gd name="connsiteY1" fmla="*/ 121701 h 124405"/>
                    <a:gd name="connsiteX2" fmla="*/ 13601 w 68392"/>
                    <a:gd name="connsiteY2" fmla="*/ 61388 h 124405"/>
                    <a:gd name="connsiteX3" fmla="*/ 12577 w 68392"/>
                    <a:gd name="connsiteY3" fmla="*/ 59157 h 124405"/>
                    <a:gd name="connsiteX4" fmla="*/ 183 w 68392"/>
                    <a:gd name="connsiteY4" fmla="*/ 7982 h 124405"/>
                    <a:gd name="connsiteX5" fmla="*/ 4936 w 68392"/>
                    <a:gd name="connsiteY5" fmla="*/ 183 h 124405"/>
                    <a:gd name="connsiteX6" fmla="*/ 12734 w 68392"/>
                    <a:gd name="connsiteY6" fmla="*/ 4936 h 124405"/>
                    <a:gd name="connsiteX7" fmla="*/ 24839 w 68392"/>
                    <a:gd name="connsiteY7" fmla="*/ 54877 h 124405"/>
                    <a:gd name="connsiteX8" fmla="*/ 67191 w 68392"/>
                    <a:gd name="connsiteY8" fmla="*/ 114191 h 124405"/>
                    <a:gd name="connsiteX9" fmla="*/ 65695 w 68392"/>
                    <a:gd name="connsiteY9" fmla="*/ 123197 h 124405"/>
                    <a:gd name="connsiteX10" fmla="*/ 61940 w 68392"/>
                    <a:gd name="connsiteY10" fmla="*/ 124405 h 124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8392" h="124405">
                      <a:moveTo>
                        <a:pt x="61940" y="124405"/>
                      </a:moveTo>
                      <a:cubicBezTo>
                        <a:pt x="59918" y="124405"/>
                        <a:pt x="57949" y="123460"/>
                        <a:pt x="56689" y="121701"/>
                      </a:cubicBezTo>
                      <a:lnTo>
                        <a:pt x="13601" y="61388"/>
                      </a:lnTo>
                      <a:cubicBezTo>
                        <a:pt x="13128" y="60732"/>
                        <a:pt x="12787" y="59944"/>
                        <a:pt x="12577" y="59157"/>
                      </a:cubicBezTo>
                      <a:lnTo>
                        <a:pt x="183" y="7982"/>
                      </a:lnTo>
                      <a:cubicBezTo>
                        <a:pt x="-657" y="4516"/>
                        <a:pt x="1470" y="1024"/>
                        <a:pt x="4936" y="183"/>
                      </a:cubicBezTo>
                      <a:cubicBezTo>
                        <a:pt x="8402" y="-657"/>
                        <a:pt x="11894" y="1470"/>
                        <a:pt x="12734" y="4936"/>
                      </a:cubicBezTo>
                      <a:lnTo>
                        <a:pt x="24839" y="54877"/>
                      </a:lnTo>
                      <a:lnTo>
                        <a:pt x="67191" y="114191"/>
                      </a:lnTo>
                      <a:cubicBezTo>
                        <a:pt x="69266" y="117106"/>
                        <a:pt x="68583" y="121123"/>
                        <a:pt x="65695" y="123197"/>
                      </a:cubicBezTo>
                      <a:cubicBezTo>
                        <a:pt x="64539" y="124011"/>
                        <a:pt x="63226" y="124405"/>
                        <a:pt x="61940" y="124405"/>
                      </a:cubicBezTo>
                      <a:close/>
                    </a:path>
                  </a:pathLst>
                </a:custGeom>
                <a:solidFill>
                  <a:schemeClr val="accent1"/>
                </a:solidFill>
                <a:ln w="2618" cap="flat">
                  <a:noFill/>
                  <a:prstDash val="solid"/>
                  <a:miter/>
                </a:ln>
              </p:spPr>
              <p:txBody>
                <a:bodyPr rtlCol="0" anchor="ctr"/>
                <a:lstStyle/>
                <a:p>
                  <a:endParaRPr lang="en-GB" dirty="0"/>
                </a:p>
              </p:txBody>
            </p:sp>
          </p:grpSp>
        </p:grpSp>
        <p:grpSp>
          <p:nvGrpSpPr>
            <p:cNvPr id="133" name="Group 132">
              <a:extLst>
                <a:ext uri="{FF2B5EF4-FFF2-40B4-BE49-F238E27FC236}">
                  <a16:creationId xmlns:a16="http://schemas.microsoft.com/office/drawing/2014/main" id="{6737F27D-5A72-4702-BBF4-CD4162E3855B}"/>
                </a:ext>
              </a:extLst>
            </p:cNvPr>
            <p:cNvGrpSpPr/>
            <p:nvPr/>
          </p:nvGrpSpPr>
          <p:grpSpPr>
            <a:xfrm>
              <a:off x="2636467" y="2393535"/>
              <a:ext cx="496902" cy="429988"/>
              <a:chOff x="6867824" y="4034781"/>
              <a:chExt cx="626895" cy="542476"/>
            </a:xfrm>
            <a:solidFill>
              <a:schemeClr val="tx2"/>
            </a:solidFill>
          </p:grpSpPr>
          <p:sp>
            <p:nvSpPr>
              <p:cNvPr id="134" name="Freihandform: Form 832">
                <a:extLst>
                  <a:ext uri="{FF2B5EF4-FFF2-40B4-BE49-F238E27FC236}">
                    <a16:creationId xmlns:a16="http://schemas.microsoft.com/office/drawing/2014/main" id="{ABD524D0-870F-42EB-8C68-BE5B6733DE34}"/>
                  </a:ext>
                </a:extLst>
              </p:cNvPr>
              <p:cNvSpPr/>
              <p:nvPr/>
            </p:nvSpPr>
            <p:spPr>
              <a:xfrm>
                <a:off x="7417134" y="4189809"/>
                <a:ext cx="12918" cy="19377"/>
              </a:xfrm>
              <a:custGeom>
                <a:avLst/>
                <a:gdLst>
                  <a:gd name="connsiteX0" fmla="*/ 6459 w 12918"/>
                  <a:gd name="connsiteY0" fmla="*/ 19378 h 19377"/>
                  <a:gd name="connsiteX1" fmla="*/ 0 w 12918"/>
                  <a:gd name="connsiteY1" fmla="*/ 12918 h 19377"/>
                  <a:gd name="connsiteX2" fmla="*/ 0 w 12918"/>
                  <a:gd name="connsiteY2" fmla="*/ 6459 h 19377"/>
                  <a:gd name="connsiteX3" fmla="*/ 6459 w 12918"/>
                  <a:gd name="connsiteY3" fmla="*/ 0 h 19377"/>
                  <a:gd name="connsiteX4" fmla="*/ 12918 w 12918"/>
                  <a:gd name="connsiteY4" fmla="*/ 6459 h 19377"/>
                  <a:gd name="connsiteX5" fmla="*/ 12918 w 12918"/>
                  <a:gd name="connsiteY5" fmla="*/ 12918 h 19377"/>
                  <a:gd name="connsiteX6" fmla="*/ 6459 w 12918"/>
                  <a:gd name="connsiteY6" fmla="*/ 19378 h 1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8" h="19377">
                    <a:moveTo>
                      <a:pt x="6459" y="19378"/>
                    </a:moveTo>
                    <a:cubicBezTo>
                      <a:pt x="2888" y="19378"/>
                      <a:pt x="0" y="16489"/>
                      <a:pt x="0" y="12918"/>
                    </a:cubicBezTo>
                    <a:lnTo>
                      <a:pt x="0" y="6459"/>
                    </a:lnTo>
                    <a:cubicBezTo>
                      <a:pt x="0" y="2888"/>
                      <a:pt x="2888" y="0"/>
                      <a:pt x="6459" y="0"/>
                    </a:cubicBezTo>
                    <a:cubicBezTo>
                      <a:pt x="10030" y="0"/>
                      <a:pt x="12918" y="2888"/>
                      <a:pt x="12918" y="6459"/>
                    </a:cubicBezTo>
                    <a:lnTo>
                      <a:pt x="12918" y="12918"/>
                    </a:lnTo>
                    <a:cubicBezTo>
                      <a:pt x="12918" y="16463"/>
                      <a:pt x="10030" y="19378"/>
                      <a:pt x="6459" y="19378"/>
                    </a:cubicBezTo>
                    <a:close/>
                  </a:path>
                </a:pathLst>
              </a:custGeom>
              <a:grpFill/>
              <a:ln w="2618" cap="flat">
                <a:noFill/>
                <a:prstDash val="solid"/>
                <a:miter/>
              </a:ln>
            </p:spPr>
            <p:txBody>
              <a:bodyPr rtlCol="0" anchor="ctr"/>
              <a:lstStyle/>
              <a:p>
                <a:endParaRPr lang="en-GB" dirty="0"/>
              </a:p>
            </p:txBody>
          </p:sp>
          <p:sp>
            <p:nvSpPr>
              <p:cNvPr id="135" name="Freihandform: Form 833">
                <a:extLst>
                  <a:ext uri="{FF2B5EF4-FFF2-40B4-BE49-F238E27FC236}">
                    <a16:creationId xmlns:a16="http://schemas.microsoft.com/office/drawing/2014/main" id="{D1258974-C8C4-4A60-86F2-60783AFE9066}"/>
                  </a:ext>
                </a:extLst>
              </p:cNvPr>
              <p:cNvSpPr/>
              <p:nvPr/>
            </p:nvSpPr>
            <p:spPr>
              <a:xfrm>
                <a:off x="7417134" y="4222105"/>
                <a:ext cx="12918" cy="19377"/>
              </a:xfrm>
              <a:custGeom>
                <a:avLst/>
                <a:gdLst>
                  <a:gd name="connsiteX0" fmla="*/ 6459 w 12918"/>
                  <a:gd name="connsiteY0" fmla="*/ 19378 h 19377"/>
                  <a:gd name="connsiteX1" fmla="*/ 0 w 12918"/>
                  <a:gd name="connsiteY1" fmla="*/ 12918 h 19377"/>
                  <a:gd name="connsiteX2" fmla="*/ 0 w 12918"/>
                  <a:gd name="connsiteY2" fmla="*/ 6459 h 19377"/>
                  <a:gd name="connsiteX3" fmla="*/ 6459 w 12918"/>
                  <a:gd name="connsiteY3" fmla="*/ 0 h 19377"/>
                  <a:gd name="connsiteX4" fmla="*/ 12918 w 12918"/>
                  <a:gd name="connsiteY4" fmla="*/ 6459 h 19377"/>
                  <a:gd name="connsiteX5" fmla="*/ 12918 w 12918"/>
                  <a:gd name="connsiteY5" fmla="*/ 12918 h 19377"/>
                  <a:gd name="connsiteX6" fmla="*/ 6459 w 12918"/>
                  <a:gd name="connsiteY6" fmla="*/ 19378 h 1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8" h="19377">
                    <a:moveTo>
                      <a:pt x="6459" y="19378"/>
                    </a:moveTo>
                    <a:cubicBezTo>
                      <a:pt x="2888" y="19378"/>
                      <a:pt x="0" y="16489"/>
                      <a:pt x="0" y="12918"/>
                    </a:cubicBezTo>
                    <a:lnTo>
                      <a:pt x="0" y="6459"/>
                    </a:lnTo>
                    <a:cubicBezTo>
                      <a:pt x="0" y="2888"/>
                      <a:pt x="2888" y="0"/>
                      <a:pt x="6459" y="0"/>
                    </a:cubicBezTo>
                    <a:cubicBezTo>
                      <a:pt x="10030" y="0"/>
                      <a:pt x="12918" y="2888"/>
                      <a:pt x="12918" y="6459"/>
                    </a:cubicBezTo>
                    <a:lnTo>
                      <a:pt x="12918" y="12918"/>
                    </a:lnTo>
                    <a:cubicBezTo>
                      <a:pt x="12918" y="16489"/>
                      <a:pt x="10030" y="19378"/>
                      <a:pt x="6459" y="19378"/>
                    </a:cubicBezTo>
                    <a:close/>
                  </a:path>
                </a:pathLst>
              </a:custGeom>
              <a:grpFill/>
              <a:ln w="2618" cap="flat">
                <a:noFill/>
                <a:prstDash val="solid"/>
                <a:miter/>
              </a:ln>
            </p:spPr>
            <p:txBody>
              <a:bodyPr rtlCol="0" anchor="ctr"/>
              <a:lstStyle/>
              <a:p>
                <a:endParaRPr lang="en-GB" dirty="0"/>
              </a:p>
            </p:txBody>
          </p:sp>
          <p:sp>
            <p:nvSpPr>
              <p:cNvPr id="136" name="Freihandform: Form 834">
                <a:extLst>
                  <a:ext uri="{FF2B5EF4-FFF2-40B4-BE49-F238E27FC236}">
                    <a16:creationId xmlns:a16="http://schemas.microsoft.com/office/drawing/2014/main" id="{A5D0C196-0E63-49A4-B199-070E4884E7E3}"/>
                  </a:ext>
                </a:extLst>
              </p:cNvPr>
              <p:cNvSpPr/>
              <p:nvPr/>
            </p:nvSpPr>
            <p:spPr>
              <a:xfrm>
                <a:off x="7417134" y="4157487"/>
                <a:ext cx="12918" cy="19377"/>
              </a:xfrm>
              <a:custGeom>
                <a:avLst/>
                <a:gdLst>
                  <a:gd name="connsiteX0" fmla="*/ 6459 w 12918"/>
                  <a:gd name="connsiteY0" fmla="*/ 19378 h 19377"/>
                  <a:gd name="connsiteX1" fmla="*/ 0 w 12918"/>
                  <a:gd name="connsiteY1" fmla="*/ 12918 h 19377"/>
                  <a:gd name="connsiteX2" fmla="*/ 0 w 12918"/>
                  <a:gd name="connsiteY2" fmla="*/ 6459 h 19377"/>
                  <a:gd name="connsiteX3" fmla="*/ 6459 w 12918"/>
                  <a:gd name="connsiteY3" fmla="*/ 0 h 19377"/>
                  <a:gd name="connsiteX4" fmla="*/ 12918 w 12918"/>
                  <a:gd name="connsiteY4" fmla="*/ 6459 h 19377"/>
                  <a:gd name="connsiteX5" fmla="*/ 12918 w 12918"/>
                  <a:gd name="connsiteY5" fmla="*/ 12918 h 19377"/>
                  <a:gd name="connsiteX6" fmla="*/ 6459 w 12918"/>
                  <a:gd name="connsiteY6" fmla="*/ 19378 h 19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8" h="19377">
                    <a:moveTo>
                      <a:pt x="6459" y="19378"/>
                    </a:moveTo>
                    <a:cubicBezTo>
                      <a:pt x="2888" y="19378"/>
                      <a:pt x="0" y="16489"/>
                      <a:pt x="0" y="12918"/>
                    </a:cubicBezTo>
                    <a:lnTo>
                      <a:pt x="0" y="6459"/>
                    </a:lnTo>
                    <a:cubicBezTo>
                      <a:pt x="0" y="2888"/>
                      <a:pt x="2888" y="0"/>
                      <a:pt x="6459" y="0"/>
                    </a:cubicBezTo>
                    <a:cubicBezTo>
                      <a:pt x="10030" y="0"/>
                      <a:pt x="12918" y="2888"/>
                      <a:pt x="12918" y="6459"/>
                    </a:cubicBezTo>
                    <a:lnTo>
                      <a:pt x="12918" y="12918"/>
                    </a:lnTo>
                    <a:cubicBezTo>
                      <a:pt x="12918" y="16489"/>
                      <a:pt x="10030" y="19378"/>
                      <a:pt x="6459" y="19378"/>
                    </a:cubicBezTo>
                    <a:close/>
                  </a:path>
                </a:pathLst>
              </a:custGeom>
              <a:grpFill/>
              <a:ln w="2618" cap="flat">
                <a:noFill/>
                <a:prstDash val="solid"/>
                <a:miter/>
              </a:ln>
            </p:spPr>
            <p:txBody>
              <a:bodyPr rtlCol="0" anchor="ctr"/>
              <a:lstStyle/>
              <a:p>
                <a:endParaRPr lang="en-GB" dirty="0"/>
              </a:p>
            </p:txBody>
          </p:sp>
          <p:sp>
            <p:nvSpPr>
              <p:cNvPr id="137" name="Freihandform: Form 835">
                <a:extLst>
                  <a:ext uri="{FF2B5EF4-FFF2-40B4-BE49-F238E27FC236}">
                    <a16:creationId xmlns:a16="http://schemas.microsoft.com/office/drawing/2014/main" id="{54F7A970-EB37-44DA-9265-925A680511AD}"/>
                  </a:ext>
                </a:extLst>
              </p:cNvPr>
              <p:cNvSpPr/>
              <p:nvPr/>
            </p:nvSpPr>
            <p:spPr>
              <a:xfrm>
                <a:off x="7391294" y="4034781"/>
                <a:ext cx="103425" cy="109760"/>
              </a:xfrm>
              <a:custGeom>
                <a:avLst/>
                <a:gdLst>
                  <a:gd name="connsiteX0" fmla="*/ 32299 w 103425"/>
                  <a:gd name="connsiteY0" fmla="*/ 109761 h 109760"/>
                  <a:gd name="connsiteX1" fmla="*/ 25840 w 103425"/>
                  <a:gd name="connsiteY1" fmla="*/ 103302 h 109760"/>
                  <a:gd name="connsiteX2" fmla="*/ 25840 w 103425"/>
                  <a:gd name="connsiteY2" fmla="*/ 64520 h 109760"/>
                  <a:gd name="connsiteX3" fmla="*/ 6462 w 103425"/>
                  <a:gd name="connsiteY3" fmla="*/ 64520 h 109760"/>
                  <a:gd name="connsiteX4" fmla="*/ 581 w 103425"/>
                  <a:gd name="connsiteY4" fmla="*/ 60739 h 109760"/>
                  <a:gd name="connsiteX5" fmla="*/ 1605 w 103425"/>
                  <a:gd name="connsiteY5" fmla="*/ 53807 h 109760"/>
                  <a:gd name="connsiteX6" fmla="*/ 46846 w 103425"/>
                  <a:gd name="connsiteY6" fmla="*/ 2107 h 109760"/>
                  <a:gd name="connsiteX7" fmla="*/ 56587 w 103425"/>
                  <a:gd name="connsiteY7" fmla="*/ 2107 h 109760"/>
                  <a:gd name="connsiteX8" fmla="*/ 101828 w 103425"/>
                  <a:gd name="connsiteY8" fmla="*/ 53807 h 109760"/>
                  <a:gd name="connsiteX9" fmla="*/ 102852 w 103425"/>
                  <a:gd name="connsiteY9" fmla="*/ 60739 h 109760"/>
                  <a:gd name="connsiteX10" fmla="*/ 96970 w 103425"/>
                  <a:gd name="connsiteY10" fmla="*/ 64520 h 109760"/>
                  <a:gd name="connsiteX11" fmla="*/ 58189 w 103425"/>
                  <a:gd name="connsiteY11" fmla="*/ 64520 h 109760"/>
                  <a:gd name="connsiteX12" fmla="*/ 51729 w 103425"/>
                  <a:gd name="connsiteY12" fmla="*/ 58061 h 109760"/>
                  <a:gd name="connsiteX13" fmla="*/ 58189 w 103425"/>
                  <a:gd name="connsiteY13" fmla="*/ 51602 h 109760"/>
                  <a:gd name="connsiteX14" fmla="*/ 82713 w 103425"/>
                  <a:gd name="connsiteY14" fmla="*/ 51602 h 109760"/>
                  <a:gd name="connsiteX15" fmla="*/ 51703 w 103425"/>
                  <a:gd name="connsiteY15" fmla="*/ 16181 h 109760"/>
                  <a:gd name="connsiteX16" fmla="*/ 20694 w 103425"/>
                  <a:gd name="connsiteY16" fmla="*/ 51602 h 109760"/>
                  <a:gd name="connsiteX17" fmla="*/ 32299 w 103425"/>
                  <a:gd name="connsiteY17" fmla="*/ 51602 h 109760"/>
                  <a:gd name="connsiteX18" fmla="*/ 38758 w 103425"/>
                  <a:gd name="connsiteY18" fmla="*/ 58061 h 109760"/>
                  <a:gd name="connsiteX19" fmla="*/ 38758 w 103425"/>
                  <a:gd name="connsiteY19" fmla="*/ 103302 h 109760"/>
                  <a:gd name="connsiteX20" fmla="*/ 32299 w 103425"/>
                  <a:gd name="connsiteY20" fmla="*/ 109761 h 10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3425" h="109760">
                    <a:moveTo>
                      <a:pt x="32299" y="109761"/>
                    </a:moveTo>
                    <a:cubicBezTo>
                      <a:pt x="28728" y="109761"/>
                      <a:pt x="25840" y="106873"/>
                      <a:pt x="25840" y="103302"/>
                    </a:cubicBezTo>
                    <a:lnTo>
                      <a:pt x="25840" y="64520"/>
                    </a:lnTo>
                    <a:lnTo>
                      <a:pt x="6462" y="64520"/>
                    </a:lnTo>
                    <a:cubicBezTo>
                      <a:pt x="3915" y="64520"/>
                      <a:pt x="1631" y="63050"/>
                      <a:pt x="581" y="60739"/>
                    </a:cubicBezTo>
                    <a:cubicBezTo>
                      <a:pt x="-470" y="58428"/>
                      <a:pt x="-76" y="55724"/>
                      <a:pt x="1605" y="53807"/>
                    </a:cubicBezTo>
                    <a:lnTo>
                      <a:pt x="46846" y="2107"/>
                    </a:lnTo>
                    <a:cubicBezTo>
                      <a:pt x="49314" y="-702"/>
                      <a:pt x="54119" y="-702"/>
                      <a:pt x="56587" y="2107"/>
                    </a:cubicBezTo>
                    <a:lnTo>
                      <a:pt x="101828" y="53807"/>
                    </a:lnTo>
                    <a:cubicBezTo>
                      <a:pt x="103482" y="55724"/>
                      <a:pt x="103902" y="58428"/>
                      <a:pt x="102852" y="60739"/>
                    </a:cubicBezTo>
                    <a:cubicBezTo>
                      <a:pt x="101801" y="63050"/>
                      <a:pt x="99517" y="64520"/>
                      <a:pt x="96970" y="64520"/>
                    </a:cubicBezTo>
                    <a:lnTo>
                      <a:pt x="58189" y="64520"/>
                    </a:lnTo>
                    <a:cubicBezTo>
                      <a:pt x="54618" y="64520"/>
                      <a:pt x="51729" y="61632"/>
                      <a:pt x="51729" y="58061"/>
                    </a:cubicBezTo>
                    <a:cubicBezTo>
                      <a:pt x="51729" y="54490"/>
                      <a:pt x="54618" y="51602"/>
                      <a:pt x="58189" y="51602"/>
                    </a:cubicBezTo>
                    <a:lnTo>
                      <a:pt x="82713" y="51602"/>
                    </a:lnTo>
                    <a:lnTo>
                      <a:pt x="51703" y="16181"/>
                    </a:lnTo>
                    <a:lnTo>
                      <a:pt x="20694" y="51602"/>
                    </a:lnTo>
                    <a:lnTo>
                      <a:pt x="32299" y="51602"/>
                    </a:lnTo>
                    <a:cubicBezTo>
                      <a:pt x="35870" y="51602"/>
                      <a:pt x="38758" y="54490"/>
                      <a:pt x="38758" y="58061"/>
                    </a:cubicBezTo>
                    <a:lnTo>
                      <a:pt x="38758" y="103302"/>
                    </a:lnTo>
                    <a:cubicBezTo>
                      <a:pt x="38758" y="106873"/>
                      <a:pt x="35870" y="109761"/>
                      <a:pt x="32299" y="109761"/>
                    </a:cubicBezTo>
                    <a:close/>
                  </a:path>
                </a:pathLst>
              </a:custGeom>
              <a:grpFill/>
              <a:ln w="2618" cap="flat">
                <a:noFill/>
                <a:prstDash val="solid"/>
                <a:miter/>
              </a:ln>
            </p:spPr>
            <p:txBody>
              <a:bodyPr rtlCol="0" anchor="ctr"/>
              <a:lstStyle/>
              <a:p>
                <a:endParaRPr lang="en-GB" dirty="0"/>
              </a:p>
            </p:txBody>
          </p:sp>
          <p:sp>
            <p:nvSpPr>
              <p:cNvPr id="138" name="Freihandform: Form 836">
                <a:extLst>
                  <a:ext uri="{FF2B5EF4-FFF2-40B4-BE49-F238E27FC236}">
                    <a16:creationId xmlns:a16="http://schemas.microsoft.com/office/drawing/2014/main" id="{46CF047B-CC4E-4A90-A704-BE30A86C4C44}"/>
                  </a:ext>
                </a:extLst>
              </p:cNvPr>
              <p:cNvSpPr/>
              <p:nvPr/>
            </p:nvSpPr>
            <p:spPr>
              <a:xfrm>
                <a:off x="6945143" y="4396542"/>
                <a:ext cx="26037" cy="179428"/>
              </a:xfrm>
              <a:custGeom>
                <a:avLst/>
                <a:gdLst>
                  <a:gd name="connsiteX0" fmla="*/ 6454 w 26037"/>
                  <a:gd name="connsiteY0" fmla="*/ 179429 h 179428"/>
                  <a:gd name="connsiteX1" fmla="*/ 5956 w 26037"/>
                  <a:gd name="connsiteY1" fmla="*/ 179403 h 179428"/>
                  <a:gd name="connsiteX2" fmla="*/ 22 w 26037"/>
                  <a:gd name="connsiteY2" fmla="*/ 172445 h 179428"/>
                  <a:gd name="connsiteX3" fmla="*/ 13124 w 26037"/>
                  <a:gd name="connsiteY3" fmla="*/ 5949 h 179428"/>
                  <a:gd name="connsiteX4" fmla="*/ 20082 w 26037"/>
                  <a:gd name="connsiteY4" fmla="*/ 15 h 179428"/>
                  <a:gd name="connsiteX5" fmla="*/ 26016 w 26037"/>
                  <a:gd name="connsiteY5" fmla="*/ 6973 h 179428"/>
                  <a:gd name="connsiteX6" fmla="*/ 12914 w 26037"/>
                  <a:gd name="connsiteY6" fmla="*/ 173469 h 179428"/>
                  <a:gd name="connsiteX7" fmla="*/ 6454 w 26037"/>
                  <a:gd name="connsiteY7" fmla="*/ 179429 h 179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037" h="179428">
                    <a:moveTo>
                      <a:pt x="6454" y="179429"/>
                    </a:moveTo>
                    <a:cubicBezTo>
                      <a:pt x="6297" y="179429"/>
                      <a:pt x="6113" y="179429"/>
                      <a:pt x="5956" y="179403"/>
                    </a:cubicBezTo>
                    <a:cubicBezTo>
                      <a:pt x="2385" y="179114"/>
                      <a:pt x="-267" y="176016"/>
                      <a:pt x="22" y="172445"/>
                    </a:cubicBezTo>
                    <a:lnTo>
                      <a:pt x="13124" y="5949"/>
                    </a:lnTo>
                    <a:cubicBezTo>
                      <a:pt x="13413" y="2378"/>
                      <a:pt x="16590" y="-221"/>
                      <a:pt x="20082" y="15"/>
                    </a:cubicBezTo>
                    <a:cubicBezTo>
                      <a:pt x="23653" y="304"/>
                      <a:pt x="26305" y="3402"/>
                      <a:pt x="26016" y="6973"/>
                    </a:cubicBezTo>
                    <a:lnTo>
                      <a:pt x="12914" y="173469"/>
                    </a:lnTo>
                    <a:cubicBezTo>
                      <a:pt x="12625" y="176882"/>
                      <a:pt x="9815" y="179429"/>
                      <a:pt x="6454" y="179429"/>
                    </a:cubicBezTo>
                    <a:close/>
                  </a:path>
                </a:pathLst>
              </a:custGeom>
              <a:grpFill/>
              <a:ln w="2618" cap="flat">
                <a:noFill/>
                <a:prstDash val="solid"/>
                <a:miter/>
              </a:ln>
            </p:spPr>
            <p:txBody>
              <a:bodyPr rtlCol="0" anchor="ctr"/>
              <a:lstStyle/>
              <a:p>
                <a:endParaRPr lang="en-GB" dirty="0"/>
              </a:p>
            </p:txBody>
          </p:sp>
          <p:sp>
            <p:nvSpPr>
              <p:cNvPr id="139" name="Freihandform: Form 837">
                <a:extLst>
                  <a:ext uri="{FF2B5EF4-FFF2-40B4-BE49-F238E27FC236}">
                    <a16:creationId xmlns:a16="http://schemas.microsoft.com/office/drawing/2014/main" id="{4755FC4F-39C5-439F-8C5A-650E55101A02}"/>
                  </a:ext>
                </a:extLst>
              </p:cNvPr>
              <p:cNvSpPr/>
              <p:nvPr/>
            </p:nvSpPr>
            <p:spPr>
              <a:xfrm>
                <a:off x="6975630" y="4138084"/>
                <a:ext cx="81459" cy="91740"/>
              </a:xfrm>
              <a:custGeom>
                <a:avLst/>
                <a:gdLst>
                  <a:gd name="connsiteX0" fmla="*/ 40402 w 81459"/>
                  <a:gd name="connsiteY0" fmla="*/ 91741 h 91740"/>
                  <a:gd name="connsiteX1" fmla="*/ 37382 w 81459"/>
                  <a:gd name="connsiteY1" fmla="*/ 91636 h 91740"/>
                  <a:gd name="connsiteX2" fmla="*/ 10521 w 81459"/>
                  <a:gd name="connsiteY2" fmla="*/ 78770 h 91740"/>
                  <a:gd name="connsiteX3" fmla="*/ 176 w 81459"/>
                  <a:gd name="connsiteY3" fmla="*/ 43060 h 91740"/>
                  <a:gd name="connsiteX4" fmla="*/ 44078 w 81459"/>
                  <a:gd name="connsiteY4" fmla="*/ 104 h 91740"/>
                  <a:gd name="connsiteX5" fmla="*/ 70939 w 81459"/>
                  <a:gd name="connsiteY5" fmla="*/ 12943 h 91740"/>
                  <a:gd name="connsiteX6" fmla="*/ 81284 w 81459"/>
                  <a:gd name="connsiteY6" fmla="*/ 48653 h 91740"/>
                  <a:gd name="connsiteX7" fmla="*/ 81284 w 81459"/>
                  <a:gd name="connsiteY7" fmla="*/ 48653 h 91740"/>
                  <a:gd name="connsiteX8" fmla="*/ 40402 w 81459"/>
                  <a:gd name="connsiteY8" fmla="*/ 91741 h 91740"/>
                  <a:gd name="connsiteX9" fmla="*/ 40927 w 81459"/>
                  <a:gd name="connsiteY9" fmla="*/ 12917 h 91740"/>
                  <a:gd name="connsiteX10" fmla="*/ 13068 w 81459"/>
                  <a:gd name="connsiteY10" fmla="*/ 44006 h 91740"/>
                  <a:gd name="connsiteX11" fmla="*/ 20289 w 81459"/>
                  <a:gd name="connsiteY11" fmla="*/ 70289 h 91740"/>
                  <a:gd name="connsiteX12" fmla="*/ 38275 w 81459"/>
                  <a:gd name="connsiteY12" fmla="*/ 78717 h 91740"/>
                  <a:gd name="connsiteX13" fmla="*/ 68418 w 81459"/>
                  <a:gd name="connsiteY13" fmla="*/ 47708 h 91740"/>
                  <a:gd name="connsiteX14" fmla="*/ 68418 w 81459"/>
                  <a:gd name="connsiteY14" fmla="*/ 47708 h 91740"/>
                  <a:gd name="connsiteX15" fmla="*/ 61197 w 81459"/>
                  <a:gd name="connsiteY15" fmla="*/ 21398 h 91740"/>
                  <a:gd name="connsiteX16" fmla="*/ 43211 w 81459"/>
                  <a:gd name="connsiteY16" fmla="*/ 12970 h 91740"/>
                  <a:gd name="connsiteX17" fmla="*/ 40927 w 81459"/>
                  <a:gd name="connsiteY17" fmla="*/ 12917 h 91740"/>
                  <a:gd name="connsiteX18" fmla="*/ 74851 w 81459"/>
                  <a:gd name="connsiteY18" fmla="*/ 48207 h 91740"/>
                  <a:gd name="connsiteX19" fmla="*/ 74904 w 81459"/>
                  <a:gd name="connsiteY19" fmla="*/ 48207 h 91740"/>
                  <a:gd name="connsiteX20" fmla="*/ 74851 w 81459"/>
                  <a:gd name="connsiteY20" fmla="*/ 48207 h 91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459" h="91740">
                    <a:moveTo>
                      <a:pt x="40402" y="91741"/>
                    </a:moveTo>
                    <a:cubicBezTo>
                      <a:pt x="39404" y="91741"/>
                      <a:pt x="38406" y="91715"/>
                      <a:pt x="37382" y="91636"/>
                    </a:cubicBezTo>
                    <a:cubicBezTo>
                      <a:pt x="26459" y="90874"/>
                      <a:pt x="17164" y="86437"/>
                      <a:pt x="10521" y="78770"/>
                    </a:cubicBezTo>
                    <a:cubicBezTo>
                      <a:pt x="2802" y="69869"/>
                      <a:pt x="-874" y="57186"/>
                      <a:pt x="176" y="43060"/>
                    </a:cubicBezTo>
                    <a:cubicBezTo>
                      <a:pt x="2145" y="16147"/>
                      <a:pt x="20079" y="-1524"/>
                      <a:pt x="44078" y="104"/>
                    </a:cubicBezTo>
                    <a:cubicBezTo>
                      <a:pt x="55001" y="839"/>
                      <a:pt x="64296" y="5303"/>
                      <a:pt x="70939" y="12943"/>
                    </a:cubicBezTo>
                    <a:cubicBezTo>
                      <a:pt x="78658" y="21845"/>
                      <a:pt x="82334" y="34527"/>
                      <a:pt x="81284" y="48653"/>
                    </a:cubicBezTo>
                    <a:lnTo>
                      <a:pt x="81284" y="48653"/>
                    </a:lnTo>
                    <a:cubicBezTo>
                      <a:pt x="79393" y="74437"/>
                      <a:pt x="62746" y="91741"/>
                      <a:pt x="40402" y="91741"/>
                    </a:cubicBezTo>
                    <a:close/>
                    <a:moveTo>
                      <a:pt x="40927" y="12917"/>
                    </a:moveTo>
                    <a:cubicBezTo>
                      <a:pt x="22127" y="12917"/>
                      <a:pt x="14171" y="29407"/>
                      <a:pt x="13068" y="44006"/>
                    </a:cubicBezTo>
                    <a:cubicBezTo>
                      <a:pt x="12280" y="54692"/>
                      <a:pt x="14854" y="64013"/>
                      <a:pt x="20289" y="70289"/>
                    </a:cubicBezTo>
                    <a:cubicBezTo>
                      <a:pt x="24700" y="75356"/>
                      <a:pt x="30739" y="78192"/>
                      <a:pt x="38275" y="78717"/>
                    </a:cubicBezTo>
                    <a:cubicBezTo>
                      <a:pt x="58650" y="80188"/>
                      <a:pt x="67289" y="62884"/>
                      <a:pt x="68418" y="47708"/>
                    </a:cubicBezTo>
                    <a:lnTo>
                      <a:pt x="68418" y="47708"/>
                    </a:lnTo>
                    <a:cubicBezTo>
                      <a:pt x="69206" y="37021"/>
                      <a:pt x="66632" y="27700"/>
                      <a:pt x="61197" y="21398"/>
                    </a:cubicBezTo>
                    <a:cubicBezTo>
                      <a:pt x="56786" y="16331"/>
                      <a:pt x="50747" y="13495"/>
                      <a:pt x="43211" y="12970"/>
                    </a:cubicBezTo>
                    <a:cubicBezTo>
                      <a:pt x="42424" y="12943"/>
                      <a:pt x="41662" y="12917"/>
                      <a:pt x="40927" y="12917"/>
                    </a:cubicBezTo>
                    <a:close/>
                    <a:moveTo>
                      <a:pt x="74851" y="48207"/>
                    </a:moveTo>
                    <a:lnTo>
                      <a:pt x="74904" y="48207"/>
                    </a:lnTo>
                    <a:lnTo>
                      <a:pt x="74851" y="48207"/>
                    </a:lnTo>
                    <a:close/>
                  </a:path>
                </a:pathLst>
              </a:custGeom>
              <a:grpFill/>
              <a:ln w="2618" cap="flat">
                <a:noFill/>
                <a:prstDash val="solid"/>
                <a:miter/>
              </a:ln>
            </p:spPr>
            <p:txBody>
              <a:bodyPr rtlCol="0" anchor="ctr"/>
              <a:lstStyle/>
              <a:p>
                <a:endParaRPr lang="en-GB" dirty="0"/>
              </a:p>
            </p:txBody>
          </p:sp>
          <p:sp>
            <p:nvSpPr>
              <p:cNvPr id="140" name="Freihandform: Form 839">
                <a:extLst>
                  <a:ext uri="{FF2B5EF4-FFF2-40B4-BE49-F238E27FC236}">
                    <a16:creationId xmlns:a16="http://schemas.microsoft.com/office/drawing/2014/main" id="{9B74CF32-F95D-47E3-9FD0-FE3207ED11BB}"/>
                  </a:ext>
                </a:extLst>
              </p:cNvPr>
              <p:cNvSpPr/>
              <p:nvPr/>
            </p:nvSpPr>
            <p:spPr>
              <a:xfrm>
                <a:off x="6867824" y="4240439"/>
                <a:ext cx="266070" cy="269022"/>
              </a:xfrm>
              <a:custGeom>
                <a:avLst/>
                <a:gdLst>
                  <a:gd name="connsiteX0" fmla="*/ 246304 w 266070"/>
                  <a:gd name="connsiteY0" fmla="*/ 269023 h 269022"/>
                  <a:gd name="connsiteX1" fmla="*/ 245358 w 266070"/>
                  <a:gd name="connsiteY1" fmla="*/ 268944 h 269022"/>
                  <a:gd name="connsiteX2" fmla="*/ 239897 w 266070"/>
                  <a:gd name="connsiteY2" fmla="*/ 261618 h 269022"/>
                  <a:gd name="connsiteX3" fmla="*/ 252395 w 266070"/>
                  <a:gd name="connsiteY3" fmla="*/ 175889 h 269022"/>
                  <a:gd name="connsiteX4" fmla="*/ 249008 w 266070"/>
                  <a:gd name="connsiteY4" fmla="*/ 156774 h 269022"/>
                  <a:gd name="connsiteX5" fmla="*/ 233595 w 266070"/>
                  <a:gd name="connsiteY5" fmla="*/ 146324 h 269022"/>
                  <a:gd name="connsiteX6" fmla="*/ 173519 w 266070"/>
                  <a:gd name="connsiteY6" fmla="*/ 133983 h 269022"/>
                  <a:gd name="connsiteX7" fmla="*/ 168399 w 266070"/>
                  <a:gd name="connsiteY7" fmla="*/ 126946 h 269022"/>
                  <a:gd name="connsiteX8" fmla="*/ 178456 w 266070"/>
                  <a:gd name="connsiteY8" fmla="*/ 35624 h 269022"/>
                  <a:gd name="connsiteX9" fmla="*/ 174780 w 266070"/>
                  <a:gd name="connsiteY9" fmla="*/ 23362 h 269022"/>
                  <a:gd name="connsiteX10" fmla="*/ 163542 w 266070"/>
                  <a:gd name="connsiteY10" fmla="*/ 17533 h 269022"/>
                  <a:gd name="connsiteX11" fmla="*/ 105960 w 266070"/>
                  <a:gd name="connsiteY11" fmla="*/ 13122 h 269022"/>
                  <a:gd name="connsiteX12" fmla="*/ 65813 w 266070"/>
                  <a:gd name="connsiteY12" fmla="*/ 31948 h 269022"/>
                  <a:gd name="connsiteX13" fmla="*/ 24668 w 266070"/>
                  <a:gd name="connsiteY13" fmla="*/ 92129 h 269022"/>
                  <a:gd name="connsiteX14" fmla="*/ 13010 w 266070"/>
                  <a:gd name="connsiteY14" fmla="*/ 146980 h 269022"/>
                  <a:gd name="connsiteX15" fmla="*/ 14402 w 266070"/>
                  <a:gd name="connsiteY15" fmla="*/ 152599 h 269022"/>
                  <a:gd name="connsiteX16" fmla="*/ 19627 w 266070"/>
                  <a:gd name="connsiteY16" fmla="*/ 154936 h 269022"/>
                  <a:gd name="connsiteX17" fmla="*/ 25640 w 266070"/>
                  <a:gd name="connsiteY17" fmla="*/ 150262 h 269022"/>
                  <a:gd name="connsiteX18" fmla="*/ 41762 w 266070"/>
                  <a:gd name="connsiteY18" fmla="*/ 96645 h 269022"/>
                  <a:gd name="connsiteX19" fmla="*/ 43206 w 266070"/>
                  <a:gd name="connsiteY19" fmla="*/ 94125 h 269022"/>
                  <a:gd name="connsiteX20" fmla="*/ 89549 w 266070"/>
                  <a:gd name="connsiteY20" fmla="*/ 43685 h 269022"/>
                  <a:gd name="connsiteX21" fmla="*/ 97085 w 266070"/>
                  <a:gd name="connsiteY21" fmla="*/ 42215 h 269022"/>
                  <a:gd name="connsiteX22" fmla="*/ 100709 w 266070"/>
                  <a:gd name="connsiteY22" fmla="*/ 48989 h 269022"/>
                  <a:gd name="connsiteX23" fmla="*/ 92175 w 266070"/>
                  <a:gd name="connsiteY23" fmla="*/ 106282 h 269022"/>
                  <a:gd name="connsiteX24" fmla="*/ 136313 w 266070"/>
                  <a:gd name="connsiteY24" fmla="*/ 166857 h 269022"/>
                  <a:gd name="connsiteX25" fmla="*/ 219968 w 266070"/>
                  <a:gd name="connsiteY25" fmla="*/ 179513 h 269022"/>
                  <a:gd name="connsiteX26" fmla="*/ 225456 w 266070"/>
                  <a:gd name="connsiteY26" fmla="*/ 186418 h 269022"/>
                  <a:gd name="connsiteX27" fmla="*/ 219154 w 266070"/>
                  <a:gd name="connsiteY27" fmla="*/ 263062 h 269022"/>
                  <a:gd name="connsiteX28" fmla="*/ 212170 w 266070"/>
                  <a:gd name="connsiteY28" fmla="*/ 268970 h 269022"/>
                  <a:gd name="connsiteX29" fmla="*/ 206262 w 266070"/>
                  <a:gd name="connsiteY29" fmla="*/ 261986 h 269022"/>
                  <a:gd name="connsiteX30" fmla="*/ 212065 w 266070"/>
                  <a:gd name="connsiteY30" fmla="*/ 191355 h 269022"/>
                  <a:gd name="connsiteX31" fmla="*/ 134423 w 266070"/>
                  <a:gd name="connsiteY31" fmla="*/ 179618 h 269022"/>
                  <a:gd name="connsiteX32" fmla="*/ 79388 w 266070"/>
                  <a:gd name="connsiteY32" fmla="*/ 104444 h 269022"/>
                  <a:gd name="connsiteX33" fmla="*/ 84823 w 266070"/>
                  <a:gd name="connsiteY33" fmla="*/ 67920 h 269022"/>
                  <a:gd name="connsiteX34" fmla="*/ 53761 w 266070"/>
                  <a:gd name="connsiteY34" fmla="*/ 101739 h 269022"/>
                  <a:gd name="connsiteX35" fmla="*/ 38059 w 266070"/>
                  <a:gd name="connsiteY35" fmla="*/ 153938 h 269022"/>
                  <a:gd name="connsiteX36" fmla="*/ 20152 w 266070"/>
                  <a:gd name="connsiteY36" fmla="*/ 167802 h 269022"/>
                  <a:gd name="connsiteX37" fmla="*/ 4582 w 266070"/>
                  <a:gd name="connsiteY37" fmla="*/ 160870 h 269022"/>
                  <a:gd name="connsiteX38" fmla="*/ 433 w 266070"/>
                  <a:gd name="connsiteY38" fmla="*/ 144249 h 269022"/>
                  <a:gd name="connsiteX39" fmla="*/ 12380 w 266070"/>
                  <a:gd name="connsiteY39" fmla="*/ 88164 h 269022"/>
                  <a:gd name="connsiteX40" fmla="*/ 13378 w 266070"/>
                  <a:gd name="connsiteY40" fmla="*/ 85854 h 269022"/>
                  <a:gd name="connsiteX41" fmla="*/ 55310 w 266070"/>
                  <a:gd name="connsiteY41" fmla="*/ 24517 h 269022"/>
                  <a:gd name="connsiteX42" fmla="*/ 107037 w 266070"/>
                  <a:gd name="connsiteY42" fmla="*/ 177 h 269022"/>
                  <a:gd name="connsiteX43" fmla="*/ 164618 w 266070"/>
                  <a:gd name="connsiteY43" fmla="*/ 4588 h 269022"/>
                  <a:gd name="connsiteX44" fmla="*/ 184810 w 266070"/>
                  <a:gd name="connsiteY44" fmla="*/ 15039 h 269022"/>
                  <a:gd name="connsiteX45" fmla="*/ 191374 w 266070"/>
                  <a:gd name="connsiteY45" fmla="*/ 36963 h 269022"/>
                  <a:gd name="connsiteX46" fmla="*/ 181974 w 266070"/>
                  <a:gd name="connsiteY46" fmla="*/ 122430 h 269022"/>
                  <a:gd name="connsiteX47" fmla="*/ 236300 w 266070"/>
                  <a:gd name="connsiteY47" fmla="*/ 133589 h 269022"/>
                  <a:gd name="connsiteX48" fmla="*/ 259931 w 266070"/>
                  <a:gd name="connsiteY48" fmla="*/ 149606 h 269022"/>
                  <a:gd name="connsiteX49" fmla="*/ 265235 w 266070"/>
                  <a:gd name="connsiteY49" fmla="*/ 178068 h 269022"/>
                  <a:gd name="connsiteX50" fmla="*/ 252815 w 266070"/>
                  <a:gd name="connsiteY50" fmla="*/ 263404 h 269022"/>
                  <a:gd name="connsiteX51" fmla="*/ 246304 w 266070"/>
                  <a:gd name="connsiteY51" fmla="*/ 269023 h 269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266070" h="269022">
                    <a:moveTo>
                      <a:pt x="246304" y="269023"/>
                    </a:moveTo>
                    <a:cubicBezTo>
                      <a:pt x="245989" y="269023"/>
                      <a:pt x="245674" y="268996"/>
                      <a:pt x="245358" y="268944"/>
                    </a:cubicBezTo>
                    <a:cubicBezTo>
                      <a:pt x="241840" y="268445"/>
                      <a:pt x="239372" y="265163"/>
                      <a:pt x="239897" y="261618"/>
                    </a:cubicBezTo>
                    <a:lnTo>
                      <a:pt x="252395" y="175889"/>
                    </a:lnTo>
                    <a:cubicBezTo>
                      <a:pt x="253839" y="168931"/>
                      <a:pt x="252632" y="162288"/>
                      <a:pt x="249008" y="156774"/>
                    </a:cubicBezTo>
                    <a:cubicBezTo>
                      <a:pt x="245463" y="151339"/>
                      <a:pt x="239976" y="147637"/>
                      <a:pt x="233595" y="146324"/>
                    </a:cubicBezTo>
                    <a:lnTo>
                      <a:pt x="173519" y="133983"/>
                    </a:lnTo>
                    <a:cubicBezTo>
                      <a:pt x="170237" y="133326"/>
                      <a:pt x="168032" y="130255"/>
                      <a:pt x="168399" y="126946"/>
                    </a:cubicBezTo>
                    <a:lnTo>
                      <a:pt x="178456" y="35624"/>
                    </a:lnTo>
                    <a:cubicBezTo>
                      <a:pt x="178954" y="31160"/>
                      <a:pt x="177642" y="26802"/>
                      <a:pt x="174780" y="23362"/>
                    </a:cubicBezTo>
                    <a:cubicBezTo>
                      <a:pt x="171944" y="19949"/>
                      <a:pt x="167953" y="17874"/>
                      <a:pt x="163542" y="17533"/>
                    </a:cubicBezTo>
                    <a:lnTo>
                      <a:pt x="105960" y="13122"/>
                    </a:lnTo>
                    <a:cubicBezTo>
                      <a:pt x="90337" y="11940"/>
                      <a:pt x="74950" y="19135"/>
                      <a:pt x="65813" y="31948"/>
                    </a:cubicBezTo>
                    <a:lnTo>
                      <a:pt x="24668" y="92129"/>
                    </a:lnTo>
                    <a:lnTo>
                      <a:pt x="13010" y="146980"/>
                    </a:lnTo>
                    <a:cubicBezTo>
                      <a:pt x="12590" y="148976"/>
                      <a:pt x="13089" y="151024"/>
                      <a:pt x="14402" y="152599"/>
                    </a:cubicBezTo>
                    <a:cubicBezTo>
                      <a:pt x="15715" y="154148"/>
                      <a:pt x="17605" y="154962"/>
                      <a:pt x="19627" y="154936"/>
                    </a:cubicBezTo>
                    <a:cubicBezTo>
                      <a:pt x="22410" y="154831"/>
                      <a:pt x="24826" y="152967"/>
                      <a:pt x="25640" y="150262"/>
                    </a:cubicBezTo>
                    <a:lnTo>
                      <a:pt x="41762" y="96645"/>
                    </a:lnTo>
                    <a:cubicBezTo>
                      <a:pt x="42050" y="95700"/>
                      <a:pt x="42523" y="94860"/>
                      <a:pt x="43206" y="94125"/>
                    </a:cubicBezTo>
                    <a:lnTo>
                      <a:pt x="89549" y="43685"/>
                    </a:lnTo>
                    <a:cubicBezTo>
                      <a:pt x="91466" y="41585"/>
                      <a:pt x="94538" y="41007"/>
                      <a:pt x="97085" y="42215"/>
                    </a:cubicBezTo>
                    <a:cubicBezTo>
                      <a:pt x="99658" y="43449"/>
                      <a:pt x="101102" y="46180"/>
                      <a:pt x="100709" y="48989"/>
                    </a:cubicBezTo>
                    <a:lnTo>
                      <a:pt x="92175" y="106282"/>
                    </a:lnTo>
                    <a:cubicBezTo>
                      <a:pt x="87107" y="143672"/>
                      <a:pt x="92123" y="160371"/>
                      <a:pt x="136313" y="166857"/>
                    </a:cubicBezTo>
                    <a:lnTo>
                      <a:pt x="219968" y="179513"/>
                    </a:lnTo>
                    <a:cubicBezTo>
                      <a:pt x="223329" y="180011"/>
                      <a:pt x="225718" y="183031"/>
                      <a:pt x="225456" y="186418"/>
                    </a:cubicBezTo>
                    <a:lnTo>
                      <a:pt x="219154" y="263062"/>
                    </a:lnTo>
                    <a:cubicBezTo>
                      <a:pt x="218865" y="266607"/>
                      <a:pt x="215846" y="269259"/>
                      <a:pt x="212170" y="268970"/>
                    </a:cubicBezTo>
                    <a:cubicBezTo>
                      <a:pt x="208625" y="268681"/>
                      <a:pt x="205973" y="265557"/>
                      <a:pt x="206262" y="261986"/>
                    </a:cubicBezTo>
                    <a:lnTo>
                      <a:pt x="212065" y="191355"/>
                    </a:lnTo>
                    <a:lnTo>
                      <a:pt x="134423" y="179618"/>
                    </a:lnTo>
                    <a:cubicBezTo>
                      <a:pt x="80963" y="171793"/>
                      <a:pt x="73743" y="146140"/>
                      <a:pt x="79388" y="104444"/>
                    </a:cubicBezTo>
                    <a:lnTo>
                      <a:pt x="84823" y="67920"/>
                    </a:lnTo>
                    <a:lnTo>
                      <a:pt x="53761" y="101739"/>
                    </a:lnTo>
                    <a:lnTo>
                      <a:pt x="38059" y="153938"/>
                    </a:lnTo>
                    <a:cubicBezTo>
                      <a:pt x="35644" y="161920"/>
                      <a:pt x="28449" y="167487"/>
                      <a:pt x="20152" y="167802"/>
                    </a:cubicBezTo>
                    <a:cubicBezTo>
                      <a:pt x="14166" y="168143"/>
                      <a:pt x="8468" y="165491"/>
                      <a:pt x="4582" y="160870"/>
                    </a:cubicBezTo>
                    <a:cubicBezTo>
                      <a:pt x="696" y="156249"/>
                      <a:pt x="-827" y="150184"/>
                      <a:pt x="433" y="144249"/>
                    </a:cubicBezTo>
                    <a:lnTo>
                      <a:pt x="12380" y="88164"/>
                    </a:lnTo>
                    <a:cubicBezTo>
                      <a:pt x="12564" y="87350"/>
                      <a:pt x="12879" y="86563"/>
                      <a:pt x="13378" y="85854"/>
                    </a:cubicBezTo>
                    <a:lnTo>
                      <a:pt x="55310" y="24517"/>
                    </a:lnTo>
                    <a:cubicBezTo>
                      <a:pt x="67100" y="7923"/>
                      <a:pt x="86871" y="-1424"/>
                      <a:pt x="107037" y="177"/>
                    </a:cubicBezTo>
                    <a:lnTo>
                      <a:pt x="164618" y="4588"/>
                    </a:lnTo>
                    <a:cubicBezTo>
                      <a:pt x="172548" y="5192"/>
                      <a:pt x="179716" y="8895"/>
                      <a:pt x="184810" y="15039"/>
                    </a:cubicBezTo>
                    <a:cubicBezTo>
                      <a:pt x="189930" y="21209"/>
                      <a:pt x="192241" y="28981"/>
                      <a:pt x="191374" y="36963"/>
                    </a:cubicBezTo>
                    <a:lnTo>
                      <a:pt x="181974" y="122430"/>
                    </a:lnTo>
                    <a:lnTo>
                      <a:pt x="236300" y="133589"/>
                    </a:lnTo>
                    <a:cubicBezTo>
                      <a:pt x="246067" y="135585"/>
                      <a:pt x="254470" y="141282"/>
                      <a:pt x="259931" y="149606"/>
                    </a:cubicBezTo>
                    <a:cubicBezTo>
                      <a:pt x="265445" y="158034"/>
                      <a:pt x="267336" y="168143"/>
                      <a:pt x="265235" y="178068"/>
                    </a:cubicBezTo>
                    <a:lnTo>
                      <a:pt x="252815" y="263404"/>
                    </a:lnTo>
                    <a:cubicBezTo>
                      <a:pt x="252211" y="266712"/>
                      <a:pt x="249455" y="269023"/>
                      <a:pt x="246304" y="269023"/>
                    </a:cubicBezTo>
                    <a:close/>
                  </a:path>
                </a:pathLst>
              </a:custGeom>
              <a:grpFill/>
              <a:ln w="2618" cap="flat">
                <a:noFill/>
                <a:prstDash val="solid"/>
                <a:miter/>
              </a:ln>
            </p:spPr>
            <p:txBody>
              <a:bodyPr rtlCol="0" anchor="ctr"/>
              <a:lstStyle/>
              <a:p>
                <a:endParaRPr lang="en-GB" dirty="0"/>
              </a:p>
            </p:txBody>
          </p:sp>
          <p:sp>
            <p:nvSpPr>
              <p:cNvPr id="141" name="Freihandform: Form 840">
                <a:extLst>
                  <a:ext uri="{FF2B5EF4-FFF2-40B4-BE49-F238E27FC236}">
                    <a16:creationId xmlns:a16="http://schemas.microsoft.com/office/drawing/2014/main" id="{8E575FB9-1E07-4C74-B606-780064A6E906}"/>
                  </a:ext>
                </a:extLst>
              </p:cNvPr>
              <p:cNvSpPr/>
              <p:nvPr/>
            </p:nvSpPr>
            <p:spPr>
              <a:xfrm>
                <a:off x="6982700" y="4431849"/>
                <a:ext cx="31006" cy="144647"/>
              </a:xfrm>
              <a:custGeom>
                <a:avLst/>
                <a:gdLst>
                  <a:gd name="connsiteX0" fmla="*/ 6471 w 31006"/>
                  <a:gd name="connsiteY0" fmla="*/ 144647 h 144647"/>
                  <a:gd name="connsiteX1" fmla="*/ 5578 w 31006"/>
                  <a:gd name="connsiteY1" fmla="*/ 144594 h 144647"/>
                  <a:gd name="connsiteX2" fmla="*/ 64 w 31006"/>
                  <a:gd name="connsiteY2" fmla="*/ 137321 h 144647"/>
                  <a:gd name="connsiteX3" fmla="*/ 18155 w 31006"/>
                  <a:gd name="connsiteY3" fmla="*/ 5590 h 144647"/>
                  <a:gd name="connsiteX4" fmla="*/ 25428 w 31006"/>
                  <a:gd name="connsiteY4" fmla="*/ 76 h 144647"/>
                  <a:gd name="connsiteX5" fmla="*/ 30942 w 31006"/>
                  <a:gd name="connsiteY5" fmla="*/ 7349 h 144647"/>
                  <a:gd name="connsiteX6" fmla="*/ 12851 w 31006"/>
                  <a:gd name="connsiteY6" fmla="*/ 139081 h 144647"/>
                  <a:gd name="connsiteX7" fmla="*/ 6471 w 31006"/>
                  <a:gd name="connsiteY7" fmla="*/ 144647 h 144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06" h="144647">
                    <a:moveTo>
                      <a:pt x="6471" y="144647"/>
                    </a:moveTo>
                    <a:cubicBezTo>
                      <a:pt x="6182" y="144647"/>
                      <a:pt x="5893" y="144621"/>
                      <a:pt x="5578" y="144594"/>
                    </a:cubicBezTo>
                    <a:cubicBezTo>
                      <a:pt x="2033" y="144122"/>
                      <a:pt x="-435" y="140840"/>
                      <a:pt x="64" y="137321"/>
                    </a:cubicBezTo>
                    <a:lnTo>
                      <a:pt x="18155" y="5590"/>
                    </a:lnTo>
                    <a:cubicBezTo>
                      <a:pt x="18654" y="2045"/>
                      <a:pt x="21884" y="-476"/>
                      <a:pt x="25428" y="76"/>
                    </a:cubicBezTo>
                    <a:cubicBezTo>
                      <a:pt x="28973" y="549"/>
                      <a:pt x="31441" y="3831"/>
                      <a:pt x="30942" y="7349"/>
                    </a:cubicBezTo>
                    <a:lnTo>
                      <a:pt x="12851" y="139081"/>
                    </a:lnTo>
                    <a:cubicBezTo>
                      <a:pt x="12431" y="142310"/>
                      <a:pt x="9648" y="144647"/>
                      <a:pt x="6471" y="144647"/>
                    </a:cubicBezTo>
                    <a:close/>
                  </a:path>
                </a:pathLst>
              </a:custGeom>
              <a:grpFill/>
              <a:ln w="2618" cap="flat">
                <a:noFill/>
                <a:prstDash val="solid"/>
                <a:miter/>
              </a:ln>
            </p:spPr>
            <p:txBody>
              <a:bodyPr rtlCol="0" anchor="ctr"/>
              <a:lstStyle/>
              <a:p>
                <a:endParaRPr lang="en-GB" dirty="0"/>
              </a:p>
            </p:txBody>
          </p:sp>
          <p:sp>
            <p:nvSpPr>
              <p:cNvPr id="142" name="Freihandform: Form 847">
                <a:extLst>
                  <a:ext uri="{FF2B5EF4-FFF2-40B4-BE49-F238E27FC236}">
                    <a16:creationId xmlns:a16="http://schemas.microsoft.com/office/drawing/2014/main" id="{5FB20860-D535-426E-A1B1-027409438F9E}"/>
                  </a:ext>
                </a:extLst>
              </p:cNvPr>
              <p:cNvSpPr/>
              <p:nvPr/>
            </p:nvSpPr>
            <p:spPr>
              <a:xfrm>
                <a:off x="7038543" y="4249909"/>
                <a:ext cx="132454" cy="83736"/>
              </a:xfrm>
              <a:custGeom>
                <a:avLst/>
                <a:gdLst>
                  <a:gd name="connsiteX0" fmla="*/ 69966 w 132454"/>
                  <a:gd name="connsiteY0" fmla="*/ 83737 h 83736"/>
                  <a:gd name="connsiteX1" fmla="*/ 67787 w 132454"/>
                  <a:gd name="connsiteY1" fmla="*/ 83369 h 83736"/>
                  <a:gd name="connsiteX2" fmla="*/ 26222 w 132454"/>
                  <a:gd name="connsiteY2" fmla="*/ 68429 h 83736"/>
                  <a:gd name="connsiteX3" fmla="*/ 22310 w 132454"/>
                  <a:gd name="connsiteY3" fmla="*/ 60158 h 83736"/>
                  <a:gd name="connsiteX4" fmla="*/ 30581 w 132454"/>
                  <a:gd name="connsiteY4" fmla="*/ 56245 h 83736"/>
                  <a:gd name="connsiteX5" fmla="*/ 69257 w 132454"/>
                  <a:gd name="connsiteY5" fmla="*/ 70135 h 83736"/>
                  <a:gd name="connsiteX6" fmla="*/ 114892 w 132454"/>
                  <a:gd name="connsiteY6" fmla="*/ 42723 h 83736"/>
                  <a:gd name="connsiteX7" fmla="*/ 115496 w 132454"/>
                  <a:gd name="connsiteY7" fmla="*/ 42408 h 83736"/>
                  <a:gd name="connsiteX8" fmla="*/ 119093 w 132454"/>
                  <a:gd name="connsiteY8" fmla="*/ 33796 h 83736"/>
                  <a:gd name="connsiteX9" fmla="*/ 117465 w 132454"/>
                  <a:gd name="connsiteY9" fmla="*/ 29201 h 83736"/>
                  <a:gd name="connsiteX10" fmla="*/ 117465 w 132454"/>
                  <a:gd name="connsiteY10" fmla="*/ 29201 h 83736"/>
                  <a:gd name="connsiteX11" fmla="*/ 116704 w 132454"/>
                  <a:gd name="connsiteY11" fmla="*/ 28912 h 83736"/>
                  <a:gd name="connsiteX12" fmla="*/ 116704 w 132454"/>
                  <a:gd name="connsiteY12" fmla="*/ 28912 h 83736"/>
                  <a:gd name="connsiteX13" fmla="*/ 73143 w 132454"/>
                  <a:gd name="connsiteY13" fmla="*/ 51677 h 83736"/>
                  <a:gd name="connsiteX14" fmla="*/ 66763 w 132454"/>
                  <a:gd name="connsiteY14" fmla="*/ 51440 h 83736"/>
                  <a:gd name="connsiteX15" fmla="*/ 3063 w 132454"/>
                  <a:gd name="connsiteY15" fmla="*/ 11976 h 83736"/>
                  <a:gd name="connsiteX16" fmla="*/ 963 w 132454"/>
                  <a:gd name="connsiteY16" fmla="*/ 3075 h 83736"/>
                  <a:gd name="connsiteX17" fmla="*/ 9864 w 132454"/>
                  <a:gd name="connsiteY17" fmla="*/ 974 h 83736"/>
                  <a:gd name="connsiteX18" fmla="*/ 70439 w 132454"/>
                  <a:gd name="connsiteY18" fmla="*/ 38496 h 83736"/>
                  <a:gd name="connsiteX19" fmla="*/ 110743 w 132454"/>
                  <a:gd name="connsiteY19" fmla="*/ 17438 h 83736"/>
                  <a:gd name="connsiteX20" fmla="*/ 121903 w 132454"/>
                  <a:gd name="connsiteY20" fmla="*/ 16834 h 83736"/>
                  <a:gd name="connsiteX21" fmla="*/ 129675 w 132454"/>
                  <a:gd name="connsiteY21" fmla="*/ 24895 h 83736"/>
                  <a:gd name="connsiteX22" fmla="*/ 131303 w 132454"/>
                  <a:gd name="connsiteY22" fmla="*/ 29490 h 83736"/>
                  <a:gd name="connsiteX23" fmla="*/ 121299 w 132454"/>
                  <a:gd name="connsiteY23" fmla="*/ 53987 h 83736"/>
                  <a:gd name="connsiteX24" fmla="*/ 73301 w 132454"/>
                  <a:gd name="connsiteY24" fmla="*/ 82817 h 83736"/>
                  <a:gd name="connsiteX25" fmla="*/ 69966 w 132454"/>
                  <a:gd name="connsiteY25" fmla="*/ 83737 h 83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454" h="83736">
                    <a:moveTo>
                      <a:pt x="69966" y="83737"/>
                    </a:moveTo>
                    <a:cubicBezTo>
                      <a:pt x="69231" y="83737"/>
                      <a:pt x="68496" y="83605"/>
                      <a:pt x="67787" y="83369"/>
                    </a:cubicBezTo>
                    <a:lnTo>
                      <a:pt x="26222" y="68429"/>
                    </a:lnTo>
                    <a:cubicBezTo>
                      <a:pt x="22861" y="67221"/>
                      <a:pt x="21128" y="63519"/>
                      <a:pt x="22310" y="60158"/>
                    </a:cubicBezTo>
                    <a:cubicBezTo>
                      <a:pt x="23517" y="56797"/>
                      <a:pt x="27220" y="55064"/>
                      <a:pt x="30581" y="56245"/>
                    </a:cubicBezTo>
                    <a:lnTo>
                      <a:pt x="69257" y="70135"/>
                    </a:lnTo>
                    <a:lnTo>
                      <a:pt x="114892" y="42723"/>
                    </a:lnTo>
                    <a:cubicBezTo>
                      <a:pt x="115076" y="42618"/>
                      <a:pt x="115286" y="42487"/>
                      <a:pt x="115496" y="42408"/>
                    </a:cubicBezTo>
                    <a:cubicBezTo>
                      <a:pt x="118752" y="40911"/>
                      <a:pt x="120301" y="37183"/>
                      <a:pt x="119093" y="33796"/>
                    </a:cubicBezTo>
                    <a:lnTo>
                      <a:pt x="117465" y="29201"/>
                    </a:lnTo>
                    <a:lnTo>
                      <a:pt x="117465" y="29201"/>
                    </a:lnTo>
                    <a:cubicBezTo>
                      <a:pt x="117465" y="29201"/>
                      <a:pt x="116704" y="28912"/>
                      <a:pt x="116704" y="28912"/>
                    </a:cubicBezTo>
                    <a:lnTo>
                      <a:pt x="116704" y="28912"/>
                    </a:lnTo>
                    <a:lnTo>
                      <a:pt x="73143" y="51677"/>
                    </a:lnTo>
                    <a:cubicBezTo>
                      <a:pt x="71121" y="52727"/>
                      <a:pt x="68680" y="52648"/>
                      <a:pt x="66763" y="51440"/>
                    </a:cubicBezTo>
                    <a:lnTo>
                      <a:pt x="3063" y="11976"/>
                    </a:lnTo>
                    <a:cubicBezTo>
                      <a:pt x="18" y="10112"/>
                      <a:pt x="-902" y="6121"/>
                      <a:pt x="963" y="3075"/>
                    </a:cubicBezTo>
                    <a:cubicBezTo>
                      <a:pt x="2827" y="29"/>
                      <a:pt x="6818" y="-916"/>
                      <a:pt x="9864" y="974"/>
                    </a:cubicBezTo>
                    <a:lnTo>
                      <a:pt x="70439" y="38496"/>
                    </a:lnTo>
                    <a:lnTo>
                      <a:pt x="110743" y="17438"/>
                    </a:lnTo>
                    <a:cubicBezTo>
                      <a:pt x="114183" y="15626"/>
                      <a:pt x="118279" y="15416"/>
                      <a:pt x="121903" y="16834"/>
                    </a:cubicBezTo>
                    <a:cubicBezTo>
                      <a:pt x="125526" y="18278"/>
                      <a:pt x="128362" y="21192"/>
                      <a:pt x="129675" y="24895"/>
                    </a:cubicBezTo>
                    <a:lnTo>
                      <a:pt x="131303" y="29490"/>
                    </a:lnTo>
                    <a:cubicBezTo>
                      <a:pt x="134690" y="39100"/>
                      <a:pt x="130384" y="49550"/>
                      <a:pt x="121299" y="53987"/>
                    </a:cubicBezTo>
                    <a:lnTo>
                      <a:pt x="73301" y="82817"/>
                    </a:lnTo>
                    <a:cubicBezTo>
                      <a:pt x="72277" y="83422"/>
                      <a:pt x="71121" y="83737"/>
                      <a:pt x="69966" y="83737"/>
                    </a:cubicBezTo>
                    <a:close/>
                  </a:path>
                </a:pathLst>
              </a:custGeom>
              <a:grpFill/>
              <a:ln w="2618" cap="flat">
                <a:noFill/>
                <a:prstDash val="solid"/>
                <a:miter/>
              </a:ln>
            </p:spPr>
            <p:txBody>
              <a:bodyPr rtlCol="0" anchor="ctr"/>
              <a:lstStyle/>
              <a:p>
                <a:endParaRPr lang="en-GB" dirty="0"/>
              </a:p>
            </p:txBody>
          </p:sp>
          <p:sp>
            <p:nvSpPr>
              <p:cNvPr id="143" name="Freihandform: Form 848">
                <a:extLst>
                  <a:ext uri="{FF2B5EF4-FFF2-40B4-BE49-F238E27FC236}">
                    <a16:creationId xmlns:a16="http://schemas.microsoft.com/office/drawing/2014/main" id="{54C81790-23B1-40E7-8AB8-5EF5521AC0D9}"/>
                  </a:ext>
                </a:extLst>
              </p:cNvPr>
              <p:cNvSpPr/>
              <p:nvPr/>
            </p:nvSpPr>
            <p:spPr>
              <a:xfrm>
                <a:off x="6925918" y="4086383"/>
                <a:ext cx="542889" cy="490874"/>
              </a:xfrm>
              <a:custGeom>
                <a:avLst/>
                <a:gdLst>
                  <a:gd name="connsiteX0" fmla="*/ 116345 w 542889"/>
                  <a:gd name="connsiteY0" fmla="*/ 490875 h 490874"/>
                  <a:gd name="connsiteX1" fmla="*/ 6459 w 542889"/>
                  <a:gd name="connsiteY1" fmla="*/ 490875 h 490874"/>
                  <a:gd name="connsiteX2" fmla="*/ 0 w 542889"/>
                  <a:gd name="connsiteY2" fmla="*/ 484416 h 490874"/>
                  <a:gd name="connsiteX3" fmla="*/ 6459 w 542889"/>
                  <a:gd name="connsiteY3" fmla="*/ 477956 h 490874"/>
                  <a:gd name="connsiteX4" fmla="*/ 109859 w 542889"/>
                  <a:gd name="connsiteY4" fmla="*/ 477956 h 490874"/>
                  <a:gd name="connsiteX5" fmla="*/ 109859 w 542889"/>
                  <a:gd name="connsiteY5" fmla="*/ 419797 h 490874"/>
                  <a:gd name="connsiteX6" fmla="*/ 116319 w 542889"/>
                  <a:gd name="connsiteY6" fmla="*/ 413338 h 490874"/>
                  <a:gd name="connsiteX7" fmla="*/ 239123 w 542889"/>
                  <a:gd name="connsiteY7" fmla="*/ 413338 h 490874"/>
                  <a:gd name="connsiteX8" fmla="*/ 239123 w 542889"/>
                  <a:gd name="connsiteY8" fmla="*/ 355179 h 490874"/>
                  <a:gd name="connsiteX9" fmla="*/ 245582 w 542889"/>
                  <a:gd name="connsiteY9" fmla="*/ 348720 h 490874"/>
                  <a:gd name="connsiteX10" fmla="*/ 529971 w 542889"/>
                  <a:gd name="connsiteY10" fmla="*/ 348720 h 490874"/>
                  <a:gd name="connsiteX11" fmla="*/ 529971 w 542889"/>
                  <a:gd name="connsiteY11" fmla="*/ 6459 h 490874"/>
                  <a:gd name="connsiteX12" fmla="*/ 536431 w 542889"/>
                  <a:gd name="connsiteY12" fmla="*/ 0 h 490874"/>
                  <a:gd name="connsiteX13" fmla="*/ 542890 w 542889"/>
                  <a:gd name="connsiteY13" fmla="*/ 6459 h 490874"/>
                  <a:gd name="connsiteX14" fmla="*/ 542890 w 542889"/>
                  <a:gd name="connsiteY14" fmla="*/ 355152 h 490874"/>
                  <a:gd name="connsiteX15" fmla="*/ 536431 w 542889"/>
                  <a:gd name="connsiteY15" fmla="*/ 361611 h 490874"/>
                  <a:gd name="connsiteX16" fmla="*/ 252067 w 542889"/>
                  <a:gd name="connsiteY16" fmla="*/ 361611 h 490874"/>
                  <a:gd name="connsiteX17" fmla="*/ 252067 w 542889"/>
                  <a:gd name="connsiteY17" fmla="*/ 419771 h 490874"/>
                  <a:gd name="connsiteX18" fmla="*/ 245608 w 542889"/>
                  <a:gd name="connsiteY18" fmla="*/ 426230 h 490874"/>
                  <a:gd name="connsiteX19" fmla="*/ 122804 w 542889"/>
                  <a:gd name="connsiteY19" fmla="*/ 426230 h 490874"/>
                  <a:gd name="connsiteX20" fmla="*/ 122804 w 542889"/>
                  <a:gd name="connsiteY20" fmla="*/ 484389 h 490874"/>
                  <a:gd name="connsiteX21" fmla="*/ 116345 w 542889"/>
                  <a:gd name="connsiteY21" fmla="*/ 490875 h 490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2889" h="490874">
                    <a:moveTo>
                      <a:pt x="116345" y="490875"/>
                    </a:moveTo>
                    <a:lnTo>
                      <a:pt x="6459" y="490875"/>
                    </a:lnTo>
                    <a:cubicBezTo>
                      <a:pt x="2888" y="490875"/>
                      <a:pt x="0" y="487986"/>
                      <a:pt x="0" y="484416"/>
                    </a:cubicBezTo>
                    <a:cubicBezTo>
                      <a:pt x="0" y="480845"/>
                      <a:pt x="2888" y="477956"/>
                      <a:pt x="6459" y="477956"/>
                    </a:cubicBezTo>
                    <a:lnTo>
                      <a:pt x="109859" y="477956"/>
                    </a:lnTo>
                    <a:lnTo>
                      <a:pt x="109859" y="419797"/>
                    </a:lnTo>
                    <a:cubicBezTo>
                      <a:pt x="109859" y="416226"/>
                      <a:pt x="112748" y="413338"/>
                      <a:pt x="116319" y="413338"/>
                    </a:cubicBezTo>
                    <a:lnTo>
                      <a:pt x="239123" y="413338"/>
                    </a:lnTo>
                    <a:lnTo>
                      <a:pt x="239123" y="355179"/>
                    </a:lnTo>
                    <a:cubicBezTo>
                      <a:pt x="239123" y="351608"/>
                      <a:pt x="242011" y="348720"/>
                      <a:pt x="245582" y="348720"/>
                    </a:cubicBezTo>
                    <a:lnTo>
                      <a:pt x="529971" y="348720"/>
                    </a:lnTo>
                    <a:lnTo>
                      <a:pt x="529971" y="6459"/>
                    </a:lnTo>
                    <a:cubicBezTo>
                      <a:pt x="529971" y="2888"/>
                      <a:pt x="532860" y="0"/>
                      <a:pt x="536431" y="0"/>
                    </a:cubicBezTo>
                    <a:cubicBezTo>
                      <a:pt x="540002" y="0"/>
                      <a:pt x="542890" y="2888"/>
                      <a:pt x="542890" y="6459"/>
                    </a:cubicBezTo>
                    <a:lnTo>
                      <a:pt x="542890" y="355152"/>
                    </a:lnTo>
                    <a:cubicBezTo>
                      <a:pt x="542890" y="358723"/>
                      <a:pt x="540002" y="361611"/>
                      <a:pt x="536431" y="361611"/>
                    </a:cubicBezTo>
                    <a:lnTo>
                      <a:pt x="252067" y="361611"/>
                    </a:lnTo>
                    <a:lnTo>
                      <a:pt x="252067" y="419771"/>
                    </a:lnTo>
                    <a:cubicBezTo>
                      <a:pt x="252067" y="423342"/>
                      <a:pt x="249179" y="426230"/>
                      <a:pt x="245608" y="426230"/>
                    </a:cubicBezTo>
                    <a:lnTo>
                      <a:pt x="122804" y="426230"/>
                    </a:lnTo>
                    <a:lnTo>
                      <a:pt x="122804" y="484389"/>
                    </a:lnTo>
                    <a:cubicBezTo>
                      <a:pt x="122804" y="487986"/>
                      <a:pt x="119916" y="490875"/>
                      <a:pt x="116345" y="490875"/>
                    </a:cubicBezTo>
                    <a:close/>
                  </a:path>
                </a:pathLst>
              </a:custGeom>
              <a:grpFill/>
              <a:ln w="2618" cap="flat">
                <a:noFill/>
                <a:prstDash val="solid"/>
                <a:miter/>
              </a:ln>
            </p:spPr>
            <p:txBody>
              <a:bodyPr rtlCol="0" anchor="ctr"/>
              <a:lstStyle/>
              <a:p>
                <a:endParaRPr lang="en-GB" dirty="0"/>
              </a:p>
            </p:txBody>
          </p:sp>
        </p:grpSp>
      </p:grpSp>
      <p:grpSp>
        <p:nvGrpSpPr>
          <p:cNvPr id="151" name="Group 150">
            <a:extLst>
              <a:ext uri="{FF2B5EF4-FFF2-40B4-BE49-F238E27FC236}">
                <a16:creationId xmlns:a16="http://schemas.microsoft.com/office/drawing/2014/main" id="{2E9CBBEE-7F16-425A-9EDB-E35A16F77B09}"/>
              </a:ext>
            </a:extLst>
          </p:cNvPr>
          <p:cNvGrpSpPr>
            <a:grpSpLocks noChangeAspect="1"/>
          </p:cNvGrpSpPr>
          <p:nvPr/>
        </p:nvGrpSpPr>
        <p:grpSpPr>
          <a:xfrm>
            <a:off x="3735979" y="2391526"/>
            <a:ext cx="442746" cy="432000"/>
            <a:chOff x="2504650" y="2446805"/>
            <a:chExt cx="489669" cy="477784"/>
          </a:xfrm>
        </p:grpSpPr>
        <p:grpSp>
          <p:nvGrpSpPr>
            <p:cNvPr id="152" name="Group 151">
              <a:extLst>
                <a:ext uri="{FF2B5EF4-FFF2-40B4-BE49-F238E27FC236}">
                  <a16:creationId xmlns:a16="http://schemas.microsoft.com/office/drawing/2014/main" id="{08887198-6783-4F0F-BCF1-07092D05224D}"/>
                </a:ext>
              </a:extLst>
            </p:cNvPr>
            <p:cNvGrpSpPr/>
            <p:nvPr/>
          </p:nvGrpSpPr>
          <p:grpSpPr>
            <a:xfrm>
              <a:off x="2504650" y="2601738"/>
              <a:ext cx="489669" cy="167897"/>
              <a:chOff x="2504650" y="2601737"/>
              <a:chExt cx="489669" cy="167897"/>
            </a:xfrm>
          </p:grpSpPr>
          <p:grpSp>
            <p:nvGrpSpPr>
              <p:cNvPr id="158" name="Grafik 3">
                <a:extLst>
                  <a:ext uri="{FF2B5EF4-FFF2-40B4-BE49-F238E27FC236}">
                    <a16:creationId xmlns:a16="http://schemas.microsoft.com/office/drawing/2014/main" id="{1F1C1197-3E02-4193-880D-2F90B8055348}"/>
                  </a:ext>
                </a:extLst>
              </p:cNvPr>
              <p:cNvGrpSpPr/>
              <p:nvPr/>
            </p:nvGrpSpPr>
            <p:grpSpPr>
              <a:xfrm>
                <a:off x="2878088" y="2601737"/>
                <a:ext cx="116231" cy="167897"/>
                <a:chOff x="2878088" y="2601737"/>
                <a:chExt cx="116231" cy="167897"/>
              </a:xfrm>
              <a:solidFill>
                <a:schemeClr val="accent1"/>
              </a:solidFill>
            </p:grpSpPr>
            <p:grpSp>
              <p:nvGrpSpPr>
                <p:cNvPr id="164" name="Grafik 3">
                  <a:extLst>
                    <a:ext uri="{FF2B5EF4-FFF2-40B4-BE49-F238E27FC236}">
                      <a16:creationId xmlns:a16="http://schemas.microsoft.com/office/drawing/2014/main" id="{DE213EF0-5C55-4D54-8F44-D29D95E6F565}"/>
                    </a:ext>
                  </a:extLst>
                </p:cNvPr>
                <p:cNvGrpSpPr/>
                <p:nvPr/>
              </p:nvGrpSpPr>
              <p:grpSpPr>
                <a:xfrm>
                  <a:off x="2890995" y="2601737"/>
                  <a:ext cx="80167" cy="96878"/>
                  <a:chOff x="2890995" y="2601737"/>
                  <a:chExt cx="80167" cy="96878"/>
                </a:xfrm>
                <a:solidFill>
                  <a:schemeClr val="accent1"/>
                </a:solidFill>
              </p:grpSpPr>
              <p:sp>
                <p:nvSpPr>
                  <p:cNvPr id="166" name="Freihandform: Form 492">
                    <a:extLst>
                      <a:ext uri="{FF2B5EF4-FFF2-40B4-BE49-F238E27FC236}">
                        <a16:creationId xmlns:a16="http://schemas.microsoft.com/office/drawing/2014/main" id="{AAB63148-C68D-4CBC-BC79-DA4A91E5B628}"/>
                      </a:ext>
                    </a:extLst>
                  </p:cNvPr>
                  <p:cNvSpPr/>
                  <p:nvPr/>
                </p:nvSpPr>
                <p:spPr>
                  <a:xfrm>
                    <a:off x="2890995" y="2601762"/>
                    <a:ext cx="51694" cy="96853"/>
                  </a:xfrm>
                  <a:custGeom>
                    <a:avLst/>
                    <a:gdLst>
                      <a:gd name="connsiteX0" fmla="*/ 6441 w 51694"/>
                      <a:gd name="connsiteY0" fmla="*/ 96853 h 96853"/>
                      <a:gd name="connsiteX1" fmla="*/ 3757 w 51694"/>
                      <a:gd name="connsiteY1" fmla="*/ 96263 h 96853"/>
                      <a:gd name="connsiteX2" fmla="*/ 601 w 51694"/>
                      <a:gd name="connsiteY2" fmla="*/ 87681 h 96853"/>
                      <a:gd name="connsiteX3" fmla="*/ 39355 w 51694"/>
                      <a:gd name="connsiteY3" fmla="*/ 3744 h 96853"/>
                      <a:gd name="connsiteX4" fmla="*/ 47937 w 51694"/>
                      <a:gd name="connsiteY4" fmla="*/ 589 h 96853"/>
                      <a:gd name="connsiteX5" fmla="*/ 51093 w 51694"/>
                      <a:gd name="connsiteY5" fmla="*/ 9171 h 96853"/>
                      <a:gd name="connsiteX6" fmla="*/ 12339 w 51694"/>
                      <a:gd name="connsiteY6" fmla="*/ 93108 h 96853"/>
                      <a:gd name="connsiteX7" fmla="*/ 6441 w 51694"/>
                      <a:gd name="connsiteY7" fmla="*/ 96853 h 9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94" h="96853">
                        <a:moveTo>
                          <a:pt x="6441" y="96853"/>
                        </a:moveTo>
                        <a:cubicBezTo>
                          <a:pt x="5527" y="96853"/>
                          <a:pt x="4612" y="96676"/>
                          <a:pt x="3757" y="96263"/>
                        </a:cubicBezTo>
                        <a:cubicBezTo>
                          <a:pt x="513" y="94759"/>
                          <a:pt x="-903" y="90925"/>
                          <a:pt x="601" y="87681"/>
                        </a:cubicBezTo>
                        <a:lnTo>
                          <a:pt x="39355" y="3744"/>
                        </a:lnTo>
                        <a:cubicBezTo>
                          <a:pt x="40859" y="500"/>
                          <a:pt x="44693" y="-886"/>
                          <a:pt x="47937" y="589"/>
                        </a:cubicBezTo>
                        <a:cubicBezTo>
                          <a:pt x="51182" y="2093"/>
                          <a:pt x="52597" y="5927"/>
                          <a:pt x="51093" y="9171"/>
                        </a:cubicBezTo>
                        <a:lnTo>
                          <a:pt x="12339" y="93108"/>
                        </a:lnTo>
                        <a:cubicBezTo>
                          <a:pt x="11219" y="95467"/>
                          <a:pt x="8859" y="96853"/>
                          <a:pt x="6441" y="96853"/>
                        </a:cubicBezTo>
                        <a:close/>
                      </a:path>
                    </a:pathLst>
                  </a:custGeom>
                  <a:solidFill>
                    <a:schemeClr val="accent1"/>
                  </a:solidFill>
                  <a:ln w="2941" cap="flat">
                    <a:noFill/>
                    <a:prstDash val="solid"/>
                    <a:miter/>
                  </a:ln>
                </p:spPr>
                <p:txBody>
                  <a:bodyPr rtlCol="0" anchor="ctr"/>
                  <a:lstStyle/>
                  <a:p>
                    <a:endParaRPr lang="en-GB" dirty="0"/>
                  </a:p>
                </p:txBody>
              </p:sp>
              <p:sp>
                <p:nvSpPr>
                  <p:cNvPr id="167" name="Freihandform: Form 493">
                    <a:extLst>
                      <a:ext uri="{FF2B5EF4-FFF2-40B4-BE49-F238E27FC236}">
                        <a16:creationId xmlns:a16="http://schemas.microsoft.com/office/drawing/2014/main" id="{0EFDC9EB-753B-42C4-8EE8-4B7FF8E60F5C}"/>
                      </a:ext>
                    </a:extLst>
                  </p:cNvPr>
                  <p:cNvSpPr/>
                  <p:nvPr/>
                </p:nvSpPr>
                <p:spPr>
                  <a:xfrm>
                    <a:off x="2929706" y="2601737"/>
                    <a:ext cx="41455" cy="77501"/>
                  </a:xfrm>
                  <a:custGeom>
                    <a:avLst/>
                    <a:gdLst>
                      <a:gd name="connsiteX0" fmla="*/ 35002 w 41455"/>
                      <a:gd name="connsiteY0" fmla="*/ 77502 h 77501"/>
                      <a:gd name="connsiteX1" fmla="*/ 29074 w 41455"/>
                      <a:gd name="connsiteY1" fmla="*/ 73638 h 77501"/>
                      <a:gd name="connsiteX2" fmla="*/ 555 w 41455"/>
                      <a:gd name="connsiteY2" fmla="*/ 9078 h 77501"/>
                      <a:gd name="connsiteX3" fmla="*/ 3858 w 41455"/>
                      <a:gd name="connsiteY3" fmla="*/ 555 h 77501"/>
                      <a:gd name="connsiteX4" fmla="*/ 12381 w 41455"/>
                      <a:gd name="connsiteY4" fmla="*/ 3858 h 77501"/>
                      <a:gd name="connsiteX5" fmla="*/ 40901 w 41455"/>
                      <a:gd name="connsiteY5" fmla="*/ 68418 h 77501"/>
                      <a:gd name="connsiteX6" fmla="*/ 37598 w 41455"/>
                      <a:gd name="connsiteY6" fmla="*/ 76941 h 77501"/>
                      <a:gd name="connsiteX7" fmla="*/ 35002 w 41455"/>
                      <a:gd name="connsiteY7" fmla="*/ 77502 h 77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55" h="77501">
                        <a:moveTo>
                          <a:pt x="35002" y="77502"/>
                        </a:moveTo>
                        <a:cubicBezTo>
                          <a:pt x="32525" y="77502"/>
                          <a:pt x="30166" y="76056"/>
                          <a:pt x="29074" y="73638"/>
                        </a:cubicBezTo>
                        <a:lnTo>
                          <a:pt x="555" y="9078"/>
                        </a:lnTo>
                        <a:cubicBezTo>
                          <a:pt x="-890" y="5804"/>
                          <a:pt x="584" y="2000"/>
                          <a:pt x="3858" y="555"/>
                        </a:cubicBezTo>
                        <a:cubicBezTo>
                          <a:pt x="7132" y="-890"/>
                          <a:pt x="10936" y="584"/>
                          <a:pt x="12381" y="3858"/>
                        </a:cubicBezTo>
                        <a:lnTo>
                          <a:pt x="40901" y="68418"/>
                        </a:lnTo>
                        <a:cubicBezTo>
                          <a:pt x="42346" y="71692"/>
                          <a:pt x="40872" y="75496"/>
                          <a:pt x="37598" y="76941"/>
                        </a:cubicBezTo>
                        <a:cubicBezTo>
                          <a:pt x="36743" y="77325"/>
                          <a:pt x="35858" y="77502"/>
                          <a:pt x="35002" y="77502"/>
                        </a:cubicBezTo>
                        <a:close/>
                      </a:path>
                    </a:pathLst>
                  </a:custGeom>
                  <a:solidFill>
                    <a:schemeClr val="accent1"/>
                  </a:solidFill>
                  <a:ln w="2941" cap="flat">
                    <a:noFill/>
                    <a:prstDash val="solid"/>
                    <a:miter/>
                  </a:ln>
                </p:spPr>
                <p:txBody>
                  <a:bodyPr rtlCol="0" anchor="ctr"/>
                  <a:lstStyle/>
                  <a:p>
                    <a:endParaRPr lang="en-GB" dirty="0"/>
                  </a:p>
                </p:txBody>
              </p:sp>
            </p:grpSp>
            <p:sp>
              <p:nvSpPr>
                <p:cNvPr id="165" name="Freihandform: Form 494">
                  <a:extLst>
                    <a:ext uri="{FF2B5EF4-FFF2-40B4-BE49-F238E27FC236}">
                      <a16:creationId xmlns:a16="http://schemas.microsoft.com/office/drawing/2014/main" id="{1640BEA0-E1CC-4347-A918-B991696CDA42}"/>
                    </a:ext>
                  </a:extLst>
                </p:cNvPr>
                <p:cNvSpPr/>
                <p:nvPr/>
              </p:nvSpPr>
              <p:spPr>
                <a:xfrm>
                  <a:off x="2878088" y="2685697"/>
                  <a:ext cx="116231" cy="83936"/>
                </a:xfrm>
                <a:custGeom>
                  <a:avLst/>
                  <a:gdLst>
                    <a:gd name="connsiteX0" fmla="*/ 58101 w 116231"/>
                    <a:gd name="connsiteY0" fmla="*/ 83937 h 83936"/>
                    <a:gd name="connsiteX1" fmla="*/ 0 w 116231"/>
                    <a:gd name="connsiteY1" fmla="*/ 25836 h 83936"/>
                    <a:gd name="connsiteX2" fmla="*/ 0 w 116231"/>
                    <a:gd name="connsiteY2" fmla="*/ 6459 h 83936"/>
                    <a:gd name="connsiteX3" fmla="*/ 6459 w 116231"/>
                    <a:gd name="connsiteY3" fmla="*/ 0 h 83936"/>
                    <a:gd name="connsiteX4" fmla="*/ 109772 w 116231"/>
                    <a:gd name="connsiteY4" fmla="*/ 0 h 83936"/>
                    <a:gd name="connsiteX5" fmla="*/ 116231 w 116231"/>
                    <a:gd name="connsiteY5" fmla="*/ 6459 h 83936"/>
                    <a:gd name="connsiteX6" fmla="*/ 116231 w 116231"/>
                    <a:gd name="connsiteY6" fmla="*/ 25836 h 83936"/>
                    <a:gd name="connsiteX7" fmla="*/ 58101 w 116231"/>
                    <a:gd name="connsiteY7" fmla="*/ 83937 h 83936"/>
                    <a:gd name="connsiteX8" fmla="*/ 12888 w 116231"/>
                    <a:gd name="connsiteY8" fmla="*/ 12918 h 83936"/>
                    <a:gd name="connsiteX9" fmla="*/ 12888 w 116231"/>
                    <a:gd name="connsiteY9" fmla="*/ 25836 h 83936"/>
                    <a:gd name="connsiteX10" fmla="*/ 58101 w 116231"/>
                    <a:gd name="connsiteY10" fmla="*/ 71048 h 83936"/>
                    <a:gd name="connsiteX11" fmla="*/ 103313 w 116231"/>
                    <a:gd name="connsiteY11" fmla="*/ 25836 h 83936"/>
                    <a:gd name="connsiteX12" fmla="*/ 103313 w 116231"/>
                    <a:gd name="connsiteY12" fmla="*/ 12918 h 83936"/>
                    <a:gd name="connsiteX13" fmla="*/ 12888 w 116231"/>
                    <a:gd name="connsiteY13" fmla="*/ 12918 h 8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31" h="83936">
                      <a:moveTo>
                        <a:pt x="58101" y="83937"/>
                      </a:moveTo>
                      <a:cubicBezTo>
                        <a:pt x="26042" y="83937"/>
                        <a:pt x="0" y="57865"/>
                        <a:pt x="0" y="25836"/>
                      </a:cubicBezTo>
                      <a:lnTo>
                        <a:pt x="0" y="6459"/>
                      </a:lnTo>
                      <a:cubicBezTo>
                        <a:pt x="0" y="2890"/>
                        <a:pt x="2890" y="0"/>
                        <a:pt x="6459" y="0"/>
                      </a:cubicBezTo>
                      <a:lnTo>
                        <a:pt x="109772" y="0"/>
                      </a:lnTo>
                      <a:cubicBezTo>
                        <a:pt x="113341" y="0"/>
                        <a:pt x="116231" y="2890"/>
                        <a:pt x="116231" y="6459"/>
                      </a:cubicBezTo>
                      <a:lnTo>
                        <a:pt x="116231" y="25836"/>
                      </a:lnTo>
                      <a:cubicBezTo>
                        <a:pt x="116202" y="57865"/>
                        <a:pt x="90130" y="83937"/>
                        <a:pt x="58101" y="83937"/>
                      </a:cubicBezTo>
                      <a:close/>
                      <a:moveTo>
                        <a:pt x="12888" y="12918"/>
                      </a:moveTo>
                      <a:lnTo>
                        <a:pt x="12888" y="25836"/>
                      </a:lnTo>
                      <a:cubicBezTo>
                        <a:pt x="12888" y="50757"/>
                        <a:pt x="33179" y="71048"/>
                        <a:pt x="58101" y="71048"/>
                      </a:cubicBezTo>
                      <a:cubicBezTo>
                        <a:pt x="83022" y="71048"/>
                        <a:pt x="103313" y="50787"/>
                        <a:pt x="103313" y="25836"/>
                      </a:cubicBezTo>
                      <a:lnTo>
                        <a:pt x="103313" y="12918"/>
                      </a:lnTo>
                      <a:lnTo>
                        <a:pt x="12888" y="12918"/>
                      </a:lnTo>
                      <a:close/>
                    </a:path>
                  </a:pathLst>
                </a:custGeom>
                <a:solidFill>
                  <a:schemeClr val="accent1"/>
                </a:solidFill>
                <a:ln w="2941" cap="flat">
                  <a:noFill/>
                  <a:prstDash val="solid"/>
                  <a:miter/>
                </a:ln>
              </p:spPr>
              <p:txBody>
                <a:bodyPr rtlCol="0" anchor="ctr"/>
                <a:lstStyle/>
                <a:p>
                  <a:endParaRPr lang="en-GB" dirty="0"/>
                </a:p>
              </p:txBody>
            </p:sp>
          </p:grpSp>
          <p:grpSp>
            <p:nvGrpSpPr>
              <p:cNvPr id="159" name="Grafik 3">
                <a:extLst>
                  <a:ext uri="{FF2B5EF4-FFF2-40B4-BE49-F238E27FC236}">
                    <a16:creationId xmlns:a16="http://schemas.microsoft.com/office/drawing/2014/main" id="{FCBF37B1-BBAA-4948-A8C4-E5E7B5F3C4FF}"/>
                  </a:ext>
                </a:extLst>
              </p:cNvPr>
              <p:cNvGrpSpPr/>
              <p:nvPr/>
            </p:nvGrpSpPr>
            <p:grpSpPr>
              <a:xfrm>
                <a:off x="2504650" y="2601737"/>
                <a:ext cx="116231" cy="167897"/>
                <a:chOff x="2504650" y="2601737"/>
                <a:chExt cx="116231" cy="167897"/>
              </a:xfrm>
              <a:solidFill>
                <a:schemeClr val="accent1"/>
              </a:solidFill>
            </p:grpSpPr>
            <p:grpSp>
              <p:nvGrpSpPr>
                <p:cNvPr id="160" name="Grafik 3">
                  <a:extLst>
                    <a:ext uri="{FF2B5EF4-FFF2-40B4-BE49-F238E27FC236}">
                      <a16:creationId xmlns:a16="http://schemas.microsoft.com/office/drawing/2014/main" id="{24EC2857-B03B-4111-958F-68947D666B5E}"/>
                    </a:ext>
                  </a:extLst>
                </p:cNvPr>
                <p:cNvGrpSpPr/>
                <p:nvPr/>
              </p:nvGrpSpPr>
              <p:grpSpPr>
                <a:xfrm>
                  <a:off x="2517527" y="2601737"/>
                  <a:ext cx="80196" cy="96878"/>
                  <a:chOff x="2517527" y="2601737"/>
                  <a:chExt cx="80196" cy="96878"/>
                </a:xfrm>
                <a:solidFill>
                  <a:schemeClr val="accent1"/>
                </a:solidFill>
              </p:grpSpPr>
              <p:sp>
                <p:nvSpPr>
                  <p:cNvPr id="162" name="Freihandform: Form 497">
                    <a:extLst>
                      <a:ext uri="{FF2B5EF4-FFF2-40B4-BE49-F238E27FC236}">
                        <a16:creationId xmlns:a16="http://schemas.microsoft.com/office/drawing/2014/main" id="{2C296808-0FDF-4694-B204-AE07D329DDE1}"/>
                      </a:ext>
                    </a:extLst>
                  </p:cNvPr>
                  <p:cNvSpPr/>
                  <p:nvPr/>
                </p:nvSpPr>
                <p:spPr>
                  <a:xfrm>
                    <a:off x="2517527" y="2601762"/>
                    <a:ext cx="51694" cy="96853"/>
                  </a:xfrm>
                  <a:custGeom>
                    <a:avLst/>
                    <a:gdLst>
                      <a:gd name="connsiteX0" fmla="*/ 6470 w 51694"/>
                      <a:gd name="connsiteY0" fmla="*/ 96853 h 96853"/>
                      <a:gd name="connsiteX1" fmla="*/ 3757 w 51694"/>
                      <a:gd name="connsiteY1" fmla="*/ 96263 h 96853"/>
                      <a:gd name="connsiteX2" fmla="*/ 601 w 51694"/>
                      <a:gd name="connsiteY2" fmla="*/ 87681 h 96853"/>
                      <a:gd name="connsiteX3" fmla="*/ 39355 w 51694"/>
                      <a:gd name="connsiteY3" fmla="*/ 3744 h 96853"/>
                      <a:gd name="connsiteX4" fmla="*/ 47937 w 51694"/>
                      <a:gd name="connsiteY4" fmla="*/ 589 h 96853"/>
                      <a:gd name="connsiteX5" fmla="*/ 51093 w 51694"/>
                      <a:gd name="connsiteY5" fmla="*/ 9171 h 96853"/>
                      <a:gd name="connsiteX6" fmla="*/ 12339 w 51694"/>
                      <a:gd name="connsiteY6" fmla="*/ 93108 h 96853"/>
                      <a:gd name="connsiteX7" fmla="*/ 6470 w 51694"/>
                      <a:gd name="connsiteY7" fmla="*/ 96853 h 9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94" h="96853">
                        <a:moveTo>
                          <a:pt x="6470" y="96853"/>
                        </a:moveTo>
                        <a:cubicBezTo>
                          <a:pt x="5556" y="96853"/>
                          <a:pt x="4642" y="96676"/>
                          <a:pt x="3757" y="96263"/>
                        </a:cubicBezTo>
                        <a:cubicBezTo>
                          <a:pt x="513" y="94759"/>
                          <a:pt x="-903" y="90925"/>
                          <a:pt x="601" y="87681"/>
                        </a:cubicBezTo>
                        <a:lnTo>
                          <a:pt x="39355" y="3744"/>
                        </a:lnTo>
                        <a:cubicBezTo>
                          <a:pt x="40859" y="500"/>
                          <a:pt x="44693" y="-886"/>
                          <a:pt x="47937" y="589"/>
                        </a:cubicBezTo>
                        <a:cubicBezTo>
                          <a:pt x="51182" y="2093"/>
                          <a:pt x="52597" y="5927"/>
                          <a:pt x="51093" y="9171"/>
                        </a:cubicBezTo>
                        <a:lnTo>
                          <a:pt x="12339" y="93108"/>
                        </a:lnTo>
                        <a:cubicBezTo>
                          <a:pt x="11248" y="95467"/>
                          <a:pt x="8918" y="96853"/>
                          <a:pt x="6470" y="96853"/>
                        </a:cubicBezTo>
                        <a:close/>
                      </a:path>
                    </a:pathLst>
                  </a:custGeom>
                  <a:solidFill>
                    <a:schemeClr val="accent1"/>
                  </a:solidFill>
                  <a:ln w="2941" cap="flat">
                    <a:noFill/>
                    <a:prstDash val="solid"/>
                    <a:miter/>
                  </a:ln>
                </p:spPr>
                <p:txBody>
                  <a:bodyPr rtlCol="0" anchor="ctr"/>
                  <a:lstStyle/>
                  <a:p>
                    <a:endParaRPr lang="en-GB" dirty="0"/>
                  </a:p>
                </p:txBody>
              </p:sp>
              <p:sp>
                <p:nvSpPr>
                  <p:cNvPr id="163" name="Freihandform: Form 498">
                    <a:extLst>
                      <a:ext uri="{FF2B5EF4-FFF2-40B4-BE49-F238E27FC236}">
                        <a16:creationId xmlns:a16="http://schemas.microsoft.com/office/drawing/2014/main" id="{DF942D0A-B0D6-4991-8DD5-2D1AF6B0DDF4}"/>
                      </a:ext>
                    </a:extLst>
                  </p:cNvPr>
                  <p:cNvSpPr/>
                  <p:nvPr/>
                </p:nvSpPr>
                <p:spPr>
                  <a:xfrm>
                    <a:off x="2556268" y="2601737"/>
                    <a:ext cx="41455" cy="77501"/>
                  </a:xfrm>
                  <a:custGeom>
                    <a:avLst/>
                    <a:gdLst>
                      <a:gd name="connsiteX0" fmla="*/ 35002 w 41455"/>
                      <a:gd name="connsiteY0" fmla="*/ 77502 h 77501"/>
                      <a:gd name="connsiteX1" fmla="*/ 29074 w 41455"/>
                      <a:gd name="connsiteY1" fmla="*/ 73638 h 77501"/>
                      <a:gd name="connsiteX2" fmla="*/ 555 w 41455"/>
                      <a:gd name="connsiteY2" fmla="*/ 9078 h 77501"/>
                      <a:gd name="connsiteX3" fmla="*/ 3858 w 41455"/>
                      <a:gd name="connsiteY3" fmla="*/ 555 h 77501"/>
                      <a:gd name="connsiteX4" fmla="*/ 12381 w 41455"/>
                      <a:gd name="connsiteY4" fmla="*/ 3858 h 77501"/>
                      <a:gd name="connsiteX5" fmla="*/ 40901 w 41455"/>
                      <a:gd name="connsiteY5" fmla="*/ 68418 h 77501"/>
                      <a:gd name="connsiteX6" fmla="*/ 37598 w 41455"/>
                      <a:gd name="connsiteY6" fmla="*/ 76941 h 77501"/>
                      <a:gd name="connsiteX7" fmla="*/ 35002 w 41455"/>
                      <a:gd name="connsiteY7" fmla="*/ 77502 h 775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455" h="77501">
                        <a:moveTo>
                          <a:pt x="35002" y="77502"/>
                        </a:moveTo>
                        <a:cubicBezTo>
                          <a:pt x="32525" y="77502"/>
                          <a:pt x="30166" y="76056"/>
                          <a:pt x="29074" y="73638"/>
                        </a:cubicBezTo>
                        <a:lnTo>
                          <a:pt x="555" y="9078"/>
                        </a:lnTo>
                        <a:cubicBezTo>
                          <a:pt x="-890" y="5804"/>
                          <a:pt x="584" y="2000"/>
                          <a:pt x="3858" y="555"/>
                        </a:cubicBezTo>
                        <a:cubicBezTo>
                          <a:pt x="7161" y="-890"/>
                          <a:pt x="10936" y="584"/>
                          <a:pt x="12381" y="3858"/>
                        </a:cubicBezTo>
                        <a:lnTo>
                          <a:pt x="40901" y="68418"/>
                        </a:lnTo>
                        <a:cubicBezTo>
                          <a:pt x="42346" y="71692"/>
                          <a:pt x="40871" y="75496"/>
                          <a:pt x="37598" y="76941"/>
                        </a:cubicBezTo>
                        <a:cubicBezTo>
                          <a:pt x="36743" y="77325"/>
                          <a:pt x="35887" y="77502"/>
                          <a:pt x="35002" y="77502"/>
                        </a:cubicBezTo>
                        <a:close/>
                      </a:path>
                    </a:pathLst>
                  </a:custGeom>
                  <a:solidFill>
                    <a:schemeClr val="accent1"/>
                  </a:solidFill>
                  <a:ln w="2941" cap="flat">
                    <a:noFill/>
                    <a:prstDash val="solid"/>
                    <a:miter/>
                  </a:ln>
                </p:spPr>
                <p:txBody>
                  <a:bodyPr rtlCol="0" anchor="ctr"/>
                  <a:lstStyle/>
                  <a:p>
                    <a:endParaRPr lang="en-GB" dirty="0"/>
                  </a:p>
                </p:txBody>
              </p:sp>
            </p:grpSp>
            <p:sp>
              <p:nvSpPr>
                <p:cNvPr id="161" name="Freihandform: Form 499">
                  <a:extLst>
                    <a:ext uri="{FF2B5EF4-FFF2-40B4-BE49-F238E27FC236}">
                      <a16:creationId xmlns:a16="http://schemas.microsoft.com/office/drawing/2014/main" id="{24EBF7B5-0C9B-49F2-A2AA-1F913A2463FC}"/>
                    </a:ext>
                  </a:extLst>
                </p:cNvPr>
                <p:cNvSpPr/>
                <p:nvPr/>
              </p:nvSpPr>
              <p:spPr>
                <a:xfrm>
                  <a:off x="2504650" y="2685697"/>
                  <a:ext cx="116231" cy="83936"/>
                </a:xfrm>
                <a:custGeom>
                  <a:avLst/>
                  <a:gdLst>
                    <a:gd name="connsiteX0" fmla="*/ 58101 w 116231"/>
                    <a:gd name="connsiteY0" fmla="*/ 83937 h 83936"/>
                    <a:gd name="connsiteX1" fmla="*/ 0 w 116231"/>
                    <a:gd name="connsiteY1" fmla="*/ 25836 h 83936"/>
                    <a:gd name="connsiteX2" fmla="*/ 0 w 116231"/>
                    <a:gd name="connsiteY2" fmla="*/ 6459 h 83936"/>
                    <a:gd name="connsiteX3" fmla="*/ 6459 w 116231"/>
                    <a:gd name="connsiteY3" fmla="*/ 0 h 83936"/>
                    <a:gd name="connsiteX4" fmla="*/ 109772 w 116231"/>
                    <a:gd name="connsiteY4" fmla="*/ 0 h 83936"/>
                    <a:gd name="connsiteX5" fmla="*/ 116231 w 116231"/>
                    <a:gd name="connsiteY5" fmla="*/ 6459 h 83936"/>
                    <a:gd name="connsiteX6" fmla="*/ 116231 w 116231"/>
                    <a:gd name="connsiteY6" fmla="*/ 25836 h 83936"/>
                    <a:gd name="connsiteX7" fmla="*/ 58101 w 116231"/>
                    <a:gd name="connsiteY7" fmla="*/ 83937 h 83936"/>
                    <a:gd name="connsiteX8" fmla="*/ 12888 w 116231"/>
                    <a:gd name="connsiteY8" fmla="*/ 12918 h 83936"/>
                    <a:gd name="connsiteX9" fmla="*/ 12888 w 116231"/>
                    <a:gd name="connsiteY9" fmla="*/ 25836 h 83936"/>
                    <a:gd name="connsiteX10" fmla="*/ 58101 w 116231"/>
                    <a:gd name="connsiteY10" fmla="*/ 71048 h 83936"/>
                    <a:gd name="connsiteX11" fmla="*/ 103313 w 116231"/>
                    <a:gd name="connsiteY11" fmla="*/ 25836 h 83936"/>
                    <a:gd name="connsiteX12" fmla="*/ 103313 w 116231"/>
                    <a:gd name="connsiteY12" fmla="*/ 12918 h 83936"/>
                    <a:gd name="connsiteX13" fmla="*/ 12888 w 116231"/>
                    <a:gd name="connsiteY13" fmla="*/ 12918 h 8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31" h="83936">
                      <a:moveTo>
                        <a:pt x="58101" y="83937"/>
                      </a:moveTo>
                      <a:cubicBezTo>
                        <a:pt x="26042" y="83937"/>
                        <a:pt x="0" y="57865"/>
                        <a:pt x="0" y="25836"/>
                      </a:cubicBezTo>
                      <a:lnTo>
                        <a:pt x="0" y="6459"/>
                      </a:lnTo>
                      <a:cubicBezTo>
                        <a:pt x="0" y="2890"/>
                        <a:pt x="2890" y="0"/>
                        <a:pt x="6459" y="0"/>
                      </a:cubicBezTo>
                      <a:lnTo>
                        <a:pt x="109772" y="0"/>
                      </a:lnTo>
                      <a:cubicBezTo>
                        <a:pt x="113341" y="0"/>
                        <a:pt x="116231" y="2890"/>
                        <a:pt x="116231" y="6459"/>
                      </a:cubicBezTo>
                      <a:lnTo>
                        <a:pt x="116231" y="25836"/>
                      </a:lnTo>
                      <a:cubicBezTo>
                        <a:pt x="116202" y="57865"/>
                        <a:pt x="90160" y="83937"/>
                        <a:pt x="58101" y="83937"/>
                      </a:cubicBezTo>
                      <a:close/>
                      <a:moveTo>
                        <a:pt x="12888" y="12918"/>
                      </a:moveTo>
                      <a:lnTo>
                        <a:pt x="12888" y="25836"/>
                      </a:lnTo>
                      <a:cubicBezTo>
                        <a:pt x="12888" y="50757"/>
                        <a:pt x="33179" y="71048"/>
                        <a:pt x="58101" y="71048"/>
                      </a:cubicBezTo>
                      <a:cubicBezTo>
                        <a:pt x="83022" y="71048"/>
                        <a:pt x="103313" y="50787"/>
                        <a:pt x="103313" y="25836"/>
                      </a:cubicBezTo>
                      <a:lnTo>
                        <a:pt x="103313" y="12918"/>
                      </a:lnTo>
                      <a:lnTo>
                        <a:pt x="12888" y="12918"/>
                      </a:lnTo>
                      <a:close/>
                    </a:path>
                  </a:pathLst>
                </a:custGeom>
                <a:solidFill>
                  <a:schemeClr val="accent1"/>
                </a:solidFill>
                <a:ln w="2941" cap="flat">
                  <a:noFill/>
                  <a:prstDash val="solid"/>
                  <a:miter/>
                </a:ln>
              </p:spPr>
              <p:txBody>
                <a:bodyPr rtlCol="0" anchor="ctr"/>
                <a:lstStyle/>
                <a:p>
                  <a:endParaRPr lang="en-GB" dirty="0"/>
                </a:p>
              </p:txBody>
            </p:sp>
          </p:grpSp>
        </p:grpSp>
        <p:grpSp>
          <p:nvGrpSpPr>
            <p:cNvPr id="153" name="Group 152">
              <a:extLst>
                <a:ext uri="{FF2B5EF4-FFF2-40B4-BE49-F238E27FC236}">
                  <a16:creationId xmlns:a16="http://schemas.microsoft.com/office/drawing/2014/main" id="{0B314A0C-F886-4CE4-814D-D66B68001541}"/>
                </a:ext>
              </a:extLst>
            </p:cNvPr>
            <p:cNvGrpSpPr/>
            <p:nvPr/>
          </p:nvGrpSpPr>
          <p:grpSpPr>
            <a:xfrm>
              <a:off x="2548713" y="2446805"/>
              <a:ext cx="400394" cy="477784"/>
              <a:chOff x="2548713" y="2446805"/>
              <a:chExt cx="400394" cy="477784"/>
            </a:xfrm>
          </p:grpSpPr>
          <p:sp>
            <p:nvSpPr>
              <p:cNvPr id="154" name="Freihandform: Form 487">
                <a:extLst>
                  <a:ext uri="{FF2B5EF4-FFF2-40B4-BE49-F238E27FC236}">
                    <a16:creationId xmlns:a16="http://schemas.microsoft.com/office/drawing/2014/main" id="{0A794334-5B33-461C-80EB-064529FFDF0C}"/>
                  </a:ext>
                </a:extLst>
              </p:cNvPr>
              <p:cNvSpPr/>
              <p:nvPr/>
            </p:nvSpPr>
            <p:spPr>
              <a:xfrm>
                <a:off x="2703697" y="2446805"/>
                <a:ext cx="90425" cy="103283"/>
              </a:xfrm>
              <a:custGeom>
                <a:avLst/>
                <a:gdLst>
                  <a:gd name="connsiteX0" fmla="*/ 45213 w 90425"/>
                  <a:gd name="connsiteY0" fmla="*/ 103284 h 103283"/>
                  <a:gd name="connsiteX1" fmla="*/ 0 w 90425"/>
                  <a:gd name="connsiteY1" fmla="*/ 51642 h 103283"/>
                  <a:gd name="connsiteX2" fmla="*/ 45213 w 90425"/>
                  <a:gd name="connsiteY2" fmla="*/ 0 h 103283"/>
                  <a:gd name="connsiteX3" fmla="*/ 90425 w 90425"/>
                  <a:gd name="connsiteY3" fmla="*/ 51642 h 103283"/>
                  <a:gd name="connsiteX4" fmla="*/ 45213 w 90425"/>
                  <a:gd name="connsiteY4" fmla="*/ 103284 h 103283"/>
                  <a:gd name="connsiteX5" fmla="*/ 45213 w 90425"/>
                  <a:gd name="connsiteY5" fmla="*/ 12888 h 103283"/>
                  <a:gd name="connsiteX6" fmla="*/ 12918 w 90425"/>
                  <a:gd name="connsiteY6" fmla="*/ 51642 h 103283"/>
                  <a:gd name="connsiteX7" fmla="*/ 45213 w 90425"/>
                  <a:gd name="connsiteY7" fmla="*/ 90396 h 103283"/>
                  <a:gd name="connsiteX8" fmla="*/ 77507 w 90425"/>
                  <a:gd name="connsiteY8" fmla="*/ 51642 h 103283"/>
                  <a:gd name="connsiteX9" fmla="*/ 45213 w 90425"/>
                  <a:gd name="connsiteY9" fmla="*/ 12888 h 10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25" h="103283">
                    <a:moveTo>
                      <a:pt x="45213" y="103284"/>
                    </a:moveTo>
                    <a:cubicBezTo>
                      <a:pt x="18168" y="103284"/>
                      <a:pt x="0" y="82521"/>
                      <a:pt x="0" y="51642"/>
                    </a:cubicBezTo>
                    <a:cubicBezTo>
                      <a:pt x="0" y="20763"/>
                      <a:pt x="18168" y="0"/>
                      <a:pt x="45213" y="0"/>
                    </a:cubicBezTo>
                    <a:cubicBezTo>
                      <a:pt x="72257" y="0"/>
                      <a:pt x="90425" y="20763"/>
                      <a:pt x="90425" y="51642"/>
                    </a:cubicBezTo>
                    <a:cubicBezTo>
                      <a:pt x="90425" y="82521"/>
                      <a:pt x="72257" y="103284"/>
                      <a:pt x="45213" y="103284"/>
                    </a:cubicBezTo>
                    <a:close/>
                    <a:moveTo>
                      <a:pt x="45213" y="12888"/>
                    </a:moveTo>
                    <a:cubicBezTo>
                      <a:pt x="21382" y="12888"/>
                      <a:pt x="12918" y="33769"/>
                      <a:pt x="12918" y="51642"/>
                    </a:cubicBezTo>
                    <a:cubicBezTo>
                      <a:pt x="12918" y="69515"/>
                      <a:pt x="21382" y="90396"/>
                      <a:pt x="45213" y="90396"/>
                    </a:cubicBezTo>
                    <a:cubicBezTo>
                      <a:pt x="69043" y="90396"/>
                      <a:pt x="77507" y="69515"/>
                      <a:pt x="77507" y="51642"/>
                    </a:cubicBezTo>
                    <a:cubicBezTo>
                      <a:pt x="77507" y="33769"/>
                      <a:pt x="69043" y="12888"/>
                      <a:pt x="45213" y="12888"/>
                    </a:cubicBezTo>
                    <a:close/>
                  </a:path>
                </a:pathLst>
              </a:custGeom>
              <a:solidFill>
                <a:schemeClr val="tx2"/>
              </a:solidFill>
              <a:ln w="2941" cap="flat">
                <a:noFill/>
                <a:prstDash val="solid"/>
                <a:miter/>
              </a:ln>
            </p:spPr>
            <p:txBody>
              <a:bodyPr rtlCol="0" anchor="ctr"/>
              <a:lstStyle/>
              <a:p>
                <a:endParaRPr lang="en-GB" dirty="0"/>
              </a:p>
            </p:txBody>
          </p:sp>
          <p:sp>
            <p:nvSpPr>
              <p:cNvPr id="155" name="Freihandform: Form 488">
                <a:extLst>
                  <a:ext uri="{FF2B5EF4-FFF2-40B4-BE49-F238E27FC236}">
                    <a16:creationId xmlns:a16="http://schemas.microsoft.com/office/drawing/2014/main" id="{42135A75-BFE1-4E7C-AE03-AF9B48E45717}"/>
                  </a:ext>
                </a:extLst>
              </p:cNvPr>
              <p:cNvSpPr/>
              <p:nvPr/>
            </p:nvSpPr>
            <p:spPr>
              <a:xfrm>
                <a:off x="2735992" y="2563007"/>
                <a:ext cx="25835" cy="12917"/>
              </a:xfrm>
              <a:custGeom>
                <a:avLst/>
                <a:gdLst>
                  <a:gd name="connsiteX0" fmla="*/ 19377 w 25835"/>
                  <a:gd name="connsiteY0" fmla="*/ 12918 h 12917"/>
                  <a:gd name="connsiteX1" fmla="*/ 6459 w 25835"/>
                  <a:gd name="connsiteY1" fmla="*/ 12918 h 12917"/>
                  <a:gd name="connsiteX2" fmla="*/ 0 w 25835"/>
                  <a:gd name="connsiteY2" fmla="*/ 6459 h 12917"/>
                  <a:gd name="connsiteX3" fmla="*/ 6459 w 25835"/>
                  <a:gd name="connsiteY3" fmla="*/ 0 h 12917"/>
                  <a:gd name="connsiteX4" fmla="*/ 19377 w 25835"/>
                  <a:gd name="connsiteY4" fmla="*/ 0 h 12917"/>
                  <a:gd name="connsiteX5" fmla="*/ 25836 w 25835"/>
                  <a:gd name="connsiteY5" fmla="*/ 6459 h 12917"/>
                  <a:gd name="connsiteX6" fmla="*/ 19377 w 25835"/>
                  <a:gd name="connsiteY6" fmla="*/ 12918 h 1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35" h="12917">
                    <a:moveTo>
                      <a:pt x="19377" y="12918"/>
                    </a:moveTo>
                    <a:lnTo>
                      <a:pt x="6459" y="12918"/>
                    </a:lnTo>
                    <a:cubicBezTo>
                      <a:pt x="2890" y="12918"/>
                      <a:pt x="0" y="10028"/>
                      <a:pt x="0" y="6459"/>
                    </a:cubicBezTo>
                    <a:cubicBezTo>
                      <a:pt x="0" y="2890"/>
                      <a:pt x="2890" y="0"/>
                      <a:pt x="6459" y="0"/>
                    </a:cubicBezTo>
                    <a:lnTo>
                      <a:pt x="19377" y="0"/>
                    </a:lnTo>
                    <a:cubicBezTo>
                      <a:pt x="22945" y="0"/>
                      <a:pt x="25836" y="2890"/>
                      <a:pt x="25836" y="6459"/>
                    </a:cubicBezTo>
                    <a:cubicBezTo>
                      <a:pt x="25836" y="10028"/>
                      <a:pt x="22945" y="12918"/>
                      <a:pt x="19377" y="12918"/>
                    </a:cubicBezTo>
                    <a:close/>
                  </a:path>
                </a:pathLst>
              </a:custGeom>
              <a:solidFill>
                <a:schemeClr val="tx2"/>
              </a:solidFill>
              <a:ln w="2941" cap="flat">
                <a:noFill/>
                <a:prstDash val="solid"/>
                <a:miter/>
              </a:ln>
            </p:spPr>
            <p:txBody>
              <a:bodyPr rtlCol="0" anchor="ctr"/>
              <a:lstStyle/>
              <a:p>
                <a:endParaRPr lang="en-GB" dirty="0"/>
              </a:p>
            </p:txBody>
          </p:sp>
          <p:sp>
            <p:nvSpPr>
              <p:cNvPr id="156" name="Freihandform: Form 489">
                <a:extLst>
                  <a:ext uri="{FF2B5EF4-FFF2-40B4-BE49-F238E27FC236}">
                    <a16:creationId xmlns:a16="http://schemas.microsoft.com/office/drawing/2014/main" id="{6A684BDE-950A-4F2E-87AA-49C2A7CA7999}"/>
                  </a:ext>
                </a:extLst>
              </p:cNvPr>
              <p:cNvSpPr/>
              <p:nvPr/>
            </p:nvSpPr>
            <p:spPr>
              <a:xfrm>
                <a:off x="2742451" y="2563007"/>
                <a:ext cx="12917" cy="83936"/>
              </a:xfrm>
              <a:custGeom>
                <a:avLst/>
                <a:gdLst>
                  <a:gd name="connsiteX0" fmla="*/ 6459 w 12917"/>
                  <a:gd name="connsiteY0" fmla="*/ 83937 h 83936"/>
                  <a:gd name="connsiteX1" fmla="*/ 0 w 12917"/>
                  <a:gd name="connsiteY1" fmla="*/ 77478 h 83936"/>
                  <a:gd name="connsiteX2" fmla="*/ 0 w 12917"/>
                  <a:gd name="connsiteY2" fmla="*/ 6459 h 83936"/>
                  <a:gd name="connsiteX3" fmla="*/ 6459 w 12917"/>
                  <a:gd name="connsiteY3" fmla="*/ 0 h 83936"/>
                  <a:gd name="connsiteX4" fmla="*/ 12918 w 12917"/>
                  <a:gd name="connsiteY4" fmla="*/ 6459 h 83936"/>
                  <a:gd name="connsiteX5" fmla="*/ 12918 w 12917"/>
                  <a:gd name="connsiteY5" fmla="*/ 77478 h 83936"/>
                  <a:gd name="connsiteX6" fmla="*/ 6459 w 12917"/>
                  <a:gd name="connsiteY6" fmla="*/ 83937 h 8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7" h="83936">
                    <a:moveTo>
                      <a:pt x="6459" y="83937"/>
                    </a:moveTo>
                    <a:cubicBezTo>
                      <a:pt x="2890" y="83937"/>
                      <a:pt x="0" y="81046"/>
                      <a:pt x="0" y="77478"/>
                    </a:cubicBezTo>
                    <a:lnTo>
                      <a:pt x="0" y="6459"/>
                    </a:lnTo>
                    <a:cubicBezTo>
                      <a:pt x="0" y="2890"/>
                      <a:pt x="2890" y="0"/>
                      <a:pt x="6459" y="0"/>
                    </a:cubicBezTo>
                    <a:cubicBezTo>
                      <a:pt x="10028" y="0"/>
                      <a:pt x="12918" y="2890"/>
                      <a:pt x="12918" y="6459"/>
                    </a:cubicBezTo>
                    <a:lnTo>
                      <a:pt x="12918" y="77478"/>
                    </a:lnTo>
                    <a:cubicBezTo>
                      <a:pt x="12918" y="81046"/>
                      <a:pt x="10028" y="83937"/>
                      <a:pt x="6459" y="83937"/>
                    </a:cubicBezTo>
                    <a:close/>
                  </a:path>
                </a:pathLst>
              </a:custGeom>
              <a:solidFill>
                <a:schemeClr val="tx2"/>
              </a:solidFill>
              <a:ln w="2941" cap="flat">
                <a:noFill/>
                <a:prstDash val="solid"/>
                <a:miter/>
              </a:ln>
            </p:spPr>
            <p:txBody>
              <a:bodyPr rtlCol="0" anchor="ctr"/>
              <a:lstStyle/>
              <a:p>
                <a:endParaRPr lang="en-GB" dirty="0"/>
              </a:p>
            </p:txBody>
          </p:sp>
          <p:sp>
            <p:nvSpPr>
              <p:cNvPr id="157" name="Freihandform: Form 500">
                <a:extLst>
                  <a:ext uri="{FF2B5EF4-FFF2-40B4-BE49-F238E27FC236}">
                    <a16:creationId xmlns:a16="http://schemas.microsoft.com/office/drawing/2014/main" id="{A9CDCEBD-63BC-4008-9382-C8B8C20022BF}"/>
                  </a:ext>
                </a:extLst>
              </p:cNvPr>
              <p:cNvSpPr/>
              <p:nvPr/>
            </p:nvSpPr>
            <p:spPr>
              <a:xfrm>
                <a:off x="2548713" y="2562978"/>
                <a:ext cx="400394" cy="361611"/>
              </a:xfrm>
              <a:custGeom>
                <a:avLst/>
                <a:gdLst>
                  <a:gd name="connsiteX0" fmla="*/ 258328 w 400394"/>
                  <a:gd name="connsiteY0" fmla="*/ 361611 h 361611"/>
                  <a:gd name="connsiteX1" fmla="*/ 219574 w 400394"/>
                  <a:gd name="connsiteY1" fmla="*/ 361611 h 361611"/>
                  <a:gd name="connsiteX2" fmla="*/ 213115 w 400394"/>
                  <a:gd name="connsiteY2" fmla="*/ 355447 h 361611"/>
                  <a:gd name="connsiteX3" fmla="*/ 206922 w 400394"/>
                  <a:gd name="connsiteY3" fmla="*/ 213115 h 361611"/>
                  <a:gd name="connsiteX4" fmla="*/ 193443 w 400394"/>
                  <a:gd name="connsiteY4" fmla="*/ 213115 h 361611"/>
                  <a:gd name="connsiteX5" fmla="*/ 187250 w 400394"/>
                  <a:gd name="connsiteY5" fmla="*/ 355447 h 361611"/>
                  <a:gd name="connsiteX6" fmla="*/ 180791 w 400394"/>
                  <a:gd name="connsiteY6" fmla="*/ 361611 h 361611"/>
                  <a:gd name="connsiteX7" fmla="*/ 142038 w 400394"/>
                  <a:gd name="connsiteY7" fmla="*/ 361611 h 361611"/>
                  <a:gd name="connsiteX8" fmla="*/ 135579 w 400394"/>
                  <a:gd name="connsiteY8" fmla="*/ 355153 h 361611"/>
                  <a:gd name="connsiteX9" fmla="*/ 135579 w 400394"/>
                  <a:gd name="connsiteY9" fmla="*/ 63999 h 361611"/>
                  <a:gd name="connsiteX10" fmla="*/ 5840 w 400394"/>
                  <a:gd name="connsiteY10" fmla="*/ 51642 h 361611"/>
                  <a:gd name="connsiteX11" fmla="*/ 0 w 400394"/>
                  <a:gd name="connsiteY11" fmla="*/ 45212 h 361611"/>
                  <a:gd name="connsiteX12" fmla="*/ 0 w 400394"/>
                  <a:gd name="connsiteY12" fmla="*/ 27310 h 361611"/>
                  <a:gd name="connsiteX13" fmla="*/ 27310 w 400394"/>
                  <a:gd name="connsiteY13" fmla="*/ 0 h 361611"/>
                  <a:gd name="connsiteX14" fmla="*/ 161444 w 400394"/>
                  <a:gd name="connsiteY14" fmla="*/ 0 h 361611"/>
                  <a:gd name="connsiteX15" fmla="*/ 167342 w 400394"/>
                  <a:gd name="connsiteY15" fmla="*/ 3805 h 361611"/>
                  <a:gd name="connsiteX16" fmla="*/ 200404 w 400394"/>
                  <a:gd name="connsiteY16" fmla="*/ 77183 h 361611"/>
                  <a:gd name="connsiteX17" fmla="*/ 233052 w 400394"/>
                  <a:gd name="connsiteY17" fmla="*/ 3805 h 361611"/>
                  <a:gd name="connsiteX18" fmla="*/ 238951 w 400394"/>
                  <a:gd name="connsiteY18" fmla="*/ 0 h 361611"/>
                  <a:gd name="connsiteX19" fmla="*/ 373084 w 400394"/>
                  <a:gd name="connsiteY19" fmla="*/ 0 h 361611"/>
                  <a:gd name="connsiteX20" fmla="*/ 400394 w 400394"/>
                  <a:gd name="connsiteY20" fmla="*/ 27310 h 361611"/>
                  <a:gd name="connsiteX21" fmla="*/ 400394 w 400394"/>
                  <a:gd name="connsiteY21" fmla="*/ 45212 h 361611"/>
                  <a:gd name="connsiteX22" fmla="*/ 394555 w 400394"/>
                  <a:gd name="connsiteY22" fmla="*/ 51642 h 361611"/>
                  <a:gd name="connsiteX23" fmla="*/ 264816 w 400394"/>
                  <a:gd name="connsiteY23" fmla="*/ 63999 h 361611"/>
                  <a:gd name="connsiteX24" fmla="*/ 264816 w 400394"/>
                  <a:gd name="connsiteY24" fmla="*/ 355153 h 361611"/>
                  <a:gd name="connsiteX25" fmla="*/ 258328 w 400394"/>
                  <a:gd name="connsiteY25" fmla="*/ 361611 h 361611"/>
                  <a:gd name="connsiteX26" fmla="*/ 225767 w 400394"/>
                  <a:gd name="connsiteY26" fmla="*/ 348694 h 361611"/>
                  <a:gd name="connsiteX27" fmla="*/ 251869 w 400394"/>
                  <a:gd name="connsiteY27" fmla="*/ 348694 h 361611"/>
                  <a:gd name="connsiteX28" fmla="*/ 251869 w 400394"/>
                  <a:gd name="connsiteY28" fmla="*/ 58130 h 361611"/>
                  <a:gd name="connsiteX29" fmla="*/ 257708 w 400394"/>
                  <a:gd name="connsiteY29" fmla="*/ 51701 h 361611"/>
                  <a:gd name="connsiteX30" fmla="*/ 387447 w 400394"/>
                  <a:gd name="connsiteY30" fmla="*/ 39343 h 361611"/>
                  <a:gd name="connsiteX31" fmla="*/ 387447 w 400394"/>
                  <a:gd name="connsiteY31" fmla="*/ 27310 h 361611"/>
                  <a:gd name="connsiteX32" fmla="*/ 373055 w 400394"/>
                  <a:gd name="connsiteY32" fmla="*/ 12918 h 361611"/>
                  <a:gd name="connsiteX33" fmla="*/ 243109 w 400394"/>
                  <a:gd name="connsiteY33" fmla="*/ 12918 h 361611"/>
                  <a:gd name="connsiteX34" fmla="*/ 211758 w 400394"/>
                  <a:gd name="connsiteY34" fmla="*/ 82491 h 361611"/>
                  <a:gd name="connsiteX35" fmla="*/ 200168 w 400394"/>
                  <a:gd name="connsiteY35" fmla="*/ 89688 h 361611"/>
                  <a:gd name="connsiteX36" fmla="*/ 188813 w 400394"/>
                  <a:gd name="connsiteY36" fmla="*/ 82904 h 361611"/>
                  <a:gd name="connsiteX37" fmla="*/ 157256 w 400394"/>
                  <a:gd name="connsiteY37" fmla="*/ 12918 h 361611"/>
                  <a:gd name="connsiteX38" fmla="*/ 27310 w 400394"/>
                  <a:gd name="connsiteY38" fmla="*/ 12918 h 361611"/>
                  <a:gd name="connsiteX39" fmla="*/ 12918 w 400394"/>
                  <a:gd name="connsiteY39" fmla="*/ 27310 h 361611"/>
                  <a:gd name="connsiteX40" fmla="*/ 12918 w 400394"/>
                  <a:gd name="connsiteY40" fmla="*/ 39343 h 361611"/>
                  <a:gd name="connsiteX41" fmla="*/ 142657 w 400394"/>
                  <a:gd name="connsiteY41" fmla="*/ 51701 h 361611"/>
                  <a:gd name="connsiteX42" fmla="*/ 148496 w 400394"/>
                  <a:gd name="connsiteY42" fmla="*/ 58130 h 361611"/>
                  <a:gd name="connsiteX43" fmla="*/ 148496 w 400394"/>
                  <a:gd name="connsiteY43" fmla="*/ 348694 h 361611"/>
                  <a:gd name="connsiteX44" fmla="*/ 174598 w 400394"/>
                  <a:gd name="connsiteY44" fmla="*/ 348694 h 361611"/>
                  <a:gd name="connsiteX45" fmla="*/ 180791 w 400394"/>
                  <a:gd name="connsiteY45" fmla="*/ 206361 h 361611"/>
                  <a:gd name="connsiteX46" fmla="*/ 187250 w 400394"/>
                  <a:gd name="connsiteY46" fmla="*/ 200197 h 361611"/>
                  <a:gd name="connsiteX47" fmla="*/ 213115 w 400394"/>
                  <a:gd name="connsiteY47" fmla="*/ 200197 h 361611"/>
                  <a:gd name="connsiteX48" fmla="*/ 219574 w 400394"/>
                  <a:gd name="connsiteY48" fmla="*/ 206361 h 361611"/>
                  <a:gd name="connsiteX49" fmla="*/ 225767 w 400394"/>
                  <a:gd name="connsiteY49" fmla="*/ 348694 h 361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400394" h="361611">
                    <a:moveTo>
                      <a:pt x="258328" y="361611"/>
                    </a:moveTo>
                    <a:lnTo>
                      <a:pt x="219574" y="361611"/>
                    </a:lnTo>
                    <a:cubicBezTo>
                      <a:pt x="216123" y="361611"/>
                      <a:pt x="213263" y="358898"/>
                      <a:pt x="213115" y="355447"/>
                    </a:cubicBezTo>
                    <a:lnTo>
                      <a:pt x="206922" y="213115"/>
                    </a:lnTo>
                    <a:lnTo>
                      <a:pt x="193443" y="213115"/>
                    </a:lnTo>
                    <a:lnTo>
                      <a:pt x="187250" y="355447"/>
                    </a:lnTo>
                    <a:cubicBezTo>
                      <a:pt x="187102" y="358898"/>
                      <a:pt x="184242" y="361611"/>
                      <a:pt x="180791" y="361611"/>
                    </a:cubicBezTo>
                    <a:lnTo>
                      <a:pt x="142038" y="361611"/>
                    </a:lnTo>
                    <a:cubicBezTo>
                      <a:pt x="138469" y="361611"/>
                      <a:pt x="135579" y="358721"/>
                      <a:pt x="135579" y="355153"/>
                    </a:cubicBezTo>
                    <a:lnTo>
                      <a:pt x="135579" y="63999"/>
                    </a:lnTo>
                    <a:lnTo>
                      <a:pt x="5840" y="51642"/>
                    </a:lnTo>
                    <a:cubicBezTo>
                      <a:pt x="2536" y="51317"/>
                      <a:pt x="0" y="48545"/>
                      <a:pt x="0" y="45212"/>
                    </a:cubicBezTo>
                    <a:lnTo>
                      <a:pt x="0" y="27310"/>
                    </a:lnTo>
                    <a:cubicBezTo>
                      <a:pt x="0" y="12269"/>
                      <a:pt x="12240" y="0"/>
                      <a:pt x="27310" y="0"/>
                    </a:cubicBezTo>
                    <a:lnTo>
                      <a:pt x="161444" y="0"/>
                    </a:lnTo>
                    <a:cubicBezTo>
                      <a:pt x="163980" y="0"/>
                      <a:pt x="166281" y="1475"/>
                      <a:pt x="167342" y="3805"/>
                    </a:cubicBezTo>
                    <a:lnTo>
                      <a:pt x="200404" y="77183"/>
                    </a:lnTo>
                    <a:lnTo>
                      <a:pt x="233052" y="3805"/>
                    </a:lnTo>
                    <a:cubicBezTo>
                      <a:pt x="234084" y="1475"/>
                      <a:pt x="236415" y="0"/>
                      <a:pt x="238951" y="0"/>
                    </a:cubicBezTo>
                    <a:lnTo>
                      <a:pt x="373084" y="0"/>
                    </a:lnTo>
                    <a:cubicBezTo>
                      <a:pt x="388155" y="0"/>
                      <a:pt x="400394" y="12240"/>
                      <a:pt x="400394" y="27310"/>
                    </a:cubicBezTo>
                    <a:lnTo>
                      <a:pt x="400394" y="45212"/>
                    </a:lnTo>
                    <a:cubicBezTo>
                      <a:pt x="400394" y="48545"/>
                      <a:pt x="397858" y="51317"/>
                      <a:pt x="394555" y="51642"/>
                    </a:cubicBezTo>
                    <a:lnTo>
                      <a:pt x="264816" y="63999"/>
                    </a:lnTo>
                    <a:lnTo>
                      <a:pt x="264816" y="355153"/>
                    </a:lnTo>
                    <a:cubicBezTo>
                      <a:pt x="264787" y="358721"/>
                      <a:pt x="261896" y="361611"/>
                      <a:pt x="258328" y="361611"/>
                    </a:cubicBezTo>
                    <a:close/>
                    <a:moveTo>
                      <a:pt x="225767" y="348694"/>
                    </a:moveTo>
                    <a:lnTo>
                      <a:pt x="251869" y="348694"/>
                    </a:lnTo>
                    <a:lnTo>
                      <a:pt x="251869" y="58130"/>
                    </a:lnTo>
                    <a:cubicBezTo>
                      <a:pt x="251869" y="54798"/>
                      <a:pt x="254405" y="52025"/>
                      <a:pt x="257708" y="51701"/>
                    </a:cubicBezTo>
                    <a:lnTo>
                      <a:pt x="387447" y="39343"/>
                    </a:lnTo>
                    <a:lnTo>
                      <a:pt x="387447" y="27310"/>
                    </a:lnTo>
                    <a:cubicBezTo>
                      <a:pt x="387447" y="19377"/>
                      <a:pt x="380988" y="12918"/>
                      <a:pt x="373055" y="12918"/>
                    </a:cubicBezTo>
                    <a:lnTo>
                      <a:pt x="243109" y="12918"/>
                    </a:lnTo>
                    <a:lnTo>
                      <a:pt x="211758" y="82491"/>
                    </a:lnTo>
                    <a:cubicBezTo>
                      <a:pt x="209281" y="87092"/>
                      <a:pt x="204946" y="89688"/>
                      <a:pt x="200168" y="89688"/>
                    </a:cubicBezTo>
                    <a:cubicBezTo>
                      <a:pt x="195390" y="89688"/>
                      <a:pt x="191055" y="87092"/>
                      <a:pt x="188813" y="82904"/>
                    </a:cubicBezTo>
                    <a:lnTo>
                      <a:pt x="157256" y="12918"/>
                    </a:lnTo>
                    <a:lnTo>
                      <a:pt x="27310" y="12918"/>
                    </a:lnTo>
                    <a:cubicBezTo>
                      <a:pt x="19377" y="12918"/>
                      <a:pt x="12918" y="19377"/>
                      <a:pt x="12918" y="27310"/>
                    </a:cubicBezTo>
                    <a:lnTo>
                      <a:pt x="12918" y="39343"/>
                    </a:lnTo>
                    <a:lnTo>
                      <a:pt x="142657" y="51701"/>
                    </a:lnTo>
                    <a:cubicBezTo>
                      <a:pt x="145960" y="52025"/>
                      <a:pt x="148496" y="54798"/>
                      <a:pt x="148496" y="58130"/>
                    </a:cubicBezTo>
                    <a:lnTo>
                      <a:pt x="148496" y="348694"/>
                    </a:lnTo>
                    <a:lnTo>
                      <a:pt x="174598" y="348694"/>
                    </a:lnTo>
                    <a:lnTo>
                      <a:pt x="180791" y="206361"/>
                    </a:lnTo>
                    <a:cubicBezTo>
                      <a:pt x="180939" y="202911"/>
                      <a:pt x="183799" y="200197"/>
                      <a:pt x="187250" y="200197"/>
                    </a:cubicBezTo>
                    <a:lnTo>
                      <a:pt x="213115" y="200197"/>
                    </a:lnTo>
                    <a:cubicBezTo>
                      <a:pt x="216566" y="200197"/>
                      <a:pt x="219427" y="202911"/>
                      <a:pt x="219574" y="206361"/>
                    </a:cubicBezTo>
                    <a:lnTo>
                      <a:pt x="225767" y="348694"/>
                    </a:lnTo>
                    <a:close/>
                  </a:path>
                </a:pathLst>
              </a:custGeom>
              <a:solidFill>
                <a:schemeClr val="tx2"/>
              </a:solidFill>
              <a:ln w="2941" cap="flat">
                <a:noFill/>
                <a:prstDash val="solid"/>
                <a:miter/>
              </a:ln>
            </p:spPr>
            <p:txBody>
              <a:bodyPr rtlCol="0" anchor="ctr"/>
              <a:lstStyle/>
              <a:p>
                <a:endParaRPr lang="en-GB" dirty="0"/>
              </a:p>
            </p:txBody>
          </p:sp>
        </p:grpSp>
      </p:grpSp>
      <p:grpSp>
        <p:nvGrpSpPr>
          <p:cNvPr id="44" name="Group 43">
            <a:extLst>
              <a:ext uri="{FF2B5EF4-FFF2-40B4-BE49-F238E27FC236}">
                <a16:creationId xmlns:a16="http://schemas.microsoft.com/office/drawing/2014/main" id="{0B9B3E8C-F8C1-D622-37D4-C8D0827A09F6}"/>
              </a:ext>
            </a:extLst>
          </p:cNvPr>
          <p:cNvGrpSpPr/>
          <p:nvPr/>
        </p:nvGrpSpPr>
        <p:grpSpPr>
          <a:xfrm>
            <a:off x="600611" y="3197067"/>
            <a:ext cx="386880" cy="431999"/>
            <a:chOff x="600611" y="3197067"/>
            <a:chExt cx="386880" cy="431999"/>
          </a:xfrm>
        </p:grpSpPr>
        <p:grpSp>
          <p:nvGrpSpPr>
            <p:cNvPr id="169" name="Grafik 3">
              <a:extLst>
                <a:ext uri="{FF2B5EF4-FFF2-40B4-BE49-F238E27FC236}">
                  <a16:creationId xmlns:a16="http://schemas.microsoft.com/office/drawing/2014/main" id="{C0DA51BC-F0B2-41C5-9958-408751BD0A94}"/>
                </a:ext>
              </a:extLst>
            </p:cNvPr>
            <p:cNvGrpSpPr/>
            <p:nvPr/>
          </p:nvGrpSpPr>
          <p:grpSpPr>
            <a:xfrm>
              <a:off x="689789" y="3197067"/>
              <a:ext cx="198514" cy="431999"/>
              <a:chOff x="992692" y="4080380"/>
              <a:chExt cx="219552" cy="477778"/>
            </a:xfrm>
            <a:solidFill>
              <a:schemeClr val="tx2"/>
            </a:solidFill>
          </p:grpSpPr>
          <p:sp>
            <p:nvSpPr>
              <p:cNvPr id="189" name="Freihandform: Form 412">
                <a:extLst>
                  <a:ext uri="{FF2B5EF4-FFF2-40B4-BE49-F238E27FC236}">
                    <a16:creationId xmlns:a16="http://schemas.microsoft.com/office/drawing/2014/main" id="{8D4EDB8A-302D-4F5F-AE79-416504A33029}"/>
                  </a:ext>
                </a:extLst>
              </p:cNvPr>
              <p:cNvSpPr/>
              <p:nvPr/>
            </p:nvSpPr>
            <p:spPr>
              <a:xfrm>
                <a:off x="1063660" y="4080380"/>
                <a:ext cx="90424" cy="103282"/>
              </a:xfrm>
              <a:custGeom>
                <a:avLst/>
                <a:gdLst>
                  <a:gd name="connsiteX0" fmla="*/ 45212 w 90424"/>
                  <a:gd name="connsiteY0" fmla="*/ 103284 h 103283"/>
                  <a:gd name="connsiteX1" fmla="*/ 0 w 90424"/>
                  <a:gd name="connsiteY1" fmla="*/ 51642 h 103283"/>
                  <a:gd name="connsiteX2" fmla="*/ 45212 w 90424"/>
                  <a:gd name="connsiteY2" fmla="*/ 0 h 103283"/>
                  <a:gd name="connsiteX3" fmla="*/ 90425 w 90424"/>
                  <a:gd name="connsiteY3" fmla="*/ 51642 h 103283"/>
                  <a:gd name="connsiteX4" fmla="*/ 45212 w 90424"/>
                  <a:gd name="connsiteY4" fmla="*/ 103284 h 103283"/>
                  <a:gd name="connsiteX5" fmla="*/ 45212 w 90424"/>
                  <a:gd name="connsiteY5" fmla="*/ 12888 h 103283"/>
                  <a:gd name="connsiteX6" fmla="*/ 12918 w 90424"/>
                  <a:gd name="connsiteY6" fmla="*/ 51642 h 103283"/>
                  <a:gd name="connsiteX7" fmla="*/ 45212 w 90424"/>
                  <a:gd name="connsiteY7" fmla="*/ 90395 h 103283"/>
                  <a:gd name="connsiteX8" fmla="*/ 77507 w 90424"/>
                  <a:gd name="connsiteY8" fmla="*/ 51642 h 103283"/>
                  <a:gd name="connsiteX9" fmla="*/ 45212 w 90424"/>
                  <a:gd name="connsiteY9" fmla="*/ 12888 h 103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424" h="103283">
                    <a:moveTo>
                      <a:pt x="45212" y="103284"/>
                    </a:moveTo>
                    <a:cubicBezTo>
                      <a:pt x="18168" y="103284"/>
                      <a:pt x="0" y="82521"/>
                      <a:pt x="0" y="51642"/>
                    </a:cubicBezTo>
                    <a:cubicBezTo>
                      <a:pt x="0" y="20763"/>
                      <a:pt x="18168" y="0"/>
                      <a:pt x="45212" y="0"/>
                    </a:cubicBezTo>
                    <a:cubicBezTo>
                      <a:pt x="72257" y="0"/>
                      <a:pt x="90425" y="20763"/>
                      <a:pt x="90425" y="51642"/>
                    </a:cubicBezTo>
                    <a:cubicBezTo>
                      <a:pt x="90425" y="82521"/>
                      <a:pt x="72228" y="103284"/>
                      <a:pt x="45212" y="103284"/>
                    </a:cubicBezTo>
                    <a:close/>
                    <a:moveTo>
                      <a:pt x="45212" y="12888"/>
                    </a:moveTo>
                    <a:cubicBezTo>
                      <a:pt x="21382" y="12888"/>
                      <a:pt x="12918" y="33769"/>
                      <a:pt x="12918" y="51642"/>
                    </a:cubicBezTo>
                    <a:cubicBezTo>
                      <a:pt x="12918" y="69515"/>
                      <a:pt x="21382" y="90395"/>
                      <a:pt x="45212" y="90395"/>
                    </a:cubicBezTo>
                    <a:cubicBezTo>
                      <a:pt x="69043" y="90395"/>
                      <a:pt x="77507" y="69515"/>
                      <a:pt x="77507" y="51642"/>
                    </a:cubicBezTo>
                    <a:cubicBezTo>
                      <a:pt x="77478" y="33769"/>
                      <a:pt x="69043" y="12888"/>
                      <a:pt x="45212" y="12888"/>
                    </a:cubicBezTo>
                    <a:close/>
                  </a:path>
                </a:pathLst>
              </a:custGeom>
              <a:grpFill/>
              <a:ln w="2941" cap="flat">
                <a:noFill/>
                <a:prstDash val="solid"/>
                <a:miter/>
              </a:ln>
            </p:spPr>
            <p:txBody>
              <a:bodyPr rtlCol="0" anchor="ctr"/>
              <a:lstStyle/>
              <a:p>
                <a:endParaRPr lang="en-GB" dirty="0"/>
              </a:p>
            </p:txBody>
          </p:sp>
          <p:sp>
            <p:nvSpPr>
              <p:cNvPr id="190" name="Freihandform: Form 413">
                <a:extLst>
                  <a:ext uri="{FF2B5EF4-FFF2-40B4-BE49-F238E27FC236}">
                    <a16:creationId xmlns:a16="http://schemas.microsoft.com/office/drawing/2014/main" id="{02F4BE78-EF28-44B5-B7A1-8AA073F5D6BF}"/>
                  </a:ext>
                </a:extLst>
              </p:cNvPr>
              <p:cNvSpPr/>
              <p:nvPr/>
            </p:nvSpPr>
            <p:spPr>
              <a:xfrm>
                <a:off x="1044284" y="4332156"/>
                <a:ext cx="129178" cy="226002"/>
              </a:xfrm>
              <a:custGeom>
                <a:avLst/>
                <a:gdLst>
                  <a:gd name="connsiteX0" fmla="*/ 122690 w 129178"/>
                  <a:gd name="connsiteY0" fmla="*/ 226004 h 226003"/>
                  <a:gd name="connsiteX1" fmla="*/ 83937 w 129178"/>
                  <a:gd name="connsiteY1" fmla="*/ 226004 h 226003"/>
                  <a:gd name="connsiteX2" fmla="*/ 77478 w 129178"/>
                  <a:gd name="connsiteY2" fmla="*/ 219810 h 226003"/>
                  <a:gd name="connsiteX3" fmla="*/ 71284 w 129178"/>
                  <a:gd name="connsiteY3" fmla="*/ 77478 h 226003"/>
                  <a:gd name="connsiteX4" fmla="*/ 57835 w 129178"/>
                  <a:gd name="connsiteY4" fmla="*/ 77478 h 226003"/>
                  <a:gd name="connsiteX5" fmla="*/ 51642 w 129178"/>
                  <a:gd name="connsiteY5" fmla="*/ 219810 h 226003"/>
                  <a:gd name="connsiteX6" fmla="*/ 45183 w 129178"/>
                  <a:gd name="connsiteY6" fmla="*/ 226004 h 226003"/>
                  <a:gd name="connsiteX7" fmla="*/ 6459 w 129178"/>
                  <a:gd name="connsiteY7" fmla="*/ 226004 h 226003"/>
                  <a:gd name="connsiteX8" fmla="*/ 0 w 129178"/>
                  <a:gd name="connsiteY8" fmla="*/ 219545 h 226003"/>
                  <a:gd name="connsiteX9" fmla="*/ 0 w 129178"/>
                  <a:gd name="connsiteY9" fmla="*/ 6459 h 226003"/>
                  <a:gd name="connsiteX10" fmla="*/ 6459 w 129178"/>
                  <a:gd name="connsiteY10" fmla="*/ 0 h 226003"/>
                  <a:gd name="connsiteX11" fmla="*/ 12918 w 129178"/>
                  <a:gd name="connsiteY11" fmla="*/ 6459 h 226003"/>
                  <a:gd name="connsiteX12" fmla="*/ 12918 w 129178"/>
                  <a:gd name="connsiteY12" fmla="*/ 213086 h 226003"/>
                  <a:gd name="connsiteX13" fmla="*/ 39019 w 129178"/>
                  <a:gd name="connsiteY13" fmla="*/ 213086 h 226003"/>
                  <a:gd name="connsiteX14" fmla="*/ 45212 w 129178"/>
                  <a:gd name="connsiteY14" fmla="*/ 70753 h 226003"/>
                  <a:gd name="connsiteX15" fmla="*/ 51671 w 129178"/>
                  <a:gd name="connsiteY15" fmla="*/ 64560 h 226003"/>
                  <a:gd name="connsiteX16" fmla="*/ 77507 w 129178"/>
                  <a:gd name="connsiteY16" fmla="*/ 64560 h 226003"/>
                  <a:gd name="connsiteX17" fmla="*/ 83966 w 129178"/>
                  <a:gd name="connsiteY17" fmla="*/ 70753 h 226003"/>
                  <a:gd name="connsiteX18" fmla="*/ 90160 w 129178"/>
                  <a:gd name="connsiteY18" fmla="*/ 213086 h 226003"/>
                  <a:gd name="connsiteX19" fmla="*/ 116261 w 129178"/>
                  <a:gd name="connsiteY19" fmla="*/ 213086 h 226003"/>
                  <a:gd name="connsiteX20" fmla="*/ 116261 w 129178"/>
                  <a:gd name="connsiteY20" fmla="*/ 6459 h 226003"/>
                  <a:gd name="connsiteX21" fmla="*/ 122720 w 129178"/>
                  <a:gd name="connsiteY21" fmla="*/ 0 h 226003"/>
                  <a:gd name="connsiteX22" fmla="*/ 129179 w 129178"/>
                  <a:gd name="connsiteY22" fmla="*/ 6459 h 226003"/>
                  <a:gd name="connsiteX23" fmla="*/ 129179 w 129178"/>
                  <a:gd name="connsiteY23" fmla="*/ 219545 h 226003"/>
                  <a:gd name="connsiteX24" fmla="*/ 122690 w 129178"/>
                  <a:gd name="connsiteY24" fmla="*/ 226004 h 226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9178" h="226003">
                    <a:moveTo>
                      <a:pt x="122690" y="226004"/>
                    </a:moveTo>
                    <a:lnTo>
                      <a:pt x="83937" y="226004"/>
                    </a:lnTo>
                    <a:cubicBezTo>
                      <a:pt x="80486" y="226004"/>
                      <a:pt x="77625" y="223290"/>
                      <a:pt x="77478" y="219810"/>
                    </a:cubicBezTo>
                    <a:lnTo>
                      <a:pt x="71284" y="77478"/>
                    </a:lnTo>
                    <a:lnTo>
                      <a:pt x="57835" y="77478"/>
                    </a:lnTo>
                    <a:lnTo>
                      <a:pt x="51642" y="219810"/>
                    </a:lnTo>
                    <a:cubicBezTo>
                      <a:pt x="51494" y="223261"/>
                      <a:pt x="48634" y="226004"/>
                      <a:pt x="45183" y="226004"/>
                    </a:cubicBezTo>
                    <a:lnTo>
                      <a:pt x="6459" y="226004"/>
                    </a:lnTo>
                    <a:cubicBezTo>
                      <a:pt x="2890" y="226004"/>
                      <a:pt x="0" y="223113"/>
                      <a:pt x="0" y="219545"/>
                    </a:cubicBezTo>
                    <a:lnTo>
                      <a:pt x="0" y="6459"/>
                    </a:lnTo>
                    <a:cubicBezTo>
                      <a:pt x="0" y="2890"/>
                      <a:pt x="2890" y="0"/>
                      <a:pt x="6459" y="0"/>
                    </a:cubicBezTo>
                    <a:cubicBezTo>
                      <a:pt x="10028" y="0"/>
                      <a:pt x="12918" y="2890"/>
                      <a:pt x="12918" y="6459"/>
                    </a:cubicBezTo>
                    <a:lnTo>
                      <a:pt x="12918" y="213086"/>
                    </a:lnTo>
                    <a:lnTo>
                      <a:pt x="39019" y="213086"/>
                    </a:lnTo>
                    <a:lnTo>
                      <a:pt x="45212" y="70753"/>
                    </a:lnTo>
                    <a:cubicBezTo>
                      <a:pt x="45360" y="67303"/>
                      <a:pt x="48221" y="64560"/>
                      <a:pt x="51671" y="64560"/>
                    </a:cubicBezTo>
                    <a:lnTo>
                      <a:pt x="77507" y="64560"/>
                    </a:lnTo>
                    <a:cubicBezTo>
                      <a:pt x="80958" y="64560"/>
                      <a:pt x="83819" y="67273"/>
                      <a:pt x="83966" y="70753"/>
                    </a:cubicBezTo>
                    <a:lnTo>
                      <a:pt x="90160" y="213086"/>
                    </a:lnTo>
                    <a:lnTo>
                      <a:pt x="116261" y="213086"/>
                    </a:lnTo>
                    <a:lnTo>
                      <a:pt x="116261" y="6459"/>
                    </a:lnTo>
                    <a:cubicBezTo>
                      <a:pt x="116261" y="2890"/>
                      <a:pt x="119151" y="0"/>
                      <a:pt x="122720" y="0"/>
                    </a:cubicBezTo>
                    <a:cubicBezTo>
                      <a:pt x="126288" y="0"/>
                      <a:pt x="129179" y="2890"/>
                      <a:pt x="129179" y="6459"/>
                    </a:cubicBezTo>
                    <a:lnTo>
                      <a:pt x="129179" y="219545"/>
                    </a:lnTo>
                    <a:cubicBezTo>
                      <a:pt x="129149" y="223113"/>
                      <a:pt x="126259" y="226004"/>
                      <a:pt x="122690" y="226004"/>
                    </a:cubicBezTo>
                    <a:close/>
                  </a:path>
                </a:pathLst>
              </a:custGeom>
              <a:grpFill/>
              <a:ln w="2941" cap="flat">
                <a:noFill/>
                <a:prstDash val="solid"/>
                <a:miter/>
              </a:ln>
            </p:spPr>
            <p:txBody>
              <a:bodyPr rtlCol="0" anchor="ctr"/>
              <a:lstStyle/>
              <a:p>
                <a:endParaRPr lang="en-GB" dirty="0"/>
              </a:p>
            </p:txBody>
          </p:sp>
          <p:sp>
            <p:nvSpPr>
              <p:cNvPr id="191" name="Freihandform: Form 414">
                <a:extLst>
                  <a:ext uri="{FF2B5EF4-FFF2-40B4-BE49-F238E27FC236}">
                    <a16:creationId xmlns:a16="http://schemas.microsoft.com/office/drawing/2014/main" id="{A081C224-8D3C-46BE-A25B-E46B8BB5F8C1}"/>
                  </a:ext>
                </a:extLst>
              </p:cNvPr>
              <p:cNvSpPr/>
              <p:nvPr/>
            </p:nvSpPr>
            <p:spPr>
              <a:xfrm>
                <a:off x="1095956" y="4196579"/>
                <a:ext cx="25835" cy="12917"/>
              </a:xfrm>
              <a:custGeom>
                <a:avLst/>
                <a:gdLst>
                  <a:gd name="connsiteX0" fmla="*/ 19377 w 25835"/>
                  <a:gd name="connsiteY0" fmla="*/ 12918 h 12917"/>
                  <a:gd name="connsiteX1" fmla="*/ 6459 w 25835"/>
                  <a:gd name="connsiteY1" fmla="*/ 12918 h 12917"/>
                  <a:gd name="connsiteX2" fmla="*/ 0 w 25835"/>
                  <a:gd name="connsiteY2" fmla="*/ 6459 h 12917"/>
                  <a:gd name="connsiteX3" fmla="*/ 6459 w 25835"/>
                  <a:gd name="connsiteY3" fmla="*/ 0 h 12917"/>
                  <a:gd name="connsiteX4" fmla="*/ 19377 w 25835"/>
                  <a:gd name="connsiteY4" fmla="*/ 0 h 12917"/>
                  <a:gd name="connsiteX5" fmla="*/ 25836 w 25835"/>
                  <a:gd name="connsiteY5" fmla="*/ 6459 h 12917"/>
                  <a:gd name="connsiteX6" fmla="*/ 19377 w 25835"/>
                  <a:gd name="connsiteY6" fmla="*/ 12918 h 12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835" h="12917">
                    <a:moveTo>
                      <a:pt x="19377" y="12918"/>
                    </a:moveTo>
                    <a:lnTo>
                      <a:pt x="6459" y="12918"/>
                    </a:lnTo>
                    <a:cubicBezTo>
                      <a:pt x="2890" y="12918"/>
                      <a:pt x="0" y="10028"/>
                      <a:pt x="0" y="6459"/>
                    </a:cubicBezTo>
                    <a:cubicBezTo>
                      <a:pt x="0" y="2890"/>
                      <a:pt x="2890" y="0"/>
                      <a:pt x="6459" y="0"/>
                    </a:cubicBezTo>
                    <a:lnTo>
                      <a:pt x="19377" y="0"/>
                    </a:lnTo>
                    <a:cubicBezTo>
                      <a:pt x="22945" y="0"/>
                      <a:pt x="25836" y="2890"/>
                      <a:pt x="25836" y="6459"/>
                    </a:cubicBezTo>
                    <a:cubicBezTo>
                      <a:pt x="25836" y="10028"/>
                      <a:pt x="22945" y="12918"/>
                      <a:pt x="19377" y="12918"/>
                    </a:cubicBezTo>
                    <a:close/>
                  </a:path>
                </a:pathLst>
              </a:custGeom>
              <a:grpFill/>
              <a:ln w="2941" cap="flat">
                <a:noFill/>
                <a:prstDash val="solid"/>
                <a:miter/>
              </a:ln>
            </p:spPr>
            <p:txBody>
              <a:bodyPr rtlCol="0" anchor="ctr"/>
              <a:lstStyle/>
              <a:p>
                <a:endParaRPr lang="en-GB" dirty="0"/>
              </a:p>
            </p:txBody>
          </p:sp>
          <p:sp>
            <p:nvSpPr>
              <p:cNvPr id="192" name="Freihandform: Form 415">
                <a:extLst>
                  <a:ext uri="{FF2B5EF4-FFF2-40B4-BE49-F238E27FC236}">
                    <a16:creationId xmlns:a16="http://schemas.microsoft.com/office/drawing/2014/main" id="{6ED36984-9A32-4F38-A843-980FBF5667AB}"/>
                  </a:ext>
                </a:extLst>
              </p:cNvPr>
              <p:cNvSpPr/>
              <p:nvPr/>
            </p:nvSpPr>
            <p:spPr>
              <a:xfrm>
                <a:off x="1102414" y="4196579"/>
                <a:ext cx="12917" cy="83935"/>
              </a:xfrm>
              <a:custGeom>
                <a:avLst/>
                <a:gdLst>
                  <a:gd name="connsiteX0" fmla="*/ 6459 w 12917"/>
                  <a:gd name="connsiteY0" fmla="*/ 83937 h 83936"/>
                  <a:gd name="connsiteX1" fmla="*/ 0 w 12917"/>
                  <a:gd name="connsiteY1" fmla="*/ 77478 h 83936"/>
                  <a:gd name="connsiteX2" fmla="*/ 0 w 12917"/>
                  <a:gd name="connsiteY2" fmla="*/ 6459 h 83936"/>
                  <a:gd name="connsiteX3" fmla="*/ 6459 w 12917"/>
                  <a:gd name="connsiteY3" fmla="*/ 0 h 83936"/>
                  <a:gd name="connsiteX4" fmla="*/ 12918 w 12917"/>
                  <a:gd name="connsiteY4" fmla="*/ 6459 h 83936"/>
                  <a:gd name="connsiteX5" fmla="*/ 12918 w 12917"/>
                  <a:gd name="connsiteY5" fmla="*/ 77478 h 83936"/>
                  <a:gd name="connsiteX6" fmla="*/ 6459 w 12917"/>
                  <a:gd name="connsiteY6" fmla="*/ 83937 h 8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17" h="83936">
                    <a:moveTo>
                      <a:pt x="6459" y="83937"/>
                    </a:moveTo>
                    <a:cubicBezTo>
                      <a:pt x="2890" y="83937"/>
                      <a:pt x="0" y="81046"/>
                      <a:pt x="0" y="77478"/>
                    </a:cubicBezTo>
                    <a:lnTo>
                      <a:pt x="0" y="6459"/>
                    </a:lnTo>
                    <a:cubicBezTo>
                      <a:pt x="0" y="2890"/>
                      <a:pt x="2890" y="0"/>
                      <a:pt x="6459" y="0"/>
                    </a:cubicBezTo>
                    <a:cubicBezTo>
                      <a:pt x="10028" y="0"/>
                      <a:pt x="12918" y="2890"/>
                      <a:pt x="12918" y="6459"/>
                    </a:cubicBezTo>
                    <a:lnTo>
                      <a:pt x="12918" y="77478"/>
                    </a:lnTo>
                    <a:cubicBezTo>
                      <a:pt x="12918" y="81046"/>
                      <a:pt x="10028" y="83937"/>
                      <a:pt x="6459" y="83937"/>
                    </a:cubicBezTo>
                    <a:close/>
                  </a:path>
                </a:pathLst>
              </a:custGeom>
              <a:grpFill/>
              <a:ln w="2941" cap="flat">
                <a:noFill/>
                <a:prstDash val="solid"/>
                <a:miter/>
              </a:ln>
            </p:spPr>
            <p:txBody>
              <a:bodyPr rtlCol="0" anchor="ctr"/>
              <a:lstStyle/>
              <a:p>
                <a:endParaRPr lang="en-GB" dirty="0"/>
              </a:p>
            </p:txBody>
          </p:sp>
          <p:sp>
            <p:nvSpPr>
              <p:cNvPr id="193" name="Freihandform: Form 416">
                <a:extLst>
                  <a:ext uri="{FF2B5EF4-FFF2-40B4-BE49-F238E27FC236}">
                    <a16:creationId xmlns:a16="http://schemas.microsoft.com/office/drawing/2014/main" id="{BF23C92C-FE72-4E6D-A50E-E9EEE978A45F}"/>
                  </a:ext>
                </a:extLst>
              </p:cNvPr>
              <p:cNvSpPr/>
              <p:nvPr/>
            </p:nvSpPr>
            <p:spPr>
              <a:xfrm>
                <a:off x="992692" y="4196560"/>
                <a:ext cx="219552" cy="142596"/>
              </a:xfrm>
              <a:custGeom>
                <a:avLst/>
                <a:gdLst>
                  <a:gd name="connsiteX0" fmla="*/ 192776 w 219552"/>
                  <a:gd name="connsiteY0" fmla="*/ 142598 h 142597"/>
                  <a:gd name="connsiteX1" fmla="*/ 144792 w 219552"/>
                  <a:gd name="connsiteY1" fmla="*/ 142598 h 142597"/>
                  <a:gd name="connsiteX2" fmla="*/ 127420 w 219552"/>
                  <a:gd name="connsiteY2" fmla="*/ 139412 h 142597"/>
                  <a:gd name="connsiteX3" fmla="*/ 126595 w 219552"/>
                  <a:gd name="connsiteY3" fmla="*/ 139531 h 142597"/>
                  <a:gd name="connsiteX4" fmla="*/ 89463 w 219552"/>
                  <a:gd name="connsiteY4" fmla="*/ 142568 h 142597"/>
                  <a:gd name="connsiteX5" fmla="*/ 26614 w 219552"/>
                  <a:gd name="connsiteY5" fmla="*/ 142598 h 142597"/>
                  <a:gd name="connsiteX6" fmla="*/ 4937 w 219552"/>
                  <a:gd name="connsiteY6" fmla="*/ 133307 h 142597"/>
                  <a:gd name="connsiteX7" fmla="*/ 218 w 219552"/>
                  <a:gd name="connsiteY7" fmla="*/ 117234 h 142597"/>
                  <a:gd name="connsiteX8" fmla="*/ 13637 w 219552"/>
                  <a:gd name="connsiteY8" fmla="*/ 42352 h 142597"/>
                  <a:gd name="connsiteX9" fmla="*/ 69556 w 219552"/>
                  <a:gd name="connsiteY9" fmla="*/ 0 h 142597"/>
                  <a:gd name="connsiteX10" fmla="*/ 77460 w 219552"/>
                  <a:gd name="connsiteY10" fmla="*/ 0 h 142597"/>
                  <a:gd name="connsiteX11" fmla="*/ 83358 w 219552"/>
                  <a:gd name="connsiteY11" fmla="*/ 3805 h 142597"/>
                  <a:gd name="connsiteX12" fmla="*/ 116420 w 219552"/>
                  <a:gd name="connsiteY12" fmla="*/ 77183 h 142597"/>
                  <a:gd name="connsiteX13" fmla="*/ 149068 w 219552"/>
                  <a:gd name="connsiteY13" fmla="*/ 3805 h 142597"/>
                  <a:gd name="connsiteX14" fmla="*/ 154967 w 219552"/>
                  <a:gd name="connsiteY14" fmla="*/ 0 h 142597"/>
                  <a:gd name="connsiteX15" fmla="*/ 159568 w 219552"/>
                  <a:gd name="connsiteY15" fmla="*/ 0 h 142597"/>
                  <a:gd name="connsiteX16" fmla="*/ 209116 w 219552"/>
                  <a:gd name="connsiteY16" fmla="*/ 42204 h 142597"/>
                  <a:gd name="connsiteX17" fmla="*/ 219232 w 219552"/>
                  <a:gd name="connsiteY17" fmla="*/ 117293 h 142597"/>
                  <a:gd name="connsiteX18" fmla="*/ 215014 w 219552"/>
                  <a:gd name="connsiteY18" fmla="*/ 132541 h 142597"/>
                  <a:gd name="connsiteX19" fmla="*/ 192776 w 219552"/>
                  <a:gd name="connsiteY19" fmla="*/ 142598 h 142597"/>
                  <a:gd name="connsiteX20" fmla="*/ 125562 w 219552"/>
                  <a:gd name="connsiteY20" fmla="*/ 125049 h 142597"/>
                  <a:gd name="connsiteX21" fmla="*/ 144792 w 219552"/>
                  <a:gd name="connsiteY21" fmla="*/ 129680 h 142597"/>
                  <a:gd name="connsiteX22" fmla="*/ 192776 w 219552"/>
                  <a:gd name="connsiteY22" fmla="*/ 129680 h 142597"/>
                  <a:gd name="connsiteX23" fmla="*/ 205016 w 219552"/>
                  <a:gd name="connsiteY23" fmla="*/ 124371 h 142597"/>
                  <a:gd name="connsiteX24" fmla="*/ 206491 w 219552"/>
                  <a:gd name="connsiteY24" fmla="*/ 119446 h 142597"/>
                  <a:gd name="connsiteX25" fmla="*/ 196375 w 219552"/>
                  <a:gd name="connsiteY25" fmla="*/ 44387 h 142597"/>
                  <a:gd name="connsiteX26" fmla="*/ 159568 w 219552"/>
                  <a:gd name="connsiteY26" fmla="*/ 12947 h 142597"/>
                  <a:gd name="connsiteX27" fmla="*/ 159125 w 219552"/>
                  <a:gd name="connsiteY27" fmla="*/ 12947 h 142597"/>
                  <a:gd name="connsiteX28" fmla="*/ 127774 w 219552"/>
                  <a:gd name="connsiteY28" fmla="*/ 82521 h 142597"/>
                  <a:gd name="connsiteX29" fmla="*/ 116213 w 219552"/>
                  <a:gd name="connsiteY29" fmla="*/ 89717 h 142597"/>
                  <a:gd name="connsiteX30" fmla="*/ 104858 w 219552"/>
                  <a:gd name="connsiteY30" fmla="*/ 82934 h 142597"/>
                  <a:gd name="connsiteX31" fmla="*/ 73301 w 219552"/>
                  <a:gd name="connsiteY31" fmla="*/ 12947 h 142597"/>
                  <a:gd name="connsiteX32" fmla="*/ 69556 w 219552"/>
                  <a:gd name="connsiteY32" fmla="*/ 12947 h 142597"/>
                  <a:gd name="connsiteX33" fmla="*/ 26319 w 219552"/>
                  <a:gd name="connsiteY33" fmla="*/ 44800 h 142597"/>
                  <a:gd name="connsiteX34" fmla="*/ 12959 w 219552"/>
                  <a:gd name="connsiteY34" fmla="*/ 119328 h 142597"/>
                  <a:gd name="connsiteX35" fmla="*/ 14699 w 219552"/>
                  <a:gd name="connsiteY35" fmla="*/ 124873 h 142597"/>
                  <a:gd name="connsiteX36" fmla="*/ 26614 w 219552"/>
                  <a:gd name="connsiteY36" fmla="*/ 129680 h 142597"/>
                  <a:gd name="connsiteX37" fmla="*/ 88932 w 219552"/>
                  <a:gd name="connsiteY37" fmla="*/ 129680 h 142597"/>
                  <a:gd name="connsiteX38" fmla="*/ 107218 w 219552"/>
                  <a:gd name="connsiteY38" fmla="*/ 128176 h 142597"/>
                  <a:gd name="connsiteX39" fmla="*/ 47082 w 219552"/>
                  <a:gd name="connsiteY39" fmla="*/ 107177 h 142597"/>
                  <a:gd name="connsiteX40" fmla="*/ 41626 w 219552"/>
                  <a:gd name="connsiteY40" fmla="*/ 105053 h 142597"/>
                  <a:gd name="connsiteX41" fmla="*/ 40151 w 219552"/>
                  <a:gd name="connsiteY41" fmla="*/ 99391 h 142597"/>
                  <a:gd name="connsiteX42" fmla="*/ 47259 w 219552"/>
                  <a:gd name="connsiteY42" fmla="*/ 66890 h 142597"/>
                  <a:gd name="connsiteX43" fmla="*/ 54957 w 219552"/>
                  <a:gd name="connsiteY43" fmla="*/ 61964 h 142597"/>
                  <a:gd name="connsiteX44" fmla="*/ 59882 w 219552"/>
                  <a:gd name="connsiteY44" fmla="*/ 69662 h 142597"/>
                  <a:gd name="connsiteX45" fmla="*/ 54514 w 219552"/>
                  <a:gd name="connsiteY45" fmla="*/ 94229 h 142597"/>
                  <a:gd name="connsiteX46" fmla="*/ 125562 w 219552"/>
                  <a:gd name="connsiteY46" fmla="*/ 125049 h 142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9552" h="142597">
                    <a:moveTo>
                      <a:pt x="192776" y="142598"/>
                    </a:moveTo>
                    <a:lnTo>
                      <a:pt x="144792" y="142598"/>
                    </a:lnTo>
                    <a:cubicBezTo>
                      <a:pt x="140132" y="142598"/>
                      <a:pt x="133260" y="141182"/>
                      <a:pt x="127420" y="139412"/>
                    </a:cubicBezTo>
                    <a:cubicBezTo>
                      <a:pt x="127155" y="139471"/>
                      <a:pt x="126860" y="139501"/>
                      <a:pt x="126595" y="139531"/>
                    </a:cubicBezTo>
                    <a:lnTo>
                      <a:pt x="89463" y="142568"/>
                    </a:lnTo>
                    <a:lnTo>
                      <a:pt x="26614" y="142598"/>
                    </a:lnTo>
                    <a:cubicBezTo>
                      <a:pt x="18179" y="142598"/>
                      <a:pt x="9862" y="139029"/>
                      <a:pt x="4937" y="133307"/>
                    </a:cubicBezTo>
                    <a:cubicBezTo>
                      <a:pt x="1044" y="128795"/>
                      <a:pt x="-637" y="123073"/>
                      <a:pt x="218" y="117234"/>
                    </a:cubicBezTo>
                    <a:lnTo>
                      <a:pt x="13637" y="42352"/>
                    </a:lnTo>
                    <a:cubicBezTo>
                      <a:pt x="18326" y="19318"/>
                      <a:pt x="43926" y="0"/>
                      <a:pt x="69556" y="0"/>
                    </a:cubicBezTo>
                    <a:lnTo>
                      <a:pt x="77460" y="0"/>
                    </a:lnTo>
                    <a:cubicBezTo>
                      <a:pt x="79996" y="0"/>
                      <a:pt x="82296" y="1475"/>
                      <a:pt x="83358" y="3805"/>
                    </a:cubicBezTo>
                    <a:lnTo>
                      <a:pt x="116420" y="77183"/>
                    </a:lnTo>
                    <a:lnTo>
                      <a:pt x="149068" y="3805"/>
                    </a:lnTo>
                    <a:cubicBezTo>
                      <a:pt x="150100" y="1504"/>
                      <a:pt x="152401" y="0"/>
                      <a:pt x="154967" y="0"/>
                    </a:cubicBezTo>
                    <a:lnTo>
                      <a:pt x="159568" y="0"/>
                    </a:lnTo>
                    <a:cubicBezTo>
                      <a:pt x="183280" y="0"/>
                      <a:pt x="204131" y="17755"/>
                      <a:pt x="209116" y="42204"/>
                    </a:cubicBezTo>
                    <a:lnTo>
                      <a:pt x="219232" y="117293"/>
                    </a:lnTo>
                    <a:cubicBezTo>
                      <a:pt x="220264" y="122395"/>
                      <a:pt x="218789" y="127940"/>
                      <a:pt x="215014" y="132541"/>
                    </a:cubicBezTo>
                    <a:cubicBezTo>
                      <a:pt x="209971" y="138675"/>
                      <a:pt x="201241" y="142598"/>
                      <a:pt x="192776" y="142598"/>
                    </a:cubicBezTo>
                    <a:close/>
                    <a:moveTo>
                      <a:pt x="125562" y="125049"/>
                    </a:moveTo>
                    <a:cubicBezTo>
                      <a:pt x="130281" y="127232"/>
                      <a:pt x="140368" y="129680"/>
                      <a:pt x="144792" y="129680"/>
                    </a:cubicBezTo>
                    <a:lnTo>
                      <a:pt x="192776" y="129680"/>
                    </a:lnTo>
                    <a:cubicBezTo>
                      <a:pt x="197407" y="129680"/>
                      <a:pt x="202421" y="127497"/>
                      <a:pt x="205016" y="124371"/>
                    </a:cubicBezTo>
                    <a:cubicBezTo>
                      <a:pt x="206992" y="121982"/>
                      <a:pt x="206609" y="120065"/>
                      <a:pt x="206491" y="119446"/>
                    </a:cubicBezTo>
                    <a:lnTo>
                      <a:pt x="196375" y="44387"/>
                    </a:lnTo>
                    <a:cubicBezTo>
                      <a:pt x="192688" y="26367"/>
                      <a:pt x="177175" y="12947"/>
                      <a:pt x="159568" y="12947"/>
                    </a:cubicBezTo>
                    <a:lnTo>
                      <a:pt x="159125" y="12947"/>
                    </a:lnTo>
                    <a:lnTo>
                      <a:pt x="127774" y="82521"/>
                    </a:lnTo>
                    <a:cubicBezTo>
                      <a:pt x="125326" y="87122"/>
                      <a:pt x="120961" y="89717"/>
                      <a:pt x="116213" y="89717"/>
                    </a:cubicBezTo>
                    <a:cubicBezTo>
                      <a:pt x="111465" y="89717"/>
                      <a:pt x="107100" y="87122"/>
                      <a:pt x="104858" y="82934"/>
                    </a:cubicBezTo>
                    <a:lnTo>
                      <a:pt x="73301" y="12947"/>
                    </a:lnTo>
                    <a:lnTo>
                      <a:pt x="69556" y="12947"/>
                    </a:lnTo>
                    <a:cubicBezTo>
                      <a:pt x="49972" y="12947"/>
                      <a:pt x="29770" y="27841"/>
                      <a:pt x="26319" y="44800"/>
                    </a:cubicBezTo>
                    <a:lnTo>
                      <a:pt x="12959" y="119328"/>
                    </a:lnTo>
                    <a:cubicBezTo>
                      <a:pt x="12664" y="121274"/>
                      <a:pt x="13224" y="123162"/>
                      <a:pt x="14699" y="124873"/>
                    </a:cubicBezTo>
                    <a:cubicBezTo>
                      <a:pt x="17176" y="127763"/>
                      <a:pt x="21984" y="129680"/>
                      <a:pt x="26614" y="129680"/>
                    </a:cubicBezTo>
                    <a:lnTo>
                      <a:pt x="88932" y="129680"/>
                    </a:lnTo>
                    <a:lnTo>
                      <a:pt x="107218" y="128176"/>
                    </a:lnTo>
                    <a:cubicBezTo>
                      <a:pt x="92825" y="119063"/>
                      <a:pt x="67196" y="105142"/>
                      <a:pt x="47082" y="107177"/>
                    </a:cubicBezTo>
                    <a:cubicBezTo>
                      <a:pt x="44988" y="107324"/>
                      <a:pt x="42982" y="106587"/>
                      <a:pt x="41626" y="105053"/>
                    </a:cubicBezTo>
                    <a:cubicBezTo>
                      <a:pt x="40240" y="103520"/>
                      <a:pt x="39709" y="101396"/>
                      <a:pt x="40151" y="99391"/>
                    </a:cubicBezTo>
                    <a:lnTo>
                      <a:pt x="47259" y="66890"/>
                    </a:lnTo>
                    <a:cubicBezTo>
                      <a:pt x="48026" y="63410"/>
                      <a:pt x="51476" y="61227"/>
                      <a:pt x="54957" y="61964"/>
                    </a:cubicBezTo>
                    <a:cubicBezTo>
                      <a:pt x="58437" y="62731"/>
                      <a:pt x="60649" y="66182"/>
                      <a:pt x="59882" y="69662"/>
                    </a:cubicBezTo>
                    <a:lnTo>
                      <a:pt x="54514" y="94229"/>
                    </a:lnTo>
                    <a:cubicBezTo>
                      <a:pt x="85541" y="96058"/>
                      <a:pt x="120608" y="121363"/>
                      <a:pt x="125562" y="125049"/>
                    </a:cubicBezTo>
                    <a:close/>
                  </a:path>
                </a:pathLst>
              </a:custGeom>
              <a:grpFill/>
              <a:ln w="2941" cap="flat">
                <a:noFill/>
                <a:prstDash val="solid"/>
                <a:miter/>
              </a:ln>
            </p:spPr>
            <p:txBody>
              <a:bodyPr rtlCol="0" anchor="ctr"/>
              <a:lstStyle/>
              <a:p>
                <a:endParaRPr lang="en-GB" dirty="0"/>
              </a:p>
            </p:txBody>
          </p:sp>
          <p:sp>
            <p:nvSpPr>
              <p:cNvPr id="194" name="Freihandform: Form 417">
                <a:extLst>
                  <a:ext uri="{FF2B5EF4-FFF2-40B4-BE49-F238E27FC236}">
                    <a16:creationId xmlns:a16="http://schemas.microsoft.com/office/drawing/2014/main" id="{F7E6A23C-05AB-4585-A083-2A0CB28D5BB3}"/>
                  </a:ext>
                </a:extLst>
              </p:cNvPr>
              <p:cNvSpPr/>
              <p:nvPr/>
            </p:nvSpPr>
            <p:spPr>
              <a:xfrm>
                <a:off x="1033883" y="4256639"/>
                <a:ext cx="137575" cy="45294"/>
              </a:xfrm>
              <a:custGeom>
                <a:avLst/>
                <a:gdLst>
                  <a:gd name="connsiteX0" fmla="*/ 6449 w 137575"/>
                  <a:gd name="connsiteY0" fmla="*/ 45295 h 45294"/>
                  <a:gd name="connsiteX1" fmla="*/ 2674 w 137575"/>
                  <a:gd name="connsiteY1" fmla="*/ 44086 h 45294"/>
                  <a:gd name="connsiteX2" fmla="*/ 1228 w 137575"/>
                  <a:gd name="connsiteY2" fmla="*/ 35061 h 45294"/>
                  <a:gd name="connsiteX3" fmla="*/ 9044 w 137575"/>
                  <a:gd name="connsiteY3" fmla="*/ 24237 h 45294"/>
                  <a:gd name="connsiteX4" fmla="*/ 26563 w 137575"/>
                  <a:gd name="connsiteY4" fmla="*/ 17689 h 45294"/>
                  <a:gd name="connsiteX5" fmla="*/ 51956 w 137575"/>
                  <a:gd name="connsiteY5" fmla="*/ 22438 h 45294"/>
                  <a:gd name="connsiteX6" fmla="*/ 123653 w 137575"/>
                  <a:gd name="connsiteY6" fmla="*/ 26242 h 45294"/>
                  <a:gd name="connsiteX7" fmla="*/ 121766 w 137575"/>
                  <a:gd name="connsiteY7" fmla="*/ 7072 h 45294"/>
                  <a:gd name="connsiteX8" fmla="*/ 127546 w 137575"/>
                  <a:gd name="connsiteY8" fmla="*/ 23 h 45294"/>
                  <a:gd name="connsiteX9" fmla="*/ 134595 w 137575"/>
                  <a:gd name="connsiteY9" fmla="*/ 5804 h 45294"/>
                  <a:gd name="connsiteX10" fmla="*/ 137544 w 137575"/>
                  <a:gd name="connsiteY10" fmla="*/ 35621 h 45294"/>
                  <a:gd name="connsiteX11" fmla="*/ 134683 w 137575"/>
                  <a:gd name="connsiteY11" fmla="*/ 41638 h 45294"/>
                  <a:gd name="connsiteX12" fmla="*/ 128048 w 137575"/>
                  <a:gd name="connsiteY12" fmla="*/ 41962 h 45294"/>
                  <a:gd name="connsiteX13" fmla="*/ 52516 w 137575"/>
                  <a:gd name="connsiteY13" fmla="*/ 35385 h 45294"/>
                  <a:gd name="connsiteX14" fmla="*/ 50540 w 137575"/>
                  <a:gd name="connsiteY14" fmla="*/ 35326 h 45294"/>
                  <a:gd name="connsiteX15" fmla="*/ 23554 w 137575"/>
                  <a:gd name="connsiteY15" fmla="*/ 30283 h 45294"/>
                  <a:gd name="connsiteX16" fmla="*/ 22168 w 137575"/>
                  <a:gd name="connsiteY16" fmla="*/ 29870 h 45294"/>
                  <a:gd name="connsiteX17" fmla="*/ 19514 w 137575"/>
                  <a:gd name="connsiteY17" fmla="*/ 31816 h 45294"/>
                  <a:gd name="connsiteX18" fmla="*/ 11698 w 137575"/>
                  <a:gd name="connsiteY18" fmla="*/ 42640 h 45294"/>
                  <a:gd name="connsiteX19" fmla="*/ 6449 w 137575"/>
                  <a:gd name="connsiteY19" fmla="*/ 45295 h 4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7575" h="45294">
                    <a:moveTo>
                      <a:pt x="6449" y="45295"/>
                    </a:moveTo>
                    <a:cubicBezTo>
                      <a:pt x="5151" y="45295"/>
                      <a:pt x="3824" y="44911"/>
                      <a:pt x="2674" y="44086"/>
                    </a:cubicBezTo>
                    <a:cubicBezTo>
                      <a:pt x="-217" y="41992"/>
                      <a:pt x="-866" y="37981"/>
                      <a:pt x="1228" y="35061"/>
                    </a:cubicBezTo>
                    <a:lnTo>
                      <a:pt x="9044" y="24237"/>
                    </a:lnTo>
                    <a:cubicBezTo>
                      <a:pt x="12524" y="19429"/>
                      <a:pt x="19131" y="14917"/>
                      <a:pt x="26563" y="17689"/>
                    </a:cubicBezTo>
                    <a:lnTo>
                      <a:pt x="51956" y="22438"/>
                    </a:lnTo>
                    <a:cubicBezTo>
                      <a:pt x="58887" y="21641"/>
                      <a:pt x="96992" y="17837"/>
                      <a:pt x="123653" y="26242"/>
                    </a:cubicBezTo>
                    <a:lnTo>
                      <a:pt x="121766" y="7072"/>
                    </a:lnTo>
                    <a:cubicBezTo>
                      <a:pt x="121412" y="3533"/>
                      <a:pt x="124007" y="377"/>
                      <a:pt x="127546" y="23"/>
                    </a:cubicBezTo>
                    <a:cubicBezTo>
                      <a:pt x="131115" y="-272"/>
                      <a:pt x="134241" y="2265"/>
                      <a:pt x="134595" y="5804"/>
                    </a:cubicBezTo>
                    <a:lnTo>
                      <a:pt x="137544" y="35621"/>
                    </a:lnTo>
                    <a:cubicBezTo>
                      <a:pt x="137780" y="38010"/>
                      <a:pt x="136689" y="40310"/>
                      <a:pt x="134683" y="41638"/>
                    </a:cubicBezTo>
                    <a:cubicBezTo>
                      <a:pt x="132707" y="42965"/>
                      <a:pt x="130142" y="43083"/>
                      <a:pt x="128048" y="41962"/>
                    </a:cubicBezTo>
                    <a:cubicBezTo>
                      <a:pt x="104217" y="29133"/>
                      <a:pt x="53018" y="35326"/>
                      <a:pt x="52516" y="35385"/>
                    </a:cubicBezTo>
                    <a:cubicBezTo>
                      <a:pt x="51868" y="35474"/>
                      <a:pt x="51189" y="35444"/>
                      <a:pt x="50540" y="35326"/>
                    </a:cubicBezTo>
                    <a:lnTo>
                      <a:pt x="23554" y="30283"/>
                    </a:lnTo>
                    <a:cubicBezTo>
                      <a:pt x="23083" y="30194"/>
                      <a:pt x="22611" y="30047"/>
                      <a:pt x="22168" y="29870"/>
                    </a:cubicBezTo>
                    <a:cubicBezTo>
                      <a:pt x="21726" y="29664"/>
                      <a:pt x="20369" y="30637"/>
                      <a:pt x="19514" y="31816"/>
                    </a:cubicBezTo>
                    <a:lnTo>
                      <a:pt x="11698" y="42640"/>
                    </a:lnTo>
                    <a:cubicBezTo>
                      <a:pt x="10430" y="44380"/>
                      <a:pt x="8454" y="45295"/>
                      <a:pt x="6449" y="45295"/>
                    </a:cubicBezTo>
                    <a:close/>
                  </a:path>
                </a:pathLst>
              </a:custGeom>
              <a:grpFill/>
              <a:ln w="2941" cap="flat">
                <a:noFill/>
                <a:prstDash val="solid"/>
                <a:miter/>
              </a:ln>
            </p:spPr>
            <p:txBody>
              <a:bodyPr rtlCol="0" anchor="ctr"/>
              <a:lstStyle/>
              <a:p>
                <a:endParaRPr lang="en-GB" dirty="0"/>
              </a:p>
            </p:txBody>
          </p:sp>
        </p:grpSp>
        <p:grpSp>
          <p:nvGrpSpPr>
            <p:cNvPr id="170" name="Group 169">
              <a:extLst>
                <a:ext uri="{FF2B5EF4-FFF2-40B4-BE49-F238E27FC236}">
                  <a16:creationId xmlns:a16="http://schemas.microsoft.com/office/drawing/2014/main" id="{80F4529A-48CD-46B0-B9FA-2F20B9EC45B8}"/>
                </a:ext>
              </a:extLst>
            </p:cNvPr>
            <p:cNvGrpSpPr/>
            <p:nvPr/>
          </p:nvGrpSpPr>
          <p:grpSpPr>
            <a:xfrm>
              <a:off x="600611" y="3220399"/>
              <a:ext cx="386880" cy="332646"/>
              <a:chOff x="894064" y="4106213"/>
              <a:chExt cx="427882" cy="367899"/>
            </a:xfrm>
          </p:grpSpPr>
          <p:grpSp>
            <p:nvGrpSpPr>
              <p:cNvPr id="171" name="Grafik 3">
                <a:extLst>
                  <a:ext uri="{FF2B5EF4-FFF2-40B4-BE49-F238E27FC236}">
                    <a16:creationId xmlns:a16="http://schemas.microsoft.com/office/drawing/2014/main" id="{905680A8-A7FE-4F98-A4F8-EA288C260397}"/>
                  </a:ext>
                </a:extLst>
              </p:cNvPr>
              <p:cNvGrpSpPr/>
              <p:nvPr/>
            </p:nvGrpSpPr>
            <p:grpSpPr>
              <a:xfrm>
                <a:off x="1204016" y="4106213"/>
                <a:ext cx="117930" cy="367867"/>
                <a:chOff x="1204013" y="4106215"/>
                <a:chExt cx="117929" cy="367867"/>
              </a:xfrm>
              <a:solidFill>
                <a:schemeClr val="accent1"/>
              </a:solidFill>
            </p:grpSpPr>
            <p:grpSp>
              <p:nvGrpSpPr>
                <p:cNvPr id="181" name="Grafik 3">
                  <a:extLst>
                    <a:ext uri="{FF2B5EF4-FFF2-40B4-BE49-F238E27FC236}">
                      <a16:creationId xmlns:a16="http://schemas.microsoft.com/office/drawing/2014/main" id="{3D1DF781-DD9E-49B6-9581-431A0D34B342}"/>
                    </a:ext>
                  </a:extLst>
                </p:cNvPr>
                <p:cNvGrpSpPr/>
                <p:nvPr/>
              </p:nvGrpSpPr>
              <p:grpSpPr>
                <a:xfrm>
                  <a:off x="1204013" y="4106215"/>
                  <a:ext cx="117929" cy="136142"/>
                  <a:chOff x="1204013" y="4106215"/>
                  <a:chExt cx="117929" cy="136142"/>
                </a:xfrm>
                <a:solidFill>
                  <a:schemeClr val="accent1"/>
                </a:solidFill>
              </p:grpSpPr>
              <p:sp>
                <p:nvSpPr>
                  <p:cNvPr id="186" name="Freihandform: Form 420">
                    <a:extLst>
                      <a:ext uri="{FF2B5EF4-FFF2-40B4-BE49-F238E27FC236}">
                        <a16:creationId xmlns:a16="http://schemas.microsoft.com/office/drawing/2014/main" id="{846A0735-E6A9-4014-8C3D-E0234C77C838}"/>
                      </a:ext>
                    </a:extLst>
                  </p:cNvPr>
                  <p:cNvSpPr/>
                  <p:nvPr/>
                </p:nvSpPr>
                <p:spPr>
                  <a:xfrm>
                    <a:off x="1211637" y="4156427"/>
                    <a:ext cx="87483" cy="85931"/>
                  </a:xfrm>
                  <a:custGeom>
                    <a:avLst/>
                    <a:gdLst>
                      <a:gd name="connsiteX0" fmla="*/ 6448 w 87483"/>
                      <a:gd name="connsiteY0" fmla="*/ 85931 h 85931"/>
                      <a:gd name="connsiteX1" fmla="*/ 1847 w 87483"/>
                      <a:gd name="connsiteY1" fmla="*/ 83985 h 85931"/>
                      <a:gd name="connsiteX2" fmla="*/ 1936 w 87483"/>
                      <a:gd name="connsiteY2" fmla="*/ 74842 h 85931"/>
                      <a:gd name="connsiteX3" fmla="*/ 76494 w 87483"/>
                      <a:gd name="connsiteY3" fmla="*/ 1847 h 85931"/>
                      <a:gd name="connsiteX4" fmla="*/ 85636 w 87483"/>
                      <a:gd name="connsiteY4" fmla="*/ 1936 h 85931"/>
                      <a:gd name="connsiteX5" fmla="*/ 85548 w 87483"/>
                      <a:gd name="connsiteY5" fmla="*/ 11079 h 85931"/>
                      <a:gd name="connsiteX6" fmla="*/ 10990 w 87483"/>
                      <a:gd name="connsiteY6" fmla="*/ 84073 h 85931"/>
                      <a:gd name="connsiteX7" fmla="*/ 6448 w 87483"/>
                      <a:gd name="connsiteY7" fmla="*/ 85931 h 8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83" h="85931">
                        <a:moveTo>
                          <a:pt x="6448" y="85931"/>
                        </a:moveTo>
                        <a:cubicBezTo>
                          <a:pt x="4767" y="85931"/>
                          <a:pt x="3086" y="85283"/>
                          <a:pt x="1847" y="83985"/>
                        </a:cubicBezTo>
                        <a:cubicBezTo>
                          <a:pt x="-659" y="81449"/>
                          <a:pt x="-601" y="77349"/>
                          <a:pt x="1936" y="74842"/>
                        </a:cubicBezTo>
                        <a:lnTo>
                          <a:pt x="76494" y="1847"/>
                        </a:lnTo>
                        <a:cubicBezTo>
                          <a:pt x="79030" y="-660"/>
                          <a:pt x="83130" y="-600"/>
                          <a:pt x="85636" y="1936"/>
                        </a:cubicBezTo>
                        <a:cubicBezTo>
                          <a:pt x="88143" y="4472"/>
                          <a:pt x="88084" y="8572"/>
                          <a:pt x="85548" y="11079"/>
                        </a:cubicBezTo>
                        <a:lnTo>
                          <a:pt x="10990" y="84073"/>
                        </a:lnTo>
                        <a:cubicBezTo>
                          <a:pt x="9722" y="85312"/>
                          <a:pt x="8100" y="85931"/>
                          <a:pt x="6448" y="85931"/>
                        </a:cubicBezTo>
                        <a:close/>
                      </a:path>
                    </a:pathLst>
                  </a:custGeom>
                  <a:solidFill>
                    <a:schemeClr val="accent1"/>
                  </a:solidFill>
                  <a:ln w="2941" cap="flat">
                    <a:noFill/>
                    <a:prstDash val="solid"/>
                    <a:miter/>
                  </a:ln>
                </p:spPr>
                <p:txBody>
                  <a:bodyPr rtlCol="0" anchor="ctr"/>
                  <a:lstStyle/>
                  <a:p>
                    <a:endParaRPr lang="en-GB" dirty="0"/>
                  </a:p>
                </p:txBody>
              </p:sp>
              <p:sp>
                <p:nvSpPr>
                  <p:cNvPr id="187" name="Freihandform: Form 421">
                    <a:extLst>
                      <a:ext uri="{FF2B5EF4-FFF2-40B4-BE49-F238E27FC236}">
                        <a16:creationId xmlns:a16="http://schemas.microsoft.com/office/drawing/2014/main" id="{2D04B2F6-FDE1-4EE4-8345-DB0E6706496C}"/>
                      </a:ext>
                    </a:extLst>
                  </p:cNvPr>
                  <p:cNvSpPr/>
                  <p:nvPr/>
                </p:nvSpPr>
                <p:spPr>
                  <a:xfrm>
                    <a:off x="1204013" y="4178030"/>
                    <a:ext cx="18854" cy="18702"/>
                  </a:xfrm>
                  <a:custGeom>
                    <a:avLst/>
                    <a:gdLst>
                      <a:gd name="connsiteX0" fmla="*/ 6463 w 18854"/>
                      <a:gd name="connsiteY0" fmla="*/ 18703 h 18702"/>
                      <a:gd name="connsiteX1" fmla="*/ 1833 w 18854"/>
                      <a:gd name="connsiteY1" fmla="*/ 16756 h 18702"/>
                      <a:gd name="connsiteX2" fmla="*/ 1951 w 18854"/>
                      <a:gd name="connsiteY2" fmla="*/ 7613 h 18702"/>
                      <a:gd name="connsiteX3" fmla="*/ 7879 w 18854"/>
                      <a:gd name="connsiteY3" fmla="*/ 1833 h 18702"/>
                      <a:gd name="connsiteX4" fmla="*/ 17021 w 18854"/>
                      <a:gd name="connsiteY4" fmla="*/ 1951 h 18702"/>
                      <a:gd name="connsiteX5" fmla="*/ 16903 w 18854"/>
                      <a:gd name="connsiteY5" fmla="*/ 11093 h 18702"/>
                      <a:gd name="connsiteX6" fmla="*/ 10975 w 18854"/>
                      <a:gd name="connsiteY6" fmla="*/ 16874 h 18702"/>
                      <a:gd name="connsiteX7" fmla="*/ 6463 w 18854"/>
                      <a:gd name="connsiteY7" fmla="*/ 18703 h 1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54" h="18702">
                        <a:moveTo>
                          <a:pt x="6463" y="18703"/>
                        </a:moveTo>
                        <a:cubicBezTo>
                          <a:pt x="4782" y="18703"/>
                          <a:pt x="3101" y="18054"/>
                          <a:pt x="1833" y="16756"/>
                        </a:cubicBezTo>
                        <a:cubicBezTo>
                          <a:pt x="-645" y="14190"/>
                          <a:pt x="-615" y="10120"/>
                          <a:pt x="1951" y="7613"/>
                        </a:cubicBezTo>
                        <a:lnTo>
                          <a:pt x="7879" y="1833"/>
                        </a:lnTo>
                        <a:cubicBezTo>
                          <a:pt x="10445" y="-645"/>
                          <a:pt x="14515" y="-615"/>
                          <a:pt x="17021" y="1951"/>
                        </a:cubicBezTo>
                        <a:cubicBezTo>
                          <a:pt x="19499" y="4516"/>
                          <a:pt x="19469" y="8587"/>
                          <a:pt x="16903" y="11093"/>
                        </a:cubicBezTo>
                        <a:lnTo>
                          <a:pt x="10975" y="16874"/>
                        </a:lnTo>
                        <a:cubicBezTo>
                          <a:pt x="9707" y="18113"/>
                          <a:pt x="8085" y="18703"/>
                          <a:pt x="6463" y="18703"/>
                        </a:cubicBezTo>
                        <a:close/>
                      </a:path>
                    </a:pathLst>
                  </a:custGeom>
                  <a:solidFill>
                    <a:schemeClr val="accent1"/>
                  </a:solidFill>
                  <a:ln w="2941" cap="flat">
                    <a:noFill/>
                    <a:prstDash val="solid"/>
                    <a:miter/>
                  </a:ln>
                </p:spPr>
                <p:txBody>
                  <a:bodyPr rtlCol="0" anchor="ctr"/>
                  <a:lstStyle/>
                  <a:p>
                    <a:endParaRPr lang="en-GB" dirty="0"/>
                  </a:p>
                </p:txBody>
              </p:sp>
              <p:sp>
                <p:nvSpPr>
                  <p:cNvPr id="188" name="Freihandform: Form 422">
                    <a:extLst>
                      <a:ext uri="{FF2B5EF4-FFF2-40B4-BE49-F238E27FC236}">
                        <a16:creationId xmlns:a16="http://schemas.microsoft.com/office/drawing/2014/main" id="{6CB67929-B017-4E60-82D9-D91B2D862F17}"/>
                      </a:ext>
                    </a:extLst>
                  </p:cNvPr>
                  <p:cNvSpPr/>
                  <p:nvPr/>
                </p:nvSpPr>
                <p:spPr>
                  <a:xfrm>
                    <a:off x="1226830" y="4106215"/>
                    <a:ext cx="95112" cy="81403"/>
                  </a:xfrm>
                  <a:custGeom>
                    <a:avLst/>
                    <a:gdLst>
                      <a:gd name="connsiteX0" fmla="*/ 84099 w 95112"/>
                      <a:gd name="connsiteY0" fmla="*/ 81404 h 81403"/>
                      <a:gd name="connsiteX1" fmla="*/ 79527 w 95112"/>
                      <a:gd name="connsiteY1" fmla="*/ 79516 h 81403"/>
                      <a:gd name="connsiteX2" fmla="*/ 52129 w 95112"/>
                      <a:gd name="connsiteY2" fmla="*/ 52118 h 81403"/>
                      <a:gd name="connsiteX3" fmla="*/ 52129 w 95112"/>
                      <a:gd name="connsiteY3" fmla="*/ 42975 h 81403"/>
                      <a:gd name="connsiteX4" fmla="*/ 61271 w 95112"/>
                      <a:gd name="connsiteY4" fmla="*/ 42975 h 81403"/>
                      <a:gd name="connsiteX5" fmla="*/ 78613 w 95112"/>
                      <a:gd name="connsiteY5" fmla="*/ 60317 h 81403"/>
                      <a:gd name="connsiteX6" fmla="*/ 81739 w 95112"/>
                      <a:gd name="connsiteY6" fmla="*/ 13394 h 81403"/>
                      <a:gd name="connsiteX7" fmla="*/ 34816 w 95112"/>
                      <a:gd name="connsiteY7" fmla="*/ 16520 h 81403"/>
                      <a:gd name="connsiteX8" fmla="*/ 43015 w 95112"/>
                      <a:gd name="connsiteY8" fmla="*/ 24719 h 81403"/>
                      <a:gd name="connsiteX9" fmla="*/ 43015 w 95112"/>
                      <a:gd name="connsiteY9" fmla="*/ 33862 h 81403"/>
                      <a:gd name="connsiteX10" fmla="*/ 11045 w 95112"/>
                      <a:gd name="connsiteY10" fmla="*/ 65832 h 81403"/>
                      <a:gd name="connsiteX11" fmla="*/ 1902 w 95112"/>
                      <a:gd name="connsiteY11" fmla="*/ 65832 h 81403"/>
                      <a:gd name="connsiteX12" fmla="*/ 1902 w 95112"/>
                      <a:gd name="connsiteY12" fmla="*/ 56689 h 81403"/>
                      <a:gd name="connsiteX13" fmla="*/ 29301 w 95112"/>
                      <a:gd name="connsiteY13" fmla="*/ 29290 h 81403"/>
                      <a:gd name="connsiteX14" fmla="*/ 15616 w 95112"/>
                      <a:gd name="connsiteY14" fmla="*/ 15605 h 81403"/>
                      <a:gd name="connsiteX15" fmla="*/ 14142 w 95112"/>
                      <a:gd name="connsiteY15" fmla="*/ 8763 h 81403"/>
                      <a:gd name="connsiteX16" fmla="*/ 19745 w 95112"/>
                      <a:gd name="connsiteY16" fmla="*/ 4575 h 81403"/>
                      <a:gd name="connsiteX17" fmla="*/ 88228 w 95112"/>
                      <a:gd name="connsiteY17" fmla="*/ 4 h 81403"/>
                      <a:gd name="connsiteX18" fmla="*/ 93212 w 95112"/>
                      <a:gd name="connsiteY18" fmla="*/ 1891 h 81403"/>
                      <a:gd name="connsiteX19" fmla="*/ 95100 w 95112"/>
                      <a:gd name="connsiteY19" fmla="*/ 6876 h 81403"/>
                      <a:gd name="connsiteX20" fmla="*/ 90528 w 95112"/>
                      <a:gd name="connsiteY20" fmla="*/ 75358 h 81403"/>
                      <a:gd name="connsiteX21" fmla="*/ 86370 w 95112"/>
                      <a:gd name="connsiteY21" fmla="*/ 80962 h 81403"/>
                      <a:gd name="connsiteX22" fmla="*/ 84099 w 95112"/>
                      <a:gd name="connsiteY22" fmla="*/ 81404 h 81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112" h="81403">
                        <a:moveTo>
                          <a:pt x="84099" y="81404"/>
                        </a:moveTo>
                        <a:cubicBezTo>
                          <a:pt x="82418" y="81404"/>
                          <a:pt x="80766" y="80755"/>
                          <a:pt x="79527" y="79516"/>
                        </a:cubicBezTo>
                        <a:lnTo>
                          <a:pt x="52129" y="52118"/>
                        </a:lnTo>
                        <a:cubicBezTo>
                          <a:pt x="49592" y="49581"/>
                          <a:pt x="49592" y="45511"/>
                          <a:pt x="52129" y="42975"/>
                        </a:cubicBezTo>
                        <a:cubicBezTo>
                          <a:pt x="54665" y="40438"/>
                          <a:pt x="58735" y="40438"/>
                          <a:pt x="61271" y="42975"/>
                        </a:cubicBezTo>
                        <a:lnTo>
                          <a:pt x="78613" y="60317"/>
                        </a:lnTo>
                        <a:lnTo>
                          <a:pt x="81739" y="13394"/>
                        </a:lnTo>
                        <a:lnTo>
                          <a:pt x="34816" y="16520"/>
                        </a:lnTo>
                        <a:lnTo>
                          <a:pt x="43015" y="24719"/>
                        </a:lnTo>
                        <a:cubicBezTo>
                          <a:pt x="45552" y="27255"/>
                          <a:pt x="45552" y="31325"/>
                          <a:pt x="43015" y="33862"/>
                        </a:cubicBezTo>
                        <a:lnTo>
                          <a:pt x="11045" y="65832"/>
                        </a:lnTo>
                        <a:cubicBezTo>
                          <a:pt x="8509" y="68368"/>
                          <a:pt x="4439" y="68368"/>
                          <a:pt x="1902" y="65832"/>
                        </a:cubicBezTo>
                        <a:cubicBezTo>
                          <a:pt x="-634" y="63295"/>
                          <a:pt x="-634" y="59225"/>
                          <a:pt x="1902" y="56689"/>
                        </a:cubicBezTo>
                        <a:lnTo>
                          <a:pt x="29301" y="29290"/>
                        </a:lnTo>
                        <a:lnTo>
                          <a:pt x="15616" y="15605"/>
                        </a:lnTo>
                        <a:cubicBezTo>
                          <a:pt x="13817" y="13806"/>
                          <a:pt x="13257" y="11152"/>
                          <a:pt x="14142" y="8763"/>
                        </a:cubicBezTo>
                        <a:cubicBezTo>
                          <a:pt x="15027" y="6404"/>
                          <a:pt x="17239" y="4752"/>
                          <a:pt x="19745" y="4575"/>
                        </a:cubicBezTo>
                        <a:lnTo>
                          <a:pt x="88228" y="4"/>
                        </a:lnTo>
                        <a:cubicBezTo>
                          <a:pt x="90086" y="-55"/>
                          <a:pt x="91914" y="564"/>
                          <a:pt x="93212" y="1891"/>
                        </a:cubicBezTo>
                        <a:cubicBezTo>
                          <a:pt x="94539" y="3218"/>
                          <a:pt x="95218" y="5018"/>
                          <a:pt x="95100" y="6876"/>
                        </a:cubicBezTo>
                        <a:lnTo>
                          <a:pt x="90528" y="75358"/>
                        </a:lnTo>
                        <a:cubicBezTo>
                          <a:pt x="90351" y="77894"/>
                          <a:pt x="88729" y="80077"/>
                          <a:pt x="86370" y="80962"/>
                        </a:cubicBezTo>
                        <a:cubicBezTo>
                          <a:pt x="85632" y="81257"/>
                          <a:pt x="84866" y="81404"/>
                          <a:pt x="84099" y="81404"/>
                        </a:cubicBezTo>
                        <a:close/>
                      </a:path>
                    </a:pathLst>
                  </a:custGeom>
                  <a:solidFill>
                    <a:schemeClr val="accent1"/>
                  </a:solidFill>
                  <a:ln w="2941" cap="flat">
                    <a:noFill/>
                    <a:prstDash val="solid"/>
                    <a:miter/>
                  </a:ln>
                </p:spPr>
                <p:txBody>
                  <a:bodyPr rtlCol="0" anchor="ctr"/>
                  <a:lstStyle/>
                  <a:p>
                    <a:endParaRPr lang="en-GB" dirty="0"/>
                  </a:p>
                </p:txBody>
              </p:sp>
            </p:grpSp>
            <p:grpSp>
              <p:nvGrpSpPr>
                <p:cNvPr id="182" name="Grafik 3">
                  <a:extLst>
                    <a:ext uri="{FF2B5EF4-FFF2-40B4-BE49-F238E27FC236}">
                      <a16:creationId xmlns:a16="http://schemas.microsoft.com/office/drawing/2014/main" id="{2A439A43-C770-4932-99A4-3B0DC1C278BF}"/>
                    </a:ext>
                  </a:extLst>
                </p:cNvPr>
                <p:cNvGrpSpPr/>
                <p:nvPr/>
              </p:nvGrpSpPr>
              <p:grpSpPr>
                <a:xfrm>
                  <a:off x="1204027" y="4337955"/>
                  <a:ext cx="117915" cy="136128"/>
                  <a:chOff x="1204027" y="4337955"/>
                  <a:chExt cx="117915" cy="136128"/>
                </a:xfrm>
                <a:solidFill>
                  <a:schemeClr val="accent1"/>
                </a:solidFill>
              </p:grpSpPr>
              <p:sp>
                <p:nvSpPr>
                  <p:cNvPr id="183" name="Freihandform: Form 424">
                    <a:extLst>
                      <a:ext uri="{FF2B5EF4-FFF2-40B4-BE49-F238E27FC236}">
                        <a16:creationId xmlns:a16="http://schemas.microsoft.com/office/drawing/2014/main" id="{952623A2-32F8-4234-A801-346DAF554210}"/>
                      </a:ext>
                    </a:extLst>
                  </p:cNvPr>
                  <p:cNvSpPr/>
                  <p:nvPr/>
                </p:nvSpPr>
                <p:spPr>
                  <a:xfrm>
                    <a:off x="1211666" y="4337955"/>
                    <a:ext cx="87483" cy="85902"/>
                  </a:xfrm>
                  <a:custGeom>
                    <a:avLst/>
                    <a:gdLst>
                      <a:gd name="connsiteX0" fmla="*/ 81006 w 87483"/>
                      <a:gd name="connsiteY0" fmla="*/ 85902 h 85902"/>
                      <a:gd name="connsiteX1" fmla="*/ 76494 w 87483"/>
                      <a:gd name="connsiteY1" fmla="*/ 84073 h 85902"/>
                      <a:gd name="connsiteX2" fmla="*/ 1936 w 87483"/>
                      <a:gd name="connsiteY2" fmla="*/ 11079 h 85902"/>
                      <a:gd name="connsiteX3" fmla="*/ 1847 w 87483"/>
                      <a:gd name="connsiteY3" fmla="*/ 1936 h 85902"/>
                      <a:gd name="connsiteX4" fmla="*/ 10990 w 87483"/>
                      <a:gd name="connsiteY4" fmla="*/ 1847 h 85902"/>
                      <a:gd name="connsiteX5" fmla="*/ 85548 w 87483"/>
                      <a:gd name="connsiteY5" fmla="*/ 74842 h 85902"/>
                      <a:gd name="connsiteX6" fmla="*/ 85636 w 87483"/>
                      <a:gd name="connsiteY6" fmla="*/ 83985 h 85902"/>
                      <a:gd name="connsiteX7" fmla="*/ 81006 w 87483"/>
                      <a:gd name="connsiteY7" fmla="*/ 85902 h 85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483" h="85902">
                        <a:moveTo>
                          <a:pt x="81006" y="85902"/>
                        </a:moveTo>
                        <a:cubicBezTo>
                          <a:pt x="79384" y="85902"/>
                          <a:pt x="77732" y="85283"/>
                          <a:pt x="76494" y="84073"/>
                        </a:cubicBezTo>
                        <a:lnTo>
                          <a:pt x="1936" y="11079"/>
                        </a:lnTo>
                        <a:cubicBezTo>
                          <a:pt x="-601" y="8572"/>
                          <a:pt x="-660" y="4502"/>
                          <a:pt x="1847" y="1936"/>
                        </a:cubicBezTo>
                        <a:cubicBezTo>
                          <a:pt x="4354" y="-600"/>
                          <a:pt x="8424" y="-660"/>
                          <a:pt x="10990" y="1847"/>
                        </a:cubicBezTo>
                        <a:lnTo>
                          <a:pt x="85548" y="74842"/>
                        </a:lnTo>
                        <a:cubicBezTo>
                          <a:pt x="88084" y="77349"/>
                          <a:pt x="88143" y="81419"/>
                          <a:pt x="85636" y="83985"/>
                        </a:cubicBezTo>
                        <a:cubicBezTo>
                          <a:pt x="84339" y="85253"/>
                          <a:pt x="82658" y="85902"/>
                          <a:pt x="81006" y="85902"/>
                        </a:cubicBezTo>
                        <a:close/>
                      </a:path>
                    </a:pathLst>
                  </a:custGeom>
                  <a:solidFill>
                    <a:schemeClr val="accent1"/>
                  </a:solidFill>
                  <a:ln w="2941" cap="flat">
                    <a:noFill/>
                    <a:prstDash val="solid"/>
                    <a:miter/>
                  </a:ln>
                </p:spPr>
                <p:txBody>
                  <a:bodyPr rtlCol="0" anchor="ctr"/>
                  <a:lstStyle/>
                  <a:p>
                    <a:endParaRPr lang="en-GB" dirty="0"/>
                  </a:p>
                </p:txBody>
              </p:sp>
              <p:sp>
                <p:nvSpPr>
                  <p:cNvPr id="184" name="Freihandform: Form 425">
                    <a:extLst>
                      <a:ext uri="{FF2B5EF4-FFF2-40B4-BE49-F238E27FC236}">
                        <a16:creationId xmlns:a16="http://schemas.microsoft.com/office/drawing/2014/main" id="{A18BD439-5C91-489D-91DE-A1E6773D0281}"/>
                      </a:ext>
                    </a:extLst>
                  </p:cNvPr>
                  <p:cNvSpPr/>
                  <p:nvPr/>
                </p:nvSpPr>
                <p:spPr>
                  <a:xfrm>
                    <a:off x="1204027" y="4383521"/>
                    <a:ext cx="18471" cy="18304"/>
                  </a:xfrm>
                  <a:custGeom>
                    <a:avLst/>
                    <a:gdLst>
                      <a:gd name="connsiteX0" fmla="*/ 11993 w 18471"/>
                      <a:gd name="connsiteY0" fmla="*/ 18305 h 18304"/>
                      <a:gd name="connsiteX1" fmla="*/ 7510 w 18471"/>
                      <a:gd name="connsiteY1" fmla="*/ 16476 h 18304"/>
                      <a:gd name="connsiteX2" fmla="*/ 1966 w 18471"/>
                      <a:gd name="connsiteY2" fmla="*/ 11108 h 18304"/>
                      <a:gd name="connsiteX3" fmla="*/ 1818 w 18471"/>
                      <a:gd name="connsiteY3" fmla="*/ 1966 h 18304"/>
                      <a:gd name="connsiteX4" fmla="*/ 10961 w 18471"/>
                      <a:gd name="connsiteY4" fmla="*/ 1818 h 18304"/>
                      <a:gd name="connsiteX5" fmla="*/ 16506 w 18471"/>
                      <a:gd name="connsiteY5" fmla="*/ 7186 h 18304"/>
                      <a:gd name="connsiteX6" fmla="*/ 16653 w 18471"/>
                      <a:gd name="connsiteY6" fmla="*/ 16329 h 18304"/>
                      <a:gd name="connsiteX7" fmla="*/ 11993 w 18471"/>
                      <a:gd name="connsiteY7" fmla="*/ 18305 h 1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71" h="18304">
                        <a:moveTo>
                          <a:pt x="11993" y="18305"/>
                        </a:moveTo>
                        <a:cubicBezTo>
                          <a:pt x="10371" y="18305"/>
                          <a:pt x="8749" y="17685"/>
                          <a:pt x="7510" y="16476"/>
                        </a:cubicBezTo>
                        <a:lnTo>
                          <a:pt x="1966" y="11108"/>
                        </a:lnTo>
                        <a:cubicBezTo>
                          <a:pt x="-600" y="8631"/>
                          <a:pt x="-659" y="4532"/>
                          <a:pt x="1818" y="1966"/>
                        </a:cubicBezTo>
                        <a:cubicBezTo>
                          <a:pt x="4296" y="-600"/>
                          <a:pt x="8395" y="-659"/>
                          <a:pt x="10961" y="1818"/>
                        </a:cubicBezTo>
                        <a:lnTo>
                          <a:pt x="16506" y="7186"/>
                        </a:lnTo>
                        <a:cubicBezTo>
                          <a:pt x="19072" y="9663"/>
                          <a:pt x="19131" y="13763"/>
                          <a:pt x="16653" y="16329"/>
                        </a:cubicBezTo>
                        <a:cubicBezTo>
                          <a:pt x="15355" y="17656"/>
                          <a:pt x="13674" y="18305"/>
                          <a:pt x="11993" y="18305"/>
                        </a:cubicBezTo>
                        <a:close/>
                      </a:path>
                    </a:pathLst>
                  </a:custGeom>
                  <a:solidFill>
                    <a:schemeClr val="accent1"/>
                  </a:solidFill>
                  <a:ln w="2941" cap="flat">
                    <a:noFill/>
                    <a:prstDash val="solid"/>
                    <a:miter/>
                  </a:ln>
                </p:spPr>
                <p:txBody>
                  <a:bodyPr rtlCol="0" anchor="ctr"/>
                  <a:lstStyle/>
                  <a:p>
                    <a:endParaRPr lang="en-GB" dirty="0"/>
                  </a:p>
                </p:txBody>
              </p:sp>
              <p:sp>
                <p:nvSpPr>
                  <p:cNvPr id="185" name="Freihandform: Form 426">
                    <a:extLst>
                      <a:ext uri="{FF2B5EF4-FFF2-40B4-BE49-F238E27FC236}">
                        <a16:creationId xmlns:a16="http://schemas.microsoft.com/office/drawing/2014/main" id="{1ED627FE-B080-4CF4-B136-54834CF81AF7}"/>
                      </a:ext>
                    </a:extLst>
                  </p:cNvPr>
                  <p:cNvSpPr/>
                  <p:nvPr/>
                </p:nvSpPr>
                <p:spPr>
                  <a:xfrm>
                    <a:off x="1226830" y="4392683"/>
                    <a:ext cx="95112" cy="81399"/>
                  </a:xfrm>
                  <a:custGeom>
                    <a:avLst/>
                    <a:gdLst>
                      <a:gd name="connsiteX0" fmla="*/ 88670 w 95112"/>
                      <a:gd name="connsiteY0" fmla="*/ 81400 h 81399"/>
                      <a:gd name="connsiteX1" fmla="*/ 88228 w 95112"/>
                      <a:gd name="connsiteY1" fmla="*/ 81400 h 81399"/>
                      <a:gd name="connsiteX2" fmla="*/ 19745 w 95112"/>
                      <a:gd name="connsiteY2" fmla="*/ 76828 h 81399"/>
                      <a:gd name="connsiteX3" fmla="*/ 14142 w 95112"/>
                      <a:gd name="connsiteY3" fmla="*/ 72640 h 81399"/>
                      <a:gd name="connsiteX4" fmla="*/ 15616 w 95112"/>
                      <a:gd name="connsiteY4" fmla="*/ 65798 h 81399"/>
                      <a:gd name="connsiteX5" fmla="*/ 29301 w 95112"/>
                      <a:gd name="connsiteY5" fmla="*/ 52113 h 81399"/>
                      <a:gd name="connsiteX6" fmla="*/ 1902 w 95112"/>
                      <a:gd name="connsiteY6" fmla="*/ 24715 h 81399"/>
                      <a:gd name="connsiteX7" fmla="*/ 1902 w 95112"/>
                      <a:gd name="connsiteY7" fmla="*/ 15572 h 81399"/>
                      <a:gd name="connsiteX8" fmla="*/ 11045 w 95112"/>
                      <a:gd name="connsiteY8" fmla="*/ 15572 h 81399"/>
                      <a:gd name="connsiteX9" fmla="*/ 43015 w 95112"/>
                      <a:gd name="connsiteY9" fmla="*/ 47542 h 81399"/>
                      <a:gd name="connsiteX10" fmla="*/ 43015 w 95112"/>
                      <a:gd name="connsiteY10" fmla="*/ 56685 h 81399"/>
                      <a:gd name="connsiteX11" fmla="*/ 34816 w 95112"/>
                      <a:gd name="connsiteY11" fmla="*/ 64884 h 81399"/>
                      <a:gd name="connsiteX12" fmla="*/ 81739 w 95112"/>
                      <a:gd name="connsiteY12" fmla="*/ 68010 h 81399"/>
                      <a:gd name="connsiteX13" fmla="*/ 78613 w 95112"/>
                      <a:gd name="connsiteY13" fmla="*/ 21087 h 81399"/>
                      <a:gd name="connsiteX14" fmla="*/ 61271 w 95112"/>
                      <a:gd name="connsiteY14" fmla="*/ 38429 h 81399"/>
                      <a:gd name="connsiteX15" fmla="*/ 52129 w 95112"/>
                      <a:gd name="connsiteY15" fmla="*/ 38429 h 81399"/>
                      <a:gd name="connsiteX16" fmla="*/ 52129 w 95112"/>
                      <a:gd name="connsiteY16" fmla="*/ 29286 h 81399"/>
                      <a:gd name="connsiteX17" fmla="*/ 79527 w 95112"/>
                      <a:gd name="connsiteY17" fmla="*/ 1887 h 81399"/>
                      <a:gd name="connsiteX18" fmla="*/ 86370 w 95112"/>
                      <a:gd name="connsiteY18" fmla="*/ 412 h 81399"/>
                      <a:gd name="connsiteX19" fmla="*/ 90528 w 95112"/>
                      <a:gd name="connsiteY19" fmla="*/ 6016 h 81399"/>
                      <a:gd name="connsiteX20" fmla="*/ 95100 w 95112"/>
                      <a:gd name="connsiteY20" fmla="*/ 74499 h 81399"/>
                      <a:gd name="connsiteX21" fmla="*/ 93212 w 95112"/>
                      <a:gd name="connsiteY21" fmla="*/ 79483 h 81399"/>
                      <a:gd name="connsiteX22" fmla="*/ 88670 w 95112"/>
                      <a:gd name="connsiteY22" fmla="*/ 81400 h 8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5112" h="81399">
                        <a:moveTo>
                          <a:pt x="88670" y="81400"/>
                        </a:moveTo>
                        <a:cubicBezTo>
                          <a:pt x="88523" y="81400"/>
                          <a:pt x="88375" y="81400"/>
                          <a:pt x="88228" y="81400"/>
                        </a:cubicBezTo>
                        <a:lnTo>
                          <a:pt x="19745" y="76828"/>
                        </a:lnTo>
                        <a:cubicBezTo>
                          <a:pt x="17209" y="76651"/>
                          <a:pt x="15027" y="75029"/>
                          <a:pt x="14142" y="72640"/>
                        </a:cubicBezTo>
                        <a:cubicBezTo>
                          <a:pt x="13257" y="70252"/>
                          <a:pt x="13817" y="67597"/>
                          <a:pt x="15616" y="65798"/>
                        </a:cubicBezTo>
                        <a:lnTo>
                          <a:pt x="29301" y="52113"/>
                        </a:lnTo>
                        <a:lnTo>
                          <a:pt x="1902" y="24715"/>
                        </a:lnTo>
                        <a:cubicBezTo>
                          <a:pt x="-634" y="22178"/>
                          <a:pt x="-634" y="18108"/>
                          <a:pt x="1902" y="15572"/>
                        </a:cubicBezTo>
                        <a:cubicBezTo>
                          <a:pt x="4439" y="13035"/>
                          <a:pt x="8509" y="13035"/>
                          <a:pt x="11045" y="15572"/>
                        </a:cubicBezTo>
                        <a:lnTo>
                          <a:pt x="43015" y="47542"/>
                        </a:lnTo>
                        <a:cubicBezTo>
                          <a:pt x="45552" y="50078"/>
                          <a:pt x="45552" y="54148"/>
                          <a:pt x="43015" y="56685"/>
                        </a:cubicBezTo>
                        <a:lnTo>
                          <a:pt x="34816" y="64884"/>
                        </a:lnTo>
                        <a:lnTo>
                          <a:pt x="81739" y="68010"/>
                        </a:lnTo>
                        <a:lnTo>
                          <a:pt x="78613" y="21087"/>
                        </a:lnTo>
                        <a:lnTo>
                          <a:pt x="61271" y="38429"/>
                        </a:lnTo>
                        <a:cubicBezTo>
                          <a:pt x="58735" y="40965"/>
                          <a:pt x="54665" y="40965"/>
                          <a:pt x="52129" y="38429"/>
                        </a:cubicBezTo>
                        <a:cubicBezTo>
                          <a:pt x="49592" y="35892"/>
                          <a:pt x="49592" y="31822"/>
                          <a:pt x="52129" y="29286"/>
                        </a:cubicBezTo>
                        <a:lnTo>
                          <a:pt x="79527" y="1887"/>
                        </a:lnTo>
                        <a:cubicBezTo>
                          <a:pt x="81326" y="88"/>
                          <a:pt x="84010" y="-472"/>
                          <a:pt x="86370" y="412"/>
                        </a:cubicBezTo>
                        <a:cubicBezTo>
                          <a:pt x="88759" y="1297"/>
                          <a:pt x="90381" y="3509"/>
                          <a:pt x="90528" y="6016"/>
                        </a:cubicBezTo>
                        <a:lnTo>
                          <a:pt x="95100" y="74499"/>
                        </a:lnTo>
                        <a:cubicBezTo>
                          <a:pt x="95218" y="76356"/>
                          <a:pt x="94539" y="78185"/>
                          <a:pt x="93212" y="79483"/>
                        </a:cubicBezTo>
                        <a:cubicBezTo>
                          <a:pt x="92003" y="80721"/>
                          <a:pt x="90351" y="81400"/>
                          <a:pt x="88670" y="81400"/>
                        </a:cubicBezTo>
                        <a:close/>
                      </a:path>
                    </a:pathLst>
                  </a:custGeom>
                  <a:solidFill>
                    <a:schemeClr val="accent1"/>
                  </a:solidFill>
                  <a:ln w="2941" cap="flat">
                    <a:noFill/>
                    <a:prstDash val="solid"/>
                    <a:miter/>
                  </a:ln>
                </p:spPr>
                <p:txBody>
                  <a:bodyPr rtlCol="0" anchor="ctr"/>
                  <a:lstStyle/>
                  <a:p>
                    <a:endParaRPr lang="en-GB" dirty="0"/>
                  </a:p>
                </p:txBody>
              </p:sp>
            </p:grpSp>
          </p:grpSp>
          <p:grpSp>
            <p:nvGrpSpPr>
              <p:cNvPr id="172" name="Grafik 3">
                <a:extLst>
                  <a:ext uri="{FF2B5EF4-FFF2-40B4-BE49-F238E27FC236}">
                    <a16:creationId xmlns:a16="http://schemas.microsoft.com/office/drawing/2014/main" id="{1282AC5D-29EB-44FE-A6BD-6B0021C047FE}"/>
                  </a:ext>
                </a:extLst>
              </p:cNvPr>
              <p:cNvGrpSpPr/>
              <p:nvPr/>
            </p:nvGrpSpPr>
            <p:grpSpPr>
              <a:xfrm>
                <a:off x="894064" y="4106245"/>
                <a:ext cx="117984" cy="367867"/>
                <a:chOff x="894064" y="4106245"/>
                <a:chExt cx="117984" cy="367867"/>
              </a:xfrm>
              <a:solidFill>
                <a:schemeClr val="accent1"/>
              </a:solidFill>
            </p:grpSpPr>
            <p:grpSp>
              <p:nvGrpSpPr>
                <p:cNvPr id="173" name="Grafik 3">
                  <a:extLst>
                    <a:ext uri="{FF2B5EF4-FFF2-40B4-BE49-F238E27FC236}">
                      <a16:creationId xmlns:a16="http://schemas.microsoft.com/office/drawing/2014/main" id="{069C9CF2-BA3E-46F0-A55B-5FBCAB00378D}"/>
                    </a:ext>
                  </a:extLst>
                </p:cNvPr>
                <p:cNvGrpSpPr/>
                <p:nvPr/>
              </p:nvGrpSpPr>
              <p:grpSpPr>
                <a:xfrm>
                  <a:off x="894094" y="4106245"/>
                  <a:ext cx="117940" cy="128032"/>
                  <a:chOff x="894094" y="4106245"/>
                  <a:chExt cx="117940" cy="128032"/>
                </a:xfrm>
                <a:solidFill>
                  <a:schemeClr val="accent1"/>
                </a:solidFill>
              </p:grpSpPr>
              <p:sp>
                <p:nvSpPr>
                  <p:cNvPr id="178" name="Freihandform: Form 429">
                    <a:extLst>
                      <a:ext uri="{FF2B5EF4-FFF2-40B4-BE49-F238E27FC236}">
                        <a16:creationId xmlns:a16="http://schemas.microsoft.com/office/drawing/2014/main" id="{A5558CDA-1771-42A1-9D11-5CC6B9FF5D78}"/>
                      </a:ext>
                    </a:extLst>
                  </p:cNvPr>
                  <p:cNvSpPr/>
                  <p:nvPr/>
                </p:nvSpPr>
                <p:spPr>
                  <a:xfrm>
                    <a:off x="916915" y="4156426"/>
                    <a:ext cx="80052" cy="77850"/>
                  </a:xfrm>
                  <a:custGeom>
                    <a:avLst/>
                    <a:gdLst>
                      <a:gd name="connsiteX0" fmla="*/ 73574 w 80052"/>
                      <a:gd name="connsiteY0" fmla="*/ 77851 h 77850"/>
                      <a:gd name="connsiteX1" fmla="*/ 69091 w 80052"/>
                      <a:gd name="connsiteY1" fmla="*/ 76022 h 77850"/>
                      <a:gd name="connsiteX2" fmla="*/ 1966 w 80052"/>
                      <a:gd name="connsiteY2" fmla="*/ 11108 h 77850"/>
                      <a:gd name="connsiteX3" fmla="*/ 1818 w 80052"/>
                      <a:gd name="connsiteY3" fmla="*/ 1966 h 77850"/>
                      <a:gd name="connsiteX4" fmla="*/ 10961 w 80052"/>
                      <a:gd name="connsiteY4" fmla="*/ 1818 h 77850"/>
                      <a:gd name="connsiteX5" fmla="*/ 78087 w 80052"/>
                      <a:gd name="connsiteY5" fmla="*/ 66732 h 77850"/>
                      <a:gd name="connsiteX6" fmla="*/ 78234 w 80052"/>
                      <a:gd name="connsiteY6" fmla="*/ 75875 h 77850"/>
                      <a:gd name="connsiteX7" fmla="*/ 73574 w 80052"/>
                      <a:gd name="connsiteY7" fmla="*/ 77851 h 77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052" h="77850">
                        <a:moveTo>
                          <a:pt x="73574" y="77851"/>
                        </a:moveTo>
                        <a:cubicBezTo>
                          <a:pt x="71952" y="77851"/>
                          <a:pt x="70330" y="77231"/>
                          <a:pt x="69091" y="76022"/>
                        </a:cubicBezTo>
                        <a:lnTo>
                          <a:pt x="1966" y="11108"/>
                        </a:lnTo>
                        <a:cubicBezTo>
                          <a:pt x="-600" y="8631"/>
                          <a:pt x="-659" y="4532"/>
                          <a:pt x="1818" y="1966"/>
                        </a:cubicBezTo>
                        <a:cubicBezTo>
                          <a:pt x="4296" y="-600"/>
                          <a:pt x="8395" y="-659"/>
                          <a:pt x="10961" y="1818"/>
                        </a:cubicBezTo>
                        <a:lnTo>
                          <a:pt x="78087" y="66732"/>
                        </a:lnTo>
                        <a:cubicBezTo>
                          <a:pt x="80653" y="69209"/>
                          <a:pt x="80712" y="73309"/>
                          <a:pt x="78234" y="75875"/>
                        </a:cubicBezTo>
                        <a:cubicBezTo>
                          <a:pt x="76936" y="77202"/>
                          <a:pt x="75255" y="77851"/>
                          <a:pt x="73574" y="77851"/>
                        </a:cubicBezTo>
                        <a:close/>
                      </a:path>
                    </a:pathLst>
                  </a:custGeom>
                  <a:solidFill>
                    <a:schemeClr val="accent1"/>
                  </a:solidFill>
                  <a:ln w="2941" cap="flat">
                    <a:noFill/>
                    <a:prstDash val="solid"/>
                    <a:miter/>
                  </a:ln>
                </p:spPr>
                <p:txBody>
                  <a:bodyPr rtlCol="0" anchor="ctr"/>
                  <a:lstStyle/>
                  <a:p>
                    <a:endParaRPr lang="en-GB" dirty="0"/>
                  </a:p>
                </p:txBody>
              </p:sp>
              <p:sp>
                <p:nvSpPr>
                  <p:cNvPr id="179" name="Freihandform: Form 430">
                    <a:extLst>
                      <a:ext uri="{FF2B5EF4-FFF2-40B4-BE49-F238E27FC236}">
                        <a16:creationId xmlns:a16="http://schemas.microsoft.com/office/drawing/2014/main" id="{6283AE95-66F0-40A4-9501-E9AA662A745A}"/>
                      </a:ext>
                    </a:extLst>
                  </p:cNvPr>
                  <p:cNvSpPr/>
                  <p:nvPr/>
                </p:nvSpPr>
                <p:spPr>
                  <a:xfrm>
                    <a:off x="994515" y="4179229"/>
                    <a:ext cx="17518" cy="17504"/>
                  </a:xfrm>
                  <a:custGeom>
                    <a:avLst/>
                    <a:gdLst>
                      <a:gd name="connsiteX0" fmla="*/ 11045 w 17518"/>
                      <a:gd name="connsiteY0" fmla="*/ 17504 h 17504"/>
                      <a:gd name="connsiteX1" fmla="*/ 6474 w 17518"/>
                      <a:gd name="connsiteY1" fmla="*/ 15616 h 17504"/>
                      <a:gd name="connsiteX2" fmla="*/ 1902 w 17518"/>
                      <a:gd name="connsiteY2" fmla="*/ 11045 h 17504"/>
                      <a:gd name="connsiteX3" fmla="*/ 1902 w 17518"/>
                      <a:gd name="connsiteY3" fmla="*/ 1902 h 17504"/>
                      <a:gd name="connsiteX4" fmla="*/ 11045 w 17518"/>
                      <a:gd name="connsiteY4" fmla="*/ 1902 h 17504"/>
                      <a:gd name="connsiteX5" fmla="*/ 15616 w 17518"/>
                      <a:gd name="connsiteY5" fmla="*/ 6474 h 17504"/>
                      <a:gd name="connsiteX6" fmla="*/ 15616 w 17518"/>
                      <a:gd name="connsiteY6" fmla="*/ 15616 h 17504"/>
                      <a:gd name="connsiteX7" fmla="*/ 11045 w 17518"/>
                      <a:gd name="connsiteY7" fmla="*/ 17504 h 1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518" h="17504">
                        <a:moveTo>
                          <a:pt x="11045" y="17504"/>
                        </a:moveTo>
                        <a:cubicBezTo>
                          <a:pt x="9393" y="17504"/>
                          <a:pt x="7742" y="16885"/>
                          <a:pt x="6474" y="15616"/>
                        </a:cubicBezTo>
                        <a:lnTo>
                          <a:pt x="1902" y="11045"/>
                        </a:lnTo>
                        <a:cubicBezTo>
                          <a:pt x="-634" y="8509"/>
                          <a:pt x="-634" y="4439"/>
                          <a:pt x="1902" y="1902"/>
                        </a:cubicBezTo>
                        <a:cubicBezTo>
                          <a:pt x="4439" y="-634"/>
                          <a:pt x="8509" y="-634"/>
                          <a:pt x="11045" y="1902"/>
                        </a:cubicBezTo>
                        <a:lnTo>
                          <a:pt x="15616" y="6474"/>
                        </a:lnTo>
                        <a:cubicBezTo>
                          <a:pt x="18153" y="9010"/>
                          <a:pt x="18153" y="13080"/>
                          <a:pt x="15616" y="15616"/>
                        </a:cubicBezTo>
                        <a:cubicBezTo>
                          <a:pt x="14348" y="16885"/>
                          <a:pt x="12697" y="17504"/>
                          <a:pt x="11045" y="17504"/>
                        </a:cubicBezTo>
                        <a:close/>
                      </a:path>
                    </a:pathLst>
                  </a:custGeom>
                  <a:solidFill>
                    <a:schemeClr val="accent1"/>
                  </a:solidFill>
                  <a:ln w="2941" cap="flat">
                    <a:noFill/>
                    <a:prstDash val="solid"/>
                    <a:miter/>
                  </a:ln>
                </p:spPr>
                <p:txBody>
                  <a:bodyPr rtlCol="0" anchor="ctr"/>
                  <a:lstStyle/>
                  <a:p>
                    <a:endParaRPr lang="en-GB" dirty="0"/>
                  </a:p>
                </p:txBody>
              </p:sp>
              <p:sp>
                <p:nvSpPr>
                  <p:cNvPr id="180" name="Freihandform: Form 431">
                    <a:extLst>
                      <a:ext uri="{FF2B5EF4-FFF2-40B4-BE49-F238E27FC236}">
                        <a16:creationId xmlns:a16="http://schemas.microsoft.com/office/drawing/2014/main" id="{98B8CCF2-E470-4097-AC77-28A5C77CDE0C}"/>
                      </a:ext>
                    </a:extLst>
                  </p:cNvPr>
                  <p:cNvSpPr/>
                  <p:nvPr/>
                </p:nvSpPr>
                <p:spPr>
                  <a:xfrm>
                    <a:off x="894094" y="4106245"/>
                    <a:ext cx="95112" cy="81374"/>
                  </a:xfrm>
                  <a:custGeom>
                    <a:avLst/>
                    <a:gdLst>
                      <a:gd name="connsiteX0" fmla="*/ 11014 w 95112"/>
                      <a:gd name="connsiteY0" fmla="*/ 81374 h 81374"/>
                      <a:gd name="connsiteX1" fmla="*/ 8743 w 95112"/>
                      <a:gd name="connsiteY1" fmla="*/ 80962 h 81374"/>
                      <a:gd name="connsiteX2" fmla="*/ 4585 w 95112"/>
                      <a:gd name="connsiteY2" fmla="*/ 75358 h 81374"/>
                      <a:gd name="connsiteX3" fmla="*/ 13 w 95112"/>
                      <a:gd name="connsiteY3" fmla="*/ 6876 h 81374"/>
                      <a:gd name="connsiteX4" fmla="*/ 1901 w 95112"/>
                      <a:gd name="connsiteY4" fmla="*/ 1891 h 81374"/>
                      <a:gd name="connsiteX5" fmla="*/ 6885 w 95112"/>
                      <a:gd name="connsiteY5" fmla="*/ 4 h 81374"/>
                      <a:gd name="connsiteX6" fmla="*/ 75367 w 95112"/>
                      <a:gd name="connsiteY6" fmla="*/ 4575 h 81374"/>
                      <a:gd name="connsiteX7" fmla="*/ 80971 w 95112"/>
                      <a:gd name="connsiteY7" fmla="*/ 8763 h 81374"/>
                      <a:gd name="connsiteX8" fmla="*/ 79496 w 95112"/>
                      <a:gd name="connsiteY8" fmla="*/ 15605 h 81374"/>
                      <a:gd name="connsiteX9" fmla="*/ 65812 w 95112"/>
                      <a:gd name="connsiteY9" fmla="*/ 29290 h 81374"/>
                      <a:gd name="connsiteX10" fmla="*/ 93210 w 95112"/>
                      <a:gd name="connsiteY10" fmla="*/ 56689 h 81374"/>
                      <a:gd name="connsiteX11" fmla="*/ 93210 w 95112"/>
                      <a:gd name="connsiteY11" fmla="*/ 65832 h 81374"/>
                      <a:gd name="connsiteX12" fmla="*/ 84068 w 95112"/>
                      <a:gd name="connsiteY12" fmla="*/ 65832 h 81374"/>
                      <a:gd name="connsiteX13" fmla="*/ 52097 w 95112"/>
                      <a:gd name="connsiteY13" fmla="*/ 33862 h 81374"/>
                      <a:gd name="connsiteX14" fmla="*/ 50210 w 95112"/>
                      <a:gd name="connsiteY14" fmla="*/ 29290 h 81374"/>
                      <a:gd name="connsiteX15" fmla="*/ 52097 w 95112"/>
                      <a:gd name="connsiteY15" fmla="*/ 24719 h 81374"/>
                      <a:gd name="connsiteX16" fmla="*/ 60296 w 95112"/>
                      <a:gd name="connsiteY16" fmla="*/ 16520 h 81374"/>
                      <a:gd name="connsiteX17" fmla="*/ 13373 w 95112"/>
                      <a:gd name="connsiteY17" fmla="*/ 13394 h 81374"/>
                      <a:gd name="connsiteX18" fmla="*/ 16500 w 95112"/>
                      <a:gd name="connsiteY18" fmla="*/ 60317 h 81374"/>
                      <a:gd name="connsiteX19" fmla="*/ 33841 w 95112"/>
                      <a:gd name="connsiteY19" fmla="*/ 42975 h 81374"/>
                      <a:gd name="connsiteX20" fmla="*/ 42984 w 95112"/>
                      <a:gd name="connsiteY20" fmla="*/ 42975 h 81374"/>
                      <a:gd name="connsiteX21" fmla="*/ 42984 w 95112"/>
                      <a:gd name="connsiteY21" fmla="*/ 52118 h 81374"/>
                      <a:gd name="connsiteX22" fmla="*/ 15585 w 95112"/>
                      <a:gd name="connsiteY22" fmla="*/ 79487 h 81374"/>
                      <a:gd name="connsiteX23" fmla="*/ 11014 w 95112"/>
                      <a:gd name="connsiteY23" fmla="*/ 81374 h 81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5112" h="81374">
                        <a:moveTo>
                          <a:pt x="11014" y="81374"/>
                        </a:moveTo>
                        <a:cubicBezTo>
                          <a:pt x="10247" y="81374"/>
                          <a:pt x="9480" y="81257"/>
                          <a:pt x="8743" y="80962"/>
                        </a:cubicBezTo>
                        <a:cubicBezTo>
                          <a:pt x="6354" y="80077"/>
                          <a:pt x="4732" y="77865"/>
                          <a:pt x="4585" y="75358"/>
                        </a:cubicBezTo>
                        <a:lnTo>
                          <a:pt x="13" y="6876"/>
                        </a:lnTo>
                        <a:cubicBezTo>
                          <a:pt x="-105" y="5017"/>
                          <a:pt x="574" y="3189"/>
                          <a:pt x="1901" y="1891"/>
                        </a:cubicBezTo>
                        <a:cubicBezTo>
                          <a:pt x="3198" y="564"/>
                          <a:pt x="5056" y="-55"/>
                          <a:pt x="6885" y="4"/>
                        </a:cubicBezTo>
                        <a:lnTo>
                          <a:pt x="75367" y="4575"/>
                        </a:lnTo>
                        <a:cubicBezTo>
                          <a:pt x="77904" y="4752"/>
                          <a:pt x="80086" y="6374"/>
                          <a:pt x="80971" y="8763"/>
                        </a:cubicBezTo>
                        <a:cubicBezTo>
                          <a:pt x="81856" y="11123"/>
                          <a:pt x="81295" y="13806"/>
                          <a:pt x="79496" y="15605"/>
                        </a:cubicBezTo>
                        <a:lnTo>
                          <a:pt x="65812" y="29290"/>
                        </a:lnTo>
                        <a:lnTo>
                          <a:pt x="93210" y="56689"/>
                        </a:lnTo>
                        <a:cubicBezTo>
                          <a:pt x="95747" y="59225"/>
                          <a:pt x="95747" y="63295"/>
                          <a:pt x="93210" y="65832"/>
                        </a:cubicBezTo>
                        <a:cubicBezTo>
                          <a:pt x="90674" y="68368"/>
                          <a:pt x="86604" y="68368"/>
                          <a:pt x="84068" y="65832"/>
                        </a:cubicBezTo>
                        <a:lnTo>
                          <a:pt x="52097" y="33862"/>
                        </a:lnTo>
                        <a:cubicBezTo>
                          <a:pt x="50888" y="32652"/>
                          <a:pt x="50210" y="31001"/>
                          <a:pt x="50210" y="29290"/>
                        </a:cubicBezTo>
                        <a:cubicBezTo>
                          <a:pt x="50210" y="27580"/>
                          <a:pt x="50888" y="25928"/>
                          <a:pt x="52097" y="24719"/>
                        </a:cubicBezTo>
                        <a:lnTo>
                          <a:pt x="60296" y="16520"/>
                        </a:lnTo>
                        <a:lnTo>
                          <a:pt x="13373" y="13394"/>
                        </a:lnTo>
                        <a:lnTo>
                          <a:pt x="16500" y="60317"/>
                        </a:lnTo>
                        <a:lnTo>
                          <a:pt x="33841" y="42975"/>
                        </a:lnTo>
                        <a:cubicBezTo>
                          <a:pt x="36378" y="40438"/>
                          <a:pt x="40448" y="40438"/>
                          <a:pt x="42984" y="42975"/>
                        </a:cubicBezTo>
                        <a:cubicBezTo>
                          <a:pt x="45521" y="45511"/>
                          <a:pt x="45521" y="49581"/>
                          <a:pt x="42984" y="52118"/>
                        </a:cubicBezTo>
                        <a:lnTo>
                          <a:pt x="15585" y="79487"/>
                        </a:lnTo>
                        <a:cubicBezTo>
                          <a:pt x="14347" y="80726"/>
                          <a:pt x="12695" y="81374"/>
                          <a:pt x="11014" y="81374"/>
                        </a:cubicBezTo>
                        <a:close/>
                      </a:path>
                    </a:pathLst>
                  </a:custGeom>
                  <a:solidFill>
                    <a:schemeClr val="accent1"/>
                  </a:solidFill>
                  <a:ln w="2941" cap="flat">
                    <a:noFill/>
                    <a:prstDash val="solid"/>
                    <a:miter/>
                  </a:ln>
                </p:spPr>
                <p:txBody>
                  <a:bodyPr rtlCol="0" anchor="ctr"/>
                  <a:lstStyle/>
                  <a:p>
                    <a:endParaRPr lang="en-GB" dirty="0"/>
                  </a:p>
                </p:txBody>
              </p:sp>
            </p:grpSp>
            <p:grpSp>
              <p:nvGrpSpPr>
                <p:cNvPr id="174" name="Grafik 3">
                  <a:extLst>
                    <a:ext uri="{FF2B5EF4-FFF2-40B4-BE49-F238E27FC236}">
                      <a16:creationId xmlns:a16="http://schemas.microsoft.com/office/drawing/2014/main" id="{CC178336-109A-4CD1-863D-FF0CAE4C6E7B}"/>
                    </a:ext>
                  </a:extLst>
                </p:cNvPr>
                <p:cNvGrpSpPr/>
                <p:nvPr/>
              </p:nvGrpSpPr>
              <p:grpSpPr>
                <a:xfrm>
                  <a:off x="894064" y="4346209"/>
                  <a:ext cx="117984" cy="127903"/>
                  <a:chOff x="894064" y="4346209"/>
                  <a:chExt cx="117984" cy="127903"/>
                </a:xfrm>
                <a:solidFill>
                  <a:schemeClr val="accent1"/>
                </a:solidFill>
              </p:grpSpPr>
              <p:sp>
                <p:nvSpPr>
                  <p:cNvPr id="175" name="Freihandform: Form 433">
                    <a:extLst>
                      <a:ext uri="{FF2B5EF4-FFF2-40B4-BE49-F238E27FC236}">
                        <a16:creationId xmlns:a16="http://schemas.microsoft.com/office/drawing/2014/main" id="{11F99973-AD36-4359-BAAF-2E0B0FED7BD2}"/>
                      </a:ext>
                    </a:extLst>
                  </p:cNvPr>
                  <p:cNvSpPr/>
                  <p:nvPr/>
                </p:nvSpPr>
                <p:spPr>
                  <a:xfrm>
                    <a:off x="916911" y="4346209"/>
                    <a:ext cx="79469" cy="77647"/>
                  </a:xfrm>
                  <a:custGeom>
                    <a:avLst/>
                    <a:gdLst>
                      <a:gd name="connsiteX0" fmla="*/ 6452 w 79469"/>
                      <a:gd name="connsiteY0" fmla="*/ 77648 h 77647"/>
                      <a:gd name="connsiteX1" fmla="*/ 1822 w 79469"/>
                      <a:gd name="connsiteY1" fmla="*/ 75701 h 77647"/>
                      <a:gd name="connsiteX2" fmla="*/ 1940 w 79469"/>
                      <a:gd name="connsiteY2" fmla="*/ 66559 h 77647"/>
                      <a:gd name="connsiteX3" fmla="*/ 68505 w 79469"/>
                      <a:gd name="connsiteY3" fmla="*/ 1822 h 77647"/>
                      <a:gd name="connsiteX4" fmla="*/ 77648 w 79469"/>
                      <a:gd name="connsiteY4" fmla="*/ 1940 h 77647"/>
                      <a:gd name="connsiteX5" fmla="*/ 77530 w 79469"/>
                      <a:gd name="connsiteY5" fmla="*/ 11083 h 77647"/>
                      <a:gd name="connsiteX6" fmla="*/ 10965 w 79469"/>
                      <a:gd name="connsiteY6" fmla="*/ 75819 h 77647"/>
                      <a:gd name="connsiteX7" fmla="*/ 6452 w 79469"/>
                      <a:gd name="connsiteY7" fmla="*/ 77648 h 77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469" h="77647">
                        <a:moveTo>
                          <a:pt x="6452" y="77648"/>
                        </a:moveTo>
                        <a:cubicBezTo>
                          <a:pt x="4771" y="77648"/>
                          <a:pt x="3090" y="76999"/>
                          <a:pt x="1822" y="75701"/>
                        </a:cubicBezTo>
                        <a:cubicBezTo>
                          <a:pt x="-656" y="73135"/>
                          <a:pt x="-597" y="69065"/>
                          <a:pt x="1940" y="66559"/>
                        </a:cubicBezTo>
                        <a:lnTo>
                          <a:pt x="68505" y="1822"/>
                        </a:lnTo>
                        <a:cubicBezTo>
                          <a:pt x="71071" y="-656"/>
                          <a:pt x="75141" y="-597"/>
                          <a:pt x="77648" y="1940"/>
                        </a:cubicBezTo>
                        <a:cubicBezTo>
                          <a:pt x="80125" y="4506"/>
                          <a:pt x="80066" y="8576"/>
                          <a:pt x="77530" y="11083"/>
                        </a:cubicBezTo>
                        <a:lnTo>
                          <a:pt x="10965" y="75819"/>
                        </a:lnTo>
                        <a:cubicBezTo>
                          <a:pt x="9726" y="77029"/>
                          <a:pt x="8074" y="77648"/>
                          <a:pt x="6452" y="77648"/>
                        </a:cubicBezTo>
                        <a:close/>
                      </a:path>
                    </a:pathLst>
                  </a:custGeom>
                  <a:solidFill>
                    <a:schemeClr val="accent1"/>
                  </a:solidFill>
                  <a:ln w="2941" cap="flat">
                    <a:noFill/>
                    <a:prstDash val="solid"/>
                    <a:miter/>
                  </a:ln>
                </p:spPr>
                <p:txBody>
                  <a:bodyPr rtlCol="0" anchor="ctr"/>
                  <a:lstStyle/>
                  <a:p>
                    <a:endParaRPr lang="en-GB" dirty="0"/>
                  </a:p>
                </p:txBody>
              </p:sp>
              <p:sp>
                <p:nvSpPr>
                  <p:cNvPr id="176" name="Freihandform: Form 434">
                    <a:extLst>
                      <a:ext uri="{FF2B5EF4-FFF2-40B4-BE49-F238E27FC236}">
                        <a16:creationId xmlns:a16="http://schemas.microsoft.com/office/drawing/2014/main" id="{9EEAA299-1920-432B-97F9-34980AD21D2A}"/>
                      </a:ext>
                    </a:extLst>
                  </p:cNvPr>
                  <p:cNvSpPr/>
                  <p:nvPr/>
                </p:nvSpPr>
                <p:spPr>
                  <a:xfrm>
                    <a:off x="993645" y="4383540"/>
                    <a:ext cx="18404" cy="18285"/>
                  </a:xfrm>
                  <a:custGeom>
                    <a:avLst/>
                    <a:gdLst>
                      <a:gd name="connsiteX0" fmla="*/ 6459 w 18404"/>
                      <a:gd name="connsiteY0" fmla="*/ 18286 h 18285"/>
                      <a:gd name="connsiteX1" fmla="*/ 1858 w 18404"/>
                      <a:gd name="connsiteY1" fmla="*/ 16369 h 18285"/>
                      <a:gd name="connsiteX2" fmla="*/ 1947 w 18404"/>
                      <a:gd name="connsiteY2" fmla="*/ 7226 h 18285"/>
                      <a:gd name="connsiteX3" fmla="*/ 7403 w 18404"/>
                      <a:gd name="connsiteY3" fmla="*/ 1858 h 18285"/>
                      <a:gd name="connsiteX4" fmla="*/ 16546 w 18404"/>
                      <a:gd name="connsiteY4" fmla="*/ 1947 h 18285"/>
                      <a:gd name="connsiteX5" fmla="*/ 16457 w 18404"/>
                      <a:gd name="connsiteY5" fmla="*/ 11089 h 18285"/>
                      <a:gd name="connsiteX6" fmla="*/ 11001 w 18404"/>
                      <a:gd name="connsiteY6" fmla="*/ 16457 h 18285"/>
                      <a:gd name="connsiteX7" fmla="*/ 6459 w 18404"/>
                      <a:gd name="connsiteY7" fmla="*/ 18286 h 1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404" h="18285">
                        <a:moveTo>
                          <a:pt x="6459" y="18286"/>
                        </a:moveTo>
                        <a:cubicBezTo>
                          <a:pt x="4778" y="18286"/>
                          <a:pt x="3126" y="17637"/>
                          <a:pt x="1858" y="16369"/>
                        </a:cubicBezTo>
                        <a:cubicBezTo>
                          <a:pt x="-649" y="13832"/>
                          <a:pt x="-619" y="9733"/>
                          <a:pt x="1947" y="7226"/>
                        </a:cubicBezTo>
                        <a:lnTo>
                          <a:pt x="7403" y="1858"/>
                        </a:lnTo>
                        <a:cubicBezTo>
                          <a:pt x="9939" y="-649"/>
                          <a:pt x="14039" y="-619"/>
                          <a:pt x="16546" y="1947"/>
                        </a:cubicBezTo>
                        <a:cubicBezTo>
                          <a:pt x="19053" y="4483"/>
                          <a:pt x="19023" y="8583"/>
                          <a:pt x="16457" y="11089"/>
                        </a:cubicBezTo>
                        <a:lnTo>
                          <a:pt x="11001" y="16457"/>
                        </a:lnTo>
                        <a:cubicBezTo>
                          <a:pt x="9733" y="17666"/>
                          <a:pt x="8111" y="18286"/>
                          <a:pt x="6459" y="18286"/>
                        </a:cubicBezTo>
                        <a:close/>
                      </a:path>
                    </a:pathLst>
                  </a:custGeom>
                  <a:solidFill>
                    <a:schemeClr val="accent1"/>
                  </a:solidFill>
                  <a:ln w="2941" cap="flat">
                    <a:noFill/>
                    <a:prstDash val="solid"/>
                    <a:miter/>
                  </a:ln>
                </p:spPr>
                <p:txBody>
                  <a:bodyPr rtlCol="0" anchor="ctr"/>
                  <a:lstStyle/>
                  <a:p>
                    <a:endParaRPr lang="en-GB" dirty="0"/>
                  </a:p>
                </p:txBody>
              </p:sp>
              <p:sp>
                <p:nvSpPr>
                  <p:cNvPr id="177" name="Freihandform: Form 435">
                    <a:extLst>
                      <a:ext uri="{FF2B5EF4-FFF2-40B4-BE49-F238E27FC236}">
                        <a16:creationId xmlns:a16="http://schemas.microsoft.com/office/drawing/2014/main" id="{1E5B7340-5D13-4BA8-AE97-ADEAA7400EFB}"/>
                      </a:ext>
                    </a:extLst>
                  </p:cNvPr>
                  <p:cNvSpPr/>
                  <p:nvPr/>
                </p:nvSpPr>
                <p:spPr>
                  <a:xfrm>
                    <a:off x="894064" y="4392713"/>
                    <a:ext cx="95112" cy="81399"/>
                  </a:xfrm>
                  <a:custGeom>
                    <a:avLst/>
                    <a:gdLst>
                      <a:gd name="connsiteX0" fmla="*/ 6472 w 95112"/>
                      <a:gd name="connsiteY0" fmla="*/ 81370 h 81399"/>
                      <a:gd name="connsiteX1" fmla="*/ 1901 w 95112"/>
                      <a:gd name="connsiteY1" fmla="*/ 79483 h 81399"/>
                      <a:gd name="connsiteX2" fmla="*/ 13 w 95112"/>
                      <a:gd name="connsiteY2" fmla="*/ 74498 h 81399"/>
                      <a:gd name="connsiteX3" fmla="*/ 4585 w 95112"/>
                      <a:gd name="connsiteY3" fmla="*/ 6016 h 81399"/>
                      <a:gd name="connsiteX4" fmla="*/ 8743 w 95112"/>
                      <a:gd name="connsiteY4" fmla="*/ 412 h 81399"/>
                      <a:gd name="connsiteX5" fmla="*/ 15585 w 95112"/>
                      <a:gd name="connsiteY5" fmla="*/ 1887 h 81399"/>
                      <a:gd name="connsiteX6" fmla="*/ 42984 w 95112"/>
                      <a:gd name="connsiteY6" fmla="*/ 29286 h 81399"/>
                      <a:gd name="connsiteX7" fmla="*/ 42984 w 95112"/>
                      <a:gd name="connsiteY7" fmla="*/ 38429 h 81399"/>
                      <a:gd name="connsiteX8" fmla="*/ 33841 w 95112"/>
                      <a:gd name="connsiteY8" fmla="*/ 38429 h 81399"/>
                      <a:gd name="connsiteX9" fmla="*/ 16500 w 95112"/>
                      <a:gd name="connsiteY9" fmla="*/ 21087 h 81399"/>
                      <a:gd name="connsiteX10" fmla="*/ 13373 w 95112"/>
                      <a:gd name="connsiteY10" fmla="*/ 68010 h 81399"/>
                      <a:gd name="connsiteX11" fmla="*/ 60296 w 95112"/>
                      <a:gd name="connsiteY11" fmla="*/ 64884 h 81399"/>
                      <a:gd name="connsiteX12" fmla="*/ 52097 w 95112"/>
                      <a:gd name="connsiteY12" fmla="*/ 56685 h 81399"/>
                      <a:gd name="connsiteX13" fmla="*/ 50210 w 95112"/>
                      <a:gd name="connsiteY13" fmla="*/ 52113 h 81399"/>
                      <a:gd name="connsiteX14" fmla="*/ 52097 w 95112"/>
                      <a:gd name="connsiteY14" fmla="*/ 47542 h 81399"/>
                      <a:gd name="connsiteX15" fmla="*/ 84068 w 95112"/>
                      <a:gd name="connsiteY15" fmla="*/ 15572 h 81399"/>
                      <a:gd name="connsiteX16" fmla="*/ 93210 w 95112"/>
                      <a:gd name="connsiteY16" fmla="*/ 15572 h 81399"/>
                      <a:gd name="connsiteX17" fmla="*/ 93210 w 95112"/>
                      <a:gd name="connsiteY17" fmla="*/ 24714 h 81399"/>
                      <a:gd name="connsiteX18" fmla="*/ 65812 w 95112"/>
                      <a:gd name="connsiteY18" fmla="*/ 52113 h 81399"/>
                      <a:gd name="connsiteX19" fmla="*/ 79496 w 95112"/>
                      <a:gd name="connsiteY19" fmla="*/ 65798 h 81399"/>
                      <a:gd name="connsiteX20" fmla="*/ 80971 w 95112"/>
                      <a:gd name="connsiteY20" fmla="*/ 72640 h 81399"/>
                      <a:gd name="connsiteX21" fmla="*/ 75367 w 95112"/>
                      <a:gd name="connsiteY21" fmla="*/ 76828 h 81399"/>
                      <a:gd name="connsiteX22" fmla="*/ 6885 w 95112"/>
                      <a:gd name="connsiteY22" fmla="*/ 81400 h 81399"/>
                      <a:gd name="connsiteX23" fmla="*/ 6472 w 95112"/>
                      <a:gd name="connsiteY23" fmla="*/ 81370 h 81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5112" h="81399">
                        <a:moveTo>
                          <a:pt x="6472" y="81370"/>
                        </a:moveTo>
                        <a:cubicBezTo>
                          <a:pt x="4762" y="81370"/>
                          <a:pt x="3110" y="80692"/>
                          <a:pt x="1901" y="79483"/>
                        </a:cubicBezTo>
                        <a:cubicBezTo>
                          <a:pt x="574" y="78156"/>
                          <a:pt x="-105" y="76356"/>
                          <a:pt x="13" y="74498"/>
                        </a:cubicBezTo>
                        <a:lnTo>
                          <a:pt x="4585" y="6016"/>
                        </a:lnTo>
                        <a:cubicBezTo>
                          <a:pt x="4762" y="3480"/>
                          <a:pt x="6384" y="1297"/>
                          <a:pt x="8743" y="412"/>
                        </a:cubicBezTo>
                        <a:cubicBezTo>
                          <a:pt x="11102" y="-472"/>
                          <a:pt x="13786" y="88"/>
                          <a:pt x="15585" y="1887"/>
                        </a:cubicBezTo>
                        <a:lnTo>
                          <a:pt x="42984" y="29286"/>
                        </a:lnTo>
                        <a:cubicBezTo>
                          <a:pt x="45521" y="31822"/>
                          <a:pt x="45521" y="35892"/>
                          <a:pt x="42984" y="38429"/>
                        </a:cubicBezTo>
                        <a:cubicBezTo>
                          <a:pt x="40448" y="40965"/>
                          <a:pt x="36378" y="40965"/>
                          <a:pt x="33841" y="38429"/>
                        </a:cubicBezTo>
                        <a:lnTo>
                          <a:pt x="16500" y="21087"/>
                        </a:lnTo>
                        <a:lnTo>
                          <a:pt x="13373" y="68010"/>
                        </a:lnTo>
                        <a:lnTo>
                          <a:pt x="60296" y="64884"/>
                        </a:lnTo>
                        <a:lnTo>
                          <a:pt x="52097" y="56685"/>
                        </a:lnTo>
                        <a:cubicBezTo>
                          <a:pt x="50888" y="55476"/>
                          <a:pt x="50210" y="53824"/>
                          <a:pt x="50210" y="52113"/>
                        </a:cubicBezTo>
                        <a:cubicBezTo>
                          <a:pt x="50210" y="50403"/>
                          <a:pt x="50888" y="48751"/>
                          <a:pt x="52097" y="47542"/>
                        </a:cubicBezTo>
                        <a:lnTo>
                          <a:pt x="84068" y="15572"/>
                        </a:lnTo>
                        <a:cubicBezTo>
                          <a:pt x="86604" y="13035"/>
                          <a:pt x="90674" y="13035"/>
                          <a:pt x="93210" y="15572"/>
                        </a:cubicBezTo>
                        <a:cubicBezTo>
                          <a:pt x="95747" y="18108"/>
                          <a:pt x="95747" y="22178"/>
                          <a:pt x="93210" y="24714"/>
                        </a:cubicBezTo>
                        <a:lnTo>
                          <a:pt x="65812" y="52113"/>
                        </a:lnTo>
                        <a:lnTo>
                          <a:pt x="79496" y="65798"/>
                        </a:lnTo>
                        <a:cubicBezTo>
                          <a:pt x="81295" y="67597"/>
                          <a:pt x="81856" y="70251"/>
                          <a:pt x="80971" y="72640"/>
                        </a:cubicBezTo>
                        <a:cubicBezTo>
                          <a:pt x="80086" y="75000"/>
                          <a:pt x="77874" y="76651"/>
                          <a:pt x="75367" y="76828"/>
                        </a:cubicBezTo>
                        <a:lnTo>
                          <a:pt x="6885" y="81400"/>
                        </a:lnTo>
                        <a:cubicBezTo>
                          <a:pt x="6767" y="81370"/>
                          <a:pt x="6620" y="81370"/>
                          <a:pt x="6472" y="81370"/>
                        </a:cubicBezTo>
                        <a:close/>
                      </a:path>
                    </a:pathLst>
                  </a:custGeom>
                  <a:solidFill>
                    <a:schemeClr val="accent1"/>
                  </a:solidFill>
                  <a:ln w="2941" cap="flat">
                    <a:noFill/>
                    <a:prstDash val="solid"/>
                    <a:miter/>
                  </a:ln>
                </p:spPr>
                <p:txBody>
                  <a:bodyPr rtlCol="0" anchor="ctr"/>
                  <a:lstStyle/>
                  <a:p>
                    <a:endParaRPr lang="en-GB" dirty="0"/>
                  </a:p>
                </p:txBody>
              </p:sp>
            </p:grpSp>
          </p:grpSp>
        </p:grpSp>
      </p:grpSp>
      <p:grpSp>
        <p:nvGrpSpPr>
          <p:cNvPr id="43" name="Group 42">
            <a:extLst>
              <a:ext uri="{FF2B5EF4-FFF2-40B4-BE49-F238E27FC236}">
                <a16:creationId xmlns:a16="http://schemas.microsoft.com/office/drawing/2014/main" id="{3DEF1C48-AE2C-110F-F083-F2114E9C5CAE}"/>
              </a:ext>
            </a:extLst>
          </p:cNvPr>
          <p:cNvGrpSpPr/>
          <p:nvPr/>
        </p:nvGrpSpPr>
        <p:grpSpPr>
          <a:xfrm>
            <a:off x="1632117" y="3197066"/>
            <a:ext cx="414723" cy="432004"/>
            <a:chOff x="1632117" y="3197066"/>
            <a:chExt cx="414723" cy="432004"/>
          </a:xfrm>
        </p:grpSpPr>
        <p:grpSp>
          <p:nvGrpSpPr>
            <p:cNvPr id="196" name="Grafik 247">
              <a:extLst>
                <a:ext uri="{FF2B5EF4-FFF2-40B4-BE49-F238E27FC236}">
                  <a16:creationId xmlns:a16="http://schemas.microsoft.com/office/drawing/2014/main" id="{ACC7144E-7C29-4381-9DF6-D2A7139E36B4}"/>
                </a:ext>
              </a:extLst>
            </p:cNvPr>
            <p:cNvGrpSpPr/>
            <p:nvPr/>
          </p:nvGrpSpPr>
          <p:grpSpPr>
            <a:xfrm>
              <a:off x="1823325" y="3197066"/>
              <a:ext cx="183246" cy="287980"/>
              <a:chOff x="5524953" y="2475272"/>
              <a:chExt cx="207637" cy="326313"/>
            </a:xfrm>
            <a:solidFill>
              <a:schemeClr val="accent1"/>
            </a:solidFill>
          </p:grpSpPr>
          <p:sp>
            <p:nvSpPr>
              <p:cNvPr id="212" name="Freihandform: Form 688">
                <a:extLst>
                  <a:ext uri="{FF2B5EF4-FFF2-40B4-BE49-F238E27FC236}">
                    <a16:creationId xmlns:a16="http://schemas.microsoft.com/office/drawing/2014/main" id="{E7947C68-CD93-46BD-BBF0-9A73B412CBD0}"/>
                  </a:ext>
                </a:extLst>
              </p:cNvPr>
              <p:cNvSpPr/>
              <p:nvPr/>
            </p:nvSpPr>
            <p:spPr>
              <a:xfrm>
                <a:off x="5680339" y="2690646"/>
                <a:ext cx="19577" cy="110939"/>
              </a:xfrm>
              <a:custGeom>
                <a:avLst/>
                <a:gdLst>
                  <a:gd name="connsiteX0" fmla="*/ 13052 w 19577"/>
                  <a:gd name="connsiteY0" fmla="*/ 110939 h 110939"/>
                  <a:gd name="connsiteX1" fmla="*/ 0 w 19577"/>
                  <a:gd name="connsiteY1" fmla="*/ 110939 h 110939"/>
                  <a:gd name="connsiteX2" fmla="*/ 0 w 19577"/>
                  <a:gd name="connsiteY2" fmla="*/ 0 h 110939"/>
                  <a:gd name="connsiteX3" fmla="*/ 19577 w 19577"/>
                  <a:gd name="connsiteY3" fmla="*/ 0 h 110939"/>
                  <a:gd name="connsiteX4" fmla="*/ 19577 w 19577"/>
                  <a:gd name="connsiteY4" fmla="*/ 13052 h 110939"/>
                  <a:gd name="connsiteX5" fmla="*/ 13052 w 19577"/>
                  <a:gd name="connsiteY5" fmla="*/ 13052 h 110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577" h="110939">
                    <a:moveTo>
                      <a:pt x="13052" y="110939"/>
                    </a:moveTo>
                    <a:lnTo>
                      <a:pt x="0" y="110939"/>
                    </a:lnTo>
                    <a:lnTo>
                      <a:pt x="0" y="0"/>
                    </a:lnTo>
                    <a:lnTo>
                      <a:pt x="19577" y="0"/>
                    </a:lnTo>
                    <a:lnTo>
                      <a:pt x="19577" y="13052"/>
                    </a:lnTo>
                    <a:lnTo>
                      <a:pt x="13052" y="13052"/>
                    </a:lnTo>
                    <a:close/>
                  </a:path>
                </a:pathLst>
              </a:custGeom>
              <a:solidFill>
                <a:schemeClr val="accent1"/>
              </a:solidFill>
              <a:ln w="2237" cap="flat">
                <a:noFill/>
                <a:prstDash val="solid"/>
                <a:miter/>
              </a:ln>
            </p:spPr>
            <p:txBody>
              <a:bodyPr rtlCol="0" anchor="ctr"/>
              <a:lstStyle/>
              <a:p>
                <a:endParaRPr lang="en-GB" dirty="0"/>
              </a:p>
            </p:txBody>
          </p:sp>
          <p:sp>
            <p:nvSpPr>
              <p:cNvPr id="213" name="Freihandform: Form 689">
                <a:extLst>
                  <a:ext uri="{FF2B5EF4-FFF2-40B4-BE49-F238E27FC236}">
                    <a16:creationId xmlns:a16="http://schemas.microsoft.com/office/drawing/2014/main" id="{9233025D-F034-4C84-B7B7-38EC9C946672}"/>
                  </a:ext>
                </a:extLst>
              </p:cNvPr>
              <p:cNvSpPr/>
              <p:nvPr/>
            </p:nvSpPr>
            <p:spPr>
              <a:xfrm>
                <a:off x="5524953" y="2592714"/>
                <a:ext cx="207637" cy="208871"/>
              </a:xfrm>
              <a:custGeom>
                <a:avLst/>
                <a:gdLst>
                  <a:gd name="connsiteX0" fmla="*/ 207593 w 207637"/>
                  <a:gd name="connsiteY0" fmla="*/ 208871 h 208871"/>
                  <a:gd name="connsiteX1" fmla="*/ 194541 w 207637"/>
                  <a:gd name="connsiteY1" fmla="*/ 208871 h 208871"/>
                  <a:gd name="connsiteX2" fmla="*/ 194541 w 207637"/>
                  <a:gd name="connsiteY2" fmla="*/ 84858 h 208871"/>
                  <a:gd name="connsiteX3" fmla="*/ 129283 w 207637"/>
                  <a:gd name="connsiteY3" fmla="*/ 13052 h 208871"/>
                  <a:gd name="connsiteX4" fmla="*/ 64025 w 207637"/>
                  <a:gd name="connsiteY4" fmla="*/ 13052 h 208871"/>
                  <a:gd name="connsiteX5" fmla="*/ 64002 w 207637"/>
                  <a:gd name="connsiteY5" fmla="*/ 13052 h 208871"/>
                  <a:gd name="connsiteX6" fmla="*/ 13366 w 207637"/>
                  <a:gd name="connsiteY6" fmla="*/ 27740 h 208871"/>
                  <a:gd name="connsiteX7" fmla="*/ 11347 w 207637"/>
                  <a:gd name="connsiteY7" fmla="*/ 29220 h 208871"/>
                  <a:gd name="connsiteX8" fmla="*/ 0 w 207637"/>
                  <a:gd name="connsiteY8" fmla="*/ 21102 h 208871"/>
                  <a:gd name="connsiteX9" fmla="*/ 5920 w 207637"/>
                  <a:gd name="connsiteY9" fmla="*/ 17021 h 208871"/>
                  <a:gd name="connsiteX10" fmla="*/ 64025 w 207637"/>
                  <a:gd name="connsiteY10" fmla="*/ 0 h 208871"/>
                  <a:gd name="connsiteX11" fmla="*/ 64047 w 207637"/>
                  <a:gd name="connsiteY11" fmla="*/ 0 h 208871"/>
                  <a:gd name="connsiteX12" fmla="*/ 129305 w 207637"/>
                  <a:gd name="connsiteY12" fmla="*/ 0 h 208871"/>
                  <a:gd name="connsiteX13" fmla="*/ 207638 w 207637"/>
                  <a:gd name="connsiteY13" fmla="*/ 84858 h 208871"/>
                  <a:gd name="connsiteX14" fmla="*/ 207638 w 207637"/>
                  <a:gd name="connsiteY14" fmla="*/ 208871 h 20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7637" h="208871">
                    <a:moveTo>
                      <a:pt x="207593" y="208871"/>
                    </a:moveTo>
                    <a:lnTo>
                      <a:pt x="194541" y="208871"/>
                    </a:lnTo>
                    <a:lnTo>
                      <a:pt x="194541" y="84858"/>
                    </a:lnTo>
                    <a:cubicBezTo>
                      <a:pt x="194541" y="43259"/>
                      <a:pt x="167093" y="13052"/>
                      <a:pt x="129283" y="13052"/>
                    </a:cubicBezTo>
                    <a:lnTo>
                      <a:pt x="64025" y="13052"/>
                    </a:lnTo>
                    <a:cubicBezTo>
                      <a:pt x="64025" y="13052"/>
                      <a:pt x="64002" y="13052"/>
                      <a:pt x="64002" y="13052"/>
                    </a:cubicBezTo>
                    <a:cubicBezTo>
                      <a:pt x="34446" y="13052"/>
                      <a:pt x="28705" y="17043"/>
                      <a:pt x="13366" y="27740"/>
                    </a:cubicBezTo>
                    <a:cubicBezTo>
                      <a:pt x="11504" y="29041"/>
                      <a:pt x="13523" y="27763"/>
                      <a:pt x="11347" y="29220"/>
                    </a:cubicBezTo>
                    <a:lnTo>
                      <a:pt x="0" y="21102"/>
                    </a:lnTo>
                    <a:cubicBezTo>
                      <a:pt x="2130" y="19667"/>
                      <a:pt x="4081" y="18299"/>
                      <a:pt x="5920" y="17021"/>
                    </a:cubicBezTo>
                    <a:cubicBezTo>
                      <a:pt x="22201" y="5674"/>
                      <a:pt x="30364" y="0"/>
                      <a:pt x="64025" y="0"/>
                    </a:cubicBezTo>
                    <a:cubicBezTo>
                      <a:pt x="64025" y="0"/>
                      <a:pt x="64047" y="0"/>
                      <a:pt x="64047" y="0"/>
                    </a:cubicBezTo>
                    <a:lnTo>
                      <a:pt x="129305" y="0"/>
                    </a:lnTo>
                    <a:cubicBezTo>
                      <a:pt x="173955" y="0"/>
                      <a:pt x="207638" y="36486"/>
                      <a:pt x="207638" y="84858"/>
                    </a:cubicBezTo>
                    <a:lnTo>
                      <a:pt x="207638" y="208871"/>
                    </a:lnTo>
                    <a:close/>
                  </a:path>
                </a:pathLst>
              </a:custGeom>
              <a:solidFill>
                <a:schemeClr val="accent1"/>
              </a:solidFill>
              <a:ln w="2237" cap="flat">
                <a:noFill/>
                <a:prstDash val="solid"/>
                <a:miter/>
              </a:ln>
            </p:spPr>
            <p:txBody>
              <a:bodyPr rtlCol="0" anchor="ctr"/>
              <a:lstStyle/>
              <a:p>
                <a:endParaRPr lang="en-GB" dirty="0"/>
              </a:p>
            </p:txBody>
          </p:sp>
          <p:sp>
            <p:nvSpPr>
              <p:cNvPr id="214" name="Freihandform: Form 690">
                <a:extLst>
                  <a:ext uri="{FF2B5EF4-FFF2-40B4-BE49-F238E27FC236}">
                    <a16:creationId xmlns:a16="http://schemas.microsoft.com/office/drawing/2014/main" id="{C1FB429F-FA4C-4CB0-BF41-3360695CC58A}"/>
                  </a:ext>
                </a:extLst>
              </p:cNvPr>
              <p:cNvSpPr/>
              <p:nvPr/>
            </p:nvSpPr>
            <p:spPr>
              <a:xfrm>
                <a:off x="5582452" y="2475272"/>
                <a:ext cx="91361" cy="104413"/>
              </a:xfrm>
              <a:custGeom>
                <a:avLst/>
                <a:gdLst>
                  <a:gd name="connsiteX0" fmla="*/ 45681 w 91361"/>
                  <a:gd name="connsiteY0" fmla="*/ 104413 h 104413"/>
                  <a:gd name="connsiteX1" fmla="*/ 0 w 91361"/>
                  <a:gd name="connsiteY1" fmla="*/ 52207 h 104413"/>
                  <a:gd name="connsiteX2" fmla="*/ 45681 w 91361"/>
                  <a:gd name="connsiteY2" fmla="*/ 0 h 104413"/>
                  <a:gd name="connsiteX3" fmla="*/ 91362 w 91361"/>
                  <a:gd name="connsiteY3" fmla="*/ 52207 h 104413"/>
                  <a:gd name="connsiteX4" fmla="*/ 45681 w 91361"/>
                  <a:gd name="connsiteY4" fmla="*/ 104413 h 104413"/>
                  <a:gd name="connsiteX5" fmla="*/ 45681 w 91361"/>
                  <a:gd name="connsiteY5" fmla="*/ 13029 h 104413"/>
                  <a:gd name="connsiteX6" fmla="*/ 13052 w 91361"/>
                  <a:gd name="connsiteY6" fmla="*/ 52184 h 104413"/>
                  <a:gd name="connsiteX7" fmla="*/ 45681 w 91361"/>
                  <a:gd name="connsiteY7" fmla="*/ 91339 h 104413"/>
                  <a:gd name="connsiteX8" fmla="*/ 78310 w 91361"/>
                  <a:gd name="connsiteY8" fmla="*/ 52184 h 104413"/>
                  <a:gd name="connsiteX9" fmla="*/ 45681 w 91361"/>
                  <a:gd name="connsiteY9" fmla="*/ 13029 h 10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61" h="104413">
                    <a:moveTo>
                      <a:pt x="45681" y="104413"/>
                    </a:moveTo>
                    <a:cubicBezTo>
                      <a:pt x="18344" y="104413"/>
                      <a:pt x="0" y="83423"/>
                      <a:pt x="0" y="52207"/>
                    </a:cubicBezTo>
                    <a:cubicBezTo>
                      <a:pt x="0" y="20968"/>
                      <a:pt x="18367" y="0"/>
                      <a:pt x="45681" y="0"/>
                    </a:cubicBezTo>
                    <a:cubicBezTo>
                      <a:pt x="73018" y="0"/>
                      <a:pt x="91362" y="20990"/>
                      <a:pt x="91362" y="52207"/>
                    </a:cubicBezTo>
                    <a:cubicBezTo>
                      <a:pt x="91362" y="83423"/>
                      <a:pt x="72995" y="104413"/>
                      <a:pt x="45681" y="104413"/>
                    </a:cubicBezTo>
                    <a:close/>
                    <a:moveTo>
                      <a:pt x="45681" y="13029"/>
                    </a:moveTo>
                    <a:cubicBezTo>
                      <a:pt x="21596" y="13029"/>
                      <a:pt x="13052" y="34132"/>
                      <a:pt x="13052" y="52184"/>
                    </a:cubicBezTo>
                    <a:cubicBezTo>
                      <a:pt x="13052" y="70237"/>
                      <a:pt x="21596" y="91339"/>
                      <a:pt x="45681" y="91339"/>
                    </a:cubicBezTo>
                    <a:cubicBezTo>
                      <a:pt x="69766" y="91339"/>
                      <a:pt x="78310" y="70237"/>
                      <a:pt x="78310" y="52184"/>
                    </a:cubicBezTo>
                    <a:cubicBezTo>
                      <a:pt x="78310" y="34132"/>
                      <a:pt x="69766" y="13029"/>
                      <a:pt x="45681" y="13029"/>
                    </a:cubicBezTo>
                    <a:close/>
                  </a:path>
                </a:pathLst>
              </a:custGeom>
              <a:solidFill>
                <a:schemeClr val="accent1"/>
              </a:solidFill>
              <a:ln w="2237" cap="flat">
                <a:noFill/>
                <a:prstDash val="solid"/>
                <a:miter/>
              </a:ln>
            </p:spPr>
            <p:txBody>
              <a:bodyPr rtlCol="0" anchor="ctr"/>
              <a:lstStyle/>
              <a:p>
                <a:endParaRPr lang="en-GB" dirty="0"/>
              </a:p>
            </p:txBody>
          </p:sp>
          <p:grpSp>
            <p:nvGrpSpPr>
              <p:cNvPr id="215" name="Grafik 247">
                <a:extLst>
                  <a:ext uri="{FF2B5EF4-FFF2-40B4-BE49-F238E27FC236}">
                    <a16:creationId xmlns:a16="http://schemas.microsoft.com/office/drawing/2014/main" id="{D3E76387-A6A9-4312-9EBD-691E2DE3EA8C}"/>
                  </a:ext>
                </a:extLst>
              </p:cNvPr>
              <p:cNvGrpSpPr/>
              <p:nvPr/>
            </p:nvGrpSpPr>
            <p:grpSpPr>
              <a:xfrm>
                <a:off x="5621607" y="2651469"/>
                <a:ext cx="13051" cy="91383"/>
                <a:chOff x="5621607" y="2651469"/>
                <a:chExt cx="13051" cy="91383"/>
              </a:xfrm>
              <a:solidFill>
                <a:schemeClr val="accent1"/>
              </a:solidFill>
            </p:grpSpPr>
            <p:sp>
              <p:nvSpPr>
                <p:cNvPr id="216" name="Freihandform: Form 692">
                  <a:extLst>
                    <a:ext uri="{FF2B5EF4-FFF2-40B4-BE49-F238E27FC236}">
                      <a16:creationId xmlns:a16="http://schemas.microsoft.com/office/drawing/2014/main" id="{A6E14D35-67AE-4FC0-B515-B6372735A444}"/>
                    </a:ext>
                  </a:extLst>
                </p:cNvPr>
                <p:cNvSpPr/>
                <p:nvPr/>
              </p:nvSpPr>
              <p:spPr>
                <a:xfrm>
                  <a:off x="5621607" y="2651469"/>
                  <a:ext cx="13051" cy="13051"/>
                </a:xfrm>
                <a:custGeom>
                  <a:avLst/>
                  <a:gdLst>
                    <a:gd name="connsiteX0" fmla="*/ 0 w 13051"/>
                    <a:gd name="connsiteY0" fmla="*/ 0 h 13051"/>
                    <a:gd name="connsiteX1" fmla="*/ 13052 w 13051"/>
                    <a:gd name="connsiteY1" fmla="*/ 0 h 13051"/>
                    <a:gd name="connsiteX2" fmla="*/ 13052 w 13051"/>
                    <a:gd name="connsiteY2" fmla="*/ 13052 h 13051"/>
                    <a:gd name="connsiteX3" fmla="*/ 0 w 13051"/>
                    <a:gd name="connsiteY3" fmla="*/ 13052 h 13051"/>
                  </a:gdLst>
                  <a:ahLst/>
                  <a:cxnLst>
                    <a:cxn ang="0">
                      <a:pos x="connsiteX0" y="connsiteY0"/>
                    </a:cxn>
                    <a:cxn ang="0">
                      <a:pos x="connsiteX1" y="connsiteY1"/>
                    </a:cxn>
                    <a:cxn ang="0">
                      <a:pos x="connsiteX2" y="connsiteY2"/>
                    </a:cxn>
                    <a:cxn ang="0">
                      <a:pos x="connsiteX3" y="connsiteY3"/>
                    </a:cxn>
                  </a:cxnLst>
                  <a:rect l="l" t="t" r="r" b="b"/>
                  <a:pathLst>
                    <a:path w="13051" h="13051">
                      <a:moveTo>
                        <a:pt x="0" y="0"/>
                      </a:moveTo>
                      <a:lnTo>
                        <a:pt x="13052" y="0"/>
                      </a:lnTo>
                      <a:lnTo>
                        <a:pt x="13052" y="13052"/>
                      </a:lnTo>
                      <a:lnTo>
                        <a:pt x="0" y="13052"/>
                      </a:lnTo>
                      <a:close/>
                    </a:path>
                  </a:pathLst>
                </a:custGeom>
                <a:solidFill>
                  <a:schemeClr val="accent1"/>
                </a:solidFill>
                <a:ln w="2237" cap="flat">
                  <a:noFill/>
                  <a:prstDash val="solid"/>
                  <a:miter/>
                </a:ln>
              </p:spPr>
              <p:txBody>
                <a:bodyPr rtlCol="0" anchor="ctr"/>
                <a:lstStyle/>
                <a:p>
                  <a:endParaRPr lang="en-GB" dirty="0"/>
                </a:p>
              </p:txBody>
            </p:sp>
            <p:sp>
              <p:nvSpPr>
                <p:cNvPr id="217" name="Freihandform: Form 693">
                  <a:extLst>
                    <a:ext uri="{FF2B5EF4-FFF2-40B4-BE49-F238E27FC236}">
                      <a16:creationId xmlns:a16="http://schemas.microsoft.com/office/drawing/2014/main" id="{7E7EF64A-5AA5-4048-8B72-E23F2714E35B}"/>
                    </a:ext>
                  </a:extLst>
                </p:cNvPr>
                <p:cNvSpPr/>
                <p:nvPr/>
              </p:nvSpPr>
              <p:spPr>
                <a:xfrm>
                  <a:off x="5621607" y="2690646"/>
                  <a:ext cx="13051" cy="13051"/>
                </a:xfrm>
                <a:custGeom>
                  <a:avLst/>
                  <a:gdLst>
                    <a:gd name="connsiteX0" fmla="*/ 0 w 13051"/>
                    <a:gd name="connsiteY0" fmla="*/ 0 h 13051"/>
                    <a:gd name="connsiteX1" fmla="*/ 13052 w 13051"/>
                    <a:gd name="connsiteY1" fmla="*/ 0 h 13051"/>
                    <a:gd name="connsiteX2" fmla="*/ 13052 w 13051"/>
                    <a:gd name="connsiteY2" fmla="*/ 13052 h 13051"/>
                    <a:gd name="connsiteX3" fmla="*/ 0 w 13051"/>
                    <a:gd name="connsiteY3" fmla="*/ 13052 h 13051"/>
                  </a:gdLst>
                  <a:ahLst/>
                  <a:cxnLst>
                    <a:cxn ang="0">
                      <a:pos x="connsiteX0" y="connsiteY0"/>
                    </a:cxn>
                    <a:cxn ang="0">
                      <a:pos x="connsiteX1" y="connsiteY1"/>
                    </a:cxn>
                    <a:cxn ang="0">
                      <a:pos x="connsiteX2" y="connsiteY2"/>
                    </a:cxn>
                    <a:cxn ang="0">
                      <a:pos x="connsiteX3" y="connsiteY3"/>
                    </a:cxn>
                  </a:cxnLst>
                  <a:rect l="l" t="t" r="r" b="b"/>
                  <a:pathLst>
                    <a:path w="13051" h="13051">
                      <a:moveTo>
                        <a:pt x="0" y="0"/>
                      </a:moveTo>
                      <a:lnTo>
                        <a:pt x="13052" y="0"/>
                      </a:lnTo>
                      <a:lnTo>
                        <a:pt x="13052" y="13052"/>
                      </a:lnTo>
                      <a:lnTo>
                        <a:pt x="0" y="13052"/>
                      </a:lnTo>
                      <a:close/>
                    </a:path>
                  </a:pathLst>
                </a:custGeom>
                <a:solidFill>
                  <a:schemeClr val="accent1"/>
                </a:solidFill>
                <a:ln w="2237" cap="flat">
                  <a:noFill/>
                  <a:prstDash val="solid"/>
                  <a:miter/>
                </a:ln>
              </p:spPr>
              <p:txBody>
                <a:bodyPr rtlCol="0" anchor="ctr"/>
                <a:lstStyle/>
                <a:p>
                  <a:endParaRPr lang="en-GB" dirty="0"/>
                </a:p>
              </p:txBody>
            </p:sp>
            <p:sp>
              <p:nvSpPr>
                <p:cNvPr id="218" name="Freihandform: Form 694">
                  <a:extLst>
                    <a:ext uri="{FF2B5EF4-FFF2-40B4-BE49-F238E27FC236}">
                      <a16:creationId xmlns:a16="http://schemas.microsoft.com/office/drawing/2014/main" id="{BAF61B9E-BEAA-439E-88A9-82A1AB8F9899}"/>
                    </a:ext>
                  </a:extLst>
                </p:cNvPr>
                <p:cNvSpPr/>
                <p:nvPr/>
              </p:nvSpPr>
              <p:spPr>
                <a:xfrm>
                  <a:off x="5621607" y="2729801"/>
                  <a:ext cx="13051" cy="13051"/>
                </a:xfrm>
                <a:custGeom>
                  <a:avLst/>
                  <a:gdLst>
                    <a:gd name="connsiteX0" fmla="*/ 0 w 13051"/>
                    <a:gd name="connsiteY0" fmla="*/ 0 h 13051"/>
                    <a:gd name="connsiteX1" fmla="*/ 13052 w 13051"/>
                    <a:gd name="connsiteY1" fmla="*/ 0 h 13051"/>
                    <a:gd name="connsiteX2" fmla="*/ 13052 w 13051"/>
                    <a:gd name="connsiteY2" fmla="*/ 13052 h 13051"/>
                    <a:gd name="connsiteX3" fmla="*/ 0 w 13051"/>
                    <a:gd name="connsiteY3" fmla="*/ 13052 h 13051"/>
                  </a:gdLst>
                  <a:ahLst/>
                  <a:cxnLst>
                    <a:cxn ang="0">
                      <a:pos x="connsiteX0" y="connsiteY0"/>
                    </a:cxn>
                    <a:cxn ang="0">
                      <a:pos x="connsiteX1" y="connsiteY1"/>
                    </a:cxn>
                    <a:cxn ang="0">
                      <a:pos x="connsiteX2" y="connsiteY2"/>
                    </a:cxn>
                    <a:cxn ang="0">
                      <a:pos x="connsiteX3" y="connsiteY3"/>
                    </a:cxn>
                  </a:cxnLst>
                  <a:rect l="l" t="t" r="r" b="b"/>
                  <a:pathLst>
                    <a:path w="13051" h="13051">
                      <a:moveTo>
                        <a:pt x="0" y="0"/>
                      </a:moveTo>
                      <a:lnTo>
                        <a:pt x="13052" y="0"/>
                      </a:lnTo>
                      <a:lnTo>
                        <a:pt x="13052" y="13052"/>
                      </a:lnTo>
                      <a:lnTo>
                        <a:pt x="0" y="13052"/>
                      </a:lnTo>
                      <a:close/>
                    </a:path>
                  </a:pathLst>
                </a:custGeom>
                <a:solidFill>
                  <a:schemeClr val="accent1"/>
                </a:solidFill>
                <a:ln w="2237" cap="flat">
                  <a:noFill/>
                  <a:prstDash val="solid"/>
                  <a:miter/>
                </a:ln>
              </p:spPr>
              <p:txBody>
                <a:bodyPr rtlCol="0" anchor="ctr"/>
                <a:lstStyle/>
                <a:p>
                  <a:endParaRPr lang="en-GB" dirty="0"/>
                </a:p>
              </p:txBody>
            </p:sp>
          </p:grpSp>
        </p:grpSp>
        <p:grpSp>
          <p:nvGrpSpPr>
            <p:cNvPr id="197" name="Group 196">
              <a:extLst>
                <a:ext uri="{FF2B5EF4-FFF2-40B4-BE49-F238E27FC236}">
                  <a16:creationId xmlns:a16="http://schemas.microsoft.com/office/drawing/2014/main" id="{7EEAA652-71FF-4736-93E2-22D55ED3A247}"/>
                </a:ext>
              </a:extLst>
            </p:cNvPr>
            <p:cNvGrpSpPr/>
            <p:nvPr/>
          </p:nvGrpSpPr>
          <p:grpSpPr>
            <a:xfrm>
              <a:off x="1632117" y="3220107"/>
              <a:ext cx="414723" cy="408963"/>
              <a:chOff x="5308300" y="2501375"/>
              <a:chExt cx="469926" cy="463400"/>
            </a:xfrm>
            <a:solidFill>
              <a:schemeClr val="tx2"/>
            </a:solidFill>
          </p:grpSpPr>
          <p:grpSp>
            <p:nvGrpSpPr>
              <p:cNvPr id="199" name="Grafik 247">
                <a:extLst>
                  <a:ext uri="{FF2B5EF4-FFF2-40B4-BE49-F238E27FC236}">
                    <a16:creationId xmlns:a16="http://schemas.microsoft.com/office/drawing/2014/main" id="{9FE02AD1-1E73-4765-8D8C-E879C180A714}"/>
                  </a:ext>
                </a:extLst>
              </p:cNvPr>
              <p:cNvGrpSpPr/>
              <p:nvPr/>
            </p:nvGrpSpPr>
            <p:grpSpPr>
              <a:xfrm>
                <a:off x="5356044" y="2501375"/>
                <a:ext cx="213333" cy="306758"/>
                <a:chOff x="5356044" y="2501375"/>
                <a:chExt cx="213333" cy="306758"/>
              </a:xfrm>
              <a:grpFill/>
            </p:grpSpPr>
            <p:sp>
              <p:nvSpPr>
                <p:cNvPr id="206" name="Freihandform: Form 676">
                  <a:extLst>
                    <a:ext uri="{FF2B5EF4-FFF2-40B4-BE49-F238E27FC236}">
                      <a16:creationId xmlns:a16="http://schemas.microsoft.com/office/drawing/2014/main" id="{F735B393-B99E-482B-AC4A-4D4F552CEEA5}"/>
                    </a:ext>
                  </a:extLst>
                </p:cNvPr>
                <p:cNvSpPr/>
                <p:nvPr/>
              </p:nvSpPr>
              <p:spPr>
                <a:xfrm>
                  <a:off x="5419262" y="2501375"/>
                  <a:ext cx="91361" cy="104413"/>
                </a:xfrm>
                <a:custGeom>
                  <a:avLst/>
                  <a:gdLst>
                    <a:gd name="connsiteX0" fmla="*/ 45681 w 91361"/>
                    <a:gd name="connsiteY0" fmla="*/ 104413 h 104413"/>
                    <a:gd name="connsiteX1" fmla="*/ 0 w 91361"/>
                    <a:gd name="connsiteY1" fmla="*/ 52207 h 104413"/>
                    <a:gd name="connsiteX2" fmla="*/ 45681 w 91361"/>
                    <a:gd name="connsiteY2" fmla="*/ 0 h 104413"/>
                    <a:gd name="connsiteX3" fmla="*/ 91362 w 91361"/>
                    <a:gd name="connsiteY3" fmla="*/ 52207 h 104413"/>
                    <a:gd name="connsiteX4" fmla="*/ 45681 w 91361"/>
                    <a:gd name="connsiteY4" fmla="*/ 104413 h 104413"/>
                    <a:gd name="connsiteX5" fmla="*/ 45681 w 91361"/>
                    <a:gd name="connsiteY5" fmla="*/ 13029 h 104413"/>
                    <a:gd name="connsiteX6" fmla="*/ 13052 w 91361"/>
                    <a:gd name="connsiteY6" fmla="*/ 52184 h 104413"/>
                    <a:gd name="connsiteX7" fmla="*/ 45681 w 91361"/>
                    <a:gd name="connsiteY7" fmla="*/ 91339 h 104413"/>
                    <a:gd name="connsiteX8" fmla="*/ 78310 w 91361"/>
                    <a:gd name="connsiteY8" fmla="*/ 52184 h 104413"/>
                    <a:gd name="connsiteX9" fmla="*/ 45681 w 91361"/>
                    <a:gd name="connsiteY9" fmla="*/ 13029 h 10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361" h="104413">
                      <a:moveTo>
                        <a:pt x="45681" y="104413"/>
                      </a:moveTo>
                      <a:cubicBezTo>
                        <a:pt x="18344" y="104413"/>
                        <a:pt x="0" y="83423"/>
                        <a:pt x="0" y="52207"/>
                      </a:cubicBezTo>
                      <a:cubicBezTo>
                        <a:pt x="0" y="20968"/>
                        <a:pt x="18366" y="0"/>
                        <a:pt x="45681" y="0"/>
                      </a:cubicBezTo>
                      <a:cubicBezTo>
                        <a:pt x="72995" y="0"/>
                        <a:pt x="91362" y="20990"/>
                        <a:pt x="91362" y="52207"/>
                      </a:cubicBezTo>
                      <a:cubicBezTo>
                        <a:pt x="91384" y="83423"/>
                        <a:pt x="73017" y="104413"/>
                        <a:pt x="45681" y="104413"/>
                      </a:cubicBezTo>
                      <a:close/>
                      <a:moveTo>
                        <a:pt x="45681" y="13029"/>
                      </a:moveTo>
                      <a:cubicBezTo>
                        <a:pt x="21596" y="13029"/>
                        <a:pt x="13052" y="34132"/>
                        <a:pt x="13052" y="52184"/>
                      </a:cubicBezTo>
                      <a:cubicBezTo>
                        <a:pt x="13052" y="70259"/>
                        <a:pt x="21596" y="91339"/>
                        <a:pt x="45681" y="91339"/>
                      </a:cubicBezTo>
                      <a:cubicBezTo>
                        <a:pt x="69766" y="91339"/>
                        <a:pt x="78310" y="70237"/>
                        <a:pt x="78310" y="52184"/>
                      </a:cubicBezTo>
                      <a:cubicBezTo>
                        <a:pt x="78332" y="34132"/>
                        <a:pt x="69766" y="13029"/>
                        <a:pt x="45681" y="13029"/>
                      </a:cubicBezTo>
                      <a:close/>
                    </a:path>
                  </a:pathLst>
                </a:custGeom>
                <a:grpFill/>
                <a:ln w="2237" cap="flat">
                  <a:noFill/>
                  <a:prstDash val="solid"/>
                  <a:miter/>
                </a:ln>
              </p:spPr>
              <p:txBody>
                <a:bodyPr rtlCol="0" anchor="ctr"/>
                <a:lstStyle/>
                <a:p>
                  <a:endParaRPr lang="en-GB" dirty="0"/>
                </a:p>
              </p:txBody>
            </p:sp>
            <p:sp>
              <p:nvSpPr>
                <p:cNvPr id="207" name="Freihandform: Form 677">
                  <a:extLst>
                    <a:ext uri="{FF2B5EF4-FFF2-40B4-BE49-F238E27FC236}">
                      <a16:creationId xmlns:a16="http://schemas.microsoft.com/office/drawing/2014/main" id="{3F5336B1-76CD-4F8E-BE39-DE6EB6C70B7D}"/>
                    </a:ext>
                  </a:extLst>
                </p:cNvPr>
                <p:cNvSpPr/>
                <p:nvPr/>
              </p:nvSpPr>
              <p:spPr>
                <a:xfrm>
                  <a:off x="5458417" y="2755905"/>
                  <a:ext cx="65258" cy="45680"/>
                </a:xfrm>
                <a:custGeom>
                  <a:avLst/>
                  <a:gdLst>
                    <a:gd name="connsiteX0" fmla="*/ 13052 w 65258"/>
                    <a:gd name="connsiteY0" fmla="*/ 45681 h 45680"/>
                    <a:gd name="connsiteX1" fmla="*/ 0 w 65258"/>
                    <a:gd name="connsiteY1" fmla="*/ 45681 h 45680"/>
                    <a:gd name="connsiteX2" fmla="*/ 0 w 65258"/>
                    <a:gd name="connsiteY2" fmla="*/ 19577 h 45680"/>
                    <a:gd name="connsiteX3" fmla="*/ 19577 w 65258"/>
                    <a:gd name="connsiteY3" fmla="*/ 0 h 45680"/>
                    <a:gd name="connsiteX4" fmla="*/ 65258 w 65258"/>
                    <a:gd name="connsiteY4" fmla="*/ 0 h 45680"/>
                    <a:gd name="connsiteX5" fmla="*/ 65258 w 65258"/>
                    <a:gd name="connsiteY5" fmla="*/ 13052 h 45680"/>
                    <a:gd name="connsiteX6" fmla="*/ 19577 w 65258"/>
                    <a:gd name="connsiteY6" fmla="*/ 13052 h 45680"/>
                    <a:gd name="connsiteX7" fmla="*/ 13052 w 65258"/>
                    <a:gd name="connsiteY7" fmla="*/ 19577 h 45680"/>
                    <a:gd name="connsiteX8" fmla="*/ 13052 w 65258"/>
                    <a:gd name="connsiteY8" fmla="*/ 45681 h 4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258" h="45680">
                      <a:moveTo>
                        <a:pt x="13052" y="45681"/>
                      </a:moveTo>
                      <a:lnTo>
                        <a:pt x="0" y="45681"/>
                      </a:lnTo>
                      <a:lnTo>
                        <a:pt x="0" y="19577"/>
                      </a:lnTo>
                      <a:cubicBezTo>
                        <a:pt x="0" y="8791"/>
                        <a:pt x="8791" y="0"/>
                        <a:pt x="19577" y="0"/>
                      </a:cubicBezTo>
                      <a:lnTo>
                        <a:pt x="65258" y="0"/>
                      </a:lnTo>
                      <a:lnTo>
                        <a:pt x="65258" y="13052"/>
                      </a:lnTo>
                      <a:lnTo>
                        <a:pt x="19577" y="13052"/>
                      </a:lnTo>
                      <a:cubicBezTo>
                        <a:pt x="15989" y="13052"/>
                        <a:pt x="13052" y="15989"/>
                        <a:pt x="13052" y="19577"/>
                      </a:cubicBezTo>
                      <a:lnTo>
                        <a:pt x="13052" y="45681"/>
                      </a:lnTo>
                      <a:close/>
                    </a:path>
                  </a:pathLst>
                </a:custGeom>
                <a:grpFill/>
                <a:ln w="2237" cap="flat">
                  <a:noFill/>
                  <a:prstDash val="solid"/>
                  <a:miter/>
                </a:ln>
              </p:spPr>
              <p:txBody>
                <a:bodyPr rtlCol="0" anchor="ctr"/>
                <a:lstStyle/>
                <a:p>
                  <a:endParaRPr lang="en-GB" dirty="0"/>
                </a:p>
              </p:txBody>
            </p:sp>
            <p:grpSp>
              <p:nvGrpSpPr>
                <p:cNvPr id="208" name="Grafik 247">
                  <a:extLst>
                    <a:ext uri="{FF2B5EF4-FFF2-40B4-BE49-F238E27FC236}">
                      <a16:creationId xmlns:a16="http://schemas.microsoft.com/office/drawing/2014/main" id="{778A91FC-4413-4DBA-AC83-EC05FAF95508}"/>
                    </a:ext>
                  </a:extLst>
                </p:cNvPr>
                <p:cNvGrpSpPr/>
                <p:nvPr/>
              </p:nvGrpSpPr>
              <p:grpSpPr>
                <a:xfrm>
                  <a:off x="5356044" y="2618840"/>
                  <a:ext cx="213333" cy="189293"/>
                  <a:chOff x="5356044" y="2618840"/>
                  <a:chExt cx="213333" cy="189293"/>
                </a:xfrm>
                <a:grpFill/>
              </p:grpSpPr>
              <p:sp>
                <p:nvSpPr>
                  <p:cNvPr id="209" name="Freihandform: Form 679">
                    <a:extLst>
                      <a:ext uri="{FF2B5EF4-FFF2-40B4-BE49-F238E27FC236}">
                        <a16:creationId xmlns:a16="http://schemas.microsoft.com/office/drawing/2014/main" id="{6652F977-A1D7-40D2-AE6D-67F9AC4722D6}"/>
                      </a:ext>
                    </a:extLst>
                  </p:cNvPr>
                  <p:cNvSpPr/>
                  <p:nvPr/>
                </p:nvSpPr>
                <p:spPr>
                  <a:xfrm>
                    <a:off x="5356044" y="2654407"/>
                    <a:ext cx="82794" cy="153726"/>
                  </a:xfrm>
                  <a:custGeom>
                    <a:avLst/>
                    <a:gdLst>
                      <a:gd name="connsiteX0" fmla="*/ 82795 w 82794"/>
                      <a:gd name="connsiteY0" fmla="*/ 153727 h 153726"/>
                      <a:gd name="connsiteX1" fmla="*/ 24399 w 82794"/>
                      <a:gd name="connsiteY1" fmla="*/ 153727 h 153726"/>
                      <a:gd name="connsiteX2" fmla="*/ 0 w 82794"/>
                      <a:gd name="connsiteY2" fmla="*/ 126794 h 153726"/>
                      <a:gd name="connsiteX3" fmla="*/ 4508 w 82794"/>
                      <a:gd name="connsiteY3" fmla="*/ 48910 h 153726"/>
                      <a:gd name="connsiteX4" fmla="*/ 12872 w 82794"/>
                      <a:gd name="connsiteY4" fmla="*/ 14307 h 153726"/>
                      <a:gd name="connsiteX5" fmla="*/ 19645 w 82794"/>
                      <a:gd name="connsiteY5" fmla="*/ 0 h 153726"/>
                      <a:gd name="connsiteX6" fmla="*/ 30947 w 82794"/>
                      <a:gd name="connsiteY6" fmla="*/ 6526 h 153726"/>
                      <a:gd name="connsiteX7" fmla="*/ 25072 w 82794"/>
                      <a:gd name="connsiteY7" fmla="*/ 18972 h 153726"/>
                      <a:gd name="connsiteX8" fmla="*/ 17492 w 82794"/>
                      <a:gd name="connsiteY8" fmla="*/ 50143 h 153726"/>
                      <a:gd name="connsiteX9" fmla="*/ 13052 w 82794"/>
                      <a:gd name="connsiteY9" fmla="*/ 127153 h 153726"/>
                      <a:gd name="connsiteX10" fmla="*/ 24421 w 82794"/>
                      <a:gd name="connsiteY10" fmla="*/ 140653 h 153726"/>
                      <a:gd name="connsiteX11" fmla="*/ 82795 w 82794"/>
                      <a:gd name="connsiteY11" fmla="*/ 140653 h 153726"/>
                      <a:gd name="connsiteX12" fmla="*/ 82795 w 82794"/>
                      <a:gd name="connsiteY12" fmla="*/ 153727 h 153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94" h="153726">
                        <a:moveTo>
                          <a:pt x="82795" y="153727"/>
                        </a:moveTo>
                        <a:lnTo>
                          <a:pt x="24399" y="153727"/>
                        </a:lnTo>
                        <a:cubicBezTo>
                          <a:pt x="10495" y="153727"/>
                          <a:pt x="0" y="142155"/>
                          <a:pt x="0" y="126794"/>
                        </a:cubicBezTo>
                        <a:lnTo>
                          <a:pt x="4508" y="48910"/>
                        </a:lnTo>
                        <a:cubicBezTo>
                          <a:pt x="6279" y="35679"/>
                          <a:pt x="9082" y="24220"/>
                          <a:pt x="12872" y="14307"/>
                        </a:cubicBezTo>
                        <a:cubicBezTo>
                          <a:pt x="14846" y="9172"/>
                          <a:pt x="17111" y="4373"/>
                          <a:pt x="19645" y="0"/>
                        </a:cubicBezTo>
                        <a:lnTo>
                          <a:pt x="30947" y="6526"/>
                        </a:lnTo>
                        <a:cubicBezTo>
                          <a:pt x="28772" y="10293"/>
                          <a:pt x="26776" y="14487"/>
                          <a:pt x="25072" y="18972"/>
                        </a:cubicBezTo>
                        <a:cubicBezTo>
                          <a:pt x="21641" y="27942"/>
                          <a:pt x="19084" y="38437"/>
                          <a:pt x="17492" y="50143"/>
                        </a:cubicBezTo>
                        <a:lnTo>
                          <a:pt x="13052" y="127153"/>
                        </a:lnTo>
                        <a:cubicBezTo>
                          <a:pt x="13052" y="133454"/>
                          <a:pt x="16617" y="140653"/>
                          <a:pt x="24421" y="140653"/>
                        </a:cubicBezTo>
                        <a:lnTo>
                          <a:pt x="82795" y="140653"/>
                        </a:lnTo>
                        <a:lnTo>
                          <a:pt x="82795" y="153727"/>
                        </a:lnTo>
                        <a:close/>
                      </a:path>
                    </a:pathLst>
                  </a:custGeom>
                  <a:grpFill/>
                  <a:ln w="2237" cap="flat">
                    <a:noFill/>
                    <a:prstDash val="solid"/>
                    <a:miter/>
                  </a:ln>
                </p:spPr>
                <p:txBody>
                  <a:bodyPr rtlCol="0" anchor="ctr"/>
                  <a:lstStyle/>
                  <a:p>
                    <a:endParaRPr lang="en-GB" dirty="0"/>
                  </a:p>
                </p:txBody>
              </p:sp>
              <p:sp>
                <p:nvSpPr>
                  <p:cNvPr id="210" name="Freihandform: Form 680">
                    <a:extLst>
                      <a:ext uri="{FF2B5EF4-FFF2-40B4-BE49-F238E27FC236}">
                        <a16:creationId xmlns:a16="http://schemas.microsoft.com/office/drawing/2014/main" id="{DC1AE3ED-95DE-4E7D-BF6D-B8171CF2B244}"/>
                      </a:ext>
                    </a:extLst>
                  </p:cNvPr>
                  <p:cNvSpPr/>
                  <p:nvPr/>
                </p:nvSpPr>
                <p:spPr>
                  <a:xfrm>
                    <a:off x="5407937" y="2618840"/>
                    <a:ext cx="161441" cy="189293"/>
                  </a:xfrm>
                  <a:custGeom>
                    <a:avLst/>
                    <a:gdLst>
                      <a:gd name="connsiteX0" fmla="*/ 135002 w 161441"/>
                      <a:gd name="connsiteY0" fmla="*/ 189294 h 189293"/>
                      <a:gd name="connsiteX1" fmla="*/ 83131 w 161441"/>
                      <a:gd name="connsiteY1" fmla="*/ 189294 h 189293"/>
                      <a:gd name="connsiteX2" fmla="*/ 83131 w 161441"/>
                      <a:gd name="connsiteY2" fmla="*/ 176242 h 189293"/>
                      <a:gd name="connsiteX3" fmla="*/ 135002 w 161441"/>
                      <a:gd name="connsiteY3" fmla="*/ 176242 h 189293"/>
                      <a:gd name="connsiteX4" fmla="*/ 148390 w 161441"/>
                      <a:gd name="connsiteY4" fmla="*/ 162159 h 189293"/>
                      <a:gd name="connsiteX5" fmla="*/ 148390 w 161441"/>
                      <a:gd name="connsiteY5" fmla="*/ 84858 h 189293"/>
                      <a:gd name="connsiteX6" fmla="*/ 83131 w 161441"/>
                      <a:gd name="connsiteY6" fmla="*/ 13052 h 189293"/>
                      <a:gd name="connsiteX7" fmla="*/ 30902 w 161441"/>
                      <a:gd name="connsiteY7" fmla="*/ 13052 h 189293"/>
                      <a:gd name="connsiteX8" fmla="*/ 18905 w 161441"/>
                      <a:gd name="connsiteY8" fmla="*/ 13971 h 189293"/>
                      <a:gd name="connsiteX9" fmla="*/ 5180 w 161441"/>
                      <a:gd name="connsiteY9" fmla="*/ 17918 h 189293"/>
                      <a:gd name="connsiteX10" fmla="*/ 0 w 161441"/>
                      <a:gd name="connsiteY10" fmla="*/ 5920 h 189293"/>
                      <a:gd name="connsiteX11" fmla="*/ 16797 w 161441"/>
                      <a:gd name="connsiteY11" fmla="*/ 1099 h 189293"/>
                      <a:gd name="connsiteX12" fmla="*/ 30902 w 161441"/>
                      <a:gd name="connsiteY12" fmla="*/ 0 h 189293"/>
                      <a:gd name="connsiteX13" fmla="*/ 83109 w 161441"/>
                      <a:gd name="connsiteY13" fmla="*/ 0 h 189293"/>
                      <a:gd name="connsiteX14" fmla="*/ 161441 w 161441"/>
                      <a:gd name="connsiteY14" fmla="*/ 84858 h 189293"/>
                      <a:gd name="connsiteX15" fmla="*/ 161441 w 161441"/>
                      <a:gd name="connsiteY15" fmla="*/ 162159 h 189293"/>
                      <a:gd name="connsiteX16" fmla="*/ 135002 w 161441"/>
                      <a:gd name="connsiteY16" fmla="*/ 189294 h 18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441" h="189293">
                        <a:moveTo>
                          <a:pt x="135002" y="189294"/>
                        </a:moveTo>
                        <a:lnTo>
                          <a:pt x="83131" y="189294"/>
                        </a:lnTo>
                        <a:lnTo>
                          <a:pt x="83131" y="176242"/>
                        </a:lnTo>
                        <a:lnTo>
                          <a:pt x="135002" y="176242"/>
                        </a:lnTo>
                        <a:cubicBezTo>
                          <a:pt x="142267" y="176242"/>
                          <a:pt x="148390" y="169806"/>
                          <a:pt x="148390" y="162159"/>
                        </a:cubicBezTo>
                        <a:lnTo>
                          <a:pt x="148390" y="84858"/>
                        </a:lnTo>
                        <a:cubicBezTo>
                          <a:pt x="148390" y="43259"/>
                          <a:pt x="120941" y="13052"/>
                          <a:pt x="83131" y="13052"/>
                        </a:cubicBezTo>
                        <a:lnTo>
                          <a:pt x="30902" y="13052"/>
                        </a:lnTo>
                        <a:cubicBezTo>
                          <a:pt x="26709" y="13052"/>
                          <a:pt x="22672" y="13366"/>
                          <a:pt x="18905" y="13971"/>
                        </a:cubicBezTo>
                        <a:cubicBezTo>
                          <a:pt x="14016" y="14778"/>
                          <a:pt x="9396" y="16102"/>
                          <a:pt x="5180" y="17918"/>
                        </a:cubicBezTo>
                        <a:lnTo>
                          <a:pt x="0" y="5920"/>
                        </a:lnTo>
                        <a:cubicBezTo>
                          <a:pt x="5203" y="3678"/>
                          <a:pt x="10854" y="2063"/>
                          <a:pt x="16797" y="1099"/>
                        </a:cubicBezTo>
                        <a:cubicBezTo>
                          <a:pt x="21259" y="381"/>
                          <a:pt x="26014" y="0"/>
                          <a:pt x="30902" y="0"/>
                        </a:cubicBezTo>
                        <a:lnTo>
                          <a:pt x="83109" y="0"/>
                        </a:lnTo>
                        <a:cubicBezTo>
                          <a:pt x="127758" y="0"/>
                          <a:pt x="161441" y="36486"/>
                          <a:pt x="161441" y="84858"/>
                        </a:cubicBezTo>
                        <a:lnTo>
                          <a:pt x="161441" y="162159"/>
                        </a:lnTo>
                        <a:cubicBezTo>
                          <a:pt x="161441" y="176870"/>
                          <a:pt x="149331" y="189294"/>
                          <a:pt x="135002" y="189294"/>
                        </a:cubicBezTo>
                        <a:close/>
                      </a:path>
                    </a:pathLst>
                  </a:custGeom>
                  <a:grpFill/>
                  <a:ln w="2237" cap="flat">
                    <a:noFill/>
                    <a:prstDash val="solid"/>
                    <a:miter/>
                  </a:ln>
                </p:spPr>
                <p:txBody>
                  <a:bodyPr rtlCol="0" anchor="ctr"/>
                  <a:lstStyle/>
                  <a:p>
                    <a:endParaRPr lang="en-GB" dirty="0"/>
                  </a:p>
                </p:txBody>
              </p:sp>
              <p:sp>
                <p:nvSpPr>
                  <p:cNvPr id="211" name="Freihandform: Form 681">
                    <a:extLst>
                      <a:ext uri="{FF2B5EF4-FFF2-40B4-BE49-F238E27FC236}">
                        <a16:creationId xmlns:a16="http://schemas.microsoft.com/office/drawing/2014/main" id="{3FC61237-0C26-4512-9E3D-344884E8C4DC}"/>
                      </a:ext>
                    </a:extLst>
                  </p:cNvPr>
                  <p:cNvSpPr/>
                  <p:nvPr/>
                </p:nvSpPr>
                <p:spPr>
                  <a:xfrm>
                    <a:off x="5406210" y="2755905"/>
                    <a:ext cx="65258" cy="45680"/>
                  </a:xfrm>
                  <a:custGeom>
                    <a:avLst/>
                    <a:gdLst>
                      <a:gd name="connsiteX0" fmla="*/ 52207 w 65258"/>
                      <a:gd name="connsiteY0" fmla="*/ 45681 h 45680"/>
                      <a:gd name="connsiteX1" fmla="*/ 52207 w 65258"/>
                      <a:gd name="connsiteY1" fmla="*/ 19577 h 45680"/>
                      <a:gd name="connsiteX2" fmla="*/ 45681 w 65258"/>
                      <a:gd name="connsiteY2" fmla="*/ 13052 h 45680"/>
                      <a:gd name="connsiteX3" fmla="*/ 0 w 65258"/>
                      <a:gd name="connsiteY3" fmla="*/ 13052 h 45680"/>
                      <a:gd name="connsiteX4" fmla="*/ 0 w 65258"/>
                      <a:gd name="connsiteY4" fmla="*/ 0 h 45680"/>
                      <a:gd name="connsiteX5" fmla="*/ 45681 w 65258"/>
                      <a:gd name="connsiteY5" fmla="*/ 0 h 45680"/>
                      <a:gd name="connsiteX6" fmla="*/ 65258 w 65258"/>
                      <a:gd name="connsiteY6" fmla="*/ 19577 h 45680"/>
                      <a:gd name="connsiteX7" fmla="*/ 65258 w 65258"/>
                      <a:gd name="connsiteY7" fmla="*/ 45681 h 45680"/>
                      <a:gd name="connsiteX8" fmla="*/ 52207 w 65258"/>
                      <a:gd name="connsiteY8" fmla="*/ 45681 h 45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258" h="45680">
                        <a:moveTo>
                          <a:pt x="52207" y="45681"/>
                        </a:moveTo>
                        <a:lnTo>
                          <a:pt x="52207" y="19577"/>
                        </a:lnTo>
                        <a:cubicBezTo>
                          <a:pt x="52207" y="15989"/>
                          <a:pt x="49269" y="13052"/>
                          <a:pt x="45681" y="13052"/>
                        </a:cubicBezTo>
                        <a:lnTo>
                          <a:pt x="0" y="13052"/>
                        </a:lnTo>
                        <a:lnTo>
                          <a:pt x="0" y="0"/>
                        </a:lnTo>
                        <a:lnTo>
                          <a:pt x="45681" y="0"/>
                        </a:lnTo>
                        <a:cubicBezTo>
                          <a:pt x="56467" y="0"/>
                          <a:pt x="65258" y="8791"/>
                          <a:pt x="65258" y="19577"/>
                        </a:cubicBezTo>
                        <a:lnTo>
                          <a:pt x="65258" y="45681"/>
                        </a:lnTo>
                        <a:lnTo>
                          <a:pt x="52207" y="45681"/>
                        </a:lnTo>
                        <a:close/>
                      </a:path>
                    </a:pathLst>
                  </a:custGeom>
                  <a:grpFill/>
                  <a:ln w="2237" cap="flat">
                    <a:noFill/>
                    <a:prstDash val="solid"/>
                    <a:miter/>
                  </a:ln>
                </p:spPr>
                <p:txBody>
                  <a:bodyPr rtlCol="0" anchor="ctr"/>
                  <a:lstStyle/>
                  <a:p>
                    <a:endParaRPr lang="en-GB" dirty="0"/>
                  </a:p>
                </p:txBody>
              </p:sp>
            </p:grpSp>
          </p:grpSp>
          <p:grpSp>
            <p:nvGrpSpPr>
              <p:cNvPr id="200" name="Grafik 247">
                <a:extLst>
                  <a:ext uri="{FF2B5EF4-FFF2-40B4-BE49-F238E27FC236}">
                    <a16:creationId xmlns:a16="http://schemas.microsoft.com/office/drawing/2014/main" id="{122BC55E-6A80-4CEC-BEA0-5FF20D031D6F}"/>
                  </a:ext>
                </a:extLst>
              </p:cNvPr>
              <p:cNvGrpSpPr/>
              <p:nvPr/>
            </p:nvGrpSpPr>
            <p:grpSpPr>
              <a:xfrm>
                <a:off x="5380119" y="2827711"/>
                <a:ext cx="169669" cy="137064"/>
                <a:chOff x="5380119" y="2827711"/>
                <a:chExt cx="169669" cy="137064"/>
              </a:xfrm>
              <a:grpFill/>
            </p:grpSpPr>
            <p:sp>
              <p:nvSpPr>
                <p:cNvPr id="202" name="Freihandform: Form 683">
                  <a:extLst>
                    <a:ext uri="{FF2B5EF4-FFF2-40B4-BE49-F238E27FC236}">
                      <a16:creationId xmlns:a16="http://schemas.microsoft.com/office/drawing/2014/main" id="{E13DB31D-8CE4-4721-B15D-8C4F9C24B641}"/>
                    </a:ext>
                  </a:extLst>
                </p:cNvPr>
                <p:cNvSpPr/>
                <p:nvPr/>
              </p:nvSpPr>
              <p:spPr>
                <a:xfrm>
                  <a:off x="5380119" y="2827711"/>
                  <a:ext cx="169669" cy="137064"/>
                </a:xfrm>
                <a:custGeom>
                  <a:avLst/>
                  <a:gdLst>
                    <a:gd name="connsiteX0" fmla="*/ 163156 w 169669"/>
                    <a:gd name="connsiteY0" fmla="*/ 137065 h 137064"/>
                    <a:gd name="connsiteX1" fmla="*/ 6514 w 169669"/>
                    <a:gd name="connsiteY1" fmla="*/ 137065 h 137064"/>
                    <a:gd name="connsiteX2" fmla="*/ 1558 w 169669"/>
                    <a:gd name="connsiteY2" fmla="*/ 134777 h 137064"/>
                    <a:gd name="connsiteX3" fmla="*/ 78 w 169669"/>
                    <a:gd name="connsiteY3" fmla="*/ 129530 h 137064"/>
                    <a:gd name="connsiteX4" fmla="*/ 19655 w 169669"/>
                    <a:gd name="connsiteY4" fmla="*/ 5517 h 137064"/>
                    <a:gd name="connsiteX5" fmla="*/ 26091 w 169669"/>
                    <a:gd name="connsiteY5" fmla="*/ 0 h 137064"/>
                    <a:gd name="connsiteX6" fmla="*/ 143578 w 169669"/>
                    <a:gd name="connsiteY6" fmla="*/ 0 h 137064"/>
                    <a:gd name="connsiteX7" fmla="*/ 150015 w 169669"/>
                    <a:gd name="connsiteY7" fmla="*/ 5517 h 137064"/>
                    <a:gd name="connsiteX8" fmla="*/ 169592 w 169669"/>
                    <a:gd name="connsiteY8" fmla="*/ 129530 h 137064"/>
                    <a:gd name="connsiteX9" fmla="*/ 168112 w 169669"/>
                    <a:gd name="connsiteY9" fmla="*/ 134777 h 137064"/>
                    <a:gd name="connsiteX10" fmla="*/ 163156 w 169669"/>
                    <a:gd name="connsiteY10" fmla="*/ 137065 h 137064"/>
                    <a:gd name="connsiteX11" fmla="*/ 14161 w 169669"/>
                    <a:gd name="connsiteY11" fmla="*/ 124013 h 137064"/>
                    <a:gd name="connsiteX12" fmla="*/ 155531 w 169669"/>
                    <a:gd name="connsiteY12" fmla="*/ 124013 h 137064"/>
                    <a:gd name="connsiteX13" fmla="*/ 138017 w 169669"/>
                    <a:gd name="connsiteY13" fmla="*/ 13052 h 137064"/>
                    <a:gd name="connsiteX14" fmla="*/ 31675 w 169669"/>
                    <a:gd name="connsiteY14" fmla="*/ 13052 h 137064"/>
                    <a:gd name="connsiteX15" fmla="*/ 14161 w 169669"/>
                    <a:gd name="connsiteY15" fmla="*/ 124013 h 13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9669" h="137064">
                      <a:moveTo>
                        <a:pt x="163156" y="137065"/>
                      </a:moveTo>
                      <a:lnTo>
                        <a:pt x="6514" y="137065"/>
                      </a:lnTo>
                      <a:cubicBezTo>
                        <a:pt x="4608" y="137065"/>
                        <a:pt x="2791" y="136235"/>
                        <a:pt x="1558" y="134777"/>
                      </a:cubicBezTo>
                      <a:cubicBezTo>
                        <a:pt x="324" y="133320"/>
                        <a:pt x="-214" y="131413"/>
                        <a:pt x="78" y="129530"/>
                      </a:cubicBezTo>
                      <a:lnTo>
                        <a:pt x="19655" y="5517"/>
                      </a:lnTo>
                      <a:cubicBezTo>
                        <a:pt x="20148" y="2332"/>
                        <a:pt x="22884" y="0"/>
                        <a:pt x="26091" y="0"/>
                      </a:cubicBezTo>
                      <a:lnTo>
                        <a:pt x="143578" y="0"/>
                      </a:lnTo>
                      <a:cubicBezTo>
                        <a:pt x="146785" y="0"/>
                        <a:pt x="149521" y="2332"/>
                        <a:pt x="150015" y="5517"/>
                      </a:cubicBezTo>
                      <a:lnTo>
                        <a:pt x="169592" y="129530"/>
                      </a:lnTo>
                      <a:cubicBezTo>
                        <a:pt x="169884" y="131413"/>
                        <a:pt x="169345" y="133342"/>
                        <a:pt x="168112" y="134777"/>
                      </a:cubicBezTo>
                      <a:cubicBezTo>
                        <a:pt x="166879" y="136213"/>
                        <a:pt x="165062" y="137065"/>
                        <a:pt x="163156" y="137065"/>
                      </a:cubicBezTo>
                      <a:close/>
                      <a:moveTo>
                        <a:pt x="14161" y="124013"/>
                      </a:moveTo>
                      <a:lnTo>
                        <a:pt x="155531" y="124013"/>
                      </a:lnTo>
                      <a:lnTo>
                        <a:pt x="138017" y="13052"/>
                      </a:lnTo>
                      <a:lnTo>
                        <a:pt x="31675" y="13052"/>
                      </a:lnTo>
                      <a:lnTo>
                        <a:pt x="14161" y="124013"/>
                      </a:lnTo>
                      <a:close/>
                    </a:path>
                  </a:pathLst>
                </a:custGeom>
                <a:grpFill/>
                <a:ln w="2237" cap="flat">
                  <a:noFill/>
                  <a:prstDash val="solid"/>
                  <a:miter/>
                </a:ln>
              </p:spPr>
              <p:txBody>
                <a:bodyPr rtlCol="0" anchor="ctr"/>
                <a:lstStyle/>
                <a:p>
                  <a:endParaRPr lang="en-GB" dirty="0"/>
                </a:p>
              </p:txBody>
            </p:sp>
            <p:sp>
              <p:nvSpPr>
                <p:cNvPr id="203" name="Freihandform: Form 684">
                  <a:extLst>
                    <a:ext uri="{FF2B5EF4-FFF2-40B4-BE49-F238E27FC236}">
                      <a16:creationId xmlns:a16="http://schemas.microsoft.com/office/drawing/2014/main" id="{E0533F8F-9D8F-4D69-88A6-DE87B544CFFA}"/>
                    </a:ext>
                  </a:extLst>
                </p:cNvPr>
                <p:cNvSpPr/>
                <p:nvPr/>
              </p:nvSpPr>
              <p:spPr>
                <a:xfrm>
                  <a:off x="5412736" y="2919073"/>
                  <a:ext cx="104435" cy="13051"/>
                </a:xfrm>
                <a:custGeom>
                  <a:avLst/>
                  <a:gdLst>
                    <a:gd name="connsiteX0" fmla="*/ 97910 w 104435"/>
                    <a:gd name="connsiteY0" fmla="*/ 13052 h 13051"/>
                    <a:gd name="connsiteX1" fmla="*/ 6526 w 104435"/>
                    <a:gd name="connsiteY1" fmla="*/ 13052 h 13051"/>
                    <a:gd name="connsiteX2" fmla="*/ 0 w 104435"/>
                    <a:gd name="connsiteY2" fmla="*/ 6526 h 13051"/>
                    <a:gd name="connsiteX3" fmla="*/ 6526 w 104435"/>
                    <a:gd name="connsiteY3" fmla="*/ 0 h 13051"/>
                    <a:gd name="connsiteX4" fmla="*/ 97910 w 104435"/>
                    <a:gd name="connsiteY4" fmla="*/ 0 h 13051"/>
                    <a:gd name="connsiteX5" fmla="*/ 104436 w 104435"/>
                    <a:gd name="connsiteY5" fmla="*/ 6526 h 13051"/>
                    <a:gd name="connsiteX6" fmla="*/ 97910 w 104435"/>
                    <a:gd name="connsiteY6" fmla="*/ 13052 h 1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435" h="13051">
                      <a:moveTo>
                        <a:pt x="97910" y="13052"/>
                      </a:moveTo>
                      <a:lnTo>
                        <a:pt x="6526" y="13052"/>
                      </a:lnTo>
                      <a:cubicBezTo>
                        <a:pt x="2915" y="13052"/>
                        <a:pt x="0" y="10136"/>
                        <a:pt x="0" y="6526"/>
                      </a:cubicBezTo>
                      <a:cubicBezTo>
                        <a:pt x="0" y="2915"/>
                        <a:pt x="2915" y="0"/>
                        <a:pt x="6526" y="0"/>
                      </a:cubicBezTo>
                      <a:lnTo>
                        <a:pt x="97910" y="0"/>
                      </a:lnTo>
                      <a:cubicBezTo>
                        <a:pt x="101520" y="0"/>
                        <a:pt x="104436" y="2915"/>
                        <a:pt x="104436" y="6526"/>
                      </a:cubicBezTo>
                      <a:cubicBezTo>
                        <a:pt x="104436" y="10136"/>
                        <a:pt x="101520" y="13052"/>
                        <a:pt x="97910" y="13052"/>
                      </a:cubicBezTo>
                      <a:close/>
                    </a:path>
                  </a:pathLst>
                </a:custGeom>
                <a:grpFill/>
                <a:ln w="2237" cap="flat">
                  <a:noFill/>
                  <a:prstDash val="solid"/>
                  <a:miter/>
                </a:ln>
              </p:spPr>
              <p:txBody>
                <a:bodyPr rtlCol="0" anchor="ctr"/>
                <a:lstStyle/>
                <a:p>
                  <a:endParaRPr lang="en-GB" dirty="0"/>
                </a:p>
              </p:txBody>
            </p:sp>
            <p:sp>
              <p:nvSpPr>
                <p:cNvPr id="204" name="Freihandform: Form 685">
                  <a:extLst>
                    <a:ext uri="{FF2B5EF4-FFF2-40B4-BE49-F238E27FC236}">
                      <a16:creationId xmlns:a16="http://schemas.microsoft.com/office/drawing/2014/main" id="{3C174E50-02BD-4CA4-A927-7D9C9B2A342D}"/>
                    </a:ext>
                  </a:extLst>
                </p:cNvPr>
                <p:cNvSpPr/>
                <p:nvPr/>
              </p:nvSpPr>
              <p:spPr>
                <a:xfrm>
                  <a:off x="5419262" y="2886443"/>
                  <a:ext cx="91383" cy="13051"/>
                </a:xfrm>
                <a:custGeom>
                  <a:avLst/>
                  <a:gdLst>
                    <a:gd name="connsiteX0" fmla="*/ 84858 w 91383"/>
                    <a:gd name="connsiteY0" fmla="*/ 13052 h 13051"/>
                    <a:gd name="connsiteX1" fmla="*/ 6526 w 91383"/>
                    <a:gd name="connsiteY1" fmla="*/ 13052 h 13051"/>
                    <a:gd name="connsiteX2" fmla="*/ 0 w 91383"/>
                    <a:gd name="connsiteY2" fmla="*/ 6526 h 13051"/>
                    <a:gd name="connsiteX3" fmla="*/ 6526 w 91383"/>
                    <a:gd name="connsiteY3" fmla="*/ 0 h 13051"/>
                    <a:gd name="connsiteX4" fmla="*/ 84858 w 91383"/>
                    <a:gd name="connsiteY4" fmla="*/ 0 h 13051"/>
                    <a:gd name="connsiteX5" fmla="*/ 91384 w 91383"/>
                    <a:gd name="connsiteY5" fmla="*/ 6526 h 13051"/>
                    <a:gd name="connsiteX6" fmla="*/ 84858 w 91383"/>
                    <a:gd name="connsiteY6" fmla="*/ 13052 h 1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3" h="13051">
                      <a:moveTo>
                        <a:pt x="84858" y="13052"/>
                      </a:moveTo>
                      <a:lnTo>
                        <a:pt x="6526" y="13052"/>
                      </a:lnTo>
                      <a:cubicBezTo>
                        <a:pt x="2915" y="13052"/>
                        <a:pt x="0" y="10136"/>
                        <a:pt x="0" y="6526"/>
                      </a:cubicBezTo>
                      <a:cubicBezTo>
                        <a:pt x="0" y="2915"/>
                        <a:pt x="2915" y="0"/>
                        <a:pt x="6526" y="0"/>
                      </a:cubicBezTo>
                      <a:lnTo>
                        <a:pt x="84858" y="0"/>
                      </a:lnTo>
                      <a:cubicBezTo>
                        <a:pt x="88469" y="0"/>
                        <a:pt x="91384" y="2915"/>
                        <a:pt x="91384" y="6526"/>
                      </a:cubicBezTo>
                      <a:cubicBezTo>
                        <a:pt x="91384" y="10136"/>
                        <a:pt x="88469" y="13052"/>
                        <a:pt x="84858" y="13052"/>
                      </a:cubicBezTo>
                      <a:close/>
                    </a:path>
                  </a:pathLst>
                </a:custGeom>
                <a:grpFill/>
                <a:ln w="2237" cap="flat">
                  <a:noFill/>
                  <a:prstDash val="solid"/>
                  <a:miter/>
                </a:ln>
              </p:spPr>
              <p:txBody>
                <a:bodyPr rtlCol="0" anchor="ctr"/>
                <a:lstStyle/>
                <a:p>
                  <a:endParaRPr lang="en-GB" dirty="0"/>
                </a:p>
              </p:txBody>
            </p:sp>
            <p:sp>
              <p:nvSpPr>
                <p:cNvPr id="205" name="Freihandform: Form 686">
                  <a:extLst>
                    <a:ext uri="{FF2B5EF4-FFF2-40B4-BE49-F238E27FC236}">
                      <a16:creationId xmlns:a16="http://schemas.microsoft.com/office/drawing/2014/main" id="{7ED963DE-C0AA-4E95-A0D0-6981F424AABC}"/>
                    </a:ext>
                  </a:extLst>
                </p:cNvPr>
                <p:cNvSpPr/>
                <p:nvPr/>
              </p:nvSpPr>
              <p:spPr>
                <a:xfrm>
                  <a:off x="5419262" y="2853814"/>
                  <a:ext cx="91383" cy="13051"/>
                </a:xfrm>
                <a:custGeom>
                  <a:avLst/>
                  <a:gdLst>
                    <a:gd name="connsiteX0" fmla="*/ 84858 w 91383"/>
                    <a:gd name="connsiteY0" fmla="*/ 13052 h 13051"/>
                    <a:gd name="connsiteX1" fmla="*/ 6526 w 91383"/>
                    <a:gd name="connsiteY1" fmla="*/ 13052 h 13051"/>
                    <a:gd name="connsiteX2" fmla="*/ 0 w 91383"/>
                    <a:gd name="connsiteY2" fmla="*/ 6526 h 13051"/>
                    <a:gd name="connsiteX3" fmla="*/ 6526 w 91383"/>
                    <a:gd name="connsiteY3" fmla="*/ 0 h 13051"/>
                    <a:gd name="connsiteX4" fmla="*/ 84858 w 91383"/>
                    <a:gd name="connsiteY4" fmla="*/ 0 h 13051"/>
                    <a:gd name="connsiteX5" fmla="*/ 91384 w 91383"/>
                    <a:gd name="connsiteY5" fmla="*/ 6526 h 13051"/>
                    <a:gd name="connsiteX6" fmla="*/ 84858 w 91383"/>
                    <a:gd name="connsiteY6" fmla="*/ 13052 h 1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383" h="13051">
                      <a:moveTo>
                        <a:pt x="84858" y="13052"/>
                      </a:moveTo>
                      <a:lnTo>
                        <a:pt x="6526" y="13052"/>
                      </a:lnTo>
                      <a:cubicBezTo>
                        <a:pt x="2915" y="13052"/>
                        <a:pt x="0" y="10136"/>
                        <a:pt x="0" y="6526"/>
                      </a:cubicBezTo>
                      <a:cubicBezTo>
                        <a:pt x="0" y="2915"/>
                        <a:pt x="2915" y="0"/>
                        <a:pt x="6526" y="0"/>
                      </a:cubicBezTo>
                      <a:lnTo>
                        <a:pt x="84858" y="0"/>
                      </a:lnTo>
                      <a:cubicBezTo>
                        <a:pt x="88469" y="0"/>
                        <a:pt x="91384" y="2915"/>
                        <a:pt x="91384" y="6526"/>
                      </a:cubicBezTo>
                      <a:cubicBezTo>
                        <a:pt x="91384" y="10136"/>
                        <a:pt x="88469" y="13052"/>
                        <a:pt x="84858" y="13052"/>
                      </a:cubicBezTo>
                      <a:close/>
                    </a:path>
                  </a:pathLst>
                </a:custGeom>
                <a:grpFill/>
                <a:ln w="2237" cap="flat">
                  <a:noFill/>
                  <a:prstDash val="solid"/>
                  <a:miter/>
                </a:ln>
              </p:spPr>
              <p:txBody>
                <a:bodyPr rtlCol="0" anchor="ctr"/>
                <a:lstStyle/>
                <a:p>
                  <a:endParaRPr lang="en-GB" dirty="0"/>
                </a:p>
              </p:txBody>
            </p:sp>
          </p:grpSp>
          <p:sp>
            <p:nvSpPr>
              <p:cNvPr id="201" name="Freihandform: Form 696">
                <a:extLst>
                  <a:ext uri="{FF2B5EF4-FFF2-40B4-BE49-F238E27FC236}">
                    <a16:creationId xmlns:a16="http://schemas.microsoft.com/office/drawing/2014/main" id="{F82CB98B-3994-4D79-9894-3A86863E2D1F}"/>
                  </a:ext>
                </a:extLst>
              </p:cNvPr>
              <p:cNvSpPr/>
              <p:nvPr/>
            </p:nvSpPr>
            <p:spPr>
              <a:xfrm>
                <a:off x="5308300" y="2795060"/>
                <a:ext cx="469926" cy="13051"/>
              </a:xfrm>
              <a:custGeom>
                <a:avLst/>
                <a:gdLst>
                  <a:gd name="connsiteX0" fmla="*/ 0 w 469926"/>
                  <a:gd name="connsiteY0" fmla="*/ 0 h 13051"/>
                  <a:gd name="connsiteX1" fmla="*/ 469927 w 469926"/>
                  <a:gd name="connsiteY1" fmla="*/ 0 h 13051"/>
                  <a:gd name="connsiteX2" fmla="*/ 469927 w 469926"/>
                  <a:gd name="connsiteY2" fmla="*/ 13052 h 13051"/>
                  <a:gd name="connsiteX3" fmla="*/ 0 w 469926"/>
                  <a:gd name="connsiteY3" fmla="*/ 13052 h 13051"/>
                </a:gdLst>
                <a:ahLst/>
                <a:cxnLst>
                  <a:cxn ang="0">
                    <a:pos x="connsiteX0" y="connsiteY0"/>
                  </a:cxn>
                  <a:cxn ang="0">
                    <a:pos x="connsiteX1" y="connsiteY1"/>
                  </a:cxn>
                  <a:cxn ang="0">
                    <a:pos x="connsiteX2" y="connsiteY2"/>
                  </a:cxn>
                  <a:cxn ang="0">
                    <a:pos x="connsiteX3" y="connsiteY3"/>
                  </a:cxn>
                </a:cxnLst>
                <a:rect l="l" t="t" r="r" b="b"/>
                <a:pathLst>
                  <a:path w="469926" h="13051">
                    <a:moveTo>
                      <a:pt x="0" y="0"/>
                    </a:moveTo>
                    <a:lnTo>
                      <a:pt x="469927" y="0"/>
                    </a:lnTo>
                    <a:lnTo>
                      <a:pt x="469927" y="13052"/>
                    </a:lnTo>
                    <a:lnTo>
                      <a:pt x="0" y="13052"/>
                    </a:lnTo>
                    <a:close/>
                  </a:path>
                </a:pathLst>
              </a:custGeom>
              <a:grpFill/>
              <a:ln w="2237" cap="flat">
                <a:noFill/>
                <a:prstDash val="solid"/>
                <a:miter/>
              </a:ln>
            </p:spPr>
            <p:txBody>
              <a:bodyPr rtlCol="0" anchor="ctr"/>
              <a:lstStyle/>
              <a:p>
                <a:endParaRPr lang="en-GB" dirty="0"/>
              </a:p>
            </p:txBody>
          </p:sp>
        </p:grpSp>
        <p:sp>
          <p:nvSpPr>
            <p:cNvPr id="198" name="Freihandform: Form 695">
              <a:extLst>
                <a:ext uri="{FF2B5EF4-FFF2-40B4-BE49-F238E27FC236}">
                  <a16:creationId xmlns:a16="http://schemas.microsoft.com/office/drawing/2014/main" id="{C9AD4700-7BDE-465B-B281-F5D8947FC537}"/>
                </a:ext>
              </a:extLst>
            </p:cNvPr>
            <p:cNvSpPr/>
            <p:nvPr/>
          </p:nvSpPr>
          <p:spPr>
            <a:xfrm>
              <a:off x="1685148" y="3322131"/>
              <a:ext cx="49740" cy="49057"/>
            </a:xfrm>
            <a:custGeom>
              <a:avLst/>
              <a:gdLst>
                <a:gd name="connsiteX0" fmla="*/ 25044 w 56361"/>
                <a:gd name="connsiteY0" fmla="*/ 55588 h 55587"/>
                <a:gd name="connsiteX1" fmla="*/ 10804 w 56361"/>
                <a:gd name="connsiteY1" fmla="*/ 49039 h 55587"/>
                <a:gd name="connsiteX2" fmla="*/ 4457 w 56361"/>
                <a:gd name="connsiteY2" fmla="*/ 41594 h 55587"/>
                <a:gd name="connsiteX3" fmla="*/ 6543 w 56361"/>
                <a:gd name="connsiteY3" fmla="*/ 15244 h 55587"/>
                <a:gd name="connsiteX4" fmla="*/ 19191 w 56361"/>
                <a:gd name="connsiteY4" fmla="*/ 4457 h 55587"/>
                <a:gd name="connsiteX5" fmla="*/ 45541 w 56361"/>
                <a:gd name="connsiteY5" fmla="*/ 6543 h 55587"/>
                <a:gd name="connsiteX6" fmla="*/ 51887 w 56361"/>
                <a:gd name="connsiteY6" fmla="*/ 13988 h 55587"/>
                <a:gd name="connsiteX7" fmla="*/ 56305 w 56361"/>
                <a:gd name="connsiteY7" fmla="*/ 27600 h 55587"/>
                <a:gd name="connsiteX8" fmla="*/ 49802 w 56361"/>
                <a:gd name="connsiteY8" fmla="*/ 40338 h 55587"/>
                <a:gd name="connsiteX9" fmla="*/ 37176 w 56361"/>
                <a:gd name="connsiteY9" fmla="*/ 51125 h 55587"/>
                <a:gd name="connsiteX10" fmla="*/ 25044 w 56361"/>
                <a:gd name="connsiteY10" fmla="*/ 55588 h 55587"/>
                <a:gd name="connsiteX11" fmla="*/ 31323 w 56361"/>
                <a:gd name="connsiteY11" fmla="*/ 13046 h 55587"/>
                <a:gd name="connsiteX12" fmla="*/ 27668 w 56361"/>
                <a:gd name="connsiteY12" fmla="*/ 14392 h 55587"/>
                <a:gd name="connsiteX13" fmla="*/ 15020 w 56361"/>
                <a:gd name="connsiteY13" fmla="*/ 25179 h 55587"/>
                <a:gd name="connsiteX14" fmla="*/ 14392 w 56361"/>
                <a:gd name="connsiteY14" fmla="*/ 33117 h 55587"/>
                <a:gd name="connsiteX15" fmla="*/ 20738 w 56361"/>
                <a:gd name="connsiteY15" fmla="*/ 40562 h 55587"/>
                <a:gd name="connsiteX16" fmla="*/ 28677 w 56361"/>
                <a:gd name="connsiteY16" fmla="*/ 41190 h 55587"/>
                <a:gd name="connsiteX17" fmla="*/ 41302 w 56361"/>
                <a:gd name="connsiteY17" fmla="*/ 30404 h 55587"/>
                <a:gd name="connsiteX18" fmla="*/ 43253 w 56361"/>
                <a:gd name="connsiteY18" fmla="*/ 26569 h 55587"/>
                <a:gd name="connsiteX19" fmla="*/ 41930 w 56361"/>
                <a:gd name="connsiteY19" fmla="*/ 22465 h 55587"/>
                <a:gd name="connsiteX20" fmla="*/ 35584 w 56361"/>
                <a:gd name="connsiteY20" fmla="*/ 15020 h 55587"/>
                <a:gd name="connsiteX21" fmla="*/ 31323 w 56361"/>
                <a:gd name="connsiteY21" fmla="*/ 13046 h 5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6361" h="55587">
                  <a:moveTo>
                    <a:pt x="25044" y="55588"/>
                  </a:moveTo>
                  <a:cubicBezTo>
                    <a:pt x="19752" y="55588"/>
                    <a:pt x="14504" y="53367"/>
                    <a:pt x="10804" y="49039"/>
                  </a:cubicBezTo>
                  <a:lnTo>
                    <a:pt x="4457" y="41594"/>
                  </a:lnTo>
                  <a:cubicBezTo>
                    <a:pt x="-2225" y="33745"/>
                    <a:pt x="-1284" y="21927"/>
                    <a:pt x="6543" y="15244"/>
                  </a:cubicBezTo>
                  <a:lnTo>
                    <a:pt x="19191" y="4457"/>
                  </a:lnTo>
                  <a:cubicBezTo>
                    <a:pt x="27040" y="-2225"/>
                    <a:pt x="38858" y="-1284"/>
                    <a:pt x="45541" y="6543"/>
                  </a:cubicBezTo>
                  <a:lnTo>
                    <a:pt x="51887" y="13988"/>
                  </a:lnTo>
                  <a:cubicBezTo>
                    <a:pt x="55139" y="17778"/>
                    <a:pt x="56686" y="22622"/>
                    <a:pt x="56305" y="27600"/>
                  </a:cubicBezTo>
                  <a:cubicBezTo>
                    <a:pt x="55901" y="32579"/>
                    <a:pt x="53592" y="37109"/>
                    <a:pt x="49802" y="40338"/>
                  </a:cubicBezTo>
                  <a:lnTo>
                    <a:pt x="37176" y="51125"/>
                  </a:lnTo>
                  <a:cubicBezTo>
                    <a:pt x="33655" y="54130"/>
                    <a:pt x="29327" y="55588"/>
                    <a:pt x="25044" y="55588"/>
                  </a:cubicBezTo>
                  <a:close/>
                  <a:moveTo>
                    <a:pt x="31323" y="13046"/>
                  </a:moveTo>
                  <a:cubicBezTo>
                    <a:pt x="30022" y="13046"/>
                    <a:pt x="28722" y="13495"/>
                    <a:pt x="27668" y="14392"/>
                  </a:cubicBezTo>
                  <a:lnTo>
                    <a:pt x="15020" y="25179"/>
                  </a:lnTo>
                  <a:cubicBezTo>
                    <a:pt x="12665" y="27197"/>
                    <a:pt x="12374" y="30762"/>
                    <a:pt x="14392" y="33117"/>
                  </a:cubicBezTo>
                  <a:lnTo>
                    <a:pt x="20738" y="40562"/>
                  </a:lnTo>
                  <a:cubicBezTo>
                    <a:pt x="22757" y="42917"/>
                    <a:pt x="26322" y="43209"/>
                    <a:pt x="28677" y="41190"/>
                  </a:cubicBezTo>
                  <a:lnTo>
                    <a:pt x="41302" y="30404"/>
                  </a:lnTo>
                  <a:cubicBezTo>
                    <a:pt x="42446" y="29417"/>
                    <a:pt x="43141" y="28071"/>
                    <a:pt x="43253" y="26569"/>
                  </a:cubicBezTo>
                  <a:cubicBezTo>
                    <a:pt x="43366" y="25066"/>
                    <a:pt x="42895" y="23609"/>
                    <a:pt x="41930" y="22465"/>
                  </a:cubicBezTo>
                  <a:lnTo>
                    <a:pt x="35584" y="15020"/>
                  </a:lnTo>
                  <a:cubicBezTo>
                    <a:pt x="34485" y="13719"/>
                    <a:pt x="32915" y="13046"/>
                    <a:pt x="31323" y="13046"/>
                  </a:cubicBezTo>
                  <a:close/>
                </a:path>
              </a:pathLst>
            </a:custGeom>
            <a:solidFill>
              <a:schemeClr val="accent1"/>
            </a:solidFill>
            <a:ln w="2237" cap="flat">
              <a:noFill/>
              <a:prstDash val="solid"/>
              <a:miter/>
            </a:ln>
          </p:spPr>
          <p:txBody>
            <a:bodyPr rtlCol="0" anchor="ctr"/>
            <a:lstStyle/>
            <a:p>
              <a:endParaRPr lang="en-GB" dirty="0"/>
            </a:p>
          </p:txBody>
        </p:sp>
      </p:grpSp>
      <p:grpSp>
        <p:nvGrpSpPr>
          <p:cNvPr id="46" name="Group 45">
            <a:extLst>
              <a:ext uri="{FF2B5EF4-FFF2-40B4-BE49-F238E27FC236}">
                <a16:creationId xmlns:a16="http://schemas.microsoft.com/office/drawing/2014/main" id="{CC7B4A63-8D89-52EF-1717-8C4F58A1660A}"/>
              </a:ext>
            </a:extLst>
          </p:cNvPr>
          <p:cNvGrpSpPr/>
          <p:nvPr/>
        </p:nvGrpSpPr>
        <p:grpSpPr>
          <a:xfrm>
            <a:off x="2656557" y="3197068"/>
            <a:ext cx="456726" cy="432002"/>
            <a:chOff x="2656557" y="3197068"/>
            <a:chExt cx="456726" cy="432002"/>
          </a:xfrm>
        </p:grpSpPr>
        <p:grpSp>
          <p:nvGrpSpPr>
            <p:cNvPr id="220" name="Group 219">
              <a:extLst>
                <a:ext uri="{FF2B5EF4-FFF2-40B4-BE49-F238E27FC236}">
                  <a16:creationId xmlns:a16="http://schemas.microsoft.com/office/drawing/2014/main" id="{CC903ACF-63B4-4D74-9781-3C1B31D5569D}"/>
                </a:ext>
              </a:extLst>
            </p:cNvPr>
            <p:cNvGrpSpPr/>
            <p:nvPr/>
          </p:nvGrpSpPr>
          <p:grpSpPr>
            <a:xfrm>
              <a:off x="2656557" y="3351354"/>
              <a:ext cx="456726" cy="277716"/>
              <a:chOff x="867360" y="1842396"/>
              <a:chExt cx="483222" cy="293827"/>
            </a:xfrm>
            <a:solidFill>
              <a:schemeClr val="tx2"/>
            </a:solidFill>
          </p:grpSpPr>
          <p:grpSp>
            <p:nvGrpSpPr>
              <p:cNvPr id="232" name="Grafik 246">
                <a:extLst>
                  <a:ext uri="{FF2B5EF4-FFF2-40B4-BE49-F238E27FC236}">
                    <a16:creationId xmlns:a16="http://schemas.microsoft.com/office/drawing/2014/main" id="{9FA66B01-DFD7-4D98-9B57-F4134031B4F0}"/>
                  </a:ext>
                </a:extLst>
              </p:cNvPr>
              <p:cNvGrpSpPr/>
              <p:nvPr/>
            </p:nvGrpSpPr>
            <p:grpSpPr>
              <a:xfrm>
                <a:off x="1003868" y="1928362"/>
                <a:ext cx="208566" cy="129564"/>
                <a:chOff x="1003868" y="1928362"/>
                <a:chExt cx="208566" cy="129564"/>
              </a:xfrm>
              <a:grpFill/>
            </p:grpSpPr>
            <p:sp>
              <p:nvSpPr>
                <p:cNvPr id="238" name="Freihandform: Form 316">
                  <a:extLst>
                    <a:ext uri="{FF2B5EF4-FFF2-40B4-BE49-F238E27FC236}">
                      <a16:creationId xmlns:a16="http://schemas.microsoft.com/office/drawing/2014/main" id="{E550045A-376E-472A-B5EE-FB7FFFD013D0}"/>
                    </a:ext>
                  </a:extLst>
                </p:cNvPr>
                <p:cNvSpPr/>
                <p:nvPr/>
              </p:nvSpPr>
              <p:spPr>
                <a:xfrm>
                  <a:off x="1003868" y="1928362"/>
                  <a:ext cx="208566" cy="94529"/>
                </a:xfrm>
                <a:custGeom>
                  <a:avLst/>
                  <a:gdLst>
                    <a:gd name="connsiteX0" fmla="*/ 104270 w 208566"/>
                    <a:gd name="connsiteY0" fmla="*/ 94530 h 94529"/>
                    <a:gd name="connsiteX1" fmla="*/ 101769 w 208566"/>
                    <a:gd name="connsiteY1" fmla="*/ 94019 h 94529"/>
                    <a:gd name="connsiteX2" fmla="*/ 4006 w 208566"/>
                    <a:gd name="connsiteY2" fmla="*/ 53284 h 94529"/>
                    <a:gd name="connsiteX3" fmla="*/ 0 w 208566"/>
                    <a:gd name="connsiteY3" fmla="*/ 47262 h 94529"/>
                    <a:gd name="connsiteX4" fmla="*/ 4006 w 208566"/>
                    <a:gd name="connsiteY4" fmla="*/ 41239 h 94529"/>
                    <a:gd name="connsiteX5" fmla="*/ 101769 w 208566"/>
                    <a:gd name="connsiteY5" fmla="*/ 504 h 94529"/>
                    <a:gd name="connsiteX6" fmla="*/ 106797 w 208566"/>
                    <a:gd name="connsiteY6" fmla="*/ 504 h 94529"/>
                    <a:gd name="connsiteX7" fmla="*/ 204560 w 208566"/>
                    <a:gd name="connsiteY7" fmla="*/ 41239 h 94529"/>
                    <a:gd name="connsiteX8" fmla="*/ 208567 w 208566"/>
                    <a:gd name="connsiteY8" fmla="*/ 47262 h 94529"/>
                    <a:gd name="connsiteX9" fmla="*/ 204560 w 208566"/>
                    <a:gd name="connsiteY9" fmla="*/ 53284 h 94529"/>
                    <a:gd name="connsiteX10" fmla="*/ 106797 w 208566"/>
                    <a:gd name="connsiteY10" fmla="*/ 94019 h 94529"/>
                    <a:gd name="connsiteX11" fmla="*/ 104270 w 208566"/>
                    <a:gd name="connsiteY11" fmla="*/ 94530 h 94529"/>
                    <a:gd name="connsiteX12" fmla="*/ 23473 w 208566"/>
                    <a:gd name="connsiteY12" fmla="*/ 47262 h 94529"/>
                    <a:gd name="connsiteX13" fmla="*/ 104270 w 208566"/>
                    <a:gd name="connsiteY13" fmla="*/ 80925 h 94529"/>
                    <a:gd name="connsiteX14" fmla="*/ 185067 w 208566"/>
                    <a:gd name="connsiteY14" fmla="*/ 47262 h 94529"/>
                    <a:gd name="connsiteX15" fmla="*/ 104270 w 208566"/>
                    <a:gd name="connsiteY15" fmla="*/ 13598 h 94529"/>
                    <a:gd name="connsiteX16" fmla="*/ 23473 w 208566"/>
                    <a:gd name="connsiteY16" fmla="*/ 47262 h 94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8566" h="94529">
                      <a:moveTo>
                        <a:pt x="104270" y="94530"/>
                      </a:moveTo>
                      <a:cubicBezTo>
                        <a:pt x="103409" y="94530"/>
                        <a:pt x="102549" y="94369"/>
                        <a:pt x="101769" y="94019"/>
                      </a:cubicBezTo>
                      <a:lnTo>
                        <a:pt x="4006" y="53284"/>
                      </a:lnTo>
                      <a:cubicBezTo>
                        <a:pt x="1586" y="52263"/>
                        <a:pt x="0" y="49897"/>
                        <a:pt x="0" y="47262"/>
                      </a:cubicBezTo>
                      <a:cubicBezTo>
                        <a:pt x="0" y="44627"/>
                        <a:pt x="1586" y="42260"/>
                        <a:pt x="4006" y="41239"/>
                      </a:cubicBezTo>
                      <a:lnTo>
                        <a:pt x="101769" y="504"/>
                      </a:lnTo>
                      <a:cubicBezTo>
                        <a:pt x="103383" y="-168"/>
                        <a:pt x="105184" y="-168"/>
                        <a:pt x="106797" y="504"/>
                      </a:cubicBezTo>
                      <a:lnTo>
                        <a:pt x="204560" y="41239"/>
                      </a:lnTo>
                      <a:cubicBezTo>
                        <a:pt x="206980" y="42260"/>
                        <a:pt x="208567" y="44627"/>
                        <a:pt x="208567" y="47262"/>
                      </a:cubicBezTo>
                      <a:cubicBezTo>
                        <a:pt x="208567" y="49897"/>
                        <a:pt x="206980" y="52263"/>
                        <a:pt x="204560" y="53284"/>
                      </a:cubicBezTo>
                      <a:lnTo>
                        <a:pt x="106797" y="94019"/>
                      </a:lnTo>
                      <a:cubicBezTo>
                        <a:pt x="105991" y="94369"/>
                        <a:pt x="105130" y="94530"/>
                        <a:pt x="104270" y="94530"/>
                      </a:cubicBezTo>
                      <a:close/>
                      <a:moveTo>
                        <a:pt x="23473" y="47262"/>
                      </a:moveTo>
                      <a:lnTo>
                        <a:pt x="104270" y="80925"/>
                      </a:lnTo>
                      <a:lnTo>
                        <a:pt x="185067" y="47262"/>
                      </a:lnTo>
                      <a:lnTo>
                        <a:pt x="104270" y="13598"/>
                      </a:lnTo>
                      <a:lnTo>
                        <a:pt x="23473" y="47262"/>
                      </a:lnTo>
                      <a:close/>
                    </a:path>
                  </a:pathLst>
                </a:custGeom>
                <a:grpFill/>
                <a:ln w="2687" cap="flat">
                  <a:noFill/>
                  <a:prstDash val="solid"/>
                  <a:miter/>
                </a:ln>
              </p:spPr>
              <p:txBody>
                <a:bodyPr rtlCol="0" anchor="ctr"/>
                <a:lstStyle/>
                <a:p>
                  <a:endParaRPr lang="en-GB" dirty="0"/>
                </a:p>
              </p:txBody>
            </p:sp>
            <p:sp>
              <p:nvSpPr>
                <p:cNvPr id="239" name="Freihandform: Form 317">
                  <a:extLst>
                    <a:ext uri="{FF2B5EF4-FFF2-40B4-BE49-F238E27FC236}">
                      <a16:creationId xmlns:a16="http://schemas.microsoft.com/office/drawing/2014/main" id="{6C258D5A-CC8B-4B7F-A37F-2EF94C939612}"/>
                    </a:ext>
                  </a:extLst>
                </p:cNvPr>
                <p:cNvSpPr/>
                <p:nvPr/>
              </p:nvSpPr>
              <p:spPr>
                <a:xfrm>
                  <a:off x="1052239" y="1989470"/>
                  <a:ext cx="112526" cy="68455"/>
                </a:xfrm>
                <a:custGeom>
                  <a:avLst/>
                  <a:gdLst>
                    <a:gd name="connsiteX0" fmla="*/ 55711 w 112526"/>
                    <a:gd name="connsiteY0" fmla="*/ 68456 h 68455"/>
                    <a:gd name="connsiteX1" fmla="*/ 672 w 112526"/>
                    <a:gd name="connsiteY1" fmla="*/ 50172 h 68455"/>
                    <a:gd name="connsiteX2" fmla="*/ 0 w 112526"/>
                    <a:gd name="connsiteY2" fmla="*/ 47268 h 68455"/>
                    <a:gd name="connsiteX3" fmla="*/ 0 w 112526"/>
                    <a:gd name="connsiteY3" fmla="*/ 6534 h 68455"/>
                    <a:gd name="connsiteX4" fmla="*/ 6534 w 112526"/>
                    <a:gd name="connsiteY4" fmla="*/ 0 h 68455"/>
                    <a:gd name="connsiteX5" fmla="*/ 13067 w 112526"/>
                    <a:gd name="connsiteY5" fmla="*/ 6534 h 68455"/>
                    <a:gd name="connsiteX6" fmla="*/ 13067 w 112526"/>
                    <a:gd name="connsiteY6" fmla="*/ 45117 h 68455"/>
                    <a:gd name="connsiteX7" fmla="*/ 55738 w 112526"/>
                    <a:gd name="connsiteY7" fmla="*/ 55388 h 68455"/>
                    <a:gd name="connsiteX8" fmla="*/ 99430 w 112526"/>
                    <a:gd name="connsiteY8" fmla="*/ 41837 h 68455"/>
                    <a:gd name="connsiteX9" fmla="*/ 98812 w 112526"/>
                    <a:gd name="connsiteY9" fmla="*/ 6641 h 68455"/>
                    <a:gd name="connsiteX10" fmla="*/ 105238 w 112526"/>
                    <a:gd name="connsiteY10" fmla="*/ 0 h 68455"/>
                    <a:gd name="connsiteX11" fmla="*/ 111879 w 112526"/>
                    <a:gd name="connsiteY11" fmla="*/ 6426 h 68455"/>
                    <a:gd name="connsiteX12" fmla="*/ 112524 w 112526"/>
                    <a:gd name="connsiteY12" fmla="*/ 43504 h 68455"/>
                    <a:gd name="connsiteX13" fmla="*/ 112013 w 112526"/>
                    <a:gd name="connsiteY13" fmla="*/ 46166 h 68455"/>
                    <a:gd name="connsiteX14" fmla="*/ 55711 w 112526"/>
                    <a:gd name="connsiteY14" fmla="*/ 68456 h 68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526" h="68455">
                      <a:moveTo>
                        <a:pt x="55711" y="68456"/>
                      </a:moveTo>
                      <a:cubicBezTo>
                        <a:pt x="11051" y="68456"/>
                        <a:pt x="1613" y="52054"/>
                        <a:pt x="672" y="50172"/>
                      </a:cubicBezTo>
                      <a:cubicBezTo>
                        <a:pt x="215" y="49258"/>
                        <a:pt x="0" y="48263"/>
                        <a:pt x="0" y="47268"/>
                      </a:cubicBezTo>
                      <a:lnTo>
                        <a:pt x="0" y="6534"/>
                      </a:lnTo>
                      <a:cubicBezTo>
                        <a:pt x="0" y="2931"/>
                        <a:pt x="2931" y="0"/>
                        <a:pt x="6534" y="0"/>
                      </a:cubicBezTo>
                      <a:cubicBezTo>
                        <a:pt x="10137" y="0"/>
                        <a:pt x="13067" y="2931"/>
                        <a:pt x="13067" y="6534"/>
                      </a:cubicBezTo>
                      <a:lnTo>
                        <a:pt x="13067" y="45117"/>
                      </a:lnTo>
                      <a:cubicBezTo>
                        <a:pt x="15568" y="47618"/>
                        <a:pt x="25731" y="55388"/>
                        <a:pt x="55738" y="55388"/>
                      </a:cubicBezTo>
                      <a:cubicBezTo>
                        <a:pt x="86793" y="55388"/>
                        <a:pt x="97010" y="45064"/>
                        <a:pt x="99430" y="41837"/>
                      </a:cubicBezTo>
                      <a:lnTo>
                        <a:pt x="98812" y="6641"/>
                      </a:lnTo>
                      <a:cubicBezTo>
                        <a:pt x="98758" y="3038"/>
                        <a:pt x="101608" y="54"/>
                        <a:pt x="105238" y="0"/>
                      </a:cubicBezTo>
                      <a:cubicBezTo>
                        <a:pt x="108679" y="54"/>
                        <a:pt x="111825" y="2796"/>
                        <a:pt x="111879" y="6426"/>
                      </a:cubicBezTo>
                      <a:lnTo>
                        <a:pt x="112524" y="43504"/>
                      </a:lnTo>
                      <a:cubicBezTo>
                        <a:pt x="112551" y="44418"/>
                        <a:pt x="112363" y="45332"/>
                        <a:pt x="112013" y="46166"/>
                      </a:cubicBezTo>
                      <a:cubicBezTo>
                        <a:pt x="110992" y="48451"/>
                        <a:pt x="101151" y="68456"/>
                        <a:pt x="55711" y="68456"/>
                      </a:cubicBezTo>
                      <a:close/>
                    </a:path>
                  </a:pathLst>
                </a:custGeom>
                <a:grpFill/>
                <a:ln w="2687" cap="flat">
                  <a:noFill/>
                  <a:prstDash val="solid"/>
                  <a:miter/>
                </a:ln>
              </p:spPr>
              <p:txBody>
                <a:bodyPr rtlCol="0" anchor="ctr"/>
                <a:lstStyle/>
                <a:p>
                  <a:endParaRPr lang="en-GB" dirty="0"/>
                </a:p>
              </p:txBody>
            </p:sp>
            <p:sp>
              <p:nvSpPr>
                <p:cNvPr id="240" name="Freihandform: Form 318">
                  <a:extLst>
                    <a:ext uri="{FF2B5EF4-FFF2-40B4-BE49-F238E27FC236}">
                      <a16:creationId xmlns:a16="http://schemas.microsoft.com/office/drawing/2014/main" id="{05542EB4-7024-4320-A0E1-8A6DBEF44CA9}"/>
                    </a:ext>
                  </a:extLst>
                </p:cNvPr>
                <p:cNvSpPr/>
                <p:nvPr/>
              </p:nvSpPr>
              <p:spPr>
                <a:xfrm>
                  <a:off x="1140663" y="1966027"/>
                  <a:ext cx="47357" cy="56864"/>
                </a:xfrm>
                <a:custGeom>
                  <a:avLst/>
                  <a:gdLst>
                    <a:gd name="connsiteX0" fmla="*/ 40824 w 47357"/>
                    <a:gd name="connsiteY0" fmla="*/ 56865 h 56864"/>
                    <a:gd name="connsiteX1" fmla="*/ 34291 w 47357"/>
                    <a:gd name="connsiteY1" fmla="*/ 50331 h 56864"/>
                    <a:gd name="connsiteX2" fmla="*/ 34291 w 47357"/>
                    <a:gd name="connsiteY2" fmla="*/ 26051 h 56864"/>
                    <a:gd name="connsiteX3" fmla="*/ 3881 w 47357"/>
                    <a:gd name="connsiteY3" fmla="*/ 12500 h 56864"/>
                    <a:gd name="connsiteX4" fmla="*/ 574 w 47357"/>
                    <a:gd name="connsiteY4" fmla="*/ 3869 h 56864"/>
                    <a:gd name="connsiteX5" fmla="*/ 9204 w 47357"/>
                    <a:gd name="connsiteY5" fmla="*/ 562 h 56864"/>
                    <a:gd name="connsiteX6" fmla="*/ 43486 w 47357"/>
                    <a:gd name="connsiteY6" fmla="*/ 15834 h 56864"/>
                    <a:gd name="connsiteX7" fmla="*/ 47358 w 47357"/>
                    <a:gd name="connsiteY7" fmla="*/ 21803 h 56864"/>
                    <a:gd name="connsiteX8" fmla="*/ 47358 w 47357"/>
                    <a:gd name="connsiteY8" fmla="*/ 50331 h 56864"/>
                    <a:gd name="connsiteX9" fmla="*/ 40824 w 47357"/>
                    <a:gd name="connsiteY9" fmla="*/ 56865 h 56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357" h="56864">
                      <a:moveTo>
                        <a:pt x="40824" y="56865"/>
                      </a:moveTo>
                      <a:cubicBezTo>
                        <a:pt x="37221" y="56865"/>
                        <a:pt x="34291" y="53934"/>
                        <a:pt x="34291" y="50331"/>
                      </a:cubicBezTo>
                      <a:lnTo>
                        <a:pt x="34291" y="26051"/>
                      </a:lnTo>
                      <a:lnTo>
                        <a:pt x="3881" y="12500"/>
                      </a:lnTo>
                      <a:cubicBezTo>
                        <a:pt x="574" y="11021"/>
                        <a:pt x="-905" y="7176"/>
                        <a:pt x="574" y="3869"/>
                      </a:cubicBezTo>
                      <a:cubicBezTo>
                        <a:pt x="2052" y="562"/>
                        <a:pt x="5924" y="-890"/>
                        <a:pt x="9204" y="562"/>
                      </a:cubicBezTo>
                      <a:lnTo>
                        <a:pt x="43486" y="15834"/>
                      </a:lnTo>
                      <a:cubicBezTo>
                        <a:pt x="45852" y="16883"/>
                        <a:pt x="47358" y="19222"/>
                        <a:pt x="47358" y="21803"/>
                      </a:cubicBezTo>
                      <a:lnTo>
                        <a:pt x="47358" y="50331"/>
                      </a:lnTo>
                      <a:cubicBezTo>
                        <a:pt x="47331" y="53934"/>
                        <a:pt x="44427" y="56865"/>
                        <a:pt x="40824" y="56865"/>
                      </a:cubicBezTo>
                      <a:close/>
                    </a:path>
                  </a:pathLst>
                </a:custGeom>
                <a:grpFill/>
                <a:ln w="2687" cap="flat">
                  <a:noFill/>
                  <a:prstDash val="solid"/>
                  <a:miter/>
                </a:ln>
              </p:spPr>
              <p:txBody>
                <a:bodyPr rtlCol="0" anchor="ctr"/>
                <a:lstStyle/>
                <a:p>
                  <a:endParaRPr lang="en-GB" dirty="0"/>
                </a:p>
              </p:txBody>
            </p:sp>
          </p:grpSp>
          <p:grpSp>
            <p:nvGrpSpPr>
              <p:cNvPr id="233" name="Grafik 246">
                <a:extLst>
                  <a:ext uri="{FF2B5EF4-FFF2-40B4-BE49-F238E27FC236}">
                    <a16:creationId xmlns:a16="http://schemas.microsoft.com/office/drawing/2014/main" id="{36257D80-C975-4738-BE73-33211EB4EE85}"/>
                  </a:ext>
                </a:extLst>
              </p:cNvPr>
              <p:cNvGrpSpPr/>
              <p:nvPr/>
            </p:nvGrpSpPr>
            <p:grpSpPr>
              <a:xfrm>
                <a:off x="867360" y="1842396"/>
                <a:ext cx="483222" cy="293827"/>
                <a:chOff x="867360" y="1842396"/>
                <a:chExt cx="483222" cy="293827"/>
              </a:xfrm>
              <a:grpFill/>
            </p:grpSpPr>
            <p:sp>
              <p:nvSpPr>
                <p:cNvPr id="234" name="Freihandform: Form 320">
                  <a:extLst>
                    <a:ext uri="{FF2B5EF4-FFF2-40B4-BE49-F238E27FC236}">
                      <a16:creationId xmlns:a16="http://schemas.microsoft.com/office/drawing/2014/main" id="{1F27321C-E9C1-42F0-936C-E6E37DB6F3AA}"/>
                    </a:ext>
                  </a:extLst>
                </p:cNvPr>
                <p:cNvSpPr/>
                <p:nvPr/>
              </p:nvSpPr>
              <p:spPr>
                <a:xfrm>
                  <a:off x="919576" y="1842396"/>
                  <a:ext cx="378737" cy="248118"/>
                </a:xfrm>
                <a:custGeom>
                  <a:avLst/>
                  <a:gdLst>
                    <a:gd name="connsiteX0" fmla="*/ 378738 w 378737"/>
                    <a:gd name="connsiteY0" fmla="*/ 248118 h 248118"/>
                    <a:gd name="connsiteX1" fmla="*/ 0 w 378737"/>
                    <a:gd name="connsiteY1" fmla="*/ 248118 h 248118"/>
                    <a:gd name="connsiteX2" fmla="*/ 0 w 378737"/>
                    <a:gd name="connsiteY2" fmla="*/ 39794 h 248118"/>
                    <a:gd name="connsiteX3" fmla="*/ 39794 w 378737"/>
                    <a:gd name="connsiteY3" fmla="*/ 0 h 248118"/>
                    <a:gd name="connsiteX4" fmla="*/ 130593 w 378737"/>
                    <a:gd name="connsiteY4" fmla="*/ 0 h 248118"/>
                    <a:gd name="connsiteX5" fmla="*/ 130593 w 378737"/>
                    <a:gd name="connsiteY5" fmla="*/ 13067 h 248118"/>
                    <a:gd name="connsiteX6" fmla="*/ 39820 w 378737"/>
                    <a:gd name="connsiteY6" fmla="*/ 13067 h 248118"/>
                    <a:gd name="connsiteX7" fmla="*/ 13067 w 378737"/>
                    <a:gd name="connsiteY7" fmla="*/ 39820 h 248118"/>
                    <a:gd name="connsiteX8" fmla="*/ 13067 w 378737"/>
                    <a:gd name="connsiteY8" fmla="*/ 235105 h 248118"/>
                    <a:gd name="connsiteX9" fmla="*/ 365671 w 378737"/>
                    <a:gd name="connsiteY9" fmla="*/ 235105 h 248118"/>
                    <a:gd name="connsiteX10" fmla="*/ 365671 w 378737"/>
                    <a:gd name="connsiteY10" fmla="*/ 39794 h 248118"/>
                    <a:gd name="connsiteX11" fmla="*/ 338917 w 378737"/>
                    <a:gd name="connsiteY11" fmla="*/ 13040 h 248118"/>
                    <a:gd name="connsiteX12" fmla="*/ 248118 w 378737"/>
                    <a:gd name="connsiteY12" fmla="*/ 13040 h 248118"/>
                    <a:gd name="connsiteX13" fmla="*/ 248118 w 378737"/>
                    <a:gd name="connsiteY13" fmla="*/ 0 h 248118"/>
                    <a:gd name="connsiteX14" fmla="*/ 338917 w 378737"/>
                    <a:gd name="connsiteY14" fmla="*/ 0 h 248118"/>
                    <a:gd name="connsiteX15" fmla="*/ 378738 w 378737"/>
                    <a:gd name="connsiteY15" fmla="*/ 39794 h 248118"/>
                    <a:gd name="connsiteX16" fmla="*/ 378738 w 378737"/>
                    <a:gd name="connsiteY16" fmla="*/ 248118 h 248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8737" h="248118">
                      <a:moveTo>
                        <a:pt x="378738" y="248118"/>
                      </a:moveTo>
                      <a:lnTo>
                        <a:pt x="0" y="248118"/>
                      </a:lnTo>
                      <a:lnTo>
                        <a:pt x="0" y="39794"/>
                      </a:lnTo>
                      <a:cubicBezTo>
                        <a:pt x="0" y="17853"/>
                        <a:pt x="17853" y="0"/>
                        <a:pt x="39794" y="0"/>
                      </a:cubicBezTo>
                      <a:lnTo>
                        <a:pt x="130593" y="0"/>
                      </a:lnTo>
                      <a:lnTo>
                        <a:pt x="130593" y="13067"/>
                      </a:lnTo>
                      <a:lnTo>
                        <a:pt x="39820" y="13067"/>
                      </a:lnTo>
                      <a:cubicBezTo>
                        <a:pt x="25086" y="13067"/>
                        <a:pt x="13067" y="25059"/>
                        <a:pt x="13067" y="39820"/>
                      </a:cubicBezTo>
                      <a:lnTo>
                        <a:pt x="13067" y="235105"/>
                      </a:lnTo>
                      <a:lnTo>
                        <a:pt x="365671" y="235105"/>
                      </a:lnTo>
                      <a:lnTo>
                        <a:pt x="365671" y="39794"/>
                      </a:lnTo>
                      <a:cubicBezTo>
                        <a:pt x="365671" y="25059"/>
                        <a:pt x="353679" y="13040"/>
                        <a:pt x="338917" y="13040"/>
                      </a:cubicBezTo>
                      <a:lnTo>
                        <a:pt x="248118" y="13040"/>
                      </a:lnTo>
                      <a:lnTo>
                        <a:pt x="248118" y="0"/>
                      </a:lnTo>
                      <a:lnTo>
                        <a:pt x="338917" y="0"/>
                      </a:lnTo>
                      <a:cubicBezTo>
                        <a:pt x="360858" y="0"/>
                        <a:pt x="378738" y="17853"/>
                        <a:pt x="378738" y="39794"/>
                      </a:cubicBezTo>
                      <a:lnTo>
                        <a:pt x="378738" y="248118"/>
                      </a:lnTo>
                      <a:close/>
                    </a:path>
                  </a:pathLst>
                </a:custGeom>
                <a:grpFill/>
                <a:ln w="2687" cap="flat">
                  <a:noFill/>
                  <a:prstDash val="solid"/>
                  <a:miter/>
                </a:ln>
              </p:spPr>
              <p:txBody>
                <a:bodyPr rtlCol="0" anchor="ctr"/>
                <a:lstStyle/>
                <a:p>
                  <a:endParaRPr lang="en-GB" dirty="0"/>
                </a:p>
              </p:txBody>
            </p:sp>
            <p:sp>
              <p:nvSpPr>
                <p:cNvPr id="235" name="Freihandform: Form 321">
                  <a:extLst>
                    <a:ext uri="{FF2B5EF4-FFF2-40B4-BE49-F238E27FC236}">
                      <a16:creationId xmlns:a16="http://schemas.microsoft.com/office/drawing/2014/main" id="{90823BDE-D34D-420D-B288-299689D2FDF6}"/>
                    </a:ext>
                  </a:extLst>
                </p:cNvPr>
                <p:cNvSpPr/>
                <p:nvPr/>
              </p:nvSpPr>
              <p:spPr>
                <a:xfrm>
                  <a:off x="952244" y="1875037"/>
                  <a:ext cx="97951" cy="189368"/>
                </a:xfrm>
                <a:custGeom>
                  <a:avLst/>
                  <a:gdLst>
                    <a:gd name="connsiteX0" fmla="*/ 13040 w 97951"/>
                    <a:gd name="connsiteY0" fmla="*/ 189369 h 189368"/>
                    <a:gd name="connsiteX1" fmla="*/ 0 w 97951"/>
                    <a:gd name="connsiteY1" fmla="*/ 189369 h 189368"/>
                    <a:gd name="connsiteX2" fmla="*/ 0 w 97951"/>
                    <a:gd name="connsiteY2" fmla="*/ 0 h 189368"/>
                    <a:gd name="connsiteX3" fmla="*/ 97951 w 97951"/>
                    <a:gd name="connsiteY3" fmla="*/ 0 h 189368"/>
                    <a:gd name="connsiteX4" fmla="*/ 97951 w 97951"/>
                    <a:gd name="connsiteY4" fmla="*/ 13067 h 189368"/>
                    <a:gd name="connsiteX5" fmla="*/ 13040 w 97951"/>
                    <a:gd name="connsiteY5" fmla="*/ 13067 h 18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951" h="189368">
                      <a:moveTo>
                        <a:pt x="13040" y="189369"/>
                      </a:moveTo>
                      <a:lnTo>
                        <a:pt x="0" y="189369"/>
                      </a:lnTo>
                      <a:lnTo>
                        <a:pt x="0" y="0"/>
                      </a:lnTo>
                      <a:lnTo>
                        <a:pt x="97951" y="0"/>
                      </a:lnTo>
                      <a:lnTo>
                        <a:pt x="97951" y="13067"/>
                      </a:lnTo>
                      <a:lnTo>
                        <a:pt x="13040" y="13067"/>
                      </a:lnTo>
                      <a:close/>
                    </a:path>
                  </a:pathLst>
                </a:custGeom>
                <a:grpFill/>
                <a:ln w="2687" cap="flat">
                  <a:noFill/>
                  <a:prstDash val="solid"/>
                  <a:miter/>
                </a:ln>
              </p:spPr>
              <p:txBody>
                <a:bodyPr rtlCol="0" anchor="ctr"/>
                <a:lstStyle/>
                <a:p>
                  <a:endParaRPr lang="en-GB" dirty="0"/>
                </a:p>
              </p:txBody>
            </p:sp>
            <p:sp>
              <p:nvSpPr>
                <p:cNvPr id="236" name="Freihandform: Form 322">
                  <a:extLst>
                    <a:ext uri="{FF2B5EF4-FFF2-40B4-BE49-F238E27FC236}">
                      <a16:creationId xmlns:a16="http://schemas.microsoft.com/office/drawing/2014/main" id="{E84BA0B8-10DA-46C1-9A0A-E821C201A9B0}"/>
                    </a:ext>
                  </a:extLst>
                </p:cNvPr>
                <p:cNvSpPr/>
                <p:nvPr/>
              </p:nvSpPr>
              <p:spPr>
                <a:xfrm>
                  <a:off x="1167721" y="1875037"/>
                  <a:ext cx="97951" cy="189368"/>
                </a:xfrm>
                <a:custGeom>
                  <a:avLst/>
                  <a:gdLst>
                    <a:gd name="connsiteX0" fmla="*/ 97951 w 97951"/>
                    <a:gd name="connsiteY0" fmla="*/ 189369 h 189368"/>
                    <a:gd name="connsiteX1" fmla="*/ 84884 w 97951"/>
                    <a:gd name="connsiteY1" fmla="*/ 189369 h 189368"/>
                    <a:gd name="connsiteX2" fmla="*/ 84884 w 97951"/>
                    <a:gd name="connsiteY2" fmla="*/ 13067 h 189368"/>
                    <a:gd name="connsiteX3" fmla="*/ 0 w 97951"/>
                    <a:gd name="connsiteY3" fmla="*/ 13067 h 189368"/>
                    <a:gd name="connsiteX4" fmla="*/ 0 w 97951"/>
                    <a:gd name="connsiteY4" fmla="*/ 0 h 189368"/>
                    <a:gd name="connsiteX5" fmla="*/ 97951 w 97951"/>
                    <a:gd name="connsiteY5" fmla="*/ 0 h 189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951" h="189368">
                      <a:moveTo>
                        <a:pt x="97951" y="189369"/>
                      </a:moveTo>
                      <a:lnTo>
                        <a:pt x="84884" y="189369"/>
                      </a:lnTo>
                      <a:lnTo>
                        <a:pt x="84884" y="13067"/>
                      </a:lnTo>
                      <a:lnTo>
                        <a:pt x="0" y="13067"/>
                      </a:lnTo>
                      <a:lnTo>
                        <a:pt x="0" y="0"/>
                      </a:lnTo>
                      <a:lnTo>
                        <a:pt x="97951" y="0"/>
                      </a:lnTo>
                      <a:close/>
                    </a:path>
                  </a:pathLst>
                </a:custGeom>
                <a:grpFill/>
                <a:ln w="2687" cap="flat">
                  <a:noFill/>
                  <a:prstDash val="solid"/>
                  <a:miter/>
                </a:ln>
              </p:spPr>
              <p:txBody>
                <a:bodyPr rtlCol="0" anchor="ctr"/>
                <a:lstStyle/>
                <a:p>
                  <a:endParaRPr lang="en-GB" dirty="0"/>
                </a:p>
              </p:txBody>
            </p:sp>
            <p:sp>
              <p:nvSpPr>
                <p:cNvPr id="237" name="Freihandform: Form 323">
                  <a:extLst>
                    <a:ext uri="{FF2B5EF4-FFF2-40B4-BE49-F238E27FC236}">
                      <a16:creationId xmlns:a16="http://schemas.microsoft.com/office/drawing/2014/main" id="{C201307D-62AC-4CAA-8FDF-A6D8C18F1A28}"/>
                    </a:ext>
                  </a:extLst>
                </p:cNvPr>
                <p:cNvSpPr/>
                <p:nvPr/>
              </p:nvSpPr>
              <p:spPr>
                <a:xfrm>
                  <a:off x="867360" y="2077446"/>
                  <a:ext cx="483222" cy="58776"/>
                </a:xfrm>
                <a:custGeom>
                  <a:avLst/>
                  <a:gdLst>
                    <a:gd name="connsiteX0" fmla="*/ 438643 w 483222"/>
                    <a:gd name="connsiteY0" fmla="*/ 58776 h 58776"/>
                    <a:gd name="connsiteX1" fmla="*/ 44553 w 483222"/>
                    <a:gd name="connsiteY1" fmla="*/ 58776 h 58776"/>
                    <a:gd name="connsiteX2" fmla="*/ 0 w 483222"/>
                    <a:gd name="connsiteY2" fmla="*/ 14224 h 58776"/>
                    <a:gd name="connsiteX3" fmla="*/ 0 w 483222"/>
                    <a:gd name="connsiteY3" fmla="*/ 6534 h 58776"/>
                    <a:gd name="connsiteX4" fmla="*/ 6534 w 483222"/>
                    <a:gd name="connsiteY4" fmla="*/ 0 h 58776"/>
                    <a:gd name="connsiteX5" fmla="*/ 476689 w 483222"/>
                    <a:gd name="connsiteY5" fmla="*/ 0 h 58776"/>
                    <a:gd name="connsiteX6" fmla="*/ 483223 w 483222"/>
                    <a:gd name="connsiteY6" fmla="*/ 6534 h 58776"/>
                    <a:gd name="connsiteX7" fmla="*/ 483223 w 483222"/>
                    <a:gd name="connsiteY7" fmla="*/ 14224 h 58776"/>
                    <a:gd name="connsiteX8" fmla="*/ 438643 w 483222"/>
                    <a:gd name="connsiteY8" fmla="*/ 58776 h 58776"/>
                    <a:gd name="connsiteX9" fmla="*/ 13040 w 483222"/>
                    <a:gd name="connsiteY9" fmla="*/ 13067 h 58776"/>
                    <a:gd name="connsiteX10" fmla="*/ 13040 w 483222"/>
                    <a:gd name="connsiteY10" fmla="*/ 14224 h 58776"/>
                    <a:gd name="connsiteX11" fmla="*/ 44526 w 483222"/>
                    <a:gd name="connsiteY11" fmla="*/ 45709 h 58776"/>
                    <a:gd name="connsiteX12" fmla="*/ 438616 w 483222"/>
                    <a:gd name="connsiteY12" fmla="*/ 45709 h 58776"/>
                    <a:gd name="connsiteX13" fmla="*/ 470102 w 483222"/>
                    <a:gd name="connsiteY13" fmla="*/ 14224 h 58776"/>
                    <a:gd name="connsiteX14" fmla="*/ 470102 w 483222"/>
                    <a:gd name="connsiteY14" fmla="*/ 13067 h 58776"/>
                    <a:gd name="connsiteX15" fmla="*/ 13040 w 483222"/>
                    <a:gd name="connsiteY15" fmla="*/ 13067 h 5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3222" h="58776">
                      <a:moveTo>
                        <a:pt x="438643" y="58776"/>
                      </a:moveTo>
                      <a:lnTo>
                        <a:pt x="44553" y="58776"/>
                      </a:lnTo>
                      <a:cubicBezTo>
                        <a:pt x="19977" y="58776"/>
                        <a:pt x="0" y="38799"/>
                        <a:pt x="0" y="14224"/>
                      </a:cubicBezTo>
                      <a:lnTo>
                        <a:pt x="0" y="6534"/>
                      </a:lnTo>
                      <a:cubicBezTo>
                        <a:pt x="0" y="2931"/>
                        <a:pt x="2931" y="0"/>
                        <a:pt x="6534" y="0"/>
                      </a:cubicBezTo>
                      <a:lnTo>
                        <a:pt x="476689" y="0"/>
                      </a:lnTo>
                      <a:cubicBezTo>
                        <a:pt x="480292" y="0"/>
                        <a:pt x="483223" y="2931"/>
                        <a:pt x="483223" y="6534"/>
                      </a:cubicBezTo>
                      <a:lnTo>
                        <a:pt x="483223" y="14224"/>
                      </a:lnTo>
                      <a:cubicBezTo>
                        <a:pt x="483196" y="38799"/>
                        <a:pt x="463218" y="58776"/>
                        <a:pt x="438643" y="58776"/>
                      </a:cubicBezTo>
                      <a:close/>
                      <a:moveTo>
                        <a:pt x="13040" y="13067"/>
                      </a:moveTo>
                      <a:lnTo>
                        <a:pt x="13040" y="14224"/>
                      </a:lnTo>
                      <a:cubicBezTo>
                        <a:pt x="13040" y="31593"/>
                        <a:pt x="27156" y="45709"/>
                        <a:pt x="44526" y="45709"/>
                      </a:cubicBezTo>
                      <a:lnTo>
                        <a:pt x="438616" y="45709"/>
                      </a:lnTo>
                      <a:cubicBezTo>
                        <a:pt x="455986" y="45709"/>
                        <a:pt x="470102" y="31593"/>
                        <a:pt x="470102" y="14224"/>
                      </a:cubicBezTo>
                      <a:lnTo>
                        <a:pt x="470102" y="13067"/>
                      </a:lnTo>
                      <a:lnTo>
                        <a:pt x="13040" y="13067"/>
                      </a:lnTo>
                      <a:close/>
                    </a:path>
                  </a:pathLst>
                </a:custGeom>
                <a:grpFill/>
                <a:ln w="2687" cap="flat">
                  <a:noFill/>
                  <a:prstDash val="solid"/>
                  <a:miter/>
                </a:ln>
              </p:spPr>
              <p:txBody>
                <a:bodyPr rtlCol="0" anchor="ctr"/>
                <a:lstStyle/>
                <a:p>
                  <a:endParaRPr lang="en-GB" dirty="0"/>
                </a:p>
              </p:txBody>
            </p:sp>
          </p:grpSp>
        </p:grpSp>
        <p:grpSp>
          <p:nvGrpSpPr>
            <p:cNvPr id="221" name="Grafik 246">
              <a:extLst>
                <a:ext uri="{FF2B5EF4-FFF2-40B4-BE49-F238E27FC236}">
                  <a16:creationId xmlns:a16="http://schemas.microsoft.com/office/drawing/2014/main" id="{65EA108F-C44B-44FF-9F89-D81624269711}"/>
                </a:ext>
              </a:extLst>
            </p:cNvPr>
            <p:cNvGrpSpPr/>
            <p:nvPr/>
          </p:nvGrpSpPr>
          <p:grpSpPr>
            <a:xfrm>
              <a:off x="2755313" y="3197068"/>
              <a:ext cx="259189" cy="197486"/>
              <a:chOff x="971845" y="1679161"/>
              <a:chExt cx="274225" cy="208943"/>
            </a:xfrm>
            <a:solidFill>
              <a:schemeClr val="accent1"/>
            </a:solidFill>
          </p:grpSpPr>
          <p:sp>
            <p:nvSpPr>
              <p:cNvPr id="222" name="Freihandform: Form 325">
                <a:extLst>
                  <a:ext uri="{FF2B5EF4-FFF2-40B4-BE49-F238E27FC236}">
                    <a16:creationId xmlns:a16="http://schemas.microsoft.com/office/drawing/2014/main" id="{EB6505BB-3AE7-461A-BE7D-BCBFB8958990}"/>
                  </a:ext>
                </a:extLst>
              </p:cNvPr>
              <p:cNvSpPr/>
              <p:nvPr/>
            </p:nvSpPr>
            <p:spPr>
              <a:xfrm>
                <a:off x="1076303" y="1679161"/>
                <a:ext cx="65282" cy="65282"/>
              </a:xfrm>
              <a:custGeom>
                <a:avLst/>
                <a:gdLst>
                  <a:gd name="connsiteX0" fmla="*/ 32641 w 65282"/>
                  <a:gd name="connsiteY0" fmla="*/ 65283 h 65282"/>
                  <a:gd name="connsiteX1" fmla="*/ 0 w 65282"/>
                  <a:gd name="connsiteY1" fmla="*/ 32641 h 65282"/>
                  <a:gd name="connsiteX2" fmla="*/ 32641 w 65282"/>
                  <a:gd name="connsiteY2" fmla="*/ 0 h 65282"/>
                  <a:gd name="connsiteX3" fmla="*/ 65283 w 65282"/>
                  <a:gd name="connsiteY3" fmla="*/ 32641 h 65282"/>
                  <a:gd name="connsiteX4" fmla="*/ 32641 w 65282"/>
                  <a:gd name="connsiteY4" fmla="*/ 65283 h 65282"/>
                  <a:gd name="connsiteX5" fmla="*/ 32641 w 65282"/>
                  <a:gd name="connsiteY5" fmla="*/ 13040 h 65282"/>
                  <a:gd name="connsiteX6" fmla="*/ 13040 w 65282"/>
                  <a:gd name="connsiteY6" fmla="*/ 32641 h 65282"/>
                  <a:gd name="connsiteX7" fmla="*/ 32641 w 65282"/>
                  <a:gd name="connsiteY7" fmla="*/ 52242 h 65282"/>
                  <a:gd name="connsiteX8" fmla="*/ 52242 w 65282"/>
                  <a:gd name="connsiteY8" fmla="*/ 32641 h 65282"/>
                  <a:gd name="connsiteX9" fmla="*/ 32641 w 65282"/>
                  <a:gd name="connsiteY9" fmla="*/ 13040 h 6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82" h="65282">
                    <a:moveTo>
                      <a:pt x="32641" y="65283"/>
                    </a:moveTo>
                    <a:cubicBezTo>
                      <a:pt x="14627" y="65283"/>
                      <a:pt x="0" y="50629"/>
                      <a:pt x="0" y="32641"/>
                    </a:cubicBezTo>
                    <a:cubicBezTo>
                      <a:pt x="0" y="14654"/>
                      <a:pt x="14654" y="0"/>
                      <a:pt x="32641" y="0"/>
                    </a:cubicBezTo>
                    <a:cubicBezTo>
                      <a:pt x="50656" y="0"/>
                      <a:pt x="65283" y="14654"/>
                      <a:pt x="65283" y="32641"/>
                    </a:cubicBezTo>
                    <a:cubicBezTo>
                      <a:pt x="65283" y="50629"/>
                      <a:pt x="50656" y="65283"/>
                      <a:pt x="32641" y="65283"/>
                    </a:cubicBezTo>
                    <a:close/>
                    <a:moveTo>
                      <a:pt x="32641" y="13040"/>
                    </a:moveTo>
                    <a:cubicBezTo>
                      <a:pt x="21833" y="13040"/>
                      <a:pt x="13040" y="21833"/>
                      <a:pt x="13040" y="32641"/>
                    </a:cubicBezTo>
                    <a:cubicBezTo>
                      <a:pt x="13040" y="43450"/>
                      <a:pt x="21833" y="52242"/>
                      <a:pt x="32641" y="52242"/>
                    </a:cubicBezTo>
                    <a:cubicBezTo>
                      <a:pt x="43450" y="52242"/>
                      <a:pt x="52242" y="43450"/>
                      <a:pt x="52242" y="32641"/>
                    </a:cubicBezTo>
                    <a:cubicBezTo>
                      <a:pt x="52242" y="21833"/>
                      <a:pt x="43450" y="13040"/>
                      <a:pt x="32641" y="13040"/>
                    </a:cubicBezTo>
                    <a:close/>
                  </a:path>
                </a:pathLst>
              </a:custGeom>
              <a:solidFill>
                <a:schemeClr val="accent1"/>
              </a:solidFill>
              <a:ln w="2687" cap="flat">
                <a:noFill/>
                <a:prstDash val="solid"/>
                <a:miter/>
              </a:ln>
            </p:spPr>
            <p:txBody>
              <a:bodyPr rtlCol="0" anchor="ctr"/>
              <a:lstStyle/>
              <a:p>
                <a:endParaRPr lang="en-GB" dirty="0"/>
              </a:p>
            </p:txBody>
          </p:sp>
          <p:sp>
            <p:nvSpPr>
              <p:cNvPr id="223" name="Freihandform: Form 326">
                <a:extLst>
                  <a:ext uri="{FF2B5EF4-FFF2-40B4-BE49-F238E27FC236}">
                    <a16:creationId xmlns:a16="http://schemas.microsoft.com/office/drawing/2014/main" id="{6B42A786-326C-4E18-8F3C-0604EA73BB28}"/>
                  </a:ext>
                </a:extLst>
              </p:cNvPr>
              <p:cNvSpPr/>
              <p:nvPr/>
            </p:nvSpPr>
            <p:spPr>
              <a:xfrm>
                <a:off x="1180788" y="1711803"/>
                <a:ext cx="65282" cy="65282"/>
              </a:xfrm>
              <a:custGeom>
                <a:avLst/>
                <a:gdLst>
                  <a:gd name="connsiteX0" fmla="*/ 32641 w 65282"/>
                  <a:gd name="connsiteY0" fmla="*/ 65283 h 65282"/>
                  <a:gd name="connsiteX1" fmla="*/ 0 w 65282"/>
                  <a:gd name="connsiteY1" fmla="*/ 32641 h 65282"/>
                  <a:gd name="connsiteX2" fmla="*/ 32641 w 65282"/>
                  <a:gd name="connsiteY2" fmla="*/ 0 h 65282"/>
                  <a:gd name="connsiteX3" fmla="*/ 65283 w 65282"/>
                  <a:gd name="connsiteY3" fmla="*/ 32641 h 65282"/>
                  <a:gd name="connsiteX4" fmla="*/ 32641 w 65282"/>
                  <a:gd name="connsiteY4" fmla="*/ 65283 h 65282"/>
                  <a:gd name="connsiteX5" fmla="*/ 32641 w 65282"/>
                  <a:gd name="connsiteY5" fmla="*/ 13040 h 65282"/>
                  <a:gd name="connsiteX6" fmla="*/ 13040 w 65282"/>
                  <a:gd name="connsiteY6" fmla="*/ 32641 h 65282"/>
                  <a:gd name="connsiteX7" fmla="*/ 32641 w 65282"/>
                  <a:gd name="connsiteY7" fmla="*/ 52242 h 65282"/>
                  <a:gd name="connsiteX8" fmla="*/ 52242 w 65282"/>
                  <a:gd name="connsiteY8" fmla="*/ 32641 h 65282"/>
                  <a:gd name="connsiteX9" fmla="*/ 32641 w 65282"/>
                  <a:gd name="connsiteY9" fmla="*/ 13040 h 6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82" h="65282">
                    <a:moveTo>
                      <a:pt x="32641" y="65283"/>
                    </a:moveTo>
                    <a:cubicBezTo>
                      <a:pt x="14627" y="65283"/>
                      <a:pt x="0" y="50629"/>
                      <a:pt x="0" y="32641"/>
                    </a:cubicBezTo>
                    <a:cubicBezTo>
                      <a:pt x="0" y="14654"/>
                      <a:pt x="14654" y="0"/>
                      <a:pt x="32641" y="0"/>
                    </a:cubicBezTo>
                    <a:cubicBezTo>
                      <a:pt x="50629" y="0"/>
                      <a:pt x="65283" y="14654"/>
                      <a:pt x="65283" y="32641"/>
                    </a:cubicBezTo>
                    <a:cubicBezTo>
                      <a:pt x="65283" y="50629"/>
                      <a:pt x="50656" y="65283"/>
                      <a:pt x="32641" y="65283"/>
                    </a:cubicBezTo>
                    <a:close/>
                    <a:moveTo>
                      <a:pt x="32641" y="13040"/>
                    </a:moveTo>
                    <a:cubicBezTo>
                      <a:pt x="21833" y="13040"/>
                      <a:pt x="13040" y="21833"/>
                      <a:pt x="13040" y="32641"/>
                    </a:cubicBezTo>
                    <a:cubicBezTo>
                      <a:pt x="13040" y="43450"/>
                      <a:pt x="21833" y="52242"/>
                      <a:pt x="32641" y="52242"/>
                    </a:cubicBezTo>
                    <a:cubicBezTo>
                      <a:pt x="43450" y="52242"/>
                      <a:pt x="52242" y="43450"/>
                      <a:pt x="52242" y="32641"/>
                    </a:cubicBezTo>
                    <a:cubicBezTo>
                      <a:pt x="52242" y="21833"/>
                      <a:pt x="43450" y="13040"/>
                      <a:pt x="32641" y="13040"/>
                    </a:cubicBezTo>
                    <a:close/>
                  </a:path>
                </a:pathLst>
              </a:custGeom>
              <a:solidFill>
                <a:schemeClr val="accent1"/>
              </a:solidFill>
              <a:ln w="2687" cap="flat">
                <a:noFill/>
                <a:prstDash val="solid"/>
                <a:miter/>
              </a:ln>
            </p:spPr>
            <p:txBody>
              <a:bodyPr rtlCol="0" anchor="ctr"/>
              <a:lstStyle/>
              <a:p>
                <a:endParaRPr lang="en-GB" dirty="0"/>
              </a:p>
            </p:txBody>
          </p:sp>
          <p:sp>
            <p:nvSpPr>
              <p:cNvPr id="224" name="Freihandform: Form 327">
                <a:extLst>
                  <a:ext uri="{FF2B5EF4-FFF2-40B4-BE49-F238E27FC236}">
                    <a16:creationId xmlns:a16="http://schemas.microsoft.com/office/drawing/2014/main" id="{414DF6CD-7C4D-49FB-84EE-00249A288667}"/>
                  </a:ext>
                </a:extLst>
              </p:cNvPr>
              <p:cNvSpPr/>
              <p:nvPr/>
            </p:nvSpPr>
            <p:spPr>
              <a:xfrm>
                <a:off x="1102438" y="1875037"/>
                <a:ext cx="13067" cy="13067"/>
              </a:xfrm>
              <a:custGeom>
                <a:avLst/>
                <a:gdLst>
                  <a:gd name="connsiteX0" fmla="*/ 0 w 13067"/>
                  <a:gd name="connsiteY0" fmla="*/ 0 h 13067"/>
                  <a:gd name="connsiteX1" fmla="*/ 13067 w 13067"/>
                  <a:gd name="connsiteY1" fmla="*/ 0 h 13067"/>
                  <a:gd name="connsiteX2" fmla="*/ 13067 w 13067"/>
                  <a:gd name="connsiteY2" fmla="*/ 13067 h 13067"/>
                  <a:gd name="connsiteX3" fmla="*/ 0 w 13067"/>
                  <a:gd name="connsiteY3" fmla="*/ 13067 h 13067"/>
                </a:gdLst>
                <a:ahLst/>
                <a:cxnLst>
                  <a:cxn ang="0">
                    <a:pos x="connsiteX0" y="connsiteY0"/>
                  </a:cxn>
                  <a:cxn ang="0">
                    <a:pos x="connsiteX1" y="connsiteY1"/>
                  </a:cxn>
                  <a:cxn ang="0">
                    <a:pos x="connsiteX2" y="connsiteY2"/>
                  </a:cxn>
                  <a:cxn ang="0">
                    <a:pos x="connsiteX3" y="connsiteY3"/>
                  </a:cxn>
                </a:cxnLst>
                <a:rect l="l" t="t" r="r" b="b"/>
                <a:pathLst>
                  <a:path w="13067" h="13067">
                    <a:moveTo>
                      <a:pt x="0" y="0"/>
                    </a:moveTo>
                    <a:lnTo>
                      <a:pt x="13067" y="0"/>
                    </a:lnTo>
                    <a:lnTo>
                      <a:pt x="13067" y="13067"/>
                    </a:lnTo>
                    <a:lnTo>
                      <a:pt x="0" y="13067"/>
                    </a:lnTo>
                    <a:close/>
                  </a:path>
                </a:pathLst>
              </a:custGeom>
              <a:solidFill>
                <a:schemeClr val="accent1"/>
              </a:solidFill>
              <a:ln w="2687" cap="flat">
                <a:noFill/>
                <a:prstDash val="solid"/>
                <a:miter/>
              </a:ln>
            </p:spPr>
            <p:txBody>
              <a:bodyPr rtlCol="0" anchor="ctr"/>
              <a:lstStyle/>
              <a:p>
                <a:endParaRPr lang="en-GB" dirty="0"/>
              </a:p>
            </p:txBody>
          </p:sp>
          <p:sp>
            <p:nvSpPr>
              <p:cNvPr id="225" name="Freihandform: Form 328">
                <a:extLst>
                  <a:ext uri="{FF2B5EF4-FFF2-40B4-BE49-F238E27FC236}">
                    <a16:creationId xmlns:a16="http://schemas.microsoft.com/office/drawing/2014/main" id="{A8656BB6-611A-476D-A09D-5A7D430BBF27}"/>
                  </a:ext>
                </a:extLst>
              </p:cNvPr>
              <p:cNvSpPr/>
              <p:nvPr/>
            </p:nvSpPr>
            <p:spPr>
              <a:xfrm>
                <a:off x="1102438" y="1842396"/>
                <a:ext cx="13067" cy="13067"/>
              </a:xfrm>
              <a:custGeom>
                <a:avLst/>
                <a:gdLst>
                  <a:gd name="connsiteX0" fmla="*/ 0 w 13067"/>
                  <a:gd name="connsiteY0" fmla="*/ 0 h 13067"/>
                  <a:gd name="connsiteX1" fmla="*/ 13067 w 13067"/>
                  <a:gd name="connsiteY1" fmla="*/ 0 h 13067"/>
                  <a:gd name="connsiteX2" fmla="*/ 13067 w 13067"/>
                  <a:gd name="connsiteY2" fmla="*/ 13067 h 13067"/>
                  <a:gd name="connsiteX3" fmla="*/ 0 w 13067"/>
                  <a:gd name="connsiteY3" fmla="*/ 13067 h 13067"/>
                </a:gdLst>
                <a:ahLst/>
                <a:cxnLst>
                  <a:cxn ang="0">
                    <a:pos x="connsiteX0" y="connsiteY0"/>
                  </a:cxn>
                  <a:cxn ang="0">
                    <a:pos x="connsiteX1" y="connsiteY1"/>
                  </a:cxn>
                  <a:cxn ang="0">
                    <a:pos x="connsiteX2" y="connsiteY2"/>
                  </a:cxn>
                  <a:cxn ang="0">
                    <a:pos x="connsiteX3" y="connsiteY3"/>
                  </a:cxn>
                </a:cxnLst>
                <a:rect l="l" t="t" r="r" b="b"/>
                <a:pathLst>
                  <a:path w="13067" h="13067">
                    <a:moveTo>
                      <a:pt x="0" y="0"/>
                    </a:moveTo>
                    <a:lnTo>
                      <a:pt x="13067" y="0"/>
                    </a:lnTo>
                    <a:lnTo>
                      <a:pt x="13067" y="13067"/>
                    </a:lnTo>
                    <a:lnTo>
                      <a:pt x="0" y="13067"/>
                    </a:lnTo>
                    <a:close/>
                  </a:path>
                </a:pathLst>
              </a:custGeom>
              <a:solidFill>
                <a:schemeClr val="accent1"/>
              </a:solidFill>
              <a:ln w="2687" cap="flat">
                <a:noFill/>
                <a:prstDash val="solid"/>
                <a:miter/>
              </a:ln>
            </p:spPr>
            <p:txBody>
              <a:bodyPr rtlCol="0" anchor="ctr"/>
              <a:lstStyle/>
              <a:p>
                <a:endParaRPr lang="en-GB" dirty="0"/>
              </a:p>
            </p:txBody>
          </p:sp>
          <p:sp>
            <p:nvSpPr>
              <p:cNvPr id="226" name="Freihandform: Form 329">
                <a:extLst>
                  <a:ext uri="{FF2B5EF4-FFF2-40B4-BE49-F238E27FC236}">
                    <a16:creationId xmlns:a16="http://schemas.microsoft.com/office/drawing/2014/main" id="{CD9C1C5E-363B-409A-AC34-E282715F8D98}"/>
                  </a:ext>
                </a:extLst>
              </p:cNvPr>
              <p:cNvSpPr/>
              <p:nvPr/>
            </p:nvSpPr>
            <p:spPr>
              <a:xfrm>
                <a:off x="1141613" y="1842396"/>
                <a:ext cx="13067" cy="13067"/>
              </a:xfrm>
              <a:custGeom>
                <a:avLst/>
                <a:gdLst>
                  <a:gd name="connsiteX0" fmla="*/ 0 w 13067"/>
                  <a:gd name="connsiteY0" fmla="*/ 0 h 13067"/>
                  <a:gd name="connsiteX1" fmla="*/ 13067 w 13067"/>
                  <a:gd name="connsiteY1" fmla="*/ 0 h 13067"/>
                  <a:gd name="connsiteX2" fmla="*/ 13067 w 13067"/>
                  <a:gd name="connsiteY2" fmla="*/ 13067 h 13067"/>
                  <a:gd name="connsiteX3" fmla="*/ 0 w 13067"/>
                  <a:gd name="connsiteY3" fmla="*/ 13067 h 13067"/>
                </a:gdLst>
                <a:ahLst/>
                <a:cxnLst>
                  <a:cxn ang="0">
                    <a:pos x="connsiteX0" y="connsiteY0"/>
                  </a:cxn>
                  <a:cxn ang="0">
                    <a:pos x="connsiteX1" y="connsiteY1"/>
                  </a:cxn>
                  <a:cxn ang="0">
                    <a:pos x="connsiteX2" y="connsiteY2"/>
                  </a:cxn>
                  <a:cxn ang="0">
                    <a:pos x="connsiteX3" y="connsiteY3"/>
                  </a:cxn>
                </a:cxnLst>
                <a:rect l="l" t="t" r="r" b="b"/>
                <a:pathLst>
                  <a:path w="13067" h="13067">
                    <a:moveTo>
                      <a:pt x="0" y="0"/>
                    </a:moveTo>
                    <a:lnTo>
                      <a:pt x="13067" y="0"/>
                    </a:lnTo>
                    <a:lnTo>
                      <a:pt x="13067" y="13067"/>
                    </a:lnTo>
                    <a:lnTo>
                      <a:pt x="0" y="13067"/>
                    </a:lnTo>
                    <a:close/>
                  </a:path>
                </a:pathLst>
              </a:custGeom>
              <a:solidFill>
                <a:schemeClr val="accent1"/>
              </a:solidFill>
              <a:ln w="2687" cap="flat">
                <a:noFill/>
                <a:prstDash val="solid"/>
                <a:miter/>
              </a:ln>
            </p:spPr>
            <p:txBody>
              <a:bodyPr rtlCol="0" anchor="ctr"/>
              <a:lstStyle/>
              <a:p>
                <a:endParaRPr lang="en-GB" dirty="0"/>
              </a:p>
            </p:txBody>
          </p:sp>
          <p:sp>
            <p:nvSpPr>
              <p:cNvPr id="227" name="Freihandform: Form 330">
                <a:extLst>
                  <a:ext uri="{FF2B5EF4-FFF2-40B4-BE49-F238E27FC236}">
                    <a16:creationId xmlns:a16="http://schemas.microsoft.com/office/drawing/2014/main" id="{25A4671B-3869-4D20-A53A-D3D6B0AA86FA}"/>
                  </a:ext>
                </a:extLst>
              </p:cNvPr>
              <p:cNvSpPr/>
              <p:nvPr/>
            </p:nvSpPr>
            <p:spPr>
              <a:xfrm>
                <a:off x="1102438" y="1737911"/>
                <a:ext cx="13067" cy="84883"/>
              </a:xfrm>
              <a:custGeom>
                <a:avLst/>
                <a:gdLst>
                  <a:gd name="connsiteX0" fmla="*/ 0 w 13067"/>
                  <a:gd name="connsiteY0" fmla="*/ 0 h 84883"/>
                  <a:gd name="connsiteX1" fmla="*/ 13067 w 13067"/>
                  <a:gd name="connsiteY1" fmla="*/ 0 h 84883"/>
                  <a:gd name="connsiteX2" fmla="*/ 13067 w 13067"/>
                  <a:gd name="connsiteY2" fmla="*/ 84884 h 84883"/>
                  <a:gd name="connsiteX3" fmla="*/ 0 w 13067"/>
                  <a:gd name="connsiteY3" fmla="*/ 84884 h 84883"/>
                </a:gdLst>
                <a:ahLst/>
                <a:cxnLst>
                  <a:cxn ang="0">
                    <a:pos x="connsiteX0" y="connsiteY0"/>
                  </a:cxn>
                  <a:cxn ang="0">
                    <a:pos x="connsiteX1" y="connsiteY1"/>
                  </a:cxn>
                  <a:cxn ang="0">
                    <a:pos x="connsiteX2" y="connsiteY2"/>
                  </a:cxn>
                  <a:cxn ang="0">
                    <a:pos x="connsiteX3" y="connsiteY3"/>
                  </a:cxn>
                </a:cxnLst>
                <a:rect l="l" t="t" r="r" b="b"/>
                <a:pathLst>
                  <a:path w="13067" h="84883">
                    <a:moveTo>
                      <a:pt x="0" y="0"/>
                    </a:moveTo>
                    <a:lnTo>
                      <a:pt x="13067" y="0"/>
                    </a:lnTo>
                    <a:lnTo>
                      <a:pt x="13067" y="84884"/>
                    </a:lnTo>
                    <a:lnTo>
                      <a:pt x="0" y="84884"/>
                    </a:lnTo>
                    <a:close/>
                  </a:path>
                </a:pathLst>
              </a:custGeom>
              <a:solidFill>
                <a:schemeClr val="accent1"/>
              </a:solidFill>
              <a:ln w="2687" cap="flat">
                <a:noFill/>
                <a:prstDash val="solid"/>
                <a:miter/>
              </a:ln>
            </p:spPr>
            <p:txBody>
              <a:bodyPr rtlCol="0" anchor="ctr"/>
              <a:lstStyle/>
              <a:p>
                <a:endParaRPr lang="en-GB" dirty="0"/>
              </a:p>
            </p:txBody>
          </p:sp>
          <p:sp>
            <p:nvSpPr>
              <p:cNvPr id="228" name="Freihandform: Form 331">
                <a:extLst>
                  <a:ext uri="{FF2B5EF4-FFF2-40B4-BE49-F238E27FC236}">
                    <a16:creationId xmlns:a16="http://schemas.microsoft.com/office/drawing/2014/main" id="{D209F881-D35C-4638-9243-CC874DA546FC}"/>
                  </a:ext>
                </a:extLst>
              </p:cNvPr>
              <p:cNvSpPr/>
              <p:nvPr/>
            </p:nvSpPr>
            <p:spPr>
              <a:xfrm>
                <a:off x="1141613" y="1752188"/>
                <a:ext cx="56033" cy="70606"/>
              </a:xfrm>
              <a:custGeom>
                <a:avLst/>
                <a:gdLst>
                  <a:gd name="connsiteX0" fmla="*/ 13040 w 56033"/>
                  <a:gd name="connsiteY0" fmla="*/ 70607 h 70606"/>
                  <a:gd name="connsiteX1" fmla="*/ 0 w 56033"/>
                  <a:gd name="connsiteY1" fmla="*/ 70607 h 70606"/>
                  <a:gd name="connsiteX2" fmla="*/ 0 w 56033"/>
                  <a:gd name="connsiteY2" fmla="*/ 34604 h 70606"/>
                  <a:gd name="connsiteX3" fmla="*/ 48424 w 56033"/>
                  <a:gd name="connsiteY3" fmla="*/ 0 h 70606"/>
                  <a:gd name="connsiteX4" fmla="*/ 56034 w 56033"/>
                  <a:gd name="connsiteY4" fmla="*/ 10621 h 70606"/>
                  <a:gd name="connsiteX5" fmla="*/ 13040 w 56033"/>
                  <a:gd name="connsiteY5" fmla="*/ 41326 h 7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033" h="70606">
                    <a:moveTo>
                      <a:pt x="13040" y="70607"/>
                    </a:moveTo>
                    <a:lnTo>
                      <a:pt x="0" y="70607"/>
                    </a:lnTo>
                    <a:lnTo>
                      <a:pt x="0" y="34604"/>
                    </a:lnTo>
                    <a:lnTo>
                      <a:pt x="48424" y="0"/>
                    </a:lnTo>
                    <a:lnTo>
                      <a:pt x="56034" y="10621"/>
                    </a:lnTo>
                    <a:lnTo>
                      <a:pt x="13040" y="41326"/>
                    </a:lnTo>
                    <a:close/>
                  </a:path>
                </a:pathLst>
              </a:custGeom>
              <a:solidFill>
                <a:schemeClr val="accent1"/>
              </a:solidFill>
              <a:ln w="2687" cap="flat">
                <a:noFill/>
                <a:prstDash val="solid"/>
                <a:miter/>
              </a:ln>
            </p:spPr>
            <p:txBody>
              <a:bodyPr rtlCol="0" anchor="ctr"/>
              <a:lstStyle/>
              <a:p>
                <a:endParaRPr lang="en-GB" dirty="0"/>
              </a:p>
            </p:txBody>
          </p:sp>
          <p:sp>
            <p:nvSpPr>
              <p:cNvPr id="229" name="Freihandform: Form 332">
                <a:extLst>
                  <a:ext uri="{FF2B5EF4-FFF2-40B4-BE49-F238E27FC236}">
                    <a16:creationId xmlns:a16="http://schemas.microsoft.com/office/drawing/2014/main" id="{D2BF9548-C9AD-4E65-A0CC-936D44E4C410}"/>
                  </a:ext>
                </a:extLst>
              </p:cNvPr>
              <p:cNvSpPr/>
              <p:nvPr/>
            </p:nvSpPr>
            <p:spPr>
              <a:xfrm>
                <a:off x="971845" y="1711803"/>
                <a:ext cx="65282" cy="65282"/>
              </a:xfrm>
              <a:custGeom>
                <a:avLst/>
                <a:gdLst>
                  <a:gd name="connsiteX0" fmla="*/ 32641 w 65282"/>
                  <a:gd name="connsiteY0" fmla="*/ 65283 h 65282"/>
                  <a:gd name="connsiteX1" fmla="*/ 0 w 65282"/>
                  <a:gd name="connsiteY1" fmla="*/ 32641 h 65282"/>
                  <a:gd name="connsiteX2" fmla="*/ 32641 w 65282"/>
                  <a:gd name="connsiteY2" fmla="*/ 0 h 65282"/>
                  <a:gd name="connsiteX3" fmla="*/ 65283 w 65282"/>
                  <a:gd name="connsiteY3" fmla="*/ 32641 h 65282"/>
                  <a:gd name="connsiteX4" fmla="*/ 32641 w 65282"/>
                  <a:gd name="connsiteY4" fmla="*/ 65283 h 65282"/>
                  <a:gd name="connsiteX5" fmla="*/ 32641 w 65282"/>
                  <a:gd name="connsiteY5" fmla="*/ 13040 h 65282"/>
                  <a:gd name="connsiteX6" fmla="*/ 13040 w 65282"/>
                  <a:gd name="connsiteY6" fmla="*/ 32641 h 65282"/>
                  <a:gd name="connsiteX7" fmla="*/ 32641 w 65282"/>
                  <a:gd name="connsiteY7" fmla="*/ 52242 h 65282"/>
                  <a:gd name="connsiteX8" fmla="*/ 52242 w 65282"/>
                  <a:gd name="connsiteY8" fmla="*/ 32641 h 65282"/>
                  <a:gd name="connsiteX9" fmla="*/ 32641 w 65282"/>
                  <a:gd name="connsiteY9" fmla="*/ 13040 h 65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282" h="65282">
                    <a:moveTo>
                      <a:pt x="32641" y="65283"/>
                    </a:moveTo>
                    <a:cubicBezTo>
                      <a:pt x="14627" y="65283"/>
                      <a:pt x="0" y="50629"/>
                      <a:pt x="0" y="32641"/>
                    </a:cubicBezTo>
                    <a:cubicBezTo>
                      <a:pt x="0" y="14654"/>
                      <a:pt x="14654" y="0"/>
                      <a:pt x="32641" y="0"/>
                    </a:cubicBezTo>
                    <a:cubicBezTo>
                      <a:pt x="50629" y="0"/>
                      <a:pt x="65283" y="14654"/>
                      <a:pt x="65283" y="32641"/>
                    </a:cubicBezTo>
                    <a:cubicBezTo>
                      <a:pt x="65283" y="50629"/>
                      <a:pt x="50629" y="65283"/>
                      <a:pt x="32641" y="65283"/>
                    </a:cubicBezTo>
                    <a:close/>
                    <a:moveTo>
                      <a:pt x="32641" y="13040"/>
                    </a:moveTo>
                    <a:cubicBezTo>
                      <a:pt x="21833" y="13040"/>
                      <a:pt x="13040" y="21833"/>
                      <a:pt x="13040" y="32641"/>
                    </a:cubicBezTo>
                    <a:cubicBezTo>
                      <a:pt x="13040" y="43450"/>
                      <a:pt x="21833" y="52242"/>
                      <a:pt x="32641" y="52242"/>
                    </a:cubicBezTo>
                    <a:cubicBezTo>
                      <a:pt x="43450" y="52242"/>
                      <a:pt x="52242" y="43450"/>
                      <a:pt x="52242" y="32641"/>
                    </a:cubicBezTo>
                    <a:cubicBezTo>
                      <a:pt x="52242" y="21833"/>
                      <a:pt x="43423" y="13040"/>
                      <a:pt x="32641" y="13040"/>
                    </a:cubicBezTo>
                    <a:close/>
                  </a:path>
                </a:pathLst>
              </a:custGeom>
              <a:solidFill>
                <a:schemeClr val="accent1"/>
              </a:solidFill>
              <a:ln w="2687" cap="flat">
                <a:noFill/>
                <a:prstDash val="solid"/>
                <a:miter/>
              </a:ln>
            </p:spPr>
            <p:txBody>
              <a:bodyPr rtlCol="0" anchor="ctr"/>
              <a:lstStyle/>
              <a:p>
                <a:endParaRPr lang="en-GB" dirty="0"/>
              </a:p>
            </p:txBody>
          </p:sp>
          <p:sp>
            <p:nvSpPr>
              <p:cNvPr id="230" name="Freihandform: Form 333">
                <a:extLst>
                  <a:ext uri="{FF2B5EF4-FFF2-40B4-BE49-F238E27FC236}">
                    <a16:creationId xmlns:a16="http://schemas.microsoft.com/office/drawing/2014/main" id="{F71393D1-FA73-4852-BD58-0812480CE121}"/>
                  </a:ext>
                </a:extLst>
              </p:cNvPr>
              <p:cNvSpPr/>
              <p:nvPr/>
            </p:nvSpPr>
            <p:spPr>
              <a:xfrm>
                <a:off x="1063236" y="1842396"/>
                <a:ext cx="13067" cy="13067"/>
              </a:xfrm>
              <a:custGeom>
                <a:avLst/>
                <a:gdLst>
                  <a:gd name="connsiteX0" fmla="*/ 0 w 13067"/>
                  <a:gd name="connsiteY0" fmla="*/ 0 h 13067"/>
                  <a:gd name="connsiteX1" fmla="*/ 13067 w 13067"/>
                  <a:gd name="connsiteY1" fmla="*/ 0 h 13067"/>
                  <a:gd name="connsiteX2" fmla="*/ 13067 w 13067"/>
                  <a:gd name="connsiteY2" fmla="*/ 13067 h 13067"/>
                  <a:gd name="connsiteX3" fmla="*/ 0 w 13067"/>
                  <a:gd name="connsiteY3" fmla="*/ 13067 h 13067"/>
                </a:gdLst>
                <a:ahLst/>
                <a:cxnLst>
                  <a:cxn ang="0">
                    <a:pos x="connsiteX0" y="connsiteY0"/>
                  </a:cxn>
                  <a:cxn ang="0">
                    <a:pos x="connsiteX1" y="connsiteY1"/>
                  </a:cxn>
                  <a:cxn ang="0">
                    <a:pos x="connsiteX2" y="connsiteY2"/>
                  </a:cxn>
                  <a:cxn ang="0">
                    <a:pos x="connsiteX3" y="connsiteY3"/>
                  </a:cxn>
                </a:cxnLst>
                <a:rect l="l" t="t" r="r" b="b"/>
                <a:pathLst>
                  <a:path w="13067" h="13067">
                    <a:moveTo>
                      <a:pt x="0" y="0"/>
                    </a:moveTo>
                    <a:lnTo>
                      <a:pt x="13067" y="0"/>
                    </a:lnTo>
                    <a:lnTo>
                      <a:pt x="13067" y="13067"/>
                    </a:lnTo>
                    <a:lnTo>
                      <a:pt x="0" y="13067"/>
                    </a:lnTo>
                    <a:close/>
                  </a:path>
                </a:pathLst>
              </a:custGeom>
              <a:solidFill>
                <a:schemeClr val="accent1"/>
              </a:solidFill>
              <a:ln w="2687" cap="flat">
                <a:noFill/>
                <a:prstDash val="solid"/>
                <a:miter/>
              </a:ln>
            </p:spPr>
            <p:txBody>
              <a:bodyPr rtlCol="0" anchor="ctr"/>
              <a:lstStyle/>
              <a:p>
                <a:endParaRPr lang="en-GB" dirty="0"/>
              </a:p>
            </p:txBody>
          </p:sp>
          <p:sp>
            <p:nvSpPr>
              <p:cNvPr id="231" name="Freihandform: Form 334">
                <a:extLst>
                  <a:ext uri="{FF2B5EF4-FFF2-40B4-BE49-F238E27FC236}">
                    <a16:creationId xmlns:a16="http://schemas.microsoft.com/office/drawing/2014/main" id="{491E4679-AE36-46B6-84D7-C12D2B537D08}"/>
                  </a:ext>
                </a:extLst>
              </p:cNvPr>
              <p:cNvSpPr/>
              <p:nvPr/>
            </p:nvSpPr>
            <p:spPr>
              <a:xfrm>
                <a:off x="1020270" y="1752188"/>
                <a:ext cx="56033" cy="70606"/>
              </a:xfrm>
              <a:custGeom>
                <a:avLst/>
                <a:gdLst>
                  <a:gd name="connsiteX0" fmla="*/ 56034 w 56033"/>
                  <a:gd name="connsiteY0" fmla="*/ 70607 h 70606"/>
                  <a:gd name="connsiteX1" fmla="*/ 42966 w 56033"/>
                  <a:gd name="connsiteY1" fmla="*/ 70607 h 70606"/>
                  <a:gd name="connsiteX2" fmla="*/ 42966 w 56033"/>
                  <a:gd name="connsiteY2" fmla="*/ 41326 h 70606"/>
                  <a:gd name="connsiteX3" fmla="*/ 0 w 56033"/>
                  <a:gd name="connsiteY3" fmla="*/ 10621 h 70606"/>
                  <a:gd name="connsiteX4" fmla="*/ 7582 w 56033"/>
                  <a:gd name="connsiteY4" fmla="*/ 0 h 70606"/>
                  <a:gd name="connsiteX5" fmla="*/ 56034 w 56033"/>
                  <a:gd name="connsiteY5" fmla="*/ 34604 h 7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033" h="70606">
                    <a:moveTo>
                      <a:pt x="56034" y="70607"/>
                    </a:moveTo>
                    <a:lnTo>
                      <a:pt x="42966" y="70607"/>
                    </a:lnTo>
                    <a:lnTo>
                      <a:pt x="42966" y="41326"/>
                    </a:lnTo>
                    <a:lnTo>
                      <a:pt x="0" y="10621"/>
                    </a:lnTo>
                    <a:lnTo>
                      <a:pt x="7582" y="0"/>
                    </a:lnTo>
                    <a:lnTo>
                      <a:pt x="56034" y="34604"/>
                    </a:lnTo>
                    <a:close/>
                  </a:path>
                </a:pathLst>
              </a:custGeom>
              <a:solidFill>
                <a:schemeClr val="accent1"/>
              </a:solidFill>
              <a:ln w="2687" cap="flat">
                <a:noFill/>
                <a:prstDash val="solid"/>
                <a:miter/>
              </a:ln>
            </p:spPr>
            <p:txBody>
              <a:bodyPr rtlCol="0" anchor="ctr"/>
              <a:lstStyle/>
              <a:p>
                <a:endParaRPr lang="en-GB" dirty="0"/>
              </a:p>
            </p:txBody>
          </p:sp>
        </p:grpSp>
      </p:grpSp>
      <p:grpSp>
        <p:nvGrpSpPr>
          <p:cNvPr id="241" name="Group 240">
            <a:extLst>
              <a:ext uri="{FF2B5EF4-FFF2-40B4-BE49-F238E27FC236}">
                <a16:creationId xmlns:a16="http://schemas.microsoft.com/office/drawing/2014/main" id="{21527905-9937-4EEC-8411-582AC3B9DE6B}"/>
              </a:ext>
            </a:extLst>
          </p:cNvPr>
          <p:cNvGrpSpPr>
            <a:grpSpLocks noChangeAspect="1"/>
          </p:cNvGrpSpPr>
          <p:nvPr/>
        </p:nvGrpSpPr>
        <p:grpSpPr>
          <a:xfrm>
            <a:off x="3705357" y="3197070"/>
            <a:ext cx="503996" cy="431994"/>
            <a:chOff x="1722339" y="2573653"/>
            <a:chExt cx="457079" cy="391781"/>
          </a:xfrm>
        </p:grpSpPr>
        <p:grpSp>
          <p:nvGrpSpPr>
            <p:cNvPr id="242" name="Group 241">
              <a:extLst>
                <a:ext uri="{FF2B5EF4-FFF2-40B4-BE49-F238E27FC236}">
                  <a16:creationId xmlns:a16="http://schemas.microsoft.com/office/drawing/2014/main" id="{B2AFC1B6-5D4C-4CE6-8044-D939330E6F43}"/>
                </a:ext>
              </a:extLst>
            </p:cNvPr>
            <p:cNvGrpSpPr/>
            <p:nvPr/>
          </p:nvGrpSpPr>
          <p:grpSpPr>
            <a:xfrm>
              <a:off x="1722339" y="2573653"/>
              <a:ext cx="314623" cy="378585"/>
              <a:chOff x="1722341" y="2573648"/>
              <a:chExt cx="314623" cy="378584"/>
            </a:xfrm>
          </p:grpSpPr>
          <p:sp>
            <p:nvSpPr>
              <p:cNvPr id="253" name="Freihandform: Form 251">
                <a:extLst>
                  <a:ext uri="{FF2B5EF4-FFF2-40B4-BE49-F238E27FC236}">
                    <a16:creationId xmlns:a16="http://schemas.microsoft.com/office/drawing/2014/main" id="{C3BD73F5-2249-4D9E-8B01-8C5791FC6E86}"/>
                  </a:ext>
                </a:extLst>
              </p:cNvPr>
              <p:cNvSpPr/>
              <p:nvPr/>
            </p:nvSpPr>
            <p:spPr>
              <a:xfrm>
                <a:off x="1722787" y="2652105"/>
                <a:ext cx="222037" cy="300127"/>
              </a:xfrm>
              <a:custGeom>
                <a:avLst/>
                <a:gdLst>
                  <a:gd name="connsiteX0" fmla="*/ 154872 w 222037"/>
                  <a:gd name="connsiteY0" fmla="*/ 300127 h 300127"/>
                  <a:gd name="connsiteX1" fmla="*/ 5136 w 222037"/>
                  <a:gd name="connsiteY1" fmla="*/ 267566 h 300127"/>
                  <a:gd name="connsiteX2" fmla="*/ 0 w 222037"/>
                  <a:gd name="connsiteY2" fmla="*/ 261194 h 300127"/>
                  <a:gd name="connsiteX3" fmla="*/ 0 w 222037"/>
                  <a:gd name="connsiteY3" fmla="*/ 6515 h 300127"/>
                  <a:gd name="connsiteX4" fmla="*/ 2447 w 222037"/>
                  <a:gd name="connsiteY4" fmla="*/ 1433 h 300127"/>
                  <a:gd name="connsiteX5" fmla="*/ 7932 w 222037"/>
                  <a:gd name="connsiteY5" fmla="*/ 143 h 300127"/>
                  <a:gd name="connsiteX6" fmla="*/ 216902 w 222037"/>
                  <a:gd name="connsiteY6" fmla="*/ 45852 h 300127"/>
                  <a:gd name="connsiteX7" fmla="*/ 222037 w 222037"/>
                  <a:gd name="connsiteY7" fmla="*/ 52224 h 300127"/>
                  <a:gd name="connsiteX8" fmla="*/ 222037 w 222037"/>
                  <a:gd name="connsiteY8" fmla="*/ 110893 h 300127"/>
                  <a:gd name="connsiteX9" fmla="*/ 208970 w 222037"/>
                  <a:gd name="connsiteY9" fmla="*/ 110893 h 300127"/>
                  <a:gd name="connsiteX10" fmla="*/ 208970 w 222037"/>
                  <a:gd name="connsiteY10" fmla="*/ 57467 h 300127"/>
                  <a:gd name="connsiteX11" fmla="*/ 13067 w 222037"/>
                  <a:gd name="connsiteY11" fmla="*/ 14608 h 300127"/>
                  <a:gd name="connsiteX12" fmla="*/ 13067 w 222037"/>
                  <a:gd name="connsiteY12" fmla="*/ 255897 h 300127"/>
                  <a:gd name="connsiteX13" fmla="*/ 157668 w 222037"/>
                  <a:gd name="connsiteY13" fmla="*/ 287329 h 300127"/>
                  <a:gd name="connsiteX14" fmla="*/ 154872 w 222037"/>
                  <a:gd name="connsiteY14" fmla="*/ 300127 h 300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2037" h="300127">
                    <a:moveTo>
                      <a:pt x="154872" y="300127"/>
                    </a:moveTo>
                    <a:lnTo>
                      <a:pt x="5136" y="267566"/>
                    </a:lnTo>
                    <a:cubicBezTo>
                      <a:pt x="2124" y="266921"/>
                      <a:pt x="0" y="264259"/>
                      <a:pt x="0" y="261194"/>
                    </a:cubicBezTo>
                    <a:lnTo>
                      <a:pt x="0" y="6515"/>
                    </a:lnTo>
                    <a:cubicBezTo>
                      <a:pt x="0" y="4526"/>
                      <a:pt x="887" y="2670"/>
                      <a:pt x="2447" y="1433"/>
                    </a:cubicBezTo>
                    <a:cubicBezTo>
                      <a:pt x="3979" y="197"/>
                      <a:pt x="6023" y="-260"/>
                      <a:pt x="7932" y="143"/>
                    </a:cubicBezTo>
                    <a:lnTo>
                      <a:pt x="216902" y="45852"/>
                    </a:lnTo>
                    <a:cubicBezTo>
                      <a:pt x="219886" y="46497"/>
                      <a:pt x="222037" y="49159"/>
                      <a:pt x="222037" y="52224"/>
                    </a:cubicBezTo>
                    <a:lnTo>
                      <a:pt x="222037" y="110893"/>
                    </a:lnTo>
                    <a:lnTo>
                      <a:pt x="208970" y="110893"/>
                    </a:lnTo>
                    <a:lnTo>
                      <a:pt x="208970" y="57467"/>
                    </a:lnTo>
                    <a:lnTo>
                      <a:pt x="13067" y="14608"/>
                    </a:lnTo>
                    <a:lnTo>
                      <a:pt x="13067" y="255897"/>
                    </a:lnTo>
                    <a:lnTo>
                      <a:pt x="157668" y="287329"/>
                    </a:lnTo>
                    <a:lnTo>
                      <a:pt x="154872" y="300127"/>
                    </a:lnTo>
                    <a:close/>
                  </a:path>
                </a:pathLst>
              </a:custGeom>
              <a:solidFill>
                <a:schemeClr val="tx2"/>
              </a:solidFill>
              <a:ln w="2687" cap="flat">
                <a:noFill/>
                <a:prstDash val="solid"/>
                <a:miter/>
              </a:ln>
            </p:spPr>
            <p:txBody>
              <a:bodyPr rtlCol="0" anchor="ctr"/>
              <a:lstStyle/>
              <a:p>
                <a:endParaRPr lang="en-GB" dirty="0"/>
              </a:p>
            </p:txBody>
          </p:sp>
          <p:sp>
            <p:nvSpPr>
              <p:cNvPr id="254" name="Freihandform: Form 252">
                <a:extLst>
                  <a:ext uri="{FF2B5EF4-FFF2-40B4-BE49-F238E27FC236}">
                    <a16:creationId xmlns:a16="http://schemas.microsoft.com/office/drawing/2014/main" id="{040FA904-3840-402C-BAFC-577C136EB0CB}"/>
                  </a:ext>
                </a:extLst>
              </p:cNvPr>
              <p:cNvSpPr/>
              <p:nvPr/>
            </p:nvSpPr>
            <p:spPr>
              <a:xfrm>
                <a:off x="1722341" y="2612749"/>
                <a:ext cx="53065" cy="47107"/>
              </a:xfrm>
              <a:custGeom>
                <a:avLst/>
                <a:gdLst>
                  <a:gd name="connsiteX0" fmla="*/ 554 w 53065"/>
                  <a:gd name="connsiteY0" fmla="*/ 47108 h 47107"/>
                  <a:gd name="connsiteX1" fmla="*/ 9158 w 53065"/>
                  <a:gd name="connsiteY1" fmla="*/ 13875 h 47107"/>
                  <a:gd name="connsiteX2" fmla="*/ 53065 w 53065"/>
                  <a:gd name="connsiteY2" fmla="*/ 189 h 47107"/>
                  <a:gd name="connsiteX3" fmla="*/ 52285 w 53065"/>
                  <a:gd name="connsiteY3" fmla="*/ 13230 h 47107"/>
                  <a:gd name="connsiteX4" fmla="*/ 18972 w 53065"/>
                  <a:gd name="connsiteY4" fmla="*/ 22506 h 47107"/>
                  <a:gd name="connsiteX5" fmla="*/ 13379 w 53065"/>
                  <a:gd name="connsiteY5" fmla="*/ 44661 h 47107"/>
                  <a:gd name="connsiteX6" fmla="*/ 554 w 53065"/>
                  <a:gd name="connsiteY6" fmla="*/ 47108 h 4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65" h="47107">
                    <a:moveTo>
                      <a:pt x="554" y="47108"/>
                    </a:moveTo>
                    <a:cubicBezTo>
                      <a:pt x="392" y="46328"/>
                      <a:pt x="-2996" y="27722"/>
                      <a:pt x="9158" y="13875"/>
                    </a:cubicBezTo>
                    <a:cubicBezTo>
                      <a:pt x="18219" y="3577"/>
                      <a:pt x="33007" y="-1021"/>
                      <a:pt x="53065" y="189"/>
                    </a:cubicBezTo>
                    <a:lnTo>
                      <a:pt x="52285" y="13230"/>
                    </a:lnTo>
                    <a:cubicBezTo>
                      <a:pt x="36422" y="12262"/>
                      <a:pt x="25236" y="15381"/>
                      <a:pt x="18972" y="22506"/>
                    </a:cubicBezTo>
                    <a:cubicBezTo>
                      <a:pt x="11120" y="31459"/>
                      <a:pt x="13352" y="44527"/>
                      <a:pt x="13379" y="44661"/>
                    </a:cubicBezTo>
                    <a:lnTo>
                      <a:pt x="554" y="47108"/>
                    </a:lnTo>
                    <a:close/>
                  </a:path>
                </a:pathLst>
              </a:custGeom>
              <a:solidFill>
                <a:schemeClr val="tx2"/>
              </a:solidFill>
              <a:ln w="2687" cap="flat">
                <a:noFill/>
                <a:prstDash val="solid"/>
                <a:miter/>
              </a:ln>
            </p:spPr>
            <p:txBody>
              <a:bodyPr rtlCol="0" anchor="ctr"/>
              <a:lstStyle/>
              <a:p>
                <a:endParaRPr lang="en-GB" dirty="0"/>
              </a:p>
            </p:txBody>
          </p:sp>
          <p:sp>
            <p:nvSpPr>
              <p:cNvPr id="255" name="Freihandform: Form 253">
                <a:extLst>
                  <a:ext uri="{FF2B5EF4-FFF2-40B4-BE49-F238E27FC236}">
                    <a16:creationId xmlns:a16="http://schemas.microsoft.com/office/drawing/2014/main" id="{46299B03-5FDD-4AA7-8012-72D9322E2808}"/>
                  </a:ext>
                </a:extLst>
              </p:cNvPr>
              <p:cNvSpPr/>
              <p:nvPr/>
            </p:nvSpPr>
            <p:spPr>
              <a:xfrm rot="19163773">
                <a:off x="1930956" y="2678238"/>
                <a:ext cx="60198" cy="13066"/>
              </a:xfrm>
              <a:custGeom>
                <a:avLst/>
                <a:gdLst>
                  <a:gd name="connsiteX0" fmla="*/ 0 w 60198"/>
                  <a:gd name="connsiteY0" fmla="*/ 0 h 13066"/>
                  <a:gd name="connsiteX1" fmla="*/ 60199 w 60198"/>
                  <a:gd name="connsiteY1" fmla="*/ 0 h 13066"/>
                  <a:gd name="connsiteX2" fmla="*/ 60199 w 60198"/>
                  <a:gd name="connsiteY2" fmla="*/ 13067 h 13066"/>
                  <a:gd name="connsiteX3" fmla="*/ 0 w 60198"/>
                  <a:gd name="connsiteY3" fmla="*/ 13067 h 13066"/>
                </a:gdLst>
                <a:ahLst/>
                <a:cxnLst>
                  <a:cxn ang="0">
                    <a:pos x="connsiteX0" y="connsiteY0"/>
                  </a:cxn>
                  <a:cxn ang="0">
                    <a:pos x="connsiteX1" y="connsiteY1"/>
                  </a:cxn>
                  <a:cxn ang="0">
                    <a:pos x="connsiteX2" y="connsiteY2"/>
                  </a:cxn>
                  <a:cxn ang="0">
                    <a:pos x="connsiteX3" y="connsiteY3"/>
                  </a:cxn>
                </a:cxnLst>
                <a:rect l="l" t="t" r="r" b="b"/>
                <a:pathLst>
                  <a:path w="60198" h="13066">
                    <a:moveTo>
                      <a:pt x="0" y="0"/>
                    </a:moveTo>
                    <a:lnTo>
                      <a:pt x="60199" y="0"/>
                    </a:lnTo>
                    <a:lnTo>
                      <a:pt x="60199" y="13067"/>
                    </a:lnTo>
                    <a:lnTo>
                      <a:pt x="0" y="13067"/>
                    </a:lnTo>
                    <a:close/>
                  </a:path>
                </a:pathLst>
              </a:custGeom>
              <a:solidFill>
                <a:schemeClr val="tx2"/>
              </a:solidFill>
              <a:ln w="2687" cap="flat">
                <a:noFill/>
                <a:prstDash val="solid"/>
                <a:miter/>
              </a:ln>
            </p:spPr>
            <p:txBody>
              <a:bodyPr rtlCol="0" anchor="ctr"/>
              <a:lstStyle/>
              <a:p>
                <a:endParaRPr lang="en-GB" dirty="0"/>
              </a:p>
            </p:txBody>
          </p:sp>
          <p:sp>
            <p:nvSpPr>
              <p:cNvPr id="256" name="Freihandform: Form 254">
                <a:extLst>
                  <a:ext uri="{FF2B5EF4-FFF2-40B4-BE49-F238E27FC236}">
                    <a16:creationId xmlns:a16="http://schemas.microsoft.com/office/drawing/2014/main" id="{AD10DCA1-BBE8-4619-9DDA-EFE59B4E65CE}"/>
                  </a:ext>
                </a:extLst>
              </p:cNvPr>
              <p:cNvSpPr/>
              <p:nvPr/>
            </p:nvSpPr>
            <p:spPr>
              <a:xfrm>
                <a:off x="1773604" y="2613073"/>
                <a:ext cx="216901" cy="149924"/>
              </a:xfrm>
              <a:custGeom>
                <a:avLst/>
                <a:gdLst>
                  <a:gd name="connsiteX0" fmla="*/ 216902 w 216901"/>
                  <a:gd name="connsiteY0" fmla="*/ 149925 h 149924"/>
                  <a:gd name="connsiteX1" fmla="*/ 203834 w 216901"/>
                  <a:gd name="connsiteY1" fmla="*/ 149925 h 149924"/>
                  <a:gd name="connsiteX2" fmla="*/ 203834 w 216901"/>
                  <a:gd name="connsiteY2" fmla="*/ 57324 h 149924"/>
                  <a:gd name="connsiteX3" fmla="*/ 0 w 216901"/>
                  <a:gd name="connsiteY3" fmla="*/ 12745 h 149924"/>
                  <a:gd name="connsiteX4" fmla="*/ 2796 w 216901"/>
                  <a:gd name="connsiteY4" fmla="*/ 0 h 149924"/>
                  <a:gd name="connsiteX5" fmla="*/ 216902 w 216901"/>
                  <a:gd name="connsiteY5" fmla="*/ 46838 h 149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6901" h="149924">
                    <a:moveTo>
                      <a:pt x="216902" y="149925"/>
                    </a:moveTo>
                    <a:lnTo>
                      <a:pt x="203834" y="149925"/>
                    </a:lnTo>
                    <a:lnTo>
                      <a:pt x="203834" y="57324"/>
                    </a:lnTo>
                    <a:lnTo>
                      <a:pt x="0" y="12745"/>
                    </a:lnTo>
                    <a:lnTo>
                      <a:pt x="2796" y="0"/>
                    </a:lnTo>
                    <a:lnTo>
                      <a:pt x="216902" y="46838"/>
                    </a:lnTo>
                    <a:close/>
                  </a:path>
                </a:pathLst>
              </a:custGeom>
              <a:solidFill>
                <a:schemeClr val="tx2"/>
              </a:solidFill>
              <a:ln w="2687" cap="flat">
                <a:noFill/>
                <a:prstDash val="solid"/>
                <a:miter/>
              </a:ln>
            </p:spPr>
            <p:txBody>
              <a:bodyPr rtlCol="0" anchor="ctr"/>
              <a:lstStyle/>
              <a:p>
                <a:endParaRPr lang="en-GB" dirty="0"/>
              </a:p>
            </p:txBody>
          </p:sp>
          <p:sp>
            <p:nvSpPr>
              <p:cNvPr id="257" name="Freihandform: Form 256">
                <a:extLst>
                  <a:ext uri="{FF2B5EF4-FFF2-40B4-BE49-F238E27FC236}">
                    <a16:creationId xmlns:a16="http://schemas.microsoft.com/office/drawing/2014/main" id="{A50FAD8B-4696-4A8C-BBC7-8D4AAE129F9B}"/>
                  </a:ext>
                </a:extLst>
              </p:cNvPr>
              <p:cNvSpPr/>
              <p:nvPr/>
            </p:nvSpPr>
            <p:spPr>
              <a:xfrm>
                <a:off x="1772556" y="2673355"/>
                <a:ext cx="55522" cy="79963"/>
              </a:xfrm>
              <a:custGeom>
                <a:avLst/>
                <a:gdLst>
                  <a:gd name="connsiteX0" fmla="*/ 48989 w 55522"/>
                  <a:gd name="connsiteY0" fmla="*/ 79964 h 79963"/>
                  <a:gd name="connsiteX1" fmla="*/ 43988 w 55522"/>
                  <a:gd name="connsiteY1" fmla="*/ 77651 h 79963"/>
                  <a:gd name="connsiteX2" fmla="*/ 22451 w 55522"/>
                  <a:gd name="connsiteY2" fmla="*/ 52081 h 79963"/>
                  <a:gd name="connsiteX3" fmla="*/ 11158 w 55522"/>
                  <a:gd name="connsiteY3" fmla="*/ 63374 h 79963"/>
                  <a:gd name="connsiteX4" fmla="*/ 4033 w 55522"/>
                  <a:gd name="connsiteY4" fmla="*/ 64799 h 79963"/>
                  <a:gd name="connsiteX5" fmla="*/ 0 w 55522"/>
                  <a:gd name="connsiteY5" fmla="*/ 58776 h 79963"/>
                  <a:gd name="connsiteX6" fmla="*/ 0 w 55522"/>
                  <a:gd name="connsiteY6" fmla="*/ 0 h 79963"/>
                  <a:gd name="connsiteX7" fmla="*/ 13067 w 55522"/>
                  <a:gd name="connsiteY7" fmla="*/ 0 h 79963"/>
                  <a:gd name="connsiteX8" fmla="*/ 13067 w 55522"/>
                  <a:gd name="connsiteY8" fmla="*/ 42993 h 79963"/>
                  <a:gd name="connsiteX9" fmla="*/ 18257 w 55522"/>
                  <a:gd name="connsiteY9" fmla="*/ 37804 h 79963"/>
                  <a:gd name="connsiteX10" fmla="*/ 23150 w 55522"/>
                  <a:gd name="connsiteY10" fmla="*/ 35895 h 79963"/>
                  <a:gd name="connsiteX11" fmla="*/ 27855 w 55522"/>
                  <a:gd name="connsiteY11" fmla="*/ 38207 h 79963"/>
                  <a:gd name="connsiteX12" fmla="*/ 42455 w 55522"/>
                  <a:gd name="connsiteY12" fmla="*/ 55550 h 79963"/>
                  <a:gd name="connsiteX13" fmla="*/ 42455 w 55522"/>
                  <a:gd name="connsiteY13" fmla="*/ 8147 h 79963"/>
                  <a:gd name="connsiteX14" fmla="*/ 55523 w 55522"/>
                  <a:gd name="connsiteY14" fmla="*/ 8147 h 79963"/>
                  <a:gd name="connsiteX15" fmla="*/ 55523 w 55522"/>
                  <a:gd name="connsiteY15" fmla="*/ 73457 h 79963"/>
                  <a:gd name="connsiteX16" fmla="*/ 51221 w 55522"/>
                  <a:gd name="connsiteY16" fmla="*/ 79587 h 79963"/>
                  <a:gd name="connsiteX17" fmla="*/ 48989 w 55522"/>
                  <a:gd name="connsiteY17" fmla="*/ 79964 h 79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522" h="79963">
                    <a:moveTo>
                      <a:pt x="48989" y="79964"/>
                    </a:moveTo>
                    <a:cubicBezTo>
                      <a:pt x="47107" y="79964"/>
                      <a:pt x="45252" y="79130"/>
                      <a:pt x="43988" y="77651"/>
                    </a:cubicBezTo>
                    <a:lnTo>
                      <a:pt x="22451" y="52081"/>
                    </a:lnTo>
                    <a:lnTo>
                      <a:pt x="11158" y="63374"/>
                    </a:lnTo>
                    <a:cubicBezTo>
                      <a:pt x="9303" y="65256"/>
                      <a:pt x="6480" y="65794"/>
                      <a:pt x="4033" y="64799"/>
                    </a:cubicBezTo>
                    <a:cubicBezTo>
                      <a:pt x="1586" y="63777"/>
                      <a:pt x="0" y="61411"/>
                      <a:pt x="0" y="58776"/>
                    </a:cubicBezTo>
                    <a:lnTo>
                      <a:pt x="0" y="0"/>
                    </a:lnTo>
                    <a:lnTo>
                      <a:pt x="13067" y="0"/>
                    </a:lnTo>
                    <a:lnTo>
                      <a:pt x="13067" y="42993"/>
                    </a:lnTo>
                    <a:lnTo>
                      <a:pt x="18257" y="37804"/>
                    </a:lnTo>
                    <a:cubicBezTo>
                      <a:pt x="19547" y="36513"/>
                      <a:pt x="21268" y="35841"/>
                      <a:pt x="23150" y="35895"/>
                    </a:cubicBezTo>
                    <a:cubicBezTo>
                      <a:pt x="24978" y="35976"/>
                      <a:pt x="26699" y="36809"/>
                      <a:pt x="27855" y="38207"/>
                    </a:cubicBezTo>
                    <a:lnTo>
                      <a:pt x="42455" y="55550"/>
                    </a:lnTo>
                    <a:lnTo>
                      <a:pt x="42455" y="8147"/>
                    </a:lnTo>
                    <a:lnTo>
                      <a:pt x="55523" y="8147"/>
                    </a:lnTo>
                    <a:lnTo>
                      <a:pt x="55523" y="73457"/>
                    </a:lnTo>
                    <a:cubicBezTo>
                      <a:pt x="55523" y="76199"/>
                      <a:pt x="53802" y="78646"/>
                      <a:pt x="51221" y="79587"/>
                    </a:cubicBezTo>
                    <a:cubicBezTo>
                      <a:pt x="50495" y="79829"/>
                      <a:pt x="49715" y="79964"/>
                      <a:pt x="48989" y="79964"/>
                    </a:cubicBezTo>
                    <a:close/>
                  </a:path>
                </a:pathLst>
              </a:custGeom>
              <a:solidFill>
                <a:schemeClr val="tx2"/>
              </a:solidFill>
              <a:ln w="2687" cap="flat">
                <a:noFill/>
                <a:prstDash val="solid"/>
                <a:miter/>
              </a:ln>
            </p:spPr>
            <p:txBody>
              <a:bodyPr rtlCol="0" anchor="ctr"/>
              <a:lstStyle/>
              <a:p>
                <a:endParaRPr lang="en-GB" dirty="0"/>
              </a:p>
            </p:txBody>
          </p:sp>
          <p:sp>
            <p:nvSpPr>
              <p:cNvPr id="258" name="Freihandform: Form 258">
                <a:extLst>
                  <a:ext uri="{FF2B5EF4-FFF2-40B4-BE49-F238E27FC236}">
                    <a16:creationId xmlns:a16="http://schemas.microsoft.com/office/drawing/2014/main" id="{E7D285B5-2C28-42B1-A020-3323ADDDE7CA}"/>
                  </a:ext>
                </a:extLst>
              </p:cNvPr>
              <p:cNvSpPr/>
              <p:nvPr/>
            </p:nvSpPr>
            <p:spPr>
              <a:xfrm>
                <a:off x="1768050" y="2573648"/>
                <a:ext cx="53065" cy="47114"/>
              </a:xfrm>
              <a:custGeom>
                <a:avLst/>
                <a:gdLst>
                  <a:gd name="connsiteX0" fmla="*/ 554 w 53065"/>
                  <a:gd name="connsiteY0" fmla="*/ 47115 h 47114"/>
                  <a:gd name="connsiteX1" fmla="*/ 9158 w 53065"/>
                  <a:gd name="connsiteY1" fmla="*/ 13882 h 47114"/>
                  <a:gd name="connsiteX2" fmla="*/ 53065 w 53065"/>
                  <a:gd name="connsiteY2" fmla="*/ 196 h 47114"/>
                  <a:gd name="connsiteX3" fmla="*/ 52285 w 53065"/>
                  <a:gd name="connsiteY3" fmla="*/ 13236 h 47114"/>
                  <a:gd name="connsiteX4" fmla="*/ 18972 w 53065"/>
                  <a:gd name="connsiteY4" fmla="*/ 22513 h 47114"/>
                  <a:gd name="connsiteX5" fmla="*/ 13379 w 53065"/>
                  <a:gd name="connsiteY5" fmla="*/ 44668 h 47114"/>
                  <a:gd name="connsiteX6" fmla="*/ 554 w 53065"/>
                  <a:gd name="connsiteY6" fmla="*/ 47115 h 4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065" h="47114">
                    <a:moveTo>
                      <a:pt x="554" y="47115"/>
                    </a:moveTo>
                    <a:cubicBezTo>
                      <a:pt x="392" y="46335"/>
                      <a:pt x="-2996" y="27729"/>
                      <a:pt x="9158" y="13882"/>
                    </a:cubicBezTo>
                    <a:cubicBezTo>
                      <a:pt x="18219" y="3584"/>
                      <a:pt x="32980" y="-1041"/>
                      <a:pt x="53065" y="196"/>
                    </a:cubicBezTo>
                    <a:lnTo>
                      <a:pt x="52285" y="13236"/>
                    </a:lnTo>
                    <a:cubicBezTo>
                      <a:pt x="36422" y="12269"/>
                      <a:pt x="25236" y="15387"/>
                      <a:pt x="18972" y="22513"/>
                    </a:cubicBezTo>
                    <a:cubicBezTo>
                      <a:pt x="11120" y="31466"/>
                      <a:pt x="13352" y="44534"/>
                      <a:pt x="13379" y="44668"/>
                    </a:cubicBezTo>
                    <a:lnTo>
                      <a:pt x="554" y="47115"/>
                    </a:lnTo>
                    <a:close/>
                  </a:path>
                </a:pathLst>
              </a:custGeom>
              <a:solidFill>
                <a:schemeClr val="tx2"/>
              </a:solidFill>
              <a:ln w="2687" cap="flat">
                <a:noFill/>
                <a:prstDash val="solid"/>
                <a:miter/>
              </a:ln>
            </p:spPr>
            <p:txBody>
              <a:bodyPr rtlCol="0" anchor="ctr"/>
              <a:lstStyle/>
              <a:p>
                <a:endParaRPr lang="en-GB" dirty="0"/>
              </a:p>
            </p:txBody>
          </p:sp>
          <p:sp>
            <p:nvSpPr>
              <p:cNvPr id="259" name="Freihandform: Form 259">
                <a:extLst>
                  <a:ext uri="{FF2B5EF4-FFF2-40B4-BE49-F238E27FC236}">
                    <a16:creationId xmlns:a16="http://schemas.microsoft.com/office/drawing/2014/main" id="{BD4293B0-3FB9-4017-B8F8-A4CDA5CC17F7}"/>
                  </a:ext>
                </a:extLst>
              </p:cNvPr>
              <p:cNvSpPr/>
              <p:nvPr/>
            </p:nvSpPr>
            <p:spPr>
              <a:xfrm rot="19163512">
                <a:off x="1976762" y="2639076"/>
                <a:ext cx="60202" cy="13067"/>
              </a:xfrm>
              <a:custGeom>
                <a:avLst/>
                <a:gdLst>
                  <a:gd name="connsiteX0" fmla="*/ 0 w 60202"/>
                  <a:gd name="connsiteY0" fmla="*/ 0 h 13067"/>
                  <a:gd name="connsiteX1" fmla="*/ 60203 w 60202"/>
                  <a:gd name="connsiteY1" fmla="*/ 0 h 13067"/>
                  <a:gd name="connsiteX2" fmla="*/ 60203 w 60202"/>
                  <a:gd name="connsiteY2" fmla="*/ 13068 h 13067"/>
                  <a:gd name="connsiteX3" fmla="*/ 0 w 60202"/>
                  <a:gd name="connsiteY3" fmla="*/ 13068 h 13067"/>
                </a:gdLst>
                <a:ahLst/>
                <a:cxnLst>
                  <a:cxn ang="0">
                    <a:pos x="connsiteX0" y="connsiteY0"/>
                  </a:cxn>
                  <a:cxn ang="0">
                    <a:pos x="connsiteX1" y="connsiteY1"/>
                  </a:cxn>
                  <a:cxn ang="0">
                    <a:pos x="connsiteX2" y="connsiteY2"/>
                  </a:cxn>
                  <a:cxn ang="0">
                    <a:pos x="connsiteX3" y="connsiteY3"/>
                  </a:cxn>
                </a:cxnLst>
                <a:rect l="l" t="t" r="r" b="b"/>
                <a:pathLst>
                  <a:path w="60202" h="13067">
                    <a:moveTo>
                      <a:pt x="0" y="0"/>
                    </a:moveTo>
                    <a:lnTo>
                      <a:pt x="60203" y="0"/>
                    </a:lnTo>
                    <a:lnTo>
                      <a:pt x="60203" y="13068"/>
                    </a:lnTo>
                    <a:lnTo>
                      <a:pt x="0" y="13068"/>
                    </a:lnTo>
                    <a:close/>
                  </a:path>
                </a:pathLst>
              </a:custGeom>
              <a:solidFill>
                <a:schemeClr val="tx2"/>
              </a:solidFill>
              <a:ln w="2687" cap="flat">
                <a:noFill/>
                <a:prstDash val="solid"/>
                <a:miter/>
              </a:ln>
            </p:spPr>
            <p:txBody>
              <a:bodyPr rtlCol="0" anchor="ctr"/>
              <a:lstStyle/>
              <a:p>
                <a:endParaRPr lang="en-GB" dirty="0"/>
              </a:p>
            </p:txBody>
          </p:sp>
          <p:sp>
            <p:nvSpPr>
              <p:cNvPr id="260" name="Freihandform: Form 260">
                <a:extLst>
                  <a:ext uri="{FF2B5EF4-FFF2-40B4-BE49-F238E27FC236}">
                    <a16:creationId xmlns:a16="http://schemas.microsoft.com/office/drawing/2014/main" id="{070374E1-7835-4855-8F99-8ED45BEC3E40}"/>
                  </a:ext>
                </a:extLst>
              </p:cNvPr>
              <p:cNvSpPr/>
              <p:nvPr/>
            </p:nvSpPr>
            <p:spPr>
              <a:xfrm>
                <a:off x="1819313" y="2573979"/>
                <a:ext cx="216901" cy="143337"/>
              </a:xfrm>
              <a:custGeom>
                <a:avLst/>
                <a:gdLst>
                  <a:gd name="connsiteX0" fmla="*/ 216902 w 216901"/>
                  <a:gd name="connsiteY0" fmla="*/ 143337 h 143337"/>
                  <a:gd name="connsiteX1" fmla="*/ 203834 w 216901"/>
                  <a:gd name="connsiteY1" fmla="*/ 143337 h 143337"/>
                  <a:gd name="connsiteX2" fmla="*/ 203834 w 216901"/>
                  <a:gd name="connsiteY2" fmla="*/ 57351 h 143337"/>
                  <a:gd name="connsiteX3" fmla="*/ 0 w 216901"/>
                  <a:gd name="connsiteY3" fmla="*/ 12772 h 143337"/>
                  <a:gd name="connsiteX4" fmla="*/ 2796 w 216901"/>
                  <a:gd name="connsiteY4" fmla="*/ 0 h 143337"/>
                  <a:gd name="connsiteX5" fmla="*/ 211766 w 216901"/>
                  <a:gd name="connsiteY5" fmla="*/ 45709 h 143337"/>
                  <a:gd name="connsiteX6" fmla="*/ 216902 w 216901"/>
                  <a:gd name="connsiteY6" fmla="*/ 52081 h 143337"/>
                  <a:gd name="connsiteX7" fmla="*/ 216902 w 216901"/>
                  <a:gd name="connsiteY7" fmla="*/ 143337 h 14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6901" h="143337">
                    <a:moveTo>
                      <a:pt x="216902" y="143337"/>
                    </a:moveTo>
                    <a:lnTo>
                      <a:pt x="203834" y="143337"/>
                    </a:lnTo>
                    <a:lnTo>
                      <a:pt x="203834" y="57351"/>
                    </a:lnTo>
                    <a:lnTo>
                      <a:pt x="0" y="12772"/>
                    </a:lnTo>
                    <a:lnTo>
                      <a:pt x="2796" y="0"/>
                    </a:lnTo>
                    <a:lnTo>
                      <a:pt x="211766" y="45709"/>
                    </a:lnTo>
                    <a:cubicBezTo>
                      <a:pt x="214751" y="46354"/>
                      <a:pt x="216902" y="49016"/>
                      <a:pt x="216902" y="52081"/>
                    </a:cubicBezTo>
                    <a:lnTo>
                      <a:pt x="216902" y="143337"/>
                    </a:lnTo>
                    <a:close/>
                  </a:path>
                </a:pathLst>
              </a:custGeom>
              <a:solidFill>
                <a:schemeClr val="tx2"/>
              </a:solidFill>
              <a:ln w="2687" cap="flat">
                <a:noFill/>
                <a:prstDash val="solid"/>
                <a:miter/>
              </a:ln>
            </p:spPr>
            <p:txBody>
              <a:bodyPr rtlCol="0" anchor="ctr"/>
              <a:lstStyle/>
              <a:p>
                <a:endParaRPr lang="en-GB" dirty="0"/>
              </a:p>
            </p:txBody>
          </p:sp>
        </p:grpSp>
        <p:grpSp>
          <p:nvGrpSpPr>
            <p:cNvPr id="243" name="Grafik 246">
              <a:extLst>
                <a:ext uri="{FF2B5EF4-FFF2-40B4-BE49-F238E27FC236}">
                  <a16:creationId xmlns:a16="http://schemas.microsoft.com/office/drawing/2014/main" id="{E5EF41C4-48E5-4832-AD4D-4C3B7E90AED1}"/>
                </a:ext>
              </a:extLst>
            </p:cNvPr>
            <p:cNvGrpSpPr/>
            <p:nvPr/>
          </p:nvGrpSpPr>
          <p:grpSpPr>
            <a:xfrm>
              <a:off x="1892125" y="2736890"/>
              <a:ext cx="287293" cy="228544"/>
              <a:chOff x="1892125" y="2736890"/>
              <a:chExt cx="287293" cy="228544"/>
            </a:xfrm>
            <a:solidFill>
              <a:schemeClr val="accent1"/>
            </a:solidFill>
          </p:grpSpPr>
          <p:sp>
            <p:nvSpPr>
              <p:cNvPr id="244" name="Freihandform: Form 262">
                <a:extLst>
                  <a:ext uri="{FF2B5EF4-FFF2-40B4-BE49-F238E27FC236}">
                    <a16:creationId xmlns:a16="http://schemas.microsoft.com/office/drawing/2014/main" id="{9E3C38FC-21BB-46FC-B8F8-038D4AFAA18D}"/>
                  </a:ext>
                </a:extLst>
              </p:cNvPr>
              <p:cNvSpPr/>
              <p:nvPr/>
            </p:nvSpPr>
            <p:spPr>
              <a:xfrm>
                <a:off x="1892125" y="2782599"/>
                <a:ext cx="287293" cy="182835"/>
              </a:xfrm>
              <a:custGeom>
                <a:avLst/>
                <a:gdLst>
                  <a:gd name="connsiteX0" fmla="*/ 261185 w 287293"/>
                  <a:gd name="connsiteY0" fmla="*/ 182835 h 182835"/>
                  <a:gd name="connsiteX1" fmla="*/ 26108 w 287293"/>
                  <a:gd name="connsiteY1" fmla="*/ 182835 h 182835"/>
                  <a:gd name="connsiteX2" fmla="*/ 0 w 287293"/>
                  <a:gd name="connsiteY2" fmla="*/ 156727 h 182835"/>
                  <a:gd name="connsiteX3" fmla="*/ 0 w 287293"/>
                  <a:gd name="connsiteY3" fmla="*/ 26135 h 182835"/>
                  <a:gd name="connsiteX4" fmla="*/ 26108 w 287293"/>
                  <a:gd name="connsiteY4" fmla="*/ 27 h 182835"/>
                  <a:gd name="connsiteX5" fmla="*/ 110992 w 287293"/>
                  <a:gd name="connsiteY5" fmla="*/ 27 h 182835"/>
                  <a:gd name="connsiteX6" fmla="*/ 110992 w 287293"/>
                  <a:gd name="connsiteY6" fmla="*/ 13094 h 182835"/>
                  <a:gd name="connsiteX7" fmla="*/ 26108 w 287293"/>
                  <a:gd name="connsiteY7" fmla="*/ 13094 h 182835"/>
                  <a:gd name="connsiteX8" fmla="*/ 13040 w 287293"/>
                  <a:gd name="connsiteY8" fmla="*/ 26162 h 182835"/>
                  <a:gd name="connsiteX9" fmla="*/ 13040 w 287293"/>
                  <a:gd name="connsiteY9" fmla="*/ 156754 h 182835"/>
                  <a:gd name="connsiteX10" fmla="*/ 26108 w 287293"/>
                  <a:gd name="connsiteY10" fmla="*/ 169822 h 182835"/>
                  <a:gd name="connsiteX11" fmla="*/ 261185 w 287293"/>
                  <a:gd name="connsiteY11" fmla="*/ 169822 h 182835"/>
                  <a:gd name="connsiteX12" fmla="*/ 274253 w 287293"/>
                  <a:gd name="connsiteY12" fmla="*/ 156754 h 182835"/>
                  <a:gd name="connsiteX13" fmla="*/ 274253 w 287293"/>
                  <a:gd name="connsiteY13" fmla="*/ 26135 h 182835"/>
                  <a:gd name="connsiteX14" fmla="*/ 261185 w 287293"/>
                  <a:gd name="connsiteY14" fmla="*/ 13067 h 182835"/>
                  <a:gd name="connsiteX15" fmla="*/ 176302 w 287293"/>
                  <a:gd name="connsiteY15" fmla="*/ 13067 h 182835"/>
                  <a:gd name="connsiteX16" fmla="*/ 176302 w 287293"/>
                  <a:gd name="connsiteY16" fmla="*/ 0 h 182835"/>
                  <a:gd name="connsiteX17" fmla="*/ 261185 w 287293"/>
                  <a:gd name="connsiteY17" fmla="*/ 0 h 182835"/>
                  <a:gd name="connsiteX18" fmla="*/ 287293 w 287293"/>
                  <a:gd name="connsiteY18" fmla="*/ 26108 h 182835"/>
                  <a:gd name="connsiteX19" fmla="*/ 287293 w 287293"/>
                  <a:gd name="connsiteY19" fmla="*/ 156701 h 182835"/>
                  <a:gd name="connsiteX20" fmla="*/ 261185 w 287293"/>
                  <a:gd name="connsiteY20" fmla="*/ 182835 h 18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7293" h="182835">
                    <a:moveTo>
                      <a:pt x="261185" y="182835"/>
                    </a:moveTo>
                    <a:lnTo>
                      <a:pt x="26108" y="182835"/>
                    </a:lnTo>
                    <a:cubicBezTo>
                      <a:pt x="11696" y="182835"/>
                      <a:pt x="0" y="171112"/>
                      <a:pt x="0" y="156727"/>
                    </a:cubicBezTo>
                    <a:lnTo>
                      <a:pt x="0" y="26135"/>
                    </a:lnTo>
                    <a:cubicBezTo>
                      <a:pt x="0" y="11723"/>
                      <a:pt x="11723" y="27"/>
                      <a:pt x="26108" y="27"/>
                    </a:cubicBezTo>
                    <a:lnTo>
                      <a:pt x="110992" y="27"/>
                    </a:lnTo>
                    <a:lnTo>
                      <a:pt x="110992" y="13094"/>
                    </a:lnTo>
                    <a:lnTo>
                      <a:pt x="26108" y="13094"/>
                    </a:lnTo>
                    <a:cubicBezTo>
                      <a:pt x="18902" y="13094"/>
                      <a:pt x="13040" y="18956"/>
                      <a:pt x="13040" y="26162"/>
                    </a:cubicBezTo>
                    <a:lnTo>
                      <a:pt x="13040" y="156754"/>
                    </a:lnTo>
                    <a:cubicBezTo>
                      <a:pt x="13040" y="163960"/>
                      <a:pt x="18902" y="169822"/>
                      <a:pt x="26108" y="169822"/>
                    </a:cubicBezTo>
                    <a:lnTo>
                      <a:pt x="261185" y="169822"/>
                    </a:lnTo>
                    <a:cubicBezTo>
                      <a:pt x="268391" y="169822"/>
                      <a:pt x="274253" y="163960"/>
                      <a:pt x="274253" y="156754"/>
                    </a:cubicBezTo>
                    <a:lnTo>
                      <a:pt x="274253" y="26135"/>
                    </a:lnTo>
                    <a:cubicBezTo>
                      <a:pt x="274253" y="18929"/>
                      <a:pt x="268391" y="13067"/>
                      <a:pt x="261185" y="13067"/>
                    </a:cubicBezTo>
                    <a:lnTo>
                      <a:pt x="176302" y="13067"/>
                    </a:lnTo>
                    <a:lnTo>
                      <a:pt x="176302" y="0"/>
                    </a:lnTo>
                    <a:lnTo>
                      <a:pt x="261185" y="0"/>
                    </a:lnTo>
                    <a:cubicBezTo>
                      <a:pt x="275597" y="0"/>
                      <a:pt x="287293" y="11723"/>
                      <a:pt x="287293" y="26108"/>
                    </a:cubicBezTo>
                    <a:lnTo>
                      <a:pt x="287293" y="156701"/>
                    </a:lnTo>
                    <a:cubicBezTo>
                      <a:pt x="287293" y="171112"/>
                      <a:pt x="275570" y="182835"/>
                      <a:pt x="261185" y="182835"/>
                    </a:cubicBezTo>
                    <a:close/>
                  </a:path>
                </a:pathLst>
              </a:custGeom>
              <a:solidFill>
                <a:schemeClr val="accent1"/>
              </a:solidFill>
              <a:ln w="2687" cap="flat">
                <a:noFill/>
                <a:prstDash val="solid"/>
                <a:miter/>
              </a:ln>
            </p:spPr>
            <p:txBody>
              <a:bodyPr rtlCol="0" anchor="ctr"/>
              <a:lstStyle/>
              <a:p>
                <a:endParaRPr lang="en-GB" dirty="0"/>
              </a:p>
            </p:txBody>
          </p:sp>
          <p:sp>
            <p:nvSpPr>
              <p:cNvPr id="245" name="Freihandform: Form 263">
                <a:extLst>
                  <a:ext uri="{FF2B5EF4-FFF2-40B4-BE49-F238E27FC236}">
                    <a16:creationId xmlns:a16="http://schemas.microsoft.com/office/drawing/2014/main" id="{5142B275-A2AD-4FD8-B559-7644B24C2034}"/>
                  </a:ext>
                </a:extLst>
              </p:cNvPr>
              <p:cNvSpPr/>
              <p:nvPr/>
            </p:nvSpPr>
            <p:spPr>
              <a:xfrm>
                <a:off x="1996583" y="2762998"/>
                <a:ext cx="78377" cy="52242"/>
              </a:xfrm>
              <a:custGeom>
                <a:avLst/>
                <a:gdLst>
                  <a:gd name="connsiteX0" fmla="*/ 65310 w 78377"/>
                  <a:gd name="connsiteY0" fmla="*/ 52242 h 52242"/>
                  <a:gd name="connsiteX1" fmla="*/ 13067 w 78377"/>
                  <a:gd name="connsiteY1" fmla="*/ 52242 h 52242"/>
                  <a:gd name="connsiteX2" fmla="*/ 0 w 78377"/>
                  <a:gd name="connsiteY2" fmla="*/ 39175 h 52242"/>
                  <a:gd name="connsiteX3" fmla="*/ 0 w 78377"/>
                  <a:gd name="connsiteY3" fmla="*/ 13067 h 52242"/>
                  <a:gd name="connsiteX4" fmla="*/ 13067 w 78377"/>
                  <a:gd name="connsiteY4" fmla="*/ 0 h 52242"/>
                  <a:gd name="connsiteX5" fmla="*/ 65310 w 78377"/>
                  <a:gd name="connsiteY5" fmla="*/ 0 h 52242"/>
                  <a:gd name="connsiteX6" fmla="*/ 78377 w 78377"/>
                  <a:gd name="connsiteY6" fmla="*/ 13067 h 52242"/>
                  <a:gd name="connsiteX7" fmla="*/ 78377 w 78377"/>
                  <a:gd name="connsiteY7" fmla="*/ 39175 h 52242"/>
                  <a:gd name="connsiteX8" fmla="*/ 65310 w 78377"/>
                  <a:gd name="connsiteY8" fmla="*/ 52242 h 52242"/>
                  <a:gd name="connsiteX9" fmla="*/ 13067 w 78377"/>
                  <a:gd name="connsiteY9" fmla="*/ 13067 h 52242"/>
                  <a:gd name="connsiteX10" fmla="*/ 13067 w 78377"/>
                  <a:gd name="connsiteY10" fmla="*/ 39175 h 52242"/>
                  <a:gd name="connsiteX11" fmla="*/ 65310 w 78377"/>
                  <a:gd name="connsiteY11" fmla="*/ 39175 h 52242"/>
                  <a:gd name="connsiteX12" fmla="*/ 65310 w 78377"/>
                  <a:gd name="connsiteY12" fmla="*/ 13067 h 52242"/>
                  <a:gd name="connsiteX13" fmla="*/ 13067 w 78377"/>
                  <a:gd name="connsiteY13" fmla="*/ 13067 h 52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377" h="52242">
                    <a:moveTo>
                      <a:pt x="65310" y="52242"/>
                    </a:moveTo>
                    <a:lnTo>
                      <a:pt x="13067" y="52242"/>
                    </a:lnTo>
                    <a:cubicBezTo>
                      <a:pt x="5862" y="52242"/>
                      <a:pt x="0" y="46381"/>
                      <a:pt x="0" y="39175"/>
                    </a:cubicBezTo>
                    <a:lnTo>
                      <a:pt x="0" y="13067"/>
                    </a:lnTo>
                    <a:cubicBezTo>
                      <a:pt x="0" y="5861"/>
                      <a:pt x="5862" y="0"/>
                      <a:pt x="13067" y="0"/>
                    </a:cubicBezTo>
                    <a:lnTo>
                      <a:pt x="65310" y="0"/>
                    </a:lnTo>
                    <a:cubicBezTo>
                      <a:pt x="72516" y="0"/>
                      <a:pt x="78377" y="5861"/>
                      <a:pt x="78377" y="13067"/>
                    </a:cubicBezTo>
                    <a:lnTo>
                      <a:pt x="78377" y="39175"/>
                    </a:lnTo>
                    <a:cubicBezTo>
                      <a:pt x="78350" y="46408"/>
                      <a:pt x="72489" y="52242"/>
                      <a:pt x="65310" y="52242"/>
                    </a:cubicBezTo>
                    <a:close/>
                    <a:moveTo>
                      <a:pt x="13067" y="13067"/>
                    </a:moveTo>
                    <a:lnTo>
                      <a:pt x="13067" y="39175"/>
                    </a:lnTo>
                    <a:lnTo>
                      <a:pt x="65310" y="39175"/>
                    </a:lnTo>
                    <a:lnTo>
                      <a:pt x="65310" y="13067"/>
                    </a:lnTo>
                    <a:lnTo>
                      <a:pt x="13067" y="13067"/>
                    </a:lnTo>
                    <a:close/>
                  </a:path>
                </a:pathLst>
              </a:custGeom>
              <a:solidFill>
                <a:schemeClr val="accent1"/>
              </a:solidFill>
              <a:ln w="2687" cap="flat">
                <a:noFill/>
                <a:prstDash val="solid"/>
                <a:miter/>
              </a:ln>
            </p:spPr>
            <p:txBody>
              <a:bodyPr rtlCol="0" anchor="ctr"/>
              <a:lstStyle/>
              <a:p>
                <a:endParaRPr lang="en-GB" dirty="0"/>
              </a:p>
            </p:txBody>
          </p:sp>
          <p:sp>
            <p:nvSpPr>
              <p:cNvPr id="246" name="Freihandform: Form 264">
                <a:extLst>
                  <a:ext uri="{FF2B5EF4-FFF2-40B4-BE49-F238E27FC236}">
                    <a16:creationId xmlns:a16="http://schemas.microsoft.com/office/drawing/2014/main" id="{FC34D276-3866-44FC-8E60-14A7E8460382}"/>
                  </a:ext>
                </a:extLst>
              </p:cNvPr>
              <p:cNvSpPr/>
              <p:nvPr/>
            </p:nvSpPr>
            <p:spPr>
              <a:xfrm>
                <a:off x="2016184" y="2736890"/>
                <a:ext cx="39175" cy="39175"/>
              </a:xfrm>
              <a:custGeom>
                <a:avLst/>
                <a:gdLst>
                  <a:gd name="connsiteX0" fmla="*/ 32642 w 39175"/>
                  <a:gd name="connsiteY0" fmla="*/ 39175 h 39175"/>
                  <a:gd name="connsiteX1" fmla="*/ 6534 w 39175"/>
                  <a:gd name="connsiteY1" fmla="*/ 39175 h 39175"/>
                  <a:gd name="connsiteX2" fmla="*/ 0 w 39175"/>
                  <a:gd name="connsiteY2" fmla="*/ 32641 h 39175"/>
                  <a:gd name="connsiteX3" fmla="*/ 0 w 39175"/>
                  <a:gd name="connsiteY3" fmla="*/ 6534 h 39175"/>
                  <a:gd name="connsiteX4" fmla="*/ 6534 w 39175"/>
                  <a:gd name="connsiteY4" fmla="*/ 0 h 39175"/>
                  <a:gd name="connsiteX5" fmla="*/ 32642 w 39175"/>
                  <a:gd name="connsiteY5" fmla="*/ 0 h 39175"/>
                  <a:gd name="connsiteX6" fmla="*/ 39175 w 39175"/>
                  <a:gd name="connsiteY6" fmla="*/ 6534 h 39175"/>
                  <a:gd name="connsiteX7" fmla="*/ 39175 w 39175"/>
                  <a:gd name="connsiteY7" fmla="*/ 32641 h 39175"/>
                  <a:gd name="connsiteX8" fmla="*/ 32642 w 39175"/>
                  <a:gd name="connsiteY8" fmla="*/ 39175 h 39175"/>
                  <a:gd name="connsiteX9" fmla="*/ 13040 w 39175"/>
                  <a:gd name="connsiteY9" fmla="*/ 26135 h 39175"/>
                  <a:gd name="connsiteX10" fmla="*/ 26108 w 39175"/>
                  <a:gd name="connsiteY10" fmla="*/ 26135 h 39175"/>
                  <a:gd name="connsiteX11" fmla="*/ 26108 w 39175"/>
                  <a:gd name="connsiteY11" fmla="*/ 13067 h 39175"/>
                  <a:gd name="connsiteX12" fmla="*/ 13040 w 39175"/>
                  <a:gd name="connsiteY12" fmla="*/ 13067 h 39175"/>
                  <a:gd name="connsiteX13" fmla="*/ 13040 w 39175"/>
                  <a:gd name="connsiteY13" fmla="*/ 26135 h 39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175" h="39175">
                    <a:moveTo>
                      <a:pt x="32642" y="39175"/>
                    </a:moveTo>
                    <a:lnTo>
                      <a:pt x="6534" y="39175"/>
                    </a:lnTo>
                    <a:cubicBezTo>
                      <a:pt x="2931" y="39175"/>
                      <a:pt x="0" y="36244"/>
                      <a:pt x="0" y="32641"/>
                    </a:cubicBezTo>
                    <a:lnTo>
                      <a:pt x="0" y="6534"/>
                    </a:lnTo>
                    <a:cubicBezTo>
                      <a:pt x="0" y="2931"/>
                      <a:pt x="2931" y="0"/>
                      <a:pt x="6534" y="0"/>
                    </a:cubicBezTo>
                    <a:lnTo>
                      <a:pt x="32642" y="0"/>
                    </a:lnTo>
                    <a:cubicBezTo>
                      <a:pt x="36244" y="0"/>
                      <a:pt x="39175" y="2931"/>
                      <a:pt x="39175" y="6534"/>
                    </a:cubicBezTo>
                    <a:lnTo>
                      <a:pt x="39175" y="32641"/>
                    </a:lnTo>
                    <a:cubicBezTo>
                      <a:pt x="39175" y="36271"/>
                      <a:pt x="36244" y="39175"/>
                      <a:pt x="32642" y="39175"/>
                    </a:cubicBezTo>
                    <a:close/>
                    <a:moveTo>
                      <a:pt x="13040" y="26135"/>
                    </a:moveTo>
                    <a:lnTo>
                      <a:pt x="26108" y="26135"/>
                    </a:lnTo>
                    <a:lnTo>
                      <a:pt x="26108" y="13067"/>
                    </a:lnTo>
                    <a:lnTo>
                      <a:pt x="13040" y="13067"/>
                    </a:lnTo>
                    <a:lnTo>
                      <a:pt x="13040" y="26135"/>
                    </a:lnTo>
                    <a:close/>
                  </a:path>
                </a:pathLst>
              </a:custGeom>
              <a:solidFill>
                <a:schemeClr val="accent1"/>
              </a:solidFill>
              <a:ln w="2687" cap="flat">
                <a:noFill/>
                <a:prstDash val="solid"/>
                <a:miter/>
              </a:ln>
            </p:spPr>
            <p:txBody>
              <a:bodyPr rtlCol="0" anchor="ctr"/>
              <a:lstStyle/>
              <a:p>
                <a:endParaRPr lang="en-GB" dirty="0"/>
              </a:p>
            </p:txBody>
          </p:sp>
          <p:grpSp>
            <p:nvGrpSpPr>
              <p:cNvPr id="247" name="Grafik 246">
                <a:extLst>
                  <a:ext uri="{FF2B5EF4-FFF2-40B4-BE49-F238E27FC236}">
                    <a16:creationId xmlns:a16="http://schemas.microsoft.com/office/drawing/2014/main" id="{CD316E76-3FBE-4B09-88E3-5D1134F0DD5F}"/>
                  </a:ext>
                </a:extLst>
              </p:cNvPr>
              <p:cNvGrpSpPr/>
              <p:nvPr/>
            </p:nvGrpSpPr>
            <p:grpSpPr>
              <a:xfrm>
                <a:off x="1924739" y="2821774"/>
                <a:ext cx="78350" cy="117552"/>
                <a:chOff x="1924739" y="2821774"/>
                <a:chExt cx="78350" cy="117552"/>
              </a:xfrm>
              <a:solidFill>
                <a:schemeClr val="accent1"/>
              </a:solidFill>
            </p:grpSpPr>
            <p:sp>
              <p:nvSpPr>
                <p:cNvPr id="251" name="Freihandform: Form 266">
                  <a:extLst>
                    <a:ext uri="{FF2B5EF4-FFF2-40B4-BE49-F238E27FC236}">
                      <a16:creationId xmlns:a16="http://schemas.microsoft.com/office/drawing/2014/main" id="{7C801438-D493-4EBB-A989-28E24D8AB41E}"/>
                    </a:ext>
                  </a:extLst>
                </p:cNvPr>
                <p:cNvSpPr/>
                <p:nvPr/>
              </p:nvSpPr>
              <p:spPr>
                <a:xfrm>
                  <a:off x="1937807" y="2821774"/>
                  <a:ext cx="45708" cy="52242"/>
                </a:xfrm>
                <a:custGeom>
                  <a:avLst/>
                  <a:gdLst>
                    <a:gd name="connsiteX0" fmla="*/ 22854 w 45708"/>
                    <a:gd name="connsiteY0" fmla="*/ 52242 h 52242"/>
                    <a:gd name="connsiteX1" fmla="*/ 0 w 45708"/>
                    <a:gd name="connsiteY1" fmla="*/ 29388 h 52242"/>
                    <a:gd name="connsiteX2" fmla="*/ 0 w 45708"/>
                    <a:gd name="connsiteY2" fmla="*/ 22854 h 52242"/>
                    <a:gd name="connsiteX3" fmla="*/ 22854 w 45708"/>
                    <a:gd name="connsiteY3" fmla="*/ 0 h 52242"/>
                    <a:gd name="connsiteX4" fmla="*/ 45709 w 45708"/>
                    <a:gd name="connsiteY4" fmla="*/ 22854 h 52242"/>
                    <a:gd name="connsiteX5" fmla="*/ 45709 w 45708"/>
                    <a:gd name="connsiteY5" fmla="*/ 29388 h 52242"/>
                    <a:gd name="connsiteX6" fmla="*/ 22854 w 45708"/>
                    <a:gd name="connsiteY6" fmla="*/ 52242 h 52242"/>
                    <a:gd name="connsiteX7" fmla="*/ 22854 w 45708"/>
                    <a:gd name="connsiteY7" fmla="*/ 13067 h 52242"/>
                    <a:gd name="connsiteX8" fmla="*/ 13067 w 45708"/>
                    <a:gd name="connsiteY8" fmla="*/ 22854 h 52242"/>
                    <a:gd name="connsiteX9" fmla="*/ 13067 w 45708"/>
                    <a:gd name="connsiteY9" fmla="*/ 29388 h 52242"/>
                    <a:gd name="connsiteX10" fmla="*/ 22854 w 45708"/>
                    <a:gd name="connsiteY10" fmla="*/ 39175 h 52242"/>
                    <a:gd name="connsiteX11" fmla="*/ 32641 w 45708"/>
                    <a:gd name="connsiteY11" fmla="*/ 29388 h 52242"/>
                    <a:gd name="connsiteX12" fmla="*/ 32641 w 45708"/>
                    <a:gd name="connsiteY12" fmla="*/ 22854 h 52242"/>
                    <a:gd name="connsiteX13" fmla="*/ 22854 w 45708"/>
                    <a:gd name="connsiteY13" fmla="*/ 13067 h 52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5708" h="52242">
                      <a:moveTo>
                        <a:pt x="22854" y="52242"/>
                      </a:moveTo>
                      <a:cubicBezTo>
                        <a:pt x="10244" y="52242"/>
                        <a:pt x="0" y="41998"/>
                        <a:pt x="0" y="29388"/>
                      </a:cubicBezTo>
                      <a:lnTo>
                        <a:pt x="0" y="22854"/>
                      </a:lnTo>
                      <a:cubicBezTo>
                        <a:pt x="0" y="10244"/>
                        <a:pt x="10244" y="0"/>
                        <a:pt x="22854" y="0"/>
                      </a:cubicBezTo>
                      <a:cubicBezTo>
                        <a:pt x="35465" y="0"/>
                        <a:pt x="45709" y="10244"/>
                        <a:pt x="45709" y="22854"/>
                      </a:cubicBezTo>
                      <a:lnTo>
                        <a:pt x="45709" y="29388"/>
                      </a:lnTo>
                      <a:cubicBezTo>
                        <a:pt x="45709" y="41998"/>
                        <a:pt x="35465" y="52242"/>
                        <a:pt x="22854" y="52242"/>
                      </a:cubicBezTo>
                      <a:close/>
                      <a:moveTo>
                        <a:pt x="22854" y="13067"/>
                      </a:moveTo>
                      <a:cubicBezTo>
                        <a:pt x="17450" y="13067"/>
                        <a:pt x="13067" y="17450"/>
                        <a:pt x="13067" y="22854"/>
                      </a:cubicBezTo>
                      <a:lnTo>
                        <a:pt x="13067" y="29388"/>
                      </a:lnTo>
                      <a:cubicBezTo>
                        <a:pt x="13067" y="34792"/>
                        <a:pt x="17450" y="39175"/>
                        <a:pt x="22854" y="39175"/>
                      </a:cubicBezTo>
                      <a:cubicBezTo>
                        <a:pt x="28259" y="39175"/>
                        <a:pt x="32641" y="34792"/>
                        <a:pt x="32641" y="29388"/>
                      </a:cubicBezTo>
                      <a:lnTo>
                        <a:pt x="32641" y="22854"/>
                      </a:lnTo>
                      <a:cubicBezTo>
                        <a:pt x="32668" y="17450"/>
                        <a:pt x="28259" y="13067"/>
                        <a:pt x="22854" y="13067"/>
                      </a:cubicBezTo>
                      <a:close/>
                    </a:path>
                  </a:pathLst>
                </a:custGeom>
                <a:solidFill>
                  <a:schemeClr val="accent1"/>
                </a:solidFill>
                <a:ln w="2687" cap="flat">
                  <a:noFill/>
                  <a:prstDash val="solid"/>
                  <a:miter/>
                </a:ln>
              </p:spPr>
              <p:txBody>
                <a:bodyPr rtlCol="0" anchor="ctr"/>
                <a:lstStyle/>
                <a:p>
                  <a:endParaRPr lang="en-GB" dirty="0"/>
                </a:p>
              </p:txBody>
            </p:sp>
            <p:sp>
              <p:nvSpPr>
                <p:cNvPr id="252" name="Freihandform: Form 267">
                  <a:extLst>
                    <a:ext uri="{FF2B5EF4-FFF2-40B4-BE49-F238E27FC236}">
                      <a16:creationId xmlns:a16="http://schemas.microsoft.com/office/drawing/2014/main" id="{2EA61370-015D-4B70-A06B-C4D68510EC5A}"/>
                    </a:ext>
                  </a:extLst>
                </p:cNvPr>
                <p:cNvSpPr/>
                <p:nvPr/>
              </p:nvSpPr>
              <p:spPr>
                <a:xfrm>
                  <a:off x="1924739" y="2880550"/>
                  <a:ext cx="78350" cy="58776"/>
                </a:xfrm>
                <a:custGeom>
                  <a:avLst/>
                  <a:gdLst>
                    <a:gd name="connsiteX0" fmla="*/ 71843 w 78350"/>
                    <a:gd name="connsiteY0" fmla="*/ 58776 h 58776"/>
                    <a:gd name="connsiteX1" fmla="*/ 6534 w 78350"/>
                    <a:gd name="connsiteY1" fmla="*/ 58776 h 58776"/>
                    <a:gd name="connsiteX2" fmla="*/ 0 w 78350"/>
                    <a:gd name="connsiteY2" fmla="*/ 52242 h 58776"/>
                    <a:gd name="connsiteX3" fmla="*/ 0 w 78350"/>
                    <a:gd name="connsiteY3" fmla="*/ 39175 h 58776"/>
                    <a:gd name="connsiteX4" fmla="*/ 39175 w 78350"/>
                    <a:gd name="connsiteY4" fmla="*/ 0 h 58776"/>
                    <a:gd name="connsiteX5" fmla="*/ 78350 w 78350"/>
                    <a:gd name="connsiteY5" fmla="*/ 39175 h 58776"/>
                    <a:gd name="connsiteX6" fmla="*/ 78350 w 78350"/>
                    <a:gd name="connsiteY6" fmla="*/ 52242 h 58776"/>
                    <a:gd name="connsiteX7" fmla="*/ 71843 w 78350"/>
                    <a:gd name="connsiteY7" fmla="*/ 58776 h 58776"/>
                    <a:gd name="connsiteX8" fmla="*/ 13067 w 78350"/>
                    <a:gd name="connsiteY8" fmla="*/ 45709 h 58776"/>
                    <a:gd name="connsiteX9" fmla="*/ 65310 w 78350"/>
                    <a:gd name="connsiteY9" fmla="*/ 45709 h 58776"/>
                    <a:gd name="connsiteX10" fmla="*/ 65310 w 78350"/>
                    <a:gd name="connsiteY10" fmla="*/ 39175 h 58776"/>
                    <a:gd name="connsiteX11" fmla="*/ 39202 w 78350"/>
                    <a:gd name="connsiteY11" fmla="*/ 13067 h 58776"/>
                    <a:gd name="connsiteX12" fmla="*/ 13094 w 78350"/>
                    <a:gd name="connsiteY12" fmla="*/ 39175 h 58776"/>
                    <a:gd name="connsiteX13" fmla="*/ 13094 w 78350"/>
                    <a:gd name="connsiteY13" fmla="*/ 45709 h 58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8350" h="58776">
                      <a:moveTo>
                        <a:pt x="71843" y="58776"/>
                      </a:moveTo>
                      <a:lnTo>
                        <a:pt x="6534" y="58776"/>
                      </a:lnTo>
                      <a:cubicBezTo>
                        <a:pt x="2931" y="58776"/>
                        <a:pt x="0" y="55845"/>
                        <a:pt x="0" y="52242"/>
                      </a:cubicBezTo>
                      <a:lnTo>
                        <a:pt x="0" y="39175"/>
                      </a:lnTo>
                      <a:cubicBezTo>
                        <a:pt x="0" y="17558"/>
                        <a:pt x="17584" y="0"/>
                        <a:pt x="39175" y="0"/>
                      </a:cubicBezTo>
                      <a:cubicBezTo>
                        <a:pt x="60793" y="0"/>
                        <a:pt x="78350" y="17584"/>
                        <a:pt x="78350" y="39175"/>
                      </a:cubicBezTo>
                      <a:lnTo>
                        <a:pt x="78350" y="52242"/>
                      </a:lnTo>
                      <a:cubicBezTo>
                        <a:pt x="78377" y="55845"/>
                        <a:pt x="75446" y="58776"/>
                        <a:pt x="71843" y="58776"/>
                      </a:cubicBezTo>
                      <a:close/>
                      <a:moveTo>
                        <a:pt x="13067" y="45709"/>
                      </a:moveTo>
                      <a:lnTo>
                        <a:pt x="65310" y="45709"/>
                      </a:lnTo>
                      <a:lnTo>
                        <a:pt x="65310" y="39175"/>
                      </a:lnTo>
                      <a:cubicBezTo>
                        <a:pt x="65310" y="24763"/>
                        <a:pt x="53587" y="13067"/>
                        <a:pt x="39202" y="13067"/>
                      </a:cubicBezTo>
                      <a:cubicBezTo>
                        <a:pt x="24790" y="13067"/>
                        <a:pt x="13094" y="24790"/>
                        <a:pt x="13094" y="39175"/>
                      </a:cubicBezTo>
                      <a:lnTo>
                        <a:pt x="13094" y="45709"/>
                      </a:lnTo>
                      <a:close/>
                    </a:path>
                  </a:pathLst>
                </a:custGeom>
                <a:solidFill>
                  <a:schemeClr val="accent1"/>
                </a:solidFill>
                <a:ln w="2687" cap="flat">
                  <a:noFill/>
                  <a:prstDash val="solid"/>
                  <a:miter/>
                </a:ln>
              </p:spPr>
              <p:txBody>
                <a:bodyPr rtlCol="0" anchor="ctr"/>
                <a:lstStyle/>
                <a:p>
                  <a:endParaRPr lang="en-GB" dirty="0"/>
                </a:p>
              </p:txBody>
            </p:sp>
          </p:grpSp>
          <p:sp>
            <p:nvSpPr>
              <p:cNvPr id="248" name="Freihandform: Form 268">
                <a:extLst>
                  <a:ext uri="{FF2B5EF4-FFF2-40B4-BE49-F238E27FC236}">
                    <a16:creationId xmlns:a16="http://schemas.microsoft.com/office/drawing/2014/main" id="{7D6306C5-43AE-45FD-988C-63B651B45D0F}"/>
                  </a:ext>
                </a:extLst>
              </p:cNvPr>
              <p:cNvSpPr/>
              <p:nvPr/>
            </p:nvSpPr>
            <p:spPr>
              <a:xfrm>
                <a:off x="2022691" y="2887084"/>
                <a:ext cx="124085" cy="13067"/>
              </a:xfrm>
              <a:custGeom>
                <a:avLst/>
                <a:gdLst>
                  <a:gd name="connsiteX0" fmla="*/ 117552 w 124085"/>
                  <a:gd name="connsiteY0" fmla="*/ 13067 h 13067"/>
                  <a:gd name="connsiteX1" fmla="*/ 6534 w 124085"/>
                  <a:gd name="connsiteY1" fmla="*/ 13067 h 13067"/>
                  <a:gd name="connsiteX2" fmla="*/ 0 w 124085"/>
                  <a:gd name="connsiteY2" fmla="*/ 6534 h 13067"/>
                  <a:gd name="connsiteX3" fmla="*/ 6534 w 124085"/>
                  <a:gd name="connsiteY3" fmla="*/ 0 h 13067"/>
                  <a:gd name="connsiteX4" fmla="*/ 117552 w 124085"/>
                  <a:gd name="connsiteY4" fmla="*/ 0 h 13067"/>
                  <a:gd name="connsiteX5" fmla="*/ 124086 w 124085"/>
                  <a:gd name="connsiteY5" fmla="*/ 6534 h 13067"/>
                  <a:gd name="connsiteX6" fmla="*/ 117552 w 124085"/>
                  <a:gd name="connsiteY6" fmla="*/ 13067 h 1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085" h="13067">
                    <a:moveTo>
                      <a:pt x="117552" y="13067"/>
                    </a:moveTo>
                    <a:lnTo>
                      <a:pt x="6534" y="13067"/>
                    </a:lnTo>
                    <a:cubicBezTo>
                      <a:pt x="2931" y="13067"/>
                      <a:pt x="0" y="10137"/>
                      <a:pt x="0" y="6534"/>
                    </a:cubicBezTo>
                    <a:cubicBezTo>
                      <a:pt x="0" y="2931"/>
                      <a:pt x="2931" y="0"/>
                      <a:pt x="6534" y="0"/>
                    </a:cubicBezTo>
                    <a:lnTo>
                      <a:pt x="117552" y="0"/>
                    </a:lnTo>
                    <a:cubicBezTo>
                      <a:pt x="121155" y="0"/>
                      <a:pt x="124086" y="2931"/>
                      <a:pt x="124086" y="6534"/>
                    </a:cubicBezTo>
                    <a:cubicBezTo>
                      <a:pt x="124086" y="10137"/>
                      <a:pt x="121155" y="13067"/>
                      <a:pt x="117552" y="13067"/>
                    </a:cubicBezTo>
                    <a:close/>
                  </a:path>
                </a:pathLst>
              </a:custGeom>
              <a:solidFill>
                <a:schemeClr val="accent1"/>
              </a:solidFill>
              <a:ln w="2687" cap="flat">
                <a:noFill/>
                <a:prstDash val="solid"/>
                <a:miter/>
              </a:ln>
            </p:spPr>
            <p:txBody>
              <a:bodyPr rtlCol="0" anchor="ctr"/>
              <a:lstStyle/>
              <a:p>
                <a:endParaRPr lang="en-GB" dirty="0"/>
              </a:p>
            </p:txBody>
          </p:sp>
          <p:sp>
            <p:nvSpPr>
              <p:cNvPr id="249" name="Freihandform: Form 269">
                <a:extLst>
                  <a:ext uri="{FF2B5EF4-FFF2-40B4-BE49-F238E27FC236}">
                    <a16:creationId xmlns:a16="http://schemas.microsoft.com/office/drawing/2014/main" id="{07B9A303-FCF3-48EF-AC97-F1C4D94D87DD}"/>
                  </a:ext>
                </a:extLst>
              </p:cNvPr>
              <p:cNvSpPr/>
              <p:nvPr/>
            </p:nvSpPr>
            <p:spPr>
              <a:xfrm>
                <a:off x="2022691" y="2919725"/>
                <a:ext cx="124085" cy="13067"/>
              </a:xfrm>
              <a:custGeom>
                <a:avLst/>
                <a:gdLst>
                  <a:gd name="connsiteX0" fmla="*/ 117552 w 124085"/>
                  <a:gd name="connsiteY0" fmla="*/ 13067 h 13067"/>
                  <a:gd name="connsiteX1" fmla="*/ 6534 w 124085"/>
                  <a:gd name="connsiteY1" fmla="*/ 13067 h 13067"/>
                  <a:gd name="connsiteX2" fmla="*/ 0 w 124085"/>
                  <a:gd name="connsiteY2" fmla="*/ 6534 h 13067"/>
                  <a:gd name="connsiteX3" fmla="*/ 6534 w 124085"/>
                  <a:gd name="connsiteY3" fmla="*/ 0 h 13067"/>
                  <a:gd name="connsiteX4" fmla="*/ 117552 w 124085"/>
                  <a:gd name="connsiteY4" fmla="*/ 0 h 13067"/>
                  <a:gd name="connsiteX5" fmla="*/ 124086 w 124085"/>
                  <a:gd name="connsiteY5" fmla="*/ 6534 h 13067"/>
                  <a:gd name="connsiteX6" fmla="*/ 117552 w 124085"/>
                  <a:gd name="connsiteY6" fmla="*/ 13067 h 1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085" h="13067">
                    <a:moveTo>
                      <a:pt x="117552" y="13067"/>
                    </a:moveTo>
                    <a:lnTo>
                      <a:pt x="6534" y="13067"/>
                    </a:lnTo>
                    <a:cubicBezTo>
                      <a:pt x="2931" y="13067"/>
                      <a:pt x="0" y="10137"/>
                      <a:pt x="0" y="6534"/>
                    </a:cubicBezTo>
                    <a:cubicBezTo>
                      <a:pt x="0" y="2931"/>
                      <a:pt x="2931" y="0"/>
                      <a:pt x="6534" y="0"/>
                    </a:cubicBezTo>
                    <a:lnTo>
                      <a:pt x="117552" y="0"/>
                    </a:lnTo>
                    <a:cubicBezTo>
                      <a:pt x="121155" y="0"/>
                      <a:pt x="124086" y="2931"/>
                      <a:pt x="124086" y="6534"/>
                    </a:cubicBezTo>
                    <a:cubicBezTo>
                      <a:pt x="124086" y="10137"/>
                      <a:pt x="121155" y="13067"/>
                      <a:pt x="117552" y="13067"/>
                    </a:cubicBezTo>
                    <a:close/>
                  </a:path>
                </a:pathLst>
              </a:custGeom>
              <a:solidFill>
                <a:schemeClr val="accent1"/>
              </a:solidFill>
              <a:ln w="2687" cap="flat">
                <a:noFill/>
                <a:prstDash val="solid"/>
                <a:miter/>
              </a:ln>
            </p:spPr>
            <p:txBody>
              <a:bodyPr rtlCol="0" anchor="ctr"/>
              <a:lstStyle/>
              <a:p>
                <a:endParaRPr lang="en-GB" dirty="0"/>
              </a:p>
            </p:txBody>
          </p:sp>
          <p:sp>
            <p:nvSpPr>
              <p:cNvPr id="250" name="Freihandform: Form 270">
                <a:extLst>
                  <a:ext uri="{FF2B5EF4-FFF2-40B4-BE49-F238E27FC236}">
                    <a16:creationId xmlns:a16="http://schemas.microsoft.com/office/drawing/2014/main" id="{72CF1A17-099E-40B7-BD8F-C082C22359F1}"/>
                  </a:ext>
                </a:extLst>
              </p:cNvPr>
              <p:cNvSpPr/>
              <p:nvPr/>
            </p:nvSpPr>
            <p:spPr>
              <a:xfrm>
                <a:off x="2042265" y="2841375"/>
                <a:ext cx="78377" cy="13067"/>
              </a:xfrm>
              <a:custGeom>
                <a:avLst/>
                <a:gdLst>
                  <a:gd name="connsiteX0" fmla="*/ 71843 w 78377"/>
                  <a:gd name="connsiteY0" fmla="*/ 13067 h 13067"/>
                  <a:gd name="connsiteX1" fmla="*/ 6534 w 78377"/>
                  <a:gd name="connsiteY1" fmla="*/ 13067 h 13067"/>
                  <a:gd name="connsiteX2" fmla="*/ 0 w 78377"/>
                  <a:gd name="connsiteY2" fmla="*/ 6534 h 13067"/>
                  <a:gd name="connsiteX3" fmla="*/ 6534 w 78377"/>
                  <a:gd name="connsiteY3" fmla="*/ 0 h 13067"/>
                  <a:gd name="connsiteX4" fmla="*/ 71843 w 78377"/>
                  <a:gd name="connsiteY4" fmla="*/ 0 h 13067"/>
                  <a:gd name="connsiteX5" fmla="*/ 78377 w 78377"/>
                  <a:gd name="connsiteY5" fmla="*/ 6534 h 13067"/>
                  <a:gd name="connsiteX6" fmla="*/ 71843 w 78377"/>
                  <a:gd name="connsiteY6" fmla="*/ 13067 h 1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377" h="13067">
                    <a:moveTo>
                      <a:pt x="71843" y="13067"/>
                    </a:moveTo>
                    <a:lnTo>
                      <a:pt x="6534" y="13067"/>
                    </a:lnTo>
                    <a:cubicBezTo>
                      <a:pt x="2931" y="13067"/>
                      <a:pt x="0" y="10137"/>
                      <a:pt x="0" y="6534"/>
                    </a:cubicBezTo>
                    <a:cubicBezTo>
                      <a:pt x="0" y="2931"/>
                      <a:pt x="2931" y="0"/>
                      <a:pt x="6534" y="0"/>
                    </a:cubicBezTo>
                    <a:lnTo>
                      <a:pt x="71843" y="0"/>
                    </a:lnTo>
                    <a:cubicBezTo>
                      <a:pt x="75446" y="0"/>
                      <a:pt x="78377" y="2931"/>
                      <a:pt x="78377" y="6534"/>
                    </a:cubicBezTo>
                    <a:cubicBezTo>
                      <a:pt x="78377" y="10137"/>
                      <a:pt x="75473" y="13067"/>
                      <a:pt x="71843" y="13067"/>
                    </a:cubicBezTo>
                    <a:close/>
                  </a:path>
                </a:pathLst>
              </a:custGeom>
              <a:solidFill>
                <a:schemeClr val="accent1"/>
              </a:solidFill>
              <a:ln w="2687" cap="flat">
                <a:noFill/>
                <a:prstDash val="solid"/>
                <a:miter/>
              </a:ln>
            </p:spPr>
            <p:txBody>
              <a:bodyPr rtlCol="0" anchor="ctr"/>
              <a:lstStyle/>
              <a:p>
                <a:endParaRPr lang="en-GB" dirty="0"/>
              </a:p>
            </p:txBody>
          </p:sp>
        </p:grpSp>
      </p:grpSp>
      <p:grpSp>
        <p:nvGrpSpPr>
          <p:cNvPr id="261" name="Group 260">
            <a:extLst>
              <a:ext uri="{FF2B5EF4-FFF2-40B4-BE49-F238E27FC236}">
                <a16:creationId xmlns:a16="http://schemas.microsoft.com/office/drawing/2014/main" id="{0BA2DFBA-2B7D-482F-A5EE-FCE2C9A1CC8F}"/>
              </a:ext>
            </a:extLst>
          </p:cNvPr>
          <p:cNvGrpSpPr>
            <a:grpSpLocks noChangeAspect="1"/>
          </p:cNvGrpSpPr>
          <p:nvPr/>
        </p:nvGrpSpPr>
        <p:grpSpPr>
          <a:xfrm>
            <a:off x="597785" y="4002609"/>
            <a:ext cx="392531" cy="431998"/>
            <a:chOff x="891882" y="3272409"/>
            <a:chExt cx="439099" cy="483248"/>
          </a:xfrm>
        </p:grpSpPr>
        <p:sp>
          <p:nvSpPr>
            <p:cNvPr id="262" name="Freihandform: Form 474">
              <a:extLst>
                <a:ext uri="{FF2B5EF4-FFF2-40B4-BE49-F238E27FC236}">
                  <a16:creationId xmlns:a16="http://schemas.microsoft.com/office/drawing/2014/main" id="{5DA26524-997B-4ED4-BB14-07533C6FE24B}"/>
                </a:ext>
              </a:extLst>
            </p:cNvPr>
            <p:cNvSpPr/>
            <p:nvPr/>
          </p:nvSpPr>
          <p:spPr>
            <a:xfrm>
              <a:off x="978353" y="3363132"/>
              <a:ext cx="300091" cy="392525"/>
            </a:xfrm>
            <a:custGeom>
              <a:avLst/>
              <a:gdLst>
                <a:gd name="connsiteX0" fmla="*/ 172000 w 300091"/>
                <a:gd name="connsiteY0" fmla="*/ 392525 h 392525"/>
                <a:gd name="connsiteX1" fmla="*/ 158932 w 300091"/>
                <a:gd name="connsiteY1" fmla="*/ 392525 h 392525"/>
                <a:gd name="connsiteX2" fmla="*/ 158932 w 300091"/>
                <a:gd name="connsiteY2" fmla="*/ 317885 h 392525"/>
                <a:gd name="connsiteX3" fmla="*/ 227899 w 300091"/>
                <a:gd name="connsiteY3" fmla="*/ 317885 h 392525"/>
                <a:gd name="connsiteX4" fmla="*/ 249758 w 300091"/>
                <a:gd name="connsiteY4" fmla="*/ 296026 h 392525"/>
                <a:gd name="connsiteX5" fmla="*/ 249758 w 300091"/>
                <a:gd name="connsiteY5" fmla="*/ 232733 h 392525"/>
                <a:gd name="connsiteX6" fmla="*/ 286594 w 300091"/>
                <a:gd name="connsiteY6" fmla="*/ 232733 h 392525"/>
                <a:gd name="connsiteX7" fmla="*/ 249274 w 300091"/>
                <a:gd name="connsiteY7" fmla="*/ 124241 h 392525"/>
                <a:gd name="connsiteX8" fmla="*/ 143042 w 300091"/>
                <a:gd name="connsiteY8" fmla="*/ 13653 h 392525"/>
                <a:gd name="connsiteX9" fmla="*/ 52027 w 300091"/>
                <a:gd name="connsiteY9" fmla="*/ 43848 h 392525"/>
                <a:gd name="connsiteX10" fmla="*/ 13067 w 300091"/>
                <a:gd name="connsiteY10" fmla="*/ 131420 h 392525"/>
                <a:gd name="connsiteX11" fmla="*/ 13067 w 300091"/>
                <a:gd name="connsiteY11" fmla="*/ 392498 h 392525"/>
                <a:gd name="connsiteX12" fmla="*/ 0 w 300091"/>
                <a:gd name="connsiteY12" fmla="*/ 392498 h 392525"/>
                <a:gd name="connsiteX13" fmla="*/ 0 w 300091"/>
                <a:gd name="connsiteY13" fmla="*/ 131420 h 392525"/>
                <a:gd name="connsiteX14" fmla="*/ 43235 w 300091"/>
                <a:gd name="connsiteY14" fmla="*/ 34168 h 392525"/>
                <a:gd name="connsiteX15" fmla="*/ 144305 w 300091"/>
                <a:gd name="connsiteY15" fmla="*/ 639 h 392525"/>
                <a:gd name="connsiteX16" fmla="*/ 262207 w 300091"/>
                <a:gd name="connsiteY16" fmla="*/ 122332 h 392525"/>
                <a:gd name="connsiteX17" fmla="*/ 299366 w 300091"/>
                <a:gd name="connsiteY17" fmla="*/ 229748 h 392525"/>
                <a:gd name="connsiteX18" fmla="*/ 297968 w 300091"/>
                <a:gd name="connsiteY18" fmla="*/ 240611 h 392525"/>
                <a:gd name="connsiteX19" fmla="*/ 288127 w 300091"/>
                <a:gd name="connsiteY19" fmla="*/ 245773 h 392525"/>
                <a:gd name="connsiteX20" fmla="*/ 262799 w 300091"/>
                <a:gd name="connsiteY20" fmla="*/ 245773 h 392525"/>
                <a:gd name="connsiteX21" fmla="*/ 262799 w 300091"/>
                <a:gd name="connsiteY21" fmla="*/ 295999 h 392525"/>
                <a:gd name="connsiteX22" fmla="*/ 227899 w 300091"/>
                <a:gd name="connsiteY22" fmla="*/ 330899 h 392525"/>
                <a:gd name="connsiteX23" fmla="*/ 172000 w 300091"/>
                <a:gd name="connsiteY23" fmla="*/ 330899 h 392525"/>
                <a:gd name="connsiteX24" fmla="*/ 172000 w 300091"/>
                <a:gd name="connsiteY24" fmla="*/ 392525 h 392525"/>
                <a:gd name="connsiteX25" fmla="*/ 287078 w 300091"/>
                <a:gd name="connsiteY25" fmla="*/ 234185 h 392525"/>
                <a:gd name="connsiteX26" fmla="*/ 287105 w 300091"/>
                <a:gd name="connsiteY26" fmla="*/ 234238 h 392525"/>
                <a:gd name="connsiteX27" fmla="*/ 287078 w 300091"/>
                <a:gd name="connsiteY27" fmla="*/ 234185 h 39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00091" h="392525">
                  <a:moveTo>
                    <a:pt x="172000" y="392525"/>
                  </a:moveTo>
                  <a:lnTo>
                    <a:pt x="158932" y="392525"/>
                  </a:lnTo>
                  <a:lnTo>
                    <a:pt x="158932" y="317885"/>
                  </a:lnTo>
                  <a:lnTo>
                    <a:pt x="227899" y="317885"/>
                  </a:lnTo>
                  <a:cubicBezTo>
                    <a:pt x="239944" y="317885"/>
                    <a:pt x="249758" y="308071"/>
                    <a:pt x="249758" y="296026"/>
                  </a:cubicBezTo>
                  <a:lnTo>
                    <a:pt x="249758" y="232733"/>
                  </a:lnTo>
                  <a:lnTo>
                    <a:pt x="286594" y="232733"/>
                  </a:lnTo>
                  <a:lnTo>
                    <a:pt x="249274" y="124241"/>
                  </a:lnTo>
                  <a:cubicBezTo>
                    <a:pt x="244488" y="65653"/>
                    <a:pt x="199828" y="19138"/>
                    <a:pt x="143042" y="13653"/>
                  </a:cubicBezTo>
                  <a:cubicBezTo>
                    <a:pt x="109405" y="10399"/>
                    <a:pt x="77060" y="21128"/>
                    <a:pt x="52027" y="43848"/>
                  </a:cubicBezTo>
                  <a:cubicBezTo>
                    <a:pt x="27264" y="66326"/>
                    <a:pt x="13067" y="98241"/>
                    <a:pt x="13067" y="131420"/>
                  </a:cubicBezTo>
                  <a:lnTo>
                    <a:pt x="13067" y="392498"/>
                  </a:lnTo>
                  <a:lnTo>
                    <a:pt x="0" y="392498"/>
                  </a:lnTo>
                  <a:lnTo>
                    <a:pt x="0" y="131420"/>
                  </a:lnTo>
                  <a:cubicBezTo>
                    <a:pt x="0" y="94558"/>
                    <a:pt x="15756" y="59120"/>
                    <a:pt x="43235" y="34168"/>
                  </a:cubicBezTo>
                  <a:cubicBezTo>
                    <a:pt x="71037" y="8921"/>
                    <a:pt x="106905" y="-2990"/>
                    <a:pt x="144305" y="639"/>
                  </a:cubicBezTo>
                  <a:cubicBezTo>
                    <a:pt x="207088" y="6716"/>
                    <a:pt x="256561" y="57856"/>
                    <a:pt x="262207" y="122332"/>
                  </a:cubicBezTo>
                  <a:lnTo>
                    <a:pt x="299366" y="229748"/>
                  </a:lnTo>
                  <a:cubicBezTo>
                    <a:pt x="300683" y="233243"/>
                    <a:pt x="300199" y="237357"/>
                    <a:pt x="297968" y="240611"/>
                  </a:cubicBezTo>
                  <a:cubicBezTo>
                    <a:pt x="295736" y="243837"/>
                    <a:pt x="292052" y="245773"/>
                    <a:pt x="288127" y="245773"/>
                  </a:cubicBezTo>
                  <a:lnTo>
                    <a:pt x="262799" y="245773"/>
                  </a:lnTo>
                  <a:lnTo>
                    <a:pt x="262799" y="295999"/>
                  </a:lnTo>
                  <a:cubicBezTo>
                    <a:pt x="262799" y="315250"/>
                    <a:pt x="247150" y="330899"/>
                    <a:pt x="227899" y="330899"/>
                  </a:cubicBezTo>
                  <a:lnTo>
                    <a:pt x="172000" y="330899"/>
                  </a:lnTo>
                  <a:lnTo>
                    <a:pt x="172000" y="392525"/>
                  </a:lnTo>
                  <a:close/>
                  <a:moveTo>
                    <a:pt x="287078" y="234185"/>
                  </a:moveTo>
                  <a:cubicBezTo>
                    <a:pt x="287078" y="234211"/>
                    <a:pt x="287078" y="234211"/>
                    <a:pt x="287105" y="234238"/>
                  </a:cubicBezTo>
                  <a:lnTo>
                    <a:pt x="287078" y="234185"/>
                  </a:lnTo>
                  <a:close/>
                </a:path>
              </a:pathLst>
            </a:custGeom>
            <a:solidFill>
              <a:schemeClr val="tx2"/>
            </a:solidFill>
            <a:ln w="2687" cap="flat">
              <a:noFill/>
              <a:prstDash val="solid"/>
              <a:miter/>
            </a:ln>
          </p:spPr>
          <p:txBody>
            <a:bodyPr rtlCol="0" anchor="ctr"/>
            <a:lstStyle/>
            <a:p>
              <a:endParaRPr lang="en-GB" dirty="0"/>
            </a:p>
          </p:txBody>
        </p:sp>
        <p:grpSp>
          <p:nvGrpSpPr>
            <p:cNvPr id="263" name="Group 262">
              <a:extLst>
                <a:ext uri="{FF2B5EF4-FFF2-40B4-BE49-F238E27FC236}">
                  <a16:creationId xmlns:a16="http://schemas.microsoft.com/office/drawing/2014/main" id="{379A5D87-C6BD-4E76-A9F4-321E04324D17}"/>
                </a:ext>
              </a:extLst>
            </p:cNvPr>
            <p:cNvGrpSpPr/>
            <p:nvPr/>
          </p:nvGrpSpPr>
          <p:grpSpPr>
            <a:xfrm>
              <a:off x="891882" y="3272409"/>
              <a:ext cx="439099" cy="361180"/>
              <a:chOff x="891882" y="3272409"/>
              <a:chExt cx="439099" cy="361180"/>
            </a:xfrm>
          </p:grpSpPr>
          <p:sp>
            <p:nvSpPr>
              <p:cNvPr id="264" name="Freihandform: Form 475">
                <a:extLst>
                  <a:ext uri="{FF2B5EF4-FFF2-40B4-BE49-F238E27FC236}">
                    <a16:creationId xmlns:a16="http://schemas.microsoft.com/office/drawing/2014/main" id="{A920E2BF-CFA1-47A0-917F-BA6D1A9D1952}"/>
                  </a:ext>
                </a:extLst>
              </p:cNvPr>
              <p:cNvSpPr/>
              <p:nvPr/>
            </p:nvSpPr>
            <p:spPr>
              <a:xfrm>
                <a:off x="1102411" y="3272409"/>
                <a:ext cx="13067" cy="60039"/>
              </a:xfrm>
              <a:custGeom>
                <a:avLst/>
                <a:gdLst>
                  <a:gd name="connsiteX0" fmla="*/ 6534 w 13067"/>
                  <a:gd name="connsiteY0" fmla="*/ 60040 h 60039"/>
                  <a:gd name="connsiteX1" fmla="*/ 0 w 13067"/>
                  <a:gd name="connsiteY1" fmla="*/ 53506 h 60039"/>
                  <a:gd name="connsiteX2" fmla="*/ 0 w 13067"/>
                  <a:gd name="connsiteY2" fmla="*/ 6534 h 60039"/>
                  <a:gd name="connsiteX3" fmla="*/ 6534 w 13067"/>
                  <a:gd name="connsiteY3" fmla="*/ 0 h 60039"/>
                  <a:gd name="connsiteX4" fmla="*/ 13067 w 13067"/>
                  <a:gd name="connsiteY4" fmla="*/ 6534 h 60039"/>
                  <a:gd name="connsiteX5" fmla="*/ 13067 w 13067"/>
                  <a:gd name="connsiteY5" fmla="*/ 53506 h 60039"/>
                  <a:gd name="connsiteX6" fmla="*/ 6534 w 13067"/>
                  <a:gd name="connsiteY6" fmla="*/ 60040 h 6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7" h="60039">
                    <a:moveTo>
                      <a:pt x="6534" y="60040"/>
                    </a:moveTo>
                    <a:cubicBezTo>
                      <a:pt x="2931" y="60040"/>
                      <a:pt x="0" y="57109"/>
                      <a:pt x="0" y="53506"/>
                    </a:cubicBezTo>
                    <a:lnTo>
                      <a:pt x="0" y="6534"/>
                    </a:lnTo>
                    <a:cubicBezTo>
                      <a:pt x="0" y="2931"/>
                      <a:pt x="2931" y="0"/>
                      <a:pt x="6534" y="0"/>
                    </a:cubicBezTo>
                    <a:cubicBezTo>
                      <a:pt x="10137" y="0"/>
                      <a:pt x="13067" y="2931"/>
                      <a:pt x="13067" y="6534"/>
                    </a:cubicBezTo>
                    <a:lnTo>
                      <a:pt x="13067" y="53506"/>
                    </a:lnTo>
                    <a:cubicBezTo>
                      <a:pt x="13067" y="57136"/>
                      <a:pt x="10163" y="60040"/>
                      <a:pt x="6534" y="60040"/>
                    </a:cubicBezTo>
                    <a:close/>
                  </a:path>
                </a:pathLst>
              </a:custGeom>
              <a:solidFill>
                <a:schemeClr val="accent1"/>
              </a:solidFill>
              <a:ln w="2687" cap="flat">
                <a:noFill/>
                <a:prstDash val="solid"/>
                <a:miter/>
              </a:ln>
            </p:spPr>
            <p:txBody>
              <a:bodyPr rtlCol="0" anchor="ctr"/>
              <a:lstStyle/>
              <a:p>
                <a:endParaRPr lang="en-GB" dirty="0"/>
              </a:p>
            </p:txBody>
          </p:sp>
          <p:sp>
            <p:nvSpPr>
              <p:cNvPr id="265" name="Freihandform: Form 476">
                <a:extLst>
                  <a:ext uri="{FF2B5EF4-FFF2-40B4-BE49-F238E27FC236}">
                    <a16:creationId xmlns:a16="http://schemas.microsoft.com/office/drawing/2014/main" id="{AE4E7C91-1CD4-4431-AC8C-45D10FB5AAFF}"/>
                  </a:ext>
                </a:extLst>
              </p:cNvPr>
              <p:cNvSpPr/>
              <p:nvPr/>
            </p:nvSpPr>
            <p:spPr>
              <a:xfrm>
                <a:off x="1270619" y="3487913"/>
                <a:ext cx="60362" cy="13067"/>
              </a:xfrm>
              <a:custGeom>
                <a:avLst/>
                <a:gdLst>
                  <a:gd name="connsiteX0" fmla="*/ 53829 w 60362"/>
                  <a:gd name="connsiteY0" fmla="*/ 13067 h 13067"/>
                  <a:gd name="connsiteX1" fmla="*/ 6534 w 60362"/>
                  <a:gd name="connsiteY1" fmla="*/ 13067 h 13067"/>
                  <a:gd name="connsiteX2" fmla="*/ 0 w 60362"/>
                  <a:gd name="connsiteY2" fmla="*/ 6534 h 13067"/>
                  <a:gd name="connsiteX3" fmla="*/ 6534 w 60362"/>
                  <a:gd name="connsiteY3" fmla="*/ 0 h 13067"/>
                  <a:gd name="connsiteX4" fmla="*/ 53829 w 60362"/>
                  <a:gd name="connsiteY4" fmla="*/ 0 h 13067"/>
                  <a:gd name="connsiteX5" fmla="*/ 60363 w 60362"/>
                  <a:gd name="connsiteY5" fmla="*/ 6534 h 13067"/>
                  <a:gd name="connsiteX6" fmla="*/ 53829 w 60362"/>
                  <a:gd name="connsiteY6" fmla="*/ 13067 h 1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62" h="13067">
                    <a:moveTo>
                      <a:pt x="53829" y="13067"/>
                    </a:moveTo>
                    <a:lnTo>
                      <a:pt x="6534" y="13067"/>
                    </a:lnTo>
                    <a:cubicBezTo>
                      <a:pt x="2931" y="13067"/>
                      <a:pt x="0" y="10136"/>
                      <a:pt x="0" y="6534"/>
                    </a:cubicBezTo>
                    <a:cubicBezTo>
                      <a:pt x="0" y="2931"/>
                      <a:pt x="2931" y="0"/>
                      <a:pt x="6534" y="0"/>
                    </a:cubicBezTo>
                    <a:lnTo>
                      <a:pt x="53829" y="0"/>
                    </a:lnTo>
                    <a:cubicBezTo>
                      <a:pt x="57432" y="0"/>
                      <a:pt x="60363" y="2931"/>
                      <a:pt x="60363" y="6534"/>
                    </a:cubicBezTo>
                    <a:cubicBezTo>
                      <a:pt x="60363" y="10136"/>
                      <a:pt x="57432" y="13067"/>
                      <a:pt x="53829" y="13067"/>
                    </a:cubicBezTo>
                    <a:close/>
                  </a:path>
                </a:pathLst>
              </a:custGeom>
              <a:solidFill>
                <a:schemeClr val="accent1"/>
              </a:solidFill>
              <a:ln w="2687" cap="flat">
                <a:noFill/>
                <a:prstDash val="solid"/>
                <a:miter/>
              </a:ln>
            </p:spPr>
            <p:txBody>
              <a:bodyPr rtlCol="0" anchor="ctr"/>
              <a:lstStyle/>
              <a:p>
                <a:endParaRPr lang="en-GB" dirty="0"/>
              </a:p>
            </p:txBody>
          </p:sp>
          <p:sp>
            <p:nvSpPr>
              <p:cNvPr id="266" name="Freihandform: Form 477">
                <a:extLst>
                  <a:ext uri="{FF2B5EF4-FFF2-40B4-BE49-F238E27FC236}">
                    <a16:creationId xmlns:a16="http://schemas.microsoft.com/office/drawing/2014/main" id="{A6AA3C43-A772-4022-8D79-3E03C08A2CBA}"/>
                  </a:ext>
                </a:extLst>
              </p:cNvPr>
              <p:cNvSpPr/>
              <p:nvPr/>
            </p:nvSpPr>
            <p:spPr>
              <a:xfrm>
                <a:off x="1242388" y="3343016"/>
                <a:ext cx="47832" cy="44901"/>
              </a:xfrm>
              <a:custGeom>
                <a:avLst/>
                <a:gdLst>
                  <a:gd name="connsiteX0" fmla="*/ 6533 w 47832"/>
                  <a:gd name="connsiteY0" fmla="*/ 44902 h 44901"/>
                  <a:gd name="connsiteX1" fmla="*/ 1720 w 47832"/>
                  <a:gd name="connsiteY1" fmla="*/ 42778 h 44901"/>
                  <a:gd name="connsiteX2" fmla="*/ 2124 w 47832"/>
                  <a:gd name="connsiteY2" fmla="*/ 33555 h 44901"/>
                  <a:gd name="connsiteX3" fmla="*/ 36889 w 47832"/>
                  <a:gd name="connsiteY3" fmla="*/ 1721 h 44901"/>
                  <a:gd name="connsiteX4" fmla="*/ 46112 w 47832"/>
                  <a:gd name="connsiteY4" fmla="*/ 2124 h 44901"/>
                  <a:gd name="connsiteX5" fmla="*/ 45709 w 47832"/>
                  <a:gd name="connsiteY5" fmla="*/ 11346 h 44901"/>
                  <a:gd name="connsiteX6" fmla="*/ 10943 w 47832"/>
                  <a:gd name="connsiteY6" fmla="*/ 43181 h 44901"/>
                  <a:gd name="connsiteX7" fmla="*/ 6533 w 47832"/>
                  <a:gd name="connsiteY7" fmla="*/ 44902 h 4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832" h="44901">
                    <a:moveTo>
                      <a:pt x="6533" y="44902"/>
                    </a:moveTo>
                    <a:cubicBezTo>
                      <a:pt x="4759" y="44902"/>
                      <a:pt x="3011" y="44176"/>
                      <a:pt x="1720" y="42778"/>
                    </a:cubicBezTo>
                    <a:cubicBezTo>
                      <a:pt x="-726" y="40116"/>
                      <a:pt x="-538" y="35975"/>
                      <a:pt x="2124" y="33555"/>
                    </a:cubicBezTo>
                    <a:lnTo>
                      <a:pt x="36889" y="1721"/>
                    </a:lnTo>
                    <a:cubicBezTo>
                      <a:pt x="39551" y="-726"/>
                      <a:pt x="43665" y="-538"/>
                      <a:pt x="46112" y="2124"/>
                    </a:cubicBezTo>
                    <a:cubicBezTo>
                      <a:pt x="48559" y="4786"/>
                      <a:pt x="48370" y="8926"/>
                      <a:pt x="45709" y="11346"/>
                    </a:cubicBezTo>
                    <a:lnTo>
                      <a:pt x="10943" y="43181"/>
                    </a:lnTo>
                    <a:cubicBezTo>
                      <a:pt x="9679" y="44337"/>
                      <a:pt x="8093" y="44902"/>
                      <a:pt x="6533" y="44902"/>
                    </a:cubicBezTo>
                    <a:close/>
                  </a:path>
                </a:pathLst>
              </a:custGeom>
              <a:solidFill>
                <a:schemeClr val="accent1"/>
              </a:solidFill>
              <a:ln w="2687" cap="flat">
                <a:noFill/>
                <a:prstDash val="solid"/>
                <a:miter/>
              </a:ln>
            </p:spPr>
            <p:txBody>
              <a:bodyPr rtlCol="0" anchor="ctr"/>
              <a:lstStyle/>
              <a:p>
                <a:endParaRPr lang="en-GB" dirty="0"/>
              </a:p>
            </p:txBody>
          </p:sp>
          <p:sp>
            <p:nvSpPr>
              <p:cNvPr id="267" name="Freihandform: Form 478">
                <a:extLst>
                  <a:ext uri="{FF2B5EF4-FFF2-40B4-BE49-F238E27FC236}">
                    <a16:creationId xmlns:a16="http://schemas.microsoft.com/office/drawing/2014/main" id="{49F50E83-EB91-46DB-AD2D-83EC5FE025FC}"/>
                  </a:ext>
                </a:extLst>
              </p:cNvPr>
              <p:cNvSpPr/>
              <p:nvPr/>
            </p:nvSpPr>
            <p:spPr>
              <a:xfrm>
                <a:off x="930519" y="3344280"/>
                <a:ext cx="47832" cy="44901"/>
              </a:xfrm>
              <a:custGeom>
                <a:avLst/>
                <a:gdLst>
                  <a:gd name="connsiteX0" fmla="*/ 41299 w 47832"/>
                  <a:gd name="connsiteY0" fmla="*/ 44902 h 44901"/>
                  <a:gd name="connsiteX1" fmla="*/ 36889 w 47832"/>
                  <a:gd name="connsiteY1" fmla="*/ 43181 h 44901"/>
                  <a:gd name="connsiteX2" fmla="*/ 2124 w 47832"/>
                  <a:gd name="connsiteY2" fmla="*/ 11346 h 44901"/>
                  <a:gd name="connsiteX3" fmla="*/ 1720 w 47832"/>
                  <a:gd name="connsiteY3" fmla="*/ 2124 h 44901"/>
                  <a:gd name="connsiteX4" fmla="*/ 10943 w 47832"/>
                  <a:gd name="connsiteY4" fmla="*/ 1720 h 44901"/>
                  <a:gd name="connsiteX5" fmla="*/ 45709 w 47832"/>
                  <a:gd name="connsiteY5" fmla="*/ 33555 h 44901"/>
                  <a:gd name="connsiteX6" fmla="*/ 46112 w 47832"/>
                  <a:gd name="connsiteY6" fmla="*/ 42778 h 44901"/>
                  <a:gd name="connsiteX7" fmla="*/ 41299 w 47832"/>
                  <a:gd name="connsiteY7" fmla="*/ 44902 h 44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832" h="44901">
                    <a:moveTo>
                      <a:pt x="41299" y="44902"/>
                    </a:moveTo>
                    <a:cubicBezTo>
                      <a:pt x="39713" y="44902"/>
                      <a:pt x="38153" y="44337"/>
                      <a:pt x="36889" y="43181"/>
                    </a:cubicBezTo>
                    <a:lnTo>
                      <a:pt x="2124" y="11346"/>
                    </a:lnTo>
                    <a:cubicBezTo>
                      <a:pt x="-538" y="8900"/>
                      <a:pt x="-726" y="4786"/>
                      <a:pt x="1720" y="2124"/>
                    </a:cubicBezTo>
                    <a:cubicBezTo>
                      <a:pt x="4140" y="-538"/>
                      <a:pt x="8281" y="-726"/>
                      <a:pt x="10943" y="1720"/>
                    </a:cubicBezTo>
                    <a:lnTo>
                      <a:pt x="45709" y="33555"/>
                    </a:lnTo>
                    <a:cubicBezTo>
                      <a:pt x="48370" y="36002"/>
                      <a:pt x="48559" y="40116"/>
                      <a:pt x="46112" y="42778"/>
                    </a:cubicBezTo>
                    <a:cubicBezTo>
                      <a:pt x="44848" y="44176"/>
                      <a:pt x="43074" y="44902"/>
                      <a:pt x="41299" y="44902"/>
                    </a:cubicBezTo>
                    <a:close/>
                  </a:path>
                </a:pathLst>
              </a:custGeom>
              <a:solidFill>
                <a:schemeClr val="accent1"/>
              </a:solidFill>
              <a:ln w="2687" cap="flat">
                <a:noFill/>
                <a:prstDash val="solid"/>
                <a:miter/>
              </a:ln>
            </p:spPr>
            <p:txBody>
              <a:bodyPr rtlCol="0" anchor="ctr"/>
              <a:lstStyle/>
              <a:p>
                <a:endParaRPr lang="en-GB" dirty="0"/>
              </a:p>
            </p:txBody>
          </p:sp>
          <p:sp>
            <p:nvSpPr>
              <p:cNvPr id="268" name="Freihandform: Form 479">
                <a:extLst>
                  <a:ext uri="{FF2B5EF4-FFF2-40B4-BE49-F238E27FC236}">
                    <a16:creationId xmlns:a16="http://schemas.microsoft.com/office/drawing/2014/main" id="{2A74E57F-FFBD-43DE-AED8-22D2C4FAE197}"/>
                  </a:ext>
                </a:extLst>
              </p:cNvPr>
              <p:cNvSpPr/>
              <p:nvPr/>
            </p:nvSpPr>
            <p:spPr>
              <a:xfrm>
                <a:off x="891882" y="3487913"/>
                <a:ext cx="60362" cy="13067"/>
              </a:xfrm>
              <a:custGeom>
                <a:avLst/>
                <a:gdLst>
                  <a:gd name="connsiteX0" fmla="*/ 53829 w 60362"/>
                  <a:gd name="connsiteY0" fmla="*/ 13067 h 13067"/>
                  <a:gd name="connsiteX1" fmla="*/ 6534 w 60362"/>
                  <a:gd name="connsiteY1" fmla="*/ 13067 h 13067"/>
                  <a:gd name="connsiteX2" fmla="*/ 0 w 60362"/>
                  <a:gd name="connsiteY2" fmla="*/ 6534 h 13067"/>
                  <a:gd name="connsiteX3" fmla="*/ 6534 w 60362"/>
                  <a:gd name="connsiteY3" fmla="*/ 0 h 13067"/>
                  <a:gd name="connsiteX4" fmla="*/ 53829 w 60362"/>
                  <a:gd name="connsiteY4" fmla="*/ 0 h 13067"/>
                  <a:gd name="connsiteX5" fmla="*/ 60363 w 60362"/>
                  <a:gd name="connsiteY5" fmla="*/ 6534 h 13067"/>
                  <a:gd name="connsiteX6" fmla="*/ 53829 w 60362"/>
                  <a:gd name="connsiteY6" fmla="*/ 13067 h 1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62" h="13067">
                    <a:moveTo>
                      <a:pt x="53829" y="13067"/>
                    </a:moveTo>
                    <a:lnTo>
                      <a:pt x="6534" y="13067"/>
                    </a:lnTo>
                    <a:cubicBezTo>
                      <a:pt x="2931" y="13067"/>
                      <a:pt x="0" y="10136"/>
                      <a:pt x="0" y="6534"/>
                    </a:cubicBezTo>
                    <a:cubicBezTo>
                      <a:pt x="0" y="2931"/>
                      <a:pt x="2931" y="0"/>
                      <a:pt x="6534" y="0"/>
                    </a:cubicBezTo>
                    <a:lnTo>
                      <a:pt x="53829" y="0"/>
                    </a:lnTo>
                    <a:cubicBezTo>
                      <a:pt x="57432" y="0"/>
                      <a:pt x="60363" y="2931"/>
                      <a:pt x="60363" y="6534"/>
                    </a:cubicBezTo>
                    <a:cubicBezTo>
                      <a:pt x="60363" y="10136"/>
                      <a:pt x="57432" y="13067"/>
                      <a:pt x="53829" y="13067"/>
                    </a:cubicBezTo>
                    <a:close/>
                  </a:path>
                </a:pathLst>
              </a:custGeom>
              <a:solidFill>
                <a:schemeClr val="accent1"/>
              </a:solidFill>
              <a:ln w="2687" cap="flat">
                <a:noFill/>
                <a:prstDash val="solid"/>
                <a:miter/>
              </a:ln>
            </p:spPr>
            <p:txBody>
              <a:bodyPr rtlCol="0" anchor="ctr"/>
              <a:lstStyle/>
              <a:p>
                <a:endParaRPr lang="en-GB" dirty="0"/>
              </a:p>
            </p:txBody>
          </p:sp>
          <p:grpSp>
            <p:nvGrpSpPr>
              <p:cNvPr id="269" name="Grafik 246">
                <a:extLst>
                  <a:ext uri="{FF2B5EF4-FFF2-40B4-BE49-F238E27FC236}">
                    <a16:creationId xmlns:a16="http://schemas.microsoft.com/office/drawing/2014/main" id="{07870C85-C89C-442E-8D79-9B6E86CE81FC}"/>
                  </a:ext>
                </a:extLst>
              </p:cNvPr>
              <p:cNvGrpSpPr/>
              <p:nvPr/>
            </p:nvGrpSpPr>
            <p:grpSpPr>
              <a:xfrm>
                <a:off x="1047952" y="3436800"/>
                <a:ext cx="132460" cy="196789"/>
                <a:chOff x="1047952" y="3436800"/>
                <a:chExt cx="132460" cy="196789"/>
              </a:xfrm>
              <a:solidFill>
                <a:schemeClr val="accent1"/>
              </a:solidFill>
            </p:grpSpPr>
            <p:sp>
              <p:nvSpPr>
                <p:cNvPr id="270" name="Freihandform: Form 481">
                  <a:extLst>
                    <a:ext uri="{FF2B5EF4-FFF2-40B4-BE49-F238E27FC236}">
                      <a16:creationId xmlns:a16="http://schemas.microsoft.com/office/drawing/2014/main" id="{C86E88CE-8D2C-4CE6-B8F6-079435106076}"/>
                    </a:ext>
                  </a:extLst>
                </p:cNvPr>
                <p:cNvSpPr/>
                <p:nvPr/>
              </p:nvSpPr>
              <p:spPr>
                <a:xfrm>
                  <a:off x="1047952" y="3436800"/>
                  <a:ext cx="132460" cy="144923"/>
                </a:xfrm>
                <a:custGeom>
                  <a:avLst/>
                  <a:gdLst>
                    <a:gd name="connsiteX0" fmla="*/ 94549 w 132460"/>
                    <a:gd name="connsiteY0" fmla="*/ 144924 h 144923"/>
                    <a:gd name="connsiteX1" fmla="*/ 93930 w 132460"/>
                    <a:gd name="connsiteY1" fmla="*/ 144897 h 144923"/>
                    <a:gd name="connsiteX2" fmla="*/ 88042 w 132460"/>
                    <a:gd name="connsiteY2" fmla="*/ 137771 h 144923"/>
                    <a:gd name="connsiteX3" fmla="*/ 88418 w 132460"/>
                    <a:gd name="connsiteY3" fmla="*/ 133900 h 144923"/>
                    <a:gd name="connsiteX4" fmla="*/ 103986 w 132460"/>
                    <a:gd name="connsiteY4" fmla="*/ 103006 h 144923"/>
                    <a:gd name="connsiteX5" fmla="*/ 119447 w 132460"/>
                    <a:gd name="connsiteY5" fmla="*/ 65847 h 144923"/>
                    <a:gd name="connsiteX6" fmla="*/ 101862 w 132460"/>
                    <a:gd name="connsiteY6" fmla="*/ 26645 h 144923"/>
                    <a:gd name="connsiteX7" fmla="*/ 60106 w 132460"/>
                    <a:gd name="connsiteY7" fmla="*/ 13416 h 144923"/>
                    <a:gd name="connsiteX8" fmla="*/ 13510 w 132460"/>
                    <a:gd name="connsiteY8" fmla="*/ 59098 h 144923"/>
                    <a:gd name="connsiteX9" fmla="*/ 29373 w 132460"/>
                    <a:gd name="connsiteY9" fmla="*/ 103812 h 144923"/>
                    <a:gd name="connsiteX10" fmla="*/ 44403 w 132460"/>
                    <a:gd name="connsiteY10" fmla="*/ 136803 h 144923"/>
                    <a:gd name="connsiteX11" fmla="*/ 44484 w 132460"/>
                    <a:gd name="connsiteY11" fmla="*/ 137879 h 144923"/>
                    <a:gd name="connsiteX12" fmla="*/ 38461 w 132460"/>
                    <a:gd name="connsiteY12" fmla="*/ 144897 h 144923"/>
                    <a:gd name="connsiteX13" fmla="*/ 31444 w 132460"/>
                    <a:gd name="connsiteY13" fmla="*/ 138874 h 144923"/>
                    <a:gd name="connsiteX14" fmla="*/ 31363 w 132460"/>
                    <a:gd name="connsiteY14" fmla="*/ 137691 h 144923"/>
                    <a:gd name="connsiteX15" fmla="*/ 20312 w 132460"/>
                    <a:gd name="connsiteY15" fmla="*/ 113223 h 144923"/>
                    <a:gd name="connsiteX16" fmla="*/ 523 w 132460"/>
                    <a:gd name="connsiteY16" fmla="*/ 57458 h 144923"/>
                    <a:gd name="connsiteX17" fmla="*/ 58627 w 132460"/>
                    <a:gd name="connsiteY17" fmla="*/ 403 h 144923"/>
                    <a:gd name="connsiteX18" fmla="*/ 110547 w 132460"/>
                    <a:gd name="connsiteY18" fmla="*/ 16885 h 144923"/>
                    <a:gd name="connsiteX19" fmla="*/ 132460 w 132460"/>
                    <a:gd name="connsiteY19" fmla="*/ 65820 h 144923"/>
                    <a:gd name="connsiteX20" fmla="*/ 113182 w 132460"/>
                    <a:gd name="connsiteY20" fmla="*/ 112228 h 144923"/>
                    <a:gd name="connsiteX21" fmla="*/ 101351 w 132460"/>
                    <a:gd name="connsiteY21" fmla="*/ 135352 h 144923"/>
                    <a:gd name="connsiteX22" fmla="*/ 101002 w 132460"/>
                    <a:gd name="connsiteY22" fmla="*/ 138981 h 144923"/>
                    <a:gd name="connsiteX23" fmla="*/ 94549 w 132460"/>
                    <a:gd name="connsiteY23" fmla="*/ 144924 h 144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2460" h="144923">
                      <a:moveTo>
                        <a:pt x="94549" y="144924"/>
                      </a:moveTo>
                      <a:cubicBezTo>
                        <a:pt x="94334" y="144924"/>
                        <a:pt x="94145" y="144924"/>
                        <a:pt x="93930" y="144897"/>
                      </a:cubicBezTo>
                      <a:cubicBezTo>
                        <a:pt x="90327" y="144547"/>
                        <a:pt x="87719" y="141374"/>
                        <a:pt x="88042" y="137771"/>
                      </a:cubicBezTo>
                      <a:lnTo>
                        <a:pt x="88418" y="133900"/>
                      </a:lnTo>
                      <a:cubicBezTo>
                        <a:pt x="89951" y="122257"/>
                        <a:pt x="95328" y="111663"/>
                        <a:pt x="103986" y="103006"/>
                      </a:cubicBezTo>
                      <a:cubicBezTo>
                        <a:pt x="113961" y="93057"/>
                        <a:pt x="119447" y="79856"/>
                        <a:pt x="119447" y="65847"/>
                      </a:cubicBezTo>
                      <a:cubicBezTo>
                        <a:pt x="119447" y="50952"/>
                        <a:pt x="113047" y="36647"/>
                        <a:pt x="101862" y="26645"/>
                      </a:cubicBezTo>
                      <a:cubicBezTo>
                        <a:pt x="90408" y="16401"/>
                        <a:pt x="75566" y="11669"/>
                        <a:pt x="60106" y="13416"/>
                      </a:cubicBezTo>
                      <a:cubicBezTo>
                        <a:pt x="36068" y="16078"/>
                        <a:pt x="16494" y="35276"/>
                        <a:pt x="13510" y="59098"/>
                      </a:cubicBezTo>
                      <a:cubicBezTo>
                        <a:pt x="11412" y="75876"/>
                        <a:pt x="17193" y="92170"/>
                        <a:pt x="29373" y="103812"/>
                      </a:cubicBezTo>
                      <a:cubicBezTo>
                        <a:pt x="38273" y="112336"/>
                        <a:pt x="43624" y="124059"/>
                        <a:pt x="44403" y="136803"/>
                      </a:cubicBezTo>
                      <a:lnTo>
                        <a:pt x="44484" y="137879"/>
                      </a:lnTo>
                      <a:cubicBezTo>
                        <a:pt x="44753" y="141482"/>
                        <a:pt x="42064" y="144601"/>
                        <a:pt x="38461" y="144897"/>
                      </a:cubicBezTo>
                      <a:cubicBezTo>
                        <a:pt x="34939" y="145192"/>
                        <a:pt x="31739" y="142477"/>
                        <a:pt x="31444" y="138874"/>
                      </a:cubicBezTo>
                      <a:lnTo>
                        <a:pt x="31363" y="137691"/>
                      </a:lnTo>
                      <a:cubicBezTo>
                        <a:pt x="30771" y="128119"/>
                        <a:pt x="26846" y="119461"/>
                        <a:pt x="20312" y="113223"/>
                      </a:cubicBezTo>
                      <a:cubicBezTo>
                        <a:pt x="5148" y="98704"/>
                        <a:pt x="-2085" y="78377"/>
                        <a:pt x="523" y="57458"/>
                      </a:cubicBezTo>
                      <a:cubicBezTo>
                        <a:pt x="4207" y="27721"/>
                        <a:pt x="28647" y="3737"/>
                        <a:pt x="58627" y="403"/>
                      </a:cubicBezTo>
                      <a:cubicBezTo>
                        <a:pt x="77556" y="-1667"/>
                        <a:pt x="96485" y="4302"/>
                        <a:pt x="110547" y="16885"/>
                      </a:cubicBezTo>
                      <a:cubicBezTo>
                        <a:pt x="124474" y="29361"/>
                        <a:pt x="132460" y="47187"/>
                        <a:pt x="132460" y="65820"/>
                      </a:cubicBezTo>
                      <a:cubicBezTo>
                        <a:pt x="132460" y="83324"/>
                        <a:pt x="125604" y="99806"/>
                        <a:pt x="113182" y="112228"/>
                      </a:cubicBezTo>
                      <a:cubicBezTo>
                        <a:pt x="106567" y="118816"/>
                        <a:pt x="102480" y="126828"/>
                        <a:pt x="101351" y="135352"/>
                      </a:cubicBezTo>
                      <a:lnTo>
                        <a:pt x="101002" y="138981"/>
                      </a:lnTo>
                      <a:cubicBezTo>
                        <a:pt x="100706" y="142396"/>
                        <a:pt x="97856" y="144924"/>
                        <a:pt x="94549" y="144924"/>
                      </a:cubicBezTo>
                      <a:close/>
                    </a:path>
                  </a:pathLst>
                </a:custGeom>
                <a:solidFill>
                  <a:schemeClr val="accent1"/>
                </a:solidFill>
                <a:ln w="2687" cap="flat">
                  <a:noFill/>
                  <a:prstDash val="solid"/>
                  <a:miter/>
                </a:ln>
              </p:spPr>
              <p:txBody>
                <a:bodyPr rtlCol="0" anchor="ctr"/>
                <a:lstStyle/>
                <a:p>
                  <a:endParaRPr lang="en-GB" dirty="0"/>
                </a:p>
              </p:txBody>
            </p:sp>
            <p:sp>
              <p:nvSpPr>
                <p:cNvPr id="271" name="Freihandform: Form 482">
                  <a:extLst>
                    <a:ext uri="{FF2B5EF4-FFF2-40B4-BE49-F238E27FC236}">
                      <a16:creationId xmlns:a16="http://schemas.microsoft.com/office/drawing/2014/main" id="{5058EC8B-29BC-40A0-A679-F99AE8D98766}"/>
                    </a:ext>
                  </a:extLst>
                </p:cNvPr>
                <p:cNvSpPr/>
                <p:nvPr/>
              </p:nvSpPr>
              <p:spPr>
                <a:xfrm>
                  <a:off x="1078024" y="3594038"/>
                  <a:ext cx="72354" cy="13067"/>
                </a:xfrm>
                <a:custGeom>
                  <a:avLst/>
                  <a:gdLst>
                    <a:gd name="connsiteX0" fmla="*/ 65821 w 72354"/>
                    <a:gd name="connsiteY0" fmla="*/ 13067 h 13067"/>
                    <a:gd name="connsiteX1" fmla="*/ 6534 w 72354"/>
                    <a:gd name="connsiteY1" fmla="*/ 13067 h 13067"/>
                    <a:gd name="connsiteX2" fmla="*/ 0 w 72354"/>
                    <a:gd name="connsiteY2" fmla="*/ 6534 h 13067"/>
                    <a:gd name="connsiteX3" fmla="*/ 6534 w 72354"/>
                    <a:gd name="connsiteY3" fmla="*/ 0 h 13067"/>
                    <a:gd name="connsiteX4" fmla="*/ 65821 w 72354"/>
                    <a:gd name="connsiteY4" fmla="*/ 0 h 13067"/>
                    <a:gd name="connsiteX5" fmla="*/ 72354 w 72354"/>
                    <a:gd name="connsiteY5" fmla="*/ 6534 h 13067"/>
                    <a:gd name="connsiteX6" fmla="*/ 65821 w 72354"/>
                    <a:gd name="connsiteY6" fmla="*/ 13067 h 1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354" h="13067">
                      <a:moveTo>
                        <a:pt x="65821" y="13067"/>
                      </a:moveTo>
                      <a:lnTo>
                        <a:pt x="6534" y="13067"/>
                      </a:lnTo>
                      <a:cubicBezTo>
                        <a:pt x="2931" y="13067"/>
                        <a:pt x="0" y="10137"/>
                        <a:pt x="0" y="6534"/>
                      </a:cubicBezTo>
                      <a:cubicBezTo>
                        <a:pt x="0" y="2931"/>
                        <a:pt x="2931" y="0"/>
                        <a:pt x="6534" y="0"/>
                      </a:cubicBezTo>
                      <a:lnTo>
                        <a:pt x="65821" y="0"/>
                      </a:lnTo>
                      <a:cubicBezTo>
                        <a:pt x="69424" y="0"/>
                        <a:pt x="72354" y="2931"/>
                        <a:pt x="72354" y="6534"/>
                      </a:cubicBezTo>
                      <a:cubicBezTo>
                        <a:pt x="72354" y="10137"/>
                        <a:pt x="69424" y="13067"/>
                        <a:pt x="65821" y="13067"/>
                      </a:cubicBezTo>
                      <a:close/>
                    </a:path>
                  </a:pathLst>
                </a:custGeom>
                <a:solidFill>
                  <a:schemeClr val="accent1"/>
                </a:solidFill>
                <a:ln w="2687" cap="flat">
                  <a:noFill/>
                  <a:prstDash val="solid"/>
                  <a:miter/>
                </a:ln>
              </p:spPr>
              <p:txBody>
                <a:bodyPr rtlCol="0" anchor="ctr"/>
                <a:lstStyle/>
                <a:p>
                  <a:endParaRPr lang="en-GB" dirty="0"/>
                </a:p>
              </p:txBody>
            </p:sp>
            <p:sp>
              <p:nvSpPr>
                <p:cNvPr id="272" name="Freihandform: Form 483">
                  <a:extLst>
                    <a:ext uri="{FF2B5EF4-FFF2-40B4-BE49-F238E27FC236}">
                      <a16:creationId xmlns:a16="http://schemas.microsoft.com/office/drawing/2014/main" id="{19C6B302-C8B8-423A-9C43-C65918821C3D}"/>
                    </a:ext>
                  </a:extLst>
                </p:cNvPr>
                <p:cNvSpPr/>
                <p:nvPr/>
              </p:nvSpPr>
              <p:spPr>
                <a:xfrm>
                  <a:off x="1089155" y="3620522"/>
                  <a:ext cx="50118" cy="13067"/>
                </a:xfrm>
                <a:custGeom>
                  <a:avLst/>
                  <a:gdLst>
                    <a:gd name="connsiteX0" fmla="*/ 43585 w 50118"/>
                    <a:gd name="connsiteY0" fmla="*/ 13067 h 13067"/>
                    <a:gd name="connsiteX1" fmla="*/ 6534 w 50118"/>
                    <a:gd name="connsiteY1" fmla="*/ 13067 h 13067"/>
                    <a:gd name="connsiteX2" fmla="*/ 0 w 50118"/>
                    <a:gd name="connsiteY2" fmla="*/ 6534 h 13067"/>
                    <a:gd name="connsiteX3" fmla="*/ 6534 w 50118"/>
                    <a:gd name="connsiteY3" fmla="*/ 0 h 13067"/>
                    <a:gd name="connsiteX4" fmla="*/ 43585 w 50118"/>
                    <a:gd name="connsiteY4" fmla="*/ 0 h 13067"/>
                    <a:gd name="connsiteX5" fmla="*/ 50118 w 50118"/>
                    <a:gd name="connsiteY5" fmla="*/ 6534 h 13067"/>
                    <a:gd name="connsiteX6" fmla="*/ 43585 w 50118"/>
                    <a:gd name="connsiteY6" fmla="*/ 13067 h 13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118" h="13067">
                      <a:moveTo>
                        <a:pt x="43585" y="13067"/>
                      </a:moveTo>
                      <a:lnTo>
                        <a:pt x="6534" y="13067"/>
                      </a:lnTo>
                      <a:cubicBezTo>
                        <a:pt x="2931" y="13067"/>
                        <a:pt x="0" y="10136"/>
                        <a:pt x="0" y="6534"/>
                      </a:cubicBezTo>
                      <a:cubicBezTo>
                        <a:pt x="0" y="2931"/>
                        <a:pt x="2931" y="0"/>
                        <a:pt x="6534" y="0"/>
                      </a:cubicBezTo>
                      <a:lnTo>
                        <a:pt x="43585" y="0"/>
                      </a:lnTo>
                      <a:cubicBezTo>
                        <a:pt x="47188" y="0"/>
                        <a:pt x="50118" y="2931"/>
                        <a:pt x="50118" y="6534"/>
                      </a:cubicBezTo>
                      <a:cubicBezTo>
                        <a:pt x="50118" y="10136"/>
                        <a:pt x="47188" y="13067"/>
                        <a:pt x="43585" y="13067"/>
                      </a:cubicBezTo>
                      <a:close/>
                    </a:path>
                  </a:pathLst>
                </a:custGeom>
                <a:solidFill>
                  <a:schemeClr val="accent1"/>
                </a:solidFill>
                <a:ln w="2687" cap="flat">
                  <a:noFill/>
                  <a:prstDash val="solid"/>
                  <a:miter/>
                </a:ln>
              </p:spPr>
              <p:txBody>
                <a:bodyPr rtlCol="0" anchor="ctr"/>
                <a:lstStyle/>
                <a:p>
                  <a:endParaRPr lang="en-GB" dirty="0"/>
                </a:p>
              </p:txBody>
            </p:sp>
          </p:grpSp>
        </p:grpSp>
      </p:grpSp>
      <p:grpSp>
        <p:nvGrpSpPr>
          <p:cNvPr id="273" name="Group 272">
            <a:extLst>
              <a:ext uri="{FF2B5EF4-FFF2-40B4-BE49-F238E27FC236}">
                <a16:creationId xmlns:a16="http://schemas.microsoft.com/office/drawing/2014/main" id="{D25B4A06-FDD9-4145-A1D5-495C49E9EC1D}"/>
              </a:ext>
            </a:extLst>
          </p:cNvPr>
          <p:cNvGrpSpPr>
            <a:grpSpLocks noChangeAspect="1"/>
          </p:cNvGrpSpPr>
          <p:nvPr/>
        </p:nvGrpSpPr>
        <p:grpSpPr>
          <a:xfrm>
            <a:off x="1643511" y="4002610"/>
            <a:ext cx="391935" cy="431995"/>
            <a:chOff x="6974133" y="1653681"/>
            <a:chExt cx="420375" cy="463341"/>
          </a:xfrm>
        </p:grpSpPr>
        <p:sp>
          <p:nvSpPr>
            <p:cNvPr id="274" name="Freihandform: Form 823">
              <a:extLst>
                <a:ext uri="{FF2B5EF4-FFF2-40B4-BE49-F238E27FC236}">
                  <a16:creationId xmlns:a16="http://schemas.microsoft.com/office/drawing/2014/main" id="{6C1E134D-94F1-4F8A-983E-8D0B164E34E6}"/>
                </a:ext>
              </a:extLst>
            </p:cNvPr>
            <p:cNvSpPr/>
            <p:nvPr/>
          </p:nvSpPr>
          <p:spPr>
            <a:xfrm>
              <a:off x="6974133" y="1653681"/>
              <a:ext cx="420375" cy="376057"/>
            </a:xfrm>
            <a:custGeom>
              <a:avLst/>
              <a:gdLst>
                <a:gd name="connsiteX0" fmla="*/ 331065 w 420373"/>
                <a:gd name="connsiteY0" fmla="*/ 376022 h 376056"/>
                <a:gd name="connsiteX1" fmla="*/ 309559 w 420373"/>
                <a:gd name="connsiteY1" fmla="*/ 367119 h 376056"/>
                <a:gd name="connsiteX2" fmla="*/ 296830 w 420373"/>
                <a:gd name="connsiteY2" fmla="*/ 354390 h 376056"/>
                <a:gd name="connsiteX3" fmla="*/ 271331 w 420373"/>
                <a:gd name="connsiteY3" fmla="*/ 367223 h 376056"/>
                <a:gd name="connsiteX4" fmla="*/ 265396 w 420373"/>
                <a:gd name="connsiteY4" fmla="*/ 366492 h 376056"/>
                <a:gd name="connsiteX5" fmla="*/ 262595 w 420373"/>
                <a:gd name="connsiteY5" fmla="*/ 361225 h 376056"/>
                <a:gd name="connsiteX6" fmla="*/ 262553 w 420373"/>
                <a:gd name="connsiteY6" fmla="*/ 353763 h 376056"/>
                <a:gd name="connsiteX7" fmla="*/ 262616 w 420373"/>
                <a:gd name="connsiteY7" fmla="*/ 352885 h 376056"/>
                <a:gd name="connsiteX8" fmla="*/ 292524 w 420373"/>
                <a:gd name="connsiteY8" fmla="*/ 293590 h 376056"/>
                <a:gd name="connsiteX9" fmla="*/ 326300 w 420373"/>
                <a:gd name="connsiteY9" fmla="*/ 211744 h 376056"/>
                <a:gd name="connsiteX10" fmla="*/ 287550 w 420373"/>
                <a:gd name="connsiteY10" fmla="*/ 125153 h 376056"/>
                <a:gd name="connsiteX11" fmla="*/ 196758 w 420373"/>
                <a:gd name="connsiteY11" fmla="*/ 96393 h 376056"/>
                <a:gd name="connsiteX12" fmla="*/ 94972 w 420373"/>
                <a:gd name="connsiteY12" fmla="*/ 196946 h 376056"/>
                <a:gd name="connsiteX13" fmla="*/ 129625 w 420373"/>
                <a:gd name="connsiteY13" fmla="*/ 295388 h 376056"/>
                <a:gd name="connsiteX14" fmla="*/ 158364 w 420373"/>
                <a:gd name="connsiteY14" fmla="*/ 358947 h 376056"/>
                <a:gd name="connsiteX15" fmla="*/ 155835 w 420373"/>
                <a:gd name="connsiteY15" fmla="*/ 364485 h 376056"/>
                <a:gd name="connsiteX16" fmla="*/ 149815 w 420373"/>
                <a:gd name="connsiteY16" fmla="*/ 365447 h 376056"/>
                <a:gd name="connsiteX17" fmla="*/ 124338 w 420373"/>
                <a:gd name="connsiteY17" fmla="*/ 354662 h 376056"/>
                <a:gd name="connsiteX18" fmla="*/ 111839 w 420373"/>
                <a:gd name="connsiteY18" fmla="*/ 367161 h 376056"/>
                <a:gd name="connsiteX19" fmla="*/ 68826 w 420373"/>
                <a:gd name="connsiteY19" fmla="*/ 367161 h 376056"/>
                <a:gd name="connsiteX20" fmla="*/ 68826 w 420373"/>
                <a:gd name="connsiteY20" fmla="*/ 324147 h 376056"/>
                <a:gd name="connsiteX21" fmla="*/ 78335 w 420373"/>
                <a:gd name="connsiteY21" fmla="*/ 314637 h 376056"/>
                <a:gd name="connsiteX22" fmla="*/ 47382 w 420373"/>
                <a:gd name="connsiteY22" fmla="*/ 252584 h 376056"/>
                <a:gd name="connsiteX23" fmla="*/ 30410 w 420373"/>
                <a:gd name="connsiteY23" fmla="*/ 252584 h 376056"/>
                <a:gd name="connsiteX24" fmla="*/ 0 w 420373"/>
                <a:gd name="connsiteY24" fmla="*/ 222173 h 376056"/>
                <a:gd name="connsiteX25" fmla="*/ 30410 w 420373"/>
                <a:gd name="connsiteY25" fmla="*/ 191763 h 376056"/>
                <a:gd name="connsiteX26" fmla="*/ 42993 w 420373"/>
                <a:gd name="connsiteY26" fmla="*/ 191763 h 376056"/>
                <a:gd name="connsiteX27" fmla="*/ 65293 w 420373"/>
                <a:gd name="connsiteY27" fmla="*/ 124714 h 376056"/>
                <a:gd name="connsiteX28" fmla="*/ 54780 w 420373"/>
                <a:gd name="connsiteY28" fmla="*/ 114201 h 376056"/>
                <a:gd name="connsiteX29" fmla="*/ 54780 w 420373"/>
                <a:gd name="connsiteY29" fmla="*/ 71187 h 376056"/>
                <a:gd name="connsiteX30" fmla="*/ 97794 w 420373"/>
                <a:gd name="connsiteY30" fmla="*/ 71187 h 376056"/>
                <a:gd name="connsiteX31" fmla="*/ 105297 w 420373"/>
                <a:gd name="connsiteY31" fmla="*/ 78691 h 376056"/>
                <a:gd name="connsiteX32" fmla="*/ 179766 w 420373"/>
                <a:gd name="connsiteY32" fmla="*/ 44706 h 376056"/>
                <a:gd name="connsiteX33" fmla="*/ 179766 w 420373"/>
                <a:gd name="connsiteY33" fmla="*/ 30410 h 376056"/>
                <a:gd name="connsiteX34" fmla="*/ 210176 w 420373"/>
                <a:gd name="connsiteY34" fmla="*/ 0 h 376056"/>
                <a:gd name="connsiteX35" fmla="*/ 240607 w 420373"/>
                <a:gd name="connsiteY35" fmla="*/ 30410 h 376056"/>
                <a:gd name="connsiteX36" fmla="*/ 240607 w 420373"/>
                <a:gd name="connsiteY36" fmla="*/ 44706 h 376056"/>
                <a:gd name="connsiteX37" fmla="*/ 315076 w 420373"/>
                <a:gd name="connsiteY37" fmla="*/ 78691 h 376056"/>
                <a:gd name="connsiteX38" fmla="*/ 322580 w 420373"/>
                <a:gd name="connsiteY38" fmla="*/ 71187 h 376056"/>
                <a:gd name="connsiteX39" fmla="*/ 365593 w 420373"/>
                <a:gd name="connsiteY39" fmla="*/ 71187 h 376056"/>
                <a:gd name="connsiteX40" fmla="*/ 365593 w 420373"/>
                <a:gd name="connsiteY40" fmla="*/ 114201 h 376056"/>
                <a:gd name="connsiteX41" fmla="*/ 355080 w 420373"/>
                <a:gd name="connsiteY41" fmla="*/ 124714 h 376056"/>
                <a:gd name="connsiteX42" fmla="*/ 377381 w 420373"/>
                <a:gd name="connsiteY42" fmla="*/ 191763 h 376056"/>
                <a:gd name="connsiteX43" fmla="*/ 389963 w 420373"/>
                <a:gd name="connsiteY43" fmla="*/ 191763 h 376056"/>
                <a:gd name="connsiteX44" fmla="*/ 420373 w 420373"/>
                <a:gd name="connsiteY44" fmla="*/ 222173 h 376056"/>
                <a:gd name="connsiteX45" fmla="*/ 389963 w 420373"/>
                <a:gd name="connsiteY45" fmla="*/ 252584 h 376056"/>
                <a:gd name="connsiteX46" fmla="*/ 372992 w 420373"/>
                <a:gd name="connsiteY46" fmla="*/ 252584 h 376056"/>
                <a:gd name="connsiteX47" fmla="*/ 342498 w 420373"/>
                <a:gd name="connsiteY47" fmla="*/ 314052 h 376056"/>
                <a:gd name="connsiteX48" fmla="*/ 352572 w 420373"/>
                <a:gd name="connsiteY48" fmla="*/ 324126 h 376056"/>
                <a:gd name="connsiteX49" fmla="*/ 352572 w 420373"/>
                <a:gd name="connsiteY49" fmla="*/ 367140 h 376056"/>
                <a:gd name="connsiteX50" fmla="*/ 331065 w 420373"/>
                <a:gd name="connsiteY50" fmla="*/ 376022 h 376056"/>
                <a:gd name="connsiteX51" fmla="*/ 30410 w 420373"/>
                <a:gd name="connsiteY51" fmla="*/ 204617 h 376056"/>
                <a:gd name="connsiteX52" fmla="*/ 12896 w 420373"/>
                <a:gd name="connsiteY52" fmla="*/ 222131 h 376056"/>
                <a:gd name="connsiteX53" fmla="*/ 30410 w 420373"/>
                <a:gd name="connsiteY53" fmla="*/ 239646 h 376056"/>
                <a:gd name="connsiteX54" fmla="*/ 52439 w 420373"/>
                <a:gd name="connsiteY54" fmla="*/ 239646 h 376056"/>
                <a:gd name="connsiteX55" fmla="*/ 58731 w 420373"/>
                <a:gd name="connsiteY55" fmla="*/ 244662 h 376056"/>
                <a:gd name="connsiteX56" fmla="*/ 91921 w 420373"/>
                <a:gd name="connsiteY56" fmla="*/ 310833 h 376056"/>
                <a:gd name="connsiteX57" fmla="*/ 91565 w 420373"/>
                <a:gd name="connsiteY57" fmla="*/ 319570 h 376056"/>
                <a:gd name="connsiteX58" fmla="*/ 77917 w 420373"/>
                <a:gd name="connsiteY58" fmla="*/ 333218 h 376056"/>
                <a:gd name="connsiteX59" fmla="*/ 77917 w 420373"/>
                <a:gd name="connsiteY59" fmla="*/ 357985 h 376056"/>
                <a:gd name="connsiteX60" fmla="*/ 102685 w 420373"/>
                <a:gd name="connsiteY60" fmla="*/ 357985 h 376056"/>
                <a:gd name="connsiteX61" fmla="*/ 118673 w 420373"/>
                <a:gd name="connsiteY61" fmla="*/ 341996 h 376056"/>
                <a:gd name="connsiteX62" fmla="*/ 126699 w 420373"/>
                <a:gd name="connsiteY62" fmla="*/ 341118 h 376056"/>
                <a:gd name="connsiteX63" fmla="*/ 144235 w 420373"/>
                <a:gd name="connsiteY63" fmla="*/ 349500 h 376056"/>
                <a:gd name="connsiteX64" fmla="*/ 120659 w 420373"/>
                <a:gd name="connsiteY64" fmla="*/ 304647 h 376056"/>
                <a:gd name="connsiteX65" fmla="*/ 82139 w 420373"/>
                <a:gd name="connsiteY65" fmla="*/ 195337 h 376056"/>
                <a:gd name="connsiteX66" fmla="*/ 195295 w 420373"/>
                <a:gd name="connsiteY66" fmla="*/ 83540 h 376056"/>
                <a:gd name="connsiteX67" fmla="*/ 296119 w 420373"/>
                <a:gd name="connsiteY67" fmla="*/ 115518 h 376056"/>
                <a:gd name="connsiteX68" fmla="*/ 339154 w 420373"/>
                <a:gd name="connsiteY68" fmla="*/ 211723 h 376056"/>
                <a:gd name="connsiteX69" fmla="*/ 301637 w 420373"/>
                <a:gd name="connsiteY69" fmla="*/ 302661 h 376056"/>
                <a:gd name="connsiteX70" fmla="*/ 275867 w 420373"/>
                <a:gd name="connsiteY70" fmla="*/ 351255 h 376056"/>
                <a:gd name="connsiteX71" fmla="*/ 294197 w 420373"/>
                <a:gd name="connsiteY71" fmla="*/ 340742 h 376056"/>
                <a:gd name="connsiteX72" fmla="*/ 302264 w 420373"/>
                <a:gd name="connsiteY72" fmla="*/ 341599 h 376056"/>
                <a:gd name="connsiteX73" fmla="*/ 318650 w 420373"/>
                <a:gd name="connsiteY73" fmla="*/ 357985 h 376056"/>
                <a:gd name="connsiteX74" fmla="*/ 343417 w 420373"/>
                <a:gd name="connsiteY74" fmla="*/ 357985 h 376056"/>
                <a:gd name="connsiteX75" fmla="*/ 343417 w 420373"/>
                <a:gd name="connsiteY75" fmla="*/ 333218 h 376056"/>
                <a:gd name="connsiteX76" fmla="*/ 329226 w 420373"/>
                <a:gd name="connsiteY76" fmla="*/ 319026 h 376056"/>
                <a:gd name="connsiteX77" fmla="*/ 328871 w 420373"/>
                <a:gd name="connsiteY77" fmla="*/ 310311 h 376056"/>
                <a:gd name="connsiteX78" fmla="*/ 361601 w 420373"/>
                <a:gd name="connsiteY78" fmla="*/ 244683 h 376056"/>
                <a:gd name="connsiteX79" fmla="*/ 367892 w 420373"/>
                <a:gd name="connsiteY79" fmla="*/ 239667 h 376056"/>
                <a:gd name="connsiteX80" fmla="*/ 389921 w 420373"/>
                <a:gd name="connsiteY80" fmla="*/ 239667 h 376056"/>
                <a:gd name="connsiteX81" fmla="*/ 407436 w 420373"/>
                <a:gd name="connsiteY81" fmla="*/ 222152 h 376056"/>
                <a:gd name="connsiteX82" fmla="*/ 389921 w 420373"/>
                <a:gd name="connsiteY82" fmla="*/ 204638 h 376056"/>
                <a:gd name="connsiteX83" fmla="*/ 371466 w 420373"/>
                <a:gd name="connsiteY83" fmla="*/ 204638 h 376056"/>
                <a:gd name="connsiteX84" fmla="*/ 365029 w 420373"/>
                <a:gd name="connsiteY84" fmla="*/ 198660 h 376056"/>
                <a:gd name="connsiteX85" fmla="*/ 341453 w 420373"/>
                <a:gd name="connsiteY85" fmla="*/ 127180 h 376056"/>
                <a:gd name="connsiteX86" fmla="*/ 342331 w 420373"/>
                <a:gd name="connsiteY86" fmla="*/ 119175 h 376056"/>
                <a:gd name="connsiteX87" fmla="*/ 356438 w 420373"/>
                <a:gd name="connsiteY87" fmla="*/ 105067 h 376056"/>
                <a:gd name="connsiteX88" fmla="*/ 356438 w 420373"/>
                <a:gd name="connsiteY88" fmla="*/ 80300 h 376056"/>
                <a:gd name="connsiteX89" fmla="*/ 331671 w 420373"/>
                <a:gd name="connsiteY89" fmla="*/ 80300 h 376056"/>
                <a:gd name="connsiteX90" fmla="*/ 320030 w 420373"/>
                <a:gd name="connsiteY90" fmla="*/ 91942 h 376056"/>
                <a:gd name="connsiteX91" fmla="*/ 311272 w 420373"/>
                <a:gd name="connsiteY91" fmla="*/ 92276 h 376056"/>
                <a:gd name="connsiteX92" fmla="*/ 233209 w 420373"/>
                <a:gd name="connsiteY92" fmla="*/ 56536 h 376056"/>
                <a:gd name="connsiteX93" fmla="*/ 227712 w 420373"/>
                <a:gd name="connsiteY93" fmla="*/ 50161 h 376056"/>
                <a:gd name="connsiteX94" fmla="*/ 227712 w 420373"/>
                <a:gd name="connsiteY94" fmla="*/ 30410 h 376056"/>
                <a:gd name="connsiteX95" fmla="*/ 210197 w 420373"/>
                <a:gd name="connsiteY95" fmla="*/ 12896 h 376056"/>
                <a:gd name="connsiteX96" fmla="*/ 192682 w 420373"/>
                <a:gd name="connsiteY96" fmla="*/ 30410 h 376056"/>
                <a:gd name="connsiteX97" fmla="*/ 192682 w 420373"/>
                <a:gd name="connsiteY97" fmla="*/ 50161 h 376056"/>
                <a:gd name="connsiteX98" fmla="*/ 187186 w 420373"/>
                <a:gd name="connsiteY98" fmla="*/ 56536 h 376056"/>
                <a:gd name="connsiteX99" fmla="*/ 109122 w 420373"/>
                <a:gd name="connsiteY99" fmla="*/ 92276 h 376056"/>
                <a:gd name="connsiteX100" fmla="*/ 100365 w 420373"/>
                <a:gd name="connsiteY100" fmla="*/ 91942 h 376056"/>
                <a:gd name="connsiteX101" fmla="*/ 88723 w 420373"/>
                <a:gd name="connsiteY101" fmla="*/ 80300 h 376056"/>
                <a:gd name="connsiteX102" fmla="*/ 63956 w 420373"/>
                <a:gd name="connsiteY102" fmla="*/ 80300 h 376056"/>
                <a:gd name="connsiteX103" fmla="*/ 63956 w 420373"/>
                <a:gd name="connsiteY103" fmla="*/ 105067 h 376056"/>
                <a:gd name="connsiteX104" fmla="*/ 78064 w 420373"/>
                <a:gd name="connsiteY104" fmla="*/ 119175 h 376056"/>
                <a:gd name="connsiteX105" fmla="*/ 78941 w 420373"/>
                <a:gd name="connsiteY105" fmla="*/ 127180 h 376056"/>
                <a:gd name="connsiteX106" fmla="*/ 55366 w 420373"/>
                <a:gd name="connsiteY106" fmla="*/ 198660 h 376056"/>
                <a:gd name="connsiteX107" fmla="*/ 48928 w 420373"/>
                <a:gd name="connsiteY107" fmla="*/ 204638 h 376056"/>
                <a:gd name="connsiteX108" fmla="*/ 30410 w 420373"/>
                <a:gd name="connsiteY108" fmla="*/ 204638 h 376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420373" h="376056">
                  <a:moveTo>
                    <a:pt x="331065" y="376022"/>
                  </a:moveTo>
                  <a:cubicBezTo>
                    <a:pt x="323269" y="376022"/>
                    <a:pt x="315473" y="373054"/>
                    <a:pt x="309559" y="367119"/>
                  </a:cubicBezTo>
                  <a:lnTo>
                    <a:pt x="296830" y="354390"/>
                  </a:lnTo>
                  <a:cubicBezTo>
                    <a:pt x="288553" y="359532"/>
                    <a:pt x="280946" y="363607"/>
                    <a:pt x="271331" y="367223"/>
                  </a:cubicBezTo>
                  <a:cubicBezTo>
                    <a:pt x="269346" y="367976"/>
                    <a:pt x="267130" y="367683"/>
                    <a:pt x="265396" y="366492"/>
                  </a:cubicBezTo>
                  <a:cubicBezTo>
                    <a:pt x="263661" y="365300"/>
                    <a:pt x="262616" y="363336"/>
                    <a:pt x="262595" y="361225"/>
                  </a:cubicBezTo>
                  <a:lnTo>
                    <a:pt x="262553" y="353763"/>
                  </a:lnTo>
                  <a:cubicBezTo>
                    <a:pt x="262553" y="353471"/>
                    <a:pt x="262574" y="353178"/>
                    <a:pt x="262616" y="352885"/>
                  </a:cubicBezTo>
                  <a:cubicBezTo>
                    <a:pt x="265521" y="330856"/>
                    <a:pt x="275867" y="310353"/>
                    <a:pt x="292524" y="293590"/>
                  </a:cubicBezTo>
                  <a:cubicBezTo>
                    <a:pt x="314303" y="271687"/>
                    <a:pt x="326300" y="242635"/>
                    <a:pt x="326300" y="211744"/>
                  </a:cubicBezTo>
                  <a:cubicBezTo>
                    <a:pt x="326300" y="178742"/>
                    <a:pt x="312192" y="147182"/>
                    <a:pt x="287550" y="125153"/>
                  </a:cubicBezTo>
                  <a:cubicBezTo>
                    <a:pt x="262595" y="102852"/>
                    <a:pt x="230345" y="92631"/>
                    <a:pt x="196758" y="96393"/>
                  </a:cubicBezTo>
                  <a:cubicBezTo>
                    <a:pt x="144256" y="102267"/>
                    <a:pt x="101451" y="144548"/>
                    <a:pt x="94972" y="196946"/>
                  </a:cubicBezTo>
                  <a:cubicBezTo>
                    <a:pt x="90416" y="233898"/>
                    <a:pt x="103040" y="269764"/>
                    <a:pt x="129625" y="295388"/>
                  </a:cubicBezTo>
                  <a:cubicBezTo>
                    <a:pt x="146618" y="311753"/>
                    <a:pt x="156838" y="334326"/>
                    <a:pt x="158364" y="358947"/>
                  </a:cubicBezTo>
                  <a:cubicBezTo>
                    <a:pt x="158489" y="361099"/>
                    <a:pt x="157549" y="363189"/>
                    <a:pt x="155835" y="364485"/>
                  </a:cubicBezTo>
                  <a:cubicBezTo>
                    <a:pt x="154100" y="365781"/>
                    <a:pt x="151843" y="366136"/>
                    <a:pt x="149815" y="365447"/>
                  </a:cubicBezTo>
                  <a:cubicBezTo>
                    <a:pt x="149105" y="365196"/>
                    <a:pt x="134662" y="360138"/>
                    <a:pt x="124338" y="354662"/>
                  </a:cubicBezTo>
                  <a:lnTo>
                    <a:pt x="111839" y="367161"/>
                  </a:lnTo>
                  <a:cubicBezTo>
                    <a:pt x="99988" y="379011"/>
                    <a:pt x="80676" y="379032"/>
                    <a:pt x="68826" y="367161"/>
                  </a:cubicBezTo>
                  <a:cubicBezTo>
                    <a:pt x="56954" y="355310"/>
                    <a:pt x="56954" y="335998"/>
                    <a:pt x="68826" y="324147"/>
                  </a:cubicBezTo>
                  <a:lnTo>
                    <a:pt x="78335" y="314637"/>
                  </a:lnTo>
                  <a:cubicBezTo>
                    <a:pt x="63851" y="296349"/>
                    <a:pt x="53234" y="275093"/>
                    <a:pt x="47382" y="252584"/>
                  </a:cubicBezTo>
                  <a:lnTo>
                    <a:pt x="30410" y="252584"/>
                  </a:lnTo>
                  <a:cubicBezTo>
                    <a:pt x="13627" y="252584"/>
                    <a:pt x="0" y="238935"/>
                    <a:pt x="0" y="222173"/>
                  </a:cubicBezTo>
                  <a:cubicBezTo>
                    <a:pt x="0" y="205411"/>
                    <a:pt x="13648" y="191763"/>
                    <a:pt x="30410" y="191763"/>
                  </a:cubicBezTo>
                  <a:lnTo>
                    <a:pt x="42993" y="191763"/>
                  </a:lnTo>
                  <a:cubicBezTo>
                    <a:pt x="45584" y="168145"/>
                    <a:pt x="53213" y="145175"/>
                    <a:pt x="65293" y="124714"/>
                  </a:cubicBezTo>
                  <a:lnTo>
                    <a:pt x="54780" y="114201"/>
                  </a:lnTo>
                  <a:cubicBezTo>
                    <a:pt x="42909" y="102350"/>
                    <a:pt x="42909" y="83038"/>
                    <a:pt x="54780" y="71187"/>
                  </a:cubicBezTo>
                  <a:cubicBezTo>
                    <a:pt x="66652" y="59316"/>
                    <a:pt x="85943" y="59337"/>
                    <a:pt x="97794" y="71187"/>
                  </a:cubicBezTo>
                  <a:lnTo>
                    <a:pt x="105297" y="78691"/>
                  </a:lnTo>
                  <a:cubicBezTo>
                    <a:pt x="127034" y="61343"/>
                    <a:pt x="152553" y="49681"/>
                    <a:pt x="179766" y="44706"/>
                  </a:cubicBezTo>
                  <a:lnTo>
                    <a:pt x="179766" y="30410"/>
                  </a:lnTo>
                  <a:cubicBezTo>
                    <a:pt x="179766" y="13627"/>
                    <a:pt x="193414" y="0"/>
                    <a:pt x="210176" y="0"/>
                  </a:cubicBezTo>
                  <a:cubicBezTo>
                    <a:pt x="226959" y="0"/>
                    <a:pt x="240607" y="13648"/>
                    <a:pt x="240607" y="30410"/>
                  </a:cubicBezTo>
                  <a:lnTo>
                    <a:pt x="240607" y="44706"/>
                  </a:lnTo>
                  <a:cubicBezTo>
                    <a:pt x="267820" y="49681"/>
                    <a:pt x="293340" y="61322"/>
                    <a:pt x="315076" y="78691"/>
                  </a:cubicBezTo>
                  <a:lnTo>
                    <a:pt x="322580" y="71187"/>
                  </a:lnTo>
                  <a:cubicBezTo>
                    <a:pt x="334430" y="59337"/>
                    <a:pt x="353742" y="59316"/>
                    <a:pt x="365593" y="71187"/>
                  </a:cubicBezTo>
                  <a:cubicBezTo>
                    <a:pt x="377464" y="83038"/>
                    <a:pt x="377464" y="102350"/>
                    <a:pt x="365593" y="114201"/>
                  </a:cubicBezTo>
                  <a:lnTo>
                    <a:pt x="355080" y="124714"/>
                  </a:lnTo>
                  <a:cubicBezTo>
                    <a:pt x="367140" y="145155"/>
                    <a:pt x="374789" y="168124"/>
                    <a:pt x="377381" y="191763"/>
                  </a:cubicBezTo>
                  <a:lnTo>
                    <a:pt x="389963" y="191763"/>
                  </a:lnTo>
                  <a:cubicBezTo>
                    <a:pt x="406746" y="191763"/>
                    <a:pt x="420373" y="205411"/>
                    <a:pt x="420373" y="222173"/>
                  </a:cubicBezTo>
                  <a:cubicBezTo>
                    <a:pt x="420373" y="238935"/>
                    <a:pt x="406725" y="252584"/>
                    <a:pt x="389963" y="252584"/>
                  </a:cubicBezTo>
                  <a:lnTo>
                    <a:pt x="372992" y="252584"/>
                  </a:lnTo>
                  <a:cubicBezTo>
                    <a:pt x="367202" y="274843"/>
                    <a:pt x="356752" y="295910"/>
                    <a:pt x="342498" y="314052"/>
                  </a:cubicBezTo>
                  <a:lnTo>
                    <a:pt x="352572" y="324126"/>
                  </a:lnTo>
                  <a:cubicBezTo>
                    <a:pt x="364443" y="335977"/>
                    <a:pt x="364443" y="355289"/>
                    <a:pt x="352572" y="367140"/>
                  </a:cubicBezTo>
                  <a:cubicBezTo>
                    <a:pt x="346657" y="373075"/>
                    <a:pt x="338861" y="376022"/>
                    <a:pt x="331065" y="376022"/>
                  </a:cubicBezTo>
                  <a:close/>
                  <a:moveTo>
                    <a:pt x="30410" y="204617"/>
                  </a:moveTo>
                  <a:cubicBezTo>
                    <a:pt x="20754" y="204617"/>
                    <a:pt x="12896" y="212475"/>
                    <a:pt x="12896" y="222131"/>
                  </a:cubicBezTo>
                  <a:cubicBezTo>
                    <a:pt x="12896" y="231787"/>
                    <a:pt x="20754" y="239646"/>
                    <a:pt x="30410" y="239646"/>
                  </a:cubicBezTo>
                  <a:lnTo>
                    <a:pt x="52439" y="239646"/>
                  </a:lnTo>
                  <a:cubicBezTo>
                    <a:pt x="55449" y="239646"/>
                    <a:pt x="58062" y="241736"/>
                    <a:pt x="58731" y="244662"/>
                  </a:cubicBezTo>
                  <a:cubicBezTo>
                    <a:pt x="64248" y="268928"/>
                    <a:pt x="75723" y="291814"/>
                    <a:pt x="91921" y="310833"/>
                  </a:cubicBezTo>
                  <a:cubicBezTo>
                    <a:pt x="94115" y="313404"/>
                    <a:pt x="93948" y="317208"/>
                    <a:pt x="91565" y="319570"/>
                  </a:cubicBezTo>
                  <a:lnTo>
                    <a:pt x="77917" y="333218"/>
                  </a:lnTo>
                  <a:cubicBezTo>
                    <a:pt x="71083" y="340052"/>
                    <a:pt x="71083" y="351172"/>
                    <a:pt x="77917" y="357985"/>
                  </a:cubicBezTo>
                  <a:cubicBezTo>
                    <a:pt x="84731" y="364820"/>
                    <a:pt x="95850" y="364820"/>
                    <a:pt x="102685" y="357985"/>
                  </a:cubicBezTo>
                  <a:lnTo>
                    <a:pt x="118673" y="341996"/>
                  </a:lnTo>
                  <a:cubicBezTo>
                    <a:pt x="120826" y="339843"/>
                    <a:pt x="124170" y="339488"/>
                    <a:pt x="126699" y="341118"/>
                  </a:cubicBezTo>
                  <a:cubicBezTo>
                    <a:pt x="131235" y="344003"/>
                    <a:pt x="138383" y="347138"/>
                    <a:pt x="144235" y="349500"/>
                  </a:cubicBezTo>
                  <a:cubicBezTo>
                    <a:pt x="141121" y="332152"/>
                    <a:pt x="132949" y="316477"/>
                    <a:pt x="120659" y="304647"/>
                  </a:cubicBezTo>
                  <a:cubicBezTo>
                    <a:pt x="91126" y="276201"/>
                    <a:pt x="77081" y="236365"/>
                    <a:pt x="82139" y="195337"/>
                  </a:cubicBezTo>
                  <a:cubicBezTo>
                    <a:pt x="89329" y="137087"/>
                    <a:pt x="136920" y="90082"/>
                    <a:pt x="195295" y="83540"/>
                  </a:cubicBezTo>
                  <a:cubicBezTo>
                    <a:pt x="232623" y="79339"/>
                    <a:pt x="268405" y="90729"/>
                    <a:pt x="296119" y="115518"/>
                  </a:cubicBezTo>
                  <a:cubicBezTo>
                    <a:pt x="323478" y="139992"/>
                    <a:pt x="339154" y="175042"/>
                    <a:pt x="339154" y="211723"/>
                  </a:cubicBezTo>
                  <a:cubicBezTo>
                    <a:pt x="339154" y="246042"/>
                    <a:pt x="325819" y="278333"/>
                    <a:pt x="301637" y="302661"/>
                  </a:cubicBezTo>
                  <a:cubicBezTo>
                    <a:pt x="287822" y="316560"/>
                    <a:pt x="278960" y="333302"/>
                    <a:pt x="275867" y="351255"/>
                  </a:cubicBezTo>
                  <a:cubicBezTo>
                    <a:pt x="282095" y="348287"/>
                    <a:pt x="287801" y="344860"/>
                    <a:pt x="294197" y="340742"/>
                  </a:cubicBezTo>
                  <a:cubicBezTo>
                    <a:pt x="296746" y="339091"/>
                    <a:pt x="300090" y="339446"/>
                    <a:pt x="302264" y="341599"/>
                  </a:cubicBezTo>
                  <a:lnTo>
                    <a:pt x="318650" y="357985"/>
                  </a:lnTo>
                  <a:cubicBezTo>
                    <a:pt x="325485" y="364820"/>
                    <a:pt x="336604" y="364820"/>
                    <a:pt x="343417" y="357985"/>
                  </a:cubicBezTo>
                  <a:cubicBezTo>
                    <a:pt x="350252" y="351151"/>
                    <a:pt x="350252" y="340032"/>
                    <a:pt x="343417" y="333218"/>
                  </a:cubicBezTo>
                  <a:lnTo>
                    <a:pt x="329226" y="319026"/>
                  </a:lnTo>
                  <a:cubicBezTo>
                    <a:pt x="326864" y="316665"/>
                    <a:pt x="326697" y="312861"/>
                    <a:pt x="328871" y="310311"/>
                  </a:cubicBezTo>
                  <a:cubicBezTo>
                    <a:pt x="344839" y="291417"/>
                    <a:pt x="356146" y="268719"/>
                    <a:pt x="361601" y="244683"/>
                  </a:cubicBezTo>
                  <a:cubicBezTo>
                    <a:pt x="362270" y="241736"/>
                    <a:pt x="364882" y="239667"/>
                    <a:pt x="367892" y="239667"/>
                  </a:cubicBezTo>
                  <a:lnTo>
                    <a:pt x="389921" y="239667"/>
                  </a:lnTo>
                  <a:cubicBezTo>
                    <a:pt x="399577" y="239667"/>
                    <a:pt x="407436" y="231808"/>
                    <a:pt x="407436" y="222152"/>
                  </a:cubicBezTo>
                  <a:cubicBezTo>
                    <a:pt x="407436" y="212496"/>
                    <a:pt x="399577" y="204638"/>
                    <a:pt x="389921" y="204638"/>
                  </a:cubicBezTo>
                  <a:lnTo>
                    <a:pt x="371466" y="204638"/>
                  </a:lnTo>
                  <a:cubicBezTo>
                    <a:pt x="368080" y="204638"/>
                    <a:pt x="365279" y="202025"/>
                    <a:pt x="365029" y="198660"/>
                  </a:cubicBezTo>
                  <a:cubicBezTo>
                    <a:pt x="363169" y="173308"/>
                    <a:pt x="354996" y="148603"/>
                    <a:pt x="341453" y="127180"/>
                  </a:cubicBezTo>
                  <a:cubicBezTo>
                    <a:pt x="339843" y="124630"/>
                    <a:pt x="340199" y="121307"/>
                    <a:pt x="342331" y="119175"/>
                  </a:cubicBezTo>
                  <a:lnTo>
                    <a:pt x="356438" y="105067"/>
                  </a:lnTo>
                  <a:cubicBezTo>
                    <a:pt x="363273" y="98233"/>
                    <a:pt x="363273" y="87114"/>
                    <a:pt x="356438" y="80300"/>
                  </a:cubicBezTo>
                  <a:cubicBezTo>
                    <a:pt x="349604" y="73466"/>
                    <a:pt x="338485" y="73486"/>
                    <a:pt x="331671" y="80300"/>
                  </a:cubicBezTo>
                  <a:lnTo>
                    <a:pt x="320030" y="91942"/>
                  </a:lnTo>
                  <a:cubicBezTo>
                    <a:pt x="317647" y="94324"/>
                    <a:pt x="313822" y="94471"/>
                    <a:pt x="311272" y="92276"/>
                  </a:cubicBezTo>
                  <a:cubicBezTo>
                    <a:pt x="289013" y="73173"/>
                    <a:pt x="262010" y="60821"/>
                    <a:pt x="233209" y="56536"/>
                  </a:cubicBezTo>
                  <a:cubicBezTo>
                    <a:pt x="230053" y="56076"/>
                    <a:pt x="227712" y="53359"/>
                    <a:pt x="227712" y="50161"/>
                  </a:cubicBezTo>
                  <a:lnTo>
                    <a:pt x="227712" y="30410"/>
                  </a:lnTo>
                  <a:cubicBezTo>
                    <a:pt x="227712" y="20754"/>
                    <a:pt x="219853" y="12896"/>
                    <a:pt x="210197" y="12896"/>
                  </a:cubicBezTo>
                  <a:cubicBezTo>
                    <a:pt x="200541" y="12896"/>
                    <a:pt x="192682" y="20754"/>
                    <a:pt x="192682" y="30410"/>
                  </a:cubicBezTo>
                  <a:lnTo>
                    <a:pt x="192682" y="50161"/>
                  </a:lnTo>
                  <a:cubicBezTo>
                    <a:pt x="192682" y="53359"/>
                    <a:pt x="190342" y="56076"/>
                    <a:pt x="187186" y="56536"/>
                  </a:cubicBezTo>
                  <a:cubicBezTo>
                    <a:pt x="158364" y="60821"/>
                    <a:pt x="131381" y="73173"/>
                    <a:pt x="109122" y="92276"/>
                  </a:cubicBezTo>
                  <a:cubicBezTo>
                    <a:pt x="106551" y="94471"/>
                    <a:pt x="102726" y="94324"/>
                    <a:pt x="100365" y="91942"/>
                  </a:cubicBezTo>
                  <a:lnTo>
                    <a:pt x="88723" y="80300"/>
                  </a:lnTo>
                  <a:cubicBezTo>
                    <a:pt x="81909" y="73486"/>
                    <a:pt x="70790" y="73466"/>
                    <a:pt x="63956" y="80300"/>
                  </a:cubicBezTo>
                  <a:cubicBezTo>
                    <a:pt x="57121" y="87135"/>
                    <a:pt x="57121" y="98254"/>
                    <a:pt x="63956" y="105067"/>
                  </a:cubicBezTo>
                  <a:lnTo>
                    <a:pt x="78064" y="119175"/>
                  </a:lnTo>
                  <a:cubicBezTo>
                    <a:pt x="80196" y="121307"/>
                    <a:pt x="80572" y="124630"/>
                    <a:pt x="78941" y="127180"/>
                  </a:cubicBezTo>
                  <a:cubicBezTo>
                    <a:pt x="65377" y="148603"/>
                    <a:pt x="57205" y="173329"/>
                    <a:pt x="55366" y="198660"/>
                  </a:cubicBezTo>
                  <a:cubicBezTo>
                    <a:pt x="55115" y="202025"/>
                    <a:pt x="52314" y="204638"/>
                    <a:pt x="48928" y="204638"/>
                  </a:cubicBezTo>
                  <a:lnTo>
                    <a:pt x="30410" y="204638"/>
                  </a:lnTo>
                  <a:close/>
                </a:path>
              </a:pathLst>
            </a:custGeom>
            <a:solidFill>
              <a:schemeClr val="accent1"/>
            </a:solidFill>
            <a:ln w="2086" cap="flat">
              <a:noFill/>
              <a:prstDash val="solid"/>
              <a:miter/>
            </a:ln>
          </p:spPr>
          <p:txBody>
            <a:bodyPr rtlCol="0" anchor="ctr"/>
            <a:lstStyle/>
            <a:p>
              <a:endParaRPr lang="en-GB" dirty="0"/>
            </a:p>
          </p:txBody>
        </p:sp>
        <p:grpSp>
          <p:nvGrpSpPr>
            <p:cNvPr id="275" name="Group 274">
              <a:extLst>
                <a:ext uri="{FF2B5EF4-FFF2-40B4-BE49-F238E27FC236}">
                  <a16:creationId xmlns:a16="http://schemas.microsoft.com/office/drawing/2014/main" id="{CD1B7EA2-89CA-4007-ABF8-BA5D1E20CD1F}"/>
                </a:ext>
              </a:extLst>
            </p:cNvPr>
            <p:cNvGrpSpPr/>
            <p:nvPr/>
          </p:nvGrpSpPr>
          <p:grpSpPr>
            <a:xfrm>
              <a:off x="7119763" y="2020232"/>
              <a:ext cx="129041" cy="96790"/>
              <a:chOff x="7119763" y="2020232"/>
              <a:chExt cx="129040" cy="96790"/>
            </a:xfrm>
          </p:grpSpPr>
          <p:sp>
            <p:nvSpPr>
              <p:cNvPr id="276" name="Freihandform: Form 824">
                <a:extLst>
                  <a:ext uri="{FF2B5EF4-FFF2-40B4-BE49-F238E27FC236}">
                    <a16:creationId xmlns:a16="http://schemas.microsoft.com/office/drawing/2014/main" id="{56F1F24D-7647-49C4-B9D2-F9E0F0F601AD}"/>
                  </a:ext>
                </a:extLst>
              </p:cNvPr>
              <p:cNvSpPr/>
              <p:nvPr/>
            </p:nvSpPr>
            <p:spPr>
              <a:xfrm>
                <a:off x="7145596" y="2020232"/>
                <a:ext cx="77415" cy="12916"/>
              </a:xfrm>
              <a:custGeom>
                <a:avLst/>
                <a:gdLst>
                  <a:gd name="connsiteX0" fmla="*/ 70958 w 77415"/>
                  <a:gd name="connsiteY0" fmla="*/ 12917 h 12916"/>
                  <a:gd name="connsiteX1" fmla="*/ 6458 w 77415"/>
                  <a:gd name="connsiteY1" fmla="*/ 12917 h 12916"/>
                  <a:gd name="connsiteX2" fmla="*/ 0 w 77415"/>
                  <a:gd name="connsiteY2" fmla="*/ 6458 h 12916"/>
                  <a:gd name="connsiteX3" fmla="*/ 6458 w 77415"/>
                  <a:gd name="connsiteY3" fmla="*/ 0 h 12916"/>
                  <a:gd name="connsiteX4" fmla="*/ 70958 w 77415"/>
                  <a:gd name="connsiteY4" fmla="*/ 0 h 12916"/>
                  <a:gd name="connsiteX5" fmla="*/ 77416 w 77415"/>
                  <a:gd name="connsiteY5" fmla="*/ 6458 h 12916"/>
                  <a:gd name="connsiteX6" fmla="*/ 70958 w 77415"/>
                  <a:gd name="connsiteY6" fmla="*/ 12917 h 12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415" h="12916">
                    <a:moveTo>
                      <a:pt x="70958" y="12917"/>
                    </a:moveTo>
                    <a:lnTo>
                      <a:pt x="6458" y="12917"/>
                    </a:lnTo>
                    <a:cubicBezTo>
                      <a:pt x="2884" y="12917"/>
                      <a:pt x="0" y="10032"/>
                      <a:pt x="0" y="6458"/>
                    </a:cubicBezTo>
                    <a:cubicBezTo>
                      <a:pt x="0" y="2905"/>
                      <a:pt x="2884" y="0"/>
                      <a:pt x="6458" y="0"/>
                    </a:cubicBezTo>
                    <a:lnTo>
                      <a:pt x="70958" y="0"/>
                    </a:lnTo>
                    <a:cubicBezTo>
                      <a:pt x="74531" y="0"/>
                      <a:pt x="77416" y="2884"/>
                      <a:pt x="77416" y="6458"/>
                    </a:cubicBezTo>
                    <a:cubicBezTo>
                      <a:pt x="77395" y="10032"/>
                      <a:pt x="74511" y="12917"/>
                      <a:pt x="70958" y="12917"/>
                    </a:cubicBezTo>
                    <a:close/>
                  </a:path>
                </a:pathLst>
              </a:custGeom>
              <a:solidFill>
                <a:schemeClr val="tx2"/>
              </a:solidFill>
              <a:ln w="2086" cap="flat">
                <a:noFill/>
                <a:prstDash val="solid"/>
                <a:miter/>
              </a:ln>
            </p:spPr>
            <p:txBody>
              <a:bodyPr rtlCol="0" anchor="ctr"/>
              <a:lstStyle/>
              <a:p>
                <a:endParaRPr lang="en-GB" dirty="0"/>
              </a:p>
            </p:txBody>
          </p:sp>
          <p:sp>
            <p:nvSpPr>
              <p:cNvPr id="277" name="Freihandform: Form 825">
                <a:extLst>
                  <a:ext uri="{FF2B5EF4-FFF2-40B4-BE49-F238E27FC236}">
                    <a16:creationId xmlns:a16="http://schemas.microsoft.com/office/drawing/2014/main" id="{5940A241-DCF3-4F49-9C4C-556DAC68C91B}"/>
                  </a:ext>
                </a:extLst>
              </p:cNvPr>
              <p:cNvSpPr/>
              <p:nvPr/>
            </p:nvSpPr>
            <p:spPr>
              <a:xfrm>
                <a:off x="7132711" y="2078301"/>
                <a:ext cx="103205" cy="38721"/>
              </a:xfrm>
              <a:custGeom>
                <a:avLst/>
                <a:gdLst>
                  <a:gd name="connsiteX0" fmla="*/ 83842 w 103205"/>
                  <a:gd name="connsiteY0" fmla="*/ 38722 h 38721"/>
                  <a:gd name="connsiteX1" fmla="*/ 19343 w 103205"/>
                  <a:gd name="connsiteY1" fmla="*/ 38722 h 38721"/>
                  <a:gd name="connsiteX2" fmla="*/ 13574 w 103205"/>
                  <a:gd name="connsiteY2" fmla="*/ 35148 h 38721"/>
                  <a:gd name="connsiteX3" fmla="*/ 679 w 103205"/>
                  <a:gd name="connsiteY3" fmla="*/ 9335 h 38721"/>
                  <a:gd name="connsiteX4" fmla="*/ 3563 w 103205"/>
                  <a:gd name="connsiteY4" fmla="*/ 682 h 38721"/>
                  <a:gd name="connsiteX5" fmla="*/ 12216 w 103205"/>
                  <a:gd name="connsiteY5" fmla="*/ 3567 h 38721"/>
                  <a:gd name="connsiteX6" fmla="*/ 23335 w 103205"/>
                  <a:gd name="connsiteY6" fmla="*/ 25805 h 38721"/>
                  <a:gd name="connsiteX7" fmla="*/ 79871 w 103205"/>
                  <a:gd name="connsiteY7" fmla="*/ 25805 h 38721"/>
                  <a:gd name="connsiteX8" fmla="*/ 90990 w 103205"/>
                  <a:gd name="connsiteY8" fmla="*/ 3567 h 38721"/>
                  <a:gd name="connsiteX9" fmla="*/ 99643 w 103205"/>
                  <a:gd name="connsiteY9" fmla="*/ 682 h 38721"/>
                  <a:gd name="connsiteX10" fmla="*/ 102527 w 103205"/>
                  <a:gd name="connsiteY10" fmla="*/ 9335 h 38721"/>
                  <a:gd name="connsiteX11" fmla="*/ 89632 w 103205"/>
                  <a:gd name="connsiteY11" fmla="*/ 35148 h 38721"/>
                  <a:gd name="connsiteX12" fmla="*/ 83842 w 103205"/>
                  <a:gd name="connsiteY12" fmla="*/ 38722 h 3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3205" h="38721">
                    <a:moveTo>
                      <a:pt x="83842" y="38722"/>
                    </a:moveTo>
                    <a:lnTo>
                      <a:pt x="19343" y="38722"/>
                    </a:lnTo>
                    <a:cubicBezTo>
                      <a:pt x="16898" y="38722"/>
                      <a:pt x="14661" y="37342"/>
                      <a:pt x="13574" y="35148"/>
                    </a:cubicBezTo>
                    <a:lnTo>
                      <a:pt x="679" y="9335"/>
                    </a:lnTo>
                    <a:cubicBezTo>
                      <a:pt x="-910" y="6138"/>
                      <a:pt x="386" y="2271"/>
                      <a:pt x="3563" y="682"/>
                    </a:cubicBezTo>
                    <a:cubicBezTo>
                      <a:pt x="6740" y="-906"/>
                      <a:pt x="10627" y="390"/>
                      <a:pt x="12216" y="3567"/>
                    </a:cubicBezTo>
                    <a:lnTo>
                      <a:pt x="23335" y="25805"/>
                    </a:lnTo>
                    <a:lnTo>
                      <a:pt x="79871" y="25805"/>
                    </a:lnTo>
                    <a:lnTo>
                      <a:pt x="90990" y="3567"/>
                    </a:lnTo>
                    <a:cubicBezTo>
                      <a:pt x="92599" y="369"/>
                      <a:pt x="96466" y="-906"/>
                      <a:pt x="99643" y="682"/>
                    </a:cubicBezTo>
                    <a:cubicBezTo>
                      <a:pt x="102820" y="2271"/>
                      <a:pt x="104116" y="6158"/>
                      <a:pt x="102527" y="9335"/>
                    </a:cubicBezTo>
                    <a:lnTo>
                      <a:pt x="89632" y="35148"/>
                    </a:lnTo>
                    <a:cubicBezTo>
                      <a:pt x="88503" y="37342"/>
                      <a:pt x="86287" y="38722"/>
                      <a:pt x="83842" y="38722"/>
                    </a:cubicBezTo>
                    <a:close/>
                  </a:path>
                </a:pathLst>
              </a:custGeom>
              <a:solidFill>
                <a:schemeClr val="tx2"/>
              </a:solidFill>
              <a:ln w="2086" cap="flat">
                <a:noFill/>
                <a:prstDash val="solid"/>
                <a:miter/>
              </a:ln>
            </p:spPr>
            <p:txBody>
              <a:bodyPr rtlCol="0" anchor="ctr"/>
              <a:lstStyle/>
              <a:p>
                <a:endParaRPr lang="en-GB" dirty="0"/>
              </a:p>
            </p:txBody>
          </p:sp>
          <p:sp>
            <p:nvSpPr>
              <p:cNvPr id="278" name="Freihandform: Form 826">
                <a:extLst>
                  <a:ext uri="{FF2B5EF4-FFF2-40B4-BE49-F238E27FC236}">
                    <a16:creationId xmlns:a16="http://schemas.microsoft.com/office/drawing/2014/main" id="{851EE73F-CE58-4D04-A6A6-DC9925EE9546}"/>
                  </a:ext>
                </a:extLst>
              </p:cNvPr>
              <p:cNvSpPr/>
              <p:nvPr/>
            </p:nvSpPr>
            <p:spPr>
              <a:xfrm>
                <a:off x="7119763" y="2039586"/>
                <a:ext cx="129040" cy="51624"/>
              </a:xfrm>
              <a:custGeom>
                <a:avLst/>
                <a:gdLst>
                  <a:gd name="connsiteX0" fmla="*/ 122582 w 129040"/>
                  <a:gd name="connsiteY0" fmla="*/ 51624 h 51624"/>
                  <a:gd name="connsiteX1" fmla="*/ 6458 w 129040"/>
                  <a:gd name="connsiteY1" fmla="*/ 51624 h 51624"/>
                  <a:gd name="connsiteX2" fmla="*/ 0 w 129040"/>
                  <a:gd name="connsiteY2" fmla="*/ 45166 h 51624"/>
                  <a:gd name="connsiteX3" fmla="*/ 0 w 129040"/>
                  <a:gd name="connsiteY3" fmla="*/ 6458 h 51624"/>
                  <a:gd name="connsiteX4" fmla="*/ 6458 w 129040"/>
                  <a:gd name="connsiteY4" fmla="*/ 0 h 51624"/>
                  <a:gd name="connsiteX5" fmla="*/ 12917 w 129040"/>
                  <a:gd name="connsiteY5" fmla="*/ 6458 h 51624"/>
                  <a:gd name="connsiteX6" fmla="*/ 12917 w 129040"/>
                  <a:gd name="connsiteY6" fmla="*/ 38708 h 51624"/>
                  <a:gd name="connsiteX7" fmla="*/ 116124 w 129040"/>
                  <a:gd name="connsiteY7" fmla="*/ 38708 h 51624"/>
                  <a:gd name="connsiteX8" fmla="*/ 116124 w 129040"/>
                  <a:gd name="connsiteY8" fmla="*/ 6458 h 51624"/>
                  <a:gd name="connsiteX9" fmla="*/ 122582 w 129040"/>
                  <a:gd name="connsiteY9" fmla="*/ 0 h 51624"/>
                  <a:gd name="connsiteX10" fmla="*/ 129040 w 129040"/>
                  <a:gd name="connsiteY10" fmla="*/ 6458 h 51624"/>
                  <a:gd name="connsiteX11" fmla="*/ 129040 w 129040"/>
                  <a:gd name="connsiteY11" fmla="*/ 45166 h 51624"/>
                  <a:gd name="connsiteX12" fmla="*/ 122582 w 129040"/>
                  <a:gd name="connsiteY12" fmla="*/ 51624 h 51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9040" h="51624">
                    <a:moveTo>
                      <a:pt x="122582" y="51624"/>
                    </a:moveTo>
                    <a:lnTo>
                      <a:pt x="6458" y="51624"/>
                    </a:lnTo>
                    <a:cubicBezTo>
                      <a:pt x="2884" y="51624"/>
                      <a:pt x="0" y="48740"/>
                      <a:pt x="0" y="45166"/>
                    </a:cubicBezTo>
                    <a:lnTo>
                      <a:pt x="0" y="6458"/>
                    </a:lnTo>
                    <a:cubicBezTo>
                      <a:pt x="0" y="2905"/>
                      <a:pt x="2884" y="0"/>
                      <a:pt x="6458" y="0"/>
                    </a:cubicBezTo>
                    <a:cubicBezTo>
                      <a:pt x="10032" y="0"/>
                      <a:pt x="12917" y="2884"/>
                      <a:pt x="12917" y="6458"/>
                    </a:cubicBezTo>
                    <a:lnTo>
                      <a:pt x="12917" y="38708"/>
                    </a:lnTo>
                    <a:lnTo>
                      <a:pt x="116124" y="38708"/>
                    </a:lnTo>
                    <a:lnTo>
                      <a:pt x="116124" y="6458"/>
                    </a:lnTo>
                    <a:cubicBezTo>
                      <a:pt x="116124" y="2905"/>
                      <a:pt x="119008" y="0"/>
                      <a:pt x="122582" y="0"/>
                    </a:cubicBezTo>
                    <a:cubicBezTo>
                      <a:pt x="126156" y="0"/>
                      <a:pt x="129040" y="2884"/>
                      <a:pt x="129040" y="6458"/>
                    </a:cubicBezTo>
                    <a:lnTo>
                      <a:pt x="129040" y="45166"/>
                    </a:lnTo>
                    <a:cubicBezTo>
                      <a:pt x="129040" y="48740"/>
                      <a:pt x="126156" y="51624"/>
                      <a:pt x="122582" y="51624"/>
                    </a:cubicBezTo>
                    <a:close/>
                  </a:path>
                </a:pathLst>
              </a:custGeom>
              <a:solidFill>
                <a:schemeClr val="tx2"/>
              </a:solidFill>
              <a:ln w="2086" cap="flat">
                <a:noFill/>
                <a:prstDash val="solid"/>
                <a:miter/>
              </a:ln>
            </p:spPr>
            <p:txBody>
              <a:bodyPr rtlCol="0" anchor="ctr"/>
              <a:lstStyle/>
              <a:p>
                <a:endParaRPr lang="en-GB" dirty="0"/>
              </a:p>
            </p:txBody>
          </p:sp>
        </p:grpSp>
      </p:grpSp>
      <p:grpSp>
        <p:nvGrpSpPr>
          <p:cNvPr id="45" name="Group 44">
            <a:extLst>
              <a:ext uri="{FF2B5EF4-FFF2-40B4-BE49-F238E27FC236}">
                <a16:creationId xmlns:a16="http://schemas.microsoft.com/office/drawing/2014/main" id="{3A53949F-A756-493C-77B5-73D9F3E31B64}"/>
              </a:ext>
            </a:extLst>
          </p:cNvPr>
          <p:cNvGrpSpPr/>
          <p:nvPr/>
        </p:nvGrpSpPr>
        <p:grpSpPr>
          <a:xfrm>
            <a:off x="2681352" y="4002614"/>
            <a:ext cx="407130" cy="432000"/>
            <a:chOff x="2681352" y="4002614"/>
            <a:chExt cx="407130" cy="432000"/>
          </a:xfrm>
        </p:grpSpPr>
        <p:grpSp>
          <p:nvGrpSpPr>
            <p:cNvPr id="280" name="Group 279">
              <a:extLst>
                <a:ext uri="{FF2B5EF4-FFF2-40B4-BE49-F238E27FC236}">
                  <a16:creationId xmlns:a16="http://schemas.microsoft.com/office/drawing/2014/main" id="{8865AD6F-E100-4667-B7F1-D65570E74814}"/>
                </a:ext>
              </a:extLst>
            </p:cNvPr>
            <p:cNvGrpSpPr/>
            <p:nvPr/>
          </p:nvGrpSpPr>
          <p:grpSpPr>
            <a:xfrm>
              <a:off x="2681352" y="4002614"/>
              <a:ext cx="407130" cy="432000"/>
              <a:chOff x="1702433" y="3403697"/>
              <a:chExt cx="429568" cy="455809"/>
            </a:xfrm>
            <a:solidFill>
              <a:schemeClr val="tx2"/>
            </a:solidFill>
          </p:grpSpPr>
          <p:grpSp>
            <p:nvGrpSpPr>
              <p:cNvPr id="282" name="Graphic 4">
                <a:extLst>
                  <a:ext uri="{FF2B5EF4-FFF2-40B4-BE49-F238E27FC236}">
                    <a16:creationId xmlns:a16="http://schemas.microsoft.com/office/drawing/2014/main" id="{3D1D1046-D468-4A25-9F18-F0D158474F28}"/>
                  </a:ext>
                </a:extLst>
              </p:cNvPr>
              <p:cNvGrpSpPr/>
              <p:nvPr/>
            </p:nvGrpSpPr>
            <p:grpSpPr>
              <a:xfrm>
                <a:off x="1995292" y="3580676"/>
                <a:ext cx="97780" cy="181113"/>
                <a:chOff x="1995292" y="3580676"/>
                <a:chExt cx="97780" cy="181113"/>
              </a:xfrm>
              <a:grpFill/>
            </p:grpSpPr>
            <p:sp>
              <p:nvSpPr>
                <p:cNvPr id="293" name="Freihandform: Form 167">
                  <a:extLst>
                    <a:ext uri="{FF2B5EF4-FFF2-40B4-BE49-F238E27FC236}">
                      <a16:creationId xmlns:a16="http://schemas.microsoft.com/office/drawing/2014/main" id="{D95ACC09-B1F4-42BD-8C4A-C1C34ED65583}"/>
                    </a:ext>
                  </a:extLst>
                </p:cNvPr>
                <p:cNvSpPr/>
                <p:nvPr/>
              </p:nvSpPr>
              <p:spPr>
                <a:xfrm>
                  <a:off x="2006399" y="3581140"/>
                  <a:ext cx="75560" cy="180546"/>
                </a:xfrm>
                <a:custGeom>
                  <a:avLst/>
                  <a:gdLst>
                    <a:gd name="connsiteX0" fmla="*/ 68564 w 75560"/>
                    <a:gd name="connsiteY0" fmla="*/ 180546 h 180546"/>
                    <a:gd name="connsiteX1" fmla="*/ 6996 w 75560"/>
                    <a:gd name="connsiteY1" fmla="*/ 180546 h 180546"/>
                    <a:gd name="connsiteX2" fmla="*/ 0 w 75560"/>
                    <a:gd name="connsiteY2" fmla="*/ 173550 h 180546"/>
                    <a:gd name="connsiteX3" fmla="*/ 0 w 75560"/>
                    <a:gd name="connsiteY3" fmla="*/ 6996 h 180546"/>
                    <a:gd name="connsiteX4" fmla="*/ 6996 w 75560"/>
                    <a:gd name="connsiteY4" fmla="*/ 0 h 180546"/>
                    <a:gd name="connsiteX5" fmla="*/ 68564 w 75560"/>
                    <a:gd name="connsiteY5" fmla="*/ 0 h 180546"/>
                    <a:gd name="connsiteX6" fmla="*/ 75560 w 75560"/>
                    <a:gd name="connsiteY6" fmla="*/ 6996 h 180546"/>
                    <a:gd name="connsiteX7" fmla="*/ 75560 w 75560"/>
                    <a:gd name="connsiteY7" fmla="*/ 173550 h 180546"/>
                    <a:gd name="connsiteX8" fmla="*/ 68564 w 75560"/>
                    <a:gd name="connsiteY8" fmla="*/ 180546 h 180546"/>
                    <a:gd name="connsiteX9" fmla="*/ 13992 w 75560"/>
                    <a:gd name="connsiteY9" fmla="*/ 166558 h 180546"/>
                    <a:gd name="connsiteX10" fmla="*/ 61568 w 75560"/>
                    <a:gd name="connsiteY10" fmla="*/ 166558 h 180546"/>
                    <a:gd name="connsiteX11" fmla="*/ 61568 w 75560"/>
                    <a:gd name="connsiteY11" fmla="*/ 13992 h 180546"/>
                    <a:gd name="connsiteX12" fmla="*/ 13992 w 75560"/>
                    <a:gd name="connsiteY12" fmla="*/ 13992 h 180546"/>
                    <a:gd name="connsiteX13" fmla="*/ 13992 w 75560"/>
                    <a:gd name="connsiteY13" fmla="*/ 166558 h 18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560" h="180546">
                      <a:moveTo>
                        <a:pt x="68564" y="180546"/>
                      </a:moveTo>
                      <a:lnTo>
                        <a:pt x="6996" y="180546"/>
                      </a:lnTo>
                      <a:cubicBezTo>
                        <a:pt x="3132" y="180546"/>
                        <a:pt x="0" y="177418"/>
                        <a:pt x="0" y="173550"/>
                      </a:cubicBezTo>
                      <a:lnTo>
                        <a:pt x="0" y="6996"/>
                      </a:lnTo>
                      <a:cubicBezTo>
                        <a:pt x="0" y="3128"/>
                        <a:pt x="3132" y="0"/>
                        <a:pt x="6996" y="0"/>
                      </a:cubicBezTo>
                      <a:lnTo>
                        <a:pt x="68564" y="0"/>
                      </a:lnTo>
                      <a:cubicBezTo>
                        <a:pt x="72428" y="0"/>
                        <a:pt x="75560" y="3128"/>
                        <a:pt x="75560" y="6996"/>
                      </a:cubicBezTo>
                      <a:lnTo>
                        <a:pt x="75560" y="173550"/>
                      </a:lnTo>
                      <a:cubicBezTo>
                        <a:pt x="75560" y="177418"/>
                        <a:pt x="72428" y="180546"/>
                        <a:pt x="68564" y="180546"/>
                      </a:cubicBezTo>
                      <a:close/>
                      <a:moveTo>
                        <a:pt x="13992" y="166558"/>
                      </a:moveTo>
                      <a:lnTo>
                        <a:pt x="61568" y="166558"/>
                      </a:lnTo>
                      <a:lnTo>
                        <a:pt x="61568" y="13992"/>
                      </a:lnTo>
                      <a:lnTo>
                        <a:pt x="13992" y="13992"/>
                      </a:lnTo>
                      <a:lnTo>
                        <a:pt x="13992" y="166558"/>
                      </a:lnTo>
                      <a:close/>
                    </a:path>
                  </a:pathLst>
                </a:custGeom>
                <a:grpFill/>
                <a:ln w="368" cap="flat">
                  <a:noFill/>
                  <a:prstDash val="solid"/>
                  <a:miter/>
                </a:ln>
              </p:spPr>
              <p:txBody>
                <a:bodyPr rtlCol="0" anchor="ctr"/>
                <a:lstStyle/>
                <a:p>
                  <a:endParaRPr lang="en-GB" dirty="0"/>
                </a:p>
              </p:txBody>
            </p:sp>
            <p:sp>
              <p:nvSpPr>
                <p:cNvPr id="294" name="Freihandform: Form 168">
                  <a:extLst>
                    <a:ext uri="{FF2B5EF4-FFF2-40B4-BE49-F238E27FC236}">
                      <a16:creationId xmlns:a16="http://schemas.microsoft.com/office/drawing/2014/main" id="{7C9BBFC7-1324-4002-8C5C-83B037B105FD}"/>
                    </a:ext>
                  </a:extLst>
                </p:cNvPr>
                <p:cNvSpPr/>
                <p:nvPr/>
              </p:nvSpPr>
              <p:spPr>
                <a:xfrm>
                  <a:off x="1995292" y="3747797"/>
                  <a:ext cx="97780" cy="13991"/>
                </a:xfrm>
                <a:custGeom>
                  <a:avLst/>
                  <a:gdLst>
                    <a:gd name="connsiteX0" fmla="*/ 90785 w 97780"/>
                    <a:gd name="connsiteY0" fmla="*/ 13992 h 13991"/>
                    <a:gd name="connsiteX1" fmla="*/ 6996 w 97780"/>
                    <a:gd name="connsiteY1" fmla="*/ 13992 h 13991"/>
                    <a:gd name="connsiteX2" fmla="*/ 0 w 97780"/>
                    <a:gd name="connsiteY2" fmla="*/ 6996 h 13991"/>
                    <a:gd name="connsiteX3" fmla="*/ 6996 w 97780"/>
                    <a:gd name="connsiteY3" fmla="*/ 0 h 13991"/>
                    <a:gd name="connsiteX4" fmla="*/ 90785 w 97780"/>
                    <a:gd name="connsiteY4" fmla="*/ 0 h 13991"/>
                    <a:gd name="connsiteX5" fmla="*/ 97781 w 97780"/>
                    <a:gd name="connsiteY5" fmla="*/ 6996 h 13991"/>
                    <a:gd name="connsiteX6" fmla="*/ 90785 w 97780"/>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80" h="13991">
                      <a:moveTo>
                        <a:pt x="90785" y="13992"/>
                      </a:moveTo>
                      <a:lnTo>
                        <a:pt x="6996" y="13992"/>
                      </a:lnTo>
                      <a:cubicBezTo>
                        <a:pt x="3132" y="13992"/>
                        <a:pt x="0" y="10864"/>
                        <a:pt x="0" y="6996"/>
                      </a:cubicBezTo>
                      <a:cubicBezTo>
                        <a:pt x="0" y="3128"/>
                        <a:pt x="3132" y="0"/>
                        <a:pt x="6996" y="0"/>
                      </a:cubicBezTo>
                      <a:lnTo>
                        <a:pt x="90785" y="0"/>
                      </a:lnTo>
                      <a:cubicBezTo>
                        <a:pt x="94649" y="0"/>
                        <a:pt x="97781" y="3128"/>
                        <a:pt x="97781" y="6996"/>
                      </a:cubicBezTo>
                      <a:cubicBezTo>
                        <a:pt x="97781" y="10864"/>
                        <a:pt x="94649" y="13992"/>
                        <a:pt x="90785" y="13992"/>
                      </a:cubicBezTo>
                      <a:close/>
                    </a:path>
                  </a:pathLst>
                </a:custGeom>
                <a:grpFill/>
                <a:ln w="368" cap="flat">
                  <a:noFill/>
                  <a:prstDash val="solid"/>
                  <a:miter/>
                </a:ln>
              </p:spPr>
              <p:txBody>
                <a:bodyPr rtlCol="0" anchor="ctr"/>
                <a:lstStyle/>
                <a:p>
                  <a:endParaRPr lang="en-GB" dirty="0"/>
                </a:p>
              </p:txBody>
            </p:sp>
            <p:sp>
              <p:nvSpPr>
                <p:cNvPr id="295" name="Freihandform: Form 169">
                  <a:extLst>
                    <a:ext uri="{FF2B5EF4-FFF2-40B4-BE49-F238E27FC236}">
                      <a16:creationId xmlns:a16="http://schemas.microsoft.com/office/drawing/2014/main" id="{02F2A616-2696-4643-9B07-00B0F72EE8D8}"/>
                    </a:ext>
                  </a:extLst>
                </p:cNvPr>
                <p:cNvSpPr/>
                <p:nvPr/>
              </p:nvSpPr>
              <p:spPr>
                <a:xfrm>
                  <a:off x="1995292" y="3580676"/>
                  <a:ext cx="97780" cy="13991"/>
                </a:xfrm>
                <a:custGeom>
                  <a:avLst/>
                  <a:gdLst>
                    <a:gd name="connsiteX0" fmla="*/ 90785 w 97780"/>
                    <a:gd name="connsiteY0" fmla="*/ 13992 h 13991"/>
                    <a:gd name="connsiteX1" fmla="*/ 6996 w 97780"/>
                    <a:gd name="connsiteY1" fmla="*/ 13992 h 13991"/>
                    <a:gd name="connsiteX2" fmla="*/ 0 w 97780"/>
                    <a:gd name="connsiteY2" fmla="*/ 6996 h 13991"/>
                    <a:gd name="connsiteX3" fmla="*/ 6996 w 97780"/>
                    <a:gd name="connsiteY3" fmla="*/ 0 h 13991"/>
                    <a:gd name="connsiteX4" fmla="*/ 90785 w 97780"/>
                    <a:gd name="connsiteY4" fmla="*/ 0 h 13991"/>
                    <a:gd name="connsiteX5" fmla="*/ 97781 w 97780"/>
                    <a:gd name="connsiteY5" fmla="*/ 6996 h 13991"/>
                    <a:gd name="connsiteX6" fmla="*/ 90785 w 97780"/>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80" h="13991">
                      <a:moveTo>
                        <a:pt x="90785" y="13992"/>
                      </a:moveTo>
                      <a:lnTo>
                        <a:pt x="6996" y="13992"/>
                      </a:lnTo>
                      <a:cubicBezTo>
                        <a:pt x="3132" y="13992"/>
                        <a:pt x="0" y="10864"/>
                        <a:pt x="0" y="6996"/>
                      </a:cubicBezTo>
                      <a:cubicBezTo>
                        <a:pt x="0" y="3128"/>
                        <a:pt x="3132" y="0"/>
                        <a:pt x="6996" y="0"/>
                      </a:cubicBezTo>
                      <a:lnTo>
                        <a:pt x="90785" y="0"/>
                      </a:lnTo>
                      <a:cubicBezTo>
                        <a:pt x="94649" y="0"/>
                        <a:pt x="97781" y="3128"/>
                        <a:pt x="97781" y="6996"/>
                      </a:cubicBezTo>
                      <a:cubicBezTo>
                        <a:pt x="97781" y="10864"/>
                        <a:pt x="94649" y="13992"/>
                        <a:pt x="90785" y="13992"/>
                      </a:cubicBezTo>
                      <a:close/>
                    </a:path>
                  </a:pathLst>
                </a:custGeom>
                <a:grpFill/>
                <a:ln w="368" cap="flat">
                  <a:noFill/>
                  <a:prstDash val="solid"/>
                  <a:miter/>
                </a:ln>
              </p:spPr>
              <p:txBody>
                <a:bodyPr rtlCol="0" anchor="ctr"/>
                <a:lstStyle/>
                <a:p>
                  <a:endParaRPr lang="en-GB" dirty="0"/>
                </a:p>
              </p:txBody>
            </p:sp>
          </p:grpSp>
          <p:sp>
            <p:nvSpPr>
              <p:cNvPr id="283" name="Freihandform: Form 170">
                <a:extLst>
                  <a:ext uri="{FF2B5EF4-FFF2-40B4-BE49-F238E27FC236}">
                    <a16:creationId xmlns:a16="http://schemas.microsoft.com/office/drawing/2014/main" id="{F598758D-7275-43B1-B7C8-66FBC21E8CCD}"/>
                  </a:ext>
                </a:extLst>
              </p:cNvPr>
              <p:cNvSpPr/>
              <p:nvPr/>
            </p:nvSpPr>
            <p:spPr>
              <a:xfrm>
                <a:off x="1718923" y="3779181"/>
                <a:ext cx="396590" cy="14260"/>
              </a:xfrm>
              <a:custGeom>
                <a:avLst/>
                <a:gdLst>
                  <a:gd name="connsiteX0" fmla="*/ 198104 w 396590"/>
                  <a:gd name="connsiteY0" fmla="*/ 14260 h 14260"/>
                  <a:gd name="connsiteX1" fmla="*/ 6985 w 396590"/>
                  <a:gd name="connsiteY1" fmla="*/ 13988 h 14260"/>
                  <a:gd name="connsiteX2" fmla="*/ 0 w 396590"/>
                  <a:gd name="connsiteY2" fmla="*/ 6989 h 14260"/>
                  <a:gd name="connsiteX3" fmla="*/ 6996 w 396590"/>
                  <a:gd name="connsiteY3" fmla="*/ 0 h 14260"/>
                  <a:gd name="connsiteX4" fmla="*/ 7007 w 396590"/>
                  <a:gd name="connsiteY4" fmla="*/ 0 h 14260"/>
                  <a:gd name="connsiteX5" fmla="*/ 198108 w 396590"/>
                  <a:gd name="connsiteY5" fmla="*/ 272 h 14260"/>
                  <a:gd name="connsiteX6" fmla="*/ 389584 w 396590"/>
                  <a:gd name="connsiteY6" fmla="*/ 0 h 14260"/>
                  <a:gd name="connsiteX7" fmla="*/ 389595 w 396590"/>
                  <a:gd name="connsiteY7" fmla="*/ 0 h 14260"/>
                  <a:gd name="connsiteX8" fmla="*/ 396591 w 396590"/>
                  <a:gd name="connsiteY8" fmla="*/ 6989 h 14260"/>
                  <a:gd name="connsiteX9" fmla="*/ 389606 w 396590"/>
                  <a:gd name="connsiteY9" fmla="*/ 13988 h 14260"/>
                  <a:gd name="connsiteX10" fmla="*/ 198104 w 396590"/>
                  <a:gd name="connsiteY10" fmla="*/ 14260 h 14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6590" h="14260">
                    <a:moveTo>
                      <a:pt x="198104" y="14260"/>
                    </a:moveTo>
                    <a:lnTo>
                      <a:pt x="6985" y="13988"/>
                    </a:lnTo>
                    <a:cubicBezTo>
                      <a:pt x="3121" y="13981"/>
                      <a:pt x="-7" y="10845"/>
                      <a:pt x="0" y="6989"/>
                    </a:cubicBezTo>
                    <a:cubicBezTo>
                      <a:pt x="7" y="3132"/>
                      <a:pt x="3135" y="0"/>
                      <a:pt x="6996" y="0"/>
                    </a:cubicBezTo>
                    <a:cubicBezTo>
                      <a:pt x="7000" y="0"/>
                      <a:pt x="7003" y="0"/>
                      <a:pt x="7007" y="0"/>
                    </a:cubicBezTo>
                    <a:lnTo>
                      <a:pt x="198108" y="272"/>
                    </a:lnTo>
                    <a:lnTo>
                      <a:pt x="389584" y="0"/>
                    </a:lnTo>
                    <a:cubicBezTo>
                      <a:pt x="389588" y="0"/>
                      <a:pt x="389591" y="0"/>
                      <a:pt x="389595" y="0"/>
                    </a:cubicBezTo>
                    <a:cubicBezTo>
                      <a:pt x="393455" y="0"/>
                      <a:pt x="396584" y="3121"/>
                      <a:pt x="396591" y="6989"/>
                    </a:cubicBezTo>
                    <a:cubicBezTo>
                      <a:pt x="396598" y="10849"/>
                      <a:pt x="393470" y="13984"/>
                      <a:pt x="389606" y="13988"/>
                    </a:cubicBezTo>
                    <a:lnTo>
                      <a:pt x="198104" y="14260"/>
                    </a:lnTo>
                    <a:close/>
                  </a:path>
                </a:pathLst>
              </a:custGeom>
              <a:grpFill/>
              <a:ln w="368" cap="flat">
                <a:noFill/>
                <a:prstDash val="solid"/>
                <a:miter/>
              </a:ln>
            </p:spPr>
            <p:txBody>
              <a:bodyPr rtlCol="0" anchor="ctr"/>
              <a:lstStyle/>
              <a:p>
                <a:endParaRPr lang="en-GB" dirty="0"/>
              </a:p>
            </p:txBody>
          </p:sp>
          <p:sp>
            <p:nvSpPr>
              <p:cNvPr id="284" name="Freihandform: Form 171">
                <a:extLst>
                  <a:ext uri="{FF2B5EF4-FFF2-40B4-BE49-F238E27FC236}">
                    <a16:creationId xmlns:a16="http://schemas.microsoft.com/office/drawing/2014/main" id="{D50D4A11-8DF5-4B04-B9DA-943294C89480}"/>
                  </a:ext>
                </a:extLst>
              </p:cNvPr>
              <p:cNvSpPr/>
              <p:nvPr/>
            </p:nvSpPr>
            <p:spPr>
              <a:xfrm>
                <a:off x="1702433" y="3812449"/>
                <a:ext cx="429568" cy="47057"/>
              </a:xfrm>
              <a:custGeom>
                <a:avLst/>
                <a:gdLst>
                  <a:gd name="connsiteX0" fmla="*/ 422573 w 429568"/>
                  <a:gd name="connsiteY0" fmla="*/ 47057 h 47057"/>
                  <a:gd name="connsiteX1" fmla="*/ 6996 w 429568"/>
                  <a:gd name="connsiteY1" fmla="*/ 47057 h 47057"/>
                  <a:gd name="connsiteX2" fmla="*/ 0 w 429568"/>
                  <a:gd name="connsiteY2" fmla="*/ 40062 h 47057"/>
                  <a:gd name="connsiteX3" fmla="*/ 0 w 429568"/>
                  <a:gd name="connsiteY3" fmla="*/ 6996 h 47057"/>
                  <a:gd name="connsiteX4" fmla="*/ 6996 w 429568"/>
                  <a:gd name="connsiteY4" fmla="*/ 0 h 47057"/>
                  <a:gd name="connsiteX5" fmla="*/ 422573 w 429568"/>
                  <a:gd name="connsiteY5" fmla="*/ 0 h 47057"/>
                  <a:gd name="connsiteX6" fmla="*/ 429568 w 429568"/>
                  <a:gd name="connsiteY6" fmla="*/ 6996 h 47057"/>
                  <a:gd name="connsiteX7" fmla="*/ 429568 w 429568"/>
                  <a:gd name="connsiteY7" fmla="*/ 40062 h 47057"/>
                  <a:gd name="connsiteX8" fmla="*/ 422573 w 429568"/>
                  <a:gd name="connsiteY8" fmla="*/ 47057 h 47057"/>
                  <a:gd name="connsiteX9" fmla="*/ 13988 w 429568"/>
                  <a:gd name="connsiteY9" fmla="*/ 33069 h 47057"/>
                  <a:gd name="connsiteX10" fmla="*/ 415577 w 429568"/>
                  <a:gd name="connsiteY10" fmla="*/ 33069 h 47057"/>
                  <a:gd name="connsiteX11" fmla="*/ 415577 w 429568"/>
                  <a:gd name="connsiteY11" fmla="*/ 13992 h 47057"/>
                  <a:gd name="connsiteX12" fmla="*/ 13988 w 429568"/>
                  <a:gd name="connsiteY12" fmla="*/ 13992 h 47057"/>
                  <a:gd name="connsiteX13" fmla="*/ 13988 w 429568"/>
                  <a:gd name="connsiteY13" fmla="*/ 33069 h 47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9568" h="47057">
                    <a:moveTo>
                      <a:pt x="422573" y="47057"/>
                    </a:moveTo>
                    <a:lnTo>
                      <a:pt x="6996" y="47057"/>
                    </a:lnTo>
                    <a:cubicBezTo>
                      <a:pt x="3132" y="47057"/>
                      <a:pt x="0" y="43929"/>
                      <a:pt x="0" y="40062"/>
                    </a:cubicBezTo>
                    <a:lnTo>
                      <a:pt x="0" y="6996"/>
                    </a:lnTo>
                    <a:cubicBezTo>
                      <a:pt x="0" y="3132"/>
                      <a:pt x="3132" y="0"/>
                      <a:pt x="6996" y="0"/>
                    </a:cubicBezTo>
                    <a:lnTo>
                      <a:pt x="422573" y="0"/>
                    </a:lnTo>
                    <a:cubicBezTo>
                      <a:pt x="426437" y="0"/>
                      <a:pt x="429568" y="3128"/>
                      <a:pt x="429568" y="6996"/>
                    </a:cubicBezTo>
                    <a:lnTo>
                      <a:pt x="429568" y="40062"/>
                    </a:lnTo>
                    <a:cubicBezTo>
                      <a:pt x="429565" y="43929"/>
                      <a:pt x="426433" y="47057"/>
                      <a:pt x="422573" y="47057"/>
                    </a:cubicBezTo>
                    <a:close/>
                    <a:moveTo>
                      <a:pt x="13988" y="33069"/>
                    </a:moveTo>
                    <a:lnTo>
                      <a:pt x="415577" y="33069"/>
                    </a:lnTo>
                    <a:lnTo>
                      <a:pt x="415577" y="13992"/>
                    </a:lnTo>
                    <a:lnTo>
                      <a:pt x="13988" y="13992"/>
                    </a:lnTo>
                    <a:lnTo>
                      <a:pt x="13988" y="33069"/>
                    </a:lnTo>
                    <a:close/>
                  </a:path>
                </a:pathLst>
              </a:custGeom>
              <a:grpFill/>
              <a:ln w="368" cap="flat">
                <a:noFill/>
                <a:prstDash val="solid"/>
                <a:miter/>
              </a:ln>
            </p:spPr>
            <p:txBody>
              <a:bodyPr rtlCol="0" anchor="ctr"/>
              <a:lstStyle/>
              <a:p>
                <a:endParaRPr lang="en-GB" dirty="0"/>
              </a:p>
            </p:txBody>
          </p:sp>
          <p:grpSp>
            <p:nvGrpSpPr>
              <p:cNvPr id="285" name="Graphic 4">
                <a:extLst>
                  <a:ext uri="{FF2B5EF4-FFF2-40B4-BE49-F238E27FC236}">
                    <a16:creationId xmlns:a16="http://schemas.microsoft.com/office/drawing/2014/main" id="{C745DDC7-3D1C-47C9-BE11-4BC39E73B6A1}"/>
                  </a:ext>
                </a:extLst>
              </p:cNvPr>
              <p:cNvGrpSpPr/>
              <p:nvPr/>
            </p:nvGrpSpPr>
            <p:grpSpPr>
              <a:xfrm>
                <a:off x="1869039" y="3580676"/>
                <a:ext cx="97776" cy="181113"/>
                <a:chOff x="1869039" y="3580676"/>
                <a:chExt cx="97776" cy="181113"/>
              </a:xfrm>
              <a:grpFill/>
            </p:grpSpPr>
            <p:sp>
              <p:nvSpPr>
                <p:cNvPr id="290" name="Freihandform: Form 173">
                  <a:extLst>
                    <a:ext uri="{FF2B5EF4-FFF2-40B4-BE49-F238E27FC236}">
                      <a16:creationId xmlns:a16="http://schemas.microsoft.com/office/drawing/2014/main" id="{7DB1E836-F290-4D06-9AFC-6D5A97282502}"/>
                    </a:ext>
                  </a:extLst>
                </p:cNvPr>
                <p:cNvSpPr/>
                <p:nvPr/>
              </p:nvSpPr>
              <p:spPr>
                <a:xfrm>
                  <a:off x="1880145" y="3581140"/>
                  <a:ext cx="75559" cy="180546"/>
                </a:xfrm>
                <a:custGeom>
                  <a:avLst/>
                  <a:gdLst>
                    <a:gd name="connsiteX0" fmla="*/ 68564 w 75559"/>
                    <a:gd name="connsiteY0" fmla="*/ 180546 h 180546"/>
                    <a:gd name="connsiteX1" fmla="*/ 6996 w 75559"/>
                    <a:gd name="connsiteY1" fmla="*/ 180546 h 180546"/>
                    <a:gd name="connsiteX2" fmla="*/ 0 w 75559"/>
                    <a:gd name="connsiteY2" fmla="*/ 173550 h 180546"/>
                    <a:gd name="connsiteX3" fmla="*/ 0 w 75559"/>
                    <a:gd name="connsiteY3" fmla="*/ 6996 h 180546"/>
                    <a:gd name="connsiteX4" fmla="*/ 6996 w 75559"/>
                    <a:gd name="connsiteY4" fmla="*/ 0 h 180546"/>
                    <a:gd name="connsiteX5" fmla="*/ 68564 w 75559"/>
                    <a:gd name="connsiteY5" fmla="*/ 0 h 180546"/>
                    <a:gd name="connsiteX6" fmla="*/ 75560 w 75559"/>
                    <a:gd name="connsiteY6" fmla="*/ 6996 h 180546"/>
                    <a:gd name="connsiteX7" fmla="*/ 75560 w 75559"/>
                    <a:gd name="connsiteY7" fmla="*/ 173550 h 180546"/>
                    <a:gd name="connsiteX8" fmla="*/ 68564 w 75559"/>
                    <a:gd name="connsiteY8" fmla="*/ 180546 h 180546"/>
                    <a:gd name="connsiteX9" fmla="*/ 13992 w 75559"/>
                    <a:gd name="connsiteY9" fmla="*/ 166558 h 180546"/>
                    <a:gd name="connsiteX10" fmla="*/ 61568 w 75559"/>
                    <a:gd name="connsiteY10" fmla="*/ 166558 h 180546"/>
                    <a:gd name="connsiteX11" fmla="*/ 61568 w 75559"/>
                    <a:gd name="connsiteY11" fmla="*/ 13992 h 180546"/>
                    <a:gd name="connsiteX12" fmla="*/ 13992 w 75559"/>
                    <a:gd name="connsiteY12" fmla="*/ 13992 h 180546"/>
                    <a:gd name="connsiteX13" fmla="*/ 13992 w 75559"/>
                    <a:gd name="connsiteY13" fmla="*/ 166558 h 180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559" h="180546">
                      <a:moveTo>
                        <a:pt x="68564" y="180546"/>
                      </a:moveTo>
                      <a:lnTo>
                        <a:pt x="6996" y="180546"/>
                      </a:lnTo>
                      <a:cubicBezTo>
                        <a:pt x="3132" y="180546"/>
                        <a:pt x="0" y="177418"/>
                        <a:pt x="0" y="173550"/>
                      </a:cubicBezTo>
                      <a:lnTo>
                        <a:pt x="0" y="6996"/>
                      </a:lnTo>
                      <a:cubicBezTo>
                        <a:pt x="0" y="3128"/>
                        <a:pt x="3132" y="0"/>
                        <a:pt x="6996" y="0"/>
                      </a:cubicBezTo>
                      <a:lnTo>
                        <a:pt x="68564" y="0"/>
                      </a:lnTo>
                      <a:cubicBezTo>
                        <a:pt x="72428" y="0"/>
                        <a:pt x="75560" y="3128"/>
                        <a:pt x="75560" y="6996"/>
                      </a:cubicBezTo>
                      <a:lnTo>
                        <a:pt x="75560" y="173550"/>
                      </a:lnTo>
                      <a:cubicBezTo>
                        <a:pt x="75560" y="177418"/>
                        <a:pt x="72428" y="180546"/>
                        <a:pt x="68564" y="180546"/>
                      </a:cubicBezTo>
                      <a:close/>
                      <a:moveTo>
                        <a:pt x="13992" y="166558"/>
                      </a:moveTo>
                      <a:lnTo>
                        <a:pt x="61568" y="166558"/>
                      </a:lnTo>
                      <a:lnTo>
                        <a:pt x="61568" y="13992"/>
                      </a:lnTo>
                      <a:lnTo>
                        <a:pt x="13992" y="13992"/>
                      </a:lnTo>
                      <a:lnTo>
                        <a:pt x="13992" y="166558"/>
                      </a:lnTo>
                      <a:close/>
                    </a:path>
                  </a:pathLst>
                </a:custGeom>
                <a:grpFill/>
                <a:ln w="368" cap="flat">
                  <a:noFill/>
                  <a:prstDash val="solid"/>
                  <a:miter/>
                </a:ln>
              </p:spPr>
              <p:txBody>
                <a:bodyPr rtlCol="0" anchor="ctr"/>
                <a:lstStyle/>
                <a:p>
                  <a:endParaRPr lang="en-GB" dirty="0"/>
                </a:p>
              </p:txBody>
            </p:sp>
            <p:sp>
              <p:nvSpPr>
                <p:cNvPr id="291" name="Freihandform: Form 174">
                  <a:extLst>
                    <a:ext uri="{FF2B5EF4-FFF2-40B4-BE49-F238E27FC236}">
                      <a16:creationId xmlns:a16="http://schemas.microsoft.com/office/drawing/2014/main" id="{D1280D9B-3662-441F-AF86-486FFB44F569}"/>
                    </a:ext>
                  </a:extLst>
                </p:cNvPr>
                <p:cNvSpPr/>
                <p:nvPr/>
              </p:nvSpPr>
              <p:spPr>
                <a:xfrm>
                  <a:off x="1869039" y="3747797"/>
                  <a:ext cx="97776" cy="13991"/>
                </a:xfrm>
                <a:custGeom>
                  <a:avLst/>
                  <a:gdLst>
                    <a:gd name="connsiteX0" fmla="*/ 90781 w 97776"/>
                    <a:gd name="connsiteY0" fmla="*/ 13992 h 13991"/>
                    <a:gd name="connsiteX1" fmla="*/ 6996 w 97776"/>
                    <a:gd name="connsiteY1" fmla="*/ 13992 h 13991"/>
                    <a:gd name="connsiteX2" fmla="*/ 0 w 97776"/>
                    <a:gd name="connsiteY2" fmla="*/ 6996 h 13991"/>
                    <a:gd name="connsiteX3" fmla="*/ 6996 w 97776"/>
                    <a:gd name="connsiteY3" fmla="*/ 0 h 13991"/>
                    <a:gd name="connsiteX4" fmla="*/ 90781 w 97776"/>
                    <a:gd name="connsiteY4" fmla="*/ 0 h 13991"/>
                    <a:gd name="connsiteX5" fmla="*/ 97777 w 97776"/>
                    <a:gd name="connsiteY5" fmla="*/ 6996 h 13991"/>
                    <a:gd name="connsiteX6" fmla="*/ 90781 w 97776"/>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76" h="13991">
                      <a:moveTo>
                        <a:pt x="90781" y="13992"/>
                      </a:moveTo>
                      <a:lnTo>
                        <a:pt x="6996" y="13992"/>
                      </a:lnTo>
                      <a:cubicBezTo>
                        <a:pt x="3132" y="13992"/>
                        <a:pt x="0" y="10864"/>
                        <a:pt x="0" y="6996"/>
                      </a:cubicBezTo>
                      <a:cubicBezTo>
                        <a:pt x="0" y="3128"/>
                        <a:pt x="3132" y="0"/>
                        <a:pt x="6996" y="0"/>
                      </a:cubicBezTo>
                      <a:lnTo>
                        <a:pt x="90781" y="0"/>
                      </a:lnTo>
                      <a:cubicBezTo>
                        <a:pt x="94645" y="0"/>
                        <a:pt x="97777" y="3128"/>
                        <a:pt x="97777" y="6996"/>
                      </a:cubicBezTo>
                      <a:cubicBezTo>
                        <a:pt x="97777" y="10864"/>
                        <a:pt x="94642" y="13992"/>
                        <a:pt x="90781" y="13992"/>
                      </a:cubicBezTo>
                      <a:close/>
                    </a:path>
                  </a:pathLst>
                </a:custGeom>
                <a:grpFill/>
                <a:ln w="368" cap="flat">
                  <a:noFill/>
                  <a:prstDash val="solid"/>
                  <a:miter/>
                </a:ln>
              </p:spPr>
              <p:txBody>
                <a:bodyPr rtlCol="0" anchor="ctr"/>
                <a:lstStyle/>
                <a:p>
                  <a:endParaRPr lang="en-GB" dirty="0"/>
                </a:p>
              </p:txBody>
            </p:sp>
            <p:sp>
              <p:nvSpPr>
                <p:cNvPr id="292" name="Freihandform: Form 175">
                  <a:extLst>
                    <a:ext uri="{FF2B5EF4-FFF2-40B4-BE49-F238E27FC236}">
                      <a16:creationId xmlns:a16="http://schemas.microsoft.com/office/drawing/2014/main" id="{69EE4E62-C5B5-4240-BD06-ABC0228C1326}"/>
                    </a:ext>
                  </a:extLst>
                </p:cNvPr>
                <p:cNvSpPr/>
                <p:nvPr/>
              </p:nvSpPr>
              <p:spPr>
                <a:xfrm>
                  <a:off x="1869039" y="3580676"/>
                  <a:ext cx="97776" cy="13991"/>
                </a:xfrm>
                <a:custGeom>
                  <a:avLst/>
                  <a:gdLst>
                    <a:gd name="connsiteX0" fmla="*/ 90781 w 97776"/>
                    <a:gd name="connsiteY0" fmla="*/ 13992 h 13991"/>
                    <a:gd name="connsiteX1" fmla="*/ 6996 w 97776"/>
                    <a:gd name="connsiteY1" fmla="*/ 13992 h 13991"/>
                    <a:gd name="connsiteX2" fmla="*/ 0 w 97776"/>
                    <a:gd name="connsiteY2" fmla="*/ 6996 h 13991"/>
                    <a:gd name="connsiteX3" fmla="*/ 6996 w 97776"/>
                    <a:gd name="connsiteY3" fmla="*/ 0 h 13991"/>
                    <a:gd name="connsiteX4" fmla="*/ 90781 w 97776"/>
                    <a:gd name="connsiteY4" fmla="*/ 0 h 13991"/>
                    <a:gd name="connsiteX5" fmla="*/ 97777 w 97776"/>
                    <a:gd name="connsiteY5" fmla="*/ 6996 h 13991"/>
                    <a:gd name="connsiteX6" fmla="*/ 90781 w 97776"/>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76" h="13991">
                      <a:moveTo>
                        <a:pt x="90781" y="13992"/>
                      </a:moveTo>
                      <a:lnTo>
                        <a:pt x="6996" y="13992"/>
                      </a:lnTo>
                      <a:cubicBezTo>
                        <a:pt x="3132" y="13992"/>
                        <a:pt x="0" y="10864"/>
                        <a:pt x="0" y="6996"/>
                      </a:cubicBezTo>
                      <a:cubicBezTo>
                        <a:pt x="0" y="3128"/>
                        <a:pt x="3132" y="0"/>
                        <a:pt x="6996" y="0"/>
                      </a:cubicBezTo>
                      <a:lnTo>
                        <a:pt x="90781" y="0"/>
                      </a:lnTo>
                      <a:cubicBezTo>
                        <a:pt x="94645" y="0"/>
                        <a:pt x="97777" y="3128"/>
                        <a:pt x="97777" y="6996"/>
                      </a:cubicBezTo>
                      <a:cubicBezTo>
                        <a:pt x="97777" y="10864"/>
                        <a:pt x="94642" y="13992"/>
                        <a:pt x="90781" y="13992"/>
                      </a:cubicBezTo>
                      <a:close/>
                    </a:path>
                  </a:pathLst>
                </a:custGeom>
                <a:grpFill/>
                <a:ln w="368" cap="flat">
                  <a:noFill/>
                  <a:prstDash val="solid"/>
                  <a:miter/>
                </a:ln>
              </p:spPr>
              <p:txBody>
                <a:bodyPr rtlCol="0" anchor="ctr"/>
                <a:lstStyle/>
                <a:p>
                  <a:endParaRPr lang="en-GB" dirty="0"/>
                </a:p>
              </p:txBody>
            </p:sp>
          </p:grpSp>
          <p:sp>
            <p:nvSpPr>
              <p:cNvPr id="286" name="Freihandform: Form 176">
                <a:extLst>
                  <a:ext uri="{FF2B5EF4-FFF2-40B4-BE49-F238E27FC236}">
                    <a16:creationId xmlns:a16="http://schemas.microsoft.com/office/drawing/2014/main" id="{3A9550C5-8480-46FF-B2AC-58FEC7E66416}"/>
                  </a:ext>
                </a:extLst>
              </p:cNvPr>
              <p:cNvSpPr/>
              <p:nvPr/>
            </p:nvSpPr>
            <p:spPr>
              <a:xfrm>
                <a:off x="1742778" y="3747797"/>
                <a:ext cx="97780" cy="13991"/>
              </a:xfrm>
              <a:custGeom>
                <a:avLst/>
                <a:gdLst>
                  <a:gd name="connsiteX0" fmla="*/ 90785 w 97780"/>
                  <a:gd name="connsiteY0" fmla="*/ 13992 h 13991"/>
                  <a:gd name="connsiteX1" fmla="*/ 6996 w 97780"/>
                  <a:gd name="connsiteY1" fmla="*/ 13992 h 13991"/>
                  <a:gd name="connsiteX2" fmla="*/ 0 w 97780"/>
                  <a:gd name="connsiteY2" fmla="*/ 6996 h 13991"/>
                  <a:gd name="connsiteX3" fmla="*/ 6996 w 97780"/>
                  <a:gd name="connsiteY3" fmla="*/ 0 h 13991"/>
                  <a:gd name="connsiteX4" fmla="*/ 90785 w 97780"/>
                  <a:gd name="connsiteY4" fmla="*/ 0 h 13991"/>
                  <a:gd name="connsiteX5" fmla="*/ 97781 w 97780"/>
                  <a:gd name="connsiteY5" fmla="*/ 6996 h 13991"/>
                  <a:gd name="connsiteX6" fmla="*/ 90785 w 97780"/>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80" h="13991">
                    <a:moveTo>
                      <a:pt x="90785" y="13992"/>
                    </a:moveTo>
                    <a:lnTo>
                      <a:pt x="6996" y="13992"/>
                    </a:lnTo>
                    <a:cubicBezTo>
                      <a:pt x="3132" y="13992"/>
                      <a:pt x="0" y="10864"/>
                      <a:pt x="0" y="6996"/>
                    </a:cubicBezTo>
                    <a:cubicBezTo>
                      <a:pt x="0" y="3128"/>
                      <a:pt x="3132" y="0"/>
                      <a:pt x="6996" y="0"/>
                    </a:cubicBezTo>
                    <a:lnTo>
                      <a:pt x="90785" y="0"/>
                    </a:lnTo>
                    <a:cubicBezTo>
                      <a:pt x="94649" y="0"/>
                      <a:pt x="97781" y="3128"/>
                      <a:pt x="97781" y="6996"/>
                    </a:cubicBezTo>
                    <a:cubicBezTo>
                      <a:pt x="97781" y="10864"/>
                      <a:pt x="94649" y="13992"/>
                      <a:pt x="90785" y="13992"/>
                    </a:cubicBezTo>
                    <a:close/>
                  </a:path>
                </a:pathLst>
              </a:custGeom>
              <a:grpFill/>
              <a:ln w="368" cap="flat">
                <a:noFill/>
                <a:prstDash val="solid"/>
                <a:miter/>
              </a:ln>
            </p:spPr>
            <p:txBody>
              <a:bodyPr rtlCol="0" anchor="ctr"/>
              <a:lstStyle/>
              <a:p>
                <a:endParaRPr lang="en-GB" dirty="0"/>
              </a:p>
            </p:txBody>
          </p:sp>
          <p:sp>
            <p:nvSpPr>
              <p:cNvPr id="287" name="Freihandform: Form 177">
                <a:extLst>
                  <a:ext uri="{FF2B5EF4-FFF2-40B4-BE49-F238E27FC236}">
                    <a16:creationId xmlns:a16="http://schemas.microsoft.com/office/drawing/2014/main" id="{0C352D43-F695-4AF2-948F-BA66B9705BA9}"/>
                  </a:ext>
                </a:extLst>
              </p:cNvPr>
              <p:cNvSpPr/>
              <p:nvPr/>
            </p:nvSpPr>
            <p:spPr>
              <a:xfrm>
                <a:off x="1753892" y="3580687"/>
                <a:ext cx="75560" cy="180943"/>
              </a:xfrm>
              <a:custGeom>
                <a:avLst/>
                <a:gdLst>
                  <a:gd name="connsiteX0" fmla="*/ 68564 w 75560"/>
                  <a:gd name="connsiteY0" fmla="*/ 180944 h 180943"/>
                  <a:gd name="connsiteX1" fmla="*/ 6996 w 75560"/>
                  <a:gd name="connsiteY1" fmla="*/ 180944 h 180943"/>
                  <a:gd name="connsiteX2" fmla="*/ 0 w 75560"/>
                  <a:gd name="connsiteY2" fmla="*/ 173948 h 180943"/>
                  <a:gd name="connsiteX3" fmla="*/ 0 w 75560"/>
                  <a:gd name="connsiteY3" fmla="*/ 6996 h 180943"/>
                  <a:gd name="connsiteX4" fmla="*/ 6996 w 75560"/>
                  <a:gd name="connsiteY4" fmla="*/ 0 h 180943"/>
                  <a:gd name="connsiteX5" fmla="*/ 68564 w 75560"/>
                  <a:gd name="connsiteY5" fmla="*/ 0 h 180943"/>
                  <a:gd name="connsiteX6" fmla="*/ 75560 w 75560"/>
                  <a:gd name="connsiteY6" fmla="*/ 6996 h 180943"/>
                  <a:gd name="connsiteX7" fmla="*/ 75560 w 75560"/>
                  <a:gd name="connsiteY7" fmla="*/ 173948 h 180943"/>
                  <a:gd name="connsiteX8" fmla="*/ 68564 w 75560"/>
                  <a:gd name="connsiteY8" fmla="*/ 180944 h 180943"/>
                  <a:gd name="connsiteX9" fmla="*/ 13992 w 75560"/>
                  <a:gd name="connsiteY9" fmla="*/ 166956 h 180943"/>
                  <a:gd name="connsiteX10" fmla="*/ 61568 w 75560"/>
                  <a:gd name="connsiteY10" fmla="*/ 166956 h 180943"/>
                  <a:gd name="connsiteX11" fmla="*/ 61568 w 75560"/>
                  <a:gd name="connsiteY11" fmla="*/ 13995 h 180943"/>
                  <a:gd name="connsiteX12" fmla="*/ 13992 w 75560"/>
                  <a:gd name="connsiteY12" fmla="*/ 13995 h 180943"/>
                  <a:gd name="connsiteX13" fmla="*/ 13992 w 75560"/>
                  <a:gd name="connsiteY13" fmla="*/ 166956 h 180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560" h="180943">
                    <a:moveTo>
                      <a:pt x="68564" y="180944"/>
                    </a:moveTo>
                    <a:lnTo>
                      <a:pt x="6996" y="180944"/>
                    </a:lnTo>
                    <a:cubicBezTo>
                      <a:pt x="3132" y="180944"/>
                      <a:pt x="0" y="177816"/>
                      <a:pt x="0" y="173948"/>
                    </a:cubicBezTo>
                    <a:lnTo>
                      <a:pt x="0" y="6996"/>
                    </a:lnTo>
                    <a:cubicBezTo>
                      <a:pt x="0" y="3128"/>
                      <a:pt x="3132" y="0"/>
                      <a:pt x="6996" y="0"/>
                    </a:cubicBezTo>
                    <a:lnTo>
                      <a:pt x="68564" y="0"/>
                    </a:lnTo>
                    <a:cubicBezTo>
                      <a:pt x="72428" y="0"/>
                      <a:pt x="75560" y="3128"/>
                      <a:pt x="75560" y="6996"/>
                    </a:cubicBezTo>
                    <a:lnTo>
                      <a:pt x="75560" y="173948"/>
                    </a:lnTo>
                    <a:cubicBezTo>
                      <a:pt x="75556" y="177816"/>
                      <a:pt x="72425" y="180944"/>
                      <a:pt x="68564" y="180944"/>
                    </a:cubicBezTo>
                    <a:close/>
                    <a:moveTo>
                      <a:pt x="13992" y="166956"/>
                    </a:moveTo>
                    <a:lnTo>
                      <a:pt x="61568" y="166956"/>
                    </a:lnTo>
                    <a:lnTo>
                      <a:pt x="61568" y="13995"/>
                    </a:lnTo>
                    <a:lnTo>
                      <a:pt x="13992" y="13995"/>
                    </a:lnTo>
                    <a:lnTo>
                      <a:pt x="13992" y="166956"/>
                    </a:lnTo>
                    <a:close/>
                  </a:path>
                </a:pathLst>
              </a:custGeom>
              <a:grpFill/>
              <a:ln w="368" cap="flat">
                <a:noFill/>
                <a:prstDash val="solid"/>
                <a:miter/>
              </a:ln>
            </p:spPr>
            <p:txBody>
              <a:bodyPr rtlCol="0" anchor="ctr"/>
              <a:lstStyle/>
              <a:p>
                <a:endParaRPr lang="en-GB" dirty="0"/>
              </a:p>
            </p:txBody>
          </p:sp>
          <p:sp>
            <p:nvSpPr>
              <p:cNvPr id="288" name="Freihandform: Form 178">
                <a:extLst>
                  <a:ext uri="{FF2B5EF4-FFF2-40B4-BE49-F238E27FC236}">
                    <a16:creationId xmlns:a16="http://schemas.microsoft.com/office/drawing/2014/main" id="{64AB3841-3EB0-40DE-BD3B-7CEA3CFEADE1}"/>
                  </a:ext>
                </a:extLst>
              </p:cNvPr>
              <p:cNvSpPr/>
              <p:nvPr/>
            </p:nvSpPr>
            <p:spPr>
              <a:xfrm>
                <a:off x="1742778" y="3580676"/>
                <a:ext cx="97780" cy="13991"/>
              </a:xfrm>
              <a:custGeom>
                <a:avLst/>
                <a:gdLst>
                  <a:gd name="connsiteX0" fmla="*/ 90785 w 97780"/>
                  <a:gd name="connsiteY0" fmla="*/ 13992 h 13991"/>
                  <a:gd name="connsiteX1" fmla="*/ 6996 w 97780"/>
                  <a:gd name="connsiteY1" fmla="*/ 13992 h 13991"/>
                  <a:gd name="connsiteX2" fmla="*/ 0 w 97780"/>
                  <a:gd name="connsiteY2" fmla="*/ 6996 h 13991"/>
                  <a:gd name="connsiteX3" fmla="*/ 6996 w 97780"/>
                  <a:gd name="connsiteY3" fmla="*/ 0 h 13991"/>
                  <a:gd name="connsiteX4" fmla="*/ 90785 w 97780"/>
                  <a:gd name="connsiteY4" fmla="*/ 0 h 13991"/>
                  <a:gd name="connsiteX5" fmla="*/ 97781 w 97780"/>
                  <a:gd name="connsiteY5" fmla="*/ 6996 h 13991"/>
                  <a:gd name="connsiteX6" fmla="*/ 90785 w 97780"/>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780" h="13991">
                    <a:moveTo>
                      <a:pt x="90785" y="13992"/>
                    </a:moveTo>
                    <a:lnTo>
                      <a:pt x="6996" y="13992"/>
                    </a:lnTo>
                    <a:cubicBezTo>
                      <a:pt x="3132" y="13992"/>
                      <a:pt x="0" y="10864"/>
                      <a:pt x="0" y="6996"/>
                    </a:cubicBezTo>
                    <a:cubicBezTo>
                      <a:pt x="0" y="3128"/>
                      <a:pt x="3132" y="0"/>
                      <a:pt x="6996" y="0"/>
                    </a:cubicBezTo>
                    <a:lnTo>
                      <a:pt x="90785" y="0"/>
                    </a:lnTo>
                    <a:cubicBezTo>
                      <a:pt x="94649" y="0"/>
                      <a:pt x="97781" y="3128"/>
                      <a:pt x="97781" y="6996"/>
                    </a:cubicBezTo>
                    <a:cubicBezTo>
                      <a:pt x="97781" y="10864"/>
                      <a:pt x="94649" y="13992"/>
                      <a:pt x="90785" y="13992"/>
                    </a:cubicBezTo>
                    <a:close/>
                  </a:path>
                </a:pathLst>
              </a:custGeom>
              <a:grpFill/>
              <a:ln w="368" cap="flat">
                <a:noFill/>
                <a:prstDash val="solid"/>
                <a:miter/>
              </a:ln>
            </p:spPr>
            <p:txBody>
              <a:bodyPr rtlCol="0" anchor="ctr"/>
              <a:lstStyle/>
              <a:p>
                <a:endParaRPr lang="en-GB" dirty="0"/>
              </a:p>
            </p:txBody>
          </p:sp>
          <p:sp>
            <p:nvSpPr>
              <p:cNvPr id="289" name="Freihandform: Form 179">
                <a:extLst>
                  <a:ext uri="{FF2B5EF4-FFF2-40B4-BE49-F238E27FC236}">
                    <a16:creationId xmlns:a16="http://schemas.microsoft.com/office/drawing/2014/main" id="{52A003AF-B12B-47F3-833E-03940E0822BE}"/>
                  </a:ext>
                </a:extLst>
              </p:cNvPr>
              <p:cNvSpPr/>
              <p:nvPr/>
            </p:nvSpPr>
            <p:spPr>
              <a:xfrm>
                <a:off x="1705149" y="3403697"/>
                <a:ext cx="425546" cy="159461"/>
              </a:xfrm>
              <a:custGeom>
                <a:avLst/>
                <a:gdLst>
                  <a:gd name="connsiteX0" fmla="*/ 418557 w 425546"/>
                  <a:gd name="connsiteY0" fmla="*/ 159461 h 159461"/>
                  <a:gd name="connsiteX1" fmla="*/ 6996 w 425546"/>
                  <a:gd name="connsiteY1" fmla="*/ 159461 h 159461"/>
                  <a:gd name="connsiteX2" fmla="*/ 0 w 425546"/>
                  <a:gd name="connsiteY2" fmla="*/ 152465 h 159461"/>
                  <a:gd name="connsiteX3" fmla="*/ 0 w 425546"/>
                  <a:gd name="connsiteY3" fmla="*/ 125199 h 159461"/>
                  <a:gd name="connsiteX4" fmla="*/ 3511 w 425546"/>
                  <a:gd name="connsiteY4" fmla="*/ 119135 h 159461"/>
                  <a:gd name="connsiteX5" fmla="*/ 209292 w 425546"/>
                  <a:gd name="connsiteY5" fmla="*/ 933 h 159461"/>
                  <a:gd name="connsiteX6" fmla="*/ 216258 w 425546"/>
                  <a:gd name="connsiteY6" fmla="*/ 933 h 159461"/>
                  <a:gd name="connsiteX7" fmla="*/ 422035 w 425546"/>
                  <a:gd name="connsiteY7" fmla="*/ 119135 h 159461"/>
                  <a:gd name="connsiteX8" fmla="*/ 425546 w 425546"/>
                  <a:gd name="connsiteY8" fmla="*/ 125199 h 159461"/>
                  <a:gd name="connsiteX9" fmla="*/ 425546 w 425546"/>
                  <a:gd name="connsiteY9" fmla="*/ 152465 h 159461"/>
                  <a:gd name="connsiteX10" fmla="*/ 418557 w 425546"/>
                  <a:gd name="connsiteY10" fmla="*/ 159461 h 159461"/>
                  <a:gd name="connsiteX11" fmla="*/ 13992 w 425546"/>
                  <a:gd name="connsiteY11" fmla="*/ 145473 h 159461"/>
                  <a:gd name="connsiteX12" fmla="*/ 411565 w 425546"/>
                  <a:gd name="connsiteY12" fmla="*/ 145473 h 159461"/>
                  <a:gd name="connsiteX13" fmla="*/ 411565 w 425546"/>
                  <a:gd name="connsiteY13" fmla="*/ 129251 h 159461"/>
                  <a:gd name="connsiteX14" fmla="*/ 212780 w 425546"/>
                  <a:gd name="connsiteY14" fmla="*/ 15065 h 159461"/>
                  <a:gd name="connsiteX15" fmla="*/ 13992 w 425546"/>
                  <a:gd name="connsiteY15" fmla="*/ 129251 h 159461"/>
                  <a:gd name="connsiteX16" fmla="*/ 13992 w 425546"/>
                  <a:gd name="connsiteY16" fmla="*/ 145473 h 159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5546" h="159461">
                    <a:moveTo>
                      <a:pt x="418557" y="159461"/>
                    </a:moveTo>
                    <a:lnTo>
                      <a:pt x="6996" y="159461"/>
                    </a:lnTo>
                    <a:cubicBezTo>
                      <a:pt x="3132" y="159461"/>
                      <a:pt x="0" y="156333"/>
                      <a:pt x="0" y="152465"/>
                    </a:cubicBezTo>
                    <a:lnTo>
                      <a:pt x="0" y="125199"/>
                    </a:lnTo>
                    <a:cubicBezTo>
                      <a:pt x="0" y="122693"/>
                      <a:pt x="1340" y="120386"/>
                      <a:pt x="3511" y="119135"/>
                    </a:cubicBezTo>
                    <a:lnTo>
                      <a:pt x="209292" y="933"/>
                    </a:lnTo>
                    <a:cubicBezTo>
                      <a:pt x="211452" y="-311"/>
                      <a:pt x="214102" y="-311"/>
                      <a:pt x="216258" y="933"/>
                    </a:cubicBezTo>
                    <a:lnTo>
                      <a:pt x="422035" y="119135"/>
                    </a:lnTo>
                    <a:cubicBezTo>
                      <a:pt x="424207" y="120386"/>
                      <a:pt x="425546" y="122693"/>
                      <a:pt x="425546" y="125199"/>
                    </a:cubicBezTo>
                    <a:lnTo>
                      <a:pt x="425546" y="152465"/>
                    </a:lnTo>
                    <a:cubicBezTo>
                      <a:pt x="425553" y="156333"/>
                      <a:pt x="422422" y="159461"/>
                      <a:pt x="418557" y="159461"/>
                    </a:cubicBezTo>
                    <a:close/>
                    <a:moveTo>
                      <a:pt x="13992" y="145473"/>
                    </a:moveTo>
                    <a:lnTo>
                      <a:pt x="411565" y="145473"/>
                    </a:lnTo>
                    <a:lnTo>
                      <a:pt x="411565" y="129251"/>
                    </a:lnTo>
                    <a:lnTo>
                      <a:pt x="212780" y="15065"/>
                    </a:lnTo>
                    <a:lnTo>
                      <a:pt x="13992" y="129251"/>
                    </a:lnTo>
                    <a:lnTo>
                      <a:pt x="13992" y="145473"/>
                    </a:lnTo>
                    <a:close/>
                  </a:path>
                </a:pathLst>
              </a:custGeom>
              <a:grpFill/>
              <a:ln w="368" cap="flat">
                <a:noFill/>
                <a:prstDash val="solid"/>
                <a:miter/>
              </a:ln>
            </p:spPr>
            <p:txBody>
              <a:bodyPr rtlCol="0" anchor="ctr"/>
              <a:lstStyle/>
              <a:p>
                <a:endParaRPr lang="en-GB" dirty="0"/>
              </a:p>
            </p:txBody>
          </p:sp>
        </p:grpSp>
        <p:sp>
          <p:nvSpPr>
            <p:cNvPr id="281" name="Freihandform: Form 180">
              <a:extLst>
                <a:ext uri="{FF2B5EF4-FFF2-40B4-BE49-F238E27FC236}">
                  <a16:creationId xmlns:a16="http://schemas.microsoft.com/office/drawing/2014/main" id="{663A9758-E6DA-4FD8-A55B-DDBC4981FB99}"/>
                </a:ext>
              </a:extLst>
            </p:cNvPr>
            <p:cNvSpPr/>
            <p:nvPr/>
          </p:nvSpPr>
          <p:spPr>
            <a:xfrm>
              <a:off x="2783662" y="4107178"/>
              <a:ext cx="203849" cy="13260"/>
            </a:xfrm>
            <a:custGeom>
              <a:avLst/>
              <a:gdLst>
                <a:gd name="connsiteX0" fmla="*/ 208088 w 215084"/>
                <a:gd name="connsiteY0" fmla="*/ 13992 h 13991"/>
                <a:gd name="connsiteX1" fmla="*/ 6996 w 215084"/>
                <a:gd name="connsiteY1" fmla="*/ 13992 h 13991"/>
                <a:gd name="connsiteX2" fmla="*/ 0 w 215084"/>
                <a:gd name="connsiteY2" fmla="*/ 6996 h 13991"/>
                <a:gd name="connsiteX3" fmla="*/ 6996 w 215084"/>
                <a:gd name="connsiteY3" fmla="*/ 0 h 13991"/>
                <a:gd name="connsiteX4" fmla="*/ 208088 w 215084"/>
                <a:gd name="connsiteY4" fmla="*/ 0 h 13991"/>
                <a:gd name="connsiteX5" fmla="*/ 215084 w 215084"/>
                <a:gd name="connsiteY5" fmla="*/ 6996 h 13991"/>
                <a:gd name="connsiteX6" fmla="*/ 208088 w 215084"/>
                <a:gd name="connsiteY6" fmla="*/ 13992 h 13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5084" h="13991">
                  <a:moveTo>
                    <a:pt x="208088" y="13992"/>
                  </a:moveTo>
                  <a:lnTo>
                    <a:pt x="6996" y="13992"/>
                  </a:lnTo>
                  <a:cubicBezTo>
                    <a:pt x="3132" y="13992"/>
                    <a:pt x="0" y="10864"/>
                    <a:pt x="0" y="6996"/>
                  </a:cubicBezTo>
                  <a:cubicBezTo>
                    <a:pt x="0" y="3132"/>
                    <a:pt x="3132" y="0"/>
                    <a:pt x="6996" y="0"/>
                  </a:cubicBezTo>
                  <a:lnTo>
                    <a:pt x="208088" y="0"/>
                  </a:lnTo>
                  <a:cubicBezTo>
                    <a:pt x="211952" y="0"/>
                    <a:pt x="215084" y="3128"/>
                    <a:pt x="215084" y="6996"/>
                  </a:cubicBezTo>
                  <a:cubicBezTo>
                    <a:pt x="215080" y="10864"/>
                    <a:pt x="211949" y="13992"/>
                    <a:pt x="208088" y="13992"/>
                  </a:cubicBezTo>
                  <a:close/>
                </a:path>
              </a:pathLst>
            </a:custGeom>
            <a:solidFill>
              <a:schemeClr val="accent1"/>
            </a:solidFill>
            <a:ln w="368" cap="flat">
              <a:noFill/>
              <a:prstDash val="solid"/>
              <a:miter/>
            </a:ln>
          </p:spPr>
          <p:txBody>
            <a:bodyPr rtlCol="0" anchor="ctr"/>
            <a:lstStyle/>
            <a:p>
              <a:endParaRPr lang="en-GB" dirty="0"/>
            </a:p>
          </p:txBody>
        </p:sp>
      </p:grpSp>
      <p:grpSp>
        <p:nvGrpSpPr>
          <p:cNvPr id="47" name="Group 46">
            <a:extLst>
              <a:ext uri="{FF2B5EF4-FFF2-40B4-BE49-F238E27FC236}">
                <a16:creationId xmlns:a16="http://schemas.microsoft.com/office/drawing/2014/main" id="{8FA53B67-6DD9-5651-9BE9-CBE6FDA277CA}"/>
              </a:ext>
            </a:extLst>
          </p:cNvPr>
          <p:cNvGrpSpPr/>
          <p:nvPr/>
        </p:nvGrpSpPr>
        <p:grpSpPr>
          <a:xfrm>
            <a:off x="3762469" y="4002611"/>
            <a:ext cx="389775" cy="432000"/>
            <a:chOff x="3762469" y="4002611"/>
            <a:chExt cx="389775" cy="432000"/>
          </a:xfrm>
        </p:grpSpPr>
        <p:grpSp>
          <p:nvGrpSpPr>
            <p:cNvPr id="297" name="Group 296">
              <a:extLst>
                <a:ext uri="{FF2B5EF4-FFF2-40B4-BE49-F238E27FC236}">
                  <a16:creationId xmlns:a16="http://schemas.microsoft.com/office/drawing/2014/main" id="{423DE505-1CD3-4CBA-B021-5B97DCD6BF7C}"/>
                </a:ext>
              </a:extLst>
            </p:cNvPr>
            <p:cNvGrpSpPr/>
            <p:nvPr/>
          </p:nvGrpSpPr>
          <p:grpSpPr>
            <a:xfrm>
              <a:off x="3762469" y="4008343"/>
              <a:ext cx="389775" cy="163300"/>
              <a:chOff x="5341329" y="3322115"/>
              <a:chExt cx="406035" cy="170112"/>
            </a:xfrm>
          </p:grpSpPr>
          <p:sp>
            <p:nvSpPr>
              <p:cNvPr id="306" name="Freihandform: Form 864">
                <a:extLst>
                  <a:ext uri="{FF2B5EF4-FFF2-40B4-BE49-F238E27FC236}">
                    <a16:creationId xmlns:a16="http://schemas.microsoft.com/office/drawing/2014/main" id="{C8C934D6-F2BF-41A4-AD36-6A0CF11DE8AC}"/>
                  </a:ext>
                </a:extLst>
              </p:cNvPr>
              <p:cNvSpPr/>
              <p:nvPr/>
            </p:nvSpPr>
            <p:spPr>
              <a:xfrm>
                <a:off x="5591413" y="3322115"/>
                <a:ext cx="105384" cy="121145"/>
              </a:xfrm>
              <a:custGeom>
                <a:avLst/>
                <a:gdLst>
                  <a:gd name="connsiteX0" fmla="*/ 47254 w 105384"/>
                  <a:gd name="connsiteY0" fmla="*/ 121145 h 121145"/>
                  <a:gd name="connsiteX1" fmla="*/ 36384 w 105384"/>
                  <a:gd name="connsiteY1" fmla="*/ 113943 h 121145"/>
                  <a:gd name="connsiteX2" fmla="*/ 89662 w 105384"/>
                  <a:gd name="connsiteY2" fmla="*/ 33652 h 121145"/>
                  <a:gd name="connsiteX3" fmla="*/ 92205 w 105384"/>
                  <a:gd name="connsiteY3" fmla="*/ 23907 h 121145"/>
                  <a:gd name="connsiteX4" fmla="*/ 87092 w 105384"/>
                  <a:gd name="connsiteY4" fmla="*/ 15527 h 121145"/>
                  <a:gd name="connsiteX5" fmla="*/ 68967 w 105384"/>
                  <a:gd name="connsiteY5" fmla="*/ 18258 h 121145"/>
                  <a:gd name="connsiteX6" fmla="*/ 10789 w 105384"/>
                  <a:gd name="connsiteY6" fmla="*/ 103663 h 121145"/>
                  <a:gd name="connsiteX7" fmla="*/ 0 w 105384"/>
                  <a:gd name="connsiteY7" fmla="*/ 96300 h 121145"/>
                  <a:gd name="connsiteX8" fmla="*/ 58338 w 105384"/>
                  <a:gd name="connsiteY8" fmla="*/ 10681 h 121145"/>
                  <a:gd name="connsiteX9" fmla="*/ 94775 w 105384"/>
                  <a:gd name="connsiteY9" fmla="*/ 4978 h 121145"/>
                  <a:gd name="connsiteX10" fmla="*/ 105083 w 105384"/>
                  <a:gd name="connsiteY10" fmla="*/ 21926 h 121145"/>
                  <a:gd name="connsiteX11" fmla="*/ 100317 w 105384"/>
                  <a:gd name="connsiteY11" fmla="*/ 41122 h 121145"/>
                  <a:gd name="connsiteX12" fmla="*/ 47254 w 105384"/>
                  <a:gd name="connsiteY12" fmla="*/ 121145 h 12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384" h="121145">
                    <a:moveTo>
                      <a:pt x="47254" y="121145"/>
                    </a:moveTo>
                    <a:lnTo>
                      <a:pt x="36384" y="113943"/>
                    </a:lnTo>
                    <a:lnTo>
                      <a:pt x="89662" y="33652"/>
                    </a:lnTo>
                    <a:cubicBezTo>
                      <a:pt x="91884" y="30627"/>
                      <a:pt x="92714" y="27280"/>
                      <a:pt x="92205" y="23907"/>
                    </a:cubicBezTo>
                    <a:cubicBezTo>
                      <a:pt x="91697" y="20533"/>
                      <a:pt x="89876" y="17562"/>
                      <a:pt x="87092" y="15527"/>
                    </a:cubicBezTo>
                    <a:cubicBezTo>
                      <a:pt x="81336" y="11324"/>
                      <a:pt x="73197" y="12555"/>
                      <a:pt x="68967" y="18258"/>
                    </a:cubicBezTo>
                    <a:lnTo>
                      <a:pt x="10789" y="103663"/>
                    </a:lnTo>
                    <a:lnTo>
                      <a:pt x="0" y="96300"/>
                    </a:lnTo>
                    <a:lnTo>
                      <a:pt x="58338" y="10681"/>
                    </a:lnTo>
                    <a:cubicBezTo>
                      <a:pt x="66959" y="-965"/>
                      <a:pt x="83236" y="-3428"/>
                      <a:pt x="94775" y="4978"/>
                    </a:cubicBezTo>
                    <a:cubicBezTo>
                      <a:pt x="100371" y="9075"/>
                      <a:pt x="104039" y="15099"/>
                      <a:pt x="105083" y="21926"/>
                    </a:cubicBezTo>
                    <a:cubicBezTo>
                      <a:pt x="106127" y="28753"/>
                      <a:pt x="104440" y="35553"/>
                      <a:pt x="100317" y="41122"/>
                    </a:cubicBezTo>
                    <a:lnTo>
                      <a:pt x="47254" y="121145"/>
                    </a:lnTo>
                    <a:close/>
                  </a:path>
                </a:pathLst>
              </a:custGeom>
              <a:solidFill>
                <a:schemeClr val="accent1"/>
              </a:solidFill>
              <a:ln w="2676" cap="flat">
                <a:noFill/>
                <a:prstDash val="solid"/>
                <a:miter/>
              </a:ln>
            </p:spPr>
            <p:txBody>
              <a:bodyPr rtlCol="0" anchor="ctr"/>
              <a:lstStyle/>
              <a:p>
                <a:endParaRPr lang="en-GB" dirty="0"/>
              </a:p>
            </p:txBody>
          </p:sp>
          <p:sp>
            <p:nvSpPr>
              <p:cNvPr id="307" name="Freihandform: Form 865">
                <a:extLst>
                  <a:ext uri="{FF2B5EF4-FFF2-40B4-BE49-F238E27FC236}">
                    <a16:creationId xmlns:a16="http://schemas.microsoft.com/office/drawing/2014/main" id="{6DEBB5E1-7695-43DA-B7D1-99C4D05C230D}"/>
                  </a:ext>
                </a:extLst>
              </p:cNvPr>
              <p:cNvSpPr/>
              <p:nvPr/>
            </p:nvSpPr>
            <p:spPr>
              <a:xfrm>
                <a:off x="5391895" y="3322128"/>
                <a:ext cx="105385" cy="121132"/>
              </a:xfrm>
              <a:custGeom>
                <a:avLst/>
                <a:gdLst>
                  <a:gd name="connsiteX0" fmla="*/ 58159 w 105385"/>
                  <a:gd name="connsiteY0" fmla="*/ 121132 h 121132"/>
                  <a:gd name="connsiteX1" fmla="*/ 4881 w 105385"/>
                  <a:gd name="connsiteY1" fmla="*/ 40841 h 121132"/>
                  <a:gd name="connsiteX2" fmla="*/ 303 w 105385"/>
                  <a:gd name="connsiteY2" fmla="*/ 21939 h 121132"/>
                  <a:gd name="connsiteX3" fmla="*/ 10610 w 105385"/>
                  <a:gd name="connsiteY3" fmla="*/ 4992 h 121132"/>
                  <a:gd name="connsiteX4" fmla="*/ 46887 w 105385"/>
                  <a:gd name="connsiteY4" fmla="*/ 10481 h 121132"/>
                  <a:gd name="connsiteX5" fmla="*/ 105386 w 105385"/>
                  <a:gd name="connsiteY5" fmla="*/ 96314 h 121132"/>
                  <a:gd name="connsiteX6" fmla="*/ 94596 w 105385"/>
                  <a:gd name="connsiteY6" fmla="*/ 103676 h 121132"/>
                  <a:gd name="connsiteX7" fmla="*/ 36285 w 105385"/>
                  <a:gd name="connsiteY7" fmla="*/ 18057 h 121132"/>
                  <a:gd name="connsiteX8" fmla="*/ 18321 w 105385"/>
                  <a:gd name="connsiteY8" fmla="*/ 15541 h 121132"/>
                  <a:gd name="connsiteX9" fmla="*/ 13207 w 105385"/>
                  <a:gd name="connsiteY9" fmla="*/ 23921 h 121132"/>
                  <a:gd name="connsiteX10" fmla="*/ 15563 w 105385"/>
                  <a:gd name="connsiteY10" fmla="*/ 33371 h 121132"/>
                  <a:gd name="connsiteX11" fmla="*/ 69028 w 105385"/>
                  <a:gd name="connsiteY11" fmla="*/ 113930 h 121132"/>
                  <a:gd name="connsiteX12" fmla="*/ 58159 w 105385"/>
                  <a:gd name="connsiteY12" fmla="*/ 121132 h 12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5385" h="121132">
                    <a:moveTo>
                      <a:pt x="58159" y="121132"/>
                    </a:moveTo>
                    <a:lnTo>
                      <a:pt x="4881" y="40841"/>
                    </a:lnTo>
                    <a:cubicBezTo>
                      <a:pt x="945" y="35567"/>
                      <a:pt x="-741" y="28740"/>
                      <a:pt x="303" y="21939"/>
                    </a:cubicBezTo>
                    <a:cubicBezTo>
                      <a:pt x="1347" y="15112"/>
                      <a:pt x="5015" y="9088"/>
                      <a:pt x="10610" y="4992"/>
                    </a:cubicBezTo>
                    <a:cubicBezTo>
                      <a:pt x="22123" y="-3415"/>
                      <a:pt x="38400" y="-951"/>
                      <a:pt x="46887" y="10481"/>
                    </a:cubicBezTo>
                    <a:lnTo>
                      <a:pt x="105386" y="96314"/>
                    </a:lnTo>
                    <a:lnTo>
                      <a:pt x="94596" y="103676"/>
                    </a:lnTo>
                    <a:lnTo>
                      <a:pt x="36285" y="18057"/>
                    </a:lnTo>
                    <a:cubicBezTo>
                      <a:pt x="32189" y="12542"/>
                      <a:pt x="24077" y="11337"/>
                      <a:pt x="18321" y="15541"/>
                    </a:cubicBezTo>
                    <a:cubicBezTo>
                      <a:pt x="15537" y="17575"/>
                      <a:pt x="13716" y="20547"/>
                      <a:pt x="13207" y="23921"/>
                    </a:cubicBezTo>
                    <a:cubicBezTo>
                      <a:pt x="12699" y="27267"/>
                      <a:pt x="13529" y="30640"/>
                      <a:pt x="15563" y="33371"/>
                    </a:cubicBezTo>
                    <a:lnTo>
                      <a:pt x="69028" y="113930"/>
                    </a:lnTo>
                    <a:lnTo>
                      <a:pt x="58159" y="121132"/>
                    </a:lnTo>
                    <a:close/>
                  </a:path>
                </a:pathLst>
              </a:custGeom>
              <a:solidFill>
                <a:schemeClr val="accent1"/>
              </a:solidFill>
              <a:ln w="2676" cap="flat">
                <a:noFill/>
                <a:prstDash val="solid"/>
                <a:miter/>
              </a:ln>
            </p:spPr>
            <p:txBody>
              <a:bodyPr rtlCol="0" anchor="ctr"/>
              <a:lstStyle/>
              <a:p>
                <a:endParaRPr lang="en-GB" dirty="0"/>
              </a:p>
            </p:txBody>
          </p:sp>
          <p:sp>
            <p:nvSpPr>
              <p:cNvPr id="308" name="Freihandform: Form 866">
                <a:extLst>
                  <a:ext uri="{FF2B5EF4-FFF2-40B4-BE49-F238E27FC236}">
                    <a16:creationId xmlns:a16="http://schemas.microsoft.com/office/drawing/2014/main" id="{8160F6BA-6884-426B-8DB9-8916AAA848A9}"/>
                  </a:ext>
                </a:extLst>
              </p:cNvPr>
              <p:cNvSpPr/>
              <p:nvPr/>
            </p:nvSpPr>
            <p:spPr>
              <a:xfrm>
                <a:off x="5564748" y="3433542"/>
                <a:ext cx="182616" cy="58685"/>
              </a:xfrm>
              <a:custGeom>
                <a:avLst/>
                <a:gdLst>
                  <a:gd name="connsiteX0" fmla="*/ 85218 w 182616"/>
                  <a:gd name="connsiteY0" fmla="*/ 58686 h 58685"/>
                  <a:gd name="connsiteX1" fmla="*/ 84361 w 182616"/>
                  <a:gd name="connsiteY1" fmla="*/ 45674 h 58685"/>
                  <a:gd name="connsiteX2" fmla="*/ 157129 w 182616"/>
                  <a:gd name="connsiteY2" fmla="*/ 40909 h 58685"/>
                  <a:gd name="connsiteX3" fmla="*/ 169578 w 182616"/>
                  <a:gd name="connsiteY3" fmla="*/ 27014 h 58685"/>
                  <a:gd name="connsiteX4" fmla="*/ 155603 w 182616"/>
                  <a:gd name="connsiteY4" fmla="*/ 13038 h 58685"/>
                  <a:gd name="connsiteX5" fmla="*/ 0 w 182616"/>
                  <a:gd name="connsiteY5" fmla="*/ 13038 h 58685"/>
                  <a:gd name="connsiteX6" fmla="*/ 0 w 182616"/>
                  <a:gd name="connsiteY6" fmla="*/ 0 h 58685"/>
                  <a:gd name="connsiteX7" fmla="*/ 155603 w 182616"/>
                  <a:gd name="connsiteY7" fmla="*/ 0 h 58685"/>
                  <a:gd name="connsiteX8" fmla="*/ 182617 w 182616"/>
                  <a:gd name="connsiteY8" fmla="*/ 27014 h 58685"/>
                  <a:gd name="connsiteX9" fmla="*/ 158147 w 182616"/>
                  <a:gd name="connsiteY9" fmla="*/ 53894 h 58685"/>
                  <a:gd name="connsiteX10" fmla="*/ 85218 w 182616"/>
                  <a:gd name="connsiteY10" fmla="*/ 58686 h 5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616" h="58685">
                    <a:moveTo>
                      <a:pt x="85218" y="58686"/>
                    </a:moveTo>
                    <a:lnTo>
                      <a:pt x="84361" y="45674"/>
                    </a:lnTo>
                    <a:lnTo>
                      <a:pt x="157129" y="40909"/>
                    </a:lnTo>
                    <a:cubicBezTo>
                      <a:pt x="164144" y="40239"/>
                      <a:pt x="169578" y="34269"/>
                      <a:pt x="169578" y="27014"/>
                    </a:cubicBezTo>
                    <a:cubicBezTo>
                      <a:pt x="169578" y="19303"/>
                      <a:pt x="163314" y="13038"/>
                      <a:pt x="155603" y="13038"/>
                    </a:cubicBezTo>
                    <a:lnTo>
                      <a:pt x="0" y="13038"/>
                    </a:lnTo>
                    <a:lnTo>
                      <a:pt x="0" y="0"/>
                    </a:lnTo>
                    <a:lnTo>
                      <a:pt x="155603" y="0"/>
                    </a:lnTo>
                    <a:cubicBezTo>
                      <a:pt x="170489" y="0"/>
                      <a:pt x="182617" y="12128"/>
                      <a:pt x="182617" y="27014"/>
                    </a:cubicBezTo>
                    <a:cubicBezTo>
                      <a:pt x="182617" y="41016"/>
                      <a:pt x="172095" y="52582"/>
                      <a:pt x="158147" y="53894"/>
                    </a:cubicBezTo>
                    <a:lnTo>
                      <a:pt x="85218" y="58686"/>
                    </a:lnTo>
                    <a:close/>
                  </a:path>
                </a:pathLst>
              </a:custGeom>
              <a:solidFill>
                <a:schemeClr val="accent1"/>
              </a:solidFill>
              <a:ln w="2676" cap="flat">
                <a:noFill/>
                <a:prstDash val="solid"/>
                <a:miter/>
              </a:ln>
            </p:spPr>
            <p:txBody>
              <a:bodyPr rtlCol="0" anchor="ctr"/>
              <a:lstStyle/>
              <a:p>
                <a:endParaRPr lang="en-GB" dirty="0"/>
              </a:p>
            </p:txBody>
          </p:sp>
          <p:sp>
            <p:nvSpPr>
              <p:cNvPr id="309" name="Freihandform: Form 867">
                <a:extLst>
                  <a:ext uri="{FF2B5EF4-FFF2-40B4-BE49-F238E27FC236}">
                    <a16:creationId xmlns:a16="http://schemas.microsoft.com/office/drawing/2014/main" id="{904D9A18-23D3-448E-8D52-3C32C2BCF16F}"/>
                  </a:ext>
                </a:extLst>
              </p:cNvPr>
              <p:cNvSpPr/>
              <p:nvPr/>
            </p:nvSpPr>
            <p:spPr>
              <a:xfrm>
                <a:off x="5341329" y="3433542"/>
                <a:ext cx="182616" cy="58685"/>
              </a:xfrm>
              <a:custGeom>
                <a:avLst/>
                <a:gdLst>
                  <a:gd name="connsiteX0" fmla="*/ 97426 w 182616"/>
                  <a:gd name="connsiteY0" fmla="*/ 58686 h 58685"/>
                  <a:gd name="connsiteX1" fmla="*/ 24658 w 182616"/>
                  <a:gd name="connsiteY1" fmla="*/ 53920 h 58685"/>
                  <a:gd name="connsiteX2" fmla="*/ 0 w 182616"/>
                  <a:gd name="connsiteY2" fmla="*/ 27014 h 58685"/>
                  <a:gd name="connsiteX3" fmla="*/ 27014 w 182616"/>
                  <a:gd name="connsiteY3" fmla="*/ 0 h 58685"/>
                  <a:gd name="connsiteX4" fmla="*/ 182617 w 182616"/>
                  <a:gd name="connsiteY4" fmla="*/ 0 h 58685"/>
                  <a:gd name="connsiteX5" fmla="*/ 182617 w 182616"/>
                  <a:gd name="connsiteY5" fmla="*/ 13038 h 58685"/>
                  <a:gd name="connsiteX6" fmla="*/ 27040 w 182616"/>
                  <a:gd name="connsiteY6" fmla="*/ 13038 h 58685"/>
                  <a:gd name="connsiteX7" fmla="*/ 13065 w 182616"/>
                  <a:gd name="connsiteY7" fmla="*/ 27014 h 58685"/>
                  <a:gd name="connsiteX8" fmla="*/ 25702 w 182616"/>
                  <a:gd name="connsiteY8" fmla="*/ 40936 h 58685"/>
                  <a:gd name="connsiteX9" fmla="*/ 98256 w 182616"/>
                  <a:gd name="connsiteY9" fmla="*/ 45674 h 58685"/>
                  <a:gd name="connsiteX10" fmla="*/ 97426 w 182616"/>
                  <a:gd name="connsiteY10" fmla="*/ 58686 h 58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616" h="58685">
                    <a:moveTo>
                      <a:pt x="97426" y="58686"/>
                    </a:moveTo>
                    <a:lnTo>
                      <a:pt x="24658" y="53920"/>
                    </a:lnTo>
                    <a:cubicBezTo>
                      <a:pt x="10522" y="52582"/>
                      <a:pt x="0" y="41016"/>
                      <a:pt x="0" y="27014"/>
                    </a:cubicBezTo>
                    <a:cubicBezTo>
                      <a:pt x="0" y="12128"/>
                      <a:pt x="12128" y="0"/>
                      <a:pt x="27014" y="0"/>
                    </a:cubicBezTo>
                    <a:lnTo>
                      <a:pt x="182617" y="0"/>
                    </a:lnTo>
                    <a:lnTo>
                      <a:pt x="182617" y="13038"/>
                    </a:lnTo>
                    <a:lnTo>
                      <a:pt x="27040" y="13038"/>
                    </a:lnTo>
                    <a:cubicBezTo>
                      <a:pt x="19330" y="13038"/>
                      <a:pt x="13065" y="19303"/>
                      <a:pt x="13065" y="27014"/>
                    </a:cubicBezTo>
                    <a:cubicBezTo>
                      <a:pt x="13065" y="34242"/>
                      <a:pt x="18500" y="40239"/>
                      <a:pt x="25702" y="40936"/>
                    </a:cubicBezTo>
                    <a:lnTo>
                      <a:pt x="98256" y="45674"/>
                    </a:lnTo>
                    <a:lnTo>
                      <a:pt x="97426" y="58686"/>
                    </a:lnTo>
                    <a:close/>
                  </a:path>
                </a:pathLst>
              </a:custGeom>
              <a:solidFill>
                <a:schemeClr val="accent1"/>
              </a:solidFill>
              <a:ln w="2676" cap="flat">
                <a:noFill/>
                <a:prstDash val="solid"/>
                <a:miter/>
              </a:ln>
            </p:spPr>
            <p:txBody>
              <a:bodyPr rtlCol="0" anchor="ctr"/>
              <a:lstStyle/>
              <a:p>
                <a:endParaRPr lang="en-GB" dirty="0"/>
              </a:p>
            </p:txBody>
          </p:sp>
        </p:grpSp>
        <p:grpSp>
          <p:nvGrpSpPr>
            <p:cNvPr id="298" name="Grafik 209">
              <a:extLst>
                <a:ext uri="{FF2B5EF4-FFF2-40B4-BE49-F238E27FC236}">
                  <a16:creationId xmlns:a16="http://schemas.microsoft.com/office/drawing/2014/main" id="{5E1824D5-16B1-47CF-891A-D1DCA82C727C}"/>
                </a:ext>
              </a:extLst>
            </p:cNvPr>
            <p:cNvGrpSpPr/>
            <p:nvPr/>
          </p:nvGrpSpPr>
          <p:grpSpPr>
            <a:xfrm>
              <a:off x="3831870" y="4002611"/>
              <a:ext cx="252558" cy="432000"/>
              <a:chOff x="5413629" y="3316144"/>
              <a:chExt cx="263094" cy="450022"/>
            </a:xfrm>
            <a:solidFill>
              <a:schemeClr val="tx2"/>
            </a:solidFill>
          </p:grpSpPr>
          <p:sp>
            <p:nvSpPr>
              <p:cNvPr id="299" name="Freihandform: Form 857">
                <a:extLst>
                  <a:ext uri="{FF2B5EF4-FFF2-40B4-BE49-F238E27FC236}">
                    <a16:creationId xmlns:a16="http://schemas.microsoft.com/office/drawing/2014/main" id="{D8D80B3A-B19A-4BEE-8C3A-6FD60A202C38}"/>
                  </a:ext>
                </a:extLst>
              </p:cNvPr>
              <p:cNvSpPr/>
              <p:nvPr/>
            </p:nvSpPr>
            <p:spPr>
              <a:xfrm>
                <a:off x="5538644" y="3635730"/>
                <a:ext cx="13038" cy="130436"/>
              </a:xfrm>
              <a:custGeom>
                <a:avLst/>
                <a:gdLst>
                  <a:gd name="connsiteX0" fmla="*/ 0 w 13038"/>
                  <a:gd name="connsiteY0" fmla="*/ 0 h 130436"/>
                  <a:gd name="connsiteX1" fmla="*/ 13038 w 13038"/>
                  <a:gd name="connsiteY1" fmla="*/ 0 h 130436"/>
                  <a:gd name="connsiteX2" fmla="*/ 13038 w 13038"/>
                  <a:gd name="connsiteY2" fmla="*/ 130437 h 130436"/>
                  <a:gd name="connsiteX3" fmla="*/ 0 w 13038"/>
                  <a:gd name="connsiteY3" fmla="*/ 130437 h 130436"/>
                </a:gdLst>
                <a:ahLst/>
                <a:cxnLst>
                  <a:cxn ang="0">
                    <a:pos x="connsiteX0" y="connsiteY0"/>
                  </a:cxn>
                  <a:cxn ang="0">
                    <a:pos x="connsiteX1" y="connsiteY1"/>
                  </a:cxn>
                  <a:cxn ang="0">
                    <a:pos x="connsiteX2" y="connsiteY2"/>
                  </a:cxn>
                  <a:cxn ang="0">
                    <a:pos x="connsiteX3" y="connsiteY3"/>
                  </a:cxn>
                </a:cxnLst>
                <a:rect l="l" t="t" r="r" b="b"/>
                <a:pathLst>
                  <a:path w="13038" h="130436">
                    <a:moveTo>
                      <a:pt x="0" y="0"/>
                    </a:moveTo>
                    <a:lnTo>
                      <a:pt x="13038" y="0"/>
                    </a:lnTo>
                    <a:lnTo>
                      <a:pt x="13038" y="130437"/>
                    </a:lnTo>
                    <a:lnTo>
                      <a:pt x="0" y="130437"/>
                    </a:lnTo>
                    <a:close/>
                  </a:path>
                </a:pathLst>
              </a:custGeom>
              <a:grpFill/>
              <a:ln w="2676" cap="flat">
                <a:noFill/>
                <a:prstDash val="solid"/>
                <a:miter/>
              </a:ln>
            </p:spPr>
            <p:txBody>
              <a:bodyPr rtlCol="0" anchor="ctr"/>
              <a:lstStyle/>
              <a:p>
                <a:endParaRPr lang="en-GB" dirty="0"/>
              </a:p>
            </p:txBody>
          </p:sp>
          <p:sp>
            <p:nvSpPr>
              <p:cNvPr id="300" name="Freihandform: Form 858">
                <a:extLst>
                  <a:ext uri="{FF2B5EF4-FFF2-40B4-BE49-F238E27FC236}">
                    <a16:creationId xmlns:a16="http://schemas.microsoft.com/office/drawing/2014/main" id="{241CB92D-1CEF-45A2-B437-8A0F1730EED7}"/>
                  </a:ext>
                </a:extLst>
              </p:cNvPr>
              <p:cNvSpPr/>
              <p:nvPr/>
            </p:nvSpPr>
            <p:spPr>
              <a:xfrm>
                <a:off x="5413629" y="3433515"/>
                <a:ext cx="263094" cy="332651"/>
              </a:xfrm>
              <a:custGeom>
                <a:avLst/>
                <a:gdLst>
                  <a:gd name="connsiteX0" fmla="*/ 196766 w 263094"/>
                  <a:gd name="connsiteY0" fmla="*/ 332651 h 332651"/>
                  <a:gd name="connsiteX1" fmla="*/ 183727 w 263094"/>
                  <a:gd name="connsiteY1" fmla="*/ 332651 h 332651"/>
                  <a:gd name="connsiteX2" fmla="*/ 183727 w 263094"/>
                  <a:gd name="connsiteY2" fmla="*/ 104922 h 332651"/>
                  <a:gd name="connsiteX3" fmla="*/ 188921 w 263094"/>
                  <a:gd name="connsiteY3" fmla="*/ 98524 h 332651"/>
                  <a:gd name="connsiteX4" fmla="*/ 196230 w 263094"/>
                  <a:gd name="connsiteY4" fmla="*/ 102325 h 332651"/>
                  <a:gd name="connsiteX5" fmla="*/ 233632 w 263094"/>
                  <a:gd name="connsiteY5" fmla="*/ 188400 h 332651"/>
                  <a:gd name="connsiteX6" fmla="*/ 244769 w 263094"/>
                  <a:gd name="connsiteY6" fmla="*/ 192496 h 332651"/>
                  <a:gd name="connsiteX7" fmla="*/ 249562 w 263094"/>
                  <a:gd name="connsiteY7" fmla="*/ 181707 h 332651"/>
                  <a:gd name="connsiteX8" fmla="*/ 216390 w 263094"/>
                  <a:gd name="connsiteY8" fmla="*/ 86074 h 332651"/>
                  <a:gd name="connsiteX9" fmla="*/ 151118 w 263094"/>
                  <a:gd name="connsiteY9" fmla="*/ 13038 h 332651"/>
                  <a:gd name="connsiteX10" fmla="*/ 111977 w 263094"/>
                  <a:gd name="connsiteY10" fmla="*/ 13038 h 332651"/>
                  <a:gd name="connsiteX11" fmla="*/ 46705 w 263094"/>
                  <a:gd name="connsiteY11" fmla="*/ 86048 h 332651"/>
                  <a:gd name="connsiteX12" fmla="*/ 46330 w 263094"/>
                  <a:gd name="connsiteY12" fmla="*/ 87038 h 332651"/>
                  <a:gd name="connsiteX13" fmla="*/ 13506 w 263094"/>
                  <a:gd name="connsiteY13" fmla="*/ 181680 h 332651"/>
                  <a:gd name="connsiteX14" fmla="*/ 18299 w 263094"/>
                  <a:gd name="connsiteY14" fmla="*/ 192496 h 332651"/>
                  <a:gd name="connsiteX15" fmla="*/ 29517 w 263094"/>
                  <a:gd name="connsiteY15" fmla="*/ 188212 h 332651"/>
                  <a:gd name="connsiteX16" fmla="*/ 66838 w 263094"/>
                  <a:gd name="connsiteY16" fmla="*/ 102299 h 332651"/>
                  <a:gd name="connsiteX17" fmla="*/ 74147 w 263094"/>
                  <a:gd name="connsiteY17" fmla="*/ 98497 h 332651"/>
                  <a:gd name="connsiteX18" fmla="*/ 79341 w 263094"/>
                  <a:gd name="connsiteY18" fmla="*/ 104896 h 332651"/>
                  <a:gd name="connsiteX19" fmla="*/ 79341 w 263094"/>
                  <a:gd name="connsiteY19" fmla="*/ 332625 h 332651"/>
                  <a:gd name="connsiteX20" fmla="*/ 66302 w 263094"/>
                  <a:gd name="connsiteY20" fmla="*/ 332625 h 332651"/>
                  <a:gd name="connsiteX21" fmla="*/ 66302 w 263094"/>
                  <a:gd name="connsiteY21" fmla="*/ 136273 h 332651"/>
                  <a:gd name="connsiteX22" fmla="*/ 41404 w 263094"/>
                  <a:gd name="connsiteY22" fmla="*/ 193567 h 332651"/>
                  <a:gd name="connsiteX23" fmla="*/ 13185 w 263094"/>
                  <a:gd name="connsiteY23" fmla="*/ 204490 h 332651"/>
                  <a:gd name="connsiteX24" fmla="*/ 1191 w 263094"/>
                  <a:gd name="connsiteY24" fmla="*/ 177423 h 332651"/>
                  <a:gd name="connsiteX25" fmla="*/ 34469 w 263094"/>
                  <a:gd name="connsiteY25" fmla="*/ 81523 h 332651"/>
                  <a:gd name="connsiteX26" fmla="*/ 111977 w 263094"/>
                  <a:gd name="connsiteY26" fmla="*/ 0 h 332651"/>
                  <a:gd name="connsiteX27" fmla="*/ 151118 w 263094"/>
                  <a:gd name="connsiteY27" fmla="*/ 0 h 332651"/>
                  <a:gd name="connsiteX28" fmla="*/ 228625 w 263094"/>
                  <a:gd name="connsiteY28" fmla="*/ 81550 h 332651"/>
                  <a:gd name="connsiteX29" fmla="*/ 229000 w 263094"/>
                  <a:gd name="connsiteY29" fmla="*/ 82540 h 332651"/>
                  <a:gd name="connsiteX30" fmla="*/ 261904 w 263094"/>
                  <a:gd name="connsiteY30" fmla="*/ 177450 h 332651"/>
                  <a:gd name="connsiteX31" fmla="*/ 249910 w 263094"/>
                  <a:gd name="connsiteY31" fmla="*/ 204517 h 332651"/>
                  <a:gd name="connsiteX32" fmla="*/ 221772 w 263094"/>
                  <a:gd name="connsiteY32" fmla="*/ 193781 h 332651"/>
                  <a:gd name="connsiteX33" fmla="*/ 196793 w 263094"/>
                  <a:gd name="connsiteY33" fmla="*/ 136300 h 332651"/>
                  <a:gd name="connsiteX34" fmla="*/ 196793 w 263094"/>
                  <a:gd name="connsiteY34" fmla="*/ 332651 h 332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63094" h="332651">
                    <a:moveTo>
                      <a:pt x="196766" y="332651"/>
                    </a:moveTo>
                    <a:lnTo>
                      <a:pt x="183727" y="332651"/>
                    </a:lnTo>
                    <a:lnTo>
                      <a:pt x="183727" y="104922"/>
                    </a:lnTo>
                    <a:cubicBezTo>
                      <a:pt x="183727" y="101844"/>
                      <a:pt x="185896" y="99166"/>
                      <a:pt x="188921" y="98524"/>
                    </a:cubicBezTo>
                    <a:cubicBezTo>
                      <a:pt x="191947" y="97908"/>
                      <a:pt x="194999" y="99461"/>
                      <a:pt x="196230" y="102325"/>
                    </a:cubicBezTo>
                    <a:lnTo>
                      <a:pt x="233632" y="188400"/>
                    </a:lnTo>
                    <a:cubicBezTo>
                      <a:pt x="235533" y="192469"/>
                      <a:pt x="240486" y="194343"/>
                      <a:pt x="244769" y="192496"/>
                    </a:cubicBezTo>
                    <a:cubicBezTo>
                      <a:pt x="248946" y="190729"/>
                      <a:pt x="251034" y="185990"/>
                      <a:pt x="249562" y="181707"/>
                    </a:cubicBezTo>
                    <a:lnTo>
                      <a:pt x="216390" y="86074"/>
                    </a:lnTo>
                    <a:cubicBezTo>
                      <a:pt x="196739" y="32931"/>
                      <a:pt x="189376" y="13038"/>
                      <a:pt x="151118" y="13038"/>
                    </a:cubicBezTo>
                    <a:lnTo>
                      <a:pt x="111977" y="13038"/>
                    </a:lnTo>
                    <a:cubicBezTo>
                      <a:pt x="73745" y="13038"/>
                      <a:pt x="66383" y="32931"/>
                      <a:pt x="46705" y="86048"/>
                    </a:cubicBezTo>
                    <a:lnTo>
                      <a:pt x="46330" y="87038"/>
                    </a:lnTo>
                    <a:lnTo>
                      <a:pt x="13506" y="181680"/>
                    </a:lnTo>
                    <a:cubicBezTo>
                      <a:pt x="12034" y="185963"/>
                      <a:pt x="14122" y="190702"/>
                      <a:pt x="18299" y="192496"/>
                    </a:cubicBezTo>
                    <a:cubicBezTo>
                      <a:pt x="22582" y="194317"/>
                      <a:pt x="27535" y="192442"/>
                      <a:pt x="29517" y="188212"/>
                    </a:cubicBezTo>
                    <a:lnTo>
                      <a:pt x="66838" y="102299"/>
                    </a:lnTo>
                    <a:cubicBezTo>
                      <a:pt x="68069" y="99461"/>
                      <a:pt x="71095" y="97908"/>
                      <a:pt x="74147" y="98497"/>
                    </a:cubicBezTo>
                    <a:cubicBezTo>
                      <a:pt x="77172" y="99140"/>
                      <a:pt x="79341" y="101790"/>
                      <a:pt x="79341" y="104896"/>
                    </a:cubicBezTo>
                    <a:lnTo>
                      <a:pt x="79341" y="332625"/>
                    </a:lnTo>
                    <a:lnTo>
                      <a:pt x="66302" y="332625"/>
                    </a:lnTo>
                    <a:lnTo>
                      <a:pt x="66302" y="136273"/>
                    </a:lnTo>
                    <a:lnTo>
                      <a:pt x="41404" y="193567"/>
                    </a:lnTo>
                    <a:cubicBezTo>
                      <a:pt x="36344" y="204356"/>
                      <a:pt x="23975" y="209068"/>
                      <a:pt x="13185" y="204490"/>
                    </a:cubicBezTo>
                    <a:cubicBezTo>
                      <a:pt x="2744" y="200046"/>
                      <a:pt x="-2530" y="188159"/>
                      <a:pt x="1191" y="177423"/>
                    </a:cubicBezTo>
                    <a:lnTo>
                      <a:pt x="34469" y="81523"/>
                    </a:lnTo>
                    <a:cubicBezTo>
                      <a:pt x="54549" y="27228"/>
                      <a:pt x="64642" y="0"/>
                      <a:pt x="111977" y="0"/>
                    </a:cubicBezTo>
                    <a:lnTo>
                      <a:pt x="151118" y="0"/>
                    </a:lnTo>
                    <a:cubicBezTo>
                      <a:pt x="198452" y="0"/>
                      <a:pt x="208519" y="27255"/>
                      <a:pt x="228625" y="81550"/>
                    </a:cubicBezTo>
                    <a:lnTo>
                      <a:pt x="229000" y="82540"/>
                    </a:lnTo>
                    <a:lnTo>
                      <a:pt x="261904" y="177450"/>
                    </a:lnTo>
                    <a:cubicBezTo>
                      <a:pt x="265625" y="188186"/>
                      <a:pt x="260351" y="200073"/>
                      <a:pt x="249910" y="204517"/>
                    </a:cubicBezTo>
                    <a:cubicBezTo>
                      <a:pt x="239120" y="209122"/>
                      <a:pt x="226778" y="204383"/>
                      <a:pt x="221772" y="193781"/>
                    </a:cubicBezTo>
                    <a:lnTo>
                      <a:pt x="196793" y="136300"/>
                    </a:lnTo>
                    <a:lnTo>
                      <a:pt x="196793" y="332651"/>
                    </a:lnTo>
                    <a:close/>
                  </a:path>
                </a:pathLst>
              </a:custGeom>
              <a:grpFill/>
              <a:ln w="2676" cap="flat">
                <a:noFill/>
                <a:prstDash val="solid"/>
                <a:miter/>
              </a:ln>
            </p:spPr>
            <p:txBody>
              <a:bodyPr rtlCol="0" anchor="ctr"/>
              <a:lstStyle/>
              <a:p>
                <a:endParaRPr lang="en-GB" dirty="0"/>
              </a:p>
            </p:txBody>
          </p:sp>
          <p:sp>
            <p:nvSpPr>
              <p:cNvPr id="301" name="Freihandform: Form 859">
                <a:extLst>
                  <a:ext uri="{FF2B5EF4-FFF2-40B4-BE49-F238E27FC236}">
                    <a16:creationId xmlns:a16="http://schemas.microsoft.com/office/drawing/2014/main" id="{911D4A1E-35BD-45E8-BD28-66CB33857423}"/>
                  </a:ext>
                </a:extLst>
              </p:cNvPr>
              <p:cNvSpPr/>
              <p:nvPr/>
            </p:nvSpPr>
            <p:spPr>
              <a:xfrm>
                <a:off x="5499529" y="3316144"/>
                <a:ext cx="91295" cy="104360"/>
              </a:xfrm>
              <a:custGeom>
                <a:avLst/>
                <a:gdLst>
                  <a:gd name="connsiteX0" fmla="*/ 45648 w 91295"/>
                  <a:gd name="connsiteY0" fmla="*/ 104360 h 104360"/>
                  <a:gd name="connsiteX1" fmla="*/ 0 w 91295"/>
                  <a:gd name="connsiteY1" fmla="*/ 52180 h 104360"/>
                  <a:gd name="connsiteX2" fmla="*/ 45648 w 91295"/>
                  <a:gd name="connsiteY2" fmla="*/ 0 h 104360"/>
                  <a:gd name="connsiteX3" fmla="*/ 91295 w 91295"/>
                  <a:gd name="connsiteY3" fmla="*/ 52180 h 104360"/>
                  <a:gd name="connsiteX4" fmla="*/ 45648 w 91295"/>
                  <a:gd name="connsiteY4" fmla="*/ 104360 h 104360"/>
                  <a:gd name="connsiteX5" fmla="*/ 45648 w 91295"/>
                  <a:gd name="connsiteY5" fmla="*/ 13038 h 104360"/>
                  <a:gd name="connsiteX6" fmla="*/ 13038 w 91295"/>
                  <a:gd name="connsiteY6" fmla="*/ 52180 h 104360"/>
                  <a:gd name="connsiteX7" fmla="*/ 45648 w 91295"/>
                  <a:gd name="connsiteY7" fmla="*/ 91322 h 104360"/>
                  <a:gd name="connsiteX8" fmla="*/ 78257 w 91295"/>
                  <a:gd name="connsiteY8" fmla="*/ 52180 h 104360"/>
                  <a:gd name="connsiteX9" fmla="*/ 45648 w 91295"/>
                  <a:gd name="connsiteY9" fmla="*/ 13038 h 104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295" h="104360">
                    <a:moveTo>
                      <a:pt x="45648" y="104360"/>
                    </a:moveTo>
                    <a:cubicBezTo>
                      <a:pt x="18339" y="104360"/>
                      <a:pt x="0" y="83397"/>
                      <a:pt x="0" y="52180"/>
                    </a:cubicBezTo>
                    <a:cubicBezTo>
                      <a:pt x="0" y="20963"/>
                      <a:pt x="18339" y="0"/>
                      <a:pt x="45648" y="0"/>
                    </a:cubicBezTo>
                    <a:cubicBezTo>
                      <a:pt x="72956" y="0"/>
                      <a:pt x="91295" y="20963"/>
                      <a:pt x="91295" y="52180"/>
                    </a:cubicBezTo>
                    <a:cubicBezTo>
                      <a:pt x="91295" y="83397"/>
                      <a:pt x="72956" y="104360"/>
                      <a:pt x="45648" y="104360"/>
                    </a:cubicBezTo>
                    <a:close/>
                    <a:moveTo>
                      <a:pt x="45648" y="13038"/>
                    </a:moveTo>
                    <a:cubicBezTo>
                      <a:pt x="21579" y="13038"/>
                      <a:pt x="13038" y="34108"/>
                      <a:pt x="13038" y="52180"/>
                    </a:cubicBezTo>
                    <a:cubicBezTo>
                      <a:pt x="13038" y="70252"/>
                      <a:pt x="21579" y="91322"/>
                      <a:pt x="45648" y="91322"/>
                    </a:cubicBezTo>
                    <a:cubicBezTo>
                      <a:pt x="69716" y="91322"/>
                      <a:pt x="78257" y="70252"/>
                      <a:pt x="78257" y="52180"/>
                    </a:cubicBezTo>
                    <a:cubicBezTo>
                      <a:pt x="78257" y="34108"/>
                      <a:pt x="69716" y="13038"/>
                      <a:pt x="45648" y="13038"/>
                    </a:cubicBezTo>
                    <a:close/>
                  </a:path>
                </a:pathLst>
              </a:custGeom>
              <a:grpFill/>
              <a:ln w="2676" cap="flat">
                <a:noFill/>
                <a:prstDash val="solid"/>
                <a:miter/>
              </a:ln>
            </p:spPr>
            <p:txBody>
              <a:bodyPr rtlCol="0" anchor="ctr"/>
              <a:lstStyle/>
              <a:p>
                <a:endParaRPr lang="en-GB" dirty="0"/>
              </a:p>
            </p:txBody>
          </p:sp>
          <p:grpSp>
            <p:nvGrpSpPr>
              <p:cNvPr id="302" name="Grafik 209">
                <a:extLst>
                  <a:ext uri="{FF2B5EF4-FFF2-40B4-BE49-F238E27FC236}">
                    <a16:creationId xmlns:a16="http://schemas.microsoft.com/office/drawing/2014/main" id="{5E4D7693-A2AC-49B0-BB24-EA7FCDDF740A}"/>
                  </a:ext>
                </a:extLst>
              </p:cNvPr>
              <p:cNvGrpSpPr/>
              <p:nvPr/>
            </p:nvGrpSpPr>
            <p:grpSpPr>
              <a:xfrm>
                <a:off x="5538644" y="3492255"/>
                <a:ext cx="13038" cy="91295"/>
                <a:chOff x="5538644" y="3492255"/>
                <a:chExt cx="13038" cy="91295"/>
              </a:xfrm>
              <a:grpFill/>
            </p:grpSpPr>
            <p:sp>
              <p:nvSpPr>
                <p:cNvPr id="303" name="Freihandform: Form 861">
                  <a:extLst>
                    <a:ext uri="{FF2B5EF4-FFF2-40B4-BE49-F238E27FC236}">
                      <a16:creationId xmlns:a16="http://schemas.microsoft.com/office/drawing/2014/main" id="{83E11EDD-BD4C-491D-B3C9-F93FA21D9C0E}"/>
                    </a:ext>
                  </a:extLst>
                </p:cNvPr>
                <p:cNvSpPr/>
                <p:nvPr/>
              </p:nvSpPr>
              <p:spPr>
                <a:xfrm>
                  <a:off x="5538644" y="3492255"/>
                  <a:ext cx="13038" cy="13038"/>
                </a:xfrm>
                <a:custGeom>
                  <a:avLst/>
                  <a:gdLst>
                    <a:gd name="connsiteX0" fmla="*/ 0 w 13038"/>
                    <a:gd name="connsiteY0" fmla="*/ 0 h 13038"/>
                    <a:gd name="connsiteX1" fmla="*/ 13038 w 13038"/>
                    <a:gd name="connsiteY1" fmla="*/ 0 h 13038"/>
                    <a:gd name="connsiteX2" fmla="*/ 13038 w 13038"/>
                    <a:gd name="connsiteY2" fmla="*/ 13038 h 13038"/>
                    <a:gd name="connsiteX3" fmla="*/ 0 w 13038"/>
                    <a:gd name="connsiteY3" fmla="*/ 13038 h 13038"/>
                  </a:gdLst>
                  <a:ahLst/>
                  <a:cxnLst>
                    <a:cxn ang="0">
                      <a:pos x="connsiteX0" y="connsiteY0"/>
                    </a:cxn>
                    <a:cxn ang="0">
                      <a:pos x="connsiteX1" y="connsiteY1"/>
                    </a:cxn>
                    <a:cxn ang="0">
                      <a:pos x="connsiteX2" y="connsiteY2"/>
                    </a:cxn>
                    <a:cxn ang="0">
                      <a:pos x="connsiteX3" y="connsiteY3"/>
                    </a:cxn>
                  </a:cxnLst>
                  <a:rect l="l" t="t" r="r" b="b"/>
                  <a:pathLst>
                    <a:path w="13038" h="13038">
                      <a:moveTo>
                        <a:pt x="0" y="0"/>
                      </a:moveTo>
                      <a:lnTo>
                        <a:pt x="13038" y="0"/>
                      </a:lnTo>
                      <a:lnTo>
                        <a:pt x="13038" y="13038"/>
                      </a:lnTo>
                      <a:lnTo>
                        <a:pt x="0" y="13038"/>
                      </a:lnTo>
                      <a:close/>
                    </a:path>
                  </a:pathLst>
                </a:custGeom>
                <a:grpFill/>
                <a:ln w="2676" cap="flat">
                  <a:noFill/>
                  <a:prstDash val="solid"/>
                  <a:miter/>
                </a:ln>
              </p:spPr>
              <p:txBody>
                <a:bodyPr rtlCol="0" anchor="ctr"/>
                <a:lstStyle/>
                <a:p>
                  <a:endParaRPr lang="en-GB" dirty="0"/>
                </a:p>
              </p:txBody>
            </p:sp>
            <p:sp>
              <p:nvSpPr>
                <p:cNvPr id="304" name="Freihandform: Form 862">
                  <a:extLst>
                    <a:ext uri="{FF2B5EF4-FFF2-40B4-BE49-F238E27FC236}">
                      <a16:creationId xmlns:a16="http://schemas.microsoft.com/office/drawing/2014/main" id="{1F470D21-3175-464B-B3E4-BD36223FD196}"/>
                    </a:ext>
                  </a:extLst>
                </p:cNvPr>
                <p:cNvSpPr/>
                <p:nvPr/>
              </p:nvSpPr>
              <p:spPr>
                <a:xfrm>
                  <a:off x="5538644" y="3531370"/>
                  <a:ext cx="13038" cy="13038"/>
                </a:xfrm>
                <a:custGeom>
                  <a:avLst/>
                  <a:gdLst>
                    <a:gd name="connsiteX0" fmla="*/ 0 w 13038"/>
                    <a:gd name="connsiteY0" fmla="*/ 0 h 13038"/>
                    <a:gd name="connsiteX1" fmla="*/ 13038 w 13038"/>
                    <a:gd name="connsiteY1" fmla="*/ 0 h 13038"/>
                    <a:gd name="connsiteX2" fmla="*/ 13038 w 13038"/>
                    <a:gd name="connsiteY2" fmla="*/ 13038 h 13038"/>
                    <a:gd name="connsiteX3" fmla="*/ 0 w 13038"/>
                    <a:gd name="connsiteY3" fmla="*/ 13038 h 13038"/>
                  </a:gdLst>
                  <a:ahLst/>
                  <a:cxnLst>
                    <a:cxn ang="0">
                      <a:pos x="connsiteX0" y="connsiteY0"/>
                    </a:cxn>
                    <a:cxn ang="0">
                      <a:pos x="connsiteX1" y="connsiteY1"/>
                    </a:cxn>
                    <a:cxn ang="0">
                      <a:pos x="connsiteX2" y="connsiteY2"/>
                    </a:cxn>
                    <a:cxn ang="0">
                      <a:pos x="connsiteX3" y="connsiteY3"/>
                    </a:cxn>
                  </a:cxnLst>
                  <a:rect l="l" t="t" r="r" b="b"/>
                  <a:pathLst>
                    <a:path w="13038" h="13038">
                      <a:moveTo>
                        <a:pt x="0" y="0"/>
                      </a:moveTo>
                      <a:lnTo>
                        <a:pt x="13038" y="0"/>
                      </a:lnTo>
                      <a:lnTo>
                        <a:pt x="13038" y="13038"/>
                      </a:lnTo>
                      <a:lnTo>
                        <a:pt x="0" y="13038"/>
                      </a:lnTo>
                      <a:close/>
                    </a:path>
                  </a:pathLst>
                </a:custGeom>
                <a:grpFill/>
                <a:ln w="2676" cap="flat">
                  <a:noFill/>
                  <a:prstDash val="solid"/>
                  <a:miter/>
                </a:ln>
              </p:spPr>
              <p:txBody>
                <a:bodyPr rtlCol="0" anchor="ctr"/>
                <a:lstStyle/>
                <a:p>
                  <a:endParaRPr lang="en-GB" dirty="0"/>
                </a:p>
              </p:txBody>
            </p:sp>
            <p:sp>
              <p:nvSpPr>
                <p:cNvPr id="305" name="Freihandform: Form 863">
                  <a:extLst>
                    <a:ext uri="{FF2B5EF4-FFF2-40B4-BE49-F238E27FC236}">
                      <a16:creationId xmlns:a16="http://schemas.microsoft.com/office/drawing/2014/main" id="{B0FD8508-4344-4FE4-8F41-7120CD2FC3DF}"/>
                    </a:ext>
                  </a:extLst>
                </p:cNvPr>
                <p:cNvSpPr/>
                <p:nvPr/>
              </p:nvSpPr>
              <p:spPr>
                <a:xfrm>
                  <a:off x="5538644" y="3570511"/>
                  <a:ext cx="13038" cy="13038"/>
                </a:xfrm>
                <a:custGeom>
                  <a:avLst/>
                  <a:gdLst>
                    <a:gd name="connsiteX0" fmla="*/ 0 w 13038"/>
                    <a:gd name="connsiteY0" fmla="*/ 0 h 13038"/>
                    <a:gd name="connsiteX1" fmla="*/ 13038 w 13038"/>
                    <a:gd name="connsiteY1" fmla="*/ 0 h 13038"/>
                    <a:gd name="connsiteX2" fmla="*/ 13038 w 13038"/>
                    <a:gd name="connsiteY2" fmla="*/ 13038 h 13038"/>
                    <a:gd name="connsiteX3" fmla="*/ 0 w 13038"/>
                    <a:gd name="connsiteY3" fmla="*/ 13038 h 13038"/>
                  </a:gdLst>
                  <a:ahLst/>
                  <a:cxnLst>
                    <a:cxn ang="0">
                      <a:pos x="connsiteX0" y="connsiteY0"/>
                    </a:cxn>
                    <a:cxn ang="0">
                      <a:pos x="connsiteX1" y="connsiteY1"/>
                    </a:cxn>
                    <a:cxn ang="0">
                      <a:pos x="connsiteX2" y="connsiteY2"/>
                    </a:cxn>
                    <a:cxn ang="0">
                      <a:pos x="connsiteX3" y="connsiteY3"/>
                    </a:cxn>
                  </a:cxnLst>
                  <a:rect l="l" t="t" r="r" b="b"/>
                  <a:pathLst>
                    <a:path w="13038" h="13038">
                      <a:moveTo>
                        <a:pt x="0" y="0"/>
                      </a:moveTo>
                      <a:lnTo>
                        <a:pt x="13038" y="0"/>
                      </a:lnTo>
                      <a:lnTo>
                        <a:pt x="13038" y="13038"/>
                      </a:lnTo>
                      <a:lnTo>
                        <a:pt x="0" y="13038"/>
                      </a:lnTo>
                      <a:close/>
                    </a:path>
                  </a:pathLst>
                </a:custGeom>
                <a:grpFill/>
                <a:ln w="2676" cap="flat">
                  <a:noFill/>
                  <a:prstDash val="solid"/>
                  <a:miter/>
                </a:ln>
              </p:spPr>
              <p:txBody>
                <a:bodyPr rtlCol="0" anchor="ctr"/>
                <a:lstStyle/>
                <a:p>
                  <a:endParaRPr lang="en-GB" dirty="0"/>
                </a:p>
              </p:txBody>
            </p:sp>
          </p:grpSp>
        </p:grpSp>
      </p:grpSp>
      <p:grpSp>
        <p:nvGrpSpPr>
          <p:cNvPr id="5" name="Group 4">
            <a:extLst>
              <a:ext uri="{FF2B5EF4-FFF2-40B4-BE49-F238E27FC236}">
                <a16:creationId xmlns:a16="http://schemas.microsoft.com/office/drawing/2014/main" id="{7EC2C355-D0F6-D8C7-E048-6AB62738FC1E}"/>
              </a:ext>
            </a:extLst>
          </p:cNvPr>
          <p:cNvGrpSpPr/>
          <p:nvPr/>
        </p:nvGrpSpPr>
        <p:grpSpPr>
          <a:xfrm>
            <a:off x="1560861" y="1618297"/>
            <a:ext cx="584693" cy="432009"/>
            <a:chOff x="1560861" y="1618297"/>
            <a:chExt cx="584693" cy="432009"/>
          </a:xfrm>
        </p:grpSpPr>
        <p:grpSp>
          <p:nvGrpSpPr>
            <p:cNvPr id="590" name="Group 1263">
              <a:extLst>
                <a:ext uri="{FF2B5EF4-FFF2-40B4-BE49-F238E27FC236}">
                  <a16:creationId xmlns:a16="http://schemas.microsoft.com/office/drawing/2014/main" id="{FB3E6CAA-9D38-4535-B596-AB7A2FA579EA}"/>
                </a:ext>
              </a:extLst>
            </p:cNvPr>
            <p:cNvGrpSpPr/>
            <p:nvPr/>
          </p:nvGrpSpPr>
          <p:grpSpPr>
            <a:xfrm>
              <a:off x="1560861" y="1618297"/>
              <a:ext cx="370949" cy="369453"/>
              <a:chOff x="6877310" y="4174682"/>
              <a:chExt cx="386099" cy="384541"/>
            </a:xfrm>
          </p:grpSpPr>
          <p:sp>
            <p:nvSpPr>
              <p:cNvPr id="597" name="Freihandform: Form 596">
                <a:extLst>
                  <a:ext uri="{FF2B5EF4-FFF2-40B4-BE49-F238E27FC236}">
                    <a16:creationId xmlns:a16="http://schemas.microsoft.com/office/drawing/2014/main" id="{6BEB7D5E-57F4-4603-92E5-1432EC31E723}"/>
                  </a:ext>
                </a:extLst>
              </p:cNvPr>
              <p:cNvSpPr/>
              <p:nvPr/>
            </p:nvSpPr>
            <p:spPr>
              <a:xfrm>
                <a:off x="7065226" y="4231263"/>
                <a:ext cx="9747" cy="191694"/>
              </a:xfrm>
              <a:custGeom>
                <a:avLst/>
                <a:gdLst>
                  <a:gd name="connsiteX0" fmla="*/ 4874 w 9747"/>
                  <a:gd name="connsiteY0" fmla="*/ 191694 h 191694"/>
                  <a:gd name="connsiteX1" fmla="*/ 0 w 9747"/>
                  <a:gd name="connsiteY1" fmla="*/ 186821 h 191694"/>
                  <a:gd name="connsiteX2" fmla="*/ 0 w 9747"/>
                  <a:gd name="connsiteY2" fmla="*/ 4874 h 191694"/>
                  <a:gd name="connsiteX3" fmla="*/ 4874 w 9747"/>
                  <a:gd name="connsiteY3" fmla="*/ 0 h 191694"/>
                  <a:gd name="connsiteX4" fmla="*/ 9747 w 9747"/>
                  <a:gd name="connsiteY4" fmla="*/ 4874 h 191694"/>
                  <a:gd name="connsiteX5" fmla="*/ 9747 w 9747"/>
                  <a:gd name="connsiteY5" fmla="*/ 186821 h 191694"/>
                  <a:gd name="connsiteX6" fmla="*/ 4874 w 9747"/>
                  <a:gd name="connsiteY6" fmla="*/ 191694 h 191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47" h="191694">
                    <a:moveTo>
                      <a:pt x="4874" y="191694"/>
                    </a:moveTo>
                    <a:cubicBezTo>
                      <a:pt x="2182" y="191694"/>
                      <a:pt x="0" y="189512"/>
                      <a:pt x="0" y="186821"/>
                    </a:cubicBezTo>
                    <a:lnTo>
                      <a:pt x="0" y="4874"/>
                    </a:lnTo>
                    <a:cubicBezTo>
                      <a:pt x="0" y="2182"/>
                      <a:pt x="2182" y="0"/>
                      <a:pt x="4874" y="0"/>
                    </a:cubicBezTo>
                    <a:cubicBezTo>
                      <a:pt x="7565" y="0"/>
                      <a:pt x="9747" y="2182"/>
                      <a:pt x="9747" y="4874"/>
                    </a:cubicBezTo>
                    <a:lnTo>
                      <a:pt x="9747" y="186821"/>
                    </a:lnTo>
                    <a:cubicBezTo>
                      <a:pt x="9747" y="189512"/>
                      <a:pt x="7565" y="191694"/>
                      <a:pt x="4874" y="191694"/>
                    </a:cubicBezTo>
                    <a:close/>
                  </a:path>
                </a:pathLst>
              </a:custGeom>
              <a:solidFill>
                <a:schemeClr val="accent1"/>
              </a:solidFill>
              <a:ln w="2422" cap="flat">
                <a:noFill/>
                <a:prstDash val="solid"/>
                <a:miter/>
              </a:ln>
            </p:spPr>
            <p:txBody>
              <a:bodyPr rtlCol="0" anchor="ctr"/>
              <a:lstStyle/>
              <a:p>
                <a:endParaRPr lang="en-GB" dirty="0"/>
              </a:p>
            </p:txBody>
          </p:sp>
          <p:sp>
            <p:nvSpPr>
              <p:cNvPr id="598" name="Freihandform: Form 597">
                <a:extLst>
                  <a:ext uri="{FF2B5EF4-FFF2-40B4-BE49-F238E27FC236}">
                    <a16:creationId xmlns:a16="http://schemas.microsoft.com/office/drawing/2014/main" id="{8A003A1F-EF42-4A7E-8077-4E22286334E6}"/>
                  </a:ext>
                </a:extLst>
              </p:cNvPr>
              <p:cNvSpPr/>
              <p:nvPr/>
            </p:nvSpPr>
            <p:spPr>
              <a:xfrm>
                <a:off x="6956940" y="4417526"/>
                <a:ext cx="197389" cy="141697"/>
              </a:xfrm>
              <a:custGeom>
                <a:avLst/>
                <a:gdLst>
                  <a:gd name="connsiteX0" fmla="*/ 9359 w 197389"/>
                  <a:gd name="connsiteY0" fmla="*/ 141698 h 141697"/>
                  <a:gd name="connsiteX1" fmla="*/ 4728 w 197389"/>
                  <a:gd name="connsiteY1" fmla="*/ 138303 h 141697"/>
                  <a:gd name="connsiteX2" fmla="*/ 0 w 197389"/>
                  <a:gd name="connsiteY2" fmla="*/ 108019 h 141697"/>
                  <a:gd name="connsiteX3" fmla="*/ 117499 w 197389"/>
                  <a:gd name="connsiteY3" fmla="*/ 0 h 141697"/>
                  <a:gd name="connsiteX4" fmla="*/ 195598 w 197389"/>
                  <a:gd name="connsiteY4" fmla="*/ 27302 h 141697"/>
                  <a:gd name="connsiteX5" fmla="*/ 196277 w 197389"/>
                  <a:gd name="connsiteY5" fmla="*/ 34163 h 141697"/>
                  <a:gd name="connsiteX6" fmla="*/ 189415 w 197389"/>
                  <a:gd name="connsiteY6" fmla="*/ 34842 h 141697"/>
                  <a:gd name="connsiteX7" fmla="*/ 117499 w 197389"/>
                  <a:gd name="connsiteY7" fmla="*/ 9747 h 141697"/>
                  <a:gd name="connsiteX8" fmla="*/ 9747 w 197389"/>
                  <a:gd name="connsiteY8" fmla="*/ 108019 h 141697"/>
                  <a:gd name="connsiteX9" fmla="*/ 14015 w 197389"/>
                  <a:gd name="connsiteY9" fmla="*/ 135321 h 141697"/>
                  <a:gd name="connsiteX10" fmla="*/ 10862 w 197389"/>
                  <a:gd name="connsiteY10" fmla="*/ 141455 h 141697"/>
                  <a:gd name="connsiteX11" fmla="*/ 9359 w 197389"/>
                  <a:gd name="connsiteY11" fmla="*/ 141698 h 14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7389" h="141697">
                    <a:moveTo>
                      <a:pt x="9359" y="141698"/>
                    </a:moveTo>
                    <a:cubicBezTo>
                      <a:pt x="7298" y="141698"/>
                      <a:pt x="5383" y="140388"/>
                      <a:pt x="4728" y="138303"/>
                    </a:cubicBezTo>
                    <a:cubicBezTo>
                      <a:pt x="1576" y="128507"/>
                      <a:pt x="0" y="118324"/>
                      <a:pt x="0" y="108019"/>
                    </a:cubicBezTo>
                    <a:cubicBezTo>
                      <a:pt x="0" y="48469"/>
                      <a:pt x="52712" y="0"/>
                      <a:pt x="117499" y="0"/>
                    </a:cubicBezTo>
                    <a:cubicBezTo>
                      <a:pt x="146353" y="0"/>
                      <a:pt x="174091" y="9699"/>
                      <a:pt x="195598" y="27302"/>
                    </a:cubicBezTo>
                    <a:cubicBezTo>
                      <a:pt x="197683" y="28999"/>
                      <a:pt x="197998" y="32078"/>
                      <a:pt x="196277" y="34163"/>
                    </a:cubicBezTo>
                    <a:cubicBezTo>
                      <a:pt x="194580" y="36249"/>
                      <a:pt x="191476" y="36540"/>
                      <a:pt x="189415" y="34842"/>
                    </a:cubicBezTo>
                    <a:cubicBezTo>
                      <a:pt x="169630" y="18670"/>
                      <a:pt x="144098" y="9747"/>
                      <a:pt x="117499" y="9747"/>
                    </a:cubicBezTo>
                    <a:cubicBezTo>
                      <a:pt x="58071" y="9747"/>
                      <a:pt x="9747" y="53828"/>
                      <a:pt x="9747" y="108019"/>
                    </a:cubicBezTo>
                    <a:cubicBezTo>
                      <a:pt x="9747" y="117305"/>
                      <a:pt x="11178" y="126495"/>
                      <a:pt x="14015" y="135321"/>
                    </a:cubicBezTo>
                    <a:cubicBezTo>
                      <a:pt x="14839" y="137891"/>
                      <a:pt x="13433" y="140631"/>
                      <a:pt x="10862" y="141455"/>
                    </a:cubicBezTo>
                    <a:cubicBezTo>
                      <a:pt x="10353" y="141625"/>
                      <a:pt x="9844" y="141698"/>
                      <a:pt x="9359" y="141698"/>
                    </a:cubicBezTo>
                    <a:close/>
                  </a:path>
                </a:pathLst>
              </a:custGeom>
              <a:solidFill>
                <a:schemeClr val="accent1"/>
              </a:solidFill>
              <a:ln w="2422" cap="flat">
                <a:noFill/>
                <a:prstDash val="solid"/>
                <a:miter/>
              </a:ln>
            </p:spPr>
            <p:txBody>
              <a:bodyPr rtlCol="0" anchor="ctr"/>
              <a:lstStyle/>
              <a:p>
                <a:endParaRPr lang="en-GB" dirty="0"/>
              </a:p>
            </p:txBody>
          </p:sp>
          <p:grpSp>
            <p:nvGrpSpPr>
              <p:cNvPr id="599" name="Grafik 22">
                <a:extLst>
                  <a:ext uri="{FF2B5EF4-FFF2-40B4-BE49-F238E27FC236}">
                    <a16:creationId xmlns:a16="http://schemas.microsoft.com/office/drawing/2014/main" id="{AC958059-B301-49F0-8BF0-A1E776350E63}"/>
                  </a:ext>
                </a:extLst>
              </p:cNvPr>
              <p:cNvGrpSpPr/>
              <p:nvPr/>
            </p:nvGrpSpPr>
            <p:grpSpPr>
              <a:xfrm>
                <a:off x="6877310" y="4252619"/>
                <a:ext cx="197678" cy="137872"/>
                <a:chOff x="6877310" y="4252619"/>
                <a:chExt cx="197678" cy="137872"/>
              </a:xfrm>
              <a:solidFill>
                <a:schemeClr val="accent1"/>
              </a:solidFill>
            </p:grpSpPr>
            <p:sp>
              <p:nvSpPr>
                <p:cNvPr id="603" name="Freihandform: Form 602">
                  <a:extLst>
                    <a:ext uri="{FF2B5EF4-FFF2-40B4-BE49-F238E27FC236}">
                      <a16:creationId xmlns:a16="http://schemas.microsoft.com/office/drawing/2014/main" id="{8CF78496-F69C-438C-9267-80D70AE0B3A8}"/>
                    </a:ext>
                  </a:extLst>
                </p:cNvPr>
                <p:cNvSpPr/>
                <p:nvPr/>
              </p:nvSpPr>
              <p:spPr>
                <a:xfrm>
                  <a:off x="7006533" y="4339339"/>
                  <a:ext cx="68455" cy="51151"/>
                </a:xfrm>
                <a:custGeom>
                  <a:avLst/>
                  <a:gdLst>
                    <a:gd name="connsiteX0" fmla="*/ 63566 w 68455"/>
                    <a:gd name="connsiteY0" fmla="*/ 51152 h 51151"/>
                    <a:gd name="connsiteX1" fmla="*/ 60778 w 68455"/>
                    <a:gd name="connsiteY1" fmla="*/ 50255 h 51151"/>
                    <a:gd name="connsiteX2" fmla="*/ 2077 w 68455"/>
                    <a:gd name="connsiteY2" fmla="*/ 8866 h 51151"/>
                    <a:gd name="connsiteX3" fmla="*/ 889 w 68455"/>
                    <a:gd name="connsiteY3" fmla="*/ 2077 h 51151"/>
                    <a:gd name="connsiteX4" fmla="*/ 7678 w 68455"/>
                    <a:gd name="connsiteY4" fmla="*/ 889 h 51151"/>
                    <a:gd name="connsiteX5" fmla="*/ 66379 w 68455"/>
                    <a:gd name="connsiteY5" fmla="*/ 42278 h 51151"/>
                    <a:gd name="connsiteX6" fmla="*/ 67567 w 68455"/>
                    <a:gd name="connsiteY6" fmla="*/ 49067 h 51151"/>
                    <a:gd name="connsiteX7" fmla="*/ 63566 w 68455"/>
                    <a:gd name="connsiteY7" fmla="*/ 51152 h 51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455" h="51151">
                      <a:moveTo>
                        <a:pt x="63566" y="51152"/>
                      </a:moveTo>
                      <a:cubicBezTo>
                        <a:pt x="62596" y="51152"/>
                        <a:pt x="61627" y="50861"/>
                        <a:pt x="60778" y="50255"/>
                      </a:cubicBezTo>
                      <a:lnTo>
                        <a:pt x="2077" y="8866"/>
                      </a:lnTo>
                      <a:cubicBezTo>
                        <a:pt x="-130" y="7314"/>
                        <a:pt x="-663" y="4259"/>
                        <a:pt x="889" y="2077"/>
                      </a:cubicBezTo>
                      <a:cubicBezTo>
                        <a:pt x="2440" y="-130"/>
                        <a:pt x="5471" y="-663"/>
                        <a:pt x="7678" y="889"/>
                      </a:cubicBezTo>
                      <a:lnTo>
                        <a:pt x="66379" y="42278"/>
                      </a:lnTo>
                      <a:cubicBezTo>
                        <a:pt x="68585" y="43829"/>
                        <a:pt x="69119" y="46860"/>
                        <a:pt x="67567" y="49067"/>
                      </a:cubicBezTo>
                      <a:cubicBezTo>
                        <a:pt x="66597" y="50425"/>
                        <a:pt x="65094" y="51152"/>
                        <a:pt x="63566" y="51152"/>
                      </a:cubicBezTo>
                      <a:close/>
                    </a:path>
                  </a:pathLst>
                </a:custGeom>
                <a:solidFill>
                  <a:schemeClr val="accent1"/>
                </a:solidFill>
                <a:ln w="2422" cap="flat">
                  <a:noFill/>
                  <a:prstDash val="solid"/>
                  <a:miter/>
                </a:ln>
              </p:spPr>
              <p:txBody>
                <a:bodyPr rtlCol="0" anchor="ctr"/>
                <a:lstStyle/>
                <a:p>
                  <a:endParaRPr lang="en-GB" dirty="0"/>
                </a:p>
              </p:txBody>
            </p:sp>
            <p:sp>
              <p:nvSpPr>
                <p:cNvPr id="604" name="Freihandform: Form 603">
                  <a:extLst>
                    <a:ext uri="{FF2B5EF4-FFF2-40B4-BE49-F238E27FC236}">
                      <a16:creationId xmlns:a16="http://schemas.microsoft.com/office/drawing/2014/main" id="{3D6CB5AB-19F9-4A96-AF3C-BBABFD26EC48}"/>
                    </a:ext>
                  </a:extLst>
                </p:cNvPr>
                <p:cNvSpPr/>
                <p:nvPr/>
              </p:nvSpPr>
              <p:spPr>
                <a:xfrm>
                  <a:off x="6877310" y="4252619"/>
                  <a:ext cx="143547" cy="113407"/>
                </a:xfrm>
                <a:custGeom>
                  <a:avLst/>
                  <a:gdLst>
                    <a:gd name="connsiteX0" fmla="*/ 99342 w 143547"/>
                    <a:gd name="connsiteY0" fmla="*/ 113408 h 113407"/>
                    <a:gd name="connsiteX1" fmla="*/ 440 w 143547"/>
                    <a:gd name="connsiteY1" fmla="*/ 6916 h 113407"/>
                    <a:gd name="connsiteX2" fmla="*/ 1410 w 143547"/>
                    <a:gd name="connsiteY2" fmla="*/ 1461 h 113407"/>
                    <a:gd name="connsiteX3" fmla="*/ 5265 w 143547"/>
                    <a:gd name="connsiteY3" fmla="*/ 30 h 113407"/>
                    <a:gd name="connsiteX4" fmla="*/ 135858 w 143547"/>
                    <a:gd name="connsiteY4" fmla="*/ 44474 h 113407"/>
                    <a:gd name="connsiteX5" fmla="*/ 138234 w 143547"/>
                    <a:gd name="connsiteY5" fmla="*/ 94568 h 113407"/>
                    <a:gd name="connsiteX6" fmla="*/ 138234 w 143547"/>
                    <a:gd name="connsiteY6" fmla="*/ 94568 h 113407"/>
                    <a:gd name="connsiteX7" fmla="*/ 137046 w 143547"/>
                    <a:gd name="connsiteY7" fmla="*/ 96289 h 113407"/>
                    <a:gd name="connsiteX8" fmla="*/ 99342 w 143547"/>
                    <a:gd name="connsiteY8" fmla="*/ 113408 h 113407"/>
                    <a:gd name="connsiteX9" fmla="*/ 12466 w 143547"/>
                    <a:gd name="connsiteY9" fmla="*/ 10092 h 113407"/>
                    <a:gd name="connsiteX10" fmla="*/ 99342 w 143547"/>
                    <a:gd name="connsiteY10" fmla="*/ 103660 h 113407"/>
                    <a:gd name="connsiteX11" fmla="*/ 129602 w 143547"/>
                    <a:gd name="connsiteY11" fmla="*/ 89913 h 113407"/>
                    <a:gd name="connsiteX12" fmla="*/ 127735 w 143547"/>
                    <a:gd name="connsiteY12" fmla="*/ 49857 h 113407"/>
                    <a:gd name="connsiteX13" fmla="*/ 12466 w 143547"/>
                    <a:gd name="connsiteY13" fmla="*/ 10092 h 113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547" h="113407">
                      <a:moveTo>
                        <a:pt x="99342" y="113408"/>
                      </a:moveTo>
                      <a:cubicBezTo>
                        <a:pt x="44909" y="113408"/>
                        <a:pt x="3010" y="13196"/>
                        <a:pt x="440" y="6916"/>
                      </a:cubicBezTo>
                      <a:cubicBezTo>
                        <a:pt x="-384" y="5122"/>
                        <a:pt x="-45" y="2940"/>
                        <a:pt x="1410" y="1461"/>
                      </a:cubicBezTo>
                      <a:cubicBezTo>
                        <a:pt x="2428" y="418"/>
                        <a:pt x="3859" y="-140"/>
                        <a:pt x="5265" y="30"/>
                      </a:cubicBezTo>
                      <a:cubicBezTo>
                        <a:pt x="12345" y="151"/>
                        <a:pt x="108120" y="2576"/>
                        <a:pt x="135858" y="44474"/>
                      </a:cubicBezTo>
                      <a:cubicBezTo>
                        <a:pt x="145241" y="58610"/>
                        <a:pt x="146041" y="75461"/>
                        <a:pt x="138234" y="94568"/>
                      </a:cubicBezTo>
                      <a:lnTo>
                        <a:pt x="138234" y="94568"/>
                      </a:lnTo>
                      <a:cubicBezTo>
                        <a:pt x="137967" y="95223"/>
                        <a:pt x="137579" y="95804"/>
                        <a:pt x="137046" y="96289"/>
                      </a:cubicBezTo>
                      <a:cubicBezTo>
                        <a:pt x="125117" y="107637"/>
                        <a:pt x="112436" y="113408"/>
                        <a:pt x="99342" y="113408"/>
                      </a:cubicBezTo>
                      <a:close/>
                      <a:moveTo>
                        <a:pt x="12466" y="10092"/>
                      </a:moveTo>
                      <a:cubicBezTo>
                        <a:pt x="22868" y="32909"/>
                        <a:pt x="58438" y="103660"/>
                        <a:pt x="99342" y="103660"/>
                      </a:cubicBezTo>
                      <a:cubicBezTo>
                        <a:pt x="109599" y="103660"/>
                        <a:pt x="119782" y="99029"/>
                        <a:pt x="129602" y="89913"/>
                      </a:cubicBezTo>
                      <a:cubicBezTo>
                        <a:pt x="135785" y="74176"/>
                        <a:pt x="135155" y="61059"/>
                        <a:pt x="127735" y="49857"/>
                      </a:cubicBezTo>
                      <a:cubicBezTo>
                        <a:pt x="106544" y="17876"/>
                        <a:pt x="35913" y="11378"/>
                        <a:pt x="12466" y="10092"/>
                      </a:cubicBezTo>
                      <a:close/>
                    </a:path>
                  </a:pathLst>
                </a:custGeom>
                <a:solidFill>
                  <a:schemeClr val="accent1"/>
                </a:solidFill>
                <a:ln w="2422" cap="flat">
                  <a:noFill/>
                  <a:prstDash val="solid"/>
                  <a:miter/>
                </a:ln>
              </p:spPr>
              <p:txBody>
                <a:bodyPr rtlCol="0" anchor="ctr"/>
                <a:lstStyle/>
                <a:p>
                  <a:endParaRPr lang="en-GB" dirty="0"/>
                </a:p>
              </p:txBody>
            </p:sp>
          </p:grpSp>
          <p:grpSp>
            <p:nvGrpSpPr>
              <p:cNvPr id="600" name="Grafik 22">
                <a:extLst>
                  <a:ext uri="{FF2B5EF4-FFF2-40B4-BE49-F238E27FC236}">
                    <a16:creationId xmlns:a16="http://schemas.microsoft.com/office/drawing/2014/main" id="{90C080E4-4F7D-42F2-BEE2-0596C6364020}"/>
                  </a:ext>
                </a:extLst>
              </p:cNvPr>
              <p:cNvGrpSpPr/>
              <p:nvPr/>
            </p:nvGrpSpPr>
            <p:grpSpPr>
              <a:xfrm>
                <a:off x="7065729" y="4174682"/>
                <a:ext cx="197680" cy="137832"/>
                <a:chOff x="7065729" y="4174682"/>
                <a:chExt cx="197680" cy="137832"/>
              </a:xfrm>
              <a:solidFill>
                <a:schemeClr val="accent1"/>
              </a:solidFill>
            </p:grpSpPr>
            <p:sp>
              <p:nvSpPr>
                <p:cNvPr id="601" name="Freihandform: Form 600">
                  <a:extLst>
                    <a:ext uri="{FF2B5EF4-FFF2-40B4-BE49-F238E27FC236}">
                      <a16:creationId xmlns:a16="http://schemas.microsoft.com/office/drawing/2014/main" id="{9094979F-A5FA-4C72-9774-BA9DB186DC9C}"/>
                    </a:ext>
                  </a:extLst>
                </p:cNvPr>
                <p:cNvSpPr/>
                <p:nvPr/>
              </p:nvSpPr>
              <p:spPr>
                <a:xfrm>
                  <a:off x="7065729" y="4264111"/>
                  <a:ext cx="69115" cy="48402"/>
                </a:xfrm>
                <a:custGeom>
                  <a:avLst/>
                  <a:gdLst>
                    <a:gd name="connsiteX0" fmla="*/ 4880 w 69115"/>
                    <a:gd name="connsiteY0" fmla="*/ 48403 h 48402"/>
                    <a:gd name="connsiteX1" fmla="*/ 782 w 69115"/>
                    <a:gd name="connsiteY1" fmla="*/ 46196 h 48402"/>
                    <a:gd name="connsiteX2" fmla="*/ 2213 w 69115"/>
                    <a:gd name="connsiteY2" fmla="*/ 39456 h 48402"/>
                    <a:gd name="connsiteX3" fmla="*/ 61593 w 69115"/>
                    <a:gd name="connsiteY3" fmla="*/ 782 h 48402"/>
                    <a:gd name="connsiteX4" fmla="*/ 68333 w 69115"/>
                    <a:gd name="connsiteY4" fmla="*/ 2213 h 48402"/>
                    <a:gd name="connsiteX5" fmla="*/ 66903 w 69115"/>
                    <a:gd name="connsiteY5" fmla="*/ 8953 h 48402"/>
                    <a:gd name="connsiteX6" fmla="*/ 7523 w 69115"/>
                    <a:gd name="connsiteY6" fmla="*/ 47627 h 48402"/>
                    <a:gd name="connsiteX7" fmla="*/ 4880 w 69115"/>
                    <a:gd name="connsiteY7" fmla="*/ 48403 h 48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115" h="48402">
                      <a:moveTo>
                        <a:pt x="4880" y="48403"/>
                      </a:moveTo>
                      <a:cubicBezTo>
                        <a:pt x="3279" y="48403"/>
                        <a:pt x="1728" y="47627"/>
                        <a:pt x="782" y="46196"/>
                      </a:cubicBezTo>
                      <a:cubicBezTo>
                        <a:pt x="-673" y="43941"/>
                        <a:pt x="-42" y="40935"/>
                        <a:pt x="2213" y="39456"/>
                      </a:cubicBezTo>
                      <a:lnTo>
                        <a:pt x="61593" y="782"/>
                      </a:lnTo>
                      <a:cubicBezTo>
                        <a:pt x="63848" y="-673"/>
                        <a:pt x="66878" y="-42"/>
                        <a:pt x="68333" y="2213"/>
                      </a:cubicBezTo>
                      <a:cubicBezTo>
                        <a:pt x="69788" y="4468"/>
                        <a:pt x="69158" y="7474"/>
                        <a:pt x="66903" y="8953"/>
                      </a:cubicBezTo>
                      <a:lnTo>
                        <a:pt x="7523" y="47627"/>
                      </a:lnTo>
                      <a:cubicBezTo>
                        <a:pt x="6722" y="48136"/>
                        <a:pt x="5801" y="48403"/>
                        <a:pt x="4880" y="48403"/>
                      </a:cubicBezTo>
                      <a:close/>
                    </a:path>
                  </a:pathLst>
                </a:custGeom>
                <a:solidFill>
                  <a:schemeClr val="accent1"/>
                </a:solidFill>
                <a:ln w="2422" cap="flat">
                  <a:noFill/>
                  <a:prstDash val="solid"/>
                  <a:miter/>
                </a:ln>
              </p:spPr>
              <p:txBody>
                <a:bodyPr rtlCol="0" anchor="ctr"/>
                <a:lstStyle/>
                <a:p>
                  <a:endParaRPr lang="en-GB" dirty="0"/>
                </a:p>
              </p:txBody>
            </p:sp>
            <p:sp>
              <p:nvSpPr>
                <p:cNvPr id="602" name="Freihandform: Form 601">
                  <a:extLst>
                    <a:ext uri="{FF2B5EF4-FFF2-40B4-BE49-F238E27FC236}">
                      <a16:creationId xmlns:a16="http://schemas.microsoft.com/office/drawing/2014/main" id="{29885DAA-93E7-4488-BDB1-054688954662}"/>
                    </a:ext>
                  </a:extLst>
                </p:cNvPr>
                <p:cNvSpPr/>
                <p:nvPr/>
              </p:nvSpPr>
              <p:spPr>
                <a:xfrm>
                  <a:off x="7119856" y="4174682"/>
                  <a:ext cx="143552" cy="113367"/>
                </a:xfrm>
                <a:custGeom>
                  <a:avLst/>
                  <a:gdLst>
                    <a:gd name="connsiteX0" fmla="*/ 44199 w 143552"/>
                    <a:gd name="connsiteY0" fmla="*/ 113367 h 113367"/>
                    <a:gd name="connsiteX1" fmla="*/ 6714 w 143552"/>
                    <a:gd name="connsiteY1" fmla="*/ 96491 h 113367"/>
                    <a:gd name="connsiteX2" fmla="*/ 5186 w 143552"/>
                    <a:gd name="connsiteY2" fmla="*/ 94285 h 113367"/>
                    <a:gd name="connsiteX3" fmla="*/ 7683 w 143552"/>
                    <a:gd name="connsiteY3" fmla="*/ 44458 h 113367"/>
                    <a:gd name="connsiteX4" fmla="*/ 138228 w 143552"/>
                    <a:gd name="connsiteY4" fmla="*/ 14 h 113367"/>
                    <a:gd name="connsiteX5" fmla="*/ 142616 w 143552"/>
                    <a:gd name="connsiteY5" fmla="*/ 2002 h 113367"/>
                    <a:gd name="connsiteX6" fmla="*/ 143538 w 143552"/>
                    <a:gd name="connsiteY6" fmla="*/ 4475 h 113367"/>
                    <a:gd name="connsiteX7" fmla="*/ 143004 w 143552"/>
                    <a:gd name="connsiteY7" fmla="*/ 7142 h 113367"/>
                    <a:gd name="connsiteX8" fmla="*/ 44199 w 143552"/>
                    <a:gd name="connsiteY8" fmla="*/ 113367 h 113367"/>
                    <a:gd name="connsiteX9" fmla="*/ 13939 w 143552"/>
                    <a:gd name="connsiteY9" fmla="*/ 89872 h 113367"/>
                    <a:gd name="connsiteX10" fmla="*/ 44199 w 143552"/>
                    <a:gd name="connsiteY10" fmla="*/ 103620 h 113367"/>
                    <a:gd name="connsiteX11" fmla="*/ 131051 w 143552"/>
                    <a:gd name="connsiteY11" fmla="*/ 10028 h 113367"/>
                    <a:gd name="connsiteX12" fmla="*/ 15806 w 143552"/>
                    <a:gd name="connsiteY12" fmla="*/ 49792 h 113367"/>
                    <a:gd name="connsiteX13" fmla="*/ 13939 w 143552"/>
                    <a:gd name="connsiteY13" fmla="*/ 89872 h 113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552" h="113367">
                      <a:moveTo>
                        <a:pt x="44199" y="113367"/>
                      </a:moveTo>
                      <a:cubicBezTo>
                        <a:pt x="31203" y="113367"/>
                        <a:pt x="18594" y="107693"/>
                        <a:pt x="6714" y="96491"/>
                      </a:cubicBezTo>
                      <a:cubicBezTo>
                        <a:pt x="6010" y="95910"/>
                        <a:pt x="5477" y="95158"/>
                        <a:pt x="5186" y="94285"/>
                      </a:cubicBezTo>
                      <a:cubicBezTo>
                        <a:pt x="-2476" y="75276"/>
                        <a:pt x="-1652" y="58521"/>
                        <a:pt x="7683" y="44458"/>
                      </a:cubicBezTo>
                      <a:cubicBezTo>
                        <a:pt x="35397" y="2633"/>
                        <a:pt x="130881" y="135"/>
                        <a:pt x="138228" y="14"/>
                      </a:cubicBezTo>
                      <a:cubicBezTo>
                        <a:pt x="139901" y="-107"/>
                        <a:pt x="141574" y="571"/>
                        <a:pt x="142616" y="2002"/>
                      </a:cubicBezTo>
                      <a:cubicBezTo>
                        <a:pt x="143150" y="2754"/>
                        <a:pt x="143465" y="3602"/>
                        <a:pt x="143538" y="4475"/>
                      </a:cubicBezTo>
                      <a:cubicBezTo>
                        <a:pt x="143610" y="5397"/>
                        <a:pt x="143416" y="6342"/>
                        <a:pt x="143004" y="7142"/>
                      </a:cubicBezTo>
                      <a:cubicBezTo>
                        <a:pt x="139610" y="15338"/>
                        <a:pt x="98027" y="113367"/>
                        <a:pt x="44199" y="113367"/>
                      </a:cubicBezTo>
                      <a:close/>
                      <a:moveTo>
                        <a:pt x="13939" y="89872"/>
                      </a:moveTo>
                      <a:cubicBezTo>
                        <a:pt x="23759" y="98989"/>
                        <a:pt x="33943" y="103620"/>
                        <a:pt x="44199" y="103620"/>
                      </a:cubicBezTo>
                      <a:cubicBezTo>
                        <a:pt x="85079" y="103620"/>
                        <a:pt x="120649" y="32844"/>
                        <a:pt x="131051" y="10028"/>
                      </a:cubicBezTo>
                      <a:cubicBezTo>
                        <a:pt x="107677" y="11313"/>
                        <a:pt x="36973" y="17811"/>
                        <a:pt x="15806" y="49792"/>
                      </a:cubicBezTo>
                      <a:cubicBezTo>
                        <a:pt x="8387" y="61019"/>
                        <a:pt x="7756" y="74136"/>
                        <a:pt x="13939" y="89872"/>
                      </a:cubicBezTo>
                      <a:close/>
                    </a:path>
                  </a:pathLst>
                </a:custGeom>
                <a:solidFill>
                  <a:schemeClr val="accent1"/>
                </a:solidFill>
                <a:ln w="2422" cap="flat">
                  <a:noFill/>
                  <a:prstDash val="solid"/>
                  <a:miter/>
                </a:ln>
              </p:spPr>
              <p:txBody>
                <a:bodyPr rtlCol="0" anchor="ctr"/>
                <a:lstStyle/>
                <a:p>
                  <a:endParaRPr lang="en-GB" dirty="0"/>
                </a:p>
              </p:txBody>
            </p:sp>
          </p:grpSp>
        </p:grpSp>
        <p:grpSp>
          <p:nvGrpSpPr>
            <p:cNvPr id="591" name="Grafik 22">
              <a:extLst>
                <a:ext uri="{FF2B5EF4-FFF2-40B4-BE49-F238E27FC236}">
                  <a16:creationId xmlns:a16="http://schemas.microsoft.com/office/drawing/2014/main" id="{5A71B254-DAF8-4C84-84CE-7DFEAC015640}"/>
                </a:ext>
              </a:extLst>
            </p:cNvPr>
            <p:cNvGrpSpPr/>
            <p:nvPr/>
          </p:nvGrpSpPr>
          <p:grpSpPr>
            <a:xfrm>
              <a:off x="1610857" y="1811646"/>
              <a:ext cx="534697" cy="238660"/>
              <a:chOff x="6929346" y="4375919"/>
              <a:chExt cx="556535" cy="248407"/>
            </a:xfrm>
            <a:solidFill>
              <a:schemeClr val="tx2"/>
            </a:solidFill>
          </p:grpSpPr>
          <p:sp>
            <p:nvSpPr>
              <p:cNvPr id="592" name="Freihandform: Form 591">
                <a:extLst>
                  <a:ext uri="{FF2B5EF4-FFF2-40B4-BE49-F238E27FC236}">
                    <a16:creationId xmlns:a16="http://schemas.microsoft.com/office/drawing/2014/main" id="{456390A1-25A1-482F-BE2B-1039533BAE19}"/>
                  </a:ext>
                </a:extLst>
              </p:cNvPr>
              <p:cNvSpPr/>
              <p:nvPr/>
            </p:nvSpPr>
            <p:spPr>
              <a:xfrm>
                <a:off x="6929346" y="4489394"/>
                <a:ext cx="356501" cy="134932"/>
              </a:xfrm>
              <a:custGeom>
                <a:avLst/>
                <a:gdLst>
                  <a:gd name="connsiteX0" fmla="*/ 115682 w 356501"/>
                  <a:gd name="connsiteY0" fmla="*/ 134933 h 134932"/>
                  <a:gd name="connsiteX1" fmla="*/ 104262 w 356501"/>
                  <a:gd name="connsiteY1" fmla="*/ 134036 h 134932"/>
                  <a:gd name="connsiteX2" fmla="*/ 4487 w 356501"/>
                  <a:gd name="connsiteY2" fmla="*/ 93228 h 134932"/>
                  <a:gd name="connsiteX3" fmla="*/ 1699 w 356501"/>
                  <a:gd name="connsiteY3" fmla="*/ 78535 h 134932"/>
                  <a:gd name="connsiteX4" fmla="*/ 50143 w 356501"/>
                  <a:gd name="connsiteY4" fmla="*/ 62071 h 134932"/>
                  <a:gd name="connsiteX5" fmla="*/ 115270 w 356501"/>
                  <a:gd name="connsiteY5" fmla="*/ 84572 h 134932"/>
                  <a:gd name="connsiteX6" fmla="*/ 177051 w 356501"/>
                  <a:gd name="connsiteY6" fmla="*/ 62532 h 134932"/>
                  <a:gd name="connsiteX7" fmla="*/ 190823 w 356501"/>
                  <a:gd name="connsiteY7" fmla="*/ 54070 h 134932"/>
                  <a:gd name="connsiteX8" fmla="*/ 193223 w 356501"/>
                  <a:gd name="connsiteY8" fmla="*/ 52252 h 134932"/>
                  <a:gd name="connsiteX9" fmla="*/ 207529 w 356501"/>
                  <a:gd name="connsiteY9" fmla="*/ 37534 h 134932"/>
                  <a:gd name="connsiteX10" fmla="*/ 214075 w 356501"/>
                  <a:gd name="connsiteY10" fmla="*/ 35352 h 134932"/>
                  <a:gd name="connsiteX11" fmla="*/ 216257 w 356501"/>
                  <a:gd name="connsiteY11" fmla="*/ 41898 h 134932"/>
                  <a:gd name="connsiteX12" fmla="*/ 199212 w 356501"/>
                  <a:gd name="connsiteY12" fmla="*/ 59938 h 134932"/>
                  <a:gd name="connsiteX13" fmla="*/ 196278 w 356501"/>
                  <a:gd name="connsiteY13" fmla="*/ 62144 h 134932"/>
                  <a:gd name="connsiteX14" fmla="*/ 182167 w 356501"/>
                  <a:gd name="connsiteY14" fmla="*/ 70849 h 134932"/>
                  <a:gd name="connsiteX15" fmla="*/ 115246 w 356501"/>
                  <a:gd name="connsiteY15" fmla="*/ 94368 h 134932"/>
                  <a:gd name="connsiteX16" fmla="*/ 46458 w 356501"/>
                  <a:gd name="connsiteY16" fmla="*/ 71164 h 134932"/>
                  <a:gd name="connsiteX17" fmla="*/ 10330 w 356501"/>
                  <a:gd name="connsiteY17" fmla="*/ 83093 h 134932"/>
                  <a:gd name="connsiteX18" fmla="*/ 10209 w 356501"/>
                  <a:gd name="connsiteY18" fmla="*/ 85421 h 134932"/>
                  <a:gd name="connsiteX19" fmla="*/ 106614 w 356501"/>
                  <a:gd name="connsiteY19" fmla="*/ 124628 h 134932"/>
                  <a:gd name="connsiteX20" fmla="*/ 192932 w 356501"/>
                  <a:gd name="connsiteY20" fmla="*/ 115972 h 134932"/>
                  <a:gd name="connsiteX21" fmla="*/ 326968 w 356501"/>
                  <a:gd name="connsiteY21" fmla="*/ 2425 h 134932"/>
                  <a:gd name="connsiteX22" fmla="*/ 330774 w 356501"/>
                  <a:gd name="connsiteY22" fmla="*/ 461 h 134932"/>
                  <a:gd name="connsiteX23" fmla="*/ 351530 w 356501"/>
                  <a:gd name="connsiteY23" fmla="*/ 0 h 134932"/>
                  <a:gd name="connsiteX24" fmla="*/ 356500 w 356501"/>
                  <a:gd name="connsiteY24" fmla="*/ 4777 h 134932"/>
                  <a:gd name="connsiteX25" fmla="*/ 351724 w 356501"/>
                  <a:gd name="connsiteY25" fmla="*/ 9747 h 134932"/>
                  <a:gd name="connsiteX26" fmla="*/ 333345 w 356501"/>
                  <a:gd name="connsiteY26" fmla="*/ 10159 h 134932"/>
                  <a:gd name="connsiteX27" fmla="*/ 195066 w 356501"/>
                  <a:gd name="connsiteY27" fmla="*/ 125501 h 134932"/>
                  <a:gd name="connsiteX28" fmla="*/ 115682 w 356501"/>
                  <a:gd name="connsiteY28" fmla="*/ 134933 h 134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56501" h="134932">
                    <a:moveTo>
                      <a:pt x="115682" y="134933"/>
                    </a:moveTo>
                    <a:cubicBezTo>
                      <a:pt x="110736" y="134933"/>
                      <a:pt x="106759" y="134666"/>
                      <a:pt x="104262" y="134036"/>
                    </a:cubicBezTo>
                    <a:cubicBezTo>
                      <a:pt x="103559" y="133866"/>
                      <a:pt x="33171" y="116214"/>
                      <a:pt x="4487" y="93228"/>
                    </a:cubicBezTo>
                    <a:cubicBezTo>
                      <a:pt x="-168" y="90173"/>
                      <a:pt x="-1381" y="84451"/>
                      <a:pt x="1699" y="78535"/>
                    </a:cubicBezTo>
                    <a:cubicBezTo>
                      <a:pt x="7881" y="66654"/>
                      <a:pt x="30940" y="54482"/>
                      <a:pt x="50143" y="62071"/>
                    </a:cubicBezTo>
                    <a:cubicBezTo>
                      <a:pt x="62630" y="67260"/>
                      <a:pt x="109305" y="84500"/>
                      <a:pt x="115270" y="84572"/>
                    </a:cubicBezTo>
                    <a:cubicBezTo>
                      <a:pt x="141408" y="84572"/>
                      <a:pt x="149676" y="79456"/>
                      <a:pt x="177051" y="62532"/>
                    </a:cubicBezTo>
                    <a:cubicBezTo>
                      <a:pt x="181197" y="59962"/>
                      <a:pt x="185755" y="57149"/>
                      <a:pt x="190823" y="54070"/>
                    </a:cubicBezTo>
                    <a:lnTo>
                      <a:pt x="193223" y="52252"/>
                    </a:lnTo>
                    <a:cubicBezTo>
                      <a:pt x="197636" y="48687"/>
                      <a:pt x="205589" y="41413"/>
                      <a:pt x="207529" y="37534"/>
                    </a:cubicBezTo>
                    <a:cubicBezTo>
                      <a:pt x="208741" y="35133"/>
                      <a:pt x="211650" y="34139"/>
                      <a:pt x="214075" y="35352"/>
                    </a:cubicBezTo>
                    <a:cubicBezTo>
                      <a:pt x="216476" y="36564"/>
                      <a:pt x="217445" y="39474"/>
                      <a:pt x="216257" y="41898"/>
                    </a:cubicBezTo>
                    <a:cubicBezTo>
                      <a:pt x="212742" y="48930"/>
                      <a:pt x="200594" y="58822"/>
                      <a:pt x="199212" y="59938"/>
                    </a:cubicBezTo>
                    <a:lnTo>
                      <a:pt x="196278" y="62144"/>
                    </a:lnTo>
                    <a:cubicBezTo>
                      <a:pt x="190823" y="65490"/>
                      <a:pt x="186289" y="68303"/>
                      <a:pt x="182167" y="70849"/>
                    </a:cubicBezTo>
                    <a:cubicBezTo>
                      <a:pt x="154501" y="87967"/>
                      <a:pt x="144172" y="94368"/>
                      <a:pt x="115246" y="94368"/>
                    </a:cubicBezTo>
                    <a:cubicBezTo>
                      <a:pt x="105256" y="94368"/>
                      <a:pt x="47016" y="71406"/>
                      <a:pt x="46458" y="71164"/>
                    </a:cubicBezTo>
                    <a:cubicBezTo>
                      <a:pt x="32152" y="65539"/>
                      <a:pt x="14210" y="75650"/>
                      <a:pt x="10330" y="83093"/>
                    </a:cubicBezTo>
                    <a:cubicBezTo>
                      <a:pt x="9409" y="84888"/>
                      <a:pt x="9821" y="85154"/>
                      <a:pt x="10209" y="85421"/>
                    </a:cubicBezTo>
                    <a:cubicBezTo>
                      <a:pt x="33001" y="103655"/>
                      <a:pt x="87508" y="119900"/>
                      <a:pt x="106614" y="124628"/>
                    </a:cubicBezTo>
                    <a:cubicBezTo>
                      <a:pt x="116579" y="127101"/>
                      <a:pt x="165752" y="122179"/>
                      <a:pt x="192932" y="115972"/>
                    </a:cubicBezTo>
                    <a:cubicBezTo>
                      <a:pt x="251585" y="103000"/>
                      <a:pt x="326216" y="3443"/>
                      <a:pt x="326968" y="2425"/>
                    </a:cubicBezTo>
                    <a:cubicBezTo>
                      <a:pt x="327865" y="1212"/>
                      <a:pt x="329271" y="485"/>
                      <a:pt x="330774" y="461"/>
                    </a:cubicBezTo>
                    <a:lnTo>
                      <a:pt x="351530" y="0"/>
                    </a:lnTo>
                    <a:cubicBezTo>
                      <a:pt x="354391" y="170"/>
                      <a:pt x="356452" y="2061"/>
                      <a:pt x="356500" y="4777"/>
                    </a:cubicBezTo>
                    <a:cubicBezTo>
                      <a:pt x="356549" y="7468"/>
                      <a:pt x="354415" y="9699"/>
                      <a:pt x="351724" y="9747"/>
                    </a:cubicBezTo>
                    <a:lnTo>
                      <a:pt x="333345" y="10159"/>
                    </a:lnTo>
                    <a:cubicBezTo>
                      <a:pt x="322240" y="24756"/>
                      <a:pt x="253282" y="112601"/>
                      <a:pt x="195066" y="125501"/>
                    </a:cubicBezTo>
                    <a:cubicBezTo>
                      <a:pt x="175159" y="129986"/>
                      <a:pt x="136607" y="134933"/>
                      <a:pt x="115682" y="134933"/>
                    </a:cubicBezTo>
                    <a:close/>
                  </a:path>
                </a:pathLst>
              </a:custGeom>
              <a:grpFill/>
              <a:ln w="2422" cap="flat">
                <a:noFill/>
                <a:prstDash val="solid"/>
                <a:miter/>
              </a:ln>
            </p:spPr>
            <p:txBody>
              <a:bodyPr rtlCol="0" anchor="ctr"/>
              <a:lstStyle/>
              <a:p>
                <a:endParaRPr lang="en-GB" dirty="0"/>
              </a:p>
            </p:txBody>
          </p:sp>
          <p:sp>
            <p:nvSpPr>
              <p:cNvPr id="593" name="Freihandform: Form 592">
                <a:extLst>
                  <a:ext uri="{FF2B5EF4-FFF2-40B4-BE49-F238E27FC236}">
                    <a16:creationId xmlns:a16="http://schemas.microsoft.com/office/drawing/2014/main" id="{7165BE53-C08C-4667-9268-A6DF706839D6}"/>
                  </a:ext>
                </a:extLst>
              </p:cNvPr>
              <p:cNvSpPr/>
              <p:nvPr/>
            </p:nvSpPr>
            <p:spPr>
              <a:xfrm>
                <a:off x="7158375" y="4391428"/>
                <a:ext cx="127011" cy="39118"/>
              </a:xfrm>
              <a:custGeom>
                <a:avLst/>
                <a:gdLst>
                  <a:gd name="connsiteX0" fmla="*/ 4855 w 127011"/>
                  <a:gd name="connsiteY0" fmla="*/ 39118 h 39118"/>
                  <a:gd name="connsiteX1" fmla="*/ 2213 w 127011"/>
                  <a:gd name="connsiteY1" fmla="*/ 38318 h 39118"/>
                  <a:gd name="connsiteX2" fmla="*/ 782 w 127011"/>
                  <a:gd name="connsiteY2" fmla="*/ 31578 h 39118"/>
                  <a:gd name="connsiteX3" fmla="*/ 105891 w 127011"/>
                  <a:gd name="connsiteY3" fmla="*/ 11671 h 39118"/>
                  <a:gd name="connsiteX4" fmla="*/ 122258 w 127011"/>
                  <a:gd name="connsiteY4" fmla="*/ 12108 h 39118"/>
                  <a:gd name="connsiteX5" fmla="*/ 127010 w 127011"/>
                  <a:gd name="connsiteY5" fmla="*/ 17103 h 39118"/>
                  <a:gd name="connsiteX6" fmla="*/ 122015 w 127011"/>
                  <a:gd name="connsiteY6" fmla="*/ 21855 h 39118"/>
                  <a:gd name="connsiteX7" fmla="*/ 104534 w 127011"/>
                  <a:gd name="connsiteY7" fmla="*/ 21394 h 39118"/>
                  <a:gd name="connsiteX8" fmla="*/ 102303 w 127011"/>
                  <a:gd name="connsiteY8" fmla="*/ 20788 h 39118"/>
                  <a:gd name="connsiteX9" fmla="*/ 8953 w 127011"/>
                  <a:gd name="connsiteY9" fmla="*/ 36888 h 39118"/>
                  <a:gd name="connsiteX10" fmla="*/ 4855 w 127011"/>
                  <a:gd name="connsiteY10" fmla="*/ 39118 h 39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7011" h="39118">
                    <a:moveTo>
                      <a:pt x="4855" y="39118"/>
                    </a:moveTo>
                    <a:cubicBezTo>
                      <a:pt x="3934" y="39118"/>
                      <a:pt x="3013" y="38876"/>
                      <a:pt x="2213" y="38318"/>
                    </a:cubicBezTo>
                    <a:cubicBezTo>
                      <a:pt x="-42" y="36864"/>
                      <a:pt x="-673" y="33833"/>
                      <a:pt x="782" y="31578"/>
                    </a:cubicBezTo>
                    <a:cubicBezTo>
                      <a:pt x="35212" y="-21232"/>
                      <a:pt x="96847" y="7113"/>
                      <a:pt x="105891" y="11671"/>
                    </a:cubicBezTo>
                    <a:lnTo>
                      <a:pt x="122258" y="12108"/>
                    </a:lnTo>
                    <a:cubicBezTo>
                      <a:pt x="124949" y="12180"/>
                      <a:pt x="127059" y="14435"/>
                      <a:pt x="127010" y="17103"/>
                    </a:cubicBezTo>
                    <a:cubicBezTo>
                      <a:pt x="126937" y="19794"/>
                      <a:pt x="124755" y="21733"/>
                      <a:pt x="122015" y="21855"/>
                    </a:cubicBezTo>
                    <a:lnTo>
                      <a:pt x="104534" y="21394"/>
                    </a:lnTo>
                    <a:cubicBezTo>
                      <a:pt x="103758" y="21370"/>
                      <a:pt x="102982" y="21152"/>
                      <a:pt x="102303" y="20788"/>
                    </a:cubicBezTo>
                    <a:cubicBezTo>
                      <a:pt x="99805" y="19406"/>
                      <a:pt x="41007" y="-12236"/>
                      <a:pt x="8953" y="36888"/>
                    </a:cubicBezTo>
                    <a:cubicBezTo>
                      <a:pt x="8008" y="38343"/>
                      <a:pt x="6456" y="39118"/>
                      <a:pt x="4855" y="39118"/>
                    </a:cubicBezTo>
                    <a:close/>
                  </a:path>
                </a:pathLst>
              </a:custGeom>
              <a:grpFill/>
              <a:ln w="2422" cap="flat">
                <a:noFill/>
                <a:prstDash val="solid"/>
                <a:miter/>
              </a:ln>
            </p:spPr>
            <p:txBody>
              <a:bodyPr rtlCol="0" anchor="ctr"/>
              <a:lstStyle/>
              <a:p>
                <a:endParaRPr lang="en-GB" dirty="0"/>
              </a:p>
            </p:txBody>
          </p:sp>
          <p:sp>
            <p:nvSpPr>
              <p:cNvPr id="594" name="Freihandform: Form 593">
                <a:extLst>
                  <a:ext uri="{FF2B5EF4-FFF2-40B4-BE49-F238E27FC236}">
                    <a16:creationId xmlns:a16="http://schemas.microsoft.com/office/drawing/2014/main" id="{CBBAF77A-F786-4932-92F6-A751FEA375F0}"/>
                  </a:ext>
                </a:extLst>
              </p:cNvPr>
              <p:cNvSpPr/>
              <p:nvPr/>
            </p:nvSpPr>
            <p:spPr>
              <a:xfrm>
                <a:off x="7054764" y="4420811"/>
                <a:ext cx="113323" cy="145420"/>
              </a:xfrm>
              <a:custGeom>
                <a:avLst/>
                <a:gdLst>
                  <a:gd name="connsiteX0" fmla="*/ 25276 w 113323"/>
                  <a:gd name="connsiteY0" fmla="*/ 145421 h 145420"/>
                  <a:gd name="connsiteX1" fmla="*/ 2557 w 113323"/>
                  <a:gd name="connsiteY1" fmla="*/ 133128 h 145420"/>
                  <a:gd name="connsiteX2" fmla="*/ 42370 w 113323"/>
                  <a:gd name="connsiteY2" fmla="*/ 79300 h 145420"/>
                  <a:gd name="connsiteX3" fmla="*/ 62495 w 113323"/>
                  <a:gd name="connsiteY3" fmla="*/ 64025 h 145420"/>
                  <a:gd name="connsiteX4" fmla="*/ 87178 w 113323"/>
                  <a:gd name="connsiteY4" fmla="*/ 34250 h 145420"/>
                  <a:gd name="connsiteX5" fmla="*/ 104296 w 113323"/>
                  <a:gd name="connsiteY5" fmla="*/ 2317 h 145420"/>
                  <a:gd name="connsiteX6" fmla="*/ 111013 w 113323"/>
                  <a:gd name="connsiteY6" fmla="*/ 741 h 145420"/>
                  <a:gd name="connsiteX7" fmla="*/ 112589 w 113323"/>
                  <a:gd name="connsiteY7" fmla="*/ 7457 h 145420"/>
                  <a:gd name="connsiteX8" fmla="*/ 96004 w 113323"/>
                  <a:gd name="connsiteY8" fmla="*/ 38396 h 145420"/>
                  <a:gd name="connsiteX9" fmla="*/ 68411 w 113323"/>
                  <a:gd name="connsiteY9" fmla="*/ 71783 h 145420"/>
                  <a:gd name="connsiteX10" fmla="*/ 48141 w 113323"/>
                  <a:gd name="connsiteY10" fmla="*/ 87156 h 145420"/>
                  <a:gd name="connsiteX11" fmla="*/ 10898 w 113323"/>
                  <a:gd name="connsiteY11" fmla="*/ 128157 h 145420"/>
                  <a:gd name="connsiteX12" fmla="*/ 62665 w 113323"/>
                  <a:gd name="connsiteY12" fmla="*/ 123938 h 145420"/>
                  <a:gd name="connsiteX13" fmla="*/ 63901 w 113323"/>
                  <a:gd name="connsiteY13" fmla="*/ 123332 h 145420"/>
                  <a:gd name="connsiteX14" fmla="*/ 70400 w 113323"/>
                  <a:gd name="connsiteY14" fmla="*/ 125635 h 145420"/>
                  <a:gd name="connsiteX15" fmla="*/ 68096 w 113323"/>
                  <a:gd name="connsiteY15" fmla="*/ 132133 h 145420"/>
                  <a:gd name="connsiteX16" fmla="*/ 66859 w 113323"/>
                  <a:gd name="connsiteY16" fmla="*/ 132715 h 145420"/>
                  <a:gd name="connsiteX17" fmla="*/ 25276 w 113323"/>
                  <a:gd name="connsiteY17" fmla="*/ 145421 h 145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3323" h="145420">
                    <a:moveTo>
                      <a:pt x="25276" y="145421"/>
                    </a:moveTo>
                    <a:cubicBezTo>
                      <a:pt x="16014" y="145421"/>
                      <a:pt x="7649" y="142269"/>
                      <a:pt x="2557" y="133128"/>
                    </a:cubicBezTo>
                    <a:cubicBezTo>
                      <a:pt x="-8111" y="116494"/>
                      <a:pt x="16426" y="98407"/>
                      <a:pt x="42370" y="79300"/>
                    </a:cubicBezTo>
                    <a:cubicBezTo>
                      <a:pt x="49159" y="74305"/>
                      <a:pt x="56167" y="69141"/>
                      <a:pt x="62495" y="64025"/>
                    </a:cubicBezTo>
                    <a:cubicBezTo>
                      <a:pt x="78813" y="52192"/>
                      <a:pt x="81262" y="46955"/>
                      <a:pt x="87178" y="34250"/>
                    </a:cubicBezTo>
                    <a:cubicBezTo>
                      <a:pt x="90597" y="26927"/>
                      <a:pt x="95277" y="16889"/>
                      <a:pt x="104296" y="2317"/>
                    </a:cubicBezTo>
                    <a:cubicBezTo>
                      <a:pt x="105703" y="13"/>
                      <a:pt x="108709" y="-690"/>
                      <a:pt x="111013" y="741"/>
                    </a:cubicBezTo>
                    <a:cubicBezTo>
                      <a:pt x="113292" y="2147"/>
                      <a:pt x="114019" y="5154"/>
                      <a:pt x="112589" y="7457"/>
                    </a:cubicBezTo>
                    <a:cubicBezTo>
                      <a:pt x="103860" y="21569"/>
                      <a:pt x="99496" y="30904"/>
                      <a:pt x="96004" y="38396"/>
                    </a:cubicBezTo>
                    <a:cubicBezTo>
                      <a:pt x="89918" y="51441"/>
                      <a:pt x="86572" y="58642"/>
                      <a:pt x="68411" y="71783"/>
                    </a:cubicBezTo>
                    <a:cubicBezTo>
                      <a:pt x="62107" y="76875"/>
                      <a:pt x="55003" y="82113"/>
                      <a:pt x="48141" y="87156"/>
                    </a:cubicBezTo>
                    <a:cubicBezTo>
                      <a:pt x="27919" y="102067"/>
                      <a:pt x="5006" y="118943"/>
                      <a:pt x="10898" y="128157"/>
                    </a:cubicBezTo>
                    <a:cubicBezTo>
                      <a:pt x="19894" y="144330"/>
                      <a:pt x="49862" y="130048"/>
                      <a:pt x="62665" y="123938"/>
                    </a:cubicBezTo>
                    <a:lnTo>
                      <a:pt x="63901" y="123332"/>
                    </a:lnTo>
                    <a:cubicBezTo>
                      <a:pt x="66350" y="122192"/>
                      <a:pt x="69236" y="123235"/>
                      <a:pt x="70400" y="125635"/>
                    </a:cubicBezTo>
                    <a:cubicBezTo>
                      <a:pt x="71563" y="128060"/>
                      <a:pt x="70521" y="130970"/>
                      <a:pt x="68096" y="132133"/>
                    </a:cubicBezTo>
                    <a:lnTo>
                      <a:pt x="66859" y="132715"/>
                    </a:lnTo>
                    <a:cubicBezTo>
                      <a:pt x="57476" y="137201"/>
                      <a:pt x="40237" y="145421"/>
                      <a:pt x="25276" y="145421"/>
                    </a:cubicBezTo>
                    <a:close/>
                  </a:path>
                </a:pathLst>
              </a:custGeom>
              <a:grpFill/>
              <a:ln w="2422" cap="flat">
                <a:noFill/>
                <a:prstDash val="solid"/>
                <a:miter/>
              </a:ln>
            </p:spPr>
            <p:txBody>
              <a:bodyPr rtlCol="0" anchor="ctr"/>
              <a:lstStyle/>
              <a:p>
                <a:endParaRPr lang="en-GB" dirty="0"/>
              </a:p>
            </p:txBody>
          </p:sp>
          <p:sp>
            <p:nvSpPr>
              <p:cNvPr id="595" name="Freihandform: Form 594">
                <a:extLst>
                  <a:ext uri="{FF2B5EF4-FFF2-40B4-BE49-F238E27FC236}">
                    <a16:creationId xmlns:a16="http://schemas.microsoft.com/office/drawing/2014/main" id="{0DCFB281-7DB2-4D54-B6EC-54FB857EB986}"/>
                  </a:ext>
                </a:extLst>
              </p:cNvPr>
              <p:cNvSpPr/>
              <p:nvPr/>
            </p:nvSpPr>
            <p:spPr>
              <a:xfrm>
                <a:off x="7277772" y="4389958"/>
                <a:ext cx="52518" cy="125573"/>
              </a:xfrm>
              <a:custGeom>
                <a:avLst/>
                <a:gdLst>
                  <a:gd name="connsiteX0" fmla="*/ 47645 w 52518"/>
                  <a:gd name="connsiteY0" fmla="*/ 125574 h 125573"/>
                  <a:gd name="connsiteX1" fmla="*/ 4874 w 52518"/>
                  <a:gd name="connsiteY1" fmla="*/ 125574 h 125573"/>
                  <a:gd name="connsiteX2" fmla="*/ 0 w 52518"/>
                  <a:gd name="connsiteY2" fmla="*/ 120700 h 125573"/>
                  <a:gd name="connsiteX3" fmla="*/ 0 w 52518"/>
                  <a:gd name="connsiteY3" fmla="*/ 4874 h 125573"/>
                  <a:gd name="connsiteX4" fmla="*/ 4874 w 52518"/>
                  <a:gd name="connsiteY4" fmla="*/ 0 h 125573"/>
                  <a:gd name="connsiteX5" fmla="*/ 47645 w 52518"/>
                  <a:gd name="connsiteY5" fmla="*/ 0 h 125573"/>
                  <a:gd name="connsiteX6" fmla="*/ 52518 w 52518"/>
                  <a:gd name="connsiteY6" fmla="*/ 4874 h 125573"/>
                  <a:gd name="connsiteX7" fmla="*/ 52518 w 52518"/>
                  <a:gd name="connsiteY7" fmla="*/ 120700 h 125573"/>
                  <a:gd name="connsiteX8" fmla="*/ 47645 w 52518"/>
                  <a:gd name="connsiteY8" fmla="*/ 125574 h 125573"/>
                  <a:gd name="connsiteX9" fmla="*/ 9747 w 52518"/>
                  <a:gd name="connsiteY9" fmla="*/ 115826 h 125573"/>
                  <a:gd name="connsiteX10" fmla="*/ 42771 w 52518"/>
                  <a:gd name="connsiteY10" fmla="*/ 115826 h 125573"/>
                  <a:gd name="connsiteX11" fmla="*/ 42771 w 52518"/>
                  <a:gd name="connsiteY11" fmla="*/ 9747 h 125573"/>
                  <a:gd name="connsiteX12" fmla="*/ 9747 w 52518"/>
                  <a:gd name="connsiteY12" fmla="*/ 9747 h 125573"/>
                  <a:gd name="connsiteX13" fmla="*/ 9747 w 52518"/>
                  <a:gd name="connsiteY13" fmla="*/ 115826 h 1255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518" h="125573">
                    <a:moveTo>
                      <a:pt x="47645" y="125574"/>
                    </a:moveTo>
                    <a:lnTo>
                      <a:pt x="4874" y="125574"/>
                    </a:lnTo>
                    <a:cubicBezTo>
                      <a:pt x="2182" y="125574"/>
                      <a:pt x="0" y="123391"/>
                      <a:pt x="0" y="120700"/>
                    </a:cubicBezTo>
                    <a:lnTo>
                      <a:pt x="0" y="4874"/>
                    </a:lnTo>
                    <a:cubicBezTo>
                      <a:pt x="0" y="2182"/>
                      <a:pt x="2182" y="0"/>
                      <a:pt x="4874" y="0"/>
                    </a:cubicBezTo>
                    <a:lnTo>
                      <a:pt x="47645" y="0"/>
                    </a:lnTo>
                    <a:cubicBezTo>
                      <a:pt x="50336" y="0"/>
                      <a:pt x="52518" y="2182"/>
                      <a:pt x="52518" y="4874"/>
                    </a:cubicBezTo>
                    <a:lnTo>
                      <a:pt x="52518" y="120700"/>
                    </a:lnTo>
                    <a:cubicBezTo>
                      <a:pt x="52518" y="123391"/>
                      <a:pt x="50336" y="125574"/>
                      <a:pt x="47645" y="125574"/>
                    </a:cubicBezTo>
                    <a:close/>
                    <a:moveTo>
                      <a:pt x="9747" y="115826"/>
                    </a:moveTo>
                    <a:lnTo>
                      <a:pt x="42771" y="115826"/>
                    </a:lnTo>
                    <a:lnTo>
                      <a:pt x="42771" y="9747"/>
                    </a:lnTo>
                    <a:lnTo>
                      <a:pt x="9747" y="9747"/>
                    </a:lnTo>
                    <a:lnTo>
                      <a:pt x="9747" y="115826"/>
                    </a:lnTo>
                    <a:close/>
                  </a:path>
                </a:pathLst>
              </a:custGeom>
              <a:grpFill/>
              <a:ln w="2422" cap="flat">
                <a:noFill/>
                <a:prstDash val="solid"/>
                <a:miter/>
              </a:ln>
            </p:spPr>
            <p:txBody>
              <a:bodyPr rtlCol="0" anchor="ctr"/>
              <a:lstStyle/>
              <a:p>
                <a:endParaRPr lang="en-GB" dirty="0"/>
              </a:p>
            </p:txBody>
          </p:sp>
          <p:sp>
            <p:nvSpPr>
              <p:cNvPr id="596" name="Freihandform: Form 595">
                <a:extLst>
                  <a:ext uri="{FF2B5EF4-FFF2-40B4-BE49-F238E27FC236}">
                    <a16:creationId xmlns:a16="http://schemas.microsoft.com/office/drawing/2014/main" id="{584F2181-B8AB-4130-9228-73301CC94350}"/>
                  </a:ext>
                </a:extLst>
              </p:cNvPr>
              <p:cNvSpPr/>
              <p:nvPr/>
            </p:nvSpPr>
            <p:spPr>
              <a:xfrm>
                <a:off x="7321440" y="4375919"/>
                <a:ext cx="164440" cy="154718"/>
              </a:xfrm>
              <a:custGeom>
                <a:avLst/>
                <a:gdLst>
                  <a:gd name="connsiteX0" fmla="*/ 159567 w 164440"/>
                  <a:gd name="connsiteY0" fmla="*/ 154718 h 154718"/>
                  <a:gd name="connsiteX1" fmla="*/ 4874 w 164440"/>
                  <a:gd name="connsiteY1" fmla="*/ 154718 h 154718"/>
                  <a:gd name="connsiteX2" fmla="*/ 0 w 164440"/>
                  <a:gd name="connsiteY2" fmla="*/ 149845 h 154718"/>
                  <a:gd name="connsiteX3" fmla="*/ 0 w 164440"/>
                  <a:gd name="connsiteY3" fmla="*/ 4874 h 154718"/>
                  <a:gd name="connsiteX4" fmla="*/ 4874 w 164440"/>
                  <a:gd name="connsiteY4" fmla="*/ 0 h 154718"/>
                  <a:gd name="connsiteX5" fmla="*/ 159567 w 164440"/>
                  <a:gd name="connsiteY5" fmla="*/ 0 h 154718"/>
                  <a:gd name="connsiteX6" fmla="*/ 164441 w 164440"/>
                  <a:gd name="connsiteY6" fmla="*/ 4874 h 154718"/>
                  <a:gd name="connsiteX7" fmla="*/ 164441 w 164440"/>
                  <a:gd name="connsiteY7" fmla="*/ 149845 h 154718"/>
                  <a:gd name="connsiteX8" fmla="*/ 159567 w 164440"/>
                  <a:gd name="connsiteY8" fmla="*/ 154718 h 154718"/>
                  <a:gd name="connsiteX9" fmla="*/ 9747 w 164440"/>
                  <a:gd name="connsiteY9" fmla="*/ 144971 h 154718"/>
                  <a:gd name="connsiteX10" fmla="*/ 154694 w 164440"/>
                  <a:gd name="connsiteY10" fmla="*/ 144971 h 154718"/>
                  <a:gd name="connsiteX11" fmla="*/ 154694 w 164440"/>
                  <a:gd name="connsiteY11" fmla="*/ 9747 h 154718"/>
                  <a:gd name="connsiteX12" fmla="*/ 9747 w 164440"/>
                  <a:gd name="connsiteY12" fmla="*/ 9747 h 154718"/>
                  <a:gd name="connsiteX13" fmla="*/ 9747 w 164440"/>
                  <a:gd name="connsiteY13" fmla="*/ 144971 h 154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4440" h="154718">
                    <a:moveTo>
                      <a:pt x="159567" y="154718"/>
                    </a:moveTo>
                    <a:lnTo>
                      <a:pt x="4874" y="154718"/>
                    </a:lnTo>
                    <a:cubicBezTo>
                      <a:pt x="2182" y="154718"/>
                      <a:pt x="0" y="152536"/>
                      <a:pt x="0" y="149845"/>
                    </a:cubicBezTo>
                    <a:lnTo>
                      <a:pt x="0" y="4874"/>
                    </a:lnTo>
                    <a:cubicBezTo>
                      <a:pt x="0" y="2182"/>
                      <a:pt x="2182" y="0"/>
                      <a:pt x="4874" y="0"/>
                    </a:cubicBezTo>
                    <a:lnTo>
                      <a:pt x="159567" y="0"/>
                    </a:lnTo>
                    <a:cubicBezTo>
                      <a:pt x="162259" y="0"/>
                      <a:pt x="164441" y="2182"/>
                      <a:pt x="164441" y="4874"/>
                    </a:cubicBezTo>
                    <a:lnTo>
                      <a:pt x="164441" y="149845"/>
                    </a:lnTo>
                    <a:cubicBezTo>
                      <a:pt x="164441" y="152536"/>
                      <a:pt x="162259" y="154718"/>
                      <a:pt x="159567" y="154718"/>
                    </a:cubicBezTo>
                    <a:close/>
                    <a:moveTo>
                      <a:pt x="9747" y="144971"/>
                    </a:moveTo>
                    <a:lnTo>
                      <a:pt x="154694" y="144971"/>
                    </a:lnTo>
                    <a:lnTo>
                      <a:pt x="154694" y="9747"/>
                    </a:lnTo>
                    <a:lnTo>
                      <a:pt x="9747" y="9747"/>
                    </a:lnTo>
                    <a:lnTo>
                      <a:pt x="9747" y="144971"/>
                    </a:lnTo>
                    <a:close/>
                  </a:path>
                </a:pathLst>
              </a:custGeom>
              <a:grpFill/>
              <a:ln w="2422" cap="flat">
                <a:noFill/>
                <a:prstDash val="solid"/>
                <a:miter/>
              </a:ln>
            </p:spPr>
            <p:txBody>
              <a:bodyPr rtlCol="0" anchor="ctr"/>
              <a:lstStyle/>
              <a:p>
                <a:endParaRPr lang="en-GB" dirty="0"/>
              </a:p>
            </p:txBody>
          </p:sp>
        </p:grpSp>
      </p:grpSp>
      <p:sp>
        <p:nvSpPr>
          <p:cNvPr id="605" name="TextBox 1342">
            <a:extLst>
              <a:ext uri="{FF2B5EF4-FFF2-40B4-BE49-F238E27FC236}">
                <a16:creationId xmlns:a16="http://schemas.microsoft.com/office/drawing/2014/main" id="{BE41719A-9838-4F3A-B5B9-564EFDA0A51A}"/>
              </a:ext>
            </a:extLst>
          </p:cNvPr>
          <p:cNvSpPr txBox="1"/>
          <p:nvPr/>
        </p:nvSpPr>
        <p:spPr>
          <a:xfrm>
            <a:off x="1750615" y="2068570"/>
            <a:ext cx="205184" cy="107722"/>
          </a:xfrm>
          <a:prstGeom prst="rect">
            <a:avLst/>
          </a:prstGeom>
          <a:noFill/>
          <a:effectLst/>
        </p:spPr>
        <p:txBody>
          <a:bodyPr wrap="none" lIns="0" tIns="0" rIns="0" bIns="0" rtlCol="0" anchor="t">
            <a:spAutoFit/>
          </a:bodyPr>
          <a:lstStyle/>
          <a:p>
            <a:pPr algn="ctr"/>
            <a:r>
              <a:rPr lang="en-GB" sz="700" dirty="0">
                <a:solidFill>
                  <a:schemeClr val="tx2"/>
                </a:solidFill>
              </a:rPr>
              <a:t>Trust</a:t>
            </a:r>
          </a:p>
        </p:txBody>
      </p:sp>
      <p:sp>
        <p:nvSpPr>
          <p:cNvPr id="21" name="TextBox 20">
            <a:extLst>
              <a:ext uri="{FF2B5EF4-FFF2-40B4-BE49-F238E27FC236}">
                <a16:creationId xmlns:a16="http://schemas.microsoft.com/office/drawing/2014/main" id="{6E03712E-DC5B-48E2-8ABB-92B79A975169}"/>
              </a:ext>
            </a:extLst>
          </p:cNvPr>
          <p:cNvSpPr txBox="1"/>
          <p:nvPr/>
        </p:nvSpPr>
        <p:spPr>
          <a:xfrm>
            <a:off x="4871337" y="2077494"/>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novative</a:t>
            </a:r>
            <a:br>
              <a:rPr lang="en-GB" sz="700" dirty="0">
                <a:solidFill>
                  <a:schemeClr val="tx2"/>
                </a:solidFill>
              </a:rPr>
            </a:br>
            <a:r>
              <a:rPr lang="en-GB" sz="700" dirty="0">
                <a:solidFill>
                  <a:schemeClr val="tx2"/>
                </a:solidFill>
              </a:rPr>
              <a:t>thinking</a:t>
            </a:r>
          </a:p>
        </p:txBody>
      </p:sp>
      <p:sp>
        <p:nvSpPr>
          <p:cNvPr id="22" name="TextBox 21">
            <a:extLst>
              <a:ext uri="{FF2B5EF4-FFF2-40B4-BE49-F238E27FC236}">
                <a16:creationId xmlns:a16="http://schemas.microsoft.com/office/drawing/2014/main" id="{04A095FC-A185-495A-816D-FDA615D66B3F}"/>
              </a:ext>
            </a:extLst>
          </p:cNvPr>
          <p:cNvSpPr txBox="1"/>
          <p:nvPr/>
        </p:nvSpPr>
        <p:spPr>
          <a:xfrm>
            <a:off x="8007638"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orkgroup</a:t>
            </a:r>
          </a:p>
        </p:txBody>
      </p:sp>
      <p:sp>
        <p:nvSpPr>
          <p:cNvPr id="23" name="TextBox 22">
            <a:extLst>
              <a:ext uri="{FF2B5EF4-FFF2-40B4-BE49-F238E27FC236}">
                <a16:creationId xmlns:a16="http://schemas.microsoft.com/office/drawing/2014/main" id="{98898DE0-F6BB-4D2E-B9AF-C1CB1EEDB0BD}"/>
              </a:ext>
            </a:extLst>
          </p:cNvPr>
          <p:cNvSpPr txBox="1"/>
          <p:nvPr/>
        </p:nvSpPr>
        <p:spPr>
          <a:xfrm>
            <a:off x="6962205"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pecialist</a:t>
            </a:r>
          </a:p>
        </p:txBody>
      </p:sp>
      <p:sp>
        <p:nvSpPr>
          <p:cNvPr id="24" name="TextBox 23">
            <a:extLst>
              <a:ext uri="{FF2B5EF4-FFF2-40B4-BE49-F238E27FC236}">
                <a16:creationId xmlns:a16="http://schemas.microsoft.com/office/drawing/2014/main" id="{F299115A-BC85-43A8-ADA1-49DFBE94EFDE}"/>
              </a:ext>
            </a:extLst>
          </p:cNvPr>
          <p:cNvSpPr txBox="1"/>
          <p:nvPr/>
        </p:nvSpPr>
        <p:spPr>
          <a:xfrm>
            <a:off x="5916771"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ertification</a:t>
            </a:r>
          </a:p>
        </p:txBody>
      </p:sp>
      <p:sp>
        <p:nvSpPr>
          <p:cNvPr id="25" name="TextBox 24">
            <a:extLst>
              <a:ext uri="{FF2B5EF4-FFF2-40B4-BE49-F238E27FC236}">
                <a16:creationId xmlns:a16="http://schemas.microsoft.com/office/drawing/2014/main" id="{8EE044DE-B078-4FC0-939B-2386091704F7}"/>
              </a:ext>
            </a:extLst>
          </p:cNvPr>
          <p:cNvSpPr txBox="1"/>
          <p:nvPr/>
        </p:nvSpPr>
        <p:spPr>
          <a:xfrm>
            <a:off x="487133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nform</a:t>
            </a:r>
          </a:p>
        </p:txBody>
      </p:sp>
      <p:sp>
        <p:nvSpPr>
          <p:cNvPr id="26" name="TextBox 25">
            <a:extLst>
              <a:ext uri="{FF2B5EF4-FFF2-40B4-BE49-F238E27FC236}">
                <a16:creationId xmlns:a16="http://schemas.microsoft.com/office/drawing/2014/main" id="{82976AC1-400E-4720-B126-66E48EFD6778}"/>
              </a:ext>
            </a:extLst>
          </p:cNvPr>
          <p:cNvSpPr txBox="1"/>
          <p:nvPr/>
        </p:nvSpPr>
        <p:spPr>
          <a:xfrm>
            <a:off x="8007638"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Experience</a:t>
            </a:r>
          </a:p>
        </p:txBody>
      </p:sp>
      <p:sp>
        <p:nvSpPr>
          <p:cNvPr id="27" name="TextBox 26">
            <a:extLst>
              <a:ext uri="{FF2B5EF4-FFF2-40B4-BE49-F238E27FC236}">
                <a16:creationId xmlns:a16="http://schemas.microsoft.com/office/drawing/2014/main" id="{99AA4665-D21F-4302-8727-3798C6625327}"/>
              </a:ext>
            </a:extLst>
          </p:cNvPr>
          <p:cNvSpPr txBox="1"/>
          <p:nvPr/>
        </p:nvSpPr>
        <p:spPr>
          <a:xfrm>
            <a:off x="6962205"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Workshop</a:t>
            </a:r>
          </a:p>
        </p:txBody>
      </p:sp>
      <p:sp>
        <p:nvSpPr>
          <p:cNvPr id="28" name="TextBox 27">
            <a:extLst>
              <a:ext uri="{FF2B5EF4-FFF2-40B4-BE49-F238E27FC236}">
                <a16:creationId xmlns:a16="http://schemas.microsoft.com/office/drawing/2014/main" id="{03E5ED8E-6FAE-46F8-954C-68584CA75D05}"/>
              </a:ext>
            </a:extLst>
          </p:cNvPr>
          <p:cNvSpPr txBox="1"/>
          <p:nvPr/>
        </p:nvSpPr>
        <p:spPr>
          <a:xfrm>
            <a:off x="5916771"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bilities</a:t>
            </a:r>
          </a:p>
        </p:txBody>
      </p:sp>
      <p:sp>
        <p:nvSpPr>
          <p:cNvPr id="30" name="TextBox 29">
            <a:extLst>
              <a:ext uri="{FF2B5EF4-FFF2-40B4-BE49-F238E27FC236}">
                <a16:creationId xmlns:a16="http://schemas.microsoft.com/office/drawing/2014/main" id="{3F527739-700D-4BF4-AE39-CFD91A34AB73}"/>
              </a:ext>
            </a:extLst>
          </p:cNvPr>
          <p:cNvSpPr txBox="1"/>
          <p:nvPr/>
        </p:nvSpPr>
        <p:spPr>
          <a:xfrm>
            <a:off x="8007638"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Team spirit</a:t>
            </a:r>
          </a:p>
        </p:txBody>
      </p:sp>
      <p:sp>
        <p:nvSpPr>
          <p:cNvPr id="31" name="TextBox 30">
            <a:extLst>
              <a:ext uri="{FF2B5EF4-FFF2-40B4-BE49-F238E27FC236}">
                <a16:creationId xmlns:a16="http://schemas.microsoft.com/office/drawing/2014/main" id="{EDEAA75F-5139-475F-A77F-FB4CA1AA1B3C}"/>
              </a:ext>
            </a:extLst>
          </p:cNvPr>
          <p:cNvSpPr txBox="1"/>
          <p:nvPr/>
        </p:nvSpPr>
        <p:spPr>
          <a:xfrm>
            <a:off x="6962205"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Information</a:t>
            </a:r>
            <a:br>
              <a:rPr lang="en-GB" sz="700" dirty="0">
                <a:solidFill>
                  <a:schemeClr val="tx2"/>
                </a:solidFill>
              </a:rPr>
            </a:br>
            <a:r>
              <a:rPr lang="en-GB" sz="700" dirty="0">
                <a:solidFill>
                  <a:schemeClr val="tx2"/>
                </a:solidFill>
              </a:rPr>
              <a:t>uncertainty</a:t>
            </a:r>
          </a:p>
        </p:txBody>
      </p:sp>
      <p:sp>
        <p:nvSpPr>
          <p:cNvPr id="32" name="TextBox 31">
            <a:extLst>
              <a:ext uri="{FF2B5EF4-FFF2-40B4-BE49-F238E27FC236}">
                <a16:creationId xmlns:a16="http://schemas.microsoft.com/office/drawing/2014/main" id="{91522E04-0B7A-45DB-BFB5-8E0E8905AE62}"/>
              </a:ext>
            </a:extLst>
          </p:cNvPr>
          <p:cNvSpPr txBox="1"/>
          <p:nvPr/>
        </p:nvSpPr>
        <p:spPr>
          <a:xfrm>
            <a:off x="5916771"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oductivity</a:t>
            </a:r>
          </a:p>
        </p:txBody>
      </p:sp>
      <p:sp>
        <p:nvSpPr>
          <p:cNvPr id="33" name="TextBox 32">
            <a:extLst>
              <a:ext uri="{FF2B5EF4-FFF2-40B4-BE49-F238E27FC236}">
                <a16:creationId xmlns:a16="http://schemas.microsoft.com/office/drawing/2014/main" id="{6C009743-B004-4F4D-AF82-F8AB0B5BB0D1}"/>
              </a:ext>
            </a:extLst>
          </p:cNvPr>
          <p:cNvSpPr txBox="1"/>
          <p:nvPr/>
        </p:nvSpPr>
        <p:spPr>
          <a:xfrm>
            <a:off x="487133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riving force</a:t>
            </a:r>
          </a:p>
        </p:txBody>
      </p:sp>
      <p:sp>
        <p:nvSpPr>
          <p:cNvPr id="34" name="TextBox 33">
            <a:extLst>
              <a:ext uri="{FF2B5EF4-FFF2-40B4-BE49-F238E27FC236}">
                <a16:creationId xmlns:a16="http://schemas.microsoft.com/office/drawing/2014/main" id="{3ACD1A8E-CC1D-47E8-A5C4-CCFA6401AC8D}"/>
              </a:ext>
            </a:extLst>
          </p:cNvPr>
          <p:cNvSpPr txBox="1"/>
          <p:nvPr/>
        </p:nvSpPr>
        <p:spPr>
          <a:xfrm>
            <a:off x="8007638"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rudence</a:t>
            </a:r>
          </a:p>
        </p:txBody>
      </p:sp>
      <p:sp>
        <p:nvSpPr>
          <p:cNvPr id="35" name="TextBox 34">
            <a:extLst>
              <a:ext uri="{FF2B5EF4-FFF2-40B4-BE49-F238E27FC236}">
                <a16:creationId xmlns:a16="http://schemas.microsoft.com/office/drawing/2014/main" id="{2CD2799E-C5B8-443D-837E-07B13CDBBFDA}"/>
              </a:ext>
            </a:extLst>
          </p:cNvPr>
          <p:cNvSpPr txBox="1"/>
          <p:nvPr/>
        </p:nvSpPr>
        <p:spPr>
          <a:xfrm>
            <a:off x="6962205"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mprehension</a:t>
            </a:r>
          </a:p>
        </p:txBody>
      </p:sp>
      <p:sp>
        <p:nvSpPr>
          <p:cNvPr id="36" name="TextBox 35">
            <a:extLst>
              <a:ext uri="{FF2B5EF4-FFF2-40B4-BE49-F238E27FC236}">
                <a16:creationId xmlns:a16="http://schemas.microsoft.com/office/drawing/2014/main" id="{64354DF1-D956-4E99-8D97-0B3ED128244E}"/>
              </a:ext>
            </a:extLst>
          </p:cNvPr>
          <p:cNvSpPr txBox="1"/>
          <p:nvPr/>
        </p:nvSpPr>
        <p:spPr>
          <a:xfrm>
            <a:off x="5916771"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uthentication</a:t>
            </a:r>
          </a:p>
        </p:txBody>
      </p:sp>
      <p:grpSp>
        <p:nvGrpSpPr>
          <p:cNvPr id="310" name="Group 309">
            <a:extLst>
              <a:ext uri="{FF2B5EF4-FFF2-40B4-BE49-F238E27FC236}">
                <a16:creationId xmlns:a16="http://schemas.microsoft.com/office/drawing/2014/main" id="{67AFB0C6-5873-4ACB-A7D6-0A80347CE639}"/>
              </a:ext>
            </a:extLst>
          </p:cNvPr>
          <p:cNvGrpSpPr>
            <a:grpSpLocks noChangeAspect="1"/>
          </p:cNvGrpSpPr>
          <p:nvPr/>
        </p:nvGrpSpPr>
        <p:grpSpPr>
          <a:xfrm>
            <a:off x="4997100" y="1585984"/>
            <a:ext cx="432336" cy="432000"/>
            <a:chOff x="6960464" y="4092259"/>
            <a:chExt cx="482658" cy="482283"/>
          </a:xfrm>
        </p:grpSpPr>
        <p:grpSp>
          <p:nvGrpSpPr>
            <p:cNvPr id="311" name="Group 310">
              <a:extLst>
                <a:ext uri="{FF2B5EF4-FFF2-40B4-BE49-F238E27FC236}">
                  <a16:creationId xmlns:a16="http://schemas.microsoft.com/office/drawing/2014/main" id="{E538CC52-79D6-4253-ADE8-144999297F55}"/>
                </a:ext>
              </a:extLst>
            </p:cNvPr>
            <p:cNvGrpSpPr/>
            <p:nvPr/>
          </p:nvGrpSpPr>
          <p:grpSpPr>
            <a:xfrm>
              <a:off x="7139198" y="4208077"/>
              <a:ext cx="187356" cy="366465"/>
              <a:chOff x="7139198" y="4208077"/>
              <a:chExt cx="187356" cy="366465"/>
            </a:xfrm>
          </p:grpSpPr>
          <p:sp>
            <p:nvSpPr>
              <p:cNvPr id="325" name="Freihandform: Form 918">
                <a:extLst>
                  <a:ext uri="{FF2B5EF4-FFF2-40B4-BE49-F238E27FC236}">
                    <a16:creationId xmlns:a16="http://schemas.microsoft.com/office/drawing/2014/main" id="{0913E6D8-E4E7-4EE1-B02E-0EFACBBAAE61}"/>
                  </a:ext>
                </a:extLst>
              </p:cNvPr>
              <p:cNvSpPr/>
              <p:nvPr/>
            </p:nvSpPr>
            <p:spPr>
              <a:xfrm>
                <a:off x="7139198" y="4501346"/>
                <a:ext cx="125537" cy="73196"/>
              </a:xfrm>
              <a:custGeom>
                <a:avLst/>
                <a:gdLst>
                  <a:gd name="connsiteX0" fmla="*/ 38660 w 125537"/>
                  <a:gd name="connsiteY0" fmla="*/ 73197 h 73196"/>
                  <a:gd name="connsiteX1" fmla="*/ 27 w 125537"/>
                  <a:gd name="connsiteY1" fmla="*/ 44389 h 73196"/>
                  <a:gd name="connsiteX2" fmla="*/ 0 w 125537"/>
                  <a:gd name="connsiteY2" fmla="*/ 107 h 73196"/>
                  <a:gd name="connsiteX3" fmla="*/ 125511 w 125537"/>
                  <a:gd name="connsiteY3" fmla="*/ 0 h 73196"/>
                  <a:gd name="connsiteX4" fmla="*/ 125537 w 125537"/>
                  <a:gd name="connsiteY4" fmla="*/ 44389 h 73196"/>
                  <a:gd name="connsiteX5" fmla="*/ 85191 w 125537"/>
                  <a:gd name="connsiteY5" fmla="*/ 73197 h 73196"/>
                  <a:gd name="connsiteX6" fmla="*/ 38660 w 125537"/>
                  <a:gd name="connsiteY6" fmla="*/ 73197 h 73196"/>
                  <a:gd name="connsiteX7" fmla="*/ 13092 w 125537"/>
                  <a:gd name="connsiteY7" fmla="*/ 37857 h 73196"/>
                  <a:gd name="connsiteX8" fmla="*/ 42997 w 125537"/>
                  <a:gd name="connsiteY8" fmla="*/ 60185 h 73196"/>
                  <a:gd name="connsiteX9" fmla="*/ 81014 w 125537"/>
                  <a:gd name="connsiteY9" fmla="*/ 60159 h 73196"/>
                  <a:gd name="connsiteX10" fmla="*/ 112499 w 125537"/>
                  <a:gd name="connsiteY10" fmla="*/ 37696 h 73196"/>
                  <a:gd name="connsiteX11" fmla="*/ 112472 w 125537"/>
                  <a:gd name="connsiteY11" fmla="*/ 13092 h 73196"/>
                  <a:gd name="connsiteX12" fmla="*/ 13065 w 125537"/>
                  <a:gd name="connsiteY12" fmla="*/ 13172 h 73196"/>
                  <a:gd name="connsiteX13" fmla="*/ 13092 w 125537"/>
                  <a:gd name="connsiteY13" fmla="*/ 37857 h 7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5537" h="73196">
                    <a:moveTo>
                      <a:pt x="38660" y="73197"/>
                    </a:moveTo>
                    <a:lnTo>
                      <a:pt x="27" y="44389"/>
                    </a:lnTo>
                    <a:lnTo>
                      <a:pt x="0" y="107"/>
                    </a:lnTo>
                    <a:lnTo>
                      <a:pt x="125511" y="0"/>
                    </a:lnTo>
                    <a:lnTo>
                      <a:pt x="125537" y="44389"/>
                    </a:lnTo>
                    <a:lnTo>
                      <a:pt x="85191" y="73197"/>
                    </a:lnTo>
                    <a:lnTo>
                      <a:pt x="38660" y="73197"/>
                    </a:lnTo>
                    <a:close/>
                    <a:moveTo>
                      <a:pt x="13092" y="37857"/>
                    </a:moveTo>
                    <a:lnTo>
                      <a:pt x="42997" y="60185"/>
                    </a:lnTo>
                    <a:lnTo>
                      <a:pt x="81014" y="60159"/>
                    </a:lnTo>
                    <a:lnTo>
                      <a:pt x="112499" y="37696"/>
                    </a:lnTo>
                    <a:lnTo>
                      <a:pt x="112472" y="13092"/>
                    </a:lnTo>
                    <a:lnTo>
                      <a:pt x="13065" y="13172"/>
                    </a:lnTo>
                    <a:lnTo>
                      <a:pt x="13092" y="37857"/>
                    </a:lnTo>
                    <a:close/>
                  </a:path>
                </a:pathLst>
              </a:custGeom>
              <a:solidFill>
                <a:schemeClr val="tx2"/>
              </a:solidFill>
              <a:ln w="2676" cap="flat">
                <a:noFill/>
                <a:prstDash val="solid"/>
                <a:miter/>
              </a:ln>
            </p:spPr>
            <p:txBody>
              <a:bodyPr rtlCol="0" anchor="ctr"/>
              <a:lstStyle/>
              <a:p>
                <a:endParaRPr lang="en-GB" dirty="0"/>
              </a:p>
            </p:txBody>
          </p:sp>
          <p:sp>
            <p:nvSpPr>
              <p:cNvPr id="326" name="Freihandform: Form 919">
                <a:extLst>
                  <a:ext uri="{FF2B5EF4-FFF2-40B4-BE49-F238E27FC236}">
                    <a16:creationId xmlns:a16="http://schemas.microsoft.com/office/drawing/2014/main" id="{09D40E00-3B81-4364-BB1F-797276679C0B}"/>
                  </a:ext>
                </a:extLst>
              </p:cNvPr>
              <p:cNvSpPr/>
              <p:nvPr/>
            </p:nvSpPr>
            <p:spPr>
              <a:xfrm>
                <a:off x="7148917" y="4537221"/>
                <a:ext cx="105243" cy="13038"/>
              </a:xfrm>
              <a:custGeom>
                <a:avLst/>
                <a:gdLst>
                  <a:gd name="connsiteX0" fmla="*/ 0 w 105243"/>
                  <a:gd name="connsiteY0" fmla="*/ 0 h 13038"/>
                  <a:gd name="connsiteX1" fmla="*/ 105244 w 105243"/>
                  <a:gd name="connsiteY1" fmla="*/ 0 h 13038"/>
                  <a:gd name="connsiteX2" fmla="*/ 105244 w 105243"/>
                  <a:gd name="connsiteY2" fmla="*/ 13038 h 13038"/>
                  <a:gd name="connsiteX3" fmla="*/ 0 w 105243"/>
                  <a:gd name="connsiteY3" fmla="*/ 13038 h 13038"/>
                </a:gdLst>
                <a:ahLst/>
                <a:cxnLst>
                  <a:cxn ang="0">
                    <a:pos x="connsiteX0" y="connsiteY0"/>
                  </a:cxn>
                  <a:cxn ang="0">
                    <a:pos x="connsiteX1" y="connsiteY1"/>
                  </a:cxn>
                  <a:cxn ang="0">
                    <a:pos x="connsiteX2" y="connsiteY2"/>
                  </a:cxn>
                  <a:cxn ang="0">
                    <a:pos x="connsiteX3" y="connsiteY3"/>
                  </a:cxn>
                </a:cxnLst>
                <a:rect l="l" t="t" r="r" b="b"/>
                <a:pathLst>
                  <a:path w="105243" h="13038">
                    <a:moveTo>
                      <a:pt x="0" y="0"/>
                    </a:moveTo>
                    <a:lnTo>
                      <a:pt x="105244" y="0"/>
                    </a:lnTo>
                    <a:lnTo>
                      <a:pt x="105244" y="13038"/>
                    </a:lnTo>
                    <a:lnTo>
                      <a:pt x="0" y="13038"/>
                    </a:lnTo>
                    <a:close/>
                  </a:path>
                </a:pathLst>
              </a:custGeom>
              <a:solidFill>
                <a:schemeClr val="tx2"/>
              </a:solidFill>
              <a:ln w="2676" cap="flat">
                <a:noFill/>
                <a:prstDash val="solid"/>
                <a:miter/>
              </a:ln>
            </p:spPr>
            <p:txBody>
              <a:bodyPr rtlCol="0" anchor="ctr"/>
              <a:lstStyle/>
              <a:p>
                <a:endParaRPr lang="en-GB" dirty="0"/>
              </a:p>
            </p:txBody>
          </p:sp>
          <p:sp>
            <p:nvSpPr>
              <p:cNvPr id="327" name="Freihandform: Form 920">
                <a:extLst>
                  <a:ext uri="{FF2B5EF4-FFF2-40B4-BE49-F238E27FC236}">
                    <a16:creationId xmlns:a16="http://schemas.microsoft.com/office/drawing/2014/main" id="{D763CC11-AA91-4DAE-9E7C-27B38159071C}"/>
                  </a:ext>
                </a:extLst>
              </p:cNvPr>
              <p:cNvSpPr/>
              <p:nvPr/>
            </p:nvSpPr>
            <p:spPr>
              <a:xfrm>
                <a:off x="7192851" y="4208077"/>
                <a:ext cx="133703" cy="279989"/>
              </a:xfrm>
              <a:custGeom>
                <a:avLst/>
                <a:gdLst>
                  <a:gd name="connsiteX0" fmla="*/ 11994 w 133703"/>
                  <a:gd name="connsiteY0" fmla="*/ 279989 h 279989"/>
                  <a:gd name="connsiteX1" fmla="*/ 0 w 133703"/>
                  <a:gd name="connsiteY1" fmla="*/ 279989 h 279989"/>
                  <a:gd name="connsiteX2" fmla="*/ 0 w 133703"/>
                  <a:gd name="connsiteY2" fmla="*/ 266951 h 279989"/>
                  <a:gd name="connsiteX3" fmla="*/ 58953 w 133703"/>
                  <a:gd name="connsiteY3" fmla="*/ 266897 h 279989"/>
                  <a:gd name="connsiteX4" fmla="*/ 58927 w 133703"/>
                  <a:gd name="connsiteY4" fmla="*/ 243096 h 279989"/>
                  <a:gd name="connsiteX5" fmla="*/ 73438 w 133703"/>
                  <a:gd name="connsiteY5" fmla="*/ 215199 h 279989"/>
                  <a:gd name="connsiteX6" fmla="*/ 120611 w 133703"/>
                  <a:gd name="connsiteY6" fmla="*/ 124145 h 279989"/>
                  <a:gd name="connsiteX7" fmla="*/ 87975 w 133703"/>
                  <a:gd name="connsiteY7" fmla="*/ 45540 h 279989"/>
                  <a:gd name="connsiteX8" fmla="*/ 9397 w 133703"/>
                  <a:gd name="connsiteY8" fmla="*/ 13038 h 279989"/>
                  <a:gd name="connsiteX9" fmla="*/ 8674 w 133703"/>
                  <a:gd name="connsiteY9" fmla="*/ 13038 h 279989"/>
                  <a:gd name="connsiteX10" fmla="*/ 8594 w 133703"/>
                  <a:gd name="connsiteY10" fmla="*/ 13038 h 279989"/>
                  <a:gd name="connsiteX11" fmla="*/ 7925 w 133703"/>
                  <a:gd name="connsiteY11" fmla="*/ 13065 h 279989"/>
                  <a:gd name="connsiteX12" fmla="*/ 6666 w 133703"/>
                  <a:gd name="connsiteY12" fmla="*/ 13146 h 279989"/>
                  <a:gd name="connsiteX13" fmla="*/ 6399 w 133703"/>
                  <a:gd name="connsiteY13" fmla="*/ 107 h 279989"/>
                  <a:gd name="connsiteX14" fmla="*/ 6934 w 133703"/>
                  <a:gd name="connsiteY14" fmla="*/ 80 h 279989"/>
                  <a:gd name="connsiteX15" fmla="*/ 8460 w 133703"/>
                  <a:gd name="connsiteY15" fmla="*/ 0 h 279989"/>
                  <a:gd name="connsiteX16" fmla="*/ 9183 w 133703"/>
                  <a:gd name="connsiteY16" fmla="*/ 27 h 279989"/>
                  <a:gd name="connsiteX17" fmla="*/ 9317 w 133703"/>
                  <a:gd name="connsiteY17" fmla="*/ 0 h 279989"/>
                  <a:gd name="connsiteX18" fmla="*/ 9424 w 133703"/>
                  <a:gd name="connsiteY18" fmla="*/ 0 h 279989"/>
                  <a:gd name="connsiteX19" fmla="*/ 97212 w 133703"/>
                  <a:gd name="connsiteY19" fmla="*/ 36331 h 279989"/>
                  <a:gd name="connsiteX20" fmla="*/ 133703 w 133703"/>
                  <a:gd name="connsiteY20" fmla="*/ 124172 h 279989"/>
                  <a:gd name="connsiteX21" fmla="*/ 80479 w 133703"/>
                  <a:gd name="connsiteY21" fmla="*/ 226257 h 279989"/>
                  <a:gd name="connsiteX22" fmla="*/ 72019 w 133703"/>
                  <a:gd name="connsiteY22" fmla="*/ 242588 h 279989"/>
                  <a:gd name="connsiteX23" fmla="*/ 72072 w 133703"/>
                  <a:gd name="connsiteY23" fmla="*/ 273430 h 279989"/>
                  <a:gd name="connsiteX24" fmla="*/ 65566 w 133703"/>
                  <a:gd name="connsiteY24" fmla="*/ 279963 h 279989"/>
                  <a:gd name="connsiteX25" fmla="*/ 11994 w 133703"/>
                  <a:gd name="connsiteY25" fmla="*/ 279989 h 279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3703" h="279989">
                    <a:moveTo>
                      <a:pt x="11994" y="279989"/>
                    </a:moveTo>
                    <a:lnTo>
                      <a:pt x="0" y="279989"/>
                    </a:lnTo>
                    <a:lnTo>
                      <a:pt x="0" y="266951"/>
                    </a:lnTo>
                    <a:lnTo>
                      <a:pt x="58953" y="266897"/>
                    </a:lnTo>
                    <a:lnTo>
                      <a:pt x="58927" y="243096"/>
                    </a:lnTo>
                    <a:cubicBezTo>
                      <a:pt x="58900" y="242882"/>
                      <a:pt x="57615" y="225212"/>
                      <a:pt x="73438" y="215199"/>
                    </a:cubicBezTo>
                    <a:cubicBezTo>
                      <a:pt x="102566" y="196726"/>
                      <a:pt x="120638" y="161841"/>
                      <a:pt x="120611" y="124145"/>
                    </a:cubicBezTo>
                    <a:cubicBezTo>
                      <a:pt x="120584" y="94427"/>
                      <a:pt x="108992" y="66504"/>
                      <a:pt x="87975" y="45540"/>
                    </a:cubicBezTo>
                    <a:cubicBezTo>
                      <a:pt x="66959" y="24578"/>
                      <a:pt x="39061" y="13038"/>
                      <a:pt x="9397" y="13038"/>
                    </a:cubicBezTo>
                    <a:cubicBezTo>
                      <a:pt x="9263" y="13038"/>
                      <a:pt x="8915" y="13038"/>
                      <a:pt x="8674" y="13038"/>
                    </a:cubicBezTo>
                    <a:cubicBezTo>
                      <a:pt x="8621" y="13038"/>
                      <a:pt x="8594" y="13038"/>
                      <a:pt x="8594" y="13038"/>
                    </a:cubicBezTo>
                    <a:lnTo>
                      <a:pt x="7925" y="13065"/>
                    </a:lnTo>
                    <a:cubicBezTo>
                      <a:pt x="7523" y="13092"/>
                      <a:pt x="7095" y="13119"/>
                      <a:pt x="6666" y="13146"/>
                    </a:cubicBezTo>
                    <a:lnTo>
                      <a:pt x="6399" y="107"/>
                    </a:lnTo>
                    <a:lnTo>
                      <a:pt x="6934" y="80"/>
                    </a:lnTo>
                    <a:cubicBezTo>
                      <a:pt x="7443" y="54"/>
                      <a:pt x="7951" y="0"/>
                      <a:pt x="8460" y="0"/>
                    </a:cubicBezTo>
                    <a:cubicBezTo>
                      <a:pt x="8567" y="0"/>
                      <a:pt x="9076" y="0"/>
                      <a:pt x="9183" y="27"/>
                    </a:cubicBezTo>
                    <a:lnTo>
                      <a:pt x="9317" y="0"/>
                    </a:lnTo>
                    <a:cubicBezTo>
                      <a:pt x="9344" y="0"/>
                      <a:pt x="9397" y="0"/>
                      <a:pt x="9424" y="0"/>
                    </a:cubicBezTo>
                    <a:cubicBezTo>
                      <a:pt x="42569" y="0"/>
                      <a:pt x="73732" y="12904"/>
                      <a:pt x="97212" y="36331"/>
                    </a:cubicBezTo>
                    <a:cubicBezTo>
                      <a:pt x="120718" y="59784"/>
                      <a:pt x="133676" y="90974"/>
                      <a:pt x="133703" y="124172"/>
                    </a:cubicBezTo>
                    <a:cubicBezTo>
                      <a:pt x="133730" y="166286"/>
                      <a:pt x="113356" y="205400"/>
                      <a:pt x="80479" y="226257"/>
                    </a:cubicBezTo>
                    <a:cubicBezTo>
                      <a:pt x="71242" y="232093"/>
                      <a:pt x="71992" y="242481"/>
                      <a:pt x="72019" y="242588"/>
                    </a:cubicBezTo>
                    <a:lnTo>
                      <a:pt x="72072" y="273430"/>
                    </a:lnTo>
                    <a:cubicBezTo>
                      <a:pt x="72072" y="277044"/>
                      <a:pt x="69154" y="279963"/>
                      <a:pt x="65566" y="279963"/>
                    </a:cubicBezTo>
                    <a:lnTo>
                      <a:pt x="11994" y="279989"/>
                    </a:lnTo>
                    <a:close/>
                  </a:path>
                </a:pathLst>
              </a:custGeom>
              <a:solidFill>
                <a:schemeClr val="tx2"/>
              </a:solidFill>
              <a:ln w="2676" cap="flat">
                <a:noFill/>
                <a:prstDash val="solid"/>
                <a:miter/>
              </a:ln>
            </p:spPr>
            <p:txBody>
              <a:bodyPr rtlCol="0" anchor="ctr"/>
              <a:lstStyle/>
              <a:p>
                <a:endParaRPr lang="en-GB" dirty="0"/>
              </a:p>
            </p:txBody>
          </p:sp>
          <p:sp>
            <p:nvSpPr>
              <p:cNvPr id="328" name="Freihandform: Form 921">
                <a:extLst>
                  <a:ext uri="{FF2B5EF4-FFF2-40B4-BE49-F238E27FC236}">
                    <a16:creationId xmlns:a16="http://schemas.microsoft.com/office/drawing/2014/main" id="{AEFC7F44-BC79-47FF-85F5-A991E3808197}"/>
                  </a:ext>
                </a:extLst>
              </p:cNvPr>
              <p:cNvSpPr/>
              <p:nvPr/>
            </p:nvSpPr>
            <p:spPr>
              <a:xfrm>
                <a:off x="7205889" y="4354337"/>
                <a:ext cx="40507" cy="121601"/>
              </a:xfrm>
              <a:custGeom>
                <a:avLst/>
                <a:gdLst>
                  <a:gd name="connsiteX0" fmla="*/ 13038 w 40507"/>
                  <a:gd name="connsiteY0" fmla="*/ 121602 h 121601"/>
                  <a:gd name="connsiteX1" fmla="*/ 0 w 40507"/>
                  <a:gd name="connsiteY1" fmla="*/ 121602 h 121601"/>
                  <a:gd name="connsiteX2" fmla="*/ 0 w 40507"/>
                  <a:gd name="connsiteY2" fmla="*/ 55286 h 121601"/>
                  <a:gd name="connsiteX3" fmla="*/ 776 w 40507"/>
                  <a:gd name="connsiteY3" fmla="*/ 52180 h 121601"/>
                  <a:gd name="connsiteX4" fmla="*/ 29048 w 40507"/>
                  <a:gd name="connsiteY4" fmla="*/ 0 h 121601"/>
                  <a:gd name="connsiteX5" fmla="*/ 40507 w 40507"/>
                  <a:gd name="connsiteY5" fmla="*/ 6211 h 121601"/>
                  <a:gd name="connsiteX6" fmla="*/ 13038 w 40507"/>
                  <a:gd name="connsiteY6" fmla="*/ 56946 h 121601"/>
                  <a:gd name="connsiteX7" fmla="*/ 13038 w 40507"/>
                  <a:gd name="connsiteY7" fmla="*/ 121602 h 121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07" h="121601">
                    <a:moveTo>
                      <a:pt x="13038" y="121602"/>
                    </a:moveTo>
                    <a:lnTo>
                      <a:pt x="0" y="121602"/>
                    </a:lnTo>
                    <a:lnTo>
                      <a:pt x="0" y="55286"/>
                    </a:lnTo>
                    <a:cubicBezTo>
                      <a:pt x="0" y="54215"/>
                      <a:pt x="268" y="53144"/>
                      <a:pt x="776" y="52180"/>
                    </a:cubicBezTo>
                    <a:lnTo>
                      <a:pt x="29048" y="0"/>
                    </a:lnTo>
                    <a:lnTo>
                      <a:pt x="40507" y="6211"/>
                    </a:lnTo>
                    <a:lnTo>
                      <a:pt x="13038" y="56946"/>
                    </a:lnTo>
                    <a:lnTo>
                      <a:pt x="13038" y="121602"/>
                    </a:lnTo>
                    <a:close/>
                  </a:path>
                </a:pathLst>
              </a:custGeom>
              <a:solidFill>
                <a:schemeClr val="tx2"/>
              </a:solidFill>
              <a:ln w="2676" cap="flat">
                <a:noFill/>
                <a:prstDash val="solid"/>
                <a:miter/>
              </a:ln>
            </p:spPr>
            <p:txBody>
              <a:bodyPr rtlCol="0" anchor="ctr"/>
              <a:lstStyle/>
              <a:p>
                <a:endParaRPr lang="en-GB" dirty="0"/>
              </a:p>
            </p:txBody>
          </p:sp>
        </p:grpSp>
        <p:grpSp>
          <p:nvGrpSpPr>
            <p:cNvPr id="312" name="Group 311">
              <a:extLst>
                <a:ext uri="{FF2B5EF4-FFF2-40B4-BE49-F238E27FC236}">
                  <a16:creationId xmlns:a16="http://schemas.microsoft.com/office/drawing/2014/main" id="{9526FD24-161F-477A-8F37-EFB4F6238CE2}"/>
                </a:ext>
              </a:extLst>
            </p:cNvPr>
            <p:cNvGrpSpPr/>
            <p:nvPr/>
          </p:nvGrpSpPr>
          <p:grpSpPr>
            <a:xfrm>
              <a:off x="6960464" y="4092259"/>
              <a:ext cx="482658" cy="394254"/>
              <a:chOff x="6960464" y="4092259"/>
              <a:chExt cx="482658" cy="394254"/>
            </a:xfrm>
          </p:grpSpPr>
          <p:sp>
            <p:nvSpPr>
              <p:cNvPr id="313" name="Freihandform: Form 911">
                <a:extLst>
                  <a:ext uri="{FF2B5EF4-FFF2-40B4-BE49-F238E27FC236}">
                    <a16:creationId xmlns:a16="http://schemas.microsoft.com/office/drawing/2014/main" id="{FA1A29EC-F69B-4BA2-BC61-B2F917FCAE2C}"/>
                  </a:ext>
                </a:extLst>
              </p:cNvPr>
              <p:cNvSpPr/>
              <p:nvPr/>
            </p:nvSpPr>
            <p:spPr>
              <a:xfrm>
                <a:off x="7051116" y="4199617"/>
                <a:ext cx="136931" cy="286896"/>
              </a:xfrm>
              <a:custGeom>
                <a:avLst/>
                <a:gdLst>
                  <a:gd name="connsiteX0" fmla="*/ 104762 w 136931"/>
                  <a:gd name="connsiteY0" fmla="*/ 286897 h 286896"/>
                  <a:gd name="connsiteX1" fmla="*/ 60105 w 136931"/>
                  <a:gd name="connsiteY1" fmla="*/ 248665 h 286896"/>
                  <a:gd name="connsiteX2" fmla="*/ 27469 w 136931"/>
                  <a:gd name="connsiteY2" fmla="*/ 203392 h 286896"/>
                  <a:gd name="connsiteX3" fmla="*/ 29075 w 136931"/>
                  <a:gd name="connsiteY3" fmla="*/ 191746 h 286896"/>
                  <a:gd name="connsiteX4" fmla="*/ 0 w 136931"/>
                  <a:gd name="connsiteY4" fmla="*/ 141547 h 286896"/>
                  <a:gd name="connsiteX5" fmla="*/ 30815 w 136931"/>
                  <a:gd name="connsiteY5" fmla="*/ 90304 h 286896"/>
                  <a:gd name="connsiteX6" fmla="*/ 30253 w 136931"/>
                  <a:gd name="connsiteY6" fmla="*/ 83504 h 286896"/>
                  <a:gd name="connsiteX7" fmla="*/ 60105 w 136931"/>
                  <a:gd name="connsiteY7" fmla="*/ 39543 h 286896"/>
                  <a:gd name="connsiteX8" fmla="*/ 60078 w 136931"/>
                  <a:gd name="connsiteY8" fmla="*/ 38312 h 286896"/>
                  <a:gd name="connsiteX9" fmla="*/ 104735 w 136931"/>
                  <a:gd name="connsiteY9" fmla="*/ 0 h 286896"/>
                  <a:gd name="connsiteX10" fmla="*/ 133944 w 136931"/>
                  <a:gd name="connsiteY10" fmla="*/ 9317 h 286896"/>
                  <a:gd name="connsiteX11" fmla="*/ 136728 w 136931"/>
                  <a:gd name="connsiteY11" fmla="*/ 29878 h 286896"/>
                  <a:gd name="connsiteX12" fmla="*/ 136514 w 136931"/>
                  <a:gd name="connsiteY12" fmla="*/ 42140 h 286896"/>
                  <a:gd name="connsiteX13" fmla="*/ 136193 w 136931"/>
                  <a:gd name="connsiteY13" fmla="*/ 141735 h 286896"/>
                  <a:gd name="connsiteX14" fmla="*/ 135872 w 136931"/>
                  <a:gd name="connsiteY14" fmla="*/ 248612 h 286896"/>
                  <a:gd name="connsiteX15" fmla="*/ 104762 w 136931"/>
                  <a:gd name="connsiteY15" fmla="*/ 286897 h 286896"/>
                  <a:gd name="connsiteX16" fmla="*/ 104762 w 136931"/>
                  <a:gd name="connsiteY16" fmla="*/ 13038 h 286896"/>
                  <a:gd name="connsiteX17" fmla="*/ 73170 w 136931"/>
                  <a:gd name="connsiteY17" fmla="*/ 38312 h 286896"/>
                  <a:gd name="connsiteX18" fmla="*/ 73598 w 136931"/>
                  <a:gd name="connsiteY18" fmla="*/ 42301 h 286896"/>
                  <a:gd name="connsiteX19" fmla="*/ 69582 w 136931"/>
                  <a:gd name="connsiteY19" fmla="*/ 49637 h 286896"/>
                  <a:gd name="connsiteX20" fmla="*/ 43318 w 136931"/>
                  <a:gd name="connsiteY20" fmla="*/ 83531 h 286896"/>
                  <a:gd name="connsiteX21" fmla="*/ 44523 w 136931"/>
                  <a:gd name="connsiteY21" fmla="*/ 91830 h 286896"/>
                  <a:gd name="connsiteX22" fmla="*/ 41284 w 136931"/>
                  <a:gd name="connsiteY22" fmla="*/ 99354 h 286896"/>
                  <a:gd name="connsiteX23" fmla="*/ 13038 w 136931"/>
                  <a:gd name="connsiteY23" fmla="*/ 141574 h 286896"/>
                  <a:gd name="connsiteX24" fmla="*/ 40132 w 136931"/>
                  <a:gd name="connsiteY24" fmla="*/ 183206 h 286896"/>
                  <a:gd name="connsiteX25" fmla="*/ 42997 w 136931"/>
                  <a:gd name="connsiteY25" fmla="*/ 191398 h 286896"/>
                  <a:gd name="connsiteX26" fmla="*/ 40534 w 136931"/>
                  <a:gd name="connsiteY26" fmla="*/ 203392 h 286896"/>
                  <a:gd name="connsiteX27" fmla="*/ 69127 w 136931"/>
                  <a:gd name="connsiteY27" fmla="*/ 238170 h 286896"/>
                  <a:gd name="connsiteX28" fmla="*/ 73464 w 136931"/>
                  <a:gd name="connsiteY28" fmla="*/ 245372 h 286896"/>
                  <a:gd name="connsiteX29" fmla="*/ 73170 w 136931"/>
                  <a:gd name="connsiteY29" fmla="*/ 248585 h 286896"/>
                  <a:gd name="connsiteX30" fmla="*/ 104762 w 136931"/>
                  <a:gd name="connsiteY30" fmla="*/ 273858 h 286896"/>
                  <a:gd name="connsiteX31" fmla="*/ 122860 w 136931"/>
                  <a:gd name="connsiteY31" fmla="*/ 248585 h 286896"/>
                  <a:gd name="connsiteX32" fmla="*/ 123181 w 136931"/>
                  <a:gd name="connsiteY32" fmla="*/ 141681 h 286896"/>
                  <a:gd name="connsiteX33" fmla="*/ 123503 w 136931"/>
                  <a:gd name="connsiteY33" fmla="*/ 42140 h 286896"/>
                  <a:gd name="connsiteX34" fmla="*/ 123743 w 136931"/>
                  <a:gd name="connsiteY34" fmla="*/ 29530 h 286896"/>
                  <a:gd name="connsiteX35" fmla="*/ 123958 w 136931"/>
                  <a:gd name="connsiteY35" fmla="*/ 18313 h 286896"/>
                  <a:gd name="connsiteX36" fmla="*/ 104762 w 136931"/>
                  <a:gd name="connsiteY36" fmla="*/ 13038 h 286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36931" h="286896">
                    <a:moveTo>
                      <a:pt x="104762" y="286897"/>
                    </a:moveTo>
                    <a:cubicBezTo>
                      <a:pt x="80184" y="286897"/>
                      <a:pt x="60158" y="269762"/>
                      <a:pt x="60105" y="248665"/>
                    </a:cubicBezTo>
                    <a:cubicBezTo>
                      <a:pt x="40132" y="240071"/>
                      <a:pt x="27469" y="222749"/>
                      <a:pt x="27469" y="203392"/>
                    </a:cubicBezTo>
                    <a:cubicBezTo>
                      <a:pt x="27469" y="199484"/>
                      <a:pt x="28004" y="195602"/>
                      <a:pt x="29075" y="191746"/>
                    </a:cubicBezTo>
                    <a:cubicBezTo>
                      <a:pt x="10763" y="179779"/>
                      <a:pt x="0" y="161359"/>
                      <a:pt x="0" y="141547"/>
                    </a:cubicBezTo>
                    <a:cubicBezTo>
                      <a:pt x="0" y="121040"/>
                      <a:pt x="11432" y="102191"/>
                      <a:pt x="30815" y="90304"/>
                    </a:cubicBezTo>
                    <a:cubicBezTo>
                      <a:pt x="30441" y="88029"/>
                      <a:pt x="30253" y="85753"/>
                      <a:pt x="30253" y="83504"/>
                    </a:cubicBezTo>
                    <a:cubicBezTo>
                      <a:pt x="30253" y="65326"/>
                      <a:pt x="41819" y="48539"/>
                      <a:pt x="60105" y="39543"/>
                    </a:cubicBezTo>
                    <a:cubicBezTo>
                      <a:pt x="60078" y="39115"/>
                      <a:pt x="60078" y="38713"/>
                      <a:pt x="60078" y="38312"/>
                    </a:cubicBezTo>
                    <a:cubicBezTo>
                      <a:pt x="60078" y="17188"/>
                      <a:pt x="80104" y="0"/>
                      <a:pt x="104735" y="0"/>
                    </a:cubicBezTo>
                    <a:cubicBezTo>
                      <a:pt x="115203" y="0"/>
                      <a:pt x="125591" y="3320"/>
                      <a:pt x="133944" y="9317"/>
                    </a:cubicBezTo>
                    <a:cubicBezTo>
                      <a:pt x="137183" y="11619"/>
                      <a:pt x="137157" y="12663"/>
                      <a:pt x="136728" y="29878"/>
                    </a:cubicBezTo>
                    <a:cubicBezTo>
                      <a:pt x="136621" y="34242"/>
                      <a:pt x="136514" y="38740"/>
                      <a:pt x="136514" y="42140"/>
                    </a:cubicBezTo>
                    <a:cubicBezTo>
                      <a:pt x="136514" y="45969"/>
                      <a:pt x="136354" y="93303"/>
                      <a:pt x="136193" y="141735"/>
                    </a:cubicBezTo>
                    <a:cubicBezTo>
                      <a:pt x="136032" y="192389"/>
                      <a:pt x="135872" y="244221"/>
                      <a:pt x="135872" y="248612"/>
                    </a:cubicBezTo>
                    <a:cubicBezTo>
                      <a:pt x="135898" y="259053"/>
                      <a:pt x="135898" y="286897"/>
                      <a:pt x="104762" y="286897"/>
                    </a:cubicBezTo>
                    <a:close/>
                    <a:moveTo>
                      <a:pt x="104762" y="13038"/>
                    </a:moveTo>
                    <a:cubicBezTo>
                      <a:pt x="87333" y="13038"/>
                      <a:pt x="73170" y="24363"/>
                      <a:pt x="73170" y="38312"/>
                    </a:cubicBezTo>
                    <a:cubicBezTo>
                      <a:pt x="73170" y="39517"/>
                      <a:pt x="73304" y="40775"/>
                      <a:pt x="73598" y="42301"/>
                    </a:cubicBezTo>
                    <a:cubicBezTo>
                      <a:pt x="74214" y="45380"/>
                      <a:pt x="72527" y="48485"/>
                      <a:pt x="69582" y="49637"/>
                    </a:cubicBezTo>
                    <a:cubicBezTo>
                      <a:pt x="53626" y="55955"/>
                      <a:pt x="43318" y="69234"/>
                      <a:pt x="43318" y="83531"/>
                    </a:cubicBezTo>
                    <a:cubicBezTo>
                      <a:pt x="43318" y="86208"/>
                      <a:pt x="43720" y="89019"/>
                      <a:pt x="44523" y="91830"/>
                    </a:cubicBezTo>
                    <a:cubicBezTo>
                      <a:pt x="45353" y="94776"/>
                      <a:pt x="44014" y="97908"/>
                      <a:pt x="41284" y="99354"/>
                    </a:cubicBezTo>
                    <a:cubicBezTo>
                      <a:pt x="23614" y="108724"/>
                      <a:pt x="13038" y="124493"/>
                      <a:pt x="13038" y="141574"/>
                    </a:cubicBezTo>
                    <a:cubicBezTo>
                      <a:pt x="13038" y="158227"/>
                      <a:pt x="23158" y="173809"/>
                      <a:pt x="40132" y="183206"/>
                    </a:cubicBezTo>
                    <a:cubicBezTo>
                      <a:pt x="43024" y="184812"/>
                      <a:pt x="44255" y="188346"/>
                      <a:pt x="42997" y="191398"/>
                    </a:cubicBezTo>
                    <a:cubicBezTo>
                      <a:pt x="41364" y="195334"/>
                      <a:pt x="40534" y="199376"/>
                      <a:pt x="40534" y="203392"/>
                    </a:cubicBezTo>
                    <a:cubicBezTo>
                      <a:pt x="40534" y="218599"/>
                      <a:pt x="51752" y="232253"/>
                      <a:pt x="69127" y="238170"/>
                    </a:cubicBezTo>
                    <a:cubicBezTo>
                      <a:pt x="72126" y="239188"/>
                      <a:pt x="73973" y="242240"/>
                      <a:pt x="73464" y="245372"/>
                    </a:cubicBezTo>
                    <a:cubicBezTo>
                      <a:pt x="73304" y="246443"/>
                      <a:pt x="73170" y="247487"/>
                      <a:pt x="73170" y="248585"/>
                    </a:cubicBezTo>
                    <a:cubicBezTo>
                      <a:pt x="73170" y="262534"/>
                      <a:pt x="87359" y="273858"/>
                      <a:pt x="104762" y="273858"/>
                    </a:cubicBezTo>
                    <a:cubicBezTo>
                      <a:pt x="118443" y="273858"/>
                      <a:pt x="122860" y="267727"/>
                      <a:pt x="122860" y="248585"/>
                    </a:cubicBezTo>
                    <a:cubicBezTo>
                      <a:pt x="122860" y="244194"/>
                      <a:pt x="123021" y="192362"/>
                      <a:pt x="123181" y="141681"/>
                    </a:cubicBezTo>
                    <a:cubicBezTo>
                      <a:pt x="123342" y="93276"/>
                      <a:pt x="123503" y="45969"/>
                      <a:pt x="123503" y="42140"/>
                    </a:cubicBezTo>
                    <a:cubicBezTo>
                      <a:pt x="123503" y="38633"/>
                      <a:pt x="123610" y="34001"/>
                      <a:pt x="123743" y="29530"/>
                    </a:cubicBezTo>
                    <a:cubicBezTo>
                      <a:pt x="123824" y="25836"/>
                      <a:pt x="123958" y="21151"/>
                      <a:pt x="123958" y="18313"/>
                    </a:cubicBezTo>
                    <a:cubicBezTo>
                      <a:pt x="118228" y="14886"/>
                      <a:pt x="111535" y="13038"/>
                      <a:pt x="104762" y="13038"/>
                    </a:cubicBezTo>
                    <a:close/>
                  </a:path>
                </a:pathLst>
              </a:custGeom>
              <a:solidFill>
                <a:schemeClr val="accent1"/>
              </a:solidFill>
              <a:ln w="2676" cap="flat">
                <a:noFill/>
                <a:prstDash val="solid"/>
                <a:miter/>
              </a:ln>
            </p:spPr>
            <p:txBody>
              <a:bodyPr rtlCol="0" anchor="ctr"/>
              <a:lstStyle/>
              <a:p>
                <a:endParaRPr lang="en-GB" dirty="0"/>
              </a:p>
            </p:txBody>
          </p:sp>
          <p:sp>
            <p:nvSpPr>
              <p:cNvPr id="314" name="Freihandform: Form 912">
                <a:extLst>
                  <a:ext uri="{FF2B5EF4-FFF2-40B4-BE49-F238E27FC236}">
                    <a16:creationId xmlns:a16="http://schemas.microsoft.com/office/drawing/2014/main" id="{573775B9-F861-4EE9-B779-684A52E087C7}"/>
                  </a:ext>
                </a:extLst>
              </p:cNvPr>
              <p:cNvSpPr/>
              <p:nvPr/>
            </p:nvSpPr>
            <p:spPr>
              <a:xfrm>
                <a:off x="7085732" y="4319727"/>
                <a:ext cx="27055" cy="32869"/>
              </a:xfrm>
              <a:custGeom>
                <a:avLst/>
                <a:gdLst>
                  <a:gd name="connsiteX0" fmla="*/ 20375 w 27055"/>
                  <a:gd name="connsiteY0" fmla="*/ 32870 h 32869"/>
                  <a:gd name="connsiteX1" fmla="*/ 19518 w 27055"/>
                  <a:gd name="connsiteY1" fmla="*/ 32816 h 32869"/>
                  <a:gd name="connsiteX2" fmla="*/ 13896 w 27055"/>
                  <a:gd name="connsiteY2" fmla="*/ 25507 h 32869"/>
                  <a:gd name="connsiteX3" fmla="*/ 4981 w 27055"/>
                  <a:gd name="connsiteY3" fmla="*/ 12870 h 32869"/>
                  <a:gd name="connsiteX4" fmla="*/ 189 w 27055"/>
                  <a:gd name="connsiteY4" fmla="*/ 4972 h 32869"/>
                  <a:gd name="connsiteX5" fmla="*/ 8087 w 27055"/>
                  <a:gd name="connsiteY5" fmla="*/ 180 h 32869"/>
                  <a:gd name="connsiteX6" fmla="*/ 26801 w 27055"/>
                  <a:gd name="connsiteY6" fmla="*/ 27194 h 32869"/>
                  <a:gd name="connsiteX7" fmla="*/ 20375 w 27055"/>
                  <a:gd name="connsiteY7" fmla="*/ 32870 h 3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55" h="32869">
                    <a:moveTo>
                      <a:pt x="20375" y="32870"/>
                    </a:moveTo>
                    <a:cubicBezTo>
                      <a:pt x="20081" y="32870"/>
                      <a:pt x="19813" y="32843"/>
                      <a:pt x="19518" y="32816"/>
                    </a:cubicBezTo>
                    <a:cubicBezTo>
                      <a:pt x="15958" y="32334"/>
                      <a:pt x="13441" y="29068"/>
                      <a:pt x="13896" y="25507"/>
                    </a:cubicBezTo>
                    <a:cubicBezTo>
                      <a:pt x="15208" y="15655"/>
                      <a:pt x="6052" y="13138"/>
                      <a:pt x="4981" y="12870"/>
                    </a:cubicBezTo>
                    <a:cubicBezTo>
                      <a:pt x="1474" y="12014"/>
                      <a:pt x="-668" y="8480"/>
                      <a:pt x="189" y="4972"/>
                    </a:cubicBezTo>
                    <a:cubicBezTo>
                      <a:pt x="1045" y="1465"/>
                      <a:pt x="4606" y="-650"/>
                      <a:pt x="8087" y="180"/>
                    </a:cubicBezTo>
                    <a:cubicBezTo>
                      <a:pt x="15556" y="2027"/>
                      <a:pt x="29076" y="10032"/>
                      <a:pt x="26801" y="27194"/>
                    </a:cubicBezTo>
                    <a:cubicBezTo>
                      <a:pt x="26399" y="30487"/>
                      <a:pt x="23588" y="32870"/>
                      <a:pt x="20375" y="32870"/>
                    </a:cubicBezTo>
                    <a:close/>
                  </a:path>
                </a:pathLst>
              </a:custGeom>
              <a:solidFill>
                <a:schemeClr val="accent1"/>
              </a:solidFill>
              <a:ln w="2676" cap="flat">
                <a:noFill/>
                <a:prstDash val="solid"/>
                <a:miter/>
              </a:ln>
            </p:spPr>
            <p:txBody>
              <a:bodyPr rtlCol="0" anchor="ctr"/>
              <a:lstStyle/>
              <a:p>
                <a:endParaRPr lang="en-GB" dirty="0"/>
              </a:p>
            </p:txBody>
          </p:sp>
          <p:sp>
            <p:nvSpPr>
              <p:cNvPr id="315" name="Freihandform: Form 913">
                <a:extLst>
                  <a:ext uri="{FF2B5EF4-FFF2-40B4-BE49-F238E27FC236}">
                    <a16:creationId xmlns:a16="http://schemas.microsoft.com/office/drawing/2014/main" id="{DFB4D3DB-36D1-43FE-881C-E87D12B5C990}"/>
                  </a:ext>
                </a:extLst>
              </p:cNvPr>
              <p:cNvSpPr/>
              <p:nvPr/>
            </p:nvSpPr>
            <p:spPr>
              <a:xfrm>
                <a:off x="7080793" y="4378863"/>
                <a:ext cx="46578" cy="19755"/>
              </a:xfrm>
              <a:custGeom>
                <a:avLst/>
                <a:gdLst>
                  <a:gd name="connsiteX0" fmla="*/ 40012 w 46578"/>
                  <a:gd name="connsiteY0" fmla="*/ 19755 h 19755"/>
                  <a:gd name="connsiteX1" fmla="*/ 36987 w 46578"/>
                  <a:gd name="connsiteY1" fmla="*/ 19006 h 19755"/>
                  <a:gd name="connsiteX2" fmla="*/ 30428 w 46578"/>
                  <a:gd name="connsiteY2" fmla="*/ 15552 h 19755"/>
                  <a:gd name="connsiteX3" fmla="*/ 9732 w 46578"/>
                  <a:gd name="connsiteY3" fmla="*/ 15874 h 19755"/>
                  <a:gd name="connsiteX4" fmla="*/ 844 w 46578"/>
                  <a:gd name="connsiteY4" fmla="*/ 13410 h 19755"/>
                  <a:gd name="connsiteX5" fmla="*/ 3307 w 46578"/>
                  <a:gd name="connsiteY5" fmla="*/ 4522 h 19755"/>
                  <a:gd name="connsiteX6" fmla="*/ 36532 w 46578"/>
                  <a:gd name="connsiteY6" fmla="*/ 4040 h 19755"/>
                  <a:gd name="connsiteX7" fmla="*/ 43091 w 46578"/>
                  <a:gd name="connsiteY7" fmla="*/ 7494 h 19755"/>
                  <a:gd name="connsiteX8" fmla="*/ 45822 w 46578"/>
                  <a:gd name="connsiteY8" fmla="*/ 16302 h 19755"/>
                  <a:gd name="connsiteX9" fmla="*/ 40012 w 46578"/>
                  <a:gd name="connsiteY9" fmla="*/ 19755 h 19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6578" h="19755">
                    <a:moveTo>
                      <a:pt x="40012" y="19755"/>
                    </a:moveTo>
                    <a:cubicBezTo>
                      <a:pt x="38995" y="19755"/>
                      <a:pt x="37951" y="19515"/>
                      <a:pt x="36987" y="19006"/>
                    </a:cubicBezTo>
                    <a:lnTo>
                      <a:pt x="30428" y="15552"/>
                    </a:lnTo>
                    <a:cubicBezTo>
                      <a:pt x="23895" y="12099"/>
                      <a:pt x="16158" y="12206"/>
                      <a:pt x="9732" y="15874"/>
                    </a:cubicBezTo>
                    <a:cubicBezTo>
                      <a:pt x="6600" y="17641"/>
                      <a:pt x="2611" y="16543"/>
                      <a:pt x="844" y="13410"/>
                    </a:cubicBezTo>
                    <a:cubicBezTo>
                      <a:pt x="-923" y="10278"/>
                      <a:pt x="174" y="6289"/>
                      <a:pt x="3307" y="4522"/>
                    </a:cubicBezTo>
                    <a:cubicBezTo>
                      <a:pt x="13641" y="-1315"/>
                      <a:pt x="26064" y="-1529"/>
                      <a:pt x="36532" y="4040"/>
                    </a:cubicBezTo>
                    <a:lnTo>
                      <a:pt x="43091" y="7494"/>
                    </a:lnTo>
                    <a:cubicBezTo>
                      <a:pt x="46277" y="9180"/>
                      <a:pt x="47508" y="13116"/>
                      <a:pt x="45822" y="16302"/>
                    </a:cubicBezTo>
                    <a:cubicBezTo>
                      <a:pt x="44617" y="18497"/>
                      <a:pt x="42368" y="19755"/>
                      <a:pt x="40012" y="19755"/>
                    </a:cubicBezTo>
                    <a:close/>
                  </a:path>
                </a:pathLst>
              </a:custGeom>
              <a:solidFill>
                <a:schemeClr val="accent1"/>
              </a:solidFill>
              <a:ln w="2676" cap="flat">
                <a:noFill/>
                <a:prstDash val="solid"/>
                <a:miter/>
              </a:ln>
            </p:spPr>
            <p:txBody>
              <a:bodyPr rtlCol="0" anchor="ctr"/>
              <a:lstStyle/>
              <a:p>
                <a:endParaRPr lang="en-GB" dirty="0"/>
              </a:p>
            </p:txBody>
          </p:sp>
          <p:sp>
            <p:nvSpPr>
              <p:cNvPr id="316" name="Freihandform: Form 914">
                <a:extLst>
                  <a:ext uri="{FF2B5EF4-FFF2-40B4-BE49-F238E27FC236}">
                    <a16:creationId xmlns:a16="http://schemas.microsoft.com/office/drawing/2014/main" id="{2E5E40D4-CCB2-4534-9DD6-7524854C77BB}"/>
                  </a:ext>
                </a:extLst>
              </p:cNvPr>
              <p:cNvSpPr/>
              <p:nvPr/>
            </p:nvSpPr>
            <p:spPr>
              <a:xfrm>
                <a:off x="7123750" y="4302109"/>
                <a:ext cx="34959" cy="16941"/>
              </a:xfrm>
              <a:custGeom>
                <a:avLst/>
                <a:gdLst>
                  <a:gd name="connsiteX0" fmla="*/ 18661 w 34959"/>
                  <a:gd name="connsiteY0" fmla="*/ 16942 h 16941"/>
                  <a:gd name="connsiteX1" fmla="*/ 2678 w 34959"/>
                  <a:gd name="connsiteY1" fmla="*/ 11774 h 16941"/>
                  <a:gd name="connsiteX2" fmla="*/ 1259 w 34959"/>
                  <a:gd name="connsiteY2" fmla="*/ 2672 h 16941"/>
                  <a:gd name="connsiteX3" fmla="*/ 10335 w 34959"/>
                  <a:gd name="connsiteY3" fmla="*/ 1226 h 16941"/>
                  <a:gd name="connsiteX4" fmla="*/ 24417 w 34959"/>
                  <a:gd name="connsiteY4" fmla="*/ 1922 h 16941"/>
                  <a:gd name="connsiteX5" fmla="*/ 33573 w 34959"/>
                  <a:gd name="connsiteY5" fmla="*/ 3020 h 16941"/>
                  <a:gd name="connsiteX6" fmla="*/ 32476 w 34959"/>
                  <a:gd name="connsiteY6" fmla="*/ 12176 h 16941"/>
                  <a:gd name="connsiteX7" fmla="*/ 18661 w 34959"/>
                  <a:gd name="connsiteY7" fmla="*/ 16942 h 1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59" h="16941">
                    <a:moveTo>
                      <a:pt x="18661" y="16942"/>
                    </a:moveTo>
                    <a:cubicBezTo>
                      <a:pt x="11941" y="16942"/>
                      <a:pt x="5917" y="14131"/>
                      <a:pt x="2678" y="11774"/>
                    </a:cubicBezTo>
                    <a:cubicBezTo>
                      <a:pt x="-214" y="9660"/>
                      <a:pt x="-883" y="5563"/>
                      <a:pt x="1259" y="2672"/>
                    </a:cubicBezTo>
                    <a:cubicBezTo>
                      <a:pt x="3374" y="-220"/>
                      <a:pt x="7443" y="-862"/>
                      <a:pt x="10335" y="1226"/>
                    </a:cubicBezTo>
                    <a:cubicBezTo>
                      <a:pt x="10736" y="1520"/>
                      <a:pt x="18340" y="6714"/>
                      <a:pt x="24417" y="1922"/>
                    </a:cubicBezTo>
                    <a:cubicBezTo>
                      <a:pt x="27255" y="-300"/>
                      <a:pt x="31351" y="182"/>
                      <a:pt x="33573" y="3020"/>
                    </a:cubicBezTo>
                    <a:cubicBezTo>
                      <a:pt x="35795" y="5858"/>
                      <a:pt x="35287" y="9954"/>
                      <a:pt x="32476" y="12176"/>
                    </a:cubicBezTo>
                    <a:cubicBezTo>
                      <a:pt x="27978" y="15683"/>
                      <a:pt x="23159" y="16942"/>
                      <a:pt x="18661" y="16942"/>
                    </a:cubicBezTo>
                    <a:close/>
                  </a:path>
                </a:pathLst>
              </a:custGeom>
              <a:solidFill>
                <a:schemeClr val="accent1"/>
              </a:solidFill>
              <a:ln w="2676" cap="flat">
                <a:noFill/>
                <a:prstDash val="solid"/>
                <a:miter/>
              </a:ln>
            </p:spPr>
            <p:txBody>
              <a:bodyPr rtlCol="0" anchor="ctr"/>
              <a:lstStyle/>
              <a:p>
                <a:endParaRPr lang="en-GB" dirty="0"/>
              </a:p>
            </p:txBody>
          </p:sp>
          <p:sp>
            <p:nvSpPr>
              <p:cNvPr id="317" name="Freihandform: Form 915">
                <a:extLst>
                  <a:ext uri="{FF2B5EF4-FFF2-40B4-BE49-F238E27FC236}">
                    <a16:creationId xmlns:a16="http://schemas.microsoft.com/office/drawing/2014/main" id="{A29C4A26-0F72-40FC-99AB-2534CE72AED9}"/>
                  </a:ext>
                </a:extLst>
              </p:cNvPr>
              <p:cNvSpPr/>
              <p:nvPr/>
            </p:nvSpPr>
            <p:spPr>
              <a:xfrm>
                <a:off x="7127949" y="4422269"/>
                <a:ext cx="36718" cy="19560"/>
              </a:xfrm>
              <a:custGeom>
                <a:avLst/>
                <a:gdLst>
                  <a:gd name="connsiteX0" fmla="*/ 30205 w 36718"/>
                  <a:gd name="connsiteY0" fmla="*/ 19561 h 19560"/>
                  <a:gd name="connsiteX1" fmla="*/ 25305 w 36718"/>
                  <a:gd name="connsiteY1" fmla="*/ 17339 h 19560"/>
                  <a:gd name="connsiteX2" fmla="*/ 18077 w 36718"/>
                  <a:gd name="connsiteY2" fmla="*/ 13028 h 19560"/>
                  <a:gd name="connsiteX3" fmla="*/ 10955 w 36718"/>
                  <a:gd name="connsiteY3" fmla="*/ 15786 h 19560"/>
                  <a:gd name="connsiteX4" fmla="*/ 1772 w 36718"/>
                  <a:gd name="connsiteY4" fmla="*/ 15464 h 19560"/>
                  <a:gd name="connsiteX5" fmla="*/ 1986 w 36718"/>
                  <a:gd name="connsiteY5" fmla="*/ 6335 h 19560"/>
                  <a:gd name="connsiteX6" fmla="*/ 18558 w 36718"/>
                  <a:gd name="connsiteY6" fmla="*/ 17 h 19560"/>
                  <a:gd name="connsiteX7" fmla="*/ 35104 w 36718"/>
                  <a:gd name="connsiteY7" fmla="*/ 8771 h 19560"/>
                  <a:gd name="connsiteX8" fmla="*/ 34488 w 36718"/>
                  <a:gd name="connsiteY8" fmla="*/ 17981 h 19560"/>
                  <a:gd name="connsiteX9" fmla="*/ 30205 w 36718"/>
                  <a:gd name="connsiteY9" fmla="*/ 19561 h 1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18" h="19560">
                    <a:moveTo>
                      <a:pt x="30205" y="19561"/>
                    </a:moveTo>
                    <a:cubicBezTo>
                      <a:pt x="28384" y="19561"/>
                      <a:pt x="26590" y="18811"/>
                      <a:pt x="25305" y="17339"/>
                    </a:cubicBezTo>
                    <a:cubicBezTo>
                      <a:pt x="22922" y="14608"/>
                      <a:pt x="20486" y="13162"/>
                      <a:pt x="18077" y="13028"/>
                    </a:cubicBezTo>
                    <a:cubicBezTo>
                      <a:pt x="14114" y="12707"/>
                      <a:pt x="11009" y="15759"/>
                      <a:pt x="10955" y="15786"/>
                    </a:cubicBezTo>
                    <a:cubicBezTo>
                      <a:pt x="8331" y="18195"/>
                      <a:pt x="4208" y="18088"/>
                      <a:pt x="1772" y="15464"/>
                    </a:cubicBezTo>
                    <a:cubicBezTo>
                      <a:pt x="-664" y="12867"/>
                      <a:pt x="-584" y="8798"/>
                      <a:pt x="1986" y="6335"/>
                    </a:cubicBezTo>
                    <a:cubicBezTo>
                      <a:pt x="2709" y="5666"/>
                      <a:pt x="9108" y="-358"/>
                      <a:pt x="18558" y="17"/>
                    </a:cubicBezTo>
                    <a:cubicBezTo>
                      <a:pt x="22762" y="204"/>
                      <a:pt x="29080" y="1864"/>
                      <a:pt x="35104" y="8771"/>
                    </a:cubicBezTo>
                    <a:cubicBezTo>
                      <a:pt x="37487" y="11475"/>
                      <a:pt x="37192" y="15598"/>
                      <a:pt x="34488" y="17981"/>
                    </a:cubicBezTo>
                    <a:cubicBezTo>
                      <a:pt x="33257" y="19025"/>
                      <a:pt x="31731" y="19561"/>
                      <a:pt x="30205" y="19561"/>
                    </a:cubicBezTo>
                    <a:close/>
                  </a:path>
                </a:pathLst>
              </a:custGeom>
              <a:solidFill>
                <a:schemeClr val="accent1"/>
              </a:solidFill>
              <a:ln w="2676" cap="flat">
                <a:noFill/>
                <a:prstDash val="solid"/>
                <a:miter/>
              </a:ln>
            </p:spPr>
            <p:txBody>
              <a:bodyPr rtlCol="0" anchor="ctr"/>
              <a:lstStyle/>
              <a:p>
                <a:endParaRPr lang="en-GB" dirty="0"/>
              </a:p>
            </p:txBody>
          </p:sp>
          <p:sp>
            <p:nvSpPr>
              <p:cNvPr id="318" name="Freihandform: Form 916">
                <a:extLst>
                  <a:ext uri="{FF2B5EF4-FFF2-40B4-BE49-F238E27FC236}">
                    <a16:creationId xmlns:a16="http://schemas.microsoft.com/office/drawing/2014/main" id="{9D162281-E746-417D-A0A4-7C5ADDC02E60}"/>
                  </a:ext>
                </a:extLst>
              </p:cNvPr>
              <p:cNvSpPr/>
              <p:nvPr/>
            </p:nvSpPr>
            <p:spPr>
              <a:xfrm>
                <a:off x="7135436" y="4247745"/>
                <a:ext cx="22637" cy="24961"/>
              </a:xfrm>
              <a:custGeom>
                <a:avLst/>
                <a:gdLst>
                  <a:gd name="connsiteX0" fmla="*/ 6520 w 22637"/>
                  <a:gd name="connsiteY0" fmla="*/ 24962 h 24961"/>
                  <a:gd name="connsiteX1" fmla="*/ 41 w 22637"/>
                  <a:gd name="connsiteY1" fmla="*/ 19152 h 24961"/>
                  <a:gd name="connsiteX2" fmla="*/ 5797 w 22637"/>
                  <a:gd name="connsiteY2" fmla="*/ 11950 h 24961"/>
                  <a:gd name="connsiteX3" fmla="*/ 8662 w 22637"/>
                  <a:gd name="connsiteY3" fmla="*/ 10371 h 24961"/>
                  <a:gd name="connsiteX4" fmla="*/ 9572 w 22637"/>
                  <a:gd name="connsiteY4" fmla="*/ 7238 h 24961"/>
                  <a:gd name="connsiteX5" fmla="*/ 15328 w 22637"/>
                  <a:gd name="connsiteY5" fmla="*/ 36 h 24961"/>
                  <a:gd name="connsiteX6" fmla="*/ 22530 w 22637"/>
                  <a:gd name="connsiteY6" fmla="*/ 5793 h 24961"/>
                  <a:gd name="connsiteX7" fmla="*/ 18835 w 22637"/>
                  <a:gd name="connsiteY7" fmla="*/ 18510 h 24961"/>
                  <a:gd name="connsiteX8" fmla="*/ 7216 w 22637"/>
                  <a:gd name="connsiteY8" fmla="*/ 24908 h 24961"/>
                  <a:gd name="connsiteX9" fmla="*/ 6520 w 22637"/>
                  <a:gd name="connsiteY9" fmla="*/ 24962 h 249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637" h="24961">
                    <a:moveTo>
                      <a:pt x="6520" y="24962"/>
                    </a:moveTo>
                    <a:cubicBezTo>
                      <a:pt x="3227" y="24962"/>
                      <a:pt x="416" y="22499"/>
                      <a:pt x="41" y="19152"/>
                    </a:cubicBezTo>
                    <a:cubicBezTo>
                      <a:pt x="-361" y="15564"/>
                      <a:pt x="2236" y="12352"/>
                      <a:pt x="5797" y="11950"/>
                    </a:cubicBezTo>
                    <a:cubicBezTo>
                      <a:pt x="6921" y="11816"/>
                      <a:pt x="7939" y="11281"/>
                      <a:pt x="8662" y="10371"/>
                    </a:cubicBezTo>
                    <a:cubicBezTo>
                      <a:pt x="9385" y="9487"/>
                      <a:pt x="9706" y="8363"/>
                      <a:pt x="9572" y="7238"/>
                    </a:cubicBezTo>
                    <a:cubicBezTo>
                      <a:pt x="9170" y="3651"/>
                      <a:pt x="11741" y="438"/>
                      <a:pt x="15328" y="36"/>
                    </a:cubicBezTo>
                    <a:cubicBezTo>
                      <a:pt x="18969" y="-339"/>
                      <a:pt x="22128" y="2232"/>
                      <a:pt x="22530" y="5793"/>
                    </a:cubicBezTo>
                    <a:cubicBezTo>
                      <a:pt x="23039" y="10397"/>
                      <a:pt x="21727" y="14895"/>
                      <a:pt x="18835" y="18510"/>
                    </a:cubicBezTo>
                    <a:cubicBezTo>
                      <a:pt x="15944" y="22124"/>
                      <a:pt x="11821" y="24400"/>
                      <a:pt x="7216" y="24908"/>
                    </a:cubicBezTo>
                    <a:cubicBezTo>
                      <a:pt x="7002" y="24962"/>
                      <a:pt x="6761" y="24962"/>
                      <a:pt x="6520" y="24962"/>
                    </a:cubicBezTo>
                    <a:close/>
                  </a:path>
                </a:pathLst>
              </a:custGeom>
              <a:solidFill>
                <a:schemeClr val="accent1"/>
              </a:solidFill>
              <a:ln w="2676" cap="flat">
                <a:noFill/>
                <a:prstDash val="solid"/>
                <a:miter/>
              </a:ln>
            </p:spPr>
            <p:txBody>
              <a:bodyPr rtlCol="0" anchor="ctr"/>
              <a:lstStyle/>
              <a:p>
                <a:endParaRPr lang="en-GB" dirty="0"/>
              </a:p>
            </p:txBody>
          </p:sp>
          <p:sp>
            <p:nvSpPr>
              <p:cNvPr id="319" name="Freihandform: Form 917">
                <a:extLst>
                  <a:ext uri="{FF2B5EF4-FFF2-40B4-BE49-F238E27FC236}">
                    <a16:creationId xmlns:a16="http://schemas.microsoft.com/office/drawing/2014/main" id="{B4EAFA3E-DD1D-4A53-A674-D13FD48F704C}"/>
                  </a:ext>
                </a:extLst>
              </p:cNvPr>
              <p:cNvSpPr/>
              <p:nvPr/>
            </p:nvSpPr>
            <p:spPr>
              <a:xfrm>
                <a:off x="7132198" y="4356213"/>
                <a:ext cx="29884" cy="28912"/>
              </a:xfrm>
              <a:custGeom>
                <a:avLst/>
                <a:gdLst>
                  <a:gd name="connsiteX0" fmla="*/ 23358 w 29884"/>
                  <a:gd name="connsiteY0" fmla="*/ 28912 h 28912"/>
                  <a:gd name="connsiteX1" fmla="*/ 17790 w 29884"/>
                  <a:gd name="connsiteY1" fmla="*/ 25807 h 28912"/>
                  <a:gd name="connsiteX2" fmla="*/ 15835 w 29884"/>
                  <a:gd name="connsiteY2" fmla="*/ 22647 h 28912"/>
                  <a:gd name="connsiteX3" fmla="*/ 6491 w 29884"/>
                  <a:gd name="connsiteY3" fmla="*/ 13893 h 28912"/>
                  <a:gd name="connsiteX4" fmla="*/ 3466 w 29884"/>
                  <a:gd name="connsiteY4" fmla="*/ 12286 h 28912"/>
                  <a:gd name="connsiteX5" fmla="*/ 762 w 29884"/>
                  <a:gd name="connsiteY5" fmla="*/ 3478 h 28912"/>
                  <a:gd name="connsiteX6" fmla="*/ 9570 w 29884"/>
                  <a:gd name="connsiteY6" fmla="*/ 774 h 28912"/>
                  <a:gd name="connsiteX7" fmla="*/ 12596 w 29884"/>
                  <a:gd name="connsiteY7" fmla="*/ 2380 h 28912"/>
                  <a:gd name="connsiteX8" fmla="*/ 26973 w 29884"/>
                  <a:gd name="connsiteY8" fmla="*/ 15874 h 28912"/>
                  <a:gd name="connsiteX9" fmla="*/ 28927 w 29884"/>
                  <a:gd name="connsiteY9" fmla="*/ 19033 h 28912"/>
                  <a:gd name="connsiteX10" fmla="*/ 26785 w 29884"/>
                  <a:gd name="connsiteY10" fmla="*/ 28002 h 28912"/>
                  <a:gd name="connsiteX11" fmla="*/ 23358 w 29884"/>
                  <a:gd name="connsiteY11" fmla="*/ 28912 h 28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84" h="28912">
                    <a:moveTo>
                      <a:pt x="23358" y="28912"/>
                    </a:moveTo>
                    <a:cubicBezTo>
                      <a:pt x="21163" y="28912"/>
                      <a:pt x="19021" y="27815"/>
                      <a:pt x="17790" y="25807"/>
                    </a:cubicBezTo>
                    <a:lnTo>
                      <a:pt x="15835" y="22647"/>
                    </a:lnTo>
                    <a:cubicBezTo>
                      <a:pt x="13560" y="18953"/>
                      <a:pt x="10320" y="15927"/>
                      <a:pt x="6491" y="13893"/>
                    </a:cubicBezTo>
                    <a:lnTo>
                      <a:pt x="3466" y="12286"/>
                    </a:lnTo>
                    <a:cubicBezTo>
                      <a:pt x="280" y="10600"/>
                      <a:pt x="-924" y="6664"/>
                      <a:pt x="762" y="3478"/>
                    </a:cubicBezTo>
                    <a:cubicBezTo>
                      <a:pt x="2449" y="292"/>
                      <a:pt x="6384" y="-939"/>
                      <a:pt x="9570" y="774"/>
                    </a:cubicBezTo>
                    <a:lnTo>
                      <a:pt x="12596" y="2380"/>
                    </a:lnTo>
                    <a:cubicBezTo>
                      <a:pt x="18513" y="5513"/>
                      <a:pt x="23492" y="10171"/>
                      <a:pt x="26973" y="15874"/>
                    </a:cubicBezTo>
                    <a:lnTo>
                      <a:pt x="28927" y="19033"/>
                    </a:lnTo>
                    <a:cubicBezTo>
                      <a:pt x="30801" y="22112"/>
                      <a:pt x="29837" y="26128"/>
                      <a:pt x="26785" y="28002"/>
                    </a:cubicBezTo>
                    <a:cubicBezTo>
                      <a:pt x="25714" y="28618"/>
                      <a:pt x="24536" y="28912"/>
                      <a:pt x="23358" y="28912"/>
                    </a:cubicBezTo>
                    <a:close/>
                  </a:path>
                </a:pathLst>
              </a:custGeom>
              <a:solidFill>
                <a:schemeClr val="accent1"/>
              </a:solidFill>
              <a:ln w="2676" cap="flat">
                <a:noFill/>
                <a:prstDash val="solid"/>
                <a:miter/>
              </a:ln>
            </p:spPr>
            <p:txBody>
              <a:bodyPr rtlCol="0" anchor="ctr"/>
              <a:lstStyle/>
              <a:p>
                <a:endParaRPr lang="en-GB" dirty="0"/>
              </a:p>
            </p:txBody>
          </p:sp>
          <p:sp>
            <p:nvSpPr>
              <p:cNvPr id="320" name="Freihandform: Form 922">
                <a:extLst>
                  <a:ext uri="{FF2B5EF4-FFF2-40B4-BE49-F238E27FC236}">
                    <a16:creationId xmlns:a16="http://schemas.microsoft.com/office/drawing/2014/main" id="{F34B3914-A013-481A-A2B6-FA4248DF7A9B}"/>
                  </a:ext>
                </a:extLst>
              </p:cNvPr>
              <p:cNvSpPr/>
              <p:nvPr/>
            </p:nvSpPr>
            <p:spPr>
              <a:xfrm>
                <a:off x="7195260" y="4092259"/>
                <a:ext cx="13065" cy="65245"/>
              </a:xfrm>
              <a:custGeom>
                <a:avLst/>
                <a:gdLst>
                  <a:gd name="connsiteX0" fmla="*/ 6533 w 13065"/>
                  <a:gd name="connsiteY0" fmla="*/ 65245 h 65245"/>
                  <a:gd name="connsiteX1" fmla="*/ 0 w 13065"/>
                  <a:gd name="connsiteY1" fmla="*/ 58713 h 65245"/>
                  <a:gd name="connsiteX2" fmla="*/ 0 w 13065"/>
                  <a:gd name="connsiteY2" fmla="*/ 6533 h 65245"/>
                  <a:gd name="connsiteX3" fmla="*/ 6533 w 13065"/>
                  <a:gd name="connsiteY3" fmla="*/ 0 h 65245"/>
                  <a:gd name="connsiteX4" fmla="*/ 13065 w 13065"/>
                  <a:gd name="connsiteY4" fmla="*/ 6533 h 65245"/>
                  <a:gd name="connsiteX5" fmla="*/ 13065 w 13065"/>
                  <a:gd name="connsiteY5" fmla="*/ 58713 h 65245"/>
                  <a:gd name="connsiteX6" fmla="*/ 6533 w 13065"/>
                  <a:gd name="connsiteY6" fmla="*/ 65245 h 6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065" h="65245">
                    <a:moveTo>
                      <a:pt x="6533" y="65245"/>
                    </a:moveTo>
                    <a:cubicBezTo>
                      <a:pt x="2918" y="65245"/>
                      <a:pt x="0" y="62327"/>
                      <a:pt x="0" y="58713"/>
                    </a:cubicBezTo>
                    <a:lnTo>
                      <a:pt x="0" y="6533"/>
                    </a:lnTo>
                    <a:cubicBezTo>
                      <a:pt x="0" y="2918"/>
                      <a:pt x="2918" y="0"/>
                      <a:pt x="6533" y="0"/>
                    </a:cubicBezTo>
                    <a:cubicBezTo>
                      <a:pt x="10147" y="0"/>
                      <a:pt x="13065" y="2918"/>
                      <a:pt x="13065" y="6533"/>
                    </a:cubicBezTo>
                    <a:lnTo>
                      <a:pt x="13065" y="58713"/>
                    </a:lnTo>
                    <a:cubicBezTo>
                      <a:pt x="13065" y="62327"/>
                      <a:pt x="10147" y="65245"/>
                      <a:pt x="6533" y="65245"/>
                    </a:cubicBezTo>
                    <a:close/>
                  </a:path>
                </a:pathLst>
              </a:custGeom>
              <a:solidFill>
                <a:schemeClr val="accent1"/>
              </a:solidFill>
              <a:ln w="2676" cap="flat">
                <a:noFill/>
                <a:prstDash val="solid"/>
                <a:miter/>
              </a:ln>
            </p:spPr>
            <p:txBody>
              <a:bodyPr rtlCol="0" anchor="ctr"/>
              <a:lstStyle/>
              <a:p>
                <a:endParaRPr lang="en-GB" dirty="0"/>
              </a:p>
            </p:txBody>
          </p:sp>
          <p:sp>
            <p:nvSpPr>
              <p:cNvPr id="321" name="Freihandform: Form 923">
                <a:extLst>
                  <a:ext uri="{FF2B5EF4-FFF2-40B4-BE49-F238E27FC236}">
                    <a16:creationId xmlns:a16="http://schemas.microsoft.com/office/drawing/2014/main" id="{B64BA289-7595-4FDC-8ECA-D76155B3CBEF}"/>
                  </a:ext>
                </a:extLst>
              </p:cNvPr>
              <p:cNvSpPr/>
              <p:nvPr/>
            </p:nvSpPr>
            <p:spPr>
              <a:xfrm>
                <a:off x="6960464" y="4327055"/>
                <a:ext cx="65245" cy="13065"/>
              </a:xfrm>
              <a:custGeom>
                <a:avLst/>
                <a:gdLst>
                  <a:gd name="connsiteX0" fmla="*/ 58713 w 65245"/>
                  <a:gd name="connsiteY0" fmla="*/ 13065 h 13065"/>
                  <a:gd name="connsiteX1" fmla="*/ 6532 w 65245"/>
                  <a:gd name="connsiteY1" fmla="*/ 13065 h 13065"/>
                  <a:gd name="connsiteX2" fmla="*/ 0 w 65245"/>
                  <a:gd name="connsiteY2" fmla="*/ 6533 h 13065"/>
                  <a:gd name="connsiteX3" fmla="*/ 6532 w 65245"/>
                  <a:gd name="connsiteY3" fmla="*/ 0 h 13065"/>
                  <a:gd name="connsiteX4" fmla="*/ 58713 w 65245"/>
                  <a:gd name="connsiteY4" fmla="*/ 0 h 13065"/>
                  <a:gd name="connsiteX5" fmla="*/ 65245 w 65245"/>
                  <a:gd name="connsiteY5" fmla="*/ 6533 h 13065"/>
                  <a:gd name="connsiteX6" fmla="*/ 58713 w 65245"/>
                  <a:gd name="connsiteY6" fmla="*/ 13065 h 1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5" h="13065">
                    <a:moveTo>
                      <a:pt x="58713" y="13065"/>
                    </a:moveTo>
                    <a:lnTo>
                      <a:pt x="6532" y="13065"/>
                    </a:lnTo>
                    <a:cubicBezTo>
                      <a:pt x="2918" y="13065"/>
                      <a:pt x="0" y="10147"/>
                      <a:pt x="0" y="6533"/>
                    </a:cubicBezTo>
                    <a:cubicBezTo>
                      <a:pt x="0" y="2918"/>
                      <a:pt x="2918" y="0"/>
                      <a:pt x="6532" y="0"/>
                    </a:cubicBezTo>
                    <a:lnTo>
                      <a:pt x="58713" y="0"/>
                    </a:lnTo>
                    <a:cubicBezTo>
                      <a:pt x="62327" y="0"/>
                      <a:pt x="65245" y="2918"/>
                      <a:pt x="65245" y="6533"/>
                    </a:cubicBezTo>
                    <a:cubicBezTo>
                      <a:pt x="65245" y="10147"/>
                      <a:pt x="62327" y="13065"/>
                      <a:pt x="58713" y="13065"/>
                    </a:cubicBezTo>
                    <a:close/>
                  </a:path>
                </a:pathLst>
              </a:custGeom>
              <a:solidFill>
                <a:schemeClr val="accent1"/>
              </a:solidFill>
              <a:ln w="2676" cap="flat">
                <a:noFill/>
                <a:prstDash val="solid"/>
                <a:miter/>
              </a:ln>
            </p:spPr>
            <p:txBody>
              <a:bodyPr rtlCol="0" anchor="ctr"/>
              <a:lstStyle/>
              <a:p>
                <a:endParaRPr lang="en-GB" dirty="0"/>
              </a:p>
            </p:txBody>
          </p:sp>
          <p:sp>
            <p:nvSpPr>
              <p:cNvPr id="322" name="Freihandform: Form 924">
                <a:extLst>
                  <a:ext uri="{FF2B5EF4-FFF2-40B4-BE49-F238E27FC236}">
                    <a16:creationId xmlns:a16="http://schemas.microsoft.com/office/drawing/2014/main" id="{8762C87D-0A80-4E56-A948-BDB943622B4D}"/>
                  </a:ext>
                </a:extLst>
              </p:cNvPr>
              <p:cNvSpPr/>
              <p:nvPr/>
            </p:nvSpPr>
            <p:spPr>
              <a:xfrm>
                <a:off x="7377877" y="4327055"/>
                <a:ext cx="65245" cy="13065"/>
              </a:xfrm>
              <a:custGeom>
                <a:avLst/>
                <a:gdLst>
                  <a:gd name="connsiteX0" fmla="*/ 58713 w 65245"/>
                  <a:gd name="connsiteY0" fmla="*/ 13065 h 13065"/>
                  <a:gd name="connsiteX1" fmla="*/ 6533 w 65245"/>
                  <a:gd name="connsiteY1" fmla="*/ 13065 h 13065"/>
                  <a:gd name="connsiteX2" fmla="*/ 0 w 65245"/>
                  <a:gd name="connsiteY2" fmla="*/ 6533 h 13065"/>
                  <a:gd name="connsiteX3" fmla="*/ 6533 w 65245"/>
                  <a:gd name="connsiteY3" fmla="*/ 0 h 13065"/>
                  <a:gd name="connsiteX4" fmla="*/ 58713 w 65245"/>
                  <a:gd name="connsiteY4" fmla="*/ 0 h 13065"/>
                  <a:gd name="connsiteX5" fmla="*/ 65245 w 65245"/>
                  <a:gd name="connsiteY5" fmla="*/ 6533 h 13065"/>
                  <a:gd name="connsiteX6" fmla="*/ 58713 w 65245"/>
                  <a:gd name="connsiteY6" fmla="*/ 13065 h 13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245" h="13065">
                    <a:moveTo>
                      <a:pt x="58713" y="13065"/>
                    </a:moveTo>
                    <a:lnTo>
                      <a:pt x="6533" y="13065"/>
                    </a:lnTo>
                    <a:cubicBezTo>
                      <a:pt x="2918" y="13065"/>
                      <a:pt x="0" y="10147"/>
                      <a:pt x="0" y="6533"/>
                    </a:cubicBezTo>
                    <a:cubicBezTo>
                      <a:pt x="0" y="2918"/>
                      <a:pt x="2918" y="0"/>
                      <a:pt x="6533" y="0"/>
                    </a:cubicBezTo>
                    <a:lnTo>
                      <a:pt x="58713" y="0"/>
                    </a:lnTo>
                    <a:cubicBezTo>
                      <a:pt x="62327" y="0"/>
                      <a:pt x="65245" y="2918"/>
                      <a:pt x="65245" y="6533"/>
                    </a:cubicBezTo>
                    <a:cubicBezTo>
                      <a:pt x="65245" y="10147"/>
                      <a:pt x="62327" y="13065"/>
                      <a:pt x="58713" y="13065"/>
                    </a:cubicBezTo>
                    <a:close/>
                  </a:path>
                </a:pathLst>
              </a:custGeom>
              <a:solidFill>
                <a:schemeClr val="accent1"/>
              </a:solidFill>
              <a:ln w="2676" cap="flat">
                <a:noFill/>
                <a:prstDash val="solid"/>
                <a:miter/>
              </a:ln>
            </p:spPr>
            <p:txBody>
              <a:bodyPr rtlCol="0" anchor="ctr"/>
              <a:lstStyle/>
              <a:p>
                <a:endParaRPr lang="en-GB" dirty="0"/>
              </a:p>
            </p:txBody>
          </p:sp>
          <p:sp>
            <p:nvSpPr>
              <p:cNvPr id="323" name="Freihandform: Form 925">
                <a:extLst>
                  <a:ext uri="{FF2B5EF4-FFF2-40B4-BE49-F238E27FC236}">
                    <a16:creationId xmlns:a16="http://schemas.microsoft.com/office/drawing/2014/main" id="{F4CA0F3D-E9D4-41D4-A4E7-5C3F4D24279C}"/>
                  </a:ext>
                </a:extLst>
              </p:cNvPr>
              <p:cNvSpPr/>
              <p:nvPr/>
            </p:nvSpPr>
            <p:spPr>
              <a:xfrm>
                <a:off x="7032235" y="4164056"/>
                <a:ext cx="49917" cy="49911"/>
              </a:xfrm>
              <a:custGeom>
                <a:avLst/>
                <a:gdLst>
                  <a:gd name="connsiteX0" fmla="*/ 43405 w 49917"/>
                  <a:gd name="connsiteY0" fmla="*/ 49911 h 49911"/>
                  <a:gd name="connsiteX1" fmla="*/ 38800 w 49917"/>
                  <a:gd name="connsiteY1" fmla="*/ 48010 h 49911"/>
                  <a:gd name="connsiteX2" fmla="*/ 1908 w 49917"/>
                  <a:gd name="connsiteY2" fmla="*/ 11117 h 49911"/>
                  <a:gd name="connsiteX3" fmla="*/ 1908 w 49917"/>
                  <a:gd name="connsiteY3" fmla="*/ 1908 h 49911"/>
                  <a:gd name="connsiteX4" fmla="*/ 11117 w 49917"/>
                  <a:gd name="connsiteY4" fmla="*/ 1908 h 49911"/>
                  <a:gd name="connsiteX5" fmla="*/ 48010 w 49917"/>
                  <a:gd name="connsiteY5" fmla="*/ 38800 h 49911"/>
                  <a:gd name="connsiteX6" fmla="*/ 48010 w 49917"/>
                  <a:gd name="connsiteY6" fmla="*/ 48010 h 49911"/>
                  <a:gd name="connsiteX7" fmla="*/ 43405 w 49917"/>
                  <a:gd name="connsiteY7" fmla="*/ 49911 h 49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17" h="49911">
                    <a:moveTo>
                      <a:pt x="43405" y="49911"/>
                    </a:moveTo>
                    <a:cubicBezTo>
                      <a:pt x="41745" y="49911"/>
                      <a:pt x="40059" y="49269"/>
                      <a:pt x="38800" y="48010"/>
                    </a:cubicBezTo>
                    <a:lnTo>
                      <a:pt x="1908" y="11117"/>
                    </a:lnTo>
                    <a:cubicBezTo>
                      <a:pt x="-636" y="8574"/>
                      <a:pt x="-636" y="4451"/>
                      <a:pt x="1908" y="1908"/>
                    </a:cubicBezTo>
                    <a:cubicBezTo>
                      <a:pt x="4451" y="-636"/>
                      <a:pt x="8574" y="-636"/>
                      <a:pt x="11117" y="1908"/>
                    </a:cubicBezTo>
                    <a:lnTo>
                      <a:pt x="48010" y="38800"/>
                    </a:lnTo>
                    <a:cubicBezTo>
                      <a:pt x="50554" y="41344"/>
                      <a:pt x="50554" y="45467"/>
                      <a:pt x="48010" y="48010"/>
                    </a:cubicBezTo>
                    <a:cubicBezTo>
                      <a:pt x="46725" y="49269"/>
                      <a:pt x="45065" y="49911"/>
                      <a:pt x="43405" y="49911"/>
                    </a:cubicBezTo>
                    <a:close/>
                  </a:path>
                </a:pathLst>
              </a:custGeom>
              <a:solidFill>
                <a:schemeClr val="accent1"/>
              </a:solidFill>
              <a:ln w="2676" cap="flat">
                <a:noFill/>
                <a:prstDash val="solid"/>
                <a:miter/>
              </a:ln>
            </p:spPr>
            <p:txBody>
              <a:bodyPr rtlCol="0" anchor="ctr"/>
              <a:lstStyle/>
              <a:p>
                <a:endParaRPr lang="en-GB" dirty="0"/>
              </a:p>
            </p:txBody>
          </p:sp>
          <p:sp>
            <p:nvSpPr>
              <p:cNvPr id="324" name="Freihandform: Form 926">
                <a:extLst>
                  <a:ext uri="{FF2B5EF4-FFF2-40B4-BE49-F238E27FC236}">
                    <a16:creationId xmlns:a16="http://schemas.microsoft.com/office/drawing/2014/main" id="{632D9C06-B527-496B-9D5F-536A54FFD6E7}"/>
                  </a:ext>
                </a:extLst>
              </p:cNvPr>
              <p:cNvSpPr/>
              <p:nvPr/>
            </p:nvSpPr>
            <p:spPr>
              <a:xfrm>
                <a:off x="7321434" y="4164056"/>
                <a:ext cx="49917" cy="49911"/>
              </a:xfrm>
              <a:custGeom>
                <a:avLst/>
                <a:gdLst>
                  <a:gd name="connsiteX0" fmla="*/ 6512 w 49917"/>
                  <a:gd name="connsiteY0" fmla="*/ 49911 h 49911"/>
                  <a:gd name="connsiteX1" fmla="*/ 1908 w 49917"/>
                  <a:gd name="connsiteY1" fmla="*/ 48010 h 49911"/>
                  <a:gd name="connsiteX2" fmla="*/ 1908 w 49917"/>
                  <a:gd name="connsiteY2" fmla="*/ 38800 h 49911"/>
                  <a:gd name="connsiteX3" fmla="*/ 38800 w 49917"/>
                  <a:gd name="connsiteY3" fmla="*/ 1908 h 49911"/>
                  <a:gd name="connsiteX4" fmla="*/ 48010 w 49917"/>
                  <a:gd name="connsiteY4" fmla="*/ 1908 h 49911"/>
                  <a:gd name="connsiteX5" fmla="*/ 48010 w 49917"/>
                  <a:gd name="connsiteY5" fmla="*/ 11117 h 49911"/>
                  <a:gd name="connsiteX6" fmla="*/ 11117 w 49917"/>
                  <a:gd name="connsiteY6" fmla="*/ 48010 h 49911"/>
                  <a:gd name="connsiteX7" fmla="*/ 6512 w 49917"/>
                  <a:gd name="connsiteY7" fmla="*/ 49911 h 49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917" h="49911">
                    <a:moveTo>
                      <a:pt x="6512" y="49911"/>
                    </a:moveTo>
                    <a:cubicBezTo>
                      <a:pt x="4853" y="49911"/>
                      <a:pt x="3166" y="49269"/>
                      <a:pt x="1908" y="48010"/>
                    </a:cubicBezTo>
                    <a:cubicBezTo>
                      <a:pt x="-636" y="45467"/>
                      <a:pt x="-636" y="41344"/>
                      <a:pt x="1908" y="38800"/>
                    </a:cubicBezTo>
                    <a:lnTo>
                      <a:pt x="38800" y="1908"/>
                    </a:lnTo>
                    <a:cubicBezTo>
                      <a:pt x="41344" y="-636"/>
                      <a:pt x="45467" y="-636"/>
                      <a:pt x="48010" y="1908"/>
                    </a:cubicBezTo>
                    <a:cubicBezTo>
                      <a:pt x="50554" y="4451"/>
                      <a:pt x="50554" y="8574"/>
                      <a:pt x="48010" y="11117"/>
                    </a:cubicBezTo>
                    <a:lnTo>
                      <a:pt x="11117" y="48010"/>
                    </a:lnTo>
                    <a:cubicBezTo>
                      <a:pt x="9859" y="49269"/>
                      <a:pt x="8199" y="49911"/>
                      <a:pt x="6512" y="49911"/>
                    </a:cubicBezTo>
                    <a:close/>
                  </a:path>
                </a:pathLst>
              </a:custGeom>
              <a:solidFill>
                <a:schemeClr val="accent1"/>
              </a:solidFill>
              <a:ln w="2676" cap="flat">
                <a:noFill/>
                <a:prstDash val="solid"/>
                <a:miter/>
              </a:ln>
            </p:spPr>
            <p:txBody>
              <a:bodyPr rtlCol="0" anchor="ctr"/>
              <a:lstStyle/>
              <a:p>
                <a:endParaRPr lang="en-GB" dirty="0"/>
              </a:p>
            </p:txBody>
          </p:sp>
        </p:grpSp>
      </p:grpSp>
      <p:grpSp>
        <p:nvGrpSpPr>
          <p:cNvPr id="330" name="Group 329">
            <a:extLst>
              <a:ext uri="{FF2B5EF4-FFF2-40B4-BE49-F238E27FC236}">
                <a16:creationId xmlns:a16="http://schemas.microsoft.com/office/drawing/2014/main" id="{BA02A465-145E-46E4-972A-E7028C78D264}"/>
              </a:ext>
            </a:extLst>
          </p:cNvPr>
          <p:cNvGrpSpPr>
            <a:grpSpLocks noChangeAspect="1"/>
          </p:cNvGrpSpPr>
          <p:nvPr/>
        </p:nvGrpSpPr>
        <p:grpSpPr>
          <a:xfrm>
            <a:off x="6022949" y="1585984"/>
            <a:ext cx="466905" cy="432000"/>
            <a:chOff x="2498368" y="3270060"/>
            <a:chExt cx="529975" cy="490355"/>
          </a:xfrm>
        </p:grpSpPr>
        <p:grpSp>
          <p:nvGrpSpPr>
            <p:cNvPr id="331" name="Group 330">
              <a:extLst>
                <a:ext uri="{FF2B5EF4-FFF2-40B4-BE49-F238E27FC236}">
                  <a16:creationId xmlns:a16="http://schemas.microsoft.com/office/drawing/2014/main" id="{11DE65DB-D5E7-418F-A575-F1A25E9A6587}"/>
                </a:ext>
              </a:extLst>
            </p:cNvPr>
            <p:cNvGrpSpPr/>
            <p:nvPr/>
          </p:nvGrpSpPr>
          <p:grpSpPr>
            <a:xfrm>
              <a:off x="2498368" y="3416724"/>
              <a:ext cx="529975" cy="343691"/>
              <a:chOff x="2498368" y="3416724"/>
              <a:chExt cx="529975" cy="343691"/>
            </a:xfrm>
          </p:grpSpPr>
          <p:grpSp>
            <p:nvGrpSpPr>
              <p:cNvPr id="341" name="Grafik 203">
                <a:extLst>
                  <a:ext uri="{FF2B5EF4-FFF2-40B4-BE49-F238E27FC236}">
                    <a16:creationId xmlns:a16="http://schemas.microsoft.com/office/drawing/2014/main" id="{C1198C0D-6977-495A-8655-77E98FE145E3}"/>
                  </a:ext>
                </a:extLst>
              </p:cNvPr>
              <p:cNvGrpSpPr/>
              <p:nvPr/>
            </p:nvGrpSpPr>
            <p:grpSpPr>
              <a:xfrm>
                <a:off x="2498368" y="3416746"/>
                <a:ext cx="159990" cy="343668"/>
                <a:chOff x="2498368" y="3416746"/>
                <a:chExt cx="159990" cy="343668"/>
              </a:xfrm>
              <a:solidFill>
                <a:schemeClr val="accent1"/>
              </a:solidFill>
            </p:grpSpPr>
            <p:sp>
              <p:nvSpPr>
                <p:cNvPr id="347" name="Freihandform: Form 66">
                  <a:extLst>
                    <a:ext uri="{FF2B5EF4-FFF2-40B4-BE49-F238E27FC236}">
                      <a16:creationId xmlns:a16="http://schemas.microsoft.com/office/drawing/2014/main" id="{8F6732E3-F83F-44BA-BCBD-5B9CD25B85C2}"/>
                    </a:ext>
                  </a:extLst>
                </p:cNvPr>
                <p:cNvSpPr/>
                <p:nvPr/>
              </p:nvSpPr>
              <p:spPr>
                <a:xfrm>
                  <a:off x="2561721" y="3697376"/>
                  <a:ext cx="96637" cy="63038"/>
                </a:xfrm>
                <a:custGeom>
                  <a:avLst/>
                  <a:gdLst>
                    <a:gd name="connsiteX0" fmla="*/ 55375 w 96637"/>
                    <a:gd name="connsiteY0" fmla="*/ 63038 h 63038"/>
                    <a:gd name="connsiteX1" fmla="*/ 48790 w 96637"/>
                    <a:gd name="connsiteY1" fmla="*/ 62521 h 63038"/>
                    <a:gd name="connsiteX2" fmla="*/ 2629 w 96637"/>
                    <a:gd name="connsiteY2" fmla="*/ 24203 h 63038"/>
                    <a:gd name="connsiteX3" fmla="*/ 0 w 96637"/>
                    <a:gd name="connsiteY3" fmla="*/ 19147 h 63038"/>
                    <a:gd name="connsiteX4" fmla="*/ 4607 w 96637"/>
                    <a:gd name="connsiteY4" fmla="*/ 15798 h 63038"/>
                    <a:gd name="connsiteX5" fmla="*/ 62994 w 96637"/>
                    <a:gd name="connsiteY5" fmla="*/ 1999 h 63038"/>
                    <a:gd name="connsiteX6" fmla="*/ 95244 w 96637"/>
                    <a:gd name="connsiteY6" fmla="*/ 37823 h 63038"/>
                    <a:gd name="connsiteX7" fmla="*/ 96637 w 96637"/>
                    <a:gd name="connsiteY7" fmla="*/ 41800 h 63038"/>
                    <a:gd name="connsiteX8" fmla="*/ 93626 w 96637"/>
                    <a:gd name="connsiteY8" fmla="*/ 44745 h 63038"/>
                    <a:gd name="connsiteX9" fmla="*/ 55375 w 96637"/>
                    <a:gd name="connsiteY9" fmla="*/ 63038 h 63038"/>
                    <a:gd name="connsiteX10" fmla="*/ 17529 w 96637"/>
                    <a:gd name="connsiteY10" fmla="*/ 23260 h 63038"/>
                    <a:gd name="connsiteX11" fmla="*/ 50925 w 96637"/>
                    <a:gd name="connsiteY11" fmla="*/ 49441 h 63038"/>
                    <a:gd name="connsiteX12" fmla="*/ 81198 w 96637"/>
                    <a:gd name="connsiteY12" fmla="*/ 38182 h 63038"/>
                    <a:gd name="connsiteX13" fmla="*/ 59083 w 96637"/>
                    <a:gd name="connsiteY13" fmla="*/ 14652 h 63038"/>
                    <a:gd name="connsiteX14" fmla="*/ 17529 w 96637"/>
                    <a:gd name="connsiteY14" fmla="*/ 23260 h 63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637" h="63038">
                      <a:moveTo>
                        <a:pt x="55375" y="63038"/>
                      </a:moveTo>
                      <a:cubicBezTo>
                        <a:pt x="53195" y="63038"/>
                        <a:pt x="50993" y="62858"/>
                        <a:pt x="48790" y="62521"/>
                      </a:cubicBezTo>
                      <a:cubicBezTo>
                        <a:pt x="20496" y="58004"/>
                        <a:pt x="3326" y="25574"/>
                        <a:pt x="2629" y="24203"/>
                      </a:cubicBezTo>
                      <a:lnTo>
                        <a:pt x="0" y="19147"/>
                      </a:lnTo>
                      <a:lnTo>
                        <a:pt x="4607" y="15798"/>
                      </a:lnTo>
                      <a:cubicBezTo>
                        <a:pt x="5866" y="14877"/>
                        <a:pt x="35666" y="-6518"/>
                        <a:pt x="62994" y="1999"/>
                      </a:cubicBezTo>
                      <a:cubicBezTo>
                        <a:pt x="77692" y="6584"/>
                        <a:pt x="88524" y="18630"/>
                        <a:pt x="95244" y="37823"/>
                      </a:cubicBezTo>
                      <a:lnTo>
                        <a:pt x="96637" y="41800"/>
                      </a:lnTo>
                      <a:lnTo>
                        <a:pt x="93626" y="44745"/>
                      </a:lnTo>
                      <a:cubicBezTo>
                        <a:pt x="81175" y="56903"/>
                        <a:pt x="68343" y="63038"/>
                        <a:pt x="55375" y="63038"/>
                      </a:cubicBezTo>
                      <a:close/>
                      <a:moveTo>
                        <a:pt x="17529" y="23260"/>
                      </a:moveTo>
                      <a:cubicBezTo>
                        <a:pt x="22968" y="31507"/>
                        <a:pt x="35104" y="46924"/>
                        <a:pt x="50925" y="49441"/>
                      </a:cubicBezTo>
                      <a:cubicBezTo>
                        <a:pt x="60724" y="50992"/>
                        <a:pt x="70905" y="47217"/>
                        <a:pt x="81198" y="38182"/>
                      </a:cubicBezTo>
                      <a:cubicBezTo>
                        <a:pt x="75984" y="25529"/>
                        <a:pt x="68567" y="17619"/>
                        <a:pt x="59083" y="14652"/>
                      </a:cubicBezTo>
                      <a:cubicBezTo>
                        <a:pt x="43801" y="9843"/>
                        <a:pt x="26069" y="18270"/>
                        <a:pt x="17529" y="23260"/>
                      </a:cubicBezTo>
                      <a:close/>
                    </a:path>
                  </a:pathLst>
                </a:custGeom>
                <a:solidFill>
                  <a:schemeClr val="accent1"/>
                </a:solidFill>
                <a:ln w="2243" cap="flat">
                  <a:noFill/>
                  <a:prstDash val="solid"/>
                  <a:miter/>
                </a:ln>
              </p:spPr>
              <p:txBody>
                <a:bodyPr rtlCol="0" anchor="ctr"/>
                <a:lstStyle/>
                <a:p>
                  <a:endParaRPr lang="en-GB" dirty="0"/>
                </a:p>
              </p:txBody>
            </p:sp>
            <p:sp>
              <p:nvSpPr>
                <p:cNvPr id="348" name="Freihandform: Form 67">
                  <a:extLst>
                    <a:ext uri="{FF2B5EF4-FFF2-40B4-BE49-F238E27FC236}">
                      <a16:creationId xmlns:a16="http://schemas.microsoft.com/office/drawing/2014/main" id="{D82E9C7E-C822-4B37-B104-191A8027D8A4}"/>
                    </a:ext>
                  </a:extLst>
                </p:cNvPr>
                <p:cNvSpPr/>
                <p:nvPr/>
              </p:nvSpPr>
              <p:spPr>
                <a:xfrm>
                  <a:off x="2498368" y="3616208"/>
                  <a:ext cx="91985" cy="64379"/>
                </a:xfrm>
                <a:custGeom>
                  <a:avLst/>
                  <a:gdLst>
                    <a:gd name="connsiteX0" fmla="*/ 54342 w 91985"/>
                    <a:gd name="connsiteY0" fmla="*/ 64380 h 64379"/>
                    <a:gd name="connsiteX1" fmla="*/ 41531 w 91985"/>
                    <a:gd name="connsiteY1" fmla="*/ 62357 h 64379"/>
                    <a:gd name="connsiteX2" fmla="*/ 1820 w 91985"/>
                    <a:gd name="connsiteY2" fmla="*/ 17387 h 64379"/>
                    <a:gd name="connsiteX3" fmla="*/ 0 w 91985"/>
                    <a:gd name="connsiteY3" fmla="*/ 11994 h 64379"/>
                    <a:gd name="connsiteX4" fmla="*/ 5057 w 91985"/>
                    <a:gd name="connsiteY4" fmla="*/ 9387 h 64379"/>
                    <a:gd name="connsiteX5" fmla="*/ 64882 w 91985"/>
                    <a:gd name="connsiteY5" fmla="*/ 4757 h 64379"/>
                    <a:gd name="connsiteX6" fmla="*/ 91221 w 91985"/>
                    <a:gd name="connsiteY6" fmla="*/ 45120 h 64379"/>
                    <a:gd name="connsiteX7" fmla="*/ 91985 w 91985"/>
                    <a:gd name="connsiteY7" fmla="*/ 49255 h 64379"/>
                    <a:gd name="connsiteX8" fmla="*/ 88569 w 91985"/>
                    <a:gd name="connsiteY8" fmla="*/ 51705 h 64379"/>
                    <a:gd name="connsiteX9" fmla="*/ 54342 w 91985"/>
                    <a:gd name="connsiteY9" fmla="*/ 64380 h 64379"/>
                    <a:gd name="connsiteX10" fmla="*/ 16698 w 91985"/>
                    <a:gd name="connsiteY10" fmla="*/ 18758 h 64379"/>
                    <a:gd name="connsiteX11" fmla="*/ 45667 w 91985"/>
                    <a:gd name="connsiteY11" fmla="*/ 49772 h 64379"/>
                    <a:gd name="connsiteX12" fmla="*/ 77310 w 91985"/>
                    <a:gd name="connsiteY12" fmla="*/ 43322 h 64379"/>
                    <a:gd name="connsiteX13" fmla="*/ 59083 w 91985"/>
                    <a:gd name="connsiteY13" fmla="*/ 16668 h 64379"/>
                    <a:gd name="connsiteX14" fmla="*/ 16698 w 91985"/>
                    <a:gd name="connsiteY14" fmla="*/ 18758 h 64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985" h="64379">
                      <a:moveTo>
                        <a:pt x="54342" y="64380"/>
                      </a:moveTo>
                      <a:cubicBezTo>
                        <a:pt x="49982" y="64380"/>
                        <a:pt x="45712" y="63706"/>
                        <a:pt x="41531" y="62357"/>
                      </a:cubicBezTo>
                      <a:cubicBezTo>
                        <a:pt x="14271" y="53547"/>
                        <a:pt x="2315" y="18871"/>
                        <a:pt x="1820" y="17387"/>
                      </a:cubicBezTo>
                      <a:lnTo>
                        <a:pt x="0" y="11994"/>
                      </a:lnTo>
                      <a:lnTo>
                        <a:pt x="5057" y="9387"/>
                      </a:lnTo>
                      <a:cubicBezTo>
                        <a:pt x="6450" y="8667"/>
                        <a:pt x="39149" y="-7918"/>
                        <a:pt x="64882" y="4757"/>
                      </a:cubicBezTo>
                      <a:cubicBezTo>
                        <a:pt x="78680" y="11544"/>
                        <a:pt x="87558" y="25118"/>
                        <a:pt x="91221" y="45120"/>
                      </a:cubicBezTo>
                      <a:lnTo>
                        <a:pt x="91985" y="49255"/>
                      </a:lnTo>
                      <a:lnTo>
                        <a:pt x="88569" y="51705"/>
                      </a:lnTo>
                      <a:cubicBezTo>
                        <a:pt x="76725" y="60132"/>
                        <a:pt x="65264" y="64380"/>
                        <a:pt x="54342" y="64380"/>
                      </a:cubicBezTo>
                      <a:close/>
                      <a:moveTo>
                        <a:pt x="16698" y="18758"/>
                      </a:moveTo>
                      <a:cubicBezTo>
                        <a:pt x="20811" y="27748"/>
                        <a:pt x="30407" y="44850"/>
                        <a:pt x="45667" y="49772"/>
                      </a:cubicBezTo>
                      <a:cubicBezTo>
                        <a:pt x="55151" y="52828"/>
                        <a:pt x="65758" y="50648"/>
                        <a:pt x="77310" y="43322"/>
                      </a:cubicBezTo>
                      <a:cubicBezTo>
                        <a:pt x="74118" y="30018"/>
                        <a:pt x="68005" y="21073"/>
                        <a:pt x="59083" y="16668"/>
                      </a:cubicBezTo>
                      <a:cubicBezTo>
                        <a:pt x="44700" y="9566"/>
                        <a:pt x="25890" y="15162"/>
                        <a:pt x="16698" y="18758"/>
                      </a:cubicBezTo>
                      <a:close/>
                    </a:path>
                  </a:pathLst>
                </a:custGeom>
                <a:solidFill>
                  <a:schemeClr val="accent1"/>
                </a:solidFill>
                <a:ln w="2243" cap="flat">
                  <a:noFill/>
                  <a:prstDash val="solid"/>
                  <a:miter/>
                </a:ln>
              </p:spPr>
              <p:txBody>
                <a:bodyPr rtlCol="0" anchor="ctr"/>
                <a:lstStyle/>
                <a:p>
                  <a:endParaRPr lang="en-GB" dirty="0"/>
                </a:p>
              </p:txBody>
            </p:sp>
            <p:sp>
              <p:nvSpPr>
                <p:cNvPr id="349" name="Freihandform: Form 68">
                  <a:extLst>
                    <a:ext uri="{FF2B5EF4-FFF2-40B4-BE49-F238E27FC236}">
                      <a16:creationId xmlns:a16="http://schemas.microsoft.com/office/drawing/2014/main" id="{71BD1394-65AF-4614-B110-49EB4DE9CC4F}"/>
                    </a:ext>
                  </a:extLst>
                </p:cNvPr>
                <p:cNvSpPr/>
                <p:nvPr/>
              </p:nvSpPr>
              <p:spPr>
                <a:xfrm>
                  <a:off x="2503717" y="3522465"/>
                  <a:ext cx="77289" cy="70654"/>
                </a:xfrm>
                <a:custGeom>
                  <a:avLst/>
                  <a:gdLst>
                    <a:gd name="connsiteX0" fmla="*/ 50094 w 77289"/>
                    <a:gd name="connsiteY0" fmla="*/ 70655 h 70654"/>
                    <a:gd name="connsiteX1" fmla="*/ 23935 w 77289"/>
                    <a:gd name="connsiteY1" fmla="*/ 62564 h 70654"/>
                    <a:gd name="connsiteX2" fmla="*/ 67 w 77289"/>
                    <a:gd name="connsiteY2" fmla="*/ 7526 h 70654"/>
                    <a:gd name="connsiteX3" fmla="*/ 0 w 77289"/>
                    <a:gd name="connsiteY3" fmla="*/ 1840 h 70654"/>
                    <a:gd name="connsiteX4" fmla="*/ 5618 w 77289"/>
                    <a:gd name="connsiteY4" fmla="*/ 919 h 70654"/>
                    <a:gd name="connsiteX5" fmla="*/ 63938 w 77289"/>
                    <a:gd name="connsiteY5" fmla="*/ 15010 h 70654"/>
                    <a:gd name="connsiteX6" fmla="*/ 76501 w 77289"/>
                    <a:gd name="connsiteY6" fmla="*/ 61553 h 70654"/>
                    <a:gd name="connsiteX7" fmla="*/ 75939 w 77289"/>
                    <a:gd name="connsiteY7" fmla="*/ 65733 h 70654"/>
                    <a:gd name="connsiteX8" fmla="*/ 71916 w 77289"/>
                    <a:gd name="connsiteY8" fmla="*/ 66992 h 70654"/>
                    <a:gd name="connsiteX9" fmla="*/ 50094 w 77289"/>
                    <a:gd name="connsiteY9" fmla="*/ 70655 h 70654"/>
                    <a:gd name="connsiteX10" fmla="*/ 13754 w 77289"/>
                    <a:gd name="connsiteY10" fmla="*/ 13392 h 70654"/>
                    <a:gd name="connsiteX11" fmla="*/ 31733 w 77289"/>
                    <a:gd name="connsiteY11" fmla="*/ 51867 h 70654"/>
                    <a:gd name="connsiteX12" fmla="*/ 63825 w 77289"/>
                    <a:gd name="connsiteY12" fmla="*/ 55507 h 70654"/>
                    <a:gd name="connsiteX13" fmla="*/ 54701 w 77289"/>
                    <a:gd name="connsiteY13" fmla="*/ 24494 h 70654"/>
                    <a:gd name="connsiteX14" fmla="*/ 13754 w 77289"/>
                    <a:gd name="connsiteY14" fmla="*/ 13392 h 70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289" h="70654">
                      <a:moveTo>
                        <a:pt x="50094" y="70655"/>
                      </a:moveTo>
                      <a:cubicBezTo>
                        <a:pt x="40116" y="70655"/>
                        <a:pt x="31373" y="67958"/>
                        <a:pt x="23935" y="62564"/>
                      </a:cubicBezTo>
                      <a:cubicBezTo>
                        <a:pt x="742" y="45754"/>
                        <a:pt x="67" y="9077"/>
                        <a:pt x="67" y="7526"/>
                      </a:cubicBezTo>
                      <a:lnTo>
                        <a:pt x="0" y="1840"/>
                      </a:lnTo>
                      <a:lnTo>
                        <a:pt x="5618" y="919"/>
                      </a:lnTo>
                      <a:cubicBezTo>
                        <a:pt x="7169" y="671"/>
                        <a:pt x="43419" y="-4969"/>
                        <a:pt x="63938" y="15010"/>
                      </a:cubicBezTo>
                      <a:cubicBezTo>
                        <a:pt x="74973" y="25730"/>
                        <a:pt x="79198" y="41394"/>
                        <a:pt x="76501" y="61553"/>
                      </a:cubicBezTo>
                      <a:lnTo>
                        <a:pt x="75939" y="65733"/>
                      </a:lnTo>
                      <a:lnTo>
                        <a:pt x="71916" y="66992"/>
                      </a:lnTo>
                      <a:cubicBezTo>
                        <a:pt x="64118" y="69419"/>
                        <a:pt x="56814" y="70655"/>
                        <a:pt x="50094" y="70655"/>
                      </a:cubicBezTo>
                      <a:close/>
                      <a:moveTo>
                        <a:pt x="13754" y="13392"/>
                      </a:moveTo>
                      <a:cubicBezTo>
                        <a:pt x="14878" y="23213"/>
                        <a:pt x="18721" y="42473"/>
                        <a:pt x="31733" y="51867"/>
                      </a:cubicBezTo>
                      <a:cubicBezTo>
                        <a:pt x="39801" y="57687"/>
                        <a:pt x="50588" y="58901"/>
                        <a:pt x="63825" y="55507"/>
                      </a:cubicBezTo>
                      <a:cubicBezTo>
                        <a:pt x="64904" y="41843"/>
                        <a:pt x="61848" y="31438"/>
                        <a:pt x="54701" y="24494"/>
                      </a:cubicBezTo>
                      <a:cubicBezTo>
                        <a:pt x="43150" y="13257"/>
                        <a:pt x="23575" y="12807"/>
                        <a:pt x="13754" y="13392"/>
                      </a:cubicBezTo>
                      <a:close/>
                    </a:path>
                  </a:pathLst>
                </a:custGeom>
                <a:solidFill>
                  <a:schemeClr val="accent1"/>
                </a:solidFill>
                <a:ln w="2243" cap="flat">
                  <a:noFill/>
                  <a:prstDash val="solid"/>
                  <a:miter/>
                </a:ln>
              </p:spPr>
              <p:txBody>
                <a:bodyPr rtlCol="0" anchor="ctr"/>
                <a:lstStyle/>
                <a:p>
                  <a:endParaRPr lang="en-GB" dirty="0"/>
                </a:p>
              </p:txBody>
            </p:sp>
            <p:sp>
              <p:nvSpPr>
                <p:cNvPr id="350" name="Freihandform: Form 69">
                  <a:extLst>
                    <a:ext uri="{FF2B5EF4-FFF2-40B4-BE49-F238E27FC236}">
                      <a16:creationId xmlns:a16="http://schemas.microsoft.com/office/drawing/2014/main" id="{C6899DFB-9AA9-4F6D-AEE2-49376517B37C}"/>
                    </a:ext>
                  </a:extLst>
                </p:cNvPr>
                <p:cNvSpPr/>
                <p:nvPr/>
              </p:nvSpPr>
              <p:spPr>
                <a:xfrm>
                  <a:off x="2517442" y="3416746"/>
                  <a:ext cx="68959" cy="80231"/>
                </a:xfrm>
                <a:custGeom>
                  <a:avLst/>
                  <a:gdLst>
                    <a:gd name="connsiteX0" fmla="*/ 51561 w 68959"/>
                    <a:gd name="connsiteY0" fmla="*/ 80231 h 80231"/>
                    <a:gd name="connsiteX1" fmla="*/ 12434 w 68959"/>
                    <a:gd name="connsiteY1" fmla="*/ 64635 h 80231"/>
                    <a:gd name="connsiteX2" fmla="*/ 1916 w 68959"/>
                    <a:gd name="connsiteY2" fmla="*/ 5551 h 80231"/>
                    <a:gd name="connsiteX3" fmla="*/ 3175 w 68959"/>
                    <a:gd name="connsiteY3" fmla="*/ 0 h 80231"/>
                    <a:gd name="connsiteX4" fmla="*/ 8861 w 68959"/>
                    <a:gd name="connsiteY4" fmla="*/ 405 h 80231"/>
                    <a:gd name="connsiteX5" fmla="*/ 62371 w 68959"/>
                    <a:gd name="connsiteY5" fmla="*/ 27575 h 80231"/>
                    <a:gd name="connsiteX6" fmla="*/ 63854 w 68959"/>
                    <a:gd name="connsiteY6" fmla="*/ 75759 h 80231"/>
                    <a:gd name="connsiteX7" fmla="*/ 62348 w 68959"/>
                    <a:gd name="connsiteY7" fmla="*/ 79692 h 80231"/>
                    <a:gd name="connsiteX8" fmla="*/ 58146 w 68959"/>
                    <a:gd name="connsiteY8" fmla="*/ 80007 h 80231"/>
                    <a:gd name="connsiteX9" fmla="*/ 51561 w 68959"/>
                    <a:gd name="connsiteY9" fmla="*/ 80231 h 80231"/>
                    <a:gd name="connsiteX10" fmla="*/ 13895 w 68959"/>
                    <a:gd name="connsiteY10" fmla="*/ 14451 h 80231"/>
                    <a:gd name="connsiteX11" fmla="*/ 22502 w 68959"/>
                    <a:gd name="connsiteY11" fmla="*/ 56005 h 80231"/>
                    <a:gd name="connsiteX12" fmla="*/ 52887 w 68959"/>
                    <a:gd name="connsiteY12" fmla="*/ 66949 h 80231"/>
                    <a:gd name="connsiteX13" fmla="*/ 51201 w 68959"/>
                    <a:gd name="connsiteY13" fmla="*/ 34699 h 80231"/>
                    <a:gd name="connsiteX14" fmla="*/ 13895 w 68959"/>
                    <a:gd name="connsiteY14" fmla="*/ 14451 h 80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959" h="80231">
                      <a:moveTo>
                        <a:pt x="51561" y="80231"/>
                      </a:moveTo>
                      <a:cubicBezTo>
                        <a:pt x="34503" y="80231"/>
                        <a:pt x="21356" y="74995"/>
                        <a:pt x="12434" y="64635"/>
                      </a:cubicBezTo>
                      <a:cubicBezTo>
                        <a:pt x="-6264" y="42925"/>
                        <a:pt x="1579" y="7079"/>
                        <a:pt x="1916" y="5551"/>
                      </a:cubicBezTo>
                      <a:lnTo>
                        <a:pt x="3175" y="0"/>
                      </a:lnTo>
                      <a:lnTo>
                        <a:pt x="8861" y="405"/>
                      </a:lnTo>
                      <a:cubicBezTo>
                        <a:pt x="10411" y="517"/>
                        <a:pt x="46976" y="3394"/>
                        <a:pt x="62371" y="27575"/>
                      </a:cubicBezTo>
                      <a:cubicBezTo>
                        <a:pt x="70618" y="40565"/>
                        <a:pt x="71135" y="56769"/>
                        <a:pt x="63854" y="75759"/>
                      </a:cubicBezTo>
                      <a:lnTo>
                        <a:pt x="62348" y="79692"/>
                      </a:lnTo>
                      <a:lnTo>
                        <a:pt x="58146" y="80007"/>
                      </a:lnTo>
                      <a:cubicBezTo>
                        <a:pt x="55876" y="80141"/>
                        <a:pt x="53696" y="80231"/>
                        <a:pt x="51561" y="80231"/>
                      </a:cubicBezTo>
                      <a:close/>
                      <a:moveTo>
                        <a:pt x="13895" y="14451"/>
                      </a:moveTo>
                      <a:cubicBezTo>
                        <a:pt x="12726" y="24272"/>
                        <a:pt x="12029" y="43869"/>
                        <a:pt x="22502" y="56005"/>
                      </a:cubicBezTo>
                      <a:cubicBezTo>
                        <a:pt x="28997" y="63533"/>
                        <a:pt x="39200" y="67197"/>
                        <a:pt x="52887" y="66949"/>
                      </a:cubicBezTo>
                      <a:cubicBezTo>
                        <a:pt x="57089" y="53914"/>
                        <a:pt x="56527" y="43082"/>
                        <a:pt x="51201" y="34699"/>
                      </a:cubicBezTo>
                      <a:cubicBezTo>
                        <a:pt x="42594" y="21170"/>
                        <a:pt x="23626" y="16159"/>
                        <a:pt x="13895" y="14451"/>
                      </a:cubicBezTo>
                      <a:close/>
                    </a:path>
                  </a:pathLst>
                </a:custGeom>
                <a:solidFill>
                  <a:schemeClr val="accent1"/>
                </a:solidFill>
                <a:ln w="2243" cap="flat">
                  <a:noFill/>
                  <a:prstDash val="solid"/>
                  <a:miter/>
                </a:ln>
              </p:spPr>
              <p:txBody>
                <a:bodyPr rtlCol="0" anchor="ctr"/>
                <a:lstStyle/>
                <a:p>
                  <a:endParaRPr lang="en-GB" dirty="0"/>
                </a:p>
              </p:txBody>
            </p:sp>
          </p:grpSp>
          <p:grpSp>
            <p:nvGrpSpPr>
              <p:cNvPr id="342" name="Grafik 203">
                <a:extLst>
                  <a:ext uri="{FF2B5EF4-FFF2-40B4-BE49-F238E27FC236}">
                    <a16:creationId xmlns:a16="http://schemas.microsoft.com/office/drawing/2014/main" id="{E3A7A9D0-648B-4509-A343-48448E7C3293}"/>
                  </a:ext>
                </a:extLst>
              </p:cNvPr>
              <p:cNvGrpSpPr/>
              <p:nvPr/>
            </p:nvGrpSpPr>
            <p:grpSpPr>
              <a:xfrm>
                <a:off x="2868353" y="3416724"/>
                <a:ext cx="159990" cy="343691"/>
                <a:chOff x="2868353" y="3416724"/>
                <a:chExt cx="159990" cy="343691"/>
              </a:xfrm>
              <a:solidFill>
                <a:schemeClr val="accent1"/>
              </a:solidFill>
            </p:grpSpPr>
            <p:sp>
              <p:nvSpPr>
                <p:cNvPr id="343" name="Freihandform: Form 71">
                  <a:extLst>
                    <a:ext uri="{FF2B5EF4-FFF2-40B4-BE49-F238E27FC236}">
                      <a16:creationId xmlns:a16="http://schemas.microsoft.com/office/drawing/2014/main" id="{F14DA52C-D169-4609-8208-6C50F89517E7}"/>
                    </a:ext>
                  </a:extLst>
                </p:cNvPr>
                <p:cNvSpPr/>
                <p:nvPr/>
              </p:nvSpPr>
              <p:spPr>
                <a:xfrm>
                  <a:off x="2868353" y="3697378"/>
                  <a:ext cx="96637" cy="63036"/>
                </a:xfrm>
                <a:custGeom>
                  <a:avLst/>
                  <a:gdLst>
                    <a:gd name="connsiteX0" fmla="*/ 41239 w 96637"/>
                    <a:gd name="connsiteY0" fmla="*/ 63037 h 63036"/>
                    <a:gd name="connsiteX1" fmla="*/ 3012 w 96637"/>
                    <a:gd name="connsiteY1" fmla="*/ 44743 h 63036"/>
                    <a:gd name="connsiteX2" fmla="*/ 0 w 96637"/>
                    <a:gd name="connsiteY2" fmla="*/ 41799 h 63036"/>
                    <a:gd name="connsiteX3" fmla="*/ 1393 w 96637"/>
                    <a:gd name="connsiteY3" fmla="*/ 37821 h 63036"/>
                    <a:gd name="connsiteX4" fmla="*/ 33643 w 96637"/>
                    <a:gd name="connsiteY4" fmla="*/ 1998 h 63036"/>
                    <a:gd name="connsiteX5" fmla="*/ 92030 w 96637"/>
                    <a:gd name="connsiteY5" fmla="*/ 15797 h 63036"/>
                    <a:gd name="connsiteX6" fmla="*/ 96637 w 96637"/>
                    <a:gd name="connsiteY6" fmla="*/ 19145 h 63036"/>
                    <a:gd name="connsiteX7" fmla="*/ 94008 w 96637"/>
                    <a:gd name="connsiteY7" fmla="*/ 24202 h 63036"/>
                    <a:gd name="connsiteX8" fmla="*/ 47847 w 96637"/>
                    <a:gd name="connsiteY8" fmla="*/ 62520 h 63036"/>
                    <a:gd name="connsiteX9" fmla="*/ 41239 w 96637"/>
                    <a:gd name="connsiteY9" fmla="*/ 63037 h 63036"/>
                    <a:gd name="connsiteX10" fmla="*/ 15417 w 96637"/>
                    <a:gd name="connsiteY10" fmla="*/ 38181 h 63036"/>
                    <a:gd name="connsiteX11" fmla="*/ 45689 w 96637"/>
                    <a:gd name="connsiteY11" fmla="*/ 49440 h 63036"/>
                    <a:gd name="connsiteX12" fmla="*/ 79085 w 96637"/>
                    <a:gd name="connsiteY12" fmla="*/ 23258 h 63036"/>
                    <a:gd name="connsiteX13" fmla="*/ 37531 w 96637"/>
                    <a:gd name="connsiteY13" fmla="*/ 14651 h 63036"/>
                    <a:gd name="connsiteX14" fmla="*/ 15417 w 96637"/>
                    <a:gd name="connsiteY14" fmla="*/ 38181 h 63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6637" h="63036">
                      <a:moveTo>
                        <a:pt x="41239" y="63037"/>
                      </a:moveTo>
                      <a:cubicBezTo>
                        <a:pt x="28272" y="63037"/>
                        <a:pt x="15440" y="56901"/>
                        <a:pt x="3012" y="44743"/>
                      </a:cubicBezTo>
                      <a:lnTo>
                        <a:pt x="0" y="41799"/>
                      </a:lnTo>
                      <a:lnTo>
                        <a:pt x="1393" y="37821"/>
                      </a:lnTo>
                      <a:cubicBezTo>
                        <a:pt x="8091" y="18629"/>
                        <a:pt x="18945" y="6583"/>
                        <a:pt x="33643" y="1998"/>
                      </a:cubicBezTo>
                      <a:cubicBezTo>
                        <a:pt x="60994" y="-6520"/>
                        <a:pt x="90771" y="14898"/>
                        <a:pt x="92030" y="15797"/>
                      </a:cubicBezTo>
                      <a:lnTo>
                        <a:pt x="96637" y="19145"/>
                      </a:lnTo>
                      <a:lnTo>
                        <a:pt x="94008" y="24202"/>
                      </a:lnTo>
                      <a:cubicBezTo>
                        <a:pt x="93289" y="25573"/>
                        <a:pt x="76119" y="58002"/>
                        <a:pt x="47847" y="62520"/>
                      </a:cubicBezTo>
                      <a:cubicBezTo>
                        <a:pt x="45622" y="62857"/>
                        <a:pt x="43419" y="63037"/>
                        <a:pt x="41239" y="63037"/>
                      </a:cubicBezTo>
                      <a:close/>
                      <a:moveTo>
                        <a:pt x="15417" y="38181"/>
                      </a:moveTo>
                      <a:cubicBezTo>
                        <a:pt x="25710" y="47215"/>
                        <a:pt x="35913" y="50991"/>
                        <a:pt x="45689" y="49440"/>
                      </a:cubicBezTo>
                      <a:cubicBezTo>
                        <a:pt x="61533" y="46945"/>
                        <a:pt x="73647" y="31506"/>
                        <a:pt x="79085" y="23258"/>
                      </a:cubicBezTo>
                      <a:cubicBezTo>
                        <a:pt x="70545" y="18291"/>
                        <a:pt x="52813" y="9841"/>
                        <a:pt x="37531" y="14651"/>
                      </a:cubicBezTo>
                      <a:cubicBezTo>
                        <a:pt x="28047" y="17617"/>
                        <a:pt x="20609" y="25528"/>
                        <a:pt x="15417" y="38181"/>
                      </a:cubicBezTo>
                      <a:close/>
                    </a:path>
                  </a:pathLst>
                </a:custGeom>
                <a:solidFill>
                  <a:schemeClr val="accent1"/>
                </a:solidFill>
                <a:ln w="2243" cap="flat">
                  <a:noFill/>
                  <a:prstDash val="solid"/>
                  <a:miter/>
                </a:ln>
              </p:spPr>
              <p:txBody>
                <a:bodyPr rtlCol="0" anchor="ctr"/>
                <a:lstStyle/>
                <a:p>
                  <a:endParaRPr lang="en-GB" dirty="0"/>
                </a:p>
              </p:txBody>
            </p:sp>
            <p:sp>
              <p:nvSpPr>
                <p:cNvPr id="344" name="Freihandform: Form 72">
                  <a:extLst>
                    <a:ext uri="{FF2B5EF4-FFF2-40B4-BE49-F238E27FC236}">
                      <a16:creationId xmlns:a16="http://schemas.microsoft.com/office/drawing/2014/main" id="{13CA8C3F-9844-466D-AEA5-5C3D2E337328}"/>
                    </a:ext>
                  </a:extLst>
                </p:cNvPr>
                <p:cNvSpPr/>
                <p:nvPr/>
              </p:nvSpPr>
              <p:spPr>
                <a:xfrm>
                  <a:off x="2936359" y="3616231"/>
                  <a:ext cx="91985" cy="64356"/>
                </a:xfrm>
                <a:custGeom>
                  <a:avLst/>
                  <a:gdLst>
                    <a:gd name="connsiteX0" fmla="*/ 37621 w 91985"/>
                    <a:gd name="connsiteY0" fmla="*/ 64357 h 64356"/>
                    <a:gd name="connsiteX1" fmla="*/ 3416 w 91985"/>
                    <a:gd name="connsiteY1" fmla="*/ 51681 h 64356"/>
                    <a:gd name="connsiteX2" fmla="*/ 0 w 91985"/>
                    <a:gd name="connsiteY2" fmla="*/ 49232 h 64356"/>
                    <a:gd name="connsiteX3" fmla="*/ 764 w 91985"/>
                    <a:gd name="connsiteY3" fmla="*/ 45097 h 64356"/>
                    <a:gd name="connsiteX4" fmla="*/ 27103 w 91985"/>
                    <a:gd name="connsiteY4" fmla="*/ 4734 h 64356"/>
                    <a:gd name="connsiteX5" fmla="*/ 86928 w 91985"/>
                    <a:gd name="connsiteY5" fmla="*/ 9363 h 64356"/>
                    <a:gd name="connsiteX6" fmla="*/ 91985 w 91985"/>
                    <a:gd name="connsiteY6" fmla="*/ 11970 h 64356"/>
                    <a:gd name="connsiteX7" fmla="*/ 90165 w 91985"/>
                    <a:gd name="connsiteY7" fmla="*/ 17364 h 64356"/>
                    <a:gd name="connsiteX8" fmla="*/ 50454 w 91985"/>
                    <a:gd name="connsiteY8" fmla="*/ 62334 h 64356"/>
                    <a:gd name="connsiteX9" fmla="*/ 37621 w 91985"/>
                    <a:gd name="connsiteY9" fmla="*/ 64357 h 64356"/>
                    <a:gd name="connsiteX10" fmla="*/ 14653 w 91985"/>
                    <a:gd name="connsiteY10" fmla="*/ 43276 h 64356"/>
                    <a:gd name="connsiteX11" fmla="*/ 46296 w 91985"/>
                    <a:gd name="connsiteY11" fmla="*/ 49726 h 64356"/>
                    <a:gd name="connsiteX12" fmla="*/ 75265 w 91985"/>
                    <a:gd name="connsiteY12" fmla="*/ 18713 h 64356"/>
                    <a:gd name="connsiteX13" fmla="*/ 32879 w 91985"/>
                    <a:gd name="connsiteY13" fmla="*/ 16600 h 64356"/>
                    <a:gd name="connsiteX14" fmla="*/ 14653 w 91985"/>
                    <a:gd name="connsiteY14" fmla="*/ 43276 h 64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1985" h="64356">
                      <a:moveTo>
                        <a:pt x="37621" y="64357"/>
                      </a:moveTo>
                      <a:cubicBezTo>
                        <a:pt x="26699" y="64357"/>
                        <a:pt x="15237" y="60109"/>
                        <a:pt x="3416" y="51681"/>
                      </a:cubicBezTo>
                      <a:lnTo>
                        <a:pt x="0" y="49232"/>
                      </a:lnTo>
                      <a:lnTo>
                        <a:pt x="764" y="45097"/>
                      </a:lnTo>
                      <a:cubicBezTo>
                        <a:pt x="4427" y="25095"/>
                        <a:pt x="13282" y="11521"/>
                        <a:pt x="27103" y="4734"/>
                      </a:cubicBezTo>
                      <a:cubicBezTo>
                        <a:pt x="52813" y="-7896"/>
                        <a:pt x="85558" y="8667"/>
                        <a:pt x="86928" y="9363"/>
                      </a:cubicBezTo>
                      <a:lnTo>
                        <a:pt x="91985" y="11970"/>
                      </a:lnTo>
                      <a:lnTo>
                        <a:pt x="90165" y="17364"/>
                      </a:lnTo>
                      <a:cubicBezTo>
                        <a:pt x="89670" y="18847"/>
                        <a:pt x="77692" y="53524"/>
                        <a:pt x="50454" y="62334"/>
                      </a:cubicBezTo>
                      <a:cubicBezTo>
                        <a:pt x="46229" y="63683"/>
                        <a:pt x="41959" y="64357"/>
                        <a:pt x="37621" y="64357"/>
                      </a:cubicBezTo>
                      <a:close/>
                      <a:moveTo>
                        <a:pt x="14653" y="43276"/>
                      </a:moveTo>
                      <a:cubicBezTo>
                        <a:pt x="26204" y="50603"/>
                        <a:pt x="36835" y="52783"/>
                        <a:pt x="46296" y="49726"/>
                      </a:cubicBezTo>
                      <a:cubicBezTo>
                        <a:pt x="61556" y="44805"/>
                        <a:pt x="71152" y="27702"/>
                        <a:pt x="75265" y="18713"/>
                      </a:cubicBezTo>
                      <a:cubicBezTo>
                        <a:pt x="66050" y="15117"/>
                        <a:pt x="47262" y="9521"/>
                        <a:pt x="32879" y="16600"/>
                      </a:cubicBezTo>
                      <a:cubicBezTo>
                        <a:pt x="23957" y="21027"/>
                        <a:pt x="17844" y="29972"/>
                        <a:pt x="14653" y="43276"/>
                      </a:cubicBezTo>
                      <a:close/>
                    </a:path>
                  </a:pathLst>
                </a:custGeom>
                <a:solidFill>
                  <a:schemeClr val="accent1"/>
                </a:solidFill>
                <a:ln w="2243" cap="flat">
                  <a:noFill/>
                  <a:prstDash val="solid"/>
                  <a:miter/>
                </a:ln>
              </p:spPr>
              <p:txBody>
                <a:bodyPr rtlCol="0" anchor="ctr"/>
                <a:lstStyle/>
                <a:p>
                  <a:endParaRPr lang="en-GB" dirty="0"/>
                </a:p>
              </p:txBody>
            </p:sp>
            <p:sp>
              <p:nvSpPr>
                <p:cNvPr id="345" name="Freihandform: Form 73">
                  <a:extLst>
                    <a:ext uri="{FF2B5EF4-FFF2-40B4-BE49-F238E27FC236}">
                      <a16:creationId xmlns:a16="http://schemas.microsoft.com/office/drawing/2014/main" id="{6171C61B-01CC-4EE2-99E5-14AC8382F493}"/>
                    </a:ext>
                  </a:extLst>
                </p:cNvPr>
                <p:cNvSpPr/>
                <p:nvPr/>
              </p:nvSpPr>
              <p:spPr>
                <a:xfrm>
                  <a:off x="2945661" y="3522453"/>
                  <a:ext cx="77289" cy="70667"/>
                </a:xfrm>
                <a:custGeom>
                  <a:avLst/>
                  <a:gdLst>
                    <a:gd name="connsiteX0" fmla="*/ 27218 w 77289"/>
                    <a:gd name="connsiteY0" fmla="*/ 70667 h 70667"/>
                    <a:gd name="connsiteX1" fmla="*/ 5374 w 77289"/>
                    <a:gd name="connsiteY1" fmla="*/ 66982 h 70667"/>
                    <a:gd name="connsiteX2" fmla="*/ 1351 w 77289"/>
                    <a:gd name="connsiteY2" fmla="*/ 65723 h 70667"/>
                    <a:gd name="connsiteX3" fmla="*/ 789 w 77289"/>
                    <a:gd name="connsiteY3" fmla="*/ 61543 h 70667"/>
                    <a:gd name="connsiteX4" fmla="*/ 13352 w 77289"/>
                    <a:gd name="connsiteY4" fmla="*/ 15000 h 70667"/>
                    <a:gd name="connsiteX5" fmla="*/ 71671 w 77289"/>
                    <a:gd name="connsiteY5" fmla="*/ 909 h 70667"/>
                    <a:gd name="connsiteX6" fmla="*/ 77290 w 77289"/>
                    <a:gd name="connsiteY6" fmla="*/ 1830 h 70667"/>
                    <a:gd name="connsiteX7" fmla="*/ 77222 w 77289"/>
                    <a:gd name="connsiteY7" fmla="*/ 7516 h 70667"/>
                    <a:gd name="connsiteX8" fmla="*/ 53355 w 77289"/>
                    <a:gd name="connsiteY8" fmla="*/ 62554 h 70667"/>
                    <a:gd name="connsiteX9" fmla="*/ 27218 w 77289"/>
                    <a:gd name="connsiteY9" fmla="*/ 70667 h 70667"/>
                    <a:gd name="connsiteX10" fmla="*/ 13487 w 77289"/>
                    <a:gd name="connsiteY10" fmla="*/ 55520 h 70667"/>
                    <a:gd name="connsiteX11" fmla="*/ 45579 w 77289"/>
                    <a:gd name="connsiteY11" fmla="*/ 51879 h 70667"/>
                    <a:gd name="connsiteX12" fmla="*/ 63558 w 77289"/>
                    <a:gd name="connsiteY12" fmla="*/ 13427 h 70667"/>
                    <a:gd name="connsiteX13" fmla="*/ 22588 w 77289"/>
                    <a:gd name="connsiteY13" fmla="*/ 24529 h 70667"/>
                    <a:gd name="connsiteX14" fmla="*/ 13487 w 77289"/>
                    <a:gd name="connsiteY14" fmla="*/ 55520 h 70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7289" h="70667">
                      <a:moveTo>
                        <a:pt x="27218" y="70667"/>
                      </a:moveTo>
                      <a:cubicBezTo>
                        <a:pt x="20498" y="70667"/>
                        <a:pt x="13194" y="69431"/>
                        <a:pt x="5374" y="66982"/>
                      </a:cubicBezTo>
                      <a:lnTo>
                        <a:pt x="1351" y="65723"/>
                      </a:lnTo>
                      <a:lnTo>
                        <a:pt x="789" y="61543"/>
                      </a:lnTo>
                      <a:cubicBezTo>
                        <a:pt x="-1908" y="41384"/>
                        <a:pt x="2317" y="25742"/>
                        <a:pt x="13352" y="15000"/>
                      </a:cubicBezTo>
                      <a:cubicBezTo>
                        <a:pt x="33893" y="-4979"/>
                        <a:pt x="70143" y="684"/>
                        <a:pt x="71671" y="909"/>
                      </a:cubicBezTo>
                      <a:lnTo>
                        <a:pt x="77290" y="1830"/>
                      </a:lnTo>
                      <a:lnTo>
                        <a:pt x="77222" y="7516"/>
                      </a:lnTo>
                      <a:cubicBezTo>
                        <a:pt x="77200" y="9067"/>
                        <a:pt x="76525" y="45766"/>
                        <a:pt x="53355" y="62554"/>
                      </a:cubicBezTo>
                      <a:cubicBezTo>
                        <a:pt x="45939" y="67970"/>
                        <a:pt x="37196" y="70667"/>
                        <a:pt x="27218" y="70667"/>
                      </a:cubicBezTo>
                      <a:close/>
                      <a:moveTo>
                        <a:pt x="13487" y="55520"/>
                      </a:moveTo>
                      <a:cubicBezTo>
                        <a:pt x="26746" y="58913"/>
                        <a:pt x="37511" y="57700"/>
                        <a:pt x="45579" y="51879"/>
                      </a:cubicBezTo>
                      <a:cubicBezTo>
                        <a:pt x="58569" y="42485"/>
                        <a:pt x="62412" y="23248"/>
                        <a:pt x="63558" y="13427"/>
                      </a:cubicBezTo>
                      <a:cubicBezTo>
                        <a:pt x="53670" y="12887"/>
                        <a:pt x="34073" y="13359"/>
                        <a:pt x="22588" y="24529"/>
                      </a:cubicBezTo>
                      <a:cubicBezTo>
                        <a:pt x="15464" y="31451"/>
                        <a:pt x="12408" y="41878"/>
                        <a:pt x="13487" y="55520"/>
                      </a:cubicBezTo>
                      <a:close/>
                    </a:path>
                  </a:pathLst>
                </a:custGeom>
                <a:solidFill>
                  <a:schemeClr val="accent1"/>
                </a:solidFill>
                <a:ln w="2243" cap="flat">
                  <a:noFill/>
                  <a:prstDash val="solid"/>
                  <a:miter/>
                </a:ln>
              </p:spPr>
              <p:txBody>
                <a:bodyPr rtlCol="0" anchor="ctr"/>
                <a:lstStyle/>
                <a:p>
                  <a:endParaRPr lang="en-GB" dirty="0"/>
                </a:p>
              </p:txBody>
            </p:sp>
            <p:sp>
              <p:nvSpPr>
                <p:cNvPr id="346" name="Freihandform: Form 74">
                  <a:extLst>
                    <a:ext uri="{FF2B5EF4-FFF2-40B4-BE49-F238E27FC236}">
                      <a16:creationId xmlns:a16="http://schemas.microsoft.com/office/drawing/2014/main" id="{21330B34-82CE-4781-86B8-D6DD5045D960}"/>
                    </a:ext>
                  </a:extLst>
                </p:cNvPr>
                <p:cNvSpPr/>
                <p:nvPr/>
              </p:nvSpPr>
              <p:spPr>
                <a:xfrm>
                  <a:off x="2940302" y="3416724"/>
                  <a:ext cx="68959" cy="80253"/>
                </a:xfrm>
                <a:custGeom>
                  <a:avLst/>
                  <a:gdLst>
                    <a:gd name="connsiteX0" fmla="*/ 17384 w 68959"/>
                    <a:gd name="connsiteY0" fmla="*/ 80254 h 80253"/>
                    <a:gd name="connsiteX1" fmla="*/ 10822 w 68959"/>
                    <a:gd name="connsiteY1" fmla="*/ 80007 h 80253"/>
                    <a:gd name="connsiteX2" fmla="*/ 6620 w 68959"/>
                    <a:gd name="connsiteY2" fmla="*/ 79692 h 80253"/>
                    <a:gd name="connsiteX3" fmla="*/ 5114 w 68959"/>
                    <a:gd name="connsiteY3" fmla="*/ 75759 h 80253"/>
                    <a:gd name="connsiteX4" fmla="*/ 6597 w 68959"/>
                    <a:gd name="connsiteY4" fmla="*/ 27575 h 80253"/>
                    <a:gd name="connsiteX5" fmla="*/ 60107 w 68959"/>
                    <a:gd name="connsiteY5" fmla="*/ 405 h 80253"/>
                    <a:gd name="connsiteX6" fmla="*/ 65793 w 68959"/>
                    <a:gd name="connsiteY6" fmla="*/ 0 h 80253"/>
                    <a:gd name="connsiteX7" fmla="*/ 67052 w 68959"/>
                    <a:gd name="connsiteY7" fmla="*/ 5551 h 80253"/>
                    <a:gd name="connsiteX8" fmla="*/ 56534 w 68959"/>
                    <a:gd name="connsiteY8" fmla="*/ 64635 h 80253"/>
                    <a:gd name="connsiteX9" fmla="*/ 17384 w 68959"/>
                    <a:gd name="connsiteY9" fmla="*/ 80254 h 80253"/>
                    <a:gd name="connsiteX10" fmla="*/ 16059 w 68959"/>
                    <a:gd name="connsiteY10" fmla="*/ 66994 h 80253"/>
                    <a:gd name="connsiteX11" fmla="*/ 46443 w 68959"/>
                    <a:gd name="connsiteY11" fmla="*/ 56050 h 80253"/>
                    <a:gd name="connsiteX12" fmla="*/ 55050 w 68959"/>
                    <a:gd name="connsiteY12" fmla="*/ 14496 h 80253"/>
                    <a:gd name="connsiteX13" fmla="*/ 17767 w 68959"/>
                    <a:gd name="connsiteY13" fmla="*/ 34767 h 80253"/>
                    <a:gd name="connsiteX14" fmla="*/ 16059 w 68959"/>
                    <a:gd name="connsiteY14" fmla="*/ 66994 h 8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959" h="80253">
                      <a:moveTo>
                        <a:pt x="17384" y="80254"/>
                      </a:moveTo>
                      <a:cubicBezTo>
                        <a:pt x="15250" y="80254"/>
                        <a:pt x="13070" y="80186"/>
                        <a:pt x="10822" y="80007"/>
                      </a:cubicBezTo>
                      <a:lnTo>
                        <a:pt x="6620" y="79692"/>
                      </a:lnTo>
                      <a:lnTo>
                        <a:pt x="5114" y="75759"/>
                      </a:lnTo>
                      <a:cubicBezTo>
                        <a:pt x="-2168" y="56769"/>
                        <a:pt x="-1673" y="40565"/>
                        <a:pt x="6597" y="27575"/>
                      </a:cubicBezTo>
                      <a:cubicBezTo>
                        <a:pt x="21969" y="3416"/>
                        <a:pt x="58556" y="517"/>
                        <a:pt x="60107" y="405"/>
                      </a:cubicBezTo>
                      <a:lnTo>
                        <a:pt x="65793" y="0"/>
                      </a:lnTo>
                      <a:lnTo>
                        <a:pt x="67052" y="5551"/>
                      </a:lnTo>
                      <a:cubicBezTo>
                        <a:pt x="67389" y="7079"/>
                        <a:pt x="75210" y="42925"/>
                        <a:pt x="56534" y="64635"/>
                      </a:cubicBezTo>
                      <a:cubicBezTo>
                        <a:pt x="47589" y="75017"/>
                        <a:pt x="34442" y="80254"/>
                        <a:pt x="17384" y="80254"/>
                      </a:cubicBezTo>
                      <a:close/>
                      <a:moveTo>
                        <a:pt x="16059" y="66994"/>
                      </a:moveTo>
                      <a:cubicBezTo>
                        <a:pt x="29768" y="67197"/>
                        <a:pt x="39926" y="63556"/>
                        <a:pt x="46443" y="56050"/>
                      </a:cubicBezTo>
                      <a:cubicBezTo>
                        <a:pt x="56916" y="43914"/>
                        <a:pt x="56219" y="24294"/>
                        <a:pt x="55050" y="14496"/>
                      </a:cubicBezTo>
                      <a:cubicBezTo>
                        <a:pt x="45319" y="16226"/>
                        <a:pt x="26352" y="21215"/>
                        <a:pt x="17767" y="34767"/>
                      </a:cubicBezTo>
                      <a:cubicBezTo>
                        <a:pt x="12418" y="43127"/>
                        <a:pt x="11856" y="53959"/>
                        <a:pt x="16059" y="66994"/>
                      </a:cubicBezTo>
                      <a:close/>
                    </a:path>
                  </a:pathLst>
                </a:custGeom>
                <a:solidFill>
                  <a:schemeClr val="accent1"/>
                </a:solidFill>
                <a:ln w="2243" cap="flat">
                  <a:noFill/>
                  <a:prstDash val="solid"/>
                  <a:miter/>
                </a:ln>
              </p:spPr>
              <p:txBody>
                <a:bodyPr rtlCol="0" anchor="ctr"/>
                <a:lstStyle/>
                <a:p>
                  <a:endParaRPr lang="en-GB" dirty="0"/>
                </a:p>
              </p:txBody>
            </p:sp>
          </p:grpSp>
        </p:grpSp>
        <p:grpSp>
          <p:nvGrpSpPr>
            <p:cNvPr id="332" name="Group 331">
              <a:extLst>
                <a:ext uri="{FF2B5EF4-FFF2-40B4-BE49-F238E27FC236}">
                  <a16:creationId xmlns:a16="http://schemas.microsoft.com/office/drawing/2014/main" id="{1737019E-1D21-48FF-959D-2D18CD784DAC}"/>
                </a:ext>
              </a:extLst>
            </p:cNvPr>
            <p:cNvGrpSpPr/>
            <p:nvPr/>
          </p:nvGrpSpPr>
          <p:grpSpPr>
            <a:xfrm>
              <a:off x="2610939" y="3270060"/>
              <a:ext cx="304811" cy="467453"/>
              <a:chOff x="2610939" y="3270060"/>
              <a:chExt cx="304811" cy="467453"/>
            </a:xfrm>
          </p:grpSpPr>
          <p:sp>
            <p:nvSpPr>
              <p:cNvPr id="333" name="Freihandform: Form 63">
                <a:extLst>
                  <a:ext uri="{FF2B5EF4-FFF2-40B4-BE49-F238E27FC236}">
                    <a16:creationId xmlns:a16="http://schemas.microsoft.com/office/drawing/2014/main" id="{7547A89B-96DE-4AC9-B24F-37FFF805FCDA}"/>
                  </a:ext>
                </a:extLst>
              </p:cNvPr>
              <p:cNvSpPr/>
              <p:nvPr/>
            </p:nvSpPr>
            <p:spPr>
              <a:xfrm>
                <a:off x="2725398" y="3612919"/>
                <a:ext cx="73983" cy="73983"/>
              </a:xfrm>
              <a:custGeom>
                <a:avLst/>
                <a:gdLst>
                  <a:gd name="connsiteX0" fmla="*/ 36992 w 73983"/>
                  <a:gd name="connsiteY0" fmla="*/ 73984 h 73983"/>
                  <a:gd name="connsiteX1" fmla="*/ 0 w 73983"/>
                  <a:gd name="connsiteY1" fmla="*/ 36992 h 73983"/>
                  <a:gd name="connsiteX2" fmla="*/ 36992 w 73983"/>
                  <a:gd name="connsiteY2" fmla="*/ 0 h 73983"/>
                  <a:gd name="connsiteX3" fmla="*/ 73984 w 73983"/>
                  <a:gd name="connsiteY3" fmla="*/ 36992 h 73983"/>
                  <a:gd name="connsiteX4" fmla="*/ 36992 w 73983"/>
                  <a:gd name="connsiteY4" fmla="*/ 73984 h 73983"/>
                  <a:gd name="connsiteX5" fmla="*/ 36992 w 73983"/>
                  <a:gd name="connsiteY5" fmla="*/ 13259 h 73983"/>
                  <a:gd name="connsiteX6" fmla="*/ 13260 w 73983"/>
                  <a:gd name="connsiteY6" fmla="*/ 36992 h 73983"/>
                  <a:gd name="connsiteX7" fmla="*/ 36992 w 73983"/>
                  <a:gd name="connsiteY7" fmla="*/ 60724 h 73983"/>
                  <a:gd name="connsiteX8" fmla="*/ 60724 w 73983"/>
                  <a:gd name="connsiteY8" fmla="*/ 36992 h 73983"/>
                  <a:gd name="connsiteX9" fmla="*/ 36992 w 73983"/>
                  <a:gd name="connsiteY9" fmla="*/ 13259 h 73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983" h="73983">
                    <a:moveTo>
                      <a:pt x="36992" y="73984"/>
                    </a:moveTo>
                    <a:cubicBezTo>
                      <a:pt x="16586" y="73984"/>
                      <a:pt x="0" y="57398"/>
                      <a:pt x="0" y="36992"/>
                    </a:cubicBezTo>
                    <a:cubicBezTo>
                      <a:pt x="0" y="16586"/>
                      <a:pt x="16586" y="0"/>
                      <a:pt x="36992" y="0"/>
                    </a:cubicBezTo>
                    <a:cubicBezTo>
                      <a:pt x="57398" y="0"/>
                      <a:pt x="73984" y="16586"/>
                      <a:pt x="73984" y="36992"/>
                    </a:cubicBezTo>
                    <a:cubicBezTo>
                      <a:pt x="73984" y="57398"/>
                      <a:pt x="57398" y="73984"/>
                      <a:pt x="36992" y="73984"/>
                    </a:cubicBezTo>
                    <a:close/>
                    <a:moveTo>
                      <a:pt x="36992" y="13259"/>
                    </a:moveTo>
                    <a:cubicBezTo>
                      <a:pt x="23912" y="13259"/>
                      <a:pt x="13260" y="23912"/>
                      <a:pt x="13260" y="36992"/>
                    </a:cubicBezTo>
                    <a:cubicBezTo>
                      <a:pt x="13260" y="50071"/>
                      <a:pt x="23912" y="60724"/>
                      <a:pt x="36992" y="60724"/>
                    </a:cubicBezTo>
                    <a:cubicBezTo>
                      <a:pt x="50072" y="60724"/>
                      <a:pt x="60724" y="50071"/>
                      <a:pt x="60724" y="36992"/>
                    </a:cubicBezTo>
                    <a:cubicBezTo>
                      <a:pt x="60724" y="23890"/>
                      <a:pt x="50094" y="13259"/>
                      <a:pt x="36992" y="13259"/>
                    </a:cubicBezTo>
                    <a:close/>
                  </a:path>
                </a:pathLst>
              </a:custGeom>
              <a:solidFill>
                <a:schemeClr val="tx2"/>
              </a:solidFill>
              <a:ln w="2243" cap="flat">
                <a:noFill/>
                <a:prstDash val="solid"/>
                <a:miter/>
              </a:ln>
            </p:spPr>
            <p:txBody>
              <a:bodyPr rtlCol="0" anchor="ctr"/>
              <a:lstStyle/>
              <a:p>
                <a:endParaRPr lang="en-GB" dirty="0"/>
              </a:p>
            </p:txBody>
          </p:sp>
          <p:sp>
            <p:nvSpPr>
              <p:cNvPr id="334" name="Freihandform: Form 64">
                <a:extLst>
                  <a:ext uri="{FF2B5EF4-FFF2-40B4-BE49-F238E27FC236}">
                    <a16:creationId xmlns:a16="http://schemas.microsoft.com/office/drawing/2014/main" id="{FDEB5AF5-43D4-40D9-AB81-C11E32CBE2C2}"/>
                  </a:ext>
                </a:extLst>
              </p:cNvPr>
              <p:cNvSpPr/>
              <p:nvPr/>
            </p:nvSpPr>
            <p:spPr>
              <a:xfrm>
                <a:off x="2725398" y="3646787"/>
                <a:ext cx="74006" cy="90726"/>
              </a:xfrm>
              <a:custGeom>
                <a:avLst/>
                <a:gdLst>
                  <a:gd name="connsiteX0" fmla="*/ 67354 w 74006"/>
                  <a:gd name="connsiteY0" fmla="*/ 90726 h 90726"/>
                  <a:gd name="connsiteX1" fmla="*/ 63668 w 74006"/>
                  <a:gd name="connsiteY1" fmla="*/ 89603 h 90726"/>
                  <a:gd name="connsiteX2" fmla="*/ 36992 w 74006"/>
                  <a:gd name="connsiteY2" fmla="*/ 71803 h 90726"/>
                  <a:gd name="connsiteX3" fmla="*/ 10316 w 74006"/>
                  <a:gd name="connsiteY3" fmla="*/ 89603 h 90726"/>
                  <a:gd name="connsiteX4" fmla="*/ 3506 w 74006"/>
                  <a:gd name="connsiteY4" fmla="*/ 89940 h 90726"/>
                  <a:gd name="connsiteX5" fmla="*/ 0 w 74006"/>
                  <a:gd name="connsiteY5" fmla="*/ 84097 h 90726"/>
                  <a:gd name="connsiteX6" fmla="*/ 0 w 74006"/>
                  <a:gd name="connsiteY6" fmla="*/ 6630 h 90726"/>
                  <a:gd name="connsiteX7" fmla="*/ 6630 w 74006"/>
                  <a:gd name="connsiteY7" fmla="*/ 0 h 90726"/>
                  <a:gd name="connsiteX8" fmla="*/ 13260 w 74006"/>
                  <a:gd name="connsiteY8" fmla="*/ 6630 h 90726"/>
                  <a:gd name="connsiteX9" fmla="*/ 13260 w 74006"/>
                  <a:gd name="connsiteY9" fmla="*/ 71736 h 90726"/>
                  <a:gd name="connsiteX10" fmla="*/ 33329 w 74006"/>
                  <a:gd name="connsiteY10" fmla="*/ 58364 h 90726"/>
                  <a:gd name="connsiteX11" fmla="*/ 40678 w 74006"/>
                  <a:gd name="connsiteY11" fmla="*/ 58364 h 90726"/>
                  <a:gd name="connsiteX12" fmla="*/ 60747 w 74006"/>
                  <a:gd name="connsiteY12" fmla="*/ 71736 h 90726"/>
                  <a:gd name="connsiteX13" fmla="*/ 60747 w 74006"/>
                  <a:gd name="connsiteY13" fmla="*/ 6630 h 90726"/>
                  <a:gd name="connsiteX14" fmla="*/ 67376 w 74006"/>
                  <a:gd name="connsiteY14" fmla="*/ 0 h 90726"/>
                  <a:gd name="connsiteX15" fmla="*/ 74006 w 74006"/>
                  <a:gd name="connsiteY15" fmla="*/ 6630 h 90726"/>
                  <a:gd name="connsiteX16" fmla="*/ 74006 w 74006"/>
                  <a:gd name="connsiteY16" fmla="*/ 84097 h 90726"/>
                  <a:gd name="connsiteX17" fmla="*/ 70500 w 74006"/>
                  <a:gd name="connsiteY17" fmla="*/ 89940 h 90726"/>
                  <a:gd name="connsiteX18" fmla="*/ 67354 w 74006"/>
                  <a:gd name="connsiteY18" fmla="*/ 90726 h 90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4006" h="90726">
                    <a:moveTo>
                      <a:pt x="67354" y="90726"/>
                    </a:moveTo>
                    <a:cubicBezTo>
                      <a:pt x="66073" y="90726"/>
                      <a:pt x="64792" y="90344"/>
                      <a:pt x="63668" y="89603"/>
                    </a:cubicBezTo>
                    <a:lnTo>
                      <a:pt x="36992" y="71803"/>
                    </a:lnTo>
                    <a:lnTo>
                      <a:pt x="10316" y="89603"/>
                    </a:lnTo>
                    <a:cubicBezTo>
                      <a:pt x="8293" y="90951"/>
                      <a:pt x="5663" y="91086"/>
                      <a:pt x="3506" y="89940"/>
                    </a:cubicBezTo>
                    <a:cubicBezTo>
                      <a:pt x="1349" y="88794"/>
                      <a:pt x="0" y="86546"/>
                      <a:pt x="0" y="84097"/>
                    </a:cubicBezTo>
                    <a:lnTo>
                      <a:pt x="0" y="6630"/>
                    </a:lnTo>
                    <a:cubicBezTo>
                      <a:pt x="0" y="2966"/>
                      <a:pt x="2967" y="0"/>
                      <a:pt x="6630" y="0"/>
                    </a:cubicBezTo>
                    <a:cubicBezTo>
                      <a:pt x="10293" y="0"/>
                      <a:pt x="13260" y="2966"/>
                      <a:pt x="13260" y="6630"/>
                    </a:cubicBezTo>
                    <a:lnTo>
                      <a:pt x="13260" y="71736"/>
                    </a:lnTo>
                    <a:lnTo>
                      <a:pt x="33329" y="58364"/>
                    </a:lnTo>
                    <a:cubicBezTo>
                      <a:pt x="35553" y="56881"/>
                      <a:pt x="38453" y="56881"/>
                      <a:pt x="40678" y="58364"/>
                    </a:cubicBezTo>
                    <a:lnTo>
                      <a:pt x="60747" y="71736"/>
                    </a:lnTo>
                    <a:lnTo>
                      <a:pt x="60747" y="6630"/>
                    </a:lnTo>
                    <a:cubicBezTo>
                      <a:pt x="60747" y="2966"/>
                      <a:pt x="63713" y="0"/>
                      <a:pt x="67376" y="0"/>
                    </a:cubicBezTo>
                    <a:cubicBezTo>
                      <a:pt x="71039" y="0"/>
                      <a:pt x="74006" y="2966"/>
                      <a:pt x="74006" y="6630"/>
                    </a:cubicBezTo>
                    <a:lnTo>
                      <a:pt x="74006" y="84097"/>
                    </a:lnTo>
                    <a:cubicBezTo>
                      <a:pt x="74006" y="86546"/>
                      <a:pt x="72658" y="88794"/>
                      <a:pt x="70500" y="89940"/>
                    </a:cubicBezTo>
                    <a:cubicBezTo>
                      <a:pt x="69511" y="90457"/>
                      <a:pt x="68433" y="90726"/>
                      <a:pt x="67354" y="90726"/>
                    </a:cubicBezTo>
                    <a:close/>
                  </a:path>
                </a:pathLst>
              </a:custGeom>
              <a:solidFill>
                <a:schemeClr val="tx2"/>
              </a:solidFill>
              <a:ln w="2243" cap="flat">
                <a:noFill/>
                <a:prstDash val="solid"/>
                <a:miter/>
              </a:ln>
            </p:spPr>
            <p:txBody>
              <a:bodyPr rtlCol="0" anchor="ctr"/>
              <a:lstStyle/>
              <a:p>
                <a:endParaRPr lang="en-GB" dirty="0"/>
              </a:p>
            </p:txBody>
          </p:sp>
          <p:sp>
            <p:nvSpPr>
              <p:cNvPr id="335" name="Freihandform: Form 75">
                <a:extLst>
                  <a:ext uri="{FF2B5EF4-FFF2-40B4-BE49-F238E27FC236}">
                    <a16:creationId xmlns:a16="http://schemas.microsoft.com/office/drawing/2014/main" id="{A3887A85-A805-47E8-80D5-434A99D3F512}"/>
                  </a:ext>
                </a:extLst>
              </p:cNvPr>
              <p:cNvSpPr/>
              <p:nvPr/>
            </p:nvSpPr>
            <p:spPr>
              <a:xfrm>
                <a:off x="2610939" y="3270060"/>
                <a:ext cx="304811" cy="384345"/>
              </a:xfrm>
              <a:custGeom>
                <a:avLst/>
                <a:gdLst>
                  <a:gd name="connsiteX0" fmla="*/ 298182 w 304811"/>
                  <a:gd name="connsiteY0" fmla="*/ 384323 h 384345"/>
                  <a:gd name="connsiteX1" fmla="*/ 185543 w 304811"/>
                  <a:gd name="connsiteY1" fmla="*/ 384323 h 384345"/>
                  <a:gd name="connsiteX2" fmla="*/ 178913 w 304811"/>
                  <a:gd name="connsiteY2" fmla="*/ 377694 h 384345"/>
                  <a:gd name="connsiteX3" fmla="*/ 185543 w 304811"/>
                  <a:gd name="connsiteY3" fmla="*/ 371064 h 384345"/>
                  <a:gd name="connsiteX4" fmla="*/ 291552 w 304811"/>
                  <a:gd name="connsiteY4" fmla="*/ 371064 h 384345"/>
                  <a:gd name="connsiteX5" fmla="*/ 291552 w 304811"/>
                  <a:gd name="connsiteY5" fmla="*/ 13259 h 384345"/>
                  <a:gd name="connsiteX6" fmla="*/ 13260 w 304811"/>
                  <a:gd name="connsiteY6" fmla="*/ 13259 h 384345"/>
                  <a:gd name="connsiteX7" fmla="*/ 13260 w 304811"/>
                  <a:gd name="connsiteY7" fmla="*/ 371086 h 384345"/>
                  <a:gd name="connsiteX8" fmla="*/ 119268 w 304811"/>
                  <a:gd name="connsiteY8" fmla="*/ 371086 h 384345"/>
                  <a:gd name="connsiteX9" fmla="*/ 125898 w 304811"/>
                  <a:gd name="connsiteY9" fmla="*/ 377716 h 384345"/>
                  <a:gd name="connsiteX10" fmla="*/ 119268 w 304811"/>
                  <a:gd name="connsiteY10" fmla="*/ 384346 h 384345"/>
                  <a:gd name="connsiteX11" fmla="*/ 6630 w 304811"/>
                  <a:gd name="connsiteY11" fmla="*/ 384346 h 384345"/>
                  <a:gd name="connsiteX12" fmla="*/ 0 w 304811"/>
                  <a:gd name="connsiteY12" fmla="*/ 377716 h 384345"/>
                  <a:gd name="connsiteX13" fmla="*/ 0 w 304811"/>
                  <a:gd name="connsiteY13" fmla="*/ 6630 h 384345"/>
                  <a:gd name="connsiteX14" fmla="*/ 6630 w 304811"/>
                  <a:gd name="connsiteY14" fmla="*/ 0 h 384345"/>
                  <a:gd name="connsiteX15" fmla="*/ 298182 w 304811"/>
                  <a:gd name="connsiteY15" fmla="*/ 0 h 384345"/>
                  <a:gd name="connsiteX16" fmla="*/ 304811 w 304811"/>
                  <a:gd name="connsiteY16" fmla="*/ 6630 h 384345"/>
                  <a:gd name="connsiteX17" fmla="*/ 304811 w 304811"/>
                  <a:gd name="connsiteY17" fmla="*/ 377694 h 384345"/>
                  <a:gd name="connsiteX18" fmla="*/ 298182 w 304811"/>
                  <a:gd name="connsiteY18" fmla="*/ 384323 h 384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4811" h="384345">
                    <a:moveTo>
                      <a:pt x="298182" y="384323"/>
                    </a:moveTo>
                    <a:lnTo>
                      <a:pt x="185543" y="384323"/>
                    </a:lnTo>
                    <a:cubicBezTo>
                      <a:pt x="181880" y="384323"/>
                      <a:pt x="178913" y="381357"/>
                      <a:pt x="178913" y="377694"/>
                    </a:cubicBezTo>
                    <a:cubicBezTo>
                      <a:pt x="178913" y="374030"/>
                      <a:pt x="181880" y="371064"/>
                      <a:pt x="185543" y="371064"/>
                    </a:cubicBezTo>
                    <a:lnTo>
                      <a:pt x="291552" y="371064"/>
                    </a:lnTo>
                    <a:lnTo>
                      <a:pt x="291552" y="13259"/>
                    </a:lnTo>
                    <a:lnTo>
                      <a:pt x="13260" y="13259"/>
                    </a:lnTo>
                    <a:lnTo>
                      <a:pt x="13260" y="371086"/>
                    </a:lnTo>
                    <a:lnTo>
                      <a:pt x="119268" y="371086"/>
                    </a:lnTo>
                    <a:cubicBezTo>
                      <a:pt x="122931" y="371086"/>
                      <a:pt x="125898" y="374053"/>
                      <a:pt x="125898" y="377716"/>
                    </a:cubicBezTo>
                    <a:cubicBezTo>
                      <a:pt x="125898" y="381379"/>
                      <a:pt x="122931" y="384346"/>
                      <a:pt x="119268" y="384346"/>
                    </a:cubicBezTo>
                    <a:lnTo>
                      <a:pt x="6630" y="384346"/>
                    </a:lnTo>
                    <a:cubicBezTo>
                      <a:pt x="2967" y="384346"/>
                      <a:pt x="0" y="381379"/>
                      <a:pt x="0" y="377716"/>
                    </a:cubicBezTo>
                    <a:lnTo>
                      <a:pt x="0" y="6630"/>
                    </a:lnTo>
                    <a:cubicBezTo>
                      <a:pt x="0" y="2967"/>
                      <a:pt x="2967" y="0"/>
                      <a:pt x="6630" y="0"/>
                    </a:cubicBezTo>
                    <a:lnTo>
                      <a:pt x="298182" y="0"/>
                    </a:lnTo>
                    <a:cubicBezTo>
                      <a:pt x="301845" y="0"/>
                      <a:pt x="304811" y="2967"/>
                      <a:pt x="304811" y="6630"/>
                    </a:cubicBezTo>
                    <a:lnTo>
                      <a:pt x="304811" y="377694"/>
                    </a:lnTo>
                    <a:cubicBezTo>
                      <a:pt x="304811" y="381357"/>
                      <a:pt x="301845" y="384323"/>
                      <a:pt x="298182" y="384323"/>
                    </a:cubicBezTo>
                    <a:close/>
                  </a:path>
                </a:pathLst>
              </a:custGeom>
              <a:solidFill>
                <a:schemeClr val="tx2"/>
              </a:solidFill>
              <a:ln w="2243" cap="flat">
                <a:noFill/>
                <a:prstDash val="solid"/>
                <a:miter/>
              </a:ln>
            </p:spPr>
            <p:txBody>
              <a:bodyPr rtlCol="0" anchor="ctr"/>
              <a:lstStyle/>
              <a:p>
                <a:endParaRPr lang="en-GB" dirty="0"/>
              </a:p>
            </p:txBody>
          </p:sp>
          <p:sp>
            <p:nvSpPr>
              <p:cNvPr id="336" name="Freihandform: Form 76">
                <a:extLst>
                  <a:ext uri="{FF2B5EF4-FFF2-40B4-BE49-F238E27FC236}">
                    <a16:creationId xmlns:a16="http://schemas.microsoft.com/office/drawing/2014/main" id="{70D3BF48-57E7-4BA9-B979-B09B10BE82B2}"/>
                  </a:ext>
                </a:extLst>
              </p:cNvPr>
              <p:cNvSpPr/>
              <p:nvPr/>
            </p:nvSpPr>
            <p:spPr>
              <a:xfrm>
                <a:off x="2703711" y="3362832"/>
                <a:ext cx="119268" cy="13259"/>
              </a:xfrm>
              <a:custGeom>
                <a:avLst/>
                <a:gdLst>
                  <a:gd name="connsiteX0" fmla="*/ 0 w 119268"/>
                  <a:gd name="connsiteY0" fmla="*/ 0 h 13259"/>
                  <a:gd name="connsiteX1" fmla="*/ 119268 w 119268"/>
                  <a:gd name="connsiteY1" fmla="*/ 0 h 13259"/>
                  <a:gd name="connsiteX2" fmla="*/ 119268 w 119268"/>
                  <a:gd name="connsiteY2" fmla="*/ 13260 h 13259"/>
                  <a:gd name="connsiteX3" fmla="*/ 0 w 119268"/>
                  <a:gd name="connsiteY3" fmla="*/ 13260 h 13259"/>
                </a:gdLst>
                <a:ahLst/>
                <a:cxnLst>
                  <a:cxn ang="0">
                    <a:pos x="connsiteX0" y="connsiteY0"/>
                  </a:cxn>
                  <a:cxn ang="0">
                    <a:pos x="connsiteX1" y="connsiteY1"/>
                  </a:cxn>
                  <a:cxn ang="0">
                    <a:pos x="connsiteX2" y="connsiteY2"/>
                  </a:cxn>
                  <a:cxn ang="0">
                    <a:pos x="connsiteX3" y="connsiteY3"/>
                  </a:cxn>
                </a:cxnLst>
                <a:rect l="l" t="t" r="r" b="b"/>
                <a:pathLst>
                  <a:path w="119268" h="13259">
                    <a:moveTo>
                      <a:pt x="0" y="0"/>
                    </a:moveTo>
                    <a:lnTo>
                      <a:pt x="119268" y="0"/>
                    </a:lnTo>
                    <a:lnTo>
                      <a:pt x="119268" y="13260"/>
                    </a:lnTo>
                    <a:lnTo>
                      <a:pt x="0" y="13260"/>
                    </a:lnTo>
                    <a:close/>
                  </a:path>
                </a:pathLst>
              </a:custGeom>
              <a:solidFill>
                <a:schemeClr val="tx2"/>
              </a:solidFill>
              <a:ln w="2243" cap="flat">
                <a:noFill/>
                <a:prstDash val="solid"/>
                <a:miter/>
              </a:ln>
            </p:spPr>
            <p:txBody>
              <a:bodyPr rtlCol="0" anchor="ctr"/>
              <a:lstStyle/>
              <a:p>
                <a:endParaRPr lang="en-GB" dirty="0"/>
              </a:p>
            </p:txBody>
          </p:sp>
          <p:sp>
            <p:nvSpPr>
              <p:cNvPr id="337" name="Freihandform: Form 77">
                <a:extLst>
                  <a:ext uri="{FF2B5EF4-FFF2-40B4-BE49-F238E27FC236}">
                    <a16:creationId xmlns:a16="http://schemas.microsoft.com/office/drawing/2014/main" id="{6F6E8033-AD4F-421A-9D2D-21B71F4EDA96}"/>
                  </a:ext>
                </a:extLst>
              </p:cNvPr>
              <p:cNvSpPr/>
              <p:nvPr/>
            </p:nvSpPr>
            <p:spPr>
              <a:xfrm>
                <a:off x="2677192" y="3435714"/>
                <a:ext cx="172283" cy="13259"/>
              </a:xfrm>
              <a:custGeom>
                <a:avLst/>
                <a:gdLst>
                  <a:gd name="connsiteX0" fmla="*/ 0 w 172283"/>
                  <a:gd name="connsiteY0" fmla="*/ 0 h 13259"/>
                  <a:gd name="connsiteX1" fmla="*/ 172284 w 172283"/>
                  <a:gd name="connsiteY1" fmla="*/ 0 h 13259"/>
                  <a:gd name="connsiteX2" fmla="*/ 172284 w 172283"/>
                  <a:gd name="connsiteY2" fmla="*/ 13260 h 13259"/>
                  <a:gd name="connsiteX3" fmla="*/ 0 w 172283"/>
                  <a:gd name="connsiteY3" fmla="*/ 13260 h 13259"/>
                </a:gdLst>
                <a:ahLst/>
                <a:cxnLst>
                  <a:cxn ang="0">
                    <a:pos x="connsiteX0" y="connsiteY0"/>
                  </a:cxn>
                  <a:cxn ang="0">
                    <a:pos x="connsiteX1" y="connsiteY1"/>
                  </a:cxn>
                  <a:cxn ang="0">
                    <a:pos x="connsiteX2" y="connsiteY2"/>
                  </a:cxn>
                  <a:cxn ang="0">
                    <a:pos x="connsiteX3" y="connsiteY3"/>
                  </a:cxn>
                </a:cxnLst>
                <a:rect l="l" t="t" r="r" b="b"/>
                <a:pathLst>
                  <a:path w="172283" h="13259">
                    <a:moveTo>
                      <a:pt x="0" y="0"/>
                    </a:moveTo>
                    <a:lnTo>
                      <a:pt x="172284" y="0"/>
                    </a:lnTo>
                    <a:lnTo>
                      <a:pt x="172284" y="13260"/>
                    </a:lnTo>
                    <a:lnTo>
                      <a:pt x="0" y="13260"/>
                    </a:lnTo>
                    <a:close/>
                  </a:path>
                </a:pathLst>
              </a:custGeom>
              <a:solidFill>
                <a:schemeClr val="tx2"/>
              </a:solidFill>
              <a:ln w="2243" cap="flat">
                <a:noFill/>
                <a:prstDash val="solid"/>
                <a:miter/>
              </a:ln>
            </p:spPr>
            <p:txBody>
              <a:bodyPr rtlCol="0" anchor="ctr"/>
              <a:lstStyle/>
              <a:p>
                <a:endParaRPr lang="en-GB" dirty="0"/>
              </a:p>
            </p:txBody>
          </p:sp>
          <p:sp>
            <p:nvSpPr>
              <p:cNvPr id="338" name="Freihandform: Form 78">
                <a:extLst>
                  <a:ext uri="{FF2B5EF4-FFF2-40B4-BE49-F238E27FC236}">
                    <a16:creationId xmlns:a16="http://schemas.microsoft.com/office/drawing/2014/main" id="{17AFBDD3-7788-4418-A5A1-7A0C2D4336AF}"/>
                  </a:ext>
                </a:extLst>
              </p:cNvPr>
              <p:cNvSpPr/>
              <p:nvPr/>
            </p:nvSpPr>
            <p:spPr>
              <a:xfrm>
                <a:off x="2677192" y="3495359"/>
                <a:ext cx="172283" cy="13259"/>
              </a:xfrm>
              <a:custGeom>
                <a:avLst/>
                <a:gdLst>
                  <a:gd name="connsiteX0" fmla="*/ 0 w 172283"/>
                  <a:gd name="connsiteY0" fmla="*/ 0 h 13259"/>
                  <a:gd name="connsiteX1" fmla="*/ 172284 w 172283"/>
                  <a:gd name="connsiteY1" fmla="*/ 0 h 13259"/>
                  <a:gd name="connsiteX2" fmla="*/ 172284 w 172283"/>
                  <a:gd name="connsiteY2" fmla="*/ 13260 h 13259"/>
                  <a:gd name="connsiteX3" fmla="*/ 0 w 172283"/>
                  <a:gd name="connsiteY3" fmla="*/ 13260 h 13259"/>
                </a:gdLst>
                <a:ahLst/>
                <a:cxnLst>
                  <a:cxn ang="0">
                    <a:pos x="connsiteX0" y="connsiteY0"/>
                  </a:cxn>
                  <a:cxn ang="0">
                    <a:pos x="connsiteX1" y="connsiteY1"/>
                  </a:cxn>
                  <a:cxn ang="0">
                    <a:pos x="connsiteX2" y="connsiteY2"/>
                  </a:cxn>
                  <a:cxn ang="0">
                    <a:pos x="connsiteX3" y="connsiteY3"/>
                  </a:cxn>
                </a:cxnLst>
                <a:rect l="l" t="t" r="r" b="b"/>
                <a:pathLst>
                  <a:path w="172283" h="13259">
                    <a:moveTo>
                      <a:pt x="0" y="0"/>
                    </a:moveTo>
                    <a:lnTo>
                      <a:pt x="172284" y="0"/>
                    </a:lnTo>
                    <a:lnTo>
                      <a:pt x="172284" y="13260"/>
                    </a:lnTo>
                    <a:lnTo>
                      <a:pt x="0" y="13260"/>
                    </a:lnTo>
                    <a:close/>
                  </a:path>
                </a:pathLst>
              </a:custGeom>
              <a:solidFill>
                <a:schemeClr val="tx2"/>
              </a:solidFill>
              <a:ln w="2243" cap="flat">
                <a:noFill/>
                <a:prstDash val="solid"/>
                <a:miter/>
              </a:ln>
            </p:spPr>
            <p:txBody>
              <a:bodyPr rtlCol="0" anchor="ctr"/>
              <a:lstStyle/>
              <a:p>
                <a:endParaRPr lang="en-GB" dirty="0"/>
              </a:p>
            </p:txBody>
          </p:sp>
          <p:sp>
            <p:nvSpPr>
              <p:cNvPr id="339" name="Freihandform: Form 79">
                <a:extLst>
                  <a:ext uri="{FF2B5EF4-FFF2-40B4-BE49-F238E27FC236}">
                    <a16:creationId xmlns:a16="http://schemas.microsoft.com/office/drawing/2014/main" id="{3ECCADF4-A52E-4B66-9253-2A90B4BDC98F}"/>
                  </a:ext>
                </a:extLst>
              </p:cNvPr>
              <p:cNvSpPr/>
              <p:nvPr/>
            </p:nvSpPr>
            <p:spPr>
              <a:xfrm>
                <a:off x="2677192" y="3435714"/>
                <a:ext cx="172283" cy="13259"/>
              </a:xfrm>
              <a:custGeom>
                <a:avLst/>
                <a:gdLst>
                  <a:gd name="connsiteX0" fmla="*/ 0 w 172283"/>
                  <a:gd name="connsiteY0" fmla="*/ 0 h 13259"/>
                  <a:gd name="connsiteX1" fmla="*/ 172284 w 172283"/>
                  <a:gd name="connsiteY1" fmla="*/ 0 h 13259"/>
                  <a:gd name="connsiteX2" fmla="*/ 172284 w 172283"/>
                  <a:gd name="connsiteY2" fmla="*/ 13260 h 13259"/>
                  <a:gd name="connsiteX3" fmla="*/ 0 w 172283"/>
                  <a:gd name="connsiteY3" fmla="*/ 13260 h 13259"/>
                </a:gdLst>
                <a:ahLst/>
                <a:cxnLst>
                  <a:cxn ang="0">
                    <a:pos x="connsiteX0" y="connsiteY0"/>
                  </a:cxn>
                  <a:cxn ang="0">
                    <a:pos x="connsiteX1" y="connsiteY1"/>
                  </a:cxn>
                  <a:cxn ang="0">
                    <a:pos x="connsiteX2" y="connsiteY2"/>
                  </a:cxn>
                  <a:cxn ang="0">
                    <a:pos x="connsiteX3" y="connsiteY3"/>
                  </a:cxn>
                </a:cxnLst>
                <a:rect l="l" t="t" r="r" b="b"/>
                <a:pathLst>
                  <a:path w="172283" h="13259">
                    <a:moveTo>
                      <a:pt x="0" y="0"/>
                    </a:moveTo>
                    <a:lnTo>
                      <a:pt x="172284" y="0"/>
                    </a:lnTo>
                    <a:lnTo>
                      <a:pt x="172284" y="13260"/>
                    </a:lnTo>
                    <a:lnTo>
                      <a:pt x="0" y="13260"/>
                    </a:lnTo>
                    <a:close/>
                  </a:path>
                </a:pathLst>
              </a:custGeom>
              <a:solidFill>
                <a:schemeClr val="tx2"/>
              </a:solidFill>
              <a:ln w="2243" cap="flat">
                <a:noFill/>
                <a:prstDash val="solid"/>
                <a:miter/>
              </a:ln>
            </p:spPr>
            <p:txBody>
              <a:bodyPr rtlCol="0" anchor="ctr"/>
              <a:lstStyle/>
              <a:p>
                <a:endParaRPr lang="en-GB" dirty="0"/>
              </a:p>
            </p:txBody>
          </p:sp>
          <p:sp>
            <p:nvSpPr>
              <p:cNvPr id="340" name="Freihandform: Form 80">
                <a:extLst>
                  <a:ext uri="{FF2B5EF4-FFF2-40B4-BE49-F238E27FC236}">
                    <a16:creationId xmlns:a16="http://schemas.microsoft.com/office/drawing/2014/main" id="{DFB30B63-0575-436A-8D7D-57D8C6CEB6AB}"/>
                  </a:ext>
                </a:extLst>
              </p:cNvPr>
              <p:cNvSpPr/>
              <p:nvPr/>
            </p:nvSpPr>
            <p:spPr>
              <a:xfrm>
                <a:off x="2677192" y="3554982"/>
                <a:ext cx="172283" cy="13259"/>
              </a:xfrm>
              <a:custGeom>
                <a:avLst/>
                <a:gdLst>
                  <a:gd name="connsiteX0" fmla="*/ 0 w 172283"/>
                  <a:gd name="connsiteY0" fmla="*/ 0 h 13259"/>
                  <a:gd name="connsiteX1" fmla="*/ 172284 w 172283"/>
                  <a:gd name="connsiteY1" fmla="*/ 0 h 13259"/>
                  <a:gd name="connsiteX2" fmla="*/ 172284 w 172283"/>
                  <a:gd name="connsiteY2" fmla="*/ 13260 h 13259"/>
                  <a:gd name="connsiteX3" fmla="*/ 0 w 172283"/>
                  <a:gd name="connsiteY3" fmla="*/ 13260 h 13259"/>
                </a:gdLst>
                <a:ahLst/>
                <a:cxnLst>
                  <a:cxn ang="0">
                    <a:pos x="connsiteX0" y="connsiteY0"/>
                  </a:cxn>
                  <a:cxn ang="0">
                    <a:pos x="connsiteX1" y="connsiteY1"/>
                  </a:cxn>
                  <a:cxn ang="0">
                    <a:pos x="connsiteX2" y="connsiteY2"/>
                  </a:cxn>
                  <a:cxn ang="0">
                    <a:pos x="connsiteX3" y="connsiteY3"/>
                  </a:cxn>
                </a:cxnLst>
                <a:rect l="l" t="t" r="r" b="b"/>
                <a:pathLst>
                  <a:path w="172283" h="13259">
                    <a:moveTo>
                      <a:pt x="0" y="0"/>
                    </a:moveTo>
                    <a:lnTo>
                      <a:pt x="172284" y="0"/>
                    </a:lnTo>
                    <a:lnTo>
                      <a:pt x="172284" y="13260"/>
                    </a:lnTo>
                    <a:lnTo>
                      <a:pt x="0" y="13260"/>
                    </a:lnTo>
                    <a:close/>
                  </a:path>
                </a:pathLst>
              </a:custGeom>
              <a:solidFill>
                <a:schemeClr val="tx2"/>
              </a:solidFill>
              <a:ln w="2243" cap="flat">
                <a:noFill/>
                <a:prstDash val="solid"/>
                <a:miter/>
              </a:ln>
            </p:spPr>
            <p:txBody>
              <a:bodyPr rtlCol="0" anchor="ctr"/>
              <a:lstStyle/>
              <a:p>
                <a:endParaRPr lang="en-GB" dirty="0"/>
              </a:p>
            </p:txBody>
          </p:sp>
        </p:grpSp>
      </p:grpSp>
      <p:grpSp>
        <p:nvGrpSpPr>
          <p:cNvPr id="351" name="Group 350">
            <a:extLst>
              <a:ext uri="{FF2B5EF4-FFF2-40B4-BE49-F238E27FC236}">
                <a16:creationId xmlns:a16="http://schemas.microsoft.com/office/drawing/2014/main" id="{9DD3D238-BEDA-4E10-8DB2-926C4C010613}"/>
              </a:ext>
            </a:extLst>
          </p:cNvPr>
          <p:cNvGrpSpPr>
            <a:grpSpLocks noChangeAspect="1"/>
          </p:cNvGrpSpPr>
          <p:nvPr/>
        </p:nvGrpSpPr>
        <p:grpSpPr>
          <a:xfrm>
            <a:off x="7083505" y="1585984"/>
            <a:ext cx="432059" cy="432000"/>
            <a:chOff x="3353067" y="3270127"/>
            <a:chExt cx="490354" cy="490287"/>
          </a:xfrm>
        </p:grpSpPr>
        <p:grpSp>
          <p:nvGrpSpPr>
            <p:cNvPr id="352" name="Group 351">
              <a:extLst>
                <a:ext uri="{FF2B5EF4-FFF2-40B4-BE49-F238E27FC236}">
                  <a16:creationId xmlns:a16="http://schemas.microsoft.com/office/drawing/2014/main" id="{8D28C342-90EB-4BEE-BFF1-57BAE318CC85}"/>
                </a:ext>
              </a:extLst>
            </p:cNvPr>
            <p:cNvGrpSpPr/>
            <p:nvPr/>
          </p:nvGrpSpPr>
          <p:grpSpPr>
            <a:xfrm>
              <a:off x="3353067" y="3270127"/>
              <a:ext cx="490354" cy="437317"/>
              <a:chOff x="3353067" y="3270127"/>
              <a:chExt cx="490354" cy="437317"/>
            </a:xfrm>
          </p:grpSpPr>
          <p:sp>
            <p:nvSpPr>
              <p:cNvPr id="364" name="Freihandform: Form 148">
                <a:extLst>
                  <a:ext uri="{FF2B5EF4-FFF2-40B4-BE49-F238E27FC236}">
                    <a16:creationId xmlns:a16="http://schemas.microsoft.com/office/drawing/2014/main" id="{335025B6-BDD5-432D-A9F2-AD04E613E542}"/>
                  </a:ext>
                </a:extLst>
              </p:cNvPr>
              <p:cNvSpPr/>
              <p:nvPr/>
            </p:nvSpPr>
            <p:spPr>
              <a:xfrm>
                <a:off x="3803666" y="3488797"/>
                <a:ext cx="13237" cy="59622"/>
              </a:xfrm>
              <a:custGeom>
                <a:avLst/>
                <a:gdLst>
                  <a:gd name="connsiteX0" fmla="*/ 13237 w 13237"/>
                  <a:gd name="connsiteY0" fmla="*/ 59623 h 59622"/>
                  <a:gd name="connsiteX1" fmla="*/ 0 w 13237"/>
                  <a:gd name="connsiteY1" fmla="*/ 52993 h 59622"/>
                  <a:gd name="connsiteX2" fmla="*/ 0 w 13237"/>
                  <a:gd name="connsiteY2" fmla="*/ 6607 h 59622"/>
                  <a:gd name="connsiteX3" fmla="*/ 13237 w 13237"/>
                  <a:gd name="connsiteY3" fmla="*/ 0 h 59622"/>
                </a:gdLst>
                <a:ahLst/>
                <a:cxnLst>
                  <a:cxn ang="0">
                    <a:pos x="connsiteX0" y="connsiteY0"/>
                  </a:cxn>
                  <a:cxn ang="0">
                    <a:pos x="connsiteX1" y="connsiteY1"/>
                  </a:cxn>
                  <a:cxn ang="0">
                    <a:pos x="connsiteX2" y="connsiteY2"/>
                  </a:cxn>
                  <a:cxn ang="0">
                    <a:pos x="connsiteX3" y="connsiteY3"/>
                  </a:cxn>
                </a:cxnLst>
                <a:rect l="l" t="t" r="r" b="b"/>
                <a:pathLst>
                  <a:path w="13237" h="59622">
                    <a:moveTo>
                      <a:pt x="13237" y="59623"/>
                    </a:moveTo>
                    <a:lnTo>
                      <a:pt x="0" y="52993"/>
                    </a:lnTo>
                    <a:lnTo>
                      <a:pt x="0" y="6607"/>
                    </a:lnTo>
                    <a:lnTo>
                      <a:pt x="13237" y="0"/>
                    </a:lnTo>
                    <a:close/>
                  </a:path>
                </a:pathLst>
              </a:custGeom>
              <a:solidFill>
                <a:schemeClr val="tx2"/>
              </a:solidFill>
              <a:ln w="2243" cap="flat">
                <a:noFill/>
                <a:prstDash val="solid"/>
                <a:miter/>
              </a:ln>
            </p:spPr>
            <p:txBody>
              <a:bodyPr rtlCol="0" anchor="ctr"/>
              <a:lstStyle/>
              <a:p>
                <a:endParaRPr lang="en-GB" dirty="0"/>
              </a:p>
            </p:txBody>
          </p:sp>
          <p:sp>
            <p:nvSpPr>
              <p:cNvPr id="365" name="Freihandform: Form 149">
                <a:extLst>
                  <a:ext uri="{FF2B5EF4-FFF2-40B4-BE49-F238E27FC236}">
                    <a16:creationId xmlns:a16="http://schemas.microsoft.com/office/drawing/2014/main" id="{C3BC3E63-CFDE-4534-BC47-C1970E4430FD}"/>
                  </a:ext>
                </a:extLst>
              </p:cNvPr>
              <p:cNvSpPr/>
              <p:nvPr/>
            </p:nvSpPr>
            <p:spPr>
              <a:xfrm>
                <a:off x="3379586" y="3488797"/>
                <a:ext cx="311418" cy="218647"/>
              </a:xfrm>
              <a:custGeom>
                <a:avLst/>
                <a:gdLst>
                  <a:gd name="connsiteX0" fmla="*/ 311419 w 311418"/>
                  <a:gd name="connsiteY0" fmla="*/ 218647 h 218647"/>
                  <a:gd name="connsiteX1" fmla="*/ 0 w 311418"/>
                  <a:gd name="connsiteY1" fmla="*/ 218647 h 218647"/>
                  <a:gd name="connsiteX2" fmla="*/ 0 w 311418"/>
                  <a:gd name="connsiteY2" fmla="*/ 0 h 218647"/>
                  <a:gd name="connsiteX3" fmla="*/ 13237 w 311418"/>
                  <a:gd name="connsiteY3" fmla="*/ 6607 h 218647"/>
                  <a:gd name="connsiteX4" fmla="*/ 13237 w 311418"/>
                  <a:gd name="connsiteY4" fmla="*/ 205410 h 218647"/>
                  <a:gd name="connsiteX5" fmla="*/ 311419 w 311418"/>
                  <a:gd name="connsiteY5" fmla="*/ 205410 h 21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1418" h="218647">
                    <a:moveTo>
                      <a:pt x="311419" y="218647"/>
                    </a:moveTo>
                    <a:lnTo>
                      <a:pt x="0" y="218647"/>
                    </a:lnTo>
                    <a:lnTo>
                      <a:pt x="0" y="0"/>
                    </a:lnTo>
                    <a:lnTo>
                      <a:pt x="13237" y="6607"/>
                    </a:lnTo>
                    <a:lnTo>
                      <a:pt x="13237" y="205410"/>
                    </a:lnTo>
                    <a:lnTo>
                      <a:pt x="311419" y="205410"/>
                    </a:lnTo>
                    <a:close/>
                  </a:path>
                </a:pathLst>
              </a:custGeom>
              <a:solidFill>
                <a:schemeClr val="tx2"/>
              </a:solidFill>
              <a:ln w="2243" cap="flat">
                <a:noFill/>
                <a:prstDash val="solid"/>
                <a:miter/>
              </a:ln>
            </p:spPr>
            <p:txBody>
              <a:bodyPr rtlCol="0" anchor="ctr"/>
              <a:lstStyle/>
              <a:p>
                <a:endParaRPr lang="en-GB" dirty="0"/>
              </a:p>
            </p:txBody>
          </p:sp>
          <p:sp>
            <p:nvSpPr>
              <p:cNvPr id="366" name="Freihandform: Form 150">
                <a:extLst>
                  <a:ext uri="{FF2B5EF4-FFF2-40B4-BE49-F238E27FC236}">
                    <a16:creationId xmlns:a16="http://schemas.microsoft.com/office/drawing/2014/main" id="{7ADE6BCA-8E54-4376-8992-F0B3595F01B6}"/>
                  </a:ext>
                </a:extLst>
              </p:cNvPr>
              <p:cNvSpPr/>
              <p:nvPr/>
            </p:nvSpPr>
            <p:spPr>
              <a:xfrm>
                <a:off x="3525351" y="3270127"/>
                <a:ext cx="145787" cy="79512"/>
              </a:xfrm>
              <a:custGeom>
                <a:avLst/>
                <a:gdLst>
                  <a:gd name="connsiteX0" fmla="*/ 139157 w 145787"/>
                  <a:gd name="connsiteY0" fmla="*/ 79512 h 79512"/>
                  <a:gd name="connsiteX1" fmla="*/ 6630 w 145787"/>
                  <a:gd name="connsiteY1" fmla="*/ 79512 h 79512"/>
                  <a:gd name="connsiteX2" fmla="*/ 0 w 145787"/>
                  <a:gd name="connsiteY2" fmla="*/ 72882 h 79512"/>
                  <a:gd name="connsiteX3" fmla="*/ 0 w 145787"/>
                  <a:gd name="connsiteY3" fmla="*/ 6630 h 79512"/>
                  <a:gd name="connsiteX4" fmla="*/ 6630 w 145787"/>
                  <a:gd name="connsiteY4" fmla="*/ 0 h 79512"/>
                  <a:gd name="connsiteX5" fmla="*/ 139157 w 145787"/>
                  <a:gd name="connsiteY5" fmla="*/ 0 h 79512"/>
                  <a:gd name="connsiteX6" fmla="*/ 145787 w 145787"/>
                  <a:gd name="connsiteY6" fmla="*/ 6630 h 79512"/>
                  <a:gd name="connsiteX7" fmla="*/ 145787 w 145787"/>
                  <a:gd name="connsiteY7" fmla="*/ 72882 h 79512"/>
                  <a:gd name="connsiteX8" fmla="*/ 139157 w 145787"/>
                  <a:gd name="connsiteY8" fmla="*/ 79512 h 79512"/>
                  <a:gd name="connsiteX9" fmla="*/ 13259 w 145787"/>
                  <a:gd name="connsiteY9" fmla="*/ 66253 h 79512"/>
                  <a:gd name="connsiteX10" fmla="*/ 132528 w 145787"/>
                  <a:gd name="connsiteY10" fmla="*/ 66253 h 79512"/>
                  <a:gd name="connsiteX11" fmla="*/ 132528 w 145787"/>
                  <a:gd name="connsiteY11" fmla="*/ 13237 h 79512"/>
                  <a:gd name="connsiteX12" fmla="*/ 13259 w 145787"/>
                  <a:gd name="connsiteY12" fmla="*/ 13237 h 79512"/>
                  <a:gd name="connsiteX13" fmla="*/ 13259 w 145787"/>
                  <a:gd name="connsiteY13" fmla="*/ 66253 h 7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5787" h="79512">
                    <a:moveTo>
                      <a:pt x="139157" y="79512"/>
                    </a:moveTo>
                    <a:lnTo>
                      <a:pt x="6630" y="79512"/>
                    </a:lnTo>
                    <a:cubicBezTo>
                      <a:pt x="2966" y="79512"/>
                      <a:pt x="0" y="76546"/>
                      <a:pt x="0" y="72882"/>
                    </a:cubicBezTo>
                    <a:lnTo>
                      <a:pt x="0" y="6630"/>
                    </a:lnTo>
                    <a:cubicBezTo>
                      <a:pt x="0" y="2967"/>
                      <a:pt x="2966" y="0"/>
                      <a:pt x="6630" y="0"/>
                    </a:cubicBezTo>
                    <a:lnTo>
                      <a:pt x="139157" y="0"/>
                    </a:lnTo>
                    <a:cubicBezTo>
                      <a:pt x="142820" y="0"/>
                      <a:pt x="145787" y="2967"/>
                      <a:pt x="145787" y="6630"/>
                    </a:cubicBezTo>
                    <a:lnTo>
                      <a:pt x="145787" y="72882"/>
                    </a:lnTo>
                    <a:cubicBezTo>
                      <a:pt x="145787" y="76546"/>
                      <a:pt x="142820" y="79512"/>
                      <a:pt x="139157" y="79512"/>
                    </a:cubicBezTo>
                    <a:close/>
                    <a:moveTo>
                      <a:pt x="13259" y="66253"/>
                    </a:moveTo>
                    <a:lnTo>
                      <a:pt x="132528" y="66253"/>
                    </a:lnTo>
                    <a:lnTo>
                      <a:pt x="132528" y="13237"/>
                    </a:lnTo>
                    <a:lnTo>
                      <a:pt x="13259" y="13237"/>
                    </a:lnTo>
                    <a:lnTo>
                      <a:pt x="13259" y="66253"/>
                    </a:lnTo>
                    <a:close/>
                  </a:path>
                </a:pathLst>
              </a:custGeom>
              <a:solidFill>
                <a:schemeClr val="tx2"/>
              </a:solidFill>
              <a:ln w="2243" cap="flat">
                <a:noFill/>
                <a:prstDash val="solid"/>
                <a:miter/>
              </a:ln>
            </p:spPr>
            <p:txBody>
              <a:bodyPr rtlCol="0" anchor="ctr"/>
              <a:lstStyle/>
              <a:p>
                <a:endParaRPr lang="en-GB" dirty="0"/>
              </a:p>
            </p:txBody>
          </p:sp>
          <p:sp>
            <p:nvSpPr>
              <p:cNvPr id="367" name="Freihandform: Form 151">
                <a:extLst>
                  <a:ext uri="{FF2B5EF4-FFF2-40B4-BE49-F238E27FC236}">
                    <a16:creationId xmlns:a16="http://schemas.microsoft.com/office/drawing/2014/main" id="{83468991-E5CE-45AC-AC69-CF005F4E5A25}"/>
                  </a:ext>
                </a:extLst>
              </p:cNvPr>
              <p:cNvSpPr/>
              <p:nvPr/>
            </p:nvSpPr>
            <p:spPr>
              <a:xfrm>
                <a:off x="3353067" y="3336380"/>
                <a:ext cx="490354" cy="177879"/>
              </a:xfrm>
              <a:custGeom>
                <a:avLst/>
                <a:gdLst>
                  <a:gd name="connsiteX0" fmla="*/ 205230 w 490354"/>
                  <a:gd name="connsiteY0" fmla="*/ 177880 h 177879"/>
                  <a:gd name="connsiteX1" fmla="*/ 0 w 490354"/>
                  <a:gd name="connsiteY1" fmla="*/ 137989 h 177879"/>
                  <a:gd name="connsiteX2" fmla="*/ 0 w 490354"/>
                  <a:gd name="connsiteY2" fmla="*/ 0 h 177879"/>
                  <a:gd name="connsiteX3" fmla="*/ 490355 w 490354"/>
                  <a:gd name="connsiteY3" fmla="*/ 0 h 177879"/>
                  <a:gd name="connsiteX4" fmla="*/ 490355 w 490354"/>
                  <a:gd name="connsiteY4" fmla="*/ 137989 h 177879"/>
                  <a:gd name="connsiteX5" fmla="*/ 285394 w 490354"/>
                  <a:gd name="connsiteY5" fmla="*/ 177835 h 177879"/>
                  <a:gd name="connsiteX6" fmla="*/ 282877 w 490354"/>
                  <a:gd name="connsiteY6" fmla="*/ 164822 h 177879"/>
                  <a:gd name="connsiteX7" fmla="*/ 477095 w 490354"/>
                  <a:gd name="connsiteY7" fmla="*/ 127067 h 177879"/>
                  <a:gd name="connsiteX8" fmla="*/ 477095 w 490354"/>
                  <a:gd name="connsiteY8" fmla="*/ 13260 h 177879"/>
                  <a:gd name="connsiteX9" fmla="*/ 13260 w 490354"/>
                  <a:gd name="connsiteY9" fmla="*/ 13260 h 177879"/>
                  <a:gd name="connsiteX10" fmla="*/ 13260 w 490354"/>
                  <a:gd name="connsiteY10" fmla="*/ 127067 h 177879"/>
                  <a:gd name="connsiteX11" fmla="*/ 207747 w 490354"/>
                  <a:gd name="connsiteY11" fmla="*/ 164890 h 177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0354" h="177879">
                    <a:moveTo>
                      <a:pt x="205230" y="177880"/>
                    </a:moveTo>
                    <a:lnTo>
                      <a:pt x="0" y="137989"/>
                    </a:lnTo>
                    <a:lnTo>
                      <a:pt x="0" y="0"/>
                    </a:lnTo>
                    <a:lnTo>
                      <a:pt x="490355" y="0"/>
                    </a:lnTo>
                    <a:lnTo>
                      <a:pt x="490355" y="137989"/>
                    </a:lnTo>
                    <a:lnTo>
                      <a:pt x="285394" y="177835"/>
                    </a:lnTo>
                    <a:lnTo>
                      <a:pt x="282877" y="164822"/>
                    </a:lnTo>
                    <a:lnTo>
                      <a:pt x="477095" y="127067"/>
                    </a:lnTo>
                    <a:lnTo>
                      <a:pt x="477095" y="13260"/>
                    </a:lnTo>
                    <a:lnTo>
                      <a:pt x="13260" y="13260"/>
                    </a:lnTo>
                    <a:lnTo>
                      <a:pt x="13260" y="127067"/>
                    </a:lnTo>
                    <a:lnTo>
                      <a:pt x="207747" y="164890"/>
                    </a:lnTo>
                    <a:close/>
                  </a:path>
                </a:pathLst>
              </a:custGeom>
              <a:solidFill>
                <a:schemeClr val="tx2"/>
              </a:solidFill>
              <a:ln w="2243" cap="flat">
                <a:noFill/>
                <a:prstDash val="solid"/>
                <a:miter/>
              </a:ln>
            </p:spPr>
            <p:txBody>
              <a:bodyPr rtlCol="0" anchor="ctr"/>
              <a:lstStyle/>
              <a:p>
                <a:endParaRPr lang="en-GB" dirty="0"/>
              </a:p>
            </p:txBody>
          </p:sp>
          <p:sp>
            <p:nvSpPr>
              <p:cNvPr id="368" name="Freihandform: Form 152">
                <a:extLst>
                  <a:ext uri="{FF2B5EF4-FFF2-40B4-BE49-F238E27FC236}">
                    <a16:creationId xmlns:a16="http://schemas.microsoft.com/office/drawing/2014/main" id="{6F06E70E-0D05-485F-945C-0960E30C97EC}"/>
                  </a:ext>
                </a:extLst>
              </p:cNvPr>
              <p:cNvSpPr/>
              <p:nvPr/>
            </p:nvSpPr>
            <p:spPr>
              <a:xfrm>
                <a:off x="3551870" y="3468908"/>
                <a:ext cx="92771" cy="92771"/>
              </a:xfrm>
              <a:custGeom>
                <a:avLst/>
                <a:gdLst>
                  <a:gd name="connsiteX0" fmla="*/ 46386 w 92771"/>
                  <a:gd name="connsiteY0" fmla="*/ 92772 h 92771"/>
                  <a:gd name="connsiteX1" fmla="*/ 0 w 92771"/>
                  <a:gd name="connsiteY1" fmla="*/ 46386 h 92771"/>
                  <a:gd name="connsiteX2" fmla="*/ 46386 w 92771"/>
                  <a:gd name="connsiteY2" fmla="*/ 0 h 92771"/>
                  <a:gd name="connsiteX3" fmla="*/ 92772 w 92771"/>
                  <a:gd name="connsiteY3" fmla="*/ 46386 h 92771"/>
                  <a:gd name="connsiteX4" fmla="*/ 46386 w 92771"/>
                  <a:gd name="connsiteY4" fmla="*/ 92772 h 92771"/>
                  <a:gd name="connsiteX5" fmla="*/ 46386 w 92771"/>
                  <a:gd name="connsiteY5" fmla="*/ 13260 h 92771"/>
                  <a:gd name="connsiteX6" fmla="*/ 13260 w 92771"/>
                  <a:gd name="connsiteY6" fmla="*/ 46386 h 92771"/>
                  <a:gd name="connsiteX7" fmla="*/ 46386 w 92771"/>
                  <a:gd name="connsiteY7" fmla="*/ 79512 h 92771"/>
                  <a:gd name="connsiteX8" fmla="*/ 79512 w 92771"/>
                  <a:gd name="connsiteY8" fmla="*/ 46386 h 92771"/>
                  <a:gd name="connsiteX9" fmla="*/ 46386 w 92771"/>
                  <a:gd name="connsiteY9" fmla="*/ 13260 h 92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771" h="92771">
                    <a:moveTo>
                      <a:pt x="46386" y="92772"/>
                    </a:moveTo>
                    <a:cubicBezTo>
                      <a:pt x="20811" y="92772"/>
                      <a:pt x="0" y="71961"/>
                      <a:pt x="0" y="46386"/>
                    </a:cubicBezTo>
                    <a:cubicBezTo>
                      <a:pt x="0" y="20811"/>
                      <a:pt x="20811" y="0"/>
                      <a:pt x="46386" y="0"/>
                    </a:cubicBezTo>
                    <a:cubicBezTo>
                      <a:pt x="71961" y="0"/>
                      <a:pt x="92772" y="20811"/>
                      <a:pt x="92772" y="46386"/>
                    </a:cubicBezTo>
                    <a:cubicBezTo>
                      <a:pt x="92772" y="71961"/>
                      <a:pt x="71961" y="92772"/>
                      <a:pt x="46386" y="92772"/>
                    </a:cubicBezTo>
                    <a:close/>
                    <a:moveTo>
                      <a:pt x="46386" y="13260"/>
                    </a:moveTo>
                    <a:cubicBezTo>
                      <a:pt x="28115" y="13260"/>
                      <a:pt x="13260" y="28115"/>
                      <a:pt x="13260" y="46386"/>
                    </a:cubicBezTo>
                    <a:cubicBezTo>
                      <a:pt x="13260" y="64657"/>
                      <a:pt x="28115" y="79512"/>
                      <a:pt x="46386" y="79512"/>
                    </a:cubicBezTo>
                    <a:cubicBezTo>
                      <a:pt x="64657" y="79512"/>
                      <a:pt x="79512" y="64657"/>
                      <a:pt x="79512" y="46386"/>
                    </a:cubicBezTo>
                    <a:cubicBezTo>
                      <a:pt x="79512" y="28115"/>
                      <a:pt x="64635" y="13260"/>
                      <a:pt x="46386" y="13260"/>
                    </a:cubicBezTo>
                    <a:close/>
                  </a:path>
                </a:pathLst>
              </a:custGeom>
              <a:solidFill>
                <a:schemeClr val="tx2"/>
              </a:solidFill>
              <a:ln w="2243" cap="flat">
                <a:noFill/>
                <a:prstDash val="solid"/>
                <a:miter/>
              </a:ln>
            </p:spPr>
            <p:txBody>
              <a:bodyPr rtlCol="0" anchor="ctr"/>
              <a:lstStyle/>
              <a:p>
                <a:endParaRPr lang="en-GB" dirty="0"/>
              </a:p>
            </p:txBody>
          </p:sp>
          <p:sp>
            <p:nvSpPr>
              <p:cNvPr id="369" name="Freihandform: Form 153">
                <a:extLst>
                  <a:ext uri="{FF2B5EF4-FFF2-40B4-BE49-F238E27FC236}">
                    <a16:creationId xmlns:a16="http://schemas.microsoft.com/office/drawing/2014/main" id="{7A5CFCBB-4C57-4976-9104-D3CEA303F623}"/>
                  </a:ext>
                </a:extLst>
              </p:cNvPr>
              <p:cNvSpPr/>
              <p:nvPr/>
            </p:nvSpPr>
            <p:spPr>
              <a:xfrm>
                <a:off x="3578366" y="3507832"/>
                <a:ext cx="39778" cy="26518"/>
              </a:xfrm>
              <a:custGeom>
                <a:avLst/>
                <a:gdLst>
                  <a:gd name="connsiteX0" fmla="*/ 19889 w 39778"/>
                  <a:gd name="connsiteY0" fmla="*/ 26519 h 26518"/>
                  <a:gd name="connsiteX1" fmla="*/ 0 w 39778"/>
                  <a:gd name="connsiteY1" fmla="*/ 6630 h 26518"/>
                  <a:gd name="connsiteX2" fmla="*/ 6630 w 39778"/>
                  <a:gd name="connsiteY2" fmla="*/ 0 h 26518"/>
                  <a:gd name="connsiteX3" fmla="*/ 13260 w 39778"/>
                  <a:gd name="connsiteY3" fmla="*/ 6630 h 26518"/>
                  <a:gd name="connsiteX4" fmla="*/ 19889 w 39778"/>
                  <a:gd name="connsiteY4" fmla="*/ 13259 h 26518"/>
                  <a:gd name="connsiteX5" fmla="*/ 26519 w 39778"/>
                  <a:gd name="connsiteY5" fmla="*/ 6630 h 26518"/>
                  <a:gd name="connsiteX6" fmla="*/ 33149 w 39778"/>
                  <a:gd name="connsiteY6" fmla="*/ 0 h 26518"/>
                  <a:gd name="connsiteX7" fmla="*/ 39778 w 39778"/>
                  <a:gd name="connsiteY7" fmla="*/ 6630 h 26518"/>
                  <a:gd name="connsiteX8" fmla="*/ 19889 w 39778"/>
                  <a:gd name="connsiteY8" fmla="*/ 26519 h 26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778" h="26518">
                    <a:moveTo>
                      <a:pt x="19889" y="26519"/>
                    </a:moveTo>
                    <a:cubicBezTo>
                      <a:pt x="8922" y="26519"/>
                      <a:pt x="0" y="17597"/>
                      <a:pt x="0" y="6630"/>
                    </a:cubicBezTo>
                    <a:cubicBezTo>
                      <a:pt x="0" y="2967"/>
                      <a:pt x="2966" y="0"/>
                      <a:pt x="6630" y="0"/>
                    </a:cubicBezTo>
                    <a:cubicBezTo>
                      <a:pt x="10293" y="0"/>
                      <a:pt x="13260" y="2967"/>
                      <a:pt x="13260" y="6630"/>
                    </a:cubicBezTo>
                    <a:cubicBezTo>
                      <a:pt x="13260" y="10293"/>
                      <a:pt x="16226" y="13259"/>
                      <a:pt x="19889" y="13259"/>
                    </a:cubicBezTo>
                    <a:cubicBezTo>
                      <a:pt x="23552" y="13259"/>
                      <a:pt x="26519" y="10293"/>
                      <a:pt x="26519" y="6630"/>
                    </a:cubicBezTo>
                    <a:cubicBezTo>
                      <a:pt x="26519" y="2967"/>
                      <a:pt x="29486" y="0"/>
                      <a:pt x="33149" y="0"/>
                    </a:cubicBezTo>
                    <a:cubicBezTo>
                      <a:pt x="36812" y="0"/>
                      <a:pt x="39778" y="2967"/>
                      <a:pt x="39778" y="6630"/>
                    </a:cubicBezTo>
                    <a:cubicBezTo>
                      <a:pt x="39756" y="17597"/>
                      <a:pt x="30834" y="26519"/>
                      <a:pt x="19889" y="26519"/>
                    </a:cubicBezTo>
                    <a:close/>
                  </a:path>
                </a:pathLst>
              </a:custGeom>
              <a:solidFill>
                <a:schemeClr val="tx2"/>
              </a:solidFill>
              <a:ln w="2243" cap="flat">
                <a:noFill/>
                <a:prstDash val="solid"/>
                <a:miter/>
              </a:ln>
            </p:spPr>
            <p:txBody>
              <a:bodyPr rtlCol="0" anchor="ctr"/>
              <a:lstStyle/>
              <a:p>
                <a:endParaRPr lang="en-GB" dirty="0"/>
              </a:p>
            </p:txBody>
          </p:sp>
          <p:sp>
            <p:nvSpPr>
              <p:cNvPr id="370" name="Freihandform: Form 160">
                <a:extLst>
                  <a:ext uri="{FF2B5EF4-FFF2-40B4-BE49-F238E27FC236}">
                    <a16:creationId xmlns:a16="http://schemas.microsoft.com/office/drawing/2014/main" id="{CEA54940-CE1D-409F-B1D0-127244D733F0}"/>
                  </a:ext>
                </a:extLst>
              </p:cNvPr>
              <p:cNvSpPr/>
              <p:nvPr/>
            </p:nvSpPr>
            <p:spPr>
              <a:xfrm>
                <a:off x="3558499" y="3369506"/>
                <a:ext cx="79512" cy="13259"/>
              </a:xfrm>
              <a:custGeom>
                <a:avLst/>
                <a:gdLst>
                  <a:gd name="connsiteX0" fmla="*/ 0 w 79512"/>
                  <a:gd name="connsiteY0" fmla="*/ 0 h 13259"/>
                  <a:gd name="connsiteX1" fmla="*/ 79512 w 79512"/>
                  <a:gd name="connsiteY1" fmla="*/ 0 h 13259"/>
                  <a:gd name="connsiteX2" fmla="*/ 79512 w 79512"/>
                  <a:gd name="connsiteY2" fmla="*/ 13260 h 13259"/>
                  <a:gd name="connsiteX3" fmla="*/ 0 w 79512"/>
                  <a:gd name="connsiteY3" fmla="*/ 13260 h 13259"/>
                </a:gdLst>
                <a:ahLst/>
                <a:cxnLst>
                  <a:cxn ang="0">
                    <a:pos x="connsiteX0" y="connsiteY0"/>
                  </a:cxn>
                  <a:cxn ang="0">
                    <a:pos x="connsiteX1" y="connsiteY1"/>
                  </a:cxn>
                  <a:cxn ang="0">
                    <a:pos x="connsiteX2" y="connsiteY2"/>
                  </a:cxn>
                  <a:cxn ang="0">
                    <a:pos x="connsiteX3" y="connsiteY3"/>
                  </a:cxn>
                </a:cxnLst>
                <a:rect l="l" t="t" r="r" b="b"/>
                <a:pathLst>
                  <a:path w="79512" h="13259">
                    <a:moveTo>
                      <a:pt x="0" y="0"/>
                    </a:moveTo>
                    <a:lnTo>
                      <a:pt x="79512" y="0"/>
                    </a:lnTo>
                    <a:lnTo>
                      <a:pt x="79512" y="13260"/>
                    </a:lnTo>
                    <a:lnTo>
                      <a:pt x="0" y="13260"/>
                    </a:lnTo>
                    <a:close/>
                  </a:path>
                </a:pathLst>
              </a:custGeom>
              <a:solidFill>
                <a:schemeClr val="tx2"/>
              </a:solidFill>
              <a:ln w="2243" cap="flat">
                <a:noFill/>
                <a:prstDash val="solid"/>
                <a:miter/>
              </a:ln>
            </p:spPr>
            <p:txBody>
              <a:bodyPr rtlCol="0" anchor="ctr"/>
              <a:lstStyle/>
              <a:p>
                <a:endParaRPr lang="en-GB" dirty="0"/>
              </a:p>
            </p:txBody>
          </p:sp>
        </p:grpSp>
        <p:grpSp>
          <p:nvGrpSpPr>
            <p:cNvPr id="353" name="Group 352">
              <a:extLst>
                <a:ext uri="{FF2B5EF4-FFF2-40B4-BE49-F238E27FC236}">
                  <a16:creationId xmlns:a16="http://schemas.microsoft.com/office/drawing/2014/main" id="{9B3399B8-DCA2-4D39-8B4F-BD07FA1D6342}"/>
                </a:ext>
              </a:extLst>
            </p:cNvPr>
            <p:cNvGrpSpPr/>
            <p:nvPr/>
          </p:nvGrpSpPr>
          <p:grpSpPr>
            <a:xfrm>
              <a:off x="3512114" y="3531654"/>
              <a:ext cx="324655" cy="228760"/>
              <a:chOff x="3512114" y="3531654"/>
              <a:chExt cx="324655" cy="228760"/>
            </a:xfrm>
          </p:grpSpPr>
          <p:grpSp>
            <p:nvGrpSpPr>
              <p:cNvPr id="354" name="Grafik 203">
                <a:extLst>
                  <a:ext uri="{FF2B5EF4-FFF2-40B4-BE49-F238E27FC236}">
                    <a16:creationId xmlns:a16="http://schemas.microsoft.com/office/drawing/2014/main" id="{1817CBFE-FF4E-49B2-AA6E-A50817E2AE90}"/>
                  </a:ext>
                </a:extLst>
              </p:cNvPr>
              <p:cNvGrpSpPr/>
              <p:nvPr/>
            </p:nvGrpSpPr>
            <p:grpSpPr>
              <a:xfrm>
                <a:off x="3591626" y="3661058"/>
                <a:ext cx="53015" cy="13259"/>
                <a:chOff x="3591626" y="3661058"/>
                <a:chExt cx="53015" cy="13259"/>
              </a:xfrm>
              <a:solidFill>
                <a:schemeClr val="accent1"/>
              </a:solidFill>
            </p:grpSpPr>
            <p:sp>
              <p:nvSpPr>
                <p:cNvPr id="362" name="Freihandform: Form 155">
                  <a:extLst>
                    <a:ext uri="{FF2B5EF4-FFF2-40B4-BE49-F238E27FC236}">
                      <a16:creationId xmlns:a16="http://schemas.microsoft.com/office/drawing/2014/main" id="{82695205-24AB-45FD-83B9-CC9D839B4B3D}"/>
                    </a:ext>
                  </a:extLst>
                </p:cNvPr>
                <p:cNvSpPr/>
                <p:nvPr/>
              </p:nvSpPr>
              <p:spPr>
                <a:xfrm>
                  <a:off x="3591626" y="3661058"/>
                  <a:ext cx="13259" cy="13259"/>
                </a:xfrm>
                <a:custGeom>
                  <a:avLst/>
                  <a:gdLst>
                    <a:gd name="connsiteX0" fmla="*/ 0 w 13259"/>
                    <a:gd name="connsiteY0" fmla="*/ 0 h 13259"/>
                    <a:gd name="connsiteX1" fmla="*/ 13260 w 13259"/>
                    <a:gd name="connsiteY1" fmla="*/ 0 h 13259"/>
                    <a:gd name="connsiteX2" fmla="*/ 13260 w 13259"/>
                    <a:gd name="connsiteY2" fmla="*/ 13260 h 13259"/>
                    <a:gd name="connsiteX3" fmla="*/ 0 w 13259"/>
                    <a:gd name="connsiteY3" fmla="*/ 13260 h 13259"/>
                  </a:gdLst>
                  <a:ahLst/>
                  <a:cxnLst>
                    <a:cxn ang="0">
                      <a:pos x="connsiteX0" y="connsiteY0"/>
                    </a:cxn>
                    <a:cxn ang="0">
                      <a:pos x="connsiteX1" y="connsiteY1"/>
                    </a:cxn>
                    <a:cxn ang="0">
                      <a:pos x="connsiteX2" y="connsiteY2"/>
                    </a:cxn>
                    <a:cxn ang="0">
                      <a:pos x="connsiteX3" y="connsiteY3"/>
                    </a:cxn>
                  </a:cxnLst>
                  <a:rect l="l" t="t" r="r" b="b"/>
                  <a:pathLst>
                    <a:path w="13259" h="13259">
                      <a:moveTo>
                        <a:pt x="0" y="0"/>
                      </a:moveTo>
                      <a:lnTo>
                        <a:pt x="13260" y="0"/>
                      </a:lnTo>
                      <a:lnTo>
                        <a:pt x="13260" y="13260"/>
                      </a:lnTo>
                      <a:lnTo>
                        <a:pt x="0" y="13260"/>
                      </a:lnTo>
                      <a:close/>
                    </a:path>
                  </a:pathLst>
                </a:custGeom>
                <a:solidFill>
                  <a:schemeClr val="accent1"/>
                </a:solidFill>
                <a:ln w="2243" cap="flat">
                  <a:noFill/>
                  <a:prstDash val="solid"/>
                  <a:miter/>
                </a:ln>
              </p:spPr>
              <p:txBody>
                <a:bodyPr rtlCol="0" anchor="ctr"/>
                <a:lstStyle/>
                <a:p>
                  <a:endParaRPr lang="en-GB" dirty="0"/>
                </a:p>
              </p:txBody>
            </p:sp>
            <p:sp>
              <p:nvSpPr>
                <p:cNvPr id="363" name="Freihandform: Form 156">
                  <a:extLst>
                    <a:ext uri="{FF2B5EF4-FFF2-40B4-BE49-F238E27FC236}">
                      <a16:creationId xmlns:a16="http://schemas.microsoft.com/office/drawing/2014/main" id="{B9591F2A-A6C8-4906-8654-C4701DCE8374}"/>
                    </a:ext>
                  </a:extLst>
                </p:cNvPr>
                <p:cNvSpPr/>
                <p:nvPr/>
              </p:nvSpPr>
              <p:spPr>
                <a:xfrm>
                  <a:off x="3631382" y="3661058"/>
                  <a:ext cx="13259" cy="13259"/>
                </a:xfrm>
                <a:custGeom>
                  <a:avLst/>
                  <a:gdLst>
                    <a:gd name="connsiteX0" fmla="*/ 0 w 13259"/>
                    <a:gd name="connsiteY0" fmla="*/ 0 h 13259"/>
                    <a:gd name="connsiteX1" fmla="*/ 13260 w 13259"/>
                    <a:gd name="connsiteY1" fmla="*/ 0 h 13259"/>
                    <a:gd name="connsiteX2" fmla="*/ 13260 w 13259"/>
                    <a:gd name="connsiteY2" fmla="*/ 13260 h 13259"/>
                    <a:gd name="connsiteX3" fmla="*/ 0 w 13259"/>
                    <a:gd name="connsiteY3" fmla="*/ 13260 h 13259"/>
                  </a:gdLst>
                  <a:ahLst/>
                  <a:cxnLst>
                    <a:cxn ang="0">
                      <a:pos x="connsiteX0" y="connsiteY0"/>
                    </a:cxn>
                    <a:cxn ang="0">
                      <a:pos x="connsiteX1" y="connsiteY1"/>
                    </a:cxn>
                    <a:cxn ang="0">
                      <a:pos x="connsiteX2" y="connsiteY2"/>
                    </a:cxn>
                    <a:cxn ang="0">
                      <a:pos x="connsiteX3" y="connsiteY3"/>
                    </a:cxn>
                  </a:cxnLst>
                  <a:rect l="l" t="t" r="r" b="b"/>
                  <a:pathLst>
                    <a:path w="13259" h="13259">
                      <a:moveTo>
                        <a:pt x="0" y="0"/>
                      </a:moveTo>
                      <a:lnTo>
                        <a:pt x="13260" y="0"/>
                      </a:lnTo>
                      <a:lnTo>
                        <a:pt x="13260" y="13260"/>
                      </a:lnTo>
                      <a:lnTo>
                        <a:pt x="0" y="13260"/>
                      </a:lnTo>
                      <a:close/>
                    </a:path>
                  </a:pathLst>
                </a:custGeom>
                <a:solidFill>
                  <a:schemeClr val="accent1"/>
                </a:solidFill>
                <a:ln w="2243" cap="flat">
                  <a:noFill/>
                  <a:prstDash val="solid"/>
                  <a:miter/>
                </a:ln>
              </p:spPr>
              <p:txBody>
                <a:bodyPr rtlCol="0" anchor="ctr"/>
                <a:lstStyle/>
                <a:p>
                  <a:endParaRPr lang="en-GB" dirty="0"/>
                </a:p>
              </p:txBody>
            </p:sp>
          </p:grpSp>
          <p:grpSp>
            <p:nvGrpSpPr>
              <p:cNvPr id="355" name="Grafik 203">
                <a:extLst>
                  <a:ext uri="{FF2B5EF4-FFF2-40B4-BE49-F238E27FC236}">
                    <a16:creationId xmlns:a16="http://schemas.microsoft.com/office/drawing/2014/main" id="{33A2D457-DC3B-4BE5-9EEF-0C2BF09510B6}"/>
                  </a:ext>
                </a:extLst>
              </p:cNvPr>
              <p:cNvGrpSpPr/>
              <p:nvPr/>
            </p:nvGrpSpPr>
            <p:grpSpPr>
              <a:xfrm>
                <a:off x="3512114" y="3661058"/>
                <a:ext cx="53015" cy="13259"/>
                <a:chOff x="3512114" y="3661058"/>
                <a:chExt cx="53015" cy="13259"/>
              </a:xfrm>
              <a:solidFill>
                <a:schemeClr val="accent1"/>
              </a:solidFill>
            </p:grpSpPr>
            <p:sp>
              <p:nvSpPr>
                <p:cNvPr id="360" name="Freihandform: Form 158">
                  <a:extLst>
                    <a:ext uri="{FF2B5EF4-FFF2-40B4-BE49-F238E27FC236}">
                      <a16:creationId xmlns:a16="http://schemas.microsoft.com/office/drawing/2014/main" id="{ED34B495-5FDF-4497-A9E8-EDFE8BBD9160}"/>
                    </a:ext>
                  </a:extLst>
                </p:cNvPr>
                <p:cNvSpPr/>
                <p:nvPr/>
              </p:nvSpPr>
              <p:spPr>
                <a:xfrm>
                  <a:off x="3512114" y="3661058"/>
                  <a:ext cx="13259" cy="13259"/>
                </a:xfrm>
                <a:custGeom>
                  <a:avLst/>
                  <a:gdLst>
                    <a:gd name="connsiteX0" fmla="*/ 0 w 13259"/>
                    <a:gd name="connsiteY0" fmla="*/ 0 h 13259"/>
                    <a:gd name="connsiteX1" fmla="*/ 13260 w 13259"/>
                    <a:gd name="connsiteY1" fmla="*/ 0 h 13259"/>
                    <a:gd name="connsiteX2" fmla="*/ 13260 w 13259"/>
                    <a:gd name="connsiteY2" fmla="*/ 13260 h 13259"/>
                    <a:gd name="connsiteX3" fmla="*/ 0 w 13259"/>
                    <a:gd name="connsiteY3" fmla="*/ 13260 h 13259"/>
                  </a:gdLst>
                  <a:ahLst/>
                  <a:cxnLst>
                    <a:cxn ang="0">
                      <a:pos x="connsiteX0" y="connsiteY0"/>
                    </a:cxn>
                    <a:cxn ang="0">
                      <a:pos x="connsiteX1" y="connsiteY1"/>
                    </a:cxn>
                    <a:cxn ang="0">
                      <a:pos x="connsiteX2" y="connsiteY2"/>
                    </a:cxn>
                    <a:cxn ang="0">
                      <a:pos x="connsiteX3" y="connsiteY3"/>
                    </a:cxn>
                  </a:cxnLst>
                  <a:rect l="l" t="t" r="r" b="b"/>
                  <a:pathLst>
                    <a:path w="13259" h="13259">
                      <a:moveTo>
                        <a:pt x="0" y="0"/>
                      </a:moveTo>
                      <a:lnTo>
                        <a:pt x="13260" y="0"/>
                      </a:lnTo>
                      <a:lnTo>
                        <a:pt x="13260" y="13260"/>
                      </a:lnTo>
                      <a:lnTo>
                        <a:pt x="0" y="13260"/>
                      </a:lnTo>
                      <a:close/>
                    </a:path>
                  </a:pathLst>
                </a:custGeom>
                <a:solidFill>
                  <a:schemeClr val="accent1"/>
                </a:solidFill>
                <a:ln w="2243" cap="flat">
                  <a:noFill/>
                  <a:prstDash val="solid"/>
                  <a:miter/>
                </a:ln>
              </p:spPr>
              <p:txBody>
                <a:bodyPr rtlCol="0" anchor="ctr"/>
                <a:lstStyle/>
                <a:p>
                  <a:endParaRPr lang="en-GB" dirty="0"/>
                </a:p>
              </p:txBody>
            </p:sp>
            <p:sp>
              <p:nvSpPr>
                <p:cNvPr id="361" name="Freihandform: Form 159">
                  <a:extLst>
                    <a:ext uri="{FF2B5EF4-FFF2-40B4-BE49-F238E27FC236}">
                      <a16:creationId xmlns:a16="http://schemas.microsoft.com/office/drawing/2014/main" id="{0200D937-F835-43D6-8277-58AB2023B006}"/>
                    </a:ext>
                  </a:extLst>
                </p:cNvPr>
                <p:cNvSpPr/>
                <p:nvPr/>
              </p:nvSpPr>
              <p:spPr>
                <a:xfrm>
                  <a:off x="3551870" y="3661058"/>
                  <a:ext cx="13259" cy="13259"/>
                </a:xfrm>
                <a:custGeom>
                  <a:avLst/>
                  <a:gdLst>
                    <a:gd name="connsiteX0" fmla="*/ 0 w 13259"/>
                    <a:gd name="connsiteY0" fmla="*/ 0 h 13259"/>
                    <a:gd name="connsiteX1" fmla="*/ 13260 w 13259"/>
                    <a:gd name="connsiteY1" fmla="*/ 0 h 13259"/>
                    <a:gd name="connsiteX2" fmla="*/ 13260 w 13259"/>
                    <a:gd name="connsiteY2" fmla="*/ 13260 h 13259"/>
                    <a:gd name="connsiteX3" fmla="*/ 0 w 13259"/>
                    <a:gd name="connsiteY3" fmla="*/ 13260 h 13259"/>
                  </a:gdLst>
                  <a:ahLst/>
                  <a:cxnLst>
                    <a:cxn ang="0">
                      <a:pos x="connsiteX0" y="connsiteY0"/>
                    </a:cxn>
                    <a:cxn ang="0">
                      <a:pos x="connsiteX1" y="connsiteY1"/>
                    </a:cxn>
                    <a:cxn ang="0">
                      <a:pos x="connsiteX2" y="connsiteY2"/>
                    </a:cxn>
                    <a:cxn ang="0">
                      <a:pos x="connsiteX3" y="connsiteY3"/>
                    </a:cxn>
                  </a:cxnLst>
                  <a:rect l="l" t="t" r="r" b="b"/>
                  <a:pathLst>
                    <a:path w="13259" h="13259">
                      <a:moveTo>
                        <a:pt x="0" y="0"/>
                      </a:moveTo>
                      <a:lnTo>
                        <a:pt x="13260" y="0"/>
                      </a:lnTo>
                      <a:lnTo>
                        <a:pt x="13260" y="13260"/>
                      </a:lnTo>
                      <a:lnTo>
                        <a:pt x="0" y="13260"/>
                      </a:lnTo>
                      <a:close/>
                    </a:path>
                  </a:pathLst>
                </a:custGeom>
                <a:solidFill>
                  <a:schemeClr val="accent1"/>
                </a:solidFill>
                <a:ln w="2243" cap="flat">
                  <a:noFill/>
                  <a:prstDash val="solid"/>
                  <a:miter/>
                </a:ln>
              </p:spPr>
              <p:txBody>
                <a:bodyPr rtlCol="0" anchor="ctr"/>
                <a:lstStyle/>
                <a:p>
                  <a:endParaRPr lang="en-GB" dirty="0"/>
                </a:p>
              </p:txBody>
            </p:sp>
          </p:grpSp>
          <p:grpSp>
            <p:nvGrpSpPr>
              <p:cNvPr id="356" name="Grafik 203">
                <a:extLst>
                  <a:ext uri="{FF2B5EF4-FFF2-40B4-BE49-F238E27FC236}">
                    <a16:creationId xmlns:a16="http://schemas.microsoft.com/office/drawing/2014/main" id="{4B0E39D5-6DEA-4063-AACB-E055C965948E}"/>
                  </a:ext>
                </a:extLst>
              </p:cNvPr>
              <p:cNvGrpSpPr/>
              <p:nvPr/>
            </p:nvGrpSpPr>
            <p:grpSpPr>
              <a:xfrm>
                <a:off x="3668059" y="3531654"/>
                <a:ext cx="168710" cy="169182"/>
                <a:chOff x="3668059" y="3531654"/>
                <a:chExt cx="168710" cy="169182"/>
              </a:xfrm>
              <a:solidFill>
                <a:schemeClr val="accent1"/>
              </a:solidFill>
            </p:grpSpPr>
            <p:sp>
              <p:nvSpPr>
                <p:cNvPr id="358" name="Freihandform: Form 162">
                  <a:extLst>
                    <a:ext uri="{FF2B5EF4-FFF2-40B4-BE49-F238E27FC236}">
                      <a16:creationId xmlns:a16="http://schemas.microsoft.com/office/drawing/2014/main" id="{18C0D7B0-986E-4278-9E23-07FE6BC40A2C}"/>
                    </a:ext>
                  </a:extLst>
                </p:cNvPr>
                <p:cNvSpPr/>
                <p:nvPr/>
              </p:nvSpPr>
              <p:spPr>
                <a:xfrm>
                  <a:off x="3668059" y="3531654"/>
                  <a:ext cx="168710" cy="169182"/>
                </a:xfrm>
                <a:custGeom>
                  <a:avLst/>
                  <a:gdLst>
                    <a:gd name="connsiteX0" fmla="*/ 96367 w 168710"/>
                    <a:gd name="connsiteY0" fmla="*/ 169182 h 169182"/>
                    <a:gd name="connsiteX1" fmla="*/ 81849 w 168710"/>
                    <a:gd name="connsiteY1" fmla="*/ 163227 h 169182"/>
                    <a:gd name="connsiteX2" fmla="*/ 69803 w 168710"/>
                    <a:gd name="connsiteY2" fmla="*/ 167092 h 169182"/>
                    <a:gd name="connsiteX3" fmla="*/ 51375 w 168710"/>
                    <a:gd name="connsiteY3" fmla="*/ 155855 h 169182"/>
                    <a:gd name="connsiteX4" fmla="*/ 44723 w 168710"/>
                    <a:gd name="connsiteY4" fmla="*/ 156934 h 169182"/>
                    <a:gd name="connsiteX5" fmla="*/ 24047 w 168710"/>
                    <a:gd name="connsiteY5" fmla="*/ 137809 h 169182"/>
                    <a:gd name="connsiteX6" fmla="*/ 6967 w 168710"/>
                    <a:gd name="connsiteY6" fmla="*/ 117403 h 169182"/>
                    <a:gd name="connsiteX7" fmla="*/ 8810 w 168710"/>
                    <a:gd name="connsiteY7" fmla="*/ 108908 h 169182"/>
                    <a:gd name="connsiteX8" fmla="*/ 0 w 168710"/>
                    <a:gd name="connsiteY8" fmla="*/ 91918 h 169182"/>
                    <a:gd name="connsiteX9" fmla="*/ 5506 w 168710"/>
                    <a:gd name="connsiteY9" fmla="*/ 77849 h 169182"/>
                    <a:gd name="connsiteX10" fmla="*/ 1618 w 168710"/>
                    <a:gd name="connsiteY10" fmla="*/ 65803 h 169182"/>
                    <a:gd name="connsiteX11" fmla="*/ 14788 w 168710"/>
                    <a:gd name="connsiteY11" fmla="*/ 46521 h 169182"/>
                    <a:gd name="connsiteX12" fmla="*/ 14450 w 168710"/>
                    <a:gd name="connsiteY12" fmla="*/ 42835 h 169182"/>
                    <a:gd name="connsiteX13" fmla="*/ 36632 w 168710"/>
                    <a:gd name="connsiteY13" fmla="*/ 22159 h 169182"/>
                    <a:gd name="connsiteX14" fmla="*/ 56364 w 168710"/>
                    <a:gd name="connsiteY14" fmla="*/ 7776 h 169182"/>
                    <a:gd name="connsiteX15" fmla="*/ 64657 w 168710"/>
                    <a:gd name="connsiteY15" fmla="*/ 9506 h 169182"/>
                    <a:gd name="connsiteX16" fmla="*/ 82029 w 168710"/>
                    <a:gd name="connsiteY16" fmla="*/ 0 h 169182"/>
                    <a:gd name="connsiteX17" fmla="*/ 97019 w 168710"/>
                    <a:gd name="connsiteY17" fmla="*/ 6427 h 169182"/>
                    <a:gd name="connsiteX18" fmla="*/ 108188 w 168710"/>
                    <a:gd name="connsiteY18" fmla="*/ 3169 h 169182"/>
                    <a:gd name="connsiteX19" fmla="*/ 128303 w 168710"/>
                    <a:gd name="connsiteY19" fmla="*/ 18856 h 169182"/>
                    <a:gd name="connsiteX20" fmla="*/ 150529 w 168710"/>
                    <a:gd name="connsiteY20" fmla="*/ 39554 h 169182"/>
                    <a:gd name="connsiteX21" fmla="*/ 150079 w 168710"/>
                    <a:gd name="connsiteY21" fmla="*/ 43869 h 169182"/>
                    <a:gd name="connsiteX22" fmla="*/ 163946 w 168710"/>
                    <a:gd name="connsiteY22" fmla="*/ 63421 h 169182"/>
                    <a:gd name="connsiteX23" fmla="*/ 160934 w 168710"/>
                    <a:gd name="connsiteY23" fmla="*/ 74141 h 169182"/>
                    <a:gd name="connsiteX24" fmla="*/ 168710 w 168710"/>
                    <a:gd name="connsiteY24" fmla="*/ 90277 h 169182"/>
                    <a:gd name="connsiteX25" fmla="*/ 158035 w 168710"/>
                    <a:gd name="connsiteY25" fmla="*/ 108391 h 169182"/>
                    <a:gd name="connsiteX26" fmla="*/ 159451 w 168710"/>
                    <a:gd name="connsiteY26" fmla="*/ 115942 h 169182"/>
                    <a:gd name="connsiteX27" fmla="*/ 141854 w 168710"/>
                    <a:gd name="connsiteY27" fmla="*/ 136438 h 169182"/>
                    <a:gd name="connsiteX28" fmla="*/ 141854 w 168710"/>
                    <a:gd name="connsiteY28" fmla="*/ 136843 h 169182"/>
                    <a:gd name="connsiteX29" fmla="*/ 121111 w 168710"/>
                    <a:gd name="connsiteY29" fmla="*/ 157586 h 169182"/>
                    <a:gd name="connsiteX30" fmla="*/ 115335 w 168710"/>
                    <a:gd name="connsiteY30" fmla="*/ 156777 h 169182"/>
                    <a:gd name="connsiteX31" fmla="*/ 96367 w 168710"/>
                    <a:gd name="connsiteY31" fmla="*/ 169182 h 169182"/>
                    <a:gd name="connsiteX32" fmla="*/ 82748 w 168710"/>
                    <a:gd name="connsiteY32" fmla="*/ 145338 h 169182"/>
                    <a:gd name="connsiteX33" fmla="*/ 83265 w 168710"/>
                    <a:gd name="connsiteY33" fmla="*/ 145360 h 169182"/>
                    <a:gd name="connsiteX34" fmla="*/ 89153 w 168710"/>
                    <a:gd name="connsiteY34" fmla="*/ 150304 h 169182"/>
                    <a:gd name="connsiteX35" fmla="*/ 96367 w 168710"/>
                    <a:gd name="connsiteY35" fmla="*/ 155923 h 169182"/>
                    <a:gd name="connsiteX36" fmla="*/ 103851 w 168710"/>
                    <a:gd name="connsiteY36" fmla="*/ 148439 h 169182"/>
                    <a:gd name="connsiteX37" fmla="*/ 103694 w 168710"/>
                    <a:gd name="connsiteY37" fmla="*/ 146888 h 169182"/>
                    <a:gd name="connsiteX38" fmla="*/ 107424 w 168710"/>
                    <a:gd name="connsiteY38" fmla="*/ 139652 h 169182"/>
                    <a:gd name="connsiteX39" fmla="*/ 115358 w 168710"/>
                    <a:gd name="connsiteY39" fmla="*/ 141495 h 169182"/>
                    <a:gd name="connsiteX40" fmla="*/ 121156 w 168710"/>
                    <a:gd name="connsiteY40" fmla="*/ 144259 h 169182"/>
                    <a:gd name="connsiteX41" fmla="*/ 128640 w 168710"/>
                    <a:gd name="connsiteY41" fmla="*/ 136775 h 169182"/>
                    <a:gd name="connsiteX42" fmla="*/ 127246 w 168710"/>
                    <a:gd name="connsiteY42" fmla="*/ 132460 h 169182"/>
                    <a:gd name="connsiteX43" fmla="*/ 126729 w 168710"/>
                    <a:gd name="connsiteY43" fmla="*/ 125583 h 169182"/>
                    <a:gd name="connsiteX44" fmla="*/ 131089 w 168710"/>
                    <a:gd name="connsiteY44" fmla="*/ 122167 h 169182"/>
                    <a:gd name="connsiteX45" fmla="*/ 135539 w 168710"/>
                    <a:gd name="connsiteY45" fmla="*/ 122639 h 169182"/>
                    <a:gd name="connsiteX46" fmla="*/ 138775 w 168710"/>
                    <a:gd name="connsiteY46" fmla="*/ 123381 h 169182"/>
                    <a:gd name="connsiteX47" fmla="*/ 146259 w 168710"/>
                    <a:gd name="connsiteY47" fmla="*/ 115897 h 169182"/>
                    <a:gd name="connsiteX48" fmla="*/ 143023 w 168710"/>
                    <a:gd name="connsiteY48" fmla="*/ 109739 h 169182"/>
                    <a:gd name="connsiteX49" fmla="*/ 140528 w 168710"/>
                    <a:gd name="connsiteY49" fmla="*/ 102031 h 169182"/>
                    <a:gd name="connsiteX50" fmla="*/ 147360 w 168710"/>
                    <a:gd name="connsiteY50" fmla="*/ 97671 h 169182"/>
                    <a:gd name="connsiteX51" fmla="*/ 148035 w 168710"/>
                    <a:gd name="connsiteY51" fmla="*/ 97693 h 169182"/>
                    <a:gd name="connsiteX52" fmla="*/ 155496 w 168710"/>
                    <a:gd name="connsiteY52" fmla="*/ 90232 h 169182"/>
                    <a:gd name="connsiteX53" fmla="*/ 148641 w 168710"/>
                    <a:gd name="connsiteY53" fmla="*/ 82793 h 169182"/>
                    <a:gd name="connsiteX54" fmla="*/ 142528 w 168710"/>
                    <a:gd name="connsiteY54" fmla="*/ 76186 h 169182"/>
                    <a:gd name="connsiteX55" fmla="*/ 146371 w 168710"/>
                    <a:gd name="connsiteY55" fmla="*/ 70141 h 169182"/>
                    <a:gd name="connsiteX56" fmla="*/ 150731 w 168710"/>
                    <a:gd name="connsiteY56" fmla="*/ 63376 h 169182"/>
                    <a:gd name="connsiteX57" fmla="*/ 143270 w 168710"/>
                    <a:gd name="connsiteY57" fmla="*/ 55892 h 169182"/>
                    <a:gd name="connsiteX58" fmla="*/ 141225 w 168710"/>
                    <a:gd name="connsiteY58" fmla="*/ 56184 h 169182"/>
                    <a:gd name="connsiteX59" fmla="*/ 134146 w 168710"/>
                    <a:gd name="connsiteY59" fmla="*/ 53487 h 169182"/>
                    <a:gd name="connsiteX60" fmla="*/ 133651 w 168710"/>
                    <a:gd name="connsiteY60" fmla="*/ 52634 h 169182"/>
                    <a:gd name="connsiteX61" fmla="*/ 135000 w 168710"/>
                    <a:gd name="connsiteY61" fmla="*/ 44880 h 169182"/>
                    <a:gd name="connsiteX62" fmla="*/ 137337 w 168710"/>
                    <a:gd name="connsiteY62" fmla="*/ 39486 h 169182"/>
                    <a:gd name="connsiteX63" fmla="*/ 129853 w 168710"/>
                    <a:gd name="connsiteY63" fmla="*/ 32003 h 169182"/>
                    <a:gd name="connsiteX64" fmla="*/ 125538 w 168710"/>
                    <a:gd name="connsiteY64" fmla="*/ 33374 h 169182"/>
                    <a:gd name="connsiteX65" fmla="*/ 117830 w 168710"/>
                    <a:gd name="connsiteY65" fmla="*/ 33329 h 169182"/>
                    <a:gd name="connsiteX66" fmla="*/ 115380 w 168710"/>
                    <a:gd name="connsiteY66" fmla="*/ 26025 h 169182"/>
                    <a:gd name="connsiteX67" fmla="*/ 115695 w 168710"/>
                    <a:gd name="connsiteY67" fmla="*/ 23822 h 169182"/>
                    <a:gd name="connsiteX68" fmla="*/ 108233 w 168710"/>
                    <a:gd name="connsiteY68" fmla="*/ 16361 h 169182"/>
                    <a:gd name="connsiteX69" fmla="*/ 101604 w 168710"/>
                    <a:gd name="connsiteY69" fmla="*/ 20361 h 169182"/>
                    <a:gd name="connsiteX70" fmla="*/ 94952 w 168710"/>
                    <a:gd name="connsiteY70" fmla="*/ 23845 h 169182"/>
                    <a:gd name="connsiteX71" fmla="*/ 89311 w 168710"/>
                    <a:gd name="connsiteY71" fmla="*/ 18856 h 169182"/>
                    <a:gd name="connsiteX72" fmla="*/ 82074 w 168710"/>
                    <a:gd name="connsiteY72" fmla="*/ 13170 h 169182"/>
                    <a:gd name="connsiteX73" fmla="*/ 74613 w 168710"/>
                    <a:gd name="connsiteY73" fmla="*/ 20519 h 169182"/>
                    <a:gd name="connsiteX74" fmla="*/ 69916 w 168710"/>
                    <a:gd name="connsiteY74" fmla="*/ 26721 h 169182"/>
                    <a:gd name="connsiteX75" fmla="*/ 62567 w 168710"/>
                    <a:gd name="connsiteY75" fmla="*/ 24159 h 169182"/>
                    <a:gd name="connsiteX76" fmla="*/ 56432 w 168710"/>
                    <a:gd name="connsiteY76" fmla="*/ 20923 h 169182"/>
                    <a:gd name="connsiteX77" fmla="*/ 48948 w 168710"/>
                    <a:gd name="connsiteY77" fmla="*/ 28407 h 169182"/>
                    <a:gd name="connsiteX78" fmla="*/ 49060 w 168710"/>
                    <a:gd name="connsiteY78" fmla="*/ 29531 h 169182"/>
                    <a:gd name="connsiteX79" fmla="*/ 46273 w 168710"/>
                    <a:gd name="connsiteY79" fmla="*/ 36138 h 169182"/>
                    <a:gd name="connsiteX80" fmla="*/ 39104 w 168710"/>
                    <a:gd name="connsiteY80" fmla="*/ 36318 h 169182"/>
                    <a:gd name="connsiteX81" fmla="*/ 35239 w 168710"/>
                    <a:gd name="connsiteY81" fmla="*/ 35239 h 169182"/>
                    <a:gd name="connsiteX82" fmla="*/ 27755 w 168710"/>
                    <a:gd name="connsiteY82" fmla="*/ 42723 h 169182"/>
                    <a:gd name="connsiteX83" fmla="*/ 29508 w 168710"/>
                    <a:gd name="connsiteY83" fmla="*/ 47532 h 169182"/>
                    <a:gd name="connsiteX84" fmla="*/ 30182 w 168710"/>
                    <a:gd name="connsiteY84" fmla="*/ 55016 h 169182"/>
                    <a:gd name="connsiteX85" fmla="*/ 23440 w 168710"/>
                    <a:gd name="connsiteY85" fmla="*/ 58319 h 169182"/>
                    <a:gd name="connsiteX86" fmla="*/ 14922 w 168710"/>
                    <a:gd name="connsiteY86" fmla="*/ 65713 h 169182"/>
                    <a:gd name="connsiteX87" fmla="*/ 19215 w 168710"/>
                    <a:gd name="connsiteY87" fmla="*/ 72455 h 169182"/>
                    <a:gd name="connsiteX88" fmla="*/ 22991 w 168710"/>
                    <a:gd name="connsiteY88" fmla="*/ 78860 h 169182"/>
                    <a:gd name="connsiteX89" fmla="*/ 18451 w 168710"/>
                    <a:gd name="connsiteY89" fmla="*/ 84749 h 169182"/>
                    <a:gd name="connsiteX90" fmla="*/ 13304 w 168710"/>
                    <a:gd name="connsiteY90" fmla="*/ 91828 h 169182"/>
                    <a:gd name="connsiteX91" fmla="*/ 20136 w 168710"/>
                    <a:gd name="connsiteY91" fmla="*/ 99267 h 169182"/>
                    <a:gd name="connsiteX92" fmla="*/ 25957 w 168710"/>
                    <a:gd name="connsiteY92" fmla="*/ 104121 h 169182"/>
                    <a:gd name="connsiteX93" fmla="*/ 23417 w 168710"/>
                    <a:gd name="connsiteY93" fmla="*/ 111268 h 169182"/>
                    <a:gd name="connsiteX94" fmla="*/ 20271 w 168710"/>
                    <a:gd name="connsiteY94" fmla="*/ 117335 h 169182"/>
                    <a:gd name="connsiteX95" fmla="*/ 29822 w 168710"/>
                    <a:gd name="connsiteY95" fmla="*/ 124505 h 169182"/>
                    <a:gd name="connsiteX96" fmla="*/ 36587 w 168710"/>
                    <a:gd name="connsiteY96" fmla="*/ 126392 h 169182"/>
                    <a:gd name="connsiteX97" fmla="*/ 37846 w 168710"/>
                    <a:gd name="connsiteY97" fmla="*/ 133314 h 169182"/>
                    <a:gd name="connsiteX98" fmla="*/ 37284 w 168710"/>
                    <a:gd name="connsiteY98" fmla="*/ 136146 h 169182"/>
                    <a:gd name="connsiteX99" fmla="*/ 44768 w 168710"/>
                    <a:gd name="connsiteY99" fmla="*/ 143630 h 169182"/>
                    <a:gd name="connsiteX100" fmla="*/ 50611 w 168710"/>
                    <a:gd name="connsiteY100" fmla="*/ 140798 h 169182"/>
                    <a:gd name="connsiteX101" fmla="*/ 58252 w 168710"/>
                    <a:gd name="connsiteY101" fmla="*/ 138753 h 169182"/>
                    <a:gd name="connsiteX102" fmla="*/ 62409 w 168710"/>
                    <a:gd name="connsiteY102" fmla="*/ 145495 h 169182"/>
                    <a:gd name="connsiteX103" fmla="*/ 62365 w 168710"/>
                    <a:gd name="connsiteY103" fmla="*/ 146282 h 169182"/>
                    <a:gd name="connsiteX104" fmla="*/ 69848 w 168710"/>
                    <a:gd name="connsiteY104" fmla="*/ 153765 h 169182"/>
                    <a:gd name="connsiteX105" fmla="*/ 76680 w 168710"/>
                    <a:gd name="connsiteY105" fmla="*/ 149271 h 169182"/>
                    <a:gd name="connsiteX106" fmla="*/ 82748 w 168710"/>
                    <a:gd name="connsiteY106" fmla="*/ 145338 h 169182"/>
                    <a:gd name="connsiteX107" fmla="*/ 139539 w 168710"/>
                    <a:gd name="connsiteY107" fmla="*/ 49689 h 169182"/>
                    <a:gd name="connsiteX108" fmla="*/ 139607 w 168710"/>
                    <a:gd name="connsiteY108" fmla="*/ 49689 h 169182"/>
                    <a:gd name="connsiteX109" fmla="*/ 139539 w 168710"/>
                    <a:gd name="connsiteY109" fmla="*/ 49689 h 16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168710" h="169182">
                      <a:moveTo>
                        <a:pt x="96367" y="169182"/>
                      </a:moveTo>
                      <a:cubicBezTo>
                        <a:pt x="90794" y="169182"/>
                        <a:pt x="85625" y="166958"/>
                        <a:pt x="81849" y="163227"/>
                      </a:cubicBezTo>
                      <a:cubicBezTo>
                        <a:pt x="78411" y="165677"/>
                        <a:pt x="74231" y="167092"/>
                        <a:pt x="69803" y="167092"/>
                      </a:cubicBezTo>
                      <a:cubicBezTo>
                        <a:pt x="61803" y="167092"/>
                        <a:pt x="54836" y="162530"/>
                        <a:pt x="51375" y="155855"/>
                      </a:cubicBezTo>
                      <a:cubicBezTo>
                        <a:pt x="49262" y="156575"/>
                        <a:pt x="47015" y="156934"/>
                        <a:pt x="44723" y="156934"/>
                      </a:cubicBezTo>
                      <a:cubicBezTo>
                        <a:pt x="33823" y="156934"/>
                        <a:pt x="24878" y="148484"/>
                        <a:pt x="24047" y="137809"/>
                      </a:cubicBezTo>
                      <a:cubicBezTo>
                        <a:pt x="14360" y="136078"/>
                        <a:pt x="6967" y="127583"/>
                        <a:pt x="6967" y="117403"/>
                      </a:cubicBezTo>
                      <a:cubicBezTo>
                        <a:pt x="6967" y="114436"/>
                        <a:pt x="7618" y="111537"/>
                        <a:pt x="8810" y="108908"/>
                      </a:cubicBezTo>
                      <a:cubicBezTo>
                        <a:pt x="3438" y="105177"/>
                        <a:pt x="0" y="98952"/>
                        <a:pt x="0" y="91918"/>
                      </a:cubicBezTo>
                      <a:cubicBezTo>
                        <a:pt x="0" y="86569"/>
                        <a:pt x="2045" y="81580"/>
                        <a:pt x="5506" y="77849"/>
                      </a:cubicBezTo>
                      <a:cubicBezTo>
                        <a:pt x="3034" y="74388"/>
                        <a:pt x="1618" y="70186"/>
                        <a:pt x="1618" y="65803"/>
                      </a:cubicBezTo>
                      <a:cubicBezTo>
                        <a:pt x="1618" y="57038"/>
                        <a:pt x="7079" y="49532"/>
                        <a:pt x="14788" y="46521"/>
                      </a:cubicBezTo>
                      <a:cubicBezTo>
                        <a:pt x="14563" y="45307"/>
                        <a:pt x="14450" y="44071"/>
                        <a:pt x="14450" y="42835"/>
                      </a:cubicBezTo>
                      <a:cubicBezTo>
                        <a:pt x="14450" y="30924"/>
                        <a:pt x="24788" y="21395"/>
                        <a:pt x="36632" y="22159"/>
                      </a:cubicBezTo>
                      <a:cubicBezTo>
                        <a:pt x="39329" y="13821"/>
                        <a:pt x="47150" y="7776"/>
                        <a:pt x="56364" y="7776"/>
                      </a:cubicBezTo>
                      <a:cubicBezTo>
                        <a:pt x="59263" y="7776"/>
                        <a:pt x="62072" y="8383"/>
                        <a:pt x="64657" y="9506"/>
                      </a:cubicBezTo>
                      <a:cubicBezTo>
                        <a:pt x="68365" y="3798"/>
                        <a:pt x="74792" y="0"/>
                        <a:pt x="82029" y="0"/>
                      </a:cubicBezTo>
                      <a:cubicBezTo>
                        <a:pt x="87850" y="0"/>
                        <a:pt x="93221" y="2427"/>
                        <a:pt x="97019" y="6427"/>
                      </a:cubicBezTo>
                      <a:cubicBezTo>
                        <a:pt x="100300" y="4337"/>
                        <a:pt x="104143" y="3169"/>
                        <a:pt x="108188" y="3169"/>
                      </a:cubicBezTo>
                      <a:cubicBezTo>
                        <a:pt x="117875" y="3169"/>
                        <a:pt x="126033" y="9844"/>
                        <a:pt x="128303" y="18856"/>
                      </a:cubicBezTo>
                      <a:cubicBezTo>
                        <a:pt x="140146" y="18159"/>
                        <a:pt x="150529" y="27598"/>
                        <a:pt x="150529" y="39554"/>
                      </a:cubicBezTo>
                      <a:cubicBezTo>
                        <a:pt x="150529" y="41015"/>
                        <a:pt x="150372" y="42475"/>
                        <a:pt x="150079" y="43869"/>
                      </a:cubicBezTo>
                      <a:cubicBezTo>
                        <a:pt x="158148" y="46701"/>
                        <a:pt x="163946" y="54409"/>
                        <a:pt x="163946" y="63421"/>
                      </a:cubicBezTo>
                      <a:cubicBezTo>
                        <a:pt x="163946" y="67264"/>
                        <a:pt x="162867" y="70950"/>
                        <a:pt x="160934" y="74141"/>
                      </a:cubicBezTo>
                      <a:cubicBezTo>
                        <a:pt x="165676" y="77961"/>
                        <a:pt x="168710" y="83827"/>
                        <a:pt x="168710" y="90277"/>
                      </a:cubicBezTo>
                      <a:cubicBezTo>
                        <a:pt x="168710" y="98053"/>
                        <a:pt x="164395" y="104840"/>
                        <a:pt x="158035" y="108391"/>
                      </a:cubicBezTo>
                      <a:cubicBezTo>
                        <a:pt x="158957" y="110773"/>
                        <a:pt x="159451" y="113313"/>
                        <a:pt x="159451" y="115942"/>
                      </a:cubicBezTo>
                      <a:cubicBezTo>
                        <a:pt x="159451" y="126302"/>
                        <a:pt x="151787" y="134932"/>
                        <a:pt x="141854" y="136438"/>
                      </a:cubicBezTo>
                      <a:cubicBezTo>
                        <a:pt x="141854" y="136573"/>
                        <a:pt x="141854" y="136708"/>
                        <a:pt x="141854" y="136843"/>
                      </a:cubicBezTo>
                      <a:cubicBezTo>
                        <a:pt x="141854" y="148282"/>
                        <a:pt x="132550" y="157586"/>
                        <a:pt x="121111" y="157586"/>
                      </a:cubicBezTo>
                      <a:cubicBezTo>
                        <a:pt x="119133" y="157586"/>
                        <a:pt x="117200" y="157316"/>
                        <a:pt x="115335" y="156777"/>
                      </a:cubicBezTo>
                      <a:cubicBezTo>
                        <a:pt x="112166" y="164036"/>
                        <a:pt x="104862" y="169182"/>
                        <a:pt x="96367" y="169182"/>
                      </a:cubicBezTo>
                      <a:close/>
                      <a:moveTo>
                        <a:pt x="82748" y="145338"/>
                      </a:moveTo>
                      <a:cubicBezTo>
                        <a:pt x="82905" y="145338"/>
                        <a:pt x="83085" y="145338"/>
                        <a:pt x="83265" y="145360"/>
                      </a:cubicBezTo>
                      <a:cubicBezTo>
                        <a:pt x="86074" y="145585"/>
                        <a:pt x="88457" y="147563"/>
                        <a:pt x="89153" y="150304"/>
                      </a:cubicBezTo>
                      <a:cubicBezTo>
                        <a:pt x="90007" y="153608"/>
                        <a:pt x="92974" y="155923"/>
                        <a:pt x="96367" y="155923"/>
                      </a:cubicBezTo>
                      <a:cubicBezTo>
                        <a:pt x="100503" y="155923"/>
                        <a:pt x="103851" y="152574"/>
                        <a:pt x="103851" y="148439"/>
                      </a:cubicBezTo>
                      <a:cubicBezTo>
                        <a:pt x="103851" y="147922"/>
                        <a:pt x="103784" y="147405"/>
                        <a:pt x="103694" y="146888"/>
                      </a:cubicBezTo>
                      <a:cubicBezTo>
                        <a:pt x="103154" y="143899"/>
                        <a:pt x="104683" y="140933"/>
                        <a:pt x="107424" y="139652"/>
                      </a:cubicBezTo>
                      <a:cubicBezTo>
                        <a:pt x="110166" y="138393"/>
                        <a:pt x="113447" y="139135"/>
                        <a:pt x="115358" y="141495"/>
                      </a:cubicBezTo>
                      <a:cubicBezTo>
                        <a:pt x="116773" y="143248"/>
                        <a:pt x="118886" y="144259"/>
                        <a:pt x="121156" y="144259"/>
                      </a:cubicBezTo>
                      <a:cubicBezTo>
                        <a:pt x="125269" y="144259"/>
                        <a:pt x="128640" y="140910"/>
                        <a:pt x="128640" y="136775"/>
                      </a:cubicBezTo>
                      <a:cubicBezTo>
                        <a:pt x="128640" y="135225"/>
                        <a:pt x="128145" y="133741"/>
                        <a:pt x="127246" y="132460"/>
                      </a:cubicBezTo>
                      <a:cubicBezTo>
                        <a:pt x="125808" y="130438"/>
                        <a:pt x="125606" y="127786"/>
                        <a:pt x="126729" y="125583"/>
                      </a:cubicBezTo>
                      <a:cubicBezTo>
                        <a:pt x="127628" y="123830"/>
                        <a:pt x="129224" y="122594"/>
                        <a:pt x="131089" y="122167"/>
                      </a:cubicBezTo>
                      <a:cubicBezTo>
                        <a:pt x="132595" y="121808"/>
                        <a:pt x="134168" y="121988"/>
                        <a:pt x="135539" y="122639"/>
                      </a:cubicBezTo>
                      <a:cubicBezTo>
                        <a:pt x="136550" y="123134"/>
                        <a:pt x="137652" y="123381"/>
                        <a:pt x="138775" y="123381"/>
                      </a:cubicBezTo>
                      <a:cubicBezTo>
                        <a:pt x="142888" y="123381"/>
                        <a:pt x="146259" y="120032"/>
                        <a:pt x="146259" y="115897"/>
                      </a:cubicBezTo>
                      <a:cubicBezTo>
                        <a:pt x="146259" y="113425"/>
                        <a:pt x="145045" y="111133"/>
                        <a:pt x="143023" y="109739"/>
                      </a:cubicBezTo>
                      <a:cubicBezTo>
                        <a:pt x="140528" y="108031"/>
                        <a:pt x="139517" y="104863"/>
                        <a:pt x="140528" y="102031"/>
                      </a:cubicBezTo>
                      <a:cubicBezTo>
                        <a:pt x="141562" y="99199"/>
                        <a:pt x="144304" y="97401"/>
                        <a:pt x="147360" y="97671"/>
                      </a:cubicBezTo>
                      <a:lnTo>
                        <a:pt x="148035" y="97693"/>
                      </a:lnTo>
                      <a:cubicBezTo>
                        <a:pt x="152147" y="97693"/>
                        <a:pt x="155496" y="94345"/>
                        <a:pt x="155496" y="90232"/>
                      </a:cubicBezTo>
                      <a:cubicBezTo>
                        <a:pt x="155496" y="86367"/>
                        <a:pt x="152484" y="83085"/>
                        <a:pt x="148641" y="82793"/>
                      </a:cubicBezTo>
                      <a:cubicBezTo>
                        <a:pt x="145203" y="82524"/>
                        <a:pt x="142528" y="79647"/>
                        <a:pt x="142528" y="76186"/>
                      </a:cubicBezTo>
                      <a:cubicBezTo>
                        <a:pt x="142528" y="73602"/>
                        <a:pt x="144034" y="71219"/>
                        <a:pt x="146371" y="70141"/>
                      </a:cubicBezTo>
                      <a:cubicBezTo>
                        <a:pt x="149001" y="68927"/>
                        <a:pt x="150731" y="66275"/>
                        <a:pt x="150731" y="63376"/>
                      </a:cubicBezTo>
                      <a:cubicBezTo>
                        <a:pt x="150731" y="59263"/>
                        <a:pt x="147383" y="55892"/>
                        <a:pt x="143270" y="55892"/>
                      </a:cubicBezTo>
                      <a:cubicBezTo>
                        <a:pt x="142663" y="55892"/>
                        <a:pt x="141989" y="55982"/>
                        <a:pt x="141225" y="56184"/>
                      </a:cubicBezTo>
                      <a:cubicBezTo>
                        <a:pt x="138528" y="56836"/>
                        <a:pt x="135719" y="55780"/>
                        <a:pt x="134146" y="53487"/>
                      </a:cubicBezTo>
                      <a:cubicBezTo>
                        <a:pt x="133988" y="53240"/>
                        <a:pt x="133786" y="52903"/>
                        <a:pt x="133651" y="52634"/>
                      </a:cubicBezTo>
                      <a:cubicBezTo>
                        <a:pt x="132348" y="50049"/>
                        <a:pt x="132887" y="46903"/>
                        <a:pt x="135000" y="44880"/>
                      </a:cubicBezTo>
                      <a:cubicBezTo>
                        <a:pt x="136506" y="43442"/>
                        <a:pt x="137337" y="41532"/>
                        <a:pt x="137337" y="39486"/>
                      </a:cubicBezTo>
                      <a:cubicBezTo>
                        <a:pt x="137337" y="35351"/>
                        <a:pt x="133988" y="32003"/>
                        <a:pt x="129853" y="32003"/>
                      </a:cubicBezTo>
                      <a:cubicBezTo>
                        <a:pt x="128303" y="32003"/>
                        <a:pt x="126819" y="32475"/>
                        <a:pt x="125538" y="33374"/>
                      </a:cubicBezTo>
                      <a:cubicBezTo>
                        <a:pt x="123223" y="35014"/>
                        <a:pt x="120122" y="34992"/>
                        <a:pt x="117830" y="33329"/>
                      </a:cubicBezTo>
                      <a:cubicBezTo>
                        <a:pt x="115537" y="31666"/>
                        <a:pt x="114549" y="28744"/>
                        <a:pt x="115380" y="26025"/>
                      </a:cubicBezTo>
                      <a:cubicBezTo>
                        <a:pt x="115605" y="25305"/>
                        <a:pt x="115695" y="24586"/>
                        <a:pt x="115695" y="23822"/>
                      </a:cubicBezTo>
                      <a:cubicBezTo>
                        <a:pt x="115695" y="19710"/>
                        <a:pt x="112346" y="16361"/>
                        <a:pt x="108233" y="16361"/>
                      </a:cubicBezTo>
                      <a:cubicBezTo>
                        <a:pt x="105447" y="16361"/>
                        <a:pt x="102907" y="17889"/>
                        <a:pt x="101604" y="20361"/>
                      </a:cubicBezTo>
                      <a:cubicBezTo>
                        <a:pt x="100323" y="22788"/>
                        <a:pt x="97648" y="24182"/>
                        <a:pt x="94952" y="23845"/>
                      </a:cubicBezTo>
                      <a:cubicBezTo>
                        <a:pt x="92210" y="23508"/>
                        <a:pt x="89985" y="21530"/>
                        <a:pt x="89311" y="18856"/>
                      </a:cubicBezTo>
                      <a:cubicBezTo>
                        <a:pt x="88479" y="15507"/>
                        <a:pt x="85512" y="13170"/>
                        <a:pt x="82074" y="13170"/>
                      </a:cubicBezTo>
                      <a:cubicBezTo>
                        <a:pt x="77961" y="13170"/>
                        <a:pt x="74703" y="16383"/>
                        <a:pt x="74613" y="20519"/>
                      </a:cubicBezTo>
                      <a:cubicBezTo>
                        <a:pt x="74545" y="23395"/>
                        <a:pt x="72658" y="25890"/>
                        <a:pt x="69916" y="26721"/>
                      </a:cubicBezTo>
                      <a:cubicBezTo>
                        <a:pt x="67174" y="27553"/>
                        <a:pt x="64185" y="26519"/>
                        <a:pt x="62567" y="24159"/>
                      </a:cubicBezTo>
                      <a:cubicBezTo>
                        <a:pt x="61151" y="22137"/>
                        <a:pt x="58859" y="20923"/>
                        <a:pt x="56432" y="20923"/>
                      </a:cubicBezTo>
                      <a:cubicBezTo>
                        <a:pt x="52319" y="20923"/>
                        <a:pt x="48948" y="24272"/>
                        <a:pt x="48948" y="28407"/>
                      </a:cubicBezTo>
                      <a:cubicBezTo>
                        <a:pt x="48948" y="28789"/>
                        <a:pt x="48993" y="29171"/>
                        <a:pt x="49060" y="29531"/>
                      </a:cubicBezTo>
                      <a:cubicBezTo>
                        <a:pt x="49509" y="32093"/>
                        <a:pt x="48408" y="34677"/>
                        <a:pt x="46273" y="36138"/>
                      </a:cubicBezTo>
                      <a:cubicBezTo>
                        <a:pt x="44116" y="37599"/>
                        <a:pt x="41329" y="37689"/>
                        <a:pt x="39104" y="36318"/>
                      </a:cubicBezTo>
                      <a:cubicBezTo>
                        <a:pt x="37935" y="35598"/>
                        <a:pt x="36610" y="35239"/>
                        <a:pt x="35239" y="35239"/>
                      </a:cubicBezTo>
                      <a:cubicBezTo>
                        <a:pt x="31126" y="35239"/>
                        <a:pt x="27755" y="38588"/>
                        <a:pt x="27755" y="42723"/>
                      </a:cubicBezTo>
                      <a:cubicBezTo>
                        <a:pt x="27755" y="44970"/>
                        <a:pt x="28699" y="46588"/>
                        <a:pt x="29508" y="47532"/>
                      </a:cubicBezTo>
                      <a:cubicBezTo>
                        <a:pt x="31261" y="49645"/>
                        <a:pt x="31530" y="52611"/>
                        <a:pt x="30182" y="55016"/>
                      </a:cubicBezTo>
                      <a:cubicBezTo>
                        <a:pt x="28834" y="57420"/>
                        <a:pt x="26182" y="58701"/>
                        <a:pt x="23440" y="58319"/>
                      </a:cubicBezTo>
                      <a:cubicBezTo>
                        <a:pt x="19058" y="57645"/>
                        <a:pt x="14922" y="61241"/>
                        <a:pt x="14922" y="65713"/>
                      </a:cubicBezTo>
                      <a:cubicBezTo>
                        <a:pt x="14922" y="68590"/>
                        <a:pt x="16608" y="71242"/>
                        <a:pt x="19215" y="72455"/>
                      </a:cubicBezTo>
                      <a:cubicBezTo>
                        <a:pt x="21664" y="73624"/>
                        <a:pt x="23170" y="76141"/>
                        <a:pt x="22991" y="78860"/>
                      </a:cubicBezTo>
                      <a:cubicBezTo>
                        <a:pt x="22833" y="81557"/>
                        <a:pt x="21013" y="83895"/>
                        <a:pt x="18451" y="84749"/>
                      </a:cubicBezTo>
                      <a:cubicBezTo>
                        <a:pt x="15372" y="85760"/>
                        <a:pt x="13304" y="88614"/>
                        <a:pt x="13304" y="91828"/>
                      </a:cubicBezTo>
                      <a:cubicBezTo>
                        <a:pt x="13304" y="95671"/>
                        <a:pt x="16293" y="98929"/>
                        <a:pt x="20136" y="99267"/>
                      </a:cubicBezTo>
                      <a:cubicBezTo>
                        <a:pt x="22901" y="99514"/>
                        <a:pt x="25215" y="101447"/>
                        <a:pt x="25957" y="104121"/>
                      </a:cubicBezTo>
                      <a:cubicBezTo>
                        <a:pt x="26699" y="106795"/>
                        <a:pt x="25687" y="109649"/>
                        <a:pt x="23417" y="111268"/>
                      </a:cubicBezTo>
                      <a:cubicBezTo>
                        <a:pt x="21440" y="112661"/>
                        <a:pt x="20271" y="114953"/>
                        <a:pt x="20271" y="117335"/>
                      </a:cubicBezTo>
                      <a:cubicBezTo>
                        <a:pt x="20271" y="122145"/>
                        <a:pt x="24878" y="125943"/>
                        <a:pt x="29822" y="124505"/>
                      </a:cubicBezTo>
                      <a:cubicBezTo>
                        <a:pt x="32295" y="123785"/>
                        <a:pt x="34879" y="124527"/>
                        <a:pt x="36587" y="126392"/>
                      </a:cubicBezTo>
                      <a:cubicBezTo>
                        <a:pt x="38295" y="128258"/>
                        <a:pt x="38789" y="130955"/>
                        <a:pt x="37846" y="133314"/>
                      </a:cubicBezTo>
                      <a:cubicBezTo>
                        <a:pt x="37486" y="134236"/>
                        <a:pt x="37284" y="135180"/>
                        <a:pt x="37284" y="136146"/>
                      </a:cubicBezTo>
                      <a:cubicBezTo>
                        <a:pt x="37284" y="140259"/>
                        <a:pt x="40632" y="143630"/>
                        <a:pt x="44768" y="143630"/>
                      </a:cubicBezTo>
                      <a:cubicBezTo>
                        <a:pt x="47060" y="143630"/>
                        <a:pt x="49195" y="142596"/>
                        <a:pt x="50611" y="140798"/>
                      </a:cubicBezTo>
                      <a:cubicBezTo>
                        <a:pt x="52431" y="138506"/>
                        <a:pt x="55533" y="137697"/>
                        <a:pt x="58252" y="138753"/>
                      </a:cubicBezTo>
                      <a:cubicBezTo>
                        <a:pt x="60971" y="139832"/>
                        <a:pt x="62657" y="142573"/>
                        <a:pt x="62409" y="145495"/>
                      </a:cubicBezTo>
                      <a:cubicBezTo>
                        <a:pt x="62387" y="145742"/>
                        <a:pt x="62365" y="146034"/>
                        <a:pt x="62365" y="146282"/>
                      </a:cubicBezTo>
                      <a:cubicBezTo>
                        <a:pt x="62365" y="150417"/>
                        <a:pt x="65713" y="153765"/>
                        <a:pt x="69848" y="153765"/>
                      </a:cubicBezTo>
                      <a:cubicBezTo>
                        <a:pt x="72815" y="153765"/>
                        <a:pt x="75489" y="151990"/>
                        <a:pt x="76680" y="149271"/>
                      </a:cubicBezTo>
                      <a:cubicBezTo>
                        <a:pt x="77737" y="146888"/>
                        <a:pt x="80119" y="145338"/>
                        <a:pt x="82748" y="145338"/>
                      </a:cubicBezTo>
                      <a:close/>
                      <a:moveTo>
                        <a:pt x="139539" y="49689"/>
                      </a:moveTo>
                      <a:lnTo>
                        <a:pt x="139607" y="49689"/>
                      </a:lnTo>
                      <a:lnTo>
                        <a:pt x="139539" y="49689"/>
                      </a:lnTo>
                      <a:close/>
                    </a:path>
                  </a:pathLst>
                </a:custGeom>
                <a:solidFill>
                  <a:schemeClr val="accent1"/>
                </a:solidFill>
                <a:ln w="2243" cap="flat">
                  <a:noFill/>
                  <a:prstDash val="solid"/>
                  <a:miter/>
                </a:ln>
              </p:spPr>
              <p:txBody>
                <a:bodyPr rtlCol="0" anchor="ctr"/>
                <a:lstStyle/>
                <a:p>
                  <a:endParaRPr lang="en-GB" dirty="0"/>
                </a:p>
              </p:txBody>
            </p:sp>
            <p:sp>
              <p:nvSpPr>
                <p:cNvPr id="359" name="Freihandform: Form 163">
                  <a:extLst>
                    <a:ext uri="{FF2B5EF4-FFF2-40B4-BE49-F238E27FC236}">
                      <a16:creationId xmlns:a16="http://schemas.microsoft.com/office/drawing/2014/main" id="{8EDE4803-FC7C-4DC6-9D5A-043C90D7C844}"/>
                    </a:ext>
                  </a:extLst>
                </p:cNvPr>
                <p:cNvSpPr/>
                <p:nvPr/>
              </p:nvSpPr>
              <p:spPr>
                <a:xfrm>
                  <a:off x="3706242" y="3570017"/>
                  <a:ext cx="92412" cy="92412"/>
                </a:xfrm>
                <a:custGeom>
                  <a:avLst/>
                  <a:gdLst>
                    <a:gd name="connsiteX0" fmla="*/ 46206 w 92412"/>
                    <a:gd name="connsiteY0" fmla="*/ 92412 h 92412"/>
                    <a:gd name="connsiteX1" fmla="*/ 0 w 92412"/>
                    <a:gd name="connsiteY1" fmla="*/ 46206 h 92412"/>
                    <a:gd name="connsiteX2" fmla="*/ 46206 w 92412"/>
                    <a:gd name="connsiteY2" fmla="*/ 0 h 92412"/>
                    <a:gd name="connsiteX3" fmla="*/ 92412 w 92412"/>
                    <a:gd name="connsiteY3" fmla="*/ 46206 h 92412"/>
                    <a:gd name="connsiteX4" fmla="*/ 46206 w 92412"/>
                    <a:gd name="connsiteY4" fmla="*/ 92412 h 92412"/>
                    <a:gd name="connsiteX5" fmla="*/ 46206 w 92412"/>
                    <a:gd name="connsiteY5" fmla="*/ 13260 h 92412"/>
                    <a:gd name="connsiteX6" fmla="*/ 13259 w 92412"/>
                    <a:gd name="connsiteY6" fmla="*/ 46206 h 92412"/>
                    <a:gd name="connsiteX7" fmla="*/ 46206 w 92412"/>
                    <a:gd name="connsiteY7" fmla="*/ 79153 h 92412"/>
                    <a:gd name="connsiteX8" fmla="*/ 79152 w 92412"/>
                    <a:gd name="connsiteY8" fmla="*/ 46206 h 92412"/>
                    <a:gd name="connsiteX9" fmla="*/ 46206 w 92412"/>
                    <a:gd name="connsiteY9" fmla="*/ 13260 h 9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412" h="92412">
                      <a:moveTo>
                        <a:pt x="46206" y="92412"/>
                      </a:moveTo>
                      <a:cubicBezTo>
                        <a:pt x="20721" y="92412"/>
                        <a:pt x="0" y="71691"/>
                        <a:pt x="0" y="46206"/>
                      </a:cubicBezTo>
                      <a:cubicBezTo>
                        <a:pt x="0" y="20721"/>
                        <a:pt x="20721" y="0"/>
                        <a:pt x="46206" y="0"/>
                      </a:cubicBezTo>
                      <a:cubicBezTo>
                        <a:pt x="71691" y="0"/>
                        <a:pt x="92412" y="20721"/>
                        <a:pt x="92412" y="46206"/>
                      </a:cubicBezTo>
                      <a:cubicBezTo>
                        <a:pt x="92412" y="71691"/>
                        <a:pt x="71669" y="92412"/>
                        <a:pt x="46206" y="92412"/>
                      </a:cubicBezTo>
                      <a:close/>
                      <a:moveTo>
                        <a:pt x="46206" y="13260"/>
                      </a:moveTo>
                      <a:cubicBezTo>
                        <a:pt x="28025" y="13260"/>
                        <a:pt x="13259" y="28047"/>
                        <a:pt x="13259" y="46206"/>
                      </a:cubicBezTo>
                      <a:cubicBezTo>
                        <a:pt x="13259" y="64365"/>
                        <a:pt x="28047" y="79153"/>
                        <a:pt x="46206" y="79153"/>
                      </a:cubicBezTo>
                      <a:cubicBezTo>
                        <a:pt x="64365" y="79153"/>
                        <a:pt x="79152" y="64365"/>
                        <a:pt x="79152" y="46206"/>
                      </a:cubicBezTo>
                      <a:cubicBezTo>
                        <a:pt x="79152" y="28047"/>
                        <a:pt x="64365" y="13260"/>
                        <a:pt x="46206" y="13260"/>
                      </a:cubicBezTo>
                      <a:close/>
                    </a:path>
                  </a:pathLst>
                </a:custGeom>
                <a:solidFill>
                  <a:schemeClr val="accent1"/>
                </a:solidFill>
                <a:ln w="2243" cap="flat">
                  <a:noFill/>
                  <a:prstDash val="solid"/>
                  <a:miter/>
                </a:ln>
              </p:spPr>
              <p:txBody>
                <a:bodyPr rtlCol="0" anchor="ctr"/>
                <a:lstStyle/>
                <a:p>
                  <a:endParaRPr lang="en-GB" dirty="0"/>
                </a:p>
              </p:txBody>
            </p:sp>
          </p:grpSp>
          <p:sp>
            <p:nvSpPr>
              <p:cNvPr id="357" name="Freihandform: Form 164">
                <a:extLst>
                  <a:ext uri="{FF2B5EF4-FFF2-40B4-BE49-F238E27FC236}">
                    <a16:creationId xmlns:a16="http://schemas.microsoft.com/office/drawing/2014/main" id="{E374A1DA-84B1-4D95-AD87-D1A3D9B86F53}"/>
                  </a:ext>
                </a:extLst>
              </p:cNvPr>
              <p:cNvSpPr/>
              <p:nvPr/>
            </p:nvSpPr>
            <p:spPr>
              <a:xfrm>
                <a:off x="3708602" y="3675621"/>
                <a:ext cx="92794" cy="84793"/>
              </a:xfrm>
              <a:custGeom>
                <a:avLst/>
                <a:gdLst>
                  <a:gd name="connsiteX0" fmla="*/ 86187 w 92794"/>
                  <a:gd name="connsiteY0" fmla="*/ 84794 h 84793"/>
                  <a:gd name="connsiteX1" fmla="*/ 82501 w 92794"/>
                  <a:gd name="connsiteY1" fmla="*/ 83670 h 84793"/>
                  <a:gd name="connsiteX2" fmla="*/ 46408 w 92794"/>
                  <a:gd name="connsiteY2" fmla="*/ 59623 h 84793"/>
                  <a:gd name="connsiteX3" fmla="*/ 10315 w 92794"/>
                  <a:gd name="connsiteY3" fmla="*/ 83670 h 84793"/>
                  <a:gd name="connsiteX4" fmla="*/ 3506 w 92794"/>
                  <a:gd name="connsiteY4" fmla="*/ 84007 h 84793"/>
                  <a:gd name="connsiteX5" fmla="*/ 0 w 92794"/>
                  <a:gd name="connsiteY5" fmla="*/ 78164 h 84793"/>
                  <a:gd name="connsiteX6" fmla="*/ 0 w 92794"/>
                  <a:gd name="connsiteY6" fmla="*/ 6630 h 84793"/>
                  <a:gd name="connsiteX7" fmla="*/ 6630 w 92794"/>
                  <a:gd name="connsiteY7" fmla="*/ 0 h 84793"/>
                  <a:gd name="connsiteX8" fmla="*/ 13260 w 92794"/>
                  <a:gd name="connsiteY8" fmla="*/ 6630 h 84793"/>
                  <a:gd name="connsiteX9" fmla="*/ 13260 w 92794"/>
                  <a:gd name="connsiteY9" fmla="*/ 65781 h 84793"/>
                  <a:gd name="connsiteX10" fmla="*/ 42723 w 92794"/>
                  <a:gd name="connsiteY10" fmla="*/ 46139 h 84793"/>
                  <a:gd name="connsiteX11" fmla="*/ 50072 w 92794"/>
                  <a:gd name="connsiteY11" fmla="*/ 46139 h 84793"/>
                  <a:gd name="connsiteX12" fmla="*/ 79535 w 92794"/>
                  <a:gd name="connsiteY12" fmla="*/ 65781 h 84793"/>
                  <a:gd name="connsiteX13" fmla="*/ 79535 w 92794"/>
                  <a:gd name="connsiteY13" fmla="*/ 6630 h 84793"/>
                  <a:gd name="connsiteX14" fmla="*/ 86164 w 92794"/>
                  <a:gd name="connsiteY14" fmla="*/ 0 h 84793"/>
                  <a:gd name="connsiteX15" fmla="*/ 92794 w 92794"/>
                  <a:gd name="connsiteY15" fmla="*/ 6630 h 84793"/>
                  <a:gd name="connsiteX16" fmla="*/ 92794 w 92794"/>
                  <a:gd name="connsiteY16" fmla="*/ 78164 h 84793"/>
                  <a:gd name="connsiteX17" fmla="*/ 89288 w 92794"/>
                  <a:gd name="connsiteY17" fmla="*/ 84007 h 84793"/>
                  <a:gd name="connsiteX18" fmla="*/ 86187 w 92794"/>
                  <a:gd name="connsiteY18" fmla="*/ 84794 h 8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2794" h="84793">
                    <a:moveTo>
                      <a:pt x="86187" y="84794"/>
                    </a:moveTo>
                    <a:cubicBezTo>
                      <a:pt x="84906" y="84794"/>
                      <a:pt x="83625" y="84411"/>
                      <a:pt x="82501" y="83670"/>
                    </a:cubicBezTo>
                    <a:lnTo>
                      <a:pt x="46408" y="59623"/>
                    </a:lnTo>
                    <a:lnTo>
                      <a:pt x="10315" y="83670"/>
                    </a:lnTo>
                    <a:cubicBezTo>
                      <a:pt x="8293" y="85018"/>
                      <a:pt x="5663" y="85153"/>
                      <a:pt x="3506" y="84007"/>
                    </a:cubicBezTo>
                    <a:cubicBezTo>
                      <a:pt x="1348" y="82861"/>
                      <a:pt x="0" y="80613"/>
                      <a:pt x="0" y="78164"/>
                    </a:cubicBezTo>
                    <a:lnTo>
                      <a:pt x="0" y="6630"/>
                    </a:lnTo>
                    <a:cubicBezTo>
                      <a:pt x="0" y="2967"/>
                      <a:pt x="2967" y="0"/>
                      <a:pt x="6630" y="0"/>
                    </a:cubicBezTo>
                    <a:cubicBezTo>
                      <a:pt x="10293" y="0"/>
                      <a:pt x="13260" y="2967"/>
                      <a:pt x="13260" y="6630"/>
                    </a:cubicBezTo>
                    <a:lnTo>
                      <a:pt x="13260" y="65781"/>
                    </a:lnTo>
                    <a:lnTo>
                      <a:pt x="42723" y="46139"/>
                    </a:lnTo>
                    <a:cubicBezTo>
                      <a:pt x="44947" y="44655"/>
                      <a:pt x="47847" y="44655"/>
                      <a:pt x="50072" y="46139"/>
                    </a:cubicBezTo>
                    <a:lnTo>
                      <a:pt x="79535" y="65781"/>
                    </a:lnTo>
                    <a:lnTo>
                      <a:pt x="79535" y="6630"/>
                    </a:lnTo>
                    <a:cubicBezTo>
                      <a:pt x="79535" y="2967"/>
                      <a:pt x="82501" y="0"/>
                      <a:pt x="86164" y="0"/>
                    </a:cubicBezTo>
                    <a:cubicBezTo>
                      <a:pt x="89827" y="0"/>
                      <a:pt x="92794" y="2967"/>
                      <a:pt x="92794" y="6630"/>
                    </a:cubicBezTo>
                    <a:lnTo>
                      <a:pt x="92794" y="78164"/>
                    </a:lnTo>
                    <a:cubicBezTo>
                      <a:pt x="92794" y="80613"/>
                      <a:pt x="91446" y="82861"/>
                      <a:pt x="89288" y="84007"/>
                    </a:cubicBezTo>
                    <a:cubicBezTo>
                      <a:pt x="88322" y="84524"/>
                      <a:pt x="87266" y="84794"/>
                      <a:pt x="86187" y="84794"/>
                    </a:cubicBezTo>
                    <a:close/>
                  </a:path>
                </a:pathLst>
              </a:custGeom>
              <a:solidFill>
                <a:schemeClr val="accent1"/>
              </a:solidFill>
              <a:ln w="2243" cap="flat">
                <a:noFill/>
                <a:prstDash val="solid"/>
                <a:miter/>
              </a:ln>
            </p:spPr>
            <p:txBody>
              <a:bodyPr rtlCol="0" anchor="ctr"/>
              <a:lstStyle/>
              <a:p>
                <a:endParaRPr lang="en-GB" dirty="0"/>
              </a:p>
            </p:txBody>
          </p:sp>
        </p:grpSp>
      </p:grpSp>
      <p:grpSp>
        <p:nvGrpSpPr>
          <p:cNvPr id="371" name="Group 370">
            <a:extLst>
              <a:ext uri="{FF2B5EF4-FFF2-40B4-BE49-F238E27FC236}">
                <a16:creationId xmlns:a16="http://schemas.microsoft.com/office/drawing/2014/main" id="{28D17308-41B3-4A9D-A877-5DFC2D0D08BB}"/>
              </a:ext>
            </a:extLst>
          </p:cNvPr>
          <p:cNvGrpSpPr>
            <a:grpSpLocks noChangeAspect="1"/>
          </p:cNvGrpSpPr>
          <p:nvPr/>
        </p:nvGrpSpPr>
        <p:grpSpPr>
          <a:xfrm>
            <a:off x="8045489" y="1631099"/>
            <a:ext cx="594359" cy="341771"/>
            <a:chOff x="1707266" y="3431052"/>
            <a:chExt cx="514321" cy="295747"/>
          </a:xfrm>
        </p:grpSpPr>
        <p:grpSp>
          <p:nvGrpSpPr>
            <p:cNvPr id="372" name="Group 371">
              <a:extLst>
                <a:ext uri="{FF2B5EF4-FFF2-40B4-BE49-F238E27FC236}">
                  <a16:creationId xmlns:a16="http://schemas.microsoft.com/office/drawing/2014/main" id="{90A9A50F-A31B-44AF-85F8-81557E57D12C}"/>
                </a:ext>
              </a:extLst>
            </p:cNvPr>
            <p:cNvGrpSpPr/>
            <p:nvPr/>
          </p:nvGrpSpPr>
          <p:grpSpPr>
            <a:xfrm>
              <a:off x="1713693" y="3431052"/>
              <a:ext cx="501466" cy="270039"/>
              <a:chOff x="1713693" y="3431052"/>
              <a:chExt cx="501466" cy="270039"/>
            </a:xfrm>
          </p:grpSpPr>
          <p:sp>
            <p:nvSpPr>
              <p:cNvPr id="380" name="Freihandform: Form 476">
                <a:extLst>
                  <a:ext uri="{FF2B5EF4-FFF2-40B4-BE49-F238E27FC236}">
                    <a16:creationId xmlns:a16="http://schemas.microsoft.com/office/drawing/2014/main" id="{623A6843-6BB3-4D6D-8CD6-79C1500C6414}"/>
                  </a:ext>
                </a:extLst>
              </p:cNvPr>
              <p:cNvSpPr/>
              <p:nvPr/>
            </p:nvSpPr>
            <p:spPr>
              <a:xfrm>
                <a:off x="1874422" y="3546790"/>
                <a:ext cx="180009" cy="154301"/>
              </a:xfrm>
              <a:custGeom>
                <a:avLst/>
                <a:gdLst>
                  <a:gd name="connsiteX0" fmla="*/ 180010 w 180009"/>
                  <a:gd name="connsiteY0" fmla="*/ 154301 h 154301"/>
                  <a:gd name="connsiteX1" fmla="*/ 167156 w 180009"/>
                  <a:gd name="connsiteY1" fmla="*/ 154301 h 154301"/>
                  <a:gd name="connsiteX2" fmla="*/ 167156 w 180009"/>
                  <a:gd name="connsiteY2" fmla="*/ 83578 h 154301"/>
                  <a:gd name="connsiteX3" fmla="*/ 102859 w 180009"/>
                  <a:gd name="connsiteY3" fmla="*/ 12854 h 154301"/>
                  <a:gd name="connsiteX4" fmla="*/ 77151 w 180009"/>
                  <a:gd name="connsiteY4" fmla="*/ 12854 h 154301"/>
                  <a:gd name="connsiteX5" fmla="*/ 12854 w 180009"/>
                  <a:gd name="connsiteY5" fmla="*/ 83578 h 154301"/>
                  <a:gd name="connsiteX6" fmla="*/ 12854 w 180009"/>
                  <a:gd name="connsiteY6" fmla="*/ 154301 h 154301"/>
                  <a:gd name="connsiteX7" fmla="*/ 0 w 180009"/>
                  <a:gd name="connsiteY7" fmla="*/ 154301 h 154301"/>
                  <a:gd name="connsiteX8" fmla="*/ 0 w 180009"/>
                  <a:gd name="connsiteY8" fmla="*/ 83578 h 154301"/>
                  <a:gd name="connsiteX9" fmla="*/ 77151 w 180009"/>
                  <a:gd name="connsiteY9" fmla="*/ 0 h 154301"/>
                  <a:gd name="connsiteX10" fmla="*/ 102859 w 180009"/>
                  <a:gd name="connsiteY10" fmla="*/ 0 h 154301"/>
                  <a:gd name="connsiteX11" fmla="*/ 180010 w 180009"/>
                  <a:gd name="connsiteY11" fmla="*/ 83578 h 154301"/>
                  <a:gd name="connsiteX12" fmla="*/ 180010 w 180009"/>
                  <a:gd name="connsiteY12" fmla="*/ 154301 h 154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009" h="154301">
                    <a:moveTo>
                      <a:pt x="180010" y="154301"/>
                    </a:moveTo>
                    <a:lnTo>
                      <a:pt x="167156" y="154301"/>
                    </a:lnTo>
                    <a:lnTo>
                      <a:pt x="167156" y="83578"/>
                    </a:lnTo>
                    <a:cubicBezTo>
                      <a:pt x="167156" y="42611"/>
                      <a:pt x="140122" y="12854"/>
                      <a:pt x="102859" y="12854"/>
                    </a:cubicBezTo>
                    <a:lnTo>
                      <a:pt x="77151" y="12854"/>
                    </a:lnTo>
                    <a:cubicBezTo>
                      <a:pt x="39888" y="12854"/>
                      <a:pt x="12854" y="42586"/>
                      <a:pt x="12854" y="83578"/>
                    </a:cubicBezTo>
                    <a:lnTo>
                      <a:pt x="12854" y="154301"/>
                    </a:lnTo>
                    <a:lnTo>
                      <a:pt x="0" y="154301"/>
                    </a:lnTo>
                    <a:lnTo>
                      <a:pt x="0" y="83578"/>
                    </a:lnTo>
                    <a:cubicBezTo>
                      <a:pt x="0" y="35938"/>
                      <a:pt x="33166" y="0"/>
                      <a:pt x="77151" y="0"/>
                    </a:cubicBezTo>
                    <a:lnTo>
                      <a:pt x="102859" y="0"/>
                    </a:lnTo>
                    <a:cubicBezTo>
                      <a:pt x="146844" y="0"/>
                      <a:pt x="180010" y="35938"/>
                      <a:pt x="180010" y="83578"/>
                    </a:cubicBezTo>
                    <a:lnTo>
                      <a:pt x="180010" y="154301"/>
                    </a:lnTo>
                    <a:close/>
                  </a:path>
                </a:pathLst>
              </a:custGeom>
              <a:solidFill>
                <a:schemeClr val="tx2"/>
              </a:solidFill>
              <a:ln w="2447" cap="flat">
                <a:noFill/>
                <a:prstDash val="solid"/>
                <a:miter/>
              </a:ln>
            </p:spPr>
            <p:txBody>
              <a:bodyPr rtlCol="0" anchor="ctr"/>
              <a:lstStyle/>
              <a:p>
                <a:endParaRPr lang="en-GB" dirty="0"/>
              </a:p>
            </p:txBody>
          </p:sp>
          <p:sp>
            <p:nvSpPr>
              <p:cNvPr id="381" name="Freihandform: Form 477">
                <a:extLst>
                  <a:ext uri="{FF2B5EF4-FFF2-40B4-BE49-F238E27FC236}">
                    <a16:creationId xmlns:a16="http://schemas.microsoft.com/office/drawing/2014/main" id="{21257C3A-9FAC-4AFD-A84F-2428C58C1824}"/>
                  </a:ext>
                </a:extLst>
              </p:cNvPr>
              <p:cNvSpPr/>
              <p:nvPr/>
            </p:nvSpPr>
            <p:spPr>
              <a:xfrm>
                <a:off x="1919412" y="3431052"/>
                <a:ext cx="90029" cy="102883"/>
              </a:xfrm>
              <a:custGeom>
                <a:avLst/>
                <a:gdLst>
                  <a:gd name="connsiteX0" fmla="*/ 45015 w 90029"/>
                  <a:gd name="connsiteY0" fmla="*/ 102884 h 102883"/>
                  <a:gd name="connsiteX1" fmla="*/ 0 w 90029"/>
                  <a:gd name="connsiteY1" fmla="*/ 51442 h 102883"/>
                  <a:gd name="connsiteX2" fmla="*/ 45015 w 90029"/>
                  <a:gd name="connsiteY2" fmla="*/ 0 h 102883"/>
                  <a:gd name="connsiteX3" fmla="*/ 90030 w 90029"/>
                  <a:gd name="connsiteY3" fmla="*/ 51442 h 102883"/>
                  <a:gd name="connsiteX4" fmla="*/ 45015 w 90029"/>
                  <a:gd name="connsiteY4" fmla="*/ 102884 h 102883"/>
                  <a:gd name="connsiteX5" fmla="*/ 45015 w 90029"/>
                  <a:gd name="connsiteY5" fmla="*/ 12879 h 102883"/>
                  <a:gd name="connsiteX6" fmla="*/ 12879 w 90029"/>
                  <a:gd name="connsiteY6" fmla="*/ 51442 h 102883"/>
                  <a:gd name="connsiteX7" fmla="*/ 45015 w 90029"/>
                  <a:gd name="connsiteY7" fmla="*/ 90005 h 102883"/>
                  <a:gd name="connsiteX8" fmla="*/ 77151 w 90029"/>
                  <a:gd name="connsiteY8" fmla="*/ 51442 h 102883"/>
                  <a:gd name="connsiteX9" fmla="*/ 45015 w 90029"/>
                  <a:gd name="connsiteY9" fmla="*/ 12879 h 10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029" h="102883">
                    <a:moveTo>
                      <a:pt x="45015" y="102884"/>
                    </a:moveTo>
                    <a:cubicBezTo>
                      <a:pt x="18104" y="102884"/>
                      <a:pt x="0" y="82204"/>
                      <a:pt x="0" y="51442"/>
                    </a:cubicBezTo>
                    <a:cubicBezTo>
                      <a:pt x="0" y="20680"/>
                      <a:pt x="18079" y="0"/>
                      <a:pt x="45015" y="0"/>
                    </a:cubicBezTo>
                    <a:cubicBezTo>
                      <a:pt x="71950" y="0"/>
                      <a:pt x="90030" y="20680"/>
                      <a:pt x="90030" y="51442"/>
                    </a:cubicBezTo>
                    <a:cubicBezTo>
                      <a:pt x="90030" y="82204"/>
                      <a:pt x="71925" y="102884"/>
                      <a:pt x="45015" y="102884"/>
                    </a:cubicBezTo>
                    <a:close/>
                    <a:moveTo>
                      <a:pt x="45015" y="12879"/>
                    </a:moveTo>
                    <a:cubicBezTo>
                      <a:pt x="21293" y="12879"/>
                      <a:pt x="12879" y="33657"/>
                      <a:pt x="12879" y="51442"/>
                    </a:cubicBezTo>
                    <a:cubicBezTo>
                      <a:pt x="12879" y="69227"/>
                      <a:pt x="21293" y="90005"/>
                      <a:pt x="45015" y="90005"/>
                    </a:cubicBezTo>
                    <a:cubicBezTo>
                      <a:pt x="68736" y="90005"/>
                      <a:pt x="77151" y="69227"/>
                      <a:pt x="77151" y="51442"/>
                    </a:cubicBezTo>
                    <a:cubicBezTo>
                      <a:pt x="77151" y="33657"/>
                      <a:pt x="68736" y="12879"/>
                      <a:pt x="45015" y="12879"/>
                    </a:cubicBezTo>
                    <a:close/>
                  </a:path>
                </a:pathLst>
              </a:custGeom>
              <a:solidFill>
                <a:schemeClr val="tx2"/>
              </a:solidFill>
              <a:ln w="2447" cap="flat">
                <a:noFill/>
                <a:prstDash val="solid"/>
                <a:miter/>
              </a:ln>
            </p:spPr>
            <p:txBody>
              <a:bodyPr rtlCol="0" anchor="ctr"/>
              <a:lstStyle/>
              <a:p>
                <a:endParaRPr lang="en-GB" dirty="0"/>
              </a:p>
            </p:txBody>
          </p:sp>
          <p:sp>
            <p:nvSpPr>
              <p:cNvPr id="382" name="Freihandform: Form 478">
                <a:extLst>
                  <a:ext uri="{FF2B5EF4-FFF2-40B4-BE49-F238E27FC236}">
                    <a16:creationId xmlns:a16="http://schemas.microsoft.com/office/drawing/2014/main" id="{1EA159F5-DB8A-43DF-90FA-A5D19D13503C}"/>
                  </a:ext>
                </a:extLst>
              </p:cNvPr>
              <p:cNvSpPr/>
              <p:nvPr/>
            </p:nvSpPr>
            <p:spPr>
              <a:xfrm>
                <a:off x="1957999" y="3598232"/>
                <a:ext cx="12854" cy="12854"/>
              </a:xfrm>
              <a:custGeom>
                <a:avLst/>
                <a:gdLst>
                  <a:gd name="connsiteX0" fmla="*/ 0 w 12854"/>
                  <a:gd name="connsiteY0" fmla="*/ 0 h 12854"/>
                  <a:gd name="connsiteX1" fmla="*/ 12854 w 12854"/>
                  <a:gd name="connsiteY1" fmla="*/ 0 h 12854"/>
                  <a:gd name="connsiteX2" fmla="*/ 12854 w 12854"/>
                  <a:gd name="connsiteY2" fmla="*/ 12854 h 12854"/>
                  <a:gd name="connsiteX3" fmla="*/ 0 w 12854"/>
                  <a:gd name="connsiteY3" fmla="*/ 12854 h 12854"/>
                </a:gdLst>
                <a:ahLst/>
                <a:cxnLst>
                  <a:cxn ang="0">
                    <a:pos x="connsiteX0" y="connsiteY0"/>
                  </a:cxn>
                  <a:cxn ang="0">
                    <a:pos x="connsiteX1" y="connsiteY1"/>
                  </a:cxn>
                  <a:cxn ang="0">
                    <a:pos x="connsiteX2" y="connsiteY2"/>
                  </a:cxn>
                  <a:cxn ang="0">
                    <a:pos x="connsiteX3" y="connsiteY3"/>
                  </a:cxn>
                </a:cxnLst>
                <a:rect l="l" t="t" r="r" b="b"/>
                <a:pathLst>
                  <a:path w="12854" h="12854">
                    <a:moveTo>
                      <a:pt x="0" y="0"/>
                    </a:moveTo>
                    <a:lnTo>
                      <a:pt x="12854" y="0"/>
                    </a:lnTo>
                    <a:lnTo>
                      <a:pt x="12854" y="12854"/>
                    </a:lnTo>
                    <a:lnTo>
                      <a:pt x="0" y="12854"/>
                    </a:lnTo>
                    <a:close/>
                  </a:path>
                </a:pathLst>
              </a:custGeom>
              <a:solidFill>
                <a:schemeClr val="tx2"/>
              </a:solidFill>
              <a:ln w="2447" cap="flat">
                <a:noFill/>
                <a:prstDash val="solid"/>
                <a:miter/>
              </a:ln>
            </p:spPr>
            <p:txBody>
              <a:bodyPr rtlCol="0" anchor="ctr"/>
              <a:lstStyle/>
              <a:p>
                <a:endParaRPr lang="en-GB" dirty="0"/>
              </a:p>
            </p:txBody>
          </p:sp>
          <p:sp>
            <p:nvSpPr>
              <p:cNvPr id="383" name="Freihandform: Form 483">
                <a:extLst>
                  <a:ext uri="{FF2B5EF4-FFF2-40B4-BE49-F238E27FC236}">
                    <a16:creationId xmlns:a16="http://schemas.microsoft.com/office/drawing/2014/main" id="{9C4FB919-FF4C-4535-8B13-B43630326B12}"/>
                  </a:ext>
                </a:extLst>
              </p:cNvPr>
              <p:cNvSpPr/>
              <p:nvPr/>
            </p:nvSpPr>
            <p:spPr>
              <a:xfrm>
                <a:off x="2073713" y="3540363"/>
                <a:ext cx="141446" cy="90004"/>
              </a:xfrm>
              <a:custGeom>
                <a:avLst/>
                <a:gdLst>
                  <a:gd name="connsiteX0" fmla="*/ 141447 w 141446"/>
                  <a:gd name="connsiteY0" fmla="*/ 90005 h 90004"/>
                  <a:gd name="connsiteX1" fmla="*/ 128593 w 141446"/>
                  <a:gd name="connsiteY1" fmla="*/ 90005 h 90004"/>
                  <a:gd name="connsiteX2" fmla="*/ 128593 w 141446"/>
                  <a:gd name="connsiteY2" fmla="*/ 57869 h 90004"/>
                  <a:gd name="connsiteX3" fmla="*/ 70723 w 141446"/>
                  <a:gd name="connsiteY3" fmla="*/ 12854 h 90004"/>
                  <a:gd name="connsiteX4" fmla="*/ 12854 w 141446"/>
                  <a:gd name="connsiteY4" fmla="*/ 57869 h 90004"/>
                  <a:gd name="connsiteX5" fmla="*/ 12854 w 141446"/>
                  <a:gd name="connsiteY5" fmla="*/ 90005 h 90004"/>
                  <a:gd name="connsiteX6" fmla="*/ 0 w 141446"/>
                  <a:gd name="connsiteY6" fmla="*/ 90005 h 90004"/>
                  <a:gd name="connsiteX7" fmla="*/ 0 w 141446"/>
                  <a:gd name="connsiteY7" fmla="*/ 57869 h 90004"/>
                  <a:gd name="connsiteX8" fmla="*/ 70723 w 141446"/>
                  <a:gd name="connsiteY8" fmla="*/ 0 h 90004"/>
                  <a:gd name="connsiteX9" fmla="*/ 141447 w 141446"/>
                  <a:gd name="connsiteY9" fmla="*/ 57869 h 90004"/>
                  <a:gd name="connsiteX10" fmla="*/ 141447 w 141446"/>
                  <a:gd name="connsiteY10" fmla="*/ 90005 h 9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446" h="90004">
                    <a:moveTo>
                      <a:pt x="141447" y="90005"/>
                    </a:moveTo>
                    <a:lnTo>
                      <a:pt x="128593" y="90005"/>
                    </a:lnTo>
                    <a:lnTo>
                      <a:pt x="128593" y="57869"/>
                    </a:lnTo>
                    <a:cubicBezTo>
                      <a:pt x="128593" y="16117"/>
                      <a:pt x="84314" y="12854"/>
                      <a:pt x="70723" y="12854"/>
                    </a:cubicBezTo>
                    <a:cubicBezTo>
                      <a:pt x="57158" y="12854"/>
                      <a:pt x="12854" y="16092"/>
                      <a:pt x="12854" y="57869"/>
                    </a:cubicBezTo>
                    <a:lnTo>
                      <a:pt x="12854" y="90005"/>
                    </a:lnTo>
                    <a:lnTo>
                      <a:pt x="0" y="90005"/>
                    </a:lnTo>
                    <a:lnTo>
                      <a:pt x="0" y="57869"/>
                    </a:lnTo>
                    <a:cubicBezTo>
                      <a:pt x="0" y="22176"/>
                      <a:pt x="27107" y="0"/>
                      <a:pt x="70723" y="0"/>
                    </a:cubicBezTo>
                    <a:cubicBezTo>
                      <a:pt x="114340" y="0"/>
                      <a:pt x="141447" y="22176"/>
                      <a:pt x="141447" y="57869"/>
                    </a:cubicBezTo>
                    <a:lnTo>
                      <a:pt x="141447" y="90005"/>
                    </a:lnTo>
                    <a:close/>
                  </a:path>
                </a:pathLst>
              </a:custGeom>
              <a:solidFill>
                <a:schemeClr val="tx2"/>
              </a:solidFill>
              <a:ln w="2447" cap="flat">
                <a:noFill/>
                <a:prstDash val="solid"/>
                <a:miter/>
              </a:ln>
            </p:spPr>
            <p:txBody>
              <a:bodyPr rtlCol="0" anchor="ctr"/>
              <a:lstStyle/>
              <a:p>
                <a:endParaRPr lang="en-GB" dirty="0"/>
              </a:p>
            </p:txBody>
          </p:sp>
          <p:sp>
            <p:nvSpPr>
              <p:cNvPr id="384" name="Freihandform: Form 484">
                <a:extLst>
                  <a:ext uri="{FF2B5EF4-FFF2-40B4-BE49-F238E27FC236}">
                    <a16:creationId xmlns:a16="http://schemas.microsoft.com/office/drawing/2014/main" id="{F8C7B710-5209-462A-98F7-B7964E2A3E14}"/>
                  </a:ext>
                </a:extLst>
              </p:cNvPr>
              <p:cNvSpPr/>
              <p:nvPr/>
            </p:nvSpPr>
            <p:spPr>
              <a:xfrm>
                <a:off x="2105874" y="3437479"/>
                <a:ext cx="77126" cy="90029"/>
              </a:xfrm>
              <a:custGeom>
                <a:avLst/>
                <a:gdLst>
                  <a:gd name="connsiteX0" fmla="*/ 38563 w 77126"/>
                  <a:gd name="connsiteY0" fmla="*/ 90030 h 90029"/>
                  <a:gd name="connsiteX1" fmla="*/ 0 w 77126"/>
                  <a:gd name="connsiteY1" fmla="*/ 45015 h 90029"/>
                  <a:gd name="connsiteX2" fmla="*/ 38563 w 77126"/>
                  <a:gd name="connsiteY2" fmla="*/ 0 h 90029"/>
                  <a:gd name="connsiteX3" fmla="*/ 77126 w 77126"/>
                  <a:gd name="connsiteY3" fmla="*/ 45015 h 90029"/>
                  <a:gd name="connsiteX4" fmla="*/ 38563 w 77126"/>
                  <a:gd name="connsiteY4" fmla="*/ 90030 h 90029"/>
                  <a:gd name="connsiteX5" fmla="*/ 38563 w 77126"/>
                  <a:gd name="connsiteY5" fmla="*/ 12879 h 90029"/>
                  <a:gd name="connsiteX6" fmla="*/ 12854 w 77126"/>
                  <a:gd name="connsiteY6" fmla="*/ 45015 h 90029"/>
                  <a:gd name="connsiteX7" fmla="*/ 38563 w 77126"/>
                  <a:gd name="connsiteY7" fmla="*/ 77151 h 90029"/>
                  <a:gd name="connsiteX8" fmla="*/ 64272 w 77126"/>
                  <a:gd name="connsiteY8" fmla="*/ 45015 h 90029"/>
                  <a:gd name="connsiteX9" fmla="*/ 38563 w 77126"/>
                  <a:gd name="connsiteY9" fmla="*/ 12879 h 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126" h="90029">
                    <a:moveTo>
                      <a:pt x="38563" y="90030"/>
                    </a:moveTo>
                    <a:cubicBezTo>
                      <a:pt x="15479" y="90030"/>
                      <a:pt x="0" y="71950"/>
                      <a:pt x="0" y="45015"/>
                    </a:cubicBezTo>
                    <a:cubicBezTo>
                      <a:pt x="0" y="18104"/>
                      <a:pt x="15504" y="0"/>
                      <a:pt x="38563" y="0"/>
                    </a:cubicBezTo>
                    <a:cubicBezTo>
                      <a:pt x="61647" y="0"/>
                      <a:pt x="77126" y="18079"/>
                      <a:pt x="77126" y="45015"/>
                    </a:cubicBezTo>
                    <a:cubicBezTo>
                      <a:pt x="77126" y="71925"/>
                      <a:pt x="61622" y="90030"/>
                      <a:pt x="38563" y="90030"/>
                    </a:cubicBezTo>
                    <a:close/>
                    <a:moveTo>
                      <a:pt x="38563" y="12879"/>
                    </a:moveTo>
                    <a:cubicBezTo>
                      <a:pt x="19600" y="12879"/>
                      <a:pt x="12854" y="29487"/>
                      <a:pt x="12854" y="45015"/>
                    </a:cubicBezTo>
                    <a:cubicBezTo>
                      <a:pt x="12854" y="60543"/>
                      <a:pt x="19600" y="77151"/>
                      <a:pt x="38563" y="77151"/>
                    </a:cubicBezTo>
                    <a:cubicBezTo>
                      <a:pt x="57526" y="77151"/>
                      <a:pt x="64272" y="60543"/>
                      <a:pt x="64272" y="45015"/>
                    </a:cubicBezTo>
                    <a:cubicBezTo>
                      <a:pt x="64272" y="29487"/>
                      <a:pt x="57526" y="12879"/>
                      <a:pt x="38563" y="12879"/>
                    </a:cubicBezTo>
                    <a:close/>
                  </a:path>
                </a:pathLst>
              </a:custGeom>
              <a:solidFill>
                <a:schemeClr val="tx2"/>
              </a:solidFill>
              <a:ln w="2447" cap="flat">
                <a:noFill/>
                <a:prstDash val="solid"/>
                <a:miter/>
              </a:ln>
            </p:spPr>
            <p:txBody>
              <a:bodyPr rtlCol="0" anchor="ctr"/>
              <a:lstStyle/>
              <a:p>
                <a:endParaRPr lang="en-GB" dirty="0"/>
              </a:p>
            </p:txBody>
          </p:sp>
          <p:sp>
            <p:nvSpPr>
              <p:cNvPr id="385" name="Freihandform: Form 488">
                <a:extLst>
                  <a:ext uri="{FF2B5EF4-FFF2-40B4-BE49-F238E27FC236}">
                    <a16:creationId xmlns:a16="http://schemas.microsoft.com/office/drawing/2014/main" id="{E8787F97-9EBB-4D03-8E17-A2CFF76C989D}"/>
                  </a:ext>
                </a:extLst>
              </p:cNvPr>
              <p:cNvSpPr/>
              <p:nvPr/>
            </p:nvSpPr>
            <p:spPr>
              <a:xfrm>
                <a:off x="1713693" y="3540363"/>
                <a:ext cx="141446" cy="90004"/>
              </a:xfrm>
              <a:custGeom>
                <a:avLst/>
                <a:gdLst>
                  <a:gd name="connsiteX0" fmla="*/ 141447 w 141446"/>
                  <a:gd name="connsiteY0" fmla="*/ 90005 h 90004"/>
                  <a:gd name="connsiteX1" fmla="*/ 128593 w 141446"/>
                  <a:gd name="connsiteY1" fmla="*/ 90005 h 90004"/>
                  <a:gd name="connsiteX2" fmla="*/ 128593 w 141446"/>
                  <a:gd name="connsiteY2" fmla="*/ 57869 h 90004"/>
                  <a:gd name="connsiteX3" fmla="*/ 70723 w 141446"/>
                  <a:gd name="connsiteY3" fmla="*/ 12854 h 90004"/>
                  <a:gd name="connsiteX4" fmla="*/ 12854 w 141446"/>
                  <a:gd name="connsiteY4" fmla="*/ 57869 h 90004"/>
                  <a:gd name="connsiteX5" fmla="*/ 12854 w 141446"/>
                  <a:gd name="connsiteY5" fmla="*/ 90005 h 90004"/>
                  <a:gd name="connsiteX6" fmla="*/ 0 w 141446"/>
                  <a:gd name="connsiteY6" fmla="*/ 90005 h 90004"/>
                  <a:gd name="connsiteX7" fmla="*/ 0 w 141446"/>
                  <a:gd name="connsiteY7" fmla="*/ 57869 h 90004"/>
                  <a:gd name="connsiteX8" fmla="*/ 70723 w 141446"/>
                  <a:gd name="connsiteY8" fmla="*/ 0 h 90004"/>
                  <a:gd name="connsiteX9" fmla="*/ 141447 w 141446"/>
                  <a:gd name="connsiteY9" fmla="*/ 57869 h 90004"/>
                  <a:gd name="connsiteX10" fmla="*/ 141447 w 141446"/>
                  <a:gd name="connsiteY10" fmla="*/ 90005 h 9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1446" h="90004">
                    <a:moveTo>
                      <a:pt x="141447" y="90005"/>
                    </a:moveTo>
                    <a:lnTo>
                      <a:pt x="128593" y="90005"/>
                    </a:lnTo>
                    <a:lnTo>
                      <a:pt x="128593" y="57869"/>
                    </a:lnTo>
                    <a:cubicBezTo>
                      <a:pt x="128593" y="16117"/>
                      <a:pt x="84314" y="12854"/>
                      <a:pt x="70723" y="12854"/>
                    </a:cubicBezTo>
                    <a:cubicBezTo>
                      <a:pt x="57133" y="12854"/>
                      <a:pt x="12854" y="16092"/>
                      <a:pt x="12854" y="57869"/>
                    </a:cubicBezTo>
                    <a:lnTo>
                      <a:pt x="12854" y="90005"/>
                    </a:lnTo>
                    <a:lnTo>
                      <a:pt x="0" y="90005"/>
                    </a:lnTo>
                    <a:lnTo>
                      <a:pt x="0" y="57869"/>
                    </a:lnTo>
                    <a:cubicBezTo>
                      <a:pt x="0" y="22176"/>
                      <a:pt x="27107" y="0"/>
                      <a:pt x="70723" y="0"/>
                    </a:cubicBezTo>
                    <a:cubicBezTo>
                      <a:pt x="114340" y="0"/>
                      <a:pt x="141447" y="22176"/>
                      <a:pt x="141447" y="57869"/>
                    </a:cubicBezTo>
                    <a:lnTo>
                      <a:pt x="141447" y="90005"/>
                    </a:lnTo>
                    <a:close/>
                  </a:path>
                </a:pathLst>
              </a:custGeom>
              <a:solidFill>
                <a:schemeClr val="tx2"/>
              </a:solidFill>
              <a:ln w="2447" cap="flat">
                <a:noFill/>
                <a:prstDash val="solid"/>
                <a:miter/>
              </a:ln>
            </p:spPr>
            <p:txBody>
              <a:bodyPr rtlCol="0" anchor="ctr"/>
              <a:lstStyle/>
              <a:p>
                <a:endParaRPr lang="en-GB" dirty="0"/>
              </a:p>
            </p:txBody>
          </p:sp>
          <p:sp>
            <p:nvSpPr>
              <p:cNvPr id="386" name="Freihandform: Form 489">
                <a:extLst>
                  <a:ext uri="{FF2B5EF4-FFF2-40B4-BE49-F238E27FC236}">
                    <a16:creationId xmlns:a16="http://schemas.microsoft.com/office/drawing/2014/main" id="{B8D06FEE-0E3F-44BE-95E9-73BC71F10D6B}"/>
                  </a:ext>
                </a:extLst>
              </p:cNvPr>
              <p:cNvSpPr/>
              <p:nvPr/>
            </p:nvSpPr>
            <p:spPr>
              <a:xfrm>
                <a:off x="1745854" y="3437479"/>
                <a:ext cx="77126" cy="90029"/>
              </a:xfrm>
              <a:custGeom>
                <a:avLst/>
                <a:gdLst>
                  <a:gd name="connsiteX0" fmla="*/ 38563 w 77126"/>
                  <a:gd name="connsiteY0" fmla="*/ 90030 h 90029"/>
                  <a:gd name="connsiteX1" fmla="*/ 0 w 77126"/>
                  <a:gd name="connsiteY1" fmla="*/ 45015 h 90029"/>
                  <a:gd name="connsiteX2" fmla="*/ 38563 w 77126"/>
                  <a:gd name="connsiteY2" fmla="*/ 0 h 90029"/>
                  <a:gd name="connsiteX3" fmla="*/ 77126 w 77126"/>
                  <a:gd name="connsiteY3" fmla="*/ 45015 h 90029"/>
                  <a:gd name="connsiteX4" fmla="*/ 38563 w 77126"/>
                  <a:gd name="connsiteY4" fmla="*/ 90030 h 90029"/>
                  <a:gd name="connsiteX5" fmla="*/ 38563 w 77126"/>
                  <a:gd name="connsiteY5" fmla="*/ 12879 h 90029"/>
                  <a:gd name="connsiteX6" fmla="*/ 12854 w 77126"/>
                  <a:gd name="connsiteY6" fmla="*/ 45015 h 90029"/>
                  <a:gd name="connsiteX7" fmla="*/ 38563 w 77126"/>
                  <a:gd name="connsiteY7" fmla="*/ 77151 h 90029"/>
                  <a:gd name="connsiteX8" fmla="*/ 64272 w 77126"/>
                  <a:gd name="connsiteY8" fmla="*/ 45015 h 90029"/>
                  <a:gd name="connsiteX9" fmla="*/ 38563 w 77126"/>
                  <a:gd name="connsiteY9" fmla="*/ 12879 h 90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126" h="90029">
                    <a:moveTo>
                      <a:pt x="38563" y="90030"/>
                    </a:moveTo>
                    <a:cubicBezTo>
                      <a:pt x="15479" y="90030"/>
                      <a:pt x="0" y="71950"/>
                      <a:pt x="0" y="45015"/>
                    </a:cubicBezTo>
                    <a:cubicBezTo>
                      <a:pt x="0" y="18104"/>
                      <a:pt x="15504" y="0"/>
                      <a:pt x="38563" y="0"/>
                    </a:cubicBezTo>
                    <a:cubicBezTo>
                      <a:pt x="61622" y="0"/>
                      <a:pt x="77126" y="18079"/>
                      <a:pt x="77126" y="45015"/>
                    </a:cubicBezTo>
                    <a:cubicBezTo>
                      <a:pt x="77126" y="71925"/>
                      <a:pt x="61622" y="90030"/>
                      <a:pt x="38563" y="90030"/>
                    </a:cubicBezTo>
                    <a:close/>
                    <a:moveTo>
                      <a:pt x="38563" y="12879"/>
                    </a:moveTo>
                    <a:cubicBezTo>
                      <a:pt x="19600" y="12879"/>
                      <a:pt x="12854" y="29487"/>
                      <a:pt x="12854" y="45015"/>
                    </a:cubicBezTo>
                    <a:cubicBezTo>
                      <a:pt x="12854" y="60543"/>
                      <a:pt x="19600" y="77151"/>
                      <a:pt x="38563" y="77151"/>
                    </a:cubicBezTo>
                    <a:cubicBezTo>
                      <a:pt x="57526" y="77151"/>
                      <a:pt x="64272" y="60543"/>
                      <a:pt x="64272" y="45015"/>
                    </a:cubicBezTo>
                    <a:cubicBezTo>
                      <a:pt x="64272" y="29487"/>
                      <a:pt x="57526" y="12879"/>
                      <a:pt x="38563" y="12879"/>
                    </a:cubicBezTo>
                    <a:close/>
                  </a:path>
                </a:pathLst>
              </a:custGeom>
              <a:solidFill>
                <a:schemeClr val="tx2"/>
              </a:solidFill>
              <a:ln w="2447" cap="flat">
                <a:noFill/>
                <a:prstDash val="solid"/>
                <a:miter/>
              </a:ln>
            </p:spPr>
            <p:txBody>
              <a:bodyPr rtlCol="0" anchor="ctr"/>
              <a:lstStyle/>
              <a:p>
                <a:endParaRPr lang="en-GB" dirty="0"/>
              </a:p>
            </p:txBody>
          </p:sp>
        </p:grpSp>
        <p:grpSp>
          <p:nvGrpSpPr>
            <p:cNvPr id="373" name="Group 372">
              <a:extLst>
                <a:ext uri="{FF2B5EF4-FFF2-40B4-BE49-F238E27FC236}">
                  <a16:creationId xmlns:a16="http://schemas.microsoft.com/office/drawing/2014/main" id="{EB965534-2E5E-464F-AD64-C347C0D4AB10}"/>
                </a:ext>
              </a:extLst>
            </p:cNvPr>
            <p:cNvGrpSpPr/>
            <p:nvPr/>
          </p:nvGrpSpPr>
          <p:grpSpPr>
            <a:xfrm>
              <a:off x="1707266" y="3585377"/>
              <a:ext cx="514321" cy="141422"/>
              <a:chOff x="1707266" y="3585377"/>
              <a:chExt cx="514321" cy="141422"/>
            </a:xfrm>
          </p:grpSpPr>
          <p:sp>
            <p:nvSpPr>
              <p:cNvPr id="374" name="Freihandform: Form 479">
                <a:extLst>
                  <a:ext uri="{FF2B5EF4-FFF2-40B4-BE49-F238E27FC236}">
                    <a16:creationId xmlns:a16="http://schemas.microsoft.com/office/drawing/2014/main" id="{FB96E08F-6CFD-4A3E-B0AF-FE31C7C9B6B6}"/>
                  </a:ext>
                </a:extLst>
              </p:cNvPr>
              <p:cNvSpPr/>
              <p:nvPr/>
            </p:nvSpPr>
            <p:spPr>
              <a:xfrm>
                <a:off x="1790844" y="3713945"/>
                <a:ext cx="347165" cy="12854"/>
              </a:xfrm>
              <a:custGeom>
                <a:avLst/>
                <a:gdLst>
                  <a:gd name="connsiteX0" fmla="*/ 0 w 347165"/>
                  <a:gd name="connsiteY0" fmla="*/ 0 h 12854"/>
                  <a:gd name="connsiteX1" fmla="*/ 347165 w 347165"/>
                  <a:gd name="connsiteY1" fmla="*/ 0 h 12854"/>
                  <a:gd name="connsiteX2" fmla="*/ 347165 w 347165"/>
                  <a:gd name="connsiteY2" fmla="*/ 12854 h 12854"/>
                  <a:gd name="connsiteX3" fmla="*/ 0 w 347165"/>
                  <a:gd name="connsiteY3" fmla="*/ 12854 h 12854"/>
                </a:gdLst>
                <a:ahLst/>
                <a:cxnLst>
                  <a:cxn ang="0">
                    <a:pos x="connsiteX0" y="connsiteY0"/>
                  </a:cxn>
                  <a:cxn ang="0">
                    <a:pos x="connsiteX1" y="connsiteY1"/>
                  </a:cxn>
                  <a:cxn ang="0">
                    <a:pos x="connsiteX2" y="connsiteY2"/>
                  </a:cxn>
                  <a:cxn ang="0">
                    <a:pos x="connsiteX3" y="connsiteY3"/>
                  </a:cxn>
                </a:cxnLst>
                <a:rect l="l" t="t" r="r" b="b"/>
                <a:pathLst>
                  <a:path w="347165" h="12854">
                    <a:moveTo>
                      <a:pt x="0" y="0"/>
                    </a:moveTo>
                    <a:lnTo>
                      <a:pt x="347165" y="0"/>
                    </a:lnTo>
                    <a:lnTo>
                      <a:pt x="347165" y="12854"/>
                    </a:lnTo>
                    <a:lnTo>
                      <a:pt x="0" y="12854"/>
                    </a:lnTo>
                    <a:close/>
                  </a:path>
                </a:pathLst>
              </a:custGeom>
              <a:solidFill>
                <a:schemeClr val="accent1"/>
              </a:solidFill>
              <a:ln w="2447" cap="flat">
                <a:noFill/>
                <a:prstDash val="solid"/>
                <a:miter/>
              </a:ln>
            </p:spPr>
            <p:txBody>
              <a:bodyPr rtlCol="0" anchor="ctr"/>
              <a:lstStyle/>
              <a:p>
                <a:endParaRPr lang="en-GB" dirty="0"/>
              </a:p>
            </p:txBody>
          </p:sp>
          <p:sp>
            <p:nvSpPr>
              <p:cNvPr id="375" name="Freihandform: Form 480">
                <a:extLst>
                  <a:ext uri="{FF2B5EF4-FFF2-40B4-BE49-F238E27FC236}">
                    <a16:creationId xmlns:a16="http://schemas.microsoft.com/office/drawing/2014/main" id="{6F8B4FB1-E04C-405B-B35B-80E2E319C69B}"/>
                  </a:ext>
                </a:extLst>
              </p:cNvPr>
              <p:cNvSpPr/>
              <p:nvPr/>
            </p:nvSpPr>
            <p:spPr>
              <a:xfrm>
                <a:off x="1899860" y="3623940"/>
                <a:ext cx="129128" cy="102859"/>
              </a:xfrm>
              <a:custGeom>
                <a:avLst/>
                <a:gdLst>
                  <a:gd name="connsiteX0" fmla="*/ 115984 w 129128"/>
                  <a:gd name="connsiteY0" fmla="*/ 102859 h 102859"/>
                  <a:gd name="connsiteX1" fmla="*/ 13125 w 129128"/>
                  <a:gd name="connsiteY1" fmla="*/ 102859 h 102859"/>
                  <a:gd name="connsiteX2" fmla="*/ 13125 w 129128"/>
                  <a:gd name="connsiteY2" fmla="*/ 76488 h 102859"/>
                  <a:gd name="connsiteX3" fmla="*/ 418 w 129128"/>
                  <a:gd name="connsiteY3" fmla="*/ 19036 h 102859"/>
                  <a:gd name="connsiteX4" fmla="*/ 3312 w 129128"/>
                  <a:gd name="connsiteY4" fmla="*/ 4416 h 102859"/>
                  <a:gd name="connsiteX5" fmla="*/ 13125 w 129128"/>
                  <a:gd name="connsiteY5" fmla="*/ 0 h 102859"/>
                  <a:gd name="connsiteX6" fmla="*/ 115984 w 129128"/>
                  <a:gd name="connsiteY6" fmla="*/ 0 h 102859"/>
                  <a:gd name="connsiteX7" fmla="*/ 125796 w 129128"/>
                  <a:gd name="connsiteY7" fmla="*/ 4416 h 102859"/>
                  <a:gd name="connsiteX8" fmla="*/ 128740 w 129128"/>
                  <a:gd name="connsiteY8" fmla="*/ 18791 h 102859"/>
                  <a:gd name="connsiteX9" fmla="*/ 115984 w 129128"/>
                  <a:gd name="connsiteY9" fmla="*/ 76513 h 102859"/>
                  <a:gd name="connsiteX10" fmla="*/ 115984 w 129128"/>
                  <a:gd name="connsiteY10" fmla="*/ 102859 h 102859"/>
                  <a:gd name="connsiteX11" fmla="*/ 25979 w 129128"/>
                  <a:gd name="connsiteY11" fmla="*/ 90005 h 102859"/>
                  <a:gd name="connsiteX12" fmla="*/ 103130 w 129128"/>
                  <a:gd name="connsiteY12" fmla="*/ 90005 h 102859"/>
                  <a:gd name="connsiteX13" fmla="*/ 103277 w 129128"/>
                  <a:gd name="connsiteY13" fmla="*/ 74403 h 102859"/>
                  <a:gd name="connsiteX14" fmla="*/ 116131 w 129128"/>
                  <a:gd name="connsiteY14" fmla="*/ 16264 h 102859"/>
                  <a:gd name="connsiteX15" fmla="*/ 115910 w 129128"/>
                  <a:gd name="connsiteY15" fmla="*/ 12658 h 102859"/>
                  <a:gd name="connsiteX16" fmla="*/ 115959 w 129128"/>
                  <a:gd name="connsiteY16" fmla="*/ 12879 h 102859"/>
                  <a:gd name="connsiteX17" fmla="*/ 13100 w 129128"/>
                  <a:gd name="connsiteY17" fmla="*/ 12879 h 102859"/>
                  <a:gd name="connsiteX18" fmla="*/ 13100 w 129128"/>
                  <a:gd name="connsiteY18" fmla="*/ 12879 h 102859"/>
                  <a:gd name="connsiteX19" fmla="*/ 13002 w 129128"/>
                  <a:gd name="connsiteY19" fmla="*/ 16534 h 102859"/>
                  <a:gd name="connsiteX20" fmla="*/ 25954 w 129128"/>
                  <a:gd name="connsiteY20" fmla="*/ 75826 h 102859"/>
                  <a:gd name="connsiteX21" fmla="*/ 25954 w 129128"/>
                  <a:gd name="connsiteY21" fmla="*/ 90005 h 102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128" h="102859">
                    <a:moveTo>
                      <a:pt x="115984" y="102859"/>
                    </a:moveTo>
                    <a:lnTo>
                      <a:pt x="13125" y="102859"/>
                    </a:lnTo>
                    <a:lnTo>
                      <a:pt x="13125" y="76488"/>
                    </a:lnTo>
                    <a:lnTo>
                      <a:pt x="418" y="19036"/>
                    </a:lnTo>
                    <a:cubicBezTo>
                      <a:pt x="-662" y="13026"/>
                      <a:pt x="368" y="7924"/>
                      <a:pt x="3312" y="4416"/>
                    </a:cubicBezTo>
                    <a:cubicBezTo>
                      <a:pt x="5692" y="1570"/>
                      <a:pt x="9175" y="0"/>
                      <a:pt x="13125" y="0"/>
                    </a:cubicBezTo>
                    <a:lnTo>
                      <a:pt x="115984" y="0"/>
                    </a:lnTo>
                    <a:cubicBezTo>
                      <a:pt x="119934" y="0"/>
                      <a:pt x="123417" y="1570"/>
                      <a:pt x="125796" y="4416"/>
                    </a:cubicBezTo>
                    <a:cubicBezTo>
                      <a:pt x="128740" y="7924"/>
                      <a:pt x="129770" y="13026"/>
                      <a:pt x="128740" y="18791"/>
                    </a:cubicBezTo>
                    <a:lnTo>
                      <a:pt x="115984" y="76513"/>
                    </a:lnTo>
                    <a:lnTo>
                      <a:pt x="115984" y="102859"/>
                    </a:lnTo>
                    <a:close/>
                    <a:moveTo>
                      <a:pt x="25979" y="90005"/>
                    </a:moveTo>
                    <a:lnTo>
                      <a:pt x="103130" y="90005"/>
                    </a:lnTo>
                    <a:lnTo>
                      <a:pt x="103277" y="74403"/>
                    </a:lnTo>
                    <a:lnTo>
                      <a:pt x="116131" y="16264"/>
                    </a:lnTo>
                    <a:cubicBezTo>
                      <a:pt x="116499" y="14105"/>
                      <a:pt x="116058" y="12854"/>
                      <a:pt x="115910" y="12658"/>
                    </a:cubicBezTo>
                    <a:lnTo>
                      <a:pt x="115959" y="12879"/>
                    </a:lnTo>
                    <a:lnTo>
                      <a:pt x="13100" y="12879"/>
                    </a:lnTo>
                    <a:lnTo>
                      <a:pt x="13100" y="12879"/>
                    </a:lnTo>
                    <a:cubicBezTo>
                      <a:pt x="13002" y="12879"/>
                      <a:pt x="12560" y="14130"/>
                      <a:pt x="13002" y="16534"/>
                    </a:cubicBezTo>
                    <a:lnTo>
                      <a:pt x="25954" y="75826"/>
                    </a:lnTo>
                    <a:lnTo>
                      <a:pt x="25954" y="90005"/>
                    </a:lnTo>
                    <a:close/>
                  </a:path>
                </a:pathLst>
              </a:custGeom>
              <a:solidFill>
                <a:schemeClr val="accent1"/>
              </a:solidFill>
              <a:ln w="2447" cap="flat">
                <a:noFill/>
                <a:prstDash val="solid"/>
                <a:miter/>
              </a:ln>
            </p:spPr>
            <p:txBody>
              <a:bodyPr rtlCol="0" anchor="ctr"/>
              <a:lstStyle/>
              <a:p>
                <a:endParaRPr lang="en-GB" dirty="0"/>
              </a:p>
            </p:txBody>
          </p:sp>
          <p:sp>
            <p:nvSpPr>
              <p:cNvPr id="376" name="Freihandform: Form 482">
                <a:extLst>
                  <a:ext uri="{FF2B5EF4-FFF2-40B4-BE49-F238E27FC236}">
                    <a16:creationId xmlns:a16="http://schemas.microsoft.com/office/drawing/2014/main" id="{6E1580CC-CB72-4B91-BAB6-693E54F81BE3}"/>
                  </a:ext>
                </a:extLst>
              </p:cNvPr>
              <p:cNvSpPr/>
              <p:nvPr/>
            </p:nvSpPr>
            <p:spPr>
              <a:xfrm>
                <a:off x="2067286" y="3643222"/>
                <a:ext cx="154301" cy="12854"/>
              </a:xfrm>
              <a:custGeom>
                <a:avLst/>
                <a:gdLst>
                  <a:gd name="connsiteX0" fmla="*/ 0 w 154301"/>
                  <a:gd name="connsiteY0" fmla="*/ 0 h 12854"/>
                  <a:gd name="connsiteX1" fmla="*/ 154301 w 154301"/>
                  <a:gd name="connsiteY1" fmla="*/ 0 h 12854"/>
                  <a:gd name="connsiteX2" fmla="*/ 154301 w 154301"/>
                  <a:gd name="connsiteY2" fmla="*/ 12854 h 12854"/>
                  <a:gd name="connsiteX3" fmla="*/ 0 w 154301"/>
                  <a:gd name="connsiteY3" fmla="*/ 12854 h 12854"/>
                </a:gdLst>
                <a:ahLst/>
                <a:cxnLst>
                  <a:cxn ang="0">
                    <a:pos x="connsiteX0" y="connsiteY0"/>
                  </a:cxn>
                  <a:cxn ang="0">
                    <a:pos x="connsiteX1" y="connsiteY1"/>
                  </a:cxn>
                  <a:cxn ang="0">
                    <a:pos x="connsiteX2" y="connsiteY2"/>
                  </a:cxn>
                  <a:cxn ang="0">
                    <a:pos x="connsiteX3" y="connsiteY3"/>
                  </a:cxn>
                </a:cxnLst>
                <a:rect l="l" t="t" r="r" b="b"/>
                <a:pathLst>
                  <a:path w="154301" h="12854">
                    <a:moveTo>
                      <a:pt x="0" y="0"/>
                    </a:moveTo>
                    <a:lnTo>
                      <a:pt x="154301" y="0"/>
                    </a:lnTo>
                    <a:lnTo>
                      <a:pt x="154301" y="12854"/>
                    </a:lnTo>
                    <a:lnTo>
                      <a:pt x="0" y="12854"/>
                    </a:lnTo>
                    <a:close/>
                  </a:path>
                </a:pathLst>
              </a:custGeom>
              <a:solidFill>
                <a:schemeClr val="accent1"/>
              </a:solidFill>
              <a:ln w="2447" cap="flat">
                <a:noFill/>
                <a:prstDash val="solid"/>
                <a:miter/>
              </a:ln>
            </p:spPr>
            <p:txBody>
              <a:bodyPr rtlCol="0" anchor="ctr"/>
              <a:lstStyle/>
              <a:p>
                <a:endParaRPr lang="en-GB" dirty="0"/>
              </a:p>
            </p:txBody>
          </p:sp>
          <p:sp>
            <p:nvSpPr>
              <p:cNvPr id="377" name="Freihandform: Form 485">
                <a:extLst>
                  <a:ext uri="{FF2B5EF4-FFF2-40B4-BE49-F238E27FC236}">
                    <a16:creationId xmlns:a16="http://schemas.microsoft.com/office/drawing/2014/main" id="{2BA1D8A3-09DC-4284-89A7-E3474324E5C5}"/>
                  </a:ext>
                </a:extLst>
              </p:cNvPr>
              <p:cNvSpPr/>
              <p:nvPr/>
            </p:nvSpPr>
            <p:spPr>
              <a:xfrm>
                <a:off x="2100690" y="3585377"/>
                <a:ext cx="87468" cy="70698"/>
              </a:xfrm>
              <a:custGeom>
                <a:avLst/>
                <a:gdLst>
                  <a:gd name="connsiteX0" fmla="*/ 81647 w 87468"/>
                  <a:gd name="connsiteY0" fmla="*/ 70699 h 70698"/>
                  <a:gd name="connsiteX1" fmla="*/ 5846 w 87468"/>
                  <a:gd name="connsiteY1" fmla="*/ 70699 h 70698"/>
                  <a:gd name="connsiteX2" fmla="*/ 106 w 87468"/>
                  <a:gd name="connsiteY2" fmla="*/ 19061 h 70698"/>
                  <a:gd name="connsiteX3" fmla="*/ 4374 w 87468"/>
                  <a:gd name="connsiteY3" fmla="*/ 5716 h 70698"/>
                  <a:gd name="connsiteX4" fmla="*/ 17179 w 87468"/>
                  <a:gd name="connsiteY4" fmla="*/ 0 h 70698"/>
                  <a:gd name="connsiteX5" fmla="*/ 70289 w 87468"/>
                  <a:gd name="connsiteY5" fmla="*/ 0 h 70698"/>
                  <a:gd name="connsiteX6" fmla="*/ 83095 w 87468"/>
                  <a:gd name="connsiteY6" fmla="*/ 5716 h 70698"/>
                  <a:gd name="connsiteX7" fmla="*/ 87363 w 87468"/>
                  <a:gd name="connsiteY7" fmla="*/ 19061 h 70698"/>
                  <a:gd name="connsiteX8" fmla="*/ 81647 w 87468"/>
                  <a:gd name="connsiteY8" fmla="*/ 70699 h 70698"/>
                  <a:gd name="connsiteX9" fmla="*/ 17351 w 87468"/>
                  <a:gd name="connsiteY9" fmla="*/ 57845 h 70698"/>
                  <a:gd name="connsiteX10" fmla="*/ 70142 w 87468"/>
                  <a:gd name="connsiteY10" fmla="*/ 57845 h 70698"/>
                  <a:gd name="connsiteX11" fmla="*/ 74607 w 87468"/>
                  <a:gd name="connsiteY11" fmla="*/ 17638 h 70698"/>
                  <a:gd name="connsiteX12" fmla="*/ 73527 w 87468"/>
                  <a:gd name="connsiteY12" fmla="*/ 14277 h 70698"/>
                  <a:gd name="connsiteX13" fmla="*/ 70314 w 87468"/>
                  <a:gd name="connsiteY13" fmla="*/ 12830 h 70698"/>
                  <a:gd name="connsiteX14" fmla="*/ 17179 w 87468"/>
                  <a:gd name="connsiteY14" fmla="*/ 12830 h 70698"/>
                  <a:gd name="connsiteX15" fmla="*/ 13966 w 87468"/>
                  <a:gd name="connsiteY15" fmla="*/ 14277 h 70698"/>
                  <a:gd name="connsiteX16" fmla="*/ 12886 w 87468"/>
                  <a:gd name="connsiteY16" fmla="*/ 17638 h 70698"/>
                  <a:gd name="connsiteX17" fmla="*/ 17351 w 87468"/>
                  <a:gd name="connsiteY17" fmla="*/ 57845 h 7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468" h="70698">
                    <a:moveTo>
                      <a:pt x="81647" y="70699"/>
                    </a:moveTo>
                    <a:lnTo>
                      <a:pt x="5846" y="70699"/>
                    </a:lnTo>
                    <a:lnTo>
                      <a:pt x="106" y="19061"/>
                    </a:lnTo>
                    <a:cubicBezTo>
                      <a:pt x="-434" y="14204"/>
                      <a:pt x="1111" y="9346"/>
                      <a:pt x="4374" y="5716"/>
                    </a:cubicBezTo>
                    <a:cubicBezTo>
                      <a:pt x="7637" y="2085"/>
                      <a:pt x="12298" y="0"/>
                      <a:pt x="17179" y="0"/>
                    </a:cubicBezTo>
                    <a:lnTo>
                      <a:pt x="70289" y="0"/>
                    </a:lnTo>
                    <a:cubicBezTo>
                      <a:pt x="75171" y="0"/>
                      <a:pt x="79832" y="2085"/>
                      <a:pt x="83095" y="5716"/>
                    </a:cubicBezTo>
                    <a:cubicBezTo>
                      <a:pt x="86357" y="9346"/>
                      <a:pt x="87903" y="14228"/>
                      <a:pt x="87363" y="19061"/>
                    </a:cubicBezTo>
                    <a:lnTo>
                      <a:pt x="81647" y="70699"/>
                    </a:lnTo>
                    <a:close/>
                    <a:moveTo>
                      <a:pt x="17351" y="57845"/>
                    </a:moveTo>
                    <a:lnTo>
                      <a:pt x="70142" y="57845"/>
                    </a:lnTo>
                    <a:lnTo>
                      <a:pt x="74607" y="17638"/>
                    </a:lnTo>
                    <a:cubicBezTo>
                      <a:pt x="74803" y="15970"/>
                      <a:pt x="74018" y="14817"/>
                      <a:pt x="73527" y="14277"/>
                    </a:cubicBezTo>
                    <a:cubicBezTo>
                      <a:pt x="73037" y="13738"/>
                      <a:pt x="71982" y="12830"/>
                      <a:pt x="70314" y="12830"/>
                    </a:cubicBezTo>
                    <a:lnTo>
                      <a:pt x="17179" y="12830"/>
                    </a:lnTo>
                    <a:cubicBezTo>
                      <a:pt x="15487" y="12830"/>
                      <a:pt x="14432" y="13738"/>
                      <a:pt x="13966" y="14277"/>
                    </a:cubicBezTo>
                    <a:cubicBezTo>
                      <a:pt x="13475" y="14817"/>
                      <a:pt x="12715" y="15970"/>
                      <a:pt x="12886" y="17638"/>
                    </a:cubicBezTo>
                    <a:lnTo>
                      <a:pt x="17351" y="57845"/>
                    </a:lnTo>
                    <a:close/>
                  </a:path>
                </a:pathLst>
              </a:custGeom>
              <a:solidFill>
                <a:schemeClr val="accent1"/>
              </a:solidFill>
              <a:ln w="2447" cap="flat">
                <a:noFill/>
                <a:prstDash val="solid"/>
                <a:miter/>
              </a:ln>
            </p:spPr>
            <p:txBody>
              <a:bodyPr rtlCol="0" anchor="ctr"/>
              <a:lstStyle/>
              <a:p>
                <a:endParaRPr lang="en-GB" dirty="0"/>
              </a:p>
            </p:txBody>
          </p:sp>
          <p:sp>
            <p:nvSpPr>
              <p:cNvPr id="378" name="Freihandform: Form 487">
                <a:extLst>
                  <a:ext uri="{FF2B5EF4-FFF2-40B4-BE49-F238E27FC236}">
                    <a16:creationId xmlns:a16="http://schemas.microsoft.com/office/drawing/2014/main" id="{4E30C4DC-DEC9-4C50-AF6A-A1509215E073}"/>
                  </a:ext>
                </a:extLst>
              </p:cNvPr>
              <p:cNvSpPr/>
              <p:nvPr/>
            </p:nvSpPr>
            <p:spPr>
              <a:xfrm>
                <a:off x="1707266" y="3643222"/>
                <a:ext cx="154301" cy="12854"/>
              </a:xfrm>
              <a:custGeom>
                <a:avLst/>
                <a:gdLst>
                  <a:gd name="connsiteX0" fmla="*/ 0 w 154301"/>
                  <a:gd name="connsiteY0" fmla="*/ 0 h 12854"/>
                  <a:gd name="connsiteX1" fmla="*/ 154301 w 154301"/>
                  <a:gd name="connsiteY1" fmla="*/ 0 h 12854"/>
                  <a:gd name="connsiteX2" fmla="*/ 154301 w 154301"/>
                  <a:gd name="connsiteY2" fmla="*/ 12854 h 12854"/>
                  <a:gd name="connsiteX3" fmla="*/ 0 w 154301"/>
                  <a:gd name="connsiteY3" fmla="*/ 12854 h 12854"/>
                </a:gdLst>
                <a:ahLst/>
                <a:cxnLst>
                  <a:cxn ang="0">
                    <a:pos x="connsiteX0" y="connsiteY0"/>
                  </a:cxn>
                  <a:cxn ang="0">
                    <a:pos x="connsiteX1" y="connsiteY1"/>
                  </a:cxn>
                  <a:cxn ang="0">
                    <a:pos x="connsiteX2" y="connsiteY2"/>
                  </a:cxn>
                  <a:cxn ang="0">
                    <a:pos x="connsiteX3" y="connsiteY3"/>
                  </a:cxn>
                </a:cxnLst>
                <a:rect l="l" t="t" r="r" b="b"/>
                <a:pathLst>
                  <a:path w="154301" h="12854">
                    <a:moveTo>
                      <a:pt x="0" y="0"/>
                    </a:moveTo>
                    <a:lnTo>
                      <a:pt x="154301" y="0"/>
                    </a:lnTo>
                    <a:lnTo>
                      <a:pt x="154301" y="12854"/>
                    </a:lnTo>
                    <a:lnTo>
                      <a:pt x="0" y="12854"/>
                    </a:lnTo>
                    <a:close/>
                  </a:path>
                </a:pathLst>
              </a:custGeom>
              <a:solidFill>
                <a:schemeClr val="accent1"/>
              </a:solidFill>
              <a:ln w="2447" cap="flat">
                <a:noFill/>
                <a:prstDash val="solid"/>
                <a:miter/>
              </a:ln>
            </p:spPr>
            <p:txBody>
              <a:bodyPr rtlCol="0" anchor="ctr"/>
              <a:lstStyle/>
              <a:p>
                <a:endParaRPr lang="en-GB" dirty="0"/>
              </a:p>
            </p:txBody>
          </p:sp>
          <p:sp>
            <p:nvSpPr>
              <p:cNvPr id="379" name="Freihandform: Form 490">
                <a:extLst>
                  <a:ext uri="{FF2B5EF4-FFF2-40B4-BE49-F238E27FC236}">
                    <a16:creationId xmlns:a16="http://schemas.microsoft.com/office/drawing/2014/main" id="{0F9FC9A0-D83B-44F4-9F31-F460DBD1043E}"/>
                  </a:ext>
                </a:extLst>
              </p:cNvPr>
              <p:cNvSpPr/>
              <p:nvPr/>
            </p:nvSpPr>
            <p:spPr>
              <a:xfrm>
                <a:off x="1740670" y="3585377"/>
                <a:ext cx="87468" cy="70698"/>
              </a:xfrm>
              <a:custGeom>
                <a:avLst/>
                <a:gdLst>
                  <a:gd name="connsiteX0" fmla="*/ 81647 w 87468"/>
                  <a:gd name="connsiteY0" fmla="*/ 70699 h 70698"/>
                  <a:gd name="connsiteX1" fmla="*/ 5846 w 87468"/>
                  <a:gd name="connsiteY1" fmla="*/ 70699 h 70698"/>
                  <a:gd name="connsiteX2" fmla="*/ 106 w 87468"/>
                  <a:gd name="connsiteY2" fmla="*/ 19061 h 70698"/>
                  <a:gd name="connsiteX3" fmla="*/ 4374 w 87468"/>
                  <a:gd name="connsiteY3" fmla="*/ 5716 h 70698"/>
                  <a:gd name="connsiteX4" fmla="*/ 17179 w 87468"/>
                  <a:gd name="connsiteY4" fmla="*/ 0 h 70698"/>
                  <a:gd name="connsiteX5" fmla="*/ 70289 w 87468"/>
                  <a:gd name="connsiteY5" fmla="*/ 0 h 70698"/>
                  <a:gd name="connsiteX6" fmla="*/ 83095 w 87468"/>
                  <a:gd name="connsiteY6" fmla="*/ 5716 h 70698"/>
                  <a:gd name="connsiteX7" fmla="*/ 87363 w 87468"/>
                  <a:gd name="connsiteY7" fmla="*/ 19061 h 70698"/>
                  <a:gd name="connsiteX8" fmla="*/ 81647 w 87468"/>
                  <a:gd name="connsiteY8" fmla="*/ 70699 h 70698"/>
                  <a:gd name="connsiteX9" fmla="*/ 17351 w 87468"/>
                  <a:gd name="connsiteY9" fmla="*/ 57845 h 70698"/>
                  <a:gd name="connsiteX10" fmla="*/ 70142 w 87468"/>
                  <a:gd name="connsiteY10" fmla="*/ 57845 h 70698"/>
                  <a:gd name="connsiteX11" fmla="*/ 74607 w 87468"/>
                  <a:gd name="connsiteY11" fmla="*/ 17638 h 70698"/>
                  <a:gd name="connsiteX12" fmla="*/ 73527 w 87468"/>
                  <a:gd name="connsiteY12" fmla="*/ 14277 h 70698"/>
                  <a:gd name="connsiteX13" fmla="*/ 70314 w 87468"/>
                  <a:gd name="connsiteY13" fmla="*/ 12830 h 70698"/>
                  <a:gd name="connsiteX14" fmla="*/ 17204 w 87468"/>
                  <a:gd name="connsiteY14" fmla="*/ 12830 h 70698"/>
                  <a:gd name="connsiteX15" fmla="*/ 13990 w 87468"/>
                  <a:gd name="connsiteY15" fmla="*/ 14277 h 70698"/>
                  <a:gd name="connsiteX16" fmla="*/ 12911 w 87468"/>
                  <a:gd name="connsiteY16" fmla="*/ 17638 h 70698"/>
                  <a:gd name="connsiteX17" fmla="*/ 17351 w 87468"/>
                  <a:gd name="connsiteY17" fmla="*/ 57845 h 70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468" h="70698">
                    <a:moveTo>
                      <a:pt x="81647" y="70699"/>
                    </a:moveTo>
                    <a:lnTo>
                      <a:pt x="5846" y="70699"/>
                    </a:lnTo>
                    <a:lnTo>
                      <a:pt x="106" y="19061"/>
                    </a:lnTo>
                    <a:cubicBezTo>
                      <a:pt x="-434" y="14204"/>
                      <a:pt x="1111" y="9346"/>
                      <a:pt x="4374" y="5716"/>
                    </a:cubicBezTo>
                    <a:cubicBezTo>
                      <a:pt x="7637" y="2085"/>
                      <a:pt x="12298" y="0"/>
                      <a:pt x="17179" y="0"/>
                    </a:cubicBezTo>
                    <a:lnTo>
                      <a:pt x="70289" y="0"/>
                    </a:lnTo>
                    <a:cubicBezTo>
                      <a:pt x="75171" y="0"/>
                      <a:pt x="79832" y="2085"/>
                      <a:pt x="83095" y="5716"/>
                    </a:cubicBezTo>
                    <a:cubicBezTo>
                      <a:pt x="86357" y="9346"/>
                      <a:pt x="87903" y="14228"/>
                      <a:pt x="87363" y="19061"/>
                    </a:cubicBezTo>
                    <a:lnTo>
                      <a:pt x="81647" y="70699"/>
                    </a:lnTo>
                    <a:close/>
                    <a:moveTo>
                      <a:pt x="17351" y="57845"/>
                    </a:moveTo>
                    <a:lnTo>
                      <a:pt x="70142" y="57845"/>
                    </a:lnTo>
                    <a:lnTo>
                      <a:pt x="74607" y="17638"/>
                    </a:lnTo>
                    <a:cubicBezTo>
                      <a:pt x="74803" y="15970"/>
                      <a:pt x="74018" y="14817"/>
                      <a:pt x="73527" y="14277"/>
                    </a:cubicBezTo>
                    <a:cubicBezTo>
                      <a:pt x="73037" y="13738"/>
                      <a:pt x="71982" y="12830"/>
                      <a:pt x="70314" y="12830"/>
                    </a:cubicBezTo>
                    <a:lnTo>
                      <a:pt x="17204" y="12830"/>
                    </a:lnTo>
                    <a:cubicBezTo>
                      <a:pt x="15511" y="12830"/>
                      <a:pt x="14456" y="13738"/>
                      <a:pt x="13990" y="14277"/>
                    </a:cubicBezTo>
                    <a:cubicBezTo>
                      <a:pt x="13500" y="14817"/>
                      <a:pt x="12739" y="15970"/>
                      <a:pt x="12911" y="17638"/>
                    </a:cubicBezTo>
                    <a:lnTo>
                      <a:pt x="17351" y="57845"/>
                    </a:lnTo>
                    <a:close/>
                  </a:path>
                </a:pathLst>
              </a:custGeom>
              <a:solidFill>
                <a:schemeClr val="accent1"/>
              </a:solidFill>
              <a:ln w="2447" cap="flat">
                <a:noFill/>
                <a:prstDash val="solid"/>
                <a:miter/>
              </a:ln>
            </p:spPr>
            <p:txBody>
              <a:bodyPr rtlCol="0" anchor="ctr"/>
              <a:lstStyle/>
              <a:p>
                <a:endParaRPr lang="en-GB" dirty="0"/>
              </a:p>
            </p:txBody>
          </p:sp>
        </p:grpSp>
      </p:grpSp>
      <p:grpSp>
        <p:nvGrpSpPr>
          <p:cNvPr id="387" name="Group 386">
            <a:extLst>
              <a:ext uri="{FF2B5EF4-FFF2-40B4-BE49-F238E27FC236}">
                <a16:creationId xmlns:a16="http://schemas.microsoft.com/office/drawing/2014/main" id="{3412FCD6-9502-4055-9B5A-D978F6ECC076}"/>
              </a:ext>
            </a:extLst>
          </p:cNvPr>
          <p:cNvGrpSpPr>
            <a:grpSpLocks noChangeAspect="1"/>
          </p:cNvGrpSpPr>
          <p:nvPr/>
        </p:nvGrpSpPr>
        <p:grpSpPr>
          <a:xfrm>
            <a:off x="4943268" y="2425114"/>
            <a:ext cx="540000" cy="364825"/>
            <a:chOff x="921139" y="2518556"/>
            <a:chExt cx="474773" cy="320758"/>
          </a:xfrm>
        </p:grpSpPr>
        <p:sp>
          <p:nvSpPr>
            <p:cNvPr id="388" name="Freihandform: Form 341">
              <a:extLst>
                <a:ext uri="{FF2B5EF4-FFF2-40B4-BE49-F238E27FC236}">
                  <a16:creationId xmlns:a16="http://schemas.microsoft.com/office/drawing/2014/main" id="{ED213ABD-AB85-4AFA-8B11-5E45A2A36C66}"/>
                </a:ext>
              </a:extLst>
            </p:cNvPr>
            <p:cNvSpPr/>
            <p:nvPr/>
          </p:nvSpPr>
          <p:spPr>
            <a:xfrm>
              <a:off x="921139" y="2569857"/>
              <a:ext cx="320758" cy="218155"/>
            </a:xfrm>
            <a:custGeom>
              <a:avLst/>
              <a:gdLst>
                <a:gd name="connsiteX0" fmla="*/ 269706 w 320758"/>
                <a:gd name="connsiteY0" fmla="*/ 218128 h 218155"/>
                <a:gd name="connsiteX1" fmla="*/ 170756 w 320758"/>
                <a:gd name="connsiteY1" fmla="*/ 218128 h 218155"/>
                <a:gd name="connsiteX2" fmla="*/ 170894 w 320758"/>
                <a:gd name="connsiteY2" fmla="*/ 202964 h 218155"/>
                <a:gd name="connsiteX3" fmla="*/ 172554 w 320758"/>
                <a:gd name="connsiteY3" fmla="*/ 201166 h 218155"/>
                <a:gd name="connsiteX4" fmla="*/ 181686 w 320758"/>
                <a:gd name="connsiteY4" fmla="*/ 181713 h 218155"/>
                <a:gd name="connsiteX5" fmla="*/ 160850 w 320758"/>
                <a:gd name="connsiteY5" fmla="*/ 163976 h 218155"/>
                <a:gd name="connsiteX6" fmla="*/ 159909 w 320758"/>
                <a:gd name="connsiteY6" fmla="*/ 163976 h 218155"/>
                <a:gd name="connsiteX7" fmla="*/ 159854 w 320758"/>
                <a:gd name="connsiteY7" fmla="*/ 163976 h 218155"/>
                <a:gd name="connsiteX8" fmla="*/ 144524 w 320758"/>
                <a:gd name="connsiteY8" fmla="*/ 170119 h 218155"/>
                <a:gd name="connsiteX9" fmla="*/ 139543 w 320758"/>
                <a:gd name="connsiteY9" fmla="*/ 181547 h 218155"/>
                <a:gd name="connsiteX10" fmla="*/ 148813 w 320758"/>
                <a:gd name="connsiteY10" fmla="*/ 201083 h 218155"/>
                <a:gd name="connsiteX11" fmla="*/ 150445 w 320758"/>
                <a:gd name="connsiteY11" fmla="*/ 202881 h 218155"/>
                <a:gd name="connsiteX12" fmla="*/ 150667 w 320758"/>
                <a:gd name="connsiteY12" fmla="*/ 218156 h 218155"/>
                <a:gd name="connsiteX13" fmla="*/ 51966 w 320758"/>
                <a:gd name="connsiteY13" fmla="*/ 218156 h 218155"/>
                <a:gd name="connsiteX14" fmla="*/ 51744 w 320758"/>
                <a:gd name="connsiteY14" fmla="*/ 133760 h 218155"/>
                <a:gd name="connsiteX15" fmla="*/ 31213 w 320758"/>
                <a:gd name="connsiteY15" fmla="*/ 140152 h 218155"/>
                <a:gd name="connsiteX16" fmla="*/ 31130 w 320758"/>
                <a:gd name="connsiteY16" fmla="*/ 140152 h 218155"/>
                <a:gd name="connsiteX17" fmla="*/ 0 w 320758"/>
                <a:gd name="connsiteY17" fmla="*/ 107750 h 218155"/>
                <a:gd name="connsiteX18" fmla="*/ 0 w 320758"/>
                <a:gd name="connsiteY18" fmla="*/ 106311 h 218155"/>
                <a:gd name="connsiteX19" fmla="*/ 30687 w 320758"/>
                <a:gd name="connsiteY19" fmla="*/ 73410 h 218155"/>
                <a:gd name="connsiteX20" fmla="*/ 51606 w 320758"/>
                <a:gd name="connsiteY20" fmla="*/ 79830 h 218155"/>
                <a:gd name="connsiteX21" fmla="*/ 51384 w 320758"/>
                <a:gd name="connsiteY21" fmla="*/ 0 h 218155"/>
                <a:gd name="connsiteX22" fmla="*/ 150113 w 320758"/>
                <a:gd name="connsiteY22" fmla="*/ 0 h 218155"/>
                <a:gd name="connsiteX23" fmla="*/ 149754 w 320758"/>
                <a:gd name="connsiteY23" fmla="*/ 12729 h 218155"/>
                <a:gd name="connsiteX24" fmla="*/ 148176 w 320758"/>
                <a:gd name="connsiteY24" fmla="*/ 14499 h 218155"/>
                <a:gd name="connsiteX25" fmla="*/ 139101 w 320758"/>
                <a:gd name="connsiteY25" fmla="*/ 33980 h 218155"/>
                <a:gd name="connsiteX26" fmla="*/ 159992 w 320758"/>
                <a:gd name="connsiteY26" fmla="*/ 51661 h 218155"/>
                <a:gd name="connsiteX27" fmla="*/ 160850 w 320758"/>
                <a:gd name="connsiteY27" fmla="*/ 51661 h 218155"/>
                <a:gd name="connsiteX28" fmla="*/ 181271 w 320758"/>
                <a:gd name="connsiteY28" fmla="*/ 34063 h 218155"/>
                <a:gd name="connsiteX29" fmla="*/ 171946 w 320758"/>
                <a:gd name="connsiteY29" fmla="*/ 14555 h 218155"/>
                <a:gd name="connsiteX30" fmla="*/ 170341 w 320758"/>
                <a:gd name="connsiteY30" fmla="*/ 12812 h 218155"/>
                <a:gd name="connsiteX31" fmla="*/ 169898 w 320758"/>
                <a:gd name="connsiteY31" fmla="*/ 28 h 218155"/>
                <a:gd name="connsiteX32" fmla="*/ 269097 w 320758"/>
                <a:gd name="connsiteY32" fmla="*/ 28 h 218155"/>
                <a:gd name="connsiteX33" fmla="*/ 269319 w 320758"/>
                <a:gd name="connsiteY33" fmla="*/ 80522 h 218155"/>
                <a:gd name="connsiteX34" fmla="*/ 290819 w 320758"/>
                <a:gd name="connsiteY34" fmla="*/ 74462 h 218155"/>
                <a:gd name="connsiteX35" fmla="*/ 320758 w 320758"/>
                <a:gd name="connsiteY35" fmla="*/ 108026 h 218155"/>
                <a:gd name="connsiteX36" fmla="*/ 320703 w 320758"/>
                <a:gd name="connsiteY36" fmla="*/ 109493 h 218155"/>
                <a:gd name="connsiteX37" fmla="*/ 288744 w 320758"/>
                <a:gd name="connsiteY37" fmla="*/ 141176 h 218155"/>
                <a:gd name="connsiteX38" fmla="*/ 269457 w 320758"/>
                <a:gd name="connsiteY38" fmla="*/ 133898 h 218155"/>
                <a:gd name="connsiteX39" fmla="*/ 269706 w 320758"/>
                <a:gd name="connsiteY39" fmla="*/ 218128 h 218155"/>
                <a:gd name="connsiteX40" fmla="*/ 185753 w 320758"/>
                <a:gd name="connsiteY40" fmla="*/ 205289 h 218155"/>
                <a:gd name="connsiteX41" fmla="*/ 256839 w 320758"/>
                <a:gd name="connsiteY41" fmla="*/ 205289 h 218155"/>
                <a:gd name="connsiteX42" fmla="*/ 256590 w 320758"/>
                <a:gd name="connsiteY42" fmla="*/ 115470 h 218155"/>
                <a:gd name="connsiteX43" fmla="*/ 267548 w 320758"/>
                <a:gd name="connsiteY43" fmla="*/ 115470 h 218155"/>
                <a:gd name="connsiteX44" fmla="*/ 269402 w 320758"/>
                <a:gd name="connsiteY44" fmla="*/ 117185 h 218155"/>
                <a:gd name="connsiteX45" fmla="*/ 289186 w 320758"/>
                <a:gd name="connsiteY45" fmla="*/ 128309 h 218155"/>
                <a:gd name="connsiteX46" fmla="*/ 307892 w 320758"/>
                <a:gd name="connsiteY46" fmla="*/ 108746 h 218155"/>
                <a:gd name="connsiteX47" fmla="*/ 307919 w 320758"/>
                <a:gd name="connsiteY47" fmla="*/ 107971 h 218155"/>
                <a:gd name="connsiteX48" fmla="*/ 290348 w 320758"/>
                <a:gd name="connsiteY48" fmla="*/ 87246 h 218155"/>
                <a:gd name="connsiteX49" fmla="*/ 270010 w 320758"/>
                <a:gd name="connsiteY49" fmla="*/ 95630 h 218155"/>
                <a:gd name="connsiteX50" fmla="*/ 268240 w 320758"/>
                <a:gd name="connsiteY50" fmla="*/ 97096 h 218155"/>
                <a:gd name="connsiteX51" fmla="*/ 256507 w 320758"/>
                <a:gd name="connsiteY51" fmla="*/ 97069 h 218155"/>
                <a:gd name="connsiteX52" fmla="*/ 256258 w 320758"/>
                <a:gd name="connsiteY52" fmla="*/ 12812 h 218155"/>
                <a:gd name="connsiteX53" fmla="*/ 186915 w 320758"/>
                <a:gd name="connsiteY53" fmla="*/ 12812 h 218155"/>
                <a:gd name="connsiteX54" fmla="*/ 194082 w 320758"/>
                <a:gd name="connsiteY54" fmla="*/ 33952 h 218155"/>
                <a:gd name="connsiteX55" fmla="*/ 161126 w 320758"/>
                <a:gd name="connsiteY55" fmla="*/ 64445 h 218155"/>
                <a:gd name="connsiteX56" fmla="*/ 159798 w 320758"/>
                <a:gd name="connsiteY56" fmla="*/ 64445 h 218155"/>
                <a:gd name="connsiteX57" fmla="*/ 126261 w 320758"/>
                <a:gd name="connsiteY57" fmla="*/ 34007 h 218155"/>
                <a:gd name="connsiteX58" fmla="*/ 133207 w 320758"/>
                <a:gd name="connsiteY58" fmla="*/ 12784 h 218155"/>
                <a:gd name="connsiteX59" fmla="*/ 64251 w 320758"/>
                <a:gd name="connsiteY59" fmla="*/ 12784 h 218155"/>
                <a:gd name="connsiteX60" fmla="*/ 64500 w 320758"/>
                <a:gd name="connsiteY60" fmla="*/ 96986 h 218155"/>
                <a:gd name="connsiteX61" fmla="*/ 52657 w 320758"/>
                <a:gd name="connsiteY61" fmla="*/ 96681 h 218155"/>
                <a:gd name="connsiteX62" fmla="*/ 50914 w 320758"/>
                <a:gd name="connsiteY62" fmla="*/ 95187 h 218155"/>
                <a:gd name="connsiteX63" fmla="*/ 30742 w 320758"/>
                <a:gd name="connsiteY63" fmla="*/ 86167 h 218155"/>
                <a:gd name="connsiteX64" fmla="*/ 12839 w 320758"/>
                <a:gd name="connsiteY64" fmla="*/ 106421 h 218155"/>
                <a:gd name="connsiteX65" fmla="*/ 12839 w 320758"/>
                <a:gd name="connsiteY65" fmla="*/ 107362 h 218155"/>
                <a:gd name="connsiteX66" fmla="*/ 31130 w 320758"/>
                <a:gd name="connsiteY66" fmla="*/ 127285 h 218155"/>
                <a:gd name="connsiteX67" fmla="*/ 31185 w 320758"/>
                <a:gd name="connsiteY67" fmla="*/ 127285 h 218155"/>
                <a:gd name="connsiteX68" fmla="*/ 51135 w 320758"/>
                <a:gd name="connsiteY68" fmla="*/ 118154 h 218155"/>
                <a:gd name="connsiteX69" fmla="*/ 52851 w 320758"/>
                <a:gd name="connsiteY69" fmla="*/ 116632 h 218155"/>
                <a:gd name="connsiteX70" fmla="*/ 64528 w 320758"/>
                <a:gd name="connsiteY70" fmla="*/ 116189 h 218155"/>
                <a:gd name="connsiteX71" fmla="*/ 64777 w 320758"/>
                <a:gd name="connsiteY71" fmla="*/ 205289 h 218155"/>
                <a:gd name="connsiteX72" fmla="*/ 135614 w 320758"/>
                <a:gd name="connsiteY72" fmla="*/ 205289 h 218155"/>
                <a:gd name="connsiteX73" fmla="*/ 126676 w 320758"/>
                <a:gd name="connsiteY73" fmla="*/ 181547 h 218155"/>
                <a:gd name="connsiteX74" fmla="*/ 135420 w 320758"/>
                <a:gd name="connsiteY74" fmla="*/ 161016 h 218155"/>
                <a:gd name="connsiteX75" fmla="*/ 159826 w 320758"/>
                <a:gd name="connsiteY75" fmla="*/ 151110 h 218155"/>
                <a:gd name="connsiteX76" fmla="*/ 159937 w 320758"/>
                <a:gd name="connsiteY76" fmla="*/ 151110 h 218155"/>
                <a:gd name="connsiteX77" fmla="*/ 161126 w 320758"/>
                <a:gd name="connsiteY77" fmla="*/ 151110 h 218155"/>
                <a:gd name="connsiteX78" fmla="*/ 194497 w 320758"/>
                <a:gd name="connsiteY78" fmla="*/ 181630 h 218155"/>
                <a:gd name="connsiteX79" fmla="*/ 185753 w 320758"/>
                <a:gd name="connsiteY79" fmla="*/ 205289 h 21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320758" h="218155">
                  <a:moveTo>
                    <a:pt x="269706" y="218128"/>
                  </a:moveTo>
                  <a:lnTo>
                    <a:pt x="170756" y="218128"/>
                  </a:lnTo>
                  <a:lnTo>
                    <a:pt x="170894" y="202964"/>
                  </a:lnTo>
                  <a:lnTo>
                    <a:pt x="172554" y="201166"/>
                  </a:lnTo>
                  <a:cubicBezTo>
                    <a:pt x="178642" y="194497"/>
                    <a:pt x="181686" y="187939"/>
                    <a:pt x="181686" y="181713"/>
                  </a:cubicBezTo>
                  <a:cubicBezTo>
                    <a:pt x="181658" y="172250"/>
                    <a:pt x="172499" y="164447"/>
                    <a:pt x="160850" y="163976"/>
                  </a:cubicBezTo>
                  <a:lnTo>
                    <a:pt x="159909" y="163976"/>
                  </a:lnTo>
                  <a:cubicBezTo>
                    <a:pt x="159881" y="163976"/>
                    <a:pt x="159854" y="163976"/>
                    <a:pt x="159854" y="163976"/>
                  </a:cubicBezTo>
                  <a:cubicBezTo>
                    <a:pt x="153987" y="163976"/>
                    <a:pt x="148426" y="166218"/>
                    <a:pt x="144524" y="170119"/>
                  </a:cubicBezTo>
                  <a:cubicBezTo>
                    <a:pt x="141286" y="173357"/>
                    <a:pt x="139516" y="177397"/>
                    <a:pt x="139543" y="181547"/>
                  </a:cubicBezTo>
                  <a:cubicBezTo>
                    <a:pt x="139571" y="189323"/>
                    <a:pt x="144607" y="196462"/>
                    <a:pt x="148813" y="201083"/>
                  </a:cubicBezTo>
                  <a:lnTo>
                    <a:pt x="150445" y="202881"/>
                  </a:lnTo>
                  <a:lnTo>
                    <a:pt x="150667" y="218156"/>
                  </a:lnTo>
                  <a:lnTo>
                    <a:pt x="51966" y="218156"/>
                  </a:lnTo>
                  <a:lnTo>
                    <a:pt x="51744" y="133760"/>
                  </a:lnTo>
                  <a:cubicBezTo>
                    <a:pt x="44993" y="137994"/>
                    <a:pt x="38130" y="140124"/>
                    <a:pt x="31213" y="140152"/>
                  </a:cubicBezTo>
                  <a:cubicBezTo>
                    <a:pt x="31185" y="140152"/>
                    <a:pt x="31157" y="140152"/>
                    <a:pt x="31130" y="140152"/>
                  </a:cubicBezTo>
                  <a:cubicBezTo>
                    <a:pt x="14555" y="140152"/>
                    <a:pt x="885" y="125929"/>
                    <a:pt x="0" y="107750"/>
                  </a:cubicBezTo>
                  <a:lnTo>
                    <a:pt x="0" y="106311"/>
                  </a:lnTo>
                  <a:cubicBezTo>
                    <a:pt x="526" y="87827"/>
                    <a:pt x="14001" y="73466"/>
                    <a:pt x="30687" y="73410"/>
                  </a:cubicBezTo>
                  <a:cubicBezTo>
                    <a:pt x="37466" y="73383"/>
                    <a:pt x="44716" y="75541"/>
                    <a:pt x="51606" y="79830"/>
                  </a:cubicBezTo>
                  <a:lnTo>
                    <a:pt x="51384" y="0"/>
                  </a:lnTo>
                  <a:lnTo>
                    <a:pt x="150113" y="0"/>
                  </a:lnTo>
                  <a:lnTo>
                    <a:pt x="149754" y="12729"/>
                  </a:lnTo>
                  <a:lnTo>
                    <a:pt x="148176" y="14499"/>
                  </a:lnTo>
                  <a:cubicBezTo>
                    <a:pt x="143998" y="19120"/>
                    <a:pt x="139045" y="26232"/>
                    <a:pt x="139101" y="33980"/>
                  </a:cubicBezTo>
                  <a:cubicBezTo>
                    <a:pt x="139156" y="43471"/>
                    <a:pt x="148315" y="51218"/>
                    <a:pt x="159992" y="51661"/>
                  </a:cubicBezTo>
                  <a:lnTo>
                    <a:pt x="160850" y="51661"/>
                  </a:lnTo>
                  <a:cubicBezTo>
                    <a:pt x="172278" y="51246"/>
                    <a:pt x="181326" y="43498"/>
                    <a:pt x="181271" y="34063"/>
                  </a:cubicBezTo>
                  <a:cubicBezTo>
                    <a:pt x="181215" y="26287"/>
                    <a:pt x="176179" y="19148"/>
                    <a:pt x="171946" y="14555"/>
                  </a:cubicBezTo>
                  <a:lnTo>
                    <a:pt x="170341" y="12812"/>
                  </a:lnTo>
                  <a:lnTo>
                    <a:pt x="169898" y="28"/>
                  </a:lnTo>
                  <a:lnTo>
                    <a:pt x="269097" y="28"/>
                  </a:lnTo>
                  <a:lnTo>
                    <a:pt x="269319" y="80522"/>
                  </a:lnTo>
                  <a:cubicBezTo>
                    <a:pt x="276458" y="76260"/>
                    <a:pt x="283597" y="74213"/>
                    <a:pt x="290819" y="74462"/>
                  </a:cubicBezTo>
                  <a:cubicBezTo>
                    <a:pt x="307421" y="75043"/>
                    <a:pt x="320565" y="89791"/>
                    <a:pt x="320758" y="108026"/>
                  </a:cubicBezTo>
                  <a:lnTo>
                    <a:pt x="320703" y="109493"/>
                  </a:lnTo>
                  <a:cubicBezTo>
                    <a:pt x="319458" y="127922"/>
                    <a:pt x="305457" y="141785"/>
                    <a:pt x="288744" y="141176"/>
                  </a:cubicBezTo>
                  <a:cubicBezTo>
                    <a:pt x="281521" y="140927"/>
                    <a:pt x="274964" y="137745"/>
                    <a:pt x="269457" y="133898"/>
                  </a:cubicBezTo>
                  <a:lnTo>
                    <a:pt x="269706" y="218128"/>
                  </a:lnTo>
                  <a:close/>
                  <a:moveTo>
                    <a:pt x="185753" y="205289"/>
                  </a:moveTo>
                  <a:lnTo>
                    <a:pt x="256839" y="205289"/>
                  </a:lnTo>
                  <a:lnTo>
                    <a:pt x="256590" y="115470"/>
                  </a:lnTo>
                  <a:lnTo>
                    <a:pt x="267548" y="115470"/>
                  </a:lnTo>
                  <a:lnTo>
                    <a:pt x="269402" y="117185"/>
                  </a:lnTo>
                  <a:cubicBezTo>
                    <a:pt x="277205" y="124490"/>
                    <a:pt x="283680" y="128115"/>
                    <a:pt x="289186" y="128309"/>
                  </a:cubicBezTo>
                  <a:cubicBezTo>
                    <a:pt x="299037" y="128669"/>
                    <a:pt x="307117" y="120063"/>
                    <a:pt x="307892" y="108746"/>
                  </a:cubicBezTo>
                  <a:lnTo>
                    <a:pt x="307919" y="107971"/>
                  </a:lnTo>
                  <a:cubicBezTo>
                    <a:pt x="307726" y="96681"/>
                    <a:pt x="300061" y="87578"/>
                    <a:pt x="290348" y="87246"/>
                  </a:cubicBezTo>
                  <a:cubicBezTo>
                    <a:pt x="283873" y="86997"/>
                    <a:pt x="277094" y="89847"/>
                    <a:pt x="270010" y="95630"/>
                  </a:cubicBezTo>
                  <a:lnTo>
                    <a:pt x="268240" y="97096"/>
                  </a:lnTo>
                  <a:lnTo>
                    <a:pt x="256507" y="97069"/>
                  </a:lnTo>
                  <a:lnTo>
                    <a:pt x="256258" y="12812"/>
                  </a:lnTo>
                  <a:lnTo>
                    <a:pt x="186915" y="12812"/>
                  </a:lnTo>
                  <a:cubicBezTo>
                    <a:pt x="191592" y="19757"/>
                    <a:pt x="194027" y="26951"/>
                    <a:pt x="194082" y="33952"/>
                  </a:cubicBezTo>
                  <a:cubicBezTo>
                    <a:pt x="194165" y="50361"/>
                    <a:pt x="179693" y="63753"/>
                    <a:pt x="161126" y="64445"/>
                  </a:cubicBezTo>
                  <a:lnTo>
                    <a:pt x="159798" y="64445"/>
                  </a:lnTo>
                  <a:cubicBezTo>
                    <a:pt x="140954" y="63753"/>
                    <a:pt x="126344" y="50361"/>
                    <a:pt x="126261" y="34007"/>
                  </a:cubicBezTo>
                  <a:cubicBezTo>
                    <a:pt x="126234" y="26868"/>
                    <a:pt x="128558" y="19757"/>
                    <a:pt x="133207" y="12784"/>
                  </a:cubicBezTo>
                  <a:lnTo>
                    <a:pt x="64251" y="12784"/>
                  </a:lnTo>
                  <a:lnTo>
                    <a:pt x="64500" y="96986"/>
                  </a:lnTo>
                  <a:lnTo>
                    <a:pt x="52657" y="96681"/>
                  </a:lnTo>
                  <a:lnTo>
                    <a:pt x="50914" y="95187"/>
                  </a:lnTo>
                  <a:cubicBezTo>
                    <a:pt x="43969" y="89183"/>
                    <a:pt x="37023" y="86084"/>
                    <a:pt x="30742" y="86167"/>
                  </a:cubicBezTo>
                  <a:cubicBezTo>
                    <a:pt x="21030" y="86194"/>
                    <a:pt x="13171" y="95104"/>
                    <a:pt x="12839" y="106421"/>
                  </a:cubicBezTo>
                  <a:lnTo>
                    <a:pt x="12839" y="107362"/>
                  </a:lnTo>
                  <a:cubicBezTo>
                    <a:pt x="13393" y="118403"/>
                    <a:pt x="21417" y="127285"/>
                    <a:pt x="31130" y="127285"/>
                  </a:cubicBezTo>
                  <a:cubicBezTo>
                    <a:pt x="31157" y="127285"/>
                    <a:pt x="31157" y="127285"/>
                    <a:pt x="31185" y="127285"/>
                  </a:cubicBezTo>
                  <a:cubicBezTo>
                    <a:pt x="37604" y="127257"/>
                    <a:pt x="44328" y="124186"/>
                    <a:pt x="51135" y="118154"/>
                  </a:cubicBezTo>
                  <a:lnTo>
                    <a:pt x="52851" y="116632"/>
                  </a:lnTo>
                  <a:lnTo>
                    <a:pt x="64528" y="116189"/>
                  </a:lnTo>
                  <a:lnTo>
                    <a:pt x="64777" y="205289"/>
                  </a:lnTo>
                  <a:lnTo>
                    <a:pt x="135614" y="205289"/>
                  </a:lnTo>
                  <a:cubicBezTo>
                    <a:pt x="129692" y="197513"/>
                    <a:pt x="126704" y="189544"/>
                    <a:pt x="126676" y="181547"/>
                  </a:cubicBezTo>
                  <a:cubicBezTo>
                    <a:pt x="126649" y="173966"/>
                    <a:pt x="129748" y="166660"/>
                    <a:pt x="135420" y="161016"/>
                  </a:cubicBezTo>
                  <a:cubicBezTo>
                    <a:pt x="141702" y="154734"/>
                    <a:pt x="150611" y="151110"/>
                    <a:pt x="159826" y="151110"/>
                  </a:cubicBezTo>
                  <a:cubicBezTo>
                    <a:pt x="159854" y="151110"/>
                    <a:pt x="159881" y="151110"/>
                    <a:pt x="159937" y="151110"/>
                  </a:cubicBezTo>
                  <a:lnTo>
                    <a:pt x="161126" y="151110"/>
                  </a:lnTo>
                  <a:cubicBezTo>
                    <a:pt x="179887" y="151857"/>
                    <a:pt x="194442" y="165277"/>
                    <a:pt x="194497" y="181630"/>
                  </a:cubicBezTo>
                  <a:cubicBezTo>
                    <a:pt x="194525" y="189627"/>
                    <a:pt x="191592" y="197569"/>
                    <a:pt x="185753" y="205289"/>
                  </a:cubicBezTo>
                  <a:close/>
                </a:path>
              </a:pathLst>
            </a:custGeom>
            <a:solidFill>
              <a:schemeClr val="accent1"/>
            </a:solidFill>
            <a:ln w="2764" cap="flat">
              <a:noFill/>
              <a:prstDash val="solid"/>
              <a:miter/>
            </a:ln>
          </p:spPr>
          <p:txBody>
            <a:bodyPr rtlCol="0" anchor="ctr"/>
            <a:lstStyle/>
            <a:p>
              <a:endParaRPr lang="en-GB" dirty="0"/>
            </a:p>
          </p:txBody>
        </p:sp>
        <p:sp>
          <p:nvSpPr>
            <p:cNvPr id="389" name="Freihandform: Form 342">
              <a:extLst>
                <a:ext uri="{FF2B5EF4-FFF2-40B4-BE49-F238E27FC236}">
                  <a16:creationId xmlns:a16="http://schemas.microsoft.com/office/drawing/2014/main" id="{F220CCBE-1D00-4081-AA0A-E272B3075D3A}"/>
                </a:ext>
              </a:extLst>
            </p:cNvPr>
            <p:cNvSpPr/>
            <p:nvPr/>
          </p:nvSpPr>
          <p:spPr>
            <a:xfrm>
              <a:off x="1203380" y="2518556"/>
              <a:ext cx="192532" cy="320758"/>
            </a:xfrm>
            <a:custGeom>
              <a:avLst/>
              <a:gdLst>
                <a:gd name="connsiteX0" fmla="*/ 80660 w 192532"/>
                <a:gd name="connsiteY0" fmla="*/ 320758 h 320758"/>
                <a:gd name="connsiteX1" fmla="*/ 47760 w 192532"/>
                <a:gd name="connsiteY1" fmla="*/ 290072 h 320758"/>
                <a:gd name="connsiteX2" fmla="*/ 54179 w 192532"/>
                <a:gd name="connsiteY2" fmla="*/ 269153 h 320758"/>
                <a:gd name="connsiteX3" fmla="*/ 55 w 192532"/>
                <a:gd name="connsiteY3" fmla="*/ 269346 h 320758"/>
                <a:gd name="connsiteX4" fmla="*/ 0 w 192532"/>
                <a:gd name="connsiteY4" fmla="*/ 256507 h 320758"/>
                <a:gd name="connsiteX5" fmla="*/ 71418 w 192532"/>
                <a:gd name="connsiteY5" fmla="*/ 256230 h 320758"/>
                <a:gd name="connsiteX6" fmla="*/ 71114 w 192532"/>
                <a:gd name="connsiteY6" fmla="*/ 268073 h 320758"/>
                <a:gd name="connsiteX7" fmla="*/ 69619 w 192532"/>
                <a:gd name="connsiteY7" fmla="*/ 269817 h 320758"/>
                <a:gd name="connsiteX8" fmla="*/ 60599 w 192532"/>
                <a:gd name="connsiteY8" fmla="*/ 289989 h 320758"/>
                <a:gd name="connsiteX9" fmla="*/ 80854 w 192532"/>
                <a:gd name="connsiteY9" fmla="*/ 307892 h 320758"/>
                <a:gd name="connsiteX10" fmla="*/ 81795 w 192532"/>
                <a:gd name="connsiteY10" fmla="*/ 307892 h 320758"/>
                <a:gd name="connsiteX11" fmla="*/ 101717 w 192532"/>
                <a:gd name="connsiteY11" fmla="*/ 289546 h 320758"/>
                <a:gd name="connsiteX12" fmla="*/ 92586 w 192532"/>
                <a:gd name="connsiteY12" fmla="*/ 269595 h 320758"/>
                <a:gd name="connsiteX13" fmla="*/ 91064 w 192532"/>
                <a:gd name="connsiteY13" fmla="*/ 267880 h 320758"/>
                <a:gd name="connsiteX14" fmla="*/ 90621 w 192532"/>
                <a:gd name="connsiteY14" fmla="*/ 256203 h 320758"/>
                <a:gd name="connsiteX15" fmla="*/ 179721 w 192532"/>
                <a:gd name="connsiteY15" fmla="*/ 255954 h 320758"/>
                <a:gd name="connsiteX16" fmla="*/ 179721 w 192532"/>
                <a:gd name="connsiteY16" fmla="*/ 185117 h 320758"/>
                <a:gd name="connsiteX17" fmla="*/ 155980 w 192532"/>
                <a:gd name="connsiteY17" fmla="*/ 194054 h 320758"/>
                <a:gd name="connsiteX18" fmla="*/ 155897 w 192532"/>
                <a:gd name="connsiteY18" fmla="*/ 194054 h 320758"/>
                <a:gd name="connsiteX19" fmla="*/ 135448 w 192532"/>
                <a:gd name="connsiteY19" fmla="*/ 185310 h 320758"/>
                <a:gd name="connsiteX20" fmla="*/ 125542 w 192532"/>
                <a:gd name="connsiteY20" fmla="*/ 160794 h 320758"/>
                <a:gd name="connsiteX21" fmla="*/ 125542 w 192532"/>
                <a:gd name="connsiteY21" fmla="*/ 159604 h 320758"/>
                <a:gd name="connsiteX22" fmla="*/ 156063 w 192532"/>
                <a:gd name="connsiteY22" fmla="*/ 126234 h 320758"/>
                <a:gd name="connsiteX23" fmla="*/ 179693 w 192532"/>
                <a:gd name="connsiteY23" fmla="*/ 134978 h 320758"/>
                <a:gd name="connsiteX24" fmla="*/ 179693 w 192532"/>
                <a:gd name="connsiteY24" fmla="*/ 63892 h 320758"/>
                <a:gd name="connsiteX25" fmla="*/ 89874 w 192532"/>
                <a:gd name="connsiteY25" fmla="*/ 64141 h 320758"/>
                <a:gd name="connsiteX26" fmla="*/ 89874 w 192532"/>
                <a:gd name="connsiteY26" fmla="*/ 53183 h 320758"/>
                <a:gd name="connsiteX27" fmla="*/ 91590 w 192532"/>
                <a:gd name="connsiteY27" fmla="*/ 51329 h 320758"/>
                <a:gd name="connsiteX28" fmla="*/ 102714 w 192532"/>
                <a:gd name="connsiteY28" fmla="*/ 31545 h 320758"/>
                <a:gd name="connsiteX29" fmla="*/ 83150 w 192532"/>
                <a:gd name="connsiteY29" fmla="*/ 12839 h 320758"/>
                <a:gd name="connsiteX30" fmla="*/ 82182 w 192532"/>
                <a:gd name="connsiteY30" fmla="*/ 12812 h 320758"/>
                <a:gd name="connsiteX31" fmla="*/ 61623 w 192532"/>
                <a:gd name="connsiteY31" fmla="*/ 30382 h 320758"/>
                <a:gd name="connsiteX32" fmla="*/ 70007 w 192532"/>
                <a:gd name="connsiteY32" fmla="*/ 50720 h 320758"/>
                <a:gd name="connsiteX33" fmla="*/ 71473 w 192532"/>
                <a:gd name="connsiteY33" fmla="*/ 52491 h 320758"/>
                <a:gd name="connsiteX34" fmla="*/ 71446 w 192532"/>
                <a:gd name="connsiteY34" fmla="*/ 64251 h 320758"/>
                <a:gd name="connsiteX35" fmla="*/ 28 w 192532"/>
                <a:gd name="connsiteY35" fmla="*/ 64141 h 320758"/>
                <a:gd name="connsiteX36" fmla="*/ 55 w 192532"/>
                <a:gd name="connsiteY36" fmla="*/ 51301 h 320758"/>
                <a:gd name="connsiteX37" fmla="*/ 54843 w 192532"/>
                <a:gd name="connsiteY37" fmla="*/ 51384 h 320758"/>
                <a:gd name="connsiteX38" fmla="*/ 48811 w 192532"/>
                <a:gd name="connsiteY38" fmla="*/ 29940 h 320758"/>
                <a:gd name="connsiteX39" fmla="*/ 82376 w 192532"/>
                <a:gd name="connsiteY39" fmla="*/ 0 h 320758"/>
                <a:gd name="connsiteX40" fmla="*/ 83842 w 192532"/>
                <a:gd name="connsiteY40" fmla="*/ 55 h 320758"/>
                <a:gd name="connsiteX41" fmla="*/ 115525 w 192532"/>
                <a:gd name="connsiteY41" fmla="*/ 32015 h 320758"/>
                <a:gd name="connsiteX42" fmla="*/ 108248 w 192532"/>
                <a:gd name="connsiteY42" fmla="*/ 51301 h 320758"/>
                <a:gd name="connsiteX43" fmla="*/ 192505 w 192532"/>
                <a:gd name="connsiteY43" fmla="*/ 51080 h 320758"/>
                <a:gd name="connsiteX44" fmla="*/ 192505 w 192532"/>
                <a:gd name="connsiteY44" fmla="*/ 150030 h 320758"/>
                <a:gd name="connsiteX45" fmla="*/ 177341 w 192532"/>
                <a:gd name="connsiteY45" fmla="*/ 149892 h 320758"/>
                <a:gd name="connsiteX46" fmla="*/ 175543 w 192532"/>
                <a:gd name="connsiteY46" fmla="*/ 148232 h 320758"/>
                <a:gd name="connsiteX47" fmla="*/ 156146 w 192532"/>
                <a:gd name="connsiteY47" fmla="*/ 139100 h 320758"/>
                <a:gd name="connsiteX48" fmla="*/ 156090 w 192532"/>
                <a:gd name="connsiteY48" fmla="*/ 139100 h 320758"/>
                <a:gd name="connsiteX49" fmla="*/ 138353 w 192532"/>
                <a:gd name="connsiteY49" fmla="*/ 159936 h 320758"/>
                <a:gd name="connsiteX50" fmla="*/ 138353 w 192532"/>
                <a:gd name="connsiteY50" fmla="*/ 160877 h 320758"/>
                <a:gd name="connsiteX51" fmla="*/ 144496 w 192532"/>
                <a:gd name="connsiteY51" fmla="*/ 176290 h 320758"/>
                <a:gd name="connsiteX52" fmla="*/ 155869 w 192532"/>
                <a:gd name="connsiteY52" fmla="*/ 181271 h 320758"/>
                <a:gd name="connsiteX53" fmla="*/ 155924 w 192532"/>
                <a:gd name="connsiteY53" fmla="*/ 181271 h 320758"/>
                <a:gd name="connsiteX54" fmla="*/ 175460 w 192532"/>
                <a:gd name="connsiteY54" fmla="*/ 172001 h 320758"/>
                <a:gd name="connsiteX55" fmla="*/ 177258 w 192532"/>
                <a:gd name="connsiteY55" fmla="*/ 170368 h 320758"/>
                <a:gd name="connsiteX56" fmla="*/ 192533 w 192532"/>
                <a:gd name="connsiteY56" fmla="*/ 170147 h 320758"/>
                <a:gd name="connsiteX57" fmla="*/ 192533 w 192532"/>
                <a:gd name="connsiteY57" fmla="*/ 268793 h 320758"/>
                <a:gd name="connsiteX58" fmla="*/ 108137 w 192532"/>
                <a:gd name="connsiteY58" fmla="*/ 269014 h 320758"/>
                <a:gd name="connsiteX59" fmla="*/ 114529 w 192532"/>
                <a:gd name="connsiteY59" fmla="*/ 289546 h 320758"/>
                <a:gd name="connsiteX60" fmla="*/ 82127 w 192532"/>
                <a:gd name="connsiteY60" fmla="*/ 320758 h 320758"/>
                <a:gd name="connsiteX61" fmla="*/ 80660 w 192532"/>
                <a:gd name="connsiteY61" fmla="*/ 320758 h 320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92532" h="320758">
                  <a:moveTo>
                    <a:pt x="80660" y="320758"/>
                  </a:moveTo>
                  <a:cubicBezTo>
                    <a:pt x="62176" y="320233"/>
                    <a:pt x="47815" y="306757"/>
                    <a:pt x="47760" y="290072"/>
                  </a:cubicBezTo>
                  <a:cubicBezTo>
                    <a:pt x="47732" y="283071"/>
                    <a:pt x="49890" y="276070"/>
                    <a:pt x="54179" y="269153"/>
                  </a:cubicBezTo>
                  <a:lnTo>
                    <a:pt x="55" y="269346"/>
                  </a:lnTo>
                  <a:lnTo>
                    <a:pt x="0" y="256507"/>
                  </a:lnTo>
                  <a:lnTo>
                    <a:pt x="71418" y="256230"/>
                  </a:lnTo>
                  <a:lnTo>
                    <a:pt x="71114" y="268073"/>
                  </a:lnTo>
                  <a:lnTo>
                    <a:pt x="69619" y="269817"/>
                  </a:lnTo>
                  <a:cubicBezTo>
                    <a:pt x="63615" y="276762"/>
                    <a:pt x="60571" y="283569"/>
                    <a:pt x="60599" y="289989"/>
                  </a:cubicBezTo>
                  <a:cubicBezTo>
                    <a:pt x="60626" y="299701"/>
                    <a:pt x="69536" y="307560"/>
                    <a:pt x="80854" y="307892"/>
                  </a:cubicBezTo>
                  <a:lnTo>
                    <a:pt x="81795" y="307892"/>
                  </a:lnTo>
                  <a:cubicBezTo>
                    <a:pt x="92863" y="307338"/>
                    <a:pt x="101745" y="299286"/>
                    <a:pt x="101717" y="289546"/>
                  </a:cubicBezTo>
                  <a:cubicBezTo>
                    <a:pt x="101690" y="283126"/>
                    <a:pt x="98618" y="276402"/>
                    <a:pt x="92586" y="269595"/>
                  </a:cubicBezTo>
                  <a:lnTo>
                    <a:pt x="91064" y="267880"/>
                  </a:lnTo>
                  <a:lnTo>
                    <a:pt x="90621" y="256203"/>
                  </a:lnTo>
                  <a:lnTo>
                    <a:pt x="179721" y="255954"/>
                  </a:lnTo>
                  <a:lnTo>
                    <a:pt x="179721" y="185117"/>
                  </a:lnTo>
                  <a:cubicBezTo>
                    <a:pt x="171946" y="191038"/>
                    <a:pt x="163976" y="194027"/>
                    <a:pt x="155980" y="194054"/>
                  </a:cubicBezTo>
                  <a:cubicBezTo>
                    <a:pt x="155952" y="194054"/>
                    <a:pt x="155924" y="194054"/>
                    <a:pt x="155897" y="194054"/>
                  </a:cubicBezTo>
                  <a:cubicBezTo>
                    <a:pt x="148343" y="194054"/>
                    <a:pt x="141093" y="190955"/>
                    <a:pt x="135448" y="185310"/>
                  </a:cubicBezTo>
                  <a:cubicBezTo>
                    <a:pt x="129139" y="179002"/>
                    <a:pt x="125514" y="170064"/>
                    <a:pt x="125542" y="160794"/>
                  </a:cubicBezTo>
                  <a:lnTo>
                    <a:pt x="125542" y="159604"/>
                  </a:lnTo>
                  <a:cubicBezTo>
                    <a:pt x="126289" y="140844"/>
                    <a:pt x="139709" y="126289"/>
                    <a:pt x="156063" y="126234"/>
                  </a:cubicBezTo>
                  <a:cubicBezTo>
                    <a:pt x="164115" y="126234"/>
                    <a:pt x="171973" y="129139"/>
                    <a:pt x="179693" y="134978"/>
                  </a:cubicBezTo>
                  <a:lnTo>
                    <a:pt x="179693" y="63892"/>
                  </a:lnTo>
                  <a:lnTo>
                    <a:pt x="89874" y="64141"/>
                  </a:lnTo>
                  <a:lnTo>
                    <a:pt x="89874" y="53183"/>
                  </a:lnTo>
                  <a:lnTo>
                    <a:pt x="91590" y="51329"/>
                  </a:lnTo>
                  <a:cubicBezTo>
                    <a:pt x="98895" y="43526"/>
                    <a:pt x="102520" y="37051"/>
                    <a:pt x="102714" y="31545"/>
                  </a:cubicBezTo>
                  <a:cubicBezTo>
                    <a:pt x="103046" y="21832"/>
                    <a:pt x="94468" y="13614"/>
                    <a:pt x="83150" y="12839"/>
                  </a:cubicBezTo>
                  <a:lnTo>
                    <a:pt x="82182" y="12812"/>
                  </a:lnTo>
                  <a:cubicBezTo>
                    <a:pt x="71141" y="12922"/>
                    <a:pt x="61982" y="20642"/>
                    <a:pt x="61623" y="30382"/>
                  </a:cubicBezTo>
                  <a:cubicBezTo>
                    <a:pt x="61401" y="36802"/>
                    <a:pt x="64224" y="43637"/>
                    <a:pt x="70007" y="50720"/>
                  </a:cubicBezTo>
                  <a:lnTo>
                    <a:pt x="71473" y="52491"/>
                  </a:lnTo>
                  <a:lnTo>
                    <a:pt x="71446" y="64251"/>
                  </a:lnTo>
                  <a:lnTo>
                    <a:pt x="28" y="64141"/>
                  </a:lnTo>
                  <a:lnTo>
                    <a:pt x="55" y="51301"/>
                  </a:lnTo>
                  <a:lnTo>
                    <a:pt x="54843" y="51384"/>
                  </a:lnTo>
                  <a:cubicBezTo>
                    <a:pt x="50610" y="44245"/>
                    <a:pt x="48562" y="37079"/>
                    <a:pt x="48811" y="29940"/>
                  </a:cubicBezTo>
                  <a:cubicBezTo>
                    <a:pt x="49392" y="13337"/>
                    <a:pt x="64141" y="194"/>
                    <a:pt x="82376" y="0"/>
                  </a:cubicBezTo>
                  <a:lnTo>
                    <a:pt x="83842" y="55"/>
                  </a:lnTo>
                  <a:cubicBezTo>
                    <a:pt x="102271" y="1301"/>
                    <a:pt x="116106" y="15329"/>
                    <a:pt x="115525" y="32015"/>
                  </a:cubicBezTo>
                  <a:cubicBezTo>
                    <a:pt x="115276" y="39237"/>
                    <a:pt x="112094" y="45795"/>
                    <a:pt x="108248" y="51301"/>
                  </a:cubicBezTo>
                  <a:lnTo>
                    <a:pt x="192505" y="51080"/>
                  </a:lnTo>
                  <a:lnTo>
                    <a:pt x="192505" y="150030"/>
                  </a:lnTo>
                  <a:lnTo>
                    <a:pt x="177341" y="149892"/>
                  </a:lnTo>
                  <a:lnTo>
                    <a:pt x="175543" y="148232"/>
                  </a:lnTo>
                  <a:cubicBezTo>
                    <a:pt x="168874" y="142172"/>
                    <a:pt x="162344" y="139100"/>
                    <a:pt x="156146" y="139100"/>
                  </a:cubicBezTo>
                  <a:cubicBezTo>
                    <a:pt x="156118" y="139100"/>
                    <a:pt x="156118" y="139100"/>
                    <a:pt x="156090" y="139100"/>
                  </a:cubicBezTo>
                  <a:cubicBezTo>
                    <a:pt x="146627" y="139128"/>
                    <a:pt x="138824" y="148287"/>
                    <a:pt x="138353" y="159936"/>
                  </a:cubicBezTo>
                  <a:lnTo>
                    <a:pt x="138353" y="160877"/>
                  </a:lnTo>
                  <a:cubicBezTo>
                    <a:pt x="138326" y="166743"/>
                    <a:pt x="140567" y="172361"/>
                    <a:pt x="144496" y="176290"/>
                  </a:cubicBezTo>
                  <a:cubicBezTo>
                    <a:pt x="147706" y="179500"/>
                    <a:pt x="151746" y="181271"/>
                    <a:pt x="155869" y="181271"/>
                  </a:cubicBezTo>
                  <a:cubicBezTo>
                    <a:pt x="155897" y="181271"/>
                    <a:pt x="155897" y="181271"/>
                    <a:pt x="155924" y="181271"/>
                  </a:cubicBezTo>
                  <a:cubicBezTo>
                    <a:pt x="163700" y="181243"/>
                    <a:pt x="170839" y="176207"/>
                    <a:pt x="175460" y="172001"/>
                  </a:cubicBezTo>
                  <a:lnTo>
                    <a:pt x="177258" y="170368"/>
                  </a:lnTo>
                  <a:lnTo>
                    <a:pt x="192533" y="170147"/>
                  </a:lnTo>
                  <a:lnTo>
                    <a:pt x="192533" y="268793"/>
                  </a:lnTo>
                  <a:lnTo>
                    <a:pt x="108137" y="269014"/>
                  </a:lnTo>
                  <a:cubicBezTo>
                    <a:pt x="112371" y="275766"/>
                    <a:pt x="114501" y="282628"/>
                    <a:pt x="114529" y="289546"/>
                  </a:cubicBezTo>
                  <a:cubicBezTo>
                    <a:pt x="114584" y="306148"/>
                    <a:pt x="100334" y="319873"/>
                    <a:pt x="82127" y="320758"/>
                  </a:cubicBezTo>
                  <a:lnTo>
                    <a:pt x="80660" y="320758"/>
                  </a:lnTo>
                  <a:close/>
                </a:path>
              </a:pathLst>
            </a:custGeom>
            <a:solidFill>
              <a:schemeClr val="tx2"/>
            </a:solidFill>
            <a:ln w="2764" cap="flat">
              <a:noFill/>
              <a:prstDash val="solid"/>
              <a:miter/>
            </a:ln>
          </p:spPr>
          <p:txBody>
            <a:bodyPr rtlCol="0" anchor="ctr"/>
            <a:lstStyle/>
            <a:p>
              <a:endParaRPr lang="en-GB" dirty="0"/>
            </a:p>
          </p:txBody>
        </p:sp>
      </p:grpSp>
      <p:grpSp>
        <p:nvGrpSpPr>
          <p:cNvPr id="390" name="Group 389">
            <a:extLst>
              <a:ext uri="{FF2B5EF4-FFF2-40B4-BE49-F238E27FC236}">
                <a16:creationId xmlns:a16="http://schemas.microsoft.com/office/drawing/2014/main" id="{A6ADC043-C9C8-45FA-95DD-D0714D72C2B9}"/>
              </a:ext>
            </a:extLst>
          </p:cNvPr>
          <p:cNvGrpSpPr>
            <a:grpSpLocks noChangeAspect="1"/>
          </p:cNvGrpSpPr>
          <p:nvPr/>
        </p:nvGrpSpPr>
        <p:grpSpPr>
          <a:xfrm>
            <a:off x="6048819" y="2391526"/>
            <a:ext cx="415165" cy="432000"/>
            <a:chOff x="6116580" y="2439257"/>
            <a:chExt cx="487940" cy="507726"/>
          </a:xfrm>
        </p:grpSpPr>
        <p:grpSp>
          <p:nvGrpSpPr>
            <p:cNvPr id="391" name="Group 390">
              <a:extLst>
                <a:ext uri="{FF2B5EF4-FFF2-40B4-BE49-F238E27FC236}">
                  <a16:creationId xmlns:a16="http://schemas.microsoft.com/office/drawing/2014/main" id="{450CB8C9-95D7-472B-9C5F-1DA12D908F5A}"/>
                </a:ext>
              </a:extLst>
            </p:cNvPr>
            <p:cNvGrpSpPr/>
            <p:nvPr/>
          </p:nvGrpSpPr>
          <p:grpSpPr>
            <a:xfrm>
              <a:off x="6228653" y="2617314"/>
              <a:ext cx="263740" cy="329669"/>
              <a:chOff x="6228653" y="2617314"/>
              <a:chExt cx="263740" cy="329669"/>
            </a:xfrm>
          </p:grpSpPr>
          <p:sp>
            <p:nvSpPr>
              <p:cNvPr id="412" name="Freihandform: Form 781">
                <a:extLst>
                  <a:ext uri="{FF2B5EF4-FFF2-40B4-BE49-F238E27FC236}">
                    <a16:creationId xmlns:a16="http://schemas.microsoft.com/office/drawing/2014/main" id="{39506AA2-8014-428A-867E-71EFE4458A41}"/>
                  </a:ext>
                </a:extLst>
              </p:cNvPr>
              <p:cNvSpPr/>
              <p:nvPr/>
            </p:nvSpPr>
            <p:spPr>
              <a:xfrm>
                <a:off x="6261631" y="2881028"/>
                <a:ext cx="26366" cy="65928"/>
              </a:xfrm>
              <a:custGeom>
                <a:avLst/>
                <a:gdLst>
                  <a:gd name="connsiteX0" fmla="*/ 26366 w 26366"/>
                  <a:gd name="connsiteY0" fmla="*/ 65929 h 65928"/>
                  <a:gd name="connsiteX1" fmla="*/ 13196 w 26366"/>
                  <a:gd name="connsiteY1" fmla="*/ 65929 h 65928"/>
                  <a:gd name="connsiteX2" fmla="*/ 13196 w 26366"/>
                  <a:gd name="connsiteY2" fmla="*/ 13196 h 65928"/>
                  <a:gd name="connsiteX3" fmla="*/ 0 w 26366"/>
                  <a:gd name="connsiteY3" fmla="*/ 13196 h 65928"/>
                  <a:gd name="connsiteX4" fmla="*/ 0 w 26366"/>
                  <a:gd name="connsiteY4" fmla="*/ 0 h 65928"/>
                  <a:gd name="connsiteX5" fmla="*/ 26366 w 26366"/>
                  <a:gd name="connsiteY5" fmla="*/ 0 h 6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66" h="65928">
                    <a:moveTo>
                      <a:pt x="26366" y="65929"/>
                    </a:moveTo>
                    <a:lnTo>
                      <a:pt x="13196" y="65929"/>
                    </a:lnTo>
                    <a:lnTo>
                      <a:pt x="13196" y="13196"/>
                    </a:lnTo>
                    <a:lnTo>
                      <a:pt x="0" y="13196"/>
                    </a:lnTo>
                    <a:lnTo>
                      <a:pt x="0" y="0"/>
                    </a:lnTo>
                    <a:lnTo>
                      <a:pt x="26366" y="0"/>
                    </a:lnTo>
                    <a:close/>
                  </a:path>
                </a:pathLst>
              </a:custGeom>
              <a:solidFill>
                <a:schemeClr val="tx2"/>
              </a:solidFill>
              <a:ln w="2620" cap="flat">
                <a:noFill/>
                <a:prstDash val="solid"/>
                <a:miter/>
              </a:ln>
            </p:spPr>
            <p:txBody>
              <a:bodyPr rtlCol="0" anchor="ctr"/>
              <a:lstStyle/>
              <a:p>
                <a:endParaRPr lang="en-GB" dirty="0"/>
              </a:p>
            </p:txBody>
          </p:sp>
          <p:sp>
            <p:nvSpPr>
              <p:cNvPr id="413" name="Freihandform: Form 782">
                <a:extLst>
                  <a:ext uri="{FF2B5EF4-FFF2-40B4-BE49-F238E27FC236}">
                    <a16:creationId xmlns:a16="http://schemas.microsoft.com/office/drawing/2014/main" id="{755C6CC3-BCED-4C23-BC5D-4ACB535C9C26}"/>
                  </a:ext>
                </a:extLst>
              </p:cNvPr>
              <p:cNvSpPr/>
              <p:nvPr/>
            </p:nvSpPr>
            <p:spPr>
              <a:xfrm>
                <a:off x="6433051" y="2881028"/>
                <a:ext cx="26392" cy="65928"/>
              </a:xfrm>
              <a:custGeom>
                <a:avLst/>
                <a:gdLst>
                  <a:gd name="connsiteX0" fmla="*/ 13196 w 26392"/>
                  <a:gd name="connsiteY0" fmla="*/ 65929 h 65928"/>
                  <a:gd name="connsiteX1" fmla="*/ 0 w 26392"/>
                  <a:gd name="connsiteY1" fmla="*/ 65929 h 65928"/>
                  <a:gd name="connsiteX2" fmla="*/ 0 w 26392"/>
                  <a:gd name="connsiteY2" fmla="*/ 0 h 65928"/>
                  <a:gd name="connsiteX3" fmla="*/ 26392 w 26392"/>
                  <a:gd name="connsiteY3" fmla="*/ 0 h 65928"/>
                  <a:gd name="connsiteX4" fmla="*/ 26392 w 26392"/>
                  <a:gd name="connsiteY4" fmla="*/ 13196 h 65928"/>
                  <a:gd name="connsiteX5" fmla="*/ 13196 w 26392"/>
                  <a:gd name="connsiteY5" fmla="*/ 13196 h 6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92" h="65928">
                    <a:moveTo>
                      <a:pt x="13196" y="65929"/>
                    </a:moveTo>
                    <a:lnTo>
                      <a:pt x="0" y="65929"/>
                    </a:lnTo>
                    <a:lnTo>
                      <a:pt x="0" y="0"/>
                    </a:lnTo>
                    <a:lnTo>
                      <a:pt x="26392" y="0"/>
                    </a:lnTo>
                    <a:lnTo>
                      <a:pt x="26392" y="13196"/>
                    </a:lnTo>
                    <a:lnTo>
                      <a:pt x="13196" y="13196"/>
                    </a:lnTo>
                    <a:close/>
                  </a:path>
                </a:pathLst>
              </a:custGeom>
              <a:solidFill>
                <a:schemeClr val="tx2"/>
              </a:solidFill>
              <a:ln w="2620" cap="flat">
                <a:noFill/>
                <a:prstDash val="solid"/>
                <a:miter/>
              </a:ln>
            </p:spPr>
            <p:txBody>
              <a:bodyPr rtlCol="0" anchor="ctr"/>
              <a:lstStyle/>
              <a:p>
                <a:endParaRPr lang="en-GB" dirty="0"/>
              </a:p>
            </p:txBody>
          </p:sp>
          <p:sp>
            <p:nvSpPr>
              <p:cNvPr id="414" name="Freihandform: Form 783">
                <a:extLst>
                  <a:ext uri="{FF2B5EF4-FFF2-40B4-BE49-F238E27FC236}">
                    <a16:creationId xmlns:a16="http://schemas.microsoft.com/office/drawing/2014/main" id="{69E6F189-7664-4414-85F3-5C2176C1C254}"/>
                  </a:ext>
                </a:extLst>
              </p:cNvPr>
              <p:cNvSpPr/>
              <p:nvPr/>
            </p:nvSpPr>
            <p:spPr>
              <a:xfrm>
                <a:off x="6228653" y="2762367"/>
                <a:ext cx="263740" cy="184616"/>
              </a:xfrm>
              <a:custGeom>
                <a:avLst/>
                <a:gdLst>
                  <a:gd name="connsiteX0" fmla="*/ 263741 w 263740"/>
                  <a:gd name="connsiteY0" fmla="*/ 184616 h 184616"/>
                  <a:gd name="connsiteX1" fmla="*/ 250545 w 263740"/>
                  <a:gd name="connsiteY1" fmla="*/ 184616 h 184616"/>
                  <a:gd name="connsiteX2" fmla="*/ 250545 w 263740"/>
                  <a:gd name="connsiteY2" fmla="*/ 105491 h 184616"/>
                  <a:gd name="connsiteX3" fmla="*/ 165281 w 263740"/>
                  <a:gd name="connsiteY3" fmla="*/ 13196 h 184616"/>
                  <a:gd name="connsiteX4" fmla="*/ 98460 w 263740"/>
                  <a:gd name="connsiteY4" fmla="*/ 13196 h 184616"/>
                  <a:gd name="connsiteX5" fmla="*/ 13196 w 263740"/>
                  <a:gd name="connsiteY5" fmla="*/ 105491 h 184616"/>
                  <a:gd name="connsiteX6" fmla="*/ 13196 w 263740"/>
                  <a:gd name="connsiteY6" fmla="*/ 184616 h 184616"/>
                  <a:gd name="connsiteX7" fmla="*/ 0 w 263740"/>
                  <a:gd name="connsiteY7" fmla="*/ 184616 h 184616"/>
                  <a:gd name="connsiteX8" fmla="*/ 0 w 263740"/>
                  <a:gd name="connsiteY8" fmla="*/ 105491 h 184616"/>
                  <a:gd name="connsiteX9" fmla="*/ 98460 w 263740"/>
                  <a:gd name="connsiteY9" fmla="*/ 0 h 184616"/>
                  <a:gd name="connsiteX10" fmla="*/ 165281 w 263740"/>
                  <a:gd name="connsiteY10" fmla="*/ 0 h 184616"/>
                  <a:gd name="connsiteX11" fmla="*/ 263741 w 263740"/>
                  <a:gd name="connsiteY11" fmla="*/ 105491 h 184616"/>
                  <a:gd name="connsiteX12" fmla="*/ 263741 w 263740"/>
                  <a:gd name="connsiteY12" fmla="*/ 184616 h 184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3740" h="184616">
                    <a:moveTo>
                      <a:pt x="263741" y="184616"/>
                    </a:moveTo>
                    <a:lnTo>
                      <a:pt x="250545" y="184616"/>
                    </a:lnTo>
                    <a:lnTo>
                      <a:pt x="250545" y="105491"/>
                    </a:lnTo>
                    <a:cubicBezTo>
                      <a:pt x="250545" y="60131"/>
                      <a:pt x="218643" y="13196"/>
                      <a:pt x="165281" y="13196"/>
                    </a:cubicBezTo>
                    <a:lnTo>
                      <a:pt x="98460" y="13196"/>
                    </a:lnTo>
                    <a:cubicBezTo>
                      <a:pt x="45072" y="13196"/>
                      <a:pt x="13196" y="60131"/>
                      <a:pt x="13196" y="105491"/>
                    </a:cubicBezTo>
                    <a:lnTo>
                      <a:pt x="13196" y="184616"/>
                    </a:lnTo>
                    <a:lnTo>
                      <a:pt x="0" y="184616"/>
                    </a:lnTo>
                    <a:lnTo>
                      <a:pt x="0" y="105491"/>
                    </a:lnTo>
                    <a:cubicBezTo>
                      <a:pt x="0" y="46331"/>
                      <a:pt x="43262" y="0"/>
                      <a:pt x="98460" y="0"/>
                    </a:cubicBezTo>
                    <a:lnTo>
                      <a:pt x="165281" y="0"/>
                    </a:lnTo>
                    <a:cubicBezTo>
                      <a:pt x="220479" y="0"/>
                      <a:pt x="263741" y="46331"/>
                      <a:pt x="263741" y="105491"/>
                    </a:cubicBezTo>
                    <a:lnTo>
                      <a:pt x="263741" y="184616"/>
                    </a:lnTo>
                    <a:close/>
                  </a:path>
                </a:pathLst>
              </a:custGeom>
              <a:solidFill>
                <a:schemeClr val="tx2"/>
              </a:solidFill>
              <a:ln w="2620" cap="flat">
                <a:noFill/>
                <a:prstDash val="solid"/>
                <a:miter/>
              </a:ln>
            </p:spPr>
            <p:txBody>
              <a:bodyPr rtlCol="0" anchor="ctr"/>
              <a:lstStyle/>
              <a:p>
                <a:endParaRPr lang="en-GB" dirty="0"/>
              </a:p>
            </p:txBody>
          </p:sp>
          <p:sp>
            <p:nvSpPr>
              <p:cNvPr id="415" name="Freihandform: Form 784">
                <a:extLst>
                  <a:ext uri="{FF2B5EF4-FFF2-40B4-BE49-F238E27FC236}">
                    <a16:creationId xmlns:a16="http://schemas.microsoft.com/office/drawing/2014/main" id="{71F69CBA-810D-43F0-B464-3D5D88338BD7}"/>
                  </a:ext>
                </a:extLst>
              </p:cNvPr>
              <p:cNvSpPr/>
              <p:nvPr/>
            </p:nvSpPr>
            <p:spPr>
              <a:xfrm>
                <a:off x="6301193" y="2617314"/>
                <a:ext cx="118687" cy="131857"/>
              </a:xfrm>
              <a:custGeom>
                <a:avLst/>
                <a:gdLst>
                  <a:gd name="connsiteX0" fmla="*/ 59344 w 118687"/>
                  <a:gd name="connsiteY0" fmla="*/ 131857 h 131857"/>
                  <a:gd name="connsiteX1" fmla="*/ 0 w 118687"/>
                  <a:gd name="connsiteY1" fmla="*/ 65929 h 131857"/>
                  <a:gd name="connsiteX2" fmla="*/ 59344 w 118687"/>
                  <a:gd name="connsiteY2" fmla="*/ 0 h 131857"/>
                  <a:gd name="connsiteX3" fmla="*/ 118687 w 118687"/>
                  <a:gd name="connsiteY3" fmla="*/ 65929 h 131857"/>
                  <a:gd name="connsiteX4" fmla="*/ 59344 w 118687"/>
                  <a:gd name="connsiteY4" fmla="*/ 131857 h 131857"/>
                  <a:gd name="connsiteX5" fmla="*/ 59344 w 118687"/>
                  <a:gd name="connsiteY5" fmla="*/ 13170 h 131857"/>
                  <a:gd name="connsiteX6" fmla="*/ 13196 w 118687"/>
                  <a:gd name="connsiteY6" fmla="*/ 65929 h 131857"/>
                  <a:gd name="connsiteX7" fmla="*/ 59344 w 118687"/>
                  <a:gd name="connsiteY7" fmla="*/ 118687 h 131857"/>
                  <a:gd name="connsiteX8" fmla="*/ 105491 w 118687"/>
                  <a:gd name="connsiteY8" fmla="*/ 65929 h 131857"/>
                  <a:gd name="connsiteX9" fmla="*/ 59344 w 118687"/>
                  <a:gd name="connsiteY9" fmla="*/ 13170 h 131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687" h="131857">
                    <a:moveTo>
                      <a:pt x="59344" y="131857"/>
                    </a:moveTo>
                    <a:cubicBezTo>
                      <a:pt x="24950" y="131857"/>
                      <a:pt x="0" y="104127"/>
                      <a:pt x="0" y="65929"/>
                    </a:cubicBezTo>
                    <a:cubicBezTo>
                      <a:pt x="0" y="27730"/>
                      <a:pt x="24950" y="0"/>
                      <a:pt x="59344" y="0"/>
                    </a:cubicBezTo>
                    <a:cubicBezTo>
                      <a:pt x="93738" y="0"/>
                      <a:pt x="118687" y="27730"/>
                      <a:pt x="118687" y="65929"/>
                    </a:cubicBezTo>
                    <a:cubicBezTo>
                      <a:pt x="118687" y="104127"/>
                      <a:pt x="93712" y="131857"/>
                      <a:pt x="59344" y="131857"/>
                    </a:cubicBezTo>
                    <a:close/>
                    <a:moveTo>
                      <a:pt x="59344" y="13170"/>
                    </a:moveTo>
                    <a:cubicBezTo>
                      <a:pt x="32164" y="13170"/>
                      <a:pt x="13196" y="34866"/>
                      <a:pt x="13196" y="65929"/>
                    </a:cubicBezTo>
                    <a:cubicBezTo>
                      <a:pt x="13196" y="96991"/>
                      <a:pt x="32164" y="118687"/>
                      <a:pt x="59344" y="118687"/>
                    </a:cubicBezTo>
                    <a:cubicBezTo>
                      <a:pt x="86523" y="118687"/>
                      <a:pt x="105491" y="96991"/>
                      <a:pt x="105491" y="65929"/>
                    </a:cubicBezTo>
                    <a:cubicBezTo>
                      <a:pt x="105491" y="34866"/>
                      <a:pt x="86523" y="13170"/>
                      <a:pt x="59344" y="13170"/>
                    </a:cubicBezTo>
                    <a:close/>
                  </a:path>
                </a:pathLst>
              </a:custGeom>
              <a:solidFill>
                <a:schemeClr val="tx2"/>
              </a:solidFill>
              <a:ln w="2620" cap="flat">
                <a:noFill/>
                <a:prstDash val="solid"/>
                <a:miter/>
              </a:ln>
            </p:spPr>
            <p:txBody>
              <a:bodyPr rtlCol="0" anchor="ctr"/>
              <a:lstStyle/>
              <a:p>
                <a:endParaRPr lang="en-GB" dirty="0"/>
              </a:p>
            </p:txBody>
          </p:sp>
          <p:sp>
            <p:nvSpPr>
              <p:cNvPr id="416" name="Freihandform: Form 785">
                <a:extLst>
                  <a:ext uri="{FF2B5EF4-FFF2-40B4-BE49-F238E27FC236}">
                    <a16:creationId xmlns:a16="http://schemas.microsoft.com/office/drawing/2014/main" id="{04BEBD09-FE42-43E6-9EA5-B68AF4859E02}"/>
                  </a:ext>
                </a:extLst>
              </p:cNvPr>
              <p:cNvSpPr/>
              <p:nvPr/>
            </p:nvSpPr>
            <p:spPr>
              <a:xfrm>
                <a:off x="6353926" y="2841466"/>
                <a:ext cx="13196" cy="13196"/>
              </a:xfrm>
              <a:custGeom>
                <a:avLst/>
                <a:gdLst>
                  <a:gd name="connsiteX0" fmla="*/ 0 w 13196"/>
                  <a:gd name="connsiteY0" fmla="*/ 0 h 13196"/>
                  <a:gd name="connsiteX1" fmla="*/ 13196 w 13196"/>
                  <a:gd name="connsiteY1" fmla="*/ 0 h 13196"/>
                  <a:gd name="connsiteX2" fmla="*/ 13196 w 13196"/>
                  <a:gd name="connsiteY2" fmla="*/ 13196 h 13196"/>
                  <a:gd name="connsiteX3" fmla="*/ 0 w 13196"/>
                  <a:gd name="connsiteY3" fmla="*/ 13196 h 13196"/>
                </a:gdLst>
                <a:ahLst/>
                <a:cxnLst>
                  <a:cxn ang="0">
                    <a:pos x="connsiteX0" y="connsiteY0"/>
                  </a:cxn>
                  <a:cxn ang="0">
                    <a:pos x="connsiteX1" y="connsiteY1"/>
                  </a:cxn>
                  <a:cxn ang="0">
                    <a:pos x="connsiteX2" y="connsiteY2"/>
                  </a:cxn>
                  <a:cxn ang="0">
                    <a:pos x="connsiteX3" y="connsiteY3"/>
                  </a:cxn>
                </a:cxnLst>
                <a:rect l="l" t="t" r="r" b="b"/>
                <a:pathLst>
                  <a:path w="13196" h="13196">
                    <a:moveTo>
                      <a:pt x="0" y="0"/>
                    </a:moveTo>
                    <a:lnTo>
                      <a:pt x="13196" y="0"/>
                    </a:lnTo>
                    <a:lnTo>
                      <a:pt x="13196" y="13196"/>
                    </a:lnTo>
                    <a:lnTo>
                      <a:pt x="0" y="13196"/>
                    </a:lnTo>
                    <a:close/>
                  </a:path>
                </a:pathLst>
              </a:custGeom>
              <a:solidFill>
                <a:schemeClr val="tx2"/>
              </a:solidFill>
              <a:ln w="2620" cap="flat">
                <a:noFill/>
                <a:prstDash val="solid"/>
                <a:miter/>
              </a:ln>
            </p:spPr>
            <p:txBody>
              <a:bodyPr rtlCol="0" anchor="ctr"/>
              <a:lstStyle/>
              <a:p>
                <a:endParaRPr lang="en-GB" dirty="0"/>
              </a:p>
            </p:txBody>
          </p:sp>
          <p:sp>
            <p:nvSpPr>
              <p:cNvPr id="417" name="Freihandform: Form 786">
                <a:extLst>
                  <a:ext uri="{FF2B5EF4-FFF2-40B4-BE49-F238E27FC236}">
                    <a16:creationId xmlns:a16="http://schemas.microsoft.com/office/drawing/2014/main" id="{3C0A4535-57CC-4317-B5FF-6B1C083D452F}"/>
                  </a:ext>
                </a:extLst>
              </p:cNvPr>
              <p:cNvSpPr/>
              <p:nvPr/>
            </p:nvSpPr>
            <p:spPr>
              <a:xfrm>
                <a:off x="6353926" y="2887640"/>
                <a:ext cx="13196" cy="13196"/>
              </a:xfrm>
              <a:custGeom>
                <a:avLst/>
                <a:gdLst>
                  <a:gd name="connsiteX0" fmla="*/ 0 w 13196"/>
                  <a:gd name="connsiteY0" fmla="*/ 0 h 13196"/>
                  <a:gd name="connsiteX1" fmla="*/ 13196 w 13196"/>
                  <a:gd name="connsiteY1" fmla="*/ 0 h 13196"/>
                  <a:gd name="connsiteX2" fmla="*/ 13196 w 13196"/>
                  <a:gd name="connsiteY2" fmla="*/ 13196 h 13196"/>
                  <a:gd name="connsiteX3" fmla="*/ 0 w 13196"/>
                  <a:gd name="connsiteY3" fmla="*/ 13196 h 13196"/>
                </a:gdLst>
                <a:ahLst/>
                <a:cxnLst>
                  <a:cxn ang="0">
                    <a:pos x="connsiteX0" y="connsiteY0"/>
                  </a:cxn>
                  <a:cxn ang="0">
                    <a:pos x="connsiteX1" y="connsiteY1"/>
                  </a:cxn>
                  <a:cxn ang="0">
                    <a:pos x="connsiteX2" y="connsiteY2"/>
                  </a:cxn>
                  <a:cxn ang="0">
                    <a:pos x="connsiteX3" y="connsiteY3"/>
                  </a:cxn>
                </a:cxnLst>
                <a:rect l="l" t="t" r="r" b="b"/>
                <a:pathLst>
                  <a:path w="13196" h="13196">
                    <a:moveTo>
                      <a:pt x="0" y="0"/>
                    </a:moveTo>
                    <a:lnTo>
                      <a:pt x="13196" y="0"/>
                    </a:lnTo>
                    <a:lnTo>
                      <a:pt x="13196" y="13196"/>
                    </a:lnTo>
                    <a:lnTo>
                      <a:pt x="0" y="13196"/>
                    </a:lnTo>
                    <a:close/>
                  </a:path>
                </a:pathLst>
              </a:custGeom>
              <a:solidFill>
                <a:schemeClr val="tx2"/>
              </a:solidFill>
              <a:ln w="2620" cap="flat">
                <a:noFill/>
                <a:prstDash val="solid"/>
                <a:miter/>
              </a:ln>
            </p:spPr>
            <p:txBody>
              <a:bodyPr rtlCol="0" anchor="ctr"/>
              <a:lstStyle/>
              <a:p>
                <a:endParaRPr lang="en-GB" dirty="0"/>
              </a:p>
            </p:txBody>
          </p:sp>
          <p:sp>
            <p:nvSpPr>
              <p:cNvPr id="418" name="Freihandform: Form 787">
                <a:extLst>
                  <a:ext uri="{FF2B5EF4-FFF2-40B4-BE49-F238E27FC236}">
                    <a16:creationId xmlns:a16="http://schemas.microsoft.com/office/drawing/2014/main" id="{32A4C51F-8047-4DBD-91B4-938E8B07AE9F}"/>
                  </a:ext>
                </a:extLst>
              </p:cNvPr>
              <p:cNvSpPr/>
              <p:nvPr/>
            </p:nvSpPr>
            <p:spPr>
              <a:xfrm>
                <a:off x="6353926" y="2933787"/>
                <a:ext cx="13196" cy="13196"/>
              </a:xfrm>
              <a:custGeom>
                <a:avLst/>
                <a:gdLst>
                  <a:gd name="connsiteX0" fmla="*/ 0 w 13196"/>
                  <a:gd name="connsiteY0" fmla="*/ 0 h 13196"/>
                  <a:gd name="connsiteX1" fmla="*/ 13196 w 13196"/>
                  <a:gd name="connsiteY1" fmla="*/ 0 h 13196"/>
                  <a:gd name="connsiteX2" fmla="*/ 13196 w 13196"/>
                  <a:gd name="connsiteY2" fmla="*/ 13196 h 13196"/>
                  <a:gd name="connsiteX3" fmla="*/ 0 w 13196"/>
                  <a:gd name="connsiteY3" fmla="*/ 13196 h 13196"/>
                </a:gdLst>
                <a:ahLst/>
                <a:cxnLst>
                  <a:cxn ang="0">
                    <a:pos x="connsiteX0" y="connsiteY0"/>
                  </a:cxn>
                  <a:cxn ang="0">
                    <a:pos x="connsiteX1" y="connsiteY1"/>
                  </a:cxn>
                  <a:cxn ang="0">
                    <a:pos x="connsiteX2" y="connsiteY2"/>
                  </a:cxn>
                  <a:cxn ang="0">
                    <a:pos x="connsiteX3" y="connsiteY3"/>
                  </a:cxn>
                </a:cxnLst>
                <a:rect l="l" t="t" r="r" b="b"/>
                <a:pathLst>
                  <a:path w="13196" h="13196">
                    <a:moveTo>
                      <a:pt x="0" y="0"/>
                    </a:moveTo>
                    <a:lnTo>
                      <a:pt x="13196" y="0"/>
                    </a:lnTo>
                    <a:lnTo>
                      <a:pt x="13196" y="13196"/>
                    </a:lnTo>
                    <a:lnTo>
                      <a:pt x="0" y="13196"/>
                    </a:lnTo>
                    <a:close/>
                  </a:path>
                </a:pathLst>
              </a:custGeom>
              <a:solidFill>
                <a:schemeClr val="tx2"/>
              </a:solidFill>
              <a:ln w="2620" cap="flat">
                <a:noFill/>
                <a:prstDash val="solid"/>
                <a:miter/>
              </a:ln>
            </p:spPr>
            <p:txBody>
              <a:bodyPr rtlCol="0" anchor="ctr"/>
              <a:lstStyle/>
              <a:p>
                <a:endParaRPr lang="en-GB" dirty="0"/>
              </a:p>
            </p:txBody>
          </p:sp>
        </p:grpSp>
        <p:grpSp>
          <p:nvGrpSpPr>
            <p:cNvPr id="392" name="Group 391">
              <a:extLst>
                <a:ext uri="{FF2B5EF4-FFF2-40B4-BE49-F238E27FC236}">
                  <a16:creationId xmlns:a16="http://schemas.microsoft.com/office/drawing/2014/main" id="{F8665BF4-4B59-41EF-96F5-216A44ED5CE4}"/>
                </a:ext>
              </a:extLst>
            </p:cNvPr>
            <p:cNvGrpSpPr/>
            <p:nvPr/>
          </p:nvGrpSpPr>
          <p:grpSpPr>
            <a:xfrm>
              <a:off x="6116580" y="2439257"/>
              <a:ext cx="487940" cy="392344"/>
              <a:chOff x="6116580" y="2439257"/>
              <a:chExt cx="487940" cy="392344"/>
            </a:xfrm>
          </p:grpSpPr>
          <p:grpSp>
            <p:nvGrpSpPr>
              <p:cNvPr id="393" name="Grafik 174">
                <a:extLst>
                  <a:ext uri="{FF2B5EF4-FFF2-40B4-BE49-F238E27FC236}">
                    <a16:creationId xmlns:a16="http://schemas.microsoft.com/office/drawing/2014/main" id="{965F5FDD-05A9-4B72-B1E4-8FED1B7A0DD2}"/>
                  </a:ext>
                </a:extLst>
              </p:cNvPr>
              <p:cNvGrpSpPr/>
              <p:nvPr/>
            </p:nvGrpSpPr>
            <p:grpSpPr>
              <a:xfrm>
                <a:off x="6327560" y="2439257"/>
                <a:ext cx="65954" cy="145079"/>
                <a:chOff x="6327560" y="2439257"/>
                <a:chExt cx="65954" cy="145079"/>
              </a:xfrm>
              <a:solidFill>
                <a:schemeClr val="accent1"/>
              </a:solidFill>
            </p:grpSpPr>
            <p:sp>
              <p:nvSpPr>
                <p:cNvPr id="410" name="Freihandform: Form 789">
                  <a:extLst>
                    <a:ext uri="{FF2B5EF4-FFF2-40B4-BE49-F238E27FC236}">
                      <a16:creationId xmlns:a16="http://schemas.microsoft.com/office/drawing/2014/main" id="{325F7E37-6C81-4452-98C1-1003ECB12462}"/>
                    </a:ext>
                  </a:extLst>
                </p:cNvPr>
                <p:cNvSpPr/>
                <p:nvPr/>
              </p:nvSpPr>
              <p:spPr>
                <a:xfrm>
                  <a:off x="6327560" y="2439257"/>
                  <a:ext cx="65954" cy="65954"/>
                </a:xfrm>
                <a:custGeom>
                  <a:avLst/>
                  <a:gdLst>
                    <a:gd name="connsiteX0" fmla="*/ 32977 w 65954"/>
                    <a:gd name="connsiteY0" fmla="*/ 65955 h 65954"/>
                    <a:gd name="connsiteX1" fmla="*/ 0 w 65954"/>
                    <a:gd name="connsiteY1" fmla="*/ 32977 h 65954"/>
                    <a:gd name="connsiteX2" fmla="*/ 32977 w 65954"/>
                    <a:gd name="connsiteY2" fmla="*/ 0 h 65954"/>
                    <a:gd name="connsiteX3" fmla="*/ 65955 w 65954"/>
                    <a:gd name="connsiteY3" fmla="*/ 32977 h 65954"/>
                    <a:gd name="connsiteX4" fmla="*/ 32977 w 65954"/>
                    <a:gd name="connsiteY4" fmla="*/ 65955 h 65954"/>
                    <a:gd name="connsiteX5" fmla="*/ 32977 w 65954"/>
                    <a:gd name="connsiteY5" fmla="*/ 13222 h 65954"/>
                    <a:gd name="connsiteX6" fmla="*/ 13196 w 65954"/>
                    <a:gd name="connsiteY6" fmla="*/ 33004 h 65954"/>
                    <a:gd name="connsiteX7" fmla="*/ 32977 w 65954"/>
                    <a:gd name="connsiteY7" fmla="*/ 52785 h 65954"/>
                    <a:gd name="connsiteX8" fmla="*/ 52759 w 65954"/>
                    <a:gd name="connsiteY8" fmla="*/ 33004 h 65954"/>
                    <a:gd name="connsiteX9" fmla="*/ 32977 w 65954"/>
                    <a:gd name="connsiteY9" fmla="*/ 13222 h 65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954" h="65954">
                      <a:moveTo>
                        <a:pt x="32977" y="65955"/>
                      </a:moveTo>
                      <a:cubicBezTo>
                        <a:pt x="14797" y="65955"/>
                        <a:pt x="0" y="51158"/>
                        <a:pt x="0" y="32977"/>
                      </a:cubicBezTo>
                      <a:cubicBezTo>
                        <a:pt x="0" y="14797"/>
                        <a:pt x="14797" y="0"/>
                        <a:pt x="32977" y="0"/>
                      </a:cubicBezTo>
                      <a:cubicBezTo>
                        <a:pt x="51158" y="0"/>
                        <a:pt x="65955" y="14797"/>
                        <a:pt x="65955" y="32977"/>
                      </a:cubicBezTo>
                      <a:cubicBezTo>
                        <a:pt x="65955" y="51158"/>
                        <a:pt x="51158" y="65955"/>
                        <a:pt x="32977" y="65955"/>
                      </a:cubicBezTo>
                      <a:close/>
                      <a:moveTo>
                        <a:pt x="32977" y="13222"/>
                      </a:moveTo>
                      <a:cubicBezTo>
                        <a:pt x="22064" y="13222"/>
                        <a:pt x="13196" y="22090"/>
                        <a:pt x="13196" y="33004"/>
                      </a:cubicBezTo>
                      <a:cubicBezTo>
                        <a:pt x="13196" y="43917"/>
                        <a:pt x="22064" y="52785"/>
                        <a:pt x="32977" y="52785"/>
                      </a:cubicBezTo>
                      <a:cubicBezTo>
                        <a:pt x="43891" y="52785"/>
                        <a:pt x="52759" y="43917"/>
                        <a:pt x="52759" y="33004"/>
                      </a:cubicBezTo>
                      <a:cubicBezTo>
                        <a:pt x="52759" y="22090"/>
                        <a:pt x="43891" y="13222"/>
                        <a:pt x="32977" y="13222"/>
                      </a:cubicBezTo>
                      <a:close/>
                    </a:path>
                  </a:pathLst>
                </a:custGeom>
                <a:solidFill>
                  <a:schemeClr val="accent1"/>
                </a:solidFill>
                <a:ln w="2620" cap="flat">
                  <a:noFill/>
                  <a:prstDash val="solid"/>
                  <a:miter/>
                </a:ln>
              </p:spPr>
              <p:txBody>
                <a:bodyPr rtlCol="0" anchor="ctr"/>
                <a:lstStyle/>
                <a:p>
                  <a:endParaRPr lang="en-GB" dirty="0"/>
                </a:p>
              </p:txBody>
            </p:sp>
            <p:sp>
              <p:nvSpPr>
                <p:cNvPr id="411" name="Freihandform: Form 790">
                  <a:extLst>
                    <a:ext uri="{FF2B5EF4-FFF2-40B4-BE49-F238E27FC236}">
                      <a16:creationId xmlns:a16="http://schemas.microsoft.com/office/drawing/2014/main" id="{04863B95-4AE7-4EB3-B78B-FC56D7CBE8A4}"/>
                    </a:ext>
                  </a:extLst>
                </p:cNvPr>
                <p:cNvSpPr/>
                <p:nvPr/>
              </p:nvSpPr>
              <p:spPr>
                <a:xfrm>
                  <a:off x="6353926" y="2498627"/>
                  <a:ext cx="13196" cy="85709"/>
                </a:xfrm>
                <a:custGeom>
                  <a:avLst/>
                  <a:gdLst>
                    <a:gd name="connsiteX0" fmla="*/ 0 w 13196"/>
                    <a:gd name="connsiteY0" fmla="*/ 0 h 85709"/>
                    <a:gd name="connsiteX1" fmla="*/ 13196 w 13196"/>
                    <a:gd name="connsiteY1" fmla="*/ 0 h 85709"/>
                    <a:gd name="connsiteX2" fmla="*/ 13196 w 13196"/>
                    <a:gd name="connsiteY2" fmla="*/ 85710 h 85709"/>
                    <a:gd name="connsiteX3" fmla="*/ 0 w 13196"/>
                    <a:gd name="connsiteY3" fmla="*/ 85710 h 85709"/>
                  </a:gdLst>
                  <a:ahLst/>
                  <a:cxnLst>
                    <a:cxn ang="0">
                      <a:pos x="connsiteX0" y="connsiteY0"/>
                    </a:cxn>
                    <a:cxn ang="0">
                      <a:pos x="connsiteX1" y="connsiteY1"/>
                    </a:cxn>
                    <a:cxn ang="0">
                      <a:pos x="connsiteX2" y="connsiteY2"/>
                    </a:cxn>
                    <a:cxn ang="0">
                      <a:pos x="connsiteX3" y="connsiteY3"/>
                    </a:cxn>
                  </a:cxnLst>
                  <a:rect l="l" t="t" r="r" b="b"/>
                  <a:pathLst>
                    <a:path w="13196" h="85709">
                      <a:moveTo>
                        <a:pt x="0" y="0"/>
                      </a:moveTo>
                      <a:lnTo>
                        <a:pt x="13196" y="0"/>
                      </a:lnTo>
                      <a:lnTo>
                        <a:pt x="13196" y="85710"/>
                      </a:lnTo>
                      <a:lnTo>
                        <a:pt x="0" y="85710"/>
                      </a:lnTo>
                      <a:close/>
                    </a:path>
                  </a:pathLst>
                </a:custGeom>
                <a:solidFill>
                  <a:schemeClr val="accent1"/>
                </a:solidFill>
                <a:ln w="2620" cap="flat">
                  <a:noFill/>
                  <a:prstDash val="solid"/>
                  <a:miter/>
                </a:ln>
              </p:spPr>
              <p:txBody>
                <a:bodyPr rtlCol="0" anchor="ctr"/>
                <a:lstStyle/>
                <a:p>
                  <a:endParaRPr lang="en-GB" dirty="0"/>
                </a:p>
              </p:txBody>
            </p:sp>
          </p:grpSp>
          <p:grpSp>
            <p:nvGrpSpPr>
              <p:cNvPr id="394" name="Grafik 174">
                <a:extLst>
                  <a:ext uri="{FF2B5EF4-FFF2-40B4-BE49-F238E27FC236}">
                    <a16:creationId xmlns:a16="http://schemas.microsoft.com/office/drawing/2014/main" id="{7B6509CC-5D92-42EC-BBE9-6D1B01785E83}"/>
                  </a:ext>
                </a:extLst>
              </p:cNvPr>
              <p:cNvGrpSpPr/>
              <p:nvPr/>
            </p:nvGrpSpPr>
            <p:grpSpPr>
              <a:xfrm>
                <a:off x="6116595" y="2528290"/>
                <a:ext cx="133293" cy="94735"/>
                <a:chOff x="6116595" y="2528290"/>
                <a:chExt cx="133293" cy="94735"/>
              </a:xfrm>
              <a:solidFill>
                <a:schemeClr val="accent1"/>
              </a:solidFill>
            </p:grpSpPr>
            <p:sp>
              <p:nvSpPr>
                <p:cNvPr id="408" name="Freihandform: Form 792">
                  <a:extLst>
                    <a:ext uri="{FF2B5EF4-FFF2-40B4-BE49-F238E27FC236}">
                      <a16:creationId xmlns:a16="http://schemas.microsoft.com/office/drawing/2014/main" id="{42D80021-3F43-4EB5-8431-11F1A0E41E1B}"/>
                    </a:ext>
                  </a:extLst>
                </p:cNvPr>
                <p:cNvSpPr/>
                <p:nvPr/>
              </p:nvSpPr>
              <p:spPr>
                <a:xfrm>
                  <a:off x="6116595" y="2528290"/>
                  <a:ext cx="65998" cy="65937"/>
                </a:xfrm>
                <a:custGeom>
                  <a:avLst/>
                  <a:gdLst>
                    <a:gd name="connsiteX0" fmla="*/ 32908 w 65998"/>
                    <a:gd name="connsiteY0" fmla="*/ 65937 h 65937"/>
                    <a:gd name="connsiteX1" fmla="*/ 16484 w 65998"/>
                    <a:gd name="connsiteY1" fmla="*/ 61504 h 65937"/>
                    <a:gd name="connsiteX2" fmla="*/ 1137 w 65998"/>
                    <a:gd name="connsiteY2" fmla="*/ 41486 h 65937"/>
                    <a:gd name="connsiteX3" fmla="*/ 4442 w 65998"/>
                    <a:gd name="connsiteY3" fmla="*/ 16484 h 65937"/>
                    <a:gd name="connsiteX4" fmla="*/ 24460 w 65998"/>
                    <a:gd name="connsiteY4" fmla="*/ 1137 h 65937"/>
                    <a:gd name="connsiteX5" fmla="*/ 49488 w 65998"/>
                    <a:gd name="connsiteY5" fmla="*/ 4442 h 65937"/>
                    <a:gd name="connsiteX6" fmla="*/ 49488 w 65998"/>
                    <a:gd name="connsiteY6" fmla="*/ 4442 h 65937"/>
                    <a:gd name="connsiteX7" fmla="*/ 49488 w 65998"/>
                    <a:gd name="connsiteY7" fmla="*/ 4442 h 65937"/>
                    <a:gd name="connsiteX8" fmla="*/ 64862 w 65998"/>
                    <a:gd name="connsiteY8" fmla="*/ 24460 h 65937"/>
                    <a:gd name="connsiteX9" fmla="*/ 61556 w 65998"/>
                    <a:gd name="connsiteY9" fmla="*/ 49462 h 65937"/>
                    <a:gd name="connsiteX10" fmla="*/ 41539 w 65998"/>
                    <a:gd name="connsiteY10" fmla="*/ 64809 h 65937"/>
                    <a:gd name="connsiteX11" fmla="*/ 32908 w 65998"/>
                    <a:gd name="connsiteY11" fmla="*/ 65937 h 65937"/>
                    <a:gd name="connsiteX12" fmla="*/ 32986 w 65998"/>
                    <a:gd name="connsiteY12" fmla="*/ 13179 h 65937"/>
                    <a:gd name="connsiteX13" fmla="*/ 27844 w 65998"/>
                    <a:gd name="connsiteY13" fmla="*/ 13861 h 65937"/>
                    <a:gd name="connsiteX14" fmla="*/ 15828 w 65998"/>
                    <a:gd name="connsiteY14" fmla="*/ 23069 h 65937"/>
                    <a:gd name="connsiteX15" fmla="*/ 23069 w 65998"/>
                    <a:gd name="connsiteY15" fmla="*/ 50091 h 65937"/>
                    <a:gd name="connsiteX16" fmla="*/ 38076 w 65998"/>
                    <a:gd name="connsiteY16" fmla="*/ 52059 h 65937"/>
                    <a:gd name="connsiteX17" fmla="*/ 50091 w 65998"/>
                    <a:gd name="connsiteY17" fmla="*/ 42851 h 65937"/>
                    <a:gd name="connsiteX18" fmla="*/ 52059 w 65998"/>
                    <a:gd name="connsiteY18" fmla="*/ 27844 h 65937"/>
                    <a:gd name="connsiteX19" fmla="*/ 42851 w 65998"/>
                    <a:gd name="connsiteY19" fmla="*/ 15828 h 65937"/>
                    <a:gd name="connsiteX20" fmla="*/ 42851 w 65998"/>
                    <a:gd name="connsiteY20" fmla="*/ 15828 h 65937"/>
                    <a:gd name="connsiteX21" fmla="*/ 32986 w 65998"/>
                    <a:gd name="connsiteY21" fmla="*/ 13179 h 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998" h="65937">
                      <a:moveTo>
                        <a:pt x="32908" y="65937"/>
                      </a:moveTo>
                      <a:cubicBezTo>
                        <a:pt x="27188" y="65937"/>
                        <a:pt x="21548" y="64442"/>
                        <a:pt x="16484" y="61504"/>
                      </a:cubicBezTo>
                      <a:cubicBezTo>
                        <a:pt x="8850" y="57096"/>
                        <a:pt x="3393" y="49986"/>
                        <a:pt x="1137" y="41486"/>
                      </a:cubicBezTo>
                      <a:cubicBezTo>
                        <a:pt x="-1146" y="32986"/>
                        <a:pt x="35" y="24093"/>
                        <a:pt x="4442" y="16484"/>
                      </a:cubicBezTo>
                      <a:cubicBezTo>
                        <a:pt x="8850" y="8850"/>
                        <a:pt x="15960" y="3393"/>
                        <a:pt x="24460" y="1137"/>
                      </a:cubicBezTo>
                      <a:cubicBezTo>
                        <a:pt x="32960" y="-1146"/>
                        <a:pt x="41854" y="35"/>
                        <a:pt x="49488" y="4442"/>
                      </a:cubicBezTo>
                      <a:lnTo>
                        <a:pt x="49488" y="4442"/>
                      </a:lnTo>
                      <a:lnTo>
                        <a:pt x="49488" y="4442"/>
                      </a:lnTo>
                      <a:cubicBezTo>
                        <a:pt x="57122" y="8850"/>
                        <a:pt x="62579" y="15960"/>
                        <a:pt x="64862" y="24460"/>
                      </a:cubicBezTo>
                      <a:cubicBezTo>
                        <a:pt x="67144" y="32960"/>
                        <a:pt x="65964" y="41854"/>
                        <a:pt x="61556" y="49462"/>
                      </a:cubicBezTo>
                      <a:cubicBezTo>
                        <a:pt x="57149" y="57096"/>
                        <a:pt x="50039" y="62553"/>
                        <a:pt x="41539" y="64809"/>
                      </a:cubicBezTo>
                      <a:cubicBezTo>
                        <a:pt x="38653" y="65570"/>
                        <a:pt x="35767" y="65937"/>
                        <a:pt x="32908" y="65937"/>
                      </a:cubicBezTo>
                      <a:close/>
                      <a:moveTo>
                        <a:pt x="32986" y="13179"/>
                      </a:moveTo>
                      <a:cubicBezTo>
                        <a:pt x="31255" y="13179"/>
                        <a:pt x="29549" y="13415"/>
                        <a:pt x="27844" y="13861"/>
                      </a:cubicBezTo>
                      <a:cubicBezTo>
                        <a:pt x="22755" y="15225"/>
                        <a:pt x="18478" y="18504"/>
                        <a:pt x="15828" y="23069"/>
                      </a:cubicBezTo>
                      <a:cubicBezTo>
                        <a:pt x="10372" y="32514"/>
                        <a:pt x="13625" y="44635"/>
                        <a:pt x="23069" y="50091"/>
                      </a:cubicBezTo>
                      <a:cubicBezTo>
                        <a:pt x="27634" y="52741"/>
                        <a:pt x="32986" y="53423"/>
                        <a:pt x="38076" y="52059"/>
                      </a:cubicBezTo>
                      <a:cubicBezTo>
                        <a:pt x="43192" y="50695"/>
                        <a:pt x="47442" y="47415"/>
                        <a:pt x="50091" y="42851"/>
                      </a:cubicBezTo>
                      <a:cubicBezTo>
                        <a:pt x="52741" y="38286"/>
                        <a:pt x="53450" y="32934"/>
                        <a:pt x="52059" y="27844"/>
                      </a:cubicBezTo>
                      <a:cubicBezTo>
                        <a:pt x="50695" y="22755"/>
                        <a:pt x="47415" y="18478"/>
                        <a:pt x="42851" y="15828"/>
                      </a:cubicBezTo>
                      <a:lnTo>
                        <a:pt x="42851" y="15828"/>
                      </a:lnTo>
                      <a:cubicBezTo>
                        <a:pt x="39781" y="14071"/>
                        <a:pt x="36423" y="13179"/>
                        <a:pt x="32986" y="13179"/>
                      </a:cubicBezTo>
                      <a:close/>
                    </a:path>
                  </a:pathLst>
                </a:custGeom>
                <a:solidFill>
                  <a:schemeClr val="accent1"/>
                </a:solidFill>
                <a:ln w="2620" cap="flat">
                  <a:noFill/>
                  <a:prstDash val="solid"/>
                  <a:miter/>
                </a:ln>
              </p:spPr>
              <p:txBody>
                <a:bodyPr rtlCol="0" anchor="ctr"/>
                <a:lstStyle/>
                <a:p>
                  <a:endParaRPr lang="en-GB" dirty="0"/>
                </a:p>
              </p:txBody>
            </p:sp>
            <p:sp>
              <p:nvSpPr>
                <p:cNvPr id="409" name="Freihandform: Form 793">
                  <a:extLst>
                    <a:ext uri="{FF2B5EF4-FFF2-40B4-BE49-F238E27FC236}">
                      <a16:creationId xmlns:a16="http://schemas.microsoft.com/office/drawing/2014/main" id="{2D88F4DF-FA05-48F4-9CB9-741C94730043}"/>
                    </a:ext>
                  </a:extLst>
                </p:cNvPr>
                <p:cNvSpPr/>
                <p:nvPr/>
              </p:nvSpPr>
              <p:spPr>
                <a:xfrm rot="-3599956">
                  <a:off x="6202879" y="2553030"/>
                  <a:ext cx="13195" cy="85707"/>
                </a:xfrm>
                <a:custGeom>
                  <a:avLst/>
                  <a:gdLst>
                    <a:gd name="connsiteX0" fmla="*/ 0 w 13195"/>
                    <a:gd name="connsiteY0" fmla="*/ 0 h 85707"/>
                    <a:gd name="connsiteX1" fmla="*/ 13196 w 13195"/>
                    <a:gd name="connsiteY1" fmla="*/ 0 h 85707"/>
                    <a:gd name="connsiteX2" fmla="*/ 13196 w 13195"/>
                    <a:gd name="connsiteY2" fmla="*/ 85708 h 85707"/>
                    <a:gd name="connsiteX3" fmla="*/ 0 w 13195"/>
                    <a:gd name="connsiteY3" fmla="*/ 85708 h 85707"/>
                  </a:gdLst>
                  <a:ahLst/>
                  <a:cxnLst>
                    <a:cxn ang="0">
                      <a:pos x="connsiteX0" y="connsiteY0"/>
                    </a:cxn>
                    <a:cxn ang="0">
                      <a:pos x="connsiteX1" y="connsiteY1"/>
                    </a:cxn>
                    <a:cxn ang="0">
                      <a:pos x="connsiteX2" y="connsiteY2"/>
                    </a:cxn>
                    <a:cxn ang="0">
                      <a:pos x="connsiteX3" y="connsiteY3"/>
                    </a:cxn>
                  </a:cxnLst>
                  <a:rect l="l" t="t" r="r" b="b"/>
                  <a:pathLst>
                    <a:path w="13195" h="85707">
                      <a:moveTo>
                        <a:pt x="0" y="0"/>
                      </a:moveTo>
                      <a:lnTo>
                        <a:pt x="13196" y="0"/>
                      </a:lnTo>
                      <a:lnTo>
                        <a:pt x="13196" y="85708"/>
                      </a:lnTo>
                      <a:lnTo>
                        <a:pt x="0" y="85708"/>
                      </a:lnTo>
                      <a:close/>
                    </a:path>
                  </a:pathLst>
                </a:custGeom>
                <a:solidFill>
                  <a:schemeClr val="accent1"/>
                </a:solidFill>
                <a:ln w="2620" cap="flat">
                  <a:noFill/>
                  <a:prstDash val="solid"/>
                  <a:miter/>
                </a:ln>
              </p:spPr>
              <p:txBody>
                <a:bodyPr rtlCol="0" anchor="ctr"/>
                <a:lstStyle/>
                <a:p>
                  <a:endParaRPr lang="en-GB" dirty="0"/>
                </a:p>
              </p:txBody>
            </p:sp>
          </p:grpSp>
          <p:grpSp>
            <p:nvGrpSpPr>
              <p:cNvPr id="395" name="Grafik 174">
                <a:extLst>
                  <a:ext uri="{FF2B5EF4-FFF2-40B4-BE49-F238E27FC236}">
                    <a16:creationId xmlns:a16="http://schemas.microsoft.com/office/drawing/2014/main" id="{315F4FC5-96AD-4831-A8E1-AF8F8DDEFC1E}"/>
                  </a:ext>
                </a:extLst>
              </p:cNvPr>
              <p:cNvGrpSpPr/>
              <p:nvPr/>
            </p:nvGrpSpPr>
            <p:grpSpPr>
              <a:xfrm>
                <a:off x="6471155" y="2528301"/>
                <a:ext cx="133365" cy="94765"/>
                <a:chOff x="6471155" y="2528301"/>
                <a:chExt cx="133365" cy="94765"/>
              </a:xfrm>
              <a:solidFill>
                <a:schemeClr val="accent1"/>
              </a:solidFill>
            </p:grpSpPr>
            <p:sp>
              <p:nvSpPr>
                <p:cNvPr id="406" name="Freihandform: Form 795">
                  <a:extLst>
                    <a:ext uri="{FF2B5EF4-FFF2-40B4-BE49-F238E27FC236}">
                      <a16:creationId xmlns:a16="http://schemas.microsoft.com/office/drawing/2014/main" id="{FC9941E6-9FE5-4A96-A3E4-2ADF6850070B}"/>
                    </a:ext>
                  </a:extLst>
                </p:cNvPr>
                <p:cNvSpPr/>
                <p:nvPr/>
              </p:nvSpPr>
              <p:spPr>
                <a:xfrm>
                  <a:off x="6538545" y="2528301"/>
                  <a:ext cx="65975" cy="65925"/>
                </a:xfrm>
                <a:custGeom>
                  <a:avLst/>
                  <a:gdLst>
                    <a:gd name="connsiteX0" fmla="*/ 33027 w 65975"/>
                    <a:gd name="connsiteY0" fmla="*/ 65926 h 65925"/>
                    <a:gd name="connsiteX1" fmla="*/ 24448 w 65975"/>
                    <a:gd name="connsiteY1" fmla="*/ 64798 h 65925"/>
                    <a:gd name="connsiteX2" fmla="*/ 4431 w 65975"/>
                    <a:gd name="connsiteY2" fmla="*/ 49450 h 65925"/>
                    <a:gd name="connsiteX3" fmla="*/ 1125 w 65975"/>
                    <a:gd name="connsiteY3" fmla="*/ 24448 h 65925"/>
                    <a:gd name="connsiteX4" fmla="*/ 16499 w 65975"/>
                    <a:gd name="connsiteY4" fmla="*/ 4431 h 65925"/>
                    <a:gd name="connsiteX5" fmla="*/ 16499 w 65975"/>
                    <a:gd name="connsiteY5" fmla="*/ 4431 h 65925"/>
                    <a:gd name="connsiteX6" fmla="*/ 16499 w 65975"/>
                    <a:gd name="connsiteY6" fmla="*/ 4431 h 65925"/>
                    <a:gd name="connsiteX7" fmla="*/ 16499 w 65975"/>
                    <a:gd name="connsiteY7" fmla="*/ 4431 h 65925"/>
                    <a:gd name="connsiteX8" fmla="*/ 41527 w 65975"/>
                    <a:gd name="connsiteY8" fmla="*/ 1125 h 65925"/>
                    <a:gd name="connsiteX9" fmla="*/ 61544 w 65975"/>
                    <a:gd name="connsiteY9" fmla="*/ 16473 h 65925"/>
                    <a:gd name="connsiteX10" fmla="*/ 64850 w 65975"/>
                    <a:gd name="connsiteY10" fmla="*/ 41475 h 65925"/>
                    <a:gd name="connsiteX11" fmla="*/ 49503 w 65975"/>
                    <a:gd name="connsiteY11" fmla="*/ 61492 h 65925"/>
                    <a:gd name="connsiteX12" fmla="*/ 33027 w 65975"/>
                    <a:gd name="connsiteY12" fmla="*/ 65926 h 65925"/>
                    <a:gd name="connsiteX13" fmla="*/ 32948 w 65975"/>
                    <a:gd name="connsiteY13" fmla="*/ 13167 h 65925"/>
                    <a:gd name="connsiteX14" fmla="*/ 23084 w 65975"/>
                    <a:gd name="connsiteY14" fmla="*/ 15817 h 65925"/>
                    <a:gd name="connsiteX15" fmla="*/ 23084 w 65975"/>
                    <a:gd name="connsiteY15" fmla="*/ 15817 h 65925"/>
                    <a:gd name="connsiteX16" fmla="*/ 13875 w 65975"/>
                    <a:gd name="connsiteY16" fmla="*/ 27832 h 65925"/>
                    <a:gd name="connsiteX17" fmla="*/ 15843 w 65975"/>
                    <a:gd name="connsiteY17" fmla="*/ 42839 h 65925"/>
                    <a:gd name="connsiteX18" fmla="*/ 27859 w 65975"/>
                    <a:gd name="connsiteY18" fmla="*/ 52047 h 65925"/>
                    <a:gd name="connsiteX19" fmla="*/ 42865 w 65975"/>
                    <a:gd name="connsiteY19" fmla="*/ 50080 h 65925"/>
                    <a:gd name="connsiteX20" fmla="*/ 50106 w 65975"/>
                    <a:gd name="connsiteY20" fmla="*/ 23058 h 65925"/>
                    <a:gd name="connsiteX21" fmla="*/ 38090 w 65975"/>
                    <a:gd name="connsiteY21" fmla="*/ 13849 h 65925"/>
                    <a:gd name="connsiteX22" fmla="*/ 32948 w 65975"/>
                    <a:gd name="connsiteY22" fmla="*/ 13167 h 6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975" h="65925">
                      <a:moveTo>
                        <a:pt x="33027" y="65926"/>
                      </a:moveTo>
                      <a:cubicBezTo>
                        <a:pt x="30167" y="65926"/>
                        <a:pt x="27282" y="65558"/>
                        <a:pt x="24448" y="64798"/>
                      </a:cubicBezTo>
                      <a:cubicBezTo>
                        <a:pt x="15948" y="62515"/>
                        <a:pt x="8838" y="57058"/>
                        <a:pt x="4431" y="49450"/>
                      </a:cubicBezTo>
                      <a:cubicBezTo>
                        <a:pt x="23" y="41816"/>
                        <a:pt x="-1131" y="32948"/>
                        <a:pt x="1125" y="24448"/>
                      </a:cubicBezTo>
                      <a:cubicBezTo>
                        <a:pt x="3408" y="15948"/>
                        <a:pt x="8865" y="8838"/>
                        <a:pt x="16499" y="4431"/>
                      </a:cubicBezTo>
                      <a:lnTo>
                        <a:pt x="16499" y="4431"/>
                      </a:lnTo>
                      <a:lnTo>
                        <a:pt x="16499" y="4431"/>
                      </a:lnTo>
                      <a:lnTo>
                        <a:pt x="16499" y="4431"/>
                      </a:lnTo>
                      <a:cubicBezTo>
                        <a:pt x="24133" y="23"/>
                        <a:pt x="33001" y="-1131"/>
                        <a:pt x="41527" y="1125"/>
                      </a:cubicBezTo>
                      <a:cubicBezTo>
                        <a:pt x="50027" y="3408"/>
                        <a:pt x="57137" y="8865"/>
                        <a:pt x="61544" y="16473"/>
                      </a:cubicBezTo>
                      <a:cubicBezTo>
                        <a:pt x="65952" y="24107"/>
                        <a:pt x="67106" y="32975"/>
                        <a:pt x="64850" y="41475"/>
                      </a:cubicBezTo>
                      <a:cubicBezTo>
                        <a:pt x="62568" y="49975"/>
                        <a:pt x="57111" y="57085"/>
                        <a:pt x="49503" y="61492"/>
                      </a:cubicBezTo>
                      <a:cubicBezTo>
                        <a:pt x="44387" y="64430"/>
                        <a:pt x="38746" y="65926"/>
                        <a:pt x="33027" y="65926"/>
                      </a:cubicBezTo>
                      <a:close/>
                      <a:moveTo>
                        <a:pt x="32948" y="13167"/>
                      </a:moveTo>
                      <a:cubicBezTo>
                        <a:pt x="29511" y="13167"/>
                        <a:pt x="26127" y="14059"/>
                        <a:pt x="23084" y="15817"/>
                      </a:cubicBezTo>
                      <a:lnTo>
                        <a:pt x="23084" y="15817"/>
                      </a:lnTo>
                      <a:cubicBezTo>
                        <a:pt x="18519" y="18467"/>
                        <a:pt x="15240" y="22717"/>
                        <a:pt x="13875" y="27832"/>
                      </a:cubicBezTo>
                      <a:cubicBezTo>
                        <a:pt x="12511" y="32948"/>
                        <a:pt x="13220" y="38274"/>
                        <a:pt x="15843" y="42839"/>
                      </a:cubicBezTo>
                      <a:cubicBezTo>
                        <a:pt x="18493" y="47404"/>
                        <a:pt x="22743" y="50683"/>
                        <a:pt x="27859" y="52047"/>
                      </a:cubicBezTo>
                      <a:cubicBezTo>
                        <a:pt x="32975" y="53412"/>
                        <a:pt x="38300" y="52703"/>
                        <a:pt x="42865" y="50080"/>
                      </a:cubicBezTo>
                      <a:cubicBezTo>
                        <a:pt x="52310" y="44623"/>
                        <a:pt x="55563" y="32502"/>
                        <a:pt x="50106" y="23058"/>
                      </a:cubicBezTo>
                      <a:cubicBezTo>
                        <a:pt x="47456" y="18493"/>
                        <a:pt x="43206" y="15213"/>
                        <a:pt x="38090" y="13849"/>
                      </a:cubicBezTo>
                      <a:cubicBezTo>
                        <a:pt x="36385" y="13403"/>
                        <a:pt x="34654" y="13167"/>
                        <a:pt x="32948" y="13167"/>
                      </a:cubicBezTo>
                      <a:close/>
                    </a:path>
                  </a:pathLst>
                </a:custGeom>
                <a:solidFill>
                  <a:schemeClr val="accent1"/>
                </a:solidFill>
                <a:ln w="2620" cap="flat">
                  <a:noFill/>
                  <a:prstDash val="solid"/>
                  <a:miter/>
                </a:ln>
              </p:spPr>
              <p:txBody>
                <a:bodyPr rtlCol="0" anchor="ctr"/>
                <a:lstStyle/>
                <a:p>
                  <a:endParaRPr lang="en-GB" dirty="0"/>
                </a:p>
              </p:txBody>
            </p:sp>
            <p:sp>
              <p:nvSpPr>
                <p:cNvPr id="407" name="Freihandform: Form 796">
                  <a:extLst>
                    <a:ext uri="{FF2B5EF4-FFF2-40B4-BE49-F238E27FC236}">
                      <a16:creationId xmlns:a16="http://schemas.microsoft.com/office/drawing/2014/main" id="{05DC144D-1783-4BD8-8E6D-B7323DFE787C}"/>
                    </a:ext>
                  </a:extLst>
                </p:cNvPr>
                <p:cNvSpPr/>
                <p:nvPr/>
              </p:nvSpPr>
              <p:spPr>
                <a:xfrm rot="-1799574">
                  <a:off x="6468714" y="2589330"/>
                  <a:ext cx="85711" cy="13196"/>
                </a:xfrm>
                <a:custGeom>
                  <a:avLst/>
                  <a:gdLst>
                    <a:gd name="connsiteX0" fmla="*/ 0 w 85711"/>
                    <a:gd name="connsiteY0" fmla="*/ 0 h 13196"/>
                    <a:gd name="connsiteX1" fmla="*/ 85711 w 85711"/>
                    <a:gd name="connsiteY1" fmla="*/ 0 h 13196"/>
                    <a:gd name="connsiteX2" fmla="*/ 85711 w 85711"/>
                    <a:gd name="connsiteY2" fmla="*/ 13196 h 13196"/>
                    <a:gd name="connsiteX3" fmla="*/ 0 w 85711"/>
                    <a:gd name="connsiteY3" fmla="*/ 13196 h 13196"/>
                  </a:gdLst>
                  <a:ahLst/>
                  <a:cxnLst>
                    <a:cxn ang="0">
                      <a:pos x="connsiteX0" y="connsiteY0"/>
                    </a:cxn>
                    <a:cxn ang="0">
                      <a:pos x="connsiteX1" y="connsiteY1"/>
                    </a:cxn>
                    <a:cxn ang="0">
                      <a:pos x="connsiteX2" y="connsiteY2"/>
                    </a:cxn>
                    <a:cxn ang="0">
                      <a:pos x="connsiteX3" y="connsiteY3"/>
                    </a:cxn>
                  </a:cxnLst>
                  <a:rect l="l" t="t" r="r" b="b"/>
                  <a:pathLst>
                    <a:path w="85711" h="13196">
                      <a:moveTo>
                        <a:pt x="0" y="0"/>
                      </a:moveTo>
                      <a:lnTo>
                        <a:pt x="85711" y="0"/>
                      </a:lnTo>
                      <a:lnTo>
                        <a:pt x="85711" y="13196"/>
                      </a:lnTo>
                      <a:lnTo>
                        <a:pt x="0" y="13196"/>
                      </a:lnTo>
                      <a:close/>
                    </a:path>
                  </a:pathLst>
                </a:custGeom>
                <a:solidFill>
                  <a:schemeClr val="accent1"/>
                </a:solidFill>
                <a:ln w="2620" cap="flat">
                  <a:noFill/>
                  <a:prstDash val="solid"/>
                  <a:miter/>
                </a:ln>
              </p:spPr>
              <p:txBody>
                <a:bodyPr rtlCol="0" anchor="ctr"/>
                <a:lstStyle/>
                <a:p>
                  <a:endParaRPr lang="en-GB" dirty="0"/>
                </a:p>
              </p:txBody>
            </p:sp>
          </p:grpSp>
          <p:grpSp>
            <p:nvGrpSpPr>
              <p:cNvPr id="396" name="Grafik 174">
                <a:extLst>
                  <a:ext uri="{FF2B5EF4-FFF2-40B4-BE49-F238E27FC236}">
                    <a16:creationId xmlns:a16="http://schemas.microsoft.com/office/drawing/2014/main" id="{70C4ACAB-35DE-4025-B0C4-70256085A14B}"/>
                  </a:ext>
                </a:extLst>
              </p:cNvPr>
              <p:cNvGrpSpPr/>
              <p:nvPr/>
            </p:nvGrpSpPr>
            <p:grpSpPr>
              <a:xfrm>
                <a:off x="6471120" y="2736897"/>
                <a:ext cx="133385" cy="94704"/>
                <a:chOff x="6471120" y="2736897"/>
                <a:chExt cx="133385" cy="94704"/>
              </a:xfrm>
              <a:solidFill>
                <a:schemeClr val="accent1"/>
              </a:solidFill>
            </p:grpSpPr>
            <p:sp>
              <p:nvSpPr>
                <p:cNvPr id="404" name="Freihandform: Form 798">
                  <a:extLst>
                    <a:ext uri="{FF2B5EF4-FFF2-40B4-BE49-F238E27FC236}">
                      <a16:creationId xmlns:a16="http://schemas.microsoft.com/office/drawing/2014/main" id="{2EE135A1-11FD-4A9F-AF77-43A959099262}"/>
                    </a:ext>
                  </a:extLst>
                </p:cNvPr>
                <p:cNvSpPr/>
                <p:nvPr/>
              </p:nvSpPr>
              <p:spPr>
                <a:xfrm>
                  <a:off x="6538533" y="2765664"/>
                  <a:ext cx="65972" cy="65937"/>
                </a:xfrm>
                <a:custGeom>
                  <a:avLst/>
                  <a:gdLst>
                    <a:gd name="connsiteX0" fmla="*/ 32934 w 65972"/>
                    <a:gd name="connsiteY0" fmla="*/ 65937 h 65937"/>
                    <a:gd name="connsiteX1" fmla="*/ 16511 w 65972"/>
                    <a:gd name="connsiteY1" fmla="*/ 61504 h 65937"/>
                    <a:gd name="connsiteX2" fmla="*/ 16511 w 65972"/>
                    <a:gd name="connsiteY2" fmla="*/ 61504 h 65937"/>
                    <a:gd name="connsiteX3" fmla="*/ 16511 w 65972"/>
                    <a:gd name="connsiteY3" fmla="*/ 61504 h 65937"/>
                    <a:gd name="connsiteX4" fmla="*/ 1137 w 65972"/>
                    <a:gd name="connsiteY4" fmla="*/ 41486 h 65937"/>
                    <a:gd name="connsiteX5" fmla="*/ 4442 w 65972"/>
                    <a:gd name="connsiteY5" fmla="*/ 16484 h 65937"/>
                    <a:gd name="connsiteX6" fmla="*/ 24460 w 65972"/>
                    <a:gd name="connsiteY6" fmla="*/ 1137 h 65937"/>
                    <a:gd name="connsiteX7" fmla="*/ 49488 w 65972"/>
                    <a:gd name="connsiteY7" fmla="*/ 4442 h 65937"/>
                    <a:gd name="connsiteX8" fmla="*/ 64835 w 65972"/>
                    <a:gd name="connsiteY8" fmla="*/ 24460 h 65937"/>
                    <a:gd name="connsiteX9" fmla="*/ 61530 w 65972"/>
                    <a:gd name="connsiteY9" fmla="*/ 49462 h 65937"/>
                    <a:gd name="connsiteX10" fmla="*/ 41513 w 65972"/>
                    <a:gd name="connsiteY10" fmla="*/ 64809 h 65937"/>
                    <a:gd name="connsiteX11" fmla="*/ 32934 w 65972"/>
                    <a:gd name="connsiteY11" fmla="*/ 65937 h 65937"/>
                    <a:gd name="connsiteX12" fmla="*/ 33012 w 65972"/>
                    <a:gd name="connsiteY12" fmla="*/ 13179 h 65937"/>
                    <a:gd name="connsiteX13" fmla="*/ 27870 w 65972"/>
                    <a:gd name="connsiteY13" fmla="*/ 13861 h 65937"/>
                    <a:gd name="connsiteX14" fmla="*/ 15855 w 65972"/>
                    <a:gd name="connsiteY14" fmla="*/ 23069 h 65937"/>
                    <a:gd name="connsiteX15" fmla="*/ 13887 w 65972"/>
                    <a:gd name="connsiteY15" fmla="*/ 38076 h 65937"/>
                    <a:gd name="connsiteX16" fmla="*/ 23096 w 65972"/>
                    <a:gd name="connsiteY16" fmla="*/ 50091 h 65937"/>
                    <a:gd name="connsiteX17" fmla="*/ 23096 w 65972"/>
                    <a:gd name="connsiteY17" fmla="*/ 50091 h 65937"/>
                    <a:gd name="connsiteX18" fmla="*/ 38102 w 65972"/>
                    <a:gd name="connsiteY18" fmla="*/ 52059 h 65937"/>
                    <a:gd name="connsiteX19" fmla="*/ 50118 w 65972"/>
                    <a:gd name="connsiteY19" fmla="*/ 42851 h 65937"/>
                    <a:gd name="connsiteX20" fmla="*/ 42877 w 65972"/>
                    <a:gd name="connsiteY20" fmla="*/ 15828 h 65937"/>
                    <a:gd name="connsiteX21" fmla="*/ 33012 w 65972"/>
                    <a:gd name="connsiteY21" fmla="*/ 13179 h 65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5972" h="65937">
                      <a:moveTo>
                        <a:pt x="32934" y="65937"/>
                      </a:moveTo>
                      <a:cubicBezTo>
                        <a:pt x="27214" y="65937"/>
                        <a:pt x="21574" y="64442"/>
                        <a:pt x="16511" y="61504"/>
                      </a:cubicBezTo>
                      <a:lnTo>
                        <a:pt x="16511" y="61504"/>
                      </a:lnTo>
                      <a:lnTo>
                        <a:pt x="16511" y="61504"/>
                      </a:lnTo>
                      <a:cubicBezTo>
                        <a:pt x="8876" y="57096"/>
                        <a:pt x="3419" y="49987"/>
                        <a:pt x="1137" y="41486"/>
                      </a:cubicBezTo>
                      <a:cubicBezTo>
                        <a:pt x="-1146" y="32986"/>
                        <a:pt x="35" y="24092"/>
                        <a:pt x="4442" y="16484"/>
                      </a:cubicBezTo>
                      <a:cubicBezTo>
                        <a:pt x="8850" y="8850"/>
                        <a:pt x="15960" y="3393"/>
                        <a:pt x="24460" y="1137"/>
                      </a:cubicBezTo>
                      <a:cubicBezTo>
                        <a:pt x="32960" y="-1146"/>
                        <a:pt x="41854" y="35"/>
                        <a:pt x="49488" y="4442"/>
                      </a:cubicBezTo>
                      <a:cubicBezTo>
                        <a:pt x="57122" y="8850"/>
                        <a:pt x="62579" y="15960"/>
                        <a:pt x="64835" y="24460"/>
                      </a:cubicBezTo>
                      <a:cubicBezTo>
                        <a:pt x="67118" y="32960"/>
                        <a:pt x="65937" y="41854"/>
                        <a:pt x="61530" y="49462"/>
                      </a:cubicBezTo>
                      <a:cubicBezTo>
                        <a:pt x="57122" y="57096"/>
                        <a:pt x="50013" y="62553"/>
                        <a:pt x="41513" y="64809"/>
                      </a:cubicBezTo>
                      <a:cubicBezTo>
                        <a:pt x="38679" y="65570"/>
                        <a:pt x="35793" y="65937"/>
                        <a:pt x="32934" y="65937"/>
                      </a:cubicBezTo>
                      <a:close/>
                      <a:moveTo>
                        <a:pt x="33012" y="13179"/>
                      </a:moveTo>
                      <a:cubicBezTo>
                        <a:pt x="31281" y="13179"/>
                        <a:pt x="29576" y="13415"/>
                        <a:pt x="27870" y="13861"/>
                      </a:cubicBezTo>
                      <a:cubicBezTo>
                        <a:pt x="22755" y="15225"/>
                        <a:pt x="18504" y="18504"/>
                        <a:pt x="15855" y="23069"/>
                      </a:cubicBezTo>
                      <a:cubicBezTo>
                        <a:pt x="13205" y="27634"/>
                        <a:pt x="12497" y="32986"/>
                        <a:pt x="13887" y="38076"/>
                      </a:cubicBezTo>
                      <a:cubicBezTo>
                        <a:pt x="15251" y="43165"/>
                        <a:pt x="18531" y="47442"/>
                        <a:pt x="23096" y="50091"/>
                      </a:cubicBezTo>
                      <a:lnTo>
                        <a:pt x="23096" y="50091"/>
                      </a:lnTo>
                      <a:cubicBezTo>
                        <a:pt x="27660" y="52741"/>
                        <a:pt x="33012" y="53423"/>
                        <a:pt x="38102" y="52059"/>
                      </a:cubicBezTo>
                      <a:cubicBezTo>
                        <a:pt x="43192" y="50695"/>
                        <a:pt x="47468" y="47415"/>
                        <a:pt x="50118" y="42851"/>
                      </a:cubicBezTo>
                      <a:cubicBezTo>
                        <a:pt x="55575" y="33406"/>
                        <a:pt x="52321" y="21285"/>
                        <a:pt x="42877" y="15828"/>
                      </a:cubicBezTo>
                      <a:cubicBezTo>
                        <a:pt x="39834" y="14071"/>
                        <a:pt x="36449" y="13179"/>
                        <a:pt x="33012" y="13179"/>
                      </a:cubicBezTo>
                      <a:close/>
                    </a:path>
                  </a:pathLst>
                </a:custGeom>
                <a:solidFill>
                  <a:schemeClr val="accent1"/>
                </a:solidFill>
                <a:ln w="2620" cap="flat">
                  <a:noFill/>
                  <a:prstDash val="solid"/>
                  <a:miter/>
                </a:ln>
              </p:spPr>
              <p:txBody>
                <a:bodyPr rtlCol="0" anchor="ctr"/>
                <a:lstStyle/>
                <a:p>
                  <a:endParaRPr lang="en-GB" dirty="0"/>
                </a:p>
              </p:txBody>
            </p:sp>
            <p:sp>
              <p:nvSpPr>
                <p:cNvPr id="405" name="Freihandform: Form 799">
                  <a:extLst>
                    <a:ext uri="{FF2B5EF4-FFF2-40B4-BE49-F238E27FC236}">
                      <a16:creationId xmlns:a16="http://schemas.microsoft.com/office/drawing/2014/main" id="{7E3B1FF3-32DC-4BF9-A0B9-2BF911F30330}"/>
                    </a:ext>
                  </a:extLst>
                </p:cNvPr>
                <p:cNvSpPr/>
                <p:nvPr/>
              </p:nvSpPr>
              <p:spPr>
                <a:xfrm rot="-3599956">
                  <a:off x="6504934" y="2721185"/>
                  <a:ext cx="13195" cy="85707"/>
                </a:xfrm>
                <a:custGeom>
                  <a:avLst/>
                  <a:gdLst>
                    <a:gd name="connsiteX0" fmla="*/ 0 w 13195"/>
                    <a:gd name="connsiteY0" fmla="*/ 0 h 85707"/>
                    <a:gd name="connsiteX1" fmla="*/ 13196 w 13195"/>
                    <a:gd name="connsiteY1" fmla="*/ 0 h 85707"/>
                    <a:gd name="connsiteX2" fmla="*/ 13196 w 13195"/>
                    <a:gd name="connsiteY2" fmla="*/ 85708 h 85707"/>
                    <a:gd name="connsiteX3" fmla="*/ 0 w 13195"/>
                    <a:gd name="connsiteY3" fmla="*/ 85708 h 85707"/>
                  </a:gdLst>
                  <a:ahLst/>
                  <a:cxnLst>
                    <a:cxn ang="0">
                      <a:pos x="connsiteX0" y="connsiteY0"/>
                    </a:cxn>
                    <a:cxn ang="0">
                      <a:pos x="connsiteX1" y="connsiteY1"/>
                    </a:cxn>
                    <a:cxn ang="0">
                      <a:pos x="connsiteX2" y="connsiteY2"/>
                    </a:cxn>
                    <a:cxn ang="0">
                      <a:pos x="connsiteX3" y="connsiteY3"/>
                    </a:cxn>
                  </a:cxnLst>
                  <a:rect l="l" t="t" r="r" b="b"/>
                  <a:pathLst>
                    <a:path w="13195" h="85707">
                      <a:moveTo>
                        <a:pt x="0" y="0"/>
                      </a:moveTo>
                      <a:lnTo>
                        <a:pt x="13196" y="0"/>
                      </a:lnTo>
                      <a:lnTo>
                        <a:pt x="13196" y="85708"/>
                      </a:lnTo>
                      <a:lnTo>
                        <a:pt x="0" y="85708"/>
                      </a:lnTo>
                      <a:close/>
                    </a:path>
                  </a:pathLst>
                </a:custGeom>
                <a:solidFill>
                  <a:schemeClr val="accent1"/>
                </a:solidFill>
                <a:ln w="2620" cap="flat">
                  <a:noFill/>
                  <a:prstDash val="solid"/>
                  <a:miter/>
                </a:ln>
              </p:spPr>
              <p:txBody>
                <a:bodyPr rtlCol="0" anchor="ctr"/>
                <a:lstStyle/>
                <a:p>
                  <a:endParaRPr lang="en-GB" dirty="0"/>
                </a:p>
              </p:txBody>
            </p:sp>
          </p:grpSp>
          <p:grpSp>
            <p:nvGrpSpPr>
              <p:cNvPr id="397" name="Grafik 174">
                <a:extLst>
                  <a:ext uri="{FF2B5EF4-FFF2-40B4-BE49-F238E27FC236}">
                    <a16:creationId xmlns:a16="http://schemas.microsoft.com/office/drawing/2014/main" id="{D30CBD22-0975-4C1E-9DD4-4E80C8852E27}"/>
                  </a:ext>
                </a:extLst>
              </p:cNvPr>
              <p:cNvGrpSpPr/>
              <p:nvPr/>
            </p:nvGrpSpPr>
            <p:grpSpPr>
              <a:xfrm>
                <a:off x="6116580" y="2736936"/>
                <a:ext cx="133328" cy="94665"/>
                <a:chOff x="6116580" y="2736936"/>
                <a:chExt cx="133328" cy="94665"/>
              </a:xfrm>
              <a:solidFill>
                <a:schemeClr val="accent1"/>
              </a:solidFill>
            </p:grpSpPr>
            <p:sp>
              <p:nvSpPr>
                <p:cNvPr id="402" name="Freihandform: Form 801">
                  <a:extLst>
                    <a:ext uri="{FF2B5EF4-FFF2-40B4-BE49-F238E27FC236}">
                      <a16:creationId xmlns:a16="http://schemas.microsoft.com/office/drawing/2014/main" id="{22528432-1737-4C57-BFCA-C4F722B1AB4A}"/>
                    </a:ext>
                  </a:extLst>
                </p:cNvPr>
                <p:cNvSpPr/>
                <p:nvPr/>
              </p:nvSpPr>
              <p:spPr>
                <a:xfrm>
                  <a:off x="6116580" y="2765676"/>
                  <a:ext cx="65949" cy="65925"/>
                </a:xfrm>
                <a:custGeom>
                  <a:avLst/>
                  <a:gdLst>
                    <a:gd name="connsiteX0" fmla="*/ 33027 w 65949"/>
                    <a:gd name="connsiteY0" fmla="*/ 65926 h 65925"/>
                    <a:gd name="connsiteX1" fmla="*/ 24448 w 65949"/>
                    <a:gd name="connsiteY1" fmla="*/ 64798 h 65925"/>
                    <a:gd name="connsiteX2" fmla="*/ 4431 w 65949"/>
                    <a:gd name="connsiteY2" fmla="*/ 49450 h 65925"/>
                    <a:gd name="connsiteX3" fmla="*/ 1125 w 65949"/>
                    <a:gd name="connsiteY3" fmla="*/ 24448 h 65925"/>
                    <a:gd name="connsiteX4" fmla="*/ 16473 w 65949"/>
                    <a:gd name="connsiteY4" fmla="*/ 4431 h 65925"/>
                    <a:gd name="connsiteX5" fmla="*/ 41501 w 65949"/>
                    <a:gd name="connsiteY5" fmla="*/ 1125 h 65925"/>
                    <a:gd name="connsiteX6" fmla="*/ 61518 w 65949"/>
                    <a:gd name="connsiteY6" fmla="*/ 16473 h 65925"/>
                    <a:gd name="connsiteX7" fmla="*/ 64824 w 65949"/>
                    <a:gd name="connsiteY7" fmla="*/ 41475 h 65925"/>
                    <a:gd name="connsiteX8" fmla="*/ 49450 w 65949"/>
                    <a:gd name="connsiteY8" fmla="*/ 61492 h 65925"/>
                    <a:gd name="connsiteX9" fmla="*/ 49450 w 65949"/>
                    <a:gd name="connsiteY9" fmla="*/ 61492 h 65925"/>
                    <a:gd name="connsiteX10" fmla="*/ 49450 w 65949"/>
                    <a:gd name="connsiteY10" fmla="*/ 61492 h 65925"/>
                    <a:gd name="connsiteX11" fmla="*/ 49450 w 65949"/>
                    <a:gd name="connsiteY11" fmla="*/ 61492 h 65925"/>
                    <a:gd name="connsiteX12" fmla="*/ 33027 w 65949"/>
                    <a:gd name="connsiteY12" fmla="*/ 65926 h 65925"/>
                    <a:gd name="connsiteX13" fmla="*/ 32948 w 65949"/>
                    <a:gd name="connsiteY13" fmla="*/ 13167 h 65925"/>
                    <a:gd name="connsiteX14" fmla="*/ 23084 w 65949"/>
                    <a:gd name="connsiteY14" fmla="*/ 15817 h 65925"/>
                    <a:gd name="connsiteX15" fmla="*/ 15843 w 65949"/>
                    <a:gd name="connsiteY15" fmla="*/ 42839 h 65925"/>
                    <a:gd name="connsiteX16" fmla="*/ 27859 w 65949"/>
                    <a:gd name="connsiteY16" fmla="*/ 52047 h 65925"/>
                    <a:gd name="connsiteX17" fmla="*/ 42865 w 65949"/>
                    <a:gd name="connsiteY17" fmla="*/ 50080 h 65925"/>
                    <a:gd name="connsiteX18" fmla="*/ 42865 w 65949"/>
                    <a:gd name="connsiteY18" fmla="*/ 50080 h 65925"/>
                    <a:gd name="connsiteX19" fmla="*/ 52074 w 65949"/>
                    <a:gd name="connsiteY19" fmla="*/ 38064 h 65925"/>
                    <a:gd name="connsiteX20" fmla="*/ 50106 w 65949"/>
                    <a:gd name="connsiteY20" fmla="*/ 23058 h 65925"/>
                    <a:gd name="connsiteX21" fmla="*/ 38090 w 65949"/>
                    <a:gd name="connsiteY21" fmla="*/ 13849 h 65925"/>
                    <a:gd name="connsiteX22" fmla="*/ 32948 w 65949"/>
                    <a:gd name="connsiteY22" fmla="*/ 13167 h 65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949" h="65925">
                      <a:moveTo>
                        <a:pt x="33027" y="65926"/>
                      </a:moveTo>
                      <a:cubicBezTo>
                        <a:pt x="30167" y="65926"/>
                        <a:pt x="27282" y="65558"/>
                        <a:pt x="24448" y="64798"/>
                      </a:cubicBezTo>
                      <a:cubicBezTo>
                        <a:pt x="15948" y="62515"/>
                        <a:pt x="8838" y="57058"/>
                        <a:pt x="4431" y="49450"/>
                      </a:cubicBezTo>
                      <a:cubicBezTo>
                        <a:pt x="23" y="41816"/>
                        <a:pt x="-1131" y="32948"/>
                        <a:pt x="1125" y="24448"/>
                      </a:cubicBezTo>
                      <a:cubicBezTo>
                        <a:pt x="3408" y="15948"/>
                        <a:pt x="8865" y="8838"/>
                        <a:pt x="16473" y="4431"/>
                      </a:cubicBezTo>
                      <a:cubicBezTo>
                        <a:pt x="24107" y="23"/>
                        <a:pt x="33001" y="-1131"/>
                        <a:pt x="41501" y="1125"/>
                      </a:cubicBezTo>
                      <a:cubicBezTo>
                        <a:pt x="50001" y="3408"/>
                        <a:pt x="57111" y="8865"/>
                        <a:pt x="61518" y="16473"/>
                      </a:cubicBezTo>
                      <a:cubicBezTo>
                        <a:pt x="65926" y="24107"/>
                        <a:pt x="67080" y="32975"/>
                        <a:pt x="64824" y="41475"/>
                      </a:cubicBezTo>
                      <a:cubicBezTo>
                        <a:pt x="62541" y="49975"/>
                        <a:pt x="57085" y="57085"/>
                        <a:pt x="49450" y="61492"/>
                      </a:cubicBezTo>
                      <a:lnTo>
                        <a:pt x="49450" y="61492"/>
                      </a:lnTo>
                      <a:lnTo>
                        <a:pt x="49450" y="61492"/>
                      </a:lnTo>
                      <a:lnTo>
                        <a:pt x="49450" y="61492"/>
                      </a:lnTo>
                      <a:cubicBezTo>
                        <a:pt x="44361" y="64430"/>
                        <a:pt x="38720" y="65926"/>
                        <a:pt x="33027" y="65926"/>
                      </a:cubicBezTo>
                      <a:close/>
                      <a:moveTo>
                        <a:pt x="32948" y="13167"/>
                      </a:moveTo>
                      <a:cubicBezTo>
                        <a:pt x="29511" y="13167"/>
                        <a:pt x="26127" y="14059"/>
                        <a:pt x="23084" y="15817"/>
                      </a:cubicBezTo>
                      <a:cubicBezTo>
                        <a:pt x="13639" y="21274"/>
                        <a:pt x="10386" y="33394"/>
                        <a:pt x="15843" y="42839"/>
                      </a:cubicBezTo>
                      <a:cubicBezTo>
                        <a:pt x="18493" y="47404"/>
                        <a:pt x="22743" y="50683"/>
                        <a:pt x="27859" y="52047"/>
                      </a:cubicBezTo>
                      <a:cubicBezTo>
                        <a:pt x="32948" y="53412"/>
                        <a:pt x="38274" y="52703"/>
                        <a:pt x="42865" y="50080"/>
                      </a:cubicBezTo>
                      <a:lnTo>
                        <a:pt x="42865" y="50080"/>
                      </a:lnTo>
                      <a:cubicBezTo>
                        <a:pt x="47430" y="47430"/>
                        <a:pt x="50709" y="43180"/>
                        <a:pt x="52074" y="38064"/>
                      </a:cubicBezTo>
                      <a:cubicBezTo>
                        <a:pt x="53438" y="32948"/>
                        <a:pt x="52729" y="27623"/>
                        <a:pt x="50106" y="23058"/>
                      </a:cubicBezTo>
                      <a:cubicBezTo>
                        <a:pt x="47456" y="18493"/>
                        <a:pt x="43206" y="15213"/>
                        <a:pt x="38090" y="13849"/>
                      </a:cubicBezTo>
                      <a:cubicBezTo>
                        <a:pt x="36385" y="13377"/>
                        <a:pt x="34654" y="13167"/>
                        <a:pt x="32948" y="13167"/>
                      </a:cubicBezTo>
                      <a:close/>
                    </a:path>
                  </a:pathLst>
                </a:custGeom>
                <a:solidFill>
                  <a:schemeClr val="accent1"/>
                </a:solidFill>
                <a:ln w="2620" cap="flat">
                  <a:noFill/>
                  <a:prstDash val="solid"/>
                  <a:miter/>
                </a:ln>
              </p:spPr>
              <p:txBody>
                <a:bodyPr rtlCol="0" anchor="ctr"/>
                <a:lstStyle/>
                <a:p>
                  <a:endParaRPr lang="en-GB" dirty="0"/>
                </a:p>
              </p:txBody>
            </p:sp>
            <p:sp>
              <p:nvSpPr>
                <p:cNvPr id="403" name="Freihandform: Form 802">
                  <a:extLst>
                    <a:ext uri="{FF2B5EF4-FFF2-40B4-BE49-F238E27FC236}">
                      <a16:creationId xmlns:a16="http://schemas.microsoft.com/office/drawing/2014/main" id="{AFFCBD28-42A0-4803-A20F-6E35C2474BF5}"/>
                    </a:ext>
                  </a:extLst>
                </p:cNvPr>
                <p:cNvSpPr/>
                <p:nvPr/>
              </p:nvSpPr>
              <p:spPr>
                <a:xfrm rot="-1799574">
                  <a:off x="6166638" y="2757476"/>
                  <a:ext cx="85711" cy="13196"/>
                </a:xfrm>
                <a:custGeom>
                  <a:avLst/>
                  <a:gdLst>
                    <a:gd name="connsiteX0" fmla="*/ 0 w 85711"/>
                    <a:gd name="connsiteY0" fmla="*/ 0 h 13196"/>
                    <a:gd name="connsiteX1" fmla="*/ 85711 w 85711"/>
                    <a:gd name="connsiteY1" fmla="*/ 0 h 13196"/>
                    <a:gd name="connsiteX2" fmla="*/ 85711 w 85711"/>
                    <a:gd name="connsiteY2" fmla="*/ 13196 h 13196"/>
                    <a:gd name="connsiteX3" fmla="*/ 0 w 85711"/>
                    <a:gd name="connsiteY3" fmla="*/ 13196 h 13196"/>
                  </a:gdLst>
                  <a:ahLst/>
                  <a:cxnLst>
                    <a:cxn ang="0">
                      <a:pos x="connsiteX0" y="connsiteY0"/>
                    </a:cxn>
                    <a:cxn ang="0">
                      <a:pos x="connsiteX1" y="connsiteY1"/>
                    </a:cxn>
                    <a:cxn ang="0">
                      <a:pos x="connsiteX2" y="connsiteY2"/>
                    </a:cxn>
                    <a:cxn ang="0">
                      <a:pos x="connsiteX3" y="connsiteY3"/>
                    </a:cxn>
                  </a:cxnLst>
                  <a:rect l="l" t="t" r="r" b="b"/>
                  <a:pathLst>
                    <a:path w="85711" h="13196">
                      <a:moveTo>
                        <a:pt x="0" y="0"/>
                      </a:moveTo>
                      <a:lnTo>
                        <a:pt x="85711" y="0"/>
                      </a:lnTo>
                      <a:lnTo>
                        <a:pt x="85711" y="13196"/>
                      </a:lnTo>
                      <a:lnTo>
                        <a:pt x="0" y="13196"/>
                      </a:lnTo>
                      <a:close/>
                    </a:path>
                  </a:pathLst>
                </a:custGeom>
                <a:solidFill>
                  <a:schemeClr val="accent1"/>
                </a:solidFill>
                <a:ln w="2620" cap="flat">
                  <a:noFill/>
                  <a:prstDash val="solid"/>
                  <a:miter/>
                </a:ln>
              </p:spPr>
              <p:txBody>
                <a:bodyPr rtlCol="0" anchor="ctr"/>
                <a:lstStyle/>
                <a:p>
                  <a:endParaRPr lang="en-GB" dirty="0"/>
                </a:p>
              </p:txBody>
            </p:sp>
          </p:grpSp>
          <p:sp>
            <p:nvSpPr>
              <p:cNvPr id="398" name="Freihandform: Form 803">
                <a:extLst>
                  <a:ext uri="{FF2B5EF4-FFF2-40B4-BE49-F238E27FC236}">
                    <a16:creationId xmlns:a16="http://schemas.microsoft.com/office/drawing/2014/main" id="{495AE718-3D0A-4F81-A8AE-280D090ECDE5}"/>
                  </a:ext>
                </a:extLst>
              </p:cNvPr>
              <p:cNvSpPr/>
              <p:nvPr/>
            </p:nvSpPr>
            <p:spPr>
              <a:xfrm>
                <a:off x="6142944" y="2610703"/>
                <a:ext cx="13196" cy="138468"/>
              </a:xfrm>
              <a:custGeom>
                <a:avLst/>
                <a:gdLst>
                  <a:gd name="connsiteX0" fmla="*/ 0 w 13196"/>
                  <a:gd name="connsiteY0" fmla="*/ 0 h 138468"/>
                  <a:gd name="connsiteX1" fmla="*/ 13196 w 13196"/>
                  <a:gd name="connsiteY1" fmla="*/ 0 h 138468"/>
                  <a:gd name="connsiteX2" fmla="*/ 13196 w 13196"/>
                  <a:gd name="connsiteY2" fmla="*/ 138469 h 138468"/>
                  <a:gd name="connsiteX3" fmla="*/ 0 w 13196"/>
                  <a:gd name="connsiteY3" fmla="*/ 138469 h 138468"/>
                </a:gdLst>
                <a:ahLst/>
                <a:cxnLst>
                  <a:cxn ang="0">
                    <a:pos x="connsiteX0" y="connsiteY0"/>
                  </a:cxn>
                  <a:cxn ang="0">
                    <a:pos x="connsiteX1" y="connsiteY1"/>
                  </a:cxn>
                  <a:cxn ang="0">
                    <a:pos x="connsiteX2" y="connsiteY2"/>
                  </a:cxn>
                  <a:cxn ang="0">
                    <a:pos x="connsiteX3" y="connsiteY3"/>
                  </a:cxn>
                </a:cxnLst>
                <a:rect l="l" t="t" r="r" b="b"/>
                <a:pathLst>
                  <a:path w="13196" h="138468">
                    <a:moveTo>
                      <a:pt x="0" y="0"/>
                    </a:moveTo>
                    <a:lnTo>
                      <a:pt x="13196" y="0"/>
                    </a:lnTo>
                    <a:lnTo>
                      <a:pt x="13196" y="138469"/>
                    </a:lnTo>
                    <a:lnTo>
                      <a:pt x="0" y="138469"/>
                    </a:lnTo>
                    <a:close/>
                  </a:path>
                </a:pathLst>
              </a:custGeom>
              <a:solidFill>
                <a:schemeClr val="accent1"/>
              </a:solidFill>
              <a:ln w="2620" cap="flat">
                <a:noFill/>
                <a:prstDash val="solid"/>
                <a:miter/>
              </a:ln>
            </p:spPr>
            <p:txBody>
              <a:bodyPr rtlCol="0" anchor="ctr"/>
              <a:lstStyle/>
              <a:p>
                <a:endParaRPr lang="en-GB" dirty="0"/>
              </a:p>
            </p:txBody>
          </p:sp>
          <p:sp>
            <p:nvSpPr>
              <p:cNvPr id="399" name="Freihandform: Form 804">
                <a:extLst>
                  <a:ext uri="{FF2B5EF4-FFF2-40B4-BE49-F238E27FC236}">
                    <a16:creationId xmlns:a16="http://schemas.microsoft.com/office/drawing/2014/main" id="{65324AB2-F640-4A57-BDAF-8355C7DA8694}"/>
                  </a:ext>
                </a:extLst>
              </p:cNvPr>
              <p:cNvSpPr/>
              <p:nvPr/>
            </p:nvSpPr>
            <p:spPr>
              <a:xfrm>
                <a:off x="6565485" y="2610703"/>
                <a:ext cx="13196" cy="138468"/>
              </a:xfrm>
              <a:custGeom>
                <a:avLst/>
                <a:gdLst>
                  <a:gd name="connsiteX0" fmla="*/ 0 w 13196"/>
                  <a:gd name="connsiteY0" fmla="*/ 0 h 138468"/>
                  <a:gd name="connsiteX1" fmla="*/ 13196 w 13196"/>
                  <a:gd name="connsiteY1" fmla="*/ 0 h 138468"/>
                  <a:gd name="connsiteX2" fmla="*/ 13196 w 13196"/>
                  <a:gd name="connsiteY2" fmla="*/ 138469 h 138468"/>
                  <a:gd name="connsiteX3" fmla="*/ 0 w 13196"/>
                  <a:gd name="connsiteY3" fmla="*/ 138469 h 138468"/>
                </a:gdLst>
                <a:ahLst/>
                <a:cxnLst>
                  <a:cxn ang="0">
                    <a:pos x="connsiteX0" y="connsiteY0"/>
                  </a:cxn>
                  <a:cxn ang="0">
                    <a:pos x="connsiteX1" y="connsiteY1"/>
                  </a:cxn>
                  <a:cxn ang="0">
                    <a:pos x="connsiteX2" y="connsiteY2"/>
                  </a:cxn>
                  <a:cxn ang="0">
                    <a:pos x="connsiteX3" y="connsiteY3"/>
                  </a:cxn>
                </a:cxnLst>
                <a:rect l="l" t="t" r="r" b="b"/>
                <a:pathLst>
                  <a:path w="13196" h="138468">
                    <a:moveTo>
                      <a:pt x="0" y="0"/>
                    </a:moveTo>
                    <a:lnTo>
                      <a:pt x="13196" y="0"/>
                    </a:lnTo>
                    <a:lnTo>
                      <a:pt x="13196" y="138469"/>
                    </a:lnTo>
                    <a:lnTo>
                      <a:pt x="0" y="138469"/>
                    </a:lnTo>
                    <a:close/>
                  </a:path>
                </a:pathLst>
              </a:custGeom>
              <a:solidFill>
                <a:schemeClr val="accent1"/>
              </a:solidFill>
              <a:ln w="2620" cap="flat">
                <a:noFill/>
                <a:prstDash val="solid"/>
                <a:miter/>
              </a:ln>
            </p:spPr>
            <p:txBody>
              <a:bodyPr rtlCol="0" anchor="ctr"/>
              <a:lstStyle/>
              <a:p>
                <a:endParaRPr lang="en-GB" dirty="0"/>
              </a:p>
            </p:txBody>
          </p:sp>
          <p:sp>
            <p:nvSpPr>
              <p:cNvPr id="400" name="Freihandform: Form 805">
                <a:extLst>
                  <a:ext uri="{FF2B5EF4-FFF2-40B4-BE49-F238E27FC236}">
                    <a16:creationId xmlns:a16="http://schemas.microsoft.com/office/drawing/2014/main" id="{C09BF57F-A950-426B-AAA1-DF62C85ED7A6}"/>
                  </a:ext>
                </a:extLst>
              </p:cNvPr>
              <p:cNvSpPr/>
              <p:nvPr/>
            </p:nvSpPr>
            <p:spPr>
              <a:xfrm rot="17514852">
                <a:off x="6461532" y="2449513"/>
                <a:ext cx="13195" cy="132533"/>
              </a:xfrm>
              <a:custGeom>
                <a:avLst/>
                <a:gdLst>
                  <a:gd name="connsiteX0" fmla="*/ 0 w 13195"/>
                  <a:gd name="connsiteY0" fmla="*/ 0 h 132533"/>
                  <a:gd name="connsiteX1" fmla="*/ 13196 w 13195"/>
                  <a:gd name="connsiteY1" fmla="*/ 0 h 132533"/>
                  <a:gd name="connsiteX2" fmla="*/ 13196 w 13195"/>
                  <a:gd name="connsiteY2" fmla="*/ 132533 h 132533"/>
                  <a:gd name="connsiteX3" fmla="*/ 0 w 13195"/>
                  <a:gd name="connsiteY3" fmla="*/ 132533 h 132533"/>
                </a:gdLst>
                <a:ahLst/>
                <a:cxnLst>
                  <a:cxn ang="0">
                    <a:pos x="connsiteX0" y="connsiteY0"/>
                  </a:cxn>
                  <a:cxn ang="0">
                    <a:pos x="connsiteX1" y="connsiteY1"/>
                  </a:cxn>
                  <a:cxn ang="0">
                    <a:pos x="connsiteX2" y="connsiteY2"/>
                  </a:cxn>
                  <a:cxn ang="0">
                    <a:pos x="connsiteX3" y="connsiteY3"/>
                  </a:cxn>
                </a:cxnLst>
                <a:rect l="l" t="t" r="r" b="b"/>
                <a:pathLst>
                  <a:path w="13195" h="132533">
                    <a:moveTo>
                      <a:pt x="0" y="0"/>
                    </a:moveTo>
                    <a:lnTo>
                      <a:pt x="13196" y="0"/>
                    </a:lnTo>
                    <a:lnTo>
                      <a:pt x="13196" y="132533"/>
                    </a:lnTo>
                    <a:lnTo>
                      <a:pt x="0" y="132533"/>
                    </a:lnTo>
                    <a:close/>
                  </a:path>
                </a:pathLst>
              </a:custGeom>
              <a:solidFill>
                <a:schemeClr val="accent1"/>
              </a:solidFill>
              <a:ln w="2620" cap="flat">
                <a:noFill/>
                <a:prstDash val="solid"/>
                <a:miter/>
              </a:ln>
            </p:spPr>
            <p:txBody>
              <a:bodyPr rtlCol="0" anchor="ctr"/>
              <a:lstStyle/>
              <a:p>
                <a:endParaRPr lang="en-GB" dirty="0"/>
              </a:p>
            </p:txBody>
          </p:sp>
          <p:sp>
            <p:nvSpPr>
              <p:cNvPr id="401" name="Freihandform: Form 806">
                <a:extLst>
                  <a:ext uri="{FF2B5EF4-FFF2-40B4-BE49-F238E27FC236}">
                    <a16:creationId xmlns:a16="http://schemas.microsoft.com/office/drawing/2014/main" id="{854D9077-9355-4120-A66B-3AB9CBCF6C54}"/>
                  </a:ext>
                </a:extLst>
              </p:cNvPr>
              <p:cNvSpPr/>
              <p:nvPr/>
            </p:nvSpPr>
            <p:spPr>
              <a:xfrm rot="20298555">
                <a:off x="6191180" y="2507971"/>
                <a:ext cx="127949" cy="13196"/>
              </a:xfrm>
              <a:custGeom>
                <a:avLst/>
                <a:gdLst>
                  <a:gd name="connsiteX0" fmla="*/ 0 w 127949"/>
                  <a:gd name="connsiteY0" fmla="*/ 0 h 13196"/>
                  <a:gd name="connsiteX1" fmla="*/ 127949 w 127949"/>
                  <a:gd name="connsiteY1" fmla="*/ 0 h 13196"/>
                  <a:gd name="connsiteX2" fmla="*/ 127949 w 127949"/>
                  <a:gd name="connsiteY2" fmla="*/ 13196 h 13196"/>
                  <a:gd name="connsiteX3" fmla="*/ 0 w 127949"/>
                  <a:gd name="connsiteY3" fmla="*/ 13196 h 13196"/>
                </a:gdLst>
                <a:ahLst/>
                <a:cxnLst>
                  <a:cxn ang="0">
                    <a:pos x="connsiteX0" y="connsiteY0"/>
                  </a:cxn>
                  <a:cxn ang="0">
                    <a:pos x="connsiteX1" y="connsiteY1"/>
                  </a:cxn>
                  <a:cxn ang="0">
                    <a:pos x="connsiteX2" y="connsiteY2"/>
                  </a:cxn>
                  <a:cxn ang="0">
                    <a:pos x="connsiteX3" y="connsiteY3"/>
                  </a:cxn>
                </a:cxnLst>
                <a:rect l="l" t="t" r="r" b="b"/>
                <a:pathLst>
                  <a:path w="127949" h="13196">
                    <a:moveTo>
                      <a:pt x="0" y="0"/>
                    </a:moveTo>
                    <a:lnTo>
                      <a:pt x="127949" y="0"/>
                    </a:lnTo>
                    <a:lnTo>
                      <a:pt x="127949" y="13196"/>
                    </a:lnTo>
                    <a:lnTo>
                      <a:pt x="0" y="13196"/>
                    </a:lnTo>
                    <a:close/>
                  </a:path>
                </a:pathLst>
              </a:custGeom>
              <a:solidFill>
                <a:schemeClr val="accent1"/>
              </a:solidFill>
              <a:ln w="2620" cap="flat">
                <a:noFill/>
                <a:prstDash val="solid"/>
                <a:miter/>
              </a:ln>
            </p:spPr>
            <p:txBody>
              <a:bodyPr rtlCol="0" anchor="ctr"/>
              <a:lstStyle/>
              <a:p>
                <a:endParaRPr lang="en-GB" dirty="0"/>
              </a:p>
            </p:txBody>
          </p:sp>
        </p:grpSp>
      </p:grpSp>
      <p:grpSp>
        <p:nvGrpSpPr>
          <p:cNvPr id="419" name="Group 418">
            <a:extLst>
              <a:ext uri="{FF2B5EF4-FFF2-40B4-BE49-F238E27FC236}">
                <a16:creationId xmlns:a16="http://schemas.microsoft.com/office/drawing/2014/main" id="{7C2B713A-5CF5-4043-AB10-7594B25A5887}"/>
              </a:ext>
            </a:extLst>
          </p:cNvPr>
          <p:cNvGrpSpPr>
            <a:grpSpLocks noChangeAspect="1"/>
          </p:cNvGrpSpPr>
          <p:nvPr/>
        </p:nvGrpSpPr>
        <p:grpSpPr>
          <a:xfrm>
            <a:off x="7080579" y="2391526"/>
            <a:ext cx="437910" cy="432000"/>
            <a:chOff x="6953947" y="2465675"/>
            <a:chExt cx="487893" cy="481308"/>
          </a:xfrm>
        </p:grpSpPr>
        <p:grpSp>
          <p:nvGrpSpPr>
            <p:cNvPr id="420" name="Group 419">
              <a:extLst>
                <a:ext uri="{FF2B5EF4-FFF2-40B4-BE49-F238E27FC236}">
                  <a16:creationId xmlns:a16="http://schemas.microsoft.com/office/drawing/2014/main" id="{A598E57A-E80B-47EE-83B7-C1A3861530C3}"/>
                </a:ext>
              </a:extLst>
            </p:cNvPr>
            <p:cNvGrpSpPr/>
            <p:nvPr/>
          </p:nvGrpSpPr>
          <p:grpSpPr>
            <a:xfrm>
              <a:off x="7131952" y="2538189"/>
              <a:ext cx="171445" cy="408794"/>
              <a:chOff x="7131952" y="2538189"/>
              <a:chExt cx="171445" cy="408794"/>
            </a:xfrm>
          </p:grpSpPr>
          <p:sp>
            <p:nvSpPr>
              <p:cNvPr id="438" name="Freihandform: Form 823">
                <a:extLst>
                  <a:ext uri="{FF2B5EF4-FFF2-40B4-BE49-F238E27FC236}">
                    <a16:creationId xmlns:a16="http://schemas.microsoft.com/office/drawing/2014/main" id="{22D18BA2-349A-4452-9807-D4A27CB67D37}"/>
                  </a:ext>
                </a:extLst>
              </p:cNvPr>
              <p:cNvSpPr/>
              <p:nvPr/>
            </p:nvSpPr>
            <p:spPr>
              <a:xfrm>
                <a:off x="7263809" y="2788707"/>
                <a:ext cx="39588" cy="158276"/>
              </a:xfrm>
              <a:custGeom>
                <a:avLst/>
                <a:gdLst>
                  <a:gd name="connsiteX0" fmla="*/ 13196 w 39588"/>
                  <a:gd name="connsiteY0" fmla="*/ 158276 h 158276"/>
                  <a:gd name="connsiteX1" fmla="*/ 0 w 39588"/>
                  <a:gd name="connsiteY1" fmla="*/ 158276 h 158276"/>
                  <a:gd name="connsiteX2" fmla="*/ 0 w 39588"/>
                  <a:gd name="connsiteY2" fmla="*/ 71490 h 158276"/>
                  <a:gd name="connsiteX3" fmla="*/ 2125 w 39588"/>
                  <a:gd name="connsiteY3" fmla="*/ 69523 h 158276"/>
                  <a:gd name="connsiteX4" fmla="*/ 26392 w 39588"/>
                  <a:gd name="connsiteY4" fmla="*/ 13196 h 158276"/>
                  <a:gd name="connsiteX5" fmla="*/ 26392 w 39588"/>
                  <a:gd name="connsiteY5" fmla="*/ 0 h 158276"/>
                  <a:gd name="connsiteX6" fmla="*/ 39589 w 39588"/>
                  <a:gd name="connsiteY6" fmla="*/ 0 h 158276"/>
                  <a:gd name="connsiteX7" fmla="*/ 39589 w 39588"/>
                  <a:gd name="connsiteY7" fmla="*/ 13196 h 158276"/>
                  <a:gd name="connsiteX8" fmla="*/ 13222 w 39588"/>
                  <a:gd name="connsiteY8" fmla="*/ 77184 h 158276"/>
                  <a:gd name="connsiteX9" fmla="*/ 13222 w 39588"/>
                  <a:gd name="connsiteY9" fmla="*/ 158276 h 15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588" h="158276">
                    <a:moveTo>
                      <a:pt x="13196" y="158276"/>
                    </a:moveTo>
                    <a:lnTo>
                      <a:pt x="0" y="158276"/>
                    </a:lnTo>
                    <a:lnTo>
                      <a:pt x="0" y="71490"/>
                    </a:lnTo>
                    <a:lnTo>
                      <a:pt x="2125" y="69523"/>
                    </a:lnTo>
                    <a:cubicBezTo>
                      <a:pt x="17997" y="54857"/>
                      <a:pt x="26392" y="35391"/>
                      <a:pt x="26392" y="13196"/>
                    </a:cubicBezTo>
                    <a:lnTo>
                      <a:pt x="26392" y="0"/>
                    </a:lnTo>
                    <a:lnTo>
                      <a:pt x="39589" y="0"/>
                    </a:lnTo>
                    <a:lnTo>
                      <a:pt x="39589" y="13196"/>
                    </a:lnTo>
                    <a:cubicBezTo>
                      <a:pt x="39589" y="37778"/>
                      <a:pt x="30249" y="60393"/>
                      <a:pt x="13222" y="77184"/>
                    </a:cubicBezTo>
                    <a:lnTo>
                      <a:pt x="13222" y="158276"/>
                    </a:lnTo>
                    <a:close/>
                  </a:path>
                </a:pathLst>
              </a:custGeom>
              <a:solidFill>
                <a:schemeClr val="tx2"/>
              </a:solidFill>
              <a:ln w="2620" cap="flat">
                <a:noFill/>
                <a:prstDash val="solid"/>
                <a:miter/>
              </a:ln>
            </p:spPr>
            <p:txBody>
              <a:bodyPr rtlCol="0" anchor="ctr"/>
              <a:lstStyle/>
              <a:p>
                <a:endParaRPr lang="en-GB" dirty="0"/>
              </a:p>
            </p:txBody>
          </p:sp>
          <p:grpSp>
            <p:nvGrpSpPr>
              <p:cNvPr id="439" name="Group 438">
                <a:extLst>
                  <a:ext uri="{FF2B5EF4-FFF2-40B4-BE49-F238E27FC236}">
                    <a16:creationId xmlns:a16="http://schemas.microsoft.com/office/drawing/2014/main" id="{9FF64822-18ED-4E1D-A8D5-80F7CEA17A22}"/>
                  </a:ext>
                </a:extLst>
              </p:cNvPr>
              <p:cNvGrpSpPr/>
              <p:nvPr/>
            </p:nvGrpSpPr>
            <p:grpSpPr>
              <a:xfrm>
                <a:off x="7131952" y="2538189"/>
                <a:ext cx="171445" cy="171419"/>
                <a:chOff x="7131952" y="2538189"/>
                <a:chExt cx="171445" cy="171419"/>
              </a:xfrm>
            </p:grpSpPr>
            <p:sp>
              <p:nvSpPr>
                <p:cNvPr id="440" name="Freihandform: Form 809">
                  <a:extLst>
                    <a:ext uri="{FF2B5EF4-FFF2-40B4-BE49-F238E27FC236}">
                      <a16:creationId xmlns:a16="http://schemas.microsoft.com/office/drawing/2014/main" id="{9812BBFF-3313-41F4-A819-3E3A144636A2}"/>
                    </a:ext>
                  </a:extLst>
                </p:cNvPr>
                <p:cNvSpPr/>
                <p:nvPr/>
              </p:nvSpPr>
              <p:spPr>
                <a:xfrm>
                  <a:off x="7250613" y="2597533"/>
                  <a:ext cx="52784" cy="105491"/>
                </a:xfrm>
                <a:custGeom>
                  <a:avLst/>
                  <a:gdLst>
                    <a:gd name="connsiteX0" fmla="*/ 52785 w 52784"/>
                    <a:gd name="connsiteY0" fmla="*/ 105491 h 105491"/>
                    <a:gd name="connsiteX1" fmla="*/ 39589 w 52784"/>
                    <a:gd name="connsiteY1" fmla="*/ 105491 h 105491"/>
                    <a:gd name="connsiteX2" fmla="*/ 39589 w 52784"/>
                    <a:gd name="connsiteY2" fmla="*/ 26366 h 105491"/>
                    <a:gd name="connsiteX3" fmla="*/ 26392 w 52784"/>
                    <a:gd name="connsiteY3" fmla="*/ 13170 h 105491"/>
                    <a:gd name="connsiteX4" fmla="*/ 13196 w 52784"/>
                    <a:gd name="connsiteY4" fmla="*/ 26366 h 105491"/>
                    <a:gd name="connsiteX5" fmla="*/ 13196 w 52784"/>
                    <a:gd name="connsiteY5" fmla="*/ 85710 h 105491"/>
                    <a:gd name="connsiteX6" fmla="*/ 0 w 52784"/>
                    <a:gd name="connsiteY6" fmla="*/ 85710 h 105491"/>
                    <a:gd name="connsiteX7" fmla="*/ 0 w 52784"/>
                    <a:gd name="connsiteY7" fmla="*/ 26366 h 105491"/>
                    <a:gd name="connsiteX8" fmla="*/ 26366 w 52784"/>
                    <a:gd name="connsiteY8" fmla="*/ 0 h 105491"/>
                    <a:gd name="connsiteX9" fmla="*/ 52732 w 52784"/>
                    <a:gd name="connsiteY9" fmla="*/ 26366 h 105491"/>
                    <a:gd name="connsiteX10" fmla="*/ 52732 w 52784"/>
                    <a:gd name="connsiteY10" fmla="*/ 105491 h 105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84" h="105491">
                      <a:moveTo>
                        <a:pt x="52785" y="105491"/>
                      </a:moveTo>
                      <a:lnTo>
                        <a:pt x="39589" y="105491"/>
                      </a:lnTo>
                      <a:lnTo>
                        <a:pt x="39589" y="26366"/>
                      </a:lnTo>
                      <a:cubicBezTo>
                        <a:pt x="39589" y="19099"/>
                        <a:pt x="33660" y="13170"/>
                        <a:pt x="26392" y="13170"/>
                      </a:cubicBezTo>
                      <a:cubicBezTo>
                        <a:pt x="19125" y="13170"/>
                        <a:pt x="13196" y="19073"/>
                        <a:pt x="13196" y="26366"/>
                      </a:cubicBezTo>
                      <a:lnTo>
                        <a:pt x="13196" y="85710"/>
                      </a:lnTo>
                      <a:lnTo>
                        <a:pt x="0" y="85710"/>
                      </a:lnTo>
                      <a:lnTo>
                        <a:pt x="0" y="26366"/>
                      </a:lnTo>
                      <a:cubicBezTo>
                        <a:pt x="0" y="11832"/>
                        <a:pt x="11832" y="0"/>
                        <a:pt x="26366" y="0"/>
                      </a:cubicBezTo>
                      <a:cubicBezTo>
                        <a:pt x="40900" y="0"/>
                        <a:pt x="52732" y="11832"/>
                        <a:pt x="52732" y="26366"/>
                      </a:cubicBezTo>
                      <a:lnTo>
                        <a:pt x="52732" y="105491"/>
                      </a:lnTo>
                      <a:close/>
                    </a:path>
                  </a:pathLst>
                </a:custGeom>
                <a:solidFill>
                  <a:schemeClr val="tx2"/>
                </a:solidFill>
                <a:ln w="2620" cap="flat">
                  <a:noFill/>
                  <a:prstDash val="solid"/>
                  <a:miter/>
                </a:ln>
              </p:spPr>
              <p:txBody>
                <a:bodyPr rtlCol="0" anchor="ctr"/>
                <a:lstStyle/>
                <a:p>
                  <a:endParaRPr lang="en-GB" dirty="0"/>
                </a:p>
              </p:txBody>
            </p:sp>
            <p:sp>
              <p:nvSpPr>
                <p:cNvPr id="441" name="Freihandform: Form 824">
                  <a:extLst>
                    <a:ext uri="{FF2B5EF4-FFF2-40B4-BE49-F238E27FC236}">
                      <a16:creationId xmlns:a16="http://schemas.microsoft.com/office/drawing/2014/main" id="{9606C1D3-69A5-4695-8C68-02A205958E0E}"/>
                    </a:ext>
                  </a:extLst>
                </p:cNvPr>
                <p:cNvSpPr/>
                <p:nvPr/>
              </p:nvSpPr>
              <p:spPr>
                <a:xfrm>
                  <a:off x="7171488" y="2538189"/>
                  <a:ext cx="52784" cy="138442"/>
                </a:xfrm>
                <a:custGeom>
                  <a:avLst/>
                  <a:gdLst>
                    <a:gd name="connsiteX0" fmla="*/ 52785 w 52784"/>
                    <a:gd name="connsiteY0" fmla="*/ 138442 h 138442"/>
                    <a:gd name="connsiteX1" fmla="*/ 39589 w 52784"/>
                    <a:gd name="connsiteY1" fmla="*/ 138442 h 138442"/>
                    <a:gd name="connsiteX2" fmla="*/ 39589 w 52784"/>
                    <a:gd name="connsiteY2" fmla="*/ 26366 h 138442"/>
                    <a:gd name="connsiteX3" fmla="*/ 26392 w 52784"/>
                    <a:gd name="connsiteY3" fmla="*/ 13170 h 138442"/>
                    <a:gd name="connsiteX4" fmla="*/ 13196 w 52784"/>
                    <a:gd name="connsiteY4" fmla="*/ 26366 h 138442"/>
                    <a:gd name="connsiteX5" fmla="*/ 13196 w 52784"/>
                    <a:gd name="connsiteY5" fmla="*/ 138442 h 138442"/>
                    <a:gd name="connsiteX6" fmla="*/ 0 w 52784"/>
                    <a:gd name="connsiteY6" fmla="*/ 138442 h 138442"/>
                    <a:gd name="connsiteX7" fmla="*/ 0 w 52784"/>
                    <a:gd name="connsiteY7" fmla="*/ 26366 h 138442"/>
                    <a:gd name="connsiteX8" fmla="*/ 26366 w 52784"/>
                    <a:gd name="connsiteY8" fmla="*/ 0 h 138442"/>
                    <a:gd name="connsiteX9" fmla="*/ 52732 w 52784"/>
                    <a:gd name="connsiteY9" fmla="*/ 26366 h 138442"/>
                    <a:gd name="connsiteX10" fmla="*/ 52732 w 52784"/>
                    <a:gd name="connsiteY10" fmla="*/ 138442 h 13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84" h="138442">
                      <a:moveTo>
                        <a:pt x="52785" y="138442"/>
                      </a:moveTo>
                      <a:lnTo>
                        <a:pt x="39589" y="138442"/>
                      </a:lnTo>
                      <a:lnTo>
                        <a:pt x="39589" y="26366"/>
                      </a:lnTo>
                      <a:cubicBezTo>
                        <a:pt x="39589" y="19099"/>
                        <a:pt x="33659" y="13170"/>
                        <a:pt x="26392" y="13170"/>
                      </a:cubicBezTo>
                      <a:cubicBezTo>
                        <a:pt x="19125" y="13170"/>
                        <a:pt x="13196" y="19073"/>
                        <a:pt x="13196" y="26366"/>
                      </a:cubicBezTo>
                      <a:lnTo>
                        <a:pt x="13196" y="138442"/>
                      </a:lnTo>
                      <a:lnTo>
                        <a:pt x="0" y="138442"/>
                      </a:lnTo>
                      <a:lnTo>
                        <a:pt x="0" y="26366"/>
                      </a:lnTo>
                      <a:cubicBezTo>
                        <a:pt x="0" y="11832"/>
                        <a:pt x="11832" y="0"/>
                        <a:pt x="26366" y="0"/>
                      </a:cubicBezTo>
                      <a:cubicBezTo>
                        <a:pt x="40900" y="0"/>
                        <a:pt x="52732" y="11832"/>
                        <a:pt x="52732" y="26366"/>
                      </a:cubicBezTo>
                      <a:lnTo>
                        <a:pt x="52732" y="138442"/>
                      </a:lnTo>
                      <a:close/>
                    </a:path>
                  </a:pathLst>
                </a:custGeom>
                <a:solidFill>
                  <a:schemeClr val="tx2"/>
                </a:solidFill>
                <a:ln w="2620" cap="flat">
                  <a:noFill/>
                  <a:prstDash val="solid"/>
                  <a:miter/>
                </a:ln>
              </p:spPr>
              <p:txBody>
                <a:bodyPr rtlCol="0" anchor="ctr"/>
                <a:lstStyle/>
                <a:p>
                  <a:endParaRPr lang="en-GB" dirty="0"/>
                </a:p>
              </p:txBody>
            </p:sp>
            <p:sp>
              <p:nvSpPr>
                <p:cNvPr id="442" name="Freihandform: Form 825">
                  <a:extLst>
                    <a:ext uri="{FF2B5EF4-FFF2-40B4-BE49-F238E27FC236}">
                      <a16:creationId xmlns:a16="http://schemas.microsoft.com/office/drawing/2014/main" id="{DD98DF08-8627-4F19-8E19-6D67DBC33741}"/>
                    </a:ext>
                  </a:extLst>
                </p:cNvPr>
                <p:cNvSpPr/>
                <p:nvPr/>
              </p:nvSpPr>
              <p:spPr>
                <a:xfrm>
                  <a:off x="7211051" y="2571166"/>
                  <a:ext cx="52784" cy="118661"/>
                </a:xfrm>
                <a:custGeom>
                  <a:avLst/>
                  <a:gdLst>
                    <a:gd name="connsiteX0" fmla="*/ 52785 w 52784"/>
                    <a:gd name="connsiteY0" fmla="*/ 118661 h 118661"/>
                    <a:gd name="connsiteX1" fmla="*/ 39589 w 52784"/>
                    <a:gd name="connsiteY1" fmla="*/ 118661 h 118661"/>
                    <a:gd name="connsiteX2" fmla="*/ 39589 w 52784"/>
                    <a:gd name="connsiteY2" fmla="*/ 26366 h 118661"/>
                    <a:gd name="connsiteX3" fmla="*/ 26392 w 52784"/>
                    <a:gd name="connsiteY3" fmla="*/ 13170 h 118661"/>
                    <a:gd name="connsiteX4" fmla="*/ 13196 w 52784"/>
                    <a:gd name="connsiteY4" fmla="*/ 26366 h 118661"/>
                    <a:gd name="connsiteX5" fmla="*/ 13196 w 52784"/>
                    <a:gd name="connsiteY5" fmla="*/ 118661 h 118661"/>
                    <a:gd name="connsiteX6" fmla="*/ 0 w 52784"/>
                    <a:gd name="connsiteY6" fmla="*/ 118661 h 118661"/>
                    <a:gd name="connsiteX7" fmla="*/ 0 w 52784"/>
                    <a:gd name="connsiteY7" fmla="*/ 26366 h 118661"/>
                    <a:gd name="connsiteX8" fmla="*/ 26366 w 52784"/>
                    <a:gd name="connsiteY8" fmla="*/ 0 h 118661"/>
                    <a:gd name="connsiteX9" fmla="*/ 52733 w 52784"/>
                    <a:gd name="connsiteY9" fmla="*/ 26366 h 118661"/>
                    <a:gd name="connsiteX10" fmla="*/ 52733 w 52784"/>
                    <a:gd name="connsiteY10" fmla="*/ 118661 h 118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84" h="118661">
                      <a:moveTo>
                        <a:pt x="52785" y="118661"/>
                      </a:moveTo>
                      <a:lnTo>
                        <a:pt x="39589" y="118661"/>
                      </a:lnTo>
                      <a:lnTo>
                        <a:pt x="39589" y="26366"/>
                      </a:lnTo>
                      <a:cubicBezTo>
                        <a:pt x="39589" y="19099"/>
                        <a:pt x="33660" y="13170"/>
                        <a:pt x="26392" y="13170"/>
                      </a:cubicBezTo>
                      <a:cubicBezTo>
                        <a:pt x="19125" y="13170"/>
                        <a:pt x="13196" y="19073"/>
                        <a:pt x="13196" y="26366"/>
                      </a:cubicBezTo>
                      <a:lnTo>
                        <a:pt x="13196" y="118661"/>
                      </a:lnTo>
                      <a:lnTo>
                        <a:pt x="0" y="118661"/>
                      </a:lnTo>
                      <a:lnTo>
                        <a:pt x="0" y="26366"/>
                      </a:lnTo>
                      <a:cubicBezTo>
                        <a:pt x="0" y="11832"/>
                        <a:pt x="11832" y="0"/>
                        <a:pt x="26366" y="0"/>
                      </a:cubicBezTo>
                      <a:cubicBezTo>
                        <a:pt x="40900" y="0"/>
                        <a:pt x="52733" y="11832"/>
                        <a:pt x="52733" y="26366"/>
                      </a:cubicBezTo>
                      <a:lnTo>
                        <a:pt x="52733" y="118661"/>
                      </a:lnTo>
                      <a:close/>
                    </a:path>
                  </a:pathLst>
                </a:custGeom>
                <a:solidFill>
                  <a:schemeClr val="tx2"/>
                </a:solidFill>
                <a:ln w="2620" cap="flat">
                  <a:noFill/>
                  <a:prstDash val="solid"/>
                  <a:miter/>
                </a:ln>
              </p:spPr>
              <p:txBody>
                <a:bodyPr rtlCol="0" anchor="ctr"/>
                <a:lstStyle/>
                <a:p>
                  <a:endParaRPr lang="en-GB" dirty="0"/>
                </a:p>
              </p:txBody>
            </p:sp>
            <p:sp>
              <p:nvSpPr>
                <p:cNvPr id="443" name="Freihandform: Form 826">
                  <a:extLst>
                    <a:ext uri="{FF2B5EF4-FFF2-40B4-BE49-F238E27FC236}">
                      <a16:creationId xmlns:a16="http://schemas.microsoft.com/office/drawing/2014/main" id="{9D378FC0-7757-459F-8F08-3D3DAC73E3A3}"/>
                    </a:ext>
                  </a:extLst>
                </p:cNvPr>
                <p:cNvSpPr/>
                <p:nvPr/>
              </p:nvSpPr>
              <p:spPr>
                <a:xfrm>
                  <a:off x="7131952" y="2571166"/>
                  <a:ext cx="52732" cy="138442"/>
                </a:xfrm>
                <a:custGeom>
                  <a:avLst/>
                  <a:gdLst>
                    <a:gd name="connsiteX0" fmla="*/ 13196 w 52732"/>
                    <a:gd name="connsiteY0" fmla="*/ 138442 h 138442"/>
                    <a:gd name="connsiteX1" fmla="*/ 0 w 52732"/>
                    <a:gd name="connsiteY1" fmla="*/ 138442 h 138442"/>
                    <a:gd name="connsiteX2" fmla="*/ 0 w 52732"/>
                    <a:gd name="connsiteY2" fmla="*/ 26366 h 138442"/>
                    <a:gd name="connsiteX3" fmla="*/ 26366 w 52732"/>
                    <a:gd name="connsiteY3" fmla="*/ 0 h 138442"/>
                    <a:gd name="connsiteX4" fmla="*/ 52732 w 52732"/>
                    <a:gd name="connsiteY4" fmla="*/ 26366 h 138442"/>
                    <a:gd name="connsiteX5" fmla="*/ 52732 w 52732"/>
                    <a:gd name="connsiteY5" fmla="*/ 118661 h 138442"/>
                    <a:gd name="connsiteX6" fmla="*/ 39536 w 52732"/>
                    <a:gd name="connsiteY6" fmla="*/ 118661 h 138442"/>
                    <a:gd name="connsiteX7" fmla="*/ 39536 w 52732"/>
                    <a:gd name="connsiteY7" fmla="*/ 26366 h 138442"/>
                    <a:gd name="connsiteX8" fmla="*/ 26340 w 52732"/>
                    <a:gd name="connsiteY8" fmla="*/ 13170 h 138442"/>
                    <a:gd name="connsiteX9" fmla="*/ 13144 w 52732"/>
                    <a:gd name="connsiteY9" fmla="*/ 26366 h 138442"/>
                    <a:gd name="connsiteX10" fmla="*/ 13144 w 52732"/>
                    <a:gd name="connsiteY10" fmla="*/ 138442 h 138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32" h="138442">
                      <a:moveTo>
                        <a:pt x="13196" y="138442"/>
                      </a:moveTo>
                      <a:lnTo>
                        <a:pt x="0" y="138442"/>
                      </a:lnTo>
                      <a:lnTo>
                        <a:pt x="0" y="26366"/>
                      </a:lnTo>
                      <a:cubicBezTo>
                        <a:pt x="0" y="11832"/>
                        <a:pt x="11832" y="0"/>
                        <a:pt x="26366" y="0"/>
                      </a:cubicBezTo>
                      <a:cubicBezTo>
                        <a:pt x="40900" y="0"/>
                        <a:pt x="52732" y="11832"/>
                        <a:pt x="52732" y="26366"/>
                      </a:cubicBezTo>
                      <a:lnTo>
                        <a:pt x="52732" y="118661"/>
                      </a:lnTo>
                      <a:lnTo>
                        <a:pt x="39536" y="118661"/>
                      </a:lnTo>
                      <a:lnTo>
                        <a:pt x="39536" y="26366"/>
                      </a:lnTo>
                      <a:cubicBezTo>
                        <a:pt x="39536" y="19099"/>
                        <a:pt x="33607" y="13170"/>
                        <a:pt x="26340" y="13170"/>
                      </a:cubicBezTo>
                      <a:cubicBezTo>
                        <a:pt x="19073" y="13170"/>
                        <a:pt x="13144" y="19073"/>
                        <a:pt x="13144" y="26366"/>
                      </a:cubicBezTo>
                      <a:lnTo>
                        <a:pt x="13144" y="138442"/>
                      </a:lnTo>
                      <a:close/>
                    </a:path>
                  </a:pathLst>
                </a:custGeom>
                <a:solidFill>
                  <a:schemeClr val="tx2"/>
                </a:solidFill>
                <a:ln w="2620" cap="flat">
                  <a:noFill/>
                  <a:prstDash val="solid"/>
                  <a:miter/>
                </a:ln>
              </p:spPr>
              <p:txBody>
                <a:bodyPr rtlCol="0" anchor="ctr"/>
                <a:lstStyle/>
                <a:p>
                  <a:endParaRPr lang="en-GB" dirty="0"/>
                </a:p>
              </p:txBody>
            </p:sp>
          </p:grpSp>
        </p:grpSp>
        <p:grpSp>
          <p:nvGrpSpPr>
            <p:cNvPr id="421" name="Grafik 174">
              <a:extLst>
                <a:ext uri="{FF2B5EF4-FFF2-40B4-BE49-F238E27FC236}">
                  <a16:creationId xmlns:a16="http://schemas.microsoft.com/office/drawing/2014/main" id="{9B43540E-794B-4179-A81A-7A99380DFD68}"/>
                </a:ext>
              </a:extLst>
            </p:cNvPr>
            <p:cNvGrpSpPr/>
            <p:nvPr/>
          </p:nvGrpSpPr>
          <p:grpSpPr>
            <a:xfrm>
              <a:off x="6953947" y="2696412"/>
              <a:ext cx="487893" cy="92321"/>
              <a:chOff x="6953947" y="2696412"/>
              <a:chExt cx="487893" cy="92321"/>
            </a:xfrm>
            <a:solidFill>
              <a:schemeClr val="accent1"/>
            </a:solidFill>
          </p:grpSpPr>
          <p:sp>
            <p:nvSpPr>
              <p:cNvPr id="427" name="Freihandform: Form 811">
                <a:extLst>
                  <a:ext uri="{FF2B5EF4-FFF2-40B4-BE49-F238E27FC236}">
                    <a16:creationId xmlns:a16="http://schemas.microsoft.com/office/drawing/2014/main" id="{E75ABDC2-AE0D-4623-A2DF-F4836A4EA81B}"/>
                  </a:ext>
                </a:extLst>
              </p:cNvPr>
              <p:cNvSpPr/>
              <p:nvPr/>
            </p:nvSpPr>
            <p:spPr>
              <a:xfrm>
                <a:off x="6953947" y="2696412"/>
                <a:ext cx="138442" cy="92321"/>
              </a:xfrm>
              <a:custGeom>
                <a:avLst/>
                <a:gdLst>
                  <a:gd name="connsiteX0" fmla="*/ 138442 w 138442"/>
                  <a:gd name="connsiteY0" fmla="*/ 92321 h 92321"/>
                  <a:gd name="connsiteX1" fmla="*/ 0 w 138442"/>
                  <a:gd name="connsiteY1" fmla="*/ 92321 h 92321"/>
                  <a:gd name="connsiteX2" fmla="*/ 0 w 138442"/>
                  <a:gd name="connsiteY2" fmla="*/ 0 h 92321"/>
                  <a:gd name="connsiteX3" fmla="*/ 138442 w 138442"/>
                  <a:gd name="connsiteY3" fmla="*/ 0 h 92321"/>
                  <a:gd name="connsiteX4" fmla="*/ 138442 w 138442"/>
                  <a:gd name="connsiteY4" fmla="*/ 13196 h 92321"/>
                  <a:gd name="connsiteX5" fmla="*/ 13170 w 138442"/>
                  <a:gd name="connsiteY5" fmla="*/ 13196 h 92321"/>
                  <a:gd name="connsiteX6" fmla="*/ 13170 w 138442"/>
                  <a:gd name="connsiteY6" fmla="*/ 79125 h 92321"/>
                  <a:gd name="connsiteX7" fmla="*/ 138442 w 138442"/>
                  <a:gd name="connsiteY7" fmla="*/ 79125 h 9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442" h="92321">
                    <a:moveTo>
                      <a:pt x="138442" y="92321"/>
                    </a:moveTo>
                    <a:lnTo>
                      <a:pt x="0" y="92321"/>
                    </a:lnTo>
                    <a:lnTo>
                      <a:pt x="0" y="0"/>
                    </a:lnTo>
                    <a:lnTo>
                      <a:pt x="138442" y="0"/>
                    </a:lnTo>
                    <a:lnTo>
                      <a:pt x="138442" y="13196"/>
                    </a:lnTo>
                    <a:lnTo>
                      <a:pt x="13170" y="13196"/>
                    </a:lnTo>
                    <a:lnTo>
                      <a:pt x="13170" y="79125"/>
                    </a:lnTo>
                    <a:lnTo>
                      <a:pt x="138442" y="79125"/>
                    </a:lnTo>
                    <a:close/>
                  </a:path>
                </a:pathLst>
              </a:custGeom>
              <a:solidFill>
                <a:schemeClr val="accent1"/>
              </a:solidFill>
              <a:ln w="2620" cap="flat">
                <a:noFill/>
                <a:prstDash val="solid"/>
                <a:miter/>
              </a:ln>
            </p:spPr>
            <p:txBody>
              <a:bodyPr rtlCol="0" anchor="ctr"/>
              <a:lstStyle/>
              <a:p>
                <a:endParaRPr lang="en-GB" dirty="0"/>
              </a:p>
            </p:txBody>
          </p:sp>
          <p:sp>
            <p:nvSpPr>
              <p:cNvPr id="428" name="Freihandform: Form 812">
                <a:extLst>
                  <a:ext uri="{FF2B5EF4-FFF2-40B4-BE49-F238E27FC236}">
                    <a16:creationId xmlns:a16="http://schemas.microsoft.com/office/drawing/2014/main" id="{D531F9E4-C74E-409F-A361-3AEDCD06449C}"/>
                  </a:ext>
                </a:extLst>
              </p:cNvPr>
              <p:cNvSpPr/>
              <p:nvPr/>
            </p:nvSpPr>
            <p:spPr>
              <a:xfrm>
                <a:off x="7138563" y="2696412"/>
                <a:ext cx="303277" cy="92321"/>
              </a:xfrm>
              <a:custGeom>
                <a:avLst/>
                <a:gdLst>
                  <a:gd name="connsiteX0" fmla="*/ 303277 w 303277"/>
                  <a:gd name="connsiteY0" fmla="*/ 92321 h 92321"/>
                  <a:gd name="connsiteX1" fmla="*/ 52733 w 303277"/>
                  <a:gd name="connsiteY1" fmla="*/ 92321 h 92321"/>
                  <a:gd name="connsiteX2" fmla="*/ 52733 w 303277"/>
                  <a:gd name="connsiteY2" fmla="*/ 79125 h 92321"/>
                  <a:gd name="connsiteX3" fmla="*/ 290107 w 303277"/>
                  <a:gd name="connsiteY3" fmla="*/ 79125 h 92321"/>
                  <a:gd name="connsiteX4" fmla="*/ 290107 w 303277"/>
                  <a:gd name="connsiteY4" fmla="*/ 13196 h 92321"/>
                  <a:gd name="connsiteX5" fmla="*/ 0 w 303277"/>
                  <a:gd name="connsiteY5" fmla="*/ 13196 h 92321"/>
                  <a:gd name="connsiteX6" fmla="*/ 0 w 303277"/>
                  <a:gd name="connsiteY6" fmla="*/ 0 h 92321"/>
                  <a:gd name="connsiteX7" fmla="*/ 303277 w 303277"/>
                  <a:gd name="connsiteY7" fmla="*/ 0 h 92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3277" h="92321">
                    <a:moveTo>
                      <a:pt x="303277" y="92321"/>
                    </a:moveTo>
                    <a:lnTo>
                      <a:pt x="52733" y="92321"/>
                    </a:lnTo>
                    <a:lnTo>
                      <a:pt x="52733" y="79125"/>
                    </a:lnTo>
                    <a:lnTo>
                      <a:pt x="290107" y="79125"/>
                    </a:lnTo>
                    <a:lnTo>
                      <a:pt x="290107" y="13196"/>
                    </a:lnTo>
                    <a:lnTo>
                      <a:pt x="0" y="13196"/>
                    </a:lnTo>
                    <a:lnTo>
                      <a:pt x="0" y="0"/>
                    </a:lnTo>
                    <a:lnTo>
                      <a:pt x="303277" y="0"/>
                    </a:lnTo>
                    <a:close/>
                  </a:path>
                </a:pathLst>
              </a:custGeom>
              <a:solidFill>
                <a:schemeClr val="accent1"/>
              </a:solidFill>
              <a:ln w="2620" cap="flat">
                <a:noFill/>
                <a:prstDash val="solid"/>
                <a:miter/>
              </a:ln>
            </p:spPr>
            <p:txBody>
              <a:bodyPr rtlCol="0" anchor="ctr"/>
              <a:lstStyle/>
              <a:p>
                <a:endParaRPr lang="en-GB" dirty="0"/>
              </a:p>
            </p:txBody>
          </p:sp>
          <p:sp>
            <p:nvSpPr>
              <p:cNvPr id="429" name="Freihandform: Form 813">
                <a:extLst>
                  <a:ext uri="{FF2B5EF4-FFF2-40B4-BE49-F238E27FC236}">
                    <a16:creationId xmlns:a16="http://schemas.microsoft.com/office/drawing/2014/main" id="{F3451659-469D-4AD6-8DC2-437640AEBFAD}"/>
                  </a:ext>
                </a:extLst>
              </p:cNvPr>
              <p:cNvSpPr/>
              <p:nvPr/>
            </p:nvSpPr>
            <p:spPr>
              <a:xfrm>
                <a:off x="6993510" y="2703024"/>
                <a:ext cx="13196" cy="26366"/>
              </a:xfrm>
              <a:custGeom>
                <a:avLst/>
                <a:gdLst>
                  <a:gd name="connsiteX0" fmla="*/ 0 w 13196"/>
                  <a:gd name="connsiteY0" fmla="*/ 0 h 26366"/>
                  <a:gd name="connsiteX1" fmla="*/ 13196 w 13196"/>
                  <a:gd name="connsiteY1" fmla="*/ 0 h 26366"/>
                  <a:gd name="connsiteX2" fmla="*/ 13196 w 13196"/>
                  <a:gd name="connsiteY2" fmla="*/ 26366 h 26366"/>
                  <a:gd name="connsiteX3" fmla="*/ 0 w 13196"/>
                  <a:gd name="connsiteY3" fmla="*/ 26366 h 26366"/>
                </a:gdLst>
                <a:ahLst/>
                <a:cxnLst>
                  <a:cxn ang="0">
                    <a:pos x="connsiteX0" y="connsiteY0"/>
                  </a:cxn>
                  <a:cxn ang="0">
                    <a:pos x="connsiteX1" y="connsiteY1"/>
                  </a:cxn>
                  <a:cxn ang="0">
                    <a:pos x="connsiteX2" y="connsiteY2"/>
                  </a:cxn>
                  <a:cxn ang="0">
                    <a:pos x="connsiteX3" y="connsiteY3"/>
                  </a:cxn>
                </a:cxnLst>
                <a:rect l="l" t="t" r="r" b="b"/>
                <a:pathLst>
                  <a:path w="13196" h="26366">
                    <a:moveTo>
                      <a:pt x="0" y="0"/>
                    </a:moveTo>
                    <a:lnTo>
                      <a:pt x="13196" y="0"/>
                    </a:lnTo>
                    <a:lnTo>
                      <a:pt x="13196" y="26366"/>
                    </a:lnTo>
                    <a:lnTo>
                      <a:pt x="0" y="26366"/>
                    </a:lnTo>
                    <a:close/>
                  </a:path>
                </a:pathLst>
              </a:custGeom>
              <a:solidFill>
                <a:schemeClr val="accent1"/>
              </a:solidFill>
              <a:ln w="2620" cap="flat">
                <a:noFill/>
                <a:prstDash val="solid"/>
                <a:miter/>
              </a:ln>
            </p:spPr>
            <p:txBody>
              <a:bodyPr rtlCol="0" anchor="ctr"/>
              <a:lstStyle/>
              <a:p>
                <a:endParaRPr lang="en-GB" dirty="0"/>
              </a:p>
            </p:txBody>
          </p:sp>
          <p:sp>
            <p:nvSpPr>
              <p:cNvPr id="430" name="Freihandform: Form 814">
                <a:extLst>
                  <a:ext uri="{FF2B5EF4-FFF2-40B4-BE49-F238E27FC236}">
                    <a16:creationId xmlns:a16="http://schemas.microsoft.com/office/drawing/2014/main" id="{9D39EF61-0390-4779-9E04-B084A8588ADE}"/>
                  </a:ext>
                </a:extLst>
              </p:cNvPr>
              <p:cNvSpPr/>
              <p:nvPr/>
            </p:nvSpPr>
            <p:spPr>
              <a:xfrm>
                <a:off x="7033046" y="2703024"/>
                <a:ext cx="13196" cy="39562"/>
              </a:xfrm>
              <a:custGeom>
                <a:avLst/>
                <a:gdLst>
                  <a:gd name="connsiteX0" fmla="*/ 0 w 13196"/>
                  <a:gd name="connsiteY0" fmla="*/ 0 h 39562"/>
                  <a:gd name="connsiteX1" fmla="*/ 13196 w 13196"/>
                  <a:gd name="connsiteY1" fmla="*/ 0 h 39562"/>
                  <a:gd name="connsiteX2" fmla="*/ 13196 w 13196"/>
                  <a:gd name="connsiteY2" fmla="*/ 39562 h 39562"/>
                  <a:gd name="connsiteX3" fmla="*/ 0 w 13196"/>
                  <a:gd name="connsiteY3" fmla="*/ 39562 h 39562"/>
                </a:gdLst>
                <a:ahLst/>
                <a:cxnLst>
                  <a:cxn ang="0">
                    <a:pos x="connsiteX0" y="connsiteY0"/>
                  </a:cxn>
                  <a:cxn ang="0">
                    <a:pos x="connsiteX1" y="connsiteY1"/>
                  </a:cxn>
                  <a:cxn ang="0">
                    <a:pos x="connsiteX2" y="connsiteY2"/>
                  </a:cxn>
                  <a:cxn ang="0">
                    <a:pos x="connsiteX3" y="connsiteY3"/>
                  </a:cxn>
                </a:cxnLst>
                <a:rect l="l" t="t" r="r" b="b"/>
                <a:pathLst>
                  <a:path w="13196" h="39562">
                    <a:moveTo>
                      <a:pt x="0" y="0"/>
                    </a:moveTo>
                    <a:lnTo>
                      <a:pt x="13196" y="0"/>
                    </a:lnTo>
                    <a:lnTo>
                      <a:pt x="13196" y="39562"/>
                    </a:lnTo>
                    <a:lnTo>
                      <a:pt x="0" y="39562"/>
                    </a:lnTo>
                    <a:close/>
                  </a:path>
                </a:pathLst>
              </a:custGeom>
              <a:solidFill>
                <a:schemeClr val="accent1"/>
              </a:solidFill>
              <a:ln w="2620" cap="flat">
                <a:noFill/>
                <a:prstDash val="solid"/>
                <a:miter/>
              </a:ln>
            </p:spPr>
            <p:txBody>
              <a:bodyPr rtlCol="0" anchor="ctr"/>
              <a:lstStyle/>
              <a:p>
                <a:endParaRPr lang="en-GB" dirty="0"/>
              </a:p>
            </p:txBody>
          </p:sp>
          <p:sp>
            <p:nvSpPr>
              <p:cNvPr id="431" name="Freihandform: Form 815">
                <a:extLst>
                  <a:ext uri="{FF2B5EF4-FFF2-40B4-BE49-F238E27FC236}">
                    <a16:creationId xmlns:a16="http://schemas.microsoft.com/office/drawing/2014/main" id="{C19DB3B7-AA6C-47CF-B67D-E5D76E010CB0}"/>
                  </a:ext>
                </a:extLst>
              </p:cNvPr>
              <p:cNvSpPr/>
              <p:nvPr/>
            </p:nvSpPr>
            <p:spPr>
              <a:xfrm>
                <a:off x="7151733" y="2703024"/>
                <a:ext cx="13196" cy="26366"/>
              </a:xfrm>
              <a:custGeom>
                <a:avLst/>
                <a:gdLst>
                  <a:gd name="connsiteX0" fmla="*/ 0 w 13196"/>
                  <a:gd name="connsiteY0" fmla="*/ 0 h 26366"/>
                  <a:gd name="connsiteX1" fmla="*/ 13196 w 13196"/>
                  <a:gd name="connsiteY1" fmla="*/ 0 h 26366"/>
                  <a:gd name="connsiteX2" fmla="*/ 13196 w 13196"/>
                  <a:gd name="connsiteY2" fmla="*/ 26366 h 26366"/>
                  <a:gd name="connsiteX3" fmla="*/ 0 w 13196"/>
                  <a:gd name="connsiteY3" fmla="*/ 26366 h 26366"/>
                </a:gdLst>
                <a:ahLst/>
                <a:cxnLst>
                  <a:cxn ang="0">
                    <a:pos x="connsiteX0" y="connsiteY0"/>
                  </a:cxn>
                  <a:cxn ang="0">
                    <a:pos x="connsiteX1" y="connsiteY1"/>
                  </a:cxn>
                  <a:cxn ang="0">
                    <a:pos x="connsiteX2" y="connsiteY2"/>
                  </a:cxn>
                  <a:cxn ang="0">
                    <a:pos x="connsiteX3" y="connsiteY3"/>
                  </a:cxn>
                </a:cxnLst>
                <a:rect l="l" t="t" r="r" b="b"/>
                <a:pathLst>
                  <a:path w="13196" h="26366">
                    <a:moveTo>
                      <a:pt x="0" y="0"/>
                    </a:moveTo>
                    <a:lnTo>
                      <a:pt x="13196" y="0"/>
                    </a:lnTo>
                    <a:lnTo>
                      <a:pt x="13196" y="26366"/>
                    </a:lnTo>
                    <a:lnTo>
                      <a:pt x="0" y="26366"/>
                    </a:lnTo>
                    <a:close/>
                  </a:path>
                </a:pathLst>
              </a:custGeom>
              <a:solidFill>
                <a:schemeClr val="accent1"/>
              </a:solidFill>
              <a:ln w="2620" cap="flat">
                <a:noFill/>
                <a:prstDash val="solid"/>
                <a:miter/>
              </a:ln>
            </p:spPr>
            <p:txBody>
              <a:bodyPr rtlCol="0" anchor="ctr"/>
              <a:lstStyle/>
              <a:p>
                <a:endParaRPr lang="en-GB" dirty="0"/>
              </a:p>
            </p:txBody>
          </p:sp>
          <p:sp>
            <p:nvSpPr>
              <p:cNvPr id="432" name="Freihandform: Form 816">
                <a:extLst>
                  <a:ext uri="{FF2B5EF4-FFF2-40B4-BE49-F238E27FC236}">
                    <a16:creationId xmlns:a16="http://schemas.microsoft.com/office/drawing/2014/main" id="{9266EFFF-632F-4029-877A-91E3180D2274}"/>
                  </a:ext>
                </a:extLst>
              </p:cNvPr>
              <p:cNvSpPr/>
              <p:nvPr/>
            </p:nvSpPr>
            <p:spPr>
              <a:xfrm>
                <a:off x="7191296" y="2703024"/>
                <a:ext cx="13196" cy="39562"/>
              </a:xfrm>
              <a:custGeom>
                <a:avLst/>
                <a:gdLst>
                  <a:gd name="connsiteX0" fmla="*/ 0 w 13196"/>
                  <a:gd name="connsiteY0" fmla="*/ 0 h 39562"/>
                  <a:gd name="connsiteX1" fmla="*/ 13196 w 13196"/>
                  <a:gd name="connsiteY1" fmla="*/ 0 h 39562"/>
                  <a:gd name="connsiteX2" fmla="*/ 13196 w 13196"/>
                  <a:gd name="connsiteY2" fmla="*/ 39562 h 39562"/>
                  <a:gd name="connsiteX3" fmla="*/ 0 w 13196"/>
                  <a:gd name="connsiteY3" fmla="*/ 39562 h 39562"/>
                </a:gdLst>
                <a:ahLst/>
                <a:cxnLst>
                  <a:cxn ang="0">
                    <a:pos x="connsiteX0" y="connsiteY0"/>
                  </a:cxn>
                  <a:cxn ang="0">
                    <a:pos x="connsiteX1" y="connsiteY1"/>
                  </a:cxn>
                  <a:cxn ang="0">
                    <a:pos x="connsiteX2" y="connsiteY2"/>
                  </a:cxn>
                  <a:cxn ang="0">
                    <a:pos x="connsiteX3" y="connsiteY3"/>
                  </a:cxn>
                </a:cxnLst>
                <a:rect l="l" t="t" r="r" b="b"/>
                <a:pathLst>
                  <a:path w="13196" h="39562">
                    <a:moveTo>
                      <a:pt x="0" y="0"/>
                    </a:moveTo>
                    <a:lnTo>
                      <a:pt x="13196" y="0"/>
                    </a:lnTo>
                    <a:lnTo>
                      <a:pt x="13196" y="39562"/>
                    </a:lnTo>
                    <a:lnTo>
                      <a:pt x="0" y="39562"/>
                    </a:lnTo>
                    <a:close/>
                  </a:path>
                </a:pathLst>
              </a:custGeom>
              <a:solidFill>
                <a:schemeClr val="accent1"/>
              </a:solidFill>
              <a:ln w="2620" cap="flat">
                <a:noFill/>
                <a:prstDash val="solid"/>
                <a:miter/>
              </a:ln>
            </p:spPr>
            <p:txBody>
              <a:bodyPr rtlCol="0" anchor="ctr"/>
              <a:lstStyle/>
              <a:p>
                <a:endParaRPr lang="en-GB" dirty="0"/>
              </a:p>
            </p:txBody>
          </p:sp>
          <p:sp>
            <p:nvSpPr>
              <p:cNvPr id="433" name="Freihandform: Form 817">
                <a:extLst>
                  <a:ext uri="{FF2B5EF4-FFF2-40B4-BE49-F238E27FC236}">
                    <a16:creationId xmlns:a16="http://schemas.microsoft.com/office/drawing/2014/main" id="{DD1BA85C-F79F-42B6-B5AB-49661DBA4486}"/>
                  </a:ext>
                </a:extLst>
              </p:cNvPr>
              <p:cNvSpPr/>
              <p:nvPr/>
            </p:nvSpPr>
            <p:spPr>
              <a:xfrm>
                <a:off x="7230858" y="2703024"/>
                <a:ext cx="13196" cy="26366"/>
              </a:xfrm>
              <a:custGeom>
                <a:avLst/>
                <a:gdLst>
                  <a:gd name="connsiteX0" fmla="*/ 0 w 13196"/>
                  <a:gd name="connsiteY0" fmla="*/ 0 h 26366"/>
                  <a:gd name="connsiteX1" fmla="*/ 13196 w 13196"/>
                  <a:gd name="connsiteY1" fmla="*/ 0 h 26366"/>
                  <a:gd name="connsiteX2" fmla="*/ 13196 w 13196"/>
                  <a:gd name="connsiteY2" fmla="*/ 26366 h 26366"/>
                  <a:gd name="connsiteX3" fmla="*/ 0 w 13196"/>
                  <a:gd name="connsiteY3" fmla="*/ 26366 h 26366"/>
                </a:gdLst>
                <a:ahLst/>
                <a:cxnLst>
                  <a:cxn ang="0">
                    <a:pos x="connsiteX0" y="connsiteY0"/>
                  </a:cxn>
                  <a:cxn ang="0">
                    <a:pos x="connsiteX1" y="connsiteY1"/>
                  </a:cxn>
                  <a:cxn ang="0">
                    <a:pos x="connsiteX2" y="connsiteY2"/>
                  </a:cxn>
                  <a:cxn ang="0">
                    <a:pos x="connsiteX3" y="connsiteY3"/>
                  </a:cxn>
                </a:cxnLst>
                <a:rect l="l" t="t" r="r" b="b"/>
                <a:pathLst>
                  <a:path w="13196" h="26366">
                    <a:moveTo>
                      <a:pt x="0" y="0"/>
                    </a:moveTo>
                    <a:lnTo>
                      <a:pt x="13196" y="0"/>
                    </a:lnTo>
                    <a:lnTo>
                      <a:pt x="13196" y="26366"/>
                    </a:lnTo>
                    <a:lnTo>
                      <a:pt x="0" y="26366"/>
                    </a:lnTo>
                    <a:close/>
                  </a:path>
                </a:pathLst>
              </a:custGeom>
              <a:solidFill>
                <a:schemeClr val="accent1"/>
              </a:solidFill>
              <a:ln w="2620" cap="flat">
                <a:noFill/>
                <a:prstDash val="solid"/>
                <a:miter/>
              </a:ln>
            </p:spPr>
            <p:txBody>
              <a:bodyPr rtlCol="0" anchor="ctr"/>
              <a:lstStyle/>
              <a:p>
                <a:endParaRPr lang="en-GB" dirty="0"/>
              </a:p>
            </p:txBody>
          </p:sp>
          <p:sp>
            <p:nvSpPr>
              <p:cNvPr id="434" name="Freihandform: Form 818">
                <a:extLst>
                  <a:ext uri="{FF2B5EF4-FFF2-40B4-BE49-F238E27FC236}">
                    <a16:creationId xmlns:a16="http://schemas.microsoft.com/office/drawing/2014/main" id="{FCD96A64-DEDD-4ABB-8544-333537A7E076}"/>
                  </a:ext>
                </a:extLst>
              </p:cNvPr>
              <p:cNvSpPr/>
              <p:nvPr/>
            </p:nvSpPr>
            <p:spPr>
              <a:xfrm>
                <a:off x="7270421" y="2703024"/>
                <a:ext cx="13196" cy="39562"/>
              </a:xfrm>
              <a:custGeom>
                <a:avLst/>
                <a:gdLst>
                  <a:gd name="connsiteX0" fmla="*/ 0 w 13196"/>
                  <a:gd name="connsiteY0" fmla="*/ 0 h 39562"/>
                  <a:gd name="connsiteX1" fmla="*/ 13196 w 13196"/>
                  <a:gd name="connsiteY1" fmla="*/ 0 h 39562"/>
                  <a:gd name="connsiteX2" fmla="*/ 13196 w 13196"/>
                  <a:gd name="connsiteY2" fmla="*/ 39562 h 39562"/>
                  <a:gd name="connsiteX3" fmla="*/ 0 w 13196"/>
                  <a:gd name="connsiteY3" fmla="*/ 39562 h 39562"/>
                </a:gdLst>
                <a:ahLst/>
                <a:cxnLst>
                  <a:cxn ang="0">
                    <a:pos x="connsiteX0" y="connsiteY0"/>
                  </a:cxn>
                  <a:cxn ang="0">
                    <a:pos x="connsiteX1" y="connsiteY1"/>
                  </a:cxn>
                  <a:cxn ang="0">
                    <a:pos x="connsiteX2" y="connsiteY2"/>
                  </a:cxn>
                  <a:cxn ang="0">
                    <a:pos x="connsiteX3" y="connsiteY3"/>
                  </a:cxn>
                </a:cxnLst>
                <a:rect l="l" t="t" r="r" b="b"/>
                <a:pathLst>
                  <a:path w="13196" h="39562">
                    <a:moveTo>
                      <a:pt x="0" y="0"/>
                    </a:moveTo>
                    <a:lnTo>
                      <a:pt x="13196" y="0"/>
                    </a:lnTo>
                    <a:lnTo>
                      <a:pt x="13196" y="39562"/>
                    </a:lnTo>
                    <a:lnTo>
                      <a:pt x="0" y="39562"/>
                    </a:lnTo>
                    <a:close/>
                  </a:path>
                </a:pathLst>
              </a:custGeom>
              <a:solidFill>
                <a:schemeClr val="accent1"/>
              </a:solidFill>
              <a:ln w="2620" cap="flat">
                <a:noFill/>
                <a:prstDash val="solid"/>
                <a:miter/>
              </a:ln>
            </p:spPr>
            <p:txBody>
              <a:bodyPr rtlCol="0" anchor="ctr"/>
              <a:lstStyle/>
              <a:p>
                <a:endParaRPr lang="en-GB" dirty="0"/>
              </a:p>
            </p:txBody>
          </p:sp>
          <p:sp>
            <p:nvSpPr>
              <p:cNvPr id="435" name="Freihandform: Form 819">
                <a:extLst>
                  <a:ext uri="{FF2B5EF4-FFF2-40B4-BE49-F238E27FC236}">
                    <a16:creationId xmlns:a16="http://schemas.microsoft.com/office/drawing/2014/main" id="{8657B94C-9E18-4ADA-AF60-5319A06C22D3}"/>
                  </a:ext>
                </a:extLst>
              </p:cNvPr>
              <p:cNvSpPr/>
              <p:nvPr/>
            </p:nvSpPr>
            <p:spPr>
              <a:xfrm>
                <a:off x="7309983" y="2703024"/>
                <a:ext cx="13196" cy="26366"/>
              </a:xfrm>
              <a:custGeom>
                <a:avLst/>
                <a:gdLst>
                  <a:gd name="connsiteX0" fmla="*/ 0 w 13196"/>
                  <a:gd name="connsiteY0" fmla="*/ 0 h 26366"/>
                  <a:gd name="connsiteX1" fmla="*/ 13196 w 13196"/>
                  <a:gd name="connsiteY1" fmla="*/ 0 h 26366"/>
                  <a:gd name="connsiteX2" fmla="*/ 13196 w 13196"/>
                  <a:gd name="connsiteY2" fmla="*/ 26366 h 26366"/>
                  <a:gd name="connsiteX3" fmla="*/ 0 w 13196"/>
                  <a:gd name="connsiteY3" fmla="*/ 26366 h 26366"/>
                </a:gdLst>
                <a:ahLst/>
                <a:cxnLst>
                  <a:cxn ang="0">
                    <a:pos x="connsiteX0" y="connsiteY0"/>
                  </a:cxn>
                  <a:cxn ang="0">
                    <a:pos x="connsiteX1" y="connsiteY1"/>
                  </a:cxn>
                  <a:cxn ang="0">
                    <a:pos x="connsiteX2" y="connsiteY2"/>
                  </a:cxn>
                  <a:cxn ang="0">
                    <a:pos x="connsiteX3" y="connsiteY3"/>
                  </a:cxn>
                </a:cxnLst>
                <a:rect l="l" t="t" r="r" b="b"/>
                <a:pathLst>
                  <a:path w="13196" h="26366">
                    <a:moveTo>
                      <a:pt x="0" y="0"/>
                    </a:moveTo>
                    <a:lnTo>
                      <a:pt x="13196" y="0"/>
                    </a:lnTo>
                    <a:lnTo>
                      <a:pt x="13196" y="26366"/>
                    </a:lnTo>
                    <a:lnTo>
                      <a:pt x="0" y="26366"/>
                    </a:lnTo>
                    <a:close/>
                  </a:path>
                </a:pathLst>
              </a:custGeom>
              <a:solidFill>
                <a:schemeClr val="accent1"/>
              </a:solidFill>
              <a:ln w="2620" cap="flat">
                <a:noFill/>
                <a:prstDash val="solid"/>
                <a:miter/>
              </a:ln>
            </p:spPr>
            <p:txBody>
              <a:bodyPr rtlCol="0" anchor="ctr"/>
              <a:lstStyle/>
              <a:p>
                <a:endParaRPr lang="en-GB" dirty="0"/>
              </a:p>
            </p:txBody>
          </p:sp>
          <p:sp>
            <p:nvSpPr>
              <p:cNvPr id="436" name="Freihandform: Form 820">
                <a:extLst>
                  <a:ext uri="{FF2B5EF4-FFF2-40B4-BE49-F238E27FC236}">
                    <a16:creationId xmlns:a16="http://schemas.microsoft.com/office/drawing/2014/main" id="{E56EFD96-4CEA-4B4F-A4EE-427EB12D63B0}"/>
                  </a:ext>
                </a:extLst>
              </p:cNvPr>
              <p:cNvSpPr/>
              <p:nvPr/>
            </p:nvSpPr>
            <p:spPr>
              <a:xfrm>
                <a:off x="7349546" y="2703024"/>
                <a:ext cx="13196" cy="39562"/>
              </a:xfrm>
              <a:custGeom>
                <a:avLst/>
                <a:gdLst>
                  <a:gd name="connsiteX0" fmla="*/ 0 w 13196"/>
                  <a:gd name="connsiteY0" fmla="*/ 0 h 39562"/>
                  <a:gd name="connsiteX1" fmla="*/ 13196 w 13196"/>
                  <a:gd name="connsiteY1" fmla="*/ 0 h 39562"/>
                  <a:gd name="connsiteX2" fmla="*/ 13196 w 13196"/>
                  <a:gd name="connsiteY2" fmla="*/ 39562 h 39562"/>
                  <a:gd name="connsiteX3" fmla="*/ 0 w 13196"/>
                  <a:gd name="connsiteY3" fmla="*/ 39562 h 39562"/>
                </a:gdLst>
                <a:ahLst/>
                <a:cxnLst>
                  <a:cxn ang="0">
                    <a:pos x="connsiteX0" y="connsiteY0"/>
                  </a:cxn>
                  <a:cxn ang="0">
                    <a:pos x="connsiteX1" y="connsiteY1"/>
                  </a:cxn>
                  <a:cxn ang="0">
                    <a:pos x="connsiteX2" y="connsiteY2"/>
                  </a:cxn>
                  <a:cxn ang="0">
                    <a:pos x="connsiteX3" y="connsiteY3"/>
                  </a:cxn>
                </a:cxnLst>
                <a:rect l="l" t="t" r="r" b="b"/>
                <a:pathLst>
                  <a:path w="13196" h="39562">
                    <a:moveTo>
                      <a:pt x="0" y="0"/>
                    </a:moveTo>
                    <a:lnTo>
                      <a:pt x="13196" y="0"/>
                    </a:lnTo>
                    <a:lnTo>
                      <a:pt x="13196" y="39562"/>
                    </a:lnTo>
                    <a:lnTo>
                      <a:pt x="0" y="39562"/>
                    </a:lnTo>
                    <a:close/>
                  </a:path>
                </a:pathLst>
              </a:custGeom>
              <a:solidFill>
                <a:schemeClr val="accent1"/>
              </a:solidFill>
              <a:ln w="2620" cap="flat">
                <a:noFill/>
                <a:prstDash val="solid"/>
                <a:miter/>
              </a:ln>
            </p:spPr>
            <p:txBody>
              <a:bodyPr rtlCol="0" anchor="ctr"/>
              <a:lstStyle/>
              <a:p>
                <a:endParaRPr lang="en-GB" dirty="0"/>
              </a:p>
            </p:txBody>
          </p:sp>
          <p:sp>
            <p:nvSpPr>
              <p:cNvPr id="437" name="Freihandform: Form 821">
                <a:extLst>
                  <a:ext uri="{FF2B5EF4-FFF2-40B4-BE49-F238E27FC236}">
                    <a16:creationId xmlns:a16="http://schemas.microsoft.com/office/drawing/2014/main" id="{C7CB2DCF-6E93-47D5-AEFC-28532E0DA798}"/>
                  </a:ext>
                </a:extLst>
              </p:cNvPr>
              <p:cNvSpPr/>
              <p:nvPr/>
            </p:nvSpPr>
            <p:spPr>
              <a:xfrm>
                <a:off x="7389108" y="2703024"/>
                <a:ext cx="13196" cy="26366"/>
              </a:xfrm>
              <a:custGeom>
                <a:avLst/>
                <a:gdLst>
                  <a:gd name="connsiteX0" fmla="*/ 0 w 13196"/>
                  <a:gd name="connsiteY0" fmla="*/ 0 h 26366"/>
                  <a:gd name="connsiteX1" fmla="*/ 13196 w 13196"/>
                  <a:gd name="connsiteY1" fmla="*/ 0 h 26366"/>
                  <a:gd name="connsiteX2" fmla="*/ 13196 w 13196"/>
                  <a:gd name="connsiteY2" fmla="*/ 26366 h 26366"/>
                  <a:gd name="connsiteX3" fmla="*/ 0 w 13196"/>
                  <a:gd name="connsiteY3" fmla="*/ 26366 h 26366"/>
                </a:gdLst>
                <a:ahLst/>
                <a:cxnLst>
                  <a:cxn ang="0">
                    <a:pos x="connsiteX0" y="connsiteY0"/>
                  </a:cxn>
                  <a:cxn ang="0">
                    <a:pos x="connsiteX1" y="connsiteY1"/>
                  </a:cxn>
                  <a:cxn ang="0">
                    <a:pos x="connsiteX2" y="connsiteY2"/>
                  </a:cxn>
                  <a:cxn ang="0">
                    <a:pos x="connsiteX3" y="connsiteY3"/>
                  </a:cxn>
                </a:cxnLst>
                <a:rect l="l" t="t" r="r" b="b"/>
                <a:pathLst>
                  <a:path w="13196" h="26366">
                    <a:moveTo>
                      <a:pt x="0" y="0"/>
                    </a:moveTo>
                    <a:lnTo>
                      <a:pt x="13196" y="0"/>
                    </a:lnTo>
                    <a:lnTo>
                      <a:pt x="13196" y="26366"/>
                    </a:lnTo>
                    <a:lnTo>
                      <a:pt x="0" y="26366"/>
                    </a:lnTo>
                    <a:close/>
                  </a:path>
                </a:pathLst>
              </a:custGeom>
              <a:solidFill>
                <a:schemeClr val="accent1"/>
              </a:solidFill>
              <a:ln w="2620" cap="flat">
                <a:noFill/>
                <a:prstDash val="solid"/>
                <a:miter/>
              </a:ln>
            </p:spPr>
            <p:txBody>
              <a:bodyPr rtlCol="0" anchor="ctr"/>
              <a:lstStyle/>
              <a:p>
                <a:endParaRPr lang="en-GB" dirty="0"/>
              </a:p>
            </p:txBody>
          </p:sp>
        </p:grpSp>
        <p:sp>
          <p:nvSpPr>
            <p:cNvPr id="422" name="Freihandform: Form 822">
              <a:extLst>
                <a:ext uri="{FF2B5EF4-FFF2-40B4-BE49-F238E27FC236}">
                  <a16:creationId xmlns:a16="http://schemas.microsoft.com/office/drawing/2014/main" id="{45D695A5-EA57-476D-A6C7-07CE2443D23E}"/>
                </a:ext>
              </a:extLst>
            </p:cNvPr>
            <p:cNvSpPr/>
            <p:nvPr/>
          </p:nvSpPr>
          <p:spPr>
            <a:xfrm>
              <a:off x="7085805" y="2656876"/>
              <a:ext cx="118687" cy="290107"/>
            </a:xfrm>
            <a:custGeom>
              <a:avLst/>
              <a:gdLst>
                <a:gd name="connsiteX0" fmla="*/ 59344 w 118687"/>
                <a:gd name="connsiteY0" fmla="*/ 290107 h 290107"/>
                <a:gd name="connsiteX1" fmla="*/ 46148 w 118687"/>
                <a:gd name="connsiteY1" fmla="*/ 290107 h 290107"/>
                <a:gd name="connsiteX2" fmla="*/ 46148 w 118687"/>
                <a:gd name="connsiteY2" fmla="*/ 223837 h 290107"/>
                <a:gd name="connsiteX3" fmla="*/ 0 w 118687"/>
                <a:gd name="connsiteY3" fmla="*/ 145054 h 290107"/>
                <a:gd name="connsiteX4" fmla="*/ 0 w 118687"/>
                <a:gd name="connsiteY4" fmla="*/ 29672 h 290107"/>
                <a:gd name="connsiteX5" fmla="*/ 29672 w 118687"/>
                <a:gd name="connsiteY5" fmla="*/ 0 h 290107"/>
                <a:gd name="connsiteX6" fmla="*/ 59344 w 118687"/>
                <a:gd name="connsiteY6" fmla="*/ 29672 h 290107"/>
                <a:gd name="connsiteX7" fmla="*/ 59344 w 118687"/>
                <a:gd name="connsiteY7" fmla="*/ 86051 h 290107"/>
                <a:gd name="connsiteX8" fmla="*/ 118687 w 118687"/>
                <a:gd name="connsiteY8" fmla="*/ 151665 h 290107"/>
                <a:gd name="connsiteX9" fmla="*/ 105491 w 118687"/>
                <a:gd name="connsiteY9" fmla="*/ 151665 h 290107"/>
                <a:gd name="connsiteX10" fmla="*/ 52733 w 118687"/>
                <a:gd name="connsiteY10" fmla="*/ 98906 h 290107"/>
                <a:gd name="connsiteX11" fmla="*/ 46148 w 118687"/>
                <a:gd name="connsiteY11" fmla="*/ 98906 h 290107"/>
                <a:gd name="connsiteX12" fmla="*/ 46148 w 118687"/>
                <a:gd name="connsiteY12" fmla="*/ 29672 h 290107"/>
                <a:gd name="connsiteX13" fmla="*/ 29672 w 118687"/>
                <a:gd name="connsiteY13" fmla="*/ 13196 h 290107"/>
                <a:gd name="connsiteX14" fmla="*/ 13196 w 118687"/>
                <a:gd name="connsiteY14" fmla="*/ 29672 h 290107"/>
                <a:gd name="connsiteX15" fmla="*/ 13196 w 118687"/>
                <a:gd name="connsiteY15" fmla="*/ 145054 h 290107"/>
                <a:gd name="connsiteX16" fmla="*/ 55749 w 118687"/>
                <a:gd name="connsiteY16" fmla="*/ 214052 h 290107"/>
                <a:gd name="connsiteX17" fmla="*/ 59344 w 118687"/>
                <a:gd name="connsiteY17" fmla="*/ 215888 h 290107"/>
                <a:gd name="connsiteX18" fmla="*/ 59344 w 118687"/>
                <a:gd name="connsiteY18" fmla="*/ 290107 h 290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8687" h="290107">
                  <a:moveTo>
                    <a:pt x="59344" y="290107"/>
                  </a:moveTo>
                  <a:lnTo>
                    <a:pt x="46148" y="290107"/>
                  </a:lnTo>
                  <a:lnTo>
                    <a:pt x="46148" y="223837"/>
                  </a:lnTo>
                  <a:cubicBezTo>
                    <a:pt x="17158" y="207467"/>
                    <a:pt x="0" y="178293"/>
                    <a:pt x="0" y="145054"/>
                  </a:cubicBezTo>
                  <a:lnTo>
                    <a:pt x="0" y="29672"/>
                  </a:lnTo>
                  <a:cubicBezTo>
                    <a:pt x="0" y="13301"/>
                    <a:pt x="13301" y="0"/>
                    <a:pt x="29672" y="0"/>
                  </a:cubicBezTo>
                  <a:cubicBezTo>
                    <a:pt x="46042" y="0"/>
                    <a:pt x="59344" y="13301"/>
                    <a:pt x="59344" y="29672"/>
                  </a:cubicBezTo>
                  <a:lnTo>
                    <a:pt x="59344" y="86051"/>
                  </a:lnTo>
                  <a:cubicBezTo>
                    <a:pt x="92610" y="89383"/>
                    <a:pt x="118687" y="117533"/>
                    <a:pt x="118687" y="151665"/>
                  </a:cubicBezTo>
                  <a:lnTo>
                    <a:pt x="105491" y="151665"/>
                  </a:lnTo>
                  <a:cubicBezTo>
                    <a:pt x="105491" y="122570"/>
                    <a:pt x="81827" y="98906"/>
                    <a:pt x="52733" y="98906"/>
                  </a:cubicBezTo>
                  <a:lnTo>
                    <a:pt x="46148" y="98906"/>
                  </a:lnTo>
                  <a:lnTo>
                    <a:pt x="46148" y="29672"/>
                  </a:lnTo>
                  <a:cubicBezTo>
                    <a:pt x="46148" y="20595"/>
                    <a:pt x="38749" y="13196"/>
                    <a:pt x="29672" y="13196"/>
                  </a:cubicBezTo>
                  <a:cubicBezTo>
                    <a:pt x="20568" y="13196"/>
                    <a:pt x="13196" y="20595"/>
                    <a:pt x="13196" y="29672"/>
                  </a:cubicBezTo>
                  <a:lnTo>
                    <a:pt x="13196" y="145054"/>
                  </a:lnTo>
                  <a:cubicBezTo>
                    <a:pt x="13196" y="175066"/>
                    <a:pt x="28701" y="200200"/>
                    <a:pt x="55749" y="214052"/>
                  </a:cubicBezTo>
                  <a:lnTo>
                    <a:pt x="59344" y="215888"/>
                  </a:lnTo>
                  <a:lnTo>
                    <a:pt x="59344" y="290107"/>
                  </a:lnTo>
                  <a:close/>
                </a:path>
              </a:pathLst>
            </a:custGeom>
            <a:solidFill>
              <a:schemeClr val="tx2"/>
            </a:solidFill>
            <a:ln w="2620" cap="flat">
              <a:noFill/>
              <a:prstDash val="solid"/>
              <a:miter/>
            </a:ln>
          </p:spPr>
          <p:txBody>
            <a:bodyPr rtlCol="0" anchor="ctr"/>
            <a:lstStyle/>
            <a:p>
              <a:endParaRPr lang="en-GB" dirty="0"/>
            </a:p>
          </p:txBody>
        </p:sp>
        <p:grpSp>
          <p:nvGrpSpPr>
            <p:cNvPr id="423" name="Group 422">
              <a:extLst>
                <a:ext uri="{FF2B5EF4-FFF2-40B4-BE49-F238E27FC236}">
                  <a16:creationId xmlns:a16="http://schemas.microsoft.com/office/drawing/2014/main" id="{19422B3E-2BA4-41DE-B95C-63971801DE78}"/>
                </a:ext>
              </a:extLst>
            </p:cNvPr>
            <p:cNvGrpSpPr/>
            <p:nvPr/>
          </p:nvGrpSpPr>
          <p:grpSpPr>
            <a:xfrm>
              <a:off x="7026474" y="2465675"/>
              <a:ext cx="342813" cy="118661"/>
              <a:chOff x="7026474" y="2465675"/>
              <a:chExt cx="342813" cy="118661"/>
            </a:xfrm>
          </p:grpSpPr>
          <p:sp>
            <p:nvSpPr>
              <p:cNvPr id="424" name="Freihandform: Form 827">
                <a:extLst>
                  <a:ext uri="{FF2B5EF4-FFF2-40B4-BE49-F238E27FC236}">
                    <a16:creationId xmlns:a16="http://schemas.microsoft.com/office/drawing/2014/main" id="{18CF5D9C-238C-495D-AFEC-554E3E0C5C64}"/>
                  </a:ext>
                </a:extLst>
              </p:cNvPr>
              <p:cNvSpPr/>
              <p:nvPr/>
            </p:nvSpPr>
            <p:spPr>
              <a:xfrm>
                <a:off x="7191296" y="2465675"/>
                <a:ext cx="13170" cy="52732"/>
              </a:xfrm>
              <a:custGeom>
                <a:avLst/>
                <a:gdLst>
                  <a:gd name="connsiteX0" fmla="*/ 6585 w 13170"/>
                  <a:gd name="connsiteY0" fmla="*/ 52732 h 52732"/>
                  <a:gd name="connsiteX1" fmla="*/ 0 w 13170"/>
                  <a:gd name="connsiteY1" fmla="*/ 46147 h 52732"/>
                  <a:gd name="connsiteX2" fmla="*/ 0 w 13170"/>
                  <a:gd name="connsiteY2" fmla="*/ 6585 h 52732"/>
                  <a:gd name="connsiteX3" fmla="*/ 6585 w 13170"/>
                  <a:gd name="connsiteY3" fmla="*/ 0 h 52732"/>
                  <a:gd name="connsiteX4" fmla="*/ 13170 w 13170"/>
                  <a:gd name="connsiteY4" fmla="*/ 6585 h 52732"/>
                  <a:gd name="connsiteX5" fmla="*/ 13170 w 13170"/>
                  <a:gd name="connsiteY5" fmla="*/ 46147 h 52732"/>
                  <a:gd name="connsiteX6" fmla="*/ 6585 w 13170"/>
                  <a:gd name="connsiteY6" fmla="*/ 52732 h 52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70" h="52732">
                    <a:moveTo>
                      <a:pt x="6585" y="52732"/>
                    </a:moveTo>
                    <a:cubicBezTo>
                      <a:pt x="2938" y="52732"/>
                      <a:pt x="0" y="49768"/>
                      <a:pt x="0" y="46147"/>
                    </a:cubicBezTo>
                    <a:lnTo>
                      <a:pt x="0" y="6585"/>
                    </a:lnTo>
                    <a:cubicBezTo>
                      <a:pt x="0" y="2938"/>
                      <a:pt x="2938" y="0"/>
                      <a:pt x="6585" y="0"/>
                    </a:cubicBezTo>
                    <a:cubicBezTo>
                      <a:pt x="10232" y="0"/>
                      <a:pt x="13170" y="2965"/>
                      <a:pt x="13170" y="6585"/>
                    </a:cubicBezTo>
                    <a:lnTo>
                      <a:pt x="13170" y="46147"/>
                    </a:lnTo>
                    <a:cubicBezTo>
                      <a:pt x="13196" y="49768"/>
                      <a:pt x="10232" y="52732"/>
                      <a:pt x="6585" y="52732"/>
                    </a:cubicBezTo>
                    <a:close/>
                  </a:path>
                </a:pathLst>
              </a:custGeom>
              <a:solidFill>
                <a:schemeClr val="accent1"/>
              </a:solidFill>
              <a:ln w="2620" cap="flat">
                <a:noFill/>
                <a:prstDash val="solid"/>
                <a:miter/>
              </a:ln>
            </p:spPr>
            <p:txBody>
              <a:bodyPr rtlCol="0" anchor="ctr"/>
              <a:lstStyle/>
              <a:p>
                <a:endParaRPr lang="en-GB" dirty="0"/>
              </a:p>
            </p:txBody>
          </p:sp>
          <p:sp>
            <p:nvSpPr>
              <p:cNvPr id="425" name="Freihandform: Form 828">
                <a:extLst>
                  <a:ext uri="{FF2B5EF4-FFF2-40B4-BE49-F238E27FC236}">
                    <a16:creationId xmlns:a16="http://schemas.microsoft.com/office/drawing/2014/main" id="{A43404D1-8CCC-424F-868F-8C29A2741A51}"/>
                  </a:ext>
                </a:extLst>
              </p:cNvPr>
              <p:cNvSpPr/>
              <p:nvPr/>
            </p:nvSpPr>
            <p:spPr>
              <a:xfrm>
                <a:off x="7026474" y="2538202"/>
                <a:ext cx="45806" cy="45793"/>
              </a:xfrm>
              <a:custGeom>
                <a:avLst/>
                <a:gdLst>
                  <a:gd name="connsiteX0" fmla="*/ 39235 w 45806"/>
                  <a:gd name="connsiteY0" fmla="*/ 45793 h 45793"/>
                  <a:gd name="connsiteX1" fmla="*/ 34565 w 45806"/>
                  <a:gd name="connsiteY1" fmla="*/ 43852 h 45793"/>
                  <a:gd name="connsiteX2" fmla="*/ 1928 w 45806"/>
                  <a:gd name="connsiteY2" fmla="*/ 11242 h 45793"/>
                  <a:gd name="connsiteX3" fmla="*/ 1928 w 45806"/>
                  <a:gd name="connsiteY3" fmla="*/ 1928 h 45793"/>
                  <a:gd name="connsiteX4" fmla="*/ 11242 w 45806"/>
                  <a:gd name="connsiteY4" fmla="*/ 1928 h 45793"/>
                  <a:gd name="connsiteX5" fmla="*/ 43878 w 45806"/>
                  <a:gd name="connsiteY5" fmla="*/ 34565 h 45793"/>
                  <a:gd name="connsiteX6" fmla="*/ 43878 w 45806"/>
                  <a:gd name="connsiteY6" fmla="*/ 43878 h 45793"/>
                  <a:gd name="connsiteX7" fmla="*/ 39235 w 45806"/>
                  <a:gd name="connsiteY7" fmla="*/ 45793 h 45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06" h="45793">
                    <a:moveTo>
                      <a:pt x="39235" y="45793"/>
                    </a:moveTo>
                    <a:cubicBezTo>
                      <a:pt x="37555" y="45793"/>
                      <a:pt x="35850" y="45137"/>
                      <a:pt x="34565" y="43852"/>
                    </a:cubicBezTo>
                    <a:lnTo>
                      <a:pt x="1928" y="11242"/>
                    </a:lnTo>
                    <a:cubicBezTo>
                      <a:pt x="-643" y="8671"/>
                      <a:pt x="-643" y="4499"/>
                      <a:pt x="1928" y="1928"/>
                    </a:cubicBezTo>
                    <a:cubicBezTo>
                      <a:pt x="4499" y="-643"/>
                      <a:pt x="8671" y="-643"/>
                      <a:pt x="11242" y="1928"/>
                    </a:cubicBezTo>
                    <a:lnTo>
                      <a:pt x="43878" y="34565"/>
                    </a:lnTo>
                    <a:cubicBezTo>
                      <a:pt x="46449" y="37136"/>
                      <a:pt x="46449" y="41307"/>
                      <a:pt x="43878" y="43878"/>
                    </a:cubicBezTo>
                    <a:cubicBezTo>
                      <a:pt x="42593" y="45164"/>
                      <a:pt x="40913" y="45793"/>
                      <a:pt x="39235" y="45793"/>
                    </a:cubicBezTo>
                    <a:close/>
                  </a:path>
                </a:pathLst>
              </a:custGeom>
              <a:solidFill>
                <a:schemeClr val="accent1"/>
              </a:solidFill>
              <a:ln w="2620" cap="flat">
                <a:noFill/>
                <a:prstDash val="solid"/>
                <a:miter/>
              </a:ln>
            </p:spPr>
            <p:txBody>
              <a:bodyPr rtlCol="0" anchor="ctr"/>
              <a:lstStyle/>
              <a:p>
                <a:endParaRPr lang="en-GB" dirty="0"/>
              </a:p>
            </p:txBody>
          </p:sp>
          <p:sp>
            <p:nvSpPr>
              <p:cNvPr id="426" name="Freihandform: Form 829">
                <a:extLst>
                  <a:ext uri="{FF2B5EF4-FFF2-40B4-BE49-F238E27FC236}">
                    <a16:creationId xmlns:a16="http://schemas.microsoft.com/office/drawing/2014/main" id="{D939E9A9-EF04-41BD-89FA-410ECE24D8D6}"/>
                  </a:ext>
                </a:extLst>
              </p:cNvPr>
              <p:cNvSpPr/>
              <p:nvPr/>
            </p:nvSpPr>
            <p:spPr>
              <a:xfrm>
                <a:off x="7323481" y="2538517"/>
                <a:ext cx="45806" cy="45819"/>
              </a:xfrm>
              <a:custGeom>
                <a:avLst/>
                <a:gdLst>
                  <a:gd name="connsiteX0" fmla="*/ 6598 w 45806"/>
                  <a:gd name="connsiteY0" fmla="*/ 45819 h 45819"/>
                  <a:gd name="connsiteX1" fmla="*/ 1928 w 45806"/>
                  <a:gd name="connsiteY1" fmla="*/ 43878 h 45819"/>
                  <a:gd name="connsiteX2" fmla="*/ 1928 w 45806"/>
                  <a:gd name="connsiteY2" fmla="*/ 34565 h 45819"/>
                  <a:gd name="connsiteX3" fmla="*/ 34565 w 45806"/>
                  <a:gd name="connsiteY3" fmla="*/ 1928 h 45819"/>
                  <a:gd name="connsiteX4" fmla="*/ 43878 w 45806"/>
                  <a:gd name="connsiteY4" fmla="*/ 1928 h 45819"/>
                  <a:gd name="connsiteX5" fmla="*/ 43878 w 45806"/>
                  <a:gd name="connsiteY5" fmla="*/ 11242 h 45819"/>
                  <a:gd name="connsiteX6" fmla="*/ 11242 w 45806"/>
                  <a:gd name="connsiteY6" fmla="*/ 43878 h 45819"/>
                  <a:gd name="connsiteX7" fmla="*/ 6598 w 45806"/>
                  <a:gd name="connsiteY7" fmla="*/ 45819 h 45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806" h="45819">
                    <a:moveTo>
                      <a:pt x="6598" y="45819"/>
                    </a:moveTo>
                    <a:cubicBezTo>
                      <a:pt x="4919" y="45819"/>
                      <a:pt x="3214" y="45164"/>
                      <a:pt x="1928" y="43878"/>
                    </a:cubicBezTo>
                    <a:cubicBezTo>
                      <a:pt x="-643" y="41307"/>
                      <a:pt x="-643" y="37136"/>
                      <a:pt x="1928" y="34565"/>
                    </a:cubicBezTo>
                    <a:lnTo>
                      <a:pt x="34565" y="1928"/>
                    </a:lnTo>
                    <a:cubicBezTo>
                      <a:pt x="37136" y="-643"/>
                      <a:pt x="41307" y="-643"/>
                      <a:pt x="43878" y="1928"/>
                    </a:cubicBezTo>
                    <a:cubicBezTo>
                      <a:pt x="46449" y="4499"/>
                      <a:pt x="46449" y="8671"/>
                      <a:pt x="43878" y="11242"/>
                    </a:cubicBezTo>
                    <a:lnTo>
                      <a:pt x="11242" y="43878"/>
                    </a:lnTo>
                    <a:cubicBezTo>
                      <a:pt x="9982" y="45164"/>
                      <a:pt x="8303" y="45819"/>
                      <a:pt x="6598" y="45819"/>
                    </a:cubicBezTo>
                    <a:close/>
                  </a:path>
                </a:pathLst>
              </a:custGeom>
              <a:solidFill>
                <a:schemeClr val="accent1"/>
              </a:solidFill>
              <a:ln w="2620" cap="flat">
                <a:noFill/>
                <a:prstDash val="solid"/>
                <a:miter/>
              </a:ln>
            </p:spPr>
            <p:txBody>
              <a:bodyPr rtlCol="0" anchor="ctr"/>
              <a:lstStyle/>
              <a:p>
                <a:endParaRPr lang="en-GB" dirty="0"/>
              </a:p>
            </p:txBody>
          </p:sp>
        </p:grpSp>
      </p:grpSp>
      <p:grpSp>
        <p:nvGrpSpPr>
          <p:cNvPr id="444" name="Group 443">
            <a:extLst>
              <a:ext uri="{FF2B5EF4-FFF2-40B4-BE49-F238E27FC236}">
                <a16:creationId xmlns:a16="http://schemas.microsoft.com/office/drawing/2014/main" id="{DFB0D2CA-E884-4B44-81DE-B2C65EC3C2EC}"/>
              </a:ext>
            </a:extLst>
          </p:cNvPr>
          <p:cNvGrpSpPr>
            <a:grpSpLocks noChangeAspect="1"/>
          </p:cNvGrpSpPr>
          <p:nvPr/>
        </p:nvGrpSpPr>
        <p:grpSpPr>
          <a:xfrm>
            <a:off x="8150014" y="2391526"/>
            <a:ext cx="385308" cy="432000"/>
            <a:chOff x="5304209" y="4147446"/>
            <a:chExt cx="435160" cy="487893"/>
          </a:xfrm>
        </p:grpSpPr>
        <p:sp>
          <p:nvSpPr>
            <p:cNvPr id="445" name="Freihandform: Form 922">
              <a:extLst>
                <a:ext uri="{FF2B5EF4-FFF2-40B4-BE49-F238E27FC236}">
                  <a16:creationId xmlns:a16="http://schemas.microsoft.com/office/drawing/2014/main" id="{A1CBD77F-1ED7-4E94-88F3-200A1212F80C}"/>
                </a:ext>
              </a:extLst>
            </p:cNvPr>
            <p:cNvSpPr/>
            <p:nvPr/>
          </p:nvSpPr>
          <p:spPr>
            <a:xfrm>
              <a:off x="5469039" y="4246352"/>
              <a:ext cx="105495" cy="105507"/>
            </a:xfrm>
            <a:custGeom>
              <a:avLst/>
              <a:gdLst>
                <a:gd name="connsiteX0" fmla="*/ 81281 w 105495"/>
                <a:gd name="connsiteY0" fmla="*/ 105491 h 105507"/>
                <a:gd name="connsiteX1" fmla="*/ 78080 w 105495"/>
                <a:gd name="connsiteY1" fmla="*/ 104678 h 105507"/>
                <a:gd name="connsiteX2" fmla="*/ 52737 w 105495"/>
                <a:gd name="connsiteY2" fmla="*/ 90668 h 105507"/>
                <a:gd name="connsiteX3" fmla="*/ 27394 w 105495"/>
                <a:gd name="connsiteY3" fmla="*/ 104678 h 105507"/>
                <a:gd name="connsiteX4" fmla="*/ 20416 w 105495"/>
                <a:gd name="connsiteY4" fmla="*/ 104311 h 105507"/>
                <a:gd name="connsiteX5" fmla="*/ 17713 w 105495"/>
                <a:gd name="connsiteY5" fmla="*/ 97857 h 105507"/>
                <a:gd name="connsiteX6" fmla="*/ 22619 w 105495"/>
                <a:gd name="connsiteY6" fmla="*/ 67739 h 105507"/>
                <a:gd name="connsiteX7" fmla="*/ 1867 w 105495"/>
                <a:gd name="connsiteY7" fmla="*/ 46462 h 105507"/>
                <a:gd name="connsiteX8" fmla="*/ 346 w 105495"/>
                <a:gd name="connsiteY8" fmla="*/ 39772 h 105507"/>
                <a:gd name="connsiteX9" fmla="*/ 5593 w 105495"/>
                <a:gd name="connsiteY9" fmla="*/ 35339 h 105507"/>
                <a:gd name="connsiteX10" fmla="*/ 34005 w 105495"/>
                <a:gd name="connsiteY10" fmla="*/ 31010 h 105507"/>
                <a:gd name="connsiteX11" fmla="*/ 46782 w 105495"/>
                <a:gd name="connsiteY11" fmla="*/ 3804 h 105507"/>
                <a:gd name="connsiteX12" fmla="*/ 52737 w 105495"/>
                <a:gd name="connsiteY12" fmla="*/ 0 h 105507"/>
                <a:gd name="connsiteX13" fmla="*/ 58719 w 105495"/>
                <a:gd name="connsiteY13" fmla="*/ 3804 h 105507"/>
                <a:gd name="connsiteX14" fmla="*/ 71495 w 105495"/>
                <a:gd name="connsiteY14" fmla="*/ 31010 h 105507"/>
                <a:gd name="connsiteX15" fmla="*/ 99908 w 105495"/>
                <a:gd name="connsiteY15" fmla="*/ 35339 h 105507"/>
                <a:gd name="connsiteX16" fmla="*/ 105155 w 105495"/>
                <a:gd name="connsiteY16" fmla="*/ 39772 h 105507"/>
                <a:gd name="connsiteX17" fmla="*/ 103633 w 105495"/>
                <a:gd name="connsiteY17" fmla="*/ 46462 h 105507"/>
                <a:gd name="connsiteX18" fmla="*/ 82881 w 105495"/>
                <a:gd name="connsiteY18" fmla="*/ 67739 h 105507"/>
                <a:gd name="connsiteX19" fmla="*/ 87787 w 105495"/>
                <a:gd name="connsiteY19" fmla="*/ 97857 h 105507"/>
                <a:gd name="connsiteX20" fmla="*/ 85085 w 105495"/>
                <a:gd name="connsiteY20" fmla="*/ 104311 h 105507"/>
                <a:gd name="connsiteX21" fmla="*/ 81281 w 105495"/>
                <a:gd name="connsiteY21" fmla="*/ 105491 h 105507"/>
                <a:gd name="connsiteX22" fmla="*/ 52737 w 105495"/>
                <a:gd name="connsiteY22" fmla="*/ 76528 h 105507"/>
                <a:gd name="connsiteX23" fmla="*/ 55938 w 105495"/>
                <a:gd name="connsiteY23" fmla="*/ 77341 h 105507"/>
                <a:gd name="connsiteX24" fmla="*/ 72571 w 105495"/>
                <a:gd name="connsiteY24" fmla="*/ 86523 h 105507"/>
                <a:gd name="connsiteX25" fmla="*/ 69318 w 105495"/>
                <a:gd name="connsiteY25" fmla="*/ 66532 h 105507"/>
                <a:gd name="connsiteX26" fmla="*/ 71102 w 105495"/>
                <a:gd name="connsiteY26" fmla="*/ 60865 h 105507"/>
                <a:gd name="connsiteX27" fmla="*/ 85216 w 105495"/>
                <a:gd name="connsiteY27" fmla="*/ 46410 h 105507"/>
                <a:gd name="connsiteX28" fmla="*/ 66012 w 105495"/>
                <a:gd name="connsiteY28" fmla="*/ 43471 h 105507"/>
                <a:gd name="connsiteX29" fmla="*/ 61027 w 105495"/>
                <a:gd name="connsiteY29" fmla="*/ 39746 h 105507"/>
                <a:gd name="connsiteX30" fmla="*/ 52737 w 105495"/>
                <a:gd name="connsiteY30" fmla="*/ 22064 h 105507"/>
                <a:gd name="connsiteX31" fmla="*/ 44447 w 105495"/>
                <a:gd name="connsiteY31" fmla="*/ 39746 h 105507"/>
                <a:gd name="connsiteX32" fmla="*/ 39462 w 105495"/>
                <a:gd name="connsiteY32" fmla="*/ 43471 h 105507"/>
                <a:gd name="connsiteX33" fmla="*/ 20258 w 105495"/>
                <a:gd name="connsiteY33" fmla="*/ 46410 h 105507"/>
                <a:gd name="connsiteX34" fmla="*/ 34373 w 105495"/>
                <a:gd name="connsiteY34" fmla="*/ 60865 h 105507"/>
                <a:gd name="connsiteX35" fmla="*/ 36157 w 105495"/>
                <a:gd name="connsiteY35" fmla="*/ 66532 h 105507"/>
                <a:gd name="connsiteX36" fmla="*/ 32903 w 105495"/>
                <a:gd name="connsiteY36" fmla="*/ 86523 h 105507"/>
                <a:gd name="connsiteX37" fmla="*/ 49536 w 105495"/>
                <a:gd name="connsiteY37" fmla="*/ 77341 h 105507"/>
                <a:gd name="connsiteX38" fmla="*/ 52737 w 105495"/>
                <a:gd name="connsiteY38" fmla="*/ 76528 h 105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5495" h="105507">
                  <a:moveTo>
                    <a:pt x="81281" y="105491"/>
                  </a:moveTo>
                  <a:cubicBezTo>
                    <a:pt x="80179" y="105491"/>
                    <a:pt x="79077" y="105229"/>
                    <a:pt x="78080" y="104678"/>
                  </a:cubicBezTo>
                  <a:lnTo>
                    <a:pt x="52737" y="90668"/>
                  </a:lnTo>
                  <a:lnTo>
                    <a:pt x="27394" y="104678"/>
                  </a:lnTo>
                  <a:cubicBezTo>
                    <a:pt x="25190" y="105911"/>
                    <a:pt x="22462" y="105753"/>
                    <a:pt x="20416" y="104311"/>
                  </a:cubicBezTo>
                  <a:cubicBezTo>
                    <a:pt x="18343" y="102867"/>
                    <a:pt x="17294" y="100349"/>
                    <a:pt x="17713" y="97857"/>
                  </a:cubicBezTo>
                  <a:lnTo>
                    <a:pt x="22619" y="67739"/>
                  </a:lnTo>
                  <a:lnTo>
                    <a:pt x="1867" y="46462"/>
                  </a:lnTo>
                  <a:cubicBezTo>
                    <a:pt x="136" y="44678"/>
                    <a:pt x="-441" y="42107"/>
                    <a:pt x="346" y="39772"/>
                  </a:cubicBezTo>
                  <a:cubicBezTo>
                    <a:pt x="1133" y="37437"/>
                    <a:pt x="3153" y="35732"/>
                    <a:pt x="5593" y="35339"/>
                  </a:cubicBezTo>
                  <a:lnTo>
                    <a:pt x="34005" y="31010"/>
                  </a:lnTo>
                  <a:lnTo>
                    <a:pt x="46782" y="3804"/>
                  </a:lnTo>
                  <a:cubicBezTo>
                    <a:pt x="47857" y="1495"/>
                    <a:pt x="50192" y="0"/>
                    <a:pt x="52737" y="0"/>
                  </a:cubicBezTo>
                  <a:cubicBezTo>
                    <a:pt x="55282" y="0"/>
                    <a:pt x="57617" y="1469"/>
                    <a:pt x="58719" y="3804"/>
                  </a:cubicBezTo>
                  <a:lnTo>
                    <a:pt x="71495" y="31010"/>
                  </a:lnTo>
                  <a:lnTo>
                    <a:pt x="99908" y="35339"/>
                  </a:lnTo>
                  <a:cubicBezTo>
                    <a:pt x="102348" y="35706"/>
                    <a:pt x="104368" y="37411"/>
                    <a:pt x="105155" y="39772"/>
                  </a:cubicBezTo>
                  <a:cubicBezTo>
                    <a:pt x="105942" y="42107"/>
                    <a:pt x="105338" y="44704"/>
                    <a:pt x="103633" y="46462"/>
                  </a:cubicBezTo>
                  <a:lnTo>
                    <a:pt x="82881" y="67739"/>
                  </a:lnTo>
                  <a:lnTo>
                    <a:pt x="87787" y="97857"/>
                  </a:lnTo>
                  <a:cubicBezTo>
                    <a:pt x="88207" y="100349"/>
                    <a:pt x="87131" y="102841"/>
                    <a:pt x="85085" y="104311"/>
                  </a:cubicBezTo>
                  <a:cubicBezTo>
                    <a:pt x="83931" y="105071"/>
                    <a:pt x="82619" y="105491"/>
                    <a:pt x="81281" y="105491"/>
                  </a:cubicBezTo>
                  <a:close/>
                  <a:moveTo>
                    <a:pt x="52737" y="76528"/>
                  </a:moveTo>
                  <a:cubicBezTo>
                    <a:pt x="53839" y="76528"/>
                    <a:pt x="54941" y="76816"/>
                    <a:pt x="55938" y="77341"/>
                  </a:cubicBezTo>
                  <a:lnTo>
                    <a:pt x="72571" y="86523"/>
                  </a:lnTo>
                  <a:lnTo>
                    <a:pt x="69318" y="66532"/>
                  </a:lnTo>
                  <a:cubicBezTo>
                    <a:pt x="68977" y="64460"/>
                    <a:pt x="69632" y="62361"/>
                    <a:pt x="71102" y="60865"/>
                  </a:cubicBezTo>
                  <a:lnTo>
                    <a:pt x="85216" y="46410"/>
                  </a:lnTo>
                  <a:lnTo>
                    <a:pt x="66012" y="43471"/>
                  </a:lnTo>
                  <a:cubicBezTo>
                    <a:pt x="63835" y="43130"/>
                    <a:pt x="61972" y="41740"/>
                    <a:pt x="61027" y="39746"/>
                  </a:cubicBezTo>
                  <a:lnTo>
                    <a:pt x="52737" y="22064"/>
                  </a:lnTo>
                  <a:lnTo>
                    <a:pt x="44447" y="39746"/>
                  </a:lnTo>
                  <a:cubicBezTo>
                    <a:pt x="43502" y="41740"/>
                    <a:pt x="41640" y="43130"/>
                    <a:pt x="39462" y="43471"/>
                  </a:cubicBezTo>
                  <a:lnTo>
                    <a:pt x="20258" y="46410"/>
                  </a:lnTo>
                  <a:lnTo>
                    <a:pt x="34373" y="60865"/>
                  </a:lnTo>
                  <a:cubicBezTo>
                    <a:pt x="35842" y="62361"/>
                    <a:pt x="36498" y="64460"/>
                    <a:pt x="36157" y="66532"/>
                  </a:cubicBezTo>
                  <a:lnTo>
                    <a:pt x="32903" y="86523"/>
                  </a:lnTo>
                  <a:lnTo>
                    <a:pt x="49536" y="77341"/>
                  </a:lnTo>
                  <a:cubicBezTo>
                    <a:pt x="50560" y="76816"/>
                    <a:pt x="51662" y="76528"/>
                    <a:pt x="52737" y="76528"/>
                  </a:cubicBezTo>
                  <a:close/>
                </a:path>
              </a:pathLst>
            </a:custGeom>
            <a:solidFill>
              <a:schemeClr val="accent1"/>
            </a:solidFill>
            <a:ln w="2620" cap="flat">
              <a:noFill/>
              <a:prstDash val="solid"/>
              <a:miter/>
            </a:ln>
          </p:spPr>
          <p:txBody>
            <a:bodyPr rtlCol="0" anchor="ctr"/>
            <a:lstStyle/>
            <a:p>
              <a:endParaRPr lang="en-GB" dirty="0"/>
            </a:p>
          </p:txBody>
        </p:sp>
        <p:grpSp>
          <p:nvGrpSpPr>
            <p:cNvPr id="446" name="Group 445">
              <a:extLst>
                <a:ext uri="{FF2B5EF4-FFF2-40B4-BE49-F238E27FC236}">
                  <a16:creationId xmlns:a16="http://schemas.microsoft.com/office/drawing/2014/main" id="{A61D3EC7-86D6-4C91-93B6-51B0B365FC8E}"/>
                </a:ext>
              </a:extLst>
            </p:cNvPr>
            <p:cNvGrpSpPr/>
            <p:nvPr/>
          </p:nvGrpSpPr>
          <p:grpSpPr>
            <a:xfrm>
              <a:off x="5304209" y="4147446"/>
              <a:ext cx="435160" cy="487893"/>
              <a:chOff x="5304209" y="4147446"/>
              <a:chExt cx="435160" cy="487893"/>
            </a:xfrm>
          </p:grpSpPr>
          <p:sp>
            <p:nvSpPr>
              <p:cNvPr id="447" name="Freihandform: Form 915">
                <a:extLst>
                  <a:ext uri="{FF2B5EF4-FFF2-40B4-BE49-F238E27FC236}">
                    <a16:creationId xmlns:a16="http://schemas.microsoft.com/office/drawing/2014/main" id="{B3D1F9F5-CD50-4763-B062-B63EB07F32CD}"/>
                  </a:ext>
                </a:extLst>
              </p:cNvPr>
              <p:cNvSpPr/>
              <p:nvPr/>
            </p:nvSpPr>
            <p:spPr>
              <a:xfrm>
                <a:off x="5396531" y="4173786"/>
                <a:ext cx="250544" cy="257155"/>
              </a:xfrm>
              <a:custGeom>
                <a:avLst/>
                <a:gdLst>
                  <a:gd name="connsiteX0" fmla="*/ 132802 w 250544"/>
                  <a:gd name="connsiteY0" fmla="*/ 257156 h 257155"/>
                  <a:gd name="connsiteX1" fmla="*/ 117743 w 250544"/>
                  <a:gd name="connsiteY1" fmla="*/ 257156 h 257155"/>
                  <a:gd name="connsiteX2" fmla="*/ 0 w 250544"/>
                  <a:gd name="connsiteY2" fmla="*/ 139413 h 257155"/>
                  <a:gd name="connsiteX3" fmla="*/ 0 w 250544"/>
                  <a:gd name="connsiteY3" fmla="*/ 0 h 257155"/>
                  <a:gd name="connsiteX4" fmla="*/ 250545 w 250544"/>
                  <a:gd name="connsiteY4" fmla="*/ 0 h 257155"/>
                  <a:gd name="connsiteX5" fmla="*/ 250545 w 250544"/>
                  <a:gd name="connsiteY5" fmla="*/ 139439 h 257155"/>
                  <a:gd name="connsiteX6" fmla="*/ 132802 w 250544"/>
                  <a:gd name="connsiteY6" fmla="*/ 257156 h 257155"/>
                  <a:gd name="connsiteX7" fmla="*/ 13170 w 250544"/>
                  <a:gd name="connsiteY7" fmla="*/ 13223 h 257155"/>
                  <a:gd name="connsiteX8" fmla="*/ 13170 w 250544"/>
                  <a:gd name="connsiteY8" fmla="*/ 139439 h 257155"/>
                  <a:gd name="connsiteX9" fmla="*/ 117717 w 250544"/>
                  <a:gd name="connsiteY9" fmla="*/ 243986 h 257155"/>
                  <a:gd name="connsiteX10" fmla="*/ 132776 w 250544"/>
                  <a:gd name="connsiteY10" fmla="*/ 243986 h 257155"/>
                  <a:gd name="connsiteX11" fmla="*/ 237322 w 250544"/>
                  <a:gd name="connsiteY11" fmla="*/ 139439 h 257155"/>
                  <a:gd name="connsiteX12" fmla="*/ 237322 w 250544"/>
                  <a:gd name="connsiteY12" fmla="*/ 13223 h 257155"/>
                  <a:gd name="connsiteX13" fmla="*/ 13170 w 250544"/>
                  <a:gd name="connsiteY13" fmla="*/ 13223 h 257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0544" h="257155">
                    <a:moveTo>
                      <a:pt x="132802" y="257156"/>
                    </a:moveTo>
                    <a:lnTo>
                      <a:pt x="117743" y="257156"/>
                    </a:lnTo>
                    <a:cubicBezTo>
                      <a:pt x="52811" y="257156"/>
                      <a:pt x="0" y="204345"/>
                      <a:pt x="0" y="139413"/>
                    </a:cubicBezTo>
                    <a:lnTo>
                      <a:pt x="0" y="0"/>
                    </a:lnTo>
                    <a:lnTo>
                      <a:pt x="250545" y="0"/>
                    </a:lnTo>
                    <a:lnTo>
                      <a:pt x="250545" y="139439"/>
                    </a:lnTo>
                    <a:cubicBezTo>
                      <a:pt x="250545" y="204345"/>
                      <a:pt x="197707" y="257156"/>
                      <a:pt x="132802" y="257156"/>
                    </a:cubicBezTo>
                    <a:close/>
                    <a:moveTo>
                      <a:pt x="13170" y="13223"/>
                    </a:moveTo>
                    <a:lnTo>
                      <a:pt x="13170" y="139439"/>
                    </a:lnTo>
                    <a:cubicBezTo>
                      <a:pt x="13170" y="197078"/>
                      <a:pt x="60078" y="243986"/>
                      <a:pt x="117717" y="243986"/>
                    </a:cubicBezTo>
                    <a:lnTo>
                      <a:pt x="132776" y="243986"/>
                    </a:lnTo>
                    <a:cubicBezTo>
                      <a:pt x="190414" y="243986"/>
                      <a:pt x="237322" y="197078"/>
                      <a:pt x="237322" y="139439"/>
                    </a:cubicBezTo>
                    <a:lnTo>
                      <a:pt x="237322" y="13223"/>
                    </a:lnTo>
                    <a:lnTo>
                      <a:pt x="13170" y="13223"/>
                    </a:lnTo>
                    <a:close/>
                  </a:path>
                </a:pathLst>
              </a:custGeom>
              <a:solidFill>
                <a:schemeClr val="tx2"/>
              </a:solidFill>
              <a:ln w="2620" cap="flat">
                <a:noFill/>
                <a:prstDash val="solid"/>
                <a:miter/>
              </a:ln>
            </p:spPr>
            <p:txBody>
              <a:bodyPr rtlCol="0" anchor="ctr"/>
              <a:lstStyle/>
              <a:p>
                <a:endParaRPr lang="en-GB" dirty="0"/>
              </a:p>
            </p:txBody>
          </p:sp>
          <p:sp>
            <p:nvSpPr>
              <p:cNvPr id="448" name="Freihandform: Form 916">
                <a:extLst>
                  <a:ext uri="{FF2B5EF4-FFF2-40B4-BE49-F238E27FC236}">
                    <a16:creationId xmlns:a16="http://schemas.microsoft.com/office/drawing/2014/main" id="{DDECAEF0-4258-4CCF-8373-7A762771E985}"/>
                  </a:ext>
                </a:extLst>
              </p:cNvPr>
              <p:cNvSpPr/>
              <p:nvPr/>
            </p:nvSpPr>
            <p:spPr>
              <a:xfrm>
                <a:off x="5376723" y="4147446"/>
                <a:ext cx="290107" cy="39562"/>
              </a:xfrm>
              <a:custGeom>
                <a:avLst/>
                <a:gdLst>
                  <a:gd name="connsiteX0" fmla="*/ 290107 w 290107"/>
                  <a:gd name="connsiteY0" fmla="*/ 39562 h 39562"/>
                  <a:gd name="connsiteX1" fmla="*/ 0 w 290107"/>
                  <a:gd name="connsiteY1" fmla="*/ 39562 h 39562"/>
                  <a:gd name="connsiteX2" fmla="*/ 0 w 290107"/>
                  <a:gd name="connsiteY2" fmla="*/ 0 h 39562"/>
                  <a:gd name="connsiteX3" fmla="*/ 290107 w 290107"/>
                  <a:gd name="connsiteY3" fmla="*/ 0 h 39562"/>
                  <a:gd name="connsiteX4" fmla="*/ 290107 w 290107"/>
                  <a:gd name="connsiteY4" fmla="*/ 39562 h 39562"/>
                  <a:gd name="connsiteX5" fmla="*/ 13196 w 290107"/>
                  <a:gd name="connsiteY5" fmla="*/ 26366 h 39562"/>
                  <a:gd name="connsiteX6" fmla="*/ 276937 w 290107"/>
                  <a:gd name="connsiteY6" fmla="*/ 26366 h 39562"/>
                  <a:gd name="connsiteX7" fmla="*/ 276937 w 290107"/>
                  <a:gd name="connsiteY7" fmla="*/ 13170 h 39562"/>
                  <a:gd name="connsiteX8" fmla="*/ 13196 w 290107"/>
                  <a:gd name="connsiteY8" fmla="*/ 13170 h 39562"/>
                  <a:gd name="connsiteX9" fmla="*/ 13196 w 290107"/>
                  <a:gd name="connsiteY9" fmla="*/ 26366 h 39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0107" h="39562">
                    <a:moveTo>
                      <a:pt x="290107" y="39562"/>
                    </a:moveTo>
                    <a:lnTo>
                      <a:pt x="0" y="39562"/>
                    </a:lnTo>
                    <a:lnTo>
                      <a:pt x="0" y="0"/>
                    </a:lnTo>
                    <a:lnTo>
                      <a:pt x="290107" y="0"/>
                    </a:lnTo>
                    <a:lnTo>
                      <a:pt x="290107" y="39562"/>
                    </a:lnTo>
                    <a:close/>
                    <a:moveTo>
                      <a:pt x="13196" y="26366"/>
                    </a:moveTo>
                    <a:lnTo>
                      <a:pt x="276937" y="26366"/>
                    </a:lnTo>
                    <a:lnTo>
                      <a:pt x="276937" y="13170"/>
                    </a:lnTo>
                    <a:lnTo>
                      <a:pt x="13196" y="13170"/>
                    </a:lnTo>
                    <a:lnTo>
                      <a:pt x="13196" y="26366"/>
                    </a:lnTo>
                    <a:close/>
                  </a:path>
                </a:pathLst>
              </a:custGeom>
              <a:solidFill>
                <a:schemeClr val="tx2"/>
              </a:solidFill>
              <a:ln w="2620" cap="flat">
                <a:noFill/>
                <a:prstDash val="solid"/>
                <a:miter/>
              </a:ln>
            </p:spPr>
            <p:txBody>
              <a:bodyPr rtlCol="0" anchor="ctr"/>
              <a:lstStyle/>
              <a:p>
                <a:endParaRPr lang="en-GB" dirty="0"/>
              </a:p>
            </p:txBody>
          </p:sp>
          <p:sp>
            <p:nvSpPr>
              <p:cNvPr id="449" name="Freihandform: Form 917">
                <a:extLst>
                  <a:ext uri="{FF2B5EF4-FFF2-40B4-BE49-F238E27FC236}">
                    <a16:creationId xmlns:a16="http://schemas.microsoft.com/office/drawing/2014/main" id="{76BD90E7-1365-44EE-B1C4-3A4DE9AB8A2B}"/>
                  </a:ext>
                </a:extLst>
              </p:cNvPr>
              <p:cNvSpPr/>
              <p:nvPr/>
            </p:nvSpPr>
            <p:spPr>
              <a:xfrm>
                <a:off x="5370138" y="4589192"/>
                <a:ext cx="303303" cy="46147"/>
              </a:xfrm>
              <a:custGeom>
                <a:avLst/>
                <a:gdLst>
                  <a:gd name="connsiteX0" fmla="*/ 303303 w 303303"/>
                  <a:gd name="connsiteY0" fmla="*/ 46148 h 46147"/>
                  <a:gd name="connsiteX1" fmla="*/ 0 w 303303"/>
                  <a:gd name="connsiteY1" fmla="*/ 46148 h 46147"/>
                  <a:gd name="connsiteX2" fmla="*/ 0 w 303303"/>
                  <a:gd name="connsiteY2" fmla="*/ 0 h 46147"/>
                  <a:gd name="connsiteX3" fmla="*/ 303303 w 303303"/>
                  <a:gd name="connsiteY3" fmla="*/ 0 h 46147"/>
                  <a:gd name="connsiteX4" fmla="*/ 303303 w 303303"/>
                  <a:gd name="connsiteY4" fmla="*/ 46148 h 46147"/>
                  <a:gd name="connsiteX5" fmla="*/ 13196 w 303303"/>
                  <a:gd name="connsiteY5" fmla="*/ 32978 h 46147"/>
                  <a:gd name="connsiteX6" fmla="*/ 290107 w 303303"/>
                  <a:gd name="connsiteY6" fmla="*/ 32978 h 46147"/>
                  <a:gd name="connsiteX7" fmla="*/ 290107 w 303303"/>
                  <a:gd name="connsiteY7" fmla="*/ 13196 h 46147"/>
                  <a:gd name="connsiteX8" fmla="*/ 13196 w 303303"/>
                  <a:gd name="connsiteY8" fmla="*/ 13196 h 46147"/>
                  <a:gd name="connsiteX9" fmla="*/ 13196 w 303303"/>
                  <a:gd name="connsiteY9" fmla="*/ 32978 h 46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3303" h="46147">
                    <a:moveTo>
                      <a:pt x="303303" y="46148"/>
                    </a:moveTo>
                    <a:lnTo>
                      <a:pt x="0" y="46148"/>
                    </a:lnTo>
                    <a:lnTo>
                      <a:pt x="0" y="0"/>
                    </a:lnTo>
                    <a:lnTo>
                      <a:pt x="303303" y="0"/>
                    </a:lnTo>
                    <a:lnTo>
                      <a:pt x="303303" y="46148"/>
                    </a:lnTo>
                    <a:close/>
                    <a:moveTo>
                      <a:pt x="13196" y="32978"/>
                    </a:moveTo>
                    <a:lnTo>
                      <a:pt x="290107" y="32978"/>
                    </a:lnTo>
                    <a:lnTo>
                      <a:pt x="290107" y="13196"/>
                    </a:lnTo>
                    <a:lnTo>
                      <a:pt x="13196" y="13196"/>
                    </a:lnTo>
                    <a:lnTo>
                      <a:pt x="13196" y="32978"/>
                    </a:lnTo>
                    <a:close/>
                  </a:path>
                </a:pathLst>
              </a:custGeom>
              <a:solidFill>
                <a:schemeClr val="tx2"/>
              </a:solidFill>
              <a:ln w="2620" cap="flat">
                <a:noFill/>
                <a:prstDash val="solid"/>
                <a:miter/>
              </a:ln>
            </p:spPr>
            <p:txBody>
              <a:bodyPr rtlCol="0" anchor="ctr"/>
              <a:lstStyle/>
              <a:p>
                <a:endParaRPr lang="en-GB" dirty="0"/>
              </a:p>
            </p:txBody>
          </p:sp>
          <p:sp>
            <p:nvSpPr>
              <p:cNvPr id="450" name="Freihandform: Form 918">
                <a:extLst>
                  <a:ext uri="{FF2B5EF4-FFF2-40B4-BE49-F238E27FC236}">
                    <a16:creationId xmlns:a16="http://schemas.microsoft.com/office/drawing/2014/main" id="{40B0FD6F-13EF-430B-9EC1-8F76E6AF92FA}"/>
                  </a:ext>
                </a:extLst>
              </p:cNvPr>
              <p:cNvSpPr/>
              <p:nvPr/>
            </p:nvSpPr>
            <p:spPr>
              <a:xfrm>
                <a:off x="5396531" y="4556241"/>
                <a:ext cx="250544" cy="46147"/>
              </a:xfrm>
              <a:custGeom>
                <a:avLst/>
                <a:gdLst>
                  <a:gd name="connsiteX0" fmla="*/ 250545 w 250544"/>
                  <a:gd name="connsiteY0" fmla="*/ 46147 h 46147"/>
                  <a:gd name="connsiteX1" fmla="*/ 0 w 250544"/>
                  <a:gd name="connsiteY1" fmla="*/ 46147 h 46147"/>
                  <a:gd name="connsiteX2" fmla="*/ 0 w 250544"/>
                  <a:gd name="connsiteY2" fmla="*/ 0 h 46147"/>
                  <a:gd name="connsiteX3" fmla="*/ 250545 w 250544"/>
                  <a:gd name="connsiteY3" fmla="*/ 0 h 46147"/>
                  <a:gd name="connsiteX4" fmla="*/ 250545 w 250544"/>
                  <a:gd name="connsiteY4" fmla="*/ 46147 h 46147"/>
                  <a:gd name="connsiteX5" fmla="*/ 13170 w 250544"/>
                  <a:gd name="connsiteY5" fmla="*/ 32951 h 46147"/>
                  <a:gd name="connsiteX6" fmla="*/ 237348 w 250544"/>
                  <a:gd name="connsiteY6" fmla="*/ 32951 h 46147"/>
                  <a:gd name="connsiteX7" fmla="*/ 237348 w 250544"/>
                  <a:gd name="connsiteY7" fmla="*/ 13170 h 46147"/>
                  <a:gd name="connsiteX8" fmla="*/ 13170 w 250544"/>
                  <a:gd name="connsiteY8" fmla="*/ 13170 h 46147"/>
                  <a:gd name="connsiteX9" fmla="*/ 13170 w 250544"/>
                  <a:gd name="connsiteY9" fmla="*/ 32951 h 46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50544" h="46147">
                    <a:moveTo>
                      <a:pt x="250545" y="46147"/>
                    </a:moveTo>
                    <a:lnTo>
                      <a:pt x="0" y="46147"/>
                    </a:lnTo>
                    <a:lnTo>
                      <a:pt x="0" y="0"/>
                    </a:lnTo>
                    <a:lnTo>
                      <a:pt x="250545" y="0"/>
                    </a:lnTo>
                    <a:lnTo>
                      <a:pt x="250545" y="46147"/>
                    </a:lnTo>
                    <a:close/>
                    <a:moveTo>
                      <a:pt x="13170" y="32951"/>
                    </a:moveTo>
                    <a:lnTo>
                      <a:pt x="237348" y="32951"/>
                    </a:lnTo>
                    <a:lnTo>
                      <a:pt x="237348" y="13170"/>
                    </a:lnTo>
                    <a:lnTo>
                      <a:pt x="13170" y="13170"/>
                    </a:lnTo>
                    <a:lnTo>
                      <a:pt x="13170" y="32951"/>
                    </a:lnTo>
                    <a:close/>
                  </a:path>
                </a:pathLst>
              </a:custGeom>
              <a:solidFill>
                <a:schemeClr val="tx2"/>
              </a:solidFill>
              <a:ln w="2620" cap="flat">
                <a:noFill/>
                <a:prstDash val="solid"/>
                <a:miter/>
              </a:ln>
            </p:spPr>
            <p:txBody>
              <a:bodyPr rtlCol="0" anchor="ctr"/>
              <a:lstStyle/>
              <a:p>
                <a:endParaRPr lang="en-GB" dirty="0"/>
              </a:p>
            </p:txBody>
          </p:sp>
          <p:sp>
            <p:nvSpPr>
              <p:cNvPr id="451" name="Freihandform: Form 919">
                <a:extLst>
                  <a:ext uri="{FF2B5EF4-FFF2-40B4-BE49-F238E27FC236}">
                    <a16:creationId xmlns:a16="http://schemas.microsoft.com/office/drawing/2014/main" id="{A51525EF-BF57-43CE-A39F-22AE9BC8C770}"/>
                  </a:ext>
                </a:extLst>
              </p:cNvPr>
              <p:cNvSpPr/>
              <p:nvPr/>
            </p:nvSpPr>
            <p:spPr>
              <a:xfrm>
                <a:off x="5515192" y="4424357"/>
                <a:ext cx="13196" cy="138468"/>
              </a:xfrm>
              <a:custGeom>
                <a:avLst/>
                <a:gdLst>
                  <a:gd name="connsiteX0" fmla="*/ 0 w 13196"/>
                  <a:gd name="connsiteY0" fmla="*/ 0 h 138468"/>
                  <a:gd name="connsiteX1" fmla="*/ 13196 w 13196"/>
                  <a:gd name="connsiteY1" fmla="*/ 0 h 138468"/>
                  <a:gd name="connsiteX2" fmla="*/ 13196 w 13196"/>
                  <a:gd name="connsiteY2" fmla="*/ 138469 h 138468"/>
                  <a:gd name="connsiteX3" fmla="*/ 0 w 13196"/>
                  <a:gd name="connsiteY3" fmla="*/ 138469 h 138468"/>
                </a:gdLst>
                <a:ahLst/>
                <a:cxnLst>
                  <a:cxn ang="0">
                    <a:pos x="connsiteX0" y="connsiteY0"/>
                  </a:cxn>
                  <a:cxn ang="0">
                    <a:pos x="connsiteX1" y="connsiteY1"/>
                  </a:cxn>
                  <a:cxn ang="0">
                    <a:pos x="connsiteX2" y="connsiteY2"/>
                  </a:cxn>
                  <a:cxn ang="0">
                    <a:pos x="connsiteX3" y="connsiteY3"/>
                  </a:cxn>
                </a:cxnLst>
                <a:rect l="l" t="t" r="r" b="b"/>
                <a:pathLst>
                  <a:path w="13196" h="138468">
                    <a:moveTo>
                      <a:pt x="0" y="0"/>
                    </a:moveTo>
                    <a:lnTo>
                      <a:pt x="13196" y="0"/>
                    </a:lnTo>
                    <a:lnTo>
                      <a:pt x="13196" y="138469"/>
                    </a:lnTo>
                    <a:lnTo>
                      <a:pt x="0" y="138469"/>
                    </a:lnTo>
                    <a:close/>
                  </a:path>
                </a:pathLst>
              </a:custGeom>
              <a:solidFill>
                <a:schemeClr val="tx2"/>
              </a:solidFill>
              <a:ln w="2620" cap="flat">
                <a:noFill/>
                <a:prstDash val="solid"/>
                <a:miter/>
              </a:ln>
            </p:spPr>
            <p:txBody>
              <a:bodyPr rtlCol="0" anchor="ctr"/>
              <a:lstStyle/>
              <a:p>
                <a:endParaRPr lang="en-GB" dirty="0"/>
              </a:p>
            </p:txBody>
          </p:sp>
          <p:sp>
            <p:nvSpPr>
              <p:cNvPr id="452" name="Freihandform: Form 920">
                <a:extLst>
                  <a:ext uri="{FF2B5EF4-FFF2-40B4-BE49-F238E27FC236}">
                    <a16:creationId xmlns:a16="http://schemas.microsoft.com/office/drawing/2014/main" id="{8027475D-9F96-45F0-83EB-D7F6B6A8B510}"/>
                  </a:ext>
                </a:extLst>
              </p:cNvPr>
              <p:cNvSpPr/>
              <p:nvPr/>
            </p:nvSpPr>
            <p:spPr>
              <a:xfrm>
                <a:off x="5659248" y="4213375"/>
                <a:ext cx="80121" cy="124196"/>
              </a:xfrm>
              <a:custGeom>
                <a:avLst/>
                <a:gdLst>
                  <a:gd name="connsiteX0" fmla="*/ 1994 w 80121"/>
                  <a:gd name="connsiteY0" fmla="*/ 124197 h 124196"/>
                  <a:gd name="connsiteX1" fmla="*/ 0 w 80121"/>
                  <a:gd name="connsiteY1" fmla="*/ 111158 h 124196"/>
                  <a:gd name="connsiteX2" fmla="*/ 66821 w 80121"/>
                  <a:gd name="connsiteY2" fmla="*/ 13196 h 124196"/>
                  <a:gd name="connsiteX3" fmla="*/ 997 w 80121"/>
                  <a:gd name="connsiteY3" fmla="*/ 13196 h 124196"/>
                  <a:gd name="connsiteX4" fmla="*/ 997 w 80121"/>
                  <a:gd name="connsiteY4" fmla="*/ 0 h 124196"/>
                  <a:gd name="connsiteX5" fmla="*/ 80122 w 80121"/>
                  <a:gd name="connsiteY5" fmla="*/ 0 h 124196"/>
                  <a:gd name="connsiteX6" fmla="*/ 80122 w 80121"/>
                  <a:gd name="connsiteY6" fmla="*/ 6585 h 124196"/>
                  <a:gd name="connsiteX7" fmla="*/ 1994 w 80121"/>
                  <a:gd name="connsiteY7" fmla="*/ 124197 h 12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121" h="124196">
                    <a:moveTo>
                      <a:pt x="1994" y="124197"/>
                    </a:moveTo>
                    <a:lnTo>
                      <a:pt x="0" y="111158"/>
                    </a:lnTo>
                    <a:cubicBezTo>
                      <a:pt x="40323" y="104966"/>
                      <a:pt x="65010" y="68526"/>
                      <a:pt x="66821" y="13196"/>
                    </a:cubicBezTo>
                    <a:lnTo>
                      <a:pt x="997" y="13196"/>
                    </a:lnTo>
                    <a:lnTo>
                      <a:pt x="997" y="0"/>
                    </a:lnTo>
                    <a:lnTo>
                      <a:pt x="80122" y="0"/>
                    </a:lnTo>
                    <a:lnTo>
                      <a:pt x="80122" y="6585"/>
                    </a:lnTo>
                    <a:cubicBezTo>
                      <a:pt x="80122" y="72697"/>
                      <a:pt x="50922" y="116667"/>
                      <a:pt x="1994" y="124197"/>
                    </a:cubicBezTo>
                    <a:close/>
                  </a:path>
                </a:pathLst>
              </a:custGeom>
              <a:solidFill>
                <a:schemeClr val="tx2"/>
              </a:solidFill>
              <a:ln w="2620" cap="flat">
                <a:noFill/>
                <a:prstDash val="solid"/>
                <a:miter/>
              </a:ln>
            </p:spPr>
            <p:txBody>
              <a:bodyPr rtlCol="0" anchor="ctr"/>
              <a:lstStyle/>
              <a:p>
                <a:endParaRPr lang="en-GB" dirty="0"/>
              </a:p>
            </p:txBody>
          </p:sp>
          <p:sp>
            <p:nvSpPr>
              <p:cNvPr id="453" name="Freihandform: Form 921">
                <a:extLst>
                  <a:ext uri="{FF2B5EF4-FFF2-40B4-BE49-F238E27FC236}">
                    <a16:creationId xmlns:a16="http://schemas.microsoft.com/office/drawing/2014/main" id="{43A6479D-DF3C-49B8-8854-092592B2BBD6}"/>
                  </a:ext>
                </a:extLst>
              </p:cNvPr>
              <p:cNvSpPr/>
              <p:nvPr/>
            </p:nvSpPr>
            <p:spPr>
              <a:xfrm>
                <a:off x="5304209" y="4213375"/>
                <a:ext cx="80121" cy="124196"/>
              </a:xfrm>
              <a:custGeom>
                <a:avLst/>
                <a:gdLst>
                  <a:gd name="connsiteX0" fmla="*/ 78128 w 80121"/>
                  <a:gd name="connsiteY0" fmla="*/ 124197 h 124196"/>
                  <a:gd name="connsiteX1" fmla="*/ 0 w 80121"/>
                  <a:gd name="connsiteY1" fmla="*/ 6585 h 124196"/>
                  <a:gd name="connsiteX2" fmla="*/ 0 w 80121"/>
                  <a:gd name="connsiteY2" fmla="*/ 0 h 124196"/>
                  <a:gd name="connsiteX3" fmla="*/ 79125 w 80121"/>
                  <a:gd name="connsiteY3" fmla="*/ 0 h 124196"/>
                  <a:gd name="connsiteX4" fmla="*/ 79125 w 80121"/>
                  <a:gd name="connsiteY4" fmla="*/ 13196 h 124196"/>
                  <a:gd name="connsiteX5" fmla="*/ 13301 w 80121"/>
                  <a:gd name="connsiteY5" fmla="*/ 13196 h 124196"/>
                  <a:gd name="connsiteX6" fmla="*/ 80122 w 80121"/>
                  <a:gd name="connsiteY6" fmla="*/ 111158 h 124196"/>
                  <a:gd name="connsiteX7" fmla="*/ 78128 w 80121"/>
                  <a:gd name="connsiteY7" fmla="*/ 124197 h 124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121" h="124196">
                    <a:moveTo>
                      <a:pt x="78128" y="124197"/>
                    </a:moveTo>
                    <a:cubicBezTo>
                      <a:pt x="29200" y="116667"/>
                      <a:pt x="0" y="72723"/>
                      <a:pt x="0" y="6585"/>
                    </a:cubicBezTo>
                    <a:lnTo>
                      <a:pt x="0" y="0"/>
                    </a:lnTo>
                    <a:lnTo>
                      <a:pt x="79125" y="0"/>
                    </a:lnTo>
                    <a:lnTo>
                      <a:pt x="79125" y="13196"/>
                    </a:lnTo>
                    <a:lnTo>
                      <a:pt x="13301" y="13196"/>
                    </a:lnTo>
                    <a:cubicBezTo>
                      <a:pt x="15111" y="68526"/>
                      <a:pt x="39799" y="104966"/>
                      <a:pt x="80122" y="111158"/>
                    </a:cubicBezTo>
                    <a:lnTo>
                      <a:pt x="78128" y="124197"/>
                    </a:lnTo>
                    <a:close/>
                  </a:path>
                </a:pathLst>
              </a:custGeom>
              <a:solidFill>
                <a:schemeClr val="tx2"/>
              </a:solidFill>
              <a:ln w="2620" cap="flat">
                <a:noFill/>
                <a:prstDash val="solid"/>
                <a:miter/>
              </a:ln>
            </p:spPr>
            <p:txBody>
              <a:bodyPr rtlCol="0" anchor="ctr"/>
              <a:lstStyle/>
              <a:p>
                <a:endParaRPr lang="en-GB" dirty="0"/>
              </a:p>
            </p:txBody>
          </p:sp>
          <p:sp>
            <p:nvSpPr>
              <p:cNvPr id="454" name="Freihandform: Form 923">
                <a:extLst>
                  <a:ext uri="{FF2B5EF4-FFF2-40B4-BE49-F238E27FC236}">
                    <a16:creationId xmlns:a16="http://schemas.microsoft.com/office/drawing/2014/main" id="{6395EEC9-D80E-4AEB-A1EB-530BD7E2C0F5}"/>
                  </a:ext>
                </a:extLst>
              </p:cNvPr>
              <p:cNvSpPr/>
              <p:nvPr/>
            </p:nvSpPr>
            <p:spPr>
              <a:xfrm>
                <a:off x="5515192" y="4206790"/>
                <a:ext cx="13196" cy="13196"/>
              </a:xfrm>
              <a:custGeom>
                <a:avLst/>
                <a:gdLst>
                  <a:gd name="connsiteX0" fmla="*/ 0 w 13196"/>
                  <a:gd name="connsiteY0" fmla="*/ 0 h 13196"/>
                  <a:gd name="connsiteX1" fmla="*/ 13196 w 13196"/>
                  <a:gd name="connsiteY1" fmla="*/ 0 h 13196"/>
                  <a:gd name="connsiteX2" fmla="*/ 13196 w 13196"/>
                  <a:gd name="connsiteY2" fmla="*/ 13196 h 13196"/>
                  <a:gd name="connsiteX3" fmla="*/ 0 w 13196"/>
                  <a:gd name="connsiteY3" fmla="*/ 13196 h 13196"/>
                </a:gdLst>
                <a:ahLst/>
                <a:cxnLst>
                  <a:cxn ang="0">
                    <a:pos x="connsiteX0" y="connsiteY0"/>
                  </a:cxn>
                  <a:cxn ang="0">
                    <a:pos x="connsiteX1" y="connsiteY1"/>
                  </a:cxn>
                  <a:cxn ang="0">
                    <a:pos x="connsiteX2" y="connsiteY2"/>
                  </a:cxn>
                  <a:cxn ang="0">
                    <a:pos x="connsiteX3" y="connsiteY3"/>
                  </a:cxn>
                </a:cxnLst>
                <a:rect l="l" t="t" r="r" b="b"/>
                <a:pathLst>
                  <a:path w="13196" h="13196">
                    <a:moveTo>
                      <a:pt x="0" y="0"/>
                    </a:moveTo>
                    <a:lnTo>
                      <a:pt x="13196" y="0"/>
                    </a:lnTo>
                    <a:lnTo>
                      <a:pt x="13196" y="13196"/>
                    </a:lnTo>
                    <a:lnTo>
                      <a:pt x="0" y="13196"/>
                    </a:lnTo>
                    <a:close/>
                  </a:path>
                </a:pathLst>
              </a:custGeom>
              <a:solidFill>
                <a:schemeClr val="tx2"/>
              </a:solidFill>
              <a:ln w="2620" cap="flat">
                <a:noFill/>
                <a:prstDash val="solid"/>
                <a:miter/>
              </a:ln>
            </p:spPr>
            <p:txBody>
              <a:bodyPr rtlCol="0" anchor="ctr"/>
              <a:lstStyle/>
              <a:p>
                <a:endParaRPr lang="en-GB" dirty="0"/>
              </a:p>
            </p:txBody>
          </p:sp>
          <p:sp>
            <p:nvSpPr>
              <p:cNvPr id="455" name="Freihandform: Form 924">
                <a:extLst>
                  <a:ext uri="{FF2B5EF4-FFF2-40B4-BE49-F238E27FC236}">
                    <a16:creationId xmlns:a16="http://schemas.microsoft.com/office/drawing/2014/main" id="{C8A4AA29-F121-4A43-9204-B4931180592A}"/>
                  </a:ext>
                </a:extLst>
              </p:cNvPr>
              <p:cNvSpPr/>
              <p:nvPr/>
            </p:nvSpPr>
            <p:spPr>
              <a:xfrm>
                <a:off x="5554754" y="4206790"/>
                <a:ext cx="13196" cy="13196"/>
              </a:xfrm>
              <a:custGeom>
                <a:avLst/>
                <a:gdLst>
                  <a:gd name="connsiteX0" fmla="*/ 0 w 13196"/>
                  <a:gd name="connsiteY0" fmla="*/ 0 h 13196"/>
                  <a:gd name="connsiteX1" fmla="*/ 13196 w 13196"/>
                  <a:gd name="connsiteY1" fmla="*/ 0 h 13196"/>
                  <a:gd name="connsiteX2" fmla="*/ 13196 w 13196"/>
                  <a:gd name="connsiteY2" fmla="*/ 13196 h 13196"/>
                  <a:gd name="connsiteX3" fmla="*/ 0 w 13196"/>
                  <a:gd name="connsiteY3" fmla="*/ 13196 h 13196"/>
                </a:gdLst>
                <a:ahLst/>
                <a:cxnLst>
                  <a:cxn ang="0">
                    <a:pos x="connsiteX0" y="connsiteY0"/>
                  </a:cxn>
                  <a:cxn ang="0">
                    <a:pos x="connsiteX1" y="connsiteY1"/>
                  </a:cxn>
                  <a:cxn ang="0">
                    <a:pos x="connsiteX2" y="connsiteY2"/>
                  </a:cxn>
                  <a:cxn ang="0">
                    <a:pos x="connsiteX3" y="connsiteY3"/>
                  </a:cxn>
                </a:cxnLst>
                <a:rect l="l" t="t" r="r" b="b"/>
                <a:pathLst>
                  <a:path w="13196" h="13196">
                    <a:moveTo>
                      <a:pt x="0" y="0"/>
                    </a:moveTo>
                    <a:lnTo>
                      <a:pt x="13196" y="0"/>
                    </a:lnTo>
                    <a:lnTo>
                      <a:pt x="13196" y="13196"/>
                    </a:lnTo>
                    <a:lnTo>
                      <a:pt x="0" y="13196"/>
                    </a:lnTo>
                    <a:close/>
                  </a:path>
                </a:pathLst>
              </a:custGeom>
              <a:solidFill>
                <a:schemeClr val="tx2"/>
              </a:solidFill>
              <a:ln w="2620" cap="flat">
                <a:noFill/>
                <a:prstDash val="solid"/>
                <a:miter/>
              </a:ln>
            </p:spPr>
            <p:txBody>
              <a:bodyPr rtlCol="0" anchor="ctr"/>
              <a:lstStyle/>
              <a:p>
                <a:endParaRPr lang="en-GB" dirty="0"/>
              </a:p>
            </p:txBody>
          </p:sp>
          <p:sp>
            <p:nvSpPr>
              <p:cNvPr id="456" name="Freihandform: Form 925">
                <a:extLst>
                  <a:ext uri="{FF2B5EF4-FFF2-40B4-BE49-F238E27FC236}">
                    <a16:creationId xmlns:a16="http://schemas.microsoft.com/office/drawing/2014/main" id="{EC0E39A0-552D-4BCE-A5D1-1119033F0D40}"/>
                  </a:ext>
                </a:extLst>
              </p:cNvPr>
              <p:cNvSpPr/>
              <p:nvPr/>
            </p:nvSpPr>
            <p:spPr>
              <a:xfrm>
                <a:off x="5475629" y="4206790"/>
                <a:ext cx="13196" cy="13196"/>
              </a:xfrm>
              <a:custGeom>
                <a:avLst/>
                <a:gdLst>
                  <a:gd name="connsiteX0" fmla="*/ 0 w 13196"/>
                  <a:gd name="connsiteY0" fmla="*/ 0 h 13196"/>
                  <a:gd name="connsiteX1" fmla="*/ 13196 w 13196"/>
                  <a:gd name="connsiteY1" fmla="*/ 0 h 13196"/>
                  <a:gd name="connsiteX2" fmla="*/ 13196 w 13196"/>
                  <a:gd name="connsiteY2" fmla="*/ 13196 h 13196"/>
                  <a:gd name="connsiteX3" fmla="*/ 0 w 13196"/>
                  <a:gd name="connsiteY3" fmla="*/ 13196 h 13196"/>
                </a:gdLst>
                <a:ahLst/>
                <a:cxnLst>
                  <a:cxn ang="0">
                    <a:pos x="connsiteX0" y="connsiteY0"/>
                  </a:cxn>
                  <a:cxn ang="0">
                    <a:pos x="connsiteX1" y="connsiteY1"/>
                  </a:cxn>
                  <a:cxn ang="0">
                    <a:pos x="connsiteX2" y="connsiteY2"/>
                  </a:cxn>
                  <a:cxn ang="0">
                    <a:pos x="connsiteX3" y="connsiteY3"/>
                  </a:cxn>
                </a:cxnLst>
                <a:rect l="l" t="t" r="r" b="b"/>
                <a:pathLst>
                  <a:path w="13196" h="13196">
                    <a:moveTo>
                      <a:pt x="0" y="0"/>
                    </a:moveTo>
                    <a:lnTo>
                      <a:pt x="13196" y="0"/>
                    </a:lnTo>
                    <a:lnTo>
                      <a:pt x="13196" y="13196"/>
                    </a:lnTo>
                    <a:lnTo>
                      <a:pt x="0" y="13196"/>
                    </a:lnTo>
                    <a:close/>
                  </a:path>
                </a:pathLst>
              </a:custGeom>
              <a:solidFill>
                <a:schemeClr val="tx2"/>
              </a:solidFill>
              <a:ln w="2620" cap="flat">
                <a:noFill/>
                <a:prstDash val="solid"/>
                <a:miter/>
              </a:ln>
            </p:spPr>
            <p:txBody>
              <a:bodyPr rtlCol="0" anchor="ctr"/>
              <a:lstStyle/>
              <a:p>
                <a:endParaRPr lang="en-GB" dirty="0"/>
              </a:p>
            </p:txBody>
          </p:sp>
        </p:grpSp>
      </p:grpSp>
      <p:grpSp>
        <p:nvGrpSpPr>
          <p:cNvPr id="48" name="Group 47">
            <a:extLst>
              <a:ext uri="{FF2B5EF4-FFF2-40B4-BE49-F238E27FC236}">
                <a16:creationId xmlns:a16="http://schemas.microsoft.com/office/drawing/2014/main" id="{1E8480C9-34E3-8C48-9AB4-7D88DD5662D7}"/>
              </a:ext>
            </a:extLst>
          </p:cNvPr>
          <p:cNvGrpSpPr/>
          <p:nvPr/>
        </p:nvGrpSpPr>
        <p:grpSpPr>
          <a:xfrm>
            <a:off x="5059403" y="3197068"/>
            <a:ext cx="307735" cy="432000"/>
            <a:chOff x="5058991" y="3197068"/>
            <a:chExt cx="307735" cy="432000"/>
          </a:xfrm>
        </p:grpSpPr>
        <p:grpSp>
          <p:nvGrpSpPr>
            <p:cNvPr id="458" name="Grafik 113">
              <a:extLst>
                <a:ext uri="{FF2B5EF4-FFF2-40B4-BE49-F238E27FC236}">
                  <a16:creationId xmlns:a16="http://schemas.microsoft.com/office/drawing/2014/main" id="{EB353D95-CCFC-4180-A5C5-DA89656D4EE6}"/>
                </a:ext>
              </a:extLst>
            </p:cNvPr>
            <p:cNvGrpSpPr/>
            <p:nvPr/>
          </p:nvGrpSpPr>
          <p:grpSpPr>
            <a:xfrm>
              <a:off x="5058991" y="3197068"/>
              <a:ext cx="307735" cy="432000"/>
              <a:chOff x="1823754" y="3308153"/>
              <a:chExt cx="295015" cy="414143"/>
            </a:xfrm>
            <a:solidFill>
              <a:schemeClr val="accent1"/>
            </a:solidFill>
          </p:grpSpPr>
          <p:sp>
            <p:nvSpPr>
              <p:cNvPr id="462" name="Freihandform: Form 451">
                <a:extLst>
                  <a:ext uri="{FF2B5EF4-FFF2-40B4-BE49-F238E27FC236}">
                    <a16:creationId xmlns:a16="http://schemas.microsoft.com/office/drawing/2014/main" id="{B96641D9-EAEA-45CB-A8A0-5B9211FBEA69}"/>
                  </a:ext>
                </a:extLst>
              </p:cNvPr>
              <p:cNvSpPr/>
              <p:nvPr/>
            </p:nvSpPr>
            <p:spPr>
              <a:xfrm>
                <a:off x="1823754" y="3308153"/>
                <a:ext cx="295015" cy="333077"/>
              </a:xfrm>
              <a:custGeom>
                <a:avLst/>
                <a:gdLst>
                  <a:gd name="connsiteX0" fmla="*/ 215204 w 295015"/>
                  <a:gd name="connsiteY0" fmla="*/ 333077 h 333077"/>
                  <a:gd name="connsiteX1" fmla="*/ 79812 w 295015"/>
                  <a:gd name="connsiteY1" fmla="*/ 333077 h 333077"/>
                  <a:gd name="connsiteX2" fmla="*/ 74766 w 295015"/>
                  <a:gd name="connsiteY2" fmla="*/ 328032 h 333077"/>
                  <a:gd name="connsiteX3" fmla="*/ 74766 w 295015"/>
                  <a:gd name="connsiteY3" fmla="*/ 278623 h 333077"/>
                  <a:gd name="connsiteX4" fmla="*/ 61985 w 295015"/>
                  <a:gd name="connsiteY4" fmla="*/ 267661 h 333077"/>
                  <a:gd name="connsiteX5" fmla="*/ 0 w 295015"/>
                  <a:gd name="connsiteY5" fmla="*/ 147508 h 333077"/>
                  <a:gd name="connsiteX6" fmla="*/ 147508 w 295015"/>
                  <a:gd name="connsiteY6" fmla="*/ 0 h 333077"/>
                  <a:gd name="connsiteX7" fmla="*/ 295016 w 295015"/>
                  <a:gd name="connsiteY7" fmla="*/ 147508 h 333077"/>
                  <a:gd name="connsiteX8" fmla="*/ 231802 w 295015"/>
                  <a:gd name="connsiteY8" fmla="*/ 268557 h 333077"/>
                  <a:gd name="connsiteX9" fmla="*/ 220225 w 295015"/>
                  <a:gd name="connsiteY9" fmla="*/ 290969 h 333077"/>
                  <a:gd name="connsiteX10" fmla="*/ 220250 w 295015"/>
                  <a:gd name="connsiteY10" fmla="*/ 328057 h 333077"/>
                  <a:gd name="connsiteX11" fmla="*/ 215204 w 295015"/>
                  <a:gd name="connsiteY11" fmla="*/ 333077 h 333077"/>
                  <a:gd name="connsiteX12" fmla="*/ 84832 w 295015"/>
                  <a:gd name="connsiteY12" fmla="*/ 323011 h 333077"/>
                  <a:gd name="connsiteX13" fmla="*/ 210133 w 295015"/>
                  <a:gd name="connsiteY13" fmla="*/ 323011 h 333077"/>
                  <a:gd name="connsiteX14" fmla="*/ 210133 w 295015"/>
                  <a:gd name="connsiteY14" fmla="*/ 291353 h 333077"/>
                  <a:gd name="connsiteX15" fmla="*/ 226397 w 295015"/>
                  <a:gd name="connsiteY15" fmla="*/ 260028 h 333077"/>
                  <a:gd name="connsiteX16" fmla="*/ 284899 w 295015"/>
                  <a:gd name="connsiteY16" fmla="*/ 147508 h 333077"/>
                  <a:gd name="connsiteX17" fmla="*/ 147457 w 295015"/>
                  <a:gd name="connsiteY17" fmla="*/ 10066 h 333077"/>
                  <a:gd name="connsiteX18" fmla="*/ 10041 w 295015"/>
                  <a:gd name="connsiteY18" fmla="*/ 147508 h 333077"/>
                  <a:gd name="connsiteX19" fmla="*/ 67671 w 295015"/>
                  <a:gd name="connsiteY19" fmla="*/ 259387 h 333077"/>
                  <a:gd name="connsiteX20" fmla="*/ 84448 w 295015"/>
                  <a:gd name="connsiteY20" fmla="*/ 275370 h 333077"/>
                  <a:gd name="connsiteX21" fmla="*/ 84806 w 295015"/>
                  <a:gd name="connsiteY21" fmla="*/ 277266 h 333077"/>
                  <a:gd name="connsiteX22" fmla="*/ 84806 w 295015"/>
                  <a:gd name="connsiteY22" fmla="*/ 323011 h 333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95015" h="333077">
                    <a:moveTo>
                      <a:pt x="215204" y="333077"/>
                    </a:moveTo>
                    <a:lnTo>
                      <a:pt x="79812" y="333077"/>
                    </a:lnTo>
                    <a:cubicBezTo>
                      <a:pt x="77020" y="333077"/>
                      <a:pt x="74766" y="330823"/>
                      <a:pt x="74766" y="328032"/>
                    </a:cubicBezTo>
                    <a:lnTo>
                      <a:pt x="74766" y="278623"/>
                    </a:lnTo>
                    <a:cubicBezTo>
                      <a:pt x="73767" y="277317"/>
                      <a:pt x="70514" y="273552"/>
                      <a:pt x="61985" y="267661"/>
                    </a:cubicBezTo>
                    <a:cubicBezTo>
                      <a:pt x="23180" y="240843"/>
                      <a:pt x="0" y="195943"/>
                      <a:pt x="0" y="147508"/>
                    </a:cubicBezTo>
                    <a:cubicBezTo>
                      <a:pt x="0" y="66160"/>
                      <a:pt x="66160" y="0"/>
                      <a:pt x="147508" y="0"/>
                    </a:cubicBezTo>
                    <a:cubicBezTo>
                      <a:pt x="228856" y="0"/>
                      <a:pt x="295016" y="66185"/>
                      <a:pt x="295016" y="147508"/>
                    </a:cubicBezTo>
                    <a:cubicBezTo>
                      <a:pt x="295016" y="197454"/>
                      <a:pt x="270811" y="243840"/>
                      <a:pt x="231802" y="268557"/>
                    </a:cubicBezTo>
                    <a:cubicBezTo>
                      <a:pt x="219200" y="276523"/>
                      <a:pt x="220199" y="290815"/>
                      <a:pt x="220225" y="290969"/>
                    </a:cubicBezTo>
                    <a:lnTo>
                      <a:pt x="220250" y="328057"/>
                    </a:lnTo>
                    <a:cubicBezTo>
                      <a:pt x="220225" y="330823"/>
                      <a:pt x="217971" y="333077"/>
                      <a:pt x="215204" y="333077"/>
                    </a:cubicBezTo>
                    <a:close/>
                    <a:moveTo>
                      <a:pt x="84832" y="323011"/>
                    </a:moveTo>
                    <a:lnTo>
                      <a:pt x="210133" y="323011"/>
                    </a:lnTo>
                    <a:lnTo>
                      <a:pt x="210133" y="291353"/>
                    </a:lnTo>
                    <a:cubicBezTo>
                      <a:pt x="210082" y="290918"/>
                      <a:pt x="208673" y="271195"/>
                      <a:pt x="226397" y="260028"/>
                    </a:cubicBezTo>
                    <a:cubicBezTo>
                      <a:pt x="262487" y="237155"/>
                      <a:pt x="284899" y="194022"/>
                      <a:pt x="284899" y="147508"/>
                    </a:cubicBezTo>
                    <a:cubicBezTo>
                      <a:pt x="284899" y="71718"/>
                      <a:pt x="223247" y="10066"/>
                      <a:pt x="147457" y="10066"/>
                    </a:cubicBezTo>
                    <a:cubicBezTo>
                      <a:pt x="71692" y="10066"/>
                      <a:pt x="10041" y="71718"/>
                      <a:pt x="10041" y="147508"/>
                    </a:cubicBezTo>
                    <a:cubicBezTo>
                      <a:pt x="10041" y="192639"/>
                      <a:pt x="31581" y="234466"/>
                      <a:pt x="67671" y="259387"/>
                    </a:cubicBezTo>
                    <a:cubicBezTo>
                      <a:pt x="80939" y="268557"/>
                      <a:pt x="83858" y="273961"/>
                      <a:pt x="84448" y="275370"/>
                    </a:cubicBezTo>
                    <a:cubicBezTo>
                      <a:pt x="84678" y="275959"/>
                      <a:pt x="84806" y="276600"/>
                      <a:pt x="84806" y="277266"/>
                    </a:cubicBezTo>
                    <a:lnTo>
                      <a:pt x="84806" y="323011"/>
                    </a:lnTo>
                    <a:close/>
                  </a:path>
                </a:pathLst>
              </a:custGeom>
              <a:solidFill>
                <a:schemeClr val="accent1"/>
              </a:solidFill>
              <a:ln w="2560" cap="flat">
                <a:noFill/>
                <a:prstDash val="solid"/>
                <a:miter/>
              </a:ln>
            </p:spPr>
            <p:txBody>
              <a:bodyPr rtlCol="0" anchor="ctr"/>
              <a:lstStyle/>
              <a:p>
                <a:endParaRPr lang="en-GB" dirty="0"/>
              </a:p>
            </p:txBody>
          </p:sp>
          <p:sp>
            <p:nvSpPr>
              <p:cNvPr id="463" name="Freihandform: Form 452">
                <a:extLst>
                  <a:ext uri="{FF2B5EF4-FFF2-40B4-BE49-F238E27FC236}">
                    <a16:creationId xmlns:a16="http://schemas.microsoft.com/office/drawing/2014/main" id="{3BF10375-C384-4A14-AFDB-809ABA0E315A}"/>
                  </a:ext>
                </a:extLst>
              </p:cNvPr>
              <p:cNvSpPr/>
              <p:nvPr/>
            </p:nvSpPr>
            <p:spPr>
              <a:xfrm>
                <a:off x="1898289" y="3671659"/>
                <a:ext cx="144255" cy="10091"/>
              </a:xfrm>
              <a:custGeom>
                <a:avLst/>
                <a:gdLst>
                  <a:gd name="connsiteX0" fmla="*/ 139209 w 144255"/>
                  <a:gd name="connsiteY0" fmla="*/ 10092 h 10091"/>
                  <a:gd name="connsiteX1" fmla="*/ 5046 w 144255"/>
                  <a:gd name="connsiteY1" fmla="*/ 10092 h 10091"/>
                  <a:gd name="connsiteX2" fmla="*/ 0 w 144255"/>
                  <a:gd name="connsiteY2" fmla="*/ 5046 h 10091"/>
                  <a:gd name="connsiteX3" fmla="*/ 5046 w 144255"/>
                  <a:gd name="connsiteY3" fmla="*/ 0 h 10091"/>
                  <a:gd name="connsiteX4" fmla="*/ 139209 w 144255"/>
                  <a:gd name="connsiteY4" fmla="*/ 0 h 10091"/>
                  <a:gd name="connsiteX5" fmla="*/ 144255 w 144255"/>
                  <a:gd name="connsiteY5" fmla="*/ 5046 h 10091"/>
                  <a:gd name="connsiteX6" fmla="*/ 139209 w 144255"/>
                  <a:gd name="connsiteY6" fmla="*/ 10092 h 1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255" h="10091">
                    <a:moveTo>
                      <a:pt x="139209" y="10092"/>
                    </a:moveTo>
                    <a:lnTo>
                      <a:pt x="5046" y="10092"/>
                    </a:lnTo>
                    <a:cubicBezTo>
                      <a:pt x="2254" y="10092"/>
                      <a:pt x="0" y="7838"/>
                      <a:pt x="0" y="5046"/>
                    </a:cubicBezTo>
                    <a:cubicBezTo>
                      <a:pt x="0" y="2254"/>
                      <a:pt x="2254" y="0"/>
                      <a:pt x="5046" y="0"/>
                    </a:cubicBezTo>
                    <a:lnTo>
                      <a:pt x="139209" y="0"/>
                    </a:lnTo>
                    <a:cubicBezTo>
                      <a:pt x="142001" y="0"/>
                      <a:pt x="144255" y="2254"/>
                      <a:pt x="144255" y="5046"/>
                    </a:cubicBezTo>
                    <a:cubicBezTo>
                      <a:pt x="144255" y="7838"/>
                      <a:pt x="142001" y="10092"/>
                      <a:pt x="139209" y="10092"/>
                    </a:cubicBezTo>
                    <a:close/>
                  </a:path>
                </a:pathLst>
              </a:custGeom>
              <a:solidFill>
                <a:schemeClr val="accent1"/>
              </a:solidFill>
              <a:ln w="2560" cap="flat">
                <a:noFill/>
                <a:prstDash val="solid"/>
                <a:miter/>
              </a:ln>
            </p:spPr>
            <p:txBody>
              <a:bodyPr rtlCol="0" anchor="ctr"/>
              <a:lstStyle/>
              <a:p>
                <a:endParaRPr lang="en-GB" dirty="0"/>
              </a:p>
            </p:txBody>
          </p:sp>
          <p:sp>
            <p:nvSpPr>
              <p:cNvPr id="464" name="Freihandform: Form 453">
                <a:extLst>
                  <a:ext uri="{FF2B5EF4-FFF2-40B4-BE49-F238E27FC236}">
                    <a16:creationId xmlns:a16="http://schemas.microsoft.com/office/drawing/2014/main" id="{CCFF72E8-1614-440B-B85C-3216EC22A876}"/>
                  </a:ext>
                </a:extLst>
              </p:cNvPr>
              <p:cNvSpPr/>
              <p:nvPr/>
            </p:nvSpPr>
            <p:spPr>
              <a:xfrm>
                <a:off x="1923134" y="3712205"/>
                <a:ext cx="94564" cy="10091"/>
              </a:xfrm>
              <a:custGeom>
                <a:avLst/>
                <a:gdLst>
                  <a:gd name="connsiteX0" fmla="*/ 89519 w 94564"/>
                  <a:gd name="connsiteY0" fmla="*/ 10092 h 10091"/>
                  <a:gd name="connsiteX1" fmla="*/ 5046 w 94564"/>
                  <a:gd name="connsiteY1" fmla="*/ 10092 h 10091"/>
                  <a:gd name="connsiteX2" fmla="*/ 0 w 94564"/>
                  <a:gd name="connsiteY2" fmla="*/ 5046 h 10091"/>
                  <a:gd name="connsiteX3" fmla="*/ 5046 w 94564"/>
                  <a:gd name="connsiteY3" fmla="*/ 0 h 10091"/>
                  <a:gd name="connsiteX4" fmla="*/ 89519 w 94564"/>
                  <a:gd name="connsiteY4" fmla="*/ 0 h 10091"/>
                  <a:gd name="connsiteX5" fmla="*/ 94565 w 94564"/>
                  <a:gd name="connsiteY5" fmla="*/ 5046 h 10091"/>
                  <a:gd name="connsiteX6" fmla="*/ 89519 w 94564"/>
                  <a:gd name="connsiteY6" fmla="*/ 10092 h 10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564" h="10091">
                    <a:moveTo>
                      <a:pt x="89519" y="10092"/>
                    </a:moveTo>
                    <a:lnTo>
                      <a:pt x="5046" y="10092"/>
                    </a:lnTo>
                    <a:cubicBezTo>
                      <a:pt x="2254" y="10092"/>
                      <a:pt x="0" y="7838"/>
                      <a:pt x="0" y="5046"/>
                    </a:cubicBezTo>
                    <a:cubicBezTo>
                      <a:pt x="0" y="2254"/>
                      <a:pt x="2254" y="0"/>
                      <a:pt x="5046" y="0"/>
                    </a:cubicBezTo>
                    <a:lnTo>
                      <a:pt x="89519" y="0"/>
                    </a:lnTo>
                    <a:cubicBezTo>
                      <a:pt x="92311" y="0"/>
                      <a:pt x="94565" y="2254"/>
                      <a:pt x="94565" y="5046"/>
                    </a:cubicBezTo>
                    <a:cubicBezTo>
                      <a:pt x="94565" y="7838"/>
                      <a:pt x="92311" y="10092"/>
                      <a:pt x="89519" y="10092"/>
                    </a:cubicBezTo>
                    <a:close/>
                  </a:path>
                </a:pathLst>
              </a:custGeom>
              <a:solidFill>
                <a:schemeClr val="accent1"/>
              </a:solidFill>
              <a:ln w="2560" cap="flat">
                <a:noFill/>
                <a:prstDash val="solid"/>
                <a:miter/>
              </a:ln>
            </p:spPr>
            <p:txBody>
              <a:bodyPr rtlCol="0" anchor="ctr"/>
              <a:lstStyle/>
              <a:p>
                <a:endParaRPr lang="en-GB" dirty="0"/>
              </a:p>
            </p:txBody>
          </p:sp>
        </p:grpSp>
        <p:grpSp>
          <p:nvGrpSpPr>
            <p:cNvPr id="459" name="Grafik 113">
              <a:extLst>
                <a:ext uri="{FF2B5EF4-FFF2-40B4-BE49-F238E27FC236}">
                  <a16:creationId xmlns:a16="http://schemas.microsoft.com/office/drawing/2014/main" id="{20B2D15B-FCF2-47A1-8764-0256B12FA9DB}"/>
                </a:ext>
              </a:extLst>
            </p:cNvPr>
            <p:cNvGrpSpPr/>
            <p:nvPr/>
          </p:nvGrpSpPr>
          <p:grpSpPr>
            <a:xfrm>
              <a:off x="5132302" y="3269928"/>
              <a:ext cx="164154" cy="238510"/>
              <a:chOff x="1894037" y="3378001"/>
              <a:chExt cx="157369" cy="228651"/>
            </a:xfrm>
            <a:solidFill>
              <a:schemeClr val="tx2"/>
            </a:solidFill>
          </p:grpSpPr>
          <p:sp>
            <p:nvSpPr>
              <p:cNvPr id="460" name="Freihandform: Form 455">
                <a:extLst>
                  <a:ext uri="{FF2B5EF4-FFF2-40B4-BE49-F238E27FC236}">
                    <a16:creationId xmlns:a16="http://schemas.microsoft.com/office/drawing/2014/main" id="{E297026D-2B76-4018-96B2-49032BFCC715}"/>
                  </a:ext>
                </a:extLst>
              </p:cNvPr>
              <p:cNvSpPr/>
              <p:nvPr/>
            </p:nvSpPr>
            <p:spPr>
              <a:xfrm>
                <a:off x="1894037" y="3378001"/>
                <a:ext cx="157369" cy="185518"/>
              </a:xfrm>
              <a:custGeom>
                <a:avLst/>
                <a:gdLst>
                  <a:gd name="connsiteX0" fmla="*/ 79453 w 157369"/>
                  <a:gd name="connsiteY0" fmla="*/ 185493 h 185518"/>
                  <a:gd name="connsiteX1" fmla="*/ 74407 w 157369"/>
                  <a:gd name="connsiteY1" fmla="*/ 180601 h 185518"/>
                  <a:gd name="connsiteX2" fmla="*/ 73639 w 157369"/>
                  <a:gd name="connsiteY2" fmla="*/ 152451 h 185518"/>
                  <a:gd name="connsiteX3" fmla="*/ 75073 w 157369"/>
                  <a:gd name="connsiteY3" fmla="*/ 148789 h 185518"/>
                  <a:gd name="connsiteX4" fmla="*/ 78685 w 157369"/>
                  <a:gd name="connsiteY4" fmla="*/ 147277 h 185518"/>
                  <a:gd name="connsiteX5" fmla="*/ 147277 w 157369"/>
                  <a:gd name="connsiteY5" fmla="*/ 78685 h 185518"/>
                  <a:gd name="connsiteX6" fmla="*/ 78685 w 157369"/>
                  <a:gd name="connsiteY6" fmla="*/ 10092 h 185518"/>
                  <a:gd name="connsiteX7" fmla="*/ 33041 w 157369"/>
                  <a:gd name="connsiteY7" fmla="*/ 27483 h 185518"/>
                  <a:gd name="connsiteX8" fmla="*/ 17622 w 157369"/>
                  <a:gd name="connsiteY8" fmla="*/ 47411 h 185518"/>
                  <a:gd name="connsiteX9" fmla="*/ 10092 w 157369"/>
                  <a:gd name="connsiteY9" fmla="*/ 78685 h 185518"/>
                  <a:gd name="connsiteX10" fmla="*/ 5046 w 157369"/>
                  <a:gd name="connsiteY10" fmla="*/ 83730 h 185518"/>
                  <a:gd name="connsiteX11" fmla="*/ 0 w 157369"/>
                  <a:gd name="connsiteY11" fmla="*/ 78685 h 185518"/>
                  <a:gd name="connsiteX12" fmla="*/ 8632 w 157369"/>
                  <a:gd name="connsiteY12" fmla="*/ 42800 h 185518"/>
                  <a:gd name="connsiteX13" fmla="*/ 26305 w 157369"/>
                  <a:gd name="connsiteY13" fmla="*/ 19953 h 185518"/>
                  <a:gd name="connsiteX14" fmla="*/ 78685 w 157369"/>
                  <a:gd name="connsiteY14" fmla="*/ 0 h 185518"/>
                  <a:gd name="connsiteX15" fmla="*/ 157369 w 157369"/>
                  <a:gd name="connsiteY15" fmla="*/ 78685 h 185518"/>
                  <a:gd name="connsiteX16" fmla="*/ 83858 w 157369"/>
                  <a:gd name="connsiteY16" fmla="*/ 157190 h 185518"/>
                  <a:gd name="connsiteX17" fmla="*/ 84499 w 157369"/>
                  <a:gd name="connsiteY17" fmla="*/ 180344 h 185518"/>
                  <a:gd name="connsiteX18" fmla="*/ 79607 w 157369"/>
                  <a:gd name="connsiteY18" fmla="*/ 185518 h 185518"/>
                  <a:gd name="connsiteX19" fmla="*/ 79453 w 157369"/>
                  <a:gd name="connsiteY19" fmla="*/ 185493 h 1855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7369" h="185518">
                    <a:moveTo>
                      <a:pt x="79453" y="185493"/>
                    </a:moveTo>
                    <a:cubicBezTo>
                      <a:pt x="76738" y="185493"/>
                      <a:pt x="74484" y="183316"/>
                      <a:pt x="74407" y="180601"/>
                    </a:cubicBezTo>
                    <a:lnTo>
                      <a:pt x="73639" y="152451"/>
                    </a:lnTo>
                    <a:cubicBezTo>
                      <a:pt x="73588" y="151094"/>
                      <a:pt x="74125" y="149762"/>
                      <a:pt x="75073" y="148789"/>
                    </a:cubicBezTo>
                    <a:cubicBezTo>
                      <a:pt x="76021" y="147815"/>
                      <a:pt x="77327" y="147277"/>
                      <a:pt x="78685" y="147277"/>
                    </a:cubicBezTo>
                    <a:cubicBezTo>
                      <a:pt x="116516" y="147277"/>
                      <a:pt x="147277" y="116490"/>
                      <a:pt x="147277" y="78685"/>
                    </a:cubicBezTo>
                    <a:cubicBezTo>
                      <a:pt x="147277" y="40853"/>
                      <a:pt x="116490" y="10092"/>
                      <a:pt x="78685" y="10092"/>
                    </a:cubicBezTo>
                    <a:cubicBezTo>
                      <a:pt x="61805" y="10092"/>
                      <a:pt x="45592" y="16265"/>
                      <a:pt x="33041" y="27483"/>
                    </a:cubicBezTo>
                    <a:cubicBezTo>
                      <a:pt x="26664" y="33169"/>
                      <a:pt x="21490" y="39880"/>
                      <a:pt x="17622" y="47411"/>
                    </a:cubicBezTo>
                    <a:cubicBezTo>
                      <a:pt x="12627" y="57144"/>
                      <a:pt x="10092" y="67671"/>
                      <a:pt x="10092" y="78685"/>
                    </a:cubicBezTo>
                    <a:cubicBezTo>
                      <a:pt x="10092" y="81477"/>
                      <a:pt x="7838" y="83730"/>
                      <a:pt x="5046" y="83730"/>
                    </a:cubicBezTo>
                    <a:cubicBezTo>
                      <a:pt x="2254" y="83730"/>
                      <a:pt x="0" y="81477"/>
                      <a:pt x="0" y="78685"/>
                    </a:cubicBezTo>
                    <a:cubicBezTo>
                      <a:pt x="0" y="66032"/>
                      <a:pt x="2920" y="53968"/>
                      <a:pt x="8632" y="42800"/>
                    </a:cubicBezTo>
                    <a:cubicBezTo>
                      <a:pt x="13063" y="34168"/>
                      <a:pt x="19005" y="26459"/>
                      <a:pt x="26305" y="19953"/>
                    </a:cubicBezTo>
                    <a:cubicBezTo>
                      <a:pt x="40725" y="7095"/>
                      <a:pt x="59321" y="0"/>
                      <a:pt x="78685" y="0"/>
                    </a:cubicBezTo>
                    <a:cubicBezTo>
                      <a:pt x="122074" y="0"/>
                      <a:pt x="157369" y="35295"/>
                      <a:pt x="157369" y="78685"/>
                    </a:cubicBezTo>
                    <a:cubicBezTo>
                      <a:pt x="157369" y="120332"/>
                      <a:pt x="124840" y="154526"/>
                      <a:pt x="83858" y="157190"/>
                    </a:cubicBezTo>
                    <a:lnTo>
                      <a:pt x="84499" y="180344"/>
                    </a:lnTo>
                    <a:cubicBezTo>
                      <a:pt x="84576" y="183136"/>
                      <a:pt x="82373" y="185441"/>
                      <a:pt x="79607" y="185518"/>
                    </a:cubicBezTo>
                    <a:cubicBezTo>
                      <a:pt x="79555" y="185493"/>
                      <a:pt x="79504" y="185493"/>
                      <a:pt x="79453" y="185493"/>
                    </a:cubicBezTo>
                    <a:close/>
                  </a:path>
                </a:pathLst>
              </a:custGeom>
              <a:grpFill/>
              <a:ln w="2560" cap="flat">
                <a:noFill/>
                <a:prstDash val="solid"/>
                <a:miter/>
              </a:ln>
            </p:spPr>
            <p:txBody>
              <a:bodyPr rtlCol="0" anchor="ctr"/>
              <a:lstStyle/>
              <a:p>
                <a:endParaRPr lang="en-GB" dirty="0"/>
              </a:p>
            </p:txBody>
          </p:sp>
          <p:sp>
            <p:nvSpPr>
              <p:cNvPr id="461" name="Freihandform: Form 456">
                <a:extLst>
                  <a:ext uri="{FF2B5EF4-FFF2-40B4-BE49-F238E27FC236}">
                    <a16:creationId xmlns:a16="http://schemas.microsoft.com/office/drawing/2014/main" id="{5AE736C0-F2D3-4488-BE7F-05837FACD077}"/>
                  </a:ext>
                </a:extLst>
              </p:cNvPr>
              <p:cNvSpPr/>
              <p:nvPr/>
            </p:nvSpPr>
            <p:spPr>
              <a:xfrm>
                <a:off x="1968444" y="3589286"/>
                <a:ext cx="10091" cy="17365"/>
              </a:xfrm>
              <a:custGeom>
                <a:avLst/>
                <a:gdLst>
                  <a:gd name="connsiteX0" fmla="*/ 5046 w 10091"/>
                  <a:gd name="connsiteY0" fmla="*/ 17366 h 17365"/>
                  <a:gd name="connsiteX1" fmla="*/ 0 w 10091"/>
                  <a:gd name="connsiteY1" fmla="*/ 12320 h 17365"/>
                  <a:gd name="connsiteX2" fmla="*/ 0 w 10091"/>
                  <a:gd name="connsiteY2" fmla="*/ 5046 h 17365"/>
                  <a:gd name="connsiteX3" fmla="*/ 5046 w 10091"/>
                  <a:gd name="connsiteY3" fmla="*/ 0 h 17365"/>
                  <a:gd name="connsiteX4" fmla="*/ 10092 w 10091"/>
                  <a:gd name="connsiteY4" fmla="*/ 5046 h 17365"/>
                  <a:gd name="connsiteX5" fmla="*/ 10092 w 10091"/>
                  <a:gd name="connsiteY5" fmla="*/ 12320 h 17365"/>
                  <a:gd name="connsiteX6" fmla="*/ 5046 w 10091"/>
                  <a:gd name="connsiteY6" fmla="*/ 17366 h 1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91" h="17365">
                    <a:moveTo>
                      <a:pt x="5046" y="17366"/>
                    </a:moveTo>
                    <a:cubicBezTo>
                      <a:pt x="2254" y="17366"/>
                      <a:pt x="0" y="15112"/>
                      <a:pt x="0" y="12320"/>
                    </a:cubicBezTo>
                    <a:lnTo>
                      <a:pt x="0" y="5046"/>
                    </a:lnTo>
                    <a:cubicBezTo>
                      <a:pt x="0" y="2254"/>
                      <a:pt x="2254" y="0"/>
                      <a:pt x="5046" y="0"/>
                    </a:cubicBezTo>
                    <a:cubicBezTo>
                      <a:pt x="7838" y="0"/>
                      <a:pt x="10092" y="2254"/>
                      <a:pt x="10092" y="5046"/>
                    </a:cubicBezTo>
                    <a:lnTo>
                      <a:pt x="10092" y="12320"/>
                    </a:lnTo>
                    <a:cubicBezTo>
                      <a:pt x="10092" y="15112"/>
                      <a:pt x="7838" y="17366"/>
                      <a:pt x="5046" y="17366"/>
                    </a:cubicBezTo>
                    <a:close/>
                  </a:path>
                </a:pathLst>
              </a:custGeom>
              <a:grpFill/>
              <a:ln w="2560" cap="flat">
                <a:noFill/>
                <a:prstDash val="solid"/>
                <a:miter/>
              </a:ln>
            </p:spPr>
            <p:txBody>
              <a:bodyPr rtlCol="0" anchor="ctr"/>
              <a:lstStyle/>
              <a:p>
                <a:endParaRPr lang="en-GB" dirty="0"/>
              </a:p>
            </p:txBody>
          </p:sp>
        </p:grpSp>
      </p:grpSp>
      <p:grpSp>
        <p:nvGrpSpPr>
          <p:cNvPr id="49" name="Group 48">
            <a:extLst>
              <a:ext uri="{FF2B5EF4-FFF2-40B4-BE49-F238E27FC236}">
                <a16:creationId xmlns:a16="http://schemas.microsoft.com/office/drawing/2014/main" id="{D8214697-E4D6-A436-B0C4-430F999E9473}"/>
              </a:ext>
            </a:extLst>
          </p:cNvPr>
          <p:cNvGrpSpPr/>
          <p:nvPr/>
        </p:nvGrpSpPr>
        <p:grpSpPr>
          <a:xfrm>
            <a:off x="6040230" y="3197067"/>
            <a:ext cx="432339" cy="432000"/>
            <a:chOff x="6039818" y="3197067"/>
            <a:chExt cx="432339" cy="432000"/>
          </a:xfrm>
        </p:grpSpPr>
        <p:grpSp>
          <p:nvGrpSpPr>
            <p:cNvPr id="466" name="Grafik 108">
              <a:extLst>
                <a:ext uri="{FF2B5EF4-FFF2-40B4-BE49-F238E27FC236}">
                  <a16:creationId xmlns:a16="http://schemas.microsoft.com/office/drawing/2014/main" id="{AE00A4D1-8C8E-440B-B4B4-90712DF1350E}"/>
                </a:ext>
              </a:extLst>
            </p:cNvPr>
            <p:cNvGrpSpPr/>
            <p:nvPr/>
          </p:nvGrpSpPr>
          <p:grpSpPr>
            <a:xfrm>
              <a:off x="6039818" y="3197067"/>
              <a:ext cx="432339" cy="432000"/>
              <a:chOff x="3355158" y="2459391"/>
              <a:chExt cx="491642" cy="491256"/>
            </a:xfrm>
            <a:solidFill>
              <a:schemeClr val="accent1"/>
            </a:solidFill>
          </p:grpSpPr>
          <p:grpSp>
            <p:nvGrpSpPr>
              <p:cNvPr id="471" name="Grafik 108">
                <a:extLst>
                  <a:ext uri="{FF2B5EF4-FFF2-40B4-BE49-F238E27FC236}">
                    <a16:creationId xmlns:a16="http://schemas.microsoft.com/office/drawing/2014/main" id="{7D00D8EA-86CD-43F7-A89B-E90224FE19E1}"/>
                  </a:ext>
                </a:extLst>
              </p:cNvPr>
              <p:cNvGrpSpPr/>
              <p:nvPr/>
            </p:nvGrpSpPr>
            <p:grpSpPr>
              <a:xfrm>
                <a:off x="3355158" y="2685692"/>
                <a:ext cx="491642" cy="264955"/>
                <a:chOff x="3355158" y="2685692"/>
                <a:chExt cx="491642" cy="264955"/>
              </a:xfrm>
              <a:solidFill>
                <a:schemeClr val="accent1"/>
              </a:solidFill>
            </p:grpSpPr>
            <p:sp>
              <p:nvSpPr>
                <p:cNvPr id="473" name="Freihandform: Form 387">
                  <a:extLst>
                    <a:ext uri="{FF2B5EF4-FFF2-40B4-BE49-F238E27FC236}">
                      <a16:creationId xmlns:a16="http://schemas.microsoft.com/office/drawing/2014/main" id="{1D7F0B99-9FDE-42D2-B645-B4E0190521EA}"/>
                    </a:ext>
                  </a:extLst>
                </p:cNvPr>
                <p:cNvSpPr/>
                <p:nvPr/>
              </p:nvSpPr>
              <p:spPr>
                <a:xfrm>
                  <a:off x="3611981" y="2685699"/>
                  <a:ext cx="234820" cy="264948"/>
                </a:xfrm>
                <a:custGeom>
                  <a:avLst/>
                  <a:gdLst>
                    <a:gd name="connsiteX0" fmla="*/ 117410 w 234820"/>
                    <a:gd name="connsiteY0" fmla="*/ 264949 h 264948"/>
                    <a:gd name="connsiteX1" fmla="*/ 114917 w 234820"/>
                    <a:gd name="connsiteY1" fmla="*/ 264271 h 264948"/>
                    <a:gd name="connsiteX2" fmla="*/ 2493 w 234820"/>
                    <a:gd name="connsiteY2" fmla="*/ 199375 h 264948"/>
                    <a:gd name="connsiteX3" fmla="*/ 0 w 234820"/>
                    <a:gd name="connsiteY3" fmla="*/ 195067 h 264948"/>
                    <a:gd name="connsiteX4" fmla="*/ 0 w 234820"/>
                    <a:gd name="connsiteY4" fmla="*/ 164908 h 264948"/>
                    <a:gd name="connsiteX5" fmla="*/ 4986 w 234820"/>
                    <a:gd name="connsiteY5" fmla="*/ 159922 h 264948"/>
                    <a:gd name="connsiteX6" fmla="*/ 9972 w 234820"/>
                    <a:gd name="connsiteY6" fmla="*/ 164908 h 264948"/>
                    <a:gd name="connsiteX7" fmla="*/ 9972 w 234820"/>
                    <a:gd name="connsiteY7" fmla="*/ 192194 h 264948"/>
                    <a:gd name="connsiteX8" fmla="*/ 117410 w 234820"/>
                    <a:gd name="connsiteY8" fmla="*/ 254219 h 264948"/>
                    <a:gd name="connsiteX9" fmla="*/ 224848 w 234820"/>
                    <a:gd name="connsiteY9" fmla="*/ 192194 h 264948"/>
                    <a:gd name="connsiteX10" fmla="*/ 224848 w 234820"/>
                    <a:gd name="connsiteY10" fmla="*/ 68173 h 264948"/>
                    <a:gd name="connsiteX11" fmla="*/ 121339 w 234820"/>
                    <a:gd name="connsiteY11" fmla="*/ 9319 h 264948"/>
                    <a:gd name="connsiteX12" fmla="*/ 119469 w 234820"/>
                    <a:gd name="connsiteY12" fmla="*/ 2517 h 264948"/>
                    <a:gd name="connsiteX13" fmla="*/ 126271 w 234820"/>
                    <a:gd name="connsiteY13" fmla="*/ 648 h 264948"/>
                    <a:gd name="connsiteX14" fmla="*/ 232300 w 234820"/>
                    <a:gd name="connsiteY14" fmla="*/ 60938 h 264948"/>
                    <a:gd name="connsiteX15" fmla="*/ 234820 w 234820"/>
                    <a:gd name="connsiteY15" fmla="*/ 65273 h 264948"/>
                    <a:gd name="connsiteX16" fmla="*/ 234820 w 234820"/>
                    <a:gd name="connsiteY16" fmla="*/ 195094 h 264948"/>
                    <a:gd name="connsiteX17" fmla="*/ 232327 w 234820"/>
                    <a:gd name="connsiteY17" fmla="*/ 199402 h 264948"/>
                    <a:gd name="connsiteX18" fmla="*/ 119903 w 234820"/>
                    <a:gd name="connsiteY18" fmla="*/ 264299 h 264948"/>
                    <a:gd name="connsiteX19" fmla="*/ 117410 w 234820"/>
                    <a:gd name="connsiteY19" fmla="*/ 264949 h 264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4820" h="264948">
                      <a:moveTo>
                        <a:pt x="117410" y="264949"/>
                      </a:moveTo>
                      <a:cubicBezTo>
                        <a:pt x="116543" y="264949"/>
                        <a:pt x="115703" y="264732"/>
                        <a:pt x="114917" y="264271"/>
                      </a:cubicBezTo>
                      <a:lnTo>
                        <a:pt x="2493" y="199375"/>
                      </a:lnTo>
                      <a:cubicBezTo>
                        <a:pt x="948" y="198481"/>
                        <a:pt x="0" y="196828"/>
                        <a:pt x="0" y="195067"/>
                      </a:cubicBezTo>
                      <a:lnTo>
                        <a:pt x="0" y="164908"/>
                      </a:lnTo>
                      <a:cubicBezTo>
                        <a:pt x="0" y="162144"/>
                        <a:pt x="2222" y="159922"/>
                        <a:pt x="4986" y="159922"/>
                      </a:cubicBezTo>
                      <a:cubicBezTo>
                        <a:pt x="7750" y="159922"/>
                        <a:pt x="9972" y="162144"/>
                        <a:pt x="9972" y="164908"/>
                      </a:cubicBezTo>
                      <a:lnTo>
                        <a:pt x="9972" y="192194"/>
                      </a:lnTo>
                      <a:lnTo>
                        <a:pt x="117410" y="254219"/>
                      </a:lnTo>
                      <a:lnTo>
                        <a:pt x="224848" y="192194"/>
                      </a:lnTo>
                      <a:lnTo>
                        <a:pt x="224848" y="68173"/>
                      </a:lnTo>
                      <a:lnTo>
                        <a:pt x="121339" y="9319"/>
                      </a:lnTo>
                      <a:cubicBezTo>
                        <a:pt x="118955" y="7964"/>
                        <a:pt x="118114" y="4929"/>
                        <a:pt x="119469" y="2517"/>
                      </a:cubicBezTo>
                      <a:cubicBezTo>
                        <a:pt x="120824" y="133"/>
                        <a:pt x="123886" y="-707"/>
                        <a:pt x="126271" y="648"/>
                      </a:cubicBezTo>
                      <a:lnTo>
                        <a:pt x="232300" y="60938"/>
                      </a:lnTo>
                      <a:cubicBezTo>
                        <a:pt x="233845" y="61832"/>
                        <a:pt x="234820" y="63485"/>
                        <a:pt x="234820" y="65273"/>
                      </a:cubicBezTo>
                      <a:lnTo>
                        <a:pt x="234820" y="195094"/>
                      </a:lnTo>
                      <a:cubicBezTo>
                        <a:pt x="234820" y="196882"/>
                        <a:pt x="233872" y="198508"/>
                        <a:pt x="232327" y="199402"/>
                      </a:cubicBezTo>
                      <a:lnTo>
                        <a:pt x="119903" y="264299"/>
                      </a:lnTo>
                      <a:cubicBezTo>
                        <a:pt x="119117" y="264705"/>
                        <a:pt x="118277" y="264949"/>
                        <a:pt x="117410" y="264949"/>
                      </a:cubicBezTo>
                      <a:close/>
                    </a:path>
                  </a:pathLst>
                </a:custGeom>
                <a:solidFill>
                  <a:schemeClr val="accent1"/>
                </a:solidFill>
                <a:ln w="2705" cap="flat">
                  <a:noFill/>
                  <a:prstDash val="solid"/>
                  <a:miter/>
                </a:ln>
              </p:spPr>
              <p:txBody>
                <a:bodyPr rtlCol="0" anchor="ctr"/>
                <a:lstStyle/>
                <a:p>
                  <a:endParaRPr lang="en-GB" dirty="0"/>
                </a:p>
              </p:txBody>
            </p:sp>
            <p:sp>
              <p:nvSpPr>
                <p:cNvPr id="474" name="Freihandform: Form 388">
                  <a:extLst>
                    <a:ext uri="{FF2B5EF4-FFF2-40B4-BE49-F238E27FC236}">
                      <a16:creationId xmlns:a16="http://schemas.microsoft.com/office/drawing/2014/main" id="{DE7126C9-EC00-4121-B0BA-15BDDC6C3D93}"/>
                    </a:ext>
                  </a:extLst>
                </p:cNvPr>
                <p:cNvSpPr/>
                <p:nvPr/>
              </p:nvSpPr>
              <p:spPr>
                <a:xfrm>
                  <a:off x="3355158" y="2685692"/>
                  <a:ext cx="234792" cy="264955"/>
                </a:xfrm>
                <a:custGeom>
                  <a:avLst/>
                  <a:gdLst>
                    <a:gd name="connsiteX0" fmla="*/ 117410 w 234792"/>
                    <a:gd name="connsiteY0" fmla="*/ 264956 h 264955"/>
                    <a:gd name="connsiteX1" fmla="*/ 114917 w 234792"/>
                    <a:gd name="connsiteY1" fmla="*/ 264278 h 264955"/>
                    <a:gd name="connsiteX2" fmla="*/ 2493 w 234792"/>
                    <a:gd name="connsiteY2" fmla="*/ 199382 h 264955"/>
                    <a:gd name="connsiteX3" fmla="*/ 0 w 234792"/>
                    <a:gd name="connsiteY3" fmla="*/ 195073 h 264955"/>
                    <a:gd name="connsiteX4" fmla="*/ 0 w 234792"/>
                    <a:gd name="connsiteY4" fmla="*/ 65253 h 264955"/>
                    <a:gd name="connsiteX5" fmla="*/ 2493 w 234792"/>
                    <a:gd name="connsiteY5" fmla="*/ 60945 h 264955"/>
                    <a:gd name="connsiteX6" fmla="*/ 107357 w 234792"/>
                    <a:gd name="connsiteY6" fmla="*/ 655 h 264955"/>
                    <a:gd name="connsiteX7" fmla="*/ 114158 w 234792"/>
                    <a:gd name="connsiteY7" fmla="*/ 2497 h 264955"/>
                    <a:gd name="connsiteX8" fmla="*/ 112316 w 234792"/>
                    <a:gd name="connsiteY8" fmla="*/ 9298 h 264955"/>
                    <a:gd name="connsiteX9" fmla="*/ 9944 w 234792"/>
                    <a:gd name="connsiteY9" fmla="*/ 68152 h 264955"/>
                    <a:gd name="connsiteX10" fmla="*/ 9944 w 234792"/>
                    <a:gd name="connsiteY10" fmla="*/ 192201 h 264955"/>
                    <a:gd name="connsiteX11" fmla="*/ 117383 w 234792"/>
                    <a:gd name="connsiteY11" fmla="*/ 254225 h 264955"/>
                    <a:gd name="connsiteX12" fmla="*/ 224821 w 234792"/>
                    <a:gd name="connsiteY12" fmla="*/ 192201 h 264955"/>
                    <a:gd name="connsiteX13" fmla="*/ 224821 w 234792"/>
                    <a:gd name="connsiteY13" fmla="*/ 164915 h 264955"/>
                    <a:gd name="connsiteX14" fmla="*/ 229807 w 234792"/>
                    <a:gd name="connsiteY14" fmla="*/ 159929 h 264955"/>
                    <a:gd name="connsiteX15" fmla="*/ 234793 w 234792"/>
                    <a:gd name="connsiteY15" fmla="*/ 164915 h 264955"/>
                    <a:gd name="connsiteX16" fmla="*/ 234793 w 234792"/>
                    <a:gd name="connsiteY16" fmla="*/ 195073 h 264955"/>
                    <a:gd name="connsiteX17" fmla="*/ 232300 w 234792"/>
                    <a:gd name="connsiteY17" fmla="*/ 199382 h 264955"/>
                    <a:gd name="connsiteX18" fmla="*/ 119876 w 234792"/>
                    <a:gd name="connsiteY18" fmla="*/ 264278 h 264955"/>
                    <a:gd name="connsiteX19" fmla="*/ 117410 w 234792"/>
                    <a:gd name="connsiteY19" fmla="*/ 264956 h 264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34792" h="264955">
                      <a:moveTo>
                        <a:pt x="117410" y="264956"/>
                      </a:moveTo>
                      <a:cubicBezTo>
                        <a:pt x="116543" y="264956"/>
                        <a:pt x="115703" y="264739"/>
                        <a:pt x="114917" y="264278"/>
                      </a:cubicBezTo>
                      <a:lnTo>
                        <a:pt x="2493" y="199382"/>
                      </a:lnTo>
                      <a:cubicBezTo>
                        <a:pt x="948" y="198487"/>
                        <a:pt x="0" y="196835"/>
                        <a:pt x="0" y="195073"/>
                      </a:cubicBezTo>
                      <a:lnTo>
                        <a:pt x="0" y="65253"/>
                      </a:lnTo>
                      <a:cubicBezTo>
                        <a:pt x="0" y="63465"/>
                        <a:pt x="948" y="61812"/>
                        <a:pt x="2493" y="60945"/>
                      </a:cubicBezTo>
                      <a:lnTo>
                        <a:pt x="107357" y="655"/>
                      </a:lnTo>
                      <a:cubicBezTo>
                        <a:pt x="109742" y="-700"/>
                        <a:pt x="112804" y="113"/>
                        <a:pt x="114158" y="2497"/>
                      </a:cubicBezTo>
                      <a:cubicBezTo>
                        <a:pt x="115540" y="4882"/>
                        <a:pt x="114700" y="7944"/>
                        <a:pt x="112316" y="9298"/>
                      </a:cubicBezTo>
                      <a:lnTo>
                        <a:pt x="9944" y="68152"/>
                      </a:lnTo>
                      <a:lnTo>
                        <a:pt x="9944" y="192201"/>
                      </a:lnTo>
                      <a:lnTo>
                        <a:pt x="117383" y="254225"/>
                      </a:lnTo>
                      <a:lnTo>
                        <a:pt x="224821" y="192201"/>
                      </a:lnTo>
                      <a:lnTo>
                        <a:pt x="224821" y="164915"/>
                      </a:lnTo>
                      <a:cubicBezTo>
                        <a:pt x="224821" y="162151"/>
                        <a:pt x="227043" y="159929"/>
                        <a:pt x="229807" y="159929"/>
                      </a:cubicBezTo>
                      <a:cubicBezTo>
                        <a:pt x="232571" y="159929"/>
                        <a:pt x="234793" y="162151"/>
                        <a:pt x="234793" y="164915"/>
                      </a:cubicBezTo>
                      <a:lnTo>
                        <a:pt x="234793" y="195073"/>
                      </a:lnTo>
                      <a:cubicBezTo>
                        <a:pt x="234793" y="196862"/>
                        <a:pt x="233844" y="198487"/>
                        <a:pt x="232300" y="199382"/>
                      </a:cubicBezTo>
                      <a:lnTo>
                        <a:pt x="119876" y="264278"/>
                      </a:lnTo>
                      <a:cubicBezTo>
                        <a:pt x="119144" y="264712"/>
                        <a:pt x="118277" y="264956"/>
                        <a:pt x="117410" y="264956"/>
                      </a:cubicBezTo>
                      <a:close/>
                    </a:path>
                  </a:pathLst>
                </a:custGeom>
                <a:solidFill>
                  <a:schemeClr val="accent1"/>
                </a:solidFill>
                <a:ln w="2705" cap="flat">
                  <a:noFill/>
                  <a:prstDash val="solid"/>
                  <a:miter/>
                </a:ln>
              </p:spPr>
              <p:txBody>
                <a:bodyPr rtlCol="0" anchor="ctr"/>
                <a:lstStyle/>
                <a:p>
                  <a:endParaRPr lang="en-GB" dirty="0"/>
                </a:p>
              </p:txBody>
            </p:sp>
          </p:grpSp>
          <p:sp>
            <p:nvSpPr>
              <p:cNvPr id="472" name="Freihandform: Form 389">
                <a:extLst>
                  <a:ext uri="{FF2B5EF4-FFF2-40B4-BE49-F238E27FC236}">
                    <a16:creationId xmlns:a16="http://schemas.microsoft.com/office/drawing/2014/main" id="{0756B049-6350-4C32-9BFB-8EA7556873C9}"/>
                  </a:ext>
                </a:extLst>
              </p:cNvPr>
              <p:cNvSpPr/>
              <p:nvPr/>
            </p:nvSpPr>
            <p:spPr>
              <a:xfrm>
                <a:off x="3483570" y="2459391"/>
                <a:ext cx="234819" cy="171461"/>
              </a:xfrm>
              <a:custGeom>
                <a:avLst/>
                <a:gdLst>
                  <a:gd name="connsiteX0" fmla="*/ 229834 w 234819"/>
                  <a:gd name="connsiteY0" fmla="*/ 171461 h 171461"/>
                  <a:gd name="connsiteX1" fmla="*/ 224848 w 234819"/>
                  <a:gd name="connsiteY1" fmla="*/ 166475 h 171461"/>
                  <a:gd name="connsiteX2" fmla="*/ 224848 w 234819"/>
                  <a:gd name="connsiteY2" fmla="*/ 72748 h 171461"/>
                  <a:gd name="connsiteX3" fmla="*/ 117410 w 234819"/>
                  <a:gd name="connsiteY3" fmla="*/ 10723 h 171461"/>
                  <a:gd name="connsiteX4" fmla="*/ 9972 w 234819"/>
                  <a:gd name="connsiteY4" fmla="*/ 72748 h 171461"/>
                  <a:gd name="connsiteX5" fmla="*/ 9972 w 234819"/>
                  <a:gd name="connsiteY5" fmla="*/ 166475 h 171461"/>
                  <a:gd name="connsiteX6" fmla="*/ 4986 w 234819"/>
                  <a:gd name="connsiteY6" fmla="*/ 171461 h 171461"/>
                  <a:gd name="connsiteX7" fmla="*/ 0 w 234819"/>
                  <a:gd name="connsiteY7" fmla="*/ 166475 h 171461"/>
                  <a:gd name="connsiteX8" fmla="*/ 0 w 234819"/>
                  <a:gd name="connsiteY8" fmla="*/ 69876 h 171461"/>
                  <a:gd name="connsiteX9" fmla="*/ 2493 w 234819"/>
                  <a:gd name="connsiteY9" fmla="*/ 65567 h 171461"/>
                  <a:gd name="connsiteX10" fmla="*/ 114917 w 234819"/>
                  <a:gd name="connsiteY10" fmla="*/ 671 h 171461"/>
                  <a:gd name="connsiteX11" fmla="*/ 119903 w 234819"/>
                  <a:gd name="connsiteY11" fmla="*/ 671 h 171461"/>
                  <a:gd name="connsiteX12" fmla="*/ 232327 w 234819"/>
                  <a:gd name="connsiteY12" fmla="*/ 65567 h 171461"/>
                  <a:gd name="connsiteX13" fmla="*/ 234820 w 234819"/>
                  <a:gd name="connsiteY13" fmla="*/ 69876 h 171461"/>
                  <a:gd name="connsiteX14" fmla="*/ 234820 w 234819"/>
                  <a:gd name="connsiteY14" fmla="*/ 166475 h 171461"/>
                  <a:gd name="connsiteX15" fmla="*/ 229834 w 234819"/>
                  <a:gd name="connsiteY15" fmla="*/ 171461 h 171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4819" h="171461">
                    <a:moveTo>
                      <a:pt x="229834" y="171461"/>
                    </a:moveTo>
                    <a:cubicBezTo>
                      <a:pt x="227070" y="171461"/>
                      <a:pt x="224848" y="169239"/>
                      <a:pt x="224848" y="166475"/>
                    </a:cubicBezTo>
                    <a:lnTo>
                      <a:pt x="224848" y="72748"/>
                    </a:lnTo>
                    <a:lnTo>
                      <a:pt x="117410" y="10723"/>
                    </a:lnTo>
                    <a:lnTo>
                      <a:pt x="9972" y="72748"/>
                    </a:lnTo>
                    <a:lnTo>
                      <a:pt x="9972" y="166475"/>
                    </a:lnTo>
                    <a:cubicBezTo>
                      <a:pt x="9972" y="169239"/>
                      <a:pt x="7750" y="171461"/>
                      <a:pt x="4986" y="171461"/>
                    </a:cubicBezTo>
                    <a:cubicBezTo>
                      <a:pt x="2222" y="171461"/>
                      <a:pt x="0" y="169239"/>
                      <a:pt x="0" y="166475"/>
                    </a:cubicBezTo>
                    <a:lnTo>
                      <a:pt x="0" y="69876"/>
                    </a:lnTo>
                    <a:cubicBezTo>
                      <a:pt x="0" y="68087"/>
                      <a:pt x="948" y="66461"/>
                      <a:pt x="2493" y="65567"/>
                    </a:cubicBezTo>
                    <a:lnTo>
                      <a:pt x="114917" y="671"/>
                    </a:lnTo>
                    <a:cubicBezTo>
                      <a:pt x="116461" y="-224"/>
                      <a:pt x="118358" y="-224"/>
                      <a:pt x="119903" y="671"/>
                    </a:cubicBezTo>
                    <a:lnTo>
                      <a:pt x="232327" y="65567"/>
                    </a:lnTo>
                    <a:cubicBezTo>
                      <a:pt x="233872" y="66461"/>
                      <a:pt x="234820" y="68114"/>
                      <a:pt x="234820" y="69876"/>
                    </a:cubicBezTo>
                    <a:lnTo>
                      <a:pt x="234820" y="166475"/>
                    </a:lnTo>
                    <a:cubicBezTo>
                      <a:pt x="234820" y="169239"/>
                      <a:pt x="232571" y="171461"/>
                      <a:pt x="229834" y="171461"/>
                    </a:cubicBezTo>
                    <a:close/>
                  </a:path>
                </a:pathLst>
              </a:custGeom>
              <a:solidFill>
                <a:schemeClr val="accent1"/>
              </a:solidFill>
              <a:ln w="2705" cap="flat">
                <a:noFill/>
                <a:prstDash val="solid"/>
                <a:miter/>
              </a:ln>
            </p:spPr>
            <p:txBody>
              <a:bodyPr rtlCol="0" anchor="ctr"/>
              <a:lstStyle/>
              <a:p>
                <a:endParaRPr lang="en-GB" dirty="0"/>
              </a:p>
            </p:txBody>
          </p:sp>
        </p:grpSp>
        <p:grpSp>
          <p:nvGrpSpPr>
            <p:cNvPr id="467" name="Grafik 108">
              <a:extLst>
                <a:ext uri="{FF2B5EF4-FFF2-40B4-BE49-F238E27FC236}">
                  <a16:creationId xmlns:a16="http://schemas.microsoft.com/office/drawing/2014/main" id="{918D6141-468B-471D-9125-F3C740D6990C}"/>
                </a:ext>
              </a:extLst>
            </p:cNvPr>
            <p:cNvGrpSpPr/>
            <p:nvPr/>
          </p:nvGrpSpPr>
          <p:grpSpPr>
            <a:xfrm>
              <a:off x="6146580" y="3310261"/>
              <a:ext cx="216222" cy="216249"/>
              <a:chOff x="3476569" y="2588112"/>
              <a:chExt cx="245881" cy="245911"/>
            </a:xfrm>
            <a:solidFill>
              <a:schemeClr val="tx2"/>
            </a:solidFill>
          </p:grpSpPr>
          <p:sp>
            <p:nvSpPr>
              <p:cNvPr id="468" name="Freihandform: Form 391">
                <a:extLst>
                  <a:ext uri="{FF2B5EF4-FFF2-40B4-BE49-F238E27FC236}">
                    <a16:creationId xmlns:a16="http://schemas.microsoft.com/office/drawing/2014/main" id="{D275DFB1-1DEF-44E1-8758-543F64B848BA}"/>
                  </a:ext>
                </a:extLst>
              </p:cNvPr>
              <p:cNvSpPr/>
              <p:nvPr/>
            </p:nvSpPr>
            <p:spPr>
              <a:xfrm>
                <a:off x="3476569" y="2588112"/>
                <a:ext cx="245881" cy="245911"/>
              </a:xfrm>
              <a:custGeom>
                <a:avLst/>
                <a:gdLst>
                  <a:gd name="connsiteX0" fmla="*/ 91108 w 245881"/>
                  <a:gd name="connsiteY0" fmla="*/ 245912 h 245911"/>
                  <a:gd name="connsiteX1" fmla="*/ 89266 w 245881"/>
                  <a:gd name="connsiteY1" fmla="*/ 245559 h 245911"/>
                  <a:gd name="connsiteX2" fmla="*/ 62738 w 245881"/>
                  <a:gd name="connsiteY2" fmla="*/ 234992 h 245911"/>
                  <a:gd name="connsiteX3" fmla="*/ 60001 w 245881"/>
                  <a:gd name="connsiteY3" fmla="*/ 232336 h 245911"/>
                  <a:gd name="connsiteX4" fmla="*/ 59947 w 245881"/>
                  <a:gd name="connsiteY4" fmla="*/ 228516 h 245911"/>
                  <a:gd name="connsiteX5" fmla="*/ 70298 w 245881"/>
                  <a:gd name="connsiteY5" fmla="*/ 202611 h 245911"/>
                  <a:gd name="connsiteX6" fmla="*/ 43499 w 245881"/>
                  <a:gd name="connsiteY6" fmla="*/ 175894 h 245911"/>
                  <a:gd name="connsiteX7" fmla="*/ 17622 w 245881"/>
                  <a:gd name="connsiteY7" fmla="*/ 186326 h 245911"/>
                  <a:gd name="connsiteX8" fmla="*/ 11146 w 245881"/>
                  <a:gd name="connsiteY8" fmla="*/ 183562 h 245911"/>
                  <a:gd name="connsiteX9" fmla="*/ 416 w 245881"/>
                  <a:gd name="connsiteY9" fmla="*/ 157062 h 245911"/>
                  <a:gd name="connsiteX10" fmla="*/ 443 w 245881"/>
                  <a:gd name="connsiteY10" fmla="*/ 153241 h 245911"/>
                  <a:gd name="connsiteX11" fmla="*/ 3180 w 245881"/>
                  <a:gd name="connsiteY11" fmla="*/ 150559 h 245911"/>
                  <a:gd name="connsiteX12" fmla="*/ 29084 w 245881"/>
                  <a:gd name="connsiteY12" fmla="*/ 140099 h 245911"/>
                  <a:gd name="connsiteX13" fmla="*/ 29003 w 245881"/>
                  <a:gd name="connsiteY13" fmla="*/ 106120 h 245911"/>
                  <a:gd name="connsiteX14" fmla="*/ 3125 w 245881"/>
                  <a:gd name="connsiteY14" fmla="*/ 95742 h 245911"/>
                  <a:gd name="connsiteX15" fmla="*/ 362 w 245881"/>
                  <a:gd name="connsiteY15" fmla="*/ 89266 h 245911"/>
                  <a:gd name="connsiteX16" fmla="*/ 10956 w 245881"/>
                  <a:gd name="connsiteY16" fmla="*/ 62738 h 245911"/>
                  <a:gd name="connsiteX17" fmla="*/ 13612 w 245881"/>
                  <a:gd name="connsiteY17" fmla="*/ 60001 h 245911"/>
                  <a:gd name="connsiteX18" fmla="*/ 17432 w 245881"/>
                  <a:gd name="connsiteY18" fmla="*/ 59947 h 245911"/>
                  <a:gd name="connsiteX19" fmla="*/ 43310 w 245881"/>
                  <a:gd name="connsiteY19" fmla="*/ 70298 h 245911"/>
                  <a:gd name="connsiteX20" fmla="*/ 66857 w 245881"/>
                  <a:gd name="connsiteY20" fmla="*/ 45749 h 245911"/>
                  <a:gd name="connsiteX21" fmla="*/ 55314 w 245881"/>
                  <a:gd name="connsiteY21" fmla="*/ 20305 h 245911"/>
                  <a:gd name="connsiteX22" fmla="*/ 55178 w 245881"/>
                  <a:gd name="connsiteY22" fmla="*/ 16484 h 245911"/>
                  <a:gd name="connsiteX23" fmla="*/ 57807 w 245881"/>
                  <a:gd name="connsiteY23" fmla="*/ 13693 h 245911"/>
                  <a:gd name="connsiteX24" fmla="*/ 83846 w 245881"/>
                  <a:gd name="connsiteY24" fmla="*/ 1960 h 245911"/>
                  <a:gd name="connsiteX25" fmla="*/ 90431 w 245881"/>
                  <a:gd name="connsiteY25" fmla="*/ 4453 h 245911"/>
                  <a:gd name="connsiteX26" fmla="*/ 101947 w 245881"/>
                  <a:gd name="connsiteY26" fmla="*/ 29870 h 245911"/>
                  <a:gd name="connsiteX27" fmla="*/ 139774 w 245881"/>
                  <a:gd name="connsiteY27" fmla="*/ 29003 h 245911"/>
                  <a:gd name="connsiteX28" fmla="*/ 150152 w 245881"/>
                  <a:gd name="connsiteY28" fmla="*/ 3125 h 245911"/>
                  <a:gd name="connsiteX29" fmla="*/ 156628 w 245881"/>
                  <a:gd name="connsiteY29" fmla="*/ 362 h 245911"/>
                  <a:gd name="connsiteX30" fmla="*/ 183102 w 245881"/>
                  <a:gd name="connsiteY30" fmla="*/ 10956 h 245911"/>
                  <a:gd name="connsiteX31" fmla="*/ 185838 w 245881"/>
                  <a:gd name="connsiteY31" fmla="*/ 13612 h 245911"/>
                  <a:gd name="connsiteX32" fmla="*/ 185893 w 245881"/>
                  <a:gd name="connsiteY32" fmla="*/ 17432 h 245911"/>
                  <a:gd name="connsiteX33" fmla="*/ 175515 w 245881"/>
                  <a:gd name="connsiteY33" fmla="*/ 43337 h 245911"/>
                  <a:gd name="connsiteX34" fmla="*/ 202286 w 245881"/>
                  <a:gd name="connsiteY34" fmla="*/ 70054 h 245911"/>
                  <a:gd name="connsiteX35" fmla="*/ 228190 w 245881"/>
                  <a:gd name="connsiteY35" fmla="*/ 59649 h 245911"/>
                  <a:gd name="connsiteX36" fmla="*/ 234667 w 245881"/>
                  <a:gd name="connsiteY36" fmla="*/ 62413 h 245911"/>
                  <a:gd name="connsiteX37" fmla="*/ 245370 w 245881"/>
                  <a:gd name="connsiteY37" fmla="*/ 88832 h 245911"/>
                  <a:gd name="connsiteX38" fmla="*/ 245343 w 245881"/>
                  <a:gd name="connsiteY38" fmla="*/ 92653 h 245911"/>
                  <a:gd name="connsiteX39" fmla="*/ 242606 w 245881"/>
                  <a:gd name="connsiteY39" fmla="*/ 95335 h 245911"/>
                  <a:gd name="connsiteX40" fmla="*/ 216729 w 245881"/>
                  <a:gd name="connsiteY40" fmla="*/ 105795 h 245911"/>
                  <a:gd name="connsiteX41" fmla="*/ 216810 w 245881"/>
                  <a:gd name="connsiteY41" fmla="*/ 139774 h 245911"/>
                  <a:gd name="connsiteX42" fmla="*/ 242741 w 245881"/>
                  <a:gd name="connsiteY42" fmla="*/ 150152 h 245911"/>
                  <a:gd name="connsiteX43" fmla="*/ 245478 w 245881"/>
                  <a:gd name="connsiteY43" fmla="*/ 152807 h 245911"/>
                  <a:gd name="connsiteX44" fmla="*/ 245532 w 245881"/>
                  <a:gd name="connsiteY44" fmla="*/ 156628 h 245911"/>
                  <a:gd name="connsiteX45" fmla="*/ 234883 w 245881"/>
                  <a:gd name="connsiteY45" fmla="*/ 183156 h 245911"/>
                  <a:gd name="connsiteX46" fmla="*/ 228407 w 245881"/>
                  <a:gd name="connsiteY46" fmla="*/ 185920 h 245911"/>
                  <a:gd name="connsiteX47" fmla="*/ 202530 w 245881"/>
                  <a:gd name="connsiteY47" fmla="*/ 175542 h 245911"/>
                  <a:gd name="connsiteX48" fmla="*/ 179037 w 245881"/>
                  <a:gd name="connsiteY48" fmla="*/ 200091 h 245911"/>
                  <a:gd name="connsiteX49" fmla="*/ 190553 w 245881"/>
                  <a:gd name="connsiteY49" fmla="*/ 225535 h 245911"/>
                  <a:gd name="connsiteX50" fmla="*/ 188060 w 245881"/>
                  <a:gd name="connsiteY50" fmla="*/ 232120 h 245911"/>
                  <a:gd name="connsiteX51" fmla="*/ 162048 w 245881"/>
                  <a:gd name="connsiteY51" fmla="*/ 243907 h 245911"/>
                  <a:gd name="connsiteX52" fmla="*/ 155463 w 245881"/>
                  <a:gd name="connsiteY52" fmla="*/ 241414 h 245911"/>
                  <a:gd name="connsiteX53" fmla="*/ 143947 w 245881"/>
                  <a:gd name="connsiteY53" fmla="*/ 215970 h 245911"/>
                  <a:gd name="connsiteX54" fmla="*/ 106120 w 245881"/>
                  <a:gd name="connsiteY54" fmla="*/ 216837 h 245911"/>
                  <a:gd name="connsiteX55" fmla="*/ 95769 w 245881"/>
                  <a:gd name="connsiteY55" fmla="*/ 242714 h 245911"/>
                  <a:gd name="connsiteX56" fmla="*/ 91108 w 245881"/>
                  <a:gd name="connsiteY56" fmla="*/ 245912 h 245911"/>
                  <a:gd name="connsiteX57" fmla="*/ 71057 w 245881"/>
                  <a:gd name="connsiteY57" fmla="*/ 227594 h 245911"/>
                  <a:gd name="connsiteX58" fmla="*/ 88317 w 245881"/>
                  <a:gd name="connsiteY58" fmla="*/ 234477 h 245911"/>
                  <a:gd name="connsiteX59" fmla="*/ 98343 w 245881"/>
                  <a:gd name="connsiteY59" fmla="*/ 209385 h 245911"/>
                  <a:gd name="connsiteX60" fmla="*/ 104061 w 245881"/>
                  <a:gd name="connsiteY60" fmla="*/ 206378 h 245911"/>
                  <a:gd name="connsiteX61" fmla="*/ 145383 w 245881"/>
                  <a:gd name="connsiteY61" fmla="*/ 205429 h 245911"/>
                  <a:gd name="connsiteX62" fmla="*/ 151236 w 245881"/>
                  <a:gd name="connsiteY62" fmla="*/ 208193 h 245911"/>
                  <a:gd name="connsiteX63" fmla="*/ 162400 w 245881"/>
                  <a:gd name="connsiteY63" fmla="*/ 232878 h 245911"/>
                  <a:gd name="connsiteX64" fmla="*/ 179335 w 245881"/>
                  <a:gd name="connsiteY64" fmla="*/ 225210 h 245911"/>
                  <a:gd name="connsiteX65" fmla="*/ 168171 w 245881"/>
                  <a:gd name="connsiteY65" fmla="*/ 200498 h 245911"/>
                  <a:gd name="connsiteX66" fmla="*/ 169987 w 245881"/>
                  <a:gd name="connsiteY66" fmla="*/ 194293 h 245911"/>
                  <a:gd name="connsiteX67" fmla="*/ 196189 w 245881"/>
                  <a:gd name="connsiteY67" fmla="*/ 166925 h 245911"/>
                  <a:gd name="connsiteX68" fmla="*/ 202313 w 245881"/>
                  <a:gd name="connsiteY68" fmla="*/ 164866 h 245911"/>
                  <a:gd name="connsiteX69" fmla="*/ 227432 w 245881"/>
                  <a:gd name="connsiteY69" fmla="*/ 174946 h 245911"/>
                  <a:gd name="connsiteX70" fmla="*/ 234369 w 245881"/>
                  <a:gd name="connsiteY70" fmla="*/ 157658 h 245911"/>
                  <a:gd name="connsiteX71" fmla="*/ 209223 w 245881"/>
                  <a:gd name="connsiteY71" fmla="*/ 147605 h 245911"/>
                  <a:gd name="connsiteX72" fmla="*/ 206215 w 245881"/>
                  <a:gd name="connsiteY72" fmla="*/ 141888 h 245911"/>
                  <a:gd name="connsiteX73" fmla="*/ 206107 w 245881"/>
                  <a:gd name="connsiteY73" fmla="*/ 104006 h 245911"/>
                  <a:gd name="connsiteX74" fmla="*/ 209087 w 245881"/>
                  <a:gd name="connsiteY74" fmla="*/ 98235 h 245911"/>
                  <a:gd name="connsiteX75" fmla="*/ 234206 w 245881"/>
                  <a:gd name="connsiteY75" fmla="*/ 88074 h 245911"/>
                  <a:gd name="connsiteX76" fmla="*/ 227242 w 245881"/>
                  <a:gd name="connsiteY76" fmla="*/ 70867 h 245911"/>
                  <a:gd name="connsiteX77" fmla="*/ 202096 w 245881"/>
                  <a:gd name="connsiteY77" fmla="*/ 80974 h 245911"/>
                  <a:gd name="connsiteX78" fmla="*/ 195972 w 245881"/>
                  <a:gd name="connsiteY78" fmla="*/ 78915 h 245911"/>
                  <a:gd name="connsiteX79" fmla="*/ 166735 w 245881"/>
                  <a:gd name="connsiteY79" fmla="*/ 49759 h 245911"/>
                  <a:gd name="connsiteX80" fmla="*/ 164649 w 245881"/>
                  <a:gd name="connsiteY80" fmla="*/ 43635 h 245911"/>
                  <a:gd name="connsiteX81" fmla="*/ 174702 w 245881"/>
                  <a:gd name="connsiteY81" fmla="*/ 18489 h 245911"/>
                  <a:gd name="connsiteX82" fmla="*/ 157468 w 245881"/>
                  <a:gd name="connsiteY82" fmla="*/ 11607 h 245911"/>
                  <a:gd name="connsiteX83" fmla="*/ 147415 w 245881"/>
                  <a:gd name="connsiteY83" fmla="*/ 36725 h 245911"/>
                  <a:gd name="connsiteX84" fmla="*/ 141698 w 245881"/>
                  <a:gd name="connsiteY84" fmla="*/ 39733 h 245911"/>
                  <a:gd name="connsiteX85" fmla="*/ 100376 w 245881"/>
                  <a:gd name="connsiteY85" fmla="*/ 40681 h 245911"/>
                  <a:gd name="connsiteX86" fmla="*/ 94495 w 245881"/>
                  <a:gd name="connsiteY86" fmla="*/ 37945 h 245911"/>
                  <a:gd name="connsiteX87" fmla="*/ 83332 w 245881"/>
                  <a:gd name="connsiteY87" fmla="*/ 13260 h 245911"/>
                  <a:gd name="connsiteX88" fmla="*/ 66369 w 245881"/>
                  <a:gd name="connsiteY88" fmla="*/ 20901 h 245911"/>
                  <a:gd name="connsiteX89" fmla="*/ 77587 w 245881"/>
                  <a:gd name="connsiteY89" fmla="*/ 45586 h 245911"/>
                  <a:gd name="connsiteX90" fmla="*/ 75799 w 245881"/>
                  <a:gd name="connsiteY90" fmla="*/ 51818 h 245911"/>
                  <a:gd name="connsiteX91" fmla="*/ 49542 w 245881"/>
                  <a:gd name="connsiteY91" fmla="*/ 79213 h 245911"/>
                  <a:gd name="connsiteX92" fmla="*/ 43391 w 245881"/>
                  <a:gd name="connsiteY92" fmla="*/ 81272 h 245911"/>
                  <a:gd name="connsiteX93" fmla="*/ 18272 w 245881"/>
                  <a:gd name="connsiteY93" fmla="*/ 71219 h 245911"/>
                  <a:gd name="connsiteX94" fmla="*/ 11363 w 245881"/>
                  <a:gd name="connsiteY94" fmla="*/ 88480 h 245911"/>
                  <a:gd name="connsiteX95" fmla="*/ 36481 w 245881"/>
                  <a:gd name="connsiteY95" fmla="*/ 98560 h 245911"/>
                  <a:gd name="connsiteX96" fmla="*/ 39489 w 245881"/>
                  <a:gd name="connsiteY96" fmla="*/ 104277 h 245911"/>
                  <a:gd name="connsiteX97" fmla="*/ 39598 w 245881"/>
                  <a:gd name="connsiteY97" fmla="*/ 142159 h 245911"/>
                  <a:gd name="connsiteX98" fmla="*/ 36617 w 245881"/>
                  <a:gd name="connsiteY98" fmla="*/ 147930 h 245911"/>
                  <a:gd name="connsiteX99" fmla="*/ 11444 w 245881"/>
                  <a:gd name="connsiteY99" fmla="*/ 158064 h 245911"/>
                  <a:gd name="connsiteX100" fmla="*/ 18435 w 245881"/>
                  <a:gd name="connsiteY100" fmla="*/ 175325 h 245911"/>
                  <a:gd name="connsiteX101" fmla="*/ 43554 w 245881"/>
                  <a:gd name="connsiteY101" fmla="*/ 165191 h 245911"/>
                  <a:gd name="connsiteX102" fmla="*/ 49678 w 245881"/>
                  <a:gd name="connsiteY102" fmla="*/ 167223 h 245911"/>
                  <a:gd name="connsiteX103" fmla="*/ 78942 w 245881"/>
                  <a:gd name="connsiteY103" fmla="*/ 196406 h 245911"/>
                  <a:gd name="connsiteX104" fmla="*/ 81001 w 245881"/>
                  <a:gd name="connsiteY104" fmla="*/ 202530 h 245911"/>
                  <a:gd name="connsiteX105" fmla="*/ 71057 w 245881"/>
                  <a:gd name="connsiteY105" fmla="*/ 227594 h 245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245881" h="245911">
                    <a:moveTo>
                      <a:pt x="91108" y="245912"/>
                    </a:moveTo>
                    <a:cubicBezTo>
                      <a:pt x="90485" y="245912"/>
                      <a:pt x="89862" y="245803"/>
                      <a:pt x="89266" y="245559"/>
                    </a:cubicBezTo>
                    <a:lnTo>
                      <a:pt x="62738" y="234992"/>
                    </a:lnTo>
                    <a:cubicBezTo>
                      <a:pt x="61519" y="234504"/>
                      <a:pt x="60516" y="233556"/>
                      <a:pt x="60001" y="232336"/>
                    </a:cubicBezTo>
                    <a:cubicBezTo>
                      <a:pt x="59487" y="231117"/>
                      <a:pt x="59459" y="229735"/>
                      <a:pt x="59947" y="228516"/>
                    </a:cubicBezTo>
                    <a:lnTo>
                      <a:pt x="70298" y="202611"/>
                    </a:lnTo>
                    <a:cubicBezTo>
                      <a:pt x="59757" y="195647"/>
                      <a:pt x="50599" y="186516"/>
                      <a:pt x="43499" y="175894"/>
                    </a:cubicBezTo>
                    <a:lnTo>
                      <a:pt x="17622" y="186326"/>
                    </a:lnTo>
                    <a:cubicBezTo>
                      <a:pt x="15075" y="187329"/>
                      <a:pt x="12176" y="186136"/>
                      <a:pt x="11146" y="183562"/>
                    </a:cubicBezTo>
                    <a:lnTo>
                      <a:pt x="416" y="157062"/>
                    </a:lnTo>
                    <a:cubicBezTo>
                      <a:pt x="-72" y="155842"/>
                      <a:pt x="-72" y="154460"/>
                      <a:pt x="443" y="153241"/>
                    </a:cubicBezTo>
                    <a:cubicBezTo>
                      <a:pt x="958" y="152022"/>
                      <a:pt x="1933" y="151073"/>
                      <a:pt x="3180" y="150559"/>
                    </a:cubicBezTo>
                    <a:lnTo>
                      <a:pt x="29084" y="140099"/>
                    </a:lnTo>
                    <a:cubicBezTo>
                      <a:pt x="27025" y="128962"/>
                      <a:pt x="26971" y="117365"/>
                      <a:pt x="29003" y="106120"/>
                    </a:cubicBezTo>
                    <a:lnTo>
                      <a:pt x="3125" y="95742"/>
                    </a:lnTo>
                    <a:cubicBezTo>
                      <a:pt x="578" y="94712"/>
                      <a:pt x="-668" y="91813"/>
                      <a:pt x="362" y="89266"/>
                    </a:cubicBezTo>
                    <a:lnTo>
                      <a:pt x="10956" y="62738"/>
                    </a:lnTo>
                    <a:cubicBezTo>
                      <a:pt x="11444" y="61519"/>
                      <a:pt x="12393" y="60516"/>
                      <a:pt x="13612" y="60001"/>
                    </a:cubicBezTo>
                    <a:cubicBezTo>
                      <a:pt x="14831" y="59486"/>
                      <a:pt x="16186" y="59459"/>
                      <a:pt x="17432" y="59947"/>
                    </a:cubicBezTo>
                    <a:lnTo>
                      <a:pt x="43310" y="70298"/>
                    </a:lnTo>
                    <a:cubicBezTo>
                      <a:pt x="49623" y="60733"/>
                      <a:pt x="57508" y="52496"/>
                      <a:pt x="66857" y="45749"/>
                    </a:cubicBezTo>
                    <a:lnTo>
                      <a:pt x="55314" y="20305"/>
                    </a:lnTo>
                    <a:cubicBezTo>
                      <a:pt x="54772" y="19112"/>
                      <a:pt x="54718" y="17730"/>
                      <a:pt x="55178" y="16484"/>
                    </a:cubicBezTo>
                    <a:cubicBezTo>
                      <a:pt x="55639" y="15238"/>
                      <a:pt x="56587" y="14235"/>
                      <a:pt x="57807" y="13693"/>
                    </a:cubicBezTo>
                    <a:lnTo>
                      <a:pt x="83846" y="1960"/>
                    </a:lnTo>
                    <a:cubicBezTo>
                      <a:pt x="86339" y="822"/>
                      <a:pt x="89293" y="1933"/>
                      <a:pt x="90431" y="4453"/>
                    </a:cubicBezTo>
                    <a:lnTo>
                      <a:pt x="101947" y="29870"/>
                    </a:lnTo>
                    <a:cubicBezTo>
                      <a:pt x="114276" y="27052"/>
                      <a:pt x="127201" y="26781"/>
                      <a:pt x="139774" y="29003"/>
                    </a:cubicBezTo>
                    <a:lnTo>
                      <a:pt x="150152" y="3125"/>
                    </a:lnTo>
                    <a:cubicBezTo>
                      <a:pt x="151182" y="578"/>
                      <a:pt x="154081" y="-668"/>
                      <a:pt x="156628" y="362"/>
                    </a:cubicBezTo>
                    <a:lnTo>
                      <a:pt x="183102" y="10956"/>
                    </a:lnTo>
                    <a:cubicBezTo>
                      <a:pt x="184321" y="11444"/>
                      <a:pt x="185324" y="12392"/>
                      <a:pt x="185838" y="13612"/>
                    </a:cubicBezTo>
                    <a:cubicBezTo>
                      <a:pt x="186353" y="14831"/>
                      <a:pt x="186380" y="16213"/>
                      <a:pt x="185893" y="17432"/>
                    </a:cubicBezTo>
                    <a:lnTo>
                      <a:pt x="175515" y="43337"/>
                    </a:lnTo>
                    <a:cubicBezTo>
                      <a:pt x="186055" y="50274"/>
                      <a:pt x="195214" y="59405"/>
                      <a:pt x="202286" y="70054"/>
                    </a:cubicBezTo>
                    <a:lnTo>
                      <a:pt x="228190" y="59649"/>
                    </a:lnTo>
                    <a:cubicBezTo>
                      <a:pt x="230711" y="58619"/>
                      <a:pt x="233637" y="59839"/>
                      <a:pt x="234667" y="62413"/>
                    </a:cubicBezTo>
                    <a:lnTo>
                      <a:pt x="245370" y="88832"/>
                    </a:lnTo>
                    <a:cubicBezTo>
                      <a:pt x="245858" y="90052"/>
                      <a:pt x="245858" y="91434"/>
                      <a:pt x="245343" y="92653"/>
                    </a:cubicBezTo>
                    <a:cubicBezTo>
                      <a:pt x="244828" y="93872"/>
                      <a:pt x="243852" y="94821"/>
                      <a:pt x="242606" y="95335"/>
                    </a:cubicBezTo>
                    <a:lnTo>
                      <a:pt x="216729" y="105795"/>
                    </a:lnTo>
                    <a:cubicBezTo>
                      <a:pt x="218788" y="116931"/>
                      <a:pt x="218815" y="128556"/>
                      <a:pt x="216810" y="139774"/>
                    </a:cubicBezTo>
                    <a:lnTo>
                      <a:pt x="242741" y="150152"/>
                    </a:lnTo>
                    <a:cubicBezTo>
                      <a:pt x="243961" y="150640"/>
                      <a:pt x="244963" y="151615"/>
                      <a:pt x="245478" y="152807"/>
                    </a:cubicBezTo>
                    <a:cubicBezTo>
                      <a:pt x="245993" y="154027"/>
                      <a:pt x="246020" y="155409"/>
                      <a:pt x="245532" y="156628"/>
                    </a:cubicBezTo>
                    <a:lnTo>
                      <a:pt x="234883" y="183156"/>
                    </a:lnTo>
                    <a:cubicBezTo>
                      <a:pt x="233854" y="185703"/>
                      <a:pt x="230954" y="186949"/>
                      <a:pt x="228407" y="185920"/>
                    </a:cubicBezTo>
                    <a:lnTo>
                      <a:pt x="202530" y="175542"/>
                    </a:lnTo>
                    <a:cubicBezTo>
                      <a:pt x="196244" y="185025"/>
                      <a:pt x="188223" y="193398"/>
                      <a:pt x="179037" y="200091"/>
                    </a:cubicBezTo>
                    <a:lnTo>
                      <a:pt x="190553" y="225535"/>
                    </a:lnTo>
                    <a:cubicBezTo>
                      <a:pt x="191691" y="228055"/>
                      <a:pt x="190580" y="230981"/>
                      <a:pt x="188060" y="232120"/>
                    </a:cubicBezTo>
                    <a:lnTo>
                      <a:pt x="162048" y="243907"/>
                    </a:lnTo>
                    <a:cubicBezTo>
                      <a:pt x="159528" y="245045"/>
                      <a:pt x="156574" y="243934"/>
                      <a:pt x="155463" y="241414"/>
                    </a:cubicBezTo>
                    <a:lnTo>
                      <a:pt x="143947" y="215970"/>
                    </a:lnTo>
                    <a:cubicBezTo>
                      <a:pt x="131591" y="218761"/>
                      <a:pt x="118666" y="219059"/>
                      <a:pt x="106120" y="216837"/>
                    </a:cubicBezTo>
                    <a:lnTo>
                      <a:pt x="95769" y="242714"/>
                    </a:lnTo>
                    <a:cubicBezTo>
                      <a:pt x="94956" y="244747"/>
                      <a:pt x="93086" y="245912"/>
                      <a:pt x="91108" y="245912"/>
                    </a:cubicBezTo>
                    <a:close/>
                    <a:moveTo>
                      <a:pt x="71057" y="227594"/>
                    </a:moveTo>
                    <a:lnTo>
                      <a:pt x="88317" y="234477"/>
                    </a:lnTo>
                    <a:lnTo>
                      <a:pt x="98343" y="209385"/>
                    </a:lnTo>
                    <a:cubicBezTo>
                      <a:pt x="99237" y="207109"/>
                      <a:pt x="101676" y="205836"/>
                      <a:pt x="104061" y="206378"/>
                    </a:cubicBezTo>
                    <a:cubicBezTo>
                      <a:pt x="117717" y="209440"/>
                      <a:pt x="131997" y="209142"/>
                      <a:pt x="145383" y="205429"/>
                    </a:cubicBezTo>
                    <a:cubicBezTo>
                      <a:pt x="147768" y="204779"/>
                      <a:pt x="150233" y="205944"/>
                      <a:pt x="151236" y="208193"/>
                    </a:cubicBezTo>
                    <a:lnTo>
                      <a:pt x="162400" y="232878"/>
                    </a:lnTo>
                    <a:lnTo>
                      <a:pt x="179335" y="225210"/>
                    </a:lnTo>
                    <a:lnTo>
                      <a:pt x="168171" y="200498"/>
                    </a:lnTo>
                    <a:cubicBezTo>
                      <a:pt x="167169" y="198276"/>
                      <a:pt x="167927" y="195620"/>
                      <a:pt x="169987" y="194293"/>
                    </a:cubicBezTo>
                    <a:cubicBezTo>
                      <a:pt x="180582" y="187302"/>
                      <a:pt x="189659" y="177845"/>
                      <a:pt x="196189" y="166925"/>
                    </a:cubicBezTo>
                    <a:cubicBezTo>
                      <a:pt x="197436" y="164811"/>
                      <a:pt x="200064" y="163971"/>
                      <a:pt x="202313" y="164866"/>
                    </a:cubicBezTo>
                    <a:lnTo>
                      <a:pt x="227432" y="174946"/>
                    </a:lnTo>
                    <a:lnTo>
                      <a:pt x="234369" y="157658"/>
                    </a:lnTo>
                    <a:lnTo>
                      <a:pt x="209223" y="147605"/>
                    </a:lnTo>
                    <a:cubicBezTo>
                      <a:pt x="206947" y="146684"/>
                      <a:pt x="205673" y="144272"/>
                      <a:pt x="206215" y="141888"/>
                    </a:cubicBezTo>
                    <a:cubicBezTo>
                      <a:pt x="209033" y="129423"/>
                      <a:pt x="209006" y="116308"/>
                      <a:pt x="206107" y="104006"/>
                    </a:cubicBezTo>
                    <a:cubicBezTo>
                      <a:pt x="205538" y="101622"/>
                      <a:pt x="206811" y="99156"/>
                      <a:pt x="209087" y="98235"/>
                    </a:cubicBezTo>
                    <a:lnTo>
                      <a:pt x="234206" y="88074"/>
                    </a:lnTo>
                    <a:lnTo>
                      <a:pt x="227242" y="70867"/>
                    </a:lnTo>
                    <a:lnTo>
                      <a:pt x="202096" y="80974"/>
                    </a:lnTo>
                    <a:cubicBezTo>
                      <a:pt x="199847" y="81868"/>
                      <a:pt x="197246" y="81028"/>
                      <a:pt x="195972" y="78915"/>
                    </a:cubicBezTo>
                    <a:cubicBezTo>
                      <a:pt x="188738" y="66911"/>
                      <a:pt x="178604" y="56804"/>
                      <a:pt x="166735" y="49759"/>
                    </a:cubicBezTo>
                    <a:cubicBezTo>
                      <a:pt x="164622" y="48512"/>
                      <a:pt x="163728" y="45911"/>
                      <a:pt x="164649" y="43635"/>
                    </a:cubicBezTo>
                    <a:lnTo>
                      <a:pt x="174702" y="18489"/>
                    </a:lnTo>
                    <a:lnTo>
                      <a:pt x="157468" y="11607"/>
                    </a:lnTo>
                    <a:lnTo>
                      <a:pt x="147415" y="36725"/>
                    </a:lnTo>
                    <a:cubicBezTo>
                      <a:pt x="146494" y="39001"/>
                      <a:pt x="144083" y="40248"/>
                      <a:pt x="141698" y="39733"/>
                    </a:cubicBezTo>
                    <a:cubicBezTo>
                      <a:pt x="128014" y="36671"/>
                      <a:pt x="113734" y="36996"/>
                      <a:pt x="100376" y="40681"/>
                    </a:cubicBezTo>
                    <a:cubicBezTo>
                      <a:pt x="97964" y="41305"/>
                      <a:pt x="95525" y="40167"/>
                      <a:pt x="94495" y="37945"/>
                    </a:cubicBezTo>
                    <a:lnTo>
                      <a:pt x="83332" y="13260"/>
                    </a:lnTo>
                    <a:lnTo>
                      <a:pt x="66369" y="20901"/>
                    </a:lnTo>
                    <a:lnTo>
                      <a:pt x="77587" y="45586"/>
                    </a:lnTo>
                    <a:cubicBezTo>
                      <a:pt x="78617" y="47808"/>
                      <a:pt x="77831" y="50463"/>
                      <a:pt x="75799" y="51818"/>
                    </a:cubicBezTo>
                    <a:cubicBezTo>
                      <a:pt x="64987" y="58945"/>
                      <a:pt x="56126" y="68157"/>
                      <a:pt x="49542" y="79213"/>
                    </a:cubicBezTo>
                    <a:cubicBezTo>
                      <a:pt x="48269" y="81326"/>
                      <a:pt x="45694" y="82194"/>
                      <a:pt x="43391" y="81272"/>
                    </a:cubicBezTo>
                    <a:lnTo>
                      <a:pt x="18272" y="71219"/>
                    </a:lnTo>
                    <a:lnTo>
                      <a:pt x="11363" y="88480"/>
                    </a:lnTo>
                    <a:lnTo>
                      <a:pt x="36481" y="98560"/>
                    </a:lnTo>
                    <a:cubicBezTo>
                      <a:pt x="38758" y="99481"/>
                      <a:pt x="40031" y="101893"/>
                      <a:pt x="39489" y="104277"/>
                    </a:cubicBezTo>
                    <a:cubicBezTo>
                      <a:pt x="36671" y="116742"/>
                      <a:pt x="36698" y="129830"/>
                      <a:pt x="39598" y="142159"/>
                    </a:cubicBezTo>
                    <a:cubicBezTo>
                      <a:pt x="40167" y="144543"/>
                      <a:pt x="38893" y="147009"/>
                      <a:pt x="36617" y="147930"/>
                    </a:cubicBezTo>
                    <a:lnTo>
                      <a:pt x="11444" y="158064"/>
                    </a:lnTo>
                    <a:lnTo>
                      <a:pt x="18435" y="175325"/>
                    </a:lnTo>
                    <a:lnTo>
                      <a:pt x="43554" y="165191"/>
                    </a:lnTo>
                    <a:cubicBezTo>
                      <a:pt x="45830" y="164269"/>
                      <a:pt x="48404" y="165137"/>
                      <a:pt x="49678" y="167223"/>
                    </a:cubicBezTo>
                    <a:cubicBezTo>
                      <a:pt x="56939" y="179227"/>
                      <a:pt x="67074" y="189307"/>
                      <a:pt x="78942" y="196406"/>
                    </a:cubicBezTo>
                    <a:cubicBezTo>
                      <a:pt x="81056" y="197653"/>
                      <a:pt x="81923" y="200254"/>
                      <a:pt x="81001" y="202530"/>
                    </a:cubicBezTo>
                    <a:lnTo>
                      <a:pt x="71057" y="227594"/>
                    </a:lnTo>
                    <a:close/>
                  </a:path>
                </a:pathLst>
              </a:custGeom>
              <a:grpFill/>
              <a:ln w="2705" cap="flat">
                <a:noFill/>
                <a:prstDash val="solid"/>
                <a:miter/>
              </a:ln>
            </p:spPr>
            <p:txBody>
              <a:bodyPr rtlCol="0" anchor="ctr"/>
              <a:lstStyle/>
              <a:p>
                <a:endParaRPr lang="en-GB" dirty="0"/>
              </a:p>
            </p:txBody>
          </p:sp>
          <p:sp>
            <p:nvSpPr>
              <p:cNvPr id="469" name="Freihandform: Form 392">
                <a:extLst>
                  <a:ext uri="{FF2B5EF4-FFF2-40B4-BE49-F238E27FC236}">
                    <a16:creationId xmlns:a16="http://schemas.microsoft.com/office/drawing/2014/main" id="{84778468-2955-48B5-9270-5F8FA7D15BD7}"/>
                  </a:ext>
                </a:extLst>
              </p:cNvPr>
              <p:cNvSpPr/>
              <p:nvPr/>
            </p:nvSpPr>
            <p:spPr>
              <a:xfrm>
                <a:off x="3552164" y="2663722"/>
                <a:ext cx="87474" cy="75138"/>
              </a:xfrm>
              <a:custGeom>
                <a:avLst/>
                <a:gdLst>
                  <a:gd name="connsiteX0" fmla="*/ 11585 w 87474"/>
                  <a:gd name="connsiteY0" fmla="*/ 75138 h 75138"/>
                  <a:gd name="connsiteX1" fmla="*/ 7385 w 87474"/>
                  <a:gd name="connsiteY1" fmla="*/ 72835 h 75138"/>
                  <a:gd name="connsiteX2" fmla="*/ 882 w 87474"/>
                  <a:gd name="connsiteY2" fmla="*/ 38422 h 75138"/>
                  <a:gd name="connsiteX3" fmla="*/ 20825 w 87474"/>
                  <a:gd name="connsiteY3" fmla="*/ 8155 h 75138"/>
                  <a:gd name="connsiteX4" fmla="*/ 56348 w 87474"/>
                  <a:gd name="connsiteY4" fmla="*/ 866 h 75138"/>
                  <a:gd name="connsiteX5" fmla="*/ 86616 w 87474"/>
                  <a:gd name="connsiteY5" fmla="*/ 20836 h 75138"/>
                  <a:gd name="connsiteX6" fmla="*/ 85288 w 87474"/>
                  <a:gd name="connsiteY6" fmla="*/ 27746 h 75138"/>
                  <a:gd name="connsiteX7" fmla="*/ 78378 w 87474"/>
                  <a:gd name="connsiteY7" fmla="*/ 26418 h 75138"/>
                  <a:gd name="connsiteX8" fmla="*/ 54479 w 87474"/>
                  <a:gd name="connsiteY8" fmla="*/ 10648 h 75138"/>
                  <a:gd name="connsiteX9" fmla="*/ 26434 w 87474"/>
                  <a:gd name="connsiteY9" fmla="*/ 16392 h 75138"/>
                  <a:gd name="connsiteX10" fmla="*/ 10691 w 87474"/>
                  <a:gd name="connsiteY10" fmla="*/ 40292 h 75138"/>
                  <a:gd name="connsiteX11" fmla="*/ 15839 w 87474"/>
                  <a:gd name="connsiteY11" fmla="*/ 67470 h 75138"/>
                  <a:gd name="connsiteX12" fmla="*/ 14295 w 87474"/>
                  <a:gd name="connsiteY12" fmla="*/ 74352 h 75138"/>
                  <a:gd name="connsiteX13" fmla="*/ 11585 w 87474"/>
                  <a:gd name="connsiteY13" fmla="*/ 75138 h 75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474" h="75138">
                    <a:moveTo>
                      <a:pt x="11585" y="75138"/>
                    </a:moveTo>
                    <a:cubicBezTo>
                      <a:pt x="9932" y="75138"/>
                      <a:pt x="8333" y="74325"/>
                      <a:pt x="7385" y="72835"/>
                    </a:cubicBezTo>
                    <a:cubicBezTo>
                      <a:pt x="882" y="62592"/>
                      <a:pt x="-1449" y="50372"/>
                      <a:pt x="882" y="38422"/>
                    </a:cubicBezTo>
                    <a:cubicBezTo>
                      <a:pt x="3293" y="25985"/>
                      <a:pt x="10365" y="15254"/>
                      <a:pt x="20825" y="8155"/>
                    </a:cubicBezTo>
                    <a:cubicBezTo>
                      <a:pt x="31284" y="1056"/>
                      <a:pt x="43911" y="-1518"/>
                      <a:pt x="56348" y="866"/>
                    </a:cubicBezTo>
                    <a:cubicBezTo>
                      <a:pt x="68759" y="3278"/>
                      <a:pt x="79516" y="10350"/>
                      <a:pt x="86616" y="20836"/>
                    </a:cubicBezTo>
                    <a:cubicBezTo>
                      <a:pt x="88160" y="23112"/>
                      <a:pt x="87564" y="26201"/>
                      <a:pt x="85288" y="27746"/>
                    </a:cubicBezTo>
                    <a:cubicBezTo>
                      <a:pt x="83012" y="29291"/>
                      <a:pt x="79923" y="28694"/>
                      <a:pt x="78378" y="26418"/>
                    </a:cubicBezTo>
                    <a:cubicBezTo>
                      <a:pt x="72769" y="18127"/>
                      <a:pt x="64288" y="12545"/>
                      <a:pt x="54479" y="10648"/>
                    </a:cubicBezTo>
                    <a:cubicBezTo>
                      <a:pt x="44724" y="8778"/>
                      <a:pt x="34698" y="10784"/>
                      <a:pt x="26434" y="16392"/>
                    </a:cubicBezTo>
                    <a:cubicBezTo>
                      <a:pt x="18169" y="22002"/>
                      <a:pt x="12588" y="30483"/>
                      <a:pt x="10691" y="40292"/>
                    </a:cubicBezTo>
                    <a:cubicBezTo>
                      <a:pt x="8875" y="49721"/>
                      <a:pt x="10691" y="59368"/>
                      <a:pt x="15839" y="67470"/>
                    </a:cubicBezTo>
                    <a:cubicBezTo>
                      <a:pt x="17330" y="69800"/>
                      <a:pt x="16625" y="72862"/>
                      <a:pt x="14295" y="74352"/>
                    </a:cubicBezTo>
                    <a:cubicBezTo>
                      <a:pt x="13400" y="74867"/>
                      <a:pt x="12479" y="75138"/>
                      <a:pt x="11585" y="75138"/>
                    </a:cubicBezTo>
                    <a:close/>
                  </a:path>
                </a:pathLst>
              </a:custGeom>
              <a:grpFill/>
              <a:ln w="2705" cap="flat">
                <a:noFill/>
                <a:prstDash val="solid"/>
                <a:miter/>
              </a:ln>
            </p:spPr>
            <p:txBody>
              <a:bodyPr rtlCol="0" anchor="ctr"/>
              <a:lstStyle/>
              <a:p>
                <a:endParaRPr lang="en-GB" dirty="0"/>
              </a:p>
            </p:txBody>
          </p:sp>
          <p:sp>
            <p:nvSpPr>
              <p:cNvPr id="470" name="Freihandform: Form 393">
                <a:extLst>
                  <a:ext uri="{FF2B5EF4-FFF2-40B4-BE49-F238E27FC236}">
                    <a16:creationId xmlns:a16="http://schemas.microsoft.com/office/drawing/2014/main" id="{C6DA4744-181C-4744-AC9E-507D524533AF}"/>
                  </a:ext>
                </a:extLst>
              </p:cNvPr>
              <p:cNvSpPr/>
              <p:nvPr/>
            </p:nvSpPr>
            <p:spPr>
              <a:xfrm>
                <a:off x="3572884" y="2714147"/>
                <a:ext cx="73246" cy="44358"/>
              </a:xfrm>
              <a:custGeom>
                <a:avLst/>
                <a:gdLst>
                  <a:gd name="connsiteX0" fmla="*/ 26632 w 73246"/>
                  <a:gd name="connsiteY0" fmla="*/ 44358 h 44358"/>
                  <a:gd name="connsiteX1" fmla="*/ 17636 w 73246"/>
                  <a:gd name="connsiteY1" fmla="*/ 43491 h 44358"/>
                  <a:gd name="connsiteX2" fmla="*/ 2435 w 73246"/>
                  <a:gd name="connsiteY2" fmla="*/ 37719 h 44358"/>
                  <a:gd name="connsiteX3" fmla="*/ 701 w 73246"/>
                  <a:gd name="connsiteY3" fmla="*/ 30891 h 44358"/>
                  <a:gd name="connsiteX4" fmla="*/ 7529 w 73246"/>
                  <a:gd name="connsiteY4" fmla="*/ 29157 h 44358"/>
                  <a:gd name="connsiteX5" fmla="*/ 19533 w 73246"/>
                  <a:gd name="connsiteY5" fmla="*/ 33709 h 44358"/>
                  <a:gd name="connsiteX6" fmla="*/ 63348 w 73246"/>
                  <a:gd name="connsiteY6" fmla="*/ 4038 h 44358"/>
                  <a:gd name="connsiteX7" fmla="*/ 69201 w 73246"/>
                  <a:gd name="connsiteY7" fmla="*/ 82 h 44358"/>
                  <a:gd name="connsiteX8" fmla="*/ 73157 w 73246"/>
                  <a:gd name="connsiteY8" fmla="*/ 5908 h 44358"/>
                  <a:gd name="connsiteX9" fmla="*/ 26632 w 73246"/>
                  <a:gd name="connsiteY9" fmla="*/ 44358 h 44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3246" h="44358">
                    <a:moveTo>
                      <a:pt x="26632" y="44358"/>
                    </a:moveTo>
                    <a:cubicBezTo>
                      <a:pt x="23652" y="44358"/>
                      <a:pt x="20644" y="44087"/>
                      <a:pt x="17636" y="43491"/>
                    </a:cubicBezTo>
                    <a:cubicBezTo>
                      <a:pt x="12244" y="42461"/>
                      <a:pt x="7123" y="40510"/>
                      <a:pt x="2435" y="37719"/>
                    </a:cubicBezTo>
                    <a:cubicBezTo>
                      <a:pt x="77" y="36310"/>
                      <a:pt x="-708" y="33248"/>
                      <a:pt x="701" y="30891"/>
                    </a:cubicBezTo>
                    <a:cubicBezTo>
                      <a:pt x="2082" y="28534"/>
                      <a:pt x="5144" y="27748"/>
                      <a:pt x="7529" y="29157"/>
                    </a:cubicBezTo>
                    <a:cubicBezTo>
                      <a:pt x="11214" y="31352"/>
                      <a:pt x="15252" y="32896"/>
                      <a:pt x="19533" y="33709"/>
                    </a:cubicBezTo>
                    <a:cubicBezTo>
                      <a:pt x="39747" y="37611"/>
                      <a:pt x="59446" y="24306"/>
                      <a:pt x="63348" y="4038"/>
                    </a:cubicBezTo>
                    <a:cubicBezTo>
                      <a:pt x="63863" y="1329"/>
                      <a:pt x="66545" y="-406"/>
                      <a:pt x="69201" y="82"/>
                    </a:cubicBezTo>
                    <a:cubicBezTo>
                      <a:pt x="71911" y="597"/>
                      <a:pt x="73672" y="3225"/>
                      <a:pt x="73157" y="5908"/>
                    </a:cubicBezTo>
                    <a:cubicBezTo>
                      <a:pt x="68740" y="28588"/>
                      <a:pt x="48851" y="44358"/>
                      <a:pt x="26632" y="44358"/>
                    </a:cubicBezTo>
                    <a:close/>
                  </a:path>
                </a:pathLst>
              </a:custGeom>
              <a:grpFill/>
              <a:ln w="2705" cap="flat">
                <a:noFill/>
                <a:prstDash val="solid"/>
                <a:miter/>
              </a:ln>
            </p:spPr>
            <p:txBody>
              <a:bodyPr rtlCol="0" anchor="ctr"/>
              <a:lstStyle/>
              <a:p>
                <a:endParaRPr lang="en-GB" dirty="0"/>
              </a:p>
            </p:txBody>
          </p:sp>
        </p:grpSp>
      </p:grpSp>
      <p:grpSp>
        <p:nvGrpSpPr>
          <p:cNvPr id="475" name="Group 474">
            <a:extLst>
              <a:ext uri="{FF2B5EF4-FFF2-40B4-BE49-F238E27FC236}">
                <a16:creationId xmlns:a16="http://schemas.microsoft.com/office/drawing/2014/main" id="{6B9BAE12-1552-4E33-B161-BDD97EA9BF02}"/>
              </a:ext>
            </a:extLst>
          </p:cNvPr>
          <p:cNvGrpSpPr>
            <a:grpSpLocks noChangeAspect="1"/>
          </p:cNvGrpSpPr>
          <p:nvPr/>
        </p:nvGrpSpPr>
        <p:grpSpPr>
          <a:xfrm>
            <a:off x="7159044" y="3197068"/>
            <a:ext cx="280981" cy="432002"/>
            <a:chOff x="2576819" y="1635465"/>
            <a:chExt cx="332561" cy="511305"/>
          </a:xfrm>
        </p:grpSpPr>
        <p:grpSp>
          <p:nvGrpSpPr>
            <p:cNvPr id="476" name="Group 475">
              <a:extLst>
                <a:ext uri="{FF2B5EF4-FFF2-40B4-BE49-F238E27FC236}">
                  <a16:creationId xmlns:a16="http://schemas.microsoft.com/office/drawing/2014/main" id="{B01FE197-BA16-4D46-8E91-2386093EDED7}"/>
                </a:ext>
              </a:extLst>
            </p:cNvPr>
            <p:cNvGrpSpPr/>
            <p:nvPr/>
          </p:nvGrpSpPr>
          <p:grpSpPr>
            <a:xfrm>
              <a:off x="2588684" y="1635465"/>
              <a:ext cx="307585" cy="377390"/>
              <a:chOff x="2588684" y="1635467"/>
              <a:chExt cx="307585" cy="377390"/>
            </a:xfrm>
          </p:grpSpPr>
          <p:sp>
            <p:nvSpPr>
              <p:cNvPr id="491" name="Freihandform: Form 298">
                <a:extLst>
                  <a:ext uri="{FF2B5EF4-FFF2-40B4-BE49-F238E27FC236}">
                    <a16:creationId xmlns:a16="http://schemas.microsoft.com/office/drawing/2014/main" id="{81FD057B-90BE-488C-9E6D-627DA2035B9A}"/>
                  </a:ext>
                </a:extLst>
              </p:cNvPr>
              <p:cNvSpPr/>
              <p:nvPr/>
            </p:nvSpPr>
            <p:spPr>
              <a:xfrm>
                <a:off x="2588684" y="1635467"/>
                <a:ext cx="307585" cy="377390"/>
              </a:xfrm>
              <a:custGeom>
                <a:avLst/>
                <a:gdLst>
                  <a:gd name="connsiteX0" fmla="*/ 153542 w 307585"/>
                  <a:gd name="connsiteY0" fmla="*/ 377390 h 377390"/>
                  <a:gd name="connsiteX1" fmla="*/ 140364 w 307585"/>
                  <a:gd name="connsiteY1" fmla="*/ 368906 h 377390"/>
                  <a:gd name="connsiteX2" fmla="*/ 69630 w 307585"/>
                  <a:gd name="connsiteY2" fmla="*/ 296465 h 377390"/>
                  <a:gd name="connsiteX3" fmla="*/ 49449 w 307585"/>
                  <a:gd name="connsiteY3" fmla="*/ 275782 h 377390"/>
                  <a:gd name="connsiteX4" fmla="*/ 0 w 307585"/>
                  <a:gd name="connsiteY4" fmla="*/ 158988 h 377390"/>
                  <a:gd name="connsiteX5" fmla="*/ 153793 w 307585"/>
                  <a:gd name="connsiteY5" fmla="*/ 0 h 377390"/>
                  <a:gd name="connsiteX6" fmla="*/ 307585 w 307585"/>
                  <a:gd name="connsiteY6" fmla="*/ 158988 h 377390"/>
                  <a:gd name="connsiteX7" fmla="*/ 257835 w 307585"/>
                  <a:gd name="connsiteY7" fmla="*/ 276083 h 377390"/>
                  <a:gd name="connsiteX8" fmla="*/ 245486 w 307585"/>
                  <a:gd name="connsiteY8" fmla="*/ 288759 h 377390"/>
                  <a:gd name="connsiteX9" fmla="*/ 166945 w 307585"/>
                  <a:gd name="connsiteY9" fmla="*/ 368981 h 377390"/>
                  <a:gd name="connsiteX10" fmla="*/ 153542 w 307585"/>
                  <a:gd name="connsiteY10" fmla="*/ 377390 h 377390"/>
                  <a:gd name="connsiteX11" fmla="*/ 153767 w 307585"/>
                  <a:gd name="connsiteY11" fmla="*/ 9739 h 377390"/>
                  <a:gd name="connsiteX12" fmla="*/ 9739 w 307585"/>
                  <a:gd name="connsiteY12" fmla="*/ 158988 h 377390"/>
                  <a:gd name="connsiteX13" fmla="*/ 56226 w 307585"/>
                  <a:gd name="connsiteY13" fmla="*/ 268779 h 377390"/>
                  <a:gd name="connsiteX14" fmla="*/ 76583 w 307585"/>
                  <a:gd name="connsiteY14" fmla="*/ 289663 h 377390"/>
                  <a:gd name="connsiteX15" fmla="*/ 147266 w 307585"/>
                  <a:gd name="connsiteY15" fmla="*/ 362029 h 377390"/>
                  <a:gd name="connsiteX16" fmla="*/ 153642 w 307585"/>
                  <a:gd name="connsiteY16" fmla="*/ 367601 h 377390"/>
                  <a:gd name="connsiteX17" fmla="*/ 160093 w 307585"/>
                  <a:gd name="connsiteY17" fmla="*/ 361978 h 377390"/>
                  <a:gd name="connsiteX18" fmla="*/ 238457 w 307585"/>
                  <a:gd name="connsiteY18" fmla="*/ 281932 h 377390"/>
                  <a:gd name="connsiteX19" fmla="*/ 251259 w 307585"/>
                  <a:gd name="connsiteY19" fmla="*/ 268829 h 377390"/>
                  <a:gd name="connsiteX20" fmla="*/ 297796 w 307585"/>
                  <a:gd name="connsiteY20" fmla="*/ 158963 h 377390"/>
                  <a:gd name="connsiteX21" fmla="*/ 153767 w 307585"/>
                  <a:gd name="connsiteY21" fmla="*/ 9739 h 377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7585" h="377390">
                    <a:moveTo>
                      <a:pt x="153542" y="377390"/>
                    </a:moveTo>
                    <a:cubicBezTo>
                      <a:pt x="149751" y="377390"/>
                      <a:pt x="146011" y="374554"/>
                      <a:pt x="140364" y="368906"/>
                    </a:cubicBezTo>
                    <a:cubicBezTo>
                      <a:pt x="133411" y="361903"/>
                      <a:pt x="95032" y="322520"/>
                      <a:pt x="69630" y="296465"/>
                    </a:cubicBezTo>
                    <a:cubicBezTo>
                      <a:pt x="58234" y="284768"/>
                      <a:pt x="49951" y="276284"/>
                      <a:pt x="49449" y="275782"/>
                    </a:cubicBezTo>
                    <a:cubicBezTo>
                      <a:pt x="18047" y="245812"/>
                      <a:pt x="0" y="203216"/>
                      <a:pt x="0" y="158988"/>
                    </a:cubicBezTo>
                    <a:cubicBezTo>
                      <a:pt x="0" y="71311"/>
                      <a:pt x="68977" y="0"/>
                      <a:pt x="153793" y="0"/>
                    </a:cubicBezTo>
                    <a:cubicBezTo>
                      <a:pt x="238608" y="0"/>
                      <a:pt x="307585" y="71336"/>
                      <a:pt x="307585" y="158988"/>
                    </a:cubicBezTo>
                    <a:cubicBezTo>
                      <a:pt x="307585" y="203366"/>
                      <a:pt x="289462" y="246038"/>
                      <a:pt x="257835" y="276083"/>
                    </a:cubicBezTo>
                    <a:cubicBezTo>
                      <a:pt x="257534" y="276410"/>
                      <a:pt x="252715" y="281330"/>
                      <a:pt x="245486" y="288759"/>
                    </a:cubicBezTo>
                    <a:cubicBezTo>
                      <a:pt x="221991" y="312856"/>
                      <a:pt x="173120" y="362982"/>
                      <a:pt x="166945" y="368981"/>
                    </a:cubicBezTo>
                    <a:cubicBezTo>
                      <a:pt x="161122" y="374579"/>
                      <a:pt x="157307" y="377390"/>
                      <a:pt x="153542" y="377390"/>
                    </a:cubicBezTo>
                    <a:close/>
                    <a:moveTo>
                      <a:pt x="153767" y="9739"/>
                    </a:moveTo>
                    <a:cubicBezTo>
                      <a:pt x="74349" y="9739"/>
                      <a:pt x="9739" y="76683"/>
                      <a:pt x="9739" y="158988"/>
                    </a:cubicBezTo>
                    <a:cubicBezTo>
                      <a:pt x="9739" y="200580"/>
                      <a:pt x="26682" y="240591"/>
                      <a:pt x="56226" y="268779"/>
                    </a:cubicBezTo>
                    <a:cubicBezTo>
                      <a:pt x="56427" y="268955"/>
                      <a:pt x="58083" y="270662"/>
                      <a:pt x="76583" y="289663"/>
                    </a:cubicBezTo>
                    <a:cubicBezTo>
                      <a:pt x="100428" y="314111"/>
                      <a:pt x="140339" y="355076"/>
                      <a:pt x="147266" y="362029"/>
                    </a:cubicBezTo>
                    <a:cubicBezTo>
                      <a:pt x="149249" y="364011"/>
                      <a:pt x="152563" y="367325"/>
                      <a:pt x="153642" y="367601"/>
                    </a:cubicBezTo>
                    <a:cubicBezTo>
                      <a:pt x="154596" y="367325"/>
                      <a:pt x="158311" y="363710"/>
                      <a:pt x="160093" y="361978"/>
                    </a:cubicBezTo>
                    <a:cubicBezTo>
                      <a:pt x="166167" y="356080"/>
                      <a:pt x="214988" y="306004"/>
                      <a:pt x="238457" y="281932"/>
                    </a:cubicBezTo>
                    <a:cubicBezTo>
                      <a:pt x="251033" y="269030"/>
                      <a:pt x="251033" y="269030"/>
                      <a:pt x="251259" y="268829"/>
                    </a:cubicBezTo>
                    <a:cubicBezTo>
                      <a:pt x="280752" y="240792"/>
                      <a:pt x="297796" y="200681"/>
                      <a:pt x="297796" y="158963"/>
                    </a:cubicBezTo>
                    <a:cubicBezTo>
                      <a:pt x="297821" y="76708"/>
                      <a:pt x="233186" y="9739"/>
                      <a:pt x="153767" y="9739"/>
                    </a:cubicBezTo>
                    <a:close/>
                  </a:path>
                </a:pathLst>
              </a:custGeom>
              <a:solidFill>
                <a:schemeClr val="tx2"/>
              </a:solidFill>
              <a:ln w="2504" cap="flat">
                <a:noFill/>
                <a:prstDash val="solid"/>
                <a:miter/>
              </a:ln>
            </p:spPr>
            <p:txBody>
              <a:bodyPr rtlCol="0" anchor="ctr"/>
              <a:lstStyle/>
              <a:p>
                <a:endParaRPr lang="en-GB" dirty="0"/>
              </a:p>
            </p:txBody>
          </p:sp>
          <p:sp>
            <p:nvSpPr>
              <p:cNvPr id="492" name="Freihandform: Form 299">
                <a:extLst>
                  <a:ext uri="{FF2B5EF4-FFF2-40B4-BE49-F238E27FC236}">
                    <a16:creationId xmlns:a16="http://schemas.microsoft.com/office/drawing/2014/main" id="{A81B9CF5-3DB9-40F3-B13B-BD41E3345949}"/>
                  </a:ext>
                </a:extLst>
              </p:cNvPr>
              <p:cNvSpPr/>
              <p:nvPr/>
            </p:nvSpPr>
            <p:spPr>
              <a:xfrm>
                <a:off x="2631029" y="1679344"/>
                <a:ext cx="222819" cy="222844"/>
              </a:xfrm>
              <a:custGeom>
                <a:avLst/>
                <a:gdLst>
                  <a:gd name="connsiteX0" fmla="*/ 111397 w 222819"/>
                  <a:gd name="connsiteY0" fmla="*/ 222845 h 222844"/>
                  <a:gd name="connsiteX1" fmla="*/ 0 w 222819"/>
                  <a:gd name="connsiteY1" fmla="*/ 111422 h 222844"/>
                  <a:gd name="connsiteX2" fmla="*/ 111397 w 222819"/>
                  <a:gd name="connsiteY2" fmla="*/ 0 h 222844"/>
                  <a:gd name="connsiteX3" fmla="*/ 222820 w 222819"/>
                  <a:gd name="connsiteY3" fmla="*/ 111422 h 222844"/>
                  <a:gd name="connsiteX4" fmla="*/ 111397 w 222819"/>
                  <a:gd name="connsiteY4" fmla="*/ 222845 h 222844"/>
                  <a:gd name="connsiteX5" fmla="*/ 111397 w 222819"/>
                  <a:gd name="connsiteY5" fmla="*/ 9764 h 222844"/>
                  <a:gd name="connsiteX6" fmla="*/ 9764 w 222819"/>
                  <a:gd name="connsiteY6" fmla="*/ 111422 h 222844"/>
                  <a:gd name="connsiteX7" fmla="*/ 111397 w 222819"/>
                  <a:gd name="connsiteY7" fmla="*/ 213080 h 222844"/>
                  <a:gd name="connsiteX8" fmla="*/ 213081 w 222819"/>
                  <a:gd name="connsiteY8" fmla="*/ 111422 h 222844"/>
                  <a:gd name="connsiteX9" fmla="*/ 111397 w 222819"/>
                  <a:gd name="connsiteY9" fmla="*/ 9764 h 222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2819" h="222844">
                    <a:moveTo>
                      <a:pt x="111397" y="222845"/>
                    </a:moveTo>
                    <a:cubicBezTo>
                      <a:pt x="49976" y="222845"/>
                      <a:pt x="0" y="172869"/>
                      <a:pt x="0" y="111422"/>
                    </a:cubicBezTo>
                    <a:cubicBezTo>
                      <a:pt x="0" y="49976"/>
                      <a:pt x="49976" y="0"/>
                      <a:pt x="111397" y="0"/>
                    </a:cubicBezTo>
                    <a:cubicBezTo>
                      <a:pt x="172844" y="0"/>
                      <a:pt x="222820" y="49976"/>
                      <a:pt x="222820" y="111422"/>
                    </a:cubicBezTo>
                    <a:cubicBezTo>
                      <a:pt x="222820" y="172869"/>
                      <a:pt x="172844" y="222845"/>
                      <a:pt x="111397" y="222845"/>
                    </a:cubicBezTo>
                    <a:close/>
                    <a:moveTo>
                      <a:pt x="111397" y="9764"/>
                    </a:moveTo>
                    <a:cubicBezTo>
                      <a:pt x="55347" y="9764"/>
                      <a:pt x="9764" y="55372"/>
                      <a:pt x="9764" y="111422"/>
                    </a:cubicBezTo>
                    <a:cubicBezTo>
                      <a:pt x="9764" y="167472"/>
                      <a:pt x="55372" y="213080"/>
                      <a:pt x="111397" y="213080"/>
                    </a:cubicBezTo>
                    <a:cubicBezTo>
                      <a:pt x="167472" y="213080"/>
                      <a:pt x="213081" y="167472"/>
                      <a:pt x="213081" y="111422"/>
                    </a:cubicBezTo>
                    <a:cubicBezTo>
                      <a:pt x="213081" y="55372"/>
                      <a:pt x="167472" y="9764"/>
                      <a:pt x="111397" y="9764"/>
                    </a:cubicBezTo>
                    <a:close/>
                  </a:path>
                </a:pathLst>
              </a:custGeom>
              <a:solidFill>
                <a:schemeClr val="tx2"/>
              </a:solidFill>
              <a:ln w="2504" cap="flat">
                <a:noFill/>
                <a:prstDash val="solid"/>
                <a:miter/>
              </a:ln>
            </p:spPr>
            <p:txBody>
              <a:bodyPr rtlCol="0" anchor="ctr"/>
              <a:lstStyle/>
              <a:p>
                <a:endParaRPr lang="en-GB" dirty="0"/>
              </a:p>
            </p:txBody>
          </p:sp>
        </p:grpSp>
        <p:grpSp>
          <p:nvGrpSpPr>
            <p:cNvPr id="477" name="Group 476">
              <a:extLst>
                <a:ext uri="{FF2B5EF4-FFF2-40B4-BE49-F238E27FC236}">
                  <a16:creationId xmlns:a16="http://schemas.microsoft.com/office/drawing/2014/main" id="{8D95A7F8-623E-404F-AEC5-C8EE1B48FB76}"/>
                </a:ext>
              </a:extLst>
            </p:cNvPr>
            <p:cNvGrpSpPr/>
            <p:nvPr/>
          </p:nvGrpSpPr>
          <p:grpSpPr>
            <a:xfrm>
              <a:off x="2576819" y="1740765"/>
              <a:ext cx="332561" cy="406005"/>
              <a:chOff x="2576819" y="1740765"/>
              <a:chExt cx="332561" cy="406005"/>
            </a:xfrm>
          </p:grpSpPr>
          <p:sp>
            <p:nvSpPr>
              <p:cNvPr id="478" name="Freihandform: Form 301">
                <a:extLst>
                  <a:ext uri="{FF2B5EF4-FFF2-40B4-BE49-F238E27FC236}">
                    <a16:creationId xmlns:a16="http://schemas.microsoft.com/office/drawing/2014/main" id="{7B346740-C3D7-4DF6-BE40-401B1F9AB39C}"/>
                  </a:ext>
                </a:extLst>
              </p:cNvPr>
              <p:cNvSpPr/>
              <p:nvPr/>
            </p:nvSpPr>
            <p:spPr>
              <a:xfrm>
                <a:off x="2718731" y="1740765"/>
                <a:ext cx="47440" cy="9739"/>
              </a:xfrm>
              <a:custGeom>
                <a:avLst/>
                <a:gdLst>
                  <a:gd name="connsiteX0" fmla="*/ 42571 w 47440"/>
                  <a:gd name="connsiteY0" fmla="*/ 9739 h 9739"/>
                  <a:gd name="connsiteX1" fmla="*/ 4870 w 47440"/>
                  <a:gd name="connsiteY1" fmla="*/ 9739 h 9739"/>
                  <a:gd name="connsiteX2" fmla="*/ 0 w 47440"/>
                  <a:gd name="connsiteY2" fmla="*/ 4870 h 9739"/>
                  <a:gd name="connsiteX3" fmla="*/ 4870 w 47440"/>
                  <a:gd name="connsiteY3" fmla="*/ 0 h 9739"/>
                  <a:gd name="connsiteX4" fmla="*/ 42571 w 47440"/>
                  <a:gd name="connsiteY4" fmla="*/ 0 h 9739"/>
                  <a:gd name="connsiteX5" fmla="*/ 47441 w 47440"/>
                  <a:gd name="connsiteY5" fmla="*/ 4870 h 9739"/>
                  <a:gd name="connsiteX6" fmla="*/ 42571 w 47440"/>
                  <a:gd name="connsiteY6" fmla="*/ 9739 h 9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40" h="9739">
                    <a:moveTo>
                      <a:pt x="42571" y="9739"/>
                    </a:moveTo>
                    <a:lnTo>
                      <a:pt x="4870" y="9739"/>
                    </a:lnTo>
                    <a:cubicBezTo>
                      <a:pt x="2184" y="9739"/>
                      <a:pt x="0" y="7555"/>
                      <a:pt x="0" y="4870"/>
                    </a:cubicBezTo>
                    <a:cubicBezTo>
                      <a:pt x="0" y="2184"/>
                      <a:pt x="2184" y="0"/>
                      <a:pt x="4870" y="0"/>
                    </a:cubicBezTo>
                    <a:lnTo>
                      <a:pt x="42571" y="0"/>
                    </a:lnTo>
                    <a:cubicBezTo>
                      <a:pt x="45257" y="0"/>
                      <a:pt x="47441" y="2184"/>
                      <a:pt x="47441" y="4870"/>
                    </a:cubicBezTo>
                    <a:cubicBezTo>
                      <a:pt x="47441" y="7555"/>
                      <a:pt x="45257" y="9739"/>
                      <a:pt x="42571" y="9739"/>
                    </a:cubicBezTo>
                    <a:close/>
                  </a:path>
                </a:pathLst>
              </a:custGeom>
              <a:solidFill>
                <a:schemeClr val="accent1"/>
              </a:solidFill>
              <a:ln w="2504" cap="flat">
                <a:noFill/>
                <a:prstDash val="solid"/>
                <a:miter/>
              </a:ln>
            </p:spPr>
            <p:txBody>
              <a:bodyPr rtlCol="0" anchor="ctr"/>
              <a:lstStyle/>
              <a:p>
                <a:endParaRPr lang="en-GB" dirty="0"/>
              </a:p>
            </p:txBody>
          </p:sp>
          <p:sp>
            <p:nvSpPr>
              <p:cNvPr id="479" name="Freihandform: Form 302">
                <a:extLst>
                  <a:ext uri="{FF2B5EF4-FFF2-40B4-BE49-F238E27FC236}">
                    <a16:creationId xmlns:a16="http://schemas.microsoft.com/office/drawing/2014/main" id="{EC968649-2B7A-4D44-AF5C-19B977538765}"/>
                  </a:ext>
                </a:extLst>
              </p:cNvPr>
              <p:cNvSpPr/>
              <p:nvPr/>
            </p:nvSpPr>
            <p:spPr>
              <a:xfrm>
                <a:off x="2718731" y="1822418"/>
                <a:ext cx="47440" cy="9739"/>
              </a:xfrm>
              <a:custGeom>
                <a:avLst/>
                <a:gdLst>
                  <a:gd name="connsiteX0" fmla="*/ 42571 w 47440"/>
                  <a:gd name="connsiteY0" fmla="*/ 9739 h 9739"/>
                  <a:gd name="connsiteX1" fmla="*/ 4870 w 47440"/>
                  <a:gd name="connsiteY1" fmla="*/ 9739 h 9739"/>
                  <a:gd name="connsiteX2" fmla="*/ 0 w 47440"/>
                  <a:gd name="connsiteY2" fmla="*/ 4870 h 9739"/>
                  <a:gd name="connsiteX3" fmla="*/ 4870 w 47440"/>
                  <a:gd name="connsiteY3" fmla="*/ 0 h 9739"/>
                  <a:gd name="connsiteX4" fmla="*/ 42571 w 47440"/>
                  <a:gd name="connsiteY4" fmla="*/ 0 h 9739"/>
                  <a:gd name="connsiteX5" fmla="*/ 47441 w 47440"/>
                  <a:gd name="connsiteY5" fmla="*/ 4870 h 9739"/>
                  <a:gd name="connsiteX6" fmla="*/ 42571 w 47440"/>
                  <a:gd name="connsiteY6" fmla="*/ 9739 h 9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440" h="9739">
                    <a:moveTo>
                      <a:pt x="42571" y="9739"/>
                    </a:moveTo>
                    <a:lnTo>
                      <a:pt x="4870" y="9739"/>
                    </a:lnTo>
                    <a:cubicBezTo>
                      <a:pt x="2184" y="9739"/>
                      <a:pt x="0" y="7555"/>
                      <a:pt x="0" y="4870"/>
                    </a:cubicBezTo>
                    <a:cubicBezTo>
                      <a:pt x="0" y="2184"/>
                      <a:pt x="2184" y="0"/>
                      <a:pt x="4870" y="0"/>
                    </a:cubicBezTo>
                    <a:lnTo>
                      <a:pt x="42571" y="0"/>
                    </a:lnTo>
                    <a:cubicBezTo>
                      <a:pt x="45257" y="0"/>
                      <a:pt x="47441" y="2184"/>
                      <a:pt x="47441" y="4870"/>
                    </a:cubicBezTo>
                    <a:cubicBezTo>
                      <a:pt x="47441" y="7555"/>
                      <a:pt x="45257" y="9739"/>
                      <a:pt x="42571" y="9739"/>
                    </a:cubicBezTo>
                    <a:close/>
                  </a:path>
                </a:pathLst>
              </a:custGeom>
              <a:solidFill>
                <a:schemeClr val="accent1"/>
              </a:solidFill>
              <a:ln w="2504" cap="flat">
                <a:noFill/>
                <a:prstDash val="solid"/>
                <a:miter/>
              </a:ln>
            </p:spPr>
            <p:txBody>
              <a:bodyPr rtlCol="0" anchor="ctr"/>
              <a:lstStyle/>
              <a:p>
                <a:endParaRPr lang="en-GB" dirty="0"/>
              </a:p>
            </p:txBody>
          </p:sp>
          <p:sp>
            <p:nvSpPr>
              <p:cNvPr id="480" name="Freihandform: Form 303">
                <a:extLst>
                  <a:ext uri="{FF2B5EF4-FFF2-40B4-BE49-F238E27FC236}">
                    <a16:creationId xmlns:a16="http://schemas.microsoft.com/office/drawing/2014/main" id="{01FEF813-CB0B-48CB-8A31-A782A864B3F8}"/>
                  </a:ext>
                </a:extLst>
              </p:cNvPr>
              <p:cNvSpPr/>
              <p:nvPr/>
            </p:nvSpPr>
            <p:spPr>
              <a:xfrm>
                <a:off x="2737582" y="1743125"/>
                <a:ext cx="9739" cy="87451"/>
              </a:xfrm>
              <a:custGeom>
                <a:avLst/>
                <a:gdLst>
                  <a:gd name="connsiteX0" fmla="*/ 4870 w 9739"/>
                  <a:gd name="connsiteY0" fmla="*/ 87451 h 87451"/>
                  <a:gd name="connsiteX1" fmla="*/ 0 w 9739"/>
                  <a:gd name="connsiteY1" fmla="*/ 82582 h 87451"/>
                  <a:gd name="connsiteX2" fmla="*/ 0 w 9739"/>
                  <a:gd name="connsiteY2" fmla="*/ 4870 h 87451"/>
                  <a:gd name="connsiteX3" fmla="*/ 4870 w 9739"/>
                  <a:gd name="connsiteY3" fmla="*/ 0 h 87451"/>
                  <a:gd name="connsiteX4" fmla="*/ 9739 w 9739"/>
                  <a:gd name="connsiteY4" fmla="*/ 4870 h 87451"/>
                  <a:gd name="connsiteX5" fmla="*/ 9739 w 9739"/>
                  <a:gd name="connsiteY5" fmla="*/ 82607 h 87451"/>
                  <a:gd name="connsiteX6" fmla="*/ 4870 w 9739"/>
                  <a:gd name="connsiteY6" fmla="*/ 87451 h 87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39" h="87451">
                    <a:moveTo>
                      <a:pt x="4870" y="87451"/>
                    </a:moveTo>
                    <a:cubicBezTo>
                      <a:pt x="2184" y="87451"/>
                      <a:pt x="0" y="85267"/>
                      <a:pt x="0" y="82582"/>
                    </a:cubicBezTo>
                    <a:lnTo>
                      <a:pt x="0" y="4870"/>
                    </a:lnTo>
                    <a:cubicBezTo>
                      <a:pt x="0" y="2184"/>
                      <a:pt x="2184" y="0"/>
                      <a:pt x="4870" y="0"/>
                    </a:cubicBezTo>
                    <a:cubicBezTo>
                      <a:pt x="7555" y="0"/>
                      <a:pt x="9739" y="2184"/>
                      <a:pt x="9739" y="4870"/>
                    </a:cubicBezTo>
                    <a:lnTo>
                      <a:pt x="9739" y="82607"/>
                    </a:lnTo>
                    <a:cubicBezTo>
                      <a:pt x="9739" y="85292"/>
                      <a:pt x="7555" y="87451"/>
                      <a:pt x="4870" y="87451"/>
                    </a:cubicBezTo>
                    <a:close/>
                  </a:path>
                </a:pathLst>
              </a:custGeom>
              <a:solidFill>
                <a:schemeClr val="accent1"/>
              </a:solidFill>
              <a:ln w="2504" cap="flat">
                <a:noFill/>
                <a:prstDash val="solid"/>
                <a:miter/>
              </a:ln>
            </p:spPr>
            <p:txBody>
              <a:bodyPr rtlCol="0" anchor="ctr"/>
              <a:lstStyle/>
              <a:p>
                <a:endParaRPr lang="en-GB" dirty="0"/>
              </a:p>
            </p:txBody>
          </p:sp>
          <p:sp>
            <p:nvSpPr>
              <p:cNvPr id="481" name="Freihandform: Form 330">
                <a:extLst>
                  <a:ext uri="{FF2B5EF4-FFF2-40B4-BE49-F238E27FC236}">
                    <a16:creationId xmlns:a16="http://schemas.microsoft.com/office/drawing/2014/main" id="{C689863D-A20D-4DD2-BF32-6B3ECC0D13A4}"/>
                  </a:ext>
                </a:extLst>
              </p:cNvPr>
              <p:cNvSpPr/>
              <p:nvPr/>
            </p:nvSpPr>
            <p:spPr>
              <a:xfrm>
                <a:off x="2631416" y="2062442"/>
                <a:ext cx="94408" cy="56993"/>
              </a:xfrm>
              <a:custGeom>
                <a:avLst/>
                <a:gdLst>
                  <a:gd name="connsiteX0" fmla="*/ 4885 w 94408"/>
                  <a:gd name="connsiteY0" fmla="*/ 56994 h 56993"/>
                  <a:gd name="connsiteX1" fmla="*/ 617 w 94408"/>
                  <a:gd name="connsiteY1" fmla="*/ 54484 h 56993"/>
                  <a:gd name="connsiteX2" fmla="*/ 2500 w 94408"/>
                  <a:gd name="connsiteY2" fmla="*/ 47857 h 56993"/>
                  <a:gd name="connsiteX3" fmla="*/ 87165 w 94408"/>
                  <a:gd name="connsiteY3" fmla="*/ 617 h 56993"/>
                  <a:gd name="connsiteX4" fmla="*/ 93791 w 94408"/>
                  <a:gd name="connsiteY4" fmla="*/ 2500 h 56993"/>
                  <a:gd name="connsiteX5" fmla="*/ 91909 w 94408"/>
                  <a:gd name="connsiteY5" fmla="*/ 9127 h 56993"/>
                  <a:gd name="connsiteX6" fmla="*/ 7269 w 94408"/>
                  <a:gd name="connsiteY6" fmla="*/ 56366 h 56993"/>
                  <a:gd name="connsiteX7" fmla="*/ 4885 w 94408"/>
                  <a:gd name="connsiteY7" fmla="*/ 56994 h 56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408" h="56993">
                    <a:moveTo>
                      <a:pt x="4885" y="56994"/>
                    </a:moveTo>
                    <a:cubicBezTo>
                      <a:pt x="3178" y="56994"/>
                      <a:pt x="1521" y="56090"/>
                      <a:pt x="617" y="54484"/>
                    </a:cubicBezTo>
                    <a:cubicBezTo>
                      <a:pt x="-688" y="52124"/>
                      <a:pt x="140" y="49162"/>
                      <a:pt x="2500" y="47857"/>
                    </a:cubicBezTo>
                    <a:lnTo>
                      <a:pt x="87165" y="617"/>
                    </a:lnTo>
                    <a:cubicBezTo>
                      <a:pt x="89524" y="-688"/>
                      <a:pt x="92486" y="140"/>
                      <a:pt x="93791" y="2500"/>
                    </a:cubicBezTo>
                    <a:cubicBezTo>
                      <a:pt x="95097" y="4859"/>
                      <a:pt x="94268" y="7821"/>
                      <a:pt x="91909" y="9127"/>
                    </a:cubicBezTo>
                    <a:lnTo>
                      <a:pt x="7269" y="56366"/>
                    </a:lnTo>
                    <a:cubicBezTo>
                      <a:pt x="6516" y="56793"/>
                      <a:pt x="5688" y="56994"/>
                      <a:pt x="4885" y="56994"/>
                    </a:cubicBezTo>
                    <a:close/>
                  </a:path>
                </a:pathLst>
              </a:custGeom>
              <a:solidFill>
                <a:schemeClr val="accent1"/>
              </a:solidFill>
              <a:ln w="2504" cap="flat">
                <a:noFill/>
                <a:prstDash val="solid"/>
                <a:miter/>
              </a:ln>
            </p:spPr>
            <p:txBody>
              <a:bodyPr rtlCol="0" anchor="ctr"/>
              <a:lstStyle/>
              <a:p>
                <a:endParaRPr lang="en-GB" dirty="0"/>
              </a:p>
            </p:txBody>
          </p:sp>
          <p:sp>
            <p:nvSpPr>
              <p:cNvPr id="482" name="Freihandform: Form 331">
                <a:extLst>
                  <a:ext uri="{FF2B5EF4-FFF2-40B4-BE49-F238E27FC236}">
                    <a16:creationId xmlns:a16="http://schemas.microsoft.com/office/drawing/2014/main" id="{0A325982-D91D-4B4B-A4CC-ABA857FB8256}"/>
                  </a:ext>
                </a:extLst>
              </p:cNvPr>
              <p:cNvSpPr/>
              <p:nvPr/>
            </p:nvSpPr>
            <p:spPr>
              <a:xfrm>
                <a:off x="2576819" y="2099502"/>
                <a:ext cx="89493" cy="47268"/>
              </a:xfrm>
              <a:custGeom>
                <a:avLst/>
                <a:gdLst>
                  <a:gd name="connsiteX0" fmla="*/ 4862 w 89493"/>
                  <a:gd name="connsiteY0" fmla="*/ 47268 h 47268"/>
                  <a:gd name="connsiteX1" fmla="*/ 771 w 89493"/>
                  <a:gd name="connsiteY1" fmla="*/ 45034 h 47268"/>
                  <a:gd name="connsiteX2" fmla="*/ 946 w 89493"/>
                  <a:gd name="connsiteY2" fmla="*/ 39512 h 47268"/>
                  <a:gd name="connsiteX3" fmla="*/ 28432 w 89493"/>
                  <a:gd name="connsiteY3" fmla="*/ 1987 h 47268"/>
                  <a:gd name="connsiteX4" fmla="*/ 34180 w 89493"/>
                  <a:gd name="connsiteY4" fmla="*/ 355 h 47268"/>
                  <a:gd name="connsiteX5" fmla="*/ 86440 w 89493"/>
                  <a:gd name="connsiteY5" fmla="*/ 21389 h 47268"/>
                  <a:gd name="connsiteX6" fmla="*/ 89477 w 89493"/>
                  <a:gd name="connsiteY6" fmla="*/ 26334 h 47268"/>
                  <a:gd name="connsiteX7" fmla="*/ 85611 w 89493"/>
                  <a:gd name="connsiteY7" fmla="*/ 30677 h 47268"/>
                  <a:gd name="connsiteX8" fmla="*/ 5866 w 89493"/>
                  <a:gd name="connsiteY8" fmla="*/ 47168 h 47268"/>
                  <a:gd name="connsiteX9" fmla="*/ 4862 w 89493"/>
                  <a:gd name="connsiteY9" fmla="*/ 47268 h 47268"/>
                  <a:gd name="connsiteX10" fmla="*/ 34029 w 89493"/>
                  <a:gd name="connsiteY10" fmla="*/ 10797 h 47268"/>
                  <a:gd name="connsiteX11" fmla="*/ 16258 w 89493"/>
                  <a:gd name="connsiteY11" fmla="*/ 35069 h 47268"/>
                  <a:gd name="connsiteX12" fmla="*/ 67815 w 89493"/>
                  <a:gd name="connsiteY12" fmla="*/ 24402 h 47268"/>
                  <a:gd name="connsiteX13" fmla="*/ 34029 w 89493"/>
                  <a:gd name="connsiteY13" fmla="*/ 10797 h 47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493" h="47268">
                    <a:moveTo>
                      <a:pt x="4862" y="47268"/>
                    </a:moveTo>
                    <a:cubicBezTo>
                      <a:pt x="3231" y="47268"/>
                      <a:pt x="1674" y="46440"/>
                      <a:pt x="771" y="45034"/>
                    </a:cubicBezTo>
                    <a:cubicBezTo>
                      <a:pt x="-309" y="43328"/>
                      <a:pt x="-258" y="41144"/>
                      <a:pt x="946" y="39512"/>
                    </a:cubicBezTo>
                    <a:lnTo>
                      <a:pt x="28432" y="1987"/>
                    </a:lnTo>
                    <a:cubicBezTo>
                      <a:pt x="29762" y="179"/>
                      <a:pt x="32122" y="-473"/>
                      <a:pt x="34180" y="355"/>
                    </a:cubicBezTo>
                    <a:lnTo>
                      <a:pt x="86440" y="21389"/>
                    </a:lnTo>
                    <a:cubicBezTo>
                      <a:pt x="88423" y="22193"/>
                      <a:pt x="89653" y="24201"/>
                      <a:pt x="89477" y="26334"/>
                    </a:cubicBezTo>
                    <a:cubicBezTo>
                      <a:pt x="89276" y="28468"/>
                      <a:pt x="87720" y="30225"/>
                      <a:pt x="85611" y="30677"/>
                    </a:cubicBezTo>
                    <a:lnTo>
                      <a:pt x="5866" y="47168"/>
                    </a:lnTo>
                    <a:cubicBezTo>
                      <a:pt x="5515" y="47243"/>
                      <a:pt x="5189" y="47268"/>
                      <a:pt x="4862" y="47268"/>
                    </a:cubicBezTo>
                    <a:close/>
                    <a:moveTo>
                      <a:pt x="34029" y="10797"/>
                    </a:moveTo>
                    <a:lnTo>
                      <a:pt x="16258" y="35069"/>
                    </a:lnTo>
                    <a:lnTo>
                      <a:pt x="67815" y="24402"/>
                    </a:lnTo>
                    <a:lnTo>
                      <a:pt x="34029" y="10797"/>
                    </a:lnTo>
                    <a:close/>
                  </a:path>
                </a:pathLst>
              </a:custGeom>
              <a:solidFill>
                <a:schemeClr val="accent1"/>
              </a:solidFill>
              <a:ln w="2504" cap="flat">
                <a:noFill/>
                <a:prstDash val="solid"/>
                <a:miter/>
              </a:ln>
            </p:spPr>
            <p:txBody>
              <a:bodyPr rtlCol="0" anchor="ctr"/>
              <a:lstStyle/>
              <a:p>
                <a:endParaRPr lang="en-GB" dirty="0"/>
              </a:p>
            </p:txBody>
          </p:sp>
          <p:grpSp>
            <p:nvGrpSpPr>
              <p:cNvPr id="483" name="Grafik 27">
                <a:extLst>
                  <a:ext uri="{FF2B5EF4-FFF2-40B4-BE49-F238E27FC236}">
                    <a16:creationId xmlns:a16="http://schemas.microsoft.com/office/drawing/2014/main" id="{058B3AD5-BCCD-4806-A578-412211E6B27A}"/>
                  </a:ext>
                </a:extLst>
              </p:cNvPr>
              <p:cNvGrpSpPr/>
              <p:nvPr/>
            </p:nvGrpSpPr>
            <p:grpSpPr>
              <a:xfrm>
                <a:off x="2605881" y="1982667"/>
                <a:ext cx="119930" cy="58654"/>
                <a:chOff x="2605881" y="1982667"/>
                <a:chExt cx="119930" cy="58654"/>
              </a:xfrm>
              <a:solidFill>
                <a:schemeClr val="accent1"/>
              </a:solidFill>
            </p:grpSpPr>
            <p:sp>
              <p:nvSpPr>
                <p:cNvPr id="489" name="Freihandform: Form 333">
                  <a:extLst>
                    <a:ext uri="{FF2B5EF4-FFF2-40B4-BE49-F238E27FC236}">
                      <a16:creationId xmlns:a16="http://schemas.microsoft.com/office/drawing/2014/main" id="{601CACD4-FDC4-42FE-8BC7-029AF720D627}"/>
                    </a:ext>
                  </a:extLst>
                </p:cNvPr>
                <p:cNvSpPr/>
                <p:nvPr/>
              </p:nvSpPr>
              <p:spPr>
                <a:xfrm>
                  <a:off x="2649126" y="1999396"/>
                  <a:ext cx="76685" cy="41926"/>
                </a:xfrm>
                <a:custGeom>
                  <a:avLst/>
                  <a:gdLst>
                    <a:gd name="connsiteX0" fmla="*/ 71815 w 76685"/>
                    <a:gd name="connsiteY0" fmla="*/ 41926 h 41926"/>
                    <a:gd name="connsiteX1" fmla="*/ 69706 w 76685"/>
                    <a:gd name="connsiteY1" fmla="*/ 41449 h 41926"/>
                    <a:gd name="connsiteX2" fmla="*/ 2762 w 76685"/>
                    <a:gd name="connsiteY2" fmla="*/ 9270 h 41926"/>
                    <a:gd name="connsiteX3" fmla="*/ 478 w 76685"/>
                    <a:gd name="connsiteY3" fmla="*/ 2769 h 41926"/>
                    <a:gd name="connsiteX4" fmla="*/ 6979 w 76685"/>
                    <a:gd name="connsiteY4" fmla="*/ 485 h 41926"/>
                    <a:gd name="connsiteX5" fmla="*/ 73923 w 76685"/>
                    <a:gd name="connsiteY5" fmla="*/ 32664 h 41926"/>
                    <a:gd name="connsiteX6" fmla="*/ 76207 w 76685"/>
                    <a:gd name="connsiteY6" fmla="*/ 39165 h 41926"/>
                    <a:gd name="connsiteX7" fmla="*/ 71815 w 76685"/>
                    <a:gd name="connsiteY7" fmla="*/ 41926 h 41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685" h="41926">
                      <a:moveTo>
                        <a:pt x="71815" y="41926"/>
                      </a:moveTo>
                      <a:cubicBezTo>
                        <a:pt x="71112" y="41926"/>
                        <a:pt x="70384" y="41776"/>
                        <a:pt x="69706" y="41449"/>
                      </a:cubicBezTo>
                      <a:lnTo>
                        <a:pt x="2762" y="9270"/>
                      </a:lnTo>
                      <a:cubicBezTo>
                        <a:pt x="328" y="8115"/>
                        <a:pt x="-677" y="5204"/>
                        <a:pt x="478" y="2769"/>
                      </a:cubicBezTo>
                      <a:cubicBezTo>
                        <a:pt x="1658" y="359"/>
                        <a:pt x="4544" y="-695"/>
                        <a:pt x="6979" y="485"/>
                      </a:cubicBezTo>
                      <a:lnTo>
                        <a:pt x="73923" y="32664"/>
                      </a:lnTo>
                      <a:cubicBezTo>
                        <a:pt x="76358" y="33819"/>
                        <a:pt x="77362" y="36730"/>
                        <a:pt x="76207" y="39165"/>
                      </a:cubicBezTo>
                      <a:cubicBezTo>
                        <a:pt x="75379" y="40922"/>
                        <a:pt x="73647" y="41926"/>
                        <a:pt x="71815" y="41926"/>
                      </a:cubicBezTo>
                      <a:close/>
                    </a:path>
                  </a:pathLst>
                </a:custGeom>
                <a:solidFill>
                  <a:schemeClr val="accent1"/>
                </a:solidFill>
                <a:ln w="2504" cap="flat">
                  <a:noFill/>
                  <a:prstDash val="solid"/>
                  <a:miter/>
                </a:ln>
              </p:spPr>
              <p:txBody>
                <a:bodyPr rtlCol="0" anchor="ctr"/>
                <a:lstStyle/>
                <a:p>
                  <a:endParaRPr lang="en-GB" dirty="0"/>
                </a:p>
              </p:txBody>
            </p:sp>
            <p:sp>
              <p:nvSpPr>
                <p:cNvPr id="490" name="Freihandform: Form 334">
                  <a:extLst>
                    <a:ext uri="{FF2B5EF4-FFF2-40B4-BE49-F238E27FC236}">
                      <a16:creationId xmlns:a16="http://schemas.microsoft.com/office/drawing/2014/main" id="{C8350199-E1BC-48AB-A921-F8ADF2E1F526}"/>
                    </a:ext>
                  </a:extLst>
                </p:cNvPr>
                <p:cNvSpPr/>
                <p:nvPr/>
              </p:nvSpPr>
              <p:spPr>
                <a:xfrm>
                  <a:off x="2605881" y="1982667"/>
                  <a:ext cx="66332" cy="33679"/>
                </a:xfrm>
                <a:custGeom>
                  <a:avLst/>
                  <a:gdLst>
                    <a:gd name="connsiteX0" fmla="*/ 34386 w 66332"/>
                    <a:gd name="connsiteY0" fmla="*/ 33680 h 33679"/>
                    <a:gd name="connsiteX1" fmla="*/ 31323 w 66332"/>
                    <a:gd name="connsiteY1" fmla="*/ 32600 h 33679"/>
                    <a:gd name="connsiteX2" fmla="*/ 1805 w 66332"/>
                    <a:gd name="connsiteY2" fmla="*/ 8654 h 33679"/>
                    <a:gd name="connsiteX3" fmla="*/ 424 w 66332"/>
                    <a:gd name="connsiteY3" fmla="*/ 2881 h 33679"/>
                    <a:gd name="connsiteX4" fmla="*/ 5645 w 66332"/>
                    <a:gd name="connsiteY4" fmla="*/ 70 h 33679"/>
                    <a:gd name="connsiteX5" fmla="*/ 62247 w 66332"/>
                    <a:gd name="connsiteY5" fmla="*/ 9231 h 33679"/>
                    <a:gd name="connsiteX6" fmla="*/ 66263 w 66332"/>
                    <a:gd name="connsiteY6" fmla="*/ 13222 h 33679"/>
                    <a:gd name="connsiteX7" fmla="*/ 63804 w 66332"/>
                    <a:gd name="connsiteY7" fmla="*/ 18318 h 33679"/>
                    <a:gd name="connsiteX8" fmla="*/ 36720 w 66332"/>
                    <a:gd name="connsiteY8" fmla="*/ 33102 h 33679"/>
                    <a:gd name="connsiteX9" fmla="*/ 34386 w 66332"/>
                    <a:gd name="connsiteY9" fmla="*/ 33680 h 33679"/>
                    <a:gd name="connsiteX10" fmla="*/ 22136 w 66332"/>
                    <a:gd name="connsiteY10" fmla="*/ 12595 h 33679"/>
                    <a:gd name="connsiteX11" fmla="*/ 34938 w 66332"/>
                    <a:gd name="connsiteY11" fmla="*/ 22962 h 33679"/>
                    <a:gd name="connsiteX12" fmla="*/ 46660 w 66332"/>
                    <a:gd name="connsiteY12" fmla="*/ 16561 h 33679"/>
                    <a:gd name="connsiteX13" fmla="*/ 22136 w 66332"/>
                    <a:gd name="connsiteY13" fmla="*/ 12595 h 33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332" h="33679">
                      <a:moveTo>
                        <a:pt x="34386" y="33680"/>
                      </a:moveTo>
                      <a:cubicBezTo>
                        <a:pt x="33306" y="33680"/>
                        <a:pt x="32202" y="33303"/>
                        <a:pt x="31323" y="32600"/>
                      </a:cubicBezTo>
                      <a:lnTo>
                        <a:pt x="1805" y="8654"/>
                      </a:lnTo>
                      <a:cubicBezTo>
                        <a:pt x="98" y="7274"/>
                        <a:pt x="-480" y="4889"/>
                        <a:pt x="424" y="2881"/>
                      </a:cubicBezTo>
                      <a:cubicBezTo>
                        <a:pt x="1328" y="873"/>
                        <a:pt x="3386" y="-307"/>
                        <a:pt x="5645" y="70"/>
                      </a:cubicBezTo>
                      <a:lnTo>
                        <a:pt x="62247" y="9231"/>
                      </a:lnTo>
                      <a:cubicBezTo>
                        <a:pt x="64306" y="9558"/>
                        <a:pt x="65912" y="11164"/>
                        <a:pt x="66263" y="13222"/>
                      </a:cubicBezTo>
                      <a:cubicBezTo>
                        <a:pt x="66615" y="15281"/>
                        <a:pt x="65611" y="17314"/>
                        <a:pt x="63804" y="18318"/>
                      </a:cubicBezTo>
                      <a:lnTo>
                        <a:pt x="36720" y="33102"/>
                      </a:lnTo>
                      <a:cubicBezTo>
                        <a:pt x="35992" y="33479"/>
                        <a:pt x="35189" y="33680"/>
                        <a:pt x="34386" y="33680"/>
                      </a:cubicBezTo>
                      <a:close/>
                      <a:moveTo>
                        <a:pt x="22136" y="12595"/>
                      </a:moveTo>
                      <a:lnTo>
                        <a:pt x="34938" y="22962"/>
                      </a:lnTo>
                      <a:lnTo>
                        <a:pt x="46660" y="16561"/>
                      </a:lnTo>
                      <a:lnTo>
                        <a:pt x="22136" y="12595"/>
                      </a:lnTo>
                      <a:close/>
                    </a:path>
                  </a:pathLst>
                </a:custGeom>
                <a:solidFill>
                  <a:schemeClr val="accent1"/>
                </a:solidFill>
                <a:ln w="2504" cap="flat">
                  <a:noFill/>
                  <a:prstDash val="solid"/>
                  <a:miter/>
                </a:ln>
              </p:spPr>
              <p:txBody>
                <a:bodyPr rtlCol="0" anchor="ctr"/>
                <a:lstStyle/>
                <a:p>
                  <a:endParaRPr lang="en-GB" dirty="0"/>
                </a:p>
              </p:txBody>
            </p:sp>
          </p:grpSp>
          <p:sp>
            <p:nvSpPr>
              <p:cNvPr id="484" name="Freihandform: Form 336">
                <a:extLst>
                  <a:ext uri="{FF2B5EF4-FFF2-40B4-BE49-F238E27FC236}">
                    <a16:creationId xmlns:a16="http://schemas.microsoft.com/office/drawing/2014/main" id="{7EDCDE32-D06F-4A8F-9A93-2AD2542776B5}"/>
                  </a:ext>
                </a:extLst>
              </p:cNvPr>
              <p:cNvSpPr/>
              <p:nvPr/>
            </p:nvSpPr>
            <p:spPr>
              <a:xfrm>
                <a:off x="2760384" y="2062431"/>
                <a:ext cx="94383" cy="57004"/>
              </a:xfrm>
              <a:custGeom>
                <a:avLst/>
                <a:gdLst>
                  <a:gd name="connsiteX0" fmla="*/ 89499 w 94383"/>
                  <a:gd name="connsiteY0" fmla="*/ 57005 h 57004"/>
                  <a:gd name="connsiteX1" fmla="*/ 87140 w 94383"/>
                  <a:gd name="connsiteY1" fmla="*/ 56377 h 57004"/>
                  <a:gd name="connsiteX2" fmla="*/ 2500 w 94383"/>
                  <a:gd name="connsiteY2" fmla="*/ 9138 h 57004"/>
                  <a:gd name="connsiteX3" fmla="*/ 617 w 94383"/>
                  <a:gd name="connsiteY3" fmla="*/ 2511 h 57004"/>
                  <a:gd name="connsiteX4" fmla="*/ 7244 w 94383"/>
                  <a:gd name="connsiteY4" fmla="*/ 629 h 57004"/>
                  <a:gd name="connsiteX5" fmla="*/ 91884 w 94383"/>
                  <a:gd name="connsiteY5" fmla="*/ 47868 h 57004"/>
                  <a:gd name="connsiteX6" fmla="*/ 93766 w 94383"/>
                  <a:gd name="connsiteY6" fmla="*/ 54495 h 57004"/>
                  <a:gd name="connsiteX7" fmla="*/ 89499 w 94383"/>
                  <a:gd name="connsiteY7" fmla="*/ 57005 h 57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383" h="57004">
                    <a:moveTo>
                      <a:pt x="89499" y="57005"/>
                    </a:moveTo>
                    <a:cubicBezTo>
                      <a:pt x="88696" y="57005"/>
                      <a:pt x="87893" y="56804"/>
                      <a:pt x="87140" y="56377"/>
                    </a:cubicBezTo>
                    <a:lnTo>
                      <a:pt x="2500" y="9138"/>
                    </a:lnTo>
                    <a:cubicBezTo>
                      <a:pt x="140" y="7832"/>
                      <a:pt x="-688" y="4845"/>
                      <a:pt x="617" y="2511"/>
                    </a:cubicBezTo>
                    <a:cubicBezTo>
                      <a:pt x="1923" y="152"/>
                      <a:pt x="4885" y="-702"/>
                      <a:pt x="7244" y="629"/>
                    </a:cubicBezTo>
                    <a:lnTo>
                      <a:pt x="91884" y="47868"/>
                    </a:lnTo>
                    <a:cubicBezTo>
                      <a:pt x="94243" y="49173"/>
                      <a:pt x="95072" y="52160"/>
                      <a:pt x="93766" y="54495"/>
                    </a:cubicBezTo>
                    <a:cubicBezTo>
                      <a:pt x="92863" y="56101"/>
                      <a:pt x="91206" y="57005"/>
                      <a:pt x="89499" y="57005"/>
                    </a:cubicBezTo>
                    <a:close/>
                  </a:path>
                </a:pathLst>
              </a:custGeom>
              <a:solidFill>
                <a:schemeClr val="accent1"/>
              </a:solidFill>
              <a:ln w="2504" cap="flat">
                <a:noFill/>
                <a:prstDash val="solid"/>
                <a:miter/>
              </a:ln>
            </p:spPr>
            <p:txBody>
              <a:bodyPr rtlCol="0" anchor="ctr"/>
              <a:lstStyle/>
              <a:p>
                <a:endParaRPr lang="en-GB" dirty="0"/>
              </a:p>
            </p:txBody>
          </p:sp>
          <p:sp>
            <p:nvSpPr>
              <p:cNvPr id="485" name="Freihandform: Form 337">
                <a:extLst>
                  <a:ext uri="{FF2B5EF4-FFF2-40B4-BE49-F238E27FC236}">
                    <a16:creationId xmlns:a16="http://schemas.microsoft.com/office/drawing/2014/main" id="{2885316D-7C76-4053-8439-9AB8988557D2}"/>
                  </a:ext>
                </a:extLst>
              </p:cNvPr>
              <p:cNvSpPr/>
              <p:nvPr/>
            </p:nvSpPr>
            <p:spPr>
              <a:xfrm>
                <a:off x="2819891" y="2099506"/>
                <a:ext cx="89489" cy="47263"/>
              </a:xfrm>
              <a:custGeom>
                <a:avLst/>
                <a:gdLst>
                  <a:gd name="connsiteX0" fmla="*/ 84611 w 89489"/>
                  <a:gd name="connsiteY0" fmla="*/ 47264 h 47263"/>
                  <a:gd name="connsiteX1" fmla="*/ 83632 w 89489"/>
                  <a:gd name="connsiteY1" fmla="*/ 47164 h 47263"/>
                  <a:gd name="connsiteX2" fmla="*/ 3887 w 89489"/>
                  <a:gd name="connsiteY2" fmla="*/ 30672 h 47263"/>
                  <a:gd name="connsiteX3" fmla="*/ 21 w 89489"/>
                  <a:gd name="connsiteY3" fmla="*/ 26330 h 47263"/>
                  <a:gd name="connsiteX4" fmla="*/ 3059 w 89489"/>
                  <a:gd name="connsiteY4" fmla="*/ 21385 h 47263"/>
                  <a:gd name="connsiteX5" fmla="*/ 55318 w 89489"/>
                  <a:gd name="connsiteY5" fmla="*/ 351 h 47263"/>
                  <a:gd name="connsiteX6" fmla="*/ 61066 w 89489"/>
                  <a:gd name="connsiteY6" fmla="*/ 1982 h 47263"/>
                  <a:gd name="connsiteX7" fmla="*/ 88552 w 89489"/>
                  <a:gd name="connsiteY7" fmla="*/ 39508 h 47263"/>
                  <a:gd name="connsiteX8" fmla="*/ 88728 w 89489"/>
                  <a:gd name="connsiteY8" fmla="*/ 45030 h 47263"/>
                  <a:gd name="connsiteX9" fmla="*/ 84611 w 89489"/>
                  <a:gd name="connsiteY9" fmla="*/ 47264 h 47263"/>
                  <a:gd name="connsiteX10" fmla="*/ 21658 w 89489"/>
                  <a:gd name="connsiteY10" fmla="*/ 24397 h 47263"/>
                  <a:gd name="connsiteX11" fmla="*/ 73215 w 89489"/>
                  <a:gd name="connsiteY11" fmla="*/ 35065 h 47263"/>
                  <a:gd name="connsiteX12" fmla="*/ 55444 w 89489"/>
                  <a:gd name="connsiteY12" fmla="*/ 10792 h 47263"/>
                  <a:gd name="connsiteX13" fmla="*/ 21658 w 89489"/>
                  <a:gd name="connsiteY13" fmla="*/ 24397 h 4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9489" h="47263">
                    <a:moveTo>
                      <a:pt x="84611" y="47264"/>
                    </a:moveTo>
                    <a:cubicBezTo>
                      <a:pt x="84285" y="47264"/>
                      <a:pt x="83958" y="47239"/>
                      <a:pt x="83632" y="47164"/>
                    </a:cubicBezTo>
                    <a:lnTo>
                      <a:pt x="3887" y="30672"/>
                    </a:lnTo>
                    <a:cubicBezTo>
                      <a:pt x="1778" y="30246"/>
                      <a:pt x="222" y="28489"/>
                      <a:pt x="21" y="26330"/>
                    </a:cubicBezTo>
                    <a:cubicBezTo>
                      <a:pt x="-179" y="24196"/>
                      <a:pt x="1051" y="22188"/>
                      <a:pt x="3059" y="21385"/>
                    </a:cubicBezTo>
                    <a:lnTo>
                      <a:pt x="55318" y="351"/>
                    </a:lnTo>
                    <a:cubicBezTo>
                      <a:pt x="57377" y="-478"/>
                      <a:pt x="59761" y="200"/>
                      <a:pt x="61066" y="1982"/>
                    </a:cubicBezTo>
                    <a:lnTo>
                      <a:pt x="88552" y="39508"/>
                    </a:lnTo>
                    <a:cubicBezTo>
                      <a:pt x="89732" y="41139"/>
                      <a:pt x="89807" y="43323"/>
                      <a:pt x="88728" y="45030"/>
                    </a:cubicBezTo>
                    <a:cubicBezTo>
                      <a:pt x="87799" y="46436"/>
                      <a:pt x="86268" y="47264"/>
                      <a:pt x="84611" y="47264"/>
                    </a:cubicBezTo>
                    <a:close/>
                    <a:moveTo>
                      <a:pt x="21658" y="24397"/>
                    </a:moveTo>
                    <a:lnTo>
                      <a:pt x="73215" y="35065"/>
                    </a:lnTo>
                    <a:lnTo>
                      <a:pt x="55444" y="10792"/>
                    </a:lnTo>
                    <a:lnTo>
                      <a:pt x="21658" y="24397"/>
                    </a:lnTo>
                    <a:close/>
                  </a:path>
                </a:pathLst>
              </a:custGeom>
              <a:solidFill>
                <a:schemeClr val="accent1"/>
              </a:solidFill>
              <a:ln w="2504" cap="flat">
                <a:noFill/>
                <a:prstDash val="solid"/>
                <a:miter/>
              </a:ln>
            </p:spPr>
            <p:txBody>
              <a:bodyPr rtlCol="0" anchor="ctr"/>
              <a:lstStyle/>
              <a:p>
                <a:endParaRPr lang="en-GB" dirty="0"/>
              </a:p>
            </p:txBody>
          </p:sp>
          <p:grpSp>
            <p:nvGrpSpPr>
              <p:cNvPr id="486" name="Grafik 27">
                <a:extLst>
                  <a:ext uri="{FF2B5EF4-FFF2-40B4-BE49-F238E27FC236}">
                    <a16:creationId xmlns:a16="http://schemas.microsoft.com/office/drawing/2014/main" id="{C11D9448-A178-4606-BA35-4EA415A9D1EC}"/>
                  </a:ext>
                </a:extLst>
              </p:cNvPr>
              <p:cNvGrpSpPr/>
              <p:nvPr/>
            </p:nvGrpSpPr>
            <p:grpSpPr>
              <a:xfrm>
                <a:off x="2760361" y="1982642"/>
                <a:ext cx="119941" cy="58679"/>
                <a:chOff x="2760361" y="1982642"/>
                <a:chExt cx="119941" cy="58679"/>
              </a:xfrm>
              <a:solidFill>
                <a:schemeClr val="accent1"/>
              </a:solidFill>
            </p:grpSpPr>
            <p:sp>
              <p:nvSpPr>
                <p:cNvPr id="487" name="Freihandform: Form 339">
                  <a:extLst>
                    <a:ext uri="{FF2B5EF4-FFF2-40B4-BE49-F238E27FC236}">
                      <a16:creationId xmlns:a16="http://schemas.microsoft.com/office/drawing/2014/main" id="{A081B17F-10CA-4E2D-ADE5-D3D9DE961422}"/>
                    </a:ext>
                  </a:extLst>
                </p:cNvPr>
                <p:cNvSpPr/>
                <p:nvPr/>
              </p:nvSpPr>
              <p:spPr>
                <a:xfrm>
                  <a:off x="2760361" y="1999391"/>
                  <a:ext cx="76707" cy="41930"/>
                </a:xfrm>
                <a:custGeom>
                  <a:avLst/>
                  <a:gdLst>
                    <a:gd name="connsiteX0" fmla="*/ 4882 w 76707"/>
                    <a:gd name="connsiteY0" fmla="*/ 41931 h 41930"/>
                    <a:gd name="connsiteX1" fmla="*/ 489 w 76707"/>
                    <a:gd name="connsiteY1" fmla="*/ 39169 h 41930"/>
                    <a:gd name="connsiteX2" fmla="*/ 2773 w 76707"/>
                    <a:gd name="connsiteY2" fmla="*/ 32668 h 41930"/>
                    <a:gd name="connsiteX3" fmla="*/ 69717 w 76707"/>
                    <a:gd name="connsiteY3" fmla="*/ 489 h 41930"/>
                    <a:gd name="connsiteX4" fmla="*/ 76218 w 76707"/>
                    <a:gd name="connsiteY4" fmla="*/ 2773 h 41930"/>
                    <a:gd name="connsiteX5" fmla="*/ 73934 w 76707"/>
                    <a:gd name="connsiteY5" fmla="*/ 9274 h 41930"/>
                    <a:gd name="connsiteX6" fmla="*/ 6990 w 76707"/>
                    <a:gd name="connsiteY6" fmla="*/ 41454 h 41930"/>
                    <a:gd name="connsiteX7" fmla="*/ 4882 w 76707"/>
                    <a:gd name="connsiteY7" fmla="*/ 41931 h 4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707" h="41930">
                      <a:moveTo>
                        <a:pt x="4882" y="41931"/>
                      </a:moveTo>
                      <a:cubicBezTo>
                        <a:pt x="3074" y="41931"/>
                        <a:pt x="1318" y="40901"/>
                        <a:pt x="489" y="39169"/>
                      </a:cubicBezTo>
                      <a:cubicBezTo>
                        <a:pt x="-691" y="36735"/>
                        <a:pt x="339" y="33823"/>
                        <a:pt x="2773" y="32668"/>
                      </a:cubicBezTo>
                      <a:lnTo>
                        <a:pt x="69717" y="489"/>
                      </a:lnTo>
                      <a:cubicBezTo>
                        <a:pt x="72177" y="-691"/>
                        <a:pt x="75064" y="338"/>
                        <a:pt x="76218" y="2773"/>
                      </a:cubicBezTo>
                      <a:cubicBezTo>
                        <a:pt x="77398" y="5208"/>
                        <a:pt x="76369" y="8120"/>
                        <a:pt x="73934" y="9274"/>
                      </a:cubicBezTo>
                      <a:lnTo>
                        <a:pt x="6990" y="41454"/>
                      </a:lnTo>
                      <a:cubicBezTo>
                        <a:pt x="6287" y="41780"/>
                        <a:pt x="5585" y="41931"/>
                        <a:pt x="4882" y="41931"/>
                      </a:cubicBezTo>
                      <a:close/>
                    </a:path>
                  </a:pathLst>
                </a:custGeom>
                <a:solidFill>
                  <a:schemeClr val="accent1"/>
                </a:solidFill>
                <a:ln w="2504" cap="flat">
                  <a:noFill/>
                  <a:prstDash val="solid"/>
                  <a:miter/>
                </a:ln>
              </p:spPr>
              <p:txBody>
                <a:bodyPr rtlCol="0" anchor="ctr"/>
                <a:lstStyle/>
                <a:p>
                  <a:endParaRPr lang="en-GB" dirty="0"/>
                </a:p>
              </p:txBody>
            </p:sp>
            <p:sp>
              <p:nvSpPr>
                <p:cNvPr id="488" name="Freihandform: Form 340">
                  <a:extLst>
                    <a:ext uri="{FF2B5EF4-FFF2-40B4-BE49-F238E27FC236}">
                      <a16:creationId xmlns:a16="http://schemas.microsoft.com/office/drawing/2014/main" id="{BA0A313F-1505-4FF0-8A4C-FDC5A8F70224}"/>
                    </a:ext>
                  </a:extLst>
                </p:cNvPr>
                <p:cNvSpPr/>
                <p:nvPr/>
              </p:nvSpPr>
              <p:spPr>
                <a:xfrm>
                  <a:off x="2813968" y="1982642"/>
                  <a:ext cx="66334" cy="33704"/>
                </a:xfrm>
                <a:custGeom>
                  <a:avLst/>
                  <a:gdLst>
                    <a:gd name="connsiteX0" fmla="*/ 31949 w 66334"/>
                    <a:gd name="connsiteY0" fmla="*/ 33705 h 33704"/>
                    <a:gd name="connsiteX1" fmla="*/ 29614 w 66334"/>
                    <a:gd name="connsiteY1" fmla="*/ 33102 h 33704"/>
                    <a:gd name="connsiteX2" fmla="*/ 2531 w 66334"/>
                    <a:gd name="connsiteY2" fmla="*/ 18318 h 33704"/>
                    <a:gd name="connsiteX3" fmla="*/ 71 w 66334"/>
                    <a:gd name="connsiteY3" fmla="*/ 13222 h 33704"/>
                    <a:gd name="connsiteX4" fmla="*/ 4087 w 66334"/>
                    <a:gd name="connsiteY4" fmla="*/ 9231 h 33704"/>
                    <a:gd name="connsiteX5" fmla="*/ 60689 w 66334"/>
                    <a:gd name="connsiteY5" fmla="*/ 70 h 33704"/>
                    <a:gd name="connsiteX6" fmla="*/ 65910 w 66334"/>
                    <a:gd name="connsiteY6" fmla="*/ 2881 h 33704"/>
                    <a:gd name="connsiteX7" fmla="*/ 64530 w 66334"/>
                    <a:gd name="connsiteY7" fmla="*/ 8654 h 33704"/>
                    <a:gd name="connsiteX8" fmla="*/ 35011 w 66334"/>
                    <a:gd name="connsiteY8" fmla="*/ 32600 h 33704"/>
                    <a:gd name="connsiteX9" fmla="*/ 31949 w 66334"/>
                    <a:gd name="connsiteY9" fmla="*/ 33705 h 33704"/>
                    <a:gd name="connsiteX10" fmla="*/ 19674 w 66334"/>
                    <a:gd name="connsiteY10" fmla="*/ 16586 h 33704"/>
                    <a:gd name="connsiteX11" fmla="*/ 31396 w 66334"/>
                    <a:gd name="connsiteY11" fmla="*/ 22987 h 33704"/>
                    <a:gd name="connsiteX12" fmla="*/ 44198 w 66334"/>
                    <a:gd name="connsiteY12" fmla="*/ 12620 h 33704"/>
                    <a:gd name="connsiteX13" fmla="*/ 19674 w 66334"/>
                    <a:gd name="connsiteY13" fmla="*/ 16586 h 33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6334" h="33704">
                      <a:moveTo>
                        <a:pt x="31949" y="33705"/>
                      </a:moveTo>
                      <a:cubicBezTo>
                        <a:pt x="31146" y="33705"/>
                        <a:pt x="30342" y="33504"/>
                        <a:pt x="29614" y="33102"/>
                      </a:cubicBezTo>
                      <a:lnTo>
                        <a:pt x="2531" y="18318"/>
                      </a:lnTo>
                      <a:cubicBezTo>
                        <a:pt x="698" y="17314"/>
                        <a:pt x="-281" y="15281"/>
                        <a:pt x="71" y="13222"/>
                      </a:cubicBezTo>
                      <a:cubicBezTo>
                        <a:pt x="422" y="11164"/>
                        <a:pt x="2029" y="9558"/>
                        <a:pt x="4087" y="9231"/>
                      </a:cubicBezTo>
                      <a:lnTo>
                        <a:pt x="60689" y="70"/>
                      </a:lnTo>
                      <a:cubicBezTo>
                        <a:pt x="62923" y="-307"/>
                        <a:pt x="65006" y="873"/>
                        <a:pt x="65910" y="2881"/>
                      </a:cubicBezTo>
                      <a:cubicBezTo>
                        <a:pt x="66814" y="4889"/>
                        <a:pt x="66236" y="7274"/>
                        <a:pt x="64530" y="8654"/>
                      </a:cubicBezTo>
                      <a:lnTo>
                        <a:pt x="35011" y="32600"/>
                      </a:lnTo>
                      <a:cubicBezTo>
                        <a:pt x="34133" y="33328"/>
                        <a:pt x="33053" y="33705"/>
                        <a:pt x="31949" y="33705"/>
                      </a:cubicBezTo>
                      <a:close/>
                      <a:moveTo>
                        <a:pt x="19674" y="16586"/>
                      </a:moveTo>
                      <a:lnTo>
                        <a:pt x="31396" y="22987"/>
                      </a:lnTo>
                      <a:lnTo>
                        <a:pt x="44198" y="12620"/>
                      </a:lnTo>
                      <a:lnTo>
                        <a:pt x="19674" y="16586"/>
                      </a:lnTo>
                      <a:close/>
                    </a:path>
                  </a:pathLst>
                </a:custGeom>
                <a:solidFill>
                  <a:schemeClr val="accent1"/>
                </a:solidFill>
                <a:ln w="2504" cap="flat">
                  <a:noFill/>
                  <a:prstDash val="solid"/>
                  <a:miter/>
                </a:ln>
              </p:spPr>
              <p:txBody>
                <a:bodyPr rtlCol="0" anchor="ctr"/>
                <a:lstStyle/>
                <a:p>
                  <a:endParaRPr lang="en-GB" dirty="0"/>
                </a:p>
              </p:txBody>
            </p:sp>
          </p:grpSp>
        </p:grpSp>
      </p:grpSp>
      <p:grpSp>
        <p:nvGrpSpPr>
          <p:cNvPr id="493" name="Group 492">
            <a:extLst>
              <a:ext uri="{FF2B5EF4-FFF2-40B4-BE49-F238E27FC236}">
                <a16:creationId xmlns:a16="http://schemas.microsoft.com/office/drawing/2014/main" id="{69EA3E29-1D89-4DD7-8D02-A248CBEA0979}"/>
              </a:ext>
            </a:extLst>
          </p:cNvPr>
          <p:cNvGrpSpPr>
            <a:grpSpLocks noChangeAspect="1"/>
          </p:cNvGrpSpPr>
          <p:nvPr/>
        </p:nvGrpSpPr>
        <p:grpSpPr>
          <a:xfrm>
            <a:off x="7987839" y="3197067"/>
            <a:ext cx="709652" cy="432012"/>
            <a:chOff x="7641991" y="2573087"/>
            <a:chExt cx="672831" cy="409595"/>
          </a:xfrm>
        </p:grpSpPr>
        <p:grpSp>
          <p:nvGrpSpPr>
            <p:cNvPr id="494" name="Group 493">
              <a:extLst>
                <a:ext uri="{FF2B5EF4-FFF2-40B4-BE49-F238E27FC236}">
                  <a16:creationId xmlns:a16="http://schemas.microsoft.com/office/drawing/2014/main" id="{630FC8B5-23E9-4F4E-86AC-9E052CE6187D}"/>
                </a:ext>
              </a:extLst>
            </p:cNvPr>
            <p:cNvGrpSpPr/>
            <p:nvPr/>
          </p:nvGrpSpPr>
          <p:grpSpPr>
            <a:xfrm>
              <a:off x="7641991" y="2573087"/>
              <a:ext cx="672831" cy="321204"/>
              <a:chOff x="7641993" y="2573097"/>
              <a:chExt cx="672831" cy="321206"/>
            </a:xfrm>
          </p:grpSpPr>
          <p:sp>
            <p:nvSpPr>
              <p:cNvPr id="502" name="Freihandform: Form 882">
                <a:extLst>
                  <a:ext uri="{FF2B5EF4-FFF2-40B4-BE49-F238E27FC236}">
                    <a16:creationId xmlns:a16="http://schemas.microsoft.com/office/drawing/2014/main" id="{6883F339-DEE7-4D11-AF5F-3ADDD5F22757}"/>
                  </a:ext>
                </a:extLst>
              </p:cNvPr>
              <p:cNvSpPr/>
              <p:nvPr/>
            </p:nvSpPr>
            <p:spPr>
              <a:xfrm>
                <a:off x="7811069" y="2697223"/>
                <a:ext cx="108730" cy="153906"/>
              </a:xfrm>
              <a:custGeom>
                <a:avLst/>
                <a:gdLst>
                  <a:gd name="connsiteX0" fmla="*/ 103740 w 108730"/>
                  <a:gd name="connsiteY0" fmla="*/ 153907 h 153906"/>
                  <a:gd name="connsiteX1" fmla="*/ 99650 w 108730"/>
                  <a:gd name="connsiteY1" fmla="*/ 151743 h 153906"/>
                  <a:gd name="connsiteX2" fmla="*/ 874 w 108730"/>
                  <a:gd name="connsiteY2" fmla="*/ 7788 h 153906"/>
                  <a:gd name="connsiteX3" fmla="*/ 2167 w 108730"/>
                  <a:gd name="connsiteY3" fmla="*/ 874 h 153906"/>
                  <a:gd name="connsiteX4" fmla="*/ 9081 w 108730"/>
                  <a:gd name="connsiteY4" fmla="*/ 2167 h 153906"/>
                  <a:gd name="connsiteX5" fmla="*/ 107857 w 108730"/>
                  <a:gd name="connsiteY5" fmla="*/ 146122 h 153906"/>
                  <a:gd name="connsiteX6" fmla="*/ 106564 w 108730"/>
                  <a:gd name="connsiteY6" fmla="*/ 153036 h 153906"/>
                  <a:gd name="connsiteX7" fmla="*/ 103740 w 108730"/>
                  <a:gd name="connsiteY7" fmla="*/ 153907 h 15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730" h="153906">
                    <a:moveTo>
                      <a:pt x="103740" y="153907"/>
                    </a:moveTo>
                    <a:cubicBezTo>
                      <a:pt x="102157" y="153907"/>
                      <a:pt x="100600" y="153142"/>
                      <a:pt x="99650" y="151743"/>
                    </a:cubicBezTo>
                    <a:lnTo>
                      <a:pt x="874" y="7788"/>
                    </a:lnTo>
                    <a:cubicBezTo>
                      <a:pt x="-683" y="5518"/>
                      <a:pt x="-103" y="2431"/>
                      <a:pt x="2167" y="874"/>
                    </a:cubicBezTo>
                    <a:cubicBezTo>
                      <a:pt x="4436" y="-683"/>
                      <a:pt x="7524" y="-103"/>
                      <a:pt x="9081" y="2167"/>
                    </a:cubicBezTo>
                    <a:lnTo>
                      <a:pt x="107857" y="146122"/>
                    </a:lnTo>
                    <a:cubicBezTo>
                      <a:pt x="109414" y="148392"/>
                      <a:pt x="108833" y="151479"/>
                      <a:pt x="106564" y="153036"/>
                    </a:cubicBezTo>
                    <a:cubicBezTo>
                      <a:pt x="105667" y="153617"/>
                      <a:pt x="104690" y="153907"/>
                      <a:pt x="103740" y="153907"/>
                    </a:cubicBezTo>
                    <a:close/>
                  </a:path>
                </a:pathLst>
              </a:custGeom>
              <a:solidFill>
                <a:schemeClr val="tx2"/>
              </a:solidFill>
              <a:ln w="2632" cap="flat">
                <a:noFill/>
                <a:prstDash val="solid"/>
                <a:miter/>
              </a:ln>
            </p:spPr>
            <p:txBody>
              <a:bodyPr rtlCol="0" anchor="ctr"/>
              <a:lstStyle/>
              <a:p>
                <a:endParaRPr lang="en-GB" dirty="0"/>
              </a:p>
            </p:txBody>
          </p:sp>
          <p:sp>
            <p:nvSpPr>
              <p:cNvPr id="503" name="Freihandform: Form 889">
                <a:extLst>
                  <a:ext uri="{FF2B5EF4-FFF2-40B4-BE49-F238E27FC236}">
                    <a16:creationId xmlns:a16="http://schemas.microsoft.com/office/drawing/2014/main" id="{CACC9A50-2F16-4620-A64C-4B2B3D136741}"/>
                  </a:ext>
                </a:extLst>
              </p:cNvPr>
              <p:cNvSpPr/>
              <p:nvPr/>
            </p:nvSpPr>
            <p:spPr>
              <a:xfrm>
                <a:off x="8091220" y="2697223"/>
                <a:ext cx="108705" cy="153906"/>
              </a:xfrm>
              <a:custGeom>
                <a:avLst/>
                <a:gdLst>
                  <a:gd name="connsiteX0" fmla="*/ 103742 w 108705"/>
                  <a:gd name="connsiteY0" fmla="*/ 153907 h 153906"/>
                  <a:gd name="connsiteX1" fmla="*/ 99651 w 108705"/>
                  <a:gd name="connsiteY1" fmla="*/ 151743 h 153906"/>
                  <a:gd name="connsiteX2" fmla="*/ 875 w 108705"/>
                  <a:gd name="connsiteY2" fmla="*/ 7788 h 153906"/>
                  <a:gd name="connsiteX3" fmla="*/ 2142 w 108705"/>
                  <a:gd name="connsiteY3" fmla="*/ 874 h 153906"/>
                  <a:gd name="connsiteX4" fmla="*/ 9056 w 108705"/>
                  <a:gd name="connsiteY4" fmla="*/ 2167 h 153906"/>
                  <a:gd name="connsiteX5" fmla="*/ 107832 w 108705"/>
                  <a:gd name="connsiteY5" fmla="*/ 146122 h 153906"/>
                  <a:gd name="connsiteX6" fmla="*/ 106539 w 108705"/>
                  <a:gd name="connsiteY6" fmla="*/ 153036 h 153906"/>
                  <a:gd name="connsiteX7" fmla="*/ 103742 w 108705"/>
                  <a:gd name="connsiteY7" fmla="*/ 153907 h 153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705" h="153906">
                    <a:moveTo>
                      <a:pt x="103742" y="153907"/>
                    </a:moveTo>
                    <a:cubicBezTo>
                      <a:pt x="102158" y="153907"/>
                      <a:pt x="100601" y="153142"/>
                      <a:pt x="99651" y="151743"/>
                    </a:cubicBezTo>
                    <a:lnTo>
                      <a:pt x="875" y="7788"/>
                    </a:lnTo>
                    <a:cubicBezTo>
                      <a:pt x="-682" y="5518"/>
                      <a:pt x="-101" y="2431"/>
                      <a:pt x="2142" y="874"/>
                    </a:cubicBezTo>
                    <a:cubicBezTo>
                      <a:pt x="4411" y="-683"/>
                      <a:pt x="7499" y="-103"/>
                      <a:pt x="9056" y="2167"/>
                    </a:cubicBezTo>
                    <a:lnTo>
                      <a:pt x="107832" y="146122"/>
                    </a:lnTo>
                    <a:cubicBezTo>
                      <a:pt x="109389" y="148392"/>
                      <a:pt x="108809" y="151479"/>
                      <a:pt x="106539" y="153036"/>
                    </a:cubicBezTo>
                    <a:cubicBezTo>
                      <a:pt x="105695" y="153617"/>
                      <a:pt x="104692" y="153907"/>
                      <a:pt x="103742" y="153907"/>
                    </a:cubicBezTo>
                    <a:close/>
                  </a:path>
                </a:pathLst>
              </a:custGeom>
              <a:solidFill>
                <a:schemeClr val="tx2"/>
              </a:solidFill>
              <a:ln w="2632" cap="flat">
                <a:noFill/>
                <a:prstDash val="solid"/>
                <a:miter/>
              </a:ln>
            </p:spPr>
            <p:txBody>
              <a:bodyPr rtlCol="0" anchor="ctr"/>
              <a:lstStyle/>
              <a:p>
                <a:endParaRPr lang="en-GB" dirty="0"/>
              </a:p>
            </p:txBody>
          </p:sp>
          <p:grpSp>
            <p:nvGrpSpPr>
              <p:cNvPr id="504" name="Group 503">
                <a:extLst>
                  <a:ext uri="{FF2B5EF4-FFF2-40B4-BE49-F238E27FC236}">
                    <a16:creationId xmlns:a16="http://schemas.microsoft.com/office/drawing/2014/main" id="{653C9529-F496-422D-85D3-D3EAA3F4B02E}"/>
                  </a:ext>
                </a:extLst>
              </p:cNvPr>
              <p:cNvGrpSpPr/>
              <p:nvPr/>
            </p:nvGrpSpPr>
            <p:grpSpPr>
              <a:xfrm>
                <a:off x="7641993" y="2573097"/>
                <a:ext cx="672831" cy="321206"/>
                <a:chOff x="7641993" y="2573097"/>
                <a:chExt cx="672831" cy="321206"/>
              </a:xfrm>
            </p:grpSpPr>
            <p:sp>
              <p:nvSpPr>
                <p:cNvPr id="505" name="Freihandform: Form 878">
                  <a:extLst>
                    <a:ext uri="{FF2B5EF4-FFF2-40B4-BE49-F238E27FC236}">
                      <a16:creationId xmlns:a16="http://schemas.microsoft.com/office/drawing/2014/main" id="{6A7E6B16-1716-444E-B66F-5B46923C5CCA}"/>
                    </a:ext>
                  </a:extLst>
                </p:cNvPr>
                <p:cNvSpPr/>
                <p:nvPr/>
              </p:nvSpPr>
              <p:spPr>
                <a:xfrm>
                  <a:off x="7934556" y="2659352"/>
                  <a:ext cx="47025" cy="132032"/>
                </a:xfrm>
                <a:custGeom>
                  <a:avLst/>
                  <a:gdLst>
                    <a:gd name="connsiteX0" fmla="*/ 4954 w 47025"/>
                    <a:gd name="connsiteY0" fmla="*/ 132033 h 132032"/>
                    <a:gd name="connsiteX1" fmla="*/ 2209 w 47025"/>
                    <a:gd name="connsiteY1" fmla="*/ 131188 h 132032"/>
                    <a:gd name="connsiteX2" fmla="*/ 837 w 47025"/>
                    <a:gd name="connsiteY2" fmla="*/ 124300 h 132032"/>
                    <a:gd name="connsiteX3" fmla="*/ 31502 w 47025"/>
                    <a:gd name="connsiteY3" fmla="*/ 22014 h 132032"/>
                    <a:gd name="connsiteX4" fmla="*/ 30895 w 47025"/>
                    <a:gd name="connsiteY4" fmla="*/ 19586 h 132032"/>
                    <a:gd name="connsiteX5" fmla="*/ 39498 w 47025"/>
                    <a:gd name="connsiteY5" fmla="*/ 718 h 132032"/>
                    <a:gd name="connsiteX6" fmla="*/ 46306 w 47025"/>
                    <a:gd name="connsiteY6" fmla="*/ 2407 h 132032"/>
                    <a:gd name="connsiteX7" fmla="*/ 44644 w 47025"/>
                    <a:gd name="connsiteY7" fmla="*/ 9215 h 132032"/>
                    <a:gd name="connsiteX8" fmla="*/ 40633 w 47025"/>
                    <a:gd name="connsiteY8" fmla="*/ 17765 h 132032"/>
                    <a:gd name="connsiteX9" fmla="*/ 41187 w 47025"/>
                    <a:gd name="connsiteY9" fmla="*/ 19824 h 132032"/>
                    <a:gd name="connsiteX10" fmla="*/ 9097 w 47025"/>
                    <a:gd name="connsiteY10" fmla="*/ 129789 h 132032"/>
                    <a:gd name="connsiteX11" fmla="*/ 4954 w 47025"/>
                    <a:gd name="connsiteY11" fmla="*/ 132033 h 132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025" h="132032">
                      <a:moveTo>
                        <a:pt x="4954" y="132033"/>
                      </a:moveTo>
                      <a:cubicBezTo>
                        <a:pt x="4004" y="132033"/>
                        <a:pt x="3054" y="131769"/>
                        <a:pt x="2209" y="131188"/>
                      </a:cubicBezTo>
                      <a:cubicBezTo>
                        <a:pt x="-60" y="129658"/>
                        <a:pt x="-694" y="126596"/>
                        <a:pt x="837" y="124300"/>
                      </a:cubicBezTo>
                      <a:cubicBezTo>
                        <a:pt x="1233" y="123693"/>
                        <a:pt x="40263" y="64396"/>
                        <a:pt x="31502" y="22014"/>
                      </a:cubicBezTo>
                      <a:lnTo>
                        <a:pt x="30895" y="19586"/>
                      </a:lnTo>
                      <a:cubicBezTo>
                        <a:pt x="29549" y="9506"/>
                        <a:pt x="35671" y="3040"/>
                        <a:pt x="39498" y="718"/>
                      </a:cubicBezTo>
                      <a:cubicBezTo>
                        <a:pt x="41846" y="-707"/>
                        <a:pt x="44908" y="58"/>
                        <a:pt x="46306" y="2407"/>
                      </a:cubicBezTo>
                      <a:cubicBezTo>
                        <a:pt x="47731" y="4755"/>
                        <a:pt x="46966" y="7817"/>
                        <a:pt x="44644" y="9215"/>
                      </a:cubicBezTo>
                      <a:cubicBezTo>
                        <a:pt x="44195" y="9506"/>
                        <a:pt x="39946" y="12382"/>
                        <a:pt x="40633" y="17765"/>
                      </a:cubicBezTo>
                      <a:lnTo>
                        <a:pt x="41187" y="19824"/>
                      </a:lnTo>
                      <a:cubicBezTo>
                        <a:pt x="50819" y="66454"/>
                        <a:pt x="10812" y="127230"/>
                        <a:pt x="9097" y="129789"/>
                      </a:cubicBezTo>
                      <a:cubicBezTo>
                        <a:pt x="8120" y="131241"/>
                        <a:pt x="6564" y="132033"/>
                        <a:pt x="4954" y="132033"/>
                      </a:cubicBezTo>
                      <a:close/>
                    </a:path>
                  </a:pathLst>
                </a:custGeom>
                <a:solidFill>
                  <a:schemeClr val="tx2"/>
                </a:solidFill>
                <a:ln w="2632" cap="flat">
                  <a:noFill/>
                  <a:prstDash val="solid"/>
                  <a:miter/>
                </a:ln>
              </p:spPr>
              <p:txBody>
                <a:bodyPr rtlCol="0" anchor="ctr"/>
                <a:lstStyle/>
                <a:p>
                  <a:endParaRPr lang="en-GB" dirty="0"/>
                </a:p>
              </p:txBody>
            </p:sp>
            <p:sp>
              <p:nvSpPr>
                <p:cNvPr id="506" name="Freihandform: Form 879">
                  <a:extLst>
                    <a:ext uri="{FF2B5EF4-FFF2-40B4-BE49-F238E27FC236}">
                      <a16:creationId xmlns:a16="http://schemas.microsoft.com/office/drawing/2014/main" id="{AA7FACDE-B08B-4E38-B012-6087DD8638EF}"/>
                    </a:ext>
                  </a:extLst>
                </p:cNvPr>
                <p:cNvSpPr/>
                <p:nvPr/>
              </p:nvSpPr>
              <p:spPr>
                <a:xfrm>
                  <a:off x="7696714" y="2650192"/>
                  <a:ext cx="239945" cy="144121"/>
                </a:xfrm>
                <a:custGeom>
                  <a:avLst/>
                  <a:gdLst>
                    <a:gd name="connsiteX0" fmla="*/ 4946 w 239945"/>
                    <a:gd name="connsiteY0" fmla="*/ 144122 h 144121"/>
                    <a:gd name="connsiteX1" fmla="*/ 1304 w 239945"/>
                    <a:gd name="connsiteY1" fmla="*/ 142512 h 144121"/>
                    <a:gd name="connsiteX2" fmla="*/ 1594 w 239945"/>
                    <a:gd name="connsiteY2" fmla="*/ 135492 h 144121"/>
                    <a:gd name="connsiteX3" fmla="*/ 69099 w 239945"/>
                    <a:gd name="connsiteY3" fmla="*/ 73266 h 144121"/>
                    <a:gd name="connsiteX4" fmla="*/ 89947 w 239945"/>
                    <a:gd name="connsiteY4" fmla="*/ 71524 h 144121"/>
                    <a:gd name="connsiteX5" fmla="*/ 162650 w 239945"/>
                    <a:gd name="connsiteY5" fmla="*/ 110185 h 144121"/>
                    <a:gd name="connsiteX6" fmla="*/ 194212 w 239945"/>
                    <a:gd name="connsiteY6" fmla="*/ 63554 h 144121"/>
                    <a:gd name="connsiteX7" fmla="*/ 96782 w 239945"/>
                    <a:gd name="connsiteY7" fmla="*/ 43419 h 144121"/>
                    <a:gd name="connsiteX8" fmla="*/ 97494 w 239945"/>
                    <a:gd name="connsiteY8" fmla="*/ 22254 h 144121"/>
                    <a:gd name="connsiteX9" fmla="*/ 120902 w 239945"/>
                    <a:gd name="connsiteY9" fmla="*/ 15710 h 144121"/>
                    <a:gd name="connsiteX10" fmla="*/ 231870 w 239945"/>
                    <a:gd name="connsiteY10" fmla="*/ 1090 h 144121"/>
                    <a:gd name="connsiteX11" fmla="*/ 238863 w 239945"/>
                    <a:gd name="connsiteY11" fmla="*/ 1882 h 144121"/>
                    <a:gd name="connsiteX12" fmla="*/ 238072 w 239945"/>
                    <a:gd name="connsiteY12" fmla="*/ 8849 h 144121"/>
                    <a:gd name="connsiteX13" fmla="*/ 115782 w 239945"/>
                    <a:gd name="connsiteY13" fmla="*/ 24207 h 144121"/>
                    <a:gd name="connsiteX14" fmla="*/ 108235 w 239945"/>
                    <a:gd name="connsiteY14" fmla="*/ 24920 h 144121"/>
                    <a:gd name="connsiteX15" fmla="*/ 103168 w 239945"/>
                    <a:gd name="connsiteY15" fmla="*/ 35924 h 144121"/>
                    <a:gd name="connsiteX16" fmla="*/ 204531 w 239945"/>
                    <a:gd name="connsiteY16" fmla="*/ 49911 h 144121"/>
                    <a:gd name="connsiteX17" fmla="*/ 210178 w 239945"/>
                    <a:gd name="connsiteY17" fmla="*/ 51468 h 144121"/>
                    <a:gd name="connsiteX18" fmla="*/ 210389 w 239945"/>
                    <a:gd name="connsiteY18" fmla="*/ 57326 h 144121"/>
                    <a:gd name="connsiteX19" fmla="*/ 168377 w 239945"/>
                    <a:gd name="connsiteY19" fmla="*/ 119395 h 144121"/>
                    <a:gd name="connsiteX20" fmla="*/ 161938 w 239945"/>
                    <a:gd name="connsiteY20" fmla="*/ 121004 h 144121"/>
                    <a:gd name="connsiteX21" fmla="*/ 85302 w 239945"/>
                    <a:gd name="connsiteY21" fmla="*/ 80259 h 144121"/>
                    <a:gd name="connsiteX22" fmla="*/ 75380 w 239945"/>
                    <a:gd name="connsiteY22" fmla="*/ 80919 h 144121"/>
                    <a:gd name="connsiteX23" fmla="*/ 8350 w 239945"/>
                    <a:gd name="connsiteY23" fmla="*/ 142749 h 144121"/>
                    <a:gd name="connsiteX24" fmla="*/ 4946 w 239945"/>
                    <a:gd name="connsiteY24" fmla="*/ 144122 h 144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9945" h="144121">
                      <a:moveTo>
                        <a:pt x="4946" y="144122"/>
                      </a:moveTo>
                      <a:cubicBezTo>
                        <a:pt x="3600" y="144122"/>
                        <a:pt x="2280" y="143594"/>
                        <a:pt x="1304" y="142512"/>
                      </a:cubicBezTo>
                      <a:cubicBezTo>
                        <a:pt x="-543" y="140506"/>
                        <a:pt x="-411" y="137366"/>
                        <a:pt x="1594" y="135492"/>
                      </a:cubicBezTo>
                      <a:lnTo>
                        <a:pt x="69099" y="73266"/>
                      </a:lnTo>
                      <a:cubicBezTo>
                        <a:pt x="75591" y="68568"/>
                        <a:pt x="83402" y="68014"/>
                        <a:pt x="89947" y="71524"/>
                      </a:cubicBezTo>
                      <a:lnTo>
                        <a:pt x="162650" y="110185"/>
                      </a:lnTo>
                      <a:lnTo>
                        <a:pt x="194212" y="63554"/>
                      </a:lnTo>
                      <a:cubicBezTo>
                        <a:pt x="143755" y="75904"/>
                        <a:pt x="104646" y="49330"/>
                        <a:pt x="96782" y="43419"/>
                      </a:cubicBezTo>
                      <a:cubicBezTo>
                        <a:pt x="90950" y="39038"/>
                        <a:pt x="92797" y="29248"/>
                        <a:pt x="97494" y="22254"/>
                      </a:cubicBezTo>
                      <a:cubicBezTo>
                        <a:pt x="103511" y="13335"/>
                        <a:pt x="112695" y="10775"/>
                        <a:pt x="120902" y="15710"/>
                      </a:cubicBezTo>
                      <a:cubicBezTo>
                        <a:pt x="173048" y="47113"/>
                        <a:pt x="231290" y="1565"/>
                        <a:pt x="231870" y="1090"/>
                      </a:cubicBezTo>
                      <a:cubicBezTo>
                        <a:pt x="234008" y="-625"/>
                        <a:pt x="237148" y="-282"/>
                        <a:pt x="238863" y="1882"/>
                      </a:cubicBezTo>
                      <a:cubicBezTo>
                        <a:pt x="240579" y="4019"/>
                        <a:pt x="240209" y="7160"/>
                        <a:pt x="238072" y="8849"/>
                      </a:cubicBezTo>
                      <a:cubicBezTo>
                        <a:pt x="235485" y="10907"/>
                        <a:pt x="173760" y="59147"/>
                        <a:pt x="115782" y="24207"/>
                      </a:cubicBezTo>
                      <a:cubicBezTo>
                        <a:pt x="113961" y="23125"/>
                        <a:pt x="111481" y="22202"/>
                        <a:pt x="108235" y="24920"/>
                      </a:cubicBezTo>
                      <a:cubicBezTo>
                        <a:pt x="104171" y="28377"/>
                        <a:pt x="102587" y="34420"/>
                        <a:pt x="103168" y="35924"/>
                      </a:cubicBezTo>
                      <a:cubicBezTo>
                        <a:pt x="110584" y="41334"/>
                        <a:pt x="152411" y="69677"/>
                        <a:pt x="204531" y="49911"/>
                      </a:cubicBezTo>
                      <a:cubicBezTo>
                        <a:pt x="206563" y="49145"/>
                        <a:pt x="208858" y="49779"/>
                        <a:pt x="210178" y="51468"/>
                      </a:cubicBezTo>
                      <a:cubicBezTo>
                        <a:pt x="211524" y="53157"/>
                        <a:pt x="211603" y="55532"/>
                        <a:pt x="210389" y="57326"/>
                      </a:cubicBezTo>
                      <a:lnTo>
                        <a:pt x="168377" y="119395"/>
                      </a:lnTo>
                      <a:cubicBezTo>
                        <a:pt x="166952" y="121506"/>
                        <a:pt x="164181" y="122192"/>
                        <a:pt x="161938" y="121004"/>
                      </a:cubicBezTo>
                      <a:lnTo>
                        <a:pt x="85302" y="80259"/>
                      </a:lnTo>
                      <a:cubicBezTo>
                        <a:pt x="82109" y="78570"/>
                        <a:pt x="78309" y="78807"/>
                        <a:pt x="75380" y="80919"/>
                      </a:cubicBezTo>
                      <a:lnTo>
                        <a:pt x="8350" y="142749"/>
                      </a:lnTo>
                      <a:cubicBezTo>
                        <a:pt x="7374" y="143673"/>
                        <a:pt x="6160" y="144122"/>
                        <a:pt x="4946" y="144122"/>
                      </a:cubicBezTo>
                      <a:close/>
                    </a:path>
                  </a:pathLst>
                </a:custGeom>
                <a:solidFill>
                  <a:schemeClr val="tx2"/>
                </a:solidFill>
                <a:ln w="2632" cap="flat">
                  <a:noFill/>
                  <a:prstDash val="solid"/>
                  <a:miter/>
                </a:ln>
              </p:spPr>
              <p:txBody>
                <a:bodyPr rtlCol="0" anchor="ctr"/>
                <a:lstStyle/>
                <a:p>
                  <a:endParaRPr lang="en-GB" dirty="0"/>
                </a:p>
              </p:txBody>
            </p:sp>
            <p:sp>
              <p:nvSpPr>
                <p:cNvPr id="507" name="Freihandform: Form 880">
                  <a:extLst>
                    <a:ext uri="{FF2B5EF4-FFF2-40B4-BE49-F238E27FC236}">
                      <a16:creationId xmlns:a16="http://schemas.microsoft.com/office/drawing/2014/main" id="{4FD92439-9420-4661-9FC3-EE55C7F022D5}"/>
                    </a:ext>
                  </a:extLst>
                </p:cNvPr>
                <p:cNvSpPr/>
                <p:nvPr/>
              </p:nvSpPr>
              <p:spPr>
                <a:xfrm>
                  <a:off x="7745201" y="2758427"/>
                  <a:ext cx="78711" cy="33300"/>
                </a:xfrm>
                <a:custGeom>
                  <a:avLst/>
                  <a:gdLst>
                    <a:gd name="connsiteX0" fmla="*/ 73735 w 78711"/>
                    <a:gd name="connsiteY0" fmla="*/ 33301 h 33300"/>
                    <a:gd name="connsiteX1" fmla="*/ 70885 w 78711"/>
                    <a:gd name="connsiteY1" fmla="*/ 32403 h 33300"/>
                    <a:gd name="connsiteX2" fmla="*/ 41777 w 78711"/>
                    <a:gd name="connsiteY2" fmla="*/ 11872 h 33300"/>
                    <a:gd name="connsiteX3" fmla="*/ 31221 w 78711"/>
                    <a:gd name="connsiteY3" fmla="*/ 11793 h 33300"/>
                    <a:gd name="connsiteX4" fmla="*/ 8209 w 78711"/>
                    <a:gd name="connsiteY4" fmla="*/ 31744 h 33300"/>
                    <a:gd name="connsiteX5" fmla="*/ 1216 w 78711"/>
                    <a:gd name="connsiteY5" fmla="*/ 31242 h 33300"/>
                    <a:gd name="connsiteX6" fmla="*/ 1718 w 78711"/>
                    <a:gd name="connsiteY6" fmla="*/ 24249 h 33300"/>
                    <a:gd name="connsiteX7" fmla="*/ 24809 w 78711"/>
                    <a:gd name="connsiteY7" fmla="*/ 4219 h 33300"/>
                    <a:gd name="connsiteX8" fmla="*/ 47477 w 78711"/>
                    <a:gd name="connsiteY8" fmla="*/ 3744 h 33300"/>
                    <a:gd name="connsiteX9" fmla="*/ 76611 w 78711"/>
                    <a:gd name="connsiteY9" fmla="*/ 24302 h 33300"/>
                    <a:gd name="connsiteX10" fmla="*/ 77799 w 78711"/>
                    <a:gd name="connsiteY10" fmla="*/ 31216 h 33300"/>
                    <a:gd name="connsiteX11" fmla="*/ 73735 w 78711"/>
                    <a:gd name="connsiteY11" fmla="*/ 33301 h 3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711" h="33300">
                      <a:moveTo>
                        <a:pt x="73735" y="33301"/>
                      </a:moveTo>
                      <a:cubicBezTo>
                        <a:pt x="72759" y="33301"/>
                        <a:pt x="71756" y="33010"/>
                        <a:pt x="70885" y="32403"/>
                      </a:cubicBezTo>
                      <a:lnTo>
                        <a:pt x="41777" y="11872"/>
                      </a:lnTo>
                      <a:cubicBezTo>
                        <a:pt x="39640" y="10368"/>
                        <a:pt x="35364" y="8362"/>
                        <a:pt x="31221" y="11793"/>
                      </a:cubicBezTo>
                      <a:lnTo>
                        <a:pt x="8209" y="31744"/>
                      </a:lnTo>
                      <a:cubicBezTo>
                        <a:pt x="6151" y="33538"/>
                        <a:pt x="3011" y="33327"/>
                        <a:pt x="1216" y="31242"/>
                      </a:cubicBezTo>
                      <a:cubicBezTo>
                        <a:pt x="-578" y="29158"/>
                        <a:pt x="-367" y="26044"/>
                        <a:pt x="1718" y="24249"/>
                      </a:cubicBezTo>
                      <a:lnTo>
                        <a:pt x="24809" y="4219"/>
                      </a:lnTo>
                      <a:cubicBezTo>
                        <a:pt x="31406" y="-1243"/>
                        <a:pt x="40062" y="-1402"/>
                        <a:pt x="47477" y="3744"/>
                      </a:cubicBezTo>
                      <a:lnTo>
                        <a:pt x="76611" y="24302"/>
                      </a:lnTo>
                      <a:cubicBezTo>
                        <a:pt x="78855" y="25885"/>
                        <a:pt x="79382" y="28973"/>
                        <a:pt x="77799" y="31216"/>
                      </a:cubicBezTo>
                      <a:cubicBezTo>
                        <a:pt x="76849" y="32588"/>
                        <a:pt x="75292" y="33301"/>
                        <a:pt x="73735" y="33301"/>
                      </a:cubicBezTo>
                      <a:close/>
                    </a:path>
                  </a:pathLst>
                </a:custGeom>
                <a:solidFill>
                  <a:schemeClr val="tx2"/>
                </a:solidFill>
                <a:ln w="2632" cap="flat">
                  <a:noFill/>
                  <a:prstDash val="solid"/>
                  <a:miter/>
                </a:ln>
              </p:spPr>
              <p:txBody>
                <a:bodyPr rtlCol="0" anchor="ctr"/>
                <a:lstStyle/>
                <a:p>
                  <a:endParaRPr lang="en-GB" dirty="0"/>
                </a:p>
              </p:txBody>
            </p:sp>
            <p:sp>
              <p:nvSpPr>
                <p:cNvPr id="508" name="Freihandform: Form 881">
                  <a:extLst>
                    <a:ext uri="{FF2B5EF4-FFF2-40B4-BE49-F238E27FC236}">
                      <a16:creationId xmlns:a16="http://schemas.microsoft.com/office/drawing/2014/main" id="{AE58FC47-54CF-4953-952A-5803B0C4FC94}"/>
                    </a:ext>
                  </a:extLst>
                </p:cNvPr>
                <p:cNvSpPr/>
                <p:nvPr/>
              </p:nvSpPr>
              <p:spPr>
                <a:xfrm>
                  <a:off x="7931894" y="2573097"/>
                  <a:ext cx="71890" cy="80480"/>
                </a:xfrm>
                <a:custGeom>
                  <a:avLst/>
                  <a:gdLst>
                    <a:gd name="connsiteX0" fmla="*/ 29889 w 71890"/>
                    <a:gd name="connsiteY0" fmla="*/ 80481 h 80480"/>
                    <a:gd name="connsiteX1" fmla="*/ 16299 w 71890"/>
                    <a:gd name="connsiteY1" fmla="*/ 77129 h 80480"/>
                    <a:gd name="connsiteX2" fmla="*/ 5822 w 71890"/>
                    <a:gd name="connsiteY2" fmla="*/ 24192 h 80480"/>
                    <a:gd name="connsiteX3" fmla="*/ 28015 w 71890"/>
                    <a:gd name="connsiteY3" fmla="*/ 3027 h 80480"/>
                    <a:gd name="connsiteX4" fmla="*/ 55593 w 71890"/>
                    <a:gd name="connsiteY4" fmla="*/ 3370 h 80480"/>
                    <a:gd name="connsiteX5" fmla="*/ 66069 w 71890"/>
                    <a:gd name="connsiteY5" fmla="*/ 56308 h 80480"/>
                    <a:gd name="connsiteX6" fmla="*/ 66069 w 71890"/>
                    <a:gd name="connsiteY6" fmla="*/ 56308 h 80480"/>
                    <a:gd name="connsiteX7" fmla="*/ 29889 w 71890"/>
                    <a:gd name="connsiteY7" fmla="*/ 80481 h 80480"/>
                    <a:gd name="connsiteX8" fmla="*/ 41896 w 71890"/>
                    <a:gd name="connsiteY8" fmla="*/ 9941 h 80480"/>
                    <a:gd name="connsiteX9" fmla="*/ 31974 w 71890"/>
                    <a:gd name="connsiteY9" fmla="*/ 12132 h 80480"/>
                    <a:gd name="connsiteX10" fmla="*/ 14583 w 71890"/>
                    <a:gd name="connsiteY10" fmla="*/ 28863 h 80480"/>
                    <a:gd name="connsiteX11" fmla="*/ 20943 w 71890"/>
                    <a:gd name="connsiteY11" fmla="*/ 68368 h 80480"/>
                    <a:gd name="connsiteX12" fmla="*/ 57281 w 71890"/>
                    <a:gd name="connsiteY12" fmla="*/ 51637 h 80480"/>
                    <a:gd name="connsiteX13" fmla="*/ 50895 w 71890"/>
                    <a:gd name="connsiteY13" fmla="*/ 12132 h 80480"/>
                    <a:gd name="connsiteX14" fmla="*/ 41896 w 71890"/>
                    <a:gd name="connsiteY14" fmla="*/ 9941 h 80480"/>
                    <a:gd name="connsiteX15" fmla="*/ 61689 w 71890"/>
                    <a:gd name="connsiteY15" fmla="*/ 53985 h 80480"/>
                    <a:gd name="connsiteX16" fmla="*/ 61741 w 71890"/>
                    <a:gd name="connsiteY16" fmla="*/ 53985 h 80480"/>
                    <a:gd name="connsiteX17" fmla="*/ 61689 w 71890"/>
                    <a:gd name="connsiteY17" fmla="*/ 53985 h 8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1890" h="80480">
                      <a:moveTo>
                        <a:pt x="29889" y="80481"/>
                      </a:moveTo>
                      <a:cubicBezTo>
                        <a:pt x="25165" y="80481"/>
                        <a:pt x="20547" y="79399"/>
                        <a:pt x="16299" y="77129"/>
                      </a:cubicBezTo>
                      <a:cubicBezTo>
                        <a:pt x="-301" y="68262"/>
                        <a:pt x="-4998" y="44538"/>
                        <a:pt x="5822" y="24192"/>
                      </a:cubicBezTo>
                      <a:cubicBezTo>
                        <a:pt x="10968" y="14533"/>
                        <a:pt x="18858" y="7012"/>
                        <a:pt x="28015" y="3027"/>
                      </a:cubicBezTo>
                      <a:cubicBezTo>
                        <a:pt x="37568" y="-1116"/>
                        <a:pt x="47359" y="-1010"/>
                        <a:pt x="55593" y="3370"/>
                      </a:cubicBezTo>
                      <a:cubicBezTo>
                        <a:pt x="72192" y="12211"/>
                        <a:pt x="76889" y="35961"/>
                        <a:pt x="66069" y="56308"/>
                      </a:cubicBezTo>
                      <a:lnTo>
                        <a:pt x="66069" y="56308"/>
                      </a:lnTo>
                      <a:cubicBezTo>
                        <a:pt x="58020" y="71429"/>
                        <a:pt x="43585" y="80481"/>
                        <a:pt x="29889" y="80481"/>
                      </a:cubicBezTo>
                      <a:close/>
                      <a:moveTo>
                        <a:pt x="41896" y="9941"/>
                      </a:moveTo>
                      <a:cubicBezTo>
                        <a:pt x="38703" y="9941"/>
                        <a:pt x="35325" y="10680"/>
                        <a:pt x="31974" y="12132"/>
                      </a:cubicBezTo>
                      <a:cubicBezTo>
                        <a:pt x="24875" y="15246"/>
                        <a:pt x="18700" y="21183"/>
                        <a:pt x="14583" y="28863"/>
                      </a:cubicBezTo>
                      <a:cubicBezTo>
                        <a:pt x="6323" y="44353"/>
                        <a:pt x="9173" y="62087"/>
                        <a:pt x="20943" y="68368"/>
                      </a:cubicBezTo>
                      <a:cubicBezTo>
                        <a:pt x="32739" y="74649"/>
                        <a:pt x="49021" y="67128"/>
                        <a:pt x="57281" y="51637"/>
                      </a:cubicBezTo>
                      <a:cubicBezTo>
                        <a:pt x="65541" y="36146"/>
                        <a:pt x="62691" y="18412"/>
                        <a:pt x="50895" y="12132"/>
                      </a:cubicBezTo>
                      <a:cubicBezTo>
                        <a:pt x="48177" y="10680"/>
                        <a:pt x="45116" y="9941"/>
                        <a:pt x="41896" y="9941"/>
                      </a:cubicBezTo>
                      <a:close/>
                      <a:moveTo>
                        <a:pt x="61689" y="53985"/>
                      </a:moveTo>
                      <a:lnTo>
                        <a:pt x="61741" y="53985"/>
                      </a:lnTo>
                      <a:lnTo>
                        <a:pt x="61689" y="53985"/>
                      </a:lnTo>
                      <a:close/>
                    </a:path>
                  </a:pathLst>
                </a:custGeom>
                <a:solidFill>
                  <a:schemeClr val="tx2"/>
                </a:solidFill>
                <a:ln w="2632" cap="flat">
                  <a:noFill/>
                  <a:prstDash val="solid"/>
                  <a:miter/>
                </a:ln>
              </p:spPr>
              <p:txBody>
                <a:bodyPr rtlCol="0" anchor="ctr"/>
                <a:lstStyle/>
                <a:p>
                  <a:endParaRPr lang="en-GB" dirty="0"/>
                </a:p>
              </p:txBody>
            </p:sp>
            <p:sp>
              <p:nvSpPr>
                <p:cNvPr id="509" name="Freihandform: Form 883">
                  <a:extLst>
                    <a:ext uri="{FF2B5EF4-FFF2-40B4-BE49-F238E27FC236}">
                      <a16:creationId xmlns:a16="http://schemas.microsoft.com/office/drawing/2014/main" id="{53F71247-3499-4EB5-B292-28571E6BFBB8}"/>
                    </a:ext>
                  </a:extLst>
                </p:cNvPr>
                <p:cNvSpPr/>
                <p:nvPr/>
              </p:nvSpPr>
              <p:spPr>
                <a:xfrm>
                  <a:off x="7883700" y="2811393"/>
                  <a:ext cx="75810" cy="82910"/>
                </a:xfrm>
                <a:custGeom>
                  <a:avLst/>
                  <a:gdLst>
                    <a:gd name="connsiteX0" fmla="*/ 37073 w 75810"/>
                    <a:gd name="connsiteY0" fmla="*/ 82911 h 82910"/>
                    <a:gd name="connsiteX1" fmla="*/ 36255 w 75810"/>
                    <a:gd name="connsiteY1" fmla="*/ 82831 h 82910"/>
                    <a:gd name="connsiteX2" fmla="*/ 33035 w 75810"/>
                    <a:gd name="connsiteY2" fmla="*/ 80826 h 82910"/>
                    <a:gd name="connsiteX3" fmla="*/ 6092 w 75810"/>
                    <a:gd name="connsiteY3" fmla="*/ 43168 h 82910"/>
                    <a:gd name="connsiteX4" fmla="*/ 101 w 75810"/>
                    <a:gd name="connsiteY4" fmla="*/ 22294 h 82910"/>
                    <a:gd name="connsiteX5" fmla="*/ 9918 w 75810"/>
                    <a:gd name="connsiteY5" fmla="*/ 4296 h 82910"/>
                    <a:gd name="connsiteX6" fmla="*/ 47946 w 75810"/>
                    <a:gd name="connsiteY6" fmla="*/ 13242 h 82910"/>
                    <a:gd name="connsiteX7" fmla="*/ 74889 w 75810"/>
                    <a:gd name="connsiteY7" fmla="*/ 50900 h 82910"/>
                    <a:gd name="connsiteX8" fmla="*/ 73728 w 75810"/>
                    <a:gd name="connsiteY8" fmla="*/ 57814 h 82910"/>
                    <a:gd name="connsiteX9" fmla="*/ 39950 w 75810"/>
                    <a:gd name="connsiteY9" fmla="*/ 81987 h 82910"/>
                    <a:gd name="connsiteX10" fmla="*/ 37073 w 75810"/>
                    <a:gd name="connsiteY10" fmla="*/ 82911 h 82910"/>
                    <a:gd name="connsiteX11" fmla="*/ 23641 w 75810"/>
                    <a:gd name="connsiteY11" fmla="*/ 9890 h 82910"/>
                    <a:gd name="connsiteX12" fmla="*/ 15698 w 75810"/>
                    <a:gd name="connsiteY12" fmla="*/ 12371 h 82910"/>
                    <a:gd name="connsiteX13" fmla="*/ 9997 w 75810"/>
                    <a:gd name="connsiteY13" fmla="*/ 23112 h 82910"/>
                    <a:gd name="connsiteX14" fmla="*/ 14167 w 75810"/>
                    <a:gd name="connsiteY14" fmla="*/ 37388 h 82910"/>
                    <a:gd name="connsiteX15" fmla="*/ 38208 w 75810"/>
                    <a:gd name="connsiteY15" fmla="*/ 71009 h 82910"/>
                    <a:gd name="connsiteX16" fmla="*/ 63911 w 75810"/>
                    <a:gd name="connsiteY16" fmla="*/ 52615 h 82910"/>
                    <a:gd name="connsiteX17" fmla="*/ 39870 w 75810"/>
                    <a:gd name="connsiteY17" fmla="*/ 18995 h 82910"/>
                    <a:gd name="connsiteX18" fmla="*/ 23641 w 75810"/>
                    <a:gd name="connsiteY18" fmla="*/ 9890 h 8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810" h="82910">
                      <a:moveTo>
                        <a:pt x="37073" y="82911"/>
                      </a:moveTo>
                      <a:cubicBezTo>
                        <a:pt x="36809" y="82911"/>
                        <a:pt x="36519" y="82884"/>
                        <a:pt x="36255" y="82831"/>
                      </a:cubicBezTo>
                      <a:cubicBezTo>
                        <a:pt x="34962" y="82620"/>
                        <a:pt x="33801" y="81881"/>
                        <a:pt x="33035" y="80826"/>
                      </a:cubicBezTo>
                      <a:lnTo>
                        <a:pt x="6092" y="43168"/>
                      </a:lnTo>
                      <a:cubicBezTo>
                        <a:pt x="1632" y="36913"/>
                        <a:pt x="-506" y="29498"/>
                        <a:pt x="101" y="22294"/>
                      </a:cubicBezTo>
                      <a:cubicBezTo>
                        <a:pt x="735" y="14773"/>
                        <a:pt x="4218" y="8386"/>
                        <a:pt x="9918" y="4296"/>
                      </a:cubicBezTo>
                      <a:cubicBezTo>
                        <a:pt x="21477" y="-3964"/>
                        <a:pt x="38524" y="47"/>
                        <a:pt x="47946" y="13242"/>
                      </a:cubicBezTo>
                      <a:lnTo>
                        <a:pt x="74889" y="50900"/>
                      </a:lnTo>
                      <a:cubicBezTo>
                        <a:pt x="76473" y="53143"/>
                        <a:pt x="75971" y="56231"/>
                        <a:pt x="73728" y="57814"/>
                      </a:cubicBezTo>
                      <a:lnTo>
                        <a:pt x="39950" y="81987"/>
                      </a:lnTo>
                      <a:cubicBezTo>
                        <a:pt x="39105" y="82594"/>
                        <a:pt x="38076" y="82911"/>
                        <a:pt x="37073" y="82911"/>
                      </a:cubicBezTo>
                      <a:close/>
                      <a:moveTo>
                        <a:pt x="23641" y="9890"/>
                      </a:moveTo>
                      <a:cubicBezTo>
                        <a:pt x="20791" y="9890"/>
                        <a:pt x="18020" y="10682"/>
                        <a:pt x="15698" y="12371"/>
                      </a:cubicBezTo>
                      <a:cubicBezTo>
                        <a:pt x="12399" y="14720"/>
                        <a:pt x="10393" y="18546"/>
                        <a:pt x="9997" y="23112"/>
                      </a:cubicBezTo>
                      <a:cubicBezTo>
                        <a:pt x="9575" y="27994"/>
                        <a:pt x="11053" y="33060"/>
                        <a:pt x="14167" y="37388"/>
                      </a:cubicBezTo>
                      <a:lnTo>
                        <a:pt x="38208" y="71009"/>
                      </a:lnTo>
                      <a:lnTo>
                        <a:pt x="63911" y="52615"/>
                      </a:lnTo>
                      <a:lnTo>
                        <a:pt x="39870" y="18995"/>
                      </a:lnTo>
                      <a:cubicBezTo>
                        <a:pt x="35701" y="13163"/>
                        <a:pt x="29446" y="9890"/>
                        <a:pt x="23641" y="9890"/>
                      </a:cubicBezTo>
                      <a:close/>
                    </a:path>
                  </a:pathLst>
                </a:custGeom>
                <a:solidFill>
                  <a:schemeClr val="tx2"/>
                </a:solidFill>
                <a:ln w="2632" cap="flat">
                  <a:noFill/>
                  <a:prstDash val="solid"/>
                  <a:miter/>
                </a:ln>
              </p:spPr>
              <p:txBody>
                <a:bodyPr rtlCol="0" anchor="ctr"/>
                <a:lstStyle/>
                <a:p>
                  <a:endParaRPr lang="en-GB" dirty="0"/>
                </a:p>
              </p:txBody>
            </p:sp>
            <p:sp>
              <p:nvSpPr>
                <p:cNvPr id="510" name="Freihandform: Form 885">
                  <a:extLst>
                    <a:ext uri="{FF2B5EF4-FFF2-40B4-BE49-F238E27FC236}">
                      <a16:creationId xmlns:a16="http://schemas.microsoft.com/office/drawing/2014/main" id="{32059130-DB4B-469C-885B-48517E44AFCA}"/>
                    </a:ext>
                  </a:extLst>
                </p:cNvPr>
                <p:cNvSpPr/>
                <p:nvPr/>
              </p:nvSpPr>
              <p:spPr>
                <a:xfrm>
                  <a:off x="8214708" y="2659378"/>
                  <a:ext cx="47025" cy="132006"/>
                </a:xfrm>
                <a:custGeom>
                  <a:avLst/>
                  <a:gdLst>
                    <a:gd name="connsiteX0" fmla="*/ 4954 w 47025"/>
                    <a:gd name="connsiteY0" fmla="*/ 132006 h 132006"/>
                    <a:gd name="connsiteX1" fmla="*/ 2209 w 47025"/>
                    <a:gd name="connsiteY1" fmla="*/ 131162 h 132006"/>
                    <a:gd name="connsiteX2" fmla="*/ 837 w 47025"/>
                    <a:gd name="connsiteY2" fmla="*/ 124274 h 132006"/>
                    <a:gd name="connsiteX3" fmla="*/ 31502 w 47025"/>
                    <a:gd name="connsiteY3" fmla="*/ 21988 h 132006"/>
                    <a:gd name="connsiteX4" fmla="*/ 30895 w 47025"/>
                    <a:gd name="connsiteY4" fmla="*/ 19560 h 132006"/>
                    <a:gd name="connsiteX5" fmla="*/ 39498 w 47025"/>
                    <a:gd name="connsiteY5" fmla="*/ 718 h 132006"/>
                    <a:gd name="connsiteX6" fmla="*/ 46306 w 47025"/>
                    <a:gd name="connsiteY6" fmla="*/ 2407 h 132006"/>
                    <a:gd name="connsiteX7" fmla="*/ 44644 w 47025"/>
                    <a:gd name="connsiteY7" fmla="*/ 9215 h 132006"/>
                    <a:gd name="connsiteX8" fmla="*/ 40659 w 47025"/>
                    <a:gd name="connsiteY8" fmla="*/ 17765 h 132006"/>
                    <a:gd name="connsiteX9" fmla="*/ 41187 w 47025"/>
                    <a:gd name="connsiteY9" fmla="*/ 19850 h 132006"/>
                    <a:gd name="connsiteX10" fmla="*/ 9097 w 47025"/>
                    <a:gd name="connsiteY10" fmla="*/ 129816 h 132006"/>
                    <a:gd name="connsiteX11" fmla="*/ 4954 w 47025"/>
                    <a:gd name="connsiteY11" fmla="*/ 132006 h 132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025" h="132006">
                      <a:moveTo>
                        <a:pt x="4954" y="132006"/>
                      </a:moveTo>
                      <a:cubicBezTo>
                        <a:pt x="4004" y="132006"/>
                        <a:pt x="3054" y="131742"/>
                        <a:pt x="2209" y="131162"/>
                      </a:cubicBezTo>
                      <a:cubicBezTo>
                        <a:pt x="-60" y="129657"/>
                        <a:pt x="-694" y="126570"/>
                        <a:pt x="837" y="124274"/>
                      </a:cubicBezTo>
                      <a:cubicBezTo>
                        <a:pt x="1233" y="123667"/>
                        <a:pt x="40263" y="64370"/>
                        <a:pt x="31502" y="21988"/>
                      </a:cubicBezTo>
                      <a:lnTo>
                        <a:pt x="30895" y="19560"/>
                      </a:lnTo>
                      <a:cubicBezTo>
                        <a:pt x="29549" y="9479"/>
                        <a:pt x="35671" y="3014"/>
                        <a:pt x="39498" y="718"/>
                      </a:cubicBezTo>
                      <a:cubicBezTo>
                        <a:pt x="41846" y="-707"/>
                        <a:pt x="44908" y="58"/>
                        <a:pt x="46306" y="2407"/>
                      </a:cubicBezTo>
                      <a:cubicBezTo>
                        <a:pt x="47731" y="4755"/>
                        <a:pt x="46966" y="7817"/>
                        <a:pt x="44644" y="9215"/>
                      </a:cubicBezTo>
                      <a:cubicBezTo>
                        <a:pt x="44195" y="9506"/>
                        <a:pt x="39946" y="12382"/>
                        <a:pt x="40659" y="17765"/>
                      </a:cubicBezTo>
                      <a:lnTo>
                        <a:pt x="41187" y="19850"/>
                      </a:lnTo>
                      <a:cubicBezTo>
                        <a:pt x="50819" y="66481"/>
                        <a:pt x="10812" y="127256"/>
                        <a:pt x="9097" y="129816"/>
                      </a:cubicBezTo>
                      <a:cubicBezTo>
                        <a:pt x="8147" y="131214"/>
                        <a:pt x="6564" y="132006"/>
                        <a:pt x="4954" y="132006"/>
                      </a:cubicBezTo>
                      <a:close/>
                    </a:path>
                  </a:pathLst>
                </a:custGeom>
                <a:solidFill>
                  <a:schemeClr val="tx2"/>
                </a:solidFill>
                <a:ln w="2632" cap="flat">
                  <a:noFill/>
                  <a:prstDash val="solid"/>
                  <a:miter/>
                </a:ln>
              </p:spPr>
              <p:txBody>
                <a:bodyPr rtlCol="0" anchor="ctr"/>
                <a:lstStyle/>
                <a:p>
                  <a:endParaRPr lang="en-GB" dirty="0"/>
                </a:p>
              </p:txBody>
            </p:sp>
            <p:sp>
              <p:nvSpPr>
                <p:cNvPr id="511" name="Freihandform: Form 886">
                  <a:extLst>
                    <a:ext uri="{FF2B5EF4-FFF2-40B4-BE49-F238E27FC236}">
                      <a16:creationId xmlns:a16="http://schemas.microsoft.com/office/drawing/2014/main" id="{CA8BDBD5-5AE2-4940-AC12-6E6A147E7043}"/>
                    </a:ext>
                  </a:extLst>
                </p:cNvPr>
                <p:cNvSpPr/>
                <p:nvPr/>
              </p:nvSpPr>
              <p:spPr>
                <a:xfrm>
                  <a:off x="7976867" y="2650218"/>
                  <a:ext cx="239945" cy="144095"/>
                </a:xfrm>
                <a:custGeom>
                  <a:avLst/>
                  <a:gdLst>
                    <a:gd name="connsiteX0" fmla="*/ 4946 w 239945"/>
                    <a:gd name="connsiteY0" fmla="*/ 144095 h 144095"/>
                    <a:gd name="connsiteX1" fmla="*/ 1304 w 239945"/>
                    <a:gd name="connsiteY1" fmla="*/ 142486 h 144095"/>
                    <a:gd name="connsiteX2" fmla="*/ 1594 w 239945"/>
                    <a:gd name="connsiteY2" fmla="*/ 135466 h 144095"/>
                    <a:gd name="connsiteX3" fmla="*/ 69099 w 239945"/>
                    <a:gd name="connsiteY3" fmla="*/ 73239 h 144095"/>
                    <a:gd name="connsiteX4" fmla="*/ 89947 w 239945"/>
                    <a:gd name="connsiteY4" fmla="*/ 71497 h 144095"/>
                    <a:gd name="connsiteX5" fmla="*/ 162650 w 239945"/>
                    <a:gd name="connsiteY5" fmla="*/ 110158 h 144095"/>
                    <a:gd name="connsiteX6" fmla="*/ 194212 w 239945"/>
                    <a:gd name="connsiteY6" fmla="*/ 63528 h 144095"/>
                    <a:gd name="connsiteX7" fmla="*/ 96782 w 239945"/>
                    <a:gd name="connsiteY7" fmla="*/ 43392 h 144095"/>
                    <a:gd name="connsiteX8" fmla="*/ 97494 w 239945"/>
                    <a:gd name="connsiteY8" fmla="*/ 22254 h 144095"/>
                    <a:gd name="connsiteX9" fmla="*/ 120902 w 239945"/>
                    <a:gd name="connsiteY9" fmla="*/ 15710 h 144095"/>
                    <a:gd name="connsiteX10" fmla="*/ 231870 w 239945"/>
                    <a:gd name="connsiteY10" fmla="*/ 1090 h 144095"/>
                    <a:gd name="connsiteX11" fmla="*/ 238864 w 239945"/>
                    <a:gd name="connsiteY11" fmla="*/ 1882 h 144095"/>
                    <a:gd name="connsiteX12" fmla="*/ 238072 w 239945"/>
                    <a:gd name="connsiteY12" fmla="*/ 8848 h 144095"/>
                    <a:gd name="connsiteX13" fmla="*/ 115782 w 239945"/>
                    <a:gd name="connsiteY13" fmla="*/ 24207 h 144095"/>
                    <a:gd name="connsiteX14" fmla="*/ 108235 w 239945"/>
                    <a:gd name="connsiteY14" fmla="*/ 24920 h 144095"/>
                    <a:gd name="connsiteX15" fmla="*/ 103168 w 239945"/>
                    <a:gd name="connsiteY15" fmla="*/ 35924 h 144095"/>
                    <a:gd name="connsiteX16" fmla="*/ 204531 w 239945"/>
                    <a:gd name="connsiteY16" fmla="*/ 49911 h 144095"/>
                    <a:gd name="connsiteX17" fmla="*/ 210178 w 239945"/>
                    <a:gd name="connsiteY17" fmla="*/ 51468 h 144095"/>
                    <a:gd name="connsiteX18" fmla="*/ 210389 w 239945"/>
                    <a:gd name="connsiteY18" fmla="*/ 57326 h 144095"/>
                    <a:gd name="connsiteX19" fmla="*/ 168377 w 239945"/>
                    <a:gd name="connsiteY19" fmla="*/ 119395 h 144095"/>
                    <a:gd name="connsiteX20" fmla="*/ 161938 w 239945"/>
                    <a:gd name="connsiteY20" fmla="*/ 121004 h 144095"/>
                    <a:gd name="connsiteX21" fmla="*/ 85302 w 239945"/>
                    <a:gd name="connsiteY21" fmla="*/ 80259 h 144095"/>
                    <a:gd name="connsiteX22" fmla="*/ 75380 w 239945"/>
                    <a:gd name="connsiteY22" fmla="*/ 80918 h 144095"/>
                    <a:gd name="connsiteX23" fmla="*/ 8350 w 239945"/>
                    <a:gd name="connsiteY23" fmla="*/ 142749 h 144095"/>
                    <a:gd name="connsiteX24" fmla="*/ 4946 w 239945"/>
                    <a:gd name="connsiteY24" fmla="*/ 144095 h 144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39945" h="144095">
                      <a:moveTo>
                        <a:pt x="4946" y="144095"/>
                      </a:moveTo>
                      <a:cubicBezTo>
                        <a:pt x="3600" y="144095"/>
                        <a:pt x="2281" y="143568"/>
                        <a:pt x="1304" y="142486"/>
                      </a:cubicBezTo>
                      <a:cubicBezTo>
                        <a:pt x="-543" y="140480"/>
                        <a:pt x="-411" y="137340"/>
                        <a:pt x="1594" y="135466"/>
                      </a:cubicBezTo>
                      <a:lnTo>
                        <a:pt x="69099" y="73239"/>
                      </a:lnTo>
                      <a:cubicBezTo>
                        <a:pt x="75591" y="68542"/>
                        <a:pt x="83402" y="67988"/>
                        <a:pt x="89947" y="71497"/>
                      </a:cubicBezTo>
                      <a:lnTo>
                        <a:pt x="162650" y="110158"/>
                      </a:lnTo>
                      <a:lnTo>
                        <a:pt x="194212" y="63528"/>
                      </a:lnTo>
                      <a:cubicBezTo>
                        <a:pt x="143808" y="75904"/>
                        <a:pt x="104646" y="49304"/>
                        <a:pt x="96782" y="43392"/>
                      </a:cubicBezTo>
                      <a:cubicBezTo>
                        <a:pt x="90950" y="39012"/>
                        <a:pt x="92797" y="29221"/>
                        <a:pt x="97494" y="22254"/>
                      </a:cubicBezTo>
                      <a:cubicBezTo>
                        <a:pt x="103511" y="13335"/>
                        <a:pt x="112695" y="10775"/>
                        <a:pt x="120902" y="15710"/>
                      </a:cubicBezTo>
                      <a:cubicBezTo>
                        <a:pt x="173048" y="47113"/>
                        <a:pt x="231290" y="1565"/>
                        <a:pt x="231870" y="1090"/>
                      </a:cubicBezTo>
                      <a:cubicBezTo>
                        <a:pt x="234034" y="-625"/>
                        <a:pt x="237148" y="-282"/>
                        <a:pt x="238864" y="1882"/>
                      </a:cubicBezTo>
                      <a:cubicBezTo>
                        <a:pt x="240579" y="4019"/>
                        <a:pt x="240209" y="7160"/>
                        <a:pt x="238072" y="8848"/>
                      </a:cubicBezTo>
                      <a:cubicBezTo>
                        <a:pt x="235459" y="10907"/>
                        <a:pt x="173760" y="59121"/>
                        <a:pt x="115782" y="24207"/>
                      </a:cubicBezTo>
                      <a:cubicBezTo>
                        <a:pt x="113961" y="23099"/>
                        <a:pt x="111481" y="22202"/>
                        <a:pt x="108235" y="24920"/>
                      </a:cubicBezTo>
                      <a:cubicBezTo>
                        <a:pt x="104171" y="28350"/>
                        <a:pt x="102588" y="34420"/>
                        <a:pt x="103168" y="35924"/>
                      </a:cubicBezTo>
                      <a:cubicBezTo>
                        <a:pt x="110584" y="41334"/>
                        <a:pt x="152411" y="69703"/>
                        <a:pt x="204531" y="49911"/>
                      </a:cubicBezTo>
                      <a:cubicBezTo>
                        <a:pt x="206563" y="49145"/>
                        <a:pt x="208859" y="49779"/>
                        <a:pt x="210178" y="51468"/>
                      </a:cubicBezTo>
                      <a:cubicBezTo>
                        <a:pt x="211524" y="53157"/>
                        <a:pt x="211603" y="55532"/>
                        <a:pt x="210389" y="57326"/>
                      </a:cubicBezTo>
                      <a:lnTo>
                        <a:pt x="168377" y="119395"/>
                      </a:lnTo>
                      <a:cubicBezTo>
                        <a:pt x="166952" y="121506"/>
                        <a:pt x="164181" y="122192"/>
                        <a:pt x="161938" y="121004"/>
                      </a:cubicBezTo>
                      <a:lnTo>
                        <a:pt x="85302" y="80259"/>
                      </a:lnTo>
                      <a:cubicBezTo>
                        <a:pt x="82109" y="78570"/>
                        <a:pt x="78309" y="78807"/>
                        <a:pt x="75380" y="80918"/>
                      </a:cubicBezTo>
                      <a:lnTo>
                        <a:pt x="8350" y="142749"/>
                      </a:lnTo>
                      <a:cubicBezTo>
                        <a:pt x="7374" y="143647"/>
                        <a:pt x="6160" y="144095"/>
                        <a:pt x="4946" y="144095"/>
                      </a:cubicBezTo>
                      <a:close/>
                    </a:path>
                  </a:pathLst>
                </a:custGeom>
                <a:solidFill>
                  <a:schemeClr val="tx2"/>
                </a:solidFill>
                <a:ln w="2632" cap="flat">
                  <a:noFill/>
                  <a:prstDash val="solid"/>
                  <a:miter/>
                </a:ln>
              </p:spPr>
              <p:txBody>
                <a:bodyPr rtlCol="0" anchor="ctr"/>
                <a:lstStyle/>
                <a:p>
                  <a:endParaRPr lang="en-GB" dirty="0"/>
                </a:p>
              </p:txBody>
            </p:sp>
            <p:sp>
              <p:nvSpPr>
                <p:cNvPr id="512" name="Freihandform: Form 887">
                  <a:extLst>
                    <a:ext uri="{FF2B5EF4-FFF2-40B4-BE49-F238E27FC236}">
                      <a16:creationId xmlns:a16="http://schemas.microsoft.com/office/drawing/2014/main" id="{3100525D-AF22-4C11-8EC3-5358CAFE1C7D}"/>
                    </a:ext>
                  </a:extLst>
                </p:cNvPr>
                <p:cNvSpPr/>
                <p:nvPr/>
              </p:nvSpPr>
              <p:spPr>
                <a:xfrm>
                  <a:off x="8025379" y="2758427"/>
                  <a:ext cx="78711" cy="33300"/>
                </a:xfrm>
                <a:custGeom>
                  <a:avLst/>
                  <a:gdLst>
                    <a:gd name="connsiteX0" fmla="*/ 73709 w 78711"/>
                    <a:gd name="connsiteY0" fmla="*/ 33301 h 33300"/>
                    <a:gd name="connsiteX1" fmla="*/ 70859 w 78711"/>
                    <a:gd name="connsiteY1" fmla="*/ 32403 h 33300"/>
                    <a:gd name="connsiteX2" fmla="*/ 41751 w 78711"/>
                    <a:gd name="connsiteY2" fmla="*/ 11872 h 33300"/>
                    <a:gd name="connsiteX3" fmla="*/ 31195 w 78711"/>
                    <a:gd name="connsiteY3" fmla="*/ 11793 h 33300"/>
                    <a:gd name="connsiteX4" fmla="*/ 8210 w 78711"/>
                    <a:gd name="connsiteY4" fmla="*/ 31744 h 33300"/>
                    <a:gd name="connsiteX5" fmla="*/ 1216 w 78711"/>
                    <a:gd name="connsiteY5" fmla="*/ 31242 h 33300"/>
                    <a:gd name="connsiteX6" fmla="*/ 1718 w 78711"/>
                    <a:gd name="connsiteY6" fmla="*/ 24249 h 33300"/>
                    <a:gd name="connsiteX7" fmla="*/ 24809 w 78711"/>
                    <a:gd name="connsiteY7" fmla="*/ 4219 h 33300"/>
                    <a:gd name="connsiteX8" fmla="*/ 47477 w 78711"/>
                    <a:gd name="connsiteY8" fmla="*/ 3744 h 33300"/>
                    <a:gd name="connsiteX9" fmla="*/ 76611 w 78711"/>
                    <a:gd name="connsiteY9" fmla="*/ 24302 h 33300"/>
                    <a:gd name="connsiteX10" fmla="*/ 77799 w 78711"/>
                    <a:gd name="connsiteY10" fmla="*/ 31216 h 33300"/>
                    <a:gd name="connsiteX11" fmla="*/ 73709 w 78711"/>
                    <a:gd name="connsiteY11" fmla="*/ 33301 h 3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8711" h="33300">
                      <a:moveTo>
                        <a:pt x="73709" y="33301"/>
                      </a:moveTo>
                      <a:cubicBezTo>
                        <a:pt x="72732" y="33301"/>
                        <a:pt x="71729" y="33010"/>
                        <a:pt x="70859" y="32403"/>
                      </a:cubicBezTo>
                      <a:lnTo>
                        <a:pt x="41751" y="11872"/>
                      </a:lnTo>
                      <a:cubicBezTo>
                        <a:pt x="39613" y="10368"/>
                        <a:pt x="35338" y="8336"/>
                        <a:pt x="31195" y="11793"/>
                      </a:cubicBezTo>
                      <a:lnTo>
                        <a:pt x="8210" y="31744"/>
                      </a:lnTo>
                      <a:cubicBezTo>
                        <a:pt x="6151" y="33538"/>
                        <a:pt x="3011" y="33327"/>
                        <a:pt x="1216" y="31242"/>
                      </a:cubicBezTo>
                      <a:cubicBezTo>
                        <a:pt x="-578" y="29158"/>
                        <a:pt x="-367" y="26044"/>
                        <a:pt x="1718" y="24249"/>
                      </a:cubicBezTo>
                      <a:lnTo>
                        <a:pt x="24809" y="4219"/>
                      </a:lnTo>
                      <a:cubicBezTo>
                        <a:pt x="31406" y="-1243"/>
                        <a:pt x="40035" y="-1402"/>
                        <a:pt x="47477" y="3744"/>
                      </a:cubicBezTo>
                      <a:lnTo>
                        <a:pt x="76611" y="24302"/>
                      </a:lnTo>
                      <a:cubicBezTo>
                        <a:pt x="78855" y="25885"/>
                        <a:pt x="79382" y="28973"/>
                        <a:pt x="77799" y="31216"/>
                      </a:cubicBezTo>
                      <a:cubicBezTo>
                        <a:pt x="76823" y="32588"/>
                        <a:pt x="75266" y="33301"/>
                        <a:pt x="73709" y="33301"/>
                      </a:cubicBezTo>
                      <a:close/>
                    </a:path>
                  </a:pathLst>
                </a:custGeom>
                <a:solidFill>
                  <a:schemeClr val="tx2"/>
                </a:solidFill>
                <a:ln w="2632" cap="flat">
                  <a:noFill/>
                  <a:prstDash val="solid"/>
                  <a:miter/>
                </a:ln>
              </p:spPr>
              <p:txBody>
                <a:bodyPr rtlCol="0" anchor="ctr"/>
                <a:lstStyle/>
                <a:p>
                  <a:endParaRPr lang="en-GB" dirty="0"/>
                </a:p>
              </p:txBody>
            </p:sp>
            <p:sp>
              <p:nvSpPr>
                <p:cNvPr id="513" name="Freihandform: Form 888">
                  <a:extLst>
                    <a:ext uri="{FF2B5EF4-FFF2-40B4-BE49-F238E27FC236}">
                      <a16:creationId xmlns:a16="http://schemas.microsoft.com/office/drawing/2014/main" id="{8106885B-31AA-4EB8-B71B-92F13E7FF821}"/>
                    </a:ext>
                  </a:extLst>
                </p:cNvPr>
                <p:cNvSpPr/>
                <p:nvPr/>
              </p:nvSpPr>
              <p:spPr>
                <a:xfrm>
                  <a:off x="8212046" y="2573147"/>
                  <a:ext cx="71890" cy="80483"/>
                </a:xfrm>
                <a:custGeom>
                  <a:avLst/>
                  <a:gdLst>
                    <a:gd name="connsiteX0" fmla="*/ 29995 w 71890"/>
                    <a:gd name="connsiteY0" fmla="*/ 80484 h 80483"/>
                    <a:gd name="connsiteX1" fmla="*/ 16298 w 71890"/>
                    <a:gd name="connsiteY1" fmla="*/ 77106 h 80483"/>
                    <a:gd name="connsiteX2" fmla="*/ 5822 w 71890"/>
                    <a:gd name="connsiteY2" fmla="*/ 24168 h 80483"/>
                    <a:gd name="connsiteX3" fmla="*/ 55592 w 71890"/>
                    <a:gd name="connsiteY3" fmla="*/ 3347 h 80483"/>
                    <a:gd name="connsiteX4" fmla="*/ 66069 w 71890"/>
                    <a:gd name="connsiteY4" fmla="*/ 56284 h 80483"/>
                    <a:gd name="connsiteX5" fmla="*/ 66069 w 71890"/>
                    <a:gd name="connsiteY5" fmla="*/ 56284 h 80483"/>
                    <a:gd name="connsiteX6" fmla="*/ 43876 w 71890"/>
                    <a:gd name="connsiteY6" fmla="*/ 77449 h 80483"/>
                    <a:gd name="connsiteX7" fmla="*/ 29995 w 71890"/>
                    <a:gd name="connsiteY7" fmla="*/ 80484 h 80483"/>
                    <a:gd name="connsiteX8" fmla="*/ 41870 w 71890"/>
                    <a:gd name="connsiteY8" fmla="*/ 9891 h 80483"/>
                    <a:gd name="connsiteX9" fmla="*/ 14610 w 71890"/>
                    <a:gd name="connsiteY9" fmla="*/ 28839 h 80483"/>
                    <a:gd name="connsiteX10" fmla="*/ 20996 w 71890"/>
                    <a:gd name="connsiteY10" fmla="*/ 68344 h 80483"/>
                    <a:gd name="connsiteX11" fmla="*/ 39944 w 71890"/>
                    <a:gd name="connsiteY11" fmla="*/ 68344 h 80483"/>
                    <a:gd name="connsiteX12" fmla="*/ 57334 w 71890"/>
                    <a:gd name="connsiteY12" fmla="*/ 51613 h 80483"/>
                    <a:gd name="connsiteX13" fmla="*/ 57334 w 71890"/>
                    <a:gd name="connsiteY13" fmla="*/ 51613 h 80483"/>
                    <a:gd name="connsiteX14" fmla="*/ 50974 w 71890"/>
                    <a:gd name="connsiteY14" fmla="*/ 12108 h 80483"/>
                    <a:gd name="connsiteX15" fmla="*/ 41870 w 71890"/>
                    <a:gd name="connsiteY15" fmla="*/ 9891 h 8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890" h="80483">
                      <a:moveTo>
                        <a:pt x="29995" y="80484"/>
                      </a:moveTo>
                      <a:cubicBezTo>
                        <a:pt x="25191" y="80484"/>
                        <a:pt x="20547" y="79349"/>
                        <a:pt x="16298" y="77106"/>
                      </a:cubicBezTo>
                      <a:cubicBezTo>
                        <a:pt x="-301" y="68265"/>
                        <a:pt x="-4998" y="44515"/>
                        <a:pt x="5822" y="24168"/>
                      </a:cubicBezTo>
                      <a:cubicBezTo>
                        <a:pt x="16668" y="3848"/>
                        <a:pt x="38967" y="-5520"/>
                        <a:pt x="55592" y="3347"/>
                      </a:cubicBezTo>
                      <a:cubicBezTo>
                        <a:pt x="72192" y="12214"/>
                        <a:pt x="76889" y="35938"/>
                        <a:pt x="66069" y="56284"/>
                      </a:cubicBezTo>
                      <a:lnTo>
                        <a:pt x="66069" y="56284"/>
                      </a:lnTo>
                      <a:cubicBezTo>
                        <a:pt x="60923" y="65943"/>
                        <a:pt x="53033" y="73464"/>
                        <a:pt x="43876" y="77449"/>
                      </a:cubicBezTo>
                      <a:cubicBezTo>
                        <a:pt x="39257" y="79454"/>
                        <a:pt x="34560" y="80484"/>
                        <a:pt x="29995" y="80484"/>
                      </a:cubicBezTo>
                      <a:close/>
                      <a:moveTo>
                        <a:pt x="41870" y="9891"/>
                      </a:moveTo>
                      <a:cubicBezTo>
                        <a:pt x="31815" y="9891"/>
                        <a:pt x="20890" y="17043"/>
                        <a:pt x="14610" y="28839"/>
                      </a:cubicBezTo>
                      <a:cubicBezTo>
                        <a:pt x="6350" y="44330"/>
                        <a:pt x="9200" y="62064"/>
                        <a:pt x="20996" y="68344"/>
                      </a:cubicBezTo>
                      <a:cubicBezTo>
                        <a:pt x="26485" y="71274"/>
                        <a:pt x="33214" y="71274"/>
                        <a:pt x="39944" y="68344"/>
                      </a:cubicBezTo>
                      <a:cubicBezTo>
                        <a:pt x="47042" y="65230"/>
                        <a:pt x="53217" y="59293"/>
                        <a:pt x="57334" y="51613"/>
                      </a:cubicBezTo>
                      <a:lnTo>
                        <a:pt x="57334" y="51613"/>
                      </a:lnTo>
                      <a:cubicBezTo>
                        <a:pt x="65594" y="36123"/>
                        <a:pt x="62744" y="18389"/>
                        <a:pt x="50974" y="12108"/>
                      </a:cubicBezTo>
                      <a:cubicBezTo>
                        <a:pt x="48124" y="10604"/>
                        <a:pt x="45037" y="9891"/>
                        <a:pt x="41870" y="9891"/>
                      </a:cubicBezTo>
                      <a:close/>
                    </a:path>
                  </a:pathLst>
                </a:custGeom>
                <a:solidFill>
                  <a:schemeClr val="tx2"/>
                </a:solidFill>
                <a:ln w="2632" cap="flat">
                  <a:noFill/>
                  <a:prstDash val="solid"/>
                  <a:miter/>
                </a:ln>
              </p:spPr>
              <p:txBody>
                <a:bodyPr rtlCol="0" anchor="ctr"/>
                <a:lstStyle/>
                <a:p>
                  <a:endParaRPr lang="en-GB" dirty="0"/>
                </a:p>
              </p:txBody>
            </p:sp>
            <p:sp>
              <p:nvSpPr>
                <p:cNvPr id="514" name="Freihandform: Form 890">
                  <a:extLst>
                    <a:ext uri="{FF2B5EF4-FFF2-40B4-BE49-F238E27FC236}">
                      <a16:creationId xmlns:a16="http://schemas.microsoft.com/office/drawing/2014/main" id="{CC96BA5D-B879-4100-AFEA-9AD9367DB1D8}"/>
                    </a:ext>
                  </a:extLst>
                </p:cNvPr>
                <p:cNvSpPr/>
                <p:nvPr/>
              </p:nvSpPr>
              <p:spPr>
                <a:xfrm>
                  <a:off x="8163852" y="2811393"/>
                  <a:ext cx="75824" cy="82910"/>
                </a:xfrm>
                <a:custGeom>
                  <a:avLst/>
                  <a:gdLst>
                    <a:gd name="connsiteX0" fmla="*/ 37073 w 75824"/>
                    <a:gd name="connsiteY0" fmla="*/ 82911 h 82910"/>
                    <a:gd name="connsiteX1" fmla="*/ 36255 w 75824"/>
                    <a:gd name="connsiteY1" fmla="*/ 82831 h 82910"/>
                    <a:gd name="connsiteX2" fmla="*/ 33036 w 75824"/>
                    <a:gd name="connsiteY2" fmla="*/ 80826 h 82910"/>
                    <a:gd name="connsiteX3" fmla="*/ 6092 w 75824"/>
                    <a:gd name="connsiteY3" fmla="*/ 43168 h 82910"/>
                    <a:gd name="connsiteX4" fmla="*/ 101 w 75824"/>
                    <a:gd name="connsiteY4" fmla="*/ 22294 h 82910"/>
                    <a:gd name="connsiteX5" fmla="*/ 9918 w 75824"/>
                    <a:gd name="connsiteY5" fmla="*/ 4296 h 82910"/>
                    <a:gd name="connsiteX6" fmla="*/ 47946 w 75824"/>
                    <a:gd name="connsiteY6" fmla="*/ 13242 h 82910"/>
                    <a:gd name="connsiteX7" fmla="*/ 74889 w 75824"/>
                    <a:gd name="connsiteY7" fmla="*/ 50900 h 82910"/>
                    <a:gd name="connsiteX8" fmla="*/ 75760 w 75824"/>
                    <a:gd name="connsiteY8" fmla="*/ 54594 h 82910"/>
                    <a:gd name="connsiteX9" fmla="*/ 73755 w 75824"/>
                    <a:gd name="connsiteY9" fmla="*/ 57814 h 82910"/>
                    <a:gd name="connsiteX10" fmla="*/ 39976 w 75824"/>
                    <a:gd name="connsiteY10" fmla="*/ 81987 h 82910"/>
                    <a:gd name="connsiteX11" fmla="*/ 37073 w 75824"/>
                    <a:gd name="connsiteY11" fmla="*/ 82911 h 82910"/>
                    <a:gd name="connsiteX12" fmla="*/ 23641 w 75824"/>
                    <a:gd name="connsiteY12" fmla="*/ 9890 h 82910"/>
                    <a:gd name="connsiteX13" fmla="*/ 15697 w 75824"/>
                    <a:gd name="connsiteY13" fmla="*/ 12371 h 82910"/>
                    <a:gd name="connsiteX14" fmla="*/ 9997 w 75824"/>
                    <a:gd name="connsiteY14" fmla="*/ 23112 h 82910"/>
                    <a:gd name="connsiteX15" fmla="*/ 14167 w 75824"/>
                    <a:gd name="connsiteY15" fmla="*/ 37388 h 82910"/>
                    <a:gd name="connsiteX16" fmla="*/ 38208 w 75824"/>
                    <a:gd name="connsiteY16" fmla="*/ 71009 h 82910"/>
                    <a:gd name="connsiteX17" fmla="*/ 63911 w 75824"/>
                    <a:gd name="connsiteY17" fmla="*/ 52615 h 82910"/>
                    <a:gd name="connsiteX18" fmla="*/ 39870 w 75824"/>
                    <a:gd name="connsiteY18" fmla="*/ 18995 h 82910"/>
                    <a:gd name="connsiteX19" fmla="*/ 23641 w 75824"/>
                    <a:gd name="connsiteY19" fmla="*/ 9890 h 8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5824" h="82910">
                      <a:moveTo>
                        <a:pt x="37073" y="82911"/>
                      </a:moveTo>
                      <a:cubicBezTo>
                        <a:pt x="36809" y="82911"/>
                        <a:pt x="36519" y="82884"/>
                        <a:pt x="36255" y="82831"/>
                      </a:cubicBezTo>
                      <a:cubicBezTo>
                        <a:pt x="34962" y="82620"/>
                        <a:pt x="33801" y="81881"/>
                        <a:pt x="33036" y="80826"/>
                      </a:cubicBezTo>
                      <a:lnTo>
                        <a:pt x="6092" y="43168"/>
                      </a:lnTo>
                      <a:cubicBezTo>
                        <a:pt x="1632" y="36913"/>
                        <a:pt x="-506" y="29498"/>
                        <a:pt x="101" y="22294"/>
                      </a:cubicBezTo>
                      <a:cubicBezTo>
                        <a:pt x="735" y="14773"/>
                        <a:pt x="4218" y="8386"/>
                        <a:pt x="9918" y="4296"/>
                      </a:cubicBezTo>
                      <a:cubicBezTo>
                        <a:pt x="21477" y="-3964"/>
                        <a:pt x="38524" y="47"/>
                        <a:pt x="47946" y="13242"/>
                      </a:cubicBezTo>
                      <a:lnTo>
                        <a:pt x="74889" y="50900"/>
                      </a:lnTo>
                      <a:cubicBezTo>
                        <a:pt x="75655" y="51982"/>
                        <a:pt x="75971" y="53301"/>
                        <a:pt x="75760" y="54594"/>
                      </a:cubicBezTo>
                      <a:cubicBezTo>
                        <a:pt x="75549" y="55888"/>
                        <a:pt x="74810" y="57049"/>
                        <a:pt x="73755" y="57814"/>
                      </a:cubicBezTo>
                      <a:lnTo>
                        <a:pt x="39976" y="81987"/>
                      </a:lnTo>
                      <a:cubicBezTo>
                        <a:pt x="39105" y="82594"/>
                        <a:pt x="38102" y="82911"/>
                        <a:pt x="37073" y="82911"/>
                      </a:cubicBezTo>
                      <a:close/>
                      <a:moveTo>
                        <a:pt x="23641" y="9890"/>
                      </a:moveTo>
                      <a:cubicBezTo>
                        <a:pt x="20791" y="9890"/>
                        <a:pt x="18020" y="10682"/>
                        <a:pt x="15697" y="12371"/>
                      </a:cubicBezTo>
                      <a:cubicBezTo>
                        <a:pt x="12399" y="14720"/>
                        <a:pt x="10393" y="18546"/>
                        <a:pt x="9997" y="23112"/>
                      </a:cubicBezTo>
                      <a:cubicBezTo>
                        <a:pt x="9602" y="27994"/>
                        <a:pt x="11079" y="33060"/>
                        <a:pt x="14167" y="37388"/>
                      </a:cubicBezTo>
                      <a:lnTo>
                        <a:pt x="38208" y="71009"/>
                      </a:lnTo>
                      <a:lnTo>
                        <a:pt x="63911" y="52615"/>
                      </a:lnTo>
                      <a:lnTo>
                        <a:pt x="39870" y="18995"/>
                      </a:lnTo>
                      <a:cubicBezTo>
                        <a:pt x="35701" y="13163"/>
                        <a:pt x="29447" y="9890"/>
                        <a:pt x="23641" y="9890"/>
                      </a:cubicBezTo>
                      <a:close/>
                    </a:path>
                  </a:pathLst>
                </a:custGeom>
                <a:solidFill>
                  <a:schemeClr val="tx2"/>
                </a:solidFill>
                <a:ln w="2632" cap="flat">
                  <a:noFill/>
                  <a:prstDash val="solid"/>
                  <a:miter/>
                </a:ln>
              </p:spPr>
              <p:txBody>
                <a:bodyPr rtlCol="0" anchor="ctr"/>
                <a:lstStyle/>
                <a:p>
                  <a:endParaRPr lang="en-GB" dirty="0"/>
                </a:p>
              </p:txBody>
            </p:sp>
            <p:sp>
              <p:nvSpPr>
                <p:cNvPr id="515" name="Freihandform: Form 891">
                  <a:extLst>
                    <a:ext uri="{FF2B5EF4-FFF2-40B4-BE49-F238E27FC236}">
                      <a16:creationId xmlns:a16="http://schemas.microsoft.com/office/drawing/2014/main" id="{0F259FFA-51DC-4E2A-A036-BA369A965F66}"/>
                    </a:ext>
                  </a:extLst>
                </p:cNvPr>
                <p:cNvSpPr/>
                <p:nvPr/>
              </p:nvSpPr>
              <p:spPr>
                <a:xfrm>
                  <a:off x="7641993" y="2784391"/>
                  <a:ext cx="671879" cy="9922"/>
                </a:xfrm>
                <a:custGeom>
                  <a:avLst/>
                  <a:gdLst>
                    <a:gd name="connsiteX0" fmla="*/ 666892 w 671879"/>
                    <a:gd name="connsiteY0" fmla="*/ 9922 h 9922"/>
                    <a:gd name="connsiteX1" fmla="*/ 4961 w 671879"/>
                    <a:gd name="connsiteY1" fmla="*/ 9922 h 9922"/>
                    <a:gd name="connsiteX2" fmla="*/ 0 w 671879"/>
                    <a:gd name="connsiteY2" fmla="*/ 4961 h 9922"/>
                    <a:gd name="connsiteX3" fmla="*/ 4961 w 671879"/>
                    <a:gd name="connsiteY3" fmla="*/ 0 h 9922"/>
                    <a:gd name="connsiteX4" fmla="*/ 666918 w 671879"/>
                    <a:gd name="connsiteY4" fmla="*/ 0 h 9922"/>
                    <a:gd name="connsiteX5" fmla="*/ 671880 w 671879"/>
                    <a:gd name="connsiteY5" fmla="*/ 4961 h 9922"/>
                    <a:gd name="connsiteX6" fmla="*/ 666892 w 671879"/>
                    <a:gd name="connsiteY6" fmla="*/ 9922 h 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71879" h="9922">
                      <a:moveTo>
                        <a:pt x="666892" y="9922"/>
                      </a:moveTo>
                      <a:lnTo>
                        <a:pt x="4961" y="9922"/>
                      </a:lnTo>
                      <a:cubicBezTo>
                        <a:pt x="2217" y="9922"/>
                        <a:pt x="0" y="7706"/>
                        <a:pt x="0" y="4961"/>
                      </a:cubicBezTo>
                      <a:cubicBezTo>
                        <a:pt x="0" y="2217"/>
                        <a:pt x="2217" y="0"/>
                        <a:pt x="4961" y="0"/>
                      </a:cubicBezTo>
                      <a:lnTo>
                        <a:pt x="666918" y="0"/>
                      </a:lnTo>
                      <a:cubicBezTo>
                        <a:pt x="669663" y="0"/>
                        <a:pt x="671880" y="2217"/>
                        <a:pt x="671880" y="4961"/>
                      </a:cubicBezTo>
                      <a:cubicBezTo>
                        <a:pt x="671880" y="7679"/>
                        <a:pt x="669637" y="9922"/>
                        <a:pt x="666892" y="9922"/>
                      </a:cubicBezTo>
                      <a:close/>
                    </a:path>
                  </a:pathLst>
                </a:custGeom>
                <a:solidFill>
                  <a:schemeClr val="tx2"/>
                </a:solidFill>
                <a:ln w="2632" cap="flat">
                  <a:noFill/>
                  <a:prstDash val="solid"/>
                  <a:miter/>
                </a:ln>
              </p:spPr>
              <p:txBody>
                <a:bodyPr rtlCol="0" anchor="ctr"/>
                <a:lstStyle/>
                <a:p>
                  <a:endParaRPr lang="en-GB" dirty="0"/>
                </a:p>
              </p:txBody>
            </p:sp>
            <p:sp>
              <p:nvSpPr>
                <p:cNvPr id="516" name="Freihandform: Form 892">
                  <a:extLst>
                    <a:ext uri="{FF2B5EF4-FFF2-40B4-BE49-F238E27FC236}">
                      <a16:creationId xmlns:a16="http://schemas.microsoft.com/office/drawing/2014/main" id="{600BE629-16A3-4114-B5DE-01123684B926}"/>
                    </a:ext>
                  </a:extLst>
                </p:cNvPr>
                <p:cNvSpPr/>
                <p:nvPr/>
              </p:nvSpPr>
              <p:spPr>
                <a:xfrm>
                  <a:off x="7642462" y="2784891"/>
                  <a:ext cx="112083" cy="85160"/>
                </a:xfrm>
                <a:custGeom>
                  <a:avLst/>
                  <a:gdLst>
                    <a:gd name="connsiteX0" fmla="*/ 107096 w 112083"/>
                    <a:gd name="connsiteY0" fmla="*/ 85161 h 85160"/>
                    <a:gd name="connsiteX1" fmla="*/ 107069 w 112083"/>
                    <a:gd name="connsiteY1" fmla="*/ 85161 h 85160"/>
                    <a:gd name="connsiteX2" fmla="*/ 561 w 112083"/>
                    <a:gd name="connsiteY2" fmla="*/ 7232 h 85160"/>
                    <a:gd name="connsiteX3" fmla="*/ 2698 w 112083"/>
                    <a:gd name="connsiteY3" fmla="*/ 556 h 85160"/>
                    <a:gd name="connsiteX4" fmla="*/ 9401 w 112083"/>
                    <a:gd name="connsiteY4" fmla="*/ 2693 h 85160"/>
                    <a:gd name="connsiteX5" fmla="*/ 107148 w 112083"/>
                    <a:gd name="connsiteY5" fmla="*/ 75265 h 85160"/>
                    <a:gd name="connsiteX6" fmla="*/ 112083 w 112083"/>
                    <a:gd name="connsiteY6" fmla="*/ 80279 h 85160"/>
                    <a:gd name="connsiteX7" fmla="*/ 107096 w 112083"/>
                    <a:gd name="connsiteY7" fmla="*/ 85161 h 8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083" h="85160">
                      <a:moveTo>
                        <a:pt x="107096" y="85161"/>
                      </a:moveTo>
                      <a:cubicBezTo>
                        <a:pt x="107069" y="85161"/>
                        <a:pt x="107069" y="85161"/>
                        <a:pt x="107069" y="85161"/>
                      </a:cubicBezTo>
                      <a:cubicBezTo>
                        <a:pt x="41280" y="84607"/>
                        <a:pt x="2197" y="10373"/>
                        <a:pt x="561" y="7232"/>
                      </a:cubicBezTo>
                      <a:cubicBezTo>
                        <a:pt x="-706" y="4805"/>
                        <a:pt x="244" y="1796"/>
                        <a:pt x="2698" y="556"/>
                      </a:cubicBezTo>
                      <a:cubicBezTo>
                        <a:pt x="5153" y="-711"/>
                        <a:pt x="8135" y="265"/>
                        <a:pt x="9401" y="2693"/>
                      </a:cubicBezTo>
                      <a:cubicBezTo>
                        <a:pt x="9771" y="3406"/>
                        <a:pt x="47402" y="74763"/>
                        <a:pt x="107148" y="75265"/>
                      </a:cubicBezTo>
                      <a:cubicBezTo>
                        <a:pt x="109893" y="75291"/>
                        <a:pt x="112110" y="77534"/>
                        <a:pt x="112083" y="80279"/>
                      </a:cubicBezTo>
                      <a:cubicBezTo>
                        <a:pt x="112031" y="82944"/>
                        <a:pt x="109814" y="85161"/>
                        <a:pt x="107096" y="85161"/>
                      </a:cubicBezTo>
                      <a:close/>
                    </a:path>
                  </a:pathLst>
                </a:custGeom>
                <a:solidFill>
                  <a:schemeClr val="tx2"/>
                </a:solidFill>
                <a:ln w="2632" cap="flat">
                  <a:noFill/>
                  <a:prstDash val="solid"/>
                  <a:miter/>
                </a:ln>
              </p:spPr>
              <p:txBody>
                <a:bodyPr rtlCol="0" anchor="ctr"/>
                <a:lstStyle/>
                <a:p>
                  <a:endParaRPr lang="en-GB" dirty="0"/>
                </a:p>
              </p:txBody>
            </p:sp>
            <p:sp>
              <p:nvSpPr>
                <p:cNvPr id="517" name="Freihandform: Form 893">
                  <a:extLst>
                    <a:ext uri="{FF2B5EF4-FFF2-40B4-BE49-F238E27FC236}">
                      <a16:creationId xmlns:a16="http://schemas.microsoft.com/office/drawing/2014/main" id="{7FFA50A7-CB9A-4A08-9047-19465048F2BF}"/>
                    </a:ext>
                  </a:extLst>
                </p:cNvPr>
                <p:cNvSpPr/>
                <p:nvPr/>
              </p:nvSpPr>
              <p:spPr>
                <a:xfrm>
                  <a:off x="8255359" y="2784838"/>
                  <a:ext cx="59465" cy="66978"/>
                </a:xfrm>
                <a:custGeom>
                  <a:avLst/>
                  <a:gdLst>
                    <a:gd name="connsiteX0" fmla="*/ 4969 w 59465"/>
                    <a:gd name="connsiteY0" fmla="*/ 66978 h 66978"/>
                    <a:gd name="connsiteX1" fmla="*/ 905 w 59465"/>
                    <a:gd name="connsiteY1" fmla="*/ 64867 h 66978"/>
                    <a:gd name="connsiteX2" fmla="*/ 2093 w 59465"/>
                    <a:gd name="connsiteY2" fmla="*/ 57953 h 66978"/>
                    <a:gd name="connsiteX3" fmla="*/ 50096 w 59465"/>
                    <a:gd name="connsiteY3" fmla="*/ 2693 h 66978"/>
                    <a:gd name="connsiteX4" fmla="*/ 56772 w 59465"/>
                    <a:gd name="connsiteY4" fmla="*/ 556 h 66978"/>
                    <a:gd name="connsiteX5" fmla="*/ 58910 w 59465"/>
                    <a:gd name="connsiteY5" fmla="*/ 7259 h 66978"/>
                    <a:gd name="connsiteX6" fmla="*/ 7819 w 59465"/>
                    <a:gd name="connsiteY6" fmla="*/ 66081 h 66978"/>
                    <a:gd name="connsiteX7" fmla="*/ 4969 w 59465"/>
                    <a:gd name="connsiteY7" fmla="*/ 66978 h 66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465" h="66978">
                      <a:moveTo>
                        <a:pt x="4969" y="66978"/>
                      </a:moveTo>
                      <a:cubicBezTo>
                        <a:pt x="3412" y="66978"/>
                        <a:pt x="1882" y="66240"/>
                        <a:pt x="905" y="64867"/>
                      </a:cubicBezTo>
                      <a:cubicBezTo>
                        <a:pt x="-678" y="62624"/>
                        <a:pt x="-124" y="59537"/>
                        <a:pt x="2093" y="57953"/>
                      </a:cubicBezTo>
                      <a:cubicBezTo>
                        <a:pt x="32335" y="36630"/>
                        <a:pt x="49911" y="3036"/>
                        <a:pt x="50096" y="2693"/>
                      </a:cubicBezTo>
                      <a:cubicBezTo>
                        <a:pt x="51336" y="266"/>
                        <a:pt x="54344" y="-711"/>
                        <a:pt x="56772" y="556"/>
                      </a:cubicBezTo>
                      <a:cubicBezTo>
                        <a:pt x="59200" y="1822"/>
                        <a:pt x="60176" y="4805"/>
                        <a:pt x="58910" y="7259"/>
                      </a:cubicBezTo>
                      <a:cubicBezTo>
                        <a:pt x="58144" y="8710"/>
                        <a:pt x="40041" y="43360"/>
                        <a:pt x="7819" y="66081"/>
                      </a:cubicBezTo>
                      <a:cubicBezTo>
                        <a:pt x="6975" y="66688"/>
                        <a:pt x="5972" y="66978"/>
                        <a:pt x="4969" y="66978"/>
                      </a:cubicBezTo>
                      <a:close/>
                    </a:path>
                  </a:pathLst>
                </a:custGeom>
                <a:solidFill>
                  <a:schemeClr val="tx2"/>
                </a:solidFill>
                <a:ln w="2632" cap="flat">
                  <a:noFill/>
                  <a:prstDash val="solid"/>
                  <a:miter/>
                </a:ln>
              </p:spPr>
              <p:txBody>
                <a:bodyPr rtlCol="0" anchor="ctr"/>
                <a:lstStyle/>
                <a:p>
                  <a:endParaRPr lang="en-GB" dirty="0"/>
                </a:p>
              </p:txBody>
            </p:sp>
          </p:grpSp>
        </p:grpSp>
        <p:grpSp>
          <p:nvGrpSpPr>
            <p:cNvPr id="495" name="Group 494">
              <a:extLst>
                <a:ext uri="{FF2B5EF4-FFF2-40B4-BE49-F238E27FC236}">
                  <a16:creationId xmlns:a16="http://schemas.microsoft.com/office/drawing/2014/main" id="{E7D911E6-7B70-4885-9A94-1EA0BEF98E84}"/>
                </a:ext>
              </a:extLst>
            </p:cNvPr>
            <p:cNvGrpSpPr/>
            <p:nvPr/>
          </p:nvGrpSpPr>
          <p:grpSpPr>
            <a:xfrm>
              <a:off x="7784022" y="2863296"/>
              <a:ext cx="377372" cy="119386"/>
              <a:chOff x="7784022" y="2863296"/>
              <a:chExt cx="377372" cy="119386"/>
            </a:xfrm>
            <a:solidFill>
              <a:schemeClr val="accent1"/>
            </a:solidFill>
          </p:grpSpPr>
          <p:sp>
            <p:nvSpPr>
              <p:cNvPr id="496" name="Freihandform: Form 895">
                <a:extLst>
                  <a:ext uri="{FF2B5EF4-FFF2-40B4-BE49-F238E27FC236}">
                    <a16:creationId xmlns:a16="http://schemas.microsoft.com/office/drawing/2014/main" id="{DF4E98DE-9DE0-49C9-9B0B-4C12E163060C}"/>
                  </a:ext>
                </a:extLst>
              </p:cNvPr>
              <p:cNvSpPr/>
              <p:nvPr/>
            </p:nvSpPr>
            <p:spPr>
              <a:xfrm>
                <a:off x="7975242" y="2863296"/>
                <a:ext cx="186152" cy="9922"/>
              </a:xfrm>
              <a:custGeom>
                <a:avLst/>
                <a:gdLst>
                  <a:gd name="connsiteX0" fmla="*/ 181191 w 186152"/>
                  <a:gd name="connsiteY0" fmla="*/ 9922 h 9922"/>
                  <a:gd name="connsiteX1" fmla="*/ 4961 w 186152"/>
                  <a:gd name="connsiteY1" fmla="*/ 9922 h 9922"/>
                  <a:gd name="connsiteX2" fmla="*/ 0 w 186152"/>
                  <a:gd name="connsiteY2" fmla="*/ 4961 h 9922"/>
                  <a:gd name="connsiteX3" fmla="*/ 4961 w 186152"/>
                  <a:gd name="connsiteY3" fmla="*/ 0 h 9922"/>
                  <a:gd name="connsiteX4" fmla="*/ 181191 w 186152"/>
                  <a:gd name="connsiteY4" fmla="*/ 0 h 9922"/>
                  <a:gd name="connsiteX5" fmla="*/ 186152 w 186152"/>
                  <a:gd name="connsiteY5" fmla="*/ 4961 h 9922"/>
                  <a:gd name="connsiteX6" fmla="*/ 181191 w 186152"/>
                  <a:gd name="connsiteY6" fmla="*/ 9922 h 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6152" h="9922">
                    <a:moveTo>
                      <a:pt x="181191" y="9922"/>
                    </a:moveTo>
                    <a:lnTo>
                      <a:pt x="4961" y="9922"/>
                    </a:lnTo>
                    <a:cubicBezTo>
                      <a:pt x="2217" y="9922"/>
                      <a:pt x="0" y="7706"/>
                      <a:pt x="0" y="4961"/>
                    </a:cubicBezTo>
                    <a:cubicBezTo>
                      <a:pt x="0" y="2217"/>
                      <a:pt x="2217" y="0"/>
                      <a:pt x="4961" y="0"/>
                    </a:cubicBezTo>
                    <a:lnTo>
                      <a:pt x="181191" y="0"/>
                    </a:lnTo>
                    <a:cubicBezTo>
                      <a:pt x="183936" y="0"/>
                      <a:pt x="186152" y="2217"/>
                      <a:pt x="186152" y="4961"/>
                    </a:cubicBezTo>
                    <a:cubicBezTo>
                      <a:pt x="186152" y="7706"/>
                      <a:pt x="183936" y="9922"/>
                      <a:pt x="181191" y="9922"/>
                    </a:cubicBezTo>
                    <a:close/>
                  </a:path>
                </a:pathLst>
              </a:custGeom>
              <a:solidFill>
                <a:schemeClr val="accent1"/>
              </a:solidFill>
              <a:ln w="2632" cap="flat">
                <a:noFill/>
                <a:prstDash val="solid"/>
                <a:miter/>
              </a:ln>
            </p:spPr>
            <p:txBody>
              <a:bodyPr rtlCol="0" anchor="ctr"/>
              <a:lstStyle/>
              <a:p>
                <a:endParaRPr lang="en-GB" dirty="0"/>
              </a:p>
            </p:txBody>
          </p:sp>
          <p:sp>
            <p:nvSpPr>
              <p:cNvPr id="497" name="Freihandform: Form 896">
                <a:extLst>
                  <a:ext uri="{FF2B5EF4-FFF2-40B4-BE49-F238E27FC236}">
                    <a16:creationId xmlns:a16="http://schemas.microsoft.com/office/drawing/2014/main" id="{6A516C8C-D97C-480F-9881-CC8B6C0A3607}"/>
                  </a:ext>
                </a:extLst>
              </p:cNvPr>
              <p:cNvSpPr/>
              <p:nvPr/>
            </p:nvSpPr>
            <p:spPr>
              <a:xfrm>
                <a:off x="7784022" y="2863296"/>
                <a:ext cx="86531" cy="9922"/>
              </a:xfrm>
              <a:custGeom>
                <a:avLst/>
                <a:gdLst>
                  <a:gd name="connsiteX0" fmla="*/ 81570 w 86531"/>
                  <a:gd name="connsiteY0" fmla="*/ 9922 h 9922"/>
                  <a:gd name="connsiteX1" fmla="*/ 4961 w 86531"/>
                  <a:gd name="connsiteY1" fmla="*/ 9922 h 9922"/>
                  <a:gd name="connsiteX2" fmla="*/ 0 w 86531"/>
                  <a:gd name="connsiteY2" fmla="*/ 4961 h 9922"/>
                  <a:gd name="connsiteX3" fmla="*/ 4961 w 86531"/>
                  <a:gd name="connsiteY3" fmla="*/ 0 h 9922"/>
                  <a:gd name="connsiteX4" fmla="*/ 81570 w 86531"/>
                  <a:gd name="connsiteY4" fmla="*/ 0 h 9922"/>
                  <a:gd name="connsiteX5" fmla="*/ 86532 w 86531"/>
                  <a:gd name="connsiteY5" fmla="*/ 4961 h 9922"/>
                  <a:gd name="connsiteX6" fmla="*/ 81570 w 86531"/>
                  <a:gd name="connsiteY6" fmla="*/ 9922 h 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531" h="9922">
                    <a:moveTo>
                      <a:pt x="81570" y="9922"/>
                    </a:moveTo>
                    <a:lnTo>
                      <a:pt x="4961" y="9922"/>
                    </a:lnTo>
                    <a:cubicBezTo>
                      <a:pt x="2217" y="9922"/>
                      <a:pt x="0" y="7706"/>
                      <a:pt x="0" y="4961"/>
                    </a:cubicBezTo>
                    <a:cubicBezTo>
                      <a:pt x="0" y="2217"/>
                      <a:pt x="2217" y="0"/>
                      <a:pt x="4961" y="0"/>
                    </a:cubicBezTo>
                    <a:lnTo>
                      <a:pt x="81570" y="0"/>
                    </a:lnTo>
                    <a:cubicBezTo>
                      <a:pt x="84315" y="0"/>
                      <a:pt x="86532" y="2217"/>
                      <a:pt x="86532" y="4961"/>
                    </a:cubicBezTo>
                    <a:cubicBezTo>
                      <a:pt x="86532" y="7706"/>
                      <a:pt x="84315" y="9922"/>
                      <a:pt x="81570" y="9922"/>
                    </a:cubicBezTo>
                    <a:close/>
                  </a:path>
                </a:pathLst>
              </a:custGeom>
              <a:solidFill>
                <a:schemeClr val="accent1"/>
              </a:solidFill>
              <a:ln w="2632" cap="flat">
                <a:noFill/>
                <a:prstDash val="solid"/>
                <a:miter/>
              </a:ln>
            </p:spPr>
            <p:txBody>
              <a:bodyPr rtlCol="0" anchor="ctr"/>
              <a:lstStyle/>
              <a:p>
                <a:endParaRPr lang="en-GB" dirty="0"/>
              </a:p>
            </p:txBody>
          </p:sp>
          <p:sp>
            <p:nvSpPr>
              <p:cNvPr id="498" name="Freihandform: Form 897">
                <a:extLst>
                  <a:ext uri="{FF2B5EF4-FFF2-40B4-BE49-F238E27FC236}">
                    <a16:creationId xmlns:a16="http://schemas.microsoft.com/office/drawing/2014/main" id="{53C7C86B-A31D-4F93-BDDB-1422449FACDE}"/>
                  </a:ext>
                </a:extLst>
              </p:cNvPr>
              <p:cNvSpPr/>
              <p:nvPr/>
            </p:nvSpPr>
            <p:spPr>
              <a:xfrm>
                <a:off x="7823132" y="2918028"/>
                <a:ext cx="80277" cy="9922"/>
              </a:xfrm>
              <a:custGeom>
                <a:avLst/>
                <a:gdLst>
                  <a:gd name="connsiteX0" fmla="*/ 75316 w 80277"/>
                  <a:gd name="connsiteY0" fmla="*/ 9923 h 9922"/>
                  <a:gd name="connsiteX1" fmla="*/ 4961 w 80277"/>
                  <a:gd name="connsiteY1" fmla="*/ 9923 h 9922"/>
                  <a:gd name="connsiteX2" fmla="*/ 0 w 80277"/>
                  <a:gd name="connsiteY2" fmla="*/ 4961 h 9922"/>
                  <a:gd name="connsiteX3" fmla="*/ 4961 w 80277"/>
                  <a:gd name="connsiteY3" fmla="*/ 0 h 9922"/>
                  <a:gd name="connsiteX4" fmla="*/ 75316 w 80277"/>
                  <a:gd name="connsiteY4" fmla="*/ 0 h 9922"/>
                  <a:gd name="connsiteX5" fmla="*/ 80277 w 80277"/>
                  <a:gd name="connsiteY5" fmla="*/ 4961 h 9922"/>
                  <a:gd name="connsiteX6" fmla="*/ 75316 w 80277"/>
                  <a:gd name="connsiteY6" fmla="*/ 9923 h 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277" h="9922">
                    <a:moveTo>
                      <a:pt x="75316" y="9923"/>
                    </a:moveTo>
                    <a:lnTo>
                      <a:pt x="4961" y="9923"/>
                    </a:lnTo>
                    <a:cubicBezTo>
                      <a:pt x="2217" y="9923"/>
                      <a:pt x="0" y="7706"/>
                      <a:pt x="0" y="4961"/>
                    </a:cubicBezTo>
                    <a:cubicBezTo>
                      <a:pt x="0" y="2217"/>
                      <a:pt x="2217" y="0"/>
                      <a:pt x="4961" y="0"/>
                    </a:cubicBezTo>
                    <a:lnTo>
                      <a:pt x="75316" y="0"/>
                    </a:lnTo>
                    <a:cubicBezTo>
                      <a:pt x="78060" y="0"/>
                      <a:pt x="80277" y="2217"/>
                      <a:pt x="80277" y="4961"/>
                    </a:cubicBezTo>
                    <a:cubicBezTo>
                      <a:pt x="80277" y="7706"/>
                      <a:pt x="78060" y="9923"/>
                      <a:pt x="75316" y="9923"/>
                    </a:cubicBezTo>
                    <a:close/>
                  </a:path>
                </a:pathLst>
              </a:custGeom>
              <a:solidFill>
                <a:schemeClr val="accent1"/>
              </a:solidFill>
              <a:ln w="2632" cap="flat">
                <a:noFill/>
                <a:prstDash val="solid"/>
                <a:miter/>
              </a:ln>
            </p:spPr>
            <p:txBody>
              <a:bodyPr rtlCol="0" anchor="ctr"/>
              <a:lstStyle/>
              <a:p>
                <a:endParaRPr lang="en-GB" dirty="0"/>
              </a:p>
            </p:txBody>
          </p:sp>
          <p:sp>
            <p:nvSpPr>
              <p:cNvPr id="499" name="Freihandform: Form 898">
                <a:extLst>
                  <a:ext uri="{FF2B5EF4-FFF2-40B4-BE49-F238E27FC236}">
                    <a16:creationId xmlns:a16="http://schemas.microsoft.com/office/drawing/2014/main" id="{B28956A8-540E-4E93-A5E4-A29DDE573721}"/>
                  </a:ext>
                </a:extLst>
              </p:cNvPr>
              <p:cNvSpPr/>
              <p:nvPr/>
            </p:nvSpPr>
            <p:spPr>
              <a:xfrm>
                <a:off x="8034222" y="2918028"/>
                <a:ext cx="80277" cy="9922"/>
              </a:xfrm>
              <a:custGeom>
                <a:avLst/>
                <a:gdLst>
                  <a:gd name="connsiteX0" fmla="*/ 75316 w 80277"/>
                  <a:gd name="connsiteY0" fmla="*/ 9923 h 9922"/>
                  <a:gd name="connsiteX1" fmla="*/ 4961 w 80277"/>
                  <a:gd name="connsiteY1" fmla="*/ 9923 h 9922"/>
                  <a:gd name="connsiteX2" fmla="*/ 0 w 80277"/>
                  <a:gd name="connsiteY2" fmla="*/ 4961 h 9922"/>
                  <a:gd name="connsiteX3" fmla="*/ 4961 w 80277"/>
                  <a:gd name="connsiteY3" fmla="*/ 0 h 9922"/>
                  <a:gd name="connsiteX4" fmla="*/ 75316 w 80277"/>
                  <a:gd name="connsiteY4" fmla="*/ 0 h 9922"/>
                  <a:gd name="connsiteX5" fmla="*/ 80277 w 80277"/>
                  <a:gd name="connsiteY5" fmla="*/ 4961 h 9922"/>
                  <a:gd name="connsiteX6" fmla="*/ 75316 w 80277"/>
                  <a:gd name="connsiteY6" fmla="*/ 9923 h 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0277" h="9922">
                    <a:moveTo>
                      <a:pt x="75316" y="9923"/>
                    </a:moveTo>
                    <a:lnTo>
                      <a:pt x="4961" y="9923"/>
                    </a:lnTo>
                    <a:cubicBezTo>
                      <a:pt x="2217" y="9923"/>
                      <a:pt x="0" y="7706"/>
                      <a:pt x="0" y="4961"/>
                    </a:cubicBezTo>
                    <a:cubicBezTo>
                      <a:pt x="0" y="2217"/>
                      <a:pt x="2217" y="0"/>
                      <a:pt x="4961" y="0"/>
                    </a:cubicBezTo>
                    <a:lnTo>
                      <a:pt x="75316" y="0"/>
                    </a:lnTo>
                    <a:cubicBezTo>
                      <a:pt x="78060" y="0"/>
                      <a:pt x="80277" y="2217"/>
                      <a:pt x="80277" y="4961"/>
                    </a:cubicBezTo>
                    <a:cubicBezTo>
                      <a:pt x="80277" y="7706"/>
                      <a:pt x="78060" y="9923"/>
                      <a:pt x="75316" y="9923"/>
                    </a:cubicBezTo>
                    <a:close/>
                  </a:path>
                </a:pathLst>
              </a:custGeom>
              <a:solidFill>
                <a:schemeClr val="accent1"/>
              </a:solidFill>
              <a:ln w="2632" cap="flat">
                <a:noFill/>
                <a:prstDash val="solid"/>
                <a:miter/>
              </a:ln>
            </p:spPr>
            <p:txBody>
              <a:bodyPr rtlCol="0" anchor="ctr"/>
              <a:lstStyle/>
              <a:p>
                <a:endParaRPr lang="en-GB" dirty="0"/>
              </a:p>
            </p:txBody>
          </p:sp>
          <p:sp>
            <p:nvSpPr>
              <p:cNvPr id="500" name="Freihandform: Form 899">
                <a:extLst>
                  <a:ext uri="{FF2B5EF4-FFF2-40B4-BE49-F238E27FC236}">
                    <a16:creationId xmlns:a16="http://schemas.microsoft.com/office/drawing/2014/main" id="{610F2DCC-0ABE-4B20-AEA6-445C4684155A}"/>
                  </a:ext>
                </a:extLst>
              </p:cNvPr>
              <p:cNvSpPr/>
              <p:nvPr/>
            </p:nvSpPr>
            <p:spPr>
              <a:xfrm>
                <a:off x="7948219" y="2918028"/>
                <a:ext cx="49005" cy="9922"/>
              </a:xfrm>
              <a:custGeom>
                <a:avLst/>
                <a:gdLst>
                  <a:gd name="connsiteX0" fmla="*/ 44044 w 49005"/>
                  <a:gd name="connsiteY0" fmla="*/ 9923 h 9922"/>
                  <a:gd name="connsiteX1" fmla="*/ 4961 w 49005"/>
                  <a:gd name="connsiteY1" fmla="*/ 9923 h 9922"/>
                  <a:gd name="connsiteX2" fmla="*/ 0 w 49005"/>
                  <a:gd name="connsiteY2" fmla="*/ 4961 h 9922"/>
                  <a:gd name="connsiteX3" fmla="*/ 4961 w 49005"/>
                  <a:gd name="connsiteY3" fmla="*/ 0 h 9922"/>
                  <a:gd name="connsiteX4" fmla="*/ 44044 w 49005"/>
                  <a:gd name="connsiteY4" fmla="*/ 0 h 9922"/>
                  <a:gd name="connsiteX5" fmla="*/ 49005 w 49005"/>
                  <a:gd name="connsiteY5" fmla="*/ 4961 h 9922"/>
                  <a:gd name="connsiteX6" fmla="*/ 44044 w 49005"/>
                  <a:gd name="connsiteY6" fmla="*/ 9923 h 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005" h="9922">
                    <a:moveTo>
                      <a:pt x="44044" y="9923"/>
                    </a:moveTo>
                    <a:lnTo>
                      <a:pt x="4961" y="9923"/>
                    </a:lnTo>
                    <a:cubicBezTo>
                      <a:pt x="2217" y="9923"/>
                      <a:pt x="0" y="7706"/>
                      <a:pt x="0" y="4961"/>
                    </a:cubicBezTo>
                    <a:cubicBezTo>
                      <a:pt x="0" y="2217"/>
                      <a:pt x="2217" y="0"/>
                      <a:pt x="4961" y="0"/>
                    </a:cubicBezTo>
                    <a:lnTo>
                      <a:pt x="44044" y="0"/>
                    </a:lnTo>
                    <a:cubicBezTo>
                      <a:pt x="46789" y="0"/>
                      <a:pt x="49005" y="2217"/>
                      <a:pt x="49005" y="4961"/>
                    </a:cubicBezTo>
                    <a:cubicBezTo>
                      <a:pt x="49005" y="7706"/>
                      <a:pt x="46789" y="9923"/>
                      <a:pt x="44044" y="9923"/>
                    </a:cubicBezTo>
                    <a:close/>
                  </a:path>
                </a:pathLst>
              </a:custGeom>
              <a:solidFill>
                <a:schemeClr val="accent1"/>
              </a:solidFill>
              <a:ln w="2632" cap="flat">
                <a:noFill/>
                <a:prstDash val="solid"/>
                <a:miter/>
              </a:ln>
            </p:spPr>
            <p:txBody>
              <a:bodyPr rtlCol="0" anchor="ctr"/>
              <a:lstStyle/>
              <a:p>
                <a:endParaRPr lang="en-GB" dirty="0"/>
              </a:p>
            </p:txBody>
          </p:sp>
          <p:sp>
            <p:nvSpPr>
              <p:cNvPr id="501" name="Freihandform: Form 900">
                <a:extLst>
                  <a:ext uri="{FF2B5EF4-FFF2-40B4-BE49-F238E27FC236}">
                    <a16:creationId xmlns:a16="http://schemas.microsoft.com/office/drawing/2014/main" id="{88519EAF-024D-4F79-A83E-771E9E92C845}"/>
                  </a:ext>
                </a:extLst>
              </p:cNvPr>
              <p:cNvSpPr/>
              <p:nvPr/>
            </p:nvSpPr>
            <p:spPr>
              <a:xfrm>
                <a:off x="7877837" y="2972760"/>
                <a:ext cx="189741" cy="9922"/>
              </a:xfrm>
              <a:custGeom>
                <a:avLst/>
                <a:gdLst>
                  <a:gd name="connsiteX0" fmla="*/ 184780 w 189741"/>
                  <a:gd name="connsiteY0" fmla="*/ 9923 h 9922"/>
                  <a:gd name="connsiteX1" fmla="*/ 4961 w 189741"/>
                  <a:gd name="connsiteY1" fmla="*/ 9923 h 9922"/>
                  <a:gd name="connsiteX2" fmla="*/ 0 w 189741"/>
                  <a:gd name="connsiteY2" fmla="*/ 4961 h 9922"/>
                  <a:gd name="connsiteX3" fmla="*/ 4961 w 189741"/>
                  <a:gd name="connsiteY3" fmla="*/ 0 h 9922"/>
                  <a:gd name="connsiteX4" fmla="*/ 184780 w 189741"/>
                  <a:gd name="connsiteY4" fmla="*/ 0 h 9922"/>
                  <a:gd name="connsiteX5" fmla="*/ 189741 w 189741"/>
                  <a:gd name="connsiteY5" fmla="*/ 4961 h 9922"/>
                  <a:gd name="connsiteX6" fmla="*/ 184780 w 189741"/>
                  <a:gd name="connsiteY6" fmla="*/ 9923 h 9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9741" h="9922">
                    <a:moveTo>
                      <a:pt x="184780" y="9923"/>
                    </a:moveTo>
                    <a:lnTo>
                      <a:pt x="4961" y="9923"/>
                    </a:lnTo>
                    <a:cubicBezTo>
                      <a:pt x="2217" y="9923"/>
                      <a:pt x="0" y="7706"/>
                      <a:pt x="0" y="4961"/>
                    </a:cubicBezTo>
                    <a:cubicBezTo>
                      <a:pt x="0" y="2217"/>
                      <a:pt x="2217" y="0"/>
                      <a:pt x="4961" y="0"/>
                    </a:cubicBezTo>
                    <a:lnTo>
                      <a:pt x="184780" y="0"/>
                    </a:lnTo>
                    <a:cubicBezTo>
                      <a:pt x="187524" y="0"/>
                      <a:pt x="189741" y="2217"/>
                      <a:pt x="189741" y="4961"/>
                    </a:cubicBezTo>
                    <a:cubicBezTo>
                      <a:pt x="189741" y="7679"/>
                      <a:pt x="187524" y="9923"/>
                      <a:pt x="184780" y="9923"/>
                    </a:cubicBezTo>
                    <a:close/>
                  </a:path>
                </a:pathLst>
              </a:custGeom>
              <a:solidFill>
                <a:schemeClr val="accent1"/>
              </a:solidFill>
              <a:ln w="2632" cap="flat">
                <a:noFill/>
                <a:prstDash val="solid"/>
                <a:miter/>
              </a:ln>
            </p:spPr>
            <p:txBody>
              <a:bodyPr rtlCol="0" anchor="ctr"/>
              <a:lstStyle/>
              <a:p>
                <a:endParaRPr lang="en-GB" dirty="0"/>
              </a:p>
            </p:txBody>
          </p:sp>
        </p:grpSp>
      </p:grpSp>
      <p:grpSp>
        <p:nvGrpSpPr>
          <p:cNvPr id="62" name="Group 61">
            <a:extLst>
              <a:ext uri="{FF2B5EF4-FFF2-40B4-BE49-F238E27FC236}">
                <a16:creationId xmlns:a16="http://schemas.microsoft.com/office/drawing/2014/main" id="{A45CAE07-938F-977E-C144-AB33DC523CF1}"/>
              </a:ext>
            </a:extLst>
          </p:cNvPr>
          <p:cNvGrpSpPr/>
          <p:nvPr/>
        </p:nvGrpSpPr>
        <p:grpSpPr>
          <a:xfrm>
            <a:off x="5010899" y="4002611"/>
            <a:ext cx="404738" cy="432000"/>
            <a:chOff x="5010487" y="4002611"/>
            <a:chExt cx="404738" cy="432000"/>
          </a:xfrm>
        </p:grpSpPr>
        <p:grpSp>
          <p:nvGrpSpPr>
            <p:cNvPr id="538" name="Group 537">
              <a:extLst>
                <a:ext uri="{FF2B5EF4-FFF2-40B4-BE49-F238E27FC236}">
                  <a16:creationId xmlns:a16="http://schemas.microsoft.com/office/drawing/2014/main" id="{35C17A4B-F4AA-4DFF-93DE-4530E6A4FF72}"/>
                </a:ext>
              </a:extLst>
            </p:cNvPr>
            <p:cNvGrpSpPr/>
            <p:nvPr/>
          </p:nvGrpSpPr>
          <p:grpSpPr>
            <a:xfrm>
              <a:off x="5010487" y="4002611"/>
              <a:ext cx="404738" cy="432000"/>
              <a:chOff x="1713650" y="3259932"/>
              <a:chExt cx="537900" cy="574132"/>
            </a:xfrm>
            <a:solidFill>
              <a:schemeClr val="tx2"/>
            </a:solidFill>
          </p:grpSpPr>
          <p:grpSp>
            <p:nvGrpSpPr>
              <p:cNvPr id="544" name="Grafik 21">
                <a:extLst>
                  <a:ext uri="{FF2B5EF4-FFF2-40B4-BE49-F238E27FC236}">
                    <a16:creationId xmlns:a16="http://schemas.microsoft.com/office/drawing/2014/main" id="{13C02563-C91B-4E38-ABE5-9B05D10C477B}"/>
                  </a:ext>
                </a:extLst>
              </p:cNvPr>
              <p:cNvGrpSpPr/>
              <p:nvPr/>
            </p:nvGrpSpPr>
            <p:grpSpPr>
              <a:xfrm>
                <a:off x="1713650" y="3676445"/>
                <a:ext cx="459799" cy="157619"/>
                <a:chOff x="1713650" y="3676445"/>
                <a:chExt cx="459799" cy="157619"/>
              </a:xfrm>
              <a:grpFill/>
            </p:grpSpPr>
            <p:sp>
              <p:nvSpPr>
                <p:cNvPr id="551" name="Freihandform: Form 433">
                  <a:extLst>
                    <a:ext uri="{FF2B5EF4-FFF2-40B4-BE49-F238E27FC236}">
                      <a16:creationId xmlns:a16="http://schemas.microsoft.com/office/drawing/2014/main" id="{4F2D4636-0A4E-4814-A45B-1DAAFFB87911}"/>
                    </a:ext>
                  </a:extLst>
                </p:cNvPr>
                <p:cNvSpPr/>
                <p:nvPr/>
              </p:nvSpPr>
              <p:spPr>
                <a:xfrm>
                  <a:off x="1792317" y="3740665"/>
                  <a:ext cx="381132" cy="90581"/>
                </a:xfrm>
                <a:custGeom>
                  <a:avLst/>
                  <a:gdLst>
                    <a:gd name="connsiteX0" fmla="*/ 196270 w 381132"/>
                    <a:gd name="connsiteY0" fmla="*/ 90582 h 90581"/>
                    <a:gd name="connsiteX1" fmla="*/ 96894 w 381132"/>
                    <a:gd name="connsiteY1" fmla="*/ 77835 h 90581"/>
                    <a:gd name="connsiteX2" fmla="*/ 6820 w 381132"/>
                    <a:gd name="connsiteY2" fmla="*/ 70799 h 90581"/>
                    <a:gd name="connsiteX3" fmla="*/ 410 w 381132"/>
                    <a:gd name="connsiteY3" fmla="*/ 68257 h 90581"/>
                    <a:gd name="connsiteX4" fmla="*/ 2897 w 381132"/>
                    <a:gd name="connsiteY4" fmla="*/ 61865 h 90581"/>
                    <a:gd name="connsiteX5" fmla="*/ 99583 w 381132"/>
                    <a:gd name="connsiteY5" fmla="*/ 68441 h 90581"/>
                    <a:gd name="connsiteX6" fmla="*/ 370468 w 381132"/>
                    <a:gd name="connsiteY6" fmla="*/ 15594 h 90581"/>
                    <a:gd name="connsiteX7" fmla="*/ 370947 w 381132"/>
                    <a:gd name="connsiteY7" fmla="*/ 15115 h 90581"/>
                    <a:gd name="connsiteX8" fmla="*/ 371389 w 381132"/>
                    <a:gd name="connsiteY8" fmla="*/ 14618 h 90581"/>
                    <a:gd name="connsiteX9" fmla="*/ 368792 w 381132"/>
                    <a:gd name="connsiteY9" fmla="*/ 12389 h 90581"/>
                    <a:gd name="connsiteX10" fmla="*/ 335857 w 381132"/>
                    <a:gd name="connsiteY10" fmla="*/ 14397 h 90581"/>
                    <a:gd name="connsiteX11" fmla="*/ 317234 w 381132"/>
                    <a:gd name="connsiteY11" fmla="*/ 22833 h 90581"/>
                    <a:gd name="connsiteX12" fmla="*/ 251033 w 381132"/>
                    <a:gd name="connsiteY12" fmla="*/ 38435 h 90581"/>
                    <a:gd name="connsiteX13" fmla="*/ 246501 w 381132"/>
                    <a:gd name="connsiteY13" fmla="*/ 33222 h 90581"/>
                    <a:gd name="connsiteX14" fmla="*/ 251696 w 381132"/>
                    <a:gd name="connsiteY14" fmla="*/ 28690 h 90581"/>
                    <a:gd name="connsiteX15" fmla="*/ 312758 w 381132"/>
                    <a:gd name="connsiteY15" fmla="*/ 14139 h 90581"/>
                    <a:gd name="connsiteX16" fmla="*/ 332467 w 381132"/>
                    <a:gd name="connsiteY16" fmla="*/ 5242 h 90581"/>
                    <a:gd name="connsiteX17" fmla="*/ 379549 w 381132"/>
                    <a:gd name="connsiteY17" fmla="*/ 9294 h 90581"/>
                    <a:gd name="connsiteX18" fmla="*/ 377633 w 381132"/>
                    <a:gd name="connsiteY18" fmla="*/ 22207 h 90581"/>
                    <a:gd name="connsiteX19" fmla="*/ 196270 w 381132"/>
                    <a:gd name="connsiteY19" fmla="*/ 90582 h 90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132" h="90581">
                      <a:moveTo>
                        <a:pt x="196270" y="90582"/>
                      </a:moveTo>
                      <a:cubicBezTo>
                        <a:pt x="154512" y="90582"/>
                        <a:pt x="117653" y="83858"/>
                        <a:pt x="96894" y="77835"/>
                      </a:cubicBezTo>
                      <a:cubicBezTo>
                        <a:pt x="33603" y="59912"/>
                        <a:pt x="7078" y="70688"/>
                        <a:pt x="6820" y="70799"/>
                      </a:cubicBezTo>
                      <a:cubicBezTo>
                        <a:pt x="4352" y="71867"/>
                        <a:pt x="1478" y="70725"/>
                        <a:pt x="410" y="68257"/>
                      </a:cubicBezTo>
                      <a:cubicBezTo>
                        <a:pt x="-659" y="65788"/>
                        <a:pt x="428" y="62952"/>
                        <a:pt x="2897" y="61865"/>
                      </a:cubicBezTo>
                      <a:cubicBezTo>
                        <a:pt x="4057" y="61349"/>
                        <a:pt x="32258" y="49376"/>
                        <a:pt x="99583" y="68441"/>
                      </a:cubicBezTo>
                      <a:cubicBezTo>
                        <a:pt x="149502" y="82956"/>
                        <a:pt x="295388" y="101744"/>
                        <a:pt x="370468" y="15594"/>
                      </a:cubicBezTo>
                      <a:cubicBezTo>
                        <a:pt x="370615" y="15428"/>
                        <a:pt x="370781" y="15262"/>
                        <a:pt x="370947" y="15115"/>
                      </a:cubicBezTo>
                      <a:cubicBezTo>
                        <a:pt x="371242" y="14857"/>
                        <a:pt x="371371" y="14673"/>
                        <a:pt x="371389" y="14618"/>
                      </a:cubicBezTo>
                      <a:cubicBezTo>
                        <a:pt x="371334" y="14544"/>
                        <a:pt x="370800" y="13512"/>
                        <a:pt x="368792" y="12389"/>
                      </a:cubicBezTo>
                      <a:cubicBezTo>
                        <a:pt x="363358" y="9331"/>
                        <a:pt x="351459" y="8023"/>
                        <a:pt x="335857" y="14397"/>
                      </a:cubicBezTo>
                      <a:cubicBezTo>
                        <a:pt x="329373" y="16570"/>
                        <a:pt x="323479" y="19609"/>
                        <a:pt x="317234" y="22833"/>
                      </a:cubicBezTo>
                      <a:cubicBezTo>
                        <a:pt x="301061" y="31177"/>
                        <a:pt x="282733" y="40645"/>
                        <a:pt x="251033" y="38435"/>
                      </a:cubicBezTo>
                      <a:cubicBezTo>
                        <a:pt x="248343" y="38251"/>
                        <a:pt x="246317" y="35930"/>
                        <a:pt x="246501" y="33222"/>
                      </a:cubicBezTo>
                      <a:cubicBezTo>
                        <a:pt x="246685" y="30532"/>
                        <a:pt x="249025" y="28562"/>
                        <a:pt x="251696" y="28690"/>
                      </a:cubicBezTo>
                      <a:cubicBezTo>
                        <a:pt x="280689" y="30643"/>
                        <a:pt x="296991" y="22280"/>
                        <a:pt x="312758" y="14139"/>
                      </a:cubicBezTo>
                      <a:cubicBezTo>
                        <a:pt x="319352" y="10731"/>
                        <a:pt x="325578" y="7526"/>
                        <a:pt x="332467" y="5242"/>
                      </a:cubicBezTo>
                      <a:cubicBezTo>
                        <a:pt x="355511" y="-4171"/>
                        <a:pt x="373986" y="268"/>
                        <a:pt x="379549" y="9294"/>
                      </a:cubicBezTo>
                      <a:cubicBezTo>
                        <a:pt x="382220" y="13660"/>
                        <a:pt x="381465" y="18688"/>
                        <a:pt x="377633" y="22207"/>
                      </a:cubicBezTo>
                      <a:cubicBezTo>
                        <a:pt x="330773" y="75827"/>
                        <a:pt x="258143" y="90582"/>
                        <a:pt x="196270" y="90582"/>
                      </a:cubicBezTo>
                      <a:close/>
                    </a:path>
                  </a:pathLst>
                </a:custGeom>
                <a:grpFill/>
                <a:ln w="1836" cap="flat">
                  <a:noFill/>
                  <a:prstDash val="solid"/>
                  <a:miter/>
                </a:ln>
              </p:spPr>
              <p:txBody>
                <a:bodyPr rtlCol="0" anchor="ctr"/>
                <a:lstStyle/>
                <a:p>
                  <a:endParaRPr lang="en-GB" dirty="0"/>
                </a:p>
              </p:txBody>
            </p:sp>
            <p:sp>
              <p:nvSpPr>
                <p:cNvPr id="552" name="Freihandform: Form 434">
                  <a:extLst>
                    <a:ext uri="{FF2B5EF4-FFF2-40B4-BE49-F238E27FC236}">
                      <a16:creationId xmlns:a16="http://schemas.microsoft.com/office/drawing/2014/main" id="{4320331D-2FB4-4625-8B7D-DDD989083A9E}"/>
                    </a:ext>
                  </a:extLst>
                </p:cNvPr>
                <p:cNvSpPr/>
                <p:nvPr/>
              </p:nvSpPr>
              <p:spPr>
                <a:xfrm>
                  <a:off x="1791370" y="3679208"/>
                  <a:ext cx="260678" cy="110004"/>
                </a:xfrm>
                <a:custGeom>
                  <a:avLst/>
                  <a:gdLst>
                    <a:gd name="connsiteX0" fmla="*/ 196609 w 260678"/>
                    <a:gd name="connsiteY0" fmla="*/ 110004 h 110004"/>
                    <a:gd name="connsiteX1" fmla="*/ 129191 w 260678"/>
                    <a:gd name="connsiteY1" fmla="*/ 92874 h 110004"/>
                    <a:gd name="connsiteX2" fmla="*/ 128141 w 260678"/>
                    <a:gd name="connsiteY2" fmla="*/ 86040 h 110004"/>
                    <a:gd name="connsiteX3" fmla="*/ 134957 w 260678"/>
                    <a:gd name="connsiteY3" fmla="*/ 84990 h 110004"/>
                    <a:gd name="connsiteX4" fmla="*/ 233080 w 260678"/>
                    <a:gd name="connsiteY4" fmla="*/ 97645 h 110004"/>
                    <a:gd name="connsiteX5" fmla="*/ 250119 w 260678"/>
                    <a:gd name="connsiteY5" fmla="*/ 87900 h 110004"/>
                    <a:gd name="connsiteX6" fmla="*/ 247890 w 260678"/>
                    <a:gd name="connsiteY6" fmla="*/ 75117 h 110004"/>
                    <a:gd name="connsiteX7" fmla="*/ 243156 w 260678"/>
                    <a:gd name="connsiteY7" fmla="*/ 72501 h 110004"/>
                    <a:gd name="connsiteX8" fmla="*/ 238440 w 260678"/>
                    <a:gd name="connsiteY8" fmla="*/ 72833 h 110004"/>
                    <a:gd name="connsiteX9" fmla="*/ 177618 w 260678"/>
                    <a:gd name="connsiteY9" fmla="*/ 59644 h 110004"/>
                    <a:gd name="connsiteX10" fmla="*/ 79199 w 260678"/>
                    <a:gd name="connsiteY10" fmla="*/ 9781 h 110004"/>
                    <a:gd name="connsiteX11" fmla="*/ 54682 w 260678"/>
                    <a:gd name="connsiteY11" fmla="*/ 15823 h 110004"/>
                    <a:gd name="connsiteX12" fmla="*/ 5225 w 260678"/>
                    <a:gd name="connsiteY12" fmla="*/ 27888 h 110004"/>
                    <a:gd name="connsiteX13" fmla="*/ 12 w 260678"/>
                    <a:gd name="connsiteY13" fmla="*/ 23357 h 110004"/>
                    <a:gd name="connsiteX14" fmla="*/ 4543 w 260678"/>
                    <a:gd name="connsiteY14" fmla="*/ 18144 h 110004"/>
                    <a:gd name="connsiteX15" fmla="*/ 50409 w 260678"/>
                    <a:gd name="connsiteY15" fmla="*/ 7036 h 110004"/>
                    <a:gd name="connsiteX16" fmla="*/ 79218 w 260678"/>
                    <a:gd name="connsiteY16" fmla="*/ 0 h 110004"/>
                    <a:gd name="connsiteX17" fmla="*/ 184617 w 260678"/>
                    <a:gd name="connsiteY17" fmla="*/ 52792 h 110004"/>
                    <a:gd name="connsiteX18" fmla="*/ 185317 w 260678"/>
                    <a:gd name="connsiteY18" fmla="*/ 53602 h 110004"/>
                    <a:gd name="connsiteX19" fmla="*/ 237667 w 260678"/>
                    <a:gd name="connsiteY19" fmla="*/ 63089 h 110004"/>
                    <a:gd name="connsiteX20" fmla="*/ 241866 w 260678"/>
                    <a:gd name="connsiteY20" fmla="*/ 62794 h 110004"/>
                    <a:gd name="connsiteX21" fmla="*/ 255460 w 260678"/>
                    <a:gd name="connsiteY21" fmla="*/ 68909 h 110004"/>
                    <a:gd name="connsiteX22" fmla="*/ 259200 w 260678"/>
                    <a:gd name="connsiteY22" fmla="*/ 91474 h 110004"/>
                    <a:gd name="connsiteX23" fmla="*/ 234370 w 260678"/>
                    <a:gd name="connsiteY23" fmla="*/ 107297 h 110004"/>
                    <a:gd name="connsiteX24" fmla="*/ 196609 w 260678"/>
                    <a:gd name="connsiteY24" fmla="*/ 110004 h 110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0678" h="110004">
                      <a:moveTo>
                        <a:pt x="196609" y="110004"/>
                      </a:moveTo>
                      <a:cubicBezTo>
                        <a:pt x="167358" y="110004"/>
                        <a:pt x="144775" y="104276"/>
                        <a:pt x="129191" y="92874"/>
                      </a:cubicBezTo>
                      <a:cubicBezTo>
                        <a:pt x="127018" y="91271"/>
                        <a:pt x="126539" y="88213"/>
                        <a:pt x="128141" y="86040"/>
                      </a:cubicBezTo>
                      <a:cubicBezTo>
                        <a:pt x="129725" y="83866"/>
                        <a:pt x="132783" y="83387"/>
                        <a:pt x="134957" y="84990"/>
                      </a:cubicBezTo>
                      <a:cubicBezTo>
                        <a:pt x="154298" y="99155"/>
                        <a:pt x="188246" y="103520"/>
                        <a:pt x="233080" y="97645"/>
                      </a:cubicBezTo>
                      <a:cubicBezTo>
                        <a:pt x="242180" y="96447"/>
                        <a:pt x="248056" y="93076"/>
                        <a:pt x="250119" y="87900"/>
                      </a:cubicBezTo>
                      <a:cubicBezTo>
                        <a:pt x="251979" y="83222"/>
                        <a:pt x="250340" y="78101"/>
                        <a:pt x="247890" y="75117"/>
                      </a:cubicBezTo>
                      <a:cubicBezTo>
                        <a:pt x="246379" y="73256"/>
                        <a:pt x="244556" y="72243"/>
                        <a:pt x="243156" y="72501"/>
                      </a:cubicBezTo>
                      <a:cubicBezTo>
                        <a:pt x="242180" y="72685"/>
                        <a:pt x="240945" y="72630"/>
                        <a:pt x="238440" y="72833"/>
                      </a:cubicBezTo>
                      <a:cubicBezTo>
                        <a:pt x="223907" y="73975"/>
                        <a:pt x="190051" y="76683"/>
                        <a:pt x="177618" y="59644"/>
                      </a:cubicBezTo>
                      <a:cubicBezTo>
                        <a:pt x="123555" y="9781"/>
                        <a:pt x="92499" y="9781"/>
                        <a:pt x="79199" y="9781"/>
                      </a:cubicBezTo>
                      <a:cubicBezTo>
                        <a:pt x="67024" y="9781"/>
                        <a:pt x="61848" y="12305"/>
                        <a:pt x="54682" y="15823"/>
                      </a:cubicBezTo>
                      <a:cubicBezTo>
                        <a:pt x="45546" y="20299"/>
                        <a:pt x="34162" y="25862"/>
                        <a:pt x="5225" y="27888"/>
                      </a:cubicBezTo>
                      <a:cubicBezTo>
                        <a:pt x="2517" y="27998"/>
                        <a:pt x="196" y="26064"/>
                        <a:pt x="12" y="23357"/>
                      </a:cubicBezTo>
                      <a:cubicBezTo>
                        <a:pt x="-173" y="20667"/>
                        <a:pt x="1854" y="18328"/>
                        <a:pt x="4543" y="18144"/>
                      </a:cubicBezTo>
                      <a:cubicBezTo>
                        <a:pt x="31584" y="16246"/>
                        <a:pt x="41586" y="11365"/>
                        <a:pt x="50409" y="7036"/>
                      </a:cubicBezTo>
                      <a:cubicBezTo>
                        <a:pt x="57795" y="3426"/>
                        <a:pt x="64776" y="0"/>
                        <a:pt x="79218" y="0"/>
                      </a:cubicBezTo>
                      <a:cubicBezTo>
                        <a:pt x="93677" y="0"/>
                        <a:pt x="127533" y="0"/>
                        <a:pt x="184617" y="52792"/>
                      </a:cubicBezTo>
                      <a:cubicBezTo>
                        <a:pt x="184875" y="53031"/>
                        <a:pt x="185114" y="53307"/>
                        <a:pt x="185317" y="53602"/>
                      </a:cubicBezTo>
                      <a:cubicBezTo>
                        <a:pt x="194269" y="66533"/>
                        <a:pt x="226928" y="63936"/>
                        <a:pt x="237667" y="63089"/>
                      </a:cubicBezTo>
                      <a:cubicBezTo>
                        <a:pt x="239509" y="62941"/>
                        <a:pt x="240945" y="62831"/>
                        <a:pt x="241866" y="62794"/>
                      </a:cubicBezTo>
                      <a:cubicBezTo>
                        <a:pt x="246711" y="62168"/>
                        <a:pt x="251758" y="64378"/>
                        <a:pt x="255460" y="68909"/>
                      </a:cubicBezTo>
                      <a:cubicBezTo>
                        <a:pt x="260655" y="75264"/>
                        <a:pt x="262110" y="84124"/>
                        <a:pt x="259200" y="91474"/>
                      </a:cubicBezTo>
                      <a:cubicBezTo>
                        <a:pt x="256805" y="97515"/>
                        <a:pt x="250542" y="105160"/>
                        <a:pt x="234370" y="107297"/>
                      </a:cubicBezTo>
                      <a:cubicBezTo>
                        <a:pt x="220757" y="109102"/>
                        <a:pt x="208176" y="110004"/>
                        <a:pt x="196609" y="110004"/>
                      </a:cubicBezTo>
                      <a:close/>
                    </a:path>
                  </a:pathLst>
                </a:custGeom>
                <a:grpFill/>
                <a:ln w="1836" cap="flat">
                  <a:noFill/>
                  <a:prstDash val="solid"/>
                  <a:miter/>
                </a:ln>
              </p:spPr>
              <p:txBody>
                <a:bodyPr rtlCol="0" anchor="ctr"/>
                <a:lstStyle/>
                <a:p>
                  <a:endParaRPr lang="en-GB" dirty="0"/>
                </a:p>
              </p:txBody>
            </p:sp>
            <p:sp>
              <p:nvSpPr>
                <p:cNvPr id="553" name="Freihandform: Form 435">
                  <a:extLst>
                    <a:ext uri="{FF2B5EF4-FFF2-40B4-BE49-F238E27FC236}">
                      <a16:creationId xmlns:a16="http://schemas.microsoft.com/office/drawing/2014/main" id="{AAD5BA6E-7790-414C-B1B2-FED3DC387D2C}"/>
                    </a:ext>
                  </a:extLst>
                </p:cNvPr>
                <p:cNvSpPr/>
                <p:nvPr/>
              </p:nvSpPr>
              <p:spPr>
                <a:xfrm>
                  <a:off x="1713650" y="3676445"/>
                  <a:ext cx="87274" cy="157619"/>
                </a:xfrm>
                <a:custGeom>
                  <a:avLst/>
                  <a:gdLst>
                    <a:gd name="connsiteX0" fmla="*/ 82411 w 87274"/>
                    <a:gd name="connsiteY0" fmla="*/ 157620 h 157619"/>
                    <a:gd name="connsiteX1" fmla="*/ 4900 w 87274"/>
                    <a:gd name="connsiteY1" fmla="*/ 157620 h 157619"/>
                    <a:gd name="connsiteX2" fmla="*/ 18 w 87274"/>
                    <a:gd name="connsiteY2" fmla="*/ 152739 h 157619"/>
                    <a:gd name="connsiteX3" fmla="*/ 4900 w 87274"/>
                    <a:gd name="connsiteY3" fmla="*/ 147858 h 157619"/>
                    <a:gd name="connsiteX4" fmla="*/ 77530 w 87274"/>
                    <a:gd name="connsiteY4" fmla="*/ 147858 h 157619"/>
                    <a:gd name="connsiteX5" fmla="*/ 77530 w 87274"/>
                    <a:gd name="connsiteY5" fmla="*/ 9763 h 157619"/>
                    <a:gd name="connsiteX6" fmla="*/ 4881 w 87274"/>
                    <a:gd name="connsiteY6" fmla="*/ 9763 h 157619"/>
                    <a:gd name="connsiteX7" fmla="*/ 0 w 87274"/>
                    <a:gd name="connsiteY7" fmla="*/ 4881 h 157619"/>
                    <a:gd name="connsiteX8" fmla="*/ 4881 w 87274"/>
                    <a:gd name="connsiteY8" fmla="*/ 0 h 157619"/>
                    <a:gd name="connsiteX9" fmla="*/ 82393 w 87274"/>
                    <a:gd name="connsiteY9" fmla="*/ 0 h 157619"/>
                    <a:gd name="connsiteX10" fmla="*/ 87274 w 87274"/>
                    <a:gd name="connsiteY10" fmla="*/ 4881 h 157619"/>
                    <a:gd name="connsiteX11" fmla="*/ 87274 w 87274"/>
                    <a:gd name="connsiteY11" fmla="*/ 152739 h 157619"/>
                    <a:gd name="connsiteX12" fmla="*/ 82411 w 87274"/>
                    <a:gd name="connsiteY12" fmla="*/ 157620 h 157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274" h="157619">
                      <a:moveTo>
                        <a:pt x="82411" y="157620"/>
                      </a:moveTo>
                      <a:lnTo>
                        <a:pt x="4900" y="157620"/>
                      </a:lnTo>
                      <a:cubicBezTo>
                        <a:pt x="2210" y="157620"/>
                        <a:pt x="18" y="155428"/>
                        <a:pt x="18" y="152739"/>
                      </a:cubicBezTo>
                      <a:cubicBezTo>
                        <a:pt x="18" y="150049"/>
                        <a:pt x="2210" y="147858"/>
                        <a:pt x="4900" y="147858"/>
                      </a:cubicBezTo>
                      <a:lnTo>
                        <a:pt x="77530" y="147858"/>
                      </a:lnTo>
                      <a:lnTo>
                        <a:pt x="77530" y="9763"/>
                      </a:lnTo>
                      <a:lnTo>
                        <a:pt x="4881" y="9763"/>
                      </a:lnTo>
                      <a:cubicBezTo>
                        <a:pt x="2192" y="9763"/>
                        <a:pt x="0" y="7571"/>
                        <a:pt x="0" y="4881"/>
                      </a:cubicBezTo>
                      <a:cubicBezTo>
                        <a:pt x="0" y="2192"/>
                        <a:pt x="2192" y="0"/>
                        <a:pt x="4881" y="0"/>
                      </a:cubicBezTo>
                      <a:lnTo>
                        <a:pt x="82393" y="0"/>
                      </a:lnTo>
                      <a:cubicBezTo>
                        <a:pt x="85082" y="0"/>
                        <a:pt x="87274" y="2192"/>
                        <a:pt x="87274" y="4881"/>
                      </a:cubicBezTo>
                      <a:lnTo>
                        <a:pt x="87274" y="152739"/>
                      </a:lnTo>
                      <a:cubicBezTo>
                        <a:pt x="87292" y="155428"/>
                        <a:pt x="85100" y="157620"/>
                        <a:pt x="82411" y="157620"/>
                      </a:cubicBezTo>
                      <a:close/>
                    </a:path>
                  </a:pathLst>
                </a:custGeom>
                <a:grpFill/>
                <a:ln w="1836" cap="flat">
                  <a:noFill/>
                  <a:prstDash val="solid"/>
                  <a:miter/>
                </a:ln>
              </p:spPr>
              <p:txBody>
                <a:bodyPr rtlCol="0" anchor="ctr"/>
                <a:lstStyle/>
                <a:p>
                  <a:endParaRPr lang="en-GB" dirty="0"/>
                </a:p>
              </p:txBody>
            </p:sp>
            <p:sp>
              <p:nvSpPr>
                <p:cNvPr id="554" name="Freihandform: Form 436">
                  <a:extLst>
                    <a:ext uri="{FF2B5EF4-FFF2-40B4-BE49-F238E27FC236}">
                      <a16:creationId xmlns:a16="http://schemas.microsoft.com/office/drawing/2014/main" id="{D71952E1-7359-45AA-B7D2-2EF958FBA534}"/>
                    </a:ext>
                  </a:extLst>
                </p:cNvPr>
                <p:cNvSpPr/>
                <p:nvPr/>
              </p:nvSpPr>
              <p:spPr>
                <a:xfrm>
                  <a:off x="2042357" y="3723853"/>
                  <a:ext cx="101170" cy="39589"/>
                </a:xfrm>
                <a:custGeom>
                  <a:avLst/>
                  <a:gdLst>
                    <a:gd name="connsiteX0" fmla="*/ 4880 w 101170"/>
                    <a:gd name="connsiteY0" fmla="*/ 39589 h 39589"/>
                    <a:gd name="connsiteX1" fmla="*/ 403 w 101170"/>
                    <a:gd name="connsiteY1" fmla="*/ 36661 h 39589"/>
                    <a:gd name="connsiteX2" fmla="*/ 2945 w 101170"/>
                    <a:gd name="connsiteY2" fmla="*/ 30232 h 39589"/>
                    <a:gd name="connsiteX3" fmla="*/ 64929 w 101170"/>
                    <a:gd name="connsiteY3" fmla="*/ 3357 h 39589"/>
                    <a:gd name="connsiteX4" fmla="*/ 99945 w 101170"/>
                    <a:gd name="connsiteY4" fmla="*/ 10615 h 39589"/>
                    <a:gd name="connsiteX5" fmla="*/ 99264 w 101170"/>
                    <a:gd name="connsiteY5" fmla="*/ 24798 h 39589"/>
                    <a:gd name="connsiteX6" fmla="*/ 92780 w 101170"/>
                    <a:gd name="connsiteY6" fmla="*/ 27137 h 39589"/>
                    <a:gd name="connsiteX7" fmla="*/ 90422 w 101170"/>
                    <a:gd name="connsiteY7" fmla="*/ 20653 h 39589"/>
                    <a:gd name="connsiteX8" fmla="*/ 90975 w 101170"/>
                    <a:gd name="connsiteY8" fmla="*/ 14483 h 39589"/>
                    <a:gd name="connsiteX9" fmla="*/ 68797 w 101170"/>
                    <a:gd name="connsiteY9" fmla="*/ 12328 h 39589"/>
                    <a:gd name="connsiteX10" fmla="*/ 6814 w 101170"/>
                    <a:gd name="connsiteY10" fmla="*/ 39203 h 39589"/>
                    <a:gd name="connsiteX11" fmla="*/ 4880 w 101170"/>
                    <a:gd name="connsiteY11" fmla="*/ 39589 h 39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1170" h="39589">
                      <a:moveTo>
                        <a:pt x="4880" y="39589"/>
                      </a:moveTo>
                      <a:cubicBezTo>
                        <a:pt x="3001" y="39589"/>
                        <a:pt x="1196" y="38484"/>
                        <a:pt x="403" y="36661"/>
                      </a:cubicBezTo>
                      <a:cubicBezTo>
                        <a:pt x="-665" y="34174"/>
                        <a:pt x="459" y="31300"/>
                        <a:pt x="2945" y="30232"/>
                      </a:cubicBezTo>
                      <a:lnTo>
                        <a:pt x="64929" y="3357"/>
                      </a:lnTo>
                      <a:cubicBezTo>
                        <a:pt x="80015" y="-3127"/>
                        <a:pt x="95396" y="42"/>
                        <a:pt x="99945" y="10615"/>
                      </a:cubicBezTo>
                      <a:cubicBezTo>
                        <a:pt x="101787" y="14906"/>
                        <a:pt x="101548" y="19935"/>
                        <a:pt x="99264" y="24798"/>
                      </a:cubicBezTo>
                      <a:cubicBezTo>
                        <a:pt x="98122" y="27230"/>
                        <a:pt x="95193" y="28298"/>
                        <a:pt x="92780" y="27137"/>
                      </a:cubicBezTo>
                      <a:cubicBezTo>
                        <a:pt x="90348" y="25995"/>
                        <a:pt x="89280" y="23085"/>
                        <a:pt x="90422" y="20653"/>
                      </a:cubicBezTo>
                      <a:cubicBezTo>
                        <a:pt x="91177" y="19033"/>
                        <a:pt x="91896" y="16638"/>
                        <a:pt x="90975" y="14483"/>
                      </a:cubicBezTo>
                      <a:cubicBezTo>
                        <a:pt x="88967" y="9823"/>
                        <a:pt x="79370" y="7796"/>
                        <a:pt x="68797" y="12328"/>
                      </a:cubicBezTo>
                      <a:lnTo>
                        <a:pt x="6814" y="39203"/>
                      </a:lnTo>
                      <a:cubicBezTo>
                        <a:pt x="6187" y="39460"/>
                        <a:pt x="5524" y="39589"/>
                        <a:pt x="4880" y="39589"/>
                      </a:cubicBezTo>
                      <a:close/>
                    </a:path>
                  </a:pathLst>
                </a:custGeom>
                <a:grpFill/>
                <a:ln w="1836" cap="flat">
                  <a:noFill/>
                  <a:prstDash val="solid"/>
                  <a:miter/>
                </a:ln>
              </p:spPr>
              <p:txBody>
                <a:bodyPr rtlCol="0" anchor="ctr"/>
                <a:lstStyle/>
                <a:p>
                  <a:endParaRPr lang="en-GB" dirty="0"/>
                </a:p>
              </p:txBody>
            </p:sp>
            <p:sp>
              <p:nvSpPr>
                <p:cNvPr id="555" name="Freihandform: Form 437">
                  <a:extLst>
                    <a:ext uri="{FF2B5EF4-FFF2-40B4-BE49-F238E27FC236}">
                      <a16:creationId xmlns:a16="http://schemas.microsoft.com/office/drawing/2014/main" id="{9B641C1F-2687-4C1F-B202-6C90DD32C284}"/>
                    </a:ext>
                  </a:extLst>
                </p:cNvPr>
                <p:cNvSpPr/>
                <p:nvPr/>
              </p:nvSpPr>
              <p:spPr>
                <a:xfrm>
                  <a:off x="1998962" y="3719942"/>
                  <a:ext cx="82691" cy="32079"/>
                </a:xfrm>
                <a:custGeom>
                  <a:avLst/>
                  <a:gdLst>
                    <a:gd name="connsiteX0" fmla="*/ 73473 w 82691"/>
                    <a:gd name="connsiteY0" fmla="*/ 32080 h 32079"/>
                    <a:gd name="connsiteX1" fmla="*/ 70397 w 82691"/>
                    <a:gd name="connsiteY1" fmla="*/ 30975 h 32079"/>
                    <a:gd name="connsiteX2" fmla="*/ 69697 w 82691"/>
                    <a:gd name="connsiteY2" fmla="*/ 24104 h 32079"/>
                    <a:gd name="connsiteX3" fmla="*/ 72478 w 82691"/>
                    <a:gd name="connsiteY3" fmla="*/ 14452 h 32079"/>
                    <a:gd name="connsiteX4" fmla="*/ 50300 w 82691"/>
                    <a:gd name="connsiteY4" fmla="*/ 12315 h 32079"/>
                    <a:gd name="connsiteX5" fmla="*/ 6811 w 82691"/>
                    <a:gd name="connsiteY5" fmla="*/ 30975 h 32079"/>
                    <a:gd name="connsiteX6" fmla="*/ 400 w 82691"/>
                    <a:gd name="connsiteY6" fmla="*/ 28414 h 32079"/>
                    <a:gd name="connsiteX7" fmla="*/ 2961 w 82691"/>
                    <a:gd name="connsiteY7" fmla="*/ 22004 h 32079"/>
                    <a:gd name="connsiteX8" fmla="*/ 46451 w 82691"/>
                    <a:gd name="connsiteY8" fmla="*/ 3345 h 32079"/>
                    <a:gd name="connsiteX9" fmla="*/ 81449 w 82691"/>
                    <a:gd name="connsiteY9" fmla="*/ 10602 h 32079"/>
                    <a:gd name="connsiteX10" fmla="*/ 77267 w 82691"/>
                    <a:gd name="connsiteY10" fmla="*/ 30275 h 32079"/>
                    <a:gd name="connsiteX11" fmla="*/ 73473 w 82691"/>
                    <a:gd name="connsiteY11" fmla="*/ 32080 h 3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691" h="32079">
                      <a:moveTo>
                        <a:pt x="73473" y="32080"/>
                      </a:moveTo>
                      <a:cubicBezTo>
                        <a:pt x="72386" y="32080"/>
                        <a:pt x="71299" y="31711"/>
                        <a:pt x="70397" y="30975"/>
                      </a:cubicBezTo>
                      <a:cubicBezTo>
                        <a:pt x="68315" y="29280"/>
                        <a:pt x="68002" y="26204"/>
                        <a:pt x="69697" y="24104"/>
                      </a:cubicBezTo>
                      <a:cubicBezTo>
                        <a:pt x="72533" y="20623"/>
                        <a:pt x="73565" y="17012"/>
                        <a:pt x="72478" y="14452"/>
                      </a:cubicBezTo>
                      <a:cubicBezTo>
                        <a:pt x="70470" y="9792"/>
                        <a:pt x="60873" y="7765"/>
                        <a:pt x="50300" y="12315"/>
                      </a:cubicBezTo>
                      <a:lnTo>
                        <a:pt x="6811" y="30975"/>
                      </a:lnTo>
                      <a:cubicBezTo>
                        <a:pt x="4324" y="32025"/>
                        <a:pt x="1469" y="30901"/>
                        <a:pt x="400" y="28414"/>
                      </a:cubicBezTo>
                      <a:cubicBezTo>
                        <a:pt x="-668" y="25927"/>
                        <a:pt x="474" y="23072"/>
                        <a:pt x="2961" y="22004"/>
                      </a:cubicBezTo>
                      <a:lnTo>
                        <a:pt x="46451" y="3345"/>
                      </a:lnTo>
                      <a:cubicBezTo>
                        <a:pt x="61537" y="-3121"/>
                        <a:pt x="76917" y="47"/>
                        <a:pt x="81449" y="10602"/>
                      </a:cubicBezTo>
                      <a:cubicBezTo>
                        <a:pt x="84046" y="16662"/>
                        <a:pt x="82535" y="23828"/>
                        <a:pt x="77267" y="30275"/>
                      </a:cubicBezTo>
                      <a:cubicBezTo>
                        <a:pt x="76309" y="31472"/>
                        <a:pt x="74891" y="32080"/>
                        <a:pt x="73473" y="32080"/>
                      </a:cubicBezTo>
                      <a:close/>
                    </a:path>
                  </a:pathLst>
                </a:custGeom>
                <a:grpFill/>
                <a:ln w="1836" cap="flat">
                  <a:noFill/>
                  <a:prstDash val="solid"/>
                  <a:miter/>
                </a:ln>
              </p:spPr>
              <p:txBody>
                <a:bodyPr rtlCol="0" anchor="ctr"/>
                <a:lstStyle/>
                <a:p>
                  <a:endParaRPr lang="en-GB" dirty="0"/>
                </a:p>
              </p:txBody>
            </p:sp>
          </p:grpSp>
          <p:grpSp>
            <p:nvGrpSpPr>
              <p:cNvPr id="545" name="Grafik 21">
                <a:extLst>
                  <a:ext uri="{FF2B5EF4-FFF2-40B4-BE49-F238E27FC236}">
                    <a16:creationId xmlns:a16="http://schemas.microsoft.com/office/drawing/2014/main" id="{37B01442-53D7-44F3-8621-A07F77E7C477}"/>
                  </a:ext>
                </a:extLst>
              </p:cNvPr>
              <p:cNvGrpSpPr/>
              <p:nvPr/>
            </p:nvGrpSpPr>
            <p:grpSpPr>
              <a:xfrm>
                <a:off x="1791770" y="3259932"/>
                <a:ext cx="459780" cy="157620"/>
                <a:chOff x="1791770" y="3259932"/>
                <a:chExt cx="459780" cy="157620"/>
              </a:xfrm>
              <a:grpFill/>
            </p:grpSpPr>
            <p:sp>
              <p:nvSpPr>
                <p:cNvPr id="546" name="Freihandform: Form 439">
                  <a:extLst>
                    <a:ext uri="{FF2B5EF4-FFF2-40B4-BE49-F238E27FC236}">
                      <a16:creationId xmlns:a16="http://schemas.microsoft.com/office/drawing/2014/main" id="{6176FCE8-38DD-4ABE-A24C-AC814E8B65E8}"/>
                    </a:ext>
                  </a:extLst>
                </p:cNvPr>
                <p:cNvSpPr/>
                <p:nvPr/>
              </p:nvSpPr>
              <p:spPr>
                <a:xfrm>
                  <a:off x="1791770" y="3262743"/>
                  <a:ext cx="381132" cy="90559"/>
                </a:xfrm>
                <a:custGeom>
                  <a:avLst/>
                  <a:gdLst>
                    <a:gd name="connsiteX0" fmla="*/ 24240 w 381132"/>
                    <a:gd name="connsiteY0" fmla="*/ 90559 h 90559"/>
                    <a:gd name="connsiteX1" fmla="*/ 1583 w 381132"/>
                    <a:gd name="connsiteY1" fmla="*/ 81257 h 90559"/>
                    <a:gd name="connsiteX2" fmla="*/ 3499 w 381132"/>
                    <a:gd name="connsiteY2" fmla="*/ 68345 h 90559"/>
                    <a:gd name="connsiteX3" fmla="*/ 284238 w 381132"/>
                    <a:gd name="connsiteY3" fmla="*/ 12753 h 90559"/>
                    <a:gd name="connsiteX4" fmla="*/ 374312 w 381132"/>
                    <a:gd name="connsiteY4" fmla="*/ 19771 h 90559"/>
                    <a:gd name="connsiteX5" fmla="*/ 380722 w 381132"/>
                    <a:gd name="connsiteY5" fmla="*/ 22313 h 90559"/>
                    <a:gd name="connsiteX6" fmla="*/ 378254 w 381132"/>
                    <a:gd name="connsiteY6" fmla="*/ 28705 h 90559"/>
                    <a:gd name="connsiteX7" fmla="*/ 281549 w 381132"/>
                    <a:gd name="connsiteY7" fmla="*/ 22129 h 90559"/>
                    <a:gd name="connsiteX8" fmla="*/ 10664 w 381132"/>
                    <a:gd name="connsiteY8" fmla="*/ 74976 h 90559"/>
                    <a:gd name="connsiteX9" fmla="*/ 10185 w 381132"/>
                    <a:gd name="connsiteY9" fmla="*/ 75455 h 90559"/>
                    <a:gd name="connsiteX10" fmla="*/ 9743 w 381132"/>
                    <a:gd name="connsiteY10" fmla="*/ 75952 h 90559"/>
                    <a:gd name="connsiteX11" fmla="*/ 12340 w 381132"/>
                    <a:gd name="connsiteY11" fmla="*/ 78181 h 90559"/>
                    <a:gd name="connsiteX12" fmla="*/ 45275 w 381132"/>
                    <a:gd name="connsiteY12" fmla="*/ 76173 h 90559"/>
                    <a:gd name="connsiteX13" fmla="*/ 63898 w 381132"/>
                    <a:gd name="connsiteY13" fmla="*/ 67737 h 90559"/>
                    <a:gd name="connsiteX14" fmla="*/ 130099 w 381132"/>
                    <a:gd name="connsiteY14" fmla="*/ 52135 h 90559"/>
                    <a:gd name="connsiteX15" fmla="*/ 134631 w 381132"/>
                    <a:gd name="connsiteY15" fmla="*/ 57348 h 90559"/>
                    <a:gd name="connsiteX16" fmla="*/ 129436 w 381132"/>
                    <a:gd name="connsiteY16" fmla="*/ 61879 h 90559"/>
                    <a:gd name="connsiteX17" fmla="*/ 68374 w 381132"/>
                    <a:gd name="connsiteY17" fmla="*/ 76431 h 90559"/>
                    <a:gd name="connsiteX18" fmla="*/ 48665 w 381132"/>
                    <a:gd name="connsiteY18" fmla="*/ 85328 h 90559"/>
                    <a:gd name="connsiteX19" fmla="*/ 24240 w 381132"/>
                    <a:gd name="connsiteY19" fmla="*/ 90559 h 90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81132" h="90559">
                      <a:moveTo>
                        <a:pt x="24240" y="90559"/>
                      </a:moveTo>
                      <a:cubicBezTo>
                        <a:pt x="13151" y="90559"/>
                        <a:pt x="4954" y="86765"/>
                        <a:pt x="1583" y="81257"/>
                      </a:cubicBezTo>
                      <a:cubicBezTo>
                        <a:pt x="-1088" y="76892"/>
                        <a:pt x="-333" y="71863"/>
                        <a:pt x="3499" y="68345"/>
                      </a:cubicBezTo>
                      <a:cubicBezTo>
                        <a:pt x="81968" y="-21416"/>
                        <a:pt x="232717" y="-2222"/>
                        <a:pt x="284238" y="12753"/>
                      </a:cubicBezTo>
                      <a:cubicBezTo>
                        <a:pt x="347511" y="30658"/>
                        <a:pt x="374054" y="19882"/>
                        <a:pt x="374312" y="19771"/>
                      </a:cubicBezTo>
                      <a:cubicBezTo>
                        <a:pt x="376780" y="18721"/>
                        <a:pt x="379654" y="19845"/>
                        <a:pt x="380722" y="22313"/>
                      </a:cubicBezTo>
                      <a:cubicBezTo>
                        <a:pt x="381791" y="24782"/>
                        <a:pt x="380704" y="27618"/>
                        <a:pt x="378254" y="28705"/>
                      </a:cubicBezTo>
                      <a:cubicBezTo>
                        <a:pt x="377093" y="29221"/>
                        <a:pt x="348892" y="41194"/>
                        <a:pt x="281549" y="22129"/>
                      </a:cubicBezTo>
                      <a:cubicBezTo>
                        <a:pt x="231631" y="7614"/>
                        <a:pt x="85726" y="-11174"/>
                        <a:pt x="10664" y="74976"/>
                      </a:cubicBezTo>
                      <a:cubicBezTo>
                        <a:pt x="10517" y="75142"/>
                        <a:pt x="10351" y="75308"/>
                        <a:pt x="10185" y="75455"/>
                      </a:cubicBezTo>
                      <a:cubicBezTo>
                        <a:pt x="9890" y="75713"/>
                        <a:pt x="9761" y="75897"/>
                        <a:pt x="9743" y="75952"/>
                      </a:cubicBezTo>
                      <a:cubicBezTo>
                        <a:pt x="9798" y="76026"/>
                        <a:pt x="10332" y="77058"/>
                        <a:pt x="12340" y="78181"/>
                      </a:cubicBezTo>
                      <a:cubicBezTo>
                        <a:pt x="17793" y="81239"/>
                        <a:pt x="29674" y="82528"/>
                        <a:pt x="45275" y="76173"/>
                      </a:cubicBezTo>
                      <a:cubicBezTo>
                        <a:pt x="51759" y="74000"/>
                        <a:pt x="57654" y="70961"/>
                        <a:pt x="63898" y="67737"/>
                      </a:cubicBezTo>
                      <a:cubicBezTo>
                        <a:pt x="80071" y="59393"/>
                        <a:pt x="98435" y="49962"/>
                        <a:pt x="130099" y="52135"/>
                      </a:cubicBezTo>
                      <a:cubicBezTo>
                        <a:pt x="132789" y="52319"/>
                        <a:pt x="134815" y="54640"/>
                        <a:pt x="134631" y="57348"/>
                      </a:cubicBezTo>
                      <a:cubicBezTo>
                        <a:pt x="134447" y="60037"/>
                        <a:pt x="132070" y="62008"/>
                        <a:pt x="129436" y="61879"/>
                      </a:cubicBezTo>
                      <a:cubicBezTo>
                        <a:pt x="100480" y="59927"/>
                        <a:pt x="84142" y="68308"/>
                        <a:pt x="68374" y="76431"/>
                      </a:cubicBezTo>
                      <a:cubicBezTo>
                        <a:pt x="61780" y="79839"/>
                        <a:pt x="55554" y="83044"/>
                        <a:pt x="48665" y="85328"/>
                      </a:cubicBezTo>
                      <a:cubicBezTo>
                        <a:pt x="39657" y="88994"/>
                        <a:pt x="31350" y="90559"/>
                        <a:pt x="24240" y="90559"/>
                      </a:cubicBezTo>
                      <a:close/>
                    </a:path>
                  </a:pathLst>
                </a:custGeom>
                <a:grpFill/>
                <a:ln w="1836" cap="flat">
                  <a:noFill/>
                  <a:prstDash val="solid"/>
                  <a:miter/>
                </a:ln>
              </p:spPr>
              <p:txBody>
                <a:bodyPr rtlCol="0" anchor="ctr"/>
                <a:lstStyle/>
                <a:p>
                  <a:endParaRPr lang="en-GB" dirty="0"/>
                </a:p>
              </p:txBody>
            </p:sp>
            <p:sp>
              <p:nvSpPr>
                <p:cNvPr id="547" name="Freihandform: Form 440">
                  <a:extLst>
                    <a:ext uri="{FF2B5EF4-FFF2-40B4-BE49-F238E27FC236}">
                      <a16:creationId xmlns:a16="http://schemas.microsoft.com/office/drawing/2014/main" id="{12FEE445-D9AB-47EF-91D8-76269EA24BF6}"/>
                    </a:ext>
                  </a:extLst>
                </p:cNvPr>
                <p:cNvSpPr/>
                <p:nvPr/>
              </p:nvSpPr>
              <p:spPr>
                <a:xfrm>
                  <a:off x="1913151" y="3304774"/>
                  <a:ext cx="260715" cy="109995"/>
                </a:xfrm>
                <a:custGeom>
                  <a:avLst/>
                  <a:gdLst>
                    <a:gd name="connsiteX0" fmla="*/ 181461 w 260715"/>
                    <a:gd name="connsiteY0" fmla="*/ 109996 h 109995"/>
                    <a:gd name="connsiteX1" fmla="*/ 76062 w 260715"/>
                    <a:gd name="connsiteY1" fmla="*/ 57204 h 109995"/>
                    <a:gd name="connsiteX2" fmla="*/ 75362 w 260715"/>
                    <a:gd name="connsiteY2" fmla="*/ 56394 h 109995"/>
                    <a:gd name="connsiteX3" fmla="*/ 23012 w 260715"/>
                    <a:gd name="connsiteY3" fmla="*/ 46907 h 109995"/>
                    <a:gd name="connsiteX4" fmla="*/ 18812 w 260715"/>
                    <a:gd name="connsiteY4" fmla="*/ 47202 h 109995"/>
                    <a:gd name="connsiteX5" fmla="*/ 5218 w 260715"/>
                    <a:gd name="connsiteY5" fmla="*/ 41068 h 109995"/>
                    <a:gd name="connsiteX6" fmla="*/ 1479 w 260715"/>
                    <a:gd name="connsiteY6" fmla="*/ 18504 h 109995"/>
                    <a:gd name="connsiteX7" fmla="*/ 26309 w 260715"/>
                    <a:gd name="connsiteY7" fmla="*/ 2681 h 109995"/>
                    <a:gd name="connsiteX8" fmla="*/ 131488 w 260715"/>
                    <a:gd name="connsiteY8" fmla="*/ 17122 h 109995"/>
                    <a:gd name="connsiteX9" fmla="*/ 132538 w 260715"/>
                    <a:gd name="connsiteY9" fmla="*/ 23956 h 109995"/>
                    <a:gd name="connsiteX10" fmla="*/ 125722 w 260715"/>
                    <a:gd name="connsiteY10" fmla="*/ 25006 h 109995"/>
                    <a:gd name="connsiteX11" fmla="*/ 27599 w 260715"/>
                    <a:gd name="connsiteY11" fmla="*/ 12351 h 109995"/>
                    <a:gd name="connsiteX12" fmla="*/ 10560 w 260715"/>
                    <a:gd name="connsiteY12" fmla="*/ 22096 h 109995"/>
                    <a:gd name="connsiteX13" fmla="*/ 12789 w 260715"/>
                    <a:gd name="connsiteY13" fmla="*/ 34898 h 109995"/>
                    <a:gd name="connsiteX14" fmla="*/ 17541 w 260715"/>
                    <a:gd name="connsiteY14" fmla="*/ 37513 h 109995"/>
                    <a:gd name="connsiteX15" fmla="*/ 22257 w 260715"/>
                    <a:gd name="connsiteY15" fmla="*/ 37182 h 109995"/>
                    <a:gd name="connsiteX16" fmla="*/ 83080 w 260715"/>
                    <a:gd name="connsiteY16" fmla="*/ 50370 h 109995"/>
                    <a:gd name="connsiteX17" fmla="*/ 181498 w 260715"/>
                    <a:gd name="connsiteY17" fmla="*/ 100233 h 109995"/>
                    <a:gd name="connsiteX18" fmla="*/ 206015 w 260715"/>
                    <a:gd name="connsiteY18" fmla="*/ 94192 h 109995"/>
                    <a:gd name="connsiteX19" fmla="*/ 255491 w 260715"/>
                    <a:gd name="connsiteY19" fmla="*/ 82126 h 109995"/>
                    <a:gd name="connsiteX20" fmla="*/ 260704 w 260715"/>
                    <a:gd name="connsiteY20" fmla="*/ 86658 h 109995"/>
                    <a:gd name="connsiteX21" fmla="*/ 256173 w 260715"/>
                    <a:gd name="connsiteY21" fmla="*/ 91871 h 109995"/>
                    <a:gd name="connsiteX22" fmla="*/ 210307 w 260715"/>
                    <a:gd name="connsiteY22" fmla="*/ 102978 h 109995"/>
                    <a:gd name="connsiteX23" fmla="*/ 181461 w 260715"/>
                    <a:gd name="connsiteY23" fmla="*/ 109996 h 109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0715" h="109995">
                      <a:moveTo>
                        <a:pt x="181461" y="109996"/>
                      </a:moveTo>
                      <a:cubicBezTo>
                        <a:pt x="167002" y="109996"/>
                        <a:pt x="133146" y="109996"/>
                        <a:pt x="76062" y="57204"/>
                      </a:cubicBezTo>
                      <a:cubicBezTo>
                        <a:pt x="75804" y="56965"/>
                        <a:pt x="75565" y="56688"/>
                        <a:pt x="75362" y="56394"/>
                      </a:cubicBezTo>
                      <a:cubicBezTo>
                        <a:pt x="66410" y="43463"/>
                        <a:pt x="33751" y="46060"/>
                        <a:pt x="23012" y="46907"/>
                      </a:cubicBezTo>
                      <a:cubicBezTo>
                        <a:pt x="21170" y="47055"/>
                        <a:pt x="19733" y="47165"/>
                        <a:pt x="18812" y="47202"/>
                      </a:cubicBezTo>
                      <a:cubicBezTo>
                        <a:pt x="13986" y="47847"/>
                        <a:pt x="8921" y="45618"/>
                        <a:pt x="5218" y="41068"/>
                      </a:cubicBezTo>
                      <a:cubicBezTo>
                        <a:pt x="24" y="34713"/>
                        <a:pt x="-1431" y="25853"/>
                        <a:pt x="1479" y="18504"/>
                      </a:cubicBezTo>
                      <a:cubicBezTo>
                        <a:pt x="3874" y="12462"/>
                        <a:pt x="10137" y="4818"/>
                        <a:pt x="26309" y="2681"/>
                      </a:cubicBezTo>
                      <a:cubicBezTo>
                        <a:pt x="74386" y="-3637"/>
                        <a:pt x="109752" y="1226"/>
                        <a:pt x="131488" y="17122"/>
                      </a:cubicBezTo>
                      <a:cubicBezTo>
                        <a:pt x="133661" y="18725"/>
                        <a:pt x="134140" y="21783"/>
                        <a:pt x="132538" y="23956"/>
                      </a:cubicBezTo>
                      <a:cubicBezTo>
                        <a:pt x="130954" y="26130"/>
                        <a:pt x="127896" y="26590"/>
                        <a:pt x="125722" y="25006"/>
                      </a:cubicBezTo>
                      <a:cubicBezTo>
                        <a:pt x="106381" y="10823"/>
                        <a:pt x="72452" y="6457"/>
                        <a:pt x="27599" y="12351"/>
                      </a:cubicBezTo>
                      <a:cubicBezTo>
                        <a:pt x="18499" y="13549"/>
                        <a:pt x="12623" y="16920"/>
                        <a:pt x="10560" y="22096"/>
                      </a:cubicBezTo>
                      <a:cubicBezTo>
                        <a:pt x="8700" y="26774"/>
                        <a:pt x="10339" y="31895"/>
                        <a:pt x="12789" y="34898"/>
                      </a:cubicBezTo>
                      <a:cubicBezTo>
                        <a:pt x="14318" y="36758"/>
                        <a:pt x="16123" y="37771"/>
                        <a:pt x="17541" y="37513"/>
                      </a:cubicBezTo>
                      <a:cubicBezTo>
                        <a:pt x="18536" y="37329"/>
                        <a:pt x="19752" y="37384"/>
                        <a:pt x="22257" y="37182"/>
                      </a:cubicBezTo>
                      <a:cubicBezTo>
                        <a:pt x="36790" y="36040"/>
                        <a:pt x="70646" y="33332"/>
                        <a:pt x="83080" y="50370"/>
                      </a:cubicBezTo>
                      <a:cubicBezTo>
                        <a:pt x="137143" y="100233"/>
                        <a:pt x="168199" y="100233"/>
                        <a:pt x="181498" y="100233"/>
                      </a:cubicBezTo>
                      <a:cubicBezTo>
                        <a:pt x="193674" y="100233"/>
                        <a:pt x="198850" y="97710"/>
                        <a:pt x="206015" y="94192"/>
                      </a:cubicBezTo>
                      <a:cubicBezTo>
                        <a:pt x="215151" y="89716"/>
                        <a:pt x="226535" y="84153"/>
                        <a:pt x="255491" y="82126"/>
                      </a:cubicBezTo>
                      <a:cubicBezTo>
                        <a:pt x="258125" y="81998"/>
                        <a:pt x="260520" y="83950"/>
                        <a:pt x="260704" y="86658"/>
                      </a:cubicBezTo>
                      <a:cubicBezTo>
                        <a:pt x="260888" y="89347"/>
                        <a:pt x="258862" y="91686"/>
                        <a:pt x="256173" y="91871"/>
                      </a:cubicBezTo>
                      <a:cubicBezTo>
                        <a:pt x="229132" y="93768"/>
                        <a:pt x="219130" y="98668"/>
                        <a:pt x="210307" y="102978"/>
                      </a:cubicBezTo>
                      <a:cubicBezTo>
                        <a:pt x="202865" y="106588"/>
                        <a:pt x="195884" y="109996"/>
                        <a:pt x="181461" y="109996"/>
                      </a:cubicBezTo>
                      <a:close/>
                    </a:path>
                  </a:pathLst>
                </a:custGeom>
                <a:grpFill/>
                <a:ln w="1836" cap="flat">
                  <a:noFill/>
                  <a:prstDash val="solid"/>
                  <a:miter/>
                </a:ln>
              </p:spPr>
              <p:txBody>
                <a:bodyPr rtlCol="0" anchor="ctr"/>
                <a:lstStyle/>
                <a:p>
                  <a:endParaRPr lang="en-GB" dirty="0"/>
                </a:p>
              </p:txBody>
            </p:sp>
            <p:sp>
              <p:nvSpPr>
                <p:cNvPr id="548" name="Freihandform: Form 441">
                  <a:extLst>
                    <a:ext uri="{FF2B5EF4-FFF2-40B4-BE49-F238E27FC236}">
                      <a16:creationId xmlns:a16="http://schemas.microsoft.com/office/drawing/2014/main" id="{68FAF738-ED77-47D8-BCFC-EC8B25525C38}"/>
                    </a:ext>
                  </a:extLst>
                </p:cNvPr>
                <p:cNvSpPr/>
                <p:nvPr/>
              </p:nvSpPr>
              <p:spPr>
                <a:xfrm>
                  <a:off x="2164277" y="3259932"/>
                  <a:ext cx="87274" cy="157620"/>
                </a:xfrm>
                <a:custGeom>
                  <a:avLst/>
                  <a:gdLst>
                    <a:gd name="connsiteX0" fmla="*/ 82393 w 87274"/>
                    <a:gd name="connsiteY0" fmla="*/ 157620 h 157620"/>
                    <a:gd name="connsiteX1" fmla="*/ 4881 w 87274"/>
                    <a:gd name="connsiteY1" fmla="*/ 157620 h 157620"/>
                    <a:gd name="connsiteX2" fmla="*/ 0 w 87274"/>
                    <a:gd name="connsiteY2" fmla="*/ 152739 h 157620"/>
                    <a:gd name="connsiteX3" fmla="*/ 0 w 87274"/>
                    <a:gd name="connsiteY3" fmla="*/ 4881 h 157620"/>
                    <a:gd name="connsiteX4" fmla="*/ 4881 w 87274"/>
                    <a:gd name="connsiteY4" fmla="*/ 0 h 157620"/>
                    <a:gd name="connsiteX5" fmla="*/ 82393 w 87274"/>
                    <a:gd name="connsiteY5" fmla="*/ 0 h 157620"/>
                    <a:gd name="connsiteX6" fmla="*/ 87274 w 87274"/>
                    <a:gd name="connsiteY6" fmla="*/ 4881 h 157620"/>
                    <a:gd name="connsiteX7" fmla="*/ 82393 w 87274"/>
                    <a:gd name="connsiteY7" fmla="*/ 9763 h 157620"/>
                    <a:gd name="connsiteX8" fmla="*/ 9763 w 87274"/>
                    <a:gd name="connsiteY8" fmla="*/ 9763 h 157620"/>
                    <a:gd name="connsiteX9" fmla="*/ 9763 w 87274"/>
                    <a:gd name="connsiteY9" fmla="*/ 147858 h 157620"/>
                    <a:gd name="connsiteX10" fmla="*/ 82393 w 87274"/>
                    <a:gd name="connsiteY10" fmla="*/ 147858 h 157620"/>
                    <a:gd name="connsiteX11" fmla="*/ 87274 w 87274"/>
                    <a:gd name="connsiteY11" fmla="*/ 152739 h 157620"/>
                    <a:gd name="connsiteX12" fmla="*/ 82393 w 87274"/>
                    <a:gd name="connsiteY12" fmla="*/ 157620 h 157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7274" h="157620">
                      <a:moveTo>
                        <a:pt x="82393" y="157620"/>
                      </a:moveTo>
                      <a:lnTo>
                        <a:pt x="4881" y="157620"/>
                      </a:lnTo>
                      <a:cubicBezTo>
                        <a:pt x="2192" y="157620"/>
                        <a:pt x="0" y="155428"/>
                        <a:pt x="0" y="152739"/>
                      </a:cubicBezTo>
                      <a:lnTo>
                        <a:pt x="0" y="4881"/>
                      </a:lnTo>
                      <a:cubicBezTo>
                        <a:pt x="0" y="2192"/>
                        <a:pt x="2192" y="0"/>
                        <a:pt x="4881" y="0"/>
                      </a:cubicBezTo>
                      <a:lnTo>
                        <a:pt x="82393" y="0"/>
                      </a:lnTo>
                      <a:cubicBezTo>
                        <a:pt x="85082" y="0"/>
                        <a:pt x="87274" y="2192"/>
                        <a:pt x="87274" y="4881"/>
                      </a:cubicBezTo>
                      <a:cubicBezTo>
                        <a:pt x="87274" y="7571"/>
                        <a:pt x="85082" y="9763"/>
                        <a:pt x="82393" y="9763"/>
                      </a:cubicBezTo>
                      <a:lnTo>
                        <a:pt x="9763" y="9763"/>
                      </a:lnTo>
                      <a:lnTo>
                        <a:pt x="9763" y="147858"/>
                      </a:lnTo>
                      <a:lnTo>
                        <a:pt x="82393" y="147858"/>
                      </a:lnTo>
                      <a:cubicBezTo>
                        <a:pt x="85082" y="147858"/>
                        <a:pt x="87274" y="150050"/>
                        <a:pt x="87274" y="152739"/>
                      </a:cubicBezTo>
                      <a:cubicBezTo>
                        <a:pt x="87274" y="155428"/>
                        <a:pt x="85082" y="157620"/>
                        <a:pt x="82393" y="157620"/>
                      </a:cubicBezTo>
                      <a:close/>
                    </a:path>
                  </a:pathLst>
                </a:custGeom>
                <a:grpFill/>
                <a:ln w="1836" cap="flat">
                  <a:noFill/>
                  <a:prstDash val="solid"/>
                  <a:miter/>
                </a:ln>
              </p:spPr>
              <p:txBody>
                <a:bodyPr rtlCol="0" anchor="ctr"/>
                <a:lstStyle/>
                <a:p>
                  <a:endParaRPr lang="en-GB" dirty="0"/>
                </a:p>
              </p:txBody>
            </p:sp>
            <p:sp>
              <p:nvSpPr>
                <p:cNvPr id="549" name="Freihandform: Form 442">
                  <a:extLst>
                    <a:ext uri="{FF2B5EF4-FFF2-40B4-BE49-F238E27FC236}">
                      <a16:creationId xmlns:a16="http://schemas.microsoft.com/office/drawing/2014/main" id="{F4EB64F9-C868-438F-9540-8ACAD484BAE1}"/>
                    </a:ext>
                  </a:extLst>
                </p:cNvPr>
                <p:cNvSpPr/>
                <p:nvPr/>
              </p:nvSpPr>
              <p:spPr>
                <a:xfrm>
                  <a:off x="1821691" y="3330540"/>
                  <a:ext cx="101171" cy="39580"/>
                </a:xfrm>
                <a:custGeom>
                  <a:avLst/>
                  <a:gdLst>
                    <a:gd name="connsiteX0" fmla="*/ 20770 w 101171"/>
                    <a:gd name="connsiteY0" fmla="*/ 39580 h 39580"/>
                    <a:gd name="connsiteX1" fmla="*/ 15851 w 101171"/>
                    <a:gd name="connsiteY1" fmla="*/ 39193 h 39580"/>
                    <a:gd name="connsiteX2" fmla="*/ 1226 w 101171"/>
                    <a:gd name="connsiteY2" fmla="*/ 28989 h 39580"/>
                    <a:gd name="connsiteX3" fmla="*/ 1907 w 101171"/>
                    <a:gd name="connsiteY3" fmla="*/ 14805 h 39580"/>
                    <a:gd name="connsiteX4" fmla="*/ 8391 w 101171"/>
                    <a:gd name="connsiteY4" fmla="*/ 12447 h 39580"/>
                    <a:gd name="connsiteX5" fmla="*/ 10749 w 101171"/>
                    <a:gd name="connsiteY5" fmla="*/ 18950 h 39580"/>
                    <a:gd name="connsiteX6" fmla="*/ 10196 w 101171"/>
                    <a:gd name="connsiteY6" fmla="*/ 25139 h 39580"/>
                    <a:gd name="connsiteX7" fmla="*/ 17435 w 101171"/>
                    <a:gd name="connsiteY7" fmla="*/ 29560 h 39580"/>
                    <a:gd name="connsiteX8" fmla="*/ 32374 w 101171"/>
                    <a:gd name="connsiteY8" fmla="*/ 27276 h 39580"/>
                    <a:gd name="connsiteX9" fmla="*/ 94357 w 101171"/>
                    <a:gd name="connsiteY9" fmla="*/ 401 h 39580"/>
                    <a:gd name="connsiteX10" fmla="*/ 100768 w 101171"/>
                    <a:gd name="connsiteY10" fmla="*/ 2943 h 39580"/>
                    <a:gd name="connsiteX11" fmla="*/ 98226 w 101171"/>
                    <a:gd name="connsiteY11" fmla="*/ 9371 h 39580"/>
                    <a:gd name="connsiteX12" fmla="*/ 36242 w 101171"/>
                    <a:gd name="connsiteY12" fmla="*/ 36246 h 39580"/>
                    <a:gd name="connsiteX13" fmla="*/ 20770 w 101171"/>
                    <a:gd name="connsiteY13" fmla="*/ 39580 h 3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1171" h="39580">
                      <a:moveTo>
                        <a:pt x="20770" y="39580"/>
                      </a:moveTo>
                      <a:cubicBezTo>
                        <a:pt x="19093" y="39580"/>
                        <a:pt x="17435" y="39451"/>
                        <a:pt x="15851" y="39193"/>
                      </a:cubicBezTo>
                      <a:cubicBezTo>
                        <a:pt x="8852" y="38051"/>
                        <a:pt x="3528" y="34330"/>
                        <a:pt x="1226" y="28989"/>
                      </a:cubicBezTo>
                      <a:cubicBezTo>
                        <a:pt x="-616" y="24697"/>
                        <a:pt x="-377" y="19668"/>
                        <a:pt x="1907" y="14805"/>
                      </a:cubicBezTo>
                      <a:cubicBezTo>
                        <a:pt x="3049" y="12374"/>
                        <a:pt x="5960" y="11324"/>
                        <a:pt x="8391" y="12447"/>
                      </a:cubicBezTo>
                      <a:cubicBezTo>
                        <a:pt x="10841" y="13590"/>
                        <a:pt x="11891" y="16500"/>
                        <a:pt x="10749" y="18950"/>
                      </a:cubicBezTo>
                      <a:cubicBezTo>
                        <a:pt x="9994" y="20571"/>
                        <a:pt x="9275" y="22965"/>
                        <a:pt x="10196" y="25139"/>
                      </a:cubicBezTo>
                      <a:cubicBezTo>
                        <a:pt x="11504" y="28178"/>
                        <a:pt x="15299" y="29210"/>
                        <a:pt x="17435" y="29560"/>
                      </a:cubicBezTo>
                      <a:cubicBezTo>
                        <a:pt x="21856" y="30278"/>
                        <a:pt x="27309" y="29449"/>
                        <a:pt x="32374" y="27276"/>
                      </a:cubicBezTo>
                      <a:lnTo>
                        <a:pt x="94357" y="401"/>
                      </a:lnTo>
                      <a:cubicBezTo>
                        <a:pt x="96826" y="-668"/>
                        <a:pt x="99699" y="474"/>
                        <a:pt x="100768" y="2943"/>
                      </a:cubicBezTo>
                      <a:cubicBezTo>
                        <a:pt x="101836" y="5429"/>
                        <a:pt x="100712" y="8303"/>
                        <a:pt x="98226" y="9371"/>
                      </a:cubicBezTo>
                      <a:lnTo>
                        <a:pt x="36242" y="36246"/>
                      </a:lnTo>
                      <a:cubicBezTo>
                        <a:pt x="31122" y="38438"/>
                        <a:pt x="25780" y="39580"/>
                        <a:pt x="20770" y="39580"/>
                      </a:cubicBezTo>
                      <a:close/>
                    </a:path>
                  </a:pathLst>
                </a:custGeom>
                <a:grpFill/>
                <a:ln w="1836" cap="flat">
                  <a:noFill/>
                  <a:prstDash val="solid"/>
                  <a:miter/>
                </a:ln>
              </p:spPr>
              <p:txBody>
                <a:bodyPr rtlCol="0" anchor="ctr"/>
                <a:lstStyle/>
                <a:p>
                  <a:endParaRPr lang="en-GB" dirty="0"/>
                </a:p>
              </p:txBody>
            </p:sp>
            <p:sp>
              <p:nvSpPr>
                <p:cNvPr id="550" name="Freihandform: Form 443">
                  <a:extLst>
                    <a:ext uri="{FF2B5EF4-FFF2-40B4-BE49-F238E27FC236}">
                      <a16:creationId xmlns:a16="http://schemas.microsoft.com/office/drawing/2014/main" id="{3A825B08-7392-406D-90EC-52202DA908EF}"/>
                    </a:ext>
                  </a:extLst>
                </p:cNvPr>
                <p:cNvSpPr/>
                <p:nvPr/>
              </p:nvSpPr>
              <p:spPr>
                <a:xfrm>
                  <a:off x="1883565" y="3341970"/>
                  <a:ext cx="82707" cy="32055"/>
                </a:xfrm>
                <a:custGeom>
                  <a:avLst/>
                  <a:gdLst>
                    <a:gd name="connsiteX0" fmla="*/ 20787 w 82707"/>
                    <a:gd name="connsiteY0" fmla="*/ 32056 h 32055"/>
                    <a:gd name="connsiteX1" fmla="*/ 15868 w 82707"/>
                    <a:gd name="connsiteY1" fmla="*/ 31669 h 32055"/>
                    <a:gd name="connsiteX2" fmla="*/ 1243 w 82707"/>
                    <a:gd name="connsiteY2" fmla="*/ 21464 h 32055"/>
                    <a:gd name="connsiteX3" fmla="*/ 5424 w 82707"/>
                    <a:gd name="connsiteY3" fmla="*/ 1791 h 32055"/>
                    <a:gd name="connsiteX4" fmla="*/ 12295 w 82707"/>
                    <a:gd name="connsiteY4" fmla="*/ 1091 h 32055"/>
                    <a:gd name="connsiteX5" fmla="*/ 12995 w 82707"/>
                    <a:gd name="connsiteY5" fmla="*/ 7962 h 32055"/>
                    <a:gd name="connsiteX6" fmla="*/ 10232 w 82707"/>
                    <a:gd name="connsiteY6" fmla="*/ 17596 h 32055"/>
                    <a:gd name="connsiteX7" fmla="*/ 17471 w 82707"/>
                    <a:gd name="connsiteY7" fmla="*/ 22017 h 32055"/>
                    <a:gd name="connsiteX8" fmla="*/ 32410 w 82707"/>
                    <a:gd name="connsiteY8" fmla="*/ 19733 h 32055"/>
                    <a:gd name="connsiteX9" fmla="*/ 75899 w 82707"/>
                    <a:gd name="connsiteY9" fmla="*/ 1073 h 32055"/>
                    <a:gd name="connsiteX10" fmla="*/ 82309 w 82707"/>
                    <a:gd name="connsiteY10" fmla="*/ 3633 h 32055"/>
                    <a:gd name="connsiteX11" fmla="*/ 79749 w 82707"/>
                    <a:gd name="connsiteY11" fmla="*/ 10044 h 32055"/>
                    <a:gd name="connsiteX12" fmla="*/ 36259 w 82707"/>
                    <a:gd name="connsiteY12" fmla="*/ 28703 h 32055"/>
                    <a:gd name="connsiteX13" fmla="*/ 20787 w 82707"/>
                    <a:gd name="connsiteY13" fmla="*/ 32056 h 32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2707" h="32055">
                      <a:moveTo>
                        <a:pt x="20787" y="32056"/>
                      </a:moveTo>
                      <a:cubicBezTo>
                        <a:pt x="19110" y="32056"/>
                        <a:pt x="17453" y="31927"/>
                        <a:pt x="15868" y="31669"/>
                      </a:cubicBezTo>
                      <a:cubicBezTo>
                        <a:pt x="8869" y="30527"/>
                        <a:pt x="3545" y="26787"/>
                        <a:pt x="1243" y="21464"/>
                      </a:cubicBezTo>
                      <a:cubicBezTo>
                        <a:pt x="-1354" y="15404"/>
                        <a:pt x="156" y="8238"/>
                        <a:pt x="5424" y="1791"/>
                      </a:cubicBezTo>
                      <a:cubicBezTo>
                        <a:pt x="7137" y="-290"/>
                        <a:pt x="10195" y="-603"/>
                        <a:pt x="12295" y="1091"/>
                      </a:cubicBezTo>
                      <a:cubicBezTo>
                        <a:pt x="14376" y="2786"/>
                        <a:pt x="14690" y="5862"/>
                        <a:pt x="12995" y="7962"/>
                      </a:cubicBezTo>
                      <a:cubicBezTo>
                        <a:pt x="10158" y="11425"/>
                        <a:pt x="9127" y="15035"/>
                        <a:pt x="10232" y="17596"/>
                      </a:cubicBezTo>
                      <a:cubicBezTo>
                        <a:pt x="11540" y="20635"/>
                        <a:pt x="15334" y="21667"/>
                        <a:pt x="17471" y="22017"/>
                      </a:cubicBezTo>
                      <a:cubicBezTo>
                        <a:pt x="21892" y="22735"/>
                        <a:pt x="27344" y="21906"/>
                        <a:pt x="32410" y="19733"/>
                      </a:cubicBezTo>
                      <a:lnTo>
                        <a:pt x="75899" y="1073"/>
                      </a:lnTo>
                      <a:cubicBezTo>
                        <a:pt x="78386" y="23"/>
                        <a:pt x="81241" y="1147"/>
                        <a:pt x="82309" y="3633"/>
                      </a:cubicBezTo>
                      <a:cubicBezTo>
                        <a:pt x="83378" y="6120"/>
                        <a:pt x="82217" y="8994"/>
                        <a:pt x="79749" y="10044"/>
                      </a:cubicBezTo>
                      <a:lnTo>
                        <a:pt x="36259" y="28703"/>
                      </a:lnTo>
                      <a:cubicBezTo>
                        <a:pt x="31120" y="30932"/>
                        <a:pt x="25778" y="32056"/>
                        <a:pt x="20787" y="32056"/>
                      </a:cubicBezTo>
                      <a:close/>
                    </a:path>
                  </a:pathLst>
                </a:custGeom>
                <a:grpFill/>
                <a:ln w="1836" cap="flat">
                  <a:noFill/>
                  <a:prstDash val="solid"/>
                  <a:miter/>
                </a:ln>
              </p:spPr>
              <p:txBody>
                <a:bodyPr rtlCol="0" anchor="ctr"/>
                <a:lstStyle/>
                <a:p>
                  <a:endParaRPr lang="en-GB" dirty="0"/>
                </a:p>
              </p:txBody>
            </p:sp>
          </p:grpSp>
        </p:grpSp>
        <p:grpSp>
          <p:nvGrpSpPr>
            <p:cNvPr id="539" name="Grafik 21">
              <a:extLst>
                <a:ext uri="{FF2B5EF4-FFF2-40B4-BE49-F238E27FC236}">
                  <a16:creationId xmlns:a16="http://schemas.microsoft.com/office/drawing/2014/main" id="{C905BA0F-E450-46F1-8932-6637F9DE3EC2}"/>
                </a:ext>
              </a:extLst>
            </p:cNvPr>
            <p:cNvGrpSpPr/>
            <p:nvPr/>
          </p:nvGrpSpPr>
          <p:grpSpPr>
            <a:xfrm>
              <a:off x="5143727" y="4150031"/>
              <a:ext cx="153910" cy="145163"/>
              <a:chOff x="1890730" y="3455854"/>
              <a:chExt cx="204548" cy="192923"/>
            </a:xfrm>
            <a:solidFill>
              <a:schemeClr val="accent1"/>
            </a:solidFill>
          </p:grpSpPr>
          <p:grpSp>
            <p:nvGrpSpPr>
              <p:cNvPr id="540" name="Grafik 21">
                <a:extLst>
                  <a:ext uri="{FF2B5EF4-FFF2-40B4-BE49-F238E27FC236}">
                    <a16:creationId xmlns:a16="http://schemas.microsoft.com/office/drawing/2014/main" id="{49AB4C3C-5646-42E8-A453-A8D9EF772F23}"/>
                  </a:ext>
                </a:extLst>
              </p:cNvPr>
              <p:cNvGrpSpPr/>
              <p:nvPr/>
            </p:nvGrpSpPr>
            <p:grpSpPr>
              <a:xfrm>
                <a:off x="1890730" y="3455854"/>
                <a:ext cx="204548" cy="192923"/>
                <a:chOff x="1890730" y="3455854"/>
                <a:chExt cx="204548" cy="192923"/>
              </a:xfrm>
              <a:solidFill>
                <a:schemeClr val="accent1"/>
              </a:solidFill>
            </p:grpSpPr>
            <p:sp>
              <p:nvSpPr>
                <p:cNvPr id="542" name="Freihandform: Form 446">
                  <a:extLst>
                    <a:ext uri="{FF2B5EF4-FFF2-40B4-BE49-F238E27FC236}">
                      <a16:creationId xmlns:a16="http://schemas.microsoft.com/office/drawing/2014/main" id="{E6B7C7E5-8E00-4A9E-ABC5-E0155A2D1680}"/>
                    </a:ext>
                  </a:extLst>
                </p:cNvPr>
                <p:cNvSpPr/>
                <p:nvPr/>
              </p:nvSpPr>
              <p:spPr>
                <a:xfrm>
                  <a:off x="1890852" y="3455854"/>
                  <a:ext cx="204426" cy="192794"/>
                </a:xfrm>
                <a:custGeom>
                  <a:avLst/>
                  <a:gdLst>
                    <a:gd name="connsiteX0" fmla="*/ 30889 w 204426"/>
                    <a:gd name="connsiteY0" fmla="*/ 192795 h 192794"/>
                    <a:gd name="connsiteX1" fmla="*/ 6998 w 204426"/>
                    <a:gd name="connsiteY1" fmla="*/ 183935 h 192794"/>
                    <a:gd name="connsiteX2" fmla="*/ 65703 w 204426"/>
                    <a:gd name="connsiteY2" fmla="*/ 56800 h 192794"/>
                    <a:gd name="connsiteX3" fmla="*/ 141704 w 204426"/>
                    <a:gd name="connsiteY3" fmla="*/ 6882 h 192794"/>
                    <a:gd name="connsiteX4" fmla="*/ 197314 w 204426"/>
                    <a:gd name="connsiteY4" fmla="*/ 8982 h 192794"/>
                    <a:gd name="connsiteX5" fmla="*/ 194735 w 204426"/>
                    <a:gd name="connsiteY5" fmla="*/ 64573 h 192794"/>
                    <a:gd name="connsiteX6" fmla="*/ 138609 w 204426"/>
                    <a:gd name="connsiteY6" fmla="*/ 136117 h 192794"/>
                    <a:gd name="connsiteX7" fmla="*/ 30889 w 204426"/>
                    <a:gd name="connsiteY7" fmla="*/ 192795 h 192794"/>
                    <a:gd name="connsiteX8" fmla="*/ 173276 w 204426"/>
                    <a:gd name="connsiteY8" fmla="*/ 9737 h 192794"/>
                    <a:gd name="connsiteX9" fmla="*/ 145203 w 204426"/>
                    <a:gd name="connsiteY9" fmla="*/ 15981 h 192794"/>
                    <a:gd name="connsiteX10" fmla="*/ 72297 w 204426"/>
                    <a:gd name="connsiteY10" fmla="*/ 63965 h 192794"/>
                    <a:gd name="connsiteX11" fmla="*/ 14182 w 204426"/>
                    <a:gd name="connsiteY11" fmla="*/ 177304 h 192794"/>
                    <a:gd name="connsiteX12" fmla="*/ 131996 w 204426"/>
                    <a:gd name="connsiteY12" fmla="*/ 128914 h 192794"/>
                    <a:gd name="connsiteX13" fmla="*/ 185949 w 204426"/>
                    <a:gd name="connsiteY13" fmla="*/ 60281 h 192794"/>
                    <a:gd name="connsiteX14" fmla="*/ 190130 w 204426"/>
                    <a:gd name="connsiteY14" fmla="*/ 15576 h 192794"/>
                    <a:gd name="connsiteX15" fmla="*/ 173276 w 204426"/>
                    <a:gd name="connsiteY15" fmla="*/ 9737 h 192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4426" h="192794">
                      <a:moveTo>
                        <a:pt x="30889" y="192795"/>
                      </a:moveTo>
                      <a:cubicBezTo>
                        <a:pt x="20758" y="192795"/>
                        <a:pt x="12506" y="189940"/>
                        <a:pt x="6998" y="183935"/>
                      </a:cubicBezTo>
                      <a:cubicBezTo>
                        <a:pt x="-13448" y="161684"/>
                        <a:pt x="12340" y="105852"/>
                        <a:pt x="65703" y="56800"/>
                      </a:cubicBezTo>
                      <a:cubicBezTo>
                        <a:pt x="90607" y="33922"/>
                        <a:pt x="117592" y="16184"/>
                        <a:pt x="141704" y="6882"/>
                      </a:cubicBezTo>
                      <a:cubicBezTo>
                        <a:pt x="167271" y="-2973"/>
                        <a:pt x="187017" y="-2218"/>
                        <a:pt x="197314" y="8982"/>
                      </a:cubicBezTo>
                      <a:cubicBezTo>
                        <a:pt x="207610" y="20181"/>
                        <a:pt x="206708" y="39927"/>
                        <a:pt x="194735" y="64573"/>
                      </a:cubicBezTo>
                      <a:cubicBezTo>
                        <a:pt x="183443" y="87819"/>
                        <a:pt x="163513" y="113239"/>
                        <a:pt x="138609" y="136117"/>
                      </a:cubicBezTo>
                      <a:cubicBezTo>
                        <a:pt x="99632" y="171925"/>
                        <a:pt x="58298" y="192795"/>
                        <a:pt x="30889" y="192795"/>
                      </a:cubicBezTo>
                      <a:close/>
                      <a:moveTo>
                        <a:pt x="173276" y="9737"/>
                      </a:moveTo>
                      <a:cubicBezTo>
                        <a:pt x="165539" y="9737"/>
                        <a:pt x="155998" y="11818"/>
                        <a:pt x="145203" y="15981"/>
                      </a:cubicBezTo>
                      <a:cubicBezTo>
                        <a:pt x="122197" y="24860"/>
                        <a:pt x="96317" y="41898"/>
                        <a:pt x="72297" y="63965"/>
                      </a:cubicBezTo>
                      <a:cubicBezTo>
                        <a:pt x="19671" y="112336"/>
                        <a:pt x="-241" y="161628"/>
                        <a:pt x="14182" y="177304"/>
                      </a:cubicBezTo>
                      <a:cubicBezTo>
                        <a:pt x="28605" y="192979"/>
                        <a:pt x="79370" y="177267"/>
                        <a:pt x="131996" y="128914"/>
                      </a:cubicBezTo>
                      <a:cubicBezTo>
                        <a:pt x="156016" y="106829"/>
                        <a:pt x="175173" y="82459"/>
                        <a:pt x="185949" y="60281"/>
                      </a:cubicBezTo>
                      <a:cubicBezTo>
                        <a:pt x="195895" y="39798"/>
                        <a:pt x="197424" y="23497"/>
                        <a:pt x="190130" y="15576"/>
                      </a:cubicBezTo>
                      <a:cubicBezTo>
                        <a:pt x="186520" y="11689"/>
                        <a:pt x="180754" y="9737"/>
                        <a:pt x="173276" y="9737"/>
                      </a:cubicBezTo>
                      <a:close/>
                    </a:path>
                  </a:pathLst>
                </a:custGeom>
                <a:solidFill>
                  <a:schemeClr val="accent1"/>
                </a:solidFill>
                <a:ln w="1836" cap="flat">
                  <a:noFill/>
                  <a:prstDash val="solid"/>
                  <a:miter/>
                </a:ln>
              </p:spPr>
              <p:txBody>
                <a:bodyPr rtlCol="0" anchor="ctr"/>
                <a:lstStyle/>
                <a:p>
                  <a:endParaRPr lang="en-GB" dirty="0"/>
                </a:p>
              </p:txBody>
            </p:sp>
            <p:sp>
              <p:nvSpPr>
                <p:cNvPr id="543" name="Freihandform: Form 447">
                  <a:extLst>
                    <a:ext uri="{FF2B5EF4-FFF2-40B4-BE49-F238E27FC236}">
                      <a16:creationId xmlns:a16="http://schemas.microsoft.com/office/drawing/2014/main" id="{6E1D56EC-AFEC-4A44-8981-6E4EE7980ACE}"/>
                    </a:ext>
                  </a:extLst>
                </p:cNvPr>
                <p:cNvSpPr/>
                <p:nvPr/>
              </p:nvSpPr>
              <p:spPr>
                <a:xfrm>
                  <a:off x="1890730" y="3455854"/>
                  <a:ext cx="204433" cy="192923"/>
                </a:xfrm>
                <a:custGeom>
                  <a:avLst/>
                  <a:gdLst>
                    <a:gd name="connsiteX0" fmla="*/ 173416 w 204433"/>
                    <a:gd name="connsiteY0" fmla="*/ 192924 h 192923"/>
                    <a:gd name="connsiteX1" fmla="*/ 141826 w 204433"/>
                    <a:gd name="connsiteY1" fmla="*/ 186035 h 192923"/>
                    <a:gd name="connsiteX2" fmla="*/ 65825 w 204433"/>
                    <a:gd name="connsiteY2" fmla="*/ 136117 h 192923"/>
                    <a:gd name="connsiteX3" fmla="*/ 9699 w 204433"/>
                    <a:gd name="connsiteY3" fmla="*/ 64573 h 192923"/>
                    <a:gd name="connsiteX4" fmla="*/ 7120 w 204433"/>
                    <a:gd name="connsiteY4" fmla="*/ 8982 h 192923"/>
                    <a:gd name="connsiteX5" fmla="*/ 62730 w 204433"/>
                    <a:gd name="connsiteY5" fmla="*/ 6882 h 192923"/>
                    <a:gd name="connsiteX6" fmla="*/ 138731 w 204433"/>
                    <a:gd name="connsiteY6" fmla="*/ 56800 h 192923"/>
                    <a:gd name="connsiteX7" fmla="*/ 138731 w 204433"/>
                    <a:gd name="connsiteY7" fmla="*/ 56800 h 192923"/>
                    <a:gd name="connsiteX8" fmla="*/ 197436 w 204433"/>
                    <a:gd name="connsiteY8" fmla="*/ 183935 h 192923"/>
                    <a:gd name="connsiteX9" fmla="*/ 173416 w 204433"/>
                    <a:gd name="connsiteY9" fmla="*/ 192924 h 192923"/>
                    <a:gd name="connsiteX10" fmla="*/ 31121 w 204433"/>
                    <a:gd name="connsiteY10" fmla="*/ 9737 h 192923"/>
                    <a:gd name="connsiteX11" fmla="*/ 14286 w 204433"/>
                    <a:gd name="connsiteY11" fmla="*/ 15594 h 192923"/>
                    <a:gd name="connsiteX12" fmla="*/ 18467 w 204433"/>
                    <a:gd name="connsiteY12" fmla="*/ 60300 h 192923"/>
                    <a:gd name="connsiteX13" fmla="*/ 72419 w 204433"/>
                    <a:gd name="connsiteY13" fmla="*/ 128933 h 192923"/>
                    <a:gd name="connsiteX14" fmla="*/ 145326 w 204433"/>
                    <a:gd name="connsiteY14" fmla="*/ 176917 h 192923"/>
                    <a:gd name="connsiteX15" fmla="*/ 190234 w 204433"/>
                    <a:gd name="connsiteY15" fmla="*/ 177322 h 192923"/>
                    <a:gd name="connsiteX16" fmla="*/ 132118 w 204433"/>
                    <a:gd name="connsiteY16" fmla="*/ 63984 h 192923"/>
                    <a:gd name="connsiteX17" fmla="*/ 132118 w 204433"/>
                    <a:gd name="connsiteY17" fmla="*/ 63984 h 192923"/>
                    <a:gd name="connsiteX18" fmla="*/ 59212 w 204433"/>
                    <a:gd name="connsiteY18" fmla="*/ 16000 h 192923"/>
                    <a:gd name="connsiteX19" fmla="*/ 31121 w 204433"/>
                    <a:gd name="connsiteY19" fmla="*/ 9737 h 19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4433" h="192923">
                      <a:moveTo>
                        <a:pt x="173416" y="192924"/>
                      </a:moveTo>
                      <a:cubicBezTo>
                        <a:pt x="164390" y="192924"/>
                        <a:pt x="153744" y="190640"/>
                        <a:pt x="141826" y="186035"/>
                      </a:cubicBezTo>
                      <a:cubicBezTo>
                        <a:pt x="117714" y="176733"/>
                        <a:pt x="90729" y="159012"/>
                        <a:pt x="65825" y="136117"/>
                      </a:cubicBezTo>
                      <a:cubicBezTo>
                        <a:pt x="40921" y="113220"/>
                        <a:pt x="20990" y="87801"/>
                        <a:pt x="9699" y="64573"/>
                      </a:cubicBezTo>
                      <a:cubicBezTo>
                        <a:pt x="-2274" y="39927"/>
                        <a:pt x="-3195" y="20199"/>
                        <a:pt x="7120" y="8982"/>
                      </a:cubicBezTo>
                      <a:cubicBezTo>
                        <a:pt x="17417" y="-2218"/>
                        <a:pt x="37182" y="-2973"/>
                        <a:pt x="62730" y="6882"/>
                      </a:cubicBezTo>
                      <a:cubicBezTo>
                        <a:pt x="86842" y="16184"/>
                        <a:pt x="113827" y="33904"/>
                        <a:pt x="138731" y="56800"/>
                      </a:cubicBezTo>
                      <a:lnTo>
                        <a:pt x="138731" y="56800"/>
                      </a:lnTo>
                      <a:cubicBezTo>
                        <a:pt x="192094" y="105852"/>
                        <a:pt x="217882" y="161684"/>
                        <a:pt x="197436" y="183935"/>
                      </a:cubicBezTo>
                      <a:cubicBezTo>
                        <a:pt x="191928" y="189921"/>
                        <a:pt x="183731" y="192924"/>
                        <a:pt x="173416" y="192924"/>
                      </a:cubicBezTo>
                      <a:close/>
                      <a:moveTo>
                        <a:pt x="31121" y="9737"/>
                      </a:moveTo>
                      <a:cubicBezTo>
                        <a:pt x="23643" y="9737"/>
                        <a:pt x="17877" y="11689"/>
                        <a:pt x="14286" y="15594"/>
                      </a:cubicBezTo>
                      <a:cubicBezTo>
                        <a:pt x="6991" y="23533"/>
                        <a:pt x="8502" y="39817"/>
                        <a:pt x="18467" y="60300"/>
                      </a:cubicBezTo>
                      <a:cubicBezTo>
                        <a:pt x="29243" y="82459"/>
                        <a:pt x="48399" y="106847"/>
                        <a:pt x="72419" y="128933"/>
                      </a:cubicBezTo>
                      <a:cubicBezTo>
                        <a:pt x="96439" y="151000"/>
                        <a:pt x="122337" y="168038"/>
                        <a:pt x="145326" y="176917"/>
                      </a:cubicBezTo>
                      <a:cubicBezTo>
                        <a:pt x="166564" y="185114"/>
                        <a:pt x="182939" y="185261"/>
                        <a:pt x="190234" y="177322"/>
                      </a:cubicBezTo>
                      <a:cubicBezTo>
                        <a:pt x="204657" y="161647"/>
                        <a:pt x="184726" y="112355"/>
                        <a:pt x="132118" y="63984"/>
                      </a:cubicBezTo>
                      <a:lnTo>
                        <a:pt x="132118" y="63984"/>
                      </a:lnTo>
                      <a:cubicBezTo>
                        <a:pt x="108099" y="41917"/>
                        <a:pt x="82219" y="24860"/>
                        <a:pt x="59212" y="16000"/>
                      </a:cubicBezTo>
                      <a:cubicBezTo>
                        <a:pt x="48399" y="11818"/>
                        <a:pt x="38858" y="9737"/>
                        <a:pt x="31121" y="9737"/>
                      </a:cubicBezTo>
                      <a:close/>
                    </a:path>
                  </a:pathLst>
                </a:custGeom>
                <a:solidFill>
                  <a:schemeClr val="accent1"/>
                </a:solidFill>
                <a:ln w="1836" cap="flat">
                  <a:noFill/>
                  <a:prstDash val="solid"/>
                  <a:miter/>
                </a:ln>
              </p:spPr>
              <p:txBody>
                <a:bodyPr rtlCol="0" anchor="ctr"/>
                <a:lstStyle/>
                <a:p>
                  <a:endParaRPr lang="en-GB" dirty="0"/>
                </a:p>
              </p:txBody>
            </p:sp>
          </p:grpSp>
          <p:sp>
            <p:nvSpPr>
              <p:cNvPr id="541" name="Freihandform: Form 448">
                <a:extLst>
                  <a:ext uri="{FF2B5EF4-FFF2-40B4-BE49-F238E27FC236}">
                    <a16:creationId xmlns:a16="http://schemas.microsoft.com/office/drawing/2014/main" id="{4DEDFF2D-1A60-43FE-8F58-ADCF314CD6FC}"/>
                  </a:ext>
                </a:extLst>
              </p:cNvPr>
              <p:cNvSpPr/>
              <p:nvPr/>
            </p:nvSpPr>
            <p:spPr>
              <a:xfrm>
                <a:off x="1967735" y="3525603"/>
                <a:ext cx="50526" cy="50526"/>
              </a:xfrm>
              <a:custGeom>
                <a:avLst/>
                <a:gdLst>
                  <a:gd name="connsiteX0" fmla="*/ 25272 w 50526"/>
                  <a:gd name="connsiteY0" fmla="*/ 50526 h 50526"/>
                  <a:gd name="connsiteX1" fmla="*/ 0 w 50526"/>
                  <a:gd name="connsiteY1" fmla="*/ 25272 h 50526"/>
                  <a:gd name="connsiteX2" fmla="*/ 25272 w 50526"/>
                  <a:gd name="connsiteY2" fmla="*/ 0 h 50526"/>
                  <a:gd name="connsiteX3" fmla="*/ 50526 w 50526"/>
                  <a:gd name="connsiteY3" fmla="*/ 25272 h 50526"/>
                  <a:gd name="connsiteX4" fmla="*/ 25272 w 50526"/>
                  <a:gd name="connsiteY4" fmla="*/ 50526 h 50526"/>
                  <a:gd name="connsiteX5" fmla="*/ 25272 w 50526"/>
                  <a:gd name="connsiteY5" fmla="*/ 9744 h 50526"/>
                  <a:gd name="connsiteX6" fmla="*/ 9763 w 50526"/>
                  <a:gd name="connsiteY6" fmla="*/ 25254 h 50526"/>
                  <a:gd name="connsiteX7" fmla="*/ 25272 w 50526"/>
                  <a:gd name="connsiteY7" fmla="*/ 40764 h 50526"/>
                  <a:gd name="connsiteX8" fmla="*/ 40764 w 50526"/>
                  <a:gd name="connsiteY8" fmla="*/ 25254 h 50526"/>
                  <a:gd name="connsiteX9" fmla="*/ 25272 w 50526"/>
                  <a:gd name="connsiteY9" fmla="*/ 9744 h 50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0526" h="50526">
                    <a:moveTo>
                      <a:pt x="25272" y="50526"/>
                    </a:moveTo>
                    <a:cubicBezTo>
                      <a:pt x="11328" y="50526"/>
                      <a:pt x="0" y="39198"/>
                      <a:pt x="0" y="25272"/>
                    </a:cubicBezTo>
                    <a:cubicBezTo>
                      <a:pt x="0" y="11347"/>
                      <a:pt x="11347" y="0"/>
                      <a:pt x="25272" y="0"/>
                    </a:cubicBezTo>
                    <a:cubicBezTo>
                      <a:pt x="39198" y="0"/>
                      <a:pt x="50526" y="11347"/>
                      <a:pt x="50526" y="25272"/>
                    </a:cubicBezTo>
                    <a:cubicBezTo>
                      <a:pt x="50526" y="39179"/>
                      <a:pt x="39198" y="50526"/>
                      <a:pt x="25272" y="50526"/>
                    </a:cubicBezTo>
                    <a:close/>
                    <a:moveTo>
                      <a:pt x="25272" y="9744"/>
                    </a:moveTo>
                    <a:cubicBezTo>
                      <a:pt x="16725" y="9744"/>
                      <a:pt x="9763" y="16707"/>
                      <a:pt x="9763" y="25254"/>
                    </a:cubicBezTo>
                    <a:cubicBezTo>
                      <a:pt x="9763" y="33801"/>
                      <a:pt x="16725" y="40764"/>
                      <a:pt x="25272" y="40764"/>
                    </a:cubicBezTo>
                    <a:cubicBezTo>
                      <a:pt x="33819" y="40764"/>
                      <a:pt x="40764" y="33819"/>
                      <a:pt x="40764" y="25254"/>
                    </a:cubicBezTo>
                    <a:cubicBezTo>
                      <a:pt x="40764" y="16707"/>
                      <a:pt x="33801" y="9744"/>
                      <a:pt x="25272" y="9744"/>
                    </a:cubicBezTo>
                    <a:close/>
                  </a:path>
                </a:pathLst>
              </a:custGeom>
              <a:solidFill>
                <a:schemeClr val="accent1"/>
              </a:solidFill>
              <a:ln w="1836" cap="flat">
                <a:noFill/>
                <a:prstDash val="solid"/>
                <a:miter/>
              </a:ln>
            </p:spPr>
            <p:txBody>
              <a:bodyPr rtlCol="0" anchor="ctr"/>
              <a:lstStyle/>
              <a:p>
                <a:endParaRPr lang="en-GB" dirty="0"/>
              </a:p>
            </p:txBody>
          </p:sp>
        </p:grpSp>
      </p:grpSp>
      <p:grpSp>
        <p:nvGrpSpPr>
          <p:cNvPr id="63" name="Group 62">
            <a:extLst>
              <a:ext uri="{FF2B5EF4-FFF2-40B4-BE49-F238E27FC236}">
                <a16:creationId xmlns:a16="http://schemas.microsoft.com/office/drawing/2014/main" id="{109B6417-E235-BBA7-E0AF-36C83658C202}"/>
              </a:ext>
            </a:extLst>
          </p:cNvPr>
          <p:cNvGrpSpPr/>
          <p:nvPr/>
        </p:nvGrpSpPr>
        <p:grpSpPr>
          <a:xfrm>
            <a:off x="6038037" y="4002611"/>
            <a:ext cx="436728" cy="432000"/>
            <a:chOff x="6037625" y="4002611"/>
            <a:chExt cx="436728" cy="432000"/>
          </a:xfrm>
        </p:grpSpPr>
        <p:grpSp>
          <p:nvGrpSpPr>
            <p:cNvPr id="557" name="Grafik 2">
              <a:extLst>
                <a:ext uri="{FF2B5EF4-FFF2-40B4-BE49-F238E27FC236}">
                  <a16:creationId xmlns:a16="http://schemas.microsoft.com/office/drawing/2014/main" id="{BD489FC4-B0EF-4D37-9DF4-DAADCC78207A}"/>
                </a:ext>
              </a:extLst>
            </p:cNvPr>
            <p:cNvGrpSpPr/>
            <p:nvPr/>
          </p:nvGrpSpPr>
          <p:grpSpPr>
            <a:xfrm>
              <a:off x="6064939" y="4121235"/>
              <a:ext cx="374951" cy="196493"/>
              <a:chOff x="1741386" y="1791382"/>
              <a:chExt cx="460327" cy="241235"/>
            </a:xfrm>
            <a:solidFill>
              <a:schemeClr val="tx2"/>
            </a:solidFill>
          </p:grpSpPr>
          <p:sp>
            <p:nvSpPr>
              <p:cNvPr id="568" name="Freihandform: Form 378">
                <a:extLst>
                  <a:ext uri="{FF2B5EF4-FFF2-40B4-BE49-F238E27FC236}">
                    <a16:creationId xmlns:a16="http://schemas.microsoft.com/office/drawing/2014/main" id="{47663E79-5D99-42CD-8FB0-167EA7EF7A65}"/>
                  </a:ext>
                </a:extLst>
              </p:cNvPr>
              <p:cNvSpPr/>
              <p:nvPr/>
            </p:nvSpPr>
            <p:spPr>
              <a:xfrm>
                <a:off x="1741386" y="1791382"/>
                <a:ext cx="460327" cy="241235"/>
              </a:xfrm>
              <a:custGeom>
                <a:avLst/>
                <a:gdLst>
                  <a:gd name="connsiteX0" fmla="*/ 230138 w 460327"/>
                  <a:gd name="connsiteY0" fmla="*/ 241208 h 241235"/>
                  <a:gd name="connsiteX1" fmla="*/ 230027 w 460327"/>
                  <a:gd name="connsiteY1" fmla="*/ 241208 h 241235"/>
                  <a:gd name="connsiteX2" fmla="*/ 10866 w 460327"/>
                  <a:gd name="connsiteY2" fmla="*/ 135306 h 241235"/>
                  <a:gd name="connsiteX3" fmla="*/ 1703 w 460327"/>
                  <a:gd name="connsiteY3" fmla="*/ 127254 h 241235"/>
                  <a:gd name="connsiteX4" fmla="*/ 9 w 460327"/>
                  <a:gd name="connsiteY4" fmla="*/ 123811 h 241235"/>
                  <a:gd name="connsiteX5" fmla="*/ 1314 w 460327"/>
                  <a:gd name="connsiteY5" fmla="*/ 120174 h 241235"/>
                  <a:gd name="connsiteX6" fmla="*/ 73591 w 460327"/>
                  <a:gd name="connsiteY6" fmla="*/ 55533 h 241235"/>
                  <a:gd name="connsiteX7" fmla="*/ 230055 w 460327"/>
                  <a:gd name="connsiteY7" fmla="*/ 0 h 241235"/>
                  <a:gd name="connsiteX8" fmla="*/ 459018 w 460327"/>
                  <a:gd name="connsiteY8" fmla="*/ 120201 h 241235"/>
                  <a:gd name="connsiteX9" fmla="*/ 460323 w 460327"/>
                  <a:gd name="connsiteY9" fmla="*/ 123839 h 241235"/>
                  <a:gd name="connsiteX10" fmla="*/ 458629 w 460327"/>
                  <a:gd name="connsiteY10" fmla="*/ 127310 h 241235"/>
                  <a:gd name="connsiteX11" fmla="*/ 449300 w 460327"/>
                  <a:gd name="connsiteY11" fmla="*/ 135473 h 241235"/>
                  <a:gd name="connsiteX12" fmla="*/ 230277 w 460327"/>
                  <a:gd name="connsiteY12" fmla="*/ 241236 h 241235"/>
                  <a:gd name="connsiteX13" fmla="*/ 230138 w 460327"/>
                  <a:gd name="connsiteY13" fmla="*/ 241208 h 241235"/>
                  <a:gd name="connsiteX14" fmla="*/ 12004 w 460327"/>
                  <a:gd name="connsiteY14" fmla="*/ 123145 h 241235"/>
                  <a:gd name="connsiteX15" fmla="*/ 17391 w 460327"/>
                  <a:gd name="connsiteY15" fmla="*/ 127893 h 241235"/>
                  <a:gd name="connsiteX16" fmla="*/ 230111 w 460327"/>
                  <a:gd name="connsiteY16" fmla="*/ 231323 h 241235"/>
                  <a:gd name="connsiteX17" fmla="*/ 442691 w 460327"/>
                  <a:gd name="connsiteY17" fmla="*/ 128004 h 241235"/>
                  <a:gd name="connsiteX18" fmla="*/ 448244 w 460327"/>
                  <a:gd name="connsiteY18" fmla="*/ 123117 h 241235"/>
                  <a:gd name="connsiteX19" fmla="*/ 230027 w 460327"/>
                  <a:gd name="connsiteY19" fmla="*/ 9829 h 241235"/>
                  <a:gd name="connsiteX20" fmla="*/ 79283 w 460327"/>
                  <a:gd name="connsiteY20" fmla="*/ 63558 h 241235"/>
                  <a:gd name="connsiteX21" fmla="*/ 12004 w 460327"/>
                  <a:gd name="connsiteY21" fmla="*/ 123145 h 241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60327" h="241235">
                    <a:moveTo>
                      <a:pt x="230138" y="241208"/>
                    </a:moveTo>
                    <a:cubicBezTo>
                      <a:pt x="230111" y="241208"/>
                      <a:pt x="230083" y="241208"/>
                      <a:pt x="230027" y="241208"/>
                    </a:cubicBezTo>
                    <a:cubicBezTo>
                      <a:pt x="128596" y="239181"/>
                      <a:pt x="52016" y="171597"/>
                      <a:pt x="10866" y="135306"/>
                    </a:cubicBezTo>
                    <a:cubicBezTo>
                      <a:pt x="7562" y="132391"/>
                      <a:pt x="4480" y="129670"/>
                      <a:pt x="1703" y="127254"/>
                    </a:cubicBezTo>
                    <a:cubicBezTo>
                      <a:pt x="704" y="126365"/>
                      <a:pt x="65" y="125144"/>
                      <a:pt x="9" y="123811"/>
                    </a:cubicBezTo>
                    <a:cubicBezTo>
                      <a:pt x="-74" y="122478"/>
                      <a:pt x="398" y="121173"/>
                      <a:pt x="1314" y="120174"/>
                    </a:cubicBezTo>
                    <a:cubicBezTo>
                      <a:pt x="24777" y="94684"/>
                      <a:pt x="49101" y="72915"/>
                      <a:pt x="73591" y="55533"/>
                    </a:cubicBezTo>
                    <a:cubicBezTo>
                      <a:pt x="123848" y="19853"/>
                      <a:pt x="176493" y="1166"/>
                      <a:pt x="230055" y="0"/>
                    </a:cubicBezTo>
                    <a:cubicBezTo>
                      <a:pt x="310273" y="1749"/>
                      <a:pt x="387241" y="42177"/>
                      <a:pt x="459018" y="120201"/>
                    </a:cubicBezTo>
                    <a:cubicBezTo>
                      <a:pt x="459934" y="121173"/>
                      <a:pt x="460378" y="122506"/>
                      <a:pt x="460323" y="123839"/>
                    </a:cubicBezTo>
                    <a:cubicBezTo>
                      <a:pt x="460240" y="125171"/>
                      <a:pt x="459629" y="126421"/>
                      <a:pt x="458629" y="127310"/>
                    </a:cubicBezTo>
                    <a:cubicBezTo>
                      <a:pt x="455797" y="129753"/>
                      <a:pt x="452687" y="132502"/>
                      <a:pt x="449300" y="135473"/>
                    </a:cubicBezTo>
                    <a:cubicBezTo>
                      <a:pt x="408150" y="171736"/>
                      <a:pt x="331569" y="239209"/>
                      <a:pt x="230277" y="241236"/>
                    </a:cubicBezTo>
                    <a:cubicBezTo>
                      <a:pt x="230194" y="241208"/>
                      <a:pt x="230166" y="241208"/>
                      <a:pt x="230138" y="241208"/>
                    </a:cubicBezTo>
                    <a:close/>
                    <a:moveTo>
                      <a:pt x="12004" y="123145"/>
                    </a:moveTo>
                    <a:cubicBezTo>
                      <a:pt x="13726" y="124644"/>
                      <a:pt x="15531" y="126227"/>
                      <a:pt x="17391" y="127893"/>
                    </a:cubicBezTo>
                    <a:cubicBezTo>
                      <a:pt x="57569" y="163350"/>
                      <a:pt x="132372" y="229324"/>
                      <a:pt x="230111" y="231323"/>
                    </a:cubicBezTo>
                    <a:cubicBezTo>
                      <a:pt x="327710" y="229324"/>
                      <a:pt x="402513" y="163434"/>
                      <a:pt x="442691" y="128004"/>
                    </a:cubicBezTo>
                    <a:cubicBezTo>
                      <a:pt x="444635" y="126310"/>
                      <a:pt x="446467" y="124672"/>
                      <a:pt x="448244" y="123117"/>
                    </a:cubicBezTo>
                    <a:cubicBezTo>
                      <a:pt x="379356" y="49591"/>
                      <a:pt x="305969" y="11495"/>
                      <a:pt x="230027" y="9829"/>
                    </a:cubicBezTo>
                    <a:cubicBezTo>
                      <a:pt x="178687" y="10940"/>
                      <a:pt x="127902" y="29016"/>
                      <a:pt x="79283" y="63558"/>
                    </a:cubicBezTo>
                    <a:cubicBezTo>
                      <a:pt x="56542" y="79745"/>
                      <a:pt x="33912" y="99765"/>
                      <a:pt x="12004" y="123145"/>
                    </a:cubicBezTo>
                    <a:close/>
                  </a:path>
                </a:pathLst>
              </a:custGeom>
              <a:grpFill/>
              <a:ln w="2771" cap="flat">
                <a:noFill/>
                <a:prstDash val="solid"/>
                <a:miter/>
              </a:ln>
            </p:spPr>
            <p:txBody>
              <a:bodyPr rtlCol="0" anchor="ctr"/>
              <a:lstStyle/>
              <a:p>
                <a:endParaRPr lang="en-GB" dirty="0"/>
              </a:p>
            </p:txBody>
          </p:sp>
          <p:sp>
            <p:nvSpPr>
              <p:cNvPr id="569" name="Freihandform: Form 379">
                <a:extLst>
                  <a:ext uri="{FF2B5EF4-FFF2-40B4-BE49-F238E27FC236}">
                    <a16:creationId xmlns:a16="http://schemas.microsoft.com/office/drawing/2014/main" id="{4FEDC988-AC71-4810-B96D-B9A97B2E3FA9}"/>
                  </a:ext>
                </a:extLst>
              </p:cNvPr>
              <p:cNvSpPr/>
              <p:nvPr/>
            </p:nvSpPr>
            <p:spPr>
              <a:xfrm>
                <a:off x="1926793" y="1842278"/>
                <a:ext cx="93684" cy="146912"/>
              </a:xfrm>
              <a:custGeom>
                <a:avLst/>
                <a:gdLst>
                  <a:gd name="connsiteX0" fmla="*/ 68972 w 93684"/>
                  <a:gd name="connsiteY0" fmla="*/ 146913 h 146912"/>
                  <a:gd name="connsiteX1" fmla="*/ 24657 w 93684"/>
                  <a:gd name="connsiteY1" fmla="*/ 146913 h 146912"/>
                  <a:gd name="connsiteX2" fmla="*/ 21047 w 93684"/>
                  <a:gd name="connsiteY2" fmla="*/ 145330 h 146912"/>
                  <a:gd name="connsiteX3" fmla="*/ 19742 w 93684"/>
                  <a:gd name="connsiteY3" fmla="*/ 141609 h 146912"/>
                  <a:gd name="connsiteX4" fmla="*/ 23713 w 93684"/>
                  <a:gd name="connsiteY4" fmla="*/ 87520 h 146912"/>
                  <a:gd name="connsiteX5" fmla="*/ 0 w 93684"/>
                  <a:gd name="connsiteY5" fmla="*/ 46842 h 146912"/>
                  <a:gd name="connsiteX6" fmla="*/ 46842 w 93684"/>
                  <a:gd name="connsiteY6" fmla="*/ 0 h 146912"/>
                  <a:gd name="connsiteX7" fmla="*/ 93684 w 93684"/>
                  <a:gd name="connsiteY7" fmla="*/ 46842 h 146912"/>
                  <a:gd name="connsiteX8" fmla="*/ 69972 w 93684"/>
                  <a:gd name="connsiteY8" fmla="*/ 87520 h 146912"/>
                  <a:gd name="connsiteX9" fmla="*/ 73942 w 93684"/>
                  <a:gd name="connsiteY9" fmla="*/ 141609 h 146912"/>
                  <a:gd name="connsiteX10" fmla="*/ 72637 w 93684"/>
                  <a:gd name="connsiteY10" fmla="*/ 145330 h 146912"/>
                  <a:gd name="connsiteX11" fmla="*/ 68972 w 93684"/>
                  <a:gd name="connsiteY11" fmla="*/ 146913 h 146912"/>
                  <a:gd name="connsiteX12" fmla="*/ 29960 w 93684"/>
                  <a:gd name="connsiteY12" fmla="*/ 137028 h 146912"/>
                  <a:gd name="connsiteX13" fmla="*/ 63641 w 93684"/>
                  <a:gd name="connsiteY13" fmla="*/ 137028 h 146912"/>
                  <a:gd name="connsiteX14" fmla="*/ 59837 w 93684"/>
                  <a:gd name="connsiteY14" fmla="*/ 85021 h 146912"/>
                  <a:gd name="connsiteX15" fmla="*/ 62641 w 93684"/>
                  <a:gd name="connsiteY15" fmla="*/ 80190 h 146912"/>
                  <a:gd name="connsiteX16" fmla="*/ 83772 w 93684"/>
                  <a:gd name="connsiteY16" fmla="*/ 46842 h 146912"/>
                  <a:gd name="connsiteX17" fmla="*/ 46814 w 93684"/>
                  <a:gd name="connsiteY17" fmla="*/ 9885 h 146912"/>
                  <a:gd name="connsiteX18" fmla="*/ 9857 w 93684"/>
                  <a:gd name="connsiteY18" fmla="*/ 46842 h 146912"/>
                  <a:gd name="connsiteX19" fmla="*/ 30987 w 93684"/>
                  <a:gd name="connsiteY19" fmla="*/ 80190 h 146912"/>
                  <a:gd name="connsiteX20" fmla="*/ 33792 w 93684"/>
                  <a:gd name="connsiteY20" fmla="*/ 85021 h 146912"/>
                  <a:gd name="connsiteX21" fmla="*/ 29960 w 93684"/>
                  <a:gd name="connsiteY21" fmla="*/ 137028 h 14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3684" h="146912">
                    <a:moveTo>
                      <a:pt x="68972" y="146913"/>
                    </a:moveTo>
                    <a:lnTo>
                      <a:pt x="24657" y="146913"/>
                    </a:lnTo>
                    <a:cubicBezTo>
                      <a:pt x="23296" y="146913"/>
                      <a:pt x="21963" y="146330"/>
                      <a:pt x="21047" y="145330"/>
                    </a:cubicBezTo>
                    <a:cubicBezTo>
                      <a:pt x="20103" y="144330"/>
                      <a:pt x="19631" y="142970"/>
                      <a:pt x="19742" y="141609"/>
                    </a:cubicBezTo>
                    <a:lnTo>
                      <a:pt x="23713" y="87520"/>
                    </a:lnTo>
                    <a:cubicBezTo>
                      <a:pt x="9191" y="79246"/>
                      <a:pt x="0" y="63641"/>
                      <a:pt x="0" y="46842"/>
                    </a:cubicBezTo>
                    <a:cubicBezTo>
                      <a:pt x="0" y="21019"/>
                      <a:pt x="21019" y="0"/>
                      <a:pt x="46842" y="0"/>
                    </a:cubicBezTo>
                    <a:cubicBezTo>
                      <a:pt x="72665" y="0"/>
                      <a:pt x="93684" y="21019"/>
                      <a:pt x="93684" y="46842"/>
                    </a:cubicBezTo>
                    <a:cubicBezTo>
                      <a:pt x="93684" y="63641"/>
                      <a:pt x="84494" y="79246"/>
                      <a:pt x="69972" y="87520"/>
                    </a:cubicBezTo>
                    <a:lnTo>
                      <a:pt x="73942" y="141609"/>
                    </a:lnTo>
                    <a:cubicBezTo>
                      <a:pt x="74053" y="142970"/>
                      <a:pt x="73581" y="144330"/>
                      <a:pt x="72637" y="145330"/>
                    </a:cubicBezTo>
                    <a:cubicBezTo>
                      <a:pt x="71665" y="146330"/>
                      <a:pt x="70333" y="146913"/>
                      <a:pt x="68972" y="146913"/>
                    </a:cubicBezTo>
                    <a:close/>
                    <a:moveTo>
                      <a:pt x="29960" y="137028"/>
                    </a:moveTo>
                    <a:lnTo>
                      <a:pt x="63641" y="137028"/>
                    </a:lnTo>
                    <a:lnTo>
                      <a:pt x="59837" y="85021"/>
                    </a:lnTo>
                    <a:cubicBezTo>
                      <a:pt x="59698" y="82994"/>
                      <a:pt x="60809" y="81078"/>
                      <a:pt x="62641" y="80190"/>
                    </a:cubicBezTo>
                    <a:cubicBezTo>
                      <a:pt x="75469" y="74081"/>
                      <a:pt x="83772" y="60975"/>
                      <a:pt x="83772" y="46842"/>
                    </a:cubicBezTo>
                    <a:cubicBezTo>
                      <a:pt x="83772" y="26461"/>
                      <a:pt x="67195" y="9885"/>
                      <a:pt x="46814" y="9885"/>
                    </a:cubicBezTo>
                    <a:cubicBezTo>
                      <a:pt x="26434" y="9885"/>
                      <a:pt x="9857" y="26461"/>
                      <a:pt x="9857" y="46842"/>
                    </a:cubicBezTo>
                    <a:cubicBezTo>
                      <a:pt x="9857" y="61003"/>
                      <a:pt x="18159" y="74081"/>
                      <a:pt x="30987" y="80190"/>
                    </a:cubicBezTo>
                    <a:cubicBezTo>
                      <a:pt x="32820" y="81078"/>
                      <a:pt x="33931" y="82994"/>
                      <a:pt x="33792" y="85021"/>
                    </a:cubicBezTo>
                    <a:lnTo>
                      <a:pt x="29960" y="137028"/>
                    </a:lnTo>
                    <a:close/>
                  </a:path>
                </a:pathLst>
              </a:custGeom>
              <a:grpFill/>
              <a:ln w="2771" cap="flat">
                <a:noFill/>
                <a:prstDash val="solid"/>
                <a:miter/>
              </a:ln>
            </p:spPr>
            <p:txBody>
              <a:bodyPr rtlCol="0" anchor="ctr"/>
              <a:lstStyle/>
              <a:p>
                <a:endParaRPr lang="en-GB" dirty="0"/>
              </a:p>
            </p:txBody>
          </p:sp>
        </p:grpSp>
        <p:grpSp>
          <p:nvGrpSpPr>
            <p:cNvPr id="558" name="Group 557">
              <a:extLst>
                <a:ext uri="{FF2B5EF4-FFF2-40B4-BE49-F238E27FC236}">
                  <a16:creationId xmlns:a16="http://schemas.microsoft.com/office/drawing/2014/main" id="{A05F0FDB-1D62-4C79-917F-DAB47A2D4700}"/>
                </a:ext>
              </a:extLst>
            </p:cNvPr>
            <p:cNvGrpSpPr/>
            <p:nvPr/>
          </p:nvGrpSpPr>
          <p:grpSpPr>
            <a:xfrm>
              <a:off x="6037625" y="4002611"/>
              <a:ext cx="436728" cy="432000"/>
              <a:chOff x="1707853" y="1645747"/>
              <a:chExt cx="536171" cy="530367"/>
            </a:xfrm>
          </p:grpSpPr>
          <p:grpSp>
            <p:nvGrpSpPr>
              <p:cNvPr id="559" name="Grafik 2">
                <a:extLst>
                  <a:ext uri="{FF2B5EF4-FFF2-40B4-BE49-F238E27FC236}">
                    <a16:creationId xmlns:a16="http://schemas.microsoft.com/office/drawing/2014/main" id="{FD0FC3B2-543F-4BDF-9EFF-4304DF34F642}"/>
                  </a:ext>
                </a:extLst>
              </p:cNvPr>
              <p:cNvGrpSpPr/>
              <p:nvPr/>
            </p:nvGrpSpPr>
            <p:grpSpPr>
              <a:xfrm>
                <a:off x="1834830" y="1775305"/>
                <a:ext cx="273361" cy="273361"/>
                <a:chOff x="1834830" y="1775305"/>
                <a:chExt cx="273361" cy="273361"/>
              </a:xfrm>
              <a:solidFill>
                <a:schemeClr val="accent1"/>
              </a:solidFill>
            </p:grpSpPr>
            <p:sp>
              <p:nvSpPr>
                <p:cNvPr id="564" name="Freihandform: Form 381">
                  <a:extLst>
                    <a:ext uri="{FF2B5EF4-FFF2-40B4-BE49-F238E27FC236}">
                      <a16:creationId xmlns:a16="http://schemas.microsoft.com/office/drawing/2014/main" id="{10250509-3AB7-4784-8467-3FB2B0AEB73A}"/>
                    </a:ext>
                  </a:extLst>
                </p:cNvPr>
                <p:cNvSpPr/>
                <p:nvPr/>
              </p:nvSpPr>
              <p:spPr>
                <a:xfrm>
                  <a:off x="1834830" y="1775305"/>
                  <a:ext cx="85798" cy="85798"/>
                </a:xfrm>
                <a:custGeom>
                  <a:avLst/>
                  <a:gdLst>
                    <a:gd name="connsiteX0" fmla="*/ 4942 w 85798"/>
                    <a:gd name="connsiteY0" fmla="*/ 85799 h 85798"/>
                    <a:gd name="connsiteX1" fmla="*/ 0 w 85798"/>
                    <a:gd name="connsiteY1" fmla="*/ 80856 h 85798"/>
                    <a:gd name="connsiteX2" fmla="*/ 0 w 85798"/>
                    <a:gd name="connsiteY2" fmla="*/ 4942 h 85798"/>
                    <a:gd name="connsiteX3" fmla="*/ 4942 w 85798"/>
                    <a:gd name="connsiteY3" fmla="*/ 0 h 85798"/>
                    <a:gd name="connsiteX4" fmla="*/ 80856 w 85798"/>
                    <a:gd name="connsiteY4" fmla="*/ 0 h 85798"/>
                    <a:gd name="connsiteX5" fmla="*/ 85799 w 85798"/>
                    <a:gd name="connsiteY5" fmla="*/ 4942 h 85798"/>
                    <a:gd name="connsiteX6" fmla="*/ 80856 w 85798"/>
                    <a:gd name="connsiteY6" fmla="*/ 9885 h 85798"/>
                    <a:gd name="connsiteX7" fmla="*/ 9885 w 85798"/>
                    <a:gd name="connsiteY7" fmla="*/ 9885 h 85798"/>
                    <a:gd name="connsiteX8" fmla="*/ 9885 w 85798"/>
                    <a:gd name="connsiteY8" fmla="*/ 80856 h 85798"/>
                    <a:gd name="connsiteX9" fmla="*/ 4942 w 85798"/>
                    <a:gd name="connsiteY9" fmla="*/ 85799 h 8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98" h="85798">
                      <a:moveTo>
                        <a:pt x="4942" y="85799"/>
                      </a:moveTo>
                      <a:cubicBezTo>
                        <a:pt x="2221" y="85799"/>
                        <a:pt x="0" y="83577"/>
                        <a:pt x="0" y="80856"/>
                      </a:cubicBezTo>
                      <a:lnTo>
                        <a:pt x="0" y="4942"/>
                      </a:lnTo>
                      <a:cubicBezTo>
                        <a:pt x="0" y="2221"/>
                        <a:pt x="2221" y="0"/>
                        <a:pt x="4942" y="0"/>
                      </a:cubicBezTo>
                      <a:lnTo>
                        <a:pt x="80856" y="0"/>
                      </a:lnTo>
                      <a:cubicBezTo>
                        <a:pt x="83577" y="0"/>
                        <a:pt x="85799" y="2221"/>
                        <a:pt x="85799" y="4942"/>
                      </a:cubicBezTo>
                      <a:cubicBezTo>
                        <a:pt x="85799" y="7664"/>
                        <a:pt x="83577" y="9885"/>
                        <a:pt x="80856" y="9885"/>
                      </a:cubicBezTo>
                      <a:lnTo>
                        <a:pt x="9885" y="9885"/>
                      </a:lnTo>
                      <a:lnTo>
                        <a:pt x="9885" y="80856"/>
                      </a:lnTo>
                      <a:cubicBezTo>
                        <a:pt x="9885" y="83577"/>
                        <a:pt x="7664" y="85799"/>
                        <a:pt x="4942" y="85799"/>
                      </a:cubicBezTo>
                      <a:close/>
                    </a:path>
                  </a:pathLst>
                </a:custGeom>
                <a:solidFill>
                  <a:schemeClr val="accent1"/>
                </a:solidFill>
                <a:ln w="2771" cap="flat">
                  <a:noFill/>
                  <a:prstDash val="solid"/>
                  <a:miter/>
                </a:ln>
              </p:spPr>
              <p:txBody>
                <a:bodyPr rtlCol="0" anchor="ctr"/>
                <a:lstStyle/>
                <a:p>
                  <a:endParaRPr lang="en-GB" dirty="0"/>
                </a:p>
              </p:txBody>
            </p:sp>
            <p:sp>
              <p:nvSpPr>
                <p:cNvPr id="565" name="Freihandform: Form 382">
                  <a:extLst>
                    <a:ext uri="{FF2B5EF4-FFF2-40B4-BE49-F238E27FC236}">
                      <a16:creationId xmlns:a16="http://schemas.microsoft.com/office/drawing/2014/main" id="{0AA8FB45-EABF-4337-86CF-ED42C0AD616A}"/>
                    </a:ext>
                  </a:extLst>
                </p:cNvPr>
                <p:cNvSpPr/>
                <p:nvPr/>
              </p:nvSpPr>
              <p:spPr>
                <a:xfrm>
                  <a:off x="2022393" y="1775305"/>
                  <a:ext cx="85798" cy="85798"/>
                </a:xfrm>
                <a:custGeom>
                  <a:avLst/>
                  <a:gdLst>
                    <a:gd name="connsiteX0" fmla="*/ 80856 w 85798"/>
                    <a:gd name="connsiteY0" fmla="*/ 85799 h 85798"/>
                    <a:gd name="connsiteX1" fmla="*/ 75914 w 85798"/>
                    <a:gd name="connsiteY1" fmla="*/ 80856 h 85798"/>
                    <a:gd name="connsiteX2" fmla="*/ 75914 w 85798"/>
                    <a:gd name="connsiteY2" fmla="*/ 9885 h 85798"/>
                    <a:gd name="connsiteX3" fmla="*/ 4942 w 85798"/>
                    <a:gd name="connsiteY3" fmla="*/ 9885 h 85798"/>
                    <a:gd name="connsiteX4" fmla="*/ 0 w 85798"/>
                    <a:gd name="connsiteY4" fmla="*/ 4942 h 85798"/>
                    <a:gd name="connsiteX5" fmla="*/ 4942 w 85798"/>
                    <a:gd name="connsiteY5" fmla="*/ 0 h 85798"/>
                    <a:gd name="connsiteX6" fmla="*/ 80856 w 85798"/>
                    <a:gd name="connsiteY6" fmla="*/ 0 h 85798"/>
                    <a:gd name="connsiteX7" fmla="*/ 85799 w 85798"/>
                    <a:gd name="connsiteY7" fmla="*/ 4942 h 85798"/>
                    <a:gd name="connsiteX8" fmla="*/ 85799 w 85798"/>
                    <a:gd name="connsiteY8" fmla="*/ 80856 h 85798"/>
                    <a:gd name="connsiteX9" fmla="*/ 80856 w 85798"/>
                    <a:gd name="connsiteY9" fmla="*/ 85799 h 8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98" h="85798">
                      <a:moveTo>
                        <a:pt x="80856" y="85799"/>
                      </a:moveTo>
                      <a:cubicBezTo>
                        <a:pt x="78135" y="85799"/>
                        <a:pt x="75914" y="83577"/>
                        <a:pt x="75914" y="80856"/>
                      </a:cubicBezTo>
                      <a:lnTo>
                        <a:pt x="75914" y="9885"/>
                      </a:lnTo>
                      <a:lnTo>
                        <a:pt x="4942" y="9885"/>
                      </a:lnTo>
                      <a:cubicBezTo>
                        <a:pt x="2221" y="9885"/>
                        <a:pt x="0" y="7664"/>
                        <a:pt x="0" y="4942"/>
                      </a:cubicBezTo>
                      <a:cubicBezTo>
                        <a:pt x="0" y="2221"/>
                        <a:pt x="2221" y="0"/>
                        <a:pt x="4942" y="0"/>
                      </a:cubicBezTo>
                      <a:lnTo>
                        <a:pt x="80856" y="0"/>
                      </a:lnTo>
                      <a:cubicBezTo>
                        <a:pt x="83577" y="0"/>
                        <a:pt x="85799" y="2221"/>
                        <a:pt x="85799" y="4942"/>
                      </a:cubicBezTo>
                      <a:lnTo>
                        <a:pt x="85799" y="80856"/>
                      </a:lnTo>
                      <a:cubicBezTo>
                        <a:pt x="85799" y="83577"/>
                        <a:pt x="83577" y="85799"/>
                        <a:pt x="80856" y="85799"/>
                      </a:cubicBezTo>
                      <a:close/>
                    </a:path>
                  </a:pathLst>
                </a:custGeom>
                <a:solidFill>
                  <a:schemeClr val="accent1"/>
                </a:solidFill>
                <a:ln w="2771" cap="flat">
                  <a:noFill/>
                  <a:prstDash val="solid"/>
                  <a:miter/>
                </a:ln>
              </p:spPr>
              <p:txBody>
                <a:bodyPr rtlCol="0" anchor="ctr"/>
                <a:lstStyle/>
                <a:p>
                  <a:endParaRPr lang="en-GB" dirty="0"/>
                </a:p>
              </p:txBody>
            </p:sp>
            <p:sp>
              <p:nvSpPr>
                <p:cNvPr id="566" name="Freihandform: Form 383">
                  <a:extLst>
                    <a:ext uri="{FF2B5EF4-FFF2-40B4-BE49-F238E27FC236}">
                      <a16:creationId xmlns:a16="http://schemas.microsoft.com/office/drawing/2014/main" id="{D747558A-43CA-4F1F-AE1C-6A50EC3B3A27}"/>
                    </a:ext>
                  </a:extLst>
                </p:cNvPr>
                <p:cNvSpPr/>
                <p:nvPr/>
              </p:nvSpPr>
              <p:spPr>
                <a:xfrm>
                  <a:off x="2022393" y="1962868"/>
                  <a:ext cx="85798" cy="85798"/>
                </a:xfrm>
                <a:custGeom>
                  <a:avLst/>
                  <a:gdLst>
                    <a:gd name="connsiteX0" fmla="*/ 80856 w 85798"/>
                    <a:gd name="connsiteY0" fmla="*/ 85799 h 85798"/>
                    <a:gd name="connsiteX1" fmla="*/ 4942 w 85798"/>
                    <a:gd name="connsiteY1" fmla="*/ 85799 h 85798"/>
                    <a:gd name="connsiteX2" fmla="*/ 0 w 85798"/>
                    <a:gd name="connsiteY2" fmla="*/ 80856 h 85798"/>
                    <a:gd name="connsiteX3" fmla="*/ 4942 w 85798"/>
                    <a:gd name="connsiteY3" fmla="*/ 75914 h 85798"/>
                    <a:gd name="connsiteX4" fmla="*/ 75914 w 85798"/>
                    <a:gd name="connsiteY4" fmla="*/ 75914 h 85798"/>
                    <a:gd name="connsiteX5" fmla="*/ 75914 w 85798"/>
                    <a:gd name="connsiteY5" fmla="*/ 4942 h 85798"/>
                    <a:gd name="connsiteX6" fmla="*/ 80856 w 85798"/>
                    <a:gd name="connsiteY6" fmla="*/ 0 h 85798"/>
                    <a:gd name="connsiteX7" fmla="*/ 85799 w 85798"/>
                    <a:gd name="connsiteY7" fmla="*/ 4942 h 85798"/>
                    <a:gd name="connsiteX8" fmla="*/ 85799 w 85798"/>
                    <a:gd name="connsiteY8" fmla="*/ 80856 h 85798"/>
                    <a:gd name="connsiteX9" fmla="*/ 80856 w 85798"/>
                    <a:gd name="connsiteY9" fmla="*/ 85799 h 8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98" h="85798">
                      <a:moveTo>
                        <a:pt x="80856" y="85799"/>
                      </a:moveTo>
                      <a:lnTo>
                        <a:pt x="4942" y="85799"/>
                      </a:lnTo>
                      <a:cubicBezTo>
                        <a:pt x="2221" y="85799"/>
                        <a:pt x="0" y="83577"/>
                        <a:pt x="0" y="80856"/>
                      </a:cubicBezTo>
                      <a:cubicBezTo>
                        <a:pt x="0" y="78135"/>
                        <a:pt x="2221" y="75914"/>
                        <a:pt x="4942" y="75914"/>
                      </a:cubicBezTo>
                      <a:lnTo>
                        <a:pt x="75914" y="75914"/>
                      </a:lnTo>
                      <a:lnTo>
                        <a:pt x="75914" y="4942"/>
                      </a:lnTo>
                      <a:cubicBezTo>
                        <a:pt x="75914" y="2221"/>
                        <a:pt x="78135" y="0"/>
                        <a:pt x="80856" y="0"/>
                      </a:cubicBezTo>
                      <a:cubicBezTo>
                        <a:pt x="83577" y="0"/>
                        <a:pt x="85799" y="2221"/>
                        <a:pt x="85799" y="4942"/>
                      </a:cubicBezTo>
                      <a:lnTo>
                        <a:pt x="85799" y="80856"/>
                      </a:lnTo>
                      <a:cubicBezTo>
                        <a:pt x="85799" y="83577"/>
                        <a:pt x="83577" y="85799"/>
                        <a:pt x="80856" y="85799"/>
                      </a:cubicBezTo>
                      <a:close/>
                    </a:path>
                  </a:pathLst>
                </a:custGeom>
                <a:solidFill>
                  <a:schemeClr val="accent1"/>
                </a:solidFill>
                <a:ln w="2771" cap="flat">
                  <a:noFill/>
                  <a:prstDash val="solid"/>
                  <a:miter/>
                </a:ln>
              </p:spPr>
              <p:txBody>
                <a:bodyPr rtlCol="0" anchor="ctr"/>
                <a:lstStyle/>
                <a:p>
                  <a:endParaRPr lang="en-GB" dirty="0"/>
                </a:p>
              </p:txBody>
            </p:sp>
            <p:sp>
              <p:nvSpPr>
                <p:cNvPr id="567" name="Freihandform: Form 384">
                  <a:extLst>
                    <a:ext uri="{FF2B5EF4-FFF2-40B4-BE49-F238E27FC236}">
                      <a16:creationId xmlns:a16="http://schemas.microsoft.com/office/drawing/2014/main" id="{ACE9B32E-F4D7-4D80-AD33-3DB3C9885075}"/>
                    </a:ext>
                  </a:extLst>
                </p:cNvPr>
                <p:cNvSpPr/>
                <p:nvPr/>
              </p:nvSpPr>
              <p:spPr>
                <a:xfrm>
                  <a:off x="1834830" y="1962868"/>
                  <a:ext cx="85798" cy="85798"/>
                </a:xfrm>
                <a:custGeom>
                  <a:avLst/>
                  <a:gdLst>
                    <a:gd name="connsiteX0" fmla="*/ 80856 w 85798"/>
                    <a:gd name="connsiteY0" fmla="*/ 85799 h 85798"/>
                    <a:gd name="connsiteX1" fmla="*/ 4942 w 85798"/>
                    <a:gd name="connsiteY1" fmla="*/ 85799 h 85798"/>
                    <a:gd name="connsiteX2" fmla="*/ 0 w 85798"/>
                    <a:gd name="connsiteY2" fmla="*/ 80856 h 85798"/>
                    <a:gd name="connsiteX3" fmla="*/ 0 w 85798"/>
                    <a:gd name="connsiteY3" fmla="*/ 4942 h 85798"/>
                    <a:gd name="connsiteX4" fmla="*/ 4942 w 85798"/>
                    <a:gd name="connsiteY4" fmla="*/ 0 h 85798"/>
                    <a:gd name="connsiteX5" fmla="*/ 9885 w 85798"/>
                    <a:gd name="connsiteY5" fmla="*/ 4942 h 85798"/>
                    <a:gd name="connsiteX6" fmla="*/ 9885 w 85798"/>
                    <a:gd name="connsiteY6" fmla="*/ 75914 h 85798"/>
                    <a:gd name="connsiteX7" fmla="*/ 80856 w 85798"/>
                    <a:gd name="connsiteY7" fmla="*/ 75914 h 85798"/>
                    <a:gd name="connsiteX8" fmla="*/ 85799 w 85798"/>
                    <a:gd name="connsiteY8" fmla="*/ 80856 h 85798"/>
                    <a:gd name="connsiteX9" fmla="*/ 80856 w 85798"/>
                    <a:gd name="connsiteY9" fmla="*/ 85799 h 85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798" h="85798">
                      <a:moveTo>
                        <a:pt x="80856" y="85799"/>
                      </a:moveTo>
                      <a:lnTo>
                        <a:pt x="4942" y="85799"/>
                      </a:lnTo>
                      <a:cubicBezTo>
                        <a:pt x="2221" y="85799"/>
                        <a:pt x="0" y="83577"/>
                        <a:pt x="0" y="80856"/>
                      </a:cubicBezTo>
                      <a:lnTo>
                        <a:pt x="0" y="4942"/>
                      </a:lnTo>
                      <a:cubicBezTo>
                        <a:pt x="0" y="2221"/>
                        <a:pt x="2221" y="0"/>
                        <a:pt x="4942" y="0"/>
                      </a:cubicBezTo>
                      <a:cubicBezTo>
                        <a:pt x="7664" y="0"/>
                        <a:pt x="9885" y="2221"/>
                        <a:pt x="9885" y="4942"/>
                      </a:cubicBezTo>
                      <a:lnTo>
                        <a:pt x="9885" y="75914"/>
                      </a:lnTo>
                      <a:lnTo>
                        <a:pt x="80856" y="75914"/>
                      </a:lnTo>
                      <a:cubicBezTo>
                        <a:pt x="83577" y="75914"/>
                        <a:pt x="85799" y="78135"/>
                        <a:pt x="85799" y="80856"/>
                      </a:cubicBezTo>
                      <a:cubicBezTo>
                        <a:pt x="85799" y="83577"/>
                        <a:pt x="83577" y="85799"/>
                        <a:pt x="80856" y="85799"/>
                      </a:cubicBezTo>
                      <a:close/>
                    </a:path>
                  </a:pathLst>
                </a:custGeom>
                <a:solidFill>
                  <a:schemeClr val="accent1"/>
                </a:solidFill>
                <a:ln w="2771" cap="flat">
                  <a:noFill/>
                  <a:prstDash val="solid"/>
                  <a:miter/>
                </a:ln>
              </p:spPr>
              <p:txBody>
                <a:bodyPr rtlCol="0" anchor="ctr"/>
                <a:lstStyle/>
                <a:p>
                  <a:endParaRPr lang="en-GB" dirty="0"/>
                </a:p>
              </p:txBody>
            </p:sp>
          </p:grpSp>
          <p:sp>
            <p:nvSpPr>
              <p:cNvPr id="560" name="Freihandform: Form 385">
                <a:extLst>
                  <a:ext uri="{FF2B5EF4-FFF2-40B4-BE49-F238E27FC236}">
                    <a16:creationId xmlns:a16="http://schemas.microsoft.com/office/drawing/2014/main" id="{69863444-074F-45B5-92BD-3DC9AB804FEE}"/>
                  </a:ext>
                </a:extLst>
              </p:cNvPr>
              <p:cNvSpPr/>
              <p:nvPr/>
            </p:nvSpPr>
            <p:spPr>
              <a:xfrm>
                <a:off x="1707853" y="1905974"/>
                <a:ext cx="102430" cy="9884"/>
              </a:xfrm>
              <a:custGeom>
                <a:avLst/>
                <a:gdLst>
                  <a:gd name="connsiteX0" fmla="*/ 97488 w 102430"/>
                  <a:gd name="connsiteY0" fmla="*/ 9885 h 9884"/>
                  <a:gd name="connsiteX1" fmla="*/ 4942 w 102430"/>
                  <a:gd name="connsiteY1" fmla="*/ 9885 h 9884"/>
                  <a:gd name="connsiteX2" fmla="*/ 0 w 102430"/>
                  <a:gd name="connsiteY2" fmla="*/ 4942 h 9884"/>
                  <a:gd name="connsiteX3" fmla="*/ 4942 w 102430"/>
                  <a:gd name="connsiteY3" fmla="*/ 0 h 9884"/>
                  <a:gd name="connsiteX4" fmla="*/ 97488 w 102430"/>
                  <a:gd name="connsiteY4" fmla="*/ 0 h 9884"/>
                  <a:gd name="connsiteX5" fmla="*/ 102431 w 102430"/>
                  <a:gd name="connsiteY5" fmla="*/ 4942 h 9884"/>
                  <a:gd name="connsiteX6" fmla="*/ 97488 w 102430"/>
                  <a:gd name="connsiteY6" fmla="*/ 9885 h 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30" h="9884">
                    <a:moveTo>
                      <a:pt x="97488" y="9885"/>
                    </a:moveTo>
                    <a:lnTo>
                      <a:pt x="4942" y="9885"/>
                    </a:lnTo>
                    <a:cubicBezTo>
                      <a:pt x="2221" y="9885"/>
                      <a:pt x="0" y="7664"/>
                      <a:pt x="0" y="4942"/>
                    </a:cubicBezTo>
                    <a:cubicBezTo>
                      <a:pt x="0" y="2221"/>
                      <a:pt x="2221" y="0"/>
                      <a:pt x="4942" y="0"/>
                    </a:cubicBezTo>
                    <a:lnTo>
                      <a:pt x="97488" y="0"/>
                    </a:lnTo>
                    <a:cubicBezTo>
                      <a:pt x="100209" y="0"/>
                      <a:pt x="102431" y="2221"/>
                      <a:pt x="102431" y="4942"/>
                    </a:cubicBezTo>
                    <a:cubicBezTo>
                      <a:pt x="102431" y="7691"/>
                      <a:pt x="100209" y="9885"/>
                      <a:pt x="97488" y="9885"/>
                    </a:cubicBezTo>
                    <a:close/>
                  </a:path>
                </a:pathLst>
              </a:custGeom>
              <a:solidFill>
                <a:schemeClr val="accent1"/>
              </a:solidFill>
              <a:ln w="2771" cap="flat">
                <a:noFill/>
                <a:prstDash val="solid"/>
                <a:miter/>
              </a:ln>
            </p:spPr>
            <p:txBody>
              <a:bodyPr rtlCol="0" anchor="ctr"/>
              <a:lstStyle/>
              <a:p>
                <a:endParaRPr lang="en-GB" dirty="0"/>
              </a:p>
            </p:txBody>
          </p:sp>
          <p:sp>
            <p:nvSpPr>
              <p:cNvPr id="561" name="Freihandform: Form 386">
                <a:extLst>
                  <a:ext uri="{FF2B5EF4-FFF2-40B4-BE49-F238E27FC236}">
                    <a16:creationId xmlns:a16="http://schemas.microsoft.com/office/drawing/2014/main" id="{DE08CBEF-84B3-40D2-BD0B-0824DB09BE1C}"/>
                  </a:ext>
                </a:extLst>
              </p:cNvPr>
              <p:cNvSpPr/>
              <p:nvPr/>
            </p:nvSpPr>
            <p:spPr>
              <a:xfrm>
                <a:off x="2141594" y="1905974"/>
                <a:ext cx="102430" cy="9884"/>
              </a:xfrm>
              <a:custGeom>
                <a:avLst/>
                <a:gdLst>
                  <a:gd name="connsiteX0" fmla="*/ 97488 w 102430"/>
                  <a:gd name="connsiteY0" fmla="*/ 9885 h 9884"/>
                  <a:gd name="connsiteX1" fmla="*/ 4942 w 102430"/>
                  <a:gd name="connsiteY1" fmla="*/ 9885 h 9884"/>
                  <a:gd name="connsiteX2" fmla="*/ 0 w 102430"/>
                  <a:gd name="connsiteY2" fmla="*/ 4942 h 9884"/>
                  <a:gd name="connsiteX3" fmla="*/ 4942 w 102430"/>
                  <a:gd name="connsiteY3" fmla="*/ 0 h 9884"/>
                  <a:gd name="connsiteX4" fmla="*/ 97488 w 102430"/>
                  <a:gd name="connsiteY4" fmla="*/ 0 h 9884"/>
                  <a:gd name="connsiteX5" fmla="*/ 102431 w 102430"/>
                  <a:gd name="connsiteY5" fmla="*/ 4942 h 9884"/>
                  <a:gd name="connsiteX6" fmla="*/ 97488 w 102430"/>
                  <a:gd name="connsiteY6" fmla="*/ 9885 h 98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30" h="9884">
                    <a:moveTo>
                      <a:pt x="97488" y="9885"/>
                    </a:moveTo>
                    <a:lnTo>
                      <a:pt x="4942" y="9885"/>
                    </a:lnTo>
                    <a:cubicBezTo>
                      <a:pt x="2221" y="9885"/>
                      <a:pt x="0" y="7664"/>
                      <a:pt x="0" y="4942"/>
                    </a:cubicBezTo>
                    <a:cubicBezTo>
                      <a:pt x="0" y="2221"/>
                      <a:pt x="2221" y="0"/>
                      <a:pt x="4942" y="0"/>
                    </a:cubicBezTo>
                    <a:lnTo>
                      <a:pt x="97488" y="0"/>
                    </a:lnTo>
                    <a:cubicBezTo>
                      <a:pt x="100209" y="0"/>
                      <a:pt x="102431" y="2221"/>
                      <a:pt x="102431" y="4942"/>
                    </a:cubicBezTo>
                    <a:cubicBezTo>
                      <a:pt x="102431" y="7691"/>
                      <a:pt x="100237" y="9885"/>
                      <a:pt x="97488" y="9885"/>
                    </a:cubicBezTo>
                    <a:close/>
                  </a:path>
                </a:pathLst>
              </a:custGeom>
              <a:solidFill>
                <a:schemeClr val="accent1"/>
              </a:solidFill>
              <a:ln w="2771" cap="flat">
                <a:noFill/>
                <a:prstDash val="solid"/>
                <a:miter/>
              </a:ln>
            </p:spPr>
            <p:txBody>
              <a:bodyPr rtlCol="0" anchor="ctr"/>
              <a:lstStyle/>
              <a:p>
                <a:endParaRPr lang="en-GB" dirty="0"/>
              </a:p>
            </p:txBody>
          </p:sp>
          <p:sp>
            <p:nvSpPr>
              <p:cNvPr id="562" name="Freihandform: Form 387">
                <a:extLst>
                  <a:ext uri="{FF2B5EF4-FFF2-40B4-BE49-F238E27FC236}">
                    <a16:creationId xmlns:a16="http://schemas.microsoft.com/office/drawing/2014/main" id="{879B3B7E-A019-4ADC-B99A-3AC9CB856FFB}"/>
                  </a:ext>
                </a:extLst>
              </p:cNvPr>
              <p:cNvSpPr/>
              <p:nvPr/>
            </p:nvSpPr>
            <p:spPr>
              <a:xfrm>
                <a:off x="1968109" y="1645747"/>
                <a:ext cx="9884" cy="102402"/>
              </a:xfrm>
              <a:custGeom>
                <a:avLst/>
                <a:gdLst>
                  <a:gd name="connsiteX0" fmla="*/ 4942 w 9884"/>
                  <a:gd name="connsiteY0" fmla="*/ 102403 h 102402"/>
                  <a:gd name="connsiteX1" fmla="*/ 0 w 9884"/>
                  <a:gd name="connsiteY1" fmla="*/ 97460 h 102402"/>
                  <a:gd name="connsiteX2" fmla="*/ 0 w 9884"/>
                  <a:gd name="connsiteY2" fmla="*/ 4942 h 102402"/>
                  <a:gd name="connsiteX3" fmla="*/ 4942 w 9884"/>
                  <a:gd name="connsiteY3" fmla="*/ 0 h 102402"/>
                  <a:gd name="connsiteX4" fmla="*/ 9885 w 9884"/>
                  <a:gd name="connsiteY4" fmla="*/ 4942 h 102402"/>
                  <a:gd name="connsiteX5" fmla="*/ 9885 w 9884"/>
                  <a:gd name="connsiteY5" fmla="*/ 97488 h 102402"/>
                  <a:gd name="connsiteX6" fmla="*/ 4942 w 9884"/>
                  <a:gd name="connsiteY6" fmla="*/ 102403 h 10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 h="102402">
                    <a:moveTo>
                      <a:pt x="4942" y="102403"/>
                    </a:moveTo>
                    <a:cubicBezTo>
                      <a:pt x="2221" y="102403"/>
                      <a:pt x="0" y="100182"/>
                      <a:pt x="0" y="97460"/>
                    </a:cubicBezTo>
                    <a:lnTo>
                      <a:pt x="0" y="4942"/>
                    </a:lnTo>
                    <a:cubicBezTo>
                      <a:pt x="0" y="2221"/>
                      <a:pt x="2221" y="0"/>
                      <a:pt x="4942" y="0"/>
                    </a:cubicBezTo>
                    <a:cubicBezTo>
                      <a:pt x="7664" y="0"/>
                      <a:pt x="9885" y="2221"/>
                      <a:pt x="9885" y="4942"/>
                    </a:cubicBezTo>
                    <a:lnTo>
                      <a:pt x="9885" y="97488"/>
                    </a:lnTo>
                    <a:cubicBezTo>
                      <a:pt x="9885" y="100182"/>
                      <a:pt x="7664" y="102403"/>
                      <a:pt x="4942" y="102403"/>
                    </a:cubicBezTo>
                    <a:close/>
                  </a:path>
                </a:pathLst>
              </a:custGeom>
              <a:solidFill>
                <a:schemeClr val="accent1"/>
              </a:solidFill>
              <a:ln w="2771" cap="flat">
                <a:noFill/>
                <a:prstDash val="solid"/>
                <a:miter/>
              </a:ln>
            </p:spPr>
            <p:txBody>
              <a:bodyPr rtlCol="0" anchor="ctr"/>
              <a:lstStyle/>
              <a:p>
                <a:endParaRPr lang="en-GB" dirty="0"/>
              </a:p>
            </p:txBody>
          </p:sp>
          <p:sp>
            <p:nvSpPr>
              <p:cNvPr id="563" name="Freihandform: Form 388">
                <a:extLst>
                  <a:ext uri="{FF2B5EF4-FFF2-40B4-BE49-F238E27FC236}">
                    <a16:creationId xmlns:a16="http://schemas.microsoft.com/office/drawing/2014/main" id="{D6083F5D-4577-458B-8F3C-DB26661A2634}"/>
                  </a:ext>
                </a:extLst>
              </p:cNvPr>
              <p:cNvSpPr/>
              <p:nvPr/>
            </p:nvSpPr>
            <p:spPr>
              <a:xfrm>
                <a:off x="1968109" y="2073684"/>
                <a:ext cx="9884" cy="102430"/>
              </a:xfrm>
              <a:custGeom>
                <a:avLst/>
                <a:gdLst>
                  <a:gd name="connsiteX0" fmla="*/ 4942 w 9884"/>
                  <a:gd name="connsiteY0" fmla="*/ 102431 h 102430"/>
                  <a:gd name="connsiteX1" fmla="*/ 0 w 9884"/>
                  <a:gd name="connsiteY1" fmla="*/ 97488 h 102430"/>
                  <a:gd name="connsiteX2" fmla="*/ 0 w 9884"/>
                  <a:gd name="connsiteY2" fmla="*/ 4942 h 102430"/>
                  <a:gd name="connsiteX3" fmla="*/ 4942 w 9884"/>
                  <a:gd name="connsiteY3" fmla="*/ 0 h 102430"/>
                  <a:gd name="connsiteX4" fmla="*/ 9885 w 9884"/>
                  <a:gd name="connsiteY4" fmla="*/ 4942 h 102430"/>
                  <a:gd name="connsiteX5" fmla="*/ 9885 w 9884"/>
                  <a:gd name="connsiteY5" fmla="*/ 97488 h 102430"/>
                  <a:gd name="connsiteX6" fmla="*/ 4942 w 9884"/>
                  <a:gd name="connsiteY6" fmla="*/ 102431 h 102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4" h="102430">
                    <a:moveTo>
                      <a:pt x="4942" y="102431"/>
                    </a:moveTo>
                    <a:cubicBezTo>
                      <a:pt x="2221" y="102431"/>
                      <a:pt x="0" y="100209"/>
                      <a:pt x="0" y="97488"/>
                    </a:cubicBezTo>
                    <a:lnTo>
                      <a:pt x="0" y="4942"/>
                    </a:lnTo>
                    <a:cubicBezTo>
                      <a:pt x="0" y="2221"/>
                      <a:pt x="2221" y="0"/>
                      <a:pt x="4942" y="0"/>
                    </a:cubicBezTo>
                    <a:cubicBezTo>
                      <a:pt x="7664" y="0"/>
                      <a:pt x="9885" y="2221"/>
                      <a:pt x="9885" y="4942"/>
                    </a:cubicBezTo>
                    <a:lnTo>
                      <a:pt x="9885" y="97488"/>
                    </a:lnTo>
                    <a:cubicBezTo>
                      <a:pt x="9885" y="100237"/>
                      <a:pt x="7664" y="102431"/>
                      <a:pt x="4942" y="102431"/>
                    </a:cubicBezTo>
                    <a:close/>
                  </a:path>
                </a:pathLst>
              </a:custGeom>
              <a:solidFill>
                <a:schemeClr val="accent1"/>
              </a:solidFill>
              <a:ln w="2771" cap="flat">
                <a:noFill/>
                <a:prstDash val="solid"/>
                <a:miter/>
              </a:ln>
            </p:spPr>
            <p:txBody>
              <a:bodyPr rtlCol="0" anchor="ctr"/>
              <a:lstStyle/>
              <a:p>
                <a:endParaRPr lang="en-GB" dirty="0"/>
              </a:p>
            </p:txBody>
          </p:sp>
        </p:grpSp>
      </p:grpSp>
      <p:grpSp>
        <p:nvGrpSpPr>
          <p:cNvPr id="570" name="Group 569">
            <a:extLst>
              <a:ext uri="{FF2B5EF4-FFF2-40B4-BE49-F238E27FC236}">
                <a16:creationId xmlns:a16="http://schemas.microsoft.com/office/drawing/2014/main" id="{2A20BADE-C126-48B5-ABD8-1704AE8425BC}"/>
              </a:ext>
            </a:extLst>
          </p:cNvPr>
          <p:cNvGrpSpPr>
            <a:grpSpLocks noChangeAspect="1"/>
          </p:cNvGrpSpPr>
          <p:nvPr/>
        </p:nvGrpSpPr>
        <p:grpSpPr>
          <a:xfrm>
            <a:off x="7127351" y="4002613"/>
            <a:ext cx="344351" cy="431999"/>
            <a:chOff x="6962949" y="1687348"/>
            <a:chExt cx="424603" cy="532675"/>
          </a:xfrm>
        </p:grpSpPr>
        <p:grpSp>
          <p:nvGrpSpPr>
            <p:cNvPr id="571" name="Group 570">
              <a:extLst>
                <a:ext uri="{FF2B5EF4-FFF2-40B4-BE49-F238E27FC236}">
                  <a16:creationId xmlns:a16="http://schemas.microsoft.com/office/drawing/2014/main" id="{FA983801-92C9-4810-A3FE-3B0B1DBB2003}"/>
                </a:ext>
              </a:extLst>
            </p:cNvPr>
            <p:cNvGrpSpPr/>
            <p:nvPr/>
          </p:nvGrpSpPr>
          <p:grpSpPr>
            <a:xfrm>
              <a:off x="6962949" y="1713725"/>
              <a:ext cx="406282" cy="506298"/>
              <a:chOff x="6962940" y="1713727"/>
              <a:chExt cx="406281" cy="506298"/>
            </a:xfrm>
          </p:grpSpPr>
          <p:sp>
            <p:nvSpPr>
              <p:cNvPr id="575" name="Freihandform: Form 1045">
                <a:extLst>
                  <a:ext uri="{FF2B5EF4-FFF2-40B4-BE49-F238E27FC236}">
                    <a16:creationId xmlns:a16="http://schemas.microsoft.com/office/drawing/2014/main" id="{95C458AD-D378-422C-9624-85ABF8560EFE}"/>
                  </a:ext>
                </a:extLst>
              </p:cNvPr>
              <p:cNvSpPr/>
              <p:nvPr/>
            </p:nvSpPr>
            <p:spPr>
              <a:xfrm>
                <a:off x="7293277" y="1839941"/>
                <a:ext cx="75944" cy="372071"/>
              </a:xfrm>
              <a:custGeom>
                <a:avLst/>
                <a:gdLst>
                  <a:gd name="connsiteX0" fmla="*/ 14513 w 75944"/>
                  <a:gd name="connsiteY0" fmla="*/ 372071 h 372071"/>
                  <a:gd name="connsiteX1" fmla="*/ 9661 w 75944"/>
                  <a:gd name="connsiteY1" fmla="*/ 367727 h 372071"/>
                  <a:gd name="connsiteX2" fmla="*/ 803 w 75944"/>
                  <a:gd name="connsiteY2" fmla="*/ 230986 h 372071"/>
                  <a:gd name="connsiteX3" fmla="*/ 1044 w 75944"/>
                  <a:gd name="connsiteY3" fmla="*/ 230189 h 372071"/>
                  <a:gd name="connsiteX4" fmla="*/ 13475 w 75944"/>
                  <a:gd name="connsiteY4" fmla="*/ 206703 h 372071"/>
                  <a:gd name="connsiteX5" fmla="*/ 65782 w 75944"/>
                  <a:gd name="connsiteY5" fmla="*/ 56349 h 372071"/>
                  <a:gd name="connsiteX6" fmla="*/ 65878 w 75944"/>
                  <a:gd name="connsiteY6" fmla="*/ 54104 h 372071"/>
                  <a:gd name="connsiteX7" fmla="*/ 66144 w 75944"/>
                  <a:gd name="connsiteY7" fmla="*/ 43000 h 372071"/>
                  <a:gd name="connsiteX8" fmla="*/ 63489 w 75944"/>
                  <a:gd name="connsiteY8" fmla="*/ 5683 h 372071"/>
                  <a:gd name="connsiteX9" fmla="*/ 67495 w 75944"/>
                  <a:gd name="connsiteY9" fmla="*/ 59 h 372071"/>
                  <a:gd name="connsiteX10" fmla="*/ 73120 w 75944"/>
                  <a:gd name="connsiteY10" fmla="*/ 4066 h 372071"/>
                  <a:gd name="connsiteX11" fmla="*/ 75920 w 75944"/>
                  <a:gd name="connsiteY11" fmla="*/ 43145 h 372071"/>
                  <a:gd name="connsiteX12" fmla="*/ 75654 w 75944"/>
                  <a:gd name="connsiteY12" fmla="*/ 54562 h 372071"/>
                  <a:gd name="connsiteX13" fmla="*/ 75558 w 75944"/>
                  <a:gd name="connsiteY13" fmla="*/ 56759 h 372071"/>
                  <a:gd name="connsiteX14" fmla="*/ 21996 w 75944"/>
                  <a:gd name="connsiteY14" fmla="*/ 211531 h 372071"/>
                  <a:gd name="connsiteX15" fmla="*/ 10361 w 75944"/>
                  <a:gd name="connsiteY15" fmla="*/ 233351 h 372071"/>
                  <a:gd name="connsiteX16" fmla="*/ 19437 w 75944"/>
                  <a:gd name="connsiteY16" fmla="*/ 366665 h 372071"/>
                  <a:gd name="connsiteX17" fmla="*/ 15116 w 75944"/>
                  <a:gd name="connsiteY17" fmla="*/ 372047 h 372071"/>
                  <a:gd name="connsiteX18" fmla="*/ 14513 w 75944"/>
                  <a:gd name="connsiteY18" fmla="*/ 372071 h 372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5944" h="372071">
                    <a:moveTo>
                      <a:pt x="14513" y="372071"/>
                    </a:moveTo>
                    <a:cubicBezTo>
                      <a:pt x="12051" y="372071"/>
                      <a:pt x="9927" y="370213"/>
                      <a:pt x="9661" y="367727"/>
                    </a:cubicBezTo>
                    <a:cubicBezTo>
                      <a:pt x="8334" y="355730"/>
                      <a:pt x="-3083" y="249910"/>
                      <a:pt x="803" y="230986"/>
                    </a:cubicBezTo>
                    <a:cubicBezTo>
                      <a:pt x="851" y="230720"/>
                      <a:pt x="947" y="230431"/>
                      <a:pt x="1044" y="230189"/>
                    </a:cubicBezTo>
                    <a:cubicBezTo>
                      <a:pt x="3241" y="224565"/>
                      <a:pt x="7754" y="216672"/>
                      <a:pt x="13475" y="206703"/>
                    </a:cubicBezTo>
                    <a:cubicBezTo>
                      <a:pt x="32013" y="174262"/>
                      <a:pt x="63054" y="119928"/>
                      <a:pt x="65782" y="56349"/>
                    </a:cubicBezTo>
                    <a:lnTo>
                      <a:pt x="65878" y="54104"/>
                    </a:lnTo>
                    <a:cubicBezTo>
                      <a:pt x="65975" y="51811"/>
                      <a:pt x="66023" y="50942"/>
                      <a:pt x="66144" y="43000"/>
                    </a:cubicBezTo>
                    <a:cubicBezTo>
                      <a:pt x="66337" y="29918"/>
                      <a:pt x="65468" y="17366"/>
                      <a:pt x="63489" y="5683"/>
                    </a:cubicBezTo>
                    <a:cubicBezTo>
                      <a:pt x="63030" y="3028"/>
                      <a:pt x="64840" y="494"/>
                      <a:pt x="67495" y="59"/>
                    </a:cubicBezTo>
                    <a:cubicBezTo>
                      <a:pt x="70175" y="-351"/>
                      <a:pt x="72685" y="1411"/>
                      <a:pt x="73120" y="4066"/>
                    </a:cubicBezTo>
                    <a:cubicBezTo>
                      <a:pt x="75195" y="16352"/>
                      <a:pt x="76113" y="29483"/>
                      <a:pt x="75920" y="43145"/>
                    </a:cubicBezTo>
                    <a:cubicBezTo>
                      <a:pt x="75799" y="51328"/>
                      <a:pt x="75751" y="52221"/>
                      <a:pt x="75654" y="54562"/>
                    </a:cubicBezTo>
                    <a:lnTo>
                      <a:pt x="75558" y="56759"/>
                    </a:lnTo>
                    <a:cubicBezTo>
                      <a:pt x="72733" y="122728"/>
                      <a:pt x="40968" y="178317"/>
                      <a:pt x="21996" y="211531"/>
                    </a:cubicBezTo>
                    <a:cubicBezTo>
                      <a:pt x="16637" y="220920"/>
                      <a:pt x="12365" y="228379"/>
                      <a:pt x="10361" y="233351"/>
                    </a:cubicBezTo>
                    <a:cubicBezTo>
                      <a:pt x="7561" y="249186"/>
                      <a:pt x="15937" y="334754"/>
                      <a:pt x="19437" y="366665"/>
                    </a:cubicBezTo>
                    <a:cubicBezTo>
                      <a:pt x="19727" y="369344"/>
                      <a:pt x="17796" y="371758"/>
                      <a:pt x="15116" y="372047"/>
                    </a:cubicBezTo>
                    <a:cubicBezTo>
                      <a:pt x="14875" y="372047"/>
                      <a:pt x="14706" y="372071"/>
                      <a:pt x="14513" y="372071"/>
                    </a:cubicBezTo>
                    <a:close/>
                  </a:path>
                </a:pathLst>
              </a:custGeom>
              <a:solidFill>
                <a:schemeClr val="tx2"/>
              </a:solidFill>
              <a:ln w="2407" cap="flat">
                <a:noFill/>
                <a:prstDash val="solid"/>
                <a:miter/>
              </a:ln>
            </p:spPr>
            <p:txBody>
              <a:bodyPr rtlCol="0" anchor="ctr"/>
              <a:lstStyle/>
              <a:p>
                <a:endParaRPr lang="en-GB" dirty="0"/>
              </a:p>
            </p:txBody>
          </p:sp>
          <p:sp>
            <p:nvSpPr>
              <p:cNvPr id="576" name="Freihandform: Form 1046">
                <a:extLst>
                  <a:ext uri="{FF2B5EF4-FFF2-40B4-BE49-F238E27FC236}">
                    <a16:creationId xmlns:a16="http://schemas.microsoft.com/office/drawing/2014/main" id="{22A0B593-3C8A-4A64-AF7B-633993E7E326}"/>
                  </a:ext>
                </a:extLst>
              </p:cNvPr>
              <p:cNvSpPr/>
              <p:nvPr/>
            </p:nvSpPr>
            <p:spPr>
              <a:xfrm>
                <a:off x="6962940" y="1713727"/>
                <a:ext cx="255963" cy="506298"/>
              </a:xfrm>
              <a:custGeom>
                <a:avLst/>
                <a:gdLst>
                  <a:gd name="connsiteX0" fmla="*/ 141030 w 255963"/>
                  <a:gd name="connsiteY0" fmla="*/ 506299 h 506298"/>
                  <a:gd name="connsiteX1" fmla="*/ 140765 w 255963"/>
                  <a:gd name="connsiteY1" fmla="*/ 506299 h 506298"/>
                  <a:gd name="connsiteX2" fmla="*/ 136154 w 255963"/>
                  <a:gd name="connsiteY2" fmla="*/ 501157 h 506298"/>
                  <a:gd name="connsiteX3" fmla="*/ 59734 w 255963"/>
                  <a:gd name="connsiteY3" fmla="*/ 406223 h 506298"/>
                  <a:gd name="connsiteX4" fmla="*/ 58696 w 255963"/>
                  <a:gd name="connsiteY4" fmla="*/ 406127 h 506298"/>
                  <a:gd name="connsiteX5" fmla="*/ 40424 w 255963"/>
                  <a:gd name="connsiteY5" fmla="*/ 395917 h 506298"/>
                  <a:gd name="connsiteX6" fmla="*/ 33569 w 255963"/>
                  <a:gd name="connsiteY6" fmla="*/ 356958 h 506298"/>
                  <a:gd name="connsiteX7" fmla="*/ 30962 w 255963"/>
                  <a:gd name="connsiteY7" fmla="*/ 336248 h 506298"/>
                  <a:gd name="connsiteX8" fmla="*/ 31155 w 255963"/>
                  <a:gd name="connsiteY8" fmla="*/ 335958 h 506298"/>
                  <a:gd name="connsiteX9" fmla="*/ 26858 w 255963"/>
                  <a:gd name="connsiteY9" fmla="*/ 316865 h 506298"/>
                  <a:gd name="connsiteX10" fmla="*/ 27269 w 255963"/>
                  <a:gd name="connsiteY10" fmla="*/ 296662 h 506298"/>
                  <a:gd name="connsiteX11" fmla="*/ 23141 w 255963"/>
                  <a:gd name="connsiteY11" fmla="*/ 295334 h 506298"/>
                  <a:gd name="connsiteX12" fmla="*/ 4845 w 255963"/>
                  <a:gd name="connsiteY12" fmla="*/ 288576 h 506298"/>
                  <a:gd name="connsiteX13" fmla="*/ 3831 w 255963"/>
                  <a:gd name="connsiteY13" fmla="*/ 287851 h 506298"/>
                  <a:gd name="connsiteX14" fmla="*/ 22755 w 255963"/>
                  <a:gd name="connsiteY14" fmla="*/ 237186 h 506298"/>
                  <a:gd name="connsiteX15" fmla="*/ 32265 w 255963"/>
                  <a:gd name="connsiteY15" fmla="*/ 223959 h 506298"/>
                  <a:gd name="connsiteX16" fmla="*/ 43079 w 255963"/>
                  <a:gd name="connsiteY16" fmla="*/ 202162 h 506298"/>
                  <a:gd name="connsiteX17" fmla="*/ 41486 w 255963"/>
                  <a:gd name="connsiteY17" fmla="*/ 200666 h 506298"/>
                  <a:gd name="connsiteX18" fmla="*/ 40762 w 255963"/>
                  <a:gd name="connsiteY18" fmla="*/ 200255 h 506298"/>
                  <a:gd name="connsiteX19" fmla="*/ 33279 w 255963"/>
                  <a:gd name="connsiteY19" fmla="*/ 172038 h 506298"/>
                  <a:gd name="connsiteX20" fmla="*/ 33906 w 255963"/>
                  <a:gd name="connsiteY20" fmla="*/ 168659 h 506298"/>
                  <a:gd name="connsiteX21" fmla="*/ 88579 w 255963"/>
                  <a:gd name="connsiteY21" fmla="*/ 44542 h 506298"/>
                  <a:gd name="connsiteX22" fmla="*/ 251413 w 255963"/>
                  <a:gd name="connsiteY22" fmla="*/ 756 h 506298"/>
                  <a:gd name="connsiteX23" fmla="*/ 255950 w 255963"/>
                  <a:gd name="connsiteY23" fmla="*/ 5970 h 506298"/>
                  <a:gd name="connsiteX24" fmla="*/ 250737 w 255963"/>
                  <a:gd name="connsiteY24" fmla="*/ 10508 h 506298"/>
                  <a:gd name="connsiteX25" fmla="*/ 94999 w 255963"/>
                  <a:gd name="connsiteY25" fmla="*/ 51880 h 506298"/>
                  <a:gd name="connsiteX26" fmla="*/ 43586 w 255963"/>
                  <a:gd name="connsiteY26" fmla="*/ 169721 h 506298"/>
                  <a:gd name="connsiteX27" fmla="*/ 42862 w 255963"/>
                  <a:gd name="connsiteY27" fmla="*/ 173897 h 506298"/>
                  <a:gd name="connsiteX28" fmla="*/ 46120 w 255963"/>
                  <a:gd name="connsiteY28" fmla="*/ 192048 h 506298"/>
                  <a:gd name="connsiteX29" fmla="*/ 52589 w 255963"/>
                  <a:gd name="connsiteY29" fmla="*/ 199917 h 506298"/>
                  <a:gd name="connsiteX30" fmla="*/ 40255 w 255963"/>
                  <a:gd name="connsiteY30" fmla="*/ 229559 h 506298"/>
                  <a:gd name="connsiteX31" fmla="*/ 30600 w 255963"/>
                  <a:gd name="connsiteY31" fmla="*/ 242979 h 506298"/>
                  <a:gd name="connsiteX32" fmla="*/ 10131 w 255963"/>
                  <a:gd name="connsiteY32" fmla="*/ 280248 h 506298"/>
                  <a:gd name="connsiteX33" fmla="*/ 26134 w 255963"/>
                  <a:gd name="connsiteY33" fmla="*/ 285993 h 506298"/>
                  <a:gd name="connsiteX34" fmla="*/ 30793 w 255963"/>
                  <a:gd name="connsiteY34" fmla="*/ 287514 h 506298"/>
                  <a:gd name="connsiteX35" fmla="*/ 31541 w 255963"/>
                  <a:gd name="connsiteY35" fmla="*/ 287827 h 506298"/>
                  <a:gd name="connsiteX36" fmla="*/ 35451 w 255963"/>
                  <a:gd name="connsiteY36" fmla="*/ 321548 h 506298"/>
                  <a:gd name="connsiteX37" fmla="*/ 35065 w 255963"/>
                  <a:gd name="connsiteY37" fmla="*/ 322200 h 506298"/>
                  <a:gd name="connsiteX38" fmla="*/ 33810 w 255963"/>
                  <a:gd name="connsiteY38" fmla="*/ 324300 h 506298"/>
                  <a:gd name="connsiteX39" fmla="*/ 38444 w 255963"/>
                  <a:gd name="connsiteY39" fmla="*/ 329369 h 506298"/>
                  <a:gd name="connsiteX40" fmla="*/ 39000 w 255963"/>
                  <a:gd name="connsiteY40" fmla="*/ 341775 h 506298"/>
                  <a:gd name="connsiteX41" fmla="*/ 42379 w 255963"/>
                  <a:gd name="connsiteY41" fmla="*/ 352299 h 506298"/>
                  <a:gd name="connsiteX42" fmla="*/ 43489 w 255963"/>
                  <a:gd name="connsiteY42" fmla="*/ 356427 h 506298"/>
                  <a:gd name="connsiteX43" fmla="*/ 48244 w 255963"/>
                  <a:gd name="connsiteY43" fmla="*/ 390099 h 506298"/>
                  <a:gd name="connsiteX44" fmla="*/ 59686 w 255963"/>
                  <a:gd name="connsiteY44" fmla="*/ 396399 h 506298"/>
                  <a:gd name="connsiteX45" fmla="*/ 60724 w 255963"/>
                  <a:gd name="connsiteY45" fmla="*/ 396496 h 506298"/>
                  <a:gd name="connsiteX46" fmla="*/ 145882 w 255963"/>
                  <a:gd name="connsiteY46" fmla="*/ 501689 h 506298"/>
                  <a:gd name="connsiteX47" fmla="*/ 141030 w 255963"/>
                  <a:gd name="connsiteY47" fmla="*/ 506299 h 506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55963" h="506298">
                    <a:moveTo>
                      <a:pt x="141030" y="506299"/>
                    </a:moveTo>
                    <a:cubicBezTo>
                      <a:pt x="140934" y="506299"/>
                      <a:pt x="140837" y="506299"/>
                      <a:pt x="140765" y="506299"/>
                    </a:cubicBezTo>
                    <a:cubicBezTo>
                      <a:pt x="138061" y="506154"/>
                      <a:pt x="136009" y="503837"/>
                      <a:pt x="136154" y="501157"/>
                    </a:cubicBezTo>
                    <a:cubicBezTo>
                      <a:pt x="140934" y="414647"/>
                      <a:pt x="86092" y="408951"/>
                      <a:pt x="59734" y="406223"/>
                    </a:cubicBezTo>
                    <a:lnTo>
                      <a:pt x="58696" y="406127"/>
                    </a:lnTo>
                    <a:cubicBezTo>
                      <a:pt x="50996" y="405306"/>
                      <a:pt x="44841" y="401879"/>
                      <a:pt x="40424" y="395917"/>
                    </a:cubicBezTo>
                    <a:cubicBezTo>
                      <a:pt x="31131" y="383389"/>
                      <a:pt x="32675" y="363717"/>
                      <a:pt x="33569" y="356958"/>
                    </a:cubicBezTo>
                    <a:cubicBezTo>
                      <a:pt x="25651" y="347037"/>
                      <a:pt x="27582" y="341124"/>
                      <a:pt x="30962" y="336248"/>
                    </a:cubicBezTo>
                    <a:cubicBezTo>
                      <a:pt x="31034" y="336151"/>
                      <a:pt x="31107" y="336055"/>
                      <a:pt x="31155" y="335958"/>
                    </a:cubicBezTo>
                    <a:cubicBezTo>
                      <a:pt x="24927" y="329369"/>
                      <a:pt x="21186" y="325048"/>
                      <a:pt x="26858" y="316865"/>
                    </a:cubicBezTo>
                    <a:cubicBezTo>
                      <a:pt x="32603" y="305255"/>
                      <a:pt x="30744" y="298786"/>
                      <a:pt x="27269" y="296662"/>
                    </a:cubicBezTo>
                    <a:lnTo>
                      <a:pt x="23141" y="295334"/>
                    </a:lnTo>
                    <a:cubicBezTo>
                      <a:pt x="16624" y="293234"/>
                      <a:pt x="9214" y="290869"/>
                      <a:pt x="4845" y="288576"/>
                    </a:cubicBezTo>
                    <a:cubicBezTo>
                      <a:pt x="4482" y="288382"/>
                      <a:pt x="4120" y="288141"/>
                      <a:pt x="3831" y="287851"/>
                    </a:cubicBezTo>
                    <a:cubicBezTo>
                      <a:pt x="-7321" y="277617"/>
                      <a:pt x="7982" y="257076"/>
                      <a:pt x="22755" y="237186"/>
                    </a:cubicBezTo>
                    <a:cubicBezTo>
                      <a:pt x="26351" y="232359"/>
                      <a:pt x="29755" y="227772"/>
                      <a:pt x="32265" y="223959"/>
                    </a:cubicBezTo>
                    <a:cubicBezTo>
                      <a:pt x="43537" y="208969"/>
                      <a:pt x="43393" y="203490"/>
                      <a:pt x="43079" y="202162"/>
                    </a:cubicBezTo>
                    <a:cubicBezTo>
                      <a:pt x="42910" y="201462"/>
                      <a:pt x="42596" y="201221"/>
                      <a:pt x="41486" y="200666"/>
                    </a:cubicBezTo>
                    <a:cubicBezTo>
                      <a:pt x="41317" y="200593"/>
                      <a:pt x="40907" y="200352"/>
                      <a:pt x="40762" y="200255"/>
                    </a:cubicBezTo>
                    <a:cubicBezTo>
                      <a:pt x="29248" y="192700"/>
                      <a:pt x="31686" y="180269"/>
                      <a:pt x="33279" y="172038"/>
                    </a:cubicBezTo>
                    <a:cubicBezTo>
                      <a:pt x="33520" y="170855"/>
                      <a:pt x="33737" y="169721"/>
                      <a:pt x="33906" y="168659"/>
                    </a:cubicBezTo>
                    <a:cubicBezTo>
                      <a:pt x="37358" y="115169"/>
                      <a:pt x="55751" y="73266"/>
                      <a:pt x="88579" y="44542"/>
                    </a:cubicBezTo>
                    <a:cubicBezTo>
                      <a:pt x="139220" y="225"/>
                      <a:pt x="212357" y="-1899"/>
                      <a:pt x="251413" y="756"/>
                    </a:cubicBezTo>
                    <a:cubicBezTo>
                      <a:pt x="254116" y="949"/>
                      <a:pt x="256143" y="3266"/>
                      <a:pt x="255950" y="5970"/>
                    </a:cubicBezTo>
                    <a:cubicBezTo>
                      <a:pt x="255757" y="8673"/>
                      <a:pt x="253247" y="10701"/>
                      <a:pt x="250737" y="10508"/>
                    </a:cubicBezTo>
                    <a:cubicBezTo>
                      <a:pt x="213154" y="7949"/>
                      <a:pt x="142985" y="9904"/>
                      <a:pt x="94999" y="51880"/>
                    </a:cubicBezTo>
                    <a:cubicBezTo>
                      <a:pt x="64199" y="78818"/>
                      <a:pt x="46917" y="118476"/>
                      <a:pt x="43586" y="169721"/>
                    </a:cubicBezTo>
                    <a:cubicBezTo>
                      <a:pt x="43344" y="171338"/>
                      <a:pt x="43103" y="172593"/>
                      <a:pt x="42862" y="173897"/>
                    </a:cubicBezTo>
                    <a:cubicBezTo>
                      <a:pt x="41172" y="182466"/>
                      <a:pt x="40496" y="188379"/>
                      <a:pt x="46120" y="192048"/>
                    </a:cubicBezTo>
                    <a:cubicBezTo>
                      <a:pt x="47400" y="192652"/>
                      <a:pt x="51382" y="194679"/>
                      <a:pt x="52589" y="199917"/>
                    </a:cubicBezTo>
                    <a:cubicBezTo>
                      <a:pt x="54206" y="206821"/>
                      <a:pt x="50272" y="216235"/>
                      <a:pt x="40255" y="229559"/>
                    </a:cubicBezTo>
                    <a:cubicBezTo>
                      <a:pt x="37744" y="233348"/>
                      <a:pt x="34269" y="238031"/>
                      <a:pt x="30600" y="242979"/>
                    </a:cubicBezTo>
                    <a:cubicBezTo>
                      <a:pt x="23358" y="252707"/>
                      <a:pt x="6679" y="275155"/>
                      <a:pt x="10131" y="280248"/>
                    </a:cubicBezTo>
                    <a:cubicBezTo>
                      <a:pt x="13920" y="282083"/>
                      <a:pt x="20679" y="284231"/>
                      <a:pt x="26134" y="285993"/>
                    </a:cubicBezTo>
                    <a:lnTo>
                      <a:pt x="30793" y="287514"/>
                    </a:lnTo>
                    <a:cubicBezTo>
                      <a:pt x="31058" y="287586"/>
                      <a:pt x="31300" y="287707"/>
                      <a:pt x="31541" y="287827"/>
                    </a:cubicBezTo>
                    <a:cubicBezTo>
                      <a:pt x="39120" y="291834"/>
                      <a:pt x="44720" y="303082"/>
                      <a:pt x="35451" y="321548"/>
                    </a:cubicBezTo>
                    <a:cubicBezTo>
                      <a:pt x="35331" y="321789"/>
                      <a:pt x="35210" y="321982"/>
                      <a:pt x="35065" y="322200"/>
                    </a:cubicBezTo>
                    <a:cubicBezTo>
                      <a:pt x="33979" y="323696"/>
                      <a:pt x="33834" y="324227"/>
                      <a:pt x="33810" y="324300"/>
                    </a:cubicBezTo>
                    <a:cubicBezTo>
                      <a:pt x="34075" y="324758"/>
                      <a:pt x="36296" y="327100"/>
                      <a:pt x="38444" y="329369"/>
                    </a:cubicBezTo>
                    <a:cubicBezTo>
                      <a:pt x="43706" y="334920"/>
                      <a:pt x="40424" y="339724"/>
                      <a:pt x="39000" y="341775"/>
                    </a:cubicBezTo>
                    <a:cubicBezTo>
                      <a:pt x="37575" y="343851"/>
                      <a:pt x="36441" y="345493"/>
                      <a:pt x="42379" y="352299"/>
                    </a:cubicBezTo>
                    <a:cubicBezTo>
                      <a:pt x="43369" y="353434"/>
                      <a:pt x="43779" y="354955"/>
                      <a:pt x="43489" y="356427"/>
                    </a:cubicBezTo>
                    <a:cubicBezTo>
                      <a:pt x="42427" y="362051"/>
                      <a:pt x="41003" y="380323"/>
                      <a:pt x="48244" y="390099"/>
                    </a:cubicBezTo>
                    <a:cubicBezTo>
                      <a:pt x="51020" y="393817"/>
                      <a:pt x="54762" y="395892"/>
                      <a:pt x="59686" y="396399"/>
                    </a:cubicBezTo>
                    <a:lnTo>
                      <a:pt x="60724" y="396496"/>
                    </a:lnTo>
                    <a:cubicBezTo>
                      <a:pt x="85465" y="399054"/>
                      <a:pt x="151192" y="405885"/>
                      <a:pt x="145882" y="501689"/>
                    </a:cubicBezTo>
                    <a:cubicBezTo>
                      <a:pt x="145761" y="504271"/>
                      <a:pt x="143613" y="506299"/>
                      <a:pt x="141030" y="506299"/>
                    </a:cubicBezTo>
                    <a:close/>
                  </a:path>
                </a:pathLst>
              </a:custGeom>
              <a:solidFill>
                <a:schemeClr val="tx2"/>
              </a:solidFill>
              <a:ln w="2407" cap="flat">
                <a:noFill/>
                <a:prstDash val="solid"/>
                <a:miter/>
              </a:ln>
            </p:spPr>
            <p:txBody>
              <a:bodyPr rtlCol="0" anchor="ctr"/>
              <a:lstStyle/>
              <a:p>
                <a:endParaRPr lang="en-GB" dirty="0"/>
              </a:p>
            </p:txBody>
          </p:sp>
          <p:sp>
            <p:nvSpPr>
              <p:cNvPr id="577" name="Freihandform: Form 1047">
                <a:extLst>
                  <a:ext uri="{FF2B5EF4-FFF2-40B4-BE49-F238E27FC236}">
                    <a16:creationId xmlns:a16="http://schemas.microsoft.com/office/drawing/2014/main" id="{C37BDB4C-B177-44E2-877D-473202BFD6A2}"/>
                  </a:ext>
                </a:extLst>
              </p:cNvPr>
              <p:cNvSpPr/>
              <p:nvPr/>
            </p:nvSpPr>
            <p:spPr>
              <a:xfrm>
                <a:off x="7138032" y="1742269"/>
                <a:ext cx="108927" cy="125730"/>
              </a:xfrm>
              <a:custGeom>
                <a:avLst/>
                <a:gdLst>
                  <a:gd name="connsiteX0" fmla="*/ 4897 w 108927"/>
                  <a:gd name="connsiteY0" fmla="*/ 125730 h 125730"/>
                  <a:gd name="connsiteX1" fmla="*/ 1710 w 108927"/>
                  <a:gd name="connsiteY1" fmla="*/ 124548 h 125730"/>
                  <a:gd name="connsiteX2" fmla="*/ 1179 w 108927"/>
                  <a:gd name="connsiteY2" fmla="*/ 117668 h 125730"/>
                  <a:gd name="connsiteX3" fmla="*/ 100337 w 108927"/>
                  <a:gd name="connsiteY3" fmla="*/ 1710 h 125730"/>
                  <a:gd name="connsiteX4" fmla="*/ 107217 w 108927"/>
                  <a:gd name="connsiteY4" fmla="*/ 1179 h 125730"/>
                  <a:gd name="connsiteX5" fmla="*/ 107748 w 108927"/>
                  <a:gd name="connsiteY5" fmla="*/ 8059 h 125730"/>
                  <a:gd name="connsiteX6" fmla="*/ 8590 w 108927"/>
                  <a:gd name="connsiteY6" fmla="*/ 124017 h 125730"/>
                  <a:gd name="connsiteX7" fmla="*/ 4897 w 108927"/>
                  <a:gd name="connsiteY7" fmla="*/ 125730 h 125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927" h="125730">
                    <a:moveTo>
                      <a:pt x="4897" y="125730"/>
                    </a:moveTo>
                    <a:cubicBezTo>
                      <a:pt x="3762" y="125730"/>
                      <a:pt x="2652" y="125344"/>
                      <a:pt x="1710" y="124548"/>
                    </a:cubicBezTo>
                    <a:cubicBezTo>
                      <a:pt x="-341" y="122786"/>
                      <a:pt x="-583" y="119720"/>
                      <a:pt x="1179" y="117668"/>
                    </a:cubicBezTo>
                    <a:lnTo>
                      <a:pt x="100337" y="1710"/>
                    </a:lnTo>
                    <a:cubicBezTo>
                      <a:pt x="102100" y="-341"/>
                      <a:pt x="105189" y="-583"/>
                      <a:pt x="107217" y="1179"/>
                    </a:cubicBezTo>
                    <a:cubicBezTo>
                      <a:pt x="109268" y="2941"/>
                      <a:pt x="109510" y="6007"/>
                      <a:pt x="107748" y="8059"/>
                    </a:cubicBezTo>
                    <a:lnTo>
                      <a:pt x="8590" y="124017"/>
                    </a:lnTo>
                    <a:cubicBezTo>
                      <a:pt x="7648" y="125151"/>
                      <a:pt x="6272" y="125730"/>
                      <a:pt x="4897" y="125730"/>
                    </a:cubicBezTo>
                    <a:close/>
                  </a:path>
                </a:pathLst>
              </a:custGeom>
              <a:solidFill>
                <a:schemeClr val="tx2"/>
              </a:solidFill>
              <a:ln w="2407" cap="flat">
                <a:noFill/>
                <a:prstDash val="solid"/>
                <a:miter/>
              </a:ln>
            </p:spPr>
            <p:txBody>
              <a:bodyPr rtlCol="0" anchor="ctr"/>
              <a:lstStyle/>
              <a:p>
                <a:endParaRPr lang="en-GB" dirty="0"/>
              </a:p>
            </p:txBody>
          </p:sp>
          <p:sp>
            <p:nvSpPr>
              <p:cNvPr id="578" name="Freihandform: Form 1048">
                <a:extLst>
                  <a:ext uri="{FF2B5EF4-FFF2-40B4-BE49-F238E27FC236}">
                    <a16:creationId xmlns:a16="http://schemas.microsoft.com/office/drawing/2014/main" id="{36B87A63-F131-48B8-BAFC-727A26456E71}"/>
                  </a:ext>
                </a:extLst>
              </p:cNvPr>
              <p:cNvSpPr/>
              <p:nvPr/>
            </p:nvSpPr>
            <p:spPr>
              <a:xfrm>
                <a:off x="7201555" y="1830037"/>
                <a:ext cx="108025" cy="87928"/>
              </a:xfrm>
              <a:custGeom>
                <a:avLst/>
                <a:gdLst>
                  <a:gd name="connsiteX0" fmla="*/ 4880 w 108025"/>
                  <a:gd name="connsiteY0" fmla="*/ 87929 h 87928"/>
                  <a:gd name="connsiteX1" fmla="*/ 1067 w 108025"/>
                  <a:gd name="connsiteY1" fmla="*/ 86094 h 87928"/>
                  <a:gd name="connsiteX2" fmla="*/ 1839 w 108025"/>
                  <a:gd name="connsiteY2" fmla="*/ 79239 h 87928"/>
                  <a:gd name="connsiteX3" fmla="*/ 100104 w 108025"/>
                  <a:gd name="connsiteY3" fmla="*/ 1056 h 87928"/>
                  <a:gd name="connsiteX4" fmla="*/ 106959 w 108025"/>
                  <a:gd name="connsiteY4" fmla="*/ 1829 h 87928"/>
                  <a:gd name="connsiteX5" fmla="*/ 106187 w 108025"/>
                  <a:gd name="connsiteY5" fmla="*/ 8684 h 87928"/>
                  <a:gd name="connsiteX6" fmla="*/ 7922 w 108025"/>
                  <a:gd name="connsiteY6" fmla="*/ 86866 h 87928"/>
                  <a:gd name="connsiteX7" fmla="*/ 4880 w 108025"/>
                  <a:gd name="connsiteY7" fmla="*/ 87929 h 8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8025" h="87928">
                    <a:moveTo>
                      <a:pt x="4880" y="87929"/>
                    </a:moveTo>
                    <a:cubicBezTo>
                      <a:pt x="3456" y="87929"/>
                      <a:pt x="2032" y="87301"/>
                      <a:pt x="1067" y="86094"/>
                    </a:cubicBezTo>
                    <a:cubicBezTo>
                      <a:pt x="-623" y="83970"/>
                      <a:pt x="-261" y="80904"/>
                      <a:pt x="1839" y="79239"/>
                    </a:cubicBezTo>
                    <a:lnTo>
                      <a:pt x="100104" y="1056"/>
                    </a:lnTo>
                    <a:cubicBezTo>
                      <a:pt x="102204" y="-609"/>
                      <a:pt x="105294" y="-271"/>
                      <a:pt x="106959" y="1829"/>
                    </a:cubicBezTo>
                    <a:cubicBezTo>
                      <a:pt x="108649" y="3953"/>
                      <a:pt x="108287" y="7018"/>
                      <a:pt x="106187" y="8684"/>
                    </a:cubicBezTo>
                    <a:lnTo>
                      <a:pt x="7922" y="86866"/>
                    </a:lnTo>
                    <a:cubicBezTo>
                      <a:pt x="7029" y="87566"/>
                      <a:pt x="5967" y="87929"/>
                      <a:pt x="4880" y="87929"/>
                    </a:cubicBezTo>
                    <a:close/>
                  </a:path>
                </a:pathLst>
              </a:custGeom>
              <a:solidFill>
                <a:schemeClr val="tx2"/>
              </a:solidFill>
              <a:ln w="2407" cap="flat">
                <a:noFill/>
                <a:prstDash val="solid"/>
                <a:miter/>
              </a:ln>
            </p:spPr>
            <p:txBody>
              <a:bodyPr rtlCol="0" anchor="ctr"/>
              <a:lstStyle/>
              <a:p>
                <a:endParaRPr lang="en-GB" dirty="0"/>
              </a:p>
            </p:txBody>
          </p:sp>
        </p:grpSp>
        <p:grpSp>
          <p:nvGrpSpPr>
            <p:cNvPr id="572" name="Group 571">
              <a:extLst>
                <a:ext uri="{FF2B5EF4-FFF2-40B4-BE49-F238E27FC236}">
                  <a16:creationId xmlns:a16="http://schemas.microsoft.com/office/drawing/2014/main" id="{D11FFB78-7555-4465-875A-73F19FE90477}"/>
                </a:ext>
              </a:extLst>
            </p:cNvPr>
            <p:cNvGrpSpPr/>
            <p:nvPr/>
          </p:nvGrpSpPr>
          <p:grpSpPr>
            <a:xfrm>
              <a:off x="7091564" y="1687348"/>
              <a:ext cx="295988" cy="289199"/>
              <a:chOff x="7091564" y="1687348"/>
              <a:chExt cx="295988" cy="289199"/>
            </a:xfrm>
          </p:grpSpPr>
          <p:sp>
            <p:nvSpPr>
              <p:cNvPr id="573" name="Freihandform: Form 1049">
                <a:extLst>
                  <a:ext uri="{FF2B5EF4-FFF2-40B4-BE49-F238E27FC236}">
                    <a16:creationId xmlns:a16="http://schemas.microsoft.com/office/drawing/2014/main" id="{1848FD36-A6B8-4908-9367-A41D76A1645C}"/>
                  </a:ext>
                </a:extLst>
              </p:cNvPr>
              <p:cNvSpPr/>
              <p:nvPr/>
            </p:nvSpPr>
            <p:spPr>
              <a:xfrm>
                <a:off x="7216417" y="1687348"/>
                <a:ext cx="171135" cy="170513"/>
              </a:xfrm>
              <a:custGeom>
                <a:avLst/>
                <a:gdLst>
                  <a:gd name="connsiteX0" fmla="*/ 94462 w 171135"/>
                  <a:gd name="connsiteY0" fmla="*/ 170514 h 170513"/>
                  <a:gd name="connsiteX1" fmla="*/ 89707 w 171135"/>
                  <a:gd name="connsiteY1" fmla="*/ 166724 h 170513"/>
                  <a:gd name="connsiteX2" fmla="*/ 85821 w 171135"/>
                  <a:gd name="connsiteY2" fmla="*/ 149973 h 170513"/>
                  <a:gd name="connsiteX3" fmla="*/ 85459 w 171135"/>
                  <a:gd name="connsiteY3" fmla="*/ 149973 h 170513"/>
                  <a:gd name="connsiteX4" fmla="*/ 63059 w 171135"/>
                  <a:gd name="connsiteY4" fmla="*/ 145942 h 170513"/>
                  <a:gd name="connsiteX5" fmla="*/ 53669 w 171135"/>
                  <a:gd name="connsiteY5" fmla="*/ 160328 h 170513"/>
                  <a:gd name="connsiteX6" fmla="*/ 46911 w 171135"/>
                  <a:gd name="connsiteY6" fmla="*/ 161752 h 170513"/>
                  <a:gd name="connsiteX7" fmla="*/ 31076 w 171135"/>
                  <a:gd name="connsiteY7" fmla="*/ 151445 h 170513"/>
                  <a:gd name="connsiteX8" fmla="*/ 28952 w 171135"/>
                  <a:gd name="connsiteY8" fmla="*/ 148355 h 170513"/>
                  <a:gd name="connsiteX9" fmla="*/ 29652 w 171135"/>
                  <a:gd name="connsiteY9" fmla="*/ 144686 h 170513"/>
                  <a:gd name="connsiteX10" fmla="*/ 39042 w 171135"/>
                  <a:gd name="connsiteY10" fmla="*/ 130300 h 170513"/>
                  <a:gd name="connsiteX11" fmla="*/ 26201 w 171135"/>
                  <a:gd name="connsiteY11" fmla="*/ 111062 h 170513"/>
                  <a:gd name="connsiteX12" fmla="*/ 9304 w 171135"/>
                  <a:gd name="connsiteY12" fmla="*/ 114249 h 170513"/>
                  <a:gd name="connsiteX13" fmla="*/ 3608 w 171135"/>
                  <a:gd name="connsiteY13" fmla="*/ 110362 h 170513"/>
                  <a:gd name="connsiteX14" fmla="*/ 83 w 171135"/>
                  <a:gd name="connsiteY14" fmla="*/ 91776 h 170513"/>
                  <a:gd name="connsiteX15" fmla="*/ 856 w 171135"/>
                  <a:gd name="connsiteY15" fmla="*/ 88107 h 170513"/>
                  <a:gd name="connsiteX16" fmla="*/ 3994 w 171135"/>
                  <a:gd name="connsiteY16" fmla="*/ 86056 h 170513"/>
                  <a:gd name="connsiteX17" fmla="*/ 20914 w 171135"/>
                  <a:gd name="connsiteY17" fmla="*/ 82869 h 170513"/>
                  <a:gd name="connsiteX18" fmla="*/ 24897 w 171135"/>
                  <a:gd name="connsiteY18" fmla="*/ 62763 h 170513"/>
                  <a:gd name="connsiteX19" fmla="*/ 10535 w 171135"/>
                  <a:gd name="connsiteY19" fmla="*/ 53349 h 170513"/>
                  <a:gd name="connsiteX20" fmla="*/ 9111 w 171135"/>
                  <a:gd name="connsiteY20" fmla="*/ 46590 h 170513"/>
                  <a:gd name="connsiteX21" fmla="*/ 19442 w 171135"/>
                  <a:gd name="connsiteY21" fmla="*/ 30756 h 170513"/>
                  <a:gd name="connsiteX22" fmla="*/ 22532 w 171135"/>
                  <a:gd name="connsiteY22" fmla="*/ 28632 h 170513"/>
                  <a:gd name="connsiteX23" fmla="*/ 26201 w 171135"/>
                  <a:gd name="connsiteY23" fmla="*/ 29332 h 170513"/>
                  <a:gd name="connsiteX24" fmla="*/ 40563 w 171135"/>
                  <a:gd name="connsiteY24" fmla="*/ 38721 h 170513"/>
                  <a:gd name="connsiteX25" fmla="*/ 57387 w 171135"/>
                  <a:gd name="connsiteY25" fmla="*/ 26990 h 170513"/>
                  <a:gd name="connsiteX26" fmla="*/ 53500 w 171135"/>
                  <a:gd name="connsiteY26" fmla="*/ 10215 h 170513"/>
                  <a:gd name="connsiteX27" fmla="*/ 54128 w 171135"/>
                  <a:gd name="connsiteY27" fmla="*/ 6521 h 170513"/>
                  <a:gd name="connsiteX28" fmla="*/ 57169 w 171135"/>
                  <a:gd name="connsiteY28" fmla="*/ 4349 h 170513"/>
                  <a:gd name="connsiteX29" fmla="*/ 75587 w 171135"/>
                  <a:gd name="connsiteY29" fmla="*/ 125 h 170513"/>
                  <a:gd name="connsiteX30" fmla="*/ 81428 w 171135"/>
                  <a:gd name="connsiteY30" fmla="*/ 3794 h 170513"/>
                  <a:gd name="connsiteX31" fmla="*/ 85314 w 171135"/>
                  <a:gd name="connsiteY31" fmla="*/ 20546 h 170513"/>
                  <a:gd name="connsiteX32" fmla="*/ 108100 w 171135"/>
                  <a:gd name="connsiteY32" fmla="*/ 24577 h 170513"/>
                  <a:gd name="connsiteX33" fmla="*/ 117490 w 171135"/>
                  <a:gd name="connsiteY33" fmla="*/ 10190 h 170513"/>
                  <a:gd name="connsiteX34" fmla="*/ 124248 w 171135"/>
                  <a:gd name="connsiteY34" fmla="*/ 8766 h 170513"/>
                  <a:gd name="connsiteX35" fmla="*/ 140083 w 171135"/>
                  <a:gd name="connsiteY35" fmla="*/ 19073 h 170513"/>
                  <a:gd name="connsiteX36" fmla="*/ 142207 w 171135"/>
                  <a:gd name="connsiteY36" fmla="*/ 22163 h 170513"/>
                  <a:gd name="connsiteX37" fmla="*/ 141507 w 171135"/>
                  <a:gd name="connsiteY37" fmla="*/ 25832 h 170513"/>
                  <a:gd name="connsiteX38" fmla="*/ 132093 w 171135"/>
                  <a:gd name="connsiteY38" fmla="*/ 40218 h 170513"/>
                  <a:gd name="connsiteX39" fmla="*/ 144935 w 171135"/>
                  <a:gd name="connsiteY39" fmla="*/ 59432 h 170513"/>
                  <a:gd name="connsiteX40" fmla="*/ 161831 w 171135"/>
                  <a:gd name="connsiteY40" fmla="*/ 56269 h 170513"/>
                  <a:gd name="connsiteX41" fmla="*/ 167528 w 171135"/>
                  <a:gd name="connsiteY41" fmla="*/ 60156 h 170513"/>
                  <a:gd name="connsiteX42" fmla="*/ 171052 w 171135"/>
                  <a:gd name="connsiteY42" fmla="*/ 78742 h 170513"/>
                  <a:gd name="connsiteX43" fmla="*/ 170279 w 171135"/>
                  <a:gd name="connsiteY43" fmla="*/ 82411 h 170513"/>
                  <a:gd name="connsiteX44" fmla="*/ 167141 w 171135"/>
                  <a:gd name="connsiteY44" fmla="*/ 84462 h 170513"/>
                  <a:gd name="connsiteX45" fmla="*/ 150245 w 171135"/>
                  <a:gd name="connsiteY45" fmla="*/ 87649 h 170513"/>
                  <a:gd name="connsiteX46" fmla="*/ 146262 w 171135"/>
                  <a:gd name="connsiteY46" fmla="*/ 107755 h 170513"/>
                  <a:gd name="connsiteX47" fmla="*/ 160648 w 171135"/>
                  <a:gd name="connsiteY47" fmla="*/ 117145 h 170513"/>
                  <a:gd name="connsiteX48" fmla="*/ 162772 w 171135"/>
                  <a:gd name="connsiteY48" fmla="*/ 120235 h 170513"/>
                  <a:gd name="connsiteX49" fmla="*/ 162073 w 171135"/>
                  <a:gd name="connsiteY49" fmla="*/ 123904 h 170513"/>
                  <a:gd name="connsiteX50" fmla="*/ 151717 w 171135"/>
                  <a:gd name="connsiteY50" fmla="*/ 139738 h 170513"/>
                  <a:gd name="connsiteX51" fmla="*/ 144959 w 171135"/>
                  <a:gd name="connsiteY51" fmla="*/ 141162 h 170513"/>
                  <a:gd name="connsiteX52" fmla="*/ 130573 w 171135"/>
                  <a:gd name="connsiteY52" fmla="*/ 131748 h 170513"/>
                  <a:gd name="connsiteX53" fmla="*/ 113773 w 171135"/>
                  <a:gd name="connsiteY53" fmla="*/ 143479 h 170513"/>
                  <a:gd name="connsiteX54" fmla="*/ 117659 w 171135"/>
                  <a:gd name="connsiteY54" fmla="*/ 160255 h 170513"/>
                  <a:gd name="connsiteX55" fmla="*/ 117031 w 171135"/>
                  <a:gd name="connsiteY55" fmla="*/ 163948 h 170513"/>
                  <a:gd name="connsiteX56" fmla="*/ 113990 w 171135"/>
                  <a:gd name="connsiteY56" fmla="*/ 166121 h 170513"/>
                  <a:gd name="connsiteX57" fmla="*/ 95573 w 171135"/>
                  <a:gd name="connsiteY57" fmla="*/ 170369 h 170513"/>
                  <a:gd name="connsiteX58" fmla="*/ 94462 w 171135"/>
                  <a:gd name="connsiteY58" fmla="*/ 170514 h 170513"/>
                  <a:gd name="connsiteX59" fmla="*/ 89683 w 171135"/>
                  <a:gd name="connsiteY59" fmla="*/ 140076 h 170513"/>
                  <a:gd name="connsiteX60" fmla="*/ 94438 w 171135"/>
                  <a:gd name="connsiteY60" fmla="*/ 143866 h 170513"/>
                  <a:gd name="connsiteX61" fmla="*/ 98131 w 171135"/>
                  <a:gd name="connsiteY61" fmla="*/ 159797 h 170513"/>
                  <a:gd name="connsiteX62" fmla="*/ 107014 w 171135"/>
                  <a:gd name="connsiteY62" fmla="*/ 157745 h 170513"/>
                  <a:gd name="connsiteX63" fmla="*/ 103321 w 171135"/>
                  <a:gd name="connsiteY63" fmla="*/ 141814 h 170513"/>
                  <a:gd name="connsiteX64" fmla="*/ 106266 w 171135"/>
                  <a:gd name="connsiteY64" fmla="*/ 136166 h 170513"/>
                  <a:gd name="connsiteX65" fmla="*/ 126228 w 171135"/>
                  <a:gd name="connsiteY65" fmla="*/ 122238 h 170513"/>
                  <a:gd name="connsiteX66" fmla="*/ 132528 w 171135"/>
                  <a:gd name="connsiteY66" fmla="*/ 121417 h 170513"/>
                  <a:gd name="connsiteX67" fmla="*/ 146190 w 171135"/>
                  <a:gd name="connsiteY67" fmla="*/ 130348 h 170513"/>
                  <a:gd name="connsiteX68" fmla="*/ 151186 w 171135"/>
                  <a:gd name="connsiteY68" fmla="*/ 122697 h 170513"/>
                  <a:gd name="connsiteX69" fmla="*/ 137524 w 171135"/>
                  <a:gd name="connsiteY69" fmla="*/ 113790 h 170513"/>
                  <a:gd name="connsiteX70" fmla="*/ 135738 w 171135"/>
                  <a:gd name="connsiteY70" fmla="*/ 107707 h 170513"/>
                  <a:gd name="connsiteX71" fmla="*/ 140469 w 171135"/>
                  <a:gd name="connsiteY71" fmla="*/ 83787 h 170513"/>
                  <a:gd name="connsiteX72" fmla="*/ 144452 w 171135"/>
                  <a:gd name="connsiteY72" fmla="*/ 78838 h 170513"/>
                  <a:gd name="connsiteX73" fmla="*/ 160528 w 171135"/>
                  <a:gd name="connsiteY73" fmla="*/ 75821 h 170513"/>
                  <a:gd name="connsiteX74" fmla="*/ 158838 w 171135"/>
                  <a:gd name="connsiteY74" fmla="*/ 66842 h 170513"/>
                  <a:gd name="connsiteX75" fmla="*/ 142762 w 171135"/>
                  <a:gd name="connsiteY75" fmla="*/ 69859 h 170513"/>
                  <a:gd name="connsiteX76" fmla="*/ 137259 w 171135"/>
                  <a:gd name="connsiteY76" fmla="*/ 66697 h 170513"/>
                  <a:gd name="connsiteX77" fmla="*/ 122511 w 171135"/>
                  <a:gd name="connsiteY77" fmla="*/ 44611 h 170513"/>
                  <a:gd name="connsiteX78" fmla="*/ 121690 w 171135"/>
                  <a:gd name="connsiteY78" fmla="*/ 38311 h 170513"/>
                  <a:gd name="connsiteX79" fmla="*/ 130621 w 171135"/>
                  <a:gd name="connsiteY79" fmla="*/ 24625 h 170513"/>
                  <a:gd name="connsiteX80" fmla="*/ 122969 w 171135"/>
                  <a:gd name="connsiteY80" fmla="*/ 19652 h 170513"/>
                  <a:gd name="connsiteX81" fmla="*/ 114038 w 171135"/>
                  <a:gd name="connsiteY81" fmla="*/ 33314 h 170513"/>
                  <a:gd name="connsiteX82" fmla="*/ 107955 w 171135"/>
                  <a:gd name="connsiteY82" fmla="*/ 35101 h 170513"/>
                  <a:gd name="connsiteX83" fmla="*/ 81766 w 171135"/>
                  <a:gd name="connsiteY83" fmla="*/ 30490 h 170513"/>
                  <a:gd name="connsiteX84" fmla="*/ 76649 w 171135"/>
                  <a:gd name="connsiteY84" fmla="*/ 26725 h 170513"/>
                  <a:gd name="connsiteX85" fmla="*/ 72956 w 171135"/>
                  <a:gd name="connsiteY85" fmla="*/ 10794 h 170513"/>
                  <a:gd name="connsiteX86" fmla="*/ 64073 w 171135"/>
                  <a:gd name="connsiteY86" fmla="*/ 12821 h 170513"/>
                  <a:gd name="connsiteX87" fmla="*/ 67766 w 171135"/>
                  <a:gd name="connsiteY87" fmla="*/ 28752 h 170513"/>
                  <a:gd name="connsiteX88" fmla="*/ 64845 w 171135"/>
                  <a:gd name="connsiteY88" fmla="*/ 34376 h 170513"/>
                  <a:gd name="connsiteX89" fmla="*/ 44835 w 171135"/>
                  <a:gd name="connsiteY89" fmla="*/ 48328 h 170513"/>
                  <a:gd name="connsiteX90" fmla="*/ 38535 w 171135"/>
                  <a:gd name="connsiteY90" fmla="*/ 49149 h 170513"/>
                  <a:gd name="connsiteX91" fmla="*/ 24873 w 171135"/>
                  <a:gd name="connsiteY91" fmla="*/ 40218 h 170513"/>
                  <a:gd name="connsiteX92" fmla="*/ 19901 w 171135"/>
                  <a:gd name="connsiteY92" fmla="*/ 47870 h 170513"/>
                  <a:gd name="connsiteX93" fmla="*/ 33563 w 171135"/>
                  <a:gd name="connsiteY93" fmla="*/ 56801 h 170513"/>
                  <a:gd name="connsiteX94" fmla="*/ 35349 w 171135"/>
                  <a:gd name="connsiteY94" fmla="*/ 62883 h 170513"/>
                  <a:gd name="connsiteX95" fmla="*/ 30618 w 171135"/>
                  <a:gd name="connsiteY95" fmla="*/ 86780 h 170513"/>
                  <a:gd name="connsiteX96" fmla="*/ 26635 w 171135"/>
                  <a:gd name="connsiteY96" fmla="*/ 91728 h 170513"/>
                  <a:gd name="connsiteX97" fmla="*/ 10559 w 171135"/>
                  <a:gd name="connsiteY97" fmla="*/ 94745 h 170513"/>
                  <a:gd name="connsiteX98" fmla="*/ 12273 w 171135"/>
                  <a:gd name="connsiteY98" fmla="*/ 103724 h 170513"/>
                  <a:gd name="connsiteX99" fmla="*/ 28349 w 171135"/>
                  <a:gd name="connsiteY99" fmla="*/ 100707 h 170513"/>
                  <a:gd name="connsiteX100" fmla="*/ 33852 w 171135"/>
                  <a:gd name="connsiteY100" fmla="*/ 103869 h 170513"/>
                  <a:gd name="connsiteX101" fmla="*/ 48601 w 171135"/>
                  <a:gd name="connsiteY101" fmla="*/ 125980 h 170513"/>
                  <a:gd name="connsiteX102" fmla="*/ 49397 w 171135"/>
                  <a:gd name="connsiteY102" fmla="*/ 132255 h 170513"/>
                  <a:gd name="connsiteX103" fmla="*/ 40490 w 171135"/>
                  <a:gd name="connsiteY103" fmla="*/ 145917 h 170513"/>
                  <a:gd name="connsiteX104" fmla="*/ 48142 w 171135"/>
                  <a:gd name="connsiteY104" fmla="*/ 150890 h 170513"/>
                  <a:gd name="connsiteX105" fmla="*/ 57073 w 171135"/>
                  <a:gd name="connsiteY105" fmla="*/ 137228 h 170513"/>
                  <a:gd name="connsiteX106" fmla="*/ 63156 w 171135"/>
                  <a:gd name="connsiteY106" fmla="*/ 135442 h 170513"/>
                  <a:gd name="connsiteX107" fmla="*/ 89321 w 171135"/>
                  <a:gd name="connsiteY107" fmla="*/ 140076 h 170513"/>
                  <a:gd name="connsiteX108" fmla="*/ 89683 w 171135"/>
                  <a:gd name="connsiteY108" fmla="*/ 140076 h 170513"/>
                  <a:gd name="connsiteX109" fmla="*/ 85556 w 171135"/>
                  <a:gd name="connsiteY109" fmla="*/ 122021 h 170513"/>
                  <a:gd name="connsiteX110" fmla="*/ 71676 w 171135"/>
                  <a:gd name="connsiteY110" fmla="*/ 119269 h 170513"/>
                  <a:gd name="connsiteX111" fmla="*/ 51618 w 171135"/>
                  <a:gd name="connsiteY111" fmla="*/ 71356 h 170513"/>
                  <a:gd name="connsiteX112" fmla="*/ 85604 w 171135"/>
                  <a:gd name="connsiteY112" fmla="*/ 48545 h 170513"/>
                  <a:gd name="connsiteX113" fmla="*/ 99507 w 171135"/>
                  <a:gd name="connsiteY113" fmla="*/ 51297 h 170513"/>
                  <a:gd name="connsiteX114" fmla="*/ 119469 w 171135"/>
                  <a:gd name="connsiteY114" fmla="*/ 71090 h 170513"/>
                  <a:gd name="connsiteX115" fmla="*/ 119590 w 171135"/>
                  <a:gd name="connsiteY115" fmla="*/ 99187 h 170513"/>
                  <a:gd name="connsiteX116" fmla="*/ 85556 w 171135"/>
                  <a:gd name="connsiteY116" fmla="*/ 122021 h 170513"/>
                  <a:gd name="connsiteX117" fmla="*/ 85604 w 171135"/>
                  <a:gd name="connsiteY117" fmla="*/ 58297 h 170513"/>
                  <a:gd name="connsiteX118" fmla="*/ 60669 w 171135"/>
                  <a:gd name="connsiteY118" fmla="*/ 75049 h 170513"/>
                  <a:gd name="connsiteX119" fmla="*/ 75369 w 171135"/>
                  <a:gd name="connsiteY119" fmla="*/ 110218 h 170513"/>
                  <a:gd name="connsiteX120" fmla="*/ 85556 w 171135"/>
                  <a:gd name="connsiteY120" fmla="*/ 112221 h 170513"/>
                  <a:gd name="connsiteX121" fmla="*/ 110538 w 171135"/>
                  <a:gd name="connsiteY121" fmla="*/ 95445 h 170513"/>
                  <a:gd name="connsiteX122" fmla="*/ 110466 w 171135"/>
                  <a:gd name="connsiteY122" fmla="*/ 74831 h 170513"/>
                  <a:gd name="connsiteX123" fmla="*/ 95814 w 171135"/>
                  <a:gd name="connsiteY123" fmla="*/ 60300 h 170513"/>
                  <a:gd name="connsiteX124" fmla="*/ 85604 w 171135"/>
                  <a:gd name="connsiteY124" fmla="*/ 58297 h 1705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Lst>
                <a:rect l="l" t="t" r="r" b="b"/>
                <a:pathLst>
                  <a:path w="171135" h="170513">
                    <a:moveTo>
                      <a:pt x="94462" y="170514"/>
                    </a:moveTo>
                    <a:cubicBezTo>
                      <a:pt x="92242" y="170514"/>
                      <a:pt x="90238" y="168993"/>
                      <a:pt x="89707" y="166724"/>
                    </a:cubicBezTo>
                    <a:lnTo>
                      <a:pt x="85821" y="149973"/>
                    </a:lnTo>
                    <a:cubicBezTo>
                      <a:pt x="85700" y="149973"/>
                      <a:pt x="85580" y="149973"/>
                      <a:pt x="85459" y="149973"/>
                    </a:cubicBezTo>
                    <a:cubicBezTo>
                      <a:pt x="77783" y="149973"/>
                      <a:pt x="70252" y="148621"/>
                      <a:pt x="63059" y="145942"/>
                    </a:cubicBezTo>
                    <a:lnTo>
                      <a:pt x="53669" y="160328"/>
                    </a:lnTo>
                    <a:cubicBezTo>
                      <a:pt x="52197" y="162572"/>
                      <a:pt x="49180" y="163224"/>
                      <a:pt x="46911" y="161752"/>
                    </a:cubicBezTo>
                    <a:lnTo>
                      <a:pt x="31076" y="151445"/>
                    </a:lnTo>
                    <a:cubicBezTo>
                      <a:pt x="29990" y="150745"/>
                      <a:pt x="29218" y="149635"/>
                      <a:pt x="28952" y="148355"/>
                    </a:cubicBezTo>
                    <a:cubicBezTo>
                      <a:pt x="28687" y="147100"/>
                      <a:pt x="28928" y="145773"/>
                      <a:pt x="29652" y="144686"/>
                    </a:cubicBezTo>
                    <a:lnTo>
                      <a:pt x="39042" y="130300"/>
                    </a:lnTo>
                    <a:cubicBezTo>
                      <a:pt x="33659" y="124724"/>
                      <a:pt x="29290" y="118183"/>
                      <a:pt x="26201" y="111062"/>
                    </a:cubicBezTo>
                    <a:lnTo>
                      <a:pt x="9304" y="114249"/>
                    </a:lnTo>
                    <a:cubicBezTo>
                      <a:pt x="6625" y="114731"/>
                      <a:pt x="4090" y="112993"/>
                      <a:pt x="3608" y="110362"/>
                    </a:cubicBezTo>
                    <a:lnTo>
                      <a:pt x="83" y="91776"/>
                    </a:lnTo>
                    <a:cubicBezTo>
                      <a:pt x="-158" y="90497"/>
                      <a:pt x="132" y="89193"/>
                      <a:pt x="856" y="88107"/>
                    </a:cubicBezTo>
                    <a:cubicBezTo>
                      <a:pt x="1580" y="87045"/>
                      <a:pt x="2715" y="86297"/>
                      <a:pt x="3994" y="86056"/>
                    </a:cubicBezTo>
                    <a:lnTo>
                      <a:pt x="20914" y="82869"/>
                    </a:lnTo>
                    <a:cubicBezTo>
                      <a:pt x="21156" y="76014"/>
                      <a:pt x="22508" y="69183"/>
                      <a:pt x="24897" y="62763"/>
                    </a:cubicBezTo>
                    <a:lnTo>
                      <a:pt x="10535" y="53349"/>
                    </a:lnTo>
                    <a:cubicBezTo>
                      <a:pt x="8290" y="51876"/>
                      <a:pt x="7639" y="48859"/>
                      <a:pt x="9111" y="46590"/>
                    </a:cubicBezTo>
                    <a:lnTo>
                      <a:pt x="19442" y="30756"/>
                    </a:lnTo>
                    <a:cubicBezTo>
                      <a:pt x="20142" y="29670"/>
                      <a:pt x="21252" y="28921"/>
                      <a:pt x="22532" y="28632"/>
                    </a:cubicBezTo>
                    <a:cubicBezTo>
                      <a:pt x="23787" y="28366"/>
                      <a:pt x="25114" y="28608"/>
                      <a:pt x="26201" y="29332"/>
                    </a:cubicBezTo>
                    <a:lnTo>
                      <a:pt x="40563" y="38721"/>
                    </a:lnTo>
                    <a:cubicBezTo>
                      <a:pt x="45511" y="33918"/>
                      <a:pt x="51135" y="29983"/>
                      <a:pt x="57387" y="26990"/>
                    </a:cubicBezTo>
                    <a:lnTo>
                      <a:pt x="53500" y="10215"/>
                    </a:lnTo>
                    <a:cubicBezTo>
                      <a:pt x="53211" y="8959"/>
                      <a:pt x="53428" y="7632"/>
                      <a:pt x="54128" y="6521"/>
                    </a:cubicBezTo>
                    <a:cubicBezTo>
                      <a:pt x="54804" y="5435"/>
                      <a:pt x="55914" y="4639"/>
                      <a:pt x="57169" y="4349"/>
                    </a:cubicBezTo>
                    <a:lnTo>
                      <a:pt x="75587" y="125"/>
                    </a:lnTo>
                    <a:cubicBezTo>
                      <a:pt x="78218" y="-479"/>
                      <a:pt x="80824" y="1163"/>
                      <a:pt x="81428" y="3794"/>
                    </a:cubicBezTo>
                    <a:lnTo>
                      <a:pt x="85314" y="20546"/>
                    </a:lnTo>
                    <a:cubicBezTo>
                      <a:pt x="93280" y="20377"/>
                      <a:pt x="100787" y="21849"/>
                      <a:pt x="108100" y="24577"/>
                    </a:cubicBezTo>
                    <a:lnTo>
                      <a:pt x="117490" y="10190"/>
                    </a:lnTo>
                    <a:cubicBezTo>
                      <a:pt x="118962" y="7921"/>
                      <a:pt x="122004" y="7294"/>
                      <a:pt x="124248" y="8766"/>
                    </a:cubicBezTo>
                    <a:lnTo>
                      <a:pt x="140083" y="19073"/>
                    </a:lnTo>
                    <a:cubicBezTo>
                      <a:pt x="141169" y="19773"/>
                      <a:pt x="141941" y="20883"/>
                      <a:pt x="142207" y="22163"/>
                    </a:cubicBezTo>
                    <a:cubicBezTo>
                      <a:pt x="142472" y="23442"/>
                      <a:pt x="142231" y="24745"/>
                      <a:pt x="141507" y="25832"/>
                    </a:cubicBezTo>
                    <a:lnTo>
                      <a:pt x="132093" y="40218"/>
                    </a:lnTo>
                    <a:cubicBezTo>
                      <a:pt x="137476" y="45770"/>
                      <a:pt x="141845" y="52311"/>
                      <a:pt x="144935" y="59432"/>
                    </a:cubicBezTo>
                    <a:lnTo>
                      <a:pt x="161831" y="56269"/>
                    </a:lnTo>
                    <a:cubicBezTo>
                      <a:pt x="164438" y="55763"/>
                      <a:pt x="167021" y="57525"/>
                      <a:pt x="167528" y="60156"/>
                    </a:cubicBezTo>
                    <a:lnTo>
                      <a:pt x="171052" y="78742"/>
                    </a:lnTo>
                    <a:cubicBezTo>
                      <a:pt x="171293" y="80021"/>
                      <a:pt x="171003" y="81325"/>
                      <a:pt x="170279" y="82411"/>
                    </a:cubicBezTo>
                    <a:cubicBezTo>
                      <a:pt x="169555" y="83473"/>
                      <a:pt x="168421" y="84221"/>
                      <a:pt x="167141" y="84462"/>
                    </a:cubicBezTo>
                    <a:lnTo>
                      <a:pt x="150245" y="87649"/>
                    </a:lnTo>
                    <a:cubicBezTo>
                      <a:pt x="150004" y="94552"/>
                      <a:pt x="148676" y="101287"/>
                      <a:pt x="146262" y="107755"/>
                    </a:cubicBezTo>
                    <a:lnTo>
                      <a:pt x="160648" y="117145"/>
                    </a:lnTo>
                    <a:cubicBezTo>
                      <a:pt x="161735" y="117845"/>
                      <a:pt x="162507" y="118955"/>
                      <a:pt x="162772" y="120235"/>
                    </a:cubicBezTo>
                    <a:cubicBezTo>
                      <a:pt x="163038" y="121514"/>
                      <a:pt x="162797" y="122817"/>
                      <a:pt x="162073" y="123904"/>
                    </a:cubicBezTo>
                    <a:lnTo>
                      <a:pt x="151717" y="139738"/>
                    </a:lnTo>
                    <a:cubicBezTo>
                      <a:pt x="150245" y="141983"/>
                      <a:pt x="147204" y="142635"/>
                      <a:pt x="144959" y="141162"/>
                    </a:cubicBezTo>
                    <a:lnTo>
                      <a:pt x="130573" y="131748"/>
                    </a:lnTo>
                    <a:cubicBezTo>
                      <a:pt x="125624" y="136528"/>
                      <a:pt x="119928" y="140511"/>
                      <a:pt x="113773" y="143479"/>
                    </a:cubicBezTo>
                    <a:lnTo>
                      <a:pt x="117659" y="160255"/>
                    </a:lnTo>
                    <a:cubicBezTo>
                      <a:pt x="117948" y="161510"/>
                      <a:pt x="117731" y="162838"/>
                      <a:pt x="117031" y="163948"/>
                    </a:cubicBezTo>
                    <a:cubicBezTo>
                      <a:pt x="116355" y="165035"/>
                      <a:pt x="115245" y="165831"/>
                      <a:pt x="113990" y="166121"/>
                    </a:cubicBezTo>
                    <a:lnTo>
                      <a:pt x="95573" y="170369"/>
                    </a:lnTo>
                    <a:cubicBezTo>
                      <a:pt x="95211" y="170490"/>
                      <a:pt x="94824" y="170514"/>
                      <a:pt x="94462" y="170514"/>
                    </a:cubicBezTo>
                    <a:close/>
                    <a:moveTo>
                      <a:pt x="89683" y="140076"/>
                    </a:moveTo>
                    <a:cubicBezTo>
                      <a:pt x="91928" y="140076"/>
                      <a:pt x="93931" y="141621"/>
                      <a:pt x="94438" y="143866"/>
                    </a:cubicBezTo>
                    <a:lnTo>
                      <a:pt x="98131" y="159797"/>
                    </a:lnTo>
                    <a:lnTo>
                      <a:pt x="107014" y="157745"/>
                    </a:lnTo>
                    <a:lnTo>
                      <a:pt x="103321" y="141814"/>
                    </a:lnTo>
                    <a:cubicBezTo>
                      <a:pt x="102766" y="139473"/>
                      <a:pt x="104021" y="137083"/>
                      <a:pt x="106266" y="136166"/>
                    </a:cubicBezTo>
                    <a:cubicBezTo>
                      <a:pt x="113821" y="133124"/>
                      <a:pt x="120724" y="128297"/>
                      <a:pt x="126228" y="122238"/>
                    </a:cubicBezTo>
                    <a:cubicBezTo>
                      <a:pt x="127845" y="120452"/>
                      <a:pt x="130524" y="120114"/>
                      <a:pt x="132528" y="121417"/>
                    </a:cubicBezTo>
                    <a:lnTo>
                      <a:pt x="146190" y="130348"/>
                    </a:lnTo>
                    <a:lnTo>
                      <a:pt x="151186" y="122697"/>
                    </a:lnTo>
                    <a:lnTo>
                      <a:pt x="137524" y="113790"/>
                    </a:lnTo>
                    <a:cubicBezTo>
                      <a:pt x="135497" y="112486"/>
                      <a:pt x="134748" y="109904"/>
                      <a:pt x="135738" y="107707"/>
                    </a:cubicBezTo>
                    <a:cubicBezTo>
                      <a:pt x="139117" y="100128"/>
                      <a:pt x="140710" y="92066"/>
                      <a:pt x="140469" y="83787"/>
                    </a:cubicBezTo>
                    <a:cubicBezTo>
                      <a:pt x="140397" y="81373"/>
                      <a:pt x="142086" y="79273"/>
                      <a:pt x="144452" y="78838"/>
                    </a:cubicBezTo>
                    <a:lnTo>
                      <a:pt x="160528" y="75821"/>
                    </a:lnTo>
                    <a:lnTo>
                      <a:pt x="158838" y="66842"/>
                    </a:lnTo>
                    <a:lnTo>
                      <a:pt x="142762" y="69859"/>
                    </a:lnTo>
                    <a:cubicBezTo>
                      <a:pt x="140397" y="70318"/>
                      <a:pt x="138079" y="68966"/>
                      <a:pt x="137259" y="66697"/>
                    </a:cubicBezTo>
                    <a:cubicBezTo>
                      <a:pt x="134217" y="58225"/>
                      <a:pt x="129124" y="50573"/>
                      <a:pt x="122511" y="44611"/>
                    </a:cubicBezTo>
                    <a:cubicBezTo>
                      <a:pt x="120724" y="42994"/>
                      <a:pt x="120362" y="40314"/>
                      <a:pt x="121690" y="38311"/>
                    </a:cubicBezTo>
                    <a:lnTo>
                      <a:pt x="130621" y="24625"/>
                    </a:lnTo>
                    <a:lnTo>
                      <a:pt x="122969" y="19652"/>
                    </a:lnTo>
                    <a:lnTo>
                      <a:pt x="114038" y="33314"/>
                    </a:lnTo>
                    <a:cubicBezTo>
                      <a:pt x="112711" y="35318"/>
                      <a:pt x="110128" y="36066"/>
                      <a:pt x="107955" y="35101"/>
                    </a:cubicBezTo>
                    <a:cubicBezTo>
                      <a:pt x="99676" y="31408"/>
                      <a:pt x="90721" y="29814"/>
                      <a:pt x="81766" y="30490"/>
                    </a:cubicBezTo>
                    <a:cubicBezTo>
                      <a:pt x="79376" y="30659"/>
                      <a:pt x="77204" y="29066"/>
                      <a:pt x="76649" y="26725"/>
                    </a:cubicBezTo>
                    <a:lnTo>
                      <a:pt x="72956" y="10794"/>
                    </a:lnTo>
                    <a:lnTo>
                      <a:pt x="64073" y="12821"/>
                    </a:lnTo>
                    <a:lnTo>
                      <a:pt x="67766" y="28752"/>
                    </a:lnTo>
                    <a:cubicBezTo>
                      <a:pt x="68297" y="31094"/>
                      <a:pt x="67066" y="33483"/>
                      <a:pt x="64845" y="34376"/>
                    </a:cubicBezTo>
                    <a:cubicBezTo>
                      <a:pt x="57121" y="37490"/>
                      <a:pt x="50387" y="42197"/>
                      <a:pt x="44835" y="48328"/>
                    </a:cubicBezTo>
                    <a:cubicBezTo>
                      <a:pt x="43242" y="50114"/>
                      <a:pt x="40563" y="50452"/>
                      <a:pt x="38535" y="49149"/>
                    </a:cubicBezTo>
                    <a:lnTo>
                      <a:pt x="24873" y="40218"/>
                    </a:lnTo>
                    <a:lnTo>
                      <a:pt x="19901" y="47870"/>
                    </a:lnTo>
                    <a:lnTo>
                      <a:pt x="33563" y="56801"/>
                    </a:lnTo>
                    <a:cubicBezTo>
                      <a:pt x="35566" y="58104"/>
                      <a:pt x="36314" y="60687"/>
                      <a:pt x="35349" y="62883"/>
                    </a:cubicBezTo>
                    <a:cubicBezTo>
                      <a:pt x="31945" y="70463"/>
                      <a:pt x="30352" y="78500"/>
                      <a:pt x="30618" y="86780"/>
                    </a:cubicBezTo>
                    <a:cubicBezTo>
                      <a:pt x="30690" y="89193"/>
                      <a:pt x="29001" y="91293"/>
                      <a:pt x="26635" y="91728"/>
                    </a:cubicBezTo>
                    <a:lnTo>
                      <a:pt x="10559" y="94745"/>
                    </a:lnTo>
                    <a:lnTo>
                      <a:pt x="12273" y="103724"/>
                    </a:lnTo>
                    <a:lnTo>
                      <a:pt x="28349" y="100707"/>
                    </a:lnTo>
                    <a:cubicBezTo>
                      <a:pt x="30714" y="100273"/>
                      <a:pt x="33056" y="101600"/>
                      <a:pt x="33852" y="103869"/>
                    </a:cubicBezTo>
                    <a:cubicBezTo>
                      <a:pt x="36869" y="112318"/>
                      <a:pt x="41987" y="119969"/>
                      <a:pt x="48601" y="125980"/>
                    </a:cubicBezTo>
                    <a:cubicBezTo>
                      <a:pt x="50387" y="127597"/>
                      <a:pt x="50725" y="130252"/>
                      <a:pt x="49397" y="132255"/>
                    </a:cubicBezTo>
                    <a:lnTo>
                      <a:pt x="40490" y="145917"/>
                    </a:lnTo>
                    <a:lnTo>
                      <a:pt x="48142" y="150890"/>
                    </a:lnTo>
                    <a:lnTo>
                      <a:pt x="57073" y="137228"/>
                    </a:lnTo>
                    <a:cubicBezTo>
                      <a:pt x="58376" y="135224"/>
                      <a:pt x="60959" y="134452"/>
                      <a:pt x="63156" y="135442"/>
                    </a:cubicBezTo>
                    <a:cubicBezTo>
                      <a:pt x="71435" y="139135"/>
                      <a:pt x="80366" y="140728"/>
                      <a:pt x="89321" y="140076"/>
                    </a:cubicBezTo>
                    <a:cubicBezTo>
                      <a:pt x="89466" y="140076"/>
                      <a:pt x="89562" y="140076"/>
                      <a:pt x="89683" y="140076"/>
                    </a:cubicBezTo>
                    <a:close/>
                    <a:moveTo>
                      <a:pt x="85556" y="122021"/>
                    </a:moveTo>
                    <a:cubicBezTo>
                      <a:pt x="80800" y="122021"/>
                      <a:pt x="76118" y="121104"/>
                      <a:pt x="71676" y="119269"/>
                    </a:cubicBezTo>
                    <a:cubicBezTo>
                      <a:pt x="52945" y="111593"/>
                      <a:pt x="43942" y="90111"/>
                      <a:pt x="51618" y="71356"/>
                    </a:cubicBezTo>
                    <a:cubicBezTo>
                      <a:pt x="57290" y="57501"/>
                      <a:pt x="70638" y="48545"/>
                      <a:pt x="85604" y="48545"/>
                    </a:cubicBezTo>
                    <a:cubicBezTo>
                      <a:pt x="90383" y="48545"/>
                      <a:pt x="95066" y="49463"/>
                      <a:pt x="99507" y="51297"/>
                    </a:cubicBezTo>
                    <a:cubicBezTo>
                      <a:pt x="108583" y="55014"/>
                      <a:pt x="115680" y="62038"/>
                      <a:pt x="119469" y="71090"/>
                    </a:cubicBezTo>
                    <a:cubicBezTo>
                      <a:pt x="123259" y="80142"/>
                      <a:pt x="123307" y="90111"/>
                      <a:pt x="119590" y="99187"/>
                    </a:cubicBezTo>
                    <a:cubicBezTo>
                      <a:pt x="113893" y="113066"/>
                      <a:pt x="100545" y="122021"/>
                      <a:pt x="85556" y="122021"/>
                    </a:cubicBezTo>
                    <a:close/>
                    <a:moveTo>
                      <a:pt x="85604" y="58297"/>
                    </a:moveTo>
                    <a:cubicBezTo>
                      <a:pt x="74621" y="58297"/>
                      <a:pt x="64821" y="64863"/>
                      <a:pt x="60669" y="75049"/>
                    </a:cubicBezTo>
                    <a:cubicBezTo>
                      <a:pt x="55021" y="88807"/>
                      <a:pt x="61635" y="104593"/>
                      <a:pt x="75369" y="110218"/>
                    </a:cubicBezTo>
                    <a:cubicBezTo>
                      <a:pt x="78628" y="111545"/>
                      <a:pt x="82056" y="112221"/>
                      <a:pt x="85556" y="112221"/>
                    </a:cubicBezTo>
                    <a:cubicBezTo>
                      <a:pt x="96562" y="112221"/>
                      <a:pt x="106362" y="105631"/>
                      <a:pt x="110538" y="95445"/>
                    </a:cubicBezTo>
                    <a:cubicBezTo>
                      <a:pt x="113266" y="88783"/>
                      <a:pt x="113242" y="81469"/>
                      <a:pt x="110466" y="74831"/>
                    </a:cubicBezTo>
                    <a:cubicBezTo>
                      <a:pt x="107690" y="68194"/>
                      <a:pt x="102476" y="63028"/>
                      <a:pt x="95814" y="60300"/>
                    </a:cubicBezTo>
                    <a:cubicBezTo>
                      <a:pt x="92531" y="58997"/>
                      <a:pt x="89104" y="58297"/>
                      <a:pt x="85604" y="58297"/>
                    </a:cubicBezTo>
                    <a:close/>
                  </a:path>
                </a:pathLst>
              </a:custGeom>
              <a:solidFill>
                <a:schemeClr val="accent1"/>
              </a:solidFill>
              <a:ln w="2407" cap="flat">
                <a:noFill/>
                <a:prstDash val="solid"/>
                <a:miter/>
              </a:ln>
            </p:spPr>
            <p:txBody>
              <a:bodyPr rtlCol="0" anchor="ctr"/>
              <a:lstStyle/>
              <a:p>
                <a:endParaRPr lang="en-GB" dirty="0"/>
              </a:p>
            </p:txBody>
          </p:sp>
          <p:sp>
            <p:nvSpPr>
              <p:cNvPr id="574" name="Freihandform: Form 1050">
                <a:extLst>
                  <a:ext uri="{FF2B5EF4-FFF2-40B4-BE49-F238E27FC236}">
                    <a16:creationId xmlns:a16="http://schemas.microsoft.com/office/drawing/2014/main" id="{B7B67D8C-6F69-4620-A314-06BAEDFB529B}"/>
                  </a:ext>
                </a:extLst>
              </p:cNvPr>
              <p:cNvSpPr/>
              <p:nvPr/>
            </p:nvSpPr>
            <p:spPr>
              <a:xfrm>
                <a:off x="7091564" y="1842398"/>
                <a:ext cx="134303" cy="134149"/>
              </a:xfrm>
              <a:custGeom>
                <a:avLst/>
                <a:gdLst>
                  <a:gd name="connsiteX0" fmla="*/ 57979 w 134303"/>
                  <a:gd name="connsiteY0" fmla="*/ 134149 h 134149"/>
                  <a:gd name="connsiteX1" fmla="*/ 56723 w 134303"/>
                  <a:gd name="connsiteY1" fmla="*/ 133980 h 134149"/>
                  <a:gd name="connsiteX2" fmla="*/ 42530 w 134303"/>
                  <a:gd name="connsiteY2" fmla="*/ 130191 h 134149"/>
                  <a:gd name="connsiteX3" fmla="*/ 39561 w 134303"/>
                  <a:gd name="connsiteY3" fmla="*/ 127922 h 134149"/>
                  <a:gd name="connsiteX4" fmla="*/ 39079 w 134303"/>
                  <a:gd name="connsiteY4" fmla="*/ 124205 h 134149"/>
                  <a:gd name="connsiteX5" fmla="*/ 42313 w 134303"/>
                  <a:gd name="connsiteY5" fmla="*/ 112136 h 134149"/>
                  <a:gd name="connsiteX6" fmla="*/ 29231 w 134303"/>
                  <a:gd name="connsiteY6" fmla="*/ 101829 h 134149"/>
                  <a:gd name="connsiteX7" fmla="*/ 18248 w 134303"/>
                  <a:gd name="connsiteY7" fmla="*/ 107863 h 134149"/>
                  <a:gd name="connsiteX8" fmla="*/ 11610 w 134303"/>
                  <a:gd name="connsiteY8" fmla="*/ 105932 h 134149"/>
                  <a:gd name="connsiteX9" fmla="*/ 4513 w 134303"/>
                  <a:gd name="connsiteY9" fmla="*/ 93043 h 134149"/>
                  <a:gd name="connsiteX10" fmla="*/ 4103 w 134303"/>
                  <a:gd name="connsiteY10" fmla="*/ 89325 h 134149"/>
                  <a:gd name="connsiteX11" fmla="*/ 6444 w 134303"/>
                  <a:gd name="connsiteY11" fmla="*/ 86405 h 134149"/>
                  <a:gd name="connsiteX12" fmla="*/ 17427 w 134303"/>
                  <a:gd name="connsiteY12" fmla="*/ 80394 h 134149"/>
                  <a:gd name="connsiteX13" fmla="*/ 15689 w 134303"/>
                  <a:gd name="connsiteY13" fmla="*/ 65936 h 134149"/>
                  <a:gd name="connsiteX14" fmla="*/ 3620 w 134303"/>
                  <a:gd name="connsiteY14" fmla="*/ 62677 h 134149"/>
                  <a:gd name="connsiteX15" fmla="*/ 168 w 134303"/>
                  <a:gd name="connsiteY15" fmla="*/ 56691 h 134149"/>
                  <a:gd name="connsiteX16" fmla="*/ 3982 w 134303"/>
                  <a:gd name="connsiteY16" fmla="*/ 42498 h 134149"/>
                  <a:gd name="connsiteX17" fmla="*/ 6275 w 134303"/>
                  <a:gd name="connsiteY17" fmla="*/ 39529 h 134149"/>
                  <a:gd name="connsiteX18" fmla="*/ 9993 w 134303"/>
                  <a:gd name="connsiteY18" fmla="*/ 39046 h 134149"/>
                  <a:gd name="connsiteX19" fmla="*/ 22061 w 134303"/>
                  <a:gd name="connsiteY19" fmla="*/ 42305 h 134149"/>
                  <a:gd name="connsiteX20" fmla="*/ 30848 w 134303"/>
                  <a:gd name="connsiteY20" fmla="*/ 30646 h 134149"/>
                  <a:gd name="connsiteX21" fmla="*/ 24379 w 134303"/>
                  <a:gd name="connsiteY21" fmla="*/ 19929 h 134149"/>
                  <a:gd name="connsiteX22" fmla="*/ 23824 w 134303"/>
                  <a:gd name="connsiteY22" fmla="*/ 16236 h 134149"/>
                  <a:gd name="connsiteX23" fmla="*/ 26044 w 134303"/>
                  <a:gd name="connsiteY23" fmla="*/ 13219 h 134149"/>
                  <a:gd name="connsiteX24" fmla="*/ 38644 w 134303"/>
                  <a:gd name="connsiteY24" fmla="*/ 5640 h 134149"/>
                  <a:gd name="connsiteX25" fmla="*/ 45355 w 134303"/>
                  <a:gd name="connsiteY25" fmla="*/ 7305 h 134149"/>
                  <a:gd name="connsiteX26" fmla="*/ 51823 w 134303"/>
                  <a:gd name="connsiteY26" fmla="*/ 18022 h 134149"/>
                  <a:gd name="connsiteX27" fmla="*/ 68334 w 134303"/>
                  <a:gd name="connsiteY27" fmla="*/ 15681 h 134149"/>
                  <a:gd name="connsiteX28" fmla="*/ 71568 w 134303"/>
                  <a:gd name="connsiteY28" fmla="*/ 3612 h 134149"/>
                  <a:gd name="connsiteX29" fmla="*/ 77554 w 134303"/>
                  <a:gd name="connsiteY29" fmla="*/ 160 h 134149"/>
                  <a:gd name="connsiteX30" fmla="*/ 91747 w 134303"/>
                  <a:gd name="connsiteY30" fmla="*/ 3950 h 134149"/>
                  <a:gd name="connsiteX31" fmla="*/ 94716 w 134303"/>
                  <a:gd name="connsiteY31" fmla="*/ 6219 h 134149"/>
                  <a:gd name="connsiteX32" fmla="*/ 95199 w 134303"/>
                  <a:gd name="connsiteY32" fmla="*/ 9936 h 134149"/>
                  <a:gd name="connsiteX33" fmla="*/ 91941 w 134303"/>
                  <a:gd name="connsiteY33" fmla="*/ 22029 h 134149"/>
                  <a:gd name="connsiteX34" fmla="*/ 105047 w 134303"/>
                  <a:gd name="connsiteY34" fmla="*/ 32336 h 134149"/>
                  <a:gd name="connsiteX35" fmla="*/ 116030 w 134303"/>
                  <a:gd name="connsiteY35" fmla="*/ 26326 h 134149"/>
                  <a:gd name="connsiteX36" fmla="*/ 122668 w 134303"/>
                  <a:gd name="connsiteY36" fmla="*/ 28257 h 134149"/>
                  <a:gd name="connsiteX37" fmla="*/ 129764 w 134303"/>
                  <a:gd name="connsiteY37" fmla="*/ 41146 h 134149"/>
                  <a:gd name="connsiteX38" fmla="*/ 130175 w 134303"/>
                  <a:gd name="connsiteY38" fmla="*/ 44864 h 134149"/>
                  <a:gd name="connsiteX39" fmla="*/ 127833 w 134303"/>
                  <a:gd name="connsiteY39" fmla="*/ 47784 h 134149"/>
                  <a:gd name="connsiteX40" fmla="*/ 116851 w 134303"/>
                  <a:gd name="connsiteY40" fmla="*/ 53795 h 134149"/>
                  <a:gd name="connsiteX41" fmla="*/ 118613 w 134303"/>
                  <a:gd name="connsiteY41" fmla="*/ 68277 h 134149"/>
                  <a:gd name="connsiteX42" fmla="*/ 130682 w 134303"/>
                  <a:gd name="connsiteY42" fmla="*/ 71512 h 134149"/>
                  <a:gd name="connsiteX43" fmla="*/ 133651 w 134303"/>
                  <a:gd name="connsiteY43" fmla="*/ 73805 h 134149"/>
                  <a:gd name="connsiteX44" fmla="*/ 134133 w 134303"/>
                  <a:gd name="connsiteY44" fmla="*/ 77522 h 134149"/>
                  <a:gd name="connsiteX45" fmla="*/ 130296 w 134303"/>
                  <a:gd name="connsiteY45" fmla="*/ 91739 h 134149"/>
                  <a:gd name="connsiteX46" fmla="*/ 124309 w 134303"/>
                  <a:gd name="connsiteY46" fmla="*/ 95191 h 134149"/>
                  <a:gd name="connsiteX47" fmla="*/ 112240 w 134303"/>
                  <a:gd name="connsiteY47" fmla="*/ 91932 h 134149"/>
                  <a:gd name="connsiteX48" fmla="*/ 103478 w 134303"/>
                  <a:gd name="connsiteY48" fmla="*/ 103567 h 134149"/>
                  <a:gd name="connsiteX49" fmla="*/ 109947 w 134303"/>
                  <a:gd name="connsiteY49" fmla="*/ 114284 h 134149"/>
                  <a:gd name="connsiteX50" fmla="*/ 110503 w 134303"/>
                  <a:gd name="connsiteY50" fmla="*/ 117977 h 134149"/>
                  <a:gd name="connsiteX51" fmla="*/ 108282 w 134303"/>
                  <a:gd name="connsiteY51" fmla="*/ 120994 h 134149"/>
                  <a:gd name="connsiteX52" fmla="*/ 95682 w 134303"/>
                  <a:gd name="connsiteY52" fmla="*/ 128574 h 134149"/>
                  <a:gd name="connsiteX53" fmla="*/ 88972 w 134303"/>
                  <a:gd name="connsiteY53" fmla="*/ 126908 h 134149"/>
                  <a:gd name="connsiteX54" fmla="*/ 82503 w 134303"/>
                  <a:gd name="connsiteY54" fmla="*/ 116191 h 134149"/>
                  <a:gd name="connsiteX55" fmla="*/ 65992 w 134303"/>
                  <a:gd name="connsiteY55" fmla="*/ 118508 h 134149"/>
                  <a:gd name="connsiteX56" fmla="*/ 62758 w 134303"/>
                  <a:gd name="connsiteY56" fmla="*/ 130577 h 134149"/>
                  <a:gd name="connsiteX57" fmla="*/ 57979 w 134303"/>
                  <a:gd name="connsiteY57" fmla="*/ 134149 h 134149"/>
                  <a:gd name="connsiteX58" fmla="*/ 49772 w 134303"/>
                  <a:gd name="connsiteY58" fmla="*/ 122008 h 134149"/>
                  <a:gd name="connsiteX59" fmla="*/ 54527 w 134303"/>
                  <a:gd name="connsiteY59" fmla="*/ 123287 h 134149"/>
                  <a:gd name="connsiteX60" fmla="*/ 57520 w 134303"/>
                  <a:gd name="connsiteY60" fmla="*/ 112087 h 134149"/>
                  <a:gd name="connsiteX61" fmla="*/ 62758 w 134303"/>
                  <a:gd name="connsiteY61" fmla="*/ 108491 h 134149"/>
                  <a:gd name="connsiteX62" fmla="*/ 82696 w 134303"/>
                  <a:gd name="connsiteY62" fmla="*/ 105667 h 134149"/>
                  <a:gd name="connsiteX63" fmla="*/ 88730 w 134303"/>
                  <a:gd name="connsiteY63" fmla="*/ 107670 h 134149"/>
                  <a:gd name="connsiteX64" fmla="*/ 94740 w 134303"/>
                  <a:gd name="connsiteY64" fmla="*/ 117615 h 134149"/>
                  <a:gd name="connsiteX65" fmla="*/ 98965 w 134303"/>
                  <a:gd name="connsiteY65" fmla="*/ 115080 h 134149"/>
                  <a:gd name="connsiteX66" fmla="*/ 92954 w 134303"/>
                  <a:gd name="connsiteY66" fmla="*/ 105112 h 134149"/>
                  <a:gd name="connsiteX67" fmla="*/ 93992 w 134303"/>
                  <a:gd name="connsiteY67" fmla="*/ 98836 h 134149"/>
                  <a:gd name="connsiteX68" fmla="*/ 105120 w 134303"/>
                  <a:gd name="connsiteY68" fmla="*/ 84088 h 134149"/>
                  <a:gd name="connsiteX69" fmla="*/ 110865 w 134303"/>
                  <a:gd name="connsiteY69" fmla="*/ 81360 h 134149"/>
                  <a:gd name="connsiteX70" fmla="*/ 122064 w 134303"/>
                  <a:gd name="connsiteY70" fmla="*/ 84377 h 134149"/>
                  <a:gd name="connsiteX71" fmla="*/ 123344 w 134303"/>
                  <a:gd name="connsiteY71" fmla="*/ 79598 h 134149"/>
                  <a:gd name="connsiteX72" fmla="*/ 112120 w 134303"/>
                  <a:gd name="connsiteY72" fmla="*/ 76605 h 134149"/>
                  <a:gd name="connsiteX73" fmla="*/ 108523 w 134303"/>
                  <a:gd name="connsiteY73" fmla="*/ 71367 h 134149"/>
                  <a:gd name="connsiteX74" fmla="*/ 106303 w 134303"/>
                  <a:gd name="connsiteY74" fmla="*/ 53022 h 134149"/>
                  <a:gd name="connsiteX75" fmla="*/ 108547 w 134303"/>
                  <a:gd name="connsiteY75" fmla="*/ 47084 h 134149"/>
                  <a:gd name="connsiteX76" fmla="*/ 118733 w 134303"/>
                  <a:gd name="connsiteY76" fmla="*/ 41484 h 134149"/>
                  <a:gd name="connsiteX77" fmla="*/ 116344 w 134303"/>
                  <a:gd name="connsiteY77" fmla="*/ 37164 h 134149"/>
                  <a:gd name="connsiteX78" fmla="*/ 106134 w 134303"/>
                  <a:gd name="connsiteY78" fmla="*/ 42739 h 134149"/>
                  <a:gd name="connsiteX79" fmla="*/ 99930 w 134303"/>
                  <a:gd name="connsiteY79" fmla="*/ 41436 h 134149"/>
                  <a:gd name="connsiteX80" fmla="*/ 84096 w 134303"/>
                  <a:gd name="connsiteY80" fmla="*/ 29005 h 134149"/>
                  <a:gd name="connsiteX81" fmla="*/ 81368 w 134303"/>
                  <a:gd name="connsiteY81" fmla="*/ 23260 h 134149"/>
                  <a:gd name="connsiteX82" fmla="*/ 84385 w 134303"/>
                  <a:gd name="connsiteY82" fmla="*/ 12036 h 134149"/>
                  <a:gd name="connsiteX83" fmla="*/ 79630 w 134303"/>
                  <a:gd name="connsiteY83" fmla="*/ 10757 h 134149"/>
                  <a:gd name="connsiteX84" fmla="*/ 76613 w 134303"/>
                  <a:gd name="connsiteY84" fmla="*/ 21957 h 134149"/>
                  <a:gd name="connsiteX85" fmla="*/ 71399 w 134303"/>
                  <a:gd name="connsiteY85" fmla="*/ 25553 h 134149"/>
                  <a:gd name="connsiteX86" fmla="*/ 51461 w 134303"/>
                  <a:gd name="connsiteY86" fmla="*/ 28377 h 134149"/>
                  <a:gd name="connsiteX87" fmla="*/ 45427 w 134303"/>
                  <a:gd name="connsiteY87" fmla="*/ 26374 h 134149"/>
                  <a:gd name="connsiteX88" fmla="*/ 39417 w 134303"/>
                  <a:gd name="connsiteY88" fmla="*/ 16405 h 134149"/>
                  <a:gd name="connsiteX89" fmla="*/ 35192 w 134303"/>
                  <a:gd name="connsiteY89" fmla="*/ 18939 h 134149"/>
                  <a:gd name="connsiteX90" fmla="*/ 41203 w 134303"/>
                  <a:gd name="connsiteY90" fmla="*/ 28884 h 134149"/>
                  <a:gd name="connsiteX91" fmla="*/ 40165 w 134303"/>
                  <a:gd name="connsiteY91" fmla="*/ 35136 h 134149"/>
                  <a:gd name="connsiteX92" fmla="*/ 29037 w 134303"/>
                  <a:gd name="connsiteY92" fmla="*/ 49908 h 134149"/>
                  <a:gd name="connsiteX93" fmla="*/ 23293 w 134303"/>
                  <a:gd name="connsiteY93" fmla="*/ 52636 h 134149"/>
                  <a:gd name="connsiteX94" fmla="*/ 12093 w 134303"/>
                  <a:gd name="connsiteY94" fmla="*/ 49619 h 134149"/>
                  <a:gd name="connsiteX95" fmla="*/ 10813 w 134303"/>
                  <a:gd name="connsiteY95" fmla="*/ 54374 h 134149"/>
                  <a:gd name="connsiteX96" fmla="*/ 22013 w 134303"/>
                  <a:gd name="connsiteY96" fmla="*/ 57391 h 134149"/>
                  <a:gd name="connsiteX97" fmla="*/ 25610 w 134303"/>
                  <a:gd name="connsiteY97" fmla="*/ 62629 h 134149"/>
                  <a:gd name="connsiteX98" fmla="*/ 27830 w 134303"/>
                  <a:gd name="connsiteY98" fmla="*/ 80950 h 134149"/>
                  <a:gd name="connsiteX99" fmla="*/ 25586 w 134303"/>
                  <a:gd name="connsiteY99" fmla="*/ 86887 h 134149"/>
                  <a:gd name="connsiteX100" fmla="*/ 15375 w 134303"/>
                  <a:gd name="connsiteY100" fmla="*/ 92487 h 134149"/>
                  <a:gd name="connsiteX101" fmla="*/ 17765 w 134303"/>
                  <a:gd name="connsiteY101" fmla="*/ 96832 h 134149"/>
                  <a:gd name="connsiteX102" fmla="*/ 27975 w 134303"/>
                  <a:gd name="connsiteY102" fmla="*/ 91232 h 134149"/>
                  <a:gd name="connsiteX103" fmla="*/ 34179 w 134303"/>
                  <a:gd name="connsiteY103" fmla="*/ 92512 h 134149"/>
                  <a:gd name="connsiteX104" fmla="*/ 50013 w 134303"/>
                  <a:gd name="connsiteY104" fmla="*/ 104967 h 134149"/>
                  <a:gd name="connsiteX105" fmla="*/ 52741 w 134303"/>
                  <a:gd name="connsiteY105" fmla="*/ 110687 h 134149"/>
                  <a:gd name="connsiteX106" fmla="*/ 49772 w 134303"/>
                  <a:gd name="connsiteY106" fmla="*/ 122008 h 134149"/>
                  <a:gd name="connsiteX107" fmla="*/ 67127 w 134303"/>
                  <a:gd name="connsiteY107" fmla="*/ 96712 h 134149"/>
                  <a:gd name="connsiteX108" fmla="*/ 64954 w 134303"/>
                  <a:gd name="connsiteY108" fmla="*/ 96639 h 134149"/>
                  <a:gd name="connsiteX109" fmla="*/ 37558 w 134303"/>
                  <a:gd name="connsiteY109" fmla="*/ 64898 h 134149"/>
                  <a:gd name="connsiteX110" fmla="*/ 69299 w 134303"/>
                  <a:gd name="connsiteY110" fmla="*/ 37477 h 134149"/>
                  <a:gd name="connsiteX111" fmla="*/ 96720 w 134303"/>
                  <a:gd name="connsiteY111" fmla="*/ 69194 h 134149"/>
                  <a:gd name="connsiteX112" fmla="*/ 67127 w 134303"/>
                  <a:gd name="connsiteY112" fmla="*/ 96712 h 134149"/>
                  <a:gd name="connsiteX113" fmla="*/ 67079 w 134303"/>
                  <a:gd name="connsiteY113" fmla="*/ 47157 h 134149"/>
                  <a:gd name="connsiteX114" fmla="*/ 47286 w 134303"/>
                  <a:gd name="connsiteY114" fmla="*/ 65598 h 134149"/>
                  <a:gd name="connsiteX115" fmla="*/ 65654 w 134303"/>
                  <a:gd name="connsiteY115" fmla="*/ 86887 h 134149"/>
                  <a:gd name="connsiteX116" fmla="*/ 86920 w 134303"/>
                  <a:gd name="connsiteY116" fmla="*/ 68494 h 134149"/>
                  <a:gd name="connsiteX117" fmla="*/ 68551 w 134303"/>
                  <a:gd name="connsiteY117" fmla="*/ 47229 h 134149"/>
                  <a:gd name="connsiteX118" fmla="*/ 67079 w 134303"/>
                  <a:gd name="connsiteY118" fmla="*/ 47157 h 134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Lst>
                <a:rect l="l" t="t" r="r" b="b"/>
                <a:pathLst>
                  <a:path w="134303" h="134149">
                    <a:moveTo>
                      <a:pt x="57979" y="134149"/>
                    </a:moveTo>
                    <a:cubicBezTo>
                      <a:pt x="57568" y="134149"/>
                      <a:pt x="57134" y="134101"/>
                      <a:pt x="56723" y="133980"/>
                    </a:cubicBezTo>
                    <a:lnTo>
                      <a:pt x="42530" y="130191"/>
                    </a:lnTo>
                    <a:cubicBezTo>
                      <a:pt x="41275" y="129853"/>
                      <a:pt x="40213" y="129032"/>
                      <a:pt x="39561" y="127922"/>
                    </a:cubicBezTo>
                    <a:cubicBezTo>
                      <a:pt x="38910" y="126787"/>
                      <a:pt x="38741" y="125460"/>
                      <a:pt x="39079" y="124205"/>
                    </a:cubicBezTo>
                    <a:lnTo>
                      <a:pt x="42313" y="112136"/>
                    </a:lnTo>
                    <a:cubicBezTo>
                      <a:pt x="37437" y="109432"/>
                      <a:pt x="32996" y="105956"/>
                      <a:pt x="29231" y="101829"/>
                    </a:cubicBezTo>
                    <a:lnTo>
                      <a:pt x="18248" y="107863"/>
                    </a:lnTo>
                    <a:cubicBezTo>
                      <a:pt x="15882" y="109143"/>
                      <a:pt x="12913" y="108298"/>
                      <a:pt x="11610" y="105932"/>
                    </a:cubicBezTo>
                    <a:lnTo>
                      <a:pt x="4513" y="93043"/>
                    </a:lnTo>
                    <a:cubicBezTo>
                      <a:pt x="3886" y="91908"/>
                      <a:pt x="3741" y="90556"/>
                      <a:pt x="4103" y="89325"/>
                    </a:cubicBezTo>
                    <a:cubicBezTo>
                      <a:pt x="4465" y="88070"/>
                      <a:pt x="5310" y="87032"/>
                      <a:pt x="6444" y="86405"/>
                    </a:cubicBezTo>
                    <a:lnTo>
                      <a:pt x="17427" y="80394"/>
                    </a:lnTo>
                    <a:cubicBezTo>
                      <a:pt x="16172" y="75688"/>
                      <a:pt x="15593" y="70812"/>
                      <a:pt x="15689" y="65936"/>
                    </a:cubicBezTo>
                    <a:lnTo>
                      <a:pt x="3620" y="62677"/>
                    </a:lnTo>
                    <a:cubicBezTo>
                      <a:pt x="1013" y="61977"/>
                      <a:pt x="-531" y="59298"/>
                      <a:pt x="168" y="56691"/>
                    </a:cubicBezTo>
                    <a:lnTo>
                      <a:pt x="3982" y="42498"/>
                    </a:lnTo>
                    <a:cubicBezTo>
                      <a:pt x="4320" y="41243"/>
                      <a:pt x="5141" y="40181"/>
                      <a:pt x="6275" y="39529"/>
                    </a:cubicBezTo>
                    <a:cubicBezTo>
                      <a:pt x="7386" y="38877"/>
                      <a:pt x="8713" y="38684"/>
                      <a:pt x="9993" y="39046"/>
                    </a:cubicBezTo>
                    <a:lnTo>
                      <a:pt x="22061" y="42305"/>
                    </a:lnTo>
                    <a:cubicBezTo>
                      <a:pt x="24427" y="38008"/>
                      <a:pt x="27348" y="34122"/>
                      <a:pt x="30848" y="30646"/>
                    </a:cubicBezTo>
                    <a:lnTo>
                      <a:pt x="24379" y="19929"/>
                    </a:lnTo>
                    <a:cubicBezTo>
                      <a:pt x="23703" y="18819"/>
                      <a:pt x="23510" y="17491"/>
                      <a:pt x="23824" y="16236"/>
                    </a:cubicBezTo>
                    <a:cubicBezTo>
                      <a:pt x="24137" y="14981"/>
                      <a:pt x="24934" y="13895"/>
                      <a:pt x="26044" y="13219"/>
                    </a:cubicBezTo>
                    <a:lnTo>
                      <a:pt x="38644" y="5640"/>
                    </a:lnTo>
                    <a:cubicBezTo>
                      <a:pt x="40961" y="4240"/>
                      <a:pt x="43955" y="4988"/>
                      <a:pt x="45355" y="7305"/>
                    </a:cubicBezTo>
                    <a:lnTo>
                      <a:pt x="51823" y="18022"/>
                    </a:lnTo>
                    <a:cubicBezTo>
                      <a:pt x="57134" y="16357"/>
                      <a:pt x="62686" y="15536"/>
                      <a:pt x="68334" y="15681"/>
                    </a:cubicBezTo>
                    <a:lnTo>
                      <a:pt x="71568" y="3612"/>
                    </a:lnTo>
                    <a:cubicBezTo>
                      <a:pt x="72268" y="1005"/>
                      <a:pt x="74899" y="-516"/>
                      <a:pt x="77554" y="160"/>
                    </a:cubicBezTo>
                    <a:lnTo>
                      <a:pt x="91747" y="3950"/>
                    </a:lnTo>
                    <a:cubicBezTo>
                      <a:pt x="93003" y="4288"/>
                      <a:pt x="94065" y="5109"/>
                      <a:pt x="94716" y="6219"/>
                    </a:cubicBezTo>
                    <a:cubicBezTo>
                      <a:pt x="95368" y="7353"/>
                      <a:pt x="95537" y="8681"/>
                      <a:pt x="95199" y="9936"/>
                    </a:cubicBezTo>
                    <a:lnTo>
                      <a:pt x="91941" y="22029"/>
                    </a:lnTo>
                    <a:cubicBezTo>
                      <a:pt x="96816" y="24708"/>
                      <a:pt x="101258" y="28208"/>
                      <a:pt x="105047" y="32336"/>
                    </a:cubicBezTo>
                    <a:lnTo>
                      <a:pt x="116030" y="26326"/>
                    </a:lnTo>
                    <a:cubicBezTo>
                      <a:pt x="118420" y="25046"/>
                      <a:pt x="121365" y="25891"/>
                      <a:pt x="122668" y="28257"/>
                    </a:cubicBezTo>
                    <a:lnTo>
                      <a:pt x="129764" y="41146"/>
                    </a:lnTo>
                    <a:cubicBezTo>
                      <a:pt x="130392" y="42281"/>
                      <a:pt x="130537" y="43633"/>
                      <a:pt x="130175" y="44864"/>
                    </a:cubicBezTo>
                    <a:cubicBezTo>
                      <a:pt x="129813" y="46119"/>
                      <a:pt x="128968" y="47157"/>
                      <a:pt x="127833" y="47784"/>
                    </a:cubicBezTo>
                    <a:lnTo>
                      <a:pt x="116851" y="53795"/>
                    </a:lnTo>
                    <a:cubicBezTo>
                      <a:pt x="118130" y="58526"/>
                      <a:pt x="118709" y="63377"/>
                      <a:pt x="118613" y="68277"/>
                    </a:cubicBezTo>
                    <a:lnTo>
                      <a:pt x="130682" y="71512"/>
                    </a:lnTo>
                    <a:cubicBezTo>
                      <a:pt x="131937" y="71850"/>
                      <a:pt x="132999" y="72670"/>
                      <a:pt x="133651" y="73805"/>
                    </a:cubicBezTo>
                    <a:cubicBezTo>
                      <a:pt x="134302" y="74939"/>
                      <a:pt x="134471" y="76267"/>
                      <a:pt x="134133" y="77522"/>
                    </a:cubicBezTo>
                    <a:lnTo>
                      <a:pt x="130296" y="91739"/>
                    </a:lnTo>
                    <a:cubicBezTo>
                      <a:pt x="129595" y="94346"/>
                      <a:pt x="126916" y="95891"/>
                      <a:pt x="124309" y="95191"/>
                    </a:cubicBezTo>
                    <a:lnTo>
                      <a:pt x="112240" y="91932"/>
                    </a:lnTo>
                    <a:cubicBezTo>
                      <a:pt x="109875" y="96205"/>
                      <a:pt x="106930" y="100139"/>
                      <a:pt x="103478" y="103567"/>
                    </a:cubicBezTo>
                    <a:lnTo>
                      <a:pt x="109947" y="114284"/>
                    </a:lnTo>
                    <a:cubicBezTo>
                      <a:pt x="110623" y="115394"/>
                      <a:pt x="110816" y="116722"/>
                      <a:pt x="110503" y="117977"/>
                    </a:cubicBezTo>
                    <a:cubicBezTo>
                      <a:pt x="110189" y="119232"/>
                      <a:pt x="109392" y="120318"/>
                      <a:pt x="108282" y="120994"/>
                    </a:cubicBezTo>
                    <a:lnTo>
                      <a:pt x="95682" y="128574"/>
                    </a:lnTo>
                    <a:cubicBezTo>
                      <a:pt x="93365" y="129974"/>
                      <a:pt x="90372" y="129225"/>
                      <a:pt x="88972" y="126908"/>
                    </a:cubicBezTo>
                    <a:lnTo>
                      <a:pt x="82503" y="116191"/>
                    </a:lnTo>
                    <a:cubicBezTo>
                      <a:pt x="77192" y="117856"/>
                      <a:pt x="71713" y="118677"/>
                      <a:pt x="65992" y="118508"/>
                    </a:cubicBezTo>
                    <a:lnTo>
                      <a:pt x="62758" y="130577"/>
                    </a:lnTo>
                    <a:cubicBezTo>
                      <a:pt x="62130" y="132725"/>
                      <a:pt x="60151" y="134149"/>
                      <a:pt x="57979" y="134149"/>
                    </a:cubicBezTo>
                    <a:close/>
                    <a:moveTo>
                      <a:pt x="49772" y="122008"/>
                    </a:moveTo>
                    <a:lnTo>
                      <a:pt x="54527" y="123287"/>
                    </a:lnTo>
                    <a:lnTo>
                      <a:pt x="57520" y="112087"/>
                    </a:lnTo>
                    <a:cubicBezTo>
                      <a:pt x="58148" y="109770"/>
                      <a:pt x="60368" y="108249"/>
                      <a:pt x="62758" y="108491"/>
                    </a:cubicBezTo>
                    <a:cubicBezTo>
                      <a:pt x="69661" y="109215"/>
                      <a:pt x="76396" y="108225"/>
                      <a:pt x="82696" y="105667"/>
                    </a:cubicBezTo>
                    <a:cubicBezTo>
                      <a:pt x="84941" y="104774"/>
                      <a:pt x="87475" y="105594"/>
                      <a:pt x="88730" y="107670"/>
                    </a:cubicBezTo>
                    <a:lnTo>
                      <a:pt x="94740" y="117615"/>
                    </a:lnTo>
                    <a:lnTo>
                      <a:pt x="98965" y="115080"/>
                    </a:lnTo>
                    <a:lnTo>
                      <a:pt x="92954" y="105112"/>
                    </a:lnTo>
                    <a:cubicBezTo>
                      <a:pt x="91699" y="103060"/>
                      <a:pt x="92158" y="100381"/>
                      <a:pt x="93992" y="98836"/>
                    </a:cubicBezTo>
                    <a:cubicBezTo>
                      <a:pt x="98723" y="94877"/>
                      <a:pt x="102561" y="89760"/>
                      <a:pt x="105120" y="84088"/>
                    </a:cubicBezTo>
                    <a:cubicBezTo>
                      <a:pt x="106109" y="81891"/>
                      <a:pt x="108499" y="80732"/>
                      <a:pt x="110865" y="81360"/>
                    </a:cubicBezTo>
                    <a:lnTo>
                      <a:pt x="122064" y="84377"/>
                    </a:lnTo>
                    <a:lnTo>
                      <a:pt x="123344" y="79598"/>
                    </a:lnTo>
                    <a:lnTo>
                      <a:pt x="112120" y="76605"/>
                    </a:lnTo>
                    <a:cubicBezTo>
                      <a:pt x="109803" y="75977"/>
                      <a:pt x="108282" y="73757"/>
                      <a:pt x="108523" y="71367"/>
                    </a:cubicBezTo>
                    <a:cubicBezTo>
                      <a:pt x="109175" y="65115"/>
                      <a:pt x="108451" y="58936"/>
                      <a:pt x="106303" y="53022"/>
                    </a:cubicBezTo>
                    <a:cubicBezTo>
                      <a:pt x="105482" y="50753"/>
                      <a:pt x="106447" y="48243"/>
                      <a:pt x="108547" y="47084"/>
                    </a:cubicBezTo>
                    <a:lnTo>
                      <a:pt x="118733" y="41484"/>
                    </a:lnTo>
                    <a:lnTo>
                      <a:pt x="116344" y="37164"/>
                    </a:lnTo>
                    <a:lnTo>
                      <a:pt x="106134" y="42739"/>
                    </a:lnTo>
                    <a:cubicBezTo>
                      <a:pt x="104009" y="43898"/>
                      <a:pt x="101403" y="43343"/>
                      <a:pt x="99930" y="41436"/>
                    </a:cubicBezTo>
                    <a:cubicBezTo>
                      <a:pt x="95754" y="36053"/>
                      <a:pt x="90275" y="31757"/>
                      <a:pt x="84096" y="29005"/>
                    </a:cubicBezTo>
                    <a:cubicBezTo>
                      <a:pt x="81899" y="28015"/>
                      <a:pt x="80741" y="25602"/>
                      <a:pt x="81368" y="23260"/>
                    </a:cubicBezTo>
                    <a:lnTo>
                      <a:pt x="84385" y="12036"/>
                    </a:lnTo>
                    <a:lnTo>
                      <a:pt x="79630" y="10757"/>
                    </a:lnTo>
                    <a:lnTo>
                      <a:pt x="76613" y="21957"/>
                    </a:lnTo>
                    <a:cubicBezTo>
                      <a:pt x="75985" y="24274"/>
                      <a:pt x="73717" y="25771"/>
                      <a:pt x="71399" y="25553"/>
                    </a:cubicBezTo>
                    <a:cubicBezTo>
                      <a:pt x="64520" y="24853"/>
                      <a:pt x="57761" y="25819"/>
                      <a:pt x="51461" y="28377"/>
                    </a:cubicBezTo>
                    <a:cubicBezTo>
                      <a:pt x="49217" y="29295"/>
                      <a:pt x="46682" y="28450"/>
                      <a:pt x="45427" y="26374"/>
                    </a:cubicBezTo>
                    <a:lnTo>
                      <a:pt x="39417" y="16405"/>
                    </a:lnTo>
                    <a:lnTo>
                      <a:pt x="35192" y="18939"/>
                    </a:lnTo>
                    <a:lnTo>
                      <a:pt x="41203" y="28884"/>
                    </a:lnTo>
                    <a:cubicBezTo>
                      <a:pt x="42434" y="30936"/>
                      <a:pt x="41999" y="33591"/>
                      <a:pt x="40165" y="35136"/>
                    </a:cubicBezTo>
                    <a:cubicBezTo>
                      <a:pt x="35337" y="39215"/>
                      <a:pt x="31596" y="44188"/>
                      <a:pt x="29037" y="49908"/>
                    </a:cubicBezTo>
                    <a:cubicBezTo>
                      <a:pt x="28048" y="52105"/>
                      <a:pt x="25658" y="53263"/>
                      <a:pt x="23293" y="52636"/>
                    </a:cubicBezTo>
                    <a:lnTo>
                      <a:pt x="12093" y="49619"/>
                    </a:lnTo>
                    <a:lnTo>
                      <a:pt x="10813" y="54374"/>
                    </a:lnTo>
                    <a:lnTo>
                      <a:pt x="22013" y="57391"/>
                    </a:lnTo>
                    <a:cubicBezTo>
                      <a:pt x="24330" y="58019"/>
                      <a:pt x="25851" y="60239"/>
                      <a:pt x="25610" y="62629"/>
                    </a:cubicBezTo>
                    <a:cubicBezTo>
                      <a:pt x="24958" y="68808"/>
                      <a:pt x="25730" y="75132"/>
                      <a:pt x="27830" y="80950"/>
                    </a:cubicBezTo>
                    <a:cubicBezTo>
                      <a:pt x="28651" y="83219"/>
                      <a:pt x="27686" y="85729"/>
                      <a:pt x="25586" y="86887"/>
                    </a:cubicBezTo>
                    <a:lnTo>
                      <a:pt x="15375" y="92487"/>
                    </a:lnTo>
                    <a:lnTo>
                      <a:pt x="17765" y="96832"/>
                    </a:lnTo>
                    <a:lnTo>
                      <a:pt x="27975" y="91232"/>
                    </a:lnTo>
                    <a:cubicBezTo>
                      <a:pt x="30051" y="90074"/>
                      <a:pt x="32706" y="90629"/>
                      <a:pt x="34179" y="92512"/>
                    </a:cubicBezTo>
                    <a:cubicBezTo>
                      <a:pt x="38355" y="97894"/>
                      <a:pt x="43810" y="102191"/>
                      <a:pt x="50013" y="104967"/>
                    </a:cubicBezTo>
                    <a:cubicBezTo>
                      <a:pt x="52210" y="105956"/>
                      <a:pt x="53368" y="108370"/>
                      <a:pt x="52741" y="110687"/>
                    </a:cubicBezTo>
                    <a:lnTo>
                      <a:pt x="49772" y="122008"/>
                    </a:lnTo>
                    <a:close/>
                    <a:moveTo>
                      <a:pt x="67127" y="96712"/>
                    </a:moveTo>
                    <a:cubicBezTo>
                      <a:pt x="66403" y="96712"/>
                      <a:pt x="65679" y="96687"/>
                      <a:pt x="64954" y="96639"/>
                    </a:cubicBezTo>
                    <a:cubicBezTo>
                      <a:pt x="48661" y="95456"/>
                      <a:pt x="36351" y="81215"/>
                      <a:pt x="37558" y="64898"/>
                    </a:cubicBezTo>
                    <a:cubicBezTo>
                      <a:pt x="38741" y="48750"/>
                      <a:pt x="52958" y="36270"/>
                      <a:pt x="69299" y="37477"/>
                    </a:cubicBezTo>
                    <a:cubicBezTo>
                      <a:pt x="85592" y="38660"/>
                      <a:pt x="97903" y="52901"/>
                      <a:pt x="96720" y="69194"/>
                    </a:cubicBezTo>
                    <a:cubicBezTo>
                      <a:pt x="95537" y="84619"/>
                      <a:pt x="82575" y="96712"/>
                      <a:pt x="67127" y="96712"/>
                    </a:cubicBezTo>
                    <a:close/>
                    <a:moveTo>
                      <a:pt x="67079" y="47157"/>
                    </a:moveTo>
                    <a:cubicBezTo>
                      <a:pt x="56723" y="47157"/>
                      <a:pt x="48034" y="55243"/>
                      <a:pt x="47286" y="65598"/>
                    </a:cubicBezTo>
                    <a:cubicBezTo>
                      <a:pt x="46489" y="76532"/>
                      <a:pt x="54720" y="86091"/>
                      <a:pt x="65654" y="86887"/>
                    </a:cubicBezTo>
                    <a:cubicBezTo>
                      <a:pt x="76492" y="87612"/>
                      <a:pt x="86147" y="79332"/>
                      <a:pt x="86920" y="68494"/>
                    </a:cubicBezTo>
                    <a:cubicBezTo>
                      <a:pt x="87716" y="57560"/>
                      <a:pt x="79485" y="48026"/>
                      <a:pt x="68551" y="47229"/>
                    </a:cubicBezTo>
                    <a:cubicBezTo>
                      <a:pt x="68068" y="47181"/>
                      <a:pt x="67561" y="47157"/>
                      <a:pt x="67079" y="47157"/>
                    </a:cubicBezTo>
                    <a:close/>
                  </a:path>
                </a:pathLst>
              </a:custGeom>
              <a:solidFill>
                <a:schemeClr val="accent1"/>
              </a:solidFill>
              <a:ln w="2407" cap="flat">
                <a:noFill/>
                <a:prstDash val="solid"/>
                <a:miter/>
              </a:ln>
            </p:spPr>
            <p:txBody>
              <a:bodyPr rtlCol="0" anchor="ctr"/>
              <a:lstStyle/>
              <a:p>
                <a:endParaRPr lang="en-GB" dirty="0"/>
              </a:p>
            </p:txBody>
          </p:sp>
        </p:grpSp>
      </p:grpSp>
      <p:grpSp>
        <p:nvGrpSpPr>
          <p:cNvPr id="579" name="Group 578">
            <a:extLst>
              <a:ext uri="{FF2B5EF4-FFF2-40B4-BE49-F238E27FC236}">
                <a16:creationId xmlns:a16="http://schemas.microsoft.com/office/drawing/2014/main" id="{0DABE8B0-69D4-46B4-A70B-4AB06B3008B7}"/>
              </a:ext>
            </a:extLst>
          </p:cNvPr>
          <p:cNvGrpSpPr>
            <a:grpSpLocks noChangeAspect="1"/>
          </p:cNvGrpSpPr>
          <p:nvPr/>
        </p:nvGrpSpPr>
        <p:grpSpPr>
          <a:xfrm>
            <a:off x="8010587" y="4002608"/>
            <a:ext cx="664163" cy="432002"/>
            <a:chOff x="5233949" y="1784550"/>
            <a:chExt cx="721267" cy="469146"/>
          </a:xfrm>
        </p:grpSpPr>
        <p:grpSp>
          <p:nvGrpSpPr>
            <p:cNvPr id="580" name="Group 579">
              <a:extLst>
                <a:ext uri="{FF2B5EF4-FFF2-40B4-BE49-F238E27FC236}">
                  <a16:creationId xmlns:a16="http://schemas.microsoft.com/office/drawing/2014/main" id="{3B219944-A16F-49DA-BFFE-435C5CF4327F}"/>
                </a:ext>
              </a:extLst>
            </p:cNvPr>
            <p:cNvGrpSpPr/>
            <p:nvPr/>
          </p:nvGrpSpPr>
          <p:grpSpPr>
            <a:xfrm>
              <a:off x="5574025" y="1973095"/>
              <a:ext cx="92396" cy="280601"/>
              <a:chOff x="5574025" y="1973092"/>
              <a:chExt cx="92396" cy="280601"/>
            </a:xfrm>
            <a:solidFill>
              <a:schemeClr val="accent1"/>
            </a:solidFill>
          </p:grpSpPr>
          <p:sp>
            <p:nvSpPr>
              <p:cNvPr id="587" name="Freihandform: Form 711">
                <a:extLst>
                  <a:ext uri="{FF2B5EF4-FFF2-40B4-BE49-F238E27FC236}">
                    <a16:creationId xmlns:a16="http://schemas.microsoft.com/office/drawing/2014/main" id="{9A4778A1-ABA9-4072-8F9A-978E3DCB755C}"/>
                  </a:ext>
                </a:extLst>
              </p:cNvPr>
              <p:cNvSpPr/>
              <p:nvPr/>
            </p:nvSpPr>
            <p:spPr>
              <a:xfrm>
                <a:off x="5590410" y="1973092"/>
                <a:ext cx="10650" cy="190781"/>
              </a:xfrm>
              <a:custGeom>
                <a:avLst/>
                <a:gdLst>
                  <a:gd name="connsiteX0" fmla="*/ 5325 w 10650"/>
                  <a:gd name="connsiteY0" fmla="*/ 190782 h 190781"/>
                  <a:gd name="connsiteX1" fmla="*/ 0 w 10650"/>
                  <a:gd name="connsiteY1" fmla="*/ 185456 h 190781"/>
                  <a:gd name="connsiteX2" fmla="*/ 0 w 10650"/>
                  <a:gd name="connsiteY2" fmla="*/ 5325 h 190781"/>
                  <a:gd name="connsiteX3" fmla="*/ 5325 w 10650"/>
                  <a:gd name="connsiteY3" fmla="*/ 0 h 190781"/>
                  <a:gd name="connsiteX4" fmla="*/ 10651 w 10650"/>
                  <a:gd name="connsiteY4" fmla="*/ 5325 h 190781"/>
                  <a:gd name="connsiteX5" fmla="*/ 10651 w 10650"/>
                  <a:gd name="connsiteY5" fmla="*/ 185456 h 190781"/>
                  <a:gd name="connsiteX6" fmla="*/ 5325 w 10650"/>
                  <a:gd name="connsiteY6" fmla="*/ 190782 h 190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50" h="190781">
                    <a:moveTo>
                      <a:pt x="5325" y="190782"/>
                    </a:moveTo>
                    <a:cubicBezTo>
                      <a:pt x="2376" y="190782"/>
                      <a:pt x="0" y="188406"/>
                      <a:pt x="0" y="185456"/>
                    </a:cubicBezTo>
                    <a:lnTo>
                      <a:pt x="0" y="5325"/>
                    </a:lnTo>
                    <a:cubicBezTo>
                      <a:pt x="0" y="2376"/>
                      <a:pt x="2376" y="0"/>
                      <a:pt x="5325" y="0"/>
                    </a:cubicBezTo>
                    <a:cubicBezTo>
                      <a:pt x="8275" y="0"/>
                      <a:pt x="10651" y="2376"/>
                      <a:pt x="10651" y="5325"/>
                    </a:cubicBezTo>
                    <a:lnTo>
                      <a:pt x="10651" y="185456"/>
                    </a:lnTo>
                    <a:cubicBezTo>
                      <a:pt x="10651" y="188406"/>
                      <a:pt x="8275" y="190782"/>
                      <a:pt x="5325" y="190782"/>
                    </a:cubicBezTo>
                    <a:close/>
                  </a:path>
                </a:pathLst>
              </a:custGeom>
              <a:solidFill>
                <a:schemeClr val="accent1"/>
              </a:solidFill>
              <a:ln w="2724" cap="flat">
                <a:noFill/>
                <a:prstDash val="solid"/>
                <a:miter/>
              </a:ln>
            </p:spPr>
            <p:txBody>
              <a:bodyPr rtlCol="0" anchor="ctr"/>
              <a:lstStyle/>
              <a:p>
                <a:endParaRPr lang="en-GB" dirty="0"/>
              </a:p>
            </p:txBody>
          </p:sp>
          <p:sp>
            <p:nvSpPr>
              <p:cNvPr id="588" name="Freihandform: Form 712">
                <a:extLst>
                  <a:ext uri="{FF2B5EF4-FFF2-40B4-BE49-F238E27FC236}">
                    <a16:creationId xmlns:a16="http://schemas.microsoft.com/office/drawing/2014/main" id="{0319D377-A8D5-46C2-AC35-06E18641D25A}"/>
                  </a:ext>
                </a:extLst>
              </p:cNvPr>
              <p:cNvSpPr/>
              <p:nvPr/>
            </p:nvSpPr>
            <p:spPr>
              <a:xfrm>
                <a:off x="5574025" y="2154998"/>
                <a:ext cx="92396" cy="98695"/>
              </a:xfrm>
              <a:custGeom>
                <a:avLst/>
                <a:gdLst>
                  <a:gd name="connsiteX0" fmla="*/ 82610 w 92396"/>
                  <a:gd name="connsiteY0" fmla="*/ 32798 h 98695"/>
                  <a:gd name="connsiteX1" fmla="*/ 70621 w 92396"/>
                  <a:gd name="connsiteY1" fmla="*/ 26708 h 98695"/>
                  <a:gd name="connsiteX2" fmla="*/ 56066 w 92396"/>
                  <a:gd name="connsiteY2" fmla="*/ 34519 h 98695"/>
                  <a:gd name="connsiteX3" fmla="*/ 55465 w 92396"/>
                  <a:gd name="connsiteY3" fmla="*/ 48774 h 98695"/>
                  <a:gd name="connsiteX4" fmla="*/ 56694 w 92396"/>
                  <a:gd name="connsiteY4" fmla="*/ 58960 h 98695"/>
                  <a:gd name="connsiteX5" fmla="*/ 50058 w 92396"/>
                  <a:gd name="connsiteY5" fmla="*/ 60544 h 98695"/>
                  <a:gd name="connsiteX6" fmla="*/ 42329 w 92396"/>
                  <a:gd name="connsiteY6" fmla="*/ 58059 h 98695"/>
                  <a:gd name="connsiteX7" fmla="*/ 42329 w 92396"/>
                  <a:gd name="connsiteY7" fmla="*/ 22858 h 98695"/>
                  <a:gd name="connsiteX8" fmla="*/ 21165 w 92396"/>
                  <a:gd name="connsiteY8" fmla="*/ 0 h 98695"/>
                  <a:gd name="connsiteX9" fmla="*/ 0 w 92396"/>
                  <a:gd name="connsiteY9" fmla="*/ 22858 h 98695"/>
                  <a:gd name="connsiteX10" fmla="*/ 0 w 92396"/>
                  <a:gd name="connsiteY10" fmla="*/ 58360 h 98695"/>
                  <a:gd name="connsiteX11" fmla="*/ 137 w 92396"/>
                  <a:gd name="connsiteY11" fmla="*/ 60790 h 98695"/>
                  <a:gd name="connsiteX12" fmla="*/ 50003 w 92396"/>
                  <a:gd name="connsiteY12" fmla="*/ 98695 h 98695"/>
                  <a:gd name="connsiteX13" fmla="*/ 88673 w 92396"/>
                  <a:gd name="connsiteY13" fmla="*/ 75482 h 98695"/>
                  <a:gd name="connsiteX14" fmla="*/ 82610 w 92396"/>
                  <a:gd name="connsiteY14" fmla="*/ 32798 h 98695"/>
                  <a:gd name="connsiteX15" fmla="*/ 49948 w 92396"/>
                  <a:gd name="connsiteY15" fmla="*/ 88017 h 98695"/>
                  <a:gd name="connsiteX16" fmla="*/ 10705 w 92396"/>
                  <a:gd name="connsiteY16" fmla="*/ 59752 h 98695"/>
                  <a:gd name="connsiteX17" fmla="*/ 10623 w 92396"/>
                  <a:gd name="connsiteY17" fmla="*/ 58332 h 98695"/>
                  <a:gd name="connsiteX18" fmla="*/ 10623 w 92396"/>
                  <a:gd name="connsiteY18" fmla="*/ 22830 h 98695"/>
                  <a:gd name="connsiteX19" fmla="*/ 21137 w 92396"/>
                  <a:gd name="connsiteY19" fmla="*/ 10623 h 98695"/>
                  <a:gd name="connsiteX20" fmla="*/ 31651 w 92396"/>
                  <a:gd name="connsiteY20" fmla="*/ 22830 h 98695"/>
                  <a:gd name="connsiteX21" fmla="*/ 31651 w 92396"/>
                  <a:gd name="connsiteY21" fmla="*/ 58332 h 98695"/>
                  <a:gd name="connsiteX22" fmla="*/ 31624 w 92396"/>
                  <a:gd name="connsiteY22" fmla="*/ 58797 h 98695"/>
                  <a:gd name="connsiteX23" fmla="*/ 49948 w 92396"/>
                  <a:gd name="connsiteY23" fmla="*/ 71195 h 98695"/>
                  <a:gd name="connsiteX24" fmla="*/ 65132 w 92396"/>
                  <a:gd name="connsiteY24" fmla="*/ 44295 h 98695"/>
                  <a:gd name="connsiteX25" fmla="*/ 70621 w 92396"/>
                  <a:gd name="connsiteY25" fmla="*/ 37386 h 98695"/>
                  <a:gd name="connsiteX26" fmla="*/ 73817 w 92396"/>
                  <a:gd name="connsiteY26" fmla="*/ 38861 h 98695"/>
                  <a:gd name="connsiteX27" fmla="*/ 49948 w 92396"/>
                  <a:gd name="connsiteY27" fmla="*/ 88017 h 98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2396" h="98695">
                    <a:moveTo>
                      <a:pt x="82610" y="32798"/>
                    </a:moveTo>
                    <a:cubicBezTo>
                      <a:pt x="80070" y="28975"/>
                      <a:pt x="75646" y="26708"/>
                      <a:pt x="70621" y="26708"/>
                    </a:cubicBezTo>
                    <a:cubicBezTo>
                      <a:pt x="64695" y="26708"/>
                      <a:pt x="58988" y="29767"/>
                      <a:pt x="56066" y="34519"/>
                    </a:cubicBezTo>
                    <a:cubicBezTo>
                      <a:pt x="53389" y="38834"/>
                      <a:pt x="53198" y="44022"/>
                      <a:pt x="55465" y="48774"/>
                    </a:cubicBezTo>
                    <a:cubicBezTo>
                      <a:pt x="56885" y="52051"/>
                      <a:pt x="57759" y="57322"/>
                      <a:pt x="56694" y="58960"/>
                    </a:cubicBezTo>
                    <a:cubicBezTo>
                      <a:pt x="56339" y="59479"/>
                      <a:pt x="54536" y="60490"/>
                      <a:pt x="50058" y="60544"/>
                    </a:cubicBezTo>
                    <a:cubicBezTo>
                      <a:pt x="46125" y="60408"/>
                      <a:pt x="42875" y="58879"/>
                      <a:pt x="42329" y="58059"/>
                    </a:cubicBezTo>
                    <a:lnTo>
                      <a:pt x="42329" y="22858"/>
                    </a:lnTo>
                    <a:cubicBezTo>
                      <a:pt x="42329" y="10268"/>
                      <a:pt x="32826" y="0"/>
                      <a:pt x="21165" y="0"/>
                    </a:cubicBezTo>
                    <a:cubicBezTo>
                      <a:pt x="9476" y="0"/>
                      <a:pt x="0" y="10241"/>
                      <a:pt x="0" y="22858"/>
                    </a:cubicBezTo>
                    <a:lnTo>
                      <a:pt x="0" y="58360"/>
                    </a:lnTo>
                    <a:cubicBezTo>
                      <a:pt x="0" y="59179"/>
                      <a:pt x="55" y="59998"/>
                      <a:pt x="137" y="60790"/>
                    </a:cubicBezTo>
                    <a:cubicBezTo>
                      <a:pt x="1010" y="74663"/>
                      <a:pt x="12562" y="98695"/>
                      <a:pt x="50003" y="98695"/>
                    </a:cubicBezTo>
                    <a:cubicBezTo>
                      <a:pt x="65897" y="98695"/>
                      <a:pt x="81791" y="89137"/>
                      <a:pt x="88673" y="75482"/>
                    </a:cubicBezTo>
                    <a:cubicBezTo>
                      <a:pt x="92469" y="67809"/>
                      <a:pt x="96784" y="52133"/>
                      <a:pt x="82610" y="32798"/>
                    </a:cubicBezTo>
                    <a:close/>
                    <a:moveTo>
                      <a:pt x="49948" y="88017"/>
                    </a:moveTo>
                    <a:cubicBezTo>
                      <a:pt x="13327" y="88017"/>
                      <a:pt x="10842" y="62128"/>
                      <a:pt x="10705" y="59752"/>
                    </a:cubicBezTo>
                    <a:cubicBezTo>
                      <a:pt x="10651" y="59288"/>
                      <a:pt x="10623" y="58824"/>
                      <a:pt x="10623" y="58332"/>
                    </a:cubicBezTo>
                    <a:lnTo>
                      <a:pt x="10623" y="22830"/>
                    </a:lnTo>
                    <a:cubicBezTo>
                      <a:pt x="10623" y="16085"/>
                      <a:pt x="15348" y="10623"/>
                      <a:pt x="21137" y="10623"/>
                    </a:cubicBezTo>
                    <a:cubicBezTo>
                      <a:pt x="26954" y="10623"/>
                      <a:pt x="31651" y="16085"/>
                      <a:pt x="31651" y="22830"/>
                    </a:cubicBezTo>
                    <a:lnTo>
                      <a:pt x="31651" y="58332"/>
                    </a:lnTo>
                    <a:cubicBezTo>
                      <a:pt x="31651" y="58496"/>
                      <a:pt x="31624" y="58660"/>
                      <a:pt x="31624" y="58797"/>
                    </a:cubicBezTo>
                    <a:cubicBezTo>
                      <a:pt x="32443" y="67890"/>
                      <a:pt x="43012" y="71004"/>
                      <a:pt x="49948" y="71195"/>
                    </a:cubicBezTo>
                    <a:cubicBezTo>
                      <a:pt x="77230" y="70976"/>
                      <a:pt x="65132" y="44295"/>
                      <a:pt x="65132" y="44295"/>
                    </a:cubicBezTo>
                    <a:cubicBezTo>
                      <a:pt x="63029" y="40090"/>
                      <a:pt x="67262" y="37386"/>
                      <a:pt x="70621" y="37386"/>
                    </a:cubicBezTo>
                    <a:cubicBezTo>
                      <a:pt x="71987" y="37386"/>
                      <a:pt x="73216" y="37850"/>
                      <a:pt x="73817" y="38861"/>
                    </a:cubicBezTo>
                    <a:cubicBezTo>
                      <a:pt x="94926" y="67317"/>
                      <a:pt x="69229" y="88017"/>
                      <a:pt x="49948" y="88017"/>
                    </a:cubicBezTo>
                    <a:close/>
                  </a:path>
                </a:pathLst>
              </a:custGeom>
              <a:solidFill>
                <a:schemeClr val="accent1"/>
              </a:solidFill>
              <a:ln w="2724" cap="flat">
                <a:noFill/>
                <a:prstDash val="solid"/>
                <a:miter/>
              </a:ln>
            </p:spPr>
            <p:txBody>
              <a:bodyPr rtlCol="0" anchor="ctr"/>
              <a:lstStyle/>
              <a:p>
                <a:endParaRPr lang="en-GB" dirty="0"/>
              </a:p>
            </p:txBody>
          </p:sp>
        </p:grpSp>
        <p:grpSp>
          <p:nvGrpSpPr>
            <p:cNvPr id="581" name="Group 580">
              <a:extLst>
                <a:ext uri="{FF2B5EF4-FFF2-40B4-BE49-F238E27FC236}">
                  <a16:creationId xmlns:a16="http://schemas.microsoft.com/office/drawing/2014/main" id="{994E9DBA-0C06-4CAC-B495-07BE3C6DBA21}"/>
                </a:ext>
              </a:extLst>
            </p:cNvPr>
            <p:cNvGrpSpPr/>
            <p:nvPr/>
          </p:nvGrpSpPr>
          <p:grpSpPr>
            <a:xfrm>
              <a:off x="5233949" y="1784550"/>
              <a:ext cx="721267" cy="224344"/>
              <a:chOff x="5233949" y="1784550"/>
              <a:chExt cx="721267" cy="224344"/>
            </a:xfrm>
          </p:grpSpPr>
          <p:sp>
            <p:nvSpPr>
              <p:cNvPr id="582" name="Freihandform: Form 714">
                <a:extLst>
                  <a:ext uri="{FF2B5EF4-FFF2-40B4-BE49-F238E27FC236}">
                    <a16:creationId xmlns:a16="http://schemas.microsoft.com/office/drawing/2014/main" id="{E5E340E2-78D2-4B5C-A916-63721E700F80}"/>
                  </a:ext>
                </a:extLst>
              </p:cNvPr>
              <p:cNvSpPr/>
              <p:nvPr/>
            </p:nvSpPr>
            <p:spPr>
              <a:xfrm>
                <a:off x="5242185" y="1784550"/>
                <a:ext cx="704861" cy="212997"/>
              </a:xfrm>
              <a:custGeom>
                <a:avLst/>
                <a:gdLst>
                  <a:gd name="connsiteX0" fmla="*/ 502167 w 704861"/>
                  <a:gd name="connsiteY0" fmla="*/ 212984 h 212997"/>
                  <a:gd name="connsiteX1" fmla="*/ 498617 w 704861"/>
                  <a:gd name="connsiteY1" fmla="*/ 211646 h 212997"/>
                  <a:gd name="connsiteX2" fmla="*/ 365102 w 704861"/>
                  <a:gd name="connsiteY2" fmla="*/ 197390 h 212997"/>
                  <a:gd name="connsiteX3" fmla="*/ 354179 w 704861"/>
                  <a:gd name="connsiteY3" fmla="*/ 197445 h 212997"/>
                  <a:gd name="connsiteX4" fmla="*/ 353414 w 704861"/>
                  <a:gd name="connsiteY4" fmla="*/ 197472 h 212997"/>
                  <a:gd name="connsiteX5" fmla="*/ 352404 w 704861"/>
                  <a:gd name="connsiteY5" fmla="*/ 197445 h 212997"/>
                  <a:gd name="connsiteX6" fmla="*/ 351475 w 704861"/>
                  <a:gd name="connsiteY6" fmla="*/ 197472 h 212997"/>
                  <a:gd name="connsiteX7" fmla="*/ 350711 w 704861"/>
                  <a:gd name="connsiteY7" fmla="*/ 197445 h 212997"/>
                  <a:gd name="connsiteX8" fmla="*/ 339787 w 704861"/>
                  <a:gd name="connsiteY8" fmla="*/ 197390 h 212997"/>
                  <a:gd name="connsiteX9" fmla="*/ 206273 w 704861"/>
                  <a:gd name="connsiteY9" fmla="*/ 211646 h 212997"/>
                  <a:gd name="connsiteX10" fmla="*/ 199773 w 704861"/>
                  <a:gd name="connsiteY10" fmla="*/ 212110 h 212997"/>
                  <a:gd name="connsiteX11" fmla="*/ 80186 w 704861"/>
                  <a:gd name="connsiteY11" fmla="*/ 186112 h 212997"/>
                  <a:gd name="connsiteX12" fmla="*/ 6261 w 704861"/>
                  <a:gd name="connsiteY12" fmla="*/ 192966 h 212997"/>
                  <a:gd name="connsiteX13" fmla="*/ 881 w 704861"/>
                  <a:gd name="connsiteY13" fmla="*/ 190645 h 212997"/>
                  <a:gd name="connsiteX14" fmla="*/ 881 w 704861"/>
                  <a:gd name="connsiteY14" fmla="*/ 184774 h 212997"/>
                  <a:gd name="connsiteX15" fmla="*/ 112575 w 704861"/>
                  <a:gd name="connsiteY15" fmla="*/ 67235 h 212997"/>
                  <a:gd name="connsiteX16" fmla="*/ 339405 w 704861"/>
                  <a:gd name="connsiteY16" fmla="*/ 9640 h 212997"/>
                  <a:gd name="connsiteX17" fmla="*/ 349591 w 704861"/>
                  <a:gd name="connsiteY17" fmla="*/ 0 h 212997"/>
                  <a:gd name="connsiteX18" fmla="*/ 357483 w 704861"/>
                  <a:gd name="connsiteY18" fmla="*/ 0 h 212997"/>
                  <a:gd name="connsiteX19" fmla="*/ 367724 w 704861"/>
                  <a:gd name="connsiteY19" fmla="*/ 10132 h 212997"/>
                  <a:gd name="connsiteX20" fmla="*/ 592287 w 704861"/>
                  <a:gd name="connsiteY20" fmla="*/ 67208 h 212997"/>
                  <a:gd name="connsiteX21" fmla="*/ 703981 w 704861"/>
                  <a:gd name="connsiteY21" fmla="*/ 184746 h 212997"/>
                  <a:gd name="connsiteX22" fmla="*/ 703981 w 704861"/>
                  <a:gd name="connsiteY22" fmla="*/ 190618 h 212997"/>
                  <a:gd name="connsiteX23" fmla="*/ 698601 w 704861"/>
                  <a:gd name="connsiteY23" fmla="*/ 192939 h 212997"/>
                  <a:gd name="connsiteX24" fmla="*/ 624676 w 704861"/>
                  <a:gd name="connsiteY24" fmla="*/ 186084 h 212997"/>
                  <a:gd name="connsiteX25" fmla="*/ 505089 w 704861"/>
                  <a:gd name="connsiteY25" fmla="*/ 212083 h 212997"/>
                  <a:gd name="connsiteX26" fmla="*/ 502167 w 704861"/>
                  <a:gd name="connsiteY26" fmla="*/ 212984 h 212997"/>
                  <a:gd name="connsiteX27" fmla="*/ 365102 w 704861"/>
                  <a:gd name="connsiteY27" fmla="*/ 186712 h 212997"/>
                  <a:gd name="connsiteX28" fmla="*/ 502413 w 704861"/>
                  <a:gd name="connsiteY28" fmla="*/ 201323 h 212997"/>
                  <a:gd name="connsiteX29" fmla="*/ 624703 w 704861"/>
                  <a:gd name="connsiteY29" fmla="*/ 175434 h 212997"/>
                  <a:gd name="connsiteX30" fmla="*/ 688115 w 704861"/>
                  <a:gd name="connsiteY30" fmla="*/ 180404 h 212997"/>
                  <a:gd name="connsiteX31" fmla="*/ 589447 w 704861"/>
                  <a:gd name="connsiteY31" fmla="*/ 77503 h 212997"/>
                  <a:gd name="connsiteX32" fmla="*/ 360241 w 704861"/>
                  <a:gd name="connsiteY32" fmla="*/ 19444 h 212997"/>
                  <a:gd name="connsiteX33" fmla="*/ 356391 w 704861"/>
                  <a:gd name="connsiteY33" fmla="*/ 16194 h 212997"/>
                  <a:gd name="connsiteX34" fmla="*/ 356937 w 704861"/>
                  <a:gd name="connsiteY34" fmla="*/ 11197 h 212997"/>
                  <a:gd name="connsiteX35" fmla="*/ 357483 w 704861"/>
                  <a:gd name="connsiteY35" fmla="*/ 10678 h 212997"/>
                  <a:gd name="connsiteX36" fmla="*/ 349591 w 704861"/>
                  <a:gd name="connsiteY36" fmla="*/ 10678 h 212997"/>
                  <a:gd name="connsiteX37" fmla="*/ 350082 w 704861"/>
                  <a:gd name="connsiteY37" fmla="*/ 15757 h 212997"/>
                  <a:gd name="connsiteX38" fmla="*/ 346560 w 704861"/>
                  <a:gd name="connsiteY38" fmla="*/ 19034 h 212997"/>
                  <a:gd name="connsiteX39" fmla="*/ 115415 w 704861"/>
                  <a:gd name="connsiteY39" fmla="*/ 77503 h 212997"/>
                  <a:gd name="connsiteX40" fmla="*/ 16720 w 704861"/>
                  <a:gd name="connsiteY40" fmla="*/ 180404 h 212997"/>
                  <a:gd name="connsiteX41" fmla="*/ 80186 w 704861"/>
                  <a:gd name="connsiteY41" fmla="*/ 175434 h 212997"/>
                  <a:gd name="connsiteX42" fmla="*/ 202477 w 704861"/>
                  <a:gd name="connsiteY42" fmla="*/ 201323 h 212997"/>
                  <a:gd name="connsiteX43" fmla="*/ 339787 w 704861"/>
                  <a:gd name="connsiteY43" fmla="*/ 186712 h 212997"/>
                  <a:gd name="connsiteX44" fmla="*/ 351393 w 704861"/>
                  <a:gd name="connsiteY44" fmla="*/ 186767 h 212997"/>
                  <a:gd name="connsiteX45" fmla="*/ 351830 w 704861"/>
                  <a:gd name="connsiteY45" fmla="*/ 186794 h 212997"/>
                  <a:gd name="connsiteX46" fmla="*/ 352376 w 704861"/>
                  <a:gd name="connsiteY46" fmla="*/ 186794 h 212997"/>
                  <a:gd name="connsiteX47" fmla="*/ 353032 w 704861"/>
                  <a:gd name="connsiteY47" fmla="*/ 186794 h 212997"/>
                  <a:gd name="connsiteX48" fmla="*/ 353469 w 704861"/>
                  <a:gd name="connsiteY48" fmla="*/ 186767 h 212997"/>
                  <a:gd name="connsiteX49" fmla="*/ 365102 w 704861"/>
                  <a:gd name="connsiteY49" fmla="*/ 186712 h 212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704861" h="212997">
                    <a:moveTo>
                      <a:pt x="502167" y="212984"/>
                    </a:moveTo>
                    <a:cubicBezTo>
                      <a:pt x="500883" y="212984"/>
                      <a:pt x="499627" y="212520"/>
                      <a:pt x="498617" y="211646"/>
                    </a:cubicBezTo>
                    <a:cubicBezTo>
                      <a:pt x="488704" y="202852"/>
                      <a:pt x="437554" y="197390"/>
                      <a:pt x="365102" y="197390"/>
                    </a:cubicBezTo>
                    <a:cubicBezTo>
                      <a:pt x="360296" y="197390"/>
                      <a:pt x="356527" y="197418"/>
                      <a:pt x="354179" y="197445"/>
                    </a:cubicBezTo>
                    <a:cubicBezTo>
                      <a:pt x="353933" y="197472"/>
                      <a:pt x="353660" y="197500"/>
                      <a:pt x="353414" y="197472"/>
                    </a:cubicBezTo>
                    <a:lnTo>
                      <a:pt x="352404" y="197445"/>
                    </a:lnTo>
                    <a:lnTo>
                      <a:pt x="351475" y="197472"/>
                    </a:lnTo>
                    <a:cubicBezTo>
                      <a:pt x="351229" y="197500"/>
                      <a:pt x="350956" y="197472"/>
                      <a:pt x="350711" y="197445"/>
                    </a:cubicBezTo>
                    <a:cubicBezTo>
                      <a:pt x="348362" y="197418"/>
                      <a:pt x="344593" y="197390"/>
                      <a:pt x="339787" y="197390"/>
                    </a:cubicBezTo>
                    <a:cubicBezTo>
                      <a:pt x="267336" y="197390"/>
                      <a:pt x="216186" y="202852"/>
                      <a:pt x="206273" y="211646"/>
                    </a:cubicBezTo>
                    <a:cubicBezTo>
                      <a:pt x="204443" y="213257"/>
                      <a:pt x="201794" y="213448"/>
                      <a:pt x="199773" y="212110"/>
                    </a:cubicBezTo>
                    <a:cubicBezTo>
                      <a:pt x="199391" y="211837"/>
                      <a:pt x="159847" y="186112"/>
                      <a:pt x="80186" y="186112"/>
                    </a:cubicBezTo>
                    <a:cubicBezTo>
                      <a:pt x="56619" y="186112"/>
                      <a:pt x="31740" y="188406"/>
                      <a:pt x="6261" y="192966"/>
                    </a:cubicBezTo>
                    <a:cubicBezTo>
                      <a:pt x="4158" y="193349"/>
                      <a:pt x="2028" y="192420"/>
                      <a:pt x="881" y="190645"/>
                    </a:cubicBezTo>
                    <a:cubicBezTo>
                      <a:pt x="-294" y="188870"/>
                      <a:pt x="-294" y="186549"/>
                      <a:pt x="881" y="184774"/>
                    </a:cubicBezTo>
                    <a:cubicBezTo>
                      <a:pt x="3721" y="180459"/>
                      <a:pt x="71202" y="78732"/>
                      <a:pt x="112575" y="67235"/>
                    </a:cubicBezTo>
                    <a:cubicBezTo>
                      <a:pt x="144718" y="58305"/>
                      <a:pt x="293061" y="19745"/>
                      <a:pt x="339405" y="9640"/>
                    </a:cubicBezTo>
                    <a:cubicBezTo>
                      <a:pt x="339978" y="4233"/>
                      <a:pt x="344348" y="0"/>
                      <a:pt x="349591" y="0"/>
                    </a:cubicBezTo>
                    <a:lnTo>
                      <a:pt x="357483" y="0"/>
                    </a:lnTo>
                    <a:cubicBezTo>
                      <a:pt x="362918" y="0"/>
                      <a:pt x="367369" y="4479"/>
                      <a:pt x="367724" y="10132"/>
                    </a:cubicBezTo>
                    <a:cubicBezTo>
                      <a:pt x="415133" y="20646"/>
                      <a:pt x="556102" y="57158"/>
                      <a:pt x="592287" y="67208"/>
                    </a:cubicBezTo>
                    <a:cubicBezTo>
                      <a:pt x="633660" y="78705"/>
                      <a:pt x="701141" y="180431"/>
                      <a:pt x="703981" y="184746"/>
                    </a:cubicBezTo>
                    <a:cubicBezTo>
                      <a:pt x="705156" y="186521"/>
                      <a:pt x="705156" y="188843"/>
                      <a:pt x="703981" y="190618"/>
                    </a:cubicBezTo>
                    <a:cubicBezTo>
                      <a:pt x="702807" y="192393"/>
                      <a:pt x="700704" y="193321"/>
                      <a:pt x="698601" y="192939"/>
                    </a:cubicBezTo>
                    <a:cubicBezTo>
                      <a:pt x="673122" y="188378"/>
                      <a:pt x="648271" y="186084"/>
                      <a:pt x="624676" y="186084"/>
                    </a:cubicBezTo>
                    <a:cubicBezTo>
                      <a:pt x="545015" y="186084"/>
                      <a:pt x="505471" y="211837"/>
                      <a:pt x="505089" y="212083"/>
                    </a:cubicBezTo>
                    <a:cubicBezTo>
                      <a:pt x="504215" y="212683"/>
                      <a:pt x="503177" y="212984"/>
                      <a:pt x="502167" y="212984"/>
                    </a:cubicBezTo>
                    <a:close/>
                    <a:moveTo>
                      <a:pt x="365102" y="186712"/>
                    </a:moveTo>
                    <a:cubicBezTo>
                      <a:pt x="417290" y="186712"/>
                      <a:pt x="481876" y="189334"/>
                      <a:pt x="502413" y="201323"/>
                    </a:cubicBezTo>
                    <a:cubicBezTo>
                      <a:pt x="513691" y="195069"/>
                      <a:pt x="554710" y="175434"/>
                      <a:pt x="624703" y="175434"/>
                    </a:cubicBezTo>
                    <a:cubicBezTo>
                      <a:pt x="645076" y="175434"/>
                      <a:pt x="666349" y="177100"/>
                      <a:pt x="688115" y="180404"/>
                    </a:cubicBezTo>
                    <a:cubicBezTo>
                      <a:pt x="669818" y="154160"/>
                      <a:pt x="619842" y="85942"/>
                      <a:pt x="589447" y="77503"/>
                    </a:cubicBezTo>
                    <a:cubicBezTo>
                      <a:pt x="551870" y="67071"/>
                      <a:pt x="401150" y="28046"/>
                      <a:pt x="360241" y="19444"/>
                    </a:cubicBezTo>
                    <a:cubicBezTo>
                      <a:pt x="358494" y="19089"/>
                      <a:pt x="357046" y="17860"/>
                      <a:pt x="356391" y="16194"/>
                    </a:cubicBezTo>
                    <a:cubicBezTo>
                      <a:pt x="355735" y="14556"/>
                      <a:pt x="355927" y="12671"/>
                      <a:pt x="356937" y="11197"/>
                    </a:cubicBezTo>
                    <a:lnTo>
                      <a:pt x="357483" y="10678"/>
                    </a:lnTo>
                    <a:lnTo>
                      <a:pt x="349591" y="10678"/>
                    </a:lnTo>
                    <a:cubicBezTo>
                      <a:pt x="350437" y="12153"/>
                      <a:pt x="350792" y="14201"/>
                      <a:pt x="350082" y="15757"/>
                    </a:cubicBezTo>
                    <a:cubicBezTo>
                      <a:pt x="349372" y="17314"/>
                      <a:pt x="348253" y="18679"/>
                      <a:pt x="346560" y="19034"/>
                    </a:cubicBezTo>
                    <a:cubicBezTo>
                      <a:pt x="309201" y="26654"/>
                      <a:pt x="153784" y="66853"/>
                      <a:pt x="115415" y="77503"/>
                    </a:cubicBezTo>
                    <a:cubicBezTo>
                      <a:pt x="87478" y="85259"/>
                      <a:pt x="39824" y="147142"/>
                      <a:pt x="16720" y="180404"/>
                    </a:cubicBezTo>
                    <a:cubicBezTo>
                      <a:pt x="38513" y="177100"/>
                      <a:pt x="59814" y="175434"/>
                      <a:pt x="80186" y="175434"/>
                    </a:cubicBezTo>
                    <a:cubicBezTo>
                      <a:pt x="150207" y="175434"/>
                      <a:pt x="191198" y="195069"/>
                      <a:pt x="202477" y="201323"/>
                    </a:cubicBezTo>
                    <a:cubicBezTo>
                      <a:pt x="223013" y="189307"/>
                      <a:pt x="287572" y="186712"/>
                      <a:pt x="339787" y="186712"/>
                    </a:cubicBezTo>
                    <a:cubicBezTo>
                      <a:pt x="345058" y="186712"/>
                      <a:pt x="349099" y="186740"/>
                      <a:pt x="351393" y="186767"/>
                    </a:cubicBezTo>
                    <a:cubicBezTo>
                      <a:pt x="351530" y="186767"/>
                      <a:pt x="351694" y="186767"/>
                      <a:pt x="351830" y="186794"/>
                    </a:cubicBezTo>
                    <a:lnTo>
                      <a:pt x="352376" y="186794"/>
                    </a:lnTo>
                    <a:lnTo>
                      <a:pt x="353032" y="186794"/>
                    </a:lnTo>
                    <a:cubicBezTo>
                      <a:pt x="353168" y="186794"/>
                      <a:pt x="353332" y="186767"/>
                      <a:pt x="353469" y="186767"/>
                    </a:cubicBezTo>
                    <a:cubicBezTo>
                      <a:pt x="355817" y="186740"/>
                      <a:pt x="359832" y="186712"/>
                      <a:pt x="365102" y="186712"/>
                    </a:cubicBezTo>
                    <a:close/>
                  </a:path>
                </a:pathLst>
              </a:custGeom>
              <a:solidFill>
                <a:schemeClr val="tx2"/>
              </a:solidFill>
              <a:ln w="2724" cap="flat">
                <a:noFill/>
                <a:prstDash val="solid"/>
                <a:miter/>
              </a:ln>
            </p:spPr>
            <p:txBody>
              <a:bodyPr rtlCol="0" anchor="ctr"/>
              <a:lstStyle/>
              <a:p>
                <a:endParaRPr lang="en-GB" dirty="0"/>
              </a:p>
            </p:txBody>
          </p:sp>
          <p:sp>
            <p:nvSpPr>
              <p:cNvPr id="583" name="Freihandform: Form 715">
                <a:extLst>
                  <a:ext uri="{FF2B5EF4-FFF2-40B4-BE49-F238E27FC236}">
                    <a16:creationId xmlns:a16="http://schemas.microsoft.com/office/drawing/2014/main" id="{3FBEAEF8-B600-4644-944A-AD91B25B11D1}"/>
                  </a:ext>
                </a:extLst>
              </p:cNvPr>
              <p:cNvSpPr/>
              <p:nvPr/>
            </p:nvSpPr>
            <p:spPr>
              <a:xfrm>
                <a:off x="5434501" y="1796890"/>
                <a:ext cx="151816" cy="212004"/>
              </a:xfrm>
              <a:custGeom>
                <a:avLst/>
                <a:gdLst>
                  <a:gd name="connsiteX0" fmla="*/ 5327 w 151816"/>
                  <a:gd name="connsiteY0" fmla="*/ 212004 h 212004"/>
                  <a:gd name="connsiteX1" fmla="*/ 3634 w 151816"/>
                  <a:gd name="connsiteY1" fmla="*/ 211731 h 212004"/>
                  <a:gd name="connsiteX2" fmla="*/ 275 w 151816"/>
                  <a:gd name="connsiteY2" fmla="*/ 204986 h 212004"/>
                  <a:gd name="connsiteX3" fmla="*/ 42931 w 151816"/>
                  <a:gd name="connsiteY3" fmla="*/ 77671 h 212004"/>
                  <a:gd name="connsiteX4" fmla="*/ 44788 w 151816"/>
                  <a:gd name="connsiteY4" fmla="*/ 75104 h 212004"/>
                  <a:gd name="connsiteX5" fmla="*/ 143292 w 151816"/>
                  <a:gd name="connsiteY5" fmla="*/ 1069 h 212004"/>
                  <a:gd name="connsiteX6" fmla="*/ 150748 w 151816"/>
                  <a:gd name="connsiteY6" fmla="*/ 2134 h 212004"/>
                  <a:gd name="connsiteX7" fmla="*/ 149683 w 151816"/>
                  <a:gd name="connsiteY7" fmla="*/ 9589 h 212004"/>
                  <a:gd name="connsiteX8" fmla="*/ 52490 w 151816"/>
                  <a:gd name="connsiteY8" fmla="*/ 82614 h 212004"/>
                  <a:gd name="connsiteX9" fmla="*/ 10379 w 151816"/>
                  <a:gd name="connsiteY9" fmla="*/ 208345 h 212004"/>
                  <a:gd name="connsiteX10" fmla="*/ 5327 w 151816"/>
                  <a:gd name="connsiteY10" fmla="*/ 212004 h 212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816" h="212004">
                    <a:moveTo>
                      <a:pt x="5327" y="212004"/>
                    </a:moveTo>
                    <a:cubicBezTo>
                      <a:pt x="4753" y="212004"/>
                      <a:pt x="4207" y="211922"/>
                      <a:pt x="3634" y="211731"/>
                    </a:cubicBezTo>
                    <a:cubicBezTo>
                      <a:pt x="848" y="210803"/>
                      <a:pt x="-654" y="207771"/>
                      <a:pt x="275" y="204986"/>
                    </a:cubicBezTo>
                    <a:lnTo>
                      <a:pt x="42931" y="77671"/>
                    </a:lnTo>
                    <a:cubicBezTo>
                      <a:pt x="43259" y="76660"/>
                      <a:pt x="43915" y="75759"/>
                      <a:pt x="44788" y="75104"/>
                    </a:cubicBezTo>
                    <a:lnTo>
                      <a:pt x="143292" y="1069"/>
                    </a:lnTo>
                    <a:cubicBezTo>
                      <a:pt x="145641" y="-706"/>
                      <a:pt x="148973" y="-215"/>
                      <a:pt x="150748" y="2134"/>
                    </a:cubicBezTo>
                    <a:cubicBezTo>
                      <a:pt x="152523" y="4482"/>
                      <a:pt x="152031" y="7841"/>
                      <a:pt x="149683" y="9589"/>
                    </a:cubicBezTo>
                    <a:lnTo>
                      <a:pt x="52490" y="82614"/>
                    </a:lnTo>
                    <a:lnTo>
                      <a:pt x="10379" y="208345"/>
                    </a:lnTo>
                    <a:cubicBezTo>
                      <a:pt x="9642" y="210584"/>
                      <a:pt x="7566" y="212004"/>
                      <a:pt x="5327" y="212004"/>
                    </a:cubicBezTo>
                    <a:close/>
                  </a:path>
                </a:pathLst>
              </a:custGeom>
              <a:solidFill>
                <a:schemeClr val="tx2"/>
              </a:solidFill>
              <a:ln w="2724" cap="flat">
                <a:noFill/>
                <a:prstDash val="solid"/>
                <a:miter/>
              </a:ln>
            </p:spPr>
            <p:txBody>
              <a:bodyPr rtlCol="0" anchor="ctr"/>
              <a:lstStyle/>
              <a:p>
                <a:endParaRPr lang="en-GB" dirty="0"/>
              </a:p>
            </p:txBody>
          </p:sp>
          <p:sp>
            <p:nvSpPr>
              <p:cNvPr id="584" name="Freihandform: Form 716">
                <a:extLst>
                  <a:ext uri="{FF2B5EF4-FFF2-40B4-BE49-F238E27FC236}">
                    <a16:creationId xmlns:a16="http://schemas.microsoft.com/office/drawing/2014/main" id="{E4640BB9-A39C-4315-82FB-BE8C66B293E9}"/>
                  </a:ext>
                </a:extLst>
              </p:cNvPr>
              <p:cNvSpPr/>
              <p:nvPr/>
            </p:nvSpPr>
            <p:spPr>
              <a:xfrm>
                <a:off x="5602505" y="1796929"/>
                <a:ext cx="151789" cy="211965"/>
              </a:xfrm>
              <a:custGeom>
                <a:avLst/>
                <a:gdLst>
                  <a:gd name="connsiteX0" fmla="*/ 146490 w 151789"/>
                  <a:gd name="connsiteY0" fmla="*/ 211965 h 211965"/>
                  <a:gd name="connsiteX1" fmla="*/ 141437 w 151789"/>
                  <a:gd name="connsiteY1" fmla="*/ 208333 h 211965"/>
                  <a:gd name="connsiteX2" fmla="*/ 99327 w 151789"/>
                  <a:gd name="connsiteY2" fmla="*/ 82602 h 211965"/>
                  <a:gd name="connsiteX3" fmla="*/ 2134 w 151789"/>
                  <a:gd name="connsiteY3" fmla="*/ 9577 h 211965"/>
                  <a:gd name="connsiteX4" fmla="*/ 1069 w 151789"/>
                  <a:gd name="connsiteY4" fmla="*/ 2122 h 211965"/>
                  <a:gd name="connsiteX5" fmla="*/ 8524 w 151789"/>
                  <a:gd name="connsiteY5" fmla="*/ 1057 h 211965"/>
                  <a:gd name="connsiteX6" fmla="*/ 107028 w 151789"/>
                  <a:gd name="connsiteY6" fmla="*/ 75092 h 211965"/>
                  <a:gd name="connsiteX7" fmla="*/ 108885 w 151789"/>
                  <a:gd name="connsiteY7" fmla="*/ 77659 h 211965"/>
                  <a:gd name="connsiteX8" fmla="*/ 151515 w 151789"/>
                  <a:gd name="connsiteY8" fmla="*/ 204974 h 211965"/>
                  <a:gd name="connsiteX9" fmla="*/ 148156 w 151789"/>
                  <a:gd name="connsiteY9" fmla="*/ 211719 h 211965"/>
                  <a:gd name="connsiteX10" fmla="*/ 146490 w 151789"/>
                  <a:gd name="connsiteY10" fmla="*/ 211965 h 21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1789" h="211965">
                    <a:moveTo>
                      <a:pt x="146490" y="211965"/>
                    </a:moveTo>
                    <a:cubicBezTo>
                      <a:pt x="144250" y="211965"/>
                      <a:pt x="142175" y="210545"/>
                      <a:pt x="141437" y="208333"/>
                    </a:cubicBezTo>
                    <a:lnTo>
                      <a:pt x="99327" y="82602"/>
                    </a:lnTo>
                    <a:lnTo>
                      <a:pt x="2134" y="9577"/>
                    </a:lnTo>
                    <a:cubicBezTo>
                      <a:pt x="-215" y="7802"/>
                      <a:pt x="-707" y="4471"/>
                      <a:pt x="1069" y="2122"/>
                    </a:cubicBezTo>
                    <a:cubicBezTo>
                      <a:pt x="2844" y="-227"/>
                      <a:pt x="6175" y="-691"/>
                      <a:pt x="8524" y="1057"/>
                    </a:cubicBezTo>
                    <a:lnTo>
                      <a:pt x="107028" y="75092"/>
                    </a:lnTo>
                    <a:cubicBezTo>
                      <a:pt x="107902" y="75747"/>
                      <a:pt x="108530" y="76649"/>
                      <a:pt x="108885" y="77659"/>
                    </a:cubicBezTo>
                    <a:lnTo>
                      <a:pt x="151515" y="204974"/>
                    </a:lnTo>
                    <a:cubicBezTo>
                      <a:pt x="152443" y="207760"/>
                      <a:pt x="150941" y="210791"/>
                      <a:pt x="148156" y="211719"/>
                    </a:cubicBezTo>
                    <a:cubicBezTo>
                      <a:pt x="147609" y="211856"/>
                      <a:pt x="147036" y="211965"/>
                      <a:pt x="146490" y="211965"/>
                    </a:cubicBezTo>
                    <a:close/>
                  </a:path>
                </a:pathLst>
              </a:custGeom>
              <a:solidFill>
                <a:schemeClr val="tx2"/>
              </a:solidFill>
              <a:ln w="2724" cap="flat">
                <a:noFill/>
                <a:prstDash val="solid"/>
                <a:miter/>
              </a:ln>
            </p:spPr>
            <p:txBody>
              <a:bodyPr rtlCol="0" anchor="ctr"/>
              <a:lstStyle/>
              <a:p>
                <a:endParaRPr lang="en-GB" dirty="0"/>
              </a:p>
            </p:txBody>
          </p:sp>
          <p:sp>
            <p:nvSpPr>
              <p:cNvPr id="585" name="Freihandform: Form 717">
                <a:extLst>
                  <a:ext uri="{FF2B5EF4-FFF2-40B4-BE49-F238E27FC236}">
                    <a16:creationId xmlns:a16="http://schemas.microsoft.com/office/drawing/2014/main" id="{C6006E36-3A88-4C74-8CEF-282654C490BC}"/>
                  </a:ext>
                </a:extLst>
              </p:cNvPr>
              <p:cNvSpPr/>
              <p:nvPr/>
            </p:nvSpPr>
            <p:spPr>
              <a:xfrm>
                <a:off x="5233949" y="1958779"/>
                <a:ext cx="24459" cy="31052"/>
              </a:xfrm>
              <a:custGeom>
                <a:avLst/>
                <a:gdLst>
                  <a:gd name="connsiteX0" fmla="*/ 5320 w 24459"/>
                  <a:gd name="connsiteY0" fmla="*/ 31053 h 31052"/>
                  <a:gd name="connsiteX1" fmla="*/ 2344 w 24459"/>
                  <a:gd name="connsiteY1" fmla="*/ 30124 h 31052"/>
                  <a:gd name="connsiteX2" fmla="*/ 924 w 24459"/>
                  <a:gd name="connsiteY2" fmla="*/ 22724 h 31052"/>
                  <a:gd name="connsiteX3" fmla="*/ 14715 w 24459"/>
                  <a:gd name="connsiteY3" fmla="*/ 2351 h 31052"/>
                  <a:gd name="connsiteX4" fmla="*/ 22115 w 24459"/>
                  <a:gd name="connsiteY4" fmla="*/ 931 h 31052"/>
                  <a:gd name="connsiteX5" fmla="*/ 23536 w 24459"/>
                  <a:gd name="connsiteY5" fmla="*/ 8332 h 31052"/>
                  <a:gd name="connsiteX6" fmla="*/ 9744 w 24459"/>
                  <a:gd name="connsiteY6" fmla="*/ 28704 h 31052"/>
                  <a:gd name="connsiteX7" fmla="*/ 5320 w 24459"/>
                  <a:gd name="connsiteY7" fmla="*/ 31053 h 31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59" h="31052">
                    <a:moveTo>
                      <a:pt x="5320" y="31053"/>
                    </a:moveTo>
                    <a:cubicBezTo>
                      <a:pt x="4283" y="31053"/>
                      <a:pt x="3245" y="30752"/>
                      <a:pt x="2344" y="30124"/>
                    </a:cubicBezTo>
                    <a:cubicBezTo>
                      <a:pt x="-87" y="28486"/>
                      <a:pt x="-742" y="25154"/>
                      <a:pt x="924" y="22724"/>
                    </a:cubicBezTo>
                    <a:lnTo>
                      <a:pt x="14715" y="2351"/>
                    </a:lnTo>
                    <a:cubicBezTo>
                      <a:pt x="16353" y="-107"/>
                      <a:pt x="19685" y="-735"/>
                      <a:pt x="22115" y="931"/>
                    </a:cubicBezTo>
                    <a:cubicBezTo>
                      <a:pt x="24546" y="2569"/>
                      <a:pt x="25201" y="5901"/>
                      <a:pt x="23536" y="8332"/>
                    </a:cubicBezTo>
                    <a:lnTo>
                      <a:pt x="9744" y="28704"/>
                    </a:lnTo>
                    <a:cubicBezTo>
                      <a:pt x="8707" y="30234"/>
                      <a:pt x="7041" y="31053"/>
                      <a:pt x="5320" y="31053"/>
                    </a:cubicBezTo>
                    <a:close/>
                  </a:path>
                </a:pathLst>
              </a:custGeom>
              <a:solidFill>
                <a:schemeClr val="tx2"/>
              </a:solidFill>
              <a:ln w="2724" cap="flat">
                <a:noFill/>
                <a:prstDash val="solid"/>
                <a:miter/>
              </a:ln>
            </p:spPr>
            <p:txBody>
              <a:bodyPr rtlCol="0" anchor="ctr"/>
              <a:lstStyle/>
              <a:p>
                <a:endParaRPr lang="en-GB" dirty="0"/>
              </a:p>
            </p:txBody>
          </p:sp>
          <p:sp>
            <p:nvSpPr>
              <p:cNvPr id="586" name="Freihandform: Form 718">
                <a:extLst>
                  <a:ext uri="{FF2B5EF4-FFF2-40B4-BE49-F238E27FC236}">
                    <a16:creationId xmlns:a16="http://schemas.microsoft.com/office/drawing/2014/main" id="{785B34D6-D198-4C6F-B96C-B5680A307E28}"/>
                  </a:ext>
                </a:extLst>
              </p:cNvPr>
              <p:cNvSpPr/>
              <p:nvPr/>
            </p:nvSpPr>
            <p:spPr>
              <a:xfrm>
                <a:off x="5930781" y="1958608"/>
                <a:ext cx="24435" cy="31033"/>
              </a:xfrm>
              <a:custGeom>
                <a:avLst/>
                <a:gdLst>
                  <a:gd name="connsiteX0" fmla="*/ 19127 w 24435"/>
                  <a:gd name="connsiteY0" fmla="*/ 31034 h 31033"/>
                  <a:gd name="connsiteX1" fmla="*/ 14703 w 24435"/>
                  <a:gd name="connsiteY1" fmla="*/ 28685 h 31033"/>
                  <a:gd name="connsiteX2" fmla="*/ 912 w 24435"/>
                  <a:gd name="connsiteY2" fmla="*/ 8312 h 31033"/>
                  <a:gd name="connsiteX3" fmla="*/ 2332 w 24435"/>
                  <a:gd name="connsiteY3" fmla="*/ 912 h 31033"/>
                  <a:gd name="connsiteX4" fmla="*/ 9732 w 24435"/>
                  <a:gd name="connsiteY4" fmla="*/ 2332 h 31033"/>
                  <a:gd name="connsiteX5" fmla="*/ 23524 w 24435"/>
                  <a:gd name="connsiteY5" fmla="*/ 22704 h 31033"/>
                  <a:gd name="connsiteX6" fmla="*/ 22104 w 24435"/>
                  <a:gd name="connsiteY6" fmla="*/ 30105 h 31033"/>
                  <a:gd name="connsiteX7" fmla="*/ 19127 w 24435"/>
                  <a:gd name="connsiteY7" fmla="*/ 31034 h 31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435" h="31033">
                    <a:moveTo>
                      <a:pt x="19127" y="31034"/>
                    </a:moveTo>
                    <a:cubicBezTo>
                      <a:pt x="17406" y="31034"/>
                      <a:pt x="15740" y="30214"/>
                      <a:pt x="14703" y="28685"/>
                    </a:cubicBezTo>
                    <a:lnTo>
                      <a:pt x="912" y="8312"/>
                    </a:lnTo>
                    <a:cubicBezTo>
                      <a:pt x="-727" y="5882"/>
                      <a:pt x="-99" y="2550"/>
                      <a:pt x="2332" y="912"/>
                    </a:cubicBezTo>
                    <a:cubicBezTo>
                      <a:pt x="4762" y="-727"/>
                      <a:pt x="8094" y="-99"/>
                      <a:pt x="9732" y="2332"/>
                    </a:cubicBezTo>
                    <a:lnTo>
                      <a:pt x="23524" y="22704"/>
                    </a:lnTo>
                    <a:cubicBezTo>
                      <a:pt x="25162" y="25135"/>
                      <a:pt x="24534" y="28467"/>
                      <a:pt x="22104" y="30105"/>
                    </a:cubicBezTo>
                    <a:cubicBezTo>
                      <a:pt x="21202" y="30733"/>
                      <a:pt x="20165" y="31034"/>
                      <a:pt x="19127" y="31034"/>
                    </a:cubicBezTo>
                    <a:close/>
                  </a:path>
                </a:pathLst>
              </a:custGeom>
              <a:solidFill>
                <a:schemeClr val="tx2"/>
              </a:solidFill>
              <a:ln w="2724" cap="flat">
                <a:noFill/>
                <a:prstDash val="solid"/>
                <a:miter/>
              </a:ln>
            </p:spPr>
            <p:txBody>
              <a:bodyPr rtlCol="0" anchor="ctr"/>
              <a:lstStyle/>
              <a:p>
                <a:endParaRPr lang="en-GB" dirty="0"/>
              </a:p>
            </p:txBody>
          </p:sp>
        </p:grpSp>
      </p:grpSp>
    </p:spTree>
    <p:extLst>
      <p:ext uri="{BB962C8B-B14F-4D97-AF65-F5344CB8AC3E}">
        <p14:creationId xmlns:p14="http://schemas.microsoft.com/office/powerpoint/2010/main" val="2958130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 name="Objekt 37" hidden="1">
            <a:extLst>
              <a:ext uri="{FF2B5EF4-FFF2-40B4-BE49-F238E27FC236}">
                <a16:creationId xmlns:a16="http://schemas.microsoft.com/office/drawing/2014/main" id="{F02DEBD7-A51D-45E9-9FC4-675DEA208373}"/>
              </a:ext>
            </a:extLst>
          </p:cNvPr>
          <p:cNvGraphicFramePr>
            <a:graphicFrameLocks noChangeAspect="1"/>
          </p:cNvGraphicFramePr>
          <p:nvPr>
            <p:custDataLst>
              <p:tags r:id="rId1"/>
            </p:custDataLst>
            <p:extLst>
              <p:ext uri="{D42A27DB-BD31-4B8C-83A1-F6EECF244321}">
                <p14:modId xmlns:p14="http://schemas.microsoft.com/office/powerpoint/2010/main" val="2636534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8" name="Objekt 37" hidden="1">
                        <a:extLst>
                          <a:ext uri="{FF2B5EF4-FFF2-40B4-BE49-F238E27FC236}">
                            <a16:creationId xmlns:a16="http://schemas.microsoft.com/office/drawing/2014/main" id="{F02DEBD7-A51D-45E9-9FC4-675DEA2083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C3892DD-DFF6-4324-BBD6-E3C410F8C2D9}"/>
              </a:ext>
            </a:extLst>
          </p:cNvPr>
          <p:cNvSpPr>
            <a:spLocks noGrp="1"/>
          </p:cNvSpPr>
          <p:nvPr>
            <p:ph type="sldNum" sz="quarter" idx="11"/>
          </p:nvPr>
        </p:nvSpPr>
        <p:spPr/>
        <p:txBody>
          <a:bodyPr/>
          <a:lstStyle/>
          <a:p>
            <a:fld id="{D56DB8AA-803C-49D2-90AA-1140CE72DCD7}" type="slidenum">
              <a:rPr lang="en-GB" smtClean="0"/>
              <a:pPr/>
              <a:t>43</a:t>
            </a:fld>
            <a:endParaRPr lang="en-GB" dirty="0"/>
          </a:p>
        </p:txBody>
      </p:sp>
      <p:sp>
        <p:nvSpPr>
          <p:cNvPr id="3" name="Title 2">
            <a:extLst>
              <a:ext uri="{FF2B5EF4-FFF2-40B4-BE49-F238E27FC236}">
                <a16:creationId xmlns:a16="http://schemas.microsoft.com/office/drawing/2014/main" id="{5848E3DA-3F9B-25A3-A4AA-2AD0A31E4853}"/>
              </a:ext>
            </a:extLst>
          </p:cNvPr>
          <p:cNvSpPr>
            <a:spLocks noGrp="1"/>
          </p:cNvSpPr>
          <p:nvPr>
            <p:ph type="title"/>
          </p:nvPr>
        </p:nvSpPr>
        <p:spPr>
          <a:xfrm>
            <a:off x="252000" y="252000"/>
            <a:ext cx="6748875" cy="576000"/>
          </a:xfrm>
        </p:spPr>
        <p:txBody>
          <a:bodyPr/>
          <a:lstStyle/>
          <a:p>
            <a:r>
              <a:rPr lang="en-US" dirty="0"/>
              <a:t>Mixed General 2/3</a:t>
            </a:r>
            <a:br>
              <a:rPr lang="en-US" dirty="0"/>
            </a:br>
            <a:endParaRPr lang="en-US" dirty="0"/>
          </a:p>
        </p:txBody>
      </p:sp>
      <p:grpSp>
        <p:nvGrpSpPr>
          <p:cNvPr id="589" name="Group 749">
            <a:extLst>
              <a:ext uri="{FF2B5EF4-FFF2-40B4-BE49-F238E27FC236}">
                <a16:creationId xmlns:a16="http://schemas.microsoft.com/office/drawing/2014/main" id="{39EF91B0-AA9A-4830-BDAB-1D8C1ACCA61E}"/>
              </a:ext>
            </a:extLst>
          </p:cNvPr>
          <p:cNvGrpSpPr>
            <a:grpSpLocks noChangeAspect="1"/>
          </p:cNvGrpSpPr>
          <p:nvPr/>
        </p:nvGrpSpPr>
        <p:grpSpPr>
          <a:xfrm>
            <a:off x="3688634" y="4077385"/>
            <a:ext cx="483435" cy="431996"/>
            <a:chOff x="3379771" y="4164595"/>
            <a:chExt cx="485967" cy="434259"/>
          </a:xfrm>
        </p:grpSpPr>
        <p:sp>
          <p:nvSpPr>
            <p:cNvPr id="590" name="Freihandform: Form 589">
              <a:extLst>
                <a:ext uri="{FF2B5EF4-FFF2-40B4-BE49-F238E27FC236}">
                  <a16:creationId xmlns:a16="http://schemas.microsoft.com/office/drawing/2014/main" id="{07A24ABB-3ADA-46E9-8CF0-EF757AB72833}"/>
                </a:ext>
              </a:extLst>
            </p:cNvPr>
            <p:cNvSpPr/>
            <p:nvPr/>
          </p:nvSpPr>
          <p:spPr>
            <a:xfrm>
              <a:off x="3379771" y="4164595"/>
              <a:ext cx="485967" cy="328419"/>
            </a:xfrm>
            <a:custGeom>
              <a:avLst/>
              <a:gdLst>
                <a:gd name="connsiteX0" fmla="*/ 374311 w 485967"/>
                <a:gd name="connsiteY0" fmla="*/ 328419 h 328418"/>
                <a:gd name="connsiteX1" fmla="*/ 374311 w 485967"/>
                <a:gd name="connsiteY1" fmla="*/ 315295 h 328418"/>
                <a:gd name="connsiteX2" fmla="*/ 472814 w 485967"/>
                <a:gd name="connsiteY2" fmla="*/ 216792 h 328418"/>
                <a:gd name="connsiteX3" fmla="*/ 374311 w 485967"/>
                <a:gd name="connsiteY3" fmla="*/ 118289 h 328418"/>
                <a:gd name="connsiteX4" fmla="*/ 349509 w 485967"/>
                <a:gd name="connsiteY4" fmla="*/ 121577 h 328418"/>
                <a:gd name="connsiteX5" fmla="*/ 341005 w 485967"/>
                <a:gd name="connsiteY5" fmla="*/ 123788 h 328418"/>
                <a:gd name="connsiteX6" fmla="*/ 341401 w 485967"/>
                <a:gd name="connsiteY6" fmla="*/ 113328 h 328418"/>
                <a:gd name="connsiteX7" fmla="*/ 341487 w 485967"/>
                <a:gd name="connsiteY7" fmla="*/ 111741 h 328418"/>
                <a:gd name="connsiteX8" fmla="*/ 242984 w 485967"/>
                <a:gd name="connsiteY8" fmla="*/ 13238 h 328418"/>
                <a:gd name="connsiteX9" fmla="*/ 144481 w 485967"/>
                <a:gd name="connsiteY9" fmla="*/ 111741 h 328418"/>
                <a:gd name="connsiteX10" fmla="*/ 144566 w 485967"/>
                <a:gd name="connsiteY10" fmla="*/ 113328 h 328418"/>
                <a:gd name="connsiteX11" fmla="*/ 144962 w 485967"/>
                <a:gd name="connsiteY11" fmla="*/ 123788 h 328418"/>
                <a:gd name="connsiteX12" fmla="*/ 136459 w 485967"/>
                <a:gd name="connsiteY12" fmla="*/ 121577 h 328418"/>
                <a:gd name="connsiteX13" fmla="*/ 111656 w 485967"/>
                <a:gd name="connsiteY13" fmla="*/ 118289 h 328418"/>
                <a:gd name="connsiteX14" fmla="*/ 13153 w 485967"/>
                <a:gd name="connsiteY14" fmla="*/ 216792 h 328418"/>
                <a:gd name="connsiteX15" fmla="*/ 111656 w 485967"/>
                <a:gd name="connsiteY15" fmla="*/ 315295 h 328418"/>
                <a:gd name="connsiteX16" fmla="*/ 111656 w 485967"/>
                <a:gd name="connsiteY16" fmla="*/ 328419 h 328418"/>
                <a:gd name="connsiteX17" fmla="*/ 0 w 485967"/>
                <a:gd name="connsiteY17" fmla="*/ 216763 h 328418"/>
                <a:gd name="connsiteX18" fmla="*/ 111656 w 485967"/>
                <a:gd name="connsiteY18" fmla="*/ 105108 h 328418"/>
                <a:gd name="connsiteX19" fmla="*/ 131441 w 485967"/>
                <a:gd name="connsiteY19" fmla="*/ 106950 h 328418"/>
                <a:gd name="connsiteX20" fmla="*/ 242984 w 485967"/>
                <a:gd name="connsiteY20" fmla="*/ 0 h 328418"/>
                <a:gd name="connsiteX21" fmla="*/ 354526 w 485967"/>
                <a:gd name="connsiteY21" fmla="*/ 106950 h 328418"/>
                <a:gd name="connsiteX22" fmla="*/ 374311 w 485967"/>
                <a:gd name="connsiteY22" fmla="*/ 105108 h 328418"/>
                <a:gd name="connsiteX23" fmla="*/ 485967 w 485967"/>
                <a:gd name="connsiteY23" fmla="*/ 216763 h 328418"/>
                <a:gd name="connsiteX24" fmla="*/ 374311 w 485967"/>
                <a:gd name="connsiteY24" fmla="*/ 328419 h 328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5967" h="328418">
                  <a:moveTo>
                    <a:pt x="374311" y="328419"/>
                  </a:moveTo>
                  <a:lnTo>
                    <a:pt x="374311" y="315295"/>
                  </a:lnTo>
                  <a:cubicBezTo>
                    <a:pt x="428622" y="315295"/>
                    <a:pt x="472814" y="271103"/>
                    <a:pt x="472814" y="216792"/>
                  </a:cubicBezTo>
                  <a:cubicBezTo>
                    <a:pt x="472814" y="162480"/>
                    <a:pt x="428622" y="118289"/>
                    <a:pt x="374311" y="118289"/>
                  </a:cubicBezTo>
                  <a:cubicBezTo>
                    <a:pt x="366233" y="118289"/>
                    <a:pt x="357899" y="119394"/>
                    <a:pt x="349509" y="121577"/>
                  </a:cubicBezTo>
                  <a:lnTo>
                    <a:pt x="341005" y="123788"/>
                  </a:lnTo>
                  <a:lnTo>
                    <a:pt x="341401" y="113328"/>
                  </a:lnTo>
                  <a:cubicBezTo>
                    <a:pt x="341430" y="112790"/>
                    <a:pt x="341487" y="112279"/>
                    <a:pt x="341487" y="111741"/>
                  </a:cubicBezTo>
                  <a:cubicBezTo>
                    <a:pt x="341487" y="57429"/>
                    <a:pt x="297295" y="13238"/>
                    <a:pt x="242984" y="13238"/>
                  </a:cubicBezTo>
                  <a:cubicBezTo>
                    <a:pt x="188672" y="13238"/>
                    <a:pt x="144481" y="57429"/>
                    <a:pt x="144481" y="111741"/>
                  </a:cubicBezTo>
                  <a:cubicBezTo>
                    <a:pt x="144481" y="112279"/>
                    <a:pt x="144509" y="112818"/>
                    <a:pt x="144566" y="113328"/>
                  </a:cubicBezTo>
                  <a:lnTo>
                    <a:pt x="144962" y="123788"/>
                  </a:lnTo>
                  <a:lnTo>
                    <a:pt x="136459" y="121577"/>
                  </a:lnTo>
                  <a:cubicBezTo>
                    <a:pt x="128096" y="119394"/>
                    <a:pt x="119763" y="118289"/>
                    <a:pt x="111656" y="118289"/>
                  </a:cubicBezTo>
                  <a:cubicBezTo>
                    <a:pt x="57344" y="118289"/>
                    <a:pt x="13153" y="162480"/>
                    <a:pt x="13153" y="216792"/>
                  </a:cubicBezTo>
                  <a:cubicBezTo>
                    <a:pt x="13153" y="271103"/>
                    <a:pt x="57344" y="315295"/>
                    <a:pt x="111656" y="315295"/>
                  </a:cubicBezTo>
                  <a:lnTo>
                    <a:pt x="111656" y="328419"/>
                  </a:lnTo>
                  <a:cubicBezTo>
                    <a:pt x="50088" y="328419"/>
                    <a:pt x="0" y="278331"/>
                    <a:pt x="0" y="216763"/>
                  </a:cubicBezTo>
                  <a:cubicBezTo>
                    <a:pt x="0" y="155195"/>
                    <a:pt x="50088" y="105108"/>
                    <a:pt x="111656" y="105108"/>
                  </a:cubicBezTo>
                  <a:cubicBezTo>
                    <a:pt x="118147" y="105108"/>
                    <a:pt x="124780" y="105731"/>
                    <a:pt x="131441" y="106950"/>
                  </a:cubicBezTo>
                  <a:cubicBezTo>
                    <a:pt x="133936" y="47565"/>
                    <a:pt x="183003" y="0"/>
                    <a:pt x="242984" y="0"/>
                  </a:cubicBezTo>
                  <a:cubicBezTo>
                    <a:pt x="302964" y="0"/>
                    <a:pt x="352060" y="47565"/>
                    <a:pt x="354526" y="106950"/>
                  </a:cubicBezTo>
                  <a:cubicBezTo>
                    <a:pt x="361187" y="105731"/>
                    <a:pt x="367820" y="105108"/>
                    <a:pt x="374311" y="105108"/>
                  </a:cubicBezTo>
                  <a:cubicBezTo>
                    <a:pt x="435879" y="105108"/>
                    <a:pt x="485967" y="155195"/>
                    <a:pt x="485967" y="216763"/>
                  </a:cubicBezTo>
                  <a:cubicBezTo>
                    <a:pt x="485967" y="278331"/>
                    <a:pt x="435879" y="328419"/>
                    <a:pt x="374311" y="328419"/>
                  </a:cubicBezTo>
                  <a:close/>
                </a:path>
              </a:pathLst>
            </a:custGeom>
            <a:solidFill>
              <a:schemeClr val="tx2"/>
            </a:solidFill>
            <a:ln w="2827" cap="flat">
              <a:noFill/>
              <a:prstDash val="solid"/>
              <a:miter/>
            </a:ln>
          </p:spPr>
          <p:txBody>
            <a:bodyPr rtlCol="0" anchor="ctr"/>
            <a:lstStyle/>
            <a:p>
              <a:endParaRPr lang="en-GB" dirty="0"/>
            </a:p>
          </p:txBody>
        </p:sp>
        <p:grpSp>
          <p:nvGrpSpPr>
            <p:cNvPr id="591" name="Group 748">
              <a:extLst>
                <a:ext uri="{FF2B5EF4-FFF2-40B4-BE49-F238E27FC236}">
                  <a16:creationId xmlns:a16="http://schemas.microsoft.com/office/drawing/2014/main" id="{8F399CB3-346F-4F76-9F1B-C88EAA6537C7}"/>
                </a:ext>
              </a:extLst>
            </p:cNvPr>
            <p:cNvGrpSpPr/>
            <p:nvPr/>
          </p:nvGrpSpPr>
          <p:grpSpPr>
            <a:xfrm>
              <a:off x="3502963" y="4373984"/>
              <a:ext cx="239525" cy="224870"/>
              <a:chOff x="3502963" y="4373984"/>
              <a:chExt cx="239525" cy="224870"/>
            </a:xfrm>
          </p:grpSpPr>
          <p:sp>
            <p:nvSpPr>
              <p:cNvPr id="592" name="Freihandform: Form 591">
                <a:extLst>
                  <a:ext uri="{FF2B5EF4-FFF2-40B4-BE49-F238E27FC236}">
                    <a16:creationId xmlns:a16="http://schemas.microsoft.com/office/drawing/2014/main" id="{F66D6AB8-613A-49FE-8951-48494183756E}"/>
                  </a:ext>
                </a:extLst>
              </p:cNvPr>
              <p:cNvSpPr/>
              <p:nvPr/>
            </p:nvSpPr>
            <p:spPr>
              <a:xfrm>
                <a:off x="3511070" y="4519258"/>
                <a:ext cx="223311" cy="79596"/>
              </a:xfrm>
              <a:custGeom>
                <a:avLst/>
                <a:gdLst>
                  <a:gd name="connsiteX0" fmla="*/ 111656 w 223311"/>
                  <a:gd name="connsiteY0" fmla="*/ 79596 h 79596"/>
                  <a:gd name="connsiteX1" fmla="*/ 0 w 223311"/>
                  <a:gd name="connsiteY1" fmla="*/ 23783 h 79596"/>
                  <a:gd name="connsiteX2" fmla="*/ 0 w 223311"/>
                  <a:gd name="connsiteY2" fmla="*/ 0 h 79596"/>
                  <a:gd name="connsiteX3" fmla="*/ 13124 w 223311"/>
                  <a:gd name="connsiteY3" fmla="*/ 0 h 79596"/>
                  <a:gd name="connsiteX4" fmla="*/ 13124 w 223311"/>
                  <a:gd name="connsiteY4" fmla="*/ 15647 h 79596"/>
                  <a:gd name="connsiteX5" fmla="*/ 111656 w 223311"/>
                  <a:gd name="connsiteY5" fmla="*/ 64913 h 79596"/>
                  <a:gd name="connsiteX6" fmla="*/ 210159 w 223311"/>
                  <a:gd name="connsiteY6" fmla="*/ 15647 h 79596"/>
                  <a:gd name="connsiteX7" fmla="*/ 210159 w 223311"/>
                  <a:gd name="connsiteY7" fmla="*/ 0 h 79596"/>
                  <a:gd name="connsiteX8" fmla="*/ 223311 w 223311"/>
                  <a:gd name="connsiteY8" fmla="*/ 0 h 79596"/>
                  <a:gd name="connsiteX9" fmla="*/ 223311 w 223311"/>
                  <a:gd name="connsiteY9" fmla="*/ 23783 h 79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311" h="79596">
                    <a:moveTo>
                      <a:pt x="111656" y="79596"/>
                    </a:moveTo>
                    <a:lnTo>
                      <a:pt x="0" y="23783"/>
                    </a:lnTo>
                    <a:lnTo>
                      <a:pt x="0" y="0"/>
                    </a:lnTo>
                    <a:lnTo>
                      <a:pt x="13124" y="0"/>
                    </a:lnTo>
                    <a:lnTo>
                      <a:pt x="13124" y="15647"/>
                    </a:lnTo>
                    <a:lnTo>
                      <a:pt x="111656" y="64913"/>
                    </a:lnTo>
                    <a:lnTo>
                      <a:pt x="210159" y="15647"/>
                    </a:lnTo>
                    <a:lnTo>
                      <a:pt x="210159" y="0"/>
                    </a:lnTo>
                    <a:lnTo>
                      <a:pt x="223311" y="0"/>
                    </a:lnTo>
                    <a:lnTo>
                      <a:pt x="223311" y="23783"/>
                    </a:lnTo>
                    <a:close/>
                  </a:path>
                </a:pathLst>
              </a:custGeom>
              <a:solidFill>
                <a:schemeClr val="accent1"/>
              </a:solidFill>
              <a:ln w="2827" cap="flat">
                <a:noFill/>
                <a:prstDash val="solid"/>
                <a:miter/>
              </a:ln>
            </p:spPr>
            <p:txBody>
              <a:bodyPr rtlCol="0" anchor="ctr"/>
              <a:lstStyle/>
              <a:p>
                <a:endParaRPr lang="en-GB" dirty="0"/>
              </a:p>
            </p:txBody>
          </p:sp>
          <p:sp>
            <p:nvSpPr>
              <p:cNvPr id="593" name="Freihandform: Form 592">
                <a:extLst>
                  <a:ext uri="{FF2B5EF4-FFF2-40B4-BE49-F238E27FC236}">
                    <a16:creationId xmlns:a16="http://schemas.microsoft.com/office/drawing/2014/main" id="{0467CB33-EF30-493E-923F-C1B0CDFB52BF}"/>
                  </a:ext>
                </a:extLst>
              </p:cNvPr>
              <p:cNvSpPr/>
              <p:nvPr/>
            </p:nvSpPr>
            <p:spPr>
              <a:xfrm>
                <a:off x="3511070" y="4466733"/>
                <a:ext cx="223311" cy="79595"/>
              </a:xfrm>
              <a:custGeom>
                <a:avLst/>
                <a:gdLst>
                  <a:gd name="connsiteX0" fmla="*/ 111656 w 223311"/>
                  <a:gd name="connsiteY0" fmla="*/ 79596 h 79595"/>
                  <a:gd name="connsiteX1" fmla="*/ 0 w 223311"/>
                  <a:gd name="connsiteY1" fmla="*/ 23754 h 79595"/>
                  <a:gd name="connsiteX2" fmla="*/ 0 w 223311"/>
                  <a:gd name="connsiteY2" fmla="*/ 0 h 79595"/>
                  <a:gd name="connsiteX3" fmla="*/ 13124 w 223311"/>
                  <a:gd name="connsiteY3" fmla="*/ 0 h 79595"/>
                  <a:gd name="connsiteX4" fmla="*/ 13124 w 223311"/>
                  <a:gd name="connsiteY4" fmla="*/ 15647 h 79595"/>
                  <a:gd name="connsiteX5" fmla="*/ 111656 w 223311"/>
                  <a:gd name="connsiteY5" fmla="*/ 64913 h 79595"/>
                  <a:gd name="connsiteX6" fmla="*/ 210159 w 223311"/>
                  <a:gd name="connsiteY6" fmla="*/ 15647 h 79595"/>
                  <a:gd name="connsiteX7" fmla="*/ 210159 w 223311"/>
                  <a:gd name="connsiteY7" fmla="*/ 0 h 79595"/>
                  <a:gd name="connsiteX8" fmla="*/ 223311 w 223311"/>
                  <a:gd name="connsiteY8" fmla="*/ 0 h 79595"/>
                  <a:gd name="connsiteX9" fmla="*/ 223311 w 223311"/>
                  <a:gd name="connsiteY9" fmla="*/ 23754 h 79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3311" h="79595">
                    <a:moveTo>
                      <a:pt x="111656" y="79596"/>
                    </a:moveTo>
                    <a:lnTo>
                      <a:pt x="0" y="23754"/>
                    </a:lnTo>
                    <a:lnTo>
                      <a:pt x="0" y="0"/>
                    </a:lnTo>
                    <a:lnTo>
                      <a:pt x="13124" y="0"/>
                    </a:lnTo>
                    <a:lnTo>
                      <a:pt x="13124" y="15647"/>
                    </a:lnTo>
                    <a:lnTo>
                      <a:pt x="111656" y="64913"/>
                    </a:lnTo>
                    <a:lnTo>
                      <a:pt x="210159" y="15647"/>
                    </a:lnTo>
                    <a:lnTo>
                      <a:pt x="210159" y="0"/>
                    </a:lnTo>
                    <a:lnTo>
                      <a:pt x="223311" y="0"/>
                    </a:lnTo>
                    <a:lnTo>
                      <a:pt x="223311" y="23754"/>
                    </a:lnTo>
                    <a:close/>
                  </a:path>
                </a:pathLst>
              </a:custGeom>
              <a:solidFill>
                <a:schemeClr val="accent1"/>
              </a:solidFill>
              <a:ln w="2827" cap="flat">
                <a:noFill/>
                <a:prstDash val="solid"/>
                <a:miter/>
              </a:ln>
            </p:spPr>
            <p:txBody>
              <a:bodyPr rtlCol="0" anchor="ctr"/>
              <a:lstStyle/>
              <a:p>
                <a:endParaRPr lang="en-GB" dirty="0"/>
              </a:p>
            </p:txBody>
          </p:sp>
          <p:sp>
            <p:nvSpPr>
              <p:cNvPr id="594" name="Freihandform: Form 593">
                <a:extLst>
                  <a:ext uri="{FF2B5EF4-FFF2-40B4-BE49-F238E27FC236}">
                    <a16:creationId xmlns:a16="http://schemas.microsoft.com/office/drawing/2014/main" id="{41C1DD61-9124-4C66-8F9F-03E993E9651A}"/>
                  </a:ext>
                </a:extLst>
              </p:cNvPr>
              <p:cNvSpPr/>
              <p:nvPr/>
            </p:nvSpPr>
            <p:spPr>
              <a:xfrm>
                <a:off x="3502963" y="4373984"/>
                <a:ext cx="239525" cy="119790"/>
              </a:xfrm>
              <a:custGeom>
                <a:avLst/>
                <a:gdLst>
                  <a:gd name="connsiteX0" fmla="*/ 119763 w 239525"/>
                  <a:gd name="connsiteY0" fmla="*/ 119791 h 119790"/>
                  <a:gd name="connsiteX1" fmla="*/ 0 w 239525"/>
                  <a:gd name="connsiteY1" fmla="*/ 59895 h 119790"/>
                  <a:gd name="connsiteX2" fmla="*/ 119763 w 239525"/>
                  <a:gd name="connsiteY2" fmla="*/ 0 h 119790"/>
                  <a:gd name="connsiteX3" fmla="*/ 239525 w 239525"/>
                  <a:gd name="connsiteY3" fmla="*/ 59895 h 119790"/>
                  <a:gd name="connsiteX4" fmla="*/ 119763 w 239525"/>
                  <a:gd name="connsiteY4" fmla="*/ 119791 h 119790"/>
                  <a:gd name="connsiteX5" fmla="*/ 29367 w 239525"/>
                  <a:gd name="connsiteY5" fmla="*/ 59895 h 119790"/>
                  <a:gd name="connsiteX6" fmla="*/ 119763 w 239525"/>
                  <a:gd name="connsiteY6" fmla="*/ 105079 h 119790"/>
                  <a:gd name="connsiteX7" fmla="*/ 210159 w 239525"/>
                  <a:gd name="connsiteY7" fmla="*/ 59895 h 119790"/>
                  <a:gd name="connsiteX8" fmla="*/ 119763 w 239525"/>
                  <a:gd name="connsiteY8" fmla="*/ 14712 h 119790"/>
                  <a:gd name="connsiteX9" fmla="*/ 29367 w 239525"/>
                  <a:gd name="connsiteY9" fmla="*/ 59895 h 119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9525" h="119790">
                    <a:moveTo>
                      <a:pt x="119763" y="119791"/>
                    </a:moveTo>
                    <a:lnTo>
                      <a:pt x="0" y="59895"/>
                    </a:lnTo>
                    <a:lnTo>
                      <a:pt x="119763" y="0"/>
                    </a:lnTo>
                    <a:lnTo>
                      <a:pt x="239525" y="59895"/>
                    </a:lnTo>
                    <a:lnTo>
                      <a:pt x="119763" y="119791"/>
                    </a:lnTo>
                    <a:close/>
                    <a:moveTo>
                      <a:pt x="29367" y="59895"/>
                    </a:moveTo>
                    <a:lnTo>
                      <a:pt x="119763" y="105079"/>
                    </a:lnTo>
                    <a:lnTo>
                      <a:pt x="210159" y="59895"/>
                    </a:lnTo>
                    <a:lnTo>
                      <a:pt x="119763" y="14712"/>
                    </a:lnTo>
                    <a:lnTo>
                      <a:pt x="29367" y="59895"/>
                    </a:lnTo>
                    <a:close/>
                  </a:path>
                </a:pathLst>
              </a:custGeom>
              <a:solidFill>
                <a:schemeClr val="accent1"/>
              </a:solidFill>
              <a:ln w="2827" cap="flat">
                <a:noFill/>
                <a:prstDash val="solid"/>
                <a:miter/>
              </a:ln>
            </p:spPr>
            <p:txBody>
              <a:bodyPr rtlCol="0" anchor="ctr"/>
              <a:lstStyle/>
              <a:p>
                <a:endParaRPr lang="en-GB" dirty="0"/>
              </a:p>
            </p:txBody>
          </p:sp>
        </p:grpSp>
      </p:grpSp>
      <p:grpSp>
        <p:nvGrpSpPr>
          <p:cNvPr id="8" name="Group 7">
            <a:extLst>
              <a:ext uri="{FF2B5EF4-FFF2-40B4-BE49-F238E27FC236}">
                <a16:creationId xmlns:a16="http://schemas.microsoft.com/office/drawing/2014/main" id="{C78A698E-6622-D665-03C1-29649D20F487}"/>
              </a:ext>
            </a:extLst>
          </p:cNvPr>
          <p:cNvGrpSpPr/>
          <p:nvPr/>
        </p:nvGrpSpPr>
        <p:grpSpPr>
          <a:xfrm>
            <a:off x="2614918" y="4188276"/>
            <a:ext cx="540000" cy="321113"/>
            <a:chOff x="2614918" y="4188276"/>
            <a:chExt cx="540000" cy="321113"/>
          </a:xfrm>
        </p:grpSpPr>
        <p:grpSp>
          <p:nvGrpSpPr>
            <p:cNvPr id="596" name="Group 712">
              <a:extLst>
                <a:ext uri="{FF2B5EF4-FFF2-40B4-BE49-F238E27FC236}">
                  <a16:creationId xmlns:a16="http://schemas.microsoft.com/office/drawing/2014/main" id="{0941DA2E-8387-4184-86FA-1E4C2536BCC2}"/>
                </a:ext>
              </a:extLst>
            </p:cNvPr>
            <p:cNvGrpSpPr/>
            <p:nvPr/>
          </p:nvGrpSpPr>
          <p:grpSpPr>
            <a:xfrm>
              <a:off x="2768137" y="4188276"/>
              <a:ext cx="233498" cy="321113"/>
              <a:chOff x="2690108" y="4328772"/>
              <a:chExt cx="210158" cy="289017"/>
            </a:xfrm>
          </p:grpSpPr>
          <p:sp>
            <p:nvSpPr>
              <p:cNvPr id="612" name="Freihandform: Form 611">
                <a:extLst>
                  <a:ext uri="{FF2B5EF4-FFF2-40B4-BE49-F238E27FC236}">
                    <a16:creationId xmlns:a16="http://schemas.microsoft.com/office/drawing/2014/main" id="{EA7E89D8-BE02-4F34-9713-CF5C1909A797}"/>
                  </a:ext>
                </a:extLst>
              </p:cNvPr>
              <p:cNvSpPr/>
              <p:nvPr/>
            </p:nvSpPr>
            <p:spPr>
              <a:xfrm>
                <a:off x="2722933" y="4545535"/>
                <a:ext cx="19700" cy="72254"/>
              </a:xfrm>
              <a:custGeom>
                <a:avLst/>
                <a:gdLst>
                  <a:gd name="connsiteX0" fmla="*/ 19701 w 19700"/>
                  <a:gd name="connsiteY0" fmla="*/ 72255 h 72254"/>
                  <a:gd name="connsiteX1" fmla="*/ 6576 w 19700"/>
                  <a:gd name="connsiteY1" fmla="*/ 72255 h 72254"/>
                  <a:gd name="connsiteX2" fmla="*/ 6576 w 19700"/>
                  <a:gd name="connsiteY2" fmla="*/ 13153 h 72254"/>
                  <a:gd name="connsiteX3" fmla="*/ 0 w 19700"/>
                  <a:gd name="connsiteY3" fmla="*/ 13153 h 72254"/>
                  <a:gd name="connsiteX4" fmla="*/ 0 w 19700"/>
                  <a:gd name="connsiteY4" fmla="*/ 0 h 72254"/>
                  <a:gd name="connsiteX5" fmla="*/ 19701 w 19700"/>
                  <a:gd name="connsiteY5" fmla="*/ 0 h 7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00" h="72254">
                    <a:moveTo>
                      <a:pt x="19701" y="72255"/>
                    </a:moveTo>
                    <a:lnTo>
                      <a:pt x="6576" y="72255"/>
                    </a:lnTo>
                    <a:lnTo>
                      <a:pt x="6576" y="13153"/>
                    </a:lnTo>
                    <a:lnTo>
                      <a:pt x="0" y="13153"/>
                    </a:lnTo>
                    <a:lnTo>
                      <a:pt x="0" y="0"/>
                    </a:lnTo>
                    <a:lnTo>
                      <a:pt x="19701" y="0"/>
                    </a:lnTo>
                    <a:close/>
                  </a:path>
                </a:pathLst>
              </a:custGeom>
              <a:solidFill>
                <a:schemeClr val="accent1"/>
              </a:solidFill>
              <a:ln w="2827" cap="flat">
                <a:noFill/>
                <a:prstDash val="solid"/>
                <a:miter/>
              </a:ln>
            </p:spPr>
            <p:txBody>
              <a:bodyPr rtlCol="0" anchor="ctr"/>
              <a:lstStyle/>
              <a:p>
                <a:endParaRPr lang="en-GB" dirty="0"/>
              </a:p>
            </p:txBody>
          </p:sp>
          <p:sp>
            <p:nvSpPr>
              <p:cNvPr id="613" name="Freihandform: Form 612">
                <a:extLst>
                  <a:ext uri="{FF2B5EF4-FFF2-40B4-BE49-F238E27FC236}">
                    <a16:creationId xmlns:a16="http://schemas.microsoft.com/office/drawing/2014/main" id="{5E67746D-4CD2-47EC-9D13-60A2EB8969ED}"/>
                  </a:ext>
                </a:extLst>
              </p:cNvPr>
              <p:cNvSpPr/>
              <p:nvPr/>
            </p:nvSpPr>
            <p:spPr>
              <a:xfrm>
                <a:off x="2847741" y="4545535"/>
                <a:ext cx="19700" cy="72254"/>
              </a:xfrm>
              <a:custGeom>
                <a:avLst/>
                <a:gdLst>
                  <a:gd name="connsiteX0" fmla="*/ 13124 w 19700"/>
                  <a:gd name="connsiteY0" fmla="*/ 72255 h 72254"/>
                  <a:gd name="connsiteX1" fmla="*/ 0 w 19700"/>
                  <a:gd name="connsiteY1" fmla="*/ 72255 h 72254"/>
                  <a:gd name="connsiteX2" fmla="*/ 0 w 19700"/>
                  <a:gd name="connsiteY2" fmla="*/ 0 h 72254"/>
                  <a:gd name="connsiteX3" fmla="*/ 19701 w 19700"/>
                  <a:gd name="connsiteY3" fmla="*/ 0 h 72254"/>
                  <a:gd name="connsiteX4" fmla="*/ 19701 w 19700"/>
                  <a:gd name="connsiteY4" fmla="*/ 13153 h 72254"/>
                  <a:gd name="connsiteX5" fmla="*/ 13124 w 19700"/>
                  <a:gd name="connsiteY5" fmla="*/ 13153 h 72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00" h="72254">
                    <a:moveTo>
                      <a:pt x="13124" y="72255"/>
                    </a:moveTo>
                    <a:lnTo>
                      <a:pt x="0" y="72255"/>
                    </a:lnTo>
                    <a:lnTo>
                      <a:pt x="0" y="0"/>
                    </a:lnTo>
                    <a:lnTo>
                      <a:pt x="19701" y="0"/>
                    </a:lnTo>
                    <a:lnTo>
                      <a:pt x="19701" y="13153"/>
                    </a:lnTo>
                    <a:lnTo>
                      <a:pt x="13124" y="13153"/>
                    </a:lnTo>
                    <a:close/>
                  </a:path>
                </a:pathLst>
              </a:custGeom>
              <a:solidFill>
                <a:schemeClr val="accent1"/>
              </a:solidFill>
              <a:ln w="2827" cap="flat">
                <a:noFill/>
                <a:prstDash val="solid"/>
                <a:miter/>
              </a:ln>
            </p:spPr>
            <p:txBody>
              <a:bodyPr rtlCol="0" anchor="ctr"/>
              <a:lstStyle/>
              <a:p>
                <a:endParaRPr lang="en-GB" dirty="0"/>
              </a:p>
            </p:txBody>
          </p:sp>
          <p:sp>
            <p:nvSpPr>
              <p:cNvPr id="614" name="Freihandform: Form 613">
                <a:extLst>
                  <a:ext uri="{FF2B5EF4-FFF2-40B4-BE49-F238E27FC236}">
                    <a16:creationId xmlns:a16="http://schemas.microsoft.com/office/drawing/2014/main" id="{8479843D-F0B9-4762-8955-B0A7B4FD16DA}"/>
                  </a:ext>
                </a:extLst>
              </p:cNvPr>
              <p:cNvSpPr/>
              <p:nvPr/>
            </p:nvSpPr>
            <p:spPr>
              <a:xfrm>
                <a:off x="2690108" y="4447032"/>
                <a:ext cx="210158" cy="170757"/>
              </a:xfrm>
              <a:custGeom>
                <a:avLst/>
                <a:gdLst>
                  <a:gd name="connsiteX0" fmla="*/ 210159 w 210158"/>
                  <a:gd name="connsiteY0" fmla="*/ 170758 h 170757"/>
                  <a:gd name="connsiteX1" fmla="*/ 197034 w 210158"/>
                  <a:gd name="connsiteY1" fmla="*/ 170758 h 170757"/>
                  <a:gd name="connsiteX2" fmla="*/ 197034 w 210158"/>
                  <a:gd name="connsiteY2" fmla="*/ 85379 h 170757"/>
                  <a:gd name="connsiteX3" fmla="*/ 131356 w 210158"/>
                  <a:gd name="connsiteY3" fmla="*/ 13124 h 170757"/>
                  <a:gd name="connsiteX4" fmla="*/ 78802 w 210158"/>
                  <a:gd name="connsiteY4" fmla="*/ 13124 h 170757"/>
                  <a:gd name="connsiteX5" fmla="*/ 13124 w 210158"/>
                  <a:gd name="connsiteY5" fmla="*/ 85379 h 170757"/>
                  <a:gd name="connsiteX6" fmla="*/ 13124 w 210158"/>
                  <a:gd name="connsiteY6" fmla="*/ 170758 h 170757"/>
                  <a:gd name="connsiteX7" fmla="*/ 0 w 210158"/>
                  <a:gd name="connsiteY7" fmla="*/ 170758 h 170757"/>
                  <a:gd name="connsiteX8" fmla="*/ 0 w 210158"/>
                  <a:gd name="connsiteY8" fmla="*/ 85379 h 170757"/>
                  <a:gd name="connsiteX9" fmla="*/ 78802 w 210158"/>
                  <a:gd name="connsiteY9" fmla="*/ 0 h 170757"/>
                  <a:gd name="connsiteX10" fmla="*/ 131356 w 210158"/>
                  <a:gd name="connsiteY10" fmla="*/ 0 h 170757"/>
                  <a:gd name="connsiteX11" fmla="*/ 210159 w 210158"/>
                  <a:gd name="connsiteY11" fmla="*/ 85379 h 170757"/>
                  <a:gd name="connsiteX12" fmla="*/ 210159 w 210158"/>
                  <a:gd name="connsiteY12" fmla="*/ 170758 h 170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0158" h="170757">
                    <a:moveTo>
                      <a:pt x="210159" y="170758"/>
                    </a:moveTo>
                    <a:lnTo>
                      <a:pt x="197034" y="170758"/>
                    </a:lnTo>
                    <a:lnTo>
                      <a:pt x="197034" y="85379"/>
                    </a:lnTo>
                    <a:cubicBezTo>
                      <a:pt x="197034" y="43511"/>
                      <a:pt x="169397" y="13124"/>
                      <a:pt x="131356" y="13124"/>
                    </a:cubicBezTo>
                    <a:lnTo>
                      <a:pt x="78802" y="13124"/>
                    </a:lnTo>
                    <a:cubicBezTo>
                      <a:pt x="40762" y="13124"/>
                      <a:pt x="13124" y="43511"/>
                      <a:pt x="13124" y="85379"/>
                    </a:cubicBezTo>
                    <a:lnTo>
                      <a:pt x="13124" y="170758"/>
                    </a:lnTo>
                    <a:lnTo>
                      <a:pt x="0" y="170758"/>
                    </a:lnTo>
                    <a:lnTo>
                      <a:pt x="0" y="85379"/>
                    </a:lnTo>
                    <a:cubicBezTo>
                      <a:pt x="0" y="36708"/>
                      <a:pt x="33874" y="0"/>
                      <a:pt x="78802" y="0"/>
                    </a:cubicBezTo>
                    <a:lnTo>
                      <a:pt x="131356" y="0"/>
                    </a:lnTo>
                    <a:cubicBezTo>
                      <a:pt x="176285" y="0"/>
                      <a:pt x="210159" y="36708"/>
                      <a:pt x="210159" y="85379"/>
                    </a:cubicBezTo>
                    <a:lnTo>
                      <a:pt x="210159" y="170758"/>
                    </a:lnTo>
                    <a:close/>
                  </a:path>
                </a:pathLst>
              </a:custGeom>
              <a:solidFill>
                <a:schemeClr val="accent1"/>
              </a:solidFill>
              <a:ln w="2827" cap="flat">
                <a:noFill/>
                <a:prstDash val="solid"/>
                <a:miter/>
              </a:ln>
            </p:spPr>
            <p:txBody>
              <a:bodyPr rtlCol="0" anchor="ctr"/>
              <a:lstStyle/>
              <a:p>
                <a:endParaRPr lang="en-GB" dirty="0"/>
              </a:p>
            </p:txBody>
          </p:sp>
          <p:sp>
            <p:nvSpPr>
              <p:cNvPr id="615" name="Freihandform: Form 614">
                <a:extLst>
                  <a:ext uri="{FF2B5EF4-FFF2-40B4-BE49-F238E27FC236}">
                    <a16:creationId xmlns:a16="http://schemas.microsoft.com/office/drawing/2014/main" id="{6132946E-35FB-40C6-8A53-0D11D80616D6}"/>
                  </a:ext>
                </a:extLst>
              </p:cNvPr>
              <p:cNvSpPr/>
              <p:nvPr/>
            </p:nvSpPr>
            <p:spPr>
              <a:xfrm>
                <a:off x="2742634" y="4328772"/>
                <a:ext cx="105107" cy="105107"/>
              </a:xfrm>
              <a:custGeom>
                <a:avLst/>
                <a:gdLst>
                  <a:gd name="connsiteX0" fmla="*/ 52554 w 105107"/>
                  <a:gd name="connsiteY0" fmla="*/ 105108 h 105107"/>
                  <a:gd name="connsiteX1" fmla="*/ 0 w 105107"/>
                  <a:gd name="connsiteY1" fmla="*/ 52554 h 105107"/>
                  <a:gd name="connsiteX2" fmla="*/ 52554 w 105107"/>
                  <a:gd name="connsiteY2" fmla="*/ 0 h 105107"/>
                  <a:gd name="connsiteX3" fmla="*/ 105108 w 105107"/>
                  <a:gd name="connsiteY3" fmla="*/ 52554 h 105107"/>
                  <a:gd name="connsiteX4" fmla="*/ 52554 w 105107"/>
                  <a:gd name="connsiteY4" fmla="*/ 105108 h 105107"/>
                  <a:gd name="connsiteX5" fmla="*/ 52554 w 105107"/>
                  <a:gd name="connsiteY5" fmla="*/ 13181 h 105107"/>
                  <a:gd name="connsiteX6" fmla="*/ 13152 w 105107"/>
                  <a:gd name="connsiteY6" fmla="*/ 52582 h 105107"/>
                  <a:gd name="connsiteX7" fmla="*/ 52554 w 105107"/>
                  <a:gd name="connsiteY7" fmla="*/ 91983 h 105107"/>
                  <a:gd name="connsiteX8" fmla="*/ 91955 w 105107"/>
                  <a:gd name="connsiteY8" fmla="*/ 52582 h 105107"/>
                  <a:gd name="connsiteX9" fmla="*/ 52554 w 105107"/>
                  <a:gd name="connsiteY9" fmla="*/ 13181 h 10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107" h="105107">
                    <a:moveTo>
                      <a:pt x="52554" y="105108"/>
                    </a:moveTo>
                    <a:cubicBezTo>
                      <a:pt x="23584" y="105108"/>
                      <a:pt x="0" y="81524"/>
                      <a:pt x="0" y="52554"/>
                    </a:cubicBezTo>
                    <a:cubicBezTo>
                      <a:pt x="0" y="23584"/>
                      <a:pt x="23584" y="0"/>
                      <a:pt x="52554" y="0"/>
                    </a:cubicBezTo>
                    <a:cubicBezTo>
                      <a:pt x="81523" y="0"/>
                      <a:pt x="105108" y="23584"/>
                      <a:pt x="105108" y="52554"/>
                    </a:cubicBezTo>
                    <a:cubicBezTo>
                      <a:pt x="105108" y="81552"/>
                      <a:pt x="81523" y="105108"/>
                      <a:pt x="52554" y="105108"/>
                    </a:cubicBezTo>
                    <a:close/>
                    <a:moveTo>
                      <a:pt x="52554" y="13181"/>
                    </a:moveTo>
                    <a:cubicBezTo>
                      <a:pt x="30812" y="13181"/>
                      <a:pt x="13152" y="30869"/>
                      <a:pt x="13152" y="52582"/>
                    </a:cubicBezTo>
                    <a:cubicBezTo>
                      <a:pt x="13152" y="74324"/>
                      <a:pt x="30841" y="91983"/>
                      <a:pt x="52554" y="91983"/>
                    </a:cubicBezTo>
                    <a:cubicBezTo>
                      <a:pt x="74295" y="91983"/>
                      <a:pt x="91955" y="74295"/>
                      <a:pt x="91955" y="52582"/>
                    </a:cubicBezTo>
                    <a:cubicBezTo>
                      <a:pt x="91955" y="30841"/>
                      <a:pt x="74295" y="13181"/>
                      <a:pt x="52554" y="13181"/>
                    </a:cubicBezTo>
                    <a:close/>
                  </a:path>
                </a:pathLst>
              </a:custGeom>
              <a:solidFill>
                <a:schemeClr val="accent1"/>
              </a:solidFill>
              <a:ln w="2827" cap="flat">
                <a:noFill/>
                <a:prstDash val="solid"/>
                <a:miter/>
              </a:ln>
            </p:spPr>
            <p:txBody>
              <a:bodyPr rtlCol="0" anchor="ctr"/>
              <a:lstStyle/>
              <a:p>
                <a:endParaRPr lang="en-GB" dirty="0"/>
              </a:p>
            </p:txBody>
          </p:sp>
          <p:sp>
            <p:nvSpPr>
              <p:cNvPr id="616" name="Freihandform: Form 615">
                <a:extLst>
                  <a:ext uri="{FF2B5EF4-FFF2-40B4-BE49-F238E27FC236}">
                    <a16:creationId xmlns:a16="http://schemas.microsoft.com/office/drawing/2014/main" id="{649AA818-2A01-4F14-A964-CA2F345294A0}"/>
                  </a:ext>
                </a:extLst>
              </p:cNvPr>
              <p:cNvSpPr/>
              <p:nvPr/>
            </p:nvSpPr>
            <p:spPr>
              <a:xfrm>
                <a:off x="2788611" y="4506134"/>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17" name="Freihandform: Form 616">
                <a:extLst>
                  <a:ext uri="{FF2B5EF4-FFF2-40B4-BE49-F238E27FC236}">
                    <a16:creationId xmlns:a16="http://schemas.microsoft.com/office/drawing/2014/main" id="{A489A495-E87B-4C2D-8BBD-54006D7A14B5}"/>
                  </a:ext>
                </a:extLst>
              </p:cNvPr>
              <p:cNvSpPr/>
              <p:nvPr/>
            </p:nvSpPr>
            <p:spPr>
              <a:xfrm>
                <a:off x="2788611" y="4545535"/>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18" name="Freihandform: Form 617">
                <a:extLst>
                  <a:ext uri="{FF2B5EF4-FFF2-40B4-BE49-F238E27FC236}">
                    <a16:creationId xmlns:a16="http://schemas.microsoft.com/office/drawing/2014/main" id="{BEB3194A-117C-44DA-B331-4AEA3E3474C8}"/>
                  </a:ext>
                </a:extLst>
              </p:cNvPr>
              <p:cNvSpPr/>
              <p:nvPr/>
            </p:nvSpPr>
            <p:spPr>
              <a:xfrm>
                <a:off x="2788611" y="4584936"/>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nvGrpSpPr>
            <p:cNvPr id="597" name="Group 713">
              <a:extLst>
                <a:ext uri="{FF2B5EF4-FFF2-40B4-BE49-F238E27FC236}">
                  <a16:creationId xmlns:a16="http://schemas.microsoft.com/office/drawing/2014/main" id="{3C1E2947-80DD-415F-95D9-C7E591C258B5}"/>
                </a:ext>
              </a:extLst>
            </p:cNvPr>
            <p:cNvGrpSpPr/>
            <p:nvPr/>
          </p:nvGrpSpPr>
          <p:grpSpPr>
            <a:xfrm>
              <a:off x="2614918" y="4224802"/>
              <a:ext cx="540000" cy="255385"/>
              <a:chOff x="2552204" y="4361653"/>
              <a:chExt cx="486023" cy="229859"/>
            </a:xfrm>
            <a:solidFill>
              <a:schemeClr val="tx2"/>
            </a:solidFill>
          </p:grpSpPr>
          <p:grpSp>
            <p:nvGrpSpPr>
              <p:cNvPr id="598" name="Grafik 161">
                <a:extLst>
                  <a:ext uri="{FF2B5EF4-FFF2-40B4-BE49-F238E27FC236}">
                    <a16:creationId xmlns:a16="http://schemas.microsoft.com/office/drawing/2014/main" id="{62A43FF7-3B9A-40C8-A337-11B6E38D461A}"/>
                  </a:ext>
                </a:extLst>
              </p:cNvPr>
              <p:cNvGrpSpPr/>
              <p:nvPr/>
            </p:nvGrpSpPr>
            <p:grpSpPr>
              <a:xfrm>
                <a:off x="2890544" y="4361653"/>
                <a:ext cx="147683" cy="229859"/>
                <a:chOff x="2890544" y="4361653"/>
                <a:chExt cx="147683" cy="229859"/>
              </a:xfrm>
              <a:grpFill/>
            </p:grpSpPr>
            <p:sp>
              <p:nvSpPr>
                <p:cNvPr id="606" name="Freihandform: Form 605">
                  <a:extLst>
                    <a:ext uri="{FF2B5EF4-FFF2-40B4-BE49-F238E27FC236}">
                      <a16:creationId xmlns:a16="http://schemas.microsoft.com/office/drawing/2014/main" id="{6FE489A1-FECA-4684-9AAE-4BA3398B2BDA}"/>
                    </a:ext>
                  </a:extLst>
                </p:cNvPr>
                <p:cNvSpPr/>
                <p:nvPr/>
              </p:nvSpPr>
              <p:spPr>
                <a:xfrm>
                  <a:off x="2890544" y="4466704"/>
                  <a:ext cx="147683" cy="124808"/>
                </a:xfrm>
                <a:custGeom>
                  <a:avLst/>
                  <a:gdLst>
                    <a:gd name="connsiteX0" fmla="*/ 147655 w 147683"/>
                    <a:gd name="connsiteY0" fmla="*/ 124808 h 124808"/>
                    <a:gd name="connsiteX1" fmla="*/ 134531 w 147683"/>
                    <a:gd name="connsiteY1" fmla="*/ 124808 h 124808"/>
                    <a:gd name="connsiteX2" fmla="*/ 134531 w 147683"/>
                    <a:gd name="connsiteY2" fmla="*/ 72254 h 124808"/>
                    <a:gd name="connsiteX3" fmla="*/ 78491 w 147683"/>
                    <a:gd name="connsiteY3" fmla="*/ 13153 h 124808"/>
                    <a:gd name="connsiteX4" fmla="*/ 32967 w 147683"/>
                    <a:gd name="connsiteY4" fmla="*/ 13153 h 124808"/>
                    <a:gd name="connsiteX5" fmla="*/ 6208 w 147683"/>
                    <a:gd name="connsiteY5" fmla="*/ 19616 h 124808"/>
                    <a:gd name="connsiteX6" fmla="*/ 0 w 147683"/>
                    <a:gd name="connsiteY6" fmla="*/ 8022 h 124808"/>
                    <a:gd name="connsiteX7" fmla="*/ 32967 w 147683"/>
                    <a:gd name="connsiteY7" fmla="*/ 0 h 124808"/>
                    <a:gd name="connsiteX8" fmla="*/ 78491 w 147683"/>
                    <a:gd name="connsiteY8" fmla="*/ 0 h 124808"/>
                    <a:gd name="connsiteX9" fmla="*/ 147684 w 147683"/>
                    <a:gd name="connsiteY9" fmla="*/ 72254 h 124808"/>
                    <a:gd name="connsiteX10" fmla="*/ 147684 w 147683"/>
                    <a:gd name="connsiteY10" fmla="*/ 124808 h 12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683" h="124808">
                      <a:moveTo>
                        <a:pt x="147655" y="124808"/>
                      </a:moveTo>
                      <a:lnTo>
                        <a:pt x="134531" y="124808"/>
                      </a:lnTo>
                      <a:lnTo>
                        <a:pt x="134531" y="72254"/>
                      </a:lnTo>
                      <a:cubicBezTo>
                        <a:pt x="134531" y="38012"/>
                        <a:pt x="110947" y="13153"/>
                        <a:pt x="78491" y="13153"/>
                      </a:cubicBezTo>
                      <a:lnTo>
                        <a:pt x="32967" y="13153"/>
                      </a:lnTo>
                      <a:cubicBezTo>
                        <a:pt x="23216" y="13153"/>
                        <a:pt x="14201" y="15335"/>
                        <a:pt x="6208" y="19616"/>
                      </a:cubicBezTo>
                      <a:lnTo>
                        <a:pt x="0" y="8022"/>
                      </a:lnTo>
                      <a:cubicBezTo>
                        <a:pt x="9921" y="2693"/>
                        <a:pt x="21004" y="0"/>
                        <a:pt x="32967" y="0"/>
                      </a:cubicBezTo>
                      <a:lnTo>
                        <a:pt x="78491" y="0"/>
                      </a:lnTo>
                      <a:cubicBezTo>
                        <a:pt x="117920" y="0"/>
                        <a:pt x="147684" y="31067"/>
                        <a:pt x="147684" y="72254"/>
                      </a:cubicBezTo>
                      <a:lnTo>
                        <a:pt x="147684" y="124808"/>
                      </a:lnTo>
                      <a:close/>
                    </a:path>
                  </a:pathLst>
                </a:custGeom>
                <a:grpFill/>
                <a:ln w="2827" cap="flat">
                  <a:noFill/>
                  <a:prstDash val="solid"/>
                  <a:miter/>
                </a:ln>
              </p:spPr>
              <p:txBody>
                <a:bodyPr rtlCol="0" anchor="ctr"/>
                <a:lstStyle/>
                <a:p>
                  <a:endParaRPr lang="en-GB" dirty="0"/>
                </a:p>
              </p:txBody>
            </p:sp>
            <p:sp>
              <p:nvSpPr>
                <p:cNvPr id="607" name="Freihandform: Form 606">
                  <a:extLst>
                    <a:ext uri="{FF2B5EF4-FFF2-40B4-BE49-F238E27FC236}">
                      <a16:creationId xmlns:a16="http://schemas.microsoft.com/office/drawing/2014/main" id="{47674AC1-94C6-4980-AB88-E11C041B7250}"/>
                    </a:ext>
                  </a:extLst>
                </p:cNvPr>
                <p:cNvSpPr/>
                <p:nvPr/>
              </p:nvSpPr>
              <p:spPr>
                <a:xfrm>
                  <a:off x="2900267" y="4361653"/>
                  <a:ext cx="91955" cy="91954"/>
                </a:xfrm>
                <a:custGeom>
                  <a:avLst/>
                  <a:gdLst>
                    <a:gd name="connsiteX0" fmla="*/ 45977 w 91955"/>
                    <a:gd name="connsiteY0" fmla="*/ 91955 h 91954"/>
                    <a:gd name="connsiteX1" fmla="*/ 0 w 91955"/>
                    <a:gd name="connsiteY1" fmla="*/ 45977 h 91954"/>
                    <a:gd name="connsiteX2" fmla="*/ 45977 w 91955"/>
                    <a:gd name="connsiteY2" fmla="*/ 0 h 91954"/>
                    <a:gd name="connsiteX3" fmla="*/ 91955 w 91955"/>
                    <a:gd name="connsiteY3" fmla="*/ 45977 h 91954"/>
                    <a:gd name="connsiteX4" fmla="*/ 45977 w 91955"/>
                    <a:gd name="connsiteY4" fmla="*/ 91955 h 91954"/>
                    <a:gd name="connsiteX5" fmla="*/ 45977 w 91955"/>
                    <a:gd name="connsiteY5" fmla="*/ 13124 h 91954"/>
                    <a:gd name="connsiteX6" fmla="*/ 13153 w 91955"/>
                    <a:gd name="connsiteY6" fmla="*/ 45949 h 91954"/>
                    <a:gd name="connsiteX7" fmla="*/ 45977 w 91955"/>
                    <a:gd name="connsiteY7" fmla="*/ 78774 h 91954"/>
                    <a:gd name="connsiteX8" fmla="*/ 78802 w 91955"/>
                    <a:gd name="connsiteY8" fmla="*/ 45949 h 91954"/>
                    <a:gd name="connsiteX9" fmla="*/ 45977 w 91955"/>
                    <a:gd name="connsiteY9" fmla="*/ 13124 h 9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955" h="91954">
                      <a:moveTo>
                        <a:pt x="45977" y="91955"/>
                      </a:moveTo>
                      <a:cubicBezTo>
                        <a:pt x="20636" y="91955"/>
                        <a:pt x="0" y="71319"/>
                        <a:pt x="0" y="45977"/>
                      </a:cubicBezTo>
                      <a:cubicBezTo>
                        <a:pt x="0" y="20636"/>
                        <a:pt x="20636" y="0"/>
                        <a:pt x="45977" y="0"/>
                      </a:cubicBezTo>
                      <a:cubicBezTo>
                        <a:pt x="71319" y="0"/>
                        <a:pt x="91955" y="20636"/>
                        <a:pt x="91955" y="45977"/>
                      </a:cubicBezTo>
                      <a:cubicBezTo>
                        <a:pt x="91955" y="71319"/>
                        <a:pt x="71319" y="91955"/>
                        <a:pt x="45977" y="91955"/>
                      </a:cubicBezTo>
                      <a:close/>
                      <a:moveTo>
                        <a:pt x="45977" y="13124"/>
                      </a:moveTo>
                      <a:cubicBezTo>
                        <a:pt x="27864" y="13124"/>
                        <a:pt x="13153" y="27864"/>
                        <a:pt x="13153" y="45949"/>
                      </a:cubicBezTo>
                      <a:cubicBezTo>
                        <a:pt x="13153" y="64034"/>
                        <a:pt x="27893" y="78774"/>
                        <a:pt x="45977" y="78774"/>
                      </a:cubicBezTo>
                      <a:cubicBezTo>
                        <a:pt x="64091" y="78774"/>
                        <a:pt x="78802" y="64034"/>
                        <a:pt x="78802" y="45949"/>
                      </a:cubicBezTo>
                      <a:cubicBezTo>
                        <a:pt x="78802" y="27864"/>
                        <a:pt x="64091" y="13124"/>
                        <a:pt x="45977" y="13124"/>
                      </a:cubicBezTo>
                      <a:close/>
                    </a:path>
                  </a:pathLst>
                </a:custGeom>
                <a:grpFill/>
                <a:ln w="2827" cap="flat">
                  <a:noFill/>
                  <a:prstDash val="solid"/>
                  <a:miter/>
                </a:ln>
              </p:spPr>
              <p:txBody>
                <a:bodyPr rtlCol="0" anchor="ctr"/>
                <a:lstStyle/>
                <a:p>
                  <a:endParaRPr lang="en-GB" dirty="0"/>
                </a:p>
              </p:txBody>
            </p:sp>
            <p:grpSp>
              <p:nvGrpSpPr>
                <p:cNvPr id="608" name="Grafik 161">
                  <a:extLst>
                    <a:ext uri="{FF2B5EF4-FFF2-40B4-BE49-F238E27FC236}">
                      <a16:creationId xmlns:a16="http://schemas.microsoft.com/office/drawing/2014/main" id="{D711D59F-DC2E-4BE2-A633-540929A9FD27}"/>
                    </a:ext>
                  </a:extLst>
                </p:cNvPr>
                <p:cNvGrpSpPr/>
                <p:nvPr/>
              </p:nvGrpSpPr>
              <p:grpSpPr>
                <a:xfrm>
                  <a:off x="2939668" y="4525834"/>
                  <a:ext cx="13124" cy="45977"/>
                  <a:chOff x="2939668" y="4525834"/>
                  <a:chExt cx="13124" cy="45977"/>
                </a:xfrm>
                <a:grpFill/>
              </p:grpSpPr>
              <p:sp>
                <p:nvSpPr>
                  <p:cNvPr id="610" name="Freihandform: Form 609">
                    <a:extLst>
                      <a:ext uri="{FF2B5EF4-FFF2-40B4-BE49-F238E27FC236}">
                        <a16:creationId xmlns:a16="http://schemas.microsoft.com/office/drawing/2014/main" id="{61A8973E-18C3-4FA4-96B6-47790489B162}"/>
                      </a:ext>
                    </a:extLst>
                  </p:cNvPr>
                  <p:cNvSpPr/>
                  <p:nvPr/>
                </p:nvSpPr>
                <p:spPr>
                  <a:xfrm>
                    <a:off x="2939668" y="4525834"/>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grpFill/>
                  <a:ln w="2827" cap="flat">
                    <a:noFill/>
                    <a:prstDash val="solid"/>
                    <a:miter/>
                  </a:ln>
                </p:spPr>
                <p:txBody>
                  <a:bodyPr rtlCol="0" anchor="ctr"/>
                  <a:lstStyle/>
                  <a:p>
                    <a:endParaRPr lang="en-GB" dirty="0"/>
                  </a:p>
                </p:txBody>
              </p:sp>
              <p:sp>
                <p:nvSpPr>
                  <p:cNvPr id="611" name="Freihandform: Form 610">
                    <a:extLst>
                      <a:ext uri="{FF2B5EF4-FFF2-40B4-BE49-F238E27FC236}">
                        <a16:creationId xmlns:a16="http://schemas.microsoft.com/office/drawing/2014/main" id="{27D43A30-B773-4238-AADE-A59B029F108F}"/>
                      </a:ext>
                    </a:extLst>
                  </p:cNvPr>
                  <p:cNvSpPr/>
                  <p:nvPr/>
                </p:nvSpPr>
                <p:spPr>
                  <a:xfrm>
                    <a:off x="2939668" y="455868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grpFill/>
                  <a:ln w="2827" cap="flat">
                    <a:noFill/>
                    <a:prstDash val="solid"/>
                    <a:miter/>
                  </a:ln>
                </p:spPr>
                <p:txBody>
                  <a:bodyPr rtlCol="0" anchor="ctr"/>
                  <a:lstStyle/>
                  <a:p>
                    <a:endParaRPr lang="en-GB" dirty="0"/>
                  </a:p>
                </p:txBody>
              </p:sp>
            </p:grpSp>
            <p:sp>
              <p:nvSpPr>
                <p:cNvPr id="609" name="Freihandform: Form 608">
                  <a:extLst>
                    <a:ext uri="{FF2B5EF4-FFF2-40B4-BE49-F238E27FC236}">
                      <a16:creationId xmlns:a16="http://schemas.microsoft.com/office/drawing/2014/main" id="{B48EC9CE-66C6-4FF5-9042-E9AB97D201C8}"/>
                    </a:ext>
                  </a:extLst>
                </p:cNvPr>
                <p:cNvSpPr/>
                <p:nvPr/>
              </p:nvSpPr>
              <p:spPr>
                <a:xfrm>
                  <a:off x="2992222" y="4552111"/>
                  <a:ext cx="19700" cy="39401"/>
                </a:xfrm>
                <a:custGeom>
                  <a:avLst/>
                  <a:gdLst>
                    <a:gd name="connsiteX0" fmla="*/ 13124 w 19700"/>
                    <a:gd name="connsiteY0" fmla="*/ 39401 h 39401"/>
                    <a:gd name="connsiteX1" fmla="*/ 0 w 19700"/>
                    <a:gd name="connsiteY1" fmla="*/ 39401 h 39401"/>
                    <a:gd name="connsiteX2" fmla="*/ 0 w 19700"/>
                    <a:gd name="connsiteY2" fmla="*/ 0 h 39401"/>
                    <a:gd name="connsiteX3" fmla="*/ 19701 w 19700"/>
                    <a:gd name="connsiteY3" fmla="*/ 0 h 39401"/>
                    <a:gd name="connsiteX4" fmla="*/ 19701 w 19700"/>
                    <a:gd name="connsiteY4" fmla="*/ 13124 h 39401"/>
                    <a:gd name="connsiteX5" fmla="*/ 13124 w 19700"/>
                    <a:gd name="connsiteY5" fmla="*/ 13124 h 3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00" h="39401">
                      <a:moveTo>
                        <a:pt x="13124" y="39401"/>
                      </a:moveTo>
                      <a:lnTo>
                        <a:pt x="0" y="39401"/>
                      </a:lnTo>
                      <a:lnTo>
                        <a:pt x="0" y="0"/>
                      </a:lnTo>
                      <a:lnTo>
                        <a:pt x="19701" y="0"/>
                      </a:lnTo>
                      <a:lnTo>
                        <a:pt x="19701" y="13124"/>
                      </a:lnTo>
                      <a:lnTo>
                        <a:pt x="13124" y="13124"/>
                      </a:lnTo>
                      <a:close/>
                    </a:path>
                  </a:pathLst>
                </a:custGeom>
                <a:grpFill/>
                <a:ln w="2827" cap="flat">
                  <a:noFill/>
                  <a:prstDash val="solid"/>
                  <a:miter/>
                </a:ln>
              </p:spPr>
              <p:txBody>
                <a:bodyPr rtlCol="0" anchor="ctr"/>
                <a:lstStyle/>
                <a:p>
                  <a:endParaRPr lang="en-GB" dirty="0"/>
                </a:p>
              </p:txBody>
            </p:sp>
          </p:grpSp>
          <p:grpSp>
            <p:nvGrpSpPr>
              <p:cNvPr id="599" name="Grafik 161">
                <a:extLst>
                  <a:ext uri="{FF2B5EF4-FFF2-40B4-BE49-F238E27FC236}">
                    <a16:creationId xmlns:a16="http://schemas.microsoft.com/office/drawing/2014/main" id="{4736704D-2814-4693-AB05-70B430C1FF6E}"/>
                  </a:ext>
                </a:extLst>
              </p:cNvPr>
              <p:cNvGrpSpPr/>
              <p:nvPr/>
            </p:nvGrpSpPr>
            <p:grpSpPr>
              <a:xfrm>
                <a:off x="2552204" y="4361653"/>
                <a:ext cx="147683" cy="229859"/>
                <a:chOff x="2552204" y="4361653"/>
                <a:chExt cx="147683" cy="229859"/>
              </a:xfrm>
              <a:grpFill/>
            </p:grpSpPr>
            <p:sp>
              <p:nvSpPr>
                <p:cNvPr id="600" name="Freihandform: Form 599">
                  <a:extLst>
                    <a:ext uri="{FF2B5EF4-FFF2-40B4-BE49-F238E27FC236}">
                      <a16:creationId xmlns:a16="http://schemas.microsoft.com/office/drawing/2014/main" id="{44272647-5F4D-49B6-8EAE-88B133054A0E}"/>
                    </a:ext>
                  </a:extLst>
                </p:cNvPr>
                <p:cNvSpPr/>
                <p:nvPr/>
              </p:nvSpPr>
              <p:spPr>
                <a:xfrm>
                  <a:off x="2552204" y="4466704"/>
                  <a:ext cx="147683" cy="124808"/>
                </a:xfrm>
                <a:custGeom>
                  <a:avLst/>
                  <a:gdLst>
                    <a:gd name="connsiteX0" fmla="*/ 13124 w 147683"/>
                    <a:gd name="connsiteY0" fmla="*/ 124808 h 124808"/>
                    <a:gd name="connsiteX1" fmla="*/ 0 w 147683"/>
                    <a:gd name="connsiteY1" fmla="*/ 124808 h 124808"/>
                    <a:gd name="connsiteX2" fmla="*/ 0 w 147683"/>
                    <a:gd name="connsiteY2" fmla="*/ 72254 h 124808"/>
                    <a:gd name="connsiteX3" fmla="*/ 69193 w 147683"/>
                    <a:gd name="connsiteY3" fmla="*/ 0 h 124808"/>
                    <a:gd name="connsiteX4" fmla="*/ 114717 w 147683"/>
                    <a:gd name="connsiteY4" fmla="*/ 0 h 124808"/>
                    <a:gd name="connsiteX5" fmla="*/ 147684 w 147683"/>
                    <a:gd name="connsiteY5" fmla="*/ 8022 h 124808"/>
                    <a:gd name="connsiteX6" fmla="*/ 141476 w 147683"/>
                    <a:gd name="connsiteY6" fmla="*/ 19616 h 124808"/>
                    <a:gd name="connsiteX7" fmla="*/ 114717 w 147683"/>
                    <a:gd name="connsiteY7" fmla="*/ 13153 h 124808"/>
                    <a:gd name="connsiteX8" fmla="*/ 69193 w 147683"/>
                    <a:gd name="connsiteY8" fmla="*/ 13153 h 124808"/>
                    <a:gd name="connsiteX9" fmla="*/ 13152 w 147683"/>
                    <a:gd name="connsiteY9" fmla="*/ 72254 h 124808"/>
                    <a:gd name="connsiteX10" fmla="*/ 13152 w 147683"/>
                    <a:gd name="connsiteY10" fmla="*/ 124808 h 124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683" h="124808">
                      <a:moveTo>
                        <a:pt x="13124" y="124808"/>
                      </a:moveTo>
                      <a:lnTo>
                        <a:pt x="0" y="124808"/>
                      </a:lnTo>
                      <a:lnTo>
                        <a:pt x="0" y="72254"/>
                      </a:lnTo>
                      <a:cubicBezTo>
                        <a:pt x="0" y="31067"/>
                        <a:pt x="29735" y="0"/>
                        <a:pt x="69193" y="0"/>
                      </a:cubicBezTo>
                      <a:lnTo>
                        <a:pt x="114717" y="0"/>
                      </a:lnTo>
                      <a:cubicBezTo>
                        <a:pt x="126679" y="0"/>
                        <a:pt x="137762" y="2693"/>
                        <a:pt x="147684" y="8022"/>
                      </a:cubicBezTo>
                      <a:lnTo>
                        <a:pt x="141476" y="19616"/>
                      </a:lnTo>
                      <a:cubicBezTo>
                        <a:pt x="133482" y="15335"/>
                        <a:pt x="124496" y="13153"/>
                        <a:pt x="114717" y="13153"/>
                      </a:cubicBezTo>
                      <a:lnTo>
                        <a:pt x="69193" y="13153"/>
                      </a:lnTo>
                      <a:cubicBezTo>
                        <a:pt x="36708" y="13153"/>
                        <a:pt x="13152" y="38012"/>
                        <a:pt x="13152" y="72254"/>
                      </a:cubicBezTo>
                      <a:lnTo>
                        <a:pt x="13152" y="124808"/>
                      </a:lnTo>
                      <a:close/>
                    </a:path>
                  </a:pathLst>
                </a:custGeom>
                <a:grpFill/>
                <a:ln w="2827" cap="flat">
                  <a:noFill/>
                  <a:prstDash val="solid"/>
                  <a:miter/>
                </a:ln>
              </p:spPr>
              <p:txBody>
                <a:bodyPr rtlCol="0" anchor="ctr"/>
                <a:lstStyle/>
                <a:p>
                  <a:endParaRPr lang="en-GB" dirty="0"/>
                </a:p>
              </p:txBody>
            </p:sp>
            <p:sp>
              <p:nvSpPr>
                <p:cNvPr id="601" name="Freihandform: Form 600">
                  <a:extLst>
                    <a:ext uri="{FF2B5EF4-FFF2-40B4-BE49-F238E27FC236}">
                      <a16:creationId xmlns:a16="http://schemas.microsoft.com/office/drawing/2014/main" id="{3117FAC9-BF7B-438F-BCD6-18F2DD55325B}"/>
                    </a:ext>
                  </a:extLst>
                </p:cNvPr>
                <p:cNvSpPr/>
                <p:nvPr/>
              </p:nvSpPr>
              <p:spPr>
                <a:xfrm>
                  <a:off x="2598153" y="4361653"/>
                  <a:ext cx="91955" cy="91954"/>
                </a:xfrm>
                <a:custGeom>
                  <a:avLst/>
                  <a:gdLst>
                    <a:gd name="connsiteX0" fmla="*/ 45978 w 91955"/>
                    <a:gd name="connsiteY0" fmla="*/ 91955 h 91954"/>
                    <a:gd name="connsiteX1" fmla="*/ 0 w 91955"/>
                    <a:gd name="connsiteY1" fmla="*/ 45977 h 91954"/>
                    <a:gd name="connsiteX2" fmla="*/ 45978 w 91955"/>
                    <a:gd name="connsiteY2" fmla="*/ 0 h 91954"/>
                    <a:gd name="connsiteX3" fmla="*/ 91955 w 91955"/>
                    <a:gd name="connsiteY3" fmla="*/ 45977 h 91954"/>
                    <a:gd name="connsiteX4" fmla="*/ 45978 w 91955"/>
                    <a:gd name="connsiteY4" fmla="*/ 91955 h 91954"/>
                    <a:gd name="connsiteX5" fmla="*/ 45978 w 91955"/>
                    <a:gd name="connsiteY5" fmla="*/ 13124 h 91954"/>
                    <a:gd name="connsiteX6" fmla="*/ 13153 w 91955"/>
                    <a:gd name="connsiteY6" fmla="*/ 45949 h 91954"/>
                    <a:gd name="connsiteX7" fmla="*/ 45978 w 91955"/>
                    <a:gd name="connsiteY7" fmla="*/ 78774 h 91954"/>
                    <a:gd name="connsiteX8" fmla="*/ 78802 w 91955"/>
                    <a:gd name="connsiteY8" fmla="*/ 45949 h 91954"/>
                    <a:gd name="connsiteX9" fmla="*/ 45978 w 91955"/>
                    <a:gd name="connsiteY9" fmla="*/ 13124 h 9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955" h="91954">
                      <a:moveTo>
                        <a:pt x="45978" y="91955"/>
                      </a:moveTo>
                      <a:cubicBezTo>
                        <a:pt x="20636" y="91955"/>
                        <a:pt x="0" y="71319"/>
                        <a:pt x="0" y="45977"/>
                      </a:cubicBezTo>
                      <a:cubicBezTo>
                        <a:pt x="0" y="20636"/>
                        <a:pt x="20636" y="0"/>
                        <a:pt x="45978" y="0"/>
                      </a:cubicBezTo>
                      <a:cubicBezTo>
                        <a:pt x="71319" y="0"/>
                        <a:pt x="91955" y="20636"/>
                        <a:pt x="91955" y="45977"/>
                      </a:cubicBezTo>
                      <a:cubicBezTo>
                        <a:pt x="91955" y="71319"/>
                        <a:pt x="71319" y="91955"/>
                        <a:pt x="45978" y="91955"/>
                      </a:cubicBezTo>
                      <a:close/>
                      <a:moveTo>
                        <a:pt x="45978" y="13124"/>
                      </a:moveTo>
                      <a:cubicBezTo>
                        <a:pt x="27864" y="13124"/>
                        <a:pt x="13153" y="27864"/>
                        <a:pt x="13153" y="45949"/>
                      </a:cubicBezTo>
                      <a:cubicBezTo>
                        <a:pt x="13153" y="64034"/>
                        <a:pt x="27893" y="78774"/>
                        <a:pt x="45978" y="78774"/>
                      </a:cubicBezTo>
                      <a:cubicBezTo>
                        <a:pt x="64062" y="78774"/>
                        <a:pt x="78802" y="64034"/>
                        <a:pt x="78802" y="45949"/>
                      </a:cubicBezTo>
                      <a:cubicBezTo>
                        <a:pt x="78802" y="27864"/>
                        <a:pt x="64091" y="13124"/>
                        <a:pt x="45978" y="13124"/>
                      </a:cubicBezTo>
                      <a:close/>
                    </a:path>
                  </a:pathLst>
                </a:custGeom>
                <a:grpFill/>
                <a:ln w="2827" cap="flat">
                  <a:noFill/>
                  <a:prstDash val="solid"/>
                  <a:miter/>
                </a:ln>
              </p:spPr>
              <p:txBody>
                <a:bodyPr rtlCol="0" anchor="ctr"/>
                <a:lstStyle/>
                <a:p>
                  <a:endParaRPr lang="en-GB" dirty="0"/>
                </a:p>
              </p:txBody>
            </p:sp>
            <p:grpSp>
              <p:nvGrpSpPr>
                <p:cNvPr id="602" name="Grafik 161">
                  <a:extLst>
                    <a:ext uri="{FF2B5EF4-FFF2-40B4-BE49-F238E27FC236}">
                      <a16:creationId xmlns:a16="http://schemas.microsoft.com/office/drawing/2014/main" id="{4A85DEB3-ECB9-4BF7-8A78-EB346C7D7DDB}"/>
                    </a:ext>
                  </a:extLst>
                </p:cNvPr>
                <p:cNvGrpSpPr/>
                <p:nvPr/>
              </p:nvGrpSpPr>
              <p:grpSpPr>
                <a:xfrm>
                  <a:off x="2637554" y="4525834"/>
                  <a:ext cx="13124" cy="45977"/>
                  <a:chOff x="2637554" y="4525834"/>
                  <a:chExt cx="13124" cy="45977"/>
                </a:xfrm>
                <a:grpFill/>
              </p:grpSpPr>
              <p:sp>
                <p:nvSpPr>
                  <p:cNvPr id="604" name="Freihandform: Form 603">
                    <a:extLst>
                      <a:ext uri="{FF2B5EF4-FFF2-40B4-BE49-F238E27FC236}">
                        <a16:creationId xmlns:a16="http://schemas.microsoft.com/office/drawing/2014/main" id="{0C7ACE82-6EF7-4AA3-823A-5CF72701F0C2}"/>
                      </a:ext>
                    </a:extLst>
                  </p:cNvPr>
                  <p:cNvSpPr/>
                  <p:nvPr/>
                </p:nvSpPr>
                <p:spPr>
                  <a:xfrm>
                    <a:off x="2637554" y="4525834"/>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grpFill/>
                  <a:ln w="2827" cap="flat">
                    <a:noFill/>
                    <a:prstDash val="solid"/>
                    <a:miter/>
                  </a:ln>
                </p:spPr>
                <p:txBody>
                  <a:bodyPr rtlCol="0" anchor="ctr"/>
                  <a:lstStyle/>
                  <a:p>
                    <a:endParaRPr lang="en-GB" dirty="0"/>
                  </a:p>
                </p:txBody>
              </p:sp>
              <p:sp>
                <p:nvSpPr>
                  <p:cNvPr id="605" name="Freihandform: Form 604">
                    <a:extLst>
                      <a:ext uri="{FF2B5EF4-FFF2-40B4-BE49-F238E27FC236}">
                        <a16:creationId xmlns:a16="http://schemas.microsoft.com/office/drawing/2014/main" id="{CC96FE79-8EA3-43E9-8B81-3A0E0A9F0F97}"/>
                      </a:ext>
                    </a:extLst>
                  </p:cNvPr>
                  <p:cNvSpPr/>
                  <p:nvPr/>
                </p:nvSpPr>
                <p:spPr>
                  <a:xfrm>
                    <a:off x="2637554" y="455868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grpFill/>
                  <a:ln w="2827" cap="flat">
                    <a:noFill/>
                    <a:prstDash val="solid"/>
                    <a:miter/>
                  </a:ln>
                </p:spPr>
                <p:txBody>
                  <a:bodyPr rtlCol="0" anchor="ctr"/>
                  <a:lstStyle/>
                  <a:p>
                    <a:endParaRPr lang="en-GB" dirty="0"/>
                  </a:p>
                </p:txBody>
              </p:sp>
            </p:grpSp>
            <p:sp>
              <p:nvSpPr>
                <p:cNvPr id="603" name="Freihandform: Form 602">
                  <a:extLst>
                    <a:ext uri="{FF2B5EF4-FFF2-40B4-BE49-F238E27FC236}">
                      <a16:creationId xmlns:a16="http://schemas.microsoft.com/office/drawing/2014/main" id="{63D156CF-7E7D-475D-9CAC-C534B09E1FFC}"/>
                    </a:ext>
                  </a:extLst>
                </p:cNvPr>
                <p:cNvSpPr/>
                <p:nvPr/>
              </p:nvSpPr>
              <p:spPr>
                <a:xfrm>
                  <a:off x="2578452" y="4552111"/>
                  <a:ext cx="19700" cy="39401"/>
                </a:xfrm>
                <a:custGeom>
                  <a:avLst/>
                  <a:gdLst>
                    <a:gd name="connsiteX0" fmla="*/ 19701 w 19700"/>
                    <a:gd name="connsiteY0" fmla="*/ 39401 h 39401"/>
                    <a:gd name="connsiteX1" fmla="*/ 6576 w 19700"/>
                    <a:gd name="connsiteY1" fmla="*/ 39401 h 39401"/>
                    <a:gd name="connsiteX2" fmla="*/ 6576 w 19700"/>
                    <a:gd name="connsiteY2" fmla="*/ 13124 h 39401"/>
                    <a:gd name="connsiteX3" fmla="*/ 0 w 19700"/>
                    <a:gd name="connsiteY3" fmla="*/ 13124 h 39401"/>
                    <a:gd name="connsiteX4" fmla="*/ 0 w 19700"/>
                    <a:gd name="connsiteY4" fmla="*/ 0 h 39401"/>
                    <a:gd name="connsiteX5" fmla="*/ 19701 w 19700"/>
                    <a:gd name="connsiteY5" fmla="*/ 0 h 3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00" h="39401">
                      <a:moveTo>
                        <a:pt x="19701" y="39401"/>
                      </a:moveTo>
                      <a:lnTo>
                        <a:pt x="6576" y="39401"/>
                      </a:lnTo>
                      <a:lnTo>
                        <a:pt x="6576" y="13124"/>
                      </a:lnTo>
                      <a:lnTo>
                        <a:pt x="0" y="13124"/>
                      </a:lnTo>
                      <a:lnTo>
                        <a:pt x="0" y="0"/>
                      </a:lnTo>
                      <a:lnTo>
                        <a:pt x="19701" y="0"/>
                      </a:lnTo>
                      <a:close/>
                    </a:path>
                  </a:pathLst>
                </a:custGeom>
                <a:grpFill/>
                <a:ln w="2827" cap="flat">
                  <a:noFill/>
                  <a:prstDash val="solid"/>
                  <a:miter/>
                </a:ln>
              </p:spPr>
              <p:txBody>
                <a:bodyPr rtlCol="0" anchor="ctr"/>
                <a:lstStyle/>
                <a:p>
                  <a:endParaRPr lang="en-GB" dirty="0"/>
                </a:p>
              </p:txBody>
            </p:sp>
          </p:grpSp>
        </p:grpSp>
      </p:grpSp>
      <p:grpSp>
        <p:nvGrpSpPr>
          <p:cNvPr id="619" name="Group 747">
            <a:extLst>
              <a:ext uri="{FF2B5EF4-FFF2-40B4-BE49-F238E27FC236}">
                <a16:creationId xmlns:a16="http://schemas.microsoft.com/office/drawing/2014/main" id="{2C4607A2-4076-4286-BA89-A6975944BC7F}"/>
              </a:ext>
            </a:extLst>
          </p:cNvPr>
          <p:cNvGrpSpPr>
            <a:grpSpLocks noChangeAspect="1"/>
          </p:cNvGrpSpPr>
          <p:nvPr/>
        </p:nvGrpSpPr>
        <p:grpSpPr>
          <a:xfrm>
            <a:off x="1640996" y="4077381"/>
            <a:ext cx="396980" cy="431997"/>
            <a:chOff x="1750914" y="4138345"/>
            <a:chExt cx="446623" cy="486020"/>
          </a:xfrm>
        </p:grpSpPr>
        <p:grpSp>
          <p:nvGrpSpPr>
            <p:cNvPr id="620" name="Group 745">
              <a:extLst>
                <a:ext uri="{FF2B5EF4-FFF2-40B4-BE49-F238E27FC236}">
                  <a16:creationId xmlns:a16="http://schemas.microsoft.com/office/drawing/2014/main" id="{DA032D70-11E0-44B0-B14C-54382F163914}"/>
                </a:ext>
              </a:extLst>
            </p:cNvPr>
            <p:cNvGrpSpPr/>
            <p:nvPr/>
          </p:nvGrpSpPr>
          <p:grpSpPr>
            <a:xfrm>
              <a:off x="1842870" y="4138345"/>
              <a:ext cx="354667" cy="170757"/>
              <a:chOff x="1842869" y="4138342"/>
              <a:chExt cx="354667" cy="170757"/>
            </a:xfrm>
          </p:grpSpPr>
          <p:sp>
            <p:nvSpPr>
              <p:cNvPr id="626" name="Freihandform: Form 625">
                <a:extLst>
                  <a:ext uri="{FF2B5EF4-FFF2-40B4-BE49-F238E27FC236}">
                    <a16:creationId xmlns:a16="http://schemas.microsoft.com/office/drawing/2014/main" id="{B6BC861A-1EB6-4268-B861-8A73C4E77AED}"/>
                  </a:ext>
                </a:extLst>
              </p:cNvPr>
              <p:cNvSpPr/>
              <p:nvPr/>
            </p:nvSpPr>
            <p:spPr>
              <a:xfrm>
                <a:off x="2013627" y="4138342"/>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27" name="Freihandform: Form 626">
                <a:extLst>
                  <a:ext uri="{FF2B5EF4-FFF2-40B4-BE49-F238E27FC236}">
                    <a16:creationId xmlns:a16="http://schemas.microsoft.com/office/drawing/2014/main" id="{FBAC73FD-E940-465A-BB89-94E97AF2FCFE}"/>
                  </a:ext>
                </a:extLst>
              </p:cNvPr>
              <p:cNvSpPr/>
              <p:nvPr/>
            </p:nvSpPr>
            <p:spPr>
              <a:xfrm>
                <a:off x="1862570" y="4164591"/>
                <a:ext cx="315266" cy="144508"/>
              </a:xfrm>
              <a:custGeom>
                <a:avLst/>
                <a:gdLst>
                  <a:gd name="connsiteX0" fmla="*/ 315238 w 315266"/>
                  <a:gd name="connsiteY0" fmla="*/ 144509 h 144508"/>
                  <a:gd name="connsiteX1" fmla="*/ 0 w 315266"/>
                  <a:gd name="connsiteY1" fmla="*/ 144509 h 144508"/>
                  <a:gd name="connsiteX2" fmla="*/ 0 w 315266"/>
                  <a:gd name="connsiteY2" fmla="*/ 137933 h 144508"/>
                  <a:gd name="connsiteX3" fmla="*/ 50711 w 315266"/>
                  <a:gd name="connsiteY3" fmla="*/ 39996 h 144508"/>
                  <a:gd name="connsiteX4" fmla="*/ 157633 w 315266"/>
                  <a:gd name="connsiteY4" fmla="*/ 0 h 144508"/>
                  <a:gd name="connsiteX5" fmla="*/ 264555 w 315266"/>
                  <a:gd name="connsiteY5" fmla="*/ 39996 h 144508"/>
                  <a:gd name="connsiteX6" fmla="*/ 315266 w 315266"/>
                  <a:gd name="connsiteY6" fmla="*/ 137933 h 144508"/>
                  <a:gd name="connsiteX7" fmla="*/ 315266 w 315266"/>
                  <a:gd name="connsiteY7" fmla="*/ 144509 h 144508"/>
                  <a:gd name="connsiteX8" fmla="*/ 13351 w 315266"/>
                  <a:gd name="connsiteY8" fmla="*/ 131385 h 144508"/>
                  <a:gd name="connsiteX9" fmla="*/ 301887 w 315266"/>
                  <a:gd name="connsiteY9" fmla="*/ 131385 h 144508"/>
                  <a:gd name="connsiteX10" fmla="*/ 157633 w 315266"/>
                  <a:gd name="connsiteY10" fmla="*/ 13153 h 144508"/>
                  <a:gd name="connsiteX11" fmla="*/ 13351 w 315266"/>
                  <a:gd name="connsiteY11" fmla="*/ 131385 h 144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266" h="144508">
                    <a:moveTo>
                      <a:pt x="315238" y="144509"/>
                    </a:moveTo>
                    <a:lnTo>
                      <a:pt x="0" y="144509"/>
                    </a:lnTo>
                    <a:lnTo>
                      <a:pt x="0" y="137933"/>
                    </a:lnTo>
                    <a:cubicBezTo>
                      <a:pt x="0" y="101848"/>
                      <a:pt x="18000" y="67067"/>
                      <a:pt x="50711" y="39996"/>
                    </a:cubicBezTo>
                    <a:cubicBezTo>
                      <a:pt x="81382" y="14598"/>
                      <a:pt x="120358" y="0"/>
                      <a:pt x="157633" y="0"/>
                    </a:cubicBezTo>
                    <a:cubicBezTo>
                      <a:pt x="194908" y="0"/>
                      <a:pt x="233884" y="14570"/>
                      <a:pt x="264555" y="39996"/>
                    </a:cubicBezTo>
                    <a:cubicBezTo>
                      <a:pt x="297238" y="67067"/>
                      <a:pt x="315266" y="101876"/>
                      <a:pt x="315266" y="137933"/>
                    </a:cubicBezTo>
                    <a:lnTo>
                      <a:pt x="315266" y="144509"/>
                    </a:lnTo>
                    <a:close/>
                    <a:moveTo>
                      <a:pt x="13351" y="131385"/>
                    </a:moveTo>
                    <a:lnTo>
                      <a:pt x="301887" y="131385"/>
                    </a:lnTo>
                    <a:cubicBezTo>
                      <a:pt x="297266" y="64317"/>
                      <a:pt x="222347" y="13153"/>
                      <a:pt x="157633" y="13153"/>
                    </a:cubicBezTo>
                    <a:cubicBezTo>
                      <a:pt x="92890" y="13153"/>
                      <a:pt x="18000" y="64317"/>
                      <a:pt x="13351" y="131385"/>
                    </a:cubicBezTo>
                    <a:close/>
                  </a:path>
                </a:pathLst>
              </a:custGeom>
              <a:solidFill>
                <a:schemeClr val="accent1"/>
              </a:solidFill>
              <a:ln w="2827" cap="flat">
                <a:noFill/>
                <a:prstDash val="solid"/>
                <a:miter/>
              </a:ln>
            </p:spPr>
            <p:txBody>
              <a:bodyPr rtlCol="0" anchor="ctr"/>
              <a:lstStyle/>
              <a:p>
                <a:endParaRPr lang="en-GB" dirty="0"/>
              </a:p>
            </p:txBody>
          </p:sp>
          <p:sp>
            <p:nvSpPr>
              <p:cNvPr id="628" name="Freihandform: Form 627">
                <a:extLst>
                  <a:ext uri="{FF2B5EF4-FFF2-40B4-BE49-F238E27FC236}">
                    <a16:creationId xmlns:a16="http://schemas.microsoft.com/office/drawing/2014/main" id="{2E000A6B-B7D4-40D9-A27A-444B699360E3}"/>
                  </a:ext>
                </a:extLst>
              </p:cNvPr>
              <p:cNvSpPr/>
              <p:nvPr/>
            </p:nvSpPr>
            <p:spPr>
              <a:xfrm>
                <a:off x="1842869" y="4295975"/>
                <a:ext cx="354667" cy="13124"/>
              </a:xfrm>
              <a:custGeom>
                <a:avLst/>
                <a:gdLst>
                  <a:gd name="connsiteX0" fmla="*/ 0 w 354667"/>
                  <a:gd name="connsiteY0" fmla="*/ 0 h 13124"/>
                  <a:gd name="connsiteX1" fmla="*/ 354667 w 354667"/>
                  <a:gd name="connsiteY1" fmla="*/ 0 h 13124"/>
                  <a:gd name="connsiteX2" fmla="*/ 354667 w 354667"/>
                  <a:gd name="connsiteY2" fmla="*/ 13124 h 13124"/>
                  <a:gd name="connsiteX3" fmla="*/ 0 w 354667"/>
                  <a:gd name="connsiteY3" fmla="*/ 13124 h 13124"/>
                </a:gdLst>
                <a:ahLst/>
                <a:cxnLst>
                  <a:cxn ang="0">
                    <a:pos x="connsiteX0" y="connsiteY0"/>
                  </a:cxn>
                  <a:cxn ang="0">
                    <a:pos x="connsiteX1" y="connsiteY1"/>
                  </a:cxn>
                  <a:cxn ang="0">
                    <a:pos x="connsiteX2" y="connsiteY2"/>
                  </a:cxn>
                  <a:cxn ang="0">
                    <a:pos x="connsiteX3" y="connsiteY3"/>
                  </a:cxn>
                </a:cxnLst>
                <a:rect l="l" t="t" r="r" b="b"/>
                <a:pathLst>
                  <a:path w="354667" h="13124">
                    <a:moveTo>
                      <a:pt x="0" y="0"/>
                    </a:moveTo>
                    <a:lnTo>
                      <a:pt x="354667" y="0"/>
                    </a:lnTo>
                    <a:lnTo>
                      <a:pt x="354667"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nvGrpSpPr>
            <p:cNvPr id="621" name="Group 746">
              <a:extLst>
                <a:ext uri="{FF2B5EF4-FFF2-40B4-BE49-F238E27FC236}">
                  <a16:creationId xmlns:a16="http://schemas.microsoft.com/office/drawing/2014/main" id="{B1055217-88E0-4050-9D35-57DB730E3AB9}"/>
                </a:ext>
              </a:extLst>
            </p:cNvPr>
            <p:cNvGrpSpPr/>
            <p:nvPr/>
          </p:nvGrpSpPr>
          <p:grpSpPr>
            <a:xfrm>
              <a:off x="1750914" y="4322036"/>
              <a:ext cx="407448" cy="302329"/>
              <a:chOff x="1750914" y="4322036"/>
              <a:chExt cx="407448" cy="302329"/>
            </a:xfrm>
          </p:grpSpPr>
          <p:sp>
            <p:nvSpPr>
              <p:cNvPr id="622" name="Freihandform: Form 621">
                <a:extLst>
                  <a:ext uri="{FF2B5EF4-FFF2-40B4-BE49-F238E27FC236}">
                    <a16:creationId xmlns:a16="http://schemas.microsoft.com/office/drawing/2014/main" id="{FBA527C0-2EE8-4E7D-B12A-78B54E17531D}"/>
                  </a:ext>
                </a:extLst>
              </p:cNvPr>
              <p:cNvSpPr/>
              <p:nvPr/>
            </p:nvSpPr>
            <p:spPr>
              <a:xfrm>
                <a:off x="1750914" y="4460156"/>
                <a:ext cx="59101" cy="164209"/>
              </a:xfrm>
              <a:custGeom>
                <a:avLst/>
                <a:gdLst>
                  <a:gd name="connsiteX0" fmla="*/ 59102 w 59101"/>
                  <a:gd name="connsiteY0" fmla="*/ 164209 h 164209"/>
                  <a:gd name="connsiteX1" fmla="*/ 0 w 59101"/>
                  <a:gd name="connsiteY1" fmla="*/ 164209 h 164209"/>
                  <a:gd name="connsiteX2" fmla="*/ 0 w 59101"/>
                  <a:gd name="connsiteY2" fmla="*/ 151057 h 164209"/>
                  <a:gd name="connsiteX3" fmla="*/ 45978 w 59101"/>
                  <a:gd name="connsiteY3" fmla="*/ 151057 h 164209"/>
                  <a:gd name="connsiteX4" fmla="*/ 45978 w 59101"/>
                  <a:gd name="connsiteY4" fmla="*/ 13153 h 164209"/>
                  <a:gd name="connsiteX5" fmla="*/ 0 w 59101"/>
                  <a:gd name="connsiteY5" fmla="*/ 13153 h 164209"/>
                  <a:gd name="connsiteX6" fmla="*/ 0 w 59101"/>
                  <a:gd name="connsiteY6" fmla="*/ 0 h 164209"/>
                  <a:gd name="connsiteX7" fmla="*/ 59102 w 59101"/>
                  <a:gd name="connsiteY7" fmla="*/ 0 h 16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101" h="164209">
                    <a:moveTo>
                      <a:pt x="59102" y="164209"/>
                    </a:moveTo>
                    <a:lnTo>
                      <a:pt x="0" y="164209"/>
                    </a:lnTo>
                    <a:lnTo>
                      <a:pt x="0" y="151057"/>
                    </a:lnTo>
                    <a:lnTo>
                      <a:pt x="45978" y="151057"/>
                    </a:lnTo>
                    <a:lnTo>
                      <a:pt x="45978" y="13153"/>
                    </a:lnTo>
                    <a:lnTo>
                      <a:pt x="0" y="13153"/>
                    </a:lnTo>
                    <a:lnTo>
                      <a:pt x="0" y="0"/>
                    </a:lnTo>
                    <a:lnTo>
                      <a:pt x="59102" y="0"/>
                    </a:lnTo>
                    <a:close/>
                  </a:path>
                </a:pathLst>
              </a:custGeom>
              <a:solidFill>
                <a:schemeClr val="tx2"/>
              </a:solidFill>
              <a:ln w="2827" cap="flat">
                <a:noFill/>
                <a:prstDash val="solid"/>
                <a:miter/>
              </a:ln>
            </p:spPr>
            <p:txBody>
              <a:bodyPr rtlCol="0" anchor="ctr"/>
              <a:lstStyle/>
              <a:p>
                <a:endParaRPr lang="en-GB" dirty="0"/>
              </a:p>
            </p:txBody>
          </p:sp>
          <p:sp>
            <p:nvSpPr>
              <p:cNvPr id="623" name="Freihandform: Form 622">
                <a:extLst>
                  <a:ext uri="{FF2B5EF4-FFF2-40B4-BE49-F238E27FC236}">
                    <a16:creationId xmlns:a16="http://schemas.microsoft.com/office/drawing/2014/main" id="{50D2DB9E-5469-40ED-8180-50D96EE8D654}"/>
                  </a:ext>
                </a:extLst>
              </p:cNvPr>
              <p:cNvSpPr/>
              <p:nvPr/>
            </p:nvSpPr>
            <p:spPr>
              <a:xfrm>
                <a:off x="1796892" y="4322036"/>
                <a:ext cx="361470" cy="282629"/>
              </a:xfrm>
              <a:custGeom>
                <a:avLst/>
                <a:gdLst>
                  <a:gd name="connsiteX0" fmla="*/ 124780 w 361470"/>
                  <a:gd name="connsiteY0" fmla="*/ 282629 h 282629"/>
                  <a:gd name="connsiteX1" fmla="*/ 0 w 361470"/>
                  <a:gd name="connsiteY1" fmla="*/ 282629 h 282629"/>
                  <a:gd name="connsiteX2" fmla="*/ 0 w 361470"/>
                  <a:gd name="connsiteY2" fmla="*/ 157509 h 282629"/>
                  <a:gd name="connsiteX3" fmla="*/ 52667 w 361470"/>
                  <a:gd name="connsiteY3" fmla="*/ 157509 h 282629"/>
                  <a:gd name="connsiteX4" fmla="*/ 89177 w 361470"/>
                  <a:gd name="connsiteY4" fmla="*/ 137468 h 282629"/>
                  <a:gd name="connsiteX5" fmla="*/ 94563 w 361470"/>
                  <a:gd name="connsiteY5" fmla="*/ 99966 h 282629"/>
                  <a:gd name="connsiteX6" fmla="*/ 80390 w 361470"/>
                  <a:gd name="connsiteY6" fmla="*/ 3901 h 282629"/>
                  <a:gd name="connsiteX7" fmla="*/ 93146 w 361470"/>
                  <a:gd name="connsiteY7" fmla="*/ 1662 h 282629"/>
                  <a:gd name="connsiteX8" fmla="*/ 122597 w 361470"/>
                  <a:gd name="connsiteY8" fmla="*/ 8181 h 282629"/>
                  <a:gd name="connsiteX9" fmla="*/ 138811 w 361470"/>
                  <a:gd name="connsiteY9" fmla="*/ 33608 h 282629"/>
                  <a:gd name="connsiteX10" fmla="*/ 147230 w 361470"/>
                  <a:gd name="connsiteY10" fmla="*/ 68672 h 282629"/>
                  <a:gd name="connsiteX11" fmla="*/ 193321 w 361470"/>
                  <a:gd name="connsiteY11" fmla="*/ 111021 h 282629"/>
                  <a:gd name="connsiteX12" fmla="*/ 227733 w 361470"/>
                  <a:gd name="connsiteY12" fmla="*/ 95544 h 282629"/>
                  <a:gd name="connsiteX13" fmla="*/ 296728 w 361470"/>
                  <a:gd name="connsiteY13" fmla="*/ 18953 h 282629"/>
                  <a:gd name="connsiteX14" fmla="*/ 349763 w 361470"/>
                  <a:gd name="connsiteY14" fmla="*/ 5630 h 282629"/>
                  <a:gd name="connsiteX15" fmla="*/ 361470 w 361470"/>
                  <a:gd name="connsiteY15" fmla="*/ 12377 h 282629"/>
                  <a:gd name="connsiteX16" fmla="*/ 221327 w 361470"/>
                  <a:gd name="connsiteY16" fmla="*/ 227042 h 282629"/>
                  <a:gd name="connsiteX17" fmla="*/ 201541 w 361470"/>
                  <a:gd name="connsiteY17" fmla="*/ 252015 h 282629"/>
                  <a:gd name="connsiteX18" fmla="*/ 124780 w 361470"/>
                  <a:gd name="connsiteY18" fmla="*/ 282629 h 282629"/>
                  <a:gd name="connsiteX19" fmla="*/ 13124 w 361470"/>
                  <a:gd name="connsiteY19" fmla="*/ 269477 h 282629"/>
                  <a:gd name="connsiteX20" fmla="*/ 124780 w 361470"/>
                  <a:gd name="connsiteY20" fmla="*/ 269477 h 282629"/>
                  <a:gd name="connsiteX21" fmla="*/ 192499 w 361470"/>
                  <a:gd name="connsiteY21" fmla="*/ 242491 h 282629"/>
                  <a:gd name="connsiteX22" fmla="*/ 210102 w 361470"/>
                  <a:gd name="connsiteY22" fmla="*/ 220211 h 282629"/>
                  <a:gd name="connsiteX23" fmla="*/ 246668 w 361470"/>
                  <a:gd name="connsiteY23" fmla="*/ 163717 h 282629"/>
                  <a:gd name="connsiteX24" fmla="*/ 342819 w 361470"/>
                  <a:gd name="connsiteY24" fmla="*/ 16827 h 282629"/>
                  <a:gd name="connsiteX25" fmla="*/ 306649 w 361470"/>
                  <a:gd name="connsiteY25" fmla="*/ 27513 h 282629"/>
                  <a:gd name="connsiteX26" fmla="*/ 237513 w 361470"/>
                  <a:gd name="connsiteY26" fmla="*/ 104275 h 282629"/>
                  <a:gd name="connsiteX27" fmla="*/ 193321 w 361470"/>
                  <a:gd name="connsiteY27" fmla="*/ 124146 h 282629"/>
                  <a:gd name="connsiteX28" fmla="*/ 134247 w 361470"/>
                  <a:gd name="connsiteY28" fmla="*/ 70656 h 282629"/>
                  <a:gd name="connsiteX29" fmla="*/ 133879 w 361470"/>
                  <a:gd name="connsiteY29" fmla="*/ 68077 h 282629"/>
                  <a:gd name="connsiteX30" fmla="*/ 125970 w 361470"/>
                  <a:gd name="connsiteY30" fmla="*/ 36301 h 282629"/>
                  <a:gd name="connsiteX31" fmla="*/ 115086 w 361470"/>
                  <a:gd name="connsiteY31" fmla="*/ 18896 h 282629"/>
                  <a:gd name="connsiteX32" fmla="*/ 95470 w 361470"/>
                  <a:gd name="connsiteY32" fmla="*/ 14531 h 282629"/>
                  <a:gd name="connsiteX33" fmla="*/ 95300 w 361470"/>
                  <a:gd name="connsiteY33" fmla="*/ 14559 h 282629"/>
                  <a:gd name="connsiteX34" fmla="*/ 107574 w 361470"/>
                  <a:gd name="connsiteY34" fmla="*/ 97699 h 282629"/>
                  <a:gd name="connsiteX35" fmla="*/ 100204 w 361470"/>
                  <a:gd name="connsiteY35" fmla="*/ 144640 h 282629"/>
                  <a:gd name="connsiteX36" fmla="*/ 52724 w 361470"/>
                  <a:gd name="connsiteY36" fmla="*/ 170577 h 282629"/>
                  <a:gd name="connsiteX37" fmla="*/ 13124 w 361470"/>
                  <a:gd name="connsiteY37" fmla="*/ 170577 h 282629"/>
                  <a:gd name="connsiteX38" fmla="*/ 13124 w 361470"/>
                  <a:gd name="connsiteY38" fmla="*/ 269477 h 282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61470" h="282629">
                    <a:moveTo>
                      <a:pt x="124780" y="282629"/>
                    </a:moveTo>
                    <a:lnTo>
                      <a:pt x="0" y="282629"/>
                    </a:lnTo>
                    <a:lnTo>
                      <a:pt x="0" y="157509"/>
                    </a:lnTo>
                    <a:lnTo>
                      <a:pt x="52667" y="157509"/>
                    </a:lnTo>
                    <a:cubicBezTo>
                      <a:pt x="67719" y="157509"/>
                      <a:pt x="80702" y="150394"/>
                      <a:pt x="89177" y="137468"/>
                    </a:cubicBezTo>
                    <a:cubicBezTo>
                      <a:pt x="94846" y="128879"/>
                      <a:pt x="96320" y="109094"/>
                      <a:pt x="94563" y="99966"/>
                    </a:cubicBezTo>
                    <a:lnTo>
                      <a:pt x="80390" y="3901"/>
                    </a:lnTo>
                    <a:lnTo>
                      <a:pt x="93146" y="1662"/>
                    </a:lnTo>
                    <a:cubicBezTo>
                      <a:pt x="103520" y="-181"/>
                      <a:pt x="113980" y="2144"/>
                      <a:pt x="122597" y="8181"/>
                    </a:cubicBezTo>
                    <a:cubicBezTo>
                      <a:pt x="131214" y="14219"/>
                      <a:pt x="136969" y="23262"/>
                      <a:pt x="138811" y="33608"/>
                    </a:cubicBezTo>
                    <a:lnTo>
                      <a:pt x="147230" y="68672"/>
                    </a:lnTo>
                    <a:cubicBezTo>
                      <a:pt x="151284" y="93560"/>
                      <a:pt x="170247" y="111021"/>
                      <a:pt x="193321" y="111021"/>
                    </a:cubicBezTo>
                    <a:cubicBezTo>
                      <a:pt x="206445" y="111021"/>
                      <a:pt x="219003" y="105381"/>
                      <a:pt x="227733" y="95544"/>
                    </a:cubicBezTo>
                    <a:lnTo>
                      <a:pt x="296728" y="18953"/>
                    </a:lnTo>
                    <a:cubicBezTo>
                      <a:pt x="316995" y="-5595"/>
                      <a:pt x="336781" y="-1853"/>
                      <a:pt x="349763" y="5630"/>
                    </a:cubicBezTo>
                    <a:lnTo>
                      <a:pt x="361470" y="12377"/>
                    </a:lnTo>
                    <a:lnTo>
                      <a:pt x="221327" y="227042"/>
                    </a:lnTo>
                    <a:cubicBezTo>
                      <a:pt x="216111" y="236085"/>
                      <a:pt x="209393" y="244560"/>
                      <a:pt x="201541" y="252015"/>
                    </a:cubicBezTo>
                    <a:cubicBezTo>
                      <a:pt x="180735" y="271744"/>
                      <a:pt x="153466" y="282629"/>
                      <a:pt x="124780" y="282629"/>
                    </a:cubicBezTo>
                    <a:close/>
                    <a:moveTo>
                      <a:pt x="13124" y="269477"/>
                    </a:moveTo>
                    <a:lnTo>
                      <a:pt x="124780" y="269477"/>
                    </a:lnTo>
                    <a:cubicBezTo>
                      <a:pt x="150093" y="269477"/>
                      <a:pt x="174131" y="259896"/>
                      <a:pt x="192499" y="242491"/>
                    </a:cubicBezTo>
                    <a:cubicBezTo>
                      <a:pt x="199415" y="235943"/>
                      <a:pt x="205368" y="228431"/>
                      <a:pt x="210102" y="220211"/>
                    </a:cubicBezTo>
                    <a:lnTo>
                      <a:pt x="246668" y="163717"/>
                    </a:lnTo>
                    <a:lnTo>
                      <a:pt x="342819" y="16827"/>
                    </a:lnTo>
                    <a:cubicBezTo>
                      <a:pt x="334740" y="12235"/>
                      <a:pt x="322268" y="8607"/>
                      <a:pt x="306649" y="27513"/>
                    </a:cubicBezTo>
                    <a:lnTo>
                      <a:pt x="237513" y="104275"/>
                    </a:lnTo>
                    <a:cubicBezTo>
                      <a:pt x="226316" y="116889"/>
                      <a:pt x="210215" y="124146"/>
                      <a:pt x="193321" y="124146"/>
                    </a:cubicBezTo>
                    <a:cubicBezTo>
                      <a:pt x="163671" y="124146"/>
                      <a:pt x="139378" y="102149"/>
                      <a:pt x="134247" y="70656"/>
                    </a:cubicBezTo>
                    <a:lnTo>
                      <a:pt x="133879" y="68077"/>
                    </a:lnTo>
                    <a:lnTo>
                      <a:pt x="125970" y="36301"/>
                    </a:lnTo>
                    <a:cubicBezTo>
                      <a:pt x="124666" y="28959"/>
                      <a:pt x="120811" y="22921"/>
                      <a:pt x="115086" y="18896"/>
                    </a:cubicBezTo>
                    <a:cubicBezTo>
                      <a:pt x="109331" y="14871"/>
                      <a:pt x="102358" y="13312"/>
                      <a:pt x="95470" y="14531"/>
                    </a:cubicBezTo>
                    <a:lnTo>
                      <a:pt x="95300" y="14559"/>
                    </a:lnTo>
                    <a:lnTo>
                      <a:pt x="107574" y="97699"/>
                    </a:lnTo>
                    <a:cubicBezTo>
                      <a:pt x="109728" y="108839"/>
                      <a:pt x="108367" y="132224"/>
                      <a:pt x="100204" y="144640"/>
                    </a:cubicBezTo>
                    <a:cubicBezTo>
                      <a:pt x="89347" y="161137"/>
                      <a:pt x="72056" y="170577"/>
                      <a:pt x="52724" y="170577"/>
                    </a:cubicBezTo>
                    <a:lnTo>
                      <a:pt x="13124" y="170577"/>
                    </a:lnTo>
                    <a:lnTo>
                      <a:pt x="13124" y="269477"/>
                    </a:lnTo>
                    <a:close/>
                  </a:path>
                </a:pathLst>
              </a:custGeom>
              <a:solidFill>
                <a:schemeClr val="tx2"/>
              </a:solidFill>
              <a:ln w="2827" cap="flat">
                <a:noFill/>
                <a:prstDash val="solid"/>
                <a:miter/>
              </a:ln>
            </p:spPr>
            <p:txBody>
              <a:bodyPr rtlCol="0" anchor="ctr"/>
              <a:lstStyle/>
              <a:p>
                <a:endParaRPr lang="en-GB" dirty="0"/>
              </a:p>
            </p:txBody>
          </p:sp>
          <p:sp>
            <p:nvSpPr>
              <p:cNvPr id="624" name="Freihandform: Form 623">
                <a:extLst>
                  <a:ext uri="{FF2B5EF4-FFF2-40B4-BE49-F238E27FC236}">
                    <a16:creationId xmlns:a16="http://schemas.microsoft.com/office/drawing/2014/main" id="{A7CAB6A6-6F47-43E5-936F-842F1E21CCA0}"/>
                  </a:ext>
                </a:extLst>
              </p:cNvPr>
              <p:cNvSpPr/>
              <p:nvPr/>
            </p:nvSpPr>
            <p:spPr>
              <a:xfrm>
                <a:off x="2013088" y="4322110"/>
                <a:ext cx="45977" cy="75655"/>
              </a:xfrm>
              <a:custGeom>
                <a:avLst/>
                <a:gdLst>
                  <a:gd name="connsiteX0" fmla="*/ 45978 w 45977"/>
                  <a:gd name="connsiteY0" fmla="*/ 75656 h 75655"/>
                  <a:gd name="connsiteX1" fmla="*/ 32853 w 45977"/>
                  <a:gd name="connsiteY1" fmla="*/ 75656 h 75655"/>
                  <a:gd name="connsiteX2" fmla="*/ 32853 w 45977"/>
                  <a:gd name="connsiteY2" fmla="*/ 22989 h 75655"/>
                  <a:gd name="connsiteX3" fmla="*/ 22989 w 45977"/>
                  <a:gd name="connsiteY3" fmla="*/ 13124 h 75655"/>
                  <a:gd name="connsiteX4" fmla="*/ 13124 w 45977"/>
                  <a:gd name="connsiteY4" fmla="*/ 22989 h 75655"/>
                  <a:gd name="connsiteX5" fmla="*/ 13124 w 45977"/>
                  <a:gd name="connsiteY5" fmla="*/ 69080 h 75655"/>
                  <a:gd name="connsiteX6" fmla="*/ 0 w 45977"/>
                  <a:gd name="connsiteY6" fmla="*/ 69080 h 75655"/>
                  <a:gd name="connsiteX7" fmla="*/ 0 w 45977"/>
                  <a:gd name="connsiteY7" fmla="*/ 22989 h 75655"/>
                  <a:gd name="connsiteX8" fmla="*/ 22989 w 45977"/>
                  <a:gd name="connsiteY8" fmla="*/ 0 h 75655"/>
                  <a:gd name="connsiteX9" fmla="*/ 45978 w 45977"/>
                  <a:gd name="connsiteY9" fmla="*/ 22989 h 75655"/>
                  <a:gd name="connsiteX10" fmla="*/ 45978 w 45977"/>
                  <a:gd name="connsiteY10" fmla="*/ 75656 h 75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77" h="75655">
                    <a:moveTo>
                      <a:pt x="45978" y="75656"/>
                    </a:moveTo>
                    <a:lnTo>
                      <a:pt x="32853" y="75656"/>
                    </a:lnTo>
                    <a:lnTo>
                      <a:pt x="32853" y="22989"/>
                    </a:lnTo>
                    <a:cubicBezTo>
                      <a:pt x="32853" y="17546"/>
                      <a:pt x="28431" y="13124"/>
                      <a:pt x="22989" y="13124"/>
                    </a:cubicBezTo>
                    <a:cubicBezTo>
                      <a:pt x="17546" y="13124"/>
                      <a:pt x="13124" y="17546"/>
                      <a:pt x="13124" y="22989"/>
                    </a:cubicBezTo>
                    <a:lnTo>
                      <a:pt x="13124" y="69080"/>
                    </a:lnTo>
                    <a:lnTo>
                      <a:pt x="0" y="69080"/>
                    </a:lnTo>
                    <a:lnTo>
                      <a:pt x="0" y="22989"/>
                    </a:lnTo>
                    <a:cubicBezTo>
                      <a:pt x="0" y="10318"/>
                      <a:pt x="10318" y="0"/>
                      <a:pt x="22989" y="0"/>
                    </a:cubicBezTo>
                    <a:cubicBezTo>
                      <a:pt x="35660" y="0"/>
                      <a:pt x="45978" y="10318"/>
                      <a:pt x="45978" y="22989"/>
                    </a:cubicBezTo>
                    <a:lnTo>
                      <a:pt x="45978" y="75656"/>
                    </a:lnTo>
                    <a:close/>
                  </a:path>
                </a:pathLst>
              </a:custGeom>
              <a:solidFill>
                <a:schemeClr val="tx2"/>
              </a:solidFill>
              <a:ln w="2827" cap="flat">
                <a:noFill/>
                <a:prstDash val="solid"/>
                <a:miter/>
              </a:ln>
            </p:spPr>
            <p:txBody>
              <a:bodyPr rtlCol="0" anchor="ctr"/>
              <a:lstStyle/>
              <a:p>
                <a:endParaRPr lang="en-GB" dirty="0"/>
              </a:p>
            </p:txBody>
          </p:sp>
          <p:sp>
            <p:nvSpPr>
              <p:cNvPr id="625" name="Freihandform: Form 624">
                <a:extLst>
                  <a:ext uri="{FF2B5EF4-FFF2-40B4-BE49-F238E27FC236}">
                    <a16:creationId xmlns:a16="http://schemas.microsoft.com/office/drawing/2014/main" id="{BECD998E-9494-44A6-85E0-008CF97342BA}"/>
                  </a:ext>
                </a:extLst>
              </p:cNvPr>
              <p:cNvSpPr/>
              <p:nvPr/>
            </p:nvSpPr>
            <p:spPr>
              <a:xfrm>
                <a:off x="1946843" y="4322134"/>
                <a:ext cx="77640" cy="98620"/>
              </a:xfrm>
              <a:custGeom>
                <a:avLst/>
                <a:gdLst>
                  <a:gd name="connsiteX0" fmla="*/ 37559 w 77640"/>
                  <a:gd name="connsiteY0" fmla="*/ 98621 h 98620"/>
                  <a:gd name="connsiteX1" fmla="*/ 0 w 77640"/>
                  <a:gd name="connsiteY1" fmla="*/ 98621 h 98620"/>
                  <a:gd name="connsiteX2" fmla="*/ 0 w 77640"/>
                  <a:gd name="connsiteY2" fmla="*/ 85496 h 98620"/>
                  <a:gd name="connsiteX3" fmla="*/ 29310 w 77640"/>
                  <a:gd name="connsiteY3" fmla="*/ 85496 h 98620"/>
                  <a:gd name="connsiteX4" fmla="*/ 38267 w 77640"/>
                  <a:gd name="connsiteY4" fmla="*/ 66958 h 98620"/>
                  <a:gd name="connsiteX5" fmla="*/ 19502 w 77640"/>
                  <a:gd name="connsiteY5" fmla="*/ 34473 h 98620"/>
                  <a:gd name="connsiteX6" fmla="*/ 27921 w 77640"/>
                  <a:gd name="connsiteY6" fmla="*/ 3066 h 98620"/>
                  <a:gd name="connsiteX7" fmla="*/ 45354 w 77640"/>
                  <a:gd name="connsiteY7" fmla="*/ 798 h 98620"/>
                  <a:gd name="connsiteX8" fmla="*/ 59329 w 77640"/>
                  <a:gd name="connsiteY8" fmla="*/ 11484 h 98620"/>
                  <a:gd name="connsiteX9" fmla="*/ 77640 w 77640"/>
                  <a:gd name="connsiteY9" fmla="*/ 43175 h 98620"/>
                  <a:gd name="connsiteX10" fmla="*/ 66273 w 77640"/>
                  <a:gd name="connsiteY10" fmla="*/ 49752 h 98620"/>
                  <a:gd name="connsiteX11" fmla="*/ 47962 w 77640"/>
                  <a:gd name="connsiteY11" fmla="*/ 18061 h 98620"/>
                  <a:gd name="connsiteX12" fmla="*/ 41981 w 77640"/>
                  <a:gd name="connsiteY12" fmla="*/ 13497 h 98620"/>
                  <a:gd name="connsiteX13" fmla="*/ 34497 w 77640"/>
                  <a:gd name="connsiteY13" fmla="*/ 14461 h 98620"/>
                  <a:gd name="connsiteX14" fmla="*/ 30897 w 77640"/>
                  <a:gd name="connsiteY14" fmla="*/ 27925 h 98620"/>
                  <a:gd name="connsiteX15" fmla="*/ 53121 w 77640"/>
                  <a:gd name="connsiteY15" fmla="*/ 66419 h 98620"/>
                  <a:gd name="connsiteX16" fmla="*/ 37559 w 77640"/>
                  <a:gd name="connsiteY16" fmla="*/ 98621 h 98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7640" h="98620">
                    <a:moveTo>
                      <a:pt x="37559" y="98621"/>
                    </a:moveTo>
                    <a:lnTo>
                      <a:pt x="0" y="98621"/>
                    </a:lnTo>
                    <a:lnTo>
                      <a:pt x="0" y="85496"/>
                    </a:lnTo>
                    <a:lnTo>
                      <a:pt x="29310" y="85496"/>
                    </a:lnTo>
                    <a:lnTo>
                      <a:pt x="38267" y="66958"/>
                    </a:lnTo>
                    <a:lnTo>
                      <a:pt x="19502" y="34473"/>
                    </a:lnTo>
                    <a:cubicBezTo>
                      <a:pt x="13181" y="23503"/>
                      <a:pt x="16951" y="9415"/>
                      <a:pt x="27921" y="3066"/>
                    </a:cubicBezTo>
                    <a:cubicBezTo>
                      <a:pt x="33222" y="4"/>
                      <a:pt x="39401" y="-789"/>
                      <a:pt x="45354" y="798"/>
                    </a:cubicBezTo>
                    <a:cubicBezTo>
                      <a:pt x="51307" y="2385"/>
                      <a:pt x="56267" y="6184"/>
                      <a:pt x="59329" y="11484"/>
                    </a:cubicBezTo>
                    <a:lnTo>
                      <a:pt x="77640" y="43175"/>
                    </a:lnTo>
                    <a:lnTo>
                      <a:pt x="66273" y="49752"/>
                    </a:lnTo>
                    <a:lnTo>
                      <a:pt x="47962" y="18061"/>
                    </a:lnTo>
                    <a:cubicBezTo>
                      <a:pt x="46658" y="15793"/>
                      <a:pt x="44532" y="14177"/>
                      <a:pt x="41981" y="13497"/>
                    </a:cubicBezTo>
                    <a:cubicBezTo>
                      <a:pt x="39430" y="12817"/>
                      <a:pt x="36765" y="13157"/>
                      <a:pt x="34497" y="14461"/>
                    </a:cubicBezTo>
                    <a:cubicBezTo>
                      <a:pt x="29792" y="17182"/>
                      <a:pt x="28176" y="23220"/>
                      <a:pt x="30897" y="27925"/>
                    </a:cubicBezTo>
                    <a:lnTo>
                      <a:pt x="53121" y="66419"/>
                    </a:lnTo>
                    <a:lnTo>
                      <a:pt x="37559" y="98621"/>
                    </a:lnTo>
                    <a:close/>
                  </a:path>
                </a:pathLst>
              </a:custGeom>
              <a:solidFill>
                <a:schemeClr val="tx2"/>
              </a:solidFill>
              <a:ln w="2827" cap="flat">
                <a:noFill/>
                <a:prstDash val="solid"/>
                <a:miter/>
              </a:ln>
            </p:spPr>
            <p:txBody>
              <a:bodyPr rtlCol="0" anchor="ctr"/>
              <a:lstStyle/>
              <a:p>
                <a:endParaRPr lang="en-GB" dirty="0"/>
              </a:p>
            </p:txBody>
          </p:sp>
        </p:grpSp>
      </p:grpSp>
      <p:grpSp>
        <p:nvGrpSpPr>
          <p:cNvPr id="629" name="Group 744">
            <a:extLst>
              <a:ext uri="{FF2B5EF4-FFF2-40B4-BE49-F238E27FC236}">
                <a16:creationId xmlns:a16="http://schemas.microsoft.com/office/drawing/2014/main" id="{D227CD60-9E69-4696-8EE4-74F480A15991}"/>
              </a:ext>
            </a:extLst>
          </p:cNvPr>
          <p:cNvGrpSpPr>
            <a:grpSpLocks noChangeAspect="1"/>
          </p:cNvGrpSpPr>
          <p:nvPr/>
        </p:nvGrpSpPr>
        <p:grpSpPr>
          <a:xfrm>
            <a:off x="567048" y="4077384"/>
            <a:ext cx="454004" cy="432000"/>
            <a:chOff x="883975" y="4164622"/>
            <a:chExt cx="486023" cy="462467"/>
          </a:xfrm>
        </p:grpSpPr>
        <p:grpSp>
          <p:nvGrpSpPr>
            <p:cNvPr id="630" name="Group 743">
              <a:extLst>
                <a:ext uri="{FF2B5EF4-FFF2-40B4-BE49-F238E27FC236}">
                  <a16:creationId xmlns:a16="http://schemas.microsoft.com/office/drawing/2014/main" id="{A21251F9-89ED-4DB2-A48E-1EC895692221}"/>
                </a:ext>
              </a:extLst>
            </p:cNvPr>
            <p:cNvGrpSpPr/>
            <p:nvPr/>
          </p:nvGrpSpPr>
          <p:grpSpPr>
            <a:xfrm>
              <a:off x="883975" y="4164622"/>
              <a:ext cx="486023" cy="462467"/>
              <a:chOff x="883975" y="4164619"/>
              <a:chExt cx="486023" cy="462467"/>
            </a:xfrm>
          </p:grpSpPr>
          <p:sp>
            <p:nvSpPr>
              <p:cNvPr id="640" name="Freihandform: Form 639">
                <a:extLst>
                  <a:ext uri="{FF2B5EF4-FFF2-40B4-BE49-F238E27FC236}">
                    <a16:creationId xmlns:a16="http://schemas.microsoft.com/office/drawing/2014/main" id="{39681767-A7BF-4424-B71F-8700D1E4F76E}"/>
                  </a:ext>
                </a:extLst>
              </p:cNvPr>
              <p:cNvSpPr/>
              <p:nvPr/>
            </p:nvSpPr>
            <p:spPr>
              <a:xfrm>
                <a:off x="883975" y="4164619"/>
                <a:ext cx="486023" cy="328390"/>
              </a:xfrm>
              <a:custGeom>
                <a:avLst/>
                <a:gdLst>
                  <a:gd name="connsiteX0" fmla="*/ 486024 w 486023"/>
                  <a:gd name="connsiteY0" fmla="*/ 328390 h 328390"/>
                  <a:gd name="connsiteX1" fmla="*/ 0 w 486023"/>
                  <a:gd name="connsiteY1" fmla="*/ 328390 h 328390"/>
                  <a:gd name="connsiteX2" fmla="*/ 0 w 486023"/>
                  <a:gd name="connsiteY2" fmla="*/ 0 h 328390"/>
                  <a:gd name="connsiteX3" fmla="*/ 486024 w 486023"/>
                  <a:gd name="connsiteY3" fmla="*/ 0 h 328390"/>
                  <a:gd name="connsiteX4" fmla="*/ 486024 w 486023"/>
                  <a:gd name="connsiteY4" fmla="*/ 328390 h 328390"/>
                  <a:gd name="connsiteX5" fmla="*/ 13153 w 486023"/>
                  <a:gd name="connsiteY5" fmla="*/ 315238 h 328390"/>
                  <a:gd name="connsiteX6" fmla="*/ 472899 w 486023"/>
                  <a:gd name="connsiteY6" fmla="*/ 315238 h 328390"/>
                  <a:gd name="connsiteX7" fmla="*/ 472899 w 486023"/>
                  <a:gd name="connsiteY7" fmla="*/ 13124 h 328390"/>
                  <a:gd name="connsiteX8" fmla="*/ 13153 w 486023"/>
                  <a:gd name="connsiteY8" fmla="*/ 13124 h 328390"/>
                  <a:gd name="connsiteX9" fmla="*/ 13153 w 486023"/>
                  <a:gd name="connsiteY9" fmla="*/ 315238 h 328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6023" h="328390">
                    <a:moveTo>
                      <a:pt x="486024" y="328390"/>
                    </a:moveTo>
                    <a:lnTo>
                      <a:pt x="0" y="328390"/>
                    </a:lnTo>
                    <a:lnTo>
                      <a:pt x="0" y="0"/>
                    </a:lnTo>
                    <a:lnTo>
                      <a:pt x="486024" y="0"/>
                    </a:lnTo>
                    <a:lnTo>
                      <a:pt x="486024" y="328390"/>
                    </a:lnTo>
                    <a:close/>
                    <a:moveTo>
                      <a:pt x="13153" y="315238"/>
                    </a:moveTo>
                    <a:lnTo>
                      <a:pt x="472899" y="315238"/>
                    </a:lnTo>
                    <a:lnTo>
                      <a:pt x="472899" y="13124"/>
                    </a:lnTo>
                    <a:lnTo>
                      <a:pt x="13153" y="13124"/>
                    </a:lnTo>
                    <a:lnTo>
                      <a:pt x="13153" y="315238"/>
                    </a:lnTo>
                    <a:close/>
                  </a:path>
                </a:pathLst>
              </a:custGeom>
              <a:solidFill>
                <a:schemeClr val="tx2"/>
              </a:solidFill>
              <a:ln w="2827" cap="flat">
                <a:noFill/>
                <a:prstDash val="solid"/>
                <a:miter/>
              </a:ln>
            </p:spPr>
            <p:txBody>
              <a:bodyPr rtlCol="0" anchor="ctr"/>
              <a:lstStyle/>
              <a:p>
                <a:endParaRPr lang="en-GB" dirty="0"/>
              </a:p>
            </p:txBody>
          </p:sp>
          <p:sp>
            <p:nvSpPr>
              <p:cNvPr id="641" name="Freihandform: Form 640">
                <a:extLst>
                  <a:ext uri="{FF2B5EF4-FFF2-40B4-BE49-F238E27FC236}">
                    <a16:creationId xmlns:a16="http://schemas.microsoft.com/office/drawing/2014/main" id="{C6603348-D1C7-47A4-8A26-D005DECDCD6C}"/>
                  </a:ext>
                </a:extLst>
              </p:cNvPr>
              <p:cNvSpPr/>
              <p:nvPr/>
            </p:nvSpPr>
            <p:spPr>
              <a:xfrm>
                <a:off x="1232066" y="4481784"/>
                <a:ext cx="136004" cy="145302"/>
              </a:xfrm>
              <a:custGeom>
                <a:avLst/>
                <a:gdLst>
                  <a:gd name="connsiteX0" fmla="*/ 0 w 136004"/>
                  <a:gd name="connsiteY0" fmla="*/ 145302 h 145302"/>
                  <a:gd name="connsiteX1" fmla="*/ 0 w 136004"/>
                  <a:gd name="connsiteY1" fmla="*/ 24349 h 145302"/>
                  <a:gd name="connsiteX2" fmla="*/ 13153 w 136004"/>
                  <a:gd name="connsiteY2" fmla="*/ 24349 h 145302"/>
                  <a:gd name="connsiteX3" fmla="*/ 13153 w 136004"/>
                  <a:gd name="connsiteY3" fmla="*/ 113583 h 145302"/>
                  <a:gd name="connsiteX4" fmla="*/ 126707 w 136004"/>
                  <a:gd name="connsiteY4" fmla="*/ 0 h 145302"/>
                  <a:gd name="connsiteX5" fmla="*/ 136005 w 136004"/>
                  <a:gd name="connsiteY5" fmla="*/ 9297 h 145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004" h="145302">
                    <a:moveTo>
                      <a:pt x="0" y="145302"/>
                    </a:moveTo>
                    <a:lnTo>
                      <a:pt x="0" y="24349"/>
                    </a:lnTo>
                    <a:lnTo>
                      <a:pt x="13153" y="24349"/>
                    </a:lnTo>
                    <a:lnTo>
                      <a:pt x="13153" y="113583"/>
                    </a:lnTo>
                    <a:lnTo>
                      <a:pt x="126707" y="0"/>
                    </a:lnTo>
                    <a:lnTo>
                      <a:pt x="136005" y="9297"/>
                    </a:lnTo>
                    <a:close/>
                  </a:path>
                </a:pathLst>
              </a:custGeom>
              <a:solidFill>
                <a:schemeClr val="tx2"/>
              </a:solidFill>
              <a:ln w="2827" cap="flat">
                <a:noFill/>
                <a:prstDash val="solid"/>
                <a:miter/>
              </a:ln>
            </p:spPr>
            <p:txBody>
              <a:bodyPr rtlCol="0" anchor="ctr"/>
              <a:lstStyle/>
              <a:p>
                <a:endParaRPr lang="en-GB" dirty="0"/>
              </a:p>
            </p:txBody>
          </p:sp>
        </p:grpSp>
        <p:grpSp>
          <p:nvGrpSpPr>
            <p:cNvPr id="631" name="Group 742">
              <a:extLst>
                <a:ext uri="{FF2B5EF4-FFF2-40B4-BE49-F238E27FC236}">
                  <a16:creationId xmlns:a16="http://schemas.microsoft.com/office/drawing/2014/main" id="{95BB8716-4502-42F1-9969-66120F2B1778}"/>
                </a:ext>
              </a:extLst>
            </p:cNvPr>
            <p:cNvGrpSpPr/>
            <p:nvPr/>
          </p:nvGrpSpPr>
          <p:grpSpPr>
            <a:xfrm>
              <a:off x="929442" y="4201724"/>
              <a:ext cx="381426" cy="251033"/>
              <a:chOff x="929442" y="4201724"/>
              <a:chExt cx="381426" cy="251033"/>
            </a:xfrm>
          </p:grpSpPr>
          <p:sp>
            <p:nvSpPr>
              <p:cNvPr id="632" name="Freihandform: Form 631">
                <a:extLst>
                  <a:ext uri="{FF2B5EF4-FFF2-40B4-BE49-F238E27FC236}">
                    <a16:creationId xmlns:a16="http://schemas.microsoft.com/office/drawing/2014/main" id="{92176304-45AB-4E6E-966B-608CD8031446}"/>
                  </a:ext>
                </a:extLst>
              </p:cNvPr>
              <p:cNvSpPr/>
              <p:nvPr/>
            </p:nvSpPr>
            <p:spPr>
              <a:xfrm>
                <a:off x="929442" y="4201724"/>
                <a:ext cx="106071" cy="106524"/>
              </a:xfrm>
              <a:custGeom>
                <a:avLst/>
                <a:gdLst>
                  <a:gd name="connsiteX0" fmla="*/ 86059 w 106071"/>
                  <a:gd name="connsiteY0" fmla="*/ 106525 h 106524"/>
                  <a:gd name="connsiteX1" fmla="*/ 53036 w 106071"/>
                  <a:gd name="connsiteY1" fmla="*/ 88270 h 106524"/>
                  <a:gd name="connsiteX2" fmla="*/ 20012 w 106071"/>
                  <a:gd name="connsiteY2" fmla="*/ 106525 h 106524"/>
                  <a:gd name="connsiteX3" fmla="*/ 26305 w 106071"/>
                  <a:gd name="connsiteY3" fmla="*/ 67946 h 106524"/>
                  <a:gd name="connsiteX4" fmla="*/ 0 w 106071"/>
                  <a:gd name="connsiteY4" fmla="*/ 40988 h 106524"/>
                  <a:gd name="connsiteX5" fmla="*/ 36396 w 106071"/>
                  <a:gd name="connsiteY5" fmla="*/ 35433 h 106524"/>
                  <a:gd name="connsiteX6" fmla="*/ 53036 w 106071"/>
                  <a:gd name="connsiteY6" fmla="*/ 0 h 106524"/>
                  <a:gd name="connsiteX7" fmla="*/ 69675 w 106071"/>
                  <a:gd name="connsiteY7" fmla="*/ 35433 h 106524"/>
                  <a:gd name="connsiteX8" fmla="*/ 106071 w 106071"/>
                  <a:gd name="connsiteY8" fmla="*/ 40988 h 106524"/>
                  <a:gd name="connsiteX9" fmla="*/ 79766 w 106071"/>
                  <a:gd name="connsiteY9" fmla="*/ 67946 h 106524"/>
                  <a:gd name="connsiteX10" fmla="*/ 86059 w 106071"/>
                  <a:gd name="connsiteY10" fmla="*/ 106525 h 106524"/>
                  <a:gd name="connsiteX11" fmla="*/ 53064 w 106071"/>
                  <a:gd name="connsiteY11" fmla="*/ 73275 h 106524"/>
                  <a:gd name="connsiteX12" fmla="*/ 68768 w 106071"/>
                  <a:gd name="connsiteY12" fmla="*/ 81949 h 106524"/>
                  <a:gd name="connsiteX13" fmla="*/ 65763 w 106071"/>
                  <a:gd name="connsiteY13" fmla="*/ 63495 h 106524"/>
                  <a:gd name="connsiteX14" fmla="*/ 78859 w 106071"/>
                  <a:gd name="connsiteY14" fmla="*/ 50088 h 106524"/>
                  <a:gd name="connsiteX15" fmla="*/ 60803 w 106071"/>
                  <a:gd name="connsiteY15" fmla="*/ 47338 h 106524"/>
                  <a:gd name="connsiteX16" fmla="*/ 53092 w 106071"/>
                  <a:gd name="connsiteY16" fmla="*/ 30897 h 106524"/>
                  <a:gd name="connsiteX17" fmla="*/ 45382 w 106071"/>
                  <a:gd name="connsiteY17" fmla="*/ 47338 h 106524"/>
                  <a:gd name="connsiteX18" fmla="*/ 27326 w 106071"/>
                  <a:gd name="connsiteY18" fmla="*/ 50088 h 106524"/>
                  <a:gd name="connsiteX19" fmla="*/ 40422 w 106071"/>
                  <a:gd name="connsiteY19" fmla="*/ 63495 h 106524"/>
                  <a:gd name="connsiteX20" fmla="*/ 37417 w 106071"/>
                  <a:gd name="connsiteY20" fmla="*/ 81949 h 106524"/>
                  <a:gd name="connsiteX21" fmla="*/ 53064 w 106071"/>
                  <a:gd name="connsiteY21" fmla="*/ 73275 h 10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071" h="106524">
                    <a:moveTo>
                      <a:pt x="86059" y="106525"/>
                    </a:moveTo>
                    <a:lnTo>
                      <a:pt x="53036" y="88270"/>
                    </a:lnTo>
                    <a:lnTo>
                      <a:pt x="20012" y="106525"/>
                    </a:lnTo>
                    <a:lnTo>
                      <a:pt x="26305" y="67946"/>
                    </a:lnTo>
                    <a:lnTo>
                      <a:pt x="0" y="40988"/>
                    </a:lnTo>
                    <a:lnTo>
                      <a:pt x="36396" y="35433"/>
                    </a:lnTo>
                    <a:lnTo>
                      <a:pt x="53036" y="0"/>
                    </a:lnTo>
                    <a:lnTo>
                      <a:pt x="69675" y="35433"/>
                    </a:lnTo>
                    <a:lnTo>
                      <a:pt x="106071" y="40988"/>
                    </a:lnTo>
                    <a:lnTo>
                      <a:pt x="79766" y="67946"/>
                    </a:lnTo>
                    <a:lnTo>
                      <a:pt x="86059" y="106525"/>
                    </a:lnTo>
                    <a:close/>
                    <a:moveTo>
                      <a:pt x="53064" y="73275"/>
                    </a:moveTo>
                    <a:lnTo>
                      <a:pt x="68768" y="81949"/>
                    </a:lnTo>
                    <a:lnTo>
                      <a:pt x="65763" y="63495"/>
                    </a:lnTo>
                    <a:lnTo>
                      <a:pt x="78859" y="50088"/>
                    </a:lnTo>
                    <a:lnTo>
                      <a:pt x="60803" y="47338"/>
                    </a:lnTo>
                    <a:lnTo>
                      <a:pt x="53092" y="30897"/>
                    </a:lnTo>
                    <a:lnTo>
                      <a:pt x="45382" y="47338"/>
                    </a:lnTo>
                    <a:lnTo>
                      <a:pt x="27326" y="50088"/>
                    </a:lnTo>
                    <a:lnTo>
                      <a:pt x="40422" y="63495"/>
                    </a:lnTo>
                    <a:lnTo>
                      <a:pt x="37417" y="81949"/>
                    </a:lnTo>
                    <a:lnTo>
                      <a:pt x="53064" y="73275"/>
                    </a:lnTo>
                    <a:close/>
                  </a:path>
                </a:pathLst>
              </a:custGeom>
              <a:solidFill>
                <a:schemeClr val="accent1"/>
              </a:solidFill>
              <a:ln w="2827" cap="flat">
                <a:noFill/>
                <a:prstDash val="solid"/>
                <a:miter/>
              </a:ln>
            </p:spPr>
            <p:txBody>
              <a:bodyPr rtlCol="0" anchor="ctr"/>
              <a:lstStyle/>
              <a:p>
                <a:endParaRPr lang="en-GB" dirty="0"/>
              </a:p>
            </p:txBody>
          </p:sp>
          <p:sp>
            <p:nvSpPr>
              <p:cNvPr id="633" name="Freihandform: Form 632">
                <a:extLst>
                  <a:ext uri="{FF2B5EF4-FFF2-40B4-BE49-F238E27FC236}">
                    <a16:creationId xmlns:a16="http://schemas.microsoft.com/office/drawing/2014/main" id="{C017A603-7528-49F0-8696-B47F372B8522}"/>
                  </a:ext>
                </a:extLst>
              </p:cNvPr>
              <p:cNvSpPr/>
              <p:nvPr/>
            </p:nvSpPr>
            <p:spPr>
              <a:xfrm>
                <a:off x="929442" y="4346233"/>
                <a:ext cx="106071" cy="106524"/>
              </a:xfrm>
              <a:custGeom>
                <a:avLst/>
                <a:gdLst>
                  <a:gd name="connsiteX0" fmla="*/ 86059 w 106071"/>
                  <a:gd name="connsiteY0" fmla="*/ 106525 h 106524"/>
                  <a:gd name="connsiteX1" fmla="*/ 53036 w 106071"/>
                  <a:gd name="connsiteY1" fmla="*/ 88270 h 106524"/>
                  <a:gd name="connsiteX2" fmla="*/ 20012 w 106071"/>
                  <a:gd name="connsiteY2" fmla="*/ 106525 h 106524"/>
                  <a:gd name="connsiteX3" fmla="*/ 26305 w 106071"/>
                  <a:gd name="connsiteY3" fmla="*/ 67946 h 106524"/>
                  <a:gd name="connsiteX4" fmla="*/ 0 w 106071"/>
                  <a:gd name="connsiteY4" fmla="*/ 40989 h 106524"/>
                  <a:gd name="connsiteX5" fmla="*/ 36396 w 106071"/>
                  <a:gd name="connsiteY5" fmla="*/ 35433 h 106524"/>
                  <a:gd name="connsiteX6" fmla="*/ 53036 w 106071"/>
                  <a:gd name="connsiteY6" fmla="*/ 0 h 106524"/>
                  <a:gd name="connsiteX7" fmla="*/ 69675 w 106071"/>
                  <a:gd name="connsiteY7" fmla="*/ 35433 h 106524"/>
                  <a:gd name="connsiteX8" fmla="*/ 106071 w 106071"/>
                  <a:gd name="connsiteY8" fmla="*/ 40989 h 106524"/>
                  <a:gd name="connsiteX9" fmla="*/ 79766 w 106071"/>
                  <a:gd name="connsiteY9" fmla="*/ 67946 h 106524"/>
                  <a:gd name="connsiteX10" fmla="*/ 86059 w 106071"/>
                  <a:gd name="connsiteY10" fmla="*/ 106525 h 106524"/>
                  <a:gd name="connsiteX11" fmla="*/ 53064 w 106071"/>
                  <a:gd name="connsiteY11" fmla="*/ 73246 h 106524"/>
                  <a:gd name="connsiteX12" fmla="*/ 68768 w 106071"/>
                  <a:gd name="connsiteY12" fmla="*/ 81921 h 106524"/>
                  <a:gd name="connsiteX13" fmla="*/ 65763 w 106071"/>
                  <a:gd name="connsiteY13" fmla="*/ 63467 h 106524"/>
                  <a:gd name="connsiteX14" fmla="*/ 78859 w 106071"/>
                  <a:gd name="connsiteY14" fmla="*/ 50059 h 106524"/>
                  <a:gd name="connsiteX15" fmla="*/ 60803 w 106071"/>
                  <a:gd name="connsiteY15" fmla="*/ 47310 h 106524"/>
                  <a:gd name="connsiteX16" fmla="*/ 53092 w 106071"/>
                  <a:gd name="connsiteY16" fmla="*/ 30869 h 106524"/>
                  <a:gd name="connsiteX17" fmla="*/ 45382 w 106071"/>
                  <a:gd name="connsiteY17" fmla="*/ 47310 h 106524"/>
                  <a:gd name="connsiteX18" fmla="*/ 27326 w 106071"/>
                  <a:gd name="connsiteY18" fmla="*/ 50059 h 106524"/>
                  <a:gd name="connsiteX19" fmla="*/ 40422 w 106071"/>
                  <a:gd name="connsiteY19" fmla="*/ 63467 h 106524"/>
                  <a:gd name="connsiteX20" fmla="*/ 37417 w 106071"/>
                  <a:gd name="connsiteY20" fmla="*/ 81921 h 106524"/>
                  <a:gd name="connsiteX21" fmla="*/ 53064 w 106071"/>
                  <a:gd name="connsiteY21" fmla="*/ 73246 h 106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071" h="106524">
                    <a:moveTo>
                      <a:pt x="86059" y="106525"/>
                    </a:moveTo>
                    <a:lnTo>
                      <a:pt x="53036" y="88270"/>
                    </a:lnTo>
                    <a:lnTo>
                      <a:pt x="20012" y="106525"/>
                    </a:lnTo>
                    <a:lnTo>
                      <a:pt x="26305" y="67946"/>
                    </a:lnTo>
                    <a:lnTo>
                      <a:pt x="0" y="40989"/>
                    </a:lnTo>
                    <a:lnTo>
                      <a:pt x="36396" y="35433"/>
                    </a:lnTo>
                    <a:lnTo>
                      <a:pt x="53036" y="0"/>
                    </a:lnTo>
                    <a:lnTo>
                      <a:pt x="69675" y="35433"/>
                    </a:lnTo>
                    <a:lnTo>
                      <a:pt x="106071" y="40989"/>
                    </a:lnTo>
                    <a:lnTo>
                      <a:pt x="79766" y="67946"/>
                    </a:lnTo>
                    <a:lnTo>
                      <a:pt x="86059" y="106525"/>
                    </a:lnTo>
                    <a:close/>
                    <a:moveTo>
                      <a:pt x="53064" y="73246"/>
                    </a:moveTo>
                    <a:lnTo>
                      <a:pt x="68768" y="81921"/>
                    </a:lnTo>
                    <a:lnTo>
                      <a:pt x="65763" y="63467"/>
                    </a:lnTo>
                    <a:lnTo>
                      <a:pt x="78859" y="50059"/>
                    </a:lnTo>
                    <a:lnTo>
                      <a:pt x="60803" y="47310"/>
                    </a:lnTo>
                    <a:lnTo>
                      <a:pt x="53092" y="30869"/>
                    </a:lnTo>
                    <a:lnTo>
                      <a:pt x="45382" y="47310"/>
                    </a:lnTo>
                    <a:lnTo>
                      <a:pt x="27326" y="50059"/>
                    </a:lnTo>
                    <a:lnTo>
                      <a:pt x="40422" y="63467"/>
                    </a:lnTo>
                    <a:lnTo>
                      <a:pt x="37417" y="81921"/>
                    </a:lnTo>
                    <a:lnTo>
                      <a:pt x="53064" y="73246"/>
                    </a:lnTo>
                    <a:close/>
                  </a:path>
                </a:pathLst>
              </a:custGeom>
              <a:solidFill>
                <a:schemeClr val="accent1"/>
              </a:solidFill>
              <a:ln w="2827" cap="flat">
                <a:noFill/>
                <a:prstDash val="solid"/>
                <a:miter/>
              </a:ln>
            </p:spPr>
            <p:txBody>
              <a:bodyPr rtlCol="0" anchor="ctr"/>
              <a:lstStyle/>
              <a:p>
                <a:endParaRPr lang="en-GB" dirty="0"/>
              </a:p>
            </p:txBody>
          </p:sp>
          <p:grpSp>
            <p:nvGrpSpPr>
              <p:cNvPr id="634" name="Grafik 161">
                <a:extLst>
                  <a:ext uri="{FF2B5EF4-FFF2-40B4-BE49-F238E27FC236}">
                    <a16:creationId xmlns:a16="http://schemas.microsoft.com/office/drawing/2014/main" id="{D038C0C6-57CC-40EE-9DBC-4B9315C38A24}"/>
                  </a:ext>
                </a:extLst>
              </p:cNvPr>
              <p:cNvGrpSpPr/>
              <p:nvPr/>
            </p:nvGrpSpPr>
            <p:grpSpPr>
              <a:xfrm>
                <a:off x="1074433" y="4217144"/>
                <a:ext cx="236435" cy="78802"/>
                <a:chOff x="1074433" y="4217144"/>
                <a:chExt cx="236435" cy="78802"/>
              </a:xfrm>
              <a:solidFill>
                <a:schemeClr val="accent1"/>
              </a:solidFill>
            </p:grpSpPr>
            <p:sp>
              <p:nvSpPr>
                <p:cNvPr id="638" name="Freihandform: Form 637">
                  <a:extLst>
                    <a:ext uri="{FF2B5EF4-FFF2-40B4-BE49-F238E27FC236}">
                      <a16:creationId xmlns:a16="http://schemas.microsoft.com/office/drawing/2014/main" id="{31BF00E4-CD56-4D58-A2FB-3CA3ECF0037D}"/>
                    </a:ext>
                  </a:extLst>
                </p:cNvPr>
                <p:cNvSpPr/>
                <p:nvPr/>
              </p:nvSpPr>
              <p:spPr>
                <a:xfrm>
                  <a:off x="1074433" y="4282822"/>
                  <a:ext cx="236435" cy="13124"/>
                </a:xfrm>
                <a:custGeom>
                  <a:avLst/>
                  <a:gdLst>
                    <a:gd name="connsiteX0" fmla="*/ 0 w 236435"/>
                    <a:gd name="connsiteY0" fmla="*/ 0 h 13124"/>
                    <a:gd name="connsiteX1" fmla="*/ 236435 w 236435"/>
                    <a:gd name="connsiteY1" fmla="*/ 0 h 13124"/>
                    <a:gd name="connsiteX2" fmla="*/ 236435 w 236435"/>
                    <a:gd name="connsiteY2" fmla="*/ 13124 h 13124"/>
                    <a:gd name="connsiteX3" fmla="*/ 0 w 236435"/>
                    <a:gd name="connsiteY3" fmla="*/ 13124 h 13124"/>
                  </a:gdLst>
                  <a:ahLst/>
                  <a:cxnLst>
                    <a:cxn ang="0">
                      <a:pos x="connsiteX0" y="connsiteY0"/>
                    </a:cxn>
                    <a:cxn ang="0">
                      <a:pos x="connsiteX1" y="connsiteY1"/>
                    </a:cxn>
                    <a:cxn ang="0">
                      <a:pos x="connsiteX2" y="connsiteY2"/>
                    </a:cxn>
                    <a:cxn ang="0">
                      <a:pos x="connsiteX3" y="connsiteY3"/>
                    </a:cxn>
                  </a:cxnLst>
                  <a:rect l="l" t="t" r="r" b="b"/>
                  <a:pathLst>
                    <a:path w="236435" h="13124">
                      <a:moveTo>
                        <a:pt x="0" y="0"/>
                      </a:moveTo>
                      <a:lnTo>
                        <a:pt x="236435" y="0"/>
                      </a:lnTo>
                      <a:lnTo>
                        <a:pt x="236435"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39" name="Freihandform: Form 638">
                  <a:extLst>
                    <a:ext uri="{FF2B5EF4-FFF2-40B4-BE49-F238E27FC236}">
                      <a16:creationId xmlns:a16="http://schemas.microsoft.com/office/drawing/2014/main" id="{B056EAD3-62CB-49BF-A287-AB532211EE8A}"/>
                    </a:ext>
                  </a:extLst>
                </p:cNvPr>
                <p:cNvSpPr/>
                <p:nvPr/>
              </p:nvSpPr>
              <p:spPr>
                <a:xfrm>
                  <a:off x="1074433" y="4217144"/>
                  <a:ext cx="236435" cy="13124"/>
                </a:xfrm>
                <a:custGeom>
                  <a:avLst/>
                  <a:gdLst>
                    <a:gd name="connsiteX0" fmla="*/ 0 w 236435"/>
                    <a:gd name="connsiteY0" fmla="*/ 0 h 13124"/>
                    <a:gd name="connsiteX1" fmla="*/ 236435 w 236435"/>
                    <a:gd name="connsiteY1" fmla="*/ 0 h 13124"/>
                    <a:gd name="connsiteX2" fmla="*/ 236435 w 236435"/>
                    <a:gd name="connsiteY2" fmla="*/ 13124 h 13124"/>
                    <a:gd name="connsiteX3" fmla="*/ 0 w 236435"/>
                    <a:gd name="connsiteY3" fmla="*/ 13124 h 13124"/>
                  </a:gdLst>
                  <a:ahLst/>
                  <a:cxnLst>
                    <a:cxn ang="0">
                      <a:pos x="connsiteX0" y="connsiteY0"/>
                    </a:cxn>
                    <a:cxn ang="0">
                      <a:pos x="connsiteX1" y="connsiteY1"/>
                    </a:cxn>
                    <a:cxn ang="0">
                      <a:pos x="connsiteX2" y="connsiteY2"/>
                    </a:cxn>
                    <a:cxn ang="0">
                      <a:pos x="connsiteX3" y="connsiteY3"/>
                    </a:cxn>
                  </a:cxnLst>
                  <a:rect l="l" t="t" r="r" b="b"/>
                  <a:pathLst>
                    <a:path w="236435" h="13124">
                      <a:moveTo>
                        <a:pt x="0" y="0"/>
                      </a:moveTo>
                      <a:lnTo>
                        <a:pt x="236435" y="0"/>
                      </a:lnTo>
                      <a:lnTo>
                        <a:pt x="236435"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nvGrpSpPr>
              <p:cNvPr id="635" name="Grafik 161">
                <a:extLst>
                  <a:ext uri="{FF2B5EF4-FFF2-40B4-BE49-F238E27FC236}">
                    <a16:creationId xmlns:a16="http://schemas.microsoft.com/office/drawing/2014/main" id="{C1451100-B95A-4977-8DBD-6A886BB1DB17}"/>
                  </a:ext>
                </a:extLst>
              </p:cNvPr>
              <p:cNvGrpSpPr/>
              <p:nvPr/>
            </p:nvGrpSpPr>
            <p:grpSpPr>
              <a:xfrm>
                <a:off x="1074433" y="4361653"/>
                <a:ext cx="236435" cy="78802"/>
                <a:chOff x="1074433" y="4361653"/>
                <a:chExt cx="236435" cy="78802"/>
              </a:xfrm>
              <a:solidFill>
                <a:schemeClr val="accent1"/>
              </a:solidFill>
            </p:grpSpPr>
            <p:sp>
              <p:nvSpPr>
                <p:cNvPr id="636" name="Freihandform: Form 635">
                  <a:extLst>
                    <a:ext uri="{FF2B5EF4-FFF2-40B4-BE49-F238E27FC236}">
                      <a16:creationId xmlns:a16="http://schemas.microsoft.com/office/drawing/2014/main" id="{13D3E28A-1A47-4D3A-A145-878969E3F294}"/>
                    </a:ext>
                  </a:extLst>
                </p:cNvPr>
                <p:cNvSpPr/>
                <p:nvPr/>
              </p:nvSpPr>
              <p:spPr>
                <a:xfrm>
                  <a:off x="1074433" y="4427331"/>
                  <a:ext cx="236435" cy="13124"/>
                </a:xfrm>
                <a:custGeom>
                  <a:avLst/>
                  <a:gdLst>
                    <a:gd name="connsiteX0" fmla="*/ 0 w 236435"/>
                    <a:gd name="connsiteY0" fmla="*/ 0 h 13124"/>
                    <a:gd name="connsiteX1" fmla="*/ 236435 w 236435"/>
                    <a:gd name="connsiteY1" fmla="*/ 0 h 13124"/>
                    <a:gd name="connsiteX2" fmla="*/ 236435 w 236435"/>
                    <a:gd name="connsiteY2" fmla="*/ 13124 h 13124"/>
                    <a:gd name="connsiteX3" fmla="*/ 0 w 236435"/>
                    <a:gd name="connsiteY3" fmla="*/ 13124 h 13124"/>
                  </a:gdLst>
                  <a:ahLst/>
                  <a:cxnLst>
                    <a:cxn ang="0">
                      <a:pos x="connsiteX0" y="connsiteY0"/>
                    </a:cxn>
                    <a:cxn ang="0">
                      <a:pos x="connsiteX1" y="connsiteY1"/>
                    </a:cxn>
                    <a:cxn ang="0">
                      <a:pos x="connsiteX2" y="connsiteY2"/>
                    </a:cxn>
                    <a:cxn ang="0">
                      <a:pos x="connsiteX3" y="connsiteY3"/>
                    </a:cxn>
                  </a:cxnLst>
                  <a:rect l="l" t="t" r="r" b="b"/>
                  <a:pathLst>
                    <a:path w="236435" h="13124">
                      <a:moveTo>
                        <a:pt x="0" y="0"/>
                      </a:moveTo>
                      <a:lnTo>
                        <a:pt x="236435" y="0"/>
                      </a:lnTo>
                      <a:lnTo>
                        <a:pt x="236435"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37" name="Freihandform: Form 636">
                  <a:extLst>
                    <a:ext uri="{FF2B5EF4-FFF2-40B4-BE49-F238E27FC236}">
                      <a16:creationId xmlns:a16="http://schemas.microsoft.com/office/drawing/2014/main" id="{97B39557-4426-4201-AB71-59CDA997B82E}"/>
                    </a:ext>
                  </a:extLst>
                </p:cNvPr>
                <p:cNvSpPr/>
                <p:nvPr/>
              </p:nvSpPr>
              <p:spPr>
                <a:xfrm>
                  <a:off x="1074433" y="4361653"/>
                  <a:ext cx="236435" cy="13124"/>
                </a:xfrm>
                <a:custGeom>
                  <a:avLst/>
                  <a:gdLst>
                    <a:gd name="connsiteX0" fmla="*/ 0 w 236435"/>
                    <a:gd name="connsiteY0" fmla="*/ 0 h 13124"/>
                    <a:gd name="connsiteX1" fmla="*/ 236435 w 236435"/>
                    <a:gd name="connsiteY1" fmla="*/ 0 h 13124"/>
                    <a:gd name="connsiteX2" fmla="*/ 236435 w 236435"/>
                    <a:gd name="connsiteY2" fmla="*/ 13124 h 13124"/>
                    <a:gd name="connsiteX3" fmla="*/ 0 w 236435"/>
                    <a:gd name="connsiteY3" fmla="*/ 13124 h 13124"/>
                  </a:gdLst>
                  <a:ahLst/>
                  <a:cxnLst>
                    <a:cxn ang="0">
                      <a:pos x="connsiteX0" y="connsiteY0"/>
                    </a:cxn>
                    <a:cxn ang="0">
                      <a:pos x="connsiteX1" y="connsiteY1"/>
                    </a:cxn>
                    <a:cxn ang="0">
                      <a:pos x="connsiteX2" y="connsiteY2"/>
                    </a:cxn>
                    <a:cxn ang="0">
                      <a:pos x="connsiteX3" y="connsiteY3"/>
                    </a:cxn>
                  </a:cxnLst>
                  <a:rect l="l" t="t" r="r" b="b"/>
                  <a:pathLst>
                    <a:path w="236435" h="13124">
                      <a:moveTo>
                        <a:pt x="0" y="0"/>
                      </a:moveTo>
                      <a:lnTo>
                        <a:pt x="236435" y="0"/>
                      </a:lnTo>
                      <a:lnTo>
                        <a:pt x="236435"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grpSp>
      <p:sp>
        <p:nvSpPr>
          <p:cNvPr id="642" name="TextBox 1423">
            <a:extLst>
              <a:ext uri="{FF2B5EF4-FFF2-40B4-BE49-F238E27FC236}">
                <a16:creationId xmlns:a16="http://schemas.microsoft.com/office/drawing/2014/main" id="{CA6985BD-0EC6-41EF-AF28-1DCD136016FF}"/>
              </a:ext>
            </a:extLst>
          </p:cNvPr>
          <p:cNvSpPr txBox="1"/>
          <p:nvPr/>
        </p:nvSpPr>
        <p:spPr>
          <a:xfrm>
            <a:off x="2748663" y="4547732"/>
            <a:ext cx="272510" cy="107722"/>
          </a:xfrm>
          <a:prstGeom prst="rect">
            <a:avLst/>
          </a:prstGeom>
          <a:noFill/>
          <a:effectLst/>
        </p:spPr>
        <p:txBody>
          <a:bodyPr wrap="none" lIns="0" tIns="0" rIns="0" bIns="0" rtlCol="0" anchor="t" anchorCtr="0">
            <a:spAutoFit/>
          </a:bodyPr>
          <a:lstStyle/>
          <a:p>
            <a:pPr algn="ctr"/>
            <a:r>
              <a:rPr lang="en-GB" sz="700" dirty="0">
                <a:solidFill>
                  <a:schemeClr val="tx2"/>
                </a:solidFill>
              </a:rPr>
              <a:t>Clients</a:t>
            </a:r>
          </a:p>
        </p:txBody>
      </p:sp>
      <p:sp>
        <p:nvSpPr>
          <p:cNvPr id="643" name="TextBox 1421">
            <a:extLst>
              <a:ext uri="{FF2B5EF4-FFF2-40B4-BE49-F238E27FC236}">
                <a16:creationId xmlns:a16="http://schemas.microsoft.com/office/drawing/2014/main" id="{E61017EC-E5B8-4A56-94BC-A8A8C30FE030}"/>
              </a:ext>
            </a:extLst>
          </p:cNvPr>
          <p:cNvSpPr txBox="1"/>
          <p:nvPr/>
        </p:nvSpPr>
        <p:spPr>
          <a:xfrm>
            <a:off x="625735" y="4547732"/>
            <a:ext cx="336631" cy="107722"/>
          </a:xfrm>
          <a:prstGeom prst="rect">
            <a:avLst/>
          </a:prstGeom>
          <a:noFill/>
          <a:effectLst/>
        </p:spPr>
        <p:txBody>
          <a:bodyPr wrap="none" lIns="0" tIns="0" rIns="0" bIns="0" rtlCol="0" anchor="t" anchorCtr="0">
            <a:spAutoFit/>
          </a:bodyPr>
          <a:lstStyle/>
          <a:p>
            <a:pPr algn="ctr"/>
            <a:r>
              <a:rPr lang="en-GB" sz="700" dirty="0">
                <a:solidFill>
                  <a:schemeClr val="tx2"/>
                </a:solidFill>
              </a:rPr>
              <a:t>Reviews</a:t>
            </a:r>
          </a:p>
        </p:txBody>
      </p:sp>
      <p:sp>
        <p:nvSpPr>
          <p:cNvPr id="644" name="TextBox 1422">
            <a:extLst>
              <a:ext uri="{FF2B5EF4-FFF2-40B4-BE49-F238E27FC236}">
                <a16:creationId xmlns:a16="http://schemas.microsoft.com/office/drawing/2014/main" id="{DB102465-2478-435B-99FD-F9F4D41010D8}"/>
              </a:ext>
            </a:extLst>
          </p:cNvPr>
          <p:cNvSpPr txBox="1"/>
          <p:nvPr/>
        </p:nvSpPr>
        <p:spPr>
          <a:xfrm>
            <a:off x="3781272" y="4547732"/>
            <a:ext cx="298159" cy="107722"/>
          </a:xfrm>
          <a:prstGeom prst="rect">
            <a:avLst/>
          </a:prstGeom>
          <a:noFill/>
          <a:effectLst/>
        </p:spPr>
        <p:txBody>
          <a:bodyPr wrap="none" lIns="0" tIns="0" rIns="0" bIns="0" rtlCol="0" anchor="t" anchorCtr="0">
            <a:spAutoFit/>
          </a:bodyPr>
          <a:lstStyle/>
          <a:p>
            <a:pPr algn="ctr"/>
            <a:r>
              <a:rPr lang="en-GB" sz="700" dirty="0">
                <a:solidFill>
                  <a:schemeClr val="tx2"/>
                </a:solidFill>
              </a:rPr>
              <a:t>Archive</a:t>
            </a:r>
          </a:p>
        </p:txBody>
      </p:sp>
      <p:sp>
        <p:nvSpPr>
          <p:cNvPr id="645" name="TextBox 1424">
            <a:extLst>
              <a:ext uri="{FF2B5EF4-FFF2-40B4-BE49-F238E27FC236}">
                <a16:creationId xmlns:a16="http://schemas.microsoft.com/office/drawing/2014/main" id="{BF00A519-6EF7-47D3-98F8-310EE7967B34}"/>
              </a:ext>
            </a:extLst>
          </p:cNvPr>
          <p:cNvSpPr txBox="1"/>
          <p:nvPr/>
        </p:nvSpPr>
        <p:spPr>
          <a:xfrm>
            <a:off x="1690405" y="4547732"/>
            <a:ext cx="298159" cy="107722"/>
          </a:xfrm>
          <a:prstGeom prst="rect">
            <a:avLst/>
          </a:prstGeom>
          <a:noFill/>
          <a:effectLst/>
        </p:spPr>
        <p:txBody>
          <a:bodyPr wrap="none" lIns="0" tIns="0" rIns="0" bIns="0" rtlCol="0" anchor="t" anchorCtr="0">
            <a:spAutoFit/>
          </a:bodyPr>
          <a:lstStyle/>
          <a:p>
            <a:pPr algn="ctr"/>
            <a:r>
              <a:rPr lang="en-GB" sz="700" dirty="0">
                <a:solidFill>
                  <a:schemeClr val="tx2"/>
                </a:solidFill>
              </a:rPr>
              <a:t>Service</a:t>
            </a:r>
          </a:p>
        </p:txBody>
      </p:sp>
      <p:grpSp>
        <p:nvGrpSpPr>
          <p:cNvPr id="646" name="Group 723">
            <a:extLst>
              <a:ext uri="{FF2B5EF4-FFF2-40B4-BE49-F238E27FC236}">
                <a16:creationId xmlns:a16="http://schemas.microsoft.com/office/drawing/2014/main" id="{C0FEE542-A89D-41CD-B56B-554DA71815E7}"/>
              </a:ext>
            </a:extLst>
          </p:cNvPr>
          <p:cNvGrpSpPr>
            <a:grpSpLocks noChangeAspect="1"/>
          </p:cNvGrpSpPr>
          <p:nvPr/>
        </p:nvGrpSpPr>
        <p:grpSpPr>
          <a:xfrm>
            <a:off x="3690824" y="1626715"/>
            <a:ext cx="479061" cy="432002"/>
            <a:chOff x="3355355" y="1626756"/>
            <a:chExt cx="534691" cy="482169"/>
          </a:xfrm>
        </p:grpSpPr>
        <p:grpSp>
          <p:nvGrpSpPr>
            <p:cNvPr id="647" name="Group 722">
              <a:extLst>
                <a:ext uri="{FF2B5EF4-FFF2-40B4-BE49-F238E27FC236}">
                  <a16:creationId xmlns:a16="http://schemas.microsoft.com/office/drawing/2014/main" id="{7F97715B-B06A-475A-8738-FF6F6D933B4F}"/>
                </a:ext>
              </a:extLst>
            </p:cNvPr>
            <p:cNvGrpSpPr/>
            <p:nvPr/>
          </p:nvGrpSpPr>
          <p:grpSpPr>
            <a:xfrm>
              <a:off x="3355355" y="1626756"/>
              <a:ext cx="534691" cy="482167"/>
              <a:chOff x="3355365" y="1626758"/>
              <a:chExt cx="534693" cy="482167"/>
            </a:xfrm>
          </p:grpSpPr>
          <p:sp>
            <p:nvSpPr>
              <p:cNvPr id="649" name="Freihandform: Form 648">
                <a:extLst>
                  <a:ext uri="{FF2B5EF4-FFF2-40B4-BE49-F238E27FC236}">
                    <a16:creationId xmlns:a16="http://schemas.microsoft.com/office/drawing/2014/main" id="{879CEE47-A351-40D5-B41C-03C7C4F9B2C4}"/>
                  </a:ext>
                </a:extLst>
              </p:cNvPr>
              <p:cNvSpPr/>
              <p:nvPr/>
            </p:nvSpPr>
            <p:spPr>
              <a:xfrm>
                <a:off x="3355365" y="1626758"/>
                <a:ext cx="534693" cy="276687"/>
              </a:xfrm>
              <a:custGeom>
                <a:avLst/>
                <a:gdLst>
                  <a:gd name="connsiteX0" fmla="*/ 9298 w 534693"/>
                  <a:gd name="connsiteY0" fmla="*/ 276687 h 276687"/>
                  <a:gd name="connsiteX1" fmla="*/ 0 w 534693"/>
                  <a:gd name="connsiteY1" fmla="*/ 267389 h 276687"/>
                  <a:gd name="connsiteX2" fmla="*/ 267390 w 534693"/>
                  <a:gd name="connsiteY2" fmla="*/ 0 h 276687"/>
                  <a:gd name="connsiteX3" fmla="*/ 534694 w 534693"/>
                  <a:gd name="connsiteY3" fmla="*/ 267304 h 276687"/>
                  <a:gd name="connsiteX4" fmla="*/ 525425 w 534693"/>
                  <a:gd name="connsiteY4" fmla="*/ 276602 h 276687"/>
                  <a:gd name="connsiteX5" fmla="*/ 267390 w 534693"/>
                  <a:gd name="connsiteY5" fmla="*/ 18567 h 27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4693" h="276687">
                    <a:moveTo>
                      <a:pt x="9298" y="276687"/>
                    </a:moveTo>
                    <a:lnTo>
                      <a:pt x="0" y="267389"/>
                    </a:lnTo>
                    <a:lnTo>
                      <a:pt x="267390" y="0"/>
                    </a:lnTo>
                    <a:lnTo>
                      <a:pt x="534694" y="267304"/>
                    </a:lnTo>
                    <a:lnTo>
                      <a:pt x="525425" y="276602"/>
                    </a:lnTo>
                    <a:lnTo>
                      <a:pt x="267390" y="18567"/>
                    </a:lnTo>
                    <a:close/>
                  </a:path>
                </a:pathLst>
              </a:custGeom>
              <a:solidFill>
                <a:schemeClr val="tx2"/>
              </a:solidFill>
              <a:ln w="2827" cap="flat">
                <a:noFill/>
                <a:prstDash val="solid"/>
                <a:miter/>
              </a:ln>
            </p:spPr>
            <p:txBody>
              <a:bodyPr rtlCol="0" anchor="ctr"/>
              <a:lstStyle/>
              <a:p>
                <a:endParaRPr lang="en-GB" dirty="0"/>
              </a:p>
            </p:txBody>
          </p:sp>
          <p:sp>
            <p:nvSpPr>
              <p:cNvPr id="650" name="Freihandform: Form 649">
                <a:extLst>
                  <a:ext uri="{FF2B5EF4-FFF2-40B4-BE49-F238E27FC236}">
                    <a16:creationId xmlns:a16="http://schemas.microsoft.com/office/drawing/2014/main" id="{8C3232FA-B46D-460B-89D4-94A5237BE432}"/>
                  </a:ext>
                </a:extLst>
              </p:cNvPr>
              <p:cNvSpPr/>
              <p:nvPr/>
            </p:nvSpPr>
            <p:spPr>
              <a:xfrm>
                <a:off x="3780331" y="1754259"/>
                <a:ext cx="59130" cy="91954"/>
              </a:xfrm>
              <a:custGeom>
                <a:avLst/>
                <a:gdLst>
                  <a:gd name="connsiteX0" fmla="*/ 59130 w 59130"/>
                  <a:gd name="connsiteY0" fmla="*/ 91955 h 91954"/>
                  <a:gd name="connsiteX1" fmla="*/ 45977 w 59130"/>
                  <a:gd name="connsiteY1" fmla="*/ 91955 h 91954"/>
                  <a:gd name="connsiteX2" fmla="*/ 45977 w 59130"/>
                  <a:gd name="connsiteY2" fmla="*/ 13153 h 91954"/>
                  <a:gd name="connsiteX3" fmla="*/ 0 w 59130"/>
                  <a:gd name="connsiteY3" fmla="*/ 13153 h 91954"/>
                  <a:gd name="connsiteX4" fmla="*/ 0 w 59130"/>
                  <a:gd name="connsiteY4" fmla="*/ 0 h 91954"/>
                  <a:gd name="connsiteX5" fmla="*/ 59130 w 59130"/>
                  <a:gd name="connsiteY5" fmla="*/ 0 h 9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30" h="91954">
                    <a:moveTo>
                      <a:pt x="59130" y="91955"/>
                    </a:moveTo>
                    <a:lnTo>
                      <a:pt x="45977" y="91955"/>
                    </a:lnTo>
                    <a:lnTo>
                      <a:pt x="45977" y="13153"/>
                    </a:lnTo>
                    <a:lnTo>
                      <a:pt x="0" y="13153"/>
                    </a:lnTo>
                    <a:lnTo>
                      <a:pt x="0" y="0"/>
                    </a:lnTo>
                    <a:lnTo>
                      <a:pt x="59130" y="0"/>
                    </a:lnTo>
                    <a:close/>
                  </a:path>
                </a:pathLst>
              </a:custGeom>
              <a:solidFill>
                <a:schemeClr val="tx2"/>
              </a:solidFill>
              <a:ln w="2827" cap="flat">
                <a:noFill/>
                <a:prstDash val="solid"/>
                <a:miter/>
              </a:ln>
            </p:spPr>
            <p:txBody>
              <a:bodyPr rtlCol="0" anchor="ctr"/>
              <a:lstStyle/>
              <a:p>
                <a:endParaRPr lang="en-GB" dirty="0"/>
              </a:p>
            </p:txBody>
          </p:sp>
          <p:sp>
            <p:nvSpPr>
              <p:cNvPr id="651" name="Freihandform: Form 650">
                <a:extLst>
                  <a:ext uri="{FF2B5EF4-FFF2-40B4-BE49-F238E27FC236}">
                    <a16:creationId xmlns:a16="http://schemas.microsoft.com/office/drawing/2014/main" id="{75E8DF0C-EBD4-4BA7-904F-9BABF422FF0C}"/>
                  </a:ext>
                </a:extLst>
              </p:cNvPr>
              <p:cNvSpPr/>
              <p:nvPr/>
            </p:nvSpPr>
            <p:spPr>
              <a:xfrm>
                <a:off x="3405991" y="1679311"/>
                <a:ext cx="433469" cy="429614"/>
              </a:xfrm>
              <a:custGeom>
                <a:avLst/>
                <a:gdLst>
                  <a:gd name="connsiteX0" fmla="*/ 433470 w 433469"/>
                  <a:gd name="connsiteY0" fmla="*/ 429615 h 429614"/>
                  <a:gd name="connsiteX1" fmla="*/ 420317 w 433469"/>
                  <a:gd name="connsiteY1" fmla="*/ 429615 h 429614"/>
                  <a:gd name="connsiteX2" fmla="*/ 420317 w 433469"/>
                  <a:gd name="connsiteY2" fmla="*/ 222149 h 429614"/>
                  <a:gd name="connsiteX3" fmla="*/ 216735 w 433469"/>
                  <a:gd name="connsiteY3" fmla="*/ 18567 h 429614"/>
                  <a:gd name="connsiteX4" fmla="*/ 13124 w 433469"/>
                  <a:gd name="connsiteY4" fmla="*/ 222149 h 429614"/>
                  <a:gd name="connsiteX5" fmla="*/ 13124 w 433469"/>
                  <a:gd name="connsiteY5" fmla="*/ 429615 h 429614"/>
                  <a:gd name="connsiteX6" fmla="*/ 0 w 433469"/>
                  <a:gd name="connsiteY6" fmla="*/ 429615 h 429614"/>
                  <a:gd name="connsiteX7" fmla="*/ 0 w 433469"/>
                  <a:gd name="connsiteY7" fmla="*/ 216735 h 429614"/>
                  <a:gd name="connsiteX8" fmla="*/ 216735 w 433469"/>
                  <a:gd name="connsiteY8" fmla="*/ 0 h 429614"/>
                  <a:gd name="connsiteX9" fmla="*/ 433470 w 433469"/>
                  <a:gd name="connsiteY9" fmla="*/ 216735 h 42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3469" h="429614">
                    <a:moveTo>
                      <a:pt x="433470" y="429615"/>
                    </a:moveTo>
                    <a:lnTo>
                      <a:pt x="420317" y="429615"/>
                    </a:lnTo>
                    <a:lnTo>
                      <a:pt x="420317" y="222149"/>
                    </a:lnTo>
                    <a:lnTo>
                      <a:pt x="216735" y="18567"/>
                    </a:lnTo>
                    <a:lnTo>
                      <a:pt x="13124" y="222149"/>
                    </a:lnTo>
                    <a:lnTo>
                      <a:pt x="13124" y="429615"/>
                    </a:lnTo>
                    <a:lnTo>
                      <a:pt x="0" y="429615"/>
                    </a:lnTo>
                    <a:lnTo>
                      <a:pt x="0" y="216735"/>
                    </a:lnTo>
                    <a:lnTo>
                      <a:pt x="216735" y="0"/>
                    </a:lnTo>
                    <a:lnTo>
                      <a:pt x="433470" y="216735"/>
                    </a:lnTo>
                    <a:close/>
                  </a:path>
                </a:pathLst>
              </a:custGeom>
              <a:solidFill>
                <a:schemeClr val="tx2"/>
              </a:solidFill>
              <a:ln w="2827" cap="flat">
                <a:noFill/>
                <a:prstDash val="solid"/>
                <a:miter/>
              </a:ln>
            </p:spPr>
            <p:txBody>
              <a:bodyPr rtlCol="0" anchor="ctr"/>
              <a:lstStyle/>
              <a:p>
                <a:endParaRPr lang="en-GB" dirty="0"/>
              </a:p>
            </p:txBody>
          </p:sp>
        </p:grpSp>
        <p:sp>
          <p:nvSpPr>
            <p:cNvPr id="648" name="Freihandform: Form 647">
              <a:extLst>
                <a:ext uri="{FF2B5EF4-FFF2-40B4-BE49-F238E27FC236}">
                  <a16:creationId xmlns:a16="http://schemas.microsoft.com/office/drawing/2014/main" id="{02BAC66C-1645-468C-AD28-84CF354AB96A}"/>
                </a:ext>
              </a:extLst>
            </p:cNvPr>
            <p:cNvSpPr/>
            <p:nvPr/>
          </p:nvSpPr>
          <p:spPr>
            <a:xfrm>
              <a:off x="3550471" y="1970993"/>
              <a:ext cx="144480" cy="137932"/>
            </a:xfrm>
            <a:custGeom>
              <a:avLst/>
              <a:gdLst>
                <a:gd name="connsiteX0" fmla="*/ 144480 w 144480"/>
                <a:gd name="connsiteY0" fmla="*/ 137933 h 137932"/>
                <a:gd name="connsiteX1" fmla="*/ 131356 w 144480"/>
                <a:gd name="connsiteY1" fmla="*/ 137933 h 137932"/>
                <a:gd name="connsiteX2" fmla="*/ 131356 w 144480"/>
                <a:gd name="connsiteY2" fmla="*/ 13153 h 137932"/>
                <a:gd name="connsiteX3" fmla="*/ 13124 w 144480"/>
                <a:gd name="connsiteY3" fmla="*/ 13153 h 137932"/>
                <a:gd name="connsiteX4" fmla="*/ 13124 w 144480"/>
                <a:gd name="connsiteY4" fmla="*/ 137933 h 137932"/>
                <a:gd name="connsiteX5" fmla="*/ 0 w 144480"/>
                <a:gd name="connsiteY5" fmla="*/ 137933 h 137932"/>
                <a:gd name="connsiteX6" fmla="*/ 0 w 144480"/>
                <a:gd name="connsiteY6" fmla="*/ 0 h 137932"/>
                <a:gd name="connsiteX7" fmla="*/ 144480 w 144480"/>
                <a:gd name="connsiteY7" fmla="*/ 0 h 137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480" h="137932">
                  <a:moveTo>
                    <a:pt x="144480" y="137933"/>
                  </a:moveTo>
                  <a:lnTo>
                    <a:pt x="131356" y="137933"/>
                  </a:lnTo>
                  <a:lnTo>
                    <a:pt x="131356" y="13153"/>
                  </a:lnTo>
                  <a:lnTo>
                    <a:pt x="13124" y="13153"/>
                  </a:lnTo>
                  <a:lnTo>
                    <a:pt x="13124" y="137933"/>
                  </a:lnTo>
                  <a:lnTo>
                    <a:pt x="0" y="137933"/>
                  </a:lnTo>
                  <a:lnTo>
                    <a:pt x="0" y="0"/>
                  </a:lnTo>
                  <a:lnTo>
                    <a:pt x="144480" y="0"/>
                  </a:lnTo>
                  <a:close/>
                </a:path>
              </a:pathLst>
            </a:custGeom>
            <a:solidFill>
              <a:schemeClr val="accent1"/>
            </a:solidFill>
            <a:ln w="2827" cap="flat">
              <a:noFill/>
              <a:prstDash val="solid"/>
              <a:miter/>
            </a:ln>
          </p:spPr>
          <p:txBody>
            <a:bodyPr rtlCol="0" anchor="ctr"/>
            <a:lstStyle/>
            <a:p>
              <a:endParaRPr lang="en-GB" dirty="0"/>
            </a:p>
          </p:txBody>
        </p:sp>
      </p:grpSp>
      <p:grpSp>
        <p:nvGrpSpPr>
          <p:cNvPr id="652" name="Group 721">
            <a:extLst>
              <a:ext uri="{FF2B5EF4-FFF2-40B4-BE49-F238E27FC236}">
                <a16:creationId xmlns:a16="http://schemas.microsoft.com/office/drawing/2014/main" id="{D9692606-304D-4F49-B5CD-FACB440710F4}"/>
              </a:ext>
            </a:extLst>
          </p:cNvPr>
          <p:cNvGrpSpPr>
            <a:grpSpLocks noChangeAspect="1"/>
          </p:cNvGrpSpPr>
          <p:nvPr/>
        </p:nvGrpSpPr>
        <p:grpSpPr>
          <a:xfrm>
            <a:off x="2668904" y="1626716"/>
            <a:ext cx="432025" cy="432000"/>
            <a:chOff x="2552202" y="1629476"/>
            <a:chExt cx="486051" cy="486022"/>
          </a:xfrm>
        </p:grpSpPr>
        <p:grpSp>
          <p:nvGrpSpPr>
            <p:cNvPr id="653" name="Group 720">
              <a:extLst>
                <a:ext uri="{FF2B5EF4-FFF2-40B4-BE49-F238E27FC236}">
                  <a16:creationId xmlns:a16="http://schemas.microsoft.com/office/drawing/2014/main" id="{4B840D93-DE99-4A02-9C1D-86BA4018B683}"/>
                </a:ext>
              </a:extLst>
            </p:cNvPr>
            <p:cNvGrpSpPr/>
            <p:nvPr/>
          </p:nvGrpSpPr>
          <p:grpSpPr>
            <a:xfrm>
              <a:off x="2552202" y="1629476"/>
              <a:ext cx="486051" cy="486022"/>
              <a:chOff x="2552204" y="1629479"/>
              <a:chExt cx="486051" cy="486023"/>
            </a:xfrm>
          </p:grpSpPr>
          <p:sp>
            <p:nvSpPr>
              <p:cNvPr id="660" name="Freihandform: Form 659">
                <a:extLst>
                  <a:ext uri="{FF2B5EF4-FFF2-40B4-BE49-F238E27FC236}">
                    <a16:creationId xmlns:a16="http://schemas.microsoft.com/office/drawing/2014/main" id="{361560BA-93D7-4250-8F5D-6E40FA8D86A9}"/>
                  </a:ext>
                </a:extLst>
              </p:cNvPr>
              <p:cNvSpPr/>
              <p:nvPr/>
            </p:nvSpPr>
            <p:spPr>
              <a:xfrm>
                <a:off x="2552204" y="1629479"/>
                <a:ext cx="486051" cy="486023"/>
              </a:xfrm>
              <a:custGeom>
                <a:avLst/>
                <a:gdLst>
                  <a:gd name="connsiteX0" fmla="*/ 420317 w 486051"/>
                  <a:gd name="connsiteY0" fmla="*/ 486024 h 486023"/>
                  <a:gd name="connsiteX1" fmla="*/ 354639 w 486051"/>
                  <a:gd name="connsiteY1" fmla="*/ 420345 h 486023"/>
                  <a:gd name="connsiteX2" fmla="*/ 354639 w 486051"/>
                  <a:gd name="connsiteY2" fmla="*/ 13124 h 486023"/>
                  <a:gd name="connsiteX3" fmla="*/ 13124 w 486051"/>
                  <a:gd name="connsiteY3" fmla="*/ 13124 h 486023"/>
                  <a:gd name="connsiteX4" fmla="*/ 13124 w 486051"/>
                  <a:gd name="connsiteY4" fmla="*/ 420317 h 486023"/>
                  <a:gd name="connsiteX5" fmla="*/ 65678 w 486051"/>
                  <a:gd name="connsiteY5" fmla="*/ 472871 h 486023"/>
                  <a:gd name="connsiteX6" fmla="*/ 348091 w 486051"/>
                  <a:gd name="connsiteY6" fmla="*/ 472871 h 486023"/>
                  <a:gd name="connsiteX7" fmla="*/ 348091 w 486051"/>
                  <a:gd name="connsiteY7" fmla="*/ 485995 h 486023"/>
                  <a:gd name="connsiteX8" fmla="*/ 65678 w 486051"/>
                  <a:gd name="connsiteY8" fmla="*/ 485995 h 486023"/>
                  <a:gd name="connsiteX9" fmla="*/ 0 w 486051"/>
                  <a:gd name="connsiteY9" fmla="*/ 420317 h 486023"/>
                  <a:gd name="connsiteX10" fmla="*/ 0 w 486051"/>
                  <a:gd name="connsiteY10" fmla="*/ 0 h 486023"/>
                  <a:gd name="connsiteX11" fmla="*/ 367792 w 486051"/>
                  <a:gd name="connsiteY11" fmla="*/ 0 h 486023"/>
                  <a:gd name="connsiteX12" fmla="*/ 367792 w 486051"/>
                  <a:gd name="connsiteY12" fmla="*/ 420345 h 486023"/>
                  <a:gd name="connsiteX13" fmla="*/ 420345 w 486051"/>
                  <a:gd name="connsiteY13" fmla="*/ 472899 h 486023"/>
                  <a:gd name="connsiteX14" fmla="*/ 472899 w 486051"/>
                  <a:gd name="connsiteY14" fmla="*/ 420345 h 486023"/>
                  <a:gd name="connsiteX15" fmla="*/ 472899 w 486051"/>
                  <a:gd name="connsiteY15" fmla="*/ 249560 h 486023"/>
                  <a:gd name="connsiteX16" fmla="*/ 440074 w 486051"/>
                  <a:gd name="connsiteY16" fmla="*/ 249560 h 486023"/>
                  <a:gd name="connsiteX17" fmla="*/ 440074 w 486051"/>
                  <a:gd name="connsiteY17" fmla="*/ 236435 h 486023"/>
                  <a:gd name="connsiteX18" fmla="*/ 486052 w 486051"/>
                  <a:gd name="connsiteY18" fmla="*/ 236435 h 486023"/>
                  <a:gd name="connsiteX19" fmla="*/ 486052 w 486051"/>
                  <a:gd name="connsiteY19" fmla="*/ 420345 h 486023"/>
                  <a:gd name="connsiteX20" fmla="*/ 420317 w 486051"/>
                  <a:gd name="connsiteY20" fmla="*/ 486024 h 486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86051" h="486023">
                    <a:moveTo>
                      <a:pt x="420317" y="486024"/>
                    </a:moveTo>
                    <a:cubicBezTo>
                      <a:pt x="384091" y="486024"/>
                      <a:pt x="354639" y="456572"/>
                      <a:pt x="354639" y="420345"/>
                    </a:cubicBezTo>
                    <a:lnTo>
                      <a:pt x="354639" y="13124"/>
                    </a:lnTo>
                    <a:lnTo>
                      <a:pt x="13124" y="13124"/>
                    </a:lnTo>
                    <a:lnTo>
                      <a:pt x="13124" y="420317"/>
                    </a:lnTo>
                    <a:cubicBezTo>
                      <a:pt x="13124" y="449287"/>
                      <a:pt x="36708" y="472871"/>
                      <a:pt x="65678" y="472871"/>
                    </a:cubicBezTo>
                    <a:lnTo>
                      <a:pt x="348091" y="472871"/>
                    </a:lnTo>
                    <a:lnTo>
                      <a:pt x="348091" y="485995"/>
                    </a:lnTo>
                    <a:lnTo>
                      <a:pt x="65678" y="485995"/>
                    </a:lnTo>
                    <a:cubicBezTo>
                      <a:pt x="29452" y="485995"/>
                      <a:pt x="0" y="456544"/>
                      <a:pt x="0" y="420317"/>
                    </a:cubicBezTo>
                    <a:lnTo>
                      <a:pt x="0" y="0"/>
                    </a:lnTo>
                    <a:lnTo>
                      <a:pt x="367792" y="0"/>
                    </a:lnTo>
                    <a:lnTo>
                      <a:pt x="367792" y="420345"/>
                    </a:lnTo>
                    <a:cubicBezTo>
                      <a:pt x="367792" y="449315"/>
                      <a:pt x="391376" y="472899"/>
                      <a:pt x="420345" y="472899"/>
                    </a:cubicBezTo>
                    <a:cubicBezTo>
                      <a:pt x="449315" y="472899"/>
                      <a:pt x="472899" y="449315"/>
                      <a:pt x="472899" y="420345"/>
                    </a:cubicBezTo>
                    <a:lnTo>
                      <a:pt x="472899" y="249560"/>
                    </a:lnTo>
                    <a:lnTo>
                      <a:pt x="440074" y="249560"/>
                    </a:lnTo>
                    <a:lnTo>
                      <a:pt x="440074" y="236435"/>
                    </a:lnTo>
                    <a:lnTo>
                      <a:pt x="486052" y="236435"/>
                    </a:lnTo>
                    <a:lnTo>
                      <a:pt x="486052" y="420345"/>
                    </a:lnTo>
                    <a:cubicBezTo>
                      <a:pt x="485995" y="456544"/>
                      <a:pt x="456515" y="486024"/>
                      <a:pt x="420317" y="486024"/>
                    </a:cubicBezTo>
                    <a:close/>
                  </a:path>
                </a:pathLst>
              </a:custGeom>
              <a:solidFill>
                <a:schemeClr val="tx2"/>
              </a:solidFill>
              <a:ln w="2827" cap="flat">
                <a:noFill/>
                <a:prstDash val="solid"/>
                <a:miter/>
              </a:ln>
            </p:spPr>
            <p:txBody>
              <a:bodyPr rtlCol="0" anchor="ctr"/>
              <a:lstStyle/>
              <a:p>
                <a:endParaRPr lang="en-GB" dirty="0"/>
              </a:p>
            </p:txBody>
          </p:sp>
          <p:sp>
            <p:nvSpPr>
              <p:cNvPr id="661" name="Freihandform: Form 660">
                <a:extLst>
                  <a:ext uri="{FF2B5EF4-FFF2-40B4-BE49-F238E27FC236}">
                    <a16:creationId xmlns:a16="http://schemas.microsoft.com/office/drawing/2014/main" id="{15C231D8-3329-46FC-8DBD-D3B035AA554C}"/>
                  </a:ext>
                </a:extLst>
              </p:cNvPr>
              <p:cNvSpPr/>
              <p:nvPr/>
            </p:nvSpPr>
            <p:spPr>
              <a:xfrm>
                <a:off x="2933120" y="1760835"/>
                <a:ext cx="45949" cy="288989"/>
              </a:xfrm>
              <a:custGeom>
                <a:avLst/>
                <a:gdLst>
                  <a:gd name="connsiteX0" fmla="*/ 45949 w 45949"/>
                  <a:gd name="connsiteY0" fmla="*/ 288989 h 288989"/>
                  <a:gd name="connsiteX1" fmla="*/ 32825 w 45949"/>
                  <a:gd name="connsiteY1" fmla="*/ 288989 h 288989"/>
                  <a:gd name="connsiteX2" fmla="*/ 32825 w 45949"/>
                  <a:gd name="connsiteY2" fmla="*/ 13124 h 288989"/>
                  <a:gd name="connsiteX3" fmla="*/ 0 w 45949"/>
                  <a:gd name="connsiteY3" fmla="*/ 13124 h 288989"/>
                  <a:gd name="connsiteX4" fmla="*/ 0 w 45949"/>
                  <a:gd name="connsiteY4" fmla="*/ 0 h 288989"/>
                  <a:gd name="connsiteX5" fmla="*/ 45949 w 45949"/>
                  <a:gd name="connsiteY5" fmla="*/ 0 h 288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949" h="288989">
                    <a:moveTo>
                      <a:pt x="45949" y="288989"/>
                    </a:moveTo>
                    <a:lnTo>
                      <a:pt x="32825" y="288989"/>
                    </a:lnTo>
                    <a:lnTo>
                      <a:pt x="32825" y="13124"/>
                    </a:lnTo>
                    <a:lnTo>
                      <a:pt x="0" y="13124"/>
                    </a:lnTo>
                    <a:lnTo>
                      <a:pt x="0" y="0"/>
                    </a:lnTo>
                    <a:lnTo>
                      <a:pt x="45949" y="0"/>
                    </a:lnTo>
                    <a:close/>
                  </a:path>
                </a:pathLst>
              </a:custGeom>
              <a:solidFill>
                <a:schemeClr val="tx2"/>
              </a:solidFill>
              <a:ln w="2827" cap="flat">
                <a:noFill/>
                <a:prstDash val="solid"/>
                <a:miter/>
              </a:ln>
            </p:spPr>
            <p:txBody>
              <a:bodyPr rtlCol="0" anchor="ctr"/>
              <a:lstStyle/>
              <a:p>
                <a:endParaRPr lang="en-GB" dirty="0"/>
              </a:p>
            </p:txBody>
          </p:sp>
        </p:grpSp>
        <p:grpSp>
          <p:nvGrpSpPr>
            <p:cNvPr id="654" name="Group 719">
              <a:extLst>
                <a:ext uri="{FF2B5EF4-FFF2-40B4-BE49-F238E27FC236}">
                  <a16:creationId xmlns:a16="http://schemas.microsoft.com/office/drawing/2014/main" id="{F3C92641-5A27-44AF-8AA2-DF6BDC12CB69}"/>
                </a:ext>
              </a:extLst>
            </p:cNvPr>
            <p:cNvGrpSpPr/>
            <p:nvPr/>
          </p:nvGrpSpPr>
          <p:grpSpPr>
            <a:xfrm>
              <a:off x="2611277" y="1760835"/>
              <a:ext cx="249559" cy="223281"/>
              <a:chOff x="2611277" y="1760835"/>
              <a:chExt cx="249559" cy="223282"/>
            </a:xfrm>
          </p:grpSpPr>
          <p:grpSp>
            <p:nvGrpSpPr>
              <p:cNvPr id="655" name="Grafik 161">
                <a:extLst>
                  <a:ext uri="{FF2B5EF4-FFF2-40B4-BE49-F238E27FC236}">
                    <a16:creationId xmlns:a16="http://schemas.microsoft.com/office/drawing/2014/main" id="{1E57637B-CAAA-4D5D-A816-876D461BFBDB}"/>
                  </a:ext>
                </a:extLst>
              </p:cNvPr>
              <p:cNvGrpSpPr/>
              <p:nvPr/>
            </p:nvGrpSpPr>
            <p:grpSpPr>
              <a:xfrm>
                <a:off x="2611277" y="1865914"/>
                <a:ext cx="249559" cy="118203"/>
                <a:chOff x="2611277" y="1865914"/>
                <a:chExt cx="249559" cy="118203"/>
              </a:xfrm>
              <a:solidFill>
                <a:schemeClr val="accent1"/>
              </a:solidFill>
            </p:grpSpPr>
            <p:sp>
              <p:nvSpPr>
                <p:cNvPr id="657" name="Freihandform: Form 656">
                  <a:extLst>
                    <a:ext uri="{FF2B5EF4-FFF2-40B4-BE49-F238E27FC236}">
                      <a16:creationId xmlns:a16="http://schemas.microsoft.com/office/drawing/2014/main" id="{66966768-0902-4A8B-AA81-E2EC4C15852F}"/>
                    </a:ext>
                  </a:extLst>
                </p:cNvPr>
                <p:cNvSpPr/>
                <p:nvPr/>
              </p:nvSpPr>
              <p:spPr>
                <a:xfrm>
                  <a:off x="2611277" y="1970993"/>
                  <a:ext cx="249559" cy="13124"/>
                </a:xfrm>
                <a:custGeom>
                  <a:avLst/>
                  <a:gdLst>
                    <a:gd name="connsiteX0" fmla="*/ 0 w 249559"/>
                    <a:gd name="connsiteY0" fmla="*/ 0 h 13124"/>
                    <a:gd name="connsiteX1" fmla="*/ 249560 w 249559"/>
                    <a:gd name="connsiteY1" fmla="*/ 0 h 13124"/>
                    <a:gd name="connsiteX2" fmla="*/ 249560 w 249559"/>
                    <a:gd name="connsiteY2" fmla="*/ 13124 h 13124"/>
                    <a:gd name="connsiteX3" fmla="*/ 0 w 249559"/>
                    <a:gd name="connsiteY3" fmla="*/ 13124 h 13124"/>
                  </a:gdLst>
                  <a:ahLst/>
                  <a:cxnLst>
                    <a:cxn ang="0">
                      <a:pos x="connsiteX0" y="connsiteY0"/>
                    </a:cxn>
                    <a:cxn ang="0">
                      <a:pos x="connsiteX1" y="connsiteY1"/>
                    </a:cxn>
                    <a:cxn ang="0">
                      <a:pos x="connsiteX2" y="connsiteY2"/>
                    </a:cxn>
                    <a:cxn ang="0">
                      <a:pos x="connsiteX3" y="connsiteY3"/>
                    </a:cxn>
                  </a:cxnLst>
                  <a:rect l="l" t="t" r="r" b="b"/>
                  <a:pathLst>
                    <a:path w="249559" h="13124">
                      <a:moveTo>
                        <a:pt x="0" y="0"/>
                      </a:moveTo>
                      <a:lnTo>
                        <a:pt x="249560" y="0"/>
                      </a:lnTo>
                      <a:lnTo>
                        <a:pt x="249560"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58" name="Freihandform: Form 657">
                  <a:extLst>
                    <a:ext uri="{FF2B5EF4-FFF2-40B4-BE49-F238E27FC236}">
                      <a16:creationId xmlns:a16="http://schemas.microsoft.com/office/drawing/2014/main" id="{329829D7-6B5A-4EB7-B5BA-282E405FE8B2}"/>
                    </a:ext>
                  </a:extLst>
                </p:cNvPr>
                <p:cNvSpPr/>
                <p:nvPr/>
              </p:nvSpPr>
              <p:spPr>
                <a:xfrm>
                  <a:off x="2611277" y="1918468"/>
                  <a:ext cx="249559" cy="13124"/>
                </a:xfrm>
                <a:custGeom>
                  <a:avLst/>
                  <a:gdLst>
                    <a:gd name="connsiteX0" fmla="*/ 0 w 249559"/>
                    <a:gd name="connsiteY0" fmla="*/ 0 h 13124"/>
                    <a:gd name="connsiteX1" fmla="*/ 249560 w 249559"/>
                    <a:gd name="connsiteY1" fmla="*/ 0 h 13124"/>
                    <a:gd name="connsiteX2" fmla="*/ 249560 w 249559"/>
                    <a:gd name="connsiteY2" fmla="*/ 13124 h 13124"/>
                    <a:gd name="connsiteX3" fmla="*/ 0 w 249559"/>
                    <a:gd name="connsiteY3" fmla="*/ 13124 h 13124"/>
                  </a:gdLst>
                  <a:ahLst/>
                  <a:cxnLst>
                    <a:cxn ang="0">
                      <a:pos x="connsiteX0" y="connsiteY0"/>
                    </a:cxn>
                    <a:cxn ang="0">
                      <a:pos x="connsiteX1" y="connsiteY1"/>
                    </a:cxn>
                    <a:cxn ang="0">
                      <a:pos x="connsiteX2" y="connsiteY2"/>
                    </a:cxn>
                    <a:cxn ang="0">
                      <a:pos x="connsiteX3" y="connsiteY3"/>
                    </a:cxn>
                  </a:cxnLst>
                  <a:rect l="l" t="t" r="r" b="b"/>
                  <a:pathLst>
                    <a:path w="249559" h="13124">
                      <a:moveTo>
                        <a:pt x="0" y="0"/>
                      </a:moveTo>
                      <a:lnTo>
                        <a:pt x="249560" y="0"/>
                      </a:lnTo>
                      <a:lnTo>
                        <a:pt x="249560"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59" name="Freihandform: Form 658">
                  <a:extLst>
                    <a:ext uri="{FF2B5EF4-FFF2-40B4-BE49-F238E27FC236}">
                      <a16:creationId xmlns:a16="http://schemas.microsoft.com/office/drawing/2014/main" id="{F7CF33D5-5344-4742-A1C9-2C99B343F0FD}"/>
                    </a:ext>
                  </a:extLst>
                </p:cNvPr>
                <p:cNvSpPr/>
                <p:nvPr/>
              </p:nvSpPr>
              <p:spPr>
                <a:xfrm>
                  <a:off x="2611277" y="1865914"/>
                  <a:ext cx="249559" cy="13124"/>
                </a:xfrm>
                <a:custGeom>
                  <a:avLst/>
                  <a:gdLst>
                    <a:gd name="connsiteX0" fmla="*/ 0 w 249559"/>
                    <a:gd name="connsiteY0" fmla="*/ 0 h 13124"/>
                    <a:gd name="connsiteX1" fmla="*/ 249560 w 249559"/>
                    <a:gd name="connsiteY1" fmla="*/ 0 h 13124"/>
                    <a:gd name="connsiteX2" fmla="*/ 249560 w 249559"/>
                    <a:gd name="connsiteY2" fmla="*/ 13124 h 13124"/>
                    <a:gd name="connsiteX3" fmla="*/ 0 w 249559"/>
                    <a:gd name="connsiteY3" fmla="*/ 13124 h 13124"/>
                  </a:gdLst>
                  <a:ahLst/>
                  <a:cxnLst>
                    <a:cxn ang="0">
                      <a:pos x="connsiteX0" y="connsiteY0"/>
                    </a:cxn>
                    <a:cxn ang="0">
                      <a:pos x="connsiteX1" y="connsiteY1"/>
                    </a:cxn>
                    <a:cxn ang="0">
                      <a:pos x="connsiteX2" y="connsiteY2"/>
                    </a:cxn>
                    <a:cxn ang="0">
                      <a:pos x="connsiteX3" y="connsiteY3"/>
                    </a:cxn>
                  </a:cxnLst>
                  <a:rect l="l" t="t" r="r" b="b"/>
                  <a:pathLst>
                    <a:path w="249559" h="13124">
                      <a:moveTo>
                        <a:pt x="0" y="0"/>
                      </a:moveTo>
                      <a:lnTo>
                        <a:pt x="249560" y="0"/>
                      </a:lnTo>
                      <a:lnTo>
                        <a:pt x="249560" y="13124"/>
                      </a:lnTo>
                      <a:lnTo>
                        <a:pt x="0" y="13124"/>
                      </a:lnTo>
                      <a:close/>
                    </a:path>
                  </a:pathLst>
                </a:custGeom>
                <a:solidFill>
                  <a:schemeClr val="accent1"/>
                </a:solidFill>
                <a:ln w="2827" cap="flat">
                  <a:noFill/>
                  <a:prstDash val="solid"/>
                  <a:miter/>
                </a:ln>
              </p:spPr>
              <p:txBody>
                <a:bodyPr rtlCol="0" anchor="ctr"/>
                <a:lstStyle/>
                <a:p>
                  <a:endParaRPr lang="en-GB" dirty="0"/>
                </a:p>
              </p:txBody>
            </p:sp>
          </p:grpSp>
          <p:sp>
            <p:nvSpPr>
              <p:cNvPr id="656" name="Freihandform: Form 655">
                <a:extLst>
                  <a:ext uri="{FF2B5EF4-FFF2-40B4-BE49-F238E27FC236}">
                    <a16:creationId xmlns:a16="http://schemas.microsoft.com/office/drawing/2014/main" id="{B1E9C471-B075-4C7B-9AF3-44A890862FD3}"/>
                  </a:ext>
                </a:extLst>
              </p:cNvPr>
              <p:cNvSpPr/>
              <p:nvPr/>
            </p:nvSpPr>
            <p:spPr>
              <a:xfrm>
                <a:off x="2676955" y="1760835"/>
                <a:ext cx="118231" cy="13124"/>
              </a:xfrm>
              <a:custGeom>
                <a:avLst/>
                <a:gdLst>
                  <a:gd name="connsiteX0" fmla="*/ 0 w 118231"/>
                  <a:gd name="connsiteY0" fmla="*/ 0 h 13124"/>
                  <a:gd name="connsiteX1" fmla="*/ 118232 w 118231"/>
                  <a:gd name="connsiteY1" fmla="*/ 0 h 13124"/>
                  <a:gd name="connsiteX2" fmla="*/ 118232 w 118231"/>
                  <a:gd name="connsiteY2" fmla="*/ 13124 h 13124"/>
                  <a:gd name="connsiteX3" fmla="*/ 0 w 118231"/>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18231" h="13124">
                    <a:moveTo>
                      <a:pt x="0" y="0"/>
                    </a:moveTo>
                    <a:lnTo>
                      <a:pt x="118232" y="0"/>
                    </a:lnTo>
                    <a:lnTo>
                      <a:pt x="118232"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grpSp>
        <p:nvGrpSpPr>
          <p:cNvPr id="662" name="Group 718">
            <a:extLst>
              <a:ext uri="{FF2B5EF4-FFF2-40B4-BE49-F238E27FC236}">
                <a16:creationId xmlns:a16="http://schemas.microsoft.com/office/drawing/2014/main" id="{B00C6828-C48C-4F4B-B279-009FE8940880}"/>
              </a:ext>
            </a:extLst>
          </p:cNvPr>
          <p:cNvGrpSpPr>
            <a:grpSpLocks noChangeAspect="1"/>
          </p:cNvGrpSpPr>
          <p:nvPr/>
        </p:nvGrpSpPr>
        <p:grpSpPr>
          <a:xfrm>
            <a:off x="1623485" y="1626715"/>
            <a:ext cx="432001" cy="432000"/>
            <a:chOff x="1718094" y="1629475"/>
            <a:chExt cx="486024" cy="486021"/>
          </a:xfrm>
        </p:grpSpPr>
        <p:grpSp>
          <p:nvGrpSpPr>
            <p:cNvPr id="663" name="Group 717">
              <a:extLst>
                <a:ext uri="{FF2B5EF4-FFF2-40B4-BE49-F238E27FC236}">
                  <a16:creationId xmlns:a16="http://schemas.microsoft.com/office/drawing/2014/main" id="{F82DC90E-37B5-46BD-A7A7-0A7C11E04DED}"/>
                </a:ext>
              </a:extLst>
            </p:cNvPr>
            <p:cNvGrpSpPr/>
            <p:nvPr/>
          </p:nvGrpSpPr>
          <p:grpSpPr>
            <a:xfrm>
              <a:off x="1718094" y="1629475"/>
              <a:ext cx="486024" cy="486021"/>
              <a:chOff x="1718089" y="1629479"/>
              <a:chExt cx="486023" cy="486022"/>
            </a:xfrm>
          </p:grpSpPr>
          <p:sp>
            <p:nvSpPr>
              <p:cNvPr id="665" name="Freihandform: Form 664">
                <a:extLst>
                  <a:ext uri="{FF2B5EF4-FFF2-40B4-BE49-F238E27FC236}">
                    <a16:creationId xmlns:a16="http://schemas.microsoft.com/office/drawing/2014/main" id="{CD9C489D-436F-4646-AFF0-7C3E350217FF}"/>
                  </a:ext>
                </a:extLst>
              </p:cNvPr>
              <p:cNvSpPr/>
              <p:nvPr/>
            </p:nvSpPr>
            <p:spPr>
              <a:xfrm>
                <a:off x="1934796" y="1629479"/>
                <a:ext cx="52553" cy="65678"/>
              </a:xfrm>
              <a:custGeom>
                <a:avLst/>
                <a:gdLst>
                  <a:gd name="connsiteX0" fmla="*/ 52554 w 52553"/>
                  <a:gd name="connsiteY0" fmla="*/ 65678 h 65678"/>
                  <a:gd name="connsiteX1" fmla="*/ 0 w 52553"/>
                  <a:gd name="connsiteY1" fmla="*/ 65678 h 65678"/>
                  <a:gd name="connsiteX2" fmla="*/ 0 w 52553"/>
                  <a:gd name="connsiteY2" fmla="*/ 0 h 65678"/>
                  <a:gd name="connsiteX3" fmla="*/ 52554 w 52553"/>
                  <a:gd name="connsiteY3" fmla="*/ 0 h 65678"/>
                  <a:gd name="connsiteX4" fmla="*/ 52554 w 52553"/>
                  <a:gd name="connsiteY4" fmla="*/ 65678 h 65678"/>
                  <a:gd name="connsiteX5" fmla="*/ 13153 w 52553"/>
                  <a:gd name="connsiteY5" fmla="*/ 52554 h 65678"/>
                  <a:gd name="connsiteX6" fmla="*/ 39430 w 52553"/>
                  <a:gd name="connsiteY6" fmla="*/ 52554 h 65678"/>
                  <a:gd name="connsiteX7" fmla="*/ 39430 w 52553"/>
                  <a:gd name="connsiteY7" fmla="*/ 13124 h 65678"/>
                  <a:gd name="connsiteX8" fmla="*/ 13153 w 52553"/>
                  <a:gd name="connsiteY8" fmla="*/ 13124 h 65678"/>
                  <a:gd name="connsiteX9" fmla="*/ 13153 w 52553"/>
                  <a:gd name="connsiteY9" fmla="*/ 52554 h 6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53" h="65678">
                    <a:moveTo>
                      <a:pt x="52554" y="65678"/>
                    </a:moveTo>
                    <a:lnTo>
                      <a:pt x="0" y="65678"/>
                    </a:lnTo>
                    <a:lnTo>
                      <a:pt x="0" y="0"/>
                    </a:lnTo>
                    <a:lnTo>
                      <a:pt x="52554" y="0"/>
                    </a:lnTo>
                    <a:lnTo>
                      <a:pt x="52554" y="65678"/>
                    </a:lnTo>
                    <a:close/>
                    <a:moveTo>
                      <a:pt x="13153" y="52554"/>
                    </a:moveTo>
                    <a:lnTo>
                      <a:pt x="39430" y="52554"/>
                    </a:lnTo>
                    <a:lnTo>
                      <a:pt x="39430" y="13124"/>
                    </a:lnTo>
                    <a:lnTo>
                      <a:pt x="13153" y="13124"/>
                    </a:lnTo>
                    <a:lnTo>
                      <a:pt x="13153" y="52554"/>
                    </a:lnTo>
                    <a:close/>
                  </a:path>
                </a:pathLst>
              </a:custGeom>
              <a:solidFill>
                <a:schemeClr val="tx2"/>
              </a:solidFill>
              <a:ln w="2827" cap="flat">
                <a:noFill/>
                <a:prstDash val="solid"/>
                <a:miter/>
              </a:ln>
            </p:spPr>
            <p:txBody>
              <a:bodyPr rtlCol="0" anchor="ctr"/>
              <a:lstStyle/>
              <a:p>
                <a:endParaRPr lang="en-GB" dirty="0"/>
              </a:p>
            </p:txBody>
          </p:sp>
          <p:sp>
            <p:nvSpPr>
              <p:cNvPr id="666" name="Freihandform: Form 665">
                <a:extLst>
                  <a:ext uri="{FF2B5EF4-FFF2-40B4-BE49-F238E27FC236}">
                    <a16:creationId xmlns:a16="http://schemas.microsoft.com/office/drawing/2014/main" id="{21DF1B29-6D82-4A2E-BB66-B83F45A552B5}"/>
                  </a:ext>
                </a:extLst>
              </p:cNvPr>
              <p:cNvSpPr/>
              <p:nvPr/>
            </p:nvSpPr>
            <p:spPr>
              <a:xfrm>
                <a:off x="2066152" y="1629479"/>
                <a:ext cx="52553" cy="65678"/>
              </a:xfrm>
              <a:custGeom>
                <a:avLst/>
                <a:gdLst>
                  <a:gd name="connsiteX0" fmla="*/ 52554 w 52553"/>
                  <a:gd name="connsiteY0" fmla="*/ 65678 h 65678"/>
                  <a:gd name="connsiteX1" fmla="*/ 0 w 52553"/>
                  <a:gd name="connsiteY1" fmla="*/ 65678 h 65678"/>
                  <a:gd name="connsiteX2" fmla="*/ 0 w 52553"/>
                  <a:gd name="connsiteY2" fmla="*/ 0 h 65678"/>
                  <a:gd name="connsiteX3" fmla="*/ 52554 w 52553"/>
                  <a:gd name="connsiteY3" fmla="*/ 0 h 65678"/>
                  <a:gd name="connsiteX4" fmla="*/ 52554 w 52553"/>
                  <a:gd name="connsiteY4" fmla="*/ 65678 h 65678"/>
                  <a:gd name="connsiteX5" fmla="*/ 13153 w 52553"/>
                  <a:gd name="connsiteY5" fmla="*/ 52554 h 65678"/>
                  <a:gd name="connsiteX6" fmla="*/ 39430 w 52553"/>
                  <a:gd name="connsiteY6" fmla="*/ 52554 h 65678"/>
                  <a:gd name="connsiteX7" fmla="*/ 39430 w 52553"/>
                  <a:gd name="connsiteY7" fmla="*/ 13124 h 65678"/>
                  <a:gd name="connsiteX8" fmla="*/ 13153 w 52553"/>
                  <a:gd name="connsiteY8" fmla="*/ 13124 h 65678"/>
                  <a:gd name="connsiteX9" fmla="*/ 13153 w 52553"/>
                  <a:gd name="connsiteY9" fmla="*/ 52554 h 6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53" h="65678">
                    <a:moveTo>
                      <a:pt x="52554" y="65678"/>
                    </a:moveTo>
                    <a:lnTo>
                      <a:pt x="0" y="65678"/>
                    </a:lnTo>
                    <a:lnTo>
                      <a:pt x="0" y="0"/>
                    </a:lnTo>
                    <a:lnTo>
                      <a:pt x="52554" y="0"/>
                    </a:lnTo>
                    <a:lnTo>
                      <a:pt x="52554" y="65678"/>
                    </a:lnTo>
                    <a:close/>
                    <a:moveTo>
                      <a:pt x="13153" y="52554"/>
                    </a:moveTo>
                    <a:lnTo>
                      <a:pt x="39430" y="52554"/>
                    </a:lnTo>
                    <a:lnTo>
                      <a:pt x="39430" y="13124"/>
                    </a:lnTo>
                    <a:lnTo>
                      <a:pt x="13153" y="13124"/>
                    </a:lnTo>
                    <a:lnTo>
                      <a:pt x="13153" y="52554"/>
                    </a:lnTo>
                    <a:close/>
                  </a:path>
                </a:pathLst>
              </a:custGeom>
              <a:solidFill>
                <a:schemeClr val="tx2"/>
              </a:solidFill>
              <a:ln w="2827" cap="flat">
                <a:noFill/>
                <a:prstDash val="solid"/>
                <a:miter/>
              </a:ln>
            </p:spPr>
            <p:txBody>
              <a:bodyPr rtlCol="0" anchor="ctr"/>
              <a:lstStyle/>
              <a:p>
                <a:endParaRPr lang="en-GB" dirty="0"/>
              </a:p>
            </p:txBody>
          </p:sp>
          <p:sp>
            <p:nvSpPr>
              <p:cNvPr id="667" name="Freihandform: Form 666">
                <a:extLst>
                  <a:ext uri="{FF2B5EF4-FFF2-40B4-BE49-F238E27FC236}">
                    <a16:creationId xmlns:a16="http://schemas.microsoft.com/office/drawing/2014/main" id="{02456EB5-4FAC-44EB-8A41-91BC94FF9C05}"/>
                  </a:ext>
                </a:extLst>
              </p:cNvPr>
              <p:cNvSpPr/>
              <p:nvPr/>
            </p:nvSpPr>
            <p:spPr>
              <a:xfrm>
                <a:off x="1803440" y="1629479"/>
                <a:ext cx="52553" cy="65678"/>
              </a:xfrm>
              <a:custGeom>
                <a:avLst/>
                <a:gdLst>
                  <a:gd name="connsiteX0" fmla="*/ 52554 w 52553"/>
                  <a:gd name="connsiteY0" fmla="*/ 65678 h 65678"/>
                  <a:gd name="connsiteX1" fmla="*/ 0 w 52553"/>
                  <a:gd name="connsiteY1" fmla="*/ 65678 h 65678"/>
                  <a:gd name="connsiteX2" fmla="*/ 0 w 52553"/>
                  <a:gd name="connsiteY2" fmla="*/ 0 h 65678"/>
                  <a:gd name="connsiteX3" fmla="*/ 52554 w 52553"/>
                  <a:gd name="connsiteY3" fmla="*/ 0 h 65678"/>
                  <a:gd name="connsiteX4" fmla="*/ 52554 w 52553"/>
                  <a:gd name="connsiteY4" fmla="*/ 65678 h 65678"/>
                  <a:gd name="connsiteX5" fmla="*/ 13153 w 52553"/>
                  <a:gd name="connsiteY5" fmla="*/ 52554 h 65678"/>
                  <a:gd name="connsiteX6" fmla="*/ 39430 w 52553"/>
                  <a:gd name="connsiteY6" fmla="*/ 52554 h 65678"/>
                  <a:gd name="connsiteX7" fmla="*/ 39430 w 52553"/>
                  <a:gd name="connsiteY7" fmla="*/ 13124 h 65678"/>
                  <a:gd name="connsiteX8" fmla="*/ 13153 w 52553"/>
                  <a:gd name="connsiteY8" fmla="*/ 13124 h 65678"/>
                  <a:gd name="connsiteX9" fmla="*/ 13153 w 52553"/>
                  <a:gd name="connsiteY9" fmla="*/ 52554 h 6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53" h="65678">
                    <a:moveTo>
                      <a:pt x="52554" y="65678"/>
                    </a:moveTo>
                    <a:lnTo>
                      <a:pt x="0" y="65678"/>
                    </a:lnTo>
                    <a:lnTo>
                      <a:pt x="0" y="0"/>
                    </a:lnTo>
                    <a:lnTo>
                      <a:pt x="52554" y="0"/>
                    </a:lnTo>
                    <a:lnTo>
                      <a:pt x="52554" y="65678"/>
                    </a:lnTo>
                    <a:close/>
                    <a:moveTo>
                      <a:pt x="13153" y="52554"/>
                    </a:moveTo>
                    <a:lnTo>
                      <a:pt x="39430" y="52554"/>
                    </a:lnTo>
                    <a:lnTo>
                      <a:pt x="39430" y="13124"/>
                    </a:lnTo>
                    <a:lnTo>
                      <a:pt x="13153" y="13124"/>
                    </a:lnTo>
                    <a:lnTo>
                      <a:pt x="13153" y="52554"/>
                    </a:lnTo>
                    <a:close/>
                  </a:path>
                </a:pathLst>
              </a:custGeom>
              <a:solidFill>
                <a:schemeClr val="tx2"/>
              </a:solidFill>
              <a:ln w="2827" cap="flat">
                <a:noFill/>
                <a:prstDash val="solid"/>
                <a:miter/>
              </a:ln>
            </p:spPr>
            <p:txBody>
              <a:bodyPr rtlCol="0" anchor="ctr"/>
              <a:lstStyle/>
              <a:p>
                <a:endParaRPr lang="en-GB" dirty="0"/>
              </a:p>
            </p:txBody>
          </p:sp>
          <p:sp>
            <p:nvSpPr>
              <p:cNvPr id="668" name="Freihandform: Form 667">
                <a:extLst>
                  <a:ext uri="{FF2B5EF4-FFF2-40B4-BE49-F238E27FC236}">
                    <a16:creationId xmlns:a16="http://schemas.microsoft.com/office/drawing/2014/main" id="{759BD231-1A83-4C08-B2E7-A4D7DF5FB432}"/>
                  </a:ext>
                </a:extLst>
              </p:cNvPr>
              <p:cNvSpPr/>
              <p:nvPr/>
            </p:nvSpPr>
            <p:spPr>
              <a:xfrm>
                <a:off x="1718089" y="1721434"/>
                <a:ext cx="486023" cy="302113"/>
              </a:xfrm>
              <a:custGeom>
                <a:avLst/>
                <a:gdLst>
                  <a:gd name="connsiteX0" fmla="*/ 485995 w 486023"/>
                  <a:gd name="connsiteY0" fmla="*/ 302114 h 302113"/>
                  <a:gd name="connsiteX1" fmla="*/ 0 w 486023"/>
                  <a:gd name="connsiteY1" fmla="*/ 302114 h 302113"/>
                  <a:gd name="connsiteX2" fmla="*/ 0 w 486023"/>
                  <a:gd name="connsiteY2" fmla="*/ 0 h 302113"/>
                  <a:gd name="connsiteX3" fmla="*/ 486024 w 486023"/>
                  <a:gd name="connsiteY3" fmla="*/ 0 h 302113"/>
                  <a:gd name="connsiteX4" fmla="*/ 486024 w 486023"/>
                  <a:gd name="connsiteY4" fmla="*/ 302114 h 302113"/>
                  <a:gd name="connsiteX5" fmla="*/ 13124 w 486023"/>
                  <a:gd name="connsiteY5" fmla="*/ 288961 h 302113"/>
                  <a:gd name="connsiteX6" fmla="*/ 472871 w 486023"/>
                  <a:gd name="connsiteY6" fmla="*/ 288961 h 302113"/>
                  <a:gd name="connsiteX7" fmla="*/ 472871 w 486023"/>
                  <a:gd name="connsiteY7" fmla="*/ 13124 h 302113"/>
                  <a:gd name="connsiteX8" fmla="*/ 13124 w 486023"/>
                  <a:gd name="connsiteY8" fmla="*/ 13124 h 302113"/>
                  <a:gd name="connsiteX9" fmla="*/ 13124 w 486023"/>
                  <a:gd name="connsiteY9" fmla="*/ 288961 h 302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6023" h="302113">
                    <a:moveTo>
                      <a:pt x="485995" y="302114"/>
                    </a:moveTo>
                    <a:lnTo>
                      <a:pt x="0" y="302114"/>
                    </a:lnTo>
                    <a:lnTo>
                      <a:pt x="0" y="0"/>
                    </a:lnTo>
                    <a:lnTo>
                      <a:pt x="486024" y="0"/>
                    </a:lnTo>
                    <a:lnTo>
                      <a:pt x="486024" y="302114"/>
                    </a:lnTo>
                    <a:close/>
                    <a:moveTo>
                      <a:pt x="13124" y="288961"/>
                    </a:moveTo>
                    <a:lnTo>
                      <a:pt x="472871" y="288961"/>
                    </a:lnTo>
                    <a:lnTo>
                      <a:pt x="472871" y="13124"/>
                    </a:lnTo>
                    <a:lnTo>
                      <a:pt x="13124" y="13124"/>
                    </a:lnTo>
                    <a:lnTo>
                      <a:pt x="13124" y="288961"/>
                    </a:lnTo>
                    <a:close/>
                  </a:path>
                </a:pathLst>
              </a:custGeom>
              <a:solidFill>
                <a:schemeClr val="tx2"/>
              </a:solidFill>
              <a:ln w="2827" cap="flat">
                <a:noFill/>
                <a:prstDash val="solid"/>
                <a:miter/>
              </a:ln>
            </p:spPr>
            <p:txBody>
              <a:bodyPr rtlCol="0" anchor="ctr"/>
              <a:lstStyle/>
              <a:p>
                <a:endParaRPr lang="en-GB" dirty="0"/>
              </a:p>
            </p:txBody>
          </p:sp>
          <p:sp>
            <p:nvSpPr>
              <p:cNvPr id="669" name="Freihandform: Form 668">
                <a:extLst>
                  <a:ext uri="{FF2B5EF4-FFF2-40B4-BE49-F238E27FC236}">
                    <a16:creationId xmlns:a16="http://schemas.microsoft.com/office/drawing/2014/main" id="{EBF91B65-F954-436E-99A4-AFD7FE4D7C49}"/>
                  </a:ext>
                </a:extLst>
              </p:cNvPr>
              <p:cNvSpPr/>
              <p:nvPr/>
            </p:nvSpPr>
            <p:spPr>
              <a:xfrm>
                <a:off x="1718089" y="1655756"/>
                <a:ext cx="485995" cy="78802"/>
              </a:xfrm>
              <a:custGeom>
                <a:avLst/>
                <a:gdLst>
                  <a:gd name="connsiteX0" fmla="*/ 485995 w 485995"/>
                  <a:gd name="connsiteY0" fmla="*/ 78802 h 78802"/>
                  <a:gd name="connsiteX1" fmla="*/ 0 w 485995"/>
                  <a:gd name="connsiteY1" fmla="*/ 78802 h 78802"/>
                  <a:gd name="connsiteX2" fmla="*/ 0 w 485995"/>
                  <a:gd name="connsiteY2" fmla="*/ 0 h 78802"/>
                  <a:gd name="connsiteX3" fmla="*/ 91927 w 485995"/>
                  <a:gd name="connsiteY3" fmla="*/ 0 h 78802"/>
                  <a:gd name="connsiteX4" fmla="*/ 91927 w 485995"/>
                  <a:gd name="connsiteY4" fmla="*/ 13124 h 78802"/>
                  <a:gd name="connsiteX5" fmla="*/ 13124 w 485995"/>
                  <a:gd name="connsiteY5" fmla="*/ 13124 h 78802"/>
                  <a:gd name="connsiteX6" fmla="*/ 13124 w 485995"/>
                  <a:gd name="connsiteY6" fmla="*/ 65678 h 78802"/>
                  <a:gd name="connsiteX7" fmla="*/ 472871 w 485995"/>
                  <a:gd name="connsiteY7" fmla="*/ 65678 h 78802"/>
                  <a:gd name="connsiteX8" fmla="*/ 472871 w 485995"/>
                  <a:gd name="connsiteY8" fmla="*/ 13124 h 78802"/>
                  <a:gd name="connsiteX9" fmla="*/ 394040 w 485995"/>
                  <a:gd name="connsiteY9" fmla="*/ 13124 h 78802"/>
                  <a:gd name="connsiteX10" fmla="*/ 394040 w 485995"/>
                  <a:gd name="connsiteY10" fmla="*/ 0 h 78802"/>
                  <a:gd name="connsiteX11" fmla="*/ 485995 w 485995"/>
                  <a:gd name="connsiteY11" fmla="*/ 0 h 78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5995" h="78802">
                    <a:moveTo>
                      <a:pt x="485995" y="78802"/>
                    </a:moveTo>
                    <a:lnTo>
                      <a:pt x="0" y="78802"/>
                    </a:lnTo>
                    <a:lnTo>
                      <a:pt x="0" y="0"/>
                    </a:lnTo>
                    <a:lnTo>
                      <a:pt x="91927" y="0"/>
                    </a:lnTo>
                    <a:lnTo>
                      <a:pt x="91927" y="13124"/>
                    </a:lnTo>
                    <a:lnTo>
                      <a:pt x="13124" y="13124"/>
                    </a:lnTo>
                    <a:lnTo>
                      <a:pt x="13124" y="65678"/>
                    </a:lnTo>
                    <a:lnTo>
                      <a:pt x="472871" y="65678"/>
                    </a:lnTo>
                    <a:lnTo>
                      <a:pt x="472871" y="13124"/>
                    </a:lnTo>
                    <a:lnTo>
                      <a:pt x="394040" y="13124"/>
                    </a:lnTo>
                    <a:lnTo>
                      <a:pt x="394040" y="0"/>
                    </a:lnTo>
                    <a:lnTo>
                      <a:pt x="485995" y="0"/>
                    </a:lnTo>
                    <a:close/>
                  </a:path>
                </a:pathLst>
              </a:custGeom>
              <a:solidFill>
                <a:schemeClr val="tx2"/>
              </a:solidFill>
              <a:ln w="2827" cap="flat">
                <a:noFill/>
                <a:prstDash val="solid"/>
                <a:miter/>
              </a:ln>
            </p:spPr>
            <p:txBody>
              <a:bodyPr rtlCol="0" anchor="ctr"/>
              <a:lstStyle/>
              <a:p>
                <a:endParaRPr lang="en-GB" dirty="0"/>
              </a:p>
            </p:txBody>
          </p:sp>
          <p:sp>
            <p:nvSpPr>
              <p:cNvPr id="670" name="Freihandform: Form 669">
                <a:extLst>
                  <a:ext uri="{FF2B5EF4-FFF2-40B4-BE49-F238E27FC236}">
                    <a16:creationId xmlns:a16="http://schemas.microsoft.com/office/drawing/2014/main" id="{87711539-9644-4175-945C-7804D97505FE}"/>
                  </a:ext>
                </a:extLst>
              </p:cNvPr>
              <p:cNvSpPr/>
              <p:nvPr/>
            </p:nvSpPr>
            <p:spPr>
              <a:xfrm>
                <a:off x="1980802" y="1655756"/>
                <a:ext cx="91955" cy="13124"/>
              </a:xfrm>
              <a:custGeom>
                <a:avLst/>
                <a:gdLst>
                  <a:gd name="connsiteX0" fmla="*/ 0 w 91955"/>
                  <a:gd name="connsiteY0" fmla="*/ 0 h 13124"/>
                  <a:gd name="connsiteX1" fmla="*/ 91955 w 91955"/>
                  <a:gd name="connsiteY1" fmla="*/ 0 h 13124"/>
                  <a:gd name="connsiteX2" fmla="*/ 91955 w 91955"/>
                  <a:gd name="connsiteY2" fmla="*/ 13124 h 13124"/>
                  <a:gd name="connsiteX3" fmla="*/ 0 w 91955"/>
                  <a:gd name="connsiteY3" fmla="*/ 13124 h 13124"/>
                </a:gdLst>
                <a:ahLst/>
                <a:cxnLst>
                  <a:cxn ang="0">
                    <a:pos x="connsiteX0" y="connsiteY0"/>
                  </a:cxn>
                  <a:cxn ang="0">
                    <a:pos x="connsiteX1" y="connsiteY1"/>
                  </a:cxn>
                  <a:cxn ang="0">
                    <a:pos x="connsiteX2" y="connsiteY2"/>
                  </a:cxn>
                  <a:cxn ang="0">
                    <a:pos x="connsiteX3" y="connsiteY3"/>
                  </a:cxn>
                </a:cxnLst>
                <a:rect l="l" t="t" r="r" b="b"/>
                <a:pathLst>
                  <a:path w="91955" h="13124">
                    <a:moveTo>
                      <a:pt x="0" y="0"/>
                    </a:moveTo>
                    <a:lnTo>
                      <a:pt x="91955" y="0"/>
                    </a:lnTo>
                    <a:lnTo>
                      <a:pt x="91955" y="13124"/>
                    </a:lnTo>
                    <a:lnTo>
                      <a:pt x="0" y="13124"/>
                    </a:lnTo>
                    <a:close/>
                  </a:path>
                </a:pathLst>
              </a:custGeom>
              <a:solidFill>
                <a:schemeClr val="tx2"/>
              </a:solidFill>
              <a:ln w="2827" cap="flat">
                <a:noFill/>
                <a:prstDash val="solid"/>
                <a:miter/>
              </a:ln>
            </p:spPr>
            <p:txBody>
              <a:bodyPr rtlCol="0" anchor="ctr"/>
              <a:lstStyle/>
              <a:p>
                <a:endParaRPr lang="en-GB" dirty="0"/>
              </a:p>
            </p:txBody>
          </p:sp>
          <p:sp>
            <p:nvSpPr>
              <p:cNvPr id="671" name="Freihandform: Form 670">
                <a:extLst>
                  <a:ext uri="{FF2B5EF4-FFF2-40B4-BE49-F238E27FC236}">
                    <a16:creationId xmlns:a16="http://schemas.microsoft.com/office/drawing/2014/main" id="{5FFCDA8F-F290-431F-B4F4-C292DD83CF88}"/>
                  </a:ext>
                </a:extLst>
              </p:cNvPr>
              <p:cNvSpPr/>
              <p:nvPr/>
            </p:nvSpPr>
            <p:spPr>
              <a:xfrm>
                <a:off x="1849445" y="1655756"/>
                <a:ext cx="91955" cy="13124"/>
              </a:xfrm>
              <a:custGeom>
                <a:avLst/>
                <a:gdLst>
                  <a:gd name="connsiteX0" fmla="*/ 0 w 91955"/>
                  <a:gd name="connsiteY0" fmla="*/ 0 h 13124"/>
                  <a:gd name="connsiteX1" fmla="*/ 91955 w 91955"/>
                  <a:gd name="connsiteY1" fmla="*/ 0 h 13124"/>
                  <a:gd name="connsiteX2" fmla="*/ 91955 w 91955"/>
                  <a:gd name="connsiteY2" fmla="*/ 13124 h 13124"/>
                  <a:gd name="connsiteX3" fmla="*/ 0 w 91955"/>
                  <a:gd name="connsiteY3" fmla="*/ 13124 h 13124"/>
                </a:gdLst>
                <a:ahLst/>
                <a:cxnLst>
                  <a:cxn ang="0">
                    <a:pos x="connsiteX0" y="connsiteY0"/>
                  </a:cxn>
                  <a:cxn ang="0">
                    <a:pos x="connsiteX1" y="connsiteY1"/>
                  </a:cxn>
                  <a:cxn ang="0">
                    <a:pos x="connsiteX2" y="connsiteY2"/>
                  </a:cxn>
                  <a:cxn ang="0">
                    <a:pos x="connsiteX3" y="connsiteY3"/>
                  </a:cxn>
                </a:cxnLst>
                <a:rect l="l" t="t" r="r" b="b"/>
                <a:pathLst>
                  <a:path w="91955" h="13124">
                    <a:moveTo>
                      <a:pt x="0" y="0"/>
                    </a:moveTo>
                    <a:lnTo>
                      <a:pt x="91955" y="0"/>
                    </a:lnTo>
                    <a:lnTo>
                      <a:pt x="91955" y="13124"/>
                    </a:lnTo>
                    <a:lnTo>
                      <a:pt x="0" y="13124"/>
                    </a:lnTo>
                    <a:close/>
                  </a:path>
                </a:pathLst>
              </a:custGeom>
              <a:solidFill>
                <a:schemeClr val="tx2"/>
              </a:solidFill>
              <a:ln w="2827" cap="flat">
                <a:noFill/>
                <a:prstDash val="solid"/>
                <a:miter/>
              </a:ln>
            </p:spPr>
            <p:txBody>
              <a:bodyPr rtlCol="0" anchor="ctr"/>
              <a:lstStyle/>
              <a:p>
                <a:endParaRPr lang="en-GB" dirty="0"/>
              </a:p>
            </p:txBody>
          </p:sp>
          <p:sp>
            <p:nvSpPr>
              <p:cNvPr id="672" name="Freihandform: Form 671">
                <a:extLst>
                  <a:ext uri="{FF2B5EF4-FFF2-40B4-BE49-F238E27FC236}">
                    <a16:creationId xmlns:a16="http://schemas.microsoft.com/office/drawing/2014/main" id="{0CEF6952-64F0-443C-B8BE-06F5DDC88AC7}"/>
                  </a:ext>
                </a:extLst>
              </p:cNvPr>
              <p:cNvSpPr/>
              <p:nvPr/>
            </p:nvSpPr>
            <p:spPr>
              <a:xfrm>
                <a:off x="1744338" y="2036672"/>
                <a:ext cx="433469" cy="39401"/>
              </a:xfrm>
              <a:custGeom>
                <a:avLst/>
                <a:gdLst>
                  <a:gd name="connsiteX0" fmla="*/ 433470 w 433469"/>
                  <a:gd name="connsiteY0" fmla="*/ 39401 h 39401"/>
                  <a:gd name="connsiteX1" fmla="*/ 0 w 433469"/>
                  <a:gd name="connsiteY1" fmla="*/ 39401 h 39401"/>
                  <a:gd name="connsiteX2" fmla="*/ 0 w 433469"/>
                  <a:gd name="connsiteY2" fmla="*/ 0 h 39401"/>
                  <a:gd name="connsiteX3" fmla="*/ 13153 w 433469"/>
                  <a:gd name="connsiteY3" fmla="*/ 0 h 39401"/>
                  <a:gd name="connsiteX4" fmla="*/ 13153 w 433469"/>
                  <a:gd name="connsiteY4" fmla="*/ 26277 h 39401"/>
                  <a:gd name="connsiteX5" fmla="*/ 420346 w 433469"/>
                  <a:gd name="connsiteY5" fmla="*/ 26277 h 39401"/>
                  <a:gd name="connsiteX6" fmla="*/ 420346 w 433469"/>
                  <a:gd name="connsiteY6" fmla="*/ 0 h 39401"/>
                  <a:gd name="connsiteX7" fmla="*/ 433470 w 433469"/>
                  <a:gd name="connsiteY7" fmla="*/ 0 h 39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469" h="39401">
                    <a:moveTo>
                      <a:pt x="433470" y="39401"/>
                    </a:moveTo>
                    <a:lnTo>
                      <a:pt x="0" y="39401"/>
                    </a:lnTo>
                    <a:lnTo>
                      <a:pt x="0" y="0"/>
                    </a:lnTo>
                    <a:lnTo>
                      <a:pt x="13153" y="0"/>
                    </a:lnTo>
                    <a:lnTo>
                      <a:pt x="13153" y="26277"/>
                    </a:lnTo>
                    <a:lnTo>
                      <a:pt x="420346" y="26277"/>
                    </a:lnTo>
                    <a:lnTo>
                      <a:pt x="420346" y="0"/>
                    </a:lnTo>
                    <a:lnTo>
                      <a:pt x="433470" y="0"/>
                    </a:lnTo>
                    <a:close/>
                  </a:path>
                </a:pathLst>
              </a:custGeom>
              <a:solidFill>
                <a:schemeClr val="tx2"/>
              </a:solidFill>
              <a:ln w="2827" cap="flat">
                <a:noFill/>
                <a:prstDash val="solid"/>
                <a:miter/>
              </a:ln>
            </p:spPr>
            <p:txBody>
              <a:bodyPr rtlCol="0" anchor="ctr"/>
              <a:lstStyle/>
              <a:p>
                <a:endParaRPr lang="en-GB" dirty="0"/>
              </a:p>
            </p:txBody>
          </p:sp>
          <p:sp>
            <p:nvSpPr>
              <p:cNvPr id="673" name="Freihandform: Form 672">
                <a:extLst>
                  <a:ext uri="{FF2B5EF4-FFF2-40B4-BE49-F238E27FC236}">
                    <a16:creationId xmlns:a16="http://schemas.microsoft.com/office/drawing/2014/main" id="{37BD7E24-83DA-475E-A6AF-14DCD71106B4}"/>
                  </a:ext>
                </a:extLst>
              </p:cNvPr>
              <p:cNvSpPr/>
              <p:nvPr/>
            </p:nvSpPr>
            <p:spPr>
              <a:xfrm>
                <a:off x="1770615" y="2089225"/>
                <a:ext cx="380944" cy="26276"/>
              </a:xfrm>
              <a:custGeom>
                <a:avLst/>
                <a:gdLst>
                  <a:gd name="connsiteX0" fmla="*/ 380944 w 380944"/>
                  <a:gd name="connsiteY0" fmla="*/ 26277 h 26276"/>
                  <a:gd name="connsiteX1" fmla="*/ 0 w 380944"/>
                  <a:gd name="connsiteY1" fmla="*/ 26277 h 26276"/>
                  <a:gd name="connsiteX2" fmla="*/ 0 w 380944"/>
                  <a:gd name="connsiteY2" fmla="*/ 0 h 26276"/>
                  <a:gd name="connsiteX3" fmla="*/ 13153 w 380944"/>
                  <a:gd name="connsiteY3" fmla="*/ 0 h 26276"/>
                  <a:gd name="connsiteX4" fmla="*/ 13153 w 380944"/>
                  <a:gd name="connsiteY4" fmla="*/ 13124 h 26276"/>
                  <a:gd name="connsiteX5" fmla="*/ 367792 w 380944"/>
                  <a:gd name="connsiteY5" fmla="*/ 13124 h 26276"/>
                  <a:gd name="connsiteX6" fmla="*/ 367792 w 380944"/>
                  <a:gd name="connsiteY6" fmla="*/ 0 h 26276"/>
                  <a:gd name="connsiteX7" fmla="*/ 380944 w 380944"/>
                  <a:gd name="connsiteY7" fmla="*/ 0 h 26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944" h="26276">
                    <a:moveTo>
                      <a:pt x="380944" y="26277"/>
                    </a:moveTo>
                    <a:lnTo>
                      <a:pt x="0" y="26277"/>
                    </a:lnTo>
                    <a:lnTo>
                      <a:pt x="0" y="0"/>
                    </a:lnTo>
                    <a:lnTo>
                      <a:pt x="13153" y="0"/>
                    </a:lnTo>
                    <a:lnTo>
                      <a:pt x="13153" y="13124"/>
                    </a:lnTo>
                    <a:lnTo>
                      <a:pt x="367792" y="13124"/>
                    </a:lnTo>
                    <a:lnTo>
                      <a:pt x="367792" y="0"/>
                    </a:lnTo>
                    <a:lnTo>
                      <a:pt x="380944" y="0"/>
                    </a:lnTo>
                    <a:close/>
                  </a:path>
                </a:pathLst>
              </a:custGeom>
              <a:solidFill>
                <a:schemeClr val="tx2"/>
              </a:solidFill>
              <a:ln w="2827" cap="flat">
                <a:noFill/>
                <a:prstDash val="solid"/>
                <a:miter/>
              </a:ln>
            </p:spPr>
            <p:txBody>
              <a:bodyPr rtlCol="0" anchor="ctr"/>
              <a:lstStyle/>
              <a:p>
                <a:endParaRPr lang="en-GB" dirty="0"/>
              </a:p>
            </p:txBody>
          </p:sp>
        </p:grpSp>
        <p:sp>
          <p:nvSpPr>
            <p:cNvPr id="664" name="Freihandform: Form 663">
              <a:extLst>
                <a:ext uri="{FF2B5EF4-FFF2-40B4-BE49-F238E27FC236}">
                  <a16:creationId xmlns:a16="http://schemas.microsoft.com/office/drawing/2014/main" id="{25FE8474-A919-4CDD-8E59-EE25A3C89054}"/>
                </a:ext>
              </a:extLst>
            </p:cNvPr>
            <p:cNvSpPr/>
            <p:nvPr/>
          </p:nvSpPr>
          <p:spPr>
            <a:xfrm>
              <a:off x="1883433" y="1796835"/>
              <a:ext cx="175208" cy="166533"/>
            </a:xfrm>
            <a:custGeom>
              <a:avLst/>
              <a:gdLst>
                <a:gd name="connsiteX0" fmla="*/ 77980 w 175207"/>
                <a:gd name="connsiteY0" fmla="*/ 166534 h 166533"/>
                <a:gd name="connsiteX1" fmla="*/ 0 w 175207"/>
                <a:gd name="connsiteY1" fmla="*/ 53092 h 166533"/>
                <a:gd name="connsiteX2" fmla="*/ 10828 w 175207"/>
                <a:gd name="connsiteY2" fmla="*/ 45666 h 166533"/>
                <a:gd name="connsiteX3" fmla="*/ 77328 w 175207"/>
                <a:gd name="connsiteY3" fmla="*/ 142383 h 166533"/>
                <a:gd name="connsiteX4" fmla="*/ 163983 w 175207"/>
                <a:gd name="connsiteY4" fmla="*/ 0 h 166533"/>
                <a:gd name="connsiteX5" fmla="*/ 175208 w 175207"/>
                <a:gd name="connsiteY5" fmla="*/ 6831 h 16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5207" h="166533">
                  <a:moveTo>
                    <a:pt x="77980" y="166534"/>
                  </a:moveTo>
                  <a:lnTo>
                    <a:pt x="0" y="53092"/>
                  </a:lnTo>
                  <a:lnTo>
                    <a:pt x="10828" y="45666"/>
                  </a:lnTo>
                  <a:lnTo>
                    <a:pt x="77328" y="142383"/>
                  </a:lnTo>
                  <a:lnTo>
                    <a:pt x="163983" y="0"/>
                  </a:lnTo>
                  <a:lnTo>
                    <a:pt x="175208" y="6831"/>
                  </a:lnTo>
                  <a:close/>
                </a:path>
              </a:pathLst>
            </a:custGeom>
            <a:solidFill>
              <a:schemeClr val="accent1"/>
            </a:solidFill>
            <a:ln w="2827" cap="flat">
              <a:noFill/>
              <a:prstDash val="solid"/>
              <a:miter/>
            </a:ln>
          </p:spPr>
          <p:txBody>
            <a:bodyPr rtlCol="0" anchor="ctr"/>
            <a:lstStyle/>
            <a:p>
              <a:endParaRPr lang="en-GB" dirty="0"/>
            </a:p>
          </p:txBody>
        </p:sp>
      </p:grpSp>
      <p:grpSp>
        <p:nvGrpSpPr>
          <p:cNvPr id="674" name="Group 716">
            <a:extLst>
              <a:ext uri="{FF2B5EF4-FFF2-40B4-BE49-F238E27FC236}">
                <a16:creationId xmlns:a16="http://schemas.microsoft.com/office/drawing/2014/main" id="{CA932EFC-7494-4CAE-9751-4F982628E85E}"/>
              </a:ext>
            </a:extLst>
          </p:cNvPr>
          <p:cNvGrpSpPr>
            <a:grpSpLocks noChangeAspect="1"/>
          </p:cNvGrpSpPr>
          <p:nvPr/>
        </p:nvGrpSpPr>
        <p:grpSpPr>
          <a:xfrm>
            <a:off x="616288" y="1626717"/>
            <a:ext cx="355523" cy="432000"/>
            <a:chOff x="925862" y="1630954"/>
            <a:chExt cx="402246" cy="488773"/>
          </a:xfrm>
        </p:grpSpPr>
        <p:sp>
          <p:nvSpPr>
            <p:cNvPr id="675" name="Freihandform: Form 674">
              <a:extLst>
                <a:ext uri="{FF2B5EF4-FFF2-40B4-BE49-F238E27FC236}">
                  <a16:creationId xmlns:a16="http://schemas.microsoft.com/office/drawing/2014/main" id="{2B00E45F-35D0-41E1-9E0A-BA011C6A8343}"/>
                </a:ext>
              </a:extLst>
            </p:cNvPr>
            <p:cNvSpPr/>
            <p:nvPr/>
          </p:nvSpPr>
          <p:spPr>
            <a:xfrm>
              <a:off x="925862" y="1630954"/>
              <a:ext cx="402246" cy="488773"/>
            </a:xfrm>
            <a:custGeom>
              <a:avLst/>
              <a:gdLst>
                <a:gd name="connsiteX0" fmla="*/ 201123 w 402246"/>
                <a:gd name="connsiteY0" fmla="*/ 488773 h 488773"/>
                <a:gd name="connsiteX1" fmla="*/ 58825 w 402246"/>
                <a:gd name="connsiteY1" fmla="*/ 345597 h 488773"/>
                <a:gd name="connsiteX2" fmla="*/ 58825 w 402246"/>
                <a:gd name="connsiteY2" fmla="*/ 59329 h 488773"/>
                <a:gd name="connsiteX3" fmla="*/ 201123 w 402246"/>
                <a:gd name="connsiteY3" fmla="*/ 0 h 488773"/>
                <a:gd name="connsiteX4" fmla="*/ 343421 w 402246"/>
                <a:gd name="connsiteY4" fmla="*/ 59300 h 488773"/>
                <a:gd name="connsiteX5" fmla="*/ 343421 w 402246"/>
                <a:gd name="connsiteY5" fmla="*/ 345568 h 488773"/>
                <a:gd name="connsiteX6" fmla="*/ 201123 w 402246"/>
                <a:gd name="connsiteY6" fmla="*/ 488773 h 488773"/>
                <a:gd name="connsiteX7" fmla="*/ 68151 w 402246"/>
                <a:gd name="connsiteY7" fmla="*/ 336327 h 488773"/>
                <a:gd name="connsiteX8" fmla="*/ 201123 w 402246"/>
                <a:gd name="connsiteY8" fmla="*/ 470150 h 488773"/>
                <a:gd name="connsiteX9" fmla="*/ 334095 w 402246"/>
                <a:gd name="connsiteY9" fmla="*/ 336327 h 488773"/>
                <a:gd name="connsiteX10" fmla="*/ 334095 w 402246"/>
                <a:gd name="connsiteY10" fmla="*/ 68598 h 488773"/>
                <a:gd name="connsiteX11" fmla="*/ 201123 w 402246"/>
                <a:gd name="connsiteY11" fmla="*/ 13153 h 488773"/>
                <a:gd name="connsiteX12" fmla="*/ 68151 w 402246"/>
                <a:gd name="connsiteY12" fmla="*/ 68598 h 488773"/>
                <a:gd name="connsiteX13" fmla="*/ 68151 w 402246"/>
                <a:gd name="connsiteY13" fmla="*/ 336327 h 488773"/>
                <a:gd name="connsiteX14" fmla="*/ 68151 w 402246"/>
                <a:gd name="connsiteY14" fmla="*/ 336327 h 488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2246" h="488773">
                  <a:moveTo>
                    <a:pt x="201123" y="488773"/>
                  </a:moveTo>
                  <a:lnTo>
                    <a:pt x="58825" y="345597"/>
                  </a:lnTo>
                  <a:cubicBezTo>
                    <a:pt x="-19608" y="266681"/>
                    <a:pt x="-19608" y="138244"/>
                    <a:pt x="58825" y="59329"/>
                  </a:cubicBezTo>
                  <a:cubicBezTo>
                    <a:pt x="96838" y="21061"/>
                    <a:pt x="147379" y="0"/>
                    <a:pt x="201123" y="0"/>
                  </a:cubicBezTo>
                  <a:cubicBezTo>
                    <a:pt x="254868" y="0"/>
                    <a:pt x="305409" y="21061"/>
                    <a:pt x="343421" y="59300"/>
                  </a:cubicBezTo>
                  <a:cubicBezTo>
                    <a:pt x="421855" y="138216"/>
                    <a:pt x="421855" y="266652"/>
                    <a:pt x="343421" y="345568"/>
                  </a:cubicBezTo>
                  <a:lnTo>
                    <a:pt x="201123" y="488773"/>
                  </a:lnTo>
                  <a:close/>
                  <a:moveTo>
                    <a:pt x="68151" y="336327"/>
                  </a:moveTo>
                  <a:lnTo>
                    <a:pt x="201123" y="470150"/>
                  </a:lnTo>
                  <a:lnTo>
                    <a:pt x="334095" y="336327"/>
                  </a:lnTo>
                  <a:cubicBezTo>
                    <a:pt x="407455" y="262514"/>
                    <a:pt x="407455" y="142411"/>
                    <a:pt x="334095" y="68598"/>
                  </a:cubicBezTo>
                  <a:cubicBezTo>
                    <a:pt x="298577" y="32853"/>
                    <a:pt x="251353" y="13153"/>
                    <a:pt x="201123" y="13153"/>
                  </a:cubicBezTo>
                  <a:cubicBezTo>
                    <a:pt x="150894" y="13153"/>
                    <a:pt x="103669" y="32853"/>
                    <a:pt x="68151" y="68598"/>
                  </a:cubicBezTo>
                  <a:cubicBezTo>
                    <a:pt x="-5209" y="142383"/>
                    <a:pt x="-5209" y="262514"/>
                    <a:pt x="68151" y="336327"/>
                  </a:cubicBezTo>
                  <a:lnTo>
                    <a:pt x="68151" y="336327"/>
                  </a:lnTo>
                  <a:close/>
                </a:path>
              </a:pathLst>
            </a:custGeom>
            <a:solidFill>
              <a:schemeClr val="tx2"/>
            </a:solidFill>
            <a:ln w="2827" cap="flat">
              <a:noFill/>
              <a:prstDash val="solid"/>
              <a:miter/>
            </a:ln>
          </p:spPr>
          <p:txBody>
            <a:bodyPr rtlCol="0" anchor="ctr"/>
            <a:lstStyle/>
            <a:p>
              <a:endParaRPr lang="en-GB" dirty="0"/>
            </a:p>
          </p:txBody>
        </p:sp>
        <p:grpSp>
          <p:nvGrpSpPr>
            <p:cNvPr id="676" name="Group 715">
              <a:extLst>
                <a:ext uri="{FF2B5EF4-FFF2-40B4-BE49-F238E27FC236}">
                  <a16:creationId xmlns:a16="http://schemas.microsoft.com/office/drawing/2014/main" id="{61AE447D-6305-4278-A4F8-2C5C9795AEBE}"/>
                </a:ext>
              </a:extLst>
            </p:cNvPr>
            <p:cNvGrpSpPr/>
            <p:nvPr/>
          </p:nvGrpSpPr>
          <p:grpSpPr>
            <a:xfrm>
              <a:off x="1033898" y="1740597"/>
              <a:ext cx="186149" cy="309199"/>
              <a:chOff x="1033898" y="1740596"/>
              <a:chExt cx="186149" cy="309199"/>
            </a:xfrm>
          </p:grpSpPr>
          <p:sp>
            <p:nvSpPr>
              <p:cNvPr id="677" name="Freihandform: Form 676">
                <a:extLst>
                  <a:ext uri="{FF2B5EF4-FFF2-40B4-BE49-F238E27FC236}">
                    <a16:creationId xmlns:a16="http://schemas.microsoft.com/office/drawing/2014/main" id="{7590BCD5-E4FC-4A96-9E57-014DDA7B87D4}"/>
                  </a:ext>
                </a:extLst>
              </p:cNvPr>
              <p:cNvSpPr/>
              <p:nvPr/>
            </p:nvSpPr>
            <p:spPr>
              <a:xfrm>
                <a:off x="1033898" y="1740596"/>
                <a:ext cx="186149" cy="186120"/>
              </a:xfrm>
              <a:custGeom>
                <a:avLst/>
                <a:gdLst>
                  <a:gd name="connsiteX0" fmla="*/ 93089 w 186149"/>
                  <a:gd name="connsiteY0" fmla="*/ 186121 h 186120"/>
                  <a:gd name="connsiteX1" fmla="*/ 27269 w 186149"/>
                  <a:gd name="connsiteY1" fmla="*/ 158852 h 186120"/>
                  <a:gd name="connsiteX2" fmla="*/ 0 w 186149"/>
                  <a:gd name="connsiteY2" fmla="*/ 93032 h 186120"/>
                  <a:gd name="connsiteX3" fmla="*/ 27269 w 186149"/>
                  <a:gd name="connsiteY3" fmla="*/ 27212 h 186120"/>
                  <a:gd name="connsiteX4" fmla="*/ 158880 w 186149"/>
                  <a:gd name="connsiteY4" fmla="*/ 27212 h 186120"/>
                  <a:gd name="connsiteX5" fmla="*/ 186149 w 186149"/>
                  <a:gd name="connsiteY5" fmla="*/ 93032 h 186120"/>
                  <a:gd name="connsiteX6" fmla="*/ 158880 w 186149"/>
                  <a:gd name="connsiteY6" fmla="*/ 158852 h 186120"/>
                  <a:gd name="connsiteX7" fmla="*/ 158880 w 186149"/>
                  <a:gd name="connsiteY7" fmla="*/ 158852 h 186120"/>
                  <a:gd name="connsiteX8" fmla="*/ 158880 w 186149"/>
                  <a:gd name="connsiteY8" fmla="*/ 158852 h 186120"/>
                  <a:gd name="connsiteX9" fmla="*/ 93089 w 186149"/>
                  <a:gd name="connsiteY9" fmla="*/ 186121 h 186120"/>
                  <a:gd name="connsiteX10" fmla="*/ 93089 w 186149"/>
                  <a:gd name="connsiteY10" fmla="*/ 13153 h 186120"/>
                  <a:gd name="connsiteX11" fmla="*/ 36567 w 186149"/>
                  <a:gd name="connsiteY11" fmla="*/ 36538 h 186120"/>
                  <a:gd name="connsiteX12" fmla="*/ 13153 w 186149"/>
                  <a:gd name="connsiteY12" fmla="*/ 93060 h 186120"/>
                  <a:gd name="connsiteX13" fmla="*/ 36567 w 186149"/>
                  <a:gd name="connsiteY13" fmla="*/ 149583 h 186120"/>
                  <a:gd name="connsiteX14" fmla="*/ 93089 w 186149"/>
                  <a:gd name="connsiteY14" fmla="*/ 172997 h 186120"/>
                  <a:gd name="connsiteX15" fmla="*/ 149611 w 186149"/>
                  <a:gd name="connsiteY15" fmla="*/ 149583 h 186120"/>
                  <a:gd name="connsiteX16" fmla="*/ 149611 w 186149"/>
                  <a:gd name="connsiteY16" fmla="*/ 149583 h 186120"/>
                  <a:gd name="connsiteX17" fmla="*/ 173025 w 186149"/>
                  <a:gd name="connsiteY17" fmla="*/ 93060 h 186120"/>
                  <a:gd name="connsiteX18" fmla="*/ 149611 w 186149"/>
                  <a:gd name="connsiteY18" fmla="*/ 36538 h 186120"/>
                  <a:gd name="connsiteX19" fmla="*/ 93089 w 186149"/>
                  <a:gd name="connsiteY19" fmla="*/ 13153 h 186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6149" h="186120">
                    <a:moveTo>
                      <a:pt x="93089" y="186121"/>
                    </a:moveTo>
                    <a:cubicBezTo>
                      <a:pt x="68229" y="186121"/>
                      <a:pt x="44844" y="176427"/>
                      <a:pt x="27269" y="158852"/>
                    </a:cubicBezTo>
                    <a:cubicBezTo>
                      <a:pt x="9694" y="141277"/>
                      <a:pt x="0" y="117892"/>
                      <a:pt x="0" y="93032"/>
                    </a:cubicBezTo>
                    <a:cubicBezTo>
                      <a:pt x="0" y="68173"/>
                      <a:pt x="9694" y="44787"/>
                      <a:pt x="27269" y="27212"/>
                    </a:cubicBezTo>
                    <a:cubicBezTo>
                      <a:pt x="63552" y="-9071"/>
                      <a:pt x="122597" y="-9071"/>
                      <a:pt x="158880" y="27212"/>
                    </a:cubicBezTo>
                    <a:cubicBezTo>
                      <a:pt x="176455" y="44787"/>
                      <a:pt x="186149" y="68173"/>
                      <a:pt x="186149" y="93032"/>
                    </a:cubicBezTo>
                    <a:cubicBezTo>
                      <a:pt x="186149" y="117892"/>
                      <a:pt x="176455" y="141277"/>
                      <a:pt x="158880" y="158852"/>
                    </a:cubicBezTo>
                    <a:lnTo>
                      <a:pt x="158880" y="158852"/>
                    </a:lnTo>
                    <a:lnTo>
                      <a:pt x="158880" y="158852"/>
                    </a:lnTo>
                    <a:cubicBezTo>
                      <a:pt x="141334" y="176455"/>
                      <a:pt x="117948" y="186121"/>
                      <a:pt x="93089" y="186121"/>
                    </a:cubicBezTo>
                    <a:close/>
                    <a:moveTo>
                      <a:pt x="93089" y="13153"/>
                    </a:moveTo>
                    <a:cubicBezTo>
                      <a:pt x="72623" y="13153"/>
                      <a:pt x="52157" y="20948"/>
                      <a:pt x="36567" y="36538"/>
                    </a:cubicBezTo>
                    <a:cubicBezTo>
                      <a:pt x="21458" y="51647"/>
                      <a:pt x="13153" y="71716"/>
                      <a:pt x="13153" y="93060"/>
                    </a:cubicBezTo>
                    <a:cubicBezTo>
                      <a:pt x="13153" y="114405"/>
                      <a:pt x="21458" y="134474"/>
                      <a:pt x="36567" y="149583"/>
                    </a:cubicBezTo>
                    <a:cubicBezTo>
                      <a:pt x="51675" y="164691"/>
                      <a:pt x="71744" y="172997"/>
                      <a:pt x="93089" y="172997"/>
                    </a:cubicBezTo>
                    <a:cubicBezTo>
                      <a:pt x="114434" y="172997"/>
                      <a:pt x="134503" y="164691"/>
                      <a:pt x="149611" y="149583"/>
                    </a:cubicBezTo>
                    <a:lnTo>
                      <a:pt x="149611" y="149583"/>
                    </a:lnTo>
                    <a:cubicBezTo>
                      <a:pt x="164720" y="134474"/>
                      <a:pt x="173025" y="114405"/>
                      <a:pt x="173025" y="93060"/>
                    </a:cubicBezTo>
                    <a:cubicBezTo>
                      <a:pt x="173025" y="71716"/>
                      <a:pt x="164720" y="51647"/>
                      <a:pt x="149611" y="36538"/>
                    </a:cubicBezTo>
                    <a:cubicBezTo>
                      <a:pt x="134021" y="20948"/>
                      <a:pt x="113555" y="13153"/>
                      <a:pt x="93089" y="13153"/>
                    </a:cubicBezTo>
                    <a:close/>
                  </a:path>
                </a:pathLst>
              </a:custGeom>
              <a:solidFill>
                <a:schemeClr val="accent1"/>
              </a:solidFill>
              <a:ln w="2827" cap="flat">
                <a:noFill/>
                <a:prstDash val="solid"/>
                <a:miter/>
              </a:ln>
            </p:spPr>
            <p:txBody>
              <a:bodyPr rtlCol="0" anchor="ctr"/>
              <a:lstStyle/>
              <a:p>
                <a:endParaRPr lang="en-GB" dirty="0"/>
              </a:p>
            </p:txBody>
          </p:sp>
          <p:grpSp>
            <p:nvGrpSpPr>
              <p:cNvPr id="678" name="Grafik 161">
                <a:extLst>
                  <a:ext uri="{FF2B5EF4-FFF2-40B4-BE49-F238E27FC236}">
                    <a16:creationId xmlns:a16="http://schemas.microsoft.com/office/drawing/2014/main" id="{5C49818D-0586-47E9-9E1B-8A34223C164F}"/>
                  </a:ext>
                </a:extLst>
              </p:cNvPr>
              <p:cNvGrpSpPr/>
              <p:nvPr/>
            </p:nvGrpSpPr>
            <p:grpSpPr>
              <a:xfrm>
                <a:off x="1120410" y="1957869"/>
                <a:ext cx="13124" cy="91926"/>
                <a:chOff x="1120410" y="1957869"/>
                <a:chExt cx="13124" cy="91926"/>
              </a:xfrm>
              <a:solidFill>
                <a:schemeClr val="accent1"/>
              </a:solidFill>
            </p:grpSpPr>
            <p:sp>
              <p:nvSpPr>
                <p:cNvPr id="679" name="Freihandform: Form 678">
                  <a:extLst>
                    <a:ext uri="{FF2B5EF4-FFF2-40B4-BE49-F238E27FC236}">
                      <a16:creationId xmlns:a16="http://schemas.microsoft.com/office/drawing/2014/main" id="{C7B70EA6-2166-4385-9911-718CFE333AC5}"/>
                    </a:ext>
                  </a:extLst>
                </p:cNvPr>
                <p:cNvSpPr/>
                <p:nvPr/>
              </p:nvSpPr>
              <p:spPr>
                <a:xfrm>
                  <a:off x="1120410" y="1997270"/>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80" name="Freihandform: Form 679">
                  <a:extLst>
                    <a:ext uri="{FF2B5EF4-FFF2-40B4-BE49-F238E27FC236}">
                      <a16:creationId xmlns:a16="http://schemas.microsoft.com/office/drawing/2014/main" id="{7E6DC420-683F-4B32-AB16-A52520E423F8}"/>
                    </a:ext>
                  </a:extLst>
                </p:cNvPr>
                <p:cNvSpPr/>
                <p:nvPr/>
              </p:nvSpPr>
              <p:spPr>
                <a:xfrm>
                  <a:off x="1120410" y="2036672"/>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81" name="Freihandform: Form 680">
                  <a:extLst>
                    <a:ext uri="{FF2B5EF4-FFF2-40B4-BE49-F238E27FC236}">
                      <a16:creationId xmlns:a16="http://schemas.microsoft.com/office/drawing/2014/main" id="{9B4E3B8E-68EA-4CB6-8001-65A2A4082900}"/>
                    </a:ext>
                  </a:extLst>
                </p:cNvPr>
                <p:cNvSpPr/>
                <p:nvPr/>
              </p:nvSpPr>
              <p:spPr>
                <a:xfrm>
                  <a:off x="1120410" y="1957869"/>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grpSp>
      <p:sp>
        <p:nvSpPr>
          <p:cNvPr id="682" name="TextBox 1415">
            <a:extLst>
              <a:ext uri="{FF2B5EF4-FFF2-40B4-BE49-F238E27FC236}">
                <a16:creationId xmlns:a16="http://schemas.microsoft.com/office/drawing/2014/main" id="{F05DC209-64D1-4386-80CF-5725331BE9C6}"/>
              </a:ext>
            </a:extLst>
          </p:cNvPr>
          <p:cNvSpPr txBox="1"/>
          <p:nvPr/>
        </p:nvSpPr>
        <p:spPr>
          <a:xfrm>
            <a:off x="2773510" y="2077494"/>
            <a:ext cx="222817" cy="107722"/>
          </a:xfrm>
          <a:prstGeom prst="rect">
            <a:avLst/>
          </a:prstGeom>
          <a:noFill/>
          <a:effectLst/>
        </p:spPr>
        <p:txBody>
          <a:bodyPr wrap="none" lIns="0" tIns="0" rIns="0" bIns="0" rtlCol="0" anchor="t" anchorCtr="0">
            <a:spAutoFit/>
          </a:bodyPr>
          <a:lstStyle/>
          <a:p>
            <a:pPr algn="ctr"/>
            <a:r>
              <a:rPr lang="en-GB" sz="700" dirty="0">
                <a:solidFill>
                  <a:schemeClr val="tx2"/>
                </a:solidFill>
              </a:rPr>
              <a:t>News</a:t>
            </a:r>
          </a:p>
        </p:txBody>
      </p:sp>
      <p:sp>
        <p:nvSpPr>
          <p:cNvPr id="683" name="TextBox 1413">
            <a:extLst>
              <a:ext uri="{FF2B5EF4-FFF2-40B4-BE49-F238E27FC236}">
                <a16:creationId xmlns:a16="http://schemas.microsoft.com/office/drawing/2014/main" id="{E1276DB9-9AA9-415B-9BE8-AA97CB918D21}"/>
              </a:ext>
            </a:extLst>
          </p:cNvPr>
          <p:cNvSpPr txBox="1"/>
          <p:nvPr/>
        </p:nvSpPr>
        <p:spPr>
          <a:xfrm>
            <a:off x="624934" y="2077494"/>
            <a:ext cx="338233" cy="107722"/>
          </a:xfrm>
          <a:prstGeom prst="rect">
            <a:avLst/>
          </a:prstGeom>
          <a:noFill/>
          <a:effectLst/>
        </p:spPr>
        <p:txBody>
          <a:bodyPr wrap="none" lIns="0" tIns="0" rIns="0" bIns="0" rtlCol="0" anchor="t" anchorCtr="0">
            <a:spAutoFit/>
          </a:bodyPr>
          <a:lstStyle/>
          <a:p>
            <a:pPr algn="ctr"/>
            <a:r>
              <a:rPr lang="en-GB" sz="700" dirty="0">
                <a:solidFill>
                  <a:schemeClr val="tx2"/>
                </a:solidFill>
              </a:rPr>
              <a:t>Location</a:t>
            </a:r>
          </a:p>
        </p:txBody>
      </p:sp>
      <p:sp>
        <p:nvSpPr>
          <p:cNvPr id="684" name="TextBox 1414">
            <a:extLst>
              <a:ext uri="{FF2B5EF4-FFF2-40B4-BE49-F238E27FC236}">
                <a16:creationId xmlns:a16="http://schemas.microsoft.com/office/drawing/2014/main" id="{A78DED0E-A593-481F-8B82-AE2631EC5087}"/>
              </a:ext>
            </a:extLst>
          </p:cNvPr>
          <p:cNvSpPr txBox="1"/>
          <p:nvPr/>
        </p:nvSpPr>
        <p:spPr>
          <a:xfrm>
            <a:off x="3810927" y="2077494"/>
            <a:ext cx="238848" cy="107722"/>
          </a:xfrm>
          <a:prstGeom prst="rect">
            <a:avLst/>
          </a:prstGeom>
          <a:noFill/>
          <a:effectLst/>
        </p:spPr>
        <p:txBody>
          <a:bodyPr wrap="none" lIns="0" tIns="0" rIns="0" bIns="0" rtlCol="0" anchor="t" anchorCtr="0">
            <a:spAutoFit/>
          </a:bodyPr>
          <a:lstStyle/>
          <a:p>
            <a:pPr algn="ctr"/>
            <a:r>
              <a:rPr lang="en-GB" sz="700" dirty="0">
                <a:solidFill>
                  <a:schemeClr val="tx2"/>
                </a:solidFill>
              </a:rPr>
              <a:t>Home</a:t>
            </a:r>
          </a:p>
        </p:txBody>
      </p:sp>
      <p:sp>
        <p:nvSpPr>
          <p:cNvPr id="685" name="TextBox 1416">
            <a:extLst>
              <a:ext uri="{FF2B5EF4-FFF2-40B4-BE49-F238E27FC236}">
                <a16:creationId xmlns:a16="http://schemas.microsoft.com/office/drawing/2014/main" id="{538262BF-8977-47A3-9711-A2086D874AE6}"/>
              </a:ext>
            </a:extLst>
          </p:cNvPr>
          <p:cNvSpPr txBox="1"/>
          <p:nvPr/>
        </p:nvSpPr>
        <p:spPr>
          <a:xfrm>
            <a:off x="1702428" y="2077494"/>
            <a:ext cx="274113" cy="107722"/>
          </a:xfrm>
          <a:prstGeom prst="rect">
            <a:avLst/>
          </a:prstGeom>
          <a:noFill/>
          <a:effectLst/>
        </p:spPr>
        <p:txBody>
          <a:bodyPr wrap="none" lIns="0" tIns="0" rIns="0" bIns="0" rtlCol="0" anchor="t" anchorCtr="0">
            <a:spAutoFit/>
          </a:bodyPr>
          <a:lstStyle/>
          <a:p>
            <a:pPr algn="ctr"/>
            <a:r>
              <a:rPr lang="en-GB" sz="700" dirty="0">
                <a:solidFill>
                  <a:schemeClr val="tx2"/>
                </a:solidFill>
              </a:rPr>
              <a:t>Events</a:t>
            </a:r>
          </a:p>
        </p:txBody>
      </p:sp>
      <p:grpSp>
        <p:nvGrpSpPr>
          <p:cNvPr id="4" name="Group 3">
            <a:extLst>
              <a:ext uri="{FF2B5EF4-FFF2-40B4-BE49-F238E27FC236}">
                <a16:creationId xmlns:a16="http://schemas.microsoft.com/office/drawing/2014/main" id="{EF2ED194-0511-A636-5ACF-30A49888A45C}"/>
              </a:ext>
            </a:extLst>
          </p:cNvPr>
          <p:cNvGrpSpPr/>
          <p:nvPr/>
        </p:nvGrpSpPr>
        <p:grpSpPr>
          <a:xfrm>
            <a:off x="2668931" y="2449341"/>
            <a:ext cx="431974" cy="432000"/>
            <a:chOff x="2668931" y="2449341"/>
            <a:chExt cx="431974" cy="432000"/>
          </a:xfrm>
        </p:grpSpPr>
        <p:grpSp>
          <p:nvGrpSpPr>
            <p:cNvPr id="687" name="Grafik 161">
              <a:extLst>
                <a:ext uri="{FF2B5EF4-FFF2-40B4-BE49-F238E27FC236}">
                  <a16:creationId xmlns:a16="http://schemas.microsoft.com/office/drawing/2014/main" id="{93F63B42-1A85-4119-AA92-D71E358AB5AB}"/>
                </a:ext>
              </a:extLst>
            </p:cNvPr>
            <p:cNvGrpSpPr/>
            <p:nvPr/>
          </p:nvGrpSpPr>
          <p:grpSpPr>
            <a:xfrm>
              <a:off x="2703450" y="2662069"/>
              <a:ext cx="362960" cy="219272"/>
              <a:chOff x="2591010" y="2702909"/>
              <a:chExt cx="408326" cy="246679"/>
            </a:xfrm>
            <a:solidFill>
              <a:schemeClr val="accent1"/>
            </a:solidFill>
          </p:grpSpPr>
          <p:sp>
            <p:nvSpPr>
              <p:cNvPr id="692" name="Freihandform: Form 691">
                <a:extLst>
                  <a:ext uri="{FF2B5EF4-FFF2-40B4-BE49-F238E27FC236}">
                    <a16:creationId xmlns:a16="http://schemas.microsoft.com/office/drawing/2014/main" id="{62374977-B917-4B85-9596-A408ADC4E7C6}"/>
                  </a:ext>
                </a:extLst>
              </p:cNvPr>
              <p:cNvSpPr/>
              <p:nvPr/>
            </p:nvSpPr>
            <p:spPr>
              <a:xfrm rot="-1305148">
                <a:off x="2945557" y="2697924"/>
                <a:ext cx="13124" cy="208856"/>
              </a:xfrm>
              <a:custGeom>
                <a:avLst/>
                <a:gdLst>
                  <a:gd name="connsiteX0" fmla="*/ 0 w 13124"/>
                  <a:gd name="connsiteY0" fmla="*/ 0 h 208856"/>
                  <a:gd name="connsiteX1" fmla="*/ 13124 w 13124"/>
                  <a:gd name="connsiteY1" fmla="*/ 0 h 208856"/>
                  <a:gd name="connsiteX2" fmla="*/ 13124 w 13124"/>
                  <a:gd name="connsiteY2" fmla="*/ 208856 h 208856"/>
                  <a:gd name="connsiteX3" fmla="*/ 0 w 13124"/>
                  <a:gd name="connsiteY3" fmla="*/ 208856 h 208856"/>
                </a:gdLst>
                <a:ahLst/>
                <a:cxnLst>
                  <a:cxn ang="0">
                    <a:pos x="connsiteX0" y="connsiteY0"/>
                  </a:cxn>
                  <a:cxn ang="0">
                    <a:pos x="connsiteX1" y="connsiteY1"/>
                  </a:cxn>
                  <a:cxn ang="0">
                    <a:pos x="connsiteX2" y="connsiteY2"/>
                  </a:cxn>
                  <a:cxn ang="0">
                    <a:pos x="connsiteX3" y="connsiteY3"/>
                  </a:cxn>
                </a:cxnLst>
                <a:rect l="l" t="t" r="r" b="b"/>
                <a:pathLst>
                  <a:path w="13124" h="208856">
                    <a:moveTo>
                      <a:pt x="0" y="0"/>
                    </a:moveTo>
                    <a:lnTo>
                      <a:pt x="13124" y="0"/>
                    </a:lnTo>
                    <a:lnTo>
                      <a:pt x="13124" y="208856"/>
                    </a:lnTo>
                    <a:lnTo>
                      <a:pt x="0" y="208856"/>
                    </a:lnTo>
                    <a:close/>
                  </a:path>
                </a:pathLst>
              </a:custGeom>
              <a:solidFill>
                <a:schemeClr val="accent1"/>
              </a:solidFill>
              <a:ln w="2827" cap="flat">
                <a:noFill/>
                <a:prstDash val="solid"/>
                <a:miter/>
              </a:ln>
            </p:spPr>
            <p:txBody>
              <a:bodyPr rtlCol="0" anchor="ctr"/>
              <a:lstStyle/>
              <a:p>
                <a:endParaRPr lang="en-GB" dirty="0"/>
              </a:p>
            </p:txBody>
          </p:sp>
          <p:sp>
            <p:nvSpPr>
              <p:cNvPr id="693" name="Freihandform: Form 692">
                <a:extLst>
                  <a:ext uri="{FF2B5EF4-FFF2-40B4-BE49-F238E27FC236}">
                    <a16:creationId xmlns:a16="http://schemas.microsoft.com/office/drawing/2014/main" id="{CE4DF290-5A06-47AC-AF52-3D9621FFC6E5}"/>
                  </a:ext>
                </a:extLst>
              </p:cNvPr>
              <p:cNvSpPr/>
              <p:nvPr/>
            </p:nvSpPr>
            <p:spPr>
              <a:xfrm rot="-4094852">
                <a:off x="2534559" y="2795508"/>
                <a:ext cx="208289" cy="13124"/>
              </a:xfrm>
              <a:custGeom>
                <a:avLst/>
                <a:gdLst>
                  <a:gd name="connsiteX0" fmla="*/ 0 w 208289"/>
                  <a:gd name="connsiteY0" fmla="*/ 0 h 13124"/>
                  <a:gd name="connsiteX1" fmla="*/ 208289 w 208289"/>
                  <a:gd name="connsiteY1" fmla="*/ 0 h 13124"/>
                  <a:gd name="connsiteX2" fmla="*/ 208289 w 208289"/>
                  <a:gd name="connsiteY2" fmla="*/ 13124 h 13124"/>
                  <a:gd name="connsiteX3" fmla="*/ 0 w 208289"/>
                  <a:gd name="connsiteY3" fmla="*/ 13124 h 13124"/>
                </a:gdLst>
                <a:ahLst/>
                <a:cxnLst>
                  <a:cxn ang="0">
                    <a:pos x="connsiteX0" y="connsiteY0"/>
                  </a:cxn>
                  <a:cxn ang="0">
                    <a:pos x="connsiteX1" y="connsiteY1"/>
                  </a:cxn>
                  <a:cxn ang="0">
                    <a:pos x="connsiteX2" y="connsiteY2"/>
                  </a:cxn>
                  <a:cxn ang="0">
                    <a:pos x="connsiteX3" y="connsiteY3"/>
                  </a:cxn>
                </a:cxnLst>
                <a:rect l="l" t="t" r="r" b="b"/>
                <a:pathLst>
                  <a:path w="208289" h="13124">
                    <a:moveTo>
                      <a:pt x="0" y="0"/>
                    </a:moveTo>
                    <a:lnTo>
                      <a:pt x="208289" y="0"/>
                    </a:lnTo>
                    <a:lnTo>
                      <a:pt x="208289"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694" name="Freihandform: Form 693">
                <a:extLst>
                  <a:ext uri="{FF2B5EF4-FFF2-40B4-BE49-F238E27FC236}">
                    <a16:creationId xmlns:a16="http://schemas.microsoft.com/office/drawing/2014/main" id="{18B4CD8A-EF85-416F-9CBE-E36C3BC3B1B8}"/>
                  </a:ext>
                </a:extLst>
              </p:cNvPr>
              <p:cNvSpPr/>
              <p:nvPr/>
            </p:nvSpPr>
            <p:spPr>
              <a:xfrm>
                <a:off x="2591010" y="2859731"/>
                <a:ext cx="408326" cy="89857"/>
              </a:xfrm>
              <a:custGeom>
                <a:avLst/>
                <a:gdLst>
                  <a:gd name="connsiteX0" fmla="*/ 204178 w 408326"/>
                  <a:gd name="connsiteY0" fmla="*/ 89857 h 89857"/>
                  <a:gd name="connsiteX1" fmla="*/ 0 w 408326"/>
                  <a:gd name="connsiteY1" fmla="*/ 44929 h 89857"/>
                  <a:gd name="connsiteX2" fmla="*/ 204178 w 408326"/>
                  <a:gd name="connsiteY2" fmla="*/ 0 h 89857"/>
                  <a:gd name="connsiteX3" fmla="*/ 408327 w 408326"/>
                  <a:gd name="connsiteY3" fmla="*/ 44929 h 89857"/>
                  <a:gd name="connsiteX4" fmla="*/ 204178 w 408326"/>
                  <a:gd name="connsiteY4" fmla="*/ 89857 h 89857"/>
                  <a:gd name="connsiteX5" fmla="*/ 204178 w 408326"/>
                  <a:gd name="connsiteY5" fmla="*/ 13153 h 89857"/>
                  <a:gd name="connsiteX6" fmla="*/ 13153 w 408326"/>
                  <a:gd name="connsiteY6" fmla="*/ 44929 h 89857"/>
                  <a:gd name="connsiteX7" fmla="*/ 204178 w 408326"/>
                  <a:gd name="connsiteY7" fmla="*/ 76705 h 89857"/>
                  <a:gd name="connsiteX8" fmla="*/ 395203 w 408326"/>
                  <a:gd name="connsiteY8" fmla="*/ 44929 h 89857"/>
                  <a:gd name="connsiteX9" fmla="*/ 204178 w 408326"/>
                  <a:gd name="connsiteY9" fmla="*/ 13153 h 89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8326" h="89857">
                    <a:moveTo>
                      <a:pt x="204178" y="89857"/>
                    </a:moveTo>
                    <a:cubicBezTo>
                      <a:pt x="133567" y="89857"/>
                      <a:pt x="0" y="80475"/>
                      <a:pt x="0" y="44929"/>
                    </a:cubicBezTo>
                    <a:cubicBezTo>
                      <a:pt x="0" y="9383"/>
                      <a:pt x="133539" y="0"/>
                      <a:pt x="204178" y="0"/>
                    </a:cubicBezTo>
                    <a:cubicBezTo>
                      <a:pt x="274788" y="0"/>
                      <a:pt x="408327" y="9383"/>
                      <a:pt x="408327" y="44929"/>
                    </a:cubicBezTo>
                    <a:cubicBezTo>
                      <a:pt x="408327" y="80475"/>
                      <a:pt x="274788" y="89857"/>
                      <a:pt x="204178" y="89857"/>
                    </a:cubicBezTo>
                    <a:close/>
                    <a:moveTo>
                      <a:pt x="204178" y="13153"/>
                    </a:moveTo>
                    <a:cubicBezTo>
                      <a:pt x="80588" y="13153"/>
                      <a:pt x="13153" y="34157"/>
                      <a:pt x="13153" y="44929"/>
                    </a:cubicBezTo>
                    <a:cubicBezTo>
                      <a:pt x="13153" y="55729"/>
                      <a:pt x="80588" y="76705"/>
                      <a:pt x="204178" y="76705"/>
                    </a:cubicBezTo>
                    <a:cubicBezTo>
                      <a:pt x="327767" y="76705"/>
                      <a:pt x="395203" y="55700"/>
                      <a:pt x="395203" y="44929"/>
                    </a:cubicBezTo>
                    <a:cubicBezTo>
                      <a:pt x="395203" y="34157"/>
                      <a:pt x="327767" y="13153"/>
                      <a:pt x="204178" y="13153"/>
                    </a:cubicBezTo>
                    <a:close/>
                  </a:path>
                </a:pathLst>
              </a:custGeom>
              <a:solidFill>
                <a:schemeClr val="accent1"/>
              </a:solidFill>
              <a:ln w="2827" cap="flat">
                <a:noFill/>
                <a:prstDash val="solid"/>
                <a:miter/>
              </a:ln>
            </p:spPr>
            <p:txBody>
              <a:bodyPr rtlCol="0" anchor="ctr"/>
              <a:lstStyle/>
              <a:p>
                <a:endParaRPr lang="en-GB" dirty="0"/>
              </a:p>
            </p:txBody>
          </p:sp>
        </p:grpSp>
        <p:grpSp>
          <p:nvGrpSpPr>
            <p:cNvPr id="688" name="Grafik 161">
              <a:extLst>
                <a:ext uri="{FF2B5EF4-FFF2-40B4-BE49-F238E27FC236}">
                  <a16:creationId xmlns:a16="http://schemas.microsoft.com/office/drawing/2014/main" id="{02FEDA82-EA44-49E7-98EC-A64DB9944ED3}"/>
                </a:ext>
              </a:extLst>
            </p:cNvPr>
            <p:cNvGrpSpPr/>
            <p:nvPr/>
          </p:nvGrpSpPr>
          <p:grpSpPr>
            <a:xfrm>
              <a:off x="2668931" y="2449341"/>
              <a:ext cx="431974" cy="195250"/>
              <a:chOff x="2552176" y="2463593"/>
              <a:chExt cx="485966" cy="219654"/>
            </a:xfrm>
            <a:solidFill>
              <a:schemeClr val="tx2"/>
            </a:solidFill>
          </p:grpSpPr>
          <p:sp>
            <p:nvSpPr>
              <p:cNvPr id="689" name="Freihandform: Form 688">
                <a:extLst>
                  <a:ext uri="{FF2B5EF4-FFF2-40B4-BE49-F238E27FC236}">
                    <a16:creationId xmlns:a16="http://schemas.microsoft.com/office/drawing/2014/main" id="{E6F44547-1A06-4E3D-ADE9-D5AF0D84FF0B}"/>
                  </a:ext>
                </a:extLst>
              </p:cNvPr>
              <p:cNvSpPr/>
              <p:nvPr/>
            </p:nvSpPr>
            <p:spPr>
              <a:xfrm>
                <a:off x="2552176" y="2537917"/>
                <a:ext cx="485966" cy="145330"/>
              </a:xfrm>
              <a:custGeom>
                <a:avLst/>
                <a:gdLst>
                  <a:gd name="connsiteX0" fmla="*/ 243012 w 485966"/>
                  <a:gd name="connsiteY0" fmla="*/ 145331 h 145330"/>
                  <a:gd name="connsiteX1" fmla="*/ 0 w 485966"/>
                  <a:gd name="connsiteY1" fmla="*/ 67946 h 145330"/>
                  <a:gd name="connsiteX2" fmla="*/ 129514 w 485966"/>
                  <a:gd name="connsiteY2" fmla="*/ 454 h 145330"/>
                  <a:gd name="connsiteX3" fmla="*/ 132036 w 485966"/>
                  <a:gd name="connsiteY3" fmla="*/ 0 h 145330"/>
                  <a:gd name="connsiteX4" fmla="*/ 134871 w 485966"/>
                  <a:gd name="connsiteY4" fmla="*/ 12841 h 145330"/>
                  <a:gd name="connsiteX5" fmla="*/ 131866 w 485966"/>
                  <a:gd name="connsiteY5" fmla="*/ 13379 h 145330"/>
                  <a:gd name="connsiteX6" fmla="*/ 13124 w 485966"/>
                  <a:gd name="connsiteY6" fmla="*/ 67946 h 145330"/>
                  <a:gd name="connsiteX7" fmla="*/ 242983 w 485966"/>
                  <a:gd name="connsiteY7" fmla="*/ 132178 h 145330"/>
                  <a:gd name="connsiteX8" fmla="*/ 472843 w 485966"/>
                  <a:gd name="connsiteY8" fmla="*/ 67946 h 145330"/>
                  <a:gd name="connsiteX9" fmla="*/ 351748 w 485966"/>
                  <a:gd name="connsiteY9" fmla="*/ 12954 h 145330"/>
                  <a:gd name="connsiteX10" fmla="*/ 354044 w 485966"/>
                  <a:gd name="connsiteY10" fmla="*/ 28 h 145330"/>
                  <a:gd name="connsiteX11" fmla="*/ 485967 w 485966"/>
                  <a:gd name="connsiteY11" fmla="*/ 67946 h 145330"/>
                  <a:gd name="connsiteX12" fmla="*/ 243012 w 485966"/>
                  <a:gd name="connsiteY12" fmla="*/ 145331 h 145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5966" h="145330">
                    <a:moveTo>
                      <a:pt x="243012" y="145331"/>
                    </a:moveTo>
                    <a:cubicBezTo>
                      <a:pt x="115822" y="145331"/>
                      <a:pt x="0" y="108452"/>
                      <a:pt x="0" y="67946"/>
                    </a:cubicBezTo>
                    <a:cubicBezTo>
                      <a:pt x="0" y="35546"/>
                      <a:pt x="69788" y="11338"/>
                      <a:pt x="129514" y="454"/>
                    </a:cubicBezTo>
                    <a:lnTo>
                      <a:pt x="132036" y="0"/>
                    </a:lnTo>
                    <a:lnTo>
                      <a:pt x="134871" y="12841"/>
                    </a:lnTo>
                    <a:lnTo>
                      <a:pt x="131866" y="13379"/>
                    </a:lnTo>
                    <a:cubicBezTo>
                      <a:pt x="54736" y="27439"/>
                      <a:pt x="13124" y="51987"/>
                      <a:pt x="13124" y="67946"/>
                    </a:cubicBezTo>
                    <a:cubicBezTo>
                      <a:pt x="13124" y="93202"/>
                      <a:pt x="111826" y="132178"/>
                      <a:pt x="242983" y="132178"/>
                    </a:cubicBezTo>
                    <a:cubicBezTo>
                      <a:pt x="374141" y="132178"/>
                      <a:pt x="472843" y="93202"/>
                      <a:pt x="472843" y="67946"/>
                    </a:cubicBezTo>
                    <a:cubicBezTo>
                      <a:pt x="472843" y="51477"/>
                      <a:pt x="427545" y="26419"/>
                      <a:pt x="351748" y="12954"/>
                    </a:cubicBezTo>
                    <a:lnTo>
                      <a:pt x="354044" y="28"/>
                    </a:lnTo>
                    <a:cubicBezTo>
                      <a:pt x="414903" y="10828"/>
                      <a:pt x="485967" y="35093"/>
                      <a:pt x="485967" y="67946"/>
                    </a:cubicBezTo>
                    <a:cubicBezTo>
                      <a:pt x="486023" y="108452"/>
                      <a:pt x="370201" y="145331"/>
                      <a:pt x="243012" y="145331"/>
                    </a:cubicBezTo>
                    <a:close/>
                  </a:path>
                </a:pathLst>
              </a:custGeom>
              <a:grpFill/>
              <a:ln w="2827" cap="flat">
                <a:noFill/>
                <a:prstDash val="solid"/>
                <a:miter/>
              </a:ln>
            </p:spPr>
            <p:txBody>
              <a:bodyPr rtlCol="0" anchor="ctr"/>
              <a:lstStyle/>
              <a:p>
                <a:endParaRPr lang="en-GB" dirty="0"/>
              </a:p>
            </p:txBody>
          </p:sp>
          <p:sp>
            <p:nvSpPr>
              <p:cNvPr id="690" name="Freihandform: Form 689">
                <a:extLst>
                  <a:ext uri="{FF2B5EF4-FFF2-40B4-BE49-F238E27FC236}">
                    <a16:creationId xmlns:a16="http://schemas.microsoft.com/office/drawing/2014/main" id="{DBDE34CC-FF99-4212-971F-03B523752C2E}"/>
                  </a:ext>
                </a:extLst>
              </p:cNvPr>
              <p:cNvSpPr/>
              <p:nvPr/>
            </p:nvSpPr>
            <p:spPr>
              <a:xfrm>
                <a:off x="2670407" y="2463593"/>
                <a:ext cx="249559" cy="148845"/>
              </a:xfrm>
              <a:custGeom>
                <a:avLst/>
                <a:gdLst>
                  <a:gd name="connsiteX0" fmla="*/ 124780 w 249559"/>
                  <a:gd name="connsiteY0" fmla="*/ 148846 h 148845"/>
                  <a:gd name="connsiteX1" fmla="*/ 3912 w 249559"/>
                  <a:gd name="connsiteY1" fmla="*/ 130591 h 148845"/>
                  <a:gd name="connsiteX2" fmla="*/ 0 w 249559"/>
                  <a:gd name="connsiteY2" fmla="*/ 128862 h 148845"/>
                  <a:gd name="connsiteX3" fmla="*/ 0 w 249559"/>
                  <a:gd name="connsiteY3" fmla="*/ 124581 h 148845"/>
                  <a:gd name="connsiteX4" fmla="*/ 124780 w 249559"/>
                  <a:gd name="connsiteY4" fmla="*/ 0 h 148845"/>
                  <a:gd name="connsiteX5" fmla="*/ 249560 w 249559"/>
                  <a:gd name="connsiteY5" fmla="*/ 124581 h 148845"/>
                  <a:gd name="connsiteX6" fmla="*/ 249560 w 249559"/>
                  <a:gd name="connsiteY6" fmla="*/ 128862 h 148845"/>
                  <a:gd name="connsiteX7" fmla="*/ 245648 w 249559"/>
                  <a:gd name="connsiteY7" fmla="*/ 130591 h 148845"/>
                  <a:gd name="connsiteX8" fmla="*/ 124780 w 249559"/>
                  <a:gd name="connsiteY8" fmla="*/ 148846 h 148845"/>
                  <a:gd name="connsiteX9" fmla="*/ 13209 w 249559"/>
                  <a:gd name="connsiteY9" fmla="*/ 120074 h 148845"/>
                  <a:gd name="connsiteX10" fmla="*/ 124780 w 249559"/>
                  <a:gd name="connsiteY10" fmla="*/ 135693 h 148845"/>
                  <a:gd name="connsiteX11" fmla="*/ 236350 w 249559"/>
                  <a:gd name="connsiteY11" fmla="*/ 120074 h 148845"/>
                  <a:gd name="connsiteX12" fmla="*/ 124780 w 249559"/>
                  <a:gd name="connsiteY12" fmla="*/ 13096 h 148845"/>
                  <a:gd name="connsiteX13" fmla="*/ 13209 w 249559"/>
                  <a:gd name="connsiteY13" fmla="*/ 120074 h 148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49559" h="148845">
                    <a:moveTo>
                      <a:pt x="124780" y="148846"/>
                    </a:moveTo>
                    <a:cubicBezTo>
                      <a:pt x="45978" y="148846"/>
                      <a:pt x="5584" y="131328"/>
                      <a:pt x="3912" y="130591"/>
                    </a:cubicBezTo>
                    <a:lnTo>
                      <a:pt x="0" y="128862"/>
                    </a:lnTo>
                    <a:lnTo>
                      <a:pt x="0" y="124581"/>
                    </a:lnTo>
                    <a:cubicBezTo>
                      <a:pt x="0" y="55899"/>
                      <a:pt x="55984" y="0"/>
                      <a:pt x="124780" y="0"/>
                    </a:cubicBezTo>
                    <a:cubicBezTo>
                      <a:pt x="193576" y="0"/>
                      <a:pt x="249560" y="55899"/>
                      <a:pt x="249560" y="124581"/>
                    </a:cubicBezTo>
                    <a:lnTo>
                      <a:pt x="249560" y="128862"/>
                    </a:lnTo>
                    <a:lnTo>
                      <a:pt x="245648" y="130591"/>
                    </a:lnTo>
                    <a:cubicBezTo>
                      <a:pt x="243976" y="131328"/>
                      <a:pt x="203582" y="148846"/>
                      <a:pt x="124780" y="148846"/>
                    </a:cubicBezTo>
                    <a:close/>
                    <a:moveTo>
                      <a:pt x="13209" y="120074"/>
                    </a:moveTo>
                    <a:cubicBezTo>
                      <a:pt x="25001" y="124270"/>
                      <a:pt x="62702" y="135693"/>
                      <a:pt x="124780" y="135693"/>
                    </a:cubicBezTo>
                    <a:cubicBezTo>
                      <a:pt x="186830" y="135693"/>
                      <a:pt x="224559" y="124298"/>
                      <a:pt x="236350" y="120074"/>
                    </a:cubicBezTo>
                    <a:cubicBezTo>
                      <a:pt x="233998" y="60689"/>
                      <a:pt x="184845" y="13096"/>
                      <a:pt x="124780" y="13096"/>
                    </a:cubicBezTo>
                    <a:cubicBezTo>
                      <a:pt x="64714" y="13124"/>
                      <a:pt x="15590" y="60718"/>
                      <a:pt x="13209" y="120074"/>
                    </a:cubicBezTo>
                    <a:close/>
                  </a:path>
                </a:pathLst>
              </a:custGeom>
              <a:grpFill/>
              <a:ln w="2827" cap="flat">
                <a:noFill/>
                <a:prstDash val="solid"/>
                <a:miter/>
              </a:ln>
            </p:spPr>
            <p:txBody>
              <a:bodyPr rtlCol="0" anchor="ctr"/>
              <a:lstStyle/>
              <a:p>
                <a:endParaRPr lang="en-GB" dirty="0"/>
              </a:p>
            </p:txBody>
          </p:sp>
          <p:sp>
            <p:nvSpPr>
              <p:cNvPr id="691" name="Freihandform: Form 690">
                <a:extLst>
                  <a:ext uri="{FF2B5EF4-FFF2-40B4-BE49-F238E27FC236}">
                    <a16:creationId xmlns:a16="http://schemas.microsoft.com/office/drawing/2014/main" id="{5656E506-9856-477C-9258-D9F2DF39697E}"/>
                  </a:ext>
                </a:extLst>
              </p:cNvPr>
              <p:cNvSpPr/>
              <p:nvPr/>
            </p:nvSpPr>
            <p:spPr>
              <a:xfrm>
                <a:off x="2589961" y="2601072"/>
                <a:ext cx="363143" cy="50144"/>
              </a:xfrm>
              <a:custGeom>
                <a:avLst/>
                <a:gdLst>
                  <a:gd name="connsiteX0" fmla="*/ 205000 w 363143"/>
                  <a:gd name="connsiteY0" fmla="*/ 50144 h 50144"/>
                  <a:gd name="connsiteX1" fmla="*/ 205000 w 363143"/>
                  <a:gd name="connsiteY1" fmla="*/ 37020 h 50144"/>
                  <a:gd name="connsiteX2" fmla="*/ 257128 w 363143"/>
                  <a:gd name="connsiteY2" fmla="*/ 35489 h 50144"/>
                  <a:gd name="connsiteX3" fmla="*/ 257922 w 363143"/>
                  <a:gd name="connsiteY3" fmla="*/ 48585 h 50144"/>
                  <a:gd name="connsiteX4" fmla="*/ 205000 w 363143"/>
                  <a:gd name="connsiteY4" fmla="*/ 50144 h 50144"/>
                  <a:gd name="connsiteX5" fmla="*/ 152077 w 363143"/>
                  <a:gd name="connsiteY5" fmla="*/ 48585 h 50144"/>
                  <a:gd name="connsiteX6" fmla="*/ 99268 w 363143"/>
                  <a:gd name="connsiteY6" fmla="*/ 43511 h 50144"/>
                  <a:gd name="connsiteX7" fmla="*/ 101054 w 363143"/>
                  <a:gd name="connsiteY7" fmla="*/ 30501 h 50144"/>
                  <a:gd name="connsiteX8" fmla="*/ 152871 w 363143"/>
                  <a:gd name="connsiteY8" fmla="*/ 35489 h 50144"/>
                  <a:gd name="connsiteX9" fmla="*/ 152077 w 363143"/>
                  <a:gd name="connsiteY9" fmla="*/ 48585 h 50144"/>
                  <a:gd name="connsiteX10" fmla="*/ 310759 w 363143"/>
                  <a:gd name="connsiteY10" fmla="*/ 43483 h 50144"/>
                  <a:gd name="connsiteX11" fmla="*/ 308973 w 363143"/>
                  <a:gd name="connsiteY11" fmla="*/ 30472 h 50144"/>
                  <a:gd name="connsiteX12" fmla="*/ 359600 w 363143"/>
                  <a:gd name="connsiteY12" fmla="*/ 20466 h 50144"/>
                  <a:gd name="connsiteX13" fmla="*/ 363143 w 363143"/>
                  <a:gd name="connsiteY13" fmla="*/ 33108 h 50144"/>
                  <a:gd name="connsiteX14" fmla="*/ 310759 w 363143"/>
                  <a:gd name="connsiteY14" fmla="*/ 43483 h 50144"/>
                  <a:gd name="connsiteX15" fmla="*/ 46856 w 363143"/>
                  <a:gd name="connsiteY15" fmla="*/ 33165 h 50144"/>
                  <a:gd name="connsiteX16" fmla="*/ 0 w 363143"/>
                  <a:gd name="connsiteY16" fmla="*/ 0 h 50144"/>
                  <a:gd name="connsiteX17" fmla="*/ 13124 w 363143"/>
                  <a:gd name="connsiteY17" fmla="*/ 0 h 50144"/>
                  <a:gd name="connsiteX18" fmla="*/ 50400 w 363143"/>
                  <a:gd name="connsiteY18" fmla="*/ 20494 h 50144"/>
                  <a:gd name="connsiteX19" fmla="*/ 46856 w 363143"/>
                  <a:gd name="connsiteY19" fmla="*/ 33165 h 50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63143" h="50144">
                    <a:moveTo>
                      <a:pt x="205000" y="50144"/>
                    </a:moveTo>
                    <a:lnTo>
                      <a:pt x="205000" y="37020"/>
                    </a:lnTo>
                    <a:cubicBezTo>
                      <a:pt x="222716" y="37020"/>
                      <a:pt x="240262" y="36510"/>
                      <a:pt x="257128" y="35489"/>
                    </a:cubicBezTo>
                    <a:lnTo>
                      <a:pt x="257922" y="48585"/>
                    </a:lnTo>
                    <a:cubicBezTo>
                      <a:pt x="240801" y="49606"/>
                      <a:pt x="223000" y="50144"/>
                      <a:pt x="205000" y="50144"/>
                    </a:cubicBezTo>
                    <a:close/>
                    <a:moveTo>
                      <a:pt x="152077" y="48585"/>
                    </a:moveTo>
                    <a:cubicBezTo>
                      <a:pt x="133454" y="47480"/>
                      <a:pt x="115709" y="45751"/>
                      <a:pt x="99268" y="43511"/>
                    </a:cubicBezTo>
                    <a:lnTo>
                      <a:pt x="101054" y="30501"/>
                    </a:lnTo>
                    <a:cubicBezTo>
                      <a:pt x="117155" y="32712"/>
                      <a:pt x="134588" y="34384"/>
                      <a:pt x="152871" y="35489"/>
                    </a:cubicBezTo>
                    <a:lnTo>
                      <a:pt x="152077" y="48585"/>
                    </a:lnTo>
                    <a:close/>
                    <a:moveTo>
                      <a:pt x="310759" y="43483"/>
                    </a:moveTo>
                    <a:lnTo>
                      <a:pt x="308973" y="30472"/>
                    </a:lnTo>
                    <a:cubicBezTo>
                      <a:pt x="328476" y="27808"/>
                      <a:pt x="345512" y="24434"/>
                      <a:pt x="359600" y="20466"/>
                    </a:cubicBezTo>
                    <a:lnTo>
                      <a:pt x="363143" y="33108"/>
                    </a:lnTo>
                    <a:cubicBezTo>
                      <a:pt x="348488" y="37219"/>
                      <a:pt x="330857" y="40705"/>
                      <a:pt x="310759" y="43483"/>
                    </a:cubicBezTo>
                    <a:close/>
                    <a:moveTo>
                      <a:pt x="46856" y="33165"/>
                    </a:moveTo>
                    <a:cubicBezTo>
                      <a:pt x="15335" y="24321"/>
                      <a:pt x="0" y="13464"/>
                      <a:pt x="0" y="0"/>
                    </a:cubicBezTo>
                    <a:lnTo>
                      <a:pt x="13124" y="0"/>
                    </a:lnTo>
                    <a:cubicBezTo>
                      <a:pt x="13124" y="3742"/>
                      <a:pt x="20976" y="12246"/>
                      <a:pt x="50400" y="20494"/>
                    </a:cubicBezTo>
                    <a:lnTo>
                      <a:pt x="46856" y="33165"/>
                    </a:lnTo>
                    <a:close/>
                  </a:path>
                </a:pathLst>
              </a:custGeom>
              <a:grpFill/>
              <a:ln w="2827" cap="flat">
                <a:noFill/>
                <a:prstDash val="solid"/>
                <a:miter/>
              </a:ln>
            </p:spPr>
            <p:txBody>
              <a:bodyPr rtlCol="0" anchor="ctr"/>
              <a:lstStyle/>
              <a:p>
                <a:endParaRPr lang="en-GB" dirty="0"/>
              </a:p>
            </p:txBody>
          </p:sp>
        </p:grpSp>
      </p:grpSp>
      <p:grpSp>
        <p:nvGrpSpPr>
          <p:cNvPr id="695" name="Group 726">
            <a:extLst>
              <a:ext uri="{FF2B5EF4-FFF2-40B4-BE49-F238E27FC236}">
                <a16:creationId xmlns:a16="http://schemas.microsoft.com/office/drawing/2014/main" id="{D7FF8EF6-CAF7-4E1B-8B80-42CA550ED742}"/>
              </a:ext>
            </a:extLst>
          </p:cNvPr>
          <p:cNvGrpSpPr>
            <a:grpSpLocks noChangeAspect="1"/>
          </p:cNvGrpSpPr>
          <p:nvPr/>
        </p:nvGrpSpPr>
        <p:grpSpPr>
          <a:xfrm>
            <a:off x="3714351" y="2449341"/>
            <a:ext cx="432000" cy="432000"/>
            <a:chOff x="3379714" y="2463565"/>
            <a:chExt cx="486023" cy="486023"/>
          </a:xfrm>
        </p:grpSpPr>
        <p:grpSp>
          <p:nvGrpSpPr>
            <p:cNvPr id="696" name="Group 724">
              <a:extLst>
                <a:ext uri="{FF2B5EF4-FFF2-40B4-BE49-F238E27FC236}">
                  <a16:creationId xmlns:a16="http://schemas.microsoft.com/office/drawing/2014/main" id="{B92AA2E9-AFAC-42A0-A082-C8ABF37715F0}"/>
                </a:ext>
              </a:extLst>
            </p:cNvPr>
            <p:cNvGrpSpPr/>
            <p:nvPr/>
          </p:nvGrpSpPr>
          <p:grpSpPr>
            <a:xfrm>
              <a:off x="3545822" y="2660599"/>
              <a:ext cx="285133" cy="157605"/>
              <a:chOff x="3545823" y="2660599"/>
              <a:chExt cx="285133" cy="157605"/>
            </a:xfrm>
          </p:grpSpPr>
          <p:sp>
            <p:nvSpPr>
              <p:cNvPr id="703" name="Freihandform: Form 702">
                <a:extLst>
                  <a:ext uri="{FF2B5EF4-FFF2-40B4-BE49-F238E27FC236}">
                    <a16:creationId xmlns:a16="http://schemas.microsoft.com/office/drawing/2014/main" id="{539F72DD-8406-43C6-BD53-8B13899731F8}"/>
                  </a:ext>
                </a:extLst>
              </p:cNvPr>
              <p:cNvSpPr/>
              <p:nvPr/>
            </p:nvSpPr>
            <p:spPr>
              <a:xfrm>
                <a:off x="3545823" y="2733421"/>
                <a:ext cx="150744" cy="84783"/>
              </a:xfrm>
              <a:custGeom>
                <a:avLst/>
                <a:gdLst>
                  <a:gd name="connsiteX0" fmla="*/ 141448 w 150744"/>
                  <a:gd name="connsiteY0" fmla="*/ 84783 h 84783"/>
                  <a:gd name="connsiteX1" fmla="*/ 75259 w 150744"/>
                  <a:gd name="connsiteY1" fmla="*/ 18595 h 84783"/>
                  <a:gd name="connsiteX2" fmla="*/ 9298 w 150744"/>
                  <a:gd name="connsiteY2" fmla="*/ 84528 h 84783"/>
                  <a:gd name="connsiteX3" fmla="*/ 0 w 150744"/>
                  <a:gd name="connsiteY3" fmla="*/ 75259 h 84783"/>
                  <a:gd name="connsiteX4" fmla="*/ 75259 w 150744"/>
                  <a:gd name="connsiteY4" fmla="*/ 0 h 84783"/>
                  <a:gd name="connsiteX5" fmla="*/ 150745 w 150744"/>
                  <a:gd name="connsiteY5" fmla="*/ 75514 h 84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0744" h="84783">
                    <a:moveTo>
                      <a:pt x="141448" y="84783"/>
                    </a:moveTo>
                    <a:lnTo>
                      <a:pt x="75259" y="18595"/>
                    </a:lnTo>
                    <a:lnTo>
                      <a:pt x="9298" y="84528"/>
                    </a:lnTo>
                    <a:lnTo>
                      <a:pt x="0" y="75259"/>
                    </a:lnTo>
                    <a:lnTo>
                      <a:pt x="75259" y="0"/>
                    </a:lnTo>
                    <a:lnTo>
                      <a:pt x="150745" y="75514"/>
                    </a:lnTo>
                    <a:close/>
                  </a:path>
                </a:pathLst>
              </a:custGeom>
              <a:solidFill>
                <a:schemeClr val="accent1"/>
              </a:solidFill>
              <a:ln w="2827" cap="flat">
                <a:noFill/>
                <a:prstDash val="solid"/>
                <a:miter/>
              </a:ln>
            </p:spPr>
            <p:txBody>
              <a:bodyPr rtlCol="0" anchor="ctr"/>
              <a:lstStyle/>
              <a:p>
                <a:endParaRPr lang="en-GB" dirty="0"/>
              </a:p>
            </p:txBody>
          </p:sp>
          <p:sp>
            <p:nvSpPr>
              <p:cNvPr id="704" name="Freihandform: Form 703">
                <a:extLst>
                  <a:ext uri="{FF2B5EF4-FFF2-40B4-BE49-F238E27FC236}">
                    <a16:creationId xmlns:a16="http://schemas.microsoft.com/office/drawing/2014/main" id="{9E74D7F0-BB17-4147-B1A9-5E617BF86545}"/>
                  </a:ext>
                </a:extLst>
              </p:cNvPr>
              <p:cNvSpPr/>
              <p:nvPr/>
            </p:nvSpPr>
            <p:spPr>
              <a:xfrm>
                <a:off x="3663771" y="2690731"/>
                <a:ext cx="167185" cy="104512"/>
              </a:xfrm>
              <a:custGeom>
                <a:avLst/>
                <a:gdLst>
                  <a:gd name="connsiteX0" fmla="*/ 9298 w 167185"/>
                  <a:gd name="connsiteY0" fmla="*/ 104512 h 104512"/>
                  <a:gd name="connsiteX1" fmla="*/ 0 w 167185"/>
                  <a:gd name="connsiteY1" fmla="*/ 95215 h 104512"/>
                  <a:gd name="connsiteX2" fmla="*/ 95215 w 167185"/>
                  <a:gd name="connsiteY2" fmla="*/ 0 h 104512"/>
                  <a:gd name="connsiteX3" fmla="*/ 167186 w 167185"/>
                  <a:gd name="connsiteY3" fmla="*/ 71971 h 104512"/>
                  <a:gd name="connsiteX4" fmla="*/ 157917 w 167185"/>
                  <a:gd name="connsiteY4" fmla="*/ 81268 h 104512"/>
                  <a:gd name="connsiteX5" fmla="*/ 95215 w 167185"/>
                  <a:gd name="connsiteY5" fmla="*/ 18567 h 10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7185" h="104512">
                    <a:moveTo>
                      <a:pt x="9298" y="104512"/>
                    </a:moveTo>
                    <a:lnTo>
                      <a:pt x="0" y="95215"/>
                    </a:lnTo>
                    <a:lnTo>
                      <a:pt x="95215" y="0"/>
                    </a:lnTo>
                    <a:lnTo>
                      <a:pt x="167186" y="71971"/>
                    </a:lnTo>
                    <a:lnTo>
                      <a:pt x="157917" y="81268"/>
                    </a:lnTo>
                    <a:lnTo>
                      <a:pt x="95215" y="18567"/>
                    </a:lnTo>
                    <a:close/>
                  </a:path>
                </a:pathLst>
              </a:custGeom>
              <a:solidFill>
                <a:schemeClr val="accent1"/>
              </a:solidFill>
              <a:ln w="2827" cap="flat">
                <a:noFill/>
                <a:prstDash val="solid"/>
                <a:miter/>
              </a:ln>
            </p:spPr>
            <p:txBody>
              <a:bodyPr rtlCol="0" anchor="ctr"/>
              <a:lstStyle/>
              <a:p>
                <a:endParaRPr lang="en-GB" dirty="0"/>
              </a:p>
            </p:txBody>
          </p:sp>
          <p:sp>
            <p:nvSpPr>
              <p:cNvPr id="705" name="Freihandform: Form 704">
                <a:extLst>
                  <a:ext uri="{FF2B5EF4-FFF2-40B4-BE49-F238E27FC236}">
                    <a16:creationId xmlns:a16="http://schemas.microsoft.com/office/drawing/2014/main" id="{AEA15707-7030-4DD5-9003-F42E1FF84F4F}"/>
                  </a:ext>
                </a:extLst>
              </p:cNvPr>
              <p:cNvSpPr/>
              <p:nvPr/>
            </p:nvSpPr>
            <p:spPr>
              <a:xfrm>
                <a:off x="3596449" y="2660599"/>
                <a:ext cx="52553" cy="52553"/>
              </a:xfrm>
              <a:custGeom>
                <a:avLst/>
                <a:gdLst>
                  <a:gd name="connsiteX0" fmla="*/ 26277 w 52553"/>
                  <a:gd name="connsiteY0" fmla="*/ 52554 h 52553"/>
                  <a:gd name="connsiteX1" fmla="*/ 0 w 52553"/>
                  <a:gd name="connsiteY1" fmla="*/ 26277 h 52553"/>
                  <a:gd name="connsiteX2" fmla="*/ 26277 w 52553"/>
                  <a:gd name="connsiteY2" fmla="*/ 0 h 52553"/>
                  <a:gd name="connsiteX3" fmla="*/ 52554 w 52553"/>
                  <a:gd name="connsiteY3" fmla="*/ 26277 h 52553"/>
                  <a:gd name="connsiteX4" fmla="*/ 26277 w 52553"/>
                  <a:gd name="connsiteY4" fmla="*/ 52554 h 52553"/>
                  <a:gd name="connsiteX5" fmla="*/ 26277 w 52553"/>
                  <a:gd name="connsiteY5" fmla="*/ 13153 h 52553"/>
                  <a:gd name="connsiteX6" fmla="*/ 13153 w 52553"/>
                  <a:gd name="connsiteY6" fmla="*/ 26277 h 52553"/>
                  <a:gd name="connsiteX7" fmla="*/ 26277 w 52553"/>
                  <a:gd name="connsiteY7" fmla="*/ 39401 h 52553"/>
                  <a:gd name="connsiteX8" fmla="*/ 39401 w 52553"/>
                  <a:gd name="connsiteY8" fmla="*/ 26277 h 52553"/>
                  <a:gd name="connsiteX9" fmla="*/ 26277 w 52553"/>
                  <a:gd name="connsiteY9" fmla="*/ 13153 h 5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53" h="52553">
                    <a:moveTo>
                      <a:pt x="26277" y="52554"/>
                    </a:moveTo>
                    <a:cubicBezTo>
                      <a:pt x="11792" y="52554"/>
                      <a:pt x="0" y="40762"/>
                      <a:pt x="0" y="26277"/>
                    </a:cubicBezTo>
                    <a:cubicBezTo>
                      <a:pt x="0" y="11792"/>
                      <a:pt x="11792" y="0"/>
                      <a:pt x="26277" y="0"/>
                    </a:cubicBezTo>
                    <a:cubicBezTo>
                      <a:pt x="40762" y="0"/>
                      <a:pt x="52554" y="11792"/>
                      <a:pt x="52554" y="26277"/>
                    </a:cubicBezTo>
                    <a:cubicBezTo>
                      <a:pt x="52554" y="40762"/>
                      <a:pt x="40762" y="52554"/>
                      <a:pt x="26277" y="52554"/>
                    </a:cubicBezTo>
                    <a:close/>
                    <a:moveTo>
                      <a:pt x="26277" y="13153"/>
                    </a:moveTo>
                    <a:cubicBezTo>
                      <a:pt x="19049" y="13153"/>
                      <a:pt x="13153" y="19049"/>
                      <a:pt x="13153" y="26277"/>
                    </a:cubicBezTo>
                    <a:cubicBezTo>
                      <a:pt x="13153" y="33533"/>
                      <a:pt x="19049" y="39401"/>
                      <a:pt x="26277" y="39401"/>
                    </a:cubicBezTo>
                    <a:cubicBezTo>
                      <a:pt x="33505" y="39401"/>
                      <a:pt x="39401" y="33505"/>
                      <a:pt x="39401" y="26277"/>
                    </a:cubicBezTo>
                    <a:cubicBezTo>
                      <a:pt x="39401" y="19049"/>
                      <a:pt x="33505" y="13153"/>
                      <a:pt x="26277" y="13153"/>
                    </a:cubicBezTo>
                    <a:close/>
                  </a:path>
                </a:pathLst>
              </a:custGeom>
              <a:solidFill>
                <a:schemeClr val="accent1"/>
              </a:solidFill>
              <a:ln w="2827" cap="flat">
                <a:noFill/>
                <a:prstDash val="solid"/>
                <a:miter/>
              </a:ln>
            </p:spPr>
            <p:txBody>
              <a:bodyPr rtlCol="0" anchor="ctr"/>
              <a:lstStyle/>
              <a:p>
                <a:endParaRPr lang="en-GB" dirty="0"/>
              </a:p>
            </p:txBody>
          </p:sp>
          <p:sp>
            <p:nvSpPr>
              <p:cNvPr id="706" name="Freihandform: Form 705">
                <a:extLst>
                  <a:ext uri="{FF2B5EF4-FFF2-40B4-BE49-F238E27FC236}">
                    <a16:creationId xmlns:a16="http://schemas.microsoft.com/office/drawing/2014/main" id="{FD2394A1-56AC-4B8C-A9D5-490FB7984082}"/>
                  </a:ext>
                </a:extLst>
              </p:cNvPr>
              <p:cNvSpPr/>
              <p:nvPr/>
            </p:nvSpPr>
            <p:spPr>
              <a:xfrm>
                <a:off x="3714936" y="2729934"/>
                <a:ext cx="88100" cy="38267"/>
              </a:xfrm>
              <a:custGeom>
                <a:avLst/>
                <a:gdLst>
                  <a:gd name="connsiteX0" fmla="*/ 63779 w 88100"/>
                  <a:gd name="connsiteY0" fmla="*/ 38267 h 38267"/>
                  <a:gd name="connsiteX1" fmla="*/ 44050 w 88100"/>
                  <a:gd name="connsiteY1" fmla="*/ 18567 h 38267"/>
                  <a:gd name="connsiteX2" fmla="*/ 24350 w 88100"/>
                  <a:gd name="connsiteY2" fmla="*/ 38267 h 38267"/>
                  <a:gd name="connsiteX3" fmla="*/ 0 w 88100"/>
                  <a:gd name="connsiteY3" fmla="*/ 13918 h 38267"/>
                  <a:gd name="connsiteX4" fmla="*/ 9298 w 88100"/>
                  <a:gd name="connsiteY4" fmla="*/ 4649 h 38267"/>
                  <a:gd name="connsiteX5" fmla="*/ 24350 w 88100"/>
                  <a:gd name="connsiteY5" fmla="*/ 19701 h 38267"/>
                  <a:gd name="connsiteX6" fmla="*/ 44050 w 88100"/>
                  <a:gd name="connsiteY6" fmla="*/ 0 h 38267"/>
                  <a:gd name="connsiteX7" fmla="*/ 63779 w 88100"/>
                  <a:gd name="connsiteY7" fmla="*/ 19701 h 38267"/>
                  <a:gd name="connsiteX8" fmla="*/ 78831 w 88100"/>
                  <a:gd name="connsiteY8" fmla="*/ 4649 h 38267"/>
                  <a:gd name="connsiteX9" fmla="*/ 88100 w 88100"/>
                  <a:gd name="connsiteY9" fmla="*/ 13918 h 38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100" h="38267">
                    <a:moveTo>
                      <a:pt x="63779" y="38267"/>
                    </a:moveTo>
                    <a:lnTo>
                      <a:pt x="44050" y="18567"/>
                    </a:lnTo>
                    <a:lnTo>
                      <a:pt x="24350" y="38267"/>
                    </a:lnTo>
                    <a:lnTo>
                      <a:pt x="0" y="13918"/>
                    </a:lnTo>
                    <a:lnTo>
                      <a:pt x="9298" y="4649"/>
                    </a:lnTo>
                    <a:lnTo>
                      <a:pt x="24350" y="19701"/>
                    </a:lnTo>
                    <a:lnTo>
                      <a:pt x="44050" y="0"/>
                    </a:lnTo>
                    <a:lnTo>
                      <a:pt x="63779" y="19701"/>
                    </a:lnTo>
                    <a:lnTo>
                      <a:pt x="78831" y="4649"/>
                    </a:lnTo>
                    <a:lnTo>
                      <a:pt x="88100" y="13918"/>
                    </a:lnTo>
                    <a:close/>
                  </a:path>
                </a:pathLst>
              </a:custGeom>
              <a:solidFill>
                <a:schemeClr val="accent1"/>
              </a:solidFill>
              <a:ln w="2827" cap="flat">
                <a:noFill/>
                <a:prstDash val="solid"/>
                <a:miter/>
              </a:ln>
            </p:spPr>
            <p:txBody>
              <a:bodyPr rtlCol="0" anchor="ctr"/>
              <a:lstStyle/>
              <a:p>
                <a:endParaRPr lang="en-GB" dirty="0"/>
              </a:p>
            </p:txBody>
          </p:sp>
        </p:grpSp>
        <p:grpSp>
          <p:nvGrpSpPr>
            <p:cNvPr id="697" name="Group 725">
              <a:extLst>
                <a:ext uri="{FF2B5EF4-FFF2-40B4-BE49-F238E27FC236}">
                  <a16:creationId xmlns:a16="http://schemas.microsoft.com/office/drawing/2014/main" id="{01CBF467-E645-492D-A288-4ED95CCC4DD6}"/>
                </a:ext>
              </a:extLst>
            </p:cNvPr>
            <p:cNvGrpSpPr/>
            <p:nvPr/>
          </p:nvGrpSpPr>
          <p:grpSpPr>
            <a:xfrm>
              <a:off x="3379714" y="2463565"/>
              <a:ext cx="486023" cy="486023"/>
              <a:chOff x="3379714" y="2463565"/>
              <a:chExt cx="486023" cy="486023"/>
            </a:xfrm>
          </p:grpSpPr>
          <p:sp>
            <p:nvSpPr>
              <p:cNvPr id="698" name="Freihandform: Form 697">
                <a:extLst>
                  <a:ext uri="{FF2B5EF4-FFF2-40B4-BE49-F238E27FC236}">
                    <a16:creationId xmlns:a16="http://schemas.microsoft.com/office/drawing/2014/main" id="{3F31DEB2-775F-44E6-97E6-F0F12A43BC62}"/>
                  </a:ext>
                </a:extLst>
              </p:cNvPr>
              <p:cNvSpPr/>
              <p:nvPr/>
            </p:nvSpPr>
            <p:spPr>
              <a:xfrm>
                <a:off x="3511070" y="2594921"/>
                <a:ext cx="354667" cy="354667"/>
              </a:xfrm>
              <a:custGeom>
                <a:avLst/>
                <a:gdLst>
                  <a:gd name="connsiteX0" fmla="*/ 354639 w 354667"/>
                  <a:gd name="connsiteY0" fmla="*/ 354667 h 354667"/>
                  <a:gd name="connsiteX1" fmla="*/ 0 w 354667"/>
                  <a:gd name="connsiteY1" fmla="*/ 354667 h 354667"/>
                  <a:gd name="connsiteX2" fmla="*/ 0 w 354667"/>
                  <a:gd name="connsiteY2" fmla="*/ 0 h 354667"/>
                  <a:gd name="connsiteX3" fmla="*/ 354668 w 354667"/>
                  <a:gd name="connsiteY3" fmla="*/ 0 h 354667"/>
                  <a:gd name="connsiteX4" fmla="*/ 354668 w 354667"/>
                  <a:gd name="connsiteY4" fmla="*/ 354667 h 354667"/>
                  <a:gd name="connsiteX5" fmla="*/ 13124 w 354667"/>
                  <a:gd name="connsiteY5" fmla="*/ 341543 h 354667"/>
                  <a:gd name="connsiteX6" fmla="*/ 341515 w 354667"/>
                  <a:gd name="connsiteY6" fmla="*/ 341543 h 354667"/>
                  <a:gd name="connsiteX7" fmla="*/ 341515 w 354667"/>
                  <a:gd name="connsiteY7" fmla="*/ 13153 h 354667"/>
                  <a:gd name="connsiteX8" fmla="*/ 13124 w 354667"/>
                  <a:gd name="connsiteY8" fmla="*/ 13153 h 354667"/>
                  <a:gd name="connsiteX9" fmla="*/ 13124 w 354667"/>
                  <a:gd name="connsiteY9" fmla="*/ 341543 h 354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4667" h="354667">
                    <a:moveTo>
                      <a:pt x="354639" y="354667"/>
                    </a:moveTo>
                    <a:lnTo>
                      <a:pt x="0" y="354667"/>
                    </a:lnTo>
                    <a:lnTo>
                      <a:pt x="0" y="0"/>
                    </a:lnTo>
                    <a:lnTo>
                      <a:pt x="354668" y="0"/>
                    </a:lnTo>
                    <a:lnTo>
                      <a:pt x="354668" y="354667"/>
                    </a:lnTo>
                    <a:close/>
                    <a:moveTo>
                      <a:pt x="13124" y="341543"/>
                    </a:moveTo>
                    <a:lnTo>
                      <a:pt x="341515" y="341543"/>
                    </a:lnTo>
                    <a:lnTo>
                      <a:pt x="341515" y="13153"/>
                    </a:lnTo>
                    <a:lnTo>
                      <a:pt x="13124" y="13153"/>
                    </a:lnTo>
                    <a:lnTo>
                      <a:pt x="13124" y="341543"/>
                    </a:lnTo>
                    <a:close/>
                  </a:path>
                </a:pathLst>
              </a:custGeom>
              <a:solidFill>
                <a:schemeClr val="tx2"/>
              </a:solidFill>
              <a:ln w="2827" cap="flat">
                <a:noFill/>
                <a:prstDash val="solid"/>
                <a:miter/>
              </a:ln>
            </p:spPr>
            <p:txBody>
              <a:bodyPr rtlCol="0" anchor="ctr"/>
              <a:lstStyle/>
              <a:p>
                <a:endParaRPr lang="en-GB" dirty="0"/>
              </a:p>
            </p:txBody>
          </p:sp>
          <p:grpSp>
            <p:nvGrpSpPr>
              <p:cNvPr id="699" name="Grafik 161">
                <a:extLst>
                  <a:ext uri="{FF2B5EF4-FFF2-40B4-BE49-F238E27FC236}">
                    <a16:creationId xmlns:a16="http://schemas.microsoft.com/office/drawing/2014/main" id="{7CF510B5-BDE2-4F41-9588-A21036A25CBE}"/>
                  </a:ext>
                </a:extLst>
              </p:cNvPr>
              <p:cNvGrpSpPr/>
              <p:nvPr/>
            </p:nvGrpSpPr>
            <p:grpSpPr>
              <a:xfrm>
                <a:off x="3379714" y="2463565"/>
                <a:ext cx="354667" cy="354667"/>
                <a:chOff x="3379714" y="2463565"/>
                <a:chExt cx="354667" cy="354667"/>
              </a:xfrm>
              <a:solidFill>
                <a:schemeClr val="tx2"/>
              </a:solidFill>
            </p:grpSpPr>
            <p:sp>
              <p:nvSpPr>
                <p:cNvPr id="701" name="Freihandform: Form 700">
                  <a:extLst>
                    <a:ext uri="{FF2B5EF4-FFF2-40B4-BE49-F238E27FC236}">
                      <a16:creationId xmlns:a16="http://schemas.microsoft.com/office/drawing/2014/main" id="{F88B954C-8E81-4A70-81D6-FC2DDDB32DBC}"/>
                    </a:ext>
                  </a:extLst>
                </p:cNvPr>
                <p:cNvSpPr/>
                <p:nvPr/>
              </p:nvSpPr>
              <p:spPr>
                <a:xfrm>
                  <a:off x="3379714" y="2463565"/>
                  <a:ext cx="354667" cy="354667"/>
                </a:xfrm>
                <a:custGeom>
                  <a:avLst/>
                  <a:gdLst>
                    <a:gd name="connsiteX0" fmla="*/ 137932 w 354667"/>
                    <a:gd name="connsiteY0" fmla="*/ 354667 h 354667"/>
                    <a:gd name="connsiteX1" fmla="*/ 0 w 354667"/>
                    <a:gd name="connsiteY1" fmla="*/ 354667 h 354667"/>
                    <a:gd name="connsiteX2" fmla="*/ 0 w 354667"/>
                    <a:gd name="connsiteY2" fmla="*/ 0 h 354667"/>
                    <a:gd name="connsiteX3" fmla="*/ 354667 w 354667"/>
                    <a:gd name="connsiteY3" fmla="*/ 0 h 354667"/>
                    <a:gd name="connsiteX4" fmla="*/ 354667 w 354667"/>
                    <a:gd name="connsiteY4" fmla="*/ 118232 h 354667"/>
                    <a:gd name="connsiteX5" fmla="*/ 341515 w 354667"/>
                    <a:gd name="connsiteY5" fmla="*/ 118232 h 354667"/>
                    <a:gd name="connsiteX6" fmla="*/ 341515 w 354667"/>
                    <a:gd name="connsiteY6" fmla="*/ 13153 h 354667"/>
                    <a:gd name="connsiteX7" fmla="*/ 13124 w 354667"/>
                    <a:gd name="connsiteY7" fmla="*/ 13153 h 354667"/>
                    <a:gd name="connsiteX8" fmla="*/ 13124 w 354667"/>
                    <a:gd name="connsiteY8" fmla="*/ 341543 h 354667"/>
                    <a:gd name="connsiteX9" fmla="*/ 137932 w 354667"/>
                    <a:gd name="connsiteY9" fmla="*/ 341543 h 354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4667" h="354667">
                      <a:moveTo>
                        <a:pt x="137932" y="354667"/>
                      </a:moveTo>
                      <a:lnTo>
                        <a:pt x="0" y="354667"/>
                      </a:lnTo>
                      <a:lnTo>
                        <a:pt x="0" y="0"/>
                      </a:lnTo>
                      <a:lnTo>
                        <a:pt x="354667" y="0"/>
                      </a:lnTo>
                      <a:lnTo>
                        <a:pt x="354667" y="118232"/>
                      </a:lnTo>
                      <a:lnTo>
                        <a:pt x="341515" y="118232"/>
                      </a:lnTo>
                      <a:lnTo>
                        <a:pt x="341515" y="13153"/>
                      </a:lnTo>
                      <a:lnTo>
                        <a:pt x="13124" y="13153"/>
                      </a:lnTo>
                      <a:lnTo>
                        <a:pt x="13124" y="341543"/>
                      </a:lnTo>
                      <a:lnTo>
                        <a:pt x="137932" y="341543"/>
                      </a:lnTo>
                      <a:close/>
                    </a:path>
                  </a:pathLst>
                </a:custGeom>
                <a:solidFill>
                  <a:schemeClr val="accent1"/>
                </a:solidFill>
                <a:ln w="2827" cap="flat">
                  <a:noFill/>
                  <a:prstDash val="solid"/>
                  <a:miter/>
                </a:ln>
              </p:spPr>
              <p:txBody>
                <a:bodyPr rtlCol="0" anchor="ctr"/>
                <a:lstStyle/>
                <a:p>
                  <a:endParaRPr lang="en-GB" dirty="0"/>
                </a:p>
              </p:txBody>
            </p:sp>
            <p:sp>
              <p:nvSpPr>
                <p:cNvPr id="702" name="Freihandform: Form 701">
                  <a:extLst>
                    <a:ext uri="{FF2B5EF4-FFF2-40B4-BE49-F238E27FC236}">
                      <a16:creationId xmlns:a16="http://schemas.microsoft.com/office/drawing/2014/main" id="{6689F422-3D8A-407E-9BB3-73D6BF41A40C}"/>
                    </a:ext>
                  </a:extLst>
                </p:cNvPr>
                <p:cNvSpPr/>
                <p:nvPr/>
              </p:nvSpPr>
              <p:spPr>
                <a:xfrm>
                  <a:off x="3412539" y="2496418"/>
                  <a:ext cx="288989" cy="223311"/>
                </a:xfrm>
                <a:custGeom>
                  <a:avLst/>
                  <a:gdLst>
                    <a:gd name="connsiteX0" fmla="*/ 85379 w 288989"/>
                    <a:gd name="connsiteY0" fmla="*/ 223311 h 223311"/>
                    <a:gd name="connsiteX1" fmla="*/ 0 w 288989"/>
                    <a:gd name="connsiteY1" fmla="*/ 223311 h 223311"/>
                    <a:gd name="connsiteX2" fmla="*/ 0 w 288989"/>
                    <a:gd name="connsiteY2" fmla="*/ 0 h 223311"/>
                    <a:gd name="connsiteX3" fmla="*/ 288989 w 288989"/>
                    <a:gd name="connsiteY3" fmla="*/ 0 h 223311"/>
                    <a:gd name="connsiteX4" fmla="*/ 288989 w 288989"/>
                    <a:gd name="connsiteY4" fmla="*/ 105079 h 223311"/>
                    <a:gd name="connsiteX5" fmla="*/ 275865 w 288989"/>
                    <a:gd name="connsiteY5" fmla="*/ 105079 h 223311"/>
                    <a:gd name="connsiteX6" fmla="*/ 275865 w 288989"/>
                    <a:gd name="connsiteY6" fmla="*/ 13124 h 223311"/>
                    <a:gd name="connsiteX7" fmla="*/ 13153 w 288989"/>
                    <a:gd name="connsiteY7" fmla="*/ 13124 h 223311"/>
                    <a:gd name="connsiteX8" fmla="*/ 13153 w 288989"/>
                    <a:gd name="connsiteY8" fmla="*/ 210159 h 223311"/>
                    <a:gd name="connsiteX9" fmla="*/ 85379 w 288989"/>
                    <a:gd name="connsiteY9" fmla="*/ 210159 h 22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989" h="223311">
                      <a:moveTo>
                        <a:pt x="85379" y="223311"/>
                      </a:moveTo>
                      <a:lnTo>
                        <a:pt x="0" y="223311"/>
                      </a:lnTo>
                      <a:lnTo>
                        <a:pt x="0" y="0"/>
                      </a:lnTo>
                      <a:lnTo>
                        <a:pt x="288989" y="0"/>
                      </a:lnTo>
                      <a:lnTo>
                        <a:pt x="288989" y="105079"/>
                      </a:lnTo>
                      <a:lnTo>
                        <a:pt x="275865" y="105079"/>
                      </a:lnTo>
                      <a:lnTo>
                        <a:pt x="275865" y="13124"/>
                      </a:lnTo>
                      <a:lnTo>
                        <a:pt x="13153" y="13124"/>
                      </a:lnTo>
                      <a:lnTo>
                        <a:pt x="13153" y="210159"/>
                      </a:lnTo>
                      <a:lnTo>
                        <a:pt x="85379" y="210159"/>
                      </a:lnTo>
                      <a:close/>
                    </a:path>
                  </a:pathLst>
                </a:custGeom>
                <a:solidFill>
                  <a:schemeClr val="accent1"/>
                </a:solidFill>
                <a:ln w="2827" cap="flat">
                  <a:noFill/>
                  <a:prstDash val="solid"/>
                  <a:miter/>
                </a:ln>
              </p:spPr>
              <p:txBody>
                <a:bodyPr rtlCol="0" anchor="ctr"/>
                <a:lstStyle/>
                <a:p>
                  <a:endParaRPr lang="en-GB" dirty="0"/>
                </a:p>
              </p:txBody>
            </p:sp>
          </p:grpSp>
          <p:sp>
            <p:nvSpPr>
              <p:cNvPr id="700" name="Freihandform: Form 699">
                <a:extLst>
                  <a:ext uri="{FF2B5EF4-FFF2-40B4-BE49-F238E27FC236}">
                    <a16:creationId xmlns:a16="http://schemas.microsoft.com/office/drawing/2014/main" id="{287AC78A-6837-489B-9391-62275CF27B7F}"/>
                  </a:ext>
                </a:extLst>
              </p:cNvPr>
              <p:cNvSpPr/>
              <p:nvPr/>
            </p:nvSpPr>
            <p:spPr>
              <a:xfrm>
                <a:off x="3543895" y="2627774"/>
                <a:ext cx="288989" cy="223311"/>
              </a:xfrm>
              <a:custGeom>
                <a:avLst/>
                <a:gdLst>
                  <a:gd name="connsiteX0" fmla="*/ 288989 w 288989"/>
                  <a:gd name="connsiteY0" fmla="*/ 223311 h 223311"/>
                  <a:gd name="connsiteX1" fmla="*/ 0 w 288989"/>
                  <a:gd name="connsiteY1" fmla="*/ 223311 h 223311"/>
                  <a:gd name="connsiteX2" fmla="*/ 0 w 288989"/>
                  <a:gd name="connsiteY2" fmla="*/ 0 h 223311"/>
                  <a:gd name="connsiteX3" fmla="*/ 288989 w 288989"/>
                  <a:gd name="connsiteY3" fmla="*/ 0 h 223311"/>
                  <a:gd name="connsiteX4" fmla="*/ 288989 w 288989"/>
                  <a:gd name="connsiteY4" fmla="*/ 223311 h 223311"/>
                  <a:gd name="connsiteX5" fmla="*/ 13153 w 288989"/>
                  <a:gd name="connsiteY5" fmla="*/ 210159 h 223311"/>
                  <a:gd name="connsiteX6" fmla="*/ 275865 w 288989"/>
                  <a:gd name="connsiteY6" fmla="*/ 210159 h 223311"/>
                  <a:gd name="connsiteX7" fmla="*/ 275865 w 288989"/>
                  <a:gd name="connsiteY7" fmla="*/ 13124 h 223311"/>
                  <a:gd name="connsiteX8" fmla="*/ 13153 w 288989"/>
                  <a:gd name="connsiteY8" fmla="*/ 13124 h 223311"/>
                  <a:gd name="connsiteX9" fmla="*/ 13153 w 288989"/>
                  <a:gd name="connsiteY9" fmla="*/ 210159 h 22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989" h="223311">
                    <a:moveTo>
                      <a:pt x="288989" y="223311"/>
                    </a:moveTo>
                    <a:lnTo>
                      <a:pt x="0" y="223311"/>
                    </a:lnTo>
                    <a:lnTo>
                      <a:pt x="0" y="0"/>
                    </a:lnTo>
                    <a:lnTo>
                      <a:pt x="288989" y="0"/>
                    </a:lnTo>
                    <a:lnTo>
                      <a:pt x="288989" y="223311"/>
                    </a:lnTo>
                    <a:close/>
                    <a:moveTo>
                      <a:pt x="13153" y="210159"/>
                    </a:moveTo>
                    <a:lnTo>
                      <a:pt x="275865" y="210159"/>
                    </a:lnTo>
                    <a:lnTo>
                      <a:pt x="275865" y="13124"/>
                    </a:lnTo>
                    <a:lnTo>
                      <a:pt x="13153" y="13124"/>
                    </a:lnTo>
                    <a:lnTo>
                      <a:pt x="13153" y="210159"/>
                    </a:lnTo>
                    <a:close/>
                  </a:path>
                </a:pathLst>
              </a:custGeom>
              <a:solidFill>
                <a:schemeClr val="tx2"/>
              </a:solidFill>
              <a:ln w="2827" cap="flat">
                <a:noFill/>
                <a:prstDash val="solid"/>
                <a:miter/>
              </a:ln>
            </p:spPr>
            <p:txBody>
              <a:bodyPr rtlCol="0" anchor="ctr"/>
              <a:lstStyle/>
              <a:p>
                <a:endParaRPr lang="en-GB" dirty="0"/>
              </a:p>
            </p:txBody>
          </p:sp>
        </p:grpSp>
      </p:grpSp>
      <p:grpSp>
        <p:nvGrpSpPr>
          <p:cNvPr id="707" name="Group 734">
            <a:extLst>
              <a:ext uri="{FF2B5EF4-FFF2-40B4-BE49-F238E27FC236}">
                <a16:creationId xmlns:a16="http://schemas.microsoft.com/office/drawing/2014/main" id="{1BE14A2B-2774-4114-9895-E70876DCD808}"/>
              </a:ext>
            </a:extLst>
          </p:cNvPr>
          <p:cNvGrpSpPr>
            <a:grpSpLocks noChangeAspect="1"/>
          </p:cNvGrpSpPr>
          <p:nvPr/>
        </p:nvGrpSpPr>
        <p:grpSpPr>
          <a:xfrm>
            <a:off x="551862" y="2449344"/>
            <a:ext cx="484376" cy="432000"/>
            <a:chOff x="883974" y="2489845"/>
            <a:chExt cx="486022" cy="433469"/>
          </a:xfrm>
        </p:grpSpPr>
        <p:grpSp>
          <p:nvGrpSpPr>
            <p:cNvPr id="708" name="Group 733">
              <a:extLst>
                <a:ext uri="{FF2B5EF4-FFF2-40B4-BE49-F238E27FC236}">
                  <a16:creationId xmlns:a16="http://schemas.microsoft.com/office/drawing/2014/main" id="{21521F08-BDC3-4C2F-AE72-75A615B5114C}"/>
                </a:ext>
              </a:extLst>
            </p:cNvPr>
            <p:cNvGrpSpPr/>
            <p:nvPr/>
          </p:nvGrpSpPr>
          <p:grpSpPr>
            <a:xfrm>
              <a:off x="883974" y="2489845"/>
              <a:ext cx="486022" cy="433469"/>
              <a:chOff x="883975" y="2489842"/>
              <a:chExt cx="486023" cy="433469"/>
            </a:xfrm>
          </p:grpSpPr>
          <p:sp>
            <p:nvSpPr>
              <p:cNvPr id="714" name="Freihandform: Form 713">
                <a:extLst>
                  <a:ext uri="{FF2B5EF4-FFF2-40B4-BE49-F238E27FC236}">
                    <a16:creationId xmlns:a16="http://schemas.microsoft.com/office/drawing/2014/main" id="{1E6B62FE-758C-442F-8190-54107B1F7763}"/>
                  </a:ext>
                </a:extLst>
              </p:cNvPr>
              <p:cNvSpPr/>
              <p:nvPr/>
            </p:nvSpPr>
            <p:spPr>
              <a:xfrm>
                <a:off x="1002207" y="2489842"/>
                <a:ext cx="302113" cy="348090"/>
              </a:xfrm>
              <a:custGeom>
                <a:avLst/>
                <a:gdLst>
                  <a:gd name="connsiteX0" fmla="*/ 13124 w 302113"/>
                  <a:gd name="connsiteY0" fmla="*/ 348091 h 348090"/>
                  <a:gd name="connsiteX1" fmla="*/ 0 w 302113"/>
                  <a:gd name="connsiteY1" fmla="*/ 348091 h 348090"/>
                  <a:gd name="connsiteX2" fmla="*/ 0 w 302113"/>
                  <a:gd name="connsiteY2" fmla="*/ 65678 h 348090"/>
                  <a:gd name="connsiteX3" fmla="*/ 65678 w 302113"/>
                  <a:gd name="connsiteY3" fmla="*/ 0 h 348090"/>
                  <a:gd name="connsiteX4" fmla="*/ 302114 w 302113"/>
                  <a:gd name="connsiteY4" fmla="*/ 0 h 348090"/>
                  <a:gd name="connsiteX5" fmla="*/ 302114 w 302113"/>
                  <a:gd name="connsiteY5" fmla="*/ 13124 h 348090"/>
                  <a:gd name="connsiteX6" fmla="*/ 65678 w 302113"/>
                  <a:gd name="connsiteY6" fmla="*/ 13124 h 348090"/>
                  <a:gd name="connsiteX7" fmla="*/ 13124 w 302113"/>
                  <a:gd name="connsiteY7" fmla="*/ 65678 h 348090"/>
                  <a:gd name="connsiteX8" fmla="*/ 13124 w 302113"/>
                  <a:gd name="connsiteY8" fmla="*/ 348091 h 348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113" h="348090">
                    <a:moveTo>
                      <a:pt x="13124" y="348091"/>
                    </a:moveTo>
                    <a:lnTo>
                      <a:pt x="0" y="348091"/>
                    </a:lnTo>
                    <a:lnTo>
                      <a:pt x="0" y="65678"/>
                    </a:lnTo>
                    <a:cubicBezTo>
                      <a:pt x="0" y="29452"/>
                      <a:pt x="29452" y="0"/>
                      <a:pt x="65678" y="0"/>
                    </a:cubicBezTo>
                    <a:lnTo>
                      <a:pt x="302114" y="0"/>
                    </a:lnTo>
                    <a:lnTo>
                      <a:pt x="302114" y="13124"/>
                    </a:lnTo>
                    <a:lnTo>
                      <a:pt x="65678" y="13124"/>
                    </a:lnTo>
                    <a:cubicBezTo>
                      <a:pt x="36708" y="13124"/>
                      <a:pt x="13124" y="36708"/>
                      <a:pt x="13124" y="65678"/>
                    </a:cubicBezTo>
                    <a:lnTo>
                      <a:pt x="13124" y="348091"/>
                    </a:lnTo>
                    <a:close/>
                  </a:path>
                </a:pathLst>
              </a:custGeom>
              <a:solidFill>
                <a:schemeClr val="tx2"/>
              </a:solidFill>
              <a:ln w="2827" cap="flat">
                <a:noFill/>
                <a:prstDash val="solid"/>
                <a:miter/>
              </a:ln>
            </p:spPr>
            <p:txBody>
              <a:bodyPr rtlCol="0" anchor="ctr"/>
              <a:lstStyle/>
              <a:p>
                <a:endParaRPr lang="en-GB" dirty="0"/>
              </a:p>
            </p:txBody>
          </p:sp>
          <p:sp>
            <p:nvSpPr>
              <p:cNvPr id="715" name="Freihandform: Form 714">
                <a:extLst>
                  <a:ext uri="{FF2B5EF4-FFF2-40B4-BE49-F238E27FC236}">
                    <a16:creationId xmlns:a16="http://schemas.microsoft.com/office/drawing/2014/main" id="{1B243164-1F5C-4DB0-953A-5B9F0BA73CA9}"/>
                  </a:ext>
                </a:extLst>
              </p:cNvPr>
              <p:cNvSpPr/>
              <p:nvPr/>
            </p:nvSpPr>
            <p:spPr>
              <a:xfrm>
                <a:off x="883975" y="2489842"/>
                <a:ext cx="486023" cy="433469"/>
              </a:xfrm>
              <a:custGeom>
                <a:avLst/>
                <a:gdLst>
                  <a:gd name="connsiteX0" fmla="*/ 302114 w 486023"/>
                  <a:gd name="connsiteY0" fmla="*/ 433470 h 433469"/>
                  <a:gd name="connsiteX1" fmla="*/ 65678 w 486023"/>
                  <a:gd name="connsiteY1" fmla="*/ 433470 h 433469"/>
                  <a:gd name="connsiteX2" fmla="*/ 0 w 486023"/>
                  <a:gd name="connsiteY2" fmla="*/ 367792 h 433469"/>
                  <a:gd name="connsiteX3" fmla="*/ 0 w 486023"/>
                  <a:gd name="connsiteY3" fmla="*/ 361215 h 433469"/>
                  <a:gd name="connsiteX4" fmla="*/ 249560 w 486023"/>
                  <a:gd name="connsiteY4" fmla="*/ 361215 h 433469"/>
                  <a:gd name="connsiteX5" fmla="*/ 249560 w 486023"/>
                  <a:gd name="connsiteY5" fmla="*/ 367792 h 433469"/>
                  <a:gd name="connsiteX6" fmla="*/ 302114 w 486023"/>
                  <a:gd name="connsiteY6" fmla="*/ 420345 h 433469"/>
                  <a:gd name="connsiteX7" fmla="*/ 354667 w 486023"/>
                  <a:gd name="connsiteY7" fmla="*/ 367792 h 433469"/>
                  <a:gd name="connsiteX8" fmla="*/ 354667 w 486023"/>
                  <a:gd name="connsiteY8" fmla="*/ 65678 h 433469"/>
                  <a:gd name="connsiteX9" fmla="*/ 420345 w 486023"/>
                  <a:gd name="connsiteY9" fmla="*/ 0 h 433469"/>
                  <a:gd name="connsiteX10" fmla="*/ 486024 w 486023"/>
                  <a:gd name="connsiteY10" fmla="*/ 65678 h 433469"/>
                  <a:gd name="connsiteX11" fmla="*/ 486024 w 486023"/>
                  <a:gd name="connsiteY11" fmla="*/ 72254 h 433469"/>
                  <a:gd name="connsiteX12" fmla="*/ 380944 w 486023"/>
                  <a:gd name="connsiteY12" fmla="*/ 72254 h 433469"/>
                  <a:gd name="connsiteX13" fmla="*/ 380944 w 486023"/>
                  <a:gd name="connsiteY13" fmla="*/ 59130 h 433469"/>
                  <a:gd name="connsiteX14" fmla="*/ 472474 w 486023"/>
                  <a:gd name="connsiteY14" fmla="*/ 59130 h 433469"/>
                  <a:gd name="connsiteX15" fmla="*/ 420345 w 486023"/>
                  <a:gd name="connsiteY15" fmla="*/ 13153 h 433469"/>
                  <a:gd name="connsiteX16" fmla="*/ 367792 w 486023"/>
                  <a:gd name="connsiteY16" fmla="*/ 65706 h 433469"/>
                  <a:gd name="connsiteX17" fmla="*/ 367792 w 486023"/>
                  <a:gd name="connsiteY17" fmla="*/ 367820 h 433469"/>
                  <a:gd name="connsiteX18" fmla="*/ 302114 w 486023"/>
                  <a:gd name="connsiteY18" fmla="*/ 433470 h 433469"/>
                  <a:gd name="connsiteX19" fmla="*/ 13549 w 486023"/>
                  <a:gd name="connsiteY19" fmla="*/ 374368 h 433469"/>
                  <a:gd name="connsiteX20" fmla="*/ 65678 w 486023"/>
                  <a:gd name="connsiteY20" fmla="*/ 420345 h 433469"/>
                  <a:gd name="connsiteX21" fmla="*/ 262741 w 486023"/>
                  <a:gd name="connsiteY21" fmla="*/ 420345 h 433469"/>
                  <a:gd name="connsiteX22" fmla="*/ 236747 w 486023"/>
                  <a:gd name="connsiteY22" fmla="*/ 374368 h 433469"/>
                  <a:gd name="connsiteX23" fmla="*/ 13549 w 486023"/>
                  <a:gd name="connsiteY23" fmla="*/ 374368 h 43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86023" h="433469">
                    <a:moveTo>
                      <a:pt x="302114" y="433470"/>
                    </a:moveTo>
                    <a:lnTo>
                      <a:pt x="65678" y="433470"/>
                    </a:lnTo>
                    <a:cubicBezTo>
                      <a:pt x="29452" y="433470"/>
                      <a:pt x="0" y="404018"/>
                      <a:pt x="0" y="367792"/>
                    </a:cubicBezTo>
                    <a:lnTo>
                      <a:pt x="0" y="361215"/>
                    </a:lnTo>
                    <a:lnTo>
                      <a:pt x="249560" y="361215"/>
                    </a:lnTo>
                    <a:lnTo>
                      <a:pt x="249560" y="367792"/>
                    </a:lnTo>
                    <a:cubicBezTo>
                      <a:pt x="249560" y="396761"/>
                      <a:pt x="273144" y="420345"/>
                      <a:pt x="302114" y="420345"/>
                    </a:cubicBezTo>
                    <a:cubicBezTo>
                      <a:pt x="331083" y="420345"/>
                      <a:pt x="354667" y="396761"/>
                      <a:pt x="354667" y="367792"/>
                    </a:cubicBezTo>
                    <a:lnTo>
                      <a:pt x="354667" y="65678"/>
                    </a:lnTo>
                    <a:cubicBezTo>
                      <a:pt x="354667" y="29452"/>
                      <a:pt x="384119" y="0"/>
                      <a:pt x="420345" y="0"/>
                    </a:cubicBezTo>
                    <a:cubicBezTo>
                      <a:pt x="456572" y="0"/>
                      <a:pt x="486024" y="29452"/>
                      <a:pt x="486024" y="65678"/>
                    </a:cubicBezTo>
                    <a:lnTo>
                      <a:pt x="486024" y="72254"/>
                    </a:lnTo>
                    <a:lnTo>
                      <a:pt x="380944" y="72254"/>
                    </a:lnTo>
                    <a:lnTo>
                      <a:pt x="380944" y="59130"/>
                    </a:lnTo>
                    <a:lnTo>
                      <a:pt x="472474" y="59130"/>
                    </a:lnTo>
                    <a:cubicBezTo>
                      <a:pt x="469214" y="33250"/>
                      <a:pt x="447076" y="13153"/>
                      <a:pt x="420345" y="13153"/>
                    </a:cubicBezTo>
                    <a:cubicBezTo>
                      <a:pt x="391376" y="13153"/>
                      <a:pt x="367792" y="36737"/>
                      <a:pt x="367792" y="65706"/>
                    </a:cubicBezTo>
                    <a:lnTo>
                      <a:pt x="367792" y="367820"/>
                    </a:lnTo>
                    <a:cubicBezTo>
                      <a:pt x="367792" y="404018"/>
                      <a:pt x="338340" y="433470"/>
                      <a:pt x="302114" y="433470"/>
                    </a:cubicBezTo>
                    <a:close/>
                    <a:moveTo>
                      <a:pt x="13549" y="374368"/>
                    </a:moveTo>
                    <a:cubicBezTo>
                      <a:pt x="16809" y="400248"/>
                      <a:pt x="38948" y="420345"/>
                      <a:pt x="65678" y="420345"/>
                    </a:cubicBezTo>
                    <a:lnTo>
                      <a:pt x="262741" y="420345"/>
                    </a:lnTo>
                    <a:cubicBezTo>
                      <a:pt x="248426" y="409602"/>
                      <a:pt x="238618" y="393133"/>
                      <a:pt x="236747" y="374368"/>
                    </a:cubicBezTo>
                    <a:lnTo>
                      <a:pt x="13549" y="374368"/>
                    </a:lnTo>
                    <a:close/>
                  </a:path>
                </a:pathLst>
              </a:custGeom>
              <a:solidFill>
                <a:schemeClr val="tx2"/>
              </a:solidFill>
              <a:ln w="2827" cap="flat">
                <a:noFill/>
                <a:prstDash val="solid"/>
                <a:miter/>
              </a:ln>
            </p:spPr>
            <p:txBody>
              <a:bodyPr rtlCol="0" anchor="ctr"/>
              <a:lstStyle/>
              <a:p>
                <a:endParaRPr lang="en-GB" dirty="0"/>
              </a:p>
            </p:txBody>
          </p:sp>
        </p:grpSp>
        <p:grpSp>
          <p:nvGrpSpPr>
            <p:cNvPr id="709" name="Group 732">
              <a:extLst>
                <a:ext uri="{FF2B5EF4-FFF2-40B4-BE49-F238E27FC236}">
                  <a16:creationId xmlns:a16="http://schemas.microsoft.com/office/drawing/2014/main" id="{2687F084-B7C1-4386-8E0E-B7187B834C1C}"/>
                </a:ext>
              </a:extLst>
            </p:cNvPr>
            <p:cNvGrpSpPr/>
            <p:nvPr/>
          </p:nvGrpSpPr>
          <p:grpSpPr>
            <a:xfrm>
              <a:off x="1035031" y="2594921"/>
              <a:ext cx="183910" cy="223311"/>
              <a:chOff x="1035031" y="2594921"/>
              <a:chExt cx="183910" cy="223311"/>
            </a:xfrm>
          </p:grpSpPr>
          <p:sp>
            <p:nvSpPr>
              <p:cNvPr id="710" name="Freihandform: Form 709">
                <a:extLst>
                  <a:ext uri="{FF2B5EF4-FFF2-40B4-BE49-F238E27FC236}">
                    <a16:creationId xmlns:a16="http://schemas.microsoft.com/office/drawing/2014/main" id="{46D30131-2F89-4591-B591-3B8AEBBE224B}"/>
                  </a:ext>
                </a:extLst>
              </p:cNvPr>
              <p:cNvSpPr/>
              <p:nvPr/>
            </p:nvSpPr>
            <p:spPr>
              <a:xfrm>
                <a:off x="1081009" y="2594921"/>
                <a:ext cx="91955" cy="13124"/>
              </a:xfrm>
              <a:custGeom>
                <a:avLst/>
                <a:gdLst>
                  <a:gd name="connsiteX0" fmla="*/ 0 w 91955"/>
                  <a:gd name="connsiteY0" fmla="*/ 0 h 13124"/>
                  <a:gd name="connsiteX1" fmla="*/ 91955 w 91955"/>
                  <a:gd name="connsiteY1" fmla="*/ 0 h 13124"/>
                  <a:gd name="connsiteX2" fmla="*/ 91955 w 91955"/>
                  <a:gd name="connsiteY2" fmla="*/ 13124 h 13124"/>
                  <a:gd name="connsiteX3" fmla="*/ 0 w 91955"/>
                  <a:gd name="connsiteY3" fmla="*/ 13124 h 13124"/>
                </a:gdLst>
                <a:ahLst/>
                <a:cxnLst>
                  <a:cxn ang="0">
                    <a:pos x="connsiteX0" y="connsiteY0"/>
                  </a:cxn>
                  <a:cxn ang="0">
                    <a:pos x="connsiteX1" y="connsiteY1"/>
                  </a:cxn>
                  <a:cxn ang="0">
                    <a:pos x="connsiteX2" y="connsiteY2"/>
                  </a:cxn>
                  <a:cxn ang="0">
                    <a:pos x="connsiteX3" y="connsiteY3"/>
                  </a:cxn>
                </a:cxnLst>
                <a:rect l="l" t="t" r="r" b="b"/>
                <a:pathLst>
                  <a:path w="91955" h="13124">
                    <a:moveTo>
                      <a:pt x="0" y="0"/>
                    </a:moveTo>
                    <a:lnTo>
                      <a:pt x="91955" y="0"/>
                    </a:lnTo>
                    <a:lnTo>
                      <a:pt x="91955"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711" name="Freihandform: Form 710">
                <a:extLst>
                  <a:ext uri="{FF2B5EF4-FFF2-40B4-BE49-F238E27FC236}">
                    <a16:creationId xmlns:a16="http://schemas.microsoft.com/office/drawing/2014/main" id="{03498A16-332C-4339-A471-E2911033BCDA}"/>
                  </a:ext>
                </a:extLst>
              </p:cNvPr>
              <p:cNvSpPr/>
              <p:nvPr/>
            </p:nvSpPr>
            <p:spPr>
              <a:xfrm>
                <a:off x="1035031" y="2805108"/>
                <a:ext cx="183910" cy="13124"/>
              </a:xfrm>
              <a:custGeom>
                <a:avLst/>
                <a:gdLst>
                  <a:gd name="connsiteX0" fmla="*/ 0 w 183910"/>
                  <a:gd name="connsiteY0" fmla="*/ 0 h 13124"/>
                  <a:gd name="connsiteX1" fmla="*/ 183910 w 183910"/>
                  <a:gd name="connsiteY1" fmla="*/ 0 h 13124"/>
                  <a:gd name="connsiteX2" fmla="*/ 183910 w 183910"/>
                  <a:gd name="connsiteY2" fmla="*/ 13124 h 13124"/>
                  <a:gd name="connsiteX3" fmla="*/ 0 w 183910"/>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83910" h="13124">
                    <a:moveTo>
                      <a:pt x="0" y="0"/>
                    </a:moveTo>
                    <a:lnTo>
                      <a:pt x="183910" y="0"/>
                    </a:lnTo>
                    <a:lnTo>
                      <a:pt x="183910"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712" name="Freihandform: Form 711">
                <a:extLst>
                  <a:ext uri="{FF2B5EF4-FFF2-40B4-BE49-F238E27FC236}">
                    <a16:creationId xmlns:a16="http://schemas.microsoft.com/office/drawing/2014/main" id="{D7EE4910-56FA-42EA-845A-29C792D25EBE}"/>
                  </a:ext>
                </a:extLst>
              </p:cNvPr>
              <p:cNvSpPr/>
              <p:nvPr/>
            </p:nvSpPr>
            <p:spPr>
              <a:xfrm>
                <a:off x="1035031" y="2752554"/>
                <a:ext cx="183910" cy="13124"/>
              </a:xfrm>
              <a:custGeom>
                <a:avLst/>
                <a:gdLst>
                  <a:gd name="connsiteX0" fmla="*/ 0 w 183910"/>
                  <a:gd name="connsiteY0" fmla="*/ 0 h 13124"/>
                  <a:gd name="connsiteX1" fmla="*/ 183910 w 183910"/>
                  <a:gd name="connsiteY1" fmla="*/ 0 h 13124"/>
                  <a:gd name="connsiteX2" fmla="*/ 183910 w 183910"/>
                  <a:gd name="connsiteY2" fmla="*/ 13124 h 13124"/>
                  <a:gd name="connsiteX3" fmla="*/ 0 w 183910"/>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83910" h="13124">
                    <a:moveTo>
                      <a:pt x="0" y="0"/>
                    </a:moveTo>
                    <a:lnTo>
                      <a:pt x="183910" y="0"/>
                    </a:lnTo>
                    <a:lnTo>
                      <a:pt x="183910"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713" name="Freihandform: Form 712">
                <a:extLst>
                  <a:ext uri="{FF2B5EF4-FFF2-40B4-BE49-F238E27FC236}">
                    <a16:creationId xmlns:a16="http://schemas.microsoft.com/office/drawing/2014/main" id="{8CB82165-C911-41EA-9C34-3E7252C694FB}"/>
                  </a:ext>
                </a:extLst>
              </p:cNvPr>
              <p:cNvSpPr/>
              <p:nvPr/>
            </p:nvSpPr>
            <p:spPr>
              <a:xfrm>
                <a:off x="1035031" y="2700029"/>
                <a:ext cx="183910" cy="13124"/>
              </a:xfrm>
              <a:custGeom>
                <a:avLst/>
                <a:gdLst>
                  <a:gd name="connsiteX0" fmla="*/ 0 w 183910"/>
                  <a:gd name="connsiteY0" fmla="*/ 0 h 13124"/>
                  <a:gd name="connsiteX1" fmla="*/ 183910 w 183910"/>
                  <a:gd name="connsiteY1" fmla="*/ 0 h 13124"/>
                  <a:gd name="connsiteX2" fmla="*/ 183910 w 183910"/>
                  <a:gd name="connsiteY2" fmla="*/ 13124 h 13124"/>
                  <a:gd name="connsiteX3" fmla="*/ 0 w 183910"/>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83910" h="13124">
                    <a:moveTo>
                      <a:pt x="0" y="0"/>
                    </a:moveTo>
                    <a:lnTo>
                      <a:pt x="183910" y="0"/>
                    </a:lnTo>
                    <a:lnTo>
                      <a:pt x="183910"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grpSp>
        <p:nvGrpSpPr>
          <p:cNvPr id="716" name="Group 731">
            <a:extLst>
              <a:ext uri="{FF2B5EF4-FFF2-40B4-BE49-F238E27FC236}">
                <a16:creationId xmlns:a16="http://schemas.microsoft.com/office/drawing/2014/main" id="{1DCC6EDE-F3B5-4231-82EB-6F230DF77CF8}"/>
              </a:ext>
            </a:extLst>
          </p:cNvPr>
          <p:cNvGrpSpPr>
            <a:grpSpLocks noChangeAspect="1"/>
          </p:cNvGrpSpPr>
          <p:nvPr/>
        </p:nvGrpSpPr>
        <p:grpSpPr>
          <a:xfrm>
            <a:off x="1623484" y="2449340"/>
            <a:ext cx="432000" cy="432003"/>
            <a:chOff x="1718089" y="2463562"/>
            <a:chExt cx="486023" cy="486026"/>
          </a:xfrm>
        </p:grpSpPr>
        <p:sp>
          <p:nvSpPr>
            <p:cNvPr id="717" name="Freihandform: Form 716">
              <a:extLst>
                <a:ext uri="{FF2B5EF4-FFF2-40B4-BE49-F238E27FC236}">
                  <a16:creationId xmlns:a16="http://schemas.microsoft.com/office/drawing/2014/main" id="{58E5DD2E-8363-4921-AC25-81CC60841198}"/>
                </a:ext>
              </a:extLst>
            </p:cNvPr>
            <p:cNvSpPr/>
            <p:nvPr/>
          </p:nvSpPr>
          <p:spPr>
            <a:xfrm rot="20400074">
              <a:off x="2177834" y="2632619"/>
              <a:ext cx="13124" cy="76194"/>
            </a:xfrm>
            <a:custGeom>
              <a:avLst/>
              <a:gdLst>
                <a:gd name="connsiteX0" fmla="*/ 0 w 13124"/>
                <a:gd name="connsiteY0" fmla="*/ 0 h 76194"/>
                <a:gd name="connsiteX1" fmla="*/ 13124 w 13124"/>
                <a:gd name="connsiteY1" fmla="*/ 0 h 76194"/>
                <a:gd name="connsiteX2" fmla="*/ 13124 w 13124"/>
                <a:gd name="connsiteY2" fmla="*/ 76195 h 76194"/>
                <a:gd name="connsiteX3" fmla="*/ 0 w 13124"/>
                <a:gd name="connsiteY3" fmla="*/ 76195 h 76194"/>
              </a:gdLst>
              <a:ahLst/>
              <a:cxnLst>
                <a:cxn ang="0">
                  <a:pos x="connsiteX0" y="connsiteY0"/>
                </a:cxn>
                <a:cxn ang="0">
                  <a:pos x="connsiteX1" y="connsiteY1"/>
                </a:cxn>
                <a:cxn ang="0">
                  <a:pos x="connsiteX2" y="connsiteY2"/>
                </a:cxn>
                <a:cxn ang="0">
                  <a:pos x="connsiteX3" y="connsiteY3"/>
                </a:cxn>
              </a:cxnLst>
              <a:rect l="l" t="t" r="r" b="b"/>
              <a:pathLst>
                <a:path w="13124" h="76194">
                  <a:moveTo>
                    <a:pt x="0" y="0"/>
                  </a:moveTo>
                  <a:lnTo>
                    <a:pt x="13124" y="0"/>
                  </a:lnTo>
                  <a:lnTo>
                    <a:pt x="13124" y="76195"/>
                  </a:lnTo>
                  <a:lnTo>
                    <a:pt x="0" y="76195"/>
                  </a:lnTo>
                  <a:close/>
                </a:path>
              </a:pathLst>
            </a:custGeom>
            <a:solidFill>
              <a:schemeClr val="tx2"/>
            </a:solidFill>
            <a:ln w="2827" cap="flat">
              <a:noFill/>
              <a:prstDash val="solid"/>
              <a:miter/>
            </a:ln>
          </p:spPr>
          <p:txBody>
            <a:bodyPr rtlCol="0" anchor="ctr"/>
            <a:lstStyle/>
            <a:p>
              <a:endParaRPr lang="en-GB" dirty="0"/>
            </a:p>
          </p:txBody>
        </p:sp>
        <p:sp>
          <p:nvSpPr>
            <p:cNvPr id="718" name="Freihandform: Form 717">
              <a:extLst>
                <a:ext uri="{FF2B5EF4-FFF2-40B4-BE49-F238E27FC236}">
                  <a16:creationId xmlns:a16="http://schemas.microsoft.com/office/drawing/2014/main" id="{356A37F5-59E3-4058-A8CB-269CF4A15F2F}"/>
                </a:ext>
              </a:extLst>
            </p:cNvPr>
            <p:cNvSpPr/>
            <p:nvPr/>
          </p:nvSpPr>
          <p:spPr>
            <a:xfrm rot="17399603">
              <a:off x="1699468" y="2664770"/>
              <a:ext cx="76191" cy="13123"/>
            </a:xfrm>
            <a:custGeom>
              <a:avLst/>
              <a:gdLst>
                <a:gd name="connsiteX0" fmla="*/ 0 w 76191"/>
                <a:gd name="connsiteY0" fmla="*/ 0 h 13123"/>
                <a:gd name="connsiteX1" fmla="*/ 76192 w 76191"/>
                <a:gd name="connsiteY1" fmla="*/ 0 h 13123"/>
                <a:gd name="connsiteX2" fmla="*/ 76192 w 76191"/>
                <a:gd name="connsiteY2" fmla="*/ 13124 h 13123"/>
                <a:gd name="connsiteX3" fmla="*/ 0 w 76191"/>
                <a:gd name="connsiteY3" fmla="*/ 13124 h 13123"/>
              </a:gdLst>
              <a:ahLst/>
              <a:cxnLst>
                <a:cxn ang="0">
                  <a:pos x="connsiteX0" y="connsiteY0"/>
                </a:cxn>
                <a:cxn ang="0">
                  <a:pos x="connsiteX1" y="connsiteY1"/>
                </a:cxn>
                <a:cxn ang="0">
                  <a:pos x="connsiteX2" y="connsiteY2"/>
                </a:cxn>
                <a:cxn ang="0">
                  <a:pos x="connsiteX3" y="connsiteY3"/>
                </a:cxn>
              </a:cxnLst>
              <a:rect l="l" t="t" r="r" b="b"/>
              <a:pathLst>
                <a:path w="76191" h="13123">
                  <a:moveTo>
                    <a:pt x="0" y="0"/>
                  </a:moveTo>
                  <a:lnTo>
                    <a:pt x="76192" y="0"/>
                  </a:lnTo>
                  <a:lnTo>
                    <a:pt x="76192" y="13124"/>
                  </a:lnTo>
                  <a:lnTo>
                    <a:pt x="0" y="13124"/>
                  </a:lnTo>
                  <a:close/>
                </a:path>
              </a:pathLst>
            </a:custGeom>
            <a:solidFill>
              <a:schemeClr val="tx2"/>
            </a:solidFill>
            <a:ln w="2827" cap="flat">
              <a:noFill/>
              <a:prstDash val="solid"/>
              <a:miter/>
            </a:ln>
          </p:spPr>
          <p:txBody>
            <a:bodyPr rtlCol="0" anchor="ctr"/>
            <a:lstStyle/>
            <a:p>
              <a:endParaRPr lang="en-GB" dirty="0"/>
            </a:p>
          </p:txBody>
        </p:sp>
        <p:grpSp>
          <p:nvGrpSpPr>
            <p:cNvPr id="719" name="Group 728">
              <a:extLst>
                <a:ext uri="{FF2B5EF4-FFF2-40B4-BE49-F238E27FC236}">
                  <a16:creationId xmlns:a16="http://schemas.microsoft.com/office/drawing/2014/main" id="{47640B5C-8EC3-40FA-B0AF-89B426FDBCDE}"/>
                </a:ext>
              </a:extLst>
            </p:cNvPr>
            <p:cNvGrpSpPr/>
            <p:nvPr/>
          </p:nvGrpSpPr>
          <p:grpSpPr>
            <a:xfrm>
              <a:off x="1744338" y="2463562"/>
              <a:ext cx="433470" cy="223309"/>
              <a:chOff x="1744338" y="2463565"/>
              <a:chExt cx="433469" cy="223310"/>
            </a:xfrm>
          </p:grpSpPr>
          <p:sp>
            <p:nvSpPr>
              <p:cNvPr id="727" name="Freihandform: Form 726">
                <a:extLst>
                  <a:ext uri="{FF2B5EF4-FFF2-40B4-BE49-F238E27FC236}">
                    <a16:creationId xmlns:a16="http://schemas.microsoft.com/office/drawing/2014/main" id="{D413FC0A-BA8D-4CD1-AB2D-84B69A5C13B5}"/>
                  </a:ext>
                </a:extLst>
              </p:cNvPr>
              <p:cNvSpPr/>
              <p:nvPr/>
            </p:nvSpPr>
            <p:spPr>
              <a:xfrm>
                <a:off x="1744338" y="2594921"/>
                <a:ext cx="433469" cy="91954"/>
              </a:xfrm>
              <a:custGeom>
                <a:avLst/>
                <a:gdLst>
                  <a:gd name="connsiteX0" fmla="*/ 433470 w 433469"/>
                  <a:gd name="connsiteY0" fmla="*/ 91955 h 91954"/>
                  <a:gd name="connsiteX1" fmla="*/ 420346 w 433469"/>
                  <a:gd name="connsiteY1" fmla="*/ 91955 h 91954"/>
                  <a:gd name="connsiteX2" fmla="*/ 420346 w 433469"/>
                  <a:gd name="connsiteY2" fmla="*/ 13153 h 91954"/>
                  <a:gd name="connsiteX3" fmla="*/ 13153 w 433469"/>
                  <a:gd name="connsiteY3" fmla="*/ 13153 h 91954"/>
                  <a:gd name="connsiteX4" fmla="*/ 13153 w 433469"/>
                  <a:gd name="connsiteY4" fmla="*/ 91955 h 91954"/>
                  <a:gd name="connsiteX5" fmla="*/ 0 w 433469"/>
                  <a:gd name="connsiteY5" fmla="*/ 91955 h 91954"/>
                  <a:gd name="connsiteX6" fmla="*/ 0 w 433469"/>
                  <a:gd name="connsiteY6" fmla="*/ 0 h 91954"/>
                  <a:gd name="connsiteX7" fmla="*/ 433470 w 433469"/>
                  <a:gd name="connsiteY7" fmla="*/ 0 h 9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469" h="91954">
                    <a:moveTo>
                      <a:pt x="433470" y="91955"/>
                    </a:moveTo>
                    <a:lnTo>
                      <a:pt x="420346" y="91955"/>
                    </a:lnTo>
                    <a:lnTo>
                      <a:pt x="420346" y="13153"/>
                    </a:lnTo>
                    <a:lnTo>
                      <a:pt x="13153" y="13153"/>
                    </a:lnTo>
                    <a:lnTo>
                      <a:pt x="13153" y="91955"/>
                    </a:lnTo>
                    <a:lnTo>
                      <a:pt x="0" y="91955"/>
                    </a:lnTo>
                    <a:lnTo>
                      <a:pt x="0" y="0"/>
                    </a:lnTo>
                    <a:lnTo>
                      <a:pt x="433470" y="0"/>
                    </a:lnTo>
                    <a:close/>
                  </a:path>
                </a:pathLst>
              </a:custGeom>
              <a:solidFill>
                <a:schemeClr val="accent1"/>
              </a:solidFill>
              <a:ln w="2827" cap="flat">
                <a:noFill/>
                <a:prstDash val="solid"/>
                <a:miter/>
              </a:ln>
            </p:spPr>
            <p:txBody>
              <a:bodyPr rtlCol="0" anchor="ctr"/>
              <a:lstStyle/>
              <a:p>
                <a:endParaRPr lang="en-GB" dirty="0"/>
              </a:p>
            </p:txBody>
          </p:sp>
          <p:sp>
            <p:nvSpPr>
              <p:cNvPr id="728" name="Freihandform: Form 727">
                <a:extLst>
                  <a:ext uri="{FF2B5EF4-FFF2-40B4-BE49-F238E27FC236}">
                    <a16:creationId xmlns:a16="http://schemas.microsoft.com/office/drawing/2014/main" id="{E4F4E0CF-C953-4C90-93A3-6465A36EB57C}"/>
                  </a:ext>
                </a:extLst>
              </p:cNvPr>
              <p:cNvSpPr/>
              <p:nvPr/>
            </p:nvSpPr>
            <p:spPr>
              <a:xfrm>
                <a:off x="1770615" y="2529243"/>
                <a:ext cx="380944" cy="52553"/>
              </a:xfrm>
              <a:custGeom>
                <a:avLst/>
                <a:gdLst>
                  <a:gd name="connsiteX0" fmla="*/ 380944 w 380944"/>
                  <a:gd name="connsiteY0" fmla="*/ 52554 h 52553"/>
                  <a:gd name="connsiteX1" fmla="*/ 367792 w 380944"/>
                  <a:gd name="connsiteY1" fmla="*/ 52554 h 52553"/>
                  <a:gd name="connsiteX2" fmla="*/ 367792 w 380944"/>
                  <a:gd name="connsiteY2" fmla="*/ 13153 h 52553"/>
                  <a:gd name="connsiteX3" fmla="*/ 13153 w 380944"/>
                  <a:gd name="connsiteY3" fmla="*/ 13153 h 52553"/>
                  <a:gd name="connsiteX4" fmla="*/ 13153 w 380944"/>
                  <a:gd name="connsiteY4" fmla="*/ 52554 h 52553"/>
                  <a:gd name="connsiteX5" fmla="*/ 0 w 380944"/>
                  <a:gd name="connsiteY5" fmla="*/ 52554 h 52553"/>
                  <a:gd name="connsiteX6" fmla="*/ 0 w 380944"/>
                  <a:gd name="connsiteY6" fmla="*/ 0 h 52553"/>
                  <a:gd name="connsiteX7" fmla="*/ 380944 w 380944"/>
                  <a:gd name="connsiteY7" fmla="*/ 0 h 5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944" h="52553">
                    <a:moveTo>
                      <a:pt x="380944" y="52554"/>
                    </a:moveTo>
                    <a:lnTo>
                      <a:pt x="367792" y="52554"/>
                    </a:lnTo>
                    <a:lnTo>
                      <a:pt x="367792" y="13153"/>
                    </a:lnTo>
                    <a:lnTo>
                      <a:pt x="13153" y="13153"/>
                    </a:lnTo>
                    <a:lnTo>
                      <a:pt x="13153" y="52554"/>
                    </a:lnTo>
                    <a:lnTo>
                      <a:pt x="0" y="52554"/>
                    </a:lnTo>
                    <a:lnTo>
                      <a:pt x="0" y="0"/>
                    </a:lnTo>
                    <a:lnTo>
                      <a:pt x="380944" y="0"/>
                    </a:lnTo>
                    <a:close/>
                  </a:path>
                </a:pathLst>
              </a:custGeom>
              <a:solidFill>
                <a:schemeClr val="accent1"/>
              </a:solidFill>
              <a:ln w="2827" cap="flat">
                <a:noFill/>
                <a:prstDash val="solid"/>
                <a:miter/>
              </a:ln>
            </p:spPr>
            <p:txBody>
              <a:bodyPr rtlCol="0" anchor="ctr"/>
              <a:lstStyle/>
              <a:p>
                <a:endParaRPr lang="en-GB" dirty="0"/>
              </a:p>
            </p:txBody>
          </p:sp>
          <p:sp>
            <p:nvSpPr>
              <p:cNvPr id="729" name="Freihandform: Form 728">
                <a:extLst>
                  <a:ext uri="{FF2B5EF4-FFF2-40B4-BE49-F238E27FC236}">
                    <a16:creationId xmlns:a16="http://schemas.microsoft.com/office/drawing/2014/main" id="{3C44E5B3-BCEA-47BB-B0A3-40038FA6AD20}"/>
                  </a:ext>
                </a:extLst>
              </p:cNvPr>
              <p:cNvSpPr/>
              <p:nvPr/>
            </p:nvSpPr>
            <p:spPr>
              <a:xfrm>
                <a:off x="1796892" y="2463565"/>
                <a:ext cx="328390" cy="52553"/>
              </a:xfrm>
              <a:custGeom>
                <a:avLst/>
                <a:gdLst>
                  <a:gd name="connsiteX0" fmla="*/ 328391 w 328390"/>
                  <a:gd name="connsiteY0" fmla="*/ 52554 h 52553"/>
                  <a:gd name="connsiteX1" fmla="*/ 315238 w 328390"/>
                  <a:gd name="connsiteY1" fmla="*/ 52554 h 52553"/>
                  <a:gd name="connsiteX2" fmla="*/ 315238 w 328390"/>
                  <a:gd name="connsiteY2" fmla="*/ 13153 h 52553"/>
                  <a:gd name="connsiteX3" fmla="*/ 13124 w 328390"/>
                  <a:gd name="connsiteY3" fmla="*/ 13153 h 52553"/>
                  <a:gd name="connsiteX4" fmla="*/ 13124 w 328390"/>
                  <a:gd name="connsiteY4" fmla="*/ 52554 h 52553"/>
                  <a:gd name="connsiteX5" fmla="*/ 0 w 328390"/>
                  <a:gd name="connsiteY5" fmla="*/ 52554 h 52553"/>
                  <a:gd name="connsiteX6" fmla="*/ 0 w 328390"/>
                  <a:gd name="connsiteY6" fmla="*/ 0 h 52553"/>
                  <a:gd name="connsiteX7" fmla="*/ 328391 w 328390"/>
                  <a:gd name="connsiteY7" fmla="*/ 0 h 5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8390" h="52553">
                    <a:moveTo>
                      <a:pt x="328391" y="52554"/>
                    </a:moveTo>
                    <a:lnTo>
                      <a:pt x="315238" y="52554"/>
                    </a:lnTo>
                    <a:lnTo>
                      <a:pt x="315238" y="13153"/>
                    </a:lnTo>
                    <a:lnTo>
                      <a:pt x="13124" y="13153"/>
                    </a:lnTo>
                    <a:lnTo>
                      <a:pt x="13124" y="52554"/>
                    </a:lnTo>
                    <a:lnTo>
                      <a:pt x="0" y="52554"/>
                    </a:lnTo>
                    <a:lnTo>
                      <a:pt x="0" y="0"/>
                    </a:lnTo>
                    <a:lnTo>
                      <a:pt x="328391" y="0"/>
                    </a:lnTo>
                    <a:close/>
                  </a:path>
                </a:pathLst>
              </a:custGeom>
              <a:solidFill>
                <a:schemeClr val="accent1"/>
              </a:solidFill>
              <a:ln w="2827" cap="flat">
                <a:noFill/>
                <a:prstDash val="solid"/>
                <a:miter/>
              </a:ln>
            </p:spPr>
            <p:txBody>
              <a:bodyPr rtlCol="0" anchor="ctr"/>
              <a:lstStyle/>
              <a:p>
                <a:endParaRPr lang="en-GB" dirty="0"/>
              </a:p>
            </p:txBody>
          </p:sp>
        </p:grpSp>
        <p:grpSp>
          <p:nvGrpSpPr>
            <p:cNvPr id="720" name="Group 730">
              <a:extLst>
                <a:ext uri="{FF2B5EF4-FFF2-40B4-BE49-F238E27FC236}">
                  <a16:creationId xmlns:a16="http://schemas.microsoft.com/office/drawing/2014/main" id="{C0239356-6285-43D6-9448-526223FC7788}"/>
                </a:ext>
              </a:extLst>
            </p:cNvPr>
            <p:cNvGrpSpPr/>
            <p:nvPr/>
          </p:nvGrpSpPr>
          <p:grpSpPr>
            <a:xfrm>
              <a:off x="1718089" y="2700029"/>
              <a:ext cx="486023" cy="249559"/>
              <a:chOff x="1718089" y="2700029"/>
              <a:chExt cx="486023" cy="249559"/>
            </a:xfrm>
          </p:grpSpPr>
          <p:sp>
            <p:nvSpPr>
              <p:cNvPr id="721" name="Freihandform: Form 720">
                <a:extLst>
                  <a:ext uri="{FF2B5EF4-FFF2-40B4-BE49-F238E27FC236}">
                    <a16:creationId xmlns:a16="http://schemas.microsoft.com/office/drawing/2014/main" id="{9F972B03-6742-4011-926C-8CCAC95D01A6}"/>
                  </a:ext>
                </a:extLst>
              </p:cNvPr>
              <p:cNvSpPr/>
              <p:nvPr/>
            </p:nvSpPr>
            <p:spPr>
              <a:xfrm>
                <a:off x="1718089" y="2700029"/>
                <a:ext cx="486023" cy="249559"/>
              </a:xfrm>
              <a:custGeom>
                <a:avLst/>
                <a:gdLst>
                  <a:gd name="connsiteX0" fmla="*/ 485995 w 486023"/>
                  <a:gd name="connsiteY0" fmla="*/ 249560 h 249559"/>
                  <a:gd name="connsiteX1" fmla="*/ 0 w 486023"/>
                  <a:gd name="connsiteY1" fmla="*/ 249560 h 249559"/>
                  <a:gd name="connsiteX2" fmla="*/ 0 w 486023"/>
                  <a:gd name="connsiteY2" fmla="*/ 0 h 249559"/>
                  <a:gd name="connsiteX3" fmla="*/ 486024 w 486023"/>
                  <a:gd name="connsiteY3" fmla="*/ 0 h 249559"/>
                  <a:gd name="connsiteX4" fmla="*/ 486024 w 486023"/>
                  <a:gd name="connsiteY4" fmla="*/ 249560 h 249559"/>
                  <a:gd name="connsiteX5" fmla="*/ 13124 w 486023"/>
                  <a:gd name="connsiteY5" fmla="*/ 236435 h 249559"/>
                  <a:gd name="connsiteX6" fmla="*/ 472871 w 486023"/>
                  <a:gd name="connsiteY6" fmla="*/ 236435 h 249559"/>
                  <a:gd name="connsiteX7" fmla="*/ 472871 w 486023"/>
                  <a:gd name="connsiteY7" fmla="*/ 13124 h 249559"/>
                  <a:gd name="connsiteX8" fmla="*/ 13124 w 486023"/>
                  <a:gd name="connsiteY8" fmla="*/ 13124 h 249559"/>
                  <a:gd name="connsiteX9" fmla="*/ 13124 w 486023"/>
                  <a:gd name="connsiteY9" fmla="*/ 236435 h 24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6023" h="249559">
                    <a:moveTo>
                      <a:pt x="485995" y="249560"/>
                    </a:moveTo>
                    <a:lnTo>
                      <a:pt x="0" y="249560"/>
                    </a:lnTo>
                    <a:lnTo>
                      <a:pt x="0" y="0"/>
                    </a:lnTo>
                    <a:lnTo>
                      <a:pt x="486024" y="0"/>
                    </a:lnTo>
                    <a:lnTo>
                      <a:pt x="486024" y="249560"/>
                    </a:lnTo>
                    <a:close/>
                    <a:moveTo>
                      <a:pt x="13124" y="236435"/>
                    </a:moveTo>
                    <a:lnTo>
                      <a:pt x="472871" y="236435"/>
                    </a:lnTo>
                    <a:lnTo>
                      <a:pt x="472871" y="13124"/>
                    </a:lnTo>
                    <a:lnTo>
                      <a:pt x="13124" y="13124"/>
                    </a:lnTo>
                    <a:lnTo>
                      <a:pt x="13124" y="236435"/>
                    </a:lnTo>
                    <a:close/>
                  </a:path>
                </a:pathLst>
              </a:custGeom>
              <a:solidFill>
                <a:schemeClr val="tx2"/>
              </a:solidFill>
              <a:ln w="2827" cap="flat">
                <a:noFill/>
                <a:prstDash val="solid"/>
                <a:miter/>
              </a:ln>
            </p:spPr>
            <p:txBody>
              <a:bodyPr rtlCol="0" anchor="ctr"/>
              <a:lstStyle/>
              <a:p>
                <a:endParaRPr lang="en-GB" dirty="0"/>
              </a:p>
            </p:txBody>
          </p:sp>
          <p:grpSp>
            <p:nvGrpSpPr>
              <p:cNvPr id="722" name="Group 729">
                <a:extLst>
                  <a:ext uri="{FF2B5EF4-FFF2-40B4-BE49-F238E27FC236}">
                    <a16:creationId xmlns:a16="http://schemas.microsoft.com/office/drawing/2014/main" id="{A11A17E8-7B73-496B-8430-55D42219D1B4}"/>
                  </a:ext>
                </a:extLst>
              </p:cNvPr>
              <p:cNvGrpSpPr/>
              <p:nvPr/>
            </p:nvGrpSpPr>
            <p:grpSpPr>
              <a:xfrm>
                <a:off x="1882270" y="2732854"/>
                <a:ext cx="157633" cy="118231"/>
                <a:chOff x="1882270" y="2732854"/>
                <a:chExt cx="157633" cy="118231"/>
              </a:xfrm>
            </p:grpSpPr>
            <p:sp>
              <p:nvSpPr>
                <p:cNvPr id="723" name="Freihandform: Form 722">
                  <a:extLst>
                    <a:ext uri="{FF2B5EF4-FFF2-40B4-BE49-F238E27FC236}">
                      <a16:creationId xmlns:a16="http://schemas.microsoft.com/office/drawing/2014/main" id="{F41B06B5-72AB-4F75-BAD7-2FF14B82555A}"/>
                    </a:ext>
                  </a:extLst>
                </p:cNvPr>
                <p:cNvSpPr/>
                <p:nvPr/>
              </p:nvSpPr>
              <p:spPr>
                <a:xfrm>
                  <a:off x="1882270" y="2805108"/>
                  <a:ext cx="157633" cy="45977"/>
                </a:xfrm>
                <a:custGeom>
                  <a:avLst/>
                  <a:gdLst>
                    <a:gd name="connsiteX0" fmla="*/ 157633 w 157633"/>
                    <a:gd name="connsiteY0" fmla="*/ 45978 h 45977"/>
                    <a:gd name="connsiteX1" fmla="*/ 0 w 157633"/>
                    <a:gd name="connsiteY1" fmla="*/ 45978 h 45977"/>
                    <a:gd name="connsiteX2" fmla="*/ 0 w 157633"/>
                    <a:gd name="connsiteY2" fmla="*/ 0 h 45977"/>
                    <a:gd name="connsiteX3" fmla="*/ 13124 w 157633"/>
                    <a:gd name="connsiteY3" fmla="*/ 0 h 45977"/>
                    <a:gd name="connsiteX4" fmla="*/ 13124 w 157633"/>
                    <a:gd name="connsiteY4" fmla="*/ 32825 h 45977"/>
                    <a:gd name="connsiteX5" fmla="*/ 144480 w 157633"/>
                    <a:gd name="connsiteY5" fmla="*/ 32825 h 45977"/>
                    <a:gd name="connsiteX6" fmla="*/ 144480 w 157633"/>
                    <a:gd name="connsiteY6" fmla="*/ 0 h 45977"/>
                    <a:gd name="connsiteX7" fmla="*/ 157633 w 157633"/>
                    <a:gd name="connsiteY7" fmla="*/ 0 h 45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633" h="45977">
                      <a:moveTo>
                        <a:pt x="157633" y="45978"/>
                      </a:moveTo>
                      <a:lnTo>
                        <a:pt x="0" y="45978"/>
                      </a:lnTo>
                      <a:lnTo>
                        <a:pt x="0" y="0"/>
                      </a:lnTo>
                      <a:lnTo>
                        <a:pt x="13124" y="0"/>
                      </a:lnTo>
                      <a:lnTo>
                        <a:pt x="13124" y="32825"/>
                      </a:lnTo>
                      <a:lnTo>
                        <a:pt x="144480" y="32825"/>
                      </a:lnTo>
                      <a:lnTo>
                        <a:pt x="144480" y="0"/>
                      </a:lnTo>
                      <a:lnTo>
                        <a:pt x="157633" y="0"/>
                      </a:lnTo>
                      <a:close/>
                    </a:path>
                  </a:pathLst>
                </a:custGeom>
                <a:solidFill>
                  <a:schemeClr val="tx2"/>
                </a:solidFill>
                <a:ln w="2827" cap="flat">
                  <a:noFill/>
                  <a:prstDash val="solid"/>
                  <a:miter/>
                </a:ln>
              </p:spPr>
              <p:txBody>
                <a:bodyPr rtlCol="0" anchor="ctr"/>
                <a:lstStyle/>
                <a:p>
                  <a:endParaRPr lang="en-GB" dirty="0"/>
                </a:p>
              </p:txBody>
            </p:sp>
            <p:sp>
              <p:nvSpPr>
                <p:cNvPr id="724" name="Freihandform: Form 723">
                  <a:extLst>
                    <a:ext uri="{FF2B5EF4-FFF2-40B4-BE49-F238E27FC236}">
                      <a16:creationId xmlns:a16="http://schemas.microsoft.com/office/drawing/2014/main" id="{475359A6-8BD8-40EE-B6EC-46A8EBBA4D9E}"/>
                    </a:ext>
                  </a:extLst>
                </p:cNvPr>
                <p:cNvSpPr/>
                <p:nvPr/>
              </p:nvSpPr>
              <p:spPr>
                <a:xfrm>
                  <a:off x="1954525" y="2732854"/>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tx2"/>
                </a:solidFill>
                <a:ln w="2827" cap="flat">
                  <a:noFill/>
                  <a:prstDash val="solid"/>
                  <a:miter/>
                </a:ln>
              </p:spPr>
              <p:txBody>
                <a:bodyPr rtlCol="0" anchor="ctr"/>
                <a:lstStyle/>
                <a:p>
                  <a:endParaRPr lang="en-GB" dirty="0"/>
                </a:p>
              </p:txBody>
            </p:sp>
            <p:sp>
              <p:nvSpPr>
                <p:cNvPr id="725" name="Freihandform: Form 724">
                  <a:extLst>
                    <a:ext uri="{FF2B5EF4-FFF2-40B4-BE49-F238E27FC236}">
                      <a16:creationId xmlns:a16="http://schemas.microsoft.com/office/drawing/2014/main" id="{F00486FE-D638-4F7E-B3E1-E3E68CD3C29F}"/>
                    </a:ext>
                  </a:extLst>
                </p:cNvPr>
                <p:cNvSpPr/>
                <p:nvPr/>
              </p:nvSpPr>
              <p:spPr>
                <a:xfrm>
                  <a:off x="1993926" y="2732854"/>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tx2"/>
                </a:solidFill>
                <a:ln w="2827" cap="flat">
                  <a:noFill/>
                  <a:prstDash val="solid"/>
                  <a:miter/>
                </a:ln>
              </p:spPr>
              <p:txBody>
                <a:bodyPr rtlCol="0" anchor="ctr"/>
                <a:lstStyle/>
                <a:p>
                  <a:endParaRPr lang="en-GB" dirty="0"/>
                </a:p>
              </p:txBody>
            </p:sp>
            <p:sp>
              <p:nvSpPr>
                <p:cNvPr id="726" name="Freihandform: Form 725">
                  <a:extLst>
                    <a:ext uri="{FF2B5EF4-FFF2-40B4-BE49-F238E27FC236}">
                      <a16:creationId xmlns:a16="http://schemas.microsoft.com/office/drawing/2014/main" id="{A8D00A6D-FB64-47F8-B33C-6D3C98F67995}"/>
                    </a:ext>
                  </a:extLst>
                </p:cNvPr>
                <p:cNvSpPr/>
                <p:nvPr/>
              </p:nvSpPr>
              <p:spPr>
                <a:xfrm>
                  <a:off x="1915124" y="2732854"/>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tx2"/>
                </a:solidFill>
                <a:ln w="2827" cap="flat">
                  <a:noFill/>
                  <a:prstDash val="solid"/>
                  <a:miter/>
                </a:ln>
              </p:spPr>
              <p:txBody>
                <a:bodyPr rtlCol="0" anchor="ctr"/>
                <a:lstStyle/>
                <a:p>
                  <a:endParaRPr lang="en-GB" dirty="0"/>
                </a:p>
              </p:txBody>
            </p:sp>
          </p:grpSp>
        </p:grpSp>
      </p:grpSp>
      <p:sp>
        <p:nvSpPr>
          <p:cNvPr id="730" name="TextBox 1418">
            <a:extLst>
              <a:ext uri="{FF2B5EF4-FFF2-40B4-BE49-F238E27FC236}">
                <a16:creationId xmlns:a16="http://schemas.microsoft.com/office/drawing/2014/main" id="{3E6B62E7-24B5-4525-93EB-260A50B56619}"/>
              </a:ext>
            </a:extLst>
          </p:cNvPr>
          <p:cNvSpPr txBox="1"/>
          <p:nvPr/>
        </p:nvSpPr>
        <p:spPr>
          <a:xfrm>
            <a:off x="3766043" y="2899619"/>
            <a:ext cx="328616" cy="107722"/>
          </a:xfrm>
          <a:prstGeom prst="rect">
            <a:avLst/>
          </a:prstGeom>
          <a:noFill/>
          <a:effectLst/>
        </p:spPr>
        <p:txBody>
          <a:bodyPr wrap="none" lIns="0" tIns="0" rIns="0" bIns="0" rtlCol="0" anchor="t" anchorCtr="0">
            <a:spAutoFit/>
          </a:bodyPr>
          <a:lstStyle/>
          <a:p>
            <a:pPr algn="ctr"/>
            <a:r>
              <a:rPr lang="en-GB" sz="700" dirty="0">
                <a:solidFill>
                  <a:schemeClr val="tx2"/>
                </a:solidFill>
              </a:rPr>
              <a:t>Portfolio</a:t>
            </a:r>
          </a:p>
        </p:txBody>
      </p:sp>
      <p:sp>
        <p:nvSpPr>
          <p:cNvPr id="731" name="TextBox 1419">
            <a:extLst>
              <a:ext uri="{FF2B5EF4-FFF2-40B4-BE49-F238E27FC236}">
                <a16:creationId xmlns:a16="http://schemas.microsoft.com/office/drawing/2014/main" id="{887BB886-A240-4A0C-8251-CB62907E0DF9}"/>
              </a:ext>
            </a:extLst>
          </p:cNvPr>
          <p:cNvSpPr txBox="1"/>
          <p:nvPr/>
        </p:nvSpPr>
        <p:spPr>
          <a:xfrm>
            <a:off x="2707786" y="2899619"/>
            <a:ext cx="354264" cy="107722"/>
          </a:xfrm>
          <a:prstGeom prst="rect">
            <a:avLst/>
          </a:prstGeom>
          <a:noFill/>
          <a:effectLst/>
        </p:spPr>
        <p:txBody>
          <a:bodyPr wrap="none" lIns="0" tIns="0" rIns="0" bIns="0" rtlCol="0" anchor="t" anchorCtr="0">
            <a:spAutoFit/>
          </a:bodyPr>
          <a:lstStyle/>
          <a:p>
            <a:pPr algn="ctr"/>
            <a:r>
              <a:rPr lang="en-GB" sz="700" dirty="0">
                <a:solidFill>
                  <a:schemeClr val="tx2"/>
                </a:solidFill>
              </a:rPr>
              <a:t>Contacts</a:t>
            </a:r>
          </a:p>
        </p:txBody>
      </p:sp>
      <p:sp>
        <p:nvSpPr>
          <p:cNvPr id="732" name="TextBox 1417">
            <a:extLst>
              <a:ext uri="{FF2B5EF4-FFF2-40B4-BE49-F238E27FC236}">
                <a16:creationId xmlns:a16="http://schemas.microsoft.com/office/drawing/2014/main" id="{F8A01E7D-382B-4AE2-A823-997AC148A6D7}"/>
              </a:ext>
            </a:extLst>
          </p:cNvPr>
          <p:cNvSpPr txBox="1"/>
          <p:nvPr/>
        </p:nvSpPr>
        <p:spPr>
          <a:xfrm>
            <a:off x="705084" y="2899619"/>
            <a:ext cx="177933" cy="107722"/>
          </a:xfrm>
          <a:prstGeom prst="rect">
            <a:avLst/>
          </a:prstGeom>
          <a:noFill/>
          <a:effectLst/>
        </p:spPr>
        <p:txBody>
          <a:bodyPr wrap="none" lIns="0" tIns="0" rIns="0" bIns="0" rtlCol="0" anchor="t" anchorCtr="0">
            <a:spAutoFit/>
          </a:bodyPr>
          <a:lstStyle/>
          <a:p>
            <a:pPr algn="ctr"/>
            <a:r>
              <a:rPr lang="en-GB" sz="700" dirty="0">
                <a:solidFill>
                  <a:schemeClr val="tx2"/>
                </a:solidFill>
              </a:rPr>
              <a:t>Blog</a:t>
            </a:r>
          </a:p>
        </p:txBody>
      </p:sp>
      <p:sp>
        <p:nvSpPr>
          <p:cNvPr id="733" name="TextBox 1420">
            <a:extLst>
              <a:ext uri="{FF2B5EF4-FFF2-40B4-BE49-F238E27FC236}">
                <a16:creationId xmlns:a16="http://schemas.microsoft.com/office/drawing/2014/main" id="{B35E77AC-F380-40F1-B2A2-68782F1CD364}"/>
              </a:ext>
            </a:extLst>
          </p:cNvPr>
          <p:cNvSpPr txBox="1"/>
          <p:nvPr/>
        </p:nvSpPr>
        <p:spPr>
          <a:xfrm>
            <a:off x="1677581" y="2899619"/>
            <a:ext cx="323807" cy="107722"/>
          </a:xfrm>
          <a:prstGeom prst="rect">
            <a:avLst/>
          </a:prstGeom>
          <a:noFill/>
          <a:effectLst/>
        </p:spPr>
        <p:txBody>
          <a:bodyPr wrap="none" lIns="0" tIns="0" rIns="0" bIns="0" rtlCol="0" anchor="t" anchorCtr="0">
            <a:spAutoFit/>
          </a:bodyPr>
          <a:lstStyle/>
          <a:p>
            <a:pPr algn="ctr"/>
            <a:r>
              <a:rPr lang="en-GB" sz="700" dirty="0">
                <a:solidFill>
                  <a:schemeClr val="tx2"/>
                </a:solidFill>
              </a:rPr>
              <a:t>Projects</a:t>
            </a:r>
          </a:p>
        </p:txBody>
      </p:sp>
      <p:grpSp>
        <p:nvGrpSpPr>
          <p:cNvPr id="734" name="Group 5">
            <a:extLst>
              <a:ext uri="{FF2B5EF4-FFF2-40B4-BE49-F238E27FC236}">
                <a16:creationId xmlns:a16="http://schemas.microsoft.com/office/drawing/2014/main" id="{F2F5A1F8-DF4B-4E4D-A555-14951F747E7C}"/>
              </a:ext>
            </a:extLst>
          </p:cNvPr>
          <p:cNvGrpSpPr>
            <a:grpSpLocks noChangeAspect="1"/>
          </p:cNvGrpSpPr>
          <p:nvPr/>
        </p:nvGrpSpPr>
        <p:grpSpPr>
          <a:xfrm>
            <a:off x="543526" y="3273395"/>
            <a:ext cx="501051" cy="431996"/>
            <a:chOff x="915636" y="3341731"/>
            <a:chExt cx="422897" cy="364614"/>
          </a:xfrm>
        </p:grpSpPr>
        <p:sp>
          <p:nvSpPr>
            <p:cNvPr id="735" name="Freihandform: Form 734">
              <a:extLst>
                <a:ext uri="{FF2B5EF4-FFF2-40B4-BE49-F238E27FC236}">
                  <a16:creationId xmlns:a16="http://schemas.microsoft.com/office/drawing/2014/main" id="{625D2562-F399-40F1-85A1-467816165B22}"/>
                </a:ext>
              </a:extLst>
            </p:cNvPr>
            <p:cNvSpPr/>
            <p:nvPr/>
          </p:nvSpPr>
          <p:spPr>
            <a:xfrm>
              <a:off x="982504" y="3531648"/>
              <a:ext cx="288959" cy="174697"/>
            </a:xfrm>
            <a:custGeom>
              <a:avLst/>
              <a:gdLst>
                <a:gd name="connsiteX0" fmla="*/ 144480 w 288960"/>
                <a:gd name="connsiteY0" fmla="*/ 174698 h 174697"/>
                <a:gd name="connsiteX1" fmla="*/ 0 w 288960"/>
                <a:gd name="connsiteY1" fmla="*/ 92125 h 174697"/>
                <a:gd name="connsiteX2" fmla="*/ 0 w 288960"/>
                <a:gd name="connsiteY2" fmla="*/ 0 h 174697"/>
                <a:gd name="connsiteX3" fmla="*/ 13124 w 288960"/>
                <a:gd name="connsiteY3" fmla="*/ 0 h 174697"/>
                <a:gd name="connsiteX4" fmla="*/ 13124 w 288960"/>
                <a:gd name="connsiteY4" fmla="*/ 84500 h 174697"/>
                <a:gd name="connsiteX5" fmla="*/ 144480 w 288960"/>
                <a:gd name="connsiteY5" fmla="*/ 159561 h 174697"/>
                <a:gd name="connsiteX6" fmla="*/ 275837 w 288960"/>
                <a:gd name="connsiteY6" fmla="*/ 84500 h 174697"/>
                <a:gd name="connsiteX7" fmla="*/ 275837 w 288960"/>
                <a:gd name="connsiteY7" fmla="*/ 0 h 174697"/>
                <a:gd name="connsiteX8" fmla="*/ 288961 w 288960"/>
                <a:gd name="connsiteY8" fmla="*/ 0 h 174697"/>
                <a:gd name="connsiteX9" fmla="*/ 288961 w 288960"/>
                <a:gd name="connsiteY9" fmla="*/ 92125 h 174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8960" h="174697">
                  <a:moveTo>
                    <a:pt x="144480" y="174698"/>
                  </a:moveTo>
                  <a:lnTo>
                    <a:pt x="0" y="92125"/>
                  </a:lnTo>
                  <a:lnTo>
                    <a:pt x="0" y="0"/>
                  </a:lnTo>
                  <a:lnTo>
                    <a:pt x="13124" y="0"/>
                  </a:lnTo>
                  <a:lnTo>
                    <a:pt x="13124" y="84500"/>
                  </a:lnTo>
                  <a:lnTo>
                    <a:pt x="144480" y="159561"/>
                  </a:lnTo>
                  <a:lnTo>
                    <a:pt x="275837" y="84500"/>
                  </a:lnTo>
                  <a:lnTo>
                    <a:pt x="275837" y="0"/>
                  </a:lnTo>
                  <a:lnTo>
                    <a:pt x="288961" y="0"/>
                  </a:lnTo>
                  <a:lnTo>
                    <a:pt x="288961" y="92125"/>
                  </a:lnTo>
                  <a:close/>
                </a:path>
              </a:pathLst>
            </a:custGeom>
            <a:solidFill>
              <a:schemeClr val="tx2"/>
            </a:solidFill>
            <a:ln w="2827" cap="flat">
              <a:noFill/>
              <a:prstDash val="solid"/>
              <a:miter/>
            </a:ln>
          </p:spPr>
          <p:txBody>
            <a:bodyPr rtlCol="0" anchor="ctr"/>
            <a:lstStyle/>
            <a:p>
              <a:endParaRPr lang="en-GB" dirty="0"/>
            </a:p>
          </p:txBody>
        </p:sp>
        <p:sp>
          <p:nvSpPr>
            <p:cNvPr id="736" name="Freihandform: Form 735">
              <a:extLst>
                <a:ext uri="{FF2B5EF4-FFF2-40B4-BE49-F238E27FC236}">
                  <a16:creationId xmlns:a16="http://schemas.microsoft.com/office/drawing/2014/main" id="{00D5FA2F-93F4-4F0E-80B1-81701BBC14A2}"/>
                </a:ext>
              </a:extLst>
            </p:cNvPr>
            <p:cNvSpPr/>
            <p:nvPr/>
          </p:nvSpPr>
          <p:spPr>
            <a:xfrm>
              <a:off x="985792" y="3375971"/>
              <a:ext cx="282384" cy="92068"/>
            </a:xfrm>
            <a:custGeom>
              <a:avLst/>
              <a:gdLst>
                <a:gd name="connsiteX0" fmla="*/ 275865 w 282384"/>
                <a:gd name="connsiteY0" fmla="*/ 92068 h 92068"/>
                <a:gd name="connsiteX1" fmla="*/ 141192 w 282384"/>
                <a:gd name="connsiteY1" fmla="*/ 15108 h 92068"/>
                <a:gd name="connsiteX2" fmla="*/ 6520 w 282384"/>
                <a:gd name="connsiteY2" fmla="*/ 92068 h 92068"/>
                <a:gd name="connsiteX3" fmla="*/ 0 w 282384"/>
                <a:gd name="connsiteY3" fmla="*/ 80673 h 92068"/>
                <a:gd name="connsiteX4" fmla="*/ 141192 w 282384"/>
                <a:gd name="connsiteY4" fmla="*/ 0 h 92068"/>
                <a:gd name="connsiteX5" fmla="*/ 282385 w 282384"/>
                <a:gd name="connsiteY5" fmla="*/ 80673 h 92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2384" h="92068">
                  <a:moveTo>
                    <a:pt x="275865" y="92068"/>
                  </a:moveTo>
                  <a:lnTo>
                    <a:pt x="141192" y="15108"/>
                  </a:lnTo>
                  <a:lnTo>
                    <a:pt x="6520" y="92068"/>
                  </a:lnTo>
                  <a:lnTo>
                    <a:pt x="0" y="80673"/>
                  </a:lnTo>
                  <a:lnTo>
                    <a:pt x="141192" y="0"/>
                  </a:lnTo>
                  <a:lnTo>
                    <a:pt x="282385" y="80673"/>
                  </a:lnTo>
                  <a:close/>
                </a:path>
              </a:pathLst>
            </a:custGeom>
            <a:solidFill>
              <a:schemeClr val="tx2"/>
            </a:solidFill>
            <a:ln w="2827" cap="flat">
              <a:noFill/>
              <a:prstDash val="solid"/>
              <a:miter/>
            </a:ln>
          </p:spPr>
          <p:txBody>
            <a:bodyPr rtlCol="0" anchor="ctr"/>
            <a:lstStyle/>
            <a:p>
              <a:endParaRPr lang="en-GB" dirty="0"/>
            </a:p>
          </p:txBody>
        </p:sp>
        <p:sp>
          <p:nvSpPr>
            <p:cNvPr id="737" name="Freihandform: Form 736">
              <a:extLst>
                <a:ext uri="{FF2B5EF4-FFF2-40B4-BE49-F238E27FC236}">
                  <a16:creationId xmlns:a16="http://schemas.microsoft.com/office/drawing/2014/main" id="{D651B735-2057-4CC4-9446-988EAB810900}"/>
                </a:ext>
              </a:extLst>
            </p:cNvPr>
            <p:cNvSpPr/>
            <p:nvPr/>
          </p:nvSpPr>
          <p:spPr>
            <a:xfrm rot="19815350">
              <a:off x="1116458" y="3494629"/>
              <a:ext cx="158842" cy="13123"/>
            </a:xfrm>
            <a:custGeom>
              <a:avLst/>
              <a:gdLst>
                <a:gd name="connsiteX0" fmla="*/ 0 w 158842"/>
                <a:gd name="connsiteY0" fmla="*/ 0 h 13123"/>
                <a:gd name="connsiteX1" fmla="*/ 158843 w 158842"/>
                <a:gd name="connsiteY1" fmla="*/ 0 h 13123"/>
                <a:gd name="connsiteX2" fmla="*/ 158843 w 158842"/>
                <a:gd name="connsiteY2" fmla="*/ 13123 h 13123"/>
                <a:gd name="connsiteX3" fmla="*/ 0 w 158842"/>
                <a:gd name="connsiteY3" fmla="*/ 13123 h 13123"/>
              </a:gdLst>
              <a:ahLst/>
              <a:cxnLst>
                <a:cxn ang="0">
                  <a:pos x="connsiteX0" y="connsiteY0"/>
                </a:cxn>
                <a:cxn ang="0">
                  <a:pos x="connsiteX1" y="connsiteY1"/>
                </a:cxn>
                <a:cxn ang="0">
                  <a:pos x="connsiteX2" y="connsiteY2"/>
                </a:cxn>
                <a:cxn ang="0">
                  <a:pos x="connsiteX3" y="connsiteY3"/>
                </a:cxn>
              </a:cxnLst>
              <a:rect l="l" t="t" r="r" b="b"/>
              <a:pathLst>
                <a:path w="158842" h="13123">
                  <a:moveTo>
                    <a:pt x="0" y="0"/>
                  </a:moveTo>
                  <a:lnTo>
                    <a:pt x="158843" y="0"/>
                  </a:lnTo>
                  <a:lnTo>
                    <a:pt x="158843" y="13123"/>
                  </a:lnTo>
                  <a:lnTo>
                    <a:pt x="0" y="13123"/>
                  </a:lnTo>
                  <a:close/>
                </a:path>
              </a:pathLst>
            </a:custGeom>
            <a:solidFill>
              <a:schemeClr val="tx2"/>
            </a:solidFill>
            <a:ln w="2827" cap="flat">
              <a:noFill/>
              <a:prstDash val="solid"/>
              <a:miter/>
            </a:ln>
          </p:spPr>
          <p:txBody>
            <a:bodyPr rtlCol="0" anchor="ctr"/>
            <a:lstStyle/>
            <a:p>
              <a:endParaRPr lang="en-GB" dirty="0"/>
            </a:p>
          </p:txBody>
        </p:sp>
        <p:sp>
          <p:nvSpPr>
            <p:cNvPr id="738" name="Freihandform: Form 737">
              <a:extLst>
                <a:ext uri="{FF2B5EF4-FFF2-40B4-BE49-F238E27FC236}">
                  <a16:creationId xmlns:a16="http://schemas.microsoft.com/office/drawing/2014/main" id="{4BDE856B-55AB-4F37-96ED-175172285ABA}"/>
                </a:ext>
              </a:extLst>
            </p:cNvPr>
            <p:cNvSpPr/>
            <p:nvPr/>
          </p:nvSpPr>
          <p:spPr>
            <a:xfrm>
              <a:off x="1120408" y="3566940"/>
              <a:ext cx="13124" cy="131356"/>
            </a:xfrm>
            <a:custGeom>
              <a:avLst/>
              <a:gdLst>
                <a:gd name="connsiteX0" fmla="*/ 0 w 13124"/>
                <a:gd name="connsiteY0" fmla="*/ 0 h 131356"/>
                <a:gd name="connsiteX1" fmla="*/ 13124 w 13124"/>
                <a:gd name="connsiteY1" fmla="*/ 0 h 131356"/>
                <a:gd name="connsiteX2" fmla="*/ 13124 w 13124"/>
                <a:gd name="connsiteY2" fmla="*/ 131356 h 131356"/>
                <a:gd name="connsiteX3" fmla="*/ 0 w 13124"/>
                <a:gd name="connsiteY3" fmla="*/ 131356 h 131356"/>
              </a:gdLst>
              <a:ahLst/>
              <a:cxnLst>
                <a:cxn ang="0">
                  <a:pos x="connsiteX0" y="connsiteY0"/>
                </a:cxn>
                <a:cxn ang="0">
                  <a:pos x="connsiteX1" y="connsiteY1"/>
                </a:cxn>
                <a:cxn ang="0">
                  <a:pos x="connsiteX2" y="connsiteY2"/>
                </a:cxn>
                <a:cxn ang="0">
                  <a:pos x="connsiteX3" y="connsiteY3"/>
                </a:cxn>
              </a:cxnLst>
              <a:rect l="l" t="t" r="r" b="b"/>
              <a:pathLst>
                <a:path w="13124" h="131356">
                  <a:moveTo>
                    <a:pt x="0" y="0"/>
                  </a:moveTo>
                  <a:lnTo>
                    <a:pt x="13124" y="0"/>
                  </a:lnTo>
                  <a:lnTo>
                    <a:pt x="13124" y="131356"/>
                  </a:lnTo>
                  <a:lnTo>
                    <a:pt x="0" y="131356"/>
                  </a:lnTo>
                  <a:close/>
                </a:path>
              </a:pathLst>
            </a:custGeom>
            <a:solidFill>
              <a:schemeClr val="tx2"/>
            </a:solidFill>
            <a:ln w="2827" cap="flat">
              <a:noFill/>
              <a:prstDash val="solid"/>
              <a:miter/>
            </a:ln>
          </p:spPr>
          <p:txBody>
            <a:bodyPr rtlCol="0" anchor="ctr"/>
            <a:lstStyle/>
            <a:p>
              <a:endParaRPr lang="en-GB" dirty="0"/>
            </a:p>
          </p:txBody>
        </p:sp>
        <p:sp>
          <p:nvSpPr>
            <p:cNvPr id="739" name="Freihandform: Form 738">
              <a:extLst>
                <a:ext uri="{FF2B5EF4-FFF2-40B4-BE49-F238E27FC236}">
                  <a16:creationId xmlns:a16="http://schemas.microsoft.com/office/drawing/2014/main" id="{D4140597-D831-4296-BA42-4774B8AD1173}"/>
                </a:ext>
              </a:extLst>
            </p:cNvPr>
            <p:cNvSpPr/>
            <p:nvPr/>
          </p:nvSpPr>
          <p:spPr>
            <a:xfrm>
              <a:off x="915636" y="3454746"/>
              <a:ext cx="214607" cy="127954"/>
            </a:xfrm>
            <a:custGeom>
              <a:avLst/>
              <a:gdLst>
                <a:gd name="connsiteX0" fmla="*/ 151057 w 214608"/>
                <a:gd name="connsiteY0" fmla="*/ 127955 h 127954"/>
                <a:gd name="connsiteX1" fmla="*/ 0 w 214608"/>
                <a:gd name="connsiteY1" fmla="*/ 41811 h 127954"/>
                <a:gd name="connsiteX2" fmla="*/ 73587 w 214608"/>
                <a:gd name="connsiteY2" fmla="*/ 0 h 127954"/>
                <a:gd name="connsiteX3" fmla="*/ 214609 w 214608"/>
                <a:gd name="connsiteY3" fmla="*/ 80248 h 127954"/>
                <a:gd name="connsiteX4" fmla="*/ 211207 w 214608"/>
                <a:gd name="connsiteY4" fmla="*/ 86201 h 127954"/>
                <a:gd name="connsiteX5" fmla="*/ 214382 w 214608"/>
                <a:gd name="connsiteY5" fmla="*/ 91757 h 127954"/>
                <a:gd name="connsiteX6" fmla="*/ 151057 w 214608"/>
                <a:gd name="connsiteY6" fmla="*/ 127955 h 127954"/>
                <a:gd name="connsiteX7" fmla="*/ 26532 w 214608"/>
                <a:gd name="connsiteY7" fmla="*/ 41811 h 127954"/>
                <a:gd name="connsiteX8" fmla="*/ 151057 w 214608"/>
                <a:gd name="connsiteY8" fmla="*/ 112818 h 127954"/>
                <a:gd name="connsiteX9" fmla="*/ 198083 w 214608"/>
                <a:gd name="connsiteY9" fmla="*/ 85946 h 127954"/>
                <a:gd name="connsiteX10" fmla="*/ 73558 w 214608"/>
                <a:gd name="connsiteY10" fmla="*/ 15080 h 127954"/>
                <a:gd name="connsiteX11" fmla="*/ 26532 w 214608"/>
                <a:gd name="connsiteY11" fmla="*/ 41811 h 12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14608" h="127954">
                  <a:moveTo>
                    <a:pt x="151057" y="127955"/>
                  </a:moveTo>
                  <a:lnTo>
                    <a:pt x="0" y="41811"/>
                  </a:lnTo>
                  <a:lnTo>
                    <a:pt x="73587" y="0"/>
                  </a:lnTo>
                  <a:lnTo>
                    <a:pt x="214609" y="80248"/>
                  </a:lnTo>
                  <a:lnTo>
                    <a:pt x="211207" y="86201"/>
                  </a:lnTo>
                  <a:lnTo>
                    <a:pt x="214382" y="91757"/>
                  </a:lnTo>
                  <a:lnTo>
                    <a:pt x="151057" y="127955"/>
                  </a:lnTo>
                  <a:close/>
                  <a:moveTo>
                    <a:pt x="26532" y="41811"/>
                  </a:moveTo>
                  <a:lnTo>
                    <a:pt x="151057" y="112818"/>
                  </a:lnTo>
                  <a:lnTo>
                    <a:pt x="198083" y="85946"/>
                  </a:lnTo>
                  <a:lnTo>
                    <a:pt x="73558" y="15080"/>
                  </a:lnTo>
                  <a:lnTo>
                    <a:pt x="26532" y="41811"/>
                  </a:lnTo>
                  <a:close/>
                </a:path>
              </a:pathLst>
            </a:custGeom>
            <a:solidFill>
              <a:schemeClr val="tx2"/>
            </a:solidFill>
            <a:ln w="2827" cap="flat">
              <a:noFill/>
              <a:prstDash val="solid"/>
              <a:miter/>
            </a:ln>
          </p:spPr>
          <p:txBody>
            <a:bodyPr rtlCol="0" anchor="ctr"/>
            <a:lstStyle/>
            <a:p>
              <a:endParaRPr lang="en-GB" dirty="0"/>
            </a:p>
          </p:txBody>
        </p:sp>
        <p:sp>
          <p:nvSpPr>
            <p:cNvPr id="740" name="Freihandform: Form 739">
              <a:extLst>
                <a:ext uri="{FF2B5EF4-FFF2-40B4-BE49-F238E27FC236}">
                  <a16:creationId xmlns:a16="http://schemas.microsoft.com/office/drawing/2014/main" id="{BC7208F2-B3F1-464B-8BBF-C371230C9A07}"/>
                </a:ext>
              </a:extLst>
            </p:cNvPr>
            <p:cNvSpPr/>
            <p:nvPr/>
          </p:nvSpPr>
          <p:spPr>
            <a:xfrm>
              <a:off x="1113833" y="3341731"/>
              <a:ext cx="224615" cy="127954"/>
            </a:xfrm>
            <a:custGeom>
              <a:avLst/>
              <a:gdLst>
                <a:gd name="connsiteX0" fmla="*/ 151057 w 224615"/>
                <a:gd name="connsiteY0" fmla="*/ 127955 h 127954"/>
                <a:gd name="connsiteX1" fmla="*/ 0 w 224615"/>
                <a:gd name="connsiteY1" fmla="*/ 41811 h 127954"/>
                <a:gd name="connsiteX2" fmla="*/ 73587 w 224615"/>
                <a:gd name="connsiteY2" fmla="*/ 0 h 127954"/>
                <a:gd name="connsiteX3" fmla="*/ 224615 w 224615"/>
                <a:gd name="connsiteY3" fmla="*/ 85946 h 127954"/>
                <a:gd name="connsiteX4" fmla="*/ 151057 w 224615"/>
                <a:gd name="connsiteY4" fmla="*/ 127955 h 127954"/>
                <a:gd name="connsiteX5" fmla="*/ 26532 w 224615"/>
                <a:gd name="connsiteY5" fmla="*/ 41839 h 127954"/>
                <a:gd name="connsiteX6" fmla="*/ 151057 w 224615"/>
                <a:gd name="connsiteY6" fmla="*/ 112846 h 127954"/>
                <a:gd name="connsiteX7" fmla="*/ 198111 w 224615"/>
                <a:gd name="connsiteY7" fmla="*/ 85974 h 127954"/>
                <a:gd name="connsiteX8" fmla="*/ 73587 w 224615"/>
                <a:gd name="connsiteY8" fmla="*/ 15109 h 127954"/>
                <a:gd name="connsiteX9" fmla="*/ 26532 w 224615"/>
                <a:gd name="connsiteY9" fmla="*/ 41839 h 127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615" h="127954">
                  <a:moveTo>
                    <a:pt x="151057" y="127955"/>
                  </a:moveTo>
                  <a:lnTo>
                    <a:pt x="0" y="41811"/>
                  </a:lnTo>
                  <a:lnTo>
                    <a:pt x="73587" y="0"/>
                  </a:lnTo>
                  <a:lnTo>
                    <a:pt x="224615" y="85946"/>
                  </a:lnTo>
                  <a:lnTo>
                    <a:pt x="151057" y="127955"/>
                  </a:lnTo>
                  <a:close/>
                  <a:moveTo>
                    <a:pt x="26532" y="41839"/>
                  </a:moveTo>
                  <a:lnTo>
                    <a:pt x="151057" y="112846"/>
                  </a:lnTo>
                  <a:lnTo>
                    <a:pt x="198111" y="85974"/>
                  </a:lnTo>
                  <a:lnTo>
                    <a:pt x="73587" y="15109"/>
                  </a:lnTo>
                  <a:lnTo>
                    <a:pt x="26532" y="41839"/>
                  </a:lnTo>
                  <a:close/>
                </a:path>
              </a:pathLst>
            </a:custGeom>
            <a:solidFill>
              <a:schemeClr val="tx2"/>
            </a:solidFill>
            <a:ln w="2827" cap="flat">
              <a:noFill/>
              <a:prstDash val="solid"/>
              <a:miter/>
            </a:ln>
          </p:spPr>
          <p:txBody>
            <a:bodyPr rtlCol="0" anchor="ctr"/>
            <a:lstStyle/>
            <a:p>
              <a:endParaRPr lang="en-GB" dirty="0"/>
            </a:p>
          </p:txBody>
        </p:sp>
        <p:sp>
          <p:nvSpPr>
            <p:cNvPr id="741" name="Freihandform: Form 740">
              <a:extLst>
                <a:ext uri="{FF2B5EF4-FFF2-40B4-BE49-F238E27FC236}">
                  <a16:creationId xmlns:a16="http://schemas.microsoft.com/office/drawing/2014/main" id="{5D3D0B8F-D7B0-4E50-AAA9-3DA0F00727A3}"/>
                </a:ext>
              </a:extLst>
            </p:cNvPr>
            <p:cNvSpPr/>
            <p:nvPr/>
          </p:nvSpPr>
          <p:spPr>
            <a:xfrm>
              <a:off x="1113890" y="3454771"/>
              <a:ext cx="224643" cy="127982"/>
            </a:xfrm>
            <a:custGeom>
              <a:avLst/>
              <a:gdLst>
                <a:gd name="connsiteX0" fmla="*/ 73558 w 224643"/>
                <a:gd name="connsiteY0" fmla="*/ 127983 h 127982"/>
                <a:gd name="connsiteX1" fmla="*/ 0 w 224643"/>
                <a:gd name="connsiteY1" fmla="*/ 85946 h 127982"/>
                <a:gd name="connsiteX2" fmla="*/ 151057 w 224643"/>
                <a:gd name="connsiteY2" fmla="*/ 0 h 127982"/>
                <a:gd name="connsiteX3" fmla="*/ 224643 w 224643"/>
                <a:gd name="connsiteY3" fmla="*/ 41811 h 127982"/>
                <a:gd name="connsiteX4" fmla="*/ 73558 w 224643"/>
                <a:gd name="connsiteY4" fmla="*/ 127983 h 127982"/>
                <a:gd name="connsiteX5" fmla="*/ 26504 w 224643"/>
                <a:gd name="connsiteY5" fmla="*/ 85974 h 127982"/>
                <a:gd name="connsiteX6" fmla="*/ 73558 w 224643"/>
                <a:gd name="connsiteY6" fmla="*/ 112846 h 127982"/>
                <a:gd name="connsiteX7" fmla="*/ 198083 w 224643"/>
                <a:gd name="connsiteY7" fmla="*/ 41839 h 127982"/>
                <a:gd name="connsiteX8" fmla="*/ 151057 w 224643"/>
                <a:gd name="connsiteY8" fmla="*/ 15108 h 127982"/>
                <a:gd name="connsiteX9" fmla="*/ 26504 w 224643"/>
                <a:gd name="connsiteY9" fmla="*/ 85974 h 12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643" h="127982">
                  <a:moveTo>
                    <a:pt x="73558" y="127983"/>
                  </a:moveTo>
                  <a:lnTo>
                    <a:pt x="0" y="85946"/>
                  </a:lnTo>
                  <a:lnTo>
                    <a:pt x="151057" y="0"/>
                  </a:lnTo>
                  <a:lnTo>
                    <a:pt x="224643" y="41811"/>
                  </a:lnTo>
                  <a:lnTo>
                    <a:pt x="73558" y="127983"/>
                  </a:lnTo>
                  <a:close/>
                  <a:moveTo>
                    <a:pt x="26504" y="85974"/>
                  </a:moveTo>
                  <a:lnTo>
                    <a:pt x="73558" y="112846"/>
                  </a:lnTo>
                  <a:lnTo>
                    <a:pt x="198083" y="41839"/>
                  </a:lnTo>
                  <a:lnTo>
                    <a:pt x="151057" y="15108"/>
                  </a:lnTo>
                  <a:lnTo>
                    <a:pt x="26504" y="85974"/>
                  </a:lnTo>
                  <a:close/>
                </a:path>
              </a:pathLst>
            </a:custGeom>
            <a:solidFill>
              <a:schemeClr val="tx2"/>
            </a:solidFill>
            <a:ln w="2827" cap="flat">
              <a:noFill/>
              <a:prstDash val="solid"/>
              <a:miter/>
            </a:ln>
          </p:spPr>
          <p:txBody>
            <a:bodyPr rtlCol="0" anchor="ctr"/>
            <a:lstStyle/>
            <a:p>
              <a:endParaRPr lang="en-GB" dirty="0"/>
            </a:p>
          </p:txBody>
        </p:sp>
        <p:sp>
          <p:nvSpPr>
            <p:cNvPr id="742" name="Freihandform: Form 741">
              <a:extLst>
                <a:ext uri="{FF2B5EF4-FFF2-40B4-BE49-F238E27FC236}">
                  <a16:creationId xmlns:a16="http://schemas.microsoft.com/office/drawing/2014/main" id="{BC1E77CB-DFB9-412A-9662-DCA669DF1827}"/>
                </a:ext>
              </a:extLst>
            </p:cNvPr>
            <p:cNvSpPr/>
            <p:nvPr/>
          </p:nvSpPr>
          <p:spPr>
            <a:xfrm>
              <a:off x="915666" y="3341871"/>
              <a:ext cx="224643" cy="127983"/>
            </a:xfrm>
            <a:custGeom>
              <a:avLst/>
              <a:gdLst>
                <a:gd name="connsiteX0" fmla="*/ 73558 w 224643"/>
                <a:gd name="connsiteY0" fmla="*/ 127983 h 127983"/>
                <a:gd name="connsiteX1" fmla="*/ 0 w 224643"/>
                <a:gd name="connsiteY1" fmla="*/ 85946 h 127983"/>
                <a:gd name="connsiteX2" fmla="*/ 151057 w 224643"/>
                <a:gd name="connsiteY2" fmla="*/ 0 h 127983"/>
                <a:gd name="connsiteX3" fmla="*/ 224643 w 224643"/>
                <a:gd name="connsiteY3" fmla="*/ 41811 h 127983"/>
                <a:gd name="connsiteX4" fmla="*/ 73558 w 224643"/>
                <a:gd name="connsiteY4" fmla="*/ 127983 h 127983"/>
                <a:gd name="connsiteX5" fmla="*/ 26504 w 224643"/>
                <a:gd name="connsiteY5" fmla="*/ 85974 h 127983"/>
                <a:gd name="connsiteX6" fmla="*/ 73558 w 224643"/>
                <a:gd name="connsiteY6" fmla="*/ 112846 h 127983"/>
                <a:gd name="connsiteX7" fmla="*/ 198083 w 224643"/>
                <a:gd name="connsiteY7" fmla="*/ 41839 h 127983"/>
                <a:gd name="connsiteX8" fmla="*/ 151057 w 224643"/>
                <a:gd name="connsiteY8" fmla="*/ 15109 h 127983"/>
                <a:gd name="connsiteX9" fmla="*/ 26504 w 224643"/>
                <a:gd name="connsiteY9" fmla="*/ 85974 h 12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643" h="127983">
                  <a:moveTo>
                    <a:pt x="73558" y="127983"/>
                  </a:moveTo>
                  <a:lnTo>
                    <a:pt x="0" y="85946"/>
                  </a:lnTo>
                  <a:lnTo>
                    <a:pt x="151057" y="0"/>
                  </a:lnTo>
                  <a:lnTo>
                    <a:pt x="224643" y="41811"/>
                  </a:lnTo>
                  <a:lnTo>
                    <a:pt x="73558" y="127983"/>
                  </a:lnTo>
                  <a:close/>
                  <a:moveTo>
                    <a:pt x="26504" y="85974"/>
                  </a:moveTo>
                  <a:lnTo>
                    <a:pt x="73558" y="112846"/>
                  </a:lnTo>
                  <a:lnTo>
                    <a:pt x="198083" y="41839"/>
                  </a:lnTo>
                  <a:lnTo>
                    <a:pt x="151057" y="15109"/>
                  </a:lnTo>
                  <a:lnTo>
                    <a:pt x="26504" y="85974"/>
                  </a:lnTo>
                  <a:close/>
                </a:path>
              </a:pathLst>
            </a:custGeom>
            <a:solidFill>
              <a:schemeClr val="tx2"/>
            </a:solidFill>
            <a:ln w="2827" cap="flat">
              <a:noFill/>
              <a:prstDash val="solid"/>
              <a:miter/>
            </a:ln>
          </p:spPr>
          <p:txBody>
            <a:bodyPr rtlCol="0" anchor="ctr"/>
            <a:lstStyle/>
            <a:p>
              <a:endParaRPr lang="en-GB" dirty="0"/>
            </a:p>
          </p:txBody>
        </p:sp>
      </p:grpSp>
      <p:grpSp>
        <p:nvGrpSpPr>
          <p:cNvPr id="743" name="Group 741">
            <a:extLst>
              <a:ext uri="{FF2B5EF4-FFF2-40B4-BE49-F238E27FC236}">
                <a16:creationId xmlns:a16="http://schemas.microsoft.com/office/drawing/2014/main" id="{2652655F-810A-4364-AFCF-7284819A7483}"/>
              </a:ext>
            </a:extLst>
          </p:cNvPr>
          <p:cNvGrpSpPr>
            <a:grpSpLocks noChangeAspect="1"/>
          </p:cNvGrpSpPr>
          <p:nvPr/>
        </p:nvGrpSpPr>
        <p:grpSpPr>
          <a:xfrm>
            <a:off x="3684433" y="3273397"/>
            <a:ext cx="491837" cy="432000"/>
            <a:chOff x="3379714" y="3323956"/>
            <a:chExt cx="486023" cy="426893"/>
          </a:xfrm>
        </p:grpSpPr>
        <p:grpSp>
          <p:nvGrpSpPr>
            <p:cNvPr id="744" name="Group 739">
              <a:extLst>
                <a:ext uri="{FF2B5EF4-FFF2-40B4-BE49-F238E27FC236}">
                  <a16:creationId xmlns:a16="http://schemas.microsoft.com/office/drawing/2014/main" id="{6AD836BB-B6E5-4FC0-9279-47BFBF33BD5F}"/>
                </a:ext>
              </a:extLst>
            </p:cNvPr>
            <p:cNvGrpSpPr/>
            <p:nvPr/>
          </p:nvGrpSpPr>
          <p:grpSpPr>
            <a:xfrm>
              <a:off x="3602997" y="3534115"/>
              <a:ext cx="203610" cy="164180"/>
              <a:chOff x="3602997" y="3534115"/>
              <a:chExt cx="203610" cy="164180"/>
            </a:xfrm>
          </p:grpSpPr>
          <p:sp>
            <p:nvSpPr>
              <p:cNvPr id="756" name="Freihandform: Form 755">
                <a:extLst>
                  <a:ext uri="{FF2B5EF4-FFF2-40B4-BE49-F238E27FC236}">
                    <a16:creationId xmlns:a16="http://schemas.microsoft.com/office/drawing/2014/main" id="{2129B872-5E82-4A85-97A3-7F2CC8A8607D}"/>
                  </a:ext>
                </a:extLst>
              </p:cNvPr>
              <p:cNvSpPr/>
              <p:nvPr/>
            </p:nvSpPr>
            <p:spPr>
              <a:xfrm>
                <a:off x="3602997" y="3534115"/>
                <a:ext cx="203610" cy="164180"/>
              </a:xfrm>
              <a:custGeom>
                <a:avLst/>
                <a:gdLst>
                  <a:gd name="connsiteX0" fmla="*/ 203611 w 203610"/>
                  <a:gd name="connsiteY0" fmla="*/ 164181 h 164180"/>
                  <a:gd name="connsiteX1" fmla="*/ 0 w 203610"/>
                  <a:gd name="connsiteY1" fmla="*/ 164181 h 164180"/>
                  <a:gd name="connsiteX2" fmla="*/ 0 w 203610"/>
                  <a:gd name="connsiteY2" fmla="*/ 0 h 164180"/>
                  <a:gd name="connsiteX3" fmla="*/ 203611 w 203610"/>
                  <a:gd name="connsiteY3" fmla="*/ 0 h 164180"/>
                  <a:gd name="connsiteX4" fmla="*/ 203611 w 203610"/>
                  <a:gd name="connsiteY4" fmla="*/ 164181 h 164180"/>
                  <a:gd name="connsiteX5" fmla="*/ 13153 w 203610"/>
                  <a:gd name="connsiteY5" fmla="*/ 151057 h 164180"/>
                  <a:gd name="connsiteX6" fmla="*/ 190487 w 203610"/>
                  <a:gd name="connsiteY6" fmla="*/ 151057 h 164180"/>
                  <a:gd name="connsiteX7" fmla="*/ 190487 w 203610"/>
                  <a:gd name="connsiteY7" fmla="*/ 13124 h 164180"/>
                  <a:gd name="connsiteX8" fmla="*/ 13153 w 203610"/>
                  <a:gd name="connsiteY8" fmla="*/ 13124 h 164180"/>
                  <a:gd name="connsiteX9" fmla="*/ 13153 w 203610"/>
                  <a:gd name="connsiteY9" fmla="*/ 151057 h 1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3610" h="164180">
                    <a:moveTo>
                      <a:pt x="203611" y="164181"/>
                    </a:moveTo>
                    <a:lnTo>
                      <a:pt x="0" y="164181"/>
                    </a:lnTo>
                    <a:lnTo>
                      <a:pt x="0" y="0"/>
                    </a:lnTo>
                    <a:lnTo>
                      <a:pt x="203611" y="0"/>
                    </a:lnTo>
                    <a:lnTo>
                      <a:pt x="203611" y="164181"/>
                    </a:lnTo>
                    <a:close/>
                    <a:moveTo>
                      <a:pt x="13153" y="151057"/>
                    </a:moveTo>
                    <a:lnTo>
                      <a:pt x="190487" y="151057"/>
                    </a:lnTo>
                    <a:lnTo>
                      <a:pt x="190487" y="13124"/>
                    </a:lnTo>
                    <a:lnTo>
                      <a:pt x="13153" y="13124"/>
                    </a:lnTo>
                    <a:lnTo>
                      <a:pt x="13153" y="151057"/>
                    </a:lnTo>
                    <a:close/>
                  </a:path>
                </a:pathLst>
              </a:custGeom>
              <a:solidFill>
                <a:schemeClr val="accent1"/>
              </a:solidFill>
              <a:ln w="2827" cap="flat">
                <a:noFill/>
                <a:prstDash val="solid"/>
                <a:miter/>
              </a:ln>
            </p:spPr>
            <p:txBody>
              <a:bodyPr rtlCol="0" anchor="ctr"/>
              <a:lstStyle/>
              <a:p>
                <a:endParaRPr lang="en-GB" dirty="0"/>
              </a:p>
            </p:txBody>
          </p:sp>
          <p:sp>
            <p:nvSpPr>
              <p:cNvPr id="757" name="Freihandform: Form 756">
                <a:extLst>
                  <a:ext uri="{FF2B5EF4-FFF2-40B4-BE49-F238E27FC236}">
                    <a16:creationId xmlns:a16="http://schemas.microsoft.com/office/drawing/2014/main" id="{341EC501-1356-49AA-BF03-84D1C3AAE98B}"/>
                  </a:ext>
                </a:extLst>
              </p:cNvPr>
              <p:cNvSpPr/>
              <p:nvPr/>
            </p:nvSpPr>
            <p:spPr>
              <a:xfrm>
                <a:off x="3609573" y="3652347"/>
                <a:ext cx="190457" cy="13124"/>
              </a:xfrm>
              <a:custGeom>
                <a:avLst/>
                <a:gdLst>
                  <a:gd name="connsiteX0" fmla="*/ 0 w 190457"/>
                  <a:gd name="connsiteY0" fmla="*/ 0 h 13124"/>
                  <a:gd name="connsiteX1" fmla="*/ 190458 w 190457"/>
                  <a:gd name="connsiteY1" fmla="*/ 0 h 13124"/>
                  <a:gd name="connsiteX2" fmla="*/ 190458 w 190457"/>
                  <a:gd name="connsiteY2" fmla="*/ 13124 h 13124"/>
                  <a:gd name="connsiteX3" fmla="*/ 0 w 190457"/>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90457" h="13124">
                    <a:moveTo>
                      <a:pt x="0" y="0"/>
                    </a:moveTo>
                    <a:lnTo>
                      <a:pt x="190458" y="0"/>
                    </a:lnTo>
                    <a:lnTo>
                      <a:pt x="190458"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nvGrpSpPr>
            <p:cNvPr id="745" name="Group 740">
              <a:extLst>
                <a:ext uri="{FF2B5EF4-FFF2-40B4-BE49-F238E27FC236}">
                  <a16:creationId xmlns:a16="http://schemas.microsoft.com/office/drawing/2014/main" id="{DCD54C5C-5BCC-4858-9694-442FDE500855}"/>
                </a:ext>
              </a:extLst>
            </p:cNvPr>
            <p:cNvGrpSpPr/>
            <p:nvPr/>
          </p:nvGrpSpPr>
          <p:grpSpPr>
            <a:xfrm>
              <a:off x="3379714" y="3323956"/>
              <a:ext cx="486023" cy="426893"/>
              <a:chOff x="3379714" y="3323956"/>
              <a:chExt cx="486023" cy="426893"/>
            </a:xfrm>
          </p:grpSpPr>
          <p:sp>
            <p:nvSpPr>
              <p:cNvPr id="746" name="Freihandform: Form 745">
                <a:extLst>
                  <a:ext uri="{FF2B5EF4-FFF2-40B4-BE49-F238E27FC236}">
                    <a16:creationId xmlns:a16="http://schemas.microsoft.com/office/drawing/2014/main" id="{6BA7F67E-2A21-4432-BEB3-A33788829D48}"/>
                  </a:ext>
                </a:extLst>
              </p:cNvPr>
              <p:cNvSpPr/>
              <p:nvPr/>
            </p:nvSpPr>
            <p:spPr>
              <a:xfrm>
                <a:off x="3405991" y="3501290"/>
                <a:ext cx="433469" cy="249559"/>
              </a:xfrm>
              <a:custGeom>
                <a:avLst/>
                <a:gdLst>
                  <a:gd name="connsiteX0" fmla="*/ 433470 w 433469"/>
                  <a:gd name="connsiteY0" fmla="*/ 249560 h 249559"/>
                  <a:gd name="connsiteX1" fmla="*/ 420317 w 433469"/>
                  <a:gd name="connsiteY1" fmla="*/ 249560 h 249559"/>
                  <a:gd name="connsiteX2" fmla="*/ 420317 w 433469"/>
                  <a:gd name="connsiteY2" fmla="*/ 13124 h 249559"/>
                  <a:gd name="connsiteX3" fmla="*/ 13124 w 433469"/>
                  <a:gd name="connsiteY3" fmla="*/ 13124 h 249559"/>
                  <a:gd name="connsiteX4" fmla="*/ 13124 w 433469"/>
                  <a:gd name="connsiteY4" fmla="*/ 249560 h 249559"/>
                  <a:gd name="connsiteX5" fmla="*/ 0 w 433469"/>
                  <a:gd name="connsiteY5" fmla="*/ 249560 h 249559"/>
                  <a:gd name="connsiteX6" fmla="*/ 0 w 433469"/>
                  <a:gd name="connsiteY6" fmla="*/ 0 h 249559"/>
                  <a:gd name="connsiteX7" fmla="*/ 433470 w 433469"/>
                  <a:gd name="connsiteY7" fmla="*/ 0 h 2495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469" h="249559">
                    <a:moveTo>
                      <a:pt x="433470" y="249560"/>
                    </a:moveTo>
                    <a:lnTo>
                      <a:pt x="420317" y="249560"/>
                    </a:lnTo>
                    <a:lnTo>
                      <a:pt x="420317" y="13124"/>
                    </a:lnTo>
                    <a:lnTo>
                      <a:pt x="13124" y="13124"/>
                    </a:lnTo>
                    <a:lnTo>
                      <a:pt x="13124" y="249560"/>
                    </a:lnTo>
                    <a:lnTo>
                      <a:pt x="0" y="249560"/>
                    </a:lnTo>
                    <a:lnTo>
                      <a:pt x="0" y="0"/>
                    </a:lnTo>
                    <a:lnTo>
                      <a:pt x="433470" y="0"/>
                    </a:lnTo>
                    <a:close/>
                  </a:path>
                </a:pathLst>
              </a:custGeom>
              <a:solidFill>
                <a:schemeClr val="tx2"/>
              </a:solidFill>
              <a:ln w="2827" cap="flat">
                <a:noFill/>
                <a:prstDash val="solid"/>
                <a:miter/>
              </a:ln>
            </p:spPr>
            <p:txBody>
              <a:bodyPr rtlCol="0" anchor="ctr"/>
              <a:lstStyle/>
              <a:p>
                <a:endParaRPr lang="en-GB" dirty="0"/>
              </a:p>
            </p:txBody>
          </p:sp>
          <p:sp>
            <p:nvSpPr>
              <p:cNvPr id="747" name="Freihandform: Form 746">
                <a:extLst>
                  <a:ext uri="{FF2B5EF4-FFF2-40B4-BE49-F238E27FC236}">
                    <a16:creationId xmlns:a16="http://schemas.microsoft.com/office/drawing/2014/main" id="{F82D73C9-6FB3-4E56-AA70-97A93582F151}"/>
                  </a:ext>
                </a:extLst>
              </p:cNvPr>
              <p:cNvSpPr/>
              <p:nvPr/>
            </p:nvSpPr>
            <p:spPr>
              <a:xfrm>
                <a:off x="3379714" y="3323956"/>
                <a:ext cx="486023" cy="190457"/>
              </a:xfrm>
              <a:custGeom>
                <a:avLst/>
                <a:gdLst>
                  <a:gd name="connsiteX0" fmla="*/ 485995 w 486023"/>
                  <a:gd name="connsiteY0" fmla="*/ 190458 h 190457"/>
                  <a:gd name="connsiteX1" fmla="*/ 0 w 486023"/>
                  <a:gd name="connsiteY1" fmla="*/ 190458 h 190457"/>
                  <a:gd name="connsiteX2" fmla="*/ 0 w 486023"/>
                  <a:gd name="connsiteY2" fmla="*/ 143432 h 190457"/>
                  <a:gd name="connsiteX3" fmla="*/ 47820 w 486023"/>
                  <a:gd name="connsiteY3" fmla="*/ 0 h 190457"/>
                  <a:gd name="connsiteX4" fmla="*/ 438204 w 486023"/>
                  <a:gd name="connsiteY4" fmla="*/ 0 h 190457"/>
                  <a:gd name="connsiteX5" fmla="*/ 486024 w 486023"/>
                  <a:gd name="connsiteY5" fmla="*/ 143432 h 190457"/>
                  <a:gd name="connsiteX6" fmla="*/ 486024 w 486023"/>
                  <a:gd name="connsiteY6" fmla="*/ 190458 h 190457"/>
                  <a:gd name="connsiteX7" fmla="*/ 13124 w 486023"/>
                  <a:gd name="connsiteY7" fmla="*/ 177334 h 190457"/>
                  <a:gd name="connsiteX8" fmla="*/ 472871 w 486023"/>
                  <a:gd name="connsiteY8" fmla="*/ 177334 h 190457"/>
                  <a:gd name="connsiteX9" fmla="*/ 472871 w 486023"/>
                  <a:gd name="connsiteY9" fmla="*/ 145558 h 190457"/>
                  <a:gd name="connsiteX10" fmla="*/ 428736 w 486023"/>
                  <a:gd name="connsiteY10" fmla="*/ 13153 h 190457"/>
                  <a:gd name="connsiteX11" fmla="*/ 57259 w 486023"/>
                  <a:gd name="connsiteY11" fmla="*/ 13153 h 190457"/>
                  <a:gd name="connsiteX12" fmla="*/ 13124 w 486023"/>
                  <a:gd name="connsiteY12" fmla="*/ 145558 h 190457"/>
                  <a:gd name="connsiteX13" fmla="*/ 13124 w 486023"/>
                  <a:gd name="connsiteY13" fmla="*/ 177334 h 190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86023" h="190457">
                    <a:moveTo>
                      <a:pt x="485995" y="190458"/>
                    </a:moveTo>
                    <a:lnTo>
                      <a:pt x="0" y="190458"/>
                    </a:lnTo>
                    <a:lnTo>
                      <a:pt x="0" y="143432"/>
                    </a:lnTo>
                    <a:lnTo>
                      <a:pt x="47820" y="0"/>
                    </a:lnTo>
                    <a:lnTo>
                      <a:pt x="438204" y="0"/>
                    </a:lnTo>
                    <a:lnTo>
                      <a:pt x="486024" y="143432"/>
                    </a:lnTo>
                    <a:lnTo>
                      <a:pt x="486024" y="190458"/>
                    </a:lnTo>
                    <a:close/>
                    <a:moveTo>
                      <a:pt x="13124" y="177334"/>
                    </a:moveTo>
                    <a:lnTo>
                      <a:pt x="472871" y="177334"/>
                    </a:lnTo>
                    <a:lnTo>
                      <a:pt x="472871" y="145558"/>
                    </a:lnTo>
                    <a:lnTo>
                      <a:pt x="428736" y="13153"/>
                    </a:lnTo>
                    <a:lnTo>
                      <a:pt x="57259" y="13153"/>
                    </a:lnTo>
                    <a:lnTo>
                      <a:pt x="13124" y="145558"/>
                    </a:lnTo>
                    <a:lnTo>
                      <a:pt x="13124" y="177334"/>
                    </a:lnTo>
                    <a:close/>
                  </a:path>
                </a:pathLst>
              </a:custGeom>
              <a:solidFill>
                <a:schemeClr val="tx2"/>
              </a:solidFill>
              <a:ln w="2827" cap="flat">
                <a:noFill/>
                <a:prstDash val="solid"/>
                <a:miter/>
              </a:ln>
            </p:spPr>
            <p:txBody>
              <a:bodyPr rtlCol="0" anchor="ctr"/>
              <a:lstStyle/>
              <a:p>
                <a:endParaRPr lang="en-GB" dirty="0"/>
              </a:p>
            </p:txBody>
          </p:sp>
          <p:sp>
            <p:nvSpPr>
              <p:cNvPr id="748" name="Freihandform: Form 747">
                <a:extLst>
                  <a:ext uri="{FF2B5EF4-FFF2-40B4-BE49-F238E27FC236}">
                    <a16:creationId xmlns:a16="http://schemas.microsoft.com/office/drawing/2014/main" id="{54C7573B-C3C4-4B8E-818C-1F36AA0251BE}"/>
                  </a:ext>
                </a:extLst>
              </p:cNvPr>
              <p:cNvSpPr/>
              <p:nvPr/>
            </p:nvSpPr>
            <p:spPr>
              <a:xfrm>
                <a:off x="3412539" y="3461861"/>
                <a:ext cx="420345" cy="13124"/>
              </a:xfrm>
              <a:custGeom>
                <a:avLst/>
                <a:gdLst>
                  <a:gd name="connsiteX0" fmla="*/ 0 w 420345"/>
                  <a:gd name="connsiteY0" fmla="*/ 0 h 13124"/>
                  <a:gd name="connsiteX1" fmla="*/ 420345 w 420345"/>
                  <a:gd name="connsiteY1" fmla="*/ 0 h 13124"/>
                  <a:gd name="connsiteX2" fmla="*/ 420345 w 420345"/>
                  <a:gd name="connsiteY2" fmla="*/ 13124 h 13124"/>
                  <a:gd name="connsiteX3" fmla="*/ 0 w 420345"/>
                  <a:gd name="connsiteY3" fmla="*/ 13124 h 13124"/>
                </a:gdLst>
                <a:ahLst/>
                <a:cxnLst>
                  <a:cxn ang="0">
                    <a:pos x="connsiteX0" y="connsiteY0"/>
                  </a:cxn>
                  <a:cxn ang="0">
                    <a:pos x="connsiteX1" y="connsiteY1"/>
                  </a:cxn>
                  <a:cxn ang="0">
                    <a:pos x="connsiteX2" y="connsiteY2"/>
                  </a:cxn>
                  <a:cxn ang="0">
                    <a:pos x="connsiteX3" y="connsiteY3"/>
                  </a:cxn>
                </a:cxnLst>
                <a:rect l="l" t="t" r="r" b="b"/>
                <a:pathLst>
                  <a:path w="420345" h="13124">
                    <a:moveTo>
                      <a:pt x="0" y="0"/>
                    </a:moveTo>
                    <a:lnTo>
                      <a:pt x="420345" y="0"/>
                    </a:lnTo>
                    <a:lnTo>
                      <a:pt x="420345" y="13124"/>
                    </a:lnTo>
                    <a:lnTo>
                      <a:pt x="0" y="13124"/>
                    </a:lnTo>
                    <a:close/>
                  </a:path>
                </a:pathLst>
              </a:custGeom>
              <a:solidFill>
                <a:schemeClr val="tx2"/>
              </a:solidFill>
              <a:ln w="2827" cap="flat">
                <a:noFill/>
                <a:prstDash val="solid"/>
                <a:miter/>
              </a:ln>
            </p:spPr>
            <p:txBody>
              <a:bodyPr rtlCol="0" anchor="ctr"/>
              <a:lstStyle/>
              <a:p>
                <a:endParaRPr lang="en-GB" dirty="0"/>
              </a:p>
            </p:txBody>
          </p:sp>
          <p:sp>
            <p:nvSpPr>
              <p:cNvPr id="749" name="Freihandform: Form 748">
                <a:extLst>
                  <a:ext uri="{FF2B5EF4-FFF2-40B4-BE49-F238E27FC236}">
                    <a16:creationId xmlns:a16="http://schemas.microsoft.com/office/drawing/2014/main" id="{AA4D27CB-ABE6-4802-9566-E849D1784851}"/>
                  </a:ext>
                </a:extLst>
              </p:cNvPr>
              <p:cNvSpPr/>
              <p:nvPr/>
            </p:nvSpPr>
            <p:spPr>
              <a:xfrm>
                <a:off x="3616149" y="3330504"/>
                <a:ext cx="13124" cy="177333"/>
              </a:xfrm>
              <a:custGeom>
                <a:avLst/>
                <a:gdLst>
                  <a:gd name="connsiteX0" fmla="*/ 0 w 13124"/>
                  <a:gd name="connsiteY0" fmla="*/ 0 h 177333"/>
                  <a:gd name="connsiteX1" fmla="*/ 13124 w 13124"/>
                  <a:gd name="connsiteY1" fmla="*/ 0 h 177333"/>
                  <a:gd name="connsiteX2" fmla="*/ 13124 w 13124"/>
                  <a:gd name="connsiteY2" fmla="*/ 177334 h 177333"/>
                  <a:gd name="connsiteX3" fmla="*/ 0 w 13124"/>
                  <a:gd name="connsiteY3" fmla="*/ 177334 h 177333"/>
                </a:gdLst>
                <a:ahLst/>
                <a:cxnLst>
                  <a:cxn ang="0">
                    <a:pos x="connsiteX0" y="connsiteY0"/>
                  </a:cxn>
                  <a:cxn ang="0">
                    <a:pos x="connsiteX1" y="connsiteY1"/>
                  </a:cxn>
                  <a:cxn ang="0">
                    <a:pos x="connsiteX2" y="connsiteY2"/>
                  </a:cxn>
                  <a:cxn ang="0">
                    <a:pos x="connsiteX3" y="connsiteY3"/>
                  </a:cxn>
                </a:cxnLst>
                <a:rect l="l" t="t" r="r" b="b"/>
                <a:pathLst>
                  <a:path w="13124" h="177333">
                    <a:moveTo>
                      <a:pt x="0" y="0"/>
                    </a:moveTo>
                    <a:lnTo>
                      <a:pt x="13124" y="0"/>
                    </a:lnTo>
                    <a:lnTo>
                      <a:pt x="13124" y="177334"/>
                    </a:lnTo>
                    <a:lnTo>
                      <a:pt x="0" y="177334"/>
                    </a:lnTo>
                    <a:close/>
                  </a:path>
                </a:pathLst>
              </a:custGeom>
              <a:solidFill>
                <a:schemeClr val="tx2"/>
              </a:solidFill>
              <a:ln w="2827" cap="flat">
                <a:noFill/>
                <a:prstDash val="solid"/>
                <a:miter/>
              </a:ln>
            </p:spPr>
            <p:txBody>
              <a:bodyPr rtlCol="0" anchor="ctr"/>
              <a:lstStyle/>
              <a:p>
                <a:endParaRPr lang="en-GB" dirty="0"/>
              </a:p>
            </p:txBody>
          </p:sp>
          <p:sp>
            <p:nvSpPr>
              <p:cNvPr id="750" name="Freihandform: Form 749">
                <a:extLst>
                  <a:ext uri="{FF2B5EF4-FFF2-40B4-BE49-F238E27FC236}">
                    <a16:creationId xmlns:a16="http://schemas.microsoft.com/office/drawing/2014/main" id="{3B183E7F-F7DF-4342-9914-4BB0E8BC7308}"/>
                  </a:ext>
                </a:extLst>
              </p:cNvPr>
              <p:cNvSpPr/>
              <p:nvPr/>
            </p:nvSpPr>
            <p:spPr>
              <a:xfrm>
                <a:off x="3734381" y="3468437"/>
                <a:ext cx="13124" cy="19700"/>
              </a:xfrm>
              <a:custGeom>
                <a:avLst/>
                <a:gdLst>
                  <a:gd name="connsiteX0" fmla="*/ 0 w 13124"/>
                  <a:gd name="connsiteY0" fmla="*/ 0 h 19700"/>
                  <a:gd name="connsiteX1" fmla="*/ 13124 w 13124"/>
                  <a:gd name="connsiteY1" fmla="*/ 0 h 19700"/>
                  <a:gd name="connsiteX2" fmla="*/ 13124 w 13124"/>
                  <a:gd name="connsiteY2" fmla="*/ 19701 h 19700"/>
                  <a:gd name="connsiteX3" fmla="*/ 0 w 13124"/>
                  <a:gd name="connsiteY3" fmla="*/ 19701 h 19700"/>
                </a:gdLst>
                <a:ahLst/>
                <a:cxnLst>
                  <a:cxn ang="0">
                    <a:pos x="connsiteX0" y="connsiteY0"/>
                  </a:cxn>
                  <a:cxn ang="0">
                    <a:pos x="connsiteX1" y="connsiteY1"/>
                  </a:cxn>
                  <a:cxn ang="0">
                    <a:pos x="connsiteX2" y="connsiteY2"/>
                  </a:cxn>
                  <a:cxn ang="0">
                    <a:pos x="connsiteX3" y="connsiteY3"/>
                  </a:cxn>
                </a:cxnLst>
                <a:rect l="l" t="t" r="r" b="b"/>
                <a:pathLst>
                  <a:path w="13124" h="19700">
                    <a:moveTo>
                      <a:pt x="0" y="0"/>
                    </a:moveTo>
                    <a:lnTo>
                      <a:pt x="13124" y="0"/>
                    </a:lnTo>
                    <a:lnTo>
                      <a:pt x="13124" y="19701"/>
                    </a:lnTo>
                    <a:lnTo>
                      <a:pt x="0" y="19701"/>
                    </a:lnTo>
                    <a:close/>
                  </a:path>
                </a:pathLst>
              </a:custGeom>
              <a:solidFill>
                <a:schemeClr val="tx2"/>
              </a:solidFill>
              <a:ln w="2827" cap="flat">
                <a:noFill/>
                <a:prstDash val="solid"/>
                <a:miter/>
              </a:ln>
            </p:spPr>
            <p:txBody>
              <a:bodyPr rtlCol="0" anchor="ctr"/>
              <a:lstStyle/>
              <a:p>
                <a:endParaRPr lang="en-GB" dirty="0"/>
              </a:p>
            </p:txBody>
          </p:sp>
          <p:sp>
            <p:nvSpPr>
              <p:cNvPr id="751" name="Freihandform: Form 750">
                <a:extLst>
                  <a:ext uri="{FF2B5EF4-FFF2-40B4-BE49-F238E27FC236}">
                    <a16:creationId xmlns:a16="http://schemas.microsoft.com/office/drawing/2014/main" id="{7D435007-578C-44FD-8D40-F506C67B5CC9}"/>
                  </a:ext>
                </a:extLst>
              </p:cNvPr>
              <p:cNvSpPr/>
              <p:nvPr/>
            </p:nvSpPr>
            <p:spPr>
              <a:xfrm>
                <a:off x="3491370" y="3468437"/>
                <a:ext cx="13124" cy="19700"/>
              </a:xfrm>
              <a:custGeom>
                <a:avLst/>
                <a:gdLst>
                  <a:gd name="connsiteX0" fmla="*/ 0 w 13124"/>
                  <a:gd name="connsiteY0" fmla="*/ 0 h 19700"/>
                  <a:gd name="connsiteX1" fmla="*/ 13124 w 13124"/>
                  <a:gd name="connsiteY1" fmla="*/ 0 h 19700"/>
                  <a:gd name="connsiteX2" fmla="*/ 13124 w 13124"/>
                  <a:gd name="connsiteY2" fmla="*/ 19701 h 19700"/>
                  <a:gd name="connsiteX3" fmla="*/ 0 w 13124"/>
                  <a:gd name="connsiteY3" fmla="*/ 19701 h 19700"/>
                </a:gdLst>
                <a:ahLst/>
                <a:cxnLst>
                  <a:cxn ang="0">
                    <a:pos x="connsiteX0" y="connsiteY0"/>
                  </a:cxn>
                  <a:cxn ang="0">
                    <a:pos x="connsiteX1" y="connsiteY1"/>
                  </a:cxn>
                  <a:cxn ang="0">
                    <a:pos x="connsiteX2" y="connsiteY2"/>
                  </a:cxn>
                  <a:cxn ang="0">
                    <a:pos x="connsiteX3" y="connsiteY3"/>
                  </a:cxn>
                </a:cxnLst>
                <a:rect l="l" t="t" r="r" b="b"/>
                <a:pathLst>
                  <a:path w="13124" h="19700">
                    <a:moveTo>
                      <a:pt x="0" y="0"/>
                    </a:moveTo>
                    <a:lnTo>
                      <a:pt x="13124" y="0"/>
                    </a:lnTo>
                    <a:lnTo>
                      <a:pt x="13124" y="19701"/>
                    </a:lnTo>
                    <a:lnTo>
                      <a:pt x="0" y="19701"/>
                    </a:lnTo>
                    <a:close/>
                  </a:path>
                </a:pathLst>
              </a:custGeom>
              <a:solidFill>
                <a:schemeClr val="tx2"/>
              </a:solidFill>
              <a:ln w="2827" cap="flat">
                <a:noFill/>
                <a:prstDash val="solid"/>
                <a:miter/>
              </a:ln>
            </p:spPr>
            <p:txBody>
              <a:bodyPr rtlCol="0" anchor="ctr"/>
              <a:lstStyle/>
              <a:p>
                <a:endParaRPr lang="en-GB" dirty="0"/>
              </a:p>
            </p:txBody>
          </p:sp>
          <p:sp>
            <p:nvSpPr>
              <p:cNvPr id="752" name="Freihandform: Form 751">
                <a:extLst>
                  <a:ext uri="{FF2B5EF4-FFF2-40B4-BE49-F238E27FC236}">
                    <a16:creationId xmlns:a16="http://schemas.microsoft.com/office/drawing/2014/main" id="{B2646DA7-CB67-4018-BBF8-50BF251D26C0}"/>
                  </a:ext>
                </a:extLst>
              </p:cNvPr>
              <p:cNvSpPr/>
              <p:nvPr/>
            </p:nvSpPr>
            <p:spPr>
              <a:xfrm rot="20494012">
                <a:off x="3711393" y="3326899"/>
                <a:ext cx="13124" cy="145388"/>
              </a:xfrm>
              <a:custGeom>
                <a:avLst/>
                <a:gdLst>
                  <a:gd name="connsiteX0" fmla="*/ 0 w 13124"/>
                  <a:gd name="connsiteY0" fmla="*/ 0 h 145388"/>
                  <a:gd name="connsiteX1" fmla="*/ 13124 w 13124"/>
                  <a:gd name="connsiteY1" fmla="*/ 0 h 145388"/>
                  <a:gd name="connsiteX2" fmla="*/ 13124 w 13124"/>
                  <a:gd name="connsiteY2" fmla="*/ 145389 h 145388"/>
                  <a:gd name="connsiteX3" fmla="*/ 0 w 13124"/>
                  <a:gd name="connsiteY3" fmla="*/ 145389 h 145388"/>
                </a:gdLst>
                <a:ahLst/>
                <a:cxnLst>
                  <a:cxn ang="0">
                    <a:pos x="connsiteX0" y="connsiteY0"/>
                  </a:cxn>
                  <a:cxn ang="0">
                    <a:pos x="connsiteX1" y="connsiteY1"/>
                  </a:cxn>
                  <a:cxn ang="0">
                    <a:pos x="connsiteX2" y="connsiteY2"/>
                  </a:cxn>
                  <a:cxn ang="0">
                    <a:pos x="connsiteX3" y="connsiteY3"/>
                  </a:cxn>
                </a:cxnLst>
                <a:rect l="l" t="t" r="r" b="b"/>
                <a:pathLst>
                  <a:path w="13124" h="145388">
                    <a:moveTo>
                      <a:pt x="0" y="0"/>
                    </a:moveTo>
                    <a:lnTo>
                      <a:pt x="13124" y="0"/>
                    </a:lnTo>
                    <a:lnTo>
                      <a:pt x="13124" y="145389"/>
                    </a:lnTo>
                    <a:lnTo>
                      <a:pt x="0" y="145389"/>
                    </a:lnTo>
                    <a:close/>
                  </a:path>
                </a:pathLst>
              </a:custGeom>
              <a:solidFill>
                <a:schemeClr val="tx2"/>
              </a:solidFill>
              <a:ln w="2827" cap="flat">
                <a:noFill/>
                <a:prstDash val="solid"/>
                <a:miter/>
              </a:ln>
            </p:spPr>
            <p:txBody>
              <a:bodyPr rtlCol="0" anchor="ctr"/>
              <a:lstStyle/>
              <a:p>
                <a:endParaRPr lang="en-GB" dirty="0"/>
              </a:p>
            </p:txBody>
          </p:sp>
          <p:sp>
            <p:nvSpPr>
              <p:cNvPr id="753" name="Freihandform: Form 752">
                <a:extLst>
                  <a:ext uri="{FF2B5EF4-FFF2-40B4-BE49-F238E27FC236}">
                    <a16:creationId xmlns:a16="http://schemas.microsoft.com/office/drawing/2014/main" id="{1CFFD541-34E4-43BB-9442-409D6F783CCB}"/>
                  </a:ext>
                </a:extLst>
              </p:cNvPr>
              <p:cNvSpPr/>
              <p:nvPr/>
            </p:nvSpPr>
            <p:spPr>
              <a:xfrm rot="17307075">
                <a:off x="3448187" y="3392809"/>
                <a:ext cx="145388" cy="13124"/>
              </a:xfrm>
              <a:custGeom>
                <a:avLst/>
                <a:gdLst>
                  <a:gd name="connsiteX0" fmla="*/ 0 w 145388"/>
                  <a:gd name="connsiteY0" fmla="*/ 0 h 13124"/>
                  <a:gd name="connsiteX1" fmla="*/ 145389 w 145388"/>
                  <a:gd name="connsiteY1" fmla="*/ 0 h 13124"/>
                  <a:gd name="connsiteX2" fmla="*/ 145389 w 145388"/>
                  <a:gd name="connsiteY2" fmla="*/ 13124 h 13124"/>
                  <a:gd name="connsiteX3" fmla="*/ 0 w 145388"/>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45388" h="13124">
                    <a:moveTo>
                      <a:pt x="0" y="0"/>
                    </a:moveTo>
                    <a:lnTo>
                      <a:pt x="145389" y="0"/>
                    </a:lnTo>
                    <a:lnTo>
                      <a:pt x="145389" y="13124"/>
                    </a:lnTo>
                    <a:lnTo>
                      <a:pt x="0" y="13124"/>
                    </a:lnTo>
                    <a:close/>
                  </a:path>
                </a:pathLst>
              </a:custGeom>
              <a:solidFill>
                <a:schemeClr val="tx2"/>
              </a:solidFill>
              <a:ln w="2827" cap="flat">
                <a:noFill/>
                <a:prstDash val="solid"/>
                <a:miter/>
              </a:ln>
            </p:spPr>
            <p:txBody>
              <a:bodyPr rtlCol="0" anchor="ctr"/>
              <a:lstStyle/>
              <a:p>
                <a:endParaRPr lang="en-GB" dirty="0"/>
              </a:p>
            </p:txBody>
          </p:sp>
          <p:sp>
            <p:nvSpPr>
              <p:cNvPr id="754" name="Freihandform: Form 753">
                <a:extLst>
                  <a:ext uri="{FF2B5EF4-FFF2-40B4-BE49-F238E27FC236}">
                    <a16:creationId xmlns:a16="http://schemas.microsoft.com/office/drawing/2014/main" id="{E83E00D4-1260-43AD-9532-7BD6EFA04075}"/>
                  </a:ext>
                </a:extLst>
              </p:cNvPr>
              <p:cNvSpPr/>
              <p:nvPr/>
            </p:nvSpPr>
            <p:spPr>
              <a:xfrm>
                <a:off x="3438816" y="3606369"/>
                <a:ext cx="144508" cy="144480"/>
              </a:xfrm>
              <a:custGeom>
                <a:avLst/>
                <a:gdLst>
                  <a:gd name="connsiteX0" fmla="*/ 144509 w 144508"/>
                  <a:gd name="connsiteY0" fmla="*/ 144481 h 144480"/>
                  <a:gd name="connsiteX1" fmla="*/ 131356 w 144508"/>
                  <a:gd name="connsiteY1" fmla="*/ 144481 h 144480"/>
                  <a:gd name="connsiteX2" fmla="*/ 131356 w 144508"/>
                  <a:gd name="connsiteY2" fmla="*/ 13124 h 144480"/>
                  <a:gd name="connsiteX3" fmla="*/ 13153 w 144508"/>
                  <a:gd name="connsiteY3" fmla="*/ 13124 h 144480"/>
                  <a:gd name="connsiteX4" fmla="*/ 13153 w 144508"/>
                  <a:gd name="connsiteY4" fmla="*/ 144481 h 144480"/>
                  <a:gd name="connsiteX5" fmla="*/ 0 w 144508"/>
                  <a:gd name="connsiteY5" fmla="*/ 144481 h 144480"/>
                  <a:gd name="connsiteX6" fmla="*/ 0 w 144508"/>
                  <a:gd name="connsiteY6" fmla="*/ 0 h 144480"/>
                  <a:gd name="connsiteX7" fmla="*/ 144509 w 144508"/>
                  <a:gd name="connsiteY7" fmla="*/ 0 h 14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4508" h="144480">
                    <a:moveTo>
                      <a:pt x="144509" y="144481"/>
                    </a:moveTo>
                    <a:lnTo>
                      <a:pt x="131356" y="144481"/>
                    </a:lnTo>
                    <a:lnTo>
                      <a:pt x="131356" y="13124"/>
                    </a:lnTo>
                    <a:lnTo>
                      <a:pt x="13153" y="13124"/>
                    </a:lnTo>
                    <a:lnTo>
                      <a:pt x="13153" y="144481"/>
                    </a:lnTo>
                    <a:lnTo>
                      <a:pt x="0" y="144481"/>
                    </a:lnTo>
                    <a:lnTo>
                      <a:pt x="0" y="0"/>
                    </a:lnTo>
                    <a:lnTo>
                      <a:pt x="144509" y="0"/>
                    </a:lnTo>
                    <a:close/>
                  </a:path>
                </a:pathLst>
              </a:custGeom>
              <a:solidFill>
                <a:schemeClr val="tx2"/>
              </a:solidFill>
              <a:ln w="2827" cap="flat">
                <a:noFill/>
                <a:prstDash val="solid"/>
                <a:miter/>
              </a:ln>
            </p:spPr>
            <p:txBody>
              <a:bodyPr rtlCol="0" anchor="ctr"/>
              <a:lstStyle/>
              <a:p>
                <a:endParaRPr lang="en-GB" dirty="0"/>
              </a:p>
            </p:txBody>
          </p:sp>
          <p:sp>
            <p:nvSpPr>
              <p:cNvPr id="755" name="Freihandform: Form 754">
                <a:extLst>
                  <a:ext uri="{FF2B5EF4-FFF2-40B4-BE49-F238E27FC236}">
                    <a16:creationId xmlns:a16="http://schemas.microsoft.com/office/drawing/2014/main" id="{B2A52F90-20A0-40A9-BD52-39E0790B925B}"/>
                  </a:ext>
                </a:extLst>
              </p:cNvPr>
              <p:cNvSpPr/>
              <p:nvPr/>
            </p:nvSpPr>
            <p:spPr>
              <a:xfrm>
                <a:off x="3537347" y="3678595"/>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tx2"/>
              </a:solidFill>
              <a:ln w="2827" cap="flat">
                <a:noFill/>
                <a:prstDash val="solid"/>
                <a:miter/>
              </a:ln>
            </p:spPr>
            <p:txBody>
              <a:bodyPr rtlCol="0" anchor="ctr"/>
              <a:lstStyle/>
              <a:p>
                <a:endParaRPr lang="en-GB" dirty="0"/>
              </a:p>
            </p:txBody>
          </p:sp>
        </p:grpSp>
      </p:grpSp>
      <p:grpSp>
        <p:nvGrpSpPr>
          <p:cNvPr id="7" name="Group 6">
            <a:extLst>
              <a:ext uri="{FF2B5EF4-FFF2-40B4-BE49-F238E27FC236}">
                <a16:creationId xmlns:a16="http://schemas.microsoft.com/office/drawing/2014/main" id="{2A9CABFB-21AF-FF1A-5CA8-F7AA98759D7B}"/>
              </a:ext>
            </a:extLst>
          </p:cNvPr>
          <p:cNvGrpSpPr/>
          <p:nvPr/>
        </p:nvGrpSpPr>
        <p:grpSpPr>
          <a:xfrm>
            <a:off x="1623484" y="3273395"/>
            <a:ext cx="432000" cy="432001"/>
            <a:chOff x="1623484" y="3273395"/>
            <a:chExt cx="432000" cy="432001"/>
          </a:xfrm>
        </p:grpSpPr>
        <p:grpSp>
          <p:nvGrpSpPr>
            <p:cNvPr id="6" name="Group 5">
              <a:extLst>
                <a:ext uri="{FF2B5EF4-FFF2-40B4-BE49-F238E27FC236}">
                  <a16:creationId xmlns:a16="http://schemas.microsoft.com/office/drawing/2014/main" id="{7D665845-48FB-4E02-5E0E-1A8767189746}"/>
                </a:ext>
              </a:extLst>
            </p:cNvPr>
            <p:cNvGrpSpPr/>
            <p:nvPr/>
          </p:nvGrpSpPr>
          <p:grpSpPr>
            <a:xfrm>
              <a:off x="1623484" y="3273395"/>
              <a:ext cx="432000" cy="432001"/>
              <a:chOff x="1623484" y="3273395"/>
              <a:chExt cx="432000" cy="432001"/>
            </a:xfrm>
            <a:solidFill>
              <a:schemeClr val="tx2"/>
            </a:solidFill>
          </p:grpSpPr>
          <p:sp>
            <p:nvSpPr>
              <p:cNvPr id="764" name="Freihandform: Form 763">
                <a:extLst>
                  <a:ext uri="{FF2B5EF4-FFF2-40B4-BE49-F238E27FC236}">
                    <a16:creationId xmlns:a16="http://schemas.microsoft.com/office/drawing/2014/main" id="{D9E3D541-5DD8-4AB9-92C3-396F4E5B29F3}"/>
                  </a:ext>
                </a:extLst>
              </p:cNvPr>
              <p:cNvSpPr/>
              <p:nvPr/>
            </p:nvSpPr>
            <p:spPr>
              <a:xfrm>
                <a:off x="1623510" y="3273395"/>
                <a:ext cx="431974" cy="216012"/>
              </a:xfrm>
              <a:custGeom>
                <a:avLst/>
                <a:gdLst>
                  <a:gd name="connsiteX0" fmla="*/ 485967 w 485966"/>
                  <a:gd name="connsiteY0" fmla="*/ 243012 h 243011"/>
                  <a:gd name="connsiteX1" fmla="*/ 472843 w 485966"/>
                  <a:gd name="connsiteY1" fmla="*/ 243012 h 243011"/>
                  <a:gd name="connsiteX2" fmla="*/ 242983 w 485966"/>
                  <a:gd name="connsiteY2" fmla="*/ 13153 h 243011"/>
                  <a:gd name="connsiteX3" fmla="*/ 13124 w 485966"/>
                  <a:gd name="connsiteY3" fmla="*/ 243012 h 243011"/>
                  <a:gd name="connsiteX4" fmla="*/ 0 w 485966"/>
                  <a:gd name="connsiteY4" fmla="*/ 243012 h 243011"/>
                  <a:gd name="connsiteX5" fmla="*/ 243012 w 485966"/>
                  <a:gd name="connsiteY5" fmla="*/ 0 h 243011"/>
                  <a:gd name="connsiteX6" fmla="*/ 485967 w 485966"/>
                  <a:gd name="connsiteY6" fmla="*/ 243012 h 24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5966" h="243011">
                    <a:moveTo>
                      <a:pt x="485967" y="243012"/>
                    </a:moveTo>
                    <a:lnTo>
                      <a:pt x="472843" y="243012"/>
                    </a:lnTo>
                    <a:cubicBezTo>
                      <a:pt x="472843" y="116276"/>
                      <a:pt x="369719" y="13153"/>
                      <a:pt x="242983" y="13153"/>
                    </a:cubicBezTo>
                    <a:cubicBezTo>
                      <a:pt x="116248" y="13153"/>
                      <a:pt x="13124" y="116276"/>
                      <a:pt x="13124" y="243012"/>
                    </a:cubicBezTo>
                    <a:lnTo>
                      <a:pt x="0" y="243012"/>
                    </a:lnTo>
                    <a:cubicBezTo>
                      <a:pt x="0" y="109019"/>
                      <a:pt x="109019" y="0"/>
                      <a:pt x="243012" y="0"/>
                    </a:cubicBezTo>
                    <a:cubicBezTo>
                      <a:pt x="377004" y="0"/>
                      <a:pt x="485967" y="109019"/>
                      <a:pt x="485967" y="243012"/>
                    </a:cubicBezTo>
                    <a:close/>
                  </a:path>
                </a:pathLst>
              </a:custGeom>
              <a:grpFill/>
              <a:ln w="2827" cap="flat">
                <a:noFill/>
                <a:prstDash val="solid"/>
                <a:miter/>
              </a:ln>
            </p:spPr>
            <p:txBody>
              <a:bodyPr rtlCol="0" anchor="ctr"/>
              <a:lstStyle/>
              <a:p>
                <a:endParaRPr lang="en-GB" dirty="0"/>
              </a:p>
            </p:txBody>
          </p:sp>
          <p:sp>
            <p:nvSpPr>
              <p:cNvPr id="765" name="Freihandform: Form 764">
                <a:extLst>
                  <a:ext uri="{FF2B5EF4-FFF2-40B4-BE49-F238E27FC236}">
                    <a16:creationId xmlns:a16="http://schemas.microsoft.com/office/drawing/2014/main" id="{742367B6-A797-4146-9550-8C426C34121E}"/>
                  </a:ext>
                </a:extLst>
              </p:cNvPr>
              <p:cNvSpPr/>
              <p:nvPr/>
            </p:nvSpPr>
            <p:spPr>
              <a:xfrm>
                <a:off x="1701015" y="3296753"/>
                <a:ext cx="276938" cy="66822"/>
              </a:xfrm>
              <a:custGeom>
                <a:avLst/>
                <a:gdLst>
                  <a:gd name="connsiteX0" fmla="*/ 9439 w 311552"/>
                  <a:gd name="connsiteY0" fmla="*/ 75174 h 75174"/>
                  <a:gd name="connsiteX1" fmla="*/ 0 w 311552"/>
                  <a:gd name="connsiteY1" fmla="*/ 66047 h 75174"/>
                  <a:gd name="connsiteX2" fmla="*/ 155791 w 311552"/>
                  <a:gd name="connsiteY2" fmla="*/ 0 h 75174"/>
                  <a:gd name="connsiteX3" fmla="*/ 311553 w 311552"/>
                  <a:gd name="connsiteY3" fmla="*/ 66047 h 75174"/>
                  <a:gd name="connsiteX4" fmla="*/ 302114 w 311552"/>
                  <a:gd name="connsiteY4" fmla="*/ 75174 h 75174"/>
                  <a:gd name="connsiteX5" fmla="*/ 155791 w 311552"/>
                  <a:gd name="connsiteY5" fmla="*/ 13124 h 75174"/>
                  <a:gd name="connsiteX6" fmla="*/ 9439 w 311552"/>
                  <a:gd name="connsiteY6" fmla="*/ 75174 h 75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1552" h="75174">
                    <a:moveTo>
                      <a:pt x="9439" y="75174"/>
                    </a:moveTo>
                    <a:lnTo>
                      <a:pt x="0" y="66047"/>
                    </a:lnTo>
                    <a:cubicBezTo>
                      <a:pt x="41215" y="23442"/>
                      <a:pt x="96519" y="0"/>
                      <a:pt x="155791" y="0"/>
                    </a:cubicBezTo>
                    <a:cubicBezTo>
                      <a:pt x="215034" y="0"/>
                      <a:pt x="270366" y="23442"/>
                      <a:pt x="311553" y="66047"/>
                    </a:cubicBezTo>
                    <a:lnTo>
                      <a:pt x="302114" y="75174"/>
                    </a:lnTo>
                    <a:cubicBezTo>
                      <a:pt x="263393" y="35178"/>
                      <a:pt x="211434" y="13124"/>
                      <a:pt x="155791" y="13124"/>
                    </a:cubicBezTo>
                    <a:cubicBezTo>
                      <a:pt x="100119" y="13124"/>
                      <a:pt x="48132" y="35178"/>
                      <a:pt x="9439" y="75174"/>
                    </a:cubicBezTo>
                    <a:close/>
                  </a:path>
                </a:pathLst>
              </a:custGeom>
              <a:grpFill/>
              <a:ln w="2827" cap="flat">
                <a:noFill/>
                <a:prstDash val="solid"/>
                <a:miter/>
              </a:ln>
            </p:spPr>
            <p:txBody>
              <a:bodyPr rtlCol="0" anchor="ctr"/>
              <a:lstStyle/>
              <a:p>
                <a:endParaRPr lang="en-GB" dirty="0"/>
              </a:p>
            </p:txBody>
          </p:sp>
          <p:sp>
            <p:nvSpPr>
              <p:cNvPr id="766" name="Freihandform: Form 765">
                <a:extLst>
                  <a:ext uri="{FF2B5EF4-FFF2-40B4-BE49-F238E27FC236}">
                    <a16:creationId xmlns:a16="http://schemas.microsoft.com/office/drawing/2014/main" id="{69866094-12F3-4223-A257-8F0C9279F0C5}"/>
                  </a:ext>
                </a:extLst>
              </p:cNvPr>
              <p:cNvSpPr/>
              <p:nvPr/>
            </p:nvSpPr>
            <p:spPr>
              <a:xfrm>
                <a:off x="1663699" y="3563562"/>
                <a:ext cx="147502" cy="116157"/>
              </a:xfrm>
              <a:custGeom>
                <a:avLst/>
                <a:gdLst>
                  <a:gd name="connsiteX0" fmla="*/ 163898 w 165938"/>
                  <a:gd name="connsiteY0" fmla="*/ 130676 h 130675"/>
                  <a:gd name="connsiteX1" fmla="*/ 0 w 165938"/>
                  <a:gd name="connsiteY1" fmla="*/ 5386 h 130675"/>
                  <a:gd name="connsiteX2" fmla="*/ 11990 w 165938"/>
                  <a:gd name="connsiteY2" fmla="*/ 0 h 130675"/>
                  <a:gd name="connsiteX3" fmla="*/ 165938 w 165938"/>
                  <a:gd name="connsiteY3" fmla="*/ 117693 h 130675"/>
                  <a:gd name="connsiteX4" fmla="*/ 163898 w 165938"/>
                  <a:gd name="connsiteY4" fmla="*/ 130676 h 130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938" h="130675">
                    <a:moveTo>
                      <a:pt x="163898" y="130676"/>
                    </a:moveTo>
                    <a:cubicBezTo>
                      <a:pt x="91445" y="119309"/>
                      <a:pt x="30160" y="72481"/>
                      <a:pt x="0" y="5386"/>
                    </a:cubicBezTo>
                    <a:lnTo>
                      <a:pt x="11990" y="0"/>
                    </a:lnTo>
                    <a:cubicBezTo>
                      <a:pt x="40337" y="63013"/>
                      <a:pt x="97879" y="107007"/>
                      <a:pt x="165938" y="117693"/>
                    </a:cubicBezTo>
                    <a:lnTo>
                      <a:pt x="163898" y="130676"/>
                    </a:lnTo>
                    <a:close/>
                  </a:path>
                </a:pathLst>
              </a:custGeom>
              <a:grpFill/>
              <a:ln w="2827" cap="flat">
                <a:noFill/>
                <a:prstDash val="solid"/>
                <a:miter/>
              </a:ln>
            </p:spPr>
            <p:txBody>
              <a:bodyPr rtlCol="0" anchor="ctr"/>
              <a:lstStyle/>
              <a:p>
                <a:endParaRPr lang="en-GB" dirty="0"/>
              </a:p>
            </p:txBody>
          </p:sp>
          <p:sp>
            <p:nvSpPr>
              <p:cNvPr id="767" name="Freihandform: Form 766">
                <a:extLst>
                  <a:ext uri="{FF2B5EF4-FFF2-40B4-BE49-F238E27FC236}">
                    <a16:creationId xmlns:a16="http://schemas.microsoft.com/office/drawing/2014/main" id="{5A8AB58E-C082-4862-9E8A-8590AA49BB07}"/>
                  </a:ext>
                </a:extLst>
              </p:cNvPr>
              <p:cNvSpPr/>
              <p:nvPr/>
            </p:nvSpPr>
            <p:spPr>
              <a:xfrm>
                <a:off x="1711043" y="3384312"/>
                <a:ext cx="40869" cy="210167"/>
              </a:xfrm>
              <a:custGeom>
                <a:avLst/>
                <a:gdLst>
                  <a:gd name="connsiteX0" fmla="*/ 45978 w 45977"/>
                  <a:gd name="connsiteY0" fmla="*/ 236436 h 236435"/>
                  <a:gd name="connsiteX1" fmla="*/ 0 w 45977"/>
                  <a:gd name="connsiteY1" fmla="*/ 236436 h 236435"/>
                  <a:gd name="connsiteX2" fmla="*/ 0 w 45977"/>
                  <a:gd name="connsiteY2" fmla="*/ 0 h 236435"/>
                  <a:gd name="connsiteX3" fmla="*/ 45978 w 45977"/>
                  <a:gd name="connsiteY3" fmla="*/ 0 h 236435"/>
                  <a:gd name="connsiteX4" fmla="*/ 45978 w 45977"/>
                  <a:gd name="connsiteY4" fmla="*/ 236436 h 236435"/>
                  <a:gd name="connsiteX5" fmla="*/ 13153 w 45977"/>
                  <a:gd name="connsiteY5" fmla="*/ 223311 h 236435"/>
                  <a:gd name="connsiteX6" fmla="*/ 32853 w 45977"/>
                  <a:gd name="connsiteY6" fmla="*/ 223311 h 236435"/>
                  <a:gd name="connsiteX7" fmla="*/ 32853 w 45977"/>
                  <a:gd name="connsiteY7" fmla="*/ 13153 h 236435"/>
                  <a:gd name="connsiteX8" fmla="*/ 13153 w 45977"/>
                  <a:gd name="connsiteY8" fmla="*/ 13153 h 236435"/>
                  <a:gd name="connsiteX9" fmla="*/ 13153 w 45977"/>
                  <a:gd name="connsiteY9" fmla="*/ 223311 h 23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977" h="236435">
                    <a:moveTo>
                      <a:pt x="45978" y="236436"/>
                    </a:moveTo>
                    <a:lnTo>
                      <a:pt x="0" y="236436"/>
                    </a:lnTo>
                    <a:lnTo>
                      <a:pt x="0" y="0"/>
                    </a:lnTo>
                    <a:lnTo>
                      <a:pt x="45978" y="0"/>
                    </a:lnTo>
                    <a:lnTo>
                      <a:pt x="45978" y="236436"/>
                    </a:lnTo>
                    <a:close/>
                    <a:moveTo>
                      <a:pt x="13153" y="223311"/>
                    </a:moveTo>
                    <a:lnTo>
                      <a:pt x="32853" y="223311"/>
                    </a:lnTo>
                    <a:lnTo>
                      <a:pt x="32853" y="13153"/>
                    </a:lnTo>
                    <a:lnTo>
                      <a:pt x="13153" y="13153"/>
                    </a:lnTo>
                    <a:lnTo>
                      <a:pt x="13153" y="223311"/>
                    </a:lnTo>
                    <a:close/>
                  </a:path>
                </a:pathLst>
              </a:custGeom>
              <a:grpFill/>
              <a:ln w="2827" cap="flat">
                <a:noFill/>
                <a:prstDash val="solid"/>
                <a:miter/>
              </a:ln>
            </p:spPr>
            <p:txBody>
              <a:bodyPr rtlCol="0" anchor="ctr"/>
              <a:lstStyle/>
              <a:p>
                <a:endParaRPr lang="en-GB" dirty="0"/>
              </a:p>
            </p:txBody>
          </p:sp>
          <p:sp>
            <p:nvSpPr>
              <p:cNvPr id="768" name="Freihandform: Form 767">
                <a:extLst>
                  <a:ext uri="{FF2B5EF4-FFF2-40B4-BE49-F238E27FC236}">
                    <a16:creationId xmlns:a16="http://schemas.microsoft.com/office/drawing/2014/main" id="{1F5F43CB-DAEA-429D-A429-6F443F784C72}"/>
                  </a:ext>
                </a:extLst>
              </p:cNvPr>
              <p:cNvSpPr/>
              <p:nvPr/>
            </p:nvSpPr>
            <p:spPr>
              <a:xfrm>
                <a:off x="1927056" y="3384312"/>
                <a:ext cx="40869" cy="210167"/>
              </a:xfrm>
              <a:custGeom>
                <a:avLst/>
                <a:gdLst>
                  <a:gd name="connsiteX0" fmla="*/ 45978 w 45977"/>
                  <a:gd name="connsiteY0" fmla="*/ 236436 h 236435"/>
                  <a:gd name="connsiteX1" fmla="*/ 0 w 45977"/>
                  <a:gd name="connsiteY1" fmla="*/ 236436 h 236435"/>
                  <a:gd name="connsiteX2" fmla="*/ 0 w 45977"/>
                  <a:gd name="connsiteY2" fmla="*/ 0 h 236435"/>
                  <a:gd name="connsiteX3" fmla="*/ 45978 w 45977"/>
                  <a:gd name="connsiteY3" fmla="*/ 0 h 236435"/>
                  <a:gd name="connsiteX4" fmla="*/ 45978 w 45977"/>
                  <a:gd name="connsiteY4" fmla="*/ 236436 h 236435"/>
                  <a:gd name="connsiteX5" fmla="*/ 13124 w 45977"/>
                  <a:gd name="connsiteY5" fmla="*/ 223311 h 236435"/>
                  <a:gd name="connsiteX6" fmla="*/ 32825 w 45977"/>
                  <a:gd name="connsiteY6" fmla="*/ 223311 h 236435"/>
                  <a:gd name="connsiteX7" fmla="*/ 32825 w 45977"/>
                  <a:gd name="connsiteY7" fmla="*/ 13153 h 236435"/>
                  <a:gd name="connsiteX8" fmla="*/ 13124 w 45977"/>
                  <a:gd name="connsiteY8" fmla="*/ 13153 h 236435"/>
                  <a:gd name="connsiteX9" fmla="*/ 13124 w 45977"/>
                  <a:gd name="connsiteY9" fmla="*/ 223311 h 236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977" h="236435">
                    <a:moveTo>
                      <a:pt x="45978" y="236436"/>
                    </a:moveTo>
                    <a:lnTo>
                      <a:pt x="0" y="236436"/>
                    </a:lnTo>
                    <a:lnTo>
                      <a:pt x="0" y="0"/>
                    </a:lnTo>
                    <a:lnTo>
                      <a:pt x="45978" y="0"/>
                    </a:lnTo>
                    <a:lnTo>
                      <a:pt x="45978" y="236436"/>
                    </a:lnTo>
                    <a:close/>
                    <a:moveTo>
                      <a:pt x="13124" y="223311"/>
                    </a:moveTo>
                    <a:lnTo>
                      <a:pt x="32825" y="223311"/>
                    </a:lnTo>
                    <a:lnTo>
                      <a:pt x="32825" y="13153"/>
                    </a:lnTo>
                    <a:lnTo>
                      <a:pt x="13124" y="13153"/>
                    </a:lnTo>
                    <a:lnTo>
                      <a:pt x="13124" y="223311"/>
                    </a:lnTo>
                    <a:close/>
                  </a:path>
                </a:pathLst>
              </a:custGeom>
              <a:grpFill/>
              <a:ln w="2827" cap="flat">
                <a:noFill/>
                <a:prstDash val="solid"/>
                <a:miter/>
              </a:ln>
            </p:spPr>
            <p:txBody>
              <a:bodyPr rtlCol="0" anchor="ctr"/>
              <a:lstStyle/>
              <a:p>
                <a:endParaRPr lang="en-GB" dirty="0"/>
              </a:p>
            </p:txBody>
          </p:sp>
          <p:sp>
            <p:nvSpPr>
              <p:cNvPr id="769" name="Freihandform: Form 768">
                <a:extLst>
                  <a:ext uri="{FF2B5EF4-FFF2-40B4-BE49-F238E27FC236}">
                    <a16:creationId xmlns:a16="http://schemas.microsoft.com/office/drawing/2014/main" id="{34964EFD-DDF3-4A05-B1B4-B2626BD2FD49}"/>
                  </a:ext>
                </a:extLst>
              </p:cNvPr>
              <p:cNvSpPr/>
              <p:nvPr/>
            </p:nvSpPr>
            <p:spPr>
              <a:xfrm>
                <a:off x="1804449" y="3647015"/>
                <a:ext cx="70072" cy="58381"/>
              </a:xfrm>
              <a:custGeom>
                <a:avLst/>
                <a:gdLst>
                  <a:gd name="connsiteX0" fmla="*/ 52554 w 78830"/>
                  <a:gd name="connsiteY0" fmla="*/ 65678 h 65678"/>
                  <a:gd name="connsiteX1" fmla="*/ 26277 w 78830"/>
                  <a:gd name="connsiteY1" fmla="*/ 65678 h 65678"/>
                  <a:gd name="connsiteX2" fmla="*/ 0 w 78830"/>
                  <a:gd name="connsiteY2" fmla="*/ 39401 h 65678"/>
                  <a:gd name="connsiteX3" fmla="*/ 0 w 78830"/>
                  <a:gd name="connsiteY3" fmla="*/ 26277 h 65678"/>
                  <a:gd name="connsiteX4" fmla="*/ 26277 w 78830"/>
                  <a:gd name="connsiteY4" fmla="*/ 0 h 65678"/>
                  <a:gd name="connsiteX5" fmla="*/ 52554 w 78830"/>
                  <a:gd name="connsiteY5" fmla="*/ 0 h 65678"/>
                  <a:gd name="connsiteX6" fmla="*/ 78831 w 78830"/>
                  <a:gd name="connsiteY6" fmla="*/ 26277 h 65678"/>
                  <a:gd name="connsiteX7" fmla="*/ 78831 w 78830"/>
                  <a:gd name="connsiteY7" fmla="*/ 39401 h 65678"/>
                  <a:gd name="connsiteX8" fmla="*/ 52554 w 78830"/>
                  <a:gd name="connsiteY8" fmla="*/ 65678 h 65678"/>
                  <a:gd name="connsiteX9" fmla="*/ 26277 w 78830"/>
                  <a:gd name="connsiteY9" fmla="*/ 13153 h 65678"/>
                  <a:gd name="connsiteX10" fmla="*/ 13153 w 78830"/>
                  <a:gd name="connsiteY10" fmla="*/ 26277 h 65678"/>
                  <a:gd name="connsiteX11" fmla="*/ 13153 w 78830"/>
                  <a:gd name="connsiteY11" fmla="*/ 39401 h 65678"/>
                  <a:gd name="connsiteX12" fmla="*/ 26277 w 78830"/>
                  <a:gd name="connsiteY12" fmla="*/ 52526 h 65678"/>
                  <a:gd name="connsiteX13" fmla="*/ 52554 w 78830"/>
                  <a:gd name="connsiteY13" fmla="*/ 52526 h 65678"/>
                  <a:gd name="connsiteX14" fmla="*/ 65678 w 78830"/>
                  <a:gd name="connsiteY14" fmla="*/ 39401 h 65678"/>
                  <a:gd name="connsiteX15" fmla="*/ 65678 w 78830"/>
                  <a:gd name="connsiteY15" fmla="*/ 26277 h 65678"/>
                  <a:gd name="connsiteX16" fmla="*/ 52554 w 78830"/>
                  <a:gd name="connsiteY16" fmla="*/ 13153 h 65678"/>
                  <a:gd name="connsiteX17" fmla="*/ 26277 w 78830"/>
                  <a:gd name="connsiteY17" fmla="*/ 13153 h 65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8830" h="65678">
                    <a:moveTo>
                      <a:pt x="52554" y="65678"/>
                    </a:moveTo>
                    <a:lnTo>
                      <a:pt x="26277" y="65678"/>
                    </a:lnTo>
                    <a:cubicBezTo>
                      <a:pt x="11792" y="65678"/>
                      <a:pt x="0" y="53886"/>
                      <a:pt x="0" y="39401"/>
                    </a:cubicBezTo>
                    <a:lnTo>
                      <a:pt x="0" y="26277"/>
                    </a:lnTo>
                    <a:cubicBezTo>
                      <a:pt x="0" y="11792"/>
                      <a:pt x="11792" y="0"/>
                      <a:pt x="26277" y="0"/>
                    </a:cubicBezTo>
                    <a:lnTo>
                      <a:pt x="52554" y="0"/>
                    </a:lnTo>
                    <a:cubicBezTo>
                      <a:pt x="67039" y="0"/>
                      <a:pt x="78831" y="11792"/>
                      <a:pt x="78831" y="26277"/>
                    </a:cubicBezTo>
                    <a:lnTo>
                      <a:pt x="78831" y="39401"/>
                    </a:lnTo>
                    <a:cubicBezTo>
                      <a:pt x="78831" y="53914"/>
                      <a:pt x="67039" y="65678"/>
                      <a:pt x="52554" y="65678"/>
                    </a:cubicBezTo>
                    <a:close/>
                    <a:moveTo>
                      <a:pt x="26277" y="13153"/>
                    </a:moveTo>
                    <a:cubicBezTo>
                      <a:pt x="19020" y="13153"/>
                      <a:pt x="13153" y="19049"/>
                      <a:pt x="13153" y="26277"/>
                    </a:cubicBezTo>
                    <a:lnTo>
                      <a:pt x="13153" y="39401"/>
                    </a:lnTo>
                    <a:cubicBezTo>
                      <a:pt x="13153" y="46629"/>
                      <a:pt x="19049" y="52526"/>
                      <a:pt x="26277" y="52526"/>
                    </a:cubicBezTo>
                    <a:lnTo>
                      <a:pt x="52554" y="52526"/>
                    </a:lnTo>
                    <a:cubicBezTo>
                      <a:pt x="59810" y="52526"/>
                      <a:pt x="65678" y="46629"/>
                      <a:pt x="65678" y="39401"/>
                    </a:cubicBezTo>
                    <a:lnTo>
                      <a:pt x="65678" y="26277"/>
                    </a:lnTo>
                    <a:cubicBezTo>
                      <a:pt x="65678" y="19049"/>
                      <a:pt x="59782" y="13153"/>
                      <a:pt x="52554" y="13153"/>
                    </a:cubicBezTo>
                    <a:lnTo>
                      <a:pt x="26277" y="13153"/>
                    </a:lnTo>
                    <a:close/>
                  </a:path>
                </a:pathLst>
              </a:custGeom>
              <a:grpFill/>
              <a:ln w="2827" cap="flat">
                <a:noFill/>
                <a:prstDash val="solid"/>
                <a:miter/>
              </a:ln>
            </p:spPr>
            <p:txBody>
              <a:bodyPr rtlCol="0" anchor="ctr"/>
              <a:lstStyle/>
              <a:p>
                <a:endParaRPr lang="en-GB" dirty="0"/>
              </a:p>
            </p:txBody>
          </p:sp>
          <p:sp>
            <p:nvSpPr>
              <p:cNvPr id="770" name="Freihandform: Form 769">
                <a:extLst>
                  <a:ext uri="{FF2B5EF4-FFF2-40B4-BE49-F238E27FC236}">
                    <a16:creationId xmlns:a16="http://schemas.microsoft.com/office/drawing/2014/main" id="{17584719-8EA9-4012-8957-46EACC8B483F}"/>
                  </a:ext>
                </a:extLst>
              </p:cNvPr>
              <p:cNvSpPr/>
              <p:nvPr/>
            </p:nvSpPr>
            <p:spPr>
              <a:xfrm>
                <a:off x="1623484" y="3389981"/>
                <a:ext cx="99250" cy="198853"/>
              </a:xfrm>
              <a:custGeom>
                <a:avLst/>
                <a:gdLst>
                  <a:gd name="connsiteX0" fmla="*/ 111656 w 111655"/>
                  <a:gd name="connsiteY0" fmla="*/ 223708 h 223707"/>
                  <a:gd name="connsiteX1" fmla="*/ 104683 w 111655"/>
                  <a:gd name="connsiteY1" fmla="*/ 223283 h 223707"/>
                  <a:gd name="connsiteX2" fmla="*/ 0 w 111655"/>
                  <a:gd name="connsiteY2" fmla="*/ 111854 h 223707"/>
                  <a:gd name="connsiteX3" fmla="*/ 104683 w 111655"/>
                  <a:gd name="connsiteY3" fmla="*/ 425 h 223707"/>
                  <a:gd name="connsiteX4" fmla="*/ 111656 w 111655"/>
                  <a:gd name="connsiteY4" fmla="*/ 0 h 223707"/>
                  <a:gd name="connsiteX5" fmla="*/ 111656 w 111655"/>
                  <a:gd name="connsiteY5" fmla="*/ 223708 h 223707"/>
                  <a:gd name="connsiteX6" fmla="*/ 98503 w 111655"/>
                  <a:gd name="connsiteY6" fmla="*/ 14201 h 223707"/>
                  <a:gd name="connsiteX7" fmla="*/ 13124 w 111655"/>
                  <a:gd name="connsiteY7" fmla="*/ 111854 h 223707"/>
                  <a:gd name="connsiteX8" fmla="*/ 98503 w 111655"/>
                  <a:gd name="connsiteY8" fmla="*/ 209507 h 223707"/>
                  <a:gd name="connsiteX9" fmla="*/ 98503 w 111655"/>
                  <a:gd name="connsiteY9" fmla="*/ 14201 h 223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655" h="223707">
                    <a:moveTo>
                      <a:pt x="111656" y="223708"/>
                    </a:moveTo>
                    <a:lnTo>
                      <a:pt x="104683" y="223283"/>
                    </a:lnTo>
                    <a:cubicBezTo>
                      <a:pt x="45978" y="219654"/>
                      <a:pt x="0" y="170729"/>
                      <a:pt x="0" y="111854"/>
                    </a:cubicBezTo>
                    <a:cubicBezTo>
                      <a:pt x="0" y="52979"/>
                      <a:pt x="45978" y="4025"/>
                      <a:pt x="104683" y="425"/>
                    </a:cubicBezTo>
                    <a:lnTo>
                      <a:pt x="111656" y="0"/>
                    </a:lnTo>
                    <a:lnTo>
                      <a:pt x="111656" y="223708"/>
                    </a:lnTo>
                    <a:close/>
                    <a:moveTo>
                      <a:pt x="98503" y="14201"/>
                    </a:moveTo>
                    <a:cubicBezTo>
                      <a:pt x="50088" y="20664"/>
                      <a:pt x="13124" y="62277"/>
                      <a:pt x="13124" y="111854"/>
                    </a:cubicBezTo>
                    <a:cubicBezTo>
                      <a:pt x="13124" y="161432"/>
                      <a:pt x="50088" y="203044"/>
                      <a:pt x="98503" y="209507"/>
                    </a:cubicBezTo>
                    <a:lnTo>
                      <a:pt x="98503" y="14201"/>
                    </a:lnTo>
                    <a:close/>
                  </a:path>
                </a:pathLst>
              </a:custGeom>
              <a:grpFill/>
              <a:ln w="2827" cap="flat">
                <a:noFill/>
                <a:prstDash val="solid"/>
                <a:miter/>
              </a:ln>
            </p:spPr>
            <p:txBody>
              <a:bodyPr rtlCol="0" anchor="ctr"/>
              <a:lstStyle/>
              <a:p>
                <a:endParaRPr lang="en-GB" dirty="0"/>
              </a:p>
            </p:txBody>
          </p:sp>
          <p:sp>
            <p:nvSpPr>
              <p:cNvPr id="771" name="Freihandform: Form 770">
                <a:extLst>
                  <a:ext uri="{FF2B5EF4-FFF2-40B4-BE49-F238E27FC236}">
                    <a16:creationId xmlns:a16="http://schemas.microsoft.com/office/drawing/2014/main" id="{25CC14EE-D002-4CC5-9794-22EDA977667B}"/>
                  </a:ext>
                </a:extLst>
              </p:cNvPr>
              <p:cNvSpPr/>
              <p:nvPr/>
            </p:nvSpPr>
            <p:spPr>
              <a:xfrm>
                <a:off x="1956234" y="3390057"/>
                <a:ext cx="99250" cy="198652"/>
              </a:xfrm>
              <a:custGeom>
                <a:avLst/>
                <a:gdLst>
                  <a:gd name="connsiteX0" fmla="*/ 0 w 111655"/>
                  <a:gd name="connsiteY0" fmla="*/ 223481 h 223481"/>
                  <a:gd name="connsiteX1" fmla="*/ 0 w 111655"/>
                  <a:gd name="connsiteY1" fmla="*/ 0 h 223481"/>
                  <a:gd name="connsiteX2" fmla="*/ 6973 w 111655"/>
                  <a:gd name="connsiteY2" fmla="*/ 425 h 223481"/>
                  <a:gd name="connsiteX3" fmla="*/ 111656 w 111655"/>
                  <a:gd name="connsiteY3" fmla="*/ 111741 h 223481"/>
                  <a:gd name="connsiteX4" fmla="*/ 6973 w 111655"/>
                  <a:gd name="connsiteY4" fmla="*/ 223056 h 223481"/>
                  <a:gd name="connsiteX5" fmla="*/ 0 w 111655"/>
                  <a:gd name="connsiteY5" fmla="*/ 223481 h 223481"/>
                  <a:gd name="connsiteX6" fmla="*/ 13153 w 111655"/>
                  <a:gd name="connsiteY6" fmla="*/ 14258 h 223481"/>
                  <a:gd name="connsiteX7" fmla="*/ 13153 w 111655"/>
                  <a:gd name="connsiteY7" fmla="*/ 209280 h 223481"/>
                  <a:gd name="connsiteX8" fmla="*/ 98531 w 111655"/>
                  <a:gd name="connsiteY8" fmla="*/ 111769 h 223481"/>
                  <a:gd name="connsiteX9" fmla="*/ 13153 w 111655"/>
                  <a:gd name="connsiteY9" fmla="*/ 14258 h 223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655" h="223481">
                    <a:moveTo>
                      <a:pt x="0" y="223481"/>
                    </a:moveTo>
                    <a:lnTo>
                      <a:pt x="0" y="0"/>
                    </a:lnTo>
                    <a:lnTo>
                      <a:pt x="6973" y="425"/>
                    </a:lnTo>
                    <a:cubicBezTo>
                      <a:pt x="65678" y="4053"/>
                      <a:pt x="111656" y="52951"/>
                      <a:pt x="111656" y="111741"/>
                    </a:cubicBezTo>
                    <a:cubicBezTo>
                      <a:pt x="111656" y="170531"/>
                      <a:pt x="65678" y="219399"/>
                      <a:pt x="6973" y="223056"/>
                    </a:cubicBezTo>
                    <a:lnTo>
                      <a:pt x="0" y="223481"/>
                    </a:lnTo>
                    <a:close/>
                    <a:moveTo>
                      <a:pt x="13153" y="14258"/>
                    </a:moveTo>
                    <a:lnTo>
                      <a:pt x="13153" y="209280"/>
                    </a:lnTo>
                    <a:cubicBezTo>
                      <a:pt x="61568" y="202817"/>
                      <a:pt x="98531" y="161261"/>
                      <a:pt x="98531" y="111769"/>
                    </a:cubicBezTo>
                    <a:cubicBezTo>
                      <a:pt x="98531" y="62276"/>
                      <a:pt x="61568" y="20693"/>
                      <a:pt x="13153" y="14258"/>
                    </a:cubicBezTo>
                    <a:close/>
                  </a:path>
                </a:pathLst>
              </a:custGeom>
              <a:grpFill/>
              <a:ln w="2827" cap="flat">
                <a:noFill/>
                <a:prstDash val="solid"/>
                <a:miter/>
              </a:ln>
            </p:spPr>
            <p:txBody>
              <a:bodyPr rtlCol="0" anchor="ctr"/>
              <a:lstStyle/>
              <a:p>
                <a:endParaRPr lang="en-GB" dirty="0"/>
              </a:p>
            </p:txBody>
          </p:sp>
        </p:grpSp>
        <p:grpSp>
          <p:nvGrpSpPr>
            <p:cNvPr id="5" name="Group 4">
              <a:extLst>
                <a:ext uri="{FF2B5EF4-FFF2-40B4-BE49-F238E27FC236}">
                  <a16:creationId xmlns:a16="http://schemas.microsoft.com/office/drawing/2014/main" id="{107AEF49-EB01-61A9-51AC-62DB67C8B4B2}"/>
                </a:ext>
              </a:extLst>
            </p:cNvPr>
            <p:cNvGrpSpPr/>
            <p:nvPr/>
          </p:nvGrpSpPr>
          <p:grpSpPr>
            <a:xfrm>
              <a:off x="1798631" y="3483589"/>
              <a:ext cx="81713" cy="11666"/>
              <a:chOff x="1798631" y="3483589"/>
              <a:chExt cx="81713" cy="11666"/>
            </a:xfrm>
            <a:solidFill>
              <a:schemeClr val="accent1"/>
            </a:solidFill>
          </p:grpSpPr>
          <p:sp>
            <p:nvSpPr>
              <p:cNvPr id="761" name="Freihandform: Form 760">
                <a:extLst>
                  <a:ext uri="{FF2B5EF4-FFF2-40B4-BE49-F238E27FC236}">
                    <a16:creationId xmlns:a16="http://schemas.microsoft.com/office/drawing/2014/main" id="{AFB3B43E-117D-47A2-B412-E8DEFD05D2C4}"/>
                  </a:ext>
                </a:extLst>
              </p:cNvPr>
              <p:cNvSpPr/>
              <p:nvPr/>
            </p:nvSpPr>
            <p:spPr>
              <a:xfrm>
                <a:off x="1833655" y="3483589"/>
                <a:ext cx="11666" cy="11666"/>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grpFill/>
              <a:ln w="2827" cap="flat">
                <a:noFill/>
                <a:prstDash val="solid"/>
                <a:miter/>
              </a:ln>
            </p:spPr>
            <p:txBody>
              <a:bodyPr rtlCol="0" anchor="ctr"/>
              <a:lstStyle/>
              <a:p>
                <a:endParaRPr lang="en-GB" dirty="0"/>
              </a:p>
            </p:txBody>
          </p:sp>
          <p:sp>
            <p:nvSpPr>
              <p:cNvPr id="762" name="Freihandform: Form 761">
                <a:extLst>
                  <a:ext uri="{FF2B5EF4-FFF2-40B4-BE49-F238E27FC236}">
                    <a16:creationId xmlns:a16="http://schemas.microsoft.com/office/drawing/2014/main" id="{F11E3939-C3A8-45E3-9912-53EAE4A44C3C}"/>
                  </a:ext>
                </a:extLst>
              </p:cNvPr>
              <p:cNvSpPr/>
              <p:nvPr/>
            </p:nvSpPr>
            <p:spPr>
              <a:xfrm>
                <a:off x="1868678" y="3483589"/>
                <a:ext cx="11666" cy="11666"/>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grpFill/>
              <a:ln w="2827" cap="flat">
                <a:noFill/>
                <a:prstDash val="solid"/>
                <a:miter/>
              </a:ln>
            </p:spPr>
            <p:txBody>
              <a:bodyPr rtlCol="0" anchor="ctr"/>
              <a:lstStyle/>
              <a:p>
                <a:endParaRPr lang="en-GB" dirty="0"/>
              </a:p>
            </p:txBody>
          </p:sp>
          <p:sp>
            <p:nvSpPr>
              <p:cNvPr id="763" name="Freihandform: Form 762">
                <a:extLst>
                  <a:ext uri="{FF2B5EF4-FFF2-40B4-BE49-F238E27FC236}">
                    <a16:creationId xmlns:a16="http://schemas.microsoft.com/office/drawing/2014/main" id="{D57A2ED1-0552-4520-A8F9-F1C3D26244EC}"/>
                  </a:ext>
                </a:extLst>
              </p:cNvPr>
              <p:cNvSpPr/>
              <p:nvPr/>
            </p:nvSpPr>
            <p:spPr>
              <a:xfrm>
                <a:off x="1798631" y="3483589"/>
                <a:ext cx="11666" cy="11666"/>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grpFill/>
              <a:ln w="2827" cap="flat">
                <a:noFill/>
                <a:prstDash val="solid"/>
                <a:miter/>
              </a:ln>
            </p:spPr>
            <p:txBody>
              <a:bodyPr rtlCol="0" anchor="ctr"/>
              <a:lstStyle/>
              <a:p>
                <a:endParaRPr lang="en-GB" dirty="0"/>
              </a:p>
            </p:txBody>
          </p:sp>
        </p:grpSp>
      </p:grpSp>
      <p:grpSp>
        <p:nvGrpSpPr>
          <p:cNvPr id="772" name="Group 738">
            <a:extLst>
              <a:ext uri="{FF2B5EF4-FFF2-40B4-BE49-F238E27FC236}">
                <a16:creationId xmlns:a16="http://schemas.microsoft.com/office/drawing/2014/main" id="{EB20F066-AF74-4A20-81E1-619A02F1F983}"/>
              </a:ext>
            </a:extLst>
          </p:cNvPr>
          <p:cNvGrpSpPr>
            <a:grpSpLocks noChangeAspect="1"/>
          </p:cNvGrpSpPr>
          <p:nvPr/>
        </p:nvGrpSpPr>
        <p:grpSpPr>
          <a:xfrm>
            <a:off x="2672462" y="3273397"/>
            <a:ext cx="424912" cy="432000"/>
            <a:chOff x="2552176" y="3297679"/>
            <a:chExt cx="486023" cy="494130"/>
          </a:xfrm>
        </p:grpSpPr>
        <p:grpSp>
          <p:nvGrpSpPr>
            <p:cNvPr id="773" name="Group 736">
              <a:extLst>
                <a:ext uri="{FF2B5EF4-FFF2-40B4-BE49-F238E27FC236}">
                  <a16:creationId xmlns:a16="http://schemas.microsoft.com/office/drawing/2014/main" id="{18D46E0C-9FC6-40AA-AD8E-9F9D4D2A4C4A}"/>
                </a:ext>
              </a:extLst>
            </p:cNvPr>
            <p:cNvGrpSpPr/>
            <p:nvPr/>
          </p:nvGrpSpPr>
          <p:grpSpPr>
            <a:xfrm>
              <a:off x="2657255" y="3363329"/>
              <a:ext cx="275836" cy="223339"/>
              <a:chOff x="2657255" y="3363329"/>
              <a:chExt cx="275836" cy="223339"/>
            </a:xfrm>
          </p:grpSpPr>
          <p:sp>
            <p:nvSpPr>
              <p:cNvPr id="780" name="Freihandform: Form 779">
                <a:extLst>
                  <a:ext uri="{FF2B5EF4-FFF2-40B4-BE49-F238E27FC236}">
                    <a16:creationId xmlns:a16="http://schemas.microsoft.com/office/drawing/2014/main" id="{66DCEB50-188B-4976-9528-1D3A95633437}"/>
                  </a:ext>
                </a:extLst>
              </p:cNvPr>
              <p:cNvSpPr/>
              <p:nvPr/>
            </p:nvSpPr>
            <p:spPr>
              <a:xfrm>
                <a:off x="2768910" y="3363329"/>
                <a:ext cx="52553" cy="52553"/>
              </a:xfrm>
              <a:custGeom>
                <a:avLst/>
                <a:gdLst>
                  <a:gd name="connsiteX0" fmla="*/ 26277 w 52553"/>
                  <a:gd name="connsiteY0" fmla="*/ 52554 h 52553"/>
                  <a:gd name="connsiteX1" fmla="*/ 0 w 52553"/>
                  <a:gd name="connsiteY1" fmla="*/ 26277 h 52553"/>
                  <a:gd name="connsiteX2" fmla="*/ 26277 w 52553"/>
                  <a:gd name="connsiteY2" fmla="*/ 0 h 52553"/>
                  <a:gd name="connsiteX3" fmla="*/ 52554 w 52553"/>
                  <a:gd name="connsiteY3" fmla="*/ 26277 h 52553"/>
                  <a:gd name="connsiteX4" fmla="*/ 26277 w 52553"/>
                  <a:gd name="connsiteY4" fmla="*/ 52554 h 52553"/>
                  <a:gd name="connsiteX5" fmla="*/ 26277 w 52553"/>
                  <a:gd name="connsiteY5" fmla="*/ 13153 h 52553"/>
                  <a:gd name="connsiteX6" fmla="*/ 13153 w 52553"/>
                  <a:gd name="connsiteY6" fmla="*/ 26277 h 52553"/>
                  <a:gd name="connsiteX7" fmla="*/ 26277 w 52553"/>
                  <a:gd name="connsiteY7" fmla="*/ 39401 h 52553"/>
                  <a:gd name="connsiteX8" fmla="*/ 39401 w 52553"/>
                  <a:gd name="connsiteY8" fmla="*/ 26277 h 52553"/>
                  <a:gd name="connsiteX9" fmla="*/ 26277 w 52553"/>
                  <a:gd name="connsiteY9" fmla="*/ 13153 h 5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553" h="52553">
                    <a:moveTo>
                      <a:pt x="26277" y="52554"/>
                    </a:moveTo>
                    <a:cubicBezTo>
                      <a:pt x="11792" y="52554"/>
                      <a:pt x="0" y="40762"/>
                      <a:pt x="0" y="26277"/>
                    </a:cubicBezTo>
                    <a:cubicBezTo>
                      <a:pt x="0" y="11792"/>
                      <a:pt x="11792" y="0"/>
                      <a:pt x="26277" y="0"/>
                    </a:cubicBezTo>
                    <a:cubicBezTo>
                      <a:pt x="40762" y="0"/>
                      <a:pt x="52554" y="11792"/>
                      <a:pt x="52554" y="26277"/>
                    </a:cubicBezTo>
                    <a:cubicBezTo>
                      <a:pt x="52554" y="40790"/>
                      <a:pt x="40762" y="52554"/>
                      <a:pt x="26277" y="52554"/>
                    </a:cubicBezTo>
                    <a:close/>
                    <a:moveTo>
                      <a:pt x="26277" y="13153"/>
                    </a:moveTo>
                    <a:cubicBezTo>
                      <a:pt x="19049" y="13153"/>
                      <a:pt x="13153" y="19049"/>
                      <a:pt x="13153" y="26277"/>
                    </a:cubicBezTo>
                    <a:cubicBezTo>
                      <a:pt x="13153" y="33505"/>
                      <a:pt x="19049" y="39401"/>
                      <a:pt x="26277" y="39401"/>
                    </a:cubicBezTo>
                    <a:cubicBezTo>
                      <a:pt x="33505" y="39401"/>
                      <a:pt x="39401" y="33505"/>
                      <a:pt x="39401" y="26277"/>
                    </a:cubicBezTo>
                    <a:cubicBezTo>
                      <a:pt x="39401" y="19049"/>
                      <a:pt x="33505" y="13153"/>
                      <a:pt x="26277" y="13153"/>
                    </a:cubicBezTo>
                    <a:close/>
                  </a:path>
                </a:pathLst>
              </a:custGeom>
              <a:solidFill>
                <a:schemeClr val="accent1"/>
              </a:solidFill>
              <a:ln w="2827" cap="flat">
                <a:noFill/>
                <a:prstDash val="solid"/>
                <a:miter/>
              </a:ln>
            </p:spPr>
            <p:txBody>
              <a:bodyPr rtlCol="0" anchor="ctr"/>
              <a:lstStyle/>
              <a:p>
                <a:endParaRPr lang="en-GB" dirty="0"/>
              </a:p>
            </p:txBody>
          </p:sp>
          <p:sp>
            <p:nvSpPr>
              <p:cNvPr id="781" name="Freihandform: Form 780">
                <a:extLst>
                  <a:ext uri="{FF2B5EF4-FFF2-40B4-BE49-F238E27FC236}">
                    <a16:creationId xmlns:a16="http://schemas.microsoft.com/office/drawing/2014/main" id="{2C348C1B-544B-4565-81EF-944E5ACD4C68}"/>
                  </a:ext>
                </a:extLst>
              </p:cNvPr>
              <p:cNvSpPr/>
              <p:nvPr/>
            </p:nvSpPr>
            <p:spPr>
              <a:xfrm>
                <a:off x="2749210" y="3422488"/>
                <a:ext cx="91954" cy="164180"/>
              </a:xfrm>
              <a:custGeom>
                <a:avLst/>
                <a:gdLst>
                  <a:gd name="connsiteX0" fmla="*/ 91955 w 91954"/>
                  <a:gd name="connsiteY0" fmla="*/ 164181 h 164180"/>
                  <a:gd name="connsiteX1" fmla="*/ 0 w 91954"/>
                  <a:gd name="connsiteY1" fmla="*/ 164181 h 164180"/>
                  <a:gd name="connsiteX2" fmla="*/ 0 w 91954"/>
                  <a:gd name="connsiteY2" fmla="*/ 144480 h 164180"/>
                  <a:gd name="connsiteX3" fmla="*/ 19700 w 91954"/>
                  <a:gd name="connsiteY3" fmla="*/ 124780 h 164180"/>
                  <a:gd name="connsiteX4" fmla="*/ 26277 w 91954"/>
                  <a:gd name="connsiteY4" fmla="*/ 124780 h 164180"/>
                  <a:gd name="connsiteX5" fmla="*/ 26277 w 91954"/>
                  <a:gd name="connsiteY5" fmla="*/ 39401 h 164180"/>
                  <a:gd name="connsiteX6" fmla="*/ 19700 w 91954"/>
                  <a:gd name="connsiteY6" fmla="*/ 39401 h 164180"/>
                  <a:gd name="connsiteX7" fmla="*/ 0 w 91954"/>
                  <a:gd name="connsiteY7" fmla="*/ 19701 h 164180"/>
                  <a:gd name="connsiteX8" fmla="*/ 0 w 91954"/>
                  <a:gd name="connsiteY8" fmla="*/ 0 h 164180"/>
                  <a:gd name="connsiteX9" fmla="*/ 65678 w 91954"/>
                  <a:gd name="connsiteY9" fmla="*/ 0 h 164180"/>
                  <a:gd name="connsiteX10" fmla="*/ 65678 w 91954"/>
                  <a:gd name="connsiteY10" fmla="*/ 124780 h 164180"/>
                  <a:gd name="connsiteX11" fmla="*/ 72254 w 91954"/>
                  <a:gd name="connsiteY11" fmla="*/ 124780 h 164180"/>
                  <a:gd name="connsiteX12" fmla="*/ 91955 w 91954"/>
                  <a:gd name="connsiteY12" fmla="*/ 144480 h 164180"/>
                  <a:gd name="connsiteX13" fmla="*/ 91955 w 91954"/>
                  <a:gd name="connsiteY13" fmla="*/ 164181 h 164180"/>
                  <a:gd name="connsiteX14" fmla="*/ 13124 w 91954"/>
                  <a:gd name="connsiteY14" fmla="*/ 151029 h 164180"/>
                  <a:gd name="connsiteX15" fmla="*/ 78802 w 91954"/>
                  <a:gd name="connsiteY15" fmla="*/ 151029 h 164180"/>
                  <a:gd name="connsiteX16" fmla="*/ 78802 w 91954"/>
                  <a:gd name="connsiteY16" fmla="*/ 144452 h 164180"/>
                  <a:gd name="connsiteX17" fmla="*/ 72226 w 91954"/>
                  <a:gd name="connsiteY17" fmla="*/ 137876 h 164180"/>
                  <a:gd name="connsiteX18" fmla="*/ 52525 w 91954"/>
                  <a:gd name="connsiteY18" fmla="*/ 137876 h 164180"/>
                  <a:gd name="connsiteX19" fmla="*/ 52525 w 91954"/>
                  <a:gd name="connsiteY19" fmla="*/ 13096 h 164180"/>
                  <a:gd name="connsiteX20" fmla="*/ 13124 w 91954"/>
                  <a:gd name="connsiteY20" fmla="*/ 13096 h 164180"/>
                  <a:gd name="connsiteX21" fmla="*/ 13124 w 91954"/>
                  <a:gd name="connsiteY21" fmla="*/ 19672 h 164180"/>
                  <a:gd name="connsiteX22" fmla="*/ 19700 w 91954"/>
                  <a:gd name="connsiteY22" fmla="*/ 26249 h 164180"/>
                  <a:gd name="connsiteX23" fmla="*/ 39401 w 91954"/>
                  <a:gd name="connsiteY23" fmla="*/ 26249 h 164180"/>
                  <a:gd name="connsiteX24" fmla="*/ 39401 w 91954"/>
                  <a:gd name="connsiteY24" fmla="*/ 137904 h 164180"/>
                  <a:gd name="connsiteX25" fmla="*/ 19700 w 91954"/>
                  <a:gd name="connsiteY25" fmla="*/ 137904 h 164180"/>
                  <a:gd name="connsiteX26" fmla="*/ 13124 w 91954"/>
                  <a:gd name="connsiteY26" fmla="*/ 144480 h 164180"/>
                  <a:gd name="connsiteX27" fmla="*/ 13124 w 91954"/>
                  <a:gd name="connsiteY27" fmla="*/ 151029 h 164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1954" h="164180">
                    <a:moveTo>
                      <a:pt x="91955" y="164181"/>
                    </a:moveTo>
                    <a:lnTo>
                      <a:pt x="0" y="164181"/>
                    </a:lnTo>
                    <a:lnTo>
                      <a:pt x="0" y="144480"/>
                    </a:lnTo>
                    <a:cubicBezTo>
                      <a:pt x="0" y="133624"/>
                      <a:pt x="8844" y="124780"/>
                      <a:pt x="19700" y="124780"/>
                    </a:cubicBezTo>
                    <a:lnTo>
                      <a:pt x="26277" y="124780"/>
                    </a:lnTo>
                    <a:lnTo>
                      <a:pt x="26277" y="39401"/>
                    </a:lnTo>
                    <a:lnTo>
                      <a:pt x="19700" y="39401"/>
                    </a:lnTo>
                    <a:cubicBezTo>
                      <a:pt x="8844" y="39401"/>
                      <a:pt x="0" y="30557"/>
                      <a:pt x="0" y="19701"/>
                    </a:cubicBezTo>
                    <a:lnTo>
                      <a:pt x="0" y="0"/>
                    </a:lnTo>
                    <a:lnTo>
                      <a:pt x="65678" y="0"/>
                    </a:lnTo>
                    <a:lnTo>
                      <a:pt x="65678" y="124780"/>
                    </a:lnTo>
                    <a:lnTo>
                      <a:pt x="72254" y="124780"/>
                    </a:lnTo>
                    <a:cubicBezTo>
                      <a:pt x="83111" y="124780"/>
                      <a:pt x="91955" y="133624"/>
                      <a:pt x="91955" y="144480"/>
                    </a:cubicBezTo>
                    <a:lnTo>
                      <a:pt x="91955" y="164181"/>
                    </a:lnTo>
                    <a:close/>
                    <a:moveTo>
                      <a:pt x="13124" y="151029"/>
                    </a:moveTo>
                    <a:lnTo>
                      <a:pt x="78802" y="151029"/>
                    </a:lnTo>
                    <a:lnTo>
                      <a:pt x="78802" y="144452"/>
                    </a:lnTo>
                    <a:cubicBezTo>
                      <a:pt x="78802" y="140824"/>
                      <a:pt x="75854" y="137876"/>
                      <a:pt x="72226" y="137876"/>
                    </a:cubicBezTo>
                    <a:lnTo>
                      <a:pt x="52525" y="137876"/>
                    </a:lnTo>
                    <a:lnTo>
                      <a:pt x="52525" y="13096"/>
                    </a:lnTo>
                    <a:lnTo>
                      <a:pt x="13124" y="13096"/>
                    </a:lnTo>
                    <a:lnTo>
                      <a:pt x="13124" y="19672"/>
                    </a:lnTo>
                    <a:cubicBezTo>
                      <a:pt x="13124" y="23300"/>
                      <a:pt x="16072" y="26249"/>
                      <a:pt x="19700" y="26249"/>
                    </a:cubicBezTo>
                    <a:lnTo>
                      <a:pt x="39401" y="26249"/>
                    </a:lnTo>
                    <a:lnTo>
                      <a:pt x="39401" y="137904"/>
                    </a:lnTo>
                    <a:lnTo>
                      <a:pt x="19700" y="137904"/>
                    </a:lnTo>
                    <a:cubicBezTo>
                      <a:pt x="16072" y="137904"/>
                      <a:pt x="13124" y="140852"/>
                      <a:pt x="13124" y="144480"/>
                    </a:cubicBezTo>
                    <a:lnTo>
                      <a:pt x="13124" y="151029"/>
                    </a:lnTo>
                    <a:close/>
                  </a:path>
                </a:pathLst>
              </a:custGeom>
              <a:solidFill>
                <a:schemeClr val="accent1"/>
              </a:solidFill>
              <a:ln w="2827" cap="flat">
                <a:noFill/>
                <a:prstDash val="solid"/>
                <a:miter/>
              </a:ln>
            </p:spPr>
            <p:txBody>
              <a:bodyPr rtlCol="0" anchor="ctr"/>
              <a:lstStyle/>
              <a:p>
                <a:endParaRPr lang="en-GB" dirty="0"/>
              </a:p>
            </p:txBody>
          </p:sp>
          <p:grpSp>
            <p:nvGrpSpPr>
              <p:cNvPr id="782" name="Grafik 161">
                <a:extLst>
                  <a:ext uri="{FF2B5EF4-FFF2-40B4-BE49-F238E27FC236}">
                    <a16:creationId xmlns:a16="http://schemas.microsoft.com/office/drawing/2014/main" id="{EA9D75D1-3A96-4CF5-B5B8-79A5C1A2542B}"/>
                  </a:ext>
                </a:extLst>
              </p:cNvPr>
              <p:cNvGrpSpPr/>
              <p:nvPr/>
            </p:nvGrpSpPr>
            <p:grpSpPr>
              <a:xfrm>
                <a:off x="2841165" y="3488137"/>
                <a:ext cx="91926" cy="13124"/>
                <a:chOff x="2841165" y="3488137"/>
                <a:chExt cx="91926" cy="13124"/>
              </a:xfrm>
              <a:solidFill>
                <a:schemeClr val="accent1"/>
              </a:solidFill>
            </p:grpSpPr>
            <p:sp>
              <p:nvSpPr>
                <p:cNvPr id="787" name="Freihandform: Form 786">
                  <a:extLst>
                    <a:ext uri="{FF2B5EF4-FFF2-40B4-BE49-F238E27FC236}">
                      <a16:creationId xmlns:a16="http://schemas.microsoft.com/office/drawing/2014/main" id="{EC5A1705-FBB6-421D-8275-F503AFC3D154}"/>
                    </a:ext>
                  </a:extLst>
                </p:cNvPr>
                <p:cNvSpPr/>
                <p:nvPr/>
              </p:nvSpPr>
              <p:spPr>
                <a:xfrm>
                  <a:off x="2841165"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788" name="Freihandform: Form 787">
                  <a:extLst>
                    <a:ext uri="{FF2B5EF4-FFF2-40B4-BE49-F238E27FC236}">
                      <a16:creationId xmlns:a16="http://schemas.microsoft.com/office/drawing/2014/main" id="{83E01801-728B-41E2-954D-7420AC746815}"/>
                    </a:ext>
                  </a:extLst>
                </p:cNvPr>
                <p:cNvSpPr/>
                <p:nvPr/>
              </p:nvSpPr>
              <p:spPr>
                <a:xfrm>
                  <a:off x="2880566"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789" name="Freihandform: Form 788">
                  <a:extLst>
                    <a:ext uri="{FF2B5EF4-FFF2-40B4-BE49-F238E27FC236}">
                      <a16:creationId xmlns:a16="http://schemas.microsoft.com/office/drawing/2014/main" id="{B1D728FE-DB8F-40F0-9B11-330AB71707D5}"/>
                    </a:ext>
                  </a:extLst>
                </p:cNvPr>
                <p:cNvSpPr/>
                <p:nvPr/>
              </p:nvSpPr>
              <p:spPr>
                <a:xfrm>
                  <a:off x="2919967"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nvGrpSpPr>
              <p:cNvPr id="783" name="Grafik 161">
                <a:extLst>
                  <a:ext uri="{FF2B5EF4-FFF2-40B4-BE49-F238E27FC236}">
                    <a16:creationId xmlns:a16="http://schemas.microsoft.com/office/drawing/2014/main" id="{A9075D6A-3F84-4A18-94E5-0D383BADF210}"/>
                  </a:ext>
                </a:extLst>
              </p:cNvPr>
              <p:cNvGrpSpPr/>
              <p:nvPr/>
            </p:nvGrpSpPr>
            <p:grpSpPr>
              <a:xfrm>
                <a:off x="2657255" y="3488137"/>
                <a:ext cx="91955" cy="13124"/>
                <a:chOff x="2657255" y="3488137"/>
                <a:chExt cx="91955" cy="13124"/>
              </a:xfrm>
              <a:solidFill>
                <a:schemeClr val="accent1"/>
              </a:solidFill>
            </p:grpSpPr>
            <p:sp>
              <p:nvSpPr>
                <p:cNvPr id="784" name="Freihandform: Form 783">
                  <a:extLst>
                    <a:ext uri="{FF2B5EF4-FFF2-40B4-BE49-F238E27FC236}">
                      <a16:creationId xmlns:a16="http://schemas.microsoft.com/office/drawing/2014/main" id="{17E8A00A-8BAB-4867-96A1-FB337218003C}"/>
                    </a:ext>
                  </a:extLst>
                </p:cNvPr>
                <p:cNvSpPr/>
                <p:nvPr/>
              </p:nvSpPr>
              <p:spPr>
                <a:xfrm>
                  <a:off x="2657255"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785" name="Freihandform: Form 784">
                  <a:extLst>
                    <a:ext uri="{FF2B5EF4-FFF2-40B4-BE49-F238E27FC236}">
                      <a16:creationId xmlns:a16="http://schemas.microsoft.com/office/drawing/2014/main" id="{42D1FCB4-E49F-4FE9-A0A8-F6996FB6926A}"/>
                    </a:ext>
                  </a:extLst>
                </p:cNvPr>
                <p:cNvSpPr/>
                <p:nvPr/>
              </p:nvSpPr>
              <p:spPr>
                <a:xfrm>
                  <a:off x="2696656"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sp>
              <p:nvSpPr>
                <p:cNvPr id="786" name="Freihandform: Form 785">
                  <a:extLst>
                    <a:ext uri="{FF2B5EF4-FFF2-40B4-BE49-F238E27FC236}">
                      <a16:creationId xmlns:a16="http://schemas.microsoft.com/office/drawing/2014/main" id="{F390DF67-703B-472C-8A8B-323E2369D5AC}"/>
                    </a:ext>
                  </a:extLst>
                </p:cNvPr>
                <p:cNvSpPr/>
                <p:nvPr/>
              </p:nvSpPr>
              <p:spPr>
                <a:xfrm>
                  <a:off x="2736086" y="3488137"/>
                  <a:ext cx="13124" cy="13124"/>
                </a:xfrm>
                <a:custGeom>
                  <a:avLst/>
                  <a:gdLst>
                    <a:gd name="connsiteX0" fmla="*/ 0 w 13124"/>
                    <a:gd name="connsiteY0" fmla="*/ 0 h 13124"/>
                    <a:gd name="connsiteX1" fmla="*/ 13124 w 13124"/>
                    <a:gd name="connsiteY1" fmla="*/ 0 h 13124"/>
                    <a:gd name="connsiteX2" fmla="*/ 13124 w 13124"/>
                    <a:gd name="connsiteY2" fmla="*/ 13124 h 13124"/>
                    <a:gd name="connsiteX3" fmla="*/ 0 w 13124"/>
                    <a:gd name="connsiteY3" fmla="*/ 13124 h 13124"/>
                  </a:gdLst>
                  <a:ahLst/>
                  <a:cxnLst>
                    <a:cxn ang="0">
                      <a:pos x="connsiteX0" y="connsiteY0"/>
                    </a:cxn>
                    <a:cxn ang="0">
                      <a:pos x="connsiteX1" y="connsiteY1"/>
                    </a:cxn>
                    <a:cxn ang="0">
                      <a:pos x="connsiteX2" y="connsiteY2"/>
                    </a:cxn>
                    <a:cxn ang="0">
                      <a:pos x="connsiteX3" y="connsiteY3"/>
                    </a:cxn>
                  </a:cxnLst>
                  <a:rect l="l" t="t" r="r" b="b"/>
                  <a:pathLst>
                    <a:path w="13124" h="13124">
                      <a:moveTo>
                        <a:pt x="0" y="0"/>
                      </a:moveTo>
                      <a:lnTo>
                        <a:pt x="13124" y="0"/>
                      </a:lnTo>
                      <a:lnTo>
                        <a:pt x="13124" y="13124"/>
                      </a:lnTo>
                      <a:lnTo>
                        <a:pt x="0" y="13124"/>
                      </a:lnTo>
                      <a:close/>
                    </a:path>
                  </a:pathLst>
                </a:custGeom>
                <a:solidFill>
                  <a:schemeClr val="accent1"/>
                </a:solidFill>
                <a:ln w="2827" cap="flat">
                  <a:noFill/>
                  <a:prstDash val="solid"/>
                  <a:miter/>
                </a:ln>
              </p:spPr>
              <p:txBody>
                <a:bodyPr rtlCol="0" anchor="ctr"/>
                <a:lstStyle/>
                <a:p>
                  <a:endParaRPr lang="en-GB" dirty="0"/>
                </a:p>
              </p:txBody>
            </p:sp>
          </p:grpSp>
        </p:grpSp>
        <p:grpSp>
          <p:nvGrpSpPr>
            <p:cNvPr id="774" name="Group 737">
              <a:extLst>
                <a:ext uri="{FF2B5EF4-FFF2-40B4-BE49-F238E27FC236}">
                  <a16:creationId xmlns:a16="http://schemas.microsoft.com/office/drawing/2014/main" id="{19E2A016-CE3D-4058-BC0A-B7A2763E787F}"/>
                </a:ext>
              </a:extLst>
            </p:cNvPr>
            <p:cNvGrpSpPr/>
            <p:nvPr/>
          </p:nvGrpSpPr>
          <p:grpSpPr>
            <a:xfrm>
              <a:off x="2552176" y="3297679"/>
              <a:ext cx="486023" cy="494130"/>
              <a:chOff x="2552176" y="3297679"/>
              <a:chExt cx="486023" cy="494130"/>
            </a:xfrm>
          </p:grpSpPr>
          <p:sp>
            <p:nvSpPr>
              <p:cNvPr id="775" name="Freihandform: Form 774">
                <a:extLst>
                  <a:ext uri="{FF2B5EF4-FFF2-40B4-BE49-F238E27FC236}">
                    <a16:creationId xmlns:a16="http://schemas.microsoft.com/office/drawing/2014/main" id="{61CFA054-5E67-449B-BA3A-20FA803D1A0C}"/>
                  </a:ext>
                </a:extLst>
              </p:cNvPr>
              <p:cNvSpPr/>
              <p:nvPr/>
            </p:nvSpPr>
            <p:spPr>
              <a:xfrm>
                <a:off x="2552176" y="3297679"/>
                <a:ext cx="486023" cy="494130"/>
              </a:xfrm>
              <a:custGeom>
                <a:avLst/>
                <a:gdLst>
                  <a:gd name="connsiteX0" fmla="*/ 243012 w 486023"/>
                  <a:gd name="connsiteY0" fmla="*/ 494131 h 494130"/>
                  <a:gd name="connsiteX1" fmla="*/ 173280 w 486023"/>
                  <a:gd name="connsiteY1" fmla="*/ 354668 h 494130"/>
                  <a:gd name="connsiteX2" fmla="*/ 0 w 486023"/>
                  <a:gd name="connsiteY2" fmla="*/ 354668 h 494130"/>
                  <a:gd name="connsiteX3" fmla="*/ 0 w 486023"/>
                  <a:gd name="connsiteY3" fmla="*/ 0 h 494130"/>
                  <a:gd name="connsiteX4" fmla="*/ 486023 w 486023"/>
                  <a:gd name="connsiteY4" fmla="*/ 0 h 494130"/>
                  <a:gd name="connsiteX5" fmla="*/ 486023 w 486023"/>
                  <a:gd name="connsiteY5" fmla="*/ 354668 h 494130"/>
                  <a:gd name="connsiteX6" fmla="*/ 312743 w 486023"/>
                  <a:gd name="connsiteY6" fmla="*/ 354668 h 494130"/>
                  <a:gd name="connsiteX7" fmla="*/ 243012 w 486023"/>
                  <a:gd name="connsiteY7" fmla="*/ 494131 h 494130"/>
                  <a:gd name="connsiteX8" fmla="*/ 13152 w 486023"/>
                  <a:gd name="connsiteY8" fmla="*/ 341515 h 494130"/>
                  <a:gd name="connsiteX9" fmla="*/ 181416 w 486023"/>
                  <a:gd name="connsiteY9" fmla="*/ 341515 h 494130"/>
                  <a:gd name="connsiteX10" fmla="*/ 243040 w 486023"/>
                  <a:gd name="connsiteY10" fmla="*/ 464736 h 494130"/>
                  <a:gd name="connsiteX11" fmla="*/ 304665 w 486023"/>
                  <a:gd name="connsiteY11" fmla="*/ 341515 h 494130"/>
                  <a:gd name="connsiteX12" fmla="*/ 472928 w 486023"/>
                  <a:gd name="connsiteY12" fmla="*/ 341515 h 494130"/>
                  <a:gd name="connsiteX13" fmla="*/ 472928 w 486023"/>
                  <a:gd name="connsiteY13" fmla="*/ 13124 h 494130"/>
                  <a:gd name="connsiteX14" fmla="*/ 13152 w 486023"/>
                  <a:gd name="connsiteY14" fmla="*/ 13124 h 494130"/>
                  <a:gd name="connsiteX15" fmla="*/ 13152 w 486023"/>
                  <a:gd name="connsiteY15" fmla="*/ 341515 h 494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6023" h="494130">
                    <a:moveTo>
                      <a:pt x="243012" y="494131"/>
                    </a:moveTo>
                    <a:lnTo>
                      <a:pt x="173280" y="354668"/>
                    </a:lnTo>
                    <a:lnTo>
                      <a:pt x="0" y="354668"/>
                    </a:lnTo>
                    <a:lnTo>
                      <a:pt x="0" y="0"/>
                    </a:lnTo>
                    <a:lnTo>
                      <a:pt x="486023" y="0"/>
                    </a:lnTo>
                    <a:lnTo>
                      <a:pt x="486023" y="354668"/>
                    </a:lnTo>
                    <a:lnTo>
                      <a:pt x="312743" y="354668"/>
                    </a:lnTo>
                    <a:lnTo>
                      <a:pt x="243012" y="494131"/>
                    </a:lnTo>
                    <a:close/>
                    <a:moveTo>
                      <a:pt x="13152" y="341515"/>
                    </a:moveTo>
                    <a:lnTo>
                      <a:pt x="181416" y="341515"/>
                    </a:lnTo>
                    <a:lnTo>
                      <a:pt x="243040" y="464736"/>
                    </a:lnTo>
                    <a:lnTo>
                      <a:pt x="304665" y="341515"/>
                    </a:lnTo>
                    <a:lnTo>
                      <a:pt x="472928" y="341515"/>
                    </a:lnTo>
                    <a:lnTo>
                      <a:pt x="472928" y="13124"/>
                    </a:lnTo>
                    <a:lnTo>
                      <a:pt x="13152" y="13124"/>
                    </a:lnTo>
                    <a:lnTo>
                      <a:pt x="13152" y="341515"/>
                    </a:lnTo>
                    <a:close/>
                  </a:path>
                </a:pathLst>
              </a:custGeom>
              <a:solidFill>
                <a:schemeClr val="tx2"/>
              </a:solidFill>
              <a:ln w="2827" cap="flat">
                <a:noFill/>
                <a:prstDash val="solid"/>
                <a:miter/>
              </a:ln>
            </p:spPr>
            <p:txBody>
              <a:bodyPr rtlCol="0" anchor="ctr"/>
              <a:lstStyle/>
              <a:p>
                <a:endParaRPr lang="en-GB" dirty="0"/>
              </a:p>
            </p:txBody>
          </p:sp>
          <p:sp>
            <p:nvSpPr>
              <p:cNvPr id="776" name="Freihandform: Form 775">
                <a:extLst>
                  <a:ext uri="{FF2B5EF4-FFF2-40B4-BE49-F238E27FC236}">
                    <a16:creationId xmlns:a16="http://schemas.microsoft.com/office/drawing/2014/main" id="{B314C041-BB6B-40AE-99FC-F242EA7C0347}"/>
                  </a:ext>
                </a:extLst>
              </p:cNvPr>
              <p:cNvSpPr/>
              <p:nvPr/>
            </p:nvSpPr>
            <p:spPr>
              <a:xfrm>
                <a:off x="2946244" y="3330504"/>
                <a:ext cx="59101" cy="59130"/>
              </a:xfrm>
              <a:custGeom>
                <a:avLst/>
                <a:gdLst>
                  <a:gd name="connsiteX0" fmla="*/ 59102 w 59101"/>
                  <a:gd name="connsiteY0" fmla="*/ 59130 h 59130"/>
                  <a:gd name="connsiteX1" fmla="*/ 45978 w 59101"/>
                  <a:gd name="connsiteY1" fmla="*/ 59130 h 59130"/>
                  <a:gd name="connsiteX2" fmla="*/ 45978 w 59101"/>
                  <a:gd name="connsiteY2" fmla="*/ 13153 h 59130"/>
                  <a:gd name="connsiteX3" fmla="*/ 0 w 59101"/>
                  <a:gd name="connsiteY3" fmla="*/ 13153 h 59130"/>
                  <a:gd name="connsiteX4" fmla="*/ 0 w 59101"/>
                  <a:gd name="connsiteY4" fmla="*/ 0 h 59130"/>
                  <a:gd name="connsiteX5" fmla="*/ 59102 w 59101"/>
                  <a:gd name="connsiteY5" fmla="*/ 0 h 5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01" h="59130">
                    <a:moveTo>
                      <a:pt x="59102" y="59130"/>
                    </a:moveTo>
                    <a:lnTo>
                      <a:pt x="45978" y="59130"/>
                    </a:lnTo>
                    <a:lnTo>
                      <a:pt x="45978" y="13153"/>
                    </a:lnTo>
                    <a:lnTo>
                      <a:pt x="0" y="13153"/>
                    </a:lnTo>
                    <a:lnTo>
                      <a:pt x="0" y="0"/>
                    </a:lnTo>
                    <a:lnTo>
                      <a:pt x="59102" y="0"/>
                    </a:lnTo>
                    <a:close/>
                  </a:path>
                </a:pathLst>
              </a:custGeom>
              <a:solidFill>
                <a:schemeClr val="tx2"/>
              </a:solidFill>
              <a:ln w="2827" cap="flat">
                <a:noFill/>
                <a:prstDash val="solid"/>
                <a:miter/>
              </a:ln>
            </p:spPr>
            <p:txBody>
              <a:bodyPr rtlCol="0" anchor="ctr"/>
              <a:lstStyle/>
              <a:p>
                <a:endParaRPr lang="en-GB" dirty="0"/>
              </a:p>
            </p:txBody>
          </p:sp>
          <p:sp>
            <p:nvSpPr>
              <p:cNvPr id="777" name="Freihandform: Form 776">
                <a:extLst>
                  <a:ext uri="{FF2B5EF4-FFF2-40B4-BE49-F238E27FC236}">
                    <a16:creationId xmlns:a16="http://schemas.microsoft.com/office/drawing/2014/main" id="{466E1A3B-784E-4EE9-BEAB-99A9ED39592B}"/>
                  </a:ext>
                </a:extLst>
              </p:cNvPr>
              <p:cNvSpPr/>
              <p:nvPr/>
            </p:nvSpPr>
            <p:spPr>
              <a:xfrm>
                <a:off x="2585029" y="3330504"/>
                <a:ext cx="59101" cy="59130"/>
              </a:xfrm>
              <a:custGeom>
                <a:avLst/>
                <a:gdLst>
                  <a:gd name="connsiteX0" fmla="*/ 13124 w 59101"/>
                  <a:gd name="connsiteY0" fmla="*/ 59130 h 59130"/>
                  <a:gd name="connsiteX1" fmla="*/ 0 w 59101"/>
                  <a:gd name="connsiteY1" fmla="*/ 59130 h 59130"/>
                  <a:gd name="connsiteX2" fmla="*/ 0 w 59101"/>
                  <a:gd name="connsiteY2" fmla="*/ 0 h 59130"/>
                  <a:gd name="connsiteX3" fmla="*/ 59102 w 59101"/>
                  <a:gd name="connsiteY3" fmla="*/ 0 h 59130"/>
                  <a:gd name="connsiteX4" fmla="*/ 59102 w 59101"/>
                  <a:gd name="connsiteY4" fmla="*/ 13153 h 59130"/>
                  <a:gd name="connsiteX5" fmla="*/ 13124 w 59101"/>
                  <a:gd name="connsiteY5" fmla="*/ 13153 h 5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01" h="59130">
                    <a:moveTo>
                      <a:pt x="13124" y="59130"/>
                    </a:moveTo>
                    <a:lnTo>
                      <a:pt x="0" y="59130"/>
                    </a:lnTo>
                    <a:lnTo>
                      <a:pt x="0" y="0"/>
                    </a:lnTo>
                    <a:lnTo>
                      <a:pt x="59102" y="0"/>
                    </a:lnTo>
                    <a:lnTo>
                      <a:pt x="59102" y="13153"/>
                    </a:lnTo>
                    <a:lnTo>
                      <a:pt x="13124" y="13153"/>
                    </a:lnTo>
                    <a:close/>
                  </a:path>
                </a:pathLst>
              </a:custGeom>
              <a:solidFill>
                <a:schemeClr val="tx2"/>
              </a:solidFill>
              <a:ln w="2827" cap="flat">
                <a:noFill/>
                <a:prstDash val="solid"/>
                <a:miter/>
              </a:ln>
            </p:spPr>
            <p:txBody>
              <a:bodyPr rtlCol="0" anchor="ctr"/>
              <a:lstStyle/>
              <a:p>
                <a:endParaRPr lang="en-GB" dirty="0"/>
              </a:p>
            </p:txBody>
          </p:sp>
          <p:sp>
            <p:nvSpPr>
              <p:cNvPr id="778" name="Freihandform: Form 777">
                <a:extLst>
                  <a:ext uri="{FF2B5EF4-FFF2-40B4-BE49-F238E27FC236}">
                    <a16:creationId xmlns:a16="http://schemas.microsoft.com/office/drawing/2014/main" id="{0F4C880E-FA7E-4A41-9E44-904D999BE9ED}"/>
                  </a:ext>
                </a:extLst>
              </p:cNvPr>
              <p:cNvSpPr/>
              <p:nvPr/>
            </p:nvSpPr>
            <p:spPr>
              <a:xfrm>
                <a:off x="2946244" y="3560392"/>
                <a:ext cx="59101" cy="59101"/>
              </a:xfrm>
              <a:custGeom>
                <a:avLst/>
                <a:gdLst>
                  <a:gd name="connsiteX0" fmla="*/ 59102 w 59101"/>
                  <a:gd name="connsiteY0" fmla="*/ 59102 h 59101"/>
                  <a:gd name="connsiteX1" fmla="*/ 0 w 59101"/>
                  <a:gd name="connsiteY1" fmla="*/ 59102 h 59101"/>
                  <a:gd name="connsiteX2" fmla="*/ 0 w 59101"/>
                  <a:gd name="connsiteY2" fmla="*/ 45977 h 59101"/>
                  <a:gd name="connsiteX3" fmla="*/ 45978 w 59101"/>
                  <a:gd name="connsiteY3" fmla="*/ 45977 h 59101"/>
                  <a:gd name="connsiteX4" fmla="*/ 45978 w 59101"/>
                  <a:gd name="connsiteY4" fmla="*/ 0 h 59101"/>
                  <a:gd name="connsiteX5" fmla="*/ 59102 w 59101"/>
                  <a:gd name="connsiteY5" fmla="*/ 0 h 5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01" h="59101">
                    <a:moveTo>
                      <a:pt x="59102" y="59102"/>
                    </a:moveTo>
                    <a:lnTo>
                      <a:pt x="0" y="59102"/>
                    </a:lnTo>
                    <a:lnTo>
                      <a:pt x="0" y="45977"/>
                    </a:lnTo>
                    <a:lnTo>
                      <a:pt x="45978" y="45977"/>
                    </a:lnTo>
                    <a:lnTo>
                      <a:pt x="45978" y="0"/>
                    </a:lnTo>
                    <a:lnTo>
                      <a:pt x="59102" y="0"/>
                    </a:lnTo>
                    <a:close/>
                  </a:path>
                </a:pathLst>
              </a:custGeom>
              <a:solidFill>
                <a:schemeClr val="tx2"/>
              </a:solidFill>
              <a:ln w="2827" cap="flat">
                <a:noFill/>
                <a:prstDash val="solid"/>
                <a:miter/>
              </a:ln>
            </p:spPr>
            <p:txBody>
              <a:bodyPr rtlCol="0" anchor="ctr"/>
              <a:lstStyle/>
              <a:p>
                <a:endParaRPr lang="en-GB" dirty="0"/>
              </a:p>
            </p:txBody>
          </p:sp>
          <p:sp>
            <p:nvSpPr>
              <p:cNvPr id="779" name="Freihandform: Form 778">
                <a:extLst>
                  <a:ext uri="{FF2B5EF4-FFF2-40B4-BE49-F238E27FC236}">
                    <a16:creationId xmlns:a16="http://schemas.microsoft.com/office/drawing/2014/main" id="{C1BBC838-06CC-4CBD-80AE-756E4E328B14}"/>
                  </a:ext>
                </a:extLst>
              </p:cNvPr>
              <p:cNvSpPr/>
              <p:nvPr/>
            </p:nvSpPr>
            <p:spPr>
              <a:xfrm>
                <a:off x="2585029" y="3560392"/>
                <a:ext cx="59101" cy="59101"/>
              </a:xfrm>
              <a:custGeom>
                <a:avLst/>
                <a:gdLst>
                  <a:gd name="connsiteX0" fmla="*/ 59102 w 59101"/>
                  <a:gd name="connsiteY0" fmla="*/ 59102 h 59101"/>
                  <a:gd name="connsiteX1" fmla="*/ 0 w 59101"/>
                  <a:gd name="connsiteY1" fmla="*/ 59102 h 59101"/>
                  <a:gd name="connsiteX2" fmla="*/ 0 w 59101"/>
                  <a:gd name="connsiteY2" fmla="*/ 0 h 59101"/>
                  <a:gd name="connsiteX3" fmla="*/ 13124 w 59101"/>
                  <a:gd name="connsiteY3" fmla="*/ 0 h 59101"/>
                  <a:gd name="connsiteX4" fmla="*/ 13124 w 59101"/>
                  <a:gd name="connsiteY4" fmla="*/ 45977 h 59101"/>
                  <a:gd name="connsiteX5" fmla="*/ 59102 w 59101"/>
                  <a:gd name="connsiteY5" fmla="*/ 45977 h 59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101" h="59101">
                    <a:moveTo>
                      <a:pt x="59102" y="59102"/>
                    </a:moveTo>
                    <a:lnTo>
                      <a:pt x="0" y="59102"/>
                    </a:lnTo>
                    <a:lnTo>
                      <a:pt x="0" y="0"/>
                    </a:lnTo>
                    <a:lnTo>
                      <a:pt x="13124" y="0"/>
                    </a:lnTo>
                    <a:lnTo>
                      <a:pt x="13124" y="45977"/>
                    </a:lnTo>
                    <a:lnTo>
                      <a:pt x="59102" y="45977"/>
                    </a:lnTo>
                    <a:close/>
                  </a:path>
                </a:pathLst>
              </a:custGeom>
              <a:solidFill>
                <a:schemeClr val="tx2"/>
              </a:solidFill>
              <a:ln w="2827" cap="flat">
                <a:noFill/>
                <a:prstDash val="solid"/>
                <a:miter/>
              </a:ln>
            </p:spPr>
            <p:txBody>
              <a:bodyPr rtlCol="0" anchor="ctr"/>
              <a:lstStyle/>
              <a:p>
                <a:endParaRPr lang="en-GB" dirty="0"/>
              </a:p>
            </p:txBody>
          </p:sp>
        </p:grpSp>
      </p:grpSp>
      <p:sp>
        <p:nvSpPr>
          <p:cNvPr id="790" name="TextBox 1427">
            <a:extLst>
              <a:ext uri="{FF2B5EF4-FFF2-40B4-BE49-F238E27FC236}">
                <a16:creationId xmlns:a16="http://schemas.microsoft.com/office/drawing/2014/main" id="{3AE3440D-517C-48FD-A321-9C9A3AA0C3B2}"/>
              </a:ext>
            </a:extLst>
          </p:cNvPr>
          <p:cNvSpPr txBox="1"/>
          <p:nvPr/>
        </p:nvSpPr>
        <p:spPr>
          <a:xfrm>
            <a:off x="2767899" y="3723675"/>
            <a:ext cx="234038" cy="107722"/>
          </a:xfrm>
          <a:prstGeom prst="rect">
            <a:avLst/>
          </a:prstGeom>
          <a:noFill/>
          <a:effectLst/>
        </p:spPr>
        <p:txBody>
          <a:bodyPr wrap="none" lIns="0" tIns="0" rIns="0" bIns="0" rtlCol="0" anchor="t" anchorCtr="0">
            <a:spAutoFit/>
          </a:bodyPr>
          <a:lstStyle/>
          <a:p>
            <a:pPr algn="ctr"/>
            <a:r>
              <a:rPr lang="en-GB" sz="700" dirty="0">
                <a:solidFill>
                  <a:schemeClr val="tx2"/>
                </a:solidFill>
              </a:rPr>
              <a:t>About</a:t>
            </a:r>
          </a:p>
        </p:txBody>
      </p:sp>
      <p:sp>
        <p:nvSpPr>
          <p:cNvPr id="791" name="TextBox 1425">
            <a:extLst>
              <a:ext uri="{FF2B5EF4-FFF2-40B4-BE49-F238E27FC236}">
                <a16:creationId xmlns:a16="http://schemas.microsoft.com/office/drawing/2014/main" id="{5E6FAD7B-4600-4C21-881C-3F79825BBD2D}"/>
              </a:ext>
            </a:extLst>
          </p:cNvPr>
          <p:cNvSpPr txBox="1"/>
          <p:nvPr/>
        </p:nvSpPr>
        <p:spPr>
          <a:xfrm>
            <a:off x="557608" y="3723675"/>
            <a:ext cx="472885" cy="107722"/>
          </a:xfrm>
          <a:prstGeom prst="rect">
            <a:avLst/>
          </a:prstGeom>
          <a:noFill/>
          <a:effectLst/>
        </p:spPr>
        <p:txBody>
          <a:bodyPr wrap="none" lIns="0" tIns="0" rIns="0" bIns="0" rtlCol="0" anchor="t" anchorCtr="0">
            <a:spAutoFit/>
          </a:bodyPr>
          <a:lstStyle/>
          <a:p>
            <a:pPr algn="ctr"/>
            <a:r>
              <a:rPr lang="en-GB" sz="700" dirty="0">
                <a:solidFill>
                  <a:schemeClr val="tx2"/>
                </a:solidFill>
              </a:rPr>
              <a:t>Productions</a:t>
            </a:r>
          </a:p>
        </p:txBody>
      </p:sp>
      <p:sp>
        <p:nvSpPr>
          <p:cNvPr id="792" name="TextBox 1426">
            <a:extLst>
              <a:ext uri="{FF2B5EF4-FFF2-40B4-BE49-F238E27FC236}">
                <a16:creationId xmlns:a16="http://schemas.microsoft.com/office/drawing/2014/main" id="{5A3EF17F-3D6E-43EE-BDA6-79C20905A025}"/>
              </a:ext>
            </a:extLst>
          </p:cNvPr>
          <p:cNvSpPr txBox="1"/>
          <p:nvPr/>
        </p:nvSpPr>
        <p:spPr>
          <a:xfrm>
            <a:off x="3826156" y="3723675"/>
            <a:ext cx="208390" cy="107722"/>
          </a:xfrm>
          <a:prstGeom prst="rect">
            <a:avLst/>
          </a:prstGeom>
          <a:noFill/>
          <a:effectLst/>
        </p:spPr>
        <p:txBody>
          <a:bodyPr wrap="none" lIns="0" tIns="0" rIns="0" bIns="0" rtlCol="0" anchor="t" anchorCtr="0">
            <a:spAutoFit/>
          </a:bodyPr>
          <a:lstStyle/>
          <a:p>
            <a:pPr algn="ctr"/>
            <a:r>
              <a:rPr lang="en-GB" sz="700" dirty="0">
                <a:solidFill>
                  <a:schemeClr val="tx2"/>
                </a:solidFill>
              </a:rPr>
              <a:t>Shop</a:t>
            </a:r>
          </a:p>
        </p:txBody>
      </p:sp>
      <p:sp>
        <p:nvSpPr>
          <p:cNvPr id="793" name="TextBox 1428">
            <a:extLst>
              <a:ext uri="{FF2B5EF4-FFF2-40B4-BE49-F238E27FC236}">
                <a16:creationId xmlns:a16="http://schemas.microsoft.com/office/drawing/2014/main" id="{C6C5C6D7-1068-4B9F-9C26-7CFE592DAA5D}"/>
              </a:ext>
            </a:extLst>
          </p:cNvPr>
          <p:cNvSpPr txBox="1"/>
          <p:nvPr/>
        </p:nvSpPr>
        <p:spPr>
          <a:xfrm>
            <a:off x="1682390" y="3723675"/>
            <a:ext cx="314189" cy="107722"/>
          </a:xfrm>
          <a:prstGeom prst="rect">
            <a:avLst/>
          </a:prstGeom>
          <a:noFill/>
          <a:effectLst/>
        </p:spPr>
        <p:txBody>
          <a:bodyPr wrap="none" lIns="0" tIns="0" rIns="0" bIns="0" rtlCol="0" anchor="t" anchorCtr="0">
            <a:spAutoFit/>
          </a:bodyPr>
          <a:lstStyle/>
          <a:p>
            <a:pPr algn="ctr"/>
            <a:r>
              <a:rPr lang="en-GB" sz="700" dirty="0">
                <a:solidFill>
                  <a:schemeClr val="tx2"/>
                </a:solidFill>
              </a:rPr>
              <a:t>Support</a:t>
            </a:r>
          </a:p>
        </p:txBody>
      </p:sp>
      <p:grpSp>
        <p:nvGrpSpPr>
          <p:cNvPr id="10" name="Group 9">
            <a:extLst>
              <a:ext uri="{FF2B5EF4-FFF2-40B4-BE49-F238E27FC236}">
                <a16:creationId xmlns:a16="http://schemas.microsoft.com/office/drawing/2014/main" id="{2546001A-1458-5BAF-B997-368F9B20BE0B}"/>
              </a:ext>
            </a:extLst>
          </p:cNvPr>
          <p:cNvGrpSpPr/>
          <p:nvPr/>
        </p:nvGrpSpPr>
        <p:grpSpPr>
          <a:xfrm>
            <a:off x="4984623" y="1626717"/>
            <a:ext cx="457296" cy="432001"/>
            <a:chOff x="4984211" y="1626717"/>
            <a:chExt cx="457296" cy="432001"/>
          </a:xfrm>
        </p:grpSpPr>
        <p:grpSp>
          <p:nvGrpSpPr>
            <p:cNvPr id="795" name="Grafik 114">
              <a:extLst>
                <a:ext uri="{FF2B5EF4-FFF2-40B4-BE49-F238E27FC236}">
                  <a16:creationId xmlns:a16="http://schemas.microsoft.com/office/drawing/2014/main" id="{08D101BC-2661-42CB-847F-D3FD2AC3664D}"/>
                </a:ext>
              </a:extLst>
            </p:cNvPr>
            <p:cNvGrpSpPr/>
            <p:nvPr/>
          </p:nvGrpSpPr>
          <p:grpSpPr>
            <a:xfrm>
              <a:off x="5097677" y="1781673"/>
              <a:ext cx="343830" cy="277045"/>
              <a:chOff x="5358756" y="1834780"/>
              <a:chExt cx="406587" cy="327612"/>
            </a:xfrm>
            <a:solidFill>
              <a:schemeClr val="tx2"/>
            </a:solidFill>
          </p:grpSpPr>
          <p:grpSp>
            <p:nvGrpSpPr>
              <p:cNvPr id="802" name="Grafik 114">
                <a:extLst>
                  <a:ext uri="{FF2B5EF4-FFF2-40B4-BE49-F238E27FC236}">
                    <a16:creationId xmlns:a16="http://schemas.microsoft.com/office/drawing/2014/main" id="{6E3DD476-6388-484E-949D-F23960874695}"/>
                  </a:ext>
                </a:extLst>
              </p:cNvPr>
              <p:cNvGrpSpPr/>
              <p:nvPr/>
            </p:nvGrpSpPr>
            <p:grpSpPr>
              <a:xfrm>
                <a:off x="5358756" y="1834780"/>
                <a:ext cx="406587" cy="136252"/>
                <a:chOff x="5358756" y="1834780"/>
                <a:chExt cx="406587" cy="136252"/>
              </a:xfrm>
              <a:grpFill/>
            </p:grpSpPr>
            <p:sp>
              <p:nvSpPr>
                <p:cNvPr id="809" name="Freihandform: Form 808">
                  <a:extLst>
                    <a:ext uri="{FF2B5EF4-FFF2-40B4-BE49-F238E27FC236}">
                      <a16:creationId xmlns:a16="http://schemas.microsoft.com/office/drawing/2014/main" id="{CEC61F8D-DCDE-4F72-A1A6-4E307E4E5587}"/>
                    </a:ext>
                  </a:extLst>
                </p:cNvPr>
                <p:cNvSpPr/>
                <p:nvPr/>
              </p:nvSpPr>
              <p:spPr>
                <a:xfrm>
                  <a:off x="5358756" y="1834780"/>
                  <a:ext cx="406587" cy="136252"/>
                </a:xfrm>
                <a:custGeom>
                  <a:avLst/>
                  <a:gdLst>
                    <a:gd name="connsiteX0" fmla="*/ 203294 w 406587"/>
                    <a:gd name="connsiteY0" fmla="*/ 136253 h 136252"/>
                    <a:gd name="connsiteX1" fmla="*/ 0 w 406587"/>
                    <a:gd name="connsiteY1" fmla="*/ 68126 h 136252"/>
                    <a:gd name="connsiteX2" fmla="*/ 203294 w 406587"/>
                    <a:gd name="connsiteY2" fmla="*/ 0 h 136252"/>
                    <a:gd name="connsiteX3" fmla="*/ 406588 w 406587"/>
                    <a:gd name="connsiteY3" fmla="*/ 68126 h 136252"/>
                    <a:gd name="connsiteX4" fmla="*/ 203294 w 406587"/>
                    <a:gd name="connsiteY4" fmla="*/ 136253 h 136252"/>
                    <a:gd name="connsiteX5" fmla="*/ 203294 w 406587"/>
                    <a:gd name="connsiteY5" fmla="*/ 9903 h 136252"/>
                    <a:gd name="connsiteX6" fmla="*/ 9903 w 406587"/>
                    <a:gd name="connsiteY6" fmla="*/ 68126 h 136252"/>
                    <a:gd name="connsiteX7" fmla="*/ 203294 w 406587"/>
                    <a:gd name="connsiteY7" fmla="*/ 126349 h 136252"/>
                    <a:gd name="connsiteX8" fmla="*/ 396684 w 406587"/>
                    <a:gd name="connsiteY8" fmla="*/ 68126 h 136252"/>
                    <a:gd name="connsiteX9" fmla="*/ 203294 w 406587"/>
                    <a:gd name="connsiteY9" fmla="*/ 9903 h 136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587" h="136252">
                      <a:moveTo>
                        <a:pt x="203294" y="136253"/>
                      </a:moveTo>
                      <a:cubicBezTo>
                        <a:pt x="103344" y="136253"/>
                        <a:pt x="0" y="110771"/>
                        <a:pt x="0" y="68126"/>
                      </a:cubicBezTo>
                      <a:cubicBezTo>
                        <a:pt x="0" y="25481"/>
                        <a:pt x="103372" y="0"/>
                        <a:pt x="203294" y="0"/>
                      </a:cubicBezTo>
                      <a:cubicBezTo>
                        <a:pt x="303244" y="0"/>
                        <a:pt x="406588" y="25481"/>
                        <a:pt x="406588" y="68126"/>
                      </a:cubicBezTo>
                      <a:cubicBezTo>
                        <a:pt x="406615" y="110771"/>
                        <a:pt x="303244" y="136253"/>
                        <a:pt x="203294" y="136253"/>
                      </a:cubicBezTo>
                      <a:close/>
                      <a:moveTo>
                        <a:pt x="203294" y="9903"/>
                      </a:moveTo>
                      <a:cubicBezTo>
                        <a:pt x="87599" y="9903"/>
                        <a:pt x="9903" y="40002"/>
                        <a:pt x="9903" y="68126"/>
                      </a:cubicBezTo>
                      <a:cubicBezTo>
                        <a:pt x="9903" y="96250"/>
                        <a:pt x="87627" y="126349"/>
                        <a:pt x="203294" y="126349"/>
                      </a:cubicBezTo>
                      <a:cubicBezTo>
                        <a:pt x="318989" y="126349"/>
                        <a:pt x="396684" y="96250"/>
                        <a:pt x="396684" y="68126"/>
                      </a:cubicBezTo>
                      <a:cubicBezTo>
                        <a:pt x="396712" y="40002"/>
                        <a:pt x="318989" y="9903"/>
                        <a:pt x="203294" y="9903"/>
                      </a:cubicBezTo>
                      <a:close/>
                    </a:path>
                  </a:pathLst>
                </a:custGeom>
                <a:grpFill/>
                <a:ln w="2775" cap="flat">
                  <a:noFill/>
                  <a:prstDash val="solid"/>
                  <a:miter/>
                </a:ln>
              </p:spPr>
              <p:txBody>
                <a:bodyPr rtlCol="0" anchor="ctr"/>
                <a:lstStyle/>
                <a:p>
                  <a:endParaRPr lang="en-GB" dirty="0"/>
                </a:p>
              </p:txBody>
            </p:sp>
            <p:sp>
              <p:nvSpPr>
                <p:cNvPr id="810" name="Freihandform: Form 809">
                  <a:extLst>
                    <a:ext uri="{FF2B5EF4-FFF2-40B4-BE49-F238E27FC236}">
                      <a16:creationId xmlns:a16="http://schemas.microsoft.com/office/drawing/2014/main" id="{036944D7-14DF-4FD5-B982-44C2E4162E6A}"/>
                    </a:ext>
                  </a:extLst>
                </p:cNvPr>
                <p:cNvSpPr/>
                <p:nvPr/>
              </p:nvSpPr>
              <p:spPr>
                <a:xfrm>
                  <a:off x="5440429" y="1863906"/>
                  <a:ext cx="243240" cy="62395"/>
                </a:xfrm>
                <a:custGeom>
                  <a:avLst/>
                  <a:gdLst>
                    <a:gd name="connsiteX0" fmla="*/ 121620 w 243240"/>
                    <a:gd name="connsiteY0" fmla="*/ 62396 h 62395"/>
                    <a:gd name="connsiteX1" fmla="*/ 0 w 243240"/>
                    <a:gd name="connsiteY1" fmla="*/ 30433 h 62395"/>
                    <a:gd name="connsiteX2" fmla="*/ 121620 w 243240"/>
                    <a:gd name="connsiteY2" fmla="*/ 0 h 62395"/>
                    <a:gd name="connsiteX3" fmla="*/ 243240 w 243240"/>
                    <a:gd name="connsiteY3" fmla="*/ 30433 h 62395"/>
                    <a:gd name="connsiteX4" fmla="*/ 121620 w 243240"/>
                    <a:gd name="connsiteY4" fmla="*/ 62396 h 62395"/>
                    <a:gd name="connsiteX5" fmla="*/ 121620 w 243240"/>
                    <a:gd name="connsiteY5" fmla="*/ 9875 h 62395"/>
                    <a:gd name="connsiteX6" fmla="*/ 9903 w 243240"/>
                    <a:gd name="connsiteY6" fmla="*/ 30405 h 62395"/>
                    <a:gd name="connsiteX7" fmla="*/ 121620 w 243240"/>
                    <a:gd name="connsiteY7" fmla="*/ 52465 h 62395"/>
                    <a:gd name="connsiteX8" fmla="*/ 233337 w 243240"/>
                    <a:gd name="connsiteY8" fmla="*/ 30405 h 62395"/>
                    <a:gd name="connsiteX9" fmla="*/ 121620 w 243240"/>
                    <a:gd name="connsiteY9" fmla="*/ 9875 h 62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3240" h="62395">
                      <a:moveTo>
                        <a:pt x="121620" y="62396"/>
                      </a:moveTo>
                      <a:cubicBezTo>
                        <a:pt x="12602" y="62396"/>
                        <a:pt x="0" y="44147"/>
                        <a:pt x="0" y="30433"/>
                      </a:cubicBezTo>
                      <a:cubicBezTo>
                        <a:pt x="0" y="9096"/>
                        <a:pt x="36386" y="0"/>
                        <a:pt x="121620" y="0"/>
                      </a:cubicBezTo>
                      <a:cubicBezTo>
                        <a:pt x="206882" y="0"/>
                        <a:pt x="243240" y="9096"/>
                        <a:pt x="243240" y="30433"/>
                      </a:cubicBezTo>
                      <a:cubicBezTo>
                        <a:pt x="243268" y="44147"/>
                        <a:pt x="230667" y="62396"/>
                        <a:pt x="121620" y="62396"/>
                      </a:cubicBezTo>
                      <a:close/>
                      <a:moveTo>
                        <a:pt x="121620" y="9875"/>
                      </a:moveTo>
                      <a:cubicBezTo>
                        <a:pt x="29292" y="9875"/>
                        <a:pt x="9903" y="21030"/>
                        <a:pt x="9903" y="30405"/>
                      </a:cubicBezTo>
                      <a:cubicBezTo>
                        <a:pt x="9903" y="35579"/>
                        <a:pt x="17970" y="52465"/>
                        <a:pt x="121620" y="52465"/>
                      </a:cubicBezTo>
                      <a:cubicBezTo>
                        <a:pt x="225298" y="52465"/>
                        <a:pt x="233337" y="35579"/>
                        <a:pt x="233337" y="30405"/>
                      </a:cubicBezTo>
                      <a:cubicBezTo>
                        <a:pt x="233365" y="21058"/>
                        <a:pt x="213976" y="9875"/>
                        <a:pt x="121620" y="9875"/>
                      </a:cubicBezTo>
                      <a:close/>
                    </a:path>
                  </a:pathLst>
                </a:custGeom>
                <a:grpFill/>
                <a:ln w="2775" cap="flat">
                  <a:noFill/>
                  <a:prstDash val="solid"/>
                  <a:miter/>
                </a:ln>
              </p:spPr>
              <p:txBody>
                <a:bodyPr rtlCol="0" anchor="ctr"/>
                <a:lstStyle/>
                <a:p>
                  <a:endParaRPr lang="en-GB" dirty="0"/>
                </a:p>
              </p:txBody>
            </p:sp>
          </p:grpSp>
          <p:grpSp>
            <p:nvGrpSpPr>
              <p:cNvPr id="803" name="Grafik 114">
                <a:extLst>
                  <a:ext uri="{FF2B5EF4-FFF2-40B4-BE49-F238E27FC236}">
                    <a16:creationId xmlns:a16="http://schemas.microsoft.com/office/drawing/2014/main" id="{0D66C2EC-144A-4D71-94AA-2C923F5F3AFE}"/>
                  </a:ext>
                </a:extLst>
              </p:cNvPr>
              <p:cNvGrpSpPr/>
              <p:nvPr/>
            </p:nvGrpSpPr>
            <p:grpSpPr>
              <a:xfrm>
                <a:off x="5438458" y="1950394"/>
                <a:ext cx="247186" cy="211998"/>
                <a:chOff x="5438458" y="1950394"/>
                <a:chExt cx="247186" cy="211998"/>
              </a:xfrm>
              <a:grpFill/>
            </p:grpSpPr>
            <p:sp>
              <p:nvSpPr>
                <p:cNvPr id="806" name="Freihandform: Form 805">
                  <a:extLst>
                    <a:ext uri="{FF2B5EF4-FFF2-40B4-BE49-F238E27FC236}">
                      <a16:creationId xmlns:a16="http://schemas.microsoft.com/office/drawing/2014/main" id="{088E4A24-539D-4CDE-9614-3F8B7586CF03}"/>
                    </a:ext>
                  </a:extLst>
                </p:cNvPr>
                <p:cNvSpPr/>
                <p:nvPr/>
              </p:nvSpPr>
              <p:spPr>
                <a:xfrm>
                  <a:off x="5668626" y="1950394"/>
                  <a:ext cx="16987" cy="169298"/>
                </a:xfrm>
                <a:custGeom>
                  <a:avLst/>
                  <a:gdLst>
                    <a:gd name="connsiteX0" fmla="*/ 12040 w 16987"/>
                    <a:gd name="connsiteY0" fmla="*/ 169298 h 169298"/>
                    <a:gd name="connsiteX1" fmla="*/ 7144 w 16987"/>
                    <a:gd name="connsiteY1" fmla="*/ 165070 h 169298"/>
                    <a:gd name="connsiteX2" fmla="*/ 2220 w 16987"/>
                    <a:gd name="connsiteY2" fmla="*/ 4477 h 169298"/>
                    <a:gd name="connsiteX3" fmla="*/ 7617 w 16987"/>
                    <a:gd name="connsiteY3" fmla="*/ 26 h 169298"/>
                    <a:gd name="connsiteX4" fmla="*/ 12068 w 16987"/>
                    <a:gd name="connsiteY4" fmla="*/ 5423 h 169298"/>
                    <a:gd name="connsiteX5" fmla="*/ 16936 w 16987"/>
                    <a:gd name="connsiteY5" fmla="*/ 163596 h 169298"/>
                    <a:gd name="connsiteX6" fmla="*/ 12763 w 16987"/>
                    <a:gd name="connsiteY6" fmla="*/ 169215 h 169298"/>
                    <a:gd name="connsiteX7" fmla="*/ 12040 w 16987"/>
                    <a:gd name="connsiteY7" fmla="*/ 169298 h 16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87" h="169298">
                      <a:moveTo>
                        <a:pt x="12040" y="169298"/>
                      </a:moveTo>
                      <a:cubicBezTo>
                        <a:pt x="9620" y="169298"/>
                        <a:pt x="7505" y="167518"/>
                        <a:pt x="7144" y="165070"/>
                      </a:cubicBezTo>
                      <a:cubicBezTo>
                        <a:pt x="-5152" y="82423"/>
                        <a:pt x="2137" y="5256"/>
                        <a:pt x="2220" y="4477"/>
                      </a:cubicBezTo>
                      <a:cubicBezTo>
                        <a:pt x="2498" y="1751"/>
                        <a:pt x="4891" y="-252"/>
                        <a:pt x="7617" y="26"/>
                      </a:cubicBezTo>
                      <a:cubicBezTo>
                        <a:pt x="10343" y="304"/>
                        <a:pt x="12318" y="2724"/>
                        <a:pt x="12068" y="5423"/>
                      </a:cubicBezTo>
                      <a:cubicBezTo>
                        <a:pt x="11984" y="6174"/>
                        <a:pt x="4835" y="82172"/>
                        <a:pt x="16936" y="163596"/>
                      </a:cubicBezTo>
                      <a:cubicBezTo>
                        <a:pt x="17325" y="166294"/>
                        <a:pt x="15461" y="168825"/>
                        <a:pt x="12763" y="169215"/>
                      </a:cubicBezTo>
                      <a:cubicBezTo>
                        <a:pt x="12541" y="169298"/>
                        <a:pt x="12290" y="169298"/>
                        <a:pt x="12040" y="169298"/>
                      </a:cubicBezTo>
                      <a:close/>
                    </a:path>
                  </a:pathLst>
                </a:custGeom>
                <a:grpFill/>
                <a:ln w="2775" cap="flat">
                  <a:noFill/>
                  <a:prstDash val="solid"/>
                  <a:miter/>
                </a:ln>
              </p:spPr>
              <p:txBody>
                <a:bodyPr rtlCol="0" anchor="ctr"/>
                <a:lstStyle/>
                <a:p>
                  <a:endParaRPr lang="en-GB" dirty="0"/>
                </a:p>
              </p:txBody>
            </p:sp>
            <p:sp>
              <p:nvSpPr>
                <p:cNvPr id="807" name="Freihandform: Form 806">
                  <a:extLst>
                    <a:ext uri="{FF2B5EF4-FFF2-40B4-BE49-F238E27FC236}">
                      <a16:creationId xmlns:a16="http://schemas.microsoft.com/office/drawing/2014/main" id="{F1F22C6F-B3EB-47D0-AD39-E653181C4B5E}"/>
                    </a:ext>
                  </a:extLst>
                </p:cNvPr>
                <p:cNvSpPr/>
                <p:nvPr/>
              </p:nvSpPr>
              <p:spPr>
                <a:xfrm>
                  <a:off x="5438458" y="1950422"/>
                  <a:ext cx="16987" cy="169270"/>
                </a:xfrm>
                <a:custGeom>
                  <a:avLst/>
                  <a:gdLst>
                    <a:gd name="connsiteX0" fmla="*/ 4947 w 16987"/>
                    <a:gd name="connsiteY0" fmla="*/ 169270 h 169270"/>
                    <a:gd name="connsiteX1" fmla="*/ 4224 w 16987"/>
                    <a:gd name="connsiteY1" fmla="*/ 169215 h 169270"/>
                    <a:gd name="connsiteX2" fmla="*/ 51 w 16987"/>
                    <a:gd name="connsiteY2" fmla="*/ 163596 h 169270"/>
                    <a:gd name="connsiteX3" fmla="*/ 4920 w 16987"/>
                    <a:gd name="connsiteY3" fmla="*/ 5423 h 169270"/>
                    <a:gd name="connsiteX4" fmla="*/ 9370 w 16987"/>
                    <a:gd name="connsiteY4" fmla="*/ 26 h 169270"/>
                    <a:gd name="connsiteX5" fmla="*/ 14767 w 16987"/>
                    <a:gd name="connsiteY5" fmla="*/ 4477 h 169270"/>
                    <a:gd name="connsiteX6" fmla="*/ 9843 w 16987"/>
                    <a:gd name="connsiteY6" fmla="*/ 165070 h 169270"/>
                    <a:gd name="connsiteX7" fmla="*/ 4947 w 16987"/>
                    <a:gd name="connsiteY7" fmla="*/ 169270 h 16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987" h="169270">
                      <a:moveTo>
                        <a:pt x="4947" y="169270"/>
                      </a:moveTo>
                      <a:cubicBezTo>
                        <a:pt x="4697" y="169270"/>
                        <a:pt x="4447" y="169243"/>
                        <a:pt x="4224" y="169215"/>
                      </a:cubicBezTo>
                      <a:cubicBezTo>
                        <a:pt x="1526" y="168825"/>
                        <a:pt x="-338" y="166294"/>
                        <a:pt x="51" y="163596"/>
                      </a:cubicBezTo>
                      <a:cubicBezTo>
                        <a:pt x="12152" y="82172"/>
                        <a:pt x="4975" y="6201"/>
                        <a:pt x="4920" y="5423"/>
                      </a:cubicBezTo>
                      <a:cubicBezTo>
                        <a:pt x="4669" y="2696"/>
                        <a:pt x="6644" y="276"/>
                        <a:pt x="9370" y="26"/>
                      </a:cubicBezTo>
                      <a:cubicBezTo>
                        <a:pt x="12069" y="-252"/>
                        <a:pt x="14517" y="1751"/>
                        <a:pt x="14767" y="4477"/>
                      </a:cubicBezTo>
                      <a:cubicBezTo>
                        <a:pt x="14851" y="5256"/>
                        <a:pt x="22139" y="82395"/>
                        <a:pt x="9843" y="165070"/>
                      </a:cubicBezTo>
                      <a:cubicBezTo>
                        <a:pt x="9454" y="167518"/>
                        <a:pt x="7340" y="169270"/>
                        <a:pt x="4947" y="169270"/>
                      </a:cubicBezTo>
                      <a:close/>
                    </a:path>
                  </a:pathLst>
                </a:custGeom>
                <a:grpFill/>
                <a:ln w="2775" cap="flat">
                  <a:noFill/>
                  <a:prstDash val="solid"/>
                  <a:miter/>
                </a:ln>
              </p:spPr>
              <p:txBody>
                <a:bodyPr rtlCol="0" anchor="ctr"/>
                <a:lstStyle/>
                <a:p>
                  <a:endParaRPr lang="en-GB" dirty="0"/>
                </a:p>
              </p:txBody>
            </p:sp>
            <p:sp>
              <p:nvSpPr>
                <p:cNvPr id="808" name="Freihandform: Form 807">
                  <a:extLst>
                    <a:ext uri="{FF2B5EF4-FFF2-40B4-BE49-F238E27FC236}">
                      <a16:creationId xmlns:a16="http://schemas.microsoft.com/office/drawing/2014/main" id="{46333784-B00E-49AE-9F8D-5FB316C1E0E6}"/>
                    </a:ext>
                  </a:extLst>
                </p:cNvPr>
                <p:cNvSpPr/>
                <p:nvPr/>
              </p:nvSpPr>
              <p:spPr>
                <a:xfrm>
                  <a:off x="5438510" y="2110596"/>
                  <a:ext cx="247134" cy="51797"/>
                </a:xfrm>
                <a:custGeom>
                  <a:avLst/>
                  <a:gdLst>
                    <a:gd name="connsiteX0" fmla="*/ 123567 w 247134"/>
                    <a:gd name="connsiteY0" fmla="*/ 51797 h 51797"/>
                    <a:gd name="connsiteX1" fmla="*/ 0 w 247134"/>
                    <a:gd name="connsiteY1" fmla="*/ 4952 h 51797"/>
                    <a:gd name="connsiteX2" fmla="*/ 4952 w 247134"/>
                    <a:gd name="connsiteY2" fmla="*/ 0 h 51797"/>
                    <a:gd name="connsiteX3" fmla="*/ 9903 w 247134"/>
                    <a:gd name="connsiteY3" fmla="*/ 4952 h 51797"/>
                    <a:gd name="connsiteX4" fmla="*/ 123567 w 247134"/>
                    <a:gd name="connsiteY4" fmla="*/ 41894 h 51797"/>
                    <a:gd name="connsiteX5" fmla="*/ 237232 w 247134"/>
                    <a:gd name="connsiteY5" fmla="*/ 4952 h 51797"/>
                    <a:gd name="connsiteX6" fmla="*/ 242183 w 247134"/>
                    <a:gd name="connsiteY6" fmla="*/ 0 h 51797"/>
                    <a:gd name="connsiteX7" fmla="*/ 247135 w 247134"/>
                    <a:gd name="connsiteY7" fmla="*/ 4952 h 51797"/>
                    <a:gd name="connsiteX8" fmla="*/ 123567 w 247134"/>
                    <a:gd name="connsiteY8" fmla="*/ 51797 h 51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134" h="51797">
                      <a:moveTo>
                        <a:pt x="123567" y="51797"/>
                      </a:moveTo>
                      <a:cubicBezTo>
                        <a:pt x="67959" y="51797"/>
                        <a:pt x="0" y="30183"/>
                        <a:pt x="0" y="4952"/>
                      </a:cubicBezTo>
                      <a:cubicBezTo>
                        <a:pt x="0" y="2225"/>
                        <a:pt x="2225" y="0"/>
                        <a:pt x="4952" y="0"/>
                      </a:cubicBezTo>
                      <a:cubicBezTo>
                        <a:pt x="7678" y="0"/>
                        <a:pt x="9903" y="2225"/>
                        <a:pt x="9903" y="4952"/>
                      </a:cubicBezTo>
                      <a:cubicBezTo>
                        <a:pt x="9903" y="17275"/>
                        <a:pt x="59030" y="41894"/>
                        <a:pt x="123567" y="41894"/>
                      </a:cubicBezTo>
                      <a:cubicBezTo>
                        <a:pt x="188105" y="41894"/>
                        <a:pt x="237232" y="17275"/>
                        <a:pt x="237232" y="4952"/>
                      </a:cubicBezTo>
                      <a:cubicBezTo>
                        <a:pt x="237232" y="2225"/>
                        <a:pt x="239457" y="0"/>
                        <a:pt x="242183" y="0"/>
                      </a:cubicBezTo>
                      <a:cubicBezTo>
                        <a:pt x="244910" y="0"/>
                        <a:pt x="247135" y="2225"/>
                        <a:pt x="247135" y="4952"/>
                      </a:cubicBezTo>
                      <a:cubicBezTo>
                        <a:pt x="247135" y="30183"/>
                        <a:pt x="179176" y="51797"/>
                        <a:pt x="123567" y="51797"/>
                      </a:cubicBezTo>
                      <a:close/>
                    </a:path>
                  </a:pathLst>
                </a:custGeom>
                <a:grpFill/>
                <a:ln w="2775" cap="flat">
                  <a:noFill/>
                  <a:prstDash val="solid"/>
                  <a:miter/>
                </a:ln>
              </p:spPr>
              <p:txBody>
                <a:bodyPr rtlCol="0" anchor="ctr"/>
                <a:lstStyle/>
                <a:p>
                  <a:endParaRPr lang="en-GB" dirty="0"/>
                </a:p>
              </p:txBody>
            </p:sp>
          </p:grpSp>
          <p:sp>
            <p:nvSpPr>
              <p:cNvPr id="804" name="Freihandform: Form 803">
                <a:extLst>
                  <a:ext uri="{FF2B5EF4-FFF2-40B4-BE49-F238E27FC236}">
                    <a16:creationId xmlns:a16="http://schemas.microsoft.com/office/drawing/2014/main" id="{51917F81-04A4-4435-88E5-F5D3A5537547}"/>
                  </a:ext>
                </a:extLst>
              </p:cNvPr>
              <p:cNvSpPr/>
              <p:nvPr/>
            </p:nvSpPr>
            <p:spPr>
              <a:xfrm>
                <a:off x="5445436" y="2011564"/>
                <a:ext cx="233170" cy="49849"/>
              </a:xfrm>
              <a:custGeom>
                <a:avLst/>
                <a:gdLst>
                  <a:gd name="connsiteX0" fmla="*/ 116585 w 233170"/>
                  <a:gd name="connsiteY0" fmla="*/ 49850 h 49849"/>
                  <a:gd name="connsiteX1" fmla="*/ 0 w 233170"/>
                  <a:gd name="connsiteY1" fmla="*/ 4952 h 49849"/>
                  <a:gd name="connsiteX2" fmla="*/ 4952 w 233170"/>
                  <a:gd name="connsiteY2" fmla="*/ 0 h 49849"/>
                  <a:gd name="connsiteX3" fmla="*/ 9903 w 233170"/>
                  <a:gd name="connsiteY3" fmla="*/ 4952 h 49849"/>
                  <a:gd name="connsiteX4" fmla="*/ 116585 w 233170"/>
                  <a:gd name="connsiteY4" fmla="*/ 39947 h 49849"/>
                  <a:gd name="connsiteX5" fmla="*/ 223267 w 233170"/>
                  <a:gd name="connsiteY5" fmla="*/ 4952 h 49849"/>
                  <a:gd name="connsiteX6" fmla="*/ 228219 w 233170"/>
                  <a:gd name="connsiteY6" fmla="*/ 0 h 49849"/>
                  <a:gd name="connsiteX7" fmla="*/ 233170 w 233170"/>
                  <a:gd name="connsiteY7" fmla="*/ 4952 h 49849"/>
                  <a:gd name="connsiteX8" fmla="*/ 116585 w 233170"/>
                  <a:gd name="connsiteY8" fmla="*/ 49850 h 4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3170" h="49849">
                    <a:moveTo>
                      <a:pt x="116585" y="49850"/>
                    </a:moveTo>
                    <a:cubicBezTo>
                      <a:pt x="57750" y="49850"/>
                      <a:pt x="0" y="27595"/>
                      <a:pt x="0" y="4952"/>
                    </a:cubicBezTo>
                    <a:cubicBezTo>
                      <a:pt x="0" y="2225"/>
                      <a:pt x="2225" y="0"/>
                      <a:pt x="4952" y="0"/>
                    </a:cubicBezTo>
                    <a:cubicBezTo>
                      <a:pt x="7678" y="0"/>
                      <a:pt x="9903" y="2225"/>
                      <a:pt x="9903" y="4952"/>
                    </a:cubicBezTo>
                    <a:cubicBezTo>
                      <a:pt x="9903" y="15050"/>
                      <a:pt x="52437" y="39947"/>
                      <a:pt x="116585" y="39947"/>
                    </a:cubicBezTo>
                    <a:cubicBezTo>
                      <a:pt x="180761" y="39947"/>
                      <a:pt x="223267" y="15050"/>
                      <a:pt x="223267" y="4952"/>
                    </a:cubicBezTo>
                    <a:cubicBezTo>
                      <a:pt x="223267" y="2225"/>
                      <a:pt x="225493" y="0"/>
                      <a:pt x="228219" y="0"/>
                    </a:cubicBezTo>
                    <a:cubicBezTo>
                      <a:pt x="230945" y="0"/>
                      <a:pt x="233170" y="2225"/>
                      <a:pt x="233170" y="4952"/>
                    </a:cubicBezTo>
                    <a:cubicBezTo>
                      <a:pt x="233198" y="27595"/>
                      <a:pt x="175420" y="49850"/>
                      <a:pt x="116585" y="49850"/>
                    </a:cubicBezTo>
                    <a:close/>
                  </a:path>
                </a:pathLst>
              </a:custGeom>
              <a:grpFill/>
              <a:ln w="2775" cap="flat">
                <a:noFill/>
                <a:prstDash val="solid"/>
                <a:miter/>
              </a:ln>
            </p:spPr>
            <p:txBody>
              <a:bodyPr rtlCol="0" anchor="ctr"/>
              <a:lstStyle/>
              <a:p>
                <a:endParaRPr lang="en-GB" dirty="0"/>
              </a:p>
            </p:txBody>
          </p:sp>
          <p:sp>
            <p:nvSpPr>
              <p:cNvPr id="805" name="Freihandform: Form 804">
                <a:extLst>
                  <a:ext uri="{FF2B5EF4-FFF2-40B4-BE49-F238E27FC236}">
                    <a16:creationId xmlns:a16="http://schemas.microsoft.com/office/drawing/2014/main" id="{0ECF1A56-77D1-4940-9C7C-FD5CB3A8893B}"/>
                  </a:ext>
                </a:extLst>
              </p:cNvPr>
              <p:cNvSpPr/>
              <p:nvPr/>
            </p:nvSpPr>
            <p:spPr>
              <a:xfrm>
                <a:off x="5445909" y="1986722"/>
                <a:ext cx="232224" cy="49877"/>
              </a:xfrm>
              <a:custGeom>
                <a:avLst/>
                <a:gdLst>
                  <a:gd name="connsiteX0" fmla="*/ 116112 w 232224"/>
                  <a:gd name="connsiteY0" fmla="*/ 49878 h 49877"/>
                  <a:gd name="connsiteX1" fmla="*/ 0 w 232224"/>
                  <a:gd name="connsiteY1" fmla="*/ 4952 h 49877"/>
                  <a:gd name="connsiteX2" fmla="*/ 4952 w 232224"/>
                  <a:gd name="connsiteY2" fmla="*/ 0 h 49877"/>
                  <a:gd name="connsiteX3" fmla="*/ 9903 w 232224"/>
                  <a:gd name="connsiteY3" fmla="*/ 4952 h 49877"/>
                  <a:gd name="connsiteX4" fmla="*/ 116112 w 232224"/>
                  <a:gd name="connsiteY4" fmla="*/ 39947 h 49877"/>
                  <a:gd name="connsiteX5" fmla="*/ 222321 w 232224"/>
                  <a:gd name="connsiteY5" fmla="*/ 4952 h 49877"/>
                  <a:gd name="connsiteX6" fmla="*/ 227273 w 232224"/>
                  <a:gd name="connsiteY6" fmla="*/ 0 h 49877"/>
                  <a:gd name="connsiteX7" fmla="*/ 232224 w 232224"/>
                  <a:gd name="connsiteY7" fmla="*/ 4952 h 49877"/>
                  <a:gd name="connsiteX8" fmla="*/ 116112 w 232224"/>
                  <a:gd name="connsiteY8" fmla="*/ 49878 h 4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224" h="49877">
                    <a:moveTo>
                      <a:pt x="116112" y="49878"/>
                    </a:moveTo>
                    <a:cubicBezTo>
                      <a:pt x="57528" y="49878"/>
                      <a:pt x="0" y="27623"/>
                      <a:pt x="0" y="4952"/>
                    </a:cubicBezTo>
                    <a:cubicBezTo>
                      <a:pt x="0" y="2225"/>
                      <a:pt x="2225" y="0"/>
                      <a:pt x="4952" y="0"/>
                    </a:cubicBezTo>
                    <a:cubicBezTo>
                      <a:pt x="7678" y="0"/>
                      <a:pt x="9903" y="2225"/>
                      <a:pt x="9903" y="4952"/>
                    </a:cubicBezTo>
                    <a:cubicBezTo>
                      <a:pt x="9903" y="15050"/>
                      <a:pt x="52242" y="39947"/>
                      <a:pt x="116112" y="39947"/>
                    </a:cubicBezTo>
                    <a:cubicBezTo>
                      <a:pt x="179982" y="39947"/>
                      <a:pt x="222321" y="15050"/>
                      <a:pt x="222321" y="4952"/>
                    </a:cubicBezTo>
                    <a:cubicBezTo>
                      <a:pt x="222321" y="2225"/>
                      <a:pt x="224547" y="0"/>
                      <a:pt x="227273" y="0"/>
                    </a:cubicBezTo>
                    <a:cubicBezTo>
                      <a:pt x="229999" y="0"/>
                      <a:pt x="232224" y="2225"/>
                      <a:pt x="232224" y="4952"/>
                    </a:cubicBezTo>
                    <a:cubicBezTo>
                      <a:pt x="232224" y="27651"/>
                      <a:pt x="174725" y="49878"/>
                      <a:pt x="116112" y="49878"/>
                    </a:cubicBezTo>
                    <a:close/>
                  </a:path>
                </a:pathLst>
              </a:custGeom>
              <a:grpFill/>
              <a:ln w="2775" cap="flat">
                <a:noFill/>
                <a:prstDash val="solid"/>
                <a:miter/>
              </a:ln>
            </p:spPr>
            <p:txBody>
              <a:bodyPr rtlCol="0" anchor="ctr"/>
              <a:lstStyle/>
              <a:p>
                <a:endParaRPr lang="en-GB" dirty="0"/>
              </a:p>
            </p:txBody>
          </p:sp>
        </p:grpSp>
        <p:grpSp>
          <p:nvGrpSpPr>
            <p:cNvPr id="796" name="Group 775">
              <a:extLst>
                <a:ext uri="{FF2B5EF4-FFF2-40B4-BE49-F238E27FC236}">
                  <a16:creationId xmlns:a16="http://schemas.microsoft.com/office/drawing/2014/main" id="{4A617534-7CC4-43DE-95F5-EE7DF47C33A7}"/>
                </a:ext>
              </a:extLst>
            </p:cNvPr>
            <p:cNvGrpSpPr/>
            <p:nvPr/>
          </p:nvGrpSpPr>
          <p:grpSpPr>
            <a:xfrm>
              <a:off x="4984211" y="1626717"/>
              <a:ext cx="390208" cy="313367"/>
              <a:chOff x="5224576" y="1651542"/>
              <a:chExt cx="461430" cy="370564"/>
            </a:xfrm>
          </p:grpSpPr>
          <p:sp>
            <p:nvSpPr>
              <p:cNvPr id="797" name="Freihandform: Form 796">
                <a:extLst>
                  <a:ext uri="{FF2B5EF4-FFF2-40B4-BE49-F238E27FC236}">
                    <a16:creationId xmlns:a16="http://schemas.microsoft.com/office/drawing/2014/main" id="{662C636E-410F-4C3E-927A-62553F718DA9}"/>
                  </a:ext>
                </a:extLst>
              </p:cNvPr>
              <p:cNvSpPr/>
              <p:nvPr/>
            </p:nvSpPr>
            <p:spPr>
              <a:xfrm>
                <a:off x="5457955" y="1694717"/>
                <a:ext cx="120730" cy="120730"/>
              </a:xfrm>
              <a:custGeom>
                <a:avLst/>
                <a:gdLst>
                  <a:gd name="connsiteX0" fmla="*/ 60365 w 120730"/>
                  <a:gd name="connsiteY0" fmla="*/ 120730 h 120730"/>
                  <a:gd name="connsiteX1" fmla="*/ 55413 w 120730"/>
                  <a:gd name="connsiteY1" fmla="*/ 115778 h 120730"/>
                  <a:gd name="connsiteX2" fmla="*/ 4952 w 120730"/>
                  <a:gd name="connsiteY2" fmla="*/ 65317 h 120730"/>
                  <a:gd name="connsiteX3" fmla="*/ 0 w 120730"/>
                  <a:gd name="connsiteY3" fmla="*/ 60365 h 120730"/>
                  <a:gd name="connsiteX4" fmla="*/ 4952 w 120730"/>
                  <a:gd name="connsiteY4" fmla="*/ 55413 h 120730"/>
                  <a:gd name="connsiteX5" fmla="*/ 55413 w 120730"/>
                  <a:gd name="connsiteY5" fmla="*/ 4952 h 120730"/>
                  <a:gd name="connsiteX6" fmla="*/ 60365 w 120730"/>
                  <a:gd name="connsiteY6" fmla="*/ 0 h 120730"/>
                  <a:gd name="connsiteX7" fmla="*/ 65317 w 120730"/>
                  <a:gd name="connsiteY7" fmla="*/ 4952 h 120730"/>
                  <a:gd name="connsiteX8" fmla="*/ 115778 w 120730"/>
                  <a:gd name="connsiteY8" fmla="*/ 55413 h 120730"/>
                  <a:gd name="connsiteX9" fmla="*/ 120730 w 120730"/>
                  <a:gd name="connsiteY9" fmla="*/ 60365 h 120730"/>
                  <a:gd name="connsiteX10" fmla="*/ 115778 w 120730"/>
                  <a:gd name="connsiteY10" fmla="*/ 65317 h 120730"/>
                  <a:gd name="connsiteX11" fmla="*/ 65317 w 120730"/>
                  <a:gd name="connsiteY11" fmla="*/ 115778 h 120730"/>
                  <a:gd name="connsiteX12" fmla="*/ 60365 w 120730"/>
                  <a:gd name="connsiteY12" fmla="*/ 120730 h 120730"/>
                  <a:gd name="connsiteX13" fmla="*/ 28875 w 120730"/>
                  <a:gd name="connsiteY13" fmla="*/ 60365 h 120730"/>
                  <a:gd name="connsiteX14" fmla="*/ 60365 w 120730"/>
                  <a:gd name="connsiteY14" fmla="*/ 91855 h 120730"/>
                  <a:gd name="connsiteX15" fmla="*/ 91855 w 120730"/>
                  <a:gd name="connsiteY15" fmla="*/ 60365 h 120730"/>
                  <a:gd name="connsiteX16" fmla="*/ 60365 w 120730"/>
                  <a:gd name="connsiteY16" fmla="*/ 28875 h 120730"/>
                  <a:gd name="connsiteX17" fmla="*/ 28875 w 120730"/>
                  <a:gd name="connsiteY17" fmla="*/ 60365 h 120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0730" h="120730">
                    <a:moveTo>
                      <a:pt x="60365" y="120730"/>
                    </a:moveTo>
                    <a:cubicBezTo>
                      <a:pt x="57639" y="120730"/>
                      <a:pt x="55413" y="118505"/>
                      <a:pt x="55413" y="115778"/>
                    </a:cubicBezTo>
                    <a:cubicBezTo>
                      <a:pt x="55413" y="87960"/>
                      <a:pt x="32770" y="65317"/>
                      <a:pt x="4952" y="65317"/>
                    </a:cubicBezTo>
                    <a:cubicBezTo>
                      <a:pt x="2225" y="65317"/>
                      <a:pt x="0" y="63091"/>
                      <a:pt x="0" y="60365"/>
                    </a:cubicBezTo>
                    <a:cubicBezTo>
                      <a:pt x="0" y="57639"/>
                      <a:pt x="2225" y="55413"/>
                      <a:pt x="4952" y="55413"/>
                    </a:cubicBezTo>
                    <a:cubicBezTo>
                      <a:pt x="32770" y="55413"/>
                      <a:pt x="55413" y="32770"/>
                      <a:pt x="55413" y="4952"/>
                    </a:cubicBezTo>
                    <a:cubicBezTo>
                      <a:pt x="55413" y="2225"/>
                      <a:pt x="57639" y="0"/>
                      <a:pt x="60365" y="0"/>
                    </a:cubicBezTo>
                    <a:cubicBezTo>
                      <a:pt x="63091" y="0"/>
                      <a:pt x="65317" y="2225"/>
                      <a:pt x="65317" y="4952"/>
                    </a:cubicBezTo>
                    <a:cubicBezTo>
                      <a:pt x="65317" y="32770"/>
                      <a:pt x="87960" y="55413"/>
                      <a:pt x="115778" y="55413"/>
                    </a:cubicBezTo>
                    <a:cubicBezTo>
                      <a:pt x="118505" y="55413"/>
                      <a:pt x="120730" y="57639"/>
                      <a:pt x="120730" y="60365"/>
                    </a:cubicBezTo>
                    <a:cubicBezTo>
                      <a:pt x="120730" y="63091"/>
                      <a:pt x="118505" y="65317"/>
                      <a:pt x="115778" y="65317"/>
                    </a:cubicBezTo>
                    <a:cubicBezTo>
                      <a:pt x="87960" y="65317"/>
                      <a:pt x="65317" y="87960"/>
                      <a:pt x="65317" y="115778"/>
                    </a:cubicBezTo>
                    <a:cubicBezTo>
                      <a:pt x="65317" y="118505"/>
                      <a:pt x="63091" y="120730"/>
                      <a:pt x="60365" y="120730"/>
                    </a:cubicBezTo>
                    <a:close/>
                    <a:moveTo>
                      <a:pt x="28875" y="60365"/>
                    </a:moveTo>
                    <a:cubicBezTo>
                      <a:pt x="42951" y="66457"/>
                      <a:pt x="54245" y="77779"/>
                      <a:pt x="60365" y="91855"/>
                    </a:cubicBezTo>
                    <a:cubicBezTo>
                      <a:pt x="66457" y="77779"/>
                      <a:pt x="77779" y="66485"/>
                      <a:pt x="91855" y="60365"/>
                    </a:cubicBezTo>
                    <a:cubicBezTo>
                      <a:pt x="77779" y="54273"/>
                      <a:pt x="66485" y="42951"/>
                      <a:pt x="60365" y="28875"/>
                    </a:cubicBezTo>
                    <a:cubicBezTo>
                      <a:pt x="54245" y="42951"/>
                      <a:pt x="42951" y="54245"/>
                      <a:pt x="28875" y="60365"/>
                    </a:cubicBezTo>
                    <a:close/>
                  </a:path>
                </a:pathLst>
              </a:custGeom>
              <a:solidFill>
                <a:schemeClr val="accent1"/>
              </a:solidFill>
              <a:ln w="2775" cap="flat">
                <a:noFill/>
                <a:prstDash val="solid"/>
                <a:miter/>
              </a:ln>
            </p:spPr>
            <p:txBody>
              <a:bodyPr rtlCol="0" anchor="ctr"/>
              <a:lstStyle/>
              <a:p>
                <a:endParaRPr lang="en-GB" dirty="0"/>
              </a:p>
            </p:txBody>
          </p:sp>
          <p:sp>
            <p:nvSpPr>
              <p:cNvPr id="798" name="Freihandform: Form 797">
                <a:extLst>
                  <a:ext uri="{FF2B5EF4-FFF2-40B4-BE49-F238E27FC236}">
                    <a16:creationId xmlns:a16="http://schemas.microsoft.com/office/drawing/2014/main" id="{B78E7F0A-79A7-427C-8362-97C21F988193}"/>
                  </a:ext>
                </a:extLst>
              </p:cNvPr>
              <p:cNvSpPr/>
              <p:nvPr/>
            </p:nvSpPr>
            <p:spPr>
              <a:xfrm>
                <a:off x="5607337" y="1651542"/>
                <a:ext cx="78669" cy="78670"/>
              </a:xfrm>
              <a:custGeom>
                <a:avLst/>
                <a:gdLst>
                  <a:gd name="connsiteX0" fmla="*/ 66402 w 78669"/>
                  <a:gd name="connsiteY0" fmla="*/ 78671 h 78670"/>
                  <a:gd name="connsiteX1" fmla="*/ 62507 w 78669"/>
                  <a:gd name="connsiteY1" fmla="*/ 76779 h 78670"/>
                  <a:gd name="connsiteX2" fmla="*/ 8012 w 78669"/>
                  <a:gd name="connsiteY2" fmla="*/ 70298 h 78670"/>
                  <a:gd name="connsiteX3" fmla="*/ 1057 w 78669"/>
                  <a:gd name="connsiteY3" fmla="*/ 69463 h 78670"/>
                  <a:gd name="connsiteX4" fmla="*/ 0 w 78669"/>
                  <a:gd name="connsiteY4" fmla="*/ 66403 h 78670"/>
                  <a:gd name="connsiteX5" fmla="*/ 1892 w 78669"/>
                  <a:gd name="connsiteY5" fmla="*/ 62509 h 78670"/>
                  <a:gd name="connsiteX6" fmla="*/ 8373 w 78669"/>
                  <a:gd name="connsiteY6" fmla="*/ 8013 h 78670"/>
                  <a:gd name="connsiteX7" fmla="*/ 7316 w 78669"/>
                  <a:gd name="connsiteY7" fmla="*/ 4953 h 78670"/>
                  <a:gd name="connsiteX8" fmla="*/ 9208 w 78669"/>
                  <a:gd name="connsiteY8" fmla="*/ 1059 h 78670"/>
                  <a:gd name="connsiteX9" fmla="*/ 16162 w 78669"/>
                  <a:gd name="connsiteY9" fmla="*/ 1893 h 78670"/>
                  <a:gd name="connsiteX10" fmla="*/ 42061 w 78669"/>
                  <a:gd name="connsiteY10" fmla="*/ 16414 h 78670"/>
                  <a:gd name="connsiteX11" fmla="*/ 70658 w 78669"/>
                  <a:gd name="connsiteY11" fmla="*/ 8375 h 78670"/>
                  <a:gd name="connsiteX12" fmla="*/ 77612 w 78669"/>
                  <a:gd name="connsiteY12" fmla="*/ 9209 h 78670"/>
                  <a:gd name="connsiteX13" fmla="*/ 78669 w 78669"/>
                  <a:gd name="connsiteY13" fmla="*/ 12269 h 78670"/>
                  <a:gd name="connsiteX14" fmla="*/ 76778 w 78669"/>
                  <a:gd name="connsiteY14" fmla="*/ 16164 h 78670"/>
                  <a:gd name="connsiteX15" fmla="*/ 62257 w 78669"/>
                  <a:gd name="connsiteY15" fmla="*/ 42062 h 78670"/>
                  <a:gd name="connsiteX16" fmla="*/ 70296 w 78669"/>
                  <a:gd name="connsiteY16" fmla="*/ 70659 h 78670"/>
                  <a:gd name="connsiteX17" fmla="*/ 71353 w 78669"/>
                  <a:gd name="connsiteY17" fmla="*/ 73719 h 78670"/>
                  <a:gd name="connsiteX18" fmla="*/ 69462 w 78669"/>
                  <a:gd name="connsiteY18" fmla="*/ 77614 h 78670"/>
                  <a:gd name="connsiteX19" fmla="*/ 66402 w 78669"/>
                  <a:gd name="connsiteY19" fmla="*/ 78671 h 78670"/>
                  <a:gd name="connsiteX20" fmla="*/ 31935 w 78669"/>
                  <a:gd name="connsiteY20" fmla="*/ 52105 h 78670"/>
                  <a:gd name="connsiteX21" fmla="*/ 37777 w 78669"/>
                  <a:gd name="connsiteY21" fmla="*/ 52439 h 78670"/>
                  <a:gd name="connsiteX22" fmla="*/ 53132 w 78669"/>
                  <a:gd name="connsiteY22" fmla="*/ 56889 h 78670"/>
                  <a:gd name="connsiteX23" fmla="*/ 52409 w 78669"/>
                  <a:gd name="connsiteY23" fmla="*/ 40922 h 78670"/>
                  <a:gd name="connsiteX24" fmla="*/ 56860 w 78669"/>
                  <a:gd name="connsiteY24" fmla="*/ 25566 h 78670"/>
                  <a:gd name="connsiteX25" fmla="*/ 40892 w 78669"/>
                  <a:gd name="connsiteY25" fmla="*/ 26290 h 78670"/>
                  <a:gd name="connsiteX26" fmla="*/ 25509 w 78669"/>
                  <a:gd name="connsiteY26" fmla="*/ 21839 h 78670"/>
                  <a:gd name="connsiteX27" fmla="*/ 21781 w 78669"/>
                  <a:gd name="connsiteY27" fmla="*/ 53190 h 78670"/>
                  <a:gd name="connsiteX28" fmla="*/ 31935 w 78669"/>
                  <a:gd name="connsiteY28" fmla="*/ 52105 h 78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8669" h="78670">
                    <a:moveTo>
                      <a:pt x="66402" y="78671"/>
                    </a:moveTo>
                    <a:cubicBezTo>
                      <a:pt x="64927" y="78671"/>
                      <a:pt x="63481" y="78031"/>
                      <a:pt x="62507" y="76779"/>
                    </a:cubicBezTo>
                    <a:cubicBezTo>
                      <a:pt x="49266" y="59977"/>
                      <a:pt x="24814" y="57084"/>
                      <a:pt x="8012" y="70298"/>
                    </a:cubicBezTo>
                    <a:cubicBezTo>
                      <a:pt x="5870" y="71995"/>
                      <a:pt x="2754" y="71633"/>
                      <a:pt x="1057" y="69463"/>
                    </a:cubicBezTo>
                    <a:cubicBezTo>
                      <a:pt x="334" y="68545"/>
                      <a:pt x="0" y="67488"/>
                      <a:pt x="0" y="66403"/>
                    </a:cubicBezTo>
                    <a:cubicBezTo>
                      <a:pt x="0" y="64929"/>
                      <a:pt x="640" y="63482"/>
                      <a:pt x="1892" y="62509"/>
                    </a:cubicBezTo>
                    <a:cubicBezTo>
                      <a:pt x="18694" y="49267"/>
                      <a:pt x="21615" y="24815"/>
                      <a:pt x="8373" y="8013"/>
                    </a:cubicBezTo>
                    <a:cubicBezTo>
                      <a:pt x="7650" y="7095"/>
                      <a:pt x="7316" y="6038"/>
                      <a:pt x="7316" y="4953"/>
                    </a:cubicBezTo>
                    <a:cubicBezTo>
                      <a:pt x="7316" y="3479"/>
                      <a:pt x="7956" y="2032"/>
                      <a:pt x="9208" y="1059"/>
                    </a:cubicBezTo>
                    <a:cubicBezTo>
                      <a:pt x="11350" y="-638"/>
                      <a:pt x="14465" y="-249"/>
                      <a:pt x="16162" y="1893"/>
                    </a:cubicBezTo>
                    <a:cubicBezTo>
                      <a:pt x="22560" y="10044"/>
                      <a:pt x="31768" y="15190"/>
                      <a:pt x="42061" y="16414"/>
                    </a:cubicBezTo>
                    <a:cubicBezTo>
                      <a:pt x="52353" y="17666"/>
                      <a:pt x="62507" y="14773"/>
                      <a:pt x="70658" y="8375"/>
                    </a:cubicBezTo>
                    <a:cubicBezTo>
                      <a:pt x="72800" y="6678"/>
                      <a:pt x="75915" y="7040"/>
                      <a:pt x="77612" y="9209"/>
                    </a:cubicBezTo>
                    <a:cubicBezTo>
                      <a:pt x="78335" y="10127"/>
                      <a:pt x="78669" y="11184"/>
                      <a:pt x="78669" y="12269"/>
                    </a:cubicBezTo>
                    <a:cubicBezTo>
                      <a:pt x="78669" y="13744"/>
                      <a:pt x="78029" y="15190"/>
                      <a:pt x="76778" y="16164"/>
                    </a:cubicBezTo>
                    <a:cubicBezTo>
                      <a:pt x="68627" y="22590"/>
                      <a:pt x="63481" y="31770"/>
                      <a:pt x="62257" y="42062"/>
                    </a:cubicBezTo>
                    <a:cubicBezTo>
                      <a:pt x="61033" y="52355"/>
                      <a:pt x="63898" y="62509"/>
                      <a:pt x="70296" y="70659"/>
                    </a:cubicBezTo>
                    <a:cubicBezTo>
                      <a:pt x="71019" y="71577"/>
                      <a:pt x="71353" y="72634"/>
                      <a:pt x="71353" y="73719"/>
                    </a:cubicBezTo>
                    <a:cubicBezTo>
                      <a:pt x="71353" y="75194"/>
                      <a:pt x="70713" y="76640"/>
                      <a:pt x="69462" y="77614"/>
                    </a:cubicBezTo>
                    <a:cubicBezTo>
                      <a:pt x="68544" y="78337"/>
                      <a:pt x="67459" y="78671"/>
                      <a:pt x="66402" y="78671"/>
                    </a:cubicBezTo>
                    <a:close/>
                    <a:moveTo>
                      <a:pt x="31935" y="52105"/>
                    </a:moveTo>
                    <a:cubicBezTo>
                      <a:pt x="33882" y="52105"/>
                      <a:pt x="35830" y="52216"/>
                      <a:pt x="37777" y="52439"/>
                    </a:cubicBezTo>
                    <a:cubicBezTo>
                      <a:pt x="43174" y="53078"/>
                      <a:pt x="48348" y="54581"/>
                      <a:pt x="53132" y="56889"/>
                    </a:cubicBezTo>
                    <a:cubicBezTo>
                      <a:pt x="52020" y="51715"/>
                      <a:pt x="51769" y="46346"/>
                      <a:pt x="52409" y="40922"/>
                    </a:cubicBezTo>
                    <a:cubicBezTo>
                      <a:pt x="53049" y="35525"/>
                      <a:pt x="54551" y="30351"/>
                      <a:pt x="56860" y="25566"/>
                    </a:cubicBezTo>
                    <a:cubicBezTo>
                      <a:pt x="51686" y="26679"/>
                      <a:pt x="46289" y="26929"/>
                      <a:pt x="40892" y="26290"/>
                    </a:cubicBezTo>
                    <a:cubicBezTo>
                      <a:pt x="35468" y="25650"/>
                      <a:pt x="30294" y="24120"/>
                      <a:pt x="25509" y="21839"/>
                    </a:cubicBezTo>
                    <a:cubicBezTo>
                      <a:pt x="27762" y="32382"/>
                      <a:pt x="26455" y="43453"/>
                      <a:pt x="21781" y="53190"/>
                    </a:cubicBezTo>
                    <a:cubicBezTo>
                      <a:pt x="25092" y="52466"/>
                      <a:pt x="28486" y="52105"/>
                      <a:pt x="31935" y="52105"/>
                    </a:cubicBezTo>
                    <a:close/>
                  </a:path>
                </a:pathLst>
              </a:custGeom>
              <a:solidFill>
                <a:schemeClr val="accent1"/>
              </a:solidFill>
              <a:ln w="2775" cap="flat">
                <a:noFill/>
                <a:prstDash val="solid"/>
                <a:miter/>
              </a:ln>
            </p:spPr>
            <p:txBody>
              <a:bodyPr rtlCol="0" anchor="ctr"/>
              <a:lstStyle/>
              <a:p>
                <a:endParaRPr lang="en-GB" dirty="0"/>
              </a:p>
            </p:txBody>
          </p:sp>
          <p:grpSp>
            <p:nvGrpSpPr>
              <p:cNvPr id="799" name="Grafik 114">
                <a:extLst>
                  <a:ext uri="{FF2B5EF4-FFF2-40B4-BE49-F238E27FC236}">
                    <a16:creationId xmlns:a16="http://schemas.microsoft.com/office/drawing/2014/main" id="{2C86C637-E696-4A45-AF27-01A68292FCA4}"/>
                  </a:ext>
                </a:extLst>
              </p:cNvPr>
              <p:cNvGrpSpPr/>
              <p:nvPr/>
            </p:nvGrpSpPr>
            <p:grpSpPr>
              <a:xfrm>
                <a:off x="5224576" y="1665504"/>
                <a:ext cx="219927" cy="356602"/>
                <a:chOff x="5224576" y="1665504"/>
                <a:chExt cx="219927" cy="356602"/>
              </a:xfrm>
              <a:solidFill>
                <a:schemeClr val="accent1"/>
              </a:solidFill>
            </p:grpSpPr>
            <p:sp>
              <p:nvSpPr>
                <p:cNvPr id="800" name="Freihandform: Form 799">
                  <a:extLst>
                    <a:ext uri="{FF2B5EF4-FFF2-40B4-BE49-F238E27FC236}">
                      <a16:creationId xmlns:a16="http://schemas.microsoft.com/office/drawing/2014/main" id="{9EE6B399-E448-4C9E-919F-47F8701718B9}"/>
                    </a:ext>
                  </a:extLst>
                </p:cNvPr>
                <p:cNvSpPr/>
                <p:nvPr/>
              </p:nvSpPr>
              <p:spPr>
                <a:xfrm>
                  <a:off x="5224576" y="1665504"/>
                  <a:ext cx="219927" cy="356602"/>
                </a:xfrm>
                <a:custGeom>
                  <a:avLst/>
                  <a:gdLst>
                    <a:gd name="connsiteX0" fmla="*/ 16593 w 219927"/>
                    <a:gd name="connsiteY0" fmla="*/ 356603 h 356602"/>
                    <a:gd name="connsiteX1" fmla="*/ 8303 w 219927"/>
                    <a:gd name="connsiteY1" fmla="*/ 354378 h 356602"/>
                    <a:gd name="connsiteX2" fmla="*/ 570 w 219927"/>
                    <a:gd name="connsiteY2" fmla="*/ 344280 h 356602"/>
                    <a:gd name="connsiteX3" fmla="*/ 2211 w 219927"/>
                    <a:gd name="connsiteY3" fmla="*/ 331678 h 356602"/>
                    <a:gd name="connsiteX4" fmla="*/ 188925 w 219927"/>
                    <a:gd name="connsiteY4" fmla="*/ 8322 h 356602"/>
                    <a:gd name="connsiteX5" fmla="*/ 199023 w 219927"/>
                    <a:gd name="connsiteY5" fmla="*/ 588 h 356602"/>
                    <a:gd name="connsiteX6" fmla="*/ 211625 w 219927"/>
                    <a:gd name="connsiteY6" fmla="*/ 2230 h 356602"/>
                    <a:gd name="connsiteX7" fmla="*/ 211625 w 219927"/>
                    <a:gd name="connsiteY7" fmla="*/ 2230 h 356602"/>
                    <a:gd name="connsiteX8" fmla="*/ 219358 w 219927"/>
                    <a:gd name="connsiteY8" fmla="*/ 12328 h 356602"/>
                    <a:gd name="connsiteX9" fmla="*/ 217717 w 219927"/>
                    <a:gd name="connsiteY9" fmla="*/ 24929 h 356602"/>
                    <a:gd name="connsiteX10" fmla="*/ 31030 w 219927"/>
                    <a:gd name="connsiteY10" fmla="*/ 348313 h 356602"/>
                    <a:gd name="connsiteX11" fmla="*/ 16593 w 219927"/>
                    <a:gd name="connsiteY11" fmla="*/ 356603 h 356602"/>
                    <a:gd name="connsiteX12" fmla="*/ 203363 w 219927"/>
                    <a:gd name="connsiteY12" fmla="*/ 9935 h 356602"/>
                    <a:gd name="connsiteX13" fmla="*/ 201582 w 219927"/>
                    <a:gd name="connsiteY13" fmla="*/ 10158 h 356602"/>
                    <a:gd name="connsiteX14" fmla="*/ 197493 w 219927"/>
                    <a:gd name="connsiteY14" fmla="*/ 13273 h 356602"/>
                    <a:gd name="connsiteX15" fmla="*/ 10807 w 219927"/>
                    <a:gd name="connsiteY15" fmla="*/ 336630 h 356602"/>
                    <a:gd name="connsiteX16" fmla="*/ 10139 w 219927"/>
                    <a:gd name="connsiteY16" fmla="*/ 341720 h 356602"/>
                    <a:gd name="connsiteX17" fmla="*/ 13255 w 219927"/>
                    <a:gd name="connsiteY17" fmla="*/ 345810 h 356602"/>
                    <a:gd name="connsiteX18" fmla="*/ 22435 w 219927"/>
                    <a:gd name="connsiteY18" fmla="*/ 343362 h 356602"/>
                    <a:gd name="connsiteX19" fmla="*/ 209121 w 219927"/>
                    <a:gd name="connsiteY19" fmla="*/ 20005 h 356602"/>
                    <a:gd name="connsiteX20" fmla="*/ 209789 w 219927"/>
                    <a:gd name="connsiteY20" fmla="*/ 14915 h 356602"/>
                    <a:gd name="connsiteX21" fmla="*/ 206673 w 219927"/>
                    <a:gd name="connsiteY21" fmla="*/ 10825 h 356602"/>
                    <a:gd name="connsiteX22" fmla="*/ 206673 w 219927"/>
                    <a:gd name="connsiteY22" fmla="*/ 10825 h 356602"/>
                    <a:gd name="connsiteX23" fmla="*/ 203363 w 219927"/>
                    <a:gd name="connsiteY23" fmla="*/ 9935 h 356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19927" h="356602">
                      <a:moveTo>
                        <a:pt x="16593" y="356603"/>
                      </a:moveTo>
                      <a:cubicBezTo>
                        <a:pt x="13783" y="356603"/>
                        <a:pt x="10918" y="355880"/>
                        <a:pt x="8303" y="354378"/>
                      </a:cubicBezTo>
                      <a:cubicBezTo>
                        <a:pt x="4464" y="352152"/>
                        <a:pt x="1710" y="348591"/>
                        <a:pt x="570" y="344280"/>
                      </a:cubicBezTo>
                      <a:cubicBezTo>
                        <a:pt x="-571" y="339968"/>
                        <a:pt x="13" y="335517"/>
                        <a:pt x="2211" y="331678"/>
                      </a:cubicBezTo>
                      <a:lnTo>
                        <a:pt x="188925" y="8322"/>
                      </a:lnTo>
                      <a:cubicBezTo>
                        <a:pt x="191151" y="4483"/>
                        <a:pt x="194711" y="1757"/>
                        <a:pt x="199023" y="588"/>
                      </a:cubicBezTo>
                      <a:cubicBezTo>
                        <a:pt x="203335" y="-580"/>
                        <a:pt x="207786" y="4"/>
                        <a:pt x="211625" y="2230"/>
                      </a:cubicBezTo>
                      <a:lnTo>
                        <a:pt x="211625" y="2230"/>
                      </a:lnTo>
                      <a:cubicBezTo>
                        <a:pt x="215464" y="4455"/>
                        <a:pt x="218190" y="8016"/>
                        <a:pt x="219358" y="12328"/>
                      </a:cubicBezTo>
                      <a:cubicBezTo>
                        <a:pt x="220499" y="16639"/>
                        <a:pt x="219915" y="21090"/>
                        <a:pt x="217717" y="24929"/>
                      </a:cubicBezTo>
                      <a:lnTo>
                        <a:pt x="31030" y="348313"/>
                      </a:lnTo>
                      <a:cubicBezTo>
                        <a:pt x="27943" y="353626"/>
                        <a:pt x="22351" y="356603"/>
                        <a:pt x="16593" y="356603"/>
                      </a:cubicBezTo>
                      <a:close/>
                      <a:moveTo>
                        <a:pt x="203363" y="9935"/>
                      </a:moveTo>
                      <a:cubicBezTo>
                        <a:pt x="202779" y="9935"/>
                        <a:pt x="202167" y="10019"/>
                        <a:pt x="201582" y="10158"/>
                      </a:cubicBezTo>
                      <a:cubicBezTo>
                        <a:pt x="199830" y="10631"/>
                        <a:pt x="198383" y="11743"/>
                        <a:pt x="197493" y="13273"/>
                      </a:cubicBezTo>
                      <a:lnTo>
                        <a:pt x="10807" y="336630"/>
                      </a:lnTo>
                      <a:cubicBezTo>
                        <a:pt x="9917" y="338160"/>
                        <a:pt x="9694" y="339968"/>
                        <a:pt x="10139" y="341720"/>
                      </a:cubicBezTo>
                      <a:cubicBezTo>
                        <a:pt x="10612" y="343473"/>
                        <a:pt x="11697" y="344919"/>
                        <a:pt x="13255" y="345810"/>
                      </a:cubicBezTo>
                      <a:cubicBezTo>
                        <a:pt x="16454" y="347646"/>
                        <a:pt x="20571" y="346561"/>
                        <a:pt x="22435" y="343362"/>
                      </a:cubicBezTo>
                      <a:lnTo>
                        <a:pt x="209121" y="20005"/>
                      </a:lnTo>
                      <a:cubicBezTo>
                        <a:pt x="210011" y="18475"/>
                        <a:pt x="210234" y="16667"/>
                        <a:pt x="209789" y="14915"/>
                      </a:cubicBezTo>
                      <a:cubicBezTo>
                        <a:pt x="209344" y="13162"/>
                        <a:pt x="208203" y="11716"/>
                        <a:pt x="206673" y="10825"/>
                      </a:cubicBezTo>
                      <a:lnTo>
                        <a:pt x="206673" y="10825"/>
                      </a:lnTo>
                      <a:cubicBezTo>
                        <a:pt x="205644" y="10241"/>
                        <a:pt x="204503" y="9935"/>
                        <a:pt x="203363" y="9935"/>
                      </a:cubicBezTo>
                      <a:close/>
                    </a:path>
                  </a:pathLst>
                </a:custGeom>
                <a:solidFill>
                  <a:schemeClr val="accent1"/>
                </a:solidFill>
                <a:ln w="2775" cap="flat">
                  <a:noFill/>
                  <a:prstDash val="solid"/>
                  <a:miter/>
                </a:ln>
              </p:spPr>
              <p:txBody>
                <a:bodyPr rtlCol="0" anchor="ctr"/>
                <a:lstStyle/>
                <a:p>
                  <a:endParaRPr lang="en-GB" dirty="0"/>
                </a:p>
              </p:txBody>
            </p:sp>
            <p:sp>
              <p:nvSpPr>
                <p:cNvPr id="801" name="Freihandform: Form 800">
                  <a:extLst>
                    <a:ext uri="{FF2B5EF4-FFF2-40B4-BE49-F238E27FC236}">
                      <a16:creationId xmlns:a16="http://schemas.microsoft.com/office/drawing/2014/main" id="{4B82E5C6-EEDC-405E-8ADA-2040F0DA76C6}"/>
                    </a:ext>
                  </a:extLst>
                </p:cNvPr>
                <p:cNvSpPr/>
                <p:nvPr/>
              </p:nvSpPr>
              <p:spPr>
                <a:xfrm>
                  <a:off x="5258254" y="1726930"/>
                  <a:ext cx="152599" cy="233782"/>
                </a:xfrm>
                <a:custGeom>
                  <a:avLst/>
                  <a:gdLst>
                    <a:gd name="connsiteX0" fmla="*/ 25142 w 152599"/>
                    <a:gd name="connsiteY0" fmla="*/ 233782 h 233782"/>
                    <a:gd name="connsiteX1" fmla="*/ 22667 w 152599"/>
                    <a:gd name="connsiteY1" fmla="*/ 233115 h 233782"/>
                    <a:gd name="connsiteX2" fmla="*/ 2471 w 152599"/>
                    <a:gd name="connsiteY2" fmla="*/ 221459 h 233782"/>
                    <a:gd name="connsiteX3" fmla="*/ 663 w 152599"/>
                    <a:gd name="connsiteY3" fmla="*/ 214699 h 233782"/>
                    <a:gd name="connsiteX4" fmla="*/ 123173 w 152599"/>
                    <a:gd name="connsiteY4" fmla="*/ 2476 h 233782"/>
                    <a:gd name="connsiteX5" fmla="*/ 126177 w 152599"/>
                    <a:gd name="connsiteY5" fmla="*/ 167 h 233782"/>
                    <a:gd name="connsiteX6" fmla="*/ 129933 w 152599"/>
                    <a:gd name="connsiteY6" fmla="*/ 668 h 233782"/>
                    <a:gd name="connsiteX7" fmla="*/ 150129 w 152599"/>
                    <a:gd name="connsiteY7" fmla="*/ 12323 h 233782"/>
                    <a:gd name="connsiteX8" fmla="*/ 151937 w 152599"/>
                    <a:gd name="connsiteY8" fmla="*/ 19083 h 233782"/>
                    <a:gd name="connsiteX9" fmla="*/ 29426 w 152599"/>
                    <a:gd name="connsiteY9" fmla="*/ 231279 h 233782"/>
                    <a:gd name="connsiteX10" fmla="*/ 26422 w 152599"/>
                    <a:gd name="connsiteY10" fmla="*/ 233588 h 233782"/>
                    <a:gd name="connsiteX11" fmla="*/ 25142 w 152599"/>
                    <a:gd name="connsiteY11" fmla="*/ 233782 h 233782"/>
                    <a:gd name="connsiteX12" fmla="*/ 11706 w 152599"/>
                    <a:gd name="connsiteY12" fmla="*/ 215339 h 233782"/>
                    <a:gd name="connsiteX13" fmla="*/ 23334 w 152599"/>
                    <a:gd name="connsiteY13" fmla="*/ 222043 h 233782"/>
                    <a:gd name="connsiteX14" fmla="*/ 140893 w 152599"/>
                    <a:gd name="connsiteY14" fmla="*/ 18416 h 233782"/>
                    <a:gd name="connsiteX15" fmla="*/ 129265 w 152599"/>
                    <a:gd name="connsiteY15" fmla="*/ 11711 h 233782"/>
                    <a:gd name="connsiteX16" fmla="*/ 11706 w 152599"/>
                    <a:gd name="connsiteY16" fmla="*/ 215339 h 233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2599" h="233782">
                      <a:moveTo>
                        <a:pt x="25142" y="233782"/>
                      </a:moveTo>
                      <a:cubicBezTo>
                        <a:pt x="24280" y="233782"/>
                        <a:pt x="23418" y="233560"/>
                        <a:pt x="22667" y="233115"/>
                      </a:cubicBezTo>
                      <a:lnTo>
                        <a:pt x="2471" y="221459"/>
                      </a:lnTo>
                      <a:cubicBezTo>
                        <a:pt x="106" y="220096"/>
                        <a:pt x="-701" y="217064"/>
                        <a:pt x="663" y="214699"/>
                      </a:cubicBezTo>
                      <a:lnTo>
                        <a:pt x="123173" y="2476"/>
                      </a:lnTo>
                      <a:cubicBezTo>
                        <a:pt x="123841" y="1335"/>
                        <a:pt x="124898" y="501"/>
                        <a:pt x="126177" y="167"/>
                      </a:cubicBezTo>
                      <a:cubicBezTo>
                        <a:pt x="127457" y="-167"/>
                        <a:pt x="128792" y="0"/>
                        <a:pt x="129933" y="668"/>
                      </a:cubicBezTo>
                      <a:lnTo>
                        <a:pt x="150129" y="12323"/>
                      </a:lnTo>
                      <a:cubicBezTo>
                        <a:pt x="152493" y="13686"/>
                        <a:pt x="153300" y="16719"/>
                        <a:pt x="151937" y="19083"/>
                      </a:cubicBezTo>
                      <a:lnTo>
                        <a:pt x="29426" y="231279"/>
                      </a:lnTo>
                      <a:cubicBezTo>
                        <a:pt x="28759" y="232419"/>
                        <a:pt x="27702" y="233254"/>
                        <a:pt x="26422" y="233588"/>
                      </a:cubicBezTo>
                      <a:cubicBezTo>
                        <a:pt x="26005" y="233727"/>
                        <a:pt x="25560" y="233782"/>
                        <a:pt x="25142" y="233782"/>
                      </a:cubicBezTo>
                      <a:close/>
                      <a:moveTo>
                        <a:pt x="11706" y="215339"/>
                      </a:moveTo>
                      <a:lnTo>
                        <a:pt x="23334" y="222043"/>
                      </a:lnTo>
                      <a:lnTo>
                        <a:pt x="140893" y="18416"/>
                      </a:lnTo>
                      <a:lnTo>
                        <a:pt x="129265" y="11711"/>
                      </a:lnTo>
                      <a:lnTo>
                        <a:pt x="11706" y="215339"/>
                      </a:lnTo>
                      <a:close/>
                    </a:path>
                  </a:pathLst>
                </a:custGeom>
                <a:solidFill>
                  <a:schemeClr val="accent1"/>
                </a:solidFill>
                <a:ln w="2775" cap="flat">
                  <a:noFill/>
                  <a:prstDash val="solid"/>
                  <a:miter/>
                </a:ln>
              </p:spPr>
              <p:txBody>
                <a:bodyPr rtlCol="0" anchor="ctr"/>
                <a:lstStyle/>
                <a:p>
                  <a:endParaRPr lang="en-GB" dirty="0"/>
                </a:p>
              </p:txBody>
            </p:sp>
          </p:grpSp>
        </p:grpSp>
      </p:grpSp>
      <p:grpSp>
        <p:nvGrpSpPr>
          <p:cNvPr id="11" name="Group 10">
            <a:extLst>
              <a:ext uri="{FF2B5EF4-FFF2-40B4-BE49-F238E27FC236}">
                <a16:creationId xmlns:a16="http://schemas.microsoft.com/office/drawing/2014/main" id="{9C85E7F0-DC28-BB09-8E26-B3E190C1C497}"/>
              </a:ext>
            </a:extLst>
          </p:cNvPr>
          <p:cNvGrpSpPr/>
          <p:nvPr/>
        </p:nvGrpSpPr>
        <p:grpSpPr>
          <a:xfrm>
            <a:off x="7074717" y="1626715"/>
            <a:ext cx="458839" cy="432003"/>
            <a:chOff x="7074305" y="1626715"/>
            <a:chExt cx="458839" cy="432003"/>
          </a:xfrm>
        </p:grpSpPr>
        <p:grpSp>
          <p:nvGrpSpPr>
            <p:cNvPr id="830" name="Grafik 114">
              <a:extLst>
                <a:ext uri="{FF2B5EF4-FFF2-40B4-BE49-F238E27FC236}">
                  <a16:creationId xmlns:a16="http://schemas.microsoft.com/office/drawing/2014/main" id="{2E421DA2-881D-4DB9-BDCB-5F61E4F67F03}"/>
                </a:ext>
              </a:extLst>
            </p:cNvPr>
            <p:cNvGrpSpPr/>
            <p:nvPr/>
          </p:nvGrpSpPr>
          <p:grpSpPr>
            <a:xfrm>
              <a:off x="7074305" y="1626715"/>
              <a:ext cx="298511" cy="379268"/>
              <a:chOff x="6939818" y="1668484"/>
              <a:chExt cx="329602" cy="418771"/>
            </a:xfrm>
            <a:solidFill>
              <a:schemeClr val="tx2"/>
            </a:solidFill>
          </p:grpSpPr>
          <p:grpSp>
            <p:nvGrpSpPr>
              <p:cNvPr id="834" name="Grafik 114">
                <a:extLst>
                  <a:ext uri="{FF2B5EF4-FFF2-40B4-BE49-F238E27FC236}">
                    <a16:creationId xmlns:a16="http://schemas.microsoft.com/office/drawing/2014/main" id="{A4046D87-24C8-4571-BAE2-B145444B2377}"/>
                  </a:ext>
                </a:extLst>
              </p:cNvPr>
              <p:cNvGrpSpPr/>
              <p:nvPr/>
            </p:nvGrpSpPr>
            <p:grpSpPr>
              <a:xfrm>
                <a:off x="6939818" y="1883323"/>
                <a:ext cx="329602" cy="203933"/>
                <a:chOff x="6939818" y="1883323"/>
                <a:chExt cx="329602" cy="203933"/>
              </a:xfrm>
              <a:grpFill/>
            </p:grpSpPr>
            <p:sp>
              <p:nvSpPr>
                <p:cNvPr id="836" name="Freihandform: Form 835">
                  <a:extLst>
                    <a:ext uri="{FF2B5EF4-FFF2-40B4-BE49-F238E27FC236}">
                      <a16:creationId xmlns:a16="http://schemas.microsoft.com/office/drawing/2014/main" id="{13022B30-EEF7-47C9-96A1-57548C29A3FC}"/>
                    </a:ext>
                  </a:extLst>
                </p:cNvPr>
                <p:cNvSpPr/>
                <p:nvPr/>
              </p:nvSpPr>
              <p:spPr>
                <a:xfrm>
                  <a:off x="7005803" y="2014401"/>
                  <a:ext cx="9903" cy="72855"/>
                </a:xfrm>
                <a:custGeom>
                  <a:avLst/>
                  <a:gdLst>
                    <a:gd name="connsiteX0" fmla="*/ 4952 w 9903"/>
                    <a:gd name="connsiteY0" fmla="*/ 72855 h 72855"/>
                    <a:gd name="connsiteX1" fmla="*/ 0 w 9903"/>
                    <a:gd name="connsiteY1" fmla="*/ 67904 h 72855"/>
                    <a:gd name="connsiteX2" fmla="*/ 0 w 9903"/>
                    <a:gd name="connsiteY2" fmla="*/ 4952 h 72855"/>
                    <a:gd name="connsiteX3" fmla="*/ 4952 w 9903"/>
                    <a:gd name="connsiteY3" fmla="*/ 0 h 72855"/>
                    <a:gd name="connsiteX4" fmla="*/ 9903 w 9903"/>
                    <a:gd name="connsiteY4" fmla="*/ 4952 h 72855"/>
                    <a:gd name="connsiteX5" fmla="*/ 9903 w 9903"/>
                    <a:gd name="connsiteY5" fmla="*/ 67904 h 72855"/>
                    <a:gd name="connsiteX6" fmla="*/ 4952 w 9903"/>
                    <a:gd name="connsiteY6" fmla="*/ 72855 h 72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72855">
                      <a:moveTo>
                        <a:pt x="4952" y="72855"/>
                      </a:moveTo>
                      <a:cubicBezTo>
                        <a:pt x="2225" y="72855"/>
                        <a:pt x="0" y="70630"/>
                        <a:pt x="0" y="67904"/>
                      </a:cubicBezTo>
                      <a:lnTo>
                        <a:pt x="0" y="4952"/>
                      </a:lnTo>
                      <a:cubicBezTo>
                        <a:pt x="0" y="2225"/>
                        <a:pt x="2225" y="0"/>
                        <a:pt x="4952" y="0"/>
                      </a:cubicBezTo>
                      <a:cubicBezTo>
                        <a:pt x="7678" y="0"/>
                        <a:pt x="9903" y="2225"/>
                        <a:pt x="9903" y="4952"/>
                      </a:cubicBezTo>
                      <a:lnTo>
                        <a:pt x="9903" y="67904"/>
                      </a:lnTo>
                      <a:cubicBezTo>
                        <a:pt x="9903" y="70658"/>
                        <a:pt x="7678" y="72855"/>
                        <a:pt x="4952" y="72855"/>
                      </a:cubicBezTo>
                      <a:close/>
                    </a:path>
                  </a:pathLst>
                </a:custGeom>
                <a:grpFill/>
                <a:ln w="2775" cap="flat">
                  <a:noFill/>
                  <a:prstDash val="solid"/>
                  <a:miter/>
                </a:ln>
              </p:spPr>
              <p:txBody>
                <a:bodyPr rtlCol="0" anchor="ctr"/>
                <a:lstStyle/>
                <a:p>
                  <a:endParaRPr lang="en-GB" dirty="0"/>
                </a:p>
              </p:txBody>
            </p:sp>
            <p:sp>
              <p:nvSpPr>
                <p:cNvPr id="837" name="Freihandform: Form 836">
                  <a:extLst>
                    <a:ext uri="{FF2B5EF4-FFF2-40B4-BE49-F238E27FC236}">
                      <a16:creationId xmlns:a16="http://schemas.microsoft.com/office/drawing/2014/main" id="{15A66177-33E6-45C6-9C58-8D34CC2588B9}"/>
                    </a:ext>
                  </a:extLst>
                </p:cNvPr>
                <p:cNvSpPr/>
                <p:nvPr/>
              </p:nvSpPr>
              <p:spPr>
                <a:xfrm>
                  <a:off x="6939818" y="1883323"/>
                  <a:ext cx="141344" cy="203933"/>
                </a:xfrm>
                <a:custGeom>
                  <a:avLst/>
                  <a:gdLst>
                    <a:gd name="connsiteX0" fmla="*/ 4952 w 141344"/>
                    <a:gd name="connsiteY0" fmla="*/ 203934 h 203933"/>
                    <a:gd name="connsiteX1" fmla="*/ 0 w 141344"/>
                    <a:gd name="connsiteY1" fmla="*/ 198982 h 203933"/>
                    <a:gd name="connsiteX2" fmla="*/ 0 w 141344"/>
                    <a:gd name="connsiteY2" fmla="*/ 73912 h 203933"/>
                    <a:gd name="connsiteX3" fmla="*/ 66513 w 141344"/>
                    <a:gd name="connsiteY3" fmla="*/ 16190 h 203933"/>
                    <a:gd name="connsiteX4" fmla="*/ 117197 w 141344"/>
                    <a:gd name="connsiteY4" fmla="*/ 16190 h 203933"/>
                    <a:gd name="connsiteX5" fmla="*/ 131440 w 141344"/>
                    <a:gd name="connsiteY5" fmla="*/ 4868 h 203933"/>
                    <a:gd name="connsiteX6" fmla="*/ 136475 w 141344"/>
                    <a:gd name="connsiteY6" fmla="*/ 0 h 203933"/>
                    <a:gd name="connsiteX7" fmla="*/ 141343 w 141344"/>
                    <a:gd name="connsiteY7" fmla="*/ 5035 h 203933"/>
                    <a:gd name="connsiteX8" fmla="*/ 117698 w 141344"/>
                    <a:gd name="connsiteY8" fmla="*/ 26093 h 203933"/>
                    <a:gd name="connsiteX9" fmla="*/ 66513 w 141344"/>
                    <a:gd name="connsiteY9" fmla="*/ 26121 h 203933"/>
                    <a:gd name="connsiteX10" fmla="*/ 9903 w 141344"/>
                    <a:gd name="connsiteY10" fmla="*/ 73940 h 203933"/>
                    <a:gd name="connsiteX11" fmla="*/ 9903 w 141344"/>
                    <a:gd name="connsiteY11" fmla="*/ 199010 h 203933"/>
                    <a:gd name="connsiteX12" fmla="*/ 4952 w 141344"/>
                    <a:gd name="connsiteY12" fmla="*/ 203934 h 203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41344" h="203933">
                      <a:moveTo>
                        <a:pt x="4952" y="203934"/>
                      </a:moveTo>
                      <a:cubicBezTo>
                        <a:pt x="2225" y="203934"/>
                        <a:pt x="0" y="201708"/>
                        <a:pt x="0" y="198982"/>
                      </a:cubicBezTo>
                      <a:lnTo>
                        <a:pt x="0" y="73912"/>
                      </a:lnTo>
                      <a:cubicBezTo>
                        <a:pt x="0" y="28263"/>
                        <a:pt x="43507" y="16190"/>
                        <a:pt x="66513" y="16190"/>
                      </a:cubicBezTo>
                      <a:lnTo>
                        <a:pt x="117197" y="16190"/>
                      </a:lnTo>
                      <a:cubicBezTo>
                        <a:pt x="117281" y="16162"/>
                        <a:pt x="131273" y="14549"/>
                        <a:pt x="131440" y="4868"/>
                      </a:cubicBezTo>
                      <a:cubicBezTo>
                        <a:pt x="131495" y="2142"/>
                        <a:pt x="133804" y="223"/>
                        <a:pt x="136475" y="0"/>
                      </a:cubicBezTo>
                      <a:cubicBezTo>
                        <a:pt x="139201" y="56"/>
                        <a:pt x="141399" y="2309"/>
                        <a:pt x="141343" y="5035"/>
                      </a:cubicBezTo>
                      <a:cubicBezTo>
                        <a:pt x="141121" y="19834"/>
                        <a:pt x="125765" y="25259"/>
                        <a:pt x="117698" y="26093"/>
                      </a:cubicBezTo>
                      <a:lnTo>
                        <a:pt x="66513" y="26121"/>
                      </a:lnTo>
                      <a:cubicBezTo>
                        <a:pt x="64204" y="26121"/>
                        <a:pt x="9903" y="26817"/>
                        <a:pt x="9903" y="73940"/>
                      </a:cubicBezTo>
                      <a:lnTo>
                        <a:pt x="9903" y="199010"/>
                      </a:lnTo>
                      <a:cubicBezTo>
                        <a:pt x="9903" y="201736"/>
                        <a:pt x="7705" y="203934"/>
                        <a:pt x="4952" y="203934"/>
                      </a:cubicBezTo>
                      <a:close/>
                    </a:path>
                  </a:pathLst>
                </a:custGeom>
                <a:grpFill/>
                <a:ln w="2775" cap="flat">
                  <a:noFill/>
                  <a:prstDash val="solid"/>
                  <a:miter/>
                </a:ln>
              </p:spPr>
              <p:txBody>
                <a:bodyPr rtlCol="0" anchor="ctr"/>
                <a:lstStyle/>
                <a:p>
                  <a:endParaRPr lang="en-GB" dirty="0"/>
                </a:p>
              </p:txBody>
            </p:sp>
            <p:sp>
              <p:nvSpPr>
                <p:cNvPr id="838" name="Freihandform: Form 837">
                  <a:extLst>
                    <a:ext uri="{FF2B5EF4-FFF2-40B4-BE49-F238E27FC236}">
                      <a16:creationId xmlns:a16="http://schemas.microsoft.com/office/drawing/2014/main" id="{0AA227CA-4DE9-4EEE-BE7D-99441299ABDB}"/>
                    </a:ext>
                  </a:extLst>
                </p:cNvPr>
                <p:cNvSpPr/>
                <p:nvPr/>
              </p:nvSpPr>
              <p:spPr>
                <a:xfrm>
                  <a:off x="7155491" y="1883323"/>
                  <a:ext cx="113929" cy="36525"/>
                </a:xfrm>
                <a:custGeom>
                  <a:avLst/>
                  <a:gdLst>
                    <a:gd name="connsiteX0" fmla="*/ 108991 w 113929"/>
                    <a:gd name="connsiteY0" fmla="*/ 36525 h 36525"/>
                    <a:gd name="connsiteX1" fmla="*/ 106460 w 113929"/>
                    <a:gd name="connsiteY1" fmla="*/ 35830 h 36525"/>
                    <a:gd name="connsiteX2" fmla="*/ 70658 w 113929"/>
                    <a:gd name="connsiteY2" fmla="*/ 26093 h 36525"/>
                    <a:gd name="connsiteX3" fmla="*/ 19974 w 113929"/>
                    <a:gd name="connsiteY3" fmla="*/ 26093 h 36525"/>
                    <a:gd name="connsiteX4" fmla="*/ 5981 w 113929"/>
                    <a:gd name="connsiteY4" fmla="*/ 20697 h 36525"/>
                    <a:gd name="connsiteX5" fmla="*/ 0 w 113929"/>
                    <a:gd name="connsiteY5" fmla="*/ 4979 h 36525"/>
                    <a:gd name="connsiteX6" fmla="*/ 4924 w 113929"/>
                    <a:gd name="connsiteY6" fmla="*/ 0 h 36525"/>
                    <a:gd name="connsiteX7" fmla="*/ 4952 w 113929"/>
                    <a:gd name="connsiteY7" fmla="*/ 0 h 36525"/>
                    <a:gd name="connsiteX8" fmla="*/ 9903 w 113929"/>
                    <a:gd name="connsiteY8" fmla="*/ 4924 h 36525"/>
                    <a:gd name="connsiteX9" fmla="*/ 12796 w 113929"/>
                    <a:gd name="connsiteY9" fmla="*/ 13492 h 36525"/>
                    <a:gd name="connsiteX10" fmla="*/ 19862 w 113929"/>
                    <a:gd name="connsiteY10" fmla="*/ 16190 h 36525"/>
                    <a:gd name="connsiteX11" fmla="*/ 70658 w 113929"/>
                    <a:gd name="connsiteY11" fmla="*/ 16190 h 36525"/>
                    <a:gd name="connsiteX12" fmla="*/ 111523 w 113929"/>
                    <a:gd name="connsiteY12" fmla="*/ 27317 h 36525"/>
                    <a:gd name="connsiteX13" fmla="*/ 113219 w 113929"/>
                    <a:gd name="connsiteY13" fmla="*/ 34105 h 36525"/>
                    <a:gd name="connsiteX14" fmla="*/ 108991 w 113929"/>
                    <a:gd name="connsiteY14" fmla="*/ 36525 h 36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3929" h="36525">
                      <a:moveTo>
                        <a:pt x="108991" y="36525"/>
                      </a:moveTo>
                      <a:cubicBezTo>
                        <a:pt x="108129" y="36525"/>
                        <a:pt x="107239" y="36302"/>
                        <a:pt x="106460" y="35830"/>
                      </a:cubicBezTo>
                      <a:cubicBezTo>
                        <a:pt x="90381" y="26205"/>
                        <a:pt x="70853" y="26093"/>
                        <a:pt x="70658" y="26093"/>
                      </a:cubicBezTo>
                      <a:lnTo>
                        <a:pt x="19974" y="26093"/>
                      </a:lnTo>
                      <a:cubicBezTo>
                        <a:pt x="19250" y="26149"/>
                        <a:pt x="11740" y="26232"/>
                        <a:pt x="5981" y="20697"/>
                      </a:cubicBezTo>
                      <a:cubicBezTo>
                        <a:pt x="2059" y="16913"/>
                        <a:pt x="28" y="11656"/>
                        <a:pt x="0" y="4979"/>
                      </a:cubicBezTo>
                      <a:cubicBezTo>
                        <a:pt x="-28" y="2253"/>
                        <a:pt x="2198" y="28"/>
                        <a:pt x="4924" y="0"/>
                      </a:cubicBezTo>
                      <a:cubicBezTo>
                        <a:pt x="4924" y="0"/>
                        <a:pt x="4952" y="0"/>
                        <a:pt x="4952" y="0"/>
                      </a:cubicBezTo>
                      <a:cubicBezTo>
                        <a:pt x="7678" y="0"/>
                        <a:pt x="9876" y="2198"/>
                        <a:pt x="9903" y="4924"/>
                      </a:cubicBezTo>
                      <a:cubicBezTo>
                        <a:pt x="9931" y="8763"/>
                        <a:pt x="10905" y="11628"/>
                        <a:pt x="12796" y="13492"/>
                      </a:cubicBezTo>
                      <a:cubicBezTo>
                        <a:pt x="15606" y="16246"/>
                        <a:pt x="19890" y="16190"/>
                        <a:pt x="19862" y="16190"/>
                      </a:cubicBezTo>
                      <a:lnTo>
                        <a:pt x="70658" y="16190"/>
                      </a:lnTo>
                      <a:cubicBezTo>
                        <a:pt x="71576" y="16190"/>
                        <a:pt x="93135" y="16329"/>
                        <a:pt x="111523" y="27317"/>
                      </a:cubicBezTo>
                      <a:cubicBezTo>
                        <a:pt x="113859" y="28708"/>
                        <a:pt x="114638" y="31768"/>
                        <a:pt x="113219" y="34105"/>
                      </a:cubicBezTo>
                      <a:cubicBezTo>
                        <a:pt x="112301" y="35663"/>
                        <a:pt x="110660" y="36525"/>
                        <a:pt x="108991" y="36525"/>
                      </a:cubicBezTo>
                      <a:close/>
                    </a:path>
                  </a:pathLst>
                </a:custGeom>
                <a:grpFill/>
                <a:ln w="2775" cap="flat">
                  <a:noFill/>
                  <a:prstDash val="solid"/>
                  <a:miter/>
                </a:ln>
              </p:spPr>
              <p:txBody>
                <a:bodyPr rtlCol="0" anchor="ctr"/>
                <a:lstStyle/>
                <a:p>
                  <a:endParaRPr lang="en-GB" dirty="0"/>
                </a:p>
              </p:txBody>
            </p:sp>
          </p:grpSp>
          <p:sp>
            <p:nvSpPr>
              <p:cNvPr id="835" name="Freihandform: Form 834">
                <a:extLst>
                  <a:ext uri="{FF2B5EF4-FFF2-40B4-BE49-F238E27FC236}">
                    <a16:creationId xmlns:a16="http://schemas.microsoft.com/office/drawing/2014/main" id="{13F25299-251A-43DF-9E8B-C98391CE6748}"/>
                  </a:ext>
                </a:extLst>
              </p:cNvPr>
              <p:cNvSpPr/>
              <p:nvPr/>
            </p:nvSpPr>
            <p:spPr>
              <a:xfrm>
                <a:off x="7024941" y="1668484"/>
                <a:ext cx="182625" cy="205686"/>
              </a:xfrm>
              <a:custGeom>
                <a:avLst/>
                <a:gdLst>
                  <a:gd name="connsiteX0" fmla="*/ 91299 w 182625"/>
                  <a:gd name="connsiteY0" fmla="*/ 205686 h 205686"/>
                  <a:gd name="connsiteX1" fmla="*/ 0 w 182625"/>
                  <a:gd name="connsiteY1" fmla="*/ 102843 h 205686"/>
                  <a:gd name="connsiteX2" fmla="*/ 91299 w 182625"/>
                  <a:gd name="connsiteY2" fmla="*/ 0 h 205686"/>
                  <a:gd name="connsiteX3" fmla="*/ 182625 w 182625"/>
                  <a:gd name="connsiteY3" fmla="*/ 102843 h 205686"/>
                  <a:gd name="connsiteX4" fmla="*/ 91299 w 182625"/>
                  <a:gd name="connsiteY4" fmla="*/ 205686 h 205686"/>
                  <a:gd name="connsiteX5" fmla="*/ 91299 w 182625"/>
                  <a:gd name="connsiteY5" fmla="*/ 9903 h 205686"/>
                  <a:gd name="connsiteX6" fmla="*/ 9903 w 182625"/>
                  <a:gd name="connsiteY6" fmla="*/ 102843 h 205686"/>
                  <a:gd name="connsiteX7" fmla="*/ 91299 w 182625"/>
                  <a:gd name="connsiteY7" fmla="*/ 195783 h 205686"/>
                  <a:gd name="connsiteX8" fmla="*/ 172722 w 182625"/>
                  <a:gd name="connsiteY8" fmla="*/ 102843 h 205686"/>
                  <a:gd name="connsiteX9" fmla="*/ 91299 w 182625"/>
                  <a:gd name="connsiteY9" fmla="*/ 9903 h 20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625" h="205686">
                    <a:moveTo>
                      <a:pt x="91299" y="205686"/>
                    </a:moveTo>
                    <a:cubicBezTo>
                      <a:pt x="40948" y="205686"/>
                      <a:pt x="0" y="159536"/>
                      <a:pt x="0" y="102843"/>
                    </a:cubicBezTo>
                    <a:cubicBezTo>
                      <a:pt x="0" y="46150"/>
                      <a:pt x="40948" y="0"/>
                      <a:pt x="91299" y="0"/>
                    </a:cubicBezTo>
                    <a:cubicBezTo>
                      <a:pt x="141649" y="0"/>
                      <a:pt x="182625" y="46122"/>
                      <a:pt x="182625" y="102843"/>
                    </a:cubicBezTo>
                    <a:cubicBezTo>
                      <a:pt x="182625" y="159564"/>
                      <a:pt x="141649" y="205686"/>
                      <a:pt x="91299" y="205686"/>
                    </a:cubicBezTo>
                    <a:close/>
                    <a:moveTo>
                      <a:pt x="91299" y="9903"/>
                    </a:moveTo>
                    <a:cubicBezTo>
                      <a:pt x="46428" y="9903"/>
                      <a:pt x="9903" y="51602"/>
                      <a:pt x="9903" y="102843"/>
                    </a:cubicBezTo>
                    <a:cubicBezTo>
                      <a:pt x="9903" y="154084"/>
                      <a:pt x="46428" y="195783"/>
                      <a:pt x="91299" y="195783"/>
                    </a:cubicBezTo>
                    <a:cubicBezTo>
                      <a:pt x="136197" y="195783"/>
                      <a:pt x="172722" y="154084"/>
                      <a:pt x="172722" y="102843"/>
                    </a:cubicBezTo>
                    <a:cubicBezTo>
                      <a:pt x="172722" y="51602"/>
                      <a:pt x="136197" y="9903"/>
                      <a:pt x="91299" y="9903"/>
                    </a:cubicBezTo>
                    <a:close/>
                  </a:path>
                </a:pathLst>
              </a:custGeom>
              <a:grpFill/>
              <a:ln w="2775" cap="flat">
                <a:noFill/>
                <a:prstDash val="solid"/>
                <a:miter/>
              </a:ln>
            </p:spPr>
            <p:txBody>
              <a:bodyPr rtlCol="0" anchor="ctr"/>
              <a:lstStyle/>
              <a:p>
                <a:endParaRPr lang="en-GB" dirty="0"/>
              </a:p>
            </p:txBody>
          </p:sp>
        </p:grpSp>
        <p:grpSp>
          <p:nvGrpSpPr>
            <p:cNvPr id="831" name="Grafik 114">
              <a:extLst>
                <a:ext uri="{FF2B5EF4-FFF2-40B4-BE49-F238E27FC236}">
                  <a16:creationId xmlns:a16="http://schemas.microsoft.com/office/drawing/2014/main" id="{F2A9510D-B043-49EA-A918-07597CC895E6}"/>
                </a:ext>
              </a:extLst>
            </p:cNvPr>
            <p:cNvGrpSpPr/>
            <p:nvPr/>
          </p:nvGrpSpPr>
          <p:grpSpPr>
            <a:xfrm>
              <a:off x="7290187" y="1872762"/>
              <a:ext cx="242957" cy="185956"/>
              <a:chOff x="7178185" y="1940155"/>
              <a:chExt cx="268262" cy="205324"/>
            </a:xfrm>
            <a:solidFill>
              <a:schemeClr val="accent1"/>
            </a:solidFill>
          </p:grpSpPr>
          <p:sp>
            <p:nvSpPr>
              <p:cNvPr id="832" name="Freihandform: Form 831">
                <a:extLst>
                  <a:ext uri="{FF2B5EF4-FFF2-40B4-BE49-F238E27FC236}">
                    <a16:creationId xmlns:a16="http://schemas.microsoft.com/office/drawing/2014/main" id="{B85D1027-5C0B-4A15-8443-795CA92BD6E7}"/>
                  </a:ext>
                </a:extLst>
              </p:cNvPr>
              <p:cNvSpPr/>
              <p:nvPr/>
            </p:nvSpPr>
            <p:spPr>
              <a:xfrm>
                <a:off x="7178185" y="1973258"/>
                <a:ext cx="268262" cy="172221"/>
              </a:xfrm>
              <a:custGeom>
                <a:avLst/>
                <a:gdLst>
                  <a:gd name="connsiteX0" fmla="*/ 236820 w 268262"/>
                  <a:gd name="connsiteY0" fmla="*/ 172221 h 172221"/>
                  <a:gd name="connsiteX1" fmla="*/ 4957 w 268262"/>
                  <a:gd name="connsiteY1" fmla="*/ 172221 h 172221"/>
                  <a:gd name="connsiteX2" fmla="*/ 1174 w 268262"/>
                  <a:gd name="connsiteY2" fmla="*/ 170469 h 172221"/>
                  <a:gd name="connsiteX3" fmla="*/ 61 w 268262"/>
                  <a:gd name="connsiteY3" fmla="*/ 166463 h 172221"/>
                  <a:gd name="connsiteX4" fmla="*/ 24819 w 268262"/>
                  <a:gd name="connsiteY4" fmla="*/ 14799 h 172221"/>
                  <a:gd name="connsiteX5" fmla="*/ 42205 w 268262"/>
                  <a:gd name="connsiteY5" fmla="*/ 0 h 172221"/>
                  <a:gd name="connsiteX6" fmla="*/ 106020 w 268262"/>
                  <a:gd name="connsiteY6" fmla="*/ 0 h 172221"/>
                  <a:gd name="connsiteX7" fmla="*/ 122126 w 268262"/>
                  <a:gd name="connsiteY7" fmla="*/ 10460 h 172221"/>
                  <a:gd name="connsiteX8" fmla="*/ 130722 w 268262"/>
                  <a:gd name="connsiteY8" fmla="*/ 29793 h 172221"/>
                  <a:gd name="connsiteX9" fmla="*/ 263303 w 268262"/>
                  <a:gd name="connsiteY9" fmla="*/ 29793 h 172221"/>
                  <a:gd name="connsiteX10" fmla="*/ 267142 w 268262"/>
                  <a:gd name="connsiteY10" fmla="*/ 31601 h 172221"/>
                  <a:gd name="connsiteX11" fmla="*/ 268171 w 268262"/>
                  <a:gd name="connsiteY11" fmla="*/ 35718 h 172221"/>
                  <a:gd name="connsiteX12" fmla="*/ 241688 w 268262"/>
                  <a:gd name="connsiteY12" fmla="*/ 168215 h 172221"/>
                  <a:gd name="connsiteX13" fmla="*/ 236820 w 268262"/>
                  <a:gd name="connsiteY13" fmla="*/ 172221 h 172221"/>
                  <a:gd name="connsiteX14" fmla="*/ 10771 w 268262"/>
                  <a:gd name="connsiteY14" fmla="*/ 162318 h 172221"/>
                  <a:gd name="connsiteX15" fmla="*/ 232731 w 268262"/>
                  <a:gd name="connsiteY15" fmla="*/ 162318 h 172221"/>
                  <a:gd name="connsiteX16" fmla="*/ 257238 w 268262"/>
                  <a:gd name="connsiteY16" fmla="*/ 39724 h 172221"/>
                  <a:gd name="connsiteX17" fmla="*/ 127467 w 268262"/>
                  <a:gd name="connsiteY17" fmla="*/ 39724 h 172221"/>
                  <a:gd name="connsiteX18" fmla="*/ 122933 w 268262"/>
                  <a:gd name="connsiteY18" fmla="*/ 36775 h 172221"/>
                  <a:gd name="connsiteX19" fmla="*/ 113030 w 268262"/>
                  <a:gd name="connsiteY19" fmla="*/ 14493 h 172221"/>
                  <a:gd name="connsiteX20" fmla="*/ 105992 w 268262"/>
                  <a:gd name="connsiteY20" fmla="*/ 9903 h 172221"/>
                  <a:gd name="connsiteX21" fmla="*/ 42178 w 268262"/>
                  <a:gd name="connsiteY21" fmla="*/ 9903 h 172221"/>
                  <a:gd name="connsiteX22" fmla="*/ 34555 w 268262"/>
                  <a:gd name="connsiteY22" fmla="*/ 16385 h 172221"/>
                  <a:gd name="connsiteX23" fmla="*/ 10771 w 268262"/>
                  <a:gd name="connsiteY23" fmla="*/ 162318 h 17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8262" h="172221">
                    <a:moveTo>
                      <a:pt x="236820" y="172221"/>
                    </a:moveTo>
                    <a:lnTo>
                      <a:pt x="4957" y="172221"/>
                    </a:lnTo>
                    <a:cubicBezTo>
                      <a:pt x="3510" y="172221"/>
                      <a:pt x="2120" y="171581"/>
                      <a:pt x="1174" y="170469"/>
                    </a:cubicBezTo>
                    <a:cubicBezTo>
                      <a:pt x="228" y="169356"/>
                      <a:pt x="-162" y="167909"/>
                      <a:pt x="61" y="166463"/>
                    </a:cubicBezTo>
                    <a:lnTo>
                      <a:pt x="24819" y="14799"/>
                    </a:lnTo>
                    <a:cubicBezTo>
                      <a:pt x="26210" y="6231"/>
                      <a:pt x="33526" y="0"/>
                      <a:pt x="42205" y="0"/>
                    </a:cubicBezTo>
                    <a:lnTo>
                      <a:pt x="106020" y="0"/>
                    </a:lnTo>
                    <a:cubicBezTo>
                      <a:pt x="112974" y="0"/>
                      <a:pt x="119289" y="4117"/>
                      <a:pt x="122126" y="10460"/>
                    </a:cubicBezTo>
                    <a:lnTo>
                      <a:pt x="130722" y="29793"/>
                    </a:lnTo>
                    <a:lnTo>
                      <a:pt x="263303" y="29793"/>
                    </a:lnTo>
                    <a:cubicBezTo>
                      <a:pt x="264777" y="29793"/>
                      <a:pt x="266196" y="30461"/>
                      <a:pt x="267142" y="31601"/>
                    </a:cubicBezTo>
                    <a:cubicBezTo>
                      <a:pt x="268087" y="32742"/>
                      <a:pt x="268449" y="34244"/>
                      <a:pt x="268171" y="35718"/>
                    </a:cubicBezTo>
                    <a:lnTo>
                      <a:pt x="241688" y="168215"/>
                    </a:lnTo>
                    <a:cubicBezTo>
                      <a:pt x="241187" y="170552"/>
                      <a:pt x="239157" y="172221"/>
                      <a:pt x="236820" y="172221"/>
                    </a:cubicBezTo>
                    <a:close/>
                    <a:moveTo>
                      <a:pt x="10771" y="162318"/>
                    </a:moveTo>
                    <a:lnTo>
                      <a:pt x="232731" y="162318"/>
                    </a:lnTo>
                    <a:lnTo>
                      <a:pt x="257238" y="39724"/>
                    </a:lnTo>
                    <a:lnTo>
                      <a:pt x="127467" y="39724"/>
                    </a:lnTo>
                    <a:cubicBezTo>
                      <a:pt x="125520" y="39724"/>
                      <a:pt x="123740" y="38584"/>
                      <a:pt x="122933" y="36775"/>
                    </a:cubicBezTo>
                    <a:lnTo>
                      <a:pt x="113030" y="14493"/>
                    </a:lnTo>
                    <a:cubicBezTo>
                      <a:pt x="111778" y="11711"/>
                      <a:pt x="109024" y="9903"/>
                      <a:pt x="105992" y="9903"/>
                    </a:cubicBezTo>
                    <a:lnTo>
                      <a:pt x="42178" y="9903"/>
                    </a:lnTo>
                    <a:cubicBezTo>
                      <a:pt x="38366" y="9903"/>
                      <a:pt x="35167" y="12629"/>
                      <a:pt x="34555" y="16385"/>
                    </a:cubicBezTo>
                    <a:lnTo>
                      <a:pt x="10771" y="162318"/>
                    </a:lnTo>
                    <a:close/>
                  </a:path>
                </a:pathLst>
              </a:custGeom>
              <a:solidFill>
                <a:schemeClr val="accent1"/>
              </a:solidFill>
              <a:ln w="2775" cap="flat">
                <a:noFill/>
                <a:prstDash val="solid"/>
                <a:miter/>
              </a:ln>
            </p:spPr>
            <p:txBody>
              <a:bodyPr rtlCol="0" anchor="ctr"/>
              <a:lstStyle/>
              <a:p>
                <a:endParaRPr lang="en-GB" dirty="0"/>
              </a:p>
            </p:txBody>
          </p:sp>
          <p:sp>
            <p:nvSpPr>
              <p:cNvPr id="833" name="Freihandform: Form 832">
                <a:extLst>
                  <a:ext uri="{FF2B5EF4-FFF2-40B4-BE49-F238E27FC236}">
                    <a16:creationId xmlns:a16="http://schemas.microsoft.com/office/drawing/2014/main" id="{74BD2480-66DF-4CEC-87AD-0B6959947D2F}"/>
                  </a:ext>
                </a:extLst>
              </p:cNvPr>
              <p:cNvSpPr/>
              <p:nvPr/>
            </p:nvSpPr>
            <p:spPr>
              <a:xfrm>
                <a:off x="7178191" y="1940155"/>
                <a:ext cx="241765" cy="205324"/>
              </a:xfrm>
              <a:custGeom>
                <a:avLst/>
                <a:gdLst>
                  <a:gd name="connsiteX0" fmla="*/ 4952 w 241765"/>
                  <a:gd name="connsiteY0" fmla="*/ 205325 h 205324"/>
                  <a:gd name="connsiteX1" fmla="*/ 0 w 241765"/>
                  <a:gd name="connsiteY1" fmla="*/ 200373 h 205324"/>
                  <a:gd name="connsiteX2" fmla="*/ 0 w 241765"/>
                  <a:gd name="connsiteY2" fmla="*/ 17609 h 205324"/>
                  <a:gd name="connsiteX3" fmla="*/ 17609 w 241765"/>
                  <a:gd name="connsiteY3" fmla="*/ 0 h 205324"/>
                  <a:gd name="connsiteX4" fmla="*/ 224129 w 241765"/>
                  <a:gd name="connsiteY4" fmla="*/ 0 h 205324"/>
                  <a:gd name="connsiteX5" fmla="*/ 241766 w 241765"/>
                  <a:gd name="connsiteY5" fmla="*/ 17609 h 205324"/>
                  <a:gd name="connsiteX6" fmla="*/ 241766 w 241765"/>
                  <a:gd name="connsiteY6" fmla="*/ 48014 h 205324"/>
                  <a:gd name="connsiteX7" fmla="*/ 236814 w 241765"/>
                  <a:gd name="connsiteY7" fmla="*/ 52965 h 205324"/>
                  <a:gd name="connsiteX8" fmla="*/ 231863 w 241765"/>
                  <a:gd name="connsiteY8" fmla="*/ 48014 h 205324"/>
                  <a:gd name="connsiteX9" fmla="*/ 231863 w 241765"/>
                  <a:gd name="connsiteY9" fmla="*/ 17609 h 205324"/>
                  <a:gd name="connsiteX10" fmla="*/ 224157 w 241765"/>
                  <a:gd name="connsiteY10" fmla="*/ 9903 h 205324"/>
                  <a:gd name="connsiteX11" fmla="*/ 17637 w 241765"/>
                  <a:gd name="connsiteY11" fmla="*/ 9903 h 205324"/>
                  <a:gd name="connsiteX12" fmla="*/ 9931 w 241765"/>
                  <a:gd name="connsiteY12" fmla="*/ 17609 h 205324"/>
                  <a:gd name="connsiteX13" fmla="*/ 9931 w 241765"/>
                  <a:gd name="connsiteY13" fmla="*/ 200373 h 205324"/>
                  <a:gd name="connsiteX14" fmla="*/ 4952 w 241765"/>
                  <a:gd name="connsiteY14" fmla="*/ 205325 h 205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41765" h="205324">
                    <a:moveTo>
                      <a:pt x="4952" y="205325"/>
                    </a:moveTo>
                    <a:cubicBezTo>
                      <a:pt x="2225" y="205325"/>
                      <a:pt x="0" y="203099"/>
                      <a:pt x="0" y="200373"/>
                    </a:cubicBezTo>
                    <a:lnTo>
                      <a:pt x="0" y="17609"/>
                    </a:lnTo>
                    <a:cubicBezTo>
                      <a:pt x="0" y="7900"/>
                      <a:pt x="7900" y="0"/>
                      <a:pt x="17609" y="0"/>
                    </a:cubicBezTo>
                    <a:lnTo>
                      <a:pt x="224129" y="0"/>
                    </a:lnTo>
                    <a:cubicBezTo>
                      <a:pt x="233838" y="0"/>
                      <a:pt x="241766" y="7900"/>
                      <a:pt x="241766" y="17609"/>
                    </a:cubicBezTo>
                    <a:lnTo>
                      <a:pt x="241766" y="48014"/>
                    </a:lnTo>
                    <a:cubicBezTo>
                      <a:pt x="241766" y="50740"/>
                      <a:pt x="239541" y="52965"/>
                      <a:pt x="236814" y="52965"/>
                    </a:cubicBezTo>
                    <a:cubicBezTo>
                      <a:pt x="234088" y="52965"/>
                      <a:pt x="231863" y="50740"/>
                      <a:pt x="231863" y="48014"/>
                    </a:cubicBezTo>
                    <a:lnTo>
                      <a:pt x="231863" y="17609"/>
                    </a:lnTo>
                    <a:cubicBezTo>
                      <a:pt x="231863" y="13353"/>
                      <a:pt x="228413" y="9903"/>
                      <a:pt x="224157" y="9903"/>
                    </a:cubicBezTo>
                    <a:lnTo>
                      <a:pt x="17637" y="9903"/>
                    </a:lnTo>
                    <a:cubicBezTo>
                      <a:pt x="13380" y="9903"/>
                      <a:pt x="9931" y="13353"/>
                      <a:pt x="9931" y="17609"/>
                    </a:cubicBezTo>
                    <a:lnTo>
                      <a:pt x="9931" y="200373"/>
                    </a:lnTo>
                    <a:cubicBezTo>
                      <a:pt x="9903" y="203099"/>
                      <a:pt x="7678" y="205325"/>
                      <a:pt x="4952" y="205325"/>
                    </a:cubicBezTo>
                    <a:close/>
                  </a:path>
                </a:pathLst>
              </a:custGeom>
              <a:solidFill>
                <a:schemeClr val="accent1"/>
              </a:solidFill>
              <a:ln w="2775" cap="flat">
                <a:noFill/>
                <a:prstDash val="solid"/>
                <a:miter/>
              </a:ln>
            </p:spPr>
            <p:txBody>
              <a:bodyPr rtlCol="0" anchor="ctr"/>
              <a:lstStyle/>
              <a:p>
                <a:endParaRPr lang="en-GB" dirty="0"/>
              </a:p>
            </p:txBody>
          </p:sp>
        </p:grpSp>
      </p:grpSp>
      <p:grpSp>
        <p:nvGrpSpPr>
          <p:cNvPr id="12" name="Group 11">
            <a:extLst>
              <a:ext uri="{FF2B5EF4-FFF2-40B4-BE49-F238E27FC236}">
                <a16:creationId xmlns:a16="http://schemas.microsoft.com/office/drawing/2014/main" id="{9AE1E965-98F0-CEEE-0C5E-2B5C3D74B245}"/>
              </a:ext>
            </a:extLst>
          </p:cNvPr>
          <p:cNvGrpSpPr/>
          <p:nvPr/>
        </p:nvGrpSpPr>
        <p:grpSpPr>
          <a:xfrm>
            <a:off x="8238821" y="1626717"/>
            <a:ext cx="207717" cy="432000"/>
            <a:chOff x="8238409" y="1626717"/>
            <a:chExt cx="207717" cy="432000"/>
          </a:xfrm>
        </p:grpSpPr>
        <p:grpSp>
          <p:nvGrpSpPr>
            <p:cNvPr id="840" name="Grafik 114">
              <a:extLst>
                <a:ext uri="{FF2B5EF4-FFF2-40B4-BE49-F238E27FC236}">
                  <a16:creationId xmlns:a16="http://schemas.microsoft.com/office/drawing/2014/main" id="{41821C01-4179-48AF-A49F-F122C9F686D1}"/>
                </a:ext>
              </a:extLst>
            </p:cNvPr>
            <p:cNvGrpSpPr/>
            <p:nvPr/>
          </p:nvGrpSpPr>
          <p:grpSpPr>
            <a:xfrm>
              <a:off x="8238409" y="1626717"/>
              <a:ext cx="207717" cy="432000"/>
              <a:chOff x="7863784" y="1626728"/>
              <a:chExt cx="269493" cy="560478"/>
            </a:xfrm>
            <a:solidFill>
              <a:schemeClr val="tx2"/>
            </a:solidFill>
          </p:grpSpPr>
          <p:sp>
            <p:nvSpPr>
              <p:cNvPr id="847" name="Freihandform: Form 846">
                <a:extLst>
                  <a:ext uri="{FF2B5EF4-FFF2-40B4-BE49-F238E27FC236}">
                    <a16:creationId xmlns:a16="http://schemas.microsoft.com/office/drawing/2014/main" id="{BFDD99D5-9CC2-4711-9370-416F8479D284}"/>
                  </a:ext>
                </a:extLst>
              </p:cNvPr>
              <p:cNvSpPr/>
              <p:nvPr/>
            </p:nvSpPr>
            <p:spPr>
              <a:xfrm>
                <a:off x="7863784" y="1626728"/>
                <a:ext cx="269493" cy="449067"/>
              </a:xfrm>
              <a:custGeom>
                <a:avLst/>
                <a:gdLst>
                  <a:gd name="connsiteX0" fmla="*/ 197489 w 269493"/>
                  <a:gd name="connsiteY0" fmla="*/ 449068 h 449067"/>
                  <a:gd name="connsiteX1" fmla="*/ 194262 w 269493"/>
                  <a:gd name="connsiteY1" fmla="*/ 447872 h 449067"/>
                  <a:gd name="connsiteX2" fmla="*/ 193705 w 269493"/>
                  <a:gd name="connsiteY2" fmla="*/ 440889 h 449067"/>
                  <a:gd name="connsiteX3" fmla="*/ 199102 w 269493"/>
                  <a:gd name="connsiteY3" fmla="*/ 435131 h 449067"/>
                  <a:gd name="connsiteX4" fmla="*/ 214263 w 269493"/>
                  <a:gd name="connsiteY4" fmla="*/ 391512 h 449067"/>
                  <a:gd name="connsiteX5" fmla="*/ 234320 w 269493"/>
                  <a:gd name="connsiteY5" fmla="*/ 285693 h 449067"/>
                  <a:gd name="connsiteX6" fmla="*/ 259467 w 269493"/>
                  <a:gd name="connsiteY6" fmla="*/ 138007 h 449067"/>
                  <a:gd name="connsiteX7" fmla="*/ 156735 w 269493"/>
                  <a:gd name="connsiteY7" fmla="*/ 43954 h 449067"/>
                  <a:gd name="connsiteX8" fmla="*/ 152424 w 269493"/>
                  <a:gd name="connsiteY8" fmla="*/ 40728 h 449067"/>
                  <a:gd name="connsiteX9" fmla="*/ 143244 w 269493"/>
                  <a:gd name="connsiteY9" fmla="*/ 15636 h 449067"/>
                  <a:gd name="connsiteX10" fmla="*/ 135288 w 269493"/>
                  <a:gd name="connsiteY10" fmla="*/ 9961 h 449067"/>
                  <a:gd name="connsiteX11" fmla="*/ 134147 w 269493"/>
                  <a:gd name="connsiteY11" fmla="*/ 9961 h 449067"/>
                  <a:gd name="connsiteX12" fmla="*/ 126191 w 269493"/>
                  <a:gd name="connsiteY12" fmla="*/ 15552 h 449067"/>
                  <a:gd name="connsiteX13" fmla="*/ 116983 w 269493"/>
                  <a:gd name="connsiteY13" fmla="*/ 40728 h 449067"/>
                  <a:gd name="connsiteX14" fmla="*/ 112672 w 269493"/>
                  <a:gd name="connsiteY14" fmla="*/ 43954 h 449067"/>
                  <a:gd name="connsiteX15" fmla="*/ 9940 w 269493"/>
                  <a:gd name="connsiteY15" fmla="*/ 138007 h 449067"/>
                  <a:gd name="connsiteX16" fmla="*/ 35087 w 269493"/>
                  <a:gd name="connsiteY16" fmla="*/ 285693 h 449067"/>
                  <a:gd name="connsiteX17" fmla="*/ 55144 w 269493"/>
                  <a:gd name="connsiteY17" fmla="*/ 391512 h 449067"/>
                  <a:gd name="connsiteX18" fmla="*/ 70305 w 269493"/>
                  <a:gd name="connsiteY18" fmla="*/ 435131 h 449067"/>
                  <a:gd name="connsiteX19" fmla="*/ 75702 w 269493"/>
                  <a:gd name="connsiteY19" fmla="*/ 440889 h 449067"/>
                  <a:gd name="connsiteX20" fmla="*/ 75145 w 269493"/>
                  <a:gd name="connsiteY20" fmla="*/ 447872 h 449067"/>
                  <a:gd name="connsiteX21" fmla="*/ 68163 w 269493"/>
                  <a:gd name="connsiteY21" fmla="*/ 447315 h 449067"/>
                  <a:gd name="connsiteX22" fmla="*/ 63239 w 269493"/>
                  <a:gd name="connsiteY22" fmla="*/ 442058 h 449067"/>
                  <a:gd name="connsiteX23" fmla="*/ 45269 w 269493"/>
                  <a:gd name="connsiteY23" fmla="*/ 391846 h 449067"/>
                  <a:gd name="connsiteX24" fmla="*/ 25490 w 269493"/>
                  <a:gd name="connsiteY24" fmla="*/ 287918 h 449067"/>
                  <a:gd name="connsiteX25" fmla="*/ 64 w 269493"/>
                  <a:gd name="connsiteY25" fmla="*/ 137673 h 449067"/>
                  <a:gd name="connsiteX26" fmla="*/ 108805 w 269493"/>
                  <a:gd name="connsiteY26" fmla="*/ 34302 h 449067"/>
                  <a:gd name="connsiteX27" fmla="*/ 116900 w 269493"/>
                  <a:gd name="connsiteY27" fmla="*/ 12186 h 449067"/>
                  <a:gd name="connsiteX28" fmla="*/ 134036 w 269493"/>
                  <a:gd name="connsiteY28" fmla="*/ 2 h 449067"/>
                  <a:gd name="connsiteX29" fmla="*/ 134314 w 269493"/>
                  <a:gd name="connsiteY29" fmla="*/ 2 h 449067"/>
                  <a:gd name="connsiteX30" fmla="*/ 135288 w 269493"/>
                  <a:gd name="connsiteY30" fmla="*/ 2 h 449067"/>
                  <a:gd name="connsiteX31" fmla="*/ 152590 w 269493"/>
                  <a:gd name="connsiteY31" fmla="*/ 12214 h 449067"/>
                  <a:gd name="connsiteX32" fmla="*/ 160685 w 269493"/>
                  <a:gd name="connsiteY32" fmla="*/ 34302 h 449067"/>
                  <a:gd name="connsiteX33" fmla="*/ 269426 w 269493"/>
                  <a:gd name="connsiteY33" fmla="*/ 137673 h 449067"/>
                  <a:gd name="connsiteX34" fmla="*/ 244000 w 269493"/>
                  <a:gd name="connsiteY34" fmla="*/ 287918 h 449067"/>
                  <a:gd name="connsiteX35" fmla="*/ 224222 w 269493"/>
                  <a:gd name="connsiteY35" fmla="*/ 391846 h 449067"/>
                  <a:gd name="connsiteX36" fmla="*/ 206251 w 269493"/>
                  <a:gd name="connsiteY36" fmla="*/ 442058 h 449067"/>
                  <a:gd name="connsiteX37" fmla="*/ 201327 w 269493"/>
                  <a:gd name="connsiteY37" fmla="*/ 447315 h 449067"/>
                  <a:gd name="connsiteX38" fmla="*/ 197489 w 269493"/>
                  <a:gd name="connsiteY38" fmla="*/ 449068 h 44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69493" h="449067">
                    <a:moveTo>
                      <a:pt x="197489" y="449068"/>
                    </a:moveTo>
                    <a:cubicBezTo>
                      <a:pt x="196348" y="449068"/>
                      <a:pt x="195207" y="448678"/>
                      <a:pt x="194262" y="447872"/>
                    </a:cubicBezTo>
                    <a:cubicBezTo>
                      <a:pt x="192175" y="446091"/>
                      <a:pt x="191925" y="442976"/>
                      <a:pt x="193705" y="440889"/>
                    </a:cubicBezTo>
                    <a:cubicBezTo>
                      <a:pt x="195514" y="438775"/>
                      <a:pt x="197322" y="436911"/>
                      <a:pt x="199102" y="435131"/>
                    </a:cubicBezTo>
                    <a:cubicBezTo>
                      <a:pt x="207002" y="427092"/>
                      <a:pt x="213234" y="420721"/>
                      <a:pt x="214263" y="391512"/>
                    </a:cubicBezTo>
                    <a:cubicBezTo>
                      <a:pt x="215098" y="368006"/>
                      <a:pt x="224417" y="328032"/>
                      <a:pt x="234320" y="285693"/>
                    </a:cubicBezTo>
                    <a:cubicBezTo>
                      <a:pt x="246615" y="233006"/>
                      <a:pt x="260580" y="173280"/>
                      <a:pt x="259467" y="138007"/>
                    </a:cubicBezTo>
                    <a:cubicBezTo>
                      <a:pt x="257603" y="77726"/>
                      <a:pt x="206529" y="47320"/>
                      <a:pt x="156735" y="43954"/>
                    </a:cubicBezTo>
                    <a:cubicBezTo>
                      <a:pt x="154788" y="43815"/>
                      <a:pt x="153091" y="42564"/>
                      <a:pt x="152424" y="40728"/>
                    </a:cubicBezTo>
                    <a:lnTo>
                      <a:pt x="143244" y="15636"/>
                    </a:lnTo>
                    <a:cubicBezTo>
                      <a:pt x="141269" y="10128"/>
                      <a:pt x="135900" y="9961"/>
                      <a:pt x="135288" y="9961"/>
                    </a:cubicBezTo>
                    <a:lnTo>
                      <a:pt x="134147" y="9961"/>
                    </a:lnTo>
                    <a:cubicBezTo>
                      <a:pt x="133479" y="9961"/>
                      <a:pt x="128055" y="10128"/>
                      <a:pt x="126191" y="15552"/>
                    </a:cubicBezTo>
                    <a:lnTo>
                      <a:pt x="116983" y="40728"/>
                    </a:lnTo>
                    <a:cubicBezTo>
                      <a:pt x="116316" y="42564"/>
                      <a:pt x="114619" y="43843"/>
                      <a:pt x="112672" y="43954"/>
                    </a:cubicBezTo>
                    <a:cubicBezTo>
                      <a:pt x="62877" y="47320"/>
                      <a:pt x="11804" y="77698"/>
                      <a:pt x="9940" y="138007"/>
                    </a:cubicBezTo>
                    <a:cubicBezTo>
                      <a:pt x="8855" y="173252"/>
                      <a:pt x="22792" y="233006"/>
                      <a:pt x="35087" y="285693"/>
                    </a:cubicBezTo>
                    <a:cubicBezTo>
                      <a:pt x="44963" y="328032"/>
                      <a:pt x="54310" y="368006"/>
                      <a:pt x="55144" y="391512"/>
                    </a:cubicBezTo>
                    <a:cubicBezTo>
                      <a:pt x="56173" y="420721"/>
                      <a:pt x="62404" y="427092"/>
                      <a:pt x="70305" y="435131"/>
                    </a:cubicBezTo>
                    <a:cubicBezTo>
                      <a:pt x="72085" y="436939"/>
                      <a:pt x="73893" y="438775"/>
                      <a:pt x="75702" y="440889"/>
                    </a:cubicBezTo>
                    <a:cubicBezTo>
                      <a:pt x="77482" y="442976"/>
                      <a:pt x="77232" y="446091"/>
                      <a:pt x="75145" y="447872"/>
                    </a:cubicBezTo>
                    <a:cubicBezTo>
                      <a:pt x="73059" y="449652"/>
                      <a:pt x="69943" y="449402"/>
                      <a:pt x="68163" y="447315"/>
                    </a:cubicBezTo>
                    <a:cubicBezTo>
                      <a:pt x="66522" y="445396"/>
                      <a:pt x="64852" y="443699"/>
                      <a:pt x="63239" y="442058"/>
                    </a:cubicBezTo>
                    <a:cubicBezTo>
                      <a:pt x="54588" y="433239"/>
                      <a:pt x="46409" y="424894"/>
                      <a:pt x="45269" y="391846"/>
                    </a:cubicBezTo>
                    <a:cubicBezTo>
                      <a:pt x="44490" y="369286"/>
                      <a:pt x="35254" y="329784"/>
                      <a:pt x="25490" y="287918"/>
                    </a:cubicBezTo>
                    <a:cubicBezTo>
                      <a:pt x="12443" y="232032"/>
                      <a:pt x="-1048" y="174226"/>
                      <a:pt x="64" y="137673"/>
                    </a:cubicBezTo>
                    <a:cubicBezTo>
                      <a:pt x="2095" y="72496"/>
                      <a:pt x="55589" y="39059"/>
                      <a:pt x="108805" y="34302"/>
                    </a:cubicBezTo>
                    <a:lnTo>
                      <a:pt x="116900" y="12186"/>
                    </a:lnTo>
                    <a:cubicBezTo>
                      <a:pt x="120266" y="2534"/>
                      <a:pt x="129418" y="2"/>
                      <a:pt x="134036" y="2"/>
                    </a:cubicBezTo>
                    <a:cubicBezTo>
                      <a:pt x="134119" y="2"/>
                      <a:pt x="134203" y="2"/>
                      <a:pt x="134314" y="2"/>
                    </a:cubicBezTo>
                    <a:lnTo>
                      <a:pt x="135288" y="2"/>
                    </a:lnTo>
                    <a:cubicBezTo>
                      <a:pt x="139989" y="-81"/>
                      <a:pt x="149058" y="2339"/>
                      <a:pt x="152590" y="12214"/>
                    </a:cubicBezTo>
                    <a:lnTo>
                      <a:pt x="160685" y="34302"/>
                    </a:lnTo>
                    <a:cubicBezTo>
                      <a:pt x="213901" y="39059"/>
                      <a:pt x="267423" y="72496"/>
                      <a:pt x="269426" y="137673"/>
                    </a:cubicBezTo>
                    <a:cubicBezTo>
                      <a:pt x="270566" y="174226"/>
                      <a:pt x="257047" y="232032"/>
                      <a:pt x="244000" y="287918"/>
                    </a:cubicBezTo>
                    <a:cubicBezTo>
                      <a:pt x="234236" y="329756"/>
                      <a:pt x="225001" y="369286"/>
                      <a:pt x="224222" y="391846"/>
                    </a:cubicBezTo>
                    <a:cubicBezTo>
                      <a:pt x="223053" y="424894"/>
                      <a:pt x="214903" y="433239"/>
                      <a:pt x="206251" y="442058"/>
                    </a:cubicBezTo>
                    <a:cubicBezTo>
                      <a:pt x="204638" y="443699"/>
                      <a:pt x="202969" y="445396"/>
                      <a:pt x="201327" y="447315"/>
                    </a:cubicBezTo>
                    <a:cubicBezTo>
                      <a:pt x="200298" y="448456"/>
                      <a:pt x="198907" y="449068"/>
                      <a:pt x="197489" y="449068"/>
                    </a:cubicBezTo>
                    <a:close/>
                  </a:path>
                </a:pathLst>
              </a:custGeom>
              <a:grpFill/>
              <a:ln w="2775" cap="flat">
                <a:noFill/>
                <a:prstDash val="solid"/>
                <a:miter/>
              </a:ln>
            </p:spPr>
            <p:txBody>
              <a:bodyPr rtlCol="0" anchor="ctr"/>
              <a:lstStyle/>
              <a:p>
                <a:endParaRPr lang="en-GB" dirty="0"/>
              </a:p>
            </p:txBody>
          </p:sp>
          <p:sp>
            <p:nvSpPr>
              <p:cNvPr id="848" name="Freihandform: Form 847">
                <a:extLst>
                  <a:ext uri="{FF2B5EF4-FFF2-40B4-BE49-F238E27FC236}">
                    <a16:creationId xmlns:a16="http://schemas.microsoft.com/office/drawing/2014/main" id="{1737EB01-3C40-4BFC-ABEB-759B6A0931E4}"/>
                  </a:ext>
                </a:extLst>
              </p:cNvPr>
              <p:cNvSpPr/>
              <p:nvPr/>
            </p:nvSpPr>
            <p:spPr>
              <a:xfrm>
                <a:off x="7929916" y="2066087"/>
                <a:ext cx="138227" cy="87988"/>
              </a:xfrm>
              <a:custGeom>
                <a:avLst/>
                <a:gdLst>
                  <a:gd name="connsiteX0" fmla="*/ 133276 w 138227"/>
                  <a:gd name="connsiteY0" fmla="*/ 87988 h 87988"/>
                  <a:gd name="connsiteX1" fmla="*/ 4952 w 138227"/>
                  <a:gd name="connsiteY1" fmla="*/ 87988 h 87988"/>
                  <a:gd name="connsiteX2" fmla="*/ 0 w 138227"/>
                  <a:gd name="connsiteY2" fmla="*/ 83037 h 87988"/>
                  <a:gd name="connsiteX3" fmla="*/ 0 w 138227"/>
                  <a:gd name="connsiteY3" fmla="*/ 4952 h 87988"/>
                  <a:gd name="connsiteX4" fmla="*/ 4952 w 138227"/>
                  <a:gd name="connsiteY4" fmla="*/ 0 h 87988"/>
                  <a:gd name="connsiteX5" fmla="*/ 133276 w 138227"/>
                  <a:gd name="connsiteY5" fmla="*/ 0 h 87988"/>
                  <a:gd name="connsiteX6" fmla="*/ 138228 w 138227"/>
                  <a:gd name="connsiteY6" fmla="*/ 4952 h 87988"/>
                  <a:gd name="connsiteX7" fmla="*/ 138228 w 138227"/>
                  <a:gd name="connsiteY7" fmla="*/ 83037 h 87988"/>
                  <a:gd name="connsiteX8" fmla="*/ 133276 w 138227"/>
                  <a:gd name="connsiteY8" fmla="*/ 87988 h 87988"/>
                  <a:gd name="connsiteX9" fmla="*/ 9875 w 138227"/>
                  <a:gd name="connsiteY9" fmla="*/ 78085 h 87988"/>
                  <a:gd name="connsiteX10" fmla="*/ 128297 w 138227"/>
                  <a:gd name="connsiteY10" fmla="*/ 78085 h 87988"/>
                  <a:gd name="connsiteX11" fmla="*/ 128297 w 138227"/>
                  <a:gd name="connsiteY11" fmla="*/ 9903 h 87988"/>
                  <a:gd name="connsiteX12" fmla="*/ 9875 w 138227"/>
                  <a:gd name="connsiteY12" fmla="*/ 9903 h 87988"/>
                  <a:gd name="connsiteX13" fmla="*/ 9875 w 138227"/>
                  <a:gd name="connsiteY13" fmla="*/ 78085 h 87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8227" h="87988">
                    <a:moveTo>
                      <a:pt x="133276" y="87988"/>
                    </a:moveTo>
                    <a:lnTo>
                      <a:pt x="4952" y="87988"/>
                    </a:lnTo>
                    <a:cubicBezTo>
                      <a:pt x="2225" y="87988"/>
                      <a:pt x="0" y="85763"/>
                      <a:pt x="0" y="83037"/>
                    </a:cubicBezTo>
                    <a:lnTo>
                      <a:pt x="0" y="4952"/>
                    </a:lnTo>
                    <a:cubicBezTo>
                      <a:pt x="0" y="2225"/>
                      <a:pt x="2225" y="0"/>
                      <a:pt x="4952" y="0"/>
                    </a:cubicBezTo>
                    <a:lnTo>
                      <a:pt x="133276" y="0"/>
                    </a:lnTo>
                    <a:cubicBezTo>
                      <a:pt x="136002" y="0"/>
                      <a:pt x="138228" y="2225"/>
                      <a:pt x="138228" y="4952"/>
                    </a:cubicBezTo>
                    <a:lnTo>
                      <a:pt x="138228" y="83037"/>
                    </a:lnTo>
                    <a:cubicBezTo>
                      <a:pt x="138228" y="85763"/>
                      <a:pt x="136002" y="87988"/>
                      <a:pt x="133276" y="87988"/>
                    </a:cubicBezTo>
                    <a:close/>
                    <a:moveTo>
                      <a:pt x="9875" y="78085"/>
                    </a:moveTo>
                    <a:lnTo>
                      <a:pt x="128297" y="78085"/>
                    </a:lnTo>
                    <a:lnTo>
                      <a:pt x="128297" y="9903"/>
                    </a:lnTo>
                    <a:lnTo>
                      <a:pt x="9875" y="9903"/>
                    </a:lnTo>
                    <a:lnTo>
                      <a:pt x="9875" y="78085"/>
                    </a:lnTo>
                    <a:close/>
                  </a:path>
                </a:pathLst>
              </a:custGeom>
              <a:grpFill/>
              <a:ln w="2775" cap="flat">
                <a:noFill/>
                <a:prstDash val="solid"/>
                <a:miter/>
              </a:ln>
            </p:spPr>
            <p:txBody>
              <a:bodyPr rtlCol="0" anchor="ctr"/>
              <a:lstStyle/>
              <a:p>
                <a:endParaRPr lang="en-GB" dirty="0"/>
              </a:p>
            </p:txBody>
          </p:sp>
          <p:sp>
            <p:nvSpPr>
              <p:cNvPr id="849" name="Freihandform: Form 848">
                <a:extLst>
                  <a:ext uri="{FF2B5EF4-FFF2-40B4-BE49-F238E27FC236}">
                    <a16:creationId xmlns:a16="http://schemas.microsoft.com/office/drawing/2014/main" id="{6506D96E-3CAB-4C5D-BB2F-6CAAFB14D5EA}"/>
                  </a:ext>
                </a:extLst>
              </p:cNvPr>
              <p:cNvSpPr/>
              <p:nvPr/>
            </p:nvSpPr>
            <p:spPr>
              <a:xfrm>
                <a:off x="7929903" y="2144589"/>
                <a:ext cx="138196" cy="42617"/>
              </a:xfrm>
              <a:custGeom>
                <a:avLst/>
                <a:gdLst>
                  <a:gd name="connsiteX0" fmla="*/ 108475 w 138196"/>
                  <a:gd name="connsiteY0" fmla="*/ 42617 h 42617"/>
                  <a:gd name="connsiteX1" fmla="*/ 29750 w 138196"/>
                  <a:gd name="connsiteY1" fmla="*/ 42617 h 42617"/>
                  <a:gd name="connsiteX2" fmla="*/ 25800 w 138196"/>
                  <a:gd name="connsiteY2" fmla="*/ 40670 h 42617"/>
                  <a:gd name="connsiteX3" fmla="*/ 1014 w 138196"/>
                  <a:gd name="connsiteY3" fmla="*/ 7956 h 42617"/>
                  <a:gd name="connsiteX4" fmla="*/ 513 w 138196"/>
                  <a:gd name="connsiteY4" fmla="*/ 2754 h 42617"/>
                  <a:gd name="connsiteX5" fmla="*/ 4936 w 138196"/>
                  <a:gd name="connsiteY5" fmla="*/ 0 h 42617"/>
                  <a:gd name="connsiteX6" fmla="*/ 133260 w 138196"/>
                  <a:gd name="connsiteY6" fmla="*/ 0 h 42617"/>
                  <a:gd name="connsiteX7" fmla="*/ 137684 w 138196"/>
                  <a:gd name="connsiteY7" fmla="*/ 2754 h 42617"/>
                  <a:gd name="connsiteX8" fmla="*/ 137183 w 138196"/>
                  <a:gd name="connsiteY8" fmla="*/ 7956 h 42617"/>
                  <a:gd name="connsiteX9" fmla="*/ 112397 w 138196"/>
                  <a:gd name="connsiteY9" fmla="*/ 40670 h 42617"/>
                  <a:gd name="connsiteX10" fmla="*/ 108475 w 138196"/>
                  <a:gd name="connsiteY10" fmla="*/ 42617 h 42617"/>
                  <a:gd name="connsiteX11" fmla="*/ 32198 w 138196"/>
                  <a:gd name="connsiteY11" fmla="*/ 32714 h 42617"/>
                  <a:gd name="connsiteX12" fmla="*/ 106027 w 138196"/>
                  <a:gd name="connsiteY12" fmla="*/ 32714 h 42617"/>
                  <a:gd name="connsiteX13" fmla="*/ 123302 w 138196"/>
                  <a:gd name="connsiteY13" fmla="*/ 9903 h 42617"/>
                  <a:gd name="connsiteX14" fmla="*/ 14895 w 138196"/>
                  <a:gd name="connsiteY14" fmla="*/ 9903 h 42617"/>
                  <a:gd name="connsiteX15" fmla="*/ 32198 w 138196"/>
                  <a:gd name="connsiteY15" fmla="*/ 32714 h 42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8196" h="42617">
                    <a:moveTo>
                      <a:pt x="108475" y="42617"/>
                    </a:moveTo>
                    <a:lnTo>
                      <a:pt x="29750" y="42617"/>
                    </a:lnTo>
                    <a:cubicBezTo>
                      <a:pt x="28192" y="42617"/>
                      <a:pt x="26745" y="41894"/>
                      <a:pt x="25800" y="40670"/>
                    </a:cubicBezTo>
                    <a:lnTo>
                      <a:pt x="1014" y="7956"/>
                    </a:lnTo>
                    <a:cubicBezTo>
                      <a:pt x="-127" y="6454"/>
                      <a:pt x="-321" y="4451"/>
                      <a:pt x="513" y="2754"/>
                    </a:cubicBezTo>
                    <a:cubicBezTo>
                      <a:pt x="1348" y="1057"/>
                      <a:pt x="3072" y="0"/>
                      <a:pt x="4936" y="0"/>
                    </a:cubicBezTo>
                    <a:lnTo>
                      <a:pt x="133260" y="0"/>
                    </a:lnTo>
                    <a:cubicBezTo>
                      <a:pt x="135152" y="0"/>
                      <a:pt x="136849" y="1057"/>
                      <a:pt x="137684" y="2754"/>
                    </a:cubicBezTo>
                    <a:cubicBezTo>
                      <a:pt x="138518" y="4451"/>
                      <a:pt x="138323" y="6454"/>
                      <a:pt x="137183" y="7956"/>
                    </a:cubicBezTo>
                    <a:lnTo>
                      <a:pt x="112397" y="40670"/>
                    </a:lnTo>
                    <a:cubicBezTo>
                      <a:pt x="111507" y="41894"/>
                      <a:pt x="110033" y="42617"/>
                      <a:pt x="108475" y="42617"/>
                    </a:cubicBezTo>
                    <a:close/>
                    <a:moveTo>
                      <a:pt x="32198" y="32714"/>
                    </a:moveTo>
                    <a:lnTo>
                      <a:pt x="106027" y="32714"/>
                    </a:lnTo>
                    <a:lnTo>
                      <a:pt x="123302" y="9903"/>
                    </a:lnTo>
                    <a:lnTo>
                      <a:pt x="14895" y="9903"/>
                    </a:lnTo>
                    <a:lnTo>
                      <a:pt x="32198" y="32714"/>
                    </a:lnTo>
                    <a:close/>
                  </a:path>
                </a:pathLst>
              </a:custGeom>
              <a:grpFill/>
              <a:ln w="2775" cap="flat">
                <a:noFill/>
                <a:prstDash val="solid"/>
                <a:miter/>
              </a:ln>
            </p:spPr>
            <p:txBody>
              <a:bodyPr rtlCol="0" anchor="ctr"/>
              <a:lstStyle/>
              <a:p>
                <a:endParaRPr lang="en-GB" dirty="0"/>
              </a:p>
            </p:txBody>
          </p:sp>
          <p:grpSp>
            <p:nvGrpSpPr>
              <p:cNvPr id="850" name="Grafik 114">
                <a:extLst>
                  <a:ext uri="{FF2B5EF4-FFF2-40B4-BE49-F238E27FC236}">
                    <a16:creationId xmlns:a16="http://schemas.microsoft.com/office/drawing/2014/main" id="{3C90F54E-CFB8-4A27-9021-CEDAC29C886E}"/>
                  </a:ext>
                </a:extLst>
              </p:cNvPr>
              <p:cNvGrpSpPr/>
              <p:nvPr/>
            </p:nvGrpSpPr>
            <p:grpSpPr>
              <a:xfrm>
                <a:off x="7919095" y="2091068"/>
                <a:ext cx="162095" cy="40030"/>
                <a:chOff x="7919095" y="2091068"/>
                <a:chExt cx="162095" cy="40030"/>
              </a:xfrm>
              <a:grpFill/>
            </p:grpSpPr>
            <p:sp>
              <p:nvSpPr>
                <p:cNvPr id="851" name="Freihandform: Form 850">
                  <a:extLst>
                    <a:ext uri="{FF2B5EF4-FFF2-40B4-BE49-F238E27FC236}">
                      <a16:creationId xmlns:a16="http://schemas.microsoft.com/office/drawing/2014/main" id="{8147D5C9-F22F-4143-B13D-B4DDB3AF1A09}"/>
                    </a:ext>
                  </a:extLst>
                </p:cNvPr>
                <p:cNvSpPr/>
                <p:nvPr/>
              </p:nvSpPr>
              <p:spPr>
                <a:xfrm>
                  <a:off x="7919095" y="2091068"/>
                  <a:ext cx="162095" cy="9903"/>
                </a:xfrm>
                <a:custGeom>
                  <a:avLst/>
                  <a:gdLst>
                    <a:gd name="connsiteX0" fmla="*/ 157144 w 162095"/>
                    <a:gd name="connsiteY0" fmla="*/ 9903 h 9903"/>
                    <a:gd name="connsiteX1" fmla="*/ 4952 w 162095"/>
                    <a:gd name="connsiteY1" fmla="*/ 9903 h 9903"/>
                    <a:gd name="connsiteX2" fmla="*/ 0 w 162095"/>
                    <a:gd name="connsiteY2" fmla="*/ 4952 h 9903"/>
                    <a:gd name="connsiteX3" fmla="*/ 4952 w 162095"/>
                    <a:gd name="connsiteY3" fmla="*/ 0 h 9903"/>
                    <a:gd name="connsiteX4" fmla="*/ 157144 w 162095"/>
                    <a:gd name="connsiteY4" fmla="*/ 0 h 9903"/>
                    <a:gd name="connsiteX5" fmla="*/ 162095 w 162095"/>
                    <a:gd name="connsiteY5" fmla="*/ 4952 h 9903"/>
                    <a:gd name="connsiteX6" fmla="*/ 157144 w 162095"/>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095" h="9903">
                      <a:moveTo>
                        <a:pt x="157144" y="9903"/>
                      </a:moveTo>
                      <a:lnTo>
                        <a:pt x="4952" y="9903"/>
                      </a:lnTo>
                      <a:cubicBezTo>
                        <a:pt x="2225" y="9903"/>
                        <a:pt x="0" y="7678"/>
                        <a:pt x="0" y="4952"/>
                      </a:cubicBezTo>
                      <a:cubicBezTo>
                        <a:pt x="0" y="2225"/>
                        <a:pt x="2225" y="0"/>
                        <a:pt x="4952" y="0"/>
                      </a:cubicBezTo>
                      <a:lnTo>
                        <a:pt x="157144" y="0"/>
                      </a:lnTo>
                      <a:cubicBezTo>
                        <a:pt x="159870" y="0"/>
                        <a:pt x="162095" y="2225"/>
                        <a:pt x="162095" y="4952"/>
                      </a:cubicBezTo>
                      <a:cubicBezTo>
                        <a:pt x="162123" y="7706"/>
                        <a:pt x="159898" y="9903"/>
                        <a:pt x="157144" y="9903"/>
                      </a:cubicBezTo>
                      <a:close/>
                    </a:path>
                  </a:pathLst>
                </a:custGeom>
                <a:grpFill/>
                <a:ln w="2775" cap="flat">
                  <a:noFill/>
                  <a:prstDash val="solid"/>
                  <a:miter/>
                </a:ln>
              </p:spPr>
              <p:txBody>
                <a:bodyPr rtlCol="0" anchor="ctr"/>
                <a:lstStyle/>
                <a:p>
                  <a:endParaRPr lang="en-GB" dirty="0"/>
                </a:p>
              </p:txBody>
            </p:sp>
            <p:sp>
              <p:nvSpPr>
                <p:cNvPr id="852" name="Freihandform: Form 851">
                  <a:extLst>
                    <a:ext uri="{FF2B5EF4-FFF2-40B4-BE49-F238E27FC236}">
                      <a16:creationId xmlns:a16="http://schemas.microsoft.com/office/drawing/2014/main" id="{238354FC-2DA3-486F-B92C-AAFC1A1E193E}"/>
                    </a:ext>
                  </a:extLst>
                </p:cNvPr>
                <p:cNvSpPr/>
                <p:nvPr/>
              </p:nvSpPr>
              <p:spPr>
                <a:xfrm>
                  <a:off x="7919095" y="2121194"/>
                  <a:ext cx="162095" cy="9903"/>
                </a:xfrm>
                <a:custGeom>
                  <a:avLst/>
                  <a:gdLst>
                    <a:gd name="connsiteX0" fmla="*/ 157144 w 162095"/>
                    <a:gd name="connsiteY0" fmla="*/ 9903 h 9903"/>
                    <a:gd name="connsiteX1" fmla="*/ 4952 w 162095"/>
                    <a:gd name="connsiteY1" fmla="*/ 9903 h 9903"/>
                    <a:gd name="connsiteX2" fmla="*/ 0 w 162095"/>
                    <a:gd name="connsiteY2" fmla="*/ 4952 h 9903"/>
                    <a:gd name="connsiteX3" fmla="*/ 4952 w 162095"/>
                    <a:gd name="connsiteY3" fmla="*/ 0 h 9903"/>
                    <a:gd name="connsiteX4" fmla="*/ 157144 w 162095"/>
                    <a:gd name="connsiteY4" fmla="*/ 0 h 9903"/>
                    <a:gd name="connsiteX5" fmla="*/ 162095 w 162095"/>
                    <a:gd name="connsiteY5" fmla="*/ 4952 h 9903"/>
                    <a:gd name="connsiteX6" fmla="*/ 157144 w 162095"/>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2095" h="9903">
                      <a:moveTo>
                        <a:pt x="157144" y="9903"/>
                      </a:moveTo>
                      <a:lnTo>
                        <a:pt x="4952" y="9903"/>
                      </a:lnTo>
                      <a:cubicBezTo>
                        <a:pt x="2225" y="9903"/>
                        <a:pt x="0" y="7678"/>
                        <a:pt x="0" y="4952"/>
                      </a:cubicBezTo>
                      <a:cubicBezTo>
                        <a:pt x="0" y="2225"/>
                        <a:pt x="2225" y="0"/>
                        <a:pt x="4952" y="0"/>
                      </a:cubicBezTo>
                      <a:lnTo>
                        <a:pt x="157144" y="0"/>
                      </a:lnTo>
                      <a:cubicBezTo>
                        <a:pt x="159870" y="0"/>
                        <a:pt x="162095" y="2225"/>
                        <a:pt x="162095" y="4952"/>
                      </a:cubicBezTo>
                      <a:cubicBezTo>
                        <a:pt x="162123" y="7706"/>
                        <a:pt x="159898" y="9903"/>
                        <a:pt x="157144" y="9903"/>
                      </a:cubicBezTo>
                      <a:close/>
                    </a:path>
                  </a:pathLst>
                </a:custGeom>
                <a:grpFill/>
                <a:ln w="2775" cap="flat">
                  <a:noFill/>
                  <a:prstDash val="solid"/>
                  <a:miter/>
                </a:ln>
              </p:spPr>
              <p:txBody>
                <a:bodyPr rtlCol="0" anchor="ctr"/>
                <a:lstStyle/>
                <a:p>
                  <a:endParaRPr lang="en-GB" dirty="0"/>
                </a:p>
              </p:txBody>
            </p:sp>
          </p:grpSp>
        </p:grpSp>
        <p:grpSp>
          <p:nvGrpSpPr>
            <p:cNvPr id="841" name="Grafik 114">
              <a:extLst>
                <a:ext uri="{FF2B5EF4-FFF2-40B4-BE49-F238E27FC236}">
                  <a16:creationId xmlns:a16="http://schemas.microsoft.com/office/drawing/2014/main" id="{29D5E748-7373-4ACD-8160-67037443E1EE}"/>
                </a:ext>
              </a:extLst>
            </p:cNvPr>
            <p:cNvGrpSpPr/>
            <p:nvPr/>
          </p:nvGrpSpPr>
          <p:grpSpPr>
            <a:xfrm>
              <a:off x="8271793" y="1689605"/>
              <a:ext cx="140917" cy="159265"/>
              <a:chOff x="7907080" y="1708320"/>
              <a:chExt cx="182827" cy="206631"/>
            </a:xfrm>
            <a:solidFill>
              <a:schemeClr val="accent1"/>
            </a:solidFill>
          </p:grpSpPr>
          <p:grpSp>
            <p:nvGrpSpPr>
              <p:cNvPr id="842" name="Grafik 114">
                <a:extLst>
                  <a:ext uri="{FF2B5EF4-FFF2-40B4-BE49-F238E27FC236}">
                    <a16:creationId xmlns:a16="http://schemas.microsoft.com/office/drawing/2014/main" id="{544EEE42-88D7-43F1-9FCA-7C0C32F0F058}"/>
                  </a:ext>
                </a:extLst>
              </p:cNvPr>
              <p:cNvGrpSpPr/>
              <p:nvPr/>
            </p:nvGrpSpPr>
            <p:grpSpPr>
              <a:xfrm>
                <a:off x="7907080" y="1708320"/>
                <a:ext cx="182827" cy="206631"/>
                <a:chOff x="7907080" y="1708320"/>
                <a:chExt cx="182827" cy="206631"/>
              </a:xfrm>
              <a:solidFill>
                <a:schemeClr val="accent1"/>
              </a:solidFill>
            </p:grpSpPr>
            <p:sp>
              <p:nvSpPr>
                <p:cNvPr id="844" name="Freihandform: Form 843">
                  <a:extLst>
                    <a:ext uri="{FF2B5EF4-FFF2-40B4-BE49-F238E27FC236}">
                      <a16:creationId xmlns:a16="http://schemas.microsoft.com/office/drawing/2014/main" id="{F194E56A-C852-4539-87F9-9CB9C022F0A8}"/>
                    </a:ext>
                  </a:extLst>
                </p:cNvPr>
                <p:cNvSpPr/>
                <p:nvPr/>
              </p:nvSpPr>
              <p:spPr>
                <a:xfrm>
                  <a:off x="7907080" y="1751228"/>
                  <a:ext cx="182826" cy="120772"/>
                </a:xfrm>
                <a:custGeom>
                  <a:avLst/>
                  <a:gdLst>
                    <a:gd name="connsiteX0" fmla="*/ 160229 w 182826"/>
                    <a:gd name="connsiteY0" fmla="*/ 120773 h 120772"/>
                    <a:gd name="connsiteX1" fmla="*/ 74244 w 182826"/>
                    <a:gd name="connsiteY1" fmla="*/ 90090 h 120772"/>
                    <a:gd name="connsiteX2" fmla="*/ 17189 w 182826"/>
                    <a:gd name="connsiteY2" fmla="*/ 46972 h 120772"/>
                    <a:gd name="connsiteX3" fmla="*/ 1945 w 182826"/>
                    <a:gd name="connsiteY3" fmla="*/ 8722 h 120772"/>
                    <a:gd name="connsiteX4" fmla="*/ 108571 w 182826"/>
                    <a:gd name="connsiteY4" fmla="*/ 30670 h 120772"/>
                    <a:gd name="connsiteX5" fmla="*/ 165626 w 182826"/>
                    <a:gd name="connsiteY5" fmla="*/ 73788 h 120772"/>
                    <a:gd name="connsiteX6" fmla="*/ 180898 w 182826"/>
                    <a:gd name="connsiteY6" fmla="*/ 112038 h 120772"/>
                    <a:gd name="connsiteX7" fmla="*/ 160229 w 182826"/>
                    <a:gd name="connsiteY7" fmla="*/ 120773 h 120772"/>
                    <a:gd name="connsiteX8" fmla="*/ 22001 w 182826"/>
                    <a:gd name="connsiteY8" fmla="*/ 10029 h 120772"/>
                    <a:gd name="connsiteX9" fmla="*/ 10513 w 182826"/>
                    <a:gd name="connsiteY9" fmla="*/ 13701 h 120772"/>
                    <a:gd name="connsiteX10" fmla="*/ 24394 w 182826"/>
                    <a:gd name="connsiteY10" fmla="*/ 40212 h 120772"/>
                    <a:gd name="connsiteX11" fmla="*/ 79195 w 182826"/>
                    <a:gd name="connsiteY11" fmla="*/ 81550 h 120772"/>
                    <a:gd name="connsiteX12" fmla="*/ 172302 w 182826"/>
                    <a:gd name="connsiteY12" fmla="*/ 107114 h 120772"/>
                    <a:gd name="connsiteX13" fmla="*/ 158421 w 182826"/>
                    <a:gd name="connsiteY13" fmla="*/ 80604 h 120772"/>
                    <a:gd name="connsiteX14" fmla="*/ 103619 w 182826"/>
                    <a:gd name="connsiteY14" fmla="*/ 39266 h 120772"/>
                    <a:gd name="connsiteX15" fmla="*/ 22001 w 182826"/>
                    <a:gd name="connsiteY15" fmla="*/ 10029 h 12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2826" h="120772">
                      <a:moveTo>
                        <a:pt x="160229" y="120773"/>
                      </a:moveTo>
                      <a:cubicBezTo>
                        <a:pt x="138559" y="120773"/>
                        <a:pt x="104871" y="107782"/>
                        <a:pt x="74244" y="90090"/>
                      </a:cubicBezTo>
                      <a:cubicBezTo>
                        <a:pt x="51099" y="76709"/>
                        <a:pt x="30820" y="61409"/>
                        <a:pt x="17189" y="46972"/>
                      </a:cubicBezTo>
                      <a:cubicBezTo>
                        <a:pt x="2028" y="30921"/>
                        <a:pt x="-3257" y="17707"/>
                        <a:pt x="1945" y="8722"/>
                      </a:cubicBezTo>
                      <a:cubicBezTo>
                        <a:pt x="13183" y="-10778"/>
                        <a:pt x="64090" y="4994"/>
                        <a:pt x="108571" y="30670"/>
                      </a:cubicBezTo>
                      <a:cubicBezTo>
                        <a:pt x="131716" y="44051"/>
                        <a:pt x="151995" y="59351"/>
                        <a:pt x="165626" y="73788"/>
                      </a:cubicBezTo>
                      <a:cubicBezTo>
                        <a:pt x="180787" y="89839"/>
                        <a:pt x="186072" y="103053"/>
                        <a:pt x="180898" y="112038"/>
                      </a:cubicBezTo>
                      <a:cubicBezTo>
                        <a:pt x="177365" y="118130"/>
                        <a:pt x="170021" y="120773"/>
                        <a:pt x="160229" y="120773"/>
                      </a:cubicBezTo>
                      <a:close/>
                      <a:moveTo>
                        <a:pt x="22001" y="10029"/>
                      </a:moveTo>
                      <a:cubicBezTo>
                        <a:pt x="15881" y="10029"/>
                        <a:pt x="11904" y="11309"/>
                        <a:pt x="10513" y="13701"/>
                      </a:cubicBezTo>
                      <a:cubicBezTo>
                        <a:pt x="8565" y="17095"/>
                        <a:pt x="11013" y="26053"/>
                        <a:pt x="24394" y="40212"/>
                      </a:cubicBezTo>
                      <a:cubicBezTo>
                        <a:pt x="37385" y="53954"/>
                        <a:pt x="56857" y="68642"/>
                        <a:pt x="79195" y="81550"/>
                      </a:cubicBezTo>
                      <a:cubicBezTo>
                        <a:pt x="128572" y="110063"/>
                        <a:pt x="167322" y="115738"/>
                        <a:pt x="172302" y="107114"/>
                      </a:cubicBezTo>
                      <a:cubicBezTo>
                        <a:pt x="174249" y="103720"/>
                        <a:pt x="171801" y="94763"/>
                        <a:pt x="158421" y="80604"/>
                      </a:cubicBezTo>
                      <a:cubicBezTo>
                        <a:pt x="145430" y="66862"/>
                        <a:pt x="125957" y="52174"/>
                        <a:pt x="103619" y="39266"/>
                      </a:cubicBezTo>
                      <a:cubicBezTo>
                        <a:pt x="67957" y="18709"/>
                        <a:pt x="37858" y="10029"/>
                        <a:pt x="22001" y="10029"/>
                      </a:cubicBezTo>
                      <a:close/>
                    </a:path>
                  </a:pathLst>
                </a:custGeom>
                <a:solidFill>
                  <a:schemeClr val="accent1"/>
                </a:solidFill>
                <a:ln w="2775" cap="flat">
                  <a:noFill/>
                  <a:prstDash val="solid"/>
                  <a:miter/>
                </a:ln>
              </p:spPr>
              <p:txBody>
                <a:bodyPr rtlCol="0" anchor="ctr"/>
                <a:lstStyle/>
                <a:p>
                  <a:endParaRPr lang="en-GB" dirty="0"/>
                </a:p>
              </p:txBody>
            </p:sp>
            <p:sp>
              <p:nvSpPr>
                <p:cNvPr id="845" name="Freihandform: Form 844">
                  <a:extLst>
                    <a:ext uri="{FF2B5EF4-FFF2-40B4-BE49-F238E27FC236}">
                      <a16:creationId xmlns:a16="http://schemas.microsoft.com/office/drawing/2014/main" id="{D7689593-92BE-4D47-8569-2C4C39071442}"/>
                    </a:ext>
                  </a:extLst>
                </p:cNvPr>
                <p:cNvSpPr/>
                <p:nvPr/>
              </p:nvSpPr>
              <p:spPr>
                <a:xfrm>
                  <a:off x="7907092" y="1751228"/>
                  <a:ext cx="182815" cy="120772"/>
                </a:xfrm>
                <a:custGeom>
                  <a:avLst/>
                  <a:gdLst>
                    <a:gd name="connsiteX0" fmla="*/ 22574 w 182815"/>
                    <a:gd name="connsiteY0" fmla="*/ 120773 h 120772"/>
                    <a:gd name="connsiteX1" fmla="*/ 1933 w 182815"/>
                    <a:gd name="connsiteY1" fmla="*/ 112038 h 120772"/>
                    <a:gd name="connsiteX2" fmla="*/ 17177 w 182815"/>
                    <a:gd name="connsiteY2" fmla="*/ 73788 h 120772"/>
                    <a:gd name="connsiteX3" fmla="*/ 74232 w 182815"/>
                    <a:gd name="connsiteY3" fmla="*/ 30670 h 120772"/>
                    <a:gd name="connsiteX4" fmla="*/ 180858 w 182815"/>
                    <a:gd name="connsiteY4" fmla="*/ 8722 h 120772"/>
                    <a:gd name="connsiteX5" fmla="*/ 108531 w 182815"/>
                    <a:gd name="connsiteY5" fmla="*/ 90090 h 120772"/>
                    <a:gd name="connsiteX6" fmla="*/ 22574 w 182815"/>
                    <a:gd name="connsiteY6" fmla="*/ 120773 h 120772"/>
                    <a:gd name="connsiteX7" fmla="*/ 160801 w 182815"/>
                    <a:gd name="connsiteY7" fmla="*/ 10029 h 120772"/>
                    <a:gd name="connsiteX8" fmla="*/ 79211 w 182815"/>
                    <a:gd name="connsiteY8" fmla="*/ 39294 h 120772"/>
                    <a:gd name="connsiteX9" fmla="*/ 24410 w 182815"/>
                    <a:gd name="connsiteY9" fmla="*/ 80632 h 120772"/>
                    <a:gd name="connsiteX10" fmla="*/ 10529 w 182815"/>
                    <a:gd name="connsiteY10" fmla="*/ 107142 h 120772"/>
                    <a:gd name="connsiteX11" fmla="*/ 103635 w 182815"/>
                    <a:gd name="connsiteY11" fmla="*/ 81577 h 120772"/>
                    <a:gd name="connsiteX12" fmla="*/ 172318 w 182815"/>
                    <a:gd name="connsiteY12" fmla="*/ 13757 h 120772"/>
                    <a:gd name="connsiteX13" fmla="*/ 160801 w 182815"/>
                    <a:gd name="connsiteY13" fmla="*/ 10029 h 12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15" h="120772">
                      <a:moveTo>
                        <a:pt x="22574" y="120773"/>
                      </a:moveTo>
                      <a:cubicBezTo>
                        <a:pt x="12782" y="120773"/>
                        <a:pt x="5438" y="118130"/>
                        <a:pt x="1933" y="112038"/>
                      </a:cubicBezTo>
                      <a:cubicBezTo>
                        <a:pt x="-3241" y="103053"/>
                        <a:pt x="2016" y="89839"/>
                        <a:pt x="17177" y="73788"/>
                      </a:cubicBezTo>
                      <a:cubicBezTo>
                        <a:pt x="30808" y="59351"/>
                        <a:pt x="51087" y="44051"/>
                        <a:pt x="74232" y="30670"/>
                      </a:cubicBezTo>
                      <a:cubicBezTo>
                        <a:pt x="118685" y="4994"/>
                        <a:pt x="169592" y="-10778"/>
                        <a:pt x="180858" y="8722"/>
                      </a:cubicBezTo>
                      <a:cubicBezTo>
                        <a:pt x="192124" y="28222"/>
                        <a:pt x="153012" y="64414"/>
                        <a:pt x="108531" y="90090"/>
                      </a:cubicBezTo>
                      <a:cubicBezTo>
                        <a:pt x="77932" y="107782"/>
                        <a:pt x="44244" y="120773"/>
                        <a:pt x="22574" y="120773"/>
                      </a:cubicBezTo>
                      <a:close/>
                      <a:moveTo>
                        <a:pt x="160801" y="10029"/>
                      </a:moveTo>
                      <a:cubicBezTo>
                        <a:pt x="144945" y="10029"/>
                        <a:pt x="114846" y="18709"/>
                        <a:pt x="79211" y="39294"/>
                      </a:cubicBezTo>
                      <a:cubicBezTo>
                        <a:pt x="56873" y="52202"/>
                        <a:pt x="37401" y="66889"/>
                        <a:pt x="24410" y="80632"/>
                      </a:cubicBezTo>
                      <a:cubicBezTo>
                        <a:pt x="11029" y="94791"/>
                        <a:pt x="8581" y="103748"/>
                        <a:pt x="10529" y="107142"/>
                      </a:cubicBezTo>
                      <a:cubicBezTo>
                        <a:pt x="15508" y="115766"/>
                        <a:pt x="54259" y="110063"/>
                        <a:pt x="103635" y="81577"/>
                      </a:cubicBezTo>
                      <a:cubicBezTo>
                        <a:pt x="153763" y="52647"/>
                        <a:pt x="177409" y="22575"/>
                        <a:pt x="172318" y="13757"/>
                      </a:cubicBezTo>
                      <a:cubicBezTo>
                        <a:pt x="170899" y="11309"/>
                        <a:pt x="166894" y="10029"/>
                        <a:pt x="160801" y="10029"/>
                      </a:cubicBezTo>
                      <a:close/>
                    </a:path>
                  </a:pathLst>
                </a:custGeom>
                <a:solidFill>
                  <a:schemeClr val="accent1"/>
                </a:solidFill>
                <a:ln w="2775" cap="flat">
                  <a:noFill/>
                  <a:prstDash val="solid"/>
                  <a:miter/>
                </a:ln>
              </p:spPr>
              <p:txBody>
                <a:bodyPr rtlCol="0" anchor="ctr"/>
                <a:lstStyle/>
                <a:p>
                  <a:endParaRPr lang="en-GB" dirty="0"/>
                </a:p>
              </p:txBody>
            </p:sp>
            <p:sp>
              <p:nvSpPr>
                <p:cNvPr id="846" name="Freihandform: Form 845">
                  <a:extLst>
                    <a:ext uri="{FF2B5EF4-FFF2-40B4-BE49-F238E27FC236}">
                      <a16:creationId xmlns:a16="http://schemas.microsoft.com/office/drawing/2014/main" id="{5184CB5A-B6A1-4288-A8C9-29A39387FA6F}"/>
                    </a:ext>
                  </a:extLst>
                </p:cNvPr>
                <p:cNvSpPr/>
                <p:nvPr/>
              </p:nvSpPr>
              <p:spPr>
                <a:xfrm>
                  <a:off x="7964188" y="1708320"/>
                  <a:ext cx="68599" cy="206631"/>
                </a:xfrm>
                <a:custGeom>
                  <a:avLst/>
                  <a:gdLst>
                    <a:gd name="connsiteX0" fmla="*/ 34299 w 68599"/>
                    <a:gd name="connsiteY0" fmla="*/ 206632 h 206631"/>
                    <a:gd name="connsiteX1" fmla="*/ 0 w 68599"/>
                    <a:gd name="connsiteY1" fmla="*/ 103316 h 206631"/>
                    <a:gd name="connsiteX2" fmla="*/ 34299 w 68599"/>
                    <a:gd name="connsiteY2" fmla="*/ 0 h 206631"/>
                    <a:gd name="connsiteX3" fmla="*/ 68599 w 68599"/>
                    <a:gd name="connsiteY3" fmla="*/ 103316 h 206631"/>
                    <a:gd name="connsiteX4" fmla="*/ 34299 w 68599"/>
                    <a:gd name="connsiteY4" fmla="*/ 206632 h 206631"/>
                    <a:gd name="connsiteX5" fmla="*/ 34299 w 68599"/>
                    <a:gd name="connsiteY5" fmla="*/ 9903 h 206631"/>
                    <a:gd name="connsiteX6" fmla="*/ 9903 w 68599"/>
                    <a:gd name="connsiteY6" fmla="*/ 103316 h 206631"/>
                    <a:gd name="connsiteX7" fmla="*/ 34299 w 68599"/>
                    <a:gd name="connsiteY7" fmla="*/ 196729 h 206631"/>
                    <a:gd name="connsiteX8" fmla="*/ 58696 w 68599"/>
                    <a:gd name="connsiteY8" fmla="*/ 103316 h 206631"/>
                    <a:gd name="connsiteX9" fmla="*/ 34299 w 68599"/>
                    <a:gd name="connsiteY9" fmla="*/ 9903 h 206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599" h="206631">
                      <a:moveTo>
                        <a:pt x="34299" y="206632"/>
                      </a:moveTo>
                      <a:cubicBezTo>
                        <a:pt x="11767" y="206632"/>
                        <a:pt x="0" y="154668"/>
                        <a:pt x="0" y="103316"/>
                      </a:cubicBezTo>
                      <a:cubicBezTo>
                        <a:pt x="0" y="51964"/>
                        <a:pt x="11795" y="0"/>
                        <a:pt x="34299" y="0"/>
                      </a:cubicBezTo>
                      <a:cubicBezTo>
                        <a:pt x="56804" y="0"/>
                        <a:pt x="68599" y="51964"/>
                        <a:pt x="68599" y="103316"/>
                      </a:cubicBezTo>
                      <a:cubicBezTo>
                        <a:pt x="68599" y="154668"/>
                        <a:pt x="56804" y="206632"/>
                        <a:pt x="34299" y="206632"/>
                      </a:cubicBezTo>
                      <a:close/>
                      <a:moveTo>
                        <a:pt x="34299" y="9903"/>
                      </a:moveTo>
                      <a:cubicBezTo>
                        <a:pt x="24341" y="9903"/>
                        <a:pt x="9903" y="46289"/>
                        <a:pt x="9903" y="103316"/>
                      </a:cubicBezTo>
                      <a:cubicBezTo>
                        <a:pt x="9903" y="160343"/>
                        <a:pt x="24341" y="196729"/>
                        <a:pt x="34299" y="196729"/>
                      </a:cubicBezTo>
                      <a:cubicBezTo>
                        <a:pt x="44481" y="196729"/>
                        <a:pt x="58696" y="161205"/>
                        <a:pt x="58696" y="103316"/>
                      </a:cubicBezTo>
                      <a:cubicBezTo>
                        <a:pt x="58696" y="45455"/>
                        <a:pt x="44481" y="9903"/>
                        <a:pt x="34299" y="9903"/>
                      </a:cubicBezTo>
                      <a:close/>
                    </a:path>
                  </a:pathLst>
                </a:custGeom>
                <a:solidFill>
                  <a:schemeClr val="accent1"/>
                </a:solidFill>
                <a:ln w="2775" cap="flat">
                  <a:noFill/>
                  <a:prstDash val="solid"/>
                  <a:miter/>
                </a:ln>
              </p:spPr>
              <p:txBody>
                <a:bodyPr rtlCol="0" anchor="ctr"/>
                <a:lstStyle/>
                <a:p>
                  <a:endParaRPr lang="en-GB" dirty="0"/>
                </a:p>
              </p:txBody>
            </p:sp>
          </p:grpSp>
          <p:sp>
            <p:nvSpPr>
              <p:cNvPr id="843" name="Freihandform: Form 842">
                <a:extLst>
                  <a:ext uri="{FF2B5EF4-FFF2-40B4-BE49-F238E27FC236}">
                    <a16:creationId xmlns:a16="http://schemas.microsoft.com/office/drawing/2014/main" id="{754BAA4C-5BB5-46DF-894D-C47EC5296119}"/>
                  </a:ext>
                </a:extLst>
              </p:cNvPr>
              <p:cNvSpPr/>
              <p:nvPr/>
            </p:nvSpPr>
            <p:spPr>
              <a:xfrm>
                <a:off x="7981574" y="1794723"/>
                <a:ext cx="33826" cy="33826"/>
              </a:xfrm>
              <a:custGeom>
                <a:avLst/>
                <a:gdLst>
                  <a:gd name="connsiteX0" fmla="*/ 16913 w 33826"/>
                  <a:gd name="connsiteY0" fmla="*/ 33827 h 33826"/>
                  <a:gd name="connsiteX1" fmla="*/ 0 w 33826"/>
                  <a:gd name="connsiteY1" fmla="*/ 16913 h 33826"/>
                  <a:gd name="connsiteX2" fmla="*/ 16913 w 33826"/>
                  <a:gd name="connsiteY2" fmla="*/ 0 h 33826"/>
                  <a:gd name="connsiteX3" fmla="*/ 33827 w 33826"/>
                  <a:gd name="connsiteY3" fmla="*/ 16913 h 33826"/>
                  <a:gd name="connsiteX4" fmla="*/ 16913 w 33826"/>
                  <a:gd name="connsiteY4" fmla="*/ 33827 h 33826"/>
                  <a:gd name="connsiteX5" fmla="*/ 16913 w 33826"/>
                  <a:gd name="connsiteY5" fmla="*/ 9903 h 33826"/>
                  <a:gd name="connsiteX6" fmla="*/ 9903 w 33826"/>
                  <a:gd name="connsiteY6" fmla="*/ 16913 h 33826"/>
                  <a:gd name="connsiteX7" fmla="*/ 16913 w 33826"/>
                  <a:gd name="connsiteY7" fmla="*/ 23923 h 33826"/>
                  <a:gd name="connsiteX8" fmla="*/ 23923 w 33826"/>
                  <a:gd name="connsiteY8" fmla="*/ 16913 h 33826"/>
                  <a:gd name="connsiteX9" fmla="*/ 16913 w 33826"/>
                  <a:gd name="connsiteY9" fmla="*/ 9903 h 33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826" h="33826">
                    <a:moveTo>
                      <a:pt x="16913" y="33827"/>
                    </a:moveTo>
                    <a:cubicBezTo>
                      <a:pt x="7594" y="33827"/>
                      <a:pt x="0" y="26232"/>
                      <a:pt x="0" y="16913"/>
                    </a:cubicBezTo>
                    <a:cubicBezTo>
                      <a:pt x="0" y="7594"/>
                      <a:pt x="7594" y="0"/>
                      <a:pt x="16913" y="0"/>
                    </a:cubicBezTo>
                    <a:cubicBezTo>
                      <a:pt x="26232" y="0"/>
                      <a:pt x="33827" y="7594"/>
                      <a:pt x="33827" y="16913"/>
                    </a:cubicBezTo>
                    <a:cubicBezTo>
                      <a:pt x="33827" y="26232"/>
                      <a:pt x="26232" y="33827"/>
                      <a:pt x="16913" y="33827"/>
                    </a:cubicBezTo>
                    <a:close/>
                    <a:moveTo>
                      <a:pt x="16913" y="9903"/>
                    </a:moveTo>
                    <a:cubicBezTo>
                      <a:pt x="13047" y="9903"/>
                      <a:pt x="9903" y="13047"/>
                      <a:pt x="9903" y="16913"/>
                    </a:cubicBezTo>
                    <a:cubicBezTo>
                      <a:pt x="9903" y="20780"/>
                      <a:pt x="13047" y="23923"/>
                      <a:pt x="16913" y="23923"/>
                    </a:cubicBezTo>
                    <a:cubicBezTo>
                      <a:pt x="20780" y="23923"/>
                      <a:pt x="23923" y="20780"/>
                      <a:pt x="23923" y="16913"/>
                    </a:cubicBezTo>
                    <a:cubicBezTo>
                      <a:pt x="23923" y="13047"/>
                      <a:pt x="20780" y="9903"/>
                      <a:pt x="16913" y="9903"/>
                    </a:cubicBezTo>
                    <a:close/>
                  </a:path>
                </a:pathLst>
              </a:custGeom>
              <a:solidFill>
                <a:schemeClr val="accent1"/>
              </a:solidFill>
              <a:ln w="2775" cap="flat">
                <a:noFill/>
                <a:prstDash val="solid"/>
                <a:miter/>
              </a:ln>
            </p:spPr>
            <p:txBody>
              <a:bodyPr rtlCol="0" anchor="ctr"/>
              <a:lstStyle/>
              <a:p>
                <a:endParaRPr lang="en-GB" dirty="0"/>
              </a:p>
            </p:txBody>
          </p:sp>
        </p:grpSp>
      </p:grpSp>
      <p:sp>
        <p:nvSpPr>
          <p:cNvPr id="853" name="TextBox 1415">
            <a:extLst>
              <a:ext uri="{FF2B5EF4-FFF2-40B4-BE49-F238E27FC236}">
                <a16:creationId xmlns:a16="http://schemas.microsoft.com/office/drawing/2014/main" id="{A52857A9-BB15-414E-ACAE-384449EE2C35}"/>
              </a:ext>
            </a:extLst>
          </p:cNvPr>
          <p:cNvSpPr txBox="1"/>
          <p:nvPr/>
        </p:nvSpPr>
        <p:spPr>
          <a:xfrm>
            <a:off x="7045252" y="2077494"/>
            <a:ext cx="517769" cy="107722"/>
          </a:xfrm>
          <a:prstGeom prst="rect">
            <a:avLst/>
          </a:prstGeom>
          <a:noFill/>
          <a:effectLst/>
        </p:spPr>
        <p:txBody>
          <a:bodyPr wrap="none" lIns="0" tIns="0" rIns="0" bIns="0" rtlCol="0" anchor="t" anchorCtr="0">
            <a:spAutoFit/>
          </a:bodyPr>
          <a:lstStyle/>
          <a:p>
            <a:pPr algn="ctr"/>
            <a:r>
              <a:rPr lang="en-GB" sz="700" dirty="0">
                <a:solidFill>
                  <a:schemeClr val="tx2"/>
                </a:solidFill>
              </a:rPr>
              <a:t>Client stories</a:t>
            </a:r>
          </a:p>
        </p:txBody>
      </p:sp>
      <p:sp>
        <p:nvSpPr>
          <p:cNvPr id="854" name="TextBox 1413">
            <a:extLst>
              <a:ext uri="{FF2B5EF4-FFF2-40B4-BE49-F238E27FC236}">
                <a16:creationId xmlns:a16="http://schemas.microsoft.com/office/drawing/2014/main" id="{E291A3DB-C588-4F18-889C-DE023288B21E}"/>
              </a:ext>
            </a:extLst>
          </p:cNvPr>
          <p:cNvSpPr txBox="1"/>
          <p:nvPr/>
        </p:nvSpPr>
        <p:spPr>
          <a:xfrm>
            <a:off x="4976024" y="2077494"/>
            <a:ext cx="474489" cy="107722"/>
          </a:xfrm>
          <a:prstGeom prst="rect">
            <a:avLst/>
          </a:prstGeom>
          <a:noFill/>
          <a:effectLst/>
        </p:spPr>
        <p:txBody>
          <a:bodyPr wrap="none" lIns="0" tIns="0" rIns="0" bIns="0" rtlCol="0" anchor="t" anchorCtr="0">
            <a:spAutoFit/>
          </a:bodyPr>
          <a:lstStyle/>
          <a:p>
            <a:pPr algn="ctr"/>
            <a:r>
              <a:rPr lang="en-GB" sz="700" dirty="0">
                <a:solidFill>
                  <a:schemeClr val="tx2"/>
                </a:solidFill>
              </a:rPr>
              <a:t>What we do</a:t>
            </a:r>
          </a:p>
        </p:txBody>
      </p:sp>
      <p:sp>
        <p:nvSpPr>
          <p:cNvPr id="856" name="TextBox 1414">
            <a:extLst>
              <a:ext uri="{FF2B5EF4-FFF2-40B4-BE49-F238E27FC236}">
                <a16:creationId xmlns:a16="http://schemas.microsoft.com/office/drawing/2014/main" id="{25CD52E9-3BFB-435A-A93C-5B3C2F337AE5}"/>
              </a:ext>
            </a:extLst>
          </p:cNvPr>
          <p:cNvSpPr txBox="1"/>
          <p:nvPr/>
        </p:nvSpPr>
        <p:spPr>
          <a:xfrm>
            <a:off x="8097409" y="2077494"/>
            <a:ext cx="490519" cy="107722"/>
          </a:xfrm>
          <a:prstGeom prst="rect">
            <a:avLst/>
          </a:prstGeom>
          <a:noFill/>
          <a:effectLst/>
        </p:spPr>
        <p:txBody>
          <a:bodyPr wrap="none" lIns="0" tIns="0" rIns="0" bIns="0" rtlCol="0" anchor="t" anchorCtr="0">
            <a:spAutoFit/>
          </a:bodyPr>
          <a:lstStyle/>
          <a:p>
            <a:pPr algn="ctr"/>
            <a:r>
              <a:rPr lang="en-GB" sz="700" dirty="0">
                <a:solidFill>
                  <a:schemeClr val="tx2"/>
                </a:solidFill>
              </a:rPr>
              <a:t>Our process</a:t>
            </a:r>
          </a:p>
        </p:txBody>
      </p:sp>
      <p:grpSp>
        <p:nvGrpSpPr>
          <p:cNvPr id="9" name="Group 8">
            <a:extLst>
              <a:ext uri="{FF2B5EF4-FFF2-40B4-BE49-F238E27FC236}">
                <a16:creationId xmlns:a16="http://schemas.microsoft.com/office/drawing/2014/main" id="{6A249F54-19C3-447B-E896-FA8233AE05F8}"/>
              </a:ext>
            </a:extLst>
          </p:cNvPr>
          <p:cNvGrpSpPr/>
          <p:nvPr/>
        </p:nvGrpSpPr>
        <p:grpSpPr>
          <a:xfrm>
            <a:off x="5002659" y="2449341"/>
            <a:ext cx="421229" cy="432000"/>
            <a:chOff x="5002247" y="2449341"/>
            <a:chExt cx="421229" cy="432000"/>
          </a:xfrm>
        </p:grpSpPr>
        <p:sp>
          <p:nvSpPr>
            <p:cNvPr id="858" name="Freihandform: Form 857">
              <a:extLst>
                <a:ext uri="{FF2B5EF4-FFF2-40B4-BE49-F238E27FC236}">
                  <a16:creationId xmlns:a16="http://schemas.microsoft.com/office/drawing/2014/main" id="{5B8D1ED7-2005-4E5C-B910-40CBE20A73B0}"/>
                </a:ext>
              </a:extLst>
            </p:cNvPr>
            <p:cNvSpPr/>
            <p:nvPr/>
          </p:nvSpPr>
          <p:spPr>
            <a:xfrm>
              <a:off x="5002247" y="2588353"/>
              <a:ext cx="421229" cy="209278"/>
            </a:xfrm>
            <a:custGeom>
              <a:avLst/>
              <a:gdLst>
                <a:gd name="connsiteX0" fmla="*/ 205206 w 412941"/>
                <a:gd name="connsiteY0" fmla="*/ 205161 h 205160"/>
                <a:gd name="connsiteX1" fmla="*/ 195469 w 412941"/>
                <a:gd name="connsiteY1" fmla="*/ 202574 h 205160"/>
                <a:gd name="connsiteX2" fmla="*/ 10174 w 412941"/>
                <a:gd name="connsiteY2" fmla="*/ 97366 h 205160"/>
                <a:gd name="connsiteX3" fmla="*/ 48 w 412941"/>
                <a:gd name="connsiteY3" fmla="*/ 78422 h 205160"/>
                <a:gd name="connsiteX4" fmla="*/ 12538 w 412941"/>
                <a:gd name="connsiteY4" fmla="*/ 61036 h 205160"/>
                <a:gd name="connsiteX5" fmla="*/ 162533 w 412941"/>
                <a:gd name="connsiteY5" fmla="*/ 365 h 205160"/>
                <a:gd name="connsiteX6" fmla="*/ 168987 w 412941"/>
                <a:gd name="connsiteY6" fmla="*/ 3091 h 205160"/>
                <a:gd name="connsiteX7" fmla="*/ 166260 w 412941"/>
                <a:gd name="connsiteY7" fmla="*/ 9545 h 205160"/>
                <a:gd name="connsiteX8" fmla="*/ 16266 w 412941"/>
                <a:gd name="connsiteY8" fmla="*/ 70216 h 205160"/>
                <a:gd name="connsiteX9" fmla="*/ 9951 w 412941"/>
                <a:gd name="connsiteY9" fmla="*/ 79062 h 205160"/>
                <a:gd name="connsiteX10" fmla="*/ 15098 w 412941"/>
                <a:gd name="connsiteY10" fmla="*/ 88742 h 205160"/>
                <a:gd name="connsiteX11" fmla="*/ 200393 w 412941"/>
                <a:gd name="connsiteY11" fmla="*/ 193950 h 205160"/>
                <a:gd name="connsiteX12" fmla="*/ 209879 w 412941"/>
                <a:gd name="connsiteY12" fmla="*/ 194089 h 205160"/>
                <a:gd name="connsiteX13" fmla="*/ 397623 w 412941"/>
                <a:gd name="connsiteY13" fmla="*/ 94390 h 205160"/>
                <a:gd name="connsiteX14" fmla="*/ 403019 w 412941"/>
                <a:gd name="connsiteY14" fmla="*/ 84820 h 205160"/>
                <a:gd name="connsiteX15" fmla="*/ 396844 w 412941"/>
                <a:gd name="connsiteY15" fmla="*/ 75779 h 205160"/>
                <a:gd name="connsiteX16" fmla="*/ 248212 w 412941"/>
                <a:gd name="connsiteY16" fmla="*/ 12660 h 205160"/>
                <a:gd name="connsiteX17" fmla="*/ 245597 w 412941"/>
                <a:gd name="connsiteY17" fmla="*/ 6179 h 205160"/>
                <a:gd name="connsiteX18" fmla="*/ 252079 w 412941"/>
                <a:gd name="connsiteY18" fmla="*/ 3564 h 205160"/>
                <a:gd name="connsiteX19" fmla="*/ 400710 w 412941"/>
                <a:gd name="connsiteY19" fmla="*/ 66683 h 205160"/>
                <a:gd name="connsiteX20" fmla="*/ 412922 w 412941"/>
                <a:gd name="connsiteY20" fmla="*/ 84403 h 205160"/>
                <a:gd name="connsiteX21" fmla="*/ 402268 w 412941"/>
                <a:gd name="connsiteY21" fmla="*/ 103152 h 205160"/>
                <a:gd name="connsiteX22" fmla="*/ 214469 w 412941"/>
                <a:gd name="connsiteY22" fmla="*/ 202852 h 205160"/>
                <a:gd name="connsiteX23" fmla="*/ 205206 w 412941"/>
                <a:gd name="connsiteY23" fmla="*/ 205161 h 205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12941" h="205160">
                  <a:moveTo>
                    <a:pt x="205206" y="205161"/>
                  </a:moveTo>
                  <a:cubicBezTo>
                    <a:pt x="201840" y="205161"/>
                    <a:pt x="198501" y="204298"/>
                    <a:pt x="195469" y="202574"/>
                  </a:cubicBezTo>
                  <a:lnTo>
                    <a:pt x="10174" y="97366"/>
                  </a:lnTo>
                  <a:cubicBezTo>
                    <a:pt x="3386" y="93527"/>
                    <a:pt x="-481" y="86267"/>
                    <a:pt x="48" y="78422"/>
                  </a:cubicBezTo>
                  <a:cubicBezTo>
                    <a:pt x="577" y="70605"/>
                    <a:pt x="5361" y="63929"/>
                    <a:pt x="12538" y="61036"/>
                  </a:cubicBezTo>
                  <a:lnTo>
                    <a:pt x="162533" y="365"/>
                  </a:lnTo>
                  <a:cubicBezTo>
                    <a:pt x="165064" y="-664"/>
                    <a:pt x="167957" y="560"/>
                    <a:pt x="168987" y="3091"/>
                  </a:cubicBezTo>
                  <a:cubicBezTo>
                    <a:pt x="170016" y="5622"/>
                    <a:pt x="168792" y="8515"/>
                    <a:pt x="166260" y="9545"/>
                  </a:cubicBezTo>
                  <a:lnTo>
                    <a:pt x="16266" y="70216"/>
                  </a:lnTo>
                  <a:cubicBezTo>
                    <a:pt x="12566" y="71718"/>
                    <a:pt x="10202" y="75028"/>
                    <a:pt x="9951" y="79062"/>
                  </a:cubicBezTo>
                  <a:cubicBezTo>
                    <a:pt x="9673" y="83151"/>
                    <a:pt x="11592" y="86767"/>
                    <a:pt x="15098" y="88742"/>
                  </a:cubicBezTo>
                  <a:lnTo>
                    <a:pt x="200393" y="193950"/>
                  </a:lnTo>
                  <a:cubicBezTo>
                    <a:pt x="203342" y="195619"/>
                    <a:pt x="206875" y="195675"/>
                    <a:pt x="209879" y="194089"/>
                  </a:cubicBezTo>
                  <a:lnTo>
                    <a:pt x="397623" y="94390"/>
                  </a:lnTo>
                  <a:cubicBezTo>
                    <a:pt x="401183" y="92498"/>
                    <a:pt x="403214" y="88909"/>
                    <a:pt x="403019" y="84820"/>
                  </a:cubicBezTo>
                  <a:cubicBezTo>
                    <a:pt x="402852" y="80731"/>
                    <a:pt x="400543" y="77337"/>
                    <a:pt x="396844" y="75779"/>
                  </a:cubicBezTo>
                  <a:lnTo>
                    <a:pt x="248212" y="12660"/>
                  </a:lnTo>
                  <a:cubicBezTo>
                    <a:pt x="245681" y="11603"/>
                    <a:pt x="244512" y="8682"/>
                    <a:pt x="245597" y="6179"/>
                  </a:cubicBezTo>
                  <a:cubicBezTo>
                    <a:pt x="246682" y="3675"/>
                    <a:pt x="249575" y="2507"/>
                    <a:pt x="252079" y="3564"/>
                  </a:cubicBezTo>
                  <a:lnTo>
                    <a:pt x="400710" y="66683"/>
                  </a:lnTo>
                  <a:cubicBezTo>
                    <a:pt x="407887" y="69743"/>
                    <a:pt x="412589" y="76530"/>
                    <a:pt x="412922" y="84403"/>
                  </a:cubicBezTo>
                  <a:cubicBezTo>
                    <a:pt x="413256" y="92303"/>
                    <a:pt x="409195" y="99480"/>
                    <a:pt x="402268" y="103152"/>
                  </a:cubicBezTo>
                  <a:lnTo>
                    <a:pt x="214469" y="202852"/>
                  </a:lnTo>
                  <a:cubicBezTo>
                    <a:pt x="211548" y="204410"/>
                    <a:pt x="208377" y="205161"/>
                    <a:pt x="205206" y="205161"/>
                  </a:cubicBezTo>
                  <a:close/>
                </a:path>
              </a:pathLst>
            </a:custGeom>
            <a:solidFill>
              <a:schemeClr val="accent1"/>
            </a:solidFill>
            <a:ln w="2775" cap="flat">
              <a:noFill/>
              <a:prstDash val="solid"/>
              <a:miter/>
            </a:ln>
          </p:spPr>
          <p:txBody>
            <a:bodyPr rtlCol="0" anchor="ctr"/>
            <a:lstStyle/>
            <a:p>
              <a:endParaRPr lang="en-GB" dirty="0"/>
            </a:p>
          </p:txBody>
        </p:sp>
        <p:grpSp>
          <p:nvGrpSpPr>
            <p:cNvPr id="859" name="Group 773">
              <a:extLst>
                <a:ext uri="{FF2B5EF4-FFF2-40B4-BE49-F238E27FC236}">
                  <a16:creationId xmlns:a16="http://schemas.microsoft.com/office/drawing/2014/main" id="{8AEF9D7D-9946-4469-AB92-F2D14F2C23FB}"/>
                </a:ext>
              </a:extLst>
            </p:cNvPr>
            <p:cNvGrpSpPr/>
            <p:nvPr/>
          </p:nvGrpSpPr>
          <p:grpSpPr>
            <a:xfrm>
              <a:off x="5005854" y="2449341"/>
              <a:ext cx="413523" cy="432000"/>
              <a:chOff x="5311314" y="2519576"/>
              <a:chExt cx="405387" cy="423500"/>
            </a:xfrm>
            <a:solidFill>
              <a:schemeClr val="tx2"/>
            </a:solidFill>
          </p:grpSpPr>
          <p:sp>
            <p:nvSpPr>
              <p:cNvPr id="860" name="Freihandform: Form 859">
                <a:extLst>
                  <a:ext uri="{FF2B5EF4-FFF2-40B4-BE49-F238E27FC236}">
                    <a16:creationId xmlns:a16="http://schemas.microsoft.com/office/drawing/2014/main" id="{F379B5DA-19F6-4469-B5C2-8F60F1FC1D63}"/>
                  </a:ext>
                </a:extLst>
              </p:cNvPr>
              <p:cNvSpPr/>
              <p:nvPr/>
            </p:nvSpPr>
            <p:spPr>
              <a:xfrm>
                <a:off x="5311314" y="2788962"/>
                <a:ext cx="405387" cy="154114"/>
              </a:xfrm>
              <a:custGeom>
                <a:avLst/>
                <a:gdLst>
                  <a:gd name="connsiteX0" fmla="*/ 201665 w 405387"/>
                  <a:gd name="connsiteY0" fmla="*/ 154115 h 154114"/>
                  <a:gd name="connsiteX1" fmla="*/ 191901 w 405387"/>
                  <a:gd name="connsiteY1" fmla="*/ 151528 h 154114"/>
                  <a:gd name="connsiteX2" fmla="*/ 184223 w 405387"/>
                  <a:gd name="connsiteY2" fmla="*/ 147188 h 154114"/>
                  <a:gd name="connsiteX3" fmla="*/ 182359 w 405387"/>
                  <a:gd name="connsiteY3" fmla="*/ 140428 h 154114"/>
                  <a:gd name="connsiteX4" fmla="*/ 189119 w 405387"/>
                  <a:gd name="connsiteY4" fmla="*/ 138565 h 154114"/>
                  <a:gd name="connsiteX5" fmla="*/ 196797 w 405387"/>
                  <a:gd name="connsiteY5" fmla="*/ 142932 h 154114"/>
                  <a:gd name="connsiteX6" fmla="*/ 206283 w 405387"/>
                  <a:gd name="connsiteY6" fmla="*/ 143071 h 154114"/>
                  <a:gd name="connsiteX7" fmla="*/ 214517 w 405387"/>
                  <a:gd name="connsiteY7" fmla="*/ 138704 h 154114"/>
                  <a:gd name="connsiteX8" fmla="*/ 221221 w 405387"/>
                  <a:gd name="connsiteY8" fmla="*/ 140762 h 154114"/>
                  <a:gd name="connsiteX9" fmla="*/ 219162 w 405387"/>
                  <a:gd name="connsiteY9" fmla="*/ 147466 h 154114"/>
                  <a:gd name="connsiteX10" fmla="*/ 210928 w 405387"/>
                  <a:gd name="connsiteY10" fmla="*/ 151834 h 154114"/>
                  <a:gd name="connsiteX11" fmla="*/ 201665 w 405387"/>
                  <a:gd name="connsiteY11" fmla="*/ 154115 h 154114"/>
                  <a:gd name="connsiteX12" fmla="*/ 246007 w 405387"/>
                  <a:gd name="connsiteY12" fmla="*/ 132528 h 154114"/>
                  <a:gd name="connsiteX13" fmla="*/ 241639 w 405387"/>
                  <a:gd name="connsiteY13" fmla="*/ 129885 h 154114"/>
                  <a:gd name="connsiteX14" fmla="*/ 243698 w 405387"/>
                  <a:gd name="connsiteY14" fmla="*/ 123181 h 154114"/>
                  <a:gd name="connsiteX15" fmla="*/ 272851 w 405387"/>
                  <a:gd name="connsiteY15" fmla="*/ 107687 h 154114"/>
                  <a:gd name="connsiteX16" fmla="*/ 279555 w 405387"/>
                  <a:gd name="connsiteY16" fmla="*/ 109745 h 154114"/>
                  <a:gd name="connsiteX17" fmla="*/ 277497 w 405387"/>
                  <a:gd name="connsiteY17" fmla="*/ 116449 h 154114"/>
                  <a:gd name="connsiteX18" fmla="*/ 248343 w 405387"/>
                  <a:gd name="connsiteY18" fmla="*/ 131944 h 154114"/>
                  <a:gd name="connsiteX19" fmla="*/ 246007 w 405387"/>
                  <a:gd name="connsiteY19" fmla="*/ 132528 h 154114"/>
                  <a:gd name="connsiteX20" fmla="*/ 157963 w 405387"/>
                  <a:gd name="connsiteY20" fmla="*/ 131527 h 154114"/>
                  <a:gd name="connsiteX21" fmla="*/ 155515 w 405387"/>
                  <a:gd name="connsiteY21" fmla="*/ 130887 h 154114"/>
                  <a:gd name="connsiteX22" fmla="*/ 126807 w 405387"/>
                  <a:gd name="connsiteY22" fmla="*/ 114585 h 154114"/>
                  <a:gd name="connsiteX23" fmla="*/ 124943 w 405387"/>
                  <a:gd name="connsiteY23" fmla="*/ 107826 h 154114"/>
                  <a:gd name="connsiteX24" fmla="*/ 131703 w 405387"/>
                  <a:gd name="connsiteY24" fmla="*/ 105962 h 154114"/>
                  <a:gd name="connsiteX25" fmla="*/ 160411 w 405387"/>
                  <a:gd name="connsiteY25" fmla="*/ 122263 h 154114"/>
                  <a:gd name="connsiteX26" fmla="*/ 162275 w 405387"/>
                  <a:gd name="connsiteY26" fmla="*/ 129023 h 154114"/>
                  <a:gd name="connsiteX27" fmla="*/ 157963 w 405387"/>
                  <a:gd name="connsiteY27" fmla="*/ 131527 h 154114"/>
                  <a:gd name="connsiteX28" fmla="*/ 304313 w 405387"/>
                  <a:gd name="connsiteY28" fmla="*/ 101567 h 154114"/>
                  <a:gd name="connsiteX29" fmla="*/ 299946 w 405387"/>
                  <a:gd name="connsiteY29" fmla="*/ 98924 h 154114"/>
                  <a:gd name="connsiteX30" fmla="*/ 302004 w 405387"/>
                  <a:gd name="connsiteY30" fmla="*/ 92220 h 154114"/>
                  <a:gd name="connsiteX31" fmla="*/ 331158 w 405387"/>
                  <a:gd name="connsiteY31" fmla="*/ 76725 h 154114"/>
                  <a:gd name="connsiteX32" fmla="*/ 337862 w 405387"/>
                  <a:gd name="connsiteY32" fmla="*/ 78784 h 154114"/>
                  <a:gd name="connsiteX33" fmla="*/ 335803 w 405387"/>
                  <a:gd name="connsiteY33" fmla="*/ 85488 h 154114"/>
                  <a:gd name="connsiteX34" fmla="*/ 306650 w 405387"/>
                  <a:gd name="connsiteY34" fmla="*/ 100982 h 154114"/>
                  <a:gd name="connsiteX35" fmla="*/ 304313 w 405387"/>
                  <a:gd name="connsiteY35" fmla="*/ 101567 h 154114"/>
                  <a:gd name="connsiteX36" fmla="*/ 100547 w 405387"/>
                  <a:gd name="connsiteY36" fmla="*/ 98924 h 154114"/>
                  <a:gd name="connsiteX37" fmla="*/ 98099 w 405387"/>
                  <a:gd name="connsiteY37" fmla="*/ 98284 h 154114"/>
                  <a:gd name="connsiteX38" fmla="*/ 69390 w 405387"/>
                  <a:gd name="connsiteY38" fmla="*/ 81983 h 154114"/>
                  <a:gd name="connsiteX39" fmla="*/ 67527 w 405387"/>
                  <a:gd name="connsiteY39" fmla="*/ 75223 h 154114"/>
                  <a:gd name="connsiteX40" fmla="*/ 74286 w 405387"/>
                  <a:gd name="connsiteY40" fmla="*/ 73359 h 154114"/>
                  <a:gd name="connsiteX41" fmla="*/ 102995 w 405387"/>
                  <a:gd name="connsiteY41" fmla="*/ 89660 h 154114"/>
                  <a:gd name="connsiteX42" fmla="*/ 104858 w 405387"/>
                  <a:gd name="connsiteY42" fmla="*/ 96420 h 154114"/>
                  <a:gd name="connsiteX43" fmla="*/ 100547 w 405387"/>
                  <a:gd name="connsiteY43" fmla="*/ 98924 h 154114"/>
                  <a:gd name="connsiteX44" fmla="*/ 362620 w 405387"/>
                  <a:gd name="connsiteY44" fmla="*/ 70605 h 154114"/>
                  <a:gd name="connsiteX45" fmla="*/ 358252 w 405387"/>
                  <a:gd name="connsiteY45" fmla="*/ 67962 h 154114"/>
                  <a:gd name="connsiteX46" fmla="*/ 360311 w 405387"/>
                  <a:gd name="connsiteY46" fmla="*/ 61258 h 154114"/>
                  <a:gd name="connsiteX47" fmla="*/ 389464 w 405387"/>
                  <a:gd name="connsiteY47" fmla="*/ 45764 h 154114"/>
                  <a:gd name="connsiteX48" fmla="*/ 396168 w 405387"/>
                  <a:gd name="connsiteY48" fmla="*/ 47822 h 154114"/>
                  <a:gd name="connsiteX49" fmla="*/ 394110 w 405387"/>
                  <a:gd name="connsiteY49" fmla="*/ 54526 h 154114"/>
                  <a:gd name="connsiteX50" fmla="*/ 364956 w 405387"/>
                  <a:gd name="connsiteY50" fmla="*/ 70021 h 154114"/>
                  <a:gd name="connsiteX51" fmla="*/ 362620 w 405387"/>
                  <a:gd name="connsiteY51" fmla="*/ 70605 h 154114"/>
                  <a:gd name="connsiteX52" fmla="*/ 43130 w 405387"/>
                  <a:gd name="connsiteY52" fmla="*/ 66349 h 154114"/>
                  <a:gd name="connsiteX53" fmla="*/ 40682 w 405387"/>
                  <a:gd name="connsiteY53" fmla="*/ 65709 h 154114"/>
                  <a:gd name="connsiteX54" fmla="*/ 11974 w 405387"/>
                  <a:gd name="connsiteY54" fmla="*/ 49408 h 154114"/>
                  <a:gd name="connsiteX55" fmla="*/ 10110 w 405387"/>
                  <a:gd name="connsiteY55" fmla="*/ 42648 h 154114"/>
                  <a:gd name="connsiteX56" fmla="*/ 16870 w 405387"/>
                  <a:gd name="connsiteY56" fmla="*/ 40784 h 154114"/>
                  <a:gd name="connsiteX57" fmla="*/ 45578 w 405387"/>
                  <a:gd name="connsiteY57" fmla="*/ 57086 h 154114"/>
                  <a:gd name="connsiteX58" fmla="*/ 47442 w 405387"/>
                  <a:gd name="connsiteY58" fmla="*/ 63845 h 154114"/>
                  <a:gd name="connsiteX59" fmla="*/ 43130 w 405387"/>
                  <a:gd name="connsiteY59" fmla="*/ 66349 h 154114"/>
                  <a:gd name="connsiteX60" fmla="*/ 400424 w 405387"/>
                  <a:gd name="connsiteY60" fmla="*/ 28850 h 154114"/>
                  <a:gd name="connsiteX61" fmla="*/ 396780 w 405387"/>
                  <a:gd name="connsiteY61" fmla="*/ 27237 h 154114"/>
                  <a:gd name="connsiteX62" fmla="*/ 393247 w 405387"/>
                  <a:gd name="connsiteY62" fmla="*/ 24761 h 154114"/>
                  <a:gd name="connsiteX63" fmla="*/ 368823 w 405387"/>
                  <a:gd name="connsiteY63" fmla="*/ 14385 h 154114"/>
                  <a:gd name="connsiteX64" fmla="*/ 366208 w 405387"/>
                  <a:gd name="connsiteY64" fmla="*/ 7903 h 154114"/>
                  <a:gd name="connsiteX65" fmla="*/ 372690 w 405387"/>
                  <a:gd name="connsiteY65" fmla="*/ 5289 h 154114"/>
                  <a:gd name="connsiteX66" fmla="*/ 397114 w 405387"/>
                  <a:gd name="connsiteY66" fmla="*/ 15665 h 154114"/>
                  <a:gd name="connsiteX67" fmla="*/ 404096 w 405387"/>
                  <a:gd name="connsiteY67" fmla="*/ 20561 h 154114"/>
                  <a:gd name="connsiteX68" fmla="*/ 403790 w 405387"/>
                  <a:gd name="connsiteY68" fmla="*/ 27571 h 154114"/>
                  <a:gd name="connsiteX69" fmla="*/ 400424 w 405387"/>
                  <a:gd name="connsiteY69" fmla="*/ 28850 h 154114"/>
                  <a:gd name="connsiteX70" fmla="*/ 4936 w 405387"/>
                  <a:gd name="connsiteY70" fmla="*/ 23788 h 154114"/>
                  <a:gd name="connsiteX71" fmla="*/ 1765 w 405387"/>
                  <a:gd name="connsiteY71" fmla="*/ 22619 h 154114"/>
                  <a:gd name="connsiteX72" fmla="*/ 1153 w 405387"/>
                  <a:gd name="connsiteY72" fmla="*/ 15637 h 154114"/>
                  <a:gd name="connsiteX73" fmla="*/ 8970 w 405387"/>
                  <a:gd name="connsiteY73" fmla="*/ 9990 h 154114"/>
                  <a:gd name="connsiteX74" fmla="*/ 32782 w 405387"/>
                  <a:gd name="connsiteY74" fmla="*/ 365 h 154114"/>
                  <a:gd name="connsiteX75" fmla="*/ 39236 w 405387"/>
                  <a:gd name="connsiteY75" fmla="*/ 3091 h 154114"/>
                  <a:gd name="connsiteX76" fmla="*/ 36510 w 405387"/>
                  <a:gd name="connsiteY76" fmla="*/ 9545 h 154114"/>
                  <a:gd name="connsiteX77" fmla="*/ 12697 w 405387"/>
                  <a:gd name="connsiteY77" fmla="*/ 19170 h 154114"/>
                  <a:gd name="connsiteX78" fmla="*/ 8747 w 405387"/>
                  <a:gd name="connsiteY78" fmla="*/ 22007 h 154114"/>
                  <a:gd name="connsiteX79" fmla="*/ 4936 w 405387"/>
                  <a:gd name="connsiteY79" fmla="*/ 23788 h 154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405387" h="154114">
                    <a:moveTo>
                      <a:pt x="201665" y="154115"/>
                    </a:moveTo>
                    <a:cubicBezTo>
                      <a:pt x="198243" y="154115"/>
                      <a:pt x="194877" y="153225"/>
                      <a:pt x="191901" y="151528"/>
                    </a:cubicBezTo>
                    <a:lnTo>
                      <a:pt x="184223" y="147188"/>
                    </a:lnTo>
                    <a:cubicBezTo>
                      <a:pt x="181831" y="145825"/>
                      <a:pt x="180996" y="142821"/>
                      <a:pt x="182359" y="140428"/>
                    </a:cubicBezTo>
                    <a:cubicBezTo>
                      <a:pt x="183722" y="138036"/>
                      <a:pt x="186727" y="137201"/>
                      <a:pt x="189119" y="138565"/>
                    </a:cubicBezTo>
                    <a:lnTo>
                      <a:pt x="196797" y="142932"/>
                    </a:lnTo>
                    <a:cubicBezTo>
                      <a:pt x="199662" y="144573"/>
                      <a:pt x="203334" y="144629"/>
                      <a:pt x="206283" y="143071"/>
                    </a:cubicBezTo>
                    <a:lnTo>
                      <a:pt x="214517" y="138704"/>
                    </a:lnTo>
                    <a:cubicBezTo>
                      <a:pt x="216937" y="137424"/>
                      <a:pt x="219941" y="138342"/>
                      <a:pt x="221221" y="140762"/>
                    </a:cubicBezTo>
                    <a:cubicBezTo>
                      <a:pt x="222501" y="143182"/>
                      <a:pt x="221583" y="146187"/>
                      <a:pt x="219162" y="147466"/>
                    </a:cubicBezTo>
                    <a:lnTo>
                      <a:pt x="210928" y="151834"/>
                    </a:lnTo>
                    <a:cubicBezTo>
                      <a:pt x="208063" y="153336"/>
                      <a:pt x="204864" y="154115"/>
                      <a:pt x="201665" y="154115"/>
                    </a:cubicBezTo>
                    <a:close/>
                    <a:moveTo>
                      <a:pt x="246007" y="132528"/>
                    </a:moveTo>
                    <a:cubicBezTo>
                      <a:pt x="244226" y="132528"/>
                      <a:pt x="242530" y="131582"/>
                      <a:pt x="241639" y="129885"/>
                    </a:cubicBezTo>
                    <a:cubicBezTo>
                      <a:pt x="240360" y="127465"/>
                      <a:pt x="241278" y="124461"/>
                      <a:pt x="243698" y="123181"/>
                    </a:cubicBezTo>
                    <a:lnTo>
                      <a:pt x="272851" y="107687"/>
                    </a:lnTo>
                    <a:cubicBezTo>
                      <a:pt x="275271" y="106407"/>
                      <a:pt x="278276" y="107325"/>
                      <a:pt x="279555" y="109745"/>
                    </a:cubicBezTo>
                    <a:cubicBezTo>
                      <a:pt x="280835" y="112165"/>
                      <a:pt x="279917" y="115170"/>
                      <a:pt x="277497" y="116449"/>
                    </a:cubicBezTo>
                    <a:lnTo>
                      <a:pt x="248343" y="131944"/>
                    </a:lnTo>
                    <a:cubicBezTo>
                      <a:pt x="247565" y="132361"/>
                      <a:pt x="246786" y="132528"/>
                      <a:pt x="246007" y="132528"/>
                    </a:cubicBezTo>
                    <a:close/>
                    <a:moveTo>
                      <a:pt x="157963" y="131527"/>
                    </a:moveTo>
                    <a:cubicBezTo>
                      <a:pt x="157128" y="131527"/>
                      <a:pt x="156294" y="131332"/>
                      <a:pt x="155515" y="130887"/>
                    </a:cubicBezTo>
                    <a:lnTo>
                      <a:pt x="126807" y="114585"/>
                    </a:lnTo>
                    <a:cubicBezTo>
                      <a:pt x="124414" y="113222"/>
                      <a:pt x="123580" y="110218"/>
                      <a:pt x="124943" y="107826"/>
                    </a:cubicBezTo>
                    <a:cubicBezTo>
                      <a:pt x="126306" y="105433"/>
                      <a:pt x="129338" y="104599"/>
                      <a:pt x="131703" y="105962"/>
                    </a:cubicBezTo>
                    <a:lnTo>
                      <a:pt x="160411" y="122263"/>
                    </a:lnTo>
                    <a:cubicBezTo>
                      <a:pt x="162803" y="123626"/>
                      <a:pt x="163638" y="126631"/>
                      <a:pt x="162275" y="129023"/>
                    </a:cubicBezTo>
                    <a:cubicBezTo>
                      <a:pt x="161357" y="130636"/>
                      <a:pt x="159688" y="131527"/>
                      <a:pt x="157963" y="131527"/>
                    </a:cubicBezTo>
                    <a:close/>
                    <a:moveTo>
                      <a:pt x="304313" y="101567"/>
                    </a:moveTo>
                    <a:cubicBezTo>
                      <a:pt x="302533" y="101567"/>
                      <a:pt x="300836" y="100621"/>
                      <a:pt x="299946" y="98924"/>
                    </a:cubicBezTo>
                    <a:cubicBezTo>
                      <a:pt x="298666" y="96504"/>
                      <a:pt x="299584" y="93499"/>
                      <a:pt x="302004" y="92220"/>
                    </a:cubicBezTo>
                    <a:lnTo>
                      <a:pt x="331158" y="76725"/>
                    </a:lnTo>
                    <a:cubicBezTo>
                      <a:pt x="333578" y="75473"/>
                      <a:pt x="336582" y="76364"/>
                      <a:pt x="337862" y="78784"/>
                    </a:cubicBezTo>
                    <a:cubicBezTo>
                      <a:pt x="339141" y="81204"/>
                      <a:pt x="338223" y="84208"/>
                      <a:pt x="335803" y="85488"/>
                    </a:cubicBezTo>
                    <a:lnTo>
                      <a:pt x="306650" y="100982"/>
                    </a:lnTo>
                    <a:cubicBezTo>
                      <a:pt x="305899" y="101372"/>
                      <a:pt x="305092" y="101567"/>
                      <a:pt x="304313" y="101567"/>
                    </a:cubicBezTo>
                    <a:close/>
                    <a:moveTo>
                      <a:pt x="100547" y="98924"/>
                    </a:moveTo>
                    <a:cubicBezTo>
                      <a:pt x="99712" y="98924"/>
                      <a:pt x="98877" y="98729"/>
                      <a:pt x="98099" y="98284"/>
                    </a:cubicBezTo>
                    <a:lnTo>
                      <a:pt x="69390" y="81983"/>
                    </a:lnTo>
                    <a:cubicBezTo>
                      <a:pt x="66998" y="80620"/>
                      <a:pt x="66164" y="77615"/>
                      <a:pt x="67527" y="75223"/>
                    </a:cubicBezTo>
                    <a:cubicBezTo>
                      <a:pt x="68890" y="72858"/>
                      <a:pt x="71922" y="72024"/>
                      <a:pt x="74286" y="73359"/>
                    </a:cubicBezTo>
                    <a:lnTo>
                      <a:pt x="102995" y="89660"/>
                    </a:lnTo>
                    <a:cubicBezTo>
                      <a:pt x="105387" y="91024"/>
                      <a:pt x="106221" y="94028"/>
                      <a:pt x="104858" y="96420"/>
                    </a:cubicBezTo>
                    <a:cubicBezTo>
                      <a:pt x="103940" y="98034"/>
                      <a:pt x="102271" y="98924"/>
                      <a:pt x="100547" y="98924"/>
                    </a:cubicBezTo>
                    <a:close/>
                    <a:moveTo>
                      <a:pt x="362620" y="70605"/>
                    </a:moveTo>
                    <a:cubicBezTo>
                      <a:pt x="360839" y="70605"/>
                      <a:pt x="359142" y="69659"/>
                      <a:pt x="358252" y="67962"/>
                    </a:cubicBezTo>
                    <a:cubicBezTo>
                      <a:pt x="356973" y="65542"/>
                      <a:pt x="357891" y="62538"/>
                      <a:pt x="360311" y="61258"/>
                    </a:cubicBezTo>
                    <a:lnTo>
                      <a:pt x="389464" y="45764"/>
                    </a:lnTo>
                    <a:cubicBezTo>
                      <a:pt x="391884" y="44484"/>
                      <a:pt x="394889" y="45402"/>
                      <a:pt x="396168" y="47822"/>
                    </a:cubicBezTo>
                    <a:cubicBezTo>
                      <a:pt x="397448" y="50242"/>
                      <a:pt x="396530" y="53247"/>
                      <a:pt x="394110" y="54526"/>
                    </a:cubicBezTo>
                    <a:lnTo>
                      <a:pt x="364956" y="70021"/>
                    </a:lnTo>
                    <a:cubicBezTo>
                      <a:pt x="364205" y="70410"/>
                      <a:pt x="363426" y="70605"/>
                      <a:pt x="362620" y="70605"/>
                    </a:cubicBezTo>
                    <a:close/>
                    <a:moveTo>
                      <a:pt x="43130" y="66349"/>
                    </a:moveTo>
                    <a:cubicBezTo>
                      <a:pt x="42296" y="66349"/>
                      <a:pt x="41461" y="66154"/>
                      <a:pt x="40682" y="65709"/>
                    </a:cubicBezTo>
                    <a:lnTo>
                      <a:pt x="11974" y="49408"/>
                    </a:lnTo>
                    <a:cubicBezTo>
                      <a:pt x="9582" y="48045"/>
                      <a:pt x="8747" y="45041"/>
                      <a:pt x="10110" y="42648"/>
                    </a:cubicBezTo>
                    <a:cubicBezTo>
                      <a:pt x="11473" y="40256"/>
                      <a:pt x="14506" y="39449"/>
                      <a:pt x="16870" y="40784"/>
                    </a:cubicBezTo>
                    <a:lnTo>
                      <a:pt x="45578" y="57086"/>
                    </a:lnTo>
                    <a:cubicBezTo>
                      <a:pt x="47971" y="58449"/>
                      <a:pt x="48805" y="61453"/>
                      <a:pt x="47442" y="63845"/>
                    </a:cubicBezTo>
                    <a:cubicBezTo>
                      <a:pt x="46524" y="65431"/>
                      <a:pt x="44855" y="66349"/>
                      <a:pt x="43130" y="66349"/>
                    </a:cubicBezTo>
                    <a:close/>
                    <a:moveTo>
                      <a:pt x="400424" y="28850"/>
                    </a:moveTo>
                    <a:cubicBezTo>
                      <a:pt x="399089" y="28850"/>
                      <a:pt x="397754" y="28322"/>
                      <a:pt x="396780" y="27237"/>
                    </a:cubicBezTo>
                    <a:cubicBezTo>
                      <a:pt x="395807" y="26180"/>
                      <a:pt x="394638" y="25345"/>
                      <a:pt x="393247" y="24761"/>
                    </a:cubicBezTo>
                    <a:lnTo>
                      <a:pt x="368823" y="14385"/>
                    </a:lnTo>
                    <a:cubicBezTo>
                      <a:pt x="366292" y="13328"/>
                      <a:pt x="365123" y="10407"/>
                      <a:pt x="366208" y="7903"/>
                    </a:cubicBezTo>
                    <a:cubicBezTo>
                      <a:pt x="367265" y="5400"/>
                      <a:pt x="370186" y="4204"/>
                      <a:pt x="372690" y="5289"/>
                    </a:cubicBezTo>
                    <a:lnTo>
                      <a:pt x="397114" y="15665"/>
                    </a:lnTo>
                    <a:cubicBezTo>
                      <a:pt x="399812" y="16805"/>
                      <a:pt x="402149" y="18447"/>
                      <a:pt x="404096" y="20561"/>
                    </a:cubicBezTo>
                    <a:cubicBezTo>
                      <a:pt x="405932" y="22591"/>
                      <a:pt x="405793" y="25707"/>
                      <a:pt x="403790" y="27571"/>
                    </a:cubicBezTo>
                    <a:cubicBezTo>
                      <a:pt x="402817" y="28405"/>
                      <a:pt x="401621" y="28850"/>
                      <a:pt x="400424" y="28850"/>
                    </a:cubicBezTo>
                    <a:close/>
                    <a:moveTo>
                      <a:pt x="4936" y="23788"/>
                    </a:moveTo>
                    <a:cubicBezTo>
                      <a:pt x="3823" y="23788"/>
                      <a:pt x="2683" y="23398"/>
                      <a:pt x="1765" y="22619"/>
                    </a:cubicBezTo>
                    <a:cubicBezTo>
                      <a:pt x="-321" y="20867"/>
                      <a:pt x="-600" y="17751"/>
                      <a:pt x="1153" y="15637"/>
                    </a:cubicBezTo>
                    <a:cubicBezTo>
                      <a:pt x="3239" y="13133"/>
                      <a:pt x="5882" y="11242"/>
                      <a:pt x="8970" y="9990"/>
                    </a:cubicBezTo>
                    <a:lnTo>
                      <a:pt x="32782" y="365"/>
                    </a:lnTo>
                    <a:cubicBezTo>
                      <a:pt x="35313" y="-665"/>
                      <a:pt x="38206" y="559"/>
                      <a:pt x="39236" y="3091"/>
                    </a:cubicBezTo>
                    <a:cubicBezTo>
                      <a:pt x="40265" y="5622"/>
                      <a:pt x="39041" y="8515"/>
                      <a:pt x="36510" y="9545"/>
                    </a:cubicBezTo>
                    <a:lnTo>
                      <a:pt x="12697" y="19170"/>
                    </a:lnTo>
                    <a:cubicBezTo>
                      <a:pt x="11112" y="19810"/>
                      <a:pt x="9776" y="20755"/>
                      <a:pt x="8747" y="22007"/>
                    </a:cubicBezTo>
                    <a:cubicBezTo>
                      <a:pt x="7746" y="23203"/>
                      <a:pt x="6355" y="23788"/>
                      <a:pt x="4936" y="23788"/>
                    </a:cubicBezTo>
                    <a:close/>
                  </a:path>
                </a:pathLst>
              </a:custGeom>
              <a:grpFill/>
              <a:ln w="2775" cap="flat">
                <a:noFill/>
                <a:prstDash val="solid"/>
                <a:miter/>
              </a:ln>
            </p:spPr>
            <p:txBody>
              <a:bodyPr rtlCol="0" anchor="ctr"/>
              <a:lstStyle/>
              <a:p>
                <a:endParaRPr lang="en-GB" dirty="0"/>
              </a:p>
            </p:txBody>
          </p:sp>
          <p:grpSp>
            <p:nvGrpSpPr>
              <p:cNvPr id="861" name="Grafik 114">
                <a:extLst>
                  <a:ext uri="{FF2B5EF4-FFF2-40B4-BE49-F238E27FC236}">
                    <a16:creationId xmlns:a16="http://schemas.microsoft.com/office/drawing/2014/main" id="{6B8F4AF5-FDC3-4962-88FD-4AAC740A35A6}"/>
                  </a:ext>
                </a:extLst>
              </p:cNvPr>
              <p:cNvGrpSpPr/>
              <p:nvPr/>
            </p:nvGrpSpPr>
            <p:grpSpPr>
              <a:xfrm>
                <a:off x="5478429" y="2519576"/>
                <a:ext cx="71492" cy="238010"/>
                <a:chOff x="5478429" y="2519576"/>
                <a:chExt cx="71492" cy="238010"/>
              </a:xfrm>
              <a:grpFill/>
            </p:grpSpPr>
            <p:sp>
              <p:nvSpPr>
                <p:cNvPr id="862" name="Freihandform: Form 861">
                  <a:extLst>
                    <a:ext uri="{FF2B5EF4-FFF2-40B4-BE49-F238E27FC236}">
                      <a16:creationId xmlns:a16="http://schemas.microsoft.com/office/drawing/2014/main" id="{703B1481-D23A-49B2-9D24-F61A55F12DDC}"/>
                    </a:ext>
                  </a:extLst>
                </p:cNvPr>
                <p:cNvSpPr/>
                <p:nvPr/>
              </p:nvSpPr>
              <p:spPr>
                <a:xfrm>
                  <a:off x="5478429" y="2586840"/>
                  <a:ext cx="71492" cy="170746"/>
                </a:xfrm>
                <a:custGeom>
                  <a:avLst/>
                  <a:gdLst>
                    <a:gd name="connsiteX0" fmla="*/ 34244 w 71492"/>
                    <a:gd name="connsiteY0" fmla="*/ 170747 h 170746"/>
                    <a:gd name="connsiteX1" fmla="*/ 0 w 71492"/>
                    <a:gd name="connsiteY1" fmla="*/ 137254 h 170746"/>
                    <a:gd name="connsiteX2" fmla="*/ 2086 w 71492"/>
                    <a:gd name="connsiteY2" fmla="*/ 121815 h 170746"/>
                    <a:gd name="connsiteX3" fmla="*/ 2392 w 71492"/>
                    <a:gd name="connsiteY3" fmla="*/ 120368 h 170746"/>
                    <a:gd name="connsiteX4" fmla="*/ 21225 w 71492"/>
                    <a:gd name="connsiteY4" fmla="*/ 43257 h 170746"/>
                    <a:gd name="connsiteX5" fmla="*/ 22171 w 71492"/>
                    <a:gd name="connsiteY5" fmla="*/ 36831 h 170746"/>
                    <a:gd name="connsiteX6" fmla="*/ 15884 w 71492"/>
                    <a:gd name="connsiteY6" fmla="*/ 32992 h 170746"/>
                    <a:gd name="connsiteX7" fmla="*/ 9069 w 71492"/>
                    <a:gd name="connsiteY7" fmla="*/ 33966 h 170746"/>
                    <a:gd name="connsiteX8" fmla="*/ 4228 w 71492"/>
                    <a:gd name="connsiteY8" fmla="*/ 33437 h 170746"/>
                    <a:gd name="connsiteX9" fmla="*/ 2170 w 71492"/>
                    <a:gd name="connsiteY9" fmla="*/ 29014 h 170746"/>
                    <a:gd name="connsiteX10" fmla="*/ 37248 w 71492"/>
                    <a:gd name="connsiteY10" fmla="*/ 0 h 170746"/>
                    <a:gd name="connsiteX11" fmla="*/ 71492 w 71492"/>
                    <a:gd name="connsiteY11" fmla="*/ 33493 h 170746"/>
                    <a:gd name="connsiteX12" fmla="*/ 70046 w 71492"/>
                    <a:gd name="connsiteY12" fmla="*/ 46233 h 170746"/>
                    <a:gd name="connsiteX13" fmla="*/ 50517 w 71492"/>
                    <a:gd name="connsiteY13" fmla="*/ 126461 h 170746"/>
                    <a:gd name="connsiteX14" fmla="*/ 49266 w 71492"/>
                    <a:gd name="connsiteY14" fmla="*/ 133916 h 170746"/>
                    <a:gd name="connsiteX15" fmla="*/ 55553 w 71492"/>
                    <a:gd name="connsiteY15" fmla="*/ 137755 h 170746"/>
                    <a:gd name="connsiteX16" fmla="*/ 62424 w 71492"/>
                    <a:gd name="connsiteY16" fmla="*/ 136725 h 170746"/>
                    <a:gd name="connsiteX17" fmla="*/ 67236 w 71492"/>
                    <a:gd name="connsiteY17" fmla="*/ 137282 h 170746"/>
                    <a:gd name="connsiteX18" fmla="*/ 69267 w 71492"/>
                    <a:gd name="connsiteY18" fmla="*/ 141705 h 170746"/>
                    <a:gd name="connsiteX19" fmla="*/ 34244 w 71492"/>
                    <a:gd name="connsiteY19" fmla="*/ 170747 h 170746"/>
                    <a:gd name="connsiteX20" fmla="*/ 15912 w 71492"/>
                    <a:gd name="connsiteY20" fmla="*/ 23089 h 170746"/>
                    <a:gd name="connsiteX21" fmla="*/ 32102 w 71492"/>
                    <a:gd name="connsiteY21" fmla="*/ 36831 h 170746"/>
                    <a:gd name="connsiteX22" fmla="*/ 30850 w 71492"/>
                    <a:gd name="connsiteY22" fmla="*/ 45649 h 170746"/>
                    <a:gd name="connsiteX23" fmla="*/ 11934 w 71492"/>
                    <a:gd name="connsiteY23" fmla="*/ 122983 h 170746"/>
                    <a:gd name="connsiteX24" fmla="*/ 9875 w 71492"/>
                    <a:gd name="connsiteY24" fmla="*/ 137254 h 170746"/>
                    <a:gd name="connsiteX25" fmla="*/ 34216 w 71492"/>
                    <a:gd name="connsiteY25" fmla="*/ 160844 h 170746"/>
                    <a:gd name="connsiteX26" fmla="*/ 57889 w 71492"/>
                    <a:gd name="connsiteY26" fmla="*/ 147630 h 170746"/>
                    <a:gd name="connsiteX27" fmla="*/ 55608 w 71492"/>
                    <a:gd name="connsiteY27" fmla="*/ 147686 h 170746"/>
                    <a:gd name="connsiteX28" fmla="*/ 39418 w 71492"/>
                    <a:gd name="connsiteY28" fmla="*/ 133944 h 170746"/>
                    <a:gd name="connsiteX29" fmla="*/ 40920 w 71492"/>
                    <a:gd name="connsiteY29" fmla="*/ 124291 h 170746"/>
                    <a:gd name="connsiteX30" fmla="*/ 60393 w 71492"/>
                    <a:gd name="connsiteY30" fmla="*/ 44286 h 170746"/>
                    <a:gd name="connsiteX31" fmla="*/ 61617 w 71492"/>
                    <a:gd name="connsiteY31" fmla="*/ 33521 h 170746"/>
                    <a:gd name="connsiteX32" fmla="*/ 37276 w 71492"/>
                    <a:gd name="connsiteY32" fmla="*/ 9931 h 170746"/>
                    <a:gd name="connsiteX33" fmla="*/ 13603 w 71492"/>
                    <a:gd name="connsiteY33" fmla="*/ 23172 h 170746"/>
                    <a:gd name="connsiteX34" fmla="*/ 15912 w 71492"/>
                    <a:gd name="connsiteY34" fmla="*/ 23089 h 17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1492" h="170746">
                      <a:moveTo>
                        <a:pt x="34244" y="170747"/>
                      </a:moveTo>
                      <a:cubicBezTo>
                        <a:pt x="13102" y="170747"/>
                        <a:pt x="0" y="157923"/>
                        <a:pt x="0" y="137254"/>
                      </a:cubicBezTo>
                      <a:cubicBezTo>
                        <a:pt x="0" y="133471"/>
                        <a:pt x="1753" y="123707"/>
                        <a:pt x="2086" y="121815"/>
                      </a:cubicBezTo>
                      <a:cubicBezTo>
                        <a:pt x="2198" y="121175"/>
                        <a:pt x="2281" y="120786"/>
                        <a:pt x="2392" y="120368"/>
                      </a:cubicBezTo>
                      <a:lnTo>
                        <a:pt x="21225" y="43257"/>
                      </a:lnTo>
                      <a:cubicBezTo>
                        <a:pt x="21893" y="40698"/>
                        <a:pt x="22171" y="38667"/>
                        <a:pt x="22171" y="36831"/>
                      </a:cubicBezTo>
                      <a:cubicBezTo>
                        <a:pt x="22171" y="34133"/>
                        <a:pt x="22171" y="32992"/>
                        <a:pt x="15884" y="32992"/>
                      </a:cubicBezTo>
                      <a:cubicBezTo>
                        <a:pt x="11350" y="32992"/>
                        <a:pt x="9875" y="33632"/>
                        <a:pt x="9069" y="33966"/>
                      </a:cubicBezTo>
                      <a:cubicBezTo>
                        <a:pt x="7483" y="34661"/>
                        <a:pt x="5619" y="34466"/>
                        <a:pt x="4228" y="33437"/>
                      </a:cubicBezTo>
                      <a:cubicBezTo>
                        <a:pt x="2810" y="32436"/>
                        <a:pt x="2031" y="30739"/>
                        <a:pt x="2170" y="29014"/>
                      </a:cubicBezTo>
                      <a:cubicBezTo>
                        <a:pt x="3616" y="11378"/>
                        <a:pt x="17358" y="0"/>
                        <a:pt x="37248" y="0"/>
                      </a:cubicBezTo>
                      <a:cubicBezTo>
                        <a:pt x="58390" y="0"/>
                        <a:pt x="71492" y="12824"/>
                        <a:pt x="71492" y="33493"/>
                      </a:cubicBezTo>
                      <a:cubicBezTo>
                        <a:pt x="71492" y="37332"/>
                        <a:pt x="70213" y="45343"/>
                        <a:pt x="70046" y="46233"/>
                      </a:cubicBezTo>
                      <a:lnTo>
                        <a:pt x="50517" y="126461"/>
                      </a:lnTo>
                      <a:cubicBezTo>
                        <a:pt x="49933" y="129187"/>
                        <a:pt x="49266" y="132942"/>
                        <a:pt x="49266" y="133916"/>
                      </a:cubicBezTo>
                      <a:cubicBezTo>
                        <a:pt x="49266" y="136642"/>
                        <a:pt x="49266" y="137755"/>
                        <a:pt x="55553" y="137755"/>
                      </a:cubicBezTo>
                      <a:cubicBezTo>
                        <a:pt x="59948" y="137755"/>
                        <a:pt x="61506" y="137115"/>
                        <a:pt x="62424" y="136725"/>
                      </a:cubicBezTo>
                      <a:cubicBezTo>
                        <a:pt x="64009" y="136058"/>
                        <a:pt x="65845" y="136280"/>
                        <a:pt x="67236" y="137282"/>
                      </a:cubicBezTo>
                      <a:cubicBezTo>
                        <a:pt x="68627" y="138311"/>
                        <a:pt x="69406" y="139980"/>
                        <a:pt x="69267" y="141705"/>
                      </a:cubicBezTo>
                      <a:cubicBezTo>
                        <a:pt x="67876" y="159369"/>
                        <a:pt x="54106" y="170747"/>
                        <a:pt x="34244" y="170747"/>
                      </a:cubicBezTo>
                      <a:close/>
                      <a:moveTo>
                        <a:pt x="15912" y="23089"/>
                      </a:moveTo>
                      <a:cubicBezTo>
                        <a:pt x="26650" y="23089"/>
                        <a:pt x="32102" y="27707"/>
                        <a:pt x="32102" y="36831"/>
                      </a:cubicBezTo>
                      <a:cubicBezTo>
                        <a:pt x="32102" y="39501"/>
                        <a:pt x="31713" y="42311"/>
                        <a:pt x="30850" y="45649"/>
                      </a:cubicBezTo>
                      <a:lnTo>
                        <a:pt x="11934" y="122983"/>
                      </a:lnTo>
                      <a:cubicBezTo>
                        <a:pt x="11072" y="127685"/>
                        <a:pt x="9875" y="135001"/>
                        <a:pt x="9875" y="137254"/>
                      </a:cubicBezTo>
                      <a:cubicBezTo>
                        <a:pt x="9875" y="157784"/>
                        <a:pt x="25120" y="160844"/>
                        <a:pt x="34216" y="160844"/>
                      </a:cubicBezTo>
                      <a:cubicBezTo>
                        <a:pt x="43674" y="160844"/>
                        <a:pt x="53967" y="157255"/>
                        <a:pt x="57889" y="147630"/>
                      </a:cubicBezTo>
                      <a:cubicBezTo>
                        <a:pt x="57194" y="147658"/>
                        <a:pt x="56415" y="147686"/>
                        <a:pt x="55608" y="147686"/>
                      </a:cubicBezTo>
                      <a:cubicBezTo>
                        <a:pt x="44870" y="147686"/>
                        <a:pt x="39418" y="143068"/>
                        <a:pt x="39418" y="133944"/>
                      </a:cubicBezTo>
                      <a:cubicBezTo>
                        <a:pt x="39418" y="131440"/>
                        <a:pt x="40559" y="125904"/>
                        <a:pt x="40920" y="124291"/>
                      </a:cubicBezTo>
                      <a:lnTo>
                        <a:pt x="60393" y="44286"/>
                      </a:lnTo>
                      <a:cubicBezTo>
                        <a:pt x="60671" y="42422"/>
                        <a:pt x="61617" y="36080"/>
                        <a:pt x="61617" y="33521"/>
                      </a:cubicBezTo>
                      <a:cubicBezTo>
                        <a:pt x="61617" y="12991"/>
                        <a:pt x="46373" y="9931"/>
                        <a:pt x="37276" y="9931"/>
                      </a:cubicBezTo>
                      <a:cubicBezTo>
                        <a:pt x="27818" y="9931"/>
                        <a:pt x="17525" y="13547"/>
                        <a:pt x="13603" y="23172"/>
                      </a:cubicBezTo>
                      <a:cubicBezTo>
                        <a:pt x="14326" y="23117"/>
                        <a:pt x="15077" y="23089"/>
                        <a:pt x="15912" y="23089"/>
                      </a:cubicBezTo>
                      <a:close/>
                    </a:path>
                  </a:pathLst>
                </a:custGeom>
                <a:grpFill/>
                <a:ln w="2775" cap="flat">
                  <a:noFill/>
                  <a:prstDash val="solid"/>
                  <a:miter/>
                </a:ln>
              </p:spPr>
              <p:txBody>
                <a:bodyPr rtlCol="0" anchor="ctr"/>
                <a:lstStyle/>
                <a:p>
                  <a:endParaRPr lang="en-GB" dirty="0"/>
                </a:p>
              </p:txBody>
            </p:sp>
            <p:sp>
              <p:nvSpPr>
                <p:cNvPr id="863" name="Freihandform: Form 862">
                  <a:extLst>
                    <a:ext uri="{FF2B5EF4-FFF2-40B4-BE49-F238E27FC236}">
                      <a16:creationId xmlns:a16="http://schemas.microsoft.com/office/drawing/2014/main" id="{698F18A2-EA77-447E-99A3-DC00A4BC9172}"/>
                    </a:ext>
                  </a:extLst>
                </p:cNvPr>
                <p:cNvSpPr/>
                <p:nvPr/>
              </p:nvSpPr>
              <p:spPr>
                <a:xfrm>
                  <a:off x="5492087" y="2519576"/>
                  <a:ext cx="53187" cy="53215"/>
                </a:xfrm>
                <a:custGeom>
                  <a:avLst/>
                  <a:gdLst>
                    <a:gd name="connsiteX0" fmla="*/ 26594 w 53187"/>
                    <a:gd name="connsiteY0" fmla="*/ 53216 h 53215"/>
                    <a:gd name="connsiteX1" fmla="*/ 0 w 53187"/>
                    <a:gd name="connsiteY1" fmla="*/ 26594 h 53215"/>
                    <a:gd name="connsiteX2" fmla="*/ 26594 w 53187"/>
                    <a:gd name="connsiteY2" fmla="*/ 0 h 53215"/>
                    <a:gd name="connsiteX3" fmla="*/ 53188 w 53187"/>
                    <a:gd name="connsiteY3" fmla="*/ 26594 h 53215"/>
                    <a:gd name="connsiteX4" fmla="*/ 26594 w 53187"/>
                    <a:gd name="connsiteY4" fmla="*/ 53216 h 53215"/>
                    <a:gd name="connsiteX5" fmla="*/ 26594 w 53187"/>
                    <a:gd name="connsiteY5" fmla="*/ 9875 h 53215"/>
                    <a:gd name="connsiteX6" fmla="*/ 9903 w 53187"/>
                    <a:gd name="connsiteY6" fmla="*/ 26566 h 53215"/>
                    <a:gd name="connsiteX7" fmla="*/ 26594 w 53187"/>
                    <a:gd name="connsiteY7" fmla="*/ 43285 h 53215"/>
                    <a:gd name="connsiteX8" fmla="*/ 43285 w 53187"/>
                    <a:gd name="connsiteY8" fmla="*/ 26566 h 53215"/>
                    <a:gd name="connsiteX9" fmla="*/ 26594 w 53187"/>
                    <a:gd name="connsiteY9" fmla="*/ 9875 h 53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187" h="53215">
                      <a:moveTo>
                        <a:pt x="26594" y="53216"/>
                      </a:moveTo>
                      <a:cubicBezTo>
                        <a:pt x="11934" y="53216"/>
                        <a:pt x="0" y="41282"/>
                        <a:pt x="0" y="26594"/>
                      </a:cubicBezTo>
                      <a:cubicBezTo>
                        <a:pt x="0" y="11934"/>
                        <a:pt x="11934" y="0"/>
                        <a:pt x="26594" y="0"/>
                      </a:cubicBezTo>
                      <a:cubicBezTo>
                        <a:pt x="41254" y="0"/>
                        <a:pt x="53188" y="11934"/>
                        <a:pt x="53188" y="26594"/>
                      </a:cubicBezTo>
                      <a:cubicBezTo>
                        <a:pt x="53188" y="41254"/>
                        <a:pt x="41254" y="53216"/>
                        <a:pt x="26594" y="53216"/>
                      </a:cubicBezTo>
                      <a:close/>
                      <a:moveTo>
                        <a:pt x="26594" y="9875"/>
                      </a:moveTo>
                      <a:cubicBezTo>
                        <a:pt x="17386" y="9875"/>
                        <a:pt x="9903" y="17358"/>
                        <a:pt x="9903" y="26566"/>
                      </a:cubicBezTo>
                      <a:cubicBezTo>
                        <a:pt x="9903" y="35774"/>
                        <a:pt x="17386" y="43285"/>
                        <a:pt x="26594" y="43285"/>
                      </a:cubicBezTo>
                      <a:cubicBezTo>
                        <a:pt x="35802" y="43285"/>
                        <a:pt x="43285" y="35774"/>
                        <a:pt x="43285" y="26566"/>
                      </a:cubicBezTo>
                      <a:cubicBezTo>
                        <a:pt x="43285" y="17386"/>
                        <a:pt x="35802" y="9875"/>
                        <a:pt x="26594" y="9875"/>
                      </a:cubicBezTo>
                      <a:close/>
                    </a:path>
                  </a:pathLst>
                </a:custGeom>
                <a:grpFill/>
                <a:ln w="2775" cap="flat">
                  <a:noFill/>
                  <a:prstDash val="solid"/>
                  <a:miter/>
                </a:ln>
              </p:spPr>
              <p:txBody>
                <a:bodyPr rtlCol="0" anchor="ctr"/>
                <a:lstStyle/>
                <a:p>
                  <a:endParaRPr lang="en-GB" dirty="0"/>
                </a:p>
              </p:txBody>
            </p:sp>
          </p:grpSp>
        </p:grpSp>
      </p:grpSp>
      <p:grpSp>
        <p:nvGrpSpPr>
          <p:cNvPr id="15" name="Group 14">
            <a:extLst>
              <a:ext uri="{FF2B5EF4-FFF2-40B4-BE49-F238E27FC236}">
                <a16:creationId xmlns:a16="http://schemas.microsoft.com/office/drawing/2014/main" id="{2E3CE854-F657-D866-6819-20DC9C53922B}"/>
              </a:ext>
            </a:extLst>
          </p:cNvPr>
          <p:cNvGrpSpPr/>
          <p:nvPr/>
        </p:nvGrpSpPr>
        <p:grpSpPr>
          <a:xfrm>
            <a:off x="6052663" y="2449340"/>
            <a:ext cx="412067" cy="432001"/>
            <a:chOff x="6052251" y="2449340"/>
            <a:chExt cx="412067" cy="432001"/>
          </a:xfrm>
        </p:grpSpPr>
        <p:grpSp>
          <p:nvGrpSpPr>
            <p:cNvPr id="865" name="Grafik 114">
              <a:extLst>
                <a:ext uri="{FF2B5EF4-FFF2-40B4-BE49-F238E27FC236}">
                  <a16:creationId xmlns:a16="http://schemas.microsoft.com/office/drawing/2014/main" id="{F9C2215D-BD8A-4D61-8A37-96A0C4F81961}"/>
                </a:ext>
              </a:extLst>
            </p:cNvPr>
            <p:cNvGrpSpPr/>
            <p:nvPr/>
          </p:nvGrpSpPr>
          <p:grpSpPr>
            <a:xfrm>
              <a:off x="6052251" y="2449340"/>
              <a:ext cx="412067" cy="228991"/>
              <a:chOff x="6142708" y="2516683"/>
              <a:chExt cx="409425" cy="227523"/>
            </a:xfrm>
            <a:solidFill>
              <a:schemeClr val="accent1"/>
            </a:solidFill>
          </p:grpSpPr>
          <p:sp>
            <p:nvSpPr>
              <p:cNvPr id="871" name="Freihandform: Form 870">
                <a:extLst>
                  <a:ext uri="{FF2B5EF4-FFF2-40B4-BE49-F238E27FC236}">
                    <a16:creationId xmlns:a16="http://schemas.microsoft.com/office/drawing/2014/main" id="{B6E27BC3-5049-44C2-B843-8E6A46B60B61}"/>
                  </a:ext>
                </a:extLst>
              </p:cNvPr>
              <p:cNvSpPr/>
              <p:nvPr/>
            </p:nvSpPr>
            <p:spPr>
              <a:xfrm>
                <a:off x="6142708" y="2516683"/>
                <a:ext cx="409425" cy="227523"/>
              </a:xfrm>
              <a:custGeom>
                <a:avLst/>
                <a:gdLst>
                  <a:gd name="connsiteX0" fmla="*/ 122191 w 409425"/>
                  <a:gd name="connsiteY0" fmla="*/ 227523 h 227523"/>
                  <a:gd name="connsiteX1" fmla="*/ 118630 w 409425"/>
                  <a:gd name="connsiteY1" fmla="*/ 226021 h 227523"/>
                  <a:gd name="connsiteX2" fmla="*/ 1405 w 409425"/>
                  <a:gd name="connsiteY2" fmla="*/ 105625 h 227523"/>
                  <a:gd name="connsiteX3" fmla="*/ 1349 w 409425"/>
                  <a:gd name="connsiteY3" fmla="*/ 98754 h 227523"/>
                  <a:gd name="connsiteX4" fmla="*/ 93149 w 409425"/>
                  <a:gd name="connsiteY4" fmla="*/ 1558 h 227523"/>
                  <a:gd name="connsiteX5" fmla="*/ 96737 w 409425"/>
                  <a:gd name="connsiteY5" fmla="*/ 0 h 227523"/>
                  <a:gd name="connsiteX6" fmla="*/ 312688 w 409425"/>
                  <a:gd name="connsiteY6" fmla="*/ 0 h 227523"/>
                  <a:gd name="connsiteX7" fmla="*/ 316277 w 409425"/>
                  <a:gd name="connsiteY7" fmla="*/ 1558 h 227523"/>
                  <a:gd name="connsiteX8" fmla="*/ 408076 w 409425"/>
                  <a:gd name="connsiteY8" fmla="*/ 98754 h 227523"/>
                  <a:gd name="connsiteX9" fmla="*/ 408020 w 409425"/>
                  <a:gd name="connsiteY9" fmla="*/ 105625 h 227523"/>
                  <a:gd name="connsiteX10" fmla="*/ 294773 w 409425"/>
                  <a:gd name="connsiteY10" fmla="*/ 221932 h 227523"/>
                  <a:gd name="connsiteX11" fmla="*/ 287763 w 409425"/>
                  <a:gd name="connsiteY11" fmla="*/ 222015 h 227523"/>
                  <a:gd name="connsiteX12" fmla="*/ 287680 w 409425"/>
                  <a:gd name="connsiteY12" fmla="*/ 215005 h 227523"/>
                  <a:gd name="connsiteX13" fmla="*/ 397672 w 409425"/>
                  <a:gd name="connsiteY13" fmla="*/ 102120 h 227523"/>
                  <a:gd name="connsiteX14" fmla="*/ 310602 w 409425"/>
                  <a:gd name="connsiteY14" fmla="*/ 9931 h 227523"/>
                  <a:gd name="connsiteX15" fmla="*/ 98907 w 409425"/>
                  <a:gd name="connsiteY15" fmla="*/ 9931 h 227523"/>
                  <a:gd name="connsiteX16" fmla="*/ 11837 w 409425"/>
                  <a:gd name="connsiteY16" fmla="*/ 102120 h 227523"/>
                  <a:gd name="connsiteX17" fmla="*/ 125751 w 409425"/>
                  <a:gd name="connsiteY17" fmla="*/ 219094 h 227523"/>
                  <a:gd name="connsiteX18" fmla="*/ 125668 w 409425"/>
                  <a:gd name="connsiteY18" fmla="*/ 226105 h 227523"/>
                  <a:gd name="connsiteX19" fmla="*/ 122191 w 409425"/>
                  <a:gd name="connsiteY19" fmla="*/ 227523 h 227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09425" h="227523">
                    <a:moveTo>
                      <a:pt x="122191" y="227523"/>
                    </a:moveTo>
                    <a:cubicBezTo>
                      <a:pt x="120911" y="227523"/>
                      <a:pt x="119604" y="227023"/>
                      <a:pt x="118630" y="226021"/>
                    </a:cubicBezTo>
                    <a:lnTo>
                      <a:pt x="1405" y="105625"/>
                    </a:lnTo>
                    <a:cubicBezTo>
                      <a:pt x="-459" y="103733"/>
                      <a:pt x="-459" y="100701"/>
                      <a:pt x="1349" y="98754"/>
                    </a:cubicBezTo>
                    <a:lnTo>
                      <a:pt x="93149" y="1558"/>
                    </a:lnTo>
                    <a:cubicBezTo>
                      <a:pt x="94094" y="556"/>
                      <a:pt x="95374" y="0"/>
                      <a:pt x="96737" y="0"/>
                    </a:cubicBezTo>
                    <a:lnTo>
                      <a:pt x="312688" y="0"/>
                    </a:lnTo>
                    <a:cubicBezTo>
                      <a:pt x="314051" y="0"/>
                      <a:pt x="315359" y="556"/>
                      <a:pt x="316277" y="1558"/>
                    </a:cubicBezTo>
                    <a:lnTo>
                      <a:pt x="408076" y="98754"/>
                    </a:lnTo>
                    <a:cubicBezTo>
                      <a:pt x="409884" y="100673"/>
                      <a:pt x="409884" y="103705"/>
                      <a:pt x="408020" y="105625"/>
                    </a:cubicBezTo>
                    <a:lnTo>
                      <a:pt x="294773" y="221932"/>
                    </a:lnTo>
                    <a:cubicBezTo>
                      <a:pt x="292854" y="223879"/>
                      <a:pt x="289738" y="223935"/>
                      <a:pt x="287763" y="222015"/>
                    </a:cubicBezTo>
                    <a:cubicBezTo>
                      <a:pt x="285816" y="220096"/>
                      <a:pt x="285760" y="216980"/>
                      <a:pt x="287680" y="215005"/>
                    </a:cubicBezTo>
                    <a:lnTo>
                      <a:pt x="397672" y="102120"/>
                    </a:lnTo>
                    <a:lnTo>
                      <a:pt x="310602" y="9931"/>
                    </a:lnTo>
                    <a:lnTo>
                      <a:pt x="98907" y="9931"/>
                    </a:lnTo>
                    <a:lnTo>
                      <a:pt x="11837" y="102120"/>
                    </a:lnTo>
                    <a:lnTo>
                      <a:pt x="125751" y="219094"/>
                    </a:lnTo>
                    <a:cubicBezTo>
                      <a:pt x="127671" y="221042"/>
                      <a:pt x="127615" y="224185"/>
                      <a:pt x="125668" y="226105"/>
                    </a:cubicBezTo>
                    <a:cubicBezTo>
                      <a:pt x="124694" y="227050"/>
                      <a:pt x="123442" y="227523"/>
                      <a:pt x="122191" y="227523"/>
                    </a:cubicBezTo>
                    <a:close/>
                  </a:path>
                </a:pathLst>
              </a:custGeom>
              <a:solidFill>
                <a:schemeClr val="accent1"/>
              </a:solidFill>
              <a:ln w="2775" cap="flat">
                <a:noFill/>
                <a:prstDash val="solid"/>
                <a:miter/>
              </a:ln>
            </p:spPr>
            <p:txBody>
              <a:bodyPr rtlCol="0" anchor="ctr"/>
              <a:lstStyle/>
              <a:p>
                <a:endParaRPr lang="en-GB" dirty="0"/>
              </a:p>
            </p:txBody>
          </p:sp>
          <p:sp>
            <p:nvSpPr>
              <p:cNvPr id="872" name="Freihandform: Form 871">
                <a:extLst>
                  <a:ext uri="{FF2B5EF4-FFF2-40B4-BE49-F238E27FC236}">
                    <a16:creationId xmlns:a16="http://schemas.microsoft.com/office/drawing/2014/main" id="{A032A64F-2107-4EED-A82E-D6D24DC7C16C}"/>
                  </a:ext>
                </a:extLst>
              </p:cNvPr>
              <p:cNvSpPr/>
              <p:nvPr/>
            </p:nvSpPr>
            <p:spPr>
              <a:xfrm>
                <a:off x="6148119" y="2613907"/>
                <a:ext cx="398659" cy="9903"/>
              </a:xfrm>
              <a:custGeom>
                <a:avLst/>
                <a:gdLst>
                  <a:gd name="connsiteX0" fmla="*/ 393708 w 398659"/>
                  <a:gd name="connsiteY0" fmla="*/ 9903 h 9903"/>
                  <a:gd name="connsiteX1" fmla="*/ 4952 w 398659"/>
                  <a:gd name="connsiteY1" fmla="*/ 9903 h 9903"/>
                  <a:gd name="connsiteX2" fmla="*/ 0 w 398659"/>
                  <a:gd name="connsiteY2" fmla="*/ 4952 h 9903"/>
                  <a:gd name="connsiteX3" fmla="*/ 4952 w 398659"/>
                  <a:gd name="connsiteY3" fmla="*/ 0 h 9903"/>
                  <a:gd name="connsiteX4" fmla="*/ 393708 w 398659"/>
                  <a:gd name="connsiteY4" fmla="*/ 0 h 9903"/>
                  <a:gd name="connsiteX5" fmla="*/ 398659 w 398659"/>
                  <a:gd name="connsiteY5" fmla="*/ 4952 h 9903"/>
                  <a:gd name="connsiteX6" fmla="*/ 393708 w 398659"/>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8659" h="9903">
                    <a:moveTo>
                      <a:pt x="393708" y="9903"/>
                    </a:moveTo>
                    <a:lnTo>
                      <a:pt x="4952" y="9903"/>
                    </a:lnTo>
                    <a:cubicBezTo>
                      <a:pt x="2225" y="9903"/>
                      <a:pt x="0" y="7678"/>
                      <a:pt x="0" y="4952"/>
                    </a:cubicBezTo>
                    <a:cubicBezTo>
                      <a:pt x="0" y="2225"/>
                      <a:pt x="2225" y="0"/>
                      <a:pt x="4952" y="0"/>
                    </a:cubicBezTo>
                    <a:lnTo>
                      <a:pt x="393708" y="0"/>
                    </a:lnTo>
                    <a:cubicBezTo>
                      <a:pt x="396434" y="0"/>
                      <a:pt x="398659" y="2225"/>
                      <a:pt x="398659" y="4952"/>
                    </a:cubicBezTo>
                    <a:cubicBezTo>
                      <a:pt x="398659" y="7678"/>
                      <a:pt x="396434" y="9903"/>
                      <a:pt x="393708" y="9903"/>
                    </a:cubicBezTo>
                    <a:close/>
                  </a:path>
                </a:pathLst>
              </a:custGeom>
              <a:solidFill>
                <a:schemeClr val="accent1"/>
              </a:solidFill>
              <a:ln w="2775" cap="flat">
                <a:noFill/>
                <a:prstDash val="solid"/>
                <a:miter/>
              </a:ln>
            </p:spPr>
            <p:txBody>
              <a:bodyPr rtlCol="0" anchor="ctr"/>
              <a:lstStyle/>
              <a:p>
                <a:endParaRPr lang="en-GB" dirty="0"/>
              </a:p>
            </p:txBody>
          </p:sp>
          <p:sp>
            <p:nvSpPr>
              <p:cNvPr id="873" name="Freihandform: Form 872">
                <a:extLst>
                  <a:ext uri="{FF2B5EF4-FFF2-40B4-BE49-F238E27FC236}">
                    <a16:creationId xmlns:a16="http://schemas.microsoft.com/office/drawing/2014/main" id="{BD5A2CEA-2F03-4E3B-B176-7D16311152F5}"/>
                  </a:ext>
                </a:extLst>
              </p:cNvPr>
              <p:cNvSpPr/>
              <p:nvPr/>
            </p:nvSpPr>
            <p:spPr>
              <a:xfrm>
                <a:off x="6234538" y="2516727"/>
                <a:ext cx="78135" cy="200912"/>
              </a:xfrm>
              <a:custGeom>
                <a:avLst/>
                <a:gdLst>
                  <a:gd name="connsiteX0" fmla="*/ 73173 w 78135"/>
                  <a:gd name="connsiteY0" fmla="*/ 200913 h 200912"/>
                  <a:gd name="connsiteX1" fmla="*/ 68499 w 78135"/>
                  <a:gd name="connsiteY1" fmla="*/ 197630 h 200912"/>
                  <a:gd name="connsiteX2" fmla="*/ 290 w 78135"/>
                  <a:gd name="connsiteY2" fmla="*/ 6632 h 200912"/>
                  <a:gd name="connsiteX3" fmla="*/ 3294 w 78135"/>
                  <a:gd name="connsiteY3" fmla="*/ 290 h 200912"/>
                  <a:gd name="connsiteX4" fmla="*/ 9636 w 78135"/>
                  <a:gd name="connsiteY4" fmla="*/ 3294 h 200912"/>
                  <a:gd name="connsiteX5" fmla="*/ 77846 w 78135"/>
                  <a:gd name="connsiteY5" fmla="*/ 194292 h 200912"/>
                  <a:gd name="connsiteX6" fmla="*/ 74842 w 78135"/>
                  <a:gd name="connsiteY6" fmla="*/ 200635 h 200912"/>
                  <a:gd name="connsiteX7" fmla="*/ 73173 w 78135"/>
                  <a:gd name="connsiteY7" fmla="*/ 200913 h 200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135" h="200912">
                    <a:moveTo>
                      <a:pt x="73173" y="200913"/>
                    </a:moveTo>
                    <a:cubicBezTo>
                      <a:pt x="71142" y="200913"/>
                      <a:pt x="69223" y="199661"/>
                      <a:pt x="68499" y="197630"/>
                    </a:cubicBezTo>
                    <a:lnTo>
                      <a:pt x="290" y="6632"/>
                    </a:lnTo>
                    <a:cubicBezTo>
                      <a:pt x="-628" y="4045"/>
                      <a:pt x="707" y="1235"/>
                      <a:pt x="3294" y="290"/>
                    </a:cubicBezTo>
                    <a:cubicBezTo>
                      <a:pt x="5881" y="-628"/>
                      <a:pt x="8691" y="707"/>
                      <a:pt x="9636" y="3294"/>
                    </a:cubicBezTo>
                    <a:lnTo>
                      <a:pt x="77846" y="194292"/>
                    </a:lnTo>
                    <a:cubicBezTo>
                      <a:pt x="78764" y="196879"/>
                      <a:pt x="77429" y="199689"/>
                      <a:pt x="74842" y="200635"/>
                    </a:cubicBezTo>
                    <a:cubicBezTo>
                      <a:pt x="74285" y="200802"/>
                      <a:pt x="73701" y="200913"/>
                      <a:pt x="73173" y="200913"/>
                    </a:cubicBezTo>
                    <a:close/>
                  </a:path>
                </a:pathLst>
              </a:custGeom>
              <a:solidFill>
                <a:schemeClr val="accent1"/>
              </a:solidFill>
              <a:ln w="2775" cap="flat">
                <a:noFill/>
                <a:prstDash val="solid"/>
                <a:miter/>
              </a:ln>
            </p:spPr>
            <p:txBody>
              <a:bodyPr rtlCol="0" anchor="ctr"/>
              <a:lstStyle/>
              <a:p>
                <a:endParaRPr lang="en-GB" dirty="0"/>
              </a:p>
            </p:txBody>
          </p:sp>
          <p:sp>
            <p:nvSpPr>
              <p:cNvPr id="874" name="Freihandform: Form 873">
                <a:extLst>
                  <a:ext uri="{FF2B5EF4-FFF2-40B4-BE49-F238E27FC236}">
                    <a16:creationId xmlns:a16="http://schemas.microsoft.com/office/drawing/2014/main" id="{0D1B34D1-4AE9-41FF-9EBE-9F96D9781D9A}"/>
                  </a:ext>
                </a:extLst>
              </p:cNvPr>
              <p:cNvSpPr/>
              <p:nvPr/>
            </p:nvSpPr>
            <p:spPr>
              <a:xfrm>
                <a:off x="6382251" y="2516699"/>
                <a:ext cx="78163" cy="200718"/>
              </a:xfrm>
              <a:custGeom>
                <a:avLst/>
                <a:gdLst>
                  <a:gd name="connsiteX0" fmla="*/ 4963 w 78163"/>
                  <a:gd name="connsiteY0" fmla="*/ 200718 h 200718"/>
                  <a:gd name="connsiteX1" fmla="*/ 3294 w 78163"/>
                  <a:gd name="connsiteY1" fmla="*/ 200440 h 200718"/>
                  <a:gd name="connsiteX2" fmla="*/ 290 w 78163"/>
                  <a:gd name="connsiteY2" fmla="*/ 194098 h 200718"/>
                  <a:gd name="connsiteX3" fmla="*/ 68527 w 78163"/>
                  <a:gd name="connsiteY3" fmla="*/ 3294 h 200718"/>
                  <a:gd name="connsiteX4" fmla="*/ 74870 w 78163"/>
                  <a:gd name="connsiteY4" fmla="*/ 290 h 200718"/>
                  <a:gd name="connsiteX5" fmla="*/ 77874 w 78163"/>
                  <a:gd name="connsiteY5" fmla="*/ 6632 h 200718"/>
                  <a:gd name="connsiteX6" fmla="*/ 9636 w 78163"/>
                  <a:gd name="connsiteY6" fmla="*/ 197436 h 200718"/>
                  <a:gd name="connsiteX7" fmla="*/ 4963 w 78163"/>
                  <a:gd name="connsiteY7" fmla="*/ 200718 h 200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163" h="200718">
                    <a:moveTo>
                      <a:pt x="4963" y="200718"/>
                    </a:moveTo>
                    <a:cubicBezTo>
                      <a:pt x="4407" y="200718"/>
                      <a:pt x="3850" y="200635"/>
                      <a:pt x="3294" y="200440"/>
                    </a:cubicBezTo>
                    <a:cubicBezTo>
                      <a:pt x="707" y="199522"/>
                      <a:pt x="-628" y="196685"/>
                      <a:pt x="290" y="194098"/>
                    </a:cubicBezTo>
                    <a:lnTo>
                      <a:pt x="68527" y="3294"/>
                    </a:lnTo>
                    <a:cubicBezTo>
                      <a:pt x="69445" y="707"/>
                      <a:pt x="72283" y="-628"/>
                      <a:pt x="74870" y="290"/>
                    </a:cubicBezTo>
                    <a:cubicBezTo>
                      <a:pt x="77457" y="1208"/>
                      <a:pt x="78792" y="4045"/>
                      <a:pt x="77874" y="6632"/>
                    </a:cubicBezTo>
                    <a:lnTo>
                      <a:pt x="9636" y="197436"/>
                    </a:lnTo>
                    <a:cubicBezTo>
                      <a:pt x="8885" y="199466"/>
                      <a:pt x="6994" y="200718"/>
                      <a:pt x="4963" y="200718"/>
                    </a:cubicBezTo>
                    <a:close/>
                  </a:path>
                </a:pathLst>
              </a:custGeom>
              <a:solidFill>
                <a:schemeClr val="accent1"/>
              </a:solidFill>
              <a:ln w="2775" cap="flat">
                <a:noFill/>
                <a:prstDash val="solid"/>
                <a:miter/>
              </a:ln>
            </p:spPr>
            <p:txBody>
              <a:bodyPr rtlCol="0" anchor="ctr"/>
              <a:lstStyle/>
              <a:p>
                <a:endParaRPr lang="en-GB" dirty="0"/>
              </a:p>
            </p:txBody>
          </p:sp>
          <p:sp>
            <p:nvSpPr>
              <p:cNvPr id="875" name="Freihandform: Form 874">
                <a:extLst>
                  <a:ext uri="{FF2B5EF4-FFF2-40B4-BE49-F238E27FC236}">
                    <a16:creationId xmlns:a16="http://schemas.microsoft.com/office/drawing/2014/main" id="{C7CE9CE3-1550-4FD0-A584-97B7850FE120}"/>
                  </a:ext>
                </a:extLst>
              </p:cNvPr>
              <p:cNvSpPr/>
              <p:nvPr/>
            </p:nvSpPr>
            <p:spPr>
              <a:xfrm>
                <a:off x="6266930" y="2516683"/>
                <a:ext cx="85511" cy="107126"/>
              </a:xfrm>
              <a:custGeom>
                <a:avLst/>
                <a:gdLst>
                  <a:gd name="connsiteX0" fmla="*/ 4951 w 85511"/>
                  <a:gd name="connsiteY0" fmla="*/ 107127 h 107126"/>
                  <a:gd name="connsiteX1" fmla="*/ 1919 w 85511"/>
                  <a:gd name="connsiteY1" fmla="*/ 106070 h 107126"/>
                  <a:gd name="connsiteX2" fmla="*/ 1057 w 85511"/>
                  <a:gd name="connsiteY2" fmla="*/ 99115 h 107126"/>
                  <a:gd name="connsiteX3" fmla="*/ 76638 w 85511"/>
                  <a:gd name="connsiteY3" fmla="*/ 1919 h 107126"/>
                  <a:gd name="connsiteX4" fmla="*/ 83593 w 85511"/>
                  <a:gd name="connsiteY4" fmla="*/ 1057 h 107126"/>
                  <a:gd name="connsiteX5" fmla="*/ 84455 w 85511"/>
                  <a:gd name="connsiteY5" fmla="*/ 8011 h 107126"/>
                  <a:gd name="connsiteX6" fmla="*/ 8874 w 85511"/>
                  <a:gd name="connsiteY6" fmla="*/ 105207 h 107126"/>
                  <a:gd name="connsiteX7" fmla="*/ 4951 w 85511"/>
                  <a:gd name="connsiteY7" fmla="*/ 107127 h 107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511" h="107126">
                    <a:moveTo>
                      <a:pt x="4951" y="107127"/>
                    </a:moveTo>
                    <a:cubicBezTo>
                      <a:pt x="3894" y="107127"/>
                      <a:pt x="2809" y="106793"/>
                      <a:pt x="1919" y="106070"/>
                    </a:cubicBezTo>
                    <a:cubicBezTo>
                      <a:pt x="-251" y="104400"/>
                      <a:pt x="-640" y="101285"/>
                      <a:pt x="1057" y="99115"/>
                    </a:cubicBezTo>
                    <a:lnTo>
                      <a:pt x="76638" y="1919"/>
                    </a:lnTo>
                    <a:cubicBezTo>
                      <a:pt x="78307" y="-251"/>
                      <a:pt x="81423" y="-640"/>
                      <a:pt x="83593" y="1057"/>
                    </a:cubicBezTo>
                    <a:cubicBezTo>
                      <a:pt x="85762" y="2726"/>
                      <a:pt x="86152" y="5841"/>
                      <a:pt x="84455" y="8011"/>
                    </a:cubicBezTo>
                    <a:lnTo>
                      <a:pt x="8874" y="105207"/>
                    </a:lnTo>
                    <a:cubicBezTo>
                      <a:pt x="7872" y="106459"/>
                      <a:pt x="6426" y="107127"/>
                      <a:pt x="4951" y="107127"/>
                    </a:cubicBezTo>
                    <a:close/>
                  </a:path>
                </a:pathLst>
              </a:custGeom>
              <a:solidFill>
                <a:schemeClr val="accent1"/>
              </a:solidFill>
              <a:ln w="2775" cap="flat">
                <a:noFill/>
                <a:prstDash val="solid"/>
                <a:miter/>
              </a:ln>
            </p:spPr>
            <p:txBody>
              <a:bodyPr rtlCol="0" anchor="ctr"/>
              <a:lstStyle/>
              <a:p>
                <a:endParaRPr lang="en-GB" dirty="0"/>
              </a:p>
            </p:txBody>
          </p:sp>
          <p:sp>
            <p:nvSpPr>
              <p:cNvPr id="876" name="Freihandform: Form 875">
                <a:extLst>
                  <a:ext uri="{FF2B5EF4-FFF2-40B4-BE49-F238E27FC236}">
                    <a16:creationId xmlns:a16="http://schemas.microsoft.com/office/drawing/2014/main" id="{F1ABD1FB-536D-4FF5-837E-162481E377AD}"/>
                  </a:ext>
                </a:extLst>
              </p:cNvPr>
              <p:cNvSpPr/>
              <p:nvPr/>
            </p:nvSpPr>
            <p:spPr>
              <a:xfrm>
                <a:off x="6342504" y="2516692"/>
                <a:ext cx="85498" cy="107118"/>
              </a:xfrm>
              <a:custGeom>
                <a:avLst/>
                <a:gdLst>
                  <a:gd name="connsiteX0" fmla="*/ 80568 w 85498"/>
                  <a:gd name="connsiteY0" fmla="*/ 107118 h 107118"/>
                  <a:gd name="connsiteX1" fmla="*/ 76646 w 85498"/>
                  <a:gd name="connsiteY1" fmla="*/ 105199 h 107118"/>
                  <a:gd name="connsiteX2" fmla="*/ 1036 w 85498"/>
                  <a:gd name="connsiteY2" fmla="*/ 8003 h 107118"/>
                  <a:gd name="connsiteX3" fmla="*/ 1899 w 85498"/>
                  <a:gd name="connsiteY3" fmla="*/ 1048 h 107118"/>
                  <a:gd name="connsiteX4" fmla="*/ 8853 w 85498"/>
                  <a:gd name="connsiteY4" fmla="*/ 1911 h 107118"/>
                  <a:gd name="connsiteX5" fmla="*/ 84462 w 85498"/>
                  <a:gd name="connsiteY5" fmla="*/ 99107 h 107118"/>
                  <a:gd name="connsiteX6" fmla="*/ 83600 w 85498"/>
                  <a:gd name="connsiteY6" fmla="*/ 106061 h 107118"/>
                  <a:gd name="connsiteX7" fmla="*/ 80568 w 85498"/>
                  <a:gd name="connsiteY7" fmla="*/ 107118 h 107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498" h="107118">
                    <a:moveTo>
                      <a:pt x="80568" y="107118"/>
                    </a:moveTo>
                    <a:cubicBezTo>
                      <a:pt x="79094" y="107118"/>
                      <a:pt x="77619" y="106451"/>
                      <a:pt x="76646" y="105199"/>
                    </a:cubicBezTo>
                    <a:lnTo>
                      <a:pt x="1036" y="8003"/>
                    </a:lnTo>
                    <a:cubicBezTo>
                      <a:pt x="-633" y="5833"/>
                      <a:pt x="-243" y="2717"/>
                      <a:pt x="1899" y="1048"/>
                    </a:cubicBezTo>
                    <a:cubicBezTo>
                      <a:pt x="4041" y="-649"/>
                      <a:pt x="7156" y="-231"/>
                      <a:pt x="8853" y="1911"/>
                    </a:cubicBezTo>
                    <a:lnTo>
                      <a:pt x="84462" y="99107"/>
                    </a:lnTo>
                    <a:cubicBezTo>
                      <a:pt x="86132" y="101276"/>
                      <a:pt x="85742" y="104392"/>
                      <a:pt x="83600" y="106061"/>
                    </a:cubicBezTo>
                    <a:cubicBezTo>
                      <a:pt x="82682" y="106784"/>
                      <a:pt x="81625" y="107118"/>
                      <a:pt x="80568" y="107118"/>
                    </a:cubicBezTo>
                    <a:close/>
                  </a:path>
                </a:pathLst>
              </a:custGeom>
              <a:solidFill>
                <a:schemeClr val="accent1"/>
              </a:solidFill>
              <a:ln w="2775" cap="flat">
                <a:noFill/>
                <a:prstDash val="solid"/>
                <a:miter/>
              </a:ln>
            </p:spPr>
            <p:txBody>
              <a:bodyPr rtlCol="0" anchor="ctr"/>
              <a:lstStyle/>
              <a:p>
                <a:endParaRPr lang="en-GB" dirty="0"/>
              </a:p>
            </p:txBody>
          </p:sp>
        </p:grpSp>
        <p:grpSp>
          <p:nvGrpSpPr>
            <p:cNvPr id="866" name="Grafik 114">
              <a:extLst>
                <a:ext uri="{FF2B5EF4-FFF2-40B4-BE49-F238E27FC236}">
                  <a16:creationId xmlns:a16="http://schemas.microsoft.com/office/drawing/2014/main" id="{CBAFF35A-B4C2-4CA4-AEF5-5EB0DCF3D93E}"/>
                </a:ext>
              </a:extLst>
            </p:cNvPr>
            <p:cNvGrpSpPr/>
            <p:nvPr/>
          </p:nvGrpSpPr>
          <p:grpSpPr>
            <a:xfrm>
              <a:off x="6144802" y="2654282"/>
              <a:ext cx="227059" cy="227059"/>
              <a:chOff x="6234660" y="2720310"/>
              <a:chExt cx="225603" cy="225603"/>
            </a:xfrm>
            <a:solidFill>
              <a:schemeClr val="tx2"/>
            </a:solidFill>
          </p:grpSpPr>
          <p:sp>
            <p:nvSpPr>
              <p:cNvPr id="867" name="Freihandform: Form 866">
                <a:extLst>
                  <a:ext uri="{FF2B5EF4-FFF2-40B4-BE49-F238E27FC236}">
                    <a16:creationId xmlns:a16="http://schemas.microsoft.com/office/drawing/2014/main" id="{43DD07AE-AA08-4910-AA84-34156269999D}"/>
                  </a:ext>
                </a:extLst>
              </p:cNvPr>
              <p:cNvSpPr/>
              <p:nvPr/>
            </p:nvSpPr>
            <p:spPr>
              <a:xfrm>
                <a:off x="6234660" y="2720310"/>
                <a:ext cx="225603" cy="225603"/>
              </a:xfrm>
              <a:custGeom>
                <a:avLst/>
                <a:gdLst>
                  <a:gd name="connsiteX0" fmla="*/ 112802 w 225603"/>
                  <a:gd name="connsiteY0" fmla="*/ 225604 h 225603"/>
                  <a:gd name="connsiteX1" fmla="*/ 0 w 225603"/>
                  <a:gd name="connsiteY1" fmla="*/ 112802 h 225603"/>
                  <a:gd name="connsiteX2" fmla="*/ 112802 w 225603"/>
                  <a:gd name="connsiteY2" fmla="*/ 0 h 225603"/>
                  <a:gd name="connsiteX3" fmla="*/ 225604 w 225603"/>
                  <a:gd name="connsiteY3" fmla="*/ 112802 h 225603"/>
                  <a:gd name="connsiteX4" fmla="*/ 112802 w 225603"/>
                  <a:gd name="connsiteY4" fmla="*/ 225604 h 225603"/>
                  <a:gd name="connsiteX5" fmla="*/ 112802 w 225603"/>
                  <a:gd name="connsiteY5" fmla="*/ 9903 h 225603"/>
                  <a:gd name="connsiteX6" fmla="*/ 9903 w 225603"/>
                  <a:gd name="connsiteY6" fmla="*/ 112802 h 225603"/>
                  <a:gd name="connsiteX7" fmla="*/ 112802 w 225603"/>
                  <a:gd name="connsiteY7" fmla="*/ 215701 h 225603"/>
                  <a:gd name="connsiteX8" fmla="*/ 215701 w 225603"/>
                  <a:gd name="connsiteY8" fmla="*/ 112802 h 225603"/>
                  <a:gd name="connsiteX9" fmla="*/ 112802 w 225603"/>
                  <a:gd name="connsiteY9" fmla="*/ 9903 h 225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5603" h="225603">
                    <a:moveTo>
                      <a:pt x="112802" y="225604"/>
                    </a:moveTo>
                    <a:cubicBezTo>
                      <a:pt x="50601" y="225604"/>
                      <a:pt x="0" y="175003"/>
                      <a:pt x="0" y="112802"/>
                    </a:cubicBezTo>
                    <a:cubicBezTo>
                      <a:pt x="0" y="50601"/>
                      <a:pt x="50601" y="0"/>
                      <a:pt x="112802" y="0"/>
                    </a:cubicBezTo>
                    <a:cubicBezTo>
                      <a:pt x="175003" y="0"/>
                      <a:pt x="225604" y="50601"/>
                      <a:pt x="225604" y="112802"/>
                    </a:cubicBezTo>
                    <a:cubicBezTo>
                      <a:pt x="225604" y="175003"/>
                      <a:pt x="175003" y="225604"/>
                      <a:pt x="112802" y="225604"/>
                    </a:cubicBezTo>
                    <a:close/>
                    <a:moveTo>
                      <a:pt x="112802" y="9903"/>
                    </a:moveTo>
                    <a:cubicBezTo>
                      <a:pt x="56053" y="9903"/>
                      <a:pt x="9903" y="56053"/>
                      <a:pt x="9903" y="112802"/>
                    </a:cubicBezTo>
                    <a:cubicBezTo>
                      <a:pt x="9903" y="169551"/>
                      <a:pt x="56053" y="215701"/>
                      <a:pt x="112802" y="215701"/>
                    </a:cubicBezTo>
                    <a:cubicBezTo>
                      <a:pt x="169551" y="215701"/>
                      <a:pt x="215701" y="169551"/>
                      <a:pt x="215701" y="112802"/>
                    </a:cubicBezTo>
                    <a:cubicBezTo>
                      <a:pt x="215701" y="56081"/>
                      <a:pt x="169551" y="9903"/>
                      <a:pt x="112802" y="9903"/>
                    </a:cubicBezTo>
                    <a:close/>
                  </a:path>
                </a:pathLst>
              </a:custGeom>
              <a:grpFill/>
              <a:ln w="2775" cap="flat">
                <a:noFill/>
                <a:prstDash val="solid"/>
                <a:miter/>
              </a:ln>
            </p:spPr>
            <p:txBody>
              <a:bodyPr rtlCol="0" anchor="ctr"/>
              <a:lstStyle/>
              <a:p>
                <a:endParaRPr lang="en-GB" dirty="0"/>
              </a:p>
            </p:txBody>
          </p:sp>
          <p:grpSp>
            <p:nvGrpSpPr>
              <p:cNvPr id="868" name="Grafik 114">
                <a:extLst>
                  <a:ext uri="{FF2B5EF4-FFF2-40B4-BE49-F238E27FC236}">
                    <a16:creationId xmlns:a16="http://schemas.microsoft.com/office/drawing/2014/main" id="{73E5052C-6EB4-4021-A686-A9F36B4578FE}"/>
                  </a:ext>
                </a:extLst>
              </p:cNvPr>
              <p:cNvGrpSpPr/>
              <p:nvPr/>
            </p:nvGrpSpPr>
            <p:grpSpPr>
              <a:xfrm>
                <a:off x="6278140" y="2762149"/>
                <a:ext cx="138672" cy="141955"/>
                <a:chOff x="6278140" y="2762149"/>
                <a:chExt cx="138672" cy="141955"/>
              </a:xfrm>
              <a:grpFill/>
            </p:grpSpPr>
            <p:sp>
              <p:nvSpPr>
                <p:cNvPr id="869" name="Freihandform: Form 868">
                  <a:extLst>
                    <a:ext uri="{FF2B5EF4-FFF2-40B4-BE49-F238E27FC236}">
                      <a16:creationId xmlns:a16="http://schemas.microsoft.com/office/drawing/2014/main" id="{225DF025-21EF-4B87-A1E7-3E66EB1BE684}"/>
                    </a:ext>
                  </a:extLst>
                </p:cNvPr>
                <p:cNvSpPr/>
                <p:nvPr/>
              </p:nvSpPr>
              <p:spPr>
                <a:xfrm>
                  <a:off x="6342511" y="2762149"/>
                  <a:ext cx="9903" cy="141955"/>
                </a:xfrm>
                <a:custGeom>
                  <a:avLst/>
                  <a:gdLst>
                    <a:gd name="connsiteX0" fmla="*/ 4952 w 9903"/>
                    <a:gd name="connsiteY0" fmla="*/ 141955 h 141955"/>
                    <a:gd name="connsiteX1" fmla="*/ 0 w 9903"/>
                    <a:gd name="connsiteY1" fmla="*/ 137004 h 141955"/>
                    <a:gd name="connsiteX2" fmla="*/ 0 w 9903"/>
                    <a:gd name="connsiteY2" fmla="*/ 4952 h 141955"/>
                    <a:gd name="connsiteX3" fmla="*/ 4952 w 9903"/>
                    <a:gd name="connsiteY3" fmla="*/ 0 h 141955"/>
                    <a:gd name="connsiteX4" fmla="*/ 9903 w 9903"/>
                    <a:gd name="connsiteY4" fmla="*/ 4952 h 141955"/>
                    <a:gd name="connsiteX5" fmla="*/ 9903 w 9903"/>
                    <a:gd name="connsiteY5" fmla="*/ 137004 h 141955"/>
                    <a:gd name="connsiteX6" fmla="*/ 4952 w 9903"/>
                    <a:gd name="connsiteY6" fmla="*/ 141955 h 14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41955">
                      <a:moveTo>
                        <a:pt x="4952" y="141955"/>
                      </a:moveTo>
                      <a:cubicBezTo>
                        <a:pt x="2225" y="141955"/>
                        <a:pt x="0" y="139730"/>
                        <a:pt x="0" y="137004"/>
                      </a:cubicBezTo>
                      <a:lnTo>
                        <a:pt x="0" y="4952"/>
                      </a:lnTo>
                      <a:cubicBezTo>
                        <a:pt x="0" y="2225"/>
                        <a:pt x="2225" y="0"/>
                        <a:pt x="4952" y="0"/>
                      </a:cubicBezTo>
                      <a:cubicBezTo>
                        <a:pt x="7678" y="0"/>
                        <a:pt x="9903" y="2225"/>
                        <a:pt x="9903" y="4952"/>
                      </a:cubicBezTo>
                      <a:lnTo>
                        <a:pt x="9903" y="137004"/>
                      </a:lnTo>
                      <a:cubicBezTo>
                        <a:pt x="9903" y="139730"/>
                        <a:pt x="7678" y="141955"/>
                        <a:pt x="4952" y="141955"/>
                      </a:cubicBezTo>
                      <a:close/>
                    </a:path>
                  </a:pathLst>
                </a:custGeom>
                <a:grpFill/>
                <a:ln w="2775" cap="flat">
                  <a:noFill/>
                  <a:prstDash val="solid"/>
                  <a:miter/>
                </a:ln>
              </p:spPr>
              <p:txBody>
                <a:bodyPr rtlCol="0" anchor="ctr"/>
                <a:lstStyle/>
                <a:p>
                  <a:endParaRPr lang="en-GB" dirty="0"/>
                </a:p>
              </p:txBody>
            </p:sp>
            <p:sp>
              <p:nvSpPr>
                <p:cNvPr id="870" name="Freihandform: Form 869">
                  <a:extLst>
                    <a:ext uri="{FF2B5EF4-FFF2-40B4-BE49-F238E27FC236}">
                      <a16:creationId xmlns:a16="http://schemas.microsoft.com/office/drawing/2014/main" id="{ADA23901-8868-4C3F-85FA-7373EE65F41B}"/>
                    </a:ext>
                  </a:extLst>
                </p:cNvPr>
                <p:cNvSpPr/>
                <p:nvPr/>
              </p:nvSpPr>
              <p:spPr>
                <a:xfrm>
                  <a:off x="6278140" y="2828161"/>
                  <a:ext cx="138672" cy="9903"/>
                </a:xfrm>
                <a:custGeom>
                  <a:avLst/>
                  <a:gdLst>
                    <a:gd name="connsiteX0" fmla="*/ 133721 w 138672"/>
                    <a:gd name="connsiteY0" fmla="*/ 9903 h 9903"/>
                    <a:gd name="connsiteX1" fmla="*/ 4952 w 138672"/>
                    <a:gd name="connsiteY1" fmla="*/ 9903 h 9903"/>
                    <a:gd name="connsiteX2" fmla="*/ 0 w 138672"/>
                    <a:gd name="connsiteY2" fmla="*/ 4952 h 9903"/>
                    <a:gd name="connsiteX3" fmla="*/ 4952 w 138672"/>
                    <a:gd name="connsiteY3" fmla="*/ 0 h 9903"/>
                    <a:gd name="connsiteX4" fmla="*/ 133721 w 138672"/>
                    <a:gd name="connsiteY4" fmla="*/ 0 h 9903"/>
                    <a:gd name="connsiteX5" fmla="*/ 138673 w 138672"/>
                    <a:gd name="connsiteY5" fmla="*/ 4952 h 9903"/>
                    <a:gd name="connsiteX6" fmla="*/ 133721 w 138672"/>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8672" h="9903">
                      <a:moveTo>
                        <a:pt x="133721" y="9903"/>
                      </a:moveTo>
                      <a:lnTo>
                        <a:pt x="4952" y="9903"/>
                      </a:lnTo>
                      <a:cubicBezTo>
                        <a:pt x="2225" y="9903"/>
                        <a:pt x="0" y="7678"/>
                        <a:pt x="0" y="4952"/>
                      </a:cubicBezTo>
                      <a:cubicBezTo>
                        <a:pt x="0" y="2225"/>
                        <a:pt x="2225" y="0"/>
                        <a:pt x="4952" y="0"/>
                      </a:cubicBezTo>
                      <a:lnTo>
                        <a:pt x="133721" y="0"/>
                      </a:lnTo>
                      <a:cubicBezTo>
                        <a:pt x="136447" y="0"/>
                        <a:pt x="138673" y="2225"/>
                        <a:pt x="138673" y="4952"/>
                      </a:cubicBezTo>
                      <a:cubicBezTo>
                        <a:pt x="138673" y="7678"/>
                        <a:pt x="136447" y="9903"/>
                        <a:pt x="133721" y="9903"/>
                      </a:cubicBezTo>
                      <a:close/>
                    </a:path>
                  </a:pathLst>
                </a:custGeom>
                <a:grpFill/>
                <a:ln w="2775" cap="flat">
                  <a:noFill/>
                  <a:prstDash val="solid"/>
                  <a:miter/>
                </a:ln>
              </p:spPr>
              <p:txBody>
                <a:bodyPr rtlCol="0" anchor="ctr"/>
                <a:lstStyle/>
                <a:p>
                  <a:endParaRPr lang="en-GB" dirty="0"/>
                </a:p>
              </p:txBody>
            </p:sp>
          </p:grpSp>
        </p:grpSp>
      </p:grpSp>
      <p:grpSp>
        <p:nvGrpSpPr>
          <p:cNvPr id="14" name="Group 13">
            <a:extLst>
              <a:ext uri="{FF2B5EF4-FFF2-40B4-BE49-F238E27FC236}">
                <a16:creationId xmlns:a16="http://schemas.microsoft.com/office/drawing/2014/main" id="{6E1AFD23-518F-F5D1-6600-0FCF36F8180F}"/>
              </a:ext>
            </a:extLst>
          </p:cNvPr>
          <p:cNvGrpSpPr/>
          <p:nvPr/>
        </p:nvGrpSpPr>
        <p:grpSpPr>
          <a:xfrm>
            <a:off x="7063548" y="2449340"/>
            <a:ext cx="481167" cy="432001"/>
            <a:chOff x="7063136" y="2449340"/>
            <a:chExt cx="481167" cy="432001"/>
          </a:xfrm>
        </p:grpSpPr>
        <p:grpSp>
          <p:nvGrpSpPr>
            <p:cNvPr id="878" name="Grafik 114">
              <a:extLst>
                <a:ext uri="{FF2B5EF4-FFF2-40B4-BE49-F238E27FC236}">
                  <a16:creationId xmlns:a16="http://schemas.microsoft.com/office/drawing/2014/main" id="{23123470-9D6A-43E4-9C28-A3262A96D0FD}"/>
                </a:ext>
              </a:extLst>
            </p:cNvPr>
            <p:cNvGrpSpPr/>
            <p:nvPr/>
          </p:nvGrpSpPr>
          <p:grpSpPr>
            <a:xfrm>
              <a:off x="7063136" y="2449340"/>
              <a:ext cx="481167" cy="344974"/>
              <a:chOff x="6898648" y="2499130"/>
              <a:chExt cx="517247" cy="370841"/>
            </a:xfrm>
            <a:solidFill>
              <a:schemeClr val="tx2"/>
            </a:solidFill>
          </p:grpSpPr>
          <p:sp>
            <p:nvSpPr>
              <p:cNvPr id="887" name="Freihandform: Form 886">
                <a:extLst>
                  <a:ext uri="{FF2B5EF4-FFF2-40B4-BE49-F238E27FC236}">
                    <a16:creationId xmlns:a16="http://schemas.microsoft.com/office/drawing/2014/main" id="{B055B811-8A81-45AB-9E4A-674D6C7F56AB}"/>
                  </a:ext>
                </a:extLst>
              </p:cNvPr>
              <p:cNvSpPr/>
              <p:nvPr/>
            </p:nvSpPr>
            <p:spPr>
              <a:xfrm>
                <a:off x="7361185" y="2534606"/>
                <a:ext cx="54709" cy="334280"/>
              </a:xfrm>
              <a:custGeom>
                <a:avLst/>
                <a:gdLst>
                  <a:gd name="connsiteX0" fmla="*/ 49758 w 54709"/>
                  <a:gd name="connsiteY0" fmla="*/ 334281 h 334280"/>
                  <a:gd name="connsiteX1" fmla="*/ 44807 w 54709"/>
                  <a:gd name="connsiteY1" fmla="*/ 329329 h 334280"/>
                  <a:gd name="connsiteX2" fmla="*/ 44807 w 54709"/>
                  <a:gd name="connsiteY2" fmla="*/ 22163 h 334280"/>
                  <a:gd name="connsiteX3" fmla="*/ 3970 w 54709"/>
                  <a:gd name="connsiteY3" fmla="*/ 9812 h 334280"/>
                  <a:gd name="connsiteX4" fmla="*/ 103 w 54709"/>
                  <a:gd name="connsiteY4" fmla="*/ 3970 h 334280"/>
                  <a:gd name="connsiteX5" fmla="*/ 5945 w 54709"/>
                  <a:gd name="connsiteY5" fmla="*/ 103 h 334280"/>
                  <a:gd name="connsiteX6" fmla="*/ 52012 w 54709"/>
                  <a:gd name="connsiteY6" fmla="*/ 14568 h 334280"/>
                  <a:gd name="connsiteX7" fmla="*/ 54710 w 54709"/>
                  <a:gd name="connsiteY7" fmla="*/ 18991 h 334280"/>
                  <a:gd name="connsiteX8" fmla="*/ 54710 w 54709"/>
                  <a:gd name="connsiteY8" fmla="*/ 329329 h 334280"/>
                  <a:gd name="connsiteX9" fmla="*/ 49758 w 54709"/>
                  <a:gd name="connsiteY9" fmla="*/ 334281 h 33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709" h="334280">
                    <a:moveTo>
                      <a:pt x="49758" y="334281"/>
                    </a:moveTo>
                    <a:cubicBezTo>
                      <a:pt x="47032" y="334281"/>
                      <a:pt x="44807" y="332055"/>
                      <a:pt x="44807" y="329329"/>
                    </a:cubicBezTo>
                    <a:lnTo>
                      <a:pt x="44807" y="22163"/>
                    </a:lnTo>
                    <a:cubicBezTo>
                      <a:pt x="39187" y="19715"/>
                      <a:pt x="25000" y="14096"/>
                      <a:pt x="3970" y="9812"/>
                    </a:cubicBezTo>
                    <a:cubicBezTo>
                      <a:pt x="1299" y="9255"/>
                      <a:pt x="-453" y="6640"/>
                      <a:pt x="103" y="3970"/>
                    </a:cubicBezTo>
                    <a:cubicBezTo>
                      <a:pt x="659" y="1299"/>
                      <a:pt x="3274" y="-453"/>
                      <a:pt x="5945" y="103"/>
                    </a:cubicBezTo>
                    <a:cubicBezTo>
                      <a:pt x="34987" y="6001"/>
                      <a:pt x="51316" y="14207"/>
                      <a:pt x="52012" y="14568"/>
                    </a:cubicBezTo>
                    <a:cubicBezTo>
                      <a:pt x="53681" y="15403"/>
                      <a:pt x="54710" y="17128"/>
                      <a:pt x="54710" y="18991"/>
                    </a:cubicBezTo>
                    <a:lnTo>
                      <a:pt x="54710" y="329329"/>
                    </a:lnTo>
                    <a:cubicBezTo>
                      <a:pt x="54710" y="332055"/>
                      <a:pt x="52484" y="334281"/>
                      <a:pt x="49758" y="334281"/>
                    </a:cubicBezTo>
                    <a:close/>
                  </a:path>
                </a:pathLst>
              </a:custGeom>
              <a:grpFill/>
              <a:ln w="2775" cap="flat">
                <a:noFill/>
                <a:prstDash val="solid"/>
                <a:miter/>
              </a:ln>
            </p:spPr>
            <p:txBody>
              <a:bodyPr rtlCol="0" anchor="ctr"/>
              <a:lstStyle/>
              <a:p>
                <a:endParaRPr lang="en-GB" dirty="0"/>
              </a:p>
            </p:txBody>
          </p:sp>
          <p:sp>
            <p:nvSpPr>
              <p:cNvPr id="888" name="Freihandform: Form 887">
                <a:extLst>
                  <a:ext uri="{FF2B5EF4-FFF2-40B4-BE49-F238E27FC236}">
                    <a16:creationId xmlns:a16="http://schemas.microsoft.com/office/drawing/2014/main" id="{BEF54E6D-8649-4DA7-B782-436C59C57766}"/>
                  </a:ext>
                </a:extLst>
              </p:cNvPr>
              <p:cNvSpPr/>
              <p:nvPr/>
            </p:nvSpPr>
            <p:spPr>
              <a:xfrm>
                <a:off x="6898648" y="2535920"/>
                <a:ext cx="53626" cy="334051"/>
              </a:xfrm>
              <a:custGeom>
                <a:avLst/>
                <a:gdLst>
                  <a:gd name="connsiteX0" fmla="*/ 4952 w 53626"/>
                  <a:gd name="connsiteY0" fmla="*/ 334051 h 334051"/>
                  <a:gd name="connsiteX1" fmla="*/ 0 w 53626"/>
                  <a:gd name="connsiteY1" fmla="*/ 329100 h 334051"/>
                  <a:gd name="connsiteX2" fmla="*/ 0 w 53626"/>
                  <a:gd name="connsiteY2" fmla="*/ 18762 h 334051"/>
                  <a:gd name="connsiteX3" fmla="*/ 2698 w 53626"/>
                  <a:gd name="connsiteY3" fmla="*/ 14339 h 334051"/>
                  <a:gd name="connsiteX4" fmla="*/ 47680 w 53626"/>
                  <a:gd name="connsiteY4" fmla="*/ 96 h 334051"/>
                  <a:gd name="connsiteX5" fmla="*/ 53522 w 53626"/>
                  <a:gd name="connsiteY5" fmla="*/ 3935 h 334051"/>
                  <a:gd name="connsiteX6" fmla="*/ 49683 w 53626"/>
                  <a:gd name="connsiteY6" fmla="*/ 9777 h 334051"/>
                  <a:gd name="connsiteX7" fmla="*/ 9876 w 53626"/>
                  <a:gd name="connsiteY7" fmla="*/ 21906 h 334051"/>
                  <a:gd name="connsiteX8" fmla="*/ 9876 w 53626"/>
                  <a:gd name="connsiteY8" fmla="*/ 329072 h 334051"/>
                  <a:gd name="connsiteX9" fmla="*/ 4952 w 53626"/>
                  <a:gd name="connsiteY9" fmla="*/ 334051 h 334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626" h="334051">
                    <a:moveTo>
                      <a:pt x="4952" y="334051"/>
                    </a:moveTo>
                    <a:cubicBezTo>
                      <a:pt x="2226" y="334051"/>
                      <a:pt x="0" y="331826"/>
                      <a:pt x="0" y="329100"/>
                    </a:cubicBezTo>
                    <a:lnTo>
                      <a:pt x="0" y="18762"/>
                    </a:lnTo>
                    <a:cubicBezTo>
                      <a:pt x="0" y="16898"/>
                      <a:pt x="1057" y="15202"/>
                      <a:pt x="2698" y="14339"/>
                    </a:cubicBezTo>
                    <a:cubicBezTo>
                      <a:pt x="3366" y="14005"/>
                      <a:pt x="19306" y="5994"/>
                      <a:pt x="47680" y="96"/>
                    </a:cubicBezTo>
                    <a:cubicBezTo>
                      <a:pt x="50323" y="-432"/>
                      <a:pt x="52993" y="1265"/>
                      <a:pt x="53522" y="3935"/>
                    </a:cubicBezTo>
                    <a:cubicBezTo>
                      <a:pt x="54078" y="6606"/>
                      <a:pt x="52353" y="9221"/>
                      <a:pt x="49683" y="9777"/>
                    </a:cubicBezTo>
                    <a:cubicBezTo>
                      <a:pt x="29209" y="14033"/>
                      <a:pt x="15411" y="19485"/>
                      <a:pt x="9876" y="21906"/>
                    </a:cubicBezTo>
                    <a:lnTo>
                      <a:pt x="9876" y="329072"/>
                    </a:lnTo>
                    <a:cubicBezTo>
                      <a:pt x="9903" y="331854"/>
                      <a:pt x="7706" y="334051"/>
                      <a:pt x="4952" y="334051"/>
                    </a:cubicBezTo>
                    <a:close/>
                  </a:path>
                </a:pathLst>
              </a:custGeom>
              <a:grpFill/>
              <a:ln w="2775" cap="flat">
                <a:noFill/>
                <a:prstDash val="solid"/>
                <a:miter/>
              </a:ln>
            </p:spPr>
            <p:txBody>
              <a:bodyPr rtlCol="0" anchor="ctr"/>
              <a:lstStyle/>
              <a:p>
                <a:endParaRPr lang="en-GB" dirty="0"/>
              </a:p>
            </p:txBody>
          </p:sp>
          <p:sp>
            <p:nvSpPr>
              <p:cNvPr id="889" name="Freihandform: Form 888">
                <a:extLst>
                  <a:ext uri="{FF2B5EF4-FFF2-40B4-BE49-F238E27FC236}">
                    <a16:creationId xmlns:a16="http://schemas.microsoft.com/office/drawing/2014/main" id="{2F13505A-8510-4D92-884C-6F439199536F}"/>
                  </a:ext>
                </a:extLst>
              </p:cNvPr>
              <p:cNvSpPr/>
              <p:nvPr/>
            </p:nvSpPr>
            <p:spPr>
              <a:xfrm>
                <a:off x="6944436" y="2499130"/>
                <a:ext cx="217759" cy="320240"/>
              </a:xfrm>
              <a:custGeom>
                <a:avLst/>
                <a:gdLst>
                  <a:gd name="connsiteX0" fmla="*/ 4952 w 217759"/>
                  <a:gd name="connsiteY0" fmla="*/ 320241 h 320240"/>
                  <a:gd name="connsiteX1" fmla="*/ 2420 w 217759"/>
                  <a:gd name="connsiteY1" fmla="*/ 319545 h 320240"/>
                  <a:gd name="connsiteX2" fmla="*/ 0 w 217759"/>
                  <a:gd name="connsiteY2" fmla="*/ 315289 h 320240"/>
                  <a:gd name="connsiteX3" fmla="*/ 0 w 217759"/>
                  <a:gd name="connsiteY3" fmla="*/ 24758 h 320240"/>
                  <a:gd name="connsiteX4" fmla="*/ 2698 w 217759"/>
                  <a:gd name="connsiteY4" fmla="*/ 20335 h 320240"/>
                  <a:gd name="connsiteX5" fmla="*/ 108880 w 217759"/>
                  <a:gd name="connsiteY5" fmla="*/ 0 h 320240"/>
                  <a:gd name="connsiteX6" fmla="*/ 215061 w 217759"/>
                  <a:gd name="connsiteY6" fmla="*/ 20335 h 320240"/>
                  <a:gd name="connsiteX7" fmla="*/ 217759 w 217759"/>
                  <a:gd name="connsiteY7" fmla="*/ 24758 h 320240"/>
                  <a:gd name="connsiteX8" fmla="*/ 217759 w 217759"/>
                  <a:gd name="connsiteY8" fmla="*/ 97391 h 320240"/>
                  <a:gd name="connsiteX9" fmla="*/ 212808 w 217759"/>
                  <a:gd name="connsiteY9" fmla="*/ 102342 h 320240"/>
                  <a:gd name="connsiteX10" fmla="*/ 207856 w 217759"/>
                  <a:gd name="connsiteY10" fmla="*/ 97391 h 320240"/>
                  <a:gd name="connsiteX11" fmla="*/ 207856 w 217759"/>
                  <a:gd name="connsiteY11" fmla="*/ 27929 h 320240"/>
                  <a:gd name="connsiteX12" fmla="*/ 108880 w 217759"/>
                  <a:gd name="connsiteY12" fmla="*/ 9903 h 320240"/>
                  <a:gd name="connsiteX13" fmla="*/ 9875 w 217759"/>
                  <a:gd name="connsiteY13" fmla="*/ 27929 h 320240"/>
                  <a:gd name="connsiteX14" fmla="*/ 9875 w 217759"/>
                  <a:gd name="connsiteY14" fmla="*/ 307556 h 320240"/>
                  <a:gd name="connsiteX15" fmla="*/ 108880 w 217759"/>
                  <a:gd name="connsiteY15" fmla="*/ 290531 h 320240"/>
                  <a:gd name="connsiteX16" fmla="*/ 158229 w 217759"/>
                  <a:gd name="connsiteY16" fmla="*/ 294259 h 320240"/>
                  <a:gd name="connsiteX17" fmla="*/ 162346 w 217759"/>
                  <a:gd name="connsiteY17" fmla="*/ 299934 h 320240"/>
                  <a:gd name="connsiteX18" fmla="*/ 156671 w 217759"/>
                  <a:gd name="connsiteY18" fmla="*/ 304051 h 320240"/>
                  <a:gd name="connsiteX19" fmla="*/ 108852 w 217759"/>
                  <a:gd name="connsiteY19" fmla="*/ 300462 h 320240"/>
                  <a:gd name="connsiteX20" fmla="*/ 7288 w 217759"/>
                  <a:gd name="connsiteY20" fmla="*/ 319657 h 320240"/>
                  <a:gd name="connsiteX21" fmla="*/ 4952 w 217759"/>
                  <a:gd name="connsiteY21" fmla="*/ 320241 h 320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7759" h="320240">
                    <a:moveTo>
                      <a:pt x="4952" y="320241"/>
                    </a:moveTo>
                    <a:cubicBezTo>
                      <a:pt x="4061" y="320241"/>
                      <a:pt x="3199" y="320018"/>
                      <a:pt x="2420" y="319545"/>
                    </a:cubicBezTo>
                    <a:cubicBezTo>
                      <a:pt x="918" y="318655"/>
                      <a:pt x="0" y="317042"/>
                      <a:pt x="0" y="315289"/>
                    </a:cubicBezTo>
                    <a:lnTo>
                      <a:pt x="0" y="24758"/>
                    </a:lnTo>
                    <a:cubicBezTo>
                      <a:pt x="0" y="22894"/>
                      <a:pt x="1057" y="21197"/>
                      <a:pt x="2698" y="20335"/>
                    </a:cubicBezTo>
                    <a:cubicBezTo>
                      <a:pt x="4340" y="19500"/>
                      <a:pt x="43480" y="0"/>
                      <a:pt x="108880" y="0"/>
                    </a:cubicBezTo>
                    <a:cubicBezTo>
                      <a:pt x="174280" y="0"/>
                      <a:pt x="213419" y="19528"/>
                      <a:pt x="215061" y="20335"/>
                    </a:cubicBezTo>
                    <a:cubicBezTo>
                      <a:pt x="216730" y="21169"/>
                      <a:pt x="217759" y="22894"/>
                      <a:pt x="217759" y="24758"/>
                    </a:cubicBezTo>
                    <a:lnTo>
                      <a:pt x="217759" y="97391"/>
                    </a:lnTo>
                    <a:cubicBezTo>
                      <a:pt x="217759" y="100117"/>
                      <a:pt x="215534" y="102342"/>
                      <a:pt x="212808" y="102342"/>
                    </a:cubicBezTo>
                    <a:cubicBezTo>
                      <a:pt x="210081" y="102342"/>
                      <a:pt x="207856" y="100117"/>
                      <a:pt x="207856" y="97391"/>
                    </a:cubicBezTo>
                    <a:lnTo>
                      <a:pt x="207856" y="27929"/>
                    </a:lnTo>
                    <a:cubicBezTo>
                      <a:pt x="198064" y="23673"/>
                      <a:pt x="162262" y="9903"/>
                      <a:pt x="108880" y="9903"/>
                    </a:cubicBezTo>
                    <a:cubicBezTo>
                      <a:pt x="55330" y="9903"/>
                      <a:pt x="19667" y="23673"/>
                      <a:pt x="9875" y="27929"/>
                    </a:cubicBezTo>
                    <a:lnTo>
                      <a:pt x="9875" y="307556"/>
                    </a:lnTo>
                    <a:cubicBezTo>
                      <a:pt x="23812" y="301742"/>
                      <a:pt x="57277" y="290531"/>
                      <a:pt x="108880" y="290531"/>
                    </a:cubicBezTo>
                    <a:cubicBezTo>
                      <a:pt x="125960" y="290531"/>
                      <a:pt x="142567" y="291783"/>
                      <a:pt x="158229" y="294259"/>
                    </a:cubicBezTo>
                    <a:cubicBezTo>
                      <a:pt x="160927" y="294676"/>
                      <a:pt x="162763" y="297207"/>
                      <a:pt x="162346" y="299934"/>
                    </a:cubicBezTo>
                    <a:cubicBezTo>
                      <a:pt x="161929" y="302632"/>
                      <a:pt x="159425" y="304496"/>
                      <a:pt x="156671" y="304051"/>
                    </a:cubicBezTo>
                    <a:cubicBezTo>
                      <a:pt x="141510" y="301658"/>
                      <a:pt x="125431" y="300462"/>
                      <a:pt x="108852" y="300462"/>
                    </a:cubicBezTo>
                    <a:cubicBezTo>
                      <a:pt x="43396" y="300462"/>
                      <a:pt x="7622" y="319462"/>
                      <a:pt x="7288" y="319657"/>
                    </a:cubicBezTo>
                    <a:cubicBezTo>
                      <a:pt x="6593" y="320018"/>
                      <a:pt x="5786" y="320241"/>
                      <a:pt x="4952" y="320241"/>
                    </a:cubicBezTo>
                    <a:close/>
                  </a:path>
                </a:pathLst>
              </a:custGeom>
              <a:grpFill/>
              <a:ln w="2775" cap="flat">
                <a:noFill/>
                <a:prstDash val="solid"/>
                <a:miter/>
              </a:ln>
            </p:spPr>
            <p:txBody>
              <a:bodyPr rtlCol="0" anchor="ctr"/>
              <a:lstStyle/>
              <a:p>
                <a:endParaRPr lang="en-GB" dirty="0"/>
              </a:p>
            </p:txBody>
          </p:sp>
          <p:sp>
            <p:nvSpPr>
              <p:cNvPr id="890" name="Freihandform: Form 889">
                <a:extLst>
                  <a:ext uri="{FF2B5EF4-FFF2-40B4-BE49-F238E27FC236}">
                    <a16:creationId xmlns:a16="http://schemas.microsoft.com/office/drawing/2014/main" id="{85E0D345-4C19-4FB1-AA3F-5329DF96BB30}"/>
                  </a:ext>
                </a:extLst>
              </p:cNvPr>
              <p:cNvSpPr/>
              <p:nvPr/>
            </p:nvSpPr>
            <p:spPr>
              <a:xfrm>
                <a:off x="6898648" y="2569537"/>
                <a:ext cx="210324" cy="300434"/>
              </a:xfrm>
              <a:custGeom>
                <a:avLst/>
                <a:gdLst>
                  <a:gd name="connsiteX0" fmla="*/ 4952 w 210324"/>
                  <a:gd name="connsiteY0" fmla="*/ 300434 h 300434"/>
                  <a:gd name="connsiteX1" fmla="*/ 1947 w 210324"/>
                  <a:gd name="connsiteY1" fmla="*/ 299405 h 300434"/>
                  <a:gd name="connsiteX2" fmla="*/ 0 w 210324"/>
                  <a:gd name="connsiteY2" fmla="*/ 295483 h 300434"/>
                  <a:gd name="connsiteX3" fmla="*/ 0 w 210324"/>
                  <a:gd name="connsiteY3" fmla="*/ 4952 h 300434"/>
                  <a:gd name="connsiteX4" fmla="*/ 4952 w 210324"/>
                  <a:gd name="connsiteY4" fmla="*/ 0 h 300434"/>
                  <a:gd name="connsiteX5" fmla="*/ 9903 w 210324"/>
                  <a:gd name="connsiteY5" fmla="*/ 4952 h 300434"/>
                  <a:gd name="connsiteX6" fmla="*/ 9903 w 210324"/>
                  <a:gd name="connsiteY6" fmla="*/ 289112 h 300434"/>
                  <a:gd name="connsiteX7" fmla="*/ 146017 w 210324"/>
                  <a:gd name="connsiteY7" fmla="*/ 270725 h 300434"/>
                  <a:gd name="connsiteX8" fmla="*/ 206243 w 210324"/>
                  <a:gd name="connsiteY8" fmla="*/ 276010 h 300434"/>
                  <a:gd name="connsiteX9" fmla="*/ 210248 w 210324"/>
                  <a:gd name="connsiteY9" fmla="*/ 281768 h 300434"/>
                  <a:gd name="connsiteX10" fmla="*/ 204490 w 210324"/>
                  <a:gd name="connsiteY10" fmla="*/ 285774 h 300434"/>
                  <a:gd name="connsiteX11" fmla="*/ 146017 w 210324"/>
                  <a:gd name="connsiteY11" fmla="*/ 280656 h 300434"/>
                  <a:gd name="connsiteX12" fmla="*/ 6231 w 210324"/>
                  <a:gd name="connsiteY12" fmla="*/ 300295 h 300434"/>
                  <a:gd name="connsiteX13" fmla="*/ 4952 w 210324"/>
                  <a:gd name="connsiteY13" fmla="*/ 300434 h 30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0324" h="300434">
                    <a:moveTo>
                      <a:pt x="4952" y="300434"/>
                    </a:moveTo>
                    <a:cubicBezTo>
                      <a:pt x="3867" y="300434"/>
                      <a:pt x="2810" y="300073"/>
                      <a:pt x="1947" y="299405"/>
                    </a:cubicBezTo>
                    <a:cubicBezTo>
                      <a:pt x="723" y="298459"/>
                      <a:pt x="0" y="297013"/>
                      <a:pt x="0" y="295483"/>
                    </a:cubicBezTo>
                    <a:lnTo>
                      <a:pt x="0" y="4952"/>
                    </a:lnTo>
                    <a:cubicBezTo>
                      <a:pt x="0" y="2225"/>
                      <a:pt x="2226" y="0"/>
                      <a:pt x="4952" y="0"/>
                    </a:cubicBezTo>
                    <a:cubicBezTo>
                      <a:pt x="7678" y="0"/>
                      <a:pt x="9903" y="2225"/>
                      <a:pt x="9903" y="4952"/>
                    </a:cubicBezTo>
                    <a:lnTo>
                      <a:pt x="9903" y="289112"/>
                    </a:lnTo>
                    <a:cubicBezTo>
                      <a:pt x="29181" y="284383"/>
                      <a:pt x="89797" y="270725"/>
                      <a:pt x="146017" y="270725"/>
                    </a:cubicBezTo>
                    <a:cubicBezTo>
                      <a:pt x="166407" y="270725"/>
                      <a:pt x="186659" y="272505"/>
                      <a:pt x="206243" y="276010"/>
                    </a:cubicBezTo>
                    <a:cubicBezTo>
                      <a:pt x="208941" y="276483"/>
                      <a:pt x="210721" y="279070"/>
                      <a:pt x="210248" y="281768"/>
                    </a:cubicBezTo>
                    <a:cubicBezTo>
                      <a:pt x="209775" y="284467"/>
                      <a:pt x="207161" y="286247"/>
                      <a:pt x="204490" y="285774"/>
                    </a:cubicBezTo>
                    <a:cubicBezTo>
                      <a:pt x="185490" y="282380"/>
                      <a:pt x="165823" y="280656"/>
                      <a:pt x="146017" y="280656"/>
                    </a:cubicBezTo>
                    <a:cubicBezTo>
                      <a:pt x="79699" y="280656"/>
                      <a:pt x="6982" y="300100"/>
                      <a:pt x="6231" y="300295"/>
                    </a:cubicBezTo>
                    <a:cubicBezTo>
                      <a:pt x="5814" y="300379"/>
                      <a:pt x="5397" y="300434"/>
                      <a:pt x="4952" y="300434"/>
                    </a:cubicBezTo>
                    <a:close/>
                  </a:path>
                </a:pathLst>
              </a:custGeom>
              <a:grpFill/>
              <a:ln w="2775" cap="flat">
                <a:noFill/>
                <a:prstDash val="solid"/>
                <a:miter/>
              </a:ln>
            </p:spPr>
            <p:txBody>
              <a:bodyPr rtlCol="0" anchor="ctr"/>
              <a:lstStyle/>
              <a:p>
                <a:endParaRPr lang="en-GB" dirty="0"/>
              </a:p>
            </p:txBody>
          </p:sp>
          <p:sp>
            <p:nvSpPr>
              <p:cNvPr id="891" name="Freihandform: Form 890">
                <a:extLst>
                  <a:ext uri="{FF2B5EF4-FFF2-40B4-BE49-F238E27FC236}">
                    <a16:creationId xmlns:a16="http://schemas.microsoft.com/office/drawing/2014/main" id="{4830EF72-637D-4DBB-BF2B-020D03B03746}"/>
                  </a:ext>
                </a:extLst>
              </p:cNvPr>
              <p:cNvSpPr/>
              <p:nvPr/>
            </p:nvSpPr>
            <p:spPr>
              <a:xfrm>
                <a:off x="7208807" y="2568452"/>
                <a:ext cx="207088" cy="300434"/>
              </a:xfrm>
              <a:custGeom>
                <a:avLst/>
                <a:gdLst>
                  <a:gd name="connsiteX0" fmla="*/ 202137 w 207088"/>
                  <a:gd name="connsiteY0" fmla="*/ 300434 h 300434"/>
                  <a:gd name="connsiteX1" fmla="*/ 200857 w 207088"/>
                  <a:gd name="connsiteY1" fmla="*/ 300267 h 300434"/>
                  <a:gd name="connsiteX2" fmla="*/ 61072 w 207088"/>
                  <a:gd name="connsiteY2" fmla="*/ 280628 h 300434"/>
                  <a:gd name="connsiteX3" fmla="*/ 5770 w 207088"/>
                  <a:gd name="connsiteY3" fmla="*/ 285190 h 300434"/>
                  <a:gd name="connsiteX4" fmla="*/ 67 w 207088"/>
                  <a:gd name="connsiteY4" fmla="*/ 281129 h 300434"/>
                  <a:gd name="connsiteX5" fmla="*/ 4129 w 207088"/>
                  <a:gd name="connsiteY5" fmla="*/ 275426 h 300434"/>
                  <a:gd name="connsiteX6" fmla="*/ 61072 w 207088"/>
                  <a:gd name="connsiteY6" fmla="*/ 270725 h 300434"/>
                  <a:gd name="connsiteX7" fmla="*/ 197185 w 207088"/>
                  <a:gd name="connsiteY7" fmla="*/ 289112 h 300434"/>
                  <a:gd name="connsiteX8" fmla="*/ 197185 w 207088"/>
                  <a:gd name="connsiteY8" fmla="*/ 4952 h 300434"/>
                  <a:gd name="connsiteX9" fmla="*/ 202137 w 207088"/>
                  <a:gd name="connsiteY9" fmla="*/ 0 h 300434"/>
                  <a:gd name="connsiteX10" fmla="*/ 207089 w 207088"/>
                  <a:gd name="connsiteY10" fmla="*/ 4952 h 300434"/>
                  <a:gd name="connsiteX11" fmla="*/ 207089 w 207088"/>
                  <a:gd name="connsiteY11" fmla="*/ 295483 h 300434"/>
                  <a:gd name="connsiteX12" fmla="*/ 205142 w 207088"/>
                  <a:gd name="connsiteY12" fmla="*/ 299405 h 300434"/>
                  <a:gd name="connsiteX13" fmla="*/ 202137 w 207088"/>
                  <a:gd name="connsiteY13" fmla="*/ 300434 h 300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07088" h="300434">
                    <a:moveTo>
                      <a:pt x="202137" y="300434"/>
                    </a:moveTo>
                    <a:cubicBezTo>
                      <a:pt x="201692" y="300434"/>
                      <a:pt x="201275" y="300379"/>
                      <a:pt x="200857" y="300267"/>
                    </a:cubicBezTo>
                    <a:cubicBezTo>
                      <a:pt x="200134" y="300073"/>
                      <a:pt x="127362" y="280628"/>
                      <a:pt x="61072" y="280628"/>
                    </a:cubicBezTo>
                    <a:cubicBezTo>
                      <a:pt x="42379" y="280628"/>
                      <a:pt x="23768" y="282158"/>
                      <a:pt x="5770" y="285190"/>
                    </a:cubicBezTo>
                    <a:cubicBezTo>
                      <a:pt x="3016" y="285635"/>
                      <a:pt x="512" y="283827"/>
                      <a:pt x="67" y="281129"/>
                    </a:cubicBezTo>
                    <a:cubicBezTo>
                      <a:pt x="-378" y="278430"/>
                      <a:pt x="1430" y="275871"/>
                      <a:pt x="4129" y="275426"/>
                    </a:cubicBezTo>
                    <a:cubicBezTo>
                      <a:pt x="22655" y="272310"/>
                      <a:pt x="41822" y="270725"/>
                      <a:pt x="61072" y="270725"/>
                    </a:cubicBezTo>
                    <a:cubicBezTo>
                      <a:pt x="117292" y="270725"/>
                      <a:pt x="177908" y="284383"/>
                      <a:pt x="197185" y="289112"/>
                    </a:cubicBezTo>
                    <a:lnTo>
                      <a:pt x="197185" y="4952"/>
                    </a:lnTo>
                    <a:cubicBezTo>
                      <a:pt x="197185" y="2225"/>
                      <a:pt x="199411" y="0"/>
                      <a:pt x="202137" y="0"/>
                    </a:cubicBezTo>
                    <a:cubicBezTo>
                      <a:pt x="204863" y="0"/>
                      <a:pt x="207089" y="2225"/>
                      <a:pt x="207089" y="4952"/>
                    </a:cubicBezTo>
                    <a:lnTo>
                      <a:pt x="207089" y="295483"/>
                    </a:lnTo>
                    <a:cubicBezTo>
                      <a:pt x="207089" y="297013"/>
                      <a:pt x="206365" y="298487"/>
                      <a:pt x="205142" y="299405"/>
                    </a:cubicBezTo>
                    <a:cubicBezTo>
                      <a:pt x="204279" y="300073"/>
                      <a:pt x="203222" y="300434"/>
                      <a:pt x="202137" y="300434"/>
                    </a:cubicBezTo>
                    <a:close/>
                  </a:path>
                </a:pathLst>
              </a:custGeom>
              <a:grpFill/>
              <a:ln w="2775" cap="flat">
                <a:noFill/>
                <a:prstDash val="solid"/>
                <a:miter/>
              </a:ln>
            </p:spPr>
            <p:txBody>
              <a:bodyPr rtlCol="0" anchor="ctr"/>
              <a:lstStyle/>
              <a:p>
                <a:endParaRPr lang="en-GB" dirty="0"/>
              </a:p>
            </p:txBody>
          </p:sp>
          <p:grpSp>
            <p:nvGrpSpPr>
              <p:cNvPr id="892" name="Grafik 114">
                <a:extLst>
                  <a:ext uri="{FF2B5EF4-FFF2-40B4-BE49-F238E27FC236}">
                    <a16:creationId xmlns:a16="http://schemas.microsoft.com/office/drawing/2014/main" id="{AF666531-A501-468D-A8C3-3191CCB455C2}"/>
                  </a:ext>
                </a:extLst>
              </p:cNvPr>
              <p:cNvGrpSpPr/>
              <p:nvPr/>
            </p:nvGrpSpPr>
            <p:grpSpPr>
              <a:xfrm>
                <a:off x="6988988" y="2553931"/>
                <a:ext cx="129927" cy="199621"/>
                <a:chOff x="6988988" y="2553931"/>
                <a:chExt cx="129927" cy="199621"/>
              </a:xfrm>
              <a:grpFill/>
            </p:grpSpPr>
            <p:sp>
              <p:nvSpPr>
                <p:cNvPr id="899" name="Freihandform: Form 898">
                  <a:extLst>
                    <a:ext uri="{FF2B5EF4-FFF2-40B4-BE49-F238E27FC236}">
                      <a16:creationId xmlns:a16="http://schemas.microsoft.com/office/drawing/2014/main" id="{F3F915D3-B4DD-4F19-83B7-5ABC70B7B888}"/>
                    </a:ext>
                  </a:extLst>
                </p:cNvPr>
                <p:cNvSpPr/>
                <p:nvPr/>
              </p:nvSpPr>
              <p:spPr>
                <a:xfrm>
                  <a:off x="6988988" y="2732216"/>
                  <a:ext cx="115743" cy="21336"/>
                </a:xfrm>
                <a:custGeom>
                  <a:avLst/>
                  <a:gdLst>
                    <a:gd name="connsiteX0" fmla="*/ 4964 w 115743"/>
                    <a:gd name="connsiteY0" fmla="*/ 21336 h 21336"/>
                    <a:gd name="connsiteX1" fmla="*/ 541 w 115743"/>
                    <a:gd name="connsiteY1" fmla="*/ 18638 h 21336"/>
                    <a:gd name="connsiteX2" fmla="*/ 2711 w 115743"/>
                    <a:gd name="connsiteY2" fmla="*/ 11990 h 21336"/>
                    <a:gd name="connsiteX3" fmla="*/ 64967 w 115743"/>
                    <a:gd name="connsiteY3" fmla="*/ 0 h 21336"/>
                    <a:gd name="connsiteX4" fmla="*/ 112175 w 115743"/>
                    <a:gd name="connsiteY4" fmla="*/ 6426 h 21336"/>
                    <a:gd name="connsiteX5" fmla="*/ 115540 w 115743"/>
                    <a:gd name="connsiteY5" fmla="*/ 12574 h 21336"/>
                    <a:gd name="connsiteX6" fmla="*/ 109393 w 115743"/>
                    <a:gd name="connsiteY6" fmla="*/ 15940 h 21336"/>
                    <a:gd name="connsiteX7" fmla="*/ 64940 w 115743"/>
                    <a:gd name="connsiteY7" fmla="*/ 9931 h 21336"/>
                    <a:gd name="connsiteX8" fmla="*/ 7162 w 115743"/>
                    <a:gd name="connsiteY8" fmla="*/ 20836 h 21336"/>
                    <a:gd name="connsiteX9" fmla="*/ 4964 w 115743"/>
                    <a:gd name="connsiteY9" fmla="*/ 21336 h 2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743" h="21336">
                      <a:moveTo>
                        <a:pt x="4964" y="21336"/>
                      </a:moveTo>
                      <a:cubicBezTo>
                        <a:pt x="3156" y="21336"/>
                        <a:pt x="1431" y="20335"/>
                        <a:pt x="541" y="18638"/>
                      </a:cubicBezTo>
                      <a:cubicBezTo>
                        <a:pt x="-711" y="16190"/>
                        <a:pt x="291" y="13214"/>
                        <a:pt x="2711" y="11990"/>
                      </a:cubicBezTo>
                      <a:cubicBezTo>
                        <a:pt x="3684" y="11489"/>
                        <a:pt x="26718" y="0"/>
                        <a:pt x="64967" y="0"/>
                      </a:cubicBezTo>
                      <a:cubicBezTo>
                        <a:pt x="85831" y="0"/>
                        <a:pt x="102160" y="3505"/>
                        <a:pt x="112175" y="6426"/>
                      </a:cubicBezTo>
                      <a:cubicBezTo>
                        <a:pt x="114790" y="7177"/>
                        <a:pt x="116319" y="9931"/>
                        <a:pt x="115540" y="12574"/>
                      </a:cubicBezTo>
                      <a:cubicBezTo>
                        <a:pt x="114762" y="15189"/>
                        <a:pt x="112035" y="16719"/>
                        <a:pt x="109393" y="15940"/>
                      </a:cubicBezTo>
                      <a:cubicBezTo>
                        <a:pt x="99990" y="13186"/>
                        <a:pt x="84635" y="9931"/>
                        <a:pt x="64940" y="9931"/>
                      </a:cubicBezTo>
                      <a:cubicBezTo>
                        <a:pt x="29027" y="9931"/>
                        <a:pt x="7384" y="20724"/>
                        <a:pt x="7162" y="20836"/>
                      </a:cubicBezTo>
                      <a:cubicBezTo>
                        <a:pt x="6494" y="21169"/>
                        <a:pt x="5715" y="21336"/>
                        <a:pt x="4964" y="21336"/>
                      </a:cubicBezTo>
                      <a:close/>
                    </a:path>
                  </a:pathLst>
                </a:custGeom>
                <a:grpFill/>
                <a:ln w="2775" cap="flat">
                  <a:noFill/>
                  <a:prstDash val="solid"/>
                  <a:miter/>
                </a:ln>
              </p:spPr>
              <p:txBody>
                <a:bodyPr rtlCol="0" anchor="ctr"/>
                <a:lstStyle/>
                <a:p>
                  <a:endParaRPr lang="en-GB" dirty="0"/>
                </a:p>
              </p:txBody>
            </p:sp>
            <p:sp>
              <p:nvSpPr>
                <p:cNvPr id="900" name="Freihandform: Form 899">
                  <a:extLst>
                    <a:ext uri="{FF2B5EF4-FFF2-40B4-BE49-F238E27FC236}">
                      <a16:creationId xmlns:a16="http://schemas.microsoft.com/office/drawing/2014/main" id="{2946522F-7811-4B51-871F-3310F044EDA9}"/>
                    </a:ext>
                  </a:extLst>
                </p:cNvPr>
                <p:cNvSpPr/>
                <p:nvPr/>
              </p:nvSpPr>
              <p:spPr>
                <a:xfrm>
                  <a:off x="6988988" y="2672797"/>
                  <a:ext cx="116608" cy="21336"/>
                </a:xfrm>
                <a:custGeom>
                  <a:avLst/>
                  <a:gdLst>
                    <a:gd name="connsiteX0" fmla="*/ 4964 w 116608"/>
                    <a:gd name="connsiteY0" fmla="*/ 21336 h 21336"/>
                    <a:gd name="connsiteX1" fmla="*/ 541 w 116608"/>
                    <a:gd name="connsiteY1" fmla="*/ 18638 h 21336"/>
                    <a:gd name="connsiteX2" fmla="*/ 2711 w 116608"/>
                    <a:gd name="connsiteY2" fmla="*/ 11990 h 21336"/>
                    <a:gd name="connsiteX3" fmla="*/ 64967 w 116608"/>
                    <a:gd name="connsiteY3" fmla="*/ 0 h 21336"/>
                    <a:gd name="connsiteX4" fmla="*/ 113065 w 116608"/>
                    <a:gd name="connsiteY4" fmla="*/ 6676 h 21336"/>
                    <a:gd name="connsiteX5" fmla="*/ 116403 w 116608"/>
                    <a:gd name="connsiteY5" fmla="*/ 12852 h 21336"/>
                    <a:gd name="connsiteX6" fmla="*/ 110227 w 116608"/>
                    <a:gd name="connsiteY6" fmla="*/ 16190 h 21336"/>
                    <a:gd name="connsiteX7" fmla="*/ 64967 w 116608"/>
                    <a:gd name="connsiteY7" fmla="*/ 9931 h 21336"/>
                    <a:gd name="connsiteX8" fmla="*/ 7189 w 116608"/>
                    <a:gd name="connsiteY8" fmla="*/ 20836 h 21336"/>
                    <a:gd name="connsiteX9" fmla="*/ 4964 w 116608"/>
                    <a:gd name="connsiteY9" fmla="*/ 21336 h 2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08" h="21336">
                      <a:moveTo>
                        <a:pt x="4964" y="21336"/>
                      </a:moveTo>
                      <a:cubicBezTo>
                        <a:pt x="3156" y="21336"/>
                        <a:pt x="1431" y="20335"/>
                        <a:pt x="541" y="18638"/>
                      </a:cubicBezTo>
                      <a:cubicBezTo>
                        <a:pt x="-711" y="16190"/>
                        <a:pt x="291" y="13214"/>
                        <a:pt x="2711" y="11990"/>
                      </a:cubicBezTo>
                      <a:cubicBezTo>
                        <a:pt x="3684" y="11489"/>
                        <a:pt x="26718" y="0"/>
                        <a:pt x="64967" y="0"/>
                      </a:cubicBezTo>
                      <a:cubicBezTo>
                        <a:pt x="86276" y="0"/>
                        <a:pt x="102883" y="3644"/>
                        <a:pt x="113065" y="6676"/>
                      </a:cubicBezTo>
                      <a:cubicBezTo>
                        <a:pt x="115680" y="7455"/>
                        <a:pt x="117182" y="10209"/>
                        <a:pt x="116403" y="12852"/>
                      </a:cubicBezTo>
                      <a:cubicBezTo>
                        <a:pt x="115624" y="15467"/>
                        <a:pt x="112842" y="16969"/>
                        <a:pt x="110227" y="16190"/>
                      </a:cubicBezTo>
                      <a:cubicBezTo>
                        <a:pt x="100658" y="13325"/>
                        <a:pt x="85080" y="9931"/>
                        <a:pt x="64967" y="9931"/>
                      </a:cubicBezTo>
                      <a:cubicBezTo>
                        <a:pt x="29054" y="9931"/>
                        <a:pt x="7412" y="20724"/>
                        <a:pt x="7189" y="20836"/>
                      </a:cubicBezTo>
                      <a:cubicBezTo>
                        <a:pt x="6494" y="21142"/>
                        <a:pt x="5715" y="21336"/>
                        <a:pt x="4964" y="21336"/>
                      </a:cubicBezTo>
                      <a:close/>
                    </a:path>
                  </a:pathLst>
                </a:custGeom>
                <a:grpFill/>
                <a:ln w="2775" cap="flat">
                  <a:noFill/>
                  <a:prstDash val="solid"/>
                  <a:miter/>
                </a:ln>
              </p:spPr>
              <p:txBody>
                <a:bodyPr rtlCol="0" anchor="ctr"/>
                <a:lstStyle/>
                <a:p>
                  <a:endParaRPr lang="en-GB" dirty="0"/>
                </a:p>
              </p:txBody>
            </p:sp>
            <p:sp>
              <p:nvSpPr>
                <p:cNvPr id="901" name="Freihandform: Form 900">
                  <a:extLst>
                    <a:ext uri="{FF2B5EF4-FFF2-40B4-BE49-F238E27FC236}">
                      <a16:creationId xmlns:a16="http://schemas.microsoft.com/office/drawing/2014/main" id="{5D6B9271-8728-43AB-9741-5DBFB50F40E2}"/>
                    </a:ext>
                  </a:extLst>
                </p:cNvPr>
                <p:cNvSpPr/>
                <p:nvPr/>
              </p:nvSpPr>
              <p:spPr>
                <a:xfrm>
                  <a:off x="6988988" y="2613350"/>
                  <a:ext cx="117541" cy="21336"/>
                </a:xfrm>
                <a:custGeom>
                  <a:avLst/>
                  <a:gdLst>
                    <a:gd name="connsiteX0" fmla="*/ 4964 w 117541"/>
                    <a:gd name="connsiteY0" fmla="*/ 21336 h 21336"/>
                    <a:gd name="connsiteX1" fmla="*/ 541 w 117541"/>
                    <a:gd name="connsiteY1" fmla="*/ 18638 h 21336"/>
                    <a:gd name="connsiteX2" fmla="*/ 2711 w 117541"/>
                    <a:gd name="connsiteY2" fmla="*/ 11990 h 21336"/>
                    <a:gd name="connsiteX3" fmla="*/ 64967 w 117541"/>
                    <a:gd name="connsiteY3" fmla="*/ 0 h 21336"/>
                    <a:gd name="connsiteX4" fmla="*/ 114038 w 117541"/>
                    <a:gd name="connsiteY4" fmla="*/ 6982 h 21336"/>
                    <a:gd name="connsiteX5" fmla="*/ 117321 w 117541"/>
                    <a:gd name="connsiteY5" fmla="*/ 13186 h 21336"/>
                    <a:gd name="connsiteX6" fmla="*/ 111118 w 117541"/>
                    <a:gd name="connsiteY6" fmla="*/ 16468 h 21336"/>
                    <a:gd name="connsiteX7" fmla="*/ 64967 w 117541"/>
                    <a:gd name="connsiteY7" fmla="*/ 9931 h 21336"/>
                    <a:gd name="connsiteX8" fmla="*/ 7189 w 117541"/>
                    <a:gd name="connsiteY8" fmla="*/ 20836 h 21336"/>
                    <a:gd name="connsiteX9" fmla="*/ 4964 w 117541"/>
                    <a:gd name="connsiteY9" fmla="*/ 21336 h 2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541" h="21336">
                      <a:moveTo>
                        <a:pt x="4964" y="21336"/>
                      </a:moveTo>
                      <a:cubicBezTo>
                        <a:pt x="3156" y="21336"/>
                        <a:pt x="1431" y="20335"/>
                        <a:pt x="541" y="18638"/>
                      </a:cubicBezTo>
                      <a:cubicBezTo>
                        <a:pt x="-711" y="16190"/>
                        <a:pt x="291" y="13214"/>
                        <a:pt x="2711" y="11990"/>
                      </a:cubicBezTo>
                      <a:cubicBezTo>
                        <a:pt x="3684" y="11489"/>
                        <a:pt x="26718" y="0"/>
                        <a:pt x="64967" y="0"/>
                      </a:cubicBezTo>
                      <a:cubicBezTo>
                        <a:pt x="86777" y="0"/>
                        <a:pt x="103690" y="3783"/>
                        <a:pt x="114038" y="6982"/>
                      </a:cubicBezTo>
                      <a:cubicBezTo>
                        <a:pt x="116653" y="7789"/>
                        <a:pt x="118128" y="10571"/>
                        <a:pt x="117321" y="13186"/>
                      </a:cubicBezTo>
                      <a:cubicBezTo>
                        <a:pt x="116514" y="15801"/>
                        <a:pt x="113732" y="17275"/>
                        <a:pt x="111118" y="16468"/>
                      </a:cubicBezTo>
                      <a:cubicBezTo>
                        <a:pt x="101437" y="13492"/>
                        <a:pt x="85553" y="9931"/>
                        <a:pt x="64967" y="9931"/>
                      </a:cubicBezTo>
                      <a:cubicBezTo>
                        <a:pt x="29054" y="9931"/>
                        <a:pt x="7412" y="20724"/>
                        <a:pt x="7189" y="20836"/>
                      </a:cubicBezTo>
                      <a:cubicBezTo>
                        <a:pt x="6494" y="21169"/>
                        <a:pt x="5715" y="21336"/>
                        <a:pt x="4964" y="21336"/>
                      </a:cubicBezTo>
                      <a:close/>
                    </a:path>
                  </a:pathLst>
                </a:custGeom>
                <a:grpFill/>
                <a:ln w="2775" cap="flat">
                  <a:noFill/>
                  <a:prstDash val="solid"/>
                  <a:miter/>
                </a:ln>
              </p:spPr>
              <p:txBody>
                <a:bodyPr rtlCol="0" anchor="ctr"/>
                <a:lstStyle/>
                <a:p>
                  <a:endParaRPr lang="en-GB" dirty="0"/>
                </a:p>
              </p:txBody>
            </p:sp>
            <p:sp>
              <p:nvSpPr>
                <p:cNvPr id="902" name="Freihandform: Form 901">
                  <a:extLst>
                    <a:ext uri="{FF2B5EF4-FFF2-40B4-BE49-F238E27FC236}">
                      <a16:creationId xmlns:a16="http://schemas.microsoft.com/office/drawing/2014/main" id="{8D52CEBA-CE35-48D4-BA72-FDA626942E6C}"/>
                    </a:ext>
                  </a:extLst>
                </p:cNvPr>
                <p:cNvSpPr/>
                <p:nvPr/>
              </p:nvSpPr>
              <p:spPr>
                <a:xfrm>
                  <a:off x="6988988" y="2553931"/>
                  <a:ext cx="129927" cy="21351"/>
                </a:xfrm>
                <a:custGeom>
                  <a:avLst/>
                  <a:gdLst>
                    <a:gd name="connsiteX0" fmla="*/ 4964 w 129927"/>
                    <a:gd name="connsiteY0" fmla="*/ 21336 h 21351"/>
                    <a:gd name="connsiteX1" fmla="*/ 541 w 129927"/>
                    <a:gd name="connsiteY1" fmla="*/ 18638 h 21351"/>
                    <a:gd name="connsiteX2" fmla="*/ 2711 w 129927"/>
                    <a:gd name="connsiteY2" fmla="*/ 11990 h 21351"/>
                    <a:gd name="connsiteX3" fmla="*/ 64967 w 129927"/>
                    <a:gd name="connsiteY3" fmla="*/ 0 h 21351"/>
                    <a:gd name="connsiteX4" fmla="*/ 127224 w 129927"/>
                    <a:gd name="connsiteY4" fmla="*/ 11990 h 21351"/>
                    <a:gd name="connsiteX5" fmla="*/ 129394 w 129927"/>
                    <a:gd name="connsiteY5" fmla="*/ 18638 h 21351"/>
                    <a:gd name="connsiteX6" fmla="*/ 122745 w 129927"/>
                    <a:gd name="connsiteY6" fmla="*/ 20836 h 21351"/>
                    <a:gd name="connsiteX7" fmla="*/ 64967 w 129927"/>
                    <a:gd name="connsiteY7" fmla="*/ 9931 h 21351"/>
                    <a:gd name="connsiteX8" fmla="*/ 7189 w 129927"/>
                    <a:gd name="connsiteY8" fmla="*/ 20836 h 21351"/>
                    <a:gd name="connsiteX9" fmla="*/ 4964 w 129927"/>
                    <a:gd name="connsiteY9" fmla="*/ 21336 h 21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927" h="21351">
                      <a:moveTo>
                        <a:pt x="4964" y="21336"/>
                      </a:moveTo>
                      <a:cubicBezTo>
                        <a:pt x="3156" y="21336"/>
                        <a:pt x="1431" y="20335"/>
                        <a:pt x="541" y="18638"/>
                      </a:cubicBezTo>
                      <a:cubicBezTo>
                        <a:pt x="-711" y="16190"/>
                        <a:pt x="291" y="13214"/>
                        <a:pt x="2711" y="11990"/>
                      </a:cubicBezTo>
                      <a:cubicBezTo>
                        <a:pt x="3684" y="11489"/>
                        <a:pt x="26718" y="0"/>
                        <a:pt x="64967" y="0"/>
                      </a:cubicBezTo>
                      <a:cubicBezTo>
                        <a:pt x="103217" y="0"/>
                        <a:pt x="126251" y="11489"/>
                        <a:pt x="127224" y="11990"/>
                      </a:cubicBezTo>
                      <a:cubicBezTo>
                        <a:pt x="129672" y="13241"/>
                        <a:pt x="130618" y="16190"/>
                        <a:pt x="129394" y="18638"/>
                      </a:cubicBezTo>
                      <a:cubicBezTo>
                        <a:pt x="128142" y="21086"/>
                        <a:pt x="125193" y="22032"/>
                        <a:pt x="122745" y="20836"/>
                      </a:cubicBezTo>
                      <a:cubicBezTo>
                        <a:pt x="122523" y="20724"/>
                        <a:pt x="100686" y="9931"/>
                        <a:pt x="64967" y="9931"/>
                      </a:cubicBezTo>
                      <a:cubicBezTo>
                        <a:pt x="29054" y="9931"/>
                        <a:pt x="7412" y="20724"/>
                        <a:pt x="7189" y="20836"/>
                      </a:cubicBezTo>
                      <a:cubicBezTo>
                        <a:pt x="6494" y="21170"/>
                        <a:pt x="5715" y="21336"/>
                        <a:pt x="4964" y="21336"/>
                      </a:cubicBezTo>
                      <a:close/>
                    </a:path>
                  </a:pathLst>
                </a:custGeom>
                <a:grpFill/>
                <a:ln w="2775" cap="flat">
                  <a:noFill/>
                  <a:prstDash val="solid"/>
                  <a:miter/>
                </a:ln>
              </p:spPr>
              <p:txBody>
                <a:bodyPr rtlCol="0" anchor="ctr"/>
                <a:lstStyle/>
                <a:p>
                  <a:endParaRPr lang="en-GB" dirty="0"/>
                </a:p>
              </p:txBody>
            </p:sp>
          </p:grpSp>
          <p:grpSp>
            <p:nvGrpSpPr>
              <p:cNvPr id="893" name="Grafik 114">
                <a:extLst>
                  <a:ext uri="{FF2B5EF4-FFF2-40B4-BE49-F238E27FC236}">
                    <a16:creationId xmlns:a16="http://schemas.microsoft.com/office/drawing/2014/main" id="{08E3E8A5-FF5A-40A2-86E2-5D70633799BF}"/>
                  </a:ext>
                </a:extLst>
              </p:cNvPr>
              <p:cNvGrpSpPr/>
              <p:nvPr/>
            </p:nvGrpSpPr>
            <p:grpSpPr>
              <a:xfrm>
                <a:off x="7198108" y="2552818"/>
                <a:ext cx="129943" cy="199621"/>
                <a:chOff x="7198108" y="2552818"/>
                <a:chExt cx="129943" cy="199621"/>
              </a:xfrm>
              <a:grpFill/>
            </p:grpSpPr>
            <p:sp>
              <p:nvSpPr>
                <p:cNvPr id="895" name="Freihandform: Form 894">
                  <a:extLst>
                    <a:ext uri="{FF2B5EF4-FFF2-40B4-BE49-F238E27FC236}">
                      <a16:creationId xmlns:a16="http://schemas.microsoft.com/office/drawing/2014/main" id="{3845DF54-69CD-4325-8DE8-61F1AE00E73B}"/>
                    </a:ext>
                  </a:extLst>
                </p:cNvPr>
                <p:cNvSpPr/>
                <p:nvPr/>
              </p:nvSpPr>
              <p:spPr>
                <a:xfrm>
                  <a:off x="7208718" y="2731076"/>
                  <a:ext cx="119333" cy="21364"/>
                </a:xfrm>
                <a:custGeom>
                  <a:avLst/>
                  <a:gdLst>
                    <a:gd name="connsiteX0" fmla="*/ 114348 w 119333"/>
                    <a:gd name="connsiteY0" fmla="*/ 21364 h 21364"/>
                    <a:gd name="connsiteX1" fmla="*/ 112123 w 119333"/>
                    <a:gd name="connsiteY1" fmla="*/ 20836 h 21364"/>
                    <a:gd name="connsiteX2" fmla="*/ 54345 w 119333"/>
                    <a:gd name="connsiteY2" fmla="*/ 9931 h 21364"/>
                    <a:gd name="connsiteX3" fmla="*/ 6470 w 119333"/>
                    <a:gd name="connsiteY3" fmla="*/ 16997 h 21364"/>
                    <a:gd name="connsiteX4" fmla="*/ 239 w 119333"/>
                    <a:gd name="connsiteY4" fmla="*/ 13798 h 21364"/>
                    <a:gd name="connsiteX5" fmla="*/ 3438 w 119333"/>
                    <a:gd name="connsiteY5" fmla="*/ 7566 h 21364"/>
                    <a:gd name="connsiteX6" fmla="*/ 54373 w 119333"/>
                    <a:gd name="connsiteY6" fmla="*/ 0 h 21364"/>
                    <a:gd name="connsiteX7" fmla="*/ 116629 w 119333"/>
                    <a:gd name="connsiteY7" fmla="*/ 11962 h 21364"/>
                    <a:gd name="connsiteX8" fmla="*/ 118799 w 119333"/>
                    <a:gd name="connsiteY8" fmla="*/ 18610 h 21364"/>
                    <a:gd name="connsiteX9" fmla="*/ 114348 w 119333"/>
                    <a:gd name="connsiteY9" fmla="*/ 21364 h 21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333" h="21364">
                      <a:moveTo>
                        <a:pt x="114348" y="21364"/>
                      </a:moveTo>
                      <a:cubicBezTo>
                        <a:pt x="113597" y="21364"/>
                        <a:pt x="112846" y="21197"/>
                        <a:pt x="112123" y="20836"/>
                      </a:cubicBezTo>
                      <a:cubicBezTo>
                        <a:pt x="111900" y="20724"/>
                        <a:pt x="90063" y="9931"/>
                        <a:pt x="54345" y="9931"/>
                      </a:cubicBezTo>
                      <a:cubicBezTo>
                        <a:pt x="32842" y="9931"/>
                        <a:pt x="16429" y="13770"/>
                        <a:pt x="6470" y="16997"/>
                      </a:cubicBezTo>
                      <a:cubicBezTo>
                        <a:pt x="3855" y="17859"/>
                        <a:pt x="1074" y="16413"/>
                        <a:pt x="239" y="13798"/>
                      </a:cubicBezTo>
                      <a:cubicBezTo>
                        <a:pt x="-596" y="11183"/>
                        <a:pt x="823" y="8401"/>
                        <a:pt x="3438" y="7566"/>
                      </a:cubicBezTo>
                      <a:cubicBezTo>
                        <a:pt x="14092" y="4117"/>
                        <a:pt x="31590" y="0"/>
                        <a:pt x="54373" y="0"/>
                      </a:cubicBezTo>
                      <a:cubicBezTo>
                        <a:pt x="92622" y="0"/>
                        <a:pt x="115656" y="11489"/>
                        <a:pt x="116629" y="11962"/>
                      </a:cubicBezTo>
                      <a:cubicBezTo>
                        <a:pt x="119077" y="13186"/>
                        <a:pt x="120023" y="16162"/>
                        <a:pt x="118799" y="18610"/>
                      </a:cubicBezTo>
                      <a:cubicBezTo>
                        <a:pt x="117909" y="20363"/>
                        <a:pt x="116157" y="21364"/>
                        <a:pt x="114348" y="21364"/>
                      </a:cubicBezTo>
                      <a:close/>
                    </a:path>
                  </a:pathLst>
                </a:custGeom>
                <a:grpFill/>
                <a:ln w="2775" cap="flat">
                  <a:noFill/>
                  <a:prstDash val="solid"/>
                  <a:miter/>
                </a:ln>
              </p:spPr>
              <p:txBody>
                <a:bodyPr rtlCol="0" anchor="ctr"/>
                <a:lstStyle/>
                <a:p>
                  <a:endParaRPr lang="en-GB" dirty="0"/>
                </a:p>
              </p:txBody>
            </p:sp>
            <p:sp>
              <p:nvSpPr>
                <p:cNvPr id="896" name="Freihandform: Form 895">
                  <a:extLst>
                    <a:ext uri="{FF2B5EF4-FFF2-40B4-BE49-F238E27FC236}">
                      <a16:creationId xmlns:a16="http://schemas.microsoft.com/office/drawing/2014/main" id="{101DBEB8-7CFF-4006-BDA2-FD6B6980AD25}"/>
                    </a:ext>
                  </a:extLst>
                </p:cNvPr>
                <p:cNvSpPr/>
                <p:nvPr/>
              </p:nvSpPr>
              <p:spPr>
                <a:xfrm>
                  <a:off x="7208455" y="2671685"/>
                  <a:ext cx="119569" cy="21336"/>
                </a:xfrm>
                <a:custGeom>
                  <a:avLst/>
                  <a:gdLst>
                    <a:gd name="connsiteX0" fmla="*/ 114612 w 119569"/>
                    <a:gd name="connsiteY0" fmla="*/ 21336 h 21336"/>
                    <a:gd name="connsiteX1" fmla="*/ 112387 w 119569"/>
                    <a:gd name="connsiteY1" fmla="*/ 20808 h 21336"/>
                    <a:gd name="connsiteX2" fmla="*/ 54609 w 119569"/>
                    <a:gd name="connsiteY2" fmla="*/ 9903 h 21336"/>
                    <a:gd name="connsiteX3" fmla="*/ 6484 w 119569"/>
                    <a:gd name="connsiteY3" fmla="*/ 17052 h 21336"/>
                    <a:gd name="connsiteX4" fmla="*/ 252 w 119569"/>
                    <a:gd name="connsiteY4" fmla="*/ 13881 h 21336"/>
                    <a:gd name="connsiteX5" fmla="*/ 3424 w 119569"/>
                    <a:gd name="connsiteY5" fmla="*/ 7650 h 21336"/>
                    <a:gd name="connsiteX6" fmla="*/ 54609 w 119569"/>
                    <a:gd name="connsiteY6" fmla="*/ 0 h 21336"/>
                    <a:gd name="connsiteX7" fmla="*/ 116865 w 119569"/>
                    <a:gd name="connsiteY7" fmla="*/ 11962 h 21336"/>
                    <a:gd name="connsiteX8" fmla="*/ 119035 w 119569"/>
                    <a:gd name="connsiteY8" fmla="*/ 18610 h 21336"/>
                    <a:gd name="connsiteX9" fmla="*/ 114612 w 119569"/>
                    <a:gd name="connsiteY9" fmla="*/ 21336 h 2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569" h="21336">
                      <a:moveTo>
                        <a:pt x="114612" y="21336"/>
                      </a:moveTo>
                      <a:cubicBezTo>
                        <a:pt x="113861" y="21336"/>
                        <a:pt x="113110" y="21169"/>
                        <a:pt x="112387" y="20808"/>
                      </a:cubicBezTo>
                      <a:cubicBezTo>
                        <a:pt x="112164" y="20697"/>
                        <a:pt x="90327" y="9903"/>
                        <a:pt x="54609" y="9903"/>
                      </a:cubicBezTo>
                      <a:cubicBezTo>
                        <a:pt x="32939" y="9903"/>
                        <a:pt x="16470" y="13798"/>
                        <a:pt x="6484" y="17052"/>
                      </a:cubicBezTo>
                      <a:cubicBezTo>
                        <a:pt x="3897" y="17915"/>
                        <a:pt x="1087" y="16496"/>
                        <a:pt x="252" y="13881"/>
                      </a:cubicBezTo>
                      <a:cubicBezTo>
                        <a:pt x="-610" y="11266"/>
                        <a:pt x="809" y="8484"/>
                        <a:pt x="3424" y="7650"/>
                      </a:cubicBezTo>
                      <a:cubicBezTo>
                        <a:pt x="14106" y="4173"/>
                        <a:pt x="31659" y="0"/>
                        <a:pt x="54609" y="0"/>
                      </a:cubicBezTo>
                      <a:cubicBezTo>
                        <a:pt x="92858" y="0"/>
                        <a:pt x="115892" y="11489"/>
                        <a:pt x="116865" y="11962"/>
                      </a:cubicBezTo>
                      <a:cubicBezTo>
                        <a:pt x="119313" y="13186"/>
                        <a:pt x="120259" y="16162"/>
                        <a:pt x="119035" y="18610"/>
                      </a:cubicBezTo>
                      <a:cubicBezTo>
                        <a:pt x="118173" y="20335"/>
                        <a:pt x="116420" y="21336"/>
                        <a:pt x="114612" y="21336"/>
                      </a:cubicBezTo>
                      <a:close/>
                    </a:path>
                  </a:pathLst>
                </a:custGeom>
                <a:grpFill/>
                <a:ln w="2775" cap="flat">
                  <a:noFill/>
                  <a:prstDash val="solid"/>
                  <a:miter/>
                </a:ln>
              </p:spPr>
              <p:txBody>
                <a:bodyPr rtlCol="0" anchor="ctr"/>
                <a:lstStyle/>
                <a:p>
                  <a:endParaRPr lang="en-GB" dirty="0"/>
                </a:p>
              </p:txBody>
            </p:sp>
            <p:sp>
              <p:nvSpPr>
                <p:cNvPr id="897" name="Freihandform: Form 896">
                  <a:extLst>
                    <a:ext uri="{FF2B5EF4-FFF2-40B4-BE49-F238E27FC236}">
                      <a16:creationId xmlns:a16="http://schemas.microsoft.com/office/drawing/2014/main" id="{59584F2E-2DEC-41D5-9905-B8076EE95310}"/>
                    </a:ext>
                  </a:extLst>
                </p:cNvPr>
                <p:cNvSpPr/>
                <p:nvPr/>
              </p:nvSpPr>
              <p:spPr>
                <a:xfrm>
                  <a:off x="7207701" y="2612265"/>
                  <a:ext cx="120323" cy="21336"/>
                </a:xfrm>
                <a:custGeom>
                  <a:avLst/>
                  <a:gdLst>
                    <a:gd name="connsiteX0" fmla="*/ 115366 w 120323"/>
                    <a:gd name="connsiteY0" fmla="*/ 21336 h 21336"/>
                    <a:gd name="connsiteX1" fmla="*/ 113141 w 120323"/>
                    <a:gd name="connsiteY1" fmla="*/ 20808 h 21336"/>
                    <a:gd name="connsiteX2" fmla="*/ 55363 w 120323"/>
                    <a:gd name="connsiteY2" fmla="*/ 9903 h 21336"/>
                    <a:gd name="connsiteX3" fmla="*/ 6514 w 120323"/>
                    <a:gd name="connsiteY3" fmla="*/ 17303 h 21336"/>
                    <a:gd name="connsiteX4" fmla="*/ 255 w 120323"/>
                    <a:gd name="connsiteY4" fmla="*/ 14159 h 21336"/>
                    <a:gd name="connsiteX5" fmla="*/ 3399 w 120323"/>
                    <a:gd name="connsiteY5" fmla="*/ 7900 h 21336"/>
                    <a:gd name="connsiteX6" fmla="*/ 55363 w 120323"/>
                    <a:gd name="connsiteY6" fmla="*/ 0 h 21336"/>
                    <a:gd name="connsiteX7" fmla="*/ 117619 w 120323"/>
                    <a:gd name="connsiteY7" fmla="*/ 11962 h 21336"/>
                    <a:gd name="connsiteX8" fmla="*/ 119789 w 120323"/>
                    <a:gd name="connsiteY8" fmla="*/ 18610 h 21336"/>
                    <a:gd name="connsiteX9" fmla="*/ 115366 w 120323"/>
                    <a:gd name="connsiteY9" fmla="*/ 21336 h 2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0323" h="21336">
                      <a:moveTo>
                        <a:pt x="115366" y="21336"/>
                      </a:moveTo>
                      <a:cubicBezTo>
                        <a:pt x="114615" y="21336"/>
                        <a:pt x="113864" y="21170"/>
                        <a:pt x="113141" y="20808"/>
                      </a:cubicBezTo>
                      <a:cubicBezTo>
                        <a:pt x="112918" y="20697"/>
                        <a:pt x="91081" y="9903"/>
                        <a:pt x="55363" y="9903"/>
                      </a:cubicBezTo>
                      <a:cubicBezTo>
                        <a:pt x="33303" y="9903"/>
                        <a:pt x="16640" y="13937"/>
                        <a:pt x="6514" y="17303"/>
                      </a:cubicBezTo>
                      <a:cubicBezTo>
                        <a:pt x="3899" y="18165"/>
                        <a:pt x="1118" y="16774"/>
                        <a:pt x="255" y="14159"/>
                      </a:cubicBezTo>
                      <a:cubicBezTo>
                        <a:pt x="-607" y="11572"/>
                        <a:pt x="784" y="8763"/>
                        <a:pt x="3399" y="7900"/>
                      </a:cubicBezTo>
                      <a:cubicBezTo>
                        <a:pt x="14192" y="4284"/>
                        <a:pt x="31996" y="0"/>
                        <a:pt x="55363" y="0"/>
                      </a:cubicBezTo>
                      <a:cubicBezTo>
                        <a:pt x="93612" y="0"/>
                        <a:pt x="116646" y="11489"/>
                        <a:pt x="117619" y="11962"/>
                      </a:cubicBezTo>
                      <a:cubicBezTo>
                        <a:pt x="120067" y="13186"/>
                        <a:pt x="121013" y="16162"/>
                        <a:pt x="119789" y="18610"/>
                      </a:cubicBezTo>
                      <a:cubicBezTo>
                        <a:pt x="118927" y="20335"/>
                        <a:pt x="117174" y="21336"/>
                        <a:pt x="115366" y="21336"/>
                      </a:cubicBezTo>
                      <a:close/>
                    </a:path>
                  </a:pathLst>
                </a:custGeom>
                <a:grpFill/>
                <a:ln w="2775" cap="flat">
                  <a:noFill/>
                  <a:prstDash val="solid"/>
                  <a:miter/>
                </a:ln>
              </p:spPr>
              <p:txBody>
                <a:bodyPr rtlCol="0" anchor="ctr"/>
                <a:lstStyle/>
                <a:p>
                  <a:endParaRPr lang="en-GB" dirty="0"/>
                </a:p>
              </p:txBody>
            </p:sp>
            <p:sp>
              <p:nvSpPr>
                <p:cNvPr id="898" name="Freihandform: Form 897">
                  <a:extLst>
                    <a:ext uri="{FF2B5EF4-FFF2-40B4-BE49-F238E27FC236}">
                      <a16:creationId xmlns:a16="http://schemas.microsoft.com/office/drawing/2014/main" id="{E3A64E9A-F6EA-4CC8-9BD8-09F096698967}"/>
                    </a:ext>
                  </a:extLst>
                </p:cNvPr>
                <p:cNvSpPr/>
                <p:nvPr/>
              </p:nvSpPr>
              <p:spPr>
                <a:xfrm>
                  <a:off x="7198108" y="2552818"/>
                  <a:ext cx="129915" cy="21336"/>
                </a:xfrm>
                <a:custGeom>
                  <a:avLst/>
                  <a:gdLst>
                    <a:gd name="connsiteX0" fmla="*/ 124959 w 129915"/>
                    <a:gd name="connsiteY0" fmla="*/ 21336 h 21336"/>
                    <a:gd name="connsiteX1" fmla="*/ 122733 w 129915"/>
                    <a:gd name="connsiteY1" fmla="*/ 20808 h 21336"/>
                    <a:gd name="connsiteX2" fmla="*/ 64955 w 129915"/>
                    <a:gd name="connsiteY2" fmla="*/ 9903 h 21336"/>
                    <a:gd name="connsiteX3" fmla="*/ 7177 w 129915"/>
                    <a:gd name="connsiteY3" fmla="*/ 20808 h 21336"/>
                    <a:gd name="connsiteX4" fmla="*/ 529 w 129915"/>
                    <a:gd name="connsiteY4" fmla="*/ 18610 h 21336"/>
                    <a:gd name="connsiteX5" fmla="*/ 2699 w 129915"/>
                    <a:gd name="connsiteY5" fmla="*/ 11962 h 21336"/>
                    <a:gd name="connsiteX6" fmla="*/ 64955 w 129915"/>
                    <a:gd name="connsiteY6" fmla="*/ 0 h 21336"/>
                    <a:gd name="connsiteX7" fmla="*/ 127212 w 129915"/>
                    <a:gd name="connsiteY7" fmla="*/ 11962 h 21336"/>
                    <a:gd name="connsiteX8" fmla="*/ 129382 w 129915"/>
                    <a:gd name="connsiteY8" fmla="*/ 18610 h 21336"/>
                    <a:gd name="connsiteX9" fmla="*/ 124959 w 129915"/>
                    <a:gd name="connsiteY9" fmla="*/ 21336 h 21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9915" h="21336">
                      <a:moveTo>
                        <a:pt x="124959" y="21336"/>
                      </a:moveTo>
                      <a:cubicBezTo>
                        <a:pt x="124208" y="21336"/>
                        <a:pt x="123456" y="21170"/>
                        <a:pt x="122733" y="20808"/>
                      </a:cubicBezTo>
                      <a:cubicBezTo>
                        <a:pt x="122511" y="20697"/>
                        <a:pt x="100674" y="9903"/>
                        <a:pt x="64955" y="9903"/>
                      </a:cubicBezTo>
                      <a:cubicBezTo>
                        <a:pt x="29237" y="9903"/>
                        <a:pt x="7400" y="20697"/>
                        <a:pt x="7177" y="20808"/>
                      </a:cubicBezTo>
                      <a:cubicBezTo>
                        <a:pt x="4757" y="22032"/>
                        <a:pt x="1753" y="21058"/>
                        <a:pt x="529" y="18610"/>
                      </a:cubicBezTo>
                      <a:cubicBezTo>
                        <a:pt x="-695" y="16162"/>
                        <a:pt x="278" y="13186"/>
                        <a:pt x="2699" y="11962"/>
                      </a:cubicBezTo>
                      <a:cubicBezTo>
                        <a:pt x="3672" y="11461"/>
                        <a:pt x="26705" y="0"/>
                        <a:pt x="64955" y="0"/>
                      </a:cubicBezTo>
                      <a:cubicBezTo>
                        <a:pt x="103205" y="0"/>
                        <a:pt x="126238" y="11489"/>
                        <a:pt x="127212" y="11962"/>
                      </a:cubicBezTo>
                      <a:cubicBezTo>
                        <a:pt x="129660" y="13186"/>
                        <a:pt x="130606" y="16162"/>
                        <a:pt x="129382" y="18610"/>
                      </a:cubicBezTo>
                      <a:cubicBezTo>
                        <a:pt x="128519" y="20363"/>
                        <a:pt x="126767" y="21336"/>
                        <a:pt x="124959" y="21336"/>
                      </a:cubicBezTo>
                      <a:close/>
                    </a:path>
                  </a:pathLst>
                </a:custGeom>
                <a:grpFill/>
                <a:ln w="2775" cap="flat">
                  <a:noFill/>
                  <a:prstDash val="solid"/>
                  <a:miter/>
                </a:ln>
              </p:spPr>
              <p:txBody>
                <a:bodyPr rtlCol="0" anchor="ctr"/>
                <a:lstStyle/>
                <a:p>
                  <a:endParaRPr lang="en-GB" dirty="0"/>
                </a:p>
              </p:txBody>
            </p:sp>
          </p:grpSp>
          <p:sp>
            <p:nvSpPr>
              <p:cNvPr id="894" name="Freihandform: Form 893">
                <a:extLst>
                  <a:ext uri="{FF2B5EF4-FFF2-40B4-BE49-F238E27FC236}">
                    <a16:creationId xmlns:a16="http://schemas.microsoft.com/office/drawing/2014/main" id="{F4B5D0B9-94E2-42A5-A501-D2548AFB9268}"/>
                  </a:ext>
                </a:extLst>
              </p:cNvPr>
              <p:cNvSpPr/>
              <p:nvPr/>
            </p:nvSpPr>
            <p:spPr>
              <a:xfrm>
                <a:off x="7152348" y="2499130"/>
                <a:ext cx="217759" cy="320240"/>
              </a:xfrm>
              <a:custGeom>
                <a:avLst/>
                <a:gdLst>
                  <a:gd name="connsiteX0" fmla="*/ 212808 w 217759"/>
                  <a:gd name="connsiteY0" fmla="*/ 320241 h 320240"/>
                  <a:gd name="connsiteX1" fmla="*/ 210443 w 217759"/>
                  <a:gd name="connsiteY1" fmla="*/ 319629 h 320240"/>
                  <a:gd name="connsiteX2" fmla="*/ 108880 w 217759"/>
                  <a:gd name="connsiteY2" fmla="*/ 300434 h 320240"/>
                  <a:gd name="connsiteX3" fmla="*/ 62257 w 217759"/>
                  <a:gd name="connsiteY3" fmla="*/ 303856 h 320240"/>
                  <a:gd name="connsiteX4" fmla="*/ 56610 w 217759"/>
                  <a:gd name="connsiteY4" fmla="*/ 299711 h 320240"/>
                  <a:gd name="connsiteX5" fmla="*/ 60755 w 217759"/>
                  <a:gd name="connsiteY5" fmla="*/ 294064 h 320240"/>
                  <a:gd name="connsiteX6" fmla="*/ 108880 w 217759"/>
                  <a:gd name="connsiteY6" fmla="*/ 290531 h 320240"/>
                  <a:gd name="connsiteX7" fmla="*/ 207884 w 217759"/>
                  <a:gd name="connsiteY7" fmla="*/ 307556 h 320240"/>
                  <a:gd name="connsiteX8" fmla="*/ 207884 w 217759"/>
                  <a:gd name="connsiteY8" fmla="*/ 27929 h 320240"/>
                  <a:gd name="connsiteX9" fmla="*/ 108880 w 217759"/>
                  <a:gd name="connsiteY9" fmla="*/ 9903 h 320240"/>
                  <a:gd name="connsiteX10" fmla="*/ 9903 w 217759"/>
                  <a:gd name="connsiteY10" fmla="*/ 27929 h 320240"/>
                  <a:gd name="connsiteX11" fmla="*/ 9903 w 217759"/>
                  <a:gd name="connsiteY11" fmla="*/ 97391 h 320240"/>
                  <a:gd name="connsiteX12" fmla="*/ 4952 w 217759"/>
                  <a:gd name="connsiteY12" fmla="*/ 102342 h 320240"/>
                  <a:gd name="connsiteX13" fmla="*/ 0 w 217759"/>
                  <a:gd name="connsiteY13" fmla="*/ 97391 h 320240"/>
                  <a:gd name="connsiteX14" fmla="*/ 0 w 217759"/>
                  <a:gd name="connsiteY14" fmla="*/ 24758 h 320240"/>
                  <a:gd name="connsiteX15" fmla="*/ 2698 w 217759"/>
                  <a:gd name="connsiteY15" fmla="*/ 20335 h 320240"/>
                  <a:gd name="connsiteX16" fmla="*/ 108880 w 217759"/>
                  <a:gd name="connsiteY16" fmla="*/ 0 h 320240"/>
                  <a:gd name="connsiteX17" fmla="*/ 215061 w 217759"/>
                  <a:gd name="connsiteY17" fmla="*/ 20335 h 320240"/>
                  <a:gd name="connsiteX18" fmla="*/ 217759 w 217759"/>
                  <a:gd name="connsiteY18" fmla="*/ 24758 h 320240"/>
                  <a:gd name="connsiteX19" fmla="*/ 217759 w 217759"/>
                  <a:gd name="connsiteY19" fmla="*/ 315289 h 320240"/>
                  <a:gd name="connsiteX20" fmla="*/ 215339 w 217759"/>
                  <a:gd name="connsiteY20" fmla="*/ 319545 h 320240"/>
                  <a:gd name="connsiteX21" fmla="*/ 212808 w 217759"/>
                  <a:gd name="connsiteY21" fmla="*/ 320241 h 320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7759" h="320240">
                    <a:moveTo>
                      <a:pt x="212808" y="320241"/>
                    </a:moveTo>
                    <a:cubicBezTo>
                      <a:pt x="212001" y="320241"/>
                      <a:pt x="211166" y="320046"/>
                      <a:pt x="210443" y="319629"/>
                    </a:cubicBezTo>
                    <a:cubicBezTo>
                      <a:pt x="210081" y="319434"/>
                      <a:pt x="174335" y="300434"/>
                      <a:pt x="108880" y="300434"/>
                    </a:cubicBezTo>
                    <a:cubicBezTo>
                      <a:pt x="92745" y="300434"/>
                      <a:pt x="77056" y="301575"/>
                      <a:pt x="62257" y="303856"/>
                    </a:cubicBezTo>
                    <a:cubicBezTo>
                      <a:pt x="59614" y="304273"/>
                      <a:pt x="57027" y="302409"/>
                      <a:pt x="56610" y="299711"/>
                    </a:cubicBezTo>
                    <a:cubicBezTo>
                      <a:pt x="56192" y="297013"/>
                      <a:pt x="58056" y="294481"/>
                      <a:pt x="60755" y="294064"/>
                    </a:cubicBezTo>
                    <a:cubicBezTo>
                      <a:pt x="76027" y="291727"/>
                      <a:pt x="92217" y="290531"/>
                      <a:pt x="108880" y="290531"/>
                    </a:cubicBezTo>
                    <a:cubicBezTo>
                      <a:pt x="160454" y="290531"/>
                      <a:pt x="193947" y="301714"/>
                      <a:pt x="207884" y="307556"/>
                    </a:cubicBezTo>
                    <a:lnTo>
                      <a:pt x="207884" y="27929"/>
                    </a:lnTo>
                    <a:cubicBezTo>
                      <a:pt x="198092" y="23673"/>
                      <a:pt x="162290" y="9903"/>
                      <a:pt x="108880" y="9903"/>
                    </a:cubicBezTo>
                    <a:cubicBezTo>
                      <a:pt x="55497" y="9903"/>
                      <a:pt x="19695" y="23673"/>
                      <a:pt x="9903" y="27929"/>
                    </a:cubicBezTo>
                    <a:lnTo>
                      <a:pt x="9903" y="97391"/>
                    </a:lnTo>
                    <a:cubicBezTo>
                      <a:pt x="9903" y="100117"/>
                      <a:pt x="7678" y="102342"/>
                      <a:pt x="4952" y="102342"/>
                    </a:cubicBezTo>
                    <a:cubicBezTo>
                      <a:pt x="2225" y="102342"/>
                      <a:pt x="0" y="100117"/>
                      <a:pt x="0" y="97391"/>
                    </a:cubicBezTo>
                    <a:lnTo>
                      <a:pt x="0" y="24758"/>
                    </a:lnTo>
                    <a:cubicBezTo>
                      <a:pt x="0" y="22894"/>
                      <a:pt x="1057" y="21197"/>
                      <a:pt x="2698" y="20335"/>
                    </a:cubicBezTo>
                    <a:cubicBezTo>
                      <a:pt x="4340" y="19500"/>
                      <a:pt x="43480" y="0"/>
                      <a:pt x="108880" y="0"/>
                    </a:cubicBezTo>
                    <a:cubicBezTo>
                      <a:pt x="174280" y="0"/>
                      <a:pt x="213420" y="19528"/>
                      <a:pt x="215061" y="20335"/>
                    </a:cubicBezTo>
                    <a:cubicBezTo>
                      <a:pt x="216730" y="21169"/>
                      <a:pt x="217759" y="22894"/>
                      <a:pt x="217759" y="24758"/>
                    </a:cubicBezTo>
                    <a:lnTo>
                      <a:pt x="217759" y="315289"/>
                    </a:lnTo>
                    <a:cubicBezTo>
                      <a:pt x="217759" y="317042"/>
                      <a:pt x="216841" y="318655"/>
                      <a:pt x="215339" y="319545"/>
                    </a:cubicBezTo>
                    <a:cubicBezTo>
                      <a:pt x="214560" y="319990"/>
                      <a:pt x="213698" y="320241"/>
                      <a:pt x="212808" y="320241"/>
                    </a:cubicBezTo>
                    <a:close/>
                  </a:path>
                </a:pathLst>
              </a:custGeom>
              <a:grpFill/>
              <a:ln w="2775" cap="flat">
                <a:noFill/>
                <a:prstDash val="solid"/>
                <a:miter/>
              </a:ln>
            </p:spPr>
            <p:txBody>
              <a:bodyPr rtlCol="0" anchor="ctr"/>
              <a:lstStyle/>
              <a:p>
                <a:endParaRPr lang="en-GB" dirty="0"/>
              </a:p>
            </p:txBody>
          </p:sp>
        </p:grpSp>
        <p:grpSp>
          <p:nvGrpSpPr>
            <p:cNvPr id="879" name="Group 770">
              <a:extLst>
                <a:ext uri="{FF2B5EF4-FFF2-40B4-BE49-F238E27FC236}">
                  <a16:creationId xmlns:a16="http://schemas.microsoft.com/office/drawing/2014/main" id="{784F80E4-70B4-4FD6-8CCC-9EA5D87299C7}"/>
                </a:ext>
              </a:extLst>
            </p:cNvPr>
            <p:cNvGrpSpPr/>
            <p:nvPr/>
          </p:nvGrpSpPr>
          <p:grpSpPr>
            <a:xfrm>
              <a:off x="7268438" y="2552721"/>
              <a:ext cx="70648" cy="328620"/>
              <a:chOff x="7119298" y="2610262"/>
              <a:chExt cx="75945" cy="353261"/>
            </a:xfrm>
          </p:grpSpPr>
          <p:sp>
            <p:nvSpPr>
              <p:cNvPr id="880" name="Freihandform: Form 879">
                <a:extLst>
                  <a:ext uri="{FF2B5EF4-FFF2-40B4-BE49-F238E27FC236}">
                    <a16:creationId xmlns:a16="http://schemas.microsoft.com/office/drawing/2014/main" id="{7A6AC425-D2D0-4EC3-9797-0ECA6FA02001}"/>
                  </a:ext>
                </a:extLst>
              </p:cNvPr>
              <p:cNvSpPr/>
              <p:nvPr/>
            </p:nvSpPr>
            <p:spPr>
              <a:xfrm>
                <a:off x="7119300" y="2643282"/>
                <a:ext cx="75943" cy="254200"/>
              </a:xfrm>
              <a:custGeom>
                <a:avLst/>
                <a:gdLst>
                  <a:gd name="connsiteX0" fmla="*/ 70992 w 75943"/>
                  <a:gd name="connsiteY0" fmla="*/ 254201 h 254200"/>
                  <a:gd name="connsiteX1" fmla="*/ 4952 w 75943"/>
                  <a:gd name="connsiteY1" fmla="*/ 254201 h 254200"/>
                  <a:gd name="connsiteX2" fmla="*/ 0 w 75943"/>
                  <a:gd name="connsiteY2" fmla="*/ 249249 h 254200"/>
                  <a:gd name="connsiteX3" fmla="*/ 0 w 75943"/>
                  <a:gd name="connsiteY3" fmla="*/ 4952 h 254200"/>
                  <a:gd name="connsiteX4" fmla="*/ 4952 w 75943"/>
                  <a:gd name="connsiteY4" fmla="*/ 0 h 254200"/>
                  <a:gd name="connsiteX5" fmla="*/ 70992 w 75943"/>
                  <a:gd name="connsiteY5" fmla="*/ 0 h 254200"/>
                  <a:gd name="connsiteX6" fmla="*/ 75943 w 75943"/>
                  <a:gd name="connsiteY6" fmla="*/ 4952 h 254200"/>
                  <a:gd name="connsiteX7" fmla="*/ 75943 w 75943"/>
                  <a:gd name="connsiteY7" fmla="*/ 249249 h 254200"/>
                  <a:gd name="connsiteX8" fmla="*/ 70992 w 75943"/>
                  <a:gd name="connsiteY8" fmla="*/ 254201 h 254200"/>
                  <a:gd name="connsiteX9" fmla="*/ 9903 w 75943"/>
                  <a:gd name="connsiteY9" fmla="*/ 244297 h 254200"/>
                  <a:gd name="connsiteX10" fmla="*/ 66040 w 75943"/>
                  <a:gd name="connsiteY10" fmla="*/ 244297 h 254200"/>
                  <a:gd name="connsiteX11" fmla="*/ 66040 w 75943"/>
                  <a:gd name="connsiteY11" fmla="*/ 9903 h 254200"/>
                  <a:gd name="connsiteX12" fmla="*/ 9903 w 75943"/>
                  <a:gd name="connsiteY12" fmla="*/ 9903 h 254200"/>
                  <a:gd name="connsiteX13" fmla="*/ 9903 w 75943"/>
                  <a:gd name="connsiteY13" fmla="*/ 244297 h 254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943" h="254200">
                    <a:moveTo>
                      <a:pt x="70992" y="254201"/>
                    </a:moveTo>
                    <a:lnTo>
                      <a:pt x="4952" y="254201"/>
                    </a:lnTo>
                    <a:cubicBezTo>
                      <a:pt x="2225" y="254201"/>
                      <a:pt x="0" y="251975"/>
                      <a:pt x="0" y="249249"/>
                    </a:cubicBezTo>
                    <a:lnTo>
                      <a:pt x="0" y="4952"/>
                    </a:lnTo>
                    <a:cubicBezTo>
                      <a:pt x="0" y="2225"/>
                      <a:pt x="2225" y="0"/>
                      <a:pt x="4952" y="0"/>
                    </a:cubicBezTo>
                    <a:lnTo>
                      <a:pt x="70992" y="0"/>
                    </a:lnTo>
                    <a:cubicBezTo>
                      <a:pt x="73718" y="0"/>
                      <a:pt x="75943" y="2225"/>
                      <a:pt x="75943" y="4952"/>
                    </a:cubicBezTo>
                    <a:lnTo>
                      <a:pt x="75943" y="249249"/>
                    </a:lnTo>
                    <a:cubicBezTo>
                      <a:pt x="75943" y="252003"/>
                      <a:pt x="73718" y="254201"/>
                      <a:pt x="70992" y="254201"/>
                    </a:cubicBezTo>
                    <a:close/>
                    <a:moveTo>
                      <a:pt x="9903" y="244297"/>
                    </a:moveTo>
                    <a:lnTo>
                      <a:pt x="66040" y="244297"/>
                    </a:lnTo>
                    <a:lnTo>
                      <a:pt x="66040" y="9903"/>
                    </a:lnTo>
                    <a:lnTo>
                      <a:pt x="9903" y="9903"/>
                    </a:lnTo>
                    <a:lnTo>
                      <a:pt x="9903" y="244297"/>
                    </a:lnTo>
                    <a:close/>
                  </a:path>
                </a:pathLst>
              </a:custGeom>
              <a:solidFill>
                <a:schemeClr val="accent1"/>
              </a:solidFill>
              <a:ln w="2775" cap="flat">
                <a:noFill/>
                <a:prstDash val="solid"/>
                <a:miter/>
              </a:ln>
            </p:spPr>
            <p:txBody>
              <a:bodyPr rtlCol="0" anchor="ctr"/>
              <a:lstStyle/>
              <a:p>
                <a:endParaRPr lang="en-GB" dirty="0"/>
              </a:p>
            </p:txBody>
          </p:sp>
          <p:sp>
            <p:nvSpPr>
              <p:cNvPr id="881" name="Freihandform: Form 880">
                <a:extLst>
                  <a:ext uri="{FF2B5EF4-FFF2-40B4-BE49-F238E27FC236}">
                    <a16:creationId xmlns:a16="http://schemas.microsoft.com/office/drawing/2014/main" id="{04CD381F-7FA5-4F1E-8E7D-6B5E96CAA608}"/>
                  </a:ext>
                </a:extLst>
              </p:cNvPr>
              <p:cNvSpPr/>
              <p:nvPr/>
            </p:nvSpPr>
            <p:spPr>
              <a:xfrm>
                <a:off x="7152320" y="2746710"/>
                <a:ext cx="9903" cy="150773"/>
              </a:xfrm>
              <a:custGeom>
                <a:avLst/>
                <a:gdLst>
                  <a:gd name="connsiteX0" fmla="*/ 4952 w 9903"/>
                  <a:gd name="connsiteY0" fmla="*/ 150773 h 150773"/>
                  <a:gd name="connsiteX1" fmla="*/ 0 w 9903"/>
                  <a:gd name="connsiteY1" fmla="*/ 145822 h 150773"/>
                  <a:gd name="connsiteX2" fmla="*/ 0 w 9903"/>
                  <a:gd name="connsiteY2" fmla="*/ 4952 h 150773"/>
                  <a:gd name="connsiteX3" fmla="*/ 4952 w 9903"/>
                  <a:gd name="connsiteY3" fmla="*/ 0 h 150773"/>
                  <a:gd name="connsiteX4" fmla="*/ 9903 w 9903"/>
                  <a:gd name="connsiteY4" fmla="*/ 4952 h 150773"/>
                  <a:gd name="connsiteX5" fmla="*/ 9903 w 9903"/>
                  <a:gd name="connsiteY5" fmla="*/ 145822 h 150773"/>
                  <a:gd name="connsiteX6" fmla="*/ 4952 w 9903"/>
                  <a:gd name="connsiteY6" fmla="*/ 150773 h 150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50773">
                    <a:moveTo>
                      <a:pt x="4952" y="150773"/>
                    </a:moveTo>
                    <a:cubicBezTo>
                      <a:pt x="2226" y="150773"/>
                      <a:pt x="0" y="148548"/>
                      <a:pt x="0" y="145822"/>
                    </a:cubicBezTo>
                    <a:lnTo>
                      <a:pt x="0" y="4952"/>
                    </a:lnTo>
                    <a:cubicBezTo>
                      <a:pt x="0" y="2225"/>
                      <a:pt x="2226" y="0"/>
                      <a:pt x="4952" y="0"/>
                    </a:cubicBezTo>
                    <a:cubicBezTo>
                      <a:pt x="7678" y="0"/>
                      <a:pt x="9903" y="2225"/>
                      <a:pt x="9903" y="4952"/>
                    </a:cubicBezTo>
                    <a:lnTo>
                      <a:pt x="9903" y="145822"/>
                    </a:lnTo>
                    <a:cubicBezTo>
                      <a:pt x="9903" y="148576"/>
                      <a:pt x="7678" y="150773"/>
                      <a:pt x="4952" y="150773"/>
                    </a:cubicBezTo>
                    <a:close/>
                  </a:path>
                </a:pathLst>
              </a:custGeom>
              <a:solidFill>
                <a:schemeClr val="accent1"/>
              </a:solidFill>
              <a:ln w="2775" cap="flat">
                <a:noFill/>
                <a:prstDash val="solid"/>
                <a:miter/>
              </a:ln>
            </p:spPr>
            <p:txBody>
              <a:bodyPr rtlCol="0" anchor="ctr"/>
              <a:lstStyle/>
              <a:p>
                <a:endParaRPr lang="en-GB" dirty="0"/>
              </a:p>
            </p:txBody>
          </p:sp>
          <p:sp>
            <p:nvSpPr>
              <p:cNvPr id="882" name="Freihandform: Form 881">
                <a:extLst>
                  <a:ext uri="{FF2B5EF4-FFF2-40B4-BE49-F238E27FC236}">
                    <a16:creationId xmlns:a16="http://schemas.microsoft.com/office/drawing/2014/main" id="{D33756CB-D53D-445F-810D-0383A6292C58}"/>
                  </a:ext>
                </a:extLst>
              </p:cNvPr>
              <p:cNvSpPr/>
              <p:nvPr/>
            </p:nvSpPr>
            <p:spPr>
              <a:xfrm>
                <a:off x="7152320" y="2707097"/>
                <a:ext cx="9903" cy="27512"/>
              </a:xfrm>
              <a:custGeom>
                <a:avLst/>
                <a:gdLst>
                  <a:gd name="connsiteX0" fmla="*/ 4952 w 9903"/>
                  <a:gd name="connsiteY0" fmla="*/ 27512 h 27512"/>
                  <a:gd name="connsiteX1" fmla="*/ 0 w 9903"/>
                  <a:gd name="connsiteY1" fmla="*/ 22560 h 27512"/>
                  <a:gd name="connsiteX2" fmla="*/ 0 w 9903"/>
                  <a:gd name="connsiteY2" fmla="*/ 4952 h 27512"/>
                  <a:gd name="connsiteX3" fmla="*/ 4952 w 9903"/>
                  <a:gd name="connsiteY3" fmla="*/ 0 h 27512"/>
                  <a:gd name="connsiteX4" fmla="*/ 9903 w 9903"/>
                  <a:gd name="connsiteY4" fmla="*/ 4952 h 27512"/>
                  <a:gd name="connsiteX5" fmla="*/ 9903 w 9903"/>
                  <a:gd name="connsiteY5" fmla="*/ 22560 h 27512"/>
                  <a:gd name="connsiteX6" fmla="*/ 4952 w 9903"/>
                  <a:gd name="connsiteY6" fmla="*/ 27512 h 2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27512">
                    <a:moveTo>
                      <a:pt x="4952" y="27512"/>
                    </a:moveTo>
                    <a:cubicBezTo>
                      <a:pt x="2226" y="27512"/>
                      <a:pt x="0" y="25287"/>
                      <a:pt x="0" y="22560"/>
                    </a:cubicBezTo>
                    <a:lnTo>
                      <a:pt x="0" y="4952"/>
                    </a:lnTo>
                    <a:cubicBezTo>
                      <a:pt x="0" y="2225"/>
                      <a:pt x="2226" y="0"/>
                      <a:pt x="4952" y="0"/>
                    </a:cubicBezTo>
                    <a:cubicBezTo>
                      <a:pt x="7678" y="0"/>
                      <a:pt x="9903" y="2225"/>
                      <a:pt x="9903" y="4952"/>
                    </a:cubicBezTo>
                    <a:lnTo>
                      <a:pt x="9903" y="22560"/>
                    </a:lnTo>
                    <a:cubicBezTo>
                      <a:pt x="9903" y="25314"/>
                      <a:pt x="7678" y="27512"/>
                      <a:pt x="4952" y="27512"/>
                    </a:cubicBezTo>
                    <a:close/>
                  </a:path>
                </a:pathLst>
              </a:custGeom>
              <a:solidFill>
                <a:schemeClr val="accent1"/>
              </a:solidFill>
              <a:ln w="2775" cap="flat">
                <a:noFill/>
                <a:prstDash val="solid"/>
                <a:miter/>
              </a:ln>
            </p:spPr>
            <p:txBody>
              <a:bodyPr rtlCol="0" anchor="ctr"/>
              <a:lstStyle/>
              <a:p>
                <a:endParaRPr lang="en-GB" dirty="0"/>
              </a:p>
            </p:txBody>
          </p:sp>
          <p:sp>
            <p:nvSpPr>
              <p:cNvPr id="883" name="Freihandform: Form 882">
                <a:extLst>
                  <a:ext uri="{FF2B5EF4-FFF2-40B4-BE49-F238E27FC236}">
                    <a16:creationId xmlns:a16="http://schemas.microsoft.com/office/drawing/2014/main" id="{C9B2198F-CDAB-496B-B7B3-3322C9E2BA89}"/>
                  </a:ext>
                </a:extLst>
              </p:cNvPr>
              <p:cNvSpPr/>
              <p:nvPr/>
            </p:nvSpPr>
            <p:spPr>
              <a:xfrm>
                <a:off x="7152320" y="2676302"/>
                <a:ext cx="9903" cy="17608"/>
              </a:xfrm>
              <a:custGeom>
                <a:avLst/>
                <a:gdLst>
                  <a:gd name="connsiteX0" fmla="*/ 4952 w 9903"/>
                  <a:gd name="connsiteY0" fmla="*/ 17609 h 17608"/>
                  <a:gd name="connsiteX1" fmla="*/ 0 w 9903"/>
                  <a:gd name="connsiteY1" fmla="*/ 12657 h 17608"/>
                  <a:gd name="connsiteX2" fmla="*/ 0 w 9903"/>
                  <a:gd name="connsiteY2" fmla="*/ 4952 h 17608"/>
                  <a:gd name="connsiteX3" fmla="*/ 4952 w 9903"/>
                  <a:gd name="connsiteY3" fmla="*/ 0 h 17608"/>
                  <a:gd name="connsiteX4" fmla="*/ 9903 w 9903"/>
                  <a:gd name="connsiteY4" fmla="*/ 4952 h 17608"/>
                  <a:gd name="connsiteX5" fmla="*/ 9903 w 9903"/>
                  <a:gd name="connsiteY5" fmla="*/ 12657 h 17608"/>
                  <a:gd name="connsiteX6" fmla="*/ 4952 w 9903"/>
                  <a:gd name="connsiteY6" fmla="*/ 17609 h 176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7608">
                    <a:moveTo>
                      <a:pt x="4952" y="17609"/>
                    </a:moveTo>
                    <a:cubicBezTo>
                      <a:pt x="2226" y="17609"/>
                      <a:pt x="0" y="15383"/>
                      <a:pt x="0" y="12657"/>
                    </a:cubicBezTo>
                    <a:lnTo>
                      <a:pt x="0" y="4952"/>
                    </a:lnTo>
                    <a:cubicBezTo>
                      <a:pt x="0" y="2225"/>
                      <a:pt x="2226" y="0"/>
                      <a:pt x="4952" y="0"/>
                    </a:cubicBezTo>
                    <a:cubicBezTo>
                      <a:pt x="7678" y="0"/>
                      <a:pt x="9903" y="2225"/>
                      <a:pt x="9903" y="4952"/>
                    </a:cubicBezTo>
                    <a:lnTo>
                      <a:pt x="9903" y="12657"/>
                    </a:lnTo>
                    <a:cubicBezTo>
                      <a:pt x="9903" y="15383"/>
                      <a:pt x="7678" y="17609"/>
                      <a:pt x="4952" y="17609"/>
                    </a:cubicBezTo>
                    <a:close/>
                  </a:path>
                </a:pathLst>
              </a:custGeom>
              <a:solidFill>
                <a:schemeClr val="accent1"/>
              </a:solidFill>
              <a:ln w="2775" cap="flat">
                <a:noFill/>
                <a:prstDash val="solid"/>
                <a:miter/>
              </a:ln>
            </p:spPr>
            <p:txBody>
              <a:bodyPr rtlCol="0" anchor="ctr"/>
              <a:lstStyle/>
              <a:p>
                <a:endParaRPr lang="en-GB" dirty="0"/>
              </a:p>
            </p:txBody>
          </p:sp>
          <p:sp>
            <p:nvSpPr>
              <p:cNvPr id="884" name="Freihandform: Form 883">
                <a:extLst>
                  <a:ext uri="{FF2B5EF4-FFF2-40B4-BE49-F238E27FC236}">
                    <a16:creationId xmlns:a16="http://schemas.microsoft.com/office/drawing/2014/main" id="{A474A3E2-68D7-4ADF-B11F-64AAE26BA4AA}"/>
                  </a:ext>
                </a:extLst>
              </p:cNvPr>
              <p:cNvSpPr/>
              <p:nvPr/>
            </p:nvSpPr>
            <p:spPr>
              <a:xfrm>
                <a:off x="7119298" y="2887608"/>
                <a:ext cx="75925" cy="75915"/>
              </a:xfrm>
              <a:custGeom>
                <a:avLst/>
                <a:gdLst>
                  <a:gd name="connsiteX0" fmla="*/ 37973 w 75925"/>
                  <a:gd name="connsiteY0" fmla="*/ 75915 h 75915"/>
                  <a:gd name="connsiteX1" fmla="*/ 33550 w 75925"/>
                  <a:gd name="connsiteY1" fmla="*/ 73189 h 75915"/>
                  <a:gd name="connsiteX2" fmla="*/ 530 w 75925"/>
                  <a:gd name="connsiteY2" fmla="*/ 7149 h 75915"/>
                  <a:gd name="connsiteX3" fmla="*/ 753 w 75925"/>
                  <a:gd name="connsiteY3" fmla="*/ 2337 h 75915"/>
                  <a:gd name="connsiteX4" fmla="*/ 4953 w 75925"/>
                  <a:gd name="connsiteY4" fmla="*/ 0 h 75915"/>
                  <a:gd name="connsiteX5" fmla="*/ 70993 w 75925"/>
                  <a:gd name="connsiteY5" fmla="*/ 0 h 75915"/>
                  <a:gd name="connsiteX6" fmla="*/ 75194 w 75925"/>
                  <a:gd name="connsiteY6" fmla="*/ 2337 h 75915"/>
                  <a:gd name="connsiteX7" fmla="*/ 75416 w 75925"/>
                  <a:gd name="connsiteY7" fmla="*/ 7149 h 75915"/>
                  <a:gd name="connsiteX8" fmla="*/ 42396 w 75925"/>
                  <a:gd name="connsiteY8" fmla="*/ 73189 h 75915"/>
                  <a:gd name="connsiteX9" fmla="*/ 37973 w 75925"/>
                  <a:gd name="connsiteY9" fmla="*/ 75915 h 75915"/>
                  <a:gd name="connsiteX10" fmla="*/ 12965 w 75925"/>
                  <a:gd name="connsiteY10" fmla="*/ 9875 h 75915"/>
                  <a:gd name="connsiteX11" fmla="*/ 37973 w 75925"/>
                  <a:gd name="connsiteY11" fmla="*/ 59892 h 75915"/>
                  <a:gd name="connsiteX12" fmla="*/ 62982 w 75925"/>
                  <a:gd name="connsiteY12" fmla="*/ 9875 h 75915"/>
                  <a:gd name="connsiteX13" fmla="*/ 12965 w 75925"/>
                  <a:gd name="connsiteY13" fmla="*/ 9875 h 759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5925" h="75915">
                    <a:moveTo>
                      <a:pt x="37973" y="75915"/>
                    </a:moveTo>
                    <a:cubicBezTo>
                      <a:pt x="36110" y="75915"/>
                      <a:pt x="34385" y="74858"/>
                      <a:pt x="33550" y="73189"/>
                    </a:cubicBezTo>
                    <a:lnTo>
                      <a:pt x="530" y="7149"/>
                    </a:lnTo>
                    <a:cubicBezTo>
                      <a:pt x="-249" y="5619"/>
                      <a:pt x="-165" y="3783"/>
                      <a:pt x="753" y="2337"/>
                    </a:cubicBezTo>
                    <a:cubicBezTo>
                      <a:pt x="1643" y="890"/>
                      <a:pt x="3256" y="0"/>
                      <a:pt x="4953" y="0"/>
                    </a:cubicBezTo>
                    <a:lnTo>
                      <a:pt x="70993" y="0"/>
                    </a:lnTo>
                    <a:cubicBezTo>
                      <a:pt x="72718" y="0"/>
                      <a:pt x="74304" y="890"/>
                      <a:pt x="75194" y="2337"/>
                    </a:cubicBezTo>
                    <a:cubicBezTo>
                      <a:pt x="76084" y="3811"/>
                      <a:pt x="76167" y="5619"/>
                      <a:pt x="75416" y="7149"/>
                    </a:cubicBezTo>
                    <a:lnTo>
                      <a:pt x="42396" y="73189"/>
                    </a:lnTo>
                    <a:cubicBezTo>
                      <a:pt x="41562" y="74858"/>
                      <a:pt x="39865" y="75915"/>
                      <a:pt x="37973" y="75915"/>
                    </a:cubicBezTo>
                    <a:close/>
                    <a:moveTo>
                      <a:pt x="12965" y="9875"/>
                    </a:moveTo>
                    <a:lnTo>
                      <a:pt x="37973" y="59892"/>
                    </a:lnTo>
                    <a:lnTo>
                      <a:pt x="62982" y="9875"/>
                    </a:lnTo>
                    <a:lnTo>
                      <a:pt x="12965" y="9875"/>
                    </a:lnTo>
                    <a:close/>
                  </a:path>
                </a:pathLst>
              </a:custGeom>
              <a:solidFill>
                <a:schemeClr val="accent1"/>
              </a:solidFill>
              <a:ln w="2775" cap="flat">
                <a:noFill/>
                <a:prstDash val="solid"/>
                <a:miter/>
              </a:ln>
            </p:spPr>
            <p:txBody>
              <a:bodyPr rtlCol="0" anchor="ctr"/>
              <a:lstStyle/>
              <a:p>
                <a:endParaRPr lang="en-GB" dirty="0"/>
              </a:p>
            </p:txBody>
          </p:sp>
          <p:sp>
            <p:nvSpPr>
              <p:cNvPr id="885" name="Freihandform: Form 884">
                <a:extLst>
                  <a:ext uri="{FF2B5EF4-FFF2-40B4-BE49-F238E27FC236}">
                    <a16:creationId xmlns:a16="http://schemas.microsoft.com/office/drawing/2014/main" id="{2C21DA5B-440F-4C1A-83CB-BCED62980228}"/>
                  </a:ext>
                </a:extLst>
              </p:cNvPr>
              <p:cNvSpPr/>
              <p:nvPr/>
            </p:nvSpPr>
            <p:spPr>
              <a:xfrm>
                <a:off x="7119300" y="2610262"/>
                <a:ext cx="75943" cy="42923"/>
              </a:xfrm>
              <a:custGeom>
                <a:avLst/>
                <a:gdLst>
                  <a:gd name="connsiteX0" fmla="*/ 70992 w 75943"/>
                  <a:gd name="connsiteY0" fmla="*/ 42923 h 42923"/>
                  <a:gd name="connsiteX1" fmla="*/ 4952 w 75943"/>
                  <a:gd name="connsiteY1" fmla="*/ 42923 h 42923"/>
                  <a:gd name="connsiteX2" fmla="*/ 0 w 75943"/>
                  <a:gd name="connsiteY2" fmla="*/ 37972 h 42923"/>
                  <a:gd name="connsiteX3" fmla="*/ 0 w 75943"/>
                  <a:gd name="connsiteY3" fmla="*/ 22449 h 42923"/>
                  <a:gd name="connsiteX4" fmla="*/ 22449 w 75943"/>
                  <a:gd name="connsiteY4" fmla="*/ 0 h 42923"/>
                  <a:gd name="connsiteX5" fmla="*/ 53494 w 75943"/>
                  <a:gd name="connsiteY5" fmla="*/ 0 h 42923"/>
                  <a:gd name="connsiteX6" fmla="*/ 75943 w 75943"/>
                  <a:gd name="connsiteY6" fmla="*/ 22449 h 42923"/>
                  <a:gd name="connsiteX7" fmla="*/ 75943 w 75943"/>
                  <a:gd name="connsiteY7" fmla="*/ 37972 h 42923"/>
                  <a:gd name="connsiteX8" fmla="*/ 70992 w 75943"/>
                  <a:gd name="connsiteY8" fmla="*/ 42923 h 42923"/>
                  <a:gd name="connsiteX9" fmla="*/ 9903 w 75943"/>
                  <a:gd name="connsiteY9" fmla="*/ 33020 h 42923"/>
                  <a:gd name="connsiteX10" fmla="*/ 66040 w 75943"/>
                  <a:gd name="connsiteY10" fmla="*/ 33020 h 42923"/>
                  <a:gd name="connsiteX11" fmla="*/ 66040 w 75943"/>
                  <a:gd name="connsiteY11" fmla="*/ 22449 h 42923"/>
                  <a:gd name="connsiteX12" fmla="*/ 53494 w 75943"/>
                  <a:gd name="connsiteY12" fmla="*/ 9903 h 42923"/>
                  <a:gd name="connsiteX13" fmla="*/ 22449 w 75943"/>
                  <a:gd name="connsiteY13" fmla="*/ 9903 h 42923"/>
                  <a:gd name="connsiteX14" fmla="*/ 9903 w 75943"/>
                  <a:gd name="connsiteY14" fmla="*/ 22449 h 42923"/>
                  <a:gd name="connsiteX15" fmla="*/ 9903 w 75943"/>
                  <a:gd name="connsiteY15" fmla="*/ 33020 h 4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5943" h="42923">
                    <a:moveTo>
                      <a:pt x="70992" y="42923"/>
                    </a:moveTo>
                    <a:lnTo>
                      <a:pt x="4952" y="42923"/>
                    </a:lnTo>
                    <a:cubicBezTo>
                      <a:pt x="2225" y="42923"/>
                      <a:pt x="0" y="40698"/>
                      <a:pt x="0" y="37972"/>
                    </a:cubicBezTo>
                    <a:lnTo>
                      <a:pt x="0" y="22449"/>
                    </a:lnTo>
                    <a:cubicBezTo>
                      <a:pt x="0" y="10070"/>
                      <a:pt x="10070" y="0"/>
                      <a:pt x="22449" y="0"/>
                    </a:cubicBezTo>
                    <a:lnTo>
                      <a:pt x="53494" y="0"/>
                    </a:lnTo>
                    <a:cubicBezTo>
                      <a:pt x="65873" y="0"/>
                      <a:pt x="75943" y="10070"/>
                      <a:pt x="75943" y="22449"/>
                    </a:cubicBezTo>
                    <a:lnTo>
                      <a:pt x="75943" y="37972"/>
                    </a:lnTo>
                    <a:cubicBezTo>
                      <a:pt x="75943" y="40698"/>
                      <a:pt x="73718" y="42923"/>
                      <a:pt x="70992" y="42923"/>
                    </a:cubicBezTo>
                    <a:close/>
                    <a:moveTo>
                      <a:pt x="9903" y="33020"/>
                    </a:moveTo>
                    <a:lnTo>
                      <a:pt x="66040" y="33020"/>
                    </a:lnTo>
                    <a:lnTo>
                      <a:pt x="66040" y="22449"/>
                    </a:lnTo>
                    <a:cubicBezTo>
                      <a:pt x="66040" y="15550"/>
                      <a:pt x="60421" y="9903"/>
                      <a:pt x="53494" y="9903"/>
                    </a:cubicBezTo>
                    <a:lnTo>
                      <a:pt x="22449" y="9903"/>
                    </a:lnTo>
                    <a:cubicBezTo>
                      <a:pt x="15550" y="9903"/>
                      <a:pt x="9903" y="15522"/>
                      <a:pt x="9903" y="22449"/>
                    </a:cubicBezTo>
                    <a:lnTo>
                      <a:pt x="9903" y="33020"/>
                    </a:lnTo>
                    <a:close/>
                  </a:path>
                </a:pathLst>
              </a:custGeom>
              <a:solidFill>
                <a:schemeClr val="accent1"/>
              </a:solidFill>
              <a:ln w="2775" cap="flat">
                <a:noFill/>
                <a:prstDash val="solid"/>
                <a:miter/>
              </a:ln>
            </p:spPr>
            <p:txBody>
              <a:bodyPr rtlCol="0" anchor="ctr"/>
              <a:lstStyle/>
              <a:p>
                <a:endParaRPr lang="en-GB" dirty="0"/>
              </a:p>
            </p:txBody>
          </p:sp>
          <p:sp>
            <p:nvSpPr>
              <p:cNvPr id="886" name="Freihandform: Form 885">
                <a:extLst>
                  <a:ext uri="{FF2B5EF4-FFF2-40B4-BE49-F238E27FC236}">
                    <a16:creationId xmlns:a16="http://schemas.microsoft.com/office/drawing/2014/main" id="{79F7C2BD-3296-4953-BE8E-25EDBB168571}"/>
                  </a:ext>
                </a:extLst>
              </p:cNvPr>
              <p:cNvSpPr/>
              <p:nvPr/>
            </p:nvSpPr>
            <p:spPr>
              <a:xfrm>
                <a:off x="7139140" y="2911232"/>
                <a:ext cx="36345" cy="16516"/>
              </a:xfrm>
              <a:custGeom>
                <a:avLst/>
                <a:gdLst>
                  <a:gd name="connsiteX0" fmla="*/ 31345 w 36345"/>
                  <a:gd name="connsiteY0" fmla="*/ 16517 h 16516"/>
                  <a:gd name="connsiteX1" fmla="*/ 29147 w 36345"/>
                  <a:gd name="connsiteY1" fmla="*/ 15988 h 16516"/>
                  <a:gd name="connsiteX2" fmla="*/ 18159 w 36345"/>
                  <a:gd name="connsiteY2" fmla="*/ 10480 h 16516"/>
                  <a:gd name="connsiteX3" fmla="*/ 7171 w 36345"/>
                  <a:gd name="connsiteY3" fmla="*/ 15988 h 16516"/>
                  <a:gd name="connsiteX4" fmla="*/ 522 w 36345"/>
                  <a:gd name="connsiteY4" fmla="*/ 13763 h 16516"/>
                  <a:gd name="connsiteX5" fmla="*/ 2748 w 36345"/>
                  <a:gd name="connsiteY5" fmla="*/ 7114 h 16516"/>
                  <a:gd name="connsiteX6" fmla="*/ 15961 w 36345"/>
                  <a:gd name="connsiteY6" fmla="*/ 522 h 16516"/>
                  <a:gd name="connsiteX7" fmla="*/ 20384 w 36345"/>
                  <a:gd name="connsiteY7" fmla="*/ 522 h 16516"/>
                  <a:gd name="connsiteX8" fmla="*/ 33598 w 36345"/>
                  <a:gd name="connsiteY8" fmla="*/ 7114 h 16516"/>
                  <a:gd name="connsiteX9" fmla="*/ 35823 w 36345"/>
                  <a:gd name="connsiteY9" fmla="*/ 13763 h 16516"/>
                  <a:gd name="connsiteX10" fmla="*/ 31345 w 36345"/>
                  <a:gd name="connsiteY10" fmla="*/ 16517 h 1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6345" h="16516">
                    <a:moveTo>
                      <a:pt x="31345" y="16517"/>
                    </a:moveTo>
                    <a:cubicBezTo>
                      <a:pt x="30594" y="16517"/>
                      <a:pt x="29842" y="16350"/>
                      <a:pt x="29147" y="15988"/>
                    </a:cubicBezTo>
                    <a:lnTo>
                      <a:pt x="18159" y="10480"/>
                    </a:lnTo>
                    <a:lnTo>
                      <a:pt x="7171" y="15988"/>
                    </a:lnTo>
                    <a:cubicBezTo>
                      <a:pt x="4723" y="17212"/>
                      <a:pt x="1746" y="16211"/>
                      <a:pt x="522" y="13763"/>
                    </a:cubicBezTo>
                    <a:cubicBezTo>
                      <a:pt x="-702" y="11315"/>
                      <a:pt x="300" y="8338"/>
                      <a:pt x="2748" y="7114"/>
                    </a:cubicBezTo>
                    <a:lnTo>
                      <a:pt x="15961" y="522"/>
                    </a:lnTo>
                    <a:cubicBezTo>
                      <a:pt x="17352" y="-174"/>
                      <a:pt x="18994" y="-174"/>
                      <a:pt x="20384" y="522"/>
                    </a:cubicBezTo>
                    <a:lnTo>
                      <a:pt x="33598" y="7114"/>
                    </a:lnTo>
                    <a:cubicBezTo>
                      <a:pt x="36046" y="8338"/>
                      <a:pt x="37047" y="11315"/>
                      <a:pt x="35823" y="13763"/>
                    </a:cubicBezTo>
                    <a:cubicBezTo>
                      <a:pt x="34905" y="15516"/>
                      <a:pt x="33153" y="16517"/>
                      <a:pt x="31345" y="16517"/>
                    </a:cubicBezTo>
                    <a:close/>
                  </a:path>
                </a:pathLst>
              </a:custGeom>
              <a:solidFill>
                <a:schemeClr val="accent1"/>
              </a:solidFill>
              <a:ln w="2775" cap="flat">
                <a:noFill/>
                <a:prstDash val="solid"/>
                <a:miter/>
              </a:ln>
            </p:spPr>
            <p:txBody>
              <a:bodyPr rtlCol="0" anchor="ctr"/>
              <a:lstStyle/>
              <a:p>
                <a:endParaRPr lang="en-GB" dirty="0"/>
              </a:p>
            </p:txBody>
          </p:sp>
        </p:grpSp>
      </p:grpSp>
      <p:grpSp>
        <p:nvGrpSpPr>
          <p:cNvPr id="13" name="Group 12">
            <a:extLst>
              <a:ext uri="{FF2B5EF4-FFF2-40B4-BE49-F238E27FC236}">
                <a16:creationId xmlns:a16="http://schemas.microsoft.com/office/drawing/2014/main" id="{30D7A18A-9731-9942-D8BF-40623177E911}"/>
              </a:ext>
            </a:extLst>
          </p:cNvPr>
          <p:cNvGrpSpPr/>
          <p:nvPr/>
        </p:nvGrpSpPr>
        <p:grpSpPr>
          <a:xfrm>
            <a:off x="8211411" y="2449341"/>
            <a:ext cx="262515" cy="432000"/>
            <a:chOff x="8210999" y="2449341"/>
            <a:chExt cx="262515" cy="432000"/>
          </a:xfrm>
        </p:grpSpPr>
        <p:grpSp>
          <p:nvGrpSpPr>
            <p:cNvPr id="904" name="Group 767">
              <a:extLst>
                <a:ext uri="{FF2B5EF4-FFF2-40B4-BE49-F238E27FC236}">
                  <a16:creationId xmlns:a16="http://schemas.microsoft.com/office/drawing/2014/main" id="{B4B5A55D-B0DB-4232-8F58-AF4FF2AD100F}"/>
                </a:ext>
              </a:extLst>
            </p:cNvPr>
            <p:cNvGrpSpPr/>
            <p:nvPr/>
          </p:nvGrpSpPr>
          <p:grpSpPr>
            <a:xfrm>
              <a:off x="8255096" y="2473478"/>
              <a:ext cx="174277" cy="214570"/>
              <a:chOff x="7880956" y="2488531"/>
              <a:chExt cx="220541" cy="271530"/>
            </a:xfrm>
            <a:solidFill>
              <a:schemeClr val="accent1"/>
            </a:solidFill>
          </p:grpSpPr>
          <p:sp>
            <p:nvSpPr>
              <p:cNvPr id="916" name="Freihandform: Form 915">
                <a:extLst>
                  <a:ext uri="{FF2B5EF4-FFF2-40B4-BE49-F238E27FC236}">
                    <a16:creationId xmlns:a16="http://schemas.microsoft.com/office/drawing/2014/main" id="{3C3AC889-31F6-40F6-AE60-17C39F9BA0D5}"/>
                  </a:ext>
                </a:extLst>
              </p:cNvPr>
              <p:cNvSpPr/>
              <p:nvPr/>
            </p:nvSpPr>
            <p:spPr>
              <a:xfrm>
                <a:off x="7880956" y="2636356"/>
                <a:ext cx="9903" cy="28958"/>
              </a:xfrm>
              <a:custGeom>
                <a:avLst/>
                <a:gdLst>
                  <a:gd name="connsiteX0" fmla="*/ 4952 w 9903"/>
                  <a:gd name="connsiteY0" fmla="*/ 28959 h 28958"/>
                  <a:gd name="connsiteX1" fmla="*/ 0 w 9903"/>
                  <a:gd name="connsiteY1" fmla="*/ 24007 h 28958"/>
                  <a:gd name="connsiteX2" fmla="*/ 0 w 9903"/>
                  <a:gd name="connsiteY2" fmla="*/ 4952 h 28958"/>
                  <a:gd name="connsiteX3" fmla="*/ 4952 w 9903"/>
                  <a:gd name="connsiteY3" fmla="*/ 0 h 28958"/>
                  <a:gd name="connsiteX4" fmla="*/ 9903 w 9903"/>
                  <a:gd name="connsiteY4" fmla="*/ 4952 h 28958"/>
                  <a:gd name="connsiteX5" fmla="*/ 9903 w 9903"/>
                  <a:gd name="connsiteY5" fmla="*/ 24007 h 28958"/>
                  <a:gd name="connsiteX6" fmla="*/ 4952 w 9903"/>
                  <a:gd name="connsiteY6" fmla="*/ 28959 h 2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28958">
                    <a:moveTo>
                      <a:pt x="4952" y="28959"/>
                    </a:moveTo>
                    <a:cubicBezTo>
                      <a:pt x="2226" y="28959"/>
                      <a:pt x="0" y="26733"/>
                      <a:pt x="0" y="24007"/>
                    </a:cubicBezTo>
                    <a:lnTo>
                      <a:pt x="0" y="4952"/>
                    </a:lnTo>
                    <a:cubicBezTo>
                      <a:pt x="0" y="2225"/>
                      <a:pt x="2226" y="0"/>
                      <a:pt x="4952" y="0"/>
                    </a:cubicBezTo>
                    <a:cubicBezTo>
                      <a:pt x="7678" y="0"/>
                      <a:pt x="9903" y="2225"/>
                      <a:pt x="9903" y="4952"/>
                    </a:cubicBezTo>
                    <a:lnTo>
                      <a:pt x="9903" y="24007"/>
                    </a:lnTo>
                    <a:cubicBezTo>
                      <a:pt x="9903" y="26733"/>
                      <a:pt x="7706" y="28959"/>
                      <a:pt x="4952" y="28959"/>
                    </a:cubicBezTo>
                    <a:close/>
                  </a:path>
                </a:pathLst>
              </a:custGeom>
              <a:grpFill/>
              <a:ln w="2775" cap="flat">
                <a:noFill/>
                <a:prstDash val="solid"/>
                <a:miter/>
              </a:ln>
            </p:spPr>
            <p:txBody>
              <a:bodyPr rtlCol="0" anchor="ctr"/>
              <a:lstStyle/>
              <a:p>
                <a:endParaRPr lang="en-GB" dirty="0"/>
              </a:p>
            </p:txBody>
          </p:sp>
          <p:sp>
            <p:nvSpPr>
              <p:cNvPr id="917" name="Freihandform: Form 916">
                <a:extLst>
                  <a:ext uri="{FF2B5EF4-FFF2-40B4-BE49-F238E27FC236}">
                    <a16:creationId xmlns:a16="http://schemas.microsoft.com/office/drawing/2014/main" id="{C2F49ECC-C4E5-4356-A508-85448100F4B8}"/>
                  </a:ext>
                </a:extLst>
              </p:cNvPr>
              <p:cNvSpPr/>
              <p:nvPr/>
            </p:nvSpPr>
            <p:spPr>
              <a:xfrm>
                <a:off x="7880956" y="2510867"/>
                <a:ext cx="50324" cy="92858"/>
              </a:xfrm>
              <a:custGeom>
                <a:avLst/>
                <a:gdLst>
                  <a:gd name="connsiteX0" fmla="*/ 4952 w 50324"/>
                  <a:gd name="connsiteY0" fmla="*/ 92858 h 92858"/>
                  <a:gd name="connsiteX1" fmla="*/ 0 w 50324"/>
                  <a:gd name="connsiteY1" fmla="*/ 87907 h 92858"/>
                  <a:gd name="connsiteX2" fmla="*/ 42311 w 50324"/>
                  <a:gd name="connsiteY2" fmla="*/ 1059 h 92858"/>
                  <a:gd name="connsiteX3" fmla="*/ 49266 w 50324"/>
                  <a:gd name="connsiteY3" fmla="*/ 1893 h 92858"/>
                  <a:gd name="connsiteX4" fmla="*/ 48431 w 50324"/>
                  <a:gd name="connsiteY4" fmla="*/ 8848 h 92858"/>
                  <a:gd name="connsiteX5" fmla="*/ 9903 w 50324"/>
                  <a:gd name="connsiteY5" fmla="*/ 87907 h 92858"/>
                  <a:gd name="connsiteX6" fmla="*/ 4952 w 50324"/>
                  <a:gd name="connsiteY6" fmla="*/ 92858 h 92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0324" h="92858">
                    <a:moveTo>
                      <a:pt x="4952" y="92858"/>
                    </a:moveTo>
                    <a:cubicBezTo>
                      <a:pt x="2226" y="92858"/>
                      <a:pt x="0" y="90633"/>
                      <a:pt x="0" y="87907"/>
                    </a:cubicBezTo>
                    <a:cubicBezTo>
                      <a:pt x="0" y="53774"/>
                      <a:pt x="15411" y="22117"/>
                      <a:pt x="42311" y="1059"/>
                    </a:cubicBezTo>
                    <a:cubicBezTo>
                      <a:pt x="44481" y="-638"/>
                      <a:pt x="47569" y="-249"/>
                      <a:pt x="49266" y="1893"/>
                    </a:cubicBezTo>
                    <a:cubicBezTo>
                      <a:pt x="50963" y="4035"/>
                      <a:pt x="50573" y="7151"/>
                      <a:pt x="48431" y="8848"/>
                    </a:cubicBezTo>
                    <a:cubicBezTo>
                      <a:pt x="23951" y="28042"/>
                      <a:pt x="9903" y="56834"/>
                      <a:pt x="9903" y="87907"/>
                    </a:cubicBezTo>
                    <a:cubicBezTo>
                      <a:pt x="9903" y="90660"/>
                      <a:pt x="7706" y="92858"/>
                      <a:pt x="4952" y="92858"/>
                    </a:cubicBezTo>
                    <a:close/>
                  </a:path>
                </a:pathLst>
              </a:custGeom>
              <a:grpFill/>
              <a:ln w="2775" cap="flat">
                <a:noFill/>
                <a:prstDash val="solid"/>
                <a:miter/>
              </a:ln>
            </p:spPr>
            <p:txBody>
              <a:bodyPr rtlCol="0" anchor="ctr"/>
              <a:lstStyle/>
              <a:p>
                <a:endParaRPr lang="en-GB" dirty="0"/>
              </a:p>
            </p:txBody>
          </p:sp>
          <p:sp>
            <p:nvSpPr>
              <p:cNvPr id="918" name="Freihandform: Form 917">
                <a:extLst>
                  <a:ext uri="{FF2B5EF4-FFF2-40B4-BE49-F238E27FC236}">
                    <a16:creationId xmlns:a16="http://schemas.microsoft.com/office/drawing/2014/main" id="{BDE32AC7-3AE4-41F6-9628-C7C06D8B21DF}"/>
                  </a:ext>
                </a:extLst>
              </p:cNvPr>
              <p:cNvSpPr/>
              <p:nvPr/>
            </p:nvSpPr>
            <p:spPr>
              <a:xfrm>
                <a:off x="7986303" y="2488531"/>
                <a:ext cx="102338" cy="64676"/>
              </a:xfrm>
              <a:custGeom>
                <a:avLst/>
                <a:gdLst>
                  <a:gd name="connsiteX0" fmla="*/ 97363 w 102338"/>
                  <a:gd name="connsiteY0" fmla="*/ 64677 h 64676"/>
                  <a:gd name="connsiteX1" fmla="*/ 93023 w 102338"/>
                  <a:gd name="connsiteY1" fmla="*/ 62118 h 64676"/>
                  <a:gd name="connsiteX2" fmla="*/ 4952 w 102338"/>
                  <a:gd name="connsiteY2" fmla="*/ 9903 h 64676"/>
                  <a:gd name="connsiteX3" fmla="*/ 0 w 102338"/>
                  <a:gd name="connsiteY3" fmla="*/ 4952 h 64676"/>
                  <a:gd name="connsiteX4" fmla="*/ 4952 w 102338"/>
                  <a:gd name="connsiteY4" fmla="*/ 0 h 64676"/>
                  <a:gd name="connsiteX5" fmla="*/ 101730 w 102338"/>
                  <a:gd name="connsiteY5" fmla="*/ 57361 h 64676"/>
                  <a:gd name="connsiteX6" fmla="*/ 99755 w 102338"/>
                  <a:gd name="connsiteY6" fmla="*/ 64093 h 64676"/>
                  <a:gd name="connsiteX7" fmla="*/ 97363 w 102338"/>
                  <a:gd name="connsiteY7" fmla="*/ 64677 h 6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338" h="64676">
                    <a:moveTo>
                      <a:pt x="97363" y="64677"/>
                    </a:moveTo>
                    <a:cubicBezTo>
                      <a:pt x="95610" y="64677"/>
                      <a:pt x="93914" y="63759"/>
                      <a:pt x="93023" y="62118"/>
                    </a:cubicBezTo>
                    <a:cubicBezTo>
                      <a:pt x="75387" y="29904"/>
                      <a:pt x="41643" y="9903"/>
                      <a:pt x="4952" y="9903"/>
                    </a:cubicBezTo>
                    <a:cubicBezTo>
                      <a:pt x="2225" y="9903"/>
                      <a:pt x="0" y="7678"/>
                      <a:pt x="0" y="4952"/>
                    </a:cubicBezTo>
                    <a:cubicBezTo>
                      <a:pt x="0" y="2225"/>
                      <a:pt x="2225" y="0"/>
                      <a:pt x="4952" y="0"/>
                    </a:cubicBezTo>
                    <a:cubicBezTo>
                      <a:pt x="45260" y="0"/>
                      <a:pt x="82341" y="21976"/>
                      <a:pt x="101730" y="57361"/>
                    </a:cubicBezTo>
                    <a:cubicBezTo>
                      <a:pt x="103038" y="59753"/>
                      <a:pt x="102175" y="62757"/>
                      <a:pt x="99755" y="64093"/>
                    </a:cubicBezTo>
                    <a:cubicBezTo>
                      <a:pt x="98976" y="64482"/>
                      <a:pt x="98142" y="64677"/>
                      <a:pt x="97363" y="64677"/>
                    </a:cubicBezTo>
                    <a:close/>
                  </a:path>
                </a:pathLst>
              </a:custGeom>
              <a:grpFill/>
              <a:ln w="2775" cap="flat">
                <a:noFill/>
                <a:prstDash val="solid"/>
                <a:miter/>
              </a:ln>
            </p:spPr>
            <p:txBody>
              <a:bodyPr rtlCol="0" anchor="ctr"/>
              <a:lstStyle/>
              <a:p>
                <a:endParaRPr lang="en-GB" dirty="0"/>
              </a:p>
            </p:txBody>
          </p:sp>
          <p:sp>
            <p:nvSpPr>
              <p:cNvPr id="919" name="Freihandform: Form 918">
                <a:extLst>
                  <a:ext uri="{FF2B5EF4-FFF2-40B4-BE49-F238E27FC236}">
                    <a16:creationId xmlns:a16="http://schemas.microsoft.com/office/drawing/2014/main" id="{12B4EA74-98EC-4CE6-AFC5-DE990B234E1D}"/>
                  </a:ext>
                </a:extLst>
              </p:cNvPr>
              <p:cNvSpPr/>
              <p:nvPr/>
            </p:nvSpPr>
            <p:spPr>
              <a:xfrm>
                <a:off x="8091594" y="2593822"/>
                <a:ext cx="9903" cy="64676"/>
              </a:xfrm>
              <a:custGeom>
                <a:avLst/>
                <a:gdLst>
                  <a:gd name="connsiteX0" fmla="*/ 4952 w 9903"/>
                  <a:gd name="connsiteY0" fmla="*/ 64677 h 64676"/>
                  <a:gd name="connsiteX1" fmla="*/ 0 w 9903"/>
                  <a:gd name="connsiteY1" fmla="*/ 59725 h 64676"/>
                  <a:gd name="connsiteX2" fmla="*/ 0 w 9903"/>
                  <a:gd name="connsiteY2" fmla="*/ 4952 h 64676"/>
                  <a:gd name="connsiteX3" fmla="*/ 4952 w 9903"/>
                  <a:gd name="connsiteY3" fmla="*/ 0 h 64676"/>
                  <a:gd name="connsiteX4" fmla="*/ 9903 w 9903"/>
                  <a:gd name="connsiteY4" fmla="*/ 4952 h 64676"/>
                  <a:gd name="connsiteX5" fmla="*/ 9903 w 9903"/>
                  <a:gd name="connsiteY5" fmla="*/ 59725 h 64676"/>
                  <a:gd name="connsiteX6" fmla="*/ 4952 w 9903"/>
                  <a:gd name="connsiteY6" fmla="*/ 64677 h 64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64676">
                    <a:moveTo>
                      <a:pt x="4952" y="64677"/>
                    </a:moveTo>
                    <a:cubicBezTo>
                      <a:pt x="2226" y="64677"/>
                      <a:pt x="0" y="62451"/>
                      <a:pt x="0" y="59725"/>
                    </a:cubicBezTo>
                    <a:lnTo>
                      <a:pt x="0" y="4952"/>
                    </a:lnTo>
                    <a:cubicBezTo>
                      <a:pt x="0" y="2225"/>
                      <a:pt x="2226" y="0"/>
                      <a:pt x="4952" y="0"/>
                    </a:cubicBezTo>
                    <a:cubicBezTo>
                      <a:pt x="7678" y="0"/>
                      <a:pt x="9903" y="2225"/>
                      <a:pt x="9903" y="4952"/>
                    </a:cubicBezTo>
                    <a:lnTo>
                      <a:pt x="9903" y="59725"/>
                    </a:lnTo>
                    <a:cubicBezTo>
                      <a:pt x="9903" y="62479"/>
                      <a:pt x="7678" y="64677"/>
                      <a:pt x="4952" y="64677"/>
                    </a:cubicBezTo>
                    <a:close/>
                  </a:path>
                </a:pathLst>
              </a:custGeom>
              <a:grpFill/>
              <a:ln w="2775" cap="flat">
                <a:noFill/>
                <a:prstDash val="solid"/>
                <a:miter/>
              </a:ln>
            </p:spPr>
            <p:txBody>
              <a:bodyPr rtlCol="0" anchor="ctr"/>
              <a:lstStyle/>
              <a:p>
                <a:endParaRPr lang="en-GB" dirty="0"/>
              </a:p>
            </p:txBody>
          </p:sp>
          <p:sp>
            <p:nvSpPr>
              <p:cNvPr id="920" name="Freihandform: Form 919">
                <a:extLst>
                  <a:ext uri="{FF2B5EF4-FFF2-40B4-BE49-F238E27FC236}">
                    <a16:creationId xmlns:a16="http://schemas.microsoft.com/office/drawing/2014/main" id="{F9225BC5-4720-43C5-9B9C-981C3E840CB7}"/>
                  </a:ext>
                </a:extLst>
              </p:cNvPr>
              <p:cNvSpPr/>
              <p:nvPr/>
            </p:nvSpPr>
            <p:spPr>
              <a:xfrm>
                <a:off x="7901959" y="2597689"/>
                <a:ext cx="9903" cy="128769"/>
              </a:xfrm>
              <a:custGeom>
                <a:avLst/>
                <a:gdLst>
                  <a:gd name="connsiteX0" fmla="*/ 4952 w 9903"/>
                  <a:gd name="connsiteY0" fmla="*/ 128769 h 128769"/>
                  <a:gd name="connsiteX1" fmla="*/ 0 w 9903"/>
                  <a:gd name="connsiteY1" fmla="*/ 123818 h 128769"/>
                  <a:gd name="connsiteX2" fmla="*/ 0 w 9903"/>
                  <a:gd name="connsiteY2" fmla="*/ 4952 h 128769"/>
                  <a:gd name="connsiteX3" fmla="*/ 4952 w 9903"/>
                  <a:gd name="connsiteY3" fmla="*/ 0 h 128769"/>
                  <a:gd name="connsiteX4" fmla="*/ 9903 w 9903"/>
                  <a:gd name="connsiteY4" fmla="*/ 4952 h 128769"/>
                  <a:gd name="connsiteX5" fmla="*/ 9903 w 9903"/>
                  <a:gd name="connsiteY5" fmla="*/ 123818 h 128769"/>
                  <a:gd name="connsiteX6" fmla="*/ 4952 w 9903"/>
                  <a:gd name="connsiteY6" fmla="*/ 128769 h 128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28769">
                    <a:moveTo>
                      <a:pt x="4952" y="128769"/>
                    </a:moveTo>
                    <a:cubicBezTo>
                      <a:pt x="2225" y="128769"/>
                      <a:pt x="0" y="126544"/>
                      <a:pt x="0" y="123818"/>
                    </a:cubicBezTo>
                    <a:lnTo>
                      <a:pt x="0" y="4952"/>
                    </a:lnTo>
                    <a:cubicBezTo>
                      <a:pt x="0" y="2225"/>
                      <a:pt x="2225" y="0"/>
                      <a:pt x="4952" y="0"/>
                    </a:cubicBezTo>
                    <a:cubicBezTo>
                      <a:pt x="7678" y="0"/>
                      <a:pt x="9903" y="2225"/>
                      <a:pt x="9903" y="4952"/>
                    </a:cubicBezTo>
                    <a:lnTo>
                      <a:pt x="9903" y="123818"/>
                    </a:lnTo>
                    <a:cubicBezTo>
                      <a:pt x="9903" y="126544"/>
                      <a:pt x="7705" y="128769"/>
                      <a:pt x="4952" y="128769"/>
                    </a:cubicBezTo>
                    <a:close/>
                  </a:path>
                </a:pathLst>
              </a:custGeom>
              <a:grpFill/>
              <a:ln w="2775" cap="flat">
                <a:noFill/>
                <a:prstDash val="solid"/>
                <a:miter/>
              </a:ln>
            </p:spPr>
            <p:txBody>
              <a:bodyPr rtlCol="0" anchor="ctr"/>
              <a:lstStyle/>
              <a:p>
                <a:endParaRPr lang="en-GB" dirty="0"/>
              </a:p>
            </p:txBody>
          </p:sp>
          <p:sp>
            <p:nvSpPr>
              <p:cNvPr id="921" name="Freihandform: Form 920">
                <a:extLst>
                  <a:ext uri="{FF2B5EF4-FFF2-40B4-BE49-F238E27FC236}">
                    <a16:creationId xmlns:a16="http://schemas.microsoft.com/office/drawing/2014/main" id="{7D9B6F6E-5130-4FA6-B198-F7E08CD922CD}"/>
                  </a:ext>
                </a:extLst>
              </p:cNvPr>
              <p:cNvSpPr/>
              <p:nvPr/>
            </p:nvSpPr>
            <p:spPr>
              <a:xfrm>
                <a:off x="7917898" y="2513345"/>
                <a:ext cx="105869" cy="44898"/>
              </a:xfrm>
              <a:custGeom>
                <a:avLst/>
                <a:gdLst>
                  <a:gd name="connsiteX0" fmla="*/ 4952 w 105869"/>
                  <a:gd name="connsiteY0" fmla="*/ 44898 h 44898"/>
                  <a:gd name="connsiteX1" fmla="*/ 2059 w 105869"/>
                  <a:gd name="connsiteY1" fmla="*/ 43952 h 44898"/>
                  <a:gd name="connsiteX2" fmla="*/ 946 w 105869"/>
                  <a:gd name="connsiteY2" fmla="*/ 37026 h 44898"/>
                  <a:gd name="connsiteX3" fmla="*/ 73329 w 105869"/>
                  <a:gd name="connsiteY3" fmla="*/ 0 h 44898"/>
                  <a:gd name="connsiteX4" fmla="*/ 102538 w 105869"/>
                  <a:gd name="connsiteY4" fmla="*/ 4896 h 44898"/>
                  <a:gd name="connsiteX5" fmla="*/ 105598 w 105869"/>
                  <a:gd name="connsiteY5" fmla="*/ 11183 h 44898"/>
                  <a:gd name="connsiteX6" fmla="*/ 99311 w 105869"/>
                  <a:gd name="connsiteY6" fmla="*/ 14243 h 44898"/>
                  <a:gd name="connsiteX7" fmla="*/ 73329 w 105869"/>
                  <a:gd name="connsiteY7" fmla="*/ 9903 h 44898"/>
                  <a:gd name="connsiteX8" fmla="*/ 8958 w 105869"/>
                  <a:gd name="connsiteY8" fmla="*/ 42812 h 44898"/>
                  <a:gd name="connsiteX9" fmla="*/ 4952 w 105869"/>
                  <a:gd name="connsiteY9" fmla="*/ 44898 h 44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869" h="44898">
                    <a:moveTo>
                      <a:pt x="4952" y="44898"/>
                    </a:moveTo>
                    <a:cubicBezTo>
                      <a:pt x="3951" y="44898"/>
                      <a:pt x="2921" y="44592"/>
                      <a:pt x="2059" y="43952"/>
                    </a:cubicBezTo>
                    <a:cubicBezTo>
                      <a:pt x="-166" y="42339"/>
                      <a:pt x="-667" y="39251"/>
                      <a:pt x="946" y="37026"/>
                    </a:cubicBezTo>
                    <a:cubicBezTo>
                      <a:pt x="17721" y="13853"/>
                      <a:pt x="44760" y="0"/>
                      <a:pt x="73329" y="0"/>
                    </a:cubicBezTo>
                    <a:cubicBezTo>
                      <a:pt x="83343" y="0"/>
                      <a:pt x="93163" y="1641"/>
                      <a:pt x="102538" y="4896"/>
                    </a:cubicBezTo>
                    <a:cubicBezTo>
                      <a:pt x="105125" y="5786"/>
                      <a:pt x="106488" y="8624"/>
                      <a:pt x="105598" y="11183"/>
                    </a:cubicBezTo>
                    <a:cubicBezTo>
                      <a:pt x="104707" y="13770"/>
                      <a:pt x="101898" y="15133"/>
                      <a:pt x="99311" y="14243"/>
                    </a:cubicBezTo>
                    <a:cubicBezTo>
                      <a:pt x="90993" y="11350"/>
                      <a:pt x="82258" y="9903"/>
                      <a:pt x="73329" y="9903"/>
                    </a:cubicBezTo>
                    <a:cubicBezTo>
                      <a:pt x="47931" y="9903"/>
                      <a:pt x="23868" y="22199"/>
                      <a:pt x="8958" y="42812"/>
                    </a:cubicBezTo>
                    <a:cubicBezTo>
                      <a:pt x="8012" y="44203"/>
                      <a:pt x="6482" y="44898"/>
                      <a:pt x="4952" y="44898"/>
                    </a:cubicBezTo>
                    <a:close/>
                  </a:path>
                </a:pathLst>
              </a:custGeom>
              <a:grpFill/>
              <a:ln w="2775" cap="flat">
                <a:noFill/>
                <a:prstDash val="solid"/>
                <a:miter/>
              </a:ln>
            </p:spPr>
            <p:txBody>
              <a:bodyPr rtlCol="0" anchor="ctr"/>
              <a:lstStyle/>
              <a:p>
                <a:endParaRPr lang="en-GB" dirty="0"/>
              </a:p>
            </p:txBody>
          </p:sp>
          <p:sp>
            <p:nvSpPr>
              <p:cNvPr id="922" name="Freihandform: Form 921">
                <a:extLst>
                  <a:ext uri="{FF2B5EF4-FFF2-40B4-BE49-F238E27FC236}">
                    <a16:creationId xmlns:a16="http://schemas.microsoft.com/office/drawing/2014/main" id="{F8886092-A995-4363-AD4A-D94EEC737886}"/>
                  </a:ext>
                </a:extLst>
              </p:cNvPr>
              <p:cNvSpPr/>
              <p:nvPr/>
            </p:nvSpPr>
            <p:spPr>
              <a:xfrm>
                <a:off x="8048162" y="2540394"/>
                <a:ext cx="32360" cy="101275"/>
              </a:xfrm>
              <a:custGeom>
                <a:avLst/>
                <a:gdLst>
                  <a:gd name="connsiteX0" fmla="*/ 27381 w 32360"/>
                  <a:gd name="connsiteY0" fmla="*/ 101275 h 101275"/>
                  <a:gd name="connsiteX1" fmla="*/ 22429 w 32360"/>
                  <a:gd name="connsiteY1" fmla="*/ 96323 h 101275"/>
                  <a:gd name="connsiteX2" fmla="*/ 22429 w 32360"/>
                  <a:gd name="connsiteY2" fmla="*/ 62246 h 101275"/>
                  <a:gd name="connsiteX3" fmla="*/ 1315 w 32360"/>
                  <a:gd name="connsiteY3" fmla="*/ 8335 h 101275"/>
                  <a:gd name="connsiteX4" fmla="*/ 1593 w 32360"/>
                  <a:gd name="connsiteY4" fmla="*/ 1325 h 101275"/>
                  <a:gd name="connsiteX5" fmla="*/ 8603 w 32360"/>
                  <a:gd name="connsiteY5" fmla="*/ 1603 h 101275"/>
                  <a:gd name="connsiteX6" fmla="*/ 32360 w 32360"/>
                  <a:gd name="connsiteY6" fmla="*/ 62246 h 101275"/>
                  <a:gd name="connsiteX7" fmla="*/ 32360 w 32360"/>
                  <a:gd name="connsiteY7" fmla="*/ 96323 h 101275"/>
                  <a:gd name="connsiteX8" fmla="*/ 27381 w 32360"/>
                  <a:gd name="connsiteY8" fmla="*/ 101275 h 101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60" h="101275">
                    <a:moveTo>
                      <a:pt x="27381" y="101275"/>
                    </a:moveTo>
                    <a:cubicBezTo>
                      <a:pt x="24654" y="101275"/>
                      <a:pt x="22429" y="99050"/>
                      <a:pt x="22429" y="96323"/>
                    </a:cubicBezTo>
                    <a:lnTo>
                      <a:pt x="22429" y="62246"/>
                    </a:lnTo>
                    <a:cubicBezTo>
                      <a:pt x="22429" y="42190"/>
                      <a:pt x="14918" y="23051"/>
                      <a:pt x="1315" y="8335"/>
                    </a:cubicBezTo>
                    <a:cubicBezTo>
                      <a:pt x="-549" y="6332"/>
                      <a:pt x="-410" y="3189"/>
                      <a:pt x="1593" y="1325"/>
                    </a:cubicBezTo>
                    <a:cubicBezTo>
                      <a:pt x="3596" y="-539"/>
                      <a:pt x="6740" y="-428"/>
                      <a:pt x="8603" y="1603"/>
                    </a:cubicBezTo>
                    <a:cubicBezTo>
                      <a:pt x="23931" y="18155"/>
                      <a:pt x="32360" y="39686"/>
                      <a:pt x="32360" y="62246"/>
                    </a:cubicBezTo>
                    <a:lnTo>
                      <a:pt x="32360" y="96323"/>
                    </a:lnTo>
                    <a:cubicBezTo>
                      <a:pt x="32332" y="99077"/>
                      <a:pt x="30107" y="101275"/>
                      <a:pt x="27381" y="101275"/>
                    </a:cubicBezTo>
                    <a:close/>
                  </a:path>
                </a:pathLst>
              </a:custGeom>
              <a:grpFill/>
              <a:ln w="2775" cap="flat">
                <a:noFill/>
                <a:prstDash val="solid"/>
                <a:miter/>
              </a:ln>
            </p:spPr>
            <p:txBody>
              <a:bodyPr rtlCol="0" anchor="ctr"/>
              <a:lstStyle/>
              <a:p>
                <a:endParaRPr lang="en-GB" dirty="0"/>
              </a:p>
            </p:txBody>
          </p:sp>
          <p:sp>
            <p:nvSpPr>
              <p:cNvPr id="923" name="Freihandform: Form 922">
                <a:extLst>
                  <a:ext uri="{FF2B5EF4-FFF2-40B4-BE49-F238E27FC236}">
                    <a16:creationId xmlns:a16="http://schemas.microsoft.com/office/drawing/2014/main" id="{15C28CFF-C4A7-418B-8EDA-2DA6A776D96A}"/>
                  </a:ext>
                </a:extLst>
              </p:cNvPr>
              <p:cNvSpPr/>
              <p:nvPr/>
            </p:nvSpPr>
            <p:spPr>
              <a:xfrm>
                <a:off x="8070591" y="2669042"/>
                <a:ext cx="9903" cy="51268"/>
              </a:xfrm>
              <a:custGeom>
                <a:avLst/>
                <a:gdLst>
                  <a:gd name="connsiteX0" fmla="*/ 4952 w 9903"/>
                  <a:gd name="connsiteY0" fmla="*/ 51269 h 51268"/>
                  <a:gd name="connsiteX1" fmla="*/ 0 w 9903"/>
                  <a:gd name="connsiteY1" fmla="*/ 46317 h 51268"/>
                  <a:gd name="connsiteX2" fmla="*/ 0 w 9903"/>
                  <a:gd name="connsiteY2" fmla="*/ 4952 h 51268"/>
                  <a:gd name="connsiteX3" fmla="*/ 4952 w 9903"/>
                  <a:gd name="connsiteY3" fmla="*/ 0 h 51268"/>
                  <a:gd name="connsiteX4" fmla="*/ 9903 w 9903"/>
                  <a:gd name="connsiteY4" fmla="*/ 4952 h 51268"/>
                  <a:gd name="connsiteX5" fmla="*/ 9903 w 9903"/>
                  <a:gd name="connsiteY5" fmla="*/ 46317 h 51268"/>
                  <a:gd name="connsiteX6" fmla="*/ 4952 w 9903"/>
                  <a:gd name="connsiteY6" fmla="*/ 51269 h 512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51268">
                    <a:moveTo>
                      <a:pt x="4952" y="51269"/>
                    </a:moveTo>
                    <a:cubicBezTo>
                      <a:pt x="2225" y="51269"/>
                      <a:pt x="0" y="49043"/>
                      <a:pt x="0" y="46317"/>
                    </a:cubicBezTo>
                    <a:lnTo>
                      <a:pt x="0" y="4952"/>
                    </a:lnTo>
                    <a:cubicBezTo>
                      <a:pt x="0" y="2225"/>
                      <a:pt x="2225" y="0"/>
                      <a:pt x="4952" y="0"/>
                    </a:cubicBezTo>
                    <a:cubicBezTo>
                      <a:pt x="7678" y="0"/>
                      <a:pt x="9903" y="2225"/>
                      <a:pt x="9903" y="4952"/>
                    </a:cubicBezTo>
                    <a:lnTo>
                      <a:pt x="9903" y="46317"/>
                    </a:lnTo>
                    <a:cubicBezTo>
                      <a:pt x="9903" y="49043"/>
                      <a:pt x="7678" y="51269"/>
                      <a:pt x="4952" y="51269"/>
                    </a:cubicBezTo>
                    <a:close/>
                  </a:path>
                </a:pathLst>
              </a:custGeom>
              <a:grpFill/>
              <a:ln w="2775" cap="flat">
                <a:noFill/>
                <a:prstDash val="solid"/>
                <a:miter/>
              </a:ln>
            </p:spPr>
            <p:txBody>
              <a:bodyPr rtlCol="0" anchor="ctr"/>
              <a:lstStyle/>
              <a:p>
                <a:endParaRPr lang="en-GB" dirty="0"/>
              </a:p>
            </p:txBody>
          </p:sp>
          <p:sp>
            <p:nvSpPr>
              <p:cNvPr id="924" name="Freihandform: Form 923">
                <a:extLst>
                  <a:ext uri="{FF2B5EF4-FFF2-40B4-BE49-F238E27FC236}">
                    <a16:creationId xmlns:a16="http://schemas.microsoft.com/office/drawing/2014/main" id="{43D38593-F2C8-4A6D-85D1-7E0805E6BFDE}"/>
                  </a:ext>
                </a:extLst>
              </p:cNvPr>
              <p:cNvSpPr/>
              <p:nvPr/>
            </p:nvSpPr>
            <p:spPr>
              <a:xfrm>
                <a:off x="7925966" y="2544547"/>
                <a:ext cx="36562" cy="114786"/>
              </a:xfrm>
              <a:custGeom>
                <a:avLst/>
                <a:gdLst>
                  <a:gd name="connsiteX0" fmla="*/ 4952 w 36562"/>
                  <a:gd name="connsiteY0" fmla="*/ 114786 h 114786"/>
                  <a:gd name="connsiteX1" fmla="*/ 0 w 36562"/>
                  <a:gd name="connsiteY1" fmla="*/ 109835 h 114786"/>
                  <a:gd name="connsiteX2" fmla="*/ 0 w 36562"/>
                  <a:gd name="connsiteY2" fmla="*/ 55006 h 114786"/>
                  <a:gd name="connsiteX3" fmla="*/ 28847 w 36562"/>
                  <a:gd name="connsiteY3" fmla="*/ 844 h 114786"/>
                  <a:gd name="connsiteX4" fmla="*/ 35718 w 36562"/>
                  <a:gd name="connsiteY4" fmla="*/ 2179 h 114786"/>
                  <a:gd name="connsiteX5" fmla="*/ 34383 w 36562"/>
                  <a:gd name="connsiteY5" fmla="*/ 9050 h 114786"/>
                  <a:gd name="connsiteX6" fmla="*/ 9903 w 36562"/>
                  <a:gd name="connsiteY6" fmla="*/ 55006 h 114786"/>
                  <a:gd name="connsiteX7" fmla="*/ 9903 w 36562"/>
                  <a:gd name="connsiteY7" fmla="*/ 109835 h 114786"/>
                  <a:gd name="connsiteX8" fmla="*/ 4952 w 36562"/>
                  <a:gd name="connsiteY8" fmla="*/ 114786 h 11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62" h="114786">
                    <a:moveTo>
                      <a:pt x="4952" y="114786"/>
                    </a:moveTo>
                    <a:cubicBezTo>
                      <a:pt x="2225" y="114786"/>
                      <a:pt x="0" y="112561"/>
                      <a:pt x="0" y="109835"/>
                    </a:cubicBezTo>
                    <a:lnTo>
                      <a:pt x="0" y="55006"/>
                    </a:lnTo>
                    <a:cubicBezTo>
                      <a:pt x="0" y="33252"/>
                      <a:pt x="10793" y="13000"/>
                      <a:pt x="28847" y="844"/>
                    </a:cubicBezTo>
                    <a:cubicBezTo>
                      <a:pt x="31128" y="-686"/>
                      <a:pt x="34188" y="-74"/>
                      <a:pt x="35718" y="2179"/>
                    </a:cubicBezTo>
                    <a:cubicBezTo>
                      <a:pt x="37248" y="4460"/>
                      <a:pt x="36636" y="7520"/>
                      <a:pt x="34383" y="9050"/>
                    </a:cubicBezTo>
                    <a:cubicBezTo>
                      <a:pt x="19055" y="19371"/>
                      <a:pt x="9903" y="36534"/>
                      <a:pt x="9903" y="55006"/>
                    </a:cubicBezTo>
                    <a:lnTo>
                      <a:pt x="9903" y="109835"/>
                    </a:lnTo>
                    <a:cubicBezTo>
                      <a:pt x="9903" y="112561"/>
                      <a:pt x="7678" y="114786"/>
                      <a:pt x="4952" y="114786"/>
                    </a:cubicBezTo>
                    <a:close/>
                  </a:path>
                </a:pathLst>
              </a:custGeom>
              <a:grpFill/>
              <a:ln w="2775" cap="flat">
                <a:noFill/>
                <a:prstDash val="solid"/>
                <a:miter/>
              </a:ln>
            </p:spPr>
            <p:txBody>
              <a:bodyPr rtlCol="0" anchor="ctr"/>
              <a:lstStyle/>
              <a:p>
                <a:endParaRPr lang="en-GB" dirty="0"/>
              </a:p>
            </p:txBody>
          </p:sp>
          <p:sp>
            <p:nvSpPr>
              <p:cNvPr id="925" name="Freihandform: Form 924">
                <a:extLst>
                  <a:ext uri="{FF2B5EF4-FFF2-40B4-BE49-F238E27FC236}">
                    <a16:creationId xmlns:a16="http://schemas.microsoft.com/office/drawing/2014/main" id="{A6D513D7-4729-4E21-B167-9A668DE9F4C2}"/>
                  </a:ext>
                </a:extLst>
              </p:cNvPr>
              <p:cNvSpPr/>
              <p:nvPr/>
            </p:nvSpPr>
            <p:spPr>
              <a:xfrm>
                <a:off x="7986275" y="2534291"/>
                <a:ext cx="70212" cy="70212"/>
              </a:xfrm>
              <a:custGeom>
                <a:avLst/>
                <a:gdLst>
                  <a:gd name="connsiteX0" fmla="*/ 65261 w 70212"/>
                  <a:gd name="connsiteY0" fmla="*/ 70213 h 70212"/>
                  <a:gd name="connsiteX1" fmla="*/ 60309 w 70212"/>
                  <a:gd name="connsiteY1" fmla="*/ 65261 h 70212"/>
                  <a:gd name="connsiteX2" fmla="*/ 4952 w 70212"/>
                  <a:gd name="connsiteY2" fmla="*/ 9903 h 70212"/>
                  <a:gd name="connsiteX3" fmla="*/ 0 w 70212"/>
                  <a:gd name="connsiteY3" fmla="*/ 4952 h 70212"/>
                  <a:gd name="connsiteX4" fmla="*/ 4952 w 70212"/>
                  <a:gd name="connsiteY4" fmla="*/ 0 h 70212"/>
                  <a:gd name="connsiteX5" fmla="*/ 70213 w 70212"/>
                  <a:gd name="connsiteY5" fmla="*/ 65261 h 70212"/>
                  <a:gd name="connsiteX6" fmla="*/ 65261 w 70212"/>
                  <a:gd name="connsiteY6" fmla="*/ 70213 h 70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2" h="70212">
                    <a:moveTo>
                      <a:pt x="65261" y="70213"/>
                    </a:moveTo>
                    <a:cubicBezTo>
                      <a:pt x="62535" y="70213"/>
                      <a:pt x="60309" y="67987"/>
                      <a:pt x="60309" y="65261"/>
                    </a:cubicBezTo>
                    <a:cubicBezTo>
                      <a:pt x="60309" y="34745"/>
                      <a:pt x="35468" y="9903"/>
                      <a:pt x="4952" y="9903"/>
                    </a:cubicBezTo>
                    <a:cubicBezTo>
                      <a:pt x="2225" y="9903"/>
                      <a:pt x="0" y="7678"/>
                      <a:pt x="0" y="4952"/>
                    </a:cubicBezTo>
                    <a:cubicBezTo>
                      <a:pt x="0" y="2225"/>
                      <a:pt x="2225" y="0"/>
                      <a:pt x="4952" y="0"/>
                    </a:cubicBezTo>
                    <a:cubicBezTo>
                      <a:pt x="40920" y="0"/>
                      <a:pt x="70213" y="29265"/>
                      <a:pt x="70213" y="65261"/>
                    </a:cubicBezTo>
                    <a:cubicBezTo>
                      <a:pt x="70213" y="68015"/>
                      <a:pt x="67987" y="70213"/>
                      <a:pt x="65261" y="70213"/>
                    </a:cubicBezTo>
                    <a:close/>
                  </a:path>
                </a:pathLst>
              </a:custGeom>
              <a:grpFill/>
              <a:ln w="2775" cap="flat">
                <a:noFill/>
                <a:prstDash val="solid"/>
                <a:miter/>
              </a:ln>
            </p:spPr>
            <p:txBody>
              <a:bodyPr rtlCol="0" anchor="ctr"/>
              <a:lstStyle/>
              <a:p>
                <a:endParaRPr lang="en-GB" dirty="0"/>
              </a:p>
            </p:txBody>
          </p:sp>
          <p:sp>
            <p:nvSpPr>
              <p:cNvPr id="926" name="Freihandform: Form 925">
                <a:extLst>
                  <a:ext uri="{FF2B5EF4-FFF2-40B4-BE49-F238E27FC236}">
                    <a16:creationId xmlns:a16="http://schemas.microsoft.com/office/drawing/2014/main" id="{AF571E84-24D3-4B2B-B203-2F59E241504B}"/>
                  </a:ext>
                </a:extLst>
              </p:cNvPr>
              <p:cNvSpPr/>
              <p:nvPr/>
            </p:nvSpPr>
            <p:spPr>
              <a:xfrm>
                <a:off x="8045694" y="2629818"/>
                <a:ext cx="9903" cy="109074"/>
              </a:xfrm>
              <a:custGeom>
                <a:avLst/>
                <a:gdLst>
                  <a:gd name="connsiteX0" fmla="*/ 4952 w 9903"/>
                  <a:gd name="connsiteY0" fmla="*/ 109074 h 109074"/>
                  <a:gd name="connsiteX1" fmla="*/ 0 w 9903"/>
                  <a:gd name="connsiteY1" fmla="*/ 104123 h 109074"/>
                  <a:gd name="connsiteX2" fmla="*/ 0 w 9903"/>
                  <a:gd name="connsiteY2" fmla="*/ 4952 h 109074"/>
                  <a:gd name="connsiteX3" fmla="*/ 4952 w 9903"/>
                  <a:gd name="connsiteY3" fmla="*/ 0 h 109074"/>
                  <a:gd name="connsiteX4" fmla="*/ 9903 w 9903"/>
                  <a:gd name="connsiteY4" fmla="*/ 4952 h 109074"/>
                  <a:gd name="connsiteX5" fmla="*/ 9903 w 9903"/>
                  <a:gd name="connsiteY5" fmla="*/ 104123 h 109074"/>
                  <a:gd name="connsiteX6" fmla="*/ 4952 w 9903"/>
                  <a:gd name="connsiteY6" fmla="*/ 109074 h 10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09074">
                    <a:moveTo>
                      <a:pt x="4952" y="109074"/>
                    </a:moveTo>
                    <a:cubicBezTo>
                      <a:pt x="2225" y="109074"/>
                      <a:pt x="0" y="106849"/>
                      <a:pt x="0" y="104123"/>
                    </a:cubicBezTo>
                    <a:lnTo>
                      <a:pt x="0" y="4952"/>
                    </a:lnTo>
                    <a:cubicBezTo>
                      <a:pt x="0" y="2225"/>
                      <a:pt x="2225" y="0"/>
                      <a:pt x="4952" y="0"/>
                    </a:cubicBezTo>
                    <a:cubicBezTo>
                      <a:pt x="7678" y="0"/>
                      <a:pt x="9903" y="2225"/>
                      <a:pt x="9903" y="4952"/>
                    </a:cubicBezTo>
                    <a:lnTo>
                      <a:pt x="9903" y="104123"/>
                    </a:lnTo>
                    <a:cubicBezTo>
                      <a:pt x="9903" y="106849"/>
                      <a:pt x="7706" y="109074"/>
                      <a:pt x="4952" y="109074"/>
                    </a:cubicBezTo>
                    <a:close/>
                  </a:path>
                </a:pathLst>
              </a:custGeom>
              <a:grpFill/>
              <a:ln w="2775" cap="flat">
                <a:noFill/>
                <a:prstDash val="solid"/>
                <a:miter/>
              </a:ln>
            </p:spPr>
            <p:txBody>
              <a:bodyPr rtlCol="0" anchor="ctr"/>
              <a:lstStyle/>
              <a:p>
                <a:endParaRPr lang="en-GB" dirty="0"/>
              </a:p>
            </p:txBody>
          </p:sp>
          <p:sp>
            <p:nvSpPr>
              <p:cNvPr id="927" name="Freihandform: Form 926">
                <a:extLst>
                  <a:ext uri="{FF2B5EF4-FFF2-40B4-BE49-F238E27FC236}">
                    <a16:creationId xmlns:a16="http://schemas.microsoft.com/office/drawing/2014/main" id="{C9991CFA-1726-4633-B759-DF3E13DFFC19}"/>
                  </a:ext>
                </a:extLst>
              </p:cNvPr>
              <p:cNvSpPr/>
              <p:nvPr/>
            </p:nvSpPr>
            <p:spPr>
              <a:xfrm>
                <a:off x="7925966" y="2682784"/>
                <a:ext cx="9903" cy="57277"/>
              </a:xfrm>
              <a:custGeom>
                <a:avLst/>
                <a:gdLst>
                  <a:gd name="connsiteX0" fmla="*/ 4952 w 9903"/>
                  <a:gd name="connsiteY0" fmla="*/ 57277 h 57277"/>
                  <a:gd name="connsiteX1" fmla="*/ 0 w 9903"/>
                  <a:gd name="connsiteY1" fmla="*/ 52326 h 57277"/>
                  <a:gd name="connsiteX2" fmla="*/ 0 w 9903"/>
                  <a:gd name="connsiteY2" fmla="*/ 4952 h 57277"/>
                  <a:gd name="connsiteX3" fmla="*/ 4952 w 9903"/>
                  <a:gd name="connsiteY3" fmla="*/ 0 h 57277"/>
                  <a:gd name="connsiteX4" fmla="*/ 9903 w 9903"/>
                  <a:gd name="connsiteY4" fmla="*/ 4952 h 57277"/>
                  <a:gd name="connsiteX5" fmla="*/ 9903 w 9903"/>
                  <a:gd name="connsiteY5" fmla="*/ 52326 h 57277"/>
                  <a:gd name="connsiteX6" fmla="*/ 4952 w 9903"/>
                  <a:gd name="connsiteY6" fmla="*/ 57277 h 57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57277">
                    <a:moveTo>
                      <a:pt x="4952" y="57277"/>
                    </a:moveTo>
                    <a:cubicBezTo>
                      <a:pt x="2225" y="57277"/>
                      <a:pt x="0" y="55052"/>
                      <a:pt x="0" y="52326"/>
                    </a:cubicBezTo>
                    <a:lnTo>
                      <a:pt x="0" y="4952"/>
                    </a:lnTo>
                    <a:cubicBezTo>
                      <a:pt x="0" y="2225"/>
                      <a:pt x="2225" y="0"/>
                      <a:pt x="4952" y="0"/>
                    </a:cubicBezTo>
                    <a:cubicBezTo>
                      <a:pt x="7678" y="0"/>
                      <a:pt x="9903" y="2225"/>
                      <a:pt x="9903" y="4952"/>
                    </a:cubicBezTo>
                    <a:lnTo>
                      <a:pt x="9903" y="52326"/>
                    </a:lnTo>
                    <a:cubicBezTo>
                      <a:pt x="9903" y="55052"/>
                      <a:pt x="7678" y="57277"/>
                      <a:pt x="4952" y="57277"/>
                    </a:cubicBezTo>
                    <a:close/>
                  </a:path>
                </a:pathLst>
              </a:custGeom>
              <a:grpFill/>
              <a:ln w="2775" cap="flat">
                <a:noFill/>
                <a:prstDash val="solid"/>
                <a:miter/>
              </a:ln>
            </p:spPr>
            <p:txBody>
              <a:bodyPr rtlCol="0" anchor="ctr"/>
              <a:lstStyle/>
              <a:p>
                <a:endParaRPr lang="en-GB" dirty="0"/>
              </a:p>
            </p:txBody>
          </p:sp>
          <p:sp>
            <p:nvSpPr>
              <p:cNvPr id="928" name="Freihandform: Form 927">
                <a:extLst>
                  <a:ext uri="{FF2B5EF4-FFF2-40B4-BE49-F238E27FC236}">
                    <a16:creationId xmlns:a16="http://schemas.microsoft.com/office/drawing/2014/main" id="{55BD2178-A309-44FA-B5A5-F98514D86F4E}"/>
                  </a:ext>
                </a:extLst>
              </p:cNvPr>
              <p:cNvSpPr/>
              <p:nvPr/>
            </p:nvSpPr>
            <p:spPr>
              <a:xfrm>
                <a:off x="7957817" y="2688848"/>
                <a:ext cx="9903" cy="59307"/>
              </a:xfrm>
              <a:custGeom>
                <a:avLst/>
                <a:gdLst>
                  <a:gd name="connsiteX0" fmla="*/ 4952 w 9903"/>
                  <a:gd name="connsiteY0" fmla="*/ 59308 h 59307"/>
                  <a:gd name="connsiteX1" fmla="*/ 0 w 9903"/>
                  <a:gd name="connsiteY1" fmla="*/ 54356 h 59307"/>
                  <a:gd name="connsiteX2" fmla="*/ 0 w 9903"/>
                  <a:gd name="connsiteY2" fmla="*/ 4952 h 59307"/>
                  <a:gd name="connsiteX3" fmla="*/ 4952 w 9903"/>
                  <a:gd name="connsiteY3" fmla="*/ 0 h 59307"/>
                  <a:gd name="connsiteX4" fmla="*/ 9903 w 9903"/>
                  <a:gd name="connsiteY4" fmla="*/ 4952 h 59307"/>
                  <a:gd name="connsiteX5" fmla="*/ 9903 w 9903"/>
                  <a:gd name="connsiteY5" fmla="*/ 54356 h 59307"/>
                  <a:gd name="connsiteX6" fmla="*/ 4952 w 9903"/>
                  <a:gd name="connsiteY6" fmla="*/ 59308 h 59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59307">
                    <a:moveTo>
                      <a:pt x="4952" y="59308"/>
                    </a:moveTo>
                    <a:cubicBezTo>
                      <a:pt x="2226" y="59308"/>
                      <a:pt x="0" y="57083"/>
                      <a:pt x="0" y="54356"/>
                    </a:cubicBezTo>
                    <a:lnTo>
                      <a:pt x="0" y="4952"/>
                    </a:lnTo>
                    <a:cubicBezTo>
                      <a:pt x="0" y="2225"/>
                      <a:pt x="2226" y="0"/>
                      <a:pt x="4952" y="0"/>
                    </a:cubicBezTo>
                    <a:cubicBezTo>
                      <a:pt x="7678" y="0"/>
                      <a:pt x="9903" y="2225"/>
                      <a:pt x="9903" y="4952"/>
                    </a:cubicBezTo>
                    <a:lnTo>
                      <a:pt x="9903" y="54356"/>
                    </a:lnTo>
                    <a:cubicBezTo>
                      <a:pt x="9903" y="57083"/>
                      <a:pt x="7678" y="59308"/>
                      <a:pt x="4952" y="59308"/>
                    </a:cubicBezTo>
                    <a:close/>
                  </a:path>
                </a:pathLst>
              </a:custGeom>
              <a:grpFill/>
              <a:ln w="2775" cap="flat">
                <a:noFill/>
                <a:prstDash val="solid"/>
                <a:miter/>
              </a:ln>
            </p:spPr>
            <p:txBody>
              <a:bodyPr rtlCol="0" anchor="ctr"/>
              <a:lstStyle/>
              <a:p>
                <a:endParaRPr lang="en-GB" dirty="0"/>
              </a:p>
            </p:txBody>
          </p:sp>
          <p:sp>
            <p:nvSpPr>
              <p:cNvPr id="929" name="Freihandform: Form 928">
                <a:extLst>
                  <a:ext uri="{FF2B5EF4-FFF2-40B4-BE49-F238E27FC236}">
                    <a16:creationId xmlns:a16="http://schemas.microsoft.com/office/drawing/2014/main" id="{88536E31-6915-4A8E-83B2-124AF4C85CD5}"/>
                  </a:ext>
                </a:extLst>
              </p:cNvPr>
              <p:cNvSpPr/>
              <p:nvPr/>
            </p:nvSpPr>
            <p:spPr>
              <a:xfrm>
                <a:off x="7957817" y="2570816"/>
                <a:ext cx="38361" cy="66624"/>
              </a:xfrm>
              <a:custGeom>
                <a:avLst/>
                <a:gdLst>
                  <a:gd name="connsiteX0" fmla="*/ 4952 w 38361"/>
                  <a:gd name="connsiteY0" fmla="*/ 66624 h 66624"/>
                  <a:gd name="connsiteX1" fmla="*/ 0 w 38361"/>
                  <a:gd name="connsiteY1" fmla="*/ 61673 h 66624"/>
                  <a:gd name="connsiteX2" fmla="*/ 0 w 38361"/>
                  <a:gd name="connsiteY2" fmla="*/ 33437 h 66624"/>
                  <a:gd name="connsiteX3" fmla="*/ 33409 w 38361"/>
                  <a:gd name="connsiteY3" fmla="*/ 0 h 66624"/>
                  <a:gd name="connsiteX4" fmla="*/ 38361 w 38361"/>
                  <a:gd name="connsiteY4" fmla="*/ 4952 h 66624"/>
                  <a:gd name="connsiteX5" fmla="*/ 33409 w 38361"/>
                  <a:gd name="connsiteY5" fmla="*/ 9903 h 66624"/>
                  <a:gd name="connsiteX6" fmla="*/ 9903 w 38361"/>
                  <a:gd name="connsiteY6" fmla="*/ 33409 h 66624"/>
                  <a:gd name="connsiteX7" fmla="*/ 9903 w 38361"/>
                  <a:gd name="connsiteY7" fmla="*/ 61645 h 66624"/>
                  <a:gd name="connsiteX8" fmla="*/ 4952 w 38361"/>
                  <a:gd name="connsiteY8" fmla="*/ 66624 h 66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361" h="66624">
                    <a:moveTo>
                      <a:pt x="4952" y="66624"/>
                    </a:moveTo>
                    <a:cubicBezTo>
                      <a:pt x="2226" y="66624"/>
                      <a:pt x="0" y="64399"/>
                      <a:pt x="0" y="61673"/>
                    </a:cubicBezTo>
                    <a:lnTo>
                      <a:pt x="0" y="33437"/>
                    </a:lnTo>
                    <a:cubicBezTo>
                      <a:pt x="0" y="15022"/>
                      <a:pt x="14994" y="0"/>
                      <a:pt x="33409" y="0"/>
                    </a:cubicBezTo>
                    <a:cubicBezTo>
                      <a:pt x="36136" y="0"/>
                      <a:pt x="38361" y="2225"/>
                      <a:pt x="38361" y="4952"/>
                    </a:cubicBezTo>
                    <a:cubicBezTo>
                      <a:pt x="38361" y="7678"/>
                      <a:pt x="36136" y="9903"/>
                      <a:pt x="33409" y="9903"/>
                    </a:cubicBezTo>
                    <a:cubicBezTo>
                      <a:pt x="20446" y="9903"/>
                      <a:pt x="9903" y="20446"/>
                      <a:pt x="9903" y="33409"/>
                    </a:cubicBezTo>
                    <a:lnTo>
                      <a:pt x="9903" y="61645"/>
                    </a:lnTo>
                    <a:cubicBezTo>
                      <a:pt x="9903" y="64399"/>
                      <a:pt x="7678" y="66624"/>
                      <a:pt x="4952" y="66624"/>
                    </a:cubicBezTo>
                    <a:close/>
                  </a:path>
                </a:pathLst>
              </a:custGeom>
              <a:grpFill/>
              <a:ln w="2775" cap="flat">
                <a:noFill/>
                <a:prstDash val="solid"/>
                <a:miter/>
              </a:ln>
            </p:spPr>
            <p:txBody>
              <a:bodyPr rtlCol="0" anchor="ctr"/>
              <a:lstStyle/>
              <a:p>
                <a:endParaRPr lang="en-GB" dirty="0"/>
              </a:p>
            </p:txBody>
          </p:sp>
          <p:sp>
            <p:nvSpPr>
              <p:cNvPr id="930" name="Freihandform: Form 929">
                <a:extLst>
                  <a:ext uri="{FF2B5EF4-FFF2-40B4-BE49-F238E27FC236}">
                    <a16:creationId xmlns:a16="http://schemas.microsoft.com/office/drawing/2014/main" id="{95D1029F-57F1-4373-B9CA-47D168DB17EB}"/>
                  </a:ext>
                </a:extLst>
              </p:cNvPr>
              <p:cNvSpPr/>
              <p:nvPr/>
            </p:nvSpPr>
            <p:spPr>
              <a:xfrm>
                <a:off x="8014761" y="2599302"/>
                <a:ext cx="9903" cy="149076"/>
              </a:xfrm>
              <a:custGeom>
                <a:avLst/>
                <a:gdLst>
                  <a:gd name="connsiteX0" fmla="*/ 4952 w 9903"/>
                  <a:gd name="connsiteY0" fmla="*/ 149077 h 149076"/>
                  <a:gd name="connsiteX1" fmla="*/ 0 w 9903"/>
                  <a:gd name="connsiteY1" fmla="*/ 144125 h 149076"/>
                  <a:gd name="connsiteX2" fmla="*/ 0 w 9903"/>
                  <a:gd name="connsiteY2" fmla="*/ 4952 h 149076"/>
                  <a:gd name="connsiteX3" fmla="*/ 4952 w 9903"/>
                  <a:gd name="connsiteY3" fmla="*/ 0 h 149076"/>
                  <a:gd name="connsiteX4" fmla="*/ 9903 w 9903"/>
                  <a:gd name="connsiteY4" fmla="*/ 4952 h 149076"/>
                  <a:gd name="connsiteX5" fmla="*/ 9903 w 9903"/>
                  <a:gd name="connsiteY5" fmla="*/ 144125 h 149076"/>
                  <a:gd name="connsiteX6" fmla="*/ 4952 w 9903"/>
                  <a:gd name="connsiteY6" fmla="*/ 149077 h 14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49076">
                    <a:moveTo>
                      <a:pt x="4952" y="149077"/>
                    </a:moveTo>
                    <a:cubicBezTo>
                      <a:pt x="2225" y="149077"/>
                      <a:pt x="0" y="146851"/>
                      <a:pt x="0" y="144125"/>
                    </a:cubicBezTo>
                    <a:lnTo>
                      <a:pt x="0" y="4952"/>
                    </a:lnTo>
                    <a:cubicBezTo>
                      <a:pt x="0" y="2225"/>
                      <a:pt x="2225" y="0"/>
                      <a:pt x="4952" y="0"/>
                    </a:cubicBezTo>
                    <a:cubicBezTo>
                      <a:pt x="7678" y="0"/>
                      <a:pt x="9903" y="2225"/>
                      <a:pt x="9903" y="4952"/>
                    </a:cubicBezTo>
                    <a:lnTo>
                      <a:pt x="9903" y="144125"/>
                    </a:lnTo>
                    <a:cubicBezTo>
                      <a:pt x="9903" y="146851"/>
                      <a:pt x="7678" y="149077"/>
                      <a:pt x="4952" y="149077"/>
                    </a:cubicBezTo>
                    <a:close/>
                  </a:path>
                </a:pathLst>
              </a:custGeom>
              <a:grpFill/>
              <a:ln w="2775" cap="flat">
                <a:noFill/>
                <a:prstDash val="solid"/>
                <a:miter/>
              </a:ln>
            </p:spPr>
            <p:txBody>
              <a:bodyPr rtlCol="0" anchor="ctr"/>
              <a:lstStyle/>
              <a:p>
                <a:endParaRPr lang="en-GB" dirty="0"/>
              </a:p>
            </p:txBody>
          </p:sp>
          <p:sp>
            <p:nvSpPr>
              <p:cNvPr id="931" name="Freihandform: Form 930">
                <a:extLst>
                  <a:ext uri="{FF2B5EF4-FFF2-40B4-BE49-F238E27FC236}">
                    <a16:creationId xmlns:a16="http://schemas.microsoft.com/office/drawing/2014/main" id="{5FE54744-53F7-437D-BAB5-449AFE6567AC}"/>
                  </a:ext>
                </a:extLst>
              </p:cNvPr>
              <p:cNvSpPr/>
              <p:nvPr/>
            </p:nvSpPr>
            <p:spPr>
              <a:xfrm>
                <a:off x="7986136" y="2682700"/>
                <a:ext cx="9903" cy="77361"/>
              </a:xfrm>
              <a:custGeom>
                <a:avLst/>
                <a:gdLst>
                  <a:gd name="connsiteX0" fmla="*/ 4952 w 9903"/>
                  <a:gd name="connsiteY0" fmla="*/ 77362 h 77361"/>
                  <a:gd name="connsiteX1" fmla="*/ 0 w 9903"/>
                  <a:gd name="connsiteY1" fmla="*/ 72410 h 77361"/>
                  <a:gd name="connsiteX2" fmla="*/ 0 w 9903"/>
                  <a:gd name="connsiteY2" fmla="*/ 4952 h 77361"/>
                  <a:gd name="connsiteX3" fmla="*/ 4952 w 9903"/>
                  <a:gd name="connsiteY3" fmla="*/ 0 h 77361"/>
                  <a:gd name="connsiteX4" fmla="*/ 9903 w 9903"/>
                  <a:gd name="connsiteY4" fmla="*/ 4952 h 77361"/>
                  <a:gd name="connsiteX5" fmla="*/ 9903 w 9903"/>
                  <a:gd name="connsiteY5" fmla="*/ 72410 h 77361"/>
                  <a:gd name="connsiteX6" fmla="*/ 4952 w 9903"/>
                  <a:gd name="connsiteY6" fmla="*/ 77362 h 77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77361">
                    <a:moveTo>
                      <a:pt x="4952" y="77362"/>
                    </a:moveTo>
                    <a:cubicBezTo>
                      <a:pt x="2226" y="77362"/>
                      <a:pt x="0" y="75136"/>
                      <a:pt x="0" y="72410"/>
                    </a:cubicBezTo>
                    <a:lnTo>
                      <a:pt x="0" y="4952"/>
                    </a:lnTo>
                    <a:cubicBezTo>
                      <a:pt x="0" y="2225"/>
                      <a:pt x="2226" y="0"/>
                      <a:pt x="4952" y="0"/>
                    </a:cubicBezTo>
                    <a:cubicBezTo>
                      <a:pt x="7678" y="0"/>
                      <a:pt x="9903" y="2225"/>
                      <a:pt x="9903" y="4952"/>
                    </a:cubicBezTo>
                    <a:lnTo>
                      <a:pt x="9903" y="72410"/>
                    </a:lnTo>
                    <a:cubicBezTo>
                      <a:pt x="9903" y="75164"/>
                      <a:pt x="7706" y="77362"/>
                      <a:pt x="4952" y="77362"/>
                    </a:cubicBezTo>
                    <a:close/>
                  </a:path>
                </a:pathLst>
              </a:custGeom>
              <a:grpFill/>
              <a:ln w="2775" cap="flat">
                <a:noFill/>
                <a:prstDash val="solid"/>
                <a:miter/>
              </a:ln>
            </p:spPr>
            <p:txBody>
              <a:bodyPr rtlCol="0" anchor="ctr"/>
              <a:lstStyle/>
              <a:p>
                <a:endParaRPr lang="en-GB" dirty="0"/>
              </a:p>
            </p:txBody>
          </p:sp>
          <p:sp>
            <p:nvSpPr>
              <p:cNvPr id="932" name="Freihandform: Form 931">
                <a:extLst>
                  <a:ext uri="{FF2B5EF4-FFF2-40B4-BE49-F238E27FC236}">
                    <a16:creationId xmlns:a16="http://schemas.microsoft.com/office/drawing/2014/main" id="{BC1BEEF6-9437-457E-BEE0-7B128E9FD9D8}"/>
                  </a:ext>
                </a:extLst>
              </p:cNvPr>
              <p:cNvSpPr/>
              <p:nvPr/>
            </p:nvSpPr>
            <p:spPr>
              <a:xfrm>
                <a:off x="7986136" y="2599942"/>
                <a:ext cx="9903" cy="65094"/>
              </a:xfrm>
              <a:custGeom>
                <a:avLst/>
                <a:gdLst>
                  <a:gd name="connsiteX0" fmla="*/ 4952 w 9903"/>
                  <a:gd name="connsiteY0" fmla="*/ 65094 h 65094"/>
                  <a:gd name="connsiteX1" fmla="*/ 0 w 9903"/>
                  <a:gd name="connsiteY1" fmla="*/ 60142 h 65094"/>
                  <a:gd name="connsiteX2" fmla="*/ 0 w 9903"/>
                  <a:gd name="connsiteY2" fmla="*/ 4952 h 65094"/>
                  <a:gd name="connsiteX3" fmla="*/ 4952 w 9903"/>
                  <a:gd name="connsiteY3" fmla="*/ 0 h 65094"/>
                  <a:gd name="connsiteX4" fmla="*/ 9903 w 9903"/>
                  <a:gd name="connsiteY4" fmla="*/ 4952 h 65094"/>
                  <a:gd name="connsiteX5" fmla="*/ 9903 w 9903"/>
                  <a:gd name="connsiteY5" fmla="*/ 60142 h 65094"/>
                  <a:gd name="connsiteX6" fmla="*/ 4952 w 9903"/>
                  <a:gd name="connsiteY6" fmla="*/ 65094 h 65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65094">
                    <a:moveTo>
                      <a:pt x="4952" y="65094"/>
                    </a:moveTo>
                    <a:cubicBezTo>
                      <a:pt x="2226" y="65094"/>
                      <a:pt x="0" y="62869"/>
                      <a:pt x="0" y="60142"/>
                    </a:cubicBezTo>
                    <a:lnTo>
                      <a:pt x="0" y="4952"/>
                    </a:lnTo>
                    <a:cubicBezTo>
                      <a:pt x="0" y="2225"/>
                      <a:pt x="2226" y="0"/>
                      <a:pt x="4952" y="0"/>
                    </a:cubicBezTo>
                    <a:cubicBezTo>
                      <a:pt x="7678" y="0"/>
                      <a:pt x="9903" y="2225"/>
                      <a:pt x="9903" y="4952"/>
                    </a:cubicBezTo>
                    <a:lnTo>
                      <a:pt x="9903" y="60142"/>
                    </a:lnTo>
                    <a:cubicBezTo>
                      <a:pt x="9903" y="62869"/>
                      <a:pt x="7706" y="65094"/>
                      <a:pt x="4952" y="65094"/>
                    </a:cubicBezTo>
                    <a:close/>
                  </a:path>
                </a:pathLst>
              </a:custGeom>
              <a:grpFill/>
              <a:ln w="2775" cap="flat">
                <a:noFill/>
                <a:prstDash val="solid"/>
                <a:miter/>
              </a:ln>
            </p:spPr>
            <p:txBody>
              <a:bodyPr rtlCol="0" anchor="ctr"/>
              <a:lstStyle/>
              <a:p>
                <a:endParaRPr lang="en-GB" dirty="0"/>
              </a:p>
            </p:txBody>
          </p:sp>
        </p:grpSp>
        <p:grpSp>
          <p:nvGrpSpPr>
            <p:cNvPr id="905" name="Group 768">
              <a:extLst>
                <a:ext uri="{FF2B5EF4-FFF2-40B4-BE49-F238E27FC236}">
                  <a16:creationId xmlns:a16="http://schemas.microsoft.com/office/drawing/2014/main" id="{B9563D6E-2FD5-461B-938A-E20A274B2CEC}"/>
                </a:ext>
              </a:extLst>
            </p:cNvPr>
            <p:cNvGrpSpPr/>
            <p:nvPr/>
          </p:nvGrpSpPr>
          <p:grpSpPr>
            <a:xfrm>
              <a:off x="8210999" y="2449341"/>
              <a:ext cx="262515" cy="432000"/>
              <a:chOff x="7825153" y="2457987"/>
              <a:chExt cx="332202" cy="546679"/>
            </a:xfrm>
            <a:solidFill>
              <a:schemeClr val="tx2"/>
            </a:solidFill>
          </p:grpSpPr>
          <p:sp>
            <p:nvSpPr>
              <p:cNvPr id="906" name="Freihandform: Form 905">
                <a:extLst>
                  <a:ext uri="{FF2B5EF4-FFF2-40B4-BE49-F238E27FC236}">
                    <a16:creationId xmlns:a16="http://schemas.microsoft.com/office/drawing/2014/main" id="{859D2E41-10EB-48D2-A42A-8AEA87D3AF5A}"/>
                  </a:ext>
                </a:extLst>
              </p:cNvPr>
              <p:cNvSpPr/>
              <p:nvPr/>
            </p:nvSpPr>
            <p:spPr>
              <a:xfrm>
                <a:off x="7848993" y="2457987"/>
                <a:ext cx="284466" cy="218315"/>
              </a:xfrm>
              <a:custGeom>
                <a:avLst/>
                <a:gdLst>
                  <a:gd name="connsiteX0" fmla="*/ 279515 w 284466"/>
                  <a:gd name="connsiteY0" fmla="*/ 218316 h 218315"/>
                  <a:gd name="connsiteX1" fmla="*/ 274564 w 284466"/>
                  <a:gd name="connsiteY1" fmla="*/ 213364 h 218315"/>
                  <a:gd name="connsiteX2" fmla="*/ 274564 w 284466"/>
                  <a:gd name="connsiteY2" fmla="*/ 151803 h 218315"/>
                  <a:gd name="connsiteX3" fmla="*/ 142233 w 284466"/>
                  <a:gd name="connsiteY3" fmla="*/ 9903 h 218315"/>
                  <a:gd name="connsiteX4" fmla="*/ 9903 w 284466"/>
                  <a:gd name="connsiteY4" fmla="*/ 151803 h 218315"/>
                  <a:gd name="connsiteX5" fmla="*/ 9903 w 284466"/>
                  <a:gd name="connsiteY5" fmla="*/ 213364 h 218315"/>
                  <a:gd name="connsiteX6" fmla="*/ 4952 w 284466"/>
                  <a:gd name="connsiteY6" fmla="*/ 218316 h 218315"/>
                  <a:gd name="connsiteX7" fmla="*/ 0 w 284466"/>
                  <a:gd name="connsiteY7" fmla="*/ 213364 h 218315"/>
                  <a:gd name="connsiteX8" fmla="*/ 0 w 284466"/>
                  <a:gd name="connsiteY8" fmla="*/ 151803 h 218315"/>
                  <a:gd name="connsiteX9" fmla="*/ 142233 w 284466"/>
                  <a:gd name="connsiteY9" fmla="*/ 0 h 218315"/>
                  <a:gd name="connsiteX10" fmla="*/ 284467 w 284466"/>
                  <a:gd name="connsiteY10" fmla="*/ 151803 h 218315"/>
                  <a:gd name="connsiteX11" fmla="*/ 284467 w 284466"/>
                  <a:gd name="connsiteY11" fmla="*/ 213364 h 218315"/>
                  <a:gd name="connsiteX12" fmla="*/ 279515 w 284466"/>
                  <a:gd name="connsiteY12" fmla="*/ 218316 h 218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4466" h="218315">
                    <a:moveTo>
                      <a:pt x="279515" y="218316"/>
                    </a:moveTo>
                    <a:cubicBezTo>
                      <a:pt x="276789" y="218316"/>
                      <a:pt x="274564" y="216090"/>
                      <a:pt x="274564" y="213364"/>
                    </a:cubicBezTo>
                    <a:lnTo>
                      <a:pt x="274564" y="151803"/>
                    </a:lnTo>
                    <a:cubicBezTo>
                      <a:pt x="274564" y="73551"/>
                      <a:pt x="215200" y="9903"/>
                      <a:pt x="142233" y="9903"/>
                    </a:cubicBezTo>
                    <a:cubicBezTo>
                      <a:pt x="69267" y="9903"/>
                      <a:pt x="9903" y="73551"/>
                      <a:pt x="9903" y="151803"/>
                    </a:cubicBezTo>
                    <a:lnTo>
                      <a:pt x="9903" y="213364"/>
                    </a:lnTo>
                    <a:cubicBezTo>
                      <a:pt x="9903" y="216090"/>
                      <a:pt x="7678" y="218316"/>
                      <a:pt x="4952" y="218316"/>
                    </a:cubicBezTo>
                    <a:cubicBezTo>
                      <a:pt x="2225" y="218316"/>
                      <a:pt x="0" y="216090"/>
                      <a:pt x="0" y="213364"/>
                    </a:cubicBezTo>
                    <a:lnTo>
                      <a:pt x="0" y="151803"/>
                    </a:lnTo>
                    <a:cubicBezTo>
                      <a:pt x="0" y="68098"/>
                      <a:pt x="63814" y="0"/>
                      <a:pt x="142233" y="0"/>
                    </a:cubicBezTo>
                    <a:cubicBezTo>
                      <a:pt x="220652" y="0"/>
                      <a:pt x="284467" y="68098"/>
                      <a:pt x="284467" y="151803"/>
                    </a:cubicBezTo>
                    <a:lnTo>
                      <a:pt x="284467" y="213364"/>
                    </a:lnTo>
                    <a:cubicBezTo>
                      <a:pt x="284467" y="216090"/>
                      <a:pt x="282269" y="218316"/>
                      <a:pt x="279515" y="218316"/>
                    </a:cubicBezTo>
                    <a:close/>
                  </a:path>
                </a:pathLst>
              </a:custGeom>
              <a:grpFill/>
              <a:ln w="2775" cap="flat">
                <a:noFill/>
                <a:prstDash val="solid"/>
                <a:miter/>
              </a:ln>
            </p:spPr>
            <p:txBody>
              <a:bodyPr rtlCol="0" anchor="ctr"/>
              <a:lstStyle/>
              <a:p>
                <a:endParaRPr lang="en-GB" dirty="0"/>
              </a:p>
            </p:txBody>
          </p:sp>
          <p:grpSp>
            <p:nvGrpSpPr>
              <p:cNvPr id="907" name="Grafik 114">
                <a:extLst>
                  <a:ext uri="{FF2B5EF4-FFF2-40B4-BE49-F238E27FC236}">
                    <a16:creationId xmlns:a16="http://schemas.microsoft.com/office/drawing/2014/main" id="{1EA9D88F-7FD8-4780-9C13-80385535A54B}"/>
                  </a:ext>
                </a:extLst>
              </p:cNvPr>
              <p:cNvGrpSpPr/>
              <p:nvPr/>
            </p:nvGrpSpPr>
            <p:grpSpPr>
              <a:xfrm>
                <a:off x="7825153" y="2668903"/>
                <a:ext cx="332202" cy="335763"/>
                <a:chOff x="7825153" y="2668903"/>
                <a:chExt cx="332202" cy="335763"/>
              </a:xfrm>
              <a:grpFill/>
            </p:grpSpPr>
            <p:sp>
              <p:nvSpPr>
                <p:cNvPr id="908" name="Freihandform: Form 907">
                  <a:extLst>
                    <a:ext uri="{FF2B5EF4-FFF2-40B4-BE49-F238E27FC236}">
                      <a16:creationId xmlns:a16="http://schemas.microsoft.com/office/drawing/2014/main" id="{26B727FD-07AB-42ED-83B8-B06E85197740}"/>
                    </a:ext>
                  </a:extLst>
                </p:cNvPr>
                <p:cNvSpPr/>
                <p:nvPr/>
              </p:nvSpPr>
              <p:spPr>
                <a:xfrm>
                  <a:off x="8002632" y="2858399"/>
                  <a:ext cx="9903" cy="59725"/>
                </a:xfrm>
                <a:custGeom>
                  <a:avLst/>
                  <a:gdLst>
                    <a:gd name="connsiteX0" fmla="*/ 4952 w 9903"/>
                    <a:gd name="connsiteY0" fmla="*/ 59725 h 59725"/>
                    <a:gd name="connsiteX1" fmla="*/ 0 w 9903"/>
                    <a:gd name="connsiteY1" fmla="*/ 54774 h 59725"/>
                    <a:gd name="connsiteX2" fmla="*/ 0 w 9903"/>
                    <a:gd name="connsiteY2" fmla="*/ 4952 h 59725"/>
                    <a:gd name="connsiteX3" fmla="*/ 4952 w 9903"/>
                    <a:gd name="connsiteY3" fmla="*/ 0 h 59725"/>
                    <a:gd name="connsiteX4" fmla="*/ 9903 w 9903"/>
                    <a:gd name="connsiteY4" fmla="*/ 4952 h 59725"/>
                    <a:gd name="connsiteX5" fmla="*/ 9903 w 9903"/>
                    <a:gd name="connsiteY5" fmla="*/ 54774 h 59725"/>
                    <a:gd name="connsiteX6" fmla="*/ 4952 w 9903"/>
                    <a:gd name="connsiteY6" fmla="*/ 59725 h 5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59725">
                      <a:moveTo>
                        <a:pt x="4952" y="59725"/>
                      </a:moveTo>
                      <a:cubicBezTo>
                        <a:pt x="2225" y="59725"/>
                        <a:pt x="0" y="57500"/>
                        <a:pt x="0" y="54774"/>
                      </a:cubicBezTo>
                      <a:lnTo>
                        <a:pt x="0" y="4952"/>
                      </a:lnTo>
                      <a:cubicBezTo>
                        <a:pt x="0" y="2225"/>
                        <a:pt x="2225" y="0"/>
                        <a:pt x="4952" y="0"/>
                      </a:cubicBezTo>
                      <a:cubicBezTo>
                        <a:pt x="7678" y="0"/>
                        <a:pt x="9903" y="2225"/>
                        <a:pt x="9903" y="4952"/>
                      </a:cubicBezTo>
                      <a:lnTo>
                        <a:pt x="9903" y="54774"/>
                      </a:lnTo>
                      <a:cubicBezTo>
                        <a:pt x="9903" y="57528"/>
                        <a:pt x="7678" y="59725"/>
                        <a:pt x="4952" y="59725"/>
                      </a:cubicBezTo>
                      <a:close/>
                    </a:path>
                  </a:pathLst>
                </a:custGeom>
                <a:grpFill/>
                <a:ln w="2775" cap="flat">
                  <a:noFill/>
                  <a:prstDash val="solid"/>
                  <a:miter/>
                </a:ln>
              </p:spPr>
              <p:txBody>
                <a:bodyPr rtlCol="0" anchor="ctr"/>
                <a:lstStyle/>
                <a:p>
                  <a:endParaRPr lang="en-GB" dirty="0"/>
                </a:p>
              </p:txBody>
            </p:sp>
            <p:sp>
              <p:nvSpPr>
                <p:cNvPr id="909" name="Freihandform: Form 908">
                  <a:extLst>
                    <a:ext uri="{FF2B5EF4-FFF2-40B4-BE49-F238E27FC236}">
                      <a16:creationId xmlns:a16="http://schemas.microsoft.com/office/drawing/2014/main" id="{BE26CF46-7813-4692-A328-1FA32EBC9B57}"/>
                    </a:ext>
                  </a:extLst>
                </p:cNvPr>
                <p:cNvSpPr/>
                <p:nvPr/>
              </p:nvSpPr>
              <p:spPr>
                <a:xfrm>
                  <a:off x="7969946" y="2858399"/>
                  <a:ext cx="9903" cy="61255"/>
                </a:xfrm>
                <a:custGeom>
                  <a:avLst/>
                  <a:gdLst>
                    <a:gd name="connsiteX0" fmla="*/ 4952 w 9903"/>
                    <a:gd name="connsiteY0" fmla="*/ 61255 h 61255"/>
                    <a:gd name="connsiteX1" fmla="*/ 0 w 9903"/>
                    <a:gd name="connsiteY1" fmla="*/ 56304 h 61255"/>
                    <a:gd name="connsiteX2" fmla="*/ 0 w 9903"/>
                    <a:gd name="connsiteY2" fmla="*/ 4952 h 61255"/>
                    <a:gd name="connsiteX3" fmla="*/ 4952 w 9903"/>
                    <a:gd name="connsiteY3" fmla="*/ 0 h 61255"/>
                    <a:gd name="connsiteX4" fmla="*/ 9903 w 9903"/>
                    <a:gd name="connsiteY4" fmla="*/ 4952 h 61255"/>
                    <a:gd name="connsiteX5" fmla="*/ 9903 w 9903"/>
                    <a:gd name="connsiteY5" fmla="*/ 56304 h 61255"/>
                    <a:gd name="connsiteX6" fmla="*/ 4952 w 9903"/>
                    <a:gd name="connsiteY6" fmla="*/ 61255 h 61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61255">
                      <a:moveTo>
                        <a:pt x="4952" y="61255"/>
                      </a:moveTo>
                      <a:cubicBezTo>
                        <a:pt x="2225" y="61255"/>
                        <a:pt x="0" y="59030"/>
                        <a:pt x="0" y="56304"/>
                      </a:cubicBezTo>
                      <a:lnTo>
                        <a:pt x="0" y="4952"/>
                      </a:lnTo>
                      <a:cubicBezTo>
                        <a:pt x="0" y="2225"/>
                        <a:pt x="2225" y="0"/>
                        <a:pt x="4952" y="0"/>
                      </a:cubicBezTo>
                      <a:cubicBezTo>
                        <a:pt x="7678" y="0"/>
                        <a:pt x="9903" y="2225"/>
                        <a:pt x="9903" y="4952"/>
                      </a:cubicBezTo>
                      <a:lnTo>
                        <a:pt x="9903" y="56304"/>
                      </a:lnTo>
                      <a:cubicBezTo>
                        <a:pt x="9903" y="59030"/>
                        <a:pt x="7678" y="61255"/>
                        <a:pt x="4952" y="61255"/>
                      </a:cubicBezTo>
                      <a:close/>
                    </a:path>
                  </a:pathLst>
                </a:custGeom>
                <a:grpFill/>
                <a:ln w="2775" cap="flat">
                  <a:noFill/>
                  <a:prstDash val="solid"/>
                  <a:miter/>
                </a:ln>
              </p:spPr>
              <p:txBody>
                <a:bodyPr rtlCol="0" anchor="ctr"/>
                <a:lstStyle/>
                <a:p>
                  <a:endParaRPr lang="en-GB" dirty="0"/>
                </a:p>
              </p:txBody>
            </p:sp>
            <p:grpSp>
              <p:nvGrpSpPr>
                <p:cNvPr id="910" name="Grafik 114">
                  <a:extLst>
                    <a:ext uri="{FF2B5EF4-FFF2-40B4-BE49-F238E27FC236}">
                      <a16:creationId xmlns:a16="http://schemas.microsoft.com/office/drawing/2014/main" id="{7E72896F-873C-4E51-95BA-895ECD509327}"/>
                    </a:ext>
                  </a:extLst>
                </p:cNvPr>
                <p:cNvGrpSpPr/>
                <p:nvPr/>
              </p:nvGrpSpPr>
              <p:grpSpPr>
                <a:xfrm>
                  <a:off x="7825153" y="2668903"/>
                  <a:ext cx="332202" cy="141092"/>
                  <a:chOff x="7825153" y="2668903"/>
                  <a:chExt cx="332202" cy="141092"/>
                </a:xfrm>
                <a:grpFill/>
              </p:grpSpPr>
              <p:sp>
                <p:nvSpPr>
                  <p:cNvPr id="914" name="Freihandform: Form 913">
                    <a:extLst>
                      <a:ext uri="{FF2B5EF4-FFF2-40B4-BE49-F238E27FC236}">
                        <a16:creationId xmlns:a16="http://schemas.microsoft.com/office/drawing/2014/main" id="{BC9C8A82-10BD-43C3-87C2-F9F487BB56FA}"/>
                      </a:ext>
                    </a:extLst>
                  </p:cNvPr>
                  <p:cNvSpPr/>
                  <p:nvPr/>
                </p:nvSpPr>
                <p:spPr>
                  <a:xfrm>
                    <a:off x="7825153" y="2668903"/>
                    <a:ext cx="55469" cy="141092"/>
                  </a:xfrm>
                  <a:custGeom>
                    <a:avLst/>
                    <a:gdLst>
                      <a:gd name="connsiteX0" fmla="*/ 23729 w 55469"/>
                      <a:gd name="connsiteY0" fmla="*/ 141093 h 141092"/>
                      <a:gd name="connsiteX1" fmla="*/ 23117 w 55469"/>
                      <a:gd name="connsiteY1" fmla="*/ 141065 h 141092"/>
                      <a:gd name="connsiteX2" fmla="*/ 0 w 55469"/>
                      <a:gd name="connsiteY2" fmla="*/ 114972 h 141092"/>
                      <a:gd name="connsiteX3" fmla="*/ 0 w 55469"/>
                      <a:gd name="connsiteY3" fmla="*/ 26288 h 141092"/>
                      <a:gd name="connsiteX4" fmla="*/ 26316 w 55469"/>
                      <a:gd name="connsiteY4" fmla="*/ 0 h 141092"/>
                      <a:gd name="connsiteX5" fmla="*/ 29153 w 55469"/>
                      <a:gd name="connsiteY5" fmla="*/ 0 h 141092"/>
                      <a:gd name="connsiteX6" fmla="*/ 55469 w 55469"/>
                      <a:gd name="connsiteY6" fmla="*/ 26288 h 141092"/>
                      <a:gd name="connsiteX7" fmla="*/ 55469 w 55469"/>
                      <a:gd name="connsiteY7" fmla="*/ 108379 h 141092"/>
                      <a:gd name="connsiteX8" fmla="*/ 50518 w 55469"/>
                      <a:gd name="connsiteY8" fmla="*/ 113330 h 141092"/>
                      <a:gd name="connsiteX9" fmla="*/ 45566 w 55469"/>
                      <a:gd name="connsiteY9" fmla="*/ 108379 h 141092"/>
                      <a:gd name="connsiteX10" fmla="*/ 45566 w 55469"/>
                      <a:gd name="connsiteY10" fmla="*/ 26288 h 141092"/>
                      <a:gd name="connsiteX11" fmla="*/ 29181 w 55469"/>
                      <a:gd name="connsiteY11" fmla="*/ 9903 h 141092"/>
                      <a:gd name="connsiteX12" fmla="*/ 26344 w 55469"/>
                      <a:gd name="connsiteY12" fmla="*/ 9903 h 141092"/>
                      <a:gd name="connsiteX13" fmla="*/ 9959 w 55469"/>
                      <a:gd name="connsiteY13" fmla="*/ 26288 h 141092"/>
                      <a:gd name="connsiteX14" fmla="*/ 9959 w 55469"/>
                      <a:gd name="connsiteY14" fmla="*/ 114972 h 141092"/>
                      <a:gd name="connsiteX15" fmla="*/ 24369 w 55469"/>
                      <a:gd name="connsiteY15" fmla="*/ 131245 h 141092"/>
                      <a:gd name="connsiteX16" fmla="*/ 28680 w 55469"/>
                      <a:gd name="connsiteY16" fmla="*/ 136753 h 141092"/>
                      <a:gd name="connsiteX17" fmla="*/ 23729 w 55469"/>
                      <a:gd name="connsiteY17" fmla="*/ 141093 h 141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469" h="141092">
                        <a:moveTo>
                          <a:pt x="23729" y="141093"/>
                        </a:moveTo>
                        <a:cubicBezTo>
                          <a:pt x="23534" y="141093"/>
                          <a:pt x="23339" y="141093"/>
                          <a:pt x="23117" y="141065"/>
                        </a:cubicBezTo>
                        <a:cubicBezTo>
                          <a:pt x="9931" y="139452"/>
                          <a:pt x="0" y="128241"/>
                          <a:pt x="0" y="114972"/>
                        </a:cubicBezTo>
                        <a:lnTo>
                          <a:pt x="0" y="26288"/>
                        </a:lnTo>
                        <a:cubicBezTo>
                          <a:pt x="0" y="11795"/>
                          <a:pt x="11795" y="0"/>
                          <a:pt x="26316" y="0"/>
                        </a:cubicBezTo>
                        <a:lnTo>
                          <a:pt x="29153" y="0"/>
                        </a:lnTo>
                        <a:cubicBezTo>
                          <a:pt x="43646" y="0"/>
                          <a:pt x="55469" y="11795"/>
                          <a:pt x="55469" y="26288"/>
                        </a:cubicBezTo>
                        <a:lnTo>
                          <a:pt x="55469" y="108379"/>
                        </a:lnTo>
                        <a:cubicBezTo>
                          <a:pt x="55469" y="111105"/>
                          <a:pt x="53244" y="113330"/>
                          <a:pt x="50518" y="113330"/>
                        </a:cubicBezTo>
                        <a:cubicBezTo>
                          <a:pt x="47791" y="113330"/>
                          <a:pt x="45566" y="111105"/>
                          <a:pt x="45566" y="108379"/>
                        </a:cubicBezTo>
                        <a:lnTo>
                          <a:pt x="45566" y="26288"/>
                        </a:lnTo>
                        <a:cubicBezTo>
                          <a:pt x="45566" y="17247"/>
                          <a:pt x="38222" y="9903"/>
                          <a:pt x="29181" y="9903"/>
                        </a:cubicBezTo>
                        <a:lnTo>
                          <a:pt x="26344" y="9903"/>
                        </a:lnTo>
                        <a:cubicBezTo>
                          <a:pt x="17303" y="9903"/>
                          <a:pt x="9959" y="17247"/>
                          <a:pt x="9959" y="26288"/>
                        </a:cubicBezTo>
                        <a:lnTo>
                          <a:pt x="9959" y="114972"/>
                        </a:lnTo>
                        <a:cubicBezTo>
                          <a:pt x="9959" y="123261"/>
                          <a:pt x="16162" y="130244"/>
                          <a:pt x="24369" y="131245"/>
                        </a:cubicBezTo>
                        <a:cubicBezTo>
                          <a:pt x="27095" y="131579"/>
                          <a:pt x="29014" y="134055"/>
                          <a:pt x="28680" y="136753"/>
                        </a:cubicBezTo>
                        <a:cubicBezTo>
                          <a:pt x="28347" y="139229"/>
                          <a:pt x="26205" y="141093"/>
                          <a:pt x="23729" y="141093"/>
                        </a:cubicBezTo>
                        <a:close/>
                      </a:path>
                    </a:pathLst>
                  </a:custGeom>
                  <a:grpFill/>
                  <a:ln w="2775" cap="flat">
                    <a:noFill/>
                    <a:prstDash val="solid"/>
                    <a:miter/>
                  </a:ln>
                </p:spPr>
                <p:txBody>
                  <a:bodyPr rtlCol="0" anchor="ctr"/>
                  <a:lstStyle/>
                  <a:p>
                    <a:endParaRPr lang="en-GB" dirty="0"/>
                  </a:p>
                </p:txBody>
              </p:sp>
              <p:sp>
                <p:nvSpPr>
                  <p:cNvPr id="915" name="Freihandform: Form 914">
                    <a:extLst>
                      <a:ext uri="{FF2B5EF4-FFF2-40B4-BE49-F238E27FC236}">
                        <a16:creationId xmlns:a16="http://schemas.microsoft.com/office/drawing/2014/main" id="{C5B075E5-F713-423E-B42F-69FF8A12B392}"/>
                      </a:ext>
                    </a:extLst>
                  </p:cNvPr>
                  <p:cNvSpPr/>
                  <p:nvPr/>
                </p:nvSpPr>
                <p:spPr>
                  <a:xfrm>
                    <a:off x="8101887" y="2668903"/>
                    <a:ext cx="55469" cy="141064"/>
                  </a:xfrm>
                  <a:custGeom>
                    <a:avLst/>
                    <a:gdLst>
                      <a:gd name="connsiteX0" fmla="*/ 31852 w 55469"/>
                      <a:gd name="connsiteY0" fmla="*/ 141065 h 141064"/>
                      <a:gd name="connsiteX1" fmla="*/ 26956 w 55469"/>
                      <a:gd name="connsiteY1" fmla="*/ 136753 h 141064"/>
                      <a:gd name="connsiteX2" fmla="*/ 31240 w 55469"/>
                      <a:gd name="connsiteY2" fmla="*/ 131217 h 141064"/>
                      <a:gd name="connsiteX3" fmla="*/ 45510 w 55469"/>
                      <a:gd name="connsiteY3" fmla="*/ 114972 h 141064"/>
                      <a:gd name="connsiteX4" fmla="*/ 45510 w 55469"/>
                      <a:gd name="connsiteY4" fmla="*/ 26288 h 141064"/>
                      <a:gd name="connsiteX5" fmla="*/ 29126 w 55469"/>
                      <a:gd name="connsiteY5" fmla="*/ 9903 h 141064"/>
                      <a:gd name="connsiteX6" fmla="*/ 26288 w 55469"/>
                      <a:gd name="connsiteY6" fmla="*/ 9903 h 141064"/>
                      <a:gd name="connsiteX7" fmla="*/ 9903 w 55469"/>
                      <a:gd name="connsiteY7" fmla="*/ 26288 h 141064"/>
                      <a:gd name="connsiteX8" fmla="*/ 9903 w 55469"/>
                      <a:gd name="connsiteY8" fmla="*/ 108379 h 141064"/>
                      <a:gd name="connsiteX9" fmla="*/ 4952 w 55469"/>
                      <a:gd name="connsiteY9" fmla="*/ 113330 h 141064"/>
                      <a:gd name="connsiteX10" fmla="*/ 0 w 55469"/>
                      <a:gd name="connsiteY10" fmla="*/ 108379 h 141064"/>
                      <a:gd name="connsiteX11" fmla="*/ 0 w 55469"/>
                      <a:gd name="connsiteY11" fmla="*/ 26288 h 141064"/>
                      <a:gd name="connsiteX12" fmla="*/ 26316 w 55469"/>
                      <a:gd name="connsiteY12" fmla="*/ 0 h 141064"/>
                      <a:gd name="connsiteX13" fmla="*/ 29154 w 55469"/>
                      <a:gd name="connsiteY13" fmla="*/ 0 h 141064"/>
                      <a:gd name="connsiteX14" fmla="*/ 55469 w 55469"/>
                      <a:gd name="connsiteY14" fmla="*/ 26288 h 141064"/>
                      <a:gd name="connsiteX15" fmla="*/ 55469 w 55469"/>
                      <a:gd name="connsiteY15" fmla="*/ 114972 h 141064"/>
                      <a:gd name="connsiteX16" fmla="*/ 32547 w 55469"/>
                      <a:gd name="connsiteY16" fmla="*/ 141037 h 141064"/>
                      <a:gd name="connsiteX17" fmla="*/ 31852 w 55469"/>
                      <a:gd name="connsiteY17" fmla="*/ 141065 h 141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5469" h="141064">
                        <a:moveTo>
                          <a:pt x="31852" y="141065"/>
                        </a:moveTo>
                        <a:cubicBezTo>
                          <a:pt x="29404" y="141065"/>
                          <a:pt x="27262" y="139257"/>
                          <a:pt x="26956" y="136753"/>
                        </a:cubicBezTo>
                        <a:cubicBezTo>
                          <a:pt x="26594" y="134055"/>
                          <a:pt x="28513" y="131551"/>
                          <a:pt x="31240" y="131217"/>
                        </a:cubicBezTo>
                        <a:cubicBezTo>
                          <a:pt x="39390" y="130160"/>
                          <a:pt x="45510" y="123178"/>
                          <a:pt x="45510" y="114972"/>
                        </a:cubicBezTo>
                        <a:lnTo>
                          <a:pt x="45510" y="26288"/>
                        </a:lnTo>
                        <a:cubicBezTo>
                          <a:pt x="45510" y="17247"/>
                          <a:pt x="38167" y="9903"/>
                          <a:pt x="29126" y="9903"/>
                        </a:cubicBezTo>
                        <a:lnTo>
                          <a:pt x="26288" y="9903"/>
                        </a:lnTo>
                        <a:cubicBezTo>
                          <a:pt x="17247" y="9903"/>
                          <a:pt x="9903" y="17247"/>
                          <a:pt x="9903" y="26288"/>
                        </a:cubicBezTo>
                        <a:lnTo>
                          <a:pt x="9903" y="108379"/>
                        </a:lnTo>
                        <a:cubicBezTo>
                          <a:pt x="9903" y="111105"/>
                          <a:pt x="7678" y="113330"/>
                          <a:pt x="4952" y="113330"/>
                        </a:cubicBezTo>
                        <a:cubicBezTo>
                          <a:pt x="2226" y="113330"/>
                          <a:pt x="0" y="111105"/>
                          <a:pt x="0" y="108379"/>
                        </a:cubicBezTo>
                        <a:lnTo>
                          <a:pt x="0" y="26288"/>
                        </a:lnTo>
                        <a:cubicBezTo>
                          <a:pt x="0" y="11795"/>
                          <a:pt x="11795" y="0"/>
                          <a:pt x="26316" y="0"/>
                        </a:cubicBezTo>
                        <a:lnTo>
                          <a:pt x="29154" y="0"/>
                        </a:lnTo>
                        <a:cubicBezTo>
                          <a:pt x="43647" y="0"/>
                          <a:pt x="55469" y="11795"/>
                          <a:pt x="55469" y="26288"/>
                        </a:cubicBezTo>
                        <a:lnTo>
                          <a:pt x="55469" y="114972"/>
                        </a:lnTo>
                        <a:cubicBezTo>
                          <a:pt x="55469" y="128130"/>
                          <a:pt x="45622" y="139340"/>
                          <a:pt x="32547" y="141037"/>
                        </a:cubicBezTo>
                        <a:cubicBezTo>
                          <a:pt x="32297" y="141037"/>
                          <a:pt x="32074" y="141065"/>
                          <a:pt x="31852" y="141065"/>
                        </a:cubicBezTo>
                        <a:close/>
                      </a:path>
                    </a:pathLst>
                  </a:custGeom>
                  <a:grpFill/>
                  <a:ln w="2775" cap="flat">
                    <a:noFill/>
                    <a:prstDash val="solid"/>
                    <a:miter/>
                  </a:ln>
                </p:spPr>
                <p:txBody>
                  <a:bodyPr rtlCol="0" anchor="ctr"/>
                  <a:lstStyle/>
                  <a:p>
                    <a:endParaRPr lang="en-GB" dirty="0"/>
                  </a:p>
                </p:txBody>
              </p:sp>
            </p:grpSp>
            <p:sp>
              <p:nvSpPr>
                <p:cNvPr id="911" name="Freihandform: Form 910">
                  <a:extLst>
                    <a:ext uri="{FF2B5EF4-FFF2-40B4-BE49-F238E27FC236}">
                      <a16:creationId xmlns:a16="http://schemas.microsoft.com/office/drawing/2014/main" id="{53E0B692-A407-472B-9FE1-D60C264B3DC5}"/>
                    </a:ext>
                  </a:extLst>
                </p:cNvPr>
                <p:cNvSpPr/>
                <p:nvPr/>
              </p:nvSpPr>
              <p:spPr>
                <a:xfrm>
                  <a:off x="7843499" y="2772651"/>
                  <a:ext cx="295461" cy="93927"/>
                </a:xfrm>
                <a:custGeom>
                  <a:avLst/>
                  <a:gdLst>
                    <a:gd name="connsiteX0" fmla="*/ 136211 w 295461"/>
                    <a:gd name="connsiteY0" fmla="*/ 93926 h 93927"/>
                    <a:gd name="connsiteX1" fmla="*/ 17623 w 295461"/>
                    <a:gd name="connsiteY1" fmla="*/ 73591 h 93927"/>
                    <a:gd name="connsiteX2" fmla="*/ 181 w 295461"/>
                    <a:gd name="connsiteY2" fmla="*/ 50419 h 93927"/>
                    <a:gd name="connsiteX3" fmla="*/ 22463 w 295461"/>
                    <a:gd name="connsiteY3" fmla="*/ 7412 h 93927"/>
                    <a:gd name="connsiteX4" fmla="*/ 77042 w 295461"/>
                    <a:gd name="connsiteY4" fmla="*/ 514 h 93927"/>
                    <a:gd name="connsiteX5" fmla="*/ 131342 w 295461"/>
                    <a:gd name="connsiteY5" fmla="*/ 5354 h 93927"/>
                    <a:gd name="connsiteX6" fmla="*/ 164140 w 295461"/>
                    <a:gd name="connsiteY6" fmla="*/ 5354 h 93927"/>
                    <a:gd name="connsiteX7" fmla="*/ 218441 w 295461"/>
                    <a:gd name="connsiteY7" fmla="*/ 514 h 93927"/>
                    <a:gd name="connsiteX8" fmla="*/ 273186 w 295461"/>
                    <a:gd name="connsiteY8" fmla="*/ 7468 h 93927"/>
                    <a:gd name="connsiteX9" fmla="*/ 295274 w 295461"/>
                    <a:gd name="connsiteY9" fmla="*/ 50419 h 93927"/>
                    <a:gd name="connsiteX10" fmla="*/ 277832 w 295461"/>
                    <a:gd name="connsiteY10" fmla="*/ 73591 h 93927"/>
                    <a:gd name="connsiteX11" fmla="*/ 147616 w 295461"/>
                    <a:gd name="connsiteY11" fmla="*/ 93787 h 93927"/>
                    <a:gd name="connsiteX12" fmla="*/ 136211 w 295461"/>
                    <a:gd name="connsiteY12" fmla="*/ 93926 h 93927"/>
                    <a:gd name="connsiteX13" fmla="*/ 65553 w 295461"/>
                    <a:gd name="connsiteY13" fmla="*/ 9916 h 93927"/>
                    <a:gd name="connsiteX14" fmla="*/ 25467 w 295461"/>
                    <a:gd name="connsiteY14" fmla="*/ 16843 h 93927"/>
                    <a:gd name="connsiteX15" fmla="*/ 10056 w 295461"/>
                    <a:gd name="connsiteY15" fmla="*/ 49779 h 93927"/>
                    <a:gd name="connsiteX16" fmla="*/ 21406 w 295461"/>
                    <a:gd name="connsiteY16" fmla="*/ 64439 h 93927"/>
                    <a:gd name="connsiteX17" fmla="*/ 147588 w 295461"/>
                    <a:gd name="connsiteY17" fmla="*/ 83912 h 93927"/>
                    <a:gd name="connsiteX18" fmla="*/ 274021 w 295461"/>
                    <a:gd name="connsiteY18" fmla="*/ 64439 h 93927"/>
                    <a:gd name="connsiteX19" fmla="*/ 285371 w 295461"/>
                    <a:gd name="connsiteY19" fmla="*/ 49807 h 93927"/>
                    <a:gd name="connsiteX20" fmla="*/ 270293 w 295461"/>
                    <a:gd name="connsiteY20" fmla="*/ 16982 h 93927"/>
                    <a:gd name="connsiteX21" fmla="*/ 269959 w 295461"/>
                    <a:gd name="connsiteY21" fmla="*/ 16871 h 93927"/>
                    <a:gd name="connsiteX22" fmla="*/ 219275 w 295461"/>
                    <a:gd name="connsiteY22" fmla="*/ 10417 h 93927"/>
                    <a:gd name="connsiteX23" fmla="*/ 164974 w 295461"/>
                    <a:gd name="connsiteY23" fmla="*/ 15257 h 93927"/>
                    <a:gd name="connsiteX24" fmla="*/ 130425 w 295461"/>
                    <a:gd name="connsiteY24" fmla="*/ 15257 h 93927"/>
                    <a:gd name="connsiteX25" fmla="*/ 76124 w 295461"/>
                    <a:gd name="connsiteY25" fmla="*/ 10417 h 93927"/>
                    <a:gd name="connsiteX26" fmla="*/ 65553 w 295461"/>
                    <a:gd name="connsiteY26" fmla="*/ 9916 h 9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5461" h="93927">
                      <a:moveTo>
                        <a:pt x="136211" y="93926"/>
                      </a:moveTo>
                      <a:cubicBezTo>
                        <a:pt x="90255" y="93926"/>
                        <a:pt x="50336" y="87083"/>
                        <a:pt x="17623" y="73591"/>
                      </a:cubicBezTo>
                      <a:cubicBezTo>
                        <a:pt x="7525" y="69419"/>
                        <a:pt x="821" y="60545"/>
                        <a:pt x="181" y="50419"/>
                      </a:cubicBezTo>
                      <a:cubicBezTo>
                        <a:pt x="-1322" y="27163"/>
                        <a:pt x="6579" y="11891"/>
                        <a:pt x="22463" y="7412"/>
                      </a:cubicBezTo>
                      <a:cubicBezTo>
                        <a:pt x="39432" y="1265"/>
                        <a:pt x="58459" y="-1128"/>
                        <a:pt x="77042" y="514"/>
                      </a:cubicBezTo>
                      <a:lnTo>
                        <a:pt x="131342" y="5354"/>
                      </a:lnTo>
                      <a:cubicBezTo>
                        <a:pt x="142219" y="6328"/>
                        <a:pt x="153235" y="6328"/>
                        <a:pt x="164140" y="5354"/>
                      </a:cubicBezTo>
                      <a:lnTo>
                        <a:pt x="218441" y="514"/>
                      </a:lnTo>
                      <a:cubicBezTo>
                        <a:pt x="236967" y="-1155"/>
                        <a:pt x="255911" y="1265"/>
                        <a:pt x="273186" y="7468"/>
                      </a:cubicBezTo>
                      <a:cubicBezTo>
                        <a:pt x="288959" y="12002"/>
                        <a:pt x="296804" y="27247"/>
                        <a:pt x="295274" y="50419"/>
                      </a:cubicBezTo>
                      <a:cubicBezTo>
                        <a:pt x="294634" y="60517"/>
                        <a:pt x="287930" y="69391"/>
                        <a:pt x="277832" y="73591"/>
                      </a:cubicBezTo>
                      <a:cubicBezTo>
                        <a:pt x="242447" y="88224"/>
                        <a:pt x="198662" y="95011"/>
                        <a:pt x="147616" y="93787"/>
                      </a:cubicBezTo>
                      <a:cubicBezTo>
                        <a:pt x="143777" y="93871"/>
                        <a:pt x="139966" y="93926"/>
                        <a:pt x="136211" y="93926"/>
                      </a:cubicBezTo>
                      <a:close/>
                      <a:moveTo>
                        <a:pt x="65553" y="9916"/>
                      </a:moveTo>
                      <a:cubicBezTo>
                        <a:pt x="51839" y="9916"/>
                        <a:pt x="38180" y="12253"/>
                        <a:pt x="25467" y="16843"/>
                      </a:cubicBezTo>
                      <a:cubicBezTo>
                        <a:pt x="11169" y="20876"/>
                        <a:pt x="9222" y="36983"/>
                        <a:pt x="10056" y="49779"/>
                      </a:cubicBezTo>
                      <a:cubicBezTo>
                        <a:pt x="10473" y="56094"/>
                        <a:pt x="14813" y="61713"/>
                        <a:pt x="21406" y="64439"/>
                      </a:cubicBezTo>
                      <a:cubicBezTo>
                        <a:pt x="55511" y="78543"/>
                        <a:pt x="97961" y="85080"/>
                        <a:pt x="147588" y="83912"/>
                      </a:cubicBezTo>
                      <a:cubicBezTo>
                        <a:pt x="197438" y="85108"/>
                        <a:pt x="239916" y="78543"/>
                        <a:pt x="274021" y="64439"/>
                      </a:cubicBezTo>
                      <a:cubicBezTo>
                        <a:pt x="280614" y="61713"/>
                        <a:pt x="284953" y="56094"/>
                        <a:pt x="285371" y="49807"/>
                      </a:cubicBezTo>
                      <a:cubicBezTo>
                        <a:pt x="286205" y="37011"/>
                        <a:pt x="284258" y="20904"/>
                        <a:pt x="270293" y="16982"/>
                      </a:cubicBezTo>
                      <a:cubicBezTo>
                        <a:pt x="270182" y="16954"/>
                        <a:pt x="270071" y="16898"/>
                        <a:pt x="269959" y="16871"/>
                      </a:cubicBezTo>
                      <a:cubicBezTo>
                        <a:pt x="253992" y="11112"/>
                        <a:pt x="236494" y="8887"/>
                        <a:pt x="219275" y="10417"/>
                      </a:cubicBezTo>
                      <a:lnTo>
                        <a:pt x="164974" y="15257"/>
                      </a:lnTo>
                      <a:cubicBezTo>
                        <a:pt x="153541" y="16286"/>
                        <a:pt x="141886" y="16286"/>
                        <a:pt x="130425" y="15257"/>
                      </a:cubicBezTo>
                      <a:lnTo>
                        <a:pt x="76124" y="10417"/>
                      </a:lnTo>
                      <a:cubicBezTo>
                        <a:pt x="72647" y="10055"/>
                        <a:pt x="69114" y="9916"/>
                        <a:pt x="65553" y="9916"/>
                      </a:cubicBezTo>
                      <a:close/>
                    </a:path>
                  </a:pathLst>
                </a:custGeom>
                <a:grpFill/>
                <a:ln w="2775" cap="flat">
                  <a:noFill/>
                  <a:prstDash val="solid"/>
                  <a:miter/>
                </a:ln>
              </p:spPr>
              <p:txBody>
                <a:bodyPr rtlCol="0" anchor="ctr"/>
                <a:lstStyle/>
                <a:p>
                  <a:endParaRPr lang="en-GB" dirty="0"/>
                </a:p>
              </p:txBody>
            </p:sp>
            <p:sp>
              <p:nvSpPr>
                <p:cNvPr id="912" name="Freihandform: Form 911">
                  <a:extLst>
                    <a:ext uri="{FF2B5EF4-FFF2-40B4-BE49-F238E27FC236}">
                      <a16:creationId xmlns:a16="http://schemas.microsoft.com/office/drawing/2014/main" id="{93417844-B0BB-4552-A0D9-5DFDF0256FE0}"/>
                    </a:ext>
                  </a:extLst>
                </p:cNvPr>
                <p:cNvSpPr/>
                <p:nvPr/>
              </p:nvSpPr>
              <p:spPr>
                <a:xfrm>
                  <a:off x="7961434" y="2909723"/>
                  <a:ext cx="59613" cy="61895"/>
                </a:xfrm>
                <a:custGeom>
                  <a:avLst/>
                  <a:gdLst>
                    <a:gd name="connsiteX0" fmla="*/ 54634 w 59613"/>
                    <a:gd name="connsiteY0" fmla="*/ 61895 h 61895"/>
                    <a:gd name="connsiteX1" fmla="*/ 49683 w 59613"/>
                    <a:gd name="connsiteY1" fmla="*/ 56943 h 61895"/>
                    <a:gd name="connsiteX2" fmla="*/ 49683 w 59613"/>
                    <a:gd name="connsiteY2" fmla="*/ 9903 h 61895"/>
                    <a:gd name="connsiteX3" fmla="*/ 9903 w 59613"/>
                    <a:gd name="connsiteY3" fmla="*/ 9903 h 61895"/>
                    <a:gd name="connsiteX4" fmla="*/ 9903 w 59613"/>
                    <a:gd name="connsiteY4" fmla="*/ 56943 h 61895"/>
                    <a:gd name="connsiteX5" fmla="*/ 4952 w 59613"/>
                    <a:gd name="connsiteY5" fmla="*/ 61895 h 61895"/>
                    <a:gd name="connsiteX6" fmla="*/ 0 w 59613"/>
                    <a:gd name="connsiteY6" fmla="*/ 56943 h 61895"/>
                    <a:gd name="connsiteX7" fmla="*/ 0 w 59613"/>
                    <a:gd name="connsiteY7" fmla="*/ 8039 h 61895"/>
                    <a:gd name="connsiteX8" fmla="*/ 8039 w 59613"/>
                    <a:gd name="connsiteY8" fmla="*/ 0 h 61895"/>
                    <a:gd name="connsiteX9" fmla="*/ 51574 w 59613"/>
                    <a:gd name="connsiteY9" fmla="*/ 0 h 61895"/>
                    <a:gd name="connsiteX10" fmla="*/ 59614 w 59613"/>
                    <a:gd name="connsiteY10" fmla="*/ 8039 h 61895"/>
                    <a:gd name="connsiteX11" fmla="*/ 59614 w 59613"/>
                    <a:gd name="connsiteY11" fmla="*/ 56943 h 61895"/>
                    <a:gd name="connsiteX12" fmla="*/ 54634 w 59613"/>
                    <a:gd name="connsiteY12" fmla="*/ 61895 h 61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9613" h="61895">
                      <a:moveTo>
                        <a:pt x="54634" y="61895"/>
                      </a:moveTo>
                      <a:cubicBezTo>
                        <a:pt x="51908" y="61895"/>
                        <a:pt x="49683" y="59670"/>
                        <a:pt x="49683" y="56943"/>
                      </a:cubicBezTo>
                      <a:lnTo>
                        <a:pt x="49683" y="9903"/>
                      </a:lnTo>
                      <a:lnTo>
                        <a:pt x="9903" y="9903"/>
                      </a:lnTo>
                      <a:lnTo>
                        <a:pt x="9903" y="56943"/>
                      </a:lnTo>
                      <a:cubicBezTo>
                        <a:pt x="9903" y="59670"/>
                        <a:pt x="7678" y="61895"/>
                        <a:pt x="4952" y="61895"/>
                      </a:cubicBezTo>
                      <a:cubicBezTo>
                        <a:pt x="2225" y="61895"/>
                        <a:pt x="0" y="59670"/>
                        <a:pt x="0" y="56943"/>
                      </a:cubicBezTo>
                      <a:lnTo>
                        <a:pt x="0" y="8039"/>
                      </a:lnTo>
                      <a:cubicBezTo>
                        <a:pt x="0" y="3616"/>
                        <a:pt x="3616" y="0"/>
                        <a:pt x="8039" y="0"/>
                      </a:cubicBezTo>
                      <a:lnTo>
                        <a:pt x="51574" y="0"/>
                      </a:lnTo>
                      <a:cubicBezTo>
                        <a:pt x="55997" y="0"/>
                        <a:pt x="59614" y="3588"/>
                        <a:pt x="59614" y="8039"/>
                      </a:cubicBezTo>
                      <a:lnTo>
                        <a:pt x="59614" y="56943"/>
                      </a:lnTo>
                      <a:cubicBezTo>
                        <a:pt x="59586" y="59670"/>
                        <a:pt x="57361" y="61895"/>
                        <a:pt x="54634" y="61895"/>
                      </a:cubicBezTo>
                      <a:close/>
                    </a:path>
                  </a:pathLst>
                </a:custGeom>
                <a:grpFill/>
                <a:ln w="2775" cap="flat">
                  <a:noFill/>
                  <a:prstDash val="solid"/>
                  <a:miter/>
                </a:ln>
              </p:spPr>
              <p:txBody>
                <a:bodyPr rtlCol="0" anchor="ctr"/>
                <a:lstStyle/>
                <a:p>
                  <a:endParaRPr lang="en-GB" dirty="0"/>
                </a:p>
              </p:txBody>
            </p:sp>
            <p:sp>
              <p:nvSpPr>
                <p:cNvPr id="913" name="Freihandform: Form 912">
                  <a:extLst>
                    <a:ext uri="{FF2B5EF4-FFF2-40B4-BE49-F238E27FC236}">
                      <a16:creationId xmlns:a16="http://schemas.microsoft.com/office/drawing/2014/main" id="{776BB92C-C3D3-4F4E-8E76-D6BAD1AA06EE}"/>
                    </a:ext>
                  </a:extLst>
                </p:cNvPr>
                <p:cNvSpPr/>
                <p:nvPr/>
              </p:nvSpPr>
              <p:spPr>
                <a:xfrm>
                  <a:off x="7875949" y="2961910"/>
                  <a:ext cx="230555" cy="42756"/>
                </a:xfrm>
                <a:custGeom>
                  <a:avLst/>
                  <a:gdLst>
                    <a:gd name="connsiteX0" fmla="*/ 225604 w 230555"/>
                    <a:gd name="connsiteY0" fmla="*/ 42756 h 42756"/>
                    <a:gd name="connsiteX1" fmla="*/ 4952 w 230555"/>
                    <a:gd name="connsiteY1" fmla="*/ 42756 h 42756"/>
                    <a:gd name="connsiteX2" fmla="*/ 0 w 230555"/>
                    <a:gd name="connsiteY2" fmla="*/ 37805 h 42756"/>
                    <a:gd name="connsiteX3" fmla="*/ 0 w 230555"/>
                    <a:gd name="connsiteY3" fmla="*/ 25231 h 42756"/>
                    <a:gd name="connsiteX4" fmla="*/ 25314 w 230555"/>
                    <a:gd name="connsiteY4" fmla="*/ 0 h 42756"/>
                    <a:gd name="connsiteX5" fmla="*/ 205241 w 230555"/>
                    <a:gd name="connsiteY5" fmla="*/ 0 h 42756"/>
                    <a:gd name="connsiteX6" fmla="*/ 230555 w 230555"/>
                    <a:gd name="connsiteY6" fmla="*/ 25287 h 42756"/>
                    <a:gd name="connsiteX7" fmla="*/ 230555 w 230555"/>
                    <a:gd name="connsiteY7" fmla="*/ 37805 h 42756"/>
                    <a:gd name="connsiteX8" fmla="*/ 225604 w 230555"/>
                    <a:gd name="connsiteY8" fmla="*/ 42756 h 42756"/>
                    <a:gd name="connsiteX9" fmla="*/ 9903 w 230555"/>
                    <a:gd name="connsiteY9" fmla="*/ 32853 h 42756"/>
                    <a:gd name="connsiteX10" fmla="*/ 220652 w 230555"/>
                    <a:gd name="connsiteY10" fmla="*/ 32853 h 42756"/>
                    <a:gd name="connsiteX11" fmla="*/ 220652 w 230555"/>
                    <a:gd name="connsiteY11" fmla="*/ 25314 h 42756"/>
                    <a:gd name="connsiteX12" fmla="*/ 205241 w 230555"/>
                    <a:gd name="connsiteY12" fmla="*/ 9903 h 42756"/>
                    <a:gd name="connsiteX13" fmla="*/ 25314 w 230555"/>
                    <a:gd name="connsiteY13" fmla="*/ 9903 h 42756"/>
                    <a:gd name="connsiteX14" fmla="*/ 9903 w 230555"/>
                    <a:gd name="connsiteY14" fmla="*/ 25287 h 42756"/>
                    <a:gd name="connsiteX15" fmla="*/ 9903 w 230555"/>
                    <a:gd name="connsiteY15" fmla="*/ 32853 h 4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0555" h="42756">
                      <a:moveTo>
                        <a:pt x="225604" y="42756"/>
                      </a:moveTo>
                      <a:lnTo>
                        <a:pt x="4952" y="42756"/>
                      </a:lnTo>
                      <a:cubicBezTo>
                        <a:pt x="2225" y="42756"/>
                        <a:pt x="0" y="40531"/>
                        <a:pt x="0" y="37805"/>
                      </a:cubicBezTo>
                      <a:lnTo>
                        <a:pt x="0" y="25231"/>
                      </a:lnTo>
                      <a:cubicBezTo>
                        <a:pt x="167" y="11294"/>
                        <a:pt x="11545" y="0"/>
                        <a:pt x="25314" y="0"/>
                      </a:cubicBezTo>
                      <a:lnTo>
                        <a:pt x="205241" y="0"/>
                      </a:lnTo>
                      <a:cubicBezTo>
                        <a:pt x="219094" y="0"/>
                        <a:pt x="230444" y="11350"/>
                        <a:pt x="230555" y="25287"/>
                      </a:cubicBezTo>
                      <a:lnTo>
                        <a:pt x="230555" y="37805"/>
                      </a:lnTo>
                      <a:cubicBezTo>
                        <a:pt x="230555" y="40531"/>
                        <a:pt x="228358" y="42756"/>
                        <a:pt x="225604" y="42756"/>
                      </a:cubicBezTo>
                      <a:close/>
                      <a:moveTo>
                        <a:pt x="9903" y="32853"/>
                      </a:moveTo>
                      <a:lnTo>
                        <a:pt x="220652" y="32853"/>
                      </a:lnTo>
                      <a:lnTo>
                        <a:pt x="220652" y="25314"/>
                      </a:lnTo>
                      <a:cubicBezTo>
                        <a:pt x="220569" y="16830"/>
                        <a:pt x="213670" y="9903"/>
                        <a:pt x="205241" y="9903"/>
                      </a:cubicBezTo>
                      <a:lnTo>
                        <a:pt x="25314" y="9903"/>
                      </a:lnTo>
                      <a:cubicBezTo>
                        <a:pt x="16913" y="9903"/>
                        <a:pt x="10015" y="16802"/>
                        <a:pt x="9903" y="25287"/>
                      </a:cubicBezTo>
                      <a:lnTo>
                        <a:pt x="9903" y="32853"/>
                      </a:lnTo>
                      <a:close/>
                    </a:path>
                  </a:pathLst>
                </a:custGeom>
                <a:grpFill/>
                <a:ln w="2775" cap="flat">
                  <a:noFill/>
                  <a:prstDash val="solid"/>
                  <a:miter/>
                </a:ln>
              </p:spPr>
              <p:txBody>
                <a:bodyPr rtlCol="0" anchor="ctr"/>
                <a:lstStyle/>
                <a:p>
                  <a:endParaRPr lang="en-GB" dirty="0"/>
                </a:p>
              </p:txBody>
            </p:sp>
          </p:grpSp>
        </p:grpSp>
      </p:grpSp>
      <p:sp>
        <p:nvSpPr>
          <p:cNvPr id="933" name="TextBox 1419">
            <a:extLst>
              <a:ext uri="{FF2B5EF4-FFF2-40B4-BE49-F238E27FC236}">
                <a16:creationId xmlns:a16="http://schemas.microsoft.com/office/drawing/2014/main" id="{25AA5DB9-E6D9-4C68-9375-5D1D2B06AF9A}"/>
              </a:ext>
            </a:extLst>
          </p:cNvPr>
          <p:cNvSpPr txBox="1"/>
          <p:nvPr/>
        </p:nvSpPr>
        <p:spPr>
          <a:xfrm>
            <a:off x="7157462" y="2899619"/>
            <a:ext cx="293349" cy="107722"/>
          </a:xfrm>
          <a:prstGeom prst="rect">
            <a:avLst/>
          </a:prstGeom>
          <a:noFill/>
          <a:effectLst/>
        </p:spPr>
        <p:txBody>
          <a:bodyPr wrap="none" lIns="0" tIns="0" rIns="0" bIns="0" rtlCol="0" anchor="t" anchorCtr="0">
            <a:spAutoFit/>
          </a:bodyPr>
          <a:lstStyle/>
          <a:p>
            <a:pPr algn="ctr"/>
            <a:r>
              <a:rPr lang="en-GB" sz="700" dirty="0">
                <a:solidFill>
                  <a:schemeClr val="tx2"/>
                </a:solidFill>
              </a:rPr>
              <a:t>Journal</a:t>
            </a:r>
          </a:p>
        </p:txBody>
      </p:sp>
      <p:sp>
        <p:nvSpPr>
          <p:cNvPr id="934" name="TextBox 1417">
            <a:extLst>
              <a:ext uri="{FF2B5EF4-FFF2-40B4-BE49-F238E27FC236}">
                <a16:creationId xmlns:a16="http://schemas.microsoft.com/office/drawing/2014/main" id="{20118630-138D-496F-A5DA-F41CD4EBE32B}"/>
              </a:ext>
            </a:extLst>
          </p:cNvPr>
          <p:cNvSpPr txBox="1"/>
          <p:nvPr/>
        </p:nvSpPr>
        <p:spPr>
          <a:xfrm>
            <a:off x="4983238" y="2899619"/>
            <a:ext cx="460061" cy="107722"/>
          </a:xfrm>
          <a:prstGeom prst="rect">
            <a:avLst/>
          </a:prstGeom>
          <a:noFill/>
          <a:effectLst/>
        </p:spPr>
        <p:txBody>
          <a:bodyPr wrap="none" lIns="0" tIns="0" rIns="0" bIns="0" rtlCol="0" anchor="t" anchorCtr="0">
            <a:spAutoFit/>
          </a:bodyPr>
          <a:lstStyle/>
          <a:p>
            <a:pPr algn="ctr"/>
            <a:r>
              <a:rPr lang="en-GB" sz="700" dirty="0">
                <a:solidFill>
                  <a:schemeClr val="tx2"/>
                </a:solidFill>
              </a:rPr>
              <a:t>Learn more</a:t>
            </a:r>
          </a:p>
        </p:txBody>
      </p:sp>
      <p:sp>
        <p:nvSpPr>
          <p:cNvPr id="935" name="TextBox 1420">
            <a:extLst>
              <a:ext uri="{FF2B5EF4-FFF2-40B4-BE49-F238E27FC236}">
                <a16:creationId xmlns:a16="http://schemas.microsoft.com/office/drawing/2014/main" id="{5876168A-74D8-420D-8EA1-000C879CF6E5}"/>
              </a:ext>
            </a:extLst>
          </p:cNvPr>
          <p:cNvSpPr txBox="1"/>
          <p:nvPr/>
        </p:nvSpPr>
        <p:spPr>
          <a:xfrm>
            <a:off x="6116836" y="2899619"/>
            <a:ext cx="283732" cy="107722"/>
          </a:xfrm>
          <a:prstGeom prst="rect">
            <a:avLst/>
          </a:prstGeom>
          <a:noFill/>
          <a:effectLst/>
        </p:spPr>
        <p:txBody>
          <a:bodyPr wrap="none" lIns="0" tIns="0" rIns="0" bIns="0" rtlCol="0" anchor="t" anchorCtr="0">
            <a:spAutoFit/>
          </a:bodyPr>
          <a:lstStyle/>
          <a:p>
            <a:pPr algn="ctr"/>
            <a:r>
              <a:rPr lang="en-GB" sz="700" dirty="0">
                <a:solidFill>
                  <a:schemeClr val="tx2"/>
                </a:solidFill>
              </a:rPr>
              <a:t>Join us</a:t>
            </a:r>
          </a:p>
        </p:txBody>
      </p:sp>
      <p:sp>
        <p:nvSpPr>
          <p:cNvPr id="936" name="TextBox 1418">
            <a:extLst>
              <a:ext uri="{FF2B5EF4-FFF2-40B4-BE49-F238E27FC236}">
                <a16:creationId xmlns:a16="http://schemas.microsoft.com/office/drawing/2014/main" id="{832C4CCE-DB1F-491F-B81D-646A915D8121}"/>
              </a:ext>
            </a:extLst>
          </p:cNvPr>
          <p:cNvSpPr txBox="1"/>
          <p:nvPr/>
        </p:nvSpPr>
        <p:spPr>
          <a:xfrm>
            <a:off x="8165536" y="2899619"/>
            <a:ext cx="354264" cy="107722"/>
          </a:xfrm>
          <a:prstGeom prst="rect">
            <a:avLst/>
          </a:prstGeom>
          <a:noFill/>
          <a:effectLst/>
        </p:spPr>
        <p:txBody>
          <a:bodyPr wrap="none" lIns="0" tIns="0" rIns="0" bIns="0" rtlCol="0" anchor="t" anchorCtr="0">
            <a:spAutoFit/>
          </a:bodyPr>
          <a:lstStyle/>
          <a:p>
            <a:pPr algn="ctr"/>
            <a:r>
              <a:rPr lang="en-GB" sz="700" dirty="0">
                <a:solidFill>
                  <a:schemeClr val="tx2"/>
                </a:solidFill>
              </a:rPr>
              <a:t>About us</a:t>
            </a:r>
          </a:p>
        </p:txBody>
      </p:sp>
      <p:grpSp>
        <p:nvGrpSpPr>
          <p:cNvPr id="937" name="Group 765">
            <a:extLst>
              <a:ext uri="{FF2B5EF4-FFF2-40B4-BE49-F238E27FC236}">
                <a16:creationId xmlns:a16="http://schemas.microsoft.com/office/drawing/2014/main" id="{1A3DF447-DACA-440D-A5D3-3BAA5288257C}"/>
              </a:ext>
            </a:extLst>
          </p:cNvPr>
          <p:cNvGrpSpPr>
            <a:grpSpLocks noChangeAspect="1"/>
          </p:cNvGrpSpPr>
          <p:nvPr/>
        </p:nvGrpSpPr>
        <p:grpSpPr>
          <a:xfrm>
            <a:off x="4990243" y="3273396"/>
            <a:ext cx="446058" cy="432001"/>
            <a:chOff x="5301843" y="3340679"/>
            <a:chExt cx="419302" cy="406088"/>
          </a:xfrm>
        </p:grpSpPr>
        <p:grpSp>
          <p:nvGrpSpPr>
            <p:cNvPr id="938" name="Group 764">
              <a:extLst>
                <a:ext uri="{FF2B5EF4-FFF2-40B4-BE49-F238E27FC236}">
                  <a16:creationId xmlns:a16="http://schemas.microsoft.com/office/drawing/2014/main" id="{F4903429-CC97-4CD2-8F29-A933F2A57083}"/>
                </a:ext>
              </a:extLst>
            </p:cNvPr>
            <p:cNvGrpSpPr/>
            <p:nvPr/>
          </p:nvGrpSpPr>
          <p:grpSpPr>
            <a:xfrm>
              <a:off x="5301843" y="3499142"/>
              <a:ext cx="419302" cy="247625"/>
              <a:chOff x="5301839" y="3499141"/>
              <a:chExt cx="419302" cy="247625"/>
            </a:xfrm>
          </p:grpSpPr>
          <p:sp>
            <p:nvSpPr>
              <p:cNvPr id="943" name="Freihandform: Form 942">
                <a:extLst>
                  <a:ext uri="{FF2B5EF4-FFF2-40B4-BE49-F238E27FC236}">
                    <a16:creationId xmlns:a16="http://schemas.microsoft.com/office/drawing/2014/main" id="{B3A6D62D-AA0B-4469-AE91-E0636FDCBB61}"/>
                  </a:ext>
                </a:extLst>
              </p:cNvPr>
              <p:cNvSpPr/>
              <p:nvPr/>
            </p:nvSpPr>
            <p:spPr>
              <a:xfrm>
                <a:off x="5301840" y="3551985"/>
                <a:ext cx="419300" cy="194781"/>
              </a:xfrm>
              <a:custGeom>
                <a:avLst/>
                <a:gdLst>
                  <a:gd name="connsiteX0" fmla="*/ 414321 w 419300"/>
                  <a:gd name="connsiteY0" fmla="*/ 194781 h 194781"/>
                  <a:gd name="connsiteX1" fmla="*/ 4952 w 419300"/>
                  <a:gd name="connsiteY1" fmla="*/ 194781 h 194781"/>
                  <a:gd name="connsiteX2" fmla="*/ 0 w 419300"/>
                  <a:gd name="connsiteY2" fmla="*/ 189830 h 194781"/>
                  <a:gd name="connsiteX3" fmla="*/ 0 w 419300"/>
                  <a:gd name="connsiteY3" fmla="*/ 4952 h 194781"/>
                  <a:gd name="connsiteX4" fmla="*/ 4952 w 419300"/>
                  <a:gd name="connsiteY4" fmla="*/ 0 h 194781"/>
                  <a:gd name="connsiteX5" fmla="*/ 9903 w 419300"/>
                  <a:gd name="connsiteY5" fmla="*/ 4952 h 194781"/>
                  <a:gd name="connsiteX6" fmla="*/ 9903 w 419300"/>
                  <a:gd name="connsiteY6" fmla="*/ 184878 h 194781"/>
                  <a:gd name="connsiteX7" fmla="*/ 409397 w 419300"/>
                  <a:gd name="connsiteY7" fmla="*/ 184878 h 194781"/>
                  <a:gd name="connsiteX8" fmla="*/ 409397 w 419300"/>
                  <a:gd name="connsiteY8" fmla="*/ 4952 h 194781"/>
                  <a:gd name="connsiteX9" fmla="*/ 414349 w 419300"/>
                  <a:gd name="connsiteY9" fmla="*/ 0 h 194781"/>
                  <a:gd name="connsiteX10" fmla="*/ 419300 w 419300"/>
                  <a:gd name="connsiteY10" fmla="*/ 4952 h 194781"/>
                  <a:gd name="connsiteX11" fmla="*/ 419300 w 419300"/>
                  <a:gd name="connsiteY11" fmla="*/ 189830 h 194781"/>
                  <a:gd name="connsiteX12" fmla="*/ 414321 w 419300"/>
                  <a:gd name="connsiteY12" fmla="*/ 194781 h 19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9300" h="194781">
                    <a:moveTo>
                      <a:pt x="414321" y="194781"/>
                    </a:moveTo>
                    <a:lnTo>
                      <a:pt x="4952" y="194781"/>
                    </a:lnTo>
                    <a:cubicBezTo>
                      <a:pt x="2225" y="194781"/>
                      <a:pt x="0" y="192556"/>
                      <a:pt x="0" y="189830"/>
                    </a:cubicBezTo>
                    <a:lnTo>
                      <a:pt x="0" y="4952"/>
                    </a:lnTo>
                    <a:cubicBezTo>
                      <a:pt x="0" y="2225"/>
                      <a:pt x="2225" y="0"/>
                      <a:pt x="4952" y="0"/>
                    </a:cubicBezTo>
                    <a:cubicBezTo>
                      <a:pt x="7678" y="0"/>
                      <a:pt x="9903" y="2225"/>
                      <a:pt x="9903" y="4952"/>
                    </a:cubicBezTo>
                    <a:lnTo>
                      <a:pt x="9903" y="184878"/>
                    </a:lnTo>
                    <a:lnTo>
                      <a:pt x="409397" y="184878"/>
                    </a:lnTo>
                    <a:lnTo>
                      <a:pt x="409397" y="4952"/>
                    </a:lnTo>
                    <a:cubicBezTo>
                      <a:pt x="409397" y="2225"/>
                      <a:pt x="411623" y="0"/>
                      <a:pt x="414349" y="0"/>
                    </a:cubicBezTo>
                    <a:cubicBezTo>
                      <a:pt x="417075" y="0"/>
                      <a:pt x="419300" y="2225"/>
                      <a:pt x="419300" y="4952"/>
                    </a:cubicBezTo>
                    <a:lnTo>
                      <a:pt x="419300" y="189830"/>
                    </a:lnTo>
                    <a:cubicBezTo>
                      <a:pt x="419273" y="192556"/>
                      <a:pt x="417075" y="194781"/>
                      <a:pt x="414321" y="194781"/>
                    </a:cubicBezTo>
                    <a:close/>
                  </a:path>
                </a:pathLst>
              </a:custGeom>
              <a:solidFill>
                <a:schemeClr val="tx2"/>
              </a:solidFill>
              <a:ln w="2775" cap="flat">
                <a:noFill/>
                <a:prstDash val="solid"/>
                <a:miter/>
              </a:ln>
            </p:spPr>
            <p:txBody>
              <a:bodyPr rtlCol="0" anchor="ctr"/>
              <a:lstStyle/>
              <a:p>
                <a:endParaRPr lang="en-GB" dirty="0"/>
              </a:p>
            </p:txBody>
          </p:sp>
          <p:sp>
            <p:nvSpPr>
              <p:cNvPr id="944" name="Freihandform: Form 943">
                <a:extLst>
                  <a:ext uri="{FF2B5EF4-FFF2-40B4-BE49-F238E27FC236}">
                    <a16:creationId xmlns:a16="http://schemas.microsoft.com/office/drawing/2014/main" id="{714FA336-E712-42C7-A2F4-E939E942F634}"/>
                  </a:ext>
                </a:extLst>
              </p:cNvPr>
              <p:cNvSpPr/>
              <p:nvPr/>
            </p:nvSpPr>
            <p:spPr>
              <a:xfrm>
                <a:off x="5665002" y="3499141"/>
                <a:ext cx="56139" cy="62719"/>
              </a:xfrm>
              <a:custGeom>
                <a:avLst/>
                <a:gdLst>
                  <a:gd name="connsiteX0" fmla="*/ 51186 w 56139"/>
                  <a:gd name="connsiteY0" fmla="*/ 62720 h 62719"/>
                  <a:gd name="connsiteX1" fmla="*/ 47459 w 56139"/>
                  <a:gd name="connsiteY1" fmla="*/ 61023 h 62719"/>
                  <a:gd name="connsiteX2" fmla="*/ 1225 w 56139"/>
                  <a:gd name="connsiteY2" fmla="*/ 8196 h 62719"/>
                  <a:gd name="connsiteX3" fmla="*/ 1698 w 56139"/>
                  <a:gd name="connsiteY3" fmla="*/ 1214 h 62719"/>
                  <a:gd name="connsiteX4" fmla="*/ 8680 w 56139"/>
                  <a:gd name="connsiteY4" fmla="*/ 1687 h 62719"/>
                  <a:gd name="connsiteX5" fmla="*/ 54914 w 56139"/>
                  <a:gd name="connsiteY5" fmla="*/ 54513 h 62719"/>
                  <a:gd name="connsiteX6" fmla="*/ 54441 w 56139"/>
                  <a:gd name="connsiteY6" fmla="*/ 61496 h 62719"/>
                  <a:gd name="connsiteX7" fmla="*/ 51186 w 56139"/>
                  <a:gd name="connsiteY7" fmla="*/ 62720 h 6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39" h="62719">
                    <a:moveTo>
                      <a:pt x="51186" y="62720"/>
                    </a:moveTo>
                    <a:cubicBezTo>
                      <a:pt x="49795" y="62720"/>
                      <a:pt x="48432" y="62135"/>
                      <a:pt x="47459" y="61023"/>
                    </a:cubicBezTo>
                    <a:lnTo>
                      <a:pt x="1225" y="8196"/>
                    </a:lnTo>
                    <a:cubicBezTo>
                      <a:pt x="-583" y="6138"/>
                      <a:pt x="-360" y="2994"/>
                      <a:pt x="1698" y="1214"/>
                    </a:cubicBezTo>
                    <a:cubicBezTo>
                      <a:pt x="3757" y="-566"/>
                      <a:pt x="6872" y="-372"/>
                      <a:pt x="8680" y="1687"/>
                    </a:cubicBezTo>
                    <a:lnTo>
                      <a:pt x="54914" y="54513"/>
                    </a:lnTo>
                    <a:cubicBezTo>
                      <a:pt x="56722" y="56572"/>
                      <a:pt x="56500" y="59715"/>
                      <a:pt x="54441" y="61496"/>
                    </a:cubicBezTo>
                    <a:cubicBezTo>
                      <a:pt x="53495" y="62330"/>
                      <a:pt x="52327" y="62720"/>
                      <a:pt x="51186" y="62720"/>
                    </a:cubicBezTo>
                    <a:close/>
                  </a:path>
                </a:pathLst>
              </a:custGeom>
              <a:solidFill>
                <a:schemeClr val="tx2"/>
              </a:solidFill>
              <a:ln w="2775" cap="flat">
                <a:noFill/>
                <a:prstDash val="solid"/>
                <a:miter/>
              </a:ln>
            </p:spPr>
            <p:txBody>
              <a:bodyPr rtlCol="0" anchor="ctr"/>
              <a:lstStyle/>
              <a:p>
                <a:endParaRPr lang="en-GB" dirty="0"/>
              </a:p>
            </p:txBody>
          </p:sp>
          <p:sp>
            <p:nvSpPr>
              <p:cNvPr id="945" name="Freihandform: Form 944">
                <a:extLst>
                  <a:ext uri="{FF2B5EF4-FFF2-40B4-BE49-F238E27FC236}">
                    <a16:creationId xmlns:a16="http://schemas.microsoft.com/office/drawing/2014/main" id="{C61C75AC-3C69-4A81-ACA6-85C25594E72F}"/>
                  </a:ext>
                </a:extLst>
              </p:cNvPr>
              <p:cNvSpPr/>
              <p:nvPr/>
            </p:nvSpPr>
            <p:spPr>
              <a:xfrm>
                <a:off x="5301839" y="3499141"/>
                <a:ext cx="56139" cy="62719"/>
              </a:xfrm>
              <a:custGeom>
                <a:avLst/>
                <a:gdLst>
                  <a:gd name="connsiteX0" fmla="*/ 4953 w 56139"/>
                  <a:gd name="connsiteY0" fmla="*/ 62720 h 62719"/>
                  <a:gd name="connsiteX1" fmla="*/ 1698 w 56139"/>
                  <a:gd name="connsiteY1" fmla="*/ 61496 h 62719"/>
                  <a:gd name="connsiteX2" fmla="*/ 1225 w 56139"/>
                  <a:gd name="connsiteY2" fmla="*/ 54513 h 62719"/>
                  <a:gd name="connsiteX3" fmla="*/ 47459 w 56139"/>
                  <a:gd name="connsiteY3" fmla="*/ 1687 h 62719"/>
                  <a:gd name="connsiteX4" fmla="*/ 54441 w 56139"/>
                  <a:gd name="connsiteY4" fmla="*/ 1214 h 62719"/>
                  <a:gd name="connsiteX5" fmla="*/ 54914 w 56139"/>
                  <a:gd name="connsiteY5" fmla="*/ 8196 h 62719"/>
                  <a:gd name="connsiteX6" fmla="*/ 8680 w 56139"/>
                  <a:gd name="connsiteY6" fmla="*/ 61023 h 62719"/>
                  <a:gd name="connsiteX7" fmla="*/ 4953 w 56139"/>
                  <a:gd name="connsiteY7" fmla="*/ 62720 h 62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39" h="62719">
                    <a:moveTo>
                      <a:pt x="4953" y="62720"/>
                    </a:moveTo>
                    <a:cubicBezTo>
                      <a:pt x="3785" y="62720"/>
                      <a:pt x="2644" y="62302"/>
                      <a:pt x="1698" y="61496"/>
                    </a:cubicBezTo>
                    <a:cubicBezTo>
                      <a:pt x="-360" y="59687"/>
                      <a:pt x="-583" y="56572"/>
                      <a:pt x="1225" y="54513"/>
                    </a:cubicBezTo>
                    <a:lnTo>
                      <a:pt x="47459" y="1687"/>
                    </a:lnTo>
                    <a:cubicBezTo>
                      <a:pt x="49267" y="-372"/>
                      <a:pt x="52383" y="-566"/>
                      <a:pt x="54441" y="1214"/>
                    </a:cubicBezTo>
                    <a:cubicBezTo>
                      <a:pt x="56500" y="3022"/>
                      <a:pt x="56722" y="6138"/>
                      <a:pt x="54914" y="8196"/>
                    </a:cubicBezTo>
                    <a:lnTo>
                      <a:pt x="8680" y="61023"/>
                    </a:lnTo>
                    <a:cubicBezTo>
                      <a:pt x="7707" y="62163"/>
                      <a:pt x="6316" y="62720"/>
                      <a:pt x="4953" y="62720"/>
                    </a:cubicBezTo>
                    <a:close/>
                  </a:path>
                </a:pathLst>
              </a:custGeom>
              <a:solidFill>
                <a:schemeClr val="tx2"/>
              </a:solidFill>
              <a:ln w="2775" cap="flat">
                <a:noFill/>
                <a:prstDash val="solid"/>
                <a:miter/>
              </a:ln>
            </p:spPr>
            <p:txBody>
              <a:bodyPr rtlCol="0" anchor="ctr"/>
              <a:lstStyle/>
              <a:p>
                <a:endParaRPr lang="en-GB" dirty="0"/>
              </a:p>
            </p:txBody>
          </p:sp>
          <p:sp>
            <p:nvSpPr>
              <p:cNvPr id="946" name="Freihandform: Form 945">
                <a:extLst>
                  <a:ext uri="{FF2B5EF4-FFF2-40B4-BE49-F238E27FC236}">
                    <a16:creationId xmlns:a16="http://schemas.microsoft.com/office/drawing/2014/main" id="{CAC01BB3-40A2-43A4-AE9E-C0DC37236D2F}"/>
                  </a:ext>
                </a:extLst>
              </p:cNvPr>
              <p:cNvSpPr/>
              <p:nvPr/>
            </p:nvSpPr>
            <p:spPr>
              <a:xfrm>
                <a:off x="5334860" y="3551957"/>
                <a:ext cx="353260" cy="9903"/>
              </a:xfrm>
              <a:custGeom>
                <a:avLst/>
                <a:gdLst>
                  <a:gd name="connsiteX0" fmla="*/ 348309 w 353260"/>
                  <a:gd name="connsiteY0" fmla="*/ 9903 h 9903"/>
                  <a:gd name="connsiteX1" fmla="*/ 4952 w 353260"/>
                  <a:gd name="connsiteY1" fmla="*/ 9903 h 9903"/>
                  <a:gd name="connsiteX2" fmla="*/ 0 w 353260"/>
                  <a:gd name="connsiteY2" fmla="*/ 4952 h 9903"/>
                  <a:gd name="connsiteX3" fmla="*/ 4952 w 353260"/>
                  <a:gd name="connsiteY3" fmla="*/ 0 h 9903"/>
                  <a:gd name="connsiteX4" fmla="*/ 348309 w 353260"/>
                  <a:gd name="connsiteY4" fmla="*/ 0 h 9903"/>
                  <a:gd name="connsiteX5" fmla="*/ 353261 w 353260"/>
                  <a:gd name="connsiteY5" fmla="*/ 4952 h 9903"/>
                  <a:gd name="connsiteX6" fmla="*/ 348309 w 353260"/>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3260" h="9903">
                    <a:moveTo>
                      <a:pt x="348309" y="9903"/>
                    </a:moveTo>
                    <a:lnTo>
                      <a:pt x="4952" y="9903"/>
                    </a:lnTo>
                    <a:cubicBezTo>
                      <a:pt x="2225" y="9903"/>
                      <a:pt x="0" y="7678"/>
                      <a:pt x="0" y="4952"/>
                    </a:cubicBezTo>
                    <a:cubicBezTo>
                      <a:pt x="0" y="2225"/>
                      <a:pt x="2225" y="0"/>
                      <a:pt x="4952" y="0"/>
                    </a:cubicBezTo>
                    <a:lnTo>
                      <a:pt x="348309" y="0"/>
                    </a:lnTo>
                    <a:cubicBezTo>
                      <a:pt x="351035" y="0"/>
                      <a:pt x="353261" y="2225"/>
                      <a:pt x="353261" y="4952"/>
                    </a:cubicBezTo>
                    <a:cubicBezTo>
                      <a:pt x="353261" y="7706"/>
                      <a:pt x="351035" y="9903"/>
                      <a:pt x="348309" y="9903"/>
                    </a:cubicBezTo>
                    <a:close/>
                  </a:path>
                </a:pathLst>
              </a:custGeom>
              <a:solidFill>
                <a:schemeClr val="tx2"/>
              </a:solidFill>
              <a:ln w="2775" cap="flat">
                <a:noFill/>
                <a:prstDash val="solid"/>
                <a:miter/>
              </a:ln>
            </p:spPr>
            <p:txBody>
              <a:bodyPr rtlCol="0" anchor="ctr"/>
              <a:lstStyle/>
              <a:p>
                <a:endParaRPr lang="en-GB" dirty="0"/>
              </a:p>
            </p:txBody>
          </p:sp>
          <p:sp>
            <p:nvSpPr>
              <p:cNvPr id="947" name="Freihandform: Form 946">
                <a:extLst>
                  <a:ext uri="{FF2B5EF4-FFF2-40B4-BE49-F238E27FC236}">
                    <a16:creationId xmlns:a16="http://schemas.microsoft.com/office/drawing/2014/main" id="{1E1D4F4A-7F09-43CA-82CF-6B97F474523E}"/>
                  </a:ext>
                </a:extLst>
              </p:cNvPr>
              <p:cNvSpPr/>
              <p:nvPr/>
            </p:nvSpPr>
            <p:spPr>
              <a:xfrm>
                <a:off x="5453698" y="3637803"/>
                <a:ext cx="115528" cy="42923"/>
              </a:xfrm>
              <a:custGeom>
                <a:avLst/>
                <a:gdLst>
                  <a:gd name="connsiteX0" fmla="*/ 91215 w 115528"/>
                  <a:gd name="connsiteY0" fmla="*/ 42923 h 42923"/>
                  <a:gd name="connsiteX1" fmla="*/ 24369 w 115528"/>
                  <a:gd name="connsiteY1" fmla="*/ 42923 h 42923"/>
                  <a:gd name="connsiteX2" fmla="*/ 0 w 115528"/>
                  <a:gd name="connsiteY2" fmla="*/ 18555 h 42923"/>
                  <a:gd name="connsiteX3" fmla="*/ 0 w 115528"/>
                  <a:gd name="connsiteY3" fmla="*/ 4952 h 42923"/>
                  <a:gd name="connsiteX4" fmla="*/ 4952 w 115528"/>
                  <a:gd name="connsiteY4" fmla="*/ 0 h 42923"/>
                  <a:gd name="connsiteX5" fmla="*/ 9903 w 115528"/>
                  <a:gd name="connsiteY5" fmla="*/ 4952 h 42923"/>
                  <a:gd name="connsiteX6" fmla="*/ 9903 w 115528"/>
                  <a:gd name="connsiteY6" fmla="*/ 18555 h 42923"/>
                  <a:gd name="connsiteX7" fmla="*/ 24341 w 115528"/>
                  <a:gd name="connsiteY7" fmla="*/ 32992 h 42923"/>
                  <a:gd name="connsiteX8" fmla="*/ 91187 w 115528"/>
                  <a:gd name="connsiteY8" fmla="*/ 32992 h 42923"/>
                  <a:gd name="connsiteX9" fmla="*/ 105625 w 115528"/>
                  <a:gd name="connsiteY9" fmla="*/ 18555 h 42923"/>
                  <a:gd name="connsiteX10" fmla="*/ 105625 w 115528"/>
                  <a:gd name="connsiteY10" fmla="*/ 4952 h 42923"/>
                  <a:gd name="connsiteX11" fmla="*/ 110576 w 115528"/>
                  <a:gd name="connsiteY11" fmla="*/ 0 h 42923"/>
                  <a:gd name="connsiteX12" fmla="*/ 115528 w 115528"/>
                  <a:gd name="connsiteY12" fmla="*/ 4952 h 42923"/>
                  <a:gd name="connsiteX13" fmla="*/ 115528 w 115528"/>
                  <a:gd name="connsiteY13" fmla="*/ 18555 h 42923"/>
                  <a:gd name="connsiteX14" fmla="*/ 91215 w 115528"/>
                  <a:gd name="connsiteY14" fmla="*/ 42923 h 4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5528" h="42923">
                    <a:moveTo>
                      <a:pt x="91215" y="42923"/>
                    </a:moveTo>
                    <a:lnTo>
                      <a:pt x="24369" y="42923"/>
                    </a:lnTo>
                    <a:cubicBezTo>
                      <a:pt x="10932" y="42923"/>
                      <a:pt x="0" y="31991"/>
                      <a:pt x="0" y="18555"/>
                    </a:cubicBezTo>
                    <a:lnTo>
                      <a:pt x="0" y="4952"/>
                    </a:lnTo>
                    <a:cubicBezTo>
                      <a:pt x="0" y="2225"/>
                      <a:pt x="2225" y="0"/>
                      <a:pt x="4952" y="0"/>
                    </a:cubicBezTo>
                    <a:cubicBezTo>
                      <a:pt x="7678" y="0"/>
                      <a:pt x="9903" y="2225"/>
                      <a:pt x="9903" y="4952"/>
                    </a:cubicBezTo>
                    <a:lnTo>
                      <a:pt x="9903" y="18555"/>
                    </a:lnTo>
                    <a:cubicBezTo>
                      <a:pt x="9903" y="26538"/>
                      <a:pt x="16385" y="32992"/>
                      <a:pt x="24341" y="32992"/>
                    </a:cubicBezTo>
                    <a:lnTo>
                      <a:pt x="91187" y="32992"/>
                    </a:lnTo>
                    <a:cubicBezTo>
                      <a:pt x="99143" y="32992"/>
                      <a:pt x="105625" y="26511"/>
                      <a:pt x="105625" y="18555"/>
                    </a:cubicBezTo>
                    <a:lnTo>
                      <a:pt x="105625" y="4952"/>
                    </a:lnTo>
                    <a:cubicBezTo>
                      <a:pt x="105625" y="2225"/>
                      <a:pt x="107850" y="0"/>
                      <a:pt x="110576" y="0"/>
                    </a:cubicBezTo>
                    <a:cubicBezTo>
                      <a:pt x="113303" y="0"/>
                      <a:pt x="115528" y="2225"/>
                      <a:pt x="115528" y="4952"/>
                    </a:cubicBezTo>
                    <a:lnTo>
                      <a:pt x="115528" y="18555"/>
                    </a:lnTo>
                    <a:cubicBezTo>
                      <a:pt x="115556" y="31991"/>
                      <a:pt x="104623" y="42923"/>
                      <a:pt x="91215" y="42923"/>
                    </a:cubicBezTo>
                    <a:close/>
                  </a:path>
                </a:pathLst>
              </a:custGeom>
              <a:solidFill>
                <a:schemeClr val="tx2"/>
              </a:solidFill>
              <a:ln w="2775" cap="flat">
                <a:noFill/>
                <a:prstDash val="solid"/>
                <a:miter/>
              </a:ln>
            </p:spPr>
            <p:txBody>
              <a:bodyPr rtlCol="0" anchor="ctr"/>
              <a:lstStyle/>
              <a:p>
                <a:endParaRPr lang="en-GB" dirty="0"/>
              </a:p>
            </p:txBody>
          </p:sp>
        </p:grpSp>
        <p:grpSp>
          <p:nvGrpSpPr>
            <p:cNvPr id="939" name="Group 763">
              <a:extLst>
                <a:ext uri="{FF2B5EF4-FFF2-40B4-BE49-F238E27FC236}">
                  <a16:creationId xmlns:a16="http://schemas.microsoft.com/office/drawing/2014/main" id="{E917F7AD-D2FD-422C-9FE1-B311EEF1FBB0}"/>
                </a:ext>
              </a:extLst>
            </p:cNvPr>
            <p:cNvGrpSpPr/>
            <p:nvPr/>
          </p:nvGrpSpPr>
          <p:grpSpPr>
            <a:xfrm>
              <a:off x="5348046" y="3340679"/>
              <a:ext cx="326861" cy="201375"/>
              <a:chOff x="5348046" y="3340679"/>
              <a:chExt cx="326861" cy="201375"/>
            </a:xfrm>
          </p:grpSpPr>
          <p:sp>
            <p:nvSpPr>
              <p:cNvPr id="940" name="Freihandform: Form 939">
                <a:extLst>
                  <a:ext uri="{FF2B5EF4-FFF2-40B4-BE49-F238E27FC236}">
                    <a16:creationId xmlns:a16="http://schemas.microsoft.com/office/drawing/2014/main" id="{71631133-2D6B-470F-B11F-8AF1952DA993}"/>
                  </a:ext>
                </a:extLst>
              </p:cNvPr>
              <p:cNvSpPr/>
              <p:nvPr/>
            </p:nvSpPr>
            <p:spPr>
              <a:xfrm>
                <a:off x="5348046" y="3426498"/>
                <a:ext cx="326861" cy="115556"/>
              </a:xfrm>
              <a:custGeom>
                <a:avLst/>
                <a:gdLst>
                  <a:gd name="connsiteX0" fmla="*/ 321910 w 326861"/>
                  <a:gd name="connsiteY0" fmla="*/ 115556 h 115556"/>
                  <a:gd name="connsiteX1" fmla="*/ 316958 w 326861"/>
                  <a:gd name="connsiteY1" fmla="*/ 110604 h 115556"/>
                  <a:gd name="connsiteX2" fmla="*/ 316958 w 326861"/>
                  <a:gd name="connsiteY2" fmla="*/ 9903 h 115556"/>
                  <a:gd name="connsiteX3" fmla="*/ 9903 w 326861"/>
                  <a:gd name="connsiteY3" fmla="*/ 9903 h 115556"/>
                  <a:gd name="connsiteX4" fmla="*/ 9903 w 326861"/>
                  <a:gd name="connsiteY4" fmla="*/ 110604 h 115556"/>
                  <a:gd name="connsiteX5" fmla="*/ 4952 w 326861"/>
                  <a:gd name="connsiteY5" fmla="*/ 115556 h 115556"/>
                  <a:gd name="connsiteX6" fmla="*/ 0 w 326861"/>
                  <a:gd name="connsiteY6" fmla="*/ 110604 h 115556"/>
                  <a:gd name="connsiteX7" fmla="*/ 0 w 326861"/>
                  <a:gd name="connsiteY7" fmla="*/ 4952 h 115556"/>
                  <a:gd name="connsiteX8" fmla="*/ 4952 w 326861"/>
                  <a:gd name="connsiteY8" fmla="*/ 0 h 115556"/>
                  <a:gd name="connsiteX9" fmla="*/ 321910 w 326861"/>
                  <a:gd name="connsiteY9" fmla="*/ 0 h 115556"/>
                  <a:gd name="connsiteX10" fmla="*/ 326861 w 326861"/>
                  <a:gd name="connsiteY10" fmla="*/ 4952 h 115556"/>
                  <a:gd name="connsiteX11" fmla="*/ 326861 w 326861"/>
                  <a:gd name="connsiteY11" fmla="*/ 110604 h 115556"/>
                  <a:gd name="connsiteX12" fmla="*/ 321910 w 326861"/>
                  <a:gd name="connsiteY12" fmla="*/ 115556 h 115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26861" h="115556">
                    <a:moveTo>
                      <a:pt x="321910" y="115556"/>
                    </a:moveTo>
                    <a:cubicBezTo>
                      <a:pt x="319184" y="115556"/>
                      <a:pt x="316958" y="113331"/>
                      <a:pt x="316958" y="110604"/>
                    </a:cubicBezTo>
                    <a:lnTo>
                      <a:pt x="316958" y="9903"/>
                    </a:lnTo>
                    <a:lnTo>
                      <a:pt x="9903" y="9903"/>
                    </a:lnTo>
                    <a:lnTo>
                      <a:pt x="9903" y="110604"/>
                    </a:lnTo>
                    <a:cubicBezTo>
                      <a:pt x="9903" y="113331"/>
                      <a:pt x="7678" y="115556"/>
                      <a:pt x="4952" y="115556"/>
                    </a:cubicBezTo>
                    <a:cubicBezTo>
                      <a:pt x="2225" y="115556"/>
                      <a:pt x="0" y="113331"/>
                      <a:pt x="0" y="110604"/>
                    </a:cubicBezTo>
                    <a:lnTo>
                      <a:pt x="0" y="4952"/>
                    </a:lnTo>
                    <a:cubicBezTo>
                      <a:pt x="0" y="2226"/>
                      <a:pt x="2225" y="0"/>
                      <a:pt x="4952" y="0"/>
                    </a:cubicBezTo>
                    <a:lnTo>
                      <a:pt x="321910" y="0"/>
                    </a:lnTo>
                    <a:cubicBezTo>
                      <a:pt x="324636" y="0"/>
                      <a:pt x="326861" y="2226"/>
                      <a:pt x="326861" y="4952"/>
                    </a:cubicBezTo>
                    <a:lnTo>
                      <a:pt x="326861" y="110604"/>
                    </a:lnTo>
                    <a:cubicBezTo>
                      <a:pt x="326861" y="113358"/>
                      <a:pt x="324636" y="115556"/>
                      <a:pt x="321910" y="115556"/>
                    </a:cubicBezTo>
                    <a:close/>
                  </a:path>
                </a:pathLst>
              </a:custGeom>
              <a:solidFill>
                <a:schemeClr val="accent1"/>
              </a:solidFill>
              <a:ln w="2775" cap="flat">
                <a:noFill/>
                <a:prstDash val="solid"/>
                <a:miter/>
              </a:ln>
            </p:spPr>
            <p:txBody>
              <a:bodyPr rtlCol="0" anchor="ctr"/>
              <a:lstStyle/>
              <a:p>
                <a:endParaRPr lang="en-GB" dirty="0"/>
              </a:p>
            </p:txBody>
          </p:sp>
          <p:sp>
            <p:nvSpPr>
              <p:cNvPr id="941" name="Freihandform: Form 940">
                <a:extLst>
                  <a:ext uri="{FF2B5EF4-FFF2-40B4-BE49-F238E27FC236}">
                    <a16:creationId xmlns:a16="http://schemas.microsoft.com/office/drawing/2014/main" id="{9FB9CE7D-2418-4168-AE56-754BA90ECB38}"/>
                  </a:ext>
                </a:extLst>
              </p:cNvPr>
              <p:cNvSpPr/>
              <p:nvPr/>
            </p:nvSpPr>
            <p:spPr>
              <a:xfrm>
                <a:off x="5361259" y="3380292"/>
                <a:ext cx="300434" cy="36302"/>
              </a:xfrm>
              <a:custGeom>
                <a:avLst/>
                <a:gdLst>
                  <a:gd name="connsiteX0" fmla="*/ 295483 w 300434"/>
                  <a:gd name="connsiteY0" fmla="*/ 36302 h 36302"/>
                  <a:gd name="connsiteX1" fmla="*/ 290531 w 300434"/>
                  <a:gd name="connsiteY1" fmla="*/ 31351 h 36302"/>
                  <a:gd name="connsiteX2" fmla="*/ 290531 w 300434"/>
                  <a:gd name="connsiteY2" fmla="*/ 9903 h 36302"/>
                  <a:gd name="connsiteX3" fmla="*/ 9903 w 300434"/>
                  <a:gd name="connsiteY3" fmla="*/ 9903 h 36302"/>
                  <a:gd name="connsiteX4" fmla="*/ 9903 w 300434"/>
                  <a:gd name="connsiteY4" fmla="*/ 31351 h 36302"/>
                  <a:gd name="connsiteX5" fmla="*/ 4952 w 300434"/>
                  <a:gd name="connsiteY5" fmla="*/ 36302 h 36302"/>
                  <a:gd name="connsiteX6" fmla="*/ 0 w 300434"/>
                  <a:gd name="connsiteY6" fmla="*/ 31351 h 36302"/>
                  <a:gd name="connsiteX7" fmla="*/ 0 w 300434"/>
                  <a:gd name="connsiteY7" fmla="*/ 4952 h 36302"/>
                  <a:gd name="connsiteX8" fmla="*/ 4952 w 300434"/>
                  <a:gd name="connsiteY8" fmla="*/ 0 h 36302"/>
                  <a:gd name="connsiteX9" fmla="*/ 295483 w 300434"/>
                  <a:gd name="connsiteY9" fmla="*/ 0 h 36302"/>
                  <a:gd name="connsiteX10" fmla="*/ 300434 w 300434"/>
                  <a:gd name="connsiteY10" fmla="*/ 4952 h 36302"/>
                  <a:gd name="connsiteX11" fmla="*/ 300434 w 300434"/>
                  <a:gd name="connsiteY11" fmla="*/ 31351 h 36302"/>
                  <a:gd name="connsiteX12" fmla="*/ 295483 w 300434"/>
                  <a:gd name="connsiteY12" fmla="*/ 36302 h 36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0434" h="36302">
                    <a:moveTo>
                      <a:pt x="295483" y="36302"/>
                    </a:moveTo>
                    <a:cubicBezTo>
                      <a:pt x="292756" y="36302"/>
                      <a:pt x="290531" y="34077"/>
                      <a:pt x="290531" y="31351"/>
                    </a:cubicBezTo>
                    <a:lnTo>
                      <a:pt x="290531" y="9903"/>
                    </a:lnTo>
                    <a:lnTo>
                      <a:pt x="9903" y="9903"/>
                    </a:lnTo>
                    <a:lnTo>
                      <a:pt x="9903" y="31351"/>
                    </a:lnTo>
                    <a:cubicBezTo>
                      <a:pt x="9903" y="34077"/>
                      <a:pt x="7678" y="36302"/>
                      <a:pt x="4952" y="36302"/>
                    </a:cubicBezTo>
                    <a:cubicBezTo>
                      <a:pt x="2225" y="36302"/>
                      <a:pt x="0" y="34077"/>
                      <a:pt x="0" y="31351"/>
                    </a:cubicBezTo>
                    <a:lnTo>
                      <a:pt x="0" y="4952"/>
                    </a:lnTo>
                    <a:cubicBezTo>
                      <a:pt x="0" y="2225"/>
                      <a:pt x="2225" y="0"/>
                      <a:pt x="4952" y="0"/>
                    </a:cubicBezTo>
                    <a:lnTo>
                      <a:pt x="295483" y="0"/>
                    </a:lnTo>
                    <a:cubicBezTo>
                      <a:pt x="298209" y="0"/>
                      <a:pt x="300434" y="2225"/>
                      <a:pt x="300434" y="4952"/>
                    </a:cubicBezTo>
                    <a:lnTo>
                      <a:pt x="300434" y="31351"/>
                    </a:lnTo>
                    <a:cubicBezTo>
                      <a:pt x="300434" y="34105"/>
                      <a:pt x="298209" y="36302"/>
                      <a:pt x="295483" y="36302"/>
                    </a:cubicBezTo>
                    <a:close/>
                  </a:path>
                </a:pathLst>
              </a:custGeom>
              <a:solidFill>
                <a:schemeClr val="accent1"/>
              </a:solidFill>
              <a:ln w="2775" cap="flat">
                <a:noFill/>
                <a:prstDash val="solid"/>
                <a:miter/>
              </a:ln>
            </p:spPr>
            <p:txBody>
              <a:bodyPr rtlCol="0" anchor="ctr"/>
              <a:lstStyle/>
              <a:p>
                <a:endParaRPr lang="en-GB" dirty="0"/>
              </a:p>
            </p:txBody>
          </p:sp>
          <p:sp>
            <p:nvSpPr>
              <p:cNvPr id="942" name="Freihandform: Form 941">
                <a:extLst>
                  <a:ext uri="{FF2B5EF4-FFF2-40B4-BE49-F238E27FC236}">
                    <a16:creationId xmlns:a16="http://schemas.microsoft.com/office/drawing/2014/main" id="{19264671-C897-4E83-B31E-1059B59890CC}"/>
                  </a:ext>
                </a:extLst>
              </p:cNvPr>
              <p:cNvSpPr/>
              <p:nvPr/>
            </p:nvSpPr>
            <p:spPr>
              <a:xfrm>
                <a:off x="5374473" y="3340679"/>
                <a:ext cx="274034" cy="29709"/>
              </a:xfrm>
              <a:custGeom>
                <a:avLst/>
                <a:gdLst>
                  <a:gd name="connsiteX0" fmla="*/ 269056 w 274034"/>
                  <a:gd name="connsiteY0" fmla="*/ 29710 h 29709"/>
                  <a:gd name="connsiteX1" fmla="*/ 264104 w 274034"/>
                  <a:gd name="connsiteY1" fmla="*/ 24758 h 29709"/>
                  <a:gd name="connsiteX2" fmla="*/ 264104 w 274034"/>
                  <a:gd name="connsiteY2" fmla="*/ 9903 h 29709"/>
                  <a:gd name="connsiteX3" fmla="*/ 9903 w 274034"/>
                  <a:gd name="connsiteY3" fmla="*/ 9903 h 29709"/>
                  <a:gd name="connsiteX4" fmla="*/ 9903 w 274034"/>
                  <a:gd name="connsiteY4" fmla="*/ 24758 h 29709"/>
                  <a:gd name="connsiteX5" fmla="*/ 4952 w 274034"/>
                  <a:gd name="connsiteY5" fmla="*/ 29710 h 29709"/>
                  <a:gd name="connsiteX6" fmla="*/ 0 w 274034"/>
                  <a:gd name="connsiteY6" fmla="*/ 24758 h 29709"/>
                  <a:gd name="connsiteX7" fmla="*/ 0 w 274034"/>
                  <a:gd name="connsiteY7" fmla="*/ 4952 h 29709"/>
                  <a:gd name="connsiteX8" fmla="*/ 4952 w 274034"/>
                  <a:gd name="connsiteY8" fmla="*/ 0 h 29709"/>
                  <a:gd name="connsiteX9" fmla="*/ 269083 w 274034"/>
                  <a:gd name="connsiteY9" fmla="*/ 0 h 29709"/>
                  <a:gd name="connsiteX10" fmla="*/ 274035 w 274034"/>
                  <a:gd name="connsiteY10" fmla="*/ 4952 h 29709"/>
                  <a:gd name="connsiteX11" fmla="*/ 274035 w 274034"/>
                  <a:gd name="connsiteY11" fmla="*/ 24758 h 29709"/>
                  <a:gd name="connsiteX12" fmla="*/ 269056 w 274034"/>
                  <a:gd name="connsiteY12" fmla="*/ 29710 h 29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4034" h="29709">
                    <a:moveTo>
                      <a:pt x="269056" y="29710"/>
                    </a:moveTo>
                    <a:cubicBezTo>
                      <a:pt x="266329" y="29710"/>
                      <a:pt x="264104" y="27484"/>
                      <a:pt x="264104" y="24758"/>
                    </a:cubicBezTo>
                    <a:lnTo>
                      <a:pt x="264104" y="9903"/>
                    </a:lnTo>
                    <a:lnTo>
                      <a:pt x="9903" y="9903"/>
                    </a:lnTo>
                    <a:lnTo>
                      <a:pt x="9903" y="24758"/>
                    </a:lnTo>
                    <a:cubicBezTo>
                      <a:pt x="9903" y="27484"/>
                      <a:pt x="7678" y="29710"/>
                      <a:pt x="4952" y="29710"/>
                    </a:cubicBezTo>
                    <a:cubicBezTo>
                      <a:pt x="2225" y="29710"/>
                      <a:pt x="0" y="27484"/>
                      <a:pt x="0" y="24758"/>
                    </a:cubicBezTo>
                    <a:lnTo>
                      <a:pt x="0" y="4952"/>
                    </a:lnTo>
                    <a:cubicBezTo>
                      <a:pt x="0" y="2225"/>
                      <a:pt x="2225" y="0"/>
                      <a:pt x="4952" y="0"/>
                    </a:cubicBezTo>
                    <a:lnTo>
                      <a:pt x="269083" y="0"/>
                    </a:lnTo>
                    <a:cubicBezTo>
                      <a:pt x="271809" y="0"/>
                      <a:pt x="274035" y="2225"/>
                      <a:pt x="274035" y="4952"/>
                    </a:cubicBezTo>
                    <a:lnTo>
                      <a:pt x="274035" y="24758"/>
                    </a:lnTo>
                    <a:cubicBezTo>
                      <a:pt x="274007" y="27484"/>
                      <a:pt x="271809" y="29710"/>
                      <a:pt x="269056" y="29710"/>
                    </a:cubicBezTo>
                    <a:close/>
                  </a:path>
                </a:pathLst>
              </a:custGeom>
              <a:solidFill>
                <a:schemeClr val="accent1"/>
              </a:solidFill>
              <a:ln w="2775" cap="flat">
                <a:noFill/>
                <a:prstDash val="solid"/>
                <a:miter/>
              </a:ln>
            </p:spPr>
            <p:txBody>
              <a:bodyPr rtlCol="0" anchor="ctr"/>
              <a:lstStyle/>
              <a:p>
                <a:endParaRPr lang="en-GB" dirty="0"/>
              </a:p>
            </p:txBody>
          </p:sp>
        </p:grpSp>
      </p:grpSp>
      <p:grpSp>
        <p:nvGrpSpPr>
          <p:cNvPr id="16" name="Group 15">
            <a:extLst>
              <a:ext uri="{FF2B5EF4-FFF2-40B4-BE49-F238E27FC236}">
                <a16:creationId xmlns:a16="http://schemas.microsoft.com/office/drawing/2014/main" id="{AEEF8929-9F02-DC6F-74FB-8BCA790D180E}"/>
              </a:ext>
            </a:extLst>
          </p:cNvPr>
          <p:cNvGrpSpPr/>
          <p:nvPr/>
        </p:nvGrpSpPr>
        <p:grpSpPr>
          <a:xfrm>
            <a:off x="6148506" y="3273406"/>
            <a:ext cx="220394" cy="431992"/>
            <a:chOff x="6148094" y="3273406"/>
            <a:chExt cx="220394" cy="431992"/>
          </a:xfrm>
        </p:grpSpPr>
        <p:grpSp>
          <p:nvGrpSpPr>
            <p:cNvPr id="949" name="Grafik 114">
              <a:extLst>
                <a:ext uri="{FF2B5EF4-FFF2-40B4-BE49-F238E27FC236}">
                  <a16:creationId xmlns:a16="http://schemas.microsoft.com/office/drawing/2014/main" id="{C41E2F07-0A80-4353-AF17-165BF1F01562}"/>
                </a:ext>
              </a:extLst>
            </p:cNvPr>
            <p:cNvGrpSpPr/>
            <p:nvPr/>
          </p:nvGrpSpPr>
          <p:grpSpPr>
            <a:xfrm>
              <a:off x="6148094" y="3369300"/>
              <a:ext cx="220394" cy="336098"/>
              <a:chOff x="6194686" y="3381740"/>
              <a:chExt cx="297207" cy="453237"/>
            </a:xfrm>
            <a:solidFill>
              <a:schemeClr val="tx2"/>
            </a:solidFill>
          </p:grpSpPr>
          <p:sp>
            <p:nvSpPr>
              <p:cNvPr id="959" name="Freihandform: Form 958">
                <a:extLst>
                  <a:ext uri="{FF2B5EF4-FFF2-40B4-BE49-F238E27FC236}">
                    <a16:creationId xmlns:a16="http://schemas.microsoft.com/office/drawing/2014/main" id="{B28BC2D1-AD05-40BA-80C0-5DFE95793D6F}"/>
                  </a:ext>
                </a:extLst>
              </p:cNvPr>
              <p:cNvSpPr/>
              <p:nvPr/>
            </p:nvSpPr>
            <p:spPr>
              <a:xfrm>
                <a:off x="6226176" y="3381740"/>
                <a:ext cx="37823" cy="165070"/>
              </a:xfrm>
              <a:custGeom>
                <a:avLst/>
                <a:gdLst>
                  <a:gd name="connsiteX0" fmla="*/ 4952 w 37823"/>
                  <a:gd name="connsiteY0" fmla="*/ 165070 h 165070"/>
                  <a:gd name="connsiteX1" fmla="*/ 4952 w 37823"/>
                  <a:gd name="connsiteY1" fmla="*/ 165070 h 165070"/>
                  <a:gd name="connsiteX2" fmla="*/ 0 w 37823"/>
                  <a:gd name="connsiteY2" fmla="*/ 160119 h 165070"/>
                  <a:gd name="connsiteX3" fmla="*/ 29654 w 37823"/>
                  <a:gd name="connsiteY3" fmla="*/ 1167 h 165070"/>
                  <a:gd name="connsiteX4" fmla="*/ 36636 w 37823"/>
                  <a:gd name="connsiteY4" fmla="*/ 1723 h 165070"/>
                  <a:gd name="connsiteX5" fmla="*/ 36080 w 37823"/>
                  <a:gd name="connsiteY5" fmla="*/ 8706 h 165070"/>
                  <a:gd name="connsiteX6" fmla="*/ 9931 w 37823"/>
                  <a:gd name="connsiteY6" fmla="*/ 160147 h 165070"/>
                  <a:gd name="connsiteX7" fmla="*/ 4952 w 37823"/>
                  <a:gd name="connsiteY7" fmla="*/ 165070 h 165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23" h="165070">
                    <a:moveTo>
                      <a:pt x="4952" y="165070"/>
                    </a:moveTo>
                    <a:cubicBezTo>
                      <a:pt x="4952" y="165070"/>
                      <a:pt x="4952" y="165070"/>
                      <a:pt x="4952" y="165070"/>
                    </a:cubicBezTo>
                    <a:cubicBezTo>
                      <a:pt x="2198" y="165070"/>
                      <a:pt x="0" y="162845"/>
                      <a:pt x="0" y="160119"/>
                    </a:cubicBezTo>
                    <a:cubicBezTo>
                      <a:pt x="195" y="76220"/>
                      <a:pt x="11294" y="16801"/>
                      <a:pt x="29654" y="1167"/>
                    </a:cubicBezTo>
                    <a:cubicBezTo>
                      <a:pt x="31740" y="-586"/>
                      <a:pt x="34856" y="-335"/>
                      <a:pt x="36636" y="1723"/>
                    </a:cubicBezTo>
                    <a:cubicBezTo>
                      <a:pt x="38417" y="3810"/>
                      <a:pt x="38166" y="6925"/>
                      <a:pt x="36080" y="8706"/>
                    </a:cubicBezTo>
                    <a:cubicBezTo>
                      <a:pt x="24146" y="18859"/>
                      <a:pt x="10154" y="64592"/>
                      <a:pt x="9931" y="160147"/>
                    </a:cubicBezTo>
                    <a:cubicBezTo>
                      <a:pt x="9903" y="162873"/>
                      <a:pt x="7706" y="165070"/>
                      <a:pt x="4952" y="165070"/>
                    </a:cubicBezTo>
                    <a:close/>
                  </a:path>
                </a:pathLst>
              </a:custGeom>
              <a:grpFill/>
              <a:ln w="2775" cap="flat">
                <a:noFill/>
                <a:prstDash val="solid"/>
                <a:miter/>
              </a:ln>
            </p:spPr>
            <p:txBody>
              <a:bodyPr rtlCol="0" anchor="ctr"/>
              <a:lstStyle/>
              <a:p>
                <a:endParaRPr lang="en-GB" dirty="0"/>
              </a:p>
            </p:txBody>
          </p:sp>
          <p:sp>
            <p:nvSpPr>
              <p:cNvPr id="960" name="Freihandform: Form 959">
                <a:extLst>
                  <a:ext uri="{FF2B5EF4-FFF2-40B4-BE49-F238E27FC236}">
                    <a16:creationId xmlns:a16="http://schemas.microsoft.com/office/drawing/2014/main" id="{97BC86A1-4E31-4EC6-B802-8F0013E9DC1C}"/>
                  </a:ext>
                </a:extLst>
              </p:cNvPr>
              <p:cNvSpPr/>
              <p:nvPr/>
            </p:nvSpPr>
            <p:spPr>
              <a:xfrm>
                <a:off x="6422552" y="3381756"/>
                <a:ext cx="37824" cy="161771"/>
              </a:xfrm>
              <a:custGeom>
                <a:avLst/>
                <a:gdLst>
                  <a:gd name="connsiteX0" fmla="*/ 32872 w 37824"/>
                  <a:gd name="connsiteY0" fmla="*/ 161772 h 161771"/>
                  <a:gd name="connsiteX1" fmla="*/ 32872 w 37824"/>
                  <a:gd name="connsiteY1" fmla="*/ 161772 h 161771"/>
                  <a:gd name="connsiteX2" fmla="*/ 27921 w 37824"/>
                  <a:gd name="connsiteY2" fmla="*/ 156820 h 161771"/>
                  <a:gd name="connsiteX3" fmla="*/ 1744 w 37824"/>
                  <a:gd name="connsiteY3" fmla="*/ 8717 h 161771"/>
                  <a:gd name="connsiteX4" fmla="*/ 1188 w 37824"/>
                  <a:gd name="connsiteY4" fmla="*/ 1735 h 161771"/>
                  <a:gd name="connsiteX5" fmla="*/ 8170 w 37824"/>
                  <a:gd name="connsiteY5" fmla="*/ 1178 h 161771"/>
                  <a:gd name="connsiteX6" fmla="*/ 37824 w 37824"/>
                  <a:gd name="connsiteY6" fmla="*/ 156848 h 161771"/>
                  <a:gd name="connsiteX7" fmla="*/ 32872 w 37824"/>
                  <a:gd name="connsiteY7" fmla="*/ 161772 h 16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24" h="161771">
                    <a:moveTo>
                      <a:pt x="32872" y="161772"/>
                    </a:moveTo>
                    <a:lnTo>
                      <a:pt x="32872" y="161772"/>
                    </a:lnTo>
                    <a:cubicBezTo>
                      <a:pt x="30146" y="161772"/>
                      <a:pt x="27921" y="159546"/>
                      <a:pt x="27921" y="156820"/>
                    </a:cubicBezTo>
                    <a:cubicBezTo>
                      <a:pt x="28004" y="40124"/>
                      <a:pt x="7920" y="13947"/>
                      <a:pt x="1744" y="8717"/>
                    </a:cubicBezTo>
                    <a:cubicBezTo>
                      <a:pt x="-342" y="6937"/>
                      <a:pt x="-593" y="3821"/>
                      <a:pt x="1188" y="1735"/>
                    </a:cubicBezTo>
                    <a:cubicBezTo>
                      <a:pt x="2968" y="-324"/>
                      <a:pt x="6084" y="-602"/>
                      <a:pt x="8170" y="1178"/>
                    </a:cubicBezTo>
                    <a:cubicBezTo>
                      <a:pt x="27364" y="17508"/>
                      <a:pt x="37880" y="72782"/>
                      <a:pt x="37824" y="156848"/>
                    </a:cubicBezTo>
                    <a:cubicBezTo>
                      <a:pt x="37824" y="159546"/>
                      <a:pt x="35598" y="161772"/>
                      <a:pt x="32872" y="161772"/>
                    </a:cubicBezTo>
                    <a:close/>
                  </a:path>
                </a:pathLst>
              </a:custGeom>
              <a:grpFill/>
              <a:ln w="2775" cap="flat">
                <a:noFill/>
                <a:prstDash val="solid"/>
                <a:miter/>
              </a:ln>
            </p:spPr>
            <p:txBody>
              <a:bodyPr rtlCol="0" anchor="ctr"/>
              <a:lstStyle/>
              <a:p>
                <a:endParaRPr lang="en-GB" dirty="0"/>
              </a:p>
            </p:txBody>
          </p:sp>
          <p:sp>
            <p:nvSpPr>
              <p:cNvPr id="961" name="Freihandform: Form 960">
                <a:extLst>
                  <a:ext uri="{FF2B5EF4-FFF2-40B4-BE49-F238E27FC236}">
                    <a16:creationId xmlns:a16="http://schemas.microsoft.com/office/drawing/2014/main" id="{CE4191B5-1EAB-4BCC-AAC2-FE2EEE597A46}"/>
                  </a:ext>
                </a:extLst>
              </p:cNvPr>
              <p:cNvSpPr/>
              <p:nvPr/>
            </p:nvSpPr>
            <p:spPr>
              <a:xfrm>
                <a:off x="6323761" y="3704038"/>
                <a:ext cx="9903" cy="53855"/>
              </a:xfrm>
              <a:custGeom>
                <a:avLst/>
                <a:gdLst>
                  <a:gd name="connsiteX0" fmla="*/ 4952 w 9903"/>
                  <a:gd name="connsiteY0" fmla="*/ 53856 h 53855"/>
                  <a:gd name="connsiteX1" fmla="*/ 0 w 9903"/>
                  <a:gd name="connsiteY1" fmla="*/ 48904 h 53855"/>
                  <a:gd name="connsiteX2" fmla="*/ 0 w 9903"/>
                  <a:gd name="connsiteY2" fmla="*/ 4952 h 53855"/>
                  <a:gd name="connsiteX3" fmla="*/ 4952 w 9903"/>
                  <a:gd name="connsiteY3" fmla="*/ 0 h 53855"/>
                  <a:gd name="connsiteX4" fmla="*/ 9903 w 9903"/>
                  <a:gd name="connsiteY4" fmla="*/ 4952 h 53855"/>
                  <a:gd name="connsiteX5" fmla="*/ 9903 w 9903"/>
                  <a:gd name="connsiteY5" fmla="*/ 48904 h 53855"/>
                  <a:gd name="connsiteX6" fmla="*/ 4952 w 9903"/>
                  <a:gd name="connsiteY6" fmla="*/ 53856 h 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53855">
                    <a:moveTo>
                      <a:pt x="4952" y="53856"/>
                    </a:moveTo>
                    <a:cubicBezTo>
                      <a:pt x="2225" y="53856"/>
                      <a:pt x="0" y="51630"/>
                      <a:pt x="0" y="48904"/>
                    </a:cubicBezTo>
                    <a:lnTo>
                      <a:pt x="0" y="4952"/>
                    </a:lnTo>
                    <a:cubicBezTo>
                      <a:pt x="0" y="2225"/>
                      <a:pt x="2225" y="0"/>
                      <a:pt x="4952" y="0"/>
                    </a:cubicBezTo>
                    <a:cubicBezTo>
                      <a:pt x="7678" y="0"/>
                      <a:pt x="9903" y="2225"/>
                      <a:pt x="9903" y="4952"/>
                    </a:cubicBezTo>
                    <a:lnTo>
                      <a:pt x="9903" y="48904"/>
                    </a:lnTo>
                    <a:cubicBezTo>
                      <a:pt x="9903" y="51658"/>
                      <a:pt x="7678" y="53856"/>
                      <a:pt x="4952" y="53856"/>
                    </a:cubicBezTo>
                    <a:close/>
                  </a:path>
                </a:pathLst>
              </a:custGeom>
              <a:grpFill/>
              <a:ln w="2775" cap="flat">
                <a:noFill/>
                <a:prstDash val="solid"/>
                <a:miter/>
              </a:ln>
            </p:spPr>
            <p:txBody>
              <a:bodyPr rtlCol="0" anchor="ctr"/>
              <a:lstStyle/>
              <a:p>
                <a:endParaRPr lang="en-GB" dirty="0"/>
              </a:p>
            </p:txBody>
          </p:sp>
          <p:sp>
            <p:nvSpPr>
              <p:cNvPr id="962" name="Freihandform: Form 961">
                <a:extLst>
                  <a:ext uri="{FF2B5EF4-FFF2-40B4-BE49-F238E27FC236}">
                    <a16:creationId xmlns:a16="http://schemas.microsoft.com/office/drawing/2014/main" id="{1DDE28BA-52CD-4A9D-8372-484C5E5274C2}"/>
                  </a:ext>
                </a:extLst>
              </p:cNvPr>
              <p:cNvSpPr/>
              <p:nvPr/>
            </p:nvSpPr>
            <p:spPr>
              <a:xfrm>
                <a:off x="6352915" y="3704038"/>
                <a:ext cx="9903" cy="53855"/>
              </a:xfrm>
              <a:custGeom>
                <a:avLst/>
                <a:gdLst>
                  <a:gd name="connsiteX0" fmla="*/ 4952 w 9903"/>
                  <a:gd name="connsiteY0" fmla="*/ 53856 h 53855"/>
                  <a:gd name="connsiteX1" fmla="*/ 0 w 9903"/>
                  <a:gd name="connsiteY1" fmla="*/ 48904 h 53855"/>
                  <a:gd name="connsiteX2" fmla="*/ 0 w 9903"/>
                  <a:gd name="connsiteY2" fmla="*/ 4952 h 53855"/>
                  <a:gd name="connsiteX3" fmla="*/ 4952 w 9903"/>
                  <a:gd name="connsiteY3" fmla="*/ 0 h 53855"/>
                  <a:gd name="connsiteX4" fmla="*/ 9903 w 9903"/>
                  <a:gd name="connsiteY4" fmla="*/ 4952 h 53855"/>
                  <a:gd name="connsiteX5" fmla="*/ 9903 w 9903"/>
                  <a:gd name="connsiteY5" fmla="*/ 48904 h 53855"/>
                  <a:gd name="connsiteX6" fmla="*/ 4952 w 9903"/>
                  <a:gd name="connsiteY6" fmla="*/ 53856 h 53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53855">
                    <a:moveTo>
                      <a:pt x="4952" y="53856"/>
                    </a:moveTo>
                    <a:cubicBezTo>
                      <a:pt x="2225" y="53856"/>
                      <a:pt x="0" y="51630"/>
                      <a:pt x="0" y="48904"/>
                    </a:cubicBezTo>
                    <a:lnTo>
                      <a:pt x="0" y="4952"/>
                    </a:lnTo>
                    <a:cubicBezTo>
                      <a:pt x="0" y="2225"/>
                      <a:pt x="2225" y="0"/>
                      <a:pt x="4952" y="0"/>
                    </a:cubicBezTo>
                    <a:cubicBezTo>
                      <a:pt x="7678" y="0"/>
                      <a:pt x="9903" y="2225"/>
                      <a:pt x="9903" y="4952"/>
                    </a:cubicBezTo>
                    <a:lnTo>
                      <a:pt x="9903" y="48904"/>
                    </a:lnTo>
                    <a:cubicBezTo>
                      <a:pt x="9903" y="51658"/>
                      <a:pt x="7678" y="53856"/>
                      <a:pt x="4952" y="53856"/>
                    </a:cubicBezTo>
                    <a:close/>
                  </a:path>
                </a:pathLst>
              </a:custGeom>
              <a:grpFill/>
              <a:ln w="2775" cap="flat">
                <a:noFill/>
                <a:prstDash val="solid"/>
                <a:miter/>
              </a:ln>
            </p:spPr>
            <p:txBody>
              <a:bodyPr rtlCol="0" anchor="ctr"/>
              <a:lstStyle/>
              <a:p>
                <a:endParaRPr lang="en-GB" dirty="0"/>
              </a:p>
            </p:txBody>
          </p:sp>
          <p:grpSp>
            <p:nvGrpSpPr>
              <p:cNvPr id="963" name="Grafik 114">
                <a:extLst>
                  <a:ext uri="{FF2B5EF4-FFF2-40B4-BE49-F238E27FC236}">
                    <a16:creationId xmlns:a16="http://schemas.microsoft.com/office/drawing/2014/main" id="{81E7295A-CC92-4C74-AEBC-3823423BB29D}"/>
                  </a:ext>
                </a:extLst>
              </p:cNvPr>
              <p:cNvGrpSpPr/>
              <p:nvPr/>
            </p:nvGrpSpPr>
            <p:grpSpPr>
              <a:xfrm>
                <a:off x="6194686" y="3534543"/>
                <a:ext cx="297207" cy="126822"/>
                <a:chOff x="6194686" y="3534543"/>
                <a:chExt cx="297207" cy="126822"/>
              </a:xfrm>
              <a:grpFill/>
            </p:grpSpPr>
            <p:sp>
              <p:nvSpPr>
                <p:cNvPr id="967" name="Freihandform: Form 966">
                  <a:extLst>
                    <a:ext uri="{FF2B5EF4-FFF2-40B4-BE49-F238E27FC236}">
                      <a16:creationId xmlns:a16="http://schemas.microsoft.com/office/drawing/2014/main" id="{8AE8E953-5FA0-47E3-B51B-BF3257C13359}"/>
                    </a:ext>
                  </a:extLst>
                </p:cNvPr>
                <p:cNvSpPr/>
                <p:nvPr/>
              </p:nvSpPr>
              <p:spPr>
                <a:xfrm>
                  <a:off x="6194686" y="3534543"/>
                  <a:ext cx="50489" cy="126599"/>
                </a:xfrm>
                <a:custGeom>
                  <a:avLst/>
                  <a:gdLst>
                    <a:gd name="connsiteX0" fmla="*/ 20029 w 50489"/>
                    <a:gd name="connsiteY0" fmla="*/ 126600 h 126599"/>
                    <a:gd name="connsiteX1" fmla="*/ 19000 w 50489"/>
                    <a:gd name="connsiteY1" fmla="*/ 126488 h 126599"/>
                    <a:gd name="connsiteX2" fmla="*/ 0 w 50489"/>
                    <a:gd name="connsiteY2" fmla="*/ 103038 h 126599"/>
                    <a:gd name="connsiteX3" fmla="*/ 0 w 50489"/>
                    <a:gd name="connsiteY3" fmla="*/ 23979 h 126599"/>
                    <a:gd name="connsiteX4" fmla="*/ 23979 w 50489"/>
                    <a:gd name="connsiteY4" fmla="*/ 0 h 126599"/>
                    <a:gd name="connsiteX5" fmla="*/ 26511 w 50489"/>
                    <a:gd name="connsiteY5" fmla="*/ 0 h 126599"/>
                    <a:gd name="connsiteX6" fmla="*/ 50490 w 50489"/>
                    <a:gd name="connsiteY6" fmla="*/ 23979 h 126599"/>
                    <a:gd name="connsiteX7" fmla="*/ 50490 w 50489"/>
                    <a:gd name="connsiteY7" fmla="*/ 96668 h 126599"/>
                    <a:gd name="connsiteX8" fmla="*/ 45538 w 50489"/>
                    <a:gd name="connsiteY8" fmla="*/ 101619 h 126599"/>
                    <a:gd name="connsiteX9" fmla="*/ 40586 w 50489"/>
                    <a:gd name="connsiteY9" fmla="*/ 96668 h 126599"/>
                    <a:gd name="connsiteX10" fmla="*/ 40586 w 50489"/>
                    <a:gd name="connsiteY10" fmla="*/ 23979 h 126599"/>
                    <a:gd name="connsiteX11" fmla="*/ 26511 w 50489"/>
                    <a:gd name="connsiteY11" fmla="*/ 9903 h 126599"/>
                    <a:gd name="connsiteX12" fmla="*/ 23979 w 50489"/>
                    <a:gd name="connsiteY12" fmla="*/ 9903 h 126599"/>
                    <a:gd name="connsiteX13" fmla="*/ 9903 w 50489"/>
                    <a:gd name="connsiteY13" fmla="*/ 23979 h 126599"/>
                    <a:gd name="connsiteX14" fmla="*/ 9903 w 50489"/>
                    <a:gd name="connsiteY14" fmla="*/ 103038 h 126599"/>
                    <a:gd name="connsiteX15" fmla="*/ 21058 w 50489"/>
                    <a:gd name="connsiteY15" fmla="*/ 116808 h 126599"/>
                    <a:gd name="connsiteX16" fmla="*/ 24869 w 50489"/>
                    <a:gd name="connsiteY16" fmla="*/ 122677 h 126599"/>
                    <a:gd name="connsiteX17" fmla="*/ 20029 w 50489"/>
                    <a:gd name="connsiteY17" fmla="*/ 126600 h 126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489" h="126599">
                      <a:moveTo>
                        <a:pt x="20029" y="126600"/>
                      </a:moveTo>
                      <a:cubicBezTo>
                        <a:pt x="19695" y="126600"/>
                        <a:pt x="19333" y="126572"/>
                        <a:pt x="19000" y="126488"/>
                      </a:cubicBezTo>
                      <a:cubicBezTo>
                        <a:pt x="7984" y="124152"/>
                        <a:pt x="0" y="114276"/>
                        <a:pt x="0" y="103038"/>
                      </a:cubicBezTo>
                      <a:lnTo>
                        <a:pt x="0" y="23979"/>
                      </a:lnTo>
                      <a:cubicBezTo>
                        <a:pt x="0" y="10766"/>
                        <a:pt x="10766" y="0"/>
                        <a:pt x="23979" y="0"/>
                      </a:cubicBezTo>
                      <a:lnTo>
                        <a:pt x="26511" y="0"/>
                      </a:lnTo>
                      <a:cubicBezTo>
                        <a:pt x="39724" y="0"/>
                        <a:pt x="50490" y="10766"/>
                        <a:pt x="50490" y="23979"/>
                      </a:cubicBezTo>
                      <a:lnTo>
                        <a:pt x="50490" y="96668"/>
                      </a:lnTo>
                      <a:cubicBezTo>
                        <a:pt x="50490" y="99394"/>
                        <a:pt x="48264" y="101619"/>
                        <a:pt x="45538" y="101619"/>
                      </a:cubicBezTo>
                      <a:cubicBezTo>
                        <a:pt x="42812" y="101619"/>
                        <a:pt x="40586" y="99394"/>
                        <a:pt x="40586" y="96668"/>
                      </a:cubicBezTo>
                      <a:lnTo>
                        <a:pt x="40586" y="23979"/>
                      </a:lnTo>
                      <a:cubicBezTo>
                        <a:pt x="40586" y="16218"/>
                        <a:pt x="34272" y="9903"/>
                        <a:pt x="26511" y="9903"/>
                      </a:cubicBezTo>
                      <a:lnTo>
                        <a:pt x="23979" y="9903"/>
                      </a:lnTo>
                      <a:cubicBezTo>
                        <a:pt x="16218" y="9903"/>
                        <a:pt x="9903" y="16218"/>
                        <a:pt x="9903" y="23979"/>
                      </a:cubicBezTo>
                      <a:lnTo>
                        <a:pt x="9903" y="103038"/>
                      </a:lnTo>
                      <a:cubicBezTo>
                        <a:pt x="9903" y="109631"/>
                        <a:pt x="14604" y="115417"/>
                        <a:pt x="21058" y="116808"/>
                      </a:cubicBezTo>
                      <a:cubicBezTo>
                        <a:pt x="23729" y="117364"/>
                        <a:pt x="25453" y="120007"/>
                        <a:pt x="24869" y="122677"/>
                      </a:cubicBezTo>
                      <a:cubicBezTo>
                        <a:pt x="24368" y="125014"/>
                        <a:pt x="22310" y="126600"/>
                        <a:pt x="20029" y="126600"/>
                      </a:cubicBezTo>
                      <a:close/>
                    </a:path>
                  </a:pathLst>
                </a:custGeom>
                <a:grpFill/>
                <a:ln w="2775" cap="flat">
                  <a:noFill/>
                  <a:prstDash val="solid"/>
                  <a:miter/>
                </a:ln>
              </p:spPr>
              <p:txBody>
                <a:bodyPr rtlCol="0" anchor="ctr"/>
                <a:lstStyle/>
                <a:p>
                  <a:endParaRPr lang="en-GB" dirty="0"/>
                </a:p>
              </p:txBody>
            </p:sp>
            <p:sp>
              <p:nvSpPr>
                <p:cNvPr id="968" name="Freihandform: Form 967">
                  <a:extLst>
                    <a:ext uri="{FF2B5EF4-FFF2-40B4-BE49-F238E27FC236}">
                      <a16:creationId xmlns:a16="http://schemas.microsoft.com/office/drawing/2014/main" id="{177C3979-F977-4DAD-B232-B449536F5A00}"/>
                    </a:ext>
                  </a:extLst>
                </p:cNvPr>
                <p:cNvSpPr/>
                <p:nvPr/>
              </p:nvSpPr>
              <p:spPr>
                <a:xfrm>
                  <a:off x="6441404" y="3534543"/>
                  <a:ext cx="50489" cy="126822"/>
                </a:xfrm>
                <a:custGeom>
                  <a:avLst/>
                  <a:gdLst>
                    <a:gd name="connsiteX0" fmla="*/ 29264 w 50489"/>
                    <a:gd name="connsiteY0" fmla="*/ 126822 h 126822"/>
                    <a:gd name="connsiteX1" fmla="*/ 24368 w 50489"/>
                    <a:gd name="connsiteY1" fmla="*/ 122594 h 126822"/>
                    <a:gd name="connsiteX2" fmla="*/ 28541 w 50489"/>
                    <a:gd name="connsiteY2" fmla="*/ 116975 h 126822"/>
                    <a:gd name="connsiteX3" fmla="*/ 40586 w 50489"/>
                    <a:gd name="connsiteY3" fmla="*/ 103038 h 126822"/>
                    <a:gd name="connsiteX4" fmla="*/ 40586 w 50489"/>
                    <a:gd name="connsiteY4" fmla="*/ 23979 h 126822"/>
                    <a:gd name="connsiteX5" fmla="*/ 26511 w 50489"/>
                    <a:gd name="connsiteY5" fmla="*/ 9903 h 126822"/>
                    <a:gd name="connsiteX6" fmla="*/ 23979 w 50489"/>
                    <a:gd name="connsiteY6" fmla="*/ 9903 h 126822"/>
                    <a:gd name="connsiteX7" fmla="*/ 9903 w 50489"/>
                    <a:gd name="connsiteY7" fmla="*/ 23979 h 126822"/>
                    <a:gd name="connsiteX8" fmla="*/ 9903 w 50489"/>
                    <a:gd name="connsiteY8" fmla="*/ 100673 h 126822"/>
                    <a:gd name="connsiteX9" fmla="*/ 4952 w 50489"/>
                    <a:gd name="connsiteY9" fmla="*/ 105625 h 126822"/>
                    <a:gd name="connsiteX10" fmla="*/ 0 w 50489"/>
                    <a:gd name="connsiteY10" fmla="*/ 100673 h 126822"/>
                    <a:gd name="connsiteX11" fmla="*/ 0 w 50489"/>
                    <a:gd name="connsiteY11" fmla="*/ 23979 h 126822"/>
                    <a:gd name="connsiteX12" fmla="*/ 23979 w 50489"/>
                    <a:gd name="connsiteY12" fmla="*/ 0 h 126822"/>
                    <a:gd name="connsiteX13" fmla="*/ 26511 w 50489"/>
                    <a:gd name="connsiteY13" fmla="*/ 0 h 126822"/>
                    <a:gd name="connsiteX14" fmla="*/ 50490 w 50489"/>
                    <a:gd name="connsiteY14" fmla="*/ 23979 h 126822"/>
                    <a:gd name="connsiteX15" fmla="*/ 50490 w 50489"/>
                    <a:gd name="connsiteY15" fmla="*/ 103038 h 126822"/>
                    <a:gd name="connsiteX16" fmla="*/ 29988 w 50489"/>
                    <a:gd name="connsiteY16" fmla="*/ 126767 h 126822"/>
                    <a:gd name="connsiteX17" fmla="*/ 29264 w 50489"/>
                    <a:gd name="connsiteY17" fmla="*/ 126822 h 12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0489" h="126822">
                      <a:moveTo>
                        <a:pt x="29264" y="126822"/>
                      </a:moveTo>
                      <a:cubicBezTo>
                        <a:pt x="26844" y="126822"/>
                        <a:pt x="24730" y="125042"/>
                        <a:pt x="24368" y="122594"/>
                      </a:cubicBezTo>
                      <a:cubicBezTo>
                        <a:pt x="23979" y="119895"/>
                        <a:pt x="25843" y="117364"/>
                        <a:pt x="28541" y="116975"/>
                      </a:cubicBezTo>
                      <a:cubicBezTo>
                        <a:pt x="35412" y="115973"/>
                        <a:pt x="40586" y="109965"/>
                        <a:pt x="40586" y="103038"/>
                      </a:cubicBezTo>
                      <a:lnTo>
                        <a:pt x="40586" y="23979"/>
                      </a:lnTo>
                      <a:cubicBezTo>
                        <a:pt x="40586" y="16218"/>
                        <a:pt x="34272" y="9903"/>
                        <a:pt x="26511" y="9903"/>
                      </a:cubicBezTo>
                      <a:lnTo>
                        <a:pt x="23979" y="9903"/>
                      </a:lnTo>
                      <a:cubicBezTo>
                        <a:pt x="16218" y="9903"/>
                        <a:pt x="9903" y="16218"/>
                        <a:pt x="9903" y="23979"/>
                      </a:cubicBezTo>
                      <a:lnTo>
                        <a:pt x="9903" y="100673"/>
                      </a:lnTo>
                      <a:cubicBezTo>
                        <a:pt x="9903" y="103399"/>
                        <a:pt x="7678" y="105625"/>
                        <a:pt x="4952" y="105625"/>
                      </a:cubicBezTo>
                      <a:cubicBezTo>
                        <a:pt x="2225" y="105625"/>
                        <a:pt x="0" y="103399"/>
                        <a:pt x="0" y="100673"/>
                      </a:cubicBezTo>
                      <a:lnTo>
                        <a:pt x="0" y="23979"/>
                      </a:lnTo>
                      <a:cubicBezTo>
                        <a:pt x="0" y="10766"/>
                        <a:pt x="10766" y="0"/>
                        <a:pt x="23979" y="0"/>
                      </a:cubicBezTo>
                      <a:lnTo>
                        <a:pt x="26511" y="0"/>
                      </a:lnTo>
                      <a:cubicBezTo>
                        <a:pt x="39724" y="0"/>
                        <a:pt x="50490" y="10766"/>
                        <a:pt x="50490" y="23979"/>
                      </a:cubicBezTo>
                      <a:lnTo>
                        <a:pt x="50490" y="103038"/>
                      </a:lnTo>
                      <a:cubicBezTo>
                        <a:pt x="50490" y="114833"/>
                        <a:pt x="41671" y="125042"/>
                        <a:pt x="29988" y="126767"/>
                      </a:cubicBezTo>
                      <a:cubicBezTo>
                        <a:pt x="29737" y="126794"/>
                        <a:pt x="29487" y="126822"/>
                        <a:pt x="29264" y="126822"/>
                      </a:cubicBezTo>
                      <a:close/>
                    </a:path>
                  </a:pathLst>
                </a:custGeom>
                <a:grpFill/>
                <a:ln w="2775" cap="flat">
                  <a:noFill/>
                  <a:prstDash val="solid"/>
                  <a:miter/>
                </a:ln>
              </p:spPr>
              <p:txBody>
                <a:bodyPr rtlCol="0" anchor="ctr"/>
                <a:lstStyle/>
                <a:p>
                  <a:endParaRPr lang="en-GB" dirty="0"/>
                </a:p>
              </p:txBody>
            </p:sp>
          </p:grpSp>
          <p:sp>
            <p:nvSpPr>
              <p:cNvPr id="964" name="Freihandform: Form 963">
                <a:extLst>
                  <a:ext uri="{FF2B5EF4-FFF2-40B4-BE49-F238E27FC236}">
                    <a16:creationId xmlns:a16="http://schemas.microsoft.com/office/drawing/2014/main" id="{EFDB4385-763D-4650-B309-CEC23B396BBD}"/>
                  </a:ext>
                </a:extLst>
              </p:cNvPr>
              <p:cNvSpPr/>
              <p:nvPr/>
            </p:nvSpPr>
            <p:spPr>
              <a:xfrm>
                <a:off x="6211046" y="3627086"/>
                <a:ext cx="264487" cy="84797"/>
              </a:xfrm>
              <a:custGeom>
                <a:avLst/>
                <a:gdLst>
                  <a:gd name="connsiteX0" fmla="*/ 121951 w 264487"/>
                  <a:gd name="connsiteY0" fmla="*/ 84797 h 84797"/>
                  <a:gd name="connsiteX1" fmla="*/ 16048 w 264487"/>
                  <a:gd name="connsiteY1" fmla="*/ 66632 h 84797"/>
                  <a:gd name="connsiteX2" fmla="*/ 164 w 264487"/>
                  <a:gd name="connsiteY2" fmla="*/ 45518 h 84797"/>
                  <a:gd name="connsiteX3" fmla="*/ 20415 w 264487"/>
                  <a:gd name="connsiteY3" fmla="*/ 6628 h 84797"/>
                  <a:gd name="connsiteX4" fmla="*/ 69264 w 264487"/>
                  <a:gd name="connsiteY4" fmla="*/ 452 h 84797"/>
                  <a:gd name="connsiteX5" fmla="*/ 117667 w 264487"/>
                  <a:gd name="connsiteY5" fmla="*/ 4764 h 84797"/>
                  <a:gd name="connsiteX6" fmla="*/ 146792 w 264487"/>
                  <a:gd name="connsiteY6" fmla="*/ 4764 h 84797"/>
                  <a:gd name="connsiteX7" fmla="*/ 195196 w 264487"/>
                  <a:gd name="connsiteY7" fmla="*/ 452 h 84797"/>
                  <a:gd name="connsiteX8" fmla="*/ 244239 w 264487"/>
                  <a:gd name="connsiteY8" fmla="*/ 6684 h 84797"/>
                  <a:gd name="connsiteX9" fmla="*/ 264323 w 264487"/>
                  <a:gd name="connsiteY9" fmla="*/ 45518 h 84797"/>
                  <a:gd name="connsiteX10" fmla="*/ 248439 w 264487"/>
                  <a:gd name="connsiteY10" fmla="*/ 66632 h 84797"/>
                  <a:gd name="connsiteX11" fmla="*/ 132132 w 264487"/>
                  <a:gd name="connsiteY11" fmla="*/ 84685 h 84797"/>
                  <a:gd name="connsiteX12" fmla="*/ 121951 w 264487"/>
                  <a:gd name="connsiteY12" fmla="*/ 84797 h 84797"/>
                  <a:gd name="connsiteX13" fmla="*/ 58999 w 264487"/>
                  <a:gd name="connsiteY13" fmla="*/ 9883 h 84797"/>
                  <a:gd name="connsiteX14" fmla="*/ 23420 w 264487"/>
                  <a:gd name="connsiteY14" fmla="*/ 16031 h 84797"/>
                  <a:gd name="connsiteX15" fmla="*/ 10039 w 264487"/>
                  <a:gd name="connsiteY15" fmla="*/ 44850 h 84797"/>
                  <a:gd name="connsiteX16" fmla="*/ 19831 w 264487"/>
                  <a:gd name="connsiteY16" fmla="*/ 57451 h 84797"/>
                  <a:gd name="connsiteX17" fmla="*/ 132132 w 264487"/>
                  <a:gd name="connsiteY17" fmla="*/ 74754 h 84797"/>
                  <a:gd name="connsiteX18" fmla="*/ 244656 w 264487"/>
                  <a:gd name="connsiteY18" fmla="*/ 57451 h 84797"/>
                  <a:gd name="connsiteX19" fmla="*/ 254448 w 264487"/>
                  <a:gd name="connsiteY19" fmla="*/ 44850 h 84797"/>
                  <a:gd name="connsiteX20" fmla="*/ 241401 w 264487"/>
                  <a:gd name="connsiteY20" fmla="*/ 16142 h 84797"/>
                  <a:gd name="connsiteX21" fmla="*/ 241067 w 264487"/>
                  <a:gd name="connsiteY21" fmla="*/ 16031 h 84797"/>
                  <a:gd name="connsiteX22" fmla="*/ 196114 w 264487"/>
                  <a:gd name="connsiteY22" fmla="*/ 10300 h 84797"/>
                  <a:gd name="connsiteX23" fmla="*/ 147710 w 264487"/>
                  <a:gd name="connsiteY23" fmla="*/ 14612 h 84797"/>
                  <a:gd name="connsiteX24" fmla="*/ 116805 w 264487"/>
                  <a:gd name="connsiteY24" fmla="*/ 14612 h 84797"/>
                  <a:gd name="connsiteX25" fmla="*/ 68401 w 264487"/>
                  <a:gd name="connsiteY25" fmla="*/ 10300 h 84797"/>
                  <a:gd name="connsiteX26" fmla="*/ 58999 w 264487"/>
                  <a:gd name="connsiteY26" fmla="*/ 9883 h 84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4487" h="84797">
                    <a:moveTo>
                      <a:pt x="121951" y="84797"/>
                    </a:moveTo>
                    <a:cubicBezTo>
                      <a:pt x="80919" y="84797"/>
                      <a:pt x="45285" y="78677"/>
                      <a:pt x="16048" y="66632"/>
                    </a:cubicBezTo>
                    <a:cubicBezTo>
                      <a:pt x="6840" y="62820"/>
                      <a:pt x="748" y="54753"/>
                      <a:pt x="164" y="45518"/>
                    </a:cubicBezTo>
                    <a:cubicBezTo>
                      <a:pt x="-1199" y="24515"/>
                      <a:pt x="5978" y="10689"/>
                      <a:pt x="20415" y="6628"/>
                    </a:cubicBezTo>
                    <a:cubicBezTo>
                      <a:pt x="35576" y="1148"/>
                      <a:pt x="52601" y="-1022"/>
                      <a:pt x="69264" y="452"/>
                    </a:cubicBezTo>
                    <a:lnTo>
                      <a:pt x="117667" y="4764"/>
                    </a:lnTo>
                    <a:cubicBezTo>
                      <a:pt x="127320" y="5627"/>
                      <a:pt x="137112" y="5627"/>
                      <a:pt x="146792" y="4764"/>
                    </a:cubicBezTo>
                    <a:lnTo>
                      <a:pt x="195196" y="452"/>
                    </a:lnTo>
                    <a:cubicBezTo>
                      <a:pt x="211831" y="-1022"/>
                      <a:pt x="228772" y="1120"/>
                      <a:pt x="244239" y="6684"/>
                    </a:cubicBezTo>
                    <a:cubicBezTo>
                      <a:pt x="258537" y="10801"/>
                      <a:pt x="265686" y="24598"/>
                      <a:pt x="264323" y="45518"/>
                    </a:cubicBezTo>
                    <a:cubicBezTo>
                      <a:pt x="263711" y="54725"/>
                      <a:pt x="257647" y="62820"/>
                      <a:pt x="248439" y="66632"/>
                    </a:cubicBezTo>
                    <a:cubicBezTo>
                      <a:pt x="216810" y="79678"/>
                      <a:pt x="177698" y="85715"/>
                      <a:pt x="132132" y="84685"/>
                    </a:cubicBezTo>
                    <a:cubicBezTo>
                      <a:pt x="128711" y="84741"/>
                      <a:pt x="125317" y="84797"/>
                      <a:pt x="121951" y="84797"/>
                    </a:cubicBezTo>
                    <a:close/>
                    <a:moveTo>
                      <a:pt x="58999" y="9883"/>
                    </a:moveTo>
                    <a:cubicBezTo>
                      <a:pt x="46815" y="9883"/>
                      <a:pt x="34686" y="11969"/>
                      <a:pt x="23420" y="16031"/>
                    </a:cubicBezTo>
                    <a:cubicBezTo>
                      <a:pt x="10985" y="19563"/>
                      <a:pt x="9288" y="33639"/>
                      <a:pt x="10039" y="44850"/>
                    </a:cubicBezTo>
                    <a:cubicBezTo>
                      <a:pt x="10401" y="50275"/>
                      <a:pt x="14128" y="55115"/>
                      <a:pt x="19831" y="57451"/>
                    </a:cubicBezTo>
                    <a:cubicBezTo>
                      <a:pt x="50181" y="69997"/>
                      <a:pt x="87957" y="75867"/>
                      <a:pt x="132132" y="74754"/>
                    </a:cubicBezTo>
                    <a:cubicBezTo>
                      <a:pt x="176530" y="75867"/>
                      <a:pt x="214307" y="69970"/>
                      <a:pt x="244656" y="57451"/>
                    </a:cubicBezTo>
                    <a:cubicBezTo>
                      <a:pt x="250331" y="55115"/>
                      <a:pt x="254086" y="50275"/>
                      <a:pt x="254448" y="44850"/>
                    </a:cubicBezTo>
                    <a:cubicBezTo>
                      <a:pt x="255171" y="33639"/>
                      <a:pt x="253502" y="19536"/>
                      <a:pt x="241401" y="16142"/>
                    </a:cubicBezTo>
                    <a:cubicBezTo>
                      <a:pt x="241290" y="16114"/>
                      <a:pt x="241179" y="16086"/>
                      <a:pt x="241067" y="16031"/>
                    </a:cubicBezTo>
                    <a:cubicBezTo>
                      <a:pt x="226908" y="10940"/>
                      <a:pt x="211386" y="8965"/>
                      <a:pt x="196114" y="10300"/>
                    </a:cubicBezTo>
                    <a:lnTo>
                      <a:pt x="147710" y="14612"/>
                    </a:lnTo>
                    <a:cubicBezTo>
                      <a:pt x="137446" y="15530"/>
                      <a:pt x="127069" y="15530"/>
                      <a:pt x="116805" y="14612"/>
                    </a:cubicBezTo>
                    <a:lnTo>
                      <a:pt x="68401" y="10300"/>
                    </a:lnTo>
                    <a:cubicBezTo>
                      <a:pt x="65258" y="10022"/>
                      <a:pt x="62142" y="9883"/>
                      <a:pt x="58999" y="9883"/>
                    </a:cubicBezTo>
                    <a:close/>
                  </a:path>
                </a:pathLst>
              </a:custGeom>
              <a:grpFill/>
              <a:ln w="2775" cap="flat">
                <a:noFill/>
                <a:prstDash val="solid"/>
                <a:miter/>
              </a:ln>
            </p:spPr>
            <p:txBody>
              <a:bodyPr rtlCol="0" anchor="ctr"/>
              <a:lstStyle/>
              <a:p>
                <a:endParaRPr lang="en-GB" dirty="0"/>
              </a:p>
            </p:txBody>
          </p:sp>
          <p:sp>
            <p:nvSpPr>
              <p:cNvPr id="965" name="Freihandform: Form 964">
                <a:extLst>
                  <a:ext uri="{FF2B5EF4-FFF2-40B4-BE49-F238E27FC236}">
                    <a16:creationId xmlns:a16="http://schemas.microsoft.com/office/drawing/2014/main" id="{613A7572-816A-48A8-9A49-66233671292D}"/>
                  </a:ext>
                </a:extLst>
              </p:cNvPr>
              <p:cNvSpPr/>
              <p:nvPr/>
            </p:nvSpPr>
            <p:spPr>
              <a:xfrm>
                <a:off x="6316167" y="3749298"/>
                <a:ext cx="54217" cy="56136"/>
              </a:xfrm>
              <a:custGeom>
                <a:avLst/>
                <a:gdLst>
                  <a:gd name="connsiteX0" fmla="*/ 49266 w 54217"/>
                  <a:gd name="connsiteY0" fmla="*/ 56137 h 56136"/>
                  <a:gd name="connsiteX1" fmla="*/ 44314 w 54217"/>
                  <a:gd name="connsiteY1" fmla="*/ 51185 h 56136"/>
                  <a:gd name="connsiteX2" fmla="*/ 44314 w 54217"/>
                  <a:gd name="connsiteY2" fmla="*/ 9903 h 56136"/>
                  <a:gd name="connsiteX3" fmla="*/ 9903 w 54217"/>
                  <a:gd name="connsiteY3" fmla="*/ 9903 h 56136"/>
                  <a:gd name="connsiteX4" fmla="*/ 9903 w 54217"/>
                  <a:gd name="connsiteY4" fmla="*/ 51185 h 56136"/>
                  <a:gd name="connsiteX5" fmla="*/ 4952 w 54217"/>
                  <a:gd name="connsiteY5" fmla="*/ 56137 h 56136"/>
                  <a:gd name="connsiteX6" fmla="*/ 0 w 54217"/>
                  <a:gd name="connsiteY6" fmla="*/ 51185 h 56136"/>
                  <a:gd name="connsiteX7" fmla="*/ 0 w 54217"/>
                  <a:gd name="connsiteY7" fmla="*/ 7372 h 56136"/>
                  <a:gd name="connsiteX8" fmla="*/ 7706 w 54217"/>
                  <a:gd name="connsiteY8" fmla="*/ 0 h 56136"/>
                  <a:gd name="connsiteX9" fmla="*/ 46512 w 54217"/>
                  <a:gd name="connsiteY9" fmla="*/ 0 h 56136"/>
                  <a:gd name="connsiteX10" fmla="*/ 54217 w 54217"/>
                  <a:gd name="connsiteY10" fmla="*/ 7372 h 56136"/>
                  <a:gd name="connsiteX11" fmla="*/ 54217 w 54217"/>
                  <a:gd name="connsiteY11" fmla="*/ 51185 h 56136"/>
                  <a:gd name="connsiteX12" fmla="*/ 49266 w 54217"/>
                  <a:gd name="connsiteY12" fmla="*/ 56137 h 561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4217" h="56136">
                    <a:moveTo>
                      <a:pt x="49266" y="56137"/>
                    </a:moveTo>
                    <a:cubicBezTo>
                      <a:pt x="46540" y="56137"/>
                      <a:pt x="44314" y="53911"/>
                      <a:pt x="44314" y="51185"/>
                    </a:cubicBezTo>
                    <a:lnTo>
                      <a:pt x="44314" y="9903"/>
                    </a:lnTo>
                    <a:lnTo>
                      <a:pt x="9903" y="9903"/>
                    </a:lnTo>
                    <a:lnTo>
                      <a:pt x="9903" y="51185"/>
                    </a:lnTo>
                    <a:cubicBezTo>
                      <a:pt x="9903" y="53911"/>
                      <a:pt x="7678" y="56137"/>
                      <a:pt x="4952" y="56137"/>
                    </a:cubicBezTo>
                    <a:cubicBezTo>
                      <a:pt x="2225" y="56137"/>
                      <a:pt x="0" y="53911"/>
                      <a:pt x="0" y="51185"/>
                    </a:cubicBezTo>
                    <a:lnTo>
                      <a:pt x="0" y="7372"/>
                    </a:lnTo>
                    <a:cubicBezTo>
                      <a:pt x="0" y="3310"/>
                      <a:pt x="3449" y="0"/>
                      <a:pt x="7706" y="0"/>
                    </a:cubicBezTo>
                    <a:lnTo>
                      <a:pt x="46512" y="0"/>
                    </a:lnTo>
                    <a:cubicBezTo>
                      <a:pt x="50768" y="0"/>
                      <a:pt x="54217" y="3310"/>
                      <a:pt x="54217" y="7372"/>
                    </a:cubicBezTo>
                    <a:lnTo>
                      <a:pt x="54217" y="51185"/>
                    </a:lnTo>
                    <a:cubicBezTo>
                      <a:pt x="54217" y="53911"/>
                      <a:pt x="51992" y="56137"/>
                      <a:pt x="49266" y="56137"/>
                    </a:cubicBezTo>
                    <a:close/>
                  </a:path>
                </a:pathLst>
              </a:custGeom>
              <a:grpFill/>
              <a:ln w="2775" cap="flat">
                <a:noFill/>
                <a:prstDash val="solid"/>
                <a:miter/>
              </a:ln>
            </p:spPr>
            <p:txBody>
              <a:bodyPr rtlCol="0" anchor="ctr"/>
              <a:lstStyle/>
              <a:p>
                <a:endParaRPr lang="en-GB" dirty="0"/>
              </a:p>
            </p:txBody>
          </p:sp>
          <p:sp>
            <p:nvSpPr>
              <p:cNvPr id="966" name="Freihandform: Form 965">
                <a:extLst>
                  <a:ext uri="{FF2B5EF4-FFF2-40B4-BE49-F238E27FC236}">
                    <a16:creationId xmlns:a16="http://schemas.microsoft.com/office/drawing/2014/main" id="{602E384A-999F-4404-99CA-CD988976306D}"/>
                  </a:ext>
                </a:extLst>
              </p:cNvPr>
              <p:cNvSpPr/>
              <p:nvPr/>
            </p:nvSpPr>
            <p:spPr>
              <a:xfrm>
                <a:off x="6239974" y="3795781"/>
                <a:ext cx="206659" cy="39195"/>
              </a:xfrm>
              <a:custGeom>
                <a:avLst/>
                <a:gdLst>
                  <a:gd name="connsiteX0" fmla="*/ 201680 w 206659"/>
                  <a:gd name="connsiteY0" fmla="*/ 39196 h 39195"/>
                  <a:gd name="connsiteX1" fmla="*/ 4952 w 206659"/>
                  <a:gd name="connsiteY1" fmla="*/ 39196 h 39195"/>
                  <a:gd name="connsiteX2" fmla="*/ 0 w 206659"/>
                  <a:gd name="connsiteY2" fmla="*/ 34244 h 39195"/>
                  <a:gd name="connsiteX3" fmla="*/ 0 w 206659"/>
                  <a:gd name="connsiteY3" fmla="*/ 23033 h 39195"/>
                  <a:gd name="connsiteX4" fmla="*/ 23117 w 206659"/>
                  <a:gd name="connsiteY4" fmla="*/ 0 h 39195"/>
                  <a:gd name="connsiteX5" fmla="*/ 183543 w 206659"/>
                  <a:gd name="connsiteY5" fmla="*/ 0 h 39195"/>
                  <a:gd name="connsiteX6" fmla="*/ 206660 w 206659"/>
                  <a:gd name="connsiteY6" fmla="*/ 23061 h 39195"/>
                  <a:gd name="connsiteX7" fmla="*/ 206660 w 206659"/>
                  <a:gd name="connsiteY7" fmla="*/ 34216 h 39195"/>
                  <a:gd name="connsiteX8" fmla="*/ 201680 w 206659"/>
                  <a:gd name="connsiteY8" fmla="*/ 39196 h 39195"/>
                  <a:gd name="connsiteX9" fmla="*/ 9903 w 206659"/>
                  <a:gd name="connsiteY9" fmla="*/ 29292 h 39195"/>
                  <a:gd name="connsiteX10" fmla="*/ 196729 w 206659"/>
                  <a:gd name="connsiteY10" fmla="*/ 29292 h 39195"/>
                  <a:gd name="connsiteX11" fmla="*/ 196729 w 206659"/>
                  <a:gd name="connsiteY11" fmla="*/ 23117 h 39195"/>
                  <a:gd name="connsiteX12" fmla="*/ 183515 w 206659"/>
                  <a:gd name="connsiteY12" fmla="*/ 9903 h 39195"/>
                  <a:gd name="connsiteX13" fmla="*/ 23089 w 206659"/>
                  <a:gd name="connsiteY13" fmla="*/ 9903 h 39195"/>
                  <a:gd name="connsiteX14" fmla="*/ 9875 w 206659"/>
                  <a:gd name="connsiteY14" fmla="*/ 23089 h 39195"/>
                  <a:gd name="connsiteX15" fmla="*/ 9875 w 206659"/>
                  <a:gd name="connsiteY15" fmla="*/ 29292 h 3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6659" h="39195">
                    <a:moveTo>
                      <a:pt x="201680" y="39196"/>
                    </a:moveTo>
                    <a:lnTo>
                      <a:pt x="4952" y="39196"/>
                    </a:lnTo>
                    <a:cubicBezTo>
                      <a:pt x="2225" y="39196"/>
                      <a:pt x="0" y="36970"/>
                      <a:pt x="0" y="34244"/>
                    </a:cubicBezTo>
                    <a:lnTo>
                      <a:pt x="0" y="23033"/>
                    </a:lnTo>
                    <a:cubicBezTo>
                      <a:pt x="167" y="10321"/>
                      <a:pt x="10515" y="0"/>
                      <a:pt x="23117" y="0"/>
                    </a:cubicBezTo>
                    <a:lnTo>
                      <a:pt x="183543" y="0"/>
                    </a:lnTo>
                    <a:cubicBezTo>
                      <a:pt x="196200" y="0"/>
                      <a:pt x="206549" y="10348"/>
                      <a:pt x="206660" y="23061"/>
                    </a:cubicBezTo>
                    <a:lnTo>
                      <a:pt x="206660" y="34216"/>
                    </a:lnTo>
                    <a:cubicBezTo>
                      <a:pt x="206632" y="36998"/>
                      <a:pt x="204406" y="39196"/>
                      <a:pt x="201680" y="39196"/>
                    </a:cubicBezTo>
                    <a:close/>
                    <a:moveTo>
                      <a:pt x="9903" y="29292"/>
                    </a:moveTo>
                    <a:lnTo>
                      <a:pt x="196729" y="29292"/>
                    </a:lnTo>
                    <a:lnTo>
                      <a:pt x="196729" y="23117"/>
                    </a:lnTo>
                    <a:cubicBezTo>
                      <a:pt x="196673" y="15856"/>
                      <a:pt x="190748" y="9903"/>
                      <a:pt x="183515" y="9903"/>
                    </a:cubicBezTo>
                    <a:lnTo>
                      <a:pt x="23089" y="9903"/>
                    </a:lnTo>
                    <a:cubicBezTo>
                      <a:pt x="15884" y="9903"/>
                      <a:pt x="9959" y="15828"/>
                      <a:pt x="9875" y="23089"/>
                    </a:cubicBezTo>
                    <a:lnTo>
                      <a:pt x="9875" y="29292"/>
                    </a:lnTo>
                    <a:close/>
                  </a:path>
                </a:pathLst>
              </a:custGeom>
              <a:grpFill/>
              <a:ln w="2775" cap="flat">
                <a:noFill/>
                <a:prstDash val="solid"/>
                <a:miter/>
              </a:ln>
            </p:spPr>
            <p:txBody>
              <a:bodyPr rtlCol="0" anchor="ctr"/>
              <a:lstStyle/>
              <a:p>
                <a:endParaRPr lang="en-GB" dirty="0"/>
              </a:p>
            </p:txBody>
          </p:sp>
        </p:grpSp>
        <p:grpSp>
          <p:nvGrpSpPr>
            <p:cNvPr id="950" name="Grafik 114">
              <a:extLst>
                <a:ext uri="{FF2B5EF4-FFF2-40B4-BE49-F238E27FC236}">
                  <a16:creationId xmlns:a16="http://schemas.microsoft.com/office/drawing/2014/main" id="{D423196A-A1E1-45D3-A03C-14F56316BAEE}"/>
                </a:ext>
              </a:extLst>
            </p:cNvPr>
            <p:cNvGrpSpPr/>
            <p:nvPr/>
          </p:nvGrpSpPr>
          <p:grpSpPr>
            <a:xfrm>
              <a:off x="6176168" y="3273406"/>
              <a:ext cx="164243" cy="96665"/>
              <a:chOff x="6232546" y="3252413"/>
              <a:chExt cx="221486" cy="130355"/>
            </a:xfrm>
            <a:solidFill>
              <a:schemeClr val="accent1"/>
            </a:solidFill>
          </p:grpSpPr>
          <p:sp>
            <p:nvSpPr>
              <p:cNvPr id="951" name="Freihandform: Form 950">
                <a:extLst>
                  <a:ext uri="{FF2B5EF4-FFF2-40B4-BE49-F238E27FC236}">
                    <a16:creationId xmlns:a16="http://schemas.microsoft.com/office/drawing/2014/main" id="{A9472550-D2DC-4341-A5C4-561C9AD084F2}"/>
                  </a:ext>
                </a:extLst>
              </p:cNvPr>
              <p:cNvSpPr/>
              <p:nvPr/>
            </p:nvSpPr>
            <p:spPr>
              <a:xfrm>
                <a:off x="6244745" y="3282109"/>
                <a:ext cx="30932" cy="92118"/>
              </a:xfrm>
              <a:custGeom>
                <a:avLst/>
                <a:gdLst>
                  <a:gd name="connsiteX0" fmla="*/ 25968 w 30932"/>
                  <a:gd name="connsiteY0" fmla="*/ 92119 h 92118"/>
                  <a:gd name="connsiteX1" fmla="*/ 21183 w 30932"/>
                  <a:gd name="connsiteY1" fmla="*/ 88391 h 92118"/>
                  <a:gd name="connsiteX2" fmla="*/ 152 w 30932"/>
                  <a:gd name="connsiteY2" fmla="*/ 6161 h 92118"/>
                  <a:gd name="connsiteX3" fmla="*/ 3713 w 30932"/>
                  <a:gd name="connsiteY3" fmla="*/ 152 h 92118"/>
                  <a:gd name="connsiteX4" fmla="*/ 9750 w 30932"/>
                  <a:gd name="connsiteY4" fmla="*/ 3713 h 92118"/>
                  <a:gd name="connsiteX5" fmla="*/ 30780 w 30932"/>
                  <a:gd name="connsiteY5" fmla="*/ 85943 h 92118"/>
                  <a:gd name="connsiteX6" fmla="*/ 27219 w 30932"/>
                  <a:gd name="connsiteY6" fmla="*/ 91952 h 92118"/>
                  <a:gd name="connsiteX7" fmla="*/ 25968 w 30932"/>
                  <a:gd name="connsiteY7" fmla="*/ 92119 h 92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932" h="92118">
                    <a:moveTo>
                      <a:pt x="25968" y="92119"/>
                    </a:moveTo>
                    <a:cubicBezTo>
                      <a:pt x="23770" y="92119"/>
                      <a:pt x="21739" y="90617"/>
                      <a:pt x="21183" y="88391"/>
                    </a:cubicBezTo>
                    <a:lnTo>
                      <a:pt x="152" y="6161"/>
                    </a:lnTo>
                    <a:cubicBezTo>
                      <a:pt x="-515" y="3519"/>
                      <a:pt x="1070" y="820"/>
                      <a:pt x="3713" y="152"/>
                    </a:cubicBezTo>
                    <a:cubicBezTo>
                      <a:pt x="6356" y="-515"/>
                      <a:pt x="9054" y="1071"/>
                      <a:pt x="9750" y="3713"/>
                    </a:cubicBezTo>
                    <a:lnTo>
                      <a:pt x="30780" y="85943"/>
                    </a:lnTo>
                    <a:cubicBezTo>
                      <a:pt x="31448" y="88586"/>
                      <a:pt x="29862" y="91284"/>
                      <a:pt x="27219" y="91952"/>
                    </a:cubicBezTo>
                    <a:cubicBezTo>
                      <a:pt x="26802" y="92063"/>
                      <a:pt x="26385" y="92119"/>
                      <a:pt x="25968" y="92119"/>
                    </a:cubicBezTo>
                    <a:close/>
                  </a:path>
                </a:pathLst>
              </a:custGeom>
              <a:solidFill>
                <a:schemeClr val="accent1"/>
              </a:solidFill>
              <a:ln w="2775" cap="flat">
                <a:noFill/>
                <a:prstDash val="solid"/>
                <a:miter/>
              </a:ln>
            </p:spPr>
            <p:txBody>
              <a:bodyPr rtlCol="0" anchor="ctr"/>
              <a:lstStyle/>
              <a:p>
                <a:endParaRPr lang="en-GB" dirty="0"/>
              </a:p>
            </p:txBody>
          </p:sp>
          <p:sp>
            <p:nvSpPr>
              <p:cNvPr id="952" name="Freihandform: Form 951">
                <a:extLst>
                  <a:ext uri="{FF2B5EF4-FFF2-40B4-BE49-F238E27FC236}">
                    <a16:creationId xmlns:a16="http://schemas.microsoft.com/office/drawing/2014/main" id="{D8CAAA5C-A086-4830-9F93-945E2F756FF7}"/>
                  </a:ext>
                </a:extLst>
              </p:cNvPr>
              <p:cNvSpPr/>
              <p:nvPr/>
            </p:nvSpPr>
            <p:spPr>
              <a:xfrm>
                <a:off x="6250443" y="3272207"/>
                <a:ext cx="93693" cy="65412"/>
              </a:xfrm>
              <a:custGeom>
                <a:avLst/>
                <a:gdLst>
                  <a:gd name="connsiteX0" fmla="*/ 44694 w 93693"/>
                  <a:gd name="connsiteY0" fmla="*/ 65412 h 65412"/>
                  <a:gd name="connsiteX1" fmla="*/ 40827 w 93693"/>
                  <a:gd name="connsiteY1" fmla="*/ 63576 h 65412"/>
                  <a:gd name="connsiteX2" fmla="*/ 1103 w 93693"/>
                  <a:gd name="connsiteY2" fmla="*/ 14366 h 65412"/>
                  <a:gd name="connsiteX3" fmla="*/ 1854 w 93693"/>
                  <a:gd name="connsiteY3" fmla="*/ 7412 h 65412"/>
                  <a:gd name="connsiteX4" fmla="*/ 8809 w 93693"/>
                  <a:gd name="connsiteY4" fmla="*/ 8135 h 65412"/>
                  <a:gd name="connsiteX5" fmla="*/ 44666 w 93693"/>
                  <a:gd name="connsiteY5" fmla="*/ 52533 h 65412"/>
                  <a:gd name="connsiteX6" fmla="*/ 84863 w 93693"/>
                  <a:gd name="connsiteY6" fmla="*/ 1876 h 65412"/>
                  <a:gd name="connsiteX7" fmla="*/ 91817 w 93693"/>
                  <a:gd name="connsiteY7" fmla="*/ 1069 h 65412"/>
                  <a:gd name="connsiteX8" fmla="*/ 92624 w 93693"/>
                  <a:gd name="connsiteY8" fmla="*/ 8024 h 65412"/>
                  <a:gd name="connsiteX9" fmla="*/ 48588 w 93693"/>
                  <a:gd name="connsiteY9" fmla="*/ 63549 h 65412"/>
                  <a:gd name="connsiteX10" fmla="*/ 44694 w 93693"/>
                  <a:gd name="connsiteY10" fmla="*/ 65412 h 65412"/>
                  <a:gd name="connsiteX11" fmla="*/ 44694 w 93693"/>
                  <a:gd name="connsiteY11" fmla="*/ 65412 h 65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3693" h="65412">
                    <a:moveTo>
                      <a:pt x="44694" y="65412"/>
                    </a:moveTo>
                    <a:cubicBezTo>
                      <a:pt x="43191" y="65412"/>
                      <a:pt x="41773" y="64745"/>
                      <a:pt x="40827" y="63576"/>
                    </a:cubicBezTo>
                    <a:lnTo>
                      <a:pt x="1103" y="14366"/>
                    </a:lnTo>
                    <a:cubicBezTo>
                      <a:pt x="-622" y="12252"/>
                      <a:pt x="-288" y="9109"/>
                      <a:pt x="1854" y="7412"/>
                    </a:cubicBezTo>
                    <a:cubicBezTo>
                      <a:pt x="3996" y="5687"/>
                      <a:pt x="7112" y="6021"/>
                      <a:pt x="8809" y="8135"/>
                    </a:cubicBezTo>
                    <a:lnTo>
                      <a:pt x="44666" y="52533"/>
                    </a:lnTo>
                    <a:lnTo>
                      <a:pt x="84863" y="1876"/>
                    </a:lnTo>
                    <a:cubicBezTo>
                      <a:pt x="86560" y="-266"/>
                      <a:pt x="89675" y="-627"/>
                      <a:pt x="91817" y="1069"/>
                    </a:cubicBezTo>
                    <a:cubicBezTo>
                      <a:pt x="93959" y="2766"/>
                      <a:pt x="94321" y="5882"/>
                      <a:pt x="92624" y="8024"/>
                    </a:cubicBezTo>
                    <a:lnTo>
                      <a:pt x="48588" y="63549"/>
                    </a:lnTo>
                    <a:cubicBezTo>
                      <a:pt x="47642" y="64717"/>
                      <a:pt x="46224" y="65412"/>
                      <a:pt x="44694" y="65412"/>
                    </a:cubicBezTo>
                    <a:cubicBezTo>
                      <a:pt x="44694" y="65412"/>
                      <a:pt x="44694" y="65412"/>
                      <a:pt x="44694" y="65412"/>
                    </a:cubicBezTo>
                    <a:close/>
                  </a:path>
                </a:pathLst>
              </a:custGeom>
              <a:solidFill>
                <a:schemeClr val="accent1"/>
              </a:solidFill>
              <a:ln w="2775" cap="flat">
                <a:noFill/>
                <a:prstDash val="solid"/>
                <a:miter/>
              </a:ln>
            </p:spPr>
            <p:txBody>
              <a:bodyPr rtlCol="0" anchor="ctr"/>
              <a:lstStyle/>
              <a:p>
                <a:endParaRPr lang="en-GB" dirty="0"/>
              </a:p>
            </p:txBody>
          </p:sp>
          <p:sp>
            <p:nvSpPr>
              <p:cNvPr id="953" name="Freihandform: Form 952">
                <a:extLst>
                  <a:ext uri="{FF2B5EF4-FFF2-40B4-BE49-F238E27FC236}">
                    <a16:creationId xmlns:a16="http://schemas.microsoft.com/office/drawing/2014/main" id="{6D157D9B-CC44-4EC9-B9B6-23BB9708ED4E}"/>
                  </a:ext>
                </a:extLst>
              </p:cNvPr>
              <p:cNvSpPr/>
              <p:nvPr/>
            </p:nvSpPr>
            <p:spPr>
              <a:xfrm>
                <a:off x="6343945" y="3272374"/>
                <a:ext cx="93097" cy="65245"/>
              </a:xfrm>
              <a:custGeom>
                <a:avLst/>
                <a:gdLst>
                  <a:gd name="connsiteX0" fmla="*/ 48833 w 93097"/>
                  <a:gd name="connsiteY0" fmla="*/ 65246 h 65245"/>
                  <a:gd name="connsiteX1" fmla="*/ 44966 w 93097"/>
                  <a:gd name="connsiteY1" fmla="*/ 63382 h 65245"/>
                  <a:gd name="connsiteX2" fmla="*/ 1069 w 93097"/>
                  <a:gd name="connsiteY2" fmla="*/ 8024 h 65245"/>
                  <a:gd name="connsiteX3" fmla="*/ 1876 w 93097"/>
                  <a:gd name="connsiteY3" fmla="*/ 1069 h 65245"/>
                  <a:gd name="connsiteX4" fmla="*/ 8831 w 93097"/>
                  <a:gd name="connsiteY4" fmla="*/ 1876 h 65245"/>
                  <a:gd name="connsiteX5" fmla="*/ 48889 w 93097"/>
                  <a:gd name="connsiteY5" fmla="*/ 52394 h 65245"/>
                  <a:gd name="connsiteX6" fmla="*/ 84301 w 93097"/>
                  <a:gd name="connsiteY6" fmla="*/ 8553 h 65245"/>
                  <a:gd name="connsiteX7" fmla="*/ 91255 w 93097"/>
                  <a:gd name="connsiteY7" fmla="*/ 7829 h 65245"/>
                  <a:gd name="connsiteX8" fmla="*/ 92006 w 93097"/>
                  <a:gd name="connsiteY8" fmla="*/ 14784 h 65245"/>
                  <a:gd name="connsiteX9" fmla="*/ 52700 w 93097"/>
                  <a:gd name="connsiteY9" fmla="*/ 63437 h 65245"/>
                  <a:gd name="connsiteX10" fmla="*/ 48833 w 93097"/>
                  <a:gd name="connsiteY10" fmla="*/ 65246 h 65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3097" h="65245">
                    <a:moveTo>
                      <a:pt x="48833" y="65246"/>
                    </a:moveTo>
                    <a:cubicBezTo>
                      <a:pt x="47637" y="65134"/>
                      <a:pt x="45884" y="64550"/>
                      <a:pt x="44966" y="63382"/>
                    </a:cubicBezTo>
                    <a:lnTo>
                      <a:pt x="1069" y="8024"/>
                    </a:lnTo>
                    <a:cubicBezTo>
                      <a:pt x="-627" y="5882"/>
                      <a:pt x="-266" y="2766"/>
                      <a:pt x="1876" y="1069"/>
                    </a:cubicBezTo>
                    <a:cubicBezTo>
                      <a:pt x="4018" y="-627"/>
                      <a:pt x="7134" y="-266"/>
                      <a:pt x="8831" y="1876"/>
                    </a:cubicBezTo>
                    <a:lnTo>
                      <a:pt x="48889" y="52394"/>
                    </a:lnTo>
                    <a:lnTo>
                      <a:pt x="84301" y="8553"/>
                    </a:lnTo>
                    <a:cubicBezTo>
                      <a:pt x="86026" y="6438"/>
                      <a:pt x="89141" y="6077"/>
                      <a:pt x="91255" y="7829"/>
                    </a:cubicBezTo>
                    <a:cubicBezTo>
                      <a:pt x="93397" y="9554"/>
                      <a:pt x="93703" y="12670"/>
                      <a:pt x="92006" y="14784"/>
                    </a:cubicBezTo>
                    <a:lnTo>
                      <a:pt x="52700" y="63437"/>
                    </a:lnTo>
                    <a:cubicBezTo>
                      <a:pt x="51754" y="64578"/>
                      <a:pt x="50335" y="65246"/>
                      <a:pt x="48833" y="65246"/>
                    </a:cubicBezTo>
                    <a:close/>
                  </a:path>
                </a:pathLst>
              </a:custGeom>
              <a:solidFill>
                <a:schemeClr val="accent1"/>
              </a:solidFill>
              <a:ln w="2775" cap="flat">
                <a:noFill/>
                <a:prstDash val="solid"/>
                <a:miter/>
              </a:ln>
            </p:spPr>
            <p:txBody>
              <a:bodyPr rtlCol="0" anchor="ctr"/>
              <a:lstStyle/>
              <a:p>
                <a:endParaRPr lang="en-GB" dirty="0"/>
              </a:p>
            </p:txBody>
          </p:sp>
          <p:sp>
            <p:nvSpPr>
              <p:cNvPr id="954" name="Freihandform: Form 953">
                <a:extLst>
                  <a:ext uri="{FF2B5EF4-FFF2-40B4-BE49-F238E27FC236}">
                    <a16:creationId xmlns:a16="http://schemas.microsoft.com/office/drawing/2014/main" id="{273A7F9C-2341-40E8-B071-72DC70C301AE}"/>
                  </a:ext>
                </a:extLst>
              </p:cNvPr>
              <p:cNvSpPr/>
              <p:nvPr/>
            </p:nvSpPr>
            <p:spPr>
              <a:xfrm>
                <a:off x="6412255" y="3280792"/>
                <a:ext cx="31284" cy="93435"/>
              </a:xfrm>
              <a:custGeom>
                <a:avLst/>
                <a:gdLst>
                  <a:gd name="connsiteX0" fmla="*/ 4946 w 31284"/>
                  <a:gd name="connsiteY0" fmla="*/ 93435 h 93435"/>
                  <a:gd name="connsiteX1" fmla="*/ 3722 w 31284"/>
                  <a:gd name="connsiteY1" fmla="*/ 93269 h 93435"/>
                  <a:gd name="connsiteX2" fmla="*/ 162 w 31284"/>
                  <a:gd name="connsiteY2" fmla="*/ 87260 h 93435"/>
                  <a:gd name="connsiteX3" fmla="*/ 21526 w 31284"/>
                  <a:gd name="connsiteY3" fmla="*/ 3722 h 93435"/>
                  <a:gd name="connsiteX4" fmla="*/ 27563 w 31284"/>
                  <a:gd name="connsiteY4" fmla="*/ 162 h 93435"/>
                  <a:gd name="connsiteX5" fmla="*/ 31123 w 31284"/>
                  <a:gd name="connsiteY5" fmla="*/ 6170 h 93435"/>
                  <a:gd name="connsiteX6" fmla="*/ 9759 w 31284"/>
                  <a:gd name="connsiteY6" fmla="*/ 89708 h 93435"/>
                  <a:gd name="connsiteX7" fmla="*/ 4946 w 31284"/>
                  <a:gd name="connsiteY7" fmla="*/ 93435 h 9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284" h="93435">
                    <a:moveTo>
                      <a:pt x="4946" y="93435"/>
                    </a:moveTo>
                    <a:cubicBezTo>
                      <a:pt x="4529" y="93435"/>
                      <a:pt x="4140" y="93380"/>
                      <a:pt x="3722" y="93269"/>
                    </a:cubicBezTo>
                    <a:cubicBezTo>
                      <a:pt x="1080" y="92601"/>
                      <a:pt x="-534" y="89902"/>
                      <a:pt x="162" y="87260"/>
                    </a:cubicBezTo>
                    <a:lnTo>
                      <a:pt x="21526" y="3722"/>
                    </a:lnTo>
                    <a:cubicBezTo>
                      <a:pt x="22194" y="1080"/>
                      <a:pt x="24892" y="-534"/>
                      <a:pt x="27563" y="162"/>
                    </a:cubicBezTo>
                    <a:cubicBezTo>
                      <a:pt x="30205" y="829"/>
                      <a:pt x="31819" y="3528"/>
                      <a:pt x="31123" y="6170"/>
                    </a:cubicBezTo>
                    <a:lnTo>
                      <a:pt x="9759" y="89708"/>
                    </a:lnTo>
                    <a:cubicBezTo>
                      <a:pt x="9175" y="91961"/>
                      <a:pt x="7144" y="93435"/>
                      <a:pt x="4946" y="93435"/>
                    </a:cubicBezTo>
                    <a:close/>
                  </a:path>
                </a:pathLst>
              </a:custGeom>
              <a:solidFill>
                <a:schemeClr val="accent1"/>
              </a:solidFill>
              <a:ln w="2775" cap="flat">
                <a:noFill/>
                <a:prstDash val="solid"/>
                <a:miter/>
              </a:ln>
            </p:spPr>
            <p:txBody>
              <a:bodyPr rtlCol="0" anchor="ctr"/>
              <a:lstStyle/>
              <a:p>
                <a:endParaRPr lang="en-GB" dirty="0"/>
              </a:p>
            </p:txBody>
          </p:sp>
          <p:sp>
            <p:nvSpPr>
              <p:cNvPr id="955" name="Freihandform: Form 954">
                <a:extLst>
                  <a:ext uri="{FF2B5EF4-FFF2-40B4-BE49-F238E27FC236}">
                    <a16:creationId xmlns:a16="http://schemas.microsoft.com/office/drawing/2014/main" id="{280D854E-0B8A-452B-A904-651790643B06}"/>
                  </a:ext>
                </a:extLst>
              </p:cNvPr>
              <p:cNvSpPr/>
              <p:nvPr/>
            </p:nvSpPr>
            <p:spPr>
              <a:xfrm>
                <a:off x="6423767" y="3260563"/>
                <a:ext cx="30265" cy="30265"/>
              </a:xfrm>
              <a:custGeom>
                <a:avLst/>
                <a:gdLst>
                  <a:gd name="connsiteX0" fmla="*/ 15133 w 30265"/>
                  <a:gd name="connsiteY0" fmla="*/ 30266 h 30265"/>
                  <a:gd name="connsiteX1" fmla="*/ 0 w 30265"/>
                  <a:gd name="connsiteY1" fmla="*/ 15133 h 30265"/>
                  <a:gd name="connsiteX2" fmla="*/ 15133 w 30265"/>
                  <a:gd name="connsiteY2" fmla="*/ 0 h 30265"/>
                  <a:gd name="connsiteX3" fmla="*/ 30266 w 30265"/>
                  <a:gd name="connsiteY3" fmla="*/ 15133 h 30265"/>
                  <a:gd name="connsiteX4" fmla="*/ 15133 w 30265"/>
                  <a:gd name="connsiteY4" fmla="*/ 30266 h 30265"/>
                  <a:gd name="connsiteX5" fmla="*/ 15133 w 30265"/>
                  <a:gd name="connsiteY5" fmla="*/ 9931 h 30265"/>
                  <a:gd name="connsiteX6" fmla="*/ 9903 w 30265"/>
                  <a:gd name="connsiteY6" fmla="*/ 15161 h 30265"/>
                  <a:gd name="connsiteX7" fmla="*/ 15133 w 30265"/>
                  <a:gd name="connsiteY7" fmla="*/ 20391 h 30265"/>
                  <a:gd name="connsiteX8" fmla="*/ 20363 w 30265"/>
                  <a:gd name="connsiteY8" fmla="*/ 15161 h 30265"/>
                  <a:gd name="connsiteX9" fmla="*/ 15133 w 30265"/>
                  <a:gd name="connsiteY9" fmla="*/ 9931 h 3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65" h="30265">
                    <a:moveTo>
                      <a:pt x="15133" y="30266"/>
                    </a:moveTo>
                    <a:cubicBezTo>
                      <a:pt x="6788" y="30266"/>
                      <a:pt x="0" y="23478"/>
                      <a:pt x="0" y="15133"/>
                    </a:cubicBezTo>
                    <a:cubicBezTo>
                      <a:pt x="0" y="6788"/>
                      <a:pt x="6788" y="0"/>
                      <a:pt x="15133" y="0"/>
                    </a:cubicBezTo>
                    <a:cubicBezTo>
                      <a:pt x="23478" y="0"/>
                      <a:pt x="30266" y="6788"/>
                      <a:pt x="30266" y="15133"/>
                    </a:cubicBezTo>
                    <a:cubicBezTo>
                      <a:pt x="30266" y="23478"/>
                      <a:pt x="23478" y="30266"/>
                      <a:pt x="15133" y="30266"/>
                    </a:cubicBezTo>
                    <a:close/>
                    <a:moveTo>
                      <a:pt x="15133" y="9931"/>
                    </a:moveTo>
                    <a:cubicBezTo>
                      <a:pt x="12268" y="9931"/>
                      <a:pt x="9903" y="12268"/>
                      <a:pt x="9903" y="15161"/>
                    </a:cubicBezTo>
                    <a:cubicBezTo>
                      <a:pt x="9903" y="18026"/>
                      <a:pt x="12240" y="20391"/>
                      <a:pt x="15133" y="20391"/>
                    </a:cubicBezTo>
                    <a:cubicBezTo>
                      <a:pt x="18026" y="20391"/>
                      <a:pt x="20363" y="18054"/>
                      <a:pt x="20363" y="15161"/>
                    </a:cubicBezTo>
                    <a:cubicBezTo>
                      <a:pt x="20363" y="12268"/>
                      <a:pt x="18026" y="9931"/>
                      <a:pt x="15133" y="9931"/>
                    </a:cubicBezTo>
                    <a:close/>
                  </a:path>
                </a:pathLst>
              </a:custGeom>
              <a:solidFill>
                <a:schemeClr val="accent1"/>
              </a:solidFill>
              <a:ln w="2775" cap="flat">
                <a:noFill/>
                <a:prstDash val="solid"/>
                <a:miter/>
              </a:ln>
            </p:spPr>
            <p:txBody>
              <a:bodyPr rtlCol="0" anchor="ctr"/>
              <a:lstStyle/>
              <a:p>
                <a:endParaRPr lang="en-GB" dirty="0"/>
              </a:p>
            </p:txBody>
          </p:sp>
          <p:sp>
            <p:nvSpPr>
              <p:cNvPr id="956" name="Freihandform: Form 955">
                <a:extLst>
                  <a:ext uri="{FF2B5EF4-FFF2-40B4-BE49-F238E27FC236}">
                    <a16:creationId xmlns:a16="http://schemas.microsoft.com/office/drawing/2014/main" id="{68C34A05-9863-4317-8EEF-6D1F13317AD6}"/>
                  </a:ext>
                </a:extLst>
              </p:cNvPr>
              <p:cNvSpPr/>
              <p:nvPr/>
            </p:nvSpPr>
            <p:spPr>
              <a:xfrm>
                <a:off x="6232546" y="3261231"/>
                <a:ext cx="30238" cy="30265"/>
              </a:xfrm>
              <a:custGeom>
                <a:avLst/>
                <a:gdLst>
                  <a:gd name="connsiteX0" fmla="*/ 15133 w 30238"/>
                  <a:gd name="connsiteY0" fmla="*/ 30266 h 30265"/>
                  <a:gd name="connsiteX1" fmla="*/ 0 w 30238"/>
                  <a:gd name="connsiteY1" fmla="*/ 15133 h 30265"/>
                  <a:gd name="connsiteX2" fmla="*/ 15133 w 30238"/>
                  <a:gd name="connsiteY2" fmla="*/ 0 h 30265"/>
                  <a:gd name="connsiteX3" fmla="*/ 30238 w 30238"/>
                  <a:gd name="connsiteY3" fmla="*/ 15133 h 30265"/>
                  <a:gd name="connsiteX4" fmla="*/ 15133 w 30238"/>
                  <a:gd name="connsiteY4" fmla="*/ 30266 h 30265"/>
                  <a:gd name="connsiteX5" fmla="*/ 15133 w 30238"/>
                  <a:gd name="connsiteY5" fmla="*/ 9931 h 30265"/>
                  <a:gd name="connsiteX6" fmla="*/ 9903 w 30238"/>
                  <a:gd name="connsiteY6" fmla="*/ 15161 h 30265"/>
                  <a:gd name="connsiteX7" fmla="*/ 15133 w 30238"/>
                  <a:gd name="connsiteY7" fmla="*/ 20391 h 30265"/>
                  <a:gd name="connsiteX8" fmla="*/ 20335 w 30238"/>
                  <a:gd name="connsiteY8" fmla="*/ 15161 h 30265"/>
                  <a:gd name="connsiteX9" fmla="*/ 15133 w 30238"/>
                  <a:gd name="connsiteY9" fmla="*/ 9931 h 3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38" h="30265">
                    <a:moveTo>
                      <a:pt x="15133" y="30266"/>
                    </a:moveTo>
                    <a:cubicBezTo>
                      <a:pt x="6788" y="30266"/>
                      <a:pt x="0" y="23478"/>
                      <a:pt x="0" y="15133"/>
                    </a:cubicBezTo>
                    <a:cubicBezTo>
                      <a:pt x="0" y="6788"/>
                      <a:pt x="6788" y="0"/>
                      <a:pt x="15133" y="0"/>
                    </a:cubicBezTo>
                    <a:cubicBezTo>
                      <a:pt x="23478" y="0"/>
                      <a:pt x="30238" y="6788"/>
                      <a:pt x="30238" y="15133"/>
                    </a:cubicBezTo>
                    <a:cubicBezTo>
                      <a:pt x="30238" y="23478"/>
                      <a:pt x="23451" y="30266"/>
                      <a:pt x="15133" y="30266"/>
                    </a:cubicBezTo>
                    <a:close/>
                    <a:moveTo>
                      <a:pt x="15133" y="9931"/>
                    </a:moveTo>
                    <a:cubicBezTo>
                      <a:pt x="12240" y="9931"/>
                      <a:pt x="9903" y="12268"/>
                      <a:pt x="9903" y="15161"/>
                    </a:cubicBezTo>
                    <a:cubicBezTo>
                      <a:pt x="9903" y="18026"/>
                      <a:pt x="12240" y="20391"/>
                      <a:pt x="15133" y="20391"/>
                    </a:cubicBezTo>
                    <a:cubicBezTo>
                      <a:pt x="17998" y="20391"/>
                      <a:pt x="20335" y="18054"/>
                      <a:pt x="20335" y="15161"/>
                    </a:cubicBezTo>
                    <a:cubicBezTo>
                      <a:pt x="20335" y="12268"/>
                      <a:pt x="17998" y="9931"/>
                      <a:pt x="15133" y="9931"/>
                    </a:cubicBezTo>
                    <a:close/>
                  </a:path>
                </a:pathLst>
              </a:custGeom>
              <a:solidFill>
                <a:schemeClr val="accent1"/>
              </a:solidFill>
              <a:ln w="2775" cap="flat">
                <a:noFill/>
                <a:prstDash val="solid"/>
                <a:miter/>
              </a:ln>
            </p:spPr>
            <p:txBody>
              <a:bodyPr rtlCol="0" anchor="ctr"/>
              <a:lstStyle/>
              <a:p>
                <a:endParaRPr lang="en-GB" dirty="0"/>
              </a:p>
            </p:txBody>
          </p:sp>
          <p:sp>
            <p:nvSpPr>
              <p:cNvPr id="957" name="Freihandform: Form 956">
                <a:extLst>
                  <a:ext uri="{FF2B5EF4-FFF2-40B4-BE49-F238E27FC236}">
                    <a16:creationId xmlns:a16="http://schemas.microsoft.com/office/drawing/2014/main" id="{F61588FE-F655-4F74-8AFF-D65E5AE362A0}"/>
                  </a:ext>
                </a:extLst>
              </p:cNvPr>
              <p:cNvSpPr/>
              <p:nvPr/>
            </p:nvSpPr>
            <p:spPr>
              <a:xfrm>
                <a:off x="6328824" y="3252413"/>
                <a:ext cx="30238" cy="30265"/>
              </a:xfrm>
              <a:custGeom>
                <a:avLst/>
                <a:gdLst>
                  <a:gd name="connsiteX0" fmla="*/ 15133 w 30238"/>
                  <a:gd name="connsiteY0" fmla="*/ 30266 h 30265"/>
                  <a:gd name="connsiteX1" fmla="*/ 0 w 30238"/>
                  <a:gd name="connsiteY1" fmla="*/ 15133 h 30265"/>
                  <a:gd name="connsiteX2" fmla="*/ 15133 w 30238"/>
                  <a:gd name="connsiteY2" fmla="*/ 0 h 30265"/>
                  <a:gd name="connsiteX3" fmla="*/ 30238 w 30238"/>
                  <a:gd name="connsiteY3" fmla="*/ 15133 h 30265"/>
                  <a:gd name="connsiteX4" fmla="*/ 15133 w 30238"/>
                  <a:gd name="connsiteY4" fmla="*/ 30266 h 30265"/>
                  <a:gd name="connsiteX5" fmla="*/ 15133 w 30238"/>
                  <a:gd name="connsiteY5" fmla="*/ 9931 h 30265"/>
                  <a:gd name="connsiteX6" fmla="*/ 9903 w 30238"/>
                  <a:gd name="connsiteY6" fmla="*/ 15161 h 30265"/>
                  <a:gd name="connsiteX7" fmla="*/ 15133 w 30238"/>
                  <a:gd name="connsiteY7" fmla="*/ 20390 h 30265"/>
                  <a:gd name="connsiteX8" fmla="*/ 20335 w 30238"/>
                  <a:gd name="connsiteY8" fmla="*/ 15161 h 30265"/>
                  <a:gd name="connsiteX9" fmla="*/ 15133 w 30238"/>
                  <a:gd name="connsiteY9" fmla="*/ 9931 h 3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38" h="30265">
                    <a:moveTo>
                      <a:pt x="15133" y="30266"/>
                    </a:moveTo>
                    <a:cubicBezTo>
                      <a:pt x="6788" y="30266"/>
                      <a:pt x="0" y="23478"/>
                      <a:pt x="0" y="15133"/>
                    </a:cubicBezTo>
                    <a:cubicBezTo>
                      <a:pt x="0" y="6788"/>
                      <a:pt x="6788" y="0"/>
                      <a:pt x="15133" y="0"/>
                    </a:cubicBezTo>
                    <a:cubicBezTo>
                      <a:pt x="23478" y="0"/>
                      <a:pt x="30238" y="6788"/>
                      <a:pt x="30238" y="15133"/>
                    </a:cubicBezTo>
                    <a:cubicBezTo>
                      <a:pt x="30266" y="23478"/>
                      <a:pt x="23478" y="30266"/>
                      <a:pt x="15133" y="30266"/>
                    </a:cubicBezTo>
                    <a:close/>
                    <a:moveTo>
                      <a:pt x="15133" y="9931"/>
                    </a:moveTo>
                    <a:cubicBezTo>
                      <a:pt x="12240" y="9931"/>
                      <a:pt x="9903" y="12268"/>
                      <a:pt x="9903" y="15161"/>
                    </a:cubicBezTo>
                    <a:cubicBezTo>
                      <a:pt x="9903" y="18026"/>
                      <a:pt x="12240" y="20390"/>
                      <a:pt x="15133" y="20390"/>
                    </a:cubicBezTo>
                    <a:cubicBezTo>
                      <a:pt x="17998" y="20390"/>
                      <a:pt x="20335" y="18054"/>
                      <a:pt x="20335" y="15161"/>
                    </a:cubicBezTo>
                    <a:cubicBezTo>
                      <a:pt x="20363" y="12268"/>
                      <a:pt x="18026" y="9931"/>
                      <a:pt x="15133" y="9931"/>
                    </a:cubicBezTo>
                    <a:close/>
                  </a:path>
                </a:pathLst>
              </a:custGeom>
              <a:solidFill>
                <a:schemeClr val="accent1"/>
              </a:solidFill>
              <a:ln w="2775" cap="flat">
                <a:noFill/>
                <a:prstDash val="solid"/>
                <a:miter/>
              </a:ln>
            </p:spPr>
            <p:txBody>
              <a:bodyPr rtlCol="0" anchor="ctr"/>
              <a:lstStyle/>
              <a:p>
                <a:endParaRPr lang="en-GB" dirty="0"/>
              </a:p>
            </p:txBody>
          </p:sp>
          <p:sp>
            <p:nvSpPr>
              <p:cNvPr id="958" name="Freihandform: Form 957">
                <a:extLst>
                  <a:ext uri="{FF2B5EF4-FFF2-40B4-BE49-F238E27FC236}">
                    <a16:creationId xmlns:a16="http://schemas.microsoft.com/office/drawing/2014/main" id="{6BA5EEA5-39CB-49F0-9DCC-6AB518512C29}"/>
                  </a:ext>
                </a:extLst>
              </p:cNvPr>
              <p:cNvSpPr/>
              <p:nvPr/>
            </p:nvSpPr>
            <p:spPr>
              <a:xfrm>
                <a:off x="6265789" y="3363573"/>
                <a:ext cx="156337" cy="19194"/>
              </a:xfrm>
              <a:custGeom>
                <a:avLst/>
                <a:gdLst>
                  <a:gd name="connsiteX0" fmla="*/ 78196 w 156337"/>
                  <a:gd name="connsiteY0" fmla="*/ 19194 h 19194"/>
                  <a:gd name="connsiteX1" fmla="*/ 0 w 156337"/>
                  <a:gd name="connsiteY1" fmla="*/ 4952 h 19194"/>
                  <a:gd name="connsiteX2" fmla="*/ 4952 w 156337"/>
                  <a:gd name="connsiteY2" fmla="*/ 0 h 19194"/>
                  <a:gd name="connsiteX3" fmla="*/ 9430 w 156337"/>
                  <a:gd name="connsiteY3" fmla="*/ 2865 h 19194"/>
                  <a:gd name="connsiteX4" fmla="*/ 78169 w 156337"/>
                  <a:gd name="connsiteY4" fmla="*/ 9291 h 19194"/>
                  <a:gd name="connsiteX5" fmla="*/ 146907 w 156337"/>
                  <a:gd name="connsiteY5" fmla="*/ 2865 h 19194"/>
                  <a:gd name="connsiteX6" fmla="*/ 151385 w 156337"/>
                  <a:gd name="connsiteY6" fmla="*/ 0 h 19194"/>
                  <a:gd name="connsiteX7" fmla="*/ 156337 w 156337"/>
                  <a:gd name="connsiteY7" fmla="*/ 4952 h 19194"/>
                  <a:gd name="connsiteX8" fmla="*/ 78196 w 156337"/>
                  <a:gd name="connsiteY8" fmla="*/ 19194 h 19194"/>
                  <a:gd name="connsiteX9" fmla="*/ 9931 w 156337"/>
                  <a:gd name="connsiteY9" fmla="*/ 4952 h 19194"/>
                  <a:gd name="connsiteX10" fmla="*/ 9987 w 156337"/>
                  <a:gd name="connsiteY10" fmla="*/ 4952 h 19194"/>
                  <a:gd name="connsiteX11" fmla="*/ 9931 w 156337"/>
                  <a:gd name="connsiteY11" fmla="*/ 4952 h 19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6337" h="19194">
                    <a:moveTo>
                      <a:pt x="78196" y="19194"/>
                    </a:moveTo>
                    <a:cubicBezTo>
                      <a:pt x="26316" y="19194"/>
                      <a:pt x="0" y="14410"/>
                      <a:pt x="0" y="4952"/>
                    </a:cubicBezTo>
                    <a:cubicBezTo>
                      <a:pt x="0" y="2226"/>
                      <a:pt x="2225" y="0"/>
                      <a:pt x="4952" y="0"/>
                    </a:cubicBezTo>
                    <a:cubicBezTo>
                      <a:pt x="6927" y="0"/>
                      <a:pt x="8651" y="1168"/>
                      <a:pt x="9430" y="2865"/>
                    </a:cubicBezTo>
                    <a:cubicBezTo>
                      <a:pt x="14549" y="5647"/>
                      <a:pt x="40141" y="9291"/>
                      <a:pt x="78169" y="9291"/>
                    </a:cubicBezTo>
                    <a:cubicBezTo>
                      <a:pt x="116196" y="9291"/>
                      <a:pt x="141816" y="5647"/>
                      <a:pt x="146907" y="2865"/>
                    </a:cubicBezTo>
                    <a:cubicBezTo>
                      <a:pt x="147686" y="1168"/>
                      <a:pt x="149410" y="0"/>
                      <a:pt x="151385" y="0"/>
                    </a:cubicBezTo>
                    <a:cubicBezTo>
                      <a:pt x="154112" y="0"/>
                      <a:pt x="156337" y="2226"/>
                      <a:pt x="156337" y="4952"/>
                    </a:cubicBezTo>
                    <a:cubicBezTo>
                      <a:pt x="156393" y="14410"/>
                      <a:pt x="130077" y="19194"/>
                      <a:pt x="78196" y="19194"/>
                    </a:cubicBezTo>
                    <a:close/>
                    <a:moveTo>
                      <a:pt x="9931" y="4952"/>
                    </a:moveTo>
                    <a:lnTo>
                      <a:pt x="9987" y="4952"/>
                    </a:lnTo>
                    <a:lnTo>
                      <a:pt x="9931" y="4952"/>
                    </a:lnTo>
                    <a:close/>
                  </a:path>
                </a:pathLst>
              </a:custGeom>
              <a:solidFill>
                <a:schemeClr val="accent1"/>
              </a:solidFill>
              <a:ln w="2775" cap="flat">
                <a:noFill/>
                <a:prstDash val="solid"/>
                <a:miter/>
              </a:ln>
            </p:spPr>
            <p:txBody>
              <a:bodyPr rtlCol="0" anchor="ctr"/>
              <a:lstStyle/>
              <a:p>
                <a:endParaRPr lang="en-GB" dirty="0"/>
              </a:p>
            </p:txBody>
          </p:sp>
        </p:grpSp>
      </p:grpSp>
      <p:grpSp>
        <p:nvGrpSpPr>
          <p:cNvPr id="17" name="Group 16">
            <a:extLst>
              <a:ext uri="{FF2B5EF4-FFF2-40B4-BE49-F238E27FC236}">
                <a16:creationId xmlns:a16="http://schemas.microsoft.com/office/drawing/2014/main" id="{9F29F37F-F101-76F8-A6EF-5769F436F45A}"/>
              </a:ext>
            </a:extLst>
          </p:cNvPr>
          <p:cNvGrpSpPr/>
          <p:nvPr/>
        </p:nvGrpSpPr>
        <p:grpSpPr>
          <a:xfrm>
            <a:off x="7113641" y="3273397"/>
            <a:ext cx="380990" cy="431999"/>
            <a:chOff x="7113229" y="3273397"/>
            <a:chExt cx="380990" cy="431999"/>
          </a:xfrm>
        </p:grpSpPr>
        <p:grpSp>
          <p:nvGrpSpPr>
            <p:cNvPr id="970" name="Grafik 114">
              <a:extLst>
                <a:ext uri="{FF2B5EF4-FFF2-40B4-BE49-F238E27FC236}">
                  <a16:creationId xmlns:a16="http://schemas.microsoft.com/office/drawing/2014/main" id="{F717ED9B-7886-404E-B61D-5A7A4350A6D8}"/>
                </a:ext>
              </a:extLst>
            </p:cNvPr>
            <p:cNvGrpSpPr/>
            <p:nvPr/>
          </p:nvGrpSpPr>
          <p:grpSpPr>
            <a:xfrm>
              <a:off x="7223902" y="3273397"/>
              <a:ext cx="160246" cy="431746"/>
              <a:chOff x="7063942" y="3284849"/>
              <a:chExt cx="192166" cy="517748"/>
            </a:xfrm>
            <a:solidFill>
              <a:schemeClr val="accent1"/>
            </a:solidFill>
          </p:grpSpPr>
          <p:grpSp>
            <p:nvGrpSpPr>
              <p:cNvPr id="988" name="Grafik 114">
                <a:extLst>
                  <a:ext uri="{FF2B5EF4-FFF2-40B4-BE49-F238E27FC236}">
                    <a16:creationId xmlns:a16="http://schemas.microsoft.com/office/drawing/2014/main" id="{D99C8224-2CF5-4103-9D21-3EAB3667878D}"/>
                  </a:ext>
                </a:extLst>
              </p:cNvPr>
              <p:cNvGrpSpPr/>
              <p:nvPr/>
            </p:nvGrpSpPr>
            <p:grpSpPr>
              <a:xfrm>
                <a:off x="7063942" y="3406024"/>
                <a:ext cx="192166" cy="396573"/>
                <a:chOff x="7063942" y="3406024"/>
                <a:chExt cx="192166" cy="396573"/>
              </a:xfrm>
              <a:solidFill>
                <a:schemeClr val="accent1"/>
              </a:solidFill>
            </p:grpSpPr>
            <p:sp>
              <p:nvSpPr>
                <p:cNvPr id="990" name="Freihandform: Form 989">
                  <a:extLst>
                    <a:ext uri="{FF2B5EF4-FFF2-40B4-BE49-F238E27FC236}">
                      <a16:creationId xmlns:a16="http://schemas.microsoft.com/office/drawing/2014/main" id="{CC72CAB9-345A-4DAC-A5AC-F9B4D7B041CD}"/>
                    </a:ext>
                  </a:extLst>
                </p:cNvPr>
                <p:cNvSpPr/>
                <p:nvPr/>
              </p:nvSpPr>
              <p:spPr>
                <a:xfrm>
                  <a:off x="7063942" y="3406051"/>
                  <a:ext cx="79755" cy="234561"/>
                </a:xfrm>
                <a:custGeom>
                  <a:avLst/>
                  <a:gdLst>
                    <a:gd name="connsiteX0" fmla="*/ 22505 w 79755"/>
                    <a:gd name="connsiteY0" fmla="*/ 234561 h 234561"/>
                    <a:gd name="connsiteX1" fmla="*/ 0 w 79755"/>
                    <a:gd name="connsiteY1" fmla="*/ 212084 h 234561"/>
                    <a:gd name="connsiteX2" fmla="*/ 0 w 79755"/>
                    <a:gd name="connsiteY2" fmla="*/ 41588 h 234561"/>
                    <a:gd name="connsiteX3" fmla="*/ 37665 w 79755"/>
                    <a:gd name="connsiteY3" fmla="*/ 8596 h 234561"/>
                    <a:gd name="connsiteX4" fmla="*/ 64565 w 79755"/>
                    <a:gd name="connsiteY4" fmla="*/ 8596 h 234561"/>
                    <a:gd name="connsiteX5" fmla="*/ 69851 w 79755"/>
                    <a:gd name="connsiteY5" fmla="*/ 4868 h 234561"/>
                    <a:gd name="connsiteX6" fmla="*/ 74802 w 79755"/>
                    <a:gd name="connsiteY6" fmla="*/ 0 h 234561"/>
                    <a:gd name="connsiteX7" fmla="*/ 74886 w 79755"/>
                    <a:gd name="connsiteY7" fmla="*/ 0 h 234561"/>
                    <a:gd name="connsiteX8" fmla="*/ 79754 w 79755"/>
                    <a:gd name="connsiteY8" fmla="*/ 5035 h 234561"/>
                    <a:gd name="connsiteX9" fmla="*/ 65094 w 79755"/>
                    <a:gd name="connsiteY9" fmla="*/ 18499 h 234561"/>
                    <a:gd name="connsiteX10" fmla="*/ 37665 w 79755"/>
                    <a:gd name="connsiteY10" fmla="*/ 18527 h 234561"/>
                    <a:gd name="connsiteX11" fmla="*/ 9903 w 79755"/>
                    <a:gd name="connsiteY11" fmla="*/ 41616 h 234561"/>
                    <a:gd name="connsiteX12" fmla="*/ 9903 w 79755"/>
                    <a:gd name="connsiteY12" fmla="*/ 212112 h 234561"/>
                    <a:gd name="connsiteX13" fmla="*/ 22477 w 79755"/>
                    <a:gd name="connsiteY13" fmla="*/ 224686 h 234561"/>
                    <a:gd name="connsiteX14" fmla="*/ 35051 w 79755"/>
                    <a:gd name="connsiteY14" fmla="*/ 212112 h 234561"/>
                    <a:gd name="connsiteX15" fmla="*/ 35051 w 79755"/>
                    <a:gd name="connsiteY15" fmla="*/ 74636 h 234561"/>
                    <a:gd name="connsiteX16" fmla="*/ 40002 w 79755"/>
                    <a:gd name="connsiteY16" fmla="*/ 69684 h 234561"/>
                    <a:gd name="connsiteX17" fmla="*/ 44954 w 79755"/>
                    <a:gd name="connsiteY17" fmla="*/ 74636 h 234561"/>
                    <a:gd name="connsiteX18" fmla="*/ 44954 w 79755"/>
                    <a:gd name="connsiteY18" fmla="*/ 212112 h 234561"/>
                    <a:gd name="connsiteX19" fmla="*/ 22505 w 79755"/>
                    <a:gd name="connsiteY19" fmla="*/ 234561 h 234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9755" h="234561">
                      <a:moveTo>
                        <a:pt x="22505" y="234561"/>
                      </a:moveTo>
                      <a:cubicBezTo>
                        <a:pt x="10098" y="234561"/>
                        <a:pt x="0" y="224463"/>
                        <a:pt x="0" y="212084"/>
                      </a:cubicBezTo>
                      <a:lnTo>
                        <a:pt x="0" y="41588"/>
                      </a:lnTo>
                      <a:cubicBezTo>
                        <a:pt x="0" y="15495"/>
                        <a:pt x="24647" y="8596"/>
                        <a:pt x="37665" y="8596"/>
                      </a:cubicBezTo>
                      <a:lnTo>
                        <a:pt x="64565" y="8596"/>
                      </a:lnTo>
                      <a:cubicBezTo>
                        <a:pt x="64426" y="8568"/>
                        <a:pt x="69795" y="7789"/>
                        <a:pt x="69851" y="4868"/>
                      </a:cubicBezTo>
                      <a:cubicBezTo>
                        <a:pt x="69907" y="2170"/>
                        <a:pt x="72104" y="0"/>
                        <a:pt x="74802" y="0"/>
                      </a:cubicBezTo>
                      <a:cubicBezTo>
                        <a:pt x="74830" y="0"/>
                        <a:pt x="74858" y="0"/>
                        <a:pt x="74886" y="0"/>
                      </a:cubicBezTo>
                      <a:cubicBezTo>
                        <a:pt x="77612" y="56"/>
                        <a:pt x="79810" y="2309"/>
                        <a:pt x="79754" y="5035"/>
                      </a:cubicBezTo>
                      <a:cubicBezTo>
                        <a:pt x="79615" y="14521"/>
                        <a:pt x="70101" y="17998"/>
                        <a:pt x="65094" y="18499"/>
                      </a:cubicBezTo>
                      <a:lnTo>
                        <a:pt x="37665" y="18527"/>
                      </a:lnTo>
                      <a:cubicBezTo>
                        <a:pt x="36553" y="18527"/>
                        <a:pt x="9903" y="18916"/>
                        <a:pt x="9903" y="41616"/>
                      </a:cubicBezTo>
                      <a:lnTo>
                        <a:pt x="9903" y="212112"/>
                      </a:lnTo>
                      <a:cubicBezTo>
                        <a:pt x="9903" y="219039"/>
                        <a:pt x="15550" y="224686"/>
                        <a:pt x="22477" y="224686"/>
                      </a:cubicBezTo>
                      <a:cubicBezTo>
                        <a:pt x="29404" y="224686"/>
                        <a:pt x="35051" y="219039"/>
                        <a:pt x="35051" y="212112"/>
                      </a:cubicBezTo>
                      <a:lnTo>
                        <a:pt x="35051" y="74636"/>
                      </a:lnTo>
                      <a:cubicBezTo>
                        <a:pt x="35051" y="71909"/>
                        <a:pt x="37276" y="69684"/>
                        <a:pt x="40002" y="69684"/>
                      </a:cubicBezTo>
                      <a:cubicBezTo>
                        <a:pt x="42728" y="69684"/>
                        <a:pt x="44954" y="71909"/>
                        <a:pt x="44954" y="74636"/>
                      </a:cubicBezTo>
                      <a:lnTo>
                        <a:pt x="44954" y="212112"/>
                      </a:lnTo>
                      <a:cubicBezTo>
                        <a:pt x="44982" y="224463"/>
                        <a:pt x="34912" y="234561"/>
                        <a:pt x="22505" y="234561"/>
                      </a:cubicBezTo>
                      <a:close/>
                    </a:path>
                  </a:pathLst>
                </a:custGeom>
                <a:solidFill>
                  <a:schemeClr val="accent1"/>
                </a:solidFill>
                <a:ln w="2775" cap="flat">
                  <a:noFill/>
                  <a:prstDash val="solid"/>
                  <a:miter/>
                </a:ln>
              </p:spPr>
              <p:txBody>
                <a:bodyPr rtlCol="0" anchor="ctr"/>
                <a:lstStyle/>
                <a:p>
                  <a:endParaRPr lang="en-GB" dirty="0"/>
                </a:p>
              </p:txBody>
            </p:sp>
            <p:sp>
              <p:nvSpPr>
                <p:cNvPr id="991" name="Freihandform: Form 990">
                  <a:extLst>
                    <a:ext uri="{FF2B5EF4-FFF2-40B4-BE49-F238E27FC236}">
                      <a16:creationId xmlns:a16="http://schemas.microsoft.com/office/drawing/2014/main" id="{E924A43F-F49C-452E-AE79-0CB8EF1C69E3}"/>
                    </a:ext>
                  </a:extLst>
                </p:cNvPr>
                <p:cNvSpPr/>
                <p:nvPr/>
              </p:nvSpPr>
              <p:spPr>
                <a:xfrm>
                  <a:off x="7178580" y="3406024"/>
                  <a:ext cx="77528" cy="234589"/>
                </a:xfrm>
                <a:custGeom>
                  <a:avLst/>
                  <a:gdLst>
                    <a:gd name="connsiteX0" fmla="*/ 55052 w 77528"/>
                    <a:gd name="connsiteY0" fmla="*/ 234589 h 234589"/>
                    <a:gd name="connsiteX1" fmla="*/ 32575 w 77528"/>
                    <a:gd name="connsiteY1" fmla="*/ 212112 h 234589"/>
                    <a:gd name="connsiteX2" fmla="*/ 32575 w 77528"/>
                    <a:gd name="connsiteY2" fmla="*/ 75192 h 234589"/>
                    <a:gd name="connsiteX3" fmla="*/ 37526 w 77528"/>
                    <a:gd name="connsiteY3" fmla="*/ 70240 h 234589"/>
                    <a:gd name="connsiteX4" fmla="*/ 42478 w 77528"/>
                    <a:gd name="connsiteY4" fmla="*/ 75192 h 234589"/>
                    <a:gd name="connsiteX5" fmla="*/ 42478 w 77528"/>
                    <a:gd name="connsiteY5" fmla="*/ 212112 h 234589"/>
                    <a:gd name="connsiteX6" fmla="*/ 55052 w 77528"/>
                    <a:gd name="connsiteY6" fmla="*/ 224686 h 234589"/>
                    <a:gd name="connsiteX7" fmla="*/ 67626 w 77528"/>
                    <a:gd name="connsiteY7" fmla="*/ 212112 h 234589"/>
                    <a:gd name="connsiteX8" fmla="*/ 67626 w 77528"/>
                    <a:gd name="connsiteY8" fmla="*/ 41616 h 234589"/>
                    <a:gd name="connsiteX9" fmla="*/ 39863 w 77528"/>
                    <a:gd name="connsiteY9" fmla="*/ 18527 h 234589"/>
                    <a:gd name="connsiteX10" fmla="*/ 12935 w 77528"/>
                    <a:gd name="connsiteY10" fmla="*/ 18527 h 234589"/>
                    <a:gd name="connsiteX11" fmla="*/ 3895 w 77528"/>
                    <a:gd name="connsiteY11" fmla="*/ 14994 h 234589"/>
                    <a:gd name="connsiteX12" fmla="*/ 0 w 77528"/>
                    <a:gd name="connsiteY12" fmla="*/ 4980 h 234589"/>
                    <a:gd name="connsiteX13" fmla="*/ 4924 w 77528"/>
                    <a:gd name="connsiteY13" fmla="*/ 0 h 234589"/>
                    <a:gd name="connsiteX14" fmla="*/ 4952 w 77528"/>
                    <a:gd name="connsiteY14" fmla="*/ 0 h 234589"/>
                    <a:gd name="connsiteX15" fmla="*/ 9903 w 77528"/>
                    <a:gd name="connsiteY15" fmla="*/ 4924 h 234589"/>
                    <a:gd name="connsiteX16" fmla="*/ 10738 w 77528"/>
                    <a:gd name="connsiteY16" fmla="*/ 7845 h 234589"/>
                    <a:gd name="connsiteX17" fmla="*/ 12741 w 77528"/>
                    <a:gd name="connsiteY17" fmla="*/ 8624 h 234589"/>
                    <a:gd name="connsiteX18" fmla="*/ 12741 w 77528"/>
                    <a:gd name="connsiteY18" fmla="*/ 8624 h 234589"/>
                    <a:gd name="connsiteX19" fmla="*/ 39863 w 77528"/>
                    <a:gd name="connsiteY19" fmla="*/ 8624 h 234589"/>
                    <a:gd name="connsiteX20" fmla="*/ 77529 w 77528"/>
                    <a:gd name="connsiteY20" fmla="*/ 41616 h 234589"/>
                    <a:gd name="connsiteX21" fmla="*/ 77529 w 77528"/>
                    <a:gd name="connsiteY21" fmla="*/ 212112 h 234589"/>
                    <a:gd name="connsiteX22" fmla="*/ 55052 w 77528"/>
                    <a:gd name="connsiteY22" fmla="*/ 234589 h 234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7528" h="234589">
                      <a:moveTo>
                        <a:pt x="55052" y="234589"/>
                      </a:moveTo>
                      <a:cubicBezTo>
                        <a:pt x="42645" y="234589"/>
                        <a:pt x="32575" y="224491"/>
                        <a:pt x="32575" y="212112"/>
                      </a:cubicBezTo>
                      <a:lnTo>
                        <a:pt x="32575" y="75192"/>
                      </a:lnTo>
                      <a:cubicBezTo>
                        <a:pt x="32575" y="72466"/>
                        <a:pt x="34800" y="70240"/>
                        <a:pt x="37526" y="70240"/>
                      </a:cubicBezTo>
                      <a:cubicBezTo>
                        <a:pt x="40253" y="70240"/>
                        <a:pt x="42478" y="72466"/>
                        <a:pt x="42478" y="75192"/>
                      </a:cubicBezTo>
                      <a:lnTo>
                        <a:pt x="42478" y="212112"/>
                      </a:lnTo>
                      <a:cubicBezTo>
                        <a:pt x="42478" y="219039"/>
                        <a:pt x="48125" y="224686"/>
                        <a:pt x="55052" y="224686"/>
                      </a:cubicBezTo>
                      <a:cubicBezTo>
                        <a:pt x="61979" y="224686"/>
                        <a:pt x="67626" y="219039"/>
                        <a:pt x="67626" y="212112"/>
                      </a:cubicBezTo>
                      <a:lnTo>
                        <a:pt x="67626" y="41616"/>
                      </a:lnTo>
                      <a:cubicBezTo>
                        <a:pt x="67626" y="18777"/>
                        <a:pt x="41004" y="18527"/>
                        <a:pt x="39863" y="18527"/>
                      </a:cubicBezTo>
                      <a:lnTo>
                        <a:pt x="12935" y="18527"/>
                      </a:lnTo>
                      <a:cubicBezTo>
                        <a:pt x="12546" y="18555"/>
                        <a:pt x="7650" y="18610"/>
                        <a:pt x="3895" y="14994"/>
                      </a:cubicBezTo>
                      <a:cubicBezTo>
                        <a:pt x="2142" y="13297"/>
                        <a:pt x="28" y="10209"/>
                        <a:pt x="0" y="4980"/>
                      </a:cubicBezTo>
                      <a:cubicBezTo>
                        <a:pt x="0" y="2253"/>
                        <a:pt x="2198" y="28"/>
                        <a:pt x="4924" y="0"/>
                      </a:cubicBezTo>
                      <a:cubicBezTo>
                        <a:pt x="4924" y="0"/>
                        <a:pt x="4952" y="0"/>
                        <a:pt x="4952" y="0"/>
                      </a:cubicBezTo>
                      <a:cubicBezTo>
                        <a:pt x="7678" y="0"/>
                        <a:pt x="9903" y="2198"/>
                        <a:pt x="9903" y="4924"/>
                      </a:cubicBezTo>
                      <a:cubicBezTo>
                        <a:pt x="9903" y="5897"/>
                        <a:pt x="10070" y="7177"/>
                        <a:pt x="10738" y="7845"/>
                      </a:cubicBezTo>
                      <a:cubicBezTo>
                        <a:pt x="11461" y="8540"/>
                        <a:pt x="12741" y="8624"/>
                        <a:pt x="12741" y="8624"/>
                      </a:cubicBezTo>
                      <a:lnTo>
                        <a:pt x="12741" y="8624"/>
                      </a:lnTo>
                      <a:lnTo>
                        <a:pt x="39863" y="8624"/>
                      </a:lnTo>
                      <a:cubicBezTo>
                        <a:pt x="52882" y="8624"/>
                        <a:pt x="77529" y="15522"/>
                        <a:pt x="77529" y="41616"/>
                      </a:cubicBezTo>
                      <a:lnTo>
                        <a:pt x="77529" y="212112"/>
                      </a:lnTo>
                      <a:cubicBezTo>
                        <a:pt x="77529" y="224491"/>
                        <a:pt x="67431" y="234589"/>
                        <a:pt x="55052" y="234589"/>
                      </a:cubicBezTo>
                      <a:close/>
                    </a:path>
                  </a:pathLst>
                </a:custGeom>
                <a:solidFill>
                  <a:schemeClr val="accent1"/>
                </a:solidFill>
                <a:ln w="2775" cap="flat">
                  <a:noFill/>
                  <a:prstDash val="solid"/>
                  <a:miter/>
                </a:ln>
              </p:spPr>
              <p:txBody>
                <a:bodyPr rtlCol="0" anchor="ctr"/>
                <a:lstStyle/>
                <a:p>
                  <a:endParaRPr lang="en-GB" dirty="0"/>
                </a:p>
              </p:txBody>
            </p:sp>
            <p:sp>
              <p:nvSpPr>
                <p:cNvPr id="992" name="Freihandform: Form 991">
                  <a:extLst>
                    <a:ext uri="{FF2B5EF4-FFF2-40B4-BE49-F238E27FC236}">
                      <a16:creationId xmlns:a16="http://schemas.microsoft.com/office/drawing/2014/main" id="{457993A5-2DEE-4BCA-BC42-6CD7CBB16D58}"/>
                    </a:ext>
                  </a:extLst>
                </p:cNvPr>
                <p:cNvSpPr/>
                <p:nvPr/>
              </p:nvSpPr>
              <p:spPr>
                <a:xfrm>
                  <a:off x="7156520" y="3611070"/>
                  <a:ext cx="9903" cy="191526"/>
                </a:xfrm>
                <a:custGeom>
                  <a:avLst/>
                  <a:gdLst>
                    <a:gd name="connsiteX0" fmla="*/ 4952 w 9903"/>
                    <a:gd name="connsiteY0" fmla="*/ 191527 h 191526"/>
                    <a:gd name="connsiteX1" fmla="*/ 0 w 9903"/>
                    <a:gd name="connsiteY1" fmla="*/ 186575 h 191526"/>
                    <a:gd name="connsiteX2" fmla="*/ 0 w 9903"/>
                    <a:gd name="connsiteY2" fmla="*/ 4952 h 191526"/>
                    <a:gd name="connsiteX3" fmla="*/ 4952 w 9903"/>
                    <a:gd name="connsiteY3" fmla="*/ 0 h 191526"/>
                    <a:gd name="connsiteX4" fmla="*/ 9903 w 9903"/>
                    <a:gd name="connsiteY4" fmla="*/ 4952 h 191526"/>
                    <a:gd name="connsiteX5" fmla="*/ 9903 w 9903"/>
                    <a:gd name="connsiteY5" fmla="*/ 186575 h 191526"/>
                    <a:gd name="connsiteX6" fmla="*/ 4952 w 9903"/>
                    <a:gd name="connsiteY6" fmla="*/ 191527 h 191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91526">
                      <a:moveTo>
                        <a:pt x="4952" y="191527"/>
                      </a:moveTo>
                      <a:cubicBezTo>
                        <a:pt x="2225" y="191527"/>
                        <a:pt x="0" y="189301"/>
                        <a:pt x="0" y="186575"/>
                      </a:cubicBezTo>
                      <a:lnTo>
                        <a:pt x="0" y="4952"/>
                      </a:lnTo>
                      <a:cubicBezTo>
                        <a:pt x="0" y="2225"/>
                        <a:pt x="2225" y="0"/>
                        <a:pt x="4952" y="0"/>
                      </a:cubicBezTo>
                      <a:cubicBezTo>
                        <a:pt x="7678" y="0"/>
                        <a:pt x="9903" y="2225"/>
                        <a:pt x="9903" y="4952"/>
                      </a:cubicBezTo>
                      <a:lnTo>
                        <a:pt x="9903" y="186575"/>
                      </a:lnTo>
                      <a:cubicBezTo>
                        <a:pt x="9903" y="189301"/>
                        <a:pt x="7678" y="191527"/>
                        <a:pt x="4952" y="191527"/>
                      </a:cubicBezTo>
                      <a:close/>
                    </a:path>
                  </a:pathLst>
                </a:custGeom>
                <a:solidFill>
                  <a:schemeClr val="accent1"/>
                </a:solidFill>
                <a:ln w="2775" cap="flat">
                  <a:noFill/>
                  <a:prstDash val="solid"/>
                  <a:miter/>
                </a:ln>
              </p:spPr>
              <p:txBody>
                <a:bodyPr rtlCol="0" anchor="ctr"/>
                <a:lstStyle/>
                <a:p>
                  <a:endParaRPr lang="en-GB" dirty="0"/>
                </a:p>
              </p:txBody>
            </p:sp>
            <p:sp>
              <p:nvSpPr>
                <p:cNvPr id="993" name="Freihandform: Form 992">
                  <a:extLst>
                    <a:ext uri="{FF2B5EF4-FFF2-40B4-BE49-F238E27FC236}">
                      <a16:creationId xmlns:a16="http://schemas.microsoft.com/office/drawing/2014/main" id="{B5CE3CF2-2951-4912-851A-63AD45323369}"/>
                    </a:ext>
                  </a:extLst>
                </p:cNvPr>
                <p:cNvSpPr/>
                <p:nvPr/>
              </p:nvSpPr>
              <p:spPr>
                <a:xfrm>
                  <a:off x="7099021" y="3511426"/>
                  <a:ext cx="9931" cy="291170"/>
                </a:xfrm>
                <a:custGeom>
                  <a:avLst/>
                  <a:gdLst>
                    <a:gd name="connsiteX0" fmla="*/ 4979 w 9931"/>
                    <a:gd name="connsiteY0" fmla="*/ 291171 h 291170"/>
                    <a:gd name="connsiteX1" fmla="*/ 56 w 9931"/>
                    <a:gd name="connsiteY1" fmla="*/ 286748 h 291170"/>
                    <a:gd name="connsiteX2" fmla="*/ 0 w 9931"/>
                    <a:gd name="connsiteY2" fmla="*/ 285941 h 291170"/>
                    <a:gd name="connsiteX3" fmla="*/ 0 w 9931"/>
                    <a:gd name="connsiteY3" fmla="*/ 4952 h 291170"/>
                    <a:gd name="connsiteX4" fmla="*/ 4952 w 9931"/>
                    <a:gd name="connsiteY4" fmla="*/ 0 h 291170"/>
                    <a:gd name="connsiteX5" fmla="*/ 9903 w 9931"/>
                    <a:gd name="connsiteY5" fmla="*/ 4952 h 291170"/>
                    <a:gd name="connsiteX6" fmla="*/ 9903 w 9931"/>
                    <a:gd name="connsiteY6" fmla="*/ 285635 h 291170"/>
                    <a:gd name="connsiteX7" fmla="*/ 9931 w 9931"/>
                    <a:gd name="connsiteY7" fmla="*/ 286247 h 291170"/>
                    <a:gd name="connsiteX8" fmla="*/ 4979 w 9931"/>
                    <a:gd name="connsiteY8" fmla="*/ 291171 h 291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1" h="291170">
                      <a:moveTo>
                        <a:pt x="4979" y="291171"/>
                      </a:moveTo>
                      <a:cubicBezTo>
                        <a:pt x="2420" y="291171"/>
                        <a:pt x="306" y="289224"/>
                        <a:pt x="56" y="286748"/>
                      </a:cubicBezTo>
                      <a:cubicBezTo>
                        <a:pt x="28" y="286470"/>
                        <a:pt x="0" y="286164"/>
                        <a:pt x="0" y="285941"/>
                      </a:cubicBezTo>
                      <a:lnTo>
                        <a:pt x="0" y="4952"/>
                      </a:lnTo>
                      <a:cubicBezTo>
                        <a:pt x="0" y="2225"/>
                        <a:pt x="2225" y="0"/>
                        <a:pt x="4952" y="0"/>
                      </a:cubicBezTo>
                      <a:cubicBezTo>
                        <a:pt x="7678" y="0"/>
                        <a:pt x="9903" y="2225"/>
                        <a:pt x="9903" y="4952"/>
                      </a:cubicBezTo>
                      <a:lnTo>
                        <a:pt x="9903" y="285635"/>
                      </a:lnTo>
                      <a:cubicBezTo>
                        <a:pt x="9931" y="285858"/>
                        <a:pt x="9931" y="286080"/>
                        <a:pt x="9931" y="286247"/>
                      </a:cubicBezTo>
                      <a:cubicBezTo>
                        <a:pt x="9931" y="288945"/>
                        <a:pt x="7733" y="291171"/>
                        <a:pt x="4979" y="291171"/>
                      </a:cubicBezTo>
                      <a:close/>
                    </a:path>
                  </a:pathLst>
                </a:custGeom>
                <a:solidFill>
                  <a:schemeClr val="accent1"/>
                </a:solidFill>
                <a:ln w="2775" cap="flat">
                  <a:noFill/>
                  <a:prstDash val="solid"/>
                  <a:miter/>
                </a:ln>
              </p:spPr>
              <p:txBody>
                <a:bodyPr rtlCol="0" anchor="ctr"/>
                <a:lstStyle/>
                <a:p>
                  <a:endParaRPr lang="en-GB" dirty="0"/>
                </a:p>
              </p:txBody>
            </p:sp>
            <p:sp>
              <p:nvSpPr>
                <p:cNvPr id="994" name="Freihandform: Form 993">
                  <a:extLst>
                    <a:ext uri="{FF2B5EF4-FFF2-40B4-BE49-F238E27FC236}">
                      <a16:creationId xmlns:a16="http://schemas.microsoft.com/office/drawing/2014/main" id="{6AB66E1B-BD1C-4CDB-A180-75F0A52542D9}"/>
                    </a:ext>
                  </a:extLst>
                </p:cNvPr>
                <p:cNvSpPr/>
                <p:nvPr/>
              </p:nvSpPr>
              <p:spPr>
                <a:xfrm>
                  <a:off x="7211155" y="3511398"/>
                  <a:ext cx="9931" cy="291198"/>
                </a:xfrm>
                <a:custGeom>
                  <a:avLst/>
                  <a:gdLst>
                    <a:gd name="connsiteX0" fmla="*/ 4952 w 9931"/>
                    <a:gd name="connsiteY0" fmla="*/ 291199 h 291198"/>
                    <a:gd name="connsiteX1" fmla="*/ 0 w 9931"/>
                    <a:gd name="connsiteY1" fmla="*/ 286247 h 291198"/>
                    <a:gd name="connsiteX2" fmla="*/ 28 w 9931"/>
                    <a:gd name="connsiteY2" fmla="*/ 285635 h 291198"/>
                    <a:gd name="connsiteX3" fmla="*/ 28 w 9931"/>
                    <a:gd name="connsiteY3" fmla="*/ 4952 h 291198"/>
                    <a:gd name="connsiteX4" fmla="*/ 4979 w 9931"/>
                    <a:gd name="connsiteY4" fmla="*/ 0 h 291198"/>
                    <a:gd name="connsiteX5" fmla="*/ 9931 w 9931"/>
                    <a:gd name="connsiteY5" fmla="*/ 4952 h 291198"/>
                    <a:gd name="connsiteX6" fmla="*/ 9931 w 9931"/>
                    <a:gd name="connsiteY6" fmla="*/ 285941 h 291198"/>
                    <a:gd name="connsiteX7" fmla="*/ 9875 w 9931"/>
                    <a:gd name="connsiteY7" fmla="*/ 286776 h 291198"/>
                    <a:gd name="connsiteX8" fmla="*/ 4952 w 9931"/>
                    <a:gd name="connsiteY8" fmla="*/ 291199 h 2911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1" h="291198">
                      <a:moveTo>
                        <a:pt x="4952" y="291199"/>
                      </a:moveTo>
                      <a:cubicBezTo>
                        <a:pt x="2225" y="291199"/>
                        <a:pt x="0" y="288973"/>
                        <a:pt x="0" y="286247"/>
                      </a:cubicBezTo>
                      <a:cubicBezTo>
                        <a:pt x="0" y="286080"/>
                        <a:pt x="0" y="285858"/>
                        <a:pt x="28" y="285635"/>
                      </a:cubicBezTo>
                      <a:lnTo>
                        <a:pt x="28" y="4952"/>
                      </a:lnTo>
                      <a:cubicBezTo>
                        <a:pt x="28" y="2225"/>
                        <a:pt x="2253" y="0"/>
                        <a:pt x="4979" y="0"/>
                      </a:cubicBezTo>
                      <a:cubicBezTo>
                        <a:pt x="7706" y="0"/>
                        <a:pt x="9931" y="2225"/>
                        <a:pt x="9931" y="4952"/>
                      </a:cubicBezTo>
                      <a:lnTo>
                        <a:pt x="9931" y="285941"/>
                      </a:lnTo>
                      <a:cubicBezTo>
                        <a:pt x="9931" y="286191"/>
                        <a:pt x="9903" y="286497"/>
                        <a:pt x="9875" y="286776"/>
                      </a:cubicBezTo>
                      <a:cubicBezTo>
                        <a:pt x="9625" y="289279"/>
                        <a:pt x="7511" y="291199"/>
                        <a:pt x="4952" y="291199"/>
                      </a:cubicBezTo>
                      <a:close/>
                    </a:path>
                  </a:pathLst>
                </a:custGeom>
                <a:solidFill>
                  <a:schemeClr val="accent1"/>
                </a:solidFill>
                <a:ln w="2775" cap="flat">
                  <a:noFill/>
                  <a:prstDash val="solid"/>
                  <a:miter/>
                </a:ln>
              </p:spPr>
              <p:txBody>
                <a:bodyPr rtlCol="0" anchor="ctr"/>
                <a:lstStyle/>
                <a:p>
                  <a:endParaRPr lang="en-GB" dirty="0"/>
                </a:p>
              </p:txBody>
            </p:sp>
          </p:grpSp>
          <p:sp>
            <p:nvSpPr>
              <p:cNvPr id="989" name="Freihandform: Form 988">
                <a:extLst>
                  <a:ext uri="{FF2B5EF4-FFF2-40B4-BE49-F238E27FC236}">
                    <a16:creationId xmlns:a16="http://schemas.microsoft.com/office/drawing/2014/main" id="{F97A5EB3-16B4-47A2-9509-6C2D3CD2206E}"/>
                  </a:ext>
                </a:extLst>
              </p:cNvPr>
              <p:cNvSpPr/>
              <p:nvPr/>
            </p:nvSpPr>
            <p:spPr>
              <a:xfrm>
                <a:off x="7109174" y="3284849"/>
                <a:ext cx="101702" cy="113942"/>
              </a:xfrm>
              <a:custGeom>
                <a:avLst/>
                <a:gdLst>
                  <a:gd name="connsiteX0" fmla="*/ 50851 w 101702"/>
                  <a:gd name="connsiteY0" fmla="*/ 113943 h 113942"/>
                  <a:gd name="connsiteX1" fmla="*/ 0 w 101702"/>
                  <a:gd name="connsiteY1" fmla="*/ 56971 h 113942"/>
                  <a:gd name="connsiteX2" fmla="*/ 50851 w 101702"/>
                  <a:gd name="connsiteY2" fmla="*/ 0 h 113942"/>
                  <a:gd name="connsiteX3" fmla="*/ 101703 w 101702"/>
                  <a:gd name="connsiteY3" fmla="*/ 56971 h 113942"/>
                  <a:gd name="connsiteX4" fmla="*/ 50851 w 101702"/>
                  <a:gd name="connsiteY4" fmla="*/ 113943 h 113942"/>
                  <a:gd name="connsiteX5" fmla="*/ 50851 w 101702"/>
                  <a:gd name="connsiteY5" fmla="*/ 9875 h 113942"/>
                  <a:gd name="connsiteX6" fmla="*/ 9931 w 101702"/>
                  <a:gd name="connsiteY6" fmla="*/ 56944 h 113942"/>
                  <a:gd name="connsiteX7" fmla="*/ 50851 w 101702"/>
                  <a:gd name="connsiteY7" fmla="*/ 104011 h 113942"/>
                  <a:gd name="connsiteX8" fmla="*/ 91799 w 101702"/>
                  <a:gd name="connsiteY8" fmla="*/ 56944 h 113942"/>
                  <a:gd name="connsiteX9" fmla="*/ 50851 w 101702"/>
                  <a:gd name="connsiteY9" fmla="*/ 9875 h 11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1702" h="113942">
                    <a:moveTo>
                      <a:pt x="50851" y="113943"/>
                    </a:moveTo>
                    <a:cubicBezTo>
                      <a:pt x="22811" y="113943"/>
                      <a:pt x="0" y="88378"/>
                      <a:pt x="0" y="56971"/>
                    </a:cubicBezTo>
                    <a:cubicBezTo>
                      <a:pt x="0" y="25565"/>
                      <a:pt x="22811" y="0"/>
                      <a:pt x="50851" y="0"/>
                    </a:cubicBezTo>
                    <a:cubicBezTo>
                      <a:pt x="78892" y="0"/>
                      <a:pt x="101703" y="25565"/>
                      <a:pt x="101703" y="56971"/>
                    </a:cubicBezTo>
                    <a:cubicBezTo>
                      <a:pt x="101703" y="88378"/>
                      <a:pt x="78892" y="113943"/>
                      <a:pt x="50851" y="113943"/>
                    </a:cubicBezTo>
                    <a:close/>
                    <a:moveTo>
                      <a:pt x="50851" y="9875"/>
                    </a:moveTo>
                    <a:cubicBezTo>
                      <a:pt x="28291" y="9875"/>
                      <a:pt x="9931" y="30989"/>
                      <a:pt x="9931" y="56944"/>
                    </a:cubicBezTo>
                    <a:cubicBezTo>
                      <a:pt x="9931" y="82898"/>
                      <a:pt x="28291" y="104011"/>
                      <a:pt x="50851" y="104011"/>
                    </a:cubicBezTo>
                    <a:cubicBezTo>
                      <a:pt x="73440" y="104011"/>
                      <a:pt x="91799" y="82898"/>
                      <a:pt x="91799" y="56944"/>
                    </a:cubicBezTo>
                    <a:cubicBezTo>
                      <a:pt x="91799" y="30989"/>
                      <a:pt x="73440" y="9875"/>
                      <a:pt x="50851" y="9875"/>
                    </a:cubicBezTo>
                    <a:close/>
                  </a:path>
                </a:pathLst>
              </a:custGeom>
              <a:solidFill>
                <a:schemeClr val="accent1"/>
              </a:solidFill>
              <a:ln w="2775" cap="flat">
                <a:noFill/>
                <a:prstDash val="solid"/>
                <a:miter/>
              </a:ln>
            </p:spPr>
            <p:txBody>
              <a:bodyPr rtlCol="0" anchor="ctr"/>
              <a:lstStyle/>
              <a:p>
                <a:endParaRPr lang="en-GB" dirty="0"/>
              </a:p>
            </p:txBody>
          </p:sp>
        </p:grpSp>
        <p:grpSp>
          <p:nvGrpSpPr>
            <p:cNvPr id="971" name="Group 760">
              <a:extLst>
                <a:ext uri="{FF2B5EF4-FFF2-40B4-BE49-F238E27FC236}">
                  <a16:creationId xmlns:a16="http://schemas.microsoft.com/office/drawing/2014/main" id="{DD08AB55-1C99-45BE-AF89-1DEACD318253}"/>
                </a:ext>
              </a:extLst>
            </p:cNvPr>
            <p:cNvGrpSpPr/>
            <p:nvPr/>
          </p:nvGrpSpPr>
          <p:grpSpPr>
            <a:xfrm>
              <a:off x="7113229" y="3315591"/>
              <a:ext cx="380990" cy="389805"/>
              <a:chOff x="6931223" y="3335449"/>
              <a:chExt cx="456882" cy="467453"/>
            </a:xfrm>
            <a:solidFill>
              <a:schemeClr val="tx2"/>
            </a:solidFill>
          </p:grpSpPr>
          <p:grpSp>
            <p:nvGrpSpPr>
              <p:cNvPr id="972" name="Grafik 114">
                <a:extLst>
                  <a:ext uri="{FF2B5EF4-FFF2-40B4-BE49-F238E27FC236}">
                    <a16:creationId xmlns:a16="http://schemas.microsoft.com/office/drawing/2014/main" id="{F1D29990-57A5-45AD-B228-06E991418D0C}"/>
                  </a:ext>
                </a:extLst>
              </p:cNvPr>
              <p:cNvGrpSpPr/>
              <p:nvPr/>
            </p:nvGrpSpPr>
            <p:grpSpPr>
              <a:xfrm>
                <a:off x="7245705" y="3335449"/>
                <a:ext cx="142400" cy="467147"/>
                <a:chOff x="7245705" y="3335449"/>
                <a:chExt cx="142400" cy="467147"/>
              </a:xfrm>
              <a:grpFill/>
            </p:grpSpPr>
            <p:grpSp>
              <p:nvGrpSpPr>
                <p:cNvPr id="981" name="Grafik 114">
                  <a:extLst>
                    <a:ext uri="{FF2B5EF4-FFF2-40B4-BE49-F238E27FC236}">
                      <a16:creationId xmlns:a16="http://schemas.microsoft.com/office/drawing/2014/main" id="{D5FE2CEB-9BC0-4DF8-A708-EF6DCD269558}"/>
                    </a:ext>
                  </a:extLst>
                </p:cNvPr>
                <p:cNvGrpSpPr/>
                <p:nvPr/>
              </p:nvGrpSpPr>
              <p:grpSpPr>
                <a:xfrm>
                  <a:off x="7245705" y="3444579"/>
                  <a:ext cx="142400" cy="358017"/>
                  <a:chOff x="7245705" y="3444579"/>
                  <a:chExt cx="142400" cy="358017"/>
                </a:xfrm>
                <a:grpFill/>
              </p:grpSpPr>
              <p:sp>
                <p:nvSpPr>
                  <p:cNvPr id="983" name="Freihandform: Form 982">
                    <a:extLst>
                      <a:ext uri="{FF2B5EF4-FFF2-40B4-BE49-F238E27FC236}">
                        <a16:creationId xmlns:a16="http://schemas.microsoft.com/office/drawing/2014/main" id="{6B5AC47F-0825-495A-8872-C5235AF1008F}"/>
                      </a:ext>
                    </a:extLst>
                  </p:cNvPr>
                  <p:cNvSpPr/>
                  <p:nvPr/>
                </p:nvSpPr>
                <p:spPr>
                  <a:xfrm>
                    <a:off x="7263397" y="3444579"/>
                    <a:ext cx="23507" cy="17636"/>
                  </a:xfrm>
                  <a:custGeom>
                    <a:avLst/>
                    <a:gdLst>
                      <a:gd name="connsiteX0" fmla="*/ 4952 w 23507"/>
                      <a:gd name="connsiteY0" fmla="*/ 17637 h 17636"/>
                      <a:gd name="connsiteX1" fmla="*/ 0 w 23507"/>
                      <a:gd name="connsiteY1" fmla="*/ 12685 h 17636"/>
                      <a:gd name="connsiteX2" fmla="*/ 4952 w 23507"/>
                      <a:gd name="connsiteY2" fmla="*/ 7733 h 17636"/>
                      <a:gd name="connsiteX3" fmla="*/ 9347 w 23507"/>
                      <a:gd name="connsiteY3" fmla="*/ 7733 h 17636"/>
                      <a:gd name="connsiteX4" fmla="*/ 13603 w 23507"/>
                      <a:gd name="connsiteY4" fmla="*/ 4868 h 17636"/>
                      <a:gd name="connsiteX5" fmla="*/ 18555 w 23507"/>
                      <a:gd name="connsiteY5" fmla="*/ 0 h 17636"/>
                      <a:gd name="connsiteX6" fmla="*/ 18638 w 23507"/>
                      <a:gd name="connsiteY6" fmla="*/ 0 h 17636"/>
                      <a:gd name="connsiteX7" fmla="*/ 23506 w 23507"/>
                      <a:gd name="connsiteY7" fmla="*/ 5035 h 17636"/>
                      <a:gd name="connsiteX8" fmla="*/ 9876 w 23507"/>
                      <a:gd name="connsiteY8" fmla="*/ 17637 h 17636"/>
                      <a:gd name="connsiteX9" fmla="*/ 4952 w 23507"/>
                      <a:gd name="connsiteY9" fmla="*/ 17637 h 17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3507" h="17636">
                        <a:moveTo>
                          <a:pt x="4952" y="17637"/>
                        </a:moveTo>
                        <a:cubicBezTo>
                          <a:pt x="2226" y="17637"/>
                          <a:pt x="0" y="15411"/>
                          <a:pt x="0" y="12685"/>
                        </a:cubicBezTo>
                        <a:cubicBezTo>
                          <a:pt x="0" y="9959"/>
                          <a:pt x="2226" y="7733"/>
                          <a:pt x="4952" y="7733"/>
                        </a:cubicBezTo>
                        <a:lnTo>
                          <a:pt x="9347" y="7733"/>
                        </a:lnTo>
                        <a:cubicBezTo>
                          <a:pt x="9180" y="7706"/>
                          <a:pt x="13575" y="7010"/>
                          <a:pt x="13603" y="4868"/>
                        </a:cubicBezTo>
                        <a:cubicBezTo>
                          <a:pt x="13659" y="2170"/>
                          <a:pt x="15856" y="0"/>
                          <a:pt x="18555" y="0"/>
                        </a:cubicBezTo>
                        <a:cubicBezTo>
                          <a:pt x="18583" y="0"/>
                          <a:pt x="18610" y="0"/>
                          <a:pt x="18638" y="0"/>
                        </a:cubicBezTo>
                        <a:cubicBezTo>
                          <a:pt x="21364" y="56"/>
                          <a:pt x="23562" y="2309"/>
                          <a:pt x="23506" y="5035"/>
                        </a:cubicBezTo>
                        <a:cubicBezTo>
                          <a:pt x="23367" y="13937"/>
                          <a:pt x="14521" y="17164"/>
                          <a:pt x="9876" y="17637"/>
                        </a:cubicBezTo>
                        <a:lnTo>
                          <a:pt x="4952" y="17637"/>
                        </a:lnTo>
                        <a:close/>
                      </a:path>
                    </a:pathLst>
                  </a:custGeom>
                  <a:grpFill/>
                  <a:ln w="2775" cap="flat">
                    <a:noFill/>
                    <a:prstDash val="solid"/>
                    <a:miter/>
                  </a:ln>
                </p:spPr>
                <p:txBody>
                  <a:bodyPr rtlCol="0" anchor="ctr"/>
                  <a:lstStyle/>
                  <a:p>
                    <a:endParaRPr lang="en-GB" dirty="0"/>
                  </a:p>
                </p:txBody>
              </p:sp>
              <p:sp>
                <p:nvSpPr>
                  <p:cNvPr id="984" name="Freihandform: Form 983">
                    <a:extLst>
                      <a:ext uri="{FF2B5EF4-FFF2-40B4-BE49-F238E27FC236}">
                        <a16:creationId xmlns:a16="http://schemas.microsoft.com/office/drawing/2014/main" id="{4A767A95-CD9F-460B-9BF8-40BE5AC5A532}"/>
                      </a:ext>
                    </a:extLst>
                  </p:cNvPr>
                  <p:cNvSpPr/>
                  <p:nvPr/>
                </p:nvSpPr>
                <p:spPr>
                  <a:xfrm>
                    <a:off x="7317336" y="3444607"/>
                    <a:ext cx="70768" cy="212167"/>
                  </a:xfrm>
                  <a:custGeom>
                    <a:avLst/>
                    <a:gdLst>
                      <a:gd name="connsiteX0" fmla="*/ 50045 w 70768"/>
                      <a:gd name="connsiteY0" fmla="*/ 212168 h 212167"/>
                      <a:gd name="connsiteX1" fmla="*/ 29320 w 70768"/>
                      <a:gd name="connsiteY1" fmla="*/ 191443 h 212167"/>
                      <a:gd name="connsiteX2" fmla="*/ 29320 w 70768"/>
                      <a:gd name="connsiteY2" fmla="*/ 68182 h 212167"/>
                      <a:gd name="connsiteX3" fmla="*/ 34272 w 70768"/>
                      <a:gd name="connsiteY3" fmla="*/ 63230 h 212167"/>
                      <a:gd name="connsiteX4" fmla="*/ 39223 w 70768"/>
                      <a:gd name="connsiteY4" fmla="*/ 68182 h 212167"/>
                      <a:gd name="connsiteX5" fmla="*/ 39223 w 70768"/>
                      <a:gd name="connsiteY5" fmla="*/ 191443 h 212167"/>
                      <a:gd name="connsiteX6" fmla="*/ 50045 w 70768"/>
                      <a:gd name="connsiteY6" fmla="*/ 202265 h 212167"/>
                      <a:gd name="connsiteX7" fmla="*/ 60866 w 70768"/>
                      <a:gd name="connsiteY7" fmla="*/ 191443 h 212167"/>
                      <a:gd name="connsiteX8" fmla="*/ 60866 w 70768"/>
                      <a:gd name="connsiteY8" fmla="*/ 37944 h 212167"/>
                      <a:gd name="connsiteX9" fmla="*/ 36358 w 70768"/>
                      <a:gd name="connsiteY9" fmla="*/ 17665 h 212167"/>
                      <a:gd name="connsiteX10" fmla="*/ 12129 w 70768"/>
                      <a:gd name="connsiteY10" fmla="*/ 17665 h 212167"/>
                      <a:gd name="connsiteX11" fmla="*/ 3644 w 70768"/>
                      <a:gd name="connsiteY11" fmla="*/ 14354 h 212167"/>
                      <a:gd name="connsiteX12" fmla="*/ 0 w 70768"/>
                      <a:gd name="connsiteY12" fmla="*/ 4980 h 212167"/>
                      <a:gd name="connsiteX13" fmla="*/ 4924 w 70768"/>
                      <a:gd name="connsiteY13" fmla="*/ 0 h 212167"/>
                      <a:gd name="connsiteX14" fmla="*/ 4952 w 70768"/>
                      <a:gd name="connsiteY14" fmla="*/ 0 h 212167"/>
                      <a:gd name="connsiteX15" fmla="*/ 9903 w 70768"/>
                      <a:gd name="connsiteY15" fmla="*/ 4924 h 212167"/>
                      <a:gd name="connsiteX16" fmla="*/ 12073 w 70768"/>
                      <a:gd name="connsiteY16" fmla="*/ 7733 h 212167"/>
                      <a:gd name="connsiteX17" fmla="*/ 36386 w 70768"/>
                      <a:gd name="connsiteY17" fmla="*/ 7733 h 212167"/>
                      <a:gd name="connsiteX18" fmla="*/ 70769 w 70768"/>
                      <a:gd name="connsiteY18" fmla="*/ 37944 h 212167"/>
                      <a:gd name="connsiteX19" fmla="*/ 70769 w 70768"/>
                      <a:gd name="connsiteY19" fmla="*/ 191443 h 212167"/>
                      <a:gd name="connsiteX20" fmla="*/ 50045 w 70768"/>
                      <a:gd name="connsiteY20" fmla="*/ 212168 h 21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768" h="212167">
                        <a:moveTo>
                          <a:pt x="50045" y="212168"/>
                        </a:moveTo>
                        <a:cubicBezTo>
                          <a:pt x="38611" y="212168"/>
                          <a:pt x="29320" y="202877"/>
                          <a:pt x="29320" y="191443"/>
                        </a:cubicBezTo>
                        <a:lnTo>
                          <a:pt x="29320" y="68182"/>
                        </a:lnTo>
                        <a:cubicBezTo>
                          <a:pt x="29320" y="65456"/>
                          <a:pt x="31546" y="63230"/>
                          <a:pt x="34272" y="63230"/>
                        </a:cubicBezTo>
                        <a:cubicBezTo>
                          <a:pt x="36998" y="63230"/>
                          <a:pt x="39223" y="65456"/>
                          <a:pt x="39223" y="68182"/>
                        </a:cubicBezTo>
                        <a:lnTo>
                          <a:pt x="39223" y="191443"/>
                        </a:lnTo>
                        <a:cubicBezTo>
                          <a:pt x="39223" y="197424"/>
                          <a:pt x="44092" y="202265"/>
                          <a:pt x="50045" y="202265"/>
                        </a:cubicBezTo>
                        <a:cubicBezTo>
                          <a:pt x="55998" y="202265"/>
                          <a:pt x="60866" y="197396"/>
                          <a:pt x="60866" y="191443"/>
                        </a:cubicBezTo>
                        <a:lnTo>
                          <a:pt x="60866" y="37944"/>
                        </a:lnTo>
                        <a:cubicBezTo>
                          <a:pt x="60866" y="18360"/>
                          <a:pt x="38862" y="17665"/>
                          <a:pt x="36358" y="17665"/>
                        </a:cubicBezTo>
                        <a:lnTo>
                          <a:pt x="12129" y="17665"/>
                        </a:lnTo>
                        <a:cubicBezTo>
                          <a:pt x="11823" y="17637"/>
                          <a:pt x="7177" y="17748"/>
                          <a:pt x="3644" y="14354"/>
                        </a:cubicBezTo>
                        <a:cubicBezTo>
                          <a:pt x="1975" y="12769"/>
                          <a:pt x="0" y="9848"/>
                          <a:pt x="0" y="4980"/>
                        </a:cubicBezTo>
                        <a:cubicBezTo>
                          <a:pt x="0" y="2253"/>
                          <a:pt x="2198" y="28"/>
                          <a:pt x="4924" y="0"/>
                        </a:cubicBezTo>
                        <a:cubicBezTo>
                          <a:pt x="4924" y="0"/>
                          <a:pt x="4952" y="0"/>
                          <a:pt x="4952" y="0"/>
                        </a:cubicBezTo>
                        <a:cubicBezTo>
                          <a:pt x="7678" y="0"/>
                          <a:pt x="9903" y="2198"/>
                          <a:pt x="9903" y="4924"/>
                        </a:cubicBezTo>
                        <a:cubicBezTo>
                          <a:pt x="9903" y="6259"/>
                          <a:pt x="10070" y="7706"/>
                          <a:pt x="12073" y="7733"/>
                        </a:cubicBezTo>
                        <a:lnTo>
                          <a:pt x="36386" y="7733"/>
                        </a:lnTo>
                        <a:cubicBezTo>
                          <a:pt x="48292" y="7733"/>
                          <a:pt x="70769" y="14048"/>
                          <a:pt x="70769" y="37944"/>
                        </a:cubicBezTo>
                        <a:lnTo>
                          <a:pt x="70769" y="191443"/>
                        </a:lnTo>
                        <a:cubicBezTo>
                          <a:pt x="70769" y="202849"/>
                          <a:pt x="61478" y="212168"/>
                          <a:pt x="50045" y="212168"/>
                        </a:cubicBezTo>
                        <a:close/>
                      </a:path>
                    </a:pathLst>
                  </a:custGeom>
                  <a:grpFill/>
                  <a:ln w="2775" cap="flat">
                    <a:noFill/>
                    <a:prstDash val="solid"/>
                    <a:miter/>
                  </a:ln>
                </p:spPr>
                <p:txBody>
                  <a:bodyPr rtlCol="0" anchor="ctr"/>
                  <a:lstStyle/>
                  <a:p>
                    <a:endParaRPr lang="en-GB" dirty="0"/>
                  </a:p>
                </p:txBody>
              </p:sp>
              <p:sp>
                <p:nvSpPr>
                  <p:cNvPr id="985" name="Freihandform: Form 984">
                    <a:extLst>
                      <a:ext uri="{FF2B5EF4-FFF2-40B4-BE49-F238E27FC236}">
                        <a16:creationId xmlns:a16="http://schemas.microsoft.com/office/drawing/2014/main" id="{6CF9B581-67FC-4619-8801-A5B89D715A91}"/>
                      </a:ext>
                    </a:extLst>
                  </p:cNvPr>
                  <p:cNvSpPr/>
                  <p:nvPr/>
                </p:nvSpPr>
                <p:spPr>
                  <a:xfrm>
                    <a:off x="7297474" y="3629180"/>
                    <a:ext cx="9903" cy="173417"/>
                  </a:xfrm>
                  <a:custGeom>
                    <a:avLst/>
                    <a:gdLst>
                      <a:gd name="connsiteX0" fmla="*/ 4952 w 9903"/>
                      <a:gd name="connsiteY0" fmla="*/ 173417 h 173417"/>
                      <a:gd name="connsiteX1" fmla="*/ 0 w 9903"/>
                      <a:gd name="connsiteY1" fmla="*/ 168466 h 173417"/>
                      <a:gd name="connsiteX2" fmla="*/ 0 w 9903"/>
                      <a:gd name="connsiteY2" fmla="*/ 4952 h 173417"/>
                      <a:gd name="connsiteX3" fmla="*/ 4952 w 9903"/>
                      <a:gd name="connsiteY3" fmla="*/ 0 h 173417"/>
                      <a:gd name="connsiteX4" fmla="*/ 9903 w 9903"/>
                      <a:gd name="connsiteY4" fmla="*/ 4952 h 173417"/>
                      <a:gd name="connsiteX5" fmla="*/ 9903 w 9903"/>
                      <a:gd name="connsiteY5" fmla="*/ 168466 h 173417"/>
                      <a:gd name="connsiteX6" fmla="*/ 4952 w 9903"/>
                      <a:gd name="connsiteY6" fmla="*/ 173417 h 173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73417">
                        <a:moveTo>
                          <a:pt x="4952" y="173417"/>
                        </a:moveTo>
                        <a:cubicBezTo>
                          <a:pt x="2226" y="173417"/>
                          <a:pt x="0" y="171192"/>
                          <a:pt x="0" y="168466"/>
                        </a:cubicBezTo>
                        <a:lnTo>
                          <a:pt x="0" y="4952"/>
                        </a:lnTo>
                        <a:cubicBezTo>
                          <a:pt x="0" y="2225"/>
                          <a:pt x="2226" y="0"/>
                          <a:pt x="4952" y="0"/>
                        </a:cubicBezTo>
                        <a:cubicBezTo>
                          <a:pt x="7678" y="0"/>
                          <a:pt x="9903" y="2225"/>
                          <a:pt x="9903" y="4952"/>
                        </a:cubicBezTo>
                        <a:lnTo>
                          <a:pt x="9903" y="168466"/>
                        </a:lnTo>
                        <a:cubicBezTo>
                          <a:pt x="9903" y="171192"/>
                          <a:pt x="7678" y="173417"/>
                          <a:pt x="4952" y="173417"/>
                        </a:cubicBezTo>
                        <a:close/>
                      </a:path>
                    </a:pathLst>
                  </a:custGeom>
                  <a:grpFill/>
                  <a:ln w="2775" cap="flat">
                    <a:noFill/>
                    <a:prstDash val="solid"/>
                    <a:miter/>
                  </a:ln>
                </p:spPr>
                <p:txBody>
                  <a:bodyPr rtlCol="0" anchor="ctr"/>
                  <a:lstStyle/>
                  <a:p>
                    <a:endParaRPr lang="en-GB" dirty="0"/>
                  </a:p>
                </p:txBody>
              </p:sp>
              <p:sp>
                <p:nvSpPr>
                  <p:cNvPr id="986" name="Freihandform: Form 985">
                    <a:extLst>
                      <a:ext uri="{FF2B5EF4-FFF2-40B4-BE49-F238E27FC236}">
                        <a16:creationId xmlns:a16="http://schemas.microsoft.com/office/drawing/2014/main" id="{33B427C6-A7FE-4181-BE52-38C3BF7F69E4}"/>
                      </a:ext>
                    </a:extLst>
                  </p:cNvPr>
                  <p:cNvSpPr/>
                  <p:nvPr/>
                </p:nvSpPr>
                <p:spPr>
                  <a:xfrm>
                    <a:off x="7245705" y="3655301"/>
                    <a:ext cx="9931" cy="147296"/>
                  </a:xfrm>
                  <a:custGeom>
                    <a:avLst/>
                    <a:gdLst>
                      <a:gd name="connsiteX0" fmla="*/ 4980 w 9931"/>
                      <a:gd name="connsiteY0" fmla="*/ 147296 h 147296"/>
                      <a:gd name="connsiteX1" fmla="*/ 56 w 9931"/>
                      <a:gd name="connsiteY1" fmla="*/ 142845 h 147296"/>
                      <a:gd name="connsiteX2" fmla="*/ 0 w 9931"/>
                      <a:gd name="connsiteY2" fmla="*/ 142094 h 147296"/>
                      <a:gd name="connsiteX3" fmla="*/ 0 w 9931"/>
                      <a:gd name="connsiteY3" fmla="*/ 4952 h 147296"/>
                      <a:gd name="connsiteX4" fmla="*/ 4952 w 9931"/>
                      <a:gd name="connsiteY4" fmla="*/ 0 h 147296"/>
                      <a:gd name="connsiteX5" fmla="*/ 9903 w 9931"/>
                      <a:gd name="connsiteY5" fmla="*/ 4952 h 147296"/>
                      <a:gd name="connsiteX6" fmla="*/ 9903 w 9931"/>
                      <a:gd name="connsiteY6" fmla="*/ 141816 h 147296"/>
                      <a:gd name="connsiteX7" fmla="*/ 9931 w 9931"/>
                      <a:gd name="connsiteY7" fmla="*/ 142373 h 147296"/>
                      <a:gd name="connsiteX8" fmla="*/ 4980 w 9931"/>
                      <a:gd name="connsiteY8" fmla="*/ 147296 h 14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1" h="147296">
                        <a:moveTo>
                          <a:pt x="4980" y="147296"/>
                        </a:moveTo>
                        <a:cubicBezTo>
                          <a:pt x="2392" y="147296"/>
                          <a:pt x="306" y="145349"/>
                          <a:pt x="56" y="142845"/>
                        </a:cubicBezTo>
                        <a:cubicBezTo>
                          <a:pt x="28" y="142595"/>
                          <a:pt x="0" y="142317"/>
                          <a:pt x="0" y="142094"/>
                        </a:cubicBezTo>
                        <a:lnTo>
                          <a:pt x="0" y="4952"/>
                        </a:lnTo>
                        <a:cubicBezTo>
                          <a:pt x="0" y="2226"/>
                          <a:pt x="2225" y="0"/>
                          <a:pt x="4952" y="0"/>
                        </a:cubicBezTo>
                        <a:cubicBezTo>
                          <a:pt x="7678" y="0"/>
                          <a:pt x="9903" y="2226"/>
                          <a:pt x="9903" y="4952"/>
                        </a:cubicBezTo>
                        <a:lnTo>
                          <a:pt x="9903" y="141816"/>
                        </a:lnTo>
                        <a:cubicBezTo>
                          <a:pt x="9931" y="142011"/>
                          <a:pt x="9931" y="142206"/>
                          <a:pt x="9931" y="142373"/>
                        </a:cubicBezTo>
                        <a:cubicBezTo>
                          <a:pt x="9931" y="145071"/>
                          <a:pt x="7706" y="147296"/>
                          <a:pt x="4980" y="147296"/>
                        </a:cubicBezTo>
                        <a:close/>
                      </a:path>
                    </a:pathLst>
                  </a:custGeom>
                  <a:grpFill/>
                  <a:ln w="2775" cap="flat">
                    <a:noFill/>
                    <a:prstDash val="solid"/>
                    <a:miter/>
                  </a:ln>
                </p:spPr>
                <p:txBody>
                  <a:bodyPr rtlCol="0" anchor="ctr"/>
                  <a:lstStyle/>
                  <a:p>
                    <a:endParaRPr lang="en-GB" dirty="0"/>
                  </a:p>
                </p:txBody>
              </p:sp>
              <p:sp>
                <p:nvSpPr>
                  <p:cNvPr id="987" name="Freihandform: Form 986">
                    <a:extLst>
                      <a:ext uri="{FF2B5EF4-FFF2-40B4-BE49-F238E27FC236}">
                        <a16:creationId xmlns:a16="http://schemas.microsoft.com/office/drawing/2014/main" id="{2A0619EB-A7A5-4D37-BD3E-01253C60AD09}"/>
                      </a:ext>
                    </a:extLst>
                  </p:cNvPr>
                  <p:cNvSpPr/>
                  <p:nvPr/>
                </p:nvSpPr>
                <p:spPr>
                  <a:xfrm>
                    <a:off x="7346656" y="3539439"/>
                    <a:ext cx="9930" cy="263158"/>
                  </a:xfrm>
                  <a:custGeom>
                    <a:avLst/>
                    <a:gdLst>
                      <a:gd name="connsiteX0" fmla="*/ 4952 w 9930"/>
                      <a:gd name="connsiteY0" fmla="*/ 263158 h 263158"/>
                      <a:gd name="connsiteX1" fmla="*/ 0 w 9930"/>
                      <a:gd name="connsiteY1" fmla="*/ 258207 h 263158"/>
                      <a:gd name="connsiteX2" fmla="*/ 28 w 9930"/>
                      <a:gd name="connsiteY2" fmla="*/ 257650 h 263158"/>
                      <a:gd name="connsiteX3" fmla="*/ 28 w 9930"/>
                      <a:gd name="connsiteY3" fmla="*/ 4952 h 263158"/>
                      <a:gd name="connsiteX4" fmla="*/ 4979 w 9930"/>
                      <a:gd name="connsiteY4" fmla="*/ 0 h 263158"/>
                      <a:gd name="connsiteX5" fmla="*/ 9931 w 9930"/>
                      <a:gd name="connsiteY5" fmla="*/ 4952 h 263158"/>
                      <a:gd name="connsiteX6" fmla="*/ 9931 w 9930"/>
                      <a:gd name="connsiteY6" fmla="*/ 257928 h 263158"/>
                      <a:gd name="connsiteX7" fmla="*/ 9875 w 9930"/>
                      <a:gd name="connsiteY7" fmla="*/ 258679 h 263158"/>
                      <a:gd name="connsiteX8" fmla="*/ 4952 w 9930"/>
                      <a:gd name="connsiteY8" fmla="*/ 263158 h 263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0" h="263158">
                        <a:moveTo>
                          <a:pt x="4952" y="263158"/>
                        </a:moveTo>
                        <a:cubicBezTo>
                          <a:pt x="2225" y="263158"/>
                          <a:pt x="0" y="260933"/>
                          <a:pt x="0" y="258207"/>
                        </a:cubicBezTo>
                        <a:cubicBezTo>
                          <a:pt x="0" y="258040"/>
                          <a:pt x="0" y="257845"/>
                          <a:pt x="28" y="257650"/>
                        </a:cubicBezTo>
                        <a:lnTo>
                          <a:pt x="28" y="4952"/>
                        </a:lnTo>
                        <a:cubicBezTo>
                          <a:pt x="28" y="2225"/>
                          <a:pt x="2253" y="0"/>
                          <a:pt x="4979" y="0"/>
                        </a:cubicBezTo>
                        <a:cubicBezTo>
                          <a:pt x="7705" y="0"/>
                          <a:pt x="9931" y="2225"/>
                          <a:pt x="9931" y="4952"/>
                        </a:cubicBezTo>
                        <a:lnTo>
                          <a:pt x="9931" y="257928"/>
                        </a:lnTo>
                        <a:cubicBezTo>
                          <a:pt x="9931" y="258151"/>
                          <a:pt x="9903" y="258429"/>
                          <a:pt x="9875" y="258679"/>
                        </a:cubicBezTo>
                        <a:cubicBezTo>
                          <a:pt x="9625" y="261211"/>
                          <a:pt x="7539" y="263158"/>
                          <a:pt x="4952" y="263158"/>
                        </a:cubicBezTo>
                        <a:close/>
                      </a:path>
                    </a:pathLst>
                  </a:custGeom>
                  <a:grpFill/>
                  <a:ln w="2775" cap="flat">
                    <a:noFill/>
                    <a:prstDash val="solid"/>
                    <a:miter/>
                  </a:ln>
                </p:spPr>
                <p:txBody>
                  <a:bodyPr rtlCol="0" anchor="ctr"/>
                  <a:lstStyle/>
                  <a:p>
                    <a:endParaRPr lang="en-GB" dirty="0"/>
                  </a:p>
                </p:txBody>
              </p:sp>
            </p:grpSp>
            <p:sp>
              <p:nvSpPr>
                <p:cNvPr id="982" name="Freihandform: Form 981">
                  <a:extLst>
                    <a:ext uri="{FF2B5EF4-FFF2-40B4-BE49-F238E27FC236}">
                      <a16:creationId xmlns:a16="http://schemas.microsoft.com/office/drawing/2014/main" id="{0E508208-B5D6-4400-8079-3F5304DDBE66}"/>
                    </a:ext>
                  </a:extLst>
                </p:cNvPr>
                <p:cNvSpPr/>
                <p:nvPr/>
              </p:nvSpPr>
              <p:spPr>
                <a:xfrm>
                  <a:off x="7254857" y="3335449"/>
                  <a:ext cx="92550" cy="103594"/>
                </a:xfrm>
                <a:custGeom>
                  <a:avLst/>
                  <a:gdLst>
                    <a:gd name="connsiteX0" fmla="*/ 46261 w 92550"/>
                    <a:gd name="connsiteY0" fmla="*/ 103594 h 103594"/>
                    <a:gd name="connsiteX1" fmla="*/ 0 w 92550"/>
                    <a:gd name="connsiteY1" fmla="*/ 51797 h 103594"/>
                    <a:gd name="connsiteX2" fmla="*/ 46261 w 92550"/>
                    <a:gd name="connsiteY2" fmla="*/ 0 h 103594"/>
                    <a:gd name="connsiteX3" fmla="*/ 92550 w 92550"/>
                    <a:gd name="connsiteY3" fmla="*/ 51797 h 103594"/>
                    <a:gd name="connsiteX4" fmla="*/ 46261 w 92550"/>
                    <a:gd name="connsiteY4" fmla="*/ 103594 h 103594"/>
                    <a:gd name="connsiteX5" fmla="*/ 46261 w 92550"/>
                    <a:gd name="connsiteY5" fmla="*/ 9903 h 103594"/>
                    <a:gd name="connsiteX6" fmla="*/ 9903 w 92550"/>
                    <a:gd name="connsiteY6" fmla="*/ 51797 h 103594"/>
                    <a:gd name="connsiteX7" fmla="*/ 46261 w 92550"/>
                    <a:gd name="connsiteY7" fmla="*/ 93691 h 103594"/>
                    <a:gd name="connsiteX8" fmla="*/ 82647 w 92550"/>
                    <a:gd name="connsiteY8" fmla="*/ 51797 h 103594"/>
                    <a:gd name="connsiteX9" fmla="*/ 46261 w 92550"/>
                    <a:gd name="connsiteY9" fmla="*/ 9903 h 10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550" h="103594">
                      <a:moveTo>
                        <a:pt x="46261" y="103594"/>
                      </a:moveTo>
                      <a:cubicBezTo>
                        <a:pt x="20752" y="103594"/>
                        <a:pt x="0" y="80366"/>
                        <a:pt x="0" y="51797"/>
                      </a:cubicBezTo>
                      <a:cubicBezTo>
                        <a:pt x="0" y="23228"/>
                        <a:pt x="20752" y="0"/>
                        <a:pt x="46261" y="0"/>
                      </a:cubicBezTo>
                      <a:cubicBezTo>
                        <a:pt x="71770" y="0"/>
                        <a:pt x="92550" y="23228"/>
                        <a:pt x="92550" y="51797"/>
                      </a:cubicBezTo>
                      <a:cubicBezTo>
                        <a:pt x="92550" y="80366"/>
                        <a:pt x="71770" y="103594"/>
                        <a:pt x="46261" y="103594"/>
                      </a:cubicBezTo>
                      <a:close/>
                      <a:moveTo>
                        <a:pt x="46261" y="9903"/>
                      </a:moveTo>
                      <a:cubicBezTo>
                        <a:pt x="26204" y="9903"/>
                        <a:pt x="9903" y="28680"/>
                        <a:pt x="9903" y="51797"/>
                      </a:cubicBezTo>
                      <a:cubicBezTo>
                        <a:pt x="9903" y="74886"/>
                        <a:pt x="26204" y="93691"/>
                        <a:pt x="46261" y="93691"/>
                      </a:cubicBezTo>
                      <a:cubicBezTo>
                        <a:pt x="66318" y="93691"/>
                        <a:pt x="82647" y="74914"/>
                        <a:pt x="82647" y="51797"/>
                      </a:cubicBezTo>
                      <a:cubicBezTo>
                        <a:pt x="82647" y="28708"/>
                        <a:pt x="66318" y="9903"/>
                        <a:pt x="46261" y="9903"/>
                      </a:cubicBezTo>
                      <a:close/>
                    </a:path>
                  </a:pathLst>
                </a:custGeom>
                <a:grpFill/>
                <a:ln w="2775" cap="flat">
                  <a:noFill/>
                  <a:prstDash val="solid"/>
                  <a:miter/>
                </a:ln>
              </p:spPr>
              <p:txBody>
                <a:bodyPr rtlCol="0" anchor="ctr"/>
                <a:lstStyle/>
                <a:p>
                  <a:endParaRPr lang="en-GB" dirty="0"/>
                </a:p>
              </p:txBody>
            </p:sp>
          </p:grpSp>
          <p:grpSp>
            <p:nvGrpSpPr>
              <p:cNvPr id="973" name="Grafik 114">
                <a:extLst>
                  <a:ext uri="{FF2B5EF4-FFF2-40B4-BE49-F238E27FC236}">
                    <a16:creationId xmlns:a16="http://schemas.microsoft.com/office/drawing/2014/main" id="{0BA1D4AB-44C6-4A66-80B9-B3DBA44B502B}"/>
                  </a:ext>
                </a:extLst>
              </p:cNvPr>
              <p:cNvGrpSpPr/>
              <p:nvPr/>
            </p:nvGrpSpPr>
            <p:grpSpPr>
              <a:xfrm>
                <a:off x="6931223" y="3335449"/>
                <a:ext cx="142428" cy="467453"/>
                <a:chOff x="6931223" y="3335449"/>
                <a:chExt cx="142428" cy="467453"/>
              </a:xfrm>
              <a:grpFill/>
            </p:grpSpPr>
            <p:grpSp>
              <p:nvGrpSpPr>
                <p:cNvPr id="974" name="Grafik 114">
                  <a:extLst>
                    <a:ext uri="{FF2B5EF4-FFF2-40B4-BE49-F238E27FC236}">
                      <a16:creationId xmlns:a16="http://schemas.microsoft.com/office/drawing/2014/main" id="{13F03BFC-952A-40C7-B8D1-FBC7A53C7B79}"/>
                    </a:ext>
                  </a:extLst>
                </p:cNvPr>
                <p:cNvGrpSpPr/>
                <p:nvPr/>
              </p:nvGrpSpPr>
              <p:grpSpPr>
                <a:xfrm>
                  <a:off x="6931223" y="3444552"/>
                  <a:ext cx="142428" cy="358351"/>
                  <a:chOff x="6931223" y="3444552"/>
                  <a:chExt cx="142428" cy="358351"/>
                </a:xfrm>
                <a:grpFill/>
              </p:grpSpPr>
              <p:sp>
                <p:nvSpPr>
                  <p:cNvPr id="976" name="Freihandform: Form 975">
                    <a:extLst>
                      <a:ext uri="{FF2B5EF4-FFF2-40B4-BE49-F238E27FC236}">
                        <a16:creationId xmlns:a16="http://schemas.microsoft.com/office/drawing/2014/main" id="{6019361B-E5E2-436B-82CF-192C22FEE173}"/>
                      </a:ext>
                    </a:extLst>
                  </p:cNvPr>
                  <p:cNvSpPr/>
                  <p:nvPr/>
                </p:nvSpPr>
                <p:spPr>
                  <a:xfrm>
                    <a:off x="7032423" y="3444552"/>
                    <a:ext cx="23535" cy="17664"/>
                  </a:xfrm>
                  <a:custGeom>
                    <a:avLst/>
                    <a:gdLst>
                      <a:gd name="connsiteX0" fmla="*/ 18583 w 23535"/>
                      <a:gd name="connsiteY0" fmla="*/ 17664 h 17664"/>
                      <a:gd name="connsiteX1" fmla="*/ 14133 w 23535"/>
                      <a:gd name="connsiteY1" fmla="*/ 17664 h 17664"/>
                      <a:gd name="connsiteX2" fmla="*/ 1 w 23535"/>
                      <a:gd name="connsiteY2" fmla="*/ 5035 h 17664"/>
                      <a:gd name="connsiteX3" fmla="*/ 4869 w 23535"/>
                      <a:gd name="connsiteY3" fmla="*/ 0 h 17664"/>
                      <a:gd name="connsiteX4" fmla="*/ 9904 w 23535"/>
                      <a:gd name="connsiteY4" fmla="*/ 4868 h 17664"/>
                      <a:gd name="connsiteX5" fmla="*/ 14633 w 23535"/>
                      <a:gd name="connsiteY5" fmla="*/ 7761 h 17664"/>
                      <a:gd name="connsiteX6" fmla="*/ 18583 w 23535"/>
                      <a:gd name="connsiteY6" fmla="*/ 7733 h 17664"/>
                      <a:gd name="connsiteX7" fmla="*/ 23535 w 23535"/>
                      <a:gd name="connsiteY7" fmla="*/ 12685 h 17664"/>
                      <a:gd name="connsiteX8" fmla="*/ 18583 w 23535"/>
                      <a:gd name="connsiteY8" fmla="*/ 17664 h 17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35" h="17664">
                        <a:moveTo>
                          <a:pt x="18583" y="17664"/>
                        </a:moveTo>
                        <a:lnTo>
                          <a:pt x="14133" y="17664"/>
                        </a:lnTo>
                        <a:cubicBezTo>
                          <a:pt x="8986" y="17164"/>
                          <a:pt x="140" y="13937"/>
                          <a:pt x="1" y="5035"/>
                        </a:cubicBezTo>
                        <a:cubicBezTo>
                          <a:pt x="-55" y="2309"/>
                          <a:pt x="2143" y="56"/>
                          <a:pt x="4869" y="0"/>
                        </a:cubicBezTo>
                        <a:cubicBezTo>
                          <a:pt x="7734" y="139"/>
                          <a:pt x="9849" y="2142"/>
                          <a:pt x="9904" y="4868"/>
                        </a:cubicBezTo>
                        <a:cubicBezTo>
                          <a:pt x="9932" y="7066"/>
                          <a:pt x="14578" y="7761"/>
                          <a:pt x="14633" y="7761"/>
                        </a:cubicBezTo>
                        <a:lnTo>
                          <a:pt x="18583" y="7733"/>
                        </a:lnTo>
                        <a:cubicBezTo>
                          <a:pt x="21310" y="7733"/>
                          <a:pt x="23535" y="9959"/>
                          <a:pt x="23535" y="12685"/>
                        </a:cubicBezTo>
                        <a:cubicBezTo>
                          <a:pt x="23535" y="15439"/>
                          <a:pt x="21310" y="17664"/>
                          <a:pt x="18583" y="17664"/>
                        </a:cubicBezTo>
                        <a:close/>
                      </a:path>
                    </a:pathLst>
                  </a:custGeom>
                  <a:grpFill/>
                  <a:ln w="2775" cap="flat">
                    <a:noFill/>
                    <a:prstDash val="solid"/>
                    <a:miter/>
                  </a:ln>
                </p:spPr>
                <p:txBody>
                  <a:bodyPr rtlCol="0" anchor="ctr"/>
                  <a:lstStyle/>
                  <a:p>
                    <a:endParaRPr lang="en-GB" dirty="0"/>
                  </a:p>
                </p:txBody>
              </p:sp>
              <p:sp>
                <p:nvSpPr>
                  <p:cNvPr id="977" name="Freihandform: Form 976">
                    <a:extLst>
                      <a:ext uri="{FF2B5EF4-FFF2-40B4-BE49-F238E27FC236}">
                        <a16:creationId xmlns:a16="http://schemas.microsoft.com/office/drawing/2014/main" id="{29695A8C-743E-4680-8B6C-66590E9356E7}"/>
                      </a:ext>
                    </a:extLst>
                  </p:cNvPr>
                  <p:cNvSpPr/>
                  <p:nvPr/>
                </p:nvSpPr>
                <p:spPr>
                  <a:xfrm>
                    <a:off x="6931223" y="3444607"/>
                    <a:ext cx="70797" cy="212167"/>
                  </a:xfrm>
                  <a:custGeom>
                    <a:avLst/>
                    <a:gdLst>
                      <a:gd name="connsiteX0" fmla="*/ 20724 w 70797"/>
                      <a:gd name="connsiteY0" fmla="*/ 212168 h 212167"/>
                      <a:gd name="connsiteX1" fmla="*/ 0 w 70797"/>
                      <a:gd name="connsiteY1" fmla="*/ 191443 h 212167"/>
                      <a:gd name="connsiteX2" fmla="*/ 0 w 70797"/>
                      <a:gd name="connsiteY2" fmla="*/ 37944 h 212167"/>
                      <a:gd name="connsiteX3" fmla="*/ 34383 w 70797"/>
                      <a:gd name="connsiteY3" fmla="*/ 7733 h 212167"/>
                      <a:gd name="connsiteX4" fmla="*/ 58640 w 70797"/>
                      <a:gd name="connsiteY4" fmla="*/ 7733 h 212167"/>
                      <a:gd name="connsiteX5" fmla="*/ 60894 w 70797"/>
                      <a:gd name="connsiteY5" fmla="*/ 4924 h 212167"/>
                      <a:gd name="connsiteX6" fmla="*/ 65845 w 70797"/>
                      <a:gd name="connsiteY6" fmla="*/ 0 h 212167"/>
                      <a:gd name="connsiteX7" fmla="*/ 65873 w 70797"/>
                      <a:gd name="connsiteY7" fmla="*/ 0 h 212167"/>
                      <a:gd name="connsiteX8" fmla="*/ 70797 w 70797"/>
                      <a:gd name="connsiteY8" fmla="*/ 4980 h 212167"/>
                      <a:gd name="connsiteX9" fmla="*/ 67125 w 70797"/>
                      <a:gd name="connsiteY9" fmla="*/ 14354 h 212167"/>
                      <a:gd name="connsiteX10" fmla="*/ 58446 w 70797"/>
                      <a:gd name="connsiteY10" fmla="*/ 17637 h 212167"/>
                      <a:gd name="connsiteX11" fmla="*/ 34383 w 70797"/>
                      <a:gd name="connsiteY11" fmla="*/ 17637 h 212167"/>
                      <a:gd name="connsiteX12" fmla="*/ 9903 w 70797"/>
                      <a:gd name="connsiteY12" fmla="*/ 37916 h 212167"/>
                      <a:gd name="connsiteX13" fmla="*/ 9903 w 70797"/>
                      <a:gd name="connsiteY13" fmla="*/ 191416 h 212167"/>
                      <a:gd name="connsiteX14" fmla="*/ 20724 w 70797"/>
                      <a:gd name="connsiteY14" fmla="*/ 202237 h 212167"/>
                      <a:gd name="connsiteX15" fmla="*/ 31546 w 70797"/>
                      <a:gd name="connsiteY15" fmla="*/ 191416 h 212167"/>
                      <a:gd name="connsiteX16" fmla="*/ 31546 w 70797"/>
                      <a:gd name="connsiteY16" fmla="*/ 68154 h 212167"/>
                      <a:gd name="connsiteX17" fmla="*/ 36497 w 70797"/>
                      <a:gd name="connsiteY17" fmla="*/ 63203 h 212167"/>
                      <a:gd name="connsiteX18" fmla="*/ 41449 w 70797"/>
                      <a:gd name="connsiteY18" fmla="*/ 68154 h 212167"/>
                      <a:gd name="connsiteX19" fmla="*/ 41449 w 70797"/>
                      <a:gd name="connsiteY19" fmla="*/ 191416 h 212167"/>
                      <a:gd name="connsiteX20" fmla="*/ 20724 w 70797"/>
                      <a:gd name="connsiteY20" fmla="*/ 212168 h 21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0797" h="212167">
                        <a:moveTo>
                          <a:pt x="20724" y="212168"/>
                        </a:moveTo>
                        <a:cubicBezTo>
                          <a:pt x="9291" y="212168"/>
                          <a:pt x="0" y="202877"/>
                          <a:pt x="0" y="191443"/>
                        </a:cubicBezTo>
                        <a:lnTo>
                          <a:pt x="0" y="37944"/>
                        </a:lnTo>
                        <a:cubicBezTo>
                          <a:pt x="0" y="14048"/>
                          <a:pt x="22505" y="7733"/>
                          <a:pt x="34383" y="7733"/>
                        </a:cubicBezTo>
                        <a:lnTo>
                          <a:pt x="58640" y="7733"/>
                        </a:lnTo>
                        <a:cubicBezTo>
                          <a:pt x="60699" y="7706"/>
                          <a:pt x="60866" y="6259"/>
                          <a:pt x="60894" y="4924"/>
                        </a:cubicBezTo>
                        <a:cubicBezTo>
                          <a:pt x="60894" y="2198"/>
                          <a:pt x="63119" y="0"/>
                          <a:pt x="65845" y="0"/>
                        </a:cubicBezTo>
                        <a:cubicBezTo>
                          <a:pt x="65845" y="0"/>
                          <a:pt x="65873" y="0"/>
                          <a:pt x="65873" y="0"/>
                        </a:cubicBezTo>
                        <a:cubicBezTo>
                          <a:pt x="68599" y="0"/>
                          <a:pt x="70825" y="2253"/>
                          <a:pt x="70797" y="4980"/>
                        </a:cubicBezTo>
                        <a:cubicBezTo>
                          <a:pt x="70769" y="9848"/>
                          <a:pt x="68794" y="12769"/>
                          <a:pt x="67125" y="14354"/>
                        </a:cubicBezTo>
                        <a:cubicBezTo>
                          <a:pt x="63592" y="17748"/>
                          <a:pt x="58946" y="17720"/>
                          <a:pt x="58446" y="17637"/>
                        </a:cubicBezTo>
                        <a:lnTo>
                          <a:pt x="34383" y="17637"/>
                        </a:lnTo>
                        <a:cubicBezTo>
                          <a:pt x="31879" y="17637"/>
                          <a:pt x="9903" y="18332"/>
                          <a:pt x="9903" y="37916"/>
                        </a:cubicBezTo>
                        <a:lnTo>
                          <a:pt x="9903" y="191416"/>
                        </a:lnTo>
                        <a:cubicBezTo>
                          <a:pt x="9903" y="197396"/>
                          <a:pt x="14771" y="202237"/>
                          <a:pt x="20724" y="202237"/>
                        </a:cubicBezTo>
                        <a:cubicBezTo>
                          <a:pt x="26705" y="202237"/>
                          <a:pt x="31546" y="197369"/>
                          <a:pt x="31546" y="191416"/>
                        </a:cubicBezTo>
                        <a:lnTo>
                          <a:pt x="31546" y="68154"/>
                        </a:lnTo>
                        <a:cubicBezTo>
                          <a:pt x="31546" y="65428"/>
                          <a:pt x="33771" y="63203"/>
                          <a:pt x="36497" y="63203"/>
                        </a:cubicBezTo>
                        <a:cubicBezTo>
                          <a:pt x="39223" y="63203"/>
                          <a:pt x="41449" y="65428"/>
                          <a:pt x="41449" y="68154"/>
                        </a:cubicBezTo>
                        <a:lnTo>
                          <a:pt x="41449" y="191416"/>
                        </a:lnTo>
                        <a:cubicBezTo>
                          <a:pt x="41477" y="202849"/>
                          <a:pt x="32158" y="212168"/>
                          <a:pt x="20724" y="212168"/>
                        </a:cubicBezTo>
                        <a:close/>
                      </a:path>
                    </a:pathLst>
                  </a:custGeom>
                  <a:grpFill/>
                  <a:ln w="2775" cap="flat">
                    <a:noFill/>
                    <a:prstDash val="solid"/>
                    <a:miter/>
                  </a:ln>
                </p:spPr>
                <p:txBody>
                  <a:bodyPr rtlCol="0" anchor="ctr"/>
                  <a:lstStyle/>
                  <a:p>
                    <a:endParaRPr lang="en-GB" dirty="0"/>
                  </a:p>
                </p:txBody>
              </p:sp>
              <p:sp>
                <p:nvSpPr>
                  <p:cNvPr id="978" name="Freihandform: Form 977">
                    <a:extLst>
                      <a:ext uri="{FF2B5EF4-FFF2-40B4-BE49-F238E27FC236}">
                        <a16:creationId xmlns:a16="http://schemas.microsoft.com/office/drawing/2014/main" id="{A0D73E78-14A3-460C-9515-F233FD3E45FE}"/>
                      </a:ext>
                    </a:extLst>
                  </p:cNvPr>
                  <p:cNvSpPr/>
                  <p:nvPr/>
                </p:nvSpPr>
                <p:spPr>
                  <a:xfrm>
                    <a:off x="7011978" y="3629180"/>
                    <a:ext cx="9903" cy="173417"/>
                  </a:xfrm>
                  <a:custGeom>
                    <a:avLst/>
                    <a:gdLst>
                      <a:gd name="connsiteX0" fmla="*/ 4952 w 9903"/>
                      <a:gd name="connsiteY0" fmla="*/ 173417 h 173417"/>
                      <a:gd name="connsiteX1" fmla="*/ 0 w 9903"/>
                      <a:gd name="connsiteY1" fmla="*/ 168466 h 173417"/>
                      <a:gd name="connsiteX2" fmla="*/ 0 w 9903"/>
                      <a:gd name="connsiteY2" fmla="*/ 4952 h 173417"/>
                      <a:gd name="connsiteX3" fmla="*/ 4952 w 9903"/>
                      <a:gd name="connsiteY3" fmla="*/ 0 h 173417"/>
                      <a:gd name="connsiteX4" fmla="*/ 9903 w 9903"/>
                      <a:gd name="connsiteY4" fmla="*/ 4952 h 173417"/>
                      <a:gd name="connsiteX5" fmla="*/ 9903 w 9903"/>
                      <a:gd name="connsiteY5" fmla="*/ 168466 h 173417"/>
                      <a:gd name="connsiteX6" fmla="*/ 4952 w 9903"/>
                      <a:gd name="connsiteY6" fmla="*/ 173417 h 173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73417">
                        <a:moveTo>
                          <a:pt x="4952" y="173417"/>
                        </a:moveTo>
                        <a:cubicBezTo>
                          <a:pt x="2225" y="173417"/>
                          <a:pt x="0" y="171192"/>
                          <a:pt x="0" y="168466"/>
                        </a:cubicBezTo>
                        <a:lnTo>
                          <a:pt x="0" y="4952"/>
                        </a:lnTo>
                        <a:cubicBezTo>
                          <a:pt x="0" y="2225"/>
                          <a:pt x="2225" y="0"/>
                          <a:pt x="4952" y="0"/>
                        </a:cubicBezTo>
                        <a:cubicBezTo>
                          <a:pt x="7678" y="0"/>
                          <a:pt x="9903" y="2225"/>
                          <a:pt x="9903" y="4952"/>
                        </a:cubicBezTo>
                        <a:lnTo>
                          <a:pt x="9903" y="168466"/>
                        </a:lnTo>
                        <a:cubicBezTo>
                          <a:pt x="9903" y="171192"/>
                          <a:pt x="7678" y="173417"/>
                          <a:pt x="4952" y="173417"/>
                        </a:cubicBezTo>
                        <a:close/>
                      </a:path>
                    </a:pathLst>
                  </a:custGeom>
                  <a:grpFill/>
                  <a:ln w="2775" cap="flat">
                    <a:noFill/>
                    <a:prstDash val="solid"/>
                    <a:miter/>
                  </a:ln>
                </p:spPr>
                <p:txBody>
                  <a:bodyPr rtlCol="0" anchor="ctr"/>
                  <a:lstStyle/>
                  <a:p>
                    <a:endParaRPr lang="en-GB" dirty="0"/>
                  </a:p>
                </p:txBody>
              </p:sp>
              <p:sp>
                <p:nvSpPr>
                  <p:cNvPr id="979" name="Freihandform: Form 978">
                    <a:extLst>
                      <a:ext uri="{FF2B5EF4-FFF2-40B4-BE49-F238E27FC236}">
                        <a16:creationId xmlns:a16="http://schemas.microsoft.com/office/drawing/2014/main" id="{44D35CBA-AC10-4B6C-A932-E08C23A173AF}"/>
                      </a:ext>
                    </a:extLst>
                  </p:cNvPr>
                  <p:cNvSpPr/>
                  <p:nvPr/>
                </p:nvSpPr>
                <p:spPr>
                  <a:xfrm>
                    <a:off x="7063720" y="3655301"/>
                    <a:ext cx="9931" cy="147602"/>
                  </a:xfrm>
                  <a:custGeom>
                    <a:avLst/>
                    <a:gdLst>
                      <a:gd name="connsiteX0" fmla="*/ 4924 w 9931"/>
                      <a:gd name="connsiteY0" fmla="*/ 147602 h 147602"/>
                      <a:gd name="connsiteX1" fmla="*/ 0 w 9931"/>
                      <a:gd name="connsiteY1" fmla="*/ 142373 h 147602"/>
                      <a:gd name="connsiteX2" fmla="*/ 56 w 9931"/>
                      <a:gd name="connsiteY2" fmla="*/ 141510 h 147602"/>
                      <a:gd name="connsiteX3" fmla="*/ 28 w 9931"/>
                      <a:gd name="connsiteY3" fmla="*/ 4952 h 147602"/>
                      <a:gd name="connsiteX4" fmla="*/ 4979 w 9931"/>
                      <a:gd name="connsiteY4" fmla="*/ 0 h 147602"/>
                      <a:gd name="connsiteX5" fmla="*/ 9931 w 9931"/>
                      <a:gd name="connsiteY5" fmla="*/ 4952 h 147602"/>
                      <a:gd name="connsiteX6" fmla="*/ 9931 w 9931"/>
                      <a:gd name="connsiteY6" fmla="*/ 142094 h 147602"/>
                      <a:gd name="connsiteX7" fmla="*/ 9875 w 9931"/>
                      <a:gd name="connsiteY7" fmla="*/ 142957 h 147602"/>
                      <a:gd name="connsiteX8" fmla="*/ 4924 w 9931"/>
                      <a:gd name="connsiteY8" fmla="*/ 147602 h 147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1" h="147602">
                        <a:moveTo>
                          <a:pt x="4924" y="147602"/>
                        </a:moveTo>
                        <a:cubicBezTo>
                          <a:pt x="2198" y="147602"/>
                          <a:pt x="0" y="145099"/>
                          <a:pt x="0" y="142373"/>
                        </a:cubicBezTo>
                        <a:cubicBezTo>
                          <a:pt x="0" y="142122"/>
                          <a:pt x="28" y="141761"/>
                          <a:pt x="56" y="141510"/>
                        </a:cubicBezTo>
                        <a:lnTo>
                          <a:pt x="28" y="4952"/>
                        </a:lnTo>
                        <a:cubicBezTo>
                          <a:pt x="28" y="2226"/>
                          <a:pt x="2253" y="0"/>
                          <a:pt x="4979" y="0"/>
                        </a:cubicBezTo>
                        <a:cubicBezTo>
                          <a:pt x="7706" y="0"/>
                          <a:pt x="9931" y="2226"/>
                          <a:pt x="9931" y="4952"/>
                        </a:cubicBezTo>
                        <a:lnTo>
                          <a:pt x="9931" y="142094"/>
                        </a:lnTo>
                        <a:cubicBezTo>
                          <a:pt x="9931" y="142345"/>
                          <a:pt x="9903" y="142706"/>
                          <a:pt x="9875" y="142957"/>
                        </a:cubicBezTo>
                        <a:cubicBezTo>
                          <a:pt x="9848" y="145683"/>
                          <a:pt x="7650" y="147602"/>
                          <a:pt x="4924" y="147602"/>
                        </a:cubicBezTo>
                        <a:close/>
                      </a:path>
                    </a:pathLst>
                  </a:custGeom>
                  <a:grpFill/>
                  <a:ln w="2775" cap="flat">
                    <a:noFill/>
                    <a:prstDash val="solid"/>
                    <a:miter/>
                  </a:ln>
                </p:spPr>
                <p:txBody>
                  <a:bodyPr rtlCol="0" anchor="ctr"/>
                  <a:lstStyle/>
                  <a:p>
                    <a:endParaRPr lang="en-GB" dirty="0"/>
                  </a:p>
                </p:txBody>
              </p:sp>
              <p:sp>
                <p:nvSpPr>
                  <p:cNvPr id="980" name="Freihandform: Form 979">
                    <a:extLst>
                      <a:ext uri="{FF2B5EF4-FFF2-40B4-BE49-F238E27FC236}">
                        <a16:creationId xmlns:a16="http://schemas.microsoft.com/office/drawing/2014/main" id="{C5850377-1F2E-428A-AB5E-D9014CC067DD}"/>
                      </a:ext>
                    </a:extLst>
                  </p:cNvPr>
                  <p:cNvSpPr/>
                  <p:nvPr/>
                </p:nvSpPr>
                <p:spPr>
                  <a:xfrm>
                    <a:off x="6962713" y="3539467"/>
                    <a:ext cx="9931" cy="263130"/>
                  </a:xfrm>
                  <a:custGeom>
                    <a:avLst/>
                    <a:gdLst>
                      <a:gd name="connsiteX0" fmla="*/ 5007 w 9931"/>
                      <a:gd name="connsiteY0" fmla="*/ 263130 h 263130"/>
                      <a:gd name="connsiteX1" fmla="*/ 83 w 9931"/>
                      <a:gd name="connsiteY1" fmla="*/ 258791 h 263130"/>
                      <a:gd name="connsiteX2" fmla="*/ 0 w 9931"/>
                      <a:gd name="connsiteY2" fmla="*/ 257928 h 263130"/>
                      <a:gd name="connsiteX3" fmla="*/ 0 w 9931"/>
                      <a:gd name="connsiteY3" fmla="*/ 4952 h 263130"/>
                      <a:gd name="connsiteX4" fmla="*/ 4952 w 9931"/>
                      <a:gd name="connsiteY4" fmla="*/ 0 h 263130"/>
                      <a:gd name="connsiteX5" fmla="*/ 9903 w 9931"/>
                      <a:gd name="connsiteY5" fmla="*/ 4952 h 263130"/>
                      <a:gd name="connsiteX6" fmla="*/ 9903 w 9931"/>
                      <a:gd name="connsiteY6" fmla="*/ 257594 h 263130"/>
                      <a:gd name="connsiteX7" fmla="*/ 9931 w 9931"/>
                      <a:gd name="connsiteY7" fmla="*/ 258207 h 263130"/>
                      <a:gd name="connsiteX8" fmla="*/ 5007 w 9931"/>
                      <a:gd name="connsiteY8" fmla="*/ 263130 h 26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931" h="263130">
                        <a:moveTo>
                          <a:pt x="5007" y="263130"/>
                        </a:moveTo>
                        <a:cubicBezTo>
                          <a:pt x="2476" y="263130"/>
                          <a:pt x="389" y="261239"/>
                          <a:pt x="83" y="258791"/>
                        </a:cubicBezTo>
                        <a:cubicBezTo>
                          <a:pt x="28" y="258513"/>
                          <a:pt x="0" y="258179"/>
                          <a:pt x="0" y="257928"/>
                        </a:cubicBezTo>
                        <a:lnTo>
                          <a:pt x="0" y="4952"/>
                        </a:lnTo>
                        <a:cubicBezTo>
                          <a:pt x="0" y="2225"/>
                          <a:pt x="2225" y="0"/>
                          <a:pt x="4952" y="0"/>
                        </a:cubicBezTo>
                        <a:cubicBezTo>
                          <a:pt x="7678" y="0"/>
                          <a:pt x="9903" y="2225"/>
                          <a:pt x="9903" y="4952"/>
                        </a:cubicBezTo>
                        <a:lnTo>
                          <a:pt x="9903" y="257594"/>
                        </a:lnTo>
                        <a:cubicBezTo>
                          <a:pt x="9931" y="257817"/>
                          <a:pt x="9931" y="258012"/>
                          <a:pt x="9931" y="258207"/>
                        </a:cubicBezTo>
                        <a:cubicBezTo>
                          <a:pt x="9959" y="260905"/>
                          <a:pt x="7761" y="263130"/>
                          <a:pt x="5007" y="263130"/>
                        </a:cubicBezTo>
                        <a:close/>
                      </a:path>
                    </a:pathLst>
                  </a:custGeom>
                  <a:grpFill/>
                  <a:ln w="2775" cap="flat">
                    <a:noFill/>
                    <a:prstDash val="solid"/>
                    <a:miter/>
                  </a:ln>
                </p:spPr>
                <p:txBody>
                  <a:bodyPr rtlCol="0" anchor="ctr"/>
                  <a:lstStyle/>
                  <a:p>
                    <a:endParaRPr lang="en-GB" dirty="0"/>
                  </a:p>
                </p:txBody>
              </p:sp>
            </p:grpSp>
            <p:sp>
              <p:nvSpPr>
                <p:cNvPr id="975" name="Freihandform: Form 974">
                  <a:extLst>
                    <a:ext uri="{FF2B5EF4-FFF2-40B4-BE49-F238E27FC236}">
                      <a16:creationId xmlns:a16="http://schemas.microsoft.com/office/drawing/2014/main" id="{F0FE8FB4-4CDE-4416-B266-2BC9173186D1}"/>
                    </a:ext>
                  </a:extLst>
                </p:cNvPr>
                <p:cNvSpPr/>
                <p:nvPr/>
              </p:nvSpPr>
              <p:spPr>
                <a:xfrm>
                  <a:off x="6971948" y="3335449"/>
                  <a:ext cx="92550" cy="103594"/>
                </a:xfrm>
                <a:custGeom>
                  <a:avLst/>
                  <a:gdLst>
                    <a:gd name="connsiteX0" fmla="*/ 46289 w 92550"/>
                    <a:gd name="connsiteY0" fmla="*/ 103594 h 103594"/>
                    <a:gd name="connsiteX1" fmla="*/ 0 w 92550"/>
                    <a:gd name="connsiteY1" fmla="*/ 51797 h 103594"/>
                    <a:gd name="connsiteX2" fmla="*/ 46289 w 92550"/>
                    <a:gd name="connsiteY2" fmla="*/ 0 h 103594"/>
                    <a:gd name="connsiteX3" fmla="*/ 92550 w 92550"/>
                    <a:gd name="connsiteY3" fmla="*/ 51797 h 103594"/>
                    <a:gd name="connsiteX4" fmla="*/ 46289 w 92550"/>
                    <a:gd name="connsiteY4" fmla="*/ 103594 h 103594"/>
                    <a:gd name="connsiteX5" fmla="*/ 46289 w 92550"/>
                    <a:gd name="connsiteY5" fmla="*/ 9903 h 103594"/>
                    <a:gd name="connsiteX6" fmla="*/ 9903 w 92550"/>
                    <a:gd name="connsiteY6" fmla="*/ 51797 h 103594"/>
                    <a:gd name="connsiteX7" fmla="*/ 46289 w 92550"/>
                    <a:gd name="connsiteY7" fmla="*/ 93691 h 103594"/>
                    <a:gd name="connsiteX8" fmla="*/ 82647 w 92550"/>
                    <a:gd name="connsiteY8" fmla="*/ 51797 h 103594"/>
                    <a:gd name="connsiteX9" fmla="*/ 46289 w 92550"/>
                    <a:gd name="connsiteY9" fmla="*/ 9903 h 103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550" h="103594">
                      <a:moveTo>
                        <a:pt x="46289" y="103594"/>
                      </a:moveTo>
                      <a:cubicBezTo>
                        <a:pt x="20780" y="103594"/>
                        <a:pt x="0" y="80366"/>
                        <a:pt x="0" y="51797"/>
                      </a:cubicBezTo>
                      <a:cubicBezTo>
                        <a:pt x="0" y="23228"/>
                        <a:pt x="20752" y="0"/>
                        <a:pt x="46289" y="0"/>
                      </a:cubicBezTo>
                      <a:cubicBezTo>
                        <a:pt x="71798" y="0"/>
                        <a:pt x="92550" y="23228"/>
                        <a:pt x="92550" y="51797"/>
                      </a:cubicBezTo>
                      <a:cubicBezTo>
                        <a:pt x="92550" y="80366"/>
                        <a:pt x="71798" y="103594"/>
                        <a:pt x="46289" y="103594"/>
                      </a:cubicBezTo>
                      <a:close/>
                      <a:moveTo>
                        <a:pt x="46289" y="9903"/>
                      </a:moveTo>
                      <a:cubicBezTo>
                        <a:pt x="26232" y="9903"/>
                        <a:pt x="9903" y="28680"/>
                        <a:pt x="9903" y="51797"/>
                      </a:cubicBezTo>
                      <a:cubicBezTo>
                        <a:pt x="9903" y="74886"/>
                        <a:pt x="26232" y="93691"/>
                        <a:pt x="46289" y="93691"/>
                      </a:cubicBezTo>
                      <a:cubicBezTo>
                        <a:pt x="66346" y="93691"/>
                        <a:pt x="82647" y="74914"/>
                        <a:pt x="82647" y="51797"/>
                      </a:cubicBezTo>
                      <a:cubicBezTo>
                        <a:pt x="82647" y="28708"/>
                        <a:pt x="66318" y="9903"/>
                        <a:pt x="46289" y="9903"/>
                      </a:cubicBezTo>
                      <a:close/>
                    </a:path>
                  </a:pathLst>
                </a:custGeom>
                <a:grpFill/>
                <a:ln w="2775" cap="flat">
                  <a:noFill/>
                  <a:prstDash val="solid"/>
                  <a:miter/>
                </a:ln>
              </p:spPr>
              <p:txBody>
                <a:bodyPr rtlCol="0" anchor="ctr"/>
                <a:lstStyle/>
                <a:p>
                  <a:endParaRPr lang="en-GB" dirty="0"/>
                </a:p>
              </p:txBody>
            </p:sp>
          </p:grpSp>
        </p:grpSp>
      </p:grpSp>
      <p:grpSp>
        <p:nvGrpSpPr>
          <p:cNvPr id="18" name="Group 17">
            <a:extLst>
              <a:ext uri="{FF2B5EF4-FFF2-40B4-BE49-F238E27FC236}">
                <a16:creationId xmlns:a16="http://schemas.microsoft.com/office/drawing/2014/main" id="{A7D368AC-54B1-217D-F947-E96B9416997B}"/>
              </a:ext>
            </a:extLst>
          </p:cNvPr>
          <p:cNvGrpSpPr/>
          <p:nvPr/>
        </p:nvGrpSpPr>
        <p:grpSpPr>
          <a:xfrm>
            <a:off x="8101365" y="3273397"/>
            <a:ext cx="482606" cy="432000"/>
            <a:chOff x="8100953" y="3273397"/>
            <a:chExt cx="482606" cy="432000"/>
          </a:xfrm>
        </p:grpSpPr>
        <p:grpSp>
          <p:nvGrpSpPr>
            <p:cNvPr id="996" name="Grafik 114">
              <a:extLst>
                <a:ext uri="{FF2B5EF4-FFF2-40B4-BE49-F238E27FC236}">
                  <a16:creationId xmlns:a16="http://schemas.microsoft.com/office/drawing/2014/main" id="{13C5C5C3-021F-440A-A32D-EAD28BF7FB8D}"/>
                </a:ext>
              </a:extLst>
            </p:cNvPr>
            <p:cNvGrpSpPr/>
            <p:nvPr/>
          </p:nvGrpSpPr>
          <p:grpSpPr>
            <a:xfrm>
              <a:off x="8203436" y="3422802"/>
              <a:ext cx="275468" cy="202554"/>
              <a:chOff x="7852610" y="3473788"/>
              <a:chExt cx="289223" cy="212668"/>
            </a:xfrm>
            <a:solidFill>
              <a:schemeClr val="accent1"/>
            </a:solidFill>
          </p:grpSpPr>
          <p:sp>
            <p:nvSpPr>
              <p:cNvPr id="1014" name="Freihandform: Form 1013">
                <a:extLst>
                  <a:ext uri="{FF2B5EF4-FFF2-40B4-BE49-F238E27FC236}">
                    <a16:creationId xmlns:a16="http://schemas.microsoft.com/office/drawing/2014/main" id="{6B5A75D4-2BCD-4558-9DD7-BCF2FB06AFFF}"/>
                  </a:ext>
                </a:extLst>
              </p:cNvPr>
              <p:cNvSpPr/>
              <p:nvPr/>
            </p:nvSpPr>
            <p:spPr>
              <a:xfrm>
                <a:off x="7852610" y="3676554"/>
                <a:ext cx="289223" cy="9903"/>
              </a:xfrm>
              <a:custGeom>
                <a:avLst/>
                <a:gdLst>
                  <a:gd name="connsiteX0" fmla="*/ 284272 w 289223"/>
                  <a:gd name="connsiteY0" fmla="*/ 9903 h 9903"/>
                  <a:gd name="connsiteX1" fmla="*/ 4952 w 289223"/>
                  <a:gd name="connsiteY1" fmla="*/ 9903 h 9903"/>
                  <a:gd name="connsiteX2" fmla="*/ 0 w 289223"/>
                  <a:gd name="connsiteY2" fmla="*/ 4952 h 9903"/>
                  <a:gd name="connsiteX3" fmla="*/ 4952 w 289223"/>
                  <a:gd name="connsiteY3" fmla="*/ 0 h 9903"/>
                  <a:gd name="connsiteX4" fmla="*/ 284272 w 289223"/>
                  <a:gd name="connsiteY4" fmla="*/ 0 h 9903"/>
                  <a:gd name="connsiteX5" fmla="*/ 289223 w 289223"/>
                  <a:gd name="connsiteY5" fmla="*/ 4952 h 9903"/>
                  <a:gd name="connsiteX6" fmla="*/ 284272 w 289223"/>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9223" h="9903">
                    <a:moveTo>
                      <a:pt x="284272" y="9903"/>
                    </a:moveTo>
                    <a:lnTo>
                      <a:pt x="4952" y="9903"/>
                    </a:lnTo>
                    <a:cubicBezTo>
                      <a:pt x="2226" y="9903"/>
                      <a:pt x="0" y="7678"/>
                      <a:pt x="0" y="4952"/>
                    </a:cubicBezTo>
                    <a:cubicBezTo>
                      <a:pt x="0" y="2225"/>
                      <a:pt x="2226" y="0"/>
                      <a:pt x="4952" y="0"/>
                    </a:cubicBezTo>
                    <a:lnTo>
                      <a:pt x="284272" y="0"/>
                    </a:lnTo>
                    <a:cubicBezTo>
                      <a:pt x="286998" y="0"/>
                      <a:pt x="289223" y="2225"/>
                      <a:pt x="289223" y="4952"/>
                    </a:cubicBezTo>
                    <a:cubicBezTo>
                      <a:pt x="289223" y="7706"/>
                      <a:pt x="286998" y="9903"/>
                      <a:pt x="284272" y="9903"/>
                    </a:cubicBezTo>
                    <a:close/>
                  </a:path>
                </a:pathLst>
              </a:custGeom>
              <a:solidFill>
                <a:schemeClr val="accent1"/>
              </a:solidFill>
              <a:ln w="2775" cap="flat">
                <a:noFill/>
                <a:prstDash val="solid"/>
                <a:miter/>
              </a:ln>
            </p:spPr>
            <p:txBody>
              <a:bodyPr rtlCol="0" anchor="ctr"/>
              <a:lstStyle/>
              <a:p>
                <a:endParaRPr lang="en-GB" dirty="0"/>
              </a:p>
            </p:txBody>
          </p:sp>
          <p:sp>
            <p:nvSpPr>
              <p:cNvPr id="1015" name="Freihandform: Form 1014">
                <a:extLst>
                  <a:ext uri="{FF2B5EF4-FFF2-40B4-BE49-F238E27FC236}">
                    <a16:creationId xmlns:a16="http://schemas.microsoft.com/office/drawing/2014/main" id="{C6D5FDDC-3DD8-4A19-9A53-95C81B6CCD38}"/>
                  </a:ext>
                </a:extLst>
              </p:cNvPr>
              <p:cNvSpPr/>
              <p:nvPr/>
            </p:nvSpPr>
            <p:spPr>
              <a:xfrm>
                <a:off x="7875893" y="3657165"/>
                <a:ext cx="242656" cy="29292"/>
              </a:xfrm>
              <a:custGeom>
                <a:avLst/>
                <a:gdLst>
                  <a:gd name="connsiteX0" fmla="*/ 237705 w 242656"/>
                  <a:gd name="connsiteY0" fmla="*/ 29292 h 29292"/>
                  <a:gd name="connsiteX1" fmla="*/ 4952 w 242656"/>
                  <a:gd name="connsiteY1" fmla="*/ 29292 h 29292"/>
                  <a:gd name="connsiteX2" fmla="*/ 0 w 242656"/>
                  <a:gd name="connsiteY2" fmla="*/ 24341 h 29292"/>
                  <a:gd name="connsiteX3" fmla="*/ 0 w 242656"/>
                  <a:gd name="connsiteY3" fmla="*/ 4952 h 29292"/>
                  <a:gd name="connsiteX4" fmla="*/ 4952 w 242656"/>
                  <a:gd name="connsiteY4" fmla="*/ 0 h 29292"/>
                  <a:gd name="connsiteX5" fmla="*/ 9903 w 242656"/>
                  <a:gd name="connsiteY5" fmla="*/ 4952 h 29292"/>
                  <a:gd name="connsiteX6" fmla="*/ 9903 w 242656"/>
                  <a:gd name="connsiteY6" fmla="*/ 19389 h 29292"/>
                  <a:gd name="connsiteX7" fmla="*/ 232753 w 242656"/>
                  <a:gd name="connsiteY7" fmla="*/ 19389 h 29292"/>
                  <a:gd name="connsiteX8" fmla="*/ 232753 w 242656"/>
                  <a:gd name="connsiteY8" fmla="*/ 4952 h 29292"/>
                  <a:gd name="connsiteX9" fmla="*/ 237705 w 242656"/>
                  <a:gd name="connsiteY9" fmla="*/ 0 h 29292"/>
                  <a:gd name="connsiteX10" fmla="*/ 242656 w 242656"/>
                  <a:gd name="connsiteY10" fmla="*/ 4952 h 29292"/>
                  <a:gd name="connsiteX11" fmla="*/ 242656 w 242656"/>
                  <a:gd name="connsiteY11" fmla="*/ 24341 h 29292"/>
                  <a:gd name="connsiteX12" fmla="*/ 237705 w 242656"/>
                  <a:gd name="connsiteY12" fmla="*/ 29292 h 29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656" h="29292">
                    <a:moveTo>
                      <a:pt x="237705" y="29292"/>
                    </a:moveTo>
                    <a:lnTo>
                      <a:pt x="4952" y="29292"/>
                    </a:lnTo>
                    <a:cubicBezTo>
                      <a:pt x="2225" y="29292"/>
                      <a:pt x="0" y="27067"/>
                      <a:pt x="0" y="24341"/>
                    </a:cubicBezTo>
                    <a:lnTo>
                      <a:pt x="0" y="4952"/>
                    </a:lnTo>
                    <a:cubicBezTo>
                      <a:pt x="0" y="2225"/>
                      <a:pt x="2225" y="0"/>
                      <a:pt x="4952" y="0"/>
                    </a:cubicBezTo>
                    <a:cubicBezTo>
                      <a:pt x="7678" y="0"/>
                      <a:pt x="9903" y="2225"/>
                      <a:pt x="9903" y="4952"/>
                    </a:cubicBezTo>
                    <a:lnTo>
                      <a:pt x="9903" y="19389"/>
                    </a:lnTo>
                    <a:lnTo>
                      <a:pt x="232753" y="19389"/>
                    </a:lnTo>
                    <a:lnTo>
                      <a:pt x="232753" y="4952"/>
                    </a:lnTo>
                    <a:cubicBezTo>
                      <a:pt x="232753" y="2225"/>
                      <a:pt x="234979" y="0"/>
                      <a:pt x="237705" y="0"/>
                    </a:cubicBezTo>
                    <a:cubicBezTo>
                      <a:pt x="240431" y="0"/>
                      <a:pt x="242656" y="2225"/>
                      <a:pt x="242656" y="4952"/>
                    </a:cubicBezTo>
                    <a:lnTo>
                      <a:pt x="242656" y="24341"/>
                    </a:lnTo>
                    <a:cubicBezTo>
                      <a:pt x="242656" y="27095"/>
                      <a:pt x="240431" y="29292"/>
                      <a:pt x="237705" y="29292"/>
                    </a:cubicBezTo>
                    <a:close/>
                  </a:path>
                </a:pathLst>
              </a:custGeom>
              <a:solidFill>
                <a:schemeClr val="accent1"/>
              </a:solidFill>
              <a:ln w="2775" cap="flat">
                <a:noFill/>
                <a:prstDash val="solid"/>
                <a:miter/>
              </a:ln>
            </p:spPr>
            <p:txBody>
              <a:bodyPr rtlCol="0" anchor="ctr"/>
              <a:lstStyle/>
              <a:p>
                <a:endParaRPr lang="en-GB" dirty="0"/>
              </a:p>
            </p:txBody>
          </p:sp>
          <p:sp>
            <p:nvSpPr>
              <p:cNvPr id="1016" name="Freihandform: Form 1015">
                <a:extLst>
                  <a:ext uri="{FF2B5EF4-FFF2-40B4-BE49-F238E27FC236}">
                    <a16:creationId xmlns:a16="http://schemas.microsoft.com/office/drawing/2014/main" id="{114BB032-8FF6-40CC-BB8E-F083AE128436}"/>
                  </a:ext>
                </a:extLst>
              </p:cNvPr>
              <p:cNvSpPr/>
              <p:nvPr/>
            </p:nvSpPr>
            <p:spPr>
              <a:xfrm>
                <a:off x="7863876" y="3637775"/>
                <a:ext cx="266690" cy="9903"/>
              </a:xfrm>
              <a:custGeom>
                <a:avLst/>
                <a:gdLst>
                  <a:gd name="connsiteX0" fmla="*/ 261739 w 266690"/>
                  <a:gd name="connsiteY0" fmla="*/ 9903 h 9903"/>
                  <a:gd name="connsiteX1" fmla="*/ 4952 w 266690"/>
                  <a:gd name="connsiteY1" fmla="*/ 9903 h 9903"/>
                  <a:gd name="connsiteX2" fmla="*/ 0 w 266690"/>
                  <a:gd name="connsiteY2" fmla="*/ 4952 h 9903"/>
                  <a:gd name="connsiteX3" fmla="*/ 4952 w 266690"/>
                  <a:gd name="connsiteY3" fmla="*/ 0 h 9903"/>
                  <a:gd name="connsiteX4" fmla="*/ 261739 w 266690"/>
                  <a:gd name="connsiteY4" fmla="*/ 0 h 9903"/>
                  <a:gd name="connsiteX5" fmla="*/ 266691 w 266690"/>
                  <a:gd name="connsiteY5" fmla="*/ 4952 h 9903"/>
                  <a:gd name="connsiteX6" fmla="*/ 261739 w 266690"/>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6690" h="9903">
                    <a:moveTo>
                      <a:pt x="261739" y="9903"/>
                    </a:moveTo>
                    <a:lnTo>
                      <a:pt x="4952" y="9903"/>
                    </a:lnTo>
                    <a:cubicBezTo>
                      <a:pt x="2225" y="9903"/>
                      <a:pt x="0" y="7678"/>
                      <a:pt x="0" y="4952"/>
                    </a:cubicBezTo>
                    <a:cubicBezTo>
                      <a:pt x="0" y="2225"/>
                      <a:pt x="2225" y="0"/>
                      <a:pt x="4952" y="0"/>
                    </a:cubicBezTo>
                    <a:lnTo>
                      <a:pt x="261739" y="0"/>
                    </a:lnTo>
                    <a:cubicBezTo>
                      <a:pt x="264465" y="0"/>
                      <a:pt x="266691" y="2225"/>
                      <a:pt x="266691" y="4952"/>
                    </a:cubicBezTo>
                    <a:cubicBezTo>
                      <a:pt x="266691" y="7678"/>
                      <a:pt x="264465" y="9903"/>
                      <a:pt x="261739" y="9903"/>
                    </a:cubicBezTo>
                    <a:close/>
                  </a:path>
                </a:pathLst>
              </a:custGeom>
              <a:solidFill>
                <a:schemeClr val="accent1"/>
              </a:solidFill>
              <a:ln w="2775" cap="flat">
                <a:noFill/>
                <a:prstDash val="solid"/>
                <a:miter/>
              </a:ln>
            </p:spPr>
            <p:txBody>
              <a:bodyPr rtlCol="0" anchor="ctr"/>
              <a:lstStyle/>
              <a:p>
                <a:endParaRPr lang="en-GB" dirty="0"/>
              </a:p>
            </p:txBody>
          </p:sp>
          <p:sp>
            <p:nvSpPr>
              <p:cNvPr id="1017" name="Freihandform: Form 1016">
                <a:extLst>
                  <a:ext uri="{FF2B5EF4-FFF2-40B4-BE49-F238E27FC236}">
                    <a16:creationId xmlns:a16="http://schemas.microsoft.com/office/drawing/2014/main" id="{89637C44-603F-4337-936B-32D2FCA7ACAF}"/>
                  </a:ext>
                </a:extLst>
              </p:cNvPr>
              <p:cNvSpPr/>
              <p:nvPr/>
            </p:nvSpPr>
            <p:spPr>
              <a:xfrm>
                <a:off x="7875893" y="3515376"/>
                <a:ext cx="242683" cy="106904"/>
              </a:xfrm>
              <a:custGeom>
                <a:avLst/>
                <a:gdLst>
                  <a:gd name="connsiteX0" fmla="*/ 237705 w 242683"/>
                  <a:gd name="connsiteY0" fmla="*/ 106905 h 106904"/>
                  <a:gd name="connsiteX1" fmla="*/ 4952 w 242683"/>
                  <a:gd name="connsiteY1" fmla="*/ 106905 h 106904"/>
                  <a:gd name="connsiteX2" fmla="*/ 0 w 242683"/>
                  <a:gd name="connsiteY2" fmla="*/ 101953 h 106904"/>
                  <a:gd name="connsiteX3" fmla="*/ 121342 w 242683"/>
                  <a:gd name="connsiteY3" fmla="*/ 0 h 106904"/>
                  <a:gd name="connsiteX4" fmla="*/ 242684 w 242683"/>
                  <a:gd name="connsiteY4" fmla="*/ 101953 h 106904"/>
                  <a:gd name="connsiteX5" fmla="*/ 237705 w 242683"/>
                  <a:gd name="connsiteY5" fmla="*/ 106905 h 106904"/>
                  <a:gd name="connsiteX6" fmla="*/ 10014 w 242683"/>
                  <a:gd name="connsiteY6" fmla="*/ 97001 h 106904"/>
                  <a:gd name="connsiteX7" fmla="*/ 232642 w 242683"/>
                  <a:gd name="connsiteY7" fmla="*/ 97001 h 106904"/>
                  <a:gd name="connsiteX8" fmla="*/ 121342 w 242683"/>
                  <a:gd name="connsiteY8" fmla="*/ 9931 h 106904"/>
                  <a:gd name="connsiteX9" fmla="*/ 10014 w 242683"/>
                  <a:gd name="connsiteY9" fmla="*/ 97001 h 106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683" h="106904">
                    <a:moveTo>
                      <a:pt x="237705" y="106905"/>
                    </a:moveTo>
                    <a:lnTo>
                      <a:pt x="4952" y="106905"/>
                    </a:lnTo>
                    <a:cubicBezTo>
                      <a:pt x="2225" y="106905"/>
                      <a:pt x="0" y="104679"/>
                      <a:pt x="0" y="101953"/>
                    </a:cubicBezTo>
                    <a:cubicBezTo>
                      <a:pt x="0" y="40030"/>
                      <a:pt x="47624" y="0"/>
                      <a:pt x="121342" y="0"/>
                    </a:cubicBezTo>
                    <a:cubicBezTo>
                      <a:pt x="195032" y="0"/>
                      <a:pt x="242684" y="40002"/>
                      <a:pt x="242684" y="101953"/>
                    </a:cubicBezTo>
                    <a:cubicBezTo>
                      <a:pt x="242656" y="104679"/>
                      <a:pt x="240431" y="106905"/>
                      <a:pt x="237705" y="106905"/>
                    </a:cubicBezTo>
                    <a:close/>
                    <a:moveTo>
                      <a:pt x="10014" y="97001"/>
                    </a:moveTo>
                    <a:lnTo>
                      <a:pt x="232642" y="97001"/>
                    </a:lnTo>
                    <a:cubicBezTo>
                      <a:pt x="230138" y="43925"/>
                      <a:pt x="186992" y="9931"/>
                      <a:pt x="121342" y="9931"/>
                    </a:cubicBezTo>
                    <a:cubicBezTo>
                      <a:pt x="55691" y="9931"/>
                      <a:pt x="12518" y="43925"/>
                      <a:pt x="10014" y="97001"/>
                    </a:cubicBezTo>
                    <a:close/>
                  </a:path>
                </a:pathLst>
              </a:custGeom>
              <a:solidFill>
                <a:schemeClr val="accent1"/>
              </a:solidFill>
              <a:ln w="2775" cap="flat">
                <a:noFill/>
                <a:prstDash val="solid"/>
                <a:miter/>
              </a:ln>
            </p:spPr>
            <p:txBody>
              <a:bodyPr rtlCol="0" anchor="ctr"/>
              <a:lstStyle/>
              <a:p>
                <a:endParaRPr lang="en-GB" dirty="0"/>
              </a:p>
            </p:txBody>
          </p:sp>
          <p:sp>
            <p:nvSpPr>
              <p:cNvPr id="1018" name="Freihandform: Form 1017">
                <a:extLst>
                  <a:ext uri="{FF2B5EF4-FFF2-40B4-BE49-F238E27FC236}">
                    <a16:creationId xmlns:a16="http://schemas.microsoft.com/office/drawing/2014/main" id="{7ECFA773-7DD7-4D4B-85DA-2150B112EB16}"/>
                  </a:ext>
                </a:extLst>
              </p:cNvPr>
              <p:cNvSpPr/>
              <p:nvPr/>
            </p:nvSpPr>
            <p:spPr>
              <a:xfrm>
                <a:off x="7902571" y="3540290"/>
                <a:ext cx="67692" cy="51502"/>
              </a:xfrm>
              <a:custGeom>
                <a:avLst/>
                <a:gdLst>
                  <a:gd name="connsiteX0" fmla="*/ 4952 w 67692"/>
                  <a:gd name="connsiteY0" fmla="*/ 51503 h 51502"/>
                  <a:gd name="connsiteX1" fmla="*/ 2587 w 67692"/>
                  <a:gd name="connsiteY1" fmla="*/ 50891 h 51502"/>
                  <a:gd name="connsiteX2" fmla="*/ 584 w 67692"/>
                  <a:gd name="connsiteY2" fmla="*/ 44187 h 51502"/>
                  <a:gd name="connsiteX3" fmla="*/ 61534 w 67692"/>
                  <a:gd name="connsiteY3" fmla="*/ 151 h 51502"/>
                  <a:gd name="connsiteX4" fmla="*/ 67542 w 67692"/>
                  <a:gd name="connsiteY4" fmla="*/ 3767 h 51502"/>
                  <a:gd name="connsiteX5" fmla="*/ 63926 w 67692"/>
                  <a:gd name="connsiteY5" fmla="*/ 9776 h 51502"/>
                  <a:gd name="connsiteX6" fmla="*/ 9264 w 67692"/>
                  <a:gd name="connsiteY6" fmla="*/ 48943 h 51502"/>
                  <a:gd name="connsiteX7" fmla="*/ 4952 w 67692"/>
                  <a:gd name="connsiteY7" fmla="*/ 51503 h 51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692" h="51502">
                    <a:moveTo>
                      <a:pt x="4952" y="51503"/>
                    </a:moveTo>
                    <a:cubicBezTo>
                      <a:pt x="4145" y="51503"/>
                      <a:pt x="3338" y="51308"/>
                      <a:pt x="2587" y="50891"/>
                    </a:cubicBezTo>
                    <a:cubicBezTo>
                      <a:pt x="195" y="49583"/>
                      <a:pt x="-695" y="46579"/>
                      <a:pt x="584" y="44187"/>
                    </a:cubicBezTo>
                    <a:cubicBezTo>
                      <a:pt x="12407" y="22349"/>
                      <a:pt x="33493" y="7133"/>
                      <a:pt x="61534" y="151"/>
                    </a:cubicBezTo>
                    <a:cubicBezTo>
                      <a:pt x="64204" y="-517"/>
                      <a:pt x="66875" y="1097"/>
                      <a:pt x="67542" y="3767"/>
                    </a:cubicBezTo>
                    <a:cubicBezTo>
                      <a:pt x="68210" y="6410"/>
                      <a:pt x="66596" y="9108"/>
                      <a:pt x="63926" y="9776"/>
                    </a:cubicBezTo>
                    <a:cubicBezTo>
                      <a:pt x="38639" y="16063"/>
                      <a:pt x="19751" y="29610"/>
                      <a:pt x="9264" y="48943"/>
                    </a:cubicBezTo>
                    <a:cubicBezTo>
                      <a:pt x="8401" y="50557"/>
                      <a:pt x="6704" y="51503"/>
                      <a:pt x="4952" y="51503"/>
                    </a:cubicBezTo>
                    <a:close/>
                  </a:path>
                </a:pathLst>
              </a:custGeom>
              <a:solidFill>
                <a:schemeClr val="accent1"/>
              </a:solidFill>
              <a:ln w="2775" cap="flat">
                <a:noFill/>
                <a:prstDash val="solid"/>
                <a:miter/>
              </a:ln>
            </p:spPr>
            <p:txBody>
              <a:bodyPr rtlCol="0" anchor="ctr"/>
              <a:lstStyle/>
              <a:p>
                <a:endParaRPr lang="en-GB" dirty="0"/>
              </a:p>
            </p:txBody>
          </p:sp>
          <p:sp>
            <p:nvSpPr>
              <p:cNvPr id="1019" name="Freihandform: Form 1018">
                <a:extLst>
                  <a:ext uri="{FF2B5EF4-FFF2-40B4-BE49-F238E27FC236}">
                    <a16:creationId xmlns:a16="http://schemas.microsoft.com/office/drawing/2014/main" id="{61B6A861-D5E5-400C-9E6F-182B34FFDFBF}"/>
                  </a:ext>
                </a:extLst>
              </p:cNvPr>
              <p:cNvSpPr/>
              <p:nvPr/>
            </p:nvSpPr>
            <p:spPr>
              <a:xfrm>
                <a:off x="7992284" y="3493205"/>
                <a:ext cx="9903" cy="32074"/>
              </a:xfrm>
              <a:custGeom>
                <a:avLst/>
                <a:gdLst>
                  <a:gd name="connsiteX0" fmla="*/ 4952 w 9903"/>
                  <a:gd name="connsiteY0" fmla="*/ 32074 h 32074"/>
                  <a:gd name="connsiteX1" fmla="*/ 0 w 9903"/>
                  <a:gd name="connsiteY1" fmla="*/ 27123 h 32074"/>
                  <a:gd name="connsiteX2" fmla="*/ 0 w 9903"/>
                  <a:gd name="connsiteY2" fmla="*/ 4952 h 32074"/>
                  <a:gd name="connsiteX3" fmla="*/ 4952 w 9903"/>
                  <a:gd name="connsiteY3" fmla="*/ 0 h 32074"/>
                  <a:gd name="connsiteX4" fmla="*/ 9903 w 9903"/>
                  <a:gd name="connsiteY4" fmla="*/ 4952 h 32074"/>
                  <a:gd name="connsiteX5" fmla="*/ 9903 w 9903"/>
                  <a:gd name="connsiteY5" fmla="*/ 27123 h 32074"/>
                  <a:gd name="connsiteX6" fmla="*/ 4952 w 9903"/>
                  <a:gd name="connsiteY6" fmla="*/ 32074 h 32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32074">
                    <a:moveTo>
                      <a:pt x="4952" y="32074"/>
                    </a:moveTo>
                    <a:cubicBezTo>
                      <a:pt x="2225" y="32074"/>
                      <a:pt x="0" y="29849"/>
                      <a:pt x="0" y="27123"/>
                    </a:cubicBezTo>
                    <a:lnTo>
                      <a:pt x="0" y="4952"/>
                    </a:lnTo>
                    <a:cubicBezTo>
                      <a:pt x="0" y="2225"/>
                      <a:pt x="2225" y="0"/>
                      <a:pt x="4952" y="0"/>
                    </a:cubicBezTo>
                    <a:cubicBezTo>
                      <a:pt x="7678" y="0"/>
                      <a:pt x="9903" y="2225"/>
                      <a:pt x="9903" y="4952"/>
                    </a:cubicBezTo>
                    <a:lnTo>
                      <a:pt x="9903" y="27123"/>
                    </a:lnTo>
                    <a:cubicBezTo>
                      <a:pt x="9903" y="29876"/>
                      <a:pt x="7678" y="32074"/>
                      <a:pt x="4952" y="32074"/>
                    </a:cubicBezTo>
                    <a:close/>
                  </a:path>
                </a:pathLst>
              </a:custGeom>
              <a:solidFill>
                <a:schemeClr val="accent1"/>
              </a:solidFill>
              <a:ln w="2775" cap="flat">
                <a:noFill/>
                <a:prstDash val="solid"/>
                <a:miter/>
              </a:ln>
            </p:spPr>
            <p:txBody>
              <a:bodyPr rtlCol="0" anchor="ctr"/>
              <a:lstStyle/>
              <a:p>
                <a:endParaRPr lang="en-GB" dirty="0"/>
              </a:p>
            </p:txBody>
          </p:sp>
          <p:sp>
            <p:nvSpPr>
              <p:cNvPr id="1020" name="Freihandform: Form 1019">
                <a:extLst>
                  <a:ext uri="{FF2B5EF4-FFF2-40B4-BE49-F238E27FC236}">
                    <a16:creationId xmlns:a16="http://schemas.microsoft.com/office/drawing/2014/main" id="{A7D5A344-4A43-4A48-B0B8-1E6B8B8D142D}"/>
                  </a:ext>
                </a:extLst>
              </p:cNvPr>
              <p:cNvSpPr/>
              <p:nvPr/>
            </p:nvSpPr>
            <p:spPr>
              <a:xfrm>
                <a:off x="7965106" y="3473788"/>
                <a:ext cx="64231" cy="29320"/>
              </a:xfrm>
              <a:custGeom>
                <a:avLst/>
                <a:gdLst>
                  <a:gd name="connsiteX0" fmla="*/ 53466 w 64231"/>
                  <a:gd name="connsiteY0" fmla="*/ 29320 h 29320"/>
                  <a:gd name="connsiteX1" fmla="*/ 10766 w 64231"/>
                  <a:gd name="connsiteY1" fmla="*/ 29320 h 29320"/>
                  <a:gd name="connsiteX2" fmla="*/ 0 w 64231"/>
                  <a:gd name="connsiteY2" fmla="*/ 18555 h 29320"/>
                  <a:gd name="connsiteX3" fmla="*/ 0 w 64231"/>
                  <a:gd name="connsiteY3" fmla="*/ 10766 h 29320"/>
                  <a:gd name="connsiteX4" fmla="*/ 10766 w 64231"/>
                  <a:gd name="connsiteY4" fmla="*/ 0 h 29320"/>
                  <a:gd name="connsiteX5" fmla="*/ 53466 w 64231"/>
                  <a:gd name="connsiteY5" fmla="*/ 0 h 29320"/>
                  <a:gd name="connsiteX6" fmla="*/ 64232 w 64231"/>
                  <a:gd name="connsiteY6" fmla="*/ 10766 h 29320"/>
                  <a:gd name="connsiteX7" fmla="*/ 64232 w 64231"/>
                  <a:gd name="connsiteY7" fmla="*/ 18555 h 29320"/>
                  <a:gd name="connsiteX8" fmla="*/ 53466 w 64231"/>
                  <a:gd name="connsiteY8" fmla="*/ 29320 h 29320"/>
                  <a:gd name="connsiteX9" fmla="*/ 10766 w 64231"/>
                  <a:gd name="connsiteY9" fmla="*/ 9931 h 29320"/>
                  <a:gd name="connsiteX10" fmla="*/ 9903 w 64231"/>
                  <a:gd name="connsiteY10" fmla="*/ 10793 h 29320"/>
                  <a:gd name="connsiteX11" fmla="*/ 9903 w 64231"/>
                  <a:gd name="connsiteY11" fmla="*/ 18583 h 29320"/>
                  <a:gd name="connsiteX12" fmla="*/ 10766 w 64231"/>
                  <a:gd name="connsiteY12" fmla="*/ 19445 h 29320"/>
                  <a:gd name="connsiteX13" fmla="*/ 53466 w 64231"/>
                  <a:gd name="connsiteY13" fmla="*/ 19445 h 29320"/>
                  <a:gd name="connsiteX14" fmla="*/ 54329 w 64231"/>
                  <a:gd name="connsiteY14" fmla="*/ 18583 h 29320"/>
                  <a:gd name="connsiteX15" fmla="*/ 54329 w 64231"/>
                  <a:gd name="connsiteY15" fmla="*/ 10793 h 29320"/>
                  <a:gd name="connsiteX16" fmla="*/ 53466 w 64231"/>
                  <a:gd name="connsiteY16" fmla="*/ 9931 h 29320"/>
                  <a:gd name="connsiteX17" fmla="*/ 10766 w 64231"/>
                  <a:gd name="connsiteY17" fmla="*/ 9931 h 29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4231" h="29320">
                    <a:moveTo>
                      <a:pt x="53466" y="29320"/>
                    </a:moveTo>
                    <a:lnTo>
                      <a:pt x="10766" y="29320"/>
                    </a:lnTo>
                    <a:cubicBezTo>
                      <a:pt x="4840" y="29320"/>
                      <a:pt x="0" y="24508"/>
                      <a:pt x="0" y="18555"/>
                    </a:cubicBezTo>
                    <a:lnTo>
                      <a:pt x="0" y="10766"/>
                    </a:lnTo>
                    <a:cubicBezTo>
                      <a:pt x="0" y="4840"/>
                      <a:pt x="4840" y="0"/>
                      <a:pt x="10766" y="0"/>
                    </a:cubicBezTo>
                    <a:lnTo>
                      <a:pt x="53466" y="0"/>
                    </a:lnTo>
                    <a:cubicBezTo>
                      <a:pt x="59391" y="0"/>
                      <a:pt x="64232" y="4840"/>
                      <a:pt x="64232" y="10766"/>
                    </a:cubicBezTo>
                    <a:lnTo>
                      <a:pt x="64232" y="18555"/>
                    </a:lnTo>
                    <a:cubicBezTo>
                      <a:pt x="64232" y="24508"/>
                      <a:pt x="59391" y="29320"/>
                      <a:pt x="53466" y="29320"/>
                    </a:cubicBezTo>
                    <a:close/>
                    <a:moveTo>
                      <a:pt x="10766" y="9931"/>
                    </a:moveTo>
                    <a:cubicBezTo>
                      <a:pt x="10293" y="9931"/>
                      <a:pt x="9903" y="10321"/>
                      <a:pt x="9903" y="10793"/>
                    </a:cubicBezTo>
                    <a:lnTo>
                      <a:pt x="9903" y="18583"/>
                    </a:lnTo>
                    <a:cubicBezTo>
                      <a:pt x="9903" y="19055"/>
                      <a:pt x="10293" y="19445"/>
                      <a:pt x="10766" y="19445"/>
                    </a:cubicBezTo>
                    <a:lnTo>
                      <a:pt x="53466" y="19445"/>
                    </a:lnTo>
                    <a:cubicBezTo>
                      <a:pt x="53939" y="19445"/>
                      <a:pt x="54329" y="19055"/>
                      <a:pt x="54329" y="18583"/>
                    </a:cubicBezTo>
                    <a:lnTo>
                      <a:pt x="54329" y="10793"/>
                    </a:lnTo>
                    <a:cubicBezTo>
                      <a:pt x="54329" y="10321"/>
                      <a:pt x="53939" y="9931"/>
                      <a:pt x="53466" y="9931"/>
                    </a:cubicBezTo>
                    <a:lnTo>
                      <a:pt x="10766" y="9931"/>
                    </a:lnTo>
                    <a:close/>
                  </a:path>
                </a:pathLst>
              </a:custGeom>
              <a:solidFill>
                <a:schemeClr val="accent1"/>
              </a:solidFill>
              <a:ln w="2775" cap="flat">
                <a:noFill/>
                <a:prstDash val="solid"/>
                <a:miter/>
              </a:ln>
            </p:spPr>
            <p:txBody>
              <a:bodyPr rtlCol="0" anchor="ctr"/>
              <a:lstStyle/>
              <a:p>
                <a:endParaRPr lang="en-GB" dirty="0"/>
              </a:p>
            </p:txBody>
          </p:sp>
        </p:grpSp>
        <p:grpSp>
          <p:nvGrpSpPr>
            <p:cNvPr id="997" name="Group 758">
              <a:extLst>
                <a:ext uri="{FF2B5EF4-FFF2-40B4-BE49-F238E27FC236}">
                  <a16:creationId xmlns:a16="http://schemas.microsoft.com/office/drawing/2014/main" id="{4AB43BC9-735E-4499-A79A-F0FADA3D11C7}"/>
                </a:ext>
              </a:extLst>
            </p:cNvPr>
            <p:cNvGrpSpPr/>
            <p:nvPr/>
          </p:nvGrpSpPr>
          <p:grpSpPr>
            <a:xfrm>
              <a:off x="8100953" y="3273397"/>
              <a:ext cx="482606" cy="432000"/>
              <a:chOff x="7745010" y="3316923"/>
              <a:chExt cx="506704" cy="453571"/>
            </a:xfrm>
            <a:solidFill>
              <a:schemeClr val="tx2"/>
            </a:solidFill>
          </p:grpSpPr>
          <p:sp>
            <p:nvSpPr>
              <p:cNvPr id="998" name="Freihandform: Form 997">
                <a:extLst>
                  <a:ext uri="{FF2B5EF4-FFF2-40B4-BE49-F238E27FC236}">
                    <a16:creationId xmlns:a16="http://schemas.microsoft.com/office/drawing/2014/main" id="{4F89F7E1-AE1C-4F5D-80F5-6E724E056D53}"/>
                  </a:ext>
                </a:extLst>
              </p:cNvPr>
              <p:cNvSpPr/>
              <p:nvPr/>
            </p:nvSpPr>
            <p:spPr>
              <a:xfrm>
                <a:off x="7994648" y="3382851"/>
                <a:ext cx="10181" cy="64788"/>
              </a:xfrm>
              <a:custGeom>
                <a:avLst/>
                <a:gdLst>
                  <a:gd name="connsiteX0" fmla="*/ 5230 w 10181"/>
                  <a:gd name="connsiteY0" fmla="*/ 64788 h 64788"/>
                  <a:gd name="connsiteX1" fmla="*/ 278 w 10181"/>
                  <a:gd name="connsiteY1" fmla="*/ 59864 h 64788"/>
                  <a:gd name="connsiteX2" fmla="*/ 0 w 10181"/>
                  <a:gd name="connsiteY2" fmla="*/ 4979 h 64788"/>
                  <a:gd name="connsiteX3" fmla="*/ 4924 w 10181"/>
                  <a:gd name="connsiteY3" fmla="*/ 0 h 64788"/>
                  <a:gd name="connsiteX4" fmla="*/ 4952 w 10181"/>
                  <a:gd name="connsiteY4" fmla="*/ 0 h 64788"/>
                  <a:gd name="connsiteX5" fmla="*/ 9903 w 10181"/>
                  <a:gd name="connsiteY5" fmla="*/ 4924 h 64788"/>
                  <a:gd name="connsiteX6" fmla="*/ 10181 w 10181"/>
                  <a:gd name="connsiteY6" fmla="*/ 59809 h 64788"/>
                  <a:gd name="connsiteX7" fmla="*/ 5230 w 10181"/>
                  <a:gd name="connsiteY7" fmla="*/ 64788 h 64788"/>
                  <a:gd name="connsiteX8" fmla="*/ 5230 w 10181"/>
                  <a:gd name="connsiteY8" fmla="*/ 64788 h 64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181" h="64788">
                    <a:moveTo>
                      <a:pt x="5230" y="64788"/>
                    </a:moveTo>
                    <a:cubicBezTo>
                      <a:pt x="2504" y="64788"/>
                      <a:pt x="278" y="62590"/>
                      <a:pt x="278" y="59864"/>
                    </a:cubicBezTo>
                    <a:lnTo>
                      <a:pt x="0" y="4979"/>
                    </a:lnTo>
                    <a:cubicBezTo>
                      <a:pt x="0" y="2253"/>
                      <a:pt x="2198" y="28"/>
                      <a:pt x="4924" y="0"/>
                    </a:cubicBezTo>
                    <a:cubicBezTo>
                      <a:pt x="4924" y="0"/>
                      <a:pt x="4952" y="0"/>
                      <a:pt x="4952" y="0"/>
                    </a:cubicBezTo>
                    <a:cubicBezTo>
                      <a:pt x="7678" y="0"/>
                      <a:pt x="9903" y="2198"/>
                      <a:pt x="9903" y="4924"/>
                    </a:cubicBezTo>
                    <a:lnTo>
                      <a:pt x="10181" y="59809"/>
                    </a:lnTo>
                    <a:cubicBezTo>
                      <a:pt x="10209" y="62563"/>
                      <a:pt x="7984" y="64788"/>
                      <a:pt x="5230" y="64788"/>
                    </a:cubicBezTo>
                    <a:cubicBezTo>
                      <a:pt x="5230" y="64788"/>
                      <a:pt x="5230" y="64788"/>
                      <a:pt x="5230" y="64788"/>
                    </a:cubicBezTo>
                    <a:close/>
                  </a:path>
                </a:pathLst>
              </a:custGeom>
              <a:grpFill/>
              <a:ln w="2775" cap="flat">
                <a:noFill/>
                <a:prstDash val="solid"/>
                <a:miter/>
              </a:ln>
            </p:spPr>
            <p:txBody>
              <a:bodyPr rtlCol="0" anchor="ctr"/>
              <a:lstStyle/>
              <a:p>
                <a:endParaRPr lang="en-GB" dirty="0"/>
              </a:p>
            </p:txBody>
          </p:sp>
          <p:grpSp>
            <p:nvGrpSpPr>
              <p:cNvPr id="999" name="Grafik 114">
                <a:extLst>
                  <a:ext uri="{FF2B5EF4-FFF2-40B4-BE49-F238E27FC236}">
                    <a16:creationId xmlns:a16="http://schemas.microsoft.com/office/drawing/2014/main" id="{138BE0FF-DF1C-414F-8A0E-334DF80C5622}"/>
                  </a:ext>
                </a:extLst>
              </p:cNvPr>
              <p:cNvGrpSpPr/>
              <p:nvPr/>
            </p:nvGrpSpPr>
            <p:grpSpPr>
              <a:xfrm>
                <a:off x="7802964" y="3497471"/>
                <a:ext cx="73114" cy="229739"/>
                <a:chOff x="7802964" y="3497471"/>
                <a:chExt cx="73114" cy="229739"/>
              </a:xfrm>
              <a:grpFill/>
            </p:grpSpPr>
            <p:sp>
              <p:nvSpPr>
                <p:cNvPr id="1012" name="Freihandform: Form 1011">
                  <a:extLst>
                    <a:ext uri="{FF2B5EF4-FFF2-40B4-BE49-F238E27FC236}">
                      <a16:creationId xmlns:a16="http://schemas.microsoft.com/office/drawing/2014/main" id="{FBDA078C-F17C-4275-86B7-B59BACF0B46E}"/>
                    </a:ext>
                  </a:extLst>
                </p:cNvPr>
                <p:cNvSpPr/>
                <p:nvPr/>
              </p:nvSpPr>
              <p:spPr>
                <a:xfrm>
                  <a:off x="7804352" y="3702124"/>
                  <a:ext cx="35706" cy="25085"/>
                </a:xfrm>
                <a:custGeom>
                  <a:avLst/>
                  <a:gdLst>
                    <a:gd name="connsiteX0" fmla="*/ 4973 w 35706"/>
                    <a:gd name="connsiteY0" fmla="*/ 25086 h 25085"/>
                    <a:gd name="connsiteX1" fmla="*/ 689 w 35706"/>
                    <a:gd name="connsiteY1" fmla="*/ 22638 h 25085"/>
                    <a:gd name="connsiteX2" fmla="*/ 2442 w 35706"/>
                    <a:gd name="connsiteY2" fmla="*/ 15850 h 25085"/>
                    <a:gd name="connsiteX3" fmla="*/ 28229 w 35706"/>
                    <a:gd name="connsiteY3" fmla="*/ 689 h 25085"/>
                    <a:gd name="connsiteX4" fmla="*/ 35017 w 35706"/>
                    <a:gd name="connsiteY4" fmla="*/ 2442 h 25085"/>
                    <a:gd name="connsiteX5" fmla="*/ 33264 w 35706"/>
                    <a:gd name="connsiteY5" fmla="*/ 9229 h 25085"/>
                    <a:gd name="connsiteX6" fmla="*/ 7477 w 35706"/>
                    <a:gd name="connsiteY6" fmla="*/ 24390 h 25085"/>
                    <a:gd name="connsiteX7" fmla="*/ 4973 w 35706"/>
                    <a:gd name="connsiteY7" fmla="*/ 25086 h 25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06" h="25085">
                      <a:moveTo>
                        <a:pt x="4973" y="25086"/>
                      </a:moveTo>
                      <a:cubicBezTo>
                        <a:pt x="3276" y="25086"/>
                        <a:pt x="1607" y="24223"/>
                        <a:pt x="689" y="22638"/>
                      </a:cubicBezTo>
                      <a:cubicBezTo>
                        <a:pt x="-702" y="20273"/>
                        <a:pt x="77" y="17241"/>
                        <a:pt x="2442" y="15850"/>
                      </a:cubicBezTo>
                      <a:lnTo>
                        <a:pt x="28229" y="689"/>
                      </a:lnTo>
                      <a:cubicBezTo>
                        <a:pt x="30594" y="-702"/>
                        <a:pt x="33626" y="77"/>
                        <a:pt x="35017" y="2442"/>
                      </a:cubicBezTo>
                      <a:cubicBezTo>
                        <a:pt x="36408" y="4806"/>
                        <a:pt x="35629" y="7839"/>
                        <a:pt x="33264" y="9229"/>
                      </a:cubicBezTo>
                      <a:lnTo>
                        <a:pt x="7477" y="24390"/>
                      </a:lnTo>
                      <a:cubicBezTo>
                        <a:pt x="6698" y="24891"/>
                        <a:pt x="5836" y="25086"/>
                        <a:pt x="4973" y="25086"/>
                      </a:cubicBezTo>
                      <a:close/>
                    </a:path>
                  </a:pathLst>
                </a:custGeom>
                <a:grpFill/>
                <a:ln w="2775" cap="flat">
                  <a:noFill/>
                  <a:prstDash val="solid"/>
                  <a:miter/>
                </a:ln>
              </p:spPr>
              <p:txBody>
                <a:bodyPr rtlCol="0" anchor="ctr"/>
                <a:lstStyle/>
                <a:p>
                  <a:endParaRPr lang="en-GB" dirty="0"/>
                </a:p>
              </p:txBody>
            </p:sp>
            <p:sp>
              <p:nvSpPr>
                <p:cNvPr id="1013" name="Freihandform: Form 1012">
                  <a:extLst>
                    <a:ext uri="{FF2B5EF4-FFF2-40B4-BE49-F238E27FC236}">
                      <a16:creationId xmlns:a16="http://schemas.microsoft.com/office/drawing/2014/main" id="{7971A52C-55FE-451E-B1E0-DD233E6E9966}"/>
                    </a:ext>
                  </a:extLst>
                </p:cNvPr>
                <p:cNvSpPr/>
                <p:nvPr/>
              </p:nvSpPr>
              <p:spPr>
                <a:xfrm>
                  <a:off x="7802964" y="3497471"/>
                  <a:ext cx="73114" cy="42190"/>
                </a:xfrm>
                <a:custGeom>
                  <a:avLst/>
                  <a:gdLst>
                    <a:gd name="connsiteX0" fmla="*/ 68145 w 73114"/>
                    <a:gd name="connsiteY0" fmla="*/ 42190 h 42190"/>
                    <a:gd name="connsiteX1" fmla="*/ 65891 w 73114"/>
                    <a:gd name="connsiteY1" fmla="*/ 41662 h 42190"/>
                    <a:gd name="connsiteX2" fmla="*/ 2689 w 73114"/>
                    <a:gd name="connsiteY2" fmla="*/ 9365 h 42190"/>
                    <a:gd name="connsiteX3" fmla="*/ 547 w 73114"/>
                    <a:gd name="connsiteY3" fmla="*/ 2689 h 42190"/>
                    <a:gd name="connsiteX4" fmla="*/ 7223 w 73114"/>
                    <a:gd name="connsiteY4" fmla="*/ 547 h 42190"/>
                    <a:gd name="connsiteX5" fmla="*/ 70426 w 73114"/>
                    <a:gd name="connsiteY5" fmla="*/ 32844 h 42190"/>
                    <a:gd name="connsiteX6" fmla="*/ 72568 w 73114"/>
                    <a:gd name="connsiteY6" fmla="*/ 39520 h 42190"/>
                    <a:gd name="connsiteX7" fmla="*/ 68145 w 73114"/>
                    <a:gd name="connsiteY7" fmla="*/ 42190 h 42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14" h="42190">
                      <a:moveTo>
                        <a:pt x="68145" y="42190"/>
                      </a:moveTo>
                      <a:cubicBezTo>
                        <a:pt x="67393" y="42190"/>
                        <a:pt x="66615" y="42024"/>
                        <a:pt x="65891" y="41662"/>
                      </a:cubicBezTo>
                      <a:lnTo>
                        <a:pt x="2689" y="9365"/>
                      </a:lnTo>
                      <a:cubicBezTo>
                        <a:pt x="269" y="8113"/>
                        <a:pt x="-705" y="5137"/>
                        <a:pt x="547" y="2689"/>
                      </a:cubicBezTo>
                      <a:cubicBezTo>
                        <a:pt x="1799" y="269"/>
                        <a:pt x="4775" y="-705"/>
                        <a:pt x="7223" y="547"/>
                      </a:cubicBezTo>
                      <a:lnTo>
                        <a:pt x="70426" y="32844"/>
                      </a:lnTo>
                      <a:cubicBezTo>
                        <a:pt x="72846" y="34095"/>
                        <a:pt x="73819" y="37072"/>
                        <a:pt x="72568" y="39520"/>
                      </a:cubicBezTo>
                      <a:cubicBezTo>
                        <a:pt x="71677" y="41217"/>
                        <a:pt x="69953" y="42190"/>
                        <a:pt x="68145" y="42190"/>
                      </a:cubicBezTo>
                      <a:close/>
                    </a:path>
                  </a:pathLst>
                </a:custGeom>
                <a:grpFill/>
                <a:ln w="2775" cap="flat">
                  <a:noFill/>
                  <a:prstDash val="solid"/>
                  <a:miter/>
                </a:ln>
              </p:spPr>
              <p:txBody>
                <a:bodyPr rtlCol="0" anchor="ctr"/>
                <a:lstStyle/>
                <a:p>
                  <a:endParaRPr lang="en-GB" dirty="0"/>
                </a:p>
              </p:txBody>
            </p:sp>
          </p:grpSp>
          <p:grpSp>
            <p:nvGrpSpPr>
              <p:cNvPr id="1000" name="Grafik 114">
                <a:extLst>
                  <a:ext uri="{FF2B5EF4-FFF2-40B4-BE49-F238E27FC236}">
                    <a16:creationId xmlns:a16="http://schemas.microsoft.com/office/drawing/2014/main" id="{EE69A2F7-9B4F-4894-AB1B-DBB570D47367}"/>
                  </a:ext>
                </a:extLst>
              </p:cNvPr>
              <p:cNvGrpSpPr/>
              <p:nvPr/>
            </p:nvGrpSpPr>
            <p:grpSpPr>
              <a:xfrm>
                <a:off x="8120253" y="3498969"/>
                <a:ext cx="72760" cy="226516"/>
                <a:chOff x="8120253" y="3498969"/>
                <a:chExt cx="72760" cy="226516"/>
              </a:xfrm>
              <a:grpFill/>
            </p:grpSpPr>
            <p:sp>
              <p:nvSpPr>
                <p:cNvPr id="1010" name="Freihandform: Form 1009">
                  <a:extLst>
                    <a:ext uri="{FF2B5EF4-FFF2-40B4-BE49-F238E27FC236}">
                      <a16:creationId xmlns:a16="http://schemas.microsoft.com/office/drawing/2014/main" id="{BCF2CAA7-18FE-47DE-9F9A-6FFF84DFBB81}"/>
                    </a:ext>
                  </a:extLst>
                </p:cNvPr>
                <p:cNvSpPr/>
                <p:nvPr/>
              </p:nvSpPr>
              <p:spPr>
                <a:xfrm>
                  <a:off x="8156943" y="3701455"/>
                  <a:ext cx="35097" cy="24030"/>
                </a:xfrm>
                <a:custGeom>
                  <a:avLst/>
                  <a:gdLst>
                    <a:gd name="connsiteX0" fmla="*/ 30150 w 35097"/>
                    <a:gd name="connsiteY0" fmla="*/ 24030 h 24030"/>
                    <a:gd name="connsiteX1" fmla="*/ 27730 w 35097"/>
                    <a:gd name="connsiteY1" fmla="*/ 23390 h 24030"/>
                    <a:gd name="connsiteX2" fmla="*/ 2527 w 35097"/>
                    <a:gd name="connsiteY2" fmla="*/ 9259 h 24030"/>
                    <a:gd name="connsiteX3" fmla="*/ 635 w 35097"/>
                    <a:gd name="connsiteY3" fmla="*/ 2527 h 24030"/>
                    <a:gd name="connsiteX4" fmla="*/ 7367 w 35097"/>
                    <a:gd name="connsiteY4" fmla="*/ 635 h 24030"/>
                    <a:gd name="connsiteX5" fmla="*/ 32570 w 35097"/>
                    <a:gd name="connsiteY5" fmla="*/ 14767 h 24030"/>
                    <a:gd name="connsiteX6" fmla="*/ 34462 w 35097"/>
                    <a:gd name="connsiteY6" fmla="*/ 21499 h 24030"/>
                    <a:gd name="connsiteX7" fmla="*/ 30150 w 35097"/>
                    <a:gd name="connsiteY7" fmla="*/ 24030 h 24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097" h="24030">
                      <a:moveTo>
                        <a:pt x="30150" y="24030"/>
                      </a:moveTo>
                      <a:cubicBezTo>
                        <a:pt x="29344" y="24030"/>
                        <a:pt x="28509" y="23836"/>
                        <a:pt x="27730" y="23390"/>
                      </a:cubicBezTo>
                      <a:lnTo>
                        <a:pt x="2527" y="9259"/>
                      </a:lnTo>
                      <a:cubicBezTo>
                        <a:pt x="135" y="7924"/>
                        <a:pt x="-700" y="4892"/>
                        <a:pt x="635" y="2527"/>
                      </a:cubicBezTo>
                      <a:cubicBezTo>
                        <a:pt x="1971" y="135"/>
                        <a:pt x="5003" y="-700"/>
                        <a:pt x="7367" y="635"/>
                      </a:cubicBezTo>
                      <a:lnTo>
                        <a:pt x="32570" y="14767"/>
                      </a:lnTo>
                      <a:cubicBezTo>
                        <a:pt x="34963" y="16102"/>
                        <a:pt x="35797" y="19134"/>
                        <a:pt x="34462" y="21499"/>
                      </a:cubicBezTo>
                      <a:cubicBezTo>
                        <a:pt x="33572" y="23140"/>
                        <a:pt x="31903" y="24030"/>
                        <a:pt x="30150" y="24030"/>
                      </a:cubicBezTo>
                      <a:close/>
                    </a:path>
                  </a:pathLst>
                </a:custGeom>
                <a:grpFill/>
                <a:ln w="2775" cap="flat">
                  <a:noFill/>
                  <a:prstDash val="solid"/>
                  <a:miter/>
                </a:ln>
              </p:spPr>
              <p:txBody>
                <a:bodyPr rtlCol="0" anchor="ctr"/>
                <a:lstStyle/>
                <a:p>
                  <a:endParaRPr lang="en-GB" dirty="0"/>
                </a:p>
              </p:txBody>
            </p:sp>
            <p:sp>
              <p:nvSpPr>
                <p:cNvPr id="1011" name="Freihandform: Form 1010">
                  <a:extLst>
                    <a:ext uri="{FF2B5EF4-FFF2-40B4-BE49-F238E27FC236}">
                      <a16:creationId xmlns:a16="http://schemas.microsoft.com/office/drawing/2014/main" id="{6298B202-7059-48DA-BF56-90C88AB6D3DC}"/>
                    </a:ext>
                  </a:extLst>
                </p:cNvPr>
                <p:cNvSpPr/>
                <p:nvPr/>
              </p:nvSpPr>
              <p:spPr>
                <a:xfrm>
                  <a:off x="8120253" y="3498969"/>
                  <a:ext cx="72760" cy="41387"/>
                </a:xfrm>
                <a:custGeom>
                  <a:avLst/>
                  <a:gdLst>
                    <a:gd name="connsiteX0" fmla="*/ 4945 w 72760"/>
                    <a:gd name="connsiteY0" fmla="*/ 41388 h 41387"/>
                    <a:gd name="connsiteX1" fmla="*/ 522 w 72760"/>
                    <a:gd name="connsiteY1" fmla="*/ 38661 h 41387"/>
                    <a:gd name="connsiteX2" fmla="*/ 2748 w 72760"/>
                    <a:gd name="connsiteY2" fmla="*/ 32013 h 41387"/>
                    <a:gd name="connsiteX3" fmla="*/ 65589 w 72760"/>
                    <a:gd name="connsiteY3" fmla="*/ 523 h 41387"/>
                    <a:gd name="connsiteX4" fmla="*/ 72237 w 72760"/>
                    <a:gd name="connsiteY4" fmla="*/ 2721 h 41387"/>
                    <a:gd name="connsiteX5" fmla="*/ 70039 w 72760"/>
                    <a:gd name="connsiteY5" fmla="*/ 9369 h 41387"/>
                    <a:gd name="connsiteX6" fmla="*/ 7199 w 72760"/>
                    <a:gd name="connsiteY6" fmla="*/ 40859 h 41387"/>
                    <a:gd name="connsiteX7" fmla="*/ 4945 w 72760"/>
                    <a:gd name="connsiteY7" fmla="*/ 41388 h 41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760" h="41387">
                      <a:moveTo>
                        <a:pt x="4945" y="41388"/>
                      </a:moveTo>
                      <a:cubicBezTo>
                        <a:pt x="3137" y="41388"/>
                        <a:pt x="1385" y="40386"/>
                        <a:pt x="522" y="38661"/>
                      </a:cubicBezTo>
                      <a:cubicBezTo>
                        <a:pt x="-702" y="36213"/>
                        <a:pt x="300" y="33237"/>
                        <a:pt x="2748" y="32013"/>
                      </a:cubicBezTo>
                      <a:lnTo>
                        <a:pt x="65589" y="523"/>
                      </a:lnTo>
                      <a:cubicBezTo>
                        <a:pt x="68037" y="-701"/>
                        <a:pt x="71013" y="300"/>
                        <a:pt x="72237" y="2721"/>
                      </a:cubicBezTo>
                      <a:cubicBezTo>
                        <a:pt x="73461" y="5169"/>
                        <a:pt x="72460" y="8145"/>
                        <a:pt x="70039" y="9369"/>
                      </a:cubicBezTo>
                      <a:lnTo>
                        <a:pt x="7199" y="40859"/>
                      </a:lnTo>
                      <a:cubicBezTo>
                        <a:pt x="6448" y="41221"/>
                        <a:pt x="5696" y="41388"/>
                        <a:pt x="4945" y="41388"/>
                      </a:cubicBezTo>
                      <a:close/>
                    </a:path>
                  </a:pathLst>
                </a:custGeom>
                <a:grpFill/>
                <a:ln w="2775" cap="flat">
                  <a:noFill/>
                  <a:prstDash val="solid"/>
                  <a:miter/>
                </a:ln>
              </p:spPr>
              <p:txBody>
                <a:bodyPr rtlCol="0" anchor="ctr"/>
                <a:lstStyle/>
                <a:p>
                  <a:endParaRPr lang="en-GB" dirty="0"/>
                </a:p>
              </p:txBody>
            </p:sp>
          </p:grpSp>
          <p:sp>
            <p:nvSpPr>
              <p:cNvPr id="1001" name="Freihandform: Form 1000">
                <a:extLst>
                  <a:ext uri="{FF2B5EF4-FFF2-40B4-BE49-F238E27FC236}">
                    <a16:creationId xmlns:a16="http://schemas.microsoft.com/office/drawing/2014/main" id="{82C1DED0-ED8B-4F9B-A64F-8888543B810F}"/>
                  </a:ext>
                </a:extLst>
              </p:cNvPr>
              <p:cNvSpPr/>
              <p:nvPr/>
            </p:nvSpPr>
            <p:spPr>
              <a:xfrm>
                <a:off x="7774942" y="3518214"/>
                <a:ext cx="9903" cy="188077"/>
              </a:xfrm>
              <a:custGeom>
                <a:avLst/>
                <a:gdLst>
                  <a:gd name="connsiteX0" fmla="*/ 4952 w 9903"/>
                  <a:gd name="connsiteY0" fmla="*/ 188077 h 188077"/>
                  <a:gd name="connsiteX1" fmla="*/ 0 w 9903"/>
                  <a:gd name="connsiteY1" fmla="*/ 183126 h 188077"/>
                  <a:gd name="connsiteX2" fmla="*/ 0 w 9903"/>
                  <a:gd name="connsiteY2" fmla="*/ 4952 h 188077"/>
                  <a:gd name="connsiteX3" fmla="*/ 4952 w 9903"/>
                  <a:gd name="connsiteY3" fmla="*/ 0 h 188077"/>
                  <a:gd name="connsiteX4" fmla="*/ 9903 w 9903"/>
                  <a:gd name="connsiteY4" fmla="*/ 4952 h 188077"/>
                  <a:gd name="connsiteX5" fmla="*/ 9903 w 9903"/>
                  <a:gd name="connsiteY5" fmla="*/ 183126 h 188077"/>
                  <a:gd name="connsiteX6" fmla="*/ 4952 w 9903"/>
                  <a:gd name="connsiteY6" fmla="*/ 188077 h 188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88077">
                    <a:moveTo>
                      <a:pt x="4952" y="188077"/>
                    </a:moveTo>
                    <a:cubicBezTo>
                      <a:pt x="2225" y="188077"/>
                      <a:pt x="0" y="185852"/>
                      <a:pt x="0" y="183126"/>
                    </a:cubicBezTo>
                    <a:lnTo>
                      <a:pt x="0" y="4952"/>
                    </a:lnTo>
                    <a:cubicBezTo>
                      <a:pt x="0" y="2225"/>
                      <a:pt x="2225" y="0"/>
                      <a:pt x="4952" y="0"/>
                    </a:cubicBezTo>
                    <a:cubicBezTo>
                      <a:pt x="7678" y="0"/>
                      <a:pt x="9903" y="2225"/>
                      <a:pt x="9903" y="4952"/>
                    </a:cubicBezTo>
                    <a:lnTo>
                      <a:pt x="9903" y="183126"/>
                    </a:lnTo>
                    <a:cubicBezTo>
                      <a:pt x="9903" y="185852"/>
                      <a:pt x="7706" y="188077"/>
                      <a:pt x="4952" y="188077"/>
                    </a:cubicBezTo>
                    <a:close/>
                  </a:path>
                </a:pathLst>
              </a:custGeom>
              <a:grpFill/>
              <a:ln w="2775" cap="flat">
                <a:noFill/>
                <a:prstDash val="solid"/>
                <a:miter/>
              </a:ln>
            </p:spPr>
            <p:txBody>
              <a:bodyPr rtlCol="0" anchor="ctr"/>
              <a:lstStyle/>
              <a:p>
                <a:endParaRPr lang="en-GB" dirty="0"/>
              </a:p>
            </p:txBody>
          </p:sp>
          <p:sp>
            <p:nvSpPr>
              <p:cNvPr id="1002" name="Freihandform: Form 1001">
                <a:extLst>
                  <a:ext uri="{FF2B5EF4-FFF2-40B4-BE49-F238E27FC236}">
                    <a16:creationId xmlns:a16="http://schemas.microsoft.com/office/drawing/2014/main" id="{01BDB409-4E0D-48B7-924F-2C37F3BD60ED}"/>
                  </a:ext>
                </a:extLst>
              </p:cNvPr>
              <p:cNvSpPr/>
              <p:nvPr/>
            </p:nvSpPr>
            <p:spPr>
              <a:xfrm>
                <a:off x="7791435" y="3347479"/>
                <a:ext cx="182965" cy="118659"/>
              </a:xfrm>
              <a:custGeom>
                <a:avLst/>
                <a:gdLst>
                  <a:gd name="connsiteX0" fmla="*/ 4955 w 182965"/>
                  <a:gd name="connsiteY0" fmla="*/ 118659 h 118659"/>
                  <a:gd name="connsiteX1" fmla="*/ 754 w 182965"/>
                  <a:gd name="connsiteY1" fmla="*/ 116350 h 118659"/>
                  <a:gd name="connsiteX2" fmla="*/ 2312 w 182965"/>
                  <a:gd name="connsiteY2" fmla="*/ 109535 h 118659"/>
                  <a:gd name="connsiteX3" fmla="*/ 175396 w 182965"/>
                  <a:gd name="connsiteY3" fmla="*/ 767 h 118659"/>
                  <a:gd name="connsiteX4" fmla="*/ 182211 w 182965"/>
                  <a:gd name="connsiteY4" fmla="*/ 2325 h 118659"/>
                  <a:gd name="connsiteX5" fmla="*/ 180653 w 182965"/>
                  <a:gd name="connsiteY5" fmla="*/ 9140 h 118659"/>
                  <a:gd name="connsiteX6" fmla="*/ 7570 w 182965"/>
                  <a:gd name="connsiteY6" fmla="*/ 117908 h 118659"/>
                  <a:gd name="connsiteX7" fmla="*/ 4955 w 182965"/>
                  <a:gd name="connsiteY7" fmla="*/ 118659 h 118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2965" h="118659">
                    <a:moveTo>
                      <a:pt x="4955" y="118659"/>
                    </a:moveTo>
                    <a:cubicBezTo>
                      <a:pt x="3314" y="118659"/>
                      <a:pt x="1700" y="117853"/>
                      <a:pt x="754" y="116350"/>
                    </a:cubicBezTo>
                    <a:cubicBezTo>
                      <a:pt x="-692" y="114042"/>
                      <a:pt x="3" y="110982"/>
                      <a:pt x="2312" y="109535"/>
                    </a:cubicBezTo>
                    <a:lnTo>
                      <a:pt x="175396" y="767"/>
                    </a:lnTo>
                    <a:cubicBezTo>
                      <a:pt x="177732" y="-708"/>
                      <a:pt x="180765" y="16"/>
                      <a:pt x="182211" y="2325"/>
                    </a:cubicBezTo>
                    <a:cubicBezTo>
                      <a:pt x="183658" y="4633"/>
                      <a:pt x="182962" y="7693"/>
                      <a:pt x="180653" y="9140"/>
                    </a:cubicBezTo>
                    <a:lnTo>
                      <a:pt x="7570" y="117908"/>
                    </a:lnTo>
                    <a:cubicBezTo>
                      <a:pt x="6763" y="118409"/>
                      <a:pt x="5873" y="118659"/>
                      <a:pt x="4955" y="118659"/>
                    </a:cubicBezTo>
                    <a:close/>
                  </a:path>
                </a:pathLst>
              </a:custGeom>
              <a:grpFill/>
              <a:ln w="2775" cap="flat">
                <a:noFill/>
                <a:prstDash val="solid"/>
                <a:miter/>
              </a:ln>
            </p:spPr>
            <p:txBody>
              <a:bodyPr rtlCol="0" anchor="ctr"/>
              <a:lstStyle/>
              <a:p>
                <a:endParaRPr lang="en-GB" dirty="0"/>
              </a:p>
            </p:txBody>
          </p:sp>
          <p:sp>
            <p:nvSpPr>
              <p:cNvPr id="1003" name="Freihandform: Form 1002">
                <a:extLst>
                  <a:ext uri="{FF2B5EF4-FFF2-40B4-BE49-F238E27FC236}">
                    <a16:creationId xmlns:a16="http://schemas.microsoft.com/office/drawing/2014/main" id="{54B3FFA1-8886-4AEA-B0DB-038171421AE1}"/>
                  </a:ext>
                </a:extLst>
              </p:cNvPr>
              <p:cNvSpPr/>
              <p:nvPr/>
            </p:nvSpPr>
            <p:spPr>
              <a:xfrm>
                <a:off x="8026580" y="3346963"/>
                <a:ext cx="181101" cy="117868"/>
              </a:xfrm>
              <a:custGeom>
                <a:avLst/>
                <a:gdLst>
                  <a:gd name="connsiteX0" fmla="*/ 176147 w 181101"/>
                  <a:gd name="connsiteY0" fmla="*/ 117868 h 117868"/>
                  <a:gd name="connsiteX1" fmla="*/ 173504 w 181101"/>
                  <a:gd name="connsiteY1" fmla="*/ 117117 h 117868"/>
                  <a:gd name="connsiteX2" fmla="*/ 2312 w 181101"/>
                  <a:gd name="connsiteY2" fmla="*/ 9155 h 117868"/>
                  <a:gd name="connsiteX3" fmla="*/ 754 w 181101"/>
                  <a:gd name="connsiteY3" fmla="*/ 2312 h 117868"/>
                  <a:gd name="connsiteX4" fmla="*/ 7598 w 181101"/>
                  <a:gd name="connsiteY4" fmla="*/ 754 h 117868"/>
                  <a:gd name="connsiteX5" fmla="*/ 178790 w 181101"/>
                  <a:gd name="connsiteY5" fmla="*/ 108716 h 117868"/>
                  <a:gd name="connsiteX6" fmla="*/ 180347 w 181101"/>
                  <a:gd name="connsiteY6" fmla="*/ 115559 h 117868"/>
                  <a:gd name="connsiteX7" fmla="*/ 176147 w 181101"/>
                  <a:gd name="connsiteY7" fmla="*/ 117868 h 11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101" h="117868">
                    <a:moveTo>
                      <a:pt x="176147" y="117868"/>
                    </a:moveTo>
                    <a:cubicBezTo>
                      <a:pt x="175257" y="117868"/>
                      <a:pt x="174339" y="117618"/>
                      <a:pt x="173504" y="117117"/>
                    </a:cubicBezTo>
                    <a:lnTo>
                      <a:pt x="2312" y="9155"/>
                    </a:lnTo>
                    <a:cubicBezTo>
                      <a:pt x="3" y="7681"/>
                      <a:pt x="-692" y="4621"/>
                      <a:pt x="754" y="2312"/>
                    </a:cubicBezTo>
                    <a:cubicBezTo>
                      <a:pt x="2201" y="3"/>
                      <a:pt x="5261" y="-692"/>
                      <a:pt x="7598" y="754"/>
                    </a:cubicBezTo>
                    <a:lnTo>
                      <a:pt x="178790" y="108716"/>
                    </a:lnTo>
                    <a:cubicBezTo>
                      <a:pt x="181098" y="110190"/>
                      <a:pt x="181794" y="113250"/>
                      <a:pt x="180347" y="115559"/>
                    </a:cubicBezTo>
                    <a:cubicBezTo>
                      <a:pt x="179429" y="117034"/>
                      <a:pt x="177816" y="117868"/>
                      <a:pt x="176147" y="117868"/>
                    </a:cubicBezTo>
                    <a:close/>
                  </a:path>
                </a:pathLst>
              </a:custGeom>
              <a:grpFill/>
              <a:ln w="2775" cap="flat">
                <a:noFill/>
                <a:prstDash val="solid"/>
                <a:miter/>
              </a:ln>
            </p:spPr>
            <p:txBody>
              <a:bodyPr rtlCol="0" anchor="ctr"/>
              <a:lstStyle/>
              <a:p>
                <a:endParaRPr lang="en-GB" dirty="0"/>
              </a:p>
            </p:txBody>
          </p:sp>
          <p:sp>
            <p:nvSpPr>
              <p:cNvPr id="1004" name="Freihandform: Form 1003">
                <a:extLst>
                  <a:ext uri="{FF2B5EF4-FFF2-40B4-BE49-F238E27FC236}">
                    <a16:creationId xmlns:a16="http://schemas.microsoft.com/office/drawing/2014/main" id="{46288AF8-AF7D-4EA8-ACE5-77E7E504B484}"/>
                  </a:ext>
                </a:extLst>
              </p:cNvPr>
              <p:cNvSpPr/>
              <p:nvPr/>
            </p:nvSpPr>
            <p:spPr>
              <a:xfrm>
                <a:off x="8211629" y="3518214"/>
                <a:ext cx="9903" cy="188077"/>
              </a:xfrm>
              <a:custGeom>
                <a:avLst/>
                <a:gdLst>
                  <a:gd name="connsiteX0" fmla="*/ 4952 w 9903"/>
                  <a:gd name="connsiteY0" fmla="*/ 188077 h 188077"/>
                  <a:gd name="connsiteX1" fmla="*/ 0 w 9903"/>
                  <a:gd name="connsiteY1" fmla="*/ 183126 h 188077"/>
                  <a:gd name="connsiteX2" fmla="*/ 0 w 9903"/>
                  <a:gd name="connsiteY2" fmla="*/ 4952 h 188077"/>
                  <a:gd name="connsiteX3" fmla="*/ 4952 w 9903"/>
                  <a:gd name="connsiteY3" fmla="*/ 0 h 188077"/>
                  <a:gd name="connsiteX4" fmla="*/ 9903 w 9903"/>
                  <a:gd name="connsiteY4" fmla="*/ 4952 h 188077"/>
                  <a:gd name="connsiteX5" fmla="*/ 9903 w 9903"/>
                  <a:gd name="connsiteY5" fmla="*/ 183126 h 188077"/>
                  <a:gd name="connsiteX6" fmla="*/ 4952 w 9903"/>
                  <a:gd name="connsiteY6" fmla="*/ 188077 h 188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88077">
                    <a:moveTo>
                      <a:pt x="4952" y="188077"/>
                    </a:moveTo>
                    <a:cubicBezTo>
                      <a:pt x="2225" y="188077"/>
                      <a:pt x="0" y="185852"/>
                      <a:pt x="0" y="183126"/>
                    </a:cubicBezTo>
                    <a:lnTo>
                      <a:pt x="0" y="4952"/>
                    </a:lnTo>
                    <a:cubicBezTo>
                      <a:pt x="0" y="2225"/>
                      <a:pt x="2225" y="0"/>
                      <a:pt x="4952" y="0"/>
                    </a:cubicBezTo>
                    <a:cubicBezTo>
                      <a:pt x="7678" y="0"/>
                      <a:pt x="9903" y="2225"/>
                      <a:pt x="9903" y="4952"/>
                    </a:cubicBezTo>
                    <a:lnTo>
                      <a:pt x="9903" y="183126"/>
                    </a:lnTo>
                    <a:cubicBezTo>
                      <a:pt x="9903" y="185852"/>
                      <a:pt x="7706" y="188077"/>
                      <a:pt x="4952" y="188077"/>
                    </a:cubicBezTo>
                    <a:close/>
                  </a:path>
                </a:pathLst>
              </a:custGeom>
              <a:grpFill/>
              <a:ln w="2775" cap="flat">
                <a:noFill/>
                <a:prstDash val="solid"/>
                <a:miter/>
              </a:ln>
            </p:spPr>
            <p:txBody>
              <a:bodyPr rtlCol="0" anchor="ctr"/>
              <a:lstStyle/>
              <a:p>
                <a:endParaRPr lang="en-GB" dirty="0"/>
              </a:p>
            </p:txBody>
          </p:sp>
          <p:sp>
            <p:nvSpPr>
              <p:cNvPr id="1005" name="Freihandform: Form 1004">
                <a:extLst>
                  <a:ext uri="{FF2B5EF4-FFF2-40B4-BE49-F238E27FC236}">
                    <a16:creationId xmlns:a16="http://schemas.microsoft.com/office/drawing/2014/main" id="{8E5551AD-CB24-42E9-899E-1750804230C5}"/>
                  </a:ext>
                </a:extLst>
              </p:cNvPr>
              <p:cNvSpPr/>
              <p:nvPr/>
            </p:nvSpPr>
            <p:spPr>
              <a:xfrm>
                <a:off x="7964522" y="3316923"/>
                <a:ext cx="70991" cy="70991"/>
              </a:xfrm>
              <a:custGeom>
                <a:avLst/>
                <a:gdLst>
                  <a:gd name="connsiteX0" fmla="*/ 35496 w 70991"/>
                  <a:gd name="connsiteY0" fmla="*/ 70991 h 70991"/>
                  <a:gd name="connsiteX1" fmla="*/ 0 w 70991"/>
                  <a:gd name="connsiteY1" fmla="*/ 35496 h 70991"/>
                  <a:gd name="connsiteX2" fmla="*/ 35496 w 70991"/>
                  <a:gd name="connsiteY2" fmla="*/ 0 h 70991"/>
                  <a:gd name="connsiteX3" fmla="*/ 70991 w 70991"/>
                  <a:gd name="connsiteY3" fmla="*/ 35496 h 70991"/>
                  <a:gd name="connsiteX4" fmla="*/ 35496 w 70991"/>
                  <a:gd name="connsiteY4" fmla="*/ 70991 h 70991"/>
                  <a:gd name="connsiteX5" fmla="*/ 35496 w 70991"/>
                  <a:gd name="connsiteY5" fmla="*/ 9903 h 70991"/>
                  <a:gd name="connsiteX6" fmla="*/ 9903 w 70991"/>
                  <a:gd name="connsiteY6" fmla="*/ 35496 h 70991"/>
                  <a:gd name="connsiteX7" fmla="*/ 35496 w 70991"/>
                  <a:gd name="connsiteY7" fmla="*/ 61088 h 70991"/>
                  <a:gd name="connsiteX8" fmla="*/ 61088 w 70991"/>
                  <a:gd name="connsiteY8" fmla="*/ 35496 h 70991"/>
                  <a:gd name="connsiteX9" fmla="*/ 35496 w 70991"/>
                  <a:gd name="connsiteY9" fmla="*/ 9903 h 7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991" h="70991">
                    <a:moveTo>
                      <a:pt x="35496" y="70991"/>
                    </a:moveTo>
                    <a:cubicBezTo>
                      <a:pt x="15940" y="70991"/>
                      <a:pt x="0" y="55080"/>
                      <a:pt x="0" y="35496"/>
                    </a:cubicBezTo>
                    <a:cubicBezTo>
                      <a:pt x="0" y="15940"/>
                      <a:pt x="15912" y="0"/>
                      <a:pt x="35496" y="0"/>
                    </a:cubicBezTo>
                    <a:cubicBezTo>
                      <a:pt x="55052" y="0"/>
                      <a:pt x="70991" y="15912"/>
                      <a:pt x="70991" y="35496"/>
                    </a:cubicBezTo>
                    <a:cubicBezTo>
                      <a:pt x="70991" y="55080"/>
                      <a:pt x="55080" y="70991"/>
                      <a:pt x="35496" y="70991"/>
                    </a:cubicBezTo>
                    <a:close/>
                    <a:moveTo>
                      <a:pt x="35496" y="9903"/>
                    </a:moveTo>
                    <a:cubicBezTo>
                      <a:pt x="21392" y="9903"/>
                      <a:pt x="9903" y="21392"/>
                      <a:pt x="9903" y="35496"/>
                    </a:cubicBezTo>
                    <a:cubicBezTo>
                      <a:pt x="9903" y="49599"/>
                      <a:pt x="21392" y="61088"/>
                      <a:pt x="35496" y="61088"/>
                    </a:cubicBezTo>
                    <a:cubicBezTo>
                      <a:pt x="49600" y="61088"/>
                      <a:pt x="61088" y="49599"/>
                      <a:pt x="61088" y="35496"/>
                    </a:cubicBezTo>
                    <a:cubicBezTo>
                      <a:pt x="61088" y="21392"/>
                      <a:pt x="49600" y="9903"/>
                      <a:pt x="35496" y="9903"/>
                    </a:cubicBezTo>
                    <a:close/>
                  </a:path>
                </a:pathLst>
              </a:custGeom>
              <a:grpFill/>
              <a:ln w="2775" cap="flat">
                <a:noFill/>
                <a:prstDash val="solid"/>
                <a:miter/>
              </a:ln>
            </p:spPr>
            <p:txBody>
              <a:bodyPr rtlCol="0" anchor="ctr"/>
              <a:lstStyle/>
              <a:p>
                <a:endParaRPr lang="en-GB" dirty="0"/>
              </a:p>
            </p:txBody>
          </p:sp>
          <p:sp>
            <p:nvSpPr>
              <p:cNvPr id="1006" name="Freihandform: Form 1005">
                <a:extLst>
                  <a:ext uri="{FF2B5EF4-FFF2-40B4-BE49-F238E27FC236}">
                    <a16:creationId xmlns:a16="http://schemas.microsoft.com/office/drawing/2014/main" id="{9698D951-21EB-41D7-A375-9DC05DEA638F}"/>
                  </a:ext>
                </a:extLst>
              </p:cNvPr>
              <p:cNvSpPr/>
              <p:nvPr/>
            </p:nvSpPr>
            <p:spPr>
              <a:xfrm>
                <a:off x="8180723" y="3453231"/>
                <a:ext cx="70991" cy="70991"/>
              </a:xfrm>
              <a:custGeom>
                <a:avLst/>
                <a:gdLst>
                  <a:gd name="connsiteX0" fmla="*/ 35496 w 70991"/>
                  <a:gd name="connsiteY0" fmla="*/ 70991 h 70991"/>
                  <a:gd name="connsiteX1" fmla="*/ 0 w 70991"/>
                  <a:gd name="connsiteY1" fmla="*/ 35496 h 70991"/>
                  <a:gd name="connsiteX2" fmla="*/ 35496 w 70991"/>
                  <a:gd name="connsiteY2" fmla="*/ 0 h 70991"/>
                  <a:gd name="connsiteX3" fmla="*/ 70991 w 70991"/>
                  <a:gd name="connsiteY3" fmla="*/ 35496 h 70991"/>
                  <a:gd name="connsiteX4" fmla="*/ 35496 w 70991"/>
                  <a:gd name="connsiteY4" fmla="*/ 70991 h 70991"/>
                  <a:gd name="connsiteX5" fmla="*/ 35496 w 70991"/>
                  <a:gd name="connsiteY5" fmla="*/ 9903 h 70991"/>
                  <a:gd name="connsiteX6" fmla="*/ 9903 w 70991"/>
                  <a:gd name="connsiteY6" fmla="*/ 35496 h 70991"/>
                  <a:gd name="connsiteX7" fmla="*/ 35496 w 70991"/>
                  <a:gd name="connsiteY7" fmla="*/ 61088 h 70991"/>
                  <a:gd name="connsiteX8" fmla="*/ 61088 w 70991"/>
                  <a:gd name="connsiteY8" fmla="*/ 35496 h 70991"/>
                  <a:gd name="connsiteX9" fmla="*/ 35496 w 70991"/>
                  <a:gd name="connsiteY9" fmla="*/ 9903 h 7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991" h="70991">
                    <a:moveTo>
                      <a:pt x="35496" y="70991"/>
                    </a:moveTo>
                    <a:cubicBezTo>
                      <a:pt x="15912" y="70991"/>
                      <a:pt x="0" y="55080"/>
                      <a:pt x="0" y="35496"/>
                    </a:cubicBezTo>
                    <a:cubicBezTo>
                      <a:pt x="0" y="15940"/>
                      <a:pt x="15912" y="0"/>
                      <a:pt x="35496" y="0"/>
                    </a:cubicBezTo>
                    <a:cubicBezTo>
                      <a:pt x="55052" y="0"/>
                      <a:pt x="70991" y="15912"/>
                      <a:pt x="70991" y="35496"/>
                    </a:cubicBezTo>
                    <a:cubicBezTo>
                      <a:pt x="70991" y="55052"/>
                      <a:pt x="55079" y="70991"/>
                      <a:pt x="35496" y="70991"/>
                    </a:cubicBezTo>
                    <a:close/>
                    <a:moveTo>
                      <a:pt x="35496" y="9903"/>
                    </a:moveTo>
                    <a:cubicBezTo>
                      <a:pt x="21392" y="9903"/>
                      <a:pt x="9903" y="21392"/>
                      <a:pt x="9903" y="35496"/>
                    </a:cubicBezTo>
                    <a:cubicBezTo>
                      <a:pt x="9903" y="49599"/>
                      <a:pt x="21392" y="61088"/>
                      <a:pt x="35496" y="61088"/>
                    </a:cubicBezTo>
                    <a:cubicBezTo>
                      <a:pt x="49599" y="61088"/>
                      <a:pt x="61088" y="49599"/>
                      <a:pt x="61088" y="35496"/>
                    </a:cubicBezTo>
                    <a:cubicBezTo>
                      <a:pt x="61088" y="21392"/>
                      <a:pt x="49599" y="9903"/>
                      <a:pt x="35496" y="9903"/>
                    </a:cubicBezTo>
                    <a:close/>
                  </a:path>
                </a:pathLst>
              </a:custGeom>
              <a:grpFill/>
              <a:ln w="2775" cap="flat">
                <a:noFill/>
                <a:prstDash val="solid"/>
                <a:miter/>
              </a:ln>
            </p:spPr>
            <p:txBody>
              <a:bodyPr rtlCol="0" anchor="ctr"/>
              <a:lstStyle/>
              <a:p>
                <a:endParaRPr lang="en-GB" dirty="0"/>
              </a:p>
            </p:txBody>
          </p:sp>
          <p:sp>
            <p:nvSpPr>
              <p:cNvPr id="1007" name="Freihandform: Form 1006">
                <a:extLst>
                  <a:ext uri="{FF2B5EF4-FFF2-40B4-BE49-F238E27FC236}">
                    <a16:creationId xmlns:a16="http://schemas.microsoft.com/office/drawing/2014/main" id="{B3B8D5AC-CED4-4A9B-A441-1DE6410BE123}"/>
                  </a:ext>
                </a:extLst>
              </p:cNvPr>
              <p:cNvSpPr/>
              <p:nvPr/>
            </p:nvSpPr>
            <p:spPr>
              <a:xfrm>
                <a:off x="7745010" y="3453231"/>
                <a:ext cx="70991" cy="70991"/>
              </a:xfrm>
              <a:custGeom>
                <a:avLst/>
                <a:gdLst>
                  <a:gd name="connsiteX0" fmla="*/ 35496 w 70991"/>
                  <a:gd name="connsiteY0" fmla="*/ 70991 h 70991"/>
                  <a:gd name="connsiteX1" fmla="*/ 0 w 70991"/>
                  <a:gd name="connsiteY1" fmla="*/ 35496 h 70991"/>
                  <a:gd name="connsiteX2" fmla="*/ 35496 w 70991"/>
                  <a:gd name="connsiteY2" fmla="*/ 0 h 70991"/>
                  <a:gd name="connsiteX3" fmla="*/ 70992 w 70991"/>
                  <a:gd name="connsiteY3" fmla="*/ 35496 h 70991"/>
                  <a:gd name="connsiteX4" fmla="*/ 35496 w 70991"/>
                  <a:gd name="connsiteY4" fmla="*/ 70991 h 70991"/>
                  <a:gd name="connsiteX5" fmla="*/ 35496 w 70991"/>
                  <a:gd name="connsiteY5" fmla="*/ 9903 h 70991"/>
                  <a:gd name="connsiteX6" fmla="*/ 9903 w 70991"/>
                  <a:gd name="connsiteY6" fmla="*/ 35496 h 70991"/>
                  <a:gd name="connsiteX7" fmla="*/ 35496 w 70991"/>
                  <a:gd name="connsiteY7" fmla="*/ 61088 h 70991"/>
                  <a:gd name="connsiteX8" fmla="*/ 61088 w 70991"/>
                  <a:gd name="connsiteY8" fmla="*/ 35496 h 70991"/>
                  <a:gd name="connsiteX9" fmla="*/ 35496 w 70991"/>
                  <a:gd name="connsiteY9" fmla="*/ 9903 h 7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991" h="70991">
                    <a:moveTo>
                      <a:pt x="35496" y="70991"/>
                    </a:moveTo>
                    <a:cubicBezTo>
                      <a:pt x="15912" y="70991"/>
                      <a:pt x="0" y="55080"/>
                      <a:pt x="0" y="35496"/>
                    </a:cubicBezTo>
                    <a:cubicBezTo>
                      <a:pt x="0" y="15940"/>
                      <a:pt x="15912" y="0"/>
                      <a:pt x="35496" y="0"/>
                    </a:cubicBezTo>
                    <a:cubicBezTo>
                      <a:pt x="55052" y="0"/>
                      <a:pt x="70992" y="15912"/>
                      <a:pt x="70992" y="35496"/>
                    </a:cubicBezTo>
                    <a:cubicBezTo>
                      <a:pt x="70964" y="55052"/>
                      <a:pt x="55052" y="70991"/>
                      <a:pt x="35496" y="70991"/>
                    </a:cubicBezTo>
                    <a:close/>
                    <a:moveTo>
                      <a:pt x="35496" y="9903"/>
                    </a:moveTo>
                    <a:cubicBezTo>
                      <a:pt x="21392" y="9903"/>
                      <a:pt x="9903" y="21392"/>
                      <a:pt x="9903" y="35496"/>
                    </a:cubicBezTo>
                    <a:cubicBezTo>
                      <a:pt x="9903" y="49599"/>
                      <a:pt x="21392" y="61088"/>
                      <a:pt x="35496" y="61088"/>
                    </a:cubicBezTo>
                    <a:cubicBezTo>
                      <a:pt x="49600" y="61088"/>
                      <a:pt x="61088" y="49599"/>
                      <a:pt x="61088" y="35496"/>
                    </a:cubicBezTo>
                    <a:cubicBezTo>
                      <a:pt x="61061" y="21392"/>
                      <a:pt x="49600" y="9903"/>
                      <a:pt x="35496" y="9903"/>
                    </a:cubicBezTo>
                    <a:close/>
                  </a:path>
                </a:pathLst>
              </a:custGeom>
              <a:grpFill/>
              <a:ln w="2775" cap="flat">
                <a:noFill/>
                <a:prstDash val="solid"/>
                <a:miter/>
              </a:ln>
            </p:spPr>
            <p:txBody>
              <a:bodyPr rtlCol="0" anchor="ctr"/>
              <a:lstStyle/>
              <a:p>
                <a:endParaRPr lang="en-GB" dirty="0"/>
              </a:p>
            </p:txBody>
          </p:sp>
          <p:sp>
            <p:nvSpPr>
              <p:cNvPr id="1008" name="Freihandform: Form 1007">
                <a:extLst>
                  <a:ext uri="{FF2B5EF4-FFF2-40B4-BE49-F238E27FC236}">
                    <a16:creationId xmlns:a16="http://schemas.microsoft.com/office/drawing/2014/main" id="{3B4A8341-157F-400D-9E3D-ABA64E4F7FB6}"/>
                  </a:ext>
                </a:extLst>
              </p:cNvPr>
              <p:cNvSpPr/>
              <p:nvPr/>
            </p:nvSpPr>
            <p:spPr>
              <a:xfrm>
                <a:off x="7745010" y="3699503"/>
                <a:ext cx="70991" cy="70991"/>
              </a:xfrm>
              <a:custGeom>
                <a:avLst/>
                <a:gdLst>
                  <a:gd name="connsiteX0" fmla="*/ 35496 w 70991"/>
                  <a:gd name="connsiteY0" fmla="*/ 70992 h 70991"/>
                  <a:gd name="connsiteX1" fmla="*/ 0 w 70991"/>
                  <a:gd name="connsiteY1" fmla="*/ 35496 h 70991"/>
                  <a:gd name="connsiteX2" fmla="*/ 35496 w 70991"/>
                  <a:gd name="connsiteY2" fmla="*/ 0 h 70991"/>
                  <a:gd name="connsiteX3" fmla="*/ 70992 w 70991"/>
                  <a:gd name="connsiteY3" fmla="*/ 35496 h 70991"/>
                  <a:gd name="connsiteX4" fmla="*/ 35496 w 70991"/>
                  <a:gd name="connsiteY4" fmla="*/ 70992 h 70991"/>
                  <a:gd name="connsiteX5" fmla="*/ 35496 w 70991"/>
                  <a:gd name="connsiteY5" fmla="*/ 9931 h 70991"/>
                  <a:gd name="connsiteX6" fmla="*/ 9903 w 70991"/>
                  <a:gd name="connsiteY6" fmla="*/ 35524 h 70991"/>
                  <a:gd name="connsiteX7" fmla="*/ 35496 w 70991"/>
                  <a:gd name="connsiteY7" fmla="*/ 61116 h 70991"/>
                  <a:gd name="connsiteX8" fmla="*/ 61088 w 70991"/>
                  <a:gd name="connsiteY8" fmla="*/ 35524 h 70991"/>
                  <a:gd name="connsiteX9" fmla="*/ 35496 w 70991"/>
                  <a:gd name="connsiteY9" fmla="*/ 9931 h 7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991" h="70991">
                    <a:moveTo>
                      <a:pt x="35496" y="70992"/>
                    </a:moveTo>
                    <a:cubicBezTo>
                      <a:pt x="15912" y="70992"/>
                      <a:pt x="0" y="55080"/>
                      <a:pt x="0" y="35496"/>
                    </a:cubicBezTo>
                    <a:cubicBezTo>
                      <a:pt x="0" y="15912"/>
                      <a:pt x="15912" y="0"/>
                      <a:pt x="35496" y="0"/>
                    </a:cubicBezTo>
                    <a:cubicBezTo>
                      <a:pt x="55052" y="0"/>
                      <a:pt x="70992" y="15912"/>
                      <a:pt x="70992" y="35496"/>
                    </a:cubicBezTo>
                    <a:cubicBezTo>
                      <a:pt x="70964" y="55080"/>
                      <a:pt x="55052" y="70992"/>
                      <a:pt x="35496" y="70992"/>
                    </a:cubicBezTo>
                    <a:close/>
                    <a:moveTo>
                      <a:pt x="35496" y="9931"/>
                    </a:moveTo>
                    <a:cubicBezTo>
                      <a:pt x="21392" y="9931"/>
                      <a:pt x="9903" y="21420"/>
                      <a:pt x="9903" y="35524"/>
                    </a:cubicBezTo>
                    <a:cubicBezTo>
                      <a:pt x="9903" y="49627"/>
                      <a:pt x="21392" y="61116"/>
                      <a:pt x="35496" y="61116"/>
                    </a:cubicBezTo>
                    <a:cubicBezTo>
                      <a:pt x="49600" y="61116"/>
                      <a:pt x="61088" y="49627"/>
                      <a:pt x="61088" y="35524"/>
                    </a:cubicBezTo>
                    <a:cubicBezTo>
                      <a:pt x="61061" y="21392"/>
                      <a:pt x="49600" y="9931"/>
                      <a:pt x="35496" y="9931"/>
                    </a:cubicBezTo>
                    <a:close/>
                  </a:path>
                </a:pathLst>
              </a:custGeom>
              <a:grpFill/>
              <a:ln w="2775" cap="flat">
                <a:noFill/>
                <a:prstDash val="solid"/>
                <a:miter/>
              </a:ln>
            </p:spPr>
            <p:txBody>
              <a:bodyPr rtlCol="0" anchor="ctr"/>
              <a:lstStyle/>
              <a:p>
                <a:endParaRPr lang="en-GB" dirty="0"/>
              </a:p>
            </p:txBody>
          </p:sp>
          <p:sp>
            <p:nvSpPr>
              <p:cNvPr id="1009" name="Freihandform: Form 1008">
                <a:extLst>
                  <a:ext uri="{FF2B5EF4-FFF2-40B4-BE49-F238E27FC236}">
                    <a16:creationId xmlns:a16="http://schemas.microsoft.com/office/drawing/2014/main" id="{B1257A46-D62D-42E5-83CF-C000D67C405F}"/>
                  </a:ext>
                </a:extLst>
              </p:cNvPr>
              <p:cNvSpPr/>
              <p:nvPr/>
            </p:nvSpPr>
            <p:spPr>
              <a:xfrm>
                <a:off x="8180723" y="3699142"/>
                <a:ext cx="70991" cy="70991"/>
              </a:xfrm>
              <a:custGeom>
                <a:avLst/>
                <a:gdLst>
                  <a:gd name="connsiteX0" fmla="*/ 35496 w 70991"/>
                  <a:gd name="connsiteY0" fmla="*/ 70992 h 70991"/>
                  <a:gd name="connsiteX1" fmla="*/ 0 w 70991"/>
                  <a:gd name="connsiteY1" fmla="*/ 35496 h 70991"/>
                  <a:gd name="connsiteX2" fmla="*/ 35496 w 70991"/>
                  <a:gd name="connsiteY2" fmla="*/ 0 h 70991"/>
                  <a:gd name="connsiteX3" fmla="*/ 70991 w 70991"/>
                  <a:gd name="connsiteY3" fmla="*/ 35496 h 70991"/>
                  <a:gd name="connsiteX4" fmla="*/ 35496 w 70991"/>
                  <a:gd name="connsiteY4" fmla="*/ 70992 h 70991"/>
                  <a:gd name="connsiteX5" fmla="*/ 35496 w 70991"/>
                  <a:gd name="connsiteY5" fmla="*/ 9903 h 70991"/>
                  <a:gd name="connsiteX6" fmla="*/ 9903 w 70991"/>
                  <a:gd name="connsiteY6" fmla="*/ 35496 h 70991"/>
                  <a:gd name="connsiteX7" fmla="*/ 35496 w 70991"/>
                  <a:gd name="connsiteY7" fmla="*/ 61088 h 70991"/>
                  <a:gd name="connsiteX8" fmla="*/ 61088 w 70991"/>
                  <a:gd name="connsiteY8" fmla="*/ 35496 h 70991"/>
                  <a:gd name="connsiteX9" fmla="*/ 35496 w 70991"/>
                  <a:gd name="connsiteY9" fmla="*/ 9903 h 70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991" h="70991">
                    <a:moveTo>
                      <a:pt x="35496" y="70992"/>
                    </a:moveTo>
                    <a:cubicBezTo>
                      <a:pt x="15912" y="70992"/>
                      <a:pt x="0" y="55080"/>
                      <a:pt x="0" y="35496"/>
                    </a:cubicBezTo>
                    <a:cubicBezTo>
                      <a:pt x="0" y="15940"/>
                      <a:pt x="15912" y="0"/>
                      <a:pt x="35496" y="0"/>
                    </a:cubicBezTo>
                    <a:cubicBezTo>
                      <a:pt x="55052" y="0"/>
                      <a:pt x="70991" y="15912"/>
                      <a:pt x="70991" y="35496"/>
                    </a:cubicBezTo>
                    <a:cubicBezTo>
                      <a:pt x="70991" y="55052"/>
                      <a:pt x="55079" y="70992"/>
                      <a:pt x="35496" y="70992"/>
                    </a:cubicBezTo>
                    <a:close/>
                    <a:moveTo>
                      <a:pt x="35496" y="9903"/>
                    </a:moveTo>
                    <a:cubicBezTo>
                      <a:pt x="21392" y="9903"/>
                      <a:pt x="9903" y="21392"/>
                      <a:pt x="9903" y="35496"/>
                    </a:cubicBezTo>
                    <a:cubicBezTo>
                      <a:pt x="9903" y="49600"/>
                      <a:pt x="21392" y="61088"/>
                      <a:pt x="35496" y="61088"/>
                    </a:cubicBezTo>
                    <a:cubicBezTo>
                      <a:pt x="49599" y="61088"/>
                      <a:pt x="61088" y="49600"/>
                      <a:pt x="61088" y="35496"/>
                    </a:cubicBezTo>
                    <a:cubicBezTo>
                      <a:pt x="61088" y="21392"/>
                      <a:pt x="49599" y="9903"/>
                      <a:pt x="35496" y="9903"/>
                    </a:cubicBezTo>
                    <a:close/>
                  </a:path>
                </a:pathLst>
              </a:custGeom>
              <a:grpFill/>
              <a:ln w="2775" cap="flat">
                <a:noFill/>
                <a:prstDash val="solid"/>
                <a:miter/>
              </a:ln>
            </p:spPr>
            <p:txBody>
              <a:bodyPr rtlCol="0" anchor="ctr"/>
              <a:lstStyle/>
              <a:p>
                <a:endParaRPr lang="en-GB" dirty="0"/>
              </a:p>
            </p:txBody>
          </p:sp>
        </p:grpSp>
      </p:grpSp>
      <p:sp>
        <p:nvSpPr>
          <p:cNvPr id="1021" name="TextBox 1427">
            <a:extLst>
              <a:ext uri="{FF2B5EF4-FFF2-40B4-BE49-F238E27FC236}">
                <a16:creationId xmlns:a16="http://schemas.microsoft.com/office/drawing/2014/main" id="{B18ECB63-647C-4EAE-AF60-06BF515C63F6}"/>
              </a:ext>
            </a:extLst>
          </p:cNvPr>
          <p:cNvSpPr txBox="1"/>
          <p:nvPr/>
        </p:nvSpPr>
        <p:spPr>
          <a:xfrm>
            <a:off x="7189522" y="3723675"/>
            <a:ext cx="229229" cy="107722"/>
          </a:xfrm>
          <a:prstGeom prst="rect">
            <a:avLst/>
          </a:prstGeom>
          <a:noFill/>
          <a:effectLst/>
        </p:spPr>
        <p:txBody>
          <a:bodyPr wrap="none" lIns="0" tIns="0" rIns="0" bIns="0" rtlCol="0" anchor="t" anchorCtr="0">
            <a:spAutoFit/>
          </a:bodyPr>
          <a:lstStyle/>
          <a:p>
            <a:pPr algn="ctr"/>
            <a:r>
              <a:rPr lang="en-GB" sz="700" dirty="0">
                <a:solidFill>
                  <a:schemeClr val="tx2"/>
                </a:solidFill>
              </a:rPr>
              <a:t>Team</a:t>
            </a:r>
          </a:p>
        </p:txBody>
      </p:sp>
      <p:sp>
        <p:nvSpPr>
          <p:cNvPr id="1022" name="TextBox 1425">
            <a:extLst>
              <a:ext uri="{FF2B5EF4-FFF2-40B4-BE49-F238E27FC236}">
                <a16:creationId xmlns:a16="http://schemas.microsoft.com/office/drawing/2014/main" id="{54BBE4B2-2015-4FA3-9229-7A9ADD4D80D1}"/>
              </a:ext>
            </a:extLst>
          </p:cNvPr>
          <p:cNvSpPr txBox="1"/>
          <p:nvPr/>
        </p:nvSpPr>
        <p:spPr>
          <a:xfrm>
            <a:off x="5051365" y="3723675"/>
            <a:ext cx="323807" cy="107722"/>
          </a:xfrm>
          <a:prstGeom prst="rect">
            <a:avLst/>
          </a:prstGeom>
          <a:noFill/>
          <a:effectLst/>
        </p:spPr>
        <p:txBody>
          <a:bodyPr wrap="none" lIns="0" tIns="0" rIns="0" bIns="0" rtlCol="0" anchor="t" anchorCtr="0">
            <a:spAutoFit/>
          </a:bodyPr>
          <a:lstStyle/>
          <a:p>
            <a:pPr algn="ctr"/>
            <a:r>
              <a:rPr lang="en-GB" sz="700" dirty="0">
                <a:solidFill>
                  <a:schemeClr val="tx2"/>
                </a:solidFill>
              </a:rPr>
              <a:t>Projects</a:t>
            </a:r>
          </a:p>
        </p:txBody>
      </p:sp>
      <p:sp>
        <p:nvSpPr>
          <p:cNvPr id="1023" name="TextBox 1428">
            <a:extLst>
              <a:ext uri="{FF2B5EF4-FFF2-40B4-BE49-F238E27FC236}">
                <a16:creationId xmlns:a16="http://schemas.microsoft.com/office/drawing/2014/main" id="{59CC32D2-3876-4A23-BA56-A43A483B6710}"/>
              </a:ext>
            </a:extLst>
          </p:cNvPr>
          <p:cNvSpPr txBox="1"/>
          <p:nvPr/>
        </p:nvSpPr>
        <p:spPr>
          <a:xfrm>
            <a:off x="6099204" y="3723675"/>
            <a:ext cx="318997" cy="107722"/>
          </a:xfrm>
          <a:prstGeom prst="rect">
            <a:avLst/>
          </a:prstGeom>
          <a:noFill/>
          <a:effectLst/>
        </p:spPr>
        <p:txBody>
          <a:bodyPr wrap="none" lIns="0" tIns="0" rIns="0" bIns="0" rtlCol="0" anchor="t" anchorCtr="0">
            <a:spAutoFit/>
          </a:bodyPr>
          <a:lstStyle/>
          <a:p>
            <a:pPr algn="ctr"/>
            <a:r>
              <a:rPr lang="en-GB" sz="700" dirty="0">
                <a:solidFill>
                  <a:schemeClr val="tx2"/>
                </a:solidFill>
              </a:rPr>
              <a:t>Careers</a:t>
            </a:r>
          </a:p>
        </p:txBody>
      </p:sp>
      <p:sp>
        <p:nvSpPr>
          <p:cNvPr id="1024" name="TextBox 1426">
            <a:extLst>
              <a:ext uri="{FF2B5EF4-FFF2-40B4-BE49-F238E27FC236}">
                <a16:creationId xmlns:a16="http://schemas.microsoft.com/office/drawing/2014/main" id="{4508FE87-B588-4838-9A9F-208F2E59654A}"/>
              </a:ext>
            </a:extLst>
          </p:cNvPr>
          <p:cNvSpPr txBox="1"/>
          <p:nvPr/>
        </p:nvSpPr>
        <p:spPr>
          <a:xfrm>
            <a:off x="8171147" y="3723675"/>
            <a:ext cx="343043" cy="107722"/>
          </a:xfrm>
          <a:prstGeom prst="rect">
            <a:avLst/>
          </a:prstGeom>
          <a:noFill/>
          <a:effectLst/>
        </p:spPr>
        <p:txBody>
          <a:bodyPr wrap="none" lIns="0" tIns="0" rIns="0" bIns="0" rtlCol="0" anchor="t" anchorCtr="0">
            <a:spAutoFit/>
          </a:bodyPr>
          <a:lstStyle/>
          <a:p>
            <a:pPr algn="ctr"/>
            <a:r>
              <a:rPr lang="en-GB" sz="700" dirty="0">
                <a:solidFill>
                  <a:schemeClr val="tx2"/>
                </a:solidFill>
              </a:rPr>
              <a:t>Services</a:t>
            </a:r>
          </a:p>
        </p:txBody>
      </p:sp>
      <p:grpSp>
        <p:nvGrpSpPr>
          <p:cNvPr id="1025" name="Group 752">
            <a:extLst>
              <a:ext uri="{FF2B5EF4-FFF2-40B4-BE49-F238E27FC236}">
                <a16:creationId xmlns:a16="http://schemas.microsoft.com/office/drawing/2014/main" id="{DB6614DF-B585-4667-AEB1-84B28629A9AA}"/>
              </a:ext>
            </a:extLst>
          </p:cNvPr>
          <p:cNvGrpSpPr>
            <a:grpSpLocks noChangeAspect="1"/>
          </p:cNvGrpSpPr>
          <p:nvPr/>
        </p:nvGrpSpPr>
        <p:grpSpPr>
          <a:xfrm>
            <a:off x="4943268" y="4193952"/>
            <a:ext cx="540000" cy="315424"/>
            <a:chOff x="5267749" y="4253562"/>
            <a:chExt cx="499554" cy="291798"/>
          </a:xfrm>
        </p:grpSpPr>
        <p:grpSp>
          <p:nvGrpSpPr>
            <p:cNvPr id="1026" name="Group 750">
              <a:extLst>
                <a:ext uri="{FF2B5EF4-FFF2-40B4-BE49-F238E27FC236}">
                  <a16:creationId xmlns:a16="http://schemas.microsoft.com/office/drawing/2014/main" id="{C30B968D-D899-4AD6-9F9D-F0FC0820B576}"/>
                </a:ext>
              </a:extLst>
            </p:cNvPr>
            <p:cNvGrpSpPr/>
            <p:nvPr/>
          </p:nvGrpSpPr>
          <p:grpSpPr>
            <a:xfrm>
              <a:off x="5374078" y="4253562"/>
              <a:ext cx="273645" cy="291798"/>
              <a:chOff x="5374078" y="4253567"/>
              <a:chExt cx="273645" cy="291798"/>
            </a:xfrm>
          </p:grpSpPr>
          <p:sp>
            <p:nvSpPr>
              <p:cNvPr id="1033" name="Freihandform: Form 1032">
                <a:extLst>
                  <a:ext uri="{FF2B5EF4-FFF2-40B4-BE49-F238E27FC236}">
                    <a16:creationId xmlns:a16="http://schemas.microsoft.com/office/drawing/2014/main" id="{193DCFC7-1E6B-4C4F-B187-627C160A6EC5}"/>
                  </a:ext>
                </a:extLst>
              </p:cNvPr>
              <p:cNvSpPr/>
              <p:nvPr/>
            </p:nvSpPr>
            <p:spPr>
              <a:xfrm>
                <a:off x="5374078" y="4253567"/>
                <a:ext cx="273645" cy="291798"/>
              </a:xfrm>
              <a:custGeom>
                <a:avLst/>
                <a:gdLst>
                  <a:gd name="connsiteX0" fmla="*/ 145994 w 273645"/>
                  <a:gd name="connsiteY0" fmla="*/ 291798 h 291798"/>
                  <a:gd name="connsiteX1" fmla="*/ 130193 w 273645"/>
                  <a:gd name="connsiteY1" fmla="*/ 290936 h 291798"/>
                  <a:gd name="connsiteX2" fmla="*/ 32246 w 273645"/>
                  <a:gd name="connsiteY2" fmla="*/ 237331 h 291798"/>
                  <a:gd name="connsiteX3" fmla="*/ 867 w 273645"/>
                  <a:gd name="connsiteY3" fmla="*/ 130176 h 291798"/>
                  <a:gd name="connsiteX4" fmla="*/ 161627 w 273645"/>
                  <a:gd name="connsiteY4" fmla="*/ 850 h 291798"/>
                  <a:gd name="connsiteX5" fmla="*/ 238600 w 273645"/>
                  <a:gd name="connsiteY5" fmla="*/ 33202 h 291798"/>
                  <a:gd name="connsiteX6" fmla="*/ 239267 w 273645"/>
                  <a:gd name="connsiteY6" fmla="*/ 40185 h 291798"/>
                  <a:gd name="connsiteX7" fmla="*/ 232285 w 273645"/>
                  <a:gd name="connsiteY7" fmla="*/ 40852 h 291798"/>
                  <a:gd name="connsiteX8" fmla="*/ 160542 w 273645"/>
                  <a:gd name="connsiteY8" fmla="*/ 10698 h 291798"/>
                  <a:gd name="connsiteX9" fmla="*/ 60648 w 273645"/>
                  <a:gd name="connsiteY9" fmla="*/ 39934 h 291798"/>
                  <a:gd name="connsiteX10" fmla="*/ 10687 w 273645"/>
                  <a:gd name="connsiteY10" fmla="*/ 131233 h 291798"/>
                  <a:gd name="connsiteX11" fmla="*/ 39924 w 273645"/>
                  <a:gd name="connsiteY11" fmla="*/ 231127 h 291798"/>
                  <a:gd name="connsiteX12" fmla="*/ 131222 w 273645"/>
                  <a:gd name="connsiteY12" fmla="*/ 281088 h 291798"/>
                  <a:gd name="connsiteX13" fmla="*/ 264387 w 273645"/>
                  <a:gd name="connsiteY13" fmla="*/ 212628 h 291798"/>
                  <a:gd name="connsiteX14" fmla="*/ 271119 w 273645"/>
                  <a:gd name="connsiteY14" fmla="*/ 210737 h 291798"/>
                  <a:gd name="connsiteX15" fmla="*/ 273011 w 273645"/>
                  <a:gd name="connsiteY15" fmla="*/ 217469 h 291798"/>
                  <a:gd name="connsiteX16" fmla="*/ 145994 w 273645"/>
                  <a:gd name="connsiteY16" fmla="*/ 291798 h 291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3645" h="291798">
                    <a:moveTo>
                      <a:pt x="145994" y="291798"/>
                    </a:moveTo>
                    <a:cubicBezTo>
                      <a:pt x="140764" y="291798"/>
                      <a:pt x="135478" y="291520"/>
                      <a:pt x="130193" y="290936"/>
                    </a:cubicBezTo>
                    <a:cubicBezTo>
                      <a:pt x="91443" y="286735"/>
                      <a:pt x="56670" y="267708"/>
                      <a:pt x="32246" y="237331"/>
                    </a:cubicBezTo>
                    <a:cubicBezTo>
                      <a:pt x="7822" y="206981"/>
                      <a:pt x="-3333" y="168926"/>
                      <a:pt x="867" y="130176"/>
                    </a:cubicBezTo>
                    <a:cubicBezTo>
                      <a:pt x="9519" y="50199"/>
                      <a:pt x="81706" y="-7774"/>
                      <a:pt x="161627" y="850"/>
                    </a:cubicBezTo>
                    <a:cubicBezTo>
                      <a:pt x="190029" y="3938"/>
                      <a:pt x="216651" y="15121"/>
                      <a:pt x="238600" y="33202"/>
                    </a:cubicBezTo>
                    <a:cubicBezTo>
                      <a:pt x="240714" y="34955"/>
                      <a:pt x="241020" y="38070"/>
                      <a:pt x="239267" y="40185"/>
                    </a:cubicBezTo>
                    <a:cubicBezTo>
                      <a:pt x="237515" y="42299"/>
                      <a:pt x="234399" y="42605"/>
                      <a:pt x="232285" y="40852"/>
                    </a:cubicBezTo>
                    <a:cubicBezTo>
                      <a:pt x="211839" y="23994"/>
                      <a:pt x="187025" y="13563"/>
                      <a:pt x="160542" y="10698"/>
                    </a:cubicBezTo>
                    <a:cubicBezTo>
                      <a:pt x="124407" y="6775"/>
                      <a:pt x="88967" y="17179"/>
                      <a:pt x="60648" y="39934"/>
                    </a:cubicBezTo>
                    <a:cubicBezTo>
                      <a:pt x="32357" y="62717"/>
                      <a:pt x="14609" y="95125"/>
                      <a:pt x="10687" y="131233"/>
                    </a:cubicBezTo>
                    <a:cubicBezTo>
                      <a:pt x="6765" y="167341"/>
                      <a:pt x="17169" y="202809"/>
                      <a:pt x="39924" y="231127"/>
                    </a:cubicBezTo>
                    <a:cubicBezTo>
                      <a:pt x="62679" y="259418"/>
                      <a:pt x="95115" y="277166"/>
                      <a:pt x="131222" y="281088"/>
                    </a:cubicBezTo>
                    <a:cubicBezTo>
                      <a:pt x="185412" y="286958"/>
                      <a:pt x="237654" y="260086"/>
                      <a:pt x="264387" y="212628"/>
                    </a:cubicBezTo>
                    <a:cubicBezTo>
                      <a:pt x="265722" y="210236"/>
                      <a:pt x="268754" y="209401"/>
                      <a:pt x="271119" y="210737"/>
                    </a:cubicBezTo>
                    <a:cubicBezTo>
                      <a:pt x="273511" y="212072"/>
                      <a:pt x="274346" y="215104"/>
                      <a:pt x="273011" y="217469"/>
                    </a:cubicBezTo>
                    <a:cubicBezTo>
                      <a:pt x="246973" y="263786"/>
                      <a:pt x="198264" y="291798"/>
                      <a:pt x="145994" y="291798"/>
                    </a:cubicBezTo>
                    <a:close/>
                  </a:path>
                </a:pathLst>
              </a:custGeom>
              <a:solidFill>
                <a:schemeClr val="accent1"/>
              </a:solidFill>
              <a:ln w="2775" cap="flat">
                <a:noFill/>
                <a:prstDash val="solid"/>
                <a:miter/>
              </a:ln>
            </p:spPr>
            <p:txBody>
              <a:bodyPr rtlCol="0" anchor="ctr"/>
              <a:lstStyle/>
              <a:p>
                <a:endParaRPr lang="en-GB" dirty="0"/>
              </a:p>
            </p:txBody>
          </p:sp>
          <p:sp>
            <p:nvSpPr>
              <p:cNvPr id="1034" name="Freihandform: Form 1033">
                <a:extLst>
                  <a:ext uri="{FF2B5EF4-FFF2-40B4-BE49-F238E27FC236}">
                    <a16:creationId xmlns:a16="http://schemas.microsoft.com/office/drawing/2014/main" id="{6A70F4DD-FDCD-4F04-A5BB-662EAAF24428}"/>
                  </a:ext>
                </a:extLst>
              </p:cNvPr>
              <p:cNvSpPr/>
              <p:nvPr/>
            </p:nvSpPr>
            <p:spPr>
              <a:xfrm>
                <a:off x="5618707" y="4298417"/>
                <a:ext cx="23113" cy="26601"/>
              </a:xfrm>
              <a:custGeom>
                <a:avLst/>
                <a:gdLst>
                  <a:gd name="connsiteX0" fmla="*/ 18173 w 23113"/>
                  <a:gd name="connsiteY0" fmla="*/ 26602 h 26601"/>
                  <a:gd name="connsiteX1" fmla="*/ 14056 w 23113"/>
                  <a:gd name="connsiteY1" fmla="*/ 24432 h 26601"/>
                  <a:gd name="connsiteX2" fmla="*/ 1315 w 23113"/>
                  <a:gd name="connsiteY2" fmla="*/ 8325 h 26601"/>
                  <a:gd name="connsiteX3" fmla="*/ 1593 w 23113"/>
                  <a:gd name="connsiteY3" fmla="*/ 1315 h 26601"/>
                  <a:gd name="connsiteX4" fmla="*/ 8603 w 23113"/>
                  <a:gd name="connsiteY4" fmla="*/ 1593 h 26601"/>
                  <a:gd name="connsiteX5" fmla="*/ 22262 w 23113"/>
                  <a:gd name="connsiteY5" fmla="*/ 18868 h 26601"/>
                  <a:gd name="connsiteX6" fmla="*/ 20927 w 23113"/>
                  <a:gd name="connsiteY6" fmla="*/ 25739 h 26601"/>
                  <a:gd name="connsiteX7" fmla="*/ 18173 w 23113"/>
                  <a:gd name="connsiteY7" fmla="*/ 26602 h 26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13" h="26601">
                    <a:moveTo>
                      <a:pt x="18173" y="26602"/>
                    </a:moveTo>
                    <a:cubicBezTo>
                      <a:pt x="16587" y="26602"/>
                      <a:pt x="15029" y="25851"/>
                      <a:pt x="14056" y="24432"/>
                    </a:cubicBezTo>
                    <a:cubicBezTo>
                      <a:pt x="10245" y="18757"/>
                      <a:pt x="5933" y="13360"/>
                      <a:pt x="1315" y="8325"/>
                    </a:cubicBezTo>
                    <a:cubicBezTo>
                      <a:pt x="-549" y="6322"/>
                      <a:pt x="-410" y="3179"/>
                      <a:pt x="1593" y="1315"/>
                    </a:cubicBezTo>
                    <a:cubicBezTo>
                      <a:pt x="3596" y="-549"/>
                      <a:pt x="6740" y="-410"/>
                      <a:pt x="8603" y="1593"/>
                    </a:cubicBezTo>
                    <a:cubicBezTo>
                      <a:pt x="13583" y="6990"/>
                      <a:pt x="18173" y="12804"/>
                      <a:pt x="22262" y="18868"/>
                    </a:cubicBezTo>
                    <a:cubicBezTo>
                      <a:pt x="23792" y="21149"/>
                      <a:pt x="23208" y="24209"/>
                      <a:pt x="20927" y="25739"/>
                    </a:cubicBezTo>
                    <a:cubicBezTo>
                      <a:pt x="20092" y="26323"/>
                      <a:pt x="19119" y="26602"/>
                      <a:pt x="18173" y="26602"/>
                    </a:cubicBezTo>
                    <a:close/>
                  </a:path>
                </a:pathLst>
              </a:custGeom>
              <a:solidFill>
                <a:schemeClr val="accent1"/>
              </a:solidFill>
              <a:ln w="2775" cap="flat">
                <a:noFill/>
                <a:prstDash val="solid"/>
                <a:miter/>
              </a:ln>
            </p:spPr>
            <p:txBody>
              <a:bodyPr rtlCol="0" anchor="ctr"/>
              <a:lstStyle/>
              <a:p>
                <a:endParaRPr lang="en-GB" dirty="0"/>
              </a:p>
            </p:txBody>
          </p:sp>
          <p:sp>
            <p:nvSpPr>
              <p:cNvPr id="1035" name="Freihandform: Form 1034">
                <a:extLst>
                  <a:ext uri="{FF2B5EF4-FFF2-40B4-BE49-F238E27FC236}">
                    <a16:creationId xmlns:a16="http://schemas.microsoft.com/office/drawing/2014/main" id="{56456011-DD80-4DD4-AEEF-95C1288D39C0}"/>
                  </a:ext>
                </a:extLst>
              </p:cNvPr>
              <p:cNvSpPr/>
              <p:nvPr/>
            </p:nvSpPr>
            <p:spPr>
              <a:xfrm>
                <a:off x="5472114" y="4340421"/>
                <a:ext cx="115694" cy="115676"/>
              </a:xfrm>
              <a:custGeom>
                <a:avLst/>
                <a:gdLst>
                  <a:gd name="connsiteX0" fmla="*/ 15550 w 115694"/>
                  <a:gd name="connsiteY0" fmla="*/ 115676 h 115676"/>
                  <a:gd name="connsiteX1" fmla="*/ 7372 w 115694"/>
                  <a:gd name="connsiteY1" fmla="*/ 113339 h 115676"/>
                  <a:gd name="connsiteX2" fmla="*/ 0 w 115694"/>
                  <a:gd name="connsiteY2" fmla="*/ 100098 h 115676"/>
                  <a:gd name="connsiteX3" fmla="*/ 0 w 115694"/>
                  <a:gd name="connsiteY3" fmla="*/ 15587 h 115676"/>
                  <a:gd name="connsiteX4" fmla="*/ 7400 w 115694"/>
                  <a:gd name="connsiteY4" fmla="*/ 2346 h 115676"/>
                  <a:gd name="connsiteX5" fmla="*/ 22560 w 115694"/>
                  <a:gd name="connsiteY5" fmla="*/ 1650 h 115676"/>
                  <a:gd name="connsiteX6" fmla="*/ 107071 w 115694"/>
                  <a:gd name="connsiteY6" fmla="*/ 43906 h 115676"/>
                  <a:gd name="connsiteX7" fmla="*/ 115695 w 115694"/>
                  <a:gd name="connsiteY7" fmla="*/ 57843 h 115676"/>
                  <a:gd name="connsiteX8" fmla="*/ 107071 w 115694"/>
                  <a:gd name="connsiteY8" fmla="*/ 71751 h 115676"/>
                  <a:gd name="connsiteX9" fmla="*/ 22560 w 115694"/>
                  <a:gd name="connsiteY9" fmla="*/ 114007 h 115676"/>
                  <a:gd name="connsiteX10" fmla="*/ 15550 w 115694"/>
                  <a:gd name="connsiteY10" fmla="*/ 115676 h 115676"/>
                  <a:gd name="connsiteX11" fmla="*/ 15550 w 115694"/>
                  <a:gd name="connsiteY11" fmla="*/ 9912 h 115676"/>
                  <a:gd name="connsiteX12" fmla="*/ 12574 w 115694"/>
                  <a:gd name="connsiteY12" fmla="*/ 10775 h 115676"/>
                  <a:gd name="connsiteX13" fmla="*/ 9875 w 115694"/>
                  <a:gd name="connsiteY13" fmla="*/ 15587 h 115676"/>
                  <a:gd name="connsiteX14" fmla="*/ 9875 w 115694"/>
                  <a:gd name="connsiteY14" fmla="*/ 100098 h 115676"/>
                  <a:gd name="connsiteX15" fmla="*/ 12574 w 115694"/>
                  <a:gd name="connsiteY15" fmla="*/ 104910 h 115676"/>
                  <a:gd name="connsiteX16" fmla="*/ 18082 w 115694"/>
                  <a:gd name="connsiteY16" fmla="*/ 105161 h 115676"/>
                  <a:gd name="connsiteX17" fmla="*/ 102593 w 115694"/>
                  <a:gd name="connsiteY17" fmla="*/ 62905 h 115676"/>
                  <a:gd name="connsiteX18" fmla="*/ 105736 w 115694"/>
                  <a:gd name="connsiteY18" fmla="*/ 57843 h 115676"/>
                  <a:gd name="connsiteX19" fmla="*/ 102593 w 115694"/>
                  <a:gd name="connsiteY19" fmla="*/ 52780 h 115676"/>
                  <a:gd name="connsiteX20" fmla="*/ 18082 w 115694"/>
                  <a:gd name="connsiteY20" fmla="*/ 10524 h 115676"/>
                  <a:gd name="connsiteX21" fmla="*/ 15550 w 115694"/>
                  <a:gd name="connsiteY21" fmla="*/ 9912 h 11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5694" h="115676">
                    <a:moveTo>
                      <a:pt x="15550" y="115676"/>
                    </a:moveTo>
                    <a:cubicBezTo>
                      <a:pt x="12713" y="115676"/>
                      <a:pt x="9875" y="114897"/>
                      <a:pt x="7372" y="113339"/>
                    </a:cubicBezTo>
                    <a:cubicBezTo>
                      <a:pt x="2754" y="110474"/>
                      <a:pt x="0" y="105523"/>
                      <a:pt x="0" y="100098"/>
                    </a:cubicBezTo>
                    <a:lnTo>
                      <a:pt x="0" y="15587"/>
                    </a:lnTo>
                    <a:cubicBezTo>
                      <a:pt x="0" y="10162"/>
                      <a:pt x="2754" y="5211"/>
                      <a:pt x="7400" y="2346"/>
                    </a:cubicBezTo>
                    <a:cubicBezTo>
                      <a:pt x="12017" y="-520"/>
                      <a:pt x="17692" y="-770"/>
                      <a:pt x="22560" y="1650"/>
                    </a:cubicBezTo>
                    <a:lnTo>
                      <a:pt x="107071" y="43906"/>
                    </a:lnTo>
                    <a:cubicBezTo>
                      <a:pt x="112385" y="46576"/>
                      <a:pt x="115695" y="51917"/>
                      <a:pt x="115695" y="57843"/>
                    </a:cubicBezTo>
                    <a:cubicBezTo>
                      <a:pt x="115695" y="63768"/>
                      <a:pt x="112385" y="69109"/>
                      <a:pt x="107071" y="71751"/>
                    </a:cubicBezTo>
                    <a:lnTo>
                      <a:pt x="22560" y="114007"/>
                    </a:lnTo>
                    <a:cubicBezTo>
                      <a:pt x="20307" y="115120"/>
                      <a:pt x="17915" y="115676"/>
                      <a:pt x="15550" y="115676"/>
                    </a:cubicBezTo>
                    <a:close/>
                    <a:moveTo>
                      <a:pt x="15550" y="9912"/>
                    </a:moveTo>
                    <a:cubicBezTo>
                      <a:pt x="14521" y="9912"/>
                      <a:pt x="13520" y="10190"/>
                      <a:pt x="12574" y="10775"/>
                    </a:cubicBezTo>
                    <a:cubicBezTo>
                      <a:pt x="10877" y="11832"/>
                      <a:pt x="9875" y="13584"/>
                      <a:pt x="9875" y="15587"/>
                    </a:cubicBezTo>
                    <a:lnTo>
                      <a:pt x="9875" y="100098"/>
                    </a:lnTo>
                    <a:cubicBezTo>
                      <a:pt x="9875" y="102101"/>
                      <a:pt x="10849" y="103854"/>
                      <a:pt x="12574" y="104910"/>
                    </a:cubicBezTo>
                    <a:cubicBezTo>
                      <a:pt x="14271" y="105968"/>
                      <a:pt x="16301" y="106051"/>
                      <a:pt x="18082" y="105161"/>
                    </a:cubicBezTo>
                    <a:lnTo>
                      <a:pt x="102593" y="62905"/>
                    </a:lnTo>
                    <a:cubicBezTo>
                      <a:pt x="104568" y="61932"/>
                      <a:pt x="105736" y="60040"/>
                      <a:pt x="105736" y="57843"/>
                    </a:cubicBezTo>
                    <a:cubicBezTo>
                      <a:pt x="105736" y="55645"/>
                      <a:pt x="104568" y="53753"/>
                      <a:pt x="102593" y="52780"/>
                    </a:cubicBezTo>
                    <a:lnTo>
                      <a:pt x="18082" y="10524"/>
                    </a:lnTo>
                    <a:cubicBezTo>
                      <a:pt x="17275" y="10107"/>
                      <a:pt x="16413" y="9912"/>
                      <a:pt x="15550" y="9912"/>
                    </a:cubicBezTo>
                    <a:close/>
                  </a:path>
                </a:pathLst>
              </a:custGeom>
              <a:solidFill>
                <a:schemeClr val="accent1"/>
              </a:solidFill>
              <a:ln w="2775" cap="flat">
                <a:noFill/>
                <a:prstDash val="solid"/>
                <a:miter/>
              </a:ln>
            </p:spPr>
            <p:txBody>
              <a:bodyPr rtlCol="0" anchor="ctr"/>
              <a:lstStyle/>
              <a:p>
                <a:endParaRPr lang="en-GB" dirty="0"/>
              </a:p>
            </p:txBody>
          </p:sp>
        </p:grpSp>
        <p:grpSp>
          <p:nvGrpSpPr>
            <p:cNvPr id="1027" name="Group 751">
              <a:extLst>
                <a:ext uri="{FF2B5EF4-FFF2-40B4-BE49-F238E27FC236}">
                  <a16:creationId xmlns:a16="http://schemas.microsoft.com/office/drawing/2014/main" id="{F6FCFAAD-B066-454E-A7C5-F39469C73FB5}"/>
                </a:ext>
              </a:extLst>
            </p:cNvPr>
            <p:cNvGrpSpPr/>
            <p:nvPr/>
          </p:nvGrpSpPr>
          <p:grpSpPr>
            <a:xfrm>
              <a:off x="5267749" y="4274135"/>
              <a:ext cx="499554" cy="250394"/>
              <a:chOff x="5267749" y="4274135"/>
              <a:chExt cx="499554" cy="250394"/>
            </a:xfrm>
          </p:grpSpPr>
          <p:sp>
            <p:nvSpPr>
              <p:cNvPr id="1028" name="Freihandform: Form 1027">
                <a:extLst>
                  <a:ext uri="{FF2B5EF4-FFF2-40B4-BE49-F238E27FC236}">
                    <a16:creationId xmlns:a16="http://schemas.microsoft.com/office/drawing/2014/main" id="{2BF8506D-9EC5-4C1A-9132-B166944F85C6}"/>
                  </a:ext>
                </a:extLst>
              </p:cNvPr>
              <p:cNvSpPr/>
              <p:nvPr/>
            </p:nvSpPr>
            <p:spPr>
              <a:xfrm>
                <a:off x="5434502" y="4291637"/>
                <a:ext cx="160680" cy="49126"/>
              </a:xfrm>
              <a:custGeom>
                <a:avLst/>
                <a:gdLst>
                  <a:gd name="connsiteX0" fmla="*/ 4953 w 160680"/>
                  <a:gd name="connsiteY0" fmla="*/ 49127 h 49126"/>
                  <a:gd name="connsiteX1" fmla="*/ 1893 w 160680"/>
                  <a:gd name="connsiteY1" fmla="*/ 48070 h 49126"/>
                  <a:gd name="connsiteX2" fmla="*/ 1059 w 160680"/>
                  <a:gd name="connsiteY2" fmla="*/ 41115 h 49126"/>
                  <a:gd name="connsiteX3" fmla="*/ 85486 w 160680"/>
                  <a:gd name="connsiteY3" fmla="*/ 0 h 49126"/>
                  <a:gd name="connsiteX4" fmla="*/ 159121 w 160680"/>
                  <a:gd name="connsiteY4" fmla="*/ 29265 h 49126"/>
                  <a:gd name="connsiteX5" fmla="*/ 159315 w 160680"/>
                  <a:gd name="connsiteY5" fmla="*/ 36275 h 49126"/>
                  <a:gd name="connsiteX6" fmla="*/ 152305 w 160680"/>
                  <a:gd name="connsiteY6" fmla="*/ 36470 h 49126"/>
                  <a:gd name="connsiteX7" fmla="*/ 85486 w 160680"/>
                  <a:gd name="connsiteY7" fmla="*/ 9903 h 49126"/>
                  <a:gd name="connsiteX8" fmla="*/ 8848 w 160680"/>
                  <a:gd name="connsiteY8" fmla="*/ 47235 h 49126"/>
                  <a:gd name="connsiteX9" fmla="*/ 4953 w 160680"/>
                  <a:gd name="connsiteY9" fmla="*/ 49127 h 4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0680" h="49126">
                    <a:moveTo>
                      <a:pt x="4953" y="49127"/>
                    </a:moveTo>
                    <a:cubicBezTo>
                      <a:pt x="3896" y="49127"/>
                      <a:pt x="2811" y="48793"/>
                      <a:pt x="1893" y="48070"/>
                    </a:cubicBezTo>
                    <a:cubicBezTo>
                      <a:pt x="-249" y="46373"/>
                      <a:pt x="-638" y="43285"/>
                      <a:pt x="1059" y="41115"/>
                    </a:cubicBezTo>
                    <a:cubicBezTo>
                      <a:pt x="21561" y="14994"/>
                      <a:pt x="52327" y="0"/>
                      <a:pt x="85486" y="0"/>
                    </a:cubicBezTo>
                    <a:cubicBezTo>
                      <a:pt x="112998" y="0"/>
                      <a:pt x="139147" y="10404"/>
                      <a:pt x="159121" y="29265"/>
                    </a:cubicBezTo>
                    <a:cubicBezTo>
                      <a:pt x="161123" y="31128"/>
                      <a:pt x="161207" y="34272"/>
                      <a:pt x="159315" y="36275"/>
                    </a:cubicBezTo>
                    <a:cubicBezTo>
                      <a:pt x="157424" y="38250"/>
                      <a:pt x="154308" y="38333"/>
                      <a:pt x="152305" y="36470"/>
                    </a:cubicBezTo>
                    <a:cubicBezTo>
                      <a:pt x="134168" y="19334"/>
                      <a:pt x="110439" y="9903"/>
                      <a:pt x="85486" y="9903"/>
                    </a:cubicBezTo>
                    <a:cubicBezTo>
                      <a:pt x="55387" y="9903"/>
                      <a:pt x="27458" y="23506"/>
                      <a:pt x="8848" y="47235"/>
                    </a:cubicBezTo>
                    <a:cubicBezTo>
                      <a:pt x="7874" y="48487"/>
                      <a:pt x="6428" y="49127"/>
                      <a:pt x="4953" y="49127"/>
                    </a:cubicBezTo>
                    <a:close/>
                  </a:path>
                </a:pathLst>
              </a:custGeom>
              <a:solidFill>
                <a:schemeClr val="tx2"/>
              </a:solidFill>
              <a:ln w="2775" cap="flat">
                <a:noFill/>
                <a:prstDash val="solid"/>
                <a:miter/>
              </a:ln>
            </p:spPr>
            <p:txBody>
              <a:bodyPr rtlCol="0" anchor="ctr"/>
              <a:lstStyle/>
              <a:p>
                <a:endParaRPr lang="en-GB" dirty="0"/>
              </a:p>
            </p:txBody>
          </p:sp>
          <p:sp>
            <p:nvSpPr>
              <p:cNvPr id="1029" name="Freihandform: Form 1028">
                <a:extLst>
                  <a:ext uri="{FF2B5EF4-FFF2-40B4-BE49-F238E27FC236}">
                    <a16:creationId xmlns:a16="http://schemas.microsoft.com/office/drawing/2014/main" id="{39131AC3-9F6B-45F4-8638-5FD91DEAAD00}"/>
                  </a:ext>
                </a:extLst>
              </p:cNvPr>
              <p:cNvSpPr/>
              <p:nvPr/>
            </p:nvSpPr>
            <p:spPr>
              <a:xfrm>
                <a:off x="5473213" y="4319613"/>
                <a:ext cx="153986" cy="186472"/>
              </a:xfrm>
              <a:custGeom>
                <a:avLst/>
                <a:gdLst>
                  <a:gd name="connsiteX0" fmla="*/ 46776 w 153986"/>
                  <a:gd name="connsiteY0" fmla="*/ 186473 h 186472"/>
                  <a:gd name="connsiteX1" fmla="*/ 2935 w 153986"/>
                  <a:gd name="connsiteY1" fmla="*/ 177126 h 186472"/>
                  <a:gd name="connsiteX2" fmla="*/ 431 w 153986"/>
                  <a:gd name="connsiteY2" fmla="*/ 170589 h 186472"/>
                  <a:gd name="connsiteX3" fmla="*/ 6969 w 153986"/>
                  <a:gd name="connsiteY3" fmla="*/ 168085 h 186472"/>
                  <a:gd name="connsiteX4" fmla="*/ 46748 w 153986"/>
                  <a:gd name="connsiteY4" fmla="*/ 176570 h 186472"/>
                  <a:gd name="connsiteX5" fmla="*/ 144056 w 153986"/>
                  <a:gd name="connsiteY5" fmla="*/ 79262 h 186472"/>
                  <a:gd name="connsiteX6" fmla="*/ 113567 w 153986"/>
                  <a:gd name="connsiteY6" fmla="*/ 8521 h 186472"/>
                  <a:gd name="connsiteX7" fmla="*/ 113372 w 153986"/>
                  <a:gd name="connsiteY7" fmla="*/ 1539 h 186472"/>
                  <a:gd name="connsiteX8" fmla="*/ 120382 w 153986"/>
                  <a:gd name="connsiteY8" fmla="*/ 1344 h 186472"/>
                  <a:gd name="connsiteX9" fmla="*/ 153987 w 153986"/>
                  <a:gd name="connsiteY9" fmla="*/ 79290 h 186472"/>
                  <a:gd name="connsiteX10" fmla="*/ 46776 w 153986"/>
                  <a:gd name="connsiteY10" fmla="*/ 186473 h 186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986" h="186472">
                    <a:moveTo>
                      <a:pt x="46776" y="186473"/>
                    </a:moveTo>
                    <a:cubicBezTo>
                      <a:pt x="31532" y="186473"/>
                      <a:pt x="16788" y="183329"/>
                      <a:pt x="2935" y="177126"/>
                    </a:cubicBezTo>
                    <a:cubicBezTo>
                      <a:pt x="431" y="176013"/>
                      <a:pt x="-681" y="173064"/>
                      <a:pt x="431" y="170589"/>
                    </a:cubicBezTo>
                    <a:cubicBezTo>
                      <a:pt x="1544" y="168085"/>
                      <a:pt x="4493" y="166973"/>
                      <a:pt x="6969" y="168085"/>
                    </a:cubicBezTo>
                    <a:cubicBezTo>
                      <a:pt x="19514" y="173704"/>
                      <a:pt x="32895" y="176570"/>
                      <a:pt x="46748" y="176570"/>
                    </a:cubicBezTo>
                    <a:cubicBezTo>
                      <a:pt x="100409" y="176570"/>
                      <a:pt x="144056" y="132923"/>
                      <a:pt x="144056" y="79262"/>
                    </a:cubicBezTo>
                    <a:cubicBezTo>
                      <a:pt x="144056" y="52223"/>
                      <a:pt x="133234" y="27076"/>
                      <a:pt x="113567" y="8521"/>
                    </a:cubicBezTo>
                    <a:cubicBezTo>
                      <a:pt x="111592" y="6657"/>
                      <a:pt x="111481" y="3514"/>
                      <a:pt x="113372" y="1539"/>
                    </a:cubicBezTo>
                    <a:cubicBezTo>
                      <a:pt x="115264" y="-436"/>
                      <a:pt x="118380" y="-520"/>
                      <a:pt x="120382" y="1344"/>
                    </a:cubicBezTo>
                    <a:cubicBezTo>
                      <a:pt x="142053" y="21818"/>
                      <a:pt x="153987" y="49497"/>
                      <a:pt x="153987" y="79290"/>
                    </a:cubicBezTo>
                    <a:cubicBezTo>
                      <a:pt x="154014" y="138376"/>
                      <a:pt x="105917" y="186473"/>
                      <a:pt x="46776" y="186473"/>
                    </a:cubicBezTo>
                    <a:close/>
                  </a:path>
                </a:pathLst>
              </a:custGeom>
              <a:solidFill>
                <a:schemeClr val="tx2"/>
              </a:solidFill>
              <a:ln w="2775" cap="flat">
                <a:noFill/>
                <a:prstDash val="solid"/>
                <a:miter/>
              </a:ln>
            </p:spPr>
            <p:txBody>
              <a:bodyPr rtlCol="0" anchor="ctr"/>
              <a:lstStyle/>
              <a:p>
                <a:endParaRPr lang="en-GB" dirty="0"/>
              </a:p>
            </p:txBody>
          </p:sp>
          <p:sp>
            <p:nvSpPr>
              <p:cNvPr id="1030" name="Freihandform: Form 1029">
                <a:extLst>
                  <a:ext uri="{FF2B5EF4-FFF2-40B4-BE49-F238E27FC236}">
                    <a16:creationId xmlns:a16="http://schemas.microsoft.com/office/drawing/2014/main" id="{822C8971-2FC7-4E29-A0A7-36408F4E5214}"/>
                  </a:ext>
                </a:extLst>
              </p:cNvPr>
              <p:cNvSpPr/>
              <p:nvPr/>
            </p:nvSpPr>
            <p:spPr>
              <a:xfrm>
                <a:off x="5440186" y="4463560"/>
                <a:ext cx="24822" cy="23109"/>
              </a:xfrm>
              <a:custGeom>
                <a:avLst/>
                <a:gdLst>
                  <a:gd name="connsiteX0" fmla="*/ 19827 w 24822"/>
                  <a:gd name="connsiteY0" fmla="*/ 23109 h 23109"/>
                  <a:gd name="connsiteX1" fmla="*/ 16934 w 24822"/>
                  <a:gd name="connsiteY1" fmla="*/ 22164 h 23109"/>
                  <a:gd name="connsiteX2" fmla="*/ 1328 w 24822"/>
                  <a:gd name="connsiteY2" fmla="*/ 8338 h 23109"/>
                  <a:gd name="connsiteX3" fmla="*/ 1578 w 24822"/>
                  <a:gd name="connsiteY3" fmla="*/ 1328 h 23109"/>
                  <a:gd name="connsiteX4" fmla="*/ 8588 w 24822"/>
                  <a:gd name="connsiteY4" fmla="*/ 1578 h 23109"/>
                  <a:gd name="connsiteX5" fmla="*/ 22776 w 24822"/>
                  <a:gd name="connsiteY5" fmla="*/ 14124 h 23109"/>
                  <a:gd name="connsiteX6" fmla="*/ 23888 w 24822"/>
                  <a:gd name="connsiteY6" fmla="*/ 21051 h 23109"/>
                  <a:gd name="connsiteX7" fmla="*/ 19827 w 24822"/>
                  <a:gd name="connsiteY7" fmla="*/ 23109 h 23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822" h="23109">
                    <a:moveTo>
                      <a:pt x="19827" y="23109"/>
                    </a:moveTo>
                    <a:cubicBezTo>
                      <a:pt x="18826" y="23109"/>
                      <a:pt x="17796" y="22803"/>
                      <a:pt x="16934" y="22164"/>
                    </a:cubicBezTo>
                    <a:cubicBezTo>
                      <a:pt x="11315" y="18074"/>
                      <a:pt x="6057" y="13429"/>
                      <a:pt x="1328" y="8338"/>
                    </a:cubicBezTo>
                    <a:cubicBezTo>
                      <a:pt x="-536" y="6335"/>
                      <a:pt x="-425" y="3192"/>
                      <a:pt x="1578" y="1328"/>
                    </a:cubicBezTo>
                    <a:cubicBezTo>
                      <a:pt x="3581" y="-536"/>
                      <a:pt x="6725" y="-425"/>
                      <a:pt x="8588" y="1578"/>
                    </a:cubicBezTo>
                    <a:cubicBezTo>
                      <a:pt x="12900" y="6196"/>
                      <a:pt x="17657" y="10425"/>
                      <a:pt x="22776" y="14124"/>
                    </a:cubicBezTo>
                    <a:cubicBezTo>
                      <a:pt x="25001" y="15738"/>
                      <a:pt x="25474" y="18826"/>
                      <a:pt x="23888" y="21051"/>
                    </a:cubicBezTo>
                    <a:cubicBezTo>
                      <a:pt x="22887" y="22386"/>
                      <a:pt x="21357" y="23109"/>
                      <a:pt x="19827" y="23109"/>
                    </a:cubicBezTo>
                    <a:close/>
                  </a:path>
                </a:pathLst>
              </a:custGeom>
              <a:solidFill>
                <a:schemeClr val="tx2"/>
              </a:solidFill>
              <a:ln w="2775" cap="flat">
                <a:noFill/>
                <a:prstDash val="solid"/>
                <a:miter/>
              </a:ln>
            </p:spPr>
            <p:txBody>
              <a:bodyPr rtlCol="0" anchor="ctr"/>
              <a:lstStyle/>
              <a:p>
                <a:endParaRPr lang="en-GB" dirty="0"/>
              </a:p>
            </p:txBody>
          </p:sp>
          <p:sp>
            <p:nvSpPr>
              <p:cNvPr id="1031" name="Freihandform: Form 1030">
                <a:extLst>
                  <a:ext uri="{FF2B5EF4-FFF2-40B4-BE49-F238E27FC236}">
                    <a16:creationId xmlns:a16="http://schemas.microsoft.com/office/drawing/2014/main" id="{C6BAE0EA-5288-4193-AFC9-BD6974163F4D}"/>
                  </a:ext>
                </a:extLst>
              </p:cNvPr>
              <p:cNvSpPr/>
              <p:nvPr/>
            </p:nvSpPr>
            <p:spPr>
              <a:xfrm>
                <a:off x="5623529" y="4278314"/>
                <a:ext cx="143774" cy="243627"/>
              </a:xfrm>
              <a:custGeom>
                <a:avLst/>
                <a:gdLst>
                  <a:gd name="connsiteX0" fmla="*/ 4949 w 143774"/>
                  <a:gd name="connsiteY0" fmla="*/ 243628 h 243627"/>
                  <a:gd name="connsiteX1" fmla="*/ 471 w 143774"/>
                  <a:gd name="connsiteY1" fmla="*/ 240762 h 243627"/>
                  <a:gd name="connsiteX2" fmla="*/ 2863 w 143774"/>
                  <a:gd name="connsiteY2" fmla="*/ 234170 h 243627"/>
                  <a:gd name="connsiteX3" fmla="*/ 132968 w 143774"/>
                  <a:gd name="connsiteY3" fmla="*/ 121145 h 243627"/>
                  <a:gd name="connsiteX4" fmla="*/ 5589 w 143774"/>
                  <a:gd name="connsiteY4" fmla="*/ 9400 h 243627"/>
                  <a:gd name="connsiteX5" fmla="*/ 3252 w 143774"/>
                  <a:gd name="connsiteY5" fmla="*/ 2807 h 243627"/>
                  <a:gd name="connsiteX6" fmla="*/ 9845 w 143774"/>
                  <a:gd name="connsiteY6" fmla="*/ 498 h 243627"/>
                  <a:gd name="connsiteX7" fmla="*/ 143066 w 143774"/>
                  <a:gd name="connsiteY7" fmla="*/ 118586 h 243627"/>
                  <a:gd name="connsiteX8" fmla="*/ 143066 w 143774"/>
                  <a:gd name="connsiteY8" fmla="*/ 123732 h 243627"/>
                  <a:gd name="connsiteX9" fmla="*/ 7008 w 143774"/>
                  <a:gd name="connsiteY9" fmla="*/ 243183 h 243627"/>
                  <a:gd name="connsiteX10" fmla="*/ 4949 w 143774"/>
                  <a:gd name="connsiteY10" fmla="*/ 243628 h 243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3774" h="243627">
                    <a:moveTo>
                      <a:pt x="4949" y="243628"/>
                    </a:moveTo>
                    <a:cubicBezTo>
                      <a:pt x="3086" y="243628"/>
                      <a:pt x="1305" y="242571"/>
                      <a:pt x="471" y="240762"/>
                    </a:cubicBezTo>
                    <a:cubicBezTo>
                      <a:pt x="-698" y="238287"/>
                      <a:pt x="387" y="235338"/>
                      <a:pt x="2863" y="234170"/>
                    </a:cubicBezTo>
                    <a:cubicBezTo>
                      <a:pt x="78973" y="198674"/>
                      <a:pt x="124038" y="134692"/>
                      <a:pt x="132968" y="121145"/>
                    </a:cubicBezTo>
                    <a:cubicBezTo>
                      <a:pt x="124122" y="107737"/>
                      <a:pt x="80030" y="45119"/>
                      <a:pt x="5589" y="9400"/>
                    </a:cubicBezTo>
                    <a:cubicBezTo>
                      <a:pt x="3113" y="8232"/>
                      <a:pt x="2084" y="5255"/>
                      <a:pt x="3252" y="2807"/>
                    </a:cubicBezTo>
                    <a:cubicBezTo>
                      <a:pt x="4449" y="332"/>
                      <a:pt x="7397" y="-698"/>
                      <a:pt x="9845" y="498"/>
                    </a:cubicBezTo>
                    <a:cubicBezTo>
                      <a:pt x="95886" y="41780"/>
                      <a:pt x="141174" y="115470"/>
                      <a:pt x="143066" y="118586"/>
                    </a:cubicBezTo>
                    <a:cubicBezTo>
                      <a:pt x="144011" y="120172"/>
                      <a:pt x="144011" y="122147"/>
                      <a:pt x="143066" y="123732"/>
                    </a:cubicBezTo>
                    <a:cubicBezTo>
                      <a:pt x="141146" y="126931"/>
                      <a:pt x="94857" y="202207"/>
                      <a:pt x="7008" y="243183"/>
                    </a:cubicBezTo>
                    <a:cubicBezTo>
                      <a:pt x="6368" y="243489"/>
                      <a:pt x="5673" y="243628"/>
                      <a:pt x="4949" y="243628"/>
                    </a:cubicBezTo>
                    <a:close/>
                  </a:path>
                </a:pathLst>
              </a:custGeom>
              <a:solidFill>
                <a:schemeClr val="tx2"/>
              </a:solidFill>
              <a:ln w="2775" cap="flat">
                <a:noFill/>
                <a:prstDash val="solid"/>
                <a:miter/>
              </a:ln>
            </p:spPr>
            <p:txBody>
              <a:bodyPr rtlCol="0" anchor="ctr"/>
              <a:lstStyle/>
              <a:p>
                <a:endParaRPr lang="en-GB" dirty="0"/>
              </a:p>
            </p:txBody>
          </p:sp>
          <p:sp>
            <p:nvSpPr>
              <p:cNvPr id="1032" name="Freihandform: Form 1031">
                <a:extLst>
                  <a:ext uri="{FF2B5EF4-FFF2-40B4-BE49-F238E27FC236}">
                    <a16:creationId xmlns:a16="http://schemas.microsoft.com/office/drawing/2014/main" id="{B1DCDD95-1225-4861-91D5-21B7BC1478A3}"/>
                  </a:ext>
                </a:extLst>
              </p:cNvPr>
              <p:cNvSpPr/>
              <p:nvPr/>
            </p:nvSpPr>
            <p:spPr>
              <a:xfrm>
                <a:off x="5267749" y="4274135"/>
                <a:ext cx="150084" cy="250394"/>
              </a:xfrm>
              <a:custGeom>
                <a:avLst/>
                <a:gdLst>
                  <a:gd name="connsiteX0" fmla="*/ 144556 w 150084"/>
                  <a:gd name="connsiteY0" fmla="*/ 250394 h 250394"/>
                  <a:gd name="connsiteX1" fmla="*/ 142581 w 150084"/>
                  <a:gd name="connsiteY1" fmla="*/ 249977 h 250394"/>
                  <a:gd name="connsiteX2" fmla="*/ 709 w 150084"/>
                  <a:gd name="connsiteY2" fmla="*/ 127884 h 250394"/>
                  <a:gd name="connsiteX3" fmla="*/ 709 w 150084"/>
                  <a:gd name="connsiteY3" fmla="*/ 122738 h 250394"/>
                  <a:gd name="connsiteX4" fmla="*/ 143165 w 150084"/>
                  <a:gd name="connsiteY4" fmla="*/ 422 h 250394"/>
                  <a:gd name="connsiteX5" fmla="*/ 149675 w 150084"/>
                  <a:gd name="connsiteY5" fmla="*/ 2981 h 250394"/>
                  <a:gd name="connsiteX6" fmla="*/ 147115 w 150084"/>
                  <a:gd name="connsiteY6" fmla="*/ 9491 h 250394"/>
                  <a:gd name="connsiteX7" fmla="*/ 10835 w 150084"/>
                  <a:gd name="connsiteY7" fmla="*/ 125297 h 250394"/>
                  <a:gd name="connsiteX8" fmla="*/ 146587 w 150084"/>
                  <a:gd name="connsiteY8" fmla="*/ 240881 h 250394"/>
                  <a:gd name="connsiteX9" fmla="*/ 149118 w 150084"/>
                  <a:gd name="connsiteY9" fmla="*/ 247418 h 250394"/>
                  <a:gd name="connsiteX10" fmla="*/ 144556 w 150084"/>
                  <a:gd name="connsiteY10" fmla="*/ 250394 h 250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0084" h="250394">
                    <a:moveTo>
                      <a:pt x="144556" y="250394"/>
                    </a:moveTo>
                    <a:cubicBezTo>
                      <a:pt x="143889" y="250394"/>
                      <a:pt x="143221" y="250255"/>
                      <a:pt x="142581" y="249977"/>
                    </a:cubicBezTo>
                    <a:cubicBezTo>
                      <a:pt x="51004" y="209780"/>
                      <a:pt x="2712" y="131222"/>
                      <a:pt x="709" y="127884"/>
                    </a:cubicBezTo>
                    <a:cubicBezTo>
                      <a:pt x="-236" y="126298"/>
                      <a:pt x="-236" y="124323"/>
                      <a:pt x="709" y="122738"/>
                    </a:cubicBezTo>
                    <a:cubicBezTo>
                      <a:pt x="2740" y="119399"/>
                      <a:pt x="51227" y="40536"/>
                      <a:pt x="143165" y="422"/>
                    </a:cubicBezTo>
                    <a:cubicBezTo>
                      <a:pt x="145669" y="-691"/>
                      <a:pt x="148590" y="478"/>
                      <a:pt x="149675" y="2981"/>
                    </a:cubicBezTo>
                    <a:cubicBezTo>
                      <a:pt x="150760" y="5485"/>
                      <a:pt x="149619" y="8406"/>
                      <a:pt x="147115" y="9491"/>
                    </a:cubicBezTo>
                    <a:cubicBezTo>
                      <a:pt x="67250" y="44347"/>
                      <a:pt x="20015" y="111388"/>
                      <a:pt x="10835" y="125297"/>
                    </a:cubicBezTo>
                    <a:cubicBezTo>
                      <a:pt x="19987" y="139206"/>
                      <a:pt x="67055" y="205969"/>
                      <a:pt x="146587" y="240881"/>
                    </a:cubicBezTo>
                    <a:cubicBezTo>
                      <a:pt x="149090" y="241966"/>
                      <a:pt x="150231" y="244886"/>
                      <a:pt x="149118" y="247418"/>
                    </a:cubicBezTo>
                    <a:cubicBezTo>
                      <a:pt x="148284" y="249282"/>
                      <a:pt x="146476" y="250394"/>
                      <a:pt x="144556" y="250394"/>
                    </a:cubicBezTo>
                    <a:close/>
                  </a:path>
                </a:pathLst>
              </a:custGeom>
              <a:solidFill>
                <a:schemeClr val="tx2"/>
              </a:solidFill>
              <a:ln w="2775" cap="flat">
                <a:noFill/>
                <a:prstDash val="solid"/>
                <a:miter/>
              </a:ln>
            </p:spPr>
            <p:txBody>
              <a:bodyPr rtlCol="0" anchor="ctr"/>
              <a:lstStyle/>
              <a:p>
                <a:endParaRPr lang="en-GB" dirty="0"/>
              </a:p>
            </p:txBody>
          </p:sp>
        </p:grpSp>
      </p:grpSp>
      <p:grpSp>
        <p:nvGrpSpPr>
          <p:cNvPr id="19" name="Group 18">
            <a:extLst>
              <a:ext uri="{FF2B5EF4-FFF2-40B4-BE49-F238E27FC236}">
                <a16:creationId xmlns:a16="http://schemas.microsoft.com/office/drawing/2014/main" id="{E117003A-FF28-126F-C2D0-AAC184F4CB35}"/>
              </a:ext>
            </a:extLst>
          </p:cNvPr>
          <p:cNvGrpSpPr/>
          <p:nvPr/>
        </p:nvGrpSpPr>
        <p:grpSpPr>
          <a:xfrm>
            <a:off x="5846254" y="4077382"/>
            <a:ext cx="824882" cy="431998"/>
            <a:chOff x="5845842" y="4077382"/>
            <a:chExt cx="824882" cy="431998"/>
          </a:xfrm>
        </p:grpSpPr>
        <p:grpSp>
          <p:nvGrpSpPr>
            <p:cNvPr id="1037" name="Group 710">
              <a:extLst>
                <a:ext uri="{FF2B5EF4-FFF2-40B4-BE49-F238E27FC236}">
                  <a16:creationId xmlns:a16="http://schemas.microsoft.com/office/drawing/2014/main" id="{5D90B6BB-E137-4F7E-8796-D5C06882A9D8}"/>
                </a:ext>
              </a:extLst>
            </p:cNvPr>
            <p:cNvGrpSpPr/>
            <p:nvPr/>
          </p:nvGrpSpPr>
          <p:grpSpPr>
            <a:xfrm>
              <a:off x="6071271" y="4149805"/>
              <a:ext cx="374041" cy="359575"/>
              <a:chOff x="6183282" y="4278811"/>
              <a:chExt cx="314343" cy="302186"/>
            </a:xfrm>
            <a:solidFill>
              <a:schemeClr val="tx2"/>
            </a:solidFill>
          </p:grpSpPr>
          <p:sp>
            <p:nvSpPr>
              <p:cNvPr id="1051" name="Freihandform: Form 1050">
                <a:extLst>
                  <a:ext uri="{FF2B5EF4-FFF2-40B4-BE49-F238E27FC236}">
                    <a16:creationId xmlns:a16="http://schemas.microsoft.com/office/drawing/2014/main" id="{B0F8EE6E-53E5-42E6-B0EC-BB948A406EBD}"/>
                  </a:ext>
                </a:extLst>
              </p:cNvPr>
              <p:cNvSpPr/>
              <p:nvPr/>
            </p:nvSpPr>
            <p:spPr>
              <a:xfrm>
                <a:off x="6183282" y="4278811"/>
                <a:ext cx="314343" cy="302186"/>
              </a:xfrm>
              <a:custGeom>
                <a:avLst/>
                <a:gdLst>
                  <a:gd name="connsiteX0" fmla="*/ 157172 w 314343"/>
                  <a:gd name="connsiteY0" fmla="*/ 302187 h 302186"/>
                  <a:gd name="connsiteX1" fmla="*/ 152749 w 314343"/>
                  <a:gd name="connsiteY1" fmla="*/ 299433 h 302186"/>
                  <a:gd name="connsiteX2" fmla="*/ 117587 w 314343"/>
                  <a:gd name="connsiteY2" fmla="*/ 229109 h 302186"/>
                  <a:gd name="connsiteX3" fmla="*/ 18610 w 314343"/>
                  <a:gd name="connsiteY3" fmla="*/ 229109 h 302186"/>
                  <a:gd name="connsiteX4" fmla="*/ 0 w 314343"/>
                  <a:gd name="connsiteY4" fmla="*/ 210499 h 302186"/>
                  <a:gd name="connsiteX5" fmla="*/ 0 w 314343"/>
                  <a:gd name="connsiteY5" fmla="*/ 18610 h 302186"/>
                  <a:gd name="connsiteX6" fmla="*/ 18610 w 314343"/>
                  <a:gd name="connsiteY6" fmla="*/ 0 h 302186"/>
                  <a:gd name="connsiteX7" fmla="*/ 23562 w 314343"/>
                  <a:gd name="connsiteY7" fmla="*/ 4952 h 302186"/>
                  <a:gd name="connsiteX8" fmla="*/ 18610 w 314343"/>
                  <a:gd name="connsiteY8" fmla="*/ 9903 h 302186"/>
                  <a:gd name="connsiteX9" fmla="*/ 9903 w 314343"/>
                  <a:gd name="connsiteY9" fmla="*/ 18610 h 302186"/>
                  <a:gd name="connsiteX10" fmla="*/ 9903 w 314343"/>
                  <a:gd name="connsiteY10" fmla="*/ 210499 h 302186"/>
                  <a:gd name="connsiteX11" fmla="*/ 18610 w 314343"/>
                  <a:gd name="connsiteY11" fmla="*/ 219206 h 302186"/>
                  <a:gd name="connsiteX12" fmla="*/ 120647 w 314343"/>
                  <a:gd name="connsiteY12" fmla="*/ 219206 h 302186"/>
                  <a:gd name="connsiteX13" fmla="*/ 125070 w 314343"/>
                  <a:gd name="connsiteY13" fmla="*/ 221960 h 302186"/>
                  <a:gd name="connsiteX14" fmla="*/ 157172 w 314343"/>
                  <a:gd name="connsiteY14" fmla="*/ 286164 h 302186"/>
                  <a:gd name="connsiteX15" fmla="*/ 189274 w 314343"/>
                  <a:gd name="connsiteY15" fmla="*/ 221960 h 302186"/>
                  <a:gd name="connsiteX16" fmla="*/ 193697 w 314343"/>
                  <a:gd name="connsiteY16" fmla="*/ 219206 h 302186"/>
                  <a:gd name="connsiteX17" fmla="*/ 295733 w 314343"/>
                  <a:gd name="connsiteY17" fmla="*/ 219206 h 302186"/>
                  <a:gd name="connsiteX18" fmla="*/ 304440 w 314343"/>
                  <a:gd name="connsiteY18" fmla="*/ 210499 h 302186"/>
                  <a:gd name="connsiteX19" fmla="*/ 304440 w 314343"/>
                  <a:gd name="connsiteY19" fmla="*/ 18610 h 302186"/>
                  <a:gd name="connsiteX20" fmla="*/ 295733 w 314343"/>
                  <a:gd name="connsiteY20" fmla="*/ 9903 h 302186"/>
                  <a:gd name="connsiteX21" fmla="*/ 290781 w 314343"/>
                  <a:gd name="connsiteY21" fmla="*/ 4952 h 302186"/>
                  <a:gd name="connsiteX22" fmla="*/ 295733 w 314343"/>
                  <a:gd name="connsiteY22" fmla="*/ 0 h 302186"/>
                  <a:gd name="connsiteX23" fmla="*/ 314343 w 314343"/>
                  <a:gd name="connsiteY23" fmla="*/ 18610 h 302186"/>
                  <a:gd name="connsiteX24" fmla="*/ 314343 w 314343"/>
                  <a:gd name="connsiteY24" fmla="*/ 210499 h 302186"/>
                  <a:gd name="connsiteX25" fmla="*/ 295733 w 314343"/>
                  <a:gd name="connsiteY25" fmla="*/ 229109 h 302186"/>
                  <a:gd name="connsiteX26" fmla="*/ 196757 w 314343"/>
                  <a:gd name="connsiteY26" fmla="*/ 229109 h 302186"/>
                  <a:gd name="connsiteX27" fmla="*/ 161595 w 314343"/>
                  <a:gd name="connsiteY27" fmla="*/ 299433 h 302186"/>
                  <a:gd name="connsiteX28" fmla="*/ 157172 w 314343"/>
                  <a:gd name="connsiteY28" fmla="*/ 302187 h 302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14343" h="302186">
                    <a:moveTo>
                      <a:pt x="157172" y="302187"/>
                    </a:moveTo>
                    <a:cubicBezTo>
                      <a:pt x="155308" y="302187"/>
                      <a:pt x="153583" y="301130"/>
                      <a:pt x="152749" y="299433"/>
                    </a:cubicBezTo>
                    <a:lnTo>
                      <a:pt x="117587" y="229109"/>
                    </a:lnTo>
                    <a:lnTo>
                      <a:pt x="18610" y="229109"/>
                    </a:lnTo>
                    <a:cubicBezTo>
                      <a:pt x="8345" y="229109"/>
                      <a:pt x="0" y="220764"/>
                      <a:pt x="0" y="210499"/>
                    </a:cubicBezTo>
                    <a:lnTo>
                      <a:pt x="0" y="18610"/>
                    </a:lnTo>
                    <a:cubicBezTo>
                      <a:pt x="0" y="8345"/>
                      <a:pt x="8345" y="0"/>
                      <a:pt x="18610" y="0"/>
                    </a:cubicBezTo>
                    <a:cubicBezTo>
                      <a:pt x="21336" y="0"/>
                      <a:pt x="23562" y="2225"/>
                      <a:pt x="23562" y="4952"/>
                    </a:cubicBezTo>
                    <a:cubicBezTo>
                      <a:pt x="23562" y="7678"/>
                      <a:pt x="21336" y="9903"/>
                      <a:pt x="18610" y="9903"/>
                    </a:cubicBezTo>
                    <a:cubicBezTo>
                      <a:pt x="13826" y="9903"/>
                      <a:pt x="9903" y="13798"/>
                      <a:pt x="9903" y="18610"/>
                    </a:cubicBezTo>
                    <a:lnTo>
                      <a:pt x="9903" y="210499"/>
                    </a:lnTo>
                    <a:cubicBezTo>
                      <a:pt x="9903" y="215283"/>
                      <a:pt x="13798" y="219206"/>
                      <a:pt x="18610" y="219206"/>
                    </a:cubicBezTo>
                    <a:lnTo>
                      <a:pt x="120647" y="219206"/>
                    </a:lnTo>
                    <a:cubicBezTo>
                      <a:pt x="122510" y="219206"/>
                      <a:pt x="124235" y="220263"/>
                      <a:pt x="125070" y="221960"/>
                    </a:cubicBezTo>
                    <a:lnTo>
                      <a:pt x="157172" y="286164"/>
                    </a:lnTo>
                    <a:lnTo>
                      <a:pt x="189274" y="221960"/>
                    </a:lnTo>
                    <a:cubicBezTo>
                      <a:pt x="190108" y="220291"/>
                      <a:pt x="191833" y="219206"/>
                      <a:pt x="193697" y="219206"/>
                    </a:cubicBezTo>
                    <a:lnTo>
                      <a:pt x="295733" y="219206"/>
                    </a:lnTo>
                    <a:cubicBezTo>
                      <a:pt x="300518" y="219206"/>
                      <a:pt x="304440" y="215311"/>
                      <a:pt x="304440" y="210499"/>
                    </a:cubicBezTo>
                    <a:lnTo>
                      <a:pt x="304440" y="18610"/>
                    </a:lnTo>
                    <a:cubicBezTo>
                      <a:pt x="304440" y="13826"/>
                      <a:pt x="300545" y="9903"/>
                      <a:pt x="295733" y="9903"/>
                    </a:cubicBezTo>
                    <a:cubicBezTo>
                      <a:pt x="293007" y="9903"/>
                      <a:pt x="290781" y="7678"/>
                      <a:pt x="290781" y="4952"/>
                    </a:cubicBezTo>
                    <a:cubicBezTo>
                      <a:pt x="290781" y="2225"/>
                      <a:pt x="293007" y="0"/>
                      <a:pt x="295733" y="0"/>
                    </a:cubicBezTo>
                    <a:cubicBezTo>
                      <a:pt x="305998" y="0"/>
                      <a:pt x="314343" y="8345"/>
                      <a:pt x="314343" y="18610"/>
                    </a:cubicBezTo>
                    <a:lnTo>
                      <a:pt x="314343" y="210499"/>
                    </a:lnTo>
                    <a:cubicBezTo>
                      <a:pt x="314343" y="220764"/>
                      <a:pt x="305998" y="229109"/>
                      <a:pt x="295733" y="229109"/>
                    </a:cubicBezTo>
                    <a:lnTo>
                      <a:pt x="196757" y="229109"/>
                    </a:lnTo>
                    <a:lnTo>
                      <a:pt x="161595" y="299433"/>
                    </a:lnTo>
                    <a:cubicBezTo>
                      <a:pt x="160760" y="301130"/>
                      <a:pt x="159063" y="302187"/>
                      <a:pt x="157172" y="302187"/>
                    </a:cubicBezTo>
                    <a:close/>
                  </a:path>
                </a:pathLst>
              </a:custGeom>
              <a:grpFill/>
              <a:ln w="2775" cap="flat">
                <a:noFill/>
                <a:prstDash val="solid"/>
                <a:miter/>
              </a:ln>
            </p:spPr>
            <p:txBody>
              <a:bodyPr rtlCol="0" anchor="ctr"/>
              <a:lstStyle/>
              <a:p>
                <a:endParaRPr lang="en-GB" dirty="0"/>
              </a:p>
            </p:txBody>
          </p:sp>
          <p:sp>
            <p:nvSpPr>
              <p:cNvPr id="1052" name="Freihandform: Form 1051">
                <a:extLst>
                  <a:ext uri="{FF2B5EF4-FFF2-40B4-BE49-F238E27FC236}">
                    <a16:creationId xmlns:a16="http://schemas.microsoft.com/office/drawing/2014/main" id="{4F2DB28D-137E-4CA6-897E-CD839F9E84F4}"/>
                  </a:ext>
                </a:extLst>
              </p:cNvPr>
              <p:cNvSpPr/>
              <p:nvPr/>
            </p:nvSpPr>
            <p:spPr>
              <a:xfrm>
                <a:off x="6229821" y="4278839"/>
                <a:ext cx="221375" cy="9903"/>
              </a:xfrm>
              <a:custGeom>
                <a:avLst/>
                <a:gdLst>
                  <a:gd name="connsiteX0" fmla="*/ 216424 w 221375"/>
                  <a:gd name="connsiteY0" fmla="*/ 9903 h 9903"/>
                  <a:gd name="connsiteX1" fmla="*/ 4952 w 221375"/>
                  <a:gd name="connsiteY1" fmla="*/ 9903 h 9903"/>
                  <a:gd name="connsiteX2" fmla="*/ 0 w 221375"/>
                  <a:gd name="connsiteY2" fmla="*/ 4952 h 9903"/>
                  <a:gd name="connsiteX3" fmla="*/ 4952 w 221375"/>
                  <a:gd name="connsiteY3" fmla="*/ 0 h 9903"/>
                  <a:gd name="connsiteX4" fmla="*/ 216424 w 221375"/>
                  <a:gd name="connsiteY4" fmla="*/ 0 h 9903"/>
                  <a:gd name="connsiteX5" fmla="*/ 221376 w 221375"/>
                  <a:gd name="connsiteY5" fmla="*/ 4952 h 9903"/>
                  <a:gd name="connsiteX6" fmla="*/ 216424 w 221375"/>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1375" h="9903">
                    <a:moveTo>
                      <a:pt x="216424" y="9903"/>
                    </a:moveTo>
                    <a:lnTo>
                      <a:pt x="4952" y="9903"/>
                    </a:lnTo>
                    <a:cubicBezTo>
                      <a:pt x="2225" y="9903"/>
                      <a:pt x="0" y="7678"/>
                      <a:pt x="0" y="4952"/>
                    </a:cubicBezTo>
                    <a:cubicBezTo>
                      <a:pt x="0" y="2225"/>
                      <a:pt x="2225" y="0"/>
                      <a:pt x="4952" y="0"/>
                    </a:cubicBezTo>
                    <a:lnTo>
                      <a:pt x="216424" y="0"/>
                    </a:lnTo>
                    <a:cubicBezTo>
                      <a:pt x="219150" y="0"/>
                      <a:pt x="221376" y="2225"/>
                      <a:pt x="221376" y="4952"/>
                    </a:cubicBezTo>
                    <a:cubicBezTo>
                      <a:pt x="221376" y="7678"/>
                      <a:pt x="219150" y="9903"/>
                      <a:pt x="216424" y="9903"/>
                    </a:cubicBezTo>
                    <a:close/>
                  </a:path>
                </a:pathLst>
              </a:custGeom>
              <a:grpFill/>
              <a:ln w="2775" cap="flat">
                <a:noFill/>
                <a:prstDash val="solid"/>
                <a:miter/>
              </a:ln>
            </p:spPr>
            <p:txBody>
              <a:bodyPr rtlCol="0" anchor="ctr"/>
              <a:lstStyle/>
              <a:p>
                <a:endParaRPr lang="en-GB" dirty="0"/>
              </a:p>
            </p:txBody>
          </p:sp>
          <p:grpSp>
            <p:nvGrpSpPr>
              <p:cNvPr id="1053" name="Grafik 114">
                <a:extLst>
                  <a:ext uri="{FF2B5EF4-FFF2-40B4-BE49-F238E27FC236}">
                    <a16:creationId xmlns:a16="http://schemas.microsoft.com/office/drawing/2014/main" id="{FD0B40DB-749A-4F94-B2BA-D4B53B2E1C29}"/>
                  </a:ext>
                </a:extLst>
              </p:cNvPr>
              <p:cNvGrpSpPr/>
              <p:nvPr/>
            </p:nvGrpSpPr>
            <p:grpSpPr>
              <a:xfrm>
                <a:off x="6186381" y="4403596"/>
                <a:ext cx="308920" cy="97871"/>
                <a:chOff x="6186381" y="4403596"/>
                <a:chExt cx="308920" cy="97871"/>
              </a:xfrm>
              <a:grpFill/>
            </p:grpSpPr>
            <p:sp>
              <p:nvSpPr>
                <p:cNvPr id="1054" name="Freihandform: Form 1053">
                  <a:extLst>
                    <a:ext uri="{FF2B5EF4-FFF2-40B4-BE49-F238E27FC236}">
                      <a16:creationId xmlns:a16="http://schemas.microsoft.com/office/drawing/2014/main" id="{AD6FF81E-8FF3-4B4B-A651-2546EF52DC1D}"/>
                    </a:ext>
                  </a:extLst>
                </p:cNvPr>
                <p:cNvSpPr/>
                <p:nvPr/>
              </p:nvSpPr>
              <p:spPr>
                <a:xfrm>
                  <a:off x="6186381" y="4403609"/>
                  <a:ext cx="142012" cy="97859"/>
                </a:xfrm>
                <a:custGeom>
                  <a:avLst/>
                  <a:gdLst>
                    <a:gd name="connsiteX0" fmla="*/ 4939 w 142012"/>
                    <a:gd name="connsiteY0" fmla="*/ 97860 h 97859"/>
                    <a:gd name="connsiteX1" fmla="*/ 822 w 142012"/>
                    <a:gd name="connsiteY1" fmla="*/ 95662 h 97859"/>
                    <a:gd name="connsiteX2" fmla="*/ 2213 w 142012"/>
                    <a:gd name="connsiteY2" fmla="*/ 88791 h 97859"/>
                    <a:gd name="connsiteX3" fmla="*/ 134320 w 142012"/>
                    <a:gd name="connsiteY3" fmla="*/ 830 h 97859"/>
                    <a:gd name="connsiteX4" fmla="*/ 141191 w 142012"/>
                    <a:gd name="connsiteY4" fmla="*/ 2193 h 97859"/>
                    <a:gd name="connsiteX5" fmla="*/ 139800 w 142012"/>
                    <a:gd name="connsiteY5" fmla="*/ 9064 h 97859"/>
                    <a:gd name="connsiteX6" fmla="*/ 7693 w 142012"/>
                    <a:gd name="connsiteY6" fmla="*/ 97025 h 97859"/>
                    <a:gd name="connsiteX7" fmla="*/ 4939 w 142012"/>
                    <a:gd name="connsiteY7" fmla="*/ 97860 h 9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12" h="97859">
                      <a:moveTo>
                        <a:pt x="4939" y="97860"/>
                      </a:moveTo>
                      <a:cubicBezTo>
                        <a:pt x="3353" y="97860"/>
                        <a:pt x="1767" y="97081"/>
                        <a:pt x="822" y="95662"/>
                      </a:cubicBezTo>
                      <a:cubicBezTo>
                        <a:pt x="-681" y="93381"/>
                        <a:pt x="-69" y="90321"/>
                        <a:pt x="2213" y="88791"/>
                      </a:cubicBezTo>
                      <a:lnTo>
                        <a:pt x="134320" y="830"/>
                      </a:lnTo>
                      <a:cubicBezTo>
                        <a:pt x="136573" y="-672"/>
                        <a:pt x="139661" y="-88"/>
                        <a:pt x="141191" y="2193"/>
                      </a:cubicBezTo>
                      <a:cubicBezTo>
                        <a:pt x="142693" y="4475"/>
                        <a:pt x="142081" y="7534"/>
                        <a:pt x="139800" y="9064"/>
                      </a:cubicBezTo>
                      <a:lnTo>
                        <a:pt x="7693" y="97025"/>
                      </a:lnTo>
                      <a:cubicBezTo>
                        <a:pt x="6830" y="97581"/>
                        <a:pt x="5884" y="97860"/>
                        <a:pt x="4939" y="97860"/>
                      </a:cubicBezTo>
                      <a:close/>
                    </a:path>
                  </a:pathLst>
                </a:custGeom>
                <a:grpFill/>
                <a:ln w="2775" cap="flat">
                  <a:noFill/>
                  <a:prstDash val="solid"/>
                  <a:miter/>
                </a:ln>
              </p:spPr>
              <p:txBody>
                <a:bodyPr rtlCol="0" anchor="ctr"/>
                <a:lstStyle/>
                <a:p>
                  <a:endParaRPr lang="en-GB" dirty="0"/>
                </a:p>
              </p:txBody>
            </p:sp>
            <p:sp>
              <p:nvSpPr>
                <p:cNvPr id="1055" name="Freihandform: Form 1054">
                  <a:extLst>
                    <a:ext uri="{FF2B5EF4-FFF2-40B4-BE49-F238E27FC236}">
                      <a16:creationId xmlns:a16="http://schemas.microsoft.com/office/drawing/2014/main" id="{59C930FF-0B88-498F-A3D5-7D453C059F9A}"/>
                    </a:ext>
                  </a:extLst>
                </p:cNvPr>
                <p:cNvSpPr/>
                <p:nvPr/>
              </p:nvSpPr>
              <p:spPr>
                <a:xfrm>
                  <a:off x="6353289" y="4403596"/>
                  <a:ext cx="142012" cy="97871"/>
                </a:xfrm>
                <a:custGeom>
                  <a:avLst/>
                  <a:gdLst>
                    <a:gd name="connsiteX0" fmla="*/ 137074 w 142012"/>
                    <a:gd name="connsiteY0" fmla="*/ 97872 h 97871"/>
                    <a:gd name="connsiteX1" fmla="*/ 134320 w 142012"/>
                    <a:gd name="connsiteY1" fmla="*/ 97037 h 97871"/>
                    <a:gd name="connsiteX2" fmla="*/ 2213 w 142012"/>
                    <a:gd name="connsiteY2" fmla="*/ 9077 h 97871"/>
                    <a:gd name="connsiteX3" fmla="*/ 822 w 142012"/>
                    <a:gd name="connsiteY3" fmla="*/ 2206 h 97871"/>
                    <a:gd name="connsiteX4" fmla="*/ 7693 w 142012"/>
                    <a:gd name="connsiteY4" fmla="*/ 843 h 97871"/>
                    <a:gd name="connsiteX5" fmla="*/ 139800 w 142012"/>
                    <a:gd name="connsiteY5" fmla="*/ 88803 h 97871"/>
                    <a:gd name="connsiteX6" fmla="*/ 141191 w 142012"/>
                    <a:gd name="connsiteY6" fmla="*/ 95674 h 97871"/>
                    <a:gd name="connsiteX7" fmla="*/ 137074 w 142012"/>
                    <a:gd name="connsiteY7" fmla="*/ 97872 h 9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2012" h="97871">
                      <a:moveTo>
                        <a:pt x="137074" y="97872"/>
                      </a:moveTo>
                      <a:cubicBezTo>
                        <a:pt x="136128" y="97872"/>
                        <a:pt x="135183" y="97594"/>
                        <a:pt x="134320" y="97037"/>
                      </a:cubicBezTo>
                      <a:lnTo>
                        <a:pt x="2213" y="9077"/>
                      </a:lnTo>
                      <a:cubicBezTo>
                        <a:pt x="-69" y="7575"/>
                        <a:pt x="-681" y="4487"/>
                        <a:pt x="822" y="2206"/>
                      </a:cubicBezTo>
                      <a:cubicBezTo>
                        <a:pt x="2352" y="-75"/>
                        <a:pt x="5412" y="-687"/>
                        <a:pt x="7693" y="843"/>
                      </a:cubicBezTo>
                      <a:lnTo>
                        <a:pt x="139800" y="88803"/>
                      </a:lnTo>
                      <a:cubicBezTo>
                        <a:pt x="142081" y="90305"/>
                        <a:pt x="142693" y="93393"/>
                        <a:pt x="141191" y="95674"/>
                      </a:cubicBezTo>
                      <a:cubicBezTo>
                        <a:pt x="140245" y="97093"/>
                        <a:pt x="138660" y="97872"/>
                        <a:pt x="137074" y="97872"/>
                      </a:cubicBezTo>
                      <a:close/>
                    </a:path>
                  </a:pathLst>
                </a:custGeom>
                <a:grpFill/>
                <a:ln w="2775" cap="flat">
                  <a:noFill/>
                  <a:prstDash val="solid"/>
                  <a:miter/>
                </a:ln>
              </p:spPr>
              <p:txBody>
                <a:bodyPr rtlCol="0" anchor="ctr"/>
                <a:lstStyle/>
                <a:p>
                  <a:endParaRPr lang="en-GB" dirty="0"/>
                </a:p>
              </p:txBody>
            </p:sp>
          </p:grpSp>
        </p:grpSp>
        <p:grpSp>
          <p:nvGrpSpPr>
            <p:cNvPr id="1038" name="Grafik 114">
              <a:extLst>
                <a:ext uri="{FF2B5EF4-FFF2-40B4-BE49-F238E27FC236}">
                  <a16:creationId xmlns:a16="http://schemas.microsoft.com/office/drawing/2014/main" id="{EBA02E50-F809-4797-9DC7-A7925D2C2D80}"/>
                </a:ext>
              </a:extLst>
            </p:cNvPr>
            <p:cNvGrpSpPr/>
            <p:nvPr/>
          </p:nvGrpSpPr>
          <p:grpSpPr>
            <a:xfrm>
              <a:off x="5845842" y="4077382"/>
              <a:ext cx="824882" cy="243887"/>
              <a:chOff x="5993840" y="4217947"/>
              <a:chExt cx="693230" cy="204962"/>
            </a:xfrm>
            <a:solidFill>
              <a:schemeClr val="tx2"/>
            </a:solidFill>
          </p:grpSpPr>
          <p:grpSp>
            <p:nvGrpSpPr>
              <p:cNvPr id="1039" name="Grafik 114">
                <a:extLst>
                  <a:ext uri="{FF2B5EF4-FFF2-40B4-BE49-F238E27FC236}">
                    <a16:creationId xmlns:a16="http://schemas.microsoft.com/office/drawing/2014/main" id="{C0A84F6D-2151-46B0-A38F-FC76E23A7050}"/>
                  </a:ext>
                </a:extLst>
              </p:cNvPr>
              <p:cNvGrpSpPr/>
              <p:nvPr/>
            </p:nvGrpSpPr>
            <p:grpSpPr>
              <a:xfrm>
                <a:off x="6335507" y="4217947"/>
                <a:ext cx="351563" cy="204962"/>
                <a:chOff x="6335500" y="4217947"/>
                <a:chExt cx="351563" cy="204962"/>
              </a:xfrm>
              <a:solidFill>
                <a:schemeClr val="accent1"/>
              </a:solidFill>
            </p:grpSpPr>
            <p:sp>
              <p:nvSpPr>
                <p:cNvPr id="1046" name="Freihandform: Form 1045">
                  <a:extLst>
                    <a:ext uri="{FF2B5EF4-FFF2-40B4-BE49-F238E27FC236}">
                      <a16:creationId xmlns:a16="http://schemas.microsoft.com/office/drawing/2014/main" id="{EEEDD9FC-ACA6-4DEA-8C2D-0A3C5914165E}"/>
                    </a:ext>
                  </a:extLst>
                </p:cNvPr>
                <p:cNvSpPr/>
                <p:nvPr/>
              </p:nvSpPr>
              <p:spPr>
                <a:xfrm>
                  <a:off x="6335500" y="4217947"/>
                  <a:ext cx="333315" cy="204962"/>
                </a:xfrm>
                <a:custGeom>
                  <a:avLst/>
                  <a:gdLst>
                    <a:gd name="connsiteX0" fmla="*/ 4952 w 333315"/>
                    <a:gd name="connsiteY0" fmla="*/ 204963 h 204962"/>
                    <a:gd name="connsiteX1" fmla="*/ 1419 w 333315"/>
                    <a:gd name="connsiteY1" fmla="*/ 203489 h 204962"/>
                    <a:gd name="connsiteX2" fmla="*/ 1503 w 333315"/>
                    <a:gd name="connsiteY2" fmla="*/ 196478 h 204962"/>
                    <a:gd name="connsiteX3" fmla="*/ 200401 w 333315"/>
                    <a:gd name="connsiteY3" fmla="*/ 1419 h 204962"/>
                    <a:gd name="connsiteX4" fmla="*/ 203878 w 333315"/>
                    <a:gd name="connsiteY4" fmla="*/ 0 h 204962"/>
                    <a:gd name="connsiteX5" fmla="*/ 328364 w 333315"/>
                    <a:gd name="connsiteY5" fmla="*/ 0 h 204962"/>
                    <a:gd name="connsiteX6" fmla="*/ 333315 w 333315"/>
                    <a:gd name="connsiteY6" fmla="*/ 4952 h 204962"/>
                    <a:gd name="connsiteX7" fmla="*/ 328364 w 333315"/>
                    <a:gd name="connsiteY7" fmla="*/ 9903 h 204962"/>
                    <a:gd name="connsiteX8" fmla="*/ 205881 w 333315"/>
                    <a:gd name="connsiteY8" fmla="*/ 9903 h 204962"/>
                    <a:gd name="connsiteX9" fmla="*/ 8429 w 333315"/>
                    <a:gd name="connsiteY9" fmla="*/ 203544 h 204962"/>
                    <a:gd name="connsiteX10" fmla="*/ 4952 w 333315"/>
                    <a:gd name="connsiteY10" fmla="*/ 204963 h 204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3315" h="204962">
                      <a:moveTo>
                        <a:pt x="4952" y="204963"/>
                      </a:moveTo>
                      <a:cubicBezTo>
                        <a:pt x="3672" y="204963"/>
                        <a:pt x="2393" y="204462"/>
                        <a:pt x="1419" y="203489"/>
                      </a:cubicBezTo>
                      <a:cubicBezTo>
                        <a:pt x="-500" y="201541"/>
                        <a:pt x="-473" y="198398"/>
                        <a:pt x="1503" y="196478"/>
                      </a:cubicBezTo>
                      <a:lnTo>
                        <a:pt x="200401" y="1419"/>
                      </a:lnTo>
                      <a:cubicBezTo>
                        <a:pt x="201319" y="501"/>
                        <a:pt x="202571" y="0"/>
                        <a:pt x="203878" y="0"/>
                      </a:cubicBezTo>
                      <a:lnTo>
                        <a:pt x="328364" y="0"/>
                      </a:lnTo>
                      <a:cubicBezTo>
                        <a:pt x="331090" y="0"/>
                        <a:pt x="333315" y="2226"/>
                        <a:pt x="333315" y="4952"/>
                      </a:cubicBezTo>
                      <a:cubicBezTo>
                        <a:pt x="333315" y="7678"/>
                        <a:pt x="331090" y="9903"/>
                        <a:pt x="328364" y="9903"/>
                      </a:cubicBezTo>
                      <a:lnTo>
                        <a:pt x="205881" y="9903"/>
                      </a:lnTo>
                      <a:lnTo>
                        <a:pt x="8429" y="203544"/>
                      </a:lnTo>
                      <a:cubicBezTo>
                        <a:pt x="7456" y="204490"/>
                        <a:pt x="6204" y="204963"/>
                        <a:pt x="4952" y="204963"/>
                      </a:cubicBezTo>
                      <a:close/>
                    </a:path>
                  </a:pathLst>
                </a:custGeom>
                <a:solidFill>
                  <a:schemeClr val="accent1"/>
                </a:solidFill>
                <a:ln w="2775" cap="flat">
                  <a:noFill/>
                  <a:prstDash val="solid"/>
                  <a:miter/>
                </a:ln>
              </p:spPr>
              <p:txBody>
                <a:bodyPr rtlCol="0" anchor="ctr"/>
                <a:lstStyle/>
                <a:p>
                  <a:endParaRPr lang="en-GB" dirty="0"/>
                </a:p>
              </p:txBody>
            </p:sp>
            <p:sp>
              <p:nvSpPr>
                <p:cNvPr id="1047" name="Freihandform: Form 1046">
                  <a:extLst>
                    <a:ext uri="{FF2B5EF4-FFF2-40B4-BE49-F238E27FC236}">
                      <a16:creationId xmlns:a16="http://schemas.microsoft.com/office/drawing/2014/main" id="{E56CAF5E-DD34-405A-9A9D-F0A78FB9A6D6}"/>
                    </a:ext>
                  </a:extLst>
                </p:cNvPr>
                <p:cNvSpPr/>
                <p:nvPr/>
              </p:nvSpPr>
              <p:spPr>
                <a:xfrm>
                  <a:off x="6544664" y="4217975"/>
                  <a:ext cx="142400" cy="40336"/>
                </a:xfrm>
                <a:custGeom>
                  <a:avLst/>
                  <a:gdLst>
                    <a:gd name="connsiteX0" fmla="*/ 123846 w 142400"/>
                    <a:gd name="connsiteY0" fmla="*/ 40336 h 40336"/>
                    <a:gd name="connsiteX1" fmla="*/ 65817 w 142400"/>
                    <a:gd name="connsiteY1" fmla="*/ 40336 h 40336"/>
                    <a:gd name="connsiteX2" fmla="*/ 60866 w 142400"/>
                    <a:gd name="connsiteY2" fmla="*/ 35385 h 40336"/>
                    <a:gd name="connsiteX3" fmla="*/ 65817 w 142400"/>
                    <a:gd name="connsiteY3" fmla="*/ 30433 h 40336"/>
                    <a:gd name="connsiteX4" fmla="*/ 123846 w 142400"/>
                    <a:gd name="connsiteY4" fmla="*/ 30433 h 40336"/>
                    <a:gd name="connsiteX5" fmla="*/ 132497 w 142400"/>
                    <a:gd name="connsiteY5" fmla="*/ 21782 h 40336"/>
                    <a:gd name="connsiteX6" fmla="*/ 132497 w 142400"/>
                    <a:gd name="connsiteY6" fmla="*/ 18555 h 40336"/>
                    <a:gd name="connsiteX7" fmla="*/ 123846 w 142400"/>
                    <a:gd name="connsiteY7" fmla="*/ 9903 h 40336"/>
                    <a:gd name="connsiteX8" fmla="*/ 4952 w 142400"/>
                    <a:gd name="connsiteY8" fmla="*/ 9903 h 40336"/>
                    <a:gd name="connsiteX9" fmla="*/ 0 w 142400"/>
                    <a:gd name="connsiteY9" fmla="*/ 4952 h 40336"/>
                    <a:gd name="connsiteX10" fmla="*/ 4952 w 142400"/>
                    <a:gd name="connsiteY10" fmla="*/ 0 h 40336"/>
                    <a:gd name="connsiteX11" fmla="*/ 123846 w 142400"/>
                    <a:gd name="connsiteY11" fmla="*/ 0 h 40336"/>
                    <a:gd name="connsiteX12" fmla="*/ 142400 w 142400"/>
                    <a:gd name="connsiteY12" fmla="*/ 18555 h 40336"/>
                    <a:gd name="connsiteX13" fmla="*/ 142400 w 142400"/>
                    <a:gd name="connsiteY13" fmla="*/ 21782 h 40336"/>
                    <a:gd name="connsiteX14" fmla="*/ 123846 w 142400"/>
                    <a:gd name="connsiteY14" fmla="*/ 40336 h 4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2400" h="40336">
                      <a:moveTo>
                        <a:pt x="123846" y="40336"/>
                      </a:moveTo>
                      <a:lnTo>
                        <a:pt x="65817" y="40336"/>
                      </a:lnTo>
                      <a:cubicBezTo>
                        <a:pt x="63091" y="40336"/>
                        <a:pt x="60866" y="38111"/>
                        <a:pt x="60866" y="35385"/>
                      </a:cubicBezTo>
                      <a:cubicBezTo>
                        <a:pt x="60866" y="32658"/>
                        <a:pt x="63091" y="30433"/>
                        <a:pt x="65817" y="30433"/>
                      </a:cubicBezTo>
                      <a:lnTo>
                        <a:pt x="123846" y="30433"/>
                      </a:lnTo>
                      <a:cubicBezTo>
                        <a:pt x="128630" y="30433"/>
                        <a:pt x="132497" y="26538"/>
                        <a:pt x="132497" y="21782"/>
                      </a:cubicBezTo>
                      <a:lnTo>
                        <a:pt x="132497" y="18555"/>
                      </a:lnTo>
                      <a:cubicBezTo>
                        <a:pt x="132497" y="13770"/>
                        <a:pt x="128603" y="9903"/>
                        <a:pt x="123846" y="9903"/>
                      </a:cubicBezTo>
                      <a:lnTo>
                        <a:pt x="4952" y="9903"/>
                      </a:lnTo>
                      <a:cubicBezTo>
                        <a:pt x="2225" y="9903"/>
                        <a:pt x="0" y="7678"/>
                        <a:pt x="0" y="4952"/>
                      </a:cubicBezTo>
                      <a:cubicBezTo>
                        <a:pt x="0" y="2225"/>
                        <a:pt x="2225" y="0"/>
                        <a:pt x="4952" y="0"/>
                      </a:cubicBezTo>
                      <a:lnTo>
                        <a:pt x="123846" y="0"/>
                      </a:lnTo>
                      <a:cubicBezTo>
                        <a:pt x="134083" y="0"/>
                        <a:pt x="142400" y="8318"/>
                        <a:pt x="142400" y="18555"/>
                      </a:cubicBezTo>
                      <a:lnTo>
                        <a:pt x="142400" y="21782"/>
                      </a:lnTo>
                      <a:cubicBezTo>
                        <a:pt x="142400" y="31991"/>
                        <a:pt x="134083" y="40336"/>
                        <a:pt x="123846" y="40336"/>
                      </a:cubicBezTo>
                      <a:close/>
                    </a:path>
                  </a:pathLst>
                </a:custGeom>
                <a:solidFill>
                  <a:schemeClr val="accent1"/>
                </a:solidFill>
                <a:ln w="2775" cap="flat">
                  <a:noFill/>
                  <a:prstDash val="solid"/>
                  <a:miter/>
                </a:ln>
              </p:spPr>
              <p:txBody>
                <a:bodyPr rtlCol="0" anchor="ctr"/>
                <a:lstStyle/>
                <a:p>
                  <a:endParaRPr lang="en-GB" dirty="0"/>
                </a:p>
              </p:txBody>
            </p:sp>
            <p:sp>
              <p:nvSpPr>
                <p:cNvPr id="1048" name="Freihandform: Form 1047">
                  <a:extLst>
                    <a:ext uri="{FF2B5EF4-FFF2-40B4-BE49-F238E27FC236}">
                      <a16:creationId xmlns:a16="http://schemas.microsoft.com/office/drawing/2014/main" id="{282DDFB0-9301-47CA-ABE8-09515483DB6A}"/>
                    </a:ext>
                  </a:extLst>
                </p:cNvPr>
                <p:cNvSpPr/>
                <p:nvPr/>
              </p:nvSpPr>
              <p:spPr>
                <a:xfrm>
                  <a:off x="6581161" y="4248408"/>
                  <a:ext cx="69350" cy="40336"/>
                </a:xfrm>
                <a:custGeom>
                  <a:avLst/>
                  <a:gdLst>
                    <a:gd name="connsiteX0" fmla="*/ 50796 w 69350"/>
                    <a:gd name="connsiteY0" fmla="*/ 40336 h 40336"/>
                    <a:gd name="connsiteX1" fmla="*/ 4952 w 69350"/>
                    <a:gd name="connsiteY1" fmla="*/ 40336 h 40336"/>
                    <a:gd name="connsiteX2" fmla="*/ 0 w 69350"/>
                    <a:gd name="connsiteY2" fmla="*/ 35385 h 40336"/>
                    <a:gd name="connsiteX3" fmla="*/ 4952 w 69350"/>
                    <a:gd name="connsiteY3" fmla="*/ 30433 h 40336"/>
                    <a:gd name="connsiteX4" fmla="*/ 50796 w 69350"/>
                    <a:gd name="connsiteY4" fmla="*/ 30433 h 40336"/>
                    <a:gd name="connsiteX5" fmla="*/ 59447 w 69350"/>
                    <a:gd name="connsiteY5" fmla="*/ 21782 h 40336"/>
                    <a:gd name="connsiteX6" fmla="*/ 59447 w 69350"/>
                    <a:gd name="connsiteY6" fmla="*/ 18582 h 40336"/>
                    <a:gd name="connsiteX7" fmla="*/ 50796 w 69350"/>
                    <a:gd name="connsiteY7" fmla="*/ 9903 h 40336"/>
                    <a:gd name="connsiteX8" fmla="*/ 23228 w 69350"/>
                    <a:gd name="connsiteY8" fmla="*/ 9903 h 40336"/>
                    <a:gd name="connsiteX9" fmla="*/ 18276 w 69350"/>
                    <a:gd name="connsiteY9" fmla="*/ 4952 h 40336"/>
                    <a:gd name="connsiteX10" fmla="*/ 23228 w 69350"/>
                    <a:gd name="connsiteY10" fmla="*/ 0 h 40336"/>
                    <a:gd name="connsiteX11" fmla="*/ 50796 w 69350"/>
                    <a:gd name="connsiteY11" fmla="*/ 0 h 40336"/>
                    <a:gd name="connsiteX12" fmla="*/ 69350 w 69350"/>
                    <a:gd name="connsiteY12" fmla="*/ 18582 h 40336"/>
                    <a:gd name="connsiteX13" fmla="*/ 69350 w 69350"/>
                    <a:gd name="connsiteY13" fmla="*/ 21782 h 40336"/>
                    <a:gd name="connsiteX14" fmla="*/ 50796 w 69350"/>
                    <a:gd name="connsiteY14" fmla="*/ 40336 h 4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50" h="40336">
                      <a:moveTo>
                        <a:pt x="50796" y="40336"/>
                      </a:moveTo>
                      <a:lnTo>
                        <a:pt x="4952" y="40336"/>
                      </a:lnTo>
                      <a:cubicBezTo>
                        <a:pt x="2225" y="40336"/>
                        <a:pt x="0" y="38111"/>
                        <a:pt x="0" y="35385"/>
                      </a:cubicBezTo>
                      <a:cubicBezTo>
                        <a:pt x="0" y="32658"/>
                        <a:pt x="2225" y="30433"/>
                        <a:pt x="4952" y="30433"/>
                      </a:cubicBezTo>
                      <a:lnTo>
                        <a:pt x="50796" y="30433"/>
                      </a:lnTo>
                      <a:cubicBezTo>
                        <a:pt x="55580" y="30433"/>
                        <a:pt x="59447" y="26538"/>
                        <a:pt x="59447" y="21782"/>
                      </a:cubicBezTo>
                      <a:lnTo>
                        <a:pt x="59447" y="18582"/>
                      </a:lnTo>
                      <a:cubicBezTo>
                        <a:pt x="59447" y="13798"/>
                        <a:pt x="55553" y="9903"/>
                        <a:pt x="50796" y="9903"/>
                      </a:cubicBezTo>
                      <a:lnTo>
                        <a:pt x="23228" y="9903"/>
                      </a:lnTo>
                      <a:cubicBezTo>
                        <a:pt x="20502" y="9903"/>
                        <a:pt x="18276" y="7678"/>
                        <a:pt x="18276" y="4952"/>
                      </a:cubicBezTo>
                      <a:cubicBezTo>
                        <a:pt x="18276" y="2225"/>
                        <a:pt x="20502" y="0"/>
                        <a:pt x="23228" y="0"/>
                      </a:cubicBezTo>
                      <a:lnTo>
                        <a:pt x="50796" y="0"/>
                      </a:lnTo>
                      <a:cubicBezTo>
                        <a:pt x="61033" y="0"/>
                        <a:pt x="69350" y="8318"/>
                        <a:pt x="69350" y="18582"/>
                      </a:cubicBezTo>
                      <a:lnTo>
                        <a:pt x="69350" y="21782"/>
                      </a:lnTo>
                      <a:cubicBezTo>
                        <a:pt x="69378" y="31991"/>
                        <a:pt x="61033" y="40336"/>
                        <a:pt x="50796" y="40336"/>
                      </a:cubicBezTo>
                      <a:close/>
                    </a:path>
                  </a:pathLst>
                </a:custGeom>
                <a:solidFill>
                  <a:schemeClr val="accent1"/>
                </a:solidFill>
                <a:ln w="2775" cap="flat">
                  <a:noFill/>
                  <a:prstDash val="solid"/>
                  <a:miter/>
                </a:ln>
              </p:spPr>
              <p:txBody>
                <a:bodyPr rtlCol="0" anchor="ctr"/>
                <a:lstStyle/>
                <a:p>
                  <a:endParaRPr lang="en-GB" dirty="0"/>
                </a:p>
              </p:txBody>
            </p:sp>
            <p:sp>
              <p:nvSpPr>
                <p:cNvPr id="1049" name="Freihandform: Form 1048">
                  <a:extLst>
                    <a:ext uri="{FF2B5EF4-FFF2-40B4-BE49-F238E27FC236}">
                      <a16:creationId xmlns:a16="http://schemas.microsoft.com/office/drawing/2014/main" id="{E883C303-38C5-4A95-BC46-65274A9EBBCB}"/>
                    </a:ext>
                  </a:extLst>
                </p:cNvPr>
                <p:cNvSpPr/>
                <p:nvPr/>
              </p:nvSpPr>
              <p:spPr>
                <a:xfrm>
                  <a:off x="6526388" y="4278813"/>
                  <a:ext cx="93690" cy="40363"/>
                </a:xfrm>
                <a:custGeom>
                  <a:avLst/>
                  <a:gdLst>
                    <a:gd name="connsiteX0" fmla="*/ 75136 w 93690"/>
                    <a:gd name="connsiteY0" fmla="*/ 40364 h 40363"/>
                    <a:gd name="connsiteX1" fmla="*/ 4952 w 93690"/>
                    <a:gd name="connsiteY1" fmla="*/ 40364 h 40363"/>
                    <a:gd name="connsiteX2" fmla="*/ 0 w 93690"/>
                    <a:gd name="connsiteY2" fmla="*/ 35412 h 40363"/>
                    <a:gd name="connsiteX3" fmla="*/ 4952 w 93690"/>
                    <a:gd name="connsiteY3" fmla="*/ 30461 h 40363"/>
                    <a:gd name="connsiteX4" fmla="*/ 75136 w 93690"/>
                    <a:gd name="connsiteY4" fmla="*/ 30461 h 40363"/>
                    <a:gd name="connsiteX5" fmla="*/ 83788 w 93690"/>
                    <a:gd name="connsiteY5" fmla="*/ 21782 h 40363"/>
                    <a:gd name="connsiteX6" fmla="*/ 83788 w 93690"/>
                    <a:gd name="connsiteY6" fmla="*/ 18582 h 40363"/>
                    <a:gd name="connsiteX7" fmla="*/ 75136 w 93690"/>
                    <a:gd name="connsiteY7" fmla="*/ 9903 h 40363"/>
                    <a:gd name="connsiteX8" fmla="*/ 35384 w 93690"/>
                    <a:gd name="connsiteY8" fmla="*/ 9903 h 40363"/>
                    <a:gd name="connsiteX9" fmla="*/ 30433 w 93690"/>
                    <a:gd name="connsiteY9" fmla="*/ 4952 h 40363"/>
                    <a:gd name="connsiteX10" fmla="*/ 35384 w 93690"/>
                    <a:gd name="connsiteY10" fmla="*/ 0 h 40363"/>
                    <a:gd name="connsiteX11" fmla="*/ 75136 w 93690"/>
                    <a:gd name="connsiteY11" fmla="*/ 0 h 40363"/>
                    <a:gd name="connsiteX12" fmla="*/ 93691 w 93690"/>
                    <a:gd name="connsiteY12" fmla="*/ 18582 h 40363"/>
                    <a:gd name="connsiteX13" fmla="*/ 93691 w 93690"/>
                    <a:gd name="connsiteY13" fmla="*/ 21782 h 40363"/>
                    <a:gd name="connsiteX14" fmla="*/ 75136 w 93690"/>
                    <a:gd name="connsiteY14" fmla="*/ 40364 h 4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3690" h="40363">
                      <a:moveTo>
                        <a:pt x="75136" y="40364"/>
                      </a:moveTo>
                      <a:lnTo>
                        <a:pt x="4952" y="40364"/>
                      </a:lnTo>
                      <a:cubicBezTo>
                        <a:pt x="2225" y="40364"/>
                        <a:pt x="0" y="38139"/>
                        <a:pt x="0" y="35412"/>
                      </a:cubicBezTo>
                      <a:cubicBezTo>
                        <a:pt x="0" y="32686"/>
                        <a:pt x="2225" y="30461"/>
                        <a:pt x="4952" y="30461"/>
                      </a:cubicBezTo>
                      <a:lnTo>
                        <a:pt x="75136" y="30461"/>
                      </a:lnTo>
                      <a:cubicBezTo>
                        <a:pt x="79921" y="30461"/>
                        <a:pt x="83788" y="26566"/>
                        <a:pt x="83788" y="21782"/>
                      </a:cubicBezTo>
                      <a:lnTo>
                        <a:pt x="83788" y="18582"/>
                      </a:lnTo>
                      <a:cubicBezTo>
                        <a:pt x="83788" y="13798"/>
                        <a:pt x="79893" y="9903"/>
                        <a:pt x="75136" y="9903"/>
                      </a:cubicBezTo>
                      <a:lnTo>
                        <a:pt x="35384" y="9903"/>
                      </a:lnTo>
                      <a:cubicBezTo>
                        <a:pt x="32658" y="9903"/>
                        <a:pt x="30433" y="7678"/>
                        <a:pt x="30433" y="4952"/>
                      </a:cubicBezTo>
                      <a:cubicBezTo>
                        <a:pt x="30433" y="2225"/>
                        <a:pt x="32658" y="0"/>
                        <a:pt x="35384" y="0"/>
                      </a:cubicBezTo>
                      <a:lnTo>
                        <a:pt x="75136" y="0"/>
                      </a:lnTo>
                      <a:cubicBezTo>
                        <a:pt x="85373" y="0"/>
                        <a:pt x="93691" y="8318"/>
                        <a:pt x="93691" y="18582"/>
                      </a:cubicBezTo>
                      <a:lnTo>
                        <a:pt x="93691" y="21782"/>
                      </a:lnTo>
                      <a:cubicBezTo>
                        <a:pt x="93691" y="32046"/>
                        <a:pt x="85373" y="40364"/>
                        <a:pt x="75136" y="40364"/>
                      </a:cubicBezTo>
                      <a:close/>
                    </a:path>
                  </a:pathLst>
                </a:custGeom>
                <a:solidFill>
                  <a:schemeClr val="accent1"/>
                </a:solidFill>
                <a:ln w="2775" cap="flat">
                  <a:noFill/>
                  <a:prstDash val="solid"/>
                  <a:miter/>
                </a:ln>
              </p:spPr>
              <p:txBody>
                <a:bodyPr rtlCol="0" anchor="ctr"/>
                <a:lstStyle/>
                <a:p>
                  <a:endParaRPr lang="en-GB" dirty="0"/>
                </a:p>
              </p:txBody>
            </p:sp>
            <p:sp>
              <p:nvSpPr>
                <p:cNvPr id="1050" name="Freihandform: Form 1049">
                  <a:extLst>
                    <a:ext uri="{FF2B5EF4-FFF2-40B4-BE49-F238E27FC236}">
                      <a16:creationId xmlns:a16="http://schemas.microsoft.com/office/drawing/2014/main" id="{D0364240-E129-47DA-A476-77751EA20F94}"/>
                    </a:ext>
                  </a:extLst>
                </p:cNvPr>
                <p:cNvSpPr/>
                <p:nvPr/>
              </p:nvSpPr>
              <p:spPr>
                <a:xfrm>
                  <a:off x="6514175" y="4309302"/>
                  <a:ext cx="75442" cy="40336"/>
                </a:xfrm>
                <a:custGeom>
                  <a:avLst/>
                  <a:gdLst>
                    <a:gd name="connsiteX0" fmla="*/ 56888 w 75442"/>
                    <a:gd name="connsiteY0" fmla="*/ 40336 h 40336"/>
                    <a:gd name="connsiteX1" fmla="*/ 4952 w 75442"/>
                    <a:gd name="connsiteY1" fmla="*/ 40336 h 40336"/>
                    <a:gd name="connsiteX2" fmla="*/ 0 w 75442"/>
                    <a:gd name="connsiteY2" fmla="*/ 35384 h 40336"/>
                    <a:gd name="connsiteX3" fmla="*/ 4952 w 75442"/>
                    <a:gd name="connsiteY3" fmla="*/ 30433 h 40336"/>
                    <a:gd name="connsiteX4" fmla="*/ 56888 w 75442"/>
                    <a:gd name="connsiteY4" fmla="*/ 30433 h 40336"/>
                    <a:gd name="connsiteX5" fmla="*/ 65539 w 75442"/>
                    <a:gd name="connsiteY5" fmla="*/ 21782 h 40336"/>
                    <a:gd name="connsiteX6" fmla="*/ 65539 w 75442"/>
                    <a:gd name="connsiteY6" fmla="*/ 18555 h 40336"/>
                    <a:gd name="connsiteX7" fmla="*/ 56888 w 75442"/>
                    <a:gd name="connsiteY7" fmla="*/ 9903 h 40336"/>
                    <a:gd name="connsiteX8" fmla="*/ 47597 w 75442"/>
                    <a:gd name="connsiteY8" fmla="*/ 9903 h 40336"/>
                    <a:gd name="connsiteX9" fmla="*/ 42645 w 75442"/>
                    <a:gd name="connsiteY9" fmla="*/ 4952 h 40336"/>
                    <a:gd name="connsiteX10" fmla="*/ 47597 w 75442"/>
                    <a:gd name="connsiteY10" fmla="*/ 0 h 40336"/>
                    <a:gd name="connsiteX11" fmla="*/ 56888 w 75442"/>
                    <a:gd name="connsiteY11" fmla="*/ 0 h 40336"/>
                    <a:gd name="connsiteX12" fmla="*/ 75442 w 75442"/>
                    <a:gd name="connsiteY12" fmla="*/ 18555 h 40336"/>
                    <a:gd name="connsiteX13" fmla="*/ 75442 w 75442"/>
                    <a:gd name="connsiteY13" fmla="*/ 21782 h 40336"/>
                    <a:gd name="connsiteX14" fmla="*/ 56888 w 75442"/>
                    <a:gd name="connsiteY14" fmla="*/ 40336 h 4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442" h="40336">
                      <a:moveTo>
                        <a:pt x="56888" y="40336"/>
                      </a:moveTo>
                      <a:lnTo>
                        <a:pt x="4952" y="40336"/>
                      </a:lnTo>
                      <a:cubicBezTo>
                        <a:pt x="2225" y="40336"/>
                        <a:pt x="0" y="38111"/>
                        <a:pt x="0" y="35384"/>
                      </a:cubicBezTo>
                      <a:cubicBezTo>
                        <a:pt x="0" y="32658"/>
                        <a:pt x="2225" y="30433"/>
                        <a:pt x="4952" y="30433"/>
                      </a:cubicBezTo>
                      <a:lnTo>
                        <a:pt x="56888" y="30433"/>
                      </a:lnTo>
                      <a:cubicBezTo>
                        <a:pt x="61673" y="30433"/>
                        <a:pt x="65539" y="26538"/>
                        <a:pt x="65539" y="21782"/>
                      </a:cubicBezTo>
                      <a:lnTo>
                        <a:pt x="65539" y="18555"/>
                      </a:lnTo>
                      <a:cubicBezTo>
                        <a:pt x="65539" y="13770"/>
                        <a:pt x="61645" y="9903"/>
                        <a:pt x="56888" y="9903"/>
                      </a:cubicBezTo>
                      <a:lnTo>
                        <a:pt x="47597" y="9903"/>
                      </a:lnTo>
                      <a:cubicBezTo>
                        <a:pt x="44870" y="9903"/>
                        <a:pt x="42645" y="7678"/>
                        <a:pt x="42645" y="4952"/>
                      </a:cubicBezTo>
                      <a:cubicBezTo>
                        <a:pt x="42645" y="2225"/>
                        <a:pt x="44870" y="0"/>
                        <a:pt x="47597" y="0"/>
                      </a:cubicBezTo>
                      <a:lnTo>
                        <a:pt x="56888" y="0"/>
                      </a:lnTo>
                      <a:cubicBezTo>
                        <a:pt x="67125" y="0"/>
                        <a:pt x="75442" y="8318"/>
                        <a:pt x="75442" y="18555"/>
                      </a:cubicBezTo>
                      <a:lnTo>
                        <a:pt x="75442" y="21782"/>
                      </a:lnTo>
                      <a:cubicBezTo>
                        <a:pt x="75470" y="31991"/>
                        <a:pt x="67125" y="40336"/>
                        <a:pt x="56888" y="40336"/>
                      </a:cubicBezTo>
                      <a:close/>
                    </a:path>
                  </a:pathLst>
                </a:custGeom>
                <a:solidFill>
                  <a:schemeClr val="accent1"/>
                </a:solidFill>
                <a:ln w="2775" cap="flat">
                  <a:noFill/>
                  <a:prstDash val="solid"/>
                  <a:miter/>
                </a:ln>
              </p:spPr>
              <p:txBody>
                <a:bodyPr rtlCol="0" anchor="ctr"/>
                <a:lstStyle/>
                <a:p>
                  <a:endParaRPr lang="en-GB" dirty="0"/>
                </a:p>
              </p:txBody>
            </p:sp>
          </p:grpSp>
          <p:grpSp>
            <p:nvGrpSpPr>
              <p:cNvPr id="1040" name="Grafik 114">
                <a:extLst>
                  <a:ext uri="{FF2B5EF4-FFF2-40B4-BE49-F238E27FC236}">
                    <a16:creationId xmlns:a16="http://schemas.microsoft.com/office/drawing/2014/main" id="{71032C66-7882-46DF-9DA2-EE2ADEDEC13B}"/>
                  </a:ext>
                </a:extLst>
              </p:cNvPr>
              <p:cNvGrpSpPr/>
              <p:nvPr/>
            </p:nvGrpSpPr>
            <p:grpSpPr>
              <a:xfrm>
                <a:off x="5993840" y="4217947"/>
                <a:ext cx="351543" cy="204962"/>
                <a:chOff x="5993840" y="4217947"/>
                <a:chExt cx="351543" cy="204962"/>
              </a:xfrm>
              <a:solidFill>
                <a:schemeClr val="accent1"/>
              </a:solidFill>
            </p:grpSpPr>
            <p:sp>
              <p:nvSpPr>
                <p:cNvPr id="1041" name="Freihandform: Form 1040">
                  <a:extLst>
                    <a:ext uri="{FF2B5EF4-FFF2-40B4-BE49-F238E27FC236}">
                      <a16:creationId xmlns:a16="http://schemas.microsoft.com/office/drawing/2014/main" id="{10CD4DB6-A000-4623-BA99-12A989677004}"/>
                    </a:ext>
                  </a:extLst>
                </p:cNvPr>
                <p:cNvSpPr/>
                <p:nvPr/>
              </p:nvSpPr>
              <p:spPr>
                <a:xfrm>
                  <a:off x="6012089" y="4217947"/>
                  <a:ext cx="333294" cy="204962"/>
                </a:xfrm>
                <a:custGeom>
                  <a:avLst/>
                  <a:gdLst>
                    <a:gd name="connsiteX0" fmla="*/ 328363 w 333294"/>
                    <a:gd name="connsiteY0" fmla="*/ 204963 h 204962"/>
                    <a:gd name="connsiteX1" fmla="*/ 324886 w 333294"/>
                    <a:gd name="connsiteY1" fmla="*/ 203544 h 204962"/>
                    <a:gd name="connsiteX2" fmla="*/ 127434 w 333294"/>
                    <a:gd name="connsiteY2" fmla="*/ 9903 h 204962"/>
                    <a:gd name="connsiteX3" fmla="*/ 4952 w 333294"/>
                    <a:gd name="connsiteY3" fmla="*/ 9903 h 204962"/>
                    <a:gd name="connsiteX4" fmla="*/ 0 w 333294"/>
                    <a:gd name="connsiteY4" fmla="*/ 4952 h 204962"/>
                    <a:gd name="connsiteX5" fmla="*/ 4952 w 333294"/>
                    <a:gd name="connsiteY5" fmla="*/ 0 h 204962"/>
                    <a:gd name="connsiteX6" fmla="*/ 129437 w 333294"/>
                    <a:gd name="connsiteY6" fmla="*/ 0 h 204962"/>
                    <a:gd name="connsiteX7" fmla="*/ 132914 w 333294"/>
                    <a:gd name="connsiteY7" fmla="*/ 1419 h 204962"/>
                    <a:gd name="connsiteX8" fmla="*/ 331813 w 333294"/>
                    <a:gd name="connsiteY8" fmla="*/ 196478 h 204962"/>
                    <a:gd name="connsiteX9" fmla="*/ 331896 w 333294"/>
                    <a:gd name="connsiteY9" fmla="*/ 203489 h 204962"/>
                    <a:gd name="connsiteX10" fmla="*/ 328363 w 333294"/>
                    <a:gd name="connsiteY10" fmla="*/ 204963 h 204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3294" h="204962">
                      <a:moveTo>
                        <a:pt x="328363" y="204963"/>
                      </a:moveTo>
                      <a:cubicBezTo>
                        <a:pt x="327112" y="204963"/>
                        <a:pt x="325860" y="204490"/>
                        <a:pt x="324886" y="203544"/>
                      </a:cubicBezTo>
                      <a:lnTo>
                        <a:pt x="127434" y="9903"/>
                      </a:lnTo>
                      <a:lnTo>
                        <a:pt x="4952" y="9903"/>
                      </a:lnTo>
                      <a:cubicBezTo>
                        <a:pt x="2225" y="9903"/>
                        <a:pt x="0" y="7678"/>
                        <a:pt x="0" y="4952"/>
                      </a:cubicBezTo>
                      <a:cubicBezTo>
                        <a:pt x="0" y="2226"/>
                        <a:pt x="2225" y="0"/>
                        <a:pt x="4952" y="0"/>
                      </a:cubicBezTo>
                      <a:lnTo>
                        <a:pt x="129437" y="0"/>
                      </a:lnTo>
                      <a:cubicBezTo>
                        <a:pt x="130745" y="0"/>
                        <a:pt x="131969" y="501"/>
                        <a:pt x="132914" y="1419"/>
                      </a:cubicBezTo>
                      <a:lnTo>
                        <a:pt x="331813" y="196478"/>
                      </a:lnTo>
                      <a:cubicBezTo>
                        <a:pt x="333760" y="198398"/>
                        <a:pt x="333788" y="201541"/>
                        <a:pt x="331896" y="203489"/>
                      </a:cubicBezTo>
                      <a:cubicBezTo>
                        <a:pt x="330923" y="204462"/>
                        <a:pt x="329643" y="204963"/>
                        <a:pt x="328363" y="204963"/>
                      </a:cubicBezTo>
                      <a:close/>
                    </a:path>
                  </a:pathLst>
                </a:custGeom>
                <a:solidFill>
                  <a:schemeClr val="accent1"/>
                </a:solidFill>
                <a:ln w="2775" cap="flat">
                  <a:noFill/>
                  <a:prstDash val="solid"/>
                  <a:miter/>
                </a:ln>
              </p:spPr>
              <p:txBody>
                <a:bodyPr rtlCol="0" anchor="ctr"/>
                <a:lstStyle/>
                <a:p>
                  <a:endParaRPr lang="en-GB" dirty="0"/>
                </a:p>
              </p:txBody>
            </p:sp>
            <p:sp>
              <p:nvSpPr>
                <p:cNvPr id="1042" name="Freihandform: Form 1041">
                  <a:extLst>
                    <a:ext uri="{FF2B5EF4-FFF2-40B4-BE49-F238E27FC236}">
                      <a16:creationId xmlns:a16="http://schemas.microsoft.com/office/drawing/2014/main" id="{2208A44D-388A-4D8B-A5BA-0C7AFEC6A616}"/>
                    </a:ext>
                  </a:extLst>
                </p:cNvPr>
                <p:cNvSpPr/>
                <p:nvPr/>
              </p:nvSpPr>
              <p:spPr>
                <a:xfrm>
                  <a:off x="5993840" y="4217975"/>
                  <a:ext cx="148492" cy="40336"/>
                </a:xfrm>
                <a:custGeom>
                  <a:avLst/>
                  <a:gdLst>
                    <a:gd name="connsiteX0" fmla="*/ 76583 w 148492"/>
                    <a:gd name="connsiteY0" fmla="*/ 40336 h 40336"/>
                    <a:gd name="connsiteX1" fmla="*/ 18555 w 148492"/>
                    <a:gd name="connsiteY1" fmla="*/ 40336 h 40336"/>
                    <a:gd name="connsiteX2" fmla="*/ 0 w 148492"/>
                    <a:gd name="connsiteY2" fmla="*/ 21782 h 40336"/>
                    <a:gd name="connsiteX3" fmla="*/ 0 w 148492"/>
                    <a:gd name="connsiteY3" fmla="*/ 18555 h 40336"/>
                    <a:gd name="connsiteX4" fmla="*/ 18555 w 148492"/>
                    <a:gd name="connsiteY4" fmla="*/ 0 h 40336"/>
                    <a:gd name="connsiteX5" fmla="*/ 143541 w 148492"/>
                    <a:gd name="connsiteY5" fmla="*/ 0 h 40336"/>
                    <a:gd name="connsiteX6" fmla="*/ 148492 w 148492"/>
                    <a:gd name="connsiteY6" fmla="*/ 4952 h 40336"/>
                    <a:gd name="connsiteX7" fmla="*/ 143541 w 148492"/>
                    <a:gd name="connsiteY7" fmla="*/ 9903 h 40336"/>
                    <a:gd name="connsiteX8" fmla="*/ 18555 w 148492"/>
                    <a:gd name="connsiteY8" fmla="*/ 9903 h 40336"/>
                    <a:gd name="connsiteX9" fmla="*/ 9903 w 148492"/>
                    <a:gd name="connsiteY9" fmla="*/ 18555 h 40336"/>
                    <a:gd name="connsiteX10" fmla="*/ 9903 w 148492"/>
                    <a:gd name="connsiteY10" fmla="*/ 21782 h 40336"/>
                    <a:gd name="connsiteX11" fmla="*/ 18555 w 148492"/>
                    <a:gd name="connsiteY11" fmla="*/ 30433 h 40336"/>
                    <a:gd name="connsiteX12" fmla="*/ 76583 w 148492"/>
                    <a:gd name="connsiteY12" fmla="*/ 30433 h 40336"/>
                    <a:gd name="connsiteX13" fmla="*/ 81534 w 148492"/>
                    <a:gd name="connsiteY13" fmla="*/ 35385 h 40336"/>
                    <a:gd name="connsiteX14" fmla="*/ 76583 w 148492"/>
                    <a:gd name="connsiteY14" fmla="*/ 40336 h 4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8492" h="40336">
                      <a:moveTo>
                        <a:pt x="76583" y="40336"/>
                      </a:moveTo>
                      <a:lnTo>
                        <a:pt x="18555" y="40336"/>
                      </a:lnTo>
                      <a:cubicBezTo>
                        <a:pt x="8318" y="40336"/>
                        <a:pt x="0" y="32019"/>
                        <a:pt x="0" y="21782"/>
                      </a:cubicBezTo>
                      <a:lnTo>
                        <a:pt x="0" y="18555"/>
                      </a:lnTo>
                      <a:cubicBezTo>
                        <a:pt x="0" y="8318"/>
                        <a:pt x="8318" y="0"/>
                        <a:pt x="18555" y="0"/>
                      </a:cubicBezTo>
                      <a:lnTo>
                        <a:pt x="143541" y="0"/>
                      </a:lnTo>
                      <a:cubicBezTo>
                        <a:pt x="146267" y="0"/>
                        <a:pt x="148492" y="2225"/>
                        <a:pt x="148492" y="4952"/>
                      </a:cubicBezTo>
                      <a:cubicBezTo>
                        <a:pt x="148492" y="7678"/>
                        <a:pt x="146267" y="9903"/>
                        <a:pt x="143541" y="9903"/>
                      </a:cubicBezTo>
                      <a:lnTo>
                        <a:pt x="18555" y="9903"/>
                      </a:lnTo>
                      <a:cubicBezTo>
                        <a:pt x="13770" y="9903"/>
                        <a:pt x="9903" y="13798"/>
                        <a:pt x="9903" y="18555"/>
                      </a:cubicBezTo>
                      <a:lnTo>
                        <a:pt x="9903" y="21782"/>
                      </a:lnTo>
                      <a:cubicBezTo>
                        <a:pt x="9903" y="26566"/>
                        <a:pt x="13798" y="30433"/>
                        <a:pt x="18555" y="30433"/>
                      </a:cubicBezTo>
                      <a:lnTo>
                        <a:pt x="76583" y="30433"/>
                      </a:lnTo>
                      <a:cubicBezTo>
                        <a:pt x="79309" y="30433"/>
                        <a:pt x="81534" y="32658"/>
                        <a:pt x="81534" y="35385"/>
                      </a:cubicBezTo>
                      <a:cubicBezTo>
                        <a:pt x="81534" y="38111"/>
                        <a:pt x="79337" y="40336"/>
                        <a:pt x="76583" y="40336"/>
                      </a:cubicBezTo>
                      <a:close/>
                    </a:path>
                  </a:pathLst>
                </a:custGeom>
                <a:solidFill>
                  <a:schemeClr val="accent1"/>
                </a:solidFill>
                <a:ln w="2775" cap="flat">
                  <a:noFill/>
                  <a:prstDash val="solid"/>
                  <a:miter/>
                </a:ln>
              </p:spPr>
              <p:txBody>
                <a:bodyPr rtlCol="0" anchor="ctr"/>
                <a:lstStyle/>
                <a:p>
                  <a:endParaRPr lang="en-GB" dirty="0"/>
                </a:p>
              </p:txBody>
            </p:sp>
            <p:sp>
              <p:nvSpPr>
                <p:cNvPr id="1043" name="Freihandform: Form 1042">
                  <a:extLst>
                    <a:ext uri="{FF2B5EF4-FFF2-40B4-BE49-F238E27FC236}">
                      <a16:creationId xmlns:a16="http://schemas.microsoft.com/office/drawing/2014/main" id="{4C11E74E-8858-4E9E-BF7E-E9C9381ECC4C}"/>
                    </a:ext>
                  </a:extLst>
                </p:cNvPr>
                <p:cNvSpPr/>
                <p:nvPr/>
              </p:nvSpPr>
              <p:spPr>
                <a:xfrm>
                  <a:off x="6030393" y="4248408"/>
                  <a:ext cx="69350" cy="40336"/>
                </a:xfrm>
                <a:custGeom>
                  <a:avLst/>
                  <a:gdLst>
                    <a:gd name="connsiteX0" fmla="*/ 64399 w 69350"/>
                    <a:gd name="connsiteY0" fmla="*/ 40336 h 40336"/>
                    <a:gd name="connsiteX1" fmla="*/ 18555 w 69350"/>
                    <a:gd name="connsiteY1" fmla="*/ 40336 h 40336"/>
                    <a:gd name="connsiteX2" fmla="*/ 0 w 69350"/>
                    <a:gd name="connsiteY2" fmla="*/ 21782 h 40336"/>
                    <a:gd name="connsiteX3" fmla="*/ 0 w 69350"/>
                    <a:gd name="connsiteY3" fmla="*/ 18582 h 40336"/>
                    <a:gd name="connsiteX4" fmla="*/ 18555 w 69350"/>
                    <a:gd name="connsiteY4" fmla="*/ 0 h 40336"/>
                    <a:gd name="connsiteX5" fmla="*/ 46122 w 69350"/>
                    <a:gd name="connsiteY5" fmla="*/ 0 h 40336"/>
                    <a:gd name="connsiteX6" fmla="*/ 51074 w 69350"/>
                    <a:gd name="connsiteY6" fmla="*/ 4952 h 40336"/>
                    <a:gd name="connsiteX7" fmla="*/ 46122 w 69350"/>
                    <a:gd name="connsiteY7" fmla="*/ 9903 h 40336"/>
                    <a:gd name="connsiteX8" fmla="*/ 18555 w 69350"/>
                    <a:gd name="connsiteY8" fmla="*/ 9903 h 40336"/>
                    <a:gd name="connsiteX9" fmla="*/ 9903 w 69350"/>
                    <a:gd name="connsiteY9" fmla="*/ 18582 h 40336"/>
                    <a:gd name="connsiteX10" fmla="*/ 9903 w 69350"/>
                    <a:gd name="connsiteY10" fmla="*/ 21782 h 40336"/>
                    <a:gd name="connsiteX11" fmla="*/ 18555 w 69350"/>
                    <a:gd name="connsiteY11" fmla="*/ 30433 h 40336"/>
                    <a:gd name="connsiteX12" fmla="*/ 64399 w 69350"/>
                    <a:gd name="connsiteY12" fmla="*/ 30433 h 40336"/>
                    <a:gd name="connsiteX13" fmla="*/ 69350 w 69350"/>
                    <a:gd name="connsiteY13" fmla="*/ 35385 h 40336"/>
                    <a:gd name="connsiteX14" fmla="*/ 64399 w 69350"/>
                    <a:gd name="connsiteY14" fmla="*/ 40336 h 4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350" h="40336">
                      <a:moveTo>
                        <a:pt x="64399" y="40336"/>
                      </a:moveTo>
                      <a:lnTo>
                        <a:pt x="18555" y="40336"/>
                      </a:lnTo>
                      <a:cubicBezTo>
                        <a:pt x="8318" y="40336"/>
                        <a:pt x="0" y="31991"/>
                        <a:pt x="0" y="21782"/>
                      </a:cubicBezTo>
                      <a:lnTo>
                        <a:pt x="0" y="18582"/>
                      </a:lnTo>
                      <a:cubicBezTo>
                        <a:pt x="0" y="8345"/>
                        <a:pt x="8318" y="0"/>
                        <a:pt x="18555" y="0"/>
                      </a:cubicBezTo>
                      <a:lnTo>
                        <a:pt x="46122" y="0"/>
                      </a:lnTo>
                      <a:cubicBezTo>
                        <a:pt x="48848" y="0"/>
                        <a:pt x="51074" y="2225"/>
                        <a:pt x="51074" y="4952"/>
                      </a:cubicBezTo>
                      <a:cubicBezTo>
                        <a:pt x="51074" y="7678"/>
                        <a:pt x="48848" y="9903"/>
                        <a:pt x="46122" y="9903"/>
                      </a:cubicBezTo>
                      <a:lnTo>
                        <a:pt x="18555" y="9903"/>
                      </a:lnTo>
                      <a:cubicBezTo>
                        <a:pt x="13770" y="9903"/>
                        <a:pt x="9903" y="13798"/>
                        <a:pt x="9903" y="18582"/>
                      </a:cubicBezTo>
                      <a:lnTo>
                        <a:pt x="9903" y="21782"/>
                      </a:lnTo>
                      <a:cubicBezTo>
                        <a:pt x="9903" y="26566"/>
                        <a:pt x="13798" y="30433"/>
                        <a:pt x="18555" y="30433"/>
                      </a:cubicBezTo>
                      <a:lnTo>
                        <a:pt x="64399" y="30433"/>
                      </a:lnTo>
                      <a:cubicBezTo>
                        <a:pt x="67125" y="30433"/>
                        <a:pt x="69350" y="32658"/>
                        <a:pt x="69350" y="35385"/>
                      </a:cubicBezTo>
                      <a:cubicBezTo>
                        <a:pt x="69350" y="38111"/>
                        <a:pt x="67125" y="40336"/>
                        <a:pt x="64399" y="40336"/>
                      </a:cubicBezTo>
                      <a:close/>
                    </a:path>
                  </a:pathLst>
                </a:custGeom>
                <a:solidFill>
                  <a:schemeClr val="accent1"/>
                </a:solidFill>
                <a:ln w="2775" cap="flat">
                  <a:noFill/>
                  <a:prstDash val="solid"/>
                  <a:miter/>
                </a:ln>
              </p:spPr>
              <p:txBody>
                <a:bodyPr rtlCol="0" anchor="ctr"/>
                <a:lstStyle/>
                <a:p>
                  <a:endParaRPr lang="en-GB" dirty="0"/>
                </a:p>
              </p:txBody>
            </p:sp>
            <p:sp>
              <p:nvSpPr>
                <p:cNvPr id="1044" name="Freihandform: Form 1043">
                  <a:extLst>
                    <a:ext uri="{FF2B5EF4-FFF2-40B4-BE49-F238E27FC236}">
                      <a16:creationId xmlns:a16="http://schemas.microsoft.com/office/drawing/2014/main" id="{EDD84F07-BB5B-4705-BD43-C2FF87F42036}"/>
                    </a:ext>
                  </a:extLst>
                </p:cNvPr>
                <p:cNvSpPr/>
                <p:nvPr/>
              </p:nvSpPr>
              <p:spPr>
                <a:xfrm>
                  <a:off x="6060854" y="4278813"/>
                  <a:ext cx="93690" cy="40363"/>
                </a:xfrm>
                <a:custGeom>
                  <a:avLst/>
                  <a:gdLst>
                    <a:gd name="connsiteX0" fmla="*/ 88739 w 93690"/>
                    <a:gd name="connsiteY0" fmla="*/ 40364 h 40363"/>
                    <a:gd name="connsiteX1" fmla="*/ 18555 w 93690"/>
                    <a:gd name="connsiteY1" fmla="*/ 40364 h 40363"/>
                    <a:gd name="connsiteX2" fmla="*/ 0 w 93690"/>
                    <a:gd name="connsiteY2" fmla="*/ 21782 h 40363"/>
                    <a:gd name="connsiteX3" fmla="*/ 0 w 93690"/>
                    <a:gd name="connsiteY3" fmla="*/ 18582 h 40363"/>
                    <a:gd name="connsiteX4" fmla="*/ 18555 w 93690"/>
                    <a:gd name="connsiteY4" fmla="*/ 0 h 40363"/>
                    <a:gd name="connsiteX5" fmla="*/ 58306 w 93690"/>
                    <a:gd name="connsiteY5" fmla="*/ 0 h 40363"/>
                    <a:gd name="connsiteX6" fmla="*/ 63258 w 93690"/>
                    <a:gd name="connsiteY6" fmla="*/ 4952 h 40363"/>
                    <a:gd name="connsiteX7" fmla="*/ 58306 w 93690"/>
                    <a:gd name="connsiteY7" fmla="*/ 9903 h 40363"/>
                    <a:gd name="connsiteX8" fmla="*/ 18555 w 93690"/>
                    <a:gd name="connsiteY8" fmla="*/ 9903 h 40363"/>
                    <a:gd name="connsiteX9" fmla="*/ 9903 w 93690"/>
                    <a:gd name="connsiteY9" fmla="*/ 18582 h 40363"/>
                    <a:gd name="connsiteX10" fmla="*/ 9903 w 93690"/>
                    <a:gd name="connsiteY10" fmla="*/ 21782 h 40363"/>
                    <a:gd name="connsiteX11" fmla="*/ 18555 w 93690"/>
                    <a:gd name="connsiteY11" fmla="*/ 30461 h 40363"/>
                    <a:gd name="connsiteX12" fmla="*/ 88739 w 93690"/>
                    <a:gd name="connsiteY12" fmla="*/ 30461 h 40363"/>
                    <a:gd name="connsiteX13" fmla="*/ 93691 w 93690"/>
                    <a:gd name="connsiteY13" fmla="*/ 35412 h 40363"/>
                    <a:gd name="connsiteX14" fmla="*/ 88739 w 93690"/>
                    <a:gd name="connsiteY14" fmla="*/ 40364 h 40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3690" h="40363">
                      <a:moveTo>
                        <a:pt x="88739" y="40364"/>
                      </a:moveTo>
                      <a:lnTo>
                        <a:pt x="18555" y="40364"/>
                      </a:lnTo>
                      <a:cubicBezTo>
                        <a:pt x="8318" y="40364"/>
                        <a:pt x="0" y="32046"/>
                        <a:pt x="0" y="21782"/>
                      </a:cubicBezTo>
                      <a:lnTo>
                        <a:pt x="0" y="18582"/>
                      </a:lnTo>
                      <a:cubicBezTo>
                        <a:pt x="0" y="8345"/>
                        <a:pt x="8318" y="0"/>
                        <a:pt x="18555" y="0"/>
                      </a:cubicBezTo>
                      <a:lnTo>
                        <a:pt x="58306" y="0"/>
                      </a:lnTo>
                      <a:cubicBezTo>
                        <a:pt x="61033" y="0"/>
                        <a:pt x="63258" y="2225"/>
                        <a:pt x="63258" y="4952"/>
                      </a:cubicBezTo>
                      <a:cubicBezTo>
                        <a:pt x="63258" y="7678"/>
                        <a:pt x="61033" y="9903"/>
                        <a:pt x="58306" y="9903"/>
                      </a:cubicBezTo>
                      <a:lnTo>
                        <a:pt x="18555" y="9903"/>
                      </a:lnTo>
                      <a:cubicBezTo>
                        <a:pt x="13770" y="9903"/>
                        <a:pt x="9903" y="13798"/>
                        <a:pt x="9903" y="18582"/>
                      </a:cubicBezTo>
                      <a:lnTo>
                        <a:pt x="9903" y="21782"/>
                      </a:lnTo>
                      <a:cubicBezTo>
                        <a:pt x="9903" y="26566"/>
                        <a:pt x="13798" y="30461"/>
                        <a:pt x="18555" y="30461"/>
                      </a:cubicBezTo>
                      <a:lnTo>
                        <a:pt x="88739" y="30461"/>
                      </a:lnTo>
                      <a:cubicBezTo>
                        <a:pt x="91466" y="30461"/>
                        <a:pt x="93691" y="32686"/>
                        <a:pt x="93691" y="35412"/>
                      </a:cubicBezTo>
                      <a:cubicBezTo>
                        <a:pt x="93691" y="38166"/>
                        <a:pt x="91466" y="40364"/>
                        <a:pt x="88739" y="40364"/>
                      </a:cubicBezTo>
                      <a:close/>
                    </a:path>
                  </a:pathLst>
                </a:custGeom>
                <a:solidFill>
                  <a:schemeClr val="accent1"/>
                </a:solidFill>
                <a:ln w="2775" cap="flat">
                  <a:noFill/>
                  <a:prstDash val="solid"/>
                  <a:miter/>
                </a:ln>
              </p:spPr>
              <p:txBody>
                <a:bodyPr rtlCol="0" anchor="ctr"/>
                <a:lstStyle/>
                <a:p>
                  <a:endParaRPr lang="en-GB" dirty="0"/>
                </a:p>
              </p:txBody>
            </p:sp>
            <p:sp>
              <p:nvSpPr>
                <p:cNvPr id="1045" name="Freihandform: Form 1044">
                  <a:extLst>
                    <a:ext uri="{FF2B5EF4-FFF2-40B4-BE49-F238E27FC236}">
                      <a16:creationId xmlns:a16="http://schemas.microsoft.com/office/drawing/2014/main" id="{D34351F1-6F1D-4810-8F5B-4CCB813780C3}"/>
                    </a:ext>
                  </a:extLst>
                </p:cNvPr>
                <p:cNvSpPr/>
                <p:nvPr/>
              </p:nvSpPr>
              <p:spPr>
                <a:xfrm>
                  <a:off x="6091286" y="4309302"/>
                  <a:ext cx="75442" cy="40336"/>
                </a:xfrm>
                <a:custGeom>
                  <a:avLst/>
                  <a:gdLst>
                    <a:gd name="connsiteX0" fmla="*/ 70491 w 75442"/>
                    <a:gd name="connsiteY0" fmla="*/ 40336 h 40336"/>
                    <a:gd name="connsiteX1" fmla="*/ 18555 w 75442"/>
                    <a:gd name="connsiteY1" fmla="*/ 40336 h 40336"/>
                    <a:gd name="connsiteX2" fmla="*/ 0 w 75442"/>
                    <a:gd name="connsiteY2" fmla="*/ 21782 h 40336"/>
                    <a:gd name="connsiteX3" fmla="*/ 0 w 75442"/>
                    <a:gd name="connsiteY3" fmla="*/ 18555 h 40336"/>
                    <a:gd name="connsiteX4" fmla="*/ 18555 w 75442"/>
                    <a:gd name="connsiteY4" fmla="*/ 0 h 40336"/>
                    <a:gd name="connsiteX5" fmla="*/ 27846 w 75442"/>
                    <a:gd name="connsiteY5" fmla="*/ 0 h 40336"/>
                    <a:gd name="connsiteX6" fmla="*/ 32797 w 75442"/>
                    <a:gd name="connsiteY6" fmla="*/ 4952 h 40336"/>
                    <a:gd name="connsiteX7" fmla="*/ 27846 w 75442"/>
                    <a:gd name="connsiteY7" fmla="*/ 9903 h 40336"/>
                    <a:gd name="connsiteX8" fmla="*/ 18555 w 75442"/>
                    <a:gd name="connsiteY8" fmla="*/ 9903 h 40336"/>
                    <a:gd name="connsiteX9" fmla="*/ 9903 w 75442"/>
                    <a:gd name="connsiteY9" fmla="*/ 18555 h 40336"/>
                    <a:gd name="connsiteX10" fmla="*/ 9903 w 75442"/>
                    <a:gd name="connsiteY10" fmla="*/ 21782 h 40336"/>
                    <a:gd name="connsiteX11" fmla="*/ 18555 w 75442"/>
                    <a:gd name="connsiteY11" fmla="*/ 30433 h 40336"/>
                    <a:gd name="connsiteX12" fmla="*/ 70491 w 75442"/>
                    <a:gd name="connsiteY12" fmla="*/ 30433 h 40336"/>
                    <a:gd name="connsiteX13" fmla="*/ 75442 w 75442"/>
                    <a:gd name="connsiteY13" fmla="*/ 35384 h 40336"/>
                    <a:gd name="connsiteX14" fmla="*/ 70491 w 75442"/>
                    <a:gd name="connsiteY14" fmla="*/ 40336 h 40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442" h="40336">
                      <a:moveTo>
                        <a:pt x="70491" y="40336"/>
                      </a:moveTo>
                      <a:lnTo>
                        <a:pt x="18555" y="40336"/>
                      </a:lnTo>
                      <a:cubicBezTo>
                        <a:pt x="8318" y="40336"/>
                        <a:pt x="0" y="32019"/>
                        <a:pt x="0" y="21782"/>
                      </a:cubicBezTo>
                      <a:lnTo>
                        <a:pt x="0" y="18555"/>
                      </a:lnTo>
                      <a:cubicBezTo>
                        <a:pt x="0" y="8318"/>
                        <a:pt x="8318" y="0"/>
                        <a:pt x="18555" y="0"/>
                      </a:cubicBezTo>
                      <a:lnTo>
                        <a:pt x="27846" y="0"/>
                      </a:lnTo>
                      <a:cubicBezTo>
                        <a:pt x="30572" y="0"/>
                        <a:pt x="32797" y="2225"/>
                        <a:pt x="32797" y="4952"/>
                      </a:cubicBezTo>
                      <a:cubicBezTo>
                        <a:pt x="32797" y="7678"/>
                        <a:pt x="30572" y="9903"/>
                        <a:pt x="27846" y="9903"/>
                      </a:cubicBezTo>
                      <a:lnTo>
                        <a:pt x="18555" y="9903"/>
                      </a:lnTo>
                      <a:cubicBezTo>
                        <a:pt x="13770" y="9903"/>
                        <a:pt x="9903" y="13798"/>
                        <a:pt x="9903" y="18555"/>
                      </a:cubicBezTo>
                      <a:lnTo>
                        <a:pt x="9903" y="21782"/>
                      </a:lnTo>
                      <a:cubicBezTo>
                        <a:pt x="9903" y="26566"/>
                        <a:pt x="13798" y="30433"/>
                        <a:pt x="18555" y="30433"/>
                      </a:cubicBezTo>
                      <a:lnTo>
                        <a:pt x="70491" y="30433"/>
                      </a:lnTo>
                      <a:cubicBezTo>
                        <a:pt x="73217" y="30433"/>
                        <a:pt x="75442" y="32658"/>
                        <a:pt x="75442" y="35384"/>
                      </a:cubicBezTo>
                      <a:cubicBezTo>
                        <a:pt x="75442" y="38111"/>
                        <a:pt x="73217" y="40336"/>
                        <a:pt x="70491" y="40336"/>
                      </a:cubicBezTo>
                      <a:close/>
                    </a:path>
                  </a:pathLst>
                </a:custGeom>
                <a:solidFill>
                  <a:schemeClr val="accent1"/>
                </a:solidFill>
                <a:ln w="2775" cap="flat">
                  <a:noFill/>
                  <a:prstDash val="solid"/>
                  <a:miter/>
                </a:ln>
              </p:spPr>
              <p:txBody>
                <a:bodyPr rtlCol="0" anchor="ctr"/>
                <a:lstStyle/>
                <a:p>
                  <a:endParaRPr lang="en-GB" dirty="0"/>
                </a:p>
              </p:txBody>
            </p:sp>
          </p:grpSp>
        </p:grpSp>
      </p:grpSp>
      <p:grpSp>
        <p:nvGrpSpPr>
          <p:cNvPr id="1056" name="Group 755">
            <a:extLst>
              <a:ext uri="{FF2B5EF4-FFF2-40B4-BE49-F238E27FC236}">
                <a16:creationId xmlns:a16="http://schemas.microsoft.com/office/drawing/2014/main" id="{47352DEB-5DF1-473B-B61C-5C1438CD001A}"/>
              </a:ext>
            </a:extLst>
          </p:cNvPr>
          <p:cNvGrpSpPr>
            <a:grpSpLocks noChangeAspect="1"/>
          </p:cNvGrpSpPr>
          <p:nvPr/>
        </p:nvGrpSpPr>
        <p:grpSpPr>
          <a:xfrm>
            <a:off x="7047958" y="4077382"/>
            <a:ext cx="512354" cy="432000"/>
            <a:chOff x="6908120" y="4178559"/>
            <a:chExt cx="524013" cy="441831"/>
          </a:xfrm>
        </p:grpSpPr>
        <p:grpSp>
          <p:nvGrpSpPr>
            <p:cNvPr id="1057" name="Group 753">
              <a:extLst>
                <a:ext uri="{FF2B5EF4-FFF2-40B4-BE49-F238E27FC236}">
                  <a16:creationId xmlns:a16="http://schemas.microsoft.com/office/drawing/2014/main" id="{A2FF3A80-DD97-4321-A7BF-16D3C1EB1E45}"/>
                </a:ext>
              </a:extLst>
            </p:cNvPr>
            <p:cNvGrpSpPr/>
            <p:nvPr/>
          </p:nvGrpSpPr>
          <p:grpSpPr>
            <a:xfrm>
              <a:off x="6908120" y="4181600"/>
              <a:ext cx="337104" cy="263759"/>
              <a:chOff x="6908128" y="4181600"/>
              <a:chExt cx="337104" cy="263759"/>
            </a:xfrm>
          </p:grpSpPr>
          <p:sp>
            <p:nvSpPr>
              <p:cNvPr id="1066" name="Freihandform: Form 1065">
                <a:extLst>
                  <a:ext uri="{FF2B5EF4-FFF2-40B4-BE49-F238E27FC236}">
                    <a16:creationId xmlns:a16="http://schemas.microsoft.com/office/drawing/2014/main" id="{D642035F-3284-4219-B87D-7A25C06EEC6C}"/>
                  </a:ext>
                </a:extLst>
              </p:cNvPr>
              <p:cNvSpPr/>
              <p:nvPr/>
            </p:nvSpPr>
            <p:spPr>
              <a:xfrm>
                <a:off x="7149705" y="4349805"/>
                <a:ext cx="95527" cy="95554"/>
              </a:xfrm>
              <a:custGeom>
                <a:avLst/>
                <a:gdLst>
                  <a:gd name="connsiteX0" fmla="*/ 47764 w 95527"/>
                  <a:gd name="connsiteY0" fmla="*/ 95555 h 95554"/>
                  <a:gd name="connsiteX1" fmla="*/ 0 w 95527"/>
                  <a:gd name="connsiteY1" fmla="*/ 47791 h 95554"/>
                  <a:gd name="connsiteX2" fmla="*/ 47764 w 95527"/>
                  <a:gd name="connsiteY2" fmla="*/ 0 h 95554"/>
                  <a:gd name="connsiteX3" fmla="*/ 95527 w 95527"/>
                  <a:gd name="connsiteY3" fmla="*/ 47791 h 95554"/>
                  <a:gd name="connsiteX4" fmla="*/ 47764 w 95527"/>
                  <a:gd name="connsiteY4" fmla="*/ 95555 h 95554"/>
                  <a:gd name="connsiteX5" fmla="*/ 47764 w 95527"/>
                  <a:gd name="connsiteY5" fmla="*/ 9903 h 95554"/>
                  <a:gd name="connsiteX6" fmla="*/ 9903 w 95527"/>
                  <a:gd name="connsiteY6" fmla="*/ 47791 h 95554"/>
                  <a:gd name="connsiteX7" fmla="*/ 47764 w 95527"/>
                  <a:gd name="connsiteY7" fmla="*/ 85652 h 95554"/>
                  <a:gd name="connsiteX8" fmla="*/ 85624 w 95527"/>
                  <a:gd name="connsiteY8" fmla="*/ 47791 h 95554"/>
                  <a:gd name="connsiteX9" fmla="*/ 47764 w 95527"/>
                  <a:gd name="connsiteY9" fmla="*/ 9903 h 9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527" h="95554">
                    <a:moveTo>
                      <a:pt x="47764" y="95555"/>
                    </a:moveTo>
                    <a:cubicBezTo>
                      <a:pt x="21420" y="95555"/>
                      <a:pt x="0" y="74135"/>
                      <a:pt x="0" y="47791"/>
                    </a:cubicBezTo>
                    <a:cubicBezTo>
                      <a:pt x="0" y="21448"/>
                      <a:pt x="21420" y="0"/>
                      <a:pt x="47764" y="0"/>
                    </a:cubicBezTo>
                    <a:cubicBezTo>
                      <a:pt x="74107" y="0"/>
                      <a:pt x="95527" y="21448"/>
                      <a:pt x="95527" y="47791"/>
                    </a:cubicBezTo>
                    <a:cubicBezTo>
                      <a:pt x="95527" y="74107"/>
                      <a:pt x="74107" y="95555"/>
                      <a:pt x="47764" y="95555"/>
                    </a:cubicBezTo>
                    <a:close/>
                    <a:moveTo>
                      <a:pt x="47764" y="9903"/>
                    </a:moveTo>
                    <a:cubicBezTo>
                      <a:pt x="26872" y="9903"/>
                      <a:pt x="9903" y="26900"/>
                      <a:pt x="9903" y="47791"/>
                    </a:cubicBezTo>
                    <a:cubicBezTo>
                      <a:pt x="9903" y="68683"/>
                      <a:pt x="26900" y="85652"/>
                      <a:pt x="47764" y="85652"/>
                    </a:cubicBezTo>
                    <a:cubicBezTo>
                      <a:pt x="68655" y="85652"/>
                      <a:pt x="85624" y="68655"/>
                      <a:pt x="85624" y="47791"/>
                    </a:cubicBezTo>
                    <a:cubicBezTo>
                      <a:pt x="85624" y="26900"/>
                      <a:pt x="68627" y="9903"/>
                      <a:pt x="47764" y="9903"/>
                    </a:cubicBezTo>
                    <a:close/>
                  </a:path>
                </a:pathLst>
              </a:custGeom>
              <a:solidFill>
                <a:schemeClr val="accent1"/>
              </a:solidFill>
              <a:ln w="2775" cap="flat">
                <a:noFill/>
                <a:prstDash val="solid"/>
                <a:miter/>
              </a:ln>
            </p:spPr>
            <p:txBody>
              <a:bodyPr rtlCol="0" anchor="ctr"/>
              <a:lstStyle/>
              <a:p>
                <a:endParaRPr lang="en-GB" dirty="0"/>
              </a:p>
            </p:txBody>
          </p:sp>
          <p:sp>
            <p:nvSpPr>
              <p:cNvPr id="1067" name="Freihandform: Form 1066">
                <a:extLst>
                  <a:ext uri="{FF2B5EF4-FFF2-40B4-BE49-F238E27FC236}">
                    <a16:creationId xmlns:a16="http://schemas.microsoft.com/office/drawing/2014/main" id="{E6A3B9AA-4021-4BBB-8A46-5875042D0A15}"/>
                  </a:ext>
                </a:extLst>
              </p:cNvPr>
              <p:cNvSpPr/>
              <p:nvPr/>
            </p:nvSpPr>
            <p:spPr>
              <a:xfrm>
                <a:off x="6954470" y="4181600"/>
                <a:ext cx="80928" cy="110788"/>
              </a:xfrm>
              <a:custGeom>
                <a:avLst/>
                <a:gdLst>
                  <a:gd name="connsiteX0" fmla="*/ 76007 w 80928"/>
                  <a:gd name="connsiteY0" fmla="*/ 110789 h 110788"/>
                  <a:gd name="connsiteX1" fmla="*/ 73198 w 80928"/>
                  <a:gd name="connsiteY1" fmla="*/ 109926 h 110788"/>
                  <a:gd name="connsiteX2" fmla="*/ 2151 w 80928"/>
                  <a:gd name="connsiteY2" fmla="*/ 61078 h 110788"/>
                  <a:gd name="connsiteX3" fmla="*/ 36 w 80928"/>
                  <a:gd name="connsiteY3" fmla="*/ 56349 h 110788"/>
                  <a:gd name="connsiteX4" fmla="*/ 6796 w 80928"/>
                  <a:gd name="connsiteY4" fmla="*/ 4301 h 110788"/>
                  <a:gd name="connsiteX5" fmla="*/ 9662 w 80928"/>
                  <a:gd name="connsiteY5" fmla="*/ 435 h 110788"/>
                  <a:gd name="connsiteX6" fmla="*/ 14474 w 80928"/>
                  <a:gd name="connsiteY6" fmla="*/ 852 h 110788"/>
                  <a:gd name="connsiteX7" fmla="*/ 72836 w 80928"/>
                  <a:gd name="connsiteY7" fmla="*/ 40187 h 110788"/>
                  <a:gd name="connsiteX8" fmla="*/ 75006 w 80928"/>
                  <a:gd name="connsiteY8" fmla="*/ 43831 h 110788"/>
                  <a:gd name="connsiteX9" fmla="*/ 80903 w 80928"/>
                  <a:gd name="connsiteY9" fmla="*/ 105420 h 110788"/>
                  <a:gd name="connsiteX10" fmla="*/ 78483 w 80928"/>
                  <a:gd name="connsiteY10" fmla="*/ 110149 h 110788"/>
                  <a:gd name="connsiteX11" fmla="*/ 76007 w 80928"/>
                  <a:gd name="connsiteY11" fmla="*/ 110789 h 110788"/>
                  <a:gd name="connsiteX12" fmla="*/ 10246 w 80928"/>
                  <a:gd name="connsiteY12" fmla="*/ 54624 h 110788"/>
                  <a:gd name="connsiteX13" fmla="*/ 70054 w 80928"/>
                  <a:gd name="connsiteY13" fmla="*/ 95739 h 110788"/>
                  <a:gd name="connsiteX14" fmla="*/ 65381 w 80928"/>
                  <a:gd name="connsiteY14" fmla="*/ 47058 h 110788"/>
                  <a:gd name="connsiteX15" fmla="*/ 15587 w 80928"/>
                  <a:gd name="connsiteY15" fmla="*/ 13509 h 110788"/>
                  <a:gd name="connsiteX16" fmla="*/ 10246 w 80928"/>
                  <a:gd name="connsiteY16" fmla="*/ 54624 h 110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0928" h="110788">
                    <a:moveTo>
                      <a:pt x="76007" y="110789"/>
                    </a:moveTo>
                    <a:cubicBezTo>
                      <a:pt x="75034" y="110789"/>
                      <a:pt x="74060" y="110510"/>
                      <a:pt x="73198" y="109926"/>
                    </a:cubicBezTo>
                    <a:lnTo>
                      <a:pt x="2151" y="61078"/>
                    </a:lnTo>
                    <a:cubicBezTo>
                      <a:pt x="621" y="60021"/>
                      <a:pt x="-186" y="58213"/>
                      <a:pt x="36" y="56349"/>
                    </a:cubicBezTo>
                    <a:lnTo>
                      <a:pt x="6796" y="4301"/>
                    </a:lnTo>
                    <a:cubicBezTo>
                      <a:pt x="7019" y="2604"/>
                      <a:pt x="8104" y="1130"/>
                      <a:pt x="9662" y="435"/>
                    </a:cubicBezTo>
                    <a:cubicBezTo>
                      <a:pt x="11247" y="-261"/>
                      <a:pt x="13027" y="-122"/>
                      <a:pt x="14474" y="852"/>
                    </a:cubicBezTo>
                    <a:lnTo>
                      <a:pt x="72836" y="40187"/>
                    </a:lnTo>
                    <a:cubicBezTo>
                      <a:pt x="74060" y="41021"/>
                      <a:pt x="74867" y="42356"/>
                      <a:pt x="75006" y="43831"/>
                    </a:cubicBezTo>
                    <a:lnTo>
                      <a:pt x="80903" y="105420"/>
                    </a:lnTo>
                    <a:cubicBezTo>
                      <a:pt x="81098" y="107339"/>
                      <a:pt x="80152" y="109175"/>
                      <a:pt x="78483" y="110149"/>
                    </a:cubicBezTo>
                    <a:cubicBezTo>
                      <a:pt x="77732" y="110566"/>
                      <a:pt x="76870" y="110789"/>
                      <a:pt x="76007" y="110789"/>
                    </a:cubicBezTo>
                    <a:close/>
                    <a:moveTo>
                      <a:pt x="10246" y="54624"/>
                    </a:moveTo>
                    <a:lnTo>
                      <a:pt x="70054" y="95739"/>
                    </a:lnTo>
                    <a:lnTo>
                      <a:pt x="65381" y="47058"/>
                    </a:lnTo>
                    <a:lnTo>
                      <a:pt x="15587" y="13509"/>
                    </a:lnTo>
                    <a:lnTo>
                      <a:pt x="10246" y="54624"/>
                    </a:lnTo>
                    <a:close/>
                  </a:path>
                </a:pathLst>
              </a:custGeom>
              <a:solidFill>
                <a:schemeClr val="accent1"/>
              </a:solidFill>
              <a:ln w="2775" cap="flat">
                <a:noFill/>
                <a:prstDash val="solid"/>
                <a:miter/>
              </a:ln>
            </p:spPr>
            <p:txBody>
              <a:bodyPr rtlCol="0" anchor="ctr"/>
              <a:lstStyle/>
              <a:p>
                <a:endParaRPr lang="en-GB" dirty="0"/>
              </a:p>
            </p:txBody>
          </p:sp>
          <p:sp>
            <p:nvSpPr>
              <p:cNvPr id="1068" name="Freihandform: Form 1067">
                <a:extLst>
                  <a:ext uri="{FF2B5EF4-FFF2-40B4-BE49-F238E27FC236}">
                    <a16:creationId xmlns:a16="http://schemas.microsoft.com/office/drawing/2014/main" id="{8F1E55F0-AF6A-4C50-884C-60E1CF30FF4F}"/>
                  </a:ext>
                </a:extLst>
              </p:cNvPr>
              <p:cNvSpPr/>
              <p:nvPr/>
            </p:nvSpPr>
            <p:spPr>
              <a:xfrm>
                <a:off x="6908128" y="4234101"/>
                <a:ext cx="128446" cy="73670"/>
              </a:xfrm>
              <a:custGeom>
                <a:avLst/>
                <a:gdLst>
                  <a:gd name="connsiteX0" fmla="*/ 64460 w 128446"/>
                  <a:gd name="connsiteY0" fmla="*/ 73670 h 73670"/>
                  <a:gd name="connsiteX1" fmla="*/ 61734 w 128446"/>
                  <a:gd name="connsiteY1" fmla="*/ 72863 h 73670"/>
                  <a:gd name="connsiteX2" fmla="*/ 2231 w 128446"/>
                  <a:gd name="connsiteY2" fmla="*/ 33918 h 73670"/>
                  <a:gd name="connsiteX3" fmla="*/ 6 w 128446"/>
                  <a:gd name="connsiteY3" fmla="*/ 29551 h 73670"/>
                  <a:gd name="connsiteX4" fmla="*/ 2593 w 128446"/>
                  <a:gd name="connsiteY4" fmla="*/ 25406 h 73670"/>
                  <a:gd name="connsiteX5" fmla="*/ 48659 w 128446"/>
                  <a:gd name="connsiteY5" fmla="*/ 592 h 73670"/>
                  <a:gd name="connsiteX6" fmla="*/ 53722 w 128446"/>
                  <a:gd name="connsiteY6" fmla="*/ 815 h 73670"/>
                  <a:gd name="connsiteX7" fmla="*/ 126216 w 128446"/>
                  <a:gd name="connsiteY7" fmla="*/ 48495 h 73670"/>
                  <a:gd name="connsiteX8" fmla="*/ 128385 w 128446"/>
                  <a:gd name="connsiteY8" fmla="*/ 53419 h 73670"/>
                  <a:gd name="connsiteX9" fmla="*/ 124797 w 128446"/>
                  <a:gd name="connsiteY9" fmla="*/ 57425 h 73670"/>
                  <a:gd name="connsiteX10" fmla="*/ 65739 w 128446"/>
                  <a:gd name="connsiteY10" fmla="*/ 73503 h 73670"/>
                  <a:gd name="connsiteX11" fmla="*/ 64460 w 128446"/>
                  <a:gd name="connsiteY11" fmla="*/ 73670 h 73670"/>
                  <a:gd name="connsiteX12" fmla="*/ 14638 w 128446"/>
                  <a:gd name="connsiteY12" fmla="*/ 30163 h 73670"/>
                  <a:gd name="connsiteX13" fmla="*/ 65322 w 128446"/>
                  <a:gd name="connsiteY13" fmla="*/ 63322 h 73670"/>
                  <a:gd name="connsiteX14" fmla="*/ 111639 w 128446"/>
                  <a:gd name="connsiteY14" fmla="*/ 50693 h 73670"/>
                  <a:gd name="connsiteX15" fmla="*/ 50773 w 128446"/>
                  <a:gd name="connsiteY15" fmla="*/ 10662 h 73670"/>
                  <a:gd name="connsiteX16" fmla="*/ 14638 w 128446"/>
                  <a:gd name="connsiteY16" fmla="*/ 30163 h 73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8446" h="73670">
                    <a:moveTo>
                      <a:pt x="64460" y="73670"/>
                    </a:moveTo>
                    <a:cubicBezTo>
                      <a:pt x="63514" y="73670"/>
                      <a:pt x="62568" y="73392"/>
                      <a:pt x="61734" y="72863"/>
                    </a:cubicBezTo>
                    <a:lnTo>
                      <a:pt x="2231" y="33918"/>
                    </a:lnTo>
                    <a:cubicBezTo>
                      <a:pt x="784" y="32945"/>
                      <a:pt x="-78" y="31303"/>
                      <a:pt x="6" y="29551"/>
                    </a:cubicBezTo>
                    <a:cubicBezTo>
                      <a:pt x="89" y="27798"/>
                      <a:pt x="1063" y="26240"/>
                      <a:pt x="2593" y="25406"/>
                    </a:cubicBezTo>
                    <a:lnTo>
                      <a:pt x="48659" y="592"/>
                    </a:lnTo>
                    <a:cubicBezTo>
                      <a:pt x="50273" y="-270"/>
                      <a:pt x="52192" y="-187"/>
                      <a:pt x="53722" y="815"/>
                    </a:cubicBezTo>
                    <a:lnTo>
                      <a:pt x="126216" y="48495"/>
                    </a:lnTo>
                    <a:cubicBezTo>
                      <a:pt x="127829" y="49552"/>
                      <a:pt x="128692" y="51499"/>
                      <a:pt x="128385" y="53419"/>
                    </a:cubicBezTo>
                    <a:cubicBezTo>
                      <a:pt x="128079" y="55338"/>
                      <a:pt x="126689" y="56896"/>
                      <a:pt x="124797" y="57425"/>
                    </a:cubicBezTo>
                    <a:lnTo>
                      <a:pt x="65739" y="73503"/>
                    </a:lnTo>
                    <a:cubicBezTo>
                      <a:pt x="65350" y="73615"/>
                      <a:pt x="64905" y="73670"/>
                      <a:pt x="64460" y="73670"/>
                    </a:cubicBezTo>
                    <a:close/>
                    <a:moveTo>
                      <a:pt x="14638" y="30163"/>
                    </a:moveTo>
                    <a:lnTo>
                      <a:pt x="65322" y="63322"/>
                    </a:lnTo>
                    <a:lnTo>
                      <a:pt x="111639" y="50693"/>
                    </a:lnTo>
                    <a:lnTo>
                      <a:pt x="50773" y="10662"/>
                    </a:lnTo>
                    <a:lnTo>
                      <a:pt x="14638" y="30163"/>
                    </a:lnTo>
                    <a:close/>
                  </a:path>
                </a:pathLst>
              </a:custGeom>
              <a:solidFill>
                <a:schemeClr val="accent1"/>
              </a:solidFill>
              <a:ln w="2775" cap="flat">
                <a:noFill/>
                <a:prstDash val="solid"/>
                <a:miter/>
              </a:ln>
            </p:spPr>
            <p:txBody>
              <a:bodyPr rtlCol="0" anchor="ctr"/>
              <a:lstStyle/>
              <a:p>
                <a:endParaRPr lang="en-GB" dirty="0"/>
              </a:p>
            </p:txBody>
          </p:sp>
          <p:sp>
            <p:nvSpPr>
              <p:cNvPr id="1069" name="Freihandform: Form 1068">
                <a:extLst>
                  <a:ext uri="{FF2B5EF4-FFF2-40B4-BE49-F238E27FC236}">
                    <a16:creationId xmlns:a16="http://schemas.microsoft.com/office/drawing/2014/main" id="{581BDCD8-011D-445E-8318-60E0A2996CD1}"/>
                  </a:ext>
                </a:extLst>
              </p:cNvPr>
              <p:cNvSpPr/>
              <p:nvPr/>
            </p:nvSpPr>
            <p:spPr>
              <a:xfrm>
                <a:off x="6920858" y="4211054"/>
                <a:ext cx="282386" cy="193217"/>
              </a:xfrm>
              <a:custGeom>
                <a:avLst/>
                <a:gdLst>
                  <a:gd name="connsiteX0" fmla="*/ 277418 w 282386"/>
                  <a:gd name="connsiteY0" fmla="*/ 193218 h 193217"/>
                  <a:gd name="connsiteX1" fmla="*/ 274664 w 282386"/>
                  <a:gd name="connsiteY1" fmla="*/ 192383 h 193217"/>
                  <a:gd name="connsiteX2" fmla="*/ 2187 w 282386"/>
                  <a:gd name="connsiteY2" fmla="*/ 9063 h 193217"/>
                  <a:gd name="connsiteX3" fmla="*/ 851 w 282386"/>
                  <a:gd name="connsiteY3" fmla="*/ 2191 h 193217"/>
                  <a:gd name="connsiteX4" fmla="*/ 7722 w 282386"/>
                  <a:gd name="connsiteY4" fmla="*/ 856 h 193217"/>
                  <a:gd name="connsiteX5" fmla="*/ 280199 w 282386"/>
                  <a:gd name="connsiteY5" fmla="*/ 184177 h 193217"/>
                  <a:gd name="connsiteX6" fmla="*/ 281535 w 282386"/>
                  <a:gd name="connsiteY6" fmla="*/ 191048 h 193217"/>
                  <a:gd name="connsiteX7" fmla="*/ 277418 w 282386"/>
                  <a:gd name="connsiteY7" fmla="*/ 193218 h 193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2386" h="193217">
                    <a:moveTo>
                      <a:pt x="277418" y="193218"/>
                    </a:moveTo>
                    <a:cubicBezTo>
                      <a:pt x="276472" y="193218"/>
                      <a:pt x="275498" y="192939"/>
                      <a:pt x="274664" y="192383"/>
                    </a:cubicBezTo>
                    <a:lnTo>
                      <a:pt x="2187" y="9063"/>
                    </a:lnTo>
                    <a:cubicBezTo>
                      <a:pt x="-95" y="7533"/>
                      <a:pt x="-679" y="4473"/>
                      <a:pt x="851" y="2191"/>
                    </a:cubicBezTo>
                    <a:cubicBezTo>
                      <a:pt x="2381" y="-62"/>
                      <a:pt x="5441" y="-702"/>
                      <a:pt x="7722" y="856"/>
                    </a:cubicBezTo>
                    <a:lnTo>
                      <a:pt x="280199" y="184177"/>
                    </a:lnTo>
                    <a:cubicBezTo>
                      <a:pt x="282481" y="185707"/>
                      <a:pt x="283065" y="188767"/>
                      <a:pt x="281535" y="191048"/>
                    </a:cubicBezTo>
                    <a:cubicBezTo>
                      <a:pt x="280561" y="192439"/>
                      <a:pt x="279003" y="193218"/>
                      <a:pt x="277418" y="193218"/>
                    </a:cubicBezTo>
                    <a:close/>
                  </a:path>
                </a:pathLst>
              </a:custGeom>
              <a:solidFill>
                <a:schemeClr val="accent1"/>
              </a:solidFill>
              <a:ln w="2775" cap="flat">
                <a:noFill/>
                <a:prstDash val="solid"/>
                <a:miter/>
              </a:ln>
            </p:spPr>
            <p:txBody>
              <a:bodyPr rtlCol="0" anchor="ctr"/>
              <a:lstStyle/>
              <a:p>
                <a:endParaRPr lang="en-GB" dirty="0"/>
              </a:p>
            </p:txBody>
          </p:sp>
        </p:grpSp>
        <p:grpSp>
          <p:nvGrpSpPr>
            <p:cNvPr id="1058" name="Group 754">
              <a:extLst>
                <a:ext uri="{FF2B5EF4-FFF2-40B4-BE49-F238E27FC236}">
                  <a16:creationId xmlns:a16="http://schemas.microsoft.com/office/drawing/2014/main" id="{F126018F-768F-403A-AD97-37D65D02CB14}"/>
                </a:ext>
              </a:extLst>
            </p:cNvPr>
            <p:cNvGrpSpPr/>
            <p:nvPr/>
          </p:nvGrpSpPr>
          <p:grpSpPr>
            <a:xfrm>
              <a:off x="6982714" y="4178559"/>
              <a:ext cx="449419" cy="441831"/>
              <a:chOff x="6982714" y="4178559"/>
              <a:chExt cx="449419" cy="441831"/>
            </a:xfrm>
          </p:grpSpPr>
          <p:sp>
            <p:nvSpPr>
              <p:cNvPr id="1059" name="Freihandform: Form 1058">
                <a:extLst>
                  <a:ext uri="{FF2B5EF4-FFF2-40B4-BE49-F238E27FC236}">
                    <a16:creationId xmlns:a16="http://schemas.microsoft.com/office/drawing/2014/main" id="{482DB5A7-6B2C-48FA-AB51-D113564CBA51}"/>
                  </a:ext>
                </a:extLst>
              </p:cNvPr>
              <p:cNvSpPr/>
              <p:nvPr/>
            </p:nvSpPr>
            <p:spPr>
              <a:xfrm>
                <a:off x="7021547" y="4316027"/>
                <a:ext cx="180844" cy="257490"/>
              </a:xfrm>
              <a:custGeom>
                <a:avLst/>
                <a:gdLst>
                  <a:gd name="connsiteX0" fmla="*/ 175921 w 180844"/>
                  <a:gd name="connsiteY0" fmla="*/ 257490 h 257490"/>
                  <a:gd name="connsiteX1" fmla="*/ 0 w 180844"/>
                  <a:gd name="connsiteY1" fmla="*/ 81569 h 257490"/>
                  <a:gd name="connsiteX2" fmla="*/ 18610 w 180844"/>
                  <a:gd name="connsiteY2" fmla="*/ 2733 h 257490"/>
                  <a:gd name="connsiteX3" fmla="*/ 25259 w 180844"/>
                  <a:gd name="connsiteY3" fmla="*/ 535 h 257490"/>
                  <a:gd name="connsiteX4" fmla="*/ 27457 w 180844"/>
                  <a:gd name="connsiteY4" fmla="*/ 7184 h 257490"/>
                  <a:gd name="connsiteX5" fmla="*/ 9903 w 180844"/>
                  <a:gd name="connsiteY5" fmla="*/ 81569 h 257490"/>
                  <a:gd name="connsiteX6" fmla="*/ 175893 w 180844"/>
                  <a:gd name="connsiteY6" fmla="*/ 247587 h 257490"/>
                  <a:gd name="connsiteX7" fmla="*/ 180845 w 180844"/>
                  <a:gd name="connsiteY7" fmla="*/ 252539 h 257490"/>
                  <a:gd name="connsiteX8" fmla="*/ 175921 w 180844"/>
                  <a:gd name="connsiteY8" fmla="*/ 257490 h 257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0844" h="257490">
                    <a:moveTo>
                      <a:pt x="175921" y="257490"/>
                    </a:moveTo>
                    <a:cubicBezTo>
                      <a:pt x="78920" y="257490"/>
                      <a:pt x="0" y="178571"/>
                      <a:pt x="0" y="81569"/>
                    </a:cubicBezTo>
                    <a:cubicBezTo>
                      <a:pt x="0" y="53862"/>
                      <a:pt x="6259" y="27352"/>
                      <a:pt x="18610" y="2733"/>
                    </a:cubicBezTo>
                    <a:cubicBezTo>
                      <a:pt x="19834" y="313"/>
                      <a:pt x="22783" y="-717"/>
                      <a:pt x="25259" y="535"/>
                    </a:cubicBezTo>
                    <a:cubicBezTo>
                      <a:pt x="27707" y="1759"/>
                      <a:pt x="28681" y="4736"/>
                      <a:pt x="27457" y="7184"/>
                    </a:cubicBezTo>
                    <a:cubicBezTo>
                      <a:pt x="15801" y="30384"/>
                      <a:pt x="9903" y="55420"/>
                      <a:pt x="9903" y="81569"/>
                    </a:cubicBezTo>
                    <a:cubicBezTo>
                      <a:pt x="9903" y="173118"/>
                      <a:pt x="84372" y="247587"/>
                      <a:pt x="175893" y="247587"/>
                    </a:cubicBezTo>
                    <a:cubicBezTo>
                      <a:pt x="178619" y="247587"/>
                      <a:pt x="180845" y="249812"/>
                      <a:pt x="180845" y="252539"/>
                    </a:cubicBezTo>
                    <a:cubicBezTo>
                      <a:pt x="180873" y="255265"/>
                      <a:pt x="178647" y="257490"/>
                      <a:pt x="175921" y="257490"/>
                    </a:cubicBezTo>
                    <a:close/>
                  </a:path>
                </a:pathLst>
              </a:custGeom>
              <a:solidFill>
                <a:schemeClr val="tx2"/>
              </a:solidFill>
              <a:ln w="2775" cap="flat">
                <a:noFill/>
                <a:prstDash val="solid"/>
                <a:miter/>
              </a:ln>
            </p:spPr>
            <p:txBody>
              <a:bodyPr rtlCol="0" anchor="ctr"/>
              <a:lstStyle/>
              <a:p>
                <a:endParaRPr lang="en-GB" dirty="0"/>
              </a:p>
            </p:txBody>
          </p:sp>
          <p:sp>
            <p:nvSpPr>
              <p:cNvPr id="1060" name="Freihandform: Form 1059">
                <a:extLst>
                  <a:ext uri="{FF2B5EF4-FFF2-40B4-BE49-F238E27FC236}">
                    <a16:creationId xmlns:a16="http://schemas.microsoft.com/office/drawing/2014/main" id="{06E5C1A1-2F0F-4496-9985-814A4A48D858}"/>
                  </a:ext>
                </a:extLst>
              </p:cNvPr>
              <p:cNvSpPr/>
              <p:nvPr/>
            </p:nvSpPr>
            <p:spPr>
              <a:xfrm>
                <a:off x="7067510" y="4221647"/>
                <a:ext cx="134909" cy="64259"/>
              </a:xfrm>
              <a:custGeom>
                <a:avLst/>
                <a:gdLst>
                  <a:gd name="connsiteX0" fmla="*/ 4944 w 134909"/>
                  <a:gd name="connsiteY0" fmla="*/ 64259 h 64259"/>
                  <a:gd name="connsiteX1" fmla="*/ 1578 w 134909"/>
                  <a:gd name="connsiteY1" fmla="*/ 62924 h 64259"/>
                  <a:gd name="connsiteX2" fmla="*/ 1328 w 134909"/>
                  <a:gd name="connsiteY2" fmla="*/ 55914 h 64259"/>
                  <a:gd name="connsiteX3" fmla="*/ 129958 w 134909"/>
                  <a:gd name="connsiteY3" fmla="*/ 0 h 64259"/>
                  <a:gd name="connsiteX4" fmla="*/ 134910 w 134909"/>
                  <a:gd name="connsiteY4" fmla="*/ 4952 h 64259"/>
                  <a:gd name="connsiteX5" fmla="*/ 129958 w 134909"/>
                  <a:gd name="connsiteY5" fmla="*/ 9903 h 64259"/>
                  <a:gd name="connsiteX6" fmla="*/ 8589 w 134909"/>
                  <a:gd name="connsiteY6" fmla="*/ 62674 h 64259"/>
                  <a:gd name="connsiteX7" fmla="*/ 4944 w 134909"/>
                  <a:gd name="connsiteY7" fmla="*/ 64259 h 64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909" h="64259">
                    <a:moveTo>
                      <a:pt x="4944" y="64259"/>
                    </a:moveTo>
                    <a:cubicBezTo>
                      <a:pt x="3720" y="64259"/>
                      <a:pt x="2524" y="63814"/>
                      <a:pt x="1578" y="62924"/>
                    </a:cubicBezTo>
                    <a:cubicBezTo>
                      <a:pt x="-424" y="61061"/>
                      <a:pt x="-536" y="57917"/>
                      <a:pt x="1328" y="55914"/>
                    </a:cubicBezTo>
                    <a:cubicBezTo>
                      <a:pt x="34487" y="20363"/>
                      <a:pt x="81388" y="0"/>
                      <a:pt x="129958" y="0"/>
                    </a:cubicBezTo>
                    <a:cubicBezTo>
                      <a:pt x="132685" y="0"/>
                      <a:pt x="134910" y="2225"/>
                      <a:pt x="134910" y="4952"/>
                    </a:cubicBezTo>
                    <a:cubicBezTo>
                      <a:pt x="134910" y="7678"/>
                      <a:pt x="132685" y="9903"/>
                      <a:pt x="129958" y="9903"/>
                    </a:cubicBezTo>
                    <a:cubicBezTo>
                      <a:pt x="84114" y="9903"/>
                      <a:pt x="39884" y="29126"/>
                      <a:pt x="8589" y="62674"/>
                    </a:cubicBezTo>
                    <a:cubicBezTo>
                      <a:pt x="7587" y="63731"/>
                      <a:pt x="6280" y="64259"/>
                      <a:pt x="4944" y="64259"/>
                    </a:cubicBezTo>
                    <a:close/>
                  </a:path>
                </a:pathLst>
              </a:custGeom>
              <a:solidFill>
                <a:schemeClr val="tx2"/>
              </a:solidFill>
              <a:ln w="2775" cap="flat">
                <a:noFill/>
                <a:prstDash val="solid"/>
                <a:miter/>
              </a:ln>
            </p:spPr>
            <p:txBody>
              <a:bodyPr rtlCol="0" anchor="ctr"/>
              <a:lstStyle/>
              <a:p>
                <a:endParaRPr lang="en-GB" dirty="0"/>
              </a:p>
            </p:txBody>
          </p:sp>
          <p:sp>
            <p:nvSpPr>
              <p:cNvPr id="1061" name="Freihandform: Form 1060">
                <a:extLst>
                  <a:ext uri="{FF2B5EF4-FFF2-40B4-BE49-F238E27FC236}">
                    <a16:creationId xmlns:a16="http://schemas.microsoft.com/office/drawing/2014/main" id="{58CC61B5-0385-4AAA-A9F2-4E4A7B2ED49F}"/>
                  </a:ext>
                </a:extLst>
              </p:cNvPr>
              <p:cNvSpPr/>
              <p:nvPr/>
            </p:nvSpPr>
            <p:spPr>
              <a:xfrm>
                <a:off x="7091482" y="4291609"/>
                <a:ext cx="212000" cy="211917"/>
              </a:xfrm>
              <a:custGeom>
                <a:avLst/>
                <a:gdLst>
                  <a:gd name="connsiteX0" fmla="*/ 105987 w 212000"/>
                  <a:gd name="connsiteY0" fmla="*/ 211917 h 211917"/>
                  <a:gd name="connsiteX1" fmla="*/ 0 w 212000"/>
                  <a:gd name="connsiteY1" fmla="*/ 105959 h 211917"/>
                  <a:gd name="connsiteX2" fmla="*/ 6509 w 212000"/>
                  <a:gd name="connsiteY2" fmla="*/ 69350 h 211917"/>
                  <a:gd name="connsiteX3" fmla="*/ 12880 w 212000"/>
                  <a:gd name="connsiteY3" fmla="*/ 66402 h 211917"/>
                  <a:gd name="connsiteX4" fmla="*/ 15828 w 212000"/>
                  <a:gd name="connsiteY4" fmla="*/ 72772 h 211917"/>
                  <a:gd name="connsiteX5" fmla="*/ 9931 w 212000"/>
                  <a:gd name="connsiteY5" fmla="*/ 105959 h 211917"/>
                  <a:gd name="connsiteX6" fmla="*/ 106014 w 212000"/>
                  <a:gd name="connsiteY6" fmla="*/ 202014 h 211917"/>
                  <a:gd name="connsiteX7" fmla="*/ 202098 w 212000"/>
                  <a:gd name="connsiteY7" fmla="*/ 105959 h 211917"/>
                  <a:gd name="connsiteX8" fmla="*/ 106014 w 212000"/>
                  <a:gd name="connsiteY8" fmla="*/ 9903 h 211917"/>
                  <a:gd name="connsiteX9" fmla="*/ 42895 w 212000"/>
                  <a:gd name="connsiteY9" fmla="*/ 33548 h 211917"/>
                  <a:gd name="connsiteX10" fmla="*/ 35913 w 212000"/>
                  <a:gd name="connsiteY10" fmla="*/ 33075 h 211917"/>
                  <a:gd name="connsiteX11" fmla="*/ 36386 w 212000"/>
                  <a:gd name="connsiteY11" fmla="*/ 26093 h 211917"/>
                  <a:gd name="connsiteX12" fmla="*/ 106014 w 212000"/>
                  <a:gd name="connsiteY12" fmla="*/ 0 h 211917"/>
                  <a:gd name="connsiteX13" fmla="*/ 212001 w 212000"/>
                  <a:gd name="connsiteY13" fmla="*/ 105959 h 211917"/>
                  <a:gd name="connsiteX14" fmla="*/ 105987 w 212000"/>
                  <a:gd name="connsiteY14" fmla="*/ 211917 h 211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2000" h="211917">
                    <a:moveTo>
                      <a:pt x="105987" y="211917"/>
                    </a:moveTo>
                    <a:cubicBezTo>
                      <a:pt x="47541" y="211917"/>
                      <a:pt x="0" y="164376"/>
                      <a:pt x="0" y="105959"/>
                    </a:cubicBezTo>
                    <a:cubicBezTo>
                      <a:pt x="0" y="93385"/>
                      <a:pt x="2198" y="81061"/>
                      <a:pt x="6509" y="69350"/>
                    </a:cubicBezTo>
                    <a:cubicBezTo>
                      <a:pt x="7455" y="66791"/>
                      <a:pt x="10321" y="65456"/>
                      <a:pt x="12880" y="66402"/>
                    </a:cubicBezTo>
                    <a:cubicBezTo>
                      <a:pt x="15439" y="67347"/>
                      <a:pt x="16774" y="70185"/>
                      <a:pt x="15828" y="72772"/>
                    </a:cubicBezTo>
                    <a:cubicBezTo>
                      <a:pt x="11906" y="83398"/>
                      <a:pt x="9931" y="94553"/>
                      <a:pt x="9931" y="105959"/>
                    </a:cubicBezTo>
                    <a:cubicBezTo>
                      <a:pt x="9931" y="158924"/>
                      <a:pt x="53021" y="202014"/>
                      <a:pt x="106014" y="202014"/>
                    </a:cubicBezTo>
                    <a:cubicBezTo>
                      <a:pt x="158980" y="202014"/>
                      <a:pt x="202098" y="158924"/>
                      <a:pt x="202098" y="105959"/>
                    </a:cubicBezTo>
                    <a:cubicBezTo>
                      <a:pt x="202098" y="52993"/>
                      <a:pt x="159008" y="9903"/>
                      <a:pt x="106014" y="9903"/>
                    </a:cubicBezTo>
                    <a:cubicBezTo>
                      <a:pt x="82814" y="9903"/>
                      <a:pt x="60393" y="18304"/>
                      <a:pt x="42895" y="33548"/>
                    </a:cubicBezTo>
                    <a:cubicBezTo>
                      <a:pt x="40837" y="35357"/>
                      <a:pt x="37693" y="35134"/>
                      <a:pt x="35913" y="33075"/>
                    </a:cubicBezTo>
                    <a:cubicBezTo>
                      <a:pt x="34105" y="31017"/>
                      <a:pt x="34327" y="27874"/>
                      <a:pt x="36386" y="26093"/>
                    </a:cubicBezTo>
                    <a:cubicBezTo>
                      <a:pt x="55692" y="9263"/>
                      <a:pt x="80422" y="0"/>
                      <a:pt x="106014" y="0"/>
                    </a:cubicBezTo>
                    <a:cubicBezTo>
                      <a:pt x="164460" y="0"/>
                      <a:pt x="212001" y="47541"/>
                      <a:pt x="212001" y="105959"/>
                    </a:cubicBezTo>
                    <a:cubicBezTo>
                      <a:pt x="211973" y="164404"/>
                      <a:pt x="164432" y="211917"/>
                      <a:pt x="105987" y="211917"/>
                    </a:cubicBezTo>
                    <a:close/>
                  </a:path>
                </a:pathLst>
              </a:custGeom>
              <a:solidFill>
                <a:schemeClr val="tx2"/>
              </a:solidFill>
              <a:ln w="2775" cap="flat">
                <a:noFill/>
                <a:prstDash val="solid"/>
                <a:miter/>
              </a:ln>
            </p:spPr>
            <p:txBody>
              <a:bodyPr rtlCol="0" anchor="ctr"/>
              <a:lstStyle/>
              <a:p>
                <a:endParaRPr lang="en-GB" dirty="0"/>
              </a:p>
            </p:txBody>
          </p:sp>
          <p:sp>
            <p:nvSpPr>
              <p:cNvPr id="1062" name="Freihandform: Form 1061">
                <a:extLst>
                  <a:ext uri="{FF2B5EF4-FFF2-40B4-BE49-F238E27FC236}">
                    <a16:creationId xmlns:a16="http://schemas.microsoft.com/office/drawing/2014/main" id="{604B456A-BCBB-4900-B9BF-644A3BB9A321}"/>
                  </a:ext>
                </a:extLst>
              </p:cNvPr>
              <p:cNvSpPr/>
              <p:nvPr/>
            </p:nvSpPr>
            <p:spPr>
              <a:xfrm>
                <a:off x="7193351" y="4183703"/>
                <a:ext cx="9903" cy="137504"/>
              </a:xfrm>
              <a:custGeom>
                <a:avLst/>
                <a:gdLst>
                  <a:gd name="connsiteX0" fmla="*/ 4952 w 9903"/>
                  <a:gd name="connsiteY0" fmla="*/ 137504 h 137504"/>
                  <a:gd name="connsiteX1" fmla="*/ 0 w 9903"/>
                  <a:gd name="connsiteY1" fmla="*/ 132553 h 137504"/>
                  <a:gd name="connsiteX2" fmla="*/ 0 w 9903"/>
                  <a:gd name="connsiteY2" fmla="*/ 4952 h 137504"/>
                  <a:gd name="connsiteX3" fmla="*/ 4952 w 9903"/>
                  <a:gd name="connsiteY3" fmla="*/ 0 h 137504"/>
                  <a:gd name="connsiteX4" fmla="*/ 9903 w 9903"/>
                  <a:gd name="connsiteY4" fmla="*/ 4952 h 137504"/>
                  <a:gd name="connsiteX5" fmla="*/ 9903 w 9903"/>
                  <a:gd name="connsiteY5" fmla="*/ 132553 h 137504"/>
                  <a:gd name="connsiteX6" fmla="*/ 4952 w 9903"/>
                  <a:gd name="connsiteY6" fmla="*/ 137504 h 137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37504">
                    <a:moveTo>
                      <a:pt x="4952" y="137504"/>
                    </a:moveTo>
                    <a:cubicBezTo>
                      <a:pt x="2226" y="137504"/>
                      <a:pt x="0" y="135279"/>
                      <a:pt x="0" y="132553"/>
                    </a:cubicBezTo>
                    <a:lnTo>
                      <a:pt x="0" y="4952"/>
                    </a:lnTo>
                    <a:cubicBezTo>
                      <a:pt x="0" y="2225"/>
                      <a:pt x="2226" y="0"/>
                      <a:pt x="4952" y="0"/>
                    </a:cubicBezTo>
                    <a:cubicBezTo>
                      <a:pt x="7678" y="0"/>
                      <a:pt x="9903" y="2225"/>
                      <a:pt x="9903" y="4952"/>
                    </a:cubicBezTo>
                    <a:lnTo>
                      <a:pt x="9903" y="132553"/>
                    </a:lnTo>
                    <a:cubicBezTo>
                      <a:pt x="9903" y="135307"/>
                      <a:pt x="7678" y="137504"/>
                      <a:pt x="4952" y="137504"/>
                    </a:cubicBezTo>
                    <a:close/>
                  </a:path>
                </a:pathLst>
              </a:custGeom>
              <a:solidFill>
                <a:schemeClr val="tx2"/>
              </a:solidFill>
              <a:ln w="2775" cap="flat">
                <a:noFill/>
                <a:prstDash val="solid"/>
                <a:miter/>
              </a:ln>
            </p:spPr>
            <p:txBody>
              <a:bodyPr rtlCol="0" anchor="ctr"/>
              <a:lstStyle/>
              <a:p>
                <a:endParaRPr lang="en-GB" dirty="0"/>
              </a:p>
            </p:txBody>
          </p:sp>
          <p:sp>
            <p:nvSpPr>
              <p:cNvPr id="1063" name="Freihandform: Form 1062">
                <a:extLst>
                  <a:ext uri="{FF2B5EF4-FFF2-40B4-BE49-F238E27FC236}">
                    <a16:creationId xmlns:a16="http://schemas.microsoft.com/office/drawing/2014/main" id="{3E9DA523-B638-49A7-BECB-7388B4DCAA5F}"/>
                  </a:ext>
                </a:extLst>
              </p:cNvPr>
              <p:cNvSpPr/>
              <p:nvPr/>
            </p:nvSpPr>
            <p:spPr>
              <a:xfrm>
                <a:off x="7193351" y="4470952"/>
                <a:ext cx="9903" cy="146127"/>
              </a:xfrm>
              <a:custGeom>
                <a:avLst/>
                <a:gdLst>
                  <a:gd name="connsiteX0" fmla="*/ 4952 w 9903"/>
                  <a:gd name="connsiteY0" fmla="*/ 146128 h 146127"/>
                  <a:gd name="connsiteX1" fmla="*/ 0 w 9903"/>
                  <a:gd name="connsiteY1" fmla="*/ 141176 h 146127"/>
                  <a:gd name="connsiteX2" fmla="*/ 0 w 9903"/>
                  <a:gd name="connsiteY2" fmla="*/ 4952 h 146127"/>
                  <a:gd name="connsiteX3" fmla="*/ 4952 w 9903"/>
                  <a:gd name="connsiteY3" fmla="*/ 0 h 146127"/>
                  <a:gd name="connsiteX4" fmla="*/ 9903 w 9903"/>
                  <a:gd name="connsiteY4" fmla="*/ 4952 h 146127"/>
                  <a:gd name="connsiteX5" fmla="*/ 9903 w 9903"/>
                  <a:gd name="connsiteY5" fmla="*/ 141176 h 146127"/>
                  <a:gd name="connsiteX6" fmla="*/ 4952 w 9903"/>
                  <a:gd name="connsiteY6" fmla="*/ 146128 h 14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03" h="146127">
                    <a:moveTo>
                      <a:pt x="4952" y="146128"/>
                    </a:moveTo>
                    <a:cubicBezTo>
                      <a:pt x="2226" y="146128"/>
                      <a:pt x="0" y="143903"/>
                      <a:pt x="0" y="141176"/>
                    </a:cubicBezTo>
                    <a:lnTo>
                      <a:pt x="0" y="4952"/>
                    </a:lnTo>
                    <a:cubicBezTo>
                      <a:pt x="0" y="2225"/>
                      <a:pt x="2226" y="0"/>
                      <a:pt x="4952" y="0"/>
                    </a:cubicBezTo>
                    <a:cubicBezTo>
                      <a:pt x="7678" y="0"/>
                      <a:pt x="9903" y="2225"/>
                      <a:pt x="9903" y="4952"/>
                    </a:cubicBezTo>
                    <a:lnTo>
                      <a:pt x="9903" y="141176"/>
                    </a:lnTo>
                    <a:cubicBezTo>
                      <a:pt x="9903" y="143903"/>
                      <a:pt x="7678" y="146128"/>
                      <a:pt x="4952" y="146128"/>
                    </a:cubicBezTo>
                    <a:close/>
                  </a:path>
                </a:pathLst>
              </a:custGeom>
              <a:solidFill>
                <a:schemeClr val="tx2"/>
              </a:solidFill>
              <a:ln w="2775" cap="flat">
                <a:noFill/>
                <a:prstDash val="solid"/>
                <a:miter/>
              </a:ln>
            </p:spPr>
            <p:txBody>
              <a:bodyPr rtlCol="0" anchor="ctr"/>
              <a:lstStyle/>
              <a:p>
                <a:endParaRPr lang="en-GB" dirty="0"/>
              </a:p>
            </p:txBody>
          </p:sp>
          <p:sp>
            <p:nvSpPr>
              <p:cNvPr id="1064" name="Freihandform: Form 1063">
                <a:extLst>
                  <a:ext uri="{FF2B5EF4-FFF2-40B4-BE49-F238E27FC236}">
                    <a16:creationId xmlns:a16="http://schemas.microsoft.com/office/drawing/2014/main" id="{12277C87-216C-42F2-8FAD-F01EBA1090B2}"/>
                  </a:ext>
                </a:extLst>
              </p:cNvPr>
              <p:cNvSpPr/>
              <p:nvPr/>
            </p:nvSpPr>
            <p:spPr>
              <a:xfrm>
                <a:off x="6982714" y="4392839"/>
                <a:ext cx="144764" cy="9903"/>
              </a:xfrm>
              <a:custGeom>
                <a:avLst/>
                <a:gdLst>
                  <a:gd name="connsiteX0" fmla="*/ 139813 w 144764"/>
                  <a:gd name="connsiteY0" fmla="*/ 9903 h 9903"/>
                  <a:gd name="connsiteX1" fmla="*/ 4952 w 144764"/>
                  <a:gd name="connsiteY1" fmla="*/ 9903 h 9903"/>
                  <a:gd name="connsiteX2" fmla="*/ 0 w 144764"/>
                  <a:gd name="connsiteY2" fmla="*/ 4952 h 9903"/>
                  <a:gd name="connsiteX3" fmla="*/ 4952 w 144764"/>
                  <a:gd name="connsiteY3" fmla="*/ 0 h 9903"/>
                  <a:gd name="connsiteX4" fmla="*/ 139813 w 144764"/>
                  <a:gd name="connsiteY4" fmla="*/ 0 h 9903"/>
                  <a:gd name="connsiteX5" fmla="*/ 144765 w 144764"/>
                  <a:gd name="connsiteY5" fmla="*/ 4952 h 9903"/>
                  <a:gd name="connsiteX6" fmla="*/ 139813 w 144764"/>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764" h="9903">
                    <a:moveTo>
                      <a:pt x="139813" y="9903"/>
                    </a:moveTo>
                    <a:lnTo>
                      <a:pt x="4952" y="9903"/>
                    </a:lnTo>
                    <a:cubicBezTo>
                      <a:pt x="2225" y="9903"/>
                      <a:pt x="0" y="7678"/>
                      <a:pt x="0" y="4952"/>
                    </a:cubicBezTo>
                    <a:cubicBezTo>
                      <a:pt x="0" y="2226"/>
                      <a:pt x="2225" y="0"/>
                      <a:pt x="4952" y="0"/>
                    </a:cubicBezTo>
                    <a:lnTo>
                      <a:pt x="139813" y="0"/>
                    </a:lnTo>
                    <a:cubicBezTo>
                      <a:pt x="142539" y="0"/>
                      <a:pt x="144765" y="2226"/>
                      <a:pt x="144765" y="4952"/>
                    </a:cubicBezTo>
                    <a:cubicBezTo>
                      <a:pt x="144765" y="7678"/>
                      <a:pt x="142539" y="9903"/>
                      <a:pt x="139813" y="9903"/>
                    </a:cubicBezTo>
                    <a:close/>
                  </a:path>
                </a:pathLst>
              </a:custGeom>
              <a:solidFill>
                <a:schemeClr val="tx2"/>
              </a:solidFill>
              <a:ln w="2775" cap="flat">
                <a:noFill/>
                <a:prstDash val="solid"/>
                <a:miter/>
              </a:ln>
            </p:spPr>
            <p:txBody>
              <a:bodyPr rtlCol="0" anchor="ctr"/>
              <a:lstStyle/>
              <a:p>
                <a:endParaRPr lang="en-GB" dirty="0"/>
              </a:p>
            </p:txBody>
          </p:sp>
          <p:sp>
            <p:nvSpPr>
              <p:cNvPr id="1065" name="Freihandform: Form 1064">
                <a:extLst>
                  <a:ext uri="{FF2B5EF4-FFF2-40B4-BE49-F238E27FC236}">
                    <a16:creationId xmlns:a16="http://schemas.microsoft.com/office/drawing/2014/main" id="{97056C22-1F1E-453C-897B-A069A4268D69}"/>
                  </a:ext>
                </a:extLst>
              </p:cNvPr>
              <p:cNvSpPr/>
              <p:nvPr/>
            </p:nvSpPr>
            <p:spPr>
              <a:xfrm>
                <a:off x="7219808" y="4178559"/>
                <a:ext cx="212325" cy="441831"/>
              </a:xfrm>
              <a:custGeom>
                <a:avLst/>
                <a:gdLst>
                  <a:gd name="connsiteX0" fmla="*/ 65704 w 212325"/>
                  <a:gd name="connsiteY0" fmla="*/ 441831 h 441831"/>
                  <a:gd name="connsiteX1" fmla="*/ 41697 w 212325"/>
                  <a:gd name="connsiteY1" fmla="*/ 426031 h 441831"/>
                  <a:gd name="connsiteX2" fmla="*/ 27677 w 212325"/>
                  <a:gd name="connsiteY2" fmla="*/ 393317 h 441831"/>
                  <a:gd name="connsiteX3" fmla="*/ 8288 w 212325"/>
                  <a:gd name="connsiteY3" fmla="*/ 396599 h 441831"/>
                  <a:gd name="connsiteX4" fmla="*/ 2808 w 212325"/>
                  <a:gd name="connsiteY4" fmla="*/ 392232 h 441831"/>
                  <a:gd name="connsiteX5" fmla="*/ 7175 w 212325"/>
                  <a:gd name="connsiteY5" fmla="*/ 386752 h 441831"/>
                  <a:gd name="connsiteX6" fmla="*/ 29374 w 212325"/>
                  <a:gd name="connsiteY6" fmla="*/ 382718 h 441831"/>
                  <a:gd name="connsiteX7" fmla="*/ 35132 w 212325"/>
                  <a:gd name="connsiteY7" fmla="*/ 385556 h 441831"/>
                  <a:gd name="connsiteX8" fmla="*/ 50794 w 212325"/>
                  <a:gd name="connsiteY8" fmla="*/ 422109 h 441831"/>
                  <a:gd name="connsiteX9" fmla="*/ 72019 w 212325"/>
                  <a:gd name="connsiteY9" fmla="*/ 430593 h 441831"/>
                  <a:gd name="connsiteX10" fmla="*/ 83062 w 212325"/>
                  <a:gd name="connsiteY10" fmla="*/ 425864 h 441831"/>
                  <a:gd name="connsiteX11" fmla="*/ 91547 w 212325"/>
                  <a:gd name="connsiteY11" fmla="*/ 404639 h 441831"/>
                  <a:gd name="connsiteX12" fmla="*/ 75858 w 212325"/>
                  <a:gd name="connsiteY12" fmla="*/ 368058 h 441831"/>
                  <a:gd name="connsiteX13" fmla="*/ 77777 w 212325"/>
                  <a:gd name="connsiteY13" fmla="*/ 361910 h 441831"/>
                  <a:gd name="connsiteX14" fmla="*/ 129964 w 212325"/>
                  <a:gd name="connsiteY14" fmla="*/ 309501 h 441831"/>
                  <a:gd name="connsiteX15" fmla="*/ 136083 w 212325"/>
                  <a:gd name="connsiteY15" fmla="*/ 307554 h 441831"/>
                  <a:gd name="connsiteX16" fmla="*/ 172664 w 212325"/>
                  <a:gd name="connsiteY16" fmla="*/ 323048 h 441831"/>
                  <a:gd name="connsiteX17" fmla="*/ 193834 w 212325"/>
                  <a:gd name="connsiteY17" fmla="*/ 314481 h 441831"/>
                  <a:gd name="connsiteX18" fmla="*/ 198535 w 212325"/>
                  <a:gd name="connsiteY18" fmla="*/ 303409 h 441831"/>
                  <a:gd name="connsiteX19" fmla="*/ 198646 w 212325"/>
                  <a:gd name="connsiteY19" fmla="*/ 291030 h 441831"/>
                  <a:gd name="connsiteX20" fmla="*/ 189967 w 212325"/>
                  <a:gd name="connsiteY20" fmla="*/ 282212 h 441831"/>
                  <a:gd name="connsiteX21" fmla="*/ 153358 w 212325"/>
                  <a:gd name="connsiteY21" fmla="*/ 266717 h 441831"/>
                  <a:gd name="connsiteX22" fmla="*/ 150493 w 212325"/>
                  <a:gd name="connsiteY22" fmla="*/ 260959 h 441831"/>
                  <a:gd name="connsiteX23" fmla="*/ 151773 w 212325"/>
                  <a:gd name="connsiteY23" fmla="*/ 186991 h 441831"/>
                  <a:gd name="connsiteX24" fmla="*/ 154861 w 212325"/>
                  <a:gd name="connsiteY24" fmla="*/ 181316 h 441831"/>
                  <a:gd name="connsiteX25" fmla="*/ 192053 w 212325"/>
                  <a:gd name="connsiteY25" fmla="*/ 167156 h 441831"/>
                  <a:gd name="connsiteX26" fmla="*/ 201039 w 212325"/>
                  <a:gd name="connsiteY26" fmla="*/ 158672 h 441831"/>
                  <a:gd name="connsiteX27" fmla="*/ 201372 w 212325"/>
                  <a:gd name="connsiteY27" fmla="*/ 146293 h 441831"/>
                  <a:gd name="connsiteX28" fmla="*/ 197088 w 212325"/>
                  <a:gd name="connsiteY28" fmla="*/ 135110 h 441831"/>
                  <a:gd name="connsiteX29" fmla="*/ 176253 w 212325"/>
                  <a:gd name="connsiteY29" fmla="*/ 125791 h 441831"/>
                  <a:gd name="connsiteX30" fmla="*/ 139032 w 212325"/>
                  <a:gd name="connsiteY30" fmla="*/ 139923 h 441831"/>
                  <a:gd name="connsiteX31" fmla="*/ 132996 w 212325"/>
                  <a:gd name="connsiteY31" fmla="*/ 137753 h 441831"/>
                  <a:gd name="connsiteX32" fmla="*/ 77082 w 212325"/>
                  <a:gd name="connsiteY32" fmla="*/ 79725 h 441831"/>
                  <a:gd name="connsiteX33" fmla="*/ 75134 w 212325"/>
                  <a:gd name="connsiteY33" fmla="*/ 73605 h 441831"/>
                  <a:gd name="connsiteX34" fmla="*/ 90629 w 212325"/>
                  <a:gd name="connsiteY34" fmla="*/ 36996 h 441831"/>
                  <a:gd name="connsiteX35" fmla="*/ 90712 w 212325"/>
                  <a:gd name="connsiteY35" fmla="*/ 24617 h 441831"/>
                  <a:gd name="connsiteX36" fmla="*/ 82033 w 212325"/>
                  <a:gd name="connsiteY36" fmla="*/ 15799 h 441831"/>
                  <a:gd name="connsiteX37" fmla="*/ 71045 w 212325"/>
                  <a:gd name="connsiteY37" fmla="*/ 11153 h 441831"/>
                  <a:gd name="connsiteX38" fmla="*/ 49876 w 212325"/>
                  <a:gd name="connsiteY38" fmla="*/ 19749 h 441831"/>
                  <a:gd name="connsiteX39" fmla="*/ 34353 w 212325"/>
                  <a:gd name="connsiteY39" fmla="*/ 56358 h 441831"/>
                  <a:gd name="connsiteX40" fmla="*/ 28623 w 212325"/>
                  <a:gd name="connsiteY40" fmla="*/ 59223 h 441831"/>
                  <a:gd name="connsiteX41" fmla="*/ 4477 w 212325"/>
                  <a:gd name="connsiteY41" fmla="*/ 55134 h 441831"/>
                  <a:gd name="connsiteX42" fmla="*/ 26 w 212325"/>
                  <a:gd name="connsiteY42" fmla="*/ 49737 h 441831"/>
                  <a:gd name="connsiteX43" fmla="*/ 5422 w 212325"/>
                  <a:gd name="connsiteY43" fmla="*/ 45286 h 441831"/>
                  <a:gd name="connsiteX44" fmla="*/ 26870 w 212325"/>
                  <a:gd name="connsiteY44" fmla="*/ 48652 h 441831"/>
                  <a:gd name="connsiteX45" fmla="*/ 40751 w 212325"/>
                  <a:gd name="connsiteY45" fmla="*/ 15882 h 441831"/>
                  <a:gd name="connsiteX46" fmla="*/ 74912 w 212325"/>
                  <a:gd name="connsiteY46" fmla="*/ 2057 h 441831"/>
                  <a:gd name="connsiteX47" fmla="*/ 85900 w 212325"/>
                  <a:gd name="connsiteY47" fmla="*/ 6702 h 441831"/>
                  <a:gd name="connsiteX48" fmla="*/ 99726 w 212325"/>
                  <a:gd name="connsiteY48" fmla="*/ 40863 h 441831"/>
                  <a:gd name="connsiteX49" fmla="*/ 85844 w 212325"/>
                  <a:gd name="connsiteY49" fmla="*/ 73632 h 441831"/>
                  <a:gd name="connsiteX50" fmla="*/ 139394 w 212325"/>
                  <a:gd name="connsiteY50" fmla="*/ 129213 h 441831"/>
                  <a:gd name="connsiteX51" fmla="*/ 172720 w 212325"/>
                  <a:gd name="connsiteY51" fmla="*/ 116556 h 441831"/>
                  <a:gd name="connsiteX52" fmla="*/ 206296 w 212325"/>
                  <a:gd name="connsiteY52" fmla="*/ 131605 h 441831"/>
                  <a:gd name="connsiteX53" fmla="*/ 210580 w 212325"/>
                  <a:gd name="connsiteY53" fmla="*/ 142788 h 441831"/>
                  <a:gd name="connsiteX54" fmla="*/ 210024 w 212325"/>
                  <a:gd name="connsiteY54" fmla="*/ 162761 h 441831"/>
                  <a:gd name="connsiteX55" fmla="*/ 195503 w 212325"/>
                  <a:gd name="connsiteY55" fmla="*/ 176476 h 441831"/>
                  <a:gd name="connsiteX56" fmla="*/ 162232 w 212325"/>
                  <a:gd name="connsiteY56" fmla="*/ 189133 h 441831"/>
                  <a:gd name="connsiteX57" fmla="*/ 161008 w 212325"/>
                  <a:gd name="connsiteY57" fmla="*/ 259234 h 441831"/>
                  <a:gd name="connsiteX58" fmla="*/ 193778 w 212325"/>
                  <a:gd name="connsiteY58" fmla="*/ 273087 h 441831"/>
                  <a:gd name="connsiteX59" fmla="*/ 207798 w 212325"/>
                  <a:gd name="connsiteY59" fmla="*/ 287302 h 441831"/>
                  <a:gd name="connsiteX60" fmla="*/ 207631 w 212325"/>
                  <a:gd name="connsiteY60" fmla="*/ 307276 h 441831"/>
                  <a:gd name="connsiteX61" fmla="*/ 202930 w 212325"/>
                  <a:gd name="connsiteY61" fmla="*/ 318347 h 441831"/>
                  <a:gd name="connsiteX62" fmla="*/ 168770 w 212325"/>
                  <a:gd name="connsiteY62" fmla="*/ 332173 h 441831"/>
                  <a:gd name="connsiteX63" fmla="*/ 136028 w 212325"/>
                  <a:gd name="connsiteY63" fmla="*/ 318292 h 441831"/>
                  <a:gd name="connsiteX64" fmla="*/ 86567 w 212325"/>
                  <a:gd name="connsiteY64" fmla="*/ 367947 h 441831"/>
                  <a:gd name="connsiteX65" fmla="*/ 100616 w 212325"/>
                  <a:gd name="connsiteY65" fmla="*/ 400689 h 441831"/>
                  <a:gd name="connsiteX66" fmla="*/ 86929 w 212325"/>
                  <a:gd name="connsiteY66" fmla="*/ 434933 h 441831"/>
                  <a:gd name="connsiteX67" fmla="*/ 75858 w 212325"/>
                  <a:gd name="connsiteY67" fmla="*/ 439662 h 441831"/>
                  <a:gd name="connsiteX68" fmla="*/ 65704 w 212325"/>
                  <a:gd name="connsiteY68" fmla="*/ 441831 h 44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212325" h="441831">
                    <a:moveTo>
                      <a:pt x="65704" y="441831"/>
                    </a:moveTo>
                    <a:cubicBezTo>
                      <a:pt x="55578" y="441831"/>
                      <a:pt x="45953" y="435906"/>
                      <a:pt x="41697" y="426031"/>
                    </a:cubicBezTo>
                    <a:lnTo>
                      <a:pt x="27677" y="393317"/>
                    </a:lnTo>
                    <a:cubicBezTo>
                      <a:pt x="21307" y="394763"/>
                      <a:pt x="14797" y="395876"/>
                      <a:pt x="8288" y="396599"/>
                    </a:cubicBezTo>
                    <a:cubicBezTo>
                      <a:pt x="5617" y="396877"/>
                      <a:pt x="3114" y="394958"/>
                      <a:pt x="2808" y="392232"/>
                    </a:cubicBezTo>
                    <a:cubicBezTo>
                      <a:pt x="2502" y="389506"/>
                      <a:pt x="4449" y="387058"/>
                      <a:pt x="7175" y="386752"/>
                    </a:cubicBezTo>
                    <a:cubicBezTo>
                      <a:pt x="14630" y="385917"/>
                      <a:pt x="22113" y="384554"/>
                      <a:pt x="29374" y="382718"/>
                    </a:cubicBezTo>
                    <a:cubicBezTo>
                      <a:pt x="31738" y="382106"/>
                      <a:pt x="34186" y="383330"/>
                      <a:pt x="35132" y="385556"/>
                    </a:cubicBezTo>
                    <a:lnTo>
                      <a:pt x="50794" y="422109"/>
                    </a:lnTo>
                    <a:cubicBezTo>
                      <a:pt x="54299" y="430287"/>
                      <a:pt x="63812" y="434126"/>
                      <a:pt x="72019" y="430593"/>
                    </a:cubicBezTo>
                    <a:lnTo>
                      <a:pt x="83062" y="425864"/>
                    </a:lnTo>
                    <a:cubicBezTo>
                      <a:pt x="91241" y="422359"/>
                      <a:pt x="95052" y="412817"/>
                      <a:pt x="91547" y="404639"/>
                    </a:cubicBezTo>
                    <a:lnTo>
                      <a:pt x="75858" y="368058"/>
                    </a:lnTo>
                    <a:cubicBezTo>
                      <a:pt x="74884" y="365832"/>
                      <a:pt x="75719" y="363218"/>
                      <a:pt x="77777" y="361910"/>
                    </a:cubicBezTo>
                    <a:cubicBezTo>
                      <a:pt x="98752" y="348697"/>
                      <a:pt x="116778" y="330559"/>
                      <a:pt x="129964" y="309501"/>
                    </a:cubicBezTo>
                    <a:cubicBezTo>
                      <a:pt x="131243" y="307415"/>
                      <a:pt x="133830" y="306608"/>
                      <a:pt x="136083" y="307554"/>
                    </a:cubicBezTo>
                    <a:lnTo>
                      <a:pt x="172664" y="323048"/>
                    </a:lnTo>
                    <a:cubicBezTo>
                      <a:pt x="180843" y="326526"/>
                      <a:pt x="190356" y="322687"/>
                      <a:pt x="193834" y="314481"/>
                    </a:cubicBezTo>
                    <a:lnTo>
                      <a:pt x="198535" y="303409"/>
                    </a:lnTo>
                    <a:cubicBezTo>
                      <a:pt x="200232" y="299431"/>
                      <a:pt x="200260" y="295036"/>
                      <a:pt x="198646" y="291030"/>
                    </a:cubicBezTo>
                    <a:cubicBezTo>
                      <a:pt x="197033" y="287024"/>
                      <a:pt x="193945" y="283881"/>
                      <a:pt x="189967" y="282212"/>
                    </a:cubicBezTo>
                    <a:lnTo>
                      <a:pt x="153358" y="266717"/>
                    </a:lnTo>
                    <a:cubicBezTo>
                      <a:pt x="151105" y="265771"/>
                      <a:pt x="149909" y="263323"/>
                      <a:pt x="150493" y="260959"/>
                    </a:cubicBezTo>
                    <a:cubicBezTo>
                      <a:pt x="156502" y="236757"/>
                      <a:pt x="156947" y="211165"/>
                      <a:pt x="151773" y="186991"/>
                    </a:cubicBezTo>
                    <a:cubicBezTo>
                      <a:pt x="151272" y="184598"/>
                      <a:pt x="152580" y="182206"/>
                      <a:pt x="154861" y="181316"/>
                    </a:cubicBezTo>
                    <a:lnTo>
                      <a:pt x="192053" y="167156"/>
                    </a:lnTo>
                    <a:cubicBezTo>
                      <a:pt x="196087" y="165627"/>
                      <a:pt x="199286" y="162594"/>
                      <a:pt x="201039" y="158672"/>
                    </a:cubicBezTo>
                    <a:cubicBezTo>
                      <a:pt x="202819" y="154722"/>
                      <a:pt x="202930" y="150327"/>
                      <a:pt x="201372" y="146293"/>
                    </a:cubicBezTo>
                    <a:lnTo>
                      <a:pt x="197088" y="135110"/>
                    </a:lnTo>
                    <a:cubicBezTo>
                      <a:pt x="193889" y="126820"/>
                      <a:pt x="184570" y="122648"/>
                      <a:pt x="176253" y="125791"/>
                    </a:cubicBezTo>
                    <a:lnTo>
                      <a:pt x="139032" y="139923"/>
                    </a:lnTo>
                    <a:cubicBezTo>
                      <a:pt x="136751" y="140785"/>
                      <a:pt x="134192" y="139867"/>
                      <a:pt x="132996" y="137753"/>
                    </a:cubicBezTo>
                    <a:cubicBezTo>
                      <a:pt x="119365" y="114052"/>
                      <a:pt x="100031" y="93995"/>
                      <a:pt x="77082" y="79725"/>
                    </a:cubicBezTo>
                    <a:cubicBezTo>
                      <a:pt x="74995" y="78445"/>
                      <a:pt x="74188" y="75830"/>
                      <a:pt x="75134" y="73605"/>
                    </a:cubicBezTo>
                    <a:lnTo>
                      <a:pt x="90629" y="36996"/>
                    </a:lnTo>
                    <a:cubicBezTo>
                      <a:pt x="92326" y="33018"/>
                      <a:pt x="92354" y="28623"/>
                      <a:pt x="90712" y="24617"/>
                    </a:cubicBezTo>
                    <a:cubicBezTo>
                      <a:pt x="89099" y="20611"/>
                      <a:pt x="86011" y="17496"/>
                      <a:pt x="82033" y="15799"/>
                    </a:cubicBezTo>
                    <a:lnTo>
                      <a:pt x="71045" y="11153"/>
                    </a:lnTo>
                    <a:cubicBezTo>
                      <a:pt x="62839" y="7704"/>
                      <a:pt x="53353" y="11543"/>
                      <a:pt x="49876" y="19749"/>
                    </a:cubicBezTo>
                    <a:lnTo>
                      <a:pt x="34353" y="56358"/>
                    </a:lnTo>
                    <a:cubicBezTo>
                      <a:pt x="33407" y="58583"/>
                      <a:pt x="30987" y="59835"/>
                      <a:pt x="28623" y="59223"/>
                    </a:cubicBezTo>
                    <a:cubicBezTo>
                      <a:pt x="20667" y="57275"/>
                      <a:pt x="12544" y="55885"/>
                      <a:pt x="4477" y="55134"/>
                    </a:cubicBezTo>
                    <a:cubicBezTo>
                      <a:pt x="1750" y="54883"/>
                      <a:pt x="-252" y="52463"/>
                      <a:pt x="26" y="49737"/>
                    </a:cubicBezTo>
                    <a:cubicBezTo>
                      <a:pt x="276" y="47011"/>
                      <a:pt x="2641" y="45036"/>
                      <a:pt x="5422" y="45286"/>
                    </a:cubicBezTo>
                    <a:cubicBezTo>
                      <a:pt x="12572" y="45981"/>
                      <a:pt x="19776" y="47094"/>
                      <a:pt x="26870" y="48652"/>
                    </a:cubicBezTo>
                    <a:lnTo>
                      <a:pt x="40751" y="15882"/>
                    </a:lnTo>
                    <a:cubicBezTo>
                      <a:pt x="46343" y="2669"/>
                      <a:pt x="61670" y="-3535"/>
                      <a:pt x="74912" y="2057"/>
                    </a:cubicBezTo>
                    <a:lnTo>
                      <a:pt x="85900" y="6702"/>
                    </a:lnTo>
                    <a:cubicBezTo>
                      <a:pt x="99141" y="12294"/>
                      <a:pt x="105345" y="27622"/>
                      <a:pt x="99726" y="40863"/>
                    </a:cubicBezTo>
                    <a:lnTo>
                      <a:pt x="85844" y="73632"/>
                    </a:lnTo>
                    <a:cubicBezTo>
                      <a:pt x="107459" y="87820"/>
                      <a:pt x="125846" y="106903"/>
                      <a:pt x="139394" y="129213"/>
                    </a:cubicBezTo>
                    <a:lnTo>
                      <a:pt x="172720" y="116556"/>
                    </a:lnTo>
                    <a:cubicBezTo>
                      <a:pt x="186100" y="111465"/>
                      <a:pt x="201178" y="118225"/>
                      <a:pt x="206296" y="131605"/>
                    </a:cubicBezTo>
                    <a:lnTo>
                      <a:pt x="210580" y="142788"/>
                    </a:lnTo>
                    <a:cubicBezTo>
                      <a:pt x="213084" y="149297"/>
                      <a:pt x="212889" y="156391"/>
                      <a:pt x="210024" y="162761"/>
                    </a:cubicBezTo>
                    <a:cubicBezTo>
                      <a:pt x="207186" y="169132"/>
                      <a:pt x="202012" y="174000"/>
                      <a:pt x="195503" y="176476"/>
                    </a:cubicBezTo>
                    <a:lnTo>
                      <a:pt x="162232" y="189133"/>
                    </a:lnTo>
                    <a:cubicBezTo>
                      <a:pt x="166544" y="212166"/>
                      <a:pt x="166127" y="236201"/>
                      <a:pt x="161008" y="259234"/>
                    </a:cubicBezTo>
                    <a:lnTo>
                      <a:pt x="193778" y="273087"/>
                    </a:lnTo>
                    <a:cubicBezTo>
                      <a:pt x="200204" y="275814"/>
                      <a:pt x="205183" y="280849"/>
                      <a:pt x="207798" y="287302"/>
                    </a:cubicBezTo>
                    <a:cubicBezTo>
                      <a:pt x="210413" y="293756"/>
                      <a:pt x="210358" y="300850"/>
                      <a:pt x="207631" y="307276"/>
                    </a:cubicBezTo>
                    <a:lnTo>
                      <a:pt x="202930" y="318347"/>
                    </a:lnTo>
                    <a:cubicBezTo>
                      <a:pt x="197311" y="331561"/>
                      <a:pt x="181983" y="337764"/>
                      <a:pt x="168770" y="332173"/>
                    </a:cubicBezTo>
                    <a:lnTo>
                      <a:pt x="136028" y="318292"/>
                    </a:lnTo>
                    <a:cubicBezTo>
                      <a:pt x="123093" y="337903"/>
                      <a:pt x="106096" y="354956"/>
                      <a:pt x="86567" y="367947"/>
                    </a:cubicBezTo>
                    <a:lnTo>
                      <a:pt x="100616" y="400689"/>
                    </a:lnTo>
                    <a:cubicBezTo>
                      <a:pt x="106291" y="413902"/>
                      <a:pt x="100143" y="429258"/>
                      <a:pt x="86929" y="434933"/>
                    </a:cubicBezTo>
                    <a:lnTo>
                      <a:pt x="75858" y="439662"/>
                    </a:lnTo>
                    <a:cubicBezTo>
                      <a:pt x="72603" y="441164"/>
                      <a:pt x="69126" y="441831"/>
                      <a:pt x="65704" y="441831"/>
                    </a:cubicBezTo>
                    <a:close/>
                  </a:path>
                </a:pathLst>
              </a:custGeom>
              <a:solidFill>
                <a:schemeClr val="tx2"/>
              </a:solidFill>
              <a:ln w="2775" cap="flat">
                <a:noFill/>
                <a:prstDash val="solid"/>
                <a:miter/>
              </a:ln>
            </p:spPr>
            <p:txBody>
              <a:bodyPr rtlCol="0" anchor="ctr"/>
              <a:lstStyle/>
              <a:p>
                <a:endParaRPr lang="en-GB" dirty="0"/>
              </a:p>
            </p:txBody>
          </p:sp>
        </p:grpSp>
      </p:grpSp>
      <p:grpSp>
        <p:nvGrpSpPr>
          <p:cNvPr id="1070" name="Group 757">
            <a:extLst>
              <a:ext uri="{FF2B5EF4-FFF2-40B4-BE49-F238E27FC236}">
                <a16:creationId xmlns:a16="http://schemas.microsoft.com/office/drawing/2014/main" id="{A0F7A58B-D65F-484F-AB0F-C553904BA010}"/>
              </a:ext>
            </a:extLst>
          </p:cNvPr>
          <p:cNvGrpSpPr>
            <a:grpSpLocks noChangeAspect="1"/>
          </p:cNvGrpSpPr>
          <p:nvPr/>
        </p:nvGrpSpPr>
        <p:grpSpPr>
          <a:xfrm>
            <a:off x="8054668" y="4210073"/>
            <a:ext cx="576000" cy="299309"/>
            <a:chOff x="7693741" y="4236057"/>
            <a:chExt cx="629020" cy="326861"/>
          </a:xfrm>
        </p:grpSpPr>
        <p:grpSp>
          <p:nvGrpSpPr>
            <p:cNvPr id="1071" name="Grafik 114">
              <a:extLst>
                <a:ext uri="{FF2B5EF4-FFF2-40B4-BE49-F238E27FC236}">
                  <a16:creationId xmlns:a16="http://schemas.microsoft.com/office/drawing/2014/main" id="{A8AABC6E-73EA-47B0-92A2-33844BC3869B}"/>
                </a:ext>
              </a:extLst>
            </p:cNvPr>
            <p:cNvGrpSpPr/>
            <p:nvPr/>
          </p:nvGrpSpPr>
          <p:grpSpPr>
            <a:xfrm>
              <a:off x="7981407" y="4275670"/>
              <a:ext cx="56887" cy="181595"/>
              <a:chOff x="7981407" y="4275670"/>
              <a:chExt cx="56887" cy="181595"/>
            </a:xfrm>
            <a:solidFill>
              <a:schemeClr val="accent1"/>
            </a:solidFill>
          </p:grpSpPr>
          <p:sp>
            <p:nvSpPr>
              <p:cNvPr id="1082" name="Freihandform: Form 1081">
                <a:extLst>
                  <a:ext uri="{FF2B5EF4-FFF2-40B4-BE49-F238E27FC236}">
                    <a16:creationId xmlns:a16="http://schemas.microsoft.com/office/drawing/2014/main" id="{E330FD18-C2D6-4D67-8CEF-C1B7CA30914D}"/>
                  </a:ext>
                </a:extLst>
              </p:cNvPr>
              <p:cNvSpPr/>
              <p:nvPr/>
            </p:nvSpPr>
            <p:spPr>
              <a:xfrm>
                <a:off x="7981407" y="4324740"/>
                <a:ext cx="56887" cy="132524"/>
              </a:xfrm>
              <a:custGeom>
                <a:avLst/>
                <a:gdLst>
                  <a:gd name="connsiteX0" fmla="*/ 27289 w 56887"/>
                  <a:gd name="connsiteY0" fmla="*/ 132525 h 132524"/>
                  <a:gd name="connsiteX1" fmla="*/ 0 w 56887"/>
                  <a:gd name="connsiteY1" fmla="*/ 105820 h 132524"/>
                  <a:gd name="connsiteX2" fmla="*/ 1613 w 56887"/>
                  <a:gd name="connsiteY2" fmla="*/ 93830 h 132524"/>
                  <a:gd name="connsiteX3" fmla="*/ 1919 w 56887"/>
                  <a:gd name="connsiteY3" fmla="*/ 92523 h 132524"/>
                  <a:gd name="connsiteX4" fmla="*/ 16246 w 56887"/>
                  <a:gd name="connsiteY4" fmla="*/ 33882 h 132524"/>
                  <a:gd name="connsiteX5" fmla="*/ 16941 w 56887"/>
                  <a:gd name="connsiteY5" fmla="*/ 29265 h 132524"/>
                  <a:gd name="connsiteX6" fmla="*/ 16774 w 56887"/>
                  <a:gd name="connsiteY6" fmla="*/ 27902 h 132524"/>
                  <a:gd name="connsiteX7" fmla="*/ 16774 w 56887"/>
                  <a:gd name="connsiteY7" fmla="*/ 27902 h 132524"/>
                  <a:gd name="connsiteX8" fmla="*/ 13325 w 56887"/>
                  <a:gd name="connsiteY8" fmla="*/ 27512 h 132524"/>
                  <a:gd name="connsiteX9" fmla="*/ 8596 w 56887"/>
                  <a:gd name="connsiteY9" fmla="*/ 28152 h 132524"/>
                  <a:gd name="connsiteX10" fmla="*/ 3755 w 56887"/>
                  <a:gd name="connsiteY10" fmla="*/ 27623 h 132524"/>
                  <a:gd name="connsiteX11" fmla="*/ 1697 w 56887"/>
                  <a:gd name="connsiteY11" fmla="*/ 23200 h 132524"/>
                  <a:gd name="connsiteX12" fmla="*/ 29598 w 56887"/>
                  <a:gd name="connsiteY12" fmla="*/ 0 h 132524"/>
                  <a:gd name="connsiteX13" fmla="*/ 56888 w 56887"/>
                  <a:gd name="connsiteY13" fmla="*/ 26705 h 132524"/>
                  <a:gd name="connsiteX14" fmla="*/ 55775 w 56887"/>
                  <a:gd name="connsiteY14" fmla="*/ 36609 h 132524"/>
                  <a:gd name="connsiteX15" fmla="*/ 40892 w 56887"/>
                  <a:gd name="connsiteY15" fmla="*/ 97864 h 132524"/>
                  <a:gd name="connsiteX16" fmla="*/ 39974 w 56887"/>
                  <a:gd name="connsiteY16" fmla="*/ 103288 h 132524"/>
                  <a:gd name="connsiteX17" fmla="*/ 40141 w 56887"/>
                  <a:gd name="connsiteY17" fmla="*/ 104651 h 132524"/>
                  <a:gd name="connsiteX18" fmla="*/ 40141 w 56887"/>
                  <a:gd name="connsiteY18" fmla="*/ 104651 h 132524"/>
                  <a:gd name="connsiteX19" fmla="*/ 43591 w 56887"/>
                  <a:gd name="connsiteY19" fmla="*/ 105041 h 132524"/>
                  <a:gd name="connsiteX20" fmla="*/ 48375 w 56887"/>
                  <a:gd name="connsiteY20" fmla="*/ 104345 h 132524"/>
                  <a:gd name="connsiteX21" fmla="*/ 53188 w 56887"/>
                  <a:gd name="connsiteY21" fmla="*/ 104902 h 132524"/>
                  <a:gd name="connsiteX22" fmla="*/ 55219 w 56887"/>
                  <a:gd name="connsiteY22" fmla="*/ 109325 h 132524"/>
                  <a:gd name="connsiteX23" fmla="*/ 27289 w 56887"/>
                  <a:gd name="connsiteY23" fmla="*/ 132525 h 132524"/>
                  <a:gd name="connsiteX24" fmla="*/ 13492 w 56887"/>
                  <a:gd name="connsiteY24" fmla="*/ 17609 h 132524"/>
                  <a:gd name="connsiteX25" fmla="*/ 26844 w 56887"/>
                  <a:gd name="connsiteY25" fmla="*/ 29265 h 132524"/>
                  <a:gd name="connsiteX26" fmla="*/ 25843 w 56887"/>
                  <a:gd name="connsiteY26" fmla="*/ 36275 h 132524"/>
                  <a:gd name="connsiteX27" fmla="*/ 11433 w 56887"/>
                  <a:gd name="connsiteY27" fmla="*/ 95221 h 132524"/>
                  <a:gd name="connsiteX28" fmla="*/ 9903 w 56887"/>
                  <a:gd name="connsiteY28" fmla="*/ 105820 h 132524"/>
                  <a:gd name="connsiteX29" fmla="*/ 27289 w 56887"/>
                  <a:gd name="connsiteY29" fmla="*/ 122622 h 132524"/>
                  <a:gd name="connsiteX30" fmla="*/ 43480 w 56887"/>
                  <a:gd name="connsiteY30" fmla="*/ 114944 h 132524"/>
                  <a:gd name="connsiteX31" fmla="*/ 30071 w 56887"/>
                  <a:gd name="connsiteY31" fmla="*/ 103288 h 132524"/>
                  <a:gd name="connsiteX32" fmla="*/ 31240 w 56887"/>
                  <a:gd name="connsiteY32" fmla="*/ 95666 h 132524"/>
                  <a:gd name="connsiteX33" fmla="*/ 46094 w 56887"/>
                  <a:gd name="connsiteY33" fmla="*/ 34633 h 132524"/>
                  <a:gd name="connsiteX34" fmla="*/ 46984 w 56887"/>
                  <a:gd name="connsiteY34" fmla="*/ 26705 h 132524"/>
                  <a:gd name="connsiteX35" fmla="*/ 29598 w 56887"/>
                  <a:gd name="connsiteY35" fmla="*/ 9903 h 132524"/>
                  <a:gd name="connsiteX36" fmla="*/ 13492 w 56887"/>
                  <a:gd name="connsiteY36" fmla="*/ 17609 h 132524"/>
                  <a:gd name="connsiteX37" fmla="*/ 40141 w 56887"/>
                  <a:gd name="connsiteY37" fmla="*/ 104651 h 132524"/>
                  <a:gd name="connsiteX38" fmla="*/ 40197 w 56887"/>
                  <a:gd name="connsiteY38" fmla="*/ 104651 h 132524"/>
                  <a:gd name="connsiteX39" fmla="*/ 40141 w 56887"/>
                  <a:gd name="connsiteY39" fmla="*/ 104651 h 132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56887" h="132524">
                    <a:moveTo>
                      <a:pt x="27289" y="132525"/>
                    </a:moveTo>
                    <a:cubicBezTo>
                      <a:pt x="10460" y="132525"/>
                      <a:pt x="0" y="122288"/>
                      <a:pt x="0" y="105820"/>
                    </a:cubicBezTo>
                    <a:cubicBezTo>
                      <a:pt x="0" y="102815"/>
                      <a:pt x="1335" y="95304"/>
                      <a:pt x="1613" y="93830"/>
                    </a:cubicBezTo>
                    <a:cubicBezTo>
                      <a:pt x="1697" y="93301"/>
                      <a:pt x="1780" y="92940"/>
                      <a:pt x="1919" y="92523"/>
                    </a:cubicBezTo>
                    <a:lnTo>
                      <a:pt x="16246" y="33882"/>
                    </a:lnTo>
                    <a:cubicBezTo>
                      <a:pt x="16719" y="32019"/>
                      <a:pt x="16941" y="30544"/>
                      <a:pt x="16941" y="29265"/>
                    </a:cubicBezTo>
                    <a:cubicBezTo>
                      <a:pt x="16941" y="28319"/>
                      <a:pt x="16802" y="27957"/>
                      <a:pt x="16774" y="27902"/>
                    </a:cubicBezTo>
                    <a:lnTo>
                      <a:pt x="16774" y="27902"/>
                    </a:lnTo>
                    <a:cubicBezTo>
                      <a:pt x="16691" y="27902"/>
                      <a:pt x="15912" y="27512"/>
                      <a:pt x="13325" y="27512"/>
                    </a:cubicBezTo>
                    <a:cubicBezTo>
                      <a:pt x="10098" y="27512"/>
                      <a:pt x="9124" y="27929"/>
                      <a:pt x="8596" y="28152"/>
                    </a:cubicBezTo>
                    <a:cubicBezTo>
                      <a:pt x="7010" y="28847"/>
                      <a:pt x="5146" y="28652"/>
                      <a:pt x="3755" y="27623"/>
                    </a:cubicBezTo>
                    <a:cubicBezTo>
                      <a:pt x="2337" y="26622"/>
                      <a:pt x="1558" y="24925"/>
                      <a:pt x="1697" y="23200"/>
                    </a:cubicBezTo>
                    <a:cubicBezTo>
                      <a:pt x="2810" y="9319"/>
                      <a:pt x="14020" y="0"/>
                      <a:pt x="29598" y="0"/>
                    </a:cubicBezTo>
                    <a:cubicBezTo>
                      <a:pt x="46428" y="0"/>
                      <a:pt x="56888" y="10237"/>
                      <a:pt x="56888" y="26705"/>
                    </a:cubicBezTo>
                    <a:cubicBezTo>
                      <a:pt x="56888" y="29737"/>
                      <a:pt x="55886" y="35913"/>
                      <a:pt x="55775" y="36609"/>
                    </a:cubicBezTo>
                    <a:lnTo>
                      <a:pt x="40892" y="97864"/>
                    </a:lnTo>
                    <a:cubicBezTo>
                      <a:pt x="40447" y="100006"/>
                      <a:pt x="40002" y="102593"/>
                      <a:pt x="39974" y="103288"/>
                    </a:cubicBezTo>
                    <a:cubicBezTo>
                      <a:pt x="39974" y="104206"/>
                      <a:pt x="40113" y="104596"/>
                      <a:pt x="40141" y="104651"/>
                    </a:cubicBezTo>
                    <a:cubicBezTo>
                      <a:pt x="40141" y="104651"/>
                      <a:pt x="40141" y="104651"/>
                      <a:pt x="40141" y="104651"/>
                    </a:cubicBezTo>
                    <a:cubicBezTo>
                      <a:pt x="40225" y="104651"/>
                      <a:pt x="41004" y="105041"/>
                      <a:pt x="43591" y="105041"/>
                    </a:cubicBezTo>
                    <a:cubicBezTo>
                      <a:pt x="46706" y="105041"/>
                      <a:pt x="47763" y="104596"/>
                      <a:pt x="48375" y="104345"/>
                    </a:cubicBezTo>
                    <a:cubicBezTo>
                      <a:pt x="49961" y="103678"/>
                      <a:pt x="51797" y="103900"/>
                      <a:pt x="53188" y="104902"/>
                    </a:cubicBezTo>
                    <a:cubicBezTo>
                      <a:pt x="54579" y="105903"/>
                      <a:pt x="55358" y="107600"/>
                      <a:pt x="55219" y="109325"/>
                    </a:cubicBezTo>
                    <a:cubicBezTo>
                      <a:pt x="54078" y="123178"/>
                      <a:pt x="42840" y="132525"/>
                      <a:pt x="27289" y="132525"/>
                    </a:cubicBezTo>
                    <a:close/>
                    <a:moveTo>
                      <a:pt x="13492" y="17609"/>
                    </a:moveTo>
                    <a:cubicBezTo>
                      <a:pt x="24535" y="17664"/>
                      <a:pt x="26844" y="23979"/>
                      <a:pt x="26844" y="29265"/>
                    </a:cubicBezTo>
                    <a:cubicBezTo>
                      <a:pt x="26844" y="31406"/>
                      <a:pt x="26538" y="33632"/>
                      <a:pt x="25843" y="36275"/>
                    </a:cubicBezTo>
                    <a:lnTo>
                      <a:pt x="11433" y="95221"/>
                    </a:lnTo>
                    <a:cubicBezTo>
                      <a:pt x="10766" y="98921"/>
                      <a:pt x="9903" y="104262"/>
                      <a:pt x="9903" y="105820"/>
                    </a:cubicBezTo>
                    <a:cubicBezTo>
                      <a:pt x="9903" y="119729"/>
                      <a:pt x="19361" y="122622"/>
                      <a:pt x="27289" y="122622"/>
                    </a:cubicBezTo>
                    <a:cubicBezTo>
                      <a:pt x="30461" y="122622"/>
                      <a:pt x="39474" y="121954"/>
                      <a:pt x="43480" y="114944"/>
                    </a:cubicBezTo>
                    <a:cubicBezTo>
                      <a:pt x="32408" y="114888"/>
                      <a:pt x="30071" y="108574"/>
                      <a:pt x="30071" y="103288"/>
                    </a:cubicBezTo>
                    <a:cubicBezTo>
                      <a:pt x="30071" y="101313"/>
                      <a:pt x="30878" y="97307"/>
                      <a:pt x="31240" y="95666"/>
                    </a:cubicBezTo>
                    <a:lnTo>
                      <a:pt x="46094" y="34633"/>
                    </a:lnTo>
                    <a:cubicBezTo>
                      <a:pt x="46400" y="32686"/>
                      <a:pt x="46984" y="28374"/>
                      <a:pt x="46984" y="26705"/>
                    </a:cubicBezTo>
                    <a:cubicBezTo>
                      <a:pt x="46984" y="12824"/>
                      <a:pt x="37526" y="9903"/>
                      <a:pt x="29598" y="9903"/>
                    </a:cubicBezTo>
                    <a:cubicBezTo>
                      <a:pt x="23423" y="9903"/>
                      <a:pt x="16719" y="12045"/>
                      <a:pt x="13492" y="17609"/>
                    </a:cubicBezTo>
                    <a:close/>
                    <a:moveTo>
                      <a:pt x="40141" y="104651"/>
                    </a:moveTo>
                    <a:lnTo>
                      <a:pt x="40197" y="104651"/>
                    </a:lnTo>
                    <a:lnTo>
                      <a:pt x="40141" y="104651"/>
                    </a:lnTo>
                    <a:close/>
                  </a:path>
                </a:pathLst>
              </a:custGeom>
              <a:solidFill>
                <a:schemeClr val="accent1"/>
              </a:solidFill>
              <a:ln w="2775" cap="flat">
                <a:noFill/>
                <a:prstDash val="solid"/>
                <a:miter/>
              </a:ln>
            </p:spPr>
            <p:txBody>
              <a:bodyPr rtlCol="0" anchor="ctr"/>
              <a:lstStyle/>
              <a:p>
                <a:endParaRPr lang="en-GB" dirty="0"/>
              </a:p>
            </p:txBody>
          </p:sp>
          <p:sp>
            <p:nvSpPr>
              <p:cNvPr id="1083" name="Freihandform: Form 1082">
                <a:extLst>
                  <a:ext uri="{FF2B5EF4-FFF2-40B4-BE49-F238E27FC236}">
                    <a16:creationId xmlns:a16="http://schemas.microsoft.com/office/drawing/2014/main" id="{B92C8C21-C68C-4437-A75C-CE76CBDE264A}"/>
                  </a:ext>
                </a:extLst>
              </p:cNvPr>
              <p:cNvSpPr/>
              <p:nvPr/>
            </p:nvSpPr>
            <p:spPr>
              <a:xfrm>
                <a:off x="7991839" y="4275670"/>
                <a:ext cx="42895" cy="42923"/>
              </a:xfrm>
              <a:custGeom>
                <a:avLst/>
                <a:gdLst>
                  <a:gd name="connsiteX0" fmla="*/ 21448 w 42895"/>
                  <a:gd name="connsiteY0" fmla="*/ 42923 h 42923"/>
                  <a:gd name="connsiteX1" fmla="*/ 0 w 42895"/>
                  <a:gd name="connsiteY1" fmla="*/ 21448 h 42923"/>
                  <a:gd name="connsiteX2" fmla="*/ 21448 w 42895"/>
                  <a:gd name="connsiteY2" fmla="*/ 0 h 42923"/>
                  <a:gd name="connsiteX3" fmla="*/ 42895 w 42895"/>
                  <a:gd name="connsiteY3" fmla="*/ 21448 h 42923"/>
                  <a:gd name="connsiteX4" fmla="*/ 21448 w 42895"/>
                  <a:gd name="connsiteY4" fmla="*/ 42923 h 42923"/>
                  <a:gd name="connsiteX5" fmla="*/ 21448 w 42895"/>
                  <a:gd name="connsiteY5" fmla="*/ 9903 h 42923"/>
                  <a:gd name="connsiteX6" fmla="*/ 9903 w 42895"/>
                  <a:gd name="connsiteY6" fmla="*/ 21448 h 42923"/>
                  <a:gd name="connsiteX7" fmla="*/ 21448 w 42895"/>
                  <a:gd name="connsiteY7" fmla="*/ 33020 h 42923"/>
                  <a:gd name="connsiteX8" fmla="*/ 32992 w 42895"/>
                  <a:gd name="connsiteY8" fmla="*/ 21448 h 42923"/>
                  <a:gd name="connsiteX9" fmla="*/ 21448 w 42895"/>
                  <a:gd name="connsiteY9" fmla="*/ 9903 h 4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895" h="42923">
                    <a:moveTo>
                      <a:pt x="21448" y="42923"/>
                    </a:moveTo>
                    <a:cubicBezTo>
                      <a:pt x="9625" y="42923"/>
                      <a:pt x="0" y="33298"/>
                      <a:pt x="0" y="21448"/>
                    </a:cubicBezTo>
                    <a:cubicBezTo>
                      <a:pt x="0" y="9625"/>
                      <a:pt x="9625" y="0"/>
                      <a:pt x="21448" y="0"/>
                    </a:cubicBezTo>
                    <a:cubicBezTo>
                      <a:pt x="33270" y="0"/>
                      <a:pt x="42895" y="9625"/>
                      <a:pt x="42895" y="21448"/>
                    </a:cubicBezTo>
                    <a:cubicBezTo>
                      <a:pt x="42895" y="33298"/>
                      <a:pt x="33270" y="42923"/>
                      <a:pt x="21448" y="42923"/>
                    </a:cubicBezTo>
                    <a:close/>
                    <a:moveTo>
                      <a:pt x="21448" y="9903"/>
                    </a:moveTo>
                    <a:cubicBezTo>
                      <a:pt x="15077" y="9903"/>
                      <a:pt x="9903" y="15077"/>
                      <a:pt x="9903" y="21448"/>
                    </a:cubicBezTo>
                    <a:cubicBezTo>
                      <a:pt x="9903" y="27818"/>
                      <a:pt x="15077" y="33020"/>
                      <a:pt x="21448" y="33020"/>
                    </a:cubicBezTo>
                    <a:cubicBezTo>
                      <a:pt x="27818" y="33020"/>
                      <a:pt x="32992" y="27846"/>
                      <a:pt x="32992" y="21448"/>
                    </a:cubicBezTo>
                    <a:cubicBezTo>
                      <a:pt x="32992" y="15105"/>
                      <a:pt x="27818" y="9903"/>
                      <a:pt x="21448" y="9903"/>
                    </a:cubicBezTo>
                    <a:close/>
                  </a:path>
                </a:pathLst>
              </a:custGeom>
              <a:solidFill>
                <a:schemeClr val="accent1"/>
              </a:solidFill>
              <a:ln w="2775" cap="flat">
                <a:noFill/>
                <a:prstDash val="solid"/>
                <a:miter/>
              </a:ln>
            </p:spPr>
            <p:txBody>
              <a:bodyPr rtlCol="0" anchor="ctr"/>
              <a:lstStyle/>
              <a:p>
                <a:endParaRPr lang="en-GB" dirty="0"/>
              </a:p>
            </p:txBody>
          </p:sp>
        </p:grpSp>
        <p:grpSp>
          <p:nvGrpSpPr>
            <p:cNvPr id="1072" name="Group 756">
              <a:extLst>
                <a:ext uri="{FF2B5EF4-FFF2-40B4-BE49-F238E27FC236}">
                  <a16:creationId xmlns:a16="http://schemas.microsoft.com/office/drawing/2014/main" id="{49241274-4D0A-41AB-820E-9000BAE5960D}"/>
                </a:ext>
              </a:extLst>
            </p:cNvPr>
            <p:cNvGrpSpPr/>
            <p:nvPr/>
          </p:nvGrpSpPr>
          <p:grpSpPr>
            <a:xfrm>
              <a:off x="7693741" y="4236057"/>
              <a:ext cx="629020" cy="326861"/>
              <a:chOff x="7693741" y="4236057"/>
              <a:chExt cx="629020" cy="326861"/>
            </a:xfrm>
          </p:grpSpPr>
          <p:sp>
            <p:nvSpPr>
              <p:cNvPr id="1073" name="Freihandform: Form 1072">
                <a:extLst>
                  <a:ext uri="{FF2B5EF4-FFF2-40B4-BE49-F238E27FC236}">
                    <a16:creationId xmlns:a16="http://schemas.microsoft.com/office/drawing/2014/main" id="{42CE4307-0939-4C29-9358-40EC4247BF91}"/>
                  </a:ext>
                </a:extLst>
              </p:cNvPr>
              <p:cNvSpPr/>
              <p:nvPr/>
            </p:nvSpPr>
            <p:spPr>
              <a:xfrm>
                <a:off x="7877006" y="4236057"/>
                <a:ext cx="260849" cy="326861"/>
              </a:xfrm>
              <a:custGeom>
                <a:avLst/>
                <a:gdLst>
                  <a:gd name="connsiteX0" fmla="*/ 130411 w 260849"/>
                  <a:gd name="connsiteY0" fmla="*/ 326861 h 326861"/>
                  <a:gd name="connsiteX1" fmla="*/ 125988 w 260849"/>
                  <a:gd name="connsiteY1" fmla="*/ 324107 h 326861"/>
                  <a:gd name="connsiteX2" fmla="*/ 94331 w 260849"/>
                  <a:gd name="connsiteY2" fmla="*/ 260821 h 326861"/>
                  <a:gd name="connsiteX3" fmla="*/ 19389 w 260849"/>
                  <a:gd name="connsiteY3" fmla="*/ 260821 h 326861"/>
                  <a:gd name="connsiteX4" fmla="*/ 0 w 260849"/>
                  <a:gd name="connsiteY4" fmla="*/ 241432 h 326861"/>
                  <a:gd name="connsiteX5" fmla="*/ 0 w 260849"/>
                  <a:gd name="connsiteY5" fmla="*/ 19361 h 326861"/>
                  <a:gd name="connsiteX6" fmla="*/ 19389 w 260849"/>
                  <a:gd name="connsiteY6" fmla="*/ 0 h 326861"/>
                  <a:gd name="connsiteX7" fmla="*/ 241460 w 260849"/>
                  <a:gd name="connsiteY7" fmla="*/ 0 h 326861"/>
                  <a:gd name="connsiteX8" fmla="*/ 260849 w 260849"/>
                  <a:gd name="connsiteY8" fmla="*/ 19361 h 326861"/>
                  <a:gd name="connsiteX9" fmla="*/ 260849 w 260849"/>
                  <a:gd name="connsiteY9" fmla="*/ 241432 h 326861"/>
                  <a:gd name="connsiteX10" fmla="*/ 241460 w 260849"/>
                  <a:gd name="connsiteY10" fmla="*/ 260821 h 326861"/>
                  <a:gd name="connsiteX11" fmla="*/ 166518 w 260849"/>
                  <a:gd name="connsiteY11" fmla="*/ 260821 h 326861"/>
                  <a:gd name="connsiteX12" fmla="*/ 134862 w 260849"/>
                  <a:gd name="connsiteY12" fmla="*/ 324107 h 326861"/>
                  <a:gd name="connsiteX13" fmla="*/ 130411 w 260849"/>
                  <a:gd name="connsiteY13" fmla="*/ 326861 h 326861"/>
                  <a:gd name="connsiteX14" fmla="*/ 19361 w 260849"/>
                  <a:gd name="connsiteY14" fmla="*/ 9903 h 326861"/>
                  <a:gd name="connsiteX15" fmla="*/ 9875 w 260849"/>
                  <a:gd name="connsiteY15" fmla="*/ 19361 h 326861"/>
                  <a:gd name="connsiteX16" fmla="*/ 9875 w 260849"/>
                  <a:gd name="connsiteY16" fmla="*/ 241432 h 326861"/>
                  <a:gd name="connsiteX17" fmla="*/ 19361 w 260849"/>
                  <a:gd name="connsiteY17" fmla="*/ 250918 h 326861"/>
                  <a:gd name="connsiteX18" fmla="*/ 97391 w 260849"/>
                  <a:gd name="connsiteY18" fmla="*/ 250918 h 326861"/>
                  <a:gd name="connsiteX19" fmla="*/ 101814 w 260849"/>
                  <a:gd name="connsiteY19" fmla="*/ 253672 h 326861"/>
                  <a:gd name="connsiteX20" fmla="*/ 130411 w 260849"/>
                  <a:gd name="connsiteY20" fmla="*/ 310838 h 326861"/>
                  <a:gd name="connsiteX21" fmla="*/ 159008 w 260849"/>
                  <a:gd name="connsiteY21" fmla="*/ 253672 h 326861"/>
                  <a:gd name="connsiteX22" fmla="*/ 163431 w 260849"/>
                  <a:gd name="connsiteY22" fmla="*/ 250918 h 326861"/>
                  <a:gd name="connsiteX23" fmla="*/ 241460 w 260849"/>
                  <a:gd name="connsiteY23" fmla="*/ 250918 h 326861"/>
                  <a:gd name="connsiteX24" fmla="*/ 250946 w 260849"/>
                  <a:gd name="connsiteY24" fmla="*/ 241432 h 326861"/>
                  <a:gd name="connsiteX25" fmla="*/ 250946 w 260849"/>
                  <a:gd name="connsiteY25" fmla="*/ 19361 h 326861"/>
                  <a:gd name="connsiteX26" fmla="*/ 241460 w 260849"/>
                  <a:gd name="connsiteY26" fmla="*/ 9903 h 326861"/>
                  <a:gd name="connsiteX27" fmla="*/ 19361 w 260849"/>
                  <a:gd name="connsiteY27" fmla="*/ 9903 h 326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0849" h="326861">
                    <a:moveTo>
                      <a:pt x="130411" y="326861"/>
                    </a:moveTo>
                    <a:cubicBezTo>
                      <a:pt x="128547" y="326861"/>
                      <a:pt x="126822" y="325804"/>
                      <a:pt x="125988" y="324107"/>
                    </a:cubicBezTo>
                    <a:lnTo>
                      <a:pt x="94331" y="260821"/>
                    </a:lnTo>
                    <a:lnTo>
                      <a:pt x="19389" y="260821"/>
                    </a:lnTo>
                    <a:cubicBezTo>
                      <a:pt x="8707" y="260821"/>
                      <a:pt x="0" y="252142"/>
                      <a:pt x="0" y="241432"/>
                    </a:cubicBezTo>
                    <a:lnTo>
                      <a:pt x="0" y="19361"/>
                    </a:lnTo>
                    <a:cubicBezTo>
                      <a:pt x="0" y="8679"/>
                      <a:pt x="8679" y="0"/>
                      <a:pt x="19389" y="0"/>
                    </a:cubicBezTo>
                    <a:lnTo>
                      <a:pt x="241460" y="0"/>
                    </a:lnTo>
                    <a:cubicBezTo>
                      <a:pt x="252142" y="0"/>
                      <a:pt x="260849" y="8679"/>
                      <a:pt x="260849" y="19361"/>
                    </a:cubicBezTo>
                    <a:lnTo>
                      <a:pt x="260849" y="241432"/>
                    </a:lnTo>
                    <a:cubicBezTo>
                      <a:pt x="260849" y="252114"/>
                      <a:pt x="252170" y="260821"/>
                      <a:pt x="241460" y="260821"/>
                    </a:cubicBezTo>
                    <a:lnTo>
                      <a:pt x="166518" y="260821"/>
                    </a:lnTo>
                    <a:lnTo>
                      <a:pt x="134862" y="324107"/>
                    </a:lnTo>
                    <a:cubicBezTo>
                      <a:pt x="133999" y="325804"/>
                      <a:pt x="132274" y="326861"/>
                      <a:pt x="130411" y="326861"/>
                    </a:cubicBezTo>
                    <a:close/>
                    <a:moveTo>
                      <a:pt x="19361" y="9903"/>
                    </a:moveTo>
                    <a:cubicBezTo>
                      <a:pt x="14132" y="9903"/>
                      <a:pt x="9875" y="14159"/>
                      <a:pt x="9875" y="19361"/>
                    </a:cubicBezTo>
                    <a:lnTo>
                      <a:pt x="9875" y="241432"/>
                    </a:lnTo>
                    <a:cubicBezTo>
                      <a:pt x="9875" y="246662"/>
                      <a:pt x="14132" y="250918"/>
                      <a:pt x="19361" y="250918"/>
                    </a:cubicBezTo>
                    <a:lnTo>
                      <a:pt x="97391" y="250918"/>
                    </a:lnTo>
                    <a:cubicBezTo>
                      <a:pt x="99255" y="250918"/>
                      <a:pt x="100979" y="251975"/>
                      <a:pt x="101814" y="253672"/>
                    </a:cubicBezTo>
                    <a:lnTo>
                      <a:pt x="130411" y="310838"/>
                    </a:lnTo>
                    <a:lnTo>
                      <a:pt x="159008" y="253672"/>
                    </a:lnTo>
                    <a:cubicBezTo>
                      <a:pt x="159842" y="251975"/>
                      <a:pt x="161567" y="250918"/>
                      <a:pt x="163431" y="250918"/>
                    </a:cubicBezTo>
                    <a:lnTo>
                      <a:pt x="241460" y="250918"/>
                    </a:lnTo>
                    <a:cubicBezTo>
                      <a:pt x="246690" y="250918"/>
                      <a:pt x="250946" y="246662"/>
                      <a:pt x="250946" y="241432"/>
                    </a:cubicBezTo>
                    <a:lnTo>
                      <a:pt x="250946" y="19361"/>
                    </a:lnTo>
                    <a:cubicBezTo>
                      <a:pt x="250946" y="14132"/>
                      <a:pt x="246690" y="9903"/>
                      <a:pt x="241460" y="9903"/>
                    </a:cubicBezTo>
                    <a:lnTo>
                      <a:pt x="19361" y="9903"/>
                    </a:lnTo>
                    <a:close/>
                  </a:path>
                </a:pathLst>
              </a:custGeom>
              <a:solidFill>
                <a:schemeClr val="tx2"/>
              </a:solidFill>
              <a:ln w="2775" cap="flat">
                <a:noFill/>
                <a:prstDash val="solid"/>
                <a:miter/>
              </a:ln>
            </p:spPr>
            <p:txBody>
              <a:bodyPr rtlCol="0" anchor="ctr"/>
              <a:lstStyle/>
              <a:p>
                <a:endParaRPr lang="en-GB" dirty="0"/>
              </a:p>
            </p:txBody>
          </p:sp>
          <p:sp>
            <p:nvSpPr>
              <p:cNvPr id="1074" name="Freihandform: Form 1073">
                <a:extLst>
                  <a:ext uri="{FF2B5EF4-FFF2-40B4-BE49-F238E27FC236}">
                    <a16:creationId xmlns:a16="http://schemas.microsoft.com/office/drawing/2014/main" id="{1BF80F62-9FDC-4036-8D40-D25C39623F06}"/>
                  </a:ext>
                </a:extLst>
              </p:cNvPr>
              <p:cNvSpPr/>
              <p:nvPr/>
            </p:nvSpPr>
            <p:spPr>
              <a:xfrm>
                <a:off x="8154351" y="4262512"/>
                <a:ext cx="168410" cy="267386"/>
              </a:xfrm>
              <a:custGeom>
                <a:avLst/>
                <a:gdLst>
                  <a:gd name="connsiteX0" fmla="*/ 123790 w 168410"/>
                  <a:gd name="connsiteY0" fmla="*/ 267386 h 267386"/>
                  <a:gd name="connsiteX1" fmla="*/ 120285 w 168410"/>
                  <a:gd name="connsiteY1" fmla="*/ 265940 h 267386"/>
                  <a:gd name="connsiteX2" fmla="*/ 55719 w 168410"/>
                  <a:gd name="connsiteY2" fmla="*/ 201374 h 267386"/>
                  <a:gd name="connsiteX3" fmla="*/ 4952 w 168410"/>
                  <a:gd name="connsiteY3" fmla="*/ 201374 h 267386"/>
                  <a:gd name="connsiteX4" fmla="*/ 0 w 168410"/>
                  <a:gd name="connsiteY4" fmla="*/ 196423 h 267386"/>
                  <a:gd name="connsiteX5" fmla="*/ 4952 w 168410"/>
                  <a:gd name="connsiteY5" fmla="*/ 191471 h 267386"/>
                  <a:gd name="connsiteX6" fmla="*/ 57778 w 168410"/>
                  <a:gd name="connsiteY6" fmla="*/ 191471 h 267386"/>
                  <a:gd name="connsiteX7" fmla="*/ 61283 w 168410"/>
                  <a:gd name="connsiteY7" fmla="*/ 192918 h 267386"/>
                  <a:gd name="connsiteX8" fmla="*/ 118867 w 168410"/>
                  <a:gd name="connsiteY8" fmla="*/ 250501 h 267386"/>
                  <a:gd name="connsiteX9" fmla="*/ 118867 w 168410"/>
                  <a:gd name="connsiteY9" fmla="*/ 196423 h 267386"/>
                  <a:gd name="connsiteX10" fmla="*/ 123818 w 168410"/>
                  <a:gd name="connsiteY10" fmla="*/ 191471 h 267386"/>
                  <a:gd name="connsiteX11" fmla="*/ 146796 w 168410"/>
                  <a:gd name="connsiteY11" fmla="*/ 191471 h 267386"/>
                  <a:gd name="connsiteX12" fmla="*/ 158479 w 168410"/>
                  <a:gd name="connsiteY12" fmla="*/ 179760 h 267386"/>
                  <a:gd name="connsiteX13" fmla="*/ 158479 w 168410"/>
                  <a:gd name="connsiteY13" fmla="*/ 21587 h 267386"/>
                  <a:gd name="connsiteX14" fmla="*/ 146796 w 168410"/>
                  <a:gd name="connsiteY14" fmla="*/ 9903 h 267386"/>
                  <a:gd name="connsiteX15" fmla="*/ 4980 w 168410"/>
                  <a:gd name="connsiteY15" fmla="*/ 9903 h 267386"/>
                  <a:gd name="connsiteX16" fmla="*/ 28 w 168410"/>
                  <a:gd name="connsiteY16" fmla="*/ 4952 h 267386"/>
                  <a:gd name="connsiteX17" fmla="*/ 4980 w 168410"/>
                  <a:gd name="connsiteY17" fmla="*/ 0 h 267386"/>
                  <a:gd name="connsiteX18" fmla="*/ 146796 w 168410"/>
                  <a:gd name="connsiteY18" fmla="*/ 0 h 267386"/>
                  <a:gd name="connsiteX19" fmla="*/ 168410 w 168410"/>
                  <a:gd name="connsiteY19" fmla="*/ 21615 h 267386"/>
                  <a:gd name="connsiteX20" fmla="*/ 168410 w 168410"/>
                  <a:gd name="connsiteY20" fmla="*/ 179788 h 267386"/>
                  <a:gd name="connsiteX21" fmla="*/ 146796 w 168410"/>
                  <a:gd name="connsiteY21" fmla="*/ 201402 h 267386"/>
                  <a:gd name="connsiteX22" fmla="*/ 128770 w 168410"/>
                  <a:gd name="connsiteY22" fmla="*/ 201402 h 267386"/>
                  <a:gd name="connsiteX23" fmla="*/ 128770 w 168410"/>
                  <a:gd name="connsiteY23" fmla="*/ 262490 h 267386"/>
                  <a:gd name="connsiteX24" fmla="*/ 125710 w 168410"/>
                  <a:gd name="connsiteY24" fmla="*/ 267081 h 267386"/>
                  <a:gd name="connsiteX25" fmla="*/ 123790 w 168410"/>
                  <a:gd name="connsiteY25" fmla="*/ 267386 h 267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8410" h="267386">
                    <a:moveTo>
                      <a:pt x="123790" y="267386"/>
                    </a:moveTo>
                    <a:cubicBezTo>
                      <a:pt x="122510" y="267386"/>
                      <a:pt x="121231" y="266886"/>
                      <a:pt x="120285" y="265940"/>
                    </a:cubicBezTo>
                    <a:lnTo>
                      <a:pt x="55719" y="201374"/>
                    </a:lnTo>
                    <a:lnTo>
                      <a:pt x="4952" y="201374"/>
                    </a:lnTo>
                    <a:cubicBezTo>
                      <a:pt x="2226" y="201374"/>
                      <a:pt x="0" y="199149"/>
                      <a:pt x="0" y="196423"/>
                    </a:cubicBezTo>
                    <a:cubicBezTo>
                      <a:pt x="0" y="193697"/>
                      <a:pt x="2226" y="191471"/>
                      <a:pt x="4952" y="191471"/>
                    </a:cubicBezTo>
                    <a:lnTo>
                      <a:pt x="57778" y="191471"/>
                    </a:lnTo>
                    <a:cubicBezTo>
                      <a:pt x="59086" y="191471"/>
                      <a:pt x="60337" y="192000"/>
                      <a:pt x="61283" y="192918"/>
                    </a:cubicBezTo>
                    <a:lnTo>
                      <a:pt x="118867" y="250501"/>
                    </a:lnTo>
                    <a:lnTo>
                      <a:pt x="118867" y="196423"/>
                    </a:lnTo>
                    <a:cubicBezTo>
                      <a:pt x="118867" y="193697"/>
                      <a:pt x="121092" y="191471"/>
                      <a:pt x="123818" y="191471"/>
                    </a:cubicBezTo>
                    <a:lnTo>
                      <a:pt x="146796" y="191471"/>
                    </a:lnTo>
                    <a:cubicBezTo>
                      <a:pt x="153250" y="191471"/>
                      <a:pt x="158479" y="186214"/>
                      <a:pt x="158479" y="179760"/>
                    </a:cubicBezTo>
                    <a:lnTo>
                      <a:pt x="158479" y="21587"/>
                    </a:lnTo>
                    <a:cubicBezTo>
                      <a:pt x="158479" y="15133"/>
                      <a:pt x="153222" y="9903"/>
                      <a:pt x="146796" y="9903"/>
                    </a:cubicBezTo>
                    <a:lnTo>
                      <a:pt x="4980" y="9903"/>
                    </a:lnTo>
                    <a:cubicBezTo>
                      <a:pt x="2253" y="9903"/>
                      <a:pt x="28" y="7678"/>
                      <a:pt x="28" y="4952"/>
                    </a:cubicBezTo>
                    <a:cubicBezTo>
                      <a:pt x="28" y="2225"/>
                      <a:pt x="2253" y="0"/>
                      <a:pt x="4980" y="0"/>
                    </a:cubicBezTo>
                    <a:lnTo>
                      <a:pt x="146796" y="0"/>
                    </a:lnTo>
                    <a:cubicBezTo>
                      <a:pt x="158702" y="0"/>
                      <a:pt x="168410" y="9681"/>
                      <a:pt x="168410" y="21615"/>
                    </a:cubicBezTo>
                    <a:lnTo>
                      <a:pt x="168410" y="179788"/>
                    </a:lnTo>
                    <a:cubicBezTo>
                      <a:pt x="168410" y="191694"/>
                      <a:pt x="158730" y="201402"/>
                      <a:pt x="146796" y="201402"/>
                    </a:cubicBezTo>
                    <a:lnTo>
                      <a:pt x="128770" y="201402"/>
                    </a:lnTo>
                    <a:lnTo>
                      <a:pt x="128770" y="262490"/>
                    </a:lnTo>
                    <a:cubicBezTo>
                      <a:pt x="128770" y="264493"/>
                      <a:pt x="127574" y="266302"/>
                      <a:pt x="125710" y="267081"/>
                    </a:cubicBezTo>
                    <a:cubicBezTo>
                      <a:pt x="125070" y="267247"/>
                      <a:pt x="124430" y="267386"/>
                      <a:pt x="123790" y="267386"/>
                    </a:cubicBezTo>
                    <a:close/>
                  </a:path>
                </a:pathLst>
              </a:custGeom>
              <a:solidFill>
                <a:schemeClr val="tx2"/>
              </a:solidFill>
              <a:ln w="2775" cap="flat">
                <a:noFill/>
                <a:prstDash val="solid"/>
                <a:miter/>
              </a:ln>
            </p:spPr>
            <p:txBody>
              <a:bodyPr rtlCol="0" anchor="ctr"/>
              <a:lstStyle/>
              <a:p>
                <a:endParaRPr lang="en-GB" dirty="0"/>
              </a:p>
            </p:txBody>
          </p:sp>
          <p:sp>
            <p:nvSpPr>
              <p:cNvPr id="1075" name="Freihandform: Form 1074">
                <a:extLst>
                  <a:ext uri="{FF2B5EF4-FFF2-40B4-BE49-F238E27FC236}">
                    <a16:creationId xmlns:a16="http://schemas.microsoft.com/office/drawing/2014/main" id="{B590E2B7-07D9-4E73-9C09-F1FBFB344275}"/>
                  </a:ext>
                </a:extLst>
              </p:cNvPr>
              <p:cNvSpPr/>
              <p:nvPr/>
            </p:nvSpPr>
            <p:spPr>
              <a:xfrm>
                <a:off x="7693741" y="4262456"/>
                <a:ext cx="168410" cy="267442"/>
              </a:xfrm>
              <a:custGeom>
                <a:avLst/>
                <a:gdLst>
                  <a:gd name="connsiteX0" fmla="*/ 44592 w 168410"/>
                  <a:gd name="connsiteY0" fmla="*/ 267442 h 267442"/>
                  <a:gd name="connsiteX1" fmla="*/ 42701 w 168410"/>
                  <a:gd name="connsiteY1" fmla="*/ 267081 h 267442"/>
                  <a:gd name="connsiteX2" fmla="*/ 39641 w 168410"/>
                  <a:gd name="connsiteY2" fmla="*/ 262490 h 267442"/>
                  <a:gd name="connsiteX3" fmla="*/ 39641 w 168410"/>
                  <a:gd name="connsiteY3" fmla="*/ 201402 h 267442"/>
                  <a:gd name="connsiteX4" fmla="*/ 21615 w 168410"/>
                  <a:gd name="connsiteY4" fmla="*/ 201402 h 267442"/>
                  <a:gd name="connsiteX5" fmla="*/ 0 w 168410"/>
                  <a:gd name="connsiteY5" fmla="*/ 179788 h 267442"/>
                  <a:gd name="connsiteX6" fmla="*/ 0 w 168410"/>
                  <a:gd name="connsiteY6" fmla="*/ 21615 h 267442"/>
                  <a:gd name="connsiteX7" fmla="*/ 21615 w 168410"/>
                  <a:gd name="connsiteY7" fmla="*/ 0 h 267442"/>
                  <a:gd name="connsiteX8" fmla="*/ 163431 w 168410"/>
                  <a:gd name="connsiteY8" fmla="*/ 0 h 267442"/>
                  <a:gd name="connsiteX9" fmla="*/ 168382 w 168410"/>
                  <a:gd name="connsiteY9" fmla="*/ 4952 h 267442"/>
                  <a:gd name="connsiteX10" fmla="*/ 163431 w 168410"/>
                  <a:gd name="connsiteY10" fmla="*/ 9903 h 267442"/>
                  <a:gd name="connsiteX11" fmla="*/ 21615 w 168410"/>
                  <a:gd name="connsiteY11" fmla="*/ 9903 h 267442"/>
                  <a:gd name="connsiteX12" fmla="*/ 9931 w 168410"/>
                  <a:gd name="connsiteY12" fmla="*/ 21587 h 267442"/>
                  <a:gd name="connsiteX13" fmla="*/ 9931 w 168410"/>
                  <a:gd name="connsiteY13" fmla="*/ 179760 h 267442"/>
                  <a:gd name="connsiteX14" fmla="*/ 21615 w 168410"/>
                  <a:gd name="connsiteY14" fmla="*/ 191471 h 267442"/>
                  <a:gd name="connsiteX15" fmla="*/ 44592 w 168410"/>
                  <a:gd name="connsiteY15" fmla="*/ 191471 h 267442"/>
                  <a:gd name="connsiteX16" fmla="*/ 49544 w 168410"/>
                  <a:gd name="connsiteY16" fmla="*/ 196423 h 267442"/>
                  <a:gd name="connsiteX17" fmla="*/ 49544 w 168410"/>
                  <a:gd name="connsiteY17" fmla="*/ 250501 h 267442"/>
                  <a:gd name="connsiteX18" fmla="*/ 107127 w 168410"/>
                  <a:gd name="connsiteY18" fmla="*/ 192918 h 267442"/>
                  <a:gd name="connsiteX19" fmla="*/ 110632 w 168410"/>
                  <a:gd name="connsiteY19" fmla="*/ 191471 h 267442"/>
                  <a:gd name="connsiteX20" fmla="*/ 163458 w 168410"/>
                  <a:gd name="connsiteY20" fmla="*/ 191471 h 267442"/>
                  <a:gd name="connsiteX21" fmla="*/ 168410 w 168410"/>
                  <a:gd name="connsiteY21" fmla="*/ 196423 h 267442"/>
                  <a:gd name="connsiteX22" fmla="*/ 163458 w 168410"/>
                  <a:gd name="connsiteY22" fmla="*/ 201374 h 267442"/>
                  <a:gd name="connsiteX23" fmla="*/ 112691 w 168410"/>
                  <a:gd name="connsiteY23" fmla="*/ 201374 h 267442"/>
                  <a:gd name="connsiteX24" fmla="*/ 48125 w 168410"/>
                  <a:gd name="connsiteY24" fmla="*/ 265940 h 267442"/>
                  <a:gd name="connsiteX25" fmla="*/ 44592 w 168410"/>
                  <a:gd name="connsiteY25" fmla="*/ 267442 h 267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8410" h="267442">
                    <a:moveTo>
                      <a:pt x="44592" y="267442"/>
                    </a:moveTo>
                    <a:cubicBezTo>
                      <a:pt x="43952" y="267442"/>
                      <a:pt x="43313" y="267331"/>
                      <a:pt x="42701" y="267081"/>
                    </a:cubicBezTo>
                    <a:cubicBezTo>
                      <a:pt x="40837" y="266302"/>
                      <a:pt x="39641" y="264521"/>
                      <a:pt x="39641" y="262490"/>
                    </a:cubicBezTo>
                    <a:lnTo>
                      <a:pt x="39641" y="201402"/>
                    </a:lnTo>
                    <a:lnTo>
                      <a:pt x="21615" y="201402"/>
                    </a:lnTo>
                    <a:cubicBezTo>
                      <a:pt x="9708" y="201402"/>
                      <a:pt x="0" y="191722"/>
                      <a:pt x="0" y="179788"/>
                    </a:cubicBezTo>
                    <a:lnTo>
                      <a:pt x="0" y="21615"/>
                    </a:lnTo>
                    <a:cubicBezTo>
                      <a:pt x="0" y="9708"/>
                      <a:pt x="9681" y="0"/>
                      <a:pt x="21615" y="0"/>
                    </a:cubicBezTo>
                    <a:lnTo>
                      <a:pt x="163431" y="0"/>
                    </a:lnTo>
                    <a:cubicBezTo>
                      <a:pt x="166157" y="0"/>
                      <a:pt x="168382" y="2226"/>
                      <a:pt x="168382" y="4952"/>
                    </a:cubicBezTo>
                    <a:cubicBezTo>
                      <a:pt x="168382" y="7678"/>
                      <a:pt x="166157" y="9903"/>
                      <a:pt x="163431" y="9903"/>
                    </a:cubicBezTo>
                    <a:lnTo>
                      <a:pt x="21615" y="9903"/>
                    </a:lnTo>
                    <a:cubicBezTo>
                      <a:pt x="15161" y="9903"/>
                      <a:pt x="9931" y="15161"/>
                      <a:pt x="9931" y="21587"/>
                    </a:cubicBezTo>
                    <a:lnTo>
                      <a:pt x="9931" y="179760"/>
                    </a:lnTo>
                    <a:cubicBezTo>
                      <a:pt x="9931" y="186214"/>
                      <a:pt x="15189" y="191471"/>
                      <a:pt x="21615" y="191471"/>
                    </a:cubicBezTo>
                    <a:lnTo>
                      <a:pt x="44592" y="191471"/>
                    </a:lnTo>
                    <a:cubicBezTo>
                      <a:pt x="47318" y="191471"/>
                      <a:pt x="49544" y="193697"/>
                      <a:pt x="49544" y="196423"/>
                    </a:cubicBezTo>
                    <a:lnTo>
                      <a:pt x="49544" y="250501"/>
                    </a:lnTo>
                    <a:lnTo>
                      <a:pt x="107127" y="192918"/>
                    </a:lnTo>
                    <a:cubicBezTo>
                      <a:pt x="108045" y="192000"/>
                      <a:pt x="109325" y="191471"/>
                      <a:pt x="110632" y="191471"/>
                    </a:cubicBezTo>
                    <a:lnTo>
                      <a:pt x="163458" y="191471"/>
                    </a:lnTo>
                    <a:cubicBezTo>
                      <a:pt x="166185" y="191471"/>
                      <a:pt x="168410" y="193697"/>
                      <a:pt x="168410" y="196423"/>
                    </a:cubicBezTo>
                    <a:cubicBezTo>
                      <a:pt x="168410" y="199149"/>
                      <a:pt x="166185" y="201374"/>
                      <a:pt x="163458" y="201374"/>
                    </a:cubicBezTo>
                    <a:lnTo>
                      <a:pt x="112691" y="201374"/>
                    </a:lnTo>
                    <a:lnTo>
                      <a:pt x="48125" y="265940"/>
                    </a:lnTo>
                    <a:cubicBezTo>
                      <a:pt x="47152" y="266941"/>
                      <a:pt x="45900" y="267442"/>
                      <a:pt x="44592" y="267442"/>
                    </a:cubicBezTo>
                    <a:close/>
                  </a:path>
                </a:pathLst>
              </a:custGeom>
              <a:solidFill>
                <a:schemeClr val="tx2"/>
              </a:solidFill>
              <a:ln w="2775" cap="flat">
                <a:noFill/>
                <a:prstDash val="solid"/>
                <a:miter/>
              </a:ln>
            </p:spPr>
            <p:txBody>
              <a:bodyPr rtlCol="0" anchor="ctr"/>
              <a:lstStyle/>
              <a:p>
                <a:endParaRPr lang="en-GB" dirty="0"/>
              </a:p>
            </p:txBody>
          </p:sp>
          <p:grpSp>
            <p:nvGrpSpPr>
              <p:cNvPr id="1076" name="Grafik 114">
                <a:extLst>
                  <a:ext uri="{FF2B5EF4-FFF2-40B4-BE49-F238E27FC236}">
                    <a16:creationId xmlns:a16="http://schemas.microsoft.com/office/drawing/2014/main" id="{B16436D8-A92E-453F-A94D-94D9A87D024F}"/>
                  </a:ext>
                </a:extLst>
              </p:cNvPr>
              <p:cNvGrpSpPr/>
              <p:nvPr/>
            </p:nvGrpSpPr>
            <p:grpSpPr>
              <a:xfrm>
                <a:off x="7771353" y="4401129"/>
                <a:ext cx="69322" cy="9903"/>
                <a:chOff x="7771353" y="4401129"/>
                <a:chExt cx="69322" cy="9903"/>
              </a:xfrm>
              <a:solidFill>
                <a:schemeClr val="tx2"/>
              </a:solidFill>
            </p:grpSpPr>
            <p:sp>
              <p:nvSpPr>
                <p:cNvPr id="1080" name="Freihandform: Form 1079">
                  <a:extLst>
                    <a:ext uri="{FF2B5EF4-FFF2-40B4-BE49-F238E27FC236}">
                      <a16:creationId xmlns:a16="http://schemas.microsoft.com/office/drawing/2014/main" id="{161FFA12-7C97-4641-BD8B-93B28DDC863F}"/>
                    </a:ext>
                  </a:extLst>
                </p:cNvPr>
                <p:cNvSpPr/>
                <p:nvPr/>
              </p:nvSpPr>
              <p:spPr>
                <a:xfrm>
                  <a:off x="7771353" y="4401129"/>
                  <a:ext cx="23116" cy="9903"/>
                </a:xfrm>
                <a:custGeom>
                  <a:avLst/>
                  <a:gdLst>
                    <a:gd name="connsiteX0" fmla="*/ 18165 w 23116"/>
                    <a:gd name="connsiteY0" fmla="*/ 9903 h 9903"/>
                    <a:gd name="connsiteX1" fmla="*/ 4952 w 23116"/>
                    <a:gd name="connsiteY1" fmla="*/ 9903 h 9903"/>
                    <a:gd name="connsiteX2" fmla="*/ 0 w 23116"/>
                    <a:gd name="connsiteY2" fmla="*/ 4952 h 9903"/>
                    <a:gd name="connsiteX3" fmla="*/ 4952 w 23116"/>
                    <a:gd name="connsiteY3" fmla="*/ 0 h 9903"/>
                    <a:gd name="connsiteX4" fmla="*/ 18165 w 23116"/>
                    <a:gd name="connsiteY4" fmla="*/ 0 h 9903"/>
                    <a:gd name="connsiteX5" fmla="*/ 23117 w 23116"/>
                    <a:gd name="connsiteY5" fmla="*/ 4952 h 9903"/>
                    <a:gd name="connsiteX6" fmla="*/ 18165 w 23116"/>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16" h="9903">
                      <a:moveTo>
                        <a:pt x="18165" y="9903"/>
                      </a:moveTo>
                      <a:lnTo>
                        <a:pt x="4952" y="9903"/>
                      </a:lnTo>
                      <a:cubicBezTo>
                        <a:pt x="2225" y="9903"/>
                        <a:pt x="0" y="7678"/>
                        <a:pt x="0" y="4952"/>
                      </a:cubicBezTo>
                      <a:cubicBezTo>
                        <a:pt x="0" y="2225"/>
                        <a:pt x="2225" y="0"/>
                        <a:pt x="4952" y="0"/>
                      </a:cubicBezTo>
                      <a:lnTo>
                        <a:pt x="18165" y="0"/>
                      </a:lnTo>
                      <a:cubicBezTo>
                        <a:pt x="20891" y="0"/>
                        <a:pt x="23117" y="2225"/>
                        <a:pt x="23117" y="4952"/>
                      </a:cubicBezTo>
                      <a:cubicBezTo>
                        <a:pt x="23117" y="7678"/>
                        <a:pt x="20891" y="9903"/>
                        <a:pt x="18165" y="9903"/>
                      </a:cubicBezTo>
                      <a:close/>
                    </a:path>
                  </a:pathLst>
                </a:custGeom>
                <a:solidFill>
                  <a:schemeClr val="accent1"/>
                </a:solidFill>
                <a:ln w="2775" cap="flat">
                  <a:noFill/>
                  <a:prstDash val="solid"/>
                  <a:miter/>
                </a:ln>
              </p:spPr>
              <p:txBody>
                <a:bodyPr rtlCol="0" anchor="ctr"/>
                <a:lstStyle/>
                <a:p>
                  <a:endParaRPr lang="en-GB" dirty="0"/>
                </a:p>
              </p:txBody>
            </p:sp>
            <p:sp>
              <p:nvSpPr>
                <p:cNvPr id="1081" name="Freihandform: Form 1080">
                  <a:extLst>
                    <a:ext uri="{FF2B5EF4-FFF2-40B4-BE49-F238E27FC236}">
                      <a16:creationId xmlns:a16="http://schemas.microsoft.com/office/drawing/2014/main" id="{66BA4A42-D545-4FB3-9032-7B7445668F9C}"/>
                    </a:ext>
                  </a:extLst>
                </p:cNvPr>
                <p:cNvSpPr/>
                <p:nvPr/>
              </p:nvSpPr>
              <p:spPr>
                <a:xfrm>
                  <a:off x="7817559" y="4401129"/>
                  <a:ext cx="23116" cy="9903"/>
                </a:xfrm>
                <a:custGeom>
                  <a:avLst/>
                  <a:gdLst>
                    <a:gd name="connsiteX0" fmla="*/ 18165 w 23116"/>
                    <a:gd name="connsiteY0" fmla="*/ 9903 h 9903"/>
                    <a:gd name="connsiteX1" fmla="*/ 4952 w 23116"/>
                    <a:gd name="connsiteY1" fmla="*/ 9903 h 9903"/>
                    <a:gd name="connsiteX2" fmla="*/ 0 w 23116"/>
                    <a:gd name="connsiteY2" fmla="*/ 4952 h 9903"/>
                    <a:gd name="connsiteX3" fmla="*/ 4952 w 23116"/>
                    <a:gd name="connsiteY3" fmla="*/ 0 h 9903"/>
                    <a:gd name="connsiteX4" fmla="*/ 18165 w 23116"/>
                    <a:gd name="connsiteY4" fmla="*/ 0 h 9903"/>
                    <a:gd name="connsiteX5" fmla="*/ 23117 w 23116"/>
                    <a:gd name="connsiteY5" fmla="*/ 4952 h 9903"/>
                    <a:gd name="connsiteX6" fmla="*/ 18165 w 23116"/>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16" h="9903">
                      <a:moveTo>
                        <a:pt x="18165" y="9903"/>
                      </a:moveTo>
                      <a:lnTo>
                        <a:pt x="4952" y="9903"/>
                      </a:lnTo>
                      <a:cubicBezTo>
                        <a:pt x="2225" y="9903"/>
                        <a:pt x="0" y="7678"/>
                        <a:pt x="0" y="4952"/>
                      </a:cubicBezTo>
                      <a:cubicBezTo>
                        <a:pt x="0" y="2225"/>
                        <a:pt x="2225" y="0"/>
                        <a:pt x="4952" y="0"/>
                      </a:cubicBezTo>
                      <a:lnTo>
                        <a:pt x="18165" y="0"/>
                      </a:lnTo>
                      <a:cubicBezTo>
                        <a:pt x="20891" y="0"/>
                        <a:pt x="23117" y="2225"/>
                        <a:pt x="23117" y="4952"/>
                      </a:cubicBezTo>
                      <a:cubicBezTo>
                        <a:pt x="23117" y="7678"/>
                        <a:pt x="20919" y="9903"/>
                        <a:pt x="18165" y="9903"/>
                      </a:cubicBezTo>
                      <a:close/>
                    </a:path>
                  </a:pathLst>
                </a:custGeom>
                <a:solidFill>
                  <a:schemeClr val="accent1"/>
                </a:solidFill>
                <a:ln w="2775" cap="flat">
                  <a:noFill/>
                  <a:prstDash val="solid"/>
                  <a:miter/>
                </a:ln>
              </p:spPr>
              <p:txBody>
                <a:bodyPr rtlCol="0" anchor="ctr"/>
                <a:lstStyle/>
                <a:p>
                  <a:endParaRPr lang="en-GB" dirty="0"/>
                </a:p>
              </p:txBody>
            </p:sp>
          </p:grpSp>
          <p:grpSp>
            <p:nvGrpSpPr>
              <p:cNvPr id="1077" name="Grafik 114">
                <a:extLst>
                  <a:ext uri="{FF2B5EF4-FFF2-40B4-BE49-F238E27FC236}">
                    <a16:creationId xmlns:a16="http://schemas.microsoft.com/office/drawing/2014/main" id="{5976B357-16EC-4104-A2AE-26C1B9AB24A0}"/>
                  </a:ext>
                </a:extLst>
              </p:cNvPr>
              <p:cNvGrpSpPr/>
              <p:nvPr/>
            </p:nvGrpSpPr>
            <p:grpSpPr>
              <a:xfrm>
                <a:off x="8174130" y="4401129"/>
                <a:ext cx="69350" cy="9903"/>
                <a:chOff x="8174130" y="4401129"/>
                <a:chExt cx="69350" cy="9903"/>
              </a:xfrm>
              <a:solidFill>
                <a:schemeClr val="tx2"/>
              </a:solidFill>
            </p:grpSpPr>
            <p:sp>
              <p:nvSpPr>
                <p:cNvPr id="1078" name="Freihandform: Form 1077">
                  <a:extLst>
                    <a:ext uri="{FF2B5EF4-FFF2-40B4-BE49-F238E27FC236}">
                      <a16:creationId xmlns:a16="http://schemas.microsoft.com/office/drawing/2014/main" id="{E63DB71B-564B-46BA-BF08-AF722774CFB8}"/>
                    </a:ext>
                  </a:extLst>
                </p:cNvPr>
                <p:cNvSpPr/>
                <p:nvPr/>
              </p:nvSpPr>
              <p:spPr>
                <a:xfrm>
                  <a:off x="8174130" y="4401129"/>
                  <a:ext cx="23116" cy="9903"/>
                </a:xfrm>
                <a:custGeom>
                  <a:avLst/>
                  <a:gdLst>
                    <a:gd name="connsiteX0" fmla="*/ 18165 w 23116"/>
                    <a:gd name="connsiteY0" fmla="*/ 9903 h 9903"/>
                    <a:gd name="connsiteX1" fmla="*/ 4951 w 23116"/>
                    <a:gd name="connsiteY1" fmla="*/ 9903 h 9903"/>
                    <a:gd name="connsiteX2" fmla="*/ 0 w 23116"/>
                    <a:gd name="connsiteY2" fmla="*/ 4952 h 9903"/>
                    <a:gd name="connsiteX3" fmla="*/ 4951 w 23116"/>
                    <a:gd name="connsiteY3" fmla="*/ 0 h 9903"/>
                    <a:gd name="connsiteX4" fmla="*/ 18165 w 23116"/>
                    <a:gd name="connsiteY4" fmla="*/ 0 h 9903"/>
                    <a:gd name="connsiteX5" fmla="*/ 23117 w 23116"/>
                    <a:gd name="connsiteY5" fmla="*/ 4952 h 9903"/>
                    <a:gd name="connsiteX6" fmla="*/ 18165 w 23116"/>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16" h="9903">
                      <a:moveTo>
                        <a:pt x="18165" y="9903"/>
                      </a:moveTo>
                      <a:lnTo>
                        <a:pt x="4951" y="9903"/>
                      </a:lnTo>
                      <a:cubicBezTo>
                        <a:pt x="2225" y="9903"/>
                        <a:pt x="0" y="7678"/>
                        <a:pt x="0" y="4952"/>
                      </a:cubicBezTo>
                      <a:cubicBezTo>
                        <a:pt x="0" y="2225"/>
                        <a:pt x="2225" y="0"/>
                        <a:pt x="4951" y="0"/>
                      </a:cubicBezTo>
                      <a:lnTo>
                        <a:pt x="18165" y="0"/>
                      </a:lnTo>
                      <a:cubicBezTo>
                        <a:pt x="20891" y="0"/>
                        <a:pt x="23117" y="2225"/>
                        <a:pt x="23117" y="4952"/>
                      </a:cubicBezTo>
                      <a:cubicBezTo>
                        <a:pt x="23117" y="7678"/>
                        <a:pt x="20891" y="9903"/>
                        <a:pt x="18165" y="9903"/>
                      </a:cubicBezTo>
                      <a:close/>
                    </a:path>
                  </a:pathLst>
                </a:custGeom>
                <a:solidFill>
                  <a:schemeClr val="accent1"/>
                </a:solidFill>
                <a:ln w="2775" cap="flat">
                  <a:noFill/>
                  <a:prstDash val="solid"/>
                  <a:miter/>
                </a:ln>
              </p:spPr>
              <p:txBody>
                <a:bodyPr rtlCol="0" anchor="ctr"/>
                <a:lstStyle/>
                <a:p>
                  <a:endParaRPr lang="en-GB" dirty="0"/>
                </a:p>
              </p:txBody>
            </p:sp>
            <p:sp>
              <p:nvSpPr>
                <p:cNvPr id="1079" name="Freihandform: Form 1078">
                  <a:extLst>
                    <a:ext uri="{FF2B5EF4-FFF2-40B4-BE49-F238E27FC236}">
                      <a16:creationId xmlns:a16="http://schemas.microsoft.com/office/drawing/2014/main" id="{91A8012D-04F1-4ED6-9623-25FB5EA082DD}"/>
                    </a:ext>
                  </a:extLst>
                </p:cNvPr>
                <p:cNvSpPr/>
                <p:nvPr/>
              </p:nvSpPr>
              <p:spPr>
                <a:xfrm>
                  <a:off x="8220364" y="4401129"/>
                  <a:ext cx="23116" cy="9903"/>
                </a:xfrm>
                <a:custGeom>
                  <a:avLst/>
                  <a:gdLst>
                    <a:gd name="connsiteX0" fmla="*/ 18165 w 23116"/>
                    <a:gd name="connsiteY0" fmla="*/ 9903 h 9903"/>
                    <a:gd name="connsiteX1" fmla="*/ 4951 w 23116"/>
                    <a:gd name="connsiteY1" fmla="*/ 9903 h 9903"/>
                    <a:gd name="connsiteX2" fmla="*/ 0 w 23116"/>
                    <a:gd name="connsiteY2" fmla="*/ 4952 h 9903"/>
                    <a:gd name="connsiteX3" fmla="*/ 4951 w 23116"/>
                    <a:gd name="connsiteY3" fmla="*/ 0 h 9903"/>
                    <a:gd name="connsiteX4" fmla="*/ 18165 w 23116"/>
                    <a:gd name="connsiteY4" fmla="*/ 0 h 9903"/>
                    <a:gd name="connsiteX5" fmla="*/ 23117 w 23116"/>
                    <a:gd name="connsiteY5" fmla="*/ 4952 h 9903"/>
                    <a:gd name="connsiteX6" fmla="*/ 18165 w 23116"/>
                    <a:gd name="connsiteY6" fmla="*/ 9903 h 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116" h="9903">
                      <a:moveTo>
                        <a:pt x="18165" y="9903"/>
                      </a:moveTo>
                      <a:lnTo>
                        <a:pt x="4951" y="9903"/>
                      </a:lnTo>
                      <a:cubicBezTo>
                        <a:pt x="2225" y="9903"/>
                        <a:pt x="0" y="7678"/>
                        <a:pt x="0" y="4952"/>
                      </a:cubicBezTo>
                      <a:cubicBezTo>
                        <a:pt x="0" y="2225"/>
                        <a:pt x="2225" y="0"/>
                        <a:pt x="4951" y="0"/>
                      </a:cubicBezTo>
                      <a:lnTo>
                        <a:pt x="18165" y="0"/>
                      </a:lnTo>
                      <a:cubicBezTo>
                        <a:pt x="20891" y="0"/>
                        <a:pt x="23117" y="2225"/>
                        <a:pt x="23117" y="4952"/>
                      </a:cubicBezTo>
                      <a:cubicBezTo>
                        <a:pt x="23117" y="7678"/>
                        <a:pt x="20891" y="9903"/>
                        <a:pt x="18165" y="9903"/>
                      </a:cubicBezTo>
                      <a:close/>
                    </a:path>
                  </a:pathLst>
                </a:custGeom>
                <a:solidFill>
                  <a:schemeClr val="accent1"/>
                </a:solidFill>
                <a:ln w="2775" cap="flat">
                  <a:noFill/>
                  <a:prstDash val="solid"/>
                  <a:miter/>
                </a:ln>
              </p:spPr>
              <p:txBody>
                <a:bodyPr rtlCol="0" anchor="ctr"/>
                <a:lstStyle/>
                <a:p>
                  <a:endParaRPr lang="en-GB" dirty="0"/>
                </a:p>
              </p:txBody>
            </p:sp>
          </p:grpSp>
        </p:grpSp>
      </p:grpSp>
      <p:sp>
        <p:nvSpPr>
          <p:cNvPr id="1084" name="TextBox 1423">
            <a:extLst>
              <a:ext uri="{FF2B5EF4-FFF2-40B4-BE49-F238E27FC236}">
                <a16:creationId xmlns:a16="http://schemas.microsoft.com/office/drawing/2014/main" id="{5566E6AB-AE4D-4199-B0C2-B1A63B140D26}"/>
              </a:ext>
            </a:extLst>
          </p:cNvPr>
          <p:cNvSpPr txBox="1"/>
          <p:nvPr/>
        </p:nvSpPr>
        <p:spPr>
          <a:xfrm>
            <a:off x="7199140" y="4547732"/>
            <a:ext cx="209993" cy="107722"/>
          </a:xfrm>
          <a:prstGeom prst="rect">
            <a:avLst/>
          </a:prstGeom>
          <a:noFill/>
          <a:effectLst/>
        </p:spPr>
        <p:txBody>
          <a:bodyPr wrap="none" lIns="0" tIns="0" rIns="0" bIns="0" rtlCol="0" anchor="t" anchorCtr="0">
            <a:spAutoFit/>
          </a:bodyPr>
          <a:lstStyle/>
          <a:p>
            <a:pPr algn="ctr"/>
            <a:r>
              <a:rPr lang="en-GB" sz="700" dirty="0">
                <a:solidFill>
                  <a:schemeClr val="tx2"/>
                </a:solidFill>
              </a:rPr>
              <a:t>Work</a:t>
            </a:r>
          </a:p>
        </p:txBody>
      </p:sp>
      <p:sp>
        <p:nvSpPr>
          <p:cNvPr id="1085" name="TextBox 1421">
            <a:extLst>
              <a:ext uri="{FF2B5EF4-FFF2-40B4-BE49-F238E27FC236}">
                <a16:creationId xmlns:a16="http://schemas.microsoft.com/office/drawing/2014/main" id="{6DC6CF8B-6EC2-4349-A306-14238E5355BA}"/>
              </a:ext>
            </a:extLst>
          </p:cNvPr>
          <p:cNvSpPr txBox="1"/>
          <p:nvPr/>
        </p:nvSpPr>
        <p:spPr>
          <a:xfrm>
            <a:off x="5094646" y="4547732"/>
            <a:ext cx="237244" cy="107722"/>
          </a:xfrm>
          <a:prstGeom prst="rect">
            <a:avLst/>
          </a:prstGeom>
          <a:noFill/>
          <a:effectLst/>
        </p:spPr>
        <p:txBody>
          <a:bodyPr wrap="none" lIns="0" tIns="0" rIns="0" bIns="0" rtlCol="0" anchor="t" anchorCtr="0">
            <a:spAutoFit/>
          </a:bodyPr>
          <a:lstStyle/>
          <a:p>
            <a:pPr algn="ctr"/>
            <a:r>
              <a:rPr lang="en-GB" sz="700" dirty="0">
                <a:solidFill>
                  <a:schemeClr val="tx2"/>
                </a:solidFill>
              </a:rPr>
              <a:t>Views</a:t>
            </a:r>
          </a:p>
        </p:txBody>
      </p:sp>
      <p:sp>
        <p:nvSpPr>
          <p:cNvPr id="1086" name="TextBox 1424">
            <a:extLst>
              <a:ext uri="{FF2B5EF4-FFF2-40B4-BE49-F238E27FC236}">
                <a16:creationId xmlns:a16="http://schemas.microsoft.com/office/drawing/2014/main" id="{A1579F04-8077-4F33-A75E-44A42C2187E7}"/>
              </a:ext>
            </a:extLst>
          </p:cNvPr>
          <p:cNvSpPr txBox="1"/>
          <p:nvPr/>
        </p:nvSpPr>
        <p:spPr>
          <a:xfrm>
            <a:off x="6147294" y="4547732"/>
            <a:ext cx="222817" cy="107722"/>
          </a:xfrm>
          <a:prstGeom prst="rect">
            <a:avLst/>
          </a:prstGeom>
          <a:noFill/>
          <a:effectLst/>
        </p:spPr>
        <p:txBody>
          <a:bodyPr wrap="none" lIns="0" tIns="0" rIns="0" bIns="0" rtlCol="0" anchor="t" anchorCtr="0">
            <a:spAutoFit/>
          </a:bodyPr>
          <a:lstStyle/>
          <a:p>
            <a:pPr algn="ctr"/>
            <a:r>
              <a:rPr lang="en-GB" sz="700" dirty="0">
                <a:solidFill>
                  <a:schemeClr val="tx2"/>
                </a:solidFill>
              </a:rPr>
              <a:t>News</a:t>
            </a:r>
          </a:p>
        </p:txBody>
      </p:sp>
      <p:sp>
        <p:nvSpPr>
          <p:cNvPr id="1087" name="TextBox 1422">
            <a:extLst>
              <a:ext uri="{FF2B5EF4-FFF2-40B4-BE49-F238E27FC236}">
                <a16:creationId xmlns:a16="http://schemas.microsoft.com/office/drawing/2014/main" id="{E63B217A-8E30-4570-91B1-55F1DCE2A6B8}"/>
              </a:ext>
            </a:extLst>
          </p:cNvPr>
          <p:cNvSpPr txBox="1"/>
          <p:nvPr/>
        </p:nvSpPr>
        <p:spPr>
          <a:xfrm>
            <a:off x="8029281" y="4547732"/>
            <a:ext cx="626774" cy="107722"/>
          </a:xfrm>
          <a:prstGeom prst="rect">
            <a:avLst/>
          </a:prstGeom>
          <a:noFill/>
          <a:effectLst/>
        </p:spPr>
        <p:txBody>
          <a:bodyPr wrap="none" lIns="0" tIns="0" rIns="0" bIns="0" rtlCol="0" anchor="t" anchorCtr="0">
            <a:spAutoFit/>
          </a:bodyPr>
          <a:lstStyle/>
          <a:p>
            <a:pPr algn="ctr"/>
            <a:r>
              <a:rPr lang="en-GB" sz="700" dirty="0">
                <a:solidFill>
                  <a:schemeClr val="tx2"/>
                </a:solidFill>
              </a:rPr>
              <a:t>Tips and advice</a:t>
            </a:r>
          </a:p>
        </p:txBody>
      </p:sp>
      <p:grpSp>
        <p:nvGrpSpPr>
          <p:cNvPr id="1088" name="Group 962">
            <a:extLst>
              <a:ext uri="{FF2B5EF4-FFF2-40B4-BE49-F238E27FC236}">
                <a16:creationId xmlns:a16="http://schemas.microsoft.com/office/drawing/2014/main" id="{42FF2B88-FBA5-408D-9F2C-7B4C2D4F5D58}"/>
              </a:ext>
            </a:extLst>
          </p:cNvPr>
          <p:cNvGrpSpPr>
            <a:grpSpLocks noChangeAspect="1"/>
          </p:cNvGrpSpPr>
          <p:nvPr/>
        </p:nvGrpSpPr>
        <p:grpSpPr>
          <a:xfrm>
            <a:off x="6029222" y="1636608"/>
            <a:ext cx="423019" cy="432000"/>
            <a:chOff x="1722833" y="2499758"/>
            <a:chExt cx="408475" cy="417146"/>
          </a:xfrm>
        </p:grpSpPr>
        <p:grpSp>
          <p:nvGrpSpPr>
            <p:cNvPr id="1089" name="Group 961">
              <a:extLst>
                <a:ext uri="{FF2B5EF4-FFF2-40B4-BE49-F238E27FC236}">
                  <a16:creationId xmlns:a16="http://schemas.microsoft.com/office/drawing/2014/main" id="{FE2C52B5-1179-40EC-A2FD-4C00C1E20037}"/>
                </a:ext>
              </a:extLst>
            </p:cNvPr>
            <p:cNvGrpSpPr/>
            <p:nvPr/>
          </p:nvGrpSpPr>
          <p:grpSpPr>
            <a:xfrm>
              <a:off x="1722833" y="2499758"/>
              <a:ext cx="408475" cy="417146"/>
              <a:chOff x="1722830" y="2499761"/>
              <a:chExt cx="408474" cy="417146"/>
            </a:xfrm>
          </p:grpSpPr>
          <p:sp>
            <p:nvSpPr>
              <p:cNvPr id="1095" name="Freihandform: Form 1094">
                <a:extLst>
                  <a:ext uri="{FF2B5EF4-FFF2-40B4-BE49-F238E27FC236}">
                    <a16:creationId xmlns:a16="http://schemas.microsoft.com/office/drawing/2014/main" id="{FEE13893-DD4F-4F6E-AE49-165769D392FF}"/>
                  </a:ext>
                </a:extLst>
              </p:cNvPr>
              <p:cNvSpPr/>
              <p:nvPr/>
            </p:nvSpPr>
            <p:spPr>
              <a:xfrm>
                <a:off x="1722830" y="2499761"/>
                <a:ext cx="408474" cy="417146"/>
              </a:xfrm>
              <a:custGeom>
                <a:avLst/>
                <a:gdLst>
                  <a:gd name="connsiteX0" fmla="*/ 73171 w 408474"/>
                  <a:gd name="connsiteY0" fmla="*/ 417146 h 417146"/>
                  <a:gd name="connsiteX1" fmla="*/ 71374 w 408474"/>
                  <a:gd name="connsiteY1" fmla="*/ 416804 h 417146"/>
                  <a:gd name="connsiteX2" fmla="*/ 68179 w 408474"/>
                  <a:gd name="connsiteY2" fmla="*/ 412126 h 417146"/>
                  <a:gd name="connsiteX3" fmla="*/ 68179 w 408474"/>
                  <a:gd name="connsiteY3" fmla="*/ 325461 h 417146"/>
                  <a:gd name="connsiteX4" fmla="*/ 5021 w 408474"/>
                  <a:gd name="connsiteY4" fmla="*/ 325461 h 417146"/>
                  <a:gd name="connsiteX5" fmla="*/ 0 w 408474"/>
                  <a:gd name="connsiteY5" fmla="*/ 320441 h 417146"/>
                  <a:gd name="connsiteX6" fmla="*/ 0 w 408474"/>
                  <a:gd name="connsiteY6" fmla="*/ 5021 h 417146"/>
                  <a:gd name="connsiteX7" fmla="*/ 5021 w 408474"/>
                  <a:gd name="connsiteY7" fmla="*/ 0 h 417146"/>
                  <a:gd name="connsiteX8" fmla="*/ 403454 w 408474"/>
                  <a:gd name="connsiteY8" fmla="*/ 0 h 417146"/>
                  <a:gd name="connsiteX9" fmla="*/ 408474 w 408474"/>
                  <a:gd name="connsiteY9" fmla="*/ 5021 h 417146"/>
                  <a:gd name="connsiteX10" fmla="*/ 408474 w 408474"/>
                  <a:gd name="connsiteY10" fmla="*/ 320469 h 417146"/>
                  <a:gd name="connsiteX11" fmla="*/ 403454 w 408474"/>
                  <a:gd name="connsiteY11" fmla="*/ 325490 h 417146"/>
                  <a:gd name="connsiteX12" fmla="*/ 158552 w 408474"/>
                  <a:gd name="connsiteY12" fmla="*/ 325490 h 417146"/>
                  <a:gd name="connsiteX13" fmla="*/ 76880 w 408474"/>
                  <a:gd name="connsiteY13" fmla="*/ 415520 h 417146"/>
                  <a:gd name="connsiteX14" fmla="*/ 73171 w 408474"/>
                  <a:gd name="connsiteY14" fmla="*/ 417146 h 417146"/>
                  <a:gd name="connsiteX15" fmla="*/ 10013 w 408474"/>
                  <a:gd name="connsiteY15" fmla="*/ 315448 h 417146"/>
                  <a:gd name="connsiteX16" fmla="*/ 73171 w 408474"/>
                  <a:gd name="connsiteY16" fmla="*/ 315448 h 417146"/>
                  <a:gd name="connsiteX17" fmla="*/ 78192 w 408474"/>
                  <a:gd name="connsiteY17" fmla="*/ 320469 h 417146"/>
                  <a:gd name="connsiteX18" fmla="*/ 78192 w 408474"/>
                  <a:gd name="connsiteY18" fmla="*/ 399174 h 417146"/>
                  <a:gd name="connsiteX19" fmla="*/ 152647 w 408474"/>
                  <a:gd name="connsiteY19" fmla="*/ 317103 h 417146"/>
                  <a:gd name="connsiteX20" fmla="*/ 156355 w 408474"/>
                  <a:gd name="connsiteY20" fmla="*/ 315448 h 417146"/>
                  <a:gd name="connsiteX21" fmla="*/ 398490 w 408474"/>
                  <a:gd name="connsiteY21" fmla="*/ 315448 h 417146"/>
                  <a:gd name="connsiteX22" fmla="*/ 398490 w 408474"/>
                  <a:gd name="connsiteY22" fmla="*/ 10013 h 417146"/>
                  <a:gd name="connsiteX23" fmla="*/ 10013 w 408474"/>
                  <a:gd name="connsiteY23" fmla="*/ 10013 h 417146"/>
                  <a:gd name="connsiteX24" fmla="*/ 10013 w 408474"/>
                  <a:gd name="connsiteY24" fmla="*/ 315448 h 41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08474" h="417146">
                    <a:moveTo>
                      <a:pt x="73171" y="417146"/>
                    </a:moveTo>
                    <a:cubicBezTo>
                      <a:pt x="72572" y="417146"/>
                      <a:pt x="71944" y="417032"/>
                      <a:pt x="71374" y="416804"/>
                    </a:cubicBezTo>
                    <a:cubicBezTo>
                      <a:pt x="69434" y="416062"/>
                      <a:pt x="68179" y="414208"/>
                      <a:pt x="68179" y="412126"/>
                    </a:cubicBezTo>
                    <a:lnTo>
                      <a:pt x="68179" y="325461"/>
                    </a:lnTo>
                    <a:lnTo>
                      <a:pt x="5021" y="325461"/>
                    </a:lnTo>
                    <a:cubicBezTo>
                      <a:pt x="2254" y="325461"/>
                      <a:pt x="0" y="323208"/>
                      <a:pt x="0" y="320441"/>
                    </a:cubicBezTo>
                    <a:lnTo>
                      <a:pt x="0" y="5021"/>
                    </a:lnTo>
                    <a:cubicBezTo>
                      <a:pt x="0" y="2254"/>
                      <a:pt x="2254" y="0"/>
                      <a:pt x="5021" y="0"/>
                    </a:cubicBezTo>
                    <a:lnTo>
                      <a:pt x="403454" y="0"/>
                    </a:lnTo>
                    <a:cubicBezTo>
                      <a:pt x="406221" y="0"/>
                      <a:pt x="408474" y="2254"/>
                      <a:pt x="408474" y="5021"/>
                    </a:cubicBezTo>
                    <a:lnTo>
                      <a:pt x="408474" y="320469"/>
                    </a:lnTo>
                    <a:cubicBezTo>
                      <a:pt x="408474" y="323236"/>
                      <a:pt x="406221" y="325490"/>
                      <a:pt x="403454" y="325490"/>
                    </a:cubicBezTo>
                    <a:lnTo>
                      <a:pt x="158552" y="325490"/>
                    </a:lnTo>
                    <a:lnTo>
                      <a:pt x="76880" y="415520"/>
                    </a:lnTo>
                    <a:cubicBezTo>
                      <a:pt x="75910" y="416576"/>
                      <a:pt x="74569" y="417146"/>
                      <a:pt x="73171" y="417146"/>
                    </a:cubicBezTo>
                    <a:close/>
                    <a:moveTo>
                      <a:pt x="10013" y="315448"/>
                    </a:moveTo>
                    <a:lnTo>
                      <a:pt x="73171" y="315448"/>
                    </a:lnTo>
                    <a:cubicBezTo>
                      <a:pt x="75938" y="315448"/>
                      <a:pt x="78192" y="317702"/>
                      <a:pt x="78192" y="320469"/>
                    </a:cubicBezTo>
                    <a:lnTo>
                      <a:pt x="78192" y="399174"/>
                    </a:lnTo>
                    <a:lnTo>
                      <a:pt x="152647" y="317103"/>
                    </a:lnTo>
                    <a:cubicBezTo>
                      <a:pt x="153588" y="316048"/>
                      <a:pt x="154957" y="315448"/>
                      <a:pt x="156355" y="315448"/>
                    </a:cubicBezTo>
                    <a:lnTo>
                      <a:pt x="398490" y="315448"/>
                    </a:lnTo>
                    <a:lnTo>
                      <a:pt x="398490" y="10013"/>
                    </a:lnTo>
                    <a:lnTo>
                      <a:pt x="10013" y="10013"/>
                    </a:lnTo>
                    <a:lnTo>
                      <a:pt x="10013" y="315448"/>
                    </a:lnTo>
                    <a:close/>
                  </a:path>
                </a:pathLst>
              </a:custGeom>
              <a:solidFill>
                <a:schemeClr val="tx2"/>
              </a:solidFill>
              <a:ln w="2848" cap="flat">
                <a:noFill/>
                <a:prstDash val="solid"/>
                <a:miter/>
              </a:ln>
            </p:spPr>
            <p:txBody>
              <a:bodyPr rtlCol="0" anchor="ctr"/>
              <a:lstStyle/>
              <a:p>
                <a:endParaRPr lang="en-GB" dirty="0"/>
              </a:p>
            </p:txBody>
          </p:sp>
          <p:sp>
            <p:nvSpPr>
              <p:cNvPr id="1096" name="Freihandform: Form 1095">
                <a:extLst>
                  <a:ext uri="{FF2B5EF4-FFF2-40B4-BE49-F238E27FC236}">
                    <a16:creationId xmlns:a16="http://schemas.microsoft.com/office/drawing/2014/main" id="{60431B2D-5C08-4C89-8B7E-5C123892C10A}"/>
                  </a:ext>
                </a:extLst>
              </p:cNvPr>
              <p:cNvSpPr/>
              <p:nvPr/>
            </p:nvSpPr>
            <p:spPr>
              <a:xfrm>
                <a:off x="1780825" y="2542893"/>
                <a:ext cx="105548" cy="105548"/>
              </a:xfrm>
              <a:custGeom>
                <a:avLst/>
                <a:gdLst>
                  <a:gd name="connsiteX0" fmla="*/ 100528 w 105548"/>
                  <a:gd name="connsiteY0" fmla="*/ 105549 h 105548"/>
                  <a:gd name="connsiteX1" fmla="*/ 5021 w 105548"/>
                  <a:gd name="connsiteY1" fmla="*/ 105549 h 105548"/>
                  <a:gd name="connsiteX2" fmla="*/ 0 w 105548"/>
                  <a:gd name="connsiteY2" fmla="*/ 100528 h 105548"/>
                  <a:gd name="connsiteX3" fmla="*/ 0 w 105548"/>
                  <a:gd name="connsiteY3" fmla="*/ 5021 h 105548"/>
                  <a:gd name="connsiteX4" fmla="*/ 5021 w 105548"/>
                  <a:gd name="connsiteY4" fmla="*/ 0 h 105548"/>
                  <a:gd name="connsiteX5" fmla="*/ 100528 w 105548"/>
                  <a:gd name="connsiteY5" fmla="*/ 0 h 105548"/>
                  <a:gd name="connsiteX6" fmla="*/ 105549 w 105548"/>
                  <a:gd name="connsiteY6" fmla="*/ 5021 h 105548"/>
                  <a:gd name="connsiteX7" fmla="*/ 105549 w 105548"/>
                  <a:gd name="connsiteY7" fmla="*/ 100528 h 105548"/>
                  <a:gd name="connsiteX8" fmla="*/ 100528 w 105548"/>
                  <a:gd name="connsiteY8" fmla="*/ 105549 h 105548"/>
                  <a:gd name="connsiteX9" fmla="*/ 10013 w 105548"/>
                  <a:gd name="connsiteY9" fmla="*/ 95536 h 105548"/>
                  <a:gd name="connsiteX10" fmla="*/ 95507 w 105548"/>
                  <a:gd name="connsiteY10" fmla="*/ 95536 h 105548"/>
                  <a:gd name="connsiteX11" fmla="*/ 95507 w 105548"/>
                  <a:gd name="connsiteY11" fmla="*/ 10041 h 105548"/>
                  <a:gd name="connsiteX12" fmla="*/ 10013 w 105548"/>
                  <a:gd name="connsiteY12" fmla="*/ 10041 h 105548"/>
                  <a:gd name="connsiteX13" fmla="*/ 10013 w 105548"/>
                  <a:gd name="connsiteY13" fmla="*/ 95536 h 10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548" h="105548">
                    <a:moveTo>
                      <a:pt x="100528" y="105549"/>
                    </a:moveTo>
                    <a:lnTo>
                      <a:pt x="5021" y="105549"/>
                    </a:lnTo>
                    <a:cubicBezTo>
                      <a:pt x="2254" y="105549"/>
                      <a:pt x="0" y="103295"/>
                      <a:pt x="0" y="100528"/>
                    </a:cubicBezTo>
                    <a:lnTo>
                      <a:pt x="0" y="5021"/>
                    </a:lnTo>
                    <a:cubicBezTo>
                      <a:pt x="0" y="2254"/>
                      <a:pt x="2254" y="0"/>
                      <a:pt x="5021" y="0"/>
                    </a:cubicBezTo>
                    <a:lnTo>
                      <a:pt x="100528" y="0"/>
                    </a:lnTo>
                    <a:cubicBezTo>
                      <a:pt x="103295" y="0"/>
                      <a:pt x="105549" y="2254"/>
                      <a:pt x="105549" y="5021"/>
                    </a:cubicBezTo>
                    <a:lnTo>
                      <a:pt x="105549" y="100528"/>
                    </a:lnTo>
                    <a:cubicBezTo>
                      <a:pt x="105520" y="103324"/>
                      <a:pt x="103295" y="105549"/>
                      <a:pt x="100528" y="105549"/>
                    </a:cubicBezTo>
                    <a:close/>
                    <a:moveTo>
                      <a:pt x="10013" y="95536"/>
                    </a:moveTo>
                    <a:lnTo>
                      <a:pt x="95507" y="95536"/>
                    </a:lnTo>
                    <a:lnTo>
                      <a:pt x="95507" y="10041"/>
                    </a:lnTo>
                    <a:lnTo>
                      <a:pt x="10013" y="10041"/>
                    </a:lnTo>
                    <a:lnTo>
                      <a:pt x="10013" y="95536"/>
                    </a:lnTo>
                    <a:close/>
                  </a:path>
                </a:pathLst>
              </a:custGeom>
              <a:solidFill>
                <a:schemeClr val="tx2"/>
              </a:solidFill>
              <a:ln w="2848" cap="flat">
                <a:noFill/>
                <a:prstDash val="solid"/>
                <a:miter/>
              </a:ln>
            </p:spPr>
            <p:txBody>
              <a:bodyPr rtlCol="0" anchor="ctr"/>
              <a:lstStyle/>
              <a:p>
                <a:endParaRPr lang="en-GB" dirty="0"/>
              </a:p>
            </p:txBody>
          </p:sp>
          <p:sp>
            <p:nvSpPr>
              <p:cNvPr id="1097" name="Freihandform: Form 1096">
                <a:extLst>
                  <a:ext uri="{FF2B5EF4-FFF2-40B4-BE49-F238E27FC236}">
                    <a16:creationId xmlns:a16="http://schemas.microsoft.com/office/drawing/2014/main" id="{A9C51C0C-0B6D-4CB0-8A75-8378CBCFB16D}"/>
                  </a:ext>
                </a:extLst>
              </p:cNvPr>
              <p:cNvSpPr/>
              <p:nvPr/>
            </p:nvSpPr>
            <p:spPr>
              <a:xfrm>
                <a:off x="1962055" y="2675257"/>
                <a:ext cx="105548" cy="105548"/>
              </a:xfrm>
              <a:custGeom>
                <a:avLst/>
                <a:gdLst>
                  <a:gd name="connsiteX0" fmla="*/ 100528 w 105548"/>
                  <a:gd name="connsiteY0" fmla="*/ 105549 h 105548"/>
                  <a:gd name="connsiteX1" fmla="*/ 5021 w 105548"/>
                  <a:gd name="connsiteY1" fmla="*/ 105549 h 105548"/>
                  <a:gd name="connsiteX2" fmla="*/ 0 w 105548"/>
                  <a:gd name="connsiteY2" fmla="*/ 100528 h 105548"/>
                  <a:gd name="connsiteX3" fmla="*/ 0 w 105548"/>
                  <a:gd name="connsiteY3" fmla="*/ 5021 h 105548"/>
                  <a:gd name="connsiteX4" fmla="*/ 5021 w 105548"/>
                  <a:gd name="connsiteY4" fmla="*/ 0 h 105548"/>
                  <a:gd name="connsiteX5" fmla="*/ 100528 w 105548"/>
                  <a:gd name="connsiteY5" fmla="*/ 0 h 105548"/>
                  <a:gd name="connsiteX6" fmla="*/ 105549 w 105548"/>
                  <a:gd name="connsiteY6" fmla="*/ 5021 h 105548"/>
                  <a:gd name="connsiteX7" fmla="*/ 105549 w 105548"/>
                  <a:gd name="connsiteY7" fmla="*/ 100528 h 105548"/>
                  <a:gd name="connsiteX8" fmla="*/ 100528 w 105548"/>
                  <a:gd name="connsiteY8" fmla="*/ 105549 h 105548"/>
                  <a:gd name="connsiteX9" fmla="*/ 10041 w 105548"/>
                  <a:gd name="connsiteY9" fmla="*/ 95536 h 105548"/>
                  <a:gd name="connsiteX10" fmla="*/ 95536 w 105548"/>
                  <a:gd name="connsiteY10" fmla="*/ 95536 h 105548"/>
                  <a:gd name="connsiteX11" fmla="*/ 95536 w 105548"/>
                  <a:gd name="connsiteY11" fmla="*/ 10041 h 105548"/>
                  <a:gd name="connsiteX12" fmla="*/ 10041 w 105548"/>
                  <a:gd name="connsiteY12" fmla="*/ 10041 h 105548"/>
                  <a:gd name="connsiteX13" fmla="*/ 10041 w 105548"/>
                  <a:gd name="connsiteY13" fmla="*/ 95536 h 10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5548" h="105548">
                    <a:moveTo>
                      <a:pt x="100528" y="105549"/>
                    </a:moveTo>
                    <a:lnTo>
                      <a:pt x="5021" y="105549"/>
                    </a:lnTo>
                    <a:cubicBezTo>
                      <a:pt x="2254" y="105549"/>
                      <a:pt x="0" y="103295"/>
                      <a:pt x="0" y="100528"/>
                    </a:cubicBezTo>
                    <a:lnTo>
                      <a:pt x="0" y="5021"/>
                    </a:lnTo>
                    <a:cubicBezTo>
                      <a:pt x="0" y="2254"/>
                      <a:pt x="2254" y="0"/>
                      <a:pt x="5021" y="0"/>
                    </a:cubicBezTo>
                    <a:lnTo>
                      <a:pt x="100528" y="0"/>
                    </a:lnTo>
                    <a:cubicBezTo>
                      <a:pt x="103295" y="0"/>
                      <a:pt x="105549" y="2254"/>
                      <a:pt x="105549" y="5021"/>
                    </a:cubicBezTo>
                    <a:lnTo>
                      <a:pt x="105549" y="100528"/>
                    </a:lnTo>
                    <a:cubicBezTo>
                      <a:pt x="105549" y="103324"/>
                      <a:pt x="103295" y="105549"/>
                      <a:pt x="100528" y="105549"/>
                    </a:cubicBezTo>
                    <a:close/>
                    <a:moveTo>
                      <a:pt x="10041" y="95536"/>
                    </a:moveTo>
                    <a:lnTo>
                      <a:pt x="95536" y="95536"/>
                    </a:lnTo>
                    <a:lnTo>
                      <a:pt x="95536" y="10041"/>
                    </a:lnTo>
                    <a:lnTo>
                      <a:pt x="10041" y="10041"/>
                    </a:lnTo>
                    <a:lnTo>
                      <a:pt x="10041" y="95536"/>
                    </a:lnTo>
                    <a:close/>
                  </a:path>
                </a:pathLst>
              </a:custGeom>
              <a:solidFill>
                <a:schemeClr val="tx2"/>
              </a:solidFill>
              <a:ln w="2848" cap="flat">
                <a:noFill/>
                <a:prstDash val="solid"/>
                <a:miter/>
              </a:ln>
            </p:spPr>
            <p:txBody>
              <a:bodyPr rtlCol="0" anchor="ctr"/>
              <a:lstStyle/>
              <a:p>
                <a:endParaRPr lang="en-GB" dirty="0"/>
              </a:p>
            </p:txBody>
          </p:sp>
        </p:grpSp>
        <p:grpSp>
          <p:nvGrpSpPr>
            <p:cNvPr id="1090" name="Group 960">
              <a:extLst>
                <a:ext uri="{FF2B5EF4-FFF2-40B4-BE49-F238E27FC236}">
                  <a16:creationId xmlns:a16="http://schemas.microsoft.com/office/drawing/2014/main" id="{7B1C86DB-E70B-4E97-8B37-2C826B467A99}"/>
                </a:ext>
              </a:extLst>
            </p:cNvPr>
            <p:cNvGrpSpPr/>
            <p:nvPr/>
          </p:nvGrpSpPr>
          <p:grpSpPr>
            <a:xfrm>
              <a:off x="1780825" y="2542893"/>
              <a:ext cx="310027" cy="237912"/>
              <a:chOff x="1780825" y="2542893"/>
              <a:chExt cx="310027" cy="237912"/>
            </a:xfrm>
          </p:grpSpPr>
          <p:sp>
            <p:nvSpPr>
              <p:cNvPr id="1091" name="Freihandform: Form 1090">
                <a:extLst>
                  <a:ext uri="{FF2B5EF4-FFF2-40B4-BE49-F238E27FC236}">
                    <a16:creationId xmlns:a16="http://schemas.microsoft.com/office/drawing/2014/main" id="{83E590ED-D057-4D7B-8F20-20F7441DEB0E}"/>
                  </a:ext>
                </a:extLst>
              </p:cNvPr>
              <p:cNvSpPr/>
              <p:nvPr/>
            </p:nvSpPr>
            <p:spPr>
              <a:xfrm>
                <a:off x="1780825" y="2675257"/>
                <a:ext cx="105577" cy="105548"/>
              </a:xfrm>
              <a:custGeom>
                <a:avLst/>
                <a:gdLst>
                  <a:gd name="connsiteX0" fmla="*/ 100528 w 105577"/>
                  <a:gd name="connsiteY0" fmla="*/ 105549 h 105548"/>
                  <a:gd name="connsiteX1" fmla="*/ 5021 w 105577"/>
                  <a:gd name="connsiteY1" fmla="*/ 105549 h 105548"/>
                  <a:gd name="connsiteX2" fmla="*/ 0 w 105577"/>
                  <a:gd name="connsiteY2" fmla="*/ 100528 h 105548"/>
                  <a:gd name="connsiteX3" fmla="*/ 0 w 105577"/>
                  <a:gd name="connsiteY3" fmla="*/ 5021 h 105548"/>
                  <a:gd name="connsiteX4" fmla="*/ 5021 w 105577"/>
                  <a:gd name="connsiteY4" fmla="*/ 0 h 105548"/>
                  <a:gd name="connsiteX5" fmla="*/ 91514 w 105577"/>
                  <a:gd name="connsiteY5" fmla="*/ 0 h 105548"/>
                  <a:gd name="connsiteX6" fmla="*/ 96534 w 105577"/>
                  <a:gd name="connsiteY6" fmla="*/ 5021 h 105548"/>
                  <a:gd name="connsiteX7" fmla="*/ 91514 w 105577"/>
                  <a:gd name="connsiteY7" fmla="*/ 10041 h 105548"/>
                  <a:gd name="connsiteX8" fmla="*/ 10041 w 105577"/>
                  <a:gd name="connsiteY8" fmla="*/ 10041 h 105548"/>
                  <a:gd name="connsiteX9" fmla="*/ 10041 w 105577"/>
                  <a:gd name="connsiteY9" fmla="*/ 95536 h 105548"/>
                  <a:gd name="connsiteX10" fmla="*/ 95536 w 105577"/>
                  <a:gd name="connsiteY10" fmla="*/ 95536 h 105548"/>
                  <a:gd name="connsiteX11" fmla="*/ 95536 w 105577"/>
                  <a:gd name="connsiteY11" fmla="*/ 62188 h 105548"/>
                  <a:gd name="connsiteX12" fmla="*/ 100557 w 105577"/>
                  <a:gd name="connsiteY12" fmla="*/ 57168 h 105548"/>
                  <a:gd name="connsiteX13" fmla="*/ 105577 w 105577"/>
                  <a:gd name="connsiteY13" fmla="*/ 62188 h 105548"/>
                  <a:gd name="connsiteX14" fmla="*/ 105577 w 105577"/>
                  <a:gd name="connsiteY14" fmla="*/ 100557 h 105548"/>
                  <a:gd name="connsiteX15" fmla="*/ 100528 w 105577"/>
                  <a:gd name="connsiteY15" fmla="*/ 105549 h 10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577" h="105548">
                    <a:moveTo>
                      <a:pt x="100528" y="105549"/>
                    </a:moveTo>
                    <a:lnTo>
                      <a:pt x="5021" y="105549"/>
                    </a:lnTo>
                    <a:cubicBezTo>
                      <a:pt x="2254" y="105549"/>
                      <a:pt x="0" y="103295"/>
                      <a:pt x="0" y="100528"/>
                    </a:cubicBezTo>
                    <a:lnTo>
                      <a:pt x="0" y="5021"/>
                    </a:lnTo>
                    <a:cubicBezTo>
                      <a:pt x="0" y="2254"/>
                      <a:pt x="2254" y="0"/>
                      <a:pt x="5021" y="0"/>
                    </a:cubicBezTo>
                    <a:lnTo>
                      <a:pt x="91514" y="0"/>
                    </a:lnTo>
                    <a:cubicBezTo>
                      <a:pt x="94281" y="0"/>
                      <a:pt x="96534" y="2254"/>
                      <a:pt x="96534" y="5021"/>
                    </a:cubicBezTo>
                    <a:cubicBezTo>
                      <a:pt x="96534" y="7788"/>
                      <a:pt x="94281" y="10041"/>
                      <a:pt x="91514" y="10041"/>
                    </a:cubicBezTo>
                    <a:lnTo>
                      <a:pt x="10041" y="10041"/>
                    </a:lnTo>
                    <a:lnTo>
                      <a:pt x="10041" y="95536"/>
                    </a:lnTo>
                    <a:lnTo>
                      <a:pt x="95536" y="95536"/>
                    </a:lnTo>
                    <a:lnTo>
                      <a:pt x="95536" y="62188"/>
                    </a:lnTo>
                    <a:cubicBezTo>
                      <a:pt x="95536" y="59421"/>
                      <a:pt x="97790" y="57168"/>
                      <a:pt x="100557" y="57168"/>
                    </a:cubicBezTo>
                    <a:cubicBezTo>
                      <a:pt x="103324" y="57168"/>
                      <a:pt x="105577" y="59421"/>
                      <a:pt x="105577" y="62188"/>
                    </a:cubicBezTo>
                    <a:lnTo>
                      <a:pt x="105577" y="100557"/>
                    </a:lnTo>
                    <a:cubicBezTo>
                      <a:pt x="105520" y="103324"/>
                      <a:pt x="103295" y="105549"/>
                      <a:pt x="100528" y="105549"/>
                    </a:cubicBezTo>
                    <a:close/>
                  </a:path>
                </a:pathLst>
              </a:custGeom>
              <a:solidFill>
                <a:schemeClr val="accent1"/>
              </a:solidFill>
              <a:ln w="2848" cap="flat">
                <a:noFill/>
                <a:prstDash val="solid"/>
                <a:miter/>
              </a:ln>
            </p:spPr>
            <p:txBody>
              <a:bodyPr rtlCol="0" anchor="ctr"/>
              <a:lstStyle/>
              <a:p>
                <a:endParaRPr lang="en-GB" dirty="0"/>
              </a:p>
            </p:txBody>
          </p:sp>
          <p:sp>
            <p:nvSpPr>
              <p:cNvPr id="1092" name="Freihandform: Form 1091">
                <a:extLst>
                  <a:ext uri="{FF2B5EF4-FFF2-40B4-BE49-F238E27FC236}">
                    <a16:creationId xmlns:a16="http://schemas.microsoft.com/office/drawing/2014/main" id="{640C2DA4-9385-4DF5-A74C-34687BDD8421}"/>
                  </a:ext>
                </a:extLst>
              </p:cNvPr>
              <p:cNvSpPr/>
              <p:nvPr/>
            </p:nvSpPr>
            <p:spPr>
              <a:xfrm>
                <a:off x="1962055" y="2542893"/>
                <a:ext cx="105577" cy="105548"/>
              </a:xfrm>
              <a:custGeom>
                <a:avLst/>
                <a:gdLst>
                  <a:gd name="connsiteX0" fmla="*/ 100528 w 105577"/>
                  <a:gd name="connsiteY0" fmla="*/ 105549 h 105548"/>
                  <a:gd name="connsiteX1" fmla="*/ 5021 w 105577"/>
                  <a:gd name="connsiteY1" fmla="*/ 105549 h 105548"/>
                  <a:gd name="connsiteX2" fmla="*/ 0 w 105577"/>
                  <a:gd name="connsiteY2" fmla="*/ 100528 h 105548"/>
                  <a:gd name="connsiteX3" fmla="*/ 0 w 105577"/>
                  <a:gd name="connsiteY3" fmla="*/ 5021 h 105548"/>
                  <a:gd name="connsiteX4" fmla="*/ 5021 w 105577"/>
                  <a:gd name="connsiteY4" fmla="*/ 0 h 105548"/>
                  <a:gd name="connsiteX5" fmla="*/ 91514 w 105577"/>
                  <a:gd name="connsiteY5" fmla="*/ 0 h 105548"/>
                  <a:gd name="connsiteX6" fmla="*/ 96534 w 105577"/>
                  <a:gd name="connsiteY6" fmla="*/ 5021 h 105548"/>
                  <a:gd name="connsiteX7" fmla="*/ 91514 w 105577"/>
                  <a:gd name="connsiteY7" fmla="*/ 10041 h 105548"/>
                  <a:gd name="connsiteX8" fmla="*/ 10041 w 105577"/>
                  <a:gd name="connsiteY8" fmla="*/ 10041 h 105548"/>
                  <a:gd name="connsiteX9" fmla="*/ 10041 w 105577"/>
                  <a:gd name="connsiteY9" fmla="*/ 95536 h 105548"/>
                  <a:gd name="connsiteX10" fmla="*/ 95536 w 105577"/>
                  <a:gd name="connsiteY10" fmla="*/ 95536 h 105548"/>
                  <a:gd name="connsiteX11" fmla="*/ 95536 w 105577"/>
                  <a:gd name="connsiteY11" fmla="*/ 67066 h 105548"/>
                  <a:gd name="connsiteX12" fmla="*/ 100557 w 105577"/>
                  <a:gd name="connsiteY12" fmla="*/ 62046 h 105548"/>
                  <a:gd name="connsiteX13" fmla="*/ 105577 w 105577"/>
                  <a:gd name="connsiteY13" fmla="*/ 67066 h 105548"/>
                  <a:gd name="connsiteX14" fmla="*/ 105577 w 105577"/>
                  <a:gd name="connsiteY14" fmla="*/ 100528 h 105548"/>
                  <a:gd name="connsiteX15" fmla="*/ 100528 w 105577"/>
                  <a:gd name="connsiteY15" fmla="*/ 105549 h 10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5577" h="105548">
                    <a:moveTo>
                      <a:pt x="100528" y="105549"/>
                    </a:moveTo>
                    <a:lnTo>
                      <a:pt x="5021" y="105549"/>
                    </a:lnTo>
                    <a:cubicBezTo>
                      <a:pt x="2254" y="105549"/>
                      <a:pt x="0" y="103295"/>
                      <a:pt x="0" y="100528"/>
                    </a:cubicBezTo>
                    <a:lnTo>
                      <a:pt x="0" y="5021"/>
                    </a:lnTo>
                    <a:cubicBezTo>
                      <a:pt x="0" y="2254"/>
                      <a:pt x="2254" y="0"/>
                      <a:pt x="5021" y="0"/>
                    </a:cubicBezTo>
                    <a:lnTo>
                      <a:pt x="91514" y="0"/>
                    </a:lnTo>
                    <a:cubicBezTo>
                      <a:pt x="94281" y="0"/>
                      <a:pt x="96534" y="2254"/>
                      <a:pt x="96534" y="5021"/>
                    </a:cubicBezTo>
                    <a:cubicBezTo>
                      <a:pt x="96534" y="7788"/>
                      <a:pt x="94281" y="10041"/>
                      <a:pt x="91514" y="10041"/>
                    </a:cubicBezTo>
                    <a:lnTo>
                      <a:pt x="10041" y="10041"/>
                    </a:lnTo>
                    <a:lnTo>
                      <a:pt x="10041" y="95536"/>
                    </a:lnTo>
                    <a:lnTo>
                      <a:pt x="95536" y="95536"/>
                    </a:lnTo>
                    <a:lnTo>
                      <a:pt x="95536" y="67066"/>
                    </a:lnTo>
                    <a:cubicBezTo>
                      <a:pt x="95536" y="64299"/>
                      <a:pt x="97790" y="62046"/>
                      <a:pt x="100557" y="62046"/>
                    </a:cubicBezTo>
                    <a:cubicBezTo>
                      <a:pt x="103324" y="62046"/>
                      <a:pt x="105577" y="64299"/>
                      <a:pt x="105577" y="67066"/>
                    </a:cubicBezTo>
                    <a:lnTo>
                      <a:pt x="105577" y="100528"/>
                    </a:lnTo>
                    <a:cubicBezTo>
                      <a:pt x="105549" y="103324"/>
                      <a:pt x="103295" y="105549"/>
                      <a:pt x="100528" y="105549"/>
                    </a:cubicBezTo>
                    <a:close/>
                  </a:path>
                </a:pathLst>
              </a:custGeom>
              <a:solidFill>
                <a:schemeClr val="accent1"/>
              </a:solidFill>
              <a:ln w="2848" cap="flat">
                <a:noFill/>
                <a:prstDash val="solid"/>
                <a:miter/>
              </a:ln>
            </p:spPr>
            <p:txBody>
              <a:bodyPr rtlCol="0" anchor="ctr"/>
              <a:lstStyle/>
              <a:p>
                <a:endParaRPr lang="en-GB" dirty="0"/>
              </a:p>
            </p:txBody>
          </p:sp>
          <p:sp>
            <p:nvSpPr>
              <p:cNvPr id="1093" name="Freihandform: Form 1092">
                <a:extLst>
                  <a:ext uri="{FF2B5EF4-FFF2-40B4-BE49-F238E27FC236}">
                    <a16:creationId xmlns:a16="http://schemas.microsoft.com/office/drawing/2014/main" id="{52D4C104-3629-4C45-8216-AD7886925D92}"/>
                  </a:ext>
                </a:extLst>
              </p:cNvPr>
              <p:cNvSpPr/>
              <p:nvPr/>
            </p:nvSpPr>
            <p:spPr>
              <a:xfrm>
                <a:off x="1804111" y="2676769"/>
                <a:ext cx="107023" cy="77735"/>
              </a:xfrm>
              <a:custGeom>
                <a:avLst/>
                <a:gdLst>
                  <a:gd name="connsiteX0" fmla="*/ 29118 w 107023"/>
                  <a:gd name="connsiteY0" fmla="*/ 77735 h 77735"/>
                  <a:gd name="connsiteX1" fmla="*/ 28547 w 107023"/>
                  <a:gd name="connsiteY1" fmla="*/ 77707 h 77735"/>
                  <a:gd name="connsiteX2" fmla="*/ 24953 w 107023"/>
                  <a:gd name="connsiteY2" fmla="*/ 75538 h 77735"/>
                  <a:gd name="connsiteX3" fmla="*/ 876 w 107023"/>
                  <a:gd name="connsiteY3" fmla="*/ 40194 h 77735"/>
                  <a:gd name="connsiteX4" fmla="*/ 2188 w 107023"/>
                  <a:gd name="connsiteY4" fmla="*/ 33233 h 77735"/>
                  <a:gd name="connsiteX5" fmla="*/ 9149 w 107023"/>
                  <a:gd name="connsiteY5" fmla="*/ 34546 h 77735"/>
                  <a:gd name="connsiteX6" fmla="*/ 29945 w 107023"/>
                  <a:gd name="connsiteY6" fmla="*/ 65069 h 77735"/>
                  <a:gd name="connsiteX7" fmla="*/ 98609 w 107023"/>
                  <a:gd name="connsiteY7" fmla="*/ 1340 h 77735"/>
                  <a:gd name="connsiteX8" fmla="*/ 105683 w 107023"/>
                  <a:gd name="connsiteY8" fmla="*/ 1597 h 77735"/>
                  <a:gd name="connsiteX9" fmla="*/ 105427 w 107023"/>
                  <a:gd name="connsiteY9" fmla="*/ 8672 h 77735"/>
                  <a:gd name="connsiteX10" fmla="*/ 32484 w 107023"/>
                  <a:gd name="connsiteY10" fmla="*/ 76366 h 77735"/>
                  <a:gd name="connsiteX11" fmla="*/ 29118 w 107023"/>
                  <a:gd name="connsiteY11" fmla="*/ 77735 h 7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023" h="77735">
                    <a:moveTo>
                      <a:pt x="29118" y="77735"/>
                    </a:moveTo>
                    <a:cubicBezTo>
                      <a:pt x="28918" y="77735"/>
                      <a:pt x="28747" y="77735"/>
                      <a:pt x="28547" y="77707"/>
                    </a:cubicBezTo>
                    <a:cubicBezTo>
                      <a:pt x="27092" y="77535"/>
                      <a:pt x="25780" y="76765"/>
                      <a:pt x="24953" y="75538"/>
                    </a:cubicBezTo>
                    <a:lnTo>
                      <a:pt x="876" y="40194"/>
                    </a:lnTo>
                    <a:cubicBezTo>
                      <a:pt x="-693" y="37912"/>
                      <a:pt x="-94" y="34802"/>
                      <a:pt x="2188" y="33233"/>
                    </a:cubicBezTo>
                    <a:cubicBezTo>
                      <a:pt x="4499" y="31693"/>
                      <a:pt x="7608" y="32263"/>
                      <a:pt x="9149" y="34546"/>
                    </a:cubicBezTo>
                    <a:lnTo>
                      <a:pt x="29945" y="65069"/>
                    </a:lnTo>
                    <a:lnTo>
                      <a:pt x="98609" y="1340"/>
                    </a:lnTo>
                    <a:cubicBezTo>
                      <a:pt x="100634" y="-542"/>
                      <a:pt x="103801" y="-428"/>
                      <a:pt x="105683" y="1597"/>
                    </a:cubicBezTo>
                    <a:cubicBezTo>
                      <a:pt x="107566" y="3623"/>
                      <a:pt x="107452" y="6789"/>
                      <a:pt x="105427" y="8672"/>
                    </a:cubicBezTo>
                    <a:lnTo>
                      <a:pt x="32484" y="76366"/>
                    </a:lnTo>
                    <a:cubicBezTo>
                      <a:pt x="31571" y="77250"/>
                      <a:pt x="30373" y="77735"/>
                      <a:pt x="29118" y="77735"/>
                    </a:cubicBezTo>
                    <a:close/>
                  </a:path>
                </a:pathLst>
              </a:custGeom>
              <a:solidFill>
                <a:schemeClr val="accent1"/>
              </a:solidFill>
              <a:ln w="2848" cap="flat">
                <a:noFill/>
                <a:prstDash val="solid"/>
                <a:miter/>
              </a:ln>
            </p:spPr>
            <p:txBody>
              <a:bodyPr rtlCol="0" anchor="ctr"/>
              <a:lstStyle/>
              <a:p>
                <a:endParaRPr lang="en-GB" dirty="0"/>
              </a:p>
            </p:txBody>
          </p:sp>
          <p:sp>
            <p:nvSpPr>
              <p:cNvPr id="1094" name="Freihandform: Form 1093">
                <a:extLst>
                  <a:ext uri="{FF2B5EF4-FFF2-40B4-BE49-F238E27FC236}">
                    <a16:creationId xmlns:a16="http://schemas.microsoft.com/office/drawing/2014/main" id="{D3650656-8785-42B7-8498-CD03D10F7C0C}"/>
                  </a:ext>
                </a:extLst>
              </p:cNvPr>
              <p:cNvSpPr/>
              <p:nvPr/>
            </p:nvSpPr>
            <p:spPr>
              <a:xfrm>
                <a:off x="1983829" y="2547401"/>
                <a:ext cx="107023" cy="77735"/>
              </a:xfrm>
              <a:custGeom>
                <a:avLst/>
                <a:gdLst>
                  <a:gd name="connsiteX0" fmla="*/ 29118 w 107023"/>
                  <a:gd name="connsiteY0" fmla="*/ 77735 h 77735"/>
                  <a:gd name="connsiteX1" fmla="*/ 28547 w 107023"/>
                  <a:gd name="connsiteY1" fmla="*/ 77707 h 77735"/>
                  <a:gd name="connsiteX2" fmla="*/ 24953 w 107023"/>
                  <a:gd name="connsiteY2" fmla="*/ 75538 h 77735"/>
                  <a:gd name="connsiteX3" fmla="*/ 876 w 107023"/>
                  <a:gd name="connsiteY3" fmla="*/ 40194 h 77735"/>
                  <a:gd name="connsiteX4" fmla="*/ 2188 w 107023"/>
                  <a:gd name="connsiteY4" fmla="*/ 33233 h 77735"/>
                  <a:gd name="connsiteX5" fmla="*/ 9149 w 107023"/>
                  <a:gd name="connsiteY5" fmla="*/ 34546 h 77735"/>
                  <a:gd name="connsiteX6" fmla="*/ 29945 w 107023"/>
                  <a:gd name="connsiteY6" fmla="*/ 65069 h 77735"/>
                  <a:gd name="connsiteX7" fmla="*/ 98609 w 107023"/>
                  <a:gd name="connsiteY7" fmla="*/ 1341 h 77735"/>
                  <a:gd name="connsiteX8" fmla="*/ 105683 w 107023"/>
                  <a:gd name="connsiteY8" fmla="*/ 1597 h 77735"/>
                  <a:gd name="connsiteX9" fmla="*/ 105427 w 107023"/>
                  <a:gd name="connsiteY9" fmla="*/ 8672 h 77735"/>
                  <a:gd name="connsiteX10" fmla="*/ 32484 w 107023"/>
                  <a:gd name="connsiteY10" fmla="*/ 76366 h 77735"/>
                  <a:gd name="connsiteX11" fmla="*/ 29118 w 107023"/>
                  <a:gd name="connsiteY11" fmla="*/ 77735 h 77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023" h="77735">
                    <a:moveTo>
                      <a:pt x="29118" y="77735"/>
                    </a:moveTo>
                    <a:cubicBezTo>
                      <a:pt x="28918" y="77735"/>
                      <a:pt x="28747" y="77735"/>
                      <a:pt x="28547" y="77707"/>
                    </a:cubicBezTo>
                    <a:cubicBezTo>
                      <a:pt x="27092" y="77535"/>
                      <a:pt x="25780" y="76765"/>
                      <a:pt x="24953" y="75538"/>
                    </a:cubicBezTo>
                    <a:lnTo>
                      <a:pt x="876" y="40194"/>
                    </a:lnTo>
                    <a:cubicBezTo>
                      <a:pt x="-693" y="37912"/>
                      <a:pt x="-94" y="34802"/>
                      <a:pt x="2188" y="33233"/>
                    </a:cubicBezTo>
                    <a:cubicBezTo>
                      <a:pt x="4499" y="31693"/>
                      <a:pt x="7608" y="32263"/>
                      <a:pt x="9149" y="34546"/>
                    </a:cubicBezTo>
                    <a:lnTo>
                      <a:pt x="29945" y="65069"/>
                    </a:lnTo>
                    <a:lnTo>
                      <a:pt x="98609" y="1341"/>
                    </a:lnTo>
                    <a:cubicBezTo>
                      <a:pt x="100634" y="-542"/>
                      <a:pt x="103801" y="-428"/>
                      <a:pt x="105683" y="1597"/>
                    </a:cubicBezTo>
                    <a:cubicBezTo>
                      <a:pt x="107566" y="3623"/>
                      <a:pt x="107452" y="6789"/>
                      <a:pt x="105427" y="8672"/>
                    </a:cubicBezTo>
                    <a:lnTo>
                      <a:pt x="32484" y="76366"/>
                    </a:lnTo>
                    <a:cubicBezTo>
                      <a:pt x="31599" y="77279"/>
                      <a:pt x="30373" y="77735"/>
                      <a:pt x="29118" y="77735"/>
                    </a:cubicBezTo>
                    <a:close/>
                  </a:path>
                </a:pathLst>
              </a:custGeom>
              <a:solidFill>
                <a:schemeClr val="accent1"/>
              </a:solidFill>
              <a:ln w="2848" cap="flat">
                <a:noFill/>
                <a:prstDash val="solid"/>
                <a:miter/>
              </a:ln>
            </p:spPr>
            <p:txBody>
              <a:bodyPr rtlCol="0" anchor="ctr"/>
              <a:lstStyle/>
              <a:p>
                <a:endParaRPr lang="en-GB" dirty="0"/>
              </a:p>
            </p:txBody>
          </p:sp>
        </p:grpSp>
      </p:grpSp>
      <p:sp>
        <p:nvSpPr>
          <p:cNvPr id="1098" name="TextBox 1420">
            <a:extLst>
              <a:ext uri="{FF2B5EF4-FFF2-40B4-BE49-F238E27FC236}">
                <a16:creationId xmlns:a16="http://schemas.microsoft.com/office/drawing/2014/main" id="{9F7E63B7-C93D-4EBC-8D44-8E4C62E9712F}"/>
              </a:ext>
            </a:extLst>
          </p:cNvPr>
          <p:cNvSpPr txBox="1"/>
          <p:nvPr/>
        </p:nvSpPr>
        <p:spPr>
          <a:xfrm>
            <a:off x="6017115" y="2086889"/>
            <a:ext cx="447237" cy="107722"/>
          </a:xfrm>
          <a:prstGeom prst="rect">
            <a:avLst/>
          </a:prstGeom>
          <a:noFill/>
          <a:effectLst/>
        </p:spPr>
        <p:txBody>
          <a:bodyPr wrap="none" lIns="0" tIns="0" rIns="0" bIns="0" rtlCol="0" anchor="t" anchorCtr="0">
            <a:spAutoFit/>
          </a:bodyPr>
          <a:lstStyle/>
          <a:p>
            <a:pPr algn="ctr"/>
            <a:r>
              <a:rPr lang="en-GB" sz="700" dirty="0">
                <a:solidFill>
                  <a:schemeClr val="tx2"/>
                </a:solidFill>
              </a:rPr>
              <a:t>Experience</a:t>
            </a:r>
          </a:p>
        </p:txBody>
      </p:sp>
    </p:spTree>
    <p:extLst>
      <p:ext uri="{BB962C8B-B14F-4D97-AF65-F5344CB8AC3E}">
        <p14:creationId xmlns:p14="http://schemas.microsoft.com/office/powerpoint/2010/main" val="120898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kt 21" hidden="1">
            <a:extLst>
              <a:ext uri="{FF2B5EF4-FFF2-40B4-BE49-F238E27FC236}">
                <a16:creationId xmlns:a16="http://schemas.microsoft.com/office/drawing/2014/main" id="{F05BEF9E-2C36-440A-A66A-CF2EF63920A3}"/>
              </a:ext>
            </a:extLst>
          </p:cNvPr>
          <p:cNvGraphicFramePr>
            <a:graphicFrameLocks noChangeAspect="1"/>
          </p:cNvGraphicFramePr>
          <p:nvPr>
            <p:custDataLst>
              <p:tags r:id="rId1"/>
            </p:custDataLst>
            <p:extLst>
              <p:ext uri="{D42A27DB-BD31-4B8C-83A1-F6EECF244321}">
                <p14:modId xmlns:p14="http://schemas.microsoft.com/office/powerpoint/2010/main" val="1157177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22" name="Objekt 21" hidden="1">
                        <a:extLst>
                          <a:ext uri="{FF2B5EF4-FFF2-40B4-BE49-F238E27FC236}">
                            <a16:creationId xmlns:a16="http://schemas.microsoft.com/office/drawing/2014/main" id="{F05BEF9E-2C36-440A-A66A-CF2EF63920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7C3892DD-DFF6-4324-BBD6-E3C410F8C2D9}"/>
              </a:ext>
            </a:extLst>
          </p:cNvPr>
          <p:cNvSpPr>
            <a:spLocks noGrp="1"/>
          </p:cNvSpPr>
          <p:nvPr>
            <p:ph type="sldNum" sz="quarter" idx="11"/>
          </p:nvPr>
        </p:nvSpPr>
        <p:spPr/>
        <p:txBody>
          <a:bodyPr/>
          <a:lstStyle/>
          <a:p>
            <a:fld id="{D56DB8AA-803C-49D2-90AA-1140CE72DCD7}" type="slidenum">
              <a:rPr lang="en-GB" smtClean="0"/>
              <a:pPr/>
              <a:t>44</a:t>
            </a:fld>
            <a:endParaRPr lang="en-GB" dirty="0"/>
          </a:p>
        </p:txBody>
      </p:sp>
      <p:sp>
        <p:nvSpPr>
          <p:cNvPr id="7" name="Title 6">
            <a:extLst>
              <a:ext uri="{FF2B5EF4-FFF2-40B4-BE49-F238E27FC236}">
                <a16:creationId xmlns:a16="http://schemas.microsoft.com/office/drawing/2014/main" id="{A7CEF065-80DB-F071-76D4-2F66574CA343}"/>
              </a:ext>
            </a:extLst>
          </p:cNvPr>
          <p:cNvSpPr>
            <a:spLocks noGrp="1"/>
          </p:cNvSpPr>
          <p:nvPr>
            <p:ph type="title"/>
          </p:nvPr>
        </p:nvSpPr>
        <p:spPr>
          <a:xfrm>
            <a:off x="252000" y="252000"/>
            <a:ext cx="6748875" cy="576000"/>
          </a:xfrm>
        </p:spPr>
        <p:txBody>
          <a:bodyPr/>
          <a:lstStyle/>
          <a:p>
            <a:r>
              <a:rPr lang="en-GB" dirty="0"/>
              <a:t>Mixed General 3/3</a:t>
            </a:r>
            <a:br>
              <a:rPr lang="en-GB" dirty="0"/>
            </a:br>
            <a:endParaRPr lang="en-US" dirty="0"/>
          </a:p>
        </p:txBody>
      </p:sp>
      <p:sp>
        <p:nvSpPr>
          <p:cNvPr id="6" name="TextBox 5">
            <a:extLst>
              <a:ext uri="{FF2B5EF4-FFF2-40B4-BE49-F238E27FC236}">
                <a16:creationId xmlns:a16="http://schemas.microsoft.com/office/drawing/2014/main" id="{7A9D3835-30AC-477E-8DB2-27B5A08D1816}"/>
              </a:ext>
            </a:extLst>
          </p:cNvPr>
          <p:cNvSpPr txBox="1"/>
          <p:nvPr/>
        </p:nvSpPr>
        <p:spPr>
          <a:xfrm>
            <a:off x="452119"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ccordance</a:t>
            </a:r>
          </a:p>
        </p:txBody>
      </p:sp>
      <p:sp>
        <p:nvSpPr>
          <p:cNvPr id="8" name="TextBox 7">
            <a:extLst>
              <a:ext uri="{FF2B5EF4-FFF2-40B4-BE49-F238E27FC236}">
                <a16:creationId xmlns:a16="http://schemas.microsoft.com/office/drawing/2014/main" id="{AAE76287-066D-4C7F-B311-95F8DDE957CB}"/>
              </a:ext>
            </a:extLst>
          </p:cNvPr>
          <p:cNvSpPr txBox="1"/>
          <p:nvPr/>
        </p:nvSpPr>
        <p:spPr>
          <a:xfrm>
            <a:off x="2542987"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Leadership</a:t>
            </a:r>
          </a:p>
        </p:txBody>
      </p:sp>
      <p:sp>
        <p:nvSpPr>
          <p:cNvPr id="9" name="TextBox 8">
            <a:extLst>
              <a:ext uri="{FF2B5EF4-FFF2-40B4-BE49-F238E27FC236}">
                <a16:creationId xmlns:a16="http://schemas.microsoft.com/office/drawing/2014/main" id="{5F1E5964-843E-417D-A85C-BA6E5FD60568}"/>
              </a:ext>
            </a:extLst>
          </p:cNvPr>
          <p:cNvSpPr txBox="1"/>
          <p:nvPr/>
        </p:nvSpPr>
        <p:spPr>
          <a:xfrm>
            <a:off x="1497553"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ccumulation</a:t>
            </a:r>
          </a:p>
        </p:txBody>
      </p:sp>
      <p:sp>
        <p:nvSpPr>
          <p:cNvPr id="10" name="TextBox 9">
            <a:extLst>
              <a:ext uri="{FF2B5EF4-FFF2-40B4-BE49-F238E27FC236}">
                <a16:creationId xmlns:a16="http://schemas.microsoft.com/office/drawing/2014/main" id="{29AC5F1D-DE8B-44BA-8B5E-BFB8ABAB676A}"/>
              </a:ext>
            </a:extLst>
          </p:cNvPr>
          <p:cNvSpPr txBox="1"/>
          <p:nvPr/>
        </p:nvSpPr>
        <p:spPr>
          <a:xfrm>
            <a:off x="3588420"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Commitment</a:t>
            </a:r>
          </a:p>
        </p:txBody>
      </p:sp>
      <p:sp>
        <p:nvSpPr>
          <p:cNvPr id="11" name="TextBox 10">
            <a:extLst>
              <a:ext uri="{FF2B5EF4-FFF2-40B4-BE49-F238E27FC236}">
                <a16:creationId xmlns:a16="http://schemas.microsoft.com/office/drawing/2014/main" id="{B485528C-F375-4E34-B22B-931874FC239C}"/>
              </a:ext>
            </a:extLst>
          </p:cNvPr>
          <p:cNvSpPr txBox="1"/>
          <p:nvPr/>
        </p:nvSpPr>
        <p:spPr>
          <a:xfrm>
            <a:off x="2542987"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enchmarking</a:t>
            </a:r>
          </a:p>
        </p:txBody>
      </p:sp>
      <p:sp>
        <p:nvSpPr>
          <p:cNvPr id="12" name="TextBox 11">
            <a:extLst>
              <a:ext uri="{FF2B5EF4-FFF2-40B4-BE49-F238E27FC236}">
                <a16:creationId xmlns:a16="http://schemas.microsoft.com/office/drawing/2014/main" id="{5AE25827-B266-4CAD-9AF3-74F068AEF49F}"/>
              </a:ext>
            </a:extLst>
          </p:cNvPr>
          <p:cNvSpPr txBox="1"/>
          <p:nvPr/>
        </p:nvSpPr>
        <p:spPr>
          <a:xfrm>
            <a:off x="1497553" y="2899619"/>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Durability</a:t>
            </a:r>
          </a:p>
        </p:txBody>
      </p:sp>
      <p:sp>
        <p:nvSpPr>
          <p:cNvPr id="13" name="TextBox 12">
            <a:extLst>
              <a:ext uri="{FF2B5EF4-FFF2-40B4-BE49-F238E27FC236}">
                <a16:creationId xmlns:a16="http://schemas.microsoft.com/office/drawing/2014/main" id="{730082AD-7FF4-49D0-8C55-1B4FD89B9666}"/>
              </a:ext>
            </a:extLst>
          </p:cNvPr>
          <p:cNvSpPr txBox="1"/>
          <p:nvPr/>
        </p:nvSpPr>
        <p:spPr>
          <a:xfrm>
            <a:off x="452119" y="3723675"/>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Customer</a:t>
            </a:r>
            <a:br>
              <a:rPr lang="en-GB" sz="700" dirty="0">
                <a:solidFill>
                  <a:schemeClr val="tx2"/>
                </a:solidFill>
              </a:rPr>
            </a:br>
            <a:r>
              <a:rPr lang="en-GB" sz="700" dirty="0">
                <a:solidFill>
                  <a:schemeClr val="tx2"/>
                </a:solidFill>
              </a:rPr>
              <a:t>focus</a:t>
            </a:r>
          </a:p>
        </p:txBody>
      </p:sp>
      <p:sp>
        <p:nvSpPr>
          <p:cNvPr id="14" name="TextBox 13">
            <a:extLst>
              <a:ext uri="{FF2B5EF4-FFF2-40B4-BE49-F238E27FC236}">
                <a16:creationId xmlns:a16="http://schemas.microsoft.com/office/drawing/2014/main" id="{22DCC219-C71C-44D9-B6F4-54D1A59CA2B1}"/>
              </a:ext>
            </a:extLst>
          </p:cNvPr>
          <p:cNvSpPr txBox="1"/>
          <p:nvPr/>
        </p:nvSpPr>
        <p:spPr>
          <a:xfrm>
            <a:off x="3588420"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Request</a:t>
            </a:r>
          </a:p>
        </p:txBody>
      </p:sp>
      <p:sp>
        <p:nvSpPr>
          <p:cNvPr id="15" name="TextBox 14">
            <a:extLst>
              <a:ext uri="{FF2B5EF4-FFF2-40B4-BE49-F238E27FC236}">
                <a16:creationId xmlns:a16="http://schemas.microsoft.com/office/drawing/2014/main" id="{BA9EC1A0-E024-475E-8F2C-C8833FB11394}"/>
              </a:ext>
            </a:extLst>
          </p:cNvPr>
          <p:cNvSpPr txBox="1"/>
          <p:nvPr/>
        </p:nvSpPr>
        <p:spPr>
          <a:xfrm>
            <a:off x="2542987"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daptation</a:t>
            </a:r>
          </a:p>
        </p:txBody>
      </p:sp>
      <p:sp>
        <p:nvSpPr>
          <p:cNvPr id="16" name="TextBox 15">
            <a:extLst>
              <a:ext uri="{FF2B5EF4-FFF2-40B4-BE49-F238E27FC236}">
                <a16:creationId xmlns:a16="http://schemas.microsoft.com/office/drawing/2014/main" id="{FDFD8FD4-3FFD-45DF-B8AE-BC5AE27E3E52}"/>
              </a:ext>
            </a:extLst>
          </p:cNvPr>
          <p:cNvSpPr txBox="1"/>
          <p:nvPr/>
        </p:nvSpPr>
        <p:spPr>
          <a:xfrm>
            <a:off x="1497553" y="3723675"/>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Advantage</a:t>
            </a:r>
          </a:p>
        </p:txBody>
      </p:sp>
      <p:sp>
        <p:nvSpPr>
          <p:cNvPr id="17" name="TextBox 16">
            <a:extLst>
              <a:ext uri="{FF2B5EF4-FFF2-40B4-BE49-F238E27FC236}">
                <a16:creationId xmlns:a16="http://schemas.microsoft.com/office/drawing/2014/main" id="{D93EA1F2-20DC-47CE-884C-D677B4DA189B}"/>
              </a:ext>
            </a:extLst>
          </p:cNvPr>
          <p:cNvSpPr txBox="1"/>
          <p:nvPr/>
        </p:nvSpPr>
        <p:spPr>
          <a:xfrm>
            <a:off x="452119"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Impact</a:t>
            </a:r>
          </a:p>
        </p:txBody>
      </p:sp>
      <p:sp>
        <p:nvSpPr>
          <p:cNvPr id="18" name="TextBox 17">
            <a:extLst>
              <a:ext uri="{FF2B5EF4-FFF2-40B4-BE49-F238E27FC236}">
                <a16:creationId xmlns:a16="http://schemas.microsoft.com/office/drawing/2014/main" id="{04E0DFE5-1FA1-4901-9EF9-4AA133EB6ED7}"/>
              </a:ext>
            </a:extLst>
          </p:cNvPr>
          <p:cNvSpPr txBox="1"/>
          <p:nvPr/>
        </p:nvSpPr>
        <p:spPr>
          <a:xfrm>
            <a:off x="3588420"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Maintenance</a:t>
            </a:r>
          </a:p>
        </p:txBody>
      </p:sp>
      <p:sp>
        <p:nvSpPr>
          <p:cNvPr id="19" name="TextBox 18">
            <a:extLst>
              <a:ext uri="{FF2B5EF4-FFF2-40B4-BE49-F238E27FC236}">
                <a16:creationId xmlns:a16="http://schemas.microsoft.com/office/drawing/2014/main" id="{66030CE0-D469-4CBA-8853-825CCB4E9F89}"/>
              </a:ext>
            </a:extLst>
          </p:cNvPr>
          <p:cNvSpPr txBox="1"/>
          <p:nvPr/>
        </p:nvSpPr>
        <p:spPr>
          <a:xfrm>
            <a:off x="2542987"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Potential</a:t>
            </a:r>
          </a:p>
        </p:txBody>
      </p:sp>
      <p:sp>
        <p:nvSpPr>
          <p:cNvPr id="20" name="TextBox 19">
            <a:extLst>
              <a:ext uri="{FF2B5EF4-FFF2-40B4-BE49-F238E27FC236}">
                <a16:creationId xmlns:a16="http://schemas.microsoft.com/office/drawing/2014/main" id="{B88AC88E-4A73-44A9-8268-1CA338D43A97}"/>
              </a:ext>
            </a:extLst>
          </p:cNvPr>
          <p:cNvSpPr txBox="1"/>
          <p:nvPr/>
        </p:nvSpPr>
        <p:spPr>
          <a:xfrm>
            <a:off x="1497553" y="4547732"/>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Social skill</a:t>
            </a:r>
          </a:p>
        </p:txBody>
      </p:sp>
      <p:sp>
        <p:nvSpPr>
          <p:cNvPr id="21" name="TextBox 20">
            <a:extLst>
              <a:ext uri="{FF2B5EF4-FFF2-40B4-BE49-F238E27FC236}">
                <a16:creationId xmlns:a16="http://schemas.microsoft.com/office/drawing/2014/main" id="{6E03712E-DC5B-48E2-8ABB-92B79A975169}"/>
              </a:ext>
            </a:extLst>
          </p:cNvPr>
          <p:cNvSpPr txBox="1"/>
          <p:nvPr/>
        </p:nvSpPr>
        <p:spPr>
          <a:xfrm>
            <a:off x="3624932" y="2077494"/>
            <a:ext cx="683863" cy="107722"/>
          </a:xfrm>
          <a:prstGeom prst="rect">
            <a:avLst/>
          </a:prstGeom>
          <a:noFill/>
          <a:effectLst/>
        </p:spPr>
        <p:txBody>
          <a:bodyPr wrap="square" lIns="0" tIns="0" rIns="0" bIns="0" rtlCol="0" anchor="t">
            <a:spAutoFit/>
          </a:bodyPr>
          <a:lstStyle/>
          <a:p>
            <a:pPr algn="ctr"/>
            <a:r>
              <a:rPr lang="en-GB" sz="700" dirty="0">
                <a:solidFill>
                  <a:schemeClr val="tx2"/>
                </a:solidFill>
              </a:rPr>
              <a:t>Billing</a:t>
            </a:r>
          </a:p>
        </p:txBody>
      </p:sp>
      <p:sp>
        <p:nvSpPr>
          <p:cNvPr id="37" name="TextBox 36">
            <a:extLst>
              <a:ext uri="{FF2B5EF4-FFF2-40B4-BE49-F238E27FC236}">
                <a16:creationId xmlns:a16="http://schemas.microsoft.com/office/drawing/2014/main" id="{49323A0C-BF2A-485E-8A25-F7F80540E8E7}"/>
              </a:ext>
            </a:extLst>
          </p:cNvPr>
          <p:cNvSpPr txBox="1"/>
          <p:nvPr/>
        </p:nvSpPr>
        <p:spPr>
          <a:xfrm>
            <a:off x="452119" y="2899619"/>
            <a:ext cx="683863" cy="215444"/>
          </a:xfrm>
          <a:prstGeom prst="rect">
            <a:avLst/>
          </a:prstGeom>
          <a:noFill/>
          <a:effectLst/>
        </p:spPr>
        <p:txBody>
          <a:bodyPr wrap="square" lIns="0" tIns="0" rIns="0" bIns="0" rtlCol="0" anchor="t">
            <a:spAutoFit/>
          </a:bodyPr>
          <a:lstStyle/>
          <a:p>
            <a:pPr algn="ctr"/>
            <a:r>
              <a:rPr lang="en-GB" sz="700" dirty="0">
                <a:solidFill>
                  <a:schemeClr val="tx2"/>
                </a:solidFill>
              </a:rPr>
              <a:t>Results validation</a:t>
            </a:r>
          </a:p>
        </p:txBody>
      </p:sp>
      <p:grpSp>
        <p:nvGrpSpPr>
          <p:cNvPr id="223" name="Group 222">
            <a:extLst>
              <a:ext uri="{FF2B5EF4-FFF2-40B4-BE49-F238E27FC236}">
                <a16:creationId xmlns:a16="http://schemas.microsoft.com/office/drawing/2014/main" id="{066A0D71-C8BF-4F96-881B-ABC36AC142D6}"/>
              </a:ext>
            </a:extLst>
          </p:cNvPr>
          <p:cNvGrpSpPr>
            <a:grpSpLocks noChangeAspect="1"/>
          </p:cNvGrpSpPr>
          <p:nvPr/>
        </p:nvGrpSpPr>
        <p:grpSpPr>
          <a:xfrm>
            <a:off x="1561539" y="3197073"/>
            <a:ext cx="555883" cy="431995"/>
            <a:chOff x="6839815" y="3290072"/>
            <a:chExt cx="672659" cy="522744"/>
          </a:xfrm>
        </p:grpSpPr>
        <p:sp>
          <p:nvSpPr>
            <p:cNvPr id="224" name="Freihandform: Form 847">
              <a:extLst>
                <a:ext uri="{FF2B5EF4-FFF2-40B4-BE49-F238E27FC236}">
                  <a16:creationId xmlns:a16="http://schemas.microsoft.com/office/drawing/2014/main" id="{CE9C85E1-1FE5-46E7-B1F8-CBAB2DEB2243}"/>
                </a:ext>
              </a:extLst>
            </p:cNvPr>
            <p:cNvSpPr/>
            <p:nvPr/>
          </p:nvSpPr>
          <p:spPr>
            <a:xfrm>
              <a:off x="6839815" y="3290277"/>
              <a:ext cx="588704" cy="522539"/>
            </a:xfrm>
            <a:custGeom>
              <a:avLst/>
              <a:gdLst>
                <a:gd name="connsiteX0" fmla="*/ 178208 w 588703"/>
                <a:gd name="connsiteY0" fmla="*/ 263443 h 522541"/>
                <a:gd name="connsiteX1" fmla="*/ 178181 w 588703"/>
                <a:gd name="connsiteY1" fmla="*/ 262732 h 522541"/>
                <a:gd name="connsiteX2" fmla="*/ 177813 w 588703"/>
                <a:gd name="connsiteY2" fmla="*/ 260942 h 522541"/>
                <a:gd name="connsiteX3" fmla="*/ 177787 w 588703"/>
                <a:gd name="connsiteY3" fmla="*/ 260863 h 522541"/>
                <a:gd name="connsiteX4" fmla="*/ 177760 w 588703"/>
                <a:gd name="connsiteY4" fmla="*/ 260758 h 522541"/>
                <a:gd name="connsiteX5" fmla="*/ 177076 w 588703"/>
                <a:gd name="connsiteY5" fmla="*/ 259099 h 522541"/>
                <a:gd name="connsiteX6" fmla="*/ 98027 w 588703"/>
                <a:gd name="connsiteY6" fmla="*/ 140277 h 522541"/>
                <a:gd name="connsiteX7" fmla="*/ 311956 w 588703"/>
                <a:gd name="connsiteY7" fmla="*/ 82866 h 522541"/>
                <a:gd name="connsiteX8" fmla="*/ 311956 w 588703"/>
                <a:gd name="connsiteY8" fmla="*/ 110505 h 522541"/>
                <a:gd name="connsiteX9" fmla="*/ 333462 w 588703"/>
                <a:gd name="connsiteY9" fmla="*/ 136486 h 522541"/>
                <a:gd name="connsiteX10" fmla="*/ 333462 w 588703"/>
                <a:gd name="connsiteY10" fmla="*/ 354416 h 522541"/>
                <a:gd name="connsiteX11" fmla="*/ 291213 w 588703"/>
                <a:gd name="connsiteY11" fmla="*/ 401376 h 522541"/>
                <a:gd name="connsiteX12" fmla="*/ 291213 w 588703"/>
                <a:gd name="connsiteY12" fmla="*/ 470343 h 522541"/>
                <a:gd name="connsiteX13" fmla="*/ 285632 w 588703"/>
                <a:gd name="connsiteY13" fmla="*/ 470343 h 522541"/>
                <a:gd name="connsiteX14" fmla="*/ 280657 w 588703"/>
                <a:gd name="connsiteY14" fmla="*/ 475318 h 522541"/>
                <a:gd name="connsiteX15" fmla="*/ 280657 w 588703"/>
                <a:gd name="connsiteY15" fmla="*/ 491480 h 522541"/>
                <a:gd name="connsiteX16" fmla="*/ 227537 w 588703"/>
                <a:gd name="connsiteY16" fmla="*/ 491480 h 522541"/>
                <a:gd name="connsiteX17" fmla="*/ 222562 w 588703"/>
                <a:gd name="connsiteY17" fmla="*/ 496455 h 522541"/>
                <a:gd name="connsiteX18" fmla="*/ 222562 w 588703"/>
                <a:gd name="connsiteY18" fmla="*/ 517567 h 522541"/>
                <a:gd name="connsiteX19" fmla="*/ 227537 w 588703"/>
                <a:gd name="connsiteY19" fmla="*/ 522541 h 522541"/>
                <a:gd name="connsiteX20" fmla="*/ 449362 w 588703"/>
                <a:gd name="connsiteY20" fmla="*/ 522541 h 522541"/>
                <a:gd name="connsiteX21" fmla="*/ 454338 w 588703"/>
                <a:gd name="connsiteY21" fmla="*/ 517567 h 522541"/>
                <a:gd name="connsiteX22" fmla="*/ 454338 w 588703"/>
                <a:gd name="connsiteY22" fmla="*/ 496455 h 522541"/>
                <a:gd name="connsiteX23" fmla="*/ 449362 w 588703"/>
                <a:gd name="connsiteY23" fmla="*/ 491480 h 522541"/>
                <a:gd name="connsiteX24" fmla="*/ 396242 w 588703"/>
                <a:gd name="connsiteY24" fmla="*/ 491480 h 522541"/>
                <a:gd name="connsiteX25" fmla="*/ 396242 w 588703"/>
                <a:gd name="connsiteY25" fmla="*/ 475318 h 522541"/>
                <a:gd name="connsiteX26" fmla="*/ 391267 w 588703"/>
                <a:gd name="connsiteY26" fmla="*/ 470343 h 522541"/>
                <a:gd name="connsiteX27" fmla="*/ 385687 w 588703"/>
                <a:gd name="connsiteY27" fmla="*/ 470343 h 522541"/>
                <a:gd name="connsiteX28" fmla="*/ 385687 w 588703"/>
                <a:gd name="connsiteY28" fmla="*/ 401376 h 522541"/>
                <a:gd name="connsiteX29" fmla="*/ 343438 w 588703"/>
                <a:gd name="connsiteY29" fmla="*/ 354416 h 522541"/>
                <a:gd name="connsiteX30" fmla="*/ 343438 w 588703"/>
                <a:gd name="connsiteY30" fmla="*/ 136486 h 522541"/>
                <a:gd name="connsiteX31" fmla="*/ 364944 w 588703"/>
                <a:gd name="connsiteY31" fmla="*/ 110505 h 522541"/>
                <a:gd name="connsiteX32" fmla="*/ 364944 w 588703"/>
                <a:gd name="connsiteY32" fmla="*/ 68757 h 522541"/>
                <a:gd name="connsiteX33" fmla="*/ 585032 w 588703"/>
                <a:gd name="connsiteY33" fmla="*/ 9793 h 522541"/>
                <a:gd name="connsiteX34" fmla="*/ 588533 w 588703"/>
                <a:gd name="connsiteY34" fmla="*/ 3686 h 522541"/>
                <a:gd name="connsiteX35" fmla="*/ 582426 w 588703"/>
                <a:gd name="connsiteY35" fmla="*/ 185 h 522541"/>
                <a:gd name="connsiteX36" fmla="*/ 364944 w 588703"/>
                <a:gd name="connsiteY36" fmla="*/ 58464 h 522541"/>
                <a:gd name="connsiteX37" fmla="*/ 364944 w 588703"/>
                <a:gd name="connsiteY37" fmla="*/ 37353 h 522541"/>
                <a:gd name="connsiteX38" fmla="*/ 338437 w 588703"/>
                <a:gd name="connsiteY38" fmla="*/ 10872 h 522541"/>
                <a:gd name="connsiteX39" fmla="*/ 311956 w 588703"/>
                <a:gd name="connsiteY39" fmla="*/ 37353 h 522541"/>
                <a:gd name="connsiteX40" fmla="*/ 311956 w 588703"/>
                <a:gd name="connsiteY40" fmla="*/ 72574 h 522541"/>
                <a:gd name="connsiteX41" fmla="*/ 89209 w 588703"/>
                <a:gd name="connsiteY41" fmla="*/ 132353 h 522541"/>
                <a:gd name="connsiteX42" fmla="*/ 89130 w 588703"/>
                <a:gd name="connsiteY42" fmla="*/ 132327 h 522541"/>
                <a:gd name="connsiteX43" fmla="*/ 86577 w 588703"/>
                <a:gd name="connsiteY43" fmla="*/ 133143 h 522541"/>
                <a:gd name="connsiteX44" fmla="*/ 85603 w 588703"/>
                <a:gd name="connsiteY44" fmla="*/ 133617 h 522541"/>
                <a:gd name="connsiteX45" fmla="*/ 83734 w 588703"/>
                <a:gd name="connsiteY45" fmla="*/ 135170 h 522541"/>
                <a:gd name="connsiteX46" fmla="*/ 2895 w 588703"/>
                <a:gd name="connsiteY46" fmla="*/ 258310 h 522541"/>
                <a:gd name="connsiteX47" fmla="*/ 26 w 588703"/>
                <a:gd name="connsiteY47" fmla="*/ 263048 h 522541"/>
                <a:gd name="connsiteX48" fmla="*/ 0 w 588703"/>
                <a:gd name="connsiteY48" fmla="*/ 263522 h 522541"/>
                <a:gd name="connsiteX49" fmla="*/ 89130 w 588703"/>
                <a:gd name="connsiteY49" fmla="*/ 352652 h 522541"/>
                <a:gd name="connsiteX50" fmla="*/ 178208 w 588703"/>
                <a:gd name="connsiteY50" fmla="*/ 263443 h 522541"/>
                <a:gd name="connsiteX51" fmla="*/ 84102 w 588703"/>
                <a:gd name="connsiteY51" fmla="*/ 257757 h 522541"/>
                <a:gd name="connsiteX52" fmla="*/ 15109 w 588703"/>
                <a:gd name="connsiteY52" fmla="*/ 257757 h 522541"/>
                <a:gd name="connsiteX53" fmla="*/ 84102 w 588703"/>
                <a:gd name="connsiteY53" fmla="*/ 152675 h 522541"/>
                <a:gd name="connsiteX54" fmla="*/ 84102 w 588703"/>
                <a:gd name="connsiteY54" fmla="*/ 257757 h 522541"/>
                <a:gd name="connsiteX55" fmla="*/ 94053 w 588703"/>
                <a:gd name="connsiteY55" fmla="*/ 257757 h 522541"/>
                <a:gd name="connsiteX56" fmla="*/ 94053 w 588703"/>
                <a:gd name="connsiteY56" fmla="*/ 152306 h 522541"/>
                <a:gd name="connsiteX57" fmla="*/ 164230 w 588703"/>
                <a:gd name="connsiteY57" fmla="*/ 257757 h 522541"/>
                <a:gd name="connsiteX58" fmla="*/ 94053 w 588703"/>
                <a:gd name="connsiteY58" fmla="*/ 257757 h 522541"/>
                <a:gd name="connsiteX59" fmla="*/ 168152 w 588703"/>
                <a:gd name="connsiteY59" fmla="*/ 267707 h 522541"/>
                <a:gd name="connsiteX60" fmla="*/ 89077 w 588703"/>
                <a:gd name="connsiteY60" fmla="*/ 342702 h 522541"/>
                <a:gd name="connsiteX61" fmla="*/ 10029 w 588703"/>
                <a:gd name="connsiteY61" fmla="*/ 267707 h 522541"/>
                <a:gd name="connsiteX62" fmla="*/ 168152 w 588703"/>
                <a:gd name="connsiteY62" fmla="*/ 267707 h 522541"/>
                <a:gd name="connsiteX63" fmla="*/ 375684 w 588703"/>
                <a:gd name="connsiteY63" fmla="*/ 401376 h 522541"/>
                <a:gd name="connsiteX64" fmla="*/ 375684 w 588703"/>
                <a:gd name="connsiteY64" fmla="*/ 470343 h 522541"/>
                <a:gd name="connsiteX65" fmla="*/ 301137 w 588703"/>
                <a:gd name="connsiteY65" fmla="*/ 470343 h 522541"/>
                <a:gd name="connsiteX66" fmla="*/ 301137 w 588703"/>
                <a:gd name="connsiteY66" fmla="*/ 401376 h 522541"/>
                <a:gd name="connsiteX67" fmla="*/ 338410 w 588703"/>
                <a:gd name="connsiteY67" fmla="*/ 364102 h 522541"/>
                <a:gd name="connsiteX68" fmla="*/ 375684 w 588703"/>
                <a:gd name="connsiteY68" fmla="*/ 401376 h 522541"/>
                <a:gd name="connsiteX69" fmla="*/ 386240 w 588703"/>
                <a:gd name="connsiteY69" fmla="*/ 480266 h 522541"/>
                <a:gd name="connsiteX70" fmla="*/ 386240 w 588703"/>
                <a:gd name="connsiteY70" fmla="*/ 491454 h 522541"/>
                <a:gd name="connsiteX71" fmla="*/ 290555 w 588703"/>
                <a:gd name="connsiteY71" fmla="*/ 491454 h 522541"/>
                <a:gd name="connsiteX72" fmla="*/ 290555 w 588703"/>
                <a:gd name="connsiteY72" fmla="*/ 480266 h 522541"/>
                <a:gd name="connsiteX73" fmla="*/ 296135 w 588703"/>
                <a:gd name="connsiteY73" fmla="*/ 480266 h 522541"/>
                <a:gd name="connsiteX74" fmla="*/ 380633 w 588703"/>
                <a:gd name="connsiteY74" fmla="*/ 480266 h 522541"/>
                <a:gd name="connsiteX75" fmla="*/ 386240 w 588703"/>
                <a:gd name="connsiteY75" fmla="*/ 480266 h 522541"/>
                <a:gd name="connsiteX76" fmla="*/ 444361 w 588703"/>
                <a:gd name="connsiteY76" fmla="*/ 501404 h 522541"/>
                <a:gd name="connsiteX77" fmla="*/ 444361 w 588703"/>
                <a:gd name="connsiteY77" fmla="*/ 512565 h 522541"/>
                <a:gd name="connsiteX78" fmla="*/ 232486 w 588703"/>
                <a:gd name="connsiteY78" fmla="*/ 512565 h 522541"/>
                <a:gd name="connsiteX79" fmla="*/ 232486 w 588703"/>
                <a:gd name="connsiteY79" fmla="*/ 501404 h 522541"/>
                <a:gd name="connsiteX80" fmla="*/ 285606 w 588703"/>
                <a:gd name="connsiteY80" fmla="*/ 501404 h 522541"/>
                <a:gd name="connsiteX81" fmla="*/ 391241 w 588703"/>
                <a:gd name="connsiteY81" fmla="*/ 501404 h 522541"/>
                <a:gd name="connsiteX82" fmla="*/ 444361 w 588703"/>
                <a:gd name="connsiteY82" fmla="*/ 501404 h 522541"/>
                <a:gd name="connsiteX83" fmla="*/ 338410 w 588703"/>
                <a:gd name="connsiteY83" fmla="*/ 20796 h 522541"/>
                <a:gd name="connsiteX84" fmla="*/ 354941 w 588703"/>
                <a:gd name="connsiteY84" fmla="*/ 37327 h 522541"/>
                <a:gd name="connsiteX85" fmla="*/ 354941 w 588703"/>
                <a:gd name="connsiteY85" fmla="*/ 110479 h 522541"/>
                <a:gd name="connsiteX86" fmla="*/ 338410 w 588703"/>
                <a:gd name="connsiteY86" fmla="*/ 127010 h 522541"/>
                <a:gd name="connsiteX87" fmla="*/ 321879 w 588703"/>
                <a:gd name="connsiteY87" fmla="*/ 110479 h 522541"/>
                <a:gd name="connsiteX88" fmla="*/ 321879 w 588703"/>
                <a:gd name="connsiteY88" fmla="*/ 37327 h 522541"/>
                <a:gd name="connsiteX89" fmla="*/ 338410 w 588703"/>
                <a:gd name="connsiteY89" fmla="*/ 20796 h 522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588703" h="522541">
                  <a:moveTo>
                    <a:pt x="178208" y="263443"/>
                  </a:moveTo>
                  <a:lnTo>
                    <a:pt x="178181" y="262732"/>
                  </a:lnTo>
                  <a:cubicBezTo>
                    <a:pt x="178181" y="262100"/>
                    <a:pt x="178050" y="261495"/>
                    <a:pt x="177813" y="260942"/>
                  </a:cubicBezTo>
                  <a:cubicBezTo>
                    <a:pt x="177813" y="260916"/>
                    <a:pt x="177787" y="260889"/>
                    <a:pt x="177787" y="260863"/>
                  </a:cubicBezTo>
                  <a:cubicBezTo>
                    <a:pt x="177787" y="260837"/>
                    <a:pt x="177760" y="260810"/>
                    <a:pt x="177760" y="260758"/>
                  </a:cubicBezTo>
                  <a:cubicBezTo>
                    <a:pt x="177629" y="260179"/>
                    <a:pt x="177418" y="259600"/>
                    <a:pt x="177076" y="259099"/>
                  </a:cubicBezTo>
                  <a:lnTo>
                    <a:pt x="98027" y="140277"/>
                  </a:lnTo>
                  <a:lnTo>
                    <a:pt x="311956" y="82866"/>
                  </a:lnTo>
                  <a:lnTo>
                    <a:pt x="311956" y="110505"/>
                  </a:lnTo>
                  <a:cubicBezTo>
                    <a:pt x="311956" y="123404"/>
                    <a:pt x="321248" y="134143"/>
                    <a:pt x="333462" y="136486"/>
                  </a:cubicBezTo>
                  <a:lnTo>
                    <a:pt x="333462" y="354416"/>
                  </a:lnTo>
                  <a:cubicBezTo>
                    <a:pt x="309745" y="356916"/>
                    <a:pt x="291213" y="377027"/>
                    <a:pt x="291213" y="401376"/>
                  </a:cubicBezTo>
                  <a:lnTo>
                    <a:pt x="291213" y="470343"/>
                  </a:lnTo>
                  <a:lnTo>
                    <a:pt x="285632" y="470343"/>
                  </a:lnTo>
                  <a:cubicBezTo>
                    <a:pt x="282895" y="470343"/>
                    <a:pt x="280657" y="472580"/>
                    <a:pt x="280657" y="475318"/>
                  </a:cubicBezTo>
                  <a:lnTo>
                    <a:pt x="280657" y="491480"/>
                  </a:lnTo>
                  <a:lnTo>
                    <a:pt x="227537" y="491480"/>
                  </a:lnTo>
                  <a:cubicBezTo>
                    <a:pt x="224800" y="491480"/>
                    <a:pt x="222562" y="493718"/>
                    <a:pt x="222562" y="496455"/>
                  </a:cubicBezTo>
                  <a:lnTo>
                    <a:pt x="222562" y="517567"/>
                  </a:lnTo>
                  <a:cubicBezTo>
                    <a:pt x="222562" y="520304"/>
                    <a:pt x="224800" y="522541"/>
                    <a:pt x="227537" y="522541"/>
                  </a:cubicBezTo>
                  <a:lnTo>
                    <a:pt x="449362" y="522541"/>
                  </a:lnTo>
                  <a:cubicBezTo>
                    <a:pt x="452100" y="522541"/>
                    <a:pt x="454338" y="520304"/>
                    <a:pt x="454338" y="517567"/>
                  </a:cubicBezTo>
                  <a:lnTo>
                    <a:pt x="454338" y="496455"/>
                  </a:lnTo>
                  <a:cubicBezTo>
                    <a:pt x="454338" y="493718"/>
                    <a:pt x="452100" y="491480"/>
                    <a:pt x="449362" y="491480"/>
                  </a:cubicBezTo>
                  <a:lnTo>
                    <a:pt x="396242" y="491480"/>
                  </a:lnTo>
                  <a:lnTo>
                    <a:pt x="396242" y="475318"/>
                  </a:lnTo>
                  <a:cubicBezTo>
                    <a:pt x="396242" y="472580"/>
                    <a:pt x="394005" y="470343"/>
                    <a:pt x="391267" y="470343"/>
                  </a:cubicBezTo>
                  <a:lnTo>
                    <a:pt x="385687" y="470343"/>
                  </a:lnTo>
                  <a:lnTo>
                    <a:pt x="385687" y="401376"/>
                  </a:lnTo>
                  <a:cubicBezTo>
                    <a:pt x="385687" y="377001"/>
                    <a:pt x="367155" y="356916"/>
                    <a:pt x="343438" y="354416"/>
                  </a:cubicBezTo>
                  <a:lnTo>
                    <a:pt x="343438" y="136486"/>
                  </a:lnTo>
                  <a:cubicBezTo>
                    <a:pt x="355678" y="134143"/>
                    <a:pt x="364944" y="123404"/>
                    <a:pt x="364944" y="110505"/>
                  </a:cubicBezTo>
                  <a:lnTo>
                    <a:pt x="364944" y="68757"/>
                  </a:lnTo>
                  <a:lnTo>
                    <a:pt x="585032" y="9793"/>
                  </a:lnTo>
                  <a:cubicBezTo>
                    <a:pt x="587664" y="9082"/>
                    <a:pt x="589244" y="6345"/>
                    <a:pt x="588533" y="3686"/>
                  </a:cubicBezTo>
                  <a:cubicBezTo>
                    <a:pt x="587822" y="1106"/>
                    <a:pt x="585453" y="-578"/>
                    <a:pt x="582426" y="185"/>
                  </a:cubicBezTo>
                  <a:lnTo>
                    <a:pt x="364944" y="58464"/>
                  </a:lnTo>
                  <a:lnTo>
                    <a:pt x="364944" y="37353"/>
                  </a:lnTo>
                  <a:cubicBezTo>
                    <a:pt x="364944" y="22744"/>
                    <a:pt x="353072" y="10872"/>
                    <a:pt x="338437" y="10872"/>
                  </a:cubicBezTo>
                  <a:cubicBezTo>
                    <a:pt x="323827" y="10872"/>
                    <a:pt x="311956" y="22744"/>
                    <a:pt x="311956" y="37353"/>
                  </a:cubicBezTo>
                  <a:lnTo>
                    <a:pt x="311956" y="72574"/>
                  </a:lnTo>
                  <a:lnTo>
                    <a:pt x="89209" y="132353"/>
                  </a:lnTo>
                  <a:cubicBezTo>
                    <a:pt x="89183" y="132353"/>
                    <a:pt x="89157" y="132327"/>
                    <a:pt x="89130" y="132327"/>
                  </a:cubicBezTo>
                  <a:cubicBezTo>
                    <a:pt x="88183" y="132327"/>
                    <a:pt x="87314" y="132669"/>
                    <a:pt x="86577" y="133143"/>
                  </a:cubicBezTo>
                  <a:cubicBezTo>
                    <a:pt x="86235" y="133275"/>
                    <a:pt x="85919" y="133433"/>
                    <a:pt x="85603" y="133617"/>
                  </a:cubicBezTo>
                  <a:cubicBezTo>
                    <a:pt x="84866" y="133985"/>
                    <a:pt x="84208" y="134459"/>
                    <a:pt x="83734" y="135170"/>
                  </a:cubicBezTo>
                  <a:lnTo>
                    <a:pt x="2895" y="258310"/>
                  </a:lnTo>
                  <a:cubicBezTo>
                    <a:pt x="1263" y="259126"/>
                    <a:pt x="79" y="260837"/>
                    <a:pt x="26" y="263048"/>
                  </a:cubicBezTo>
                  <a:cubicBezTo>
                    <a:pt x="26" y="263074"/>
                    <a:pt x="0" y="263495"/>
                    <a:pt x="0" y="263522"/>
                  </a:cubicBezTo>
                  <a:cubicBezTo>
                    <a:pt x="0" y="312667"/>
                    <a:pt x="39985" y="352652"/>
                    <a:pt x="89130" y="352652"/>
                  </a:cubicBezTo>
                  <a:cubicBezTo>
                    <a:pt x="138275" y="352652"/>
                    <a:pt x="178208" y="312667"/>
                    <a:pt x="178208" y="263443"/>
                  </a:cubicBezTo>
                  <a:close/>
                  <a:moveTo>
                    <a:pt x="84102" y="257757"/>
                  </a:moveTo>
                  <a:lnTo>
                    <a:pt x="15109" y="257757"/>
                  </a:lnTo>
                  <a:lnTo>
                    <a:pt x="84102" y="152675"/>
                  </a:lnTo>
                  <a:lnTo>
                    <a:pt x="84102" y="257757"/>
                  </a:lnTo>
                  <a:close/>
                  <a:moveTo>
                    <a:pt x="94053" y="257757"/>
                  </a:moveTo>
                  <a:lnTo>
                    <a:pt x="94053" y="152306"/>
                  </a:lnTo>
                  <a:lnTo>
                    <a:pt x="164230" y="257757"/>
                  </a:lnTo>
                  <a:lnTo>
                    <a:pt x="94053" y="257757"/>
                  </a:lnTo>
                  <a:close/>
                  <a:moveTo>
                    <a:pt x="168152" y="267707"/>
                  </a:moveTo>
                  <a:cubicBezTo>
                    <a:pt x="165967" y="309903"/>
                    <a:pt x="131563" y="342702"/>
                    <a:pt x="89077" y="342702"/>
                  </a:cubicBezTo>
                  <a:cubicBezTo>
                    <a:pt x="47329" y="342702"/>
                    <a:pt x="12214" y="309219"/>
                    <a:pt x="10029" y="267707"/>
                  </a:cubicBezTo>
                  <a:lnTo>
                    <a:pt x="168152" y="267707"/>
                  </a:lnTo>
                  <a:close/>
                  <a:moveTo>
                    <a:pt x="375684" y="401376"/>
                  </a:moveTo>
                  <a:lnTo>
                    <a:pt x="375684" y="470343"/>
                  </a:lnTo>
                  <a:lnTo>
                    <a:pt x="301137" y="470343"/>
                  </a:lnTo>
                  <a:lnTo>
                    <a:pt x="301137" y="401376"/>
                  </a:lnTo>
                  <a:cubicBezTo>
                    <a:pt x="301137" y="380818"/>
                    <a:pt x="317852" y="364102"/>
                    <a:pt x="338410" y="364102"/>
                  </a:cubicBezTo>
                  <a:cubicBezTo>
                    <a:pt x="358969" y="364102"/>
                    <a:pt x="375684" y="380818"/>
                    <a:pt x="375684" y="401376"/>
                  </a:cubicBezTo>
                  <a:close/>
                  <a:moveTo>
                    <a:pt x="386240" y="480266"/>
                  </a:moveTo>
                  <a:lnTo>
                    <a:pt x="386240" y="491454"/>
                  </a:lnTo>
                  <a:lnTo>
                    <a:pt x="290555" y="491454"/>
                  </a:lnTo>
                  <a:lnTo>
                    <a:pt x="290555" y="480266"/>
                  </a:lnTo>
                  <a:lnTo>
                    <a:pt x="296135" y="480266"/>
                  </a:lnTo>
                  <a:lnTo>
                    <a:pt x="380633" y="480266"/>
                  </a:lnTo>
                  <a:lnTo>
                    <a:pt x="386240" y="480266"/>
                  </a:lnTo>
                  <a:close/>
                  <a:moveTo>
                    <a:pt x="444361" y="501404"/>
                  </a:moveTo>
                  <a:lnTo>
                    <a:pt x="444361" y="512565"/>
                  </a:lnTo>
                  <a:lnTo>
                    <a:pt x="232486" y="512565"/>
                  </a:lnTo>
                  <a:lnTo>
                    <a:pt x="232486" y="501404"/>
                  </a:lnTo>
                  <a:lnTo>
                    <a:pt x="285606" y="501404"/>
                  </a:lnTo>
                  <a:lnTo>
                    <a:pt x="391241" y="501404"/>
                  </a:lnTo>
                  <a:lnTo>
                    <a:pt x="444361" y="501404"/>
                  </a:lnTo>
                  <a:close/>
                  <a:moveTo>
                    <a:pt x="338410" y="20796"/>
                  </a:moveTo>
                  <a:cubicBezTo>
                    <a:pt x="347545" y="20796"/>
                    <a:pt x="354941" y="28219"/>
                    <a:pt x="354941" y="37327"/>
                  </a:cubicBezTo>
                  <a:lnTo>
                    <a:pt x="354941" y="110479"/>
                  </a:lnTo>
                  <a:cubicBezTo>
                    <a:pt x="354941" y="119613"/>
                    <a:pt x="347518" y="127010"/>
                    <a:pt x="338410" y="127010"/>
                  </a:cubicBezTo>
                  <a:cubicBezTo>
                    <a:pt x="329303" y="127010"/>
                    <a:pt x="321879" y="119587"/>
                    <a:pt x="321879" y="110479"/>
                  </a:cubicBezTo>
                  <a:lnTo>
                    <a:pt x="321879" y="37327"/>
                  </a:lnTo>
                  <a:cubicBezTo>
                    <a:pt x="321879" y="28219"/>
                    <a:pt x="329303" y="20796"/>
                    <a:pt x="338410" y="20796"/>
                  </a:cubicBezTo>
                  <a:close/>
                </a:path>
              </a:pathLst>
            </a:custGeom>
            <a:solidFill>
              <a:schemeClr val="tx2"/>
            </a:solidFill>
            <a:ln w="2628" cap="flat">
              <a:noFill/>
              <a:prstDash val="solid"/>
              <a:miter/>
            </a:ln>
          </p:spPr>
          <p:txBody>
            <a:bodyPr rtlCol="0" anchor="ctr"/>
            <a:lstStyle/>
            <a:p>
              <a:endParaRPr lang="en-GB" dirty="0"/>
            </a:p>
          </p:txBody>
        </p:sp>
        <p:sp>
          <p:nvSpPr>
            <p:cNvPr id="225" name="Freihandform: Form 848">
              <a:extLst>
                <a:ext uri="{FF2B5EF4-FFF2-40B4-BE49-F238E27FC236}">
                  <a16:creationId xmlns:a16="http://schemas.microsoft.com/office/drawing/2014/main" id="{934C6A8E-A5B1-4CAB-9901-7AEF0E98B327}"/>
                </a:ext>
              </a:extLst>
            </p:cNvPr>
            <p:cNvSpPr/>
            <p:nvPr/>
          </p:nvSpPr>
          <p:spPr>
            <a:xfrm>
              <a:off x="7334240" y="3290072"/>
              <a:ext cx="178234" cy="220350"/>
            </a:xfrm>
            <a:custGeom>
              <a:avLst/>
              <a:gdLst>
                <a:gd name="connsiteX0" fmla="*/ 177866 w 178234"/>
                <a:gd name="connsiteY0" fmla="*/ 128668 h 220350"/>
                <a:gd name="connsiteX1" fmla="*/ 177839 w 178234"/>
                <a:gd name="connsiteY1" fmla="*/ 128483 h 220350"/>
                <a:gd name="connsiteX2" fmla="*/ 177839 w 178234"/>
                <a:gd name="connsiteY2" fmla="*/ 128457 h 220350"/>
                <a:gd name="connsiteX3" fmla="*/ 177129 w 178234"/>
                <a:gd name="connsiteY3" fmla="*/ 126772 h 220350"/>
                <a:gd name="connsiteX4" fmla="*/ 94447 w 178234"/>
                <a:gd name="connsiteY4" fmla="*/ 2501 h 220350"/>
                <a:gd name="connsiteX5" fmla="*/ 91105 w 178234"/>
                <a:gd name="connsiteY5" fmla="*/ 421 h 220350"/>
                <a:gd name="connsiteX6" fmla="*/ 89130 w 178234"/>
                <a:gd name="connsiteY6" fmla="*/ 0 h 220350"/>
                <a:gd name="connsiteX7" fmla="*/ 86314 w 178234"/>
                <a:gd name="connsiteY7" fmla="*/ 1000 h 220350"/>
                <a:gd name="connsiteX8" fmla="*/ 83734 w 178234"/>
                <a:gd name="connsiteY8" fmla="*/ 2869 h 220350"/>
                <a:gd name="connsiteX9" fmla="*/ 2922 w 178234"/>
                <a:gd name="connsiteY9" fmla="*/ 125956 h 220350"/>
                <a:gd name="connsiteX10" fmla="*/ 26 w 178234"/>
                <a:gd name="connsiteY10" fmla="*/ 130668 h 220350"/>
                <a:gd name="connsiteX11" fmla="*/ 0 w 178234"/>
                <a:gd name="connsiteY11" fmla="*/ 131221 h 220350"/>
                <a:gd name="connsiteX12" fmla="*/ 89130 w 178234"/>
                <a:gd name="connsiteY12" fmla="*/ 220351 h 220350"/>
                <a:gd name="connsiteX13" fmla="*/ 178234 w 178234"/>
                <a:gd name="connsiteY13" fmla="*/ 131142 h 220350"/>
                <a:gd name="connsiteX14" fmla="*/ 178208 w 178234"/>
                <a:gd name="connsiteY14" fmla="*/ 130405 h 220350"/>
                <a:gd name="connsiteX15" fmla="*/ 177866 w 178234"/>
                <a:gd name="connsiteY15" fmla="*/ 128668 h 220350"/>
                <a:gd name="connsiteX16" fmla="*/ 89157 w 178234"/>
                <a:gd name="connsiteY16" fmla="*/ 210401 h 220350"/>
                <a:gd name="connsiteX17" fmla="*/ 10082 w 178234"/>
                <a:gd name="connsiteY17" fmla="*/ 135406 h 220350"/>
                <a:gd name="connsiteX18" fmla="*/ 168205 w 178234"/>
                <a:gd name="connsiteY18" fmla="*/ 135406 h 220350"/>
                <a:gd name="connsiteX19" fmla="*/ 89157 w 178234"/>
                <a:gd name="connsiteY19" fmla="*/ 210401 h 220350"/>
                <a:gd name="connsiteX20" fmla="*/ 94132 w 178234"/>
                <a:gd name="connsiteY20" fmla="*/ 19979 h 220350"/>
                <a:gd name="connsiteX21" fmla="*/ 164283 w 178234"/>
                <a:gd name="connsiteY21" fmla="*/ 125430 h 220350"/>
                <a:gd name="connsiteX22" fmla="*/ 94132 w 178234"/>
                <a:gd name="connsiteY22" fmla="*/ 125430 h 220350"/>
                <a:gd name="connsiteX23" fmla="*/ 94132 w 178234"/>
                <a:gd name="connsiteY23" fmla="*/ 19979 h 220350"/>
                <a:gd name="connsiteX24" fmla="*/ 84155 w 178234"/>
                <a:gd name="connsiteY24" fmla="*/ 125430 h 220350"/>
                <a:gd name="connsiteX25" fmla="*/ 15162 w 178234"/>
                <a:gd name="connsiteY25" fmla="*/ 125430 h 220350"/>
                <a:gd name="connsiteX26" fmla="*/ 84155 w 178234"/>
                <a:gd name="connsiteY26" fmla="*/ 20348 h 220350"/>
                <a:gd name="connsiteX27" fmla="*/ 84155 w 178234"/>
                <a:gd name="connsiteY27" fmla="*/ 125430 h 220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8234" h="220350">
                  <a:moveTo>
                    <a:pt x="177866" y="128668"/>
                  </a:moveTo>
                  <a:cubicBezTo>
                    <a:pt x="177866" y="128615"/>
                    <a:pt x="177839" y="128536"/>
                    <a:pt x="177839" y="128483"/>
                  </a:cubicBezTo>
                  <a:cubicBezTo>
                    <a:pt x="177839" y="128483"/>
                    <a:pt x="177839" y="128457"/>
                    <a:pt x="177839" y="128457"/>
                  </a:cubicBezTo>
                  <a:cubicBezTo>
                    <a:pt x="177708" y="127852"/>
                    <a:pt x="177497" y="127272"/>
                    <a:pt x="177129" y="126772"/>
                  </a:cubicBezTo>
                  <a:lnTo>
                    <a:pt x="94447" y="2501"/>
                  </a:lnTo>
                  <a:cubicBezTo>
                    <a:pt x="93684" y="1343"/>
                    <a:pt x="92447" y="632"/>
                    <a:pt x="91105" y="421"/>
                  </a:cubicBezTo>
                  <a:cubicBezTo>
                    <a:pt x="90499" y="158"/>
                    <a:pt x="89841" y="0"/>
                    <a:pt x="89130" y="0"/>
                  </a:cubicBezTo>
                  <a:cubicBezTo>
                    <a:pt x="88051" y="0"/>
                    <a:pt x="87130" y="421"/>
                    <a:pt x="86314" y="1000"/>
                  </a:cubicBezTo>
                  <a:cubicBezTo>
                    <a:pt x="85287" y="1343"/>
                    <a:pt x="84339" y="1922"/>
                    <a:pt x="83734" y="2869"/>
                  </a:cubicBezTo>
                  <a:lnTo>
                    <a:pt x="2922" y="125956"/>
                  </a:lnTo>
                  <a:cubicBezTo>
                    <a:pt x="1264" y="126772"/>
                    <a:pt x="53" y="128510"/>
                    <a:pt x="26" y="130668"/>
                  </a:cubicBezTo>
                  <a:lnTo>
                    <a:pt x="0" y="131221"/>
                  </a:lnTo>
                  <a:cubicBezTo>
                    <a:pt x="0" y="180366"/>
                    <a:pt x="39985" y="220351"/>
                    <a:pt x="89130" y="220351"/>
                  </a:cubicBezTo>
                  <a:cubicBezTo>
                    <a:pt x="138276" y="220351"/>
                    <a:pt x="178234" y="180366"/>
                    <a:pt x="178234" y="131142"/>
                  </a:cubicBezTo>
                  <a:lnTo>
                    <a:pt x="178208" y="130405"/>
                  </a:lnTo>
                  <a:cubicBezTo>
                    <a:pt x="178234" y="129799"/>
                    <a:pt x="178076" y="129220"/>
                    <a:pt x="177866" y="128668"/>
                  </a:cubicBezTo>
                  <a:close/>
                  <a:moveTo>
                    <a:pt x="89157" y="210401"/>
                  </a:moveTo>
                  <a:cubicBezTo>
                    <a:pt x="47382" y="210401"/>
                    <a:pt x="12267" y="176918"/>
                    <a:pt x="10082" y="135406"/>
                  </a:cubicBezTo>
                  <a:lnTo>
                    <a:pt x="168205" y="135406"/>
                  </a:lnTo>
                  <a:cubicBezTo>
                    <a:pt x="166020" y="177576"/>
                    <a:pt x="131616" y="210401"/>
                    <a:pt x="89157" y="210401"/>
                  </a:cubicBezTo>
                  <a:close/>
                  <a:moveTo>
                    <a:pt x="94132" y="19979"/>
                  </a:moveTo>
                  <a:lnTo>
                    <a:pt x="164283" y="125430"/>
                  </a:lnTo>
                  <a:lnTo>
                    <a:pt x="94132" y="125430"/>
                  </a:lnTo>
                  <a:lnTo>
                    <a:pt x="94132" y="19979"/>
                  </a:lnTo>
                  <a:close/>
                  <a:moveTo>
                    <a:pt x="84155" y="125430"/>
                  </a:moveTo>
                  <a:lnTo>
                    <a:pt x="15162" y="125430"/>
                  </a:lnTo>
                  <a:lnTo>
                    <a:pt x="84155" y="20348"/>
                  </a:lnTo>
                  <a:lnTo>
                    <a:pt x="84155" y="125430"/>
                  </a:lnTo>
                  <a:close/>
                </a:path>
              </a:pathLst>
            </a:custGeom>
            <a:solidFill>
              <a:schemeClr val="accent1"/>
            </a:solidFill>
            <a:ln w="2628" cap="flat">
              <a:noFill/>
              <a:prstDash val="solid"/>
              <a:miter/>
            </a:ln>
          </p:spPr>
          <p:txBody>
            <a:bodyPr rtlCol="0" anchor="ctr"/>
            <a:lstStyle/>
            <a:p>
              <a:endParaRPr lang="en-GB" dirty="0"/>
            </a:p>
          </p:txBody>
        </p:sp>
      </p:grpSp>
      <p:grpSp>
        <p:nvGrpSpPr>
          <p:cNvPr id="226" name="Group 225">
            <a:extLst>
              <a:ext uri="{FF2B5EF4-FFF2-40B4-BE49-F238E27FC236}">
                <a16:creationId xmlns:a16="http://schemas.microsoft.com/office/drawing/2014/main" id="{45E7C85C-BE13-435A-9B0F-62F6000F62A2}"/>
              </a:ext>
            </a:extLst>
          </p:cNvPr>
          <p:cNvGrpSpPr>
            <a:grpSpLocks noChangeAspect="1"/>
          </p:cNvGrpSpPr>
          <p:nvPr/>
        </p:nvGrpSpPr>
        <p:grpSpPr>
          <a:xfrm>
            <a:off x="598357" y="3197069"/>
            <a:ext cx="391386" cy="432001"/>
            <a:chOff x="6129929" y="3259485"/>
            <a:chExt cx="456864" cy="504273"/>
          </a:xfrm>
        </p:grpSpPr>
        <p:sp>
          <p:nvSpPr>
            <p:cNvPr id="227" name="Freihandform: Form 873">
              <a:extLst>
                <a:ext uri="{FF2B5EF4-FFF2-40B4-BE49-F238E27FC236}">
                  <a16:creationId xmlns:a16="http://schemas.microsoft.com/office/drawing/2014/main" id="{216624DD-980E-4457-BA61-C8D74C442B83}"/>
                </a:ext>
              </a:extLst>
            </p:cNvPr>
            <p:cNvSpPr/>
            <p:nvPr/>
          </p:nvSpPr>
          <p:spPr>
            <a:xfrm>
              <a:off x="6204043" y="3355802"/>
              <a:ext cx="308611" cy="407956"/>
            </a:xfrm>
            <a:custGeom>
              <a:avLst/>
              <a:gdLst>
                <a:gd name="connsiteX0" fmla="*/ 4961 w 308611"/>
                <a:gd name="connsiteY0" fmla="*/ 348571 h 407956"/>
                <a:gd name="connsiteX1" fmla="*/ 539 w 308611"/>
                <a:gd name="connsiteY1" fmla="*/ 357363 h 407956"/>
                <a:gd name="connsiteX2" fmla="*/ 2303 w 308611"/>
                <a:gd name="connsiteY2" fmla="*/ 363786 h 407956"/>
                <a:gd name="connsiteX3" fmla="*/ 154293 w 308611"/>
                <a:gd name="connsiteY3" fmla="*/ 407956 h 407956"/>
                <a:gd name="connsiteX4" fmla="*/ 306309 w 308611"/>
                <a:gd name="connsiteY4" fmla="*/ 363786 h 407956"/>
                <a:gd name="connsiteX5" fmla="*/ 308072 w 308611"/>
                <a:gd name="connsiteY5" fmla="*/ 357363 h 407956"/>
                <a:gd name="connsiteX6" fmla="*/ 274274 w 308611"/>
                <a:gd name="connsiteY6" fmla="*/ 290160 h 407956"/>
                <a:gd name="connsiteX7" fmla="*/ 269377 w 308611"/>
                <a:gd name="connsiteY7" fmla="*/ 285264 h 407956"/>
                <a:gd name="connsiteX8" fmla="*/ 267640 w 308611"/>
                <a:gd name="connsiteY8" fmla="*/ 284764 h 407956"/>
                <a:gd name="connsiteX9" fmla="*/ 200147 w 308611"/>
                <a:gd name="connsiteY9" fmla="*/ 265864 h 407956"/>
                <a:gd name="connsiteX10" fmla="*/ 196725 w 308611"/>
                <a:gd name="connsiteY10" fmla="*/ 261389 h 407956"/>
                <a:gd name="connsiteX11" fmla="*/ 196725 w 308611"/>
                <a:gd name="connsiteY11" fmla="*/ 235171 h 407956"/>
                <a:gd name="connsiteX12" fmla="*/ 196541 w 308611"/>
                <a:gd name="connsiteY12" fmla="*/ 234329 h 407956"/>
                <a:gd name="connsiteX13" fmla="*/ 257822 w 308611"/>
                <a:gd name="connsiteY13" fmla="*/ 122376 h 407956"/>
                <a:gd name="connsiteX14" fmla="*/ 155372 w 308611"/>
                <a:gd name="connsiteY14" fmla="*/ 0 h 407956"/>
                <a:gd name="connsiteX15" fmla="*/ 52948 w 308611"/>
                <a:gd name="connsiteY15" fmla="*/ 122376 h 407956"/>
                <a:gd name="connsiteX16" fmla="*/ 111623 w 308611"/>
                <a:gd name="connsiteY16" fmla="*/ 232828 h 407956"/>
                <a:gd name="connsiteX17" fmla="*/ 111386 w 308611"/>
                <a:gd name="connsiteY17" fmla="*/ 234039 h 407956"/>
                <a:gd name="connsiteX18" fmla="*/ 111386 w 308611"/>
                <a:gd name="connsiteY18" fmla="*/ 261363 h 407956"/>
                <a:gd name="connsiteX19" fmla="*/ 107937 w 308611"/>
                <a:gd name="connsiteY19" fmla="*/ 265890 h 407956"/>
                <a:gd name="connsiteX20" fmla="*/ 40498 w 308611"/>
                <a:gd name="connsiteY20" fmla="*/ 284869 h 407956"/>
                <a:gd name="connsiteX21" fmla="*/ 38655 w 308611"/>
                <a:gd name="connsiteY21" fmla="*/ 285527 h 407956"/>
                <a:gd name="connsiteX22" fmla="*/ 34259 w 308611"/>
                <a:gd name="connsiteY22" fmla="*/ 290160 h 407956"/>
                <a:gd name="connsiteX23" fmla="*/ 4961 w 308611"/>
                <a:gd name="connsiteY23" fmla="*/ 348571 h 407956"/>
                <a:gd name="connsiteX24" fmla="*/ 121389 w 308611"/>
                <a:gd name="connsiteY24" fmla="*/ 237619 h 407956"/>
                <a:gd name="connsiteX25" fmla="*/ 155424 w 308611"/>
                <a:gd name="connsiteY25" fmla="*/ 244726 h 407956"/>
                <a:gd name="connsiteX26" fmla="*/ 186802 w 308611"/>
                <a:gd name="connsiteY26" fmla="*/ 238804 h 407956"/>
                <a:gd name="connsiteX27" fmla="*/ 186802 w 308611"/>
                <a:gd name="connsiteY27" fmla="*/ 261415 h 407956"/>
                <a:gd name="connsiteX28" fmla="*/ 197489 w 308611"/>
                <a:gd name="connsiteY28" fmla="*/ 275498 h 407956"/>
                <a:gd name="connsiteX29" fmla="*/ 264876 w 308611"/>
                <a:gd name="connsiteY29" fmla="*/ 294345 h 407956"/>
                <a:gd name="connsiteX30" fmla="*/ 265245 w 308611"/>
                <a:gd name="connsiteY30" fmla="*/ 294451 h 407956"/>
                <a:gd name="connsiteX31" fmla="*/ 265455 w 308611"/>
                <a:gd name="connsiteY31" fmla="*/ 294767 h 407956"/>
                <a:gd name="connsiteX32" fmla="*/ 297148 w 308611"/>
                <a:gd name="connsiteY32" fmla="*/ 357784 h 407956"/>
                <a:gd name="connsiteX33" fmla="*/ 154293 w 308611"/>
                <a:gd name="connsiteY33" fmla="*/ 398032 h 407956"/>
                <a:gd name="connsiteX34" fmla="*/ 11437 w 308611"/>
                <a:gd name="connsiteY34" fmla="*/ 357784 h 407956"/>
                <a:gd name="connsiteX35" fmla="*/ 13806 w 308611"/>
                <a:gd name="connsiteY35" fmla="*/ 353072 h 407956"/>
                <a:gd name="connsiteX36" fmla="*/ 43130 w 308611"/>
                <a:gd name="connsiteY36" fmla="*/ 294767 h 407956"/>
                <a:gd name="connsiteX37" fmla="*/ 43314 w 308611"/>
                <a:gd name="connsiteY37" fmla="*/ 294477 h 407956"/>
                <a:gd name="connsiteX38" fmla="*/ 43630 w 308611"/>
                <a:gd name="connsiteY38" fmla="*/ 294398 h 407956"/>
                <a:gd name="connsiteX39" fmla="*/ 110649 w 308611"/>
                <a:gd name="connsiteY39" fmla="*/ 275525 h 407956"/>
                <a:gd name="connsiteX40" fmla="*/ 121362 w 308611"/>
                <a:gd name="connsiteY40" fmla="*/ 261415 h 407956"/>
                <a:gd name="connsiteX41" fmla="*/ 121362 w 308611"/>
                <a:gd name="connsiteY41" fmla="*/ 237619 h 407956"/>
                <a:gd name="connsiteX42" fmla="*/ 155424 w 308611"/>
                <a:gd name="connsiteY42" fmla="*/ 9950 h 407956"/>
                <a:gd name="connsiteX43" fmla="*/ 247924 w 308611"/>
                <a:gd name="connsiteY43" fmla="*/ 122376 h 407956"/>
                <a:gd name="connsiteX44" fmla="*/ 155424 w 308611"/>
                <a:gd name="connsiteY44" fmla="*/ 234776 h 407956"/>
                <a:gd name="connsiteX45" fmla="*/ 62951 w 308611"/>
                <a:gd name="connsiteY45" fmla="*/ 122376 h 407956"/>
                <a:gd name="connsiteX46" fmla="*/ 155424 w 308611"/>
                <a:gd name="connsiteY46" fmla="*/ 9950 h 407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08611" h="407956">
                  <a:moveTo>
                    <a:pt x="4961" y="348571"/>
                  </a:moveTo>
                  <a:lnTo>
                    <a:pt x="539" y="357363"/>
                  </a:lnTo>
                  <a:cubicBezTo>
                    <a:pt x="-619" y="359653"/>
                    <a:pt x="144" y="362417"/>
                    <a:pt x="2303" y="363786"/>
                  </a:cubicBezTo>
                  <a:cubicBezTo>
                    <a:pt x="47684" y="392689"/>
                    <a:pt x="100251" y="407956"/>
                    <a:pt x="154293" y="407956"/>
                  </a:cubicBezTo>
                  <a:cubicBezTo>
                    <a:pt x="208308" y="407956"/>
                    <a:pt x="260875" y="392689"/>
                    <a:pt x="306309" y="363786"/>
                  </a:cubicBezTo>
                  <a:cubicBezTo>
                    <a:pt x="308467" y="362417"/>
                    <a:pt x="309231" y="359653"/>
                    <a:pt x="308072" y="357363"/>
                  </a:cubicBezTo>
                  <a:cubicBezTo>
                    <a:pt x="285277" y="311929"/>
                    <a:pt x="275484" y="292477"/>
                    <a:pt x="274274" y="290160"/>
                  </a:cubicBezTo>
                  <a:cubicBezTo>
                    <a:pt x="272615" y="286949"/>
                    <a:pt x="270114" y="285606"/>
                    <a:pt x="269377" y="285264"/>
                  </a:cubicBezTo>
                  <a:cubicBezTo>
                    <a:pt x="268904" y="285053"/>
                    <a:pt x="267824" y="284790"/>
                    <a:pt x="267640" y="284764"/>
                  </a:cubicBezTo>
                  <a:lnTo>
                    <a:pt x="200147" y="265864"/>
                  </a:lnTo>
                  <a:cubicBezTo>
                    <a:pt x="198121" y="265311"/>
                    <a:pt x="196725" y="263468"/>
                    <a:pt x="196725" y="261389"/>
                  </a:cubicBezTo>
                  <a:lnTo>
                    <a:pt x="196725" y="235171"/>
                  </a:lnTo>
                  <a:cubicBezTo>
                    <a:pt x="196725" y="234855"/>
                    <a:pt x="196594" y="234618"/>
                    <a:pt x="196541" y="234329"/>
                  </a:cubicBezTo>
                  <a:cubicBezTo>
                    <a:pt x="232578" y="215350"/>
                    <a:pt x="257822" y="172338"/>
                    <a:pt x="257822" y="122376"/>
                  </a:cubicBezTo>
                  <a:cubicBezTo>
                    <a:pt x="257822" y="54910"/>
                    <a:pt x="211861" y="0"/>
                    <a:pt x="155372" y="0"/>
                  </a:cubicBezTo>
                  <a:cubicBezTo>
                    <a:pt x="98909" y="0"/>
                    <a:pt x="52948" y="54884"/>
                    <a:pt x="52948" y="122376"/>
                  </a:cubicBezTo>
                  <a:cubicBezTo>
                    <a:pt x="52948" y="171127"/>
                    <a:pt x="77008" y="213191"/>
                    <a:pt x="111623" y="232828"/>
                  </a:cubicBezTo>
                  <a:cubicBezTo>
                    <a:pt x="111517" y="233223"/>
                    <a:pt x="111386" y="233618"/>
                    <a:pt x="111386" y="234039"/>
                  </a:cubicBezTo>
                  <a:lnTo>
                    <a:pt x="111386" y="261363"/>
                  </a:lnTo>
                  <a:cubicBezTo>
                    <a:pt x="111386" y="263495"/>
                    <a:pt x="110017" y="265311"/>
                    <a:pt x="107937" y="265890"/>
                  </a:cubicBezTo>
                  <a:lnTo>
                    <a:pt x="40498" y="284869"/>
                  </a:lnTo>
                  <a:cubicBezTo>
                    <a:pt x="39813" y="284974"/>
                    <a:pt x="39181" y="285211"/>
                    <a:pt x="38655" y="285527"/>
                  </a:cubicBezTo>
                  <a:cubicBezTo>
                    <a:pt x="36338" y="286817"/>
                    <a:pt x="34996" y="288765"/>
                    <a:pt x="34259" y="290160"/>
                  </a:cubicBezTo>
                  <a:cubicBezTo>
                    <a:pt x="32785" y="293108"/>
                    <a:pt x="18044" y="322459"/>
                    <a:pt x="4961" y="348571"/>
                  </a:cubicBezTo>
                  <a:close/>
                  <a:moveTo>
                    <a:pt x="121389" y="237619"/>
                  </a:moveTo>
                  <a:cubicBezTo>
                    <a:pt x="132050" y="242120"/>
                    <a:pt x="143474" y="244726"/>
                    <a:pt x="155424" y="244726"/>
                  </a:cubicBezTo>
                  <a:cubicBezTo>
                    <a:pt x="166375" y="244726"/>
                    <a:pt x="176904" y="242621"/>
                    <a:pt x="186802" y="238804"/>
                  </a:cubicBezTo>
                  <a:lnTo>
                    <a:pt x="186802" y="261415"/>
                  </a:lnTo>
                  <a:cubicBezTo>
                    <a:pt x="186802" y="267943"/>
                    <a:pt x="191198" y="273734"/>
                    <a:pt x="197489" y="275498"/>
                  </a:cubicBezTo>
                  <a:lnTo>
                    <a:pt x="264876" y="294345"/>
                  </a:lnTo>
                  <a:cubicBezTo>
                    <a:pt x="265008" y="294372"/>
                    <a:pt x="265113" y="294425"/>
                    <a:pt x="265245" y="294451"/>
                  </a:cubicBezTo>
                  <a:cubicBezTo>
                    <a:pt x="265324" y="294530"/>
                    <a:pt x="265376" y="294635"/>
                    <a:pt x="265455" y="294767"/>
                  </a:cubicBezTo>
                  <a:cubicBezTo>
                    <a:pt x="266719" y="297162"/>
                    <a:pt x="278801" y="321221"/>
                    <a:pt x="297148" y="357784"/>
                  </a:cubicBezTo>
                  <a:cubicBezTo>
                    <a:pt x="254215" y="384134"/>
                    <a:pt x="204859" y="398032"/>
                    <a:pt x="154293" y="398032"/>
                  </a:cubicBezTo>
                  <a:cubicBezTo>
                    <a:pt x="103699" y="398032"/>
                    <a:pt x="54317" y="384134"/>
                    <a:pt x="11437" y="357784"/>
                  </a:cubicBezTo>
                  <a:lnTo>
                    <a:pt x="13806" y="353072"/>
                  </a:lnTo>
                  <a:cubicBezTo>
                    <a:pt x="30626" y="319510"/>
                    <a:pt x="41919" y="297057"/>
                    <a:pt x="43130" y="294767"/>
                  </a:cubicBezTo>
                  <a:cubicBezTo>
                    <a:pt x="43183" y="294661"/>
                    <a:pt x="43261" y="294556"/>
                    <a:pt x="43314" y="294477"/>
                  </a:cubicBezTo>
                  <a:cubicBezTo>
                    <a:pt x="43419" y="294451"/>
                    <a:pt x="43525" y="294425"/>
                    <a:pt x="43630" y="294398"/>
                  </a:cubicBezTo>
                  <a:lnTo>
                    <a:pt x="110649" y="275525"/>
                  </a:lnTo>
                  <a:cubicBezTo>
                    <a:pt x="116940" y="273761"/>
                    <a:pt x="121362" y="267970"/>
                    <a:pt x="121362" y="261415"/>
                  </a:cubicBezTo>
                  <a:lnTo>
                    <a:pt x="121362" y="237619"/>
                  </a:lnTo>
                  <a:close/>
                  <a:moveTo>
                    <a:pt x="155424" y="9950"/>
                  </a:moveTo>
                  <a:cubicBezTo>
                    <a:pt x="206439" y="9950"/>
                    <a:pt x="247924" y="60385"/>
                    <a:pt x="247924" y="122376"/>
                  </a:cubicBezTo>
                  <a:cubicBezTo>
                    <a:pt x="247924" y="184341"/>
                    <a:pt x="206439" y="234776"/>
                    <a:pt x="155424" y="234776"/>
                  </a:cubicBezTo>
                  <a:cubicBezTo>
                    <a:pt x="104436" y="234776"/>
                    <a:pt x="62951" y="184341"/>
                    <a:pt x="62951" y="122376"/>
                  </a:cubicBezTo>
                  <a:cubicBezTo>
                    <a:pt x="62951" y="60359"/>
                    <a:pt x="104436" y="9950"/>
                    <a:pt x="155424" y="9950"/>
                  </a:cubicBezTo>
                  <a:close/>
                </a:path>
              </a:pathLst>
            </a:custGeom>
            <a:solidFill>
              <a:schemeClr val="tx2"/>
            </a:solidFill>
            <a:ln w="2628" cap="flat">
              <a:noFill/>
              <a:prstDash val="solid"/>
              <a:miter/>
            </a:ln>
          </p:spPr>
          <p:txBody>
            <a:bodyPr rtlCol="0" anchor="ctr"/>
            <a:lstStyle/>
            <a:p>
              <a:endParaRPr lang="en-GB" dirty="0"/>
            </a:p>
          </p:txBody>
        </p:sp>
        <p:sp>
          <p:nvSpPr>
            <p:cNvPr id="228" name="Freihandform: Form 874">
              <a:extLst>
                <a:ext uri="{FF2B5EF4-FFF2-40B4-BE49-F238E27FC236}">
                  <a16:creationId xmlns:a16="http://schemas.microsoft.com/office/drawing/2014/main" id="{29CBE809-2172-49A9-B367-98996116DC31}"/>
                </a:ext>
              </a:extLst>
            </p:cNvPr>
            <p:cNvSpPr/>
            <p:nvPr/>
          </p:nvSpPr>
          <p:spPr>
            <a:xfrm>
              <a:off x="6129929" y="3259485"/>
              <a:ext cx="456864" cy="461576"/>
            </a:xfrm>
            <a:custGeom>
              <a:avLst/>
              <a:gdLst>
                <a:gd name="connsiteX0" fmla="*/ 4975 w 456864"/>
                <a:gd name="connsiteY0" fmla="*/ 223036 h 461576"/>
                <a:gd name="connsiteX1" fmla="*/ 0 w 456864"/>
                <a:gd name="connsiteY1" fmla="*/ 228011 h 461576"/>
                <a:gd name="connsiteX2" fmla="*/ 4975 w 456864"/>
                <a:gd name="connsiteY2" fmla="*/ 232986 h 461576"/>
                <a:gd name="connsiteX3" fmla="*/ 41564 w 456864"/>
                <a:gd name="connsiteY3" fmla="*/ 232986 h 461576"/>
                <a:gd name="connsiteX4" fmla="*/ 224642 w 456864"/>
                <a:gd name="connsiteY4" fmla="*/ 415011 h 461576"/>
                <a:gd name="connsiteX5" fmla="*/ 224642 w 456864"/>
                <a:gd name="connsiteY5" fmla="*/ 456601 h 461576"/>
                <a:gd name="connsiteX6" fmla="*/ 229617 w 456864"/>
                <a:gd name="connsiteY6" fmla="*/ 461576 h 461576"/>
                <a:gd name="connsiteX7" fmla="*/ 234592 w 456864"/>
                <a:gd name="connsiteY7" fmla="*/ 456601 h 461576"/>
                <a:gd name="connsiteX8" fmla="*/ 234592 w 456864"/>
                <a:gd name="connsiteY8" fmla="*/ 414958 h 461576"/>
                <a:gd name="connsiteX9" fmla="*/ 415958 w 456864"/>
                <a:gd name="connsiteY9" fmla="*/ 232960 h 461576"/>
                <a:gd name="connsiteX10" fmla="*/ 451890 w 456864"/>
                <a:gd name="connsiteY10" fmla="*/ 232960 h 461576"/>
                <a:gd name="connsiteX11" fmla="*/ 456865 w 456864"/>
                <a:gd name="connsiteY11" fmla="*/ 227985 h 461576"/>
                <a:gd name="connsiteX12" fmla="*/ 451890 w 456864"/>
                <a:gd name="connsiteY12" fmla="*/ 223010 h 461576"/>
                <a:gd name="connsiteX13" fmla="*/ 415958 w 456864"/>
                <a:gd name="connsiteY13" fmla="*/ 223010 h 461576"/>
                <a:gd name="connsiteX14" fmla="*/ 234566 w 456864"/>
                <a:gd name="connsiteY14" fmla="*/ 40590 h 461576"/>
                <a:gd name="connsiteX15" fmla="*/ 234566 w 456864"/>
                <a:gd name="connsiteY15" fmla="*/ 4975 h 461576"/>
                <a:gd name="connsiteX16" fmla="*/ 229591 w 456864"/>
                <a:gd name="connsiteY16" fmla="*/ 0 h 461576"/>
                <a:gd name="connsiteX17" fmla="*/ 224615 w 456864"/>
                <a:gd name="connsiteY17" fmla="*/ 4975 h 461576"/>
                <a:gd name="connsiteX18" fmla="*/ 224615 w 456864"/>
                <a:gd name="connsiteY18" fmla="*/ 40538 h 461576"/>
                <a:gd name="connsiteX19" fmla="*/ 41538 w 456864"/>
                <a:gd name="connsiteY19" fmla="*/ 223010 h 461576"/>
                <a:gd name="connsiteX20" fmla="*/ 4975 w 456864"/>
                <a:gd name="connsiteY20" fmla="*/ 223010 h 461576"/>
                <a:gd name="connsiteX21" fmla="*/ 229617 w 456864"/>
                <a:gd name="connsiteY21" fmla="*/ 81260 h 461576"/>
                <a:gd name="connsiteX22" fmla="*/ 234592 w 456864"/>
                <a:gd name="connsiteY22" fmla="*/ 76284 h 461576"/>
                <a:gd name="connsiteX23" fmla="*/ 234592 w 456864"/>
                <a:gd name="connsiteY23" fmla="*/ 50593 h 461576"/>
                <a:gd name="connsiteX24" fmla="*/ 406035 w 456864"/>
                <a:gd name="connsiteY24" fmla="*/ 223062 h 461576"/>
                <a:gd name="connsiteX25" fmla="*/ 387135 w 456864"/>
                <a:gd name="connsiteY25" fmla="*/ 223062 h 461576"/>
                <a:gd name="connsiteX26" fmla="*/ 382160 w 456864"/>
                <a:gd name="connsiteY26" fmla="*/ 228037 h 461576"/>
                <a:gd name="connsiteX27" fmla="*/ 387135 w 456864"/>
                <a:gd name="connsiteY27" fmla="*/ 233012 h 461576"/>
                <a:gd name="connsiteX28" fmla="*/ 406035 w 456864"/>
                <a:gd name="connsiteY28" fmla="*/ 233012 h 461576"/>
                <a:gd name="connsiteX29" fmla="*/ 234618 w 456864"/>
                <a:gd name="connsiteY29" fmla="*/ 405034 h 461576"/>
                <a:gd name="connsiteX30" fmla="*/ 234618 w 456864"/>
                <a:gd name="connsiteY30" fmla="*/ 386924 h 461576"/>
                <a:gd name="connsiteX31" fmla="*/ 229643 w 456864"/>
                <a:gd name="connsiteY31" fmla="*/ 381949 h 461576"/>
                <a:gd name="connsiteX32" fmla="*/ 224668 w 456864"/>
                <a:gd name="connsiteY32" fmla="*/ 386924 h 461576"/>
                <a:gd name="connsiteX33" fmla="*/ 224668 w 456864"/>
                <a:gd name="connsiteY33" fmla="*/ 405087 h 461576"/>
                <a:gd name="connsiteX34" fmla="*/ 51541 w 456864"/>
                <a:gd name="connsiteY34" fmla="*/ 233012 h 461576"/>
                <a:gd name="connsiteX35" fmla="*/ 78969 w 456864"/>
                <a:gd name="connsiteY35" fmla="*/ 233012 h 461576"/>
                <a:gd name="connsiteX36" fmla="*/ 83944 w 456864"/>
                <a:gd name="connsiteY36" fmla="*/ 228037 h 461576"/>
                <a:gd name="connsiteX37" fmla="*/ 78969 w 456864"/>
                <a:gd name="connsiteY37" fmla="*/ 223062 h 461576"/>
                <a:gd name="connsiteX38" fmla="*/ 51514 w 456864"/>
                <a:gd name="connsiteY38" fmla="*/ 223062 h 461576"/>
                <a:gd name="connsiteX39" fmla="*/ 224642 w 456864"/>
                <a:gd name="connsiteY39" fmla="*/ 50567 h 461576"/>
                <a:gd name="connsiteX40" fmla="*/ 224642 w 456864"/>
                <a:gd name="connsiteY40" fmla="*/ 76311 h 461576"/>
                <a:gd name="connsiteX41" fmla="*/ 229617 w 456864"/>
                <a:gd name="connsiteY41" fmla="*/ 81260 h 46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56864" h="461576">
                  <a:moveTo>
                    <a:pt x="4975" y="223036"/>
                  </a:moveTo>
                  <a:cubicBezTo>
                    <a:pt x="2237" y="223036"/>
                    <a:pt x="0" y="225273"/>
                    <a:pt x="0" y="228011"/>
                  </a:cubicBezTo>
                  <a:cubicBezTo>
                    <a:pt x="0" y="230749"/>
                    <a:pt x="2237" y="232986"/>
                    <a:pt x="4975" y="232986"/>
                  </a:cubicBezTo>
                  <a:lnTo>
                    <a:pt x="41564" y="232986"/>
                  </a:lnTo>
                  <a:cubicBezTo>
                    <a:pt x="44302" y="332514"/>
                    <a:pt x="124982" y="412852"/>
                    <a:pt x="224642" y="415011"/>
                  </a:cubicBezTo>
                  <a:lnTo>
                    <a:pt x="224642" y="456601"/>
                  </a:lnTo>
                  <a:cubicBezTo>
                    <a:pt x="224642" y="459339"/>
                    <a:pt x="226879" y="461576"/>
                    <a:pt x="229617" y="461576"/>
                  </a:cubicBezTo>
                  <a:cubicBezTo>
                    <a:pt x="232354" y="461576"/>
                    <a:pt x="234592" y="459339"/>
                    <a:pt x="234592" y="456601"/>
                  </a:cubicBezTo>
                  <a:lnTo>
                    <a:pt x="234592" y="414958"/>
                  </a:lnTo>
                  <a:cubicBezTo>
                    <a:pt x="333462" y="411905"/>
                    <a:pt x="413247" y="331909"/>
                    <a:pt x="415958" y="232960"/>
                  </a:cubicBezTo>
                  <a:lnTo>
                    <a:pt x="451890" y="232960"/>
                  </a:lnTo>
                  <a:cubicBezTo>
                    <a:pt x="454627" y="232960"/>
                    <a:pt x="456865" y="230722"/>
                    <a:pt x="456865" y="227985"/>
                  </a:cubicBezTo>
                  <a:cubicBezTo>
                    <a:pt x="456865" y="225247"/>
                    <a:pt x="454627" y="223010"/>
                    <a:pt x="451890" y="223010"/>
                  </a:cubicBezTo>
                  <a:lnTo>
                    <a:pt x="415958" y="223010"/>
                  </a:lnTo>
                  <a:cubicBezTo>
                    <a:pt x="413458" y="123877"/>
                    <a:pt x="333593" y="43644"/>
                    <a:pt x="234566" y="40590"/>
                  </a:cubicBezTo>
                  <a:lnTo>
                    <a:pt x="234566" y="4975"/>
                  </a:lnTo>
                  <a:cubicBezTo>
                    <a:pt x="234566" y="2237"/>
                    <a:pt x="232328" y="0"/>
                    <a:pt x="229591" y="0"/>
                  </a:cubicBezTo>
                  <a:cubicBezTo>
                    <a:pt x="226853" y="0"/>
                    <a:pt x="224615" y="2237"/>
                    <a:pt x="224615" y="4975"/>
                  </a:cubicBezTo>
                  <a:lnTo>
                    <a:pt x="224615" y="40538"/>
                  </a:lnTo>
                  <a:cubicBezTo>
                    <a:pt x="124824" y="42696"/>
                    <a:pt x="44039" y="123271"/>
                    <a:pt x="41538" y="223010"/>
                  </a:cubicBezTo>
                  <a:lnTo>
                    <a:pt x="4975" y="223010"/>
                  </a:lnTo>
                  <a:close/>
                  <a:moveTo>
                    <a:pt x="229617" y="81260"/>
                  </a:moveTo>
                  <a:cubicBezTo>
                    <a:pt x="232354" y="81260"/>
                    <a:pt x="234592" y="79022"/>
                    <a:pt x="234592" y="76284"/>
                  </a:cubicBezTo>
                  <a:lnTo>
                    <a:pt x="234592" y="50593"/>
                  </a:lnTo>
                  <a:cubicBezTo>
                    <a:pt x="328118" y="53647"/>
                    <a:pt x="403534" y="129405"/>
                    <a:pt x="406035" y="223062"/>
                  </a:cubicBezTo>
                  <a:lnTo>
                    <a:pt x="387135" y="223062"/>
                  </a:lnTo>
                  <a:cubicBezTo>
                    <a:pt x="384397" y="223062"/>
                    <a:pt x="382160" y="225300"/>
                    <a:pt x="382160" y="228037"/>
                  </a:cubicBezTo>
                  <a:cubicBezTo>
                    <a:pt x="382160" y="230775"/>
                    <a:pt x="384397" y="233012"/>
                    <a:pt x="387135" y="233012"/>
                  </a:cubicBezTo>
                  <a:lnTo>
                    <a:pt x="406035" y="233012"/>
                  </a:lnTo>
                  <a:cubicBezTo>
                    <a:pt x="403323" y="326460"/>
                    <a:pt x="328013" y="402007"/>
                    <a:pt x="234618" y="405034"/>
                  </a:cubicBezTo>
                  <a:lnTo>
                    <a:pt x="234618" y="386924"/>
                  </a:lnTo>
                  <a:cubicBezTo>
                    <a:pt x="234618" y="384186"/>
                    <a:pt x="232381" y="381949"/>
                    <a:pt x="229643" y="381949"/>
                  </a:cubicBezTo>
                  <a:cubicBezTo>
                    <a:pt x="226906" y="381949"/>
                    <a:pt x="224668" y="384186"/>
                    <a:pt x="224668" y="386924"/>
                  </a:cubicBezTo>
                  <a:lnTo>
                    <a:pt x="224668" y="405087"/>
                  </a:lnTo>
                  <a:cubicBezTo>
                    <a:pt x="130510" y="402928"/>
                    <a:pt x="54278" y="327039"/>
                    <a:pt x="51541" y="233012"/>
                  </a:cubicBezTo>
                  <a:lnTo>
                    <a:pt x="78969" y="233012"/>
                  </a:lnTo>
                  <a:cubicBezTo>
                    <a:pt x="81707" y="233012"/>
                    <a:pt x="83944" y="230775"/>
                    <a:pt x="83944" y="228037"/>
                  </a:cubicBezTo>
                  <a:cubicBezTo>
                    <a:pt x="83944" y="225300"/>
                    <a:pt x="81707" y="223062"/>
                    <a:pt x="78969" y="223062"/>
                  </a:cubicBezTo>
                  <a:lnTo>
                    <a:pt x="51514" y="223062"/>
                  </a:lnTo>
                  <a:cubicBezTo>
                    <a:pt x="54015" y="128825"/>
                    <a:pt x="130326" y="52725"/>
                    <a:pt x="224642" y="50567"/>
                  </a:cubicBezTo>
                  <a:lnTo>
                    <a:pt x="224642" y="76311"/>
                  </a:lnTo>
                  <a:cubicBezTo>
                    <a:pt x="224642" y="79022"/>
                    <a:pt x="226879" y="81260"/>
                    <a:pt x="229617" y="81260"/>
                  </a:cubicBezTo>
                  <a:close/>
                </a:path>
              </a:pathLst>
            </a:custGeom>
            <a:solidFill>
              <a:schemeClr val="accent1"/>
            </a:solidFill>
            <a:ln w="2628" cap="flat">
              <a:noFill/>
              <a:prstDash val="solid"/>
              <a:miter/>
            </a:ln>
          </p:spPr>
          <p:txBody>
            <a:bodyPr rtlCol="0" anchor="ctr"/>
            <a:lstStyle/>
            <a:p>
              <a:endParaRPr lang="en-GB" dirty="0"/>
            </a:p>
          </p:txBody>
        </p:sp>
      </p:grpSp>
      <p:sp>
        <p:nvSpPr>
          <p:cNvPr id="229" name="Freihandform: Form 827">
            <a:extLst>
              <a:ext uri="{FF2B5EF4-FFF2-40B4-BE49-F238E27FC236}">
                <a16:creationId xmlns:a16="http://schemas.microsoft.com/office/drawing/2014/main" id="{E97A1AC8-FD4E-439B-9F97-6363FE9761BD}"/>
              </a:ext>
            </a:extLst>
          </p:cNvPr>
          <p:cNvSpPr>
            <a:spLocks noChangeAspect="1"/>
          </p:cNvSpPr>
          <p:nvPr/>
        </p:nvSpPr>
        <p:spPr>
          <a:xfrm>
            <a:off x="2636331" y="3197068"/>
            <a:ext cx="497175" cy="432000"/>
          </a:xfrm>
          <a:custGeom>
            <a:avLst/>
            <a:gdLst>
              <a:gd name="connsiteX0" fmla="*/ 445888 w 565052"/>
              <a:gd name="connsiteY0" fmla="*/ 170127 h 490979"/>
              <a:gd name="connsiteX1" fmla="*/ 446046 w 565052"/>
              <a:gd name="connsiteY1" fmla="*/ 163493 h 490979"/>
              <a:gd name="connsiteX2" fmla="*/ 282553 w 565052"/>
              <a:gd name="connsiteY2" fmla="*/ 0 h 490979"/>
              <a:gd name="connsiteX3" fmla="*/ 119060 w 565052"/>
              <a:gd name="connsiteY3" fmla="*/ 163493 h 490979"/>
              <a:gd name="connsiteX4" fmla="*/ 119218 w 565052"/>
              <a:gd name="connsiteY4" fmla="*/ 170127 h 490979"/>
              <a:gd name="connsiteX5" fmla="*/ 0 w 565052"/>
              <a:gd name="connsiteY5" fmla="*/ 327486 h 490979"/>
              <a:gd name="connsiteX6" fmla="*/ 163493 w 565052"/>
              <a:gd name="connsiteY6" fmla="*/ 490979 h 490979"/>
              <a:gd name="connsiteX7" fmla="*/ 282526 w 565052"/>
              <a:gd name="connsiteY7" fmla="*/ 439386 h 490979"/>
              <a:gd name="connsiteX8" fmla="*/ 401560 w 565052"/>
              <a:gd name="connsiteY8" fmla="*/ 490979 h 490979"/>
              <a:gd name="connsiteX9" fmla="*/ 565053 w 565052"/>
              <a:gd name="connsiteY9" fmla="*/ 327486 h 490979"/>
              <a:gd name="connsiteX10" fmla="*/ 445888 w 565052"/>
              <a:gd name="connsiteY10" fmla="*/ 170127 h 490979"/>
              <a:gd name="connsiteX11" fmla="*/ 401586 w 565052"/>
              <a:gd name="connsiteY11" fmla="*/ 481029 h 490979"/>
              <a:gd name="connsiteX12" fmla="*/ 289186 w 565052"/>
              <a:gd name="connsiteY12" fmla="*/ 431937 h 490979"/>
              <a:gd name="connsiteX13" fmla="*/ 327013 w 565052"/>
              <a:gd name="connsiteY13" fmla="*/ 327486 h 490979"/>
              <a:gd name="connsiteX14" fmla="*/ 326855 w 565052"/>
              <a:gd name="connsiteY14" fmla="*/ 320827 h 490979"/>
              <a:gd name="connsiteX15" fmla="*/ 445177 w 565052"/>
              <a:gd name="connsiteY15" fmla="*/ 180261 h 490979"/>
              <a:gd name="connsiteX16" fmla="*/ 555129 w 565052"/>
              <a:gd name="connsiteY16" fmla="*/ 327460 h 490979"/>
              <a:gd name="connsiteX17" fmla="*/ 401586 w 565052"/>
              <a:gd name="connsiteY17" fmla="*/ 481029 h 490979"/>
              <a:gd name="connsiteX18" fmla="*/ 163519 w 565052"/>
              <a:gd name="connsiteY18" fmla="*/ 481029 h 490979"/>
              <a:gd name="connsiteX19" fmla="*/ 9977 w 565052"/>
              <a:gd name="connsiteY19" fmla="*/ 327513 h 490979"/>
              <a:gd name="connsiteX20" fmla="*/ 119928 w 565052"/>
              <a:gd name="connsiteY20" fmla="*/ 180314 h 490979"/>
              <a:gd name="connsiteX21" fmla="*/ 238251 w 565052"/>
              <a:gd name="connsiteY21" fmla="*/ 320879 h 490979"/>
              <a:gd name="connsiteX22" fmla="*/ 238093 w 565052"/>
              <a:gd name="connsiteY22" fmla="*/ 327539 h 490979"/>
              <a:gd name="connsiteX23" fmla="*/ 275919 w 565052"/>
              <a:gd name="connsiteY23" fmla="*/ 431989 h 490979"/>
              <a:gd name="connsiteX24" fmla="*/ 163519 w 565052"/>
              <a:gd name="connsiteY24" fmla="*/ 481029 h 490979"/>
              <a:gd name="connsiteX25" fmla="*/ 129036 w 565052"/>
              <a:gd name="connsiteY25" fmla="*/ 163493 h 490979"/>
              <a:gd name="connsiteX26" fmla="*/ 282579 w 565052"/>
              <a:gd name="connsiteY26" fmla="*/ 9950 h 490979"/>
              <a:gd name="connsiteX27" fmla="*/ 436096 w 565052"/>
              <a:gd name="connsiteY27" fmla="*/ 163493 h 490979"/>
              <a:gd name="connsiteX28" fmla="*/ 435991 w 565052"/>
              <a:gd name="connsiteY28" fmla="*/ 167652 h 490979"/>
              <a:gd name="connsiteX29" fmla="*/ 401586 w 565052"/>
              <a:gd name="connsiteY29" fmla="*/ 163967 h 490979"/>
              <a:gd name="connsiteX30" fmla="*/ 282553 w 565052"/>
              <a:gd name="connsiteY30" fmla="*/ 215560 h 490979"/>
              <a:gd name="connsiteX31" fmla="*/ 163519 w 565052"/>
              <a:gd name="connsiteY31" fmla="*/ 163967 h 490979"/>
              <a:gd name="connsiteX32" fmla="*/ 129115 w 565052"/>
              <a:gd name="connsiteY32" fmla="*/ 167652 h 490979"/>
              <a:gd name="connsiteX33" fmla="*/ 129036 w 565052"/>
              <a:gd name="connsiteY33" fmla="*/ 163493 h 490979"/>
              <a:gd name="connsiteX34" fmla="*/ 282553 w 565052"/>
              <a:gd name="connsiteY34" fmla="*/ 317036 h 490979"/>
              <a:gd name="connsiteX35" fmla="*/ 248728 w 565052"/>
              <a:gd name="connsiteY35" fmla="*/ 313246 h 490979"/>
              <a:gd name="connsiteX36" fmla="*/ 282553 w 565052"/>
              <a:gd name="connsiteY36" fmla="*/ 230644 h 490979"/>
              <a:gd name="connsiteX37" fmla="*/ 316378 w 565052"/>
              <a:gd name="connsiteY37" fmla="*/ 313246 h 490979"/>
              <a:gd name="connsiteX38" fmla="*/ 282553 w 565052"/>
              <a:gd name="connsiteY38" fmla="*/ 317036 h 490979"/>
              <a:gd name="connsiteX39" fmla="*/ 326170 w 565052"/>
              <a:gd name="connsiteY39" fmla="*/ 310692 h 490979"/>
              <a:gd name="connsiteX40" fmla="*/ 289213 w 565052"/>
              <a:gd name="connsiteY40" fmla="*/ 223036 h 490979"/>
              <a:gd name="connsiteX41" fmla="*/ 401612 w 565052"/>
              <a:gd name="connsiteY41" fmla="*/ 173943 h 490979"/>
              <a:gd name="connsiteX42" fmla="*/ 435438 w 565052"/>
              <a:gd name="connsiteY42" fmla="*/ 177734 h 490979"/>
              <a:gd name="connsiteX43" fmla="*/ 326170 w 565052"/>
              <a:gd name="connsiteY43" fmla="*/ 310692 h 490979"/>
              <a:gd name="connsiteX44" fmla="*/ 275919 w 565052"/>
              <a:gd name="connsiteY44" fmla="*/ 223036 h 490979"/>
              <a:gd name="connsiteX45" fmla="*/ 238935 w 565052"/>
              <a:gd name="connsiteY45" fmla="*/ 310692 h 490979"/>
              <a:gd name="connsiteX46" fmla="*/ 129694 w 565052"/>
              <a:gd name="connsiteY46" fmla="*/ 177734 h 490979"/>
              <a:gd name="connsiteX47" fmla="*/ 163519 w 565052"/>
              <a:gd name="connsiteY47" fmla="*/ 173943 h 490979"/>
              <a:gd name="connsiteX48" fmla="*/ 275919 w 565052"/>
              <a:gd name="connsiteY48" fmla="*/ 223036 h 490979"/>
              <a:gd name="connsiteX49" fmla="*/ 248149 w 565052"/>
              <a:gd name="connsiteY49" fmla="*/ 323327 h 490979"/>
              <a:gd name="connsiteX50" fmla="*/ 282579 w 565052"/>
              <a:gd name="connsiteY50" fmla="*/ 327013 h 490979"/>
              <a:gd name="connsiteX51" fmla="*/ 316983 w 565052"/>
              <a:gd name="connsiteY51" fmla="*/ 323327 h 490979"/>
              <a:gd name="connsiteX52" fmla="*/ 317089 w 565052"/>
              <a:gd name="connsiteY52" fmla="*/ 327513 h 490979"/>
              <a:gd name="connsiteX53" fmla="*/ 282579 w 565052"/>
              <a:gd name="connsiteY53" fmla="*/ 424356 h 490979"/>
              <a:gd name="connsiteX54" fmla="*/ 248070 w 565052"/>
              <a:gd name="connsiteY54" fmla="*/ 327513 h 490979"/>
              <a:gd name="connsiteX55" fmla="*/ 248149 w 565052"/>
              <a:gd name="connsiteY55" fmla="*/ 323327 h 490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565052" h="490979">
                <a:moveTo>
                  <a:pt x="445888" y="170127"/>
                </a:moveTo>
                <a:cubicBezTo>
                  <a:pt x="445967" y="167915"/>
                  <a:pt x="446046" y="165731"/>
                  <a:pt x="446046" y="163493"/>
                </a:cubicBezTo>
                <a:cubicBezTo>
                  <a:pt x="446046" y="73336"/>
                  <a:pt x="372710" y="0"/>
                  <a:pt x="282553" y="0"/>
                </a:cubicBezTo>
                <a:cubicBezTo>
                  <a:pt x="192396" y="0"/>
                  <a:pt x="119060" y="73336"/>
                  <a:pt x="119060" y="163493"/>
                </a:cubicBezTo>
                <a:cubicBezTo>
                  <a:pt x="119060" y="165731"/>
                  <a:pt x="119139" y="167915"/>
                  <a:pt x="119218" y="170127"/>
                </a:cubicBezTo>
                <a:cubicBezTo>
                  <a:pt x="50514" y="189500"/>
                  <a:pt x="0" y="252676"/>
                  <a:pt x="0" y="327486"/>
                </a:cubicBezTo>
                <a:cubicBezTo>
                  <a:pt x="0" y="417617"/>
                  <a:pt x="73336" y="490979"/>
                  <a:pt x="163493" y="490979"/>
                </a:cubicBezTo>
                <a:cubicBezTo>
                  <a:pt x="210375" y="490979"/>
                  <a:pt x="252676" y="471105"/>
                  <a:pt x="282526" y="439386"/>
                </a:cubicBezTo>
                <a:cubicBezTo>
                  <a:pt x="312377" y="471105"/>
                  <a:pt x="354678" y="490979"/>
                  <a:pt x="401560" y="490979"/>
                </a:cubicBezTo>
                <a:cubicBezTo>
                  <a:pt x="491716" y="490979"/>
                  <a:pt x="565053" y="417643"/>
                  <a:pt x="565053" y="327486"/>
                </a:cubicBezTo>
                <a:cubicBezTo>
                  <a:pt x="565079" y="252702"/>
                  <a:pt x="514565" y="189500"/>
                  <a:pt x="445888" y="170127"/>
                </a:cubicBezTo>
                <a:close/>
                <a:moveTo>
                  <a:pt x="401586" y="481029"/>
                </a:moveTo>
                <a:cubicBezTo>
                  <a:pt x="357232" y="481029"/>
                  <a:pt x="317247" y="462103"/>
                  <a:pt x="289186" y="431937"/>
                </a:cubicBezTo>
                <a:cubicBezTo>
                  <a:pt x="312798" y="403587"/>
                  <a:pt x="327013" y="367182"/>
                  <a:pt x="327013" y="327486"/>
                </a:cubicBezTo>
                <a:cubicBezTo>
                  <a:pt x="327013" y="325249"/>
                  <a:pt x="326934" y="323038"/>
                  <a:pt x="326855" y="320827"/>
                </a:cubicBezTo>
                <a:cubicBezTo>
                  <a:pt x="390320" y="302927"/>
                  <a:pt x="438281" y="247622"/>
                  <a:pt x="445177" y="180261"/>
                </a:cubicBezTo>
                <a:cubicBezTo>
                  <a:pt x="508669" y="199108"/>
                  <a:pt x="555129" y="257941"/>
                  <a:pt x="555129" y="327460"/>
                </a:cubicBezTo>
                <a:cubicBezTo>
                  <a:pt x="555129" y="412142"/>
                  <a:pt x="486268" y="481029"/>
                  <a:pt x="401586" y="481029"/>
                </a:cubicBezTo>
                <a:close/>
                <a:moveTo>
                  <a:pt x="163519" y="481029"/>
                </a:moveTo>
                <a:cubicBezTo>
                  <a:pt x="78864" y="481029"/>
                  <a:pt x="9977" y="412142"/>
                  <a:pt x="9977" y="327513"/>
                </a:cubicBezTo>
                <a:cubicBezTo>
                  <a:pt x="9977" y="257993"/>
                  <a:pt x="56437" y="199135"/>
                  <a:pt x="119928" y="180314"/>
                </a:cubicBezTo>
                <a:cubicBezTo>
                  <a:pt x="126825" y="247648"/>
                  <a:pt x="174786" y="302980"/>
                  <a:pt x="238251" y="320879"/>
                </a:cubicBezTo>
                <a:cubicBezTo>
                  <a:pt x="238172" y="323090"/>
                  <a:pt x="238093" y="325302"/>
                  <a:pt x="238093" y="327539"/>
                </a:cubicBezTo>
                <a:cubicBezTo>
                  <a:pt x="238093" y="367234"/>
                  <a:pt x="252334" y="403639"/>
                  <a:pt x="275919" y="431989"/>
                </a:cubicBezTo>
                <a:cubicBezTo>
                  <a:pt x="247859" y="462103"/>
                  <a:pt x="207874" y="481029"/>
                  <a:pt x="163519" y="481029"/>
                </a:cubicBezTo>
                <a:close/>
                <a:moveTo>
                  <a:pt x="129036" y="163493"/>
                </a:moveTo>
                <a:cubicBezTo>
                  <a:pt x="129036" y="78838"/>
                  <a:pt x="197924" y="9950"/>
                  <a:pt x="282579" y="9950"/>
                </a:cubicBezTo>
                <a:cubicBezTo>
                  <a:pt x="367235" y="9950"/>
                  <a:pt x="436096" y="78838"/>
                  <a:pt x="436096" y="163493"/>
                </a:cubicBezTo>
                <a:cubicBezTo>
                  <a:pt x="436096" y="164888"/>
                  <a:pt x="436017" y="166257"/>
                  <a:pt x="435991" y="167652"/>
                </a:cubicBezTo>
                <a:cubicBezTo>
                  <a:pt x="424882" y="165257"/>
                  <a:pt x="413379" y="163967"/>
                  <a:pt x="401586" y="163967"/>
                </a:cubicBezTo>
                <a:cubicBezTo>
                  <a:pt x="354705" y="163967"/>
                  <a:pt x="312403" y="183841"/>
                  <a:pt x="282553" y="215560"/>
                </a:cubicBezTo>
                <a:cubicBezTo>
                  <a:pt x="252702" y="183841"/>
                  <a:pt x="210401" y="163967"/>
                  <a:pt x="163519" y="163967"/>
                </a:cubicBezTo>
                <a:cubicBezTo>
                  <a:pt x="151727" y="163967"/>
                  <a:pt x="140224" y="165257"/>
                  <a:pt x="129115" y="167652"/>
                </a:cubicBezTo>
                <a:cubicBezTo>
                  <a:pt x="129089" y="166283"/>
                  <a:pt x="129036" y="164888"/>
                  <a:pt x="129036" y="163493"/>
                </a:cubicBezTo>
                <a:close/>
                <a:moveTo>
                  <a:pt x="282553" y="317036"/>
                </a:moveTo>
                <a:cubicBezTo>
                  <a:pt x="270918" y="317036"/>
                  <a:pt x="259599" y="315694"/>
                  <a:pt x="248728" y="313246"/>
                </a:cubicBezTo>
                <a:cubicBezTo>
                  <a:pt x="251623" y="282105"/>
                  <a:pt x="263837" y="253624"/>
                  <a:pt x="282553" y="230644"/>
                </a:cubicBezTo>
                <a:cubicBezTo>
                  <a:pt x="301295" y="253624"/>
                  <a:pt x="313509" y="282105"/>
                  <a:pt x="316378" y="313246"/>
                </a:cubicBezTo>
                <a:cubicBezTo>
                  <a:pt x="305507" y="315694"/>
                  <a:pt x="294188" y="317036"/>
                  <a:pt x="282553" y="317036"/>
                </a:cubicBezTo>
                <a:close/>
                <a:moveTo>
                  <a:pt x="326170" y="310692"/>
                </a:moveTo>
                <a:cubicBezTo>
                  <a:pt x="322775" y="277551"/>
                  <a:pt x="309429" y="247332"/>
                  <a:pt x="289213" y="223036"/>
                </a:cubicBezTo>
                <a:cubicBezTo>
                  <a:pt x="317273" y="192870"/>
                  <a:pt x="357258" y="173943"/>
                  <a:pt x="401612" y="173943"/>
                </a:cubicBezTo>
                <a:cubicBezTo>
                  <a:pt x="413247" y="173943"/>
                  <a:pt x="424540" y="175286"/>
                  <a:pt x="435438" y="177734"/>
                </a:cubicBezTo>
                <a:cubicBezTo>
                  <a:pt x="429568" y="240962"/>
                  <a:pt x="385266" y="293161"/>
                  <a:pt x="326170" y="310692"/>
                </a:cubicBezTo>
                <a:close/>
                <a:moveTo>
                  <a:pt x="275919" y="223036"/>
                </a:moveTo>
                <a:cubicBezTo>
                  <a:pt x="255677" y="247332"/>
                  <a:pt x="242331" y="277551"/>
                  <a:pt x="238935" y="310692"/>
                </a:cubicBezTo>
                <a:cubicBezTo>
                  <a:pt x="179840" y="293135"/>
                  <a:pt x="135538" y="240936"/>
                  <a:pt x="129694" y="177734"/>
                </a:cubicBezTo>
                <a:cubicBezTo>
                  <a:pt x="140592" y="175286"/>
                  <a:pt x="151885" y="173943"/>
                  <a:pt x="163519" y="173943"/>
                </a:cubicBezTo>
                <a:cubicBezTo>
                  <a:pt x="207874" y="173943"/>
                  <a:pt x="247859" y="192870"/>
                  <a:pt x="275919" y="223036"/>
                </a:cubicBezTo>
                <a:close/>
                <a:moveTo>
                  <a:pt x="248149" y="323327"/>
                </a:moveTo>
                <a:cubicBezTo>
                  <a:pt x="259257" y="325723"/>
                  <a:pt x="270760" y="327013"/>
                  <a:pt x="282579" y="327013"/>
                </a:cubicBezTo>
                <a:cubicBezTo>
                  <a:pt x="294372" y="327013"/>
                  <a:pt x="305875" y="325723"/>
                  <a:pt x="316983" y="323327"/>
                </a:cubicBezTo>
                <a:cubicBezTo>
                  <a:pt x="317010" y="324722"/>
                  <a:pt x="317089" y="326117"/>
                  <a:pt x="317089" y="327513"/>
                </a:cubicBezTo>
                <a:cubicBezTo>
                  <a:pt x="317089" y="364207"/>
                  <a:pt x="304138" y="397927"/>
                  <a:pt x="282579" y="424356"/>
                </a:cubicBezTo>
                <a:cubicBezTo>
                  <a:pt x="261020" y="397927"/>
                  <a:pt x="248070" y="364207"/>
                  <a:pt x="248070" y="327513"/>
                </a:cubicBezTo>
                <a:cubicBezTo>
                  <a:pt x="248043" y="326091"/>
                  <a:pt x="248122" y="324722"/>
                  <a:pt x="248149" y="323327"/>
                </a:cubicBezTo>
                <a:close/>
              </a:path>
            </a:pathLst>
          </a:custGeom>
          <a:solidFill>
            <a:schemeClr val="tx2"/>
          </a:solidFill>
          <a:ln w="2628" cap="flat">
            <a:noFill/>
            <a:prstDash val="solid"/>
            <a:miter/>
          </a:ln>
        </p:spPr>
        <p:txBody>
          <a:bodyPr rtlCol="0" anchor="ctr"/>
          <a:lstStyle/>
          <a:p>
            <a:endParaRPr lang="en-GB" dirty="0"/>
          </a:p>
        </p:txBody>
      </p:sp>
      <p:grpSp>
        <p:nvGrpSpPr>
          <p:cNvPr id="230" name="Group 229">
            <a:extLst>
              <a:ext uri="{FF2B5EF4-FFF2-40B4-BE49-F238E27FC236}">
                <a16:creationId xmlns:a16="http://schemas.microsoft.com/office/drawing/2014/main" id="{D950BAED-3DFC-4F56-871A-EE062DA59A05}"/>
              </a:ext>
            </a:extLst>
          </p:cNvPr>
          <p:cNvGrpSpPr>
            <a:grpSpLocks noChangeAspect="1"/>
          </p:cNvGrpSpPr>
          <p:nvPr/>
        </p:nvGrpSpPr>
        <p:grpSpPr>
          <a:xfrm>
            <a:off x="3676321" y="3227290"/>
            <a:ext cx="562062" cy="371556"/>
            <a:chOff x="1650474" y="1728395"/>
            <a:chExt cx="600365" cy="396877"/>
          </a:xfrm>
        </p:grpSpPr>
        <p:sp>
          <p:nvSpPr>
            <p:cNvPr id="231" name="Freihandform: Form 228">
              <a:extLst>
                <a:ext uri="{FF2B5EF4-FFF2-40B4-BE49-F238E27FC236}">
                  <a16:creationId xmlns:a16="http://schemas.microsoft.com/office/drawing/2014/main" id="{5F530EF0-8890-4185-BF25-E3BD4220EE3D}"/>
                </a:ext>
              </a:extLst>
            </p:cNvPr>
            <p:cNvSpPr/>
            <p:nvPr/>
          </p:nvSpPr>
          <p:spPr>
            <a:xfrm>
              <a:off x="1650474" y="1728395"/>
              <a:ext cx="600316" cy="280062"/>
            </a:xfrm>
            <a:custGeom>
              <a:avLst/>
              <a:gdLst>
                <a:gd name="connsiteX0" fmla="*/ 593935 w 600316"/>
                <a:gd name="connsiteY0" fmla="*/ 222 h 280062"/>
                <a:gd name="connsiteX1" fmla="*/ 3465 w 600316"/>
                <a:gd name="connsiteY1" fmla="*/ 184863 h 280062"/>
                <a:gd name="connsiteX2" fmla="*/ 25 w 600316"/>
                <a:gd name="connsiteY2" fmla="*/ 189060 h 280062"/>
                <a:gd name="connsiteX3" fmla="*/ 2513 w 600316"/>
                <a:gd name="connsiteY3" fmla="*/ 193866 h 280062"/>
                <a:gd name="connsiteX4" fmla="*/ 155876 w 600316"/>
                <a:gd name="connsiteY4" fmla="*/ 279428 h 280062"/>
                <a:gd name="connsiteX5" fmla="*/ 158267 w 600316"/>
                <a:gd name="connsiteY5" fmla="*/ 280063 h 280062"/>
                <a:gd name="connsiteX6" fmla="*/ 160853 w 600316"/>
                <a:gd name="connsiteY6" fmla="*/ 279331 h 280062"/>
                <a:gd name="connsiteX7" fmla="*/ 597985 w 600316"/>
                <a:gd name="connsiteY7" fmla="*/ 9103 h 280062"/>
                <a:gd name="connsiteX8" fmla="*/ 599863 w 600316"/>
                <a:gd name="connsiteY8" fmla="*/ 2882 h 280062"/>
                <a:gd name="connsiteX9" fmla="*/ 593935 w 600316"/>
                <a:gd name="connsiteY9" fmla="*/ 222 h 280062"/>
                <a:gd name="connsiteX10" fmla="*/ 158170 w 600316"/>
                <a:gd name="connsiteY10" fmla="*/ 269425 h 280062"/>
                <a:gd name="connsiteX11" fmla="*/ 17347 w 600316"/>
                <a:gd name="connsiteY11" fmla="*/ 190865 h 280062"/>
                <a:gd name="connsiteX12" fmla="*/ 559583 w 600316"/>
                <a:gd name="connsiteY12" fmla="*/ 21302 h 280062"/>
                <a:gd name="connsiteX13" fmla="*/ 158170 w 600316"/>
                <a:gd name="connsiteY13" fmla="*/ 269425 h 280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00316" h="280062">
                  <a:moveTo>
                    <a:pt x="593935" y="222"/>
                  </a:moveTo>
                  <a:lnTo>
                    <a:pt x="3465" y="184863"/>
                  </a:lnTo>
                  <a:cubicBezTo>
                    <a:pt x="1586" y="185449"/>
                    <a:pt x="244" y="187108"/>
                    <a:pt x="25" y="189060"/>
                  </a:cubicBezTo>
                  <a:cubicBezTo>
                    <a:pt x="-171" y="191011"/>
                    <a:pt x="805" y="192914"/>
                    <a:pt x="2513" y="193866"/>
                  </a:cubicBezTo>
                  <a:lnTo>
                    <a:pt x="155876" y="279428"/>
                  </a:lnTo>
                  <a:cubicBezTo>
                    <a:pt x="156633" y="279843"/>
                    <a:pt x="157438" y="280063"/>
                    <a:pt x="158267" y="280063"/>
                  </a:cubicBezTo>
                  <a:cubicBezTo>
                    <a:pt x="159170" y="280063"/>
                    <a:pt x="160073" y="279819"/>
                    <a:pt x="160853" y="279331"/>
                  </a:cubicBezTo>
                  <a:lnTo>
                    <a:pt x="597985" y="9103"/>
                  </a:lnTo>
                  <a:cubicBezTo>
                    <a:pt x="600083" y="7786"/>
                    <a:pt x="600912" y="5126"/>
                    <a:pt x="599863" y="2882"/>
                  </a:cubicBezTo>
                  <a:cubicBezTo>
                    <a:pt x="598863" y="613"/>
                    <a:pt x="596326" y="-509"/>
                    <a:pt x="593935" y="222"/>
                  </a:cubicBezTo>
                  <a:close/>
                  <a:moveTo>
                    <a:pt x="158170" y="269425"/>
                  </a:moveTo>
                  <a:lnTo>
                    <a:pt x="17347" y="190865"/>
                  </a:lnTo>
                  <a:lnTo>
                    <a:pt x="559583" y="21302"/>
                  </a:lnTo>
                  <a:lnTo>
                    <a:pt x="158170" y="269425"/>
                  </a:lnTo>
                  <a:close/>
                </a:path>
              </a:pathLst>
            </a:custGeom>
            <a:solidFill>
              <a:schemeClr val="tx2"/>
            </a:solidFill>
            <a:ln w="2436" cap="flat">
              <a:noFill/>
              <a:prstDash val="solid"/>
              <a:miter/>
            </a:ln>
          </p:spPr>
          <p:txBody>
            <a:bodyPr rtlCol="0" anchor="ctr"/>
            <a:lstStyle/>
            <a:p>
              <a:endParaRPr lang="en-GB" dirty="0"/>
            </a:p>
          </p:txBody>
        </p:sp>
        <p:sp>
          <p:nvSpPr>
            <p:cNvPr id="232" name="Freihandform: Form 229">
              <a:extLst>
                <a:ext uri="{FF2B5EF4-FFF2-40B4-BE49-F238E27FC236}">
                  <a16:creationId xmlns:a16="http://schemas.microsoft.com/office/drawing/2014/main" id="{6C7D8EB8-D469-4910-9357-8F1D1C631280}"/>
                </a:ext>
              </a:extLst>
            </p:cNvPr>
            <p:cNvSpPr/>
            <p:nvPr/>
          </p:nvSpPr>
          <p:spPr>
            <a:xfrm>
              <a:off x="1860177" y="1728401"/>
              <a:ext cx="390662" cy="385380"/>
            </a:xfrm>
            <a:custGeom>
              <a:avLst/>
              <a:gdLst>
                <a:gd name="connsiteX0" fmla="*/ 382719 w 390662"/>
                <a:gd name="connsiteY0" fmla="*/ 1021 h 385380"/>
                <a:gd name="connsiteX1" fmla="*/ 1922 w 390662"/>
                <a:gd name="connsiteY1" fmla="*/ 295207 h 385380"/>
                <a:gd name="connsiteX2" fmla="*/ 19 w 390662"/>
                <a:gd name="connsiteY2" fmla="*/ 299550 h 385380"/>
                <a:gd name="connsiteX3" fmla="*/ 2654 w 390662"/>
                <a:gd name="connsiteY3" fmla="*/ 303478 h 385380"/>
                <a:gd name="connsiteX4" fmla="*/ 160189 w 390662"/>
                <a:gd name="connsiteY4" fmla="*/ 384844 h 385380"/>
                <a:gd name="connsiteX5" fmla="*/ 162434 w 390662"/>
                <a:gd name="connsiteY5" fmla="*/ 385381 h 385380"/>
                <a:gd name="connsiteX6" fmla="*/ 166679 w 390662"/>
                <a:gd name="connsiteY6" fmla="*/ 382965 h 385380"/>
                <a:gd name="connsiteX7" fmla="*/ 389965 w 390662"/>
                <a:gd name="connsiteY7" fmla="*/ 7413 h 385380"/>
                <a:gd name="connsiteX8" fmla="*/ 388989 w 390662"/>
                <a:gd name="connsiteY8" fmla="*/ 1216 h 385380"/>
                <a:gd name="connsiteX9" fmla="*/ 382719 w 390662"/>
                <a:gd name="connsiteY9" fmla="*/ 1021 h 385380"/>
                <a:gd name="connsiteX10" fmla="*/ 160579 w 390662"/>
                <a:gd name="connsiteY10" fmla="*/ 373987 h 385380"/>
                <a:gd name="connsiteX11" fmla="*/ 14048 w 390662"/>
                <a:gd name="connsiteY11" fmla="*/ 298281 h 385380"/>
                <a:gd name="connsiteX12" fmla="*/ 368300 w 390662"/>
                <a:gd name="connsiteY12" fmla="*/ 24614 h 385380"/>
                <a:gd name="connsiteX13" fmla="*/ 160579 w 390662"/>
                <a:gd name="connsiteY13" fmla="*/ 373987 h 385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0662" h="385380">
                  <a:moveTo>
                    <a:pt x="382719" y="1021"/>
                  </a:moveTo>
                  <a:lnTo>
                    <a:pt x="1922" y="295207"/>
                  </a:lnTo>
                  <a:cubicBezTo>
                    <a:pt x="580" y="296232"/>
                    <a:pt x="-127" y="297866"/>
                    <a:pt x="19" y="299550"/>
                  </a:cubicBezTo>
                  <a:cubicBezTo>
                    <a:pt x="165" y="301233"/>
                    <a:pt x="1166" y="302697"/>
                    <a:pt x="2654" y="303478"/>
                  </a:cubicBezTo>
                  <a:lnTo>
                    <a:pt x="160189" y="384844"/>
                  </a:lnTo>
                  <a:cubicBezTo>
                    <a:pt x="160921" y="385210"/>
                    <a:pt x="161677" y="385381"/>
                    <a:pt x="162434" y="385381"/>
                  </a:cubicBezTo>
                  <a:cubicBezTo>
                    <a:pt x="164117" y="385381"/>
                    <a:pt x="165752" y="384527"/>
                    <a:pt x="166679" y="382965"/>
                  </a:cubicBezTo>
                  <a:lnTo>
                    <a:pt x="389965" y="7413"/>
                  </a:lnTo>
                  <a:cubicBezTo>
                    <a:pt x="391185" y="5388"/>
                    <a:pt x="390770" y="2778"/>
                    <a:pt x="388989" y="1216"/>
                  </a:cubicBezTo>
                  <a:cubicBezTo>
                    <a:pt x="387233" y="-321"/>
                    <a:pt x="384598" y="-418"/>
                    <a:pt x="382719" y="1021"/>
                  </a:cubicBezTo>
                  <a:close/>
                  <a:moveTo>
                    <a:pt x="160579" y="373987"/>
                  </a:moveTo>
                  <a:lnTo>
                    <a:pt x="14048" y="298281"/>
                  </a:lnTo>
                  <a:lnTo>
                    <a:pt x="368300" y="24614"/>
                  </a:lnTo>
                  <a:lnTo>
                    <a:pt x="160579" y="373987"/>
                  </a:lnTo>
                  <a:close/>
                </a:path>
              </a:pathLst>
            </a:custGeom>
            <a:solidFill>
              <a:schemeClr val="tx2"/>
            </a:solidFill>
            <a:ln w="2436" cap="flat">
              <a:noFill/>
              <a:prstDash val="solid"/>
              <a:miter/>
            </a:ln>
          </p:spPr>
          <p:txBody>
            <a:bodyPr rtlCol="0" anchor="ctr"/>
            <a:lstStyle/>
            <a:p>
              <a:endParaRPr lang="en-GB" dirty="0"/>
            </a:p>
          </p:txBody>
        </p:sp>
        <p:sp>
          <p:nvSpPr>
            <p:cNvPr id="233" name="Freihandform: Form 230">
              <a:extLst>
                <a:ext uri="{FF2B5EF4-FFF2-40B4-BE49-F238E27FC236}">
                  <a16:creationId xmlns:a16="http://schemas.microsoft.com/office/drawing/2014/main" id="{CC6B3219-F093-4BDB-9C6C-E8D023FB573A}"/>
                </a:ext>
              </a:extLst>
            </p:cNvPr>
            <p:cNvSpPr/>
            <p:nvPr/>
          </p:nvSpPr>
          <p:spPr>
            <a:xfrm>
              <a:off x="1803496" y="1999991"/>
              <a:ext cx="98516" cy="125281"/>
            </a:xfrm>
            <a:custGeom>
              <a:avLst/>
              <a:gdLst>
                <a:gd name="connsiteX0" fmla="*/ 90393 w 98516"/>
                <a:gd name="connsiteY0" fmla="*/ 40476 h 125281"/>
                <a:gd name="connsiteX1" fmla="*/ 10174 w 98516"/>
                <a:gd name="connsiteY1" fmla="*/ 109643 h 125281"/>
                <a:gd name="connsiteX2" fmla="*/ 9857 w 98516"/>
                <a:gd name="connsiteY2" fmla="*/ 4904 h 125281"/>
                <a:gd name="connsiteX3" fmla="*/ 4928 w 98516"/>
                <a:gd name="connsiteY3" fmla="*/ 0 h 125281"/>
                <a:gd name="connsiteX4" fmla="*/ 4904 w 98516"/>
                <a:gd name="connsiteY4" fmla="*/ 0 h 125281"/>
                <a:gd name="connsiteX5" fmla="*/ 0 w 98516"/>
                <a:gd name="connsiteY5" fmla="*/ 4928 h 125281"/>
                <a:gd name="connsiteX6" fmla="*/ 342 w 98516"/>
                <a:gd name="connsiteY6" fmla="*/ 120378 h 125281"/>
                <a:gd name="connsiteX7" fmla="*/ 3221 w 98516"/>
                <a:gd name="connsiteY7" fmla="*/ 124842 h 125281"/>
                <a:gd name="connsiteX8" fmla="*/ 5270 w 98516"/>
                <a:gd name="connsiteY8" fmla="*/ 125282 h 125281"/>
                <a:gd name="connsiteX9" fmla="*/ 8491 w 98516"/>
                <a:gd name="connsiteY9" fmla="*/ 124086 h 125281"/>
                <a:gd name="connsiteX10" fmla="*/ 96810 w 98516"/>
                <a:gd name="connsiteY10" fmla="*/ 47917 h 125281"/>
                <a:gd name="connsiteX11" fmla="*/ 97322 w 98516"/>
                <a:gd name="connsiteY11" fmla="*/ 40964 h 125281"/>
                <a:gd name="connsiteX12" fmla="*/ 90393 w 98516"/>
                <a:gd name="connsiteY12" fmla="*/ 40476 h 125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8516" h="125281">
                  <a:moveTo>
                    <a:pt x="90393" y="40476"/>
                  </a:moveTo>
                  <a:lnTo>
                    <a:pt x="10174" y="109643"/>
                  </a:lnTo>
                  <a:lnTo>
                    <a:pt x="9857" y="4904"/>
                  </a:lnTo>
                  <a:cubicBezTo>
                    <a:pt x="9857" y="2196"/>
                    <a:pt x="7637" y="0"/>
                    <a:pt x="4928" y="0"/>
                  </a:cubicBezTo>
                  <a:cubicBezTo>
                    <a:pt x="4928" y="0"/>
                    <a:pt x="4928" y="0"/>
                    <a:pt x="4904" y="0"/>
                  </a:cubicBezTo>
                  <a:cubicBezTo>
                    <a:pt x="2196" y="0"/>
                    <a:pt x="-24" y="2220"/>
                    <a:pt x="0" y="4928"/>
                  </a:cubicBezTo>
                  <a:lnTo>
                    <a:pt x="342" y="120378"/>
                  </a:lnTo>
                  <a:cubicBezTo>
                    <a:pt x="342" y="122305"/>
                    <a:pt x="1464" y="124037"/>
                    <a:pt x="3221" y="124842"/>
                  </a:cubicBezTo>
                  <a:cubicBezTo>
                    <a:pt x="3879" y="125135"/>
                    <a:pt x="4563" y="125282"/>
                    <a:pt x="5270" y="125282"/>
                  </a:cubicBezTo>
                  <a:cubicBezTo>
                    <a:pt x="6417" y="125282"/>
                    <a:pt x="7563" y="124867"/>
                    <a:pt x="8491" y="124086"/>
                  </a:cubicBezTo>
                  <a:lnTo>
                    <a:pt x="96810" y="47917"/>
                  </a:lnTo>
                  <a:cubicBezTo>
                    <a:pt x="98859" y="46136"/>
                    <a:pt x="99103" y="43037"/>
                    <a:pt x="97322" y="40964"/>
                  </a:cubicBezTo>
                  <a:cubicBezTo>
                    <a:pt x="95541" y="38939"/>
                    <a:pt x="92443" y="38719"/>
                    <a:pt x="90393" y="40476"/>
                  </a:cubicBezTo>
                  <a:close/>
                </a:path>
              </a:pathLst>
            </a:custGeom>
            <a:solidFill>
              <a:schemeClr val="tx2"/>
            </a:solidFill>
            <a:ln w="2436" cap="flat">
              <a:noFill/>
              <a:prstDash val="solid"/>
              <a:miter/>
            </a:ln>
          </p:spPr>
          <p:txBody>
            <a:bodyPr rtlCol="0" anchor="ctr"/>
            <a:lstStyle/>
            <a:p>
              <a:endParaRPr lang="en-GB" dirty="0"/>
            </a:p>
          </p:txBody>
        </p:sp>
        <p:sp>
          <p:nvSpPr>
            <p:cNvPr id="234" name="Freihandform: Form 231">
              <a:extLst>
                <a:ext uri="{FF2B5EF4-FFF2-40B4-BE49-F238E27FC236}">
                  <a16:creationId xmlns:a16="http://schemas.microsoft.com/office/drawing/2014/main" id="{ED494303-D990-475D-90D8-AC7033595C58}"/>
                </a:ext>
              </a:extLst>
            </p:cNvPr>
            <p:cNvSpPr/>
            <p:nvPr/>
          </p:nvSpPr>
          <p:spPr>
            <a:xfrm>
              <a:off x="1804191" y="2022967"/>
              <a:ext cx="65840" cy="101964"/>
            </a:xfrm>
            <a:custGeom>
              <a:avLst/>
              <a:gdLst>
                <a:gd name="connsiteX0" fmla="*/ 63471 w 65840"/>
                <a:gd name="connsiteY0" fmla="*/ 714 h 101964"/>
                <a:gd name="connsiteX1" fmla="*/ 56712 w 65840"/>
                <a:gd name="connsiteY1" fmla="*/ 2373 h 101964"/>
                <a:gd name="connsiteX2" fmla="*/ 720 w 65840"/>
                <a:gd name="connsiteY2" fmla="*/ 94499 h 101964"/>
                <a:gd name="connsiteX3" fmla="*/ 2379 w 65840"/>
                <a:gd name="connsiteY3" fmla="*/ 101257 h 101964"/>
                <a:gd name="connsiteX4" fmla="*/ 4941 w 65840"/>
                <a:gd name="connsiteY4" fmla="*/ 101964 h 101964"/>
                <a:gd name="connsiteX5" fmla="*/ 9162 w 65840"/>
                <a:gd name="connsiteY5" fmla="*/ 99598 h 101964"/>
                <a:gd name="connsiteX6" fmla="*/ 65154 w 65840"/>
                <a:gd name="connsiteY6" fmla="*/ 7472 h 101964"/>
                <a:gd name="connsiteX7" fmla="*/ 63471 w 65840"/>
                <a:gd name="connsiteY7" fmla="*/ 714 h 101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840" h="101964">
                  <a:moveTo>
                    <a:pt x="63471" y="714"/>
                  </a:moveTo>
                  <a:cubicBezTo>
                    <a:pt x="61153" y="-701"/>
                    <a:pt x="58127" y="56"/>
                    <a:pt x="56712" y="2373"/>
                  </a:cubicBezTo>
                  <a:lnTo>
                    <a:pt x="720" y="94499"/>
                  </a:lnTo>
                  <a:cubicBezTo>
                    <a:pt x="-695" y="96816"/>
                    <a:pt x="37" y="99842"/>
                    <a:pt x="2379" y="101257"/>
                  </a:cubicBezTo>
                  <a:cubicBezTo>
                    <a:pt x="3184" y="101745"/>
                    <a:pt x="4063" y="101964"/>
                    <a:pt x="4941" y="101964"/>
                  </a:cubicBezTo>
                  <a:cubicBezTo>
                    <a:pt x="6600" y="101964"/>
                    <a:pt x="8234" y="101110"/>
                    <a:pt x="9162" y="99598"/>
                  </a:cubicBezTo>
                  <a:lnTo>
                    <a:pt x="65154" y="7472"/>
                  </a:lnTo>
                  <a:cubicBezTo>
                    <a:pt x="66520" y="5155"/>
                    <a:pt x="65788" y="2129"/>
                    <a:pt x="63471" y="714"/>
                  </a:cubicBezTo>
                  <a:close/>
                </a:path>
              </a:pathLst>
            </a:custGeom>
            <a:solidFill>
              <a:schemeClr val="tx2"/>
            </a:solidFill>
            <a:ln w="2436" cap="flat">
              <a:noFill/>
              <a:prstDash val="solid"/>
              <a:miter/>
            </a:ln>
          </p:spPr>
          <p:txBody>
            <a:bodyPr rtlCol="0" anchor="ctr"/>
            <a:lstStyle/>
            <a:p>
              <a:endParaRPr lang="en-GB" dirty="0"/>
            </a:p>
          </p:txBody>
        </p:sp>
      </p:grpSp>
      <p:grpSp>
        <p:nvGrpSpPr>
          <p:cNvPr id="256" name="Group 255">
            <a:extLst>
              <a:ext uri="{FF2B5EF4-FFF2-40B4-BE49-F238E27FC236}">
                <a16:creationId xmlns:a16="http://schemas.microsoft.com/office/drawing/2014/main" id="{66D932F1-A111-4717-B591-7D8CF5EEBFB0}"/>
              </a:ext>
            </a:extLst>
          </p:cNvPr>
          <p:cNvGrpSpPr>
            <a:grpSpLocks noChangeAspect="1"/>
          </p:cNvGrpSpPr>
          <p:nvPr/>
        </p:nvGrpSpPr>
        <p:grpSpPr>
          <a:xfrm>
            <a:off x="1526742" y="4068252"/>
            <a:ext cx="625474" cy="300718"/>
            <a:chOff x="6066733" y="2602346"/>
            <a:chExt cx="701232" cy="337141"/>
          </a:xfrm>
        </p:grpSpPr>
        <p:grpSp>
          <p:nvGrpSpPr>
            <p:cNvPr id="257" name="Group 256">
              <a:extLst>
                <a:ext uri="{FF2B5EF4-FFF2-40B4-BE49-F238E27FC236}">
                  <a16:creationId xmlns:a16="http://schemas.microsoft.com/office/drawing/2014/main" id="{F903678A-15D7-482B-95A9-9933D03E2AE6}"/>
                </a:ext>
              </a:extLst>
            </p:cNvPr>
            <p:cNvGrpSpPr/>
            <p:nvPr/>
          </p:nvGrpSpPr>
          <p:grpSpPr>
            <a:xfrm>
              <a:off x="6402118" y="2602377"/>
              <a:ext cx="365847" cy="337058"/>
              <a:chOff x="6402115" y="2602377"/>
              <a:chExt cx="365847" cy="337058"/>
            </a:xfrm>
          </p:grpSpPr>
          <p:sp>
            <p:nvSpPr>
              <p:cNvPr id="263" name="Freihandform: Form 824">
                <a:extLst>
                  <a:ext uri="{FF2B5EF4-FFF2-40B4-BE49-F238E27FC236}">
                    <a16:creationId xmlns:a16="http://schemas.microsoft.com/office/drawing/2014/main" id="{A0EBAA7D-7E81-4F53-AA5B-B9A177CA8233}"/>
                  </a:ext>
                </a:extLst>
              </p:cNvPr>
              <p:cNvSpPr/>
              <p:nvPr/>
            </p:nvSpPr>
            <p:spPr>
              <a:xfrm>
                <a:off x="6496778" y="2602377"/>
                <a:ext cx="271184" cy="337058"/>
              </a:xfrm>
              <a:custGeom>
                <a:avLst/>
                <a:gdLst>
                  <a:gd name="connsiteX0" fmla="*/ 188614 w 271184"/>
                  <a:gd name="connsiteY0" fmla="*/ 3048 h 337058"/>
                  <a:gd name="connsiteX1" fmla="*/ 63471 w 271184"/>
                  <a:gd name="connsiteY1" fmla="*/ 26021 h 337058"/>
                  <a:gd name="connsiteX2" fmla="*/ 22363 w 271184"/>
                  <a:gd name="connsiteY2" fmla="*/ 112555 h 337058"/>
                  <a:gd name="connsiteX3" fmla="*/ 21973 w 271184"/>
                  <a:gd name="connsiteY3" fmla="*/ 114740 h 337058"/>
                  <a:gd name="connsiteX4" fmla="*/ 27619 w 271184"/>
                  <a:gd name="connsiteY4" fmla="*/ 135034 h 337058"/>
                  <a:gd name="connsiteX5" fmla="*/ 28451 w 271184"/>
                  <a:gd name="connsiteY5" fmla="*/ 135294 h 337058"/>
                  <a:gd name="connsiteX6" fmla="*/ 21557 w 271184"/>
                  <a:gd name="connsiteY6" fmla="*/ 148380 h 337058"/>
                  <a:gd name="connsiteX7" fmla="*/ 15339 w 271184"/>
                  <a:gd name="connsiteY7" fmla="*/ 157018 h 337058"/>
                  <a:gd name="connsiteX8" fmla="*/ 3085 w 271184"/>
                  <a:gd name="connsiteY8" fmla="*/ 192610 h 337058"/>
                  <a:gd name="connsiteX9" fmla="*/ 4099 w 271184"/>
                  <a:gd name="connsiteY9" fmla="*/ 193338 h 337058"/>
                  <a:gd name="connsiteX10" fmla="*/ 16457 w 271184"/>
                  <a:gd name="connsiteY10" fmla="*/ 197917 h 337058"/>
                  <a:gd name="connsiteX11" fmla="*/ 18929 w 271184"/>
                  <a:gd name="connsiteY11" fmla="*/ 198724 h 337058"/>
                  <a:gd name="connsiteX12" fmla="*/ 17966 w 271184"/>
                  <a:gd name="connsiteY12" fmla="*/ 209703 h 337058"/>
                  <a:gd name="connsiteX13" fmla="*/ 20152 w 271184"/>
                  <a:gd name="connsiteY13" fmla="*/ 223284 h 337058"/>
                  <a:gd name="connsiteX14" fmla="*/ 22103 w 271184"/>
                  <a:gd name="connsiteY14" fmla="*/ 237438 h 337058"/>
                  <a:gd name="connsiteX15" fmla="*/ 27021 w 271184"/>
                  <a:gd name="connsiteY15" fmla="*/ 263611 h 337058"/>
                  <a:gd name="connsiteX16" fmla="*/ 40211 w 271184"/>
                  <a:gd name="connsiteY16" fmla="*/ 271000 h 337058"/>
                  <a:gd name="connsiteX17" fmla="*/ 40914 w 271184"/>
                  <a:gd name="connsiteY17" fmla="*/ 271078 h 337058"/>
                  <a:gd name="connsiteX18" fmla="*/ 89800 w 271184"/>
                  <a:gd name="connsiteY18" fmla="*/ 331933 h 337058"/>
                  <a:gd name="connsiteX19" fmla="*/ 94405 w 271184"/>
                  <a:gd name="connsiteY19" fmla="*/ 337058 h 337058"/>
                  <a:gd name="connsiteX20" fmla="*/ 94666 w 271184"/>
                  <a:gd name="connsiteY20" fmla="*/ 337058 h 337058"/>
                  <a:gd name="connsiteX21" fmla="*/ 99531 w 271184"/>
                  <a:gd name="connsiteY21" fmla="*/ 332453 h 337058"/>
                  <a:gd name="connsiteX22" fmla="*/ 41928 w 271184"/>
                  <a:gd name="connsiteY22" fmla="*/ 261374 h 337058"/>
                  <a:gd name="connsiteX23" fmla="*/ 41252 w 271184"/>
                  <a:gd name="connsiteY23" fmla="*/ 261296 h 337058"/>
                  <a:gd name="connsiteX24" fmla="*/ 34852 w 271184"/>
                  <a:gd name="connsiteY24" fmla="*/ 257783 h 337058"/>
                  <a:gd name="connsiteX25" fmla="*/ 32016 w 271184"/>
                  <a:gd name="connsiteY25" fmla="*/ 236891 h 337058"/>
                  <a:gd name="connsiteX26" fmla="*/ 30897 w 271184"/>
                  <a:gd name="connsiteY26" fmla="*/ 232781 h 337058"/>
                  <a:gd name="connsiteX27" fmla="*/ 28243 w 271184"/>
                  <a:gd name="connsiteY27" fmla="*/ 228696 h 337058"/>
                  <a:gd name="connsiteX28" fmla="*/ 28764 w 271184"/>
                  <a:gd name="connsiteY28" fmla="*/ 227863 h 337058"/>
                  <a:gd name="connsiteX29" fmla="*/ 28217 w 271184"/>
                  <a:gd name="connsiteY29" fmla="*/ 217613 h 337058"/>
                  <a:gd name="connsiteX30" fmla="*/ 25980 w 271184"/>
                  <a:gd name="connsiteY30" fmla="*/ 215193 h 337058"/>
                  <a:gd name="connsiteX31" fmla="*/ 26136 w 271184"/>
                  <a:gd name="connsiteY31" fmla="*/ 214985 h 337058"/>
                  <a:gd name="connsiteX32" fmla="*/ 26526 w 271184"/>
                  <a:gd name="connsiteY32" fmla="*/ 214334 h 337058"/>
                  <a:gd name="connsiteX33" fmla="*/ 23248 w 271184"/>
                  <a:gd name="connsiteY33" fmla="*/ 189904 h 337058"/>
                  <a:gd name="connsiteX34" fmla="*/ 22520 w 271184"/>
                  <a:gd name="connsiteY34" fmla="*/ 189592 h 337058"/>
                  <a:gd name="connsiteX35" fmla="*/ 19449 w 271184"/>
                  <a:gd name="connsiteY35" fmla="*/ 188603 h 337058"/>
                  <a:gd name="connsiteX36" fmla="*/ 9771 w 271184"/>
                  <a:gd name="connsiteY36" fmla="*/ 185221 h 337058"/>
                  <a:gd name="connsiteX37" fmla="*/ 23196 w 271184"/>
                  <a:gd name="connsiteY37" fmla="*/ 162794 h 337058"/>
                  <a:gd name="connsiteX38" fmla="*/ 29570 w 271184"/>
                  <a:gd name="connsiteY38" fmla="*/ 153948 h 337058"/>
                  <a:gd name="connsiteX39" fmla="*/ 38000 w 271184"/>
                  <a:gd name="connsiteY39" fmla="*/ 133056 h 337058"/>
                  <a:gd name="connsiteX40" fmla="*/ 33031 w 271184"/>
                  <a:gd name="connsiteY40" fmla="*/ 126864 h 337058"/>
                  <a:gd name="connsiteX41" fmla="*/ 31600 w 271184"/>
                  <a:gd name="connsiteY41" fmla="*/ 116587 h 337058"/>
                  <a:gd name="connsiteX42" fmla="*/ 32120 w 271184"/>
                  <a:gd name="connsiteY42" fmla="*/ 113621 h 337058"/>
                  <a:gd name="connsiteX43" fmla="*/ 69533 w 271184"/>
                  <a:gd name="connsiteY43" fmla="*/ 33696 h 337058"/>
                  <a:gd name="connsiteX44" fmla="*/ 187053 w 271184"/>
                  <a:gd name="connsiteY44" fmla="*/ 12622 h 337058"/>
                  <a:gd name="connsiteX45" fmla="*/ 261463 w 271184"/>
                  <a:gd name="connsiteY45" fmla="*/ 113153 h 337058"/>
                  <a:gd name="connsiteX46" fmla="*/ 261280 w 271184"/>
                  <a:gd name="connsiteY46" fmla="*/ 120438 h 337058"/>
                  <a:gd name="connsiteX47" fmla="*/ 261202 w 271184"/>
                  <a:gd name="connsiteY47" fmla="*/ 121921 h 337058"/>
                  <a:gd name="connsiteX48" fmla="*/ 226938 w 271184"/>
                  <a:gd name="connsiteY48" fmla="*/ 220318 h 337058"/>
                  <a:gd name="connsiteX49" fmla="*/ 218664 w 271184"/>
                  <a:gd name="connsiteY49" fmla="*/ 236007 h 337058"/>
                  <a:gd name="connsiteX50" fmla="*/ 218430 w 271184"/>
                  <a:gd name="connsiteY50" fmla="*/ 236813 h 337058"/>
                  <a:gd name="connsiteX51" fmla="*/ 224258 w 271184"/>
                  <a:gd name="connsiteY51" fmla="*/ 327458 h 337058"/>
                  <a:gd name="connsiteX52" fmla="*/ 229617 w 271184"/>
                  <a:gd name="connsiteY52" fmla="*/ 331777 h 337058"/>
                  <a:gd name="connsiteX53" fmla="*/ 233936 w 271184"/>
                  <a:gd name="connsiteY53" fmla="*/ 326417 h 337058"/>
                  <a:gd name="connsiteX54" fmla="*/ 227900 w 271184"/>
                  <a:gd name="connsiteY54" fmla="*/ 239155 h 337058"/>
                  <a:gd name="connsiteX55" fmla="*/ 235393 w 271184"/>
                  <a:gd name="connsiteY55" fmla="*/ 225158 h 337058"/>
                  <a:gd name="connsiteX56" fmla="*/ 270933 w 271184"/>
                  <a:gd name="connsiteY56" fmla="*/ 122363 h 337058"/>
                  <a:gd name="connsiteX57" fmla="*/ 270985 w 271184"/>
                  <a:gd name="connsiteY57" fmla="*/ 120932 h 337058"/>
                  <a:gd name="connsiteX58" fmla="*/ 271167 w 271184"/>
                  <a:gd name="connsiteY58" fmla="*/ 113335 h 337058"/>
                  <a:gd name="connsiteX59" fmla="*/ 188614 w 271184"/>
                  <a:gd name="connsiteY59" fmla="*/ 3048 h 337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71184" h="337058">
                    <a:moveTo>
                      <a:pt x="188614" y="3048"/>
                    </a:moveTo>
                    <a:cubicBezTo>
                      <a:pt x="180757" y="1565"/>
                      <a:pt x="110354" y="-10377"/>
                      <a:pt x="63471" y="26021"/>
                    </a:cubicBezTo>
                    <a:cubicBezTo>
                      <a:pt x="38650" y="45274"/>
                      <a:pt x="24809" y="74543"/>
                      <a:pt x="22363" y="112555"/>
                    </a:cubicBezTo>
                    <a:cubicBezTo>
                      <a:pt x="22259" y="113231"/>
                      <a:pt x="22103" y="113960"/>
                      <a:pt x="21973" y="114740"/>
                    </a:cubicBezTo>
                    <a:cubicBezTo>
                      <a:pt x="20906" y="120230"/>
                      <a:pt x="19085" y="129440"/>
                      <a:pt x="27619" y="135034"/>
                    </a:cubicBezTo>
                    <a:cubicBezTo>
                      <a:pt x="27749" y="135138"/>
                      <a:pt x="28295" y="135216"/>
                      <a:pt x="28451" y="135294"/>
                    </a:cubicBezTo>
                    <a:cubicBezTo>
                      <a:pt x="28451" y="135320"/>
                      <a:pt x="29102" y="138338"/>
                      <a:pt x="21557" y="148380"/>
                    </a:cubicBezTo>
                    <a:cubicBezTo>
                      <a:pt x="19892" y="150904"/>
                      <a:pt x="17680" y="153870"/>
                      <a:pt x="15339" y="157018"/>
                    </a:cubicBezTo>
                    <a:cubicBezTo>
                      <a:pt x="5166" y="170703"/>
                      <a:pt x="-5371" y="184857"/>
                      <a:pt x="3085" y="192610"/>
                    </a:cubicBezTo>
                    <a:cubicBezTo>
                      <a:pt x="3397" y="192896"/>
                      <a:pt x="3735" y="193130"/>
                      <a:pt x="4099" y="193338"/>
                    </a:cubicBezTo>
                    <a:cubicBezTo>
                      <a:pt x="7117" y="194925"/>
                      <a:pt x="12087" y="196512"/>
                      <a:pt x="16457" y="197917"/>
                    </a:cubicBezTo>
                    <a:lnTo>
                      <a:pt x="18929" y="198724"/>
                    </a:lnTo>
                    <a:cubicBezTo>
                      <a:pt x="20542" y="199895"/>
                      <a:pt x="20880" y="203719"/>
                      <a:pt x="17966" y="209703"/>
                    </a:cubicBezTo>
                    <a:cubicBezTo>
                      <a:pt x="13856" y="215713"/>
                      <a:pt x="16483" y="219356"/>
                      <a:pt x="20152" y="223284"/>
                    </a:cubicBezTo>
                    <a:cubicBezTo>
                      <a:pt x="18123" y="226641"/>
                      <a:pt x="17160" y="230959"/>
                      <a:pt x="22103" y="237438"/>
                    </a:cubicBezTo>
                    <a:cubicBezTo>
                      <a:pt x="21505" y="242641"/>
                      <a:pt x="20854" y="255312"/>
                      <a:pt x="27021" y="263611"/>
                    </a:cubicBezTo>
                    <a:cubicBezTo>
                      <a:pt x="30169" y="267852"/>
                      <a:pt x="34748" y="270428"/>
                      <a:pt x="40211" y="271000"/>
                    </a:cubicBezTo>
                    <a:lnTo>
                      <a:pt x="40914" y="271078"/>
                    </a:lnTo>
                    <a:cubicBezTo>
                      <a:pt x="57773" y="272821"/>
                      <a:pt x="92870" y="276490"/>
                      <a:pt x="89800" y="331933"/>
                    </a:cubicBezTo>
                    <a:cubicBezTo>
                      <a:pt x="89644" y="334612"/>
                      <a:pt x="91700" y="336928"/>
                      <a:pt x="94405" y="337058"/>
                    </a:cubicBezTo>
                    <a:cubicBezTo>
                      <a:pt x="94509" y="337058"/>
                      <a:pt x="94587" y="337058"/>
                      <a:pt x="94666" y="337058"/>
                    </a:cubicBezTo>
                    <a:cubicBezTo>
                      <a:pt x="97241" y="337058"/>
                      <a:pt x="99375" y="335055"/>
                      <a:pt x="99531" y="332453"/>
                    </a:cubicBezTo>
                    <a:cubicBezTo>
                      <a:pt x="103121" y="267722"/>
                      <a:pt x="58658" y="263117"/>
                      <a:pt x="41928" y="261374"/>
                    </a:cubicBezTo>
                    <a:lnTo>
                      <a:pt x="41252" y="261296"/>
                    </a:lnTo>
                    <a:cubicBezTo>
                      <a:pt x="38442" y="261009"/>
                      <a:pt x="36413" y="259891"/>
                      <a:pt x="34852" y="257783"/>
                    </a:cubicBezTo>
                    <a:cubicBezTo>
                      <a:pt x="30741" y="252268"/>
                      <a:pt x="31157" y="241314"/>
                      <a:pt x="32016" y="236891"/>
                    </a:cubicBezTo>
                    <a:cubicBezTo>
                      <a:pt x="32302" y="235434"/>
                      <a:pt x="31886" y="233899"/>
                      <a:pt x="30897" y="232781"/>
                    </a:cubicBezTo>
                    <a:cubicBezTo>
                      <a:pt x="28373" y="229893"/>
                      <a:pt x="28269" y="228696"/>
                      <a:pt x="28243" y="228696"/>
                    </a:cubicBezTo>
                    <a:cubicBezTo>
                      <a:pt x="28295" y="228540"/>
                      <a:pt x="28582" y="228124"/>
                      <a:pt x="28764" y="227863"/>
                    </a:cubicBezTo>
                    <a:cubicBezTo>
                      <a:pt x="31313" y="224143"/>
                      <a:pt x="31157" y="220683"/>
                      <a:pt x="28217" y="217613"/>
                    </a:cubicBezTo>
                    <a:cubicBezTo>
                      <a:pt x="27411" y="216780"/>
                      <a:pt x="26526" y="215843"/>
                      <a:pt x="25980" y="215193"/>
                    </a:cubicBezTo>
                    <a:cubicBezTo>
                      <a:pt x="26032" y="215115"/>
                      <a:pt x="26084" y="215063"/>
                      <a:pt x="26136" y="214985"/>
                    </a:cubicBezTo>
                    <a:cubicBezTo>
                      <a:pt x="26292" y="214777"/>
                      <a:pt x="26422" y="214569"/>
                      <a:pt x="26526" y="214334"/>
                    </a:cubicBezTo>
                    <a:cubicBezTo>
                      <a:pt x="33161" y="201092"/>
                      <a:pt x="28894" y="192896"/>
                      <a:pt x="23248" y="189904"/>
                    </a:cubicBezTo>
                    <a:cubicBezTo>
                      <a:pt x="23014" y="189774"/>
                      <a:pt x="22754" y="189670"/>
                      <a:pt x="22520" y="189592"/>
                    </a:cubicBezTo>
                    <a:lnTo>
                      <a:pt x="19449" y="188603"/>
                    </a:lnTo>
                    <a:cubicBezTo>
                      <a:pt x="16353" y="187615"/>
                      <a:pt x="12295" y="186314"/>
                      <a:pt x="9771" y="185221"/>
                    </a:cubicBezTo>
                    <a:cubicBezTo>
                      <a:pt x="9537" y="181136"/>
                      <a:pt x="19033" y="168362"/>
                      <a:pt x="23196" y="162794"/>
                    </a:cubicBezTo>
                    <a:cubicBezTo>
                      <a:pt x="25668" y="159490"/>
                      <a:pt x="27983" y="156342"/>
                      <a:pt x="29570" y="153948"/>
                    </a:cubicBezTo>
                    <a:cubicBezTo>
                      <a:pt x="36491" y="144764"/>
                      <a:pt x="39171" y="138104"/>
                      <a:pt x="38000" y="133056"/>
                    </a:cubicBezTo>
                    <a:cubicBezTo>
                      <a:pt x="37037" y="128867"/>
                      <a:pt x="33785" y="127202"/>
                      <a:pt x="33031" y="126864"/>
                    </a:cubicBezTo>
                    <a:cubicBezTo>
                      <a:pt x="30429" y="125173"/>
                      <a:pt x="30403" y="122701"/>
                      <a:pt x="31600" y="116587"/>
                    </a:cubicBezTo>
                    <a:cubicBezTo>
                      <a:pt x="31782" y="115703"/>
                      <a:pt x="31938" y="114844"/>
                      <a:pt x="32120" y="113621"/>
                    </a:cubicBezTo>
                    <a:cubicBezTo>
                      <a:pt x="34409" y="78082"/>
                      <a:pt x="47002" y="51180"/>
                      <a:pt x="69533" y="33696"/>
                    </a:cubicBezTo>
                    <a:cubicBezTo>
                      <a:pt x="113060" y="-74"/>
                      <a:pt x="179482" y="11191"/>
                      <a:pt x="187053" y="12622"/>
                    </a:cubicBezTo>
                    <a:cubicBezTo>
                      <a:pt x="190149" y="13116"/>
                      <a:pt x="262815" y="25735"/>
                      <a:pt x="261463" y="113153"/>
                    </a:cubicBezTo>
                    <a:cubicBezTo>
                      <a:pt x="261384" y="118382"/>
                      <a:pt x="261359" y="118929"/>
                      <a:pt x="261280" y="120438"/>
                    </a:cubicBezTo>
                    <a:lnTo>
                      <a:pt x="261202" y="121921"/>
                    </a:lnTo>
                    <a:cubicBezTo>
                      <a:pt x="259433" y="163444"/>
                      <a:pt x="239088" y="199036"/>
                      <a:pt x="226938" y="220318"/>
                    </a:cubicBezTo>
                    <a:cubicBezTo>
                      <a:pt x="223139" y="226953"/>
                      <a:pt x="220147" y="232208"/>
                      <a:pt x="218664" y="236007"/>
                    </a:cubicBezTo>
                    <a:cubicBezTo>
                      <a:pt x="218560" y="236267"/>
                      <a:pt x="218482" y="236527"/>
                      <a:pt x="218430" y="236813"/>
                    </a:cubicBezTo>
                    <a:cubicBezTo>
                      <a:pt x="215828" y="249536"/>
                      <a:pt x="223373" y="319522"/>
                      <a:pt x="224258" y="327458"/>
                    </a:cubicBezTo>
                    <a:cubicBezTo>
                      <a:pt x="224544" y="330137"/>
                      <a:pt x="226938" y="332011"/>
                      <a:pt x="229617" y="331777"/>
                    </a:cubicBezTo>
                    <a:cubicBezTo>
                      <a:pt x="232297" y="331490"/>
                      <a:pt x="234222" y="329071"/>
                      <a:pt x="233936" y="326417"/>
                    </a:cubicBezTo>
                    <a:cubicBezTo>
                      <a:pt x="230632" y="296289"/>
                      <a:pt x="226365" y="248677"/>
                      <a:pt x="227900" y="239155"/>
                    </a:cubicBezTo>
                    <a:cubicBezTo>
                      <a:pt x="229201" y="235981"/>
                      <a:pt x="231959" y="231168"/>
                      <a:pt x="235393" y="225158"/>
                    </a:cubicBezTo>
                    <a:cubicBezTo>
                      <a:pt x="247986" y="203121"/>
                      <a:pt x="269060" y="166254"/>
                      <a:pt x="270933" y="122363"/>
                    </a:cubicBezTo>
                    <a:lnTo>
                      <a:pt x="270985" y="120932"/>
                    </a:lnTo>
                    <a:cubicBezTo>
                      <a:pt x="271063" y="119371"/>
                      <a:pt x="271089" y="118799"/>
                      <a:pt x="271167" y="113335"/>
                    </a:cubicBezTo>
                    <a:cubicBezTo>
                      <a:pt x="272572" y="17565"/>
                      <a:pt x="189317" y="3152"/>
                      <a:pt x="188614" y="3048"/>
                    </a:cubicBezTo>
                    <a:close/>
                  </a:path>
                </a:pathLst>
              </a:custGeom>
              <a:solidFill>
                <a:schemeClr val="accent1"/>
              </a:solidFill>
              <a:ln w="2598" cap="flat">
                <a:noFill/>
                <a:prstDash val="solid"/>
                <a:miter/>
              </a:ln>
            </p:spPr>
            <p:txBody>
              <a:bodyPr rtlCol="0" anchor="ctr"/>
              <a:lstStyle/>
              <a:p>
                <a:endParaRPr lang="en-GB" dirty="0"/>
              </a:p>
            </p:txBody>
          </p:sp>
          <p:grpSp>
            <p:nvGrpSpPr>
              <p:cNvPr id="264" name="Grafik 29">
                <a:extLst>
                  <a:ext uri="{FF2B5EF4-FFF2-40B4-BE49-F238E27FC236}">
                    <a16:creationId xmlns:a16="http://schemas.microsoft.com/office/drawing/2014/main" id="{E7E41992-E041-4DC5-AE76-CA8C133647BA}"/>
                  </a:ext>
                </a:extLst>
              </p:cNvPr>
              <p:cNvGrpSpPr/>
              <p:nvPr/>
            </p:nvGrpSpPr>
            <p:grpSpPr>
              <a:xfrm>
                <a:off x="6402115" y="2740407"/>
                <a:ext cx="64039" cy="155631"/>
                <a:chOff x="6402115" y="2740407"/>
                <a:chExt cx="64039" cy="155631"/>
              </a:xfrm>
              <a:solidFill>
                <a:schemeClr val="accent1"/>
              </a:solidFill>
            </p:grpSpPr>
            <p:sp>
              <p:nvSpPr>
                <p:cNvPr id="265" name="Freihandform: Form 827">
                  <a:extLst>
                    <a:ext uri="{FF2B5EF4-FFF2-40B4-BE49-F238E27FC236}">
                      <a16:creationId xmlns:a16="http://schemas.microsoft.com/office/drawing/2014/main" id="{6F93A320-752A-42A3-8B8B-9B62A4B52F3A}"/>
                    </a:ext>
                  </a:extLst>
                </p:cNvPr>
                <p:cNvSpPr/>
                <p:nvPr/>
              </p:nvSpPr>
              <p:spPr>
                <a:xfrm>
                  <a:off x="6438644" y="2769019"/>
                  <a:ext cx="27511" cy="89346"/>
                </a:xfrm>
                <a:custGeom>
                  <a:avLst/>
                  <a:gdLst>
                    <a:gd name="connsiteX0" fmla="*/ 19331 w 27511"/>
                    <a:gd name="connsiteY0" fmla="*/ 1278 h 89346"/>
                    <a:gd name="connsiteX1" fmla="*/ 0 w 27511"/>
                    <a:gd name="connsiteY1" fmla="*/ 45430 h 89346"/>
                    <a:gd name="connsiteX2" fmla="*/ 17614 w 27511"/>
                    <a:gd name="connsiteY2" fmla="*/ 87916 h 89346"/>
                    <a:gd name="connsiteX3" fmla="*/ 21048 w 27511"/>
                    <a:gd name="connsiteY3" fmla="*/ 89347 h 89346"/>
                    <a:gd name="connsiteX4" fmla="*/ 24482 w 27511"/>
                    <a:gd name="connsiteY4" fmla="*/ 87916 h 89346"/>
                    <a:gd name="connsiteX5" fmla="*/ 24482 w 27511"/>
                    <a:gd name="connsiteY5" fmla="*/ 81021 h 89346"/>
                    <a:gd name="connsiteX6" fmla="*/ 9730 w 27511"/>
                    <a:gd name="connsiteY6" fmla="*/ 45430 h 89346"/>
                    <a:gd name="connsiteX7" fmla="*/ 25939 w 27511"/>
                    <a:gd name="connsiteY7" fmla="*/ 8433 h 89346"/>
                    <a:gd name="connsiteX8" fmla="*/ 26225 w 27511"/>
                    <a:gd name="connsiteY8" fmla="*/ 1538 h 89346"/>
                    <a:gd name="connsiteX9" fmla="*/ 19331 w 27511"/>
                    <a:gd name="connsiteY9" fmla="*/ 1278 h 89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511" h="89346">
                      <a:moveTo>
                        <a:pt x="19331" y="1278"/>
                      </a:moveTo>
                      <a:cubicBezTo>
                        <a:pt x="7051" y="12622"/>
                        <a:pt x="0" y="28700"/>
                        <a:pt x="0" y="45430"/>
                      </a:cubicBezTo>
                      <a:cubicBezTo>
                        <a:pt x="0" y="61482"/>
                        <a:pt x="6244" y="76572"/>
                        <a:pt x="17614" y="87916"/>
                      </a:cubicBezTo>
                      <a:cubicBezTo>
                        <a:pt x="18576" y="88852"/>
                        <a:pt x="19799" y="89347"/>
                        <a:pt x="21048" y="89347"/>
                      </a:cubicBezTo>
                      <a:cubicBezTo>
                        <a:pt x="22297" y="89347"/>
                        <a:pt x="23546" y="88879"/>
                        <a:pt x="24482" y="87916"/>
                      </a:cubicBezTo>
                      <a:cubicBezTo>
                        <a:pt x="26382" y="86017"/>
                        <a:pt x="26382" y="82921"/>
                        <a:pt x="24482" y="81021"/>
                      </a:cubicBezTo>
                      <a:cubicBezTo>
                        <a:pt x="14960" y="71525"/>
                        <a:pt x="9730" y="58881"/>
                        <a:pt x="9730" y="45430"/>
                      </a:cubicBezTo>
                      <a:cubicBezTo>
                        <a:pt x="9730" y="31432"/>
                        <a:pt x="15636" y="17955"/>
                        <a:pt x="25939" y="8433"/>
                      </a:cubicBezTo>
                      <a:cubicBezTo>
                        <a:pt x="27917" y="6612"/>
                        <a:pt x="28047" y="3542"/>
                        <a:pt x="26225" y="1538"/>
                      </a:cubicBezTo>
                      <a:cubicBezTo>
                        <a:pt x="24378" y="-413"/>
                        <a:pt x="21308" y="-517"/>
                        <a:pt x="19331" y="1278"/>
                      </a:cubicBezTo>
                      <a:close/>
                    </a:path>
                  </a:pathLst>
                </a:custGeom>
                <a:solidFill>
                  <a:schemeClr val="accent1"/>
                </a:solidFill>
                <a:ln w="2598" cap="flat">
                  <a:noFill/>
                  <a:prstDash val="solid"/>
                  <a:miter/>
                </a:ln>
              </p:spPr>
              <p:txBody>
                <a:bodyPr rtlCol="0" anchor="ctr"/>
                <a:lstStyle/>
                <a:p>
                  <a:endParaRPr lang="en-GB" dirty="0"/>
                </a:p>
              </p:txBody>
            </p:sp>
            <p:sp>
              <p:nvSpPr>
                <p:cNvPr id="266" name="Freihandform: Form 828">
                  <a:extLst>
                    <a:ext uri="{FF2B5EF4-FFF2-40B4-BE49-F238E27FC236}">
                      <a16:creationId xmlns:a16="http://schemas.microsoft.com/office/drawing/2014/main" id="{31F95881-4221-4AC9-84B4-D5ED1FDC0A7D}"/>
                    </a:ext>
                  </a:extLst>
                </p:cNvPr>
                <p:cNvSpPr/>
                <p:nvPr/>
              </p:nvSpPr>
              <p:spPr>
                <a:xfrm>
                  <a:off x="6402115" y="2740407"/>
                  <a:ext cx="51206" cy="155631"/>
                </a:xfrm>
                <a:custGeom>
                  <a:avLst/>
                  <a:gdLst>
                    <a:gd name="connsiteX0" fmla="*/ 48991 w 51206"/>
                    <a:gd name="connsiteY0" fmla="*/ 146708 h 155631"/>
                    <a:gd name="connsiteX1" fmla="*/ 9730 w 51206"/>
                    <a:gd name="connsiteY1" fmla="*/ 74041 h 155631"/>
                    <a:gd name="connsiteX2" fmla="*/ 39572 w 51206"/>
                    <a:gd name="connsiteY2" fmla="*/ 8530 h 155631"/>
                    <a:gd name="connsiteX3" fmla="*/ 40041 w 51206"/>
                    <a:gd name="connsiteY3" fmla="*/ 1661 h 155631"/>
                    <a:gd name="connsiteX4" fmla="*/ 33172 w 51206"/>
                    <a:gd name="connsiteY4" fmla="*/ 1193 h 155631"/>
                    <a:gd name="connsiteX5" fmla="*/ 0 w 51206"/>
                    <a:gd name="connsiteY5" fmla="*/ 74041 h 155631"/>
                    <a:gd name="connsiteX6" fmla="*/ 43657 w 51206"/>
                    <a:gd name="connsiteY6" fmla="*/ 154825 h 155631"/>
                    <a:gd name="connsiteX7" fmla="*/ 46337 w 51206"/>
                    <a:gd name="connsiteY7" fmla="*/ 155632 h 155631"/>
                    <a:gd name="connsiteX8" fmla="*/ 50422 w 51206"/>
                    <a:gd name="connsiteY8" fmla="*/ 153446 h 155631"/>
                    <a:gd name="connsiteX9" fmla="*/ 48991 w 51206"/>
                    <a:gd name="connsiteY9" fmla="*/ 146708 h 1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06" h="155631">
                      <a:moveTo>
                        <a:pt x="48991" y="146708"/>
                      </a:moveTo>
                      <a:cubicBezTo>
                        <a:pt x="24404" y="130577"/>
                        <a:pt x="9730" y="103415"/>
                        <a:pt x="9730" y="74041"/>
                      </a:cubicBezTo>
                      <a:cubicBezTo>
                        <a:pt x="9730" y="48909"/>
                        <a:pt x="20606" y="25051"/>
                        <a:pt x="39572" y="8530"/>
                      </a:cubicBezTo>
                      <a:cubicBezTo>
                        <a:pt x="41602" y="6761"/>
                        <a:pt x="41810" y="3690"/>
                        <a:pt x="40041" y="1661"/>
                      </a:cubicBezTo>
                      <a:cubicBezTo>
                        <a:pt x="38297" y="-342"/>
                        <a:pt x="35201" y="-576"/>
                        <a:pt x="33172" y="1193"/>
                      </a:cubicBezTo>
                      <a:cubicBezTo>
                        <a:pt x="12098" y="19561"/>
                        <a:pt x="0" y="46099"/>
                        <a:pt x="0" y="74041"/>
                      </a:cubicBezTo>
                      <a:cubicBezTo>
                        <a:pt x="0" y="106693"/>
                        <a:pt x="16313" y="136899"/>
                        <a:pt x="43657" y="154825"/>
                      </a:cubicBezTo>
                      <a:cubicBezTo>
                        <a:pt x="44490" y="155371"/>
                        <a:pt x="45400" y="155632"/>
                        <a:pt x="46337" y="155632"/>
                      </a:cubicBezTo>
                      <a:cubicBezTo>
                        <a:pt x="47924" y="155632"/>
                        <a:pt x="49485" y="154851"/>
                        <a:pt x="50422" y="153446"/>
                      </a:cubicBezTo>
                      <a:cubicBezTo>
                        <a:pt x="51879" y="151183"/>
                        <a:pt x="51254" y="148165"/>
                        <a:pt x="48991" y="146708"/>
                      </a:cubicBezTo>
                      <a:close/>
                    </a:path>
                  </a:pathLst>
                </a:custGeom>
                <a:solidFill>
                  <a:schemeClr val="accent1"/>
                </a:solidFill>
                <a:ln w="2598" cap="flat">
                  <a:noFill/>
                  <a:prstDash val="solid"/>
                  <a:miter/>
                </a:ln>
              </p:spPr>
              <p:txBody>
                <a:bodyPr rtlCol="0" anchor="ctr"/>
                <a:lstStyle/>
                <a:p>
                  <a:endParaRPr lang="en-GB" dirty="0"/>
                </a:p>
              </p:txBody>
            </p:sp>
          </p:grpSp>
        </p:grpSp>
        <p:grpSp>
          <p:nvGrpSpPr>
            <p:cNvPr id="258" name="Group 257">
              <a:extLst>
                <a:ext uri="{FF2B5EF4-FFF2-40B4-BE49-F238E27FC236}">
                  <a16:creationId xmlns:a16="http://schemas.microsoft.com/office/drawing/2014/main" id="{D4CB588F-54A9-4E18-8911-C9CCEF13AD3B}"/>
                </a:ext>
              </a:extLst>
            </p:cNvPr>
            <p:cNvGrpSpPr/>
            <p:nvPr/>
          </p:nvGrpSpPr>
          <p:grpSpPr>
            <a:xfrm>
              <a:off x="6066733" y="2602346"/>
              <a:ext cx="345138" cy="337141"/>
              <a:chOff x="6066733" y="2602346"/>
              <a:chExt cx="345138" cy="337141"/>
            </a:xfrm>
          </p:grpSpPr>
          <p:sp>
            <p:nvSpPr>
              <p:cNvPr id="259" name="Freihandform: Form 825">
                <a:extLst>
                  <a:ext uri="{FF2B5EF4-FFF2-40B4-BE49-F238E27FC236}">
                    <a16:creationId xmlns:a16="http://schemas.microsoft.com/office/drawing/2014/main" id="{57C766F6-5162-49AC-B4BB-3C8238CC388E}"/>
                  </a:ext>
                </a:extLst>
              </p:cNvPr>
              <p:cNvSpPr/>
              <p:nvPr/>
            </p:nvSpPr>
            <p:spPr>
              <a:xfrm>
                <a:off x="6066733" y="2602346"/>
                <a:ext cx="271201" cy="337141"/>
              </a:xfrm>
              <a:custGeom>
                <a:avLst/>
                <a:gdLst>
                  <a:gd name="connsiteX0" fmla="*/ 249422 w 271201"/>
                  <a:gd name="connsiteY0" fmla="*/ 148125 h 337141"/>
                  <a:gd name="connsiteX1" fmla="*/ 242891 w 271201"/>
                  <a:gd name="connsiteY1" fmla="*/ 135377 h 337141"/>
                  <a:gd name="connsiteX2" fmla="*/ 243516 w 271201"/>
                  <a:gd name="connsiteY2" fmla="*/ 135013 h 337141"/>
                  <a:gd name="connsiteX3" fmla="*/ 249161 w 271201"/>
                  <a:gd name="connsiteY3" fmla="*/ 114719 h 337141"/>
                  <a:gd name="connsiteX4" fmla="*/ 248797 w 271201"/>
                  <a:gd name="connsiteY4" fmla="*/ 113002 h 337141"/>
                  <a:gd name="connsiteX5" fmla="*/ 207638 w 271201"/>
                  <a:gd name="connsiteY5" fmla="*/ 26026 h 337141"/>
                  <a:gd name="connsiteX6" fmla="*/ 82625 w 271201"/>
                  <a:gd name="connsiteY6" fmla="*/ 3027 h 337141"/>
                  <a:gd name="connsiteX7" fmla="*/ 20 w 271201"/>
                  <a:gd name="connsiteY7" fmla="*/ 113340 h 337141"/>
                  <a:gd name="connsiteX8" fmla="*/ 202 w 271201"/>
                  <a:gd name="connsiteY8" fmla="*/ 120937 h 337141"/>
                  <a:gd name="connsiteX9" fmla="*/ 254 w 271201"/>
                  <a:gd name="connsiteY9" fmla="*/ 122368 h 337141"/>
                  <a:gd name="connsiteX10" fmla="*/ 35793 w 271201"/>
                  <a:gd name="connsiteY10" fmla="*/ 225163 h 337141"/>
                  <a:gd name="connsiteX11" fmla="*/ 43312 w 271201"/>
                  <a:gd name="connsiteY11" fmla="*/ 239160 h 337141"/>
                  <a:gd name="connsiteX12" fmla="*/ 37276 w 271201"/>
                  <a:gd name="connsiteY12" fmla="*/ 326422 h 337141"/>
                  <a:gd name="connsiteX13" fmla="*/ 41595 w 271201"/>
                  <a:gd name="connsiteY13" fmla="*/ 331782 h 337141"/>
                  <a:gd name="connsiteX14" fmla="*/ 46955 w 271201"/>
                  <a:gd name="connsiteY14" fmla="*/ 327463 h 337141"/>
                  <a:gd name="connsiteX15" fmla="*/ 52783 w 271201"/>
                  <a:gd name="connsiteY15" fmla="*/ 236819 h 337141"/>
                  <a:gd name="connsiteX16" fmla="*/ 52549 w 271201"/>
                  <a:gd name="connsiteY16" fmla="*/ 236012 h 337141"/>
                  <a:gd name="connsiteX17" fmla="*/ 44275 w 271201"/>
                  <a:gd name="connsiteY17" fmla="*/ 220324 h 337141"/>
                  <a:gd name="connsiteX18" fmla="*/ 10010 w 271201"/>
                  <a:gd name="connsiteY18" fmla="*/ 121926 h 337141"/>
                  <a:gd name="connsiteX19" fmla="*/ 9932 w 271201"/>
                  <a:gd name="connsiteY19" fmla="*/ 120443 h 337141"/>
                  <a:gd name="connsiteX20" fmla="*/ 9750 w 271201"/>
                  <a:gd name="connsiteY20" fmla="*/ 113158 h 337141"/>
                  <a:gd name="connsiteX21" fmla="*/ 84290 w 271201"/>
                  <a:gd name="connsiteY21" fmla="*/ 12601 h 337141"/>
                  <a:gd name="connsiteX22" fmla="*/ 201680 w 271201"/>
                  <a:gd name="connsiteY22" fmla="*/ 33701 h 337141"/>
                  <a:gd name="connsiteX23" fmla="*/ 239145 w 271201"/>
                  <a:gd name="connsiteY23" fmla="*/ 114069 h 337141"/>
                  <a:gd name="connsiteX24" fmla="*/ 239613 w 271201"/>
                  <a:gd name="connsiteY24" fmla="*/ 116593 h 337141"/>
                  <a:gd name="connsiteX25" fmla="*/ 238468 w 271201"/>
                  <a:gd name="connsiteY25" fmla="*/ 126687 h 337141"/>
                  <a:gd name="connsiteX26" fmla="*/ 233213 w 271201"/>
                  <a:gd name="connsiteY26" fmla="*/ 133087 h 337141"/>
                  <a:gd name="connsiteX27" fmla="*/ 241460 w 271201"/>
                  <a:gd name="connsiteY27" fmla="*/ 153719 h 337141"/>
                  <a:gd name="connsiteX28" fmla="*/ 247991 w 271201"/>
                  <a:gd name="connsiteY28" fmla="*/ 162825 h 337141"/>
                  <a:gd name="connsiteX29" fmla="*/ 261520 w 271201"/>
                  <a:gd name="connsiteY29" fmla="*/ 185200 h 337141"/>
                  <a:gd name="connsiteX30" fmla="*/ 251711 w 271201"/>
                  <a:gd name="connsiteY30" fmla="*/ 188660 h 337141"/>
                  <a:gd name="connsiteX31" fmla="*/ 248667 w 271201"/>
                  <a:gd name="connsiteY31" fmla="*/ 189649 h 337141"/>
                  <a:gd name="connsiteX32" fmla="*/ 247939 w 271201"/>
                  <a:gd name="connsiteY32" fmla="*/ 189961 h 337141"/>
                  <a:gd name="connsiteX33" fmla="*/ 244660 w 271201"/>
                  <a:gd name="connsiteY33" fmla="*/ 214392 h 337141"/>
                  <a:gd name="connsiteX34" fmla="*/ 245051 w 271201"/>
                  <a:gd name="connsiteY34" fmla="*/ 215042 h 337141"/>
                  <a:gd name="connsiteX35" fmla="*/ 245207 w 271201"/>
                  <a:gd name="connsiteY35" fmla="*/ 215250 h 337141"/>
                  <a:gd name="connsiteX36" fmla="*/ 242969 w 271201"/>
                  <a:gd name="connsiteY36" fmla="*/ 217670 h 337141"/>
                  <a:gd name="connsiteX37" fmla="*/ 242449 w 271201"/>
                  <a:gd name="connsiteY37" fmla="*/ 227921 h 337141"/>
                  <a:gd name="connsiteX38" fmla="*/ 242969 w 271201"/>
                  <a:gd name="connsiteY38" fmla="*/ 228701 h 337141"/>
                  <a:gd name="connsiteX39" fmla="*/ 240342 w 271201"/>
                  <a:gd name="connsiteY39" fmla="*/ 232864 h 337141"/>
                  <a:gd name="connsiteX40" fmla="*/ 239223 w 271201"/>
                  <a:gd name="connsiteY40" fmla="*/ 236975 h 337141"/>
                  <a:gd name="connsiteX41" fmla="*/ 236387 w 271201"/>
                  <a:gd name="connsiteY41" fmla="*/ 257867 h 337141"/>
                  <a:gd name="connsiteX42" fmla="*/ 229987 w 271201"/>
                  <a:gd name="connsiteY42" fmla="*/ 261379 h 337141"/>
                  <a:gd name="connsiteX43" fmla="*/ 229310 w 271201"/>
                  <a:gd name="connsiteY43" fmla="*/ 261457 h 337141"/>
                  <a:gd name="connsiteX44" fmla="*/ 171708 w 271201"/>
                  <a:gd name="connsiteY44" fmla="*/ 332536 h 337141"/>
                  <a:gd name="connsiteX45" fmla="*/ 176573 w 271201"/>
                  <a:gd name="connsiteY45" fmla="*/ 337141 h 337141"/>
                  <a:gd name="connsiteX46" fmla="*/ 176833 w 271201"/>
                  <a:gd name="connsiteY46" fmla="*/ 337141 h 337141"/>
                  <a:gd name="connsiteX47" fmla="*/ 181438 w 271201"/>
                  <a:gd name="connsiteY47" fmla="*/ 332016 h 337141"/>
                  <a:gd name="connsiteX48" fmla="*/ 230325 w 271201"/>
                  <a:gd name="connsiteY48" fmla="*/ 271161 h 337141"/>
                  <a:gd name="connsiteX49" fmla="*/ 231027 w 271201"/>
                  <a:gd name="connsiteY49" fmla="*/ 271083 h 337141"/>
                  <a:gd name="connsiteX50" fmla="*/ 244218 w 271201"/>
                  <a:gd name="connsiteY50" fmla="*/ 263694 h 337141"/>
                  <a:gd name="connsiteX51" fmla="*/ 249135 w 271201"/>
                  <a:gd name="connsiteY51" fmla="*/ 237521 h 337141"/>
                  <a:gd name="connsiteX52" fmla="*/ 251061 w 271201"/>
                  <a:gd name="connsiteY52" fmla="*/ 223368 h 337141"/>
                  <a:gd name="connsiteX53" fmla="*/ 253246 w 271201"/>
                  <a:gd name="connsiteY53" fmla="*/ 209761 h 337141"/>
                  <a:gd name="connsiteX54" fmla="*/ 252283 w 271201"/>
                  <a:gd name="connsiteY54" fmla="*/ 198781 h 337141"/>
                  <a:gd name="connsiteX55" fmla="*/ 254755 w 271201"/>
                  <a:gd name="connsiteY55" fmla="*/ 197975 h 337141"/>
                  <a:gd name="connsiteX56" fmla="*/ 267113 w 271201"/>
                  <a:gd name="connsiteY56" fmla="*/ 193396 h 337141"/>
                  <a:gd name="connsiteX57" fmla="*/ 268128 w 271201"/>
                  <a:gd name="connsiteY57" fmla="*/ 192667 h 337141"/>
                  <a:gd name="connsiteX58" fmla="*/ 255848 w 271201"/>
                  <a:gd name="connsiteY58" fmla="*/ 157075 h 337141"/>
                  <a:gd name="connsiteX59" fmla="*/ 249422 w 271201"/>
                  <a:gd name="connsiteY59" fmla="*/ 148125 h 337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71201" h="337141">
                    <a:moveTo>
                      <a:pt x="249422" y="148125"/>
                    </a:moveTo>
                    <a:cubicBezTo>
                      <a:pt x="242033" y="138291"/>
                      <a:pt x="242553" y="135273"/>
                      <a:pt x="242891" y="135377"/>
                    </a:cubicBezTo>
                    <a:cubicBezTo>
                      <a:pt x="243047" y="135299"/>
                      <a:pt x="243386" y="135117"/>
                      <a:pt x="243516" y="135013"/>
                    </a:cubicBezTo>
                    <a:cubicBezTo>
                      <a:pt x="252023" y="129419"/>
                      <a:pt x="250228" y="120209"/>
                      <a:pt x="249161" y="114719"/>
                    </a:cubicBezTo>
                    <a:cubicBezTo>
                      <a:pt x="249005" y="113965"/>
                      <a:pt x="248875" y="113236"/>
                      <a:pt x="248797" y="113002"/>
                    </a:cubicBezTo>
                    <a:cubicBezTo>
                      <a:pt x="246299" y="74549"/>
                      <a:pt x="232458" y="45279"/>
                      <a:pt x="207638" y="26026"/>
                    </a:cubicBezTo>
                    <a:cubicBezTo>
                      <a:pt x="160729" y="-10372"/>
                      <a:pt x="90352" y="1570"/>
                      <a:pt x="82625" y="3027"/>
                    </a:cubicBezTo>
                    <a:cubicBezTo>
                      <a:pt x="81792" y="3157"/>
                      <a:pt x="-1463" y="17571"/>
                      <a:pt x="20" y="113340"/>
                    </a:cubicBezTo>
                    <a:cubicBezTo>
                      <a:pt x="98" y="118778"/>
                      <a:pt x="124" y="119376"/>
                      <a:pt x="202" y="120937"/>
                    </a:cubicBezTo>
                    <a:lnTo>
                      <a:pt x="254" y="122368"/>
                    </a:lnTo>
                    <a:cubicBezTo>
                      <a:pt x="2127" y="166260"/>
                      <a:pt x="23201" y="203126"/>
                      <a:pt x="35793" y="225163"/>
                    </a:cubicBezTo>
                    <a:cubicBezTo>
                      <a:pt x="39228" y="231199"/>
                      <a:pt x="41986" y="236012"/>
                      <a:pt x="43312" y="239160"/>
                    </a:cubicBezTo>
                    <a:cubicBezTo>
                      <a:pt x="44847" y="248682"/>
                      <a:pt x="40581" y="296268"/>
                      <a:pt x="37276" y="326422"/>
                    </a:cubicBezTo>
                    <a:cubicBezTo>
                      <a:pt x="36990" y="329102"/>
                      <a:pt x="38915" y="331496"/>
                      <a:pt x="41595" y="331782"/>
                    </a:cubicBezTo>
                    <a:cubicBezTo>
                      <a:pt x="44275" y="332042"/>
                      <a:pt x="46669" y="330143"/>
                      <a:pt x="46955" y="327463"/>
                    </a:cubicBezTo>
                    <a:cubicBezTo>
                      <a:pt x="47813" y="319528"/>
                      <a:pt x="55384" y="249541"/>
                      <a:pt x="52783" y="236819"/>
                    </a:cubicBezTo>
                    <a:cubicBezTo>
                      <a:pt x="52731" y="236532"/>
                      <a:pt x="52653" y="236272"/>
                      <a:pt x="52549" y="236012"/>
                    </a:cubicBezTo>
                    <a:cubicBezTo>
                      <a:pt x="51066" y="232187"/>
                      <a:pt x="48048" y="226958"/>
                      <a:pt x="44275" y="220324"/>
                    </a:cubicBezTo>
                    <a:cubicBezTo>
                      <a:pt x="32125" y="199067"/>
                      <a:pt x="11779" y="163476"/>
                      <a:pt x="10010" y="121926"/>
                    </a:cubicBezTo>
                    <a:lnTo>
                      <a:pt x="9932" y="120443"/>
                    </a:lnTo>
                    <a:cubicBezTo>
                      <a:pt x="9854" y="118934"/>
                      <a:pt x="9828" y="118388"/>
                      <a:pt x="9750" y="113158"/>
                    </a:cubicBezTo>
                    <a:cubicBezTo>
                      <a:pt x="8397" y="26000"/>
                      <a:pt x="81064" y="13122"/>
                      <a:pt x="84290" y="12601"/>
                    </a:cubicBezTo>
                    <a:cubicBezTo>
                      <a:pt x="91731" y="11196"/>
                      <a:pt x="158127" y="-95"/>
                      <a:pt x="201680" y="33701"/>
                    </a:cubicBezTo>
                    <a:cubicBezTo>
                      <a:pt x="224211" y="51185"/>
                      <a:pt x="236777" y="78061"/>
                      <a:pt x="239145" y="114069"/>
                    </a:cubicBezTo>
                    <a:cubicBezTo>
                      <a:pt x="239275" y="114849"/>
                      <a:pt x="239431" y="115708"/>
                      <a:pt x="239613" y="116593"/>
                    </a:cubicBezTo>
                    <a:cubicBezTo>
                      <a:pt x="240810" y="122707"/>
                      <a:pt x="240784" y="125178"/>
                      <a:pt x="238468" y="126687"/>
                    </a:cubicBezTo>
                    <a:cubicBezTo>
                      <a:pt x="237402" y="127234"/>
                      <a:pt x="234175" y="128873"/>
                      <a:pt x="233213" y="133087"/>
                    </a:cubicBezTo>
                    <a:cubicBezTo>
                      <a:pt x="232042" y="138135"/>
                      <a:pt x="234722" y="144769"/>
                      <a:pt x="241460" y="153719"/>
                    </a:cubicBezTo>
                    <a:cubicBezTo>
                      <a:pt x="243203" y="156373"/>
                      <a:pt x="245519" y="159495"/>
                      <a:pt x="247991" y="162825"/>
                    </a:cubicBezTo>
                    <a:cubicBezTo>
                      <a:pt x="252179" y="168471"/>
                      <a:pt x="261884" y="181506"/>
                      <a:pt x="261520" y="185200"/>
                    </a:cubicBezTo>
                    <a:cubicBezTo>
                      <a:pt x="258996" y="186319"/>
                      <a:pt x="254859" y="187646"/>
                      <a:pt x="251711" y="188660"/>
                    </a:cubicBezTo>
                    <a:lnTo>
                      <a:pt x="248667" y="189649"/>
                    </a:lnTo>
                    <a:cubicBezTo>
                      <a:pt x="248407" y="189727"/>
                      <a:pt x="248173" y="189831"/>
                      <a:pt x="247939" y="189961"/>
                    </a:cubicBezTo>
                    <a:cubicBezTo>
                      <a:pt x="242267" y="192953"/>
                      <a:pt x="238026" y="201149"/>
                      <a:pt x="244660" y="214392"/>
                    </a:cubicBezTo>
                    <a:cubicBezTo>
                      <a:pt x="244764" y="214626"/>
                      <a:pt x="244895" y="214834"/>
                      <a:pt x="245051" y="215042"/>
                    </a:cubicBezTo>
                    <a:cubicBezTo>
                      <a:pt x="245103" y="215120"/>
                      <a:pt x="245155" y="215172"/>
                      <a:pt x="245207" y="215250"/>
                    </a:cubicBezTo>
                    <a:cubicBezTo>
                      <a:pt x="244660" y="215901"/>
                      <a:pt x="243776" y="216837"/>
                      <a:pt x="242969" y="217670"/>
                    </a:cubicBezTo>
                    <a:cubicBezTo>
                      <a:pt x="240055" y="220740"/>
                      <a:pt x="239873" y="224174"/>
                      <a:pt x="242449" y="227921"/>
                    </a:cubicBezTo>
                    <a:cubicBezTo>
                      <a:pt x="242631" y="228207"/>
                      <a:pt x="242917" y="228623"/>
                      <a:pt x="242969" y="228701"/>
                    </a:cubicBezTo>
                    <a:cubicBezTo>
                      <a:pt x="242969" y="228701"/>
                      <a:pt x="242917" y="229872"/>
                      <a:pt x="240342" y="232864"/>
                    </a:cubicBezTo>
                    <a:cubicBezTo>
                      <a:pt x="239353" y="233983"/>
                      <a:pt x="238937" y="235518"/>
                      <a:pt x="239223" y="236975"/>
                    </a:cubicBezTo>
                    <a:cubicBezTo>
                      <a:pt x="240081" y="241398"/>
                      <a:pt x="240498" y="252351"/>
                      <a:pt x="236387" y="257867"/>
                    </a:cubicBezTo>
                    <a:cubicBezTo>
                      <a:pt x="234826" y="259974"/>
                      <a:pt x="232797" y="261067"/>
                      <a:pt x="229987" y="261379"/>
                    </a:cubicBezTo>
                    <a:lnTo>
                      <a:pt x="229310" y="261457"/>
                    </a:lnTo>
                    <a:cubicBezTo>
                      <a:pt x="212581" y="263200"/>
                      <a:pt x="168117" y="267805"/>
                      <a:pt x="171708" y="332536"/>
                    </a:cubicBezTo>
                    <a:cubicBezTo>
                      <a:pt x="171864" y="335138"/>
                      <a:pt x="173997" y="337141"/>
                      <a:pt x="176573" y="337141"/>
                    </a:cubicBezTo>
                    <a:cubicBezTo>
                      <a:pt x="176651" y="337141"/>
                      <a:pt x="176755" y="337141"/>
                      <a:pt x="176833" y="337141"/>
                    </a:cubicBezTo>
                    <a:cubicBezTo>
                      <a:pt x="179513" y="336985"/>
                      <a:pt x="181568" y="334696"/>
                      <a:pt x="181438" y="332016"/>
                    </a:cubicBezTo>
                    <a:cubicBezTo>
                      <a:pt x="178368" y="276547"/>
                      <a:pt x="213466" y="272905"/>
                      <a:pt x="230325" y="271161"/>
                    </a:cubicBezTo>
                    <a:lnTo>
                      <a:pt x="231027" y="271083"/>
                    </a:lnTo>
                    <a:cubicBezTo>
                      <a:pt x="236491" y="270511"/>
                      <a:pt x="241070" y="267961"/>
                      <a:pt x="244218" y="263694"/>
                    </a:cubicBezTo>
                    <a:cubicBezTo>
                      <a:pt x="250384" y="255395"/>
                      <a:pt x="249734" y="242698"/>
                      <a:pt x="249135" y="237521"/>
                    </a:cubicBezTo>
                    <a:cubicBezTo>
                      <a:pt x="253897" y="231277"/>
                      <a:pt x="253168" y="227010"/>
                      <a:pt x="251061" y="223368"/>
                    </a:cubicBezTo>
                    <a:cubicBezTo>
                      <a:pt x="254703" y="219465"/>
                      <a:pt x="257383" y="215797"/>
                      <a:pt x="253246" y="209761"/>
                    </a:cubicBezTo>
                    <a:cubicBezTo>
                      <a:pt x="250306" y="203776"/>
                      <a:pt x="250670" y="199952"/>
                      <a:pt x="252283" y="198781"/>
                    </a:cubicBezTo>
                    <a:lnTo>
                      <a:pt x="254755" y="197975"/>
                    </a:lnTo>
                    <a:cubicBezTo>
                      <a:pt x="259126" y="196570"/>
                      <a:pt x="264095" y="194983"/>
                      <a:pt x="267113" y="193396"/>
                    </a:cubicBezTo>
                    <a:cubicBezTo>
                      <a:pt x="267478" y="193213"/>
                      <a:pt x="267842" y="192953"/>
                      <a:pt x="268128" y="192667"/>
                    </a:cubicBezTo>
                    <a:cubicBezTo>
                      <a:pt x="276558" y="184914"/>
                      <a:pt x="266047" y="170761"/>
                      <a:pt x="255848" y="157075"/>
                    </a:cubicBezTo>
                    <a:cubicBezTo>
                      <a:pt x="253480" y="153875"/>
                      <a:pt x="251269" y="150909"/>
                      <a:pt x="249422" y="148125"/>
                    </a:cubicBezTo>
                    <a:close/>
                  </a:path>
                </a:pathLst>
              </a:custGeom>
              <a:solidFill>
                <a:schemeClr val="tx2"/>
              </a:solidFill>
              <a:ln w="2598" cap="flat">
                <a:noFill/>
                <a:prstDash val="solid"/>
                <a:miter/>
              </a:ln>
            </p:spPr>
            <p:txBody>
              <a:bodyPr rtlCol="0" anchor="ctr"/>
              <a:lstStyle/>
              <a:p>
                <a:endParaRPr lang="en-GB" dirty="0"/>
              </a:p>
            </p:txBody>
          </p:sp>
          <p:grpSp>
            <p:nvGrpSpPr>
              <p:cNvPr id="260" name="Grafik 29">
                <a:extLst>
                  <a:ext uri="{FF2B5EF4-FFF2-40B4-BE49-F238E27FC236}">
                    <a16:creationId xmlns:a16="http://schemas.microsoft.com/office/drawing/2014/main" id="{27EB1C74-53A9-42D1-95F2-F4BB24262B37}"/>
                  </a:ext>
                </a:extLst>
              </p:cNvPr>
              <p:cNvGrpSpPr/>
              <p:nvPr/>
            </p:nvGrpSpPr>
            <p:grpSpPr>
              <a:xfrm>
                <a:off x="6347832" y="2740407"/>
                <a:ext cx="64039" cy="155631"/>
                <a:chOff x="6347832" y="2740407"/>
                <a:chExt cx="64039" cy="155631"/>
              </a:xfrm>
              <a:solidFill>
                <a:schemeClr val="tx2"/>
              </a:solidFill>
            </p:grpSpPr>
            <p:sp>
              <p:nvSpPr>
                <p:cNvPr id="261" name="Freihandform: Form 830">
                  <a:extLst>
                    <a:ext uri="{FF2B5EF4-FFF2-40B4-BE49-F238E27FC236}">
                      <a16:creationId xmlns:a16="http://schemas.microsoft.com/office/drawing/2014/main" id="{3FBDABA4-FC7B-4CA7-8D0F-522D1E4436BD}"/>
                    </a:ext>
                  </a:extLst>
                </p:cNvPr>
                <p:cNvSpPr/>
                <p:nvPr/>
              </p:nvSpPr>
              <p:spPr>
                <a:xfrm>
                  <a:off x="6347832" y="2769025"/>
                  <a:ext cx="27511" cy="89366"/>
                </a:xfrm>
                <a:custGeom>
                  <a:avLst/>
                  <a:gdLst>
                    <a:gd name="connsiteX0" fmla="*/ 1286 w 27511"/>
                    <a:gd name="connsiteY0" fmla="*/ 1558 h 89366"/>
                    <a:gd name="connsiteX1" fmla="*/ 1572 w 27511"/>
                    <a:gd name="connsiteY1" fmla="*/ 8452 h 89366"/>
                    <a:gd name="connsiteX2" fmla="*/ 17781 w 27511"/>
                    <a:gd name="connsiteY2" fmla="*/ 45449 h 89366"/>
                    <a:gd name="connsiteX3" fmla="*/ 3029 w 27511"/>
                    <a:gd name="connsiteY3" fmla="*/ 81041 h 89366"/>
                    <a:gd name="connsiteX4" fmla="*/ 3029 w 27511"/>
                    <a:gd name="connsiteY4" fmla="*/ 87935 h 89366"/>
                    <a:gd name="connsiteX5" fmla="*/ 6463 w 27511"/>
                    <a:gd name="connsiteY5" fmla="*/ 89366 h 89366"/>
                    <a:gd name="connsiteX6" fmla="*/ 9897 w 27511"/>
                    <a:gd name="connsiteY6" fmla="*/ 87935 h 89366"/>
                    <a:gd name="connsiteX7" fmla="*/ 27511 w 27511"/>
                    <a:gd name="connsiteY7" fmla="*/ 45449 h 89366"/>
                    <a:gd name="connsiteX8" fmla="*/ 8180 w 27511"/>
                    <a:gd name="connsiteY8" fmla="*/ 1298 h 89366"/>
                    <a:gd name="connsiteX9" fmla="*/ 1286 w 27511"/>
                    <a:gd name="connsiteY9" fmla="*/ 1558 h 89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511" h="89366">
                      <a:moveTo>
                        <a:pt x="1286" y="1558"/>
                      </a:moveTo>
                      <a:cubicBezTo>
                        <a:pt x="-536" y="3535"/>
                        <a:pt x="-405" y="6605"/>
                        <a:pt x="1572" y="8452"/>
                      </a:cubicBezTo>
                      <a:cubicBezTo>
                        <a:pt x="11875" y="17949"/>
                        <a:pt x="17781" y="31452"/>
                        <a:pt x="17781" y="45449"/>
                      </a:cubicBezTo>
                      <a:cubicBezTo>
                        <a:pt x="17781" y="58900"/>
                        <a:pt x="12551" y="71544"/>
                        <a:pt x="3029" y="81041"/>
                      </a:cubicBezTo>
                      <a:cubicBezTo>
                        <a:pt x="1130" y="82940"/>
                        <a:pt x="1130" y="86036"/>
                        <a:pt x="3029" y="87935"/>
                      </a:cubicBezTo>
                      <a:cubicBezTo>
                        <a:pt x="3991" y="88898"/>
                        <a:pt x="5214" y="89366"/>
                        <a:pt x="6463" y="89366"/>
                      </a:cubicBezTo>
                      <a:cubicBezTo>
                        <a:pt x="7712" y="89366"/>
                        <a:pt x="8961" y="88898"/>
                        <a:pt x="9897" y="87935"/>
                      </a:cubicBezTo>
                      <a:cubicBezTo>
                        <a:pt x="21267" y="76592"/>
                        <a:pt x="27511" y="61502"/>
                        <a:pt x="27511" y="45449"/>
                      </a:cubicBezTo>
                      <a:cubicBezTo>
                        <a:pt x="27511" y="28746"/>
                        <a:pt x="20460" y="12641"/>
                        <a:pt x="8180" y="1298"/>
                      </a:cubicBezTo>
                      <a:cubicBezTo>
                        <a:pt x="6177" y="-524"/>
                        <a:pt x="3107" y="-420"/>
                        <a:pt x="1286" y="1558"/>
                      </a:cubicBezTo>
                      <a:close/>
                    </a:path>
                  </a:pathLst>
                </a:custGeom>
                <a:solidFill>
                  <a:schemeClr val="tx2"/>
                </a:solidFill>
                <a:ln w="2598" cap="flat">
                  <a:noFill/>
                  <a:prstDash val="solid"/>
                  <a:miter/>
                </a:ln>
              </p:spPr>
              <p:txBody>
                <a:bodyPr rtlCol="0" anchor="ctr"/>
                <a:lstStyle/>
                <a:p>
                  <a:endParaRPr lang="en-GB" dirty="0"/>
                </a:p>
              </p:txBody>
            </p:sp>
            <p:sp>
              <p:nvSpPr>
                <p:cNvPr id="262" name="Freihandform: Form 831">
                  <a:extLst>
                    <a:ext uri="{FF2B5EF4-FFF2-40B4-BE49-F238E27FC236}">
                      <a16:creationId xmlns:a16="http://schemas.microsoft.com/office/drawing/2014/main" id="{3A591E06-6013-40B9-ADD7-B77D54BCF2A0}"/>
                    </a:ext>
                  </a:extLst>
                </p:cNvPr>
                <p:cNvSpPr/>
                <p:nvPr/>
              </p:nvSpPr>
              <p:spPr>
                <a:xfrm>
                  <a:off x="6360653" y="2740407"/>
                  <a:ext cx="51219" cy="155631"/>
                </a:xfrm>
                <a:custGeom>
                  <a:avLst/>
                  <a:gdLst>
                    <a:gd name="connsiteX0" fmla="*/ 18021 w 51219"/>
                    <a:gd name="connsiteY0" fmla="*/ 1193 h 155631"/>
                    <a:gd name="connsiteX1" fmla="*/ 11153 w 51219"/>
                    <a:gd name="connsiteY1" fmla="*/ 1661 h 155631"/>
                    <a:gd name="connsiteX2" fmla="*/ 11621 w 51219"/>
                    <a:gd name="connsiteY2" fmla="*/ 8530 h 155631"/>
                    <a:gd name="connsiteX3" fmla="*/ 41463 w 51219"/>
                    <a:gd name="connsiteY3" fmla="*/ 74041 h 155631"/>
                    <a:gd name="connsiteX4" fmla="*/ 2203 w 51219"/>
                    <a:gd name="connsiteY4" fmla="*/ 146708 h 155631"/>
                    <a:gd name="connsiteX5" fmla="*/ 798 w 51219"/>
                    <a:gd name="connsiteY5" fmla="*/ 153446 h 155631"/>
                    <a:gd name="connsiteX6" fmla="*/ 4882 w 51219"/>
                    <a:gd name="connsiteY6" fmla="*/ 155632 h 155631"/>
                    <a:gd name="connsiteX7" fmla="*/ 7562 w 51219"/>
                    <a:gd name="connsiteY7" fmla="*/ 154825 h 155631"/>
                    <a:gd name="connsiteX8" fmla="*/ 51219 w 51219"/>
                    <a:gd name="connsiteY8" fmla="*/ 74041 h 155631"/>
                    <a:gd name="connsiteX9" fmla="*/ 18021 w 51219"/>
                    <a:gd name="connsiteY9" fmla="*/ 1193 h 155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219" h="155631">
                      <a:moveTo>
                        <a:pt x="18021" y="1193"/>
                      </a:moveTo>
                      <a:cubicBezTo>
                        <a:pt x="15992" y="-576"/>
                        <a:pt x="12896" y="-342"/>
                        <a:pt x="11153" y="1661"/>
                      </a:cubicBezTo>
                      <a:cubicBezTo>
                        <a:pt x="9383" y="3690"/>
                        <a:pt x="9592" y="6761"/>
                        <a:pt x="11621" y="8530"/>
                      </a:cubicBezTo>
                      <a:cubicBezTo>
                        <a:pt x="30588" y="25051"/>
                        <a:pt x="41463" y="48909"/>
                        <a:pt x="41463" y="74041"/>
                      </a:cubicBezTo>
                      <a:cubicBezTo>
                        <a:pt x="41463" y="103415"/>
                        <a:pt x="26789" y="130551"/>
                        <a:pt x="2203" y="146708"/>
                      </a:cubicBezTo>
                      <a:cubicBezTo>
                        <a:pt x="-35" y="148191"/>
                        <a:pt x="-685" y="151209"/>
                        <a:pt x="798" y="153446"/>
                      </a:cubicBezTo>
                      <a:cubicBezTo>
                        <a:pt x="1734" y="154877"/>
                        <a:pt x="3295" y="155632"/>
                        <a:pt x="4882" y="155632"/>
                      </a:cubicBezTo>
                      <a:cubicBezTo>
                        <a:pt x="5793" y="155632"/>
                        <a:pt x="6730" y="155371"/>
                        <a:pt x="7562" y="154825"/>
                      </a:cubicBezTo>
                      <a:cubicBezTo>
                        <a:pt x="34906" y="136899"/>
                        <a:pt x="51219" y="106693"/>
                        <a:pt x="51219" y="74041"/>
                      </a:cubicBezTo>
                      <a:cubicBezTo>
                        <a:pt x="51193" y="46099"/>
                        <a:pt x="39095" y="19561"/>
                        <a:pt x="18021" y="1193"/>
                      </a:cubicBezTo>
                      <a:close/>
                    </a:path>
                  </a:pathLst>
                </a:custGeom>
                <a:solidFill>
                  <a:schemeClr val="tx2"/>
                </a:solidFill>
                <a:ln w="2598" cap="flat">
                  <a:noFill/>
                  <a:prstDash val="solid"/>
                  <a:miter/>
                </a:ln>
              </p:spPr>
              <p:txBody>
                <a:bodyPr rtlCol="0" anchor="ctr"/>
                <a:lstStyle/>
                <a:p>
                  <a:endParaRPr lang="en-GB" dirty="0"/>
                </a:p>
              </p:txBody>
            </p:sp>
          </p:grpSp>
        </p:grpSp>
      </p:grpSp>
      <p:grpSp>
        <p:nvGrpSpPr>
          <p:cNvPr id="31" name="Group 30">
            <a:extLst>
              <a:ext uri="{FF2B5EF4-FFF2-40B4-BE49-F238E27FC236}">
                <a16:creationId xmlns:a16="http://schemas.microsoft.com/office/drawing/2014/main" id="{2C9CE748-C2FB-3040-9FF2-03390BE102B8}"/>
              </a:ext>
            </a:extLst>
          </p:cNvPr>
          <p:cNvGrpSpPr/>
          <p:nvPr/>
        </p:nvGrpSpPr>
        <p:grpSpPr>
          <a:xfrm>
            <a:off x="2611281" y="4002607"/>
            <a:ext cx="547274" cy="432001"/>
            <a:chOff x="2611281" y="4002607"/>
            <a:chExt cx="547274" cy="432001"/>
          </a:xfrm>
        </p:grpSpPr>
        <p:grpSp>
          <p:nvGrpSpPr>
            <p:cNvPr id="268" name="Grafik 29">
              <a:extLst>
                <a:ext uri="{FF2B5EF4-FFF2-40B4-BE49-F238E27FC236}">
                  <a16:creationId xmlns:a16="http://schemas.microsoft.com/office/drawing/2014/main" id="{967D3C33-5CFC-42C0-8DA1-22C9BE3D2D6C}"/>
                </a:ext>
              </a:extLst>
            </p:cNvPr>
            <p:cNvGrpSpPr/>
            <p:nvPr/>
          </p:nvGrpSpPr>
          <p:grpSpPr>
            <a:xfrm>
              <a:off x="2739714" y="4141272"/>
              <a:ext cx="293632" cy="293336"/>
              <a:chOff x="6227765" y="3442723"/>
              <a:chExt cx="367881" cy="367511"/>
            </a:xfrm>
            <a:solidFill>
              <a:schemeClr val="tx2"/>
            </a:solidFill>
          </p:grpSpPr>
          <p:grpSp>
            <p:nvGrpSpPr>
              <p:cNvPr id="287" name="Grafik 29">
                <a:extLst>
                  <a:ext uri="{FF2B5EF4-FFF2-40B4-BE49-F238E27FC236}">
                    <a16:creationId xmlns:a16="http://schemas.microsoft.com/office/drawing/2014/main" id="{F334E043-D4B8-4D63-98B7-633F90F77005}"/>
                  </a:ext>
                </a:extLst>
              </p:cNvPr>
              <p:cNvGrpSpPr/>
              <p:nvPr/>
            </p:nvGrpSpPr>
            <p:grpSpPr>
              <a:xfrm>
                <a:off x="6227765" y="3442723"/>
                <a:ext cx="367881" cy="367511"/>
                <a:chOff x="6227765" y="3442723"/>
                <a:chExt cx="367881" cy="367511"/>
              </a:xfrm>
              <a:grpFill/>
            </p:grpSpPr>
            <p:sp>
              <p:nvSpPr>
                <p:cNvPr id="289" name="Freihandform: Form 869">
                  <a:extLst>
                    <a:ext uri="{FF2B5EF4-FFF2-40B4-BE49-F238E27FC236}">
                      <a16:creationId xmlns:a16="http://schemas.microsoft.com/office/drawing/2014/main" id="{A29D3769-7D35-4936-8E27-2183E1422D8B}"/>
                    </a:ext>
                  </a:extLst>
                </p:cNvPr>
                <p:cNvSpPr/>
                <p:nvPr/>
              </p:nvSpPr>
              <p:spPr>
                <a:xfrm>
                  <a:off x="6227765" y="3577403"/>
                  <a:ext cx="68098" cy="124209"/>
                </a:xfrm>
                <a:custGeom>
                  <a:avLst/>
                  <a:gdLst>
                    <a:gd name="connsiteX0" fmla="*/ 62737 w 68098"/>
                    <a:gd name="connsiteY0" fmla="*/ 114063 h 124209"/>
                    <a:gd name="connsiteX1" fmla="*/ 54957 w 68098"/>
                    <a:gd name="connsiteY1" fmla="*/ 114505 h 124209"/>
                    <a:gd name="connsiteX2" fmla="*/ 44368 w 68098"/>
                    <a:gd name="connsiteY2" fmla="*/ 112346 h 124209"/>
                    <a:gd name="connsiteX3" fmla="*/ 40440 w 68098"/>
                    <a:gd name="connsiteY3" fmla="*/ 109406 h 124209"/>
                    <a:gd name="connsiteX4" fmla="*/ 14891 w 68098"/>
                    <a:gd name="connsiteY4" fmla="*/ 76520 h 124209"/>
                    <a:gd name="connsiteX5" fmla="*/ 13980 w 68098"/>
                    <a:gd name="connsiteY5" fmla="*/ 72331 h 124209"/>
                    <a:gd name="connsiteX6" fmla="*/ 23502 w 68098"/>
                    <a:gd name="connsiteY6" fmla="*/ 10878 h 124209"/>
                    <a:gd name="connsiteX7" fmla="*/ 30007 w 68098"/>
                    <a:gd name="connsiteY7" fmla="*/ 9656 h 124209"/>
                    <a:gd name="connsiteX8" fmla="*/ 33987 w 68098"/>
                    <a:gd name="connsiteY8" fmla="*/ 4036 h 124209"/>
                    <a:gd name="connsiteX9" fmla="*/ 28368 w 68098"/>
                    <a:gd name="connsiteY9" fmla="*/ 55 h 124209"/>
                    <a:gd name="connsiteX10" fmla="*/ 20667 w 68098"/>
                    <a:gd name="connsiteY10" fmla="*/ 1512 h 124209"/>
                    <a:gd name="connsiteX11" fmla="*/ 18975 w 68098"/>
                    <a:gd name="connsiteY11" fmla="*/ 2189 h 124209"/>
                    <a:gd name="connsiteX12" fmla="*/ 4692 w 68098"/>
                    <a:gd name="connsiteY12" fmla="*/ 75271 h 124209"/>
                    <a:gd name="connsiteX13" fmla="*/ 5212 w 68098"/>
                    <a:gd name="connsiteY13" fmla="*/ 77535 h 124209"/>
                    <a:gd name="connsiteX14" fmla="*/ 36485 w 68098"/>
                    <a:gd name="connsiteY14" fmla="*/ 118330 h 124209"/>
                    <a:gd name="connsiteX15" fmla="*/ 36745 w 68098"/>
                    <a:gd name="connsiteY15" fmla="*/ 118434 h 124209"/>
                    <a:gd name="connsiteX16" fmla="*/ 54931 w 68098"/>
                    <a:gd name="connsiteY16" fmla="*/ 124210 h 124209"/>
                    <a:gd name="connsiteX17" fmla="*/ 63751 w 68098"/>
                    <a:gd name="connsiteY17" fmla="*/ 123689 h 124209"/>
                    <a:gd name="connsiteX18" fmla="*/ 68070 w 68098"/>
                    <a:gd name="connsiteY18" fmla="*/ 118330 h 124209"/>
                    <a:gd name="connsiteX19" fmla="*/ 62737 w 68098"/>
                    <a:gd name="connsiteY19" fmla="*/ 114063 h 124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098" h="124209">
                      <a:moveTo>
                        <a:pt x="62737" y="114063"/>
                      </a:moveTo>
                      <a:cubicBezTo>
                        <a:pt x="59979" y="114349"/>
                        <a:pt x="57351" y="114505"/>
                        <a:pt x="54957" y="114505"/>
                      </a:cubicBezTo>
                      <a:cubicBezTo>
                        <a:pt x="46007" y="114505"/>
                        <a:pt x="44420" y="112424"/>
                        <a:pt x="44368" y="112346"/>
                      </a:cubicBezTo>
                      <a:cubicBezTo>
                        <a:pt x="43380" y="110993"/>
                        <a:pt x="42001" y="109978"/>
                        <a:pt x="40440" y="109406"/>
                      </a:cubicBezTo>
                      <a:cubicBezTo>
                        <a:pt x="36667" y="107221"/>
                        <a:pt x="16504" y="90804"/>
                        <a:pt x="14891" y="76520"/>
                      </a:cubicBezTo>
                      <a:cubicBezTo>
                        <a:pt x="14813" y="75818"/>
                        <a:pt x="14631" y="74907"/>
                        <a:pt x="13980" y="72331"/>
                      </a:cubicBezTo>
                      <a:cubicBezTo>
                        <a:pt x="5967" y="41397"/>
                        <a:pt x="9193" y="20739"/>
                        <a:pt x="23502" y="10878"/>
                      </a:cubicBezTo>
                      <a:cubicBezTo>
                        <a:pt x="25740" y="10436"/>
                        <a:pt x="27899" y="10020"/>
                        <a:pt x="30007" y="9656"/>
                      </a:cubicBezTo>
                      <a:cubicBezTo>
                        <a:pt x="32661" y="9187"/>
                        <a:pt x="34430" y="6690"/>
                        <a:pt x="33987" y="4036"/>
                      </a:cubicBezTo>
                      <a:cubicBezTo>
                        <a:pt x="33545" y="1382"/>
                        <a:pt x="30995" y="-335"/>
                        <a:pt x="28368" y="55"/>
                      </a:cubicBezTo>
                      <a:cubicBezTo>
                        <a:pt x="25870" y="471"/>
                        <a:pt x="23346" y="966"/>
                        <a:pt x="20667" y="1512"/>
                      </a:cubicBezTo>
                      <a:cubicBezTo>
                        <a:pt x="20068" y="1616"/>
                        <a:pt x="19496" y="1850"/>
                        <a:pt x="18975" y="2189"/>
                      </a:cubicBezTo>
                      <a:cubicBezTo>
                        <a:pt x="87" y="14365"/>
                        <a:pt x="-4752" y="38795"/>
                        <a:pt x="4692" y="75271"/>
                      </a:cubicBezTo>
                      <a:cubicBezTo>
                        <a:pt x="4978" y="76442"/>
                        <a:pt x="5160" y="77014"/>
                        <a:pt x="5212" y="77535"/>
                      </a:cubicBezTo>
                      <a:cubicBezTo>
                        <a:pt x="7450" y="97308"/>
                        <a:pt x="32478" y="116483"/>
                        <a:pt x="36485" y="118330"/>
                      </a:cubicBezTo>
                      <a:cubicBezTo>
                        <a:pt x="36563" y="118356"/>
                        <a:pt x="36667" y="118408"/>
                        <a:pt x="36745" y="118434"/>
                      </a:cubicBezTo>
                      <a:cubicBezTo>
                        <a:pt x="39815" y="122337"/>
                        <a:pt x="45773" y="124210"/>
                        <a:pt x="54931" y="124210"/>
                      </a:cubicBezTo>
                      <a:cubicBezTo>
                        <a:pt x="57689" y="124210"/>
                        <a:pt x="60655" y="124028"/>
                        <a:pt x="63751" y="123689"/>
                      </a:cubicBezTo>
                      <a:cubicBezTo>
                        <a:pt x="66431" y="123403"/>
                        <a:pt x="68356" y="120984"/>
                        <a:pt x="68070" y="118330"/>
                      </a:cubicBezTo>
                      <a:cubicBezTo>
                        <a:pt x="67810" y="115702"/>
                        <a:pt x="65390" y="113699"/>
                        <a:pt x="62737" y="114063"/>
                      </a:cubicBezTo>
                      <a:close/>
                    </a:path>
                  </a:pathLst>
                </a:custGeom>
                <a:grpFill/>
                <a:ln w="2598" cap="flat">
                  <a:noFill/>
                  <a:prstDash val="solid"/>
                  <a:miter/>
                </a:ln>
              </p:spPr>
              <p:txBody>
                <a:bodyPr rtlCol="0" anchor="ctr"/>
                <a:lstStyle/>
                <a:p>
                  <a:endParaRPr lang="en-GB" dirty="0"/>
                </a:p>
              </p:txBody>
            </p:sp>
            <p:sp>
              <p:nvSpPr>
                <p:cNvPr id="290" name="Freihandform: Form 870">
                  <a:extLst>
                    <a:ext uri="{FF2B5EF4-FFF2-40B4-BE49-F238E27FC236}">
                      <a16:creationId xmlns:a16="http://schemas.microsoft.com/office/drawing/2014/main" id="{8BBF89EB-A736-4AAE-9958-58B5F8BBDA3B}"/>
                    </a:ext>
                  </a:extLst>
                </p:cNvPr>
                <p:cNvSpPr/>
                <p:nvPr/>
              </p:nvSpPr>
              <p:spPr>
                <a:xfrm>
                  <a:off x="6455722" y="3644564"/>
                  <a:ext cx="79346" cy="52079"/>
                </a:xfrm>
                <a:custGeom>
                  <a:avLst/>
                  <a:gdLst>
                    <a:gd name="connsiteX0" fmla="*/ 75907 w 79346"/>
                    <a:gd name="connsiteY0" fmla="*/ 201 h 52079"/>
                    <a:gd name="connsiteX1" fmla="*/ 69819 w 79346"/>
                    <a:gd name="connsiteY1" fmla="*/ 3453 h 52079"/>
                    <a:gd name="connsiteX2" fmla="*/ 57981 w 79346"/>
                    <a:gd name="connsiteY2" fmla="*/ 27805 h 52079"/>
                    <a:gd name="connsiteX3" fmla="*/ 5244 w 79346"/>
                    <a:gd name="connsiteY3" fmla="*/ 41829 h 52079"/>
                    <a:gd name="connsiteX4" fmla="*/ 15 w 79346"/>
                    <a:gd name="connsiteY4" fmla="*/ 46330 h 52079"/>
                    <a:gd name="connsiteX5" fmla="*/ 4516 w 79346"/>
                    <a:gd name="connsiteY5" fmla="*/ 51559 h 52079"/>
                    <a:gd name="connsiteX6" fmla="*/ 17290 w 79346"/>
                    <a:gd name="connsiteY6" fmla="*/ 52080 h 52079"/>
                    <a:gd name="connsiteX7" fmla="*/ 65188 w 79346"/>
                    <a:gd name="connsiteY7" fmla="*/ 34388 h 52079"/>
                    <a:gd name="connsiteX8" fmla="*/ 79133 w 79346"/>
                    <a:gd name="connsiteY8" fmla="*/ 6315 h 52079"/>
                    <a:gd name="connsiteX9" fmla="*/ 75907 w 79346"/>
                    <a:gd name="connsiteY9" fmla="*/ 201 h 520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9346" h="52079">
                      <a:moveTo>
                        <a:pt x="75907" y="201"/>
                      </a:moveTo>
                      <a:cubicBezTo>
                        <a:pt x="73331" y="-553"/>
                        <a:pt x="70600" y="878"/>
                        <a:pt x="69819" y="3453"/>
                      </a:cubicBezTo>
                      <a:cubicBezTo>
                        <a:pt x="67998" y="9411"/>
                        <a:pt x="62664" y="22654"/>
                        <a:pt x="57981" y="27805"/>
                      </a:cubicBezTo>
                      <a:cubicBezTo>
                        <a:pt x="46950" y="39904"/>
                        <a:pt x="32172" y="43832"/>
                        <a:pt x="5244" y="41829"/>
                      </a:cubicBezTo>
                      <a:cubicBezTo>
                        <a:pt x="2642" y="41647"/>
                        <a:pt x="223" y="43624"/>
                        <a:pt x="15" y="46330"/>
                      </a:cubicBezTo>
                      <a:cubicBezTo>
                        <a:pt x="-193" y="49010"/>
                        <a:pt x="1836" y="51351"/>
                        <a:pt x="4516" y="51559"/>
                      </a:cubicBezTo>
                      <a:cubicBezTo>
                        <a:pt x="9043" y="51898"/>
                        <a:pt x="13310" y="52080"/>
                        <a:pt x="17290" y="52080"/>
                      </a:cubicBezTo>
                      <a:cubicBezTo>
                        <a:pt x="39665" y="52080"/>
                        <a:pt x="54001" y="46642"/>
                        <a:pt x="65188" y="34388"/>
                      </a:cubicBezTo>
                      <a:cubicBezTo>
                        <a:pt x="71796" y="27103"/>
                        <a:pt x="77598" y="11285"/>
                        <a:pt x="79133" y="6315"/>
                      </a:cubicBezTo>
                      <a:cubicBezTo>
                        <a:pt x="79914" y="3713"/>
                        <a:pt x="78483" y="982"/>
                        <a:pt x="75907" y="201"/>
                      </a:cubicBezTo>
                      <a:close/>
                    </a:path>
                  </a:pathLst>
                </a:custGeom>
                <a:grpFill/>
                <a:ln w="2598" cap="flat">
                  <a:noFill/>
                  <a:prstDash val="solid"/>
                  <a:miter/>
                </a:ln>
              </p:spPr>
              <p:txBody>
                <a:bodyPr rtlCol="0" anchor="ctr"/>
                <a:lstStyle/>
                <a:p>
                  <a:endParaRPr lang="en-GB" dirty="0"/>
                </a:p>
              </p:txBody>
            </p:sp>
            <p:sp>
              <p:nvSpPr>
                <p:cNvPr id="291" name="Freihandform: Form 871">
                  <a:extLst>
                    <a:ext uri="{FF2B5EF4-FFF2-40B4-BE49-F238E27FC236}">
                      <a16:creationId xmlns:a16="http://schemas.microsoft.com/office/drawing/2014/main" id="{3DFBDA2B-B044-4AB3-99AF-789E95E6A354}"/>
                    </a:ext>
                  </a:extLst>
                </p:cNvPr>
                <p:cNvSpPr/>
                <p:nvPr/>
              </p:nvSpPr>
              <p:spPr>
                <a:xfrm>
                  <a:off x="6285029" y="3692019"/>
                  <a:ext cx="83565" cy="62330"/>
                </a:xfrm>
                <a:custGeom>
                  <a:avLst/>
                  <a:gdLst>
                    <a:gd name="connsiteX0" fmla="*/ 77878 w 83565"/>
                    <a:gd name="connsiteY0" fmla="*/ 51429 h 62330"/>
                    <a:gd name="connsiteX1" fmla="*/ 15801 w 83565"/>
                    <a:gd name="connsiteY1" fmla="*/ 29835 h 62330"/>
                    <a:gd name="connsiteX2" fmla="*/ 9817 w 83565"/>
                    <a:gd name="connsiteY2" fmla="*/ 5274 h 62330"/>
                    <a:gd name="connsiteX3" fmla="*/ 5394 w 83565"/>
                    <a:gd name="connsiteY3" fmla="*/ 19 h 62330"/>
                    <a:gd name="connsiteX4" fmla="*/ 139 w 83565"/>
                    <a:gd name="connsiteY4" fmla="*/ 4442 h 62330"/>
                    <a:gd name="connsiteX5" fmla="*/ 7970 w 83565"/>
                    <a:gd name="connsiteY5" fmla="*/ 35637 h 62330"/>
                    <a:gd name="connsiteX6" fmla="*/ 64375 w 83565"/>
                    <a:gd name="connsiteY6" fmla="*/ 62330 h 62330"/>
                    <a:gd name="connsiteX7" fmla="*/ 79491 w 83565"/>
                    <a:gd name="connsiteY7" fmla="*/ 61029 h 62330"/>
                    <a:gd name="connsiteX8" fmla="*/ 83498 w 83565"/>
                    <a:gd name="connsiteY8" fmla="*/ 55436 h 62330"/>
                    <a:gd name="connsiteX9" fmla="*/ 77878 w 83565"/>
                    <a:gd name="connsiteY9" fmla="*/ 51429 h 62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565" h="62330">
                      <a:moveTo>
                        <a:pt x="77878" y="51429"/>
                      </a:moveTo>
                      <a:cubicBezTo>
                        <a:pt x="38618" y="57986"/>
                        <a:pt x="19313" y="34622"/>
                        <a:pt x="15801" y="29835"/>
                      </a:cubicBezTo>
                      <a:cubicBezTo>
                        <a:pt x="11925" y="24631"/>
                        <a:pt x="9141" y="13158"/>
                        <a:pt x="9817" y="5274"/>
                      </a:cubicBezTo>
                      <a:cubicBezTo>
                        <a:pt x="10051" y="2595"/>
                        <a:pt x="8074" y="227"/>
                        <a:pt x="5394" y="19"/>
                      </a:cubicBezTo>
                      <a:cubicBezTo>
                        <a:pt x="2714" y="-215"/>
                        <a:pt x="347" y="1762"/>
                        <a:pt x="139" y="4442"/>
                      </a:cubicBezTo>
                      <a:cubicBezTo>
                        <a:pt x="-746" y="14797"/>
                        <a:pt x="2688" y="28508"/>
                        <a:pt x="7970" y="35637"/>
                      </a:cubicBezTo>
                      <a:cubicBezTo>
                        <a:pt x="11560" y="40528"/>
                        <a:pt x="29512" y="62330"/>
                        <a:pt x="64375" y="62330"/>
                      </a:cubicBezTo>
                      <a:cubicBezTo>
                        <a:pt x="69111" y="62330"/>
                        <a:pt x="74132" y="61940"/>
                        <a:pt x="79491" y="61029"/>
                      </a:cubicBezTo>
                      <a:cubicBezTo>
                        <a:pt x="82145" y="60587"/>
                        <a:pt x="83940" y="58063"/>
                        <a:pt x="83498" y="55436"/>
                      </a:cubicBezTo>
                      <a:cubicBezTo>
                        <a:pt x="83030" y="52782"/>
                        <a:pt x="80506" y="50909"/>
                        <a:pt x="77878" y="51429"/>
                      </a:cubicBezTo>
                      <a:close/>
                    </a:path>
                  </a:pathLst>
                </a:custGeom>
                <a:grpFill/>
                <a:ln w="2598" cap="flat">
                  <a:noFill/>
                  <a:prstDash val="solid"/>
                  <a:miter/>
                </a:ln>
              </p:spPr>
              <p:txBody>
                <a:bodyPr rtlCol="0" anchor="ctr"/>
                <a:lstStyle/>
                <a:p>
                  <a:endParaRPr lang="en-GB" dirty="0"/>
                </a:p>
              </p:txBody>
            </p:sp>
            <p:sp>
              <p:nvSpPr>
                <p:cNvPr id="292" name="Freihandform: Form 872">
                  <a:extLst>
                    <a:ext uri="{FF2B5EF4-FFF2-40B4-BE49-F238E27FC236}">
                      <a16:creationId xmlns:a16="http://schemas.microsoft.com/office/drawing/2014/main" id="{B4C5254E-057C-4A9B-B995-D53172BC70AE}"/>
                    </a:ext>
                  </a:extLst>
                </p:cNvPr>
                <p:cNvSpPr/>
                <p:nvPr/>
              </p:nvSpPr>
              <p:spPr>
                <a:xfrm>
                  <a:off x="6345136" y="3749927"/>
                  <a:ext cx="23469" cy="49380"/>
                </a:xfrm>
                <a:custGeom>
                  <a:avLst/>
                  <a:gdLst>
                    <a:gd name="connsiteX0" fmla="*/ 13999 w 23469"/>
                    <a:gd name="connsiteY0" fmla="*/ 0 h 49380"/>
                    <a:gd name="connsiteX1" fmla="*/ 470 w 23469"/>
                    <a:gd name="connsiteY1" fmla="*/ 42434 h 49380"/>
                    <a:gd name="connsiteX2" fmla="*/ 2785 w 23469"/>
                    <a:gd name="connsiteY2" fmla="*/ 48913 h 49380"/>
                    <a:gd name="connsiteX3" fmla="*/ 4867 w 23469"/>
                    <a:gd name="connsiteY3" fmla="*/ 49381 h 49380"/>
                    <a:gd name="connsiteX4" fmla="*/ 9264 w 23469"/>
                    <a:gd name="connsiteY4" fmla="*/ 46597 h 49380"/>
                    <a:gd name="connsiteX5" fmla="*/ 23469 w 23469"/>
                    <a:gd name="connsiteY5" fmla="*/ 2263 h 49380"/>
                    <a:gd name="connsiteX6" fmla="*/ 18786 w 23469"/>
                    <a:gd name="connsiteY6" fmla="*/ 937 h 49380"/>
                    <a:gd name="connsiteX7" fmla="*/ 13999 w 23469"/>
                    <a:gd name="connsiteY7" fmla="*/ 0 h 49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469" h="49380">
                      <a:moveTo>
                        <a:pt x="13999" y="0"/>
                      </a:moveTo>
                      <a:cubicBezTo>
                        <a:pt x="11631" y="8430"/>
                        <a:pt x="4424" y="34057"/>
                        <a:pt x="470" y="42434"/>
                      </a:cubicBezTo>
                      <a:cubicBezTo>
                        <a:pt x="-675" y="44854"/>
                        <a:pt x="340" y="47768"/>
                        <a:pt x="2785" y="48913"/>
                      </a:cubicBezTo>
                      <a:cubicBezTo>
                        <a:pt x="3462" y="49225"/>
                        <a:pt x="4164" y="49381"/>
                        <a:pt x="4867" y="49381"/>
                      </a:cubicBezTo>
                      <a:cubicBezTo>
                        <a:pt x="6688" y="49381"/>
                        <a:pt x="8431" y="48366"/>
                        <a:pt x="9264" y="46597"/>
                      </a:cubicBezTo>
                      <a:cubicBezTo>
                        <a:pt x="13140" y="38402"/>
                        <a:pt x="19176" y="17562"/>
                        <a:pt x="23469" y="2263"/>
                      </a:cubicBezTo>
                      <a:lnTo>
                        <a:pt x="18786" y="937"/>
                      </a:lnTo>
                      <a:lnTo>
                        <a:pt x="13999" y="0"/>
                      </a:lnTo>
                      <a:close/>
                    </a:path>
                  </a:pathLst>
                </a:custGeom>
                <a:grpFill/>
                <a:ln w="2598" cap="flat">
                  <a:noFill/>
                  <a:prstDash val="solid"/>
                  <a:miter/>
                </a:ln>
              </p:spPr>
              <p:txBody>
                <a:bodyPr rtlCol="0" anchor="ctr"/>
                <a:lstStyle/>
                <a:p>
                  <a:endParaRPr lang="en-GB" dirty="0"/>
                </a:p>
              </p:txBody>
            </p:sp>
            <p:sp>
              <p:nvSpPr>
                <p:cNvPr id="293" name="Freihandform: Form 873">
                  <a:extLst>
                    <a:ext uri="{FF2B5EF4-FFF2-40B4-BE49-F238E27FC236}">
                      <a16:creationId xmlns:a16="http://schemas.microsoft.com/office/drawing/2014/main" id="{5EC8FB6A-F846-4884-B0D7-6F21AE5A2462}"/>
                    </a:ext>
                  </a:extLst>
                </p:cNvPr>
                <p:cNvSpPr/>
                <p:nvPr/>
              </p:nvSpPr>
              <p:spPr>
                <a:xfrm>
                  <a:off x="6388436" y="3686069"/>
                  <a:ext cx="76467" cy="124165"/>
                </a:xfrm>
                <a:custGeom>
                  <a:avLst/>
                  <a:gdLst>
                    <a:gd name="connsiteX0" fmla="*/ 71880 w 76467"/>
                    <a:gd name="connsiteY0" fmla="*/ 11 h 124165"/>
                    <a:gd name="connsiteX1" fmla="*/ 66729 w 76467"/>
                    <a:gd name="connsiteY1" fmla="*/ 4564 h 124165"/>
                    <a:gd name="connsiteX2" fmla="*/ 54813 w 76467"/>
                    <a:gd name="connsiteY2" fmla="*/ 28188 h 124165"/>
                    <a:gd name="connsiteX3" fmla="*/ 41310 w 76467"/>
                    <a:gd name="connsiteY3" fmla="*/ 39532 h 124165"/>
                    <a:gd name="connsiteX4" fmla="*/ 39931 w 76467"/>
                    <a:gd name="connsiteY4" fmla="*/ 40598 h 124165"/>
                    <a:gd name="connsiteX5" fmla="*/ 39437 w 76467"/>
                    <a:gd name="connsiteY5" fmla="*/ 41040 h 124165"/>
                    <a:gd name="connsiteX6" fmla="*/ 125 w 76467"/>
                    <a:gd name="connsiteY6" fmla="*/ 118182 h 124165"/>
                    <a:gd name="connsiteX7" fmla="*/ 3767 w 76467"/>
                    <a:gd name="connsiteY7" fmla="*/ 124036 h 124165"/>
                    <a:gd name="connsiteX8" fmla="*/ 4886 w 76467"/>
                    <a:gd name="connsiteY8" fmla="*/ 124166 h 124165"/>
                    <a:gd name="connsiteX9" fmla="*/ 9621 w 76467"/>
                    <a:gd name="connsiteY9" fmla="*/ 120393 h 124165"/>
                    <a:gd name="connsiteX10" fmla="*/ 46175 w 76467"/>
                    <a:gd name="connsiteY10" fmla="*/ 48091 h 124165"/>
                    <a:gd name="connsiteX11" fmla="*/ 46175 w 76467"/>
                    <a:gd name="connsiteY11" fmla="*/ 48091 h 124165"/>
                    <a:gd name="connsiteX12" fmla="*/ 46201 w 76467"/>
                    <a:gd name="connsiteY12" fmla="*/ 48065 h 124165"/>
                    <a:gd name="connsiteX13" fmla="*/ 46201 w 76467"/>
                    <a:gd name="connsiteY13" fmla="*/ 48091 h 124165"/>
                    <a:gd name="connsiteX14" fmla="*/ 47424 w 76467"/>
                    <a:gd name="connsiteY14" fmla="*/ 47129 h 124165"/>
                    <a:gd name="connsiteX15" fmla="*/ 61708 w 76467"/>
                    <a:gd name="connsiteY15" fmla="*/ 35083 h 124165"/>
                    <a:gd name="connsiteX16" fmla="*/ 76459 w 76467"/>
                    <a:gd name="connsiteY16" fmla="*/ 5189 h 124165"/>
                    <a:gd name="connsiteX17" fmla="*/ 71880 w 76467"/>
                    <a:gd name="connsiteY17" fmla="*/ 11 h 124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6467" h="124165">
                      <a:moveTo>
                        <a:pt x="71880" y="11"/>
                      </a:moveTo>
                      <a:cubicBezTo>
                        <a:pt x="69122" y="-171"/>
                        <a:pt x="66885" y="1884"/>
                        <a:pt x="66729" y="4564"/>
                      </a:cubicBezTo>
                      <a:cubicBezTo>
                        <a:pt x="66391" y="10054"/>
                        <a:pt x="58429" y="24597"/>
                        <a:pt x="54813" y="28188"/>
                      </a:cubicBezTo>
                      <a:cubicBezTo>
                        <a:pt x="51093" y="31934"/>
                        <a:pt x="44822" y="36800"/>
                        <a:pt x="41310" y="39532"/>
                      </a:cubicBezTo>
                      <a:lnTo>
                        <a:pt x="39931" y="40598"/>
                      </a:lnTo>
                      <a:cubicBezTo>
                        <a:pt x="39749" y="40728"/>
                        <a:pt x="39593" y="40884"/>
                        <a:pt x="39437" y="41040"/>
                      </a:cubicBezTo>
                      <a:cubicBezTo>
                        <a:pt x="31163" y="48742"/>
                        <a:pt x="11000" y="71481"/>
                        <a:pt x="125" y="118182"/>
                      </a:cubicBezTo>
                      <a:cubicBezTo>
                        <a:pt x="-474" y="120810"/>
                        <a:pt x="1139" y="123411"/>
                        <a:pt x="3767" y="124036"/>
                      </a:cubicBezTo>
                      <a:cubicBezTo>
                        <a:pt x="4131" y="124114"/>
                        <a:pt x="4495" y="124166"/>
                        <a:pt x="4886" y="124166"/>
                      </a:cubicBezTo>
                      <a:cubicBezTo>
                        <a:pt x="7097" y="124166"/>
                        <a:pt x="9101" y="122657"/>
                        <a:pt x="9621" y="120393"/>
                      </a:cubicBezTo>
                      <a:cubicBezTo>
                        <a:pt x="19924" y="76086"/>
                        <a:pt x="38604" y="55064"/>
                        <a:pt x="46175" y="48091"/>
                      </a:cubicBezTo>
                      <a:lnTo>
                        <a:pt x="46175" y="48091"/>
                      </a:lnTo>
                      <a:cubicBezTo>
                        <a:pt x="46175" y="48065"/>
                        <a:pt x="46201" y="48065"/>
                        <a:pt x="46201" y="48065"/>
                      </a:cubicBezTo>
                      <a:lnTo>
                        <a:pt x="46201" y="48091"/>
                      </a:lnTo>
                      <a:cubicBezTo>
                        <a:pt x="46539" y="47831"/>
                        <a:pt x="46982" y="47493"/>
                        <a:pt x="47424" y="47129"/>
                      </a:cubicBezTo>
                      <a:cubicBezTo>
                        <a:pt x="50962" y="44371"/>
                        <a:pt x="57571" y="39271"/>
                        <a:pt x="61708" y="35083"/>
                      </a:cubicBezTo>
                      <a:cubicBezTo>
                        <a:pt x="66755" y="30035"/>
                        <a:pt x="75939" y="13358"/>
                        <a:pt x="76459" y="5189"/>
                      </a:cubicBezTo>
                      <a:cubicBezTo>
                        <a:pt x="76615" y="2483"/>
                        <a:pt x="74586" y="167"/>
                        <a:pt x="71880" y="11"/>
                      </a:cubicBezTo>
                      <a:close/>
                    </a:path>
                  </a:pathLst>
                </a:custGeom>
                <a:grpFill/>
                <a:ln w="2598" cap="flat">
                  <a:noFill/>
                  <a:prstDash val="solid"/>
                  <a:miter/>
                </a:ln>
              </p:spPr>
              <p:txBody>
                <a:bodyPr rtlCol="0" anchor="ctr"/>
                <a:lstStyle/>
                <a:p>
                  <a:endParaRPr lang="en-GB" dirty="0"/>
                </a:p>
              </p:txBody>
            </p:sp>
            <p:sp>
              <p:nvSpPr>
                <p:cNvPr id="294" name="Freihandform: Form 874">
                  <a:extLst>
                    <a:ext uri="{FF2B5EF4-FFF2-40B4-BE49-F238E27FC236}">
                      <a16:creationId xmlns:a16="http://schemas.microsoft.com/office/drawing/2014/main" id="{8D0B17C3-7895-4329-B824-A8D27150588F}"/>
                    </a:ext>
                  </a:extLst>
                </p:cNvPr>
                <p:cNvSpPr/>
                <p:nvPr/>
              </p:nvSpPr>
              <p:spPr>
                <a:xfrm>
                  <a:off x="6331412" y="3442723"/>
                  <a:ext cx="264233" cy="211667"/>
                </a:xfrm>
                <a:custGeom>
                  <a:avLst/>
                  <a:gdLst>
                    <a:gd name="connsiteX0" fmla="*/ 257352 w 264233"/>
                    <a:gd name="connsiteY0" fmla="*/ 123495 h 211667"/>
                    <a:gd name="connsiteX1" fmla="*/ 254490 w 264233"/>
                    <a:gd name="connsiteY1" fmla="*/ 80853 h 211667"/>
                    <a:gd name="connsiteX2" fmla="*/ 200322 w 264233"/>
                    <a:gd name="connsiteY2" fmla="*/ 42269 h 211667"/>
                    <a:gd name="connsiteX3" fmla="*/ 164860 w 264233"/>
                    <a:gd name="connsiteY3" fmla="*/ 14587 h 211667"/>
                    <a:gd name="connsiteX4" fmla="*/ 118341 w 264233"/>
                    <a:gd name="connsiteY4" fmla="*/ 8681 h 211667"/>
                    <a:gd name="connsiteX5" fmla="*/ 1628 w 264233"/>
                    <a:gd name="connsiteY5" fmla="*/ 32330 h 211667"/>
                    <a:gd name="connsiteX6" fmla="*/ 1237 w 264233"/>
                    <a:gd name="connsiteY6" fmla="*/ 39199 h 211667"/>
                    <a:gd name="connsiteX7" fmla="*/ 8106 w 264233"/>
                    <a:gd name="connsiteY7" fmla="*/ 39615 h 211667"/>
                    <a:gd name="connsiteX8" fmla="*/ 115740 w 264233"/>
                    <a:gd name="connsiteY8" fmla="*/ 18307 h 211667"/>
                    <a:gd name="connsiteX9" fmla="*/ 120267 w 264233"/>
                    <a:gd name="connsiteY9" fmla="*/ 18307 h 211667"/>
                    <a:gd name="connsiteX10" fmla="*/ 161504 w 264233"/>
                    <a:gd name="connsiteY10" fmla="*/ 23745 h 211667"/>
                    <a:gd name="connsiteX11" fmla="*/ 192309 w 264233"/>
                    <a:gd name="connsiteY11" fmla="*/ 48201 h 211667"/>
                    <a:gd name="connsiteX12" fmla="*/ 196055 w 264233"/>
                    <a:gd name="connsiteY12" fmla="*/ 51167 h 211667"/>
                    <a:gd name="connsiteX13" fmla="*/ 246789 w 264233"/>
                    <a:gd name="connsiteY13" fmla="*/ 87045 h 211667"/>
                    <a:gd name="connsiteX14" fmla="*/ 247673 w 264233"/>
                    <a:gd name="connsiteY14" fmla="*/ 121440 h 211667"/>
                    <a:gd name="connsiteX15" fmla="*/ 247465 w 264233"/>
                    <a:gd name="connsiteY15" fmla="*/ 124484 h 211667"/>
                    <a:gd name="connsiteX16" fmla="*/ 248480 w 264233"/>
                    <a:gd name="connsiteY16" fmla="*/ 127684 h 211667"/>
                    <a:gd name="connsiteX17" fmla="*/ 247881 w 264233"/>
                    <a:gd name="connsiteY17" fmla="*/ 182476 h 211667"/>
                    <a:gd name="connsiteX18" fmla="*/ 198084 w 264233"/>
                    <a:gd name="connsiteY18" fmla="*/ 201937 h 211667"/>
                    <a:gd name="connsiteX19" fmla="*/ 193375 w 264233"/>
                    <a:gd name="connsiteY19" fmla="*/ 206959 h 211667"/>
                    <a:gd name="connsiteX20" fmla="*/ 198241 w 264233"/>
                    <a:gd name="connsiteY20" fmla="*/ 211668 h 211667"/>
                    <a:gd name="connsiteX21" fmla="*/ 198397 w 264233"/>
                    <a:gd name="connsiteY21" fmla="*/ 211668 h 211667"/>
                    <a:gd name="connsiteX22" fmla="*/ 255869 w 264233"/>
                    <a:gd name="connsiteY22" fmla="*/ 188044 h 211667"/>
                    <a:gd name="connsiteX23" fmla="*/ 257716 w 264233"/>
                    <a:gd name="connsiteY23" fmla="*/ 124588 h 211667"/>
                    <a:gd name="connsiteX24" fmla="*/ 257352 w 264233"/>
                    <a:gd name="connsiteY24" fmla="*/ 123495 h 21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64233" h="211667">
                      <a:moveTo>
                        <a:pt x="257352" y="123495"/>
                      </a:moveTo>
                      <a:cubicBezTo>
                        <a:pt x="263102" y="108353"/>
                        <a:pt x="262165" y="94018"/>
                        <a:pt x="254490" y="80853"/>
                      </a:cubicBezTo>
                      <a:cubicBezTo>
                        <a:pt x="240961" y="57593"/>
                        <a:pt x="210261" y="45313"/>
                        <a:pt x="200322" y="42269"/>
                      </a:cubicBezTo>
                      <a:cubicBezTo>
                        <a:pt x="193193" y="27569"/>
                        <a:pt x="177271" y="19140"/>
                        <a:pt x="164860" y="14587"/>
                      </a:cubicBezTo>
                      <a:cubicBezTo>
                        <a:pt x="148235" y="8499"/>
                        <a:pt x="127812" y="6053"/>
                        <a:pt x="118341" y="8681"/>
                      </a:cubicBezTo>
                      <a:cubicBezTo>
                        <a:pt x="60973" y="-19626"/>
                        <a:pt x="4047" y="30171"/>
                        <a:pt x="1628" y="32330"/>
                      </a:cubicBezTo>
                      <a:cubicBezTo>
                        <a:pt x="-376" y="34126"/>
                        <a:pt x="-558" y="37196"/>
                        <a:pt x="1237" y="39199"/>
                      </a:cubicBezTo>
                      <a:cubicBezTo>
                        <a:pt x="3033" y="41202"/>
                        <a:pt x="6103" y="41385"/>
                        <a:pt x="8106" y="39615"/>
                      </a:cubicBezTo>
                      <a:cubicBezTo>
                        <a:pt x="8652" y="39121"/>
                        <a:pt x="63731" y="-8959"/>
                        <a:pt x="115740" y="18307"/>
                      </a:cubicBezTo>
                      <a:cubicBezTo>
                        <a:pt x="117145" y="19062"/>
                        <a:pt x="118836" y="19062"/>
                        <a:pt x="120267" y="18307"/>
                      </a:cubicBezTo>
                      <a:cubicBezTo>
                        <a:pt x="123987" y="16356"/>
                        <a:pt x="142928" y="16954"/>
                        <a:pt x="161504" y="23745"/>
                      </a:cubicBezTo>
                      <a:cubicBezTo>
                        <a:pt x="172692" y="27829"/>
                        <a:pt x="187105" y="35401"/>
                        <a:pt x="192309" y="48201"/>
                      </a:cubicBezTo>
                      <a:cubicBezTo>
                        <a:pt x="192933" y="49710"/>
                        <a:pt x="194442" y="50855"/>
                        <a:pt x="196055" y="51167"/>
                      </a:cubicBezTo>
                      <a:cubicBezTo>
                        <a:pt x="200452" y="52052"/>
                        <a:pt x="234353" y="63889"/>
                        <a:pt x="246789" y="87045"/>
                      </a:cubicBezTo>
                      <a:cubicBezTo>
                        <a:pt x="252434" y="97556"/>
                        <a:pt x="252747" y="109134"/>
                        <a:pt x="247673" y="121440"/>
                      </a:cubicBezTo>
                      <a:cubicBezTo>
                        <a:pt x="247283" y="122402"/>
                        <a:pt x="247205" y="123469"/>
                        <a:pt x="247465" y="124484"/>
                      </a:cubicBezTo>
                      <a:cubicBezTo>
                        <a:pt x="247621" y="125134"/>
                        <a:pt x="247986" y="126227"/>
                        <a:pt x="248480" y="127684"/>
                      </a:cubicBezTo>
                      <a:cubicBezTo>
                        <a:pt x="251498" y="136686"/>
                        <a:pt x="260656" y="164082"/>
                        <a:pt x="247881" y="182476"/>
                      </a:cubicBezTo>
                      <a:cubicBezTo>
                        <a:pt x="239452" y="194601"/>
                        <a:pt x="222697" y="201157"/>
                        <a:pt x="198084" y="201937"/>
                      </a:cubicBezTo>
                      <a:cubicBezTo>
                        <a:pt x="195405" y="202015"/>
                        <a:pt x="193297" y="204279"/>
                        <a:pt x="193375" y="206959"/>
                      </a:cubicBezTo>
                      <a:cubicBezTo>
                        <a:pt x="193453" y="209586"/>
                        <a:pt x="195613" y="211668"/>
                        <a:pt x="198241" y="211668"/>
                      </a:cubicBezTo>
                      <a:cubicBezTo>
                        <a:pt x="198293" y="211668"/>
                        <a:pt x="198345" y="211668"/>
                        <a:pt x="198397" y="211668"/>
                      </a:cubicBezTo>
                      <a:cubicBezTo>
                        <a:pt x="226235" y="210783"/>
                        <a:pt x="245566" y="202822"/>
                        <a:pt x="255869" y="188044"/>
                      </a:cubicBezTo>
                      <a:cubicBezTo>
                        <a:pt x="271453" y="165643"/>
                        <a:pt x="261124" y="134735"/>
                        <a:pt x="257716" y="124588"/>
                      </a:cubicBezTo>
                      <a:cubicBezTo>
                        <a:pt x="257586" y="124172"/>
                        <a:pt x="257456" y="123807"/>
                        <a:pt x="257352" y="123495"/>
                      </a:cubicBezTo>
                      <a:close/>
                    </a:path>
                  </a:pathLst>
                </a:custGeom>
                <a:grpFill/>
                <a:ln w="2598" cap="flat">
                  <a:noFill/>
                  <a:prstDash val="solid"/>
                  <a:miter/>
                </a:ln>
              </p:spPr>
              <p:txBody>
                <a:bodyPr rtlCol="0" anchor="ctr"/>
                <a:lstStyle/>
                <a:p>
                  <a:endParaRPr lang="en-GB" dirty="0"/>
                </a:p>
              </p:txBody>
            </p:sp>
          </p:grpSp>
          <p:sp>
            <p:nvSpPr>
              <p:cNvPr id="288" name="Freihandform: Form 875">
                <a:extLst>
                  <a:ext uri="{FF2B5EF4-FFF2-40B4-BE49-F238E27FC236}">
                    <a16:creationId xmlns:a16="http://schemas.microsoft.com/office/drawing/2014/main" id="{A950527C-E6F7-4ECE-B702-52CE330A847F}"/>
                  </a:ext>
                </a:extLst>
              </p:cNvPr>
              <p:cNvSpPr/>
              <p:nvPr/>
            </p:nvSpPr>
            <p:spPr>
              <a:xfrm>
                <a:off x="6251591" y="3474012"/>
                <a:ext cx="88899" cy="109247"/>
              </a:xfrm>
              <a:custGeom>
                <a:avLst/>
                <a:gdLst>
                  <a:gd name="connsiteX0" fmla="*/ 82931 w 88899"/>
                  <a:gd name="connsiteY0" fmla="*/ 131 h 109247"/>
                  <a:gd name="connsiteX1" fmla="*/ 28425 w 88899"/>
                  <a:gd name="connsiteY1" fmla="*/ 42201 h 109247"/>
                  <a:gd name="connsiteX2" fmla="*/ 352 w 88899"/>
                  <a:gd name="connsiteY2" fmla="*/ 104929 h 109247"/>
                  <a:gd name="connsiteX3" fmla="*/ 5191 w 88899"/>
                  <a:gd name="connsiteY3" fmla="*/ 109248 h 109247"/>
                  <a:gd name="connsiteX4" fmla="*/ 5764 w 88899"/>
                  <a:gd name="connsiteY4" fmla="*/ 109222 h 109247"/>
                  <a:gd name="connsiteX5" fmla="*/ 10057 w 88899"/>
                  <a:gd name="connsiteY5" fmla="*/ 103836 h 109247"/>
                  <a:gd name="connsiteX6" fmla="*/ 35293 w 88899"/>
                  <a:gd name="connsiteY6" fmla="*/ 49746 h 109247"/>
                  <a:gd name="connsiteX7" fmla="*/ 38207 w 88899"/>
                  <a:gd name="connsiteY7" fmla="*/ 44959 h 109247"/>
                  <a:gd name="connsiteX8" fmla="*/ 85091 w 88899"/>
                  <a:gd name="connsiteY8" fmla="*/ 9653 h 109247"/>
                  <a:gd name="connsiteX9" fmla="*/ 88785 w 88899"/>
                  <a:gd name="connsiteY9" fmla="*/ 3852 h 109247"/>
                  <a:gd name="connsiteX10" fmla="*/ 82931 w 88899"/>
                  <a:gd name="connsiteY10" fmla="*/ 131 h 109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8899" h="109247">
                    <a:moveTo>
                      <a:pt x="82931" y="131"/>
                    </a:moveTo>
                    <a:cubicBezTo>
                      <a:pt x="48406" y="7884"/>
                      <a:pt x="29231" y="22740"/>
                      <a:pt x="28425" y="42201"/>
                    </a:cubicBezTo>
                    <a:cubicBezTo>
                      <a:pt x="-4539" y="59164"/>
                      <a:pt x="118" y="103004"/>
                      <a:pt x="352" y="104929"/>
                    </a:cubicBezTo>
                    <a:cubicBezTo>
                      <a:pt x="638" y="107427"/>
                      <a:pt x="2746" y="109248"/>
                      <a:pt x="5191" y="109248"/>
                    </a:cubicBezTo>
                    <a:cubicBezTo>
                      <a:pt x="5374" y="109248"/>
                      <a:pt x="5556" y="109222"/>
                      <a:pt x="5764" y="109222"/>
                    </a:cubicBezTo>
                    <a:cubicBezTo>
                      <a:pt x="8444" y="108910"/>
                      <a:pt x="10343" y="106516"/>
                      <a:pt x="10057" y="103836"/>
                    </a:cubicBezTo>
                    <a:cubicBezTo>
                      <a:pt x="10005" y="103420"/>
                      <a:pt x="5764" y="62651"/>
                      <a:pt x="35293" y="49746"/>
                    </a:cubicBezTo>
                    <a:cubicBezTo>
                      <a:pt x="37167" y="48914"/>
                      <a:pt x="38338" y="47014"/>
                      <a:pt x="38207" y="44959"/>
                    </a:cubicBezTo>
                    <a:cubicBezTo>
                      <a:pt x="36776" y="22922"/>
                      <a:pt x="70521" y="12932"/>
                      <a:pt x="85091" y="9653"/>
                    </a:cubicBezTo>
                    <a:cubicBezTo>
                      <a:pt x="87718" y="9055"/>
                      <a:pt x="89357" y="6453"/>
                      <a:pt x="88785" y="3852"/>
                    </a:cubicBezTo>
                    <a:cubicBezTo>
                      <a:pt x="88135" y="1172"/>
                      <a:pt x="85533" y="-493"/>
                      <a:pt x="82931" y="131"/>
                    </a:cubicBezTo>
                    <a:close/>
                  </a:path>
                </a:pathLst>
              </a:custGeom>
              <a:grpFill/>
              <a:ln w="2598" cap="flat">
                <a:noFill/>
                <a:prstDash val="solid"/>
                <a:miter/>
              </a:ln>
            </p:spPr>
            <p:txBody>
              <a:bodyPr rtlCol="0" anchor="ctr"/>
              <a:lstStyle/>
              <a:p>
                <a:endParaRPr lang="en-GB" dirty="0"/>
              </a:p>
            </p:txBody>
          </p:sp>
        </p:grpSp>
        <p:grpSp>
          <p:nvGrpSpPr>
            <p:cNvPr id="269" name="Group 268">
              <a:extLst>
                <a:ext uri="{FF2B5EF4-FFF2-40B4-BE49-F238E27FC236}">
                  <a16:creationId xmlns:a16="http://schemas.microsoft.com/office/drawing/2014/main" id="{FDB3E29F-02BC-4CF3-98F6-BDA4EAB1FC4C}"/>
                </a:ext>
              </a:extLst>
            </p:cNvPr>
            <p:cNvGrpSpPr/>
            <p:nvPr/>
          </p:nvGrpSpPr>
          <p:grpSpPr>
            <a:xfrm>
              <a:off x="2611281" y="4002607"/>
              <a:ext cx="547274" cy="360917"/>
              <a:chOff x="6066856" y="3268997"/>
              <a:chExt cx="685660" cy="452180"/>
            </a:xfrm>
          </p:grpSpPr>
          <p:grpSp>
            <p:nvGrpSpPr>
              <p:cNvPr id="270" name="Grafik 29">
                <a:extLst>
                  <a:ext uri="{FF2B5EF4-FFF2-40B4-BE49-F238E27FC236}">
                    <a16:creationId xmlns:a16="http://schemas.microsoft.com/office/drawing/2014/main" id="{FEB878BB-7341-4B9C-BB01-89F1E0FCFC66}"/>
                  </a:ext>
                </a:extLst>
              </p:cNvPr>
              <p:cNvGrpSpPr/>
              <p:nvPr/>
            </p:nvGrpSpPr>
            <p:grpSpPr>
              <a:xfrm>
                <a:off x="6329705" y="3505234"/>
                <a:ext cx="158086" cy="149209"/>
                <a:chOff x="6329705" y="3505234"/>
                <a:chExt cx="158086" cy="149209"/>
              </a:xfrm>
              <a:solidFill>
                <a:schemeClr val="accent1"/>
              </a:solidFill>
            </p:grpSpPr>
            <p:grpSp>
              <p:nvGrpSpPr>
                <p:cNvPr id="283" name="Grafik 29">
                  <a:extLst>
                    <a:ext uri="{FF2B5EF4-FFF2-40B4-BE49-F238E27FC236}">
                      <a16:creationId xmlns:a16="http://schemas.microsoft.com/office/drawing/2014/main" id="{DDD731A6-1D71-44DE-B1CE-FE19A10CE0C3}"/>
                    </a:ext>
                  </a:extLst>
                </p:cNvPr>
                <p:cNvGrpSpPr/>
                <p:nvPr/>
              </p:nvGrpSpPr>
              <p:grpSpPr>
                <a:xfrm>
                  <a:off x="6329705" y="3505234"/>
                  <a:ext cx="158086" cy="149209"/>
                  <a:chOff x="6329705" y="3505234"/>
                  <a:chExt cx="158086" cy="149209"/>
                </a:xfrm>
                <a:solidFill>
                  <a:schemeClr val="accent1"/>
                </a:solidFill>
              </p:grpSpPr>
              <p:sp>
                <p:nvSpPr>
                  <p:cNvPr id="285" name="Freihandform: Form 878">
                    <a:extLst>
                      <a:ext uri="{FF2B5EF4-FFF2-40B4-BE49-F238E27FC236}">
                        <a16:creationId xmlns:a16="http://schemas.microsoft.com/office/drawing/2014/main" id="{0995BB7A-38DD-4D0C-8134-5387B445D39F}"/>
                      </a:ext>
                    </a:extLst>
                  </p:cNvPr>
                  <p:cNvSpPr/>
                  <p:nvPr/>
                </p:nvSpPr>
                <p:spPr>
                  <a:xfrm>
                    <a:off x="6329705" y="3505234"/>
                    <a:ext cx="158057" cy="149209"/>
                  </a:xfrm>
                  <a:custGeom>
                    <a:avLst/>
                    <a:gdLst>
                      <a:gd name="connsiteX0" fmla="*/ 133213 w 158057"/>
                      <a:gd name="connsiteY0" fmla="*/ 0 h 149209"/>
                      <a:gd name="connsiteX1" fmla="*/ 50504 w 158057"/>
                      <a:gd name="connsiteY1" fmla="*/ 43553 h 149209"/>
                      <a:gd name="connsiteX2" fmla="*/ 5754 w 158057"/>
                      <a:gd name="connsiteY2" fmla="*/ 141977 h 149209"/>
                      <a:gd name="connsiteX3" fmla="*/ 24877 w 158057"/>
                      <a:gd name="connsiteY3" fmla="*/ 149209 h 149209"/>
                      <a:gd name="connsiteX4" fmla="*/ 24877 w 158057"/>
                      <a:gd name="connsiteY4" fmla="*/ 149209 h 149209"/>
                      <a:gd name="connsiteX5" fmla="*/ 107586 w 158057"/>
                      <a:gd name="connsiteY5" fmla="*/ 105656 h 149209"/>
                      <a:gd name="connsiteX6" fmla="*/ 150567 w 158057"/>
                      <a:gd name="connsiteY6" fmla="*/ 50838 h 149209"/>
                      <a:gd name="connsiteX7" fmla="*/ 152336 w 158057"/>
                      <a:gd name="connsiteY7" fmla="*/ 7233 h 149209"/>
                      <a:gd name="connsiteX8" fmla="*/ 133213 w 158057"/>
                      <a:gd name="connsiteY8" fmla="*/ 0 h 149209"/>
                      <a:gd name="connsiteX9" fmla="*/ 141799 w 158057"/>
                      <a:gd name="connsiteY9" fmla="*/ 46571 h 149209"/>
                      <a:gd name="connsiteX10" fmla="*/ 100978 w 158057"/>
                      <a:gd name="connsiteY10" fmla="*/ 98475 h 149209"/>
                      <a:gd name="connsiteX11" fmla="*/ 24877 w 158057"/>
                      <a:gd name="connsiteY11" fmla="*/ 139453 h 149209"/>
                      <a:gd name="connsiteX12" fmla="*/ 12935 w 158057"/>
                      <a:gd name="connsiteY12" fmla="*/ 135368 h 149209"/>
                      <a:gd name="connsiteX13" fmla="*/ 57112 w 158057"/>
                      <a:gd name="connsiteY13" fmla="*/ 50708 h 149209"/>
                      <a:gd name="connsiteX14" fmla="*/ 133213 w 158057"/>
                      <a:gd name="connsiteY14" fmla="*/ 9730 h 149209"/>
                      <a:gd name="connsiteX15" fmla="*/ 145155 w 158057"/>
                      <a:gd name="connsiteY15" fmla="*/ 13815 h 149209"/>
                      <a:gd name="connsiteX16" fmla="*/ 141799 w 158057"/>
                      <a:gd name="connsiteY16" fmla="*/ 46571 h 14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8057" h="149209">
                        <a:moveTo>
                          <a:pt x="133213" y="0"/>
                        </a:moveTo>
                        <a:cubicBezTo>
                          <a:pt x="111749" y="0"/>
                          <a:pt x="79305" y="17093"/>
                          <a:pt x="50504" y="43553"/>
                        </a:cubicBezTo>
                        <a:cubicBezTo>
                          <a:pt x="8720" y="81955"/>
                          <a:pt x="-10507" y="124259"/>
                          <a:pt x="5754" y="141977"/>
                        </a:cubicBezTo>
                        <a:cubicBezTo>
                          <a:pt x="10151" y="146764"/>
                          <a:pt x="16604" y="149209"/>
                          <a:pt x="24877" y="149209"/>
                        </a:cubicBezTo>
                        <a:lnTo>
                          <a:pt x="24877" y="149209"/>
                        </a:lnTo>
                        <a:cubicBezTo>
                          <a:pt x="46315" y="149209"/>
                          <a:pt x="78785" y="132116"/>
                          <a:pt x="107586" y="105656"/>
                        </a:cubicBezTo>
                        <a:cubicBezTo>
                          <a:pt x="126631" y="88147"/>
                          <a:pt x="141903" y="68660"/>
                          <a:pt x="150567" y="50838"/>
                        </a:cubicBezTo>
                        <a:cubicBezTo>
                          <a:pt x="159907" y="31637"/>
                          <a:pt x="160531" y="16157"/>
                          <a:pt x="152336" y="7233"/>
                        </a:cubicBezTo>
                        <a:cubicBezTo>
                          <a:pt x="147913" y="2420"/>
                          <a:pt x="141487" y="0"/>
                          <a:pt x="133213" y="0"/>
                        </a:cubicBezTo>
                        <a:close/>
                        <a:moveTo>
                          <a:pt x="141799" y="46571"/>
                        </a:moveTo>
                        <a:cubicBezTo>
                          <a:pt x="133655" y="63326"/>
                          <a:pt x="119164" y="81746"/>
                          <a:pt x="100978" y="98475"/>
                        </a:cubicBezTo>
                        <a:cubicBezTo>
                          <a:pt x="74310" y="122984"/>
                          <a:pt x="43714" y="139453"/>
                          <a:pt x="24877" y="139453"/>
                        </a:cubicBezTo>
                        <a:cubicBezTo>
                          <a:pt x="19439" y="139453"/>
                          <a:pt x="15407" y="138074"/>
                          <a:pt x="12935" y="135368"/>
                        </a:cubicBezTo>
                        <a:cubicBezTo>
                          <a:pt x="2554" y="124077"/>
                          <a:pt x="18139" y="86534"/>
                          <a:pt x="57112" y="50708"/>
                        </a:cubicBezTo>
                        <a:cubicBezTo>
                          <a:pt x="83780" y="26199"/>
                          <a:pt x="114351" y="9730"/>
                          <a:pt x="133213" y="9730"/>
                        </a:cubicBezTo>
                        <a:cubicBezTo>
                          <a:pt x="138651" y="9730"/>
                          <a:pt x="142683" y="11109"/>
                          <a:pt x="145155" y="13815"/>
                        </a:cubicBezTo>
                        <a:cubicBezTo>
                          <a:pt x="150385" y="19487"/>
                          <a:pt x="149162" y="31429"/>
                          <a:pt x="141799" y="46571"/>
                        </a:cubicBezTo>
                        <a:close/>
                      </a:path>
                    </a:pathLst>
                  </a:custGeom>
                  <a:solidFill>
                    <a:schemeClr val="accent1"/>
                  </a:solidFill>
                  <a:ln w="2598" cap="flat">
                    <a:noFill/>
                    <a:prstDash val="solid"/>
                    <a:miter/>
                  </a:ln>
                </p:spPr>
                <p:txBody>
                  <a:bodyPr rtlCol="0" anchor="ctr"/>
                  <a:lstStyle/>
                  <a:p>
                    <a:endParaRPr lang="en-GB" dirty="0"/>
                  </a:p>
                </p:txBody>
              </p:sp>
              <p:sp>
                <p:nvSpPr>
                  <p:cNvPr id="286" name="Freihandform: Form 879">
                    <a:extLst>
                      <a:ext uri="{FF2B5EF4-FFF2-40B4-BE49-F238E27FC236}">
                        <a16:creationId xmlns:a16="http://schemas.microsoft.com/office/drawing/2014/main" id="{592E30E1-22BE-436C-A972-27BD1F6344E1}"/>
                      </a:ext>
                    </a:extLst>
                  </p:cNvPr>
                  <p:cNvSpPr/>
                  <p:nvPr/>
                </p:nvSpPr>
                <p:spPr>
                  <a:xfrm>
                    <a:off x="6329746" y="3505234"/>
                    <a:ext cx="158045" cy="149209"/>
                  </a:xfrm>
                  <a:custGeom>
                    <a:avLst/>
                    <a:gdLst>
                      <a:gd name="connsiteX0" fmla="*/ 107545 w 158045"/>
                      <a:gd name="connsiteY0" fmla="*/ 43553 h 149209"/>
                      <a:gd name="connsiteX1" fmla="*/ 24836 w 158045"/>
                      <a:gd name="connsiteY1" fmla="*/ 0 h 149209"/>
                      <a:gd name="connsiteX2" fmla="*/ 5713 w 158045"/>
                      <a:gd name="connsiteY2" fmla="*/ 7233 h 149209"/>
                      <a:gd name="connsiteX3" fmla="*/ 7482 w 158045"/>
                      <a:gd name="connsiteY3" fmla="*/ 50838 h 149209"/>
                      <a:gd name="connsiteX4" fmla="*/ 50463 w 158045"/>
                      <a:gd name="connsiteY4" fmla="*/ 105656 h 149209"/>
                      <a:gd name="connsiteX5" fmla="*/ 133172 w 158045"/>
                      <a:gd name="connsiteY5" fmla="*/ 149209 h 149209"/>
                      <a:gd name="connsiteX6" fmla="*/ 152294 w 158045"/>
                      <a:gd name="connsiteY6" fmla="*/ 141977 h 149209"/>
                      <a:gd name="connsiteX7" fmla="*/ 107545 w 158045"/>
                      <a:gd name="connsiteY7" fmla="*/ 43553 h 149209"/>
                      <a:gd name="connsiteX8" fmla="*/ 145114 w 158045"/>
                      <a:gd name="connsiteY8" fmla="*/ 135368 h 149209"/>
                      <a:gd name="connsiteX9" fmla="*/ 133172 w 158045"/>
                      <a:gd name="connsiteY9" fmla="*/ 139453 h 149209"/>
                      <a:gd name="connsiteX10" fmla="*/ 57071 w 158045"/>
                      <a:gd name="connsiteY10" fmla="*/ 98475 h 149209"/>
                      <a:gd name="connsiteX11" fmla="*/ 16250 w 158045"/>
                      <a:gd name="connsiteY11" fmla="*/ 46571 h 149209"/>
                      <a:gd name="connsiteX12" fmla="*/ 12894 w 158045"/>
                      <a:gd name="connsiteY12" fmla="*/ 13815 h 149209"/>
                      <a:gd name="connsiteX13" fmla="*/ 24836 w 158045"/>
                      <a:gd name="connsiteY13" fmla="*/ 9730 h 149209"/>
                      <a:gd name="connsiteX14" fmla="*/ 100936 w 158045"/>
                      <a:gd name="connsiteY14" fmla="*/ 50708 h 149209"/>
                      <a:gd name="connsiteX15" fmla="*/ 145114 w 158045"/>
                      <a:gd name="connsiteY15" fmla="*/ 135368 h 149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8045" h="149209">
                        <a:moveTo>
                          <a:pt x="107545" y="43553"/>
                        </a:moveTo>
                        <a:cubicBezTo>
                          <a:pt x="78769" y="17093"/>
                          <a:pt x="46300" y="0"/>
                          <a:pt x="24836" y="0"/>
                        </a:cubicBezTo>
                        <a:cubicBezTo>
                          <a:pt x="16562" y="0"/>
                          <a:pt x="10136" y="2446"/>
                          <a:pt x="5713" y="7233"/>
                        </a:cubicBezTo>
                        <a:cubicBezTo>
                          <a:pt x="-2483" y="16131"/>
                          <a:pt x="-1832" y="31611"/>
                          <a:pt x="7482" y="50838"/>
                        </a:cubicBezTo>
                        <a:cubicBezTo>
                          <a:pt x="16146" y="68660"/>
                          <a:pt x="31418" y="88121"/>
                          <a:pt x="50463" y="105656"/>
                        </a:cubicBezTo>
                        <a:cubicBezTo>
                          <a:pt x="79238" y="132116"/>
                          <a:pt x="111707" y="149209"/>
                          <a:pt x="133172" y="149209"/>
                        </a:cubicBezTo>
                        <a:cubicBezTo>
                          <a:pt x="141445" y="149209"/>
                          <a:pt x="147872" y="146764"/>
                          <a:pt x="152294" y="141977"/>
                        </a:cubicBezTo>
                        <a:cubicBezTo>
                          <a:pt x="168555" y="124259"/>
                          <a:pt x="149302" y="81955"/>
                          <a:pt x="107545" y="43553"/>
                        </a:cubicBezTo>
                        <a:close/>
                        <a:moveTo>
                          <a:pt x="145114" y="135368"/>
                        </a:moveTo>
                        <a:cubicBezTo>
                          <a:pt x="142616" y="138074"/>
                          <a:pt x="138609" y="139453"/>
                          <a:pt x="133172" y="139453"/>
                        </a:cubicBezTo>
                        <a:cubicBezTo>
                          <a:pt x="114309" y="139453"/>
                          <a:pt x="83739" y="122984"/>
                          <a:pt x="57071" y="98475"/>
                        </a:cubicBezTo>
                        <a:cubicBezTo>
                          <a:pt x="38885" y="81746"/>
                          <a:pt x="24393" y="63326"/>
                          <a:pt x="16250" y="46571"/>
                        </a:cubicBezTo>
                        <a:cubicBezTo>
                          <a:pt x="8887" y="31429"/>
                          <a:pt x="7664" y="19487"/>
                          <a:pt x="12894" y="13815"/>
                        </a:cubicBezTo>
                        <a:cubicBezTo>
                          <a:pt x="15391" y="11109"/>
                          <a:pt x="19398" y="9730"/>
                          <a:pt x="24836" y="9730"/>
                        </a:cubicBezTo>
                        <a:cubicBezTo>
                          <a:pt x="43698" y="9730"/>
                          <a:pt x="74269" y="26199"/>
                          <a:pt x="100936" y="50708"/>
                        </a:cubicBezTo>
                        <a:cubicBezTo>
                          <a:pt x="139910" y="86534"/>
                          <a:pt x="155495" y="124077"/>
                          <a:pt x="145114" y="135368"/>
                        </a:cubicBezTo>
                        <a:close/>
                      </a:path>
                    </a:pathLst>
                  </a:custGeom>
                  <a:solidFill>
                    <a:schemeClr val="accent1"/>
                  </a:solidFill>
                  <a:ln w="2598" cap="flat">
                    <a:noFill/>
                    <a:prstDash val="solid"/>
                    <a:miter/>
                  </a:ln>
                </p:spPr>
                <p:txBody>
                  <a:bodyPr rtlCol="0" anchor="ctr"/>
                  <a:lstStyle/>
                  <a:p>
                    <a:endParaRPr lang="en-GB" dirty="0"/>
                  </a:p>
                </p:txBody>
              </p:sp>
            </p:grpSp>
            <p:sp>
              <p:nvSpPr>
                <p:cNvPr id="284" name="Freihandform: Form 880">
                  <a:extLst>
                    <a:ext uri="{FF2B5EF4-FFF2-40B4-BE49-F238E27FC236}">
                      <a16:creationId xmlns:a16="http://schemas.microsoft.com/office/drawing/2014/main" id="{A784C233-6760-4150-A761-CA37872D7306}"/>
                    </a:ext>
                  </a:extLst>
                </p:cNvPr>
                <p:cNvSpPr/>
                <p:nvPr/>
              </p:nvSpPr>
              <p:spPr>
                <a:xfrm>
                  <a:off x="6388352" y="3558335"/>
                  <a:ext cx="40795" cy="40795"/>
                </a:xfrm>
                <a:custGeom>
                  <a:avLst/>
                  <a:gdLst>
                    <a:gd name="connsiteX0" fmla="*/ 20398 w 40795"/>
                    <a:gd name="connsiteY0" fmla="*/ 0 h 40795"/>
                    <a:gd name="connsiteX1" fmla="*/ 0 w 40795"/>
                    <a:gd name="connsiteY1" fmla="*/ 20398 h 40795"/>
                    <a:gd name="connsiteX2" fmla="*/ 20398 w 40795"/>
                    <a:gd name="connsiteY2" fmla="*/ 40795 h 40795"/>
                    <a:gd name="connsiteX3" fmla="*/ 40795 w 40795"/>
                    <a:gd name="connsiteY3" fmla="*/ 20398 h 40795"/>
                    <a:gd name="connsiteX4" fmla="*/ 20398 w 40795"/>
                    <a:gd name="connsiteY4" fmla="*/ 0 h 40795"/>
                    <a:gd name="connsiteX5" fmla="*/ 20398 w 40795"/>
                    <a:gd name="connsiteY5" fmla="*/ 31039 h 40795"/>
                    <a:gd name="connsiteX6" fmla="*/ 9731 w 40795"/>
                    <a:gd name="connsiteY6" fmla="*/ 20372 h 40795"/>
                    <a:gd name="connsiteX7" fmla="*/ 20398 w 40795"/>
                    <a:gd name="connsiteY7" fmla="*/ 9730 h 40795"/>
                    <a:gd name="connsiteX8" fmla="*/ 31039 w 40795"/>
                    <a:gd name="connsiteY8" fmla="*/ 20372 h 40795"/>
                    <a:gd name="connsiteX9" fmla="*/ 20398 w 40795"/>
                    <a:gd name="connsiteY9" fmla="*/ 31039 h 4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95" h="40795">
                      <a:moveTo>
                        <a:pt x="20398" y="0"/>
                      </a:moveTo>
                      <a:cubicBezTo>
                        <a:pt x="9158" y="0"/>
                        <a:pt x="0" y="9158"/>
                        <a:pt x="0" y="20398"/>
                      </a:cubicBezTo>
                      <a:cubicBezTo>
                        <a:pt x="0" y="31637"/>
                        <a:pt x="9158" y="40795"/>
                        <a:pt x="20398" y="40795"/>
                      </a:cubicBezTo>
                      <a:cubicBezTo>
                        <a:pt x="31637" y="40795"/>
                        <a:pt x="40795" y="31637"/>
                        <a:pt x="40795" y="20398"/>
                      </a:cubicBezTo>
                      <a:cubicBezTo>
                        <a:pt x="40795" y="9132"/>
                        <a:pt x="31637" y="0"/>
                        <a:pt x="20398" y="0"/>
                      </a:cubicBezTo>
                      <a:close/>
                      <a:moveTo>
                        <a:pt x="20398" y="31039"/>
                      </a:moveTo>
                      <a:cubicBezTo>
                        <a:pt x="14518" y="31039"/>
                        <a:pt x="9731" y="26252"/>
                        <a:pt x="9731" y="20372"/>
                      </a:cubicBezTo>
                      <a:cubicBezTo>
                        <a:pt x="9731" y="14492"/>
                        <a:pt x="14518" y="9730"/>
                        <a:pt x="20398" y="9730"/>
                      </a:cubicBezTo>
                      <a:cubicBezTo>
                        <a:pt x="26278" y="9730"/>
                        <a:pt x="31039" y="14518"/>
                        <a:pt x="31039" y="20372"/>
                      </a:cubicBezTo>
                      <a:cubicBezTo>
                        <a:pt x="31039" y="26252"/>
                        <a:pt x="26278" y="31039"/>
                        <a:pt x="20398" y="31039"/>
                      </a:cubicBezTo>
                      <a:close/>
                    </a:path>
                  </a:pathLst>
                </a:custGeom>
                <a:solidFill>
                  <a:schemeClr val="accent1"/>
                </a:solidFill>
                <a:ln w="2598" cap="flat">
                  <a:noFill/>
                  <a:prstDash val="solid"/>
                  <a:miter/>
                </a:ln>
              </p:spPr>
              <p:txBody>
                <a:bodyPr rtlCol="0" anchor="ctr"/>
                <a:lstStyle/>
                <a:p>
                  <a:endParaRPr lang="en-GB" dirty="0"/>
                </a:p>
              </p:txBody>
            </p:sp>
          </p:grpSp>
          <p:grpSp>
            <p:nvGrpSpPr>
              <p:cNvPr id="271" name="Group 270">
                <a:extLst>
                  <a:ext uri="{FF2B5EF4-FFF2-40B4-BE49-F238E27FC236}">
                    <a16:creationId xmlns:a16="http://schemas.microsoft.com/office/drawing/2014/main" id="{F30C665F-CA5E-4819-BD78-4D51C9FCD49A}"/>
                  </a:ext>
                </a:extLst>
              </p:cNvPr>
              <p:cNvGrpSpPr/>
              <p:nvPr/>
            </p:nvGrpSpPr>
            <p:grpSpPr>
              <a:xfrm>
                <a:off x="6066856" y="3268997"/>
                <a:ext cx="685660" cy="452180"/>
                <a:chOff x="6066856" y="3268997"/>
                <a:chExt cx="685660" cy="452180"/>
              </a:xfrm>
            </p:grpSpPr>
            <p:sp>
              <p:nvSpPr>
                <p:cNvPr id="272" name="Freihandform: Form 881">
                  <a:extLst>
                    <a:ext uri="{FF2B5EF4-FFF2-40B4-BE49-F238E27FC236}">
                      <a16:creationId xmlns:a16="http://schemas.microsoft.com/office/drawing/2014/main" id="{2A2662F2-B749-4FD5-A744-FADEB1B7B9D7}"/>
                    </a:ext>
                  </a:extLst>
                </p:cNvPr>
                <p:cNvSpPr/>
                <p:nvPr/>
              </p:nvSpPr>
              <p:spPr>
                <a:xfrm>
                  <a:off x="6388144" y="3268997"/>
                  <a:ext cx="9730" cy="124909"/>
                </a:xfrm>
                <a:custGeom>
                  <a:avLst/>
                  <a:gdLst>
                    <a:gd name="connsiteX0" fmla="*/ 4865 w 9730"/>
                    <a:gd name="connsiteY0" fmla="*/ 0 h 124909"/>
                    <a:gd name="connsiteX1" fmla="*/ 0 w 9730"/>
                    <a:gd name="connsiteY1" fmla="*/ 4865 h 124909"/>
                    <a:gd name="connsiteX2" fmla="*/ 0 w 9730"/>
                    <a:gd name="connsiteY2" fmla="*/ 120044 h 124909"/>
                    <a:gd name="connsiteX3" fmla="*/ 4865 w 9730"/>
                    <a:gd name="connsiteY3" fmla="*/ 124909 h 124909"/>
                    <a:gd name="connsiteX4" fmla="*/ 9730 w 9730"/>
                    <a:gd name="connsiteY4" fmla="*/ 120044 h 124909"/>
                    <a:gd name="connsiteX5" fmla="*/ 9730 w 9730"/>
                    <a:gd name="connsiteY5" fmla="*/ 4865 h 124909"/>
                    <a:gd name="connsiteX6" fmla="*/ 4865 w 9730"/>
                    <a:gd name="connsiteY6" fmla="*/ 0 h 124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30" h="124909">
                      <a:moveTo>
                        <a:pt x="4865" y="0"/>
                      </a:moveTo>
                      <a:cubicBezTo>
                        <a:pt x="2185" y="0"/>
                        <a:pt x="0" y="2185"/>
                        <a:pt x="0" y="4865"/>
                      </a:cubicBezTo>
                      <a:lnTo>
                        <a:pt x="0" y="120044"/>
                      </a:lnTo>
                      <a:cubicBezTo>
                        <a:pt x="0" y="122724"/>
                        <a:pt x="2185" y="124909"/>
                        <a:pt x="4865" y="124909"/>
                      </a:cubicBezTo>
                      <a:cubicBezTo>
                        <a:pt x="7545" y="124909"/>
                        <a:pt x="9730" y="122724"/>
                        <a:pt x="9730" y="120044"/>
                      </a:cubicBezTo>
                      <a:lnTo>
                        <a:pt x="9730" y="4865"/>
                      </a:lnTo>
                      <a:cubicBezTo>
                        <a:pt x="9730" y="2185"/>
                        <a:pt x="7545" y="0"/>
                        <a:pt x="4865" y="0"/>
                      </a:cubicBezTo>
                      <a:close/>
                    </a:path>
                  </a:pathLst>
                </a:custGeom>
                <a:solidFill>
                  <a:schemeClr val="accent1"/>
                </a:solidFill>
                <a:ln w="2598" cap="flat">
                  <a:noFill/>
                  <a:prstDash val="solid"/>
                  <a:miter/>
                </a:ln>
              </p:spPr>
              <p:txBody>
                <a:bodyPr rtlCol="0" anchor="ctr"/>
                <a:lstStyle/>
                <a:p>
                  <a:endParaRPr lang="en-GB" dirty="0"/>
                </a:p>
              </p:txBody>
            </p:sp>
            <p:sp>
              <p:nvSpPr>
                <p:cNvPr id="273" name="Freihandform: Form 883">
                  <a:extLst>
                    <a:ext uri="{FF2B5EF4-FFF2-40B4-BE49-F238E27FC236}">
                      <a16:creationId xmlns:a16="http://schemas.microsoft.com/office/drawing/2014/main" id="{8D1D96C3-2902-480C-9D41-09C551DFFFB9}"/>
                    </a:ext>
                  </a:extLst>
                </p:cNvPr>
                <p:cNvSpPr/>
                <p:nvPr/>
              </p:nvSpPr>
              <p:spPr>
                <a:xfrm>
                  <a:off x="6066856" y="3578160"/>
                  <a:ext cx="124909" cy="9730"/>
                </a:xfrm>
                <a:custGeom>
                  <a:avLst/>
                  <a:gdLst>
                    <a:gd name="connsiteX0" fmla="*/ 120044 w 124909"/>
                    <a:gd name="connsiteY0" fmla="*/ 0 h 9730"/>
                    <a:gd name="connsiteX1" fmla="*/ 4865 w 124909"/>
                    <a:gd name="connsiteY1" fmla="*/ 0 h 9730"/>
                    <a:gd name="connsiteX2" fmla="*/ 0 w 124909"/>
                    <a:gd name="connsiteY2" fmla="*/ 4865 h 9730"/>
                    <a:gd name="connsiteX3" fmla="*/ 4865 w 124909"/>
                    <a:gd name="connsiteY3" fmla="*/ 9731 h 9730"/>
                    <a:gd name="connsiteX4" fmla="*/ 120044 w 124909"/>
                    <a:gd name="connsiteY4" fmla="*/ 9731 h 9730"/>
                    <a:gd name="connsiteX5" fmla="*/ 124909 w 124909"/>
                    <a:gd name="connsiteY5" fmla="*/ 4865 h 9730"/>
                    <a:gd name="connsiteX6" fmla="*/ 120044 w 124909"/>
                    <a:gd name="connsiteY6" fmla="*/ 0 h 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09" h="9730">
                      <a:moveTo>
                        <a:pt x="120044" y="0"/>
                      </a:moveTo>
                      <a:lnTo>
                        <a:pt x="4865" y="0"/>
                      </a:lnTo>
                      <a:cubicBezTo>
                        <a:pt x="2185" y="0"/>
                        <a:pt x="0" y="2186"/>
                        <a:pt x="0" y="4865"/>
                      </a:cubicBezTo>
                      <a:cubicBezTo>
                        <a:pt x="0" y="7545"/>
                        <a:pt x="2185" y="9731"/>
                        <a:pt x="4865" y="9731"/>
                      </a:cubicBezTo>
                      <a:lnTo>
                        <a:pt x="120044" y="9731"/>
                      </a:lnTo>
                      <a:cubicBezTo>
                        <a:pt x="122724" y="9731"/>
                        <a:pt x="124909" y="7545"/>
                        <a:pt x="124909" y="4865"/>
                      </a:cubicBezTo>
                      <a:cubicBezTo>
                        <a:pt x="124909" y="2186"/>
                        <a:pt x="122724" y="0"/>
                        <a:pt x="120044" y="0"/>
                      </a:cubicBezTo>
                      <a:close/>
                    </a:path>
                  </a:pathLst>
                </a:custGeom>
                <a:solidFill>
                  <a:schemeClr val="accent1"/>
                </a:solidFill>
                <a:ln w="2598" cap="flat">
                  <a:noFill/>
                  <a:prstDash val="solid"/>
                  <a:miter/>
                </a:ln>
              </p:spPr>
              <p:txBody>
                <a:bodyPr rtlCol="0" anchor="ctr"/>
                <a:lstStyle/>
                <a:p>
                  <a:endParaRPr lang="en-GB" dirty="0"/>
                </a:p>
              </p:txBody>
            </p:sp>
            <p:sp>
              <p:nvSpPr>
                <p:cNvPr id="274" name="Freihandform: Form 884">
                  <a:extLst>
                    <a:ext uri="{FF2B5EF4-FFF2-40B4-BE49-F238E27FC236}">
                      <a16:creationId xmlns:a16="http://schemas.microsoft.com/office/drawing/2014/main" id="{9DEBAF0E-0576-4B3C-A09B-BB7F255D763B}"/>
                    </a:ext>
                  </a:extLst>
                </p:cNvPr>
                <p:cNvSpPr/>
                <p:nvPr/>
              </p:nvSpPr>
              <p:spPr>
                <a:xfrm>
                  <a:off x="6275980" y="3286643"/>
                  <a:ext cx="44964" cy="119386"/>
                </a:xfrm>
                <a:custGeom>
                  <a:avLst/>
                  <a:gdLst>
                    <a:gd name="connsiteX0" fmla="*/ 9500 w 44964"/>
                    <a:gd name="connsiteY0" fmla="*/ 3376 h 119386"/>
                    <a:gd name="connsiteX1" fmla="*/ 3385 w 44964"/>
                    <a:gd name="connsiteY1" fmla="*/ 228 h 119386"/>
                    <a:gd name="connsiteX2" fmla="*/ 237 w 44964"/>
                    <a:gd name="connsiteY2" fmla="*/ 6342 h 119386"/>
                    <a:gd name="connsiteX3" fmla="*/ 35465 w 44964"/>
                    <a:gd name="connsiteY3" fmla="*/ 116005 h 119386"/>
                    <a:gd name="connsiteX4" fmla="*/ 40096 w 44964"/>
                    <a:gd name="connsiteY4" fmla="*/ 119387 h 119386"/>
                    <a:gd name="connsiteX5" fmla="*/ 41579 w 44964"/>
                    <a:gd name="connsiteY5" fmla="*/ 119153 h 119386"/>
                    <a:gd name="connsiteX6" fmla="*/ 44727 w 44964"/>
                    <a:gd name="connsiteY6" fmla="*/ 113039 h 119386"/>
                    <a:gd name="connsiteX7" fmla="*/ 9500 w 44964"/>
                    <a:gd name="connsiteY7" fmla="*/ 3376 h 119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4" h="119386">
                      <a:moveTo>
                        <a:pt x="9500" y="3376"/>
                      </a:moveTo>
                      <a:cubicBezTo>
                        <a:pt x="8693" y="826"/>
                        <a:pt x="5935" y="-579"/>
                        <a:pt x="3385" y="228"/>
                      </a:cubicBezTo>
                      <a:cubicBezTo>
                        <a:pt x="836" y="1060"/>
                        <a:pt x="-595" y="3792"/>
                        <a:pt x="237" y="6342"/>
                      </a:cubicBezTo>
                      <a:lnTo>
                        <a:pt x="35465" y="116005"/>
                      </a:lnTo>
                      <a:cubicBezTo>
                        <a:pt x="36115" y="118060"/>
                        <a:pt x="38041" y="119387"/>
                        <a:pt x="40096" y="119387"/>
                      </a:cubicBezTo>
                      <a:cubicBezTo>
                        <a:pt x="40590" y="119387"/>
                        <a:pt x="41084" y="119309"/>
                        <a:pt x="41579" y="119153"/>
                      </a:cubicBezTo>
                      <a:cubicBezTo>
                        <a:pt x="44129" y="118320"/>
                        <a:pt x="45559" y="115588"/>
                        <a:pt x="44727" y="113039"/>
                      </a:cubicBezTo>
                      <a:lnTo>
                        <a:pt x="9500" y="3376"/>
                      </a:lnTo>
                      <a:close/>
                    </a:path>
                  </a:pathLst>
                </a:custGeom>
                <a:solidFill>
                  <a:schemeClr val="accent1"/>
                </a:solidFill>
                <a:ln w="2598" cap="flat">
                  <a:noFill/>
                  <a:prstDash val="solid"/>
                  <a:miter/>
                </a:ln>
              </p:spPr>
              <p:txBody>
                <a:bodyPr rtlCol="0" anchor="ctr"/>
                <a:lstStyle/>
                <a:p>
                  <a:endParaRPr lang="en-GB" dirty="0"/>
                </a:p>
              </p:txBody>
            </p:sp>
            <p:sp>
              <p:nvSpPr>
                <p:cNvPr id="275" name="Freihandform: Form 885">
                  <a:extLst>
                    <a:ext uri="{FF2B5EF4-FFF2-40B4-BE49-F238E27FC236}">
                      <a16:creationId xmlns:a16="http://schemas.microsoft.com/office/drawing/2014/main" id="{01D10DA1-3B90-448A-ADFB-F869DD562C5F}"/>
                    </a:ext>
                  </a:extLst>
                </p:cNvPr>
                <p:cNvSpPr/>
                <p:nvPr/>
              </p:nvSpPr>
              <p:spPr>
                <a:xfrm>
                  <a:off x="6161380" y="3353868"/>
                  <a:ext cx="94046" cy="88195"/>
                </a:xfrm>
                <a:custGeom>
                  <a:avLst/>
                  <a:gdLst>
                    <a:gd name="connsiteX0" fmla="*/ 8166 w 94046"/>
                    <a:gd name="connsiteY0" fmla="*/ 1298 h 88195"/>
                    <a:gd name="connsiteX1" fmla="*/ 1298 w 94046"/>
                    <a:gd name="connsiteY1" fmla="*/ 1558 h 88195"/>
                    <a:gd name="connsiteX2" fmla="*/ 1558 w 94046"/>
                    <a:gd name="connsiteY2" fmla="*/ 8426 h 88195"/>
                    <a:gd name="connsiteX3" fmla="*/ 85880 w 94046"/>
                    <a:gd name="connsiteY3" fmla="*/ 86895 h 88195"/>
                    <a:gd name="connsiteX4" fmla="*/ 89184 w 94046"/>
                    <a:gd name="connsiteY4" fmla="*/ 88195 h 88195"/>
                    <a:gd name="connsiteX5" fmla="*/ 92748 w 94046"/>
                    <a:gd name="connsiteY5" fmla="*/ 86634 h 88195"/>
                    <a:gd name="connsiteX6" fmla="*/ 92488 w 94046"/>
                    <a:gd name="connsiteY6" fmla="*/ 79766 h 88195"/>
                    <a:gd name="connsiteX7" fmla="*/ 8166 w 94046"/>
                    <a:gd name="connsiteY7" fmla="*/ 1298 h 8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046" h="88195">
                      <a:moveTo>
                        <a:pt x="8166" y="1298"/>
                      </a:moveTo>
                      <a:cubicBezTo>
                        <a:pt x="6189" y="-524"/>
                        <a:pt x="3119" y="-420"/>
                        <a:pt x="1298" y="1558"/>
                      </a:cubicBezTo>
                      <a:cubicBezTo>
                        <a:pt x="-524" y="3535"/>
                        <a:pt x="-420" y="6605"/>
                        <a:pt x="1558" y="8426"/>
                      </a:cubicBezTo>
                      <a:lnTo>
                        <a:pt x="85880" y="86895"/>
                      </a:lnTo>
                      <a:cubicBezTo>
                        <a:pt x="86817" y="87779"/>
                        <a:pt x="88013" y="88195"/>
                        <a:pt x="89184" y="88195"/>
                      </a:cubicBezTo>
                      <a:cubicBezTo>
                        <a:pt x="90485" y="88195"/>
                        <a:pt x="91786" y="87675"/>
                        <a:pt x="92748" y="86634"/>
                      </a:cubicBezTo>
                      <a:cubicBezTo>
                        <a:pt x="94570" y="84657"/>
                        <a:pt x="94466" y="81587"/>
                        <a:pt x="92488" y="79766"/>
                      </a:cubicBezTo>
                      <a:lnTo>
                        <a:pt x="8166" y="1298"/>
                      </a:lnTo>
                      <a:close/>
                    </a:path>
                  </a:pathLst>
                </a:custGeom>
                <a:solidFill>
                  <a:schemeClr val="accent1"/>
                </a:solidFill>
                <a:ln w="2598" cap="flat">
                  <a:noFill/>
                  <a:prstDash val="solid"/>
                  <a:miter/>
                </a:ln>
              </p:spPr>
              <p:txBody>
                <a:bodyPr rtlCol="0" anchor="ctr"/>
                <a:lstStyle/>
                <a:p>
                  <a:endParaRPr lang="en-GB" dirty="0"/>
                </a:p>
              </p:txBody>
            </p:sp>
            <p:sp>
              <p:nvSpPr>
                <p:cNvPr id="276" name="Freihandform: Form 886">
                  <a:extLst>
                    <a:ext uri="{FF2B5EF4-FFF2-40B4-BE49-F238E27FC236}">
                      <a16:creationId xmlns:a16="http://schemas.microsoft.com/office/drawing/2014/main" id="{A3A4A7A2-4283-4DC3-86CA-48B37266B792}"/>
                    </a:ext>
                  </a:extLst>
                </p:cNvPr>
                <p:cNvSpPr/>
                <p:nvPr/>
              </p:nvSpPr>
              <p:spPr>
                <a:xfrm>
                  <a:off x="6089019" y="3461937"/>
                  <a:ext cx="118074" cy="48812"/>
                </a:xfrm>
                <a:custGeom>
                  <a:avLst/>
                  <a:gdLst>
                    <a:gd name="connsiteX0" fmla="*/ 114870 w 118074"/>
                    <a:gd name="connsiteY0" fmla="*/ 39369 h 48812"/>
                    <a:gd name="connsiteX1" fmla="*/ 6534 w 118074"/>
                    <a:gd name="connsiteY1" fmla="*/ 290 h 48812"/>
                    <a:gd name="connsiteX2" fmla="*/ 290 w 118074"/>
                    <a:gd name="connsiteY2" fmla="*/ 3204 h 48812"/>
                    <a:gd name="connsiteX3" fmla="*/ 3230 w 118074"/>
                    <a:gd name="connsiteY3" fmla="*/ 9449 h 48812"/>
                    <a:gd name="connsiteX4" fmla="*/ 111566 w 118074"/>
                    <a:gd name="connsiteY4" fmla="*/ 48527 h 48812"/>
                    <a:gd name="connsiteX5" fmla="*/ 113205 w 118074"/>
                    <a:gd name="connsiteY5" fmla="*/ 48813 h 48812"/>
                    <a:gd name="connsiteX6" fmla="*/ 117784 w 118074"/>
                    <a:gd name="connsiteY6" fmla="*/ 45587 h 48812"/>
                    <a:gd name="connsiteX7" fmla="*/ 114870 w 118074"/>
                    <a:gd name="connsiteY7" fmla="*/ 39369 h 4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4" h="48812">
                      <a:moveTo>
                        <a:pt x="114870" y="39369"/>
                      </a:moveTo>
                      <a:lnTo>
                        <a:pt x="6534" y="290"/>
                      </a:lnTo>
                      <a:cubicBezTo>
                        <a:pt x="4011" y="-620"/>
                        <a:pt x="1227" y="681"/>
                        <a:pt x="290" y="3204"/>
                      </a:cubicBezTo>
                      <a:cubicBezTo>
                        <a:pt x="-620" y="5728"/>
                        <a:pt x="680" y="8512"/>
                        <a:pt x="3230" y="9449"/>
                      </a:cubicBezTo>
                      <a:lnTo>
                        <a:pt x="111566" y="48527"/>
                      </a:lnTo>
                      <a:cubicBezTo>
                        <a:pt x="112113" y="48735"/>
                        <a:pt x="112659" y="48813"/>
                        <a:pt x="113205" y="48813"/>
                      </a:cubicBezTo>
                      <a:cubicBezTo>
                        <a:pt x="115209" y="48813"/>
                        <a:pt x="117082" y="47590"/>
                        <a:pt x="117784" y="45587"/>
                      </a:cubicBezTo>
                      <a:cubicBezTo>
                        <a:pt x="118695" y="43063"/>
                        <a:pt x="117394" y="40279"/>
                        <a:pt x="114870" y="39369"/>
                      </a:cubicBezTo>
                      <a:close/>
                    </a:path>
                  </a:pathLst>
                </a:custGeom>
                <a:solidFill>
                  <a:schemeClr val="accent1"/>
                </a:solidFill>
                <a:ln w="2598" cap="flat">
                  <a:noFill/>
                  <a:prstDash val="solid"/>
                  <a:miter/>
                </a:ln>
              </p:spPr>
              <p:txBody>
                <a:bodyPr rtlCol="0" anchor="ctr"/>
                <a:lstStyle/>
                <a:p>
                  <a:endParaRPr lang="en-GB" dirty="0"/>
                </a:p>
              </p:txBody>
            </p:sp>
            <p:sp>
              <p:nvSpPr>
                <p:cNvPr id="277" name="Freihandform: Form 887">
                  <a:extLst>
                    <a:ext uri="{FF2B5EF4-FFF2-40B4-BE49-F238E27FC236}">
                      <a16:creationId xmlns:a16="http://schemas.microsoft.com/office/drawing/2014/main" id="{6E901889-D1FA-4A83-92D4-8E7EE92C0B8D}"/>
                    </a:ext>
                  </a:extLst>
                </p:cNvPr>
                <p:cNvSpPr/>
                <p:nvPr/>
              </p:nvSpPr>
              <p:spPr>
                <a:xfrm>
                  <a:off x="6088111" y="3672339"/>
                  <a:ext cx="118068" cy="48838"/>
                </a:xfrm>
                <a:custGeom>
                  <a:avLst/>
                  <a:gdLst>
                    <a:gd name="connsiteX0" fmla="*/ 111563 w 118068"/>
                    <a:gd name="connsiteY0" fmla="*/ 290 h 48838"/>
                    <a:gd name="connsiteX1" fmla="*/ 3227 w 118068"/>
                    <a:gd name="connsiteY1" fmla="*/ 39368 h 48838"/>
                    <a:gd name="connsiteX2" fmla="*/ 287 w 118068"/>
                    <a:gd name="connsiteY2" fmla="*/ 45612 h 48838"/>
                    <a:gd name="connsiteX3" fmla="*/ 4866 w 118068"/>
                    <a:gd name="connsiteY3" fmla="*/ 48839 h 48838"/>
                    <a:gd name="connsiteX4" fmla="*/ 6506 w 118068"/>
                    <a:gd name="connsiteY4" fmla="*/ 48552 h 48838"/>
                    <a:gd name="connsiteX5" fmla="*/ 114842 w 118068"/>
                    <a:gd name="connsiteY5" fmla="*/ 9474 h 48838"/>
                    <a:gd name="connsiteX6" fmla="*/ 117782 w 118068"/>
                    <a:gd name="connsiteY6" fmla="*/ 3230 h 48838"/>
                    <a:gd name="connsiteX7" fmla="*/ 111563 w 118068"/>
                    <a:gd name="connsiteY7" fmla="*/ 290 h 48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68" h="48838">
                      <a:moveTo>
                        <a:pt x="111563" y="290"/>
                      </a:moveTo>
                      <a:lnTo>
                        <a:pt x="3227" y="39368"/>
                      </a:lnTo>
                      <a:cubicBezTo>
                        <a:pt x="704" y="40279"/>
                        <a:pt x="-623" y="43063"/>
                        <a:pt x="287" y="45612"/>
                      </a:cubicBezTo>
                      <a:cubicBezTo>
                        <a:pt x="1016" y="47590"/>
                        <a:pt x="2863" y="48839"/>
                        <a:pt x="4866" y="48839"/>
                      </a:cubicBezTo>
                      <a:cubicBezTo>
                        <a:pt x="5413" y="48839"/>
                        <a:pt x="5985" y="48734"/>
                        <a:pt x="6506" y="48552"/>
                      </a:cubicBezTo>
                      <a:lnTo>
                        <a:pt x="114842" y="9474"/>
                      </a:lnTo>
                      <a:cubicBezTo>
                        <a:pt x="117365" y="8564"/>
                        <a:pt x="118692" y="5780"/>
                        <a:pt x="117782" y="3230"/>
                      </a:cubicBezTo>
                      <a:cubicBezTo>
                        <a:pt x="116871" y="681"/>
                        <a:pt x="114087" y="-620"/>
                        <a:pt x="111563" y="290"/>
                      </a:cubicBezTo>
                      <a:close/>
                    </a:path>
                  </a:pathLst>
                </a:custGeom>
                <a:solidFill>
                  <a:schemeClr val="accent1"/>
                </a:solidFill>
                <a:ln w="2598" cap="flat">
                  <a:noFill/>
                  <a:prstDash val="solid"/>
                  <a:miter/>
                </a:ln>
              </p:spPr>
              <p:txBody>
                <a:bodyPr rtlCol="0" anchor="ctr"/>
                <a:lstStyle/>
                <a:p>
                  <a:endParaRPr lang="en-GB" dirty="0"/>
                </a:p>
              </p:txBody>
            </p:sp>
            <p:sp>
              <p:nvSpPr>
                <p:cNvPr id="278" name="Freihandform: Form 888">
                  <a:extLst>
                    <a:ext uri="{FF2B5EF4-FFF2-40B4-BE49-F238E27FC236}">
                      <a16:creationId xmlns:a16="http://schemas.microsoft.com/office/drawing/2014/main" id="{5C008216-1237-4708-BBE7-23D76CCF0E82}"/>
                    </a:ext>
                  </a:extLst>
                </p:cNvPr>
                <p:cNvSpPr/>
                <p:nvPr/>
              </p:nvSpPr>
              <p:spPr>
                <a:xfrm>
                  <a:off x="6627607" y="3578160"/>
                  <a:ext cx="124909" cy="9730"/>
                </a:xfrm>
                <a:custGeom>
                  <a:avLst/>
                  <a:gdLst>
                    <a:gd name="connsiteX0" fmla="*/ 120044 w 124909"/>
                    <a:gd name="connsiteY0" fmla="*/ 0 h 9730"/>
                    <a:gd name="connsiteX1" fmla="*/ 4865 w 124909"/>
                    <a:gd name="connsiteY1" fmla="*/ 0 h 9730"/>
                    <a:gd name="connsiteX2" fmla="*/ 0 w 124909"/>
                    <a:gd name="connsiteY2" fmla="*/ 4865 h 9730"/>
                    <a:gd name="connsiteX3" fmla="*/ 4865 w 124909"/>
                    <a:gd name="connsiteY3" fmla="*/ 9731 h 9730"/>
                    <a:gd name="connsiteX4" fmla="*/ 120044 w 124909"/>
                    <a:gd name="connsiteY4" fmla="*/ 9731 h 9730"/>
                    <a:gd name="connsiteX5" fmla="*/ 124909 w 124909"/>
                    <a:gd name="connsiteY5" fmla="*/ 4865 h 9730"/>
                    <a:gd name="connsiteX6" fmla="*/ 120044 w 124909"/>
                    <a:gd name="connsiteY6" fmla="*/ 0 h 9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909" h="9730">
                      <a:moveTo>
                        <a:pt x="120044" y="0"/>
                      </a:moveTo>
                      <a:lnTo>
                        <a:pt x="4865" y="0"/>
                      </a:lnTo>
                      <a:cubicBezTo>
                        <a:pt x="2186" y="0"/>
                        <a:pt x="0" y="2186"/>
                        <a:pt x="0" y="4865"/>
                      </a:cubicBezTo>
                      <a:cubicBezTo>
                        <a:pt x="0" y="7545"/>
                        <a:pt x="2186" y="9731"/>
                        <a:pt x="4865" y="9731"/>
                      </a:cubicBezTo>
                      <a:lnTo>
                        <a:pt x="120044" y="9731"/>
                      </a:lnTo>
                      <a:cubicBezTo>
                        <a:pt x="122724" y="9731"/>
                        <a:pt x="124909" y="7545"/>
                        <a:pt x="124909" y="4865"/>
                      </a:cubicBezTo>
                      <a:cubicBezTo>
                        <a:pt x="124909" y="2186"/>
                        <a:pt x="122724" y="0"/>
                        <a:pt x="120044" y="0"/>
                      </a:cubicBezTo>
                      <a:close/>
                    </a:path>
                  </a:pathLst>
                </a:custGeom>
                <a:solidFill>
                  <a:schemeClr val="accent1"/>
                </a:solidFill>
                <a:ln w="2598" cap="flat">
                  <a:noFill/>
                  <a:prstDash val="solid"/>
                  <a:miter/>
                </a:ln>
              </p:spPr>
              <p:txBody>
                <a:bodyPr rtlCol="0" anchor="ctr"/>
                <a:lstStyle/>
                <a:p>
                  <a:endParaRPr lang="en-GB" dirty="0"/>
                </a:p>
              </p:txBody>
            </p:sp>
            <p:sp>
              <p:nvSpPr>
                <p:cNvPr id="279" name="Freihandform: Form 889">
                  <a:extLst>
                    <a:ext uri="{FF2B5EF4-FFF2-40B4-BE49-F238E27FC236}">
                      <a16:creationId xmlns:a16="http://schemas.microsoft.com/office/drawing/2014/main" id="{2E32FF8C-BFAC-4A0C-A84B-305B955B7E82}"/>
                    </a:ext>
                  </a:extLst>
                </p:cNvPr>
                <p:cNvSpPr/>
                <p:nvPr/>
              </p:nvSpPr>
              <p:spPr>
                <a:xfrm>
                  <a:off x="6462030" y="3281750"/>
                  <a:ext cx="44966" cy="119389"/>
                </a:xfrm>
                <a:custGeom>
                  <a:avLst/>
                  <a:gdLst>
                    <a:gd name="connsiteX0" fmla="*/ 41579 w 44966"/>
                    <a:gd name="connsiteY0" fmla="*/ 230 h 119389"/>
                    <a:gd name="connsiteX1" fmla="*/ 35465 w 44966"/>
                    <a:gd name="connsiteY1" fmla="*/ 3378 h 119389"/>
                    <a:gd name="connsiteX2" fmla="*/ 237 w 44966"/>
                    <a:gd name="connsiteY2" fmla="*/ 113041 h 119389"/>
                    <a:gd name="connsiteX3" fmla="*/ 3385 w 44966"/>
                    <a:gd name="connsiteY3" fmla="*/ 119155 h 119389"/>
                    <a:gd name="connsiteX4" fmla="*/ 4868 w 44966"/>
                    <a:gd name="connsiteY4" fmla="*/ 119389 h 119389"/>
                    <a:gd name="connsiteX5" fmla="*/ 9499 w 44966"/>
                    <a:gd name="connsiteY5" fmla="*/ 116007 h 119389"/>
                    <a:gd name="connsiteX6" fmla="*/ 44727 w 44966"/>
                    <a:gd name="connsiteY6" fmla="*/ 6344 h 119389"/>
                    <a:gd name="connsiteX7" fmla="*/ 41579 w 44966"/>
                    <a:gd name="connsiteY7" fmla="*/ 230 h 119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966" h="119389">
                      <a:moveTo>
                        <a:pt x="41579" y="230"/>
                      </a:moveTo>
                      <a:cubicBezTo>
                        <a:pt x="39003" y="-577"/>
                        <a:pt x="36271" y="802"/>
                        <a:pt x="35465" y="3378"/>
                      </a:cubicBezTo>
                      <a:lnTo>
                        <a:pt x="237" y="113041"/>
                      </a:lnTo>
                      <a:cubicBezTo>
                        <a:pt x="-595" y="115591"/>
                        <a:pt x="836" y="118348"/>
                        <a:pt x="3385" y="119155"/>
                      </a:cubicBezTo>
                      <a:cubicBezTo>
                        <a:pt x="3880" y="119311"/>
                        <a:pt x="4374" y="119389"/>
                        <a:pt x="4868" y="119389"/>
                      </a:cubicBezTo>
                      <a:cubicBezTo>
                        <a:pt x="6924" y="119389"/>
                        <a:pt x="8849" y="118088"/>
                        <a:pt x="9499" y="116007"/>
                      </a:cubicBezTo>
                      <a:lnTo>
                        <a:pt x="44727" y="6344"/>
                      </a:lnTo>
                      <a:cubicBezTo>
                        <a:pt x="45560" y="3794"/>
                        <a:pt x="44155" y="1062"/>
                        <a:pt x="41579" y="230"/>
                      </a:cubicBezTo>
                      <a:close/>
                    </a:path>
                  </a:pathLst>
                </a:custGeom>
                <a:solidFill>
                  <a:schemeClr val="accent1"/>
                </a:solidFill>
                <a:ln w="2598" cap="flat">
                  <a:noFill/>
                  <a:prstDash val="solid"/>
                  <a:miter/>
                </a:ln>
              </p:spPr>
              <p:txBody>
                <a:bodyPr rtlCol="0" anchor="ctr"/>
                <a:lstStyle/>
                <a:p>
                  <a:endParaRPr lang="en-GB" dirty="0"/>
                </a:p>
              </p:txBody>
            </p:sp>
            <p:sp>
              <p:nvSpPr>
                <p:cNvPr id="280" name="Freihandform: Form 890">
                  <a:extLst>
                    <a:ext uri="{FF2B5EF4-FFF2-40B4-BE49-F238E27FC236}">
                      <a16:creationId xmlns:a16="http://schemas.microsoft.com/office/drawing/2014/main" id="{05458F67-DD5F-486B-B716-DED61F0541F8}"/>
                    </a:ext>
                  </a:extLst>
                </p:cNvPr>
                <p:cNvSpPr/>
                <p:nvPr/>
              </p:nvSpPr>
              <p:spPr>
                <a:xfrm>
                  <a:off x="6542716" y="3342089"/>
                  <a:ext cx="94046" cy="88188"/>
                </a:xfrm>
                <a:custGeom>
                  <a:avLst/>
                  <a:gdLst>
                    <a:gd name="connsiteX0" fmla="*/ 85880 w 94046"/>
                    <a:gd name="connsiteY0" fmla="*/ 1317 h 88188"/>
                    <a:gd name="connsiteX1" fmla="*/ 1558 w 94046"/>
                    <a:gd name="connsiteY1" fmla="*/ 79759 h 88188"/>
                    <a:gd name="connsiteX2" fmla="*/ 1298 w 94046"/>
                    <a:gd name="connsiteY2" fmla="*/ 86628 h 88188"/>
                    <a:gd name="connsiteX3" fmla="*/ 4862 w 94046"/>
                    <a:gd name="connsiteY3" fmla="*/ 88189 h 88188"/>
                    <a:gd name="connsiteX4" fmla="*/ 8166 w 94046"/>
                    <a:gd name="connsiteY4" fmla="*/ 86888 h 88188"/>
                    <a:gd name="connsiteX5" fmla="*/ 92488 w 94046"/>
                    <a:gd name="connsiteY5" fmla="*/ 8446 h 88188"/>
                    <a:gd name="connsiteX6" fmla="*/ 92748 w 94046"/>
                    <a:gd name="connsiteY6" fmla="*/ 1577 h 88188"/>
                    <a:gd name="connsiteX7" fmla="*/ 85880 w 94046"/>
                    <a:gd name="connsiteY7" fmla="*/ 1317 h 88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046" h="88188">
                      <a:moveTo>
                        <a:pt x="85880" y="1317"/>
                      </a:moveTo>
                      <a:lnTo>
                        <a:pt x="1558" y="79759"/>
                      </a:lnTo>
                      <a:cubicBezTo>
                        <a:pt x="-420" y="81580"/>
                        <a:pt x="-524" y="84677"/>
                        <a:pt x="1298" y="86628"/>
                      </a:cubicBezTo>
                      <a:cubicBezTo>
                        <a:pt x="2260" y="87669"/>
                        <a:pt x="3561" y="88189"/>
                        <a:pt x="4862" y="88189"/>
                      </a:cubicBezTo>
                      <a:cubicBezTo>
                        <a:pt x="6059" y="88189"/>
                        <a:pt x="7230" y="87747"/>
                        <a:pt x="8166" y="86888"/>
                      </a:cubicBezTo>
                      <a:lnTo>
                        <a:pt x="92488" y="8446"/>
                      </a:lnTo>
                      <a:cubicBezTo>
                        <a:pt x="94466" y="6625"/>
                        <a:pt x="94570" y="3529"/>
                        <a:pt x="92748" y="1577"/>
                      </a:cubicBezTo>
                      <a:cubicBezTo>
                        <a:pt x="90927" y="-426"/>
                        <a:pt x="87857" y="-530"/>
                        <a:pt x="85880" y="1317"/>
                      </a:cubicBezTo>
                      <a:close/>
                    </a:path>
                  </a:pathLst>
                </a:custGeom>
                <a:solidFill>
                  <a:schemeClr val="accent1"/>
                </a:solidFill>
                <a:ln w="2598" cap="flat">
                  <a:noFill/>
                  <a:prstDash val="solid"/>
                  <a:miter/>
                </a:ln>
              </p:spPr>
              <p:txBody>
                <a:bodyPr rtlCol="0" anchor="ctr"/>
                <a:lstStyle/>
                <a:p>
                  <a:endParaRPr lang="en-GB" dirty="0"/>
                </a:p>
              </p:txBody>
            </p:sp>
            <p:sp>
              <p:nvSpPr>
                <p:cNvPr id="281" name="Freihandform: Form 891">
                  <a:extLst>
                    <a:ext uri="{FF2B5EF4-FFF2-40B4-BE49-F238E27FC236}">
                      <a16:creationId xmlns:a16="http://schemas.microsoft.com/office/drawing/2014/main" id="{7FFE9862-90C2-4072-A142-A0A9CF7C7F02}"/>
                    </a:ext>
                  </a:extLst>
                </p:cNvPr>
                <p:cNvSpPr/>
                <p:nvPr/>
              </p:nvSpPr>
              <p:spPr>
                <a:xfrm>
                  <a:off x="6604113" y="3447825"/>
                  <a:ext cx="118069" cy="48848"/>
                </a:xfrm>
                <a:custGeom>
                  <a:avLst/>
                  <a:gdLst>
                    <a:gd name="connsiteX0" fmla="*/ 111563 w 118069"/>
                    <a:gd name="connsiteY0" fmla="*/ 301 h 48848"/>
                    <a:gd name="connsiteX1" fmla="*/ 3227 w 118069"/>
                    <a:gd name="connsiteY1" fmla="*/ 39379 h 48848"/>
                    <a:gd name="connsiteX2" fmla="*/ 287 w 118069"/>
                    <a:gd name="connsiteY2" fmla="*/ 45623 h 48848"/>
                    <a:gd name="connsiteX3" fmla="*/ 4866 w 118069"/>
                    <a:gd name="connsiteY3" fmla="*/ 48849 h 48848"/>
                    <a:gd name="connsiteX4" fmla="*/ 6506 w 118069"/>
                    <a:gd name="connsiteY4" fmla="*/ 48563 h 48848"/>
                    <a:gd name="connsiteX5" fmla="*/ 114842 w 118069"/>
                    <a:gd name="connsiteY5" fmla="*/ 9485 h 48848"/>
                    <a:gd name="connsiteX6" fmla="*/ 117782 w 118069"/>
                    <a:gd name="connsiteY6" fmla="*/ 3241 h 48848"/>
                    <a:gd name="connsiteX7" fmla="*/ 111563 w 118069"/>
                    <a:gd name="connsiteY7" fmla="*/ 301 h 48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69" h="48848">
                      <a:moveTo>
                        <a:pt x="111563" y="301"/>
                      </a:moveTo>
                      <a:lnTo>
                        <a:pt x="3227" y="39379"/>
                      </a:lnTo>
                      <a:cubicBezTo>
                        <a:pt x="704" y="40289"/>
                        <a:pt x="-623" y="43073"/>
                        <a:pt x="287" y="45623"/>
                      </a:cubicBezTo>
                      <a:cubicBezTo>
                        <a:pt x="1016" y="47600"/>
                        <a:pt x="2863" y="48849"/>
                        <a:pt x="4866" y="48849"/>
                      </a:cubicBezTo>
                      <a:cubicBezTo>
                        <a:pt x="5413" y="48849"/>
                        <a:pt x="5985" y="48745"/>
                        <a:pt x="6506" y="48563"/>
                      </a:cubicBezTo>
                      <a:lnTo>
                        <a:pt x="114842" y="9485"/>
                      </a:lnTo>
                      <a:cubicBezTo>
                        <a:pt x="117365" y="8574"/>
                        <a:pt x="118692" y="5790"/>
                        <a:pt x="117782" y="3241"/>
                      </a:cubicBezTo>
                      <a:cubicBezTo>
                        <a:pt x="116897" y="691"/>
                        <a:pt x="114087" y="-636"/>
                        <a:pt x="111563" y="301"/>
                      </a:cubicBezTo>
                      <a:close/>
                    </a:path>
                  </a:pathLst>
                </a:custGeom>
                <a:solidFill>
                  <a:schemeClr val="accent1"/>
                </a:solidFill>
                <a:ln w="2598" cap="flat">
                  <a:noFill/>
                  <a:prstDash val="solid"/>
                  <a:miter/>
                </a:ln>
              </p:spPr>
              <p:txBody>
                <a:bodyPr rtlCol="0" anchor="ctr"/>
                <a:lstStyle/>
                <a:p>
                  <a:endParaRPr lang="en-GB" dirty="0"/>
                </a:p>
              </p:txBody>
            </p:sp>
            <p:sp>
              <p:nvSpPr>
                <p:cNvPr id="282" name="Freihandform: Form 892">
                  <a:extLst>
                    <a:ext uri="{FF2B5EF4-FFF2-40B4-BE49-F238E27FC236}">
                      <a16:creationId xmlns:a16="http://schemas.microsoft.com/office/drawing/2014/main" id="{C50AAD92-EA58-417E-8477-F2ADEFA64BB7}"/>
                    </a:ext>
                  </a:extLst>
                </p:cNvPr>
                <p:cNvSpPr/>
                <p:nvPr/>
              </p:nvSpPr>
              <p:spPr>
                <a:xfrm>
                  <a:off x="6623493" y="3661516"/>
                  <a:ext cx="118074" cy="48838"/>
                </a:xfrm>
                <a:custGeom>
                  <a:avLst/>
                  <a:gdLst>
                    <a:gd name="connsiteX0" fmla="*/ 114870 w 118074"/>
                    <a:gd name="connsiteY0" fmla="*/ 39394 h 48838"/>
                    <a:gd name="connsiteX1" fmla="*/ 6534 w 118074"/>
                    <a:gd name="connsiteY1" fmla="*/ 290 h 48838"/>
                    <a:gd name="connsiteX2" fmla="*/ 290 w 118074"/>
                    <a:gd name="connsiteY2" fmla="*/ 3204 h 48838"/>
                    <a:gd name="connsiteX3" fmla="*/ 3230 w 118074"/>
                    <a:gd name="connsiteY3" fmla="*/ 9449 h 48838"/>
                    <a:gd name="connsiteX4" fmla="*/ 111566 w 118074"/>
                    <a:gd name="connsiteY4" fmla="*/ 48553 h 48838"/>
                    <a:gd name="connsiteX5" fmla="*/ 113205 w 118074"/>
                    <a:gd name="connsiteY5" fmla="*/ 48839 h 48838"/>
                    <a:gd name="connsiteX6" fmla="*/ 117784 w 118074"/>
                    <a:gd name="connsiteY6" fmla="*/ 45613 h 48838"/>
                    <a:gd name="connsiteX7" fmla="*/ 114870 w 118074"/>
                    <a:gd name="connsiteY7" fmla="*/ 39394 h 48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8074" h="48838">
                      <a:moveTo>
                        <a:pt x="114870" y="39394"/>
                      </a:moveTo>
                      <a:lnTo>
                        <a:pt x="6534" y="290"/>
                      </a:lnTo>
                      <a:cubicBezTo>
                        <a:pt x="4011" y="-620"/>
                        <a:pt x="1227" y="681"/>
                        <a:pt x="290" y="3204"/>
                      </a:cubicBezTo>
                      <a:cubicBezTo>
                        <a:pt x="-620" y="5728"/>
                        <a:pt x="680" y="8512"/>
                        <a:pt x="3230" y="9449"/>
                      </a:cubicBezTo>
                      <a:lnTo>
                        <a:pt x="111566" y="48553"/>
                      </a:lnTo>
                      <a:cubicBezTo>
                        <a:pt x="112113" y="48761"/>
                        <a:pt x="112659" y="48839"/>
                        <a:pt x="113205" y="48839"/>
                      </a:cubicBezTo>
                      <a:cubicBezTo>
                        <a:pt x="115209" y="48839"/>
                        <a:pt x="117082" y="47616"/>
                        <a:pt x="117784" y="45613"/>
                      </a:cubicBezTo>
                      <a:cubicBezTo>
                        <a:pt x="118695" y="43089"/>
                        <a:pt x="117394" y="40305"/>
                        <a:pt x="114870" y="39394"/>
                      </a:cubicBezTo>
                      <a:close/>
                    </a:path>
                  </a:pathLst>
                </a:custGeom>
                <a:solidFill>
                  <a:schemeClr val="accent1"/>
                </a:solidFill>
                <a:ln w="2598" cap="flat">
                  <a:noFill/>
                  <a:prstDash val="solid"/>
                  <a:miter/>
                </a:ln>
              </p:spPr>
              <p:txBody>
                <a:bodyPr rtlCol="0" anchor="ctr"/>
                <a:lstStyle/>
                <a:p>
                  <a:endParaRPr lang="en-GB" dirty="0"/>
                </a:p>
              </p:txBody>
            </p:sp>
          </p:grpSp>
        </p:grpSp>
      </p:grpSp>
      <p:grpSp>
        <p:nvGrpSpPr>
          <p:cNvPr id="32" name="Group 31">
            <a:extLst>
              <a:ext uri="{FF2B5EF4-FFF2-40B4-BE49-F238E27FC236}">
                <a16:creationId xmlns:a16="http://schemas.microsoft.com/office/drawing/2014/main" id="{C3DD60FF-EF80-E7C1-CDC6-7C117404A096}"/>
              </a:ext>
            </a:extLst>
          </p:cNvPr>
          <p:cNvGrpSpPr/>
          <p:nvPr/>
        </p:nvGrpSpPr>
        <p:grpSpPr>
          <a:xfrm>
            <a:off x="3678935" y="4002613"/>
            <a:ext cx="556835" cy="432000"/>
            <a:chOff x="3678935" y="4002613"/>
            <a:chExt cx="556835" cy="432000"/>
          </a:xfrm>
        </p:grpSpPr>
        <p:grpSp>
          <p:nvGrpSpPr>
            <p:cNvPr id="296" name="Group 295">
              <a:extLst>
                <a:ext uri="{FF2B5EF4-FFF2-40B4-BE49-F238E27FC236}">
                  <a16:creationId xmlns:a16="http://schemas.microsoft.com/office/drawing/2014/main" id="{52EE5E7B-61FF-44D1-935D-44C98250BA2B}"/>
                </a:ext>
              </a:extLst>
            </p:cNvPr>
            <p:cNvGrpSpPr/>
            <p:nvPr/>
          </p:nvGrpSpPr>
          <p:grpSpPr>
            <a:xfrm>
              <a:off x="3777890" y="4002613"/>
              <a:ext cx="431938" cy="432000"/>
              <a:chOff x="2606698" y="3339312"/>
              <a:chExt cx="441017" cy="441080"/>
            </a:xfrm>
          </p:grpSpPr>
          <p:sp>
            <p:nvSpPr>
              <p:cNvPr id="313" name="Freihandform: Form 98">
                <a:extLst>
                  <a:ext uri="{FF2B5EF4-FFF2-40B4-BE49-F238E27FC236}">
                    <a16:creationId xmlns:a16="http://schemas.microsoft.com/office/drawing/2014/main" id="{AD26D523-70D3-4456-9723-8CB51D6BDD85}"/>
                  </a:ext>
                </a:extLst>
              </p:cNvPr>
              <p:cNvSpPr/>
              <p:nvPr/>
            </p:nvSpPr>
            <p:spPr>
              <a:xfrm>
                <a:off x="2606698" y="3605316"/>
                <a:ext cx="175264" cy="175076"/>
              </a:xfrm>
              <a:custGeom>
                <a:avLst/>
                <a:gdLst>
                  <a:gd name="connsiteX0" fmla="*/ 167042 w 175264"/>
                  <a:gd name="connsiteY0" fmla="*/ 64711 h 175076"/>
                  <a:gd name="connsiteX1" fmla="*/ 72840 w 175264"/>
                  <a:gd name="connsiteY1" fmla="*/ 158932 h 175076"/>
                  <a:gd name="connsiteX2" fmla="*/ 51213 w 175264"/>
                  <a:gd name="connsiteY2" fmla="*/ 161936 h 175076"/>
                  <a:gd name="connsiteX3" fmla="*/ 13085 w 175264"/>
                  <a:gd name="connsiteY3" fmla="*/ 123808 h 175076"/>
                  <a:gd name="connsiteX4" fmla="*/ 9969 w 175264"/>
                  <a:gd name="connsiteY4" fmla="*/ 117782 h 175076"/>
                  <a:gd name="connsiteX5" fmla="*/ 16089 w 175264"/>
                  <a:gd name="connsiteY5" fmla="*/ 102181 h 175076"/>
                  <a:gd name="connsiteX6" fmla="*/ 110048 w 175264"/>
                  <a:gd name="connsiteY6" fmla="*/ 8223 h 175076"/>
                  <a:gd name="connsiteX7" fmla="*/ 110048 w 175264"/>
                  <a:gd name="connsiteY7" fmla="*/ 1408 h 175076"/>
                  <a:gd name="connsiteX8" fmla="*/ 103233 w 175264"/>
                  <a:gd name="connsiteY8" fmla="*/ 1408 h 175076"/>
                  <a:gd name="connsiteX9" fmla="*/ 9274 w 175264"/>
                  <a:gd name="connsiteY9" fmla="*/ 95367 h 175076"/>
                  <a:gd name="connsiteX10" fmla="*/ 582 w 175264"/>
                  <a:gd name="connsiteY10" fmla="*/ 119997 h 175076"/>
                  <a:gd name="connsiteX11" fmla="*/ 6271 w 175264"/>
                  <a:gd name="connsiteY11" fmla="*/ 130623 h 175076"/>
                  <a:gd name="connsiteX12" fmla="*/ 44399 w 175264"/>
                  <a:gd name="connsiteY12" fmla="*/ 168750 h 175076"/>
                  <a:gd name="connsiteX13" fmla="*/ 59999 w 175264"/>
                  <a:gd name="connsiteY13" fmla="*/ 175077 h 175076"/>
                  <a:gd name="connsiteX14" fmla="*/ 79654 w 175264"/>
                  <a:gd name="connsiteY14" fmla="*/ 165765 h 175076"/>
                  <a:gd name="connsiteX15" fmla="*/ 173857 w 175264"/>
                  <a:gd name="connsiteY15" fmla="*/ 71544 h 175076"/>
                  <a:gd name="connsiteX16" fmla="*/ 173857 w 175264"/>
                  <a:gd name="connsiteY16" fmla="*/ 64729 h 175076"/>
                  <a:gd name="connsiteX17" fmla="*/ 167042 w 175264"/>
                  <a:gd name="connsiteY17" fmla="*/ 64711 h 17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5264" h="175076">
                    <a:moveTo>
                      <a:pt x="167042" y="64711"/>
                    </a:moveTo>
                    <a:lnTo>
                      <a:pt x="72840" y="158932"/>
                    </a:lnTo>
                    <a:cubicBezTo>
                      <a:pt x="61294" y="170459"/>
                      <a:pt x="52771" y="163438"/>
                      <a:pt x="51213" y="161936"/>
                    </a:cubicBezTo>
                    <a:lnTo>
                      <a:pt x="13085" y="123808"/>
                    </a:lnTo>
                    <a:cubicBezTo>
                      <a:pt x="13066" y="123789"/>
                      <a:pt x="10832" y="121424"/>
                      <a:pt x="9969" y="117782"/>
                    </a:cubicBezTo>
                    <a:cubicBezTo>
                      <a:pt x="8767" y="112694"/>
                      <a:pt x="10814" y="107438"/>
                      <a:pt x="16089" y="102181"/>
                    </a:cubicBezTo>
                    <a:lnTo>
                      <a:pt x="110048" y="8223"/>
                    </a:lnTo>
                    <a:cubicBezTo>
                      <a:pt x="111925" y="6345"/>
                      <a:pt x="111925" y="3285"/>
                      <a:pt x="110048" y="1408"/>
                    </a:cubicBezTo>
                    <a:cubicBezTo>
                      <a:pt x="108170" y="-469"/>
                      <a:pt x="105110" y="-469"/>
                      <a:pt x="103233" y="1408"/>
                    </a:cubicBezTo>
                    <a:lnTo>
                      <a:pt x="9274" y="95367"/>
                    </a:lnTo>
                    <a:cubicBezTo>
                      <a:pt x="-413" y="105054"/>
                      <a:pt x="-788" y="114121"/>
                      <a:pt x="582" y="119997"/>
                    </a:cubicBezTo>
                    <a:cubicBezTo>
                      <a:pt x="2084" y="126305"/>
                      <a:pt x="5839" y="130210"/>
                      <a:pt x="6271" y="130623"/>
                    </a:cubicBezTo>
                    <a:lnTo>
                      <a:pt x="44399" y="168750"/>
                    </a:lnTo>
                    <a:cubicBezTo>
                      <a:pt x="47421" y="171773"/>
                      <a:pt x="53053" y="175077"/>
                      <a:pt x="59999" y="175077"/>
                    </a:cubicBezTo>
                    <a:cubicBezTo>
                      <a:pt x="65894" y="175077"/>
                      <a:pt x="72708" y="172693"/>
                      <a:pt x="79654" y="165765"/>
                    </a:cubicBezTo>
                    <a:lnTo>
                      <a:pt x="173857" y="71544"/>
                    </a:lnTo>
                    <a:cubicBezTo>
                      <a:pt x="175734" y="69667"/>
                      <a:pt x="175734" y="66607"/>
                      <a:pt x="173857" y="64729"/>
                    </a:cubicBezTo>
                    <a:cubicBezTo>
                      <a:pt x="171980" y="62815"/>
                      <a:pt x="168938" y="62815"/>
                      <a:pt x="167042" y="64711"/>
                    </a:cubicBezTo>
                    <a:close/>
                  </a:path>
                </a:pathLst>
              </a:custGeom>
              <a:solidFill>
                <a:schemeClr val="accent1"/>
              </a:solidFill>
              <a:ln w="1873" cap="flat">
                <a:noFill/>
                <a:prstDash val="solid"/>
                <a:miter/>
              </a:ln>
            </p:spPr>
            <p:txBody>
              <a:bodyPr rtlCol="0" anchor="ctr"/>
              <a:lstStyle/>
              <a:p>
                <a:endParaRPr lang="en-GB" dirty="0"/>
              </a:p>
            </p:txBody>
          </p:sp>
          <p:sp>
            <p:nvSpPr>
              <p:cNvPr id="314" name="Freihandform: Form 99">
                <a:extLst>
                  <a:ext uri="{FF2B5EF4-FFF2-40B4-BE49-F238E27FC236}">
                    <a16:creationId xmlns:a16="http://schemas.microsoft.com/office/drawing/2014/main" id="{FDD848ED-DFD3-415C-9B60-2E6AFAA3F906}"/>
                  </a:ext>
                </a:extLst>
              </p:cNvPr>
              <p:cNvSpPr/>
              <p:nvPr/>
            </p:nvSpPr>
            <p:spPr>
              <a:xfrm>
                <a:off x="2786149" y="3339312"/>
                <a:ext cx="261566" cy="261836"/>
              </a:xfrm>
              <a:custGeom>
                <a:avLst/>
                <a:gdLst>
                  <a:gd name="connsiteX0" fmla="*/ 250770 w 261566"/>
                  <a:gd name="connsiteY0" fmla="*/ 45741 h 261836"/>
                  <a:gd name="connsiteX1" fmla="*/ 246489 w 261566"/>
                  <a:gd name="connsiteY1" fmla="*/ 47111 h 261836"/>
                  <a:gd name="connsiteX2" fmla="*/ 230288 w 261566"/>
                  <a:gd name="connsiteY2" fmla="*/ 63594 h 261836"/>
                  <a:gd name="connsiteX3" fmla="*/ 204982 w 261566"/>
                  <a:gd name="connsiteY3" fmla="*/ 89275 h 261836"/>
                  <a:gd name="connsiteX4" fmla="*/ 177461 w 261566"/>
                  <a:gd name="connsiteY4" fmla="*/ 90364 h 261836"/>
                  <a:gd name="connsiteX5" fmla="*/ 175264 w 261566"/>
                  <a:gd name="connsiteY5" fmla="*/ 88431 h 261836"/>
                  <a:gd name="connsiteX6" fmla="*/ 173500 w 261566"/>
                  <a:gd name="connsiteY6" fmla="*/ 86459 h 261836"/>
                  <a:gd name="connsiteX7" fmla="*/ 174270 w 261566"/>
                  <a:gd name="connsiteY7" fmla="*/ 58976 h 261836"/>
                  <a:gd name="connsiteX8" fmla="*/ 216546 w 261566"/>
                  <a:gd name="connsiteY8" fmla="*/ 15986 h 261836"/>
                  <a:gd name="connsiteX9" fmla="*/ 217860 w 261566"/>
                  <a:gd name="connsiteY9" fmla="*/ 11781 h 261836"/>
                  <a:gd name="connsiteX10" fmla="*/ 215213 w 261566"/>
                  <a:gd name="connsiteY10" fmla="*/ 8270 h 261836"/>
                  <a:gd name="connsiteX11" fmla="*/ 121274 w 261566"/>
                  <a:gd name="connsiteY11" fmla="*/ 23739 h 261836"/>
                  <a:gd name="connsiteX12" fmla="*/ 101149 w 261566"/>
                  <a:gd name="connsiteY12" fmla="*/ 108555 h 261836"/>
                  <a:gd name="connsiteX13" fmla="*/ 76669 w 261566"/>
                  <a:gd name="connsiteY13" fmla="*/ 132735 h 261836"/>
                  <a:gd name="connsiteX14" fmla="*/ 47909 w 261566"/>
                  <a:gd name="connsiteY14" fmla="*/ 143285 h 261836"/>
                  <a:gd name="connsiteX15" fmla="*/ 1408 w 261566"/>
                  <a:gd name="connsiteY15" fmla="*/ 189786 h 261836"/>
                  <a:gd name="connsiteX16" fmla="*/ 1408 w 261566"/>
                  <a:gd name="connsiteY16" fmla="*/ 196600 h 261836"/>
                  <a:gd name="connsiteX17" fmla="*/ 8223 w 261566"/>
                  <a:gd name="connsiteY17" fmla="*/ 196600 h 261836"/>
                  <a:gd name="connsiteX18" fmla="*/ 54723 w 261566"/>
                  <a:gd name="connsiteY18" fmla="*/ 150100 h 261836"/>
                  <a:gd name="connsiteX19" fmla="*/ 75974 w 261566"/>
                  <a:gd name="connsiteY19" fmla="*/ 142685 h 261836"/>
                  <a:gd name="connsiteX20" fmla="*/ 81306 w 261566"/>
                  <a:gd name="connsiteY20" fmla="*/ 141708 h 261836"/>
                  <a:gd name="connsiteX21" fmla="*/ 110122 w 261566"/>
                  <a:gd name="connsiteY21" fmla="*/ 113267 h 261836"/>
                  <a:gd name="connsiteX22" fmla="*/ 111230 w 261566"/>
                  <a:gd name="connsiteY22" fmla="*/ 108124 h 261836"/>
                  <a:gd name="connsiteX23" fmla="*/ 128051 w 261566"/>
                  <a:gd name="connsiteY23" fmla="*/ 30591 h 261836"/>
                  <a:gd name="connsiteX24" fmla="*/ 204719 w 261566"/>
                  <a:gd name="connsiteY24" fmla="*/ 14240 h 261836"/>
                  <a:gd name="connsiteX25" fmla="*/ 167286 w 261566"/>
                  <a:gd name="connsiteY25" fmla="*/ 52330 h 261836"/>
                  <a:gd name="connsiteX26" fmla="*/ 166197 w 261566"/>
                  <a:gd name="connsiteY26" fmla="*/ 92767 h 261836"/>
                  <a:gd name="connsiteX27" fmla="*/ 168600 w 261566"/>
                  <a:gd name="connsiteY27" fmla="*/ 95395 h 261836"/>
                  <a:gd name="connsiteX28" fmla="*/ 171285 w 261566"/>
                  <a:gd name="connsiteY28" fmla="*/ 97761 h 261836"/>
                  <a:gd name="connsiteX29" fmla="*/ 211778 w 261566"/>
                  <a:gd name="connsiteY29" fmla="*/ 96128 h 261836"/>
                  <a:gd name="connsiteX30" fmla="*/ 237178 w 261566"/>
                  <a:gd name="connsiteY30" fmla="*/ 70352 h 261836"/>
                  <a:gd name="connsiteX31" fmla="*/ 248179 w 261566"/>
                  <a:gd name="connsiteY31" fmla="*/ 59164 h 261836"/>
                  <a:gd name="connsiteX32" fmla="*/ 230438 w 261566"/>
                  <a:gd name="connsiteY32" fmla="*/ 134086 h 261836"/>
                  <a:gd name="connsiteX33" fmla="*/ 152700 w 261566"/>
                  <a:gd name="connsiteY33" fmla="*/ 150062 h 261836"/>
                  <a:gd name="connsiteX34" fmla="*/ 147574 w 261566"/>
                  <a:gd name="connsiteY34" fmla="*/ 151114 h 261836"/>
                  <a:gd name="connsiteX35" fmla="*/ 119340 w 261566"/>
                  <a:gd name="connsiteY35" fmla="*/ 178973 h 261836"/>
                  <a:gd name="connsiteX36" fmla="*/ 118476 w 261566"/>
                  <a:gd name="connsiteY36" fmla="*/ 184680 h 261836"/>
                  <a:gd name="connsiteX37" fmla="*/ 111512 w 261566"/>
                  <a:gd name="connsiteY37" fmla="*/ 206813 h 261836"/>
                  <a:gd name="connsiteX38" fmla="*/ 64711 w 261566"/>
                  <a:gd name="connsiteY38" fmla="*/ 253614 h 261836"/>
                  <a:gd name="connsiteX39" fmla="*/ 64711 w 261566"/>
                  <a:gd name="connsiteY39" fmla="*/ 260429 h 261836"/>
                  <a:gd name="connsiteX40" fmla="*/ 68108 w 261566"/>
                  <a:gd name="connsiteY40" fmla="*/ 261837 h 261836"/>
                  <a:gd name="connsiteX41" fmla="*/ 71506 w 261566"/>
                  <a:gd name="connsiteY41" fmla="*/ 260429 h 261836"/>
                  <a:gd name="connsiteX42" fmla="*/ 118307 w 261566"/>
                  <a:gd name="connsiteY42" fmla="*/ 213628 h 261836"/>
                  <a:gd name="connsiteX43" fmla="*/ 128445 w 261566"/>
                  <a:gd name="connsiteY43" fmla="*/ 183497 h 261836"/>
                  <a:gd name="connsiteX44" fmla="*/ 152155 w 261566"/>
                  <a:gd name="connsiteY44" fmla="*/ 160106 h 261836"/>
                  <a:gd name="connsiteX45" fmla="*/ 237197 w 261566"/>
                  <a:gd name="connsiteY45" fmla="*/ 140901 h 261836"/>
                  <a:gd name="connsiteX46" fmla="*/ 254336 w 261566"/>
                  <a:gd name="connsiteY46" fmla="*/ 48482 h 261836"/>
                  <a:gd name="connsiteX47" fmla="*/ 250770 w 261566"/>
                  <a:gd name="connsiteY47" fmla="*/ 45741 h 261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61566" h="261836">
                    <a:moveTo>
                      <a:pt x="250770" y="45741"/>
                    </a:moveTo>
                    <a:cubicBezTo>
                      <a:pt x="249211" y="45459"/>
                      <a:pt x="247597" y="45966"/>
                      <a:pt x="246489" y="47111"/>
                    </a:cubicBezTo>
                    <a:lnTo>
                      <a:pt x="230288" y="63594"/>
                    </a:lnTo>
                    <a:cubicBezTo>
                      <a:pt x="216772" y="77336"/>
                      <a:pt x="207141" y="87135"/>
                      <a:pt x="204982" y="89275"/>
                    </a:cubicBezTo>
                    <a:cubicBezTo>
                      <a:pt x="195689" y="98455"/>
                      <a:pt x="191015" y="102004"/>
                      <a:pt x="177461" y="90364"/>
                    </a:cubicBezTo>
                    <a:cubicBezTo>
                      <a:pt x="177442" y="90345"/>
                      <a:pt x="176015" y="89200"/>
                      <a:pt x="175264" y="88431"/>
                    </a:cubicBezTo>
                    <a:cubicBezTo>
                      <a:pt x="174701" y="87924"/>
                      <a:pt x="173613" y="86591"/>
                      <a:pt x="173500" y="86459"/>
                    </a:cubicBezTo>
                    <a:cubicBezTo>
                      <a:pt x="161654" y="73131"/>
                      <a:pt x="165165" y="68400"/>
                      <a:pt x="174270" y="58976"/>
                    </a:cubicBezTo>
                    <a:cubicBezTo>
                      <a:pt x="176916" y="56179"/>
                      <a:pt x="192723" y="40090"/>
                      <a:pt x="216546" y="15986"/>
                    </a:cubicBezTo>
                    <a:cubicBezTo>
                      <a:pt x="217635" y="14878"/>
                      <a:pt x="218142" y="13320"/>
                      <a:pt x="217860" y="11781"/>
                    </a:cubicBezTo>
                    <a:cubicBezTo>
                      <a:pt x="217598" y="10241"/>
                      <a:pt x="216621" y="8946"/>
                      <a:pt x="215213" y="8270"/>
                    </a:cubicBezTo>
                    <a:cubicBezTo>
                      <a:pt x="183825" y="-6974"/>
                      <a:pt x="146073" y="-760"/>
                      <a:pt x="121274" y="23739"/>
                    </a:cubicBezTo>
                    <a:cubicBezTo>
                      <a:pt x="98915" y="45872"/>
                      <a:pt x="91199" y="78856"/>
                      <a:pt x="101149" y="108555"/>
                    </a:cubicBezTo>
                    <a:lnTo>
                      <a:pt x="76669" y="132735"/>
                    </a:lnTo>
                    <a:cubicBezTo>
                      <a:pt x="70211" y="130989"/>
                      <a:pt x="59886" y="131308"/>
                      <a:pt x="47909" y="143285"/>
                    </a:cubicBezTo>
                    <a:lnTo>
                      <a:pt x="1408" y="189786"/>
                    </a:lnTo>
                    <a:cubicBezTo>
                      <a:pt x="-469" y="191663"/>
                      <a:pt x="-469" y="194723"/>
                      <a:pt x="1408" y="196600"/>
                    </a:cubicBezTo>
                    <a:cubicBezTo>
                      <a:pt x="3285" y="198478"/>
                      <a:pt x="6345" y="198478"/>
                      <a:pt x="8223" y="196600"/>
                    </a:cubicBezTo>
                    <a:lnTo>
                      <a:pt x="54723" y="150100"/>
                    </a:lnTo>
                    <a:cubicBezTo>
                      <a:pt x="62364" y="142478"/>
                      <a:pt x="69704" y="139925"/>
                      <a:pt x="75974" y="142685"/>
                    </a:cubicBezTo>
                    <a:cubicBezTo>
                      <a:pt x="77795" y="143511"/>
                      <a:pt x="79898" y="143097"/>
                      <a:pt x="81306" y="141708"/>
                    </a:cubicBezTo>
                    <a:lnTo>
                      <a:pt x="110122" y="113267"/>
                    </a:lnTo>
                    <a:cubicBezTo>
                      <a:pt x="111474" y="111916"/>
                      <a:pt x="111924" y="109907"/>
                      <a:pt x="111230" y="108124"/>
                    </a:cubicBezTo>
                    <a:cubicBezTo>
                      <a:pt x="101055" y="81222"/>
                      <a:pt x="107663" y="50791"/>
                      <a:pt x="128051" y="30591"/>
                    </a:cubicBezTo>
                    <a:cubicBezTo>
                      <a:pt x="148306" y="10579"/>
                      <a:pt x="178362" y="4384"/>
                      <a:pt x="204719" y="14240"/>
                    </a:cubicBezTo>
                    <a:cubicBezTo>
                      <a:pt x="183337" y="35885"/>
                      <a:pt x="169802" y="49664"/>
                      <a:pt x="167286" y="52330"/>
                    </a:cubicBezTo>
                    <a:cubicBezTo>
                      <a:pt x="156736" y="63256"/>
                      <a:pt x="149377" y="73844"/>
                      <a:pt x="166197" y="92767"/>
                    </a:cubicBezTo>
                    <a:cubicBezTo>
                      <a:pt x="166197" y="92767"/>
                      <a:pt x="167924" y="94813"/>
                      <a:pt x="168600" y="95395"/>
                    </a:cubicBezTo>
                    <a:cubicBezTo>
                      <a:pt x="169351" y="96165"/>
                      <a:pt x="171247" y="97742"/>
                      <a:pt x="171285" y="97761"/>
                    </a:cubicBezTo>
                    <a:cubicBezTo>
                      <a:pt x="190527" y="114262"/>
                      <a:pt x="201002" y="106791"/>
                      <a:pt x="211778" y="96128"/>
                    </a:cubicBezTo>
                    <a:cubicBezTo>
                      <a:pt x="213956" y="93969"/>
                      <a:pt x="223624" y="84132"/>
                      <a:pt x="237178" y="70352"/>
                    </a:cubicBezTo>
                    <a:lnTo>
                      <a:pt x="248179" y="59164"/>
                    </a:lnTo>
                    <a:cubicBezTo>
                      <a:pt x="256927" y="85239"/>
                      <a:pt x="250206" y="114563"/>
                      <a:pt x="230438" y="134086"/>
                    </a:cubicBezTo>
                    <a:cubicBezTo>
                      <a:pt x="210032" y="154249"/>
                      <a:pt x="179507" y="160538"/>
                      <a:pt x="152700" y="150062"/>
                    </a:cubicBezTo>
                    <a:cubicBezTo>
                      <a:pt x="150916" y="149386"/>
                      <a:pt x="148907" y="149799"/>
                      <a:pt x="147574" y="151114"/>
                    </a:cubicBezTo>
                    <a:lnTo>
                      <a:pt x="119340" y="178973"/>
                    </a:lnTo>
                    <a:cubicBezTo>
                      <a:pt x="117819" y="180475"/>
                      <a:pt x="117463" y="182802"/>
                      <a:pt x="118476" y="184680"/>
                    </a:cubicBezTo>
                    <a:cubicBezTo>
                      <a:pt x="121949" y="191138"/>
                      <a:pt x="119546" y="198797"/>
                      <a:pt x="111512" y="206813"/>
                    </a:cubicBezTo>
                    <a:lnTo>
                      <a:pt x="64711" y="253614"/>
                    </a:lnTo>
                    <a:cubicBezTo>
                      <a:pt x="62833" y="255491"/>
                      <a:pt x="62833" y="258551"/>
                      <a:pt x="64711" y="260429"/>
                    </a:cubicBezTo>
                    <a:cubicBezTo>
                      <a:pt x="65649" y="261367"/>
                      <a:pt x="66888" y="261837"/>
                      <a:pt x="68108" y="261837"/>
                    </a:cubicBezTo>
                    <a:cubicBezTo>
                      <a:pt x="69347" y="261837"/>
                      <a:pt x="70568" y="261367"/>
                      <a:pt x="71506" y="260429"/>
                    </a:cubicBezTo>
                    <a:lnTo>
                      <a:pt x="118307" y="213628"/>
                    </a:lnTo>
                    <a:cubicBezTo>
                      <a:pt x="130979" y="200975"/>
                      <a:pt x="130754" y="190218"/>
                      <a:pt x="128445" y="183497"/>
                    </a:cubicBezTo>
                    <a:lnTo>
                      <a:pt x="152155" y="160106"/>
                    </a:lnTo>
                    <a:cubicBezTo>
                      <a:pt x="181779" y="170375"/>
                      <a:pt x="214838" y="162997"/>
                      <a:pt x="237197" y="140901"/>
                    </a:cubicBezTo>
                    <a:cubicBezTo>
                      <a:pt x="261526" y="116872"/>
                      <a:pt x="268416" y="79739"/>
                      <a:pt x="254336" y="48482"/>
                    </a:cubicBezTo>
                    <a:cubicBezTo>
                      <a:pt x="253660" y="47055"/>
                      <a:pt x="252346" y="46022"/>
                      <a:pt x="250770" y="45741"/>
                    </a:cubicBezTo>
                    <a:close/>
                  </a:path>
                </a:pathLst>
              </a:custGeom>
              <a:solidFill>
                <a:schemeClr val="accent1"/>
              </a:solidFill>
              <a:ln w="1873" cap="flat">
                <a:noFill/>
                <a:prstDash val="solid"/>
                <a:miter/>
              </a:ln>
            </p:spPr>
            <p:txBody>
              <a:bodyPr rtlCol="0" anchor="ctr"/>
              <a:lstStyle/>
              <a:p>
                <a:endParaRPr lang="en-GB" dirty="0"/>
              </a:p>
            </p:txBody>
          </p:sp>
        </p:grpSp>
        <p:grpSp>
          <p:nvGrpSpPr>
            <p:cNvPr id="297" name="Group 296">
              <a:extLst>
                <a:ext uri="{FF2B5EF4-FFF2-40B4-BE49-F238E27FC236}">
                  <a16:creationId xmlns:a16="http://schemas.microsoft.com/office/drawing/2014/main" id="{46A51D56-A561-4151-93D9-B4CE5BDC7166}"/>
                </a:ext>
              </a:extLst>
            </p:cNvPr>
            <p:cNvGrpSpPr/>
            <p:nvPr/>
          </p:nvGrpSpPr>
          <p:grpSpPr>
            <a:xfrm>
              <a:off x="3678935" y="4009870"/>
              <a:ext cx="556835" cy="424704"/>
              <a:chOff x="2505663" y="3346724"/>
              <a:chExt cx="568539" cy="433631"/>
            </a:xfrm>
            <a:solidFill>
              <a:schemeClr val="tx2"/>
            </a:solidFill>
          </p:grpSpPr>
          <p:grpSp>
            <p:nvGrpSpPr>
              <p:cNvPr id="298" name="Grafik 23">
                <a:extLst>
                  <a:ext uri="{FF2B5EF4-FFF2-40B4-BE49-F238E27FC236}">
                    <a16:creationId xmlns:a16="http://schemas.microsoft.com/office/drawing/2014/main" id="{0DD180E9-3D8B-46DB-B876-0E9DC689873A}"/>
                  </a:ext>
                </a:extLst>
              </p:cNvPr>
              <p:cNvGrpSpPr/>
              <p:nvPr/>
            </p:nvGrpSpPr>
            <p:grpSpPr>
              <a:xfrm>
                <a:off x="2527150" y="3346724"/>
                <a:ext cx="433599" cy="433631"/>
                <a:chOff x="2527150" y="3346724"/>
                <a:chExt cx="433599" cy="433631"/>
              </a:xfrm>
              <a:grpFill/>
            </p:grpSpPr>
            <p:sp>
              <p:nvSpPr>
                <p:cNvPr id="309" name="Freihandform: Form 101">
                  <a:extLst>
                    <a:ext uri="{FF2B5EF4-FFF2-40B4-BE49-F238E27FC236}">
                      <a16:creationId xmlns:a16="http://schemas.microsoft.com/office/drawing/2014/main" id="{DD5D0EE2-AF8B-4CD8-94E3-7E1B82343964}"/>
                    </a:ext>
                  </a:extLst>
                </p:cNvPr>
                <p:cNvSpPr/>
                <p:nvPr/>
              </p:nvSpPr>
              <p:spPr>
                <a:xfrm>
                  <a:off x="2652887" y="3472554"/>
                  <a:ext cx="307862" cy="307801"/>
                </a:xfrm>
                <a:custGeom>
                  <a:avLst/>
                  <a:gdLst>
                    <a:gd name="connsiteX0" fmla="*/ 176572 w 307862"/>
                    <a:gd name="connsiteY0" fmla="*/ 92776 h 307801"/>
                    <a:gd name="connsiteX1" fmla="*/ 168894 w 307862"/>
                    <a:gd name="connsiteY1" fmla="*/ 85117 h 307801"/>
                    <a:gd name="connsiteX2" fmla="*/ 117625 w 307862"/>
                    <a:gd name="connsiteY2" fmla="*/ 33867 h 307801"/>
                    <a:gd name="connsiteX3" fmla="*/ 96073 w 307862"/>
                    <a:gd name="connsiteY3" fmla="*/ 23767 h 307801"/>
                    <a:gd name="connsiteX4" fmla="*/ 81318 w 307862"/>
                    <a:gd name="connsiteY4" fmla="*/ 28328 h 307801"/>
                    <a:gd name="connsiteX5" fmla="*/ 61231 w 307862"/>
                    <a:gd name="connsiteY5" fmla="*/ 8260 h 307801"/>
                    <a:gd name="connsiteX6" fmla="*/ 43021 w 307862"/>
                    <a:gd name="connsiteY6" fmla="*/ 0 h 307801"/>
                    <a:gd name="connsiteX7" fmla="*/ 23666 w 307862"/>
                    <a:gd name="connsiteY7" fmla="*/ 8260 h 307801"/>
                    <a:gd name="connsiteX8" fmla="*/ 8291 w 307862"/>
                    <a:gd name="connsiteY8" fmla="*/ 23635 h 307801"/>
                    <a:gd name="connsiteX9" fmla="*/ 8291 w 307862"/>
                    <a:gd name="connsiteY9" fmla="*/ 61200 h 307801"/>
                    <a:gd name="connsiteX10" fmla="*/ 28303 w 307862"/>
                    <a:gd name="connsiteY10" fmla="*/ 81212 h 307801"/>
                    <a:gd name="connsiteX11" fmla="*/ 33916 w 307862"/>
                    <a:gd name="connsiteY11" fmla="*/ 117594 h 307801"/>
                    <a:gd name="connsiteX12" fmla="*/ 85166 w 307862"/>
                    <a:gd name="connsiteY12" fmla="*/ 168844 h 307801"/>
                    <a:gd name="connsiteX13" fmla="*/ 92863 w 307862"/>
                    <a:gd name="connsiteY13" fmla="*/ 176541 h 307801"/>
                    <a:gd name="connsiteX14" fmla="*/ 215882 w 307862"/>
                    <a:gd name="connsiteY14" fmla="*/ 299561 h 307801"/>
                    <a:gd name="connsiteX15" fmla="*/ 234092 w 307862"/>
                    <a:gd name="connsiteY15" fmla="*/ 307802 h 307801"/>
                    <a:gd name="connsiteX16" fmla="*/ 234092 w 307862"/>
                    <a:gd name="connsiteY16" fmla="*/ 307802 h 307801"/>
                    <a:gd name="connsiteX17" fmla="*/ 253447 w 307862"/>
                    <a:gd name="connsiteY17" fmla="*/ 299561 h 307801"/>
                    <a:gd name="connsiteX18" fmla="*/ 299572 w 307862"/>
                    <a:gd name="connsiteY18" fmla="*/ 253416 h 307801"/>
                    <a:gd name="connsiteX19" fmla="*/ 299572 w 307862"/>
                    <a:gd name="connsiteY19" fmla="*/ 215852 h 307801"/>
                    <a:gd name="connsiteX20" fmla="*/ 176572 w 307862"/>
                    <a:gd name="connsiteY20" fmla="*/ 92776 h 307801"/>
                    <a:gd name="connsiteX21" fmla="*/ 292795 w 307862"/>
                    <a:gd name="connsiteY21" fmla="*/ 246583 h 307801"/>
                    <a:gd name="connsiteX22" fmla="*/ 246689 w 307862"/>
                    <a:gd name="connsiteY22" fmla="*/ 292708 h 307801"/>
                    <a:gd name="connsiteX23" fmla="*/ 234111 w 307862"/>
                    <a:gd name="connsiteY23" fmla="*/ 298153 h 307801"/>
                    <a:gd name="connsiteX24" fmla="*/ 222697 w 307862"/>
                    <a:gd name="connsiteY24" fmla="*/ 292727 h 307801"/>
                    <a:gd name="connsiteX25" fmla="*/ 99677 w 307862"/>
                    <a:gd name="connsiteY25" fmla="*/ 169708 h 307801"/>
                    <a:gd name="connsiteX26" fmla="*/ 91981 w 307862"/>
                    <a:gd name="connsiteY26" fmla="*/ 162011 h 307801"/>
                    <a:gd name="connsiteX27" fmla="*/ 40712 w 307862"/>
                    <a:gd name="connsiteY27" fmla="*/ 110761 h 307801"/>
                    <a:gd name="connsiteX28" fmla="*/ 38158 w 307862"/>
                    <a:gd name="connsiteY28" fmla="*/ 84253 h 307801"/>
                    <a:gd name="connsiteX29" fmla="*/ 38158 w 307862"/>
                    <a:gd name="connsiteY29" fmla="*/ 77439 h 307801"/>
                    <a:gd name="connsiteX30" fmla="*/ 15105 w 307862"/>
                    <a:gd name="connsiteY30" fmla="*/ 54385 h 307801"/>
                    <a:gd name="connsiteX31" fmla="*/ 15105 w 307862"/>
                    <a:gd name="connsiteY31" fmla="*/ 30450 h 307801"/>
                    <a:gd name="connsiteX32" fmla="*/ 30480 w 307862"/>
                    <a:gd name="connsiteY32" fmla="*/ 15075 h 307801"/>
                    <a:gd name="connsiteX33" fmla="*/ 43021 w 307862"/>
                    <a:gd name="connsiteY33" fmla="*/ 9649 h 307801"/>
                    <a:gd name="connsiteX34" fmla="*/ 54435 w 307862"/>
                    <a:gd name="connsiteY34" fmla="*/ 15075 h 307801"/>
                    <a:gd name="connsiteX35" fmla="*/ 77507 w 307862"/>
                    <a:gd name="connsiteY35" fmla="*/ 38128 h 307801"/>
                    <a:gd name="connsiteX36" fmla="*/ 84302 w 307862"/>
                    <a:gd name="connsiteY36" fmla="*/ 38147 h 307801"/>
                    <a:gd name="connsiteX37" fmla="*/ 96092 w 307862"/>
                    <a:gd name="connsiteY37" fmla="*/ 33397 h 307801"/>
                    <a:gd name="connsiteX38" fmla="*/ 110829 w 307862"/>
                    <a:gd name="connsiteY38" fmla="*/ 40681 h 307801"/>
                    <a:gd name="connsiteX39" fmla="*/ 162098 w 307862"/>
                    <a:gd name="connsiteY39" fmla="*/ 91931 h 307801"/>
                    <a:gd name="connsiteX40" fmla="*/ 169795 w 307862"/>
                    <a:gd name="connsiteY40" fmla="*/ 99610 h 307801"/>
                    <a:gd name="connsiteX41" fmla="*/ 292814 w 307862"/>
                    <a:gd name="connsiteY41" fmla="*/ 222647 h 307801"/>
                    <a:gd name="connsiteX42" fmla="*/ 292795 w 307862"/>
                    <a:gd name="connsiteY42" fmla="*/ 246583 h 30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307862" h="307801">
                      <a:moveTo>
                        <a:pt x="176572" y="92776"/>
                      </a:moveTo>
                      <a:cubicBezTo>
                        <a:pt x="174019" y="90242"/>
                        <a:pt x="171447" y="87670"/>
                        <a:pt x="168894" y="85117"/>
                      </a:cubicBezTo>
                      <a:lnTo>
                        <a:pt x="117625" y="33867"/>
                      </a:lnTo>
                      <a:cubicBezTo>
                        <a:pt x="110923" y="27165"/>
                        <a:pt x="103676" y="23767"/>
                        <a:pt x="96073" y="23767"/>
                      </a:cubicBezTo>
                      <a:cubicBezTo>
                        <a:pt x="89728" y="23767"/>
                        <a:pt x="84565" y="26226"/>
                        <a:pt x="81318" y="28328"/>
                      </a:cubicBezTo>
                      <a:lnTo>
                        <a:pt x="61231" y="8260"/>
                      </a:lnTo>
                      <a:cubicBezTo>
                        <a:pt x="55749" y="2778"/>
                        <a:pt x="49629" y="0"/>
                        <a:pt x="43021" y="0"/>
                      </a:cubicBezTo>
                      <a:cubicBezTo>
                        <a:pt x="32038" y="0"/>
                        <a:pt x="24004" y="7922"/>
                        <a:pt x="23666" y="8260"/>
                      </a:cubicBezTo>
                      <a:lnTo>
                        <a:pt x="8291" y="23635"/>
                      </a:lnTo>
                      <a:cubicBezTo>
                        <a:pt x="1795" y="30131"/>
                        <a:pt x="-6559" y="46332"/>
                        <a:pt x="8291" y="61200"/>
                      </a:cubicBezTo>
                      <a:lnTo>
                        <a:pt x="28303" y="81212"/>
                      </a:lnTo>
                      <a:cubicBezTo>
                        <a:pt x="23009" y="89190"/>
                        <a:pt x="19667" y="103327"/>
                        <a:pt x="33916" y="117594"/>
                      </a:cubicBezTo>
                      <a:cubicBezTo>
                        <a:pt x="37652" y="121330"/>
                        <a:pt x="57945" y="141623"/>
                        <a:pt x="85166" y="168844"/>
                      </a:cubicBezTo>
                      <a:lnTo>
                        <a:pt x="92863" y="176541"/>
                      </a:lnTo>
                      <a:cubicBezTo>
                        <a:pt x="149633" y="233311"/>
                        <a:pt x="208016" y="291695"/>
                        <a:pt x="215882" y="299561"/>
                      </a:cubicBezTo>
                      <a:cubicBezTo>
                        <a:pt x="221345" y="305023"/>
                        <a:pt x="227484" y="307802"/>
                        <a:pt x="234092" y="307802"/>
                      </a:cubicBezTo>
                      <a:cubicBezTo>
                        <a:pt x="234092" y="307802"/>
                        <a:pt x="234092" y="307802"/>
                        <a:pt x="234092" y="307802"/>
                      </a:cubicBezTo>
                      <a:cubicBezTo>
                        <a:pt x="245074" y="307802"/>
                        <a:pt x="253109" y="299898"/>
                        <a:pt x="253447" y="299561"/>
                      </a:cubicBezTo>
                      <a:lnTo>
                        <a:pt x="299572" y="253416"/>
                      </a:lnTo>
                      <a:cubicBezTo>
                        <a:pt x="306068" y="246921"/>
                        <a:pt x="314422" y="230720"/>
                        <a:pt x="299572" y="215852"/>
                      </a:cubicBezTo>
                      <a:cubicBezTo>
                        <a:pt x="291631" y="207854"/>
                        <a:pt x="233360" y="149564"/>
                        <a:pt x="176572" y="92776"/>
                      </a:cubicBezTo>
                      <a:close/>
                      <a:moveTo>
                        <a:pt x="292795" y="246583"/>
                      </a:moveTo>
                      <a:lnTo>
                        <a:pt x="246689" y="292708"/>
                      </a:lnTo>
                      <a:cubicBezTo>
                        <a:pt x="246632" y="292765"/>
                        <a:pt x="241057" y="298153"/>
                        <a:pt x="234111" y="298153"/>
                      </a:cubicBezTo>
                      <a:cubicBezTo>
                        <a:pt x="230150" y="298153"/>
                        <a:pt x="226301" y="296331"/>
                        <a:pt x="222697" y="292727"/>
                      </a:cubicBezTo>
                      <a:cubicBezTo>
                        <a:pt x="214831" y="284842"/>
                        <a:pt x="156447" y="226458"/>
                        <a:pt x="99677" y="169708"/>
                      </a:cubicBezTo>
                      <a:lnTo>
                        <a:pt x="91981" y="162011"/>
                      </a:lnTo>
                      <a:cubicBezTo>
                        <a:pt x="64760" y="134771"/>
                        <a:pt x="44447" y="114478"/>
                        <a:pt x="40712" y="110761"/>
                      </a:cubicBezTo>
                      <a:cubicBezTo>
                        <a:pt x="26745" y="96775"/>
                        <a:pt x="36976" y="85473"/>
                        <a:pt x="38158" y="84253"/>
                      </a:cubicBezTo>
                      <a:cubicBezTo>
                        <a:pt x="40036" y="82376"/>
                        <a:pt x="40036" y="79316"/>
                        <a:pt x="38158" y="77439"/>
                      </a:cubicBezTo>
                      <a:lnTo>
                        <a:pt x="15105" y="54385"/>
                      </a:lnTo>
                      <a:cubicBezTo>
                        <a:pt x="3579" y="42859"/>
                        <a:pt x="13904" y="31670"/>
                        <a:pt x="15105" y="30450"/>
                      </a:cubicBezTo>
                      <a:lnTo>
                        <a:pt x="30480" y="15075"/>
                      </a:lnTo>
                      <a:cubicBezTo>
                        <a:pt x="30537" y="15018"/>
                        <a:pt x="36093" y="9649"/>
                        <a:pt x="43021" y="9649"/>
                      </a:cubicBezTo>
                      <a:cubicBezTo>
                        <a:pt x="46982" y="9649"/>
                        <a:pt x="50830" y="11489"/>
                        <a:pt x="54435" y="15075"/>
                      </a:cubicBezTo>
                      <a:lnTo>
                        <a:pt x="77507" y="38128"/>
                      </a:lnTo>
                      <a:cubicBezTo>
                        <a:pt x="79384" y="40005"/>
                        <a:pt x="82406" y="39987"/>
                        <a:pt x="84302" y="38147"/>
                      </a:cubicBezTo>
                      <a:cubicBezTo>
                        <a:pt x="84340" y="38090"/>
                        <a:pt x="89259" y="33397"/>
                        <a:pt x="96092" y="33397"/>
                      </a:cubicBezTo>
                      <a:cubicBezTo>
                        <a:pt x="101029" y="33397"/>
                        <a:pt x="105985" y="35838"/>
                        <a:pt x="110829" y="40681"/>
                      </a:cubicBezTo>
                      <a:lnTo>
                        <a:pt x="162098" y="91931"/>
                      </a:lnTo>
                      <a:cubicBezTo>
                        <a:pt x="164651" y="94503"/>
                        <a:pt x="167223" y="97075"/>
                        <a:pt x="169795" y="99610"/>
                      </a:cubicBezTo>
                      <a:cubicBezTo>
                        <a:pt x="226564" y="156398"/>
                        <a:pt x="284854" y="214688"/>
                        <a:pt x="292814" y="222647"/>
                      </a:cubicBezTo>
                      <a:cubicBezTo>
                        <a:pt x="304322" y="234155"/>
                        <a:pt x="293997" y="245344"/>
                        <a:pt x="292795" y="246583"/>
                      </a:cubicBezTo>
                      <a:close/>
                    </a:path>
                  </a:pathLst>
                </a:custGeom>
                <a:grpFill/>
                <a:ln w="1873" cap="flat">
                  <a:noFill/>
                  <a:prstDash val="solid"/>
                  <a:miter/>
                </a:ln>
              </p:spPr>
              <p:txBody>
                <a:bodyPr rtlCol="0" anchor="ctr"/>
                <a:lstStyle/>
                <a:p>
                  <a:endParaRPr lang="en-GB" dirty="0"/>
                </a:p>
              </p:txBody>
            </p:sp>
            <p:sp>
              <p:nvSpPr>
                <p:cNvPr id="310" name="Freihandform: Form 102">
                  <a:extLst>
                    <a:ext uri="{FF2B5EF4-FFF2-40B4-BE49-F238E27FC236}">
                      <a16:creationId xmlns:a16="http://schemas.microsoft.com/office/drawing/2014/main" id="{9238D668-BD6C-483C-BFC6-5BA56CFAD9E5}"/>
                    </a:ext>
                  </a:extLst>
                </p:cNvPr>
                <p:cNvSpPr/>
                <p:nvPr/>
              </p:nvSpPr>
              <p:spPr>
                <a:xfrm>
                  <a:off x="2575198" y="3394789"/>
                  <a:ext cx="100285" cy="100179"/>
                </a:xfrm>
                <a:custGeom>
                  <a:avLst/>
                  <a:gdLst>
                    <a:gd name="connsiteX0" fmla="*/ 8223 w 100285"/>
                    <a:gd name="connsiteY0" fmla="*/ 1415 h 100179"/>
                    <a:gd name="connsiteX1" fmla="*/ 1408 w 100285"/>
                    <a:gd name="connsiteY1" fmla="*/ 1415 h 100179"/>
                    <a:gd name="connsiteX2" fmla="*/ 1408 w 100285"/>
                    <a:gd name="connsiteY2" fmla="*/ 8230 h 100179"/>
                    <a:gd name="connsiteX3" fmla="*/ 92081 w 100285"/>
                    <a:gd name="connsiteY3" fmla="*/ 98772 h 100179"/>
                    <a:gd name="connsiteX4" fmla="*/ 95479 w 100285"/>
                    <a:gd name="connsiteY4" fmla="*/ 100180 h 100179"/>
                    <a:gd name="connsiteX5" fmla="*/ 98877 w 100285"/>
                    <a:gd name="connsiteY5" fmla="*/ 98772 h 100179"/>
                    <a:gd name="connsiteX6" fmla="*/ 98877 w 100285"/>
                    <a:gd name="connsiteY6" fmla="*/ 91957 h 100179"/>
                    <a:gd name="connsiteX7" fmla="*/ 8223 w 100285"/>
                    <a:gd name="connsiteY7" fmla="*/ 1415 h 100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285" h="100179">
                      <a:moveTo>
                        <a:pt x="8223" y="1415"/>
                      </a:moveTo>
                      <a:cubicBezTo>
                        <a:pt x="6326" y="-481"/>
                        <a:pt x="3285" y="-462"/>
                        <a:pt x="1408" y="1415"/>
                      </a:cubicBezTo>
                      <a:cubicBezTo>
                        <a:pt x="-469" y="3292"/>
                        <a:pt x="-469" y="6352"/>
                        <a:pt x="1408" y="8230"/>
                      </a:cubicBezTo>
                      <a:lnTo>
                        <a:pt x="92081" y="98772"/>
                      </a:lnTo>
                      <a:cubicBezTo>
                        <a:pt x="93020" y="99710"/>
                        <a:pt x="94259" y="100180"/>
                        <a:pt x="95479" y="100180"/>
                      </a:cubicBezTo>
                      <a:cubicBezTo>
                        <a:pt x="96718" y="100180"/>
                        <a:pt x="97939" y="99710"/>
                        <a:pt x="98877" y="98772"/>
                      </a:cubicBezTo>
                      <a:cubicBezTo>
                        <a:pt x="100755" y="96894"/>
                        <a:pt x="100755" y="93834"/>
                        <a:pt x="98877" y="91957"/>
                      </a:cubicBezTo>
                      <a:lnTo>
                        <a:pt x="8223" y="1415"/>
                      </a:lnTo>
                      <a:close/>
                    </a:path>
                  </a:pathLst>
                </a:custGeom>
                <a:grpFill/>
                <a:ln w="1873" cap="flat">
                  <a:noFill/>
                  <a:prstDash val="solid"/>
                  <a:miter/>
                </a:ln>
              </p:spPr>
              <p:txBody>
                <a:bodyPr rtlCol="0" anchor="ctr"/>
                <a:lstStyle/>
                <a:p>
                  <a:endParaRPr lang="en-GB" dirty="0"/>
                </a:p>
              </p:txBody>
            </p:sp>
            <p:sp>
              <p:nvSpPr>
                <p:cNvPr id="311" name="Freihandform: Form 103">
                  <a:extLst>
                    <a:ext uri="{FF2B5EF4-FFF2-40B4-BE49-F238E27FC236}">
                      <a16:creationId xmlns:a16="http://schemas.microsoft.com/office/drawing/2014/main" id="{85A672DD-6FBE-4232-97DB-0989F0871133}"/>
                    </a:ext>
                  </a:extLst>
                </p:cNvPr>
                <p:cNvSpPr/>
                <p:nvPr/>
              </p:nvSpPr>
              <p:spPr>
                <a:xfrm>
                  <a:off x="2527150" y="3346724"/>
                  <a:ext cx="68046" cy="68065"/>
                </a:xfrm>
                <a:custGeom>
                  <a:avLst/>
                  <a:gdLst>
                    <a:gd name="connsiteX0" fmla="*/ 43485 w 68046"/>
                    <a:gd name="connsiteY0" fmla="*/ 2247 h 68065"/>
                    <a:gd name="connsiteX1" fmla="*/ 39956 w 68046"/>
                    <a:gd name="connsiteY1" fmla="*/ 32 h 68065"/>
                    <a:gd name="connsiteX2" fmla="*/ 36014 w 68046"/>
                    <a:gd name="connsiteY2" fmla="*/ 1421 h 68065"/>
                    <a:gd name="connsiteX3" fmla="*/ 1415 w 68046"/>
                    <a:gd name="connsiteY3" fmla="*/ 36020 h 68065"/>
                    <a:gd name="connsiteX4" fmla="*/ 26 w 68046"/>
                    <a:gd name="connsiteY4" fmla="*/ 39962 h 68065"/>
                    <a:gd name="connsiteX5" fmla="*/ 2241 w 68046"/>
                    <a:gd name="connsiteY5" fmla="*/ 43491 h 68065"/>
                    <a:gd name="connsiteX6" fmla="*/ 39919 w 68046"/>
                    <a:gd name="connsiteY6" fmla="*/ 67314 h 68065"/>
                    <a:gd name="connsiteX7" fmla="*/ 42490 w 68046"/>
                    <a:gd name="connsiteY7" fmla="*/ 68065 h 68065"/>
                    <a:gd name="connsiteX8" fmla="*/ 45888 w 68046"/>
                    <a:gd name="connsiteY8" fmla="*/ 66657 h 68065"/>
                    <a:gd name="connsiteX9" fmla="*/ 66632 w 68046"/>
                    <a:gd name="connsiteY9" fmla="*/ 45913 h 68065"/>
                    <a:gd name="connsiteX10" fmla="*/ 67290 w 68046"/>
                    <a:gd name="connsiteY10" fmla="*/ 39943 h 68065"/>
                    <a:gd name="connsiteX11" fmla="*/ 43485 w 68046"/>
                    <a:gd name="connsiteY11" fmla="*/ 2247 h 68065"/>
                    <a:gd name="connsiteX12" fmla="*/ 41815 w 68046"/>
                    <a:gd name="connsiteY12" fmla="*/ 57121 h 68065"/>
                    <a:gd name="connsiteX13" fmla="*/ 12491 w 68046"/>
                    <a:gd name="connsiteY13" fmla="*/ 38573 h 68065"/>
                    <a:gd name="connsiteX14" fmla="*/ 38567 w 68046"/>
                    <a:gd name="connsiteY14" fmla="*/ 12478 h 68065"/>
                    <a:gd name="connsiteX15" fmla="*/ 57115 w 68046"/>
                    <a:gd name="connsiteY15" fmla="*/ 41802 h 68065"/>
                    <a:gd name="connsiteX16" fmla="*/ 41815 w 68046"/>
                    <a:gd name="connsiteY16" fmla="*/ 57121 h 68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046" h="68065">
                      <a:moveTo>
                        <a:pt x="43485" y="2247"/>
                      </a:moveTo>
                      <a:cubicBezTo>
                        <a:pt x="42697" y="1008"/>
                        <a:pt x="41402" y="182"/>
                        <a:pt x="39956" y="32"/>
                      </a:cubicBezTo>
                      <a:cubicBezTo>
                        <a:pt x="38454" y="-137"/>
                        <a:pt x="37046" y="370"/>
                        <a:pt x="36014" y="1421"/>
                      </a:cubicBezTo>
                      <a:lnTo>
                        <a:pt x="1415" y="36020"/>
                      </a:lnTo>
                      <a:cubicBezTo>
                        <a:pt x="383" y="37052"/>
                        <a:pt x="-124" y="38498"/>
                        <a:pt x="26" y="39962"/>
                      </a:cubicBezTo>
                      <a:cubicBezTo>
                        <a:pt x="195" y="41426"/>
                        <a:pt x="1002" y="42722"/>
                        <a:pt x="2241" y="43491"/>
                      </a:cubicBezTo>
                      <a:lnTo>
                        <a:pt x="39919" y="67314"/>
                      </a:lnTo>
                      <a:cubicBezTo>
                        <a:pt x="40707" y="67821"/>
                        <a:pt x="41608" y="68065"/>
                        <a:pt x="42490" y="68065"/>
                      </a:cubicBezTo>
                      <a:cubicBezTo>
                        <a:pt x="43729" y="68065"/>
                        <a:pt x="44968" y="67577"/>
                        <a:pt x="45888" y="66657"/>
                      </a:cubicBezTo>
                      <a:lnTo>
                        <a:pt x="66632" y="45913"/>
                      </a:lnTo>
                      <a:cubicBezTo>
                        <a:pt x="68228" y="44317"/>
                        <a:pt x="68510" y="41839"/>
                        <a:pt x="67290" y="39943"/>
                      </a:cubicBezTo>
                      <a:lnTo>
                        <a:pt x="43485" y="2247"/>
                      </a:lnTo>
                      <a:close/>
                      <a:moveTo>
                        <a:pt x="41815" y="57121"/>
                      </a:moveTo>
                      <a:lnTo>
                        <a:pt x="12491" y="38573"/>
                      </a:lnTo>
                      <a:lnTo>
                        <a:pt x="38567" y="12478"/>
                      </a:lnTo>
                      <a:lnTo>
                        <a:pt x="57115" y="41802"/>
                      </a:lnTo>
                      <a:lnTo>
                        <a:pt x="41815" y="57121"/>
                      </a:lnTo>
                      <a:close/>
                    </a:path>
                  </a:pathLst>
                </a:custGeom>
                <a:grpFill/>
                <a:ln w="1873" cap="flat">
                  <a:noFill/>
                  <a:prstDash val="solid"/>
                  <a:miter/>
                </a:ln>
              </p:spPr>
              <p:txBody>
                <a:bodyPr rtlCol="0" anchor="ctr"/>
                <a:lstStyle/>
                <a:p>
                  <a:endParaRPr lang="en-GB" dirty="0"/>
                </a:p>
              </p:txBody>
            </p:sp>
            <p:sp>
              <p:nvSpPr>
                <p:cNvPr id="312" name="Freihandform: Form 104">
                  <a:extLst>
                    <a:ext uri="{FF2B5EF4-FFF2-40B4-BE49-F238E27FC236}">
                      <a16:creationId xmlns:a16="http://schemas.microsoft.com/office/drawing/2014/main" id="{B42902B2-C2A3-46A3-8979-1BAB652DA4DF}"/>
                    </a:ext>
                  </a:extLst>
                </p:cNvPr>
                <p:cNvSpPr/>
                <p:nvPr/>
              </p:nvSpPr>
              <p:spPr>
                <a:xfrm>
                  <a:off x="2736664" y="3556244"/>
                  <a:ext cx="163381" cy="163399"/>
                </a:xfrm>
                <a:custGeom>
                  <a:avLst/>
                  <a:gdLst>
                    <a:gd name="connsiteX0" fmla="*/ 8223 w 163381"/>
                    <a:gd name="connsiteY0" fmla="*/ 1408 h 163399"/>
                    <a:gd name="connsiteX1" fmla="*/ 1408 w 163381"/>
                    <a:gd name="connsiteY1" fmla="*/ 1408 h 163399"/>
                    <a:gd name="connsiteX2" fmla="*/ 1408 w 163381"/>
                    <a:gd name="connsiteY2" fmla="*/ 8223 h 163399"/>
                    <a:gd name="connsiteX3" fmla="*/ 155177 w 163381"/>
                    <a:gd name="connsiteY3" fmla="*/ 161992 h 163399"/>
                    <a:gd name="connsiteX4" fmla="*/ 158575 w 163381"/>
                    <a:gd name="connsiteY4" fmla="*/ 163400 h 163399"/>
                    <a:gd name="connsiteX5" fmla="*/ 161973 w 163381"/>
                    <a:gd name="connsiteY5" fmla="*/ 161992 h 163399"/>
                    <a:gd name="connsiteX6" fmla="*/ 161973 w 163381"/>
                    <a:gd name="connsiteY6" fmla="*/ 155177 h 163399"/>
                    <a:gd name="connsiteX7" fmla="*/ 8223 w 163381"/>
                    <a:gd name="connsiteY7" fmla="*/ 1408 h 1633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3381" h="163399">
                      <a:moveTo>
                        <a:pt x="8223" y="1408"/>
                      </a:moveTo>
                      <a:cubicBezTo>
                        <a:pt x="6345" y="-469"/>
                        <a:pt x="3285" y="-469"/>
                        <a:pt x="1408" y="1408"/>
                      </a:cubicBezTo>
                      <a:cubicBezTo>
                        <a:pt x="-469" y="3285"/>
                        <a:pt x="-469" y="6345"/>
                        <a:pt x="1408" y="8223"/>
                      </a:cubicBezTo>
                      <a:lnTo>
                        <a:pt x="155177" y="161992"/>
                      </a:lnTo>
                      <a:cubicBezTo>
                        <a:pt x="156116" y="162931"/>
                        <a:pt x="157355" y="163400"/>
                        <a:pt x="158575" y="163400"/>
                      </a:cubicBezTo>
                      <a:cubicBezTo>
                        <a:pt x="159796" y="163400"/>
                        <a:pt x="161035" y="162931"/>
                        <a:pt x="161973" y="161992"/>
                      </a:cubicBezTo>
                      <a:cubicBezTo>
                        <a:pt x="163851" y="160115"/>
                        <a:pt x="163851" y="157055"/>
                        <a:pt x="161973" y="155177"/>
                      </a:cubicBezTo>
                      <a:lnTo>
                        <a:pt x="8223" y="1408"/>
                      </a:lnTo>
                      <a:close/>
                    </a:path>
                  </a:pathLst>
                </a:custGeom>
                <a:grpFill/>
                <a:ln w="1873" cap="flat">
                  <a:noFill/>
                  <a:prstDash val="solid"/>
                  <a:miter/>
                </a:ln>
              </p:spPr>
              <p:txBody>
                <a:bodyPr rtlCol="0" anchor="ctr"/>
                <a:lstStyle/>
                <a:p>
                  <a:endParaRPr lang="en-GB" dirty="0"/>
                </a:p>
              </p:txBody>
            </p:sp>
          </p:grpSp>
          <p:grpSp>
            <p:nvGrpSpPr>
              <p:cNvPr id="299" name="Grafik 23">
                <a:extLst>
                  <a:ext uri="{FF2B5EF4-FFF2-40B4-BE49-F238E27FC236}">
                    <a16:creationId xmlns:a16="http://schemas.microsoft.com/office/drawing/2014/main" id="{CE3D6307-CA48-4FC8-819B-A5C9979DDA66}"/>
                  </a:ext>
                </a:extLst>
              </p:cNvPr>
              <p:cNvGrpSpPr/>
              <p:nvPr/>
            </p:nvGrpSpPr>
            <p:grpSpPr>
              <a:xfrm>
                <a:off x="2505663" y="3538579"/>
                <a:ext cx="93170" cy="99571"/>
                <a:chOff x="2505663" y="3538579"/>
                <a:chExt cx="93170" cy="99571"/>
              </a:xfrm>
              <a:grpFill/>
            </p:grpSpPr>
            <p:sp>
              <p:nvSpPr>
                <p:cNvPr id="305" name="Freihandform: Form 106">
                  <a:extLst>
                    <a:ext uri="{FF2B5EF4-FFF2-40B4-BE49-F238E27FC236}">
                      <a16:creationId xmlns:a16="http://schemas.microsoft.com/office/drawing/2014/main" id="{CE2054C8-FF9D-4706-A1A0-A8597E0C9573}"/>
                    </a:ext>
                  </a:extLst>
                </p:cNvPr>
                <p:cNvSpPr/>
                <p:nvPr/>
              </p:nvSpPr>
              <p:spPr>
                <a:xfrm>
                  <a:off x="2505663" y="3583540"/>
                  <a:ext cx="73890" cy="9649"/>
                </a:xfrm>
                <a:custGeom>
                  <a:avLst/>
                  <a:gdLst>
                    <a:gd name="connsiteX0" fmla="*/ 69066 w 73890"/>
                    <a:gd name="connsiteY0" fmla="*/ 0 h 9649"/>
                    <a:gd name="connsiteX1" fmla="*/ 4825 w 73890"/>
                    <a:gd name="connsiteY1" fmla="*/ 0 h 9649"/>
                    <a:gd name="connsiteX2" fmla="*/ 0 w 73890"/>
                    <a:gd name="connsiteY2" fmla="*/ 4825 h 9649"/>
                    <a:gd name="connsiteX3" fmla="*/ 4825 w 73890"/>
                    <a:gd name="connsiteY3" fmla="*/ 9649 h 9649"/>
                    <a:gd name="connsiteX4" fmla="*/ 69066 w 73890"/>
                    <a:gd name="connsiteY4" fmla="*/ 9649 h 9649"/>
                    <a:gd name="connsiteX5" fmla="*/ 73891 w 73890"/>
                    <a:gd name="connsiteY5" fmla="*/ 4825 h 9649"/>
                    <a:gd name="connsiteX6" fmla="*/ 69066 w 73890"/>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90" h="9649">
                      <a:moveTo>
                        <a:pt x="69066" y="0"/>
                      </a:moveTo>
                      <a:lnTo>
                        <a:pt x="4825" y="0"/>
                      </a:lnTo>
                      <a:cubicBezTo>
                        <a:pt x="2159" y="0"/>
                        <a:pt x="0" y="2159"/>
                        <a:pt x="0" y="4825"/>
                      </a:cubicBezTo>
                      <a:cubicBezTo>
                        <a:pt x="0" y="7490"/>
                        <a:pt x="2159" y="9649"/>
                        <a:pt x="4825" y="9649"/>
                      </a:cubicBezTo>
                      <a:lnTo>
                        <a:pt x="69066" y="9649"/>
                      </a:lnTo>
                      <a:cubicBezTo>
                        <a:pt x="71732" y="9649"/>
                        <a:pt x="73891" y="7490"/>
                        <a:pt x="73891" y="4825"/>
                      </a:cubicBezTo>
                      <a:cubicBezTo>
                        <a:pt x="73872" y="2159"/>
                        <a:pt x="71713" y="0"/>
                        <a:pt x="69066" y="0"/>
                      </a:cubicBezTo>
                      <a:close/>
                    </a:path>
                  </a:pathLst>
                </a:custGeom>
                <a:grpFill/>
                <a:ln w="1873" cap="flat">
                  <a:noFill/>
                  <a:prstDash val="solid"/>
                  <a:miter/>
                </a:ln>
              </p:spPr>
              <p:txBody>
                <a:bodyPr rtlCol="0" anchor="ctr"/>
                <a:lstStyle/>
                <a:p>
                  <a:endParaRPr lang="en-GB" dirty="0"/>
                </a:p>
              </p:txBody>
            </p:sp>
            <p:grpSp>
              <p:nvGrpSpPr>
                <p:cNvPr id="306" name="Grafik 23">
                  <a:extLst>
                    <a:ext uri="{FF2B5EF4-FFF2-40B4-BE49-F238E27FC236}">
                      <a16:creationId xmlns:a16="http://schemas.microsoft.com/office/drawing/2014/main" id="{711F3F9D-E321-40DB-8121-7EADC340784D}"/>
                    </a:ext>
                  </a:extLst>
                </p:cNvPr>
                <p:cNvGrpSpPr/>
                <p:nvPr/>
              </p:nvGrpSpPr>
              <p:grpSpPr>
                <a:xfrm>
                  <a:off x="2537783" y="3538579"/>
                  <a:ext cx="61049" cy="99571"/>
                  <a:chOff x="2537783" y="3538579"/>
                  <a:chExt cx="61049" cy="99571"/>
                </a:xfrm>
                <a:grpFill/>
              </p:grpSpPr>
              <p:sp>
                <p:nvSpPr>
                  <p:cNvPr id="307" name="Freihandform: Form 108">
                    <a:extLst>
                      <a:ext uri="{FF2B5EF4-FFF2-40B4-BE49-F238E27FC236}">
                        <a16:creationId xmlns:a16="http://schemas.microsoft.com/office/drawing/2014/main" id="{8247FB48-F72D-452A-A2DF-1D534DBF678D}"/>
                      </a:ext>
                    </a:extLst>
                  </p:cNvPr>
                  <p:cNvSpPr/>
                  <p:nvPr/>
                </p:nvSpPr>
                <p:spPr>
                  <a:xfrm>
                    <a:off x="2537783" y="3538579"/>
                    <a:ext cx="61049" cy="9649"/>
                  </a:xfrm>
                  <a:custGeom>
                    <a:avLst/>
                    <a:gdLst>
                      <a:gd name="connsiteX0" fmla="*/ 56206 w 61049"/>
                      <a:gd name="connsiteY0" fmla="*/ 0 h 9649"/>
                      <a:gd name="connsiteX1" fmla="*/ 4825 w 61049"/>
                      <a:gd name="connsiteY1" fmla="*/ 0 h 9649"/>
                      <a:gd name="connsiteX2" fmla="*/ 0 w 61049"/>
                      <a:gd name="connsiteY2" fmla="*/ 4825 h 9649"/>
                      <a:gd name="connsiteX3" fmla="*/ 4825 w 61049"/>
                      <a:gd name="connsiteY3" fmla="*/ 9649 h 9649"/>
                      <a:gd name="connsiteX4" fmla="*/ 56225 w 61049"/>
                      <a:gd name="connsiteY4" fmla="*/ 9649 h 9649"/>
                      <a:gd name="connsiteX5" fmla="*/ 61050 w 61049"/>
                      <a:gd name="connsiteY5" fmla="*/ 4825 h 9649"/>
                      <a:gd name="connsiteX6" fmla="*/ 56206 w 61049"/>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49" h="9649">
                        <a:moveTo>
                          <a:pt x="56206" y="0"/>
                        </a:moveTo>
                        <a:lnTo>
                          <a:pt x="4825" y="0"/>
                        </a:lnTo>
                        <a:cubicBezTo>
                          <a:pt x="2159" y="0"/>
                          <a:pt x="0" y="2159"/>
                          <a:pt x="0" y="4825"/>
                        </a:cubicBezTo>
                        <a:cubicBezTo>
                          <a:pt x="0" y="7490"/>
                          <a:pt x="2159" y="9649"/>
                          <a:pt x="4825" y="9649"/>
                        </a:cubicBezTo>
                        <a:lnTo>
                          <a:pt x="56225" y="9649"/>
                        </a:lnTo>
                        <a:cubicBezTo>
                          <a:pt x="58891" y="9649"/>
                          <a:pt x="61050" y="7490"/>
                          <a:pt x="61050" y="4825"/>
                        </a:cubicBezTo>
                        <a:cubicBezTo>
                          <a:pt x="61050" y="2159"/>
                          <a:pt x="58872" y="0"/>
                          <a:pt x="56206" y="0"/>
                        </a:cubicBezTo>
                        <a:close/>
                      </a:path>
                    </a:pathLst>
                  </a:custGeom>
                  <a:grpFill/>
                  <a:ln w="1873" cap="flat">
                    <a:noFill/>
                    <a:prstDash val="solid"/>
                    <a:miter/>
                  </a:ln>
                </p:spPr>
                <p:txBody>
                  <a:bodyPr rtlCol="0" anchor="ctr"/>
                  <a:lstStyle/>
                  <a:p>
                    <a:endParaRPr lang="en-GB" dirty="0"/>
                  </a:p>
                </p:txBody>
              </p:sp>
              <p:sp>
                <p:nvSpPr>
                  <p:cNvPr id="308" name="Freihandform: Form 109">
                    <a:extLst>
                      <a:ext uri="{FF2B5EF4-FFF2-40B4-BE49-F238E27FC236}">
                        <a16:creationId xmlns:a16="http://schemas.microsoft.com/office/drawing/2014/main" id="{35E58B32-1751-47EB-85FA-02CF176078ED}"/>
                      </a:ext>
                    </a:extLst>
                  </p:cNvPr>
                  <p:cNvSpPr/>
                  <p:nvPr/>
                </p:nvSpPr>
                <p:spPr>
                  <a:xfrm>
                    <a:off x="2537783" y="3628501"/>
                    <a:ext cx="61049" cy="9649"/>
                  </a:xfrm>
                  <a:custGeom>
                    <a:avLst/>
                    <a:gdLst>
                      <a:gd name="connsiteX0" fmla="*/ 56206 w 61049"/>
                      <a:gd name="connsiteY0" fmla="*/ 0 h 9649"/>
                      <a:gd name="connsiteX1" fmla="*/ 4825 w 61049"/>
                      <a:gd name="connsiteY1" fmla="*/ 0 h 9649"/>
                      <a:gd name="connsiteX2" fmla="*/ 0 w 61049"/>
                      <a:gd name="connsiteY2" fmla="*/ 4825 h 9649"/>
                      <a:gd name="connsiteX3" fmla="*/ 4825 w 61049"/>
                      <a:gd name="connsiteY3" fmla="*/ 9649 h 9649"/>
                      <a:gd name="connsiteX4" fmla="*/ 56225 w 61049"/>
                      <a:gd name="connsiteY4" fmla="*/ 9649 h 9649"/>
                      <a:gd name="connsiteX5" fmla="*/ 61050 w 61049"/>
                      <a:gd name="connsiteY5" fmla="*/ 4825 h 9649"/>
                      <a:gd name="connsiteX6" fmla="*/ 56206 w 61049"/>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49" h="9649">
                        <a:moveTo>
                          <a:pt x="56206" y="0"/>
                        </a:moveTo>
                        <a:lnTo>
                          <a:pt x="4825" y="0"/>
                        </a:lnTo>
                        <a:cubicBezTo>
                          <a:pt x="2159" y="0"/>
                          <a:pt x="0" y="2159"/>
                          <a:pt x="0" y="4825"/>
                        </a:cubicBezTo>
                        <a:cubicBezTo>
                          <a:pt x="0" y="7490"/>
                          <a:pt x="2159" y="9649"/>
                          <a:pt x="4825" y="9649"/>
                        </a:cubicBezTo>
                        <a:lnTo>
                          <a:pt x="56225" y="9649"/>
                        </a:lnTo>
                        <a:cubicBezTo>
                          <a:pt x="58891" y="9649"/>
                          <a:pt x="61050" y="7490"/>
                          <a:pt x="61050" y="4825"/>
                        </a:cubicBezTo>
                        <a:cubicBezTo>
                          <a:pt x="61031" y="2159"/>
                          <a:pt x="58872" y="0"/>
                          <a:pt x="56206" y="0"/>
                        </a:cubicBezTo>
                        <a:close/>
                      </a:path>
                    </a:pathLst>
                  </a:custGeom>
                  <a:grpFill/>
                  <a:ln w="1873" cap="flat">
                    <a:noFill/>
                    <a:prstDash val="solid"/>
                    <a:miter/>
                  </a:ln>
                </p:spPr>
                <p:txBody>
                  <a:bodyPr rtlCol="0" anchor="ctr"/>
                  <a:lstStyle/>
                  <a:p>
                    <a:endParaRPr lang="en-GB" dirty="0"/>
                  </a:p>
                </p:txBody>
              </p:sp>
            </p:grpSp>
          </p:grpSp>
          <p:grpSp>
            <p:nvGrpSpPr>
              <p:cNvPr id="300" name="Grafik 23">
                <a:extLst>
                  <a:ext uri="{FF2B5EF4-FFF2-40B4-BE49-F238E27FC236}">
                    <a16:creationId xmlns:a16="http://schemas.microsoft.com/office/drawing/2014/main" id="{E6ED49E0-D2D3-4942-B522-211152A572FF}"/>
                  </a:ext>
                </a:extLst>
              </p:cNvPr>
              <p:cNvGrpSpPr/>
              <p:nvPr/>
            </p:nvGrpSpPr>
            <p:grpSpPr>
              <a:xfrm>
                <a:off x="2981032" y="3538579"/>
                <a:ext cx="93170" cy="99571"/>
                <a:chOff x="2981032" y="3538579"/>
                <a:chExt cx="93170" cy="99571"/>
              </a:xfrm>
              <a:grpFill/>
            </p:grpSpPr>
            <p:sp>
              <p:nvSpPr>
                <p:cNvPr id="301" name="Freihandform: Form 111">
                  <a:extLst>
                    <a:ext uri="{FF2B5EF4-FFF2-40B4-BE49-F238E27FC236}">
                      <a16:creationId xmlns:a16="http://schemas.microsoft.com/office/drawing/2014/main" id="{2549C1EB-38B4-4562-B9F9-009A2C77D5CD}"/>
                    </a:ext>
                  </a:extLst>
                </p:cNvPr>
                <p:cNvSpPr/>
                <p:nvPr/>
              </p:nvSpPr>
              <p:spPr>
                <a:xfrm>
                  <a:off x="3000312" y="3583540"/>
                  <a:ext cx="73890" cy="9649"/>
                </a:xfrm>
                <a:custGeom>
                  <a:avLst/>
                  <a:gdLst>
                    <a:gd name="connsiteX0" fmla="*/ 69066 w 73890"/>
                    <a:gd name="connsiteY0" fmla="*/ 0 h 9649"/>
                    <a:gd name="connsiteX1" fmla="*/ 4825 w 73890"/>
                    <a:gd name="connsiteY1" fmla="*/ 0 h 9649"/>
                    <a:gd name="connsiteX2" fmla="*/ 0 w 73890"/>
                    <a:gd name="connsiteY2" fmla="*/ 4825 h 9649"/>
                    <a:gd name="connsiteX3" fmla="*/ 4825 w 73890"/>
                    <a:gd name="connsiteY3" fmla="*/ 9649 h 9649"/>
                    <a:gd name="connsiteX4" fmla="*/ 69066 w 73890"/>
                    <a:gd name="connsiteY4" fmla="*/ 9649 h 9649"/>
                    <a:gd name="connsiteX5" fmla="*/ 73890 w 73890"/>
                    <a:gd name="connsiteY5" fmla="*/ 4825 h 9649"/>
                    <a:gd name="connsiteX6" fmla="*/ 69066 w 73890"/>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3890" h="9649">
                      <a:moveTo>
                        <a:pt x="69066" y="0"/>
                      </a:moveTo>
                      <a:lnTo>
                        <a:pt x="4825" y="0"/>
                      </a:lnTo>
                      <a:cubicBezTo>
                        <a:pt x="2159" y="0"/>
                        <a:pt x="0" y="2159"/>
                        <a:pt x="0" y="4825"/>
                      </a:cubicBezTo>
                      <a:cubicBezTo>
                        <a:pt x="0" y="7490"/>
                        <a:pt x="2159" y="9649"/>
                        <a:pt x="4825" y="9649"/>
                      </a:cubicBezTo>
                      <a:lnTo>
                        <a:pt x="69066" y="9649"/>
                      </a:lnTo>
                      <a:cubicBezTo>
                        <a:pt x="71731" y="9649"/>
                        <a:pt x="73890" y="7490"/>
                        <a:pt x="73890" y="4825"/>
                      </a:cubicBezTo>
                      <a:cubicBezTo>
                        <a:pt x="73890" y="2159"/>
                        <a:pt x="71731" y="0"/>
                        <a:pt x="69066" y="0"/>
                      </a:cubicBezTo>
                      <a:close/>
                    </a:path>
                  </a:pathLst>
                </a:custGeom>
                <a:grpFill/>
                <a:ln w="1873" cap="flat">
                  <a:noFill/>
                  <a:prstDash val="solid"/>
                  <a:miter/>
                </a:ln>
              </p:spPr>
              <p:txBody>
                <a:bodyPr rtlCol="0" anchor="ctr"/>
                <a:lstStyle/>
                <a:p>
                  <a:endParaRPr lang="en-GB" dirty="0"/>
                </a:p>
              </p:txBody>
            </p:sp>
            <p:grpSp>
              <p:nvGrpSpPr>
                <p:cNvPr id="302" name="Grafik 23">
                  <a:extLst>
                    <a:ext uri="{FF2B5EF4-FFF2-40B4-BE49-F238E27FC236}">
                      <a16:creationId xmlns:a16="http://schemas.microsoft.com/office/drawing/2014/main" id="{34D1345E-018C-46AE-90B1-CF7F26245074}"/>
                    </a:ext>
                  </a:extLst>
                </p:cNvPr>
                <p:cNvGrpSpPr/>
                <p:nvPr/>
              </p:nvGrpSpPr>
              <p:grpSpPr>
                <a:xfrm>
                  <a:off x="2981032" y="3538579"/>
                  <a:ext cx="61049" cy="99571"/>
                  <a:chOff x="2981032" y="3538579"/>
                  <a:chExt cx="61049" cy="99571"/>
                </a:xfrm>
                <a:grpFill/>
              </p:grpSpPr>
              <p:sp>
                <p:nvSpPr>
                  <p:cNvPr id="303" name="Freihandform: Form 113">
                    <a:extLst>
                      <a:ext uri="{FF2B5EF4-FFF2-40B4-BE49-F238E27FC236}">
                        <a16:creationId xmlns:a16="http://schemas.microsoft.com/office/drawing/2014/main" id="{0E1783AD-EDAD-4FCE-9292-23A9DC42D906}"/>
                      </a:ext>
                    </a:extLst>
                  </p:cNvPr>
                  <p:cNvSpPr/>
                  <p:nvPr/>
                </p:nvSpPr>
                <p:spPr>
                  <a:xfrm>
                    <a:off x="2981032" y="3628501"/>
                    <a:ext cx="61049" cy="9649"/>
                  </a:xfrm>
                  <a:custGeom>
                    <a:avLst/>
                    <a:gdLst>
                      <a:gd name="connsiteX0" fmla="*/ 56225 w 61049"/>
                      <a:gd name="connsiteY0" fmla="*/ 0 h 9649"/>
                      <a:gd name="connsiteX1" fmla="*/ 4825 w 61049"/>
                      <a:gd name="connsiteY1" fmla="*/ 0 h 9649"/>
                      <a:gd name="connsiteX2" fmla="*/ 0 w 61049"/>
                      <a:gd name="connsiteY2" fmla="*/ 4825 h 9649"/>
                      <a:gd name="connsiteX3" fmla="*/ 4825 w 61049"/>
                      <a:gd name="connsiteY3" fmla="*/ 9649 h 9649"/>
                      <a:gd name="connsiteX4" fmla="*/ 56225 w 61049"/>
                      <a:gd name="connsiteY4" fmla="*/ 9649 h 9649"/>
                      <a:gd name="connsiteX5" fmla="*/ 61050 w 61049"/>
                      <a:gd name="connsiteY5" fmla="*/ 4825 h 9649"/>
                      <a:gd name="connsiteX6" fmla="*/ 56225 w 61049"/>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49" h="9649">
                        <a:moveTo>
                          <a:pt x="56225" y="0"/>
                        </a:moveTo>
                        <a:lnTo>
                          <a:pt x="4825" y="0"/>
                        </a:lnTo>
                        <a:cubicBezTo>
                          <a:pt x="2159" y="0"/>
                          <a:pt x="0" y="2159"/>
                          <a:pt x="0" y="4825"/>
                        </a:cubicBezTo>
                        <a:cubicBezTo>
                          <a:pt x="0" y="7490"/>
                          <a:pt x="2159" y="9649"/>
                          <a:pt x="4825" y="9649"/>
                        </a:cubicBezTo>
                        <a:lnTo>
                          <a:pt x="56225" y="9649"/>
                        </a:lnTo>
                        <a:cubicBezTo>
                          <a:pt x="58891" y="9649"/>
                          <a:pt x="61050" y="7490"/>
                          <a:pt x="61050" y="4825"/>
                        </a:cubicBezTo>
                        <a:cubicBezTo>
                          <a:pt x="61050" y="2159"/>
                          <a:pt x="58891" y="0"/>
                          <a:pt x="56225" y="0"/>
                        </a:cubicBezTo>
                        <a:close/>
                      </a:path>
                    </a:pathLst>
                  </a:custGeom>
                  <a:grpFill/>
                  <a:ln w="1873" cap="flat">
                    <a:noFill/>
                    <a:prstDash val="solid"/>
                    <a:miter/>
                  </a:ln>
                </p:spPr>
                <p:txBody>
                  <a:bodyPr rtlCol="0" anchor="ctr"/>
                  <a:lstStyle/>
                  <a:p>
                    <a:endParaRPr lang="en-GB" dirty="0"/>
                  </a:p>
                </p:txBody>
              </p:sp>
              <p:sp>
                <p:nvSpPr>
                  <p:cNvPr id="304" name="Freihandform: Form 114">
                    <a:extLst>
                      <a:ext uri="{FF2B5EF4-FFF2-40B4-BE49-F238E27FC236}">
                        <a16:creationId xmlns:a16="http://schemas.microsoft.com/office/drawing/2014/main" id="{E355AAC7-A81A-4415-A8CE-78B13AEC4E87}"/>
                      </a:ext>
                    </a:extLst>
                  </p:cNvPr>
                  <p:cNvSpPr/>
                  <p:nvPr/>
                </p:nvSpPr>
                <p:spPr>
                  <a:xfrm>
                    <a:off x="2981032" y="3538579"/>
                    <a:ext cx="61049" cy="9649"/>
                  </a:xfrm>
                  <a:custGeom>
                    <a:avLst/>
                    <a:gdLst>
                      <a:gd name="connsiteX0" fmla="*/ 56225 w 61049"/>
                      <a:gd name="connsiteY0" fmla="*/ 0 h 9649"/>
                      <a:gd name="connsiteX1" fmla="*/ 4825 w 61049"/>
                      <a:gd name="connsiteY1" fmla="*/ 0 h 9649"/>
                      <a:gd name="connsiteX2" fmla="*/ 0 w 61049"/>
                      <a:gd name="connsiteY2" fmla="*/ 4825 h 9649"/>
                      <a:gd name="connsiteX3" fmla="*/ 4825 w 61049"/>
                      <a:gd name="connsiteY3" fmla="*/ 9649 h 9649"/>
                      <a:gd name="connsiteX4" fmla="*/ 56225 w 61049"/>
                      <a:gd name="connsiteY4" fmla="*/ 9649 h 9649"/>
                      <a:gd name="connsiteX5" fmla="*/ 61050 w 61049"/>
                      <a:gd name="connsiteY5" fmla="*/ 4825 h 9649"/>
                      <a:gd name="connsiteX6" fmla="*/ 56225 w 61049"/>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1049" h="9649">
                        <a:moveTo>
                          <a:pt x="56225" y="0"/>
                        </a:moveTo>
                        <a:lnTo>
                          <a:pt x="4825" y="0"/>
                        </a:lnTo>
                        <a:cubicBezTo>
                          <a:pt x="2159" y="0"/>
                          <a:pt x="0" y="2159"/>
                          <a:pt x="0" y="4825"/>
                        </a:cubicBezTo>
                        <a:cubicBezTo>
                          <a:pt x="0" y="7490"/>
                          <a:pt x="2159" y="9649"/>
                          <a:pt x="4825" y="9649"/>
                        </a:cubicBezTo>
                        <a:lnTo>
                          <a:pt x="56225" y="9649"/>
                        </a:lnTo>
                        <a:cubicBezTo>
                          <a:pt x="58891" y="9649"/>
                          <a:pt x="61050" y="7490"/>
                          <a:pt x="61050" y="4825"/>
                        </a:cubicBezTo>
                        <a:cubicBezTo>
                          <a:pt x="61050" y="2159"/>
                          <a:pt x="58891" y="0"/>
                          <a:pt x="56225" y="0"/>
                        </a:cubicBezTo>
                        <a:close/>
                      </a:path>
                    </a:pathLst>
                  </a:custGeom>
                  <a:grpFill/>
                  <a:ln w="1873" cap="flat">
                    <a:noFill/>
                    <a:prstDash val="solid"/>
                    <a:miter/>
                  </a:ln>
                </p:spPr>
                <p:txBody>
                  <a:bodyPr rtlCol="0" anchor="ctr"/>
                  <a:lstStyle/>
                  <a:p>
                    <a:endParaRPr lang="en-GB" dirty="0"/>
                  </a:p>
                </p:txBody>
              </p:sp>
            </p:grpSp>
          </p:grpSp>
        </p:grpSp>
      </p:grpSp>
      <p:grpSp>
        <p:nvGrpSpPr>
          <p:cNvPr id="5" name="Group 4">
            <a:extLst>
              <a:ext uri="{FF2B5EF4-FFF2-40B4-BE49-F238E27FC236}">
                <a16:creationId xmlns:a16="http://schemas.microsoft.com/office/drawing/2014/main" id="{0B467B4B-E7DF-83C8-C6CC-DA6373C75B95}"/>
              </a:ext>
            </a:extLst>
          </p:cNvPr>
          <p:cNvGrpSpPr/>
          <p:nvPr/>
        </p:nvGrpSpPr>
        <p:grpSpPr>
          <a:xfrm>
            <a:off x="640376" y="1585983"/>
            <a:ext cx="307347" cy="432000"/>
            <a:chOff x="640376" y="1585983"/>
            <a:chExt cx="307347" cy="432000"/>
          </a:xfrm>
        </p:grpSpPr>
        <p:grpSp>
          <p:nvGrpSpPr>
            <p:cNvPr id="51" name="Grafik 20">
              <a:extLst>
                <a:ext uri="{FF2B5EF4-FFF2-40B4-BE49-F238E27FC236}">
                  <a16:creationId xmlns:a16="http://schemas.microsoft.com/office/drawing/2014/main" id="{21FACC6B-45B7-44CF-BF35-EC72AA279B13}"/>
                </a:ext>
              </a:extLst>
            </p:cNvPr>
            <p:cNvGrpSpPr/>
            <p:nvPr/>
          </p:nvGrpSpPr>
          <p:grpSpPr>
            <a:xfrm>
              <a:off x="788919" y="1842063"/>
              <a:ext cx="158804" cy="175920"/>
              <a:chOff x="7208462" y="2007991"/>
              <a:chExt cx="236415" cy="261896"/>
            </a:xfrm>
            <a:solidFill>
              <a:schemeClr val="accent1"/>
            </a:solidFill>
          </p:grpSpPr>
          <p:sp>
            <p:nvSpPr>
              <p:cNvPr id="76" name="Freihandform: Form 763">
                <a:extLst>
                  <a:ext uri="{FF2B5EF4-FFF2-40B4-BE49-F238E27FC236}">
                    <a16:creationId xmlns:a16="http://schemas.microsoft.com/office/drawing/2014/main" id="{629A7388-1F8A-415D-9E7D-C6A7B7791DEB}"/>
                  </a:ext>
                </a:extLst>
              </p:cNvPr>
              <p:cNvSpPr/>
              <p:nvPr/>
            </p:nvSpPr>
            <p:spPr>
              <a:xfrm>
                <a:off x="7208462" y="2188711"/>
                <a:ext cx="53799" cy="81176"/>
              </a:xfrm>
              <a:custGeom>
                <a:avLst/>
                <a:gdLst>
                  <a:gd name="connsiteX0" fmla="*/ 48488 w 53799"/>
                  <a:gd name="connsiteY0" fmla="*/ 81177 h 81176"/>
                  <a:gd name="connsiteX1" fmla="*/ 43927 w 53799"/>
                  <a:gd name="connsiteY1" fmla="*/ 78637 h 81176"/>
                  <a:gd name="connsiteX2" fmla="*/ 779 w 53799"/>
                  <a:gd name="connsiteY2" fmla="*/ 8098 h 81176"/>
                  <a:gd name="connsiteX3" fmla="*/ 2554 w 53799"/>
                  <a:gd name="connsiteY3" fmla="*/ 779 h 81176"/>
                  <a:gd name="connsiteX4" fmla="*/ 9873 w 53799"/>
                  <a:gd name="connsiteY4" fmla="*/ 2554 h 81176"/>
                  <a:gd name="connsiteX5" fmla="*/ 53021 w 53799"/>
                  <a:gd name="connsiteY5" fmla="*/ 73093 h 81176"/>
                  <a:gd name="connsiteX6" fmla="*/ 51246 w 53799"/>
                  <a:gd name="connsiteY6" fmla="*/ 80412 h 81176"/>
                  <a:gd name="connsiteX7" fmla="*/ 48488 w 53799"/>
                  <a:gd name="connsiteY7" fmla="*/ 81177 h 81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799" h="81176">
                    <a:moveTo>
                      <a:pt x="48488" y="81177"/>
                    </a:moveTo>
                    <a:cubicBezTo>
                      <a:pt x="46685" y="81177"/>
                      <a:pt x="44937" y="80275"/>
                      <a:pt x="43927" y="78637"/>
                    </a:cubicBezTo>
                    <a:lnTo>
                      <a:pt x="779" y="8098"/>
                    </a:lnTo>
                    <a:cubicBezTo>
                      <a:pt x="-751" y="5585"/>
                      <a:pt x="41" y="2308"/>
                      <a:pt x="2554" y="779"/>
                    </a:cubicBezTo>
                    <a:cubicBezTo>
                      <a:pt x="5066" y="-751"/>
                      <a:pt x="8343" y="41"/>
                      <a:pt x="9873" y="2554"/>
                    </a:cubicBezTo>
                    <a:lnTo>
                      <a:pt x="53021" y="73093"/>
                    </a:lnTo>
                    <a:cubicBezTo>
                      <a:pt x="54550" y="75606"/>
                      <a:pt x="53758" y="78883"/>
                      <a:pt x="51246" y="80412"/>
                    </a:cubicBezTo>
                    <a:cubicBezTo>
                      <a:pt x="50399" y="80931"/>
                      <a:pt x="49444" y="81177"/>
                      <a:pt x="48488" y="81177"/>
                    </a:cubicBezTo>
                    <a:close/>
                  </a:path>
                </a:pathLst>
              </a:custGeom>
              <a:solidFill>
                <a:schemeClr val="accent1"/>
              </a:solidFill>
              <a:ln w="2724" cap="flat">
                <a:noFill/>
                <a:prstDash val="solid"/>
                <a:miter/>
              </a:ln>
            </p:spPr>
            <p:txBody>
              <a:bodyPr rtlCol="0" anchor="ctr"/>
              <a:lstStyle/>
              <a:p>
                <a:endParaRPr lang="en-GB" dirty="0"/>
              </a:p>
            </p:txBody>
          </p:sp>
          <p:sp>
            <p:nvSpPr>
              <p:cNvPr id="77" name="Freihandform: Form 764">
                <a:extLst>
                  <a:ext uri="{FF2B5EF4-FFF2-40B4-BE49-F238E27FC236}">
                    <a16:creationId xmlns:a16="http://schemas.microsoft.com/office/drawing/2014/main" id="{C1DF123D-656E-4AD9-9162-87AF7C440A48}"/>
                  </a:ext>
                </a:extLst>
              </p:cNvPr>
              <p:cNvSpPr/>
              <p:nvPr/>
            </p:nvSpPr>
            <p:spPr>
              <a:xfrm>
                <a:off x="7226349" y="2018739"/>
                <a:ext cx="218528" cy="139481"/>
              </a:xfrm>
              <a:custGeom>
                <a:avLst/>
                <a:gdLst>
                  <a:gd name="connsiteX0" fmla="*/ 213189 w 218528"/>
                  <a:gd name="connsiteY0" fmla="*/ 139482 h 139481"/>
                  <a:gd name="connsiteX1" fmla="*/ 208628 w 218528"/>
                  <a:gd name="connsiteY1" fmla="*/ 136942 h 139481"/>
                  <a:gd name="connsiteX2" fmla="*/ 132627 w 218528"/>
                  <a:gd name="connsiteY2" fmla="*/ 12658 h 139481"/>
                  <a:gd name="connsiteX3" fmla="*/ 8097 w 218528"/>
                  <a:gd name="connsiteY3" fmla="*/ 88796 h 139481"/>
                  <a:gd name="connsiteX4" fmla="*/ 779 w 218528"/>
                  <a:gd name="connsiteY4" fmla="*/ 87021 h 139481"/>
                  <a:gd name="connsiteX5" fmla="*/ 2554 w 218528"/>
                  <a:gd name="connsiteY5" fmla="*/ 79702 h 139481"/>
                  <a:gd name="connsiteX6" fmla="*/ 131644 w 218528"/>
                  <a:gd name="connsiteY6" fmla="*/ 779 h 139481"/>
                  <a:gd name="connsiteX7" fmla="*/ 138963 w 218528"/>
                  <a:gd name="connsiteY7" fmla="*/ 2554 h 139481"/>
                  <a:gd name="connsiteX8" fmla="*/ 217750 w 218528"/>
                  <a:gd name="connsiteY8" fmla="*/ 131371 h 139481"/>
                  <a:gd name="connsiteX9" fmla="*/ 215974 w 218528"/>
                  <a:gd name="connsiteY9" fmla="*/ 138690 h 139481"/>
                  <a:gd name="connsiteX10" fmla="*/ 213189 w 218528"/>
                  <a:gd name="connsiteY10" fmla="*/ 139482 h 13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8528" h="139481">
                    <a:moveTo>
                      <a:pt x="213189" y="139482"/>
                    </a:moveTo>
                    <a:cubicBezTo>
                      <a:pt x="211387" y="139482"/>
                      <a:pt x="209639" y="138580"/>
                      <a:pt x="208628" y="136942"/>
                    </a:cubicBezTo>
                    <a:lnTo>
                      <a:pt x="132627" y="12658"/>
                    </a:lnTo>
                    <a:lnTo>
                      <a:pt x="8097" y="88796"/>
                    </a:lnTo>
                    <a:cubicBezTo>
                      <a:pt x="5585" y="90325"/>
                      <a:pt x="2308" y="89533"/>
                      <a:pt x="779" y="87021"/>
                    </a:cubicBezTo>
                    <a:cubicBezTo>
                      <a:pt x="-751" y="84508"/>
                      <a:pt x="41" y="81231"/>
                      <a:pt x="2554" y="79702"/>
                    </a:cubicBezTo>
                    <a:lnTo>
                      <a:pt x="131644" y="779"/>
                    </a:lnTo>
                    <a:cubicBezTo>
                      <a:pt x="134156" y="-751"/>
                      <a:pt x="137434" y="41"/>
                      <a:pt x="138963" y="2554"/>
                    </a:cubicBezTo>
                    <a:lnTo>
                      <a:pt x="217750" y="131371"/>
                    </a:lnTo>
                    <a:cubicBezTo>
                      <a:pt x="219279" y="133883"/>
                      <a:pt x="218487" y="137160"/>
                      <a:pt x="215974" y="138690"/>
                    </a:cubicBezTo>
                    <a:cubicBezTo>
                      <a:pt x="215101" y="139236"/>
                      <a:pt x="214145" y="139482"/>
                      <a:pt x="213189" y="139482"/>
                    </a:cubicBezTo>
                    <a:close/>
                  </a:path>
                </a:pathLst>
              </a:custGeom>
              <a:solidFill>
                <a:schemeClr val="accent1"/>
              </a:solidFill>
              <a:ln w="2724" cap="flat">
                <a:noFill/>
                <a:prstDash val="solid"/>
                <a:miter/>
              </a:ln>
            </p:spPr>
            <p:txBody>
              <a:bodyPr rtlCol="0" anchor="ctr"/>
              <a:lstStyle/>
              <a:p>
                <a:endParaRPr lang="en-GB" dirty="0"/>
              </a:p>
            </p:txBody>
          </p:sp>
          <p:sp>
            <p:nvSpPr>
              <p:cNvPr id="78" name="Freihandform: Form 765">
                <a:extLst>
                  <a:ext uri="{FF2B5EF4-FFF2-40B4-BE49-F238E27FC236}">
                    <a16:creationId xmlns:a16="http://schemas.microsoft.com/office/drawing/2014/main" id="{BB6CD84F-8C3E-4CEC-8B51-36C85B364BDB}"/>
                  </a:ext>
                </a:extLst>
              </p:cNvPr>
              <p:cNvSpPr/>
              <p:nvPr/>
            </p:nvSpPr>
            <p:spPr>
              <a:xfrm>
                <a:off x="7331906" y="2007991"/>
                <a:ext cx="20605" cy="29769"/>
              </a:xfrm>
              <a:custGeom>
                <a:avLst/>
                <a:gdLst>
                  <a:gd name="connsiteX0" fmla="*/ 15273 w 20605"/>
                  <a:gd name="connsiteY0" fmla="*/ 29769 h 29769"/>
                  <a:gd name="connsiteX1" fmla="*/ 10549 w 20605"/>
                  <a:gd name="connsiteY1" fmla="*/ 26902 h 29769"/>
                  <a:gd name="connsiteX2" fmla="*/ 608 w 20605"/>
                  <a:gd name="connsiteY2" fmla="*/ 7785 h 29769"/>
                  <a:gd name="connsiteX3" fmla="*/ 2875 w 20605"/>
                  <a:gd name="connsiteY3" fmla="*/ 603 h 29769"/>
                  <a:gd name="connsiteX4" fmla="*/ 10057 w 20605"/>
                  <a:gd name="connsiteY4" fmla="*/ 2870 h 29769"/>
                  <a:gd name="connsiteX5" fmla="*/ 19998 w 20605"/>
                  <a:gd name="connsiteY5" fmla="*/ 21986 h 29769"/>
                  <a:gd name="connsiteX6" fmla="*/ 17731 w 20605"/>
                  <a:gd name="connsiteY6" fmla="*/ 29168 h 29769"/>
                  <a:gd name="connsiteX7" fmla="*/ 15273 w 20605"/>
                  <a:gd name="connsiteY7" fmla="*/ 29769 h 29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605" h="29769">
                    <a:moveTo>
                      <a:pt x="15273" y="29769"/>
                    </a:moveTo>
                    <a:cubicBezTo>
                      <a:pt x="13334" y="29769"/>
                      <a:pt x="11477" y="28731"/>
                      <a:pt x="10549" y="26902"/>
                    </a:cubicBezTo>
                    <a:lnTo>
                      <a:pt x="608" y="7785"/>
                    </a:lnTo>
                    <a:cubicBezTo>
                      <a:pt x="-757" y="5164"/>
                      <a:pt x="253" y="1968"/>
                      <a:pt x="2875" y="603"/>
                    </a:cubicBezTo>
                    <a:cubicBezTo>
                      <a:pt x="5496" y="-763"/>
                      <a:pt x="8691" y="275"/>
                      <a:pt x="10057" y="2870"/>
                    </a:cubicBezTo>
                    <a:lnTo>
                      <a:pt x="19998" y="21986"/>
                    </a:lnTo>
                    <a:cubicBezTo>
                      <a:pt x="21363" y="24608"/>
                      <a:pt x="20353" y="27803"/>
                      <a:pt x="17731" y="29168"/>
                    </a:cubicBezTo>
                    <a:cubicBezTo>
                      <a:pt x="16939" y="29578"/>
                      <a:pt x="16092" y="29769"/>
                      <a:pt x="15273" y="29769"/>
                    </a:cubicBezTo>
                    <a:close/>
                  </a:path>
                </a:pathLst>
              </a:custGeom>
              <a:solidFill>
                <a:schemeClr val="accent1"/>
              </a:solidFill>
              <a:ln w="2724" cap="flat">
                <a:noFill/>
                <a:prstDash val="solid"/>
                <a:miter/>
              </a:ln>
            </p:spPr>
            <p:txBody>
              <a:bodyPr rtlCol="0" anchor="ctr"/>
              <a:lstStyle/>
              <a:p>
                <a:endParaRPr lang="en-GB" dirty="0"/>
              </a:p>
            </p:txBody>
          </p:sp>
        </p:grpSp>
        <p:grpSp>
          <p:nvGrpSpPr>
            <p:cNvPr id="52" name="Group 51">
              <a:extLst>
                <a:ext uri="{FF2B5EF4-FFF2-40B4-BE49-F238E27FC236}">
                  <a16:creationId xmlns:a16="http://schemas.microsoft.com/office/drawing/2014/main" id="{720BBE42-E2ED-49DE-BFED-825EBDC7F100}"/>
                </a:ext>
              </a:extLst>
            </p:cNvPr>
            <p:cNvGrpSpPr/>
            <p:nvPr/>
          </p:nvGrpSpPr>
          <p:grpSpPr>
            <a:xfrm>
              <a:off x="640376" y="1585983"/>
              <a:ext cx="304055" cy="424864"/>
              <a:chOff x="6987320" y="1626758"/>
              <a:chExt cx="452655" cy="632506"/>
            </a:xfrm>
            <a:solidFill>
              <a:schemeClr val="tx2"/>
            </a:solidFill>
          </p:grpSpPr>
          <p:sp>
            <p:nvSpPr>
              <p:cNvPr id="66" name="Freihandform: Form 760">
                <a:extLst>
                  <a:ext uri="{FF2B5EF4-FFF2-40B4-BE49-F238E27FC236}">
                    <a16:creationId xmlns:a16="http://schemas.microsoft.com/office/drawing/2014/main" id="{8368ACFF-E2C6-43EF-83A7-3A79E39A24DC}"/>
                  </a:ext>
                </a:extLst>
              </p:cNvPr>
              <p:cNvSpPr/>
              <p:nvPr/>
            </p:nvSpPr>
            <p:spPr>
              <a:xfrm>
                <a:off x="7323033" y="1859270"/>
                <a:ext cx="28737" cy="26322"/>
              </a:xfrm>
              <a:custGeom>
                <a:avLst/>
                <a:gdLst>
                  <a:gd name="connsiteX0" fmla="*/ 5329 w 28737"/>
                  <a:gd name="connsiteY0" fmla="*/ 26323 h 26322"/>
                  <a:gd name="connsiteX1" fmla="*/ 1288 w 28737"/>
                  <a:gd name="connsiteY1" fmla="*/ 24493 h 26322"/>
                  <a:gd name="connsiteX2" fmla="*/ 1834 w 28737"/>
                  <a:gd name="connsiteY2" fmla="*/ 16983 h 26322"/>
                  <a:gd name="connsiteX3" fmla="*/ 19940 w 28737"/>
                  <a:gd name="connsiteY3" fmla="*/ 1308 h 26322"/>
                  <a:gd name="connsiteX4" fmla="*/ 27450 w 28737"/>
                  <a:gd name="connsiteY4" fmla="*/ 1854 h 26322"/>
                  <a:gd name="connsiteX5" fmla="*/ 26903 w 28737"/>
                  <a:gd name="connsiteY5" fmla="*/ 9364 h 26322"/>
                  <a:gd name="connsiteX6" fmla="*/ 8798 w 28737"/>
                  <a:gd name="connsiteY6" fmla="*/ 25039 h 26322"/>
                  <a:gd name="connsiteX7" fmla="*/ 5329 w 28737"/>
                  <a:gd name="connsiteY7" fmla="*/ 26323 h 2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737" h="26322">
                    <a:moveTo>
                      <a:pt x="5329" y="26323"/>
                    </a:moveTo>
                    <a:cubicBezTo>
                      <a:pt x="3827" y="26323"/>
                      <a:pt x="2353" y="25695"/>
                      <a:pt x="1288" y="24493"/>
                    </a:cubicBezTo>
                    <a:cubicBezTo>
                      <a:pt x="-624" y="22281"/>
                      <a:pt x="-378" y="18895"/>
                      <a:pt x="1834" y="16983"/>
                    </a:cubicBezTo>
                    <a:lnTo>
                      <a:pt x="19940" y="1308"/>
                    </a:lnTo>
                    <a:cubicBezTo>
                      <a:pt x="22179" y="-631"/>
                      <a:pt x="25538" y="-385"/>
                      <a:pt x="27450" y="1854"/>
                    </a:cubicBezTo>
                    <a:cubicBezTo>
                      <a:pt x="29361" y="4066"/>
                      <a:pt x="29116" y="7452"/>
                      <a:pt x="26903" y="9364"/>
                    </a:cubicBezTo>
                    <a:lnTo>
                      <a:pt x="8798" y="25039"/>
                    </a:lnTo>
                    <a:cubicBezTo>
                      <a:pt x="7814" y="25913"/>
                      <a:pt x="6585" y="26323"/>
                      <a:pt x="5329" y="26323"/>
                    </a:cubicBezTo>
                    <a:close/>
                  </a:path>
                </a:pathLst>
              </a:custGeom>
              <a:grpFill/>
              <a:ln w="2724" cap="flat">
                <a:noFill/>
                <a:prstDash val="solid"/>
                <a:miter/>
              </a:ln>
            </p:spPr>
            <p:txBody>
              <a:bodyPr rtlCol="0" anchor="ctr"/>
              <a:lstStyle/>
              <a:p>
                <a:endParaRPr lang="en-GB" dirty="0"/>
              </a:p>
            </p:txBody>
          </p:sp>
          <p:sp>
            <p:nvSpPr>
              <p:cNvPr id="67" name="Freihandform: Form 761">
                <a:extLst>
                  <a:ext uri="{FF2B5EF4-FFF2-40B4-BE49-F238E27FC236}">
                    <a16:creationId xmlns:a16="http://schemas.microsoft.com/office/drawing/2014/main" id="{23FC0DCB-58DF-4CE1-ABFA-2C13DE518FC2}"/>
                  </a:ext>
                </a:extLst>
              </p:cNvPr>
              <p:cNvSpPr/>
              <p:nvPr/>
            </p:nvSpPr>
            <p:spPr>
              <a:xfrm>
                <a:off x="7315513" y="1924263"/>
                <a:ext cx="42725" cy="39488"/>
              </a:xfrm>
              <a:custGeom>
                <a:avLst/>
                <a:gdLst>
                  <a:gd name="connsiteX0" fmla="*/ 5339 w 42725"/>
                  <a:gd name="connsiteY0" fmla="*/ 39489 h 39488"/>
                  <a:gd name="connsiteX1" fmla="*/ 943 w 42725"/>
                  <a:gd name="connsiteY1" fmla="*/ 37195 h 39488"/>
                  <a:gd name="connsiteX2" fmla="*/ 2281 w 42725"/>
                  <a:gd name="connsiteY2" fmla="*/ 29767 h 39488"/>
                  <a:gd name="connsiteX3" fmla="*/ 33632 w 42725"/>
                  <a:gd name="connsiteY3" fmla="*/ 1557 h 39488"/>
                  <a:gd name="connsiteX4" fmla="*/ 41169 w 42725"/>
                  <a:gd name="connsiteY4" fmla="*/ 1557 h 39488"/>
                  <a:gd name="connsiteX5" fmla="*/ 41169 w 42725"/>
                  <a:gd name="connsiteY5" fmla="*/ 9094 h 39488"/>
                  <a:gd name="connsiteX6" fmla="*/ 8343 w 42725"/>
                  <a:gd name="connsiteY6" fmla="*/ 38533 h 39488"/>
                  <a:gd name="connsiteX7" fmla="*/ 5339 w 42725"/>
                  <a:gd name="connsiteY7" fmla="*/ 39489 h 3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25" h="39488">
                    <a:moveTo>
                      <a:pt x="5339" y="39489"/>
                    </a:moveTo>
                    <a:cubicBezTo>
                      <a:pt x="3646" y="39489"/>
                      <a:pt x="1980" y="38697"/>
                      <a:pt x="943" y="37195"/>
                    </a:cubicBezTo>
                    <a:cubicBezTo>
                      <a:pt x="-723" y="34765"/>
                      <a:pt x="-122" y="31460"/>
                      <a:pt x="2281" y="29767"/>
                    </a:cubicBezTo>
                    <a:cubicBezTo>
                      <a:pt x="12385" y="22748"/>
                      <a:pt x="33413" y="1748"/>
                      <a:pt x="33632" y="1557"/>
                    </a:cubicBezTo>
                    <a:cubicBezTo>
                      <a:pt x="35707" y="-519"/>
                      <a:pt x="39093" y="-519"/>
                      <a:pt x="41169" y="1557"/>
                    </a:cubicBezTo>
                    <a:cubicBezTo>
                      <a:pt x="43244" y="3632"/>
                      <a:pt x="43244" y="7018"/>
                      <a:pt x="41169" y="9094"/>
                    </a:cubicBezTo>
                    <a:cubicBezTo>
                      <a:pt x="40268" y="9995"/>
                      <a:pt x="19240" y="30996"/>
                      <a:pt x="8343" y="38533"/>
                    </a:cubicBezTo>
                    <a:cubicBezTo>
                      <a:pt x="7442" y="39161"/>
                      <a:pt x="6377" y="39489"/>
                      <a:pt x="5339" y="39489"/>
                    </a:cubicBezTo>
                    <a:close/>
                  </a:path>
                </a:pathLst>
              </a:custGeom>
              <a:grpFill/>
              <a:ln w="2724" cap="flat">
                <a:noFill/>
                <a:prstDash val="solid"/>
                <a:miter/>
              </a:ln>
            </p:spPr>
            <p:txBody>
              <a:bodyPr rtlCol="0" anchor="ctr"/>
              <a:lstStyle/>
              <a:p>
                <a:endParaRPr lang="en-GB" dirty="0"/>
              </a:p>
            </p:txBody>
          </p:sp>
          <p:grpSp>
            <p:nvGrpSpPr>
              <p:cNvPr id="68" name="Grafik 20">
                <a:extLst>
                  <a:ext uri="{FF2B5EF4-FFF2-40B4-BE49-F238E27FC236}">
                    <a16:creationId xmlns:a16="http://schemas.microsoft.com/office/drawing/2014/main" id="{B141D78C-DC68-40C7-8266-DF0D8F9B4014}"/>
                  </a:ext>
                </a:extLst>
              </p:cNvPr>
              <p:cNvGrpSpPr/>
              <p:nvPr/>
            </p:nvGrpSpPr>
            <p:grpSpPr>
              <a:xfrm>
                <a:off x="6987320" y="2012045"/>
                <a:ext cx="261083" cy="247219"/>
                <a:chOff x="6987320" y="2012045"/>
                <a:chExt cx="261083" cy="247219"/>
              </a:xfrm>
              <a:grpFill/>
            </p:grpSpPr>
            <p:sp>
              <p:nvSpPr>
                <p:cNvPr id="74" name="Freihandform: Form 767">
                  <a:extLst>
                    <a:ext uri="{FF2B5EF4-FFF2-40B4-BE49-F238E27FC236}">
                      <a16:creationId xmlns:a16="http://schemas.microsoft.com/office/drawing/2014/main" id="{0571A098-CF90-4ACF-A0F1-5ADDE1618DDB}"/>
                    </a:ext>
                  </a:extLst>
                </p:cNvPr>
                <p:cNvSpPr/>
                <p:nvPr/>
              </p:nvSpPr>
              <p:spPr>
                <a:xfrm>
                  <a:off x="6987320" y="2047110"/>
                  <a:ext cx="250764" cy="212154"/>
                </a:xfrm>
                <a:custGeom>
                  <a:avLst/>
                  <a:gdLst>
                    <a:gd name="connsiteX0" fmla="*/ 190924 w 250764"/>
                    <a:gd name="connsiteY0" fmla="*/ 212154 h 212154"/>
                    <a:gd name="connsiteX1" fmla="*/ 188275 w 250764"/>
                    <a:gd name="connsiteY1" fmla="*/ 211444 h 212154"/>
                    <a:gd name="connsiteX2" fmla="*/ 186309 w 250764"/>
                    <a:gd name="connsiteY2" fmla="*/ 204180 h 212154"/>
                    <a:gd name="connsiteX3" fmla="*/ 238169 w 250764"/>
                    <a:gd name="connsiteY3" fmla="*/ 113869 h 212154"/>
                    <a:gd name="connsiteX4" fmla="*/ 61807 w 250764"/>
                    <a:gd name="connsiteY4" fmla="*/ 12579 h 212154"/>
                    <a:gd name="connsiteX5" fmla="*/ 9947 w 250764"/>
                    <a:gd name="connsiteY5" fmla="*/ 102891 h 212154"/>
                    <a:gd name="connsiteX6" fmla="*/ 2683 w 250764"/>
                    <a:gd name="connsiteY6" fmla="*/ 104857 h 212154"/>
                    <a:gd name="connsiteX7" fmla="*/ 716 w 250764"/>
                    <a:gd name="connsiteY7" fmla="*/ 97593 h 212154"/>
                    <a:gd name="connsiteX8" fmla="*/ 55225 w 250764"/>
                    <a:gd name="connsiteY8" fmla="*/ 2666 h 212154"/>
                    <a:gd name="connsiteX9" fmla="*/ 58448 w 250764"/>
                    <a:gd name="connsiteY9" fmla="*/ 181 h 212154"/>
                    <a:gd name="connsiteX10" fmla="*/ 62489 w 250764"/>
                    <a:gd name="connsiteY10" fmla="*/ 700 h 212154"/>
                    <a:gd name="connsiteX11" fmla="*/ 248082 w 250764"/>
                    <a:gd name="connsiteY11" fmla="*/ 107287 h 212154"/>
                    <a:gd name="connsiteX12" fmla="*/ 250048 w 250764"/>
                    <a:gd name="connsiteY12" fmla="*/ 114552 h 212154"/>
                    <a:gd name="connsiteX13" fmla="*/ 195539 w 250764"/>
                    <a:gd name="connsiteY13" fmla="*/ 209478 h 212154"/>
                    <a:gd name="connsiteX14" fmla="*/ 190924 w 250764"/>
                    <a:gd name="connsiteY14" fmla="*/ 212154 h 212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0764" h="212154">
                      <a:moveTo>
                        <a:pt x="190924" y="212154"/>
                      </a:moveTo>
                      <a:cubicBezTo>
                        <a:pt x="190023" y="212154"/>
                        <a:pt x="189122" y="211936"/>
                        <a:pt x="188275" y="211444"/>
                      </a:cubicBezTo>
                      <a:cubicBezTo>
                        <a:pt x="185708" y="209970"/>
                        <a:pt x="184834" y="206720"/>
                        <a:pt x="186309" y="204180"/>
                      </a:cubicBezTo>
                      <a:lnTo>
                        <a:pt x="238169" y="113869"/>
                      </a:lnTo>
                      <a:lnTo>
                        <a:pt x="61807" y="12579"/>
                      </a:lnTo>
                      <a:lnTo>
                        <a:pt x="9947" y="102891"/>
                      </a:lnTo>
                      <a:cubicBezTo>
                        <a:pt x="8472" y="105430"/>
                        <a:pt x="5222" y="106332"/>
                        <a:pt x="2683" y="104857"/>
                      </a:cubicBezTo>
                      <a:cubicBezTo>
                        <a:pt x="115" y="103382"/>
                        <a:pt x="-758" y="100132"/>
                        <a:pt x="716" y="97593"/>
                      </a:cubicBezTo>
                      <a:lnTo>
                        <a:pt x="55225" y="2666"/>
                      </a:lnTo>
                      <a:cubicBezTo>
                        <a:pt x="55935" y="1437"/>
                        <a:pt x="57082" y="536"/>
                        <a:pt x="58448" y="181"/>
                      </a:cubicBezTo>
                      <a:cubicBezTo>
                        <a:pt x="59786" y="-174"/>
                        <a:pt x="61260" y="-10"/>
                        <a:pt x="62489" y="700"/>
                      </a:cubicBezTo>
                      <a:lnTo>
                        <a:pt x="248082" y="107287"/>
                      </a:lnTo>
                      <a:cubicBezTo>
                        <a:pt x="250649" y="108762"/>
                        <a:pt x="251523" y="112012"/>
                        <a:pt x="250048" y="114552"/>
                      </a:cubicBezTo>
                      <a:lnTo>
                        <a:pt x="195539" y="209478"/>
                      </a:lnTo>
                      <a:cubicBezTo>
                        <a:pt x="194584" y="211199"/>
                        <a:pt x="192781" y="212154"/>
                        <a:pt x="190924" y="212154"/>
                      </a:cubicBezTo>
                      <a:close/>
                    </a:path>
                  </a:pathLst>
                </a:custGeom>
                <a:grpFill/>
                <a:ln w="2724" cap="flat">
                  <a:noFill/>
                  <a:prstDash val="solid"/>
                  <a:miter/>
                </a:ln>
              </p:spPr>
              <p:txBody>
                <a:bodyPr rtlCol="0" anchor="ctr"/>
                <a:lstStyle/>
                <a:p>
                  <a:endParaRPr lang="en-GB" dirty="0"/>
                </a:p>
              </p:txBody>
            </p:sp>
            <p:sp>
              <p:nvSpPr>
                <p:cNvPr id="75" name="Freihandform: Form 768">
                  <a:extLst>
                    <a:ext uri="{FF2B5EF4-FFF2-40B4-BE49-F238E27FC236}">
                      <a16:creationId xmlns:a16="http://schemas.microsoft.com/office/drawing/2014/main" id="{3B737F1A-6D7E-4CA3-BD7A-96B1A5ED1D00}"/>
                    </a:ext>
                  </a:extLst>
                </p:cNvPr>
                <p:cNvSpPr/>
                <p:nvPr/>
              </p:nvSpPr>
              <p:spPr>
                <a:xfrm>
                  <a:off x="7053900" y="2012045"/>
                  <a:ext cx="194503" cy="144400"/>
                </a:xfrm>
                <a:custGeom>
                  <a:avLst/>
                  <a:gdLst>
                    <a:gd name="connsiteX0" fmla="*/ 164981 w 194503"/>
                    <a:gd name="connsiteY0" fmla="*/ 144401 h 144400"/>
                    <a:gd name="connsiteX1" fmla="*/ 162332 w 194503"/>
                    <a:gd name="connsiteY1" fmla="*/ 143691 h 144400"/>
                    <a:gd name="connsiteX2" fmla="*/ 2682 w 194503"/>
                    <a:gd name="connsiteY2" fmla="*/ 52014 h 144400"/>
                    <a:gd name="connsiteX3" fmla="*/ 716 w 194503"/>
                    <a:gd name="connsiteY3" fmla="*/ 44750 h 144400"/>
                    <a:gd name="connsiteX4" fmla="*/ 24885 w 194503"/>
                    <a:gd name="connsiteY4" fmla="*/ 2666 h 144400"/>
                    <a:gd name="connsiteX5" fmla="*/ 28107 w 194503"/>
                    <a:gd name="connsiteY5" fmla="*/ 181 h 144400"/>
                    <a:gd name="connsiteX6" fmla="*/ 32149 w 194503"/>
                    <a:gd name="connsiteY6" fmla="*/ 700 h 144400"/>
                    <a:gd name="connsiteX7" fmla="*/ 191825 w 194503"/>
                    <a:gd name="connsiteY7" fmla="*/ 92377 h 144400"/>
                    <a:gd name="connsiteX8" fmla="*/ 194311 w 194503"/>
                    <a:gd name="connsiteY8" fmla="*/ 95599 h 144400"/>
                    <a:gd name="connsiteX9" fmla="*/ 193792 w 194503"/>
                    <a:gd name="connsiteY9" fmla="*/ 99641 h 144400"/>
                    <a:gd name="connsiteX10" fmla="*/ 169623 w 194503"/>
                    <a:gd name="connsiteY10" fmla="*/ 141697 h 144400"/>
                    <a:gd name="connsiteX11" fmla="*/ 164981 w 194503"/>
                    <a:gd name="connsiteY11" fmla="*/ 144401 h 144400"/>
                    <a:gd name="connsiteX12" fmla="*/ 12596 w 194503"/>
                    <a:gd name="connsiteY12" fmla="*/ 45432 h 144400"/>
                    <a:gd name="connsiteX13" fmla="*/ 163014 w 194503"/>
                    <a:gd name="connsiteY13" fmla="*/ 131811 h 144400"/>
                    <a:gd name="connsiteX14" fmla="*/ 181858 w 194503"/>
                    <a:gd name="connsiteY14" fmla="*/ 98986 h 144400"/>
                    <a:gd name="connsiteX15" fmla="*/ 31439 w 194503"/>
                    <a:gd name="connsiteY15" fmla="*/ 12607 h 144400"/>
                    <a:gd name="connsiteX16" fmla="*/ 12596 w 194503"/>
                    <a:gd name="connsiteY16" fmla="*/ 45432 h 14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4503" h="144400">
                      <a:moveTo>
                        <a:pt x="164981" y="144401"/>
                      </a:moveTo>
                      <a:cubicBezTo>
                        <a:pt x="164079" y="144401"/>
                        <a:pt x="163178" y="144182"/>
                        <a:pt x="162332" y="143691"/>
                      </a:cubicBezTo>
                      <a:lnTo>
                        <a:pt x="2682" y="52014"/>
                      </a:lnTo>
                      <a:cubicBezTo>
                        <a:pt x="115" y="50539"/>
                        <a:pt x="-758" y="47289"/>
                        <a:pt x="716" y="44750"/>
                      </a:cubicBezTo>
                      <a:lnTo>
                        <a:pt x="24885" y="2666"/>
                      </a:lnTo>
                      <a:cubicBezTo>
                        <a:pt x="25595" y="1437"/>
                        <a:pt x="26742" y="536"/>
                        <a:pt x="28107" y="181"/>
                      </a:cubicBezTo>
                      <a:cubicBezTo>
                        <a:pt x="29473" y="-174"/>
                        <a:pt x="30920" y="-10"/>
                        <a:pt x="32149" y="700"/>
                      </a:cubicBezTo>
                      <a:lnTo>
                        <a:pt x="191825" y="92377"/>
                      </a:lnTo>
                      <a:cubicBezTo>
                        <a:pt x="193054" y="93087"/>
                        <a:pt x="193956" y="94234"/>
                        <a:pt x="194311" y="95599"/>
                      </a:cubicBezTo>
                      <a:cubicBezTo>
                        <a:pt x="194693" y="96965"/>
                        <a:pt x="194502" y="98412"/>
                        <a:pt x="193792" y="99641"/>
                      </a:cubicBezTo>
                      <a:lnTo>
                        <a:pt x="169623" y="141697"/>
                      </a:lnTo>
                      <a:cubicBezTo>
                        <a:pt x="168613" y="143445"/>
                        <a:pt x="166810" y="144401"/>
                        <a:pt x="164981" y="144401"/>
                      </a:cubicBezTo>
                      <a:close/>
                      <a:moveTo>
                        <a:pt x="12596" y="45432"/>
                      </a:moveTo>
                      <a:lnTo>
                        <a:pt x="163014" y="131811"/>
                      </a:lnTo>
                      <a:lnTo>
                        <a:pt x="181858" y="98986"/>
                      </a:lnTo>
                      <a:lnTo>
                        <a:pt x="31439" y="12607"/>
                      </a:lnTo>
                      <a:lnTo>
                        <a:pt x="12596" y="45432"/>
                      </a:lnTo>
                      <a:close/>
                    </a:path>
                  </a:pathLst>
                </a:custGeom>
                <a:grpFill/>
                <a:ln w="2724" cap="flat">
                  <a:noFill/>
                  <a:prstDash val="solid"/>
                  <a:miter/>
                </a:ln>
              </p:spPr>
              <p:txBody>
                <a:bodyPr rtlCol="0" anchor="ctr"/>
                <a:lstStyle/>
                <a:p>
                  <a:endParaRPr lang="en-GB" dirty="0"/>
                </a:p>
              </p:txBody>
            </p:sp>
          </p:grpSp>
          <p:sp>
            <p:nvSpPr>
              <p:cNvPr id="69" name="Freihandform: Form 769">
                <a:extLst>
                  <a:ext uri="{FF2B5EF4-FFF2-40B4-BE49-F238E27FC236}">
                    <a16:creationId xmlns:a16="http://schemas.microsoft.com/office/drawing/2014/main" id="{EB42D791-1164-4E42-9F8A-C5FCD9FC8889}"/>
                  </a:ext>
                </a:extLst>
              </p:cNvPr>
              <p:cNvSpPr/>
              <p:nvPr/>
            </p:nvSpPr>
            <p:spPr>
              <a:xfrm>
                <a:off x="7100762" y="1928174"/>
                <a:ext cx="58914" cy="100983"/>
              </a:xfrm>
              <a:custGeom>
                <a:avLst/>
                <a:gdLst>
                  <a:gd name="connsiteX0" fmla="*/ 5332 w 58914"/>
                  <a:gd name="connsiteY0" fmla="*/ 100983 h 100983"/>
                  <a:gd name="connsiteX1" fmla="*/ 2574 w 58914"/>
                  <a:gd name="connsiteY1" fmla="*/ 100219 h 100983"/>
                  <a:gd name="connsiteX2" fmla="*/ 771 w 58914"/>
                  <a:gd name="connsiteY2" fmla="*/ 92900 h 100983"/>
                  <a:gd name="connsiteX3" fmla="*/ 18904 w 58914"/>
                  <a:gd name="connsiteY3" fmla="*/ 53356 h 100983"/>
                  <a:gd name="connsiteX4" fmla="*/ 49272 w 58914"/>
                  <a:gd name="connsiteY4" fmla="*/ 2206 h 100983"/>
                  <a:gd name="connsiteX5" fmla="*/ 56700 w 58914"/>
                  <a:gd name="connsiteY5" fmla="*/ 1005 h 100983"/>
                  <a:gd name="connsiteX6" fmla="*/ 57902 w 58914"/>
                  <a:gd name="connsiteY6" fmla="*/ 8433 h 100983"/>
                  <a:gd name="connsiteX7" fmla="*/ 29309 w 58914"/>
                  <a:gd name="connsiteY7" fmla="*/ 55623 h 100983"/>
                  <a:gd name="connsiteX8" fmla="*/ 9893 w 58914"/>
                  <a:gd name="connsiteY8" fmla="*/ 98416 h 100983"/>
                  <a:gd name="connsiteX9" fmla="*/ 5332 w 58914"/>
                  <a:gd name="connsiteY9" fmla="*/ 100983 h 100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8914" h="100983">
                    <a:moveTo>
                      <a:pt x="5332" y="100983"/>
                    </a:moveTo>
                    <a:cubicBezTo>
                      <a:pt x="4403" y="100983"/>
                      <a:pt x="3447" y="100738"/>
                      <a:pt x="2574" y="100219"/>
                    </a:cubicBezTo>
                    <a:cubicBezTo>
                      <a:pt x="61" y="98689"/>
                      <a:pt x="-758" y="95412"/>
                      <a:pt x="771" y="92900"/>
                    </a:cubicBezTo>
                    <a:cubicBezTo>
                      <a:pt x="10493" y="76815"/>
                      <a:pt x="16774" y="63160"/>
                      <a:pt x="18904" y="53356"/>
                    </a:cubicBezTo>
                    <a:cubicBezTo>
                      <a:pt x="20761" y="44836"/>
                      <a:pt x="30975" y="27631"/>
                      <a:pt x="49272" y="2206"/>
                    </a:cubicBezTo>
                    <a:cubicBezTo>
                      <a:pt x="50993" y="-170"/>
                      <a:pt x="54324" y="-716"/>
                      <a:pt x="56700" y="1005"/>
                    </a:cubicBezTo>
                    <a:cubicBezTo>
                      <a:pt x="59103" y="2725"/>
                      <a:pt x="59622" y="6057"/>
                      <a:pt x="57902" y="8433"/>
                    </a:cubicBezTo>
                    <a:cubicBezTo>
                      <a:pt x="34198" y="41368"/>
                      <a:pt x="30019" y="52400"/>
                      <a:pt x="29309" y="55623"/>
                    </a:cubicBezTo>
                    <a:cubicBezTo>
                      <a:pt x="26906" y="66710"/>
                      <a:pt x="20352" y="81102"/>
                      <a:pt x="9893" y="98416"/>
                    </a:cubicBezTo>
                    <a:cubicBezTo>
                      <a:pt x="8882" y="100055"/>
                      <a:pt x="7134" y="100983"/>
                      <a:pt x="5332" y="100983"/>
                    </a:cubicBezTo>
                    <a:close/>
                  </a:path>
                </a:pathLst>
              </a:custGeom>
              <a:grpFill/>
              <a:ln w="2724" cap="flat">
                <a:noFill/>
                <a:prstDash val="solid"/>
                <a:miter/>
              </a:ln>
            </p:spPr>
            <p:txBody>
              <a:bodyPr rtlCol="0" anchor="ctr"/>
              <a:lstStyle/>
              <a:p>
                <a:endParaRPr lang="en-GB" dirty="0"/>
              </a:p>
            </p:txBody>
          </p:sp>
          <p:sp>
            <p:nvSpPr>
              <p:cNvPr id="70" name="Freihandform: Form 771">
                <a:extLst>
                  <a:ext uri="{FF2B5EF4-FFF2-40B4-BE49-F238E27FC236}">
                    <a16:creationId xmlns:a16="http://schemas.microsoft.com/office/drawing/2014/main" id="{E3571CAF-8C45-48A8-AAC3-807DD220ED73}"/>
                  </a:ext>
                </a:extLst>
              </p:cNvPr>
              <p:cNvSpPr/>
              <p:nvPr/>
            </p:nvSpPr>
            <p:spPr>
              <a:xfrm>
                <a:off x="7219666" y="1776199"/>
                <a:ext cx="161279" cy="323115"/>
              </a:xfrm>
              <a:custGeom>
                <a:avLst/>
                <a:gdLst>
                  <a:gd name="connsiteX0" fmla="*/ 5332 w 161279"/>
                  <a:gd name="connsiteY0" fmla="*/ 323115 h 323115"/>
                  <a:gd name="connsiteX1" fmla="*/ 2574 w 161279"/>
                  <a:gd name="connsiteY1" fmla="*/ 322351 h 323115"/>
                  <a:gd name="connsiteX2" fmla="*/ 771 w 161279"/>
                  <a:gd name="connsiteY2" fmla="*/ 315032 h 323115"/>
                  <a:gd name="connsiteX3" fmla="*/ 18850 w 161279"/>
                  <a:gd name="connsiteY3" fmla="*/ 287341 h 323115"/>
                  <a:gd name="connsiteX4" fmla="*/ 118064 w 161279"/>
                  <a:gd name="connsiteY4" fmla="*/ 227615 h 323115"/>
                  <a:gd name="connsiteX5" fmla="*/ 130462 w 161279"/>
                  <a:gd name="connsiteY5" fmla="*/ 222290 h 323115"/>
                  <a:gd name="connsiteX6" fmla="*/ 139010 w 161279"/>
                  <a:gd name="connsiteY6" fmla="*/ 199132 h 323115"/>
                  <a:gd name="connsiteX7" fmla="*/ 144745 w 161279"/>
                  <a:gd name="connsiteY7" fmla="*/ 177339 h 323115"/>
                  <a:gd name="connsiteX8" fmla="*/ 145537 w 161279"/>
                  <a:gd name="connsiteY8" fmla="*/ 145470 h 323115"/>
                  <a:gd name="connsiteX9" fmla="*/ 144308 w 161279"/>
                  <a:gd name="connsiteY9" fmla="*/ 137332 h 323115"/>
                  <a:gd name="connsiteX10" fmla="*/ 144800 w 161279"/>
                  <a:gd name="connsiteY10" fmla="*/ 134928 h 323115"/>
                  <a:gd name="connsiteX11" fmla="*/ 135869 w 161279"/>
                  <a:gd name="connsiteY11" fmla="*/ 72117 h 323115"/>
                  <a:gd name="connsiteX12" fmla="*/ 134477 w 161279"/>
                  <a:gd name="connsiteY12" fmla="*/ 67557 h 323115"/>
                  <a:gd name="connsiteX13" fmla="*/ 126420 w 161279"/>
                  <a:gd name="connsiteY13" fmla="*/ 22551 h 323115"/>
                  <a:gd name="connsiteX14" fmla="*/ 91820 w 161279"/>
                  <a:gd name="connsiteY14" fmla="*/ 10754 h 323115"/>
                  <a:gd name="connsiteX15" fmla="*/ 86003 w 161279"/>
                  <a:gd name="connsiteY15" fmla="*/ 5975 h 323115"/>
                  <a:gd name="connsiteX16" fmla="*/ 90782 w 161279"/>
                  <a:gd name="connsiteY16" fmla="*/ 158 h 323115"/>
                  <a:gd name="connsiteX17" fmla="*/ 134258 w 161279"/>
                  <a:gd name="connsiteY17" fmla="*/ 15314 h 323115"/>
                  <a:gd name="connsiteX18" fmla="*/ 145400 w 161279"/>
                  <a:gd name="connsiteY18" fmla="*/ 66847 h 323115"/>
                  <a:gd name="connsiteX19" fmla="*/ 155068 w 161279"/>
                  <a:gd name="connsiteY19" fmla="*/ 138069 h 323115"/>
                  <a:gd name="connsiteX20" fmla="*/ 156024 w 161279"/>
                  <a:gd name="connsiteY20" fmla="*/ 143558 h 323115"/>
                  <a:gd name="connsiteX21" fmla="*/ 151190 w 161279"/>
                  <a:gd name="connsiteY21" fmla="*/ 185860 h 323115"/>
                  <a:gd name="connsiteX22" fmla="*/ 149661 w 161279"/>
                  <a:gd name="connsiteY22" fmla="*/ 198477 h 323115"/>
                  <a:gd name="connsiteX23" fmla="*/ 135214 w 161279"/>
                  <a:gd name="connsiteY23" fmla="*/ 231876 h 323115"/>
                  <a:gd name="connsiteX24" fmla="*/ 122160 w 161279"/>
                  <a:gd name="connsiteY24" fmla="*/ 237501 h 323115"/>
                  <a:gd name="connsiteX25" fmla="*/ 27070 w 161279"/>
                  <a:gd name="connsiteY25" fmla="*/ 294195 h 323115"/>
                  <a:gd name="connsiteX26" fmla="*/ 9920 w 161279"/>
                  <a:gd name="connsiteY26" fmla="*/ 320603 h 323115"/>
                  <a:gd name="connsiteX27" fmla="*/ 5332 w 161279"/>
                  <a:gd name="connsiteY27" fmla="*/ 323115 h 323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61279" h="323115">
                    <a:moveTo>
                      <a:pt x="5332" y="323115"/>
                    </a:moveTo>
                    <a:cubicBezTo>
                      <a:pt x="4403" y="323115"/>
                      <a:pt x="3448" y="322870"/>
                      <a:pt x="2574" y="322351"/>
                    </a:cubicBezTo>
                    <a:cubicBezTo>
                      <a:pt x="61" y="320821"/>
                      <a:pt x="-758" y="317544"/>
                      <a:pt x="771" y="315032"/>
                    </a:cubicBezTo>
                    <a:cubicBezTo>
                      <a:pt x="8746" y="301842"/>
                      <a:pt x="14044" y="293103"/>
                      <a:pt x="18850" y="287341"/>
                    </a:cubicBezTo>
                    <a:cubicBezTo>
                      <a:pt x="42445" y="258912"/>
                      <a:pt x="91629" y="238566"/>
                      <a:pt x="118064" y="227615"/>
                    </a:cubicBezTo>
                    <a:cubicBezTo>
                      <a:pt x="123608" y="225321"/>
                      <a:pt x="127950" y="223546"/>
                      <a:pt x="130462" y="222290"/>
                    </a:cubicBezTo>
                    <a:cubicBezTo>
                      <a:pt x="139529" y="217784"/>
                      <a:pt x="139747" y="210547"/>
                      <a:pt x="139010" y="199132"/>
                    </a:cubicBezTo>
                    <a:cubicBezTo>
                      <a:pt x="138491" y="191322"/>
                      <a:pt x="137945" y="182501"/>
                      <a:pt x="144745" y="177339"/>
                    </a:cubicBezTo>
                    <a:cubicBezTo>
                      <a:pt x="150616" y="172888"/>
                      <a:pt x="147066" y="153690"/>
                      <a:pt x="145537" y="145470"/>
                    </a:cubicBezTo>
                    <a:cubicBezTo>
                      <a:pt x="144854" y="141838"/>
                      <a:pt x="144390" y="139243"/>
                      <a:pt x="144308" y="137332"/>
                    </a:cubicBezTo>
                    <a:cubicBezTo>
                      <a:pt x="144281" y="136512"/>
                      <a:pt x="144445" y="135693"/>
                      <a:pt x="144800" y="134928"/>
                    </a:cubicBezTo>
                    <a:cubicBezTo>
                      <a:pt x="160366" y="100628"/>
                      <a:pt x="140102" y="76596"/>
                      <a:pt x="135869" y="72117"/>
                    </a:cubicBezTo>
                    <a:cubicBezTo>
                      <a:pt x="134723" y="70888"/>
                      <a:pt x="134204" y="69195"/>
                      <a:pt x="134477" y="67557"/>
                    </a:cubicBezTo>
                    <a:cubicBezTo>
                      <a:pt x="138027" y="47239"/>
                      <a:pt x="135296" y="32109"/>
                      <a:pt x="126420" y="22551"/>
                    </a:cubicBezTo>
                    <a:cubicBezTo>
                      <a:pt x="113640" y="8787"/>
                      <a:pt x="92038" y="10726"/>
                      <a:pt x="91820" y="10754"/>
                    </a:cubicBezTo>
                    <a:cubicBezTo>
                      <a:pt x="88952" y="11054"/>
                      <a:pt x="86276" y="8897"/>
                      <a:pt x="86003" y="5975"/>
                    </a:cubicBezTo>
                    <a:cubicBezTo>
                      <a:pt x="85703" y="3053"/>
                      <a:pt x="87860" y="431"/>
                      <a:pt x="90782" y="158"/>
                    </a:cubicBezTo>
                    <a:cubicBezTo>
                      <a:pt x="91874" y="49"/>
                      <a:pt x="117900" y="-2273"/>
                      <a:pt x="134258" y="15314"/>
                    </a:cubicBezTo>
                    <a:cubicBezTo>
                      <a:pt x="145100" y="27003"/>
                      <a:pt x="148841" y="44344"/>
                      <a:pt x="145400" y="66847"/>
                    </a:cubicBezTo>
                    <a:cubicBezTo>
                      <a:pt x="152610" y="75367"/>
                      <a:pt x="170770" y="101884"/>
                      <a:pt x="155068" y="138069"/>
                    </a:cubicBezTo>
                    <a:cubicBezTo>
                      <a:pt x="155259" y="139434"/>
                      <a:pt x="155641" y="141510"/>
                      <a:pt x="156024" y="143558"/>
                    </a:cubicBezTo>
                    <a:cubicBezTo>
                      <a:pt x="158509" y="157049"/>
                      <a:pt x="162305" y="177421"/>
                      <a:pt x="151190" y="185860"/>
                    </a:cubicBezTo>
                    <a:cubicBezTo>
                      <a:pt x="148950" y="187553"/>
                      <a:pt x="149278" y="192878"/>
                      <a:pt x="149661" y="198477"/>
                    </a:cubicBezTo>
                    <a:cubicBezTo>
                      <a:pt x="150343" y="209209"/>
                      <a:pt x="151299" y="223901"/>
                      <a:pt x="135214" y="231876"/>
                    </a:cubicBezTo>
                    <a:cubicBezTo>
                      <a:pt x="132456" y="233241"/>
                      <a:pt x="127922" y="235125"/>
                      <a:pt x="122160" y="237501"/>
                    </a:cubicBezTo>
                    <a:cubicBezTo>
                      <a:pt x="98401" y="247333"/>
                      <a:pt x="48972" y="267787"/>
                      <a:pt x="27070" y="294195"/>
                    </a:cubicBezTo>
                    <a:cubicBezTo>
                      <a:pt x="22782" y="299357"/>
                      <a:pt x="17648" y="307795"/>
                      <a:pt x="9920" y="320603"/>
                    </a:cubicBezTo>
                    <a:cubicBezTo>
                      <a:pt x="8909" y="322187"/>
                      <a:pt x="7134" y="323115"/>
                      <a:pt x="5332" y="323115"/>
                    </a:cubicBezTo>
                    <a:close/>
                  </a:path>
                </a:pathLst>
              </a:custGeom>
              <a:grpFill/>
              <a:ln w="2724" cap="flat">
                <a:noFill/>
                <a:prstDash val="solid"/>
                <a:miter/>
              </a:ln>
            </p:spPr>
            <p:txBody>
              <a:bodyPr rtlCol="0" anchor="ctr"/>
              <a:lstStyle/>
              <a:p>
                <a:endParaRPr lang="en-GB" dirty="0"/>
              </a:p>
            </p:txBody>
          </p:sp>
          <p:sp>
            <p:nvSpPr>
              <p:cNvPr id="71" name="Freihandform: Form 773">
                <a:extLst>
                  <a:ext uri="{FF2B5EF4-FFF2-40B4-BE49-F238E27FC236}">
                    <a16:creationId xmlns:a16="http://schemas.microsoft.com/office/drawing/2014/main" id="{2B232744-7C0B-444A-BDA9-3562E7513B34}"/>
                  </a:ext>
                </a:extLst>
              </p:cNvPr>
              <p:cNvSpPr/>
              <p:nvPr/>
            </p:nvSpPr>
            <p:spPr>
              <a:xfrm>
                <a:off x="7230350" y="1626758"/>
                <a:ext cx="10650" cy="81736"/>
              </a:xfrm>
              <a:custGeom>
                <a:avLst/>
                <a:gdLst>
                  <a:gd name="connsiteX0" fmla="*/ 5325 w 10650"/>
                  <a:gd name="connsiteY0" fmla="*/ 81736 h 81736"/>
                  <a:gd name="connsiteX1" fmla="*/ 0 w 10650"/>
                  <a:gd name="connsiteY1" fmla="*/ 76411 h 81736"/>
                  <a:gd name="connsiteX2" fmla="*/ 0 w 10650"/>
                  <a:gd name="connsiteY2" fmla="*/ 5325 h 81736"/>
                  <a:gd name="connsiteX3" fmla="*/ 5325 w 10650"/>
                  <a:gd name="connsiteY3" fmla="*/ 0 h 81736"/>
                  <a:gd name="connsiteX4" fmla="*/ 10651 w 10650"/>
                  <a:gd name="connsiteY4" fmla="*/ 5325 h 81736"/>
                  <a:gd name="connsiteX5" fmla="*/ 10651 w 10650"/>
                  <a:gd name="connsiteY5" fmla="*/ 76384 h 81736"/>
                  <a:gd name="connsiteX6" fmla="*/ 5325 w 10650"/>
                  <a:gd name="connsiteY6" fmla="*/ 81736 h 81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50" h="81736">
                    <a:moveTo>
                      <a:pt x="5325" y="81736"/>
                    </a:moveTo>
                    <a:cubicBezTo>
                      <a:pt x="2376" y="81736"/>
                      <a:pt x="0" y="79360"/>
                      <a:pt x="0" y="76411"/>
                    </a:cubicBezTo>
                    <a:lnTo>
                      <a:pt x="0" y="5325"/>
                    </a:lnTo>
                    <a:cubicBezTo>
                      <a:pt x="0" y="2376"/>
                      <a:pt x="2376" y="0"/>
                      <a:pt x="5325" y="0"/>
                    </a:cubicBezTo>
                    <a:cubicBezTo>
                      <a:pt x="8275" y="0"/>
                      <a:pt x="10651" y="2376"/>
                      <a:pt x="10651" y="5325"/>
                    </a:cubicBezTo>
                    <a:lnTo>
                      <a:pt x="10651" y="76384"/>
                    </a:lnTo>
                    <a:cubicBezTo>
                      <a:pt x="10651" y="79333"/>
                      <a:pt x="8275" y="81736"/>
                      <a:pt x="5325" y="81736"/>
                    </a:cubicBezTo>
                    <a:close/>
                  </a:path>
                </a:pathLst>
              </a:custGeom>
              <a:grpFill/>
              <a:ln w="2724" cap="flat">
                <a:noFill/>
                <a:prstDash val="solid"/>
                <a:miter/>
              </a:ln>
            </p:spPr>
            <p:txBody>
              <a:bodyPr rtlCol="0" anchor="ctr"/>
              <a:lstStyle/>
              <a:p>
                <a:endParaRPr lang="en-GB" dirty="0"/>
              </a:p>
            </p:txBody>
          </p:sp>
          <p:sp>
            <p:nvSpPr>
              <p:cNvPr id="72" name="Freihandform: Form 774">
                <a:extLst>
                  <a:ext uri="{FF2B5EF4-FFF2-40B4-BE49-F238E27FC236}">
                    <a16:creationId xmlns:a16="http://schemas.microsoft.com/office/drawing/2014/main" id="{5D396833-2FA6-46FA-ABD5-35349F8B2208}"/>
                  </a:ext>
                </a:extLst>
              </p:cNvPr>
              <p:cNvSpPr/>
              <p:nvPr/>
            </p:nvSpPr>
            <p:spPr>
              <a:xfrm>
                <a:off x="7031376" y="1676515"/>
                <a:ext cx="60899" cy="60899"/>
              </a:xfrm>
              <a:custGeom>
                <a:avLst/>
                <a:gdLst>
                  <a:gd name="connsiteX0" fmla="*/ 55574 w 60899"/>
                  <a:gd name="connsiteY0" fmla="*/ 60899 h 60899"/>
                  <a:gd name="connsiteX1" fmla="*/ 51805 w 60899"/>
                  <a:gd name="connsiteY1" fmla="*/ 59343 h 60899"/>
                  <a:gd name="connsiteX2" fmla="*/ 1557 w 60899"/>
                  <a:gd name="connsiteY2" fmla="*/ 9094 h 60899"/>
                  <a:gd name="connsiteX3" fmla="*/ 1557 w 60899"/>
                  <a:gd name="connsiteY3" fmla="*/ 1557 h 60899"/>
                  <a:gd name="connsiteX4" fmla="*/ 9094 w 60899"/>
                  <a:gd name="connsiteY4" fmla="*/ 1557 h 60899"/>
                  <a:gd name="connsiteX5" fmla="*/ 59343 w 60899"/>
                  <a:gd name="connsiteY5" fmla="*/ 51805 h 60899"/>
                  <a:gd name="connsiteX6" fmla="*/ 59343 w 60899"/>
                  <a:gd name="connsiteY6" fmla="*/ 59343 h 60899"/>
                  <a:gd name="connsiteX7" fmla="*/ 55574 w 60899"/>
                  <a:gd name="connsiteY7" fmla="*/ 60899 h 6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99" h="60899">
                    <a:moveTo>
                      <a:pt x="55574" y="60899"/>
                    </a:moveTo>
                    <a:cubicBezTo>
                      <a:pt x="54209" y="60899"/>
                      <a:pt x="52843" y="60380"/>
                      <a:pt x="51805" y="59343"/>
                    </a:cubicBezTo>
                    <a:lnTo>
                      <a:pt x="1557" y="9094"/>
                    </a:lnTo>
                    <a:cubicBezTo>
                      <a:pt x="-519" y="7018"/>
                      <a:pt x="-519" y="3632"/>
                      <a:pt x="1557" y="1557"/>
                    </a:cubicBezTo>
                    <a:cubicBezTo>
                      <a:pt x="3632" y="-519"/>
                      <a:pt x="7018" y="-519"/>
                      <a:pt x="9094" y="1557"/>
                    </a:cubicBezTo>
                    <a:lnTo>
                      <a:pt x="59343" y="51805"/>
                    </a:lnTo>
                    <a:cubicBezTo>
                      <a:pt x="61418" y="53881"/>
                      <a:pt x="61418" y="57267"/>
                      <a:pt x="59343" y="59343"/>
                    </a:cubicBezTo>
                    <a:cubicBezTo>
                      <a:pt x="58278" y="60380"/>
                      <a:pt x="56940" y="60899"/>
                      <a:pt x="55574" y="60899"/>
                    </a:cubicBezTo>
                    <a:close/>
                  </a:path>
                </a:pathLst>
              </a:custGeom>
              <a:grpFill/>
              <a:ln w="2724" cap="flat">
                <a:noFill/>
                <a:prstDash val="solid"/>
                <a:miter/>
              </a:ln>
            </p:spPr>
            <p:txBody>
              <a:bodyPr rtlCol="0" anchor="ctr"/>
              <a:lstStyle/>
              <a:p>
                <a:endParaRPr lang="en-GB" dirty="0"/>
              </a:p>
            </p:txBody>
          </p:sp>
          <p:sp>
            <p:nvSpPr>
              <p:cNvPr id="73" name="Freihandform: Form 775">
                <a:extLst>
                  <a:ext uri="{FF2B5EF4-FFF2-40B4-BE49-F238E27FC236}">
                    <a16:creationId xmlns:a16="http://schemas.microsoft.com/office/drawing/2014/main" id="{1C955B20-FAC6-48A0-86CE-AB24E6A7624D}"/>
                  </a:ext>
                </a:extLst>
              </p:cNvPr>
              <p:cNvSpPr/>
              <p:nvPr/>
            </p:nvSpPr>
            <p:spPr>
              <a:xfrm>
                <a:off x="7379076" y="1676515"/>
                <a:ext cx="60899" cy="60899"/>
              </a:xfrm>
              <a:custGeom>
                <a:avLst/>
                <a:gdLst>
                  <a:gd name="connsiteX0" fmla="*/ 5325 w 60899"/>
                  <a:gd name="connsiteY0" fmla="*/ 60899 h 60899"/>
                  <a:gd name="connsiteX1" fmla="*/ 1557 w 60899"/>
                  <a:gd name="connsiteY1" fmla="*/ 59343 h 60899"/>
                  <a:gd name="connsiteX2" fmla="*/ 1557 w 60899"/>
                  <a:gd name="connsiteY2" fmla="*/ 51805 h 60899"/>
                  <a:gd name="connsiteX3" fmla="*/ 51805 w 60899"/>
                  <a:gd name="connsiteY3" fmla="*/ 1557 h 60899"/>
                  <a:gd name="connsiteX4" fmla="*/ 59343 w 60899"/>
                  <a:gd name="connsiteY4" fmla="*/ 1557 h 60899"/>
                  <a:gd name="connsiteX5" fmla="*/ 59343 w 60899"/>
                  <a:gd name="connsiteY5" fmla="*/ 9094 h 60899"/>
                  <a:gd name="connsiteX6" fmla="*/ 9094 w 60899"/>
                  <a:gd name="connsiteY6" fmla="*/ 59343 h 60899"/>
                  <a:gd name="connsiteX7" fmla="*/ 5325 w 60899"/>
                  <a:gd name="connsiteY7" fmla="*/ 60899 h 60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99" h="60899">
                    <a:moveTo>
                      <a:pt x="5325" y="60899"/>
                    </a:moveTo>
                    <a:cubicBezTo>
                      <a:pt x="3960" y="60899"/>
                      <a:pt x="2594" y="60380"/>
                      <a:pt x="1557" y="59343"/>
                    </a:cubicBezTo>
                    <a:cubicBezTo>
                      <a:pt x="-519" y="57267"/>
                      <a:pt x="-519" y="53881"/>
                      <a:pt x="1557" y="51805"/>
                    </a:cubicBezTo>
                    <a:lnTo>
                      <a:pt x="51805" y="1557"/>
                    </a:lnTo>
                    <a:cubicBezTo>
                      <a:pt x="53881" y="-519"/>
                      <a:pt x="57267" y="-519"/>
                      <a:pt x="59343" y="1557"/>
                    </a:cubicBezTo>
                    <a:cubicBezTo>
                      <a:pt x="61418" y="3632"/>
                      <a:pt x="61418" y="7018"/>
                      <a:pt x="59343" y="9094"/>
                    </a:cubicBezTo>
                    <a:lnTo>
                      <a:pt x="9094" y="59343"/>
                    </a:lnTo>
                    <a:cubicBezTo>
                      <a:pt x="8056" y="60380"/>
                      <a:pt x="6691" y="60899"/>
                      <a:pt x="5325" y="60899"/>
                    </a:cubicBezTo>
                    <a:close/>
                  </a:path>
                </a:pathLst>
              </a:custGeom>
              <a:grpFill/>
              <a:ln w="2724" cap="flat">
                <a:noFill/>
                <a:prstDash val="solid"/>
                <a:miter/>
              </a:ln>
            </p:spPr>
            <p:txBody>
              <a:bodyPr rtlCol="0" anchor="ctr"/>
              <a:lstStyle/>
              <a:p>
                <a:endParaRPr lang="en-GB" dirty="0"/>
              </a:p>
            </p:txBody>
          </p:sp>
        </p:grpSp>
        <p:grpSp>
          <p:nvGrpSpPr>
            <p:cNvPr id="53" name="Group 52">
              <a:extLst>
                <a:ext uri="{FF2B5EF4-FFF2-40B4-BE49-F238E27FC236}">
                  <a16:creationId xmlns:a16="http://schemas.microsoft.com/office/drawing/2014/main" id="{24D1069F-7C99-43F5-B5FE-58960D7BED72}"/>
                </a:ext>
              </a:extLst>
            </p:cNvPr>
            <p:cNvGrpSpPr/>
            <p:nvPr/>
          </p:nvGrpSpPr>
          <p:grpSpPr>
            <a:xfrm>
              <a:off x="699787" y="1673701"/>
              <a:ext cx="163809" cy="167443"/>
              <a:chOff x="7075774" y="1757351"/>
              <a:chExt cx="243867" cy="249276"/>
            </a:xfrm>
          </p:grpSpPr>
          <p:sp>
            <p:nvSpPr>
              <p:cNvPr id="54" name="Freihandform: Form 750">
                <a:extLst>
                  <a:ext uri="{FF2B5EF4-FFF2-40B4-BE49-F238E27FC236}">
                    <a16:creationId xmlns:a16="http://schemas.microsoft.com/office/drawing/2014/main" id="{CCE7E9AA-5982-49A2-AE3C-A615B1AD0CD8}"/>
                  </a:ext>
                </a:extLst>
              </p:cNvPr>
              <p:cNvSpPr/>
              <p:nvPr/>
            </p:nvSpPr>
            <p:spPr>
              <a:xfrm>
                <a:off x="7179650" y="1800119"/>
                <a:ext cx="135157" cy="65347"/>
              </a:xfrm>
              <a:custGeom>
                <a:avLst/>
                <a:gdLst>
                  <a:gd name="connsiteX0" fmla="*/ 111790 w 135157"/>
                  <a:gd name="connsiteY0" fmla="*/ 65347 h 65347"/>
                  <a:gd name="connsiteX1" fmla="*/ 90571 w 135157"/>
                  <a:gd name="connsiteY1" fmla="*/ 55024 h 65347"/>
                  <a:gd name="connsiteX2" fmla="*/ 87513 w 135157"/>
                  <a:gd name="connsiteY2" fmla="*/ 52758 h 65347"/>
                  <a:gd name="connsiteX3" fmla="*/ 36909 w 135157"/>
                  <a:gd name="connsiteY3" fmla="*/ 17775 h 65347"/>
                  <a:gd name="connsiteX4" fmla="*/ 4193 w 135157"/>
                  <a:gd name="connsiteY4" fmla="*/ 10565 h 65347"/>
                  <a:gd name="connsiteX5" fmla="*/ 124 w 135157"/>
                  <a:gd name="connsiteY5" fmla="*/ 4202 h 65347"/>
                  <a:gd name="connsiteX6" fmla="*/ 6486 w 135157"/>
                  <a:gd name="connsiteY6" fmla="*/ 133 h 65347"/>
                  <a:gd name="connsiteX7" fmla="*/ 40186 w 135157"/>
                  <a:gd name="connsiteY7" fmla="*/ 7561 h 65347"/>
                  <a:gd name="connsiteX8" fmla="*/ 41988 w 135157"/>
                  <a:gd name="connsiteY8" fmla="*/ 8326 h 65347"/>
                  <a:gd name="connsiteX9" fmla="*/ 93794 w 135157"/>
                  <a:gd name="connsiteY9" fmla="*/ 44128 h 65347"/>
                  <a:gd name="connsiteX10" fmla="*/ 96934 w 135157"/>
                  <a:gd name="connsiteY10" fmla="*/ 46422 h 65347"/>
                  <a:gd name="connsiteX11" fmla="*/ 111982 w 135157"/>
                  <a:gd name="connsiteY11" fmla="*/ 54642 h 65347"/>
                  <a:gd name="connsiteX12" fmla="*/ 121786 w 135157"/>
                  <a:gd name="connsiteY12" fmla="*/ 49972 h 65347"/>
                  <a:gd name="connsiteX13" fmla="*/ 124462 w 135157"/>
                  <a:gd name="connsiteY13" fmla="*/ 43036 h 65347"/>
                  <a:gd name="connsiteX14" fmla="*/ 111900 w 135157"/>
                  <a:gd name="connsiteY14" fmla="*/ 17502 h 65347"/>
                  <a:gd name="connsiteX15" fmla="*/ 112337 w 135157"/>
                  <a:gd name="connsiteY15" fmla="*/ 9992 h 65347"/>
                  <a:gd name="connsiteX16" fmla="*/ 119874 w 135157"/>
                  <a:gd name="connsiteY16" fmla="*/ 10429 h 65347"/>
                  <a:gd name="connsiteX17" fmla="*/ 135058 w 135157"/>
                  <a:gd name="connsiteY17" fmla="*/ 41889 h 65347"/>
                  <a:gd name="connsiteX18" fmla="*/ 129842 w 135157"/>
                  <a:gd name="connsiteY18" fmla="*/ 56991 h 65347"/>
                  <a:gd name="connsiteX19" fmla="*/ 112337 w 135157"/>
                  <a:gd name="connsiteY19" fmla="*/ 65320 h 65347"/>
                  <a:gd name="connsiteX20" fmla="*/ 111790 w 135157"/>
                  <a:gd name="connsiteY20" fmla="*/ 65347 h 65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5157" h="65347">
                    <a:moveTo>
                      <a:pt x="111790" y="65347"/>
                    </a:moveTo>
                    <a:cubicBezTo>
                      <a:pt x="104472" y="65347"/>
                      <a:pt x="98027" y="60568"/>
                      <a:pt x="90571" y="55024"/>
                    </a:cubicBezTo>
                    <a:lnTo>
                      <a:pt x="87513" y="52758"/>
                    </a:lnTo>
                    <a:cubicBezTo>
                      <a:pt x="67932" y="38475"/>
                      <a:pt x="41852" y="21052"/>
                      <a:pt x="36909" y="17775"/>
                    </a:cubicBezTo>
                    <a:lnTo>
                      <a:pt x="4193" y="10565"/>
                    </a:lnTo>
                    <a:cubicBezTo>
                      <a:pt x="1325" y="9937"/>
                      <a:pt x="-505" y="7097"/>
                      <a:pt x="124" y="4202"/>
                    </a:cubicBezTo>
                    <a:cubicBezTo>
                      <a:pt x="752" y="1307"/>
                      <a:pt x="3646" y="-522"/>
                      <a:pt x="6486" y="133"/>
                    </a:cubicBezTo>
                    <a:lnTo>
                      <a:pt x="40186" y="7561"/>
                    </a:lnTo>
                    <a:cubicBezTo>
                      <a:pt x="40841" y="7698"/>
                      <a:pt x="41442" y="7971"/>
                      <a:pt x="41988" y="8326"/>
                    </a:cubicBezTo>
                    <a:cubicBezTo>
                      <a:pt x="42289" y="8517"/>
                      <a:pt x="72028" y="28234"/>
                      <a:pt x="93794" y="44128"/>
                    </a:cubicBezTo>
                    <a:lnTo>
                      <a:pt x="96934" y="46422"/>
                    </a:lnTo>
                    <a:cubicBezTo>
                      <a:pt x="102697" y="50710"/>
                      <a:pt x="108049" y="54642"/>
                      <a:pt x="111982" y="54642"/>
                    </a:cubicBezTo>
                    <a:cubicBezTo>
                      <a:pt x="115723" y="54533"/>
                      <a:pt x="119300" y="52812"/>
                      <a:pt x="121786" y="49972"/>
                    </a:cubicBezTo>
                    <a:cubicBezTo>
                      <a:pt x="123697" y="47788"/>
                      <a:pt x="124680" y="45193"/>
                      <a:pt x="124462" y="43036"/>
                    </a:cubicBezTo>
                    <a:cubicBezTo>
                      <a:pt x="123506" y="34379"/>
                      <a:pt x="119273" y="25776"/>
                      <a:pt x="111900" y="17502"/>
                    </a:cubicBezTo>
                    <a:cubicBezTo>
                      <a:pt x="109933" y="15317"/>
                      <a:pt x="110152" y="11931"/>
                      <a:pt x="112337" y="9992"/>
                    </a:cubicBezTo>
                    <a:cubicBezTo>
                      <a:pt x="114521" y="8025"/>
                      <a:pt x="117908" y="8217"/>
                      <a:pt x="119874" y="10429"/>
                    </a:cubicBezTo>
                    <a:cubicBezTo>
                      <a:pt x="128749" y="20396"/>
                      <a:pt x="133856" y="30992"/>
                      <a:pt x="135058" y="41889"/>
                    </a:cubicBezTo>
                    <a:cubicBezTo>
                      <a:pt x="135631" y="47023"/>
                      <a:pt x="133720" y="52512"/>
                      <a:pt x="129842" y="56991"/>
                    </a:cubicBezTo>
                    <a:cubicBezTo>
                      <a:pt x="125418" y="62070"/>
                      <a:pt x="119055" y="65101"/>
                      <a:pt x="112337" y="65320"/>
                    </a:cubicBezTo>
                    <a:cubicBezTo>
                      <a:pt x="112118" y="65347"/>
                      <a:pt x="111954" y="65347"/>
                      <a:pt x="111790" y="65347"/>
                    </a:cubicBezTo>
                    <a:close/>
                  </a:path>
                </a:pathLst>
              </a:custGeom>
              <a:solidFill>
                <a:schemeClr val="accent1"/>
              </a:solidFill>
              <a:ln w="2724" cap="flat">
                <a:noFill/>
                <a:prstDash val="solid"/>
                <a:miter/>
              </a:ln>
            </p:spPr>
            <p:txBody>
              <a:bodyPr rtlCol="0" anchor="ctr"/>
              <a:lstStyle/>
              <a:p>
                <a:endParaRPr lang="en-GB" dirty="0"/>
              </a:p>
            </p:txBody>
          </p:sp>
          <p:sp>
            <p:nvSpPr>
              <p:cNvPr id="55" name="Freihandform: Form 751">
                <a:extLst>
                  <a:ext uri="{FF2B5EF4-FFF2-40B4-BE49-F238E27FC236}">
                    <a16:creationId xmlns:a16="http://schemas.microsoft.com/office/drawing/2014/main" id="{23ADEDCE-B93F-4A2A-A7DB-10A44C3D3FFB}"/>
                  </a:ext>
                </a:extLst>
              </p:cNvPr>
              <p:cNvSpPr/>
              <p:nvPr/>
            </p:nvSpPr>
            <p:spPr>
              <a:xfrm>
                <a:off x="7075774" y="1757351"/>
                <a:ext cx="178790" cy="249276"/>
              </a:xfrm>
              <a:custGeom>
                <a:avLst/>
                <a:gdLst>
                  <a:gd name="connsiteX0" fmla="*/ 41571 w 178790"/>
                  <a:gd name="connsiteY0" fmla="*/ 249276 h 249276"/>
                  <a:gd name="connsiteX1" fmla="*/ 36437 w 178790"/>
                  <a:gd name="connsiteY1" fmla="*/ 245343 h 249276"/>
                  <a:gd name="connsiteX2" fmla="*/ 24585 w 178790"/>
                  <a:gd name="connsiteY2" fmla="*/ 192637 h 249276"/>
                  <a:gd name="connsiteX3" fmla="*/ 1591 w 178790"/>
                  <a:gd name="connsiteY3" fmla="*/ 161805 h 249276"/>
                  <a:gd name="connsiteX4" fmla="*/ 14590 w 178790"/>
                  <a:gd name="connsiteY4" fmla="*/ 114533 h 249276"/>
                  <a:gd name="connsiteX5" fmla="*/ 14890 w 178790"/>
                  <a:gd name="connsiteY5" fmla="*/ 101124 h 249276"/>
                  <a:gd name="connsiteX6" fmla="*/ 31467 w 178790"/>
                  <a:gd name="connsiteY6" fmla="*/ 72886 h 249276"/>
                  <a:gd name="connsiteX7" fmla="*/ 33106 w 178790"/>
                  <a:gd name="connsiteY7" fmla="*/ 55409 h 249276"/>
                  <a:gd name="connsiteX8" fmla="*/ 51512 w 178790"/>
                  <a:gd name="connsiteY8" fmla="*/ 36210 h 249276"/>
                  <a:gd name="connsiteX9" fmla="*/ 62463 w 178790"/>
                  <a:gd name="connsiteY9" fmla="*/ 9939 h 249276"/>
                  <a:gd name="connsiteX10" fmla="*/ 90919 w 178790"/>
                  <a:gd name="connsiteY10" fmla="*/ 26 h 249276"/>
                  <a:gd name="connsiteX11" fmla="*/ 91929 w 178790"/>
                  <a:gd name="connsiteY11" fmla="*/ 26 h 249276"/>
                  <a:gd name="connsiteX12" fmla="*/ 175659 w 178790"/>
                  <a:gd name="connsiteY12" fmla="*/ 19852 h 249276"/>
                  <a:gd name="connsiteX13" fmla="*/ 178308 w 178790"/>
                  <a:gd name="connsiteY13" fmla="*/ 26898 h 249276"/>
                  <a:gd name="connsiteX14" fmla="*/ 171263 w 178790"/>
                  <a:gd name="connsiteY14" fmla="*/ 29547 h 249276"/>
                  <a:gd name="connsiteX15" fmla="*/ 90782 w 178790"/>
                  <a:gd name="connsiteY15" fmla="*/ 10676 h 249276"/>
                  <a:gd name="connsiteX16" fmla="*/ 70000 w 178790"/>
                  <a:gd name="connsiteY16" fmla="*/ 17476 h 249276"/>
                  <a:gd name="connsiteX17" fmla="*/ 62026 w 178790"/>
                  <a:gd name="connsiteY17" fmla="*/ 40716 h 249276"/>
                  <a:gd name="connsiteX18" fmla="*/ 60469 w 178790"/>
                  <a:gd name="connsiteY18" fmla="*/ 44676 h 249276"/>
                  <a:gd name="connsiteX19" fmla="*/ 56510 w 178790"/>
                  <a:gd name="connsiteY19" fmla="*/ 46233 h 249276"/>
                  <a:gd name="connsiteX20" fmla="*/ 56291 w 178790"/>
                  <a:gd name="connsiteY20" fmla="*/ 46233 h 249276"/>
                  <a:gd name="connsiteX21" fmla="*/ 43019 w 178790"/>
                  <a:gd name="connsiteY21" fmla="*/ 59341 h 249276"/>
                  <a:gd name="connsiteX22" fmla="*/ 42418 w 178790"/>
                  <a:gd name="connsiteY22" fmla="*/ 71221 h 249276"/>
                  <a:gd name="connsiteX23" fmla="*/ 44002 w 178790"/>
                  <a:gd name="connsiteY23" fmla="*/ 76874 h 249276"/>
                  <a:gd name="connsiteX24" fmla="*/ 39414 w 178790"/>
                  <a:gd name="connsiteY24" fmla="*/ 80560 h 249276"/>
                  <a:gd name="connsiteX25" fmla="*/ 29965 w 178790"/>
                  <a:gd name="connsiteY25" fmla="*/ 91730 h 249276"/>
                  <a:gd name="connsiteX26" fmla="*/ 24640 w 178790"/>
                  <a:gd name="connsiteY26" fmla="*/ 111119 h 249276"/>
                  <a:gd name="connsiteX27" fmla="*/ 26825 w 178790"/>
                  <a:gd name="connsiteY27" fmla="*/ 114888 h 249276"/>
                  <a:gd name="connsiteX28" fmla="*/ 25049 w 178790"/>
                  <a:gd name="connsiteY28" fmla="*/ 119039 h 249276"/>
                  <a:gd name="connsiteX29" fmla="*/ 11859 w 178790"/>
                  <a:gd name="connsiteY29" fmla="*/ 159156 h 249276"/>
                  <a:gd name="connsiteX30" fmla="*/ 31112 w 178790"/>
                  <a:gd name="connsiteY30" fmla="*/ 183871 h 249276"/>
                  <a:gd name="connsiteX31" fmla="*/ 35045 w 178790"/>
                  <a:gd name="connsiteY31" fmla="*/ 189469 h 249276"/>
                  <a:gd name="connsiteX32" fmla="*/ 46678 w 178790"/>
                  <a:gd name="connsiteY32" fmla="*/ 242585 h 249276"/>
                  <a:gd name="connsiteX33" fmla="*/ 42937 w 178790"/>
                  <a:gd name="connsiteY33" fmla="*/ 249139 h 249276"/>
                  <a:gd name="connsiteX34" fmla="*/ 41571 w 178790"/>
                  <a:gd name="connsiteY34" fmla="*/ 249276 h 249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78790" h="249276">
                    <a:moveTo>
                      <a:pt x="41571" y="249276"/>
                    </a:moveTo>
                    <a:cubicBezTo>
                      <a:pt x="39223" y="249276"/>
                      <a:pt x="37093" y="247719"/>
                      <a:pt x="36437" y="245343"/>
                    </a:cubicBezTo>
                    <a:cubicBezTo>
                      <a:pt x="34526" y="238380"/>
                      <a:pt x="25896" y="206319"/>
                      <a:pt x="24585" y="192637"/>
                    </a:cubicBezTo>
                    <a:cubicBezTo>
                      <a:pt x="15628" y="188213"/>
                      <a:pt x="5469" y="176579"/>
                      <a:pt x="1591" y="161805"/>
                    </a:cubicBezTo>
                    <a:cubicBezTo>
                      <a:pt x="-2751" y="145201"/>
                      <a:pt x="1864" y="128570"/>
                      <a:pt x="14590" y="114533"/>
                    </a:cubicBezTo>
                    <a:cubicBezTo>
                      <a:pt x="13552" y="111556"/>
                      <a:pt x="13334" y="107296"/>
                      <a:pt x="14890" y="101124"/>
                    </a:cubicBezTo>
                    <a:cubicBezTo>
                      <a:pt x="16939" y="92959"/>
                      <a:pt x="23302" y="78976"/>
                      <a:pt x="31467" y="72886"/>
                    </a:cubicBezTo>
                    <a:cubicBezTo>
                      <a:pt x="30020" y="68107"/>
                      <a:pt x="30539" y="61935"/>
                      <a:pt x="33106" y="55409"/>
                    </a:cubicBezTo>
                    <a:cubicBezTo>
                      <a:pt x="36437" y="46970"/>
                      <a:pt x="43128" y="38586"/>
                      <a:pt x="51512" y="36210"/>
                    </a:cubicBezTo>
                    <a:cubicBezTo>
                      <a:pt x="52031" y="29601"/>
                      <a:pt x="54161" y="18268"/>
                      <a:pt x="62463" y="9939"/>
                    </a:cubicBezTo>
                    <a:cubicBezTo>
                      <a:pt x="69399" y="3002"/>
                      <a:pt x="78930" y="-329"/>
                      <a:pt x="90919" y="26"/>
                    </a:cubicBezTo>
                    <a:cubicBezTo>
                      <a:pt x="91247" y="26"/>
                      <a:pt x="91602" y="26"/>
                      <a:pt x="91929" y="26"/>
                    </a:cubicBezTo>
                    <a:cubicBezTo>
                      <a:pt x="111892" y="26"/>
                      <a:pt x="145319" y="6088"/>
                      <a:pt x="175659" y="19852"/>
                    </a:cubicBezTo>
                    <a:cubicBezTo>
                      <a:pt x="178336" y="21054"/>
                      <a:pt x="179537" y="24222"/>
                      <a:pt x="178308" y="26898"/>
                    </a:cubicBezTo>
                    <a:cubicBezTo>
                      <a:pt x="177079" y="29574"/>
                      <a:pt x="173939" y="30748"/>
                      <a:pt x="171263" y="29547"/>
                    </a:cubicBezTo>
                    <a:cubicBezTo>
                      <a:pt x="141878" y="16247"/>
                      <a:pt x="109708" y="10622"/>
                      <a:pt x="90782" y="10676"/>
                    </a:cubicBezTo>
                    <a:cubicBezTo>
                      <a:pt x="81771" y="10430"/>
                      <a:pt x="74752" y="12697"/>
                      <a:pt x="70000" y="17476"/>
                    </a:cubicBezTo>
                    <a:cubicBezTo>
                      <a:pt x="61753" y="25778"/>
                      <a:pt x="61971" y="39214"/>
                      <a:pt x="62026" y="40716"/>
                    </a:cubicBezTo>
                    <a:cubicBezTo>
                      <a:pt x="62081" y="42191"/>
                      <a:pt x="61507" y="43638"/>
                      <a:pt x="60469" y="44676"/>
                    </a:cubicBezTo>
                    <a:cubicBezTo>
                      <a:pt x="59432" y="45714"/>
                      <a:pt x="58012" y="46287"/>
                      <a:pt x="56510" y="46233"/>
                    </a:cubicBezTo>
                    <a:cubicBezTo>
                      <a:pt x="56428" y="46233"/>
                      <a:pt x="56373" y="46233"/>
                      <a:pt x="56291" y="46233"/>
                    </a:cubicBezTo>
                    <a:cubicBezTo>
                      <a:pt x="51648" y="46233"/>
                      <a:pt x="45996" y="51804"/>
                      <a:pt x="43019" y="59341"/>
                    </a:cubicBezTo>
                    <a:cubicBezTo>
                      <a:pt x="40725" y="65131"/>
                      <a:pt x="40916" y="69937"/>
                      <a:pt x="42418" y="71221"/>
                    </a:cubicBezTo>
                    <a:cubicBezTo>
                      <a:pt x="44029" y="72613"/>
                      <a:pt x="44657" y="74853"/>
                      <a:pt x="44002" y="76874"/>
                    </a:cubicBezTo>
                    <a:cubicBezTo>
                      <a:pt x="43347" y="78922"/>
                      <a:pt x="41544" y="80369"/>
                      <a:pt x="39414" y="80560"/>
                    </a:cubicBezTo>
                    <a:cubicBezTo>
                      <a:pt x="38267" y="80669"/>
                      <a:pt x="34307" y="83619"/>
                      <a:pt x="29965" y="91730"/>
                    </a:cubicBezTo>
                    <a:cubicBezTo>
                      <a:pt x="24804" y="101342"/>
                      <a:pt x="23766" y="109453"/>
                      <a:pt x="24640" y="111119"/>
                    </a:cubicBezTo>
                    <a:cubicBezTo>
                      <a:pt x="26005" y="112020"/>
                      <a:pt x="26688" y="113277"/>
                      <a:pt x="26825" y="114888"/>
                    </a:cubicBezTo>
                    <a:cubicBezTo>
                      <a:pt x="26988" y="116499"/>
                      <a:pt x="26224" y="117892"/>
                      <a:pt x="25049" y="119039"/>
                    </a:cubicBezTo>
                    <a:cubicBezTo>
                      <a:pt x="9456" y="134250"/>
                      <a:pt x="9265" y="149243"/>
                      <a:pt x="11859" y="159156"/>
                    </a:cubicBezTo>
                    <a:cubicBezTo>
                      <a:pt x="15409" y="172701"/>
                      <a:pt x="25486" y="182369"/>
                      <a:pt x="31112" y="183871"/>
                    </a:cubicBezTo>
                    <a:cubicBezTo>
                      <a:pt x="33597" y="184526"/>
                      <a:pt x="35263" y="186902"/>
                      <a:pt x="35045" y="189469"/>
                    </a:cubicBezTo>
                    <a:cubicBezTo>
                      <a:pt x="34553" y="195040"/>
                      <a:pt x="41571" y="223879"/>
                      <a:pt x="46678" y="242585"/>
                    </a:cubicBezTo>
                    <a:cubicBezTo>
                      <a:pt x="47443" y="245425"/>
                      <a:pt x="45777" y="248347"/>
                      <a:pt x="42937" y="249139"/>
                    </a:cubicBezTo>
                    <a:cubicBezTo>
                      <a:pt x="42500" y="249221"/>
                      <a:pt x="42036" y="249276"/>
                      <a:pt x="41571" y="249276"/>
                    </a:cubicBezTo>
                    <a:close/>
                  </a:path>
                </a:pathLst>
              </a:custGeom>
              <a:solidFill>
                <a:schemeClr val="accent1"/>
              </a:solidFill>
              <a:ln w="2724" cap="flat">
                <a:noFill/>
                <a:prstDash val="solid"/>
                <a:miter/>
              </a:ln>
            </p:spPr>
            <p:txBody>
              <a:bodyPr rtlCol="0" anchor="ctr"/>
              <a:lstStyle/>
              <a:p>
                <a:endParaRPr lang="en-GB" dirty="0"/>
              </a:p>
            </p:txBody>
          </p:sp>
          <p:sp>
            <p:nvSpPr>
              <p:cNvPr id="56" name="Freihandform: Form 752">
                <a:extLst>
                  <a:ext uri="{FF2B5EF4-FFF2-40B4-BE49-F238E27FC236}">
                    <a16:creationId xmlns:a16="http://schemas.microsoft.com/office/drawing/2014/main" id="{C2C43220-0C79-453F-881A-9D9B6D387A37}"/>
                  </a:ext>
                </a:extLst>
              </p:cNvPr>
              <p:cNvSpPr/>
              <p:nvPr/>
            </p:nvSpPr>
            <p:spPr>
              <a:xfrm>
                <a:off x="7155855" y="1838922"/>
                <a:ext cx="155780" cy="71440"/>
              </a:xfrm>
              <a:custGeom>
                <a:avLst/>
                <a:gdLst>
                  <a:gd name="connsiteX0" fmla="*/ 132199 w 155780"/>
                  <a:gd name="connsiteY0" fmla="*/ 71441 h 71440"/>
                  <a:gd name="connsiteX1" fmla="*/ 121877 w 155780"/>
                  <a:gd name="connsiteY1" fmla="*/ 68601 h 71440"/>
                  <a:gd name="connsiteX2" fmla="*/ 71682 w 155780"/>
                  <a:gd name="connsiteY2" fmla="*/ 35120 h 71440"/>
                  <a:gd name="connsiteX3" fmla="*/ 70863 w 155780"/>
                  <a:gd name="connsiteY3" fmla="*/ 34383 h 71440"/>
                  <a:gd name="connsiteX4" fmla="*/ 4830 w 155780"/>
                  <a:gd name="connsiteY4" fmla="*/ 10651 h 71440"/>
                  <a:gd name="connsiteX5" fmla="*/ 23 w 155780"/>
                  <a:gd name="connsiteY5" fmla="*/ 4834 h 71440"/>
                  <a:gd name="connsiteX6" fmla="*/ 5840 w 155780"/>
                  <a:gd name="connsiteY6" fmla="*/ 28 h 71440"/>
                  <a:gd name="connsiteX7" fmla="*/ 78346 w 155780"/>
                  <a:gd name="connsiteY7" fmla="*/ 26791 h 71440"/>
                  <a:gd name="connsiteX8" fmla="*/ 127120 w 155780"/>
                  <a:gd name="connsiteY8" fmla="*/ 59316 h 71440"/>
                  <a:gd name="connsiteX9" fmla="*/ 141566 w 155780"/>
                  <a:gd name="connsiteY9" fmla="*/ 56175 h 71440"/>
                  <a:gd name="connsiteX10" fmla="*/ 132664 w 155780"/>
                  <a:gd name="connsiteY10" fmla="*/ 30423 h 71440"/>
                  <a:gd name="connsiteX11" fmla="*/ 116988 w 155780"/>
                  <a:gd name="connsiteY11" fmla="*/ 17997 h 71440"/>
                  <a:gd name="connsiteX12" fmla="*/ 116196 w 155780"/>
                  <a:gd name="connsiteY12" fmla="*/ 17424 h 71440"/>
                  <a:gd name="connsiteX13" fmla="*/ 115022 w 155780"/>
                  <a:gd name="connsiteY13" fmla="*/ 9968 h 71440"/>
                  <a:gd name="connsiteX14" fmla="*/ 122477 w 155780"/>
                  <a:gd name="connsiteY14" fmla="*/ 8767 h 71440"/>
                  <a:gd name="connsiteX15" fmla="*/ 123269 w 155780"/>
                  <a:gd name="connsiteY15" fmla="*/ 9340 h 71440"/>
                  <a:gd name="connsiteX16" fmla="*/ 141321 w 155780"/>
                  <a:gd name="connsiteY16" fmla="*/ 24169 h 71440"/>
                  <a:gd name="connsiteX17" fmla="*/ 149595 w 155780"/>
                  <a:gd name="connsiteY17" fmla="*/ 63194 h 71440"/>
                  <a:gd name="connsiteX18" fmla="*/ 132199 w 155780"/>
                  <a:gd name="connsiteY18" fmla="*/ 71441 h 7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5780" h="71440">
                    <a:moveTo>
                      <a:pt x="132199" y="71441"/>
                    </a:moveTo>
                    <a:cubicBezTo>
                      <a:pt x="128950" y="71441"/>
                      <a:pt x="125454" y="70622"/>
                      <a:pt x="121877" y="68601"/>
                    </a:cubicBezTo>
                    <a:cubicBezTo>
                      <a:pt x="110516" y="62156"/>
                      <a:pt x="93612" y="50905"/>
                      <a:pt x="71682" y="35120"/>
                    </a:cubicBezTo>
                    <a:cubicBezTo>
                      <a:pt x="71382" y="34901"/>
                      <a:pt x="71109" y="34656"/>
                      <a:pt x="70863" y="34383"/>
                    </a:cubicBezTo>
                    <a:cubicBezTo>
                      <a:pt x="53740" y="15539"/>
                      <a:pt x="5321" y="10678"/>
                      <a:pt x="4830" y="10651"/>
                    </a:cubicBezTo>
                    <a:cubicBezTo>
                      <a:pt x="1908" y="10378"/>
                      <a:pt x="-250" y="7756"/>
                      <a:pt x="23" y="4834"/>
                    </a:cubicBezTo>
                    <a:cubicBezTo>
                      <a:pt x="296" y="1912"/>
                      <a:pt x="2891" y="-273"/>
                      <a:pt x="5840" y="28"/>
                    </a:cubicBezTo>
                    <a:cubicBezTo>
                      <a:pt x="7970" y="219"/>
                      <a:pt x="58164" y="5244"/>
                      <a:pt x="78346" y="26791"/>
                    </a:cubicBezTo>
                    <a:cubicBezTo>
                      <a:pt x="105000" y="45934"/>
                      <a:pt x="119555" y="55056"/>
                      <a:pt x="127120" y="59316"/>
                    </a:cubicBezTo>
                    <a:cubicBezTo>
                      <a:pt x="134685" y="63576"/>
                      <a:pt x="140856" y="56940"/>
                      <a:pt x="141566" y="56175"/>
                    </a:cubicBezTo>
                    <a:cubicBezTo>
                      <a:pt x="146864" y="50058"/>
                      <a:pt x="146864" y="50058"/>
                      <a:pt x="132664" y="30423"/>
                    </a:cubicBezTo>
                    <a:cubicBezTo>
                      <a:pt x="131899" y="29358"/>
                      <a:pt x="128540" y="26354"/>
                      <a:pt x="116988" y="17997"/>
                    </a:cubicBezTo>
                    <a:lnTo>
                      <a:pt x="116196" y="17424"/>
                    </a:lnTo>
                    <a:cubicBezTo>
                      <a:pt x="113820" y="15703"/>
                      <a:pt x="113274" y="12371"/>
                      <a:pt x="115022" y="9968"/>
                    </a:cubicBezTo>
                    <a:cubicBezTo>
                      <a:pt x="116742" y="7592"/>
                      <a:pt x="120101" y="7046"/>
                      <a:pt x="122477" y="8767"/>
                    </a:cubicBezTo>
                    <a:lnTo>
                      <a:pt x="123269" y="9340"/>
                    </a:lnTo>
                    <a:cubicBezTo>
                      <a:pt x="132500" y="16003"/>
                      <a:pt x="139081" y="21083"/>
                      <a:pt x="141321" y="24169"/>
                    </a:cubicBezTo>
                    <a:cubicBezTo>
                      <a:pt x="157133" y="46016"/>
                      <a:pt x="160109" y="51068"/>
                      <a:pt x="149595" y="63194"/>
                    </a:cubicBezTo>
                    <a:cubicBezTo>
                      <a:pt x="146318" y="66908"/>
                      <a:pt x="139901" y="71441"/>
                      <a:pt x="132199" y="71441"/>
                    </a:cubicBezTo>
                    <a:close/>
                  </a:path>
                </a:pathLst>
              </a:custGeom>
              <a:solidFill>
                <a:schemeClr val="accent1"/>
              </a:solidFill>
              <a:ln w="2724" cap="flat">
                <a:noFill/>
                <a:prstDash val="solid"/>
                <a:miter/>
              </a:ln>
            </p:spPr>
            <p:txBody>
              <a:bodyPr rtlCol="0" anchor="ctr"/>
              <a:lstStyle/>
              <a:p>
                <a:endParaRPr lang="en-GB" dirty="0"/>
              </a:p>
            </p:txBody>
          </p:sp>
          <p:sp>
            <p:nvSpPr>
              <p:cNvPr id="57" name="Freihandform: Form 753">
                <a:extLst>
                  <a:ext uri="{FF2B5EF4-FFF2-40B4-BE49-F238E27FC236}">
                    <a16:creationId xmlns:a16="http://schemas.microsoft.com/office/drawing/2014/main" id="{BF3A13C2-3249-474C-B5C7-B894ED85412E}"/>
                  </a:ext>
                </a:extLst>
              </p:cNvPr>
              <p:cNvSpPr/>
              <p:nvPr/>
            </p:nvSpPr>
            <p:spPr>
              <a:xfrm>
                <a:off x="7135969" y="1877909"/>
                <a:ext cx="157157" cy="65607"/>
              </a:xfrm>
              <a:custGeom>
                <a:avLst/>
                <a:gdLst>
                  <a:gd name="connsiteX0" fmla="*/ 135481 w 157157"/>
                  <a:gd name="connsiteY0" fmla="*/ 65607 h 65607"/>
                  <a:gd name="connsiteX1" fmla="*/ 77176 w 157157"/>
                  <a:gd name="connsiteY1" fmla="*/ 33710 h 65607"/>
                  <a:gd name="connsiteX2" fmla="*/ 76630 w 157157"/>
                  <a:gd name="connsiteY2" fmla="*/ 33246 h 65607"/>
                  <a:gd name="connsiteX3" fmla="*/ 4807 w 157157"/>
                  <a:gd name="connsiteY3" fmla="*/ 10634 h 65607"/>
                  <a:gd name="connsiteX4" fmla="*/ 28 w 157157"/>
                  <a:gd name="connsiteY4" fmla="*/ 4790 h 65607"/>
                  <a:gd name="connsiteX5" fmla="*/ 5872 w 157157"/>
                  <a:gd name="connsiteY5" fmla="*/ 38 h 65607"/>
                  <a:gd name="connsiteX6" fmla="*/ 84085 w 157157"/>
                  <a:gd name="connsiteY6" fmla="*/ 25654 h 65607"/>
                  <a:gd name="connsiteX7" fmla="*/ 137284 w 157157"/>
                  <a:gd name="connsiteY7" fmla="*/ 54738 h 65607"/>
                  <a:gd name="connsiteX8" fmla="*/ 140588 w 157157"/>
                  <a:gd name="connsiteY8" fmla="*/ 51079 h 65607"/>
                  <a:gd name="connsiteX9" fmla="*/ 146487 w 157157"/>
                  <a:gd name="connsiteY9" fmla="*/ 41275 h 65607"/>
                  <a:gd name="connsiteX10" fmla="*/ 126251 w 157157"/>
                  <a:gd name="connsiteY10" fmla="*/ 19673 h 65607"/>
                  <a:gd name="connsiteX11" fmla="*/ 125022 w 157157"/>
                  <a:gd name="connsiteY11" fmla="*/ 12245 h 65607"/>
                  <a:gd name="connsiteX12" fmla="*/ 132450 w 157157"/>
                  <a:gd name="connsiteY12" fmla="*/ 11016 h 65607"/>
                  <a:gd name="connsiteX13" fmla="*/ 157083 w 157157"/>
                  <a:gd name="connsiteY13" fmla="*/ 40264 h 65607"/>
                  <a:gd name="connsiteX14" fmla="*/ 148316 w 157157"/>
                  <a:gd name="connsiteY14" fmla="*/ 58425 h 65607"/>
                  <a:gd name="connsiteX15" fmla="*/ 145067 w 157157"/>
                  <a:gd name="connsiteY15" fmla="*/ 62002 h 65607"/>
                  <a:gd name="connsiteX16" fmla="*/ 135481 w 157157"/>
                  <a:gd name="connsiteY16" fmla="*/ 65607 h 6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57157" h="65607">
                    <a:moveTo>
                      <a:pt x="135481" y="65607"/>
                    </a:moveTo>
                    <a:cubicBezTo>
                      <a:pt x="124066" y="65607"/>
                      <a:pt x="105878" y="55421"/>
                      <a:pt x="77176" y="33710"/>
                    </a:cubicBezTo>
                    <a:cubicBezTo>
                      <a:pt x="76985" y="33573"/>
                      <a:pt x="76794" y="33410"/>
                      <a:pt x="76630" y="33246"/>
                    </a:cubicBezTo>
                    <a:cubicBezTo>
                      <a:pt x="62402" y="19236"/>
                      <a:pt x="19964" y="12163"/>
                      <a:pt x="4807" y="10634"/>
                    </a:cubicBezTo>
                    <a:cubicBezTo>
                      <a:pt x="1885" y="10333"/>
                      <a:pt x="-272" y="7712"/>
                      <a:pt x="28" y="4790"/>
                    </a:cubicBezTo>
                    <a:cubicBezTo>
                      <a:pt x="328" y="1868"/>
                      <a:pt x="3005" y="-317"/>
                      <a:pt x="5872" y="38"/>
                    </a:cubicBezTo>
                    <a:cubicBezTo>
                      <a:pt x="8248" y="284"/>
                      <a:pt x="64314" y="6155"/>
                      <a:pt x="84085" y="25654"/>
                    </a:cubicBezTo>
                    <a:cubicBezTo>
                      <a:pt x="130265" y="60528"/>
                      <a:pt x="137038" y="55011"/>
                      <a:pt x="137284" y="54738"/>
                    </a:cubicBezTo>
                    <a:cubicBezTo>
                      <a:pt x="138021" y="53782"/>
                      <a:pt x="139304" y="52417"/>
                      <a:pt x="140588" y="51079"/>
                    </a:cubicBezTo>
                    <a:cubicBezTo>
                      <a:pt x="144439" y="47010"/>
                      <a:pt x="146787" y="44361"/>
                      <a:pt x="146487" y="41275"/>
                    </a:cubicBezTo>
                    <a:cubicBezTo>
                      <a:pt x="146159" y="37779"/>
                      <a:pt x="142363" y="31198"/>
                      <a:pt x="126251" y="19673"/>
                    </a:cubicBezTo>
                    <a:cubicBezTo>
                      <a:pt x="123848" y="17953"/>
                      <a:pt x="123301" y="14648"/>
                      <a:pt x="125022" y="12245"/>
                    </a:cubicBezTo>
                    <a:cubicBezTo>
                      <a:pt x="126742" y="9842"/>
                      <a:pt x="130047" y="9296"/>
                      <a:pt x="132450" y="11016"/>
                    </a:cubicBezTo>
                    <a:cubicBezTo>
                      <a:pt x="148644" y="22595"/>
                      <a:pt x="156263" y="31635"/>
                      <a:pt x="157083" y="40264"/>
                    </a:cubicBezTo>
                    <a:cubicBezTo>
                      <a:pt x="157847" y="48320"/>
                      <a:pt x="152577" y="53919"/>
                      <a:pt x="148316" y="58425"/>
                    </a:cubicBezTo>
                    <a:cubicBezTo>
                      <a:pt x="147197" y="59599"/>
                      <a:pt x="146077" y="60773"/>
                      <a:pt x="145067" y="62002"/>
                    </a:cubicBezTo>
                    <a:cubicBezTo>
                      <a:pt x="142609" y="64378"/>
                      <a:pt x="139441" y="65607"/>
                      <a:pt x="135481" y="65607"/>
                    </a:cubicBezTo>
                    <a:close/>
                  </a:path>
                </a:pathLst>
              </a:custGeom>
              <a:solidFill>
                <a:schemeClr val="accent1"/>
              </a:solidFill>
              <a:ln w="2724" cap="flat">
                <a:noFill/>
                <a:prstDash val="solid"/>
                <a:miter/>
              </a:ln>
            </p:spPr>
            <p:txBody>
              <a:bodyPr rtlCol="0" anchor="ctr"/>
              <a:lstStyle/>
              <a:p>
                <a:endParaRPr lang="en-GB" dirty="0"/>
              </a:p>
            </p:txBody>
          </p:sp>
          <p:sp>
            <p:nvSpPr>
              <p:cNvPr id="58" name="Freihandform: Form 754">
                <a:extLst>
                  <a:ext uri="{FF2B5EF4-FFF2-40B4-BE49-F238E27FC236}">
                    <a16:creationId xmlns:a16="http://schemas.microsoft.com/office/drawing/2014/main" id="{A42FBA58-9304-468A-B946-9E4E32B196EF}"/>
                  </a:ext>
                </a:extLst>
              </p:cNvPr>
              <p:cNvSpPr/>
              <p:nvPr/>
            </p:nvSpPr>
            <p:spPr>
              <a:xfrm>
                <a:off x="7148614" y="1830020"/>
                <a:ext cx="17941" cy="19580"/>
              </a:xfrm>
              <a:custGeom>
                <a:avLst/>
                <a:gdLst>
                  <a:gd name="connsiteX0" fmla="*/ 12589 w 17941"/>
                  <a:gd name="connsiteY0" fmla="*/ 19580 h 19580"/>
                  <a:gd name="connsiteX1" fmla="*/ 8465 w 17941"/>
                  <a:gd name="connsiteY1" fmla="*/ 17614 h 19580"/>
                  <a:gd name="connsiteX2" fmla="*/ 1201 w 17941"/>
                  <a:gd name="connsiteY2" fmla="*/ 8711 h 19580"/>
                  <a:gd name="connsiteX3" fmla="*/ 1966 w 17941"/>
                  <a:gd name="connsiteY3" fmla="*/ 1201 h 19580"/>
                  <a:gd name="connsiteX4" fmla="*/ 9476 w 17941"/>
                  <a:gd name="connsiteY4" fmla="*/ 1966 h 19580"/>
                  <a:gd name="connsiteX5" fmla="*/ 16740 w 17941"/>
                  <a:gd name="connsiteY5" fmla="*/ 10869 h 19580"/>
                  <a:gd name="connsiteX6" fmla="*/ 15975 w 17941"/>
                  <a:gd name="connsiteY6" fmla="*/ 18379 h 19580"/>
                  <a:gd name="connsiteX7" fmla="*/ 12589 w 17941"/>
                  <a:gd name="connsiteY7" fmla="*/ 19580 h 19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41" h="19580">
                    <a:moveTo>
                      <a:pt x="12589" y="19580"/>
                    </a:moveTo>
                    <a:cubicBezTo>
                      <a:pt x="11060" y="19580"/>
                      <a:pt x="9503" y="18897"/>
                      <a:pt x="8465" y="17614"/>
                    </a:cubicBezTo>
                    <a:lnTo>
                      <a:pt x="1201" y="8711"/>
                    </a:lnTo>
                    <a:cubicBezTo>
                      <a:pt x="-656" y="6445"/>
                      <a:pt x="-328" y="3086"/>
                      <a:pt x="1966" y="1201"/>
                    </a:cubicBezTo>
                    <a:cubicBezTo>
                      <a:pt x="4260" y="-656"/>
                      <a:pt x="7592" y="-328"/>
                      <a:pt x="9476" y="1966"/>
                    </a:cubicBezTo>
                    <a:lnTo>
                      <a:pt x="16740" y="10869"/>
                    </a:lnTo>
                    <a:cubicBezTo>
                      <a:pt x="18597" y="13135"/>
                      <a:pt x="18269" y="16494"/>
                      <a:pt x="15975" y="18379"/>
                    </a:cubicBezTo>
                    <a:cubicBezTo>
                      <a:pt x="14965" y="19198"/>
                      <a:pt x="13763" y="19580"/>
                      <a:pt x="12589" y="19580"/>
                    </a:cubicBezTo>
                    <a:close/>
                  </a:path>
                </a:pathLst>
              </a:custGeom>
              <a:solidFill>
                <a:schemeClr val="accent1"/>
              </a:solidFill>
              <a:ln w="2724" cap="flat">
                <a:noFill/>
                <a:prstDash val="solid"/>
                <a:miter/>
              </a:ln>
            </p:spPr>
            <p:txBody>
              <a:bodyPr rtlCol="0" anchor="ctr"/>
              <a:lstStyle/>
              <a:p>
                <a:endParaRPr lang="en-GB" dirty="0"/>
              </a:p>
            </p:txBody>
          </p:sp>
          <p:sp>
            <p:nvSpPr>
              <p:cNvPr id="59" name="Freihandform: Form 755">
                <a:extLst>
                  <a:ext uri="{FF2B5EF4-FFF2-40B4-BE49-F238E27FC236}">
                    <a16:creationId xmlns:a16="http://schemas.microsoft.com/office/drawing/2014/main" id="{808825FB-D688-4B6C-BED9-3ECD15B7F7B2}"/>
                  </a:ext>
                </a:extLst>
              </p:cNvPr>
              <p:cNvSpPr/>
              <p:nvPr/>
            </p:nvSpPr>
            <p:spPr>
              <a:xfrm>
                <a:off x="7171498" y="1791786"/>
                <a:ext cx="18817" cy="19035"/>
              </a:xfrm>
              <a:custGeom>
                <a:avLst/>
                <a:gdLst>
                  <a:gd name="connsiteX0" fmla="*/ 13491 w 18817"/>
                  <a:gd name="connsiteY0" fmla="*/ 19035 h 19035"/>
                  <a:gd name="connsiteX1" fmla="*/ 9668 w 18817"/>
                  <a:gd name="connsiteY1" fmla="*/ 17424 h 19035"/>
                  <a:gd name="connsiteX2" fmla="*/ 1503 w 18817"/>
                  <a:gd name="connsiteY2" fmla="*/ 9040 h 19035"/>
                  <a:gd name="connsiteX3" fmla="*/ 1612 w 18817"/>
                  <a:gd name="connsiteY3" fmla="*/ 1503 h 19035"/>
                  <a:gd name="connsiteX4" fmla="*/ 9149 w 18817"/>
                  <a:gd name="connsiteY4" fmla="*/ 1612 h 19035"/>
                  <a:gd name="connsiteX5" fmla="*/ 17315 w 18817"/>
                  <a:gd name="connsiteY5" fmla="*/ 9996 h 19035"/>
                  <a:gd name="connsiteX6" fmla="*/ 17205 w 18817"/>
                  <a:gd name="connsiteY6" fmla="*/ 17533 h 19035"/>
                  <a:gd name="connsiteX7" fmla="*/ 13491 w 18817"/>
                  <a:gd name="connsiteY7" fmla="*/ 19035 h 19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817" h="19035">
                    <a:moveTo>
                      <a:pt x="13491" y="19035"/>
                    </a:moveTo>
                    <a:cubicBezTo>
                      <a:pt x="12099" y="19035"/>
                      <a:pt x="10706" y="18489"/>
                      <a:pt x="9668" y="17424"/>
                    </a:cubicBezTo>
                    <a:lnTo>
                      <a:pt x="1503" y="9040"/>
                    </a:lnTo>
                    <a:cubicBezTo>
                      <a:pt x="-546" y="6937"/>
                      <a:pt x="-491" y="3551"/>
                      <a:pt x="1612" y="1503"/>
                    </a:cubicBezTo>
                    <a:cubicBezTo>
                      <a:pt x="3715" y="-546"/>
                      <a:pt x="7101" y="-491"/>
                      <a:pt x="9149" y="1612"/>
                    </a:cubicBezTo>
                    <a:lnTo>
                      <a:pt x="17315" y="9996"/>
                    </a:lnTo>
                    <a:cubicBezTo>
                      <a:pt x="19363" y="12099"/>
                      <a:pt x="19308" y="15485"/>
                      <a:pt x="17205" y="17533"/>
                    </a:cubicBezTo>
                    <a:cubicBezTo>
                      <a:pt x="16168" y="18516"/>
                      <a:pt x="14829" y="19035"/>
                      <a:pt x="13491" y="19035"/>
                    </a:cubicBezTo>
                    <a:close/>
                  </a:path>
                </a:pathLst>
              </a:custGeom>
              <a:solidFill>
                <a:schemeClr val="accent1"/>
              </a:solidFill>
              <a:ln w="2724" cap="flat">
                <a:noFill/>
                <a:prstDash val="solid"/>
                <a:miter/>
              </a:ln>
            </p:spPr>
            <p:txBody>
              <a:bodyPr rtlCol="0" anchor="ctr"/>
              <a:lstStyle/>
              <a:p>
                <a:endParaRPr lang="en-GB" dirty="0"/>
              </a:p>
            </p:txBody>
          </p:sp>
          <p:sp>
            <p:nvSpPr>
              <p:cNvPr id="60" name="Freihandform: Form 756">
                <a:extLst>
                  <a:ext uri="{FF2B5EF4-FFF2-40B4-BE49-F238E27FC236}">
                    <a16:creationId xmlns:a16="http://schemas.microsoft.com/office/drawing/2014/main" id="{4DF563B6-B98F-4DD7-BB1A-907CA57FA1E6}"/>
                  </a:ext>
                </a:extLst>
              </p:cNvPr>
              <p:cNvSpPr/>
              <p:nvPr/>
            </p:nvSpPr>
            <p:spPr>
              <a:xfrm>
                <a:off x="7168098" y="1800325"/>
                <a:ext cx="22341" cy="11587"/>
              </a:xfrm>
              <a:custGeom>
                <a:avLst/>
                <a:gdLst>
                  <a:gd name="connsiteX0" fmla="*/ 5313 w 22341"/>
                  <a:gd name="connsiteY0" fmla="*/ 11588 h 11587"/>
                  <a:gd name="connsiteX1" fmla="*/ 15 w 22341"/>
                  <a:gd name="connsiteY1" fmla="*/ 6672 h 11587"/>
                  <a:gd name="connsiteX2" fmla="*/ 4903 w 22341"/>
                  <a:gd name="connsiteY2" fmla="*/ 937 h 11587"/>
                  <a:gd name="connsiteX3" fmla="*/ 16592 w 22341"/>
                  <a:gd name="connsiteY3" fmla="*/ 9 h 11587"/>
                  <a:gd name="connsiteX4" fmla="*/ 22327 w 22341"/>
                  <a:gd name="connsiteY4" fmla="*/ 4897 h 11587"/>
                  <a:gd name="connsiteX5" fmla="*/ 17438 w 22341"/>
                  <a:gd name="connsiteY5" fmla="*/ 10632 h 11587"/>
                  <a:gd name="connsiteX6" fmla="*/ 5750 w 22341"/>
                  <a:gd name="connsiteY6" fmla="*/ 11561 h 11587"/>
                  <a:gd name="connsiteX7" fmla="*/ 5313 w 22341"/>
                  <a:gd name="connsiteY7" fmla="*/ 11588 h 11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41" h="11587">
                    <a:moveTo>
                      <a:pt x="5313" y="11588"/>
                    </a:moveTo>
                    <a:cubicBezTo>
                      <a:pt x="2555" y="11588"/>
                      <a:pt x="234" y="9458"/>
                      <a:pt x="15" y="6672"/>
                    </a:cubicBezTo>
                    <a:cubicBezTo>
                      <a:pt x="-203" y="3750"/>
                      <a:pt x="1981" y="1156"/>
                      <a:pt x="4903" y="937"/>
                    </a:cubicBezTo>
                    <a:lnTo>
                      <a:pt x="16592" y="9"/>
                    </a:lnTo>
                    <a:cubicBezTo>
                      <a:pt x="19459" y="-155"/>
                      <a:pt x="22108" y="1975"/>
                      <a:pt x="22327" y="4897"/>
                    </a:cubicBezTo>
                    <a:cubicBezTo>
                      <a:pt x="22545" y="7819"/>
                      <a:pt x="20360" y="10414"/>
                      <a:pt x="17438" y="10632"/>
                    </a:cubicBezTo>
                    <a:lnTo>
                      <a:pt x="5750" y="11561"/>
                    </a:lnTo>
                    <a:cubicBezTo>
                      <a:pt x="5613" y="11588"/>
                      <a:pt x="5450" y="11588"/>
                      <a:pt x="5313" y="11588"/>
                    </a:cubicBezTo>
                    <a:close/>
                  </a:path>
                </a:pathLst>
              </a:custGeom>
              <a:solidFill>
                <a:schemeClr val="accent1"/>
              </a:solidFill>
              <a:ln w="2724" cap="flat">
                <a:noFill/>
                <a:prstDash val="solid"/>
                <a:miter/>
              </a:ln>
            </p:spPr>
            <p:txBody>
              <a:bodyPr rtlCol="0" anchor="ctr"/>
              <a:lstStyle/>
              <a:p>
                <a:endParaRPr lang="en-GB" dirty="0"/>
              </a:p>
            </p:txBody>
          </p:sp>
          <p:sp>
            <p:nvSpPr>
              <p:cNvPr id="61" name="Freihandform: Form 757">
                <a:extLst>
                  <a:ext uri="{FF2B5EF4-FFF2-40B4-BE49-F238E27FC236}">
                    <a16:creationId xmlns:a16="http://schemas.microsoft.com/office/drawing/2014/main" id="{B3F11D9D-6010-412A-8BF4-7AF50944FEA0}"/>
                  </a:ext>
                </a:extLst>
              </p:cNvPr>
              <p:cNvSpPr/>
              <p:nvPr/>
            </p:nvSpPr>
            <p:spPr>
              <a:xfrm>
                <a:off x="7145127" y="1838961"/>
                <a:ext cx="22321" cy="11594"/>
              </a:xfrm>
              <a:custGeom>
                <a:avLst/>
                <a:gdLst>
                  <a:gd name="connsiteX0" fmla="*/ 5317 w 22321"/>
                  <a:gd name="connsiteY0" fmla="*/ 11594 h 11594"/>
                  <a:gd name="connsiteX1" fmla="*/ 19 w 22321"/>
                  <a:gd name="connsiteY1" fmla="*/ 6679 h 11594"/>
                  <a:gd name="connsiteX2" fmla="*/ 4907 w 22321"/>
                  <a:gd name="connsiteY2" fmla="*/ 944 h 11594"/>
                  <a:gd name="connsiteX3" fmla="*/ 16568 w 22321"/>
                  <a:gd name="connsiteY3" fmla="*/ 15 h 11594"/>
                  <a:gd name="connsiteX4" fmla="*/ 22303 w 22321"/>
                  <a:gd name="connsiteY4" fmla="*/ 4904 h 11594"/>
                  <a:gd name="connsiteX5" fmla="*/ 17415 w 22321"/>
                  <a:gd name="connsiteY5" fmla="*/ 10638 h 11594"/>
                  <a:gd name="connsiteX6" fmla="*/ 5754 w 22321"/>
                  <a:gd name="connsiteY6" fmla="*/ 11567 h 11594"/>
                  <a:gd name="connsiteX7" fmla="*/ 5317 w 22321"/>
                  <a:gd name="connsiteY7" fmla="*/ 11594 h 11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21" h="11594">
                    <a:moveTo>
                      <a:pt x="5317" y="11594"/>
                    </a:moveTo>
                    <a:cubicBezTo>
                      <a:pt x="2558" y="11594"/>
                      <a:pt x="237" y="9491"/>
                      <a:pt x="19" y="6679"/>
                    </a:cubicBezTo>
                    <a:cubicBezTo>
                      <a:pt x="-227" y="3757"/>
                      <a:pt x="1985" y="1162"/>
                      <a:pt x="4907" y="944"/>
                    </a:cubicBezTo>
                    <a:lnTo>
                      <a:pt x="16568" y="15"/>
                    </a:lnTo>
                    <a:cubicBezTo>
                      <a:pt x="19490" y="-203"/>
                      <a:pt x="22084" y="1954"/>
                      <a:pt x="22303" y="4904"/>
                    </a:cubicBezTo>
                    <a:cubicBezTo>
                      <a:pt x="22549" y="7826"/>
                      <a:pt x="20337" y="10420"/>
                      <a:pt x="17415" y="10638"/>
                    </a:cubicBezTo>
                    <a:lnTo>
                      <a:pt x="5754" y="11567"/>
                    </a:lnTo>
                    <a:cubicBezTo>
                      <a:pt x="5617" y="11594"/>
                      <a:pt x="5453" y="11594"/>
                      <a:pt x="5317" y="11594"/>
                    </a:cubicBezTo>
                    <a:close/>
                  </a:path>
                </a:pathLst>
              </a:custGeom>
              <a:solidFill>
                <a:schemeClr val="accent1"/>
              </a:solidFill>
              <a:ln w="2724" cap="flat">
                <a:noFill/>
                <a:prstDash val="solid"/>
                <a:miter/>
              </a:ln>
            </p:spPr>
            <p:txBody>
              <a:bodyPr rtlCol="0" anchor="ctr"/>
              <a:lstStyle/>
              <a:p>
                <a:endParaRPr lang="en-GB" dirty="0"/>
              </a:p>
            </p:txBody>
          </p:sp>
          <p:sp>
            <p:nvSpPr>
              <p:cNvPr id="62" name="Freihandform: Form 758">
                <a:extLst>
                  <a:ext uri="{FF2B5EF4-FFF2-40B4-BE49-F238E27FC236}">
                    <a16:creationId xmlns:a16="http://schemas.microsoft.com/office/drawing/2014/main" id="{3CA30A26-FEF4-45D5-B190-76A474B3AF8B}"/>
                  </a:ext>
                </a:extLst>
              </p:cNvPr>
              <p:cNvSpPr/>
              <p:nvPr/>
            </p:nvSpPr>
            <p:spPr>
              <a:xfrm>
                <a:off x="7129323" y="1878181"/>
                <a:ext cx="17991" cy="12027"/>
              </a:xfrm>
              <a:custGeom>
                <a:avLst/>
                <a:gdLst>
                  <a:gd name="connsiteX0" fmla="*/ 5336 w 17991"/>
                  <a:gd name="connsiteY0" fmla="*/ 12027 h 12027"/>
                  <a:gd name="connsiteX1" fmla="*/ 93 w 17991"/>
                  <a:gd name="connsiteY1" fmla="*/ 7685 h 12027"/>
                  <a:gd name="connsiteX2" fmla="*/ 4353 w 17991"/>
                  <a:gd name="connsiteY2" fmla="*/ 1459 h 12027"/>
                  <a:gd name="connsiteX3" fmla="*/ 11672 w 17991"/>
                  <a:gd name="connsiteY3" fmla="*/ 93 h 12027"/>
                  <a:gd name="connsiteX4" fmla="*/ 17899 w 17991"/>
                  <a:gd name="connsiteY4" fmla="*/ 4353 h 12027"/>
                  <a:gd name="connsiteX5" fmla="*/ 13638 w 17991"/>
                  <a:gd name="connsiteY5" fmla="*/ 10580 h 12027"/>
                  <a:gd name="connsiteX6" fmla="*/ 6320 w 17991"/>
                  <a:gd name="connsiteY6" fmla="*/ 11945 h 12027"/>
                  <a:gd name="connsiteX7" fmla="*/ 5336 w 17991"/>
                  <a:gd name="connsiteY7" fmla="*/ 12027 h 12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991" h="12027">
                    <a:moveTo>
                      <a:pt x="5336" y="12027"/>
                    </a:moveTo>
                    <a:cubicBezTo>
                      <a:pt x="2824" y="12027"/>
                      <a:pt x="585" y="10225"/>
                      <a:pt x="93" y="7685"/>
                    </a:cubicBezTo>
                    <a:cubicBezTo>
                      <a:pt x="-453" y="4790"/>
                      <a:pt x="1459" y="2005"/>
                      <a:pt x="4353" y="1459"/>
                    </a:cubicBezTo>
                    <a:lnTo>
                      <a:pt x="11672" y="93"/>
                    </a:lnTo>
                    <a:cubicBezTo>
                      <a:pt x="14567" y="-453"/>
                      <a:pt x="17353" y="1459"/>
                      <a:pt x="17899" y="4353"/>
                    </a:cubicBezTo>
                    <a:cubicBezTo>
                      <a:pt x="18445" y="7248"/>
                      <a:pt x="16533" y="10034"/>
                      <a:pt x="13638" y="10580"/>
                    </a:cubicBezTo>
                    <a:lnTo>
                      <a:pt x="6320" y="11945"/>
                    </a:lnTo>
                    <a:cubicBezTo>
                      <a:pt x="5992" y="11973"/>
                      <a:pt x="5664" y="12027"/>
                      <a:pt x="5336" y="12027"/>
                    </a:cubicBezTo>
                    <a:close/>
                  </a:path>
                </a:pathLst>
              </a:custGeom>
              <a:solidFill>
                <a:schemeClr val="accent1"/>
              </a:solidFill>
              <a:ln w="2724" cap="flat">
                <a:noFill/>
                <a:prstDash val="solid"/>
                <a:miter/>
              </a:ln>
            </p:spPr>
            <p:txBody>
              <a:bodyPr rtlCol="0" anchor="ctr"/>
              <a:lstStyle/>
              <a:p>
                <a:endParaRPr lang="en-GB" dirty="0"/>
              </a:p>
            </p:txBody>
          </p:sp>
          <p:sp>
            <p:nvSpPr>
              <p:cNvPr id="63" name="Freihandform: Form 759">
                <a:extLst>
                  <a:ext uri="{FF2B5EF4-FFF2-40B4-BE49-F238E27FC236}">
                    <a16:creationId xmlns:a16="http://schemas.microsoft.com/office/drawing/2014/main" id="{B297E4CF-4C4C-43E4-B02F-DE2608A6A7E9}"/>
                  </a:ext>
                </a:extLst>
              </p:cNvPr>
              <p:cNvSpPr/>
              <p:nvPr/>
            </p:nvSpPr>
            <p:spPr>
              <a:xfrm>
                <a:off x="7131144" y="1873558"/>
                <a:ext cx="15495" cy="14984"/>
              </a:xfrm>
              <a:custGeom>
                <a:avLst/>
                <a:gdLst>
                  <a:gd name="connsiteX0" fmla="*/ 10178 w 15495"/>
                  <a:gd name="connsiteY0" fmla="*/ 14984 h 14984"/>
                  <a:gd name="connsiteX1" fmla="*/ 6628 w 15495"/>
                  <a:gd name="connsiteY1" fmla="*/ 13646 h 14984"/>
                  <a:gd name="connsiteX2" fmla="*/ 1794 w 15495"/>
                  <a:gd name="connsiteY2" fmla="*/ 9331 h 14984"/>
                  <a:gd name="connsiteX3" fmla="*/ 1357 w 15495"/>
                  <a:gd name="connsiteY3" fmla="*/ 1794 h 14984"/>
                  <a:gd name="connsiteX4" fmla="*/ 8867 w 15495"/>
                  <a:gd name="connsiteY4" fmla="*/ 1357 h 14984"/>
                  <a:gd name="connsiteX5" fmla="*/ 13701 w 15495"/>
                  <a:gd name="connsiteY5" fmla="*/ 5672 h 14984"/>
                  <a:gd name="connsiteX6" fmla="*/ 14138 w 15495"/>
                  <a:gd name="connsiteY6" fmla="*/ 13209 h 14984"/>
                  <a:gd name="connsiteX7" fmla="*/ 10178 w 15495"/>
                  <a:gd name="connsiteY7" fmla="*/ 14984 h 14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95" h="14984">
                    <a:moveTo>
                      <a:pt x="10178" y="14984"/>
                    </a:moveTo>
                    <a:cubicBezTo>
                      <a:pt x="8922" y="14984"/>
                      <a:pt x="7638" y="14548"/>
                      <a:pt x="6628" y="13646"/>
                    </a:cubicBezTo>
                    <a:lnTo>
                      <a:pt x="1794" y="9331"/>
                    </a:lnTo>
                    <a:cubicBezTo>
                      <a:pt x="-418" y="7365"/>
                      <a:pt x="-609" y="4006"/>
                      <a:pt x="1357" y="1794"/>
                    </a:cubicBezTo>
                    <a:cubicBezTo>
                      <a:pt x="3323" y="-418"/>
                      <a:pt x="6682" y="-609"/>
                      <a:pt x="8867" y="1357"/>
                    </a:cubicBezTo>
                    <a:lnTo>
                      <a:pt x="13701" y="5672"/>
                    </a:lnTo>
                    <a:cubicBezTo>
                      <a:pt x="15913" y="7638"/>
                      <a:pt x="16104" y="10997"/>
                      <a:pt x="14138" y="13209"/>
                    </a:cubicBezTo>
                    <a:cubicBezTo>
                      <a:pt x="13128" y="14384"/>
                      <a:pt x="11653" y="14984"/>
                      <a:pt x="10178" y="14984"/>
                    </a:cubicBezTo>
                    <a:close/>
                  </a:path>
                </a:pathLst>
              </a:custGeom>
              <a:solidFill>
                <a:schemeClr val="accent1"/>
              </a:solidFill>
              <a:ln w="2724" cap="flat">
                <a:noFill/>
                <a:prstDash val="solid"/>
                <a:miter/>
              </a:ln>
            </p:spPr>
            <p:txBody>
              <a:bodyPr rtlCol="0" anchor="ctr"/>
              <a:lstStyle/>
              <a:p>
                <a:endParaRPr lang="en-GB" dirty="0"/>
              </a:p>
            </p:txBody>
          </p:sp>
          <p:sp>
            <p:nvSpPr>
              <p:cNvPr id="64" name="Freihandform: Form 770">
                <a:extLst>
                  <a:ext uri="{FF2B5EF4-FFF2-40B4-BE49-F238E27FC236}">
                    <a16:creationId xmlns:a16="http://schemas.microsoft.com/office/drawing/2014/main" id="{21851C4C-1BB9-4062-8DD9-F2E961726D98}"/>
                  </a:ext>
                </a:extLst>
              </p:cNvPr>
              <p:cNvSpPr/>
              <p:nvPr/>
            </p:nvSpPr>
            <p:spPr>
              <a:xfrm>
                <a:off x="7117687" y="1923312"/>
                <a:ext cx="141786" cy="38419"/>
              </a:xfrm>
              <a:custGeom>
                <a:avLst/>
                <a:gdLst>
                  <a:gd name="connsiteX0" fmla="*/ 117879 w 141786"/>
                  <a:gd name="connsiteY0" fmla="*/ 38419 h 38419"/>
                  <a:gd name="connsiteX1" fmla="*/ 82323 w 141786"/>
                  <a:gd name="connsiteY1" fmla="*/ 22580 h 38419"/>
                  <a:gd name="connsiteX2" fmla="*/ 40158 w 141786"/>
                  <a:gd name="connsiteY2" fmla="*/ 12667 h 38419"/>
                  <a:gd name="connsiteX3" fmla="*/ 6158 w 141786"/>
                  <a:gd name="connsiteY3" fmla="*/ 15288 h 38419"/>
                  <a:gd name="connsiteX4" fmla="*/ 68 w 141786"/>
                  <a:gd name="connsiteY4" fmla="*/ 10864 h 38419"/>
                  <a:gd name="connsiteX5" fmla="*/ 4492 w 141786"/>
                  <a:gd name="connsiteY5" fmla="*/ 4747 h 38419"/>
                  <a:gd name="connsiteX6" fmla="*/ 42697 w 141786"/>
                  <a:gd name="connsiteY6" fmla="*/ 2289 h 38419"/>
                  <a:gd name="connsiteX7" fmla="*/ 85982 w 141786"/>
                  <a:gd name="connsiteY7" fmla="*/ 12475 h 38419"/>
                  <a:gd name="connsiteX8" fmla="*/ 88304 w 141786"/>
                  <a:gd name="connsiteY8" fmla="*/ 13650 h 38419"/>
                  <a:gd name="connsiteX9" fmla="*/ 120774 w 141786"/>
                  <a:gd name="connsiteY9" fmla="*/ 27468 h 38419"/>
                  <a:gd name="connsiteX10" fmla="*/ 130687 w 141786"/>
                  <a:gd name="connsiteY10" fmla="*/ 18975 h 38419"/>
                  <a:gd name="connsiteX11" fmla="*/ 125690 w 141786"/>
                  <a:gd name="connsiteY11" fmla="*/ 9744 h 38419"/>
                  <a:gd name="connsiteX12" fmla="*/ 124270 w 141786"/>
                  <a:gd name="connsiteY12" fmla="*/ 2344 h 38419"/>
                  <a:gd name="connsiteX13" fmla="*/ 131670 w 141786"/>
                  <a:gd name="connsiteY13" fmla="*/ 924 h 38419"/>
                  <a:gd name="connsiteX14" fmla="*/ 140218 w 141786"/>
                  <a:gd name="connsiteY14" fmla="*/ 23754 h 38419"/>
                  <a:gd name="connsiteX15" fmla="*/ 122795 w 141786"/>
                  <a:gd name="connsiteY15" fmla="*/ 37927 h 38419"/>
                  <a:gd name="connsiteX16" fmla="*/ 117879 w 141786"/>
                  <a:gd name="connsiteY16" fmla="*/ 38419 h 38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1786" h="38419">
                    <a:moveTo>
                      <a:pt x="117879" y="38419"/>
                    </a:moveTo>
                    <a:cubicBezTo>
                      <a:pt x="102614" y="38419"/>
                      <a:pt x="86583" y="26103"/>
                      <a:pt x="82323" y="22580"/>
                    </a:cubicBezTo>
                    <a:cubicBezTo>
                      <a:pt x="75960" y="21105"/>
                      <a:pt x="47203" y="14387"/>
                      <a:pt x="40158" y="12667"/>
                    </a:cubicBezTo>
                    <a:cubicBezTo>
                      <a:pt x="35406" y="11492"/>
                      <a:pt x="17436" y="13486"/>
                      <a:pt x="6158" y="15288"/>
                    </a:cubicBezTo>
                    <a:cubicBezTo>
                      <a:pt x="3236" y="15752"/>
                      <a:pt x="505" y="13759"/>
                      <a:pt x="68" y="10864"/>
                    </a:cubicBezTo>
                    <a:cubicBezTo>
                      <a:pt x="-396" y="7969"/>
                      <a:pt x="1570" y="5238"/>
                      <a:pt x="4492" y="4747"/>
                    </a:cubicBezTo>
                    <a:cubicBezTo>
                      <a:pt x="9380" y="3955"/>
                      <a:pt x="34177" y="186"/>
                      <a:pt x="42697" y="2289"/>
                    </a:cubicBezTo>
                    <a:cubicBezTo>
                      <a:pt x="50617" y="4228"/>
                      <a:pt x="85982" y="12475"/>
                      <a:pt x="85982" y="12475"/>
                    </a:cubicBezTo>
                    <a:cubicBezTo>
                      <a:pt x="86829" y="12667"/>
                      <a:pt x="87621" y="13076"/>
                      <a:pt x="88304" y="13650"/>
                    </a:cubicBezTo>
                    <a:cubicBezTo>
                      <a:pt x="93547" y="18238"/>
                      <a:pt x="109550" y="29625"/>
                      <a:pt x="120774" y="27468"/>
                    </a:cubicBezTo>
                    <a:cubicBezTo>
                      <a:pt x="124980" y="26649"/>
                      <a:pt x="128230" y="23863"/>
                      <a:pt x="130687" y="18975"/>
                    </a:cubicBezTo>
                    <a:cubicBezTo>
                      <a:pt x="132790" y="14797"/>
                      <a:pt x="125772" y="9799"/>
                      <a:pt x="125690" y="9744"/>
                    </a:cubicBezTo>
                    <a:cubicBezTo>
                      <a:pt x="123259" y="8106"/>
                      <a:pt x="122604" y="4774"/>
                      <a:pt x="124270" y="2344"/>
                    </a:cubicBezTo>
                    <a:cubicBezTo>
                      <a:pt x="125908" y="-87"/>
                      <a:pt x="129213" y="-742"/>
                      <a:pt x="131670" y="924"/>
                    </a:cubicBezTo>
                    <a:cubicBezTo>
                      <a:pt x="136859" y="4419"/>
                      <a:pt x="145298" y="13704"/>
                      <a:pt x="140218" y="23754"/>
                    </a:cubicBezTo>
                    <a:cubicBezTo>
                      <a:pt x="136286" y="31592"/>
                      <a:pt x="130278" y="36480"/>
                      <a:pt x="122795" y="37927"/>
                    </a:cubicBezTo>
                    <a:cubicBezTo>
                      <a:pt x="121157" y="38255"/>
                      <a:pt x="119518" y="38419"/>
                      <a:pt x="117879" y="38419"/>
                    </a:cubicBezTo>
                    <a:close/>
                  </a:path>
                </a:pathLst>
              </a:custGeom>
              <a:solidFill>
                <a:schemeClr val="accent1"/>
              </a:solidFill>
              <a:ln w="2724" cap="flat">
                <a:noFill/>
                <a:prstDash val="solid"/>
                <a:miter/>
              </a:ln>
            </p:spPr>
            <p:txBody>
              <a:bodyPr rtlCol="0" anchor="ctr"/>
              <a:lstStyle/>
              <a:p>
                <a:endParaRPr lang="en-GB" dirty="0"/>
              </a:p>
            </p:txBody>
          </p:sp>
          <p:sp>
            <p:nvSpPr>
              <p:cNvPr id="65" name="Freihandform: Form 772">
                <a:extLst>
                  <a:ext uri="{FF2B5EF4-FFF2-40B4-BE49-F238E27FC236}">
                    <a16:creationId xmlns:a16="http://schemas.microsoft.com/office/drawing/2014/main" id="{E50CC83E-F9D6-45C5-8321-DC43F510F21D}"/>
                  </a:ext>
                </a:extLst>
              </p:cNvPr>
              <p:cNvSpPr/>
              <p:nvPr/>
            </p:nvSpPr>
            <p:spPr>
              <a:xfrm>
                <a:off x="7241428" y="1758360"/>
                <a:ext cx="78213" cy="64340"/>
              </a:xfrm>
              <a:custGeom>
                <a:avLst/>
                <a:gdLst>
                  <a:gd name="connsiteX0" fmla="*/ 42148 w 78213"/>
                  <a:gd name="connsiteY0" fmla="*/ 64340 h 64340"/>
                  <a:gd name="connsiteX1" fmla="*/ 42148 w 78213"/>
                  <a:gd name="connsiteY1" fmla="*/ 64340 h 64340"/>
                  <a:gd name="connsiteX2" fmla="*/ 2440 w 78213"/>
                  <a:gd name="connsiteY2" fmla="*/ 40964 h 64340"/>
                  <a:gd name="connsiteX3" fmla="*/ 1839 w 78213"/>
                  <a:gd name="connsiteY3" fmla="*/ 39953 h 64340"/>
                  <a:gd name="connsiteX4" fmla="*/ 32644 w 78213"/>
                  <a:gd name="connsiteY4" fmla="*/ 1802 h 64340"/>
                  <a:gd name="connsiteX5" fmla="*/ 40728 w 78213"/>
                  <a:gd name="connsiteY5" fmla="*/ 0 h 64340"/>
                  <a:gd name="connsiteX6" fmla="*/ 74973 w 78213"/>
                  <a:gd name="connsiteY6" fmla="*/ 22475 h 64340"/>
                  <a:gd name="connsiteX7" fmla="*/ 76393 w 78213"/>
                  <a:gd name="connsiteY7" fmla="*/ 40199 h 64340"/>
                  <a:gd name="connsiteX8" fmla="*/ 42148 w 78213"/>
                  <a:gd name="connsiteY8" fmla="*/ 64340 h 64340"/>
                  <a:gd name="connsiteX9" fmla="*/ 11261 w 78213"/>
                  <a:gd name="connsiteY9" fmla="*/ 34983 h 64340"/>
                  <a:gd name="connsiteX10" fmla="*/ 42120 w 78213"/>
                  <a:gd name="connsiteY10" fmla="*/ 53690 h 64340"/>
                  <a:gd name="connsiteX11" fmla="*/ 67163 w 78213"/>
                  <a:gd name="connsiteY11" fmla="*/ 34819 h 64340"/>
                  <a:gd name="connsiteX12" fmla="*/ 65661 w 78213"/>
                  <a:gd name="connsiteY12" fmla="*/ 27801 h 64340"/>
                  <a:gd name="connsiteX13" fmla="*/ 40673 w 78213"/>
                  <a:gd name="connsiteY13" fmla="*/ 10705 h 64340"/>
                  <a:gd name="connsiteX14" fmla="*/ 37287 w 78213"/>
                  <a:gd name="connsiteY14" fmla="*/ 11415 h 64340"/>
                  <a:gd name="connsiteX15" fmla="*/ 11261 w 78213"/>
                  <a:gd name="connsiteY15" fmla="*/ 34983 h 64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213" h="64340">
                    <a:moveTo>
                      <a:pt x="42148" y="64340"/>
                    </a:moveTo>
                    <a:lnTo>
                      <a:pt x="42148" y="64340"/>
                    </a:lnTo>
                    <a:cubicBezTo>
                      <a:pt x="20519" y="64340"/>
                      <a:pt x="3150" y="41920"/>
                      <a:pt x="2440" y="40964"/>
                    </a:cubicBezTo>
                    <a:cubicBezTo>
                      <a:pt x="2194" y="40663"/>
                      <a:pt x="2003" y="40308"/>
                      <a:pt x="1839" y="39953"/>
                    </a:cubicBezTo>
                    <a:cubicBezTo>
                      <a:pt x="-6954" y="20891"/>
                      <a:pt x="17843" y="8930"/>
                      <a:pt x="32644" y="1802"/>
                    </a:cubicBezTo>
                    <a:cubicBezTo>
                      <a:pt x="35020" y="628"/>
                      <a:pt x="37751" y="0"/>
                      <a:pt x="40728" y="0"/>
                    </a:cubicBezTo>
                    <a:cubicBezTo>
                      <a:pt x="53536" y="0"/>
                      <a:pt x="68747" y="11606"/>
                      <a:pt x="74973" y="22475"/>
                    </a:cubicBezTo>
                    <a:cubicBezTo>
                      <a:pt x="78742" y="29084"/>
                      <a:pt x="79233" y="35365"/>
                      <a:pt x="76393" y="40199"/>
                    </a:cubicBezTo>
                    <a:cubicBezTo>
                      <a:pt x="66917" y="56229"/>
                      <a:pt x="55393" y="64340"/>
                      <a:pt x="42148" y="64340"/>
                    </a:cubicBezTo>
                    <a:close/>
                    <a:moveTo>
                      <a:pt x="11261" y="34983"/>
                    </a:moveTo>
                    <a:cubicBezTo>
                      <a:pt x="13691" y="37960"/>
                      <a:pt x="27237" y="53690"/>
                      <a:pt x="42120" y="53690"/>
                    </a:cubicBezTo>
                    <a:cubicBezTo>
                      <a:pt x="51351" y="53690"/>
                      <a:pt x="59762" y="47327"/>
                      <a:pt x="67163" y="34819"/>
                    </a:cubicBezTo>
                    <a:cubicBezTo>
                      <a:pt x="67955" y="33454"/>
                      <a:pt x="67409" y="30832"/>
                      <a:pt x="65661" y="27801"/>
                    </a:cubicBezTo>
                    <a:cubicBezTo>
                      <a:pt x="60636" y="19007"/>
                      <a:pt x="48511" y="10705"/>
                      <a:pt x="40673" y="10705"/>
                    </a:cubicBezTo>
                    <a:cubicBezTo>
                      <a:pt x="39362" y="10705"/>
                      <a:pt x="38215" y="10951"/>
                      <a:pt x="37287" y="11415"/>
                    </a:cubicBezTo>
                    <a:cubicBezTo>
                      <a:pt x="19044" y="20209"/>
                      <a:pt x="8312" y="27255"/>
                      <a:pt x="11261" y="34983"/>
                    </a:cubicBezTo>
                    <a:close/>
                  </a:path>
                </a:pathLst>
              </a:custGeom>
              <a:solidFill>
                <a:schemeClr val="accent1"/>
              </a:solidFill>
              <a:ln w="2724" cap="flat">
                <a:noFill/>
                <a:prstDash val="solid"/>
                <a:miter/>
              </a:ln>
            </p:spPr>
            <p:txBody>
              <a:bodyPr rtlCol="0" anchor="ctr"/>
              <a:lstStyle/>
              <a:p>
                <a:endParaRPr lang="en-GB" dirty="0"/>
              </a:p>
            </p:txBody>
          </p:sp>
        </p:grpSp>
      </p:grpSp>
      <p:grpSp>
        <p:nvGrpSpPr>
          <p:cNvPr id="79" name="Group 78">
            <a:extLst>
              <a:ext uri="{FF2B5EF4-FFF2-40B4-BE49-F238E27FC236}">
                <a16:creationId xmlns:a16="http://schemas.microsoft.com/office/drawing/2014/main" id="{9C8AD07E-AFBE-46C2-B665-A547D1674C0D}"/>
              </a:ext>
            </a:extLst>
          </p:cNvPr>
          <p:cNvGrpSpPr>
            <a:grpSpLocks noChangeAspect="1"/>
          </p:cNvGrpSpPr>
          <p:nvPr/>
        </p:nvGrpSpPr>
        <p:grpSpPr>
          <a:xfrm>
            <a:off x="1678900" y="1585982"/>
            <a:ext cx="321169" cy="431999"/>
            <a:chOff x="5402360" y="3273688"/>
            <a:chExt cx="429954" cy="578324"/>
          </a:xfrm>
        </p:grpSpPr>
        <p:grpSp>
          <p:nvGrpSpPr>
            <p:cNvPr id="80" name="Group 79">
              <a:extLst>
                <a:ext uri="{FF2B5EF4-FFF2-40B4-BE49-F238E27FC236}">
                  <a16:creationId xmlns:a16="http://schemas.microsoft.com/office/drawing/2014/main" id="{475801E3-3697-42DB-9281-ACA557189A0A}"/>
                </a:ext>
              </a:extLst>
            </p:cNvPr>
            <p:cNvGrpSpPr/>
            <p:nvPr/>
          </p:nvGrpSpPr>
          <p:grpSpPr>
            <a:xfrm>
              <a:off x="5478771" y="3607705"/>
              <a:ext cx="276750" cy="244307"/>
              <a:chOff x="5478771" y="3607706"/>
              <a:chExt cx="276750" cy="244308"/>
            </a:xfrm>
          </p:grpSpPr>
          <p:sp>
            <p:nvSpPr>
              <p:cNvPr id="88" name="Freihandform: Form 837">
                <a:extLst>
                  <a:ext uri="{FF2B5EF4-FFF2-40B4-BE49-F238E27FC236}">
                    <a16:creationId xmlns:a16="http://schemas.microsoft.com/office/drawing/2014/main" id="{D2FC12A8-2B4A-45C2-96FB-840E40F8FC0B}"/>
                  </a:ext>
                </a:extLst>
              </p:cNvPr>
              <p:cNvSpPr/>
              <p:nvPr/>
            </p:nvSpPr>
            <p:spPr>
              <a:xfrm>
                <a:off x="5478771" y="3607706"/>
                <a:ext cx="276750" cy="88781"/>
              </a:xfrm>
              <a:custGeom>
                <a:avLst/>
                <a:gdLst>
                  <a:gd name="connsiteX0" fmla="*/ 138403 w 276750"/>
                  <a:gd name="connsiteY0" fmla="*/ 88782 h 88781"/>
                  <a:gd name="connsiteX1" fmla="*/ 0 w 276750"/>
                  <a:gd name="connsiteY1" fmla="*/ 44377 h 88781"/>
                  <a:gd name="connsiteX2" fmla="*/ 59561 w 276750"/>
                  <a:gd name="connsiteY2" fmla="*/ 7428 h 88781"/>
                  <a:gd name="connsiteX3" fmla="*/ 65870 w 276750"/>
                  <a:gd name="connsiteY3" fmla="*/ 11524 h 88781"/>
                  <a:gd name="connsiteX4" fmla="*/ 61746 w 276750"/>
                  <a:gd name="connsiteY4" fmla="*/ 17833 h 88781"/>
                  <a:gd name="connsiteX5" fmla="*/ 10651 w 276750"/>
                  <a:gd name="connsiteY5" fmla="*/ 44350 h 88781"/>
                  <a:gd name="connsiteX6" fmla="*/ 138375 w 276750"/>
                  <a:gd name="connsiteY6" fmla="*/ 78104 h 88781"/>
                  <a:gd name="connsiteX7" fmla="*/ 266100 w 276750"/>
                  <a:gd name="connsiteY7" fmla="*/ 44350 h 88781"/>
                  <a:gd name="connsiteX8" fmla="*/ 146677 w 276750"/>
                  <a:gd name="connsiteY8" fmla="*/ 10678 h 88781"/>
                  <a:gd name="connsiteX9" fmla="*/ 141434 w 276750"/>
                  <a:gd name="connsiteY9" fmla="*/ 5243 h 88781"/>
                  <a:gd name="connsiteX10" fmla="*/ 146759 w 276750"/>
                  <a:gd name="connsiteY10" fmla="*/ 0 h 88781"/>
                  <a:gd name="connsiteX11" fmla="*/ 146868 w 276750"/>
                  <a:gd name="connsiteY11" fmla="*/ 0 h 88781"/>
                  <a:gd name="connsiteX12" fmla="*/ 276751 w 276750"/>
                  <a:gd name="connsiteY12" fmla="*/ 44350 h 88781"/>
                  <a:gd name="connsiteX13" fmla="*/ 138403 w 276750"/>
                  <a:gd name="connsiteY13" fmla="*/ 88782 h 88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76750" h="88781">
                    <a:moveTo>
                      <a:pt x="138403" y="88782"/>
                    </a:moveTo>
                    <a:cubicBezTo>
                      <a:pt x="71304" y="88782"/>
                      <a:pt x="0" y="73216"/>
                      <a:pt x="0" y="44377"/>
                    </a:cubicBezTo>
                    <a:cubicBezTo>
                      <a:pt x="0" y="23213"/>
                      <a:pt x="37304" y="12153"/>
                      <a:pt x="59561" y="7428"/>
                    </a:cubicBezTo>
                    <a:cubicBezTo>
                      <a:pt x="62401" y="6773"/>
                      <a:pt x="65269" y="8657"/>
                      <a:pt x="65870" y="11524"/>
                    </a:cubicBezTo>
                    <a:cubicBezTo>
                      <a:pt x="66470" y="14392"/>
                      <a:pt x="64641" y="17232"/>
                      <a:pt x="61746" y="17833"/>
                    </a:cubicBezTo>
                    <a:cubicBezTo>
                      <a:pt x="26435" y="25316"/>
                      <a:pt x="10651" y="36540"/>
                      <a:pt x="10651" y="44350"/>
                    </a:cubicBezTo>
                    <a:cubicBezTo>
                      <a:pt x="10651" y="58442"/>
                      <a:pt x="59233" y="78104"/>
                      <a:pt x="138375" y="78104"/>
                    </a:cubicBezTo>
                    <a:cubicBezTo>
                      <a:pt x="217517" y="78104"/>
                      <a:pt x="266100" y="58442"/>
                      <a:pt x="266100" y="44350"/>
                    </a:cubicBezTo>
                    <a:cubicBezTo>
                      <a:pt x="266100" y="29466"/>
                      <a:pt x="217053" y="11961"/>
                      <a:pt x="146677" y="10678"/>
                    </a:cubicBezTo>
                    <a:cubicBezTo>
                      <a:pt x="143728" y="10623"/>
                      <a:pt x="141407" y="8193"/>
                      <a:pt x="141434" y="5243"/>
                    </a:cubicBezTo>
                    <a:cubicBezTo>
                      <a:pt x="141489" y="2349"/>
                      <a:pt x="143864" y="0"/>
                      <a:pt x="146759" y="0"/>
                    </a:cubicBezTo>
                    <a:cubicBezTo>
                      <a:pt x="146786" y="0"/>
                      <a:pt x="146841" y="0"/>
                      <a:pt x="146868" y="0"/>
                    </a:cubicBezTo>
                    <a:cubicBezTo>
                      <a:pt x="211427" y="1174"/>
                      <a:pt x="276751" y="16795"/>
                      <a:pt x="276751" y="44350"/>
                    </a:cubicBezTo>
                    <a:cubicBezTo>
                      <a:pt x="276778" y="73216"/>
                      <a:pt x="205474" y="88782"/>
                      <a:pt x="138403" y="88782"/>
                    </a:cubicBezTo>
                    <a:close/>
                  </a:path>
                </a:pathLst>
              </a:custGeom>
              <a:solidFill>
                <a:schemeClr val="accent1"/>
              </a:solidFill>
              <a:ln w="2724" cap="flat">
                <a:noFill/>
                <a:prstDash val="solid"/>
                <a:miter/>
              </a:ln>
            </p:spPr>
            <p:txBody>
              <a:bodyPr rtlCol="0" anchor="ctr"/>
              <a:lstStyle/>
              <a:p>
                <a:endParaRPr lang="en-GB" dirty="0"/>
              </a:p>
            </p:txBody>
          </p:sp>
          <p:sp>
            <p:nvSpPr>
              <p:cNvPr id="89" name="Freihandform: Form 838">
                <a:extLst>
                  <a:ext uri="{FF2B5EF4-FFF2-40B4-BE49-F238E27FC236}">
                    <a16:creationId xmlns:a16="http://schemas.microsoft.com/office/drawing/2014/main" id="{A472C52E-F90B-4E9D-94BC-1CFF1A982542}"/>
                  </a:ext>
                </a:extLst>
              </p:cNvPr>
              <p:cNvSpPr/>
              <p:nvPr/>
            </p:nvSpPr>
            <p:spPr>
              <a:xfrm>
                <a:off x="5535847" y="3796795"/>
                <a:ext cx="162270" cy="55219"/>
              </a:xfrm>
              <a:custGeom>
                <a:avLst/>
                <a:gdLst>
                  <a:gd name="connsiteX0" fmla="*/ 81135 w 162270"/>
                  <a:gd name="connsiteY0" fmla="*/ 55219 h 55219"/>
                  <a:gd name="connsiteX1" fmla="*/ 0 w 162270"/>
                  <a:gd name="connsiteY1" fmla="*/ 27609 h 55219"/>
                  <a:gd name="connsiteX2" fmla="*/ 81135 w 162270"/>
                  <a:gd name="connsiteY2" fmla="*/ 0 h 55219"/>
                  <a:gd name="connsiteX3" fmla="*/ 162271 w 162270"/>
                  <a:gd name="connsiteY3" fmla="*/ 27609 h 55219"/>
                  <a:gd name="connsiteX4" fmla="*/ 81135 w 162270"/>
                  <a:gd name="connsiteY4" fmla="*/ 55219 h 55219"/>
                  <a:gd name="connsiteX5" fmla="*/ 81135 w 162270"/>
                  <a:gd name="connsiteY5" fmla="*/ 10678 h 55219"/>
                  <a:gd name="connsiteX6" fmla="*/ 10651 w 162270"/>
                  <a:gd name="connsiteY6" fmla="*/ 27609 h 55219"/>
                  <a:gd name="connsiteX7" fmla="*/ 81135 w 162270"/>
                  <a:gd name="connsiteY7" fmla="*/ 44541 h 55219"/>
                  <a:gd name="connsiteX8" fmla="*/ 151593 w 162270"/>
                  <a:gd name="connsiteY8" fmla="*/ 27609 h 55219"/>
                  <a:gd name="connsiteX9" fmla="*/ 81135 w 162270"/>
                  <a:gd name="connsiteY9" fmla="*/ 10678 h 55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270" h="55219">
                    <a:moveTo>
                      <a:pt x="81135" y="55219"/>
                    </a:moveTo>
                    <a:cubicBezTo>
                      <a:pt x="42056" y="55219"/>
                      <a:pt x="0" y="46589"/>
                      <a:pt x="0" y="27609"/>
                    </a:cubicBezTo>
                    <a:cubicBezTo>
                      <a:pt x="0" y="8630"/>
                      <a:pt x="42056" y="0"/>
                      <a:pt x="81135" y="0"/>
                    </a:cubicBezTo>
                    <a:cubicBezTo>
                      <a:pt x="120215" y="0"/>
                      <a:pt x="162271" y="8630"/>
                      <a:pt x="162271" y="27609"/>
                    </a:cubicBezTo>
                    <a:cubicBezTo>
                      <a:pt x="162271" y="46589"/>
                      <a:pt x="120215" y="55219"/>
                      <a:pt x="81135" y="55219"/>
                    </a:cubicBezTo>
                    <a:close/>
                    <a:moveTo>
                      <a:pt x="81135" y="10678"/>
                    </a:moveTo>
                    <a:cubicBezTo>
                      <a:pt x="35529" y="10678"/>
                      <a:pt x="10651" y="21875"/>
                      <a:pt x="10651" y="27609"/>
                    </a:cubicBezTo>
                    <a:cubicBezTo>
                      <a:pt x="10651" y="33344"/>
                      <a:pt x="35529" y="44541"/>
                      <a:pt x="81135" y="44541"/>
                    </a:cubicBezTo>
                    <a:cubicBezTo>
                      <a:pt x="126742" y="44541"/>
                      <a:pt x="151593" y="33344"/>
                      <a:pt x="151593" y="27609"/>
                    </a:cubicBezTo>
                    <a:cubicBezTo>
                      <a:pt x="151593" y="21875"/>
                      <a:pt x="126742" y="10678"/>
                      <a:pt x="81135" y="10678"/>
                    </a:cubicBezTo>
                    <a:close/>
                  </a:path>
                </a:pathLst>
              </a:custGeom>
              <a:solidFill>
                <a:schemeClr val="accent1"/>
              </a:solidFill>
              <a:ln w="2724" cap="flat">
                <a:noFill/>
                <a:prstDash val="solid"/>
                <a:miter/>
              </a:ln>
            </p:spPr>
            <p:txBody>
              <a:bodyPr rtlCol="0" anchor="ctr"/>
              <a:lstStyle/>
              <a:p>
                <a:endParaRPr lang="en-GB" dirty="0"/>
              </a:p>
            </p:txBody>
          </p:sp>
        </p:grpSp>
        <p:grpSp>
          <p:nvGrpSpPr>
            <p:cNvPr id="81" name="Group 80">
              <a:extLst>
                <a:ext uri="{FF2B5EF4-FFF2-40B4-BE49-F238E27FC236}">
                  <a16:creationId xmlns:a16="http://schemas.microsoft.com/office/drawing/2014/main" id="{15220993-2F62-4BCB-89C7-AF873BC11C7D}"/>
                </a:ext>
              </a:extLst>
            </p:cNvPr>
            <p:cNvGrpSpPr/>
            <p:nvPr/>
          </p:nvGrpSpPr>
          <p:grpSpPr>
            <a:xfrm>
              <a:off x="5402808" y="3273688"/>
              <a:ext cx="429054" cy="561366"/>
              <a:chOff x="5402809" y="3273689"/>
              <a:chExt cx="429055" cy="561366"/>
            </a:xfrm>
          </p:grpSpPr>
          <p:sp>
            <p:nvSpPr>
              <p:cNvPr id="83" name="Freihandform: Form 840">
                <a:extLst>
                  <a:ext uri="{FF2B5EF4-FFF2-40B4-BE49-F238E27FC236}">
                    <a16:creationId xmlns:a16="http://schemas.microsoft.com/office/drawing/2014/main" id="{B0B233AA-D750-45AB-AC3A-709B6AA8D86B}"/>
                  </a:ext>
                </a:extLst>
              </p:cNvPr>
              <p:cNvSpPr/>
              <p:nvPr/>
            </p:nvSpPr>
            <p:spPr>
              <a:xfrm>
                <a:off x="5402809" y="3427315"/>
                <a:ext cx="145696" cy="407740"/>
              </a:xfrm>
              <a:custGeom>
                <a:avLst/>
                <a:gdLst>
                  <a:gd name="connsiteX0" fmla="*/ 140357 w 145696"/>
                  <a:gd name="connsiteY0" fmla="*/ 407740 h 407740"/>
                  <a:gd name="connsiteX1" fmla="*/ 135304 w 145696"/>
                  <a:gd name="connsiteY1" fmla="*/ 404135 h 407740"/>
                  <a:gd name="connsiteX2" fmla="*/ 288 w 145696"/>
                  <a:gd name="connsiteY2" fmla="*/ 7061 h 407740"/>
                  <a:gd name="connsiteX3" fmla="*/ 3620 w 145696"/>
                  <a:gd name="connsiteY3" fmla="*/ 288 h 407740"/>
                  <a:gd name="connsiteX4" fmla="*/ 10392 w 145696"/>
                  <a:gd name="connsiteY4" fmla="*/ 3620 h 407740"/>
                  <a:gd name="connsiteX5" fmla="*/ 145409 w 145696"/>
                  <a:gd name="connsiteY5" fmla="*/ 400694 h 407740"/>
                  <a:gd name="connsiteX6" fmla="*/ 142077 w 145696"/>
                  <a:gd name="connsiteY6" fmla="*/ 407467 h 407740"/>
                  <a:gd name="connsiteX7" fmla="*/ 140357 w 145696"/>
                  <a:gd name="connsiteY7" fmla="*/ 407740 h 40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696" h="407740">
                    <a:moveTo>
                      <a:pt x="140357" y="407740"/>
                    </a:moveTo>
                    <a:cubicBezTo>
                      <a:pt x="138145" y="407740"/>
                      <a:pt x="136069" y="406347"/>
                      <a:pt x="135304" y="404135"/>
                    </a:cubicBezTo>
                    <a:lnTo>
                      <a:pt x="288" y="7061"/>
                    </a:lnTo>
                    <a:cubicBezTo>
                      <a:pt x="-668" y="4275"/>
                      <a:pt x="834" y="1244"/>
                      <a:pt x="3620" y="288"/>
                    </a:cubicBezTo>
                    <a:cubicBezTo>
                      <a:pt x="6405" y="-668"/>
                      <a:pt x="9437" y="834"/>
                      <a:pt x="10392" y="3620"/>
                    </a:cubicBezTo>
                    <a:lnTo>
                      <a:pt x="145409" y="400694"/>
                    </a:lnTo>
                    <a:cubicBezTo>
                      <a:pt x="146365" y="403480"/>
                      <a:pt x="144863" y="406511"/>
                      <a:pt x="142077" y="407467"/>
                    </a:cubicBezTo>
                    <a:cubicBezTo>
                      <a:pt x="141504" y="407658"/>
                      <a:pt x="140930" y="407740"/>
                      <a:pt x="140357" y="407740"/>
                    </a:cubicBezTo>
                    <a:close/>
                  </a:path>
                </a:pathLst>
              </a:custGeom>
              <a:solidFill>
                <a:schemeClr val="tx2"/>
              </a:solidFill>
              <a:ln w="2724" cap="flat">
                <a:noFill/>
                <a:prstDash val="solid"/>
                <a:miter/>
              </a:ln>
            </p:spPr>
            <p:txBody>
              <a:bodyPr rtlCol="0" anchor="ctr"/>
              <a:lstStyle/>
              <a:p>
                <a:endParaRPr lang="en-GB" dirty="0"/>
              </a:p>
            </p:txBody>
          </p:sp>
          <p:sp>
            <p:nvSpPr>
              <p:cNvPr id="84" name="Freihandform: Form 841">
                <a:extLst>
                  <a:ext uri="{FF2B5EF4-FFF2-40B4-BE49-F238E27FC236}">
                    <a16:creationId xmlns:a16="http://schemas.microsoft.com/office/drawing/2014/main" id="{D054228D-7D06-4F2E-992E-F59E3A79BDAE}"/>
                  </a:ext>
                </a:extLst>
              </p:cNvPr>
              <p:cNvSpPr/>
              <p:nvPr/>
            </p:nvSpPr>
            <p:spPr>
              <a:xfrm>
                <a:off x="5686168" y="3427315"/>
                <a:ext cx="145696" cy="407740"/>
              </a:xfrm>
              <a:custGeom>
                <a:avLst/>
                <a:gdLst>
                  <a:gd name="connsiteX0" fmla="*/ 5340 w 145696"/>
                  <a:gd name="connsiteY0" fmla="*/ 407740 h 407740"/>
                  <a:gd name="connsiteX1" fmla="*/ 3620 w 145696"/>
                  <a:gd name="connsiteY1" fmla="*/ 407467 h 407740"/>
                  <a:gd name="connsiteX2" fmla="*/ 288 w 145696"/>
                  <a:gd name="connsiteY2" fmla="*/ 400694 h 407740"/>
                  <a:gd name="connsiteX3" fmla="*/ 135304 w 145696"/>
                  <a:gd name="connsiteY3" fmla="*/ 3620 h 407740"/>
                  <a:gd name="connsiteX4" fmla="*/ 142077 w 145696"/>
                  <a:gd name="connsiteY4" fmla="*/ 288 h 407740"/>
                  <a:gd name="connsiteX5" fmla="*/ 145409 w 145696"/>
                  <a:gd name="connsiteY5" fmla="*/ 7061 h 407740"/>
                  <a:gd name="connsiteX6" fmla="*/ 10392 w 145696"/>
                  <a:gd name="connsiteY6" fmla="*/ 404135 h 407740"/>
                  <a:gd name="connsiteX7" fmla="*/ 5340 w 145696"/>
                  <a:gd name="connsiteY7" fmla="*/ 407740 h 407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696" h="407740">
                    <a:moveTo>
                      <a:pt x="5340" y="407740"/>
                    </a:moveTo>
                    <a:cubicBezTo>
                      <a:pt x="4767" y="407740"/>
                      <a:pt x="4193" y="407658"/>
                      <a:pt x="3620" y="407467"/>
                    </a:cubicBezTo>
                    <a:cubicBezTo>
                      <a:pt x="834" y="406511"/>
                      <a:pt x="-668" y="403480"/>
                      <a:pt x="288" y="400694"/>
                    </a:cubicBezTo>
                    <a:lnTo>
                      <a:pt x="135304" y="3620"/>
                    </a:lnTo>
                    <a:cubicBezTo>
                      <a:pt x="136260" y="834"/>
                      <a:pt x="139264" y="-668"/>
                      <a:pt x="142077" y="288"/>
                    </a:cubicBezTo>
                    <a:cubicBezTo>
                      <a:pt x="144863" y="1244"/>
                      <a:pt x="146365" y="4275"/>
                      <a:pt x="145409" y="7061"/>
                    </a:cubicBezTo>
                    <a:lnTo>
                      <a:pt x="10392" y="404135"/>
                    </a:lnTo>
                    <a:cubicBezTo>
                      <a:pt x="9655" y="406347"/>
                      <a:pt x="7580" y="407740"/>
                      <a:pt x="5340" y="407740"/>
                    </a:cubicBezTo>
                    <a:close/>
                  </a:path>
                </a:pathLst>
              </a:custGeom>
              <a:solidFill>
                <a:schemeClr val="tx2"/>
              </a:solidFill>
              <a:ln w="2724" cap="flat">
                <a:noFill/>
                <a:prstDash val="solid"/>
                <a:miter/>
              </a:ln>
            </p:spPr>
            <p:txBody>
              <a:bodyPr rtlCol="0" anchor="ctr"/>
              <a:lstStyle/>
              <a:p>
                <a:endParaRPr lang="en-GB" dirty="0"/>
              </a:p>
            </p:txBody>
          </p:sp>
          <p:sp>
            <p:nvSpPr>
              <p:cNvPr id="85" name="Freihandform: Form 842">
                <a:extLst>
                  <a:ext uri="{FF2B5EF4-FFF2-40B4-BE49-F238E27FC236}">
                    <a16:creationId xmlns:a16="http://schemas.microsoft.com/office/drawing/2014/main" id="{D26A2108-173A-41B5-8870-D68FA4C0D28D}"/>
                  </a:ext>
                </a:extLst>
              </p:cNvPr>
              <p:cNvSpPr/>
              <p:nvPr/>
            </p:nvSpPr>
            <p:spPr>
              <a:xfrm>
                <a:off x="5523421" y="3273689"/>
                <a:ext cx="95909" cy="95909"/>
              </a:xfrm>
              <a:custGeom>
                <a:avLst/>
                <a:gdLst>
                  <a:gd name="connsiteX0" fmla="*/ 47955 w 95909"/>
                  <a:gd name="connsiteY0" fmla="*/ 95910 h 95909"/>
                  <a:gd name="connsiteX1" fmla="*/ 0 w 95909"/>
                  <a:gd name="connsiteY1" fmla="*/ 47955 h 95909"/>
                  <a:gd name="connsiteX2" fmla="*/ 47955 w 95909"/>
                  <a:gd name="connsiteY2" fmla="*/ 0 h 95909"/>
                  <a:gd name="connsiteX3" fmla="*/ 95910 w 95909"/>
                  <a:gd name="connsiteY3" fmla="*/ 47955 h 95909"/>
                  <a:gd name="connsiteX4" fmla="*/ 47955 w 95909"/>
                  <a:gd name="connsiteY4" fmla="*/ 95910 h 95909"/>
                  <a:gd name="connsiteX5" fmla="*/ 47955 w 95909"/>
                  <a:gd name="connsiteY5" fmla="*/ 10650 h 95909"/>
                  <a:gd name="connsiteX6" fmla="*/ 10651 w 95909"/>
                  <a:gd name="connsiteY6" fmla="*/ 47955 h 95909"/>
                  <a:gd name="connsiteX7" fmla="*/ 47955 w 95909"/>
                  <a:gd name="connsiteY7" fmla="*/ 85259 h 95909"/>
                  <a:gd name="connsiteX8" fmla="*/ 85259 w 95909"/>
                  <a:gd name="connsiteY8" fmla="*/ 47955 h 95909"/>
                  <a:gd name="connsiteX9" fmla="*/ 47955 w 95909"/>
                  <a:gd name="connsiteY9" fmla="*/ 10650 h 9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09" h="95909">
                    <a:moveTo>
                      <a:pt x="47955" y="95910"/>
                    </a:moveTo>
                    <a:cubicBezTo>
                      <a:pt x="21492" y="95910"/>
                      <a:pt x="0" y="74390"/>
                      <a:pt x="0" y="47955"/>
                    </a:cubicBezTo>
                    <a:cubicBezTo>
                      <a:pt x="0" y="21520"/>
                      <a:pt x="21520" y="0"/>
                      <a:pt x="47955" y="0"/>
                    </a:cubicBezTo>
                    <a:cubicBezTo>
                      <a:pt x="74390" y="0"/>
                      <a:pt x="95910" y="21520"/>
                      <a:pt x="95910" y="47955"/>
                    </a:cubicBezTo>
                    <a:cubicBezTo>
                      <a:pt x="95937" y="74390"/>
                      <a:pt x="74417" y="95910"/>
                      <a:pt x="47955" y="95910"/>
                    </a:cubicBezTo>
                    <a:close/>
                    <a:moveTo>
                      <a:pt x="47955" y="10650"/>
                    </a:moveTo>
                    <a:cubicBezTo>
                      <a:pt x="27391" y="10650"/>
                      <a:pt x="10651" y="27391"/>
                      <a:pt x="10651" y="47955"/>
                    </a:cubicBezTo>
                    <a:cubicBezTo>
                      <a:pt x="10651" y="68518"/>
                      <a:pt x="27391" y="85259"/>
                      <a:pt x="47955" y="85259"/>
                    </a:cubicBezTo>
                    <a:cubicBezTo>
                      <a:pt x="68519" y="85259"/>
                      <a:pt x="85259" y="68518"/>
                      <a:pt x="85259" y="47955"/>
                    </a:cubicBezTo>
                    <a:cubicBezTo>
                      <a:pt x="85259" y="27364"/>
                      <a:pt x="68519" y="10650"/>
                      <a:pt x="47955" y="10650"/>
                    </a:cubicBezTo>
                    <a:close/>
                  </a:path>
                </a:pathLst>
              </a:custGeom>
              <a:solidFill>
                <a:schemeClr val="tx2"/>
              </a:solidFill>
              <a:ln w="2724" cap="flat">
                <a:noFill/>
                <a:prstDash val="solid"/>
                <a:miter/>
              </a:ln>
            </p:spPr>
            <p:txBody>
              <a:bodyPr rtlCol="0" anchor="ctr"/>
              <a:lstStyle/>
              <a:p>
                <a:endParaRPr lang="en-GB" dirty="0"/>
              </a:p>
            </p:txBody>
          </p:sp>
          <p:sp>
            <p:nvSpPr>
              <p:cNvPr id="86" name="Freihandform: Form 843">
                <a:extLst>
                  <a:ext uri="{FF2B5EF4-FFF2-40B4-BE49-F238E27FC236}">
                    <a16:creationId xmlns:a16="http://schemas.microsoft.com/office/drawing/2014/main" id="{4A0F07C2-7D8A-4AF4-AD61-459DE48F7E53}"/>
                  </a:ext>
                </a:extLst>
              </p:cNvPr>
              <p:cNvSpPr/>
              <p:nvPr/>
            </p:nvSpPr>
            <p:spPr>
              <a:xfrm>
                <a:off x="5624683" y="3431808"/>
                <a:ext cx="95909" cy="95909"/>
              </a:xfrm>
              <a:custGeom>
                <a:avLst/>
                <a:gdLst>
                  <a:gd name="connsiteX0" fmla="*/ 47955 w 95909"/>
                  <a:gd name="connsiteY0" fmla="*/ 95910 h 95909"/>
                  <a:gd name="connsiteX1" fmla="*/ 0 w 95909"/>
                  <a:gd name="connsiteY1" fmla="*/ 47955 h 95909"/>
                  <a:gd name="connsiteX2" fmla="*/ 47955 w 95909"/>
                  <a:gd name="connsiteY2" fmla="*/ 0 h 95909"/>
                  <a:gd name="connsiteX3" fmla="*/ 95910 w 95909"/>
                  <a:gd name="connsiteY3" fmla="*/ 47955 h 95909"/>
                  <a:gd name="connsiteX4" fmla="*/ 47955 w 95909"/>
                  <a:gd name="connsiteY4" fmla="*/ 95910 h 95909"/>
                  <a:gd name="connsiteX5" fmla="*/ 47955 w 95909"/>
                  <a:gd name="connsiteY5" fmla="*/ 10623 h 95909"/>
                  <a:gd name="connsiteX6" fmla="*/ 10651 w 95909"/>
                  <a:gd name="connsiteY6" fmla="*/ 47928 h 95909"/>
                  <a:gd name="connsiteX7" fmla="*/ 47955 w 95909"/>
                  <a:gd name="connsiteY7" fmla="*/ 85232 h 95909"/>
                  <a:gd name="connsiteX8" fmla="*/ 85259 w 95909"/>
                  <a:gd name="connsiteY8" fmla="*/ 47928 h 95909"/>
                  <a:gd name="connsiteX9" fmla="*/ 47955 w 95909"/>
                  <a:gd name="connsiteY9" fmla="*/ 10623 h 9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09" h="95909">
                    <a:moveTo>
                      <a:pt x="47955" y="95910"/>
                    </a:moveTo>
                    <a:cubicBezTo>
                      <a:pt x="21492" y="95910"/>
                      <a:pt x="0" y="74390"/>
                      <a:pt x="0" y="47955"/>
                    </a:cubicBezTo>
                    <a:cubicBezTo>
                      <a:pt x="0" y="21520"/>
                      <a:pt x="21520" y="0"/>
                      <a:pt x="47955" y="0"/>
                    </a:cubicBezTo>
                    <a:cubicBezTo>
                      <a:pt x="74417" y="0"/>
                      <a:pt x="95910" y="21520"/>
                      <a:pt x="95910" y="47955"/>
                    </a:cubicBezTo>
                    <a:cubicBezTo>
                      <a:pt x="95937" y="74390"/>
                      <a:pt x="74417" y="95910"/>
                      <a:pt x="47955" y="95910"/>
                    </a:cubicBezTo>
                    <a:close/>
                    <a:moveTo>
                      <a:pt x="47955" y="10623"/>
                    </a:moveTo>
                    <a:cubicBezTo>
                      <a:pt x="27391" y="10623"/>
                      <a:pt x="10651" y="27364"/>
                      <a:pt x="10651" y="47928"/>
                    </a:cubicBezTo>
                    <a:cubicBezTo>
                      <a:pt x="10651" y="68491"/>
                      <a:pt x="27391" y="85232"/>
                      <a:pt x="47955" y="85232"/>
                    </a:cubicBezTo>
                    <a:cubicBezTo>
                      <a:pt x="68519" y="85232"/>
                      <a:pt x="85259" y="68491"/>
                      <a:pt x="85259" y="47928"/>
                    </a:cubicBezTo>
                    <a:cubicBezTo>
                      <a:pt x="85259" y="27364"/>
                      <a:pt x="68546" y="10623"/>
                      <a:pt x="47955" y="10623"/>
                    </a:cubicBezTo>
                    <a:close/>
                  </a:path>
                </a:pathLst>
              </a:custGeom>
              <a:solidFill>
                <a:schemeClr val="tx2"/>
              </a:solidFill>
              <a:ln w="2724" cap="flat">
                <a:noFill/>
                <a:prstDash val="solid"/>
                <a:miter/>
              </a:ln>
            </p:spPr>
            <p:txBody>
              <a:bodyPr rtlCol="0" anchor="ctr"/>
              <a:lstStyle/>
              <a:p>
                <a:endParaRPr lang="en-GB" dirty="0"/>
              </a:p>
            </p:txBody>
          </p:sp>
          <p:sp>
            <p:nvSpPr>
              <p:cNvPr id="87" name="Freihandform: Form 844">
                <a:extLst>
                  <a:ext uri="{FF2B5EF4-FFF2-40B4-BE49-F238E27FC236}">
                    <a16:creationId xmlns:a16="http://schemas.microsoft.com/office/drawing/2014/main" id="{8A749015-F45F-4E7C-9064-E2B0BEBC348F}"/>
                  </a:ext>
                </a:extLst>
              </p:cNvPr>
              <p:cNvSpPr/>
              <p:nvPr/>
            </p:nvSpPr>
            <p:spPr>
              <a:xfrm>
                <a:off x="5534072" y="3570375"/>
                <a:ext cx="95909" cy="95909"/>
              </a:xfrm>
              <a:custGeom>
                <a:avLst/>
                <a:gdLst>
                  <a:gd name="connsiteX0" fmla="*/ 47955 w 95909"/>
                  <a:gd name="connsiteY0" fmla="*/ 95910 h 95909"/>
                  <a:gd name="connsiteX1" fmla="*/ 0 w 95909"/>
                  <a:gd name="connsiteY1" fmla="*/ 47955 h 95909"/>
                  <a:gd name="connsiteX2" fmla="*/ 47955 w 95909"/>
                  <a:gd name="connsiteY2" fmla="*/ 0 h 95909"/>
                  <a:gd name="connsiteX3" fmla="*/ 95910 w 95909"/>
                  <a:gd name="connsiteY3" fmla="*/ 47955 h 95909"/>
                  <a:gd name="connsiteX4" fmla="*/ 47955 w 95909"/>
                  <a:gd name="connsiteY4" fmla="*/ 95910 h 95909"/>
                  <a:gd name="connsiteX5" fmla="*/ 47955 w 95909"/>
                  <a:gd name="connsiteY5" fmla="*/ 10650 h 95909"/>
                  <a:gd name="connsiteX6" fmla="*/ 10651 w 95909"/>
                  <a:gd name="connsiteY6" fmla="*/ 47955 h 95909"/>
                  <a:gd name="connsiteX7" fmla="*/ 47955 w 95909"/>
                  <a:gd name="connsiteY7" fmla="*/ 85259 h 95909"/>
                  <a:gd name="connsiteX8" fmla="*/ 85259 w 95909"/>
                  <a:gd name="connsiteY8" fmla="*/ 47955 h 95909"/>
                  <a:gd name="connsiteX9" fmla="*/ 47955 w 95909"/>
                  <a:gd name="connsiteY9" fmla="*/ 10650 h 95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909" h="95909">
                    <a:moveTo>
                      <a:pt x="47955" y="95910"/>
                    </a:moveTo>
                    <a:cubicBezTo>
                      <a:pt x="21492" y="95910"/>
                      <a:pt x="0" y="74390"/>
                      <a:pt x="0" y="47955"/>
                    </a:cubicBezTo>
                    <a:cubicBezTo>
                      <a:pt x="0" y="21520"/>
                      <a:pt x="21520" y="0"/>
                      <a:pt x="47955" y="0"/>
                    </a:cubicBezTo>
                    <a:cubicBezTo>
                      <a:pt x="74390" y="0"/>
                      <a:pt x="95910" y="21520"/>
                      <a:pt x="95910" y="47955"/>
                    </a:cubicBezTo>
                    <a:cubicBezTo>
                      <a:pt x="95910" y="74390"/>
                      <a:pt x="74417" y="95910"/>
                      <a:pt x="47955" y="95910"/>
                    </a:cubicBezTo>
                    <a:close/>
                    <a:moveTo>
                      <a:pt x="47955" y="10650"/>
                    </a:moveTo>
                    <a:cubicBezTo>
                      <a:pt x="27391" y="10650"/>
                      <a:pt x="10651" y="27391"/>
                      <a:pt x="10651" y="47955"/>
                    </a:cubicBezTo>
                    <a:cubicBezTo>
                      <a:pt x="10651" y="68518"/>
                      <a:pt x="27391" y="85259"/>
                      <a:pt x="47955" y="85259"/>
                    </a:cubicBezTo>
                    <a:cubicBezTo>
                      <a:pt x="68519" y="85259"/>
                      <a:pt x="85259" y="68518"/>
                      <a:pt x="85259" y="47955"/>
                    </a:cubicBezTo>
                    <a:cubicBezTo>
                      <a:pt x="85259" y="27391"/>
                      <a:pt x="68546" y="10650"/>
                      <a:pt x="47955" y="10650"/>
                    </a:cubicBezTo>
                    <a:close/>
                  </a:path>
                </a:pathLst>
              </a:custGeom>
              <a:solidFill>
                <a:schemeClr val="tx2"/>
              </a:solidFill>
              <a:ln w="2724" cap="flat">
                <a:noFill/>
                <a:prstDash val="solid"/>
                <a:miter/>
              </a:ln>
            </p:spPr>
            <p:txBody>
              <a:bodyPr rtlCol="0" anchor="ctr"/>
              <a:lstStyle/>
              <a:p>
                <a:endParaRPr lang="en-GB" dirty="0"/>
              </a:p>
            </p:txBody>
          </p:sp>
        </p:grpSp>
        <p:sp>
          <p:nvSpPr>
            <p:cNvPr id="82" name="Freihandform: Form 845">
              <a:extLst>
                <a:ext uri="{FF2B5EF4-FFF2-40B4-BE49-F238E27FC236}">
                  <a16:creationId xmlns:a16="http://schemas.microsoft.com/office/drawing/2014/main" id="{B3E0C7E2-637C-47DD-B836-5F57E305A72A}"/>
                </a:ext>
              </a:extLst>
            </p:cNvPr>
            <p:cNvSpPr/>
            <p:nvPr/>
          </p:nvSpPr>
          <p:spPr>
            <a:xfrm>
              <a:off x="5402360" y="3389152"/>
              <a:ext cx="429954" cy="88809"/>
            </a:xfrm>
            <a:custGeom>
              <a:avLst/>
              <a:gdLst>
                <a:gd name="connsiteX0" fmla="*/ 214977 w 429954"/>
                <a:gd name="connsiteY0" fmla="*/ 88809 h 88809"/>
                <a:gd name="connsiteX1" fmla="*/ 0 w 429954"/>
                <a:gd name="connsiteY1" fmla="*/ 44405 h 88809"/>
                <a:gd name="connsiteX2" fmla="*/ 214977 w 429954"/>
                <a:gd name="connsiteY2" fmla="*/ 0 h 88809"/>
                <a:gd name="connsiteX3" fmla="*/ 429955 w 429954"/>
                <a:gd name="connsiteY3" fmla="*/ 44405 h 88809"/>
                <a:gd name="connsiteX4" fmla="*/ 214977 w 429954"/>
                <a:gd name="connsiteY4" fmla="*/ 88809 h 88809"/>
                <a:gd name="connsiteX5" fmla="*/ 214977 w 429954"/>
                <a:gd name="connsiteY5" fmla="*/ 10651 h 88809"/>
                <a:gd name="connsiteX6" fmla="*/ 10678 w 429954"/>
                <a:gd name="connsiteY6" fmla="*/ 44405 h 88809"/>
                <a:gd name="connsiteX7" fmla="*/ 214977 w 429954"/>
                <a:gd name="connsiteY7" fmla="*/ 78159 h 88809"/>
                <a:gd name="connsiteX8" fmla="*/ 419277 w 429954"/>
                <a:gd name="connsiteY8" fmla="*/ 44405 h 88809"/>
                <a:gd name="connsiteX9" fmla="*/ 214977 w 429954"/>
                <a:gd name="connsiteY9" fmla="*/ 10651 h 88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9954" h="88809">
                  <a:moveTo>
                    <a:pt x="214977" y="88809"/>
                  </a:moveTo>
                  <a:cubicBezTo>
                    <a:pt x="128571" y="88809"/>
                    <a:pt x="0" y="76984"/>
                    <a:pt x="0" y="44405"/>
                  </a:cubicBezTo>
                  <a:cubicBezTo>
                    <a:pt x="0" y="11825"/>
                    <a:pt x="128544" y="0"/>
                    <a:pt x="214977" y="0"/>
                  </a:cubicBezTo>
                  <a:cubicBezTo>
                    <a:pt x="301383" y="0"/>
                    <a:pt x="429955" y="11825"/>
                    <a:pt x="429955" y="44405"/>
                  </a:cubicBezTo>
                  <a:cubicBezTo>
                    <a:pt x="429955" y="76984"/>
                    <a:pt x="301411" y="88809"/>
                    <a:pt x="214977" y="88809"/>
                  </a:cubicBezTo>
                  <a:close/>
                  <a:moveTo>
                    <a:pt x="214977" y="10651"/>
                  </a:moveTo>
                  <a:cubicBezTo>
                    <a:pt x="90257" y="10651"/>
                    <a:pt x="10678" y="30641"/>
                    <a:pt x="10678" y="44405"/>
                  </a:cubicBezTo>
                  <a:cubicBezTo>
                    <a:pt x="10678" y="58169"/>
                    <a:pt x="90257" y="78159"/>
                    <a:pt x="214977" y="78159"/>
                  </a:cubicBezTo>
                  <a:cubicBezTo>
                    <a:pt x="339698" y="78159"/>
                    <a:pt x="419277" y="58169"/>
                    <a:pt x="419277" y="44405"/>
                  </a:cubicBezTo>
                  <a:cubicBezTo>
                    <a:pt x="419277" y="30641"/>
                    <a:pt x="339698" y="10651"/>
                    <a:pt x="214977" y="10651"/>
                  </a:cubicBezTo>
                  <a:close/>
                </a:path>
              </a:pathLst>
            </a:custGeom>
            <a:solidFill>
              <a:schemeClr val="accent1"/>
            </a:solidFill>
            <a:ln w="2724" cap="flat">
              <a:noFill/>
              <a:prstDash val="solid"/>
              <a:miter/>
            </a:ln>
          </p:spPr>
          <p:txBody>
            <a:bodyPr rtlCol="0" anchor="ctr"/>
            <a:lstStyle/>
            <a:p>
              <a:endParaRPr lang="en-GB" dirty="0"/>
            </a:p>
          </p:txBody>
        </p:sp>
      </p:grpSp>
      <p:grpSp>
        <p:nvGrpSpPr>
          <p:cNvPr id="25" name="Group 24">
            <a:extLst>
              <a:ext uri="{FF2B5EF4-FFF2-40B4-BE49-F238E27FC236}">
                <a16:creationId xmlns:a16="http://schemas.microsoft.com/office/drawing/2014/main" id="{95CD3000-4221-1DB0-109B-D031D458BF74}"/>
              </a:ext>
            </a:extLst>
          </p:cNvPr>
          <p:cNvGrpSpPr/>
          <p:nvPr/>
        </p:nvGrpSpPr>
        <p:grpSpPr>
          <a:xfrm>
            <a:off x="2608848" y="1585984"/>
            <a:ext cx="552135" cy="432000"/>
            <a:chOff x="2608848" y="1585984"/>
            <a:chExt cx="552135" cy="432000"/>
          </a:xfrm>
        </p:grpSpPr>
        <p:grpSp>
          <p:nvGrpSpPr>
            <p:cNvPr id="91" name="Group 90">
              <a:extLst>
                <a:ext uri="{FF2B5EF4-FFF2-40B4-BE49-F238E27FC236}">
                  <a16:creationId xmlns:a16="http://schemas.microsoft.com/office/drawing/2014/main" id="{01AE39F4-434A-4DE7-B993-3EBD550EA9A9}"/>
                </a:ext>
              </a:extLst>
            </p:cNvPr>
            <p:cNvGrpSpPr/>
            <p:nvPr/>
          </p:nvGrpSpPr>
          <p:grpSpPr>
            <a:xfrm>
              <a:off x="2608848" y="1685852"/>
              <a:ext cx="552135" cy="332132"/>
              <a:chOff x="6058926" y="3434976"/>
              <a:chExt cx="680024" cy="409063"/>
            </a:xfrm>
            <a:solidFill>
              <a:schemeClr val="tx2"/>
            </a:solidFill>
          </p:grpSpPr>
          <p:sp>
            <p:nvSpPr>
              <p:cNvPr id="97" name="Freihandform: Form 848">
                <a:extLst>
                  <a:ext uri="{FF2B5EF4-FFF2-40B4-BE49-F238E27FC236}">
                    <a16:creationId xmlns:a16="http://schemas.microsoft.com/office/drawing/2014/main" id="{61EB4EB7-E097-4A60-914E-187279AC06A7}"/>
                  </a:ext>
                </a:extLst>
              </p:cNvPr>
              <p:cNvSpPr/>
              <p:nvPr/>
            </p:nvSpPr>
            <p:spPr>
              <a:xfrm>
                <a:off x="6528670" y="3434976"/>
                <a:ext cx="140887" cy="125758"/>
              </a:xfrm>
              <a:custGeom>
                <a:avLst/>
                <a:gdLst>
                  <a:gd name="connsiteX0" fmla="*/ 28702 w 140887"/>
                  <a:gd name="connsiteY0" fmla="*/ 125758 h 125758"/>
                  <a:gd name="connsiteX1" fmla="*/ 25288 w 140887"/>
                  <a:gd name="connsiteY1" fmla="*/ 124530 h 125758"/>
                  <a:gd name="connsiteX2" fmla="*/ 0 w 140887"/>
                  <a:gd name="connsiteY2" fmla="*/ 70458 h 125758"/>
                  <a:gd name="connsiteX3" fmla="*/ 70430 w 140887"/>
                  <a:gd name="connsiteY3" fmla="*/ 0 h 125758"/>
                  <a:gd name="connsiteX4" fmla="*/ 140888 w 140887"/>
                  <a:gd name="connsiteY4" fmla="*/ 70458 h 125758"/>
                  <a:gd name="connsiteX5" fmla="*/ 116856 w 140887"/>
                  <a:gd name="connsiteY5" fmla="*/ 123437 h 125758"/>
                  <a:gd name="connsiteX6" fmla="*/ 109346 w 140887"/>
                  <a:gd name="connsiteY6" fmla="*/ 122946 h 125758"/>
                  <a:gd name="connsiteX7" fmla="*/ 109837 w 140887"/>
                  <a:gd name="connsiteY7" fmla="*/ 115436 h 125758"/>
                  <a:gd name="connsiteX8" fmla="*/ 130237 w 140887"/>
                  <a:gd name="connsiteY8" fmla="*/ 70458 h 125758"/>
                  <a:gd name="connsiteX9" fmla="*/ 70457 w 140887"/>
                  <a:gd name="connsiteY9" fmla="*/ 10678 h 125758"/>
                  <a:gd name="connsiteX10" fmla="*/ 10678 w 140887"/>
                  <a:gd name="connsiteY10" fmla="*/ 70458 h 125758"/>
                  <a:gd name="connsiteX11" fmla="*/ 32143 w 140887"/>
                  <a:gd name="connsiteY11" fmla="*/ 116337 h 125758"/>
                  <a:gd name="connsiteX12" fmla="*/ 32826 w 140887"/>
                  <a:gd name="connsiteY12" fmla="*/ 123847 h 125758"/>
                  <a:gd name="connsiteX13" fmla="*/ 28702 w 140887"/>
                  <a:gd name="connsiteY13" fmla="*/ 125758 h 1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887" h="125758">
                    <a:moveTo>
                      <a:pt x="28702" y="125758"/>
                    </a:moveTo>
                    <a:cubicBezTo>
                      <a:pt x="27500" y="125758"/>
                      <a:pt x="26271" y="125349"/>
                      <a:pt x="25288" y="124530"/>
                    </a:cubicBezTo>
                    <a:cubicBezTo>
                      <a:pt x="9230" y="111093"/>
                      <a:pt x="0" y="91404"/>
                      <a:pt x="0" y="70458"/>
                    </a:cubicBezTo>
                    <a:cubicBezTo>
                      <a:pt x="0" y="31624"/>
                      <a:pt x="31597" y="0"/>
                      <a:pt x="70430" y="0"/>
                    </a:cubicBezTo>
                    <a:cubicBezTo>
                      <a:pt x="109264" y="0"/>
                      <a:pt x="140888" y="31597"/>
                      <a:pt x="140888" y="70458"/>
                    </a:cubicBezTo>
                    <a:cubicBezTo>
                      <a:pt x="140888" y="90748"/>
                      <a:pt x="132121" y="110083"/>
                      <a:pt x="116856" y="123437"/>
                    </a:cubicBezTo>
                    <a:cubicBezTo>
                      <a:pt x="114644" y="125376"/>
                      <a:pt x="111285" y="125158"/>
                      <a:pt x="109346" y="122946"/>
                    </a:cubicBezTo>
                    <a:cubicBezTo>
                      <a:pt x="107407" y="120734"/>
                      <a:pt x="107625" y="117375"/>
                      <a:pt x="109837" y="115436"/>
                    </a:cubicBezTo>
                    <a:cubicBezTo>
                      <a:pt x="122782" y="104075"/>
                      <a:pt x="130237" y="87690"/>
                      <a:pt x="130237" y="70458"/>
                    </a:cubicBezTo>
                    <a:cubicBezTo>
                      <a:pt x="130237" y="37495"/>
                      <a:pt x="103420" y="10678"/>
                      <a:pt x="70457" y="10678"/>
                    </a:cubicBezTo>
                    <a:cubicBezTo>
                      <a:pt x="37495" y="10678"/>
                      <a:pt x="10678" y="37495"/>
                      <a:pt x="10678" y="70458"/>
                    </a:cubicBezTo>
                    <a:cubicBezTo>
                      <a:pt x="10678" y="88208"/>
                      <a:pt x="18488" y="104949"/>
                      <a:pt x="32143" y="116337"/>
                    </a:cubicBezTo>
                    <a:cubicBezTo>
                      <a:pt x="34410" y="118221"/>
                      <a:pt x="34710" y="121580"/>
                      <a:pt x="32826" y="123847"/>
                    </a:cubicBezTo>
                    <a:cubicBezTo>
                      <a:pt x="31733" y="125103"/>
                      <a:pt x="30204" y="125758"/>
                      <a:pt x="28702" y="125758"/>
                    </a:cubicBezTo>
                    <a:close/>
                  </a:path>
                </a:pathLst>
              </a:custGeom>
              <a:grpFill/>
              <a:ln w="2724" cap="flat">
                <a:noFill/>
                <a:prstDash val="solid"/>
                <a:miter/>
              </a:ln>
            </p:spPr>
            <p:txBody>
              <a:bodyPr rtlCol="0" anchor="ctr"/>
              <a:lstStyle/>
              <a:p>
                <a:endParaRPr lang="en-GB" dirty="0"/>
              </a:p>
            </p:txBody>
          </p:sp>
          <p:sp>
            <p:nvSpPr>
              <p:cNvPr id="98" name="Freihandform: Form 849">
                <a:extLst>
                  <a:ext uri="{FF2B5EF4-FFF2-40B4-BE49-F238E27FC236}">
                    <a16:creationId xmlns:a16="http://schemas.microsoft.com/office/drawing/2014/main" id="{755382D7-9DB0-4D0B-B5C5-A49DCC9E410F}"/>
                  </a:ext>
                </a:extLst>
              </p:cNvPr>
              <p:cNvSpPr/>
              <p:nvPr/>
            </p:nvSpPr>
            <p:spPr>
              <a:xfrm>
                <a:off x="6511137" y="3549948"/>
                <a:ext cx="175925" cy="64558"/>
              </a:xfrm>
              <a:custGeom>
                <a:avLst/>
                <a:gdLst>
                  <a:gd name="connsiteX0" fmla="*/ 143646 w 175925"/>
                  <a:gd name="connsiteY0" fmla="*/ 64559 h 64558"/>
                  <a:gd name="connsiteX1" fmla="*/ 32279 w 175925"/>
                  <a:gd name="connsiteY1" fmla="*/ 64559 h 64558"/>
                  <a:gd name="connsiteX2" fmla="*/ 0 w 175925"/>
                  <a:gd name="connsiteY2" fmla="*/ 32279 h 64558"/>
                  <a:gd name="connsiteX3" fmla="*/ 32279 w 175925"/>
                  <a:gd name="connsiteY3" fmla="*/ 0 h 64558"/>
                  <a:gd name="connsiteX4" fmla="*/ 143646 w 175925"/>
                  <a:gd name="connsiteY4" fmla="*/ 0 h 64558"/>
                  <a:gd name="connsiteX5" fmla="*/ 175925 w 175925"/>
                  <a:gd name="connsiteY5" fmla="*/ 32279 h 64558"/>
                  <a:gd name="connsiteX6" fmla="*/ 143646 w 175925"/>
                  <a:gd name="connsiteY6" fmla="*/ 64559 h 64558"/>
                  <a:gd name="connsiteX7" fmla="*/ 32279 w 175925"/>
                  <a:gd name="connsiteY7" fmla="*/ 10678 h 64558"/>
                  <a:gd name="connsiteX8" fmla="*/ 10651 w 175925"/>
                  <a:gd name="connsiteY8" fmla="*/ 32307 h 64558"/>
                  <a:gd name="connsiteX9" fmla="*/ 32279 w 175925"/>
                  <a:gd name="connsiteY9" fmla="*/ 53908 h 64558"/>
                  <a:gd name="connsiteX10" fmla="*/ 143646 w 175925"/>
                  <a:gd name="connsiteY10" fmla="*/ 53908 h 64558"/>
                  <a:gd name="connsiteX11" fmla="*/ 165248 w 175925"/>
                  <a:gd name="connsiteY11" fmla="*/ 32307 h 64558"/>
                  <a:gd name="connsiteX12" fmla="*/ 143646 w 175925"/>
                  <a:gd name="connsiteY12" fmla="*/ 10678 h 64558"/>
                  <a:gd name="connsiteX13" fmla="*/ 32279 w 175925"/>
                  <a:gd name="connsiteY13" fmla="*/ 10678 h 6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925" h="64558">
                    <a:moveTo>
                      <a:pt x="143646" y="64559"/>
                    </a:moveTo>
                    <a:lnTo>
                      <a:pt x="32279" y="64559"/>
                    </a:lnTo>
                    <a:cubicBezTo>
                      <a:pt x="14474" y="64559"/>
                      <a:pt x="0" y="50085"/>
                      <a:pt x="0" y="32279"/>
                    </a:cubicBezTo>
                    <a:cubicBezTo>
                      <a:pt x="0" y="14474"/>
                      <a:pt x="14474" y="0"/>
                      <a:pt x="32279" y="0"/>
                    </a:cubicBezTo>
                    <a:lnTo>
                      <a:pt x="143646" y="0"/>
                    </a:lnTo>
                    <a:cubicBezTo>
                      <a:pt x="161451" y="0"/>
                      <a:pt x="175925" y="14474"/>
                      <a:pt x="175925" y="32279"/>
                    </a:cubicBezTo>
                    <a:cubicBezTo>
                      <a:pt x="175925" y="50085"/>
                      <a:pt x="161451" y="64559"/>
                      <a:pt x="143646" y="64559"/>
                    </a:cubicBezTo>
                    <a:close/>
                    <a:moveTo>
                      <a:pt x="32279" y="10678"/>
                    </a:moveTo>
                    <a:cubicBezTo>
                      <a:pt x="20373" y="10678"/>
                      <a:pt x="10651" y="20373"/>
                      <a:pt x="10651" y="32307"/>
                    </a:cubicBezTo>
                    <a:cubicBezTo>
                      <a:pt x="10651" y="44213"/>
                      <a:pt x="20345" y="53908"/>
                      <a:pt x="32279" y="53908"/>
                    </a:cubicBezTo>
                    <a:lnTo>
                      <a:pt x="143646" y="53908"/>
                    </a:lnTo>
                    <a:cubicBezTo>
                      <a:pt x="155553" y="53908"/>
                      <a:pt x="165248" y="44213"/>
                      <a:pt x="165248" y="32307"/>
                    </a:cubicBezTo>
                    <a:cubicBezTo>
                      <a:pt x="165248" y="20373"/>
                      <a:pt x="155553" y="10678"/>
                      <a:pt x="143646" y="10678"/>
                    </a:cubicBezTo>
                    <a:lnTo>
                      <a:pt x="32279" y="10678"/>
                    </a:lnTo>
                    <a:close/>
                  </a:path>
                </a:pathLst>
              </a:custGeom>
              <a:grpFill/>
              <a:ln w="2724" cap="flat">
                <a:noFill/>
                <a:prstDash val="solid"/>
                <a:miter/>
              </a:ln>
            </p:spPr>
            <p:txBody>
              <a:bodyPr rtlCol="0" anchor="ctr"/>
              <a:lstStyle/>
              <a:p>
                <a:endParaRPr lang="en-GB" dirty="0"/>
              </a:p>
            </p:txBody>
          </p:sp>
          <p:sp>
            <p:nvSpPr>
              <p:cNvPr id="99" name="Freihandform: Form 850">
                <a:extLst>
                  <a:ext uri="{FF2B5EF4-FFF2-40B4-BE49-F238E27FC236}">
                    <a16:creationId xmlns:a16="http://schemas.microsoft.com/office/drawing/2014/main" id="{D8B1C49E-4B8A-4966-A2ED-C63C69A272BF}"/>
                  </a:ext>
                </a:extLst>
              </p:cNvPr>
              <p:cNvSpPr/>
              <p:nvPr/>
            </p:nvSpPr>
            <p:spPr>
              <a:xfrm>
                <a:off x="6525524" y="3603648"/>
                <a:ext cx="147179" cy="103354"/>
              </a:xfrm>
              <a:custGeom>
                <a:avLst/>
                <a:gdLst>
                  <a:gd name="connsiteX0" fmla="*/ 141849 w 147179"/>
                  <a:gd name="connsiteY0" fmla="*/ 103355 h 103354"/>
                  <a:gd name="connsiteX1" fmla="*/ 5330 w 147179"/>
                  <a:gd name="connsiteY1" fmla="*/ 103355 h 103354"/>
                  <a:gd name="connsiteX2" fmla="*/ 551 w 147179"/>
                  <a:gd name="connsiteY2" fmla="*/ 100378 h 103354"/>
                  <a:gd name="connsiteX3" fmla="*/ 1098 w 147179"/>
                  <a:gd name="connsiteY3" fmla="*/ 94779 h 103354"/>
                  <a:gd name="connsiteX4" fmla="*/ 22890 w 147179"/>
                  <a:gd name="connsiteY4" fmla="*/ 6107 h 103354"/>
                  <a:gd name="connsiteX5" fmla="*/ 27424 w 147179"/>
                  <a:gd name="connsiteY5" fmla="*/ 71 h 103354"/>
                  <a:gd name="connsiteX6" fmla="*/ 33459 w 147179"/>
                  <a:gd name="connsiteY6" fmla="*/ 4605 h 103354"/>
                  <a:gd name="connsiteX7" fmla="*/ 15544 w 147179"/>
                  <a:gd name="connsiteY7" fmla="*/ 92677 h 103354"/>
                  <a:gd name="connsiteX8" fmla="*/ 131635 w 147179"/>
                  <a:gd name="connsiteY8" fmla="*/ 92677 h 103354"/>
                  <a:gd name="connsiteX9" fmla="*/ 113638 w 147179"/>
                  <a:gd name="connsiteY9" fmla="*/ 5288 h 103354"/>
                  <a:gd name="connsiteX10" fmla="*/ 119646 w 147179"/>
                  <a:gd name="connsiteY10" fmla="*/ 727 h 103354"/>
                  <a:gd name="connsiteX11" fmla="*/ 124207 w 147179"/>
                  <a:gd name="connsiteY11" fmla="*/ 6735 h 103354"/>
                  <a:gd name="connsiteX12" fmla="*/ 146082 w 147179"/>
                  <a:gd name="connsiteY12" fmla="*/ 94779 h 103354"/>
                  <a:gd name="connsiteX13" fmla="*/ 146628 w 147179"/>
                  <a:gd name="connsiteY13" fmla="*/ 100378 h 103354"/>
                  <a:gd name="connsiteX14" fmla="*/ 141849 w 147179"/>
                  <a:gd name="connsiteY14" fmla="*/ 103355 h 10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179" h="103354">
                    <a:moveTo>
                      <a:pt x="141849" y="103355"/>
                    </a:moveTo>
                    <a:lnTo>
                      <a:pt x="5330" y="103355"/>
                    </a:lnTo>
                    <a:cubicBezTo>
                      <a:pt x="3310" y="103355"/>
                      <a:pt x="1453" y="102208"/>
                      <a:pt x="551" y="100378"/>
                    </a:cubicBezTo>
                    <a:cubicBezTo>
                      <a:pt x="-350" y="98548"/>
                      <a:pt x="-131" y="96391"/>
                      <a:pt x="1098" y="94779"/>
                    </a:cubicBezTo>
                    <a:cubicBezTo>
                      <a:pt x="27287" y="60534"/>
                      <a:pt x="25048" y="21345"/>
                      <a:pt x="22890" y="6107"/>
                    </a:cubicBezTo>
                    <a:cubicBezTo>
                      <a:pt x="22481" y="3185"/>
                      <a:pt x="24501" y="481"/>
                      <a:pt x="27424" y="71"/>
                    </a:cubicBezTo>
                    <a:cubicBezTo>
                      <a:pt x="30318" y="-420"/>
                      <a:pt x="33022" y="1683"/>
                      <a:pt x="33459" y="4605"/>
                    </a:cubicBezTo>
                    <a:cubicBezTo>
                      <a:pt x="35644" y="19925"/>
                      <a:pt x="37856" y="57503"/>
                      <a:pt x="15544" y="92677"/>
                    </a:cubicBezTo>
                    <a:lnTo>
                      <a:pt x="131635" y="92677"/>
                    </a:lnTo>
                    <a:cubicBezTo>
                      <a:pt x="109542" y="57803"/>
                      <a:pt x="111563" y="20526"/>
                      <a:pt x="113638" y="5288"/>
                    </a:cubicBezTo>
                    <a:cubicBezTo>
                      <a:pt x="114021" y="2365"/>
                      <a:pt x="116697" y="290"/>
                      <a:pt x="119646" y="727"/>
                    </a:cubicBezTo>
                    <a:cubicBezTo>
                      <a:pt x="122569" y="1109"/>
                      <a:pt x="124617" y="3813"/>
                      <a:pt x="124207" y="6735"/>
                    </a:cubicBezTo>
                    <a:cubicBezTo>
                      <a:pt x="122132" y="21891"/>
                      <a:pt x="120138" y="60807"/>
                      <a:pt x="146082" y="94779"/>
                    </a:cubicBezTo>
                    <a:cubicBezTo>
                      <a:pt x="147311" y="96391"/>
                      <a:pt x="147529" y="98548"/>
                      <a:pt x="146628" y="100378"/>
                    </a:cubicBezTo>
                    <a:cubicBezTo>
                      <a:pt x="145727" y="102208"/>
                      <a:pt x="143870" y="103355"/>
                      <a:pt x="141849" y="103355"/>
                    </a:cubicBezTo>
                    <a:close/>
                  </a:path>
                </a:pathLst>
              </a:custGeom>
              <a:grpFill/>
              <a:ln w="2724" cap="flat">
                <a:noFill/>
                <a:prstDash val="solid"/>
                <a:miter/>
              </a:ln>
            </p:spPr>
            <p:txBody>
              <a:bodyPr rtlCol="0" anchor="ctr"/>
              <a:lstStyle/>
              <a:p>
                <a:endParaRPr lang="en-GB" dirty="0"/>
              </a:p>
            </p:txBody>
          </p:sp>
          <p:grpSp>
            <p:nvGrpSpPr>
              <p:cNvPr id="100" name="Grafik 20">
                <a:extLst>
                  <a:ext uri="{FF2B5EF4-FFF2-40B4-BE49-F238E27FC236}">
                    <a16:creationId xmlns:a16="http://schemas.microsoft.com/office/drawing/2014/main" id="{E91FD19B-5131-4CE1-A715-AEA44433CC1F}"/>
                  </a:ext>
                </a:extLst>
              </p:cNvPr>
              <p:cNvGrpSpPr/>
              <p:nvPr/>
            </p:nvGrpSpPr>
            <p:grpSpPr>
              <a:xfrm>
                <a:off x="6509772" y="3695968"/>
                <a:ext cx="229178" cy="148071"/>
                <a:chOff x="6509772" y="3695968"/>
                <a:chExt cx="229178" cy="148071"/>
              </a:xfrm>
              <a:grpFill/>
            </p:grpSpPr>
            <p:sp>
              <p:nvSpPr>
                <p:cNvPr id="108" name="Freihandform: Form 852">
                  <a:extLst>
                    <a:ext uri="{FF2B5EF4-FFF2-40B4-BE49-F238E27FC236}">
                      <a16:creationId xmlns:a16="http://schemas.microsoft.com/office/drawing/2014/main" id="{E2BFECC5-2023-4954-8F92-1401A6E64DB7}"/>
                    </a:ext>
                  </a:extLst>
                </p:cNvPr>
                <p:cNvSpPr/>
                <p:nvPr/>
              </p:nvSpPr>
              <p:spPr>
                <a:xfrm>
                  <a:off x="6533695" y="3696058"/>
                  <a:ext cx="198904" cy="108355"/>
                </a:xfrm>
                <a:custGeom>
                  <a:avLst/>
                  <a:gdLst>
                    <a:gd name="connsiteX0" fmla="*/ 183135 w 198904"/>
                    <a:gd name="connsiteY0" fmla="*/ 108356 h 108355"/>
                    <a:gd name="connsiteX1" fmla="*/ 5325 w 198904"/>
                    <a:gd name="connsiteY1" fmla="*/ 108356 h 108355"/>
                    <a:gd name="connsiteX2" fmla="*/ 0 w 198904"/>
                    <a:gd name="connsiteY2" fmla="*/ 103031 h 108355"/>
                    <a:gd name="connsiteX3" fmla="*/ 5325 w 198904"/>
                    <a:gd name="connsiteY3" fmla="*/ 97705 h 108355"/>
                    <a:gd name="connsiteX4" fmla="*/ 181551 w 198904"/>
                    <a:gd name="connsiteY4" fmla="*/ 97705 h 108355"/>
                    <a:gd name="connsiteX5" fmla="*/ 187668 w 198904"/>
                    <a:gd name="connsiteY5" fmla="*/ 83395 h 108355"/>
                    <a:gd name="connsiteX6" fmla="*/ 177973 w 198904"/>
                    <a:gd name="connsiteY6" fmla="*/ 73346 h 108355"/>
                    <a:gd name="connsiteX7" fmla="*/ 177072 w 198904"/>
                    <a:gd name="connsiteY7" fmla="*/ 73346 h 108355"/>
                    <a:gd name="connsiteX8" fmla="*/ 145175 w 198904"/>
                    <a:gd name="connsiteY8" fmla="*/ 34102 h 108355"/>
                    <a:gd name="connsiteX9" fmla="*/ 144820 w 198904"/>
                    <a:gd name="connsiteY9" fmla="*/ 30498 h 108355"/>
                    <a:gd name="connsiteX10" fmla="*/ 140068 w 198904"/>
                    <a:gd name="connsiteY10" fmla="*/ 11845 h 108355"/>
                    <a:gd name="connsiteX11" fmla="*/ 128408 w 198904"/>
                    <a:gd name="connsiteY11" fmla="*/ 10616 h 108355"/>
                    <a:gd name="connsiteX12" fmla="*/ 123738 w 198904"/>
                    <a:gd name="connsiteY12" fmla="*/ 4690 h 108355"/>
                    <a:gd name="connsiteX13" fmla="*/ 129664 w 198904"/>
                    <a:gd name="connsiteY13" fmla="*/ 20 h 108355"/>
                    <a:gd name="connsiteX14" fmla="*/ 142308 w 198904"/>
                    <a:gd name="connsiteY14" fmla="*/ 1277 h 108355"/>
                    <a:gd name="connsiteX15" fmla="*/ 145667 w 198904"/>
                    <a:gd name="connsiteY15" fmla="*/ 2478 h 108355"/>
                    <a:gd name="connsiteX16" fmla="*/ 155607 w 198904"/>
                    <a:gd name="connsiteY16" fmla="*/ 31071 h 108355"/>
                    <a:gd name="connsiteX17" fmla="*/ 178574 w 198904"/>
                    <a:gd name="connsiteY17" fmla="*/ 62695 h 108355"/>
                    <a:gd name="connsiteX18" fmla="*/ 197800 w 198904"/>
                    <a:gd name="connsiteY18" fmla="*/ 80091 h 108355"/>
                    <a:gd name="connsiteX19" fmla="*/ 185975 w 198904"/>
                    <a:gd name="connsiteY19" fmla="*/ 107536 h 108355"/>
                    <a:gd name="connsiteX20" fmla="*/ 183135 w 198904"/>
                    <a:gd name="connsiteY20" fmla="*/ 108356 h 108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8904" h="108355">
                      <a:moveTo>
                        <a:pt x="183135" y="108356"/>
                      </a:moveTo>
                      <a:lnTo>
                        <a:pt x="5325" y="108356"/>
                      </a:lnTo>
                      <a:cubicBezTo>
                        <a:pt x="2376" y="108356"/>
                        <a:pt x="0" y="105980"/>
                        <a:pt x="0" y="103031"/>
                      </a:cubicBezTo>
                      <a:cubicBezTo>
                        <a:pt x="0" y="100081"/>
                        <a:pt x="2376" y="97705"/>
                        <a:pt x="5325" y="97705"/>
                      </a:cubicBezTo>
                      <a:lnTo>
                        <a:pt x="181551" y="97705"/>
                      </a:lnTo>
                      <a:cubicBezTo>
                        <a:pt x="187368" y="93664"/>
                        <a:pt x="189416" y="88830"/>
                        <a:pt x="187668" y="83395"/>
                      </a:cubicBezTo>
                      <a:cubicBezTo>
                        <a:pt x="185647" y="77114"/>
                        <a:pt x="179885" y="73291"/>
                        <a:pt x="177973" y="73346"/>
                      </a:cubicBezTo>
                      <a:cubicBezTo>
                        <a:pt x="177673" y="73373"/>
                        <a:pt x="177373" y="73373"/>
                        <a:pt x="177072" y="73346"/>
                      </a:cubicBezTo>
                      <a:cubicBezTo>
                        <a:pt x="166422" y="72226"/>
                        <a:pt x="145366" y="34485"/>
                        <a:pt x="145175" y="34102"/>
                      </a:cubicBezTo>
                      <a:cubicBezTo>
                        <a:pt x="144629" y="32983"/>
                        <a:pt x="144520" y="31699"/>
                        <a:pt x="144820" y="30498"/>
                      </a:cubicBezTo>
                      <a:cubicBezTo>
                        <a:pt x="147251" y="20966"/>
                        <a:pt x="142390" y="14330"/>
                        <a:pt x="140068" y="11845"/>
                      </a:cubicBezTo>
                      <a:cubicBezTo>
                        <a:pt x="138102" y="11709"/>
                        <a:pt x="134689" y="11381"/>
                        <a:pt x="128408" y="10616"/>
                      </a:cubicBezTo>
                      <a:cubicBezTo>
                        <a:pt x="125485" y="10261"/>
                        <a:pt x="123410" y="7612"/>
                        <a:pt x="123738" y="4690"/>
                      </a:cubicBezTo>
                      <a:cubicBezTo>
                        <a:pt x="124093" y="1768"/>
                        <a:pt x="126742" y="-225"/>
                        <a:pt x="129664" y="20"/>
                      </a:cubicBezTo>
                      <a:cubicBezTo>
                        <a:pt x="139113" y="1140"/>
                        <a:pt x="141652" y="1277"/>
                        <a:pt x="142308" y="1277"/>
                      </a:cubicBezTo>
                      <a:cubicBezTo>
                        <a:pt x="143537" y="1277"/>
                        <a:pt x="144738" y="1714"/>
                        <a:pt x="145667" y="2478"/>
                      </a:cubicBezTo>
                      <a:cubicBezTo>
                        <a:pt x="146240" y="2943"/>
                        <a:pt x="158939" y="13538"/>
                        <a:pt x="155607" y="31071"/>
                      </a:cubicBezTo>
                      <a:cubicBezTo>
                        <a:pt x="160141" y="39509"/>
                        <a:pt x="173932" y="59664"/>
                        <a:pt x="178574" y="62695"/>
                      </a:cubicBezTo>
                      <a:cubicBezTo>
                        <a:pt x="186084" y="63077"/>
                        <a:pt x="194823" y="70860"/>
                        <a:pt x="197800" y="80091"/>
                      </a:cubicBezTo>
                      <a:cubicBezTo>
                        <a:pt x="199411" y="85116"/>
                        <a:pt x="201514" y="97842"/>
                        <a:pt x="185975" y="107536"/>
                      </a:cubicBezTo>
                      <a:cubicBezTo>
                        <a:pt x="185128" y="108083"/>
                        <a:pt x="184145" y="108356"/>
                        <a:pt x="183135" y="108356"/>
                      </a:cubicBezTo>
                      <a:close/>
                    </a:path>
                  </a:pathLst>
                </a:custGeom>
                <a:grpFill/>
                <a:ln w="2724" cap="flat">
                  <a:noFill/>
                  <a:prstDash val="solid"/>
                  <a:miter/>
                </a:ln>
              </p:spPr>
              <p:txBody>
                <a:bodyPr rtlCol="0" anchor="ctr"/>
                <a:lstStyle/>
                <a:p>
                  <a:endParaRPr lang="en-GB" dirty="0"/>
                </a:p>
              </p:txBody>
            </p:sp>
            <p:sp>
              <p:nvSpPr>
                <p:cNvPr id="109" name="Freihandform: Form 853">
                  <a:extLst>
                    <a:ext uri="{FF2B5EF4-FFF2-40B4-BE49-F238E27FC236}">
                      <a16:creationId xmlns:a16="http://schemas.microsoft.com/office/drawing/2014/main" id="{5BAE42BC-BC36-4C66-B201-5FA77B3D79EE}"/>
                    </a:ext>
                  </a:extLst>
                </p:cNvPr>
                <p:cNvSpPr/>
                <p:nvPr/>
              </p:nvSpPr>
              <p:spPr>
                <a:xfrm>
                  <a:off x="6509772" y="3695968"/>
                  <a:ext cx="31690" cy="12017"/>
                </a:xfrm>
                <a:custGeom>
                  <a:avLst/>
                  <a:gdLst>
                    <a:gd name="connsiteX0" fmla="*/ 5325 w 31690"/>
                    <a:gd name="connsiteY0" fmla="*/ 12018 h 12017"/>
                    <a:gd name="connsiteX1" fmla="*/ 0 w 31690"/>
                    <a:gd name="connsiteY1" fmla="*/ 6693 h 12017"/>
                    <a:gd name="connsiteX2" fmla="*/ 5325 w 31690"/>
                    <a:gd name="connsiteY2" fmla="*/ 1367 h 12017"/>
                    <a:gd name="connsiteX3" fmla="*/ 25725 w 31690"/>
                    <a:gd name="connsiteY3" fmla="*/ 29 h 12017"/>
                    <a:gd name="connsiteX4" fmla="*/ 31651 w 31690"/>
                    <a:gd name="connsiteY4" fmla="*/ 4699 h 12017"/>
                    <a:gd name="connsiteX5" fmla="*/ 26981 w 31690"/>
                    <a:gd name="connsiteY5" fmla="*/ 10625 h 12017"/>
                    <a:gd name="connsiteX6" fmla="*/ 5325 w 31690"/>
                    <a:gd name="connsiteY6" fmla="*/ 12018 h 12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90" h="12017">
                      <a:moveTo>
                        <a:pt x="5325" y="12018"/>
                      </a:moveTo>
                      <a:cubicBezTo>
                        <a:pt x="2376" y="12018"/>
                        <a:pt x="0" y="9642"/>
                        <a:pt x="0" y="6693"/>
                      </a:cubicBezTo>
                      <a:cubicBezTo>
                        <a:pt x="0" y="3743"/>
                        <a:pt x="2376" y="1367"/>
                        <a:pt x="5325" y="1367"/>
                      </a:cubicBezTo>
                      <a:cubicBezTo>
                        <a:pt x="6909" y="1367"/>
                        <a:pt x="19062" y="821"/>
                        <a:pt x="25725" y="29"/>
                      </a:cubicBezTo>
                      <a:cubicBezTo>
                        <a:pt x="28620" y="-271"/>
                        <a:pt x="31296" y="1777"/>
                        <a:pt x="31651" y="4699"/>
                      </a:cubicBezTo>
                      <a:cubicBezTo>
                        <a:pt x="32006" y="7621"/>
                        <a:pt x="29904" y="10270"/>
                        <a:pt x="26981" y="10625"/>
                      </a:cubicBezTo>
                      <a:cubicBezTo>
                        <a:pt x="19799" y="11472"/>
                        <a:pt x="7319" y="12018"/>
                        <a:pt x="5325" y="12018"/>
                      </a:cubicBezTo>
                      <a:close/>
                    </a:path>
                  </a:pathLst>
                </a:custGeom>
                <a:grpFill/>
                <a:ln w="2724" cap="flat">
                  <a:noFill/>
                  <a:prstDash val="solid"/>
                  <a:miter/>
                </a:ln>
              </p:spPr>
              <p:txBody>
                <a:bodyPr rtlCol="0" anchor="ctr"/>
                <a:lstStyle/>
                <a:p>
                  <a:endParaRPr lang="en-GB" dirty="0"/>
                </a:p>
              </p:txBody>
            </p:sp>
            <p:sp>
              <p:nvSpPr>
                <p:cNvPr id="110" name="Freihandform: Form 854">
                  <a:extLst>
                    <a:ext uri="{FF2B5EF4-FFF2-40B4-BE49-F238E27FC236}">
                      <a16:creationId xmlns:a16="http://schemas.microsoft.com/office/drawing/2014/main" id="{F2929D42-A78A-456E-8562-DD2D1286F490}"/>
                    </a:ext>
                  </a:extLst>
                </p:cNvPr>
                <p:cNvSpPr/>
                <p:nvPr/>
              </p:nvSpPr>
              <p:spPr>
                <a:xfrm>
                  <a:off x="6532520" y="3793463"/>
                  <a:ext cx="206429" cy="50576"/>
                </a:xfrm>
                <a:custGeom>
                  <a:avLst/>
                  <a:gdLst>
                    <a:gd name="connsiteX0" fmla="*/ 179912 w 206429"/>
                    <a:gd name="connsiteY0" fmla="*/ 50576 h 50576"/>
                    <a:gd name="connsiteX1" fmla="*/ 13600 w 206429"/>
                    <a:gd name="connsiteY1" fmla="*/ 50576 h 50576"/>
                    <a:gd name="connsiteX2" fmla="*/ 8275 w 206429"/>
                    <a:gd name="connsiteY2" fmla="*/ 45251 h 50576"/>
                    <a:gd name="connsiteX3" fmla="*/ 13600 w 206429"/>
                    <a:gd name="connsiteY3" fmla="*/ 39926 h 50576"/>
                    <a:gd name="connsiteX4" fmla="*/ 179912 w 206429"/>
                    <a:gd name="connsiteY4" fmla="*/ 39926 h 50576"/>
                    <a:gd name="connsiteX5" fmla="*/ 195779 w 206429"/>
                    <a:gd name="connsiteY5" fmla="*/ 25288 h 50576"/>
                    <a:gd name="connsiteX6" fmla="*/ 179912 w 206429"/>
                    <a:gd name="connsiteY6" fmla="*/ 10650 h 50576"/>
                    <a:gd name="connsiteX7" fmla="*/ 5325 w 206429"/>
                    <a:gd name="connsiteY7" fmla="*/ 10650 h 50576"/>
                    <a:gd name="connsiteX8" fmla="*/ 0 w 206429"/>
                    <a:gd name="connsiteY8" fmla="*/ 5325 h 50576"/>
                    <a:gd name="connsiteX9" fmla="*/ 5325 w 206429"/>
                    <a:gd name="connsiteY9" fmla="*/ 0 h 50576"/>
                    <a:gd name="connsiteX10" fmla="*/ 179912 w 206429"/>
                    <a:gd name="connsiteY10" fmla="*/ 0 h 50576"/>
                    <a:gd name="connsiteX11" fmla="*/ 206430 w 206429"/>
                    <a:gd name="connsiteY11" fmla="*/ 25288 h 50576"/>
                    <a:gd name="connsiteX12" fmla="*/ 179912 w 206429"/>
                    <a:gd name="connsiteY12" fmla="*/ 50576 h 5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6429" h="50576">
                      <a:moveTo>
                        <a:pt x="179912" y="50576"/>
                      </a:moveTo>
                      <a:lnTo>
                        <a:pt x="13600" y="50576"/>
                      </a:lnTo>
                      <a:cubicBezTo>
                        <a:pt x="10651" y="50576"/>
                        <a:pt x="8275" y="48200"/>
                        <a:pt x="8275" y="45251"/>
                      </a:cubicBezTo>
                      <a:cubicBezTo>
                        <a:pt x="8275" y="42302"/>
                        <a:pt x="10651" y="39926"/>
                        <a:pt x="13600" y="39926"/>
                      </a:cubicBezTo>
                      <a:lnTo>
                        <a:pt x="179912" y="39926"/>
                      </a:lnTo>
                      <a:cubicBezTo>
                        <a:pt x="188651" y="39926"/>
                        <a:pt x="195779" y="33372"/>
                        <a:pt x="195779" y="25288"/>
                      </a:cubicBezTo>
                      <a:cubicBezTo>
                        <a:pt x="195779" y="17205"/>
                        <a:pt x="188651" y="10650"/>
                        <a:pt x="179912" y="10650"/>
                      </a:cubicBezTo>
                      <a:lnTo>
                        <a:pt x="5325" y="10650"/>
                      </a:lnTo>
                      <a:cubicBezTo>
                        <a:pt x="2376" y="10650"/>
                        <a:pt x="0" y="8275"/>
                        <a:pt x="0" y="5325"/>
                      </a:cubicBezTo>
                      <a:cubicBezTo>
                        <a:pt x="0" y="2376"/>
                        <a:pt x="2376" y="0"/>
                        <a:pt x="5325" y="0"/>
                      </a:cubicBezTo>
                      <a:lnTo>
                        <a:pt x="179912" y="0"/>
                      </a:lnTo>
                      <a:cubicBezTo>
                        <a:pt x="194550" y="0"/>
                        <a:pt x="206430" y="11333"/>
                        <a:pt x="206430" y="25288"/>
                      </a:cubicBezTo>
                      <a:cubicBezTo>
                        <a:pt x="206430" y="39243"/>
                        <a:pt x="194550" y="50576"/>
                        <a:pt x="179912" y="50576"/>
                      </a:cubicBezTo>
                      <a:close/>
                    </a:path>
                  </a:pathLst>
                </a:custGeom>
                <a:grpFill/>
                <a:ln w="2724" cap="flat">
                  <a:noFill/>
                  <a:prstDash val="solid"/>
                  <a:miter/>
                </a:ln>
              </p:spPr>
              <p:txBody>
                <a:bodyPr rtlCol="0" anchor="ctr"/>
                <a:lstStyle/>
                <a:p>
                  <a:endParaRPr lang="en-GB" dirty="0"/>
                </a:p>
              </p:txBody>
            </p:sp>
          </p:grpSp>
          <p:sp>
            <p:nvSpPr>
              <p:cNvPr id="101" name="Freihandform: Form 856">
                <a:extLst>
                  <a:ext uri="{FF2B5EF4-FFF2-40B4-BE49-F238E27FC236}">
                    <a16:creationId xmlns:a16="http://schemas.microsoft.com/office/drawing/2014/main" id="{81215B84-5EB1-4C13-A642-74DC4BB94B4F}"/>
                  </a:ext>
                </a:extLst>
              </p:cNvPr>
              <p:cNvSpPr/>
              <p:nvPr/>
            </p:nvSpPr>
            <p:spPr>
              <a:xfrm>
                <a:off x="6128345" y="3434976"/>
                <a:ext cx="140887" cy="125758"/>
              </a:xfrm>
              <a:custGeom>
                <a:avLst/>
                <a:gdLst>
                  <a:gd name="connsiteX0" fmla="*/ 28702 w 140887"/>
                  <a:gd name="connsiteY0" fmla="*/ 125758 h 125758"/>
                  <a:gd name="connsiteX1" fmla="*/ 25288 w 140887"/>
                  <a:gd name="connsiteY1" fmla="*/ 124530 h 125758"/>
                  <a:gd name="connsiteX2" fmla="*/ 0 w 140887"/>
                  <a:gd name="connsiteY2" fmla="*/ 70458 h 125758"/>
                  <a:gd name="connsiteX3" fmla="*/ 70430 w 140887"/>
                  <a:gd name="connsiteY3" fmla="*/ 0 h 125758"/>
                  <a:gd name="connsiteX4" fmla="*/ 140888 w 140887"/>
                  <a:gd name="connsiteY4" fmla="*/ 70458 h 125758"/>
                  <a:gd name="connsiteX5" fmla="*/ 116856 w 140887"/>
                  <a:gd name="connsiteY5" fmla="*/ 123437 h 125758"/>
                  <a:gd name="connsiteX6" fmla="*/ 109346 w 140887"/>
                  <a:gd name="connsiteY6" fmla="*/ 122946 h 125758"/>
                  <a:gd name="connsiteX7" fmla="*/ 109837 w 140887"/>
                  <a:gd name="connsiteY7" fmla="*/ 115436 h 125758"/>
                  <a:gd name="connsiteX8" fmla="*/ 130237 w 140887"/>
                  <a:gd name="connsiteY8" fmla="*/ 70458 h 125758"/>
                  <a:gd name="connsiteX9" fmla="*/ 70457 w 140887"/>
                  <a:gd name="connsiteY9" fmla="*/ 10678 h 125758"/>
                  <a:gd name="connsiteX10" fmla="*/ 10678 w 140887"/>
                  <a:gd name="connsiteY10" fmla="*/ 70458 h 125758"/>
                  <a:gd name="connsiteX11" fmla="*/ 32143 w 140887"/>
                  <a:gd name="connsiteY11" fmla="*/ 116337 h 125758"/>
                  <a:gd name="connsiteX12" fmla="*/ 32826 w 140887"/>
                  <a:gd name="connsiteY12" fmla="*/ 123847 h 125758"/>
                  <a:gd name="connsiteX13" fmla="*/ 28702 w 140887"/>
                  <a:gd name="connsiteY13" fmla="*/ 125758 h 1257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887" h="125758">
                    <a:moveTo>
                      <a:pt x="28702" y="125758"/>
                    </a:moveTo>
                    <a:cubicBezTo>
                      <a:pt x="27500" y="125758"/>
                      <a:pt x="26271" y="125349"/>
                      <a:pt x="25288" y="124530"/>
                    </a:cubicBezTo>
                    <a:cubicBezTo>
                      <a:pt x="9230" y="111093"/>
                      <a:pt x="0" y="91404"/>
                      <a:pt x="0" y="70458"/>
                    </a:cubicBezTo>
                    <a:cubicBezTo>
                      <a:pt x="0" y="31624"/>
                      <a:pt x="31597" y="0"/>
                      <a:pt x="70430" y="0"/>
                    </a:cubicBezTo>
                    <a:cubicBezTo>
                      <a:pt x="109264" y="0"/>
                      <a:pt x="140888" y="31597"/>
                      <a:pt x="140888" y="70458"/>
                    </a:cubicBezTo>
                    <a:cubicBezTo>
                      <a:pt x="140888" y="90748"/>
                      <a:pt x="132122" y="110083"/>
                      <a:pt x="116856" y="123437"/>
                    </a:cubicBezTo>
                    <a:cubicBezTo>
                      <a:pt x="114644" y="125376"/>
                      <a:pt x="111285" y="125158"/>
                      <a:pt x="109346" y="122946"/>
                    </a:cubicBezTo>
                    <a:cubicBezTo>
                      <a:pt x="107407" y="120734"/>
                      <a:pt x="107625" y="117375"/>
                      <a:pt x="109837" y="115436"/>
                    </a:cubicBezTo>
                    <a:cubicBezTo>
                      <a:pt x="122782" y="104075"/>
                      <a:pt x="130237" y="87690"/>
                      <a:pt x="130237" y="70458"/>
                    </a:cubicBezTo>
                    <a:cubicBezTo>
                      <a:pt x="130237" y="37495"/>
                      <a:pt x="103420" y="10678"/>
                      <a:pt x="70457" y="10678"/>
                    </a:cubicBezTo>
                    <a:cubicBezTo>
                      <a:pt x="37495" y="10678"/>
                      <a:pt x="10678" y="37495"/>
                      <a:pt x="10678" y="70458"/>
                    </a:cubicBezTo>
                    <a:cubicBezTo>
                      <a:pt x="10678" y="88208"/>
                      <a:pt x="18488" y="104949"/>
                      <a:pt x="32143" y="116337"/>
                    </a:cubicBezTo>
                    <a:cubicBezTo>
                      <a:pt x="34409" y="118221"/>
                      <a:pt x="34710" y="121580"/>
                      <a:pt x="32826" y="123847"/>
                    </a:cubicBezTo>
                    <a:cubicBezTo>
                      <a:pt x="31733" y="125103"/>
                      <a:pt x="30204" y="125758"/>
                      <a:pt x="28702" y="125758"/>
                    </a:cubicBezTo>
                    <a:close/>
                  </a:path>
                </a:pathLst>
              </a:custGeom>
              <a:grpFill/>
              <a:ln w="2724" cap="flat">
                <a:noFill/>
                <a:prstDash val="solid"/>
                <a:miter/>
              </a:ln>
            </p:spPr>
            <p:txBody>
              <a:bodyPr rtlCol="0" anchor="ctr"/>
              <a:lstStyle/>
              <a:p>
                <a:endParaRPr lang="en-GB" dirty="0"/>
              </a:p>
            </p:txBody>
          </p:sp>
          <p:sp>
            <p:nvSpPr>
              <p:cNvPr id="102" name="Freihandform: Form 857">
                <a:extLst>
                  <a:ext uri="{FF2B5EF4-FFF2-40B4-BE49-F238E27FC236}">
                    <a16:creationId xmlns:a16="http://schemas.microsoft.com/office/drawing/2014/main" id="{FA2184B5-1F22-4AE8-BE97-403040843E83}"/>
                  </a:ext>
                </a:extLst>
              </p:cNvPr>
              <p:cNvSpPr/>
              <p:nvPr/>
            </p:nvSpPr>
            <p:spPr>
              <a:xfrm>
                <a:off x="6110813" y="3549948"/>
                <a:ext cx="175925" cy="64558"/>
              </a:xfrm>
              <a:custGeom>
                <a:avLst/>
                <a:gdLst>
                  <a:gd name="connsiteX0" fmla="*/ 143646 w 175925"/>
                  <a:gd name="connsiteY0" fmla="*/ 64559 h 64558"/>
                  <a:gd name="connsiteX1" fmla="*/ 32279 w 175925"/>
                  <a:gd name="connsiteY1" fmla="*/ 64559 h 64558"/>
                  <a:gd name="connsiteX2" fmla="*/ 0 w 175925"/>
                  <a:gd name="connsiteY2" fmla="*/ 32279 h 64558"/>
                  <a:gd name="connsiteX3" fmla="*/ 32279 w 175925"/>
                  <a:gd name="connsiteY3" fmla="*/ 0 h 64558"/>
                  <a:gd name="connsiteX4" fmla="*/ 143646 w 175925"/>
                  <a:gd name="connsiteY4" fmla="*/ 0 h 64558"/>
                  <a:gd name="connsiteX5" fmla="*/ 175925 w 175925"/>
                  <a:gd name="connsiteY5" fmla="*/ 32279 h 64558"/>
                  <a:gd name="connsiteX6" fmla="*/ 143646 w 175925"/>
                  <a:gd name="connsiteY6" fmla="*/ 64559 h 64558"/>
                  <a:gd name="connsiteX7" fmla="*/ 32279 w 175925"/>
                  <a:gd name="connsiteY7" fmla="*/ 10678 h 64558"/>
                  <a:gd name="connsiteX8" fmla="*/ 10651 w 175925"/>
                  <a:gd name="connsiteY8" fmla="*/ 32307 h 64558"/>
                  <a:gd name="connsiteX9" fmla="*/ 32279 w 175925"/>
                  <a:gd name="connsiteY9" fmla="*/ 53908 h 64558"/>
                  <a:gd name="connsiteX10" fmla="*/ 143646 w 175925"/>
                  <a:gd name="connsiteY10" fmla="*/ 53908 h 64558"/>
                  <a:gd name="connsiteX11" fmla="*/ 165248 w 175925"/>
                  <a:gd name="connsiteY11" fmla="*/ 32307 h 64558"/>
                  <a:gd name="connsiteX12" fmla="*/ 143646 w 175925"/>
                  <a:gd name="connsiteY12" fmla="*/ 10678 h 64558"/>
                  <a:gd name="connsiteX13" fmla="*/ 32279 w 175925"/>
                  <a:gd name="connsiteY13" fmla="*/ 10678 h 64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925" h="64558">
                    <a:moveTo>
                      <a:pt x="143646" y="64559"/>
                    </a:moveTo>
                    <a:lnTo>
                      <a:pt x="32279" y="64559"/>
                    </a:lnTo>
                    <a:cubicBezTo>
                      <a:pt x="14474" y="64559"/>
                      <a:pt x="0" y="50085"/>
                      <a:pt x="0" y="32279"/>
                    </a:cubicBezTo>
                    <a:cubicBezTo>
                      <a:pt x="0" y="14474"/>
                      <a:pt x="14474" y="0"/>
                      <a:pt x="32279" y="0"/>
                    </a:cubicBezTo>
                    <a:lnTo>
                      <a:pt x="143646" y="0"/>
                    </a:lnTo>
                    <a:cubicBezTo>
                      <a:pt x="161451" y="0"/>
                      <a:pt x="175925" y="14474"/>
                      <a:pt x="175925" y="32279"/>
                    </a:cubicBezTo>
                    <a:cubicBezTo>
                      <a:pt x="175925" y="50085"/>
                      <a:pt x="161451" y="64559"/>
                      <a:pt x="143646" y="64559"/>
                    </a:cubicBezTo>
                    <a:close/>
                    <a:moveTo>
                      <a:pt x="32279" y="10678"/>
                    </a:moveTo>
                    <a:cubicBezTo>
                      <a:pt x="20373" y="10678"/>
                      <a:pt x="10651" y="20373"/>
                      <a:pt x="10651" y="32307"/>
                    </a:cubicBezTo>
                    <a:cubicBezTo>
                      <a:pt x="10651" y="44213"/>
                      <a:pt x="20345" y="53908"/>
                      <a:pt x="32279" y="53908"/>
                    </a:cubicBezTo>
                    <a:lnTo>
                      <a:pt x="143646" y="53908"/>
                    </a:lnTo>
                    <a:cubicBezTo>
                      <a:pt x="155553" y="53908"/>
                      <a:pt x="165248" y="44213"/>
                      <a:pt x="165248" y="32307"/>
                    </a:cubicBezTo>
                    <a:cubicBezTo>
                      <a:pt x="165248" y="20373"/>
                      <a:pt x="155553" y="10678"/>
                      <a:pt x="143646" y="10678"/>
                    </a:cubicBezTo>
                    <a:lnTo>
                      <a:pt x="32279" y="10678"/>
                    </a:lnTo>
                    <a:close/>
                  </a:path>
                </a:pathLst>
              </a:custGeom>
              <a:grpFill/>
              <a:ln w="2724" cap="flat">
                <a:noFill/>
                <a:prstDash val="solid"/>
                <a:miter/>
              </a:ln>
            </p:spPr>
            <p:txBody>
              <a:bodyPr rtlCol="0" anchor="ctr"/>
              <a:lstStyle/>
              <a:p>
                <a:endParaRPr lang="en-GB" dirty="0"/>
              </a:p>
            </p:txBody>
          </p:sp>
          <p:sp>
            <p:nvSpPr>
              <p:cNvPr id="103" name="Freihandform: Form 858">
                <a:extLst>
                  <a:ext uri="{FF2B5EF4-FFF2-40B4-BE49-F238E27FC236}">
                    <a16:creationId xmlns:a16="http://schemas.microsoft.com/office/drawing/2014/main" id="{66B7B698-F3EF-4655-821D-2E641D5AF2BB}"/>
                  </a:ext>
                </a:extLst>
              </p:cNvPr>
              <p:cNvSpPr/>
              <p:nvPr/>
            </p:nvSpPr>
            <p:spPr>
              <a:xfrm>
                <a:off x="6125200" y="3603648"/>
                <a:ext cx="147179" cy="103354"/>
              </a:xfrm>
              <a:custGeom>
                <a:avLst/>
                <a:gdLst>
                  <a:gd name="connsiteX0" fmla="*/ 141849 w 147179"/>
                  <a:gd name="connsiteY0" fmla="*/ 103355 h 103354"/>
                  <a:gd name="connsiteX1" fmla="*/ 5330 w 147179"/>
                  <a:gd name="connsiteY1" fmla="*/ 103355 h 103354"/>
                  <a:gd name="connsiteX2" fmla="*/ 551 w 147179"/>
                  <a:gd name="connsiteY2" fmla="*/ 100378 h 103354"/>
                  <a:gd name="connsiteX3" fmla="*/ 1098 w 147179"/>
                  <a:gd name="connsiteY3" fmla="*/ 94779 h 103354"/>
                  <a:gd name="connsiteX4" fmla="*/ 22890 w 147179"/>
                  <a:gd name="connsiteY4" fmla="*/ 6107 h 103354"/>
                  <a:gd name="connsiteX5" fmla="*/ 27424 w 147179"/>
                  <a:gd name="connsiteY5" fmla="*/ 71 h 103354"/>
                  <a:gd name="connsiteX6" fmla="*/ 33459 w 147179"/>
                  <a:gd name="connsiteY6" fmla="*/ 4605 h 103354"/>
                  <a:gd name="connsiteX7" fmla="*/ 15544 w 147179"/>
                  <a:gd name="connsiteY7" fmla="*/ 92677 h 103354"/>
                  <a:gd name="connsiteX8" fmla="*/ 131635 w 147179"/>
                  <a:gd name="connsiteY8" fmla="*/ 92677 h 103354"/>
                  <a:gd name="connsiteX9" fmla="*/ 113638 w 147179"/>
                  <a:gd name="connsiteY9" fmla="*/ 5288 h 103354"/>
                  <a:gd name="connsiteX10" fmla="*/ 119646 w 147179"/>
                  <a:gd name="connsiteY10" fmla="*/ 727 h 103354"/>
                  <a:gd name="connsiteX11" fmla="*/ 124207 w 147179"/>
                  <a:gd name="connsiteY11" fmla="*/ 6735 h 103354"/>
                  <a:gd name="connsiteX12" fmla="*/ 146082 w 147179"/>
                  <a:gd name="connsiteY12" fmla="*/ 94779 h 103354"/>
                  <a:gd name="connsiteX13" fmla="*/ 146628 w 147179"/>
                  <a:gd name="connsiteY13" fmla="*/ 100378 h 103354"/>
                  <a:gd name="connsiteX14" fmla="*/ 141849 w 147179"/>
                  <a:gd name="connsiteY14" fmla="*/ 103355 h 103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7179" h="103354">
                    <a:moveTo>
                      <a:pt x="141849" y="103355"/>
                    </a:moveTo>
                    <a:lnTo>
                      <a:pt x="5330" y="103355"/>
                    </a:lnTo>
                    <a:cubicBezTo>
                      <a:pt x="3310" y="103355"/>
                      <a:pt x="1453" y="102208"/>
                      <a:pt x="551" y="100378"/>
                    </a:cubicBezTo>
                    <a:cubicBezTo>
                      <a:pt x="-350" y="98548"/>
                      <a:pt x="-131" y="96391"/>
                      <a:pt x="1098" y="94779"/>
                    </a:cubicBezTo>
                    <a:cubicBezTo>
                      <a:pt x="27287" y="60534"/>
                      <a:pt x="25048" y="21345"/>
                      <a:pt x="22890" y="6107"/>
                    </a:cubicBezTo>
                    <a:cubicBezTo>
                      <a:pt x="22481" y="3185"/>
                      <a:pt x="24501" y="481"/>
                      <a:pt x="27424" y="71"/>
                    </a:cubicBezTo>
                    <a:cubicBezTo>
                      <a:pt x="30318" y="-420"/>
                      <a:pt x="33022" y="1683"/>
                      <a:pt x="33459" y="4605"/>
                    </a:cubicBezTo>
                    <a:cubicBezTo>
                      <a:pt x="35644" y="19925"/>
                      <a:pt x="37856" y="57503"/>
                      <a:pt x="15544" y="92677"/>
                    </a:cubicBezTo>
                    <a:lnTo>
                      <a:pt x="131635" y="92677"/>
                    </a:lnTo>
                    <a:cubicBezTo>
                      <a:pt x="109542" y="57803"/>
                      <a:pt x="111563" y="20526"/>
                      <a:pt x="113638" y="5288"/>
                    </a:cubicBezTo>
                    <a:cubicBezTo>
                      <a:pt x="114021" y="2365"/>
                      <a:pt x="116670" y="290"/>
                      <a:pt x="119646" y="727"/>
                    </a:cubicBezTo>
                    <a:cubicBezTo>
                      <a:pt x="122568" y="1109"/>
                      <a:pt x="124617" y="3813"/>
                      <a:pt x="124207" y="6735"/>
                    </a:cubicBezTo>
                    <a:cubicBezTo>
                      <a:pt x="122132" y="21891"/>
                      <a:pt x="120138" y="60807"/>
                      <a:pt x="146082" y="94779"/>
                    </a:cubicBezTo>
                    <a:cubicBezTo>
                      <a:pt x="147311" y="96391"/>
                      <a:pt x="147529" y="98548"/>
                      <a:pt x="146628" y="100378"/>
                    </a:cubicBezTo>
                    <a:cubicBezTo>
                      <a:pt x="145727" y="102208"/>
                      <a:pt x="143870" y="103355"/>
                      <a:pt x="141849" y="103355"/>
                    </a:cubicBezTo>
                    <a:close/>
                  </a:path>
                </a:pathLst>
              </a:custGeom>
              <a:grpFill/>
              <a:ln w="2724" cap="flat">
                <a:noFill/>
                <a:prstDash val="solid"/>
                <a:miter/>
              </a:ln>
            </p:spPr>
            <p:txBody>
              <a:bodyPr rtlCol="0" anchor="ctr"/>
              <a:lstStyle/>
              <a:p>
                <a:endParaRPr lang="en-GB" dirty="0"/>
              </a:p>
            </p:txBody>
          </p:sp>
          <p:grpSp>
            <p:nvGrpSpPr>
              <p:cNvPr id="104" name="Grafik 20">
                <a:extLst>
                  <a:ext uri="{FF2B5EF4-FFF2-40B4-BE49-F238E27FC236}">
                    <a16:creationId xmlns:a16="http://schemas.microsoft.com/office/drawing/2014/main" id="{7413271F-4803-444A-9188-3A71618D83B5}"/>
                  </a:ext>
                </a:extLst>
              </p:cNvPr>
              <p:cNvGrpSpPr/>
              <p:nvPr/>
            </p:nvGrpSpPr>
            <p:grpSpPr>
              <a:xfrm>
                <a:off x="6058926" y="3695968"/>
                <a:ext cx="222077" cy="148071"/>
                <a:chOff x="6058926" y="3695968"/>
                <a:chExt cx="222077" cy="148071"/>
              </a:xfrm>
              <a:grpFill/>
            </p:grpSpPr>
            <p:sp>
              <p:nvSpPr>
                <p:cNvPr id="105" name="Freihandform: Form 860">
                  <a:extLst>
                    <a:ext uri="{FF2B5EF4-FFF2-40B4-BE49-F238E27FC236}">
                      <a16:creationId xmlns:a16="http://schemas.microsoft.com/office/drawing/2014/main" id="{7D593985-35B3-407C-B6CE-81CCC8B88B84}"/>
                    </a:ext>
                  </a:extLst>
                </p:cNvPr>
                <p:cNvSpPr/>
                <p:nvPr/>
              </p:nvSpPr>
              <p:spPr>
                <a:xfrm>
                  <a:off x="6257074" y="3696031"/>
                  <a:ext cx="23929" cy="11954"/>
                </a:xfrm>
                <a:custGeom>
                  <a:avLst/>
                  <a:gdLst>
                    <a:gd name="connsiteX0" fmla="*/ 18604 w 23929"/>
                    <a:gd name="connsiteY0" fmla="*/ 11955 h 11954"/>
                    <a:gd name="connsiteX1" fmla="*/ 4704 w 23929"/>
                    <a:gd name="connsiteY1" fmla="*/ 10616 h 11954"/>
                    <a:gd name="connsiteX2" fmla="*/ 34 w 23929"/>
                    <a:gd name="connsiteY2" fmla="*/ 4690 h 11954"/>
                    <a:gd name="connsiteX3" fmla="*/ 5960 w 23929"/>
                    <a:gd name="connsiteY3" fmla="*/ 20 h 11954"/>
                    <a:gd name="connsiteX4" fmla="*/ 18604 w 23929"/>
                    <a:gd name="connsiteY4" fmla="*/ 1277 h 11954"/>
                    <a:gd name="connsiteX5" fmla="*/ 23930 w 23929"/>
                    <a:gd name="connsiteY5" fmla="*/ 6602 h 11954"/>
                    <a:gd name="connsiteX6" fmla="*/ 18604 w 23929"/>
                    <a:gd name="connsiteY6" fmla="*/ 11955 h 11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929" h="11954">
                      <a:moveTo>
                        <a:pt x="18604" y="11955"/>
                      </a:moveTo>
                      <a:cubicBezTo>
                        <a:pt x="17403" y="11955"/>
                        <a:pt x="14644" y="11818"/>
                        <a:pt x="4704" y="10616"/>
                      </a:cubicBezTo>
                      <a:cubicBezTo>
                        <a:pt x="1782" y="10261"/>
                        <a:pt x="-294" y="7612"/>
                        <a:pt x="34" y="4690"/>
                      </a:cubicBezTo>
                      <a:cubicBezTo>
                        <a:pt x="362" y="1768"/>
                        <a:pt x="3065" y="-225"/>
                        <a:pt x="5960" y="20"/>
                      </a:cubicBezTo>
                      <a:cubicBezTo>
                        <a:pt x="15409" y="1140"/>
                        <a:pt x="17949" y="1277"/>
                        <a:pt x="18604" y="1277"/>
                      </a:cubicBezTo>
                      <a:cubicBezTo>
                        <a:pt x="21554" y="1277"/>
                        <a:pt x="23930" y="3653"/>
                        <a:pt x="23930" y="6602"/>
                      </a:cubicBezTo>
                      <a:cubicBezTo>
                        <a:pt x="23930" y="9551"/>
                        <a:pt x="21526" y="11955"/>
                        <a:pt x="18604" y="11955"/>
                      </a:cubicBezTo>
                      <a:close/>
                    </a:path>
                  </a:pathLst>
                </a:custGeom>
                <a:grpFill/>
                <a:ln w="2724" cap="flat">
                  <a:noFill/>
                  <a:prstDash val="solid"/>
                  <a:miter/>
                </a:ln>
              </p:spPr>
              <p:txBody>
                <a:bodyPr rtlCol="0" anchor="ctr"/>
                <a:lstStyle/>
                <a:p>
                  <a:endParaRPr lang="en-GB" dirty="0"/>
                </a:p>
              </p:txBody>
            </p:sp>
            <p:sp>
              <p:nvSpPr>
                <p:cNvPr id="106" name="Freihandform: Form 861">
                  <a:extLst>
                    <a:ext uri="{FF2B5EF4-FFF2-40B4-BE49-F238E27FC236}">
                      <a16:creationId xmlns:a16="http://schemas.microsoft.com/office/drawing/2014/main" id="{AE14C285-D905-476F-8E8C-34CFFEE83662}"/>
                    </a:ext>
                  </a:extLst>
                </p:cNvPr>
                <p:cNvSpPr/>
                <p:nvPr/>
              </p:nvSpPr>
              <p:spPr>
                <a:xfrm>
                  <a:off x="6065292" y="3695968"/>
                  <a:ext cx="190532" cy="108446"/>
                </a:xfrm>
                <a:custGeom>
                  <a:avLst/>
                  <a:gdLst>
                    <a:gd name="connsiteX0" fmla="*/ 185180 w 190532"/>
                    <a:gd name="connsiteY0" fmla="*/ 108446 h 108446"/>
                    <a:gd name="connsiteX1" fmla="*/ 15754 w 190532"/>
                    <a:gd name="connsiteY1" fmla="*/ 108446 h 108446"/>
                    <a:gd name="connsiteX2" fmla="*/ 12941 w 190532"/>
                    <a:gd name="connsiteY2" fmla="*/ 107627 h 108446"/>
                    <a:gd name="connsiteX3" fmla="*/ 1116 w 190532"/>
                    <a:gd name="connsiteY3" fmla="*/ 80181 h 108446"/>
                    <a:gd name="connsiteX4" fmla="*/ 20342 w 190532"/>
                    <a:gd name="connsiteY4" fmla="*/ 62786 h 108446"/>
                    <a:gd name="connsiteX5" fmla="*/ 43309 w 190532"/>
                    <a:gd name="connsiteY5" fmla="*/ 31162 h 108446"/>
                    <a:gd name="connsiteX6" fmla="*/ 53250 w 190532"/>
                    <a:gd name="connsiteY6" fmla="*/ 2569 h 108446"/>
                    <a:gd name="connsiteX7" fmla="*/ 56609 w 190532"/>
                    <a:gd name="connsiteY7" fmla="*/ 1367 h 108446"/>
                    <a:gd name="connsiteX8" fmla="*/ 69908 w 190532"/>
                    <a:gd name="connsiteY8" fmla="*/ 29 h 108446"/>
                    <a:gd name="connsiteX9" fmla="*/ 75834 w 190532"/>
                    <a:gd name="connsiteY9" fmla="*/ 4699 h 108446"/>
                    <a:gd name="connsiteX10" fmla="*/ 71164 w 190532"/>
                    <a:gd name="connsiteY10" fmla="*/ 10625 h 108446"/>
                    <a:gd name="connsiteX11" fmla="*/ 58848 w 190532"/>
                    <a:gd name="connsiteY11" fmla="*/ 11936 h 108446"/>
                    <a:gd name="connsiteX12" fmla="*/ 54096 w 190532"/>
                    <a:gd name="connsiteY12" fmla="*/ 30588 h 108446"/>
                    <a:gd name="connsiteX13" fmla="*/ 53741 w 190532"/>
                    <a:gd name="connsiteY13" fmla="*/ 34193 h 108446"/>
                    <a:gd name="connsiteX14" fmla="*/ 21844 w 190532"/>
                    <a:gd name="connsiteY14" fmla="*/ 73436 h 108446"/>
                    <a:gd name="connsiteX15" fmla="*/ 20943 w 190532"/>
                    <a:gd name="connsiteY15" fmla="*/ 73436 h 108446"/>
                    <a:gd name="connsiteX16" fmla="*/ 11248 w 190532"/>
                    <a:gd name="connsiteY16" fmla="*/ 83486 h 108446"/>
                    <a:gd name="connsiteX17" fmla="*/ 17365 w 190532"/>
                    <a:gd name="connsiteY17" fmla="*/ 97796 h 108446"/>
                    <a:gd name="connsiteX18" fmla="*/ 185207 w 190532"/>
                    <a:gd name="connsiteY18" fmla="*/ 97796 h 108446"/>
                    <a:gd name="connsiteX19" fmla="*/ 190532 w 190532"/>
                    <a:gd name="connsiteY19" fmla="*/ 103121 h 108446"/>
                    <a:gd name="connsiteX20" fmla="*/ 185180 w 190532"/>
                    <a:gd name="connsiteY20" fmla="*/ 108446 h 10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90532" h="108446">
                      <a:moveTo>
                        <a:pt x="185180" y="108446"/>
                      </a:moveTo>
                      <a:lnTo>
                        <a:pt x="15754" y="108446"/>
                      </a:lnTo>
                      <a:cubicBezTo>
                        <a:pt x="14744" y="108446"/>
                        <a:pt x="13788" y="108173"/>
                        <a:pt x="12941" y="107627"/>
                      </a:cubicBezTo>
                      <a:cubicBezTo>
                        <a:pt x="-2598" y="97905"/>
                        <a:pt x="-522" y="85206"/>
                        <a:pt x="1116" y="80181"/>
                      </a:cubicBezTo>
                      <a:cubicBezTo>
                        <a:pt x="4093" y="70951"/>
                        <a:pt x="12832" y="63168"/>
                        <a:pt x="20342" y="62786"/>
                      </a:cubicBezTo>
                      <a:cubicBezTo>
                        <a:pt x="25012" y="59754"/>
                        <a:pt x="38776" y="39573"/>
                        <a:pt x="43309" y="31162"/>
                      </a:cubicBezTo>
                      <a:cubicBezTo>
                        <a:pt x="39977" y="13602"/>
                        <a:pt x="52676" y="3006"/>
                        <a:pt x="53250" y="2569"/>
                      </a:cubicBezTo>
                      <a:cubicBezTo>
                        <a:pt x="54205" y="1804"/>
                        <a:pt x="55380" y="1367"/>
                        <a:pt x="56609" y="1367"/>
                      </a:cubicBezTo>
                      <a:cubicBezTo>
                        <a:pt x="57428" y="1367"/>
                        <a:pt x="60213" y="1204"/>
                        <a:pt x="69908" y="29"/>
                      </a:cubicBezTo>
                      <a:cubicBezTo>
                        <a:pt x="72803" y="-271"/>
                        <a:pt x="75479" y="1777"/>
                        <a:pt x="75834" y="4699"/>
                      </a:cubicBezTo>
                      <a:cubicBezTo>
                        <a:pt x="76189" y="7621"/>
                        <a:pt x="74086" y="10270"/>
                        <a:pt x="71164" y="10625"/>
                      </a:cubicBezTo>
                      <a:cubicBezTo>
                        <a:pt x="64446" y="11417"/>
                        <a:pt x="60896" y="11772"/>
                        <a:pt x="58848" y="11936"/>
                      </a:cubicBezTo>
                      <a:cubicBezTo>
                        <a:pt x="56527" y="14448"/>
                        <a:pt x="51666" y="21057"/>
                        <a:pt x="54096" y="30588"/>
                      </a:cubicBezTo>
                      <a:cubicBezTo>
                        <a:pt x="54396" y="31790"/>
                        <a:pt x="54287" y="33073"/>
                        <a:pt x="53741" y="34193"/>
                      </a:cubicBezTo>
                      <a:cubicBezTo>
                        <a:pt x="53550" y="34575"/>
                        <a:pt x="32522" y="72316"/>
                        <a:pt x="21844" y="73436"/>
                      </a:cubicBezTo>
                      <a:cubicBezTo>
                        <a:pt x="21544" y="73463"/>
                        <a:pt x="21243" y="73463"/>
                        <a:pt x="20943" y="73436"/>
                      </a:cubicBezTo>
                      <a:cubicBezTo>
                        <a:pt x="18867" y="73381"/>
                        <a:pt x="13269" y="77178"/>
                        <a:pt x="11248" y="83486"/>
                      </a:cubicBezTo>
                      <a:cubicBezTo>
                        <a:pt x="9500" y="88948"/>
                        <a:pt x="11548" y="93754"/>
                        <a:pt x="17365" y="97796"/>
                      </a:cubicBezTo>
                      <a:lnTo>
                        <a:pt x="185207" y="97796"/>
                      </a:lnTo>
                      <a:cubicBezTo>
                        <a:pt x="188157" y="97796"/>
                        <a:pt x="190532" y="100172"/>
                        <a:pt x="190532" y="103121"/>
                      </a:cubicBezTo>
                      <a:cubicBezTo>
                        <a:pt x="190532" y="106070"/>
                        <a:pt x="188129" y="108446"/>
                        <a:pt x="185180" y="108446"/>
                      </a:cubicBezTo>
                      <a:close/>
                    </a:path>
                  </a:pathLst>
                </a:custGeom>
                <a:grpFill/>
                <a:ln w="2724" cap="flat">
                  <a:noFill/>
                  <a:prstDash val="solid"/>
                  <a:miter/>
                </a:ln>
              </p:spPr>
              <p:txBody>
                <a:bodyPr rtlCol="0" anchor="ctr"/>
                <a:lstStyle/>
                <a:p>
                  <a:endParaRPr lang="en-GB" dirty="0"/>
                </a:p>
              </p:txBody>
            </p:sp>
            <p:sp>
              <p:nvSpPr>
                <p:cNvPr id="107" name="Freihandform: Form 862">
                  <a:extLst>
                    <a:ext uri="{FF2B5EF4-FFF2-40B4-BE49-F238E27FC236}">
                      <a16:creationId xmlns:a16="http://schemas.microsoft.com/office/drawing/2014/main" id="{4ACDC530-7BB5-4AD9-8A70-F0147193D8AA}"/>
                    </a:ext>
                  </a:extLst>
                </p:cNvPr>
                <p:cNvSpPr/>
                <p:nvPr/>
              </p:nvSpPr>
              <p:spPr>
                <a:xfrm>
                  <a:off x="6058926" y="3793463"/>
                  <a:ext cx="201759" cy="50576"/>
                </a:xfrm>
                <a:custGeom>
                  <a:avLst/>
                  <a:gdLst>
                    <a:gd name="connsiteX0" fmla="*/ 189771 w 201759"/>
                    <a:gd name="connsiteY0" fmla="*/ 50576 h 50576"/>
                    <a:gd name="connsiteX1" fmla="*/ 26517 w 201759"/>
                    <a:gd name="connsiteY1" fmla="*/ 50576 h 50576"/>
                    <a:gd name="connsiteX2" fmla="*/ 0 w 201759"/>
                    <a:gd name="connsiteY2" fmla="*/ 25288 h 50576"/>
                    <a:gd name="connsiteX3" fmla="*/ 26517 w 201759"/>
                    <a:gd name="connsiteY3" fmla="*/ 0 h 50576"/>
                    <a:gd name="connsiteX4" fmla="*/ 196434 w 201759"/>
                    <a:gd name="connsiteY4" fmla="*/ 0 h 50576"/>
                    <a:gd name="connsiteX5" fmla="*/ 201760 w 201759"/>
                    <a:gd name="connsiteY5" fmla="*/ 5325 h 50576"/>
                    <a:gd name="connsiteX6" fmla="*/ 196434 w 201759"/>
                    <a:gd name="connsiteY6" fmla="*/ 10650 h 50576"/>
                    <a:gd name="connsiteX7" fmla="*/ 26517 w 201759"/>
                    <a:gd name="connsiteY7" fmla="*/ 10650 h 50576"/>
                    <a:gd name="connsiteX8" fmla="*/ 10651 w 201759"/>
                    <a:gd name="connsiteY8" fmla="*/ 25288 h 50576"/>
                    <a:gd name="connsiteX9" fmla="*/ 26517 w 201759"/>
                    <a:gd name="connsiteY9" fmla="*/ 39926 h 50576"/>
                    <a:gd name="connsiteX10" fmla="*/ 189771 w 201759"/>
                    <a:gd name="connsiteY10" fmla="*/ 39926 h 50576"/>
                    <a:gd name="connsiteX11" fmla="*/ 195096 w 201759"/>
                    <a:gd name="connsiteY11" fmla="*/ 45251 h 50576"/>
                    <a:gd name="connsiteX12" fmla="*/ 189771 w 201759"/>
                    <a:gd name="connsiteY12" fmla="*/ 50576 h 5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01759" h="50576">
                      <a:moveTo>
                        <a:pt x="189771" y="50576"/>
                      </a:moveTo>
                      <a:lnTo>
                        <a:pt x="26517" y="50576"/>
                      </a:lnTo>
                      <a:cubicBezTo>
                        <a:pt x="11907" y="50576"/>
                        <a:pt x="0" y="39243"/>
                        <a:pt x="0" y="25288"/>
                      </a:cubicBezTo>
                      <a:cubicBezTo>
                        <a:pt x="0" y="11333"/>
                        <a:pt x="11907" y="0"/>
                        <a:pt x="26517" y="0"/>
                      </a:cubicBezTo>
                      <a:lnTo>
                        <a:pt x="196434" y="0"/>
                      </a:lnTo>
                      <a:cubicBezTo>
                        <a:pt x="199384" y="0"/>
                        <a:pt x="201760" y="2376"/>
                        <a:pt x="201760" y="5325"/>
                      </a:cubicBezTo>
                      <a:cubicBezTo>
                        <a:pt x="201760" y="8275"/>
                        <a:pt x="199384" y="10650"/>
                        <a:pt x="196434" y="10650"/>
                      </a:cubicBezTo>
                      <a:lnTo>
                        <a:pt x="26517" y="10650"/>
                      </a:lnTo>
                      <a:cubicBezTo>
                        <a:pt x="17778" y="10650"/>
                        <a:pt x="10651" y="17205"/>
                        <a:pt x="10651" y="25288"/>
                      </a:cubicBezTo>
                      <a:cubicBezTo>
                        <a:pt x="10651" y="33344"/>
                        <a:pt x="17778" y="39926"/>
                        <a:pt x="26517" y="39926"/>
                      </a:cubicBezTo>
                      <a:lnTo>
                        <a:pt x="189771" y="39926"/>
                      </a:lnTo>
                      <a:cubicBezTo>
                        <a:pt x="192720" y="39926"/>
                        <a:pt x="195096" y="42302"/>
                        <a:pt x="195096" y="45251"/>
                      </a:cubicBezTo>
                      <a:cubicBezTo>
                        <a:pt x="195096" y="48200"/>
                        <a:pt x="192720" y="50576"/>
                        <a:pt x="189771" y="50576"/>
                      </a:cubicBezTo>
                      <a:close/>
                    </a:path>
                  </a:pathLst>
                </a:custGeom>
                <a:grpFill/>
                <a:ln w="2724" cap="flat">
                  <a:noFill/>
                  <a:prstDash val="solid"/>
                  <a:miter/>
                </a:ln>
              </p:spPr>
              <p:txBody>
                <a:bodyPr rtlCol="0" anchor="ctr"/>
                <a:lstStyle/>
                <a:p>
                  <a:endParaRPr lang="en-GB" dirty="0"/>
                </a:p>
              </p:txBody>
            </p:sp>
          </p:grpSp>
        </p:grpSp>
        <p:grpSp>
          <p:nvGrpSpPr>
            <p:cNvPr id="92" name="Group 91">
              <a:extLst>
                <a:ext uri="{FF2B5EF4-FFF2-40B4-BE49-F238E27FC236}">
                  <a16:creationId xmlns:a16="http://schemas.microsoft.com/office/drawing/2014/main" id="{27B3B381-0E85-4370-93C0-A2A4E3293BA7}"/>
                </a:ext>
              </a:extLst>
            </p:cNvPr>
            <p:cNvGrpSpPr/>
            <p:nvPr/>
          </p:nvGrpSpPr>
          <p:grpSpPr>
            <a:xfrm>
              <a:off x="2757836" y="1585984"/>
              <a:ext cx="251259" cy="432000"/>
              <a:chOff x="6242420" y="3311976"/>
              <a:chExt cx="309457" cy="532063"/>
            </a:xfrm>
          </p:grpSpPr>
          <p:grpSp>
            <p:nvGrpSpPr>
              <p:cNvPr id="93" name="Grafik 20">
                <a:extLst>
                  <a:ext uri="{FF2B5EF4-FFF2-40B4-BE49-F238E27FC236}">
                    <a16:creationId xmlns:a16="http://schemas.microsoft.com/office/drawing/2014/main" id="{229ED301-7AED-4846-9160-70A271643125}"/>
                  </a:ext>
                </a:extLst>
              </p:cNvPr>
              <p:cNvGrpSpPr/>
              <p:nvPr/>
            </p:nvGrpSpPr>
            <p:grpSpPr>
              <a:xfrm>
                <a:off x="6242420" y="3311976"/>
                <a:ext cx="309457" cy="532063"/>
                <a:chOff x="6242420" y="3311976"/>
                <a:chExt cx="309457" cy="532063"/>
              </a:xfrm>
              <a:solidFill>
                <a:schemeClr val="accent1"/>
              </a:solidFill>
            </p:grpSpPr>
            <p:sp>
              <p:nvSpPr>
                <p:cNvPr id="95" name="Freihandform: Form 865">
                  <a:extLst>
                    <a:ext uri="{FF2B5EF4-FFF2-40B4-BE49-F238E27FC236}">
                      <a16:creationId xmlns:a16="http://schemas.microsoft.com/office/drawing/2014/main" id="{15976191-DF23-470F-88E7-4E2094228017}"/>
                    </a:ext>
                  </a:extLst>
                </p:cNvPr>
                <p:cNvSpPr/>
                <p:nvPr/>
              </p:nvSpPr>
              <p:spPr>
                <a:xfrm>
                  <a:off x="6242420" y="3428176"/>
                  <a:ext cx="309457" cy="415863"/>
                </a:xfrm>
                <a:custGeom>
                  <a:avLst/>
                  <a:gdLst>
                    <a:gd name="connsiteX0" fmla="*/ 303263 w 309457"/>
                    <a:gd name="connsiteY0" fmla="*/ 415863 h 415863"/>
                    <a:gd name="connsiteX1" fmla="*/ 6140 w 309457"/>
                    <a:gd name="connsiteY1" fmla="*/ 415863 h 415863"/>
                    <a:gd name="connsiteX2" fmla="*/ 842 w 309457"/>
                    <a:gd name="connsiteY2" fmla="*/ 411057 h 415863"/>
                    <a:gd name="connsiteX3" fmla="*/ 18730 w 309457"/>
                    <a:gd name="connsiteY3" fmla="*/ 358405 h 415863"/>
                    <a:gd name="connsiteX4" fmla="*/ 21706 w 309457"/>
                    <a:gd name="connsiteY4" fmla="*/ 355674 h 415863"/>
                    <a:gd name="connsiteX5" fmla="*/ 8598 w 309457"/>
                    <a:gd name="connsiteY5" fmla="*/ 335083 h 415863"/>
                    <a:gd name="connsiteX6" fmla="*/ 29653 w 309457"/>
                    <a:gd name="connsiteY6" fmla="*/ 306736 h 415863"/>
                    <a:gd name="connsiteX7" fmla="*/ 59611 w 309457"/>
                    <a:gd name="connsiteY7" fmla="*/ 194960 h 415863"/>
                    <a:gd name="connsiteX8" fmla="*/ 60212 w 309457"/>
                    <a:gd name="connsiteY8" fmla="*/ 194113 h 415863"/>
                    <a:gd name="connsiteX9" fmla="*/ 97626 w 309457"/>
                    <a:gd name="connsiteY9" fmla="*/ 6008 h 415863"/>
                    <a:gd name="connsiteX10" fmla="*/ 98909 w 309457"/>
                    <a:gd name="connsiteY10" fmla="*/ 1802 h 415863"/>
                    <a:gd name="connsiteX11" fmla="*/ 102924 w 309457"/>
                    <a:gd name="connsiteY11" fmla="*/ 0 h 415863"/>
                    <a:gd name="connsiteX12" fmla="*/ 206534 w 309457"/>
                    <a:gd name="connsiteY12" fmla="*/ 0 h 415863"/>
                    <a:gd name="connsiteX13" fmla="*/ 210549 w 309457"/>
                    <a:gd name="connsiteY13" fmla="*/ 1802 h 415863"/>
                    <a:gd name="connsiteX14" fmla="*/ 211832 w 309457"/>
                    <a:gd name="connsiteY14" fmla="*/ 6008 h 415863"/>
                    <a:gd name="connsiteX15" fmla="*/ 249246 w 309457"/>
                    <a:gd name="connsiteY15" fmla="*/ 194113 h 415863"/>
                    <a:gd name="connsiteX16" fmla="*/ 249847 w 309457"/>
                    <a:gd name="connsiteY16" fmla="*/ 194960 h 415863"/>
                    <a:gd name="connsiteX17" fmla="*/ 279805 w 309457"/>
                    <a:gd name="connsiteY17" fmla="*/ 306736 h 415863"/>
                    <a:gd name="connsiteX18" fmla="*/ 300860 w 309457"/>
                    <a:gd name="connsiteY18" fmla="*/ 335056 h 415863"/>
                    <a:gd name="connsiteX19" fmla="*/ 287752 w 309457"/>
                    <a:gd name="connsiteY19" fmla="*/ 355647 h 415863"/>
                    <a:gd name="connsiteX20" fmla="*/ 290728 w 309457"/>
                    <a:gd name="connsiteY20" fmla="*/ 358350 h 415863"/>
                    <a:gd name="connsiteX21" fmla="*/ 308616 w 309457"/>
                    <a:gd name="connsiteY21" fmla="*/ 411030 h 415863"/>
                    <a:gd name="connsiteX22" fmla="*/ 303263 w 309457"/>
                    <a:gd name="connsiteY22" fmla="*/ 415863 h 415863"/>
                    <a:gd name="connsiteX23" fmla="*/ 11001 w 309457"/>
                    <a:gd name="connsiteY23" fmla="*/ 405213 h 415863"/>
                    <a:gd name="connsiteX24" fmla="*/ 298375 w 309457"/>
                    <a:gd name="connsiteY24" fmla="*/ 405213 h 415863"/>
                    <a:gd name="connsiteX25" fmla="*/ 283491 w 309457"/>
                    <a:gd name="connsiteY25" fmla="*/ 366270 h 415863"/>
                    <a:gd name="connsiteX26" fmla="*/ 272868 w 309457"/>
                    <a:gd name="connsiteY26" fmla="*/ 356248 h 415863"/>
                    <a:gd name="connsiteX27" fmla="*/ 271721 w 309457"/>
                    <a:gd name="connsiteY27" fmla="*/ 350431 h 415863"/>
                    <a:gd name="connsiteX28" fmla="*/ 276637 w 309457"/>
                    <a:gd name="connsiteY28" fmla="*/ 347154 h 415863"/>
                    <a:gd name="connsiteX29" fmla="*/ 290155 w 309457"/>
                    <a:gd name="connsiteY29" fmla="*/ 334837 h 415863"/>
                    <a:gd name="connsiteX30" fmla="*/ 273988 w 309457"/>
                    <a:gd name="connsiteY30" fmla="*/ 316676 h 415863"/>
                    <a:gd name="connsiteX31" fmla="*/ 270274 w 309457"/>
                    <a:gd name="connsiteY31" fmla="*/ 314929 h 415863"/>
                    <a:gd name="connsiteX32" fmla="*/ 268908 w 309457"/>
                    <a:gd name="connsiteY32" fmla="*/ 311078 h 415863"/>
                    <a:gd name="connsiteX33" fmla="*/ 240862 w 309457"/>
                    <a:gd name="connsiteY33" fmla="*/ 200804 h 415863"/>
                    <a:gd name="connsiteX34" fmla="*/ 200554 w 309457"/>
                    <a:gd name="connsiteY34" fmla="*/ 10678 h 415863"/>
                    <a:gd name="connsiteX35" fmla="*/ 108850 w 309457"/>
                    <a:gd name="connsiteY35" fmla="*/ 10678 h 415863"/>
                    <a:gd name="connsiteX36" fmla="*/ 68514 w 309457"/>
                    <a:gd name="connsiteY36" fmla="*/ 200804 h 415863"/>
                    <a:gd name="connsiteX37" fmla="*/ 40468 w 309457"/>
                    <a:gd name="connsiteY37" fmla="*/ 311051 h 415863"/>
                    <a:gd name="connsiteX38" fmla="*/ 39102 w 309457"/>
                    <a:gd name="connsiteY38" fmla="*/ 314929 h 415863"/>
                    <a:gd name="connsiteX39" fmla="*/ 35388 w 309457"/>
                    <a:gd name="connsiteY39" fmla="*/ 316676 h 415863"/>
                    <a:gd name="connsiteX40" fmla="*/ 19194 w 309457"/>
                    <a:gd name="connsiteY40" fmla="*/ 334837 h 415863"/>
                    <a:gd name="connsiteX41" fmla="*/ 32712 w 309457"/>
                    <a:gd name="connsiteY41" fmla="*/ 347154 h 415863"/>
                    <a:gd name="connsiteX42" fmla="*/ 37627 w 309457"/>
                    <a:gd name="connsiteY42" fmla="*/ 350431 h 415863"/>
                    <a:gd name="connsiteX43" fmla="*/ 36480 w 309457"/>
                    <a:gd name="connsiteY43" fmla="*/ 356248 h 415863"/>
                    <a:gd name="connsiteX44" fmla="*/ 25857 w 309457"/>
                    <a:gd name="connsiteY44" fmla="*/ 366270 h 415863"/>
                    <a:gd name="connsiteX45" fmla="*/ 11001 w 309457"/>
                    <a:gd name="connsiteY45" fmla="*/ 405213 h 415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309457" h="415863">
                      <a:moveTo>
                        <a:pt x="303263" y="415863"/>
                      </a:moveTo>
                      <a:lnTo>
                        <a:pt x="6140" y="415863"/>
                      </a:lnTo>
                      <a:cubicBezTo>
                        <a:pt x="3409" y="415863"/>
                        <a:pt x="1088" y="413788"/>
                        <a:pt x="842" y="411057"/>
                      </a:cubicBezTo>
                      <a:cubicBezTo>
                        <a:pt x="-2244" y="379242"/>
                        <a:pt x="3027" y="372687"/>
                        <a:pt x="18730" y="358405"/>
                      </a:cubicBezTo>
                      <a:cubicBezTo>
                        <a:pt x="19685" y="357531"/>
                        <a:pt x="20668" y="356630"/>
                        <a:pt x="21706" y="355674"/>
                      </a:cubicBezTo>
                      <a:cubicBezTo>
                        <a:pt x="12967" y="351851"/>
                        <a:pt x="8789" y="343440"/>
                        <a:pt x="8598" y="335083"/>
                      </a:cubicBezTo>
                      <a:cubicBezTo>
                        <a:pt x="8297" y="322930"/>
                        <a:pt x="16026" y="309986"/>
                        <a:pt x="29653" y="306736"/>
                      </a:cubicBezTo>
                      <a:cubicBezTo>
                        <a:pt x="28233" y="256760"/>
                        <a:pt x="47650" y="215469"/>
                        <a:pt x="59611" y="194960"/>
                      </a:cubicBezTo>
                      <a:cubicBezTo>
                        <a:pt x="59775" y="194659"/>
                        <a:pt x="59994" y="194386"/>
                        <a:pt x="60212" y="194113"/>
                      </a:cubicBezTo>
                      <a:cubicBezTo>
                        <a:pt x="113629" y="133733"/>
                        <a:pt x="97789" y="7291"/>
                        <a:pt x="97626" y="6008"/>
                      </a:cubicBezTo>
                      <a:cubicBezTo>
                        <a:pt x="97434" y="4479"/>
                        <a:pt x="97899" y="2949"/>
                        <a:pt x="98909" y="1802"/>
                      </a:cubicBezTo>
                      <a:cubicBezTo>
                        <a:pt x="99920" y="655"/>
                        <a:pt x="101367" y="0"/>
                        <a:pt x="102924" y="0"/>
                      </a:cubicBezTo>
                      <a:lnTo>
                        <a:pt x="206534" y="0"/>
                      </a:lnTo>
                      <a:cubicBezTo>
                        <a:pt x="208064" y="0"/>
                        <a:pt x="209538" y="655"/>
                        <a:pt x="210549" y="1802"/>
                      </a:cubicBezTo>
                      <a:cubicBezTo>
                        <a:pt x="211559" y="2949"/>
                        <a:pt x="212024" y="4479"/>
                        <a:pt x="211832" y="6008"/>
                      </a:cubicBezTo>
                      <a:cubicBezTo>
                        <a:pt x="211668" y="7291"/>
                        <a:pt x="195884" y="133787"/>
                        <a:pt x="249246" y="194113"/>
                      </a:cubicBezTo>
                      <a:cubicBezTo>
                        <a:pt x="249464" y="194386"/>
                        <a:pt x="249683" y="194659"/>
                        <a:pt x="249847" y="194960"/>
                      </a:cubicBezTo>
                      <a:cubicBezTo>
                        <a:pt x="261808" y="215442"/>
                        <a:pt x="281225" y="256706"/>
                        <a:pt x="279805" y="306736"/>
                      </a:cubicBezTo>
                      <a:cubicBezTo>
                        <a:pt x="293432" y="309986"/>
                        <a:pt x="301160" y="322903"/>
                        <a:pt x="300860" y="335056"/>
                      </a:cubicBezTo>
                      <a:cubicBezTo>
                        <a:pt x="300669" y="343412"/>
                        <a:pt x="296491" y="351796"/>
                        <a:pt x="287752" y="355647"/>
                      </a:cubicBezTo>
                      <a:cubicBezTo>
                        <a:pt x="288789" y="356602"/>
                        <a:pt x="289773" y="357504"/>
                        <a:pt x="290728" y="358350"/>
                      </a:cubicBezTo>
                      <a:cubicBezTo>
                        <a:pt x="306431" y="372633"/>
                        <a:pt x="311702" y="379214"/>
                        <a:pt x="308616" y="411030"/>
                      </a:cubicBezTo>
                      <a:cubicBezTo>
                        <a:pt x="308288" y="413788"/>
                        <a:pt x="305994" y="415863"/>
                        <a:pt x="303263" y="415863"/>
                      </a:cubicBezTo>
                      <a:close/>
                      <a:moveTo>
                        <a:pt x="11001" y="405213"/>
                      </a:moveTo>
                      <a:lnTo>
                        <a:pt x="298375" y="405213"/>
                      </a:lnTo>
                      <a:cubicBezTo>
                        <a:pt x="300205" y="381481"/>
                        <a:pt x="296217" y="377849"/>
                        <a:pt x="283491" y="366270"/>
                      </a:cubicBezTo>
                      <a:cubicBezTo>
                        <a:pt x="280378" y="363457"/>
                        <a:pt x="276855" y="360235"/>
                        <a:pt x="272868" y="356248"/>
                      </a:cubicBezTo>
                      <a:cubicBezTo>
                        <a:pt x="271339" y="354718"/>
                        <a:pt x="270875" y="352424"/>
                        <a:pt x="271721" y="350431"/>
                      </a:cubicBezTo>
                      <a:cubicBezTo>
                        <a:pt x="272540" y="348437"/>
                        <a:pt x="274479" y="347154"/>
                        <a:pt x="276637" y="347154"/>
                      </a:cubicBezTo>
                      <a:cubicBezTo>
                        <a:pt x="288571" y="347154"/>
                        <a:pt x="290046" y="338524"/>
                        <a:pt x="290155" y="334837"/>
                      </a:cubicBezTo>
                      <a:cubicBezTo>
                        <a:pt x="290346" y="326289"/>
                        <a:pt x="284365" y="317168"/>
                        <a:pt x="273988" y="316676"/>
                      </a:cubicBezTo>
                      <a:cubicBezTo>
                        <a:pt x="272568" y="316595"/>
                        <a:pt x="271230" y="315967"/>
                        <a:pt x="270274" y="314929"/>
                      </a:cubicBezTo>
                      <a:cubicBezTo>
                        <a:pt x="269318" y="313864"/>
                        <a:pt x="268826" y="312498"/>
                        <a:pt x="268908" y="311078"/>
                      </a:cubicBezTo>
                      <a:cubicBezTo>
                        <a:pt x="270902" y="275112"/>
                        <a:pt x="260688" y="234940"/>
                        <a:pt x="240862" y="200804"/>
                      </a:cubicBezTo>
                      <a:cubicBezTo>
                        <a:pt x="190941" y="143810"/>
                        <a:pt x="197877" y="37359"/>
                        <a:pt x="200554" y="10678"/>
                      </a:cubicBezTo>
                      <a:lnTo>
                        <a:pt x="108850" y="10678"/>
                      </a:lnTo>
                      <a:cubicBezTo>
                        <a:pt x="111499" y="37386"/>
                        <a:pt x="118462" y="143810"/>
                        <a:pt x="68514" y="200804"/>
                      </a:cubicBezTo>
                      <a:cubicBezTo>
                        <a:pt x="48688" y="234995"/>
                        <a:pt x="38474" y="275139"/>
                        <a:pt x="40468" y="311051"/>
                      </a:cubicBezTo>
                      <a:cubicBezTo>
                        <a:pt x="40550" y="312471"/>
                        <a:pt x="40058" y="313864"/>
                        <a:pt x="39102" y="314929"/>
                      </a:cubicBezTo>
                      <a:cubicBezTo>
                        <a:pt x="38146" y="315994"/>
                        <a:pt x="36808" y="316622"/>
                        <a:pt x="35388" y="316676"/>
                      </a:cubicBezTo>
                      <a:cubicBezTo>
                        <a:pt x="24983" y="317168"/>
                        <a:pt x="19003" y="326317"/>
                        <a:pt x="19194" y="334837"/>
                      </a:cubicBezTo>
                      <a:cubicBezTo>
                        <a:pt x="19276" y="338524"/>
                        <a:pt x="20778" y="347154"/>
                        <a:pt x="32712" y="347154"/>
                      </a:cubicBezTo>
                      <a:cubicBezTo>
                        <a:pt x="34869" y="347154"/>
                        <a:pt x="36808" y="348464"/>
                        <a:pt x="37627" y="350431"/>
                      </a:cubicBezTo>
                      <a:cubicBezTo>
                        <a:pt x="38447" y="352424"/>
                        <a:pt x="38010" y="354718"/>
                        <a:pt x="36480" y="356248"/>
                      </a:cubicBezTo>
                      <a:cubicBezTo>
                        <a:pt x="32521" y="360235"/>
                        <a:pt x="28970" y="363457"/>
                        <a:pt x="25857" y="366270"/>
                      </a:cubicBezTo>
                      <a:cubicBezTo>
                        <a:pt x="13158" y="377849"/>
                        <a:pt x="9171" y="381481"/>
                        <a:pt x="11001" y="405213"/>
                      </a:cubicBezTo>
                      <a:close/>
                    </a:path>
                  </a:pathLst>
                </a:custGeom>
                <a:solidFill>
                  <a:schemeClr val="accent1"/>
                </a:solidFill>
                <a:ln w="2724" cap="flat">
                  <a:noFill/>
                  <a:prstDash val="solid"/>
                  <a:miter/>
                </a:ln>
              </p:spPr>
              <p:txBody>
                <a:bodyPr rtlCol="0" anchor="ctr"/>
                <a:lstStyle/>
                <a:p>
                  <a:endParaRPr lang="en-GB" dirty="0"/>
                </a:p>
              </p:txBody>
            </p:sp>
            <p:sp>
              <p:nvSpPr>
                <p:cNvPr id="96" name="Freihandform: Form 866">
                  <a:extLst>
                    <a:ext uri="{FF2B5EF4-FFF2-40B4-BE49-F238E27FC236}">
                      <a16:creationId xmlns:a16="http://schemas.microsoft.com/office/drawing/2014/main" id="{028FAEC4-D34F-413A-AC9F-EB4BAD83A664}"/>
                    </a:ext>
                  </a:extLst>
                </p:cNvPr>
                <p:cNvSpPr/>
                <p:nvPr/>
              </p:nvSpPr>
              <p:spPr>
                <a:xfrm>
                  <a:off x="6299856" y="3311976"/>
                  <a:ext cx="194546" cy="126796"/>
                </a:xfrm>
                <a:custGeom>
                  <a:avLst/>
                  <a:gdLst>
                    <a:gd name="connsiteX0" fmla="*/ 162535 w 194546"/>
                    <a:gd name="connsiteY0" fmla="*/ 126796 h 126796"/>
                    <a:gd name="connsiteX1" fmla="*/ 31997 w 194546"/>
                    <a:gd name="connsiteY1" fmla="*/ 126796 h 126796"/>
                    <a:gd name="connsiteX2" fmla="*/ 10341 w 194546"/>
                    <a:gd name="connsiteY2" fmla="*/ 117975 h 126796"/>
                    <a:gd name="connsiteX3" fmla="*/ 73 w 194546"/>
                    <a:gd name="connsiteY3" fmla="*/ 84003 h 126796"/>
                    <a:gd name="connsiteX4" fmla="*/ 73 w 194546"/>
                    <a:gd name="connsiteY4" fmla="*/ 5325 h 126796"/>
                    <a:gd name="connsiteX5" fmla="*/ 5398 w 194546"/>
                    <a:gd name="connsiteY5" fmla="*/ 0 h 126796"/>
                    <a:gd name="connsiteX6" fmla="*/ 44068 w 194546"/>
                    <a:gd name="connsiteY6" fmla="*/ 0 h 126796"/>
                    <a:gd name="connsiteX7" fmla="*/ 49393 w 194546"/>
                    <a:gd name="connsiteY7" fmla="*/ 5325 h 126796"/>
                    <a:gd name="connsiteX8" fmla="*/ 49393 w 194546"/>
                    <a:gd name="connsiteY8" fmla="*/ 48392 h 126796"/>
                    <a:gd name="connsiteX9" fmla="*/ 67772 w 194546"/>
                    <a:gd name="connsiteY9" fmla="*/ 48392 h 126796"/>
                    <a:gd name="connsiteX10" fmla="*/ 67772 w 194546"/>
                    <a:gd name="connsiteY10" fmla="*/ 5325 h 126796"/>
                    <a:gd name="connsiteX11" fmla="*/ 73097 w 194546"/>
                    <a:gd name="connsiteY11" fmla="*/ 0 h 126796"/>
                    <a:gd name="connsiteX12" fmla="*/ 121462 w 194546"/>
                    <a:gd name="connsiteY12" fmla="*/ 0 h 126796"/>
                    <a:gd name="connsiteX13" fmla="*/ 126787 w 194546"/>
                    <a:gd name="connsiteY13" fmla="*/ 5325 h 126796"/>
                    <a:gd name="connsiteX14" fmla="*/ 126787 w 194546"/>
                    <a:gd name="connsiteY14" fmla="*/ 48392 h 126796"/>
                    <a:gd name="connsiteX15" fmla="*/ 145166 w 194546"/>
                    <a:gd name="connsiteY15" fmla="*/ 48392 h 126796"/>
                    <a:gd name="connsiteX16" fmla="*/ 145166 w 194546"/>
                    <a:gd name="connsiteY16" fmla="*/ 5325 h 126796"/>
                    <a:gd name="connsiteX17" fmla="*/ 150491 w 194546"/>
                    <a:gd name="connsiteY17" fmla="*/ 0 h 126796"/>
                    <a:gd name="connsiteX18" fmla="*/ 189161 w 194546"/>
                    <a:gd name="connsiteY18" fmla="*/ 0 h 126796"/>
                    <a:gd name="connsiteX19" fmla="*/ 194486 w 194546"/>
                    <a:gd name="connsiteY19" fmla="*/ 5325 h 126796"/>
                    <a:gd name="connsiteX20" fmla="*/ 194486 w 194546"/>
                    <a:gd name="connsiteY20" fmla="*/ 84358 h 126796"/>
                    <a:gd name="connsiteX21" fmla="*/ 184191 w 194546"/>
                    <a:gd name="connsiteY21" fmla="*/ 117975 h 126796"/>
                    <a:gd name="connsiteX22" fmla="*/ 162535 w 194546"/>
                    <a:gd name="connsiteY22" fmla="*/ 126796 h 126796"/>
                    <a:gd name="connsiteX23" fmla="*/ 10696 w 194546"/>
                    <a:gd name="connsiteY23" fmla="*/ 10678 h 126796"/>
                    <a:gd name="connsiteX24" fmla="*/ 10696 w 194546"/>
                    <a:gd name="connsiteY24" fmla="*/ 84358 h 126796"/>
                    <a:gd name="connsiteX25" fmla="*/ 18124 w 194546"/>
                    <a:gd name="connsiteY25" fmla="*/ 110711 h 126796"/>
                    <a:gd name="connsiteX26" fmla="*/ 31970 w 194546"/>
                    <a:gd name="connsiteY26" fmla="*/ 116118 h 126796"/>
                    <a:gd name="connsiteX27" fmla="*/ 162507 w 194546"/>
                    <a:gd name="connsiteY27" fmla="*/ 116118 h 126796"/>
                    <a:gd name="connsiteX28" fmla="*/ 176380 w 194546"/>
                    <a:gd name="connsiteY28" fmla="*/ 110684 h 126796"/>
                    <a:gd name="connsiteX29" fmla="*/ 183809 w 194546"/>
                    <a:gd name="connsiteY29" fmla="*/ 84685 h 126796"/>
                    <a:gd name="connsiteX30" fmla="*/ 183809 w 194546"/>
                    <a:gd name="connsiteY30" fmla="*/ 10650 h 126796"/>
                    <a:gd name="connsiteX31" fmla="*/ 155789 w 194546"/>
                    <a:gd name="connsiteY31" fmla="*/ 10650 h 126796"/>
                    <a:gd name="connsiteX32" fmla="*/ 155789 w 194546"/>
                    <a:gd name="connsiteY32" fmla="*/ 53717 h 126796"/>
                    <a:gd name="connsiteX33" fmla="*/ 150464 w 194546"/>
                    <a:gd name="connsiteY33" fmla="*/ 59042 h 126796"/>
                    <a:gd name="connsiteX34" fmla="*/ 121435 w 194546"/>
                    <a:gd name="connsiteY34" fmla="*/ 59042 h 126796"/>
                    <a:gd name="connsiteX35" fmla="*/ 116109 w 194546"/>
                    <a:gd name="connsiteY35" fmla="*/ 53717 h 126796"/>
                    <a:gd name="connsiteX36" fmla="*/ 116109 w 194546"/>
                    <a:gd name="connsiteY36" fmla="*/ 10678 h 126796"/>
                    <a:gd name="connsiteX37" fmla="*/ 78395 w 194546"/>
                    <a:gd name="connsiteY37" fmla="*/ 10678 h 126796"/>
                    <a:gd name="connsiteX38" fmla="*/ 78395 w 194546"/>
                    <a:gd name="connsiteY38" fmla="*/ 53744 h 126796"/>
                    <a:gd name="connsiteX39" fmla="*/ 73070 w 194546"/>
                    <a:gd name="connsiteY39" fmla="*/ 59069 h 126796"/>
                    <a:gd name="connsiteX40" fmla="*/ 44041 w 194546"/>
                    <a:gd name="connsiteY40" fmla="*/ 59069 h 126796"/>
                    <a:gd name="connsiteX41" fmla="*/ 38715 w 194546"/>
                    <a:gd name="connsiteY41" fmla="*/ 53744 h 126796"/>
                    <a:gd name="connsiteX42" fmla="*/ 38715 w 194546"/>
                    <a:gd name="connsiteY42" fmla="*/ 10678 h 126796"/>
                    <a:gd name="connsiteX43" fmla="*/ 10696 w 194546"/>
                    <a:gd name="connsiteY43" fmla="*/ 10678 h 126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194546" h="126796">
                      <a:moveTo>
                        <a:pt x="162535" y="126796"/>
                      </a:moveTo>
                      <a:lnTo>
                        <a:pt x="31997" y="126796"/>
                      </a:lnTo>
                      <a:cubicBezTo>
                        <a:pt x="23122" y="126796"/>
                        <a:pt x="15830" y="123819"/>
                        <a:pt x="10341" y="117975"/>
                      </a:cubicBezTo>
                      <a:cubicBezTo>
                        <a:pt x="-1211" y="105659"/>
                        <a:pt x="-9" y="84877"/>
                        <a:pt x="73" y="84003"/>
                      </a:cubicBezTo>
                      <a:lnTo>
                        <a:pt x="73" y="5325"/>
                      </a:lnTo>
                      <a:cubicBezTo>
                        <a:pt x="73" y="2376"/>
                        <a:pt x="2449" y="0"/>
                        <a:pt x="5398" y="0"/>
                      </a:cubicBezTo>
                      <a:lnTo>
                        <a:pt x="44068" y="0"/>
                      </a:lnTo>
                      <a:cubicBezTo>
                        <a:pt x="47017" y="0"/>
                        <a:pt x="49393" y="2376"/>
                        <a:pt x="49393" y="5325"/>
                      </a:cubicBezTo>
                      <a:lnTo>
                        <a:pt x="49393" y="48392"/>
                      </a:lnTo>
                      <a:lnTo>
                        <a:pt x="67772" y="48392"/>
                      </a:lnTo>
                      <a:lnTo>
                        <a:pt x="67772" y="5325"/>
                      </a:lnTo>
                      <a:cubicBezTo>
                        <a:pt x="67772" y="2376"/>
                        <a:pt x="70148" y="0"/>
                        <a:pt x="73097" y="0"/>
                      </a:cubicBezTo>
                      <a:lnTo>
                        <a:pt x="121462" y="0"/>
                      </a:lnTo>
                      <a:cubicBezTo>
                        <a:pt x="124411" y="0"/>
                        <a:pt x="126787" y="2376"/>
                        <a:pt x="126787" y="5325"/>
                      </a:cubicBezTo>
                      <a:lnTo>
                        <a:pt x="126787" y="48392"/>
                      </a:lnTo>
                      <a:lnTo>
                        <a:pt x="145166" y="48392"/>
                      </a:lnTo>
                      <a:lnTo>
                        <a:pt x="145166" y="5325"/>
                      </a:lnTo>
                      <a:cubicBezTo>
                        <a:pt x="145166" y="2376"/>
                        <a:pt x="147542" y="0"/>
                        <a:pt x="150491" y="0"/>
                      </a:cubicBezTo>
                      <a:lnTo>
                        <a:pt x="189161" y="0"/>
                      </a:lnTo>
                      <a:cubicBezTo>
                        <a:pt x="192111" y="0"/>
                        <a:pt x="194486" y="2376"/>
                        <a:pt x="194486" y="5325"/>
                      </a:cubicBezTo>
                      <a:lnTo>
                        <a:pt x="194486" y="84358"/>
                      </a:lnTo>
                      <a:cubicBezTo>
                        <a:pt x="194541" y="84904"/>
                        <a:pt x="195743" y="105659"/>
                        <a:pt x="184191" y="117975"/>
                      </a:cubicBezTo>
                      <a:cubicBezTo>
                        <a:pt x="178702" y="123847"/>
                        <a:pt x="171410" y="126796"/>
                        <a:pt x="162535" y="126796"/>
                      </a:cubicBezTo>
                      <a:close/>
                      <a:moveTo>
                        <a:pt x="10696" y="10678"/>
                      </a:moveTo>
                      <a:lnTo>
                        <a:pt x="10696" y="84358"/>
                      </a:lnTo>
                      <a:cubicBezTo>
                        <a:pt x="10669" y="84877"/>
                        <a:pt x="9740" y="101808"/>
                        <a:pt x="18124" y="110711"/>
                      </a:cubicBezTo>
                      <a:cubicBezTo>
                        <a:pt x="21565" y="114370"/>
                        <a:pt x="26071" y="116118"/>
                        <a:pt x="31970" y="116118"/>
                      </a:cubicBezTo>
                      <a:lnTo>
                        <a:pt x="162507" y="116118"/>
                      </a:lnTo>
                      <a:cubicBezTo>
                        <a:pt x="168406" y="116118"/>
                        <a:pt x="172940" y="114343"/>
                        <a:pt x="176380" y="110684"/>
                      </a:cubicBezTo>
                      <a:cubicBezTo>
                        <a:pt x="183372" y="103228"/>
                        <a:pt x="184109" y="89383"/>
                        <a:pt x="183809" y="84685"/>
                      </a:cubicBezTo>
                      <a:lnTo>
                        <a:pt x="183809" y="10650"/>
                      </a:lnTo>
                      <a:lnTo>
                        <a:pt x="155789" y="10650"/>
                      </a:lnTo>
                      <a:lnTo>
                        <a:pt x="155789" y="53717"/>
                      </a:lnTo>
                      <a:cubicBezTo>
                        <a:pt x="155789" y="56666"/>
                        <a:pt x="153414" y="59042"/>
                        <a:pt x="150464" y="59042"/>
                      </a:cubicBezTo>
                      <a:lnTo>
                        <a:pt x="121435" y="59042"/>
                      </a:lnTo>
                      <a:cubicBezTo>
                        <a:pt x="118485" y="59042"/>
                        <a:pt x="116109" y="56666"/>
                        <a:pt x="116109" y="53717"/>
                      </a:cubicBezTo>
                      <a:lnTo>
                        <a:pt x="116109" y="10678"/>
                      </a:lnTo>
                      <a:lnTo>
                        <a:pt x="78395" y="10678"/>
                      </a:lnTo>
                      <a:lnTo>
                        <a:pt x="78395" y="53744"/>
                      </a:lnTo>
                      <a:cubicBezTo>
                        <a:pt x="78395" y="56694"/>
                        <a:pt x="76019" y="59069"/>
                        <a:pt x="73070" y="59069"/>
                      </a:cubicBezTo>
                      <a:lnTo>
                        <a:pt x="44041" y="59069"/>
                      </a:lnTo>
                      <a:cubicBezTo>
                        <a:pt x="41091" y="59069"/>
                        <a:pt x="38715" y="56694"/>
                        <a:pt x="38715" y="53744"/>
                      </a:cubicBezTo>
                      <a:lnTo>
                        <a:pt x="38715" y="10678"/>
                      </a:lnTo>
                      <a:lnTo>
                        <a:pt x="10696" y="10678"/>
                      </a:lnTo>
                      <a:close/>
                    </a:path>
                  </a:pathLst>
                </a:custGeom>
                <a:solidFill>
                  <a:schemeClr val="accent1"/>
                </a:solidFill>
                <a:ln w="2724" cap="flat">
                  <a:noFill/>
                  <a:prstDash val="solid"/>
                  <a:miter/>
                </a:ln>
              </p:spPr>
              <p:txBody>
                <a:bodyPr rtlCol="0" anchor="ctr"/>
                <a:lstStyle/>
                <a:p>
                  <a:endParaRPr lang="en-GB" dirty="0"/>
                </a:p>
              </p:txBody>
            </p:sp>
          </p:grpSp>
          <p:sp>
            <p:nvSpPr>
              <p:cNvPr id="94" name="Freihandform: Form 867">
                <a:extLst>
                  <a:ext uri="{FF2B5EF4-FFF2-40B4-BE49-F238E27FC236}">
                    <a16:creationId xmlns:a16="http://schemas.microsoft.com/office/drawing/2014/main" id="{AE0B5B2C-103A-40EF-AD2A-275FFF948B23}"/>
                  </a:ext>
                </a:extLst>
              </p:cNvPr>
              <p:cNvSpPr/>
              <p:nvPr/>
            </p:nvSpPr>
            <p:spPr>
              <a:xfrm>
                <a:off x="6269370" y="3775193"/>
                <a:ext cx="263205" cy="10650"/>
              </a:xfrm>
              <a:custGeom>
                <a:avLst/>
                <a:gdLst>
                  <a:gd name="connsiteX0" fmla="*/ 257880 w 263205"/>
                  <a:gd name="connsiteY0" fmla="*/ 10650 h 10650"/>
                  <a:gd name="connsiteX1" fmla="*/ 5325 w 263205"/>
                  <a:gd name="connsiteY1" fmla="*/ 10650 h 10650"/>
                  <a:gd name="connsiteX2" fmla="*/ 0 w 263205"/>
                  <a:gd name="connsiteY2" fmla="*/ 5325 h 10650"/>
                  <a:gd name="connsiteX3" fmla="*/ 5325 w 263205"/>
                  <a:gd name="connsiteY3" fmla="*/ 0 h 10650"/>
                  <a:gd name="connsiteX4" fmla="*/ 257880 w 263205"/>
                  <a:gd name="connsiteY4" fmla="*/ 0 h 10650"/>
                  <a:gd name="connsiteX5" fmla="*/ 263205 w 263205"/>
                  <a:gd name="connsiteY5" fmla="*/ 5325 h 10650"/>
                  <a:gd name="connsiteX6" fmla="*/ 257880 w 263205"/>
                  <a:gd name="connsiteY6" fmla="*/ 10650 h 10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3205" h="10650">
                    <a:moveTo>
                      <a:pt x="257880" y="10650"/>
                    </a:moveTo>
                    <a:lnTo>
                      <a:pt x="5325" y="10650"/>
                    </a:lnTo>
                    <a:cubicBezTo>
                      <a:pt x="2376" y="10650"/>
                      <a:pt x="0" y="8275"/>
                      <a:pt x="0" y="5325"/>
                    </a:cubicBezTo>
                    <a:cubicBezTo>
                      <a:pt x="0" y="2376"/>
                      <a:pt x="2376" y="0"/>
                      <a:pt x="5325" y="0"/>
                    </a:cubicBezTo>
                    <a:lnTo>
                      <a:pt x="257880" y="0"/>
                    </a:lnTo>
                    <a:cubicBezTo>
                      <a:pt x="260829" y="0"/>
                      <a:pt x="263205" y="2376"/>
                      <a:pt x="263205" y="5325"/>
                    </a:cubicBezTo>
                    <a:cubicBezTo>
                      <a:pt x="263233" y="8275"/>
                      <a:pt x="260829" y="10650"/>
                      <a:pt x="257880" y="10650"/>
                    </a:cubicBezTo>
                    <a:close/>
                  </a:path>
                </a:pathLst>
              </a:custGeom>
              <a:solidFill>
                <a:schemeClr val="accent1"/>
              </a:solidFill>
              <a:ln w="2724" cap="flat">
                <a:noFill/>
                <a:prstDash val="solid"/>
                <a:miter/>
              </a:ln>
            </p:spPr>
            <p:txBody>
              <a:bodyPr rtlCol="0" anchor="ctr"/>
              <a:lstStyle/>
              <a:p>
                <a:endParaRPr lang="en-GB" dirty="0"/>
              </a:p>
            </p:txBody>
          </p:sp>
        </p:grpSp>
      </p:grpSp>
      <p:grpSp>
        <p:nvGrpSpPr>
          <p:cNvPr id="48" name="Group 47">
            <a:extLst>
              <a:ext uri="{FF2B5EF4-FFF2-40B4-BE49-F238E27FC236}">
                <a16:creationId xmlns:a16="http://schemas.microsoft.com/office/drawing/2014/main" id="{320E0803-3D52-7672-E129-4CFDA177F4D5}"/>
              </a:ext>
            </a:extLst>
          </p:cNvPr>
          <p:cNvGrpSpPr/>
          <p:nvPr/>
        </p:nvGrpSpPr>
        <p:grpSpPr>
          <a:xfrm>
            <a:off x="3794613" y="1585984"/>
            <a:ext cx="344507" cy="432005"/>
            <a:chOff x="3794613" y="1585984"/>
            <a:chExt cx="344507" cy="432005"/>
          </a:xfrm>
        </p:grpSpPr>
        <p:grpSp>
          <p:nvGrpSpPr>
            <p:cNvPr id="316" name="Grafik 23">
              <a:extLst>
                <a:ext uri="{FF2B5EF4-FFF2-40B4-BE49-F238E27FC236}">
                  <a16:creationId xmlns:a16="http://schemas.microsoft.com/office/drawing/2014/main" id="{05DAC6A7-58D8-457E-8488-38DCCA26A4C3}"/>
                </a:ext>
              </a:extLst>
            </p:cNvPr>
            <p:cNvGrpSpPr/>
            <p:nvPr/>
          </p:nvGrpSpPr>
          <p:grpSpPr>
            <a:xfrm>
              <a:off x="3794613" y="1585984"/>
              <a:ext cx="287417" cy="257744"/>
              <a:chOff x="2544203" y="4042223"/>
              <a:chExt cx="394607" cy="353867"/>
            </a:xfrm>
            <a:solidFill>
              <a:schemeClr val="accent1"/>
            </a:solidFill>
          </p:grpSpPr>
          <p:grpSp>
            <p:nvGrpSpPr>
              <p:cNvPr id="324" name="Grafik 23">
                <a:extLst>
                  <a:ext uri="{FF2B5EF4-FFF2-40B4-BE49-F238E27FC236}">
                    <a16:creationId xmlns:a16="http://schemas.microsoft.com/office/drawing/2014/main" id="{C73045BE-489B-47E0-922E-16A30DB20499}"/>
                  </a:ext>
                </a:extLst>
              </p:cNvPr>
              <p:cNvGrpSpPr/>
              <p:nvPr/>
            </p:nvGrpSpPr>
            <p:grpSpPr>
              <a:xfrm>
                <a:off x="2544203" y="4042223"/>
                <a:ext cx="394607" cy="353867"/>
                <a:chOff x="2544203" y="4042223"/>
                <a:chExt cx="394607" cy="353867"/>
              </a:xfrm>
              <a:solidFill>
                <a:schemeClr val="accent1"/>
              </a:solidFill>
            </p:grpSpPr>
            <p:grpSp>
              <p:nvGrpSpPr>
                <p:cNvPr id="328" name="Grafik 23">
                  <a:extLst>
                    <a:ext uri="{FF2B5EF4-FFF2-40B4-BE49-F238E27FC236}">
                      <a16:creationId xmlns:a16="http://schemas.microsoft.com/office/drawing/2014/main" id="{E3589A6B-A414-4F20-A57A-38C3136C2167}"/>
                    </a:ext>
                  </a:extLst>
                </p:cNvPr>
                <p:cNvGrpSpPr/>
                <p:nvPr/>
              </p:nvGrpSpPr>
              <p:grpSpPr>
                <a:xfrm>
                  <a:off x="2544203" y="4042223"/>
                  <a:ext cx="284129" cy="311440"/>
                  <a:chOff x="2544203" y="4042223"/>
                  <a:chExt cx="284129" cy="311440"/>
                </a:xfrm>
                <a:solidFill>
                  <a:schemeClr val="accent1"/>
                </a:solidFill>
              </p:grpSpPr>
              <p:sp>
                <p:nvSpPr>
                  <p:cNvPr id="332" name="Freihandform: Form 192">
                    <a:extLst>
                      <a:ext uri="{FF2B5EF4-FFF2-40B4-BE49-F238E27FC236}">
                        <a16:creationId xmlns:a16="http://schemas.microsoft.com/office/drawing/2014/main" id="{DF3362F8-2BE4-4DF9-AAA3-F12B030A1FE4}"/>
                      </a:ext>
                    </a:extLst>
                  </p:cNvPr>
                  <p:cNvSpPr/>
                  <p:nvPr/>
                </p:nvSpPr>
                <p:spPr>
                  <a:xfrm>
                    <a:off x="2544203" y="4042295"/>
                    <a:ext cx="67470" cy="46857"/>
                  </a:xfrm>
                  <a:custGeom>
                    <a:avLst/>
                    <a:gdLst>
                      <a:gd name="connsiteX0" fmla="*/ 62645 w 67470"/>
                      <a:gd name="connsiteY0" fmla="*/ 37227 h 46857"/>
                      <a:gd name="connsiteX1" fmla="*/ 10982 w 67470"/>
                      <a:gd name="connsiteY1" fmla="*/ 37227 h 46857"/>
                      <a:gd name="connsiteX2" fmla="*/ 9631 w 67470"/>
                      <a:gd name="connsiteY2" fmla="*/ 29962 h 46857"/>
                      <a:gd name="connsiteX3" fmla="*/ 29943 w 67470"/>
                      <a:gd name="connsiteY3" fmla="*/ 9649 h 46857"/>
                      <a:gd name="connsiteX4" fmla="*/ 56525 w 67470"/>
                      <a:gd name="connsiteY4" fmla="*/ 9649 h 46857"/>
                      <a:gd name="connsiteX5" fmla="*/ 61350 w 67470"/>
                      <a:gd name="connsiteY5" fmla="*/ 4825 h 46857"/>
                      <a:gd name="connsiteX6" fmla="*/ 56525 w 67470"/>
                      <a:gd name="connsiteY6" fmla="*/ 0 h 46857"/>
                      <a:gd name="connsiteX7" fmla="*/ 29943 w 67470"/>
                      <a:gd name="connsiteY7" fmla="*/ 0 h 46857"/>
                      <a:gd name="connsiteX8" fmla="*/ 0 w 67470"/>
                      <a:gd name="connsiteY8" fmla="*/ 29962 h 46857"/>
                      <a:gd name="connsiteX9" fmla="*/ 3698 w 67470"/>
                      <a:gd name="connsiteY9" fmla="*/ 44361 h 46857"/>
                      <a:gd name="connsiteX10" fmla="*/ 7922 w 67470"/>
                      <a:gd name="connsiteY10" fmla="*/ 46858 h 46857"/>
                      <a:gd name="connsiteX11" fmla="*/ 62645 w 67470"/>
                      <a:gd name="connsiteY11" fmla="*/ 46858 h 46857"/>
                      <a:gd name="connsiteX12" fmla="*/ 67470 w 67470"/>
                      <a:gd name="connsiteY12" fmla="*/ 42033 h 46857"/>
                      <a:gd name="connsiteX13" fmla="*/ 62645 w 67470"/>
                      <a:gd name="connsiteY13" fmla="*/ 37227 h 46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7470" h="46857">
                        <a:moveTo>
                          <a:pt x="62645" y="37227"/>
                        </a:moveTo>
                        <a:lnTo>
                          <a:pt x="10982" y="37227"/>
                        </a:lnTo>
                        <a:cubicBezTo>
                          <a:pt x="10100" y="34918"/>
                          <a:pt x="9631" y="32459"/>
                          <a:pt x="9631" y="29962"/>
                        </a:cubicBezTo>
                        <a:cubicBezTo>
                          <a:pt x="9631" y="18754"/>
                          <a:pt x="18735" y="9649"/>
                          <a:pt x="29943" y="9649"/>
                        </a:cubicBezTo>
                        <a:lnTo>
                          <a:pt x="56525" y="9649"/>
                        </a:lnTo>
                        <a:cubicBezTo>
                          <a:pt x="59191" y="9649"/>
                          <a:pt x="61350" y="7490"/>
                          <a:pt x="61350" y="4825"/>
                        </a:cubicBezTo>
                        <a:cubicBezTo>
                          <a:pt x="61350" y="2159"/>
                          <a:pt x="59191" y="0"/>
                          <a:pt x="56525" y="0"/>
                        </a:cubicBezTo>
                        <a:lnTo>
                          <a:pt x="29943" y="0"/>
                        </a:lnTo>
                        <a:cubicBezTo>
                          <a:pt x="13423" y="0"/>
                          <a:pt x="0" y="13442"/>
                          <a:pt x="0" y="29962"/>
                        </a:cubicBezTo>
                        <a:cubicBezTo>
                          <a:pt x="0" y="34993"/>
                          <a:pt x="1277" y="39968"/>
                          <a:pt x="3698" y="44361"/>
                        </a:cubicBezTo>
                        <a:cubicBezTo>
                          <a:pt x="4543" y="45900"/>
                          <a:pt x="6157" y="46858"/>
                          <a:pt x="7922" y="46858"/>
                        </a:cubicBezTo>
                        <a:lnTo>
                          <a:pt x="62645" y="46858"/>
                        </a:lnTo>
                        <a:cubicBezTo>
                          <a:pt x="65311" y="46858"/>
                          <a:pt x="67470" y="44699"/>
                          <a:pt x="67470" y="42033"/>
                        </a:cubicBezTo>
                        <a:cubicBezTo>
                          <a:pt x="67451" y="39386"/>
                          <a:pt x="65292" y="37227"/>
                          <a:pt x="62645" y="37227"/>
                        </a:cubicBezTo>
                        <a:close/>
                      </a:path>
                    </a:pathLst>
                  </a:custGeom>
                  <a:solidFill>
                    <a:schemeClr val="accent1"/>
                  </a:solidFill>
                  <a:ln w="1873" cap="flat">
                    <a:noFill/>
                    <a:prstDash val="solid"/>
                    <a:miter/>
                  </a:ln>
                </p:spPr>
                <p:txBody>
                  <a:bodyPr rtlCol="0" anchor="ctr"/>
                  <a:lstStyle/>
                  <a:p>
                    <a:endParaRPr lang="en-GB" dirty="0"/>
                  </a:p>
                </p:txBody>
              </p:sp>
              <p:sp>
                <p:nvSpPr>
                  <p:cNvPr id="333" name="Freihandform: Form 193">
                    <a:extLst>
                      <a:ext uri="{FF2B5EF4-FFF2-40B4-BE49-F238E27FC236}">
                        <a16:creationId xmlns:a16="http://schemas.microsoft.com/office/drawing/2014/main" id="{79C183CF-D07D-4A47-8D41-3AC0538E2308}"/>
                      </a:ext>
                    </a:extLst>
                  </p:cNvPr>
                  <p:cNvSpPr/>
                  <p:nvPr/>
                </p:nvSpPr>
                <p:spPr>
                  <a:xfrm>
                    <a:off x="2571266" y="4042223"/>
                    <a:ext cx="257066" cy="311440"/>
                  </a:xfrm>
                  <a:custGeom>
                    <a:avLst/>
                    <a:gdLst>
                      <a:gd name="connsiteX0" fmla="*/ 221323 w 257066"/>
                      <a:gd name="connsiteY0" fmla="*/ 90 h 311440"/>
                      <a:gd name="connsiteX1" fmla="*/ 9113 w 257066"/>
                      <a:gd name="connsiteY1" fmla="*/ 90 h 311440"/>
                      <a:gd name="connsiteX2" fmla="*/ 4232 w 257066"/>
                      <a:gd name="connsiteY2" fmla="*/ 128 h 311440"/>
                      <a:gd name="connsiteX3" fmla="*/ 9 w 257066"/>
                      <a:gd name="connsiteY3" fmla="*/ 5215 h 311440"/>
                      <a:gd name="connsiteX4" fmla="*/ 4814 w 257066"/>
                      <a:gd name="connsiteY4" fmla="*/ 9740 h 311440"/>
                      <a:gd name="connsiteX5" fmla="*/ 8738 w 257066"/>
                      <a:gd name="connsiteY5" fmla="*/ 9740 h 311440"/>
                      <a:gd name="connsiteX6" fmla="*/ 21410 w 257066"/>
                      <a:gd name="connsiteY6" fmla="*/ 14996 h 311440"/>
                      <a:gd name="connsiteX7" fmla="*/ 30909 w 257066"/>
                      <a:gd name="connsiteY7" fmla="*/ 43606 h 311440"/>
                      <a:gd name="connsiteX8" fmla="*/ 30909 w 257066"/>
                      <a:gd name="connsiteY8" fmla="*/ 275584 h 311440"/>
                      <a:gd name="connsiteX9" fmla="*/ 41591 w 257066"/>
                      <a:gd name="connsiteY9" fmla="*/ 303631 h 311440"/>
                      <a:gd name="connsiteX10" fmla="*/ 63874 w 257066"/>
                      <a:gd name="connsiteY10" fmla="*/ 311440 h 311440"/>
                      <a:gd name="connsiteX11" fmla="*/ 66653 w 257066"/>
                      <a:gd name="connsiteY11" fmla="*/ 311309 h 311440"/>
                      <a:gd name="connsiteX12" fmla="*/ 146363 w 257066"/>
                      <a:gd name="connsiteY12" fmla="*/ 311309 h 311440"/>
                      <a:gd name="connsiteX13" fmla="*/ 151187 w 257066"/>
                      <a:gd name="connsiteY13" fmla="*/ 306484 h 311440"/>
                      <a:gd name="connsiteX14" fmla="*/ 146363 w 257066"/>
                      <a:gd name="connsiteY14" fmla="*/ 301660 h 311440"/>
                      <a:gd name="connsiteX15" fmla="*/ 66052 w 257066"/>
                      <a:gd name="connsiteY15" fmla="*/ 301697 h 311440"/>
                      <a:gd name="connsiteX16" fmla="*/ 47974 w 257066"/>
                      <a:gd name="connsiteY16" fmla="*/ 296384 h 311440"/>
                      <a:gd name="connsiteX17" fmla="*/ 40539 w 257066"/>
                      <a:gd name="connsiteY17" fmla="*/ 275565 h 311440"/>
                      <a:gd name="connsiteX18" fmla="*/ 40539 w 257066"/>
                      <a:gd name="connsiteY18" fmla="*/ 43588 h 311440"/>
                      <a:gd name="connsiteX19" fmla="*/ 29820 w 257066"/>
                      <a:gd name="connsiteY19" fmla="*/ 9740 h 311440"/>
                      <a:gd name="connsiteX20" fmla="*/ 221286 w 257066"/>
                      <a:gd name="connsiteY20" fmla="*/ 9740 h 311440"/>
                      <a:gd name="connsiteX21" fmla="*/ 247418 w 257066"/>
                      <a:gd name="connsiteY21" fmla="*/ 35853 h 311440"/>
                      <a:gd name="connsiteX22" fmla="*/ 247418 w 257066"/>
                      <a:gd name="connsiteY22" fmla="*/ 148847 h 311440"/>
                      <a:gd name="connsiteX23" fmla="*/ 252242 w 257066"/>
                      <a:gd name="connsiteY23" fmla="*/ 153672 h 311440"/>
                      <a:gd name="connsiteX24" fmla="*/ 257067 w 257066"/>
                      <a:gd name="connsiteY24" fmla="*/ 148847 h 311440"/>
                      <a:gd name="connsiteX25" fmla="*/ 257067 w 257066"/>
                      <a:gd name="connsiteY25" fmla="*/ 35853 h 311440"/>
                      <a:gd name="connsiteX26" fmla="*/ 221323 w 257066"/>
                      <a:gd name="connsiteY26" fmla="*/ 90 h 311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57066" h="311440">
                        <a:moveTo>
                          <a:pt x="221323" y="90"/>
                        </a:moveTo>
                        <a:lnTo>
                          <a:pt x="9113" y="90"/>
                        </a:lnTo>
                        <a:cubicBezTo>
                          <a:pt x="6297" y="-116"/>
                          <a:pt x="4420" y="90"/>
                          <a:pt x="4232" y="128"/>
                        </a:cubicBezTo>
                        <a:cubicBezTo>
                          <a:pt x="1698" y="447"/>
                          <a:pt x="-142" y="2662"/>
                          <a:pt x="9" y="5215"/>
                        </a:cubicBezTo>
                        <a:cubicBezTo>
                          <a:pt x="178" y="7750"/>
                          <a:pt x="2280" y="9740"/>
                          <a:pt x="4814" y="9740"/>
                        </a:cubicBezTo>
                        <a:lnTo>
                          <a:pt x="8738" y="9740"/>
                        </a:lnTo>
                        <a:cubicBezTo>
                          <a:pt x="11986" y="10021"/>
                          <a:pt x="17054" y="11129"/>
                          <a:pt x="21410" y="14996"/>
                        </a:cubicBezTo>
                        <a:cubicBezTo>
                          <a:pt x="27718" y="20553"/>
                          <a:pt x="30909" y="30184"/>
                          <a:pt x="30909" y="43606"/>
                        </a:cubicBezTo>
                        <a:lnTo>
                          <a:pt x="30909" y="275584"/>
                        </a:lnTo>
                        <a:cubicBezTo>
                          <a:pt x="30909" y="287937"/>
                          <a:pt x="34495" y="297379"/>
                          <a:pt x="41591" y="303631"/>
                        </a:cubicBezTo>
                        <a:cubicBezTo>
                          <a:pt x="49363" y="310502"/>
                          <a:pt x="59162" y="311440"/>
                          <a:pt x="63874" y="311440"/>
                        </a:cubicBezTo>
                        <a:cubicBezTo>
                          <a:pt x="65601" y="311440"/>
                          <a:pt x="66653" y="311309"/>
                          <a:pt x="66653" y="311309"/>
                        </a:cubicBezTo>
                        <a:lnTo>
                          <a:pt x="146363" y="311309"/>
                        </a:lnTo>
                        <a:cubicBezTo>
                          <a:pt x="149028" y="311309"/>
                          <a:pt x="151187" y="309150"/>
                          <a:pt x="151187" y="306484"/>
                        </a:cubicBezTo>
                        <a:cubicBezTo>
                          <a:pt x="151187" y="303819"/>
                          <a:pt x="149028" y="301660"/>
                          <a:pt x="146363" y="301660"/>
                        </a:cubicBezTo>
                        <a:lnTo>
                          <a:pt x="66052" y="301697"/>
                        </a:lnTo>
                        <a:cubicBezTo>
                          <a:pt x="65958" y="301697"/>
                          <a:pt x="55257" y="302823"/>
                          <a:pt x="47974" y="296384"/>
                        </a:cubicBezTo>
                        <a:cubicBezTo>
                          <a:pt x="43036" y="292029"/>
                          <a:pt x="40539" y="285027"/>
                          <a:pt x="40539" y="275565"/>
                        </a:cubicBezTo>
                        <a:lnTo>
                          <a:pt x="40539" y="43588"/>
                        </a:lnTo>
                        <a:cubicBezTo>
                          <a:pt x="40539" y="28663"/>
                          <a:pt x="36935" y="17287"/>
                          <a:pt x="29820" y="9740"/>
                        </a:cubicBezTo>
                        <a:lnTo>
                          <a:pt x="221286" y="9740"/>
                        </a:lnTo>
                        <a:cubicBezTo>
                          <a:pt x="223970" y="9759"/>
                          <a:pt x="247418" y="10641"/>
                          <a:pt x="247418" y="35853"/>
                        </a:cubicBezTo>
                        <a:lnTo>
                          <a:pt x="247418" y="148847"/>
                        </a:lnTo>
                        <a:cubicBezTo>
                          <a:pt x="247418" y="151513"/>
                          <a:pt x="249577" y="153672"/>
                          <a:pt x="252242" y="153672"/>
                        </a:cubicBezTo>
                        <a:cubicBezTo>
                          <a:pt x="254908" y="153672"/>
                          <a:pt x="257067" y="151513"/>
                          <a:pt x="257067" y="148847"/>
                        </a:cubicBezTo>
                        <a:lnTo>
                          <a:pt x="257067" y="35853"/>
                        </a:lnTo>
                        <a:cubicBezTo>
                          <a:pt x="257067" y="7562"/>
                          <a:pt x="233676" y="90"/>
                          <a:pt x="221323" y="90"/>
                        </a:cubicBezTo>
                        <a:close/>
                      </a:path>
                    </a:pathLst>
                  </a:custGeom>
                  <a:solidFill>
                    <a:schemeClr val="accent1"/>
                  </a:solidFill>
                  <a:ln w="1873" cap="flat">
                    <a:noFill/>
                    <a:prstDash val="solid"/>
                    <a:miter/>
                  </a:ln>
                </p:spPr>
                <p:txBody>
                  <a:bodyPr rtlCol="0" anchor="ctr"/>
                  <a:lstStyle/>
                  <a:p>
                    <a:endParaRPr lang="en-GB" dirty="0"/>
                  </a:p>
                </p:txBody>
              </p:sp>
            </p:grpSp>
            <p:sp>
              <p:nvSpPr>
                <p:cNvPr id="329" name="Freihandform: Form 194">
                  <a:extLst>
                    <a:ext uri="{FF2B5EF4-FFF2-40B4-BE49-F238E27FC236}">
                      <a16:creationId xmlns:a16="http://schemas.microsoft.com/office/drawing/2014/main" id="{B86E1F94-D54C-42AF-9956-BB902712538C}"/>
                    </a:ext>
                  </a:extLst>
                </p:cNvPr>
                <p:cNvSpPr/>
                <p:nvPr/>
              </p:nvSpPr>
              <p:spPr>
                <a:xfrm>
                  <a:off x="2681726" y="4186470"/>
                  <a:ext cx="13753" cy="9725"/>
                </a:xfrm>
                <a:custGeom>
                  <a:avLst/>
                  <a:gdLst>
                    <a:gd name="connsiteX0" fmla="*/ 9301 w 13753"/>
                    <a:gd name="connsiteY0" fmla="*/ 96 h 9725"/>
                    <a:gd name="connsiteX1" fmla="*/ 4251 w 13753"/>
                    <a:gd name="connsiteY1" fmla="*/ 114 h 9725"/>
                    <a:gd name="connsiteX2" fmla="*/ 8 w 13753"/>
                    <a:gd name="connsiteY2" fmla="*/ 5202 h 9725"/>
                    <a:gd name="connsiteX3" fmla="*/ 4796 w 13753"/>
                    <a:gd name="connsiteY3" fmla="*/ 9726 h 9725"/>
                    <a:gd name="connsiteX4" fmla="*/ 8944 w 13753"/>
                    <a:gd name="connsiteY4" fmla="*/ 9726 h 9725"/>
                    <a:gd name="connsiteX5" fmla="*/ 13750 w 13753"/>
                    <a:gd name="connsiteY5" fmla="*/ 5089 h 9725"/>
                    <a:gd name="connsiteX6" fmla="*/ 9301 w 13753"/>
                    <a:gd name="connsiteY6" fmla="*/ 96 h 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53" h="9725">
                      <a:moveTo>
                        <a:pt x="9301" y="96"/>
                      </a:moveTo>
                      <a:cubicBezTo>
                        <a:pt x="6185" y="-130"/>
                        <a:pt x="4251" y="114"/>
                        <a:pt x="4251" y="114"/>
                      </a:cubicBezTo>
                      <a:cubicBezTo>
                        <a:pt x="1717" y="433"/>
                        <a:pt x="-142" y="2649"/>
                        <a:pt x="8" y="5202"/>
                      </a:cubicBezTo>
                      <a:cubicBezTo>
                        <a:pt x="159" y="7755"/>
                        <a:pt x="2242" y="9726"/>
                        <a:pt x="4796" y="9726"/>
                      </a:cubicBezTo>
                      <a:lnTo>
                        <a:pt x="8944" y="9726"/>
                      </a:lnTo>
                      <a:cubicBezTo>
                        <a:pt x="11535" y="9726"/>
                        <a:pt x="13656" y="7680"/>
                        <a:pt x="13750" y="5089"/>
                      </a:cubicBezTo>
                      <a:cubicBezTo>
                        <a:pt x="13844" y="2480"/>
                        <a:pt x="11873" y="283"/>
                        <a:pt x="9301" y="96"/>
                      </a:cubicBezTo>
                      <a:close/>
                    </a:path>
                  </a:pathLst>
                </a:custGeom>
                <a:solidFill>
                  <a:schemeClr val="accent1"/>
                </a:solidFill>
                <a:ln w="1873" cap="flat">
                  <a:noFill/>
                  <a:prstDash val="solid"/>
                  <a:miter/>
                </a:ln>
              </p:spPr>
              <p:txBody>
                <a:bodyPr rtlCol="0" anchor="ctr"/>
                <a:lstStyle/>
                <a:p>
                  <a:endParaRPr lang="en-GB" dirty="0"/>
                </a:p>
              </p:txBody>
            </p:sp>
            <p:sp>
              <p:nvSpPr>
                <p:cNvPr id="330" name="Freihandform: Form 195">
                  <a:extLst>
                    <a:ext uri="{FF2B5EF4-FFF2-40B4-BE49-F238E27FC236}">
                      <a16:creationId xmlns:a16="http://schemas.microsoft.com/office/drawing/2014/main" id="{AC5D84EB-F1ED-4CE6-9A73-E422177B3BF0}"/>
                    </a:ext>
                  </a:extLst>
                </p:cNvPr>
                <p:cNvSpPr/>
                <p:nvPr/>
              </p:nvSpPr>
              <p:spPr>
                <a:xfrm>
                  <a:off x="2632882" y="4186528"/>
                  <a:ext cx="83713" cy="167041"/>
                </a:xfrm>
                <a:custGeom>
                  <a:avLst/>
                  <a:gdLst>
                    <a:gd name="connsiteX0" fmla="*/ 78889 w 83713"/>
                    <a:gd name="connsiteY0" fmla="*/ 157430 h 167041"/>
                    <a:gd name="connsiteX1" fmla="*/ 23921 w 83713"/>
                    <a:gd name="connsiteY1" fmla="*/ 157430 h 167041"/>
                    <a:gd name="connsiteX2" fmla="*/ 31656 w 83713"/>
                    <a:gd name="connsiteY2" fmla="*/ 125704 h 167041"/>
                    <a:gd name="connsiteX3" fmla="*/ 31393 w 83713"/>
                    <a:gd name="connsiteY3" fmla="*/ 29962 h 167041"/>
                    <a:gd name="connsiteX4" fmla="*/ 51687 w 83713"/>
                    <a:gd name="connsiteY4" fmla="*/ 9649 h 167041"/>
                    <a:gd name="connsiteX5" fmla="*/ 78269 w 83713"/>
                    <a:gd name="connsiteY5" fmla="*/ 9649 h 167041"/>
                    <a:gd name="connsiteX6" fmla="*/ 83094 w 83713"/>
                    <a:gd name="connsiteY6" fmla="*/ 4825 h 167041"/>
                    <a:gd name="connsiteX7" fmla="*/ 78269 w 83713"/>
                    <a:gd name="connsiteY7" fmla="*/ 0 h 167041"/>
                    <a:gd name="connsiteX8" fmla="*/ 51687 w 83713"/>
                    <a:gd name="connsiteY8" fmla="*/ 0 h 167041"/>
                    <a:gd name="connsiteX9" fmla="*/ 21744 w 83713"/>
                    <a:gd name="connsiteY9" fmla="*/ 29943 h 167041"/>
                    <a:gd name="connsiteX10" fmla="*/ 22007 w 83713"/>
                    <a:gd name="connsiteY10" fmla="*/ 125685 h 167041"/>
                    <a:gd name="connsiteX11" fmla="*/ 3590 w 83713"/>
                    <a:gd name="connsiteY11" fmla="*/ 157561 h 167041"/>
                    <a:gd name="connsiteX12" fmla="*/ 42 w 83713"/>
                    <a:gd name="connsiteY12" fmla="*/ 162837 h 167041"/>
                    <a:gd name="connsiteX13" fmla="*/ 4829 w 83713"/>
                    <a:gd name="connsiteY13" fmla="*/ 167042 h 167041"/>
                    <a:gd name="connsiteX14" fmla="*/ 78889 w 83713"/>
                    <a:gd name="connsiteY14" fmla="*/ 167042 h 167041"/>
                    <a:gd name="connsiteX15" fmla="*/ 83713 w 83713"/>
                    <a:gd name="connsiteY15" fmla="*/ 162217 h 167041"/>
                    <a:gd name="connsiteX16" fmla="*/ 78889 w 83713"/>
                    <a:gd name="connsiteY16" fmla="*/ 157430 h 167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713" h="167041">
                      <a:moveTo>
                        <a:pt x="78889" y="157430"/>
                      </a:moveTo>
                      <a:lnTo>
                        <a:pt x="23921" y="157430"/>
                      </a:lnTo>
                      <a:cubicBezTo>
                        <a:pt x="30154" y="150540"/>
                        <a:pt x="31600" y="140478"/>
                        <a:pt x="31656" y="125704"/>
                      </a:cubicBezTo>
                      <a:cubicBezTo>
                        <a:pt x="31506" y="90993"/>
                        <a:pt x="31393" y="33097"/>
                        <a:pt x="31393" y="29962"/>
                      </a:cubicBezTo>
                      <a:cubicBezTo>
                        <a:pt x="31393" y="18773"/>
                        <a:pt x="40498" y="9649"/>
                        <a:pt x="51687" y="9649"/>
                      </a:cubicBezTo>
                      <a:lnTo>
                        <a:pt x="78269" y="9649"/>
                      </a:lnTo>
                      <a:cubicBezTo>
                        <a:pt x="80935" y="9649"/>
                        <a:pt x="83094" y="7490"/>
                        <a:pt x="83094" y="4825"/>
                      </a:cubicBezTo>
                      <a:cubicBezTo>
                        <a:pt x="83094" y="2159"/>
                        <a:pt x="80935" y="0"/>
                        <a:pt x="78269" y="0"/>
                      </a:cubicBezTo>
                      <a:lnTo>
                        <a:pt x="51687" y="0"/>
                      </a:lnTo>
                      <a:cubicBezTo>
                        <a:pt x="35185" y="0"/>
                        <a:pt x="21744" y="13441"/>
                        <a:pt x="21744" y="29943"/>
                      </a:cubicBezTo>
                      <a:cubicBezTo>
                        <a:pt x="21744" y="33059"/>
                        <a:pt x="21856" y="91011"/>
                        <a:pt x="22007" y="125685"/>
                      </a:cubicBezTo>
                      <a:cubicBezTo>
                        <a:pt x="21913" y="148213"/>
                        <a:pt x="18815" y="153582"/>
                        <a:pt x="3590" y="157561"/>
                      </a:cubicBezTo>
                      <a:cubicBezTo>
                        <a:pt x="1244" y="158181"/>
                        <a:pt x="-277" y="160434"/>
                        <a:pt x="42" y="162837"/>
                      </a:cubicBezTo>
                      <a:cubicBezTo>
                        <a:pt x="361" y="165240"/>
                        <a:pt x="2408" y="167042"/>
                        <a:pt x="4829" y="167042"/>
                      </a:cubicBezTo>
                      <a:lnTo>
                        <a:pt x="78889" y="167042"/>
                      </a:lnTo>
                      <a:cubicBezTo>
                        <a:pt x="81554" y="167042"/>
                        <a:pt x="83713" y="164883"/>
                        <a:pt x="83713" y="162217"/>
                      </a:cubicBezTo>
                      <a:cubicBezTo>
                        <a:pt x="83695" y="159589"/>
                        <a:pt x="81554" y="157430"/>
                        <a:pt x="78889" y="157430"/>
                      </a:cubicBezTo>
                      <a:close/>
                    </a:path>
                  </a:pathLst>
                </a:custGeom>
                <a:solidFill>
                  <a:schemeClr val="accent1"/>
                </a:solidFill>
                <a:ln w="1873" cap="flat">
                  <a:noFill/>
                  <a:prstDash val="solid"/>
                  <a:miter/>
                </a:ln>
              </p:spPr>
              <p:txBody>
                <a:bodyPr rtlCol="0" anchor="ctr"/>
                <a:lstStyle/>
                <a:p>
                  <a:endParaRPr lang="en-GB" dirty="0"/>
                </a:p>
              </p:txBody>
            </p:sp>
            <p:sp>
              <p:nvSpPr>
                <p:cNvPr id="331" name="Freihandform: Form 196">
                  <a:extLst>
                    <a:ext uri="{FF2B5EF4-FFF2-40B4-BE49-F238E27FC236}">
                      <a16:creationId xmlns:a16="http://schemas.microsoft.com/office/drawing/2014/main" id="{3B3B9464-335E-4902-AB01-87AC5731E65C}"/>
                    </a:ext>
                  </a:extLst>
                </p:cNvPr>
                <p:cNvSpPr/>
                <p:nvPr/>
              </p:nvSpPr>
              <p:spPr>
                <a:xfrm>
                  <a:off x="2685860" y="4186547"/>
                  <a:ext cx="252951" cy="209543"/>
                </a:xfrm>
                <a:custGeom>
                  <a:avLst/>
                  <a:gdLst>
                    <a:gd name="connsiteX0" fmla="*/ 217152 w 252951"/>
                    <a:gd name="connsiteY0" fmla="*/ 0 h 209543"/>
                    <a:gd name="connsiteX1" fmla="*/ 4810 w 252951"/>
                    <a:gd name="connsiteY1" fmla="*/ 0 h 209543"/>
                    <a:gd name="connsiteX2" fmla="*/ 5 w 252951"/>
                    <a:gd name="connsiteY2" fmla="*/ 4618 h 209543"/>
                    <a:gd name="connsiteX3" fmla="*/ 4435 w 252951"/>
                    <a:gd name="connsiteY3" fmla="*/ 9612 h 209543"/>
                    <a:gd name="connsiteX4" fmla="*/ 26794 w 252951"/>
                    <a:gd name="connsiteY4" fmla="*/ 43478 h 209543"/>
                    <a:gd name="connsiteX5" fmla="*/ 26700 w 252951"/>
                    <a:gd name="connsiteY5" fmla="*/ 113126 h 209543"/>
                    <a:gd name="connsiteX6" fmla="*/ 26587 w 252951"/>
                    <a:gd name="connsiteY6" fmla="*/ 204175 h 209543"/>
                    <a:gd name="connsiteX7" fmla="*/ 31412 w 252951"/>
                    <a:gd name="connsiteY7" fmla="*/ 208999 h 209543"/>
                    <a:gd name="connsiteX8" fmla="*/ 36237 w 252951"/>
                    <a:gd name="connsiteY8" fmla="*/ 204175 h 209543"/>
                    <a:gd name="connsiteX9" fmla="*/ 36349 w 252951"/>
                    <a:gd name="connsiteY9" fmla="*/ 113145 h 209543"/>
                    <a:gd name="connsiteX10" fmla="*/ 36443 w 252951"/>
                    <a:gd name="connsiteY10" fmla="*/ 43478 h 209543"/>
                    <a:gd name="connsiteX11" fmla="*/ 25836 w 252951"/>
                    <a:gd name="connsiteY11" fmla="*/ 9631 h 209543"/>
                    <a:gd name="connsiteX12" fmla="*/ 217170 w 252951"/>
                    <a:gd name="connsiteY12" fmla="*/ 9631 h 209543"/>
                    <a:gd name="connsiteX13" fmla="*/ 243302 w 252951"/>
                    <a:gd name="connsiteY13" fmla="*/ 35762 h 209543"/>
                    <a:gd name="connsiteX14" fmla="*/ 243302 w 252951"/>
                    <a:gd name="connsiteY14" fmla="*/ 204719 h 209543"/>
                    <a:gd name="connsiteX15" fmla="*/ 248127 w 252951"/>
                    <a:gd name="connsiteY15" fmla="*/ 209544 h 209543"/>
                    <a:gd name="connsiteX16" fmla="*/ 252952 w 252951"/>
                    <a:gd name="connsiteY16" fmla="*/ 204719 h 209543"/>
                    <a:gd name="connsiteX17" fmla="*/ 252952 w 252951"/>
                    <a:gd name="connsiteY17" fmla="*/ 35762 h 209543"/>
                    <a:gd name="connsiteX18" fmla="*/ 217152 w 252951"/>
                    <a:gd name="connsiteY18" fmla="*/ 0 h 20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52951" h="209543">
                      <a:moveTo>
                        <a:pt x="217152" y="0"/>
                      </a:moveTo>
                      <a:lnTo>
                        <a:pt x="4810" y="0"/>
                      </a:lnTo>
                      <a:cubicBezTo>
                        <a:pt x="2220" y="0"/>
                        <a:pt x="99" y="2046"/>
                        <a:pt x="5" y="4618"/>
                      </a:cubicBezTo>
                      <a:cubicBezTo>
                        <a:pt x="-108" y="7209"/>
                        <a:pt x="1863" y="9405"/>
                        <a:pt x="4435" y="9612"/>
                      </a:cubicBezTo>
                      <a:cubicBezTo>
                        <a:pt x="12789" y="10288"/>
                        <a:pt x="26794" y="15581"/>
                        <a:pt x="26794" y="43478"/>
                      </a:cubicBezTo>
                      <a:cubicBezTo>
                        <a:pt x="26794" y="62176"/>
                        <a:pt x="26756" y="86787"/>
                        <a:pt x="26700" y="113126"/>
                      </a:cubicBezTo>
                      <a:cubicBezTo>
                        <a:pt x="26643" y="143369"/>
                        <a:pt x="26587" y="175846"/>
                        <a:pt x="26587" y="204175"/>
                      </a:cubicBezTo>
                      <a:cubicBezTo>
                        <a:pt x="26587" y="206841"/>
                        <a:pt x="28746" y="208999"/>
                        <a:pt x="31412" y="208999"/>
                      </a:cubicBezTo>
                      <a:cubicBezTo>
                        <a:pt x="34078" y="208999"/>
                        <a:pt x="36237" y="206841"/>
                        <a:pt x="36237" y="204175"/>
                      </a:cubicBezTo>
                      <a:cubicBezTo>
                        <a:pt x="36237" y="175846"/>
                        <a:pt x="36293" y="143369"/>
                        <a:pt x="36349" y="113145"/>
                      </a:cubicBezTo>
                      <a:cubicBezTo>
                        <a:pt x="36387" y="86806"/>
                        <a:pt x="36443" y="62195"/>
                        <a:pt x="36443" y="43478"/>
                      </a:cubicBezTo>
                      <a:cubicBezTo>
                        <a:pt x="36443" y="26376"/>
                        <a:pt x="31769" y="15957"/>
                        <a:pt x="25836" y="9631"/>
                      </a:cubicBezTo>
                      <a:lnTo>
                        <a:pt x="217170" y="9631"/>
                      </a:lnTo>
                      <a:cubicBezTo>
                        <a:pt x="219855" y="9649"/>
                        <a:pt x="243302" y="10532"/>
                        <a:pt x="243302" y="35762"/>
                      </a:cubicBezTo>
                      <a:lnTo>
                        <a:pt x="243302" y="204719"/>
                      </a:lnTo>
                      <a:cubicBezTo>
                        <a:pt x="243302" y="207385"/>
                        <a:pt x="245461" y="209544"/>
                        <a:pt x="248127" y="209544"/>
                      </a:cubicBezTo>
                      <a:cubicBezTo>
                        <a:pt x="250793" y="209544"/>
                        <a:pt x="252952" y="207385"/>
                        <a:pt x="252952" y="204719"/>
                      </a:cubicBezTo>
                      <a:lnTo>
                        <a:pt x="252952" y="35762"/>
                      </a:lnTo>
                      <a:cubicBezTo>
                        <a:pt x="252914" y="7472"/>
                        <a:pt x="229523" y="0"/>
                        <a:pt x="217152" y="0"/>
                      </a:cubicBezTo>
                      <a:close/>
                    </a:path>
                  </a:pathLst>
                </a:custGeom>
                <a:solidFill>
                  <a:schemeClr val="accent1"/>
                </a:solidFill>
                <a:ln w="1873" cap="flat">
                  <a:noFill/>
                  <a:prstDash val="solid"/>
                  <a:miter/>
                </a:ln>
              </p:spPr>
              <p:txBody>
                <a:bodyPr rtlCol="0" anchor="ctr"/>
                <a:lstStyle/>
                <a:p>
                  <a:endParaRPr lang="en-GB" dirty="0"/>
                </a:p>
              </p:txBody>
            </p:sp>
          </p:grpSp>
          <p:sp>
            <p:nvSpPr>
              <p:cNvPr id="325" name="Freihandform: Form 197">
                <a:extLst>
                  <a:ext uri="{FF2B5EF4-FFF2-40B4-BE49-F238E27FC236}">
                    <a16:creationId xmlns:a16="http://schemas.microsoft.com/office/drawing/2014/main" id="{0299662F-0C52-4D84-A930-CD2D42EB9116}"/>
                  </a:ext>
                </a:extLst>
              </p:cNvPr>
              <p:cNvSpPr/>
              <p:nvPr/>
            </p:nvSpPr>
            <p:spPr>
              <a:xfrm>
                <a:off x="2762702" y="4288597"/>
                <a:ext cx="125290" cy="9649"/>
              </a:xfrm>
              <a:custGeom>
                <a:avLst/>
                <a:gdLst>
                  <a:gd name="connsiteX0" fmla="*/ 120466 w 125290"/>
                  <a:gd name="connsiteY0" fmla="*/ 0 h 9649"/>
                  <a:gd name="connsiteX1" fmla="*/ 4825 w 125290"/>
                  <a:gd name="connsiteY1" fmla="*/ 0 h 9649"/>
                  <a:gd name="connsiteX2" fmla="*/ 0 w 125290"/>
                  <a:gd name="connsiteY2" fmla="*/ 4825 h 9649"/>
                  <a:gd name="connsiteX3" fmla="*/ 4825 w 125290"/>
                  <a:gd name="connsiteY3" fmla="*/ 9649 h 9649"/>
                  <a:gd name="connsiteX4" fmla="*/ 120466 w 125290"/>
                  <a:gd name="connsiteY4" fmla="*/ 9649 h 9649"/>
                  <a:gd name="connsiteX5" fmla="*/ 125291 w 125290"/>
                  <a:gd name="connsiteY5" fmla="*/ 4825 h 9649"/>
                  <a:gd name="connsiteX6" fmla="*/ 120466 w 125290"/>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90" h="9649">
                    <a:moveTo>
                      <a:pt x="120466" y="0"/>
                    </a:moveTo>
                    <a:lnTo>
                      <a:pt x="4825" y="0"/>
                    </a:lnTo>
                    <a:cubicBezTo>
                      <a:pt x="2159" y="0"/>
                      <a:pt x="0" y="2159"/>
                      <a:pt x="0" y="4825"/>
                    </a:cubicBezTo>
                    <a:cubicBezTo>
                      <a:pt x="0" y="7490"/>
                      <a:pt x="2159" y="9649"/>
                      <a:pt x="4825" y="9649"/>
                    </a:cubicBezTo>
                    <a:lnTo>
                      <a:pt x="120466" y="9649"/>
                    </a:lnTo>
                    <a:cubicBezTo>
                      <a:pt x="123132" y="9649"/>
                      <a:pt x="125291" y="7490"/>
                      <a:pt x="125291" y="4825"/>
                    </a:cubicBezTo>
                    <a:cubicBezTo>
                      <a:pt x="125291" y="2159"/>
                      <a:pt x="123132" y="0"/>
                      <a:pt x="120466" y="0"/>
                    </a:cubicBezTo>
                    <a:close/>
                  </a:path>
                </a:pathLst>
              </a:custGeom>
              <a:solidFill>
                <a:schemeClr val="accent1"/>
              </a:solidFill>
              <a:ln w="1873" cap="flat">
                <a:noFill/>
                <a:prstDash val="solid"/>
                <a:miter/>
              </a:ln>
            </p:spPr>
            <p:txBody>
              <a:bodyPr rtlCol="0" anchor="ctr"/>
              <a:lstStyle/>
              <a:p>
                <a:endParaRPr lang="en-GB" dirty="0"/>
              </a:p>
            </p:txBody>
          </p:sp>
          <p:sp>
            <p:nvSpPr>
              <p:cNvPr id="326" name="Freihandform: Form 198">
                <a:extLst>
                  <a:ext uri="{FF2B5EF4-FFF2-40B4-BE49-F238E27FC236}">
                    <a16:creationId xmlns:a16="http://schemas.microsoft.com/office/drawing/2014/main" id="{DC074321-6714-4809-AB07-3941917EA1EF}"/>
                  </a:ext>
                </a:extLst>
              </p:cNvPr>
              <p:cNvSpPr/>
              <p:nvPr/>
            </p:nvSpPr>
            <p:spPr>
              <a:xfrm>
                <a:off x="2762702" y="4346417"/>
                <a:ext cx="125290" cy="9649"/>
              </a:xfrm>
              <a:custGeom>
                <a:avLst/>
                <a:gdLst>
                  <a:gd name="connsiteX0" fmla="*/ 120466 w 125290"/>
                  <a:gd name="connsiteY0" fmla="*/ 0 h 9649"/>
                  <a:gd name="connsiteX1" fmla="*/ 4825 w 125290"/>
                  <a:gd name="connsiteY1" fmla="*/ 0 h 9649"/>
                  <a:gd name="connsiteX2" fmla="*/ 0 w 125290"/>
                  <a:gd name="connsiteY2" fmla="*/ 4825 h 9649"/>
                  <a:gd name="connsiteX3" fmla="*/ 4825 w 125290"/>
                  <a:gd name="connsiteY3" fmla="*/ 9649 h 9649"/>
                  <a:gd name="connsiteX4" fmla="*/ 120466 w 125290"/>
                  <a:gd name="connsiteY4" fmla="*/ 9649 h 9649"/>
                  <a:gd name="connsiteX5" fmla="*/ 125291 w 125290"/>
                  <a:gd name="connsiteY5" fmla="*/ 4825 h 9649"/>
                  <a:gd name="connsiteX6" fmla="*/ 120466 w 125290"/>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90" h="9649">
                    <a:moveTo>
                      <a:pt x="120466" y="0"/>
                    </a:moveTo>
                    <a:lnTo>
                      <a:pt x="4825" y="0"/>
                    </a:lnTo>
                    <a:cubicBezTo>
                      <a:pt x="2159" y="0"/>
                      <a:pt x="0" y="2159"/>
                      <a:pt x="0" y="4825"/>
                    </a:cubicBezTo>
                    <a:cubicBezTo>
                      <a:pt x="0" y="7490"/>
                      <a:pt x="2159" y="9649"/>
                      <a:pt x="4825" y="9649"/>
                    </a:cubicBezTo>
                    <a:lnTo>
                      <a:pt x="120466" y="9649"/>
                    </a:lnTo>
                    <a:cubicBezTo>
                      <a:pt x="123132" y="9649"/>
                      <a:pt x="125291" y="7490"/>
                      <a:pt x="125291" y="4825"/>
                    </a:cubicBezTo>
                    <a:cubicBezTo>
                      <a:pt x="125291" y="2159"/>
                      <a:pt x="123132" y="0"/>
                      <a:pt x="120466" y="0"/>
                    </a:cubicBezTo>
                    <a:close/>
                  </a:path>
                </a:pathLst>
              </a:custGeom>
              <a:solidFill>
                <a:schemeClr val="accent1"/>
              </a:solidFill>
              <a:ln w="1873" cap="flat">
                <a:noFill/>
                <a:prstDash val="solid"/>
                <a:miter/>
              </a:ln>
            </p:spPr>
            <p:txBody>
              <a:bodyPr rtlCol="0" anchor="ctr"/>
              <a:lstStyle/>
              <a:p>
                <a:endParaRPr lang="en-GB" dirty="0"/>
              </a:p>
            </p:txBody>
          </p:sp>
          <p:sp>
            <p:nvSpPr>
              <p:cNvPr id="327" name="Freihandform: Form 199">
                <a:extLst>
                  <a:ext uri="{FF2B5EF4-FFF2-40B4-BE49-F238E27FC236}">
                    <a16:creationId xmlns:a16="http://schemas.microsoft.com/office/drawing/2014/main" id="{39900FA7-2A19-412A-B4E1-EAF0618A52DB}"/>
                  </a:ext>
                </a:extLst>
              </p:cNvPr>
              <p:cNvSpPr/>
              <p:nvPr/>
            </p:nvSpPr>
            <p:spPr>
              <a:xfrm>
                <a:off x="2653500" y="4127994"/>
                <a:ext cx="125290" cy="9649"/>
              </a:xfrm>
              <a:custGeom>
                <a:avLst/>
                <a:gdLst>
                  <a:gd name="connsiteX0" fmla="*/ 120466 w 125290"/>
                  <a:gd name="connsiteY0" fmla="*/ 0 h 9649"/>
                  <a:gd name="connsiteX1" fmla="*/ 4825 w 125290"/>
                  <a:gd name="connsiteY1" fmla="*/ 0 h 9649"/>
                  <a:gd name="connsiteX2" fmla="*/ 0 w 125290"/>
                  <a:gd name="connsiteY2" fmla="*/ 4825 h 9649"/>
                  <a:gd name="connsiteX3" fmla="*/ 4825 w 125290"/>
                  <a:gd name="connsiteY3" fmla="*/ 9649 h 9649"/>
                  <a:gd name="connsiteX4" fmla="*/ 120466 w 125290"/>
                  <a:gd name="connsiteY4" fmla="*/ 9649 h 9649"/>
                  <a:gd name="connsiteX5" fmla="*/ 125291 w 125290"/>
                  <a:gd name="connsiteY5" fmla="*/ 4825 h 9649"/>
                  <a:gd name="connsiteX6" fmla="*/ 120466 w 125290"/>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290" h="9649">
                    <a:moveTo>
                      <a:pt x="120466" y="0"/>
                    </a:moveTo>
                    <a:lnTo>
                      <a:pt x="4825" y="0"/>
                    </a:lnTo>
                    <a:cubicBezTo>
                      <a:pt x="2159" y="0"/>
                      <a:pt x="0" y="2159"/>
                      <a:pt x="0" y="4825"/>
                    </a:cubicBezTo>
                    <a:cubicBezTo>
                      <a:pt x="0" y="7490"/>
                      <a:pt x="2159" y="9649"/>
                      <a:pt x="4825" y="9649"/>
                    </a:cubicBezTo>
                    <a:lnTo>
                      <a:pt x="120466" y="9649"/>
                    </a:lnTo>
                    <a:cubicBezTo>
                      <a:pt x="123132" y="9649"/>
                      <a:pt x="125291" y="7490"/>
                      <a:pt x="125291" y="4825"/>
                    </a:cubicBezTo>
                    <a:cubicBezTo>
                      <a:pt x="125291" y="2159"/>
                      <a:pt x="123132" y="0"/>
                      <a:pt x="120466" y="0"/>
                    </a:cubicBezTo>
                    <a:close/>
                  </a:path>
                </a:pathLst>
              </a:custGeom>
              <a:solidFill>
                <a:schemeClr val="accent1"/>
              </a:solidFill>
              <a:ln w="1873" cap="flat">
                <a:noFill/>
                <a:prstDash val="solid"/>
                <a:miter/>
              </a:ln>
            </p:spPr>
            <p:txBody>
              <a:bodyPr rtlCol="0" anchor="ctr"/>
              <a:lstStyle/>
              <a:p>
                <a:endParaRPr lang="en-GB" dirty="0"/>
              </a:p>
            </p:txBody>
          </p:sp>
        </p:grpSp>
        <p:grpSp>
          <p:nvGrpSpPr>
            <p:cNvPr id="317" name="Grafik 23">
              <a:extLst>
                <a:ext uri="{FF2B5EF4-FFF2-40B4-BE49-F238E27FC236}">
                  <a16:creationId xmlns:a16="http://schemas.microsoft.com/office/drawing/2014/main" id="{599F3E14-F1DE-4637-9405-A482A1B78FCC}"/>
                </a:ext>
              </a:extLst>
            </p:cNvPr>
            <p:cNvGrpSpPr/>
            <p:nvPr/>
          </p:nvGrpSpPr>
          <p:grpSpPr>
            <a:xfrm>
              <a:off x="3872404" y="1836747"/>
              <a:ext cx="266716" cy="181242"/>
              <a:chOff x="2651003" y="4386498"/>
              <a:chExt cx="366185" cy="248835"/>
            </a:xfrm>
            <a:solidFill>
              <a:schemeClr val="tx2"/>
            </a:solidFill>
          </p:grpSpPr>
          <p:sp>
            <p:nvSpPr>
              <p:cNvPr id="318" name="Freihandform: Form 201">
                <a:extLst>
                  <a:ext uri="{FF2B5EF4-FFF2-40B4-BE49-F238E27FC236}">
                    <a16:creationId xmlns:a16="http://schemas.microsoft.com/office/drawing/2014/main" id="{70AF8EDD-EC81-46DC-9FEB-174DED70F01A}"/>
                  </a:ext>
                </a:extLst>
              </p:cNvPr>
              <p:cNvSpPr/>
              <p:nvPr/>
            </p:nvSpPr>
            <p:spPr>
              <a:xfrm>
                <a:off x="2651003" y="4386498"/>
                <a:ext cx="366166" cy="248835"/>
              </a:xfrm>
              <a:custGeom>
                <a:avLst/>
                <a:gdLst>
                  <a:gd name="connsiteX0" fmla="*/ 334272 w 366166"/>
                  <a:gd name="connsiteY0" fmla="*/ 0 h 248835"/>
                  <a:gd name="connsiteX1" fmla="*/ 31895 w 366166"/>
                  <a:gd name="connsiteY1" fmla="*/ 0 h 248835"/>
                  <a:gd name="connsiteX2" fmla="*/ 0 w 366166"/>
                  <a:gd name="connsiteY2" fmla="*/ 31895 h 248835"/>
                  <a:gd name="connsiteX3" fmla="*/ 0 w 366166"/>
                  <a:gd name="connsiteY3" fmla="*/ 216940 h 248835"/>
                  <a:gd name="connsiteX4" fmla="*/ 31895 w 366166"/>
                  <a:gd name="connsiteY4" fmla="*/ 248836 h 248835"/>
                  <a:gd name="connsiteX5" fmla="*/ 334272 w 366166"/>
                  <a:gd name="connsiteY5" fmla="*/ 248836 h 248835"/>
                  <a:gd name="connsiteX6" fmla="*/ 366167 w 366166"/>
                  <a:gd name="connsiteY6" fmla="*/ 216940 h 248835"/>
                  <a:gd name="connsiteX7" fmla="*/ 366167 w 366166"/>
                  <a:gd name="connsiteY7" fmla="*/ 31895 h 248835"/>
                  <a:gd name="connsiteX8" fmla="*/ 334272 w 366166"/>
                  <a:gd name="connsiteY8" fmla="*/ 0 h 248835"/>
                  <a:gd name="connsiteX9" fmla="*/ 356536 w 366166"/>
                  <a:gd name="connsiteY9" fmla="*/ 216940 h 248835"/>
                  <a:gd name="connsiteX10" fmla="*/ 334272 w 366166"/>
                  <a:gd name="connsiteY10" fmla="*/ 239205 h 248835"/>
                  <a:gd name="connsiteX11" fmla="*/ 31914 w 366166"/>
                  <a:gd name="connsiteY11" fmla="*/ 239205 h 248835"/>
                  <a:gd name="connsiteX12" fmla="*/ 9630 w 366166"/>
                  <a:gd name="connsiteY12" fmla="*/ 216940 h 248835"/>
                  <a:gd name="connsiteX13" fmla="*/ 9630 w 366166"/>
                  <a:gd name="connsiteY13" fmla="*/ 31895 h 248835"/>
                  <a:gd name="connsiteX14" fmla="*/ 31895 w 366166"/>
                  <a:gd name="connsiteY14" fmla="*/ 9630 h 248835"/>
                  <a:gd name="connsiteX15" fmla="*/ 334272 w 366166"/>
                  <a:gd name="connsiteY15" fmla="*/ 9630 h 248835"/>
                  <a:gd name="connsiteX16" fmla="*/ 356536 w 366166"/>
                  <a:gd name="connsiteY16" fmla="*/ 31895 h 248835"/>
                  <a:gd name="connsiteX17" fmla="*/ 356536 w 366166"/>
                  <a:gd name="connsiteY17" fmla="*/ 216940 h 248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6166" h="248835">
                    <a:moveTo>
                      <a:pt x="334272" y="0"/>
                    </a:moveTo>
                    <a:lnTo>
                      <a:pt x="31895" y="0"/>
                    </a:lnTo>
                    <a:cubicBezTo>
                      <a:pt x="20876" y="0"/>
                      <a:pt x="0" y="6664"/>
                      <a:pt x="0" y="31895"/>
                    </a:cubicBezTo>
                    <a:lnTo>
                      <a:pt x="0" y="216940"/>
                    </a:lnTo>
                    <a:cubicBezTo>
                      <a:pt x="0" y="242171"/>
                      <a:pt x="20857" y="248836"/>
                      <a:pt x="31895" y="248836"/>
                    </a:cubicBezTo>
                    <a:lnTo>
                      <a:pt x="334272" y="248836"/>
                    </a:lnTo>
                    <a:cubicBezTo>
                      <a:pt x="345310" y="248836"/>
                      <a:pt x="366167" y="242171"/>
                      <a:pt x="366167" y="216940"/>
                    </a:cubicBezTo>
                    <a:lnTo>
                      <a:pt x="366167" y="31895"/>
                    </a:lnTo>
                    <a:cubicBezTo>
                      <a:pt x="366167" y="6683"/>
                      <a:pt x="345310" y="0"/>
                      <a:pt x="334272" y="0"/>
                    </a:cubicBezTo>
                    <a:close/>
                    <a:moveTo>
                      <a:pt x="356536" y="216940"/>
                    </a:moveTo>
                    <a:cubicBezTo>
                      <a:pt x="356536" y="238379"/>
                      <a:pt x="336581" y="239186"/>
                      <a:pt x="334272" y="239205"/>
                    </a:cubicBezTo>
                    <a:lnTo>
                      <a:pt x="31914" y="239205"/>
                    </a:lnTo>
                    <a:cubicBezTo>
                      <a:pt x="29642" y="239186"/>
                      <a:pt x="9630" y="238417"/>
                      <a:pt x="9630" y="216940"/>
                    </a:cubicBezTo>
                    <a:lnTo>
                      <a:pt x="9630" y="31895"/>
                    </a:lnTo>
                    <a:cubicBezTo>
                      <a:pt x="9630" y="10438"/>
                      <a:pt x="29624" y="9649"/>
                      <a:pt x="31895" y="9630"/>
                    </a:cubicBezTo>
                    <a:lnTo>
                      <a:pt x="334272" y="9630"/>
                    </a:lnTo>
                    <a:cubicBezTo>
                      <a:pt x="335173" y="9630"/>
                      <a:pt x="356536" y="9874"/>
                      <a:pt x="356536" y="31895"/>
                    </a:cubicBezTo>
                    <a:lnTo>
                      <a:pt x="356536" y="216940"/>
                    </a:lnTo>
                    <a:close/>
                  </a:path>
                </a:pathLst>
              </a:custGeom>
              <a:grpFill/>
              <a:ln w="1873" cap="flat">
                <a:noFill/>
                <a:prstDash val="solid"/>
                <a:miter/>
              </a:ln>
            </p:spPr>
            <p:txBody>
              <a:bodyPr rtlCol="0" anchor="ctr"/>
              <a:lstStyle/>
              <a:p>
                <a:endParaRPr lang="en-GB" dirty="0"/>
              </a:p>
            </p:txBody>
          </p:sp>
          <p:sp>
            <p:nvSpPr>
              <p:cNvPr id="319" name="Freihandform: Form 202">
                <a:extLst>
                  <a:ext uri="{FF2B5EF4-FFF2-40B4-BE49-F238E27FC236}">
                    <a16:creationId xmlns:a16="http://schemas.microsoft.com/office/drawing/2014/main" id="{A0414263-00A3-4A26-A5F6-D8A6ED24AC80}"/>
                  </a:ext>
                </a:extLst>
              </p:cNvPr>
              <p:cNvSpPr/>
              <p:nvPr/>
            </p:nvSpPr>
            <p:spPr>
              <a:xfrm>
                <a:off x="2691628" y="4585078"/>
                <a:ext cx="90880" cy="9649"/>
              </a:xfrm>
              <a:custGeom>
                <a:avLst/>
                <a:gdLst>
                  <a:gd name="connsiteX0" fmla="*/ 86055 w 90880"/>
                  <a:gd name="connsiteY0" fmla="*/ 0 h 9649"/>
                  <a:gd name="connsiteX1" fmla="*/ 4825 w 90880"/>
                  <a:gd name="connsiteY1" fmla="*/ 0 h 9649"/>
                  <a:gd name="connsiteX2" fmla="*/ 0 w 90880"/>
                  <a:gd name="connsiteY2" fmla="*/ 4825 h 9649"/>
                  <a:gd name="connsiteX3" fmla="*/ 4825 w 90880"/>
                  <a:gd name="connsiteY3" fmla="*/ 9649 h 9649"/>
                  <a:gd name="connsiteX4" fmla="*/ 86055 w 90880"/>
                  <a:gd name="connsiteY4" fmla="*/ 9649 h 9649"/>
                  <a:gd name="connsiteX5" fmla="*/ 90880 w 90880"/>
                  <a:gd name="connsiteY5" fmla="*/ 4825 h 9649"/>
                  <a:gd name="connsiteX6" fmla="*/ 86055 w 90880"/>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80" h="9649">
                    <a:moveTo>
                      <a:pt x="86055" y="0"/>
                    </a:moveTo>
                    <a:lnTo>
                      <a:pt x="4825" y="0"/>
                    </a:lnTo>
                    <a:cubicBezTo>
                      <a:pt x="2159" y="0"/>
                      <a:pt x="0" y="2159"/>
                      <a:pt x="0" y="4825"/>
                    </a:cubicBezTo>
                    <a:cubicBezTo>
                      <a:pt x="0" y="7490"/>
                      <a:pt x="2159" y="9649"/>
                      <a:pt x="4825" y="9649"/>
                    </a:cubicBezTo>
                    <a:lnTo>
                      <a:pt x="86055" y="9649"/>
                    </a:lnTo>
                    <a:cubicBezTo>
                      <a:pt x="88721" y="9649"/>
                      <a:pt x="90880" y="7490"/>
                      <a:pt x="90880" y="4825"/>
                    </a:cubicBezTo>
                    <a:cubicBezTo>
                      <a:pt x="90861" y="2159"/>
                      <a:pt x="88702" y="0"/>
                      <a:pt x="86055" y="0"/>
                    </a:cubicBezTo>
                    <a:close/>
                  </a:path>
                </a:pathLst>
              </a:custGeom>
              <a:grpFill/>
              <a:ln w="1873" cap="flat">
                <a:noFill/>
                <a:prstDash val="solid"/>
                <a:miter/>
              </a:ln>
            </p:spPr>
            <p:txBody>
              <a:bodyPr rtlCol="0" anchor="ctr"/>
              <a:lstStyle/>
              <a:p>
                <a:endParaRPr lang="en-GB" dirty="0"/>
              </a:p>
            </p:txBody>
          </p:sp>
          <p:sp>
            <p:nvSpPr>
              <p:cNvPr id="320" name="Freihandform: Form 203">
                <a:extLst>
                  <a:ext uri="{FF2B5EF4-FFF2-40B4-BE49-F238E27FC236}">
                    <a16:creationId xmlns:a16="http://schemas.microsoft.com/office/drawing/2014/main" id="{63141206-31AB-41F1-9386-70B5E21A1444}"/>
                  </a:ext>
                </a:extLst>
              </p:cNvPr>
              <p:cNvSpPr/>
              <p:nvPr/>
            </p:nvSpPr>
            <p:spPr>
              <a:xfrm>
                <a:off x="2691628" y="4548978"/>
                <a:ext cx="90880" cy="9649"/>
              </a:xfrm>
              <a:custGeom>
                <a:avLst/>
                <a:gdLst>
                  <a:gd name="connsiteX0" fmla="*/ 86055 w 90880"/>
                  <a:gd name="connsiteY0" fmla="*/ 0 h 9649"/>
                  <a:gd name="connsiteX1" fmla="*/ 4825 w 90880"/>
                  <a:gd name="connsiteY1" fmla="*/ 0 h 9649"/>
                  <a:gd name="connsiteX2" fmla="*/ 0 w 90880"/>
                  <a:gd name="connsiteY2" fmla="*/ 4825 h 9649"/>
                  <a:gd name="connsiteX3" fmla="*/ 4825 w 90880"/>
                  <a:gd name="connsiteY3" fmla="*/ 9649 h 9649"/>
                  <a:gd name="connsiteX4" fmla="*/ 86055 w 90880"/>
                  <a:gd name="connsiteY4" fmla="*/ 9649 h 9649"/>
                  <a:gd name="connsiteX5" fmla="*/ 90880 w 90880"/>
                  <a:gd name="connsiteY5" fmla="*/ 4825 h 9649"/>
                  <a:gd name="connsiteX6" fmla="*/ 86055 w 90880"/>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80" h="9649">
                    <a:moveTo>
                      <a:pt x="86055" y="0"/>
                    </a:moveTo>
                    <a:lnTo>
                      <a:pt x="4825" y="0"/>
                    </a:lnTo>
                    <a:cubicBezTo>
                      <a:pt x="2159" y="0"/>
                      <a:pt x="0" y="2159"/>
                      <a:pt x="0" y="4825"/>
                    </a:cubicBezTo>
                    <a:cubicBezTo>
                      <a:pt x="0" y="7490"/>
                      <a:pt x="2159" y="9649"/>
                      <a:pt x="4825" y="9649"/>
                    </a:cubicBezTo>
                    <a:lnTo>
                      <a:pt x="86055" y="9649"/>
                    </a:lnTo>
                    <a:cubicBezTo>
                      <a:pt x="88721" y="9649"/>
                      <a:pt x="90880" y="7490"/>
                      <a:pt x="90880" y="4825"/>
                    </a:cubicBezTo>
                    <a:cubicBezTo>
                      <a:pt x="90861" y="2159"/>
                      <a:pt x="88702" y="0"/>
                      <a:pt x="86055" y="0"/>
                    </a:cubicBezTo>
                    <a:close/>
                  </a:path>
                </a:pathLst>
              </a:custGeom>
              <a:grpFill/>
              <a:ln w="1873" cap="flat">
                <a:noFill/>
                <a:prstDash val="solid"/>
                <a:miter/>
              </a:ln>
            </p:spPr>
            <p:txBody>
              <a:bodyPr rtlCol="0" anchor="ctr"/>
              <a:lstStyle/>
              <a:p>
                <a:endParaRPr lang="en-GB" dirty="0"/>
              </a:p>
            </p:txBody>
          </p:sp>
          <p:sp>
            <p:nvSpPr>
              <p:cNvPr id="321" name="Freihandform: Form 204">
                <a:extLst>
                  <a:ext uri="{FF2B5EF4-FFF2-40B4-BE49-F238E27FC236}">
                    <a16:creationId xmlns:a16="http://schemas.microsoft.com/office/drawing/2014/main" id="{47F09162-D0A0-478C-8677-56221AB3CAFC}"/>
                  </a:ext>
                </a:extLst>
              </p:cNvPr>
              <p:cNvSpPr/>
              <p:nvPr/>
            </p:nvSpPr>
            <p:spPr>
              <a:xfrm>
                <a:off x="2651003" y="4427122"/>
                <a:ext cx="366185" cy="9649"/>
              </a:xfrm>
              <a:custGeom>
                <a:avLst/>
                <a:gdLst>
                  <a:gd name="connsiteX0" fmla="*/ 361361 w 366185"/>
                  <a:gd name="connsiteY0" fmla="*/ 0 h 9649"/>
                  <a:gd name="connsiteX1" fmla="*/ 4825 w 366185"/>
                  <a:gd name="connsiteY1" fmla="*/ 0 h 9649"/>
                  <a:gd name="connsiteX2" fmla="*/ 0 w 366185"/>
                  <a:gd name="connsiteY2" fmla="*/ 4825 h 9649"/>
                  <a:gd name="connsiteX3" fmla="*/ 4825 w 366185"/>
                  <a:gd name="connsiteY3" fmla="*/ 9649 h 9649"/>
                  <a:gd name="connsiteX4" fmla="*/ 361361 w 366185"/>
                  <a:gd name="connsiteY4" fmla="*/ 9649 h 9649"/>
                  <a:gd name="connsiteX5" fmla="*/ 366186 w 366185"/>
                  <a:gd name="connsiteY5" fmla="*/ 4825 h 9649"/>
                  <a:gd name="connsiteX6" fmla="*/ 361361 w 366185"/>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6185" h="9649">
                    <a:moveTo>
                      <a:pt x="361361" y="0"/>
                    </a:moveTo>
                    <a:lnTo>
                      <a:pt x="4825" y="0"/>
                    </a:lnTo>
                    <a:cubicBezTo>
                      <a:pt x="2159" y="0"/>
                      <a:pt x="0" y="2159"/>
                      <a:pt x="0" y="4825"/>
                    </a:cubicBezTo>
                    <a:cubicBezTo>
                      <a:pt x="0" y="7490"/>
                      <a:pt x="2159" y="9649"/>
                      <a:pt x="4825" y="9649"/>
                    </a:cubicBezTo>
                    <a:lnTo>
                      <a:pt x="361361" y="9649"/>
                    </a:lnTo>
                    <a:cubicBezTo>
                      <a:pt x="364027" y="9649"/>
                      <a:pt x="366186" y="7490"/>
                      <a:pt x="366186" y="4825"/>
                    </a:cubicBezTo>
                    <a:cubicBezTo>
                      <a:pt x="366167" y="2159"/>
                      <a:pt x="364008" y="0"/>
                      <a:pt x="361361" y="0"/>
                    </a:cubicBezTo>
                    <a:close/>
                  </a:path>
                </a:pathLst>
              </a:custGeom>
              <a:grpFill/>
              <a:ln w="1873" cap="flat">
                <a:noFill/>
                <a:prstDash val="solid"/>
                <a:miter/>
              </a:ln>
            </p:spPr>
            <p:txBody>
              <a:bodyPr rtlCol="0" anchor="ctr"/>
              <a:lstStyle/>
              <a:p>
                <a:endParaRPr lang="en-GB" dirty="0"/>
              </a:p>
            </p:txBody>
          </p:sp>
          <p:sp>
            <p:nvSpPr>
              <p:cNvPr id="322" name="Freihandform: Form 205">
                <a:extLst>
                  <a:ext uri="{FF2B5EF4-FFF2-40B4-BE49-F238E27FC236}">
                    <a16:creationId xmlns:a16="http://schemas.microsoft.com/office/drawing/2014/main" id="{E5188B89-D501-4407-86CA-CBB9AEA4F4D4}"/>
                  </a:ext>
                </a:extLst>
              </p:cNvPr>
              <p:cNvSpPr/>
              <p:nvPr/>
            </p:nvSpPr>
            <p:spPr>
              <a:xfrm>
                <a:off x="2651003" y="4472253"/>
                <a:ext cx="366185" cy="9649"/>
              </a:xfrm>
              <a:custGeom>
                <a:avLst/>
                <a:gdLst>
                  <a:gd name="connsiteX0" fmla="*/ 361361 w 366185"/>
                  <a:gd name="connsiteY0" fmla="*/ 0 h 9649"/>
                  <a:gd name="connsiteX1" fmla="*/ 4825 w 366185"/>
                  <a:gd name="connsiteY1" fmla="*/ 0 h 9649"/>
                  <a:gd name="connsiteX2" fmla="*/ 0 w 366185"/>
                  <a:gd name="connsiteY2" fmla="*/ 4825 h 9649"/>
                  <a:gd name="connsiteX3" fmla="*/ 4825 w 366185"/>
                  <a:gd name="connsiteY3" fmla="*/ 9649 h 9649"/>
                  <a:gd name="connsiteX4" fmla="*/ 361361 w 366185"/>
                  <a:gd name="connsiteY4" fmla="*/ 9649 h 9649"/>
                  <a:gd name="connsiteX5" fmla="*/ 366186 w 366185"/>
                  <a:gd name="connsiteY5" fmla="*/ 4825 h 9649"/>
                  <a:gd name="connsiteX6" fmla="*/ 361361 w 366185"/>
                  <a:gd name="connsiteY6" fmla="*/ 0 h 9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6185" h="9649">
                    <a:moveTo>
                      <a:pt x="361361" y="0"/>
                    </a:moveTo>
                    <a:lnTo>
                      <a:pt x="4825" y="0"/>
                    </a:lnTo>
                    <a:cubicBezTo>
                      <a:pt x="2159" y="0"/>
                      <a:pt x="0" y="2159"/>
                      <a:pt x="0" y="4825"/>
                    </a:cubicBezTo>
                    <a:cubicBezTo>
                      <a:pt x="0" y="7490"/>
                      <a:pt x="2159" y="9649"/>
                      <a:pt x="4825" y="9649"/>
                    </a:cubicBezTo>
                    <a:lnTo>
                      <a:pt x="361361" y="9649"/>
                    </a:lnTo>
                    <a:cubicBezTo>
                      <a:pt x="364027" y="9649"/>
                      <a:pt x="366186" y="7490"/>
                      <a:pt x="366186" y="4825"/>
                    </a:cubicBezTo>
                    <a:cubicBezTo>
                      <a:pt x="366167" y="2159"/>
                      <a:pt x="364008" y="0"/>
                      <a:pt x="361361" y="0"/>
                    </a:cubicBezTo>
                    <a:close/>
                  </a:path>
                </a:pathLst>
              </a:custGeom>
              <a:grpFill/>
              <a:ln w="1873" cap="flat">
                <a:noFill/>
                <a:prstDash val="solid"/>
                <a:miter/>
              </a:ln>
            </p:spPr>
            <p:txBody>
              <a:bodyPr rtlCol="0" anchor="ctr"/>
              <a:lstStyle/>
              <a:p>
                <a:endParaRPr lang="en-GB" dirty="0"/>
              </a:p>
            </p:txBody>
          </p:sp>
          <p:sp>
            <p:nvSpPr>
              <p:cNvPr id="323" name="Freihandform: Form 206">
                <a:extLst>
                  <a:ext uri="{FF2B5EF4-FFF2-40B4-BE49-F238E27FC236}">
                    <a16:creationId xmlns:a16="http://schemas.microsoft.com/office/drawing/2014/main" id="{C11D8056-7FDF-45F1-8103-B288B9163FE3}"/>
                  </a:ext>
                </a:extLst>
              </p:cNvPr>
              <p:cNvSpPr/>
              <p:nvPr/>
            </p:nvSpPr>
            <p:spPr>
              <a:xfrm>
                <a:off x="2861223" y="4519767"/>
                <a:ext cx="115641" cy="74960"/>
              </a:xfrm>
              <a:custGeom>
                <a:avLst/>
                <a:gdLst>
                  <a:gd name="connsiteX0" fmla="*/ 110817 w 115641"/>
                  <a:gd name="connsiteY0" fmla="*/ 0 h 74960"/>
                  <a:gd name="connsiteX1" fmla="*/ 4825 w 115641"/>
                  <a:gd name="connsiteY1" fmla="*/ 0 h 74960"/>
                  <a:gd name="connsiteX2" fmla="*/ 0 w 115641"/>
                  <a:gd name="connsiteY2" fmla="*/ 4825 h 74960"/>
                  <a:gd name="connsiteX3" fmla="*/ 0 w 115641"/>
                  <a:gd name="connsiteY3" fmla="*/ 70136 h 74960"/>
                  <a:gd name="connsiteX4" fmla="*/ 4825 w 115641"/>
                  <a:gd name="connsiteY4" fmla="*/ 74960 h 74960"/>
                  <a:gd name="connsiteX5" fmla="*/ 110817 w 115641"/>
                  <a:gd name="connsiteY5" fmla="*/ 74960 h 74960"/>
                  <a:gd name="connsiteX6" fmla="*/ 115642 w 115641"/>
                  <a:gd name="connsiteY6" fmla="*/ 70136 h 74960"/>
                  <a:gd name="connsiteX7" fmla="*/ 115642 w 115641"/>
                  <a:gd name="connsiteY7" fmla="*/ 4825 h 74960"/>
                  <a:gd name="connsiteX8" fmla="*/ 110817 w 115641"/>
                  <a:gd name="connsiteY8" fmla="*/ 0 h 74960"/>
                  <a:gd name="connsiteX9" fmla="*/ 105992 w 115641"/>
                  <a:gd name="connsiteY9" fmla="*/ 65311 h 74960"/>
                  <a:gd name="connsiteX10" fmla="*/ 9631 w 115641"/>
                  <a:gd name="connsiteY10" fmla="*/ 65311 h 74960"/>
                  <a:gd name="connsiteX11" fmla="*/ 9631 w 115641"/>
                  <a:gd name="connsiteY11" fmla="*/ 9631 h 74960"/>
                  <a:gd name="connsiteX12" fmla="*/ 105992 w 115641"/>
                  <a:gd name="connsiteY12" fmla="*/ 9631 h 74960"/>
                  <a:gd name="connsiteX13" fmla="*/ 105992 w 115641"/>
                  <a:gd name="connsiteY13" fmla="*/ 65311 h 7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641" h="74960">
                    <a:moveTo>
                      <a:pt x="110817" y="0"/>
                    </a:moveTo>
                    <a:lnTo>
                      <a:pt x="4825" y="0"/>
                    </a:lnTo>
                    <a:cubicBezTo>
                      <a:pt x="2159" y="0"/>
                      <a:pt x="0" y="2159"/>
                      <a:pt x="0" y="4825"/>
                    </a:cubicBezTo>
                    <a:lnTo>
                      <a:pt x="0" y="70136"/>
                    </a:lnTo>
                    <a:cubicBezTo>
                      <a:pt x="0" y="72801"/>
                      <a:pt x="2159" y="74960"/>
                      <a:pt x="4825" y="74960"/>
                    </a:cubicBezTo>
                    <a:lnTo>
                      <a:pt x="110817" y="74960"/>
                    </a:lnTo>
                    <a:cubicBezTo>
                      <a:pt x="113483" y="74960"/>
                      <a:pt x="115642" y="72801"/>
                      <a:pt x="115642" y="70136"/>
                    </a:cubicBezTo>
                    <a:lnTo>
                      <a:pt x="115642" y="4825"/>
                    </a:lnTo>
                    <a:cubicBezTo>
                      <a:pt x="115642" y="2159"/>
                      <a:pt x="113483" y="0"/>
                      <a:pt x="110817" y="0"/>
                    </a:cubicBezTo>
                    <a:close/>
                    <a:moveTo>
                      <a:pt x="105992" y="65311"/>
                    </a:moveTo>
                    <a:lnTo>
                      <a:pt x="9631" y="65311"/>
                    </a:lnTo>
                    <a:lnTo>
                      <a:pt x="9631" y="9631"/>
                    </a:lnTo>
                    <a:lnTo>
                      <a:pt x="105992" y="9631"/>
                    </a:lnTo>
                    <a:lnTo>
                      <a:pt x="105992" y="65311"/>
                    </a:lnTo>
                    <a:close/>
                  </a:path>
                </a:pathLst>
              </a:custGeom>
              <a:grpFill/>
              <a:ln w="1873" cap="flat">
                <a:noFill/>
                <a:prstDash val="solid"/>
                <a:miter/>
              </a:ln>
            </p:spPr>
            <p:txBody>
              <a:bodyPr rtlCol="0" anchor="ctr"/>
              <a:lstStyle/>
              <a:p>
                <a:endParaRPr lang="en-GB" dirty="0"/>
              </a:p>
            </p:txBody>
          </p:sp>
        </p:grpSp>
      </p:grpSp>
      <p:grpSp>
        <p:nvGrpSpPr>
          <p:cNvPr id="28" name="Group 27">
            <a:extLst>
              <a:ext uri="{FF2B5EF4-FFF2-40B4-BE49-F238E27FC236}">
                <a16:creationId xmlns:a16="http://schemas.microsoft.com/office/drawing/2014/main" id="{05BF475F-5C0B-1161-7449-5D2FD3A13D86}"/>
              </a:ext>
            </a:extLst>
          </p:cNvPr>
          <p:cNvGrpSpPr/>
          <p:nvPr/>
        </p:nvGrpSpPr>
        <p:grpSpPr>
          <a:xfrm>
            <a:off x="463259" y="2391530"/>
            <a:ext cx="661579" cy="432000"/>
            <a:chOff x="463259" y="2391530"/>
            <a:chExt cx="661579" cy="432000"/>
          </a:xfrm>
        </p:grpSpPr>
        <p:grpSp>
          <p:nvGrpSpPr>
            <p:cNvPr id="137" name="Group 136">
              <a:extLst>
                <a:ext uri="{FF2B5EF4-FFF2-40B4-BE49-F238E27FC236}">
                  <a16:creationId xmlns:a16="http://schemas.microsoft.com/office/drawing/2014/main" id="{62AE2577-D7C7-4862-8860-12FBC087C282}"/>
                </a:ext>
              </a:extLst>
            </p:cNvPr>
            <p:cNvGrpSpPr/>
            <p:nvPr/>
          </p:nvGrpSpPr>
          <p:grpSpPr>
            <a:xfrm>
              <a:off x="463259" y="2391530"/>
              <a:ext cx="623430" cy="432000"/>
              <a:chOff x="832537" y="4149840"/>
              <a:chExt cx="600437" cy="416067"/>
            </a:xfrm>
            <a:solidFill>
              <a:schemeClr val="tx2"/>
            </a:solidFill>
          </p:grpSpPr>
          <p:grpSp>
            <p:nvGrpSpPr>
              <p:cNvPr id="144" name="Grafik 13">
                <a:extLst>
                  <a:ext uri="{FF2B5EF4-FFF2-40B4-BE49-F238E27FC236}">
                    <a16:creationId xmlns:a16="http://schemas.microsoft.com/office/drawing/2014/main" id="{07C2C7B2-48F8-4737-B8CE-59609C4E41F9}"/>
                  </a:ext>
                </a:extLst>
              </p:cNvPr>
              <p:cNvGrpSpPr/>
              <p:nvPr/>
            </p:nvGrpSpPr>
            <p:grpSpPr>
              <a:xfrm>
                <a:off x="832537" y="4149840"/>
                <a:ext cx="600437" cy="416067"/>
                <a:chOff x="832537" y="4149840"/>
                <a:chExt cx="600437" cy="416067"/>
              </a:xfrm>
              <a:grpFill/>
            </p:grpSpPr>
            <p:sp>
              <p:nvSpPr>
                <p:cNvPr id="152" name="Freihandform: Form 454">
                  <a:extLst>
                    <a:ext uri="{FF2B5EF4-FFF2-40B4-BE49-F238E27FC236}">
                      <a16:creationId xmlns:a16="http://schemas.microsoft.com/office/drawing/2014/main" id="{CE1CB8B8-5DC9-42E6-A219-E11DC0C40BB4}"/>
                    </a:ext>
                  </a:extLst>
                </p:cNvPr>
                <p:cNvSpPr/>
                <p:nvPr/>
              </p:nvSpPr>
              <p:spPr>
                <a:xfrm>
                  <a:off x="1343694" y="4438143"/>
                  <a:ext cx="9783" cy="79907"/>
                </a:xfrm>
                <a:custGeom>
                  <a:avLst/>
                  <a:gdLst>
                    <a:gd name="connsiteX0" fmla="*/ 4892 w 9783"/>
                    <a:gd name="connsiteY0" fmla="*/ 79907 h 79907"/>
                    <a:gd name="connsiteX1" fmla="*/ 0 w 9783"/>
                    <a:gd name="connsiteY1" fmla="*/ 75016 h 79907"/>
                    <a:gd name="connsiteX2" fmla="*/ 0 w 9783"/>
                    <a:gd name="connsiteY2" fmla="*/ 4892 h 79907"/>
                    <a:gd name="connsiteX3" fmla="*/ 4892 w 9783"/>
                    <a:gd name="connsiteY3" fmla="*/ 0 h 79907"/>
                    <a:gd name="connsiteX4" fmla="*/ 9784 w 9783"/>
                    <a:gd name="connsiteY4" fmla="*/ 4892 h 79907"/>
                    <a:gd name="connsiteX5" fmla="*/ 9784 w 9783"/>
                    <a:gd name="connsiteY5" fmla="*/ 75016 h 79907"/>
                    <a:gd name="connsiteX6" fmla="*/ 4892 w 9783"/>
                    <a:gd name="connsiteY6" fmla="*/ 79907 h 7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83" h="79907">
                      <a:moveTo>
                        <a:pt x="4892" y="79907"/>
                      </a:moveTo>
                      <a:cubicBezTo>
                        <a:pt x="2193" y="79907"/>
                        <a:pt x="0" y="77714"/>
                        <a:pt x="0" y="75016"/>
                      </a:cubicBezTo>
                      <a:lnTo>
                        <a:pt x="0" y="4892"/>
                      </a:lnTo>
                      <a:cubicBezTo>
                        <a:pt x="0" y="2193"/>
                        <a:pt x="2193" y="0"/>
                        <a:pt x="4892" y="0"/>
                      </a:cubicBezTo>
                      <a:cubicBezTo>
                        <a:pt x="7591" y="0"/>
                        <a:pt x="9784" y="2193"/>
                        <a:pt x="9784" y="4892"/>
                      </a:cubicBezTo>
                      <a:lnTo>
                        <a:pt x="9784" y="75016"/>
                      </a:lnTo>
                      <a:cubicBezTo>
                        <a:pt x="9784" y="77714"/>
                        <a:pt x="7591" y="79907"/>
                        <a:pt x="4892" y="79907"/>
                      </a:cubicBezTo>
                      <a:close/>
                    </a:path>
                  </a:pathLst>
                </a:custGeom>
                <a:grpFill/>
                <a:ln w="2405" cap="flat">
                  <a:noFill/>
                  <a:prstDash val="solid"/>
                  <a:miter/>
                </a:ln>
              </p:spPr>
              <p:txBody>
                <a:bodyPr rtlCol="0" anchor="ctr"/>
                <a:lstStyle/>
                <a:p>
                  <a:endParaRPr lang="en-GB" dirty="0"/>
                </a:p>
              </p:txBody>
            </p:sp>
            <p:sp>
              <p:nvSpPr>
                <p:cNvPr id="153" name="Freihandform: Form 455">
                  <a:extLst>
                    <a:ext uri="{FF2B5EF4-FFF2-40B4-BE49-F238E27FC236}">
                      <a16:creationId xmlns:a16="http://schemas.microsoft.com/office/drawing/2014/main" id="{1BC4D89E-1A6A-45A2-AC04-D646C8F35F02}"/>
                    </a:ext>
                  </a:extLst>
                </p:cNvPr>
                <p:cNvSpPr/>
                <p:nvPr/>
              </p:nvSpPr>
              <p:spPr>
                <a:xfrm>
                  <a:off x="1261497" y="4197770"/>
                  <a:ext cx="91980" cy="217166"/>
                </a:xfrm>
                <a:custGeom>
                  <a:avLst/>
                  <a:gdLst>
                    <a:gd name="connsiteX0" fmla="*/ 87088 w 91980"/>
                    <a:gd name="connsiteY0" fmla="*/ 217167 h 217166"/>
                    <a:gd name="connsiteX1" fmla="*/ 82197 w 91980"/>
                    <a:gd name="connsiteY1" fmla="*/ 212275 h 217166"/>
                    <a:gd name="connsiteX2" fmla="*/ 82197 w 91980"/>
                    <a:gd name="connsiteY2" fmla="*/ 20844 h 217166"/>
                    <a:gd name="connsiteX3" fmla="*/ 71088 w 91980"/>
                    <a:gd name="connsiteY3" fmla="*/ 9783 h 217166"/>
                    <a:gd name="connsiteX4" fmla="*/ 4892 w 91980"/>
                    <a:gd name="connsiteY4" fmla="*/ 9783 h 217166"/>
                    <a:gd name="connsiteX5" fmla="*/ 0 w 91980"/>
                    <a:gd name="connsiteY5" fmla="*/ 4892 h 217166"/>
                    <a:gd name="connsiteX6" fmla="*/ 4892 w 91980"/>
                    <a:gd name="connsiteY6" fmla="*/ 0 h 217166"/>
                    <a:gd name="connsiteX7" fmla="*/ 71136 w 91980"/>
                    <a:gd name="connsiteY7" fmla="*/ 0 h 217166"/>
                    <a:gd name="connsiteX8" fmla="*/ 91980 w 91980"/>
                    <a:gd name="connsiteY8" fmla="*/ 20820 h 217166"/>
                    <a:gd name="connsiteX9" fmla="*/ 91980 w 91980"/>
                    <a:gd name="connsiteY9" fmla="*/ 212251 h 217166"/>
                    <a:gd name="connsiteX10" fmla="*/ 87088 w 91980"/>
                    <a:gd name="connsiteY10" fmla="*/ 217167 h 2171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980" h="217166">
                      <a:moveTo>
                        <a:pt x="87088" y="217167"/>
                      </a:moveTo>
                      <a:cubicBezTo>
                        <a:pt x="84390" y="217167"/>
                        <a:pt x="82197" y="214974"/>
                        <a:pt x="82197" y="212275"/>
                      </a:cubicBezTo>
                      <a:lnTo>
                        <a:pt x="82197" y="20844"/>
                      </a:lnTo>
                      <a:cubicBezTo>
                        <a:pt x="82197" y="10482"/>
                        <a:pt x="72943" y="9808"/>
                        <a:pt x="71088" y="9783"/>
                      </a:cubicBezTo>
                      <a:lnTo>
                        <a:pt x="4892" y="9783"/>
                      </a:lnTo>
                      <a:cubicBezTo>
                        <a:pt x="2193" y="9783"/>
                        <a:pt x="0" y="7590"/>
                        <a:pt x="0" y="4892"/>
                      </a:cubicBezTo>
                      <a:cubicBezTo>
                        <a:pt x="0" y="2193"/>
                        <a:pt x="2193" y="0"/>
                        <a:pt x="4892" y="0"/>
                      </a:cubicBezTo>
                      <a:lnTo>
                        <a:pt x="71136" y="0"/>
                      </a:lnTo>
                      <a:cubicBezTo>
                        <a:pt x="79522" y="24"/>
                        <a:pt x="91980" y="5566"/>
                        <a:pt x="91980" y="20820"/>
                      </a:cubicBezTo>
                      <a:lnTo>
                        <a:pt x="91980" y="212251"/>
                      </a:lnTo>
                      <a:cubicBezTo>
                        <a:pt x="91980" y="214974"/>
                        <a:pt x="89787" y="217167"/>
                        <a:pt x="87088" y="217167"/>
                      </a:cubicBezTo>
                      <a:close/>
                    </a:path>
                  </a:pathLst>
                </a:custGeom>
                <a:grpFill/>
                <a:ln w="2405" cap="flat">
                  <a:noFill/>
                  <a:prstDash val="solid"/>
                  <a:miter/>
                </a:ln>
              </p:spPr>
              <p:txBody>
                <a:bodyPr rtlCol="0" anchor="ctr"/>
                <a:lstStyle/>
                <a:p>
                  <a:endParaRPr lang="en-GB" dirty="0"/>
                </a:p>
              </p:txBody>
            </p:sp>
            <p:sp>
              <p:nvSpPr>
                <p:cNvPr id="154" name="Freihandform: Form 456">
                  <a:extLst>
                    <a:ext uri="{FF2B5EF4-FFF2-40B4-BE49-F238E27FC236}">
                      <a16:creationId xmlns:a16="http://schemas.microsoft.com/office/drawing/2014/main" id="{998912A1-084D-4C00-96E1-371C546B2783}"/>
                    </a:ext>
                  </a:extLst>
                </p:cNvPr>
                <p:cNvSpPr/>
                <p:nvPr/>
              </p:nvSpPr>
              <p:spPr>
                <a:xfrm>
                  <a:off x="912107" y="4197818"/>
                  <a:ext cx="92630" cy="320231"/>
                </a:xfrm>
                <a:custGeom>
                  <a:avLst/>
                  <a:gdLst>
                    <a:gd name="connsiteX0" fmla="*/ 4892 w 92630"/>
                    <a:gd name="connsiteY0" fmla="*/ 320232 h 320231"/>
                    <a:gd name="connsiteX1" fmla="*/ 0 w 92630"/>
                    <a:gd name="connsiteY1" fmla="*/ 315340 h 320231"/>
                    <a:gd name="connsiteX2" fmla="*/ 0 w 92630"/>
                    <a:gd name="connsiteY2" fmla="*/ 20820 h 320231"/>
                    <a:gd name="connsiteX3" fmla="*/ 20844 w 92630"/>
                    <a:gd name="connsiteY3" fmla="*/ 0 h 320231"/>
                    <a:gd name="connsiteX4" fmla="*/ 87739 w 92630"/>
                    <a:gd name="connsiteY4" fmla="*/ 0 h 320231"/>
                    <a:gd name="connsiteX5" fmla="*/ 92631 w 92630"/>
                    <a:gd name="connsiteY5" fmla="*/ 4892 h 320231"/>
                    <a:gd name="connsiteX6" fmla="*/ 87739 w 92630"/>
                    <a:gd name="connsiteY6" fmla="*/ 9784 h 320231"/>
                    <a:gd name="connsiteX7" fmla="*/ 20844 w 92630"/>
                    <a:gd name="connsiteY7" fmla="*/ 9784 h 320231"/>
                    <a:gd name="connsiteX8" fmla="*/ 9784 w 92630"/>
                    <a:gd name="connsiteY8" fmla="*/ 20844 h 320231"/>
                    <a:gd name="connsiteX9" fmla="*/ 9784 w 92630"/>
                    <a:gd name="connsiteY9" fmla="*/ 315365 h 320231"/>
                    <a:gd name="connsiteX10" fmla="*/ 4892 w 92630"/>
                    <a:gd name="connsiteY10" fmla="*/ 320232 h 320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2630" h="320231">
                      <a:moveTo>
                        <a:pt x="4892" y="320232"/>
                      </a:moveTo>
                      <a:cubicBezTo>
                        <a:pt x="2193" y="320232"/>
                        <a:pt x="0" y="318039"/>
                        <a:pt x="0" y="315340"/>
                      </a:cubicBezTo>
                      <a:lnTo>
                        <a:pt x="0" y="20820"/>
                      </a:lnTo>
                      <a:cubicBezTo>
                        <a:pt x="0" y="5567"/>
                        <a:pt x="12458" y="24"/>
                        <a:pt x="20844" y="0"/>
                      </a:cubicBezTo>
                      <a:lnTo>
                        <a:pt x="87739" y="0"/>
                      </a:lnTo>
                      <a:cubicBezTo>
                        <a:pt x="90438" y="0"/>
                        <a:pt x="92631" y="2193"/>
                        <a:pt x="92631" y="4892"/>
                      </a:cubicBezTo>
                      <a:cubicBezTo>
                        <a:pt x="92631" y="7591"/>
                        <a:pt x="90438" y="9784"/>
                        <a:pt x="87739" y="9784"/>
                      </a:cubicBezTo>
                      <a:lnTo>
                        <a:pt x="20844" y="9784"/>
                      </a:lnTo>
                      <a:cubicBezTo>
                        <a:pt x="19037" y="9808"/>
                        <a:pt x="9784" y="10483"/>
                        <a:pt x="9784" y="20844"/>
                      </a:cubicBezTo>
                      <a:lnTo>
                        <a:pt x="9784" y="315365"/>
                      </a:lnTo>
                      <a:cubicBezTo>
                        <a:pt x="9759" y="318039"/>
                        <a:pt x="7591" y="320232"/>
                        <a:pt x="4892" y="320232"/>
                      </a:cubicBezTo>
                      <a:close/>
                    </a:path>
                  </a:pathLst>
                </a:custGeom>
                <a:grpFill/>
                <a:ln w="2405" cap="flat">
                  <a:noFill/>
                  <a:prstDash val="solid"/>
                  <a:miter/>
                </a:ln>
              </p:spPr>
              <p:txBody>
                <a:bodyPr rtlCol="0" anchor="ctr"/>
                <a:lstStyle/>
                <a:p>
                  <a:endParaRPr lang="en-GB" dirty="0"/>
                </a:p>
              </p:txBody>
            </p:sp>
            <p:sp>
              <p:nvSpPr>
                <p:cNvPr id="155" name="Freihandform: Form 457">
                  <a:extLst>
                    <a:ext uri="{FF2B5EF4-FFF2-40B4-BE49-F238E27FC236}">
                      <a16:creationId xmlns:a16="http://schemas.microsoft.com/office/drawing/2014/main" id="{E898BF97-C2B3-4CCD-9AB3-D2CC2E3A6F3E}"/>
                    </a:ext>
                  </a:extLst>
                </p:cNvPr>
                <p:cNvSpPr/>
                <p:nvPr/>
              </p:nvSpPr>
              <p:spPr>
                <a:xfrm>
                  <a:off x="994762" y="4149840"/>
                  <a:ext cx="274808" cy="367053"/>
                </a:xfrm>
                <a:custGeom>
                  <a:avLst/>
                  <a:gdLst>
                    <a:gd name="connsiteX0" fmla="*/ 4892 w 274808"/>
                    <a:gd name="connsiteY0" fmla="*/ 367053 h 367053"/>
                    <a:gd name="connsiteX1" fmla="*/ 0 w 274808"/>
                    <a:gd name="connsiteY1" fmla="*/ 362161 h 367053"/>
                    <a:gd name="connsiteX2" fmla="*/ 0 w 274808"/>
                    <a:gd name="connsiteY2" fmla="*/ 4892 h 367053"/>
                    <a:gd name="connsiteX3" fmla="*/ 4892 w 274808"/>
                    <a:gd name="connsiteY3" fmla="*/ 0 h 367053"/>
                    <a:gd name="connsiteX4" fmla="*/ 269916 w 274808"/>
                    <a:gd name="connsiteY4" fmla="*/ 0 h 367053"/>
                    <a:gd name="connsiteX5" fmla="*/ 274808 w 274808"/>
                    <a:gd name="connsiteY5" fmla="*/ 4892 h 367053"/>
                    <a:gd name="connsiteX6" fmla="*/ 274808 w 274808"/>
                    <a:gd name="connsiteY6" fmla="*/ 107186 h 367053"/>
                    <a:gd name="connsiteX7" fmla="*/ 269916 w 274808"/>
                    <a:gd name="connsiteY7" fmla="*/ 112078 h 367053"/>
                    <a:gd name="connsiteX8" fmla="*/ 265025 w 274808"/>
                    <a:gd name="connsiteY8" fmla="*/ 107186 h 367053"/>
                    <a:gd name="connsiteX9" fmla="*/ 265025 w 274808"/>
                    <a:gd name="connsiteY9" fmla="*/ 9783 h 367053"/>
                    <a:gd name="connsiteX10" fmla="*/ 9784 w 274808"/>
                    <a:gd name="connsiteY10" fmla="*/ 9783 h 367053"/>
                    <a:gd name="connsiteX11" fmla="*/ 9784 w 274808"/>
                    <a:gd name="connsiteY11" fmla="*/ 362161 h 367053"/>
                    <a:gd name="connsiteX12" fmla="*/ 4892 w 274808"/>
                    <a:gd name="connsiteY12" fmla="*/ 367053 h 367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74808" h="367053">
                      <a:moveTo>
                        <a:pt x="4892" y="367053"/>
                      </a:moveTo>
                      <a:cubicBezTo>
                        <a:pt x="2193" y="367053"/>
                        <a:pt x="0" y="364860"/>
                        <a:pt x="0" y="362161"/>
                      </a:cubicBezTo>
                      <a:lnTo>
                        <a:pt x="0" y="4892"/>
                      </a:lnTo>
                      <a:cubicBezTo>
                        <a:pt x="0" y="2193"/>
                        <a:pt x="2193" y="0"/>
                        <a:pt x="4892" y="0"/>
                      </a:cubicBezTo>
                      <a:lnTo>
                        <a:pt x="269916" y="0"/>
                      </a:lnTo>
                      <a:cubicBezTo>
                        <a:pt x="272615" y="0"/>
                        <a:pt x="274808" y="2193"/>
                        <a:pt x="274808" y="4892"/>
                      </a:cubicBezTo>
                      <a:lnTo>
                        <a:pt x="274808" y="107186"/>
                      </a:lnTo>
                      <a:cubicBezTo>
                        <a:pt x="274808" y="109885"/>
                        <a:pt x="272615" y="112078"/>
                        <a:pt x="269916" y="112078"/>
                      </a:cubicBezTo>
                      <a:cubicBezTo>
                        <a:pt x="267217" y="112078"/>
                        <a:pt x="265025" y="109885"/>
                        <a:pt x="265025" y="107186"/>
                      </a:cubicBezTo>
                      <a:lnTo>
                        <a:pt x="265025" y="9783"/>
                      </a:lnTo>
                      <a:lnTo>
                        <a:pt x="9784" y="9783"/>
                      </a:lnTo>
                      <a:lnTo>
                        <a:pt x="9784" y="362161"/>
                      </a:lnTo>
                      <a:cubicBezTo>
                        <a:pt x="9784" y="364860"/>
                        <a:pt x="7591" y="367053"/>
                        <a:pt x="4892" y="367053"/>
                      </a:cubicBezTo>
                      <a:close/>
                    </a:path>
                  </a:pathLst>
                </a:custGeom>
                <a:grpFill/>
                <a:ln w="2405" cap="flat">
                  <a:noFill/>
                  <a:prstDash val="solid"/>
                  <a:miter/>
                </a:ln>
              </p:spPr>
              <p:txBody>
                <a:bodyPr rtlCol="0" anchor="ctr"/>
                <a:lstStyle/>
                <a:p>
                  <a:endParaRPr lang="en-GB" dirty="0"/>
                </a:p>
              </p:txBody>
            </p:sp>
            <p:sp>
              <p:nvSpPr>
                <p:cNvPr id="156" name="Freihandform: Form 458">
                  <a:extLst>
                    <a:ext uri="{FF2B5EF4-FFF2-40B4-BE49-F238E27FC236}">
                      <a16:creationId xmlns:a16="http://schemas.microsoft.com/office/drawing/2014/main" id="{FC9BB693-3EE6-4A6B-9993-F6700E207F86}"/>
                    </a:ext>
                  </a:extLst>
                </p:cNvPr>
                <p:cNvSpPr/>
                <p:nvPr/>
              </p:nvSpPr>
              <p:spPr>
                <a:xfrm>
                  <a:off x="1259786" y="4452360"/>
                  <a:ext cx="9783" cy="64533"/>
                </a:xfrm>
                <a:custGeom>
                  <a:avLst/>
                  <a:gdLst>
                    <a:gd name="connsiteX0" fmla="*/ 4892 w 9783"/>
                    <a:gd name="connsiteY0" fmla="*/ 64533 h 64533"/>
                    <a:gd name="connsiteX1" fmla="*/ 0 w 9783"/>
                    <a:gd name="connsiteY1" fmla="*/ 59641 h 64533"/>
                    <a:gd name="connsiteX2" fmla="*/ 0 w 9783"/>
                    <a:gd name="connsiteY2" fmla="*/ 4892 h 64533"/>
                    <a:gd name="connsiteX3" fmla="*/ 4892 w 9783"/>
                    <a:gd name="connsiteY3" fmla="*/ 0 h 64533"/>
                    <a:gd name="connsiteX4" fmla="*/ 9784 w 9783"/>
                    <a:gd name="connsiteY4" fmla="*/ 4892 h 64533"/>
                    <a:gd name="connsiteX5" fmla="*/ 9784 w 9783"/>
                    <a:gd name="connsiteY5" fmla="*/ 59641 h 64533"/>
                    <a:gd name="connsiteX6" fmla="*/ 4892 w 9783"/>
                    <a:gd name="connsiteY6" fmla="*/ 64533 h 6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83" h="64533">
                      <a:moveTo>
                        <a:pt x="4892" y="64533"/>
                      </a:moveTo>
                      <a:cubicBezTo>
                        <a:pt x="2193" y="64533"/>
                        <a:pt x="0" y="62340"/>
                        <a:pt x="0" y="59641"/>
                      </a:cubicBezTo>
                      <a:lnTo>
                        <a:pt x="0" y="4892"/>
                      </a:lnTo>
                      <a:cubicBezTo>
                        <a:pt x="0" y="2193"/>
                        <a:pt x="2193" y="0"/>
                        <a:pt x="4892" y="0"/>
                      </a:cubicBezTo>
                      <a:cubicBezTo>
                        <a:pt x="7591" y="0"/>
                        <a:pt x="9784" y="2193"/>
                        <a:pt x="9784" y="4892"/>
                      </a:cubicBezTo>
                      <a:lnTo>
                        <a:pt x="9784" y="59641"/>
                      </a:lnTo>
                      <a:cubicBezTo>
                        <a:pt x="9784" y="62340"/>
                        <a:pt x="7591" y="64533"/>
                        <a:pt x="4892" y="64533"/>
                      </a:cubicBezTo>
                      <a:close/>
                    </a:path>
                  </a:pathLst>
                </a:custGeom>
                <a:grpFill/>
                <a:ln w="2405" cap="flat">
                  <a:noFill/>
                  <a:prstDash val="solid"/>
                  <a:miter/>
                </a:ln>
              </p:spPr>
              <p:txBody>
                <a:bodyPr rtlCol="0" anchor="ctr"/>
                <a:lstStyle/>
                <a:p>
                  <a:endParaRPr lang="en-GB" dirty="0"/>
                </a:p>
              </p:txBody>
            </p:sp>
            <p:sp>
              <p:nvSpPr>
                <p:cNvPr id="157" name="Freihandform: Form 459">
                  <a:extLst>
                    <a:ext uri="{FF2B5EF4-FFF2-40B4-BE49-F238E27FC236}">
                      <a16:creationId xmlns:a16="http://schemas.microsoft.com/office/drawing/2014/main" id="{A145CD69-351C-4181-8727-896175DDAD0F}"/>
                    </a:ext>
                  </a:extLst>
                </p:cNvPr>
                <p:cNvSpPr/>
                <p:nvPr/>
              </p:nvSpPr>
              <p:spPr>
                <a:xfrm>
                  <a:off x="832537" y="4508194"/>
                  <a:ext cx="600437" cy="57713"/>
                </a:xfrm>
                <a:custGeom>
                  <a:avLst/>
                  <a:gdLst>
                    <a:gd name="connsiteX0" fmla="*/ 550869 w 600437"/>
                    <a:gd name="connsiteY0" fmla="*/ 57665 h 57713"/>
                    <a:gd name="connsiteX1" fmla="*/ 39640 w 600437"/>
                    <a:gd name="connsiteY1" fmla="*/ 57376 h 57713"/>
                    <a:gd name="connsiteX2" fmla="*/ 48 w 600437"/>
                    <a:gd name="connsiteY2" fmla="*/ 15157 h 57713"/>
                    <a:gd name="connsiteX3" fmla="*/ 0 w 600437"/>
                    <a:gd name="connsiteY3" fmla="*/ 4868 h 57713"/>
                    <a:gd name="connsiteX4" fmla="*/ 1422 w 600437"/>
                    <a:gd name="connsiteY4" fmla="*/ 1422 h 57713"/>
                    <a:gd name="connsiteX5" fmla="*/ 4868 w 600437"/>
                    <a:gd name="connsiteY5" fmla="*/ 0 h 57713"/>
                    <a:gd name="connsiteX6" fmla="*/ 4868 w 600437"/>
                    <a:gd name="connsiteY6" fmla="*/ 0 h 57713"/>
                    <a:gd name="connsiteX7" fmla="*/ 595570 w 600437"/>
                    <a:gd name="connsiteY7" fmla="*/ 313 h 57713"/>
                    <a:gd name="connsiteX8" fmla="*/ 599016 w 600437"/>
                    <a:gd name="connsiteY8" fmla="*/ 1759 h 57713"/>
                    <a:gd name="connsiteX9" fmla="*/ 600438 w 600437"/>
                    <a:gd name="connsiteY9" fmla="*/ 5229 h 57713"/>
                    <a:gd name="connsiteX10" fmla="*/ 600366 w 600437"/>
                    <a:gd name="connsiteY10" fmla="*/ 15567 h 57713"/>
                    <a:gd name="connsiteX11" fmla="*/ 560749 w 600437"/>
                    <a:gd name="connsiteY11" fmla="*/ 57713 h 57713"/>
                    <a:gd name="connsiteX12" fmla="*/ 550869 w 600437"/>
                    <a:gd name="connsiteY12" fmla="*/ 57665 h 57713"/>
                    <a:gd name="connsiteX13" fmla="*/ 9784 w 600437"/>
                    <a:gd name="connsiteY13" fmla="*/ 9760 h 57713"/>
                    <a:gd name="connsiteX14" fmla="*/ 9832 w 600437"/>
                    <a:gd name="connsiteY14" fmla="*/ 15037 h 57713"/>
                    <a:gd name="connsiteX15" fmla="*/ 39737 w 600437"/>
                    <a:gd name="connsiteY15" fmla="*/ 47617 h 57713"/>
                    <a:gd name="connsiteX16" fmla="*/ 550869 w 600437"/>
                    <a:gd name="connsiteY16" fmla="*/ 47906 h 57713"/>
                    <a:gd name="connsiteX17" fmla="*/ 560725 w 600437"/>
                    <a:gd name="connsiteY17" fmla="*/ 47906 h 57713"/>
                    <a:gd name="connsiteX18" fmla="*/ 590630 w 600437"/>
                    <a:gd name="connsiteY18" fmla="*/ 15422 h 57713"/>
                    <a:gd name="connsiteX19" fmla="*/ 590678 w 600437"/>
                    <a:gd name="connsiteY19" fmla="*/ 10097 h 57713"/>
                    <a:gd name="connsiteX20" fmla="*/ 9784 w 600437"/>
                    <a:gd name="connsiteY20" fmla="*/ 9760 h 57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00437" h="57713">
                      <a:moveTo>
                        <a:pt x="550869" y="57665"/>
                      </a:moveTo>
                      <a:cubicBezTo>
                        <a:pt x="484649" y="57665"/>
                        <a:pt x="46436" y="57448"/>
                        <a:pt x="39640" y="57376"/>
                      </a:cubicBezTo>
                      <a:cubicBezTo>
                        <a:pt x="3325" y="57063"/>
                        <a:pt x="289" y="38893"/>
                        <a:pt x="48" y="15157"/>
                      </a:cubicBezTo>
                      <a:cubicBezTo>
                        <a:pt x="24" y="13591"/>
                        <a:pt x="0" y="10001"/>
                        <a:pt x="0" y="4868"/>
                      </a:cubicBezTo>
                      <a:cubicBezTo>
                        <a:pt x="0" y="3566"/>
                        <a:pt x="506" y="2337"/>
                        <a:pt x="1422" y="1422"/>
                      </a:cubicBezTo>
                      <a:cubicBezTo>
                        <a:pt x="2337" y="506"/>
                        <a:pt x="3591" y="0"/>
                        <a:pt x="4868" y="0"/>
                      </a:cubicBezTo>
                      <a:cubicBezTo>
                        <a:pt x="4868" y="0"/>
                        <a:pt x="4868" y="0"/>
                        <a:pt x="4868" y="0"/>
                      </a:cubicBezTo>
                      <a:lnTo>
                        <a:pt x="595570" y="313"/>
                      </a:lnTo>
                      <a:cubicBezTo>
                        <a:pt x="596872" y="313"/>
                        <a:pt x="598101" y="819"/>
                        <a:pt x="599016" y="1759"/>
                      </a:cubicBezTo>
                      <a:cubicBezTo>
                        <a:pt x="599932" y="2675"/>
                        <a:pt x="600438" y="3928"/>
                        <a:pt x="600438" y="5229"/>
                      </a:cubicBezTo>
                      <a:cubicBezTo>
                        <a:pt x="600414" y="10386"/>
                        <a:pt x="600390" y="13953"/>
                        <a:pt x="600366" y="15567"/>
                      </a:cubicBezTo>
                      <a:cubicBezTo>
                        <a:pt x="600173" y="39231"/>
                        <a:pt x="597137" y="57400"/>
                        <a:pt x="560749" y="57713"/>
                      </a:cubicBezTo>
                      <a:lnTo>
                        <a:pt x="550869" y="57665"/>
                      </a:lnTo>
                      <a:close/>
                      <a:moveTo>
                        <a:pt x="9784" y="9760"/>
                      </a:moveTo>
                      <a:cubicBezTo>
                        <a:pt x="9784" y="12241"/>
                        <a:pt x="9808" y="14025"/>
                        <a:pt x="9832" y="15037"/>
                      </a:cubicBezTo>
                      <a:cubicBezTo>
                        <a:pt x="10049" y="38508"/>
                        <a:pt x="12675" y="47376"/>
                        <a:pt x="39737" y="47617"/>
                      </a:cubicBezTo>
                      <a:cubicBezTo>
                        <a:pt x="46508" y="47665"/>
                        <a:pt x="484649" y="47906"/>
                        <a:pt x="550869" y="47906"/>
                      </a:cubicBezTo>
                      <a:lnTo>
                        <a:pt x="560725" y="47906"/>
                      </a:lnTo>
                      <a:cubicBezTo>
                        <a:pt x="587811" y="47689"/>
                        <a:pt x="590437" y="38821"/>
                        <a:pt x="590630" y="15422"/>
                      </a:cubicBezTo>
                      <a:cubicBezTo>
                        <a:pt x="590654" y="14386"/>
                        <a:pt x="590678" y="12579"/>
                        <a:pt x="590678" y="10097"/>
                      </a:cubicBezTo>
                      <a:lnTo>
                        <a:pt x="9784" y="9760"/>
                      </a:lnTo>
                      <a:close/>
                    </a:path>
                  </a:pathLst>
                </a:custGeom>
                <a:grpFill/>
                <a:ln w="2405" cap="flat">
                  <a:noFill/>
                  <a:prstDash val="solid"/>
                  <a:miter/>
                </a:ln>
              </p:spPr>
              <p:txBody>
                <a:bodyPr rtlCol="0" anchor="ctr"/>
                <a:lstStyle/>
                <a:p>
                  <a:endParaRPr lang="en-GB" dirty="0"/>
                </a:p>
              </p:txBody>
            </p:sp>
          </p:grpSp>
          <p:sp>
            <p:nvSpPr>
              <p:cNvPr id="145" name="Freihandform: Form 460">
                <a:extLst>
                  <a:ext uri="{FF2B5EF4-FFF2-40B4-BE49-F238E27FC236}">
                    <a16:creationId xmlns:a16="http://schemas.microsoft.com/office/drawing/2014/main" id="{EA33E218-CEB5-41B6-A097-183AE17588AF}"/>
                  </a:ext>
                </a:extLst>
              </p:cNvPr>
              <p:cNvSpPr/>
              <p:nvPr/>
            </p:nvSpPr>
            <p:spPr>
              <a:xfrm>
                <a:off x="1269401" y="4310305"/>
                <a:ext cx="9783" cy="95667"/>
              </a:xfrm>
              <a:custGeom>
                <a:avLst/>
                <a:gdLst>
                  <a:gd name="connsiteX0" fmla="*/ 4892 w 9783"/>
                  <a:gd name="connsiteY0" fmla="*/ 95667 h 95667"/>
                  <a:gd name="connsiteX1" fmla="*/ 0 w 9783"/>
                  <a:gd name="connsiteY1" fmla="*/ 90775 h 95667"/>
                  <a:gd name="connsiteX2" fmla="*/ 0 w 9783"/>
                  <a:gd name="connsiteY2" fmla="*/ 4892 h 95667"/>
                  <a:gd name="connsiteX3" fmla="*/ 4892 w 9783"/>
                  <a:gd name="connsiteY3" fmla="*/ 0 h 95667"/>
                  <a:gd name="connsiteX4" fmla="*/ 9784 w 9783"/>
                  <a:gd name="connsiteY4" fmla="*/ 4892 h 95667"/>
                  <a:gd name="connsiteX5" fmla="*/ 9784 w 9783"/>
                  <a:gd name="connsiteY5" fmla="*/ 90775 h 95667"/>
                  <a:gd name="connsiteX6" fmla="*/ 4892 w 9783"/>
                  <a:gd name="connsiteY6" fmla="*/ 95667 h 95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83" h="95667">
                    <a:moveTo>
                      <a:pt x="4892" y="95667"/>
                    </a:moveTo>
                    <a:cubicBezTo>
                      <a:pt x="2193" y="95667"/>
                      <a:pt x="0" y="93474"/>
                      <a:pt x="0" y="90775"/>
                    </a:cubicBezTo>
                    <a:lnTo>
                      <a:pt x="0" y="4892"/>
                    </a:lnTo>
                    <a:cubicBezTo>
                      <a:pt x="0" y="2193"/>
                      <a:pt x="2193" y="0"/>
                      <a:pt x="4892" y="0"/>
                    </a:cubicBezTo>
                    <a:cubicBezTo>
                      <a:pt x="7591" y="0"/>
                      <a:pt x="9784" y="2193"/>
                      <a:pt x="9784" y="4892"/>
                    </a:cubicBezTo>
                    <a:lnTo>
                      <a:pt x="9784" y="90775"/>
                    </a:lnTo>
                    <a:cubicBezTo>
                      <a:pt x="9784" y="93498"/>
                      <a:pt x="7591" y="95667"/>
                      <a:pt x="4892" y="95667"/>
                    </a:cubicBezTo>
                    <a:close/>
                  </a:path>
                </a:pathLst>
              </a:custGeom>
              <a:grpFill/>
              <a:ln w="2405" cap="flat">
                <a:noFill/>
                <a:prstDash val="solid"/>
                <a:miter/>
              </a:ln>
            </p:spPr>
            <p:txBody>
              <a:bodyPr rtlCol="0" anchor="ctr"/>
              <a:lstStyle/>
              <a:p>
                <a:endParaRPr lang="en-GB" dirty="0"/>
              </a:p>
            </p:txBody>
          </p:sp>
          <p:sp>
            <p:nvSpPr>
              <p:cNvPr id="146" name="Freihandform: Form 461">
                <a:extLst>
                  <a:ext uri="{FF2B5EF4-FFF2-40B4-BE49-F238E27FC236}">
                    <a16:creationId xmlns:a16="http://schemas.microsoft.com/office/drawing/2014/main" id="{E3828B50-83DF-4EA5-B25A-D3A5A1EC8B72}"/>
                  </a:ext>
                </a:extLst>
              </p:cNvPr>
              <p:cNvSpPr/>
              <p:nvPr/>
            </p:nvSpPr>
            <p:spPr>
              <a:xfrm>
                <a:off x="1087079" y="4221193"/>
                <a:ext cx="94438" cy="9783"/>
              </a:xfrm>
              <a:custGeom>
                <a:avLst/>
                <a:gdLst>
                  <a:gd name="connsiteX0" fmla="*/ 89546 w 94438"/>
                  <a:gd name="connsiteY0" fmla="*/ 9783 h 9783"/>
                  <a:gd name="connsiteX1" fmla="*/ 4892 w 94438"/>
                  <a:gd name="connsiteY1" fmla="*/ 9783 h 9783"/>
                  <a:gd name="connsiteX2" fmla="*/ 0 w 94438"/>
                  <a:gd name="connsiteY2" fmla="*/ 4892 h 9783"/>
                  <a:gd name="connsiteX3" fmla="*/ 4892 w 94438"/>
                  <a:gd name="connsiteY3" fmla="*/ 0 h 9783"/>
                  <a:gd name="connsiteX4" fmla="*/ 89546 w 94438"/>
                  <a:gd name="connsiteY4" fmla="*/ 0 h 9783"/>
                  <a:gd name="connsiteX5" fmla="*/ 94438 w 94438"/>
                  <a:gd name="connsiteY5" fmla="*/ 4892 h 9783"/>
                  <a:gd name="connsiteX6" fmla="*/ 89546 w 94438"/>
                  <a:gd name="connsiteY6" fmla="*/ 9783 h 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438" h="9783">
                    <a:moveTo>
                      <a:pt x="89546" y="9783"/>
                    </a:moveTo>
                    <a:lnTo>
                      <a:pt x="4892" y="9783"/>
                    </a:lnTo>
                    <a:cubicBezTo>
                      <a:pt x="2193" y="9783"/>
                      <a:pt x="0" y="7591"/>
                      <a:pt x="0" y="4892"/>
                    </a:cubicBezTo>
                    <a:cubicBezTo>
                      <a:pt x="0" y="2193"/>
                      <a:pt x="2193" y="0"/>
                      <a:pt x="4892" y="0"/>
                    </a:cubicBezTo>
                    <a:lnTo>
                      <a:pt x="89546" y="0"/>
                    </a:lnTo>
                    <a:cubicBezTo>
                      <a:pt x="92245" y="0"/>
                      <a:pt x="94438" y="2193"/>
                      <a:pt x="94438" y="4892"/>
                    </a:cubicBezTo>
                    <a:cubicBezTo>
                      <a:pt x="94438" y="7591"/>
                      <a:pt x="92245" y="9783"/>
                      <a:pt x="89546" y="9783"/>
                    </a:cubicBezTo>
                    <a:close/>
                  </a:path>
                </a:pathLst>
              </a:custGeom>
              <a:grpFill/>
              <a:ln w="2405" cap="flat">
                <a:noFill/>
                <a:prstDash val="solid"/>
                <a:miter/>
              </a:ln>
            </p:spPr>
            <p:txBody>
              <a:bodyPr rtlCol="0" anchor="ctr"/>
              <a:lstStyle/>
              <a:p>
                <a:endParaRPr lang="en-GB" dirty="0"/>
              </a:p>
            </p:txBody>
          </p:sp>
          <p:sp>
            <p:nvSpPr>
              <p:cNvPr id="147" name="Freihandform: Form 462">
                <a:extLst>
                  <a:ext uri="{FF2B5EF4-FFF2-40B4-BE49-F238E27FC236}">
                    <a16:creationId xmlns:a16="http://schemas.microsoft.com/office/drawing/2014/main" id="{80B5CD37-6F11-4F17-B40F-B8100728537A}"/>
                  </a:ext>
                </a:extLst>
              </p:cNvPr>
              <p:cNvSpPr/>
              <p:nvPr/>
            </p:nvSpPr>
            <p:spPr>
              <a:xfrm>
                <a:off x="1034980" y="4299341"/>
                <a:ext cx="69473" cy="9783"/>
              </a:xfrm>
              <a:custGeom>
                <a:avLst/>
                <a:gdLst>
                  <a:gd name="connsiteX0" fmla="*/ 64581 w 69473"/>
                  <a:gd name="connsiteY0" fmla="*/ 9784 h 9783"/>
                  <a:gd name="connsiteX1" fmla="*/ 4892 w 69473"/>
                  <a:gd name="connsiteY1" fmla="*/ 9784 h 9783"/>
                  <a:gd name="connsiteX2" fmla="*/ 0 w 69473"/>
                  <a:gd name="connsiteY2" fmla="*/ 4892 h 9783"/>
                  <a:gd name="connsiteX3" fmla="*/ 4892 w 69473"/>
                  <a:gd name="connsiteY3" fmla="*/ 0 h 9783"/>
                  <a:gd name="connsiteX4" fmla="*/ 64581 w 69473"/>
                  <a:gd name="connsiteY4" fmla="*/ 0 h 9783"/>
                  <a:gd name="connsiteX5" fmla="*/ 69473 w 69473"/>
                  <a:gd name="connsiteY5" fmla="*/ 4892 h 9783"/>
                  <a:gd name="connsiteX6" fmla="*/ 64581 w 69473"/>
                  <a:gd name="connsiteY6" fmla="*/ 9784 h 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473" h="9783">
                    <a:moveTo>
                      <a:pt x="64581" y="9784"/>
                    </a:moveTo>
                    <a:lnTo>
                      <a:pt x="4892" y="9784"/>
                    </a:lnTo>
                    <a:cubicBezTo>
                      <a:pt x="2193" y="9784"/>
                      <a:pt x="0" y="7591"/>
                      <a:pt x="0" y="4892"/>
                    </a:cubicBezTo>
                    <a:cubicBezTo>
                      <a:pt x="0" y="2193"/>
                      <a:pt x="2193" y="0"/>
                      <a:pt x="4892" y="0"/>
                    </a:cubicBezTo>
                    <a:lnTo>
                      <a:pt x="64581" y="0"/>
                    </a:lnTo>
                    <a:cubicBezTo>
                      <a:pt x="67280" y="0"/>
                      <a:pt x="69473" y="2193"/>
                      <a:pt x="69473" y="4892"/>
                    </a:cubicBezTo>
                    <a:cubicBezTo>
                      <a:pt x="69473" y="7591"/>
                      <a:pt x="67280" y="9784"/>
                      <a:pt x="64581" y="9784"/>
                    </a:cubicBezTo>
                    <a:close/>
                  </a:path>
                </a:pathLst>
              </a:custGeom>
              <a:grpFill/>
              <a:ln w="2405" cap="flat">
                <a:noFill/>
                <a:prstDash val="solid"/>
                <a:miter/>
              </a:ln>
            </p:spPr>
            <p:txBody>
              <a:bodyPr rtlCol="0" anchor="ctr"/>
              <a:lstStyle/>
              <a:p>
                <a:endParaRPr lang="en-GB" dirty="0"/>
              </a:p>
            </p:txBody>
          </p:sp>
          <p:sp>
            <p:nvSpPr>
              <p:cNvPr id="148" name="Freihandform: Form 463">
                <a:extLst>
                  <a:ext uri="{FF2B5EF4-FFF2-40B4-BE49-F238E27FC236}">
                    <a16:creationId xmlns:a16="http://schemas.microsoft.com/office/drawing/2014/main" id="{8F88F475-2F24-49A0-9FE6-F812D5978B7E}"/>
                  </a:ext>
                </a:extLst>
              </p:cNvPr>
              <p:cNvSpPr/>
              <p:nvPr/>
            </p:nvSpPr>
            <p:spPr>
              <a:xfrm>
                <a:off x="1151106" y="4284135"/>
                <a:ext cx="71641" cy="9783"/>
              </a:xfrm>
              <a:custGeom>
                <a:avLst/>
                <a:gdLst>
                  <a:gd name="connsiteX0" fmla="*/ 66750 w 71641"/>
                  <a:gd name="connsiteY0" fmla="*/ 9783 h 9783"/>
                  <a:gd name="connsiteX1" fmla="*/ 4892 w 71641"/>
                  <a:gd name="connsiteY1" fmla="*/ 9783 h 9783"/>
                  <a:gd name="connsiteX2" fmla="*/ 0 w 71641"/>
                  <a:gd name="connsiteY2" fmla="*/ 4892 h 9783"/>
                  <a:gd name="connsiteX3" fmla="*/ 4892 w 71641"/>
                  <a:gd name="connsiteY3" fmla="*/ 0 h 9783"/>
                  <a:gd name="connsiteX4" fmla="*/ 66750 w 71641"/>
                  <a:gd name="connsiteY4" fmla="*/ 0 h 9783"/>
                  <a:gd name="connsiteX5" fmla="*/ 71642 w 71641"/>
                  <a:gd name="connsiteY5" fmla="*/ 4892 h 9783"/>
                  <a:gd name="connsiteX6" fmla="*/ 66750 w 71641"/>
                  <a:gd name="connsiteY6" fmla="*/ 9783 h 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641" h="9783">
                    <a:moveTo>
                      <a:pt x="66750" y="9783"/>
                    </a:moveTo>
                    <a:lnTo>
                      <a:pt x="4892" y="9783"/>
                    </a:lnTo>
                    <a:cubicBezTo>
                      <a:pt x="2193" y="9783"/>
                      <a:pt x="0" y="7591"/>
                      <a:pt x="0" y="4892"/>
                    </a:cubicBezTo>
                    <a:cubicBezTo>
                      <a:pt x="0" y="2193"/>
                      <a:pt x="2193" y="0"/>
                      <a:pt x="4892" y="0"/>
                    </a:cubicBezTo>
                    <a:lnTo>
                      <a:pt x="66750" y="0"/>
                    </a:lnTo>
                    <a:cubicBezTo>
                      <a:pt x="69449" y="0"/>
                      <a:pt x="71642" y="2193"/>
                      <a:pt x="71642" y="4892"/>
                    </a:cubicBezTo>
                    <a:cubicBezTo>
                      <a:pt x="71642" y="7615"/>
                      <a:pt x="69449" y="9783"/>
                      <a:pt x="66750" y="9783"/>
                    </a:cubicBezTo>
                    <a:close/>
                  </a:path>
                </a:pathLst>
              </a:custGeom>
              <a:grpFill/>
              <a:ln w="2405" cap="flat">
                <a:noFill/>
                <a:prstDash val="solid"/>
                <a:miter/>
              </a:ln>
            </p:spPr>
            <p:txBody>
              <a:bodyPr rtlCol="0" anchor="ctr"/>
              <a:lstStyle/>
              <a:p>
                <a:endParaRPr lang="en-GB" dirty="0"/>
              </a:p>
            </p:txBody>
          </p:sp>
          <p:sp>
            <p:nvSpPr>
              <p:cNvPr id="149" name="Freihandform: Form 464">
                <a:extLst>
                  <a:ext uri="{FF2B5EF4-FFF2-40B4-BE49-F238E27FC236}">
                    <a16:creationId xmlns:a16="http://schemas.microsoft.com/office/drawing/2014/main" id="{56CD9CD3-EFCA-49D2-808F-AD144EA51BD9}"/>
                  </a:ext>
                </a:extLst>
              </p:cNvPr>
              <p:cNvSpPr/>
              <p:nvPr/>
            </p:nvSpPr>
            <p:spPr>
              <a:xfrm>
                <a:off x="1114213" y="4346018"/>
                <a:ext cx="108535" cy="9783"/>
              </a:xfrm>
              <a:custGeom>
                <a:avLst/>
                <a:gdLst>
                  <a:gd name="connsiteX0" fmla="*/ 103643 w 108535"/>
                  <a:gd name="connsiteY0" fmla="*/ 9784 h 9783"/>
                  <a:gd name="connsiteX1" fmla="*/ 4892 w 108535"/>
                  <a:gd name="connsiteY1" fmla="*/ 9784 h 9783"/>
                  <a:gd name="connsiteX2" fmla="*/ 0 w 108535"/>
                  <a:gd name="connsiteY2" fmla="*/ 4892 h 9783"/>
                  <a:gd name="connsiteX3" fmla="*/ 4892 w 108535"/>
                  <a:gd name="connsiteY3" fmla="*/ 0 h 9783"/>
                  <a:gd name="connsiteX4" fmla="*/ 103643 w 108535"/>
                  <a:gd name="connsiteY4" fmla="*/ 0 h 9783"/>
                  <a:gd name="connsiteX5" fmla="*/ 108535 w 108535"/>
                  <a:gd name="connsiteY5" fmla="*/ 4892 h 9783"/>
                  <a:gd name="connsiteX6" fmla="*/ 103643 w 108535"/>
                  <a:gd name="connsiteY6" fmla="*/ 9784 h 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535" h="9783">
                    <a:moveTo>
                      <a:pt x="103643" y="9784"/>
                    </a:moveTo>
                    <a:lnTo>
                      <a:pt x="4892" y="9784"/>
                    </a:lnTo>
                    <a:cubicBezTo>
                      <a:pt x="2193" y="9784"/>
                      <a:pt x="0" y="7591"/>
                      <a:pt x="0" y="4892"/>
                    </a:cubicBezTo>
                    <a:cubicBezTo>
                      <a:pt x="0" y="2193"/>
                      <a:pt x="2193" y="0"/>
                      <a:pt x="4892" y="0"/>
                    </a:cubicBezTo>
                    <a:lnTo>
                      <a:pt x="103643" y="0"/>
                    </a:lnTo>
                    <a:cubicBezTo>
                      <a:pt x="106342" y="0"/>
                      <a:pt x="108535" y="2193"/>
                      <a:pt x="108535" y="4892"/>
                    </a:cubicBezTo>
                    <a:cubicBezTo>
                      <a:pt x="108535" y="7591"/>
                      <a:pt x="106342" y="9784"/>
                      <a:pt x="103643" y="9784"/>
                    </a:cubicBezTo>
                    <a:close/>
                  </a:path>
                </a:pathLst>
              </a:custGeom>
              <a:grpFill/>
              <a:ln w="2405" cap="flat">
                <a:noFill/>
                <a:prstDash val="solid"/>
                <a:miter/>
              </a:ln>
            </p:spPr>
            <p:txBody>
              <a:bodyPr rtlCol="0" anchor="ctr"/>
              <a:lstStyle/>
              <a:p>
                <a:endParaRPr lang="en-GB" dirty="0"/>
              </a:p>
            </p:txBody>
          </p:sp>
          <p:sp>
            <p:nvSpPr>
              <p:cNvPr id="150" name="Freihandform: Form 465">
                <a:extLst>
                  <a:ext uri="{FF2B5EF4-FFF2-40B4-BE49-F238E27FC236}">
                    <a16:creationId xmlns:a16="http://schemas.microsoft.com/office/drawing/2014/main" id="{4019C7AE-C744-4E39-BCE4-6DD38663CF17}"/>
                  </a:ext>
                </a:extLst>
              </p:cNvPr>
              <p:cNvSpPr/>
              <p:nvPr/>
            </p:nvSpPr>
            <p:spPr>
              <a:xfrm>
                <a:off x="1034980" y="4357946"/>
                <a:ext cx="56460" cy="9783"/>
              </a:xfrm>
              <a:custGeom>
                <a:avLst/>
                <a:gdLst>
                  <a:gd name="connsiteX0" fmla="*/ 51569 w 56460"/>
                  <a:gd name="connsiteY0" fmla="*/ 9783 h 9783"/>
                  <a:gd name="connsiteX1" fmla="*/ 4892 w 56460"/>
                  <a:gd name="connsiteY1" fmla="*/ 9783 h 9783"/>
                  <a:gd name="connsiteX2" fmla="*/ 0 w 56460"/>
                  <a:gd name="connsiteY2" fmla="*/ 4892 h 9783"/>
                  <a:gd name="connsiteX3" fmla="*/ 4892 w 56460"/>
                  <a:gd name="connsiteY3" fmla="*/ 0 h 9783"/>
                  <a:gd name="connsiteX4" fmla="*/ 51569 w 56460"/>
                  <a:gd name="connsiteY4" fmla="*/ 0 h 9783"/>
                  <a:gd name="connsiteX5" fmla="*/ 56460 w 56460"/>
                  <a:gd name="connsiteY5" fmla="*/ 4892 h 9783"/>
                  <a:gd name="connsiteX6" fmla="*/ 51569 w 56460"/>
                  <a:gd name="connsiteY6" fmla="*/ 9783 h 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460" h="9783">
                    <a:moveTo>
                      <a:pt x="51569" y="9783"/>
                    </a:moveTo>
                    <a:lnTo>
                      <a:pt x="4892" y="9783"/>
                    </a:lnTo>
                    <a:cubicBezTo>
                      <a:pt x="2193" y="9783"/>
                      <a:pt x="0" y="7591"/>
                      <a:pt x="0" y="4892"/>
                    </a:cubicBezTo>
                    <a:cubicBezTo>
                      <a:pt x="0" y="2193"/>
                      <a:pt x="2193" y="0"/>
                      <a:pt x="4892" y="0"/>
                    </a:cubicBezTo>
                    <a:lnTo>
                      <a:pt x="51569" y="0"/>
                    </a:lnTo>
                    <a:cubicBezTo>
                      <a:pt x="54268" y="0"/>
                      <a:pt x="56460" y="2193"/>
                      <a:pt x="56460" y="4892"/>
                    </a:cubicBezTo>
                    <a:cubicBezTo>
                      <a:pt x="56460" y="7591"/>
                      <a:pt x="54268" y="9783"/>
                      <a:pt x="51569" y="9783"/>
                    </a:cubicBezTo>
                    <a:close/>
                  </a:path>
                </a:pathLst>
              </a:custGeom>
              <a:grpFill/>
              <a:ln w="2405" cap="flat">
                <a:noFill/>
                <a:prstDash val="solid"/>
                <a:miter/>
              </a:ln>
            </p:spPr>
            <p:txBody>
              <a:bodyPr rtlCol="0" anchor="ctr"/>
              <a:lstStyle/>
              <a:p>
                <a:endParaRPr lang="en-GB" dirty="0"/>
              </a:p>
            </p:txBody>
          </p:sp>
          <p:sp>
            <p:nvSpPr>
              <p:cNvPr id="151" name="Freihandform: Form 466">
                <a:extLst>
                  <a:ext uri="{FF2B5EF4-FFF2-40B4-BE49-F238E27FC236}">
                    <a16:creationId xmlns:a16="http://schemas.microsoft.com/office/drawing/2014/main" id="{901E303C-CFA5-476B-AD8F-1D7860000A8B}"/>
                  </a:ext>
                </a:extLst>
              </p:cNvPr>
              <p:cNvSpPr/>
              <p:nvPr/>
            </p:nvSpPr>
            <p:spPr>
              <a:xfrm>
                <a:off x="1035004" y="4416551"/>
                <a:ext cx="74895" cy="9783"/>
              </a:xfrm>
              <a:custGeom>
                <a:avLst/>
                <a:gdLst>
                  <a:gd name="connsiteX0" fmla="*/ 70003 w 74895"/>
                  <a:gd name="connsiteY0" fmla="*/ 9784 h 9783"/>
                  <a:gd name="connsiteX1" fmla="*/ 4892 w 74895"/>
                  <a:gd name="connsiteY1" fmla="*/ 9784 h 9783"/>
                  <a:gd name="connsiteX2" fmla="*/ 0 w 74895"/>
                  <a:gd name="connsiteY2" fmla="*/ 4892 h 9783"/>
                  <a:gd name="connsiteX3" fmla="*/ 4892 w 74895"/>
                  <a:gd name="connsiteY3" fmla="*/ 0 h 9783"/>
                  <a:gd name="connsiteX4" fmla="*/ 70003 w 74895"/>
                  <a:gd name="connsiteY4" fmla="*/ 0 h 9783"/>
                  <a:gd name="connsiteX5" fmla="*/ 74895 w 74895"/>
                  <a:gd name="connsiteY5" fmla="*/ 4892 h 9783"/>
                  <a:gd name="connsiteX6" fmla="*/ 70003 w 74895"/>
                  <a:gd name="connsiteY6" fmla="*/ 9784 h 9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4895" h="9783">
                    <a:moveTo>
                      <a:pt x="70003" y="9784"/>
                    </a:moveTo>
                    <a:lnTo>
                      <a:pt x="4892" y="9784"/>
                    </a:lnTo>
                    <a:cubicBezTo>
                      <a:pt x="2193" y="9784"/>
                      <a:pt x="0" y="7591"/>
                      <a:pt x="0" y="4892"/>
                    </a:cubicBezTo>
                    <a:cubicBezTo>
                      <a:pt x="0" y="2193"/>
                      <a:pt x="2193" y="0"/>
                      <a:pt x="4892" y="0"/>
                    </a:cubicBezTo>
                    <a:lnTo>
                      <a:pt x="70003" y="0"/>
                    </a:lnTo>
                    <a:cubicBezTo>
                      <a:pt x="72702" y="0"/>
                      <a:pt x="74895" y="2193"/>
                      <a:pt x="74895" y="4892"/>
                    </a:cubicBezTo>
                    <a:cubicBezTo>
                      <a:pt x="74871" y="7591"/>
                      <a:pt x="72702" y="9784"/>
                      <a:pt x="70003" y="9784"/>
                    </a:cubicBezTo>
                    <a:close/>
                  </a:path>
                </a:pathLst>
              </a:custGeom>
              <a:grpFill/>
              <a:ln w="2405" cap="flat">
                <a:noFill/>
                <a:prstDash val="solid"/>
                <a:miter/>
              </a:ln>
            </p:spPr>
            <p:txBody>
              <a:bodyPr rtlCol="0" anchor="ctr"/>
              <a:lstStyle/>
              <a:p>
                <a:endParaRPr lang="en-GB" dirty="0"/>
              </a:p>
            </p:txBody>
          </p:sp>
        </p:grpSp>
        <p:grpSp>
          <p:nvGrpSpPr>
            <p:cNvPr id="138" name="Grafik 13">
              <a:extLst>
                <a:ext uri="{FF2B5EF4-FFF2-40B4-BE49-F238E27FC236}">
                  <a16:creationId xmlns:a16="http://schemas.microsoft.com/office/drawing/2014/main" id="{7501094D-3F7A-4494-A12D-1859379B296D}"/>
                </a:ext>
              </a:extLst>
            </p:cNvPr>
            <p:cNvGrpSpPr/>
            <p:nvPr/>
          </p:nvGrpSpPr>
          <p:grpSpPr>
            <a:xfrm>
              <a:off x="723299" y="2483275"/>
              <a:ext cx="401539" cy="256608"/>
              <a:chOff x="1082987" y="4238205"/>
              <a:chExt cx="386730" cy="247144"/>
            </a:xfrm>
            <a:solidFill>
              <a:schemeClr val="accent1"/>
            </a:solidFill>
          </p:grpSpPr>
          <p:sp>
            <p:nvSpPr>
              <p:cNvPr id="139" name="Freihandform: Form 468">
                <a:extLst>
                  <a:ext uri="{FF2B5EF4-FFF2-40B4-BE49-F238E27FC236}">
                    <a16:creationId xmlns:a16="http://schemas.microsoft.com/office/drawing/2014/main" id="{5968E733-1632-4D5C-958A-7FBF11EDC041}"/>
                  </a:ext>
                </a:extLst>
              </p:cNvPr>
              <p:cNvSpPr/>
              <p:nvPr/>
            </p:nvSpPr>
            <p:spPr>
              <a:xfrm>
                <a:off x="1082987" y="4238205"/>
                <a:ext cx="240660" cy="240661"/>
              </a:xfrm>
              <a:custGeom>
                <a:avLst/>
                <a:gdLst>
                  <a:gd name="connsiteX0" fmla="*/ 120242 w 240660"/>
                  <a:gd name="connsiteY0" fmla="*/ 240662 h 240661"/>
                  <a:gd name="connsiteX1" fmla="*/ 73156 w 240660"/>
                  <a:gd name="connsiteY1" fmla="*/ 231023 h 240661"/>
                  <a:gd name="connsiteX2" fmla="*/ 9611 w 240660"/>
                  <a:gd name="connsiteY2" fmla="*/ 73208 h 240661"/>
                  <a:gd name="connsiteX3" fmla="*/ 120339 w 240660"/>
                  <a:gd name="connsiteY3" fmla="*/ 0 h 240661"/>
                  <a:gd name="connsiteX4" fmla="*/ 167425 w 240660"/>
                  <a:gd name="connsiteY4" fmla="*/ 9663 h 240661"/>
                  <a:gd name="connsiteX5" fmla="*/ 231886 w 240660"/>
                  <a:gd name="connsiteY5" fmla="*/ 75401 h 240661"/>
                  <a:gd name="connsiteX6" fmla="*/ 230970 w 240660"/>
                  <a:gd name="connsiteY6" fmla="*/ 167478 h 240661"/>
                  <a:gd name="connsiteX7" fmla="*/ 120242 w 240660"/>
                  <a:gd name="connsiteY7" fmla="*/ 240662 h 240661"/>
                  <a:gd name="connsiteX8" fmla="*/ 120339 w 240660"/>
                  <a:gd name="connsiteY8" fmla="*/ 9784 h 240661"/>
                  <a:gd name="connsiteX9" fmla="*/ 18599 w 240660"/>
                  <a:gd name="connsiteY9" fmla="*/ 77040 h 240661"/>
                  <a:gd name="connsiteX10" fmla="*/ 76987 w 240660"/>
                  <a:gd name="connsiteY10" fmla="*/ 222059 h 240661"/>
                  <a:gd name="connsiteX11" fmla="*/ 120242 w 240660"/>
                  <a:gd name="connsiteY11" fmla="*/ 230927 h 240661"/>
                  <a:gd name="connsiteX12" fmla="*/ 222006 w 240660"/>
                  <a:gd name="connsiteY12" fmla="*/ 163670 h 240661"/>
                  <a:gd name="connsiteX13" fmla="*/ 222850 w 240660"/>
                  <a:gd name="connsiteY13" fmla="*/ 79064 h 240661"/>
                  <a:gd name="connsiteX14" fmla="*/ 163618 w 240660"/>
                  <a:gd name="connsiteY14" fmla="*/ 18651 h 240661"/>
                  <a:gd name="connsiteX15" fmla="*/ 120339 w 240660"/>
                  <a:gd name="connsiteY15" fmla="*/ 9784 h 240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40660" h="240661">
                    <a:moveTo>
                      <a:pt x="120242" y="240662"/>
                    </a:moveTo>
                    <a:cubicBezTo>
                      <a:pt x="104025" y="240662"/>
                      <a:pt x="88193" y="237409"/>
                      <a:pt x="73156" y="231023"/>
                    </a:cubicBezTo>
                    <a:cubicBezTo>
                      <a:pt x="12141" y="204998"/>
                      <a:pt x="-16367" y="134199"/>
                      <a:pt x="9611" y="73208"/>
                    </a:cubicBezTo>
                    <a:cubicBezTo>
                      <a:pt x="28551" y="28748"/>
                      <a:pt x="72023" y="0"/>
                      <a:pt x="120339" y="0"/>
                    </a:cubicBezTo>
                    <a:cubicBezTo>
                      <a:pt x="136556" y="0"/>
                      <a:pt x="152388" y="3253"/>
                      <a:pt x="167425" y="9663"/>
                    </a:cubicBezTo>
                    <a:cubicBezTo>
                      <a:pt x="196993" y="22242"/>
                      <a:pt x="219886" y="45593"/>
                      <a:pt x="231886" y="75401"/>
                    </a:cubicBezTo>
                    <a:cubicBezTo>
                      <a:pt x="243887" y="105210"/>
                      <a:pt x="243573" y="137910"/>
                      <a:pt x="230970" y="167478"/>
                    </a:cubicBezTo>
                    <a:cubicBezTo>
                      <a:pt x="212054" y="211938"/>
                      <a:pt x="168582" y="240662"/>
                      <a:pt x="120242" y="240662"/>
                    </a:cubicBezTo>
                    <a:close/>
                    <a:moveTo>
                      <a:pt x="120339" y="9784"/>
                    </a:moveTo>
                    <a:cubicBezTo>
                      <a:pt x="75951" y="9784"/>
                      <a:pt x="35997" y="36195"/>
                      <a:pt x="18599" y="77040"/>
                    </a:cubicBezTo>
                    <a:cubicBezTo>
                      <a:pt x="-5282" y="133091"/>
                      <a:pt x="20912" y="198154"/>
                      <a:pt x="76987" y="222059"/>
                    </a:cubicBezTo>
                    <a:cubicBezTo>
                      <a:pt x="90795" y="227939"/>
                      <a:pt x="105350" y="230927"/>
                      <a:pt x="120242" y="230927"/>
                    </a:cubicBezTo>
                    <a:cubicBezTo>
                      <a:pt x="164678" y="230927"/>
                      <a:pt x="204608" y="204540"/>
                      <a:pt x="222006" y="163670"/>
                    </a:cubicBezTo>
                    <a:cubicBezTo>
                      <a:pt x="233573" y="136513"/>
                      <a:pt x="233862" y="106463"/>
                      <a:pt x="222850" y="79064"/>
                    </a:cubicBezTo>
                    <a:cubicBezTo>
                      <a:pt x="211813" y="51665"/>
                      <a:pt x="190776" y="30218"/>
                      <a:pt x="163618" y="18651"/>
                    </a:cubicBezTo>
                    <a:cubicBezTo>
                      <a:pt x="149786" y="12748"/>
                      <a:pt x="135231" y="9784"/>
                      <a:pt x="120339" y="9784"/>
                    </a:cubicBezTo>
                    <a:close/>
                  </a:path>
                </a:pathLst>
              </a:custGeom>
              <a:solidFill>
                <a:schemeClr val="accent1"/>
              </a:solidFill>
              <a:ln w="2405" cap="flat">
                <a:noFill/>
                <a:prstDash val="solid"/>
                <a:miter/>
              </a:ln>
            </p:spPr>
            <p:txBody>
              <a:bodyPr rtlCol="0" anchor="ctr"/>
              <a:lstStyle/>
              <a:p>
                <a:endParaRPr lang="en-GB" dirty="0"/>
              </a:p>
            </p:txBody>
          </p:sp>
          <p:sp>
            <p:nvSpPr>
              <p:cNvPr id="140" name="Freihandform: Form 469">
                <a:extLst>
                  <a:ext uri="{FF2B5EF4-FFF2-40B4-BE49-F238E27FC236}">
                    <a16:creationId xmlns:a16="http://schemas.microsoft.com/office/drawing/2014/main" id="{45081757-9457-47AE-9951-30E973922B6A}"/>
                  </a:ext>
                </a:extLst>
              </p:cNvPr>
              <p:cNvSpPr/>
              <p:nvPr/>
            </p:nvSpPr>
            <p:spPr>
              <a:xfrm>
                <a:off x="1306961" y="4399926"/>
                <a:ext cx="40114" cy="22673"/>
              </a:xfrm>
              <a:custGeom>
                <a:avLst/>
                <a:gdLst>
                  <a:gd name="connsiteX0" fmla="*/ 35214 w 40114"/>
                  <a:gd name="connsiteY0" fmla="*/ 22673 h 22673"/>
                  <a:gd name="connsiteX1" fmla="*/ 33311 w 40114"/>
                  <a:gd name="connsiteY1" fmla="*/ 22288 h 22673"/>
                  <a:gd name="connsiteX2" fmla="*/ 2972 w 40114"/>
                  <a:gd name="connsiteY2" fmla="*/ 9372 h 22673"/>
                  <a:gd name="connsiteX3" fmla="*/ 393 w 40114"/>
                  <a:gd name="connsiteY3" fmla="*/ 2962 h 22673"/>
                  <a:gd name="connsiteX4" fmla="*/ 6803 w 40114"/>
                  <a:gd name="connsiteY4" fmla="*/ 383 h 22673"/>
                  <a:gd name="connsiteX5" fmla="*/ 37142 w 40114"/>
                  <a:gd name="connsiteY5" fmla="*/ 13299 h 22673"/>
                  <a:gd name="connsiteX6" fmla="*/ 39721 w 40114"/>
                  <a:gd name="connsiteY6" fmla="*/ 19709 h 22673"/>
                  <a:gd name="connsiteX7" fmla="*/ 35214 w 40114"/>
                  <a:gd name="connsiteY7" fmla="*/ 22673 h 22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114" h="22673">
                    <a:moveTo>
                      <a:pt x="35214" y="22673"/>
                    </a:moveTo>
                    <a:cubicBezTo>
                      <a:pt x="34588" y="22673"/>
                      <a:pt x="33937" y="22553"/>
                      <a:pt x="33311" y="22288"/>
                    </a:cubicBezTo>
                    <a:lnTo>
                      <a:pt x="2972" y="9372"/>
                    </a:lnTo>
                    <a:cubicBezTo>
                      <a:pt x="490" y="8311"/>
                      <a:pt x="-667" y="5444"/>
                      <a:pt x="393" y="2962"/>
                    </a:cubicBezTo>
                    <a:cubicBezTo>
                      <a:pt x="1454" y="480"/>
                      <a:pt x="4297" y="-653"/>
                      <a:pt x="6803" y="383"/>
                    </a:cubicBezTo>
                    <a:lnTo>
                      <a:pt x="37142" y="13299"/>
                    </a:lnTo>
                    <a:cubicBezTo>
                      <a:pt x="39624" y="14360"/>
                      <a:pt x="40781" y="17227"/>
                      <a:pt x="39721" y="19709"/>
                    </a:cubicBezTo>
                    <a:cubicBezTo>
                      <a:pt x="38925" y="21565"/>
                      <a:pt x="37118" y="22673"/>
                      <a:pt x="35214" y="22673"/>
                    </a:cubicBezTo>
                    <a:close/>
                  </a:path>
                </a:pathLst>
              </a:custGeom>
              <a:solidFill>
                <a:schemeClr val="accent1"/>
              </a:solidFill>
              <a:ln w="2405" cap="flat">
                <a:noFill/>
                <a:prstDash val="solid"/>
                <a:miter/>
              </a:ln>
            </p:spPr>
            <p:txBody>
              <a:bodyPr rtlCol="0" anchor="ctr"/>
              <a:lstStyle/>
              <a:p>
                <a:endParaRPr lang="en-GB" dirty="0"/>
              </a:p>
            </p:txBody>
          </p:sp>
          <p:sp>
            <p:nvSpPr>
              <p:cNvPr id="141" name="Freihandform: Form 470">
                <a:extLst>
                  <a:ext uri="{FF2B5EF4-FFF2-40B4-BE49-F238E27FC236}">
                    <a16:creationId xmlns:a16="http://schemas.microsoft.com/office/drawing/2014/main" id="{7A77BFBE-7265-435E-A501-8067D02E676C}"/>
                  </a:ext>
                </a:extLst>
              </p:cNvPr>
              <p:cNvSpPr/>
              <p:nvPr/>
            </p:nvSpPr>
            <p:spPr>
              <a:xfrm>
                <a:off x="1335997" y="4401779"/>
                <a:ext cx="133719" cy="83570"/>
              </a:xfrm>
              <a:custGeom>
                <a:avLst/>
                <a:gdLst>
                  <a:gd name="connsiteX0" fmla="*/ 108641 w 133719"/>
                  <a:gd name="connsiteY0" fmla="*/ 83570 h 83570"/>
                  <a:gd name="connsiteX1" fmla="*/ 95628 w 133719"/>
                  <a:gd name="connsiteY1" fmla="*/ 80871 h 83570"/>
                  <a:gd name="connsiteX2" fmla="*/ 18757 w 133719"/>
                  <a:gd name="connsiteY2" fmla="*/ 48099 h 83570"/>
                  <a:gd name="connsiteX3" fmla="*/ 1793 w 133719"/>
                  <a:gd name="connsiteY3" fmla="*/ 31447 h 83570"/>
                  <a:gd name="connsiteX4" fmla="*/ 1696 w 133719"/>
                  <a:gd name="connsiteY4" fmla="*/ 14025 h 83570"/>
                  <a:gd name="connsiteX5" fmla="*/ 25071 w 133719"/>
                  <a:gd name="connsiteY5" fmla="*/ 0 h 83570"/>
                  <a:gd name="connsiteX6" fmla="*/ 38083 w 133719"/>
                  <a:gd name="connsiteY6" fmla="*/ 2699 h 83570"/>
                  <a:gd name="connsiteX7" fmla="*/ 114955 w 133719"/>
                  <a:gd name="connsiteY7" fmla="*/ 35448 h 83570"/>
                  <a:gd name="connsiteX8" fmla="*/ 132040 w 133719"/>
                  <a:gd name="connsiteY8" fmla="*/ 69522 h 83570"/>
                  <a:gd name="connsiteX9" fmla="*/ 108641 w 133719"/>
                  <a:gd name="connsiteY9" fmla="*/ 83570 h 83570"/>
                  <a:gd name="connsiteX10" fmla="*/ 25071 w 133719"/>
                  <a:gd name="connsiteY10" fmla="*/ 9760 h 83570"/>
                  <a:gd name="connsiteX11" fmla="*/ 10685 w 133719"/>
                  <a:gd name="connsiteY11" fmla="*/ 17832 h 83570"/>
                  <a:gd name="connsiteX12" fmla="*/ 10853 w 133719"/>
                  <a:gd name="connsiteY12" fmla="*/ 27785 h 83570"/>
                  <a:gd name="connsiteX13" fmla="*/ 22589 w 133719"/>
                  <a:gd name="connsiteY13" fmla="*/ 39086 h 83570"/>
                  <a:gd name="connsiteX14" fmla="*/ 99460 w 133719"/>
                  <a:gd name="connsiteY14" fmla="*/ 71859 h 83570"/>
                  <a:gd name="connsiteX15" fmla="*/ 108665 w 133719"/>
                  <a:gd name="connsiteY15" fmla="*/ 73787 h 83570"/>
                  <a:gd name="connsiteX16" fmla="*/ 123075 w 133719"/>
                  <a:gd name="connsiteY16" fmla="*/ 65690 h 83570"/>
                  <a:gd name="connsiteX17" fmla="*/ 111147 w 133719"/>
                  <a:gd name="connsiteY17" fmla="*/ 44436 h 83570"/>
                  <a:gd name="connsiteX18" fmla="*/ 34276 w 133719"/>
                  <a:gd name="connsiteY18" fmla="*/ 11688 h 83570"/>
                  <a:gd name="connsiteX19" fmla="*/ 25071 w 133719"/>
                  <a:gd name="connsiteY19" fmla="*/ 9760 h 83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3719" h="83570">
                    <a:moveTo>
                      <a:pt x="108641" y="83570"/>
                    </a:moveTo>
                    <a:cubicBezTo>
                      <a:pt x="104207" y="83570"/>
                      <a:pt x="99845" y="82655"/>
                      <a:pt x="95628" y="80871"/>
                    </a:cubicBezTo>
                    <a:lnTo>
                      <a:pt x="18757" y="48099"/>
                    </a:lnTo>
                    <a:cubicBezTo>
                      <a:pt x="10901" y="44773"/>
                      <a:pt x="4708" y="38701"/>
                      <a:pt x="1793" y="31447"/>
                    </a:cubicBezTo>
                    <a:cubicBezTo>
                      <a:pt x="-569" y="25616"/>
                      <a:pt x="-593" y="19423"/>
                      <a:pt x="1696" y="14025"/>
                    </a:cubicBezTo>
                    <a:cubicBezTo>
                      <a:pt x="5383" y="5374"/>
                      <a:pt x="14323" y="0"/>
                      <a:pt x="25071" y="0"/>
                    </a:cubicBezTo>
                    <a:cubicBezTo>
                      <a:pt x="29505" y="0"/>
                      <a:pt x="33866" y="916"/>
                      <a:pt x="38083" y="2699"/>
                    </a:cubicBezTo>
                    <a:lnTo>
                      <a:pt x="114955" y="35448"/>
                    </a:lnTo>
                    <a:cubicBezTo>
                      <a:pt x="129678" y="41713"/>
                      <a:pt x="137341" y="57015"/>
                      <a:pt x="132040" y="69522"/>
                    </a:cubicBezTo>
                    <a:cubicBezTo>
                      <a:pt x="128353" y="78197"/>
                      <a:pt x="119364" y="83570"/>
                      <a:pt x="108641" y="83570"/>
                    </a:cubicBezTo>
                    <a:close/>
                    <a:moveTo>
                      <a:pt x="25071" y="9760"/>
                    </a:moveTo>
                    <a:cubicBezTo>
                      <a:pt x="18323" y="9760"/>
                      <a:pt x="12805" y="12868"/>
                      <a:pt x="10685" y="17832"/>
                    </a:cubicBezTo>
                    <a:cubicBezTo>
                      <a:pt x="9046" y="21664"/>
                      <a:pt x="9865" y="25351"/>
                      <a:pt x="10853" y="27785"/>
                    </a:cubicBezTo>
                    <a:cubicBezTo>
                      <a:pt x="12805" y="32652"/>
                      <a:pt x="17094" y="36773"/>
                      <a:pt x="22589" y="39086"/>
                    </a:cubicBezTo>
                    <a:lnTo>
                      <a:pt x="99460" y="71859"/>
                    </a:lnTo>
                    <a:cubicBezTo>
                      <a:pt x="102424" y="73112"/>
                      <a:pt x="105605" y="73787"/>
                      <a:pt x="108665" y="73787"/>
                    </a:cubicBezTo>
                    <a:cubicBezTo>
                      <a:pt x="115412" y="73787"/>
                      <a:pt x="120955" y="70678"/>
                      <a:pt x="123075" y="65690"/>
                    </a:cubicBezTo>
                    <a:cubicBezTo>
                      <a:pt x="126280" y="58147"/>
                      <a:pt x="120931" y="48581"/>
                      <a:pt x="111147" y="44436"/>
                    </a:cubicBezTo>
                    <a:lnTo>
                      <a:pt x="34276" y="11688"/>
                    </a:lnTo>
                    <a:cubicBezTo>
                      <a:pt x="31288" y="10434"/>
                      <a:pt x="28131" y="9760"/>
                      <a:pt x="25071" y="9760"/>
                    </a:cubicBezTo>
                    <a:close/>
                  </a:path>
                </a:pathLst>
              </a:custGeom>
              <a:solidFill>
                <a:schemeClr val="accent1"/>
              </a:solidFill>
              <a:ln w="2405" cap="flat">
                <a:noFill/>
                <a:prstDash val="solid"/>
                <a:miter/>
              </a:ln>
            </p:spPr>
            <p:txBody>
              <a:bodyPr rtlCol="0" anchor="ctr"/>
              <a:lstStyle/>
              <a:p>
                <a:endParaRPr lang="en-GB" dirty="0"/>
              </a:p>
            </p:txBody>
          </p:sp>
          <p:sp>
            <p:nvSpPr>
              <p:cNvPr id="142" name="Freihandform: Form 471">
                <a:extLst>
                  <a:ext uri="{FF2B5EF4-FFF2-40B4-BE49-F238E27FC236}">
                    <a16:creationId xmlns:a16="http://schemas.microsoft.com/office/drawing/2014/main" id="{4E60288F-BD03-4667-970E-17A3A60172A2}"/>
                  </a:ext>
                </a:extLst>
              </p:cNvPr>
              <p:cNvSpPr/>
              <p:nvPr/>
            </p:nvSpPr>
            <p:spPr>
              <a:xfrm>
                <a:off x="1114260" y="4269821"/>
                <a:ext cx="178379" cy="178321"/>
              </a:xfrm>
              <a:custGeom>
                <a:avLst/>
                <a:gdLst>
                  <a:gd name="connsiteX0" fmla="*/ 89258 w 178379"/>
                  <a:gd name="connsiteY0" fmla="*/ 178322 h 178321"/>
                  <a:gd name="connsiteX1" fmla="*/ 9616 w 178379"/>
                  <a:gd name="connsiteY1" fmla="*/ 129331 h 178321"/>
                  <a:gd name="connsiteX2" fmla="*/ 4507 w 178379"/>
                  <a:gd name="connsiteY2" fmla="*/ 61304 h 178321"/>
                  <a:gd name="connsiteX3" fmla="*/ 48991 w 178379"/>
                  <a:gd name="connsiteY3" fmla="*/ 9591 h 178321"/>
                  <a:gd name="connsiteX4" fmla="*/ 89114 w 178379"/>
                  <a:gd name="connsiteY4" fmla="*/ 0 h 178321"/>
                  <a:gd name="connsiteX5" fmla="*/ 168756 w 178379"/>
                  <a:gd name="connsiteY5" fmla="*/ 48966 h 178321"/>
                  <a:gd name="connsiteX6" fmla="*/ 173865 w 178379"/>
                  <a:gd name="connsiteY6" fmla="*/ 117018 h 178321"/>
                  <a:gd name="connsiteX7" fmla="*/ 129357 w 178379"/>
                  <a:gd name="connsiteY7" fmla="*/ 168755 h 178321"/>
                  <a:gd name="connsiteX8" fmla="*/ 89258 w 178379"/>
                  <a:gd name="connsiteY8" fmla="*/ 178322 h 178321"/>
                  <a:gd name="connsiteX9" fmla="*/ 89138 w 178379"/>
                  <a:gd name="connsiteY9" fmla="*/ 9760 h 178321"/>
                  <a:gd name="connsiteX10" fmla="*/ 53425 w 178379"/>
                  <a:gd name="connsiteY10" fmla="*/ 18290 h 178321"/>
                  <a:gd name="connsiteX11" fmla="*/ 13809 w 178379"/>
                  <a:gd name="connsiteY11" fmla="*/ 64365 h 178321"/>
                  <a:gd name="connsiteX12" fmla="*/ 18363 w 178379"/>
                  <a:gd name="connsiteY12" fmla="*/ 124946 h 178321"/>
                  <a:gd name="connsiteX13" fmla="*/ 89282 w 178379"/>
                  <a:gd name="connsiteY13" fmla="*/ 168562 h 178321"/>
                  <a:gd name="connsiteX14" fmla="*/ 125019 w 178379"/>
                  <a:gd name="connsiteY14" fmla="*/ 160008 h 178321"/>
                  <a:gd name="connsiteX15" fmla="*/ 164635 w 178379"/>
                  <a:gd name="connsiteY15" fmla="*/ 113957 h 178321"/>
                  <a:gd name="connsiteX16" fmla="*/ 160081 w 178379"/>
                  <a:gd name="connsiteY16" fmla="*/ 53352 h 178321"/>
                  <a:gd name="connsiteX17" fmla="*/ 89138 w 178379"/>
                  <a:gd name="connsiteY17" fmla="*/ 9760 h 17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8379" h="178321">
                    <a:moveTo>
                      <a:pt x="89258" y="178322"/>
                    </a:moveTo>
                    <a:cubicBezTo>
                      <a:pt x="55401" y="178322"/>
                      <a:pt x="24870" y="159550"/>
                      <a:pt x="9616" y="129331"/>
                    </a:cubicBezTo>
                    <a:cubicBezTo>
                      <a:pt x="-1107" y="108102"/>
                      <a:pt x="-2939" y="83932"/>
                      <a:pt x="4507" y="61304"/>
                    </a:cubicBezTo>
                    <a:cubicBezTo>
                      <a:pt x="11954" y="38677"/>
                      <a:pt x="27762" y="20314"/>
                      <a:pt x="48991" y="9591"/>
                    </a:cubicBezTo>
                    <a:cubicBezTo>
                      <a:pt x="61594" y="3229"/>
                      <a:pt x="75089" y="0"/>
                      <a:pt x="89114" y="0"/>
                    </a:cubicBezTo>
                    <a:cubicBezTo>
                      <a:pt x="122995" y="0"/>
                      <a:pt x="153502" y="18748"/>
                      <a:pt x="168756" y="48966"/>
                    </a:cubicBezTo>
                    <a:cubicBezTo>
                      <a:pt x="179504" y="70220"/>
                      <a:pt x="181311" y="94390"/>
                      <a:pt x="173865" y="117018"/>
                    </a:cubicBezTo>
                    <a:cubicBezTo>
                      <a:pt x="166419" y="139645"/>
                      <a:pt x="150611" y="158008"/>
                      <a:pt x="129357" y="168755"/>
                    </a:cubicBezTo>
                    <a:cubicBezTo>
                      <a:pt x="116802" y="175117"/>
                      <a:pt x="103307" y="178322"/>
                      <a:pt x="89258" y="178322"/>
                    </a:cubicBezTo>
                    <a:close/>
                    <a:moveTo>
                      <a:pt x="89138" y="9760"/>
                    </a:moveTo>
                    <a:cubicBezTo>
                      <a:pt x="76655" y="9760"/>
                      <a:pt x="64631" y="12627"/>
                      <a:pt x="53425" y="18290"/>
                    </a:cubicBezTo>
                    <a:cubicBezTo>
                      <a:pt x="34509" y="27857"/>
                      <a:pt x="20436" y="44219"/>
                      <a:pt x="13809" y="64365"/>
                    </a:cubicBezTo>
                    <a:cubicBezTo>
                      <a:pt x="7182" y="84510"/>
                      <a:pt x="8797" y="106029"/>
                      <a:pt x="18363" y="124946"/>
                    </a:cubicBezTo>
                    <a:cubicBezTo>
                      <a:pt x="31954" y="151863"/>
                      <a:pt x="59112" y="168562"/>
                      <a:pt x="89282" y="168562"/>
                    </a:cubicBezTo>
                    <a:cubicBezTo>
                      <a:pt x="101765" y="168562"/>
                      <a:pt x="113790" y="165695"/>
                      <a:pt x="125019" y="160008"/>
                    </a:cubicBezTo>
                    <a:cubicBezTo>
                      <a:pt x="143936" y="150465"/>
                      <a:pt x="158009" y="134103"/>
                      <a:pt x="164635" y="113957"/>
                    </a:cubicBezTo>
                    <a:cubicBezTo>
                      <a:pt x="171262" y="93812"/>
                      <a:pt x="169648" y="72293"/>
                      <a:pt x="160081" y="53352"/>
                    </a:cubicBezTo>
                    <a:cubicBezTo>
                      <a:pt x="146490" y="26483"/>
                      <a:pt x="119308" y="9760"/>
                      <a:pt x="89138" y="9760"/>
                    </a:cubicBezTo>
                    <a:close/>
                  </a:path>
                </a:pathLst>
              </a:custGeom>
              <a:solidFill>
                <a:schemeClr val="accent1"/>
              </a:solidFill>
              <a:ln w="2405" cap="flat">
                <a:noFill/>
                <a:prstDash val="solid"/>
                <a:miter/>
              </a:ln>
            </p:spPr>
            <p:txBody>
              <a:bodyPr rtlCol="0" anchor="ctr"/>
              <a:lstStyle/>
              <a:p>
                <a:endParaRPr lang="en-GB" dirty="0"/>
              </a:p>
            </p:txBody>
          </p:sp>
          <p:sp>
            <p:nvSpPr>
              <p:cNvPr id="143" name="Freihandform: Form 472">
                <a:extLst>
                  <a:ext uri="{FF2B5EF4-FFF2-40B4-BE49-F238E27FC236}">
                    <a16:creationId xmlns:a16="http://schemas.microsoft.com/office/drawing/2014/main" id="{8B7C518D-1C66-4134-8030-5F9307902C27}"/>
                  </a:ext>
                </a:extLst>
              </p:cNvPr>
              <p:cNvSpPr/>
              <p:nvPr/>
            </p:nvSpPr>
            <p:spPr>
              <a:xfrm>
                <a:off x="1113690" y="4269002"/>
                <a:ext cx="179117" cy="179092"/>
              </a:xfrm>
              <a:custGeom>
                <a:avLst/>
                <a:gdLst>
                  <a:gd name="connsiteX0" fmla="*/ 89539 w 179117"/>
                  <a:gd name="connsiteY0" fmla="*/ 179093 h 179092"/>
                  <a:gd name="connsiteX1" fmla="*/ 54477 w 179117"/>
                  <a:gd name="connsiteY1" fmla="*/ 171912 h 179092"/>
                  <a:gd name="connsiteX2" fmla="*/ 6523 w 179117"/>
                  <a:gd name="connsiteY2" fmla="*/ 122970 h 179092"/>
                  <a:gd name="connsiteX3" fmla="*/ 7222 w 179117"/>
                  <a:gd name="connsiteY3" fmla="*/ 54460 h 179092"/>
                  <a:gd name="connsiteX4" fmla="*/ 89611 w 179117"/>
                  <a:gd name="connsiteY4" fmla="*/ 0 h 179092"/>
                  <a:gd name="connsiteX5" fmla="*/ 124649 w 179117"/>
                  <a:gd name="connsiteY5" fmla="*/ 7181 h 179092"/>
                  <a:gd name="connsiteX6" fmla="*/ 172603 w 179117"/>
                  <a:gd name="connsiteY6" fmla="*/ 56099 h 179092"/>
                  <a:gd name="connsiteX7" fmla="*/ 171904 w 179117"/>
                  <a:gd name="connsiteY7" fmla="*/ 124608 h 179092"/>
                  <a:gd name="connsiteX8" fmla="*/ 89539 w 179117"/>
                  <a:gd name="connsiteY8" fmla="*/ 179093 h 179092"/>
                  <a:gd name="connsiteX9" fmla="*/ 89635 w 179117"/>
                  <a:gd name="connsiteY9" fmla="*/ 9760 h 179092"/>
                  <a:gd name="connsiteX10" fmla="*/ 16234 w 179117"/>
                  <a:gd name="connsiteY10" fmla="*/ 58292 h 179092"/>
                  <a:gd name="connsiteX11" fmla="*/ 15608 w 179117"/>
                  <a:gd name="connsiteY11" fmla="*/ 119331 h 179092"/>
                  <a:gd name="connsiteX12" fmla="*/ 58333 w 179117"/>
                  <a:gd name="connsiteY12" fmla="*/ 162923 h 179092"/>
                  <a:gd name="connsiteX13" fmla="*/ 89563 w 179117"/>
                  <a:gd name="connsiteY13" fmla="*/ 169333 h 179092"/>
                  <a:gd name="connsiteX14" fmla="*/ 162988 w 179117"/>
                  <a:gd name="connsiteY14" fmla="*/ 120777 h 179092"/>
                  <a:gd name="connsiteX15" fmla="*/ 163615 w 179117"/>
                  <a:gd name="connsiteY15" fmla="*/ 59738 h 179092"/>
                  <a:gd name="connsiteX16" fmla="*/ 120890 w 179117"/>
                  <a:gd name="connsiteY16" fmla="*/ 16146 h 179092"/>
                  <a:gd name="connsiteX17" fmla="*/ 89635 w 179117"/>
                  <a:gd name="connsiteY17" fmla="*/ 9760 h 179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9117" h="179092">
                    <a:moveTo>
                      <a:pt x="89539" y="179093"/>
                    </a:moveTo>
                    <a:cubicBezTo>
                      <a:pt x="77466" y="179093"/>
                      <a:pt x="65683" y="176659"/>
                      <a:pt x="54477" y="171912"/>
                    </a:cubicBezTo>
                    <a:cubicBezTo>
                      <a:pt x="32476" y="162538"/>
                      <a:pt x="15463" y="145163"/>
                      <a:pt x="6523" y="122970"/>
                    </a:cubicBezTo>
                    <a:cubicBezTo>
                      <a:pt x="-2417" y="100776"/>
                      <a:pt x="-2152" y="76437"/>
                      <a:pt x="7222" y="54460"/>
                    </a:cubicBezTo>
                    <a:cubicBezTo>
                      <a:pt x="21319" y="21374"/>
                      <a:pt x="53658" y="0"/>
                      <a:pt x="89611" y="0"/>
                    </a:cubicBezTo>
                    <a:cubicBezTo>
                      <a:pt x="101684" y="0"/>
                      <a:pt x="113468" y="2410"/>
                      <a:pt x="124649" y="7181"/>
                    </a:cubicBezTo>
                    <a:cubicBezTo>
                      <a:pt x="146650" y="16555"/>
                      <a:pt x="163687" y="33929"/>
                      <a:pt x="172603" y="56099"/>
                    </a:cubicBezTo>
                    <a:cubicBezTo>
                      <a:pt x="181519" y="78269"/>
                      <a:pt x="181278" y="102607"/>
                      <a:pt x="171904" y="124608"/>
                    </a:cubicBezTo>
                    <a:cubicBezTo>
                      <a:pt x="157856" y="157718"/>
                      <a:pt x="125517" y="179093"/>
                      <a:pt x="89539" y="179093"/>
                    </a:cubicBezTo>
                    <a:close/>
                    <a:moveTo>
                      <a:pt x="89635" y="9760"/>
                    </a:moveTo>
                    <a:cubicBezTo>
                      <a:pt x="57610" y="9760"/>
                      <a:pt x="28789" y="28797"/>
                      <a:pt x="16234" y="58292"/>
                    </a:cubicBezTo>
                    <a:cubicBezTo>
                      <a:pt x="7873" y="77883"/>
                      <a:pt x="7656" y="99571"/>
                      <a:pt x="15608" y="119331"/>
                    </a:cubicBezTo>
                    <a:cubicBezTo>
                      <a:pt x="23560" y="139091"/>
                      <a:pt x="38742" y="154586"/>
                      <a:pt x="58333" y="162923"/>
                    </a:cubicBezTo>
                    <a:cubicBezTo>
                      <a:pt x="68309" y="167189"/>
                      <a:pt x="78816" y="169333"/>
                      <a:pt x="89563" y="169333"/>
                    </a:cubicBezTo>
                    <a:cubicBezTo>
                      <a:pt x="121613" y="169333"/>
                      <a:pt x="150434" y="150272"/>
                      <a:pt x="162988" y="120777"/>
                    </a:cubicBezTo>
                    <a:cubicBezTo>
                      <a:pt x="171350" y="101185"/>
                      <a:pt x="171567" y="79498"/>
                      <a:pt x="163615" y="59738"/>
                    </a:cubicBezTo>
                    <a:cubicBezTo>
                      <a:pt x="155663" y="39978"/>
                      <a:pt x="140481" y="24507"/>
                      <a:pt x="120890" y="16146"/>
                    </a:cubicBezTo>
                    <a:cubicBezTo>
                      <a:pt x="110890" y="11904"/>
                      <a:pt x="100383" y="9760"/>
                      <a:pt x="89635" y="9760"/>
                    </a:cubicBezTo>
                    <a:close/>
                  </a:path>
                </a:pathLst>
              </a:custGeom>
              <a:solidFill>
                <a:schemeClr val="accent1"/>
              </a:solidFill>
              <a:ln w="2405" cap="flat">
                <a:noFill/>
                <a:prstDash val="solid"/>
                <a:miter/>
              </a:ln>
            </p:spPr>
            <p:txBody>
              <a:bodyPr rtlCol="0" anchor="ctr"/>
              <a:lstStyle/>
              <a:p>
                <a:endParaRPr lang="en-GB" dirty="0"/>
              </a:p>
            </p:txBody>
          </p:sp>
        </p:grpSp>
      </p:grpSp>
      <p:grpSp>
        <p:nvGrpSpPr>
          <p:cNvPr id="27" name="Group 26">
            <a:extLst>
              <a:ext uri="{FF2B5EF4-FFF2-40B4-BE49-F238E27FC236}">
                <a16:creationId xmlns:a16="http://schemas.microsoft.com/office/drawing/2014/main" id="{500CC161-B3A5-4569-67EE-32EE407359BA}"/>
              </a:ext>
            </a:extLst>
          </p:cNvPr>
          <p:cNvGrpSpPr/>
          <p:nvPr/>
        </p:nvGrpSpPr>
        <p:grpSpPr>
          <a:xfrm>
            <a:off x="1636611" y="2391529"/>
            <a:ext cx="405746" cy="431998"/>
            <a:chOff x="1636611" y="2391529"/>
            <a:chExt cx="405746" cy="431998"/>
          </a:xfrm>
        </p:grpSpPr>
        <p:grpSp>
          <p:nvGrpSpPr>
            <p:cNvPr id="159" name="Group 158">
              <a:extLst>
                <a:ext uri="{FF2B5EF4-FFF2-40B4-BE49-F238E27FC236}">
                  <a16:creationId xmlns:a16="http://schemas.microsoft.com/office/drawing/2014/main" id="{CFF7A53E-794C-40B5-9945-F5C2CBF4C91F}"/>
                </a:ext>
              </a:extLst>
            </p:cNvPr>
            <p:cNvGrpSpPr/>
            <p:nvPr/>
          </p:nvGrpSpPr>
          <p:grpSpPr>
            <a:xfrm>
              <a:off x="1636611" y="2507857"/>
              <a:ext cx="405746" cy="315670"/>
              <a:chOff x="880549" y="4231704"/>
              <a:chExt cx="500424" cy="389329"/>
            </a:xfrm>
            <a:solidFill>
              <a:schemeClr val="tx2"/>
            </a:solidFill>
          </p:grpSpPr>
          <p:grpSp>
            <p:nvGrpSpPr>
              <p:cNvPr id="171" name="Grafik 15">
                <a:extLst>
                  <a:ext uri="{FF2B5EF4-FFF2-40B4-BE49-F238E27FC236}">
                    <a16:creationId xmlns:a16="http://schemas.microsoft.com/office/drawing/2014/main" id="{49475EA5-C530-4415-A007-99EE2C15A7FC}"/>
                  </a:ext>
                </a:extLst>
              </p:cNvPr>
              <p:cNvGrpSpPr/>
              <p:nvPr/>
            </p:nvGrpSpPr>
            <p:grpSpPr>
              <a:xfrm>
                <a:off x="880549" y="4231704"/>
                <a:ext cx="227723" cy="389329"/>
                <a:chOff x="880549" y="4231704"/>
                <a:chExt cx="227723" cy="389329"/>
              </a:xfrm>
              <a:grpFill/>
            </p:grpSpPr>
            <p:grpSp>
              <p:nvGrpSpPr>
                <p:cNvPr id="177" name="Grafik 15">
                  <a:extLst>
                    <a:ext uri="{FF2B5EF4-FFF2-40B4-BE49-F238E27FC236}">
                      <a16:creationId xmlns:a16="http://schemas.microsoft.com/office/drawing/2014/main" id="{BEEFC6E8-BF42-4C66-82EE-BD934EF01B3A}"/>
                    </a:ext>
                  </a:extLst>
                </p:cNvPr>
                <p:cNvGrpSpPr/>
                <p:nvPr/>
              </p:nvGrpSpPr>
              <p:grpSpPr>
                <a:xfrm>
                  <a:off x="880549" y="4231704"/>
                  <a:ext cx="226271" cy="346215"/>
                  <a:chOff x="880549" y="4231704"/>
                  <a:chExt cx="226271" cy="346215"/>
                </a:xfrm>
                <a:grpFill/>
              </p:grpSpPr>
              <p:sp>
                <p:nvSpPr>
                  <p:cNvPr id="179" name="Freihandform: Form 396">
                    <a:extLst>
                      <a:ext uri="{FF2B5EF4-FFF2-40B4-BE49-F238E27FC236}">
                        <a16:creationId xmlns:a16="http://schemas.microsoft.com/office/drawing/2014/main" id="{F387537B-8322-4C3D-902B-0DFA114ECDF4}"/>
                      </a:ext>
                    </a:extLst>
                  </p:cNvPr>
                  <p:cNvSpPr/>
                  <p:nvPr/>
                </p:nvSpPr>
                <p:spPr>
                  <a:xfrm>
                    <a:off x="880549" y="4231704"/>
                    <a:ext cx="131340" cy="346215"/>
                  </a:xfrm>
                  <a:custGeom>
                    <a:avLst/>
                    <a:gdLst>
                      <a:gd name="connsiteX0" fmla="*/ 126382 w 131340"/>
                      <a:gd name="connsiteY0" fmla="*/ 346215 h 346215"/>
                      <a:gd name="connsiteX1" fmla="*/ 121479 w 131340"/>
                      <a:gd name="connsiteY1" fmla="*/ 341392 h 346215"/>
                      <a:gd name="connsiteX2" fmla="*/ 121077 w 131340"/>
                      <a:gd name="connsiteY2" fmla="*/ 323653 h 346215"/>
                      <a:gd name="connsiteX3" fmla="*/ 9205 w 131340"/>
                      <a:gd name="connsiteY3" fmla="*/ 189488 h 346215"/>
                      <a:gd name="connsiteX4" fmla="*/ 871 w 131340"/>
                      <a:gd name="connsiteY4" fmla="*/ 101304 h 346215"/>
                      <a:gd name="connsiteX5" fmla="*/ 40475 w 131340"/>
                      <a:gd name="connsiteY5" fmla="*/ 4437 h 346215"/>
                      <a:gd name="connsiteX6" fmla="*/ 54972 w 131340"/>
                      <a:gd name="connsiteY6" fmla="*/ 1678 h 346215"/>
                      <a:gd name="connsiteX7" fmla="*/ 71049 w 131340"/>
                      <a:gd name="connsiteY7" fmla="*/ 48891 h 346215"/>
                      <a:gd name="connsiteX8" fmla="*/ 49238 w 131340"/>
                      <a:gd name="connsiteY8" fmla="*/ 111995 h 346215"/>
                      <a:gd name="connsiteX9" fmla="*/ 70594 w 131340"/>
                      <a:gd name="connsiteY9" fmla="*/ 171803 h 346215"/>
                      <a:gd name="connsiteX10" fmla="*/ 78820 w 131340"/>
                      <a:gd name="connsiteY10" fmla="*/ 185174 h 346215"/>
                      <a:gd name="connsiteX11" fmla="*/ 80588 w 131340"/>
                      <a:gd name="connsiteY11" fmla="*/ 187478 h 346215"/>
                      <a:gd name="connsiteX12" fmla="*/ 94790 w 131340"/>
                      <a:gd name="connsiteY12" fmla="*/ 201305 h 346215"/>
                      <a:gd name="connsiteX13" fmla="*/ 96987 w 131340"/>
                      <a:gd name="connsiteY13" fmla="*/ 207896 h 346215"/>
                      <a:gd name="connsiteX14" fmla="*/ 90396 w 131340"/>
                      <a:gd name="connsiteY14" fmla="*/ 210094 h 346215"/>
                      <a:gd name="connsiteX15" fmla="*/ 72844 w 131340"/>
                      <a:gd name="connsiteY15" fmla="*/ 193507 h 346215"/>
                      <a:gd name="connsiteX16" fmla="*/ 70701 w 131340"/>
                      <a:gd name="connsiteY16" fmla="*/ 190667 h 346215"/>
                      <a:gd name="connsiteX17" fmla="*/ 62233 w 131340"/>
                      <a:gd name="connsiteY17" fmla="*/ 176947 h 346215"/>
                      <a:gd name="connsiteX18" fmla="*/ 39404 w 131340"/>
                      <a:gd name="connsiteY18" fmla="*/ 111941 h 346215"/>
                      <a:gd name="connsiteX19" fmla="*/ 61939 w 131340"/>
                      <a:gd name="connsiteY19" fmla="*/ 45140 h 346215"/>
                      <a:gd name="connsiteX20" fmla="*/ 54945 w 131340"/>
                      <a:gd name="connsiteY20" fmla="*/ 14137 h 346215"/>
                      <a:gd name="connsiteX21" fmla="*/ 48702 w 131340"/>
                      <a:gd name="connsiteY21" fmla="*/ 9823 h 346215"/>
                      <a:gd name="connsiteX22" fmla="*/ 48166 w 131340"/>
                      <a:gd name="connsiteY22" fmla="*/ 10520 h 346215"/>
                      <a:gd name="connsiteX23" fmla="*/ 10438 w 131340"/>
                      <a:gd name="connsiteY23" fmla="*/ 103608 h 346215"/>
                      <a:gd name="connsiteX24" fmla="*/ 18825 w 131340"/>
                      <a:gd name="connsiteY24" fmla="*/ 187264 h 346215"/>
                      <a:gd name="connsiteX25" fmla="*/ 128901 w 131340"/>
                      <a:gd name="connsiteY25" fmla="*/ 317169 h 346215"/>
                      <a:gd name="connsiteX26" fmla="*/ 130884 w 131340"/>
                      <a:gd name="connsiteY26" fmla="*/ 321001 h 346215"/>
                      <a:gd name="connsiteX27" fmla="*/ 131339 w 131340"/>
                      <a:gd name="connsiteY27" fmla="*/ 341124 h 346215"/>
                      <a:gd name="connsiteX28" fmla="*/ 126516 w 131340"/>
                      <a:gd name="connsiteY28" fmla="*/ 346162 h 346215"/>
                      <a:gd name="connsiteX29" fmla="*/ 126382 w 131340"/>
                      <a:gd name="connsiteY29" fmla="*/ 346215 h 34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340" h="346215">
                        <a:moveTo>
                          <a:pt x="126382" y="346215"/>
                        </a:moveTo>
                        <a:cubicBezTo>
                          <a:pt x="123729" y="346215"/>
                          <a:pt x="121532" y="344072"/>
                          <a:pt x="121479" y="341392"/>
                        </a:cubicBezTo>
                        <a:lnTo>
                          <a:pt x="121077" y="323653"/>
                        </a:lnTo>
                        <a:cubicBezTo>
                          <a:pt x="106687" y="312694"/>
                          <a:pt x="21692" y="245893"/>
                          <a:pt x="9205" y="189488"/>
                        </a:cubicBezTo>
                        <a:cubicBezTo>
                          <a:pt x="3765" y="165586"/>
                          <a:pt x="-2290" y="113978"/>
                          <a:pt x="871" y="101304"/>
                        </a:cubicBezTo>
                        <a:cubicBezTo>
                          <a:pt x="1032" y="100607"/>
                          <a:pt x="18235" y="32224"/>
                          <a:pt x="40475" y="4437"/>
                        </a:cubicBezTo>
                        <a:cubicBezTo>
                          <a:pt x="43476" y="-145"/>
                          <a:pt x="49130" y="-1377"/>
                          <a:pt x="54972" y="1678"/>
                        </a:cubicBezTo>
                        <a:cubicBezTo>
                          <a:pt x="66574" y="7707"/>
                          <a:pt x="78418" y="30188"/>
                          <a:pt x="71049" y="48891"/>
                        </a:cubicBezTo>
                        <a:cubicBezTo>
                          <a:pt x="65878" y="61351"/>
                          <a:pt x="49318" y="106046"/>
                          <a:pt x="49238" y="111995"/>
                        </a:cubicBezTo>
                        <a:cubicBezTo>
                          <a:pt x="49238" y="137290"/>
                          <a:pt x="54195" y="145302"/>
                          <a:pt x="70594" y="171803"/>
                        </a:cubicBezTo>
                        <a:cubicBezTo>
                          <a:pt x="73086" y="175822"/>
                          <a:pt x="75819" y="180244"/>
                          <a:pt x="78820" y="185174"/>
                        </a:cubicBezTo>
                        <a:lnTo>
                          <a:pt x="80588" y="187478"/>
                        </a:lnTo>
                        <a:cubicBezTo>
                          <a:pt x="84045" y="191739"/>
                          <a:pt x="91066" y="199429"/>
                          <a:pt x="94790" y="201305"/>
                        </a:cubicBezTo>
                        <a:cubicBezTo>
                          <a:pt x="97228" y="202511"/>
                          <a:pt x="98193" y="205485"/>
                          <a:pt x="96987" y="207896"/>
                        </a:cubicBezTo>
                        <a:cubicBezTo>
                          <a:pt x="95782" y="210335"/>
                          <a:pt x="92834" y="211326"/>
                          <a:pt x="90396" y="210094"/>
                        </a:cubicBezTo>
                        <a:cubicBezTo>
                          <a:pt x="83536" y="206664"/>
                          <a:pt x="73916" y="194847"/>
                          <a:pt x="72844" y="193507"/>
                        </a:cubicBezTo>
                        <a:lnTo>
                          <a:pt x="70701" y="190667"/>
                        </a:lnTo>
                        <a:cubicBezTo>
                          <a:pt x="67432" y="185334"/>
                          <a:pt x="64725" y="180940"/>
                          <a:pt x="62233" y="176947"/>
                        </a:cubicBezTo>
                        <a:cubicBezTo>
                          <a:pt x="45620" y="150098"/>
                          <a:pt x="39404" y="140050"/>
                          <a:pt x="39404" y="111941"/>
                        </a:cubicBezTo>
                        <a:cubicBezTo>
                          <a:pt x="39404" y="102268"/>
                          <a:pt x="61698" y="45703"/>
                          <a:pt x="61939" y="45140"/>
                        </a:cubicBezTo>
                        <a:cubicBezTo>
                          <a:pt x="66065" y="34663"/>
                          <a:pt x="61564" y="21587"/>
                          <a:pt x="54945" y="14137"/>
                        </a:cubicBezTo>
                        <a:cubicBezTo>
                          <a:pt x="51703" y="10466"/>
                          <a:pt x="49211" y="9609"/>
                          <a:pt x="48702" y="9823"/>
                        </a:cubicBezTo>
                        <a:cubicBezTo>
                          <a:pt x="48621" y="9957"/>
                          <a:pt x="48246" y="10413"/>
                          <a:pt x="48166" y="10520"/>
                        </a:cubicBezTo>
                        <a:cubicBezTo>
                          <a:pt x="30829" y="32198"/>
                          <a:pt x="15046" y="85092"/>
                          <a:pt x="10438" y="103608"/>
                        </a:cubicBezTo>
                        <a:cubicBezTo>
                          <a:pt x="8026" y="113201"/>
                          <a:pt x="12822" y="160870"/>
                          <a:pt x="18825" y="187264"/>
                        </a:cubicBezTo>
                        <a:cubicBezTo>
                          <a:pt x="31418" y="244124"/>
                          <a:pt x="127936" y="316446"/>
                          <a:pt x="128901" y="317169"/>
                        </a:cubicBezTo>
                        <a:cubicBezTo>
                          <a:pt x="130107" y="318080"/>
                          <a:pt x="130857" y="319500"/>
                          <a:pt x="130884" y="321001"/>
                        </a:cubicBezTo>
                        <a:lnTo>
                          <a:pt x="131339" y="341124"/>
                        </a:lnTo>
                        <a:cubicBezTo>
                          <a:pt x="131393" y="343831"/>
                          <a:pt x="129249" y="346082"/>
                          <a:pt x="126516" y="346162"/>
                        </a:cubicBezTo>
                        <a:cubicBezTo>
                          <a:pt x="126463" y="346215"/>
                          <a:pt x="126436" y="346215"/>
                          <a:pt x="126382" y="346215"/>
                        </a:cubicBezTo>
                        <a:close/>
                      </a:path>
                    </a:pathLst>
                  </a:custGeom>
                  <a:grpFill/>
                  <a:ln w="2673" cap="flat">
                    <a:noFill/>
                    <a:prstDash val="solid"/>
                    <a:miter/>
                  </a:ln>
                </p:spPr>
                <p:txBody>
                  <a:bodyPr rtlCol="0" anchor="ctr"/>
                  <a:lstStyle/>
                  <a:p>
                    <a:endParaRPr lang="en-GB" dirty="0"/>
                  </a:p>
                </p:txBody>
              </p:sp>
              <p:sp>
                <p:nvSpPr>
                  <p:cNvPr id="180" name="Freihandform: Form 397">
                    <a:extLst>
                      <a:ext uri="{FF2B5EF4-FFF2-40B4-BE49-F238E27FC236}">
                        <a16:creationId xmlns:a16="http://schemas.microsoft.com/office/drawing/2014/main" id="{977DC305-09E7-490D-B380-888B15F12AB4}"/>
                      </a:ext>
                    </a:extLst>
                  </p:cNvPr>
                  <p:cNvSpPr/>
                  <p:nvPr/>
                </p:nvSpPr>
                <p:spPr>
                  <a:xfrm>
                    <a:off x="936922" y="4353356"/>
                    <a:ext cx="169899" cy="224134"/>
                  </a:xfrm>
                  <a:custGeom>
                    <a:avLst/>
                    <a:gdLst>
                      <a:gd name="connsiteX0" fmla="*/ 153237 w 169899"/>
                      <a:gd name="connsiteY0" fmla="*/ 224135 h 224134"/>
                      <a:gd name="connsiteX1" fmla="*/ 153103 w 169899"/>
                      <a:gd name="connsiteY1" fmla="*/ 224135 h 224134"/>
                      <a:gd name="connsiteX2" fmla="*/ 148333 w 169899"/>
                      <a:gd name="connsiteY2" fmla="*/ 219071 h 224134"/>
                      <a:gd name="connsiteX3" fmla="*/ 148789 w 169899"/>
                      <a:gd name="connsiteY3" fmla="*/ 202109 h 224134"/>
                      <a:gd name="connsiteX4" fmla="*/ 149405 w 169899"/>
                      <a:gd name="connsiteY4" fmla="*/ 199858 h 224134"/>
                      <a:gd name="connsiteX5" fmla="*/ 133837 w 169899"/>
                      <a:gd name="connsiteY5" fmla="*/ 109557 h 224134"/>
                      <a:gd name="connsiteX6" fmla="*/ 103960 w 169899"/>
                      <a:gd name="connsiteY6" fmla="*/ 93560 h 224134"/>
                      <a:gd name="connsiteX7" fmla="*/ 71484 w 169899"/>
                      <a:gd name="connsiteY7" fmla="*/ 66684 h 224134"/>
                      <a:gd name="connsiteX8" fmla="*/ 56558 w 169899"/>
                      <a:gd name="connsiteY8" fmla="*/ 47016 h 224134"/>
                      <a:gd name="connsiteX9" fmla="*/ 17035 w 169899"/>
                      <a:gd name="connsiteY9" fmla="*/ 10949 h 224134"/>
                      <a:gd name="connsiteX10" fmla="*/ 21215 w 169899"/>
                      <a:gd name="connsiteY10" fmla="*/ 60923 h 224134"/>
                      <a:gd name="connsiteX11" fmla="*/ 21805 w 169899"/>
                      <a:gd name="connsiteY11" fmla="*/ 62128 h 224134"/>
                      <a:gd name="connsiteX12" fmla="*/ 19473 w 169899"/>
                      <a:gd name="connsiteY12" fmla="*/ 68693 h 224134"/>
                      <a:gd name="connsiteX13" fmla="*/ 12908 w 169899"/>
                      <a:gd name="connsiteY13" fmla="*/ 66362 h 224134"/>
                      <a:gd name="connsiteX14" fmla="*/ 12346 w 169899"/>
                      <a:gd name="connsiteY14" fmla="*/ 65156 h 224134"/>
                      <a:gd name="connsiteX15" fmla="*/ 12024 w 169899"/>
                      <a:gd name="connsiteY15" fmla="*/ 2508 h 224134"/>
                      <a:gd name="connsiteX16" fmla="*/ 64490 w 169899"/>
                      <a:gd name="connsiteY16" fmla="*/ 41174 h 224134"/>
                      <a:gd name="connsiteX17" fmla="*/ 79308 w 169899"/>
                      <a:gd name="connsiteY17" fmla="*/ 60708 h 224134"/>
                      <a:gd name="connsiteX18" fmla="*/ 108140 w 169899"/>
                      <a:gd name="connsiteY18" fmla="*/ 84637 h 224134"/>
                      <a:gd name="connsiteX19" fmla="*/ 139116 w 169899"/>
                      <a:gd name="connsiteY19" fmla="*/ 101250 h 224134"/>
                      <a:gd name="connsiteX20" fmla="*/ 158623 w 169899"/>
                      <a:gd name="connsiteY20" fmla="*/ 203475 h 224134"/>
                      <a:gd name="connsiteX21" fmla="*/ 158194 w 169899"/>
                      <a:gd name="connsiteY21" fmla="*/ 219312 h 224134"/>
                      <a:gd name="connsiteX22" fmla="*/ 153237 w 169899"/>
                      <a:gd name="connsiteY22" fmla="*/ 224135 h 22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899" h="224134">
                        <a:moveTo>
                          <a:pt x="153237" y="224135"/>
                        </a:moveTo>
                        <a:cubicBezTo>
                          <a:pt x="153183" y="224135"/>
                          <a:pt x="153157" y="224135"/>
                          <a:pt x="153103" y="224135"/>
                        </a:cubicBezTo>
                        <a:cubicBezTo>
                          <a:pt x="150397" y="224055"/>
                          <a:pt x="148253" y="221803"/>
                          <a:pt x="148333" y="219071"/>
                        </a:cubicBezTo>
                        <a:lnTo>
                          <a:pt x="148789" y="202109"/>
                        </a:lnTo>
                        <a:cubicBezTo>
                          <a:pt x="148816" y="201332"/>
                          <a:pt x="149030" y="200555"/>
                          <a:pt x="149405" y="199858"/>
                        </a:cubicBezTo>
                        <a:cubicBezTo>
                          <a:pt x="150718" y="197446"/>
                          <a:pt x="181346" y="140559"/>
                          <a:pt x="133837" y="109557"/>
                        </a:cubicBezTo>
                        <a:cubicBezTo>
                          <a:pt x="120278" y="101170"/>
                          <a:pt x="111248" y="96963"/>
                          <a:pt x="103960" y="93560"/>
                        </a:cubicBezTo>
                        <a:cubicBezTo>
                          <a:pt x="91259" y="87638"/>
                          <a:pt x="84265" y="84369"/>
                          <a:pt x="71484" y="66684"/>
                        </a:cubicBezTo>
                        <a:cubicBezTo>
                          <a:pt x="66553" y="60574"/>
                          <a:pt x="61462" y="53688"/>
                          <a:pt x="56558" y="47016"/>
                        </a:cubicBezTo>
                        <a:cubicBezTo>
                          <a:pt x="42169" y="27482"/>
                          <a:pt x="25877" y="5349"/>
                          <a:pt x="17035" y="10949"/>
                        </a:cubicBezTo>
                        <a:cubicBezTo>
                          <a:pt x="1520" y="19604"/>
                          <a:pt x="15320" y="48543"/>
                          <a:pt x="21215" y="60923"/>
                        </a:cubicBezTo>
                        <a:lnTo>
                          <a:pt x="21805" y="62128"/>
                        </a:lnTo>
                        <a:cubicBezTo>
                          <a:pt x="22957" y="64594"/>
                          <a:pt x="21912" y="67514"/>
                          <a:pt x="19473" y="68693"/>
                        </a:cubicBezTo>
                        <a:cubicBezTo>
                          <a:pt x="17008" y="69846"/>
                          <a:pt x="14087" y="68801"/>
                          <a:pt x="12908" y="66362"/>
                        </a:cubicBezTo>
                        <a:lnTo>
                          <a:pt x="12346" y="65156"/>
                        </a:lnTo>
                        <a:cubicBezTo>
                          <a:pt x="5272" y="50285"/>
                          <a:pt x="-11315" y="15477"/>
                          <a:pt x="12024" y="2508"/>
                        </a:cubicBezTo>
                        <a:cubicBezTo>
                          <a:pt x="28316" y="-7915"/>
                          <a:pt x="45894" y="15933"/>
                          <a:pt x="64490" y="41174"/>
                        </a:cubicBezTo>
                        <a:cubicBezTo>
                          <a:pt x="69340" y="47739"/>
                          <a:pt x="74351" y="54545"/>
                          <a:pt x="79308" y="60708"/>
                        </a:cubicBezTo>
                        <a:cubicBezTo>
                          <a:pt x="90750" y="76518"/>
                          <a:pt x="95841" y="78903"/>
                          <a:pt x="108140" y="84637"/>
                        </a:cubicBezTo>
                        <a:cubicBezTo>
                          <a:pt x="115241" y="87959"/>
                          <a:pt x="124968" y="92488"/>
                          <a:pt x="139116" y="101250"/>
                        </a:cubicBezTo>
                        <a:cubicBezTo>
                          <a:pt x="190456" y="134745"/>
                          <a:pt x="163098" y="194526"/>
                          <a:pt x="158623" y="203475"/>
                        </a:cubicBezTo>
                        <a:lnTo>
                          <a:pt x="158194" y="219312"/>
                        </a:lnTo>
                        <a:cubicBezTo>
                          <a:pt x="158087" y="222018"/>
                          <a:pt x="155917" y="224135"/>
                          <a:pt x="153237" y="224135"/>
                        </a:cubicBezTo>
                        <a:close/>
                      </a:path>
                    </a:pathLst>
                  </a:custGeom>
                  <a:grpFill/>
                  <a:ln w="2673" cap="flat">
                    <a:noFill/>
                    <a:prstDash val="solid"/>
                    <a:miter/>
                  </a:ln>
                </p:spPr>
                <p:txBody>
                  <a:bodyPr rtlCol="0" anchor="ctr"/>
                  <a:lstStyle/>
                  <a:p>
                    <a:endParaRPr lang="en-GB" dirty="0"/>
                  </a:p>
                </p:txBody>
              </p:sp>
            </p:grpSp>
            <p:sp>
              <p:nvSpPr>
                <p:cNvPr id="178" name="Freihandform: Form 398">
                  <a:extLst>
                    <a:ext uri="{FF2B5EF4-FFF2-40B4-BE49-F238E27FC236}">
                      <a16:creationId xmlns:a16="http://schemas.microsoft.com/office/drawing/2014/main" id="{2B9A57A1-8482-4008-9058-7C85EB02A250}"/>
                    </a:ext>
                  </a:extLst>
                </p:cNvPr>
                <p:cNvSpPr/>
                <p:nvPr/>
              </p:nvSpPr>
              <p:spPr>
                <a:xfrm>
                  <a:off x="986058" y="4569666"/>
                  <a:ext cx="122214" cy="51366"/>
                </a:xfrm>
                <a:custGeom>
                  <a:avLst/>
                  <a:gdLst>
                    <a:gd name="connsiteX0" fmla="*/ 117284 w 122214"/>
                    <a:gd name="connsiteY0" fmla="*/ 51367 h 51366"/>
                    <a:gd name="connsiteX1" fmla="*/ 112354 w 122214"/>
                    <a:gd name="connsiteY1" fmla="*/ 46437 h 51366"/>
                    <a:gd name="connsiteX2" fmla="*/ 112354 w 122214"/>
                    <a:gd name="connsiteY2" fmla="*/ 9861 h 51366"/>
                    <a:gd name="connsiteX3" fmla="*/ 9861 w 122214"/>
                    <a:gd name="connsiteY3" fmla="*/ 9861 h 51366"/>
                    <a:gd name="connsiteX4" fmla="*/ 9861 w 122214"/>
                    <a:gd name="connsiteY4" fmla="*/ 46437 h 51366"/>
                    <a:gd name="connsiteX5" fmla="*/ 4930 w 122214"/>
                    <a:gd name="connsiteY5" fmla="*/ 51367 h 51366"/>
                    <a:gd name="connsiteX6" fmla="*/ 0 w 122214"/>
                    <a:gd name="connsiteY6" fmla="*/ 46437 h 51366"/>
                    <a:gd name="connsiteX7" fmla="*/ 0 w 122214"/>
                    <a:gd name="connsiteY7" fmla="*/ 4930 h 51366"/>
                    <a:gd name="connsiteX8" fmla="*/ 4930 w 122214"/>
                    <a:gd name="connsiteY8" fmla="*/ 0 h 51366"/>
                    <a:gd name="connsiteX9" fmla="*/ 117284 w 122214"/>
                    <a:gd name="connsiteY9" fmla="*/ 0 h 51366"/>
                    <a:gd name="connsiteX10" fmla="*/ 122215 w 122214"/>
                    <a:gd name="connsiteY10" fmla="*/ 4930 h 51366"/>
                    <a:gd name="connsiteX11" fmla="*/ 122215 w 122214"/>
                    <a:gd name="connsiteY11" fmla="*/ 46437 h 51366"/>
                    <a:gd name="connsiteX12" fmla="*/ 117284 w 122214"/>
                    <a:gd name="connsiteY12" fmla="*/ 51367 h 51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214" h="51366">
                      <a:moveTo>
                        <a:pt x="117284" y="51367"/>
                      </a:moveTo>
                      <a:cubicBezTo>
                        <a:pt x="114578" y="51367"/>
                        <a:pt x="112354" y="49170"/>
                        <a:pt x="112354" y="46437"/>
                      </a:cubicBezTo>
                      <a:lnTo>
                        <a:pt x="112354" y="9861"/>
                      </a:lnTo>
                      <a:lnTo>
                        <a:pt x="9861" y="9861"/>
                      </a:lnTo>
                      <a:lnTo>
                        <a:pt x="9861" y="46437"/>
                      </a:lnTo>
                      <a:cubicBezTo>
                        <a:pt x="9861" y="49143"/>
                        <a:pt x="7664" y="51367"/>
                        <a:pt x="4930" y="51367"/>
                      </a:cubicBezTo>
                      <a:cubicBezTo>
                        <a:pt x="2224" y="51367"/>
                        <a:pt x="0" y="49170"/>
                        <a:pt x="0" y="46437"/>
                      </a:cubicBezTo>
                      <a:lnTo>
                        <a:pt x="0" y="4930"/>
                      </a:lnTo>
                      <a:cubicBezTo>
                        <a:pt x="0" y="2224"/>
                        <a:pt x="2197" y="0"/>
                        <a:pt x="4930" y="0"/>
                      </a:cubicBezTo>
                      <a:lnTo>
                        <a:pt x="117284" y="0"/>
                      </a:lnTo>
                      <a:cubicBezTo>
                        <a:pt x="119991" y="0"/>
                        <a:pt x="122215" y="2197"/>
                        <a:pt x="122215" y="4930"/>
                      </a:cubicBezTo>
                      <a:lnTo>
                        <a:pt x="122215" y="46437"/>
                      </a:lnTo>
                      <a:cubicBezTo>
                        <a:pt x="122188" y="49170"/>
                        <a:pt x="119991" y="51367"/>
                        <a:pt x="117284" y="51367"/>
                      </a:cubicBezTo>
                      <a:close/>
                    </a:path>
                  </a:pathLst>
                </a:custGeom>
                <a:grpFill/>
                <a:ln w="2673" cap="flat">
                  <a:noFill/>
                  <a:prstDash val="solid"/>
                  <a:miter/>
                </a:ln>
              </p:spPr>
              <p:txBody>
                <a:bodyPr rtlCol="0" anchor="ctr"/>
                <a:lstStyle/>
                <a:p>
                  <a:endParaRPr lang="en-GB" dirty="0"/>
                </a:p>
              </p:txBody>
            </p:sp>
          </p:grpSp>
          <p:grpSp>
            <p:nvGrpSpPr>
              <p:cNvPr id="172" name="Grafik 15">
                <a:extLst>
                  <a:ext uri="{FF2B5EF4-FFF2-40B4-BE49-F238E27FC236}">
                    <a16:creationId xmlns:a16="http://schemas.microsoft.com/office/drawing/2014/main" id="{5C773884-C9F8-4CD2-9F7B-E316CBBF176A}"/>
                  </a:ext>
                </a:extLst>
              </p:cNvPr>
              <p:cNvGrpSpPr/>
              <p:nvPr/>
            </p:nvGrpSpPr>
            <p:grpSpPr>
              <a:xfrm>
                <a:off x="1153236" y="4231708"/>
                <a:ext cx="227737" cy="389325"/>
                <a:chOff x="1153236" y="4231708"/>
                <a:chExt cx="227737" cy="389325"/>
              </a:xfrm>
              <a:grpFill/>
            </p:grpSpPr>
            <p:grpSp>
              <p:nvGrpSpPr>
                <p:cNvPr id="173" name="Grafik 15">
                  <a:extLst>
                    <a:ext uri="{FF2B5EF4-FFF2-40B4-BE49-F238E27FC236}">
                      <a16:creationId xmlns:a16="http://schemas.microsoft.com/office/drawing/2014/main" id="{71B894A0-3319-4197-841E-F12402B6ACC0}"/>
                    </a:ext>
                  </a:extLst>
                </p:cNvPr>
                <p:cNvGrpSpPr/>
                <p:nvPr/>
              </p:nvGrpSpPr>
              <p:grpSpPr>
                <a:xfrm>
                  <a:off x="1154689" y="4231708"/>
                  <a:ext cx="226283" cy="346211"/>
                  <a:chOff x="1154689" y="4231708"/>
                  <a:chExt cx="226283" cy="346211"/>
                </a:xfrm>
                <a:grpFill/>
              </p:grpSpPr>
              <p:sp>
                <p:nvSpPr>
                  <p:cNvPr id="175" name="Freihandform: Form 401">
                    <a:extLst>
                      <a:ext uri="{FF2B5EF4-FFF2-40B4-BE49-F238E27FC236}">
                        <a16:creationId xmlns:a16="http://schemas.microsoft.com/office/drawing/2014/main" id="{30F8C2DC-5A20-499F-A619-062BBC1D4A07}"/>
                      </a:ext>
                    </a:extLst>
                  </p:cNvPr>
                  <p:cNvSpPr/>
                  <p:nvPr/>
                </p:nvSpPr>
                <p:spPr>
                  <a:xfrm>
                    <a:off x="1249645" y="4231708"/>
                    <a:ext cx="131327" cy="346211"/>
                  </a:xfrm>
                  <a:custGeom>
                    <a:avLst/>
                    <a:gdLst>
                      <a:gd name="connsiteX0" fmla="*/ 4931 w 131327"/>
                      <a:gd name="connsiteY0" fmla="*/ 346212 h 346211"/>
                      <a:gd name="connsiteX1" fmla="*/ 4824 w 131327"/>
                      <a:gd name="connsiteY1" fmla="*/ 346212 h 346211"/>
                      <a:gd name="connsiteX2" fmla="*/ 1 w 131327"/>
                      <a:gd name="connsiteY2" fmla="*/ 341174 h 346211"/>
                      <a:gd name="connsiteX3" fmla="*/ 456 w 131327"/>
                      <a:gd name="connsiteY3" fmla="*/ 321051 h 346211"/>
                      <a:gd name="connsiteX4" fmla="*/ 2439 w 131327"/>
                      <a:gd name="connsiteY4" fmla="*/ 317219 h 346211"/>
                      <a:gd name="connsiteX5" fmla="*/ 112516 w 131327"/>
                      <a:gd name="connsiteY5" fmla="*/ 187340 h 346211"/>
                      <a:gd name="connsiteX6" fmla="*/ 120930 w 131327"/>
                      <a:gd name="connsiteY6" fmla="*/ 103658 h 346211"/>
                      <a:gd name="connsiteX7" fmla="*/ 83175 w 131327"/>
                      <a:gd name="connsiteY7" fmla="*/ 10570 h 346211"/>
                      <a:gd name="connsiteX8" fmla="*/ 82612 w 131327"/>
                      <a:gd name="connsiteY8" fmla="*/ 9846 h 346211"/>
                      <a:gd name="connsiteX9" fmla="*/ 76422 w 131327"/>
                      <a:gd name="connsiteY9" fmla="*/ 14107 h 346211"/>
                      <a:gd name="connsiteX10" fmla="*/ 69428 w 131327"/>
                      <a:gd name="connsiteY10" fmla="*/ 45243 h 346211"/>
                      <a:gd name="connsiteX11" fmla="*/ 91937 w 131327"/>
                      <a:gd name="connsiteY11" fmla="*/ 111938 h 346211"/>
                      <a:gd name="connsiteX12" fmla="*/ 69107 w 131327"/>
                      <a:gd name="connsiteY12" fmla="*/ 176917 h 346211"/>
                      <a:gd name="connsiteX13" fmla="*/ 60907 w 131327"/>
                      <a:gd name="connsiteY13" fmla="*/ 190261 h 346211"/>
                      <a:gd name="connsiteX14" fmla="*/ 58603 w 131327"/>
                      <a:gd name="connsiteY14" fmla="*/ 193369 h 346211"/>
                      <a:gd name="connsiteX15" fmla="*/ 40918 w 131327"/>
                      <a:gd name="connsiteY15" fmla="*/ 210090 h 346211"/>
                      <a:gd name="connsiteX16" fmla="*/ 34326 w 131327"/>
                      <a:gd name="connsiteY16" fmla="*/ 207893 h 346211"/>
                      <a:gd name="connsiteX17" fmla="*/ 36523 w 131327"/>
                      <a:gd name="connsiteY17" fmla="*/ 201301 h 346211"/>
                      <a:gd name="connsiteX18" fmla="*/ 50832 w 131327"/>
                      <a:gd name="connsiteY18" fmla="*/ 187340 h 346211"/>
                      <a:gd name="connsiteX19" fmla="*/ 52762 w 131327"/>
                      <a:gd name="connsiteY19" fmla="*/ 184768 h 346211"/>
                      <a:gd name="connsiteX20" fmla="*/ 60720 w 131327"/>
                      <a:gd name="connsiteY20" fmla="*/ 171772 h 346211"/>
                      <a:gd name="connsiteX21" fmla="*/ 82076 w 131327"/>
                      <a:gd name="connsiteY21" fmla="*/ 111964 h 346211"/>
                      <a:gd name="connsiteX22" fmla="*/ 60291 w 131327"/>
                      <a:gd name="connsiteY22" fmla="*/ 48968 h 346211"/>
                      <a:gd name="connsiteX23" fmla="*/ 76342 w 131327"/>
                      <a:gd name="connsiteY23" fmla="*/ 1647 h 346211"/>
                      <a:gd name="connsiteX24" fmla="*/ 91106 w 131327"/>
                      <a:gd name="connsiteY24" fmla="*/ 4782 h 346211"/>
                      <a:gd name="connsiteX25" fmla="*/ 130469 w 131327"/>
                      <a:gd name="connsiteY25" fmla="*/ 101273 h 346211"/>
                      <a:gd name="connsiteX26" fmla="*/ 122109 w 131327"/>
                      <a:gd name="connsiteY26" fmla="*/ 189484 h 346211"/>
                      <a:gd name="connsiteX27" fmla="*/ 10237 w 131327"/>
                      <a:gd name="connsiteY27" fmla="*/ 323650 h 346211"/>
                      <a:gd name="connsiteX28" fmla="*/ 9835 w 131327"/>
                      <a:gd name="connsiteY28" fmla="*/ 341389 h 346211"/>
                      <a:gd name="connsiteX29" fmla="*/ 4931 w 131327"/>
                      <a:gd name="connsiteY29" fmla="*/ 346212 h 3462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31327" h="346211">
                        <a:moveTo>
                          <a:pt x="4931" y="346212"/>
                        </a:moveTo>
                        <a:cubicBezTo>
                          <a:pt x="4905" y="346212"/>
                          <a:pt x="4851" y="346212"/>
                          <a:pt x="4824" y="346212"/>
                        </a:cubicBezTo>
                        <a:cubicBezTo>
                          <a:pt x="2118" y="346158"/>
                          <a:pt x="-53" y="343907"/>
                          <a:pt x="1" y="341174"/>
                        </a:cubicBezTo>
                        <a:lnTo>
                          <a:pt x="456" y="321051"/>
                        </a:lnTo>
                        <a:cubicBezTo>
                          <a:pt x="483" y="319523"/>
                          <a:pt x="1234" y="318130"/>
                          <a:pt x="2439" y="317219"/>
                        </a:cubicBezTo>
                        <a:cubicBezTo>
                          <a:pt x="3404" y="316495"/>
                          <a:pt x="99949" y="244147"/>
                          <a:pt x="112516" y="187340"/>
                        </a:cubicBezTo>
                        <a:cubicBezTo>
                          <a:pt x="118518" y="160947"/>
                          <a:pt x="123314" y="113251"/>
                          <a:pt x="120930" y="103658"/>
                        </a:cubicBezTo>
                        <a:cubicBezTo>
                          <a:pt x="120769" y="103015"/>
                          <a:pt x="103834" y="36374"/>
                          <a:pt x="83175" y="10570"/>
                        </a:cubicBezTo>
                        <a:lnTo>
                          <a:pt x="82612" y="9846"/>
                        </a:lnTo>
                        <a:cubicBezTo>
                          <a:pt x="82130" y="9659"/>
                          <a:pt x="79664" y="10463"/>
                          <a:pt x="76422" y="14107"/>
                        </a:cubicBezTo>
                        <a:cubicBezTo>
                          <a:pt x="69804" y="21583"/>
                          <a:pt x="65275" y="34659"/>
                          <a:pt x="69428" y="45243"/>
                        </a:cubicBezTo>
                        <a:cubicBezTo>
                          <a:pt x="69616" y="45699"/>
                          <a:pt x="91937" y="102130"/>
                          <a:pt x="91937" y="111938"/>
                        </a:cubicBezTo>
                        <a:cubicBezTo>
                          <a:pt x="91937" y="140046"/>
                          <a:pt x="85720" y="150095"/>
                          <a:pt x="69107" y="176917"/>
                        </a:cubicBezTo>
                        <a:cubicBezTo>
                          <a:pt x="66642" y="180910"/>
                          <a:pt x="63908" y="185331"/>
                          <a:pt x="60907" y="190261"/>
                        </a:cubicBezTo>
                        <a:lnTo>
                          <a:pt x="58603" y="193369"/>
                        </a:lnTo>
                        <a:cubicBezTo>
                          <a:pt x="57424" y="194843"/>
                          <a:pt x="47804" y="206633"/>
                          <a:pt x="40918" y="210090"/>
                        </a:cubicBezTo>
                        <a:cubicBezTo>
                          <a:pt x="38506" y="211296"/>
                          <a:pt x="35532" y="210304"/>
                          <a:pt x="34326" y="207893"/>
                        </a:cubicBezTo>
                        <a:cubicBezTo>
                          <a:pt x="33120" y="205454"/>
                          <a:pt x="34112" y="202507"/>
                          <a:pt x="36523" y="201301"/>
                        </a:cubicBezTo>
                        <a:cubicBezTo>
                          <a:pt x="40275" y="199425"/>
                          <a:pt x="47295" y="191762"/>
                          <a:pt x="50832" y="187340"/>
                        </a:cubicBezTo>
                        <a:lnTo>
                          <a:pt x="52762" y="184768"/>
                        </a:lnTo>
                        <a:cubicBezTo>
                          <a:pt x="55495" y="180240"/>
                          <a:pt x="58228" y="175792"/>
                          <a:pt x="60720" y="171772"/>
                        </a:cubicBezTo>
                        <a:cubicBezTo>
                          <a:pt x="77119" y="145271"/>
                          <a:pt x="82076" y="137259"/>
                          <a:pt x="82076" y="111964"/>
                        </a:cubicBezTo>
                        <a:cubicBezTo>
                          <a:pt x="81996" y="106069"/>
                          <a:pt x="65275" y="60919"/>
                          <a:pt x="60291" y="48968"/>
                        </a:cubicBezTo>
                        <a:cubicBezTo>
                          <a:pt x="52895" y="30157"/>
                          <a:pt x="64766" y="7676"/>
                          <a:pt x="76342" y="1647"/>
                        </a:cubicBezTo>
                        <a:cubicBezTo>
                          <a:pt x="82183" y="-1381"/>
                          <a:pt x="87837" y="-175"/>
                          <a:pt x="91106" y="4782"/>
                        </a:cubicBezTo>
                        <a:cubicBezTo>
                          <a:pt x="112837" y="31899"/>
                          <a:pt x="129745" y="98459"/>
                          <a:pt x="130469" y="101273"/>
                        </a:cubicBezTo>
                        <a:cubicBezTo>
                          <a:pt x="133604" y="113974"/>
                          <a:pt x="127548" y="165555"/>
                          <a:pt x="122109" y="189484"/>
                        </a:cubicBezTo>
                        <a:cubicBezTo>
                          <a:pt x="109649" y="245889"/>
                          <a:pt x="24626" y="312663"/>
                          <a:pt x="10237" y="323650"/>
                        </a:cubicBezTo>
                        <a:lnTo>
                          <a:pt x="9835" y="341389"/>
                        </a:lnTo>
                        <a:cubicBezTo>
                          <a:pt x="9808" y="344095"/>
                          <a:pt x="7611" y="346212"/>
                          <a:pt x="4931" y="346212"/>
                        </a:cubicBezTo>
                        <a:close/>
                      </a:path>
                    </a:pathLst>
                  </a:custGeom>
                  <a:grpFill/>
                  <a:ln w="2673" cap="flat">
                    <a:noFill/>
                    <a:prstDash val="solid"/>
                    <a:miter/>
                  </a:ln>
                </p:spPr>
                <p:txBody>
                  <a:bodyPr rtlCol="0" anchor="ctr"/>
                  <a:lstStyle/>
                  <a:p>
                    <a:endParaRPr lang="en-GB" dirty="0"/>
                  </a:p>
                </p:txBody>
              </p:sp>
              <p:sp>
                <p:nvSpPr>
                  <p:cNvPr id="176" name="Freihandform: Form 402">
                    <a:extLst>
                      <a:ext uri="{FF2B5EF4-FFF2-40B4-BE49-F238E27FC236}">
                        <a16:creationId xmlns:a16="http://schemas.microsoft.com/office/drawing/2014/main" id="{462D6187-A5B9-4552-9EE4-39153273B003}"/>
                      </a:ext>
                    </a:extLst>
                  </p:cNvPr>
                  <p:cNvSpPr/>
                  <p:nvPr/>
                </p:nvSpPr>
                <p:spPr>
                  <a:xfrm>
                    <a:off x="1154689" y="4353493"/>
                    <a:ext cx="169985" cy="223997"/>
                  </a:xfrm>
                  <a:custGeom>
                    <a:avLst/>
                    <a:gdLst>
                      <a:gd name="connsiteX0" fmla="*/ 16660 w 169985"/>
                      <a:gd name="connsiteY0" fmla="*/ 223997 h 223997"/>
                      <a:gd name="connsiteX1" fmla="*/ 11756 w 169985"/>
                      <a:gd name="connsiteY1" fmla="*/ 219201 h 223997"/>
                      <a:gd name="connsiteX2" fmla="*/ 11328 w 169985"/>
                      <a:gd name="connsiteY2" fmla="*/ 203365 h 223997"/>
                      <a:gd name="connsiteX3" fmla="*/ 30701 w 169985"/>
                      <a:gd name="connsiteY3" fmla="*/ 101193 h 223997"/>
                      <a:gd name="connsiteX4" fmla="*/ 61784 w 169985"/>
                      <a:gd name="connsiteY4" fmla="*/ 84526 h 223997"/>
                      <a:gd name="connsiteX5" fmla="*/ 90455 w 169985"/>
                      <a:gd name="connsiteY5" fmla="*/ 60812 h 223997"/>
                      <a:gd name="connsiteX6" fmla="*/ 105434 w 169985"/>
                      <a:gd name="connsiteY6" fmla="*/ 41090 h 223997"/>
                      <a:gd name="connsiteX7" fmla="*/ 158168 w 169985"/>
                      <a:gd name="connsiteY7" fmla="*/ 2585 h 223997"/>
                      <a:gd name="connsiteX8" fmla="*/ 157632 w 169985"/>
                      <a:gd name="connsiteY8" fmla="*/ 64992 h 223997"/>
                      <a:gd name="connsiteX9" fmla="*/ 157015 w 169985"/>
                      <a:gd name="connsiteY9" fmla="*/ 66278 h 223997"/>
                      <a:gd name="connsiteX10" fmla="*/ 150450 w 169985"/>
                      <a:gd name="connsiteY10" fmla="*/ 68609 h 223997"/>
                      <a:gd name="connsiteX11" fmla="*/ 148119 w 169985"/>
                      <a:gd name="connsiteY11" fmla="*/ 62045 h 223997"/>
                      <a:gd name="connsiteX12" fmla="*/ 148736 w 169985"/>
                      <a:gd name="connsiteY12" fmla="*/ 60758 h 223997"/>
                      <a:gd name="connsiteX13" fmla="*/ 153130 w 169985"/>
                      <a:gd name="connsiteY13" fmla="*/ 11026 h 223997"/>
                      <a:gd name="connsiteX14" fmla="*/ 113365 w 169985"/>
                      <a:gd name="connsiteY14" fmla="*/ 46932 h 223997"/>
                      <a:gd name="connsiteX15" fmla="*/ 98279 w 169985"/>
                      <a:gd name="connsiteY15" fmla="*/ 66787 h 223997"/>
                      <a:gd name="connsiteX16" fmla="*/ 65964 w 169985"/>
                      <a:gd name="connsiteY16" fmla="*/ 93449 h 223997"/>
                      <a:gd name="connsiteX17" fmla="*/ 36006 w 169985"/>
                      <a:gd name="connsiteY17" fmla="*/ 109499 h 223997"/>
                      <a:gd name="connsiteX18" fmla="*/ 20545 w 169985"/>
                      <a:gd name="connsiteY18" fmla="*/ 199720 h 223997"/>
                      <a:gd name="connsiteX19" fmla="*/ 21162 w 169985"/>
                      <a:gd name="connsiteY19" fmla="*/ 201971 h 223997"/>
                      <a:gd name="connsiteX20" fmla="*/ 21617 w 169985"/>
                      <a:gd name="connsiteY20" fmla="*/ 218933 h 223997"/>
                      <a:gd name="connsiteX21" fmla="*/ 16821 w 169985"/>
                      <a:gd name="connsiteY21" fmla="*/ 223970 h 223997"/>
                      <a:gd name="connsiteX22" fmla="*/ 16660 w 169985"/>
                      <a:gd name="connsiteY22" fmla="*/ 223997 h 223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69985" h="223997">
                        <a:moveTo>
                          <a:pt x="16660" y="223997"/>
                        </a:moveTo>
                        <a:cubicBezTo>
                          <a:pt x="14007" y="223997"/>
                          <a:pt x="11810" y="221880"/>
                          <a:pt x="11756" y="219201"/>
                        </a:cubicBezTo>
                        <a:lnTo>
                          <a:pt x="11328" y="203365"/>
                        </a:lnTo>
                        <a:cubicBezTo>
                          <a:pt x="6826" y="194415"/>
                          <a:pt x="-20559" y="134634"/>
                          <a:pt x="30701" y="101193"/>
                        </a:cubicBezTo>
                        <a:cubicBezTo>
                          <a:pt x="44956" y="92377"/>
                          <a:pt x="54683" y="87822"/>
                          <a:pt x="61784" y="84526"/>
                        </a:cubicBezTo>
                        <a:cubicBezTo>
                          <a:pt x="74083" y="78792"/>
                          <a:pt x="79174" y="76434"/>
                          <a:pt x="90455" y="60812"/>
                        </a:cubicBezTo>
                        <a:cubicBezTo>
                          <a:pt x="95573" y="54462"/>
                          <a:pt x="100584" y="47655"/>
                          <a:pt x="105434" y="41090"/>
                        </a:cubicBezTo>
                        <a:cubicBezTo>
                          <a:pt x="124030" y="15849"/>
                          <a:pt x="141608" y="-8026"/>
                          <a:pt x="158168" y="2585"/>
                        </a:cubicBezTo>
                        <a:cubicBezTo>
                          <a:pt x="181212" y="15393"/>
                          <a:pt x="164679" y="50147"/>
                          <a:pt x="157632" y="64992"/>
                        </a:cubicBezTo>
                        <a:lnTo>
                          <a:pt x="157015" y="66278"/>
                        </a:lnTo>
                        <a:cubicBezTo>
                          <a:pt x="155863" y="68743"/>
                          <a:pt x="152916" y="69789"/>
                          <a:pt x="150450" y="68609"/>
                        </a:cubicBezTo>
                        <a:cubicBezTo>
                          <a:pt x="147985" y="67431"/>
                          <a:pt x="146940" y="64510"/>
                          <a:pt x="148119" y="62045"/>
                        </a:cubicBezTo>
                        <a:lnTo>
                          <a:pt x="148736" y="60758"/>
                        </a:lnTo>
                        <a:cubicBezTo>
                          <a:pt x="158436" y="40340"/>
                          <a:pt x="166555" y="18475"/>
                          <a:pt x="153130" y="11026"/>
                        </a:cubicBezTo>
                        <a:cubicBezTo>
                          <a:pt x="144046" y="5238"/>
                          <a:pt x="127755" y="27398"/>
                          <a:pt x="113365" y="46932"/>
                        </a:cubicBezTo>
                        <a:cubicBezTo>
                          <a:pt x="108462" y="53604"/>
                          <a:pt x="103371" y="60491"/>
                          <a:pt x="98279" y="66787"/>
                        </a:cubicBezTo>
                        <a:cubicBezTo>
                          <a:pt x="85659" y="84258"/>
                          <a:pt x="78638" y="87527"/>
                          <a:pt x="65964" y="93449"/>
                        </a:cubicBezTo>
                        <a:cubicBezTo>
                          <a:pt x="58702" y="96825"/>
                          <a:pt x="49645" y="101059"/>
                          <a:pt x="36006" y="109499"/>
                        </a:cubicBezTo>
                        <a:cubicBezTo>
                          <a:pt x="-11556" y="140502"/>
                          <a:pt x="19206" y="197309"/>
                          <a:pt x="20545" y="199720"/>
                        </a:cubicBezTo>
                        <a:cubicBezTo>
                          <a:pt x="20920" y="200417"/>
                          <a:pt x="21135" y="201194"/>
                          <a:pt x="21162" y="201971"/>
                        </a:cubicBezTo>
                        <a:lnTo>
                          <a:pt x="21617" y="218933"/>
                        </a:lnTo>
                        <a:cubicBezTo>
                          <a:pt x="21698" y="221639"/>
                          <a:pt x="19554" y="223917"/>
                          <a:pt x="16821" y="223970"/>
                        </a:cubicBezTo>
                        <a:cubicBezTo>
                          <a:pt x="16767" y="223997"/>
                          <a:pt x="16714" y="223997"/>
                          <a:pt x="16660" y="223997"/>
                        </a:cubicBezTo>
                        <a:close/>
                      </a:path>
                    </a:pathLst>
                  </a:custGeom>
                  <a:grpFill/>
                  <a:ln w="2673" cap="flat">
                    <a:noFill/>
                    <a:prstDash val="solid"/>
                    <a:miter/>
                  </a:ln>
                </p:spPr>
                <p:txBody>
                  <a:bodyPr rtlCol="0" anchor="ctr"/>
                  <a:lstStyle/>
                  <a:p>
                    <a:endParaRPr lang="en-GB" dirty="0"/>
                  </a:p>
                </p:txBody>
              </p:sp>
            </p:grpSp>
            <p:sp>
              <p:nvSpPr>
                <p:cNvPr id="174" name="Freihandform: Form 403">
                  <a:extLst>
                    <a:ext uri="{FF2B5EF4-FFF2-40B4-BE49-F238E27FC236}">
                      <a16:creationId xmlns:a16="http://schemas.microsoft.com/office/drawing/2014/main" id="{05B84BF4-9738-44B3-8E44-09E0398AEC76}"/>
                    </a:ext>
                  </a:extLst>
                </p:cNvPr>
                <p:cNvSpPr/>
                <p:nvPr/>
              </p:nvSpPr>
              <p:spPr>
                <a:xfrm>
                  <a:off x="1153236" y="4569666"/>
                  <a:ext cx="122214" cy="51366"/>
                </a:xfrm>
                <a:custGeom>
                  <a:avLst/>
                  <a:gdLst>
                    <a:gd name="connsiteX0" fmla="*/ 117311 w 122214"/>
                    <a:gd name="connsiteY0" fmla="*/ 51367 h 51366"/>
                    <a:gd name="connsiteX1" fmla="*/ 112381 w 122214"/>
                    <a:gd name="connsiteY1" fmla="*/ 46437 h 51366"/>
                    <a:gd name="connsiteX2" fmla="*/ 112381 w 122214"/>
                    <a:gd name="connsiteY2" fmla="*/ 9861 h 51366"/>
                    <a:gd name="connsiteX3" fmla="*/ 9861 w 122214"/>
                    <a:gd name="connsiteY3" fmla="*/ 9861 h 51366"/>
                    <a:gd name="connsiteX4" fmla="*/ 9861 w 122214"/>
                    <a:gd name="connsiteY4" fmla="*/ 46437 h 51366"/>
                    <a:gd name="connsiteX5" fmla="*/ 4930 w 122214"/>
                    <a:gd name="connsiteY5" fmla="*/ 51367 h 51366"/>
                    <a:gd name="connsiteX6" fmla="*/ 0 w 122214"/>
                    <a:gd name="connsiteY6" fmla="*/ 46437 h 51366"/>
                    <a:gd name="connsiteX7" fmla="*/ 0 w 122214"/>
                    <a:gd name="connsiteY7" fmla="*/ 4930 h 51366"/>
                    <a:gd name="connsiteX8" fmla="*/ 4930 w 122214"/>
                    <a:gd name="connsiteY8" fmla="*/ 0 h 51366"/>
                    <a:gd name="connsiteX9" fmla="*/ 117284 w 122214"/>
                    <a:gd name="connsiteY9" fmla="*/ 0 h 51366"/>
                    <a:gd name="connsiteX10" fmla="*/ 122215 w 122214"/>
                    <a:gd name="connsiteY10" fmla="*/ 4930 h 51366"/>
                    <a:gd name="connsiteX11" fmla="*/ 122215 w 122214"/>
                    <a:gd name="connsiteY11" fmla="*/ 46437 h 51366"/>
                    <a:gd name="connsiteX12" fmla="*/ 117311 w 122214"/>
                    <a:gd name="connsiteY12" fmla="*/ 51367 h 51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214" h="51366">
                      <a:moveTo>
                        <a:pt x="117311" y="51367"/>
                      </a:moveTo>
                      <a:cubicBezTo>
                        <a:pt x="114605" y="51367"/>
                        <a:pt x="112381" y="49170"/>
                        <a:pt x="112381" y="46437"/>
                      </a:cubicBezTo>
                      <a:lnTo>
                        <a:pt x="112381" y="9861"/>
                      </a:lnTo>
                      <a:lnTo>
                        <a:pt x="9861" y="9861"/>
                      </a:lnTo>
                      <a:lnTo>
                        <a:pt x="9861" y="46437"/>
                      </a:lnTo>
                      <a:cubicBezTo>
                        <a:pt x="9861" y="49143"/>
                        <a:pt x="7664" y="51367"/>
                        <a:pt x="4930" y="51367"/>
                      </a:cubicBezTo>
                      <a:cubicBezTo>
                        <a:pt x="2224" y="51367"/>
                        <a:pt x="0" y="49170"/>
                        <a:pt x="0" y="46437"/>
                      </a:cubicBezTo>
                      <a:lnTo>
                        <a:pt x="0" y="4930"/>
                      </a:lnTo>
                      <a:cubicBezTo>
                        <a:pt x="0" y="2224"/>
                        <a:pt x="2197" y="0"/>
                        <a:pt x="4930" y="0"/>
                      </a:cubicBezTo>
                      <a:lnTo>
                        <a:pt x="117284" y="0"/>
                      </a:lnTo>
                      <a:cubicBezTo>
                        <a:pt x="119991" y="0"/>
                        <a:pt x="122215" y="2197"/>
                        <a:pt x="122215" y="4930"/>
                      </a:cubicBezTo>
                      <a:lnTo>
                        <a:pt x="122215" y="46437"/>
                      </a:lnTo>
                      <a:cubicBezTo>
                        <a:pt x="122242" y="49170"/>
                        <a:pt x="120044" y="51367"/>
                        <a:pt x="117311" y="51367"/>
                      </a:cubicBezTo>
                      <a:close/>
                    </a:path>
                  </a:pathLst>
                </a:custGeom>
                <a:grpFill/>
                <a:ln w="2673" cap="flat">
                  <a:noFill/>
                  <a:prstDash val="solid"/>
                  <a:miter/>
                </a:ln>
              </p:spPr>
              <p:txBody>
                <a:bodyPr rtlCol="0" anchor="ctr"/>
                <a:lstStyle/>
                <a:p>
                  <a:endParaRPr lang="en-GB" dirty="0"/>
                </a:p>
              </p:txBody>
            </p:sp>
          </p:grpSp>
        </p:grpSp>
        <p:grpSp>
          <p:nvGrpSpPr>
            <p:cNvPr id="160" name="Group 159">
              <a:extLst>
                <a:ext uri="{FF2B5EF4-FFF2-40B4-BE49-F238E27FC236}">
                  <a16:creationId xmlns:a16="http://schemas.microsoft.com/office/drawing/2014/main" id="{89791C9A-D074-4707-837C-34F73B45B1BF}"/>
                </a:ext>
              </a:extLst>
            </p:cNvPr>
            <p:cNvGrpSpPr/>
            <p:nvPr/>
          </p:nvGrpSpPr>
          <p:grpSpPr>
            <a:xfrm>
              <a:off x="1710840" y="2391529"/>
              <a:ext cx="252500" cy="245134"/>
              <a:chOff x="972097" y="4088229"/>
              <a:chExt cx="311419" cy="302334"/>
            </a:xfrm>
            <a:solidFill>
              <a:schemeClr val="accent1"/>
            </a:solidFill>
          </p:grpSpPr>
          <p:grpSp>
            <p:nvGrpSpPr>
              <p:cNvPr id="161" name="Grafik 15">
                <a:extLst>
                  <a:ext uri="{FF2B5EF4-FFF2-40B4-BE49-F238E27FC236}">
                    <a16:creationId xmlns:a16="http://schemas.microsoft.com/office/drawing/2014/main" id="{4C1969E6-BFE3-4D8A-9C7B-E6C88DD12B94}"/>
                  </a:ext>
                </a:extLst>
              </p:cNvPr>
              <p:cNvGrpSpPr/>
              <p:nvPr/>
            </p:nvGrpSpPr>
            <p:grpSpPr>
              <a:xfrm>
                <a:off x="1013888" y="4211916"/>
                <a:ext cx="232901" cy="178647"/>
                <a:chOff x="1013888" y="4211916"/>
                <a:chExt cx="232901" cy="178647"/>
              </a:xfrm>
              <a:solidFill>
                <a:schemeClr val="accent1"/>
              </a:solidFill>
            </p:grpSpPr>
            <p:sp>
              <p:nvSpPr>
                <p:cNvPr id="165" name="Freihandform: Form 406">
                  <a:extLst>
                    <a:ext uri="{FF2B5EF4-FFF2-40B4-BE49-F238E27FC236}">
                      <a16:creationId xmlns:a16="http://schemas.microsoft.com/office/drawing/2014/main" id="{DD196476-5E07-49A4-A3D2-A6FF3275C272}"/>
                    </a:ext>
                  </a:extLst>
                </p:cNvPr>
                <p:cNvSpPr/>
                <p:nvPr/>
              </p:nvSpPr>
              <p:spPr>
                <a:xfrm>
                  <a:off x="1013888" y="4211945"/>
                  <a:ext cx="232901" cy="178619"/>
                </a:xfrm>
                <a:custGeom>
                  <a:avLst/>
                  <a:gdLst>
                    <a:gd name="connsiteX0" fmla="*/ 116437 w 232901"/>
                    <a:gd name="connsiteY0" fmla="*/ 178619 h 178619"/>
                    <a:gd name="connsiteX1" fmla="*/ 112927 w 232901"/>
                    <a:gd name="connsiteY1" fmla="*/ 177146 h 178619"/>
                    <a:gd name="connsiteX2" fmla="*/ 1404 w 232901"/>
                    <a:gd name="connsiteY2" fmla="*/ 62621 h 178619"/>
                    <a:gd name="connsiteX3" fmla="*/ 1350 w 232901"/>
                    <a:gd name="connsiteY3" fmla="*/ 55815 h 178619"/>
                    <a:gd name="connsiteX4" fmla="*/ 52583 w 232901"/>
                    <a:gd name="connsiteY4" fmla="*/ 1554 h 178619"/>
                    <a:gd name="connsiteX5" fmla="*/ 56174 w 232901"/>
                    <a:gd name="connsiteY5" fmla="*/ 0 h 178619"/>
                    <a:gd name="connsiteX6" fmla="*/ 176727 w 232901"/>
                    <a:gd name="connsiteY6" fmla="*/ 0 h 178619"/>
                    <a:gd name="connsiteX7" fmla="*/ 180318 w 232901"/>
                    <a:gd name="connsiteY7" fmla="*/ 1554 h 178619"/>
                    <a:gd name="connsiteX8" fmla="*/ 231551 w 232901"/>
                    <a:gd name="connsiteY8" fmla="*/ 55815 h 178619"/>
                    <a:gd name="connsiteX9" fmla="*/ 231498 w 232901"/>
                    <a:gd name="connsiteY9" fmla="*/ 62621 h 178619"/>
                    <a:gd name="connsiteX10" fmla="*/ 119974 w 232901"/>
                    <a:gd name="connsiteY10" fmla="*/ 177146 h 178619"/>
                    <a:gd name="connsiteX11" fmla="*/ 116437 w 232901"/>
                    <a:gd name="connsiteY11" fmla="*/ 178619 h 178619"/>
                    <a:gd name="connsiteX12" fmla="*/ 11747 w 232901"/>
                    <a:gd name="connsiteY12" fmla="*/ 59111 h 178619"/>
                    <a:gd name="connsiteX13" fmla="*/ 116437 w 232901"/>
                    <a:gd name="connsiteY13" fmla="*/ 166642 h 178619"/>
                    <a:gd name="connsiteX14" fmla="*/ 221128 w 232901"/>
                    <a:gd name="connsiteY14" fmla="*/ 59111 h 178619"/>
                    <a:gd name="connsiteX15" fmla="*/ 174584 w 232901"/>
                    <a:gd name="connsiteY15" fmla="*/ 9834 h 178619"/>
                    <a:gd name="connsiteX16" fmla="*/ 58291 w 232901"/>
                    <a:gd name="connsiteY16" fmla="*/ 9834 h 178619"/>
                    <a:gd name="connsiteX17" fmla="*/ 11747 w 232901"/>
                    <a:gd name="connsiteY17" fmla="*/ 59111 h 178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32901" h="178619">
                      <a:moveTo>
                        <a:pt x="116437" y="178619"/>
                      </a:moveTo>
                      <a:cubicBezTo>
                        <a:pt x="115097" y="178619"/>
                        <a:pt x="113838" y="178084"/>
                        <a:pt x="112927" y="177146"/>
                      </a:cubicBezTo>
                      <a:lnTo>
                        <a:pt x="1404" y="62621"/>
                      </a:lnTo>
                      <a:cubicBezTo>
                        <a:pt x="-445" y="60719"/>
                        <a:pt x="-472" y="57718"/>
                        <a:pt x="1350" y="55815"/>
                      </a:cubicBezTo>
                      <a:lnTo>
                        <a:pt x="52583" y="1554"/>
                      </a:lnTo>
                      <a:cubicBezTo>
                        <a:pt x="53521" y="563"/>
                        <a:pt x="54807" y="0"/>
                        <a:pt x="56174" y="0"/>
                      </a:cubicBezTo>
                      <a:lnTo>
                        <a:pt x="176727" y="0"/>
                      </a:lnTo>
                      <a:cubicBezTo>
                        <a:pt x="178094" y="0"/>
                        <a:pt x="179380" y="563"/>
                        <a:pt x="180318" y="1554"/>
                      </a:cubicBezTo>
                      <a:lnTo>
                        <a:pt x="231551" y="55815"/>
                      </a:lnTo>
                      <a:cubicBezTo>
                        <a:pt x="233373" y="57718"/>
                        <a:pt x="233346" y="60746"/>
                        <a:pt x="231498" y="62621"/>
                      </a:cubicBezTo>
                      <a:lnTo>
                        <a:pt x="119974" y="177146"/>
                      </a:lnTo>
                      <a:cubicBezTo>
                        <a:pt x="119036" y="178084"/>
                        <a:pt x="117777" y="178619"/>
                        <a:pt x="116437" y="178619"/>
                      </a:cubicBezTo>
                      <a:close/>
                      <a:moveTo>
                        <a:pt x="11747" y="59111"/>
                      </a:moveTo>
                      <a:lnTo>
                        <a:pt x="116437" y="166642"/>
                      </a:lnTo>
                      <a:lnTo>
                        <a:pt x="221128" y="59111"/>
                      </a:lnTo>
                      <a:lnTo>
                        <a:pt x="174584" y="9834"/>
                      </a:lnTo>
                      <a:lnTo>
                        <a:pt x="58291" y="9834"/>
                      </a:lnTo>
                      <a:lnTo>
                        <a:pt x="11747" y="59111"/>
                      </a:lnTo>
                      <a:close/>
                    </a:path>
                  </a:pathLst>
                </a:custGeom>
                <a:solidFill>
                  <a:schemeClr val="accent1"/>
                </a:solidFill>
                <a:ln w="2673" cap="flat">
                  <a:noFill/>
                  <a:prstDash val="solid"/>
                  <a:miter/>
                </a:ln>
              </p:spPr>
              <p:txBody>
                <a:bodyPr rtlCol="0" anchor="ctr"/>
                <a:lstStyle/>
                <a:p>
                  <a:endParaRPr lang="en-GB" dirty="0"/>
                </a:p>
              </p:txBody>
            </p:sp>
            <p:sp>
              <p:nvSpPr>
                <p:cNvPr id="166" name="Freihandform: Form 407">
                  <a:extLst>
                    <a:ext uri="{FF2B5EF4-FFF2-40B4-BE49-F238E27FC236}">
                      <a16:creationId xmlns:a16="http://schemas.microsoft.com/office/drawing/2014/main" id="{3216E302-0322-4802-A9B5-C811A664EDDF}"/>
                    </a:ext>
                  </a:extLst>
                </p:cNvPr>
                <p:cNvSpPr/>
                <p:nvPr/>
              </p:nvSpPr>
              <p:spPr>
                <a:xfrm>
                  <a:off x="1016900" y="4266179"/>
                  <a:ext cx="226851" cy="9860"/>
                </a:xfrm>
                <a:custGeom>
                  <a:avLst/>
                  <a:gdLst>
                    <a:gd name="connsiteX0" fmla="*/ 221948 w 226851"/>
                    <a:gd name="connsiteY0" fmla="*/ 9861 h 9860"/>
                    <a:gd name="connsiteX1" fmla="*/ 4930 w 226851"/>
                    <a:gd name="connsiteY1" fmla="*/ 9861 h 9860"/>
                    <a:gd name="connsiteX2" fmla="*/ 0 w 226851"/>
                    <a:gd name="connsiteY2" fmla="*/ 4930 h 9860"/>
                    <a:gd name="connsiteX3" fmla="*/ 4930 w 226851"/>
                    <a:gd name="connsiteY3" fmla="*/ 0 h 9860"/>
                    <a:gd name="connsiteX4" fmla="*/ 221921 w 226851"/>
                    <a:gd name="connsiteY4" fmla="*/ 0 h 9860"/>
                    <a:gd name="connsiteX5" fmla="*/ 226852 w 226851"/>
                    <a:gd name="connsiteY5" fmla="*/ 4930 h 9860"/>
                    <a:gd name="connsiteX6" fmla="*/ 221948 w 226851"/>
                    <a:gd name="connsiteY6" fmla="*/ 9861 h 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851" h="9860">
                      <a:moveTo>
                        <a:pt x="221948" y="9861"/>
                      </a:moveTo>
                      <a:lnTo>
                        <a:pt x="4930" y="9861"/>
                      </a:lnTo>
                      <a:cubicBezTo>
                        <a:pt x="2224" y="9861"/>
                        <a:pt x="0" y="7664"/>
                        <a:pt x="0" y="4930"/>
                      </a:cubicBezTo>
                      <a:cubicBezTo>
                        <a:pt x="0" y="2197"/>
                        <a:pt x="2197" y="0"/>
                        <a:pt x="4930" y="0"/>
                      </a:cubicBezTo>
                      <a:lnTo>
                        <a:pt x="221921" y="0"/>
                      </a:lnTo>
                      <a:cubicBezTo>
                        <a:pt x="224628" y="0"/>
                        <a:pt x="226852" y="2197"/>
                        <a:pt x="226852" y="4930"/>
                      </a:cubicBezTo>
                      <a:cubicBezTo>
                        <a:pt x="226852" y="7664"/>
                        <a:pt x="224654" y="9861"/>
                        <a:pt x="221948" y="9861"/>
                      </a:cubicBezTo>
                      <a:close/>
                    </a:path>
                  </a:pathLst>
                </a:custGeom>
                <a:solidFill>
                  <a:schemeClr val="accent1"/>
                </a:solidFill>
                <a:ln w="2673" cap="flat">
                  <a:noFill/>
                  <a:prstDash val="solid"/>
                  <a:miter/>
                </a:ln>
              </p:spPr>
              <p:txBody>
                <a:bodyPr rtlCol="0" anchor="ctr"/>
                <a:lstStyle/>
                <a:p>
                  <a:endParaRPr lang="en-GB" dirty="0"/>
                </a:p>
              </p:txBody>
            </p:sp>
            <p:sp>
              <p:nvSpPr>
                <p:cNvPr id="167" name="Freihandform: Form 408">
                  <a:extLst>
                    <a:ext uri="{FF2B5EF4-FFF2-40B4-BE49-F238E27FC236}">
                      <a16:creationId xmlns:a16="http://schemas.microsoft.com/office/drawing/2014/main" id="{DDDF75F4-122C-46E0-9FB4-7CC90C6F588E}"/>
                    </a:ext>
                  </a:extLst>
                </p:cNvPr>
                <p:cNvSpPr/>
                <p:nvPr/>
              </p:nvSpPr>
              <p:spPr>
                <a:xfrm>
                  <a:off x="1065140" y="4211916"/>
                  <a:ext cx="70106" cy="178647"/>
                </a:xfrm>
                <a:custGeom>
                  <a:avLst/>
                  <a:gdLst>
                    <a:gd name="connsiteX0" fmla="*/ 65185 w 70106"/>
                    <a:gd name="connsiteY0" fmla="*/ 178648 h 178647"/>
                    <a:gd name="connsiteX1" fmla="*/ 60549 w 70106"/>
                    <a:gd name="connsiteY1" fmla="*/ 175379 h 178647"/>
                    <a:gd name="connsiteX2" fmla="*/ 286 w 70106"/>
                    <a:gd name="connsiteY2" fmla="*/ 6593 h 178647"/>
                    <a:gd name="connsiteX3" fmla="*/ 3260 w 70106"/>
                    <a:gd name="connsiteY3" fmla="*/ 297 h 178647"/>
                    <a:gd name="connsiteX4" fmla="*/ 9557 w 70106"/>
                    <a:gd name="connsiteY4" fmla="*/ 3271 h 178647"/>
                    <a:gd name="connsiteX5" fmla="*/ 69821 w 70106"/>
                    <a:gd name="connsiteY5" fmla="*/ 172056 h 178647"/>
                    <a:gd name="connsiteX6" fmla="*/ 66846 w 70106"/>
                    <a:gd name="connsiteY6" fmla="*/ 178353 h 178647"/>
                    <a:gd name="connsiteX7" fmla="*/ 65185 w 70106"/>
                    <a:gd name="connsiteY7" fmla="*/ 178648 h 178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06" h="178647">
                      <a:moveTo>
                        <a:pt x="65185" y="178648"/>
                      </a:moveTo>
                      <a:cubicBezTo>
                        <a:pt x="63175" y="178648"/>
                        <a:pt x="61273" y="177389"/>
                        <a:pt x="60549" y="175379"/>
                      </a:cubicBezTo>
                      <a:lnTo>
                        <a:pt x="286" y="6593"/>
                      </a:lnTo>
                      <a:cubicBezTo>
                        <a:pt x="-625" y="4048"/>
                        <a:pt x="715" y="1207"/>
                        <a:pt x="3260" y="297"/>
                      </a:cubicBezTo>
                      <a:cubicBezTo>
                        <a:pt x="5833" y="-641"/>
                        <a:pt x="8619" y="725"/>
                        <a:pt x="9557" y="3271"/>
                      </a:cubicBezTo>
                      <a:lnTo>
                        <a:pt x="69821" y="172056"/>
                      </a:lnTo>
                      <a:cubicBezTo>
                        <a:pt x="70732" y="174602"/>
                        <a:pt x="69392" y="177442"/>
                        <a:pt x="66846" y="178353"/>
                      </a:cubicBezTo>
                      <a:cubicBezTo>
                        <a:pt x="66310" y="178568"/>
                        <a:pt x="65748" y="178648"/>
                        <a:pt x="65185" y="178648"/>
                      </a:cubicBezTo>
                      <a:close/>
                    </a:path>
                  </a:pathLst>
                </a:custGeom>
                <a:solidFill>
                  <a:schemeClr val="accent1"/>
                </a:solidFill>
                <a:ln w="2673" cap="flat">
                  <a:noFill/>
                  <a:prstDash val="solid"/>
                  <a:miter/>
                </a:ln>
              </p:spPr>
              <p:txBody>
                <a:bodyPr rtlCol="0" anchor="ctr"/>
                <a:lstStyle/>
                <a:p>
                  <a:endParaRPr lang="en-GB" dirty="0"/>
                </a:p>
              </p:txBody>
            </p:sp>
            <p:sp>
              <p:nvSpPr>
                <p:cNvPr id="168" name="Freihandform: Form 409">
                  <a:extLst>
                    <a:ext uri="{FF2B5EF4-FFF2-40B4-BE49-F238E27FC236}">
                      <a16:creationId xmlns:a16="http://schemas.microsoft.com/office/drawing/2014/main" id="{B9B2258D-991B-4455-802B-07C8627F084D}"/>
                    </a:ext>
                  </a:extLst>
                </p:cNvPr>
                <p:cNvSpPr/>
                <p:nvPr/>
              </p:nvSpPr>
              <p:spPr>
                <a:xfrm>
                  <a:off x="1125404" y="4211940"/>
                  <a:ext cx="70133" cy="178624"/>
                </a:xfrm>
                <a:custGeom>
                  <a:avLst/>
                  <a:gdLst>
                    <a:gd name="connsiteX0" fmla="*/ 4922 w 70133"/>
                    <a:gd name="connsiteY0" fmla="*/ 178624 h 178624"/>
                    <a:gd name="connsiteX1" fmla="*/ 3260 w 70133"/>
                    <a:gd name="connsiteY1" fmla="*/ 178329 h 178624"/>
                    <a:gd name="connsiteX2" fmla="*/ 286 w 70133"/>
                    <a:gd name="connsiteY2" fmla="*/ 172033 h 178624"/>
                    <a:gd name="connsiteX3" fmla="*/ 60576 w 70133"/>
                    <a:gd name="connsiteY3" fmla="*/ 3274 h 178624"/>
                    <a:gd name="connsiteX4" fmla="*/ 66873 w 70133"/>
                    <a:gd name="connsiteY4" fmla="*/ 300 h 178624"/>
                    <a:gd name="connsiteX5" fmla="*/ 69847 w 70133"/>
                    <a:gd name="connsiteY5" fmla="*/ 6596 h 178624"/>
                    <a:gd name="connsiteX6" fmla="*/ 9584 w 70133"/>
                    <a:gd name="connsiteY6" fmla="*/ 175382 h 178624"/>
                    <a:gd name="connsiteX7" fmla="*/ 4922 w 70133"/>
                    <a:gd name="connsiteY7" fmla="*/ 178624 h 178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133" h="178624">
                      <a:moveTo>
                        <a:pt x="4922" y="178624"/>
                      </a:moveTo>
                      <a:cubicBezTo>
                        <a:pt x="4359" y="178624"/>
                        <a:pt x="3823" y="178544"/>
                        <a:pt x="3260" y="178329"/>
                      </a:cubicBezTo>
                      <a:cubicBezTo>
                        <a:pt x="715" y="177418"/>
                        <a:pt x="-625" y="174605"/>
                        <a:pt x="286" y="172033"/>
                      </a:cubicBezTo>
                      <a:lnTo>
                        <a:pt x="60576" y="3274"/>
                      </a:lnTo>
                      <a:cubicBezTo>
                        <a:pt x="61487" y="701"/>
                        <a:pt x="64301" y="-638"/>
                        <a:pt x="66873" y="300"/>
                      </a:cubicBezTo>
                      <a:cubicBezTo>
                        <a:pt x="69419" y="1210"/>
                        <a:pt x="70758" y="4024"/>
                        <a:pt x="69847" y="6596"/>
                      </a:cubicBezTo>
                      <a:lnTo>
                        <a:pt x="9584" y="175382"/>
                      </a:lnTo>
                      <a:cubicBezTo>
                        <a:pt x="8834" y="177365"/>
                        <a:pt x="6958" y="178624"/>
                        <a:pt x="4922" y="178624"/>
                      </a:cubicBezTo>
                      <a:close/>
                    </a:path>
                  </a:pathLst>
                </a:custGeom>
                <a:solidFill>
                  <a:schemeClr val="accent1"/>
                </a:solidFill>
                <a:ln w="2673" cap="flat">
                  <a:noFill/>
                  <a:prstDash val="solid"/>
                  <a:miter/>
                </a:ln>
              </p:spPr>
              <p:txBody>
                <a:bodyPr rtlCol="0" anchor="ctr"/>
                <a:lstStyle/>
                <a:p>
                  <a:endParaRPr lang="en-GB" dirty="0"/>
                </a:p>
              </p:txBody>
            </p:sp>
            <p:sp>
              <p:nvSpPr>
                <p:cNvPr id="169" name="Freihandform: Form 410">
                  <a:extLst>
                    <a:ext uri="{FF2B5EF4-FFF2-40B4-BE49-F238E27FC236}">
                      <a16:creationId xmlns:a16="http://schemas.microsoft.com/office/drawing/2014/main" id="{628B00CF-EF6E-4E5C-8ABB-CE105AF6FE61}"/>
                    </a:ext>
                  </a:extLst>
                </p:cNvPr>
                <p:cNvSpPr/>
                <p:nvPr/>
              </p:nvSpPr>
              <p:spPr>
                <a:xfrm>
                  <a:off x="1083228" y="4211916"/>
                  <a:ext cx="52044" cy="64123"/>
                </a:xfrm>
                <a:custGeom>
                  <a:avLst/>
                  <a:gdLst>
                    <a:gd name="connsiteX0" fmla="*/ 4921 w 52044"/>
                    <a:gd name="connsiteY0" fmla="*/ 64124 h 64123"/>
                    <a:gd name="connsiteX1" fmla="*/ 1893 w 52044"/>
                    <a:gd name="connsiteY1" fmla="*/ 63079 h 64123"/>
                    <a:gd name="connsiteX2" fmla="*/ 1035 w 52044"/>
                    <a:gd name="connsiteY2" fmla="*/ 56165 h 64123"/>
                    <a:gd name="connsiteX3" fmla="*/ 43239 w 52044"/>
                    <a:gd name="connsiteY3" fmla="*/ 1904 h 64123"/>
                    <a:gd name="connsiteX4" fmla="*/ 50152 w 52044"/>
                    <a:gd name="connsiteY4" fmla="*/ 1047 h 64123"/>
                    <a:gd name="connsiteX5" fmla="*/ 51009 w 52044"/>
                    <a:gd name="connsiteY5" fmla="*/ 7933 h 64123"/>
                    <a:gd name="connsiteX6" fmla="*/ 8806 w 52044"/>
                    <a:gd name="connsiteY6" fmla="*/ 62194 h 64123"/>
                    <a:gd name="connsiteX7" fmla="*/ 4921 w 52044"/>
                    <a:gd name="connsiteY7" fmla="*/ 64124 h 64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44" h="64123">
                      <a:moveTo>
                        <a:pt x="4921" y="64124"/>
                      </a:moveTo>
                      <a:cubicBezTo>
                        <a:pt x="3876" y="64124"/>
                        <a:pt x="2804" y="63775"/>
                        <a:pt x="1893" y="63079"/>
                      </a:cubicBezTo>
                      <a:cubicBezTo>
                        <a:pt x="-251" y="61417"/>
                        <a:pt x="-626" y="58309"/>
                        <a:pt x="1035" y="56165"/>
                      </a:cubicBezTo>
                      <a:lnTo>
                        <a:pt x="43239" y="1904"/>
                      </a:lnTo>
                      <a:cubicBezTo>
                        <a:pt x="44900" y="-239"/>
                        <a:pt x="47981" y="-641"/>
                        <a:pt x="50152" y="1047"/>
                      </a:cubicBezTo>
                      <a:cubicBezTo>
                        <a:pt x="52295" y="2708"/>
                        <a:pt x="52671" y="5816"/>
                        <a:pt x="51009" y="7933"/>
                      </a:cubicBezTo>
                      <a:lnTo>
                        <a:pt x="8806" y="62194"/>
                      </a:lnTo>
                      <a:cubicBezTo>
                        <a:pt x="7842" y="63481"/>
                        <a:pt x="6368" y="64124"/>
                        <a:pt x="4921" y="64124"/>
                      </a:cubicBezTo>
                      <a:close/>
                    </a:path>
                  </a:pathLst>
                </a:custGeom>
                <a:solidFill>
                  <a:schemeClr val="accent1"/>
                </a:solidFill>
                <a:ln w="2673" cap="flat">
                  <a:noFill/>
                  <a:prstDash val="solid"/>
                  <a:miter/>
                </a:ln>
              </p:spPr>
              <p:txBody>
                <a:bodyPr rtlCol="0" anchor="ctr"/>
                <a:lstStyle/>
                <a:p>
                  <a:endParaRPr lang="en-GB" dirty="0"/>
                </a:p>
              </p:txBody>
            </p:sp>
            <p:sp>
              <p:nvSpPr>
                <p:cNvPr id="170" name="Freihandform: Form 411">
                  <a:extLst>
                    <a:ext uri="{FF2B5EF4-FFF2-40B4-BE49-F238E27FC236}">
                      <a16:creationId xmlns:a16="http://schemas.microsoft.com/office/drawing/2014/main" id="{E6282EC9-9713-4C2E-A70F-B5B994BAC826}"/>
                    </a:ext>
                  </a:extLst>
                </p:cNvPr>
                <p:cNvSpPr/>
                <p:nvPr/>
              </p:nvSpPr>
              <p:spPr>
                <a:xfrm>
                  <a:off x="1125405" y="4211954"/>
                  <a:ext cx="52044" cy="64085"/>
                </a:xfrm>
                <a:custGeom>
                  <a:avLst/>
                  <a:gdLst>
                    <a:gd name="connsiteX0" fmla="*/ 47124 w 52044"/>
                    <a:gd name="connsiteY0" fmla="*/ 64086 h 64085"/>
                    <a:gd name="connsiteX1" fmla="*/ 43239 w 52044"/>
                    <a:gd name="connsiteY1" fmla="*/ 62183 h 64085"/>
                    <a:gd name="connsiteX2" fmla="*/ 1035 w 52044"/>
                    <a:gd name="connsiteY2" fmla="*/ 7922 h 64085"/>
                    <a:gd name="connsiteX3" fmla="*/ 1893 w 52044"/>
                    <a:gd name="connsiteY3" fmla="*/ 1035 h 64085"/>
                    <a:gd name="connsiteX4" fmla="*/ 8806 w 52044"/>
                    <a:gd name="connsiteY4" fmla="*/ 1893 h 64085"/>
                    <a:gd name="connsiteX5" fmla="*/ 51009 w 52044"/>
                    <a:gd name="connsiteY5" fmla="*/ 56154 h 64085"/>
                    <a:gd name="connsiteX6" fmla="*/ 50152 w 52044"/>
                    <a:gd name="connsiteY6" fmla="*/ 63067 h 64085"/>
                    <a:gd name="connsiteX7" fmla="*/ 47124 w 52044"/>
                    <a:gd name="connsiteY7" fmla="*/ 64086 h 64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044" h="64085">
                      <a:moveTo>
                        <a:pt x="47124" y="64086"/>
                      </a:moveTo>
                      <a:cubicBezTo>
                        <a:pt x="45650" y="64086"/>
                        <a:pt x="44203" y="63443"/>
                        <a:pt x="43239" y="62183"/>
                      </a:cubicBezTo>
                      <a:lnTo>
                        <a:pt x="1035" y="7922"/>
                      </a:lnTo>
                      <a:cubicBezTo>
                        <a:pt x="-626" y="5778"/>
                        <a:pt x="-251" y="2697"/>
                        <a:pt x="1893" y="1035"/>
                      </a:cubicBezTo>
                      <a:cubicBezTo>
                        <a:pt x="4037" y="-626"/>
                        <a:pt x="7118" y="-251"/>
                        <a:pt x="8806" y="1893"/>
                      </a:cubicBezTo>
                      <a:lnTo>
                        <a:pt x="51009" y="56154"/>
                      </a:lnTo>
                      <a:cubicBezTo>
                        <a:pt x="52671" y="58298"/>
                        <a:pt x="52295" y="61379"/>
                        <a:pt x="50152" y="63067"/>
                      </a:cubicBezTo>
                      <a:cubicBezTo>
                        <a:pt x="49241" y="63737"/>
                        <a:pt x="48196" y="64086"/>
                        <a:pt x="47124" y="64086"/>
                      </a:cubicBezTo>
                      <a:close/>
                    </a:path>
                  </a:pathLst>
                </a:custGeom>
                <a:solidFill>
                  <a:schemeClr val="accent1"/>
                </a:solidFill>
                <a:ln w="2673" cap="flat">
                  <a:noFill/>
                  <a:prstDash val="solid"/>
                  <a:miter/>
                </a:ln>
              </p:spPr>
              <p:txBody>
                <a:bodyPr rtlCol="0" anchor="ctr"/>
                <a:lstStyle/>
                <a:p>
                  <a:endParaRPr lang="en-GB" dirty="0"/>
                </a:p>
              </p:txBody>
            </p:sp>
          </p:grpSp>
          <p:sp>
            <p:nvSpPr>
              <p:cNvPr id="162" name="Freihandform: Form 412">
                <a:extLst>
                  <a:ext uri="{FF2B5EF4-FFF2-40B4-BE49-F238E27FC236}">
                    <a16:creationId xmlns:a16="http://schemas.microsoft.com/office/drawing/2014/main" id="{85CCD9A5-0523-4CF9-9892-3830F2122CFB}"/>
                  </a:ext>
                </a:extLst>
              </p:cNvPr>
              <p:cNvSpPr/>
              <p:nvPr/>
            </p:nvSpPr>
            <p:spPr>
              <a:xfrm>
                <a:off x="1124779" y="4088229"/>
                <a:ext cx="9860" cy="62085"/>
              </a:xfrm>
              <a:custGeom>
                <a:avLst/>
                <a:gdLst>
                  <a:gd name="connsiteX0" fmla="*/ 4930 w 9860"/>
                  <a:gd name="connsiteY0" fmla="*/ 62086 h 62085"/>
                  <a:gd name="connsiteX1" fmla="*/ 0 w 9860"/>
                  <a:gd name="connsiteY1" fmla="*/ 57155 h 62085"/>
                  <a:gd name="connsiteX2" fmla="*/ 0 w 9860"/>
                  <a:gd name="connsiteY2" fmla="*/ 4930 h 62085"/>
                  <a:gd name="connsiteX3" fmla="*/ 4930 w 9860"/>
                  <a:gd name="connsiteY3" fmla="*/ 0 h 62085"/>
                  <a:gd name="connsiteX4" fmla="*/ 9861 w 9860"/>
                  <a:gd name="connsiteY4" fmla="*/ 4930 h 62085"/>
                  <a:gd name="connsiteX5" fmla="*/ 9861 w 9860"/>
                  <a:gd name="connsiteY5" fmla="*/ 57155 h 62085"/>
                  <a:gd name="connsiteX6" fmla="*/ 4930 w 9860"/>
                  <a:gd name="connsiteY6" fmla="*/ 62086 h 62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60" h="62085">
                    <a:moveTo>
                      <a:pt x="4930" y="62086"/>
                    </a:moveTo>
                    <a:cubicBezTo>
                      <a:pt x="2224" y="62086"/>
                      <a:pt x="0" y="59888"/>
                      <a:pt x="0" y="57155"/>
                    </a:cubicBezTo>
                    <a:lnTo>
                      <a:pt x="0" y="4930"/>
                    </a:lnTo>
                    <a:cubicBezTo>
                      <a:pt x="0" y="2224"/>
                      <a:pt x="2197" y="0"/>
                      <a:pt x="4930" y="0"/>
                    </a:cubicBezTo>
                    <a:cubicBezTo>
                      <a:pt x="7637" y="0"/>
                      <a:pt x="9861" y="2197"/>
                      <a:pt x="9861" y="4930"/>
                    </a:cubicBezTo>
                    <a:lnTo>
                      <a:pt x="9861" y="57155"/>
                    </a:lnTo>
                    <a:cubicBezTo>
                      <a:pt x="9834" y="59888"/>
                      <a:pt x="7637" y="62086"/>
                      <a:pt x="4930" y="62086"/>
                    </a:cubicBezTo>
                    <a:close/>
                  </a:path>
                </a:pathLst>
              </a:custGeom>
              <a:solidFill>
                <a:schemeClr val="accent1"/>
              </a:solidFill>
              <a:ln w="2673" cap="flat">
                <a:noFill/>
                <a:prstDash val="solid"/>
                <a:miter/>
              </a:ln>
            </p:spPr>
            <p:txBody>
              <a:bodyPr rtlCol="0" anchor="ctr"/>
              <a:lstStyle/>
              <a:p>
                <a:endParaRPr lang="en-GB" dirty="0"/>
              </a:p>
            </p:txBody>
          </p:sp>
          <p:sp>
            <p:nvSpPr>
              <p:cNvPr id="163" name="Freihandform: Form 413">
                <a:extLst>
                  <a:ext uri="{FF2B5EF4-FFF2-40B4-BE49-F238E27FC236}">
                    <a16:creationId xmlns:a16="http://schemas.microsoft.com/office/drawing/2014/main" id="{5A59B86C-5C3D-491E-A879-75D764266326}"/>
                  </a:ext>
                </a:extLst>
              </p:cNvPr>
              <p:cNvSpPr/>
              <p:nvPr/>
            </p:nvSpPr>
            <p:spPr>
              <a:xfrm>
                <a:off x="1238821" y="4099403"/>
                <a:ext cx="44695" cy="44695"/>
              </a:xfrm>
              <a:custGeom>
                <a:avLst/>
                <a:gdLst>
                  <a:gd name="connsiteX0" fmla="*/ 4930 w 44695"/>
                  <a:gd name="connsiteY0" fmla="*/ 44695 h 44695"/>
                  <a:gd name="connsiteX1" fmla="*/ 1447 w 44695"/>
                  <a:gd name="connsiteY1" fmla="*/ 43248 h 44695"/>
                  <a:gd name="connsiteX2" fmla="*/ 1447 w 44695"/>
                  <a:gd name="connsiteY2" fmla="*/ 36281 h 44695"/>
                  <a:gd name="connsiteX3" fmla="*/ 36281 w 44695"/>
                  <a:gd name="connsiteY3" fmla="*/ 1447 h 44695"/>
                  <a:gd name="connsiteX4" fmla="*/ 43248 w 44695"/>
                  <a:gd name="connsiteY4" fmla="*/ 1447 h 44695"/>
                  <a:gd name="connsiteX5" fmla="*/ 43248 w 44695"/>
                  <a:gd name="connsiteY5" fmla="*/ 8414 h 44695"/>
                  <a:gd name="connsiteX6" fmla="*/ 8414 w 44695"/>
                  <a:gd name="connsiteY6" fmla="*/ 43248 h 44695"/>
                  <a:gd name="connsiteX7" fmla="*/ 4930 w 44695"/>
                  <a:gd name="connsiteY7" fmla="*/ 44695 h 44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95" h="44695">
                    <a:moveTo>
                      <a:pt x="4930" y="44695"/>
                    </a:moveTo>
                    <a:cubicBezTo>
                      <a:pt x="3671" y="44695"/>
                      <a:pt x="2412" y="44213"/>
                      <a:pt x="1447" y="43248"/>
                    </a:cubicBezTo>
                    <a:cubicBezTo>
                      <a:pt x="-482" y="41319"/>
                      <a:pt x="-482" y="38211"/>
                      <a:pt x="1447" y="36281"/>
                    </a:cubicBezTo>
                    <a:lnTo>
                      <a:pt x="36281" y="1447"/>
                    </a:lnTo>
                    <a:cubicBezTo>
                      <a:pt x="38211" y="-482"/>
                      <a:pt x="41319" y="-482"/>
                      <a:pt x="43248" y="1447"/>
                    </a:cubicBezTo>
                    <a:cubicBezTo>
                      <a:pt x="45177" y="3376"/>
                      <a:pt x="45177" y="6485"/>
                      <a:pt x="43248" y="8414"/>
                    </a:cubicBezTo>
                    <a:lnTo>
                      <a:pt x="8414" y="43248"/>
                    </a:lnTo>
                    <a:cubicBezTo>
                      <a:pt x="7449" y="44213"/>
                      <a:pt x="6190" y="44695"/>
                      <a:pt x="4930" y="44695"/>
                    </a:cubicBezTo>
                    <a:close/>
                  </a:path>
                </a:pathLst>
              </a:custGeom>
              <a:solidFill>
                <a:schemeClr val="accent1"/>
              </a:solidFill>
              <a:ln w="2673" cap="flat">
                <a:noFill/>
                <a:prstDash val="solid"/>
                <a:miter/>
              </a:ln>
            </p:spPr>
            <p:txBody>
              <a:bodyPr rtlCol="0" anchor="ctr"/>
              <a:lstStyle/>
              <a:p>
                <a:endParaRPr lang="en-GB" dirty="0"/>
              </a:p>
            </p:txBody>
          </p:sp>
          <p:sp>
            <p:nvSpPr>
              <p:cNvPr id="164" name="Freihandform: Form 414">
                <a:extLst>
                  <a:ext uri="{FF2B5EF4-FFF2-40B4-BE49-F238E27FC236}">
                    <a16:creationId xmlns:a16="http://schemas.microsoft.com/office/drawing/2014/main" id="{83F64475-D6E9-435A-870D-8B4BCD17340C}"/>
                  </a:ext>
                </a:extLst>
              </p:cNvPr>
              <p:cNvSpPr/>
              <p:nvPr/>
            </p:nvSpPr>
            <p:spPr>
              <a:xfrm>
                <a:off x="972097" y="4098841"/>
                <a:ext cx="42846" cy="42846"/>
              </a:xfrm>
              <a:custGeom>
                <a:avLst/>
                <a:gdLst>
                  <a:gd name="connsiteX0" fmla="*/ 37916 w 42846"/>
                  <a:gd name="connsiteY0" fmla="*/ 42846 h 42846"/>
                  <a:gd name="connsiteX1" fmla="*/ 34432 w 42846"/>
                  <a:gd name="connsiteY1" fmla="*/ 41399 h 42846"/>
                  <a:gd name="connsiteX2" fmla="*/ 1447 w 42846"/>
                  <a:gd name="connsiteY2" fmla="*/ 8414 h 42846"/>
                  <a:gd name="connsiteX3" fmla="*/ 1447 w 42846"/>
                  <a:gd name="connsiteY3" fmla="*/ 1447 h 42846"/>
                  <a:gd name="connsiteX4" fmla="*/ 8414 w 42846"/>
                  <a:gd name="connsiteY4" fmla="*/ 1447 h 42846"/>
                  <a:gd name="connsiteX5" fmla="*/ 41399 w 42846"/>
                  <a:gd name="connsiteY5" fmla="*/ 34432 h 42846"/>
                  <a:gd name="connsiteX6" fmla="*/ 41399 w 42846"/>
                  <a:gd name="connsiteY6" fmla="*/ 41399 h 42846"/>
                  <a:gd name="connsiteX7" fmla="*/ 37916 w 42846"/>
                  <a:gd name="connsiteY7" fmla="*/ 42846 h 42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846" h="42846">
                    <a:moveTo>
                      <a:pt x="37916" y="42846"/>
                    </a:moveTo>
                    <a:cubicBezTo>
                      <a:pt x="36656" y="42846"/>
                      <a:pt x="35397" y="42364"/>
                      <a:pt x="34432" y="41399"/>
                    </a:cubicBezTo>
                    <a:lnTo>
                      <a:pt x="1447" y="8414"/>
                    </a:lnTo>
                    <a:cubicBezTo>
                      <a:pt x="-482" y="6484"/>
                      <a:pt x="-482" y="3376"/>
                      <a:pt x="1447" y="1447"/>
                    </a:cubicBezTo>
                    <a:cubicBezTo>
                      <a:pt x="3376" y="-482"/>
                      <a:pt x="6485" y="-482"/>
                      <a:pt x="8414" y="1447"/>
                    </a:cubicBezTo>
                    <a:lnTo>
                      <a:pt x="41399" y="34432"/>
                    </a:lnTo>
                    <a:cubicBezTo>
                      <a:pt x="43329" y="36362"/>
                      <a:pt x="43329" y="39470"/>
                      <a:pt x="41399" y="41399"/>
                    </a:cubicBezTo>
                    <a:cubicBezTo>
                      <a:pt x="40435" y="42364"/>
                      <a:pt x="39175" y="42846"/>
                      <a:pt x="37916" y="42846"/>
                    </a:cubicBezTo>
                    <a:close/>
                  </a:path>
                </a:pathLst>
              </a:custGeom>
              <a:solidFill>
                <a:schemeClr val="accent1"/>
              </a:solidFill>
              <a:ln w="2673" cap="flat">
                <a:noFill/>
                <a:prstDash val="solid"/>
                <a:miter/>
              </a:ln>
            </p:spPr>
            <p:txBody>
              <a:bodyPr rtlCol="0" anchor="ctr"/>
              <a:lstStyle/>
              <a:p>
                <a:endParaRPr lang="en-GB" dirty="0"/>
              </a:p>
            </p:txBody>
          </p:sp>
        </p:grpSp>
      </p:grpSp>
      <p:grpSp>
        <p:nvGrpSpPr>
          <p:cNvPr id="26" name="Group 25">
            <a:extLst>
              <a:ext uri="{FF2B5EF4-FFF2-40B4-BE49-F238E27FC236}">
                <a16:creationId xmlns:a16="http://schemas.microsoft.com/office/drawing/2014/main" id="{DE2D6224-E4C9-944A-2D3A-3F6C60C1DEEA}"/>
              </a:ext>
            </a:extLst>
          </p:cNvPr>
          <p:cNvGrpSpPr/>
          <p:nvPr/>
        </p:nvGrpSpPr>
        <p:grpSpPr>
          <a:xfrm>
            <a:off x="2524918" y="2399793"/>
            <a:ext cx="720000" cy="415466"/>
            <a:chOff x="2524918" y="2399793"/>
            <a:chExt cx="720000" cy="415466"/>
          </a:xfrm>
        </p:grpSpPr>
        <p:grpSp>
          <p:nvGrpSpPr>
            <p:cNvPr id="182" name="Group 181">
              <a:extLst>
                <a:ext uri="{FF2B5EF4-FFF2-40B4-BE49-F238E27FC236}">
                  <a16:creationId xmlns:a16="http://schemas.microsoft.com/office/drawing/2014/main" id="{E3AF783F-EAA4-4CFF-AEB1-7A8CDFF55573}"/>
                </a:ext>
              </a:extLst>
            </p:cNvPr>
            <p:cNvGrpSpPr/>
            <p:nvPr/>
          </p:nvGrpSpPr>
          <p:grpSpPr>
            <a:xfrm>
              <a:off x="2603571" y="2399793"/>
              <a:ext cx="574743" cy="172375"/>
              <a:chOff x="1669207" y="2629959"/>
              <a:chExt cx="542558" cy="162722"/>
            </a:xfrm>
          </p:grpSpPr>
          <p:sp>
            <p:nvSpPr>
              <p:cNvPr id="196" name="Freihandform: Form 411">
                <a:extLst>
                  <a:ext uri="{FF2B5EF4-FFF2-40B4-BE49-F238E27FC236}">
                    <a16:creationId xmlns:a16="http://schemas.microsoft.com/office/drawing/2014/main" id="{2FEAA324-3178-4E48-922E-FB6A198DDA3D}"/>
                  </a:ext>
                </a:extLst>
              </p:cNvPr>
              <p:cNvSpPr/>
              <p:nvPr/>
            </p:nvSpPr>
            <p:spPr>
              <a:xfrm>
                <a:off x="1669207" y="2629959"/>
                <a:ext cx="162722" cy="162722"/>
              </a:xfrm>
              <a:custGeom>
                <a:avLst/>
                <a:gdLst>
                  <a:gd name="connsiteX0" fmla="*/ 81361 w 162722"/>
                  <a:gd name="connsiteY0" fmla="*/ 162722 h 162722"/>
                  <a:gd name="connsiteX1" fmla="*/ 0 w 162722"/>
                  <a:gd name="connsiteY1" fmla="*/ 81361 h 162722"/>
                  <a:gd name="connsiteX2" fmla="*/ 81361 w 162722"/>
                  <a:gd name="connsiteY2" fmla="*/ 0 h 162722"/>
                  <a:gd name="connsiteX3" fmla="*/ 162723 w 162722"/>
                  <a:gd name="connsiteY3" fmla="*/ 81361 h 162722"/>
                  <a:gd name="connsiteX4" fmla="*/ 81361 w 162722"/>
                  <a:gd name="connsiteY4" fmla="*/ 162722 h 162722"/>
                  <a:gd name="connsiteX5" fmla="*/ 81361 w 162722"/>
                  <a:gd name="connsiteY5" fmla="*/ 9745 h 162722"/>
                  <a:gd name="connsiteX6" fmla="*/ 9745 w 162722"/>
                  <a:gd name="connsiteY6" fmla="*/ 81361 h 162722"/>
                  <a:gd name="connsiteX7" fmla="*/ 81361 w 162722"/>
                  <a:gd name="connsiteY7" fmla="*/ 152977 h 162722"/>
                  <a:gd name="connsiteX8" fmla="*/ 152977 w 162722"/>
                  <a:gd name="connsiteY8" fmla="*/ 81361 h 162722"/>
                  <a:gd name="connsiteX9" fmla="*/ 81361 w 162722"/>
                  <a:gd name="connsiteY9" fmla="*/ 9745 h 162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2722" h="162722">
                    <a:moveTo>
                      <a:pt x="81361" y="162722"/>
                    </a:moveTo>
                    <a:cubicBezTo>
                      <a:pt x="36488" y="162722"/>
                      <a:pt x="0" y="126234"/>
                      <a:pt x="0" y="81361"/>
                    </a:cubicBezTo>
                    <a:cubicBezTo>
                      <a:pt x="0" y="36488"/>
                      <a:pt x="36513" y="0"/>
                      <a:pt x="81361" y="0"/>
                    </a:cubicBezTo>
                    <a:cubicBezTo>
                      <a:pt x="126235" y="0"/>
                      <a:pt x="162723" y="36488"/>
                      <a:pt x="162723" y="81361"/>
                    </a:cubicBezTo>
                    <a:cubicBezTo>
                      <a:pt x="162723" y="126234"/>
                      <a:pt x="126235" y="162722"/>
                      <a:pt x="81361" y="162722"/>
                    </a:cubicBezTo>
                    <a:close/>
                    <a:moveTo>
                      <a:pt x="81361" y="9745"/>
                    </a:moveTo>
                    <a:cubicBezTo>
                      <a:pt x="41877" y="9745"/>
                      <a:pt x="9745" y="41877"/>
                      <a:pt x="9745" y="81361"/>
                    </a:cubicBezTo>
                    <a:cubicBezTo>
                      <a:pt x="9745" y="120846"/>
                      <a:pt x="41877" y="152977"/>
                      <a:pt x="81361" y="152977"/>
                    </a:cubicBezTo>
                    <a:cubicBezTo>
                      <a:pt x="120846" y="152977"/>
                      <a:pt x="152977" y="120846"/>
                      <a:pt x="152977" y="81361"/>
                    </a:cubicBezTo>
                    <a:cubicBezTo>
                      <a:pt x="152977" y="41877"/>
                      <a:pt x="120846" y="9745"/>
                      <a:pt x="81361" y="9745"/>
                    </a:cubicBezTo>
                    <a:close/>
                  </a:path>
                </a:pathLst>
              </a:custGeom>
              <a:solidFill>
                <a:schemeClr val="accent1"/>
              </a:solidFill>
              <a:ln w="2512" cap="flat">
                <a:noFill/>
                <a:prstDash val="solid"/>
                <a:miter/>
              </a:ln>
            </p:spPr>
            <p:txBody>
              <a:bodyPr rtlCol="0" anchor="ctr"/>
              <a:lstStyle/>
              <a:p>
                <a:endParaRPr lang="en-GB" dirty="0"/>
              </a:p>
            </p:txBody>
          </p:sp>
          <p:grpSp>
            <p:nvGrpSpPr>
              <p:cNvPr id="197" name="Grafik 8">
                <a:extLst>
                  <a:ext uri="{FF2B5EF4-FFF2-40B4-BE49-F238E27FC236}">
                    <a16:creationId xmlns:a16="http://schemas.microsoft.com/office/drawing/2014/main" id="{7BB0C353-D86C-4BC1-B49F-15A656FE81D2}"/>
                  </a:ext>
                </a:extLst>
              </p:cNvPr>
              <p:cNvGrpSpPr/>
              <p:nvPr/>
            </p:nvGrpSpPr>
            <p:grpSpPr>
              <a:xfrm>
                <a:off x="2038446" y="2635196"/>
                <a:ext cx="173319" cy="153908"/>
                <a:chOff x="2038446" y="2635196"/>
                <a:chExt cx="173319" cy="153908"/>
              </a:xfrm>
              <a:solidFill>
                <a:schemeClr val="accent1"/>
              </a:solidFill>
            </p:grpSpPr>
            <p:sp>
              <p:nvSpPr>
                <p:cNvPr id="198" name="Freihandform: Form 413">
                  <a:extLst>
                    <a:ext uri="{FF2B5EF4-FFF2-40B4-BE49-F238E27FC236}">
                      <a16:creationId xmlns:a16="http://schemas.microsoft.com/office/drawing/2014/main" id="{CCEBF56B-0439-43B3-9E47-B6C031A2EF1A}"/>
                    </a:ext>
                  </a:extLst>
                </p:cNvPr>
                <p:cNvSpPr/>
                <p:nvPr/>
              </p:nvSpPr>
              <p:spPr>
                <a:xfrm>
                  <a:off x="2038467" y="2657381"/>
                  <a:ext cx="131018" cy="131724"/>
                </a:xfrm>
                <a:custGeom>
                  <a:avLst/>
                  <a:gdLst>
                    <a:gd name="connsiteX0" fmla="*/ 126134 w 131018"/>
                    <a:gd name="connsiteY0" fmla="*/ 131724 h 131724"/>
                    <a:gd name="connsiteX1" fmla="*/ 4885 w 131018"/>
                    <a:gd name="connsiteY1" fmla="*/ 131724 h 131724"/>
                    <a:gd name="connsiteX2" fmla="*/ 0 w 131018"/>
                    <a:gd name="connsiteY2" fmla="*/ 126839 h 131724"/>
                    <a:gd name="connsiteX3" fmla="*/ 0 w 131018"/>
                    <a:gd name="connsiteY3" fmla="*/ 4885 h 131724"/>
                    <a:gd name="connsiteX4" fmla="*/ 4885 w 131018"/>
                    <a:gd name="connsiteY4" fmla="*/ 0 h 131724"/>
                    <a:gd name="connsiteX5" fmla="*/ 126134 w 131018"/>
                    <a:gd name="connsiteY5" fmla="*/ 0 h 131724"/>
                    <a:gd name="connsiteX6" fmla="*/ 131019 w 131018"/>
                    <a:gd name="connsiteY6" fmla="*/ 4885 h 131724"/>
                    <a:gd name="connsiteX7" fmla="*/ 131019 w 131018"/>
                    <a:gd name="connsiteY7" fmla="*/ 126839 h 131724"/>
                    <a:gd name="connsiteX8" fmla="*/ 126134 w 131018"/>
                    <a:gd name="connsiteY8" fmla="*/ 131724 h 131724"/>
                    <a:gd name="connsiteX9" fmla="*/ 9745 w 131018"/>
                    <a:gd name="connsiteY9" fmla="*/ 121954 h 131724"/>
                    <a:gd name="connsiteX10" fmla="*/ 121249 w 131018"/>
                    <a:gd name="connsiteY10" fmla="*/ 121954 h 131724"/>
                    <a:gd name="connsiteX11" fmla="*/ 121249 w 131018"/>
                    <a:gd name="connsiteY11" fmla="*/ 9770 h 131724"/>
                    <a:gd name="connsiteX12" fmla="*/ 9745 w 131018"/>
                    <a:gd name="connsiteY12" fmla="*/ 9770 h 131724"/>
                    <a:gd name="connsiteX13" fmla="*/ 9745 w 131018"/>
                    <a:gd name="connsiteY13" fmla="*/ 121954 h 131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1018" h="131724">
                      <a:moveTo>
                        <a:pt x="126134" y="131724"/>
                      </a:moveTo>
                      <a:lnTo>
                        <a:pt x="4885" y="131724"/>
                      </a:lnTo>
                      <a:cubicBezTo>
                        <a:pt x="2191" y="131724"/>
                        <a:pt x="0" y="129533"/>
                        <a:pt x="0" y="126839"/>
                      </a:cubicBezTo>
                      <a:lnTo>
                        <a:pt x="0" y="4885"/>
                      </a:lnTo>
                      <a:cubicBezTo>
                        <a:pt x="0" y="2191"/>
                        <a:pt x="2191" y="0"/>
                        <a:pt x="4885" y="0"/>
                      </a:cubicBezTo>
                      <a:lnTo>
                        <a:pt x="126134" y="0"/>
                      </a:lnTo>
                      <a:cubicBezTo>
                        <a:pt x="128828" y="0"/>
                        <a:pt x="131019" y="2191"/>
                        <a:pt x="131019" y="4885"/>
                      </a:cubicBezTo>
                      <a:lnTo>
                        <a:pt x="131019" y="126839"/>
                      </a:lnTo>
                      <a:cubicBezTo>
                        <a:pt x="130994" y="129533"/>
                        <a:pt x="128828" y="131724"/>
                        <a:pt x="126134" y="131724"/>
                      </a:cubicBezTo>
                      <a:close/>
                      <a:moveTo>
                        <a:pt x="9745" y="121954"/>
                      </a:moveTo>
                      <a:lnTo>
                        <a:pt x="121249" y="121954"/>
                      </a:lnTo>
                      <a:lnTo>
                        <a:pt x="121249" y="9770"/>
                      </a:lnTo>
                      <a:lnTo>
                        <a:pt x="9745" y="9770"/>
                      </a:lnTo>
                      <a:lnTo>
                        <a:pt x="9745" y="121954"/>
                      </a:lnTo>
                      <a:close/>
                    </a:path>
                  </a:pathLst>
                </a:custGeom>
                <a:solidFill>
                  <a:schemeClr val="accent1"/>
                </a:solidFill>
                <a:ln w="2512" cap="flat">
                  <a:noFill/>
                  <a:prstDash val="solid"/>
                  <a:miter/>
                </a:ln>
              </p:spPr>
              <p:txBody>
                <a:bodyPr rtlCol="0" anchor="ctr"/>
                <a:lstStyle/>
                <a:p>
                  <a:endParaRPr lang="en-GB" dirty="0"/>
                </a:p>
              </p:txBody>
            </p:sp>
            <p:sp>
              <p:nvSpPr>
                <p:cNvPr id="199" name="Freihandform: Form 414">
                  <a:extLst>
                    <a:ext uri="{FF2B5EF4-FFF2-40B4-BE49-F238E27FC236}">
                      <a16:creationId xmlns:a16="http://schemas.microsoft.com/office/drawing/2014/main" id="{B8D4430D-82D7-4AC8-A4F5-01CD64D7F5EE}"/>
                    </a:ext>
                  </a:extLst>
                </p:cNvPr>
                <p:cNvSpPr/>
                <p:nvPr/>
              </p:nvSpPr>
              <p:spPr>
                <a:xfrm>
                  <a:off x="2159501" y="2635204"/>
                  <a:ext cx="52265" cy="153901"/>
                </a:xfrm>
                <a:custGeom>
                  <a:avLst/>
                  <a:gdLst>
                    <a:gd name="connsiteX0" fmla="*/ 5100 w 52265"/>
                    <a:gd name="connsiteY0" fmla="*/ 153901 h 153901"/>
                    <a:gd name="connsiteX1" fmla="*/ 845 w 52265"/>
                    <a:gd name="connsiteY1" fmla="*/ 151408 h 153901"/>
                    <a:gd name="connsiteX2" fmla="*/ 2733 w 52265"/>
                    <a:gd name="connsiteY2" fmla="*/ 144760 h 153901"/>
                    <a:gd name="connsiteX3" fmla="*/ 42495 w 52265"/>
                    <a:gd name="connsiteY3" fmla="*/ 122601 h 153901"/>
                    <a:gd name="connsiteX4" fmla="*/ 42495 w 52265"/>
                    <a:gd name="connsiteY4" fmla="*/ 13011 h 153901"/>
                    <a:gd name="connsiteX5" fmla="*/ 7165 w 52265"/>
                    <a:gd name="connsiteY5" fmla="*/ 31822 h 153901"/>
                    <a:gd name="connsiteX6" fmla="*/ 568 w 52265"/>
                    <a:gd name="connsiteY6" fmla="*/ 29807 h 153901"/>
                    <a:gd name="connsiteX7" fmla="*/ 2582 w 52265"/>
                    <a:gd name="connsiteY7" fmla="*/ 23210 h 153901"/>
                    <a:gd name="connsiteX8" fmla="*/ 45088 w 52265"/>
                    <a:gd name="connsiteY8" fmla="*/ 571 h 153901"/>
                    <a:gd name="connsiteX9" fmla="*/ 49898 w 52265"/>
                    <a:gd name="connsiteY9" fmla="*/ 697 h 153901"/>
                    <a:gd name="connsiteX10" fmla="*/ 52265 w 52265"/>
                    <a:gd name="connsiteY10" fmla="*/ 4877 h 153901"/>
                    <a:gd name="connsiteX11" fmla="*/ 52265 w 52265"/>
                    <a:gd name="connsiteY11" fmla="*/ 125446 h 153901"/>
                    <a:gd name="connsiteX12" fmla="*/ 49772 w 52265"/>
                    <a:gd name="connsiteY12" fmla="*/ 129702 h 153901"/>
                    <a:gd name="connsiteX13" fmla="*/ 7493 w 52265"/>
                    <a:gd name="connsiteY13" fmla="*/ 153272 h 153901"/>
                    <a:gd name="connsiteX14" fmla="*/ 5100 w 52265"/>
                    <a:gd name="connsiteY14" fmla="*/ 153901 h 15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265" h="153901">
                      <a:moveTo>
                        <a:pt x="5100" y="153901"/>
                      </a:moveTo>
                      <a:cubicBezTo>
                        <a:pt x="3388" y="153901"/>
                        <a:pt x="1726" y="152995"/>
                        <a:pt x="845" y="151408"/>
                      </a:cubicBezTo>
                      <a:cubicBezTo>
                        <a:pt x="-465" y="149066"/>
                        <a:pt x="366" y="146070"/>
                        <a:pt x="2733" y="144760"/>
                      </a:cubicBezTo>
                      <a:lnTo>
                        <a:pt x="42495" y="122601"/>
                      </a:lnTo>
                      <a:lnTo>
                        <a:pt x="42495" y="13011"/>
                      </a:lnTo>
                      <a:lnTo>
                        <a:pt x="7165" y="31822"/>
                      </a:lnTo>
                      <a:cubicBezTo>
                        <a:pt x="4798" y="33081"/>
                        <a:pt x="1827" y="32199"/>
                        <a:pt x="568" y="29807"/>
                      </a:cubicBezTo>
                      <a:cubicBezTo>
                        <a:pt x="-691" y="27440"/>
                        <a:pt x="215" y="24469"/>
                        <a:pt x="2582" y="23210"/>
                      </a:cubicBezTo>
                      <a:lnTo>
                        <a:pt x="45088" y="571"/>
                      </a:lnTo>
                      <a:cubicBezTo>
                        <a:pt x="46599" y="-234"/>
                        <a:pt x="48438" y="-184"/>
                        <a:pt x="49898" y="697"/>
                      </a:cubicBezTo>
                      <a:cubicBezTo>
                        <a:pt x="51359" y="1579"/>
                        <a:pt x="52265" y="3165"/>
                        <a:pt x="52265" y="4877"/>
                      </a:cubicBezTo>
                      <a:lnTo>
                        <a:pt x="52265" y="125446"/>
                      </a:lnTo>
                      <a:cubicBezTo>
                        <a:pt x="52265" y="127209"/>
                        <a:pt x="51308" y="128846"/>
                        <a:pt x="49772" y="129702"/>
                      </a:cubicBezTo>
                      <a:lnTo>
                        <a:pt x="7493" y="153272"/>
                      </a:lnTo>
                      <a:cubicBezTo>
                        <a:pt x="6712" y="153700"/>
                        <a:pt x="5906" y="153901"/>
                        <a:pt x="5100" y="153901"/>
                      </a:cubicBezTo>
                      <a:close/>
                    </a:path>
                  </a:pathLst>
                </a:custGeom>
                <a:solidFill>
                  <a:schemeClr val="accent1"/>
                </a:solidFill>
                <a:ln w="2512" cap="flat">
                  <a:noFill/>
                  <a:prstDash val="solid"/>
                  <a:miter/>
                </a:ln>
              </p:spPr>
              <p:txBody>
                <a:bodyPr rtlCol="0" anchor="ctr"/>
                <a:lstStyle/>
                <a:p>
                  <a:endParaRPr lang="en-GB" dirty="0"/>
                </a:p>
              </p:txBody>
            </p:sp>
            <p:sp>
              <p:nvSpPr>
                <p:cNvPr id="200" name="Freihandform: Form 415">
                  <a:extLst>
                    <a:ext uri="{FF2B5EF4-FFF2-40B4-BE49-F238E27FC236}">
                      <a16:creationId xmlns:a16="http://schemas.microsoft.com/office/drawing/2014/main" id="{AB4440BE-CFB1-4AFC-AFF0-FF6D955BB6E4}"/>
                    </a:ext>
                  </a:extLst>
                </p:cNvPr>
                <p:cNvSpPr/>
                <p:nvPr/>
              </p:nvSpPr>
              <p:spPr>
                <a:xfrm>
                  <a:off x="2038446" y="2635196"/>
                  <a:ext cx="173269" cy="31955"/>
                </a:xfrm>
                <a:custGeom>
                  <a:avLst/>
                  <a:gdLst>
                    <a:gd name="connsiteX0" fmla="*/ 4881 w 173269"/>
                    <a:gd name="connsiteY0" fmla="*/ 31955 h 31955"/>
                    <a:gd name="connsiteX1" fmla="*/ 751 w 173269"/>
                    <a:gd name="connsiteY1" fmla="*/ 29664 h 31955"/>
                    <a:gd name="connsiteX2" fmla="*/ 2288 w 173269"/>
                    <a:gd name="connsiteY2" fmla="*/ 22940 h 31955"/>
                    <a:gd name="connsiteX3" fmla="*/ 37617 w 173269"/>
                    <a:gd name="connsiteY3" fmla="*/ 755 h 31955"/>
                    <a:gd name="connsiteX4" fmla="*/ 40211 w 173269"/>
                    <a:gd name="connsiteY4" fmla="*/ 0 h 31955"/>
                    <a:gd name="connsiteX5" fmla="*/ 168384 w 173269"/>
                    <a:gd name="connsiteY5" fmla="*/ 0 h 31955"/>
                    <a:gd name="connsiteX6" fmla="*/ 173269 w 173269"/>
                    <a:gd name="connsiteY6" fmla="*/ 4885 h 31955"/>
                    <a:gd name="connsiteX7" fmla="*/ 168384 w 173269"/>
                    <a:gd name="connsiteY7" fmla="*/ 9770 h 31955"/>
                    <a:gd name="connsiteX8" fmla="*/ 41596 w 173269"/>
                    <a:gd name="connsiteY8" fmla="*/ 9770 h 31955"/>
                    <a:gd name="connsiteX9" fmla="*/ 7450 w 173269"/>
                    <a:gd name="connsiteY9" fmla="*/ 31200 h 31955"/>
                    <a:gd name="connsiteX10" fmla="*/ 4881 w 173269"/>
                    <a:gd name="connsiteY10" fmla="*/ 31955 h 3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269" h="31955">
                      <a:moveTo>
                        <a:pt x="4881" y="31955"/>
                      </a:moveTo>
                      <a:cubicBezTo>
                        <a:pt x="3270" y="31955"/>
                        <a:pt x="1683" y="31149"/>
                        <a:pt x="751" y="29664"/>
                      </a:cubicBezTo>
                      <a:cubicBezTo>
                        <a:pt x="-684" y="27372"/>
                        <a:pt x="-4" y="24376"/>
                        <a:pt x="2288" y="22940"/>
                      </a:cubicBezTo>
                      <a:lnTo>
                        <a:pt x="37617" y="755"/>
                      </a:lnTo>
                      <a:cubicBezTo>
                        <a:pt x="38398" y="277"/>
                        <a:pt x="39279" y="0"/>
                        <a:pt x="40211" y="0"/>
                      </a:cubicBezTo>
                      <a:lnTo>
                        <a:pt x="168384" y="0"/>
                      </a:lnTo>
                      <a:cubicBezTo>
                        <a:pt x="171079" y="0"/>
                        <a:pt x="173269" y="2191"/>
                        <a:pt x="173269" y="4885"/>
                      </a:cubicBezTo>
                      <a:cubicBezTo>
                        <a:pt x="173269" y="7580"/>
                        <a:pt x="171079" y="9770"/>
                        <a:pt x="168384" y="9770"/>
                      </a:cubicBezTo>
                      <a:lnTo>
                        <a:pt x="41596" y="9770"/>
                      </a:lnTo>
                      <a:lnTo>
                        <a:pt x="7450" y="31200"/>
                      </a:lnTo>
                      <a:cubicBezTo>
                        <a:pt x="6669" y="31729"/>
                        <a:pt x="5788" y="31955"/>
                        <a:pt x="4881" y="31955"/>
                      </a:cubicBezTo>
                      <a:close/>
                    </a:path>
                  </a:pathLst>
                </a:custGeom>
                <a:solidFill>
                  <a:schemeClr val="accent1"/>
                </a:solidFill>
                <a:ln w="2512" cap="flat">
                  <a:noFill/>
                  <a:prstDash val="solid"/>
                  <a:miter/>
                </a:ln>
              </p:spPr>
              <p:txBody>
                <a:bodyPr rtlCol="0" anchor="ctr"/>
                <a:lstStyle/>
                <a:p>
                  <a:endParaRPr lang="en-GB" dirty="0"/>
                </a:p>
              </p:txBody>
            </p:sp>
          </p:grpSp>
        </p:grpSp>
        <p:grpSp>
          <p:nvGrpSpPr>
            <p:cNvPr id="183" name="Grafik 8">
              <a:extLst>
                <a:ext uri="{FF2B5EF4-FFF2-40B4-BE49-F238E27FC236}">
                  <a16:creationId xmlns:a16="http://schemas.microsoft.com/office/drawing/2014/main" id="{FD8CCC56-46E5-4355-A1B4-C077841288AC}"/>
                </a:ext>
              </a:extLst>
            </p:cNvPr>
            <p:cNvGrpSpPr/>
            <p:nvPr/>
          </p:nvGrpSpPr>
          <p:grpSpPr>
            <a:xfrm>
              <a:off x="2524918" y="2517115"/>
              <a:ext cx="720000" cy="298144"/>
              <a:chOff x="1594958" y="2740711"/>
              <a:chExt cx="679681" cy="281448"/>
            </a:xfrm>
            <a:solidFill>
              <a:schemeClr val="tx2"/>
            </a:solidFill>
          </p:grpSpPr>
          <p:grpSp>
            <p:nvGrpSpPr>
              <p:cNvPr id="184" name="Grafik 8">
                <a:extLst>
                  <a:ext uri="{FF2B5EF4-FFF2-40B4-BE49-F238E27FC236}">
                    <a16:creationId xmlns:a16="http://schemas.microsoft.com/office/drawing/2014/main" id="{E9A69609-3781-4D78-8E1A-ECD0E1B6273D}"/>
                  </a:ext>
                </a:extLst>
              </p:cNvPr>
              <p:cNvGrpSpPr/>
              <p:nvPr/>
            </p:nvGrpSpPr>
            <p:grpSpPr>
              <a:xfrm>
                <a:off x="1594958" y="2740711"/>
                <a:ext cx="331553" cy="281448"/>
                <a:chOff x="1594958" y="2740711"/>
                <a:chExt cx="331553" cy="281448"/>
              </a:xfrm>
              <a:grpFill/>
            </p:grpSpPr>
            <p:grpSp>
              <p:nvGrpSpPr>
                <p:cNvPr id="191" name="Grafik 8">
                  <a:extLst>
                    <a:ext uri="{FF2B5EF4-FFF2-40B4-BE49-F238E27FC236}">
                      <a16:creationId xmlns:a16="http://schemas.microsoft.com/office/drawing/2014/main" id="{A1A5C6AF-208C-4981-B9CC-BD28D2DD8B26}"/>
                    </a:ext>
                  </a:extLst>
                </p:cNvPr>
                <p:cNvGrpSpPr/>
                <p:nvPr/>
              </p:nvGrpSpPr>
              <p:grpSpPr>
                <a:xfrm>
                  <a:off x="1594958" y="2740711"/>
                  <a:ext cx="301179" cy="194421"/>
                  <a:chOff x="1594958" y="2740711"/>
                  <a:chExt cx="301179" cy="194421"/>
                </a:xfrm>
                <a:grpFill/>
              </p:grpSpPr>
              <p:sp>
                <p:nvSpPr>
                  <p:cNvPr id="194" name="Freihandform: Form 419">
                    <a:extLst>
                      <a:ext uri="{FF2B5EF4-FFF2-40B4-BE49-F238E27FC236}">
                        <a16:creationId xmlns:a16="http://schemas.microsoft.com/office/drawing/2014/main" id="{BE1858D8-D867-4F6D-9906-73642169F6D0}"/>
                      </a:ext>
                    </a:extLst>
                  </p:cNvPr>
                  <p:cNvSpPr/>
                  <p:nvPr/>
                </p:nvSpPr>
                <p:spPr>
                  <a:xfrm>
                    <a:off x="1594958" y="2740711"/>
                    <a:ext cx="234214" cy="194421"/>
                  </a:xfrm>
                  <a:custGeom>
                    <a:avLst/>
                    <a:gdLst>
                      <a:gd name="connsiteX0" fmla="*/ 227982 w 234214"/>
                      <a:gd name="connsiteY0" fmla="*/ 194422 h 194421"/>
                      <a:gd name="connsiteX1" fmla="*/ 227629 w 234214"/>
                      <a:gd name="connsiteY1" fmla="*/ 194397 h 194421"/>
                      <a:gd name="connsiteX2" fmla="*/ 223122 w 234214"/>
                      <a:gd name="connsiteY2" fmla="*/ 189184 h 194421"/>
                      <a:gd name="connsiteX3" fmla="*/ 224079 w 234214"/>
                      <a:gd name="connsiteY3" fmla="*/ 176216 h 194421"/>
                      <a:gd name="connsiteX4" fmla="*/ 80847 w 234214"/>
                      <a:gd name="connsiteY4" fmla="*/ 149297 h 194421"/>
                      <a:gd name="connsiteX5" fmla="*/ 27084 w 234214"/>
                      <a:gd name="connsiteY5" fmla="*/ 95987 h 194421"/>
                      <a:gd name="connsiteX6" fmla="*/ 65 w 234214"/>
                      <a:gd name="connsiteY6" fmla="*/ 10824 h 194421"/>
                      <a:gd name="connsiteX7" fmla="*/ 8576 w 234214"/>
                      <a:gd name="connsiteY7" fmla="*/ 424 h 194421"/>
                      <a:gd name="connsiteX8" fmla="*/ 45618 w 234214"/>
                      <a:gd name="connsiteY8" fmla="*/ 22961 h 194421"/>
                      <a:gd name="connsiteX9" fmla="*/ 65662 w 234214"/>
                      <a:gd name="connsiteY9" fmla="*/ 75867 h 194421"/>
                      <a:gd name="connsiteX10" fmla="*/ 111946 w 234214"/>
                      <a:gd name="connsiteY10" fmla="*/ 103063 h 194421"/>
                      <a:gd name="connsiteX11" fmla="*/ 124587 w 234214"/>
                      <a:gd name="connsiteY11" fmla="*/ 107294 h 194421"/>
                      <a:gd name="connsiteX12" fmla="*/ 126954 w 234214"/>
                      <a:gd name="connsiteY12" fmla="*/ 107823 h 194421"/>
                      <a:gd name="connsiteX13" fmla="*/ 143448 w 234214"/>
                      <a:gd name="connsiteY13" fmla="*/ 109107 h 194421"/>
                      <a:gd name="connsiteX14" fmla="*/ 149315 w 234214"/>
                      <a:gd name="connsiteY14" fmla="*/ 112733 h 194421"/>
                      <a:gd name="connsiteX15" fmla="*/ 145689 w 234214"/>
                      <a:gd name="connsiteY15" fmla="*/ 118600 h 194421"/>
                      <a:gd name="connsiteX16" fmla="*/ 124864 w 234214"/>
                      <a:gd name="connsiteY16" fmla="*/ 117367 h 194421"/>
                      <a:gd name="connsiteX17" fmla="*/ 121867 w 234214"/>
                      <a:gd name="connsiteY17" fmla="*/ 116661 h 194421"/>
                      <a:gd name="connsiteX18" fmla="*/ 108849 w 234214"/>
                      <a:gd name="connsiteY18" fmla="*/ 112305 h 194421"/>
                      <a:gd name="connsiteX19" fmla="*/ 58133 w 234214"/>
                      <a:gd name="connsiteY19" fmla="*/ 82087 h 194421"/>
                      <a:gd name="connsiteX20" fmla="*/ 36301 w 234214"/>
                      <a:gd name="connsiteY20" fmla="*/ 25907 h 194421"/>
                      <a:gd name="connsiteX21" fmla="*/ 18170 w 234214"/>
                      <a:gd name="connsiteY21" fmla="*/ 10522 h 194421"/>
                      <a:gd name="connsiteX22" fmla="*/ 9558 w 234214"/>
                      <a:gd name="connsiteY22" fmla="*/ 10320 h 194421"/>
                      <a:gd name="connsiteX23" fmla="*/ 35847 w 234214"/>
                      <a:gd name="connsiteY23" fmla="*/ 91707 h 194421"/>
                      <a:gd name="connsiteX24" fmla="*/ 86764 w 234214"/>
                      <a:gd name="connsiteY24" fmla="*/ 141515 h 194421"/>
                      <a:gd name="connsiteX25" fmla="*/ 229065 w 234214"/>
                      <a:gd name="connsiteY25" fmla="*/ 166193 h 194421"/>
                      <a:gd name="connsiteX26" fmla="*/ 232817 w 234214"/>
                      <a:gd name="connsiteY26" fmla="*/ 167654 h 194421"/>
                      <a:gd name="connsiteX27" fmla="*/ 234202 w 234214"/>
                      <a:gd name="connsiteY27" fmla="*/ 171431 h 194421"/>
                      <a:gd name="connsiteX28" fmla="*/ 232842 w 234214"/>
                      <a:gd name="connsiteY28" fmla="*/ 189864 h 194421"/>
                      <a:gd name="connsiteX29" fmla="*/ 227982 w 234214"/>
                      <a:gd name="connsiteY29" fmla="*/ 194422 h 194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4214" h="194421">
                        <a:moveTo>
                          <a:pt x="227982" y="194422"/>
                        </a:moveTo>
                        <a:cubicBezTo>
                          <a:pt x="227856" y="194422"/>
                          <a:pt x="227730" y="194422"/>
                          <a:pt x="227629" y="194397"/>
                        </a:cubicBezTo>
                        <a:cubicBezTo>
                          <a:pt x="224935" y="194195"/>
                          <a:pt x="222920" y="191853"/>
                          <a:pt x="223122" y="189184"/>
                        </a:cubicBezTo>
                        <a:lnTo>
                          <a:pt x="224079" y="176216"/>
                        </a:lnTo>
                        <a:cubicBezTo>
                          <a:pt x="201516" y="176946"/>
                          <a:pt x="117662" y="177726"/>
                          <a:pt x="80847" y="149297"/>
                        </a:cubicBezTo>
                        <a:cubicBezTo>
                          <a:pt x="64202" y="136605"/>
                          <a:pt x="31970" y="106085"/>
                          <a:pt x="27084" y="95987"/>
                        </a:cubicBezTo>
                        <a:cubicBezTo>
                          <a:pt x="26833" y="95433"/>
                          <a:pt x="694" y="41016"/>
                          <a:pt x="65" y="10824"/>
                        </a:cubicBezTo>
                        <a:cubicBezTo>
                          <a:pt x="-515" y="5939"/>
                          <a:pt x="2835" y="1683"/>
                          <a:pt x="8576" y="424"/>
                        </a:cubicBezTo>
                        <a:cubicBezTo>
                          <a:pt x="19681" y="-2044"/>
                          <a:pt x="40128" y="6367"/>
                          <a:pt x="45618" y="22961"/>
                        </a:cubicBezTo>
                        <a:cubicBezTo>
                          <a:pt x="48866" y="33462"/>
                          <a:pt x="62489" y="71813"/>
                          <a:pt x="65662" y="75867"/>
                        </a:cubicBezTo>
                        <a:cubicBezTo>
                          <a:pt x="79336" y="92235"/>
                          <a:pt x="86890" y="94754"/>
                          <a:pt x="111946" y="103063"/>
                        </a:cubicBezTo>
                        <a:cubicBezTo>
                          <a:pt x="115748" y="104322"/>
                          <a:pt x="119954" y="105707"/>
                          <a:pt x="124587" y="107294"/>
                        </a:cubicBezTo>
                        <a:lnTo>
                          <a:pt x="126954" y="107823"/>
                        </a:lnTo>
                        <a:cubicBezTo>
                          <a:pt x="131789" y="108780"/>
                          <a:pt x="140275" y="109837"/>
                          <a:pt x="143448" y="109107"/>
                        </a:cubicBezTo>
                        <a:cubicBezTo>
                          <a:pt x="146117" y="108477"/>
                          <a:pt x="148686" y="110114"/>
                          <a:pt x="149315" y="112733"/>
                        </a:cubicBezTo>
                        <a:cubicBezTo>
                          <a:pt x="149945" y="115352"/>
                          <a:pt x="148308" y="117971"/>
                          <a:pt x="145689" y="118600"/>
                        </a:cubicBezTo>
                        <a:cubicBezTo>
                          <a:pt x="139318" y="120111"/>
                          <a:pt x="127231" y="117820"/>
                          <a:pt x="124864" y="117367"/>
                        </a:cubicBezTo>
                        <a:lnTo>
                          <a:pt x="121867" y="116661"/>
                        </a:lnTo>
                        <a:cubicBezTo>
                          <a:pt x="116806" y="114949"/>
                          <a:pt x="112651" y="113564"/>
                          <a:pt x="108849" y="112305"/>
                        </a:cubicBezTo>
                        <a:cubicBezTo>
                          <a:pt x="83189" y="103794"/>
                          <a:pt x="73595" y="100596"/>
                          <a:pt x="58133" y="82087"/>
                        </a:cubicBezTo>
                        <a:cubicBezTo>
                          <a:pt x="52644" y="75515"/>
                          <a:pt x="36427" y="26386"/>
                          <a:pt x="36301" y="25907"/>
                        </a:cubicBezTo>
                        <a:cubicBezTo>
                          <a:pt x="33506" y="17472"/>
                          <a:pt x="24768" y="12335"/>
                          <a:pt x="18170" y="10522"/>
                        </a:cubicBezTo>
                        <a:cubicBezTo>
                          <a:pt x="13033" y="9137"/>
                          <a:pt x="10062" y="9867"/>
                          <a:pt x="9558" y="10320"/>
                        </a:cubicBezTo>
                        <a:cubicBezTo>
                          <a:pt x="10263" y="33890"/>
                          <a:pt x="28746" y="77051"/>
                          <a:pt x="35847" y="91707"/>
                        </a:cubicBezTo>
                        <a:cubicBezTo>
                          <a:pt x="39398" y="99034"/>
                          <a:pt x="68911" y="127918"/>
                          <a:pt x="86764" y="141515"/>
                        </a:cubicBezTo>
                        <a:cubicBezTo>
                          <a:pt x="125796" y="171632"/>
                          <a:pt x="228032" y="166244"/>
                          <a:pt x="229065" y="166193"/>
                        </a:cubicBezTo>
                        <a:cubicBezTo>
                          <a:pt x="230399" y="166143"/>
                          <a:pt x="231835" y="166647"/>
                          <a:pt x="232817" y="167654"/>
                        </a:cubicBezTo>
                        <a:cubicBezTo>
                          <a:pt x="233799" y="168661"/>
                          <a:pt x="234302" y="170021"/>
                          <a:pt x="234202" y="171431"/>
                        </a:cubicBezTo>
                        <a:lnTo>
                          <a:pt x="232842" y="189864"/>
                        </a:lnTo>
                        <a:cubicBezTo>
                          <a:pt x="232666" y="192458"/>
                          <a:pt x="230525" y="194422"/>
                          <a:pt x="227982" y="194422"/>
                        </a:cubicBezTo>
                        <a:close/>
                      </a:path>
                    </a:pathLst>
                  </a:custGeom>
                  <a:grpFill/>
                  <a:ln w="2512" cap="flat">
                    <a:noFill/>
                    <a:prstDash val="solid"/>
                    <a:miter/>
                  </a:ln>
                </p:spPr>
                <p:txBody>
                  <a:bodyPr rtlCol="0" anchor="ctr"/>
                  <a:lstStyle/>
                  <a:p>
                    <a:endParaRPr lang="en-GB" dirty="0"/>
                  </a:p>
                </p:txBody>
              </p:sp>
              <p:sp>
                <p:nvSpPr>
                  <p:cNvPr id="195" name="Freihandform: Form 420">
                    <a:extLst>
                      <a:ext uri="{FF2B5EF4-FFF2-40B4-BE49-F238E27FC236}">
                        <a16:creationId xmlns:a16="http://schemas.microsoft.com/office/drawing/2014/main" id="{747BC6CC-E5DE-4573-B115-B6ABBC3755E2}"/>
                      </a:ext>
                    </a:extLst>
                  </p:cNvPr>
                  <p:cNvSpPr/>
                  <p:nvPr/>
                </p:nvSpPr>
                <p:spPr>
                  <a:xfrm>
                    <a:off x="1677170" y="2803843"/>
                    <a:ext cx="218966" cy="131213"/>
                  </a:xfrm>
                  <a:custGeom>
                    <a:avLst/>
                    <a:gdLst>
                      <a:gd name="connsiteX0" fmla="*/ 214036 w 218966"/>
                      <a:gd name="connsiteY0" fmla="*/ 131213 h 131213"/>
                      <a:gd name="connsiteX1" fmla="*/ 209227 w 218966"/>
                      <a:gd name="connsiteY1" fmla="*/ 127134 h 131213"/>
                      <a:gd name="connsiteX2" fmla="*/ 198751 w 218966"/>
                      <a:gd name="connsiteY2" fmla="*/ 64659 h 131213"/>
                      <a:gd name="connsiteX3" fmla="*/ 140129 w 218966"/>
                      <a:gd name="connsiteY3" fmla="*/ 14850 h 131213"/>
                      <a:gd name="connsiteX4" fmla="*/ 111976 w 218966"/>
                      <a:gd name="connsiteY4" fmla="*/ 20667 h 131213"/>
                      <a:gd name="connsiteX5" fmla="*/ 75765 w 218966"/>
                      <a:gd name="connsiteY5" fmla="*/ 20843 h 131213"/>
                      <a:gd name="connsiteX6" fmla="*/ 55343 w 218966"/>
                      <a:gd name="connsiteY6" fmla="*/ 16134 h 131213"/>
                      <a:gd name="connsiteX7" fmla="*/ 10646 w 218966"/>
                      <a:gd name="connsiteY7" fmla="*/ 13641 h 131213"/>
                      <a:gd name="connsiteX8" fmla="*/ 40259 w 218966"/>
                      <a:gd name="connsiteY8" fmla="*/ 43179 h 131213"/>
                      <a:gd name="connsiteX9" fmla="*/ 41292 w 218966"/>
                      <a:gd name="connsiteY9" fmla="*/ 43658 h 131213"/>
                      <a:gd name="connsiteX10" fmla="*/ 43684 w 218966"/>
                      <a:gd name="connsiteY10" fmla="*/ 50129 h 131213"/>
                      <a:gd name="connsiteX11" fmla="*/ 37212 w 218966"/>
                      <a:gd name="connsiteY11" fmla="*/ 52521 h 131213"/>
                      <a:gd name="connsiteX12" fmla="*/ 36205 w 218966"/>
                      <a:gd name="connsiteY12" fmla="*/ 52068 h 131213"/>
                      <a:gd name="connsiteX13" fmla="*/ 1455 w 218966"/>
                      <a:gd name="connsiteY13" fmla="*/ 10418 h 131213"/>
                      <a:gd name="connsiteX14" fmla="*/ 57685 w 218966"/>
                      <a:gd name="connsiteY14" fmla="*/ 6641 h 131213"/>
                      <a:gd name="connsiteX15" fmla="*/ 77956 w 218966"/>
                      <a:gd name="connsiteY15" fmla="*/ 11299 h 131213"/>
                      <a:gd name="connsiteX16" fmla="*/ 109508 w 218966"/>
                      <a:gd name="connsiteY16" fmla="*/ 11199 h 131213"/>
                      <a:gd name="connsiteX17" fmla="*/ 138895 w 218966"/>
                      <a:gd name="connsiteY17" fmla="*/ 5130 h 131213"/>
                      <a:gd name="connsiteX18" fmla="*/ 208396 w 218966"/>
                      <a:gd name="connsiteY18" fmla="*/ 62896 h 131213"/>
                      <a:gd name="connsiteX19" fmla="*/ 218897 w 218966"/>
                      <a:gd name="connsiteY19" fmla="*/ 125497 h 131213"/>
                      <a:gd name="connsiteX20" fmla="*/ 214893 w 218966"/>
                      <a:gd name="connsiteY20" fmla="*/ 131113 h 131213"/>
                      <a:gd name="connsiteX21" fmla="*/ 214036 w 218966"/>
                      <a:gd name="connsiteY21" fmla="*/ 131213 h 131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8966" h="131213">
                        <a:moveTo>
                          <a:pt x="214036" y="131213"/>
                        </a:moveTo>
                        <a:cubicBezTo>
                          <a:pt x="211695" y="131213"/>
                          <a:pt x="209630" y="129526"/>
                          <a:pt x="209227" y="127134"/>
                        </a:cubicBezTo>
                        <a:lnTo>
                          <a:pt x="198751" y="64659"/>
                        </a:lnTo>
                        <a:cubicBezTo>
                          <a:pt x="198323" y="62519"/>
                          <a:pt x="187445" y="9310"/>
                          <a:pt x="140129" y="14850"/>
                        </a:cubicBezTo>
                        <a:cubicBezTo>
                          <a:pt x="126732" y="16764"/>
                          <a:pt x="118548" y="18929"/>
                          <a:pt x="111976" y="20667"/>
                        </a:cubicBezTo>
                        <a:cubicBezTo>
                          <a:pt x="100342" y="23764"/>
                          <a:pt x="93921" y="25451"/>
                          <a:pt x="75765" y="20843"/>
                        </a:cubicBezTo>
                        <a:cubicBezTo>
                          <a:pt x="69243" y="19559"/>
                          <a:pt x="62167" y="17821"/>
                          <a:pt x="55343" y="16134"/>
                        </a:cubicBezTo>
                        <a:cubicBezTo>
                          <a:pt x="36533" y="11526"/>
                          <a:pt x="13139" y="5810"/>
                          <a:pt x="10646" y="13641"/>
                        </a:cubicBezTo>
                        <a:cubicBezTo>
                          <a:pt x="5433" y="27189"/>
                          <a:pt x="29834" y="38395"/>
                          <a:pt x="40259" y="43179"/>
                        </a:cubicBezTo>
                        <a:lnTo>
                          <a:pt x="41292" y="43658"/>
                        </a:lnTo>
                        <a:cubicBezTo>
                          <a:pt x="43734" y="44791"/>
                          <a:pt x="44817" y="47687"/>
                          <a:pt x="43684" y="50129"/>
                        </a:cubicBezTo>
                        <a:cubicBezTo>
                          <a:pt x="42551" y="52572"/>
                          <a:pt x="39655" y="53655"/>
                          <a:pt x="37212" y="52521"/>
                        </a:cubicBezTo>
                        <a:lnTo>
                          <a:pt x="36205" y="52068"/>
                        </a:lnTo>
                        <a:cubicBezTo>
                          <a:pt x="23287" y="46151"/>
                          <a:pt x="-6956" y="32250"/>
                          <a:pt x="1455" y="10418"/>
                        </a:cubicBezTo>
                        <a:cubicBezTo>
                          <a:pt x="6617" y="-5849"/>
                          <a:pt x="31421" y="220"/>
                          <a:pt x="57685" y="6641"/>
                        </a:cubicBezTo>
                        <a:cubicBezTo>
                          <a:pt x="64408" y="8278"/>
                          <a:pt x="71384" y="9990"/>
                          <a:pt x="77956" y="11299"/>
                        </a:cubicBezTo>
                        <a:cubicBezTo>
                          <a:pt x="93921" y="15329"/>
                          <a:pt x="98479" y="14120"/>
                          <a:pt x="109508" y="11199"/>
                        </a:cubicBezTo>
                        <a:cubicBezTo>
                          <a:pt x="115980" y="9486"/>
                          <a:pt x="124844" y="7145"/>
                          <a:pt x="138895" y="5130"/>
                        </a:cubicBezTo>
                        <a:cubicBezTo>
                          <a:pt x="195352" y="-1543"/>
                          <a:pt x="208270" y="62242"/>
                          <a:pt x="208396" y="62896"/>
                        </a:cubicBezTo>
                        <a:lnTo>
                          <a:pt x="218897" y="125497"/>
                        </a:lnTo>
                        <a:cubicBezTo>
                          <a:pt x="219350" y="128167"/>
                          <a:pt x="217562" y="130660"/>
                          <a:pt x="214893" y="131113"/>
                        </a:cubicBezTo>
                        <a:cubicBezTo>
                          <a:pt x="214565" y="131213"/>
                          <a:pt x="214288" y="131213"/>
                          <a:pt x="214036" y="131213"/>
                        </a:cubicBezTo>
                        <a:close/>
                      </a:path>
                    </a:pathLst>
                  </a:custGeom>
                  <a:grpFill/>
                  <a:ln w="2512" cap="flat">
                    <a:noFill/>
                    <a:prstDash val="solid"/>
                    <a:miter/>
                  </a:ln>
                </p:spPr>
                <p:txBody>
                  <a:bodyPr rtlCol="0" anchor="ctr"/>
                  <a:lstStyle/>
                  <a:p>
                    <a:endParaRPr lang="en-GB" dirty="0"/>
                  </a:p>
                </p:txBody>
              </p:sp>
            </p:grpSp>
            <p:sp>
              <p:nvSpPr>
                <p:cNvPr id="192" name="Freihandform: Form 421">
                  <a:extLst>
                    <a:ext uri="{FF2B5EF4-FFF2-40B4-BE49-F238E27FC236}">
                      <a16:creationId xmlns:a16="http://schemas.microsoft.com/office/drawing/2014/main" id="{83E4EE6C-27D0-49DD-A0E7-5E6606E8D6DD}"/>
                    </a:ext>
                  </a:extLst>
                </p:cNvPr>
                <p:cNvSpPr/>
                <p:nvPr/>
              </p:nvSpPr>
              <p:spPr>
                <a:xfrm>
                  <a:off x="1800679" y="2925337"/>
                  <a:ext cx="115280" cy="41423"/>
                </a:xfrm>
                <a:custGeom>
                  <a:avLst/>
                  <a:gdLst>
                    <a:gd name="connsiteX0" fmla="*/ 110395 w 115280"/>
                    <a:gd name="connsiteY0" fmla="*/ 41423 h 41423"/>
                    <a:gd name="connsiteX1" fmla="*/ 4885 w 115280"/>
                    <a:gd name="connsiteY1" fmla="*/ 41423 h 41423"/>
                    <a:gd name="connsiteX2" fmla="*/ 0 w 115280"/>
                    <a:gd name="connsiteY2" fmla="*/ 36538 h 41423"/>
                    <a:gd name="connsiteX3" fmla="*/ 0 w 115280"/>
                    <a:gd name="connsiteY3" fmla="*/ 4885 h 41423"/>
                    <a:gd name="connsiteX4" fmla="*/ 4885 w 115280"/>
                    <a:gd name="connsiteY4" fmla="*/ 0 h 41423"/>
                    <a:gd name="connsiteX5" fmla="*/ 110395 w 115280"/>
                    <a:gd name="connsiteY5" fmla="*/ 0 h 41423"/>
                    <a:gd name="connsiteX6" fmla="*/ 115281 w 115280"/>
                    <a:gd name="connsiteY6" fmla="*/ 4885 h 41423"/>
                    <a:gd name="connsiteX7" fmla="*/ 115281 w 115280"/>
                    <a:gd name="connsiteY7" fmla="*/ 36538 h 41423"/>
                    <a:gd name="connsiteX8" fmla="*/ 110395 w 115280"/>
                    <a:gd name="connsiteY8" fmla="*/ 41423 h 41423"/>
                    <a:gd name="connsiteX9" fmla="*/ 9770 w 115280"/>
                    <a:gd name="connsiteY9" fmla="*/ 31678 h 41423"/>
                    <a:gd name="connsiteX10" fmla="*/ 105510 w 115280"/>
                    <a:gd name="connsiteY10" fmla="*/ 31678 h 41423"/>
                    <a:gd name="connsiteX11" fmla="*/ 105510 w 115280"/>
                    <a:gd name="connsiteY11" fmla="*/ 9796 h 41423"/>
                    <a:gd name="connsiteX12" fmla="*/ 9770 w 115280"/>
                    <a:gd name="connsiteY12" fmla="*/ 9796 h 41423"/>
                    <a:gd name="connsiteX13" fmla="*/ 9770 w 115280"/>
                    <a:gd name="connsiteY13" fmla="*/ 31678 h 4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280" h="41423">
                      <a:moveTo>
                        <a:pt x="110395" y="41423"/>
                      </a:moveTo>
                      <a:lnTo>
                        <a:pt x="4885" y="41423"/>
                      </a:lnTo>
                      <a:cubicBezTo>
                        <a:pt x="2191" y="41423"/>
                        <a:pt x="0" y="39233"/>
                        <a:pt x="0" y="36538"/>
                      </a:cubicBezTo>
                      <a:lnTo>
                        <a:pt x="0" y="4885"/>
                      </a:lnTo>
                      <a:cubicBezTo>
                        <a:pt x="0" y="2191"/>
                        <a:pt x="2191" y="0"/>
                        <a:pt x="4885" y="0"/>
                      </a:cubicBezTo>
                      <a:lnTo>
                        <a:pt x="110395" y="0"/>
                      </a:lnTo>
                      <a:cubicBezTo>
                        <a:pt x="113090" y="0"/>
                        <a:pt x="115281" y="2191"/>
                        <a:pt x="115281" y="4885"/>
                      </a:cubicBezTo>
                      <a:lnTo>
                        <a:pt x="115281" y="36538"/>
                      </a:lnTo>
                      <a:cubicBezTo>
                        <a:pt x="115255" y="39233"/>
                        <a:pt x="113090" y="41423"/>
                        <a:pt x="110395" y="41423"/>
                      </a:cubicBezTo>
                      <a:close/>
                      <a:moveTo>
                        <a:pt x="9770" y="31678"/>
                      </a:moveTo>
                      <a:lnTo>
                        <a:pt x="105510" y="31678"/>
                      </a:lnTo>
                      <a:lnTo>
                        <a:pt x="105510" y="9796"/>
                      </a:lnTo>
                      <a:lnTo>
                        <a:pt x="9770" y="9796"/>
                      </a:lnTo>
                      <a:lnTo>
                        <a:pt x="9770" y="31678"/>
                      </a:lnTo>
                      <a:close/>
                    </a:path>
                  </a:pathLst>
                </a:custGeom>
                <a:grpFill/>
                <a:ln w="2512" cap="flat">
                  <a:noFill/>
                  <a:prstDash val="solid"/>
                  <a:miter/>
                </a:ln>
              </p:spPr>
              <p:txBody>
                <a:bodyPr rtlCol="0" anchor="ctr"/>
                <a:lstStyle/>
                <a:p>
                  <a:endParaRPr lang="en-GB" dirty="0"/>
                </a:p>
              </p:txBody>
            </p:sp>
            <p:sp>
              <p:nvSpPr>
                <p:cNvPr id="193" name="Freihandform: Form 422">
                  <a:extLst>
                    <a:ext uri="{FF2B5EF4-FFF2-40B4-BE49-F238E27FC236}">
                      <a16:creationId xmlns:a16="http://schemas.microsoft.com/office/drawing/2014/main" id="{ED504F34-332A-472E-B02E-25A7B321FB4E}"/>
                    </a:ext>
                  </a:extLst>
                </p:cNvPr>
                <p:cNvSpPr/>
                <p:nvPr/>
              </p:nvSpPr>
              <p:spPr>
                <a:xfrm>
                  <a:off x="1790128" y="2956990"/>
                  <a:ext cx="136382" cy="65169"/>
                </a:xfrm>
                <a:custGeom>
                  <a:avLst/>
                  <a:gdLst>
                    <a:gd name="connsiteX0" fmla="*/ 131497 w 136382"/>
                    <a:gd name="connsiteY0" fmla="*/ 65170 h 65169"/>
                    <a:gd name="connsiteX1" fmla="*/ 126612 w 136382"/>
                    <a:gd name="connsiteY1" fmla="*/ 60284 h 65169"/>
                    <a:gd name="connsiteX2" fmla="*/ 126612 w 136382"/>
                    <a:gd name="connsiteY2" fmla="*/ 9770 h 65169"/>
                    <a:gd name="connsiteX3" fmla="*/ 9770 w 136382"/>
                    <a:gd name="connsiteY3" fmla="*/ 9770 h 65169"/>
                    <a:gd name="connsiteX4" fmla="*/ 9770 w 136382"/>
                    <a:gd name="connsiteY4" fmla="*/ 60284 h 65169"/>
                    <a:gd name="connsiteX5" fmla="*/ 4885 w 136382"/>
                    <a:gd name="connsiteY5" fmla="*/ 65170 h 65169"/>
                    <a:gd name="connsiteX6" fmla="*/ 0 w 136382"/>
                    <a:gd name="connsiteY6" fmla="*/ 60284 h 65169"/>
                    <a:gd name="connsiteX7" fmla="*/ 0 w 136382"/>
                    <a:gd name="connsiteY7" fmla="*/ 4885 h 65169"/>
                    <a:gd name="connsiteX8" fmla="*/ 4885 w 136382"/>
                    <a:gd name="connsiteY8" fmla="*/ 0 h 65169"/>
                    <a:gd name="connsiteX9" fmla="*/ 131497 w 136382"/>
                    <a:gd name="connsiteY9" fmla="*/ 0 h 65169"/>
                    <a:gd name="connsiteX10" fmla="*/ 136383 w 136382"/>
                    <a:gd name="connsiteY10" fmla="*/ 4885 h 65169"/>
                    <a:gd name="connsiteX11" fmla="*/ 136383 w 136382"/>
                    <a:gd name="connsiteY11" fmla="*/ 60284 h 65169"/>
                    <a:gd name="connsiteX12" fmla="*/ 131497 w 136382"/>
                    <a:gd name="connsiteY12" fmla="*/ 65170 h 6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382" h="65169">
                      <a:moveTo>
                        <a:pt x="131497" y="65170"/>
                      </a:moveTo>
                      <a:cubicBezTo>
                        <a:pt x="128803" y="65170"/>
                        <a:pt x="126612" y="62979"/>
                        <a:pt x="126612" y="60284"/>
                      </a:cubicBezTo>
                      <a:lnTo>
                        <a:pt x="126612" y="9770"/>
                      </a:lnTo>
                      <a:lnTo>
                        <a:pt x="9770" y="9770"/>
                      </a:lnTo>
                      <a:lnTo>
                        <a:pt x="9770" y="60284"/>
                      </a:lnTo>
                      <a:cubicBezTo>
                        <a:pt x="9770" y="62979"/>
                        <a:pt x="7580" y="65170"/>
                        <a:pt x="4885" y="65170"/>
                      </a:cubicBezTo>
                      <a:cubicBezTo>
                        <a:pt x="2191" y="65170"/>
                        <a:pt x="0" y="62979"/>
                        <a:pt x="0" y="60284"/>
                      </a:cubicBezTo>
                      <a:lnTo>
                        <a:pt x="0" y="4885"/>
                      </a:lnTo>
                      <a:cubicBezTo>
                        <a:pt x="0" y="2191"/>
                        <a:pt x="2191" y="0"/>
                        <a:pt x="4885" y="0"/>
                      </a:cubicBezTo>
                      <a:lnTo>
                        <a:pt x="131497" y="0"/>
                      </a:lnTo>
                      <a:cubicBezTo>
                        <a:pt x="134192" y="0"/>
                        <a:pt x="136383" y="2191"/>
                        <a:pt x="136383" y="4885"/>
                      </a:cubicBezTo>
                      <a:lnTo>
                        <a:pt x="136383" y="60284"/>
                      </a:lnTo>
                      <a:cubicBezTo>
                        <a:pt x="136357" y="62979"/>
                        <a:pt x="134167" y="65170"/>
                        <a:pt x="131497" y="65170"/>
                      </a:cubicBezTo>
                      <a:close/>
                    </a:path>
                  </a:pathLst>
                </a:custGeom>
                <a:grpFill/>
                <a:ln w="2512" cap="flat">
                  <a:noFill/>
                  <a:prstDash val="solid"/>
                  <a:miter/>
                </a:ln>
              </p:spPr>
              <p:txBody>
                <a:bodyPr rtlCol="0" anchor="ctr"/>
                <a:lstStyle/>
                <a:p>
                  <a:endParaRPr lang="en-GB" dirty="0"/>
                </a:p>
              </p:txBody>
            </p:sp>
          </p:grpSp>
          <p:grpSp>
            <p:nvGrpSpPr>
              <p:cNvPr id="185" name="Grafik 8">
                <a:extLst>
                  <a:ext uri="{FF2B5EF4-FFF2-40B4-BE49-F238E27FC236}">
                    <a16:creationId xmlns:a16="http://schemas.microsoft.com/office/drawing/2014/main" id="{932DFBED-2743-406E-A916-1A11643A623F}"/>
                  </a:ext>
                </a:extLst>
              </p:cNvPr>
              <p:cNvGrpSpPr/>
              <p:nvPr/>
            </p:nvGrpSpPr>
            <p:grpSpPr>
              <a:xfrm>
                <a:off x="1943105" y="2740768"/>
                <a:ext cx="331533" cy="281391"/>
                <a:chOff x="1943105" y="2740768"/>
                <a:chExt cx="331533" cy="281391"/>
              </a:xfrm>
              <a:grpFill/>
            </p:grpSpPr>
            <p:grpSp>
              <p:nvGrpSpPr>
                <p:cNvPr id="186" name="Grafik 8">
                  <a:extLst>
                    <a:ext uri="{FF2B5EF4-FFF2-40B4-BE49-F238E27FC236}">
                      <a16:creationId xmlns:a16="http://schemas.microsoft.com/office/drawing/2014/main" id="{9FC576C1-6453-4384-A70F-54D8619DD87D}"/>
                    </a:ext>
                  </a:extLst>
                </p:cNvPr>
                <p:cNvGrpSpPr/>
                <p:nvPr/>
              </p:nvGrpSpPr>
              <p:grpSpPr>
                <a:xfrm>
                  <a:off x="1973530" y="2740768"/>
                  <a:ext cx="301109" cy="194389"/>
                  <a:chOff x="1973530" y="2740768"/>
                  <a:chExt cx="301109" cy="194389"/>
                </a:xfrm>
                <a:grpFill/>
              </p:grpSpPr>
              <p:sp>
                <p:nvSpPr>
                  <p:cNvPr id="189" name="Freihandform: Form 425">
                    <a:extLst>
                      <a:ext uri="{FF2B5EF4-FFF2-40B4-BE49-F238E27FC236}">
                        <a16:creationId xmlns:a16="http://schemas.microsoft.com/office/drawing/2014/main" id="{B44174F5-950E-4AE4-9F4B-B642E069C0EF}"/>
                      </a:ext>
                    </a:extLst>
                  </p:cNvPr>
                  <p:cNvSpPr/>
                  <p:nvPr/>
                </p:nvSpPr>
                <p:spPr>
                  <a:xfrm>
                    <a:off x="2040419" y="2740768"/>
                    <a:ext cx="234220" cy="194389"/>
                  </a:xfrm>
                  <a:custGeom>
                    <a:avLst/>
                    <a:gdLst>
                      <a:gd name="connsiteX0" fmla="*/ 6232 w 234220"/>
                      <a:gd name="connsiteY0" fmla="*/ 194364 h 194389"/>
                      <a:gd name="connsiteX1" fmla="*/ 1372 w 234220"/>
                      <a:gd name="connsiteY1" fmla="*/ 189832 h 194389"/>
                      <a:gd name="connsiteX2" fmla="*/ 13 w 234220"/>
                      <a:gd name="connsiteY2" fmla="*/ 171399 h 194389"/>
                      <a:gd name="connsiteX3" fmla="*/ 1398 w 234220"/>
                      <a:gd name="connsiteY3" fmla="*/ 167622 h 194389"/>
                      <a:gd name="connsiteX4" fmla="*/ 5150 w 234220"/>
                      <a:gd name="connsiteY4" fmla="*/ 166161 h 194389"/>
                      <a:gd name="connsiteX5" fmla="*/ 147425 w 234220"/>
                      <a:gd name="connsiteY5" fmla="*/ 141509 h 194389"/>
                      <a:gd name="connsiteX6" fmla="*/ 198342 w 234220"/>
                      <a:gd name="connsiteY6" fmla="*/ 91674 h 194389"/>
                      <a:gd name="connsiteX7" fmla="*/ 224405 w 234220"/>
                      <a:gd name="connsiteY7" fmla="*/ 10565 h 194389"/>
                      <a:gd name="connsiteX8" fmla="*/ 216019 w 234220"/>
                      <a:gd name="connsiteY8" fmla="*/ 10515 h 194389"/>
                      <a:gd name="connsiteX9" fmla="*/ 197863 w 234220"/>
                      <a:gd name="connsiteY9" fmla="*/ 25976 h 194389"/>
                      <a:gd name="connsiteX10" fmla="*/ 176056 w 234220"/>
                      <a:gd name="connsiteY10" fmla="*/ 82055 h 194389"/>
                      <a:gd name="connsiteX11" fmla="*/ 125341 w 234220"/>
                      <a:gd name="connsiteY11" fmla="*/ 112273 h 194389"/>
                      <a:gd name="connsiteX12" fmla="*/ 112775 w 234220"/>
                      <a:gd name="connsiteY12" fmla="*/ 116503 h 194389"/>
                      <a:gd name="connsiteX13" fmla="*/ 109527 w 234220"/>
                      <a:gd name="connsiteY13" fmla="*/ 117309 h 194389"/>
                      <a:gd name="connsiteX14" fmla="*/ 88525 w 234220"/>
                      <a:gd name="connsiteY14" fmla="*/ 118593 h 194389"/>
                      <a:gd name="connsiteX15" fmla="*/ 84899 w 234220"/>
                      <a:gd name="connsiteY15" fmla="*/ 112726 h 194389"/>
                      <a:gd name="connsiteX16" fmla="*/ 90767 w 234220"/>
                      <a:gd name="connsiteY16" fmla="*/ 109100 h 194389"/>
                      <a:gd name="connsiteX17" fmla="*/ 107437 w 234220"/>
                      <a:gd name="connsiteY17" fmla="*/ 107791 h 194389"/>
                      <a:gd name="connsiteX18" fmla="*/ 110081 w 234220"/>
                      <a:gd name="connsiteY18" fmla="*/ 107161 h 194389"/>
                      <a:gd name="connsiteX19" fmla="*/ 122269 w 234220"/>
                      <a:gd name="connsiteY19" fmla="*/ 103057 h 194389"/>
                      <a:gd name="connsiteX20" fmla="*/ 168577 w 234220"/>
                      <a:gd name="connsiteY20" fmla="*/ 75835 h 194389"/>
                      <a:gd name="connsiteX21" fmla="*/ 188596 w 234220"/>
                      <a:gd name="connsiteY21" fmla="*/ 23030 h 194389"/>
                      <a:gd name="connsiteX22" fmla="*/ 225664 w 234220"/>
                      <a:gd name="connsiteY22" fmla="*/ 417 h 194389"/>
                      <a:gd name="connsiteX23" fmla="*/ 234150 w 234220"/>
                      <a:gd name="connsiteY23" fmla="*/ 11270 h 194389"/>
                      <a:gd name="connsiteX24" fmla="*/ 207155 w 234220"/>
                      <a:gd name="connsiteY24" fmla="*/ 95981 h 194389"/>
                      <a:gd name="connsiteX25" fmla="*/ 153368 w 234220"/>
                      <a:gd name="connsiteY25" fmla="*/ 149315 h 194389"/>
                      <a:gd name="connsiteX26" fmla="*/ 10136 w 234220"/>
                      <a:gd name="connsiteY26" fmla="*/ 176209 h 194389"/>
                      <a:gd name="connsiteX27" fmla="*/ 11092 w 234220"/>
                      <a:gd name="connsiteY27" fmla="*/ 189177 h 194389"/>
                      <a:gd name="connsiteX28" fmla="*/ 6585 w 234220"/>
                      <a:gd name="connsiteY28" fmla="*/ 194390 h 194389"/>
                      <a:gd name="connsiteX29" fmla="*/ 6232 w 234220"/>
                      <a:gd name="connsiteY29" fmla="*/ 194364 h 194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34220" h="194389">
                        <a:moveTo>
                          <a:pt x="6232" y="194364"/>
                        </a:moveTo>
                        <a:cubicBezTo>
                          <a:pt x="3689" y="194364"/>
                          <a:pt x="1549" y="192400"/>
                          <a:pt x="1372" y="189832"/>
                        </a:cubicBezTo>
                        <a:lnTo>
                          <a:pt x="13" y="171399"/>
                        </a:lnTo>
                        <a:cubicBezTo>
                          <a:pt x="-88" y="169989"/>
                          <a:pt x="416" y="168629"/>
                          <a:pt x="1398" y="167622"/>
                        </a:cubicBezTo>
                        <a:cubicBezTo>
                          <a:pt x="2380" y="166614"/>
                          <a:pt x="3765" y="166136"/>
                          <a:pt x="5150" y="166161"/>
                        </a:cubicBezTo>
                        <a:cubicBezTo>
                          <a:pt x="6182" y="166237"/>
                          <a:pt x="108444" y="171600"/>
                          <a:pt x="147425" y="141509"/>
                        </a:cubicBezTo>
                        <a:cubicBezTo>
                          <a:pt x="165304" y="127885"/>
                          <a:pt x="194791" y="99028"/>
                          <a:pt x="198342" y="91674"/>
                        </a:cubicBezTo>
                        <a:cubicBezTo>
                          <a:pt x="198594" y="91146"/>
                          <a:pt x="223800" y="38617"/>
                          <a:pt x="224405" y="10565"/>
                        </a:cubicBezTo>
                        <a:cubicBezTo>
                          <a:pt x="224127" y="9860"/>
                          <a:pt x="221156" y="9105"/>
                          <a:pt x="216019" y="10515"/>
                        </a:cubicBezTo>
                        <a:cubicBezTo>
                          <a:pt x="209396" y="12303"/>
                          <a:pt x="200683" y="17440"/>
                          <a:pt x="197863" y="25976"/>
                        </a:cubicBezTo>
                        <a:cubicBezTo>
                          <a:pt x="197737" y="26379"/>
                          <a:pt x="181495" y="75508"/>
                          <a:pt x="176056" y="82055"/>
                        </a:cubicBezTo>
                        <a:cubicBezTo>
                          <a:pt x="160595" y="100564"/>
                          <a:pt x="151001" y="103762"/>
                          <a:pt x="125341" y="112273"/>
                        </a:cubicBezTo>
                        <a:cubicBezTo>
                          <a:pt x="121563" y="113532"/>
                          <a:pt x="117383" y="114917"/>
                          <a:pt x="112775" y="116503"/>
                        </a:cubicBezTo>
                        <a:lnTo>
                          <a:pt x="109527" y="117309"/>
                        </a:lnTo>
                        <a:cubicBezTo>
                          <a:pt x="106983" y="117813"/>
                          <a:pt x="94896" y="120079"/>
                          <a:pt x="88525" y="118593"/>
                        </a:cubicBezTo>
                        <a:cubicBezTo>
                          <a:pt x="85907" y="117964"/>
                          <a:pt x="84270" y="115345"/>
                          <a:pt x="84899" y="112726"/>
                        </a:cubicBezTo>
                        <a:cubicBezTo>
                          <a:pt x="85529" y="110107"/>
                          <a:pt x="88148" y="108471"/>
                          <a:pt x="90767" y="109100"/>
                        </a:cubicBezTo>
                        <a:cubicBezTo>
                          <a:pt x="93965" y="109855"/>
                          <a:pt x="102426" y="108773"/>
                          <a:pt x="107437" y="107791"/>
                        </a:cubicBezTo>
                        <a:lnTo>
                          <a:pt x="110081" y="107161"/>
                        </a:lnTo>
                        <a:cubicBezTo>
                          <a:pt x="114261" y="105701"/>
                          <a:pt x="118466" y="104316"/>
                          <a:pt x="122269" y="103057"/>
                        </a:cubicBezTo>
                        <a:cubicBezTo>
                          <a:pt x="147324" y="94722"/>
                          <a:pt x="154878" y="92228"/>
                          <a:pt x="168577" y="75835"/>
                        </a:cubicBezTo>
                        <a:cubicBezTo>
                          <a:pt x="171800" y="71706"/>
                          <a:pt x="185247" y="33757"/>
                          <a:pt x="188596" y="23030"/>
                        </a:cubicBezTo>
                        <a:cubicBezTo>
                          <a:pt x="194136" y="6360"/>
                          <a:pt x="214558" y="-2026"/>
                          <a:pt x="225664" y="417"/>
                        </a:cubicBezTo>
                        <a:cubicBezTo>
                          <a:pt x="231430" y="1676"/>
                          <a:pt x="234754" y="5932"/>
                          <a:pt x="234150" y="11270"/>
                        </a:cubicBezTo>
                        <a:cubicBezTo>
                          <a:pt x="233545" y="40984"/>
                          <a:pt x="207407" y="95452"/>
                          <a:pt x="207155" y="95981"/>
                        </a:cubicBezTo>
                        <a:cubicBezTo>
                          <a:pt x="202270" y="106078"/>
                          <a:pt x="170038" y="136598"/>
                          <a:pt x="153368" y="149315"/>
                        </a:cubicBezTo>
                        <a:cubicBezTo>
                          <a:pt x="116578" y="177720"/>
                          <a:pt x="32723" y="176964"/>
                          <a:pt x="10136" y="176209"/>
                        </a:cubicBezTo>
                        <a:lnTo>
                          <a:pt x="11092" y="189177"/>
                        </a:lnTo>
                        <a:cubicBezTo>
                          <a:pt x="11294" y="191872"/>
                          <a:pt x="9279" y="194213"/>
                          <a:pt x="6585" y="194390"/>
                        </a:cubicBezTo>
                        <a:cubicBezTo>
                          <a:pt x="6484" y="194364"/>
                          <a:pt x="6358" y="194364"/>
                          <a:pt x="6232" y="194364"/>
                        </a:cubicBezTo>
                        <a:close/>
                      </a:path>
                    </a:pathLst>
                  </a:custGeom>
                  <a:grpFill/>
                  <a:ln w="2512" cap="flat">
                    <a:noFill/>
                    <a:prstDash val="solid"/>
                    <a:miter/>
                  </a:ln>
                </p:spPr>
                <p:txBody>
                  <a:bodyPr rtlCol="0" anchor="ctr"/>
                  <a:lstStyle/>
                  <a:p>
                    <a:endParaRPr lang="en-GB" dirty="0"/>
                  </a:p>
                </p:txBody>
              </p:sp>
              <p:sp>
                <p:nvSpPr>
                  <p:cNvPr id="190" name="Freihandform: Form 426">
                    <a:extLst>
                      <a:ext uri="{FF2B5EF4-FFF2-40B4-BE49-F238E27FC236}">
                        <a16:creationId xmlns:a16="http://schemas.microsoft.com/office/drawing/2014/main" id="{2F8B69F9-0A65-4ED2-A33B-67F4CE83B824}"/>
                      </a:ext>
                    </a:extLst>
                  </p:cNvPr>
                  <p:cNvSpPr/>
                  <p:nvPr/>
                </p:nvSpPr>
                <p:spPr>
                  <a:xfrm>
                    <a:off x="1973530" y="2803915"/>
                    <a:ext cx="219010" cy="131142"/>
                  </a:xfrm>
                  <a:custGeom>
                    <a:avLst/>
                    <a:gdLst>
                      <a:gd name="connsiteX0" fmla="*/ 4880 w 219010"/>
                      <a:gd name="connsiteY0" fmla="*/ 131142 h 131142"/>
                      <a:gd name="connsiteX1" fmla="*/ 4074 w 219010"/>
                      <a:gd name="connsiteY1" fmla="*/ 131067 h 131142"/>
                      <a:gd name="connsiteX2" fmla="*/ 70 w 219010"/>
                      <a:gd name="connsiteY2" fmla="*/ 125451 h 131142"/>
                      <a:gd name="connsiteX3" fmla="*/ 10546 w 219010"/>
                      <a:gd name="connsiteY3" fmla="*/ 62976 h 131142"/>
                      <a:gd name="connsiteX4" fmla="*/ 79946 w 219010"/>
                      <a:gd name="connsiteY4" fmla="*/ 5084 h 131142"/>
                      <a:gd name="connsiteX5" fmla="*/ 109458 w 219010"/>
                      <a:gd name="connsiteY5" fmla="*/ 11178 h 131142"/>
                      <a:gd name="connsiteX6" fmla="*/ 140759 w 219010"/>
                      <a:gd name="connsiteY6" fmla="*/ 11329 h 131142"/>
                      <a:gd name="connsiteX7" fmla="*/ 161282 w 219010"/>
                      <a:gd name="connsiteY7" fmla="*/ 6620 h 131142"/>
                      <a:gd name="connsiteX8" fmla="*/ 217588 w 219010"/>
                      <a:gd name="connsiteY8" fmla="*/ 10674 h 131142"/>
                      <a:gd name="connsiteX9" fmla="*/ 182736 w 219010"/>
                      <a:gd name="connsiteY9" fmla="*/ 52022 h 131142"/>
                      <a:gd name="connsiteX10" fmla="*/ 181729 w 219010"/>
                      <a:gd name="connsiteY10" fmla="*/ 52476 h 131142"/>
                      <a:gd name="connsiteX11" fmla="*/ 175258 w 219010"/>
                      <a:gd name="connsiteY11" fmla="*/ 50083 h 131142"/>
                      <a:gd name="connsiteX12" fmla="*/ 177650 w 219010"/>
                      <a:gd name="connsiteY12" fmla="*/ 43612 h 131142"/>
                      <a:gd name="connsiteX13" fmla="*/ 178682 w 219010"/>
                      <a:gd name="connsiteY13" fmla="*/ 43133 h 131142"/>
                      <a:gd name="connsiteX14" fmla="*/ 208396 w 219010"/>
                      <a:gd name="connsiteY14" fmla="*/ 13872 h 131142"/>
                      <a:gd name="connsiteX15" fmla="*/ 163598 w 219010"/>
                      <a:gd name="connsiteY15" fmla="*/ 16088 h 131142"/>
                      <a:gd name="connsiteX16" fmla="*/ 142925 w 219010"/>
                      <a:gd name="connsiteY16" fmla="*/ 20848 h 131142"/>
                      <a:gd name="connsiteX17" fmla="*/ 106965 w 219010"/>
                      <a:gd name="connsiteY17" fmla="*/ 20621 h 131142"/>
                      <a:gd name="connsiteX18" fmla="*/ 78687 w 219010"/>
                      <a:gd name="connsiteY18" fmla="*/ 14779 h 131142"/>
                      <a:gd name="connsiteX19" fmla="*/ 20140 w 219010"/>
                      <a:gd name="connsiteY19" fmla="*/ 64739 h 131142"/>
                      <a:gd name="connsiteX20" fmla="*/ 9690 w 219010"/>
                      <a:gd name="connsiteY20" fmla="*/ 127088 h 131142"/>
                      <a:gd name="connsiteX21" fmla="*/ 4880 w 219010"/>
                      <a:gd name="connsiteY21" fmla="*/ 131142 h 131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9010" h="131142">
                        <a:moveTo>
                          <a:pt x="4880" y="131142"/>
                        </a:moveTo>
                        <a:cubicBezTo>
                          <a:pt x="4603" y="131142"/>
                          <a:pt x="4351" y="131117"/>
                          <a:pt x="4074" y="131067"/>
                        </a:cubicBezTo>
                        <a:cubicBezTo>
                          <a:pt x="1405" y="130614"/>
                          <a:pt x="-383" y="128095"/>
                          <a:pt x="70" y="125451"/>
                        </a:cubicBezTo>
                        <a:lnTo>
                          <a:pt x="10546" y="62976"/>
                        </a:lnTo>
                        <a:cubicBezTo>
                          <a:pt x="10697" y="62221"/>
                          <a:pt x="23615" y="-1639"/>
                          <a:pt x="79946" y="5084"/>
                        </a:cubicBezTo>
                        <a:cubicBezTo>
                          <a:pt x="94123" y="7099"/>
                          <a:pt x="102987" y="9440"/>
                          <a:pt x="109458" y="11178"/>
                        </a:cubicBezTo>
                        <a:cubicBezTo>
                          <a:pt x="120488" y="14099"/>
                          <a:pt x="125046" y="15308"/>
                          <a:pt x="140759" y="11329"/>
                        </a:cubicBezTo>
                        <a:cubicBezTo>
                          <a:pt x="147583" y="9969"/>
                          <a:pt x="154533" y="8257"/>
                          <a:pt x="161282" y="6620"/>
                        </a:cubicBezTo>
                        <a:cubicBezTo>
                          <a:pt x="187546" y="174"/>
                          <a:pt x="212350" y="-5895"/>
                          <a:pt x="217588" y="10674"/>
                        </a:cubicBezTo>
                        <a:cubicBezTo>
                          <a:pt x="225897" y="32230"/>
                          <a:pt x="195654" y="46105"/>
                          <a:pt x="182736" y="52022"/>
                        </a:cubicBezTo>
                        <a:lnTo>
                          <a:pt x="181729" y="52476"/>
                        </a:lnTo>
                        <a:cubicBezTo>
                          <a:pt x="179261" y="53609"/>
                          <a:pt x="176391" y="52526"/>
                          <a:pt x="175258" y="50083"/>
                        </a:cubicBezTo>
                        <a:cubicBezTo>
                          <a:pt x="174124" y="47641"/>
                          <a:pt x="175207" y="44745"/>
                          <a:pt x="177650" y="43612"/>
                        </a:cubicBezTo>
                        <a:lnTo>
                          <a:pt x="178682" y="43133"/>
                        </a:lnTo>
                        <a:cubicBezTo>
                          <a:pt x="189107" y="38349"/>
                          <a:pt x="213508" y="27143"/>
                          <a:pt x="208396" y="13872"/>
                        </a:cubicBezTo>
                        <a:cubicBezTo>
                          <a:pt x="205803" y="5739"/>
                          <a:pt x="182409" y="11480"/>
                          <a:pt x="163598" y="16088"/>
                        </a:cubicBezTo>
                        <a:cubicBezTo>
                          <a:pt x="156749" y="17750"/>
                          <a:pt x="149698" y="19488"/>
                          <a:pt x="142925" y="20848"/>
                        </a:cubicBezTo>
                        <a:cubicBezTo>
                          <a:pt x="124995" y="25405"/>
                          <a:pt x="118599" y="23693"/>
                          <a:pt x="106965" y="20621"/>
                        </a:cubicBezTo>
                        <a:cubicBezTo>
                          <a:pt x="100393" y="18883"/>
                          <a:pt x="92209" y="16693"/>
                          <a:pt x="78687" y="14779"/>
                        </a:cubicBezTo>
                        <a:cubicBezTo>
                          <a:pt x="31572" y="9163"/>
                          <a:pt x="20593" y="62447"/>
                          <a:pt x="20140" y="64739"/>
                        </a:cubicBezTo>
                        <a:lnTo>
                          <a:pt x="9690" y="127088"/>
                        </a:lnTo>
                        <a:cubicBezTo>
                          <a:pt x="9287" y="129455"/>
                          <a:pt x="7222" y="131142"/>
                          <a:pt x="4880" y="131142"/>
                        </a:cubicBezTo>
                        <a:close/>
                      </a:path>
                    </a:pathLst>
                  </a:custGeom>
                  <a:grpFill/>
                  <a:ln w="2512" cap="flat">
                    <a:noFill/>
                    <a:prstDash val="solid"/>
                    <a:miter/>
                  </a:ln>
                </p:spPr>
                <p:txBody>
                  <a:bodyPr rtlCol="0" anchor="ctr"/>
                  <a:lstStyle/>
                  <a:p>
                    <a:endParaRPr lang="en-GB" dirty="0"/>
                  </a:p>
                </p:txBody>
              </p:sp>
            </p:grpSp>
            <p:sp>
              <p:nvSpPr>
                <p:cNvPr id="187" name="Freihandform: Form 427">
                  <a:extLst>
                    <a:ext uri="{FF2B5EF4-FFF2-40B4-BE49-F238E27FC236}">
                      <a16:creationId xmlns:a16="http://schemas.microsoft.com/office/drawing/2014/main" id="{8F3F37FC-C923-45EB-BFF6-F30B97E0CA26}"/>
                    </a:ext>
                  </a:extLst>
                </p:cNvPr>
                <p:cNvSpPr/>
                <p:nvPr/>
              </p:nvSpPr>
              <p:spPr>
                <a:xfrm>
                  <a:off x="1953656" y="2925337"/>
                  <a:ext cx="115280" cy="41423"/>
                </a:xfrm>
                <a:custGeom>
                  <a:avLst/>
                  <a:gdLst>
                    <a:gd name="connsiteX0" fmla="*/ 110395 w 115280"/>
                    <a:gd name="connsiteY0" fmla="*/ 41423 h 41423"/>
                    <a:gd name="connsiteX1" fmla="*/ 4885 w 115280"/>
                    <a:gd name="connsiteY1" fmla="*/ 41423 h 41423"/>
                    <a:gd name="connsiteX2" fmla="*/ 0 w 115280"/>
                    <a:gd name="connsiteY2" fmla="*/ 36538 h 41423"/>
                    <a:gd name="connsiteX3" fmla="*/ 0 w 115280"/>
                    <a:gd name="connsiteY3" fmla="*/ 4885 h 41423"/>
                    <a:gd name="connsiteX4" fmla="*/ 4885 w 115280"/>
                    <a:gd name="connsiteY4" fmla="*/ 0 h 41423"/>
                    <a:gd name="connsiteX5" fmla="*/ 110395 w 115280"/>
                    <a:gd name="connsiteY5" fmla="*/ 0 h 41423"/>
                    <a:gd name="connsiteX6" fmla="*/ 115281 w 115280"/>
                    <a:gd name="connsiteY6" fmla="*/ 4885 h 41423"/>
                    <a:gd name="connsiteX7" fmla="*/ 115281 w 115280"/>
                    <a:gd name="connsiteY7" fmla="*/ 36538 h 41423"/>
                    <a:gd name="connsiteX8" fmla="*/ 110395 w 115280"/>
                    <a:gd name="connsiteY8" fmla="*/ 41423 h 41423"/>
                    <a:gd name="connsiteX9" fmla="*/ 9770 w 115280"/>
                    <a:gd name="connsiteY9" fmla="*/ 31678 h 41423"/>
                    <a:gd name="connsiteX10" fmla="*/ 105510 w 115280"/>
                    <a:gd name="connsiteY10" fmla="*/ 31678 h 41423"/>
                    <a:gd name="connsiteX11" fmla="*/ 105510 w 115280"/>
                    <a:gd name="connsiteY11" fmla="*/ 9796 h 41423"/>
                    <a:gd name="connsiteX12" fmla="*/ 9770 w 115280"/>
                    <a:gd name="connsiteY12" fmla="*/ 9796 h 41423"/>
                    <a:gd name="connsiteX13" fmla="*/ 9770 w 115280"/>
                    <a:gd name="connsiteY13" fmla="*/ 31678 h 41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280" h="41423">
                      <a:moveTo>
                        <a:pt x="110395" y="41423"/>
                      </a:moveTo>
                      <a:lnTo>
                        <a:pt x="4885" y="41423"/>
                      </a:lnTo>
                      <a:cubicBezTo>
                        <a:pt x="2191" y="41423"/>
                        <a:pt x="0" y="39233"/>
                        <a:pt x="0" y="36538"/>
                      </a:cubicBezTo>
                      <a:lnTo>
                        <a:pt x="0" y="4885"/>
                      </a:lnTo>
                      <a:cubicBezTo>
                        <a:pt x="0" y="2191"/>
                        <a:pt x="2191" y="0"/>
                        <a:pt x="4885" y="0"/>
                      </a:cubicBezTo>
                      <a:lnTo>
                        <a:pt x="110395" y="0"/>
                      </a:lnTo>
                      <a:cubicBezTo>
                        <a:pt x="113090" y="0"/>
                        <a:pt x="115281" y="2191"/>
                        <a:pt x="115281" y="4885"/>
                      </a:cubicBezTo>
                      <a:lnTo>
                        <a:pt x="115281" y="36538"/>
                      </a:lnTo>
                      <a:cubicBezTo>
                        <a:pt x="115255" y="39233"/>
                        <a:pt x="113090" y="41423"/>
                        <a:pt x="110395" y="41423"/>
                      </a:cubicBezTo>
                      <a:close/>
                      <a:moveTo>
                        <a:pt x="9770" y="31678"/>
                      </a:moveTo>
                      <a:lnTo>
                        <a:pt x="105510" y="31678"/>
                      </a:lnTo>
                      <a:lnTo>
                        <a:pt x="105510" y="9796"/>
                      </a:lnTo>
                      <a:lnTo>
                        <a:pt x="9770" y="9796"/>
                      </a:lnTo>
                      <a:lnTo>
                        <a:pt x="9770" y="31678"/>
                      </a:lnTo>
                      <a:close/>
                    </a:path>
                  </a:pathLst>
                </a:custGeom>
                <a:grpFill/>
                <a:ln w="2512" cap="flat">
                  <a:noFill/>
                  <a:prstDash val="solid"/>
                  <a:miter/>
                </a:ln>
              </p:spPr>
              <p:txBody>
                <a:bodyPr rtlCol="0" anchor="ctr"/>
                <a:lstStyle/>
                <a:p>
                  <a:endParaRPr lang="en-GB" dirty="0"/>
                </a:p>
              </p:txBody>
            </p:sp>
            <p:sp>
              <p:nvSpPr>
                <p:cNvPr id="188" name="Freihandform: Form 428">
                  <a:extLst>
                    <a:ext uri="{FF2B5EF4-FFF2-40B4-BE49-F238E27FC236}">
                      <a16:creationId xmlns:a16="http://schemas.microsoft.com/office/drawing/2014/main" id="{020B904F-86EA-4CD3-A2D1-CC54F52E75AD}"/>
                    </a:ext>
                  </a:extLst>
                </p:cNvPr>
                <p:cNvSpPr/>
                <p:nvPr/>
              </p:nvSpPr>
              <p:spPr>
                <a:xfrm>
                  <a:off x="1943105" y="2956990"/>
                  <a:ext cx="136382" cy="65169"/>
                </a:xfrm>
                <a:custGeom>
                  <a:avLst/>
                  <a:gdLst>
                    <a:gd name="connsiteX0" fmla="*/ 131497 w 136382"/>
                    <a:gd name="connsiteY0" fmla="*/ 65170 h 65169"/>
                    <a:gd name="connsiteX1" fmla="*/ 126612 w 136382"/>
                    <a:gd name="connsiteY1" fmla="*/ 60284 h 65169"/>
                    <a:gd name="connsiteX2" fmla="*/ 126612 w 136382"/>
                    <a:gd name="connsiteY2" fmla="*/ 9770 h 65169"/>
                    <a:gd name="connsiteX3" fmla="*/ 9770 w 136382"/>
                    <a:gd name="connsiteY3" fmla="*/ 9770 h 65169"/>
                    <a:gd name="connsiteX4" fmla="*/ 9770 w 136382"/>
                    <a:gd name="connsiteY4" fmla="*/ 60284 h 65169"/>
                    <a:gd name="connsiteX5" fmla="*/ 4885 w 136382"/>
                    <a:gd name="connsiteY5" fmla="*/ 65170 h 65169"/>
                    <a:gd name="connsiteX6" fmla="*/ 0 w 136382"/>
                    <a:gd name="connsiteY6" fmla="*/ 60284 h 65169"/>
                    <a:gd name="connsiteX7" fmla="*/ 0 w 136382"/>
                    <a:gd name="connsiteY7" fmla="*/ 4885 h 65169"/>
                    <a:gd name="connsiteX8" fmla="*/ 4885 w 136382"/>
                    <a:gd name="connsiteY8" fmla="*/ 0 h 65169"/>
                    <a:gd name="connsiteX9" fmla="*/ 131497 w 136382"/>
                    <a:gd name="connsiteY9" fmla="*/ 0 h 65169"/>
                    <a:gd name="connsiteX10" fmla="*/ 136383 w 136382"/>
                    <a:gd name="connsiteY10" fmla="*/ 4885 h 65169"/>
                    <a:gd name="connsiteX11" fmla="*/ 136383 w 136382"/>
                    <a:gd name="connsiteY11" fmla="*/ 60284 h 65169"/>
                    <a:gd name="connsiteX12" fmla="*/ 131497 w 136382"/>
                    <a:gd name="connsiteY12" fmla="*/ 65170 h 65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382" h="65169">
                      <a:moveTo>
                        <a:pt x="131497" y="65170"/>
                      </a:moveTo>
                      <a:cubicBezTo>
                        <a:pt x="128803" y="65170"/>
                        <a:pt x="126612" y="62979"/>
                        <a:pt x="126612" y="60284"/>
                      </a:cubicBezTo>
                      <a:lnTo>
                        <a:pt x="126612" y="9770"/>
                      </a:lnTo>
                      <a:lnTo>
                        <a:pt x="9770" y="9770"/>
                      </a:lnTo>
                      <a:lnTo>
                        <a:pt x="9770" y="60284"/>
                      </a:lnTo>
                      <a:cubicBezTo>
                        <a:pt x="9770" y="62979"/>
                        <a:pt x="7580" y="65170"/>
                        <a:pt x="4885" y="65170"/>
                      </a:cubicBezTo>
                      <a:cubicBezTo>
                        <a:pt x="2191" y="65170"/>
                        <a:pt x="0" y="62979"/>
                        <a:pt x="0" y="60284"/>
                      </a:cubicBezTo>
                      <a:lnTo>
                        <a:pt x="0" y="4885"/>
                      </a:lnTo>
                      <a:cubicBezTo>
                        <a:pt x="0" y="2191"/>
                        <a:pt x="2191" y="0"/>
                        <a:pt x="4885" y="0"/>
                      </a:cubicBezTo>
                      <a:lnTo>
                        <a:pt x="131497" y="0"/>
                      </a:lnTo>
                      <a:cubicBezTo>
                        <a:pt x="134192" y="0"/>
                        <a:pt x="136383" y="2191"/>
                        <a:pt x="136383" y="4885"/>
                      </a:cubicBezTo>
                      <a:lnTo>
                        <a:pt x="136383" y="60284"/>
                      </a:lnTo>
                      <a:cubicBezTo>
                        <a:pt x="136357" y="62979"/>
                        <a:pt x="134192" y="65170"/>
                        <a:pt x="131497" y="65170"/>
                      </a:cubicBezTo>
                      <a:close/>
                    </a:path>
                  </a:pathLst>
                </a:custGeom>
                <a:grpFill/>
                <a:ln w="2512" cap="flat">
                  <a:noFill/>
                  <a:prstDash val="solid"/>
                  <a:miter/>
                </a:ln>
              </p:spPr>
              <p:txBody>
                <a:bodyPr rtlCol="0" anchor="ctr"/>
                <a:lstStyle/>
                <a:p>
                  <a:endParaRPr lang="en-GB" dirty="0"/>
                </a:p>
              </p:txBody>
            </p:sp>
          </p:grpSp>
        </p:grpSp>
      </p:grpSp>
      <p:grpSp>
        <p:nvGrpSpPr>
          <p:cNvPr id="47" name="Group 46">
            <a:extLst>
              <a:ext uri="{FF2B5EF4-FFF2-40B4-BE49-F238E27FC236}">
                <a16:creationId xmlns:a16="http://schemas.microsoft.com/office/drawing/2014/main" id="{C4E62CD7-E609-CEDF-B902-6E9EEB66013C}"/>
              </a:ext>
            </a:extLst>
          </p:cNvPr>
          <p:cNvGrpSpPr/>
          <p:nvPr/>
        </p:nvGrpSpPr>
        <p:grpSpPr>
          <a:xfrm>
            <a:off x="3739112" y="2391526"/>
            <a:ext cx="436480" cy="432000"/>
            <a:chOff x="3739112" y="2391526"/>
            <a:chExt cx="436480" cy="432000"/>
          </a:xfrm>
        </p:grpSpPr>
        <p:grpSp>
          <p:nvGrpSpPr>
            <p:cNvPr id="202" name="Grafik 8">
              <a:extLst>
                <a:ext uri="{FF2B5EF4-FFF2-40B4-BE49-F238E27FC236}">
                  <a16:creationId xmlns:a16="http://schemas.microsoft.com/office/drawing/2014/main" id="{88FA5AD6-CD84-4B88-9AE9-48EB93B8B106}"/>
                </a:ext>
              </a:extLst>
            </p:cNvPr>
            <p:cNvGrpSpPr/>
            <p:nvPr/>
          </p:nvGrpSpPr>
          <p:grpSpPr>
            <a:xfrm>
              <a:off x="3869969" y="2577244"/>
              <a:ext cx="204339" cy="246282"/>
              <a:chOff x="3445657" y="4358186"/>
              <a:chExt cx="235421" cy="283744"/>
            </a:xfrm>
            <a:solidFill>
              <a:schemeClr val="accent1"/>
            </a:solidFill>
          </p:grpSpPr>
          <p:sp>
            <p:nvSpPr>
              <p:cNvPr id="216" name="Freihandform: Form 576">
                <a:extLst>
                  <a:ext uri="{FF2B5EF4-FFF2-40B4-BE49-F238E27FC236}">
                    <a16:creationId xmlns:a16="http://schemas.microsoft.com/office/drawing/2014/main" id="{8ACB0A6B-2B14-434C-8CC6-65AFEE5F4643}"/>
                  </a:ext>
                </a:extLst>
              </p:cNvPr>
              <p:cNvSpPr/>
              <p:nvPr/>
            </p:nvSpPr>
            <p:spPr>
              <a:xfrm>
                <a:off x="3445657" y="4358186"/>
                <a:ext cx="235421" cy="283744"/>
              </a:xfrm>
              <a:custGeom>
                <a:avLst/>
                <a:gdLst>
                  <a:gd name="connsiteX0" fmla="*/ 230511 w 235421"/>
                  <a:gd name="connsiteY0" fmla="*/ 283745 h 283744"/>
                  <a:gd name="connsiteX1" fmla="*/ 4885 w 235421"/>
                  <a:gd name="connsiteY1" fmla="*/ 283745 h 283744"/>
                  <a:gd name="connsiteX2" fmla="*/ 0 w 235421"/>
                  <a:gd name="connsiteY2" fmla="*/ 278859 h 283744"/>
                  <a:gd name="connsiteX3" fmla="*/ 0 w 235421"/>
                  <a:gd name="connsiteY3" fmla="*/ 16544 h 283744"/>
                  <a:gd name="connsiteX4" fmla="*/ 4885 w 235421"/>
                  <a:gd name="connsiteY4" fmla="*/ 11659 h 283744"/>
                  <a:gd name="connsiteX5" fmla="*/ 9770 w 235421"/>
                  <a:gd name="connsiteY5" fmla="*/ 16544 h 283744"/>
                  <a:gd name="connsiteX6" fmla="*/ 9770 w 235421"/>
                  <a:gd name="connsiteY6" fmla="*/ 273974 h 283744"/>
                  <a:gd name="connsiteX7" fmla="*/ 225651 w 235421"/>
                  <a:gd name="connsiteY7" fmla="*/ 273974 h 283744"/>
                  <a:gd name="connsiteX8" fmla="*/ 225651 w 235421"/>
                  <a:gd name="connsiteY8" fmla="*/ 4885 h 283744"/>
                  <a:gd name="connsiteX9" fmla="*/ 230536 w 235421"/>
                  <a:gd name="connsiteY9" fmla="*/ 0 h 283744"/>
                  <a:gd name="connsiteX10" fmla="*/ 235421 w 235421"/>
                  <a:gd name="connsiteY10" fmla="*/ 4885 h 283744"/>
                  <a:gd name="connsiteX11" fmla="*/ 235421 w 235421"/>
                  <a:gd name="connsiteY11" fmla="*/ 278859 h 283744"/>
                  <a:gd name="connsiteX12" fmla="*/ 230511 w 235421"/>
                  <a:gd name="connsiteY12" fmla="*/ 283745 h 283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5421" h="283744">
                    <a:moveTo>
                      <a:pt x="230511" y="283745"/>
                    </a:moveTo>
                    <a:lnTo>
                      <a:pt x="4885" y="283745"/>
                    </a:lnTo>
                    <a:cubicBezTo>
                      <a:pt x="2191" y="283745"/>
                      <a:pt x="0" y="281554"/>
                      <a:pt x="0" y="278859"/>
                    </a:cubicBezTo>
                    <a:lnTo>
                      <a:pt x="0" y="16544"/>
                    </a:lnTo>
                    <a:cubicBezTo>
                      <a:pt x="0" y="13850"/>
                      <a:pt x="2191" y="11659"/>
                      <a:pt x="4885" y="11659"/>
                    </a:cubicBezTo>
                    <a:cubicBezTo>
                      <a:pt x="7580" y="11659"/>
                      <a:pt x="9770" y="13850"/>
                      <a:pt x="9770" y="16544"/>
                    </a:cubicBezTo>
                    <a:lnTo>
                      <a:pt x="9770" y="273974"/>
                    </a:lnTo>
                    <a:lnTo>
                      <a:pt x="225651" y="273974"/>
                    </a:lnTo>
                    <a:lnTo>
                      <a:pt x="225651" y="4885"/>
                    </a:lnTo>
                    <a:cubicBezTo>
                      <a:pt x="225651" y="2191"/>
                      <a:pt x="227842" y="0"/>
                      <a:pt x="230536" y="0"/>
                    </a:cubicBezTo>
                    <a:cubicBezTo>
                      <a:pt x="233230" y="0"/>
                      <a:pt x="235421" y="2191"/>
                      <a:pt x="235421" y="4885"/>
                    </a:cubicBezTo>
                    <a:lnTo>
                      <a:pt x="235421" y="278859"/>
                    </a:lnTo>
                    <a:cubicBezTo>
                      <a:pt x="235396" y="281554"/>
                      <a:pt x="233205" y="283745"/>
                      <a:pt x="230511" y="283745"/>
                    </a:cubicBezTo>
                    <a:close/>
                  </a:path>
                </a:pathLst>
              </a:custGeom>
              <a:solidFill>
                <a:schemeClr val="accent1"/>
              </a:solidFill>
              <a:ln w="2512" cap="flat">
                <a:noFill/>
                <a:prstDash val="solid"/>
                <a:miter/>
              </a:ln>
            </p:spPr>
            <p:txBody>
              <a:bodyPr rtlCol="0" anchor="ctr"/>
              <a:lstStyle/>
              <a:p>
                <a:endParaRPr lang="en-GB" dirty="0"/>
              </a:p>
            </p:txBody>
          </p:sp>
          <p:grpSp>
            <p:nvGrpSpPr>
              <p:cNvPr id="217" name="Grafik 8">
                <a:extLst>
                  <a:ext uri="{FF2B5EF4-FFF2-40B4-BE49-F238E27FC236}">
                    <a16:creationId xmlns:a16="http://schemas.microsoft.com/office/drawing/2014/main" id="{8615207B-C751-4C13-9227-24599B0D8461}"/>
                  </a:ext>
                </a:extLst>
              </p:cNvPr>
              <p:cNvGrpSpPr/>
              <p:nvPr/>
            </p:nvGrpSpPr>
            <p:grpSpPr>
              <a:xfrm>
                <a:off x="3585691" y="4544906"/>
                <a:ext cx="71993" cy="71993"/>
                <a:chOff x="3585691" y="4544906"/>
                <a:chExt cx="71993" cy="71993"/>
              </a:xfrm>
              <a:solidFill>
                <a:schemeClr val="accent1"/>
              </a:solidFill>
            </p:grpSpPr>
            <p:sp>
              <p:nvSpPr>
                <p:cNvPr id="221" name="Freihandform: Form 578">
                  <a:extLst>
                    <a:ext uri="{FF2B5EF4-FFF2-40B4-BE49-F238E27FC236}">
                      <a16:creationId xmlns:a16="http://schemas.microsoft.com/office/drawing/2014/main" id="{E3CA54A8-E7C0-464E-B186-5F15FB1F8748}"/>
                    </a:ext>
                  </a:extLst>
                </p:cNvPr>
                <p:cNvSpPr/>
                <p:nvPr/>
              </p:nvSpPr>
              <p:spPr>
                <a:xfrm>
                  <a:off x="3604652" y="4563843"/>
                  <a:ext cx="34070" cy="34070"/>
                </a:xfrm>
                <a:custGeom>
                  <a:avLst/>
                  <a:gdLst>
                    <a:gd name="connsiteX0" fmla="*/ 17048 w 34070"/>
                    <a:gd name="connsiteY0" fmla="*/ 34071 h 34070"/>
                    <a:gd name="connsiteX1" fmla="*/ 0 w 34070"/>
                    <a:gd name="connsiteY1" fmla="*/ 17048 h 34070"/>
                    <a:gd name="connsiteX2" fmla="*/ 17048 w 34070"/>
                    <a:gd name="connsiteY2" fmla="*/ 0 h 34070"/>
                    <a:gd name="connsiteX3" fmla="*/ 34071 w 34070"/>
                    <a:gd name="connsiteY3" fmla="*/ 17048 h 34070"/>
                    <a:gd name="connsiteX4" fmla="*/ 17048 w 34070"/>
                    <a:gd name="connsiteY4" fmla="*/ 34071 h 34070"/>
                    <a:gd name="connsiteX5" fmla="*/ 17048 w 34070"/>
                    <a:gd name="connsiteY5" fmla="*/ 9770 h 34070"/>
                    <a:gd name="connsiteX6" fmla="*/ 9770 w 34070"/>
                    <a:gd name="connsiteY6" fmla="*/ 17048 h 34070"/>
                    <a:gd name="connsiteX7" fmla="*/ 17048 w 34070"/>
                    <a:gd name="connsiteY7" fmla="*/ 24325 h 34070"/>
                    <a:gd name="connsiteX8" fmla="*/ 24325 w 34070"/>
                    <a:gd name="connsiteY8" fmla="*/ 17048 h 34070"/>
                    <a:gd name="connsiteX9" fmla="*/ 17048 w 34070"/>
                    <a:gd name="connsiteY9" fmla="*/ 9770 h 34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070" h="34070">
                      <a:moveTo>
                        <a:pt x="17048" y="34071"/>
                      </a:moveTo>
                      <a:cubicBezTo>
                        <a:pt x="7655" y="34071"/>
                        <a:pt x="0" y="26441"/>
                        <a:pt x="0" y="17048"/>
                      </a:cubicBezTo>
                      <a:cubicBezTo>
                        <a:pt x="0" y="7655"/>
                        <a:pt x="7630" y="0"/>
                        <a:pt x="17048" y="0"/>
                      </a:cubicBezTo>
                      <a:cubicBezTo>
                        <a:pt x="26441" y="0"/>
                        <a:pt x="34071" y="7630"/>
                        <a:pt x="34071" y="17048"/>
                      </a:cubicBezTo>
                      <a:cubicBezTo>
                        <a:pt x="34095" y="26441"/>
                        <a:pt x="26441" y="34071"/>
                        <a:pt x="17048" y="34071"/>
                      </a:cubicBezTo>
                      <a:close/>
                      <a:moveTo>
                        <a:pt x="17048" y="9770"/>
                      </a:moveTo>
                      <a:cubicBezTo>
                        <a:pt x="13044" y="9770"/>
                        <a:pt x="9770" y="13044"/>
                        <a:pt x="9770" y="17048"/>
                      </a:cubicBezTo>
                      <a:cubicBezTo>
                        <a:pt x="9770" y="21052"/>
                        <a:pt x="13044" y="24325"/>
                        <a:pt x="17048" y="24325"/>
                      </a:cubicBezTo>
                      <a:cubicBezTo>
                        <a:pt x="21052" y="24325"/>
                        <a:pt x="24325" y="21052"/>
                        <a:pt x="24325" y="17048"/>
                      </a:cubicBezTo>
                      <a:cubicBezTo>
                        <a:pt x="24325" y="13044"/>
                        <a:pt x="21077" y="9770"/>
                        <a:pt x="17048" y="9770"/>
                      </a:cubicBezTo>
                      <a:close/>
                    </a:path>
                  </a:pathLst>
                </a:custGeom>
                <a:solidFill>
                  <a:schemeClr val="accent1"/>
                </a:solidFill>
                <a:ln w="2512" cap="flat">
                  <a:noFill/>
                  <a:prstDash val="solid"/>
                  <a:miter/>
                </a:ln>
              </p:spPr>
              <p:txBody>
                <a:bodyPr rtlCol="0" anchor="ctr"/>
                <a:lstStyle/>
                <a:p>
                  <a:endParaRPr lang="en-GB" dirty="0"/>
                </a:p>
              </p:txBody>
            </p:sp>
            <p:sp>
              <p:nvSpPr>
                <p:cNvPr id="222" name="Freihandform: Form 579">
                  <a:extLst>
                    <a:ext uri="{FF2B5EF4-FFF2-40B4-BE49-F238E27FC236}">
                      <a16:creationId xmlns:a16="http://schemas.microsoft.com/office/drawing/2014/main" id="{58130F5F-36F9-4C70-9CB7-9A68048A3428}"/>
                    </a:ext>
                  </a:extLst>
                </p:cNvPr>
                <p:cNvSpPr/>
                <p:nvPr/>
              </p:nvSpPr>
              <p:spPr>
                <a:xfrm>
                  <a:off x="3585691" y="4544906"/>
                  <a:ext cx="71993" cy="71993"/>
                </a:xfrm>
                <a:custGeom>
                  <a:avLst/>
                  <a:gdLst>
                    <a:gd name="connsiteX0" fmla="*/ 36010 w 71993"/>
                    <a:gd name="connsiteY0" fmla="*/ 71994 h 71993"/>
                    <a:gd name="connsiteX1" fmla="*/ 0 w 71993"/>
                    <a:gd name="connsiteY1" fmla="*/ 35984 h 71993"/>
                    <a:gd name="connsiteX2" fmla="*/ 36010 w 71993"/>
                    <a:gd name="connsiteY2" fmla="*/ 0 h 71993"/>
                    <a:gd name="connsiteX3" fmla="*/ 71994 w 71993"/>
                    <a:gd name="connsiteY3" fmla="*/ 35984 h 71993"/>
                    <a:gd name="connsiteX4" fmla="*/ 36010 w 71993"/>
                    <a:gd name="connsiteY4" fmla="*/ 71994 h 71993"/>
                    <a:gd name="connsiteX5" fmla="*/ 36010 w 71993"/>
                    <a:gd name="connsiteY5" fmla="*/ 9745 h 71993"/>
                    <a:gd name="connsiteX6" fmla="*/ 9770 w 71993"/>
                    <a:gd name="connsiteY6" fmla="*/ 35984 h 71993"/>
                    <a:gd name="connsiteX7" fmla="*/ 36010 w 71993"/>
                    <a:gd name="connsiteY7" fmla="*/ 62224 h 71993"/>
                    <a:gd name="connsiteX8" fmla="*/ 62248 w 71993"/>
                    <a:gd name="connsiteY8" fmla="*/ 35984 h 71993"/>
                    <a:gd name="connsiteX9" fmla="*/ 36010 w 71993"/>
                    <a:gd name="connsiteY9" fmla="*/ 9745 h 71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93" h="71993">
                      <a:moveTo>
                        <a:pt x="36010" y="71994"/>
                      </a:moveTo>
                      <a:cubicBezTo>
                        <a:pt x="16167" y="71994"/>
                        <a:pt x="0" y="55853"/>
                        <a:pt x="0" y="35984"/>
                      </a:cubicBezTo>
                      <a:cubicBezTo>
                        <a:pt x="0" y="16141"/>
                        <a:pt x="16141" y="0"/>
                        <a:pt x="36010" y="0"/>
                      </a:cubicBezTo>
                      <a:cubicBezTo>
                        <a:pt x="55853" y="0"/>
                        <a:pt x="71994" y="16141"/>
                        <a:pt x="71994" y="35984"/>
                      </a:cubicBezTo>
                      <a:cubicBezTo>
                        <a:pt x="72019" y="55827"/>
                        <a:pt x="55878" y="71994"/>
                        <a:pt x="36010" y="71994"/>
                      </a:cubicBezTo>
                      <a:close/>
                      <a:moveTo>
                        <a:pt x="36010" y="9745"/>
                      </a:moveTo>
                      <a:cubicBezTo>
                        <a:pt x="21530" y="9745"/>
                        <a:pt x="9770" y="21505"/>
                        <a:pt x="9770" y="35984"/>
                      </a:cubicBezTo>
                      <a:cubicBezTo>
                        <a:pt x="9770" y="50464"/>
                        <a:pt x="21555" y="62224"/>
                        <a:pt x="36010" y="62224"/>
                      </a:cubicBezTo>
                      <a:cubicBezTo>
                        <a:pt x="50489" y="62224"/>
                        <a:pt x="62248" y="50438"/>
                        <a:pt x="62248" y="35984"/>
                      </a:cubicBezTo>
                      <a:cubicBezTo>
                        <a:pt x="62248" y="21505"/>
                        <a:pt x="50489" y="9745"/>
                        <a:pt x="36010" y="9745"/>
                      </a:cubicBezTo>
                      <a:close/>
                    </a:path>
                  </a:pathLst>
                </a:custGeom>
                <a:solidFill>
                  <a:schemeClr val="accent1"/>
                </a:solidFill>
                <a:ln w="2512" cap="flat">
                  <a:noFill/>
                  <a:prstDash val="solid"/>
                  <a:miter/>
                </a:ln>
              </p:spPr>
              <p:txBody>
                <a:bodyPr rtlCol="0" anchor="ctr"/>
                <a:lstStyle/>
                <a:p>
                  <a:endParaRPr lang="en-GB" dirty="0"/>
                </a:p>
              </p:txBody>
            </p:sp>
          </p:grpSp>
          <p:sp>
            <p:nvSpPr>
              <p:cNvPr id="218" name="Freihandform: Form 580">
                <a:extLst>
                  <a:ext uri="{FF2B5EF4-FFF2-40B4-BE49-F238E27FC236}">
                    <a16:creationId xmlns:a16="http://schemas.microsoft.com/office/drawing/2014/main" id="{856780E5-A0A6-498E-A07A-2B1D8CD0FA87}"/>
                  </a:ext>
                </a:extLst>
              </p:cNvPr>
              <p:cNvSpPr/>
              <p:nvPr/>
            </p:nvSpPr>
            <p:spPr>
              <a:xfrm>
                <a:off x="3484537" y="4445440"/>
                <a:ext cx="157610" cy="9770"/>
              </a:xfrm>
              <a:custGeom>
                <a:avLst/>
                <a:gdLst>
                  <a:gd name="connsiteX0" fmla="*/ 152725 w 157610"/>
                  <a:gd name="connsiteY0" fmla="*/ 9770 h 9770"/>
                  <a:gd name="connsiteX1" fmla="*/ 4885 w 157610"/>
                  <a:gd name="connsiteY1" fmla="*/ 9770 h 9770"/>
                  <a:gd name="connsiteX2" fmla="*/ 0 w 157610"/>
                  <a:gd name="connsiteY2" fmla="*/ 4885 h 9770"/>
                  <a:gd name="connsiteX3" fmla="*/ 4885 w 157610"/>
                  <a:gd name="connsiteY3" fmla="*/ 0 h 9770"/>
                  <a:gd name="connsiteX4" fmla="*/ 152725 w 157610"/>
                  <a:gd name="connsiteY4" fmla="*/ 0 h 9770"/>
                  <a:gd name="connsiteX5" fmla="*/ 157611 w 157610"/>
                  <a:gd name="connsiteY5" fmla="*/ 4885 h 9770"/>
                  <a:gd name="connsiteX6" fmla="*/ 152725 w 157610"/>
                  <a:gd name="connsiteY6" fmla="*/ 9770 h 9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10" h="9770">
                    <a:moveTo>
                      <a:pt x="152725" y="9770"/>
                    </a:moveTo>
                    <a:lnTo>
                      <a:pt x="4885" y="9770"/>
                    </a:lnTo>
                    <a:cubicBezTo>
                      <a:pt x="2191" y="9770"/>
                      <a:pt x="0" y="7580"/>
                      <a:pt x="0" y="4885"/>
                    </a:cubicBezTo>
                    <a:cubicBezTo>
                      <a:pt x="0" y="2191"/>
                      <a:pt x="2191" y="0"/>
                      <a:pt x="4885" y="0"/>
                    </a:cubicBezTo>
                    <a:lnTo>
                      <a:pt x="152725" y="0"/>
                    </a:lnTo>
                    <a:cubicBezTo>
                      <a:pt x="155420" y="0"/>
                      <a:pt x="157611" y="2191"/>
                      <a:pt x="157611" y="4885"/>
                    </a:cubicBezTo>
                    <a:cubicBezTo>
                      <a:pt x="157611" y="7580"/>
                      <a:pt x="155420" y="9770"/>
                      <a:pt x="152725" y="9770"/>
                    </a:cubicBezTo>
                    <a:close/>
                  </a:path>
                </a:pathLst>
              </a:custGeom>
              <a:solidFill>
                <a:schemeClr val="accent1"/>
              </a:solidFill>
              <a:ln w="2512" cap="flat">
                <a:noFill/>
                <a:prstDash val="solid"/>
                <a:miter/>
              </a:ln>
            </p:spPr>
            <p:txBody>
              <a:bodyPr rtlCol="0" anchor="ctr"/>
              <a:lstStyle/>
              <a:p>
                <a:endParaRPr lang="en-GB" dirty="0"/>
              </a:p>
            </p:txBody>
          </p:sp>
          <p:sp>
            <p:nvSpPr>
              <p:cNvPr id="219" name="Freihandform: Form 581">
                <a:extLst>
                  <a:ext uri="{FF2B5EF4-FFF2-40B4-BE49-F238E27FC236}">
                    <a16:creationId xmlns:a16="http://schemas.microsoft.com/office/drawing/2014/main" id="{2B9F8739-722E-42E5-A729-6B5BC36E1402}"/>
                  </a:ext>
                </a:extLst>
              </p:cNvPr>
              <p:cNvSpPr/>
              <p:nvPr/>
            </p:nvSpPr>
            <p:spPr>
              <a:xfrm>
                <a:off x="3484537" y="4484345"/>
                <a:ext cx="157610" cy="9770"/>
              </a:xfrm>
              <a:custGeom>
                <a:avLst/>
                <a:gdLst>
                  <a:gd name="connsiteX0" fmla="*/ 152725 w 157610"/>
                  <a:gd name="connsiteY0" fmla="*/ 9770 h 9770"/>
                  <a:gd name="connsiteX1" fmla="*/ 4885 w 157610"/>
                  <a:gd name="connsiteY1" fmla="*/ 9770 h 9770"/>
                  <a:gd name="connsiteX2" fmla="*/ 0 w 157610"/>
                  <a:gd name="connsiteY2" fmla="*/ 4885 h 9770"/>
                  <a:gd name="connsiteX3" fmla="*/ 4885 w 157610"/>
                  <a:gd name="connsiteY3" fmla="*/ 0 h 9770"/>
                  <a:gd name="connsiteX4" fmla="*/ 152725 w 157610"/>
                  <a:gd name="connsiteY4" fmla="*/ 0 h 9770"/>
                  <a:gd name="connsiteX5" fmla="*/ 157611 w 157610"/>
                  <a:gd name="connsiteY5" fmla="*/ 4885 h 9770"/>
                  <a:gd name="connsiteX6" fmla="*/ 152725 w 157610"/>
                  <a:gd name="connsiteY6" fmla="*/ 9770 h 9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7610" h="9770">
                    <a:moveTo>
                      <a:pt x="152725" y="9770"/>
                    </a:moveTo>
                    <a:lnTo>
                      <a:pt x="4885" y="9770"/>
                    </a:lnTo>
                    <a:cubicBezTo>
                      <a:pt x="2191" y="9770"/>
                      <a:pt x="0" y="7580"/>
                      <a:pt x="0" y="4885"/>
                    </a:cubicBezTo>
                    <a:cubicBezTo>
                      <a:pt x="0" y="2191"/>
                      <a:pt x="2191" y="0"/>
                      <a:pt x="4885" y="0"/>
                    </a:cubicBezTo>
                    <a:lnTo>
                      <a:pt x="152725" y="0"/>
                    </a:lnTo>
                    <a:cubicBezTo>
                      <a:pt x="155420" y="0"/>
                      <a:pt x="157611" y="2191"/>
                      <a:pt x="157611" y="4885"/>
                    </a:cubicBezTo>
                    <a:cubicBezTo>
                      <a:pt x="157611" y="7580"/>
                      <a:pt x="155420" y="9770"/>
                      <a:pt x="152725" y="9770"/>
                    </a:cubicBezTo>
                    <a:close/>
                  </a:path>
                </a:pathLst>
              </a:custGeom>
              <a:solidFill>
                <a:schemeClr val="accent1"/>
              </a:solidFill>
              <a:ln w="2512" cap="flat">
                <a:noFill/>
                <a:prstDash val="solid"/>
                <a:miter/>
              </a:ln>
            </p:spPr>
            <p:txBody>
              <a:bodyPr rtlCol="0" anchor="ctr"/>
              <a:lstStyle/>
              <a:p>
                <a:endParaRPr lang="en-GB" dirty="0"/>
              </a:p>
            </p:txBody>
          </p:sp>
          <p:sp>
            <p:nvSpPr>
              <p:cNvPr id="220" name="Freihandform: Form 582">
                <a:extLst>
                  <a:ext uri="{FF2B5EF4-FFF2-40B4-BE49-F238E27FC236}">
                    <a16:creationId xmlns:a16="http://schemas.microsoft.com/office/drawing/2014/main" id="{9EDFCE99-83AE-48EE-B907-C557D4BA9DC4}"/>
                  </a:ext>
                </a:extLst>
              </p:cNvPr>
              <p:cNvSpPr/>
              <p:nvPr/>
            </p:nvSpPr>
            <p:spPr>
              <a:xfrm>
                <a:off x="3484537" y="4577693"/>
                <a:ext cx="64237" cy="9770"/>
              </a:xfrm>
              <a:custGeom>
                <a:avLst/>
                <a:gdLst>
                  <a:gd name="connsiteX0" fmla="*/ 59353 w 64237"/>
                  <a:gd name="connsiteY0" fmla="*/ 9770 h 9770"/>
                  <a:gd name="connsiteX1" fmla="*/ 4885 w 64237"/>
                  <a:gd name="connsiteY1" fmla="*/ 9770 h 9770"/>
                  <a:gd name="connsiteX2" fmla="*/ 0 w 64237"/>
                  <a:gd name="connsiteY2" fmla="*/ 4885 h 9770"/>
                  <a:gd name="connsiteX3" fmla="*/ 4885 w 64237"/>
                  <a:gd name="connsiteY3" fmla="*/ 0 h 9770"/>
                  <a:gd name="connsiteX4" fmla="*/ 59353 w 64237"/>
                  <a:gd name="connsiteY4" fmla="*/ 0 h 9770"/>
                  <a:gd name="connsiteX5" fmla="*/ 64238 w 64237"/>
                  <a:gd name="connsiteY5" fmla="*/ 4885 h 9770"/>
                  <a:gd name="connsiteX6" fmla="*/ 59353 w 64237"/>
                  <a:gd name="connsiteY6" fmla="*/ 9770 h 9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237" h="9770">
                    <a:moveTo>
                      <a:pt x="59353" y="9770"/>
                    </a:moveTo>
                    <a:lnTo>
                      <a:pt x="4885" y="9770"/>
                    </a:lnTo>
                    <a:cubicBezTo>
                      <a:pt x="2191" y="9770"/>
                      <a:pt x="0" y="7580"/>
                      <a:pt x="0" y="4885"/>
                    </a:cubicBezTo>
                    <a:cubicBezTo>
                      <a:pt x="0" y="2191"/>
                      <a:pt x="2191" y="0"/>
                      <a:pt x="4885" y="0"/>
                    </a:cubicBezTo>
                    <a:lnTo>
                      <a:pt x="59353" y="0"/>
                    </a:lnTo>
                    <a:cubicBezTo>
                      <a:pt x="62047" y="0"/>
                      <a:pt x="64238" y="2191"/>
                      <a:pt x="64238" y="4885"/>
                    </a:cubicBezTo>
                    <a:cubicBezTo>
                      <a:pt x="64238" y="7580"/>
                      <a:pt x="62047" y="9770"/>
                      <a:pt x="59353" y="9770"/>
                    </a:cubicBezTo>
                    <a:close/>
                  </a:path>
                </a:pathLst>
              </a:custGeom>
              <a:solidFill>
                <a:schemeClr val="accent1"/>
              </a:solidFill>
              <a:ln w="2512" cap="flat">
                <a:noFill/>
                <a:prstDash val="solid"/>
                <a:miter/>
              </a:ln>
            </p:spPr>
            <p:txBody>
              <a:bodyPr rtlCol="0" anchor="ctr"/>
              <a:lstStyle/>
              <a:p>
                <a:endParaRPr lang="en-GB" dirty="0"/>
              </a:p>
            </p:txBody>
          </p:sp>
        </p:grpSp>
        <p:grpSp>
          <p:nvGrpSpPr>
            <p:cNvPr id="203" name="Grafik 8">
              <a:extLst>
                <a:ext uri="{FF2B5EF4-FFF2-40B4-BE49-F238E27FC236}">
                  <a16:creationId xmlns:a16="http://schemas.microsoft.com/office/drawing/2014/main" id="{0C6B1DB6-2DA9-4771-A201-BF5A291F6F15}"/>
                </a:ext>
              </a:extLst>
            </p:cNvPr>
            <p:cNvGrpSpPr/>
            <p:nvPr/>
          </p:nvGrpSpPr>
          <p:grpSpPr>
            <a:xfrm>
              <a:off x="3739112" y="2391526"/>
              <a:ext cx="436480" cy="249670"/>
              <a:chOff x="3294895" y="4144219"/>
              <a:chExt cx="502873" cy="287647"/>
            </a:xfrm>
            <a:solidFill>
              <a:schemeClr val="tx2"/>
            </a:solidFill>
          </p:grpSpPr>
          <p:sp>
            <p:nvSpPr>
              <p:cNvPr id="204" name="Freihandform: Form 584">
                <a:extLst>
                  <a:ext uri="{FF2B5EF4-FFF2-40B4-BE49-F238E27FC236}">
                    <a16:creationId xmlns:a16="http://schemas.microsoft.com/office/drawing/2014/main" id="{7C759A94-10E3-4D6D-B6F1-6D0146979AE0}"/>
                  </a:ext>
                </a:extLst>
              </p:cNvPr>
              <p:cNvSpPr/>
              <p:nvPr/>
            </p:nvSpPr>
            <p:spPr>
              <a:xfrm>
                <a:off x="3385171" y="4144219"/>
                <a:ext cx="187262" cy="175539"/>
              </a:xfrm>
              <a:custGeom>
                <a:avLst/>
                <a:gdLst>
                  <a:gd name="connsiteX0" fmla="*/ 25710 w 187262"/>
                  <a:gd name="connsiteY0" fmla="*/ 175540 h 175539"/>
                  <a:gd name="connsiteX1" fmla="*/ 4885 w 187262"/>
                  <a:gd name="connsiteY1" fmla="*/ 175540 h 175539"/>
                  <a:gd name="connsiteX2" fmla="*/ 0 w 187262"/>
                  <a:gd name="connsiteY2" fmla="*/ 170655 h 175539"/>
                  <a:gd name="connsiteX3" fmla="*/ 0 w 187262"/>
                  <a:gd name="connsiteY3" fmla="*/ 40920 h 175539"/>
                  <a:gd name="connsiteX4" fmla="*/ 4885 w 187262"/>
                  <a:gd name="connsiteY4" fmla="*/ 36035 h 175539"/>
                  <a:gd name="connsiteX5" fmla="*/ 28908 w 187262"/>
                  <a:gd name="connsiteY5" fmla="*/ 36035 h 175539"/>
                  <a:gd name="connsiteX6" fmla="*/ 88815 w 187262"/>
                  <a:gd name="connsiteY6" fmla="*/ 0 h 175539"/>
                  <a:gd name="connsiteX7" fmla="*/ 159096 w 187262"/>
                  <a:gd name="connsiteY7" fmla="*/ 0 h 175539"/>
                  <a:gd name="connsiteX8" fmla="*/ 186746 w 187262"/>
                  <a:gd name="connsiteY8" fmla="*/ 13497 h 175539"/>
                  <a:gd name="connsiteX9" fmla="*/ 184555 w 187262"/>
                  <a:gd name="connsiteY9" fmla="*/ 20044 h 175539"/>
                  <a:gd name="connsiteX10" fmla="*/ 178008 w 187262"/>
                  <a:gd name="connsiteY10" fmla="*/ 17854 h 175539"/>
                  <a:gd name="connsiteX11" fmla="*/ 159071 w 187262"/>
                  <a:gd name="connsiteY11" fmla="*/ 9745 h 175539"/>
                  <a:gd name="connsiteX12" fmla="*/ 88790 w 187262"/>
                  <a:gd name="connsiteY12" fmla="*/ 9745 h 175539"/>
                  <a:gd name="connsiteX13" fmla="*/ 36287 w 187262"/>
                  <a:gd name="connsiteY13" fmla="*/ 42985 h 175539"/>
                  <a:gd name="connsiteX14" fmla="*/ 31880 w 187262"/>
                  <a:gd name="connsiteY14" fmla="*/ 45755 h 175539"/>
                  <a:gd name="connsiteX15" fmla="*/ 9745 w 187262"/>
                  <a:gd name="connsiteY15" fmla="*/ 45755 h 175539"/>
                  <a:gd name="connsiteX16" fmla="*/ 9745 w 187262"/>
                  <a:gd name="connsiteY16" fmla="*/ 165719 h 175539"/>
                  <a:gd name="connsiteX17" fmla="*/ 25710 w 187262"/>
                  <a:gd name="connsiteY17" fmla="*/ 165719 h 175539"/>
                  <a:gd name="connsiteX18" fmla="*/ 30596 w 187262"/>
                  <a:gd name="connsiteY18" fmla="*/ 170604 h 175539"/>
                  <a:gd name="connsiteX19" fmla="*/ 25710 w 187262"/>
                  <a:gd name="connsiteY19" fmla="*/ 175540 h 17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7262" h="175539">
                    <a:moveTo>
                      <a:pt x="25710" y="175540"/>
                    </a:moveTo>
                    <a:lnTo>
                      <a:pt x="4885" y="175540"/>
                    </a:lnTo>
                    <a:cubicBezTo>
                      <a:pt x="2191" y="175540"/>
                      <a:pt x="0" y="173349"/>
                      <a:pt x="0" y="170655"/>
                    </a:cubicBezTo>
                    <a:lnTo>
                      <a:pt x="0" y="40920"/>
                    </a:lnTo>
                    <a:cubicBezTo>
                      <a:pt x="0" y="38225"/>
                      <a:pt x="2191" y="36035"/>
                      <a:pt x="4885" y="36035"/>
                    </a:cubicBezTo>
                    <a:lnTo>
                      <a:pt x="28908" y="36035"/>
                    </a:lnTo>
                    <a:cubicBezTo>
                      <a:pt x="40643" y="14051"/>
                      <a:pt x="63835" y="0"/>
                      <a:pt x="88815" y="0"/>
                    </a:cubicBezTo>
                    <a:lnTo>
                      <a:pt x="159096" y="0"/>
                    </a:lnTo>
                    <a:cubicBezTo>
                      <a:pt x="173173" y="0"/>
                      <a:pt x="182213" y="4407"/>
                      <a:pt x="186746" y="13497"/>
                    </a:cubicBezTo>
                    <a:cubicBezTo>
                      <a:pt x="187954" y="15915"/>
                      <a:pt x="186972" y="18836"/>
                      <a:pt x="184555" y="20044"/>
                    </a:cubicBezTo>
                    <a:cubicBezTo>
                      <a:pt x="182112" y="21253"/>
                      <a:pt x="179216" y="20271"/>
                      <a:pt x="178008" y="17854"/>
                    </a:cubicBezTo>
                    <a:cubicBezTo>
                      <a:pt x="176119" y="14076"/>
                      <a:pt x="172266" y="9745"/>
                      <a:pt x="159071" y="9745"/>
                    </a:cubicBezTo>
                    <a:lnTo>
                      <a:pt x="88790" y="9745"/>
                    </a:lnTo>
                    <a:cubicBezTo>
                      <a:pt x="66504" y="9745"/>
                      <a:pt x="45906" y="22789"/>
                      <a:pt x="36287" y="42985"/>
                    </a:cubicBezTo>
                    <a:cubicBezTo>
                      <a:pt x="35481" y="44697"/>
                      <a:pt x="33768" y="45755"/>
                      <a:pt x="31880" y="45755"/>
                    </a:cubicBezTo>
                    <a:lnTo>
                      <a:pt x="9745" y="45755"/>
                    </a:lnTo>
                    <a:lnTo>
                      <a:pt x="9745" y="165719"/>
                    </a:lnTo>
                    <a:lnTo>
                      <a:pt x="25710" y="165719"/>
                    </a:lnTo>
                    <a:cubicBezTo>
                      <a:pt x="28405" y="165719"/>
                      <a:pt x="30596" y="167910"/>
                      <a:pt x="30596" y="170604"/>
                    </a:cubicBezTo>
                    <a:cubicBezTo>
                      <a:pt x="30596" y="173349"/>
                      <a:pt x="28405" y="175540"/>
                      <a:pt x="25710" y="175540"/>
                    </a:cubicBezTo>
                    <a:close/>
                  </a:path>
                </a:pathLst>
              </a:custGeom>
              <a:grpFill/>
              <a:ln w="2512" cap="flat">
                <a:noFill/>
                <a:prstDash val="solid"/>
                <a:miter/>
              </a:ln>
            </p:spPr>
            <p:txBody>
              <a:bodyPr rtlCol="0" anchor="ctr"/>
              <a:lstStyle/>
              <a:p>
                <a:endParaRPr lang="en-GB" dirty="0"/>
              </a:p>
            </p:txBody>
          </p:sp>
          <p:sp>
            <p:nvSpPr>
              <p:cNvPr id="205" name="Freihandform: Form 585">
                <a:extLst>
                  <a:ext uri="{FF2B5EF4-FFF2-40B4-BE49-F238E27FC236}">
                    <a16:creationId xmlns:a16="http://schemas.microsoft.com/office/drawing/2014/main" id="{6CF608B1-39BF-48D1-95E6-4CD8AB5715CB}"/>
                  </a:ext>
                </a:extLst>
              </p:cNvPr>
              <p:cNvSpPr/>
              <p:nvPr/>
            </p:nvSpPr>
            <p:spPr>
              <a:xfrm>
                <a:off x="3578740" y="4155224"/>
                <a:ext cx="129080" cy="212883"/>
              </a:xfrm>
              <a:custGeom>
                <a:avLst/>
                <a:gdLst>
                  <a:gd name="connsiteX0" fmla="*/ 124195 w 129080"/>
                  <a:gd name="connsiteY0" fmla="*/ 212884 h 212883"/>
                  <a:gd name="connsiteX1" fmla="*/ 87229 w 129080"/>
                  <a:gd name="connsiteY1" fmla="*/ 212884 h 212883"/>
                  <a:gd name="connsiteX2" fmla="*/ 82343 w 129080"/>
                  <a:gd name="connsiteY2" fmla="*/ 207999 h 212883"/>
                  <a:gd name="connsiteX3" fmla="*/ 87229 w 129080"/>
                  <a:gd name="connsiteY3" fmla="*/ 203114 h 212883"/>
                  <a:gd name="connsiteX4" fmla="*/ 119310 w 129080"/>
                  <a:gd name="connsiteY4" fmla="*/ 203114 h 212883"/>
                  <a:gd name="connsiteX5" fmla="*/ 119310 w 129080"/>
                  <a:gd name="connsiteY5" fmla="*/ 65144 h 212883"/>
                  <a:gd name="connsiteX6" fmla="*/ 91837 w 129080"/>
                  <a:gd name="connsiteY6" fmla="*/ 65144 h 212883"/>
                  <a:gd name="connsiteX7" fmla="*/ 87002 w 129080"/>
                  <a:gd name="connsiteY7" fmla="*/ 60889 h 212883"/>
                  <a:gd name="connsiteX8" fmla="*/ 4885 w 129080"/>
                  <a:gd name="connsiteY8" fmla="*/ 9770 h 212883"/>
                  <a:gd name="connsiteX9" fmla="*/ 0 w 129080"/>
                  <a:gd name="connsiteY9" fmla="*/ 4885 h 212883"/>
                  <a:gd name="connsiteX10" fmla="*/ 4885 w 129080"/>
                  <a:gd name="connsiteY10" fmla="*/ 0 h 212883"/>
                  <a:gd name="connsiteX11" fmla="*/ 95992 w 129080"/>
                  <a:gd name="connsiteY11" fmla="*/ 55374 h 212883"/>
                  <a:gd name="connsiteX12" fmla="*/ 124195 w 129080"/>
                  <a:gd name="connsiteY12" fmla="*/ 55374 h 212883"/>
                  <a:gd name="connsiteX13" fmla="*/ 129080 w 129080"/>
                  <a:gd name="connsiteY13" fmla="*/ 60259 h 212883"/>
                  <a:gd name="connsiteX14" fmla="*/ 129080 w 129080"/>
                  <a:gd name="connsiteY14" fmla="*/ 207999 h 212883"/>
                  <a:gd name="connsiteX15" fmla="*/ 124195 w 129080"/>
                  <a:gd name="connsiteY15" fmla="*/ 212884 h 212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9080" h="212883">
                    <a:moveTo>
                      <a:pt x="124195" y="212884"/>
                    </a:moveTo>
                    <a:lnTo>
                      <a:pt x="87229" y="212884"/>
                    </a:lnTo>
                    <a:cubicBezTo>
                      <a:pt x="84534" y="212884"/>
                      <a:pt x="82343" y="210693"/>
                      <a:pt x="82343" y="207999"/>
                    </a:cubicBezTo>
                    <a:cubicBezTo>
                      <a:pt x="82343" y="205304"/>
                      <a:pt x="84534" y="203114"/>
                      <a:pt x="87229" y="203114"/>
                    </a:cubicBezTo>
                    <a:lnTo>
                      <a:pt x="119310" y="203114"/>
                    </a:lnTo>
                    <a:lnTo>
                      <a:pt x="119310" y="65144"/>
                    </a:lnTo>
                    <a:lnTo>
                      <a:pt x="91837" y="65144"/>
                    </a:lnTo>
                    <a:cubicBezTo>
                      <a:pt x="89394" y="65144"/>
                      <a:pt x="87304" y="63331"/>
                      <a:pt x="87002" y="60889"/>
                    </a:cubicBezTo>
                    <a:cubicBezTo>
                      <a:pt x="82746" y="27926"/>
                      <a:pt x="53561" y="9770"/>
                      <a:pt x="4885" y="9770"/>
                    </a:cubicBezTo>
                    <a:cubicBezTo>
                      <a:pt x="2191" y="9770"/>
                      <a:pt x="0" y="7580"/>
                      <a:pt x="0" y="4885"/>
                    </a:cubicBezTo>
                    <a:cubicBezTo>
                      <a:pt x="0" y="2191"/>
                      <a:pt x="2191" y="0"/>
                      <a:pt x="4885" y="0"/>
                    </a:cubicBezTo>
                    <a:cubicBezTo>
                      <a:pt x="73555" y="0"/>
                      <a:pt x="91660" y="32912"/>
                      <a:pt x="95992" y="55374"/>
                    </a:cubicBezTo>
                    <a:lnTo>
                      <a:pt x="124195" y="55374"/>
                    </a:lnTo>
                    <a:cubicBezTo>
                      <a:pt x="126889" y="55374"/>
                      <a:pt x="129080" y="57565"/>
                      <a:pt x="129080" y="60259"/>
                    </a:cubicBezTo>
                    <a:lnTo>
                      <a:pt x="129080" y="207999"/>
                    </a:lnTo>
                    <a:cubicBezTo>
                      <a:pt x="129055" y="210693"/>
                      <a:pt x="126889" y="212884"/>
                      <a:pt x="124195" y="212884"/>
                    </a:cubicBezTo>
                    <a:close/>
                  </a:path>
                </a:pathLst>
              </a:custGeom>
              <a:grpFill/>
              <a:ln w="2512" cap="flat">
                <a:noFill/>
                <a:prstDash val="solid"/>
                <a:miter/>
              </a:ln>
            </p:spPr>
            <p:txBody>
              <a:bodyPr rtlCol="0" anchor="ctr"/>
              <a:lstStyle/>
              <a:p>
                <a:endParaRPr lang="en-GB" dirty="0"/>
              </a:p>
            </p:txBody>
          </p:sp>
          <p:sp>
            <p:nvSpPr>
              <p:cNvPr id="206" name="Freihandform: Form 586">
                <a:extLst>
                  <a:ext uri="{FF2B5EF4-FFF2-40B4-BE49-F238E27FC236}">
                    <a16:creationId xmlns:a16="http://schemas.microsoft.com/office/drawing/2014/main" id="{73FA0E6E-06DB-4AE9-9C6D-048458440376}"/>
                  </a:ext>
                </a:extLst>
              </p:cNvPr>
              <p:cNvSpPr/>
              <p:nvPr/>
            </p:nvSpPr>
            <p:spPr>
              <a:xfrm>
                <a:off x="3697924" y="4198913"/>
                <a:ext cx="99844" cy="179115"/>
              </a:xfrm>
              <a:custGeom>
                <a:avLst/>
                <a:gdLst>
                  <a:gd name="connsiteX0" fmla="*/ 94959 w 99844"/>
                  <a:gd name="connsiteY0" fmla="*/ 179115 h 179115"/>
                  <a:gd name="connsiteX1" fmla="*/ 4885 w 99844"/>
                  <a:gd name="connsiteY1" fmla="*/ 179115 h 179115"/>
                  <a:gd name="connsiteX2" fmla="*/ 0 w 99844"/>
                  <a:gd name="connsiteY2" fmla="*/ 174230 h 179115"/>
                  <a:gd name="connsiteX3" fmla="*/ 0 w 99844"/>
                  <a:gd name="connsiteY3" fmla="*/ 4885 h 179115"/>
                  <a:gd name="connsiteX4" fmla="*/ 4885 w 99844"/>
                  <a:gd name="connsiteY4" fmla="*/ 0 h 179115"/>
                  <a:gd name="connsiteX5" fmla="*/ 94959 w 99844"/>
                  <a:gd name="connsiteY5" fmla="*/ 0 h 179115"/>
                  <a:gd name="connsiteX6" fmla="*/ 99844 w 99844"/>
                  <a:gd name="connsiteY6" fmla="*/ 4885 h 179115"/>
                  <a:gd name="connsiteX7" fmla="*/ 94959 w 99844"/>
                  <a:gd name="connsiteY7" fmla="*/ 9770 h 179115"/>
                  <a:gd name="connsiteX8" fmla="*/ 9770 w 99844"/>
                  <a:gd name="connsiteY8" fmla="*/ 9770 h 179115"/>
                  <a:gd name="connsiteX9" fmla="*/ 9770 w 99844"/>
                  <a:gd name="connsiteY9" fmla="*/ 169370 h 179115"/>
                  <a:gd name="connsiteX10" fmla="*/ 94959 w 99844"/>
                  <a:gd name="connsiteY10" fmla="*/ 169370 h 179115"/>
                  <a:gd name="connsiteX11" fmla="*/ 99844 w 99844"/>
                  <a:gd name="connsiteY11" fmla="*/ 174256 h 179115"/>
                  <a:gd name="connsiteX12" fmla="*/ 94959 w 99844"/>
                  <a:gd name="connsiteY12" fmla="*/ 179115 h 17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44" h="179115">
                    <a:moveTo>
                      <a:pt x="94959" y="179115"/>
                    </a:moveTo>
                    <a:lnTo>
                      <a:pt x="4885" y="179115"/>
                    </a:lnTo>
                    <a:cubicBezTo>
                      <a:pt x="2191" y="179115"/>
                      <a:pt x="0" y="176925"/>
                      <a:pt x="0" y="174230"/>
                    </a:cubicBezTo>
                    <a:lnTo>
                      <a:pt x="0" y="4885"/>
                    </a:lnTo>
                    <a:cubicBezTo>
                      <a:pt x="0" y="2191"/>
                      <a:pt x="2191" y="0"/>
                      <a:pt x="4885" y="0"/>
                    </a:cubicBezTo>
                    <a:lnTo>
                      <a:pt x="94959" y="0"/>
                    </a:lnTo>
                    <a:cubicBezTo>
                      <a:pt x="97654" y="0"/>
                      <a:pt x="99844" y="2191"/>
                      <a:pt x="99844" y="4885"/>
                    </a:cubicBezTo>
                    <a:cubicBezTo>
                      <a:pt x="99844" y="7580"/>
                      <a:pt x="97654" y="9770"/>
                      <a:pt x="94959" y="9770"/>
                    </a:cubicBezTo>
                    <a:lnTo>
                      <a:pt x="9770" y="9770"/>
                    </a:lnTo>
                    <a:lnTo>
                      <a:pt x="9770" y="169370"/>
                    </a:lnTo>
                    <a:lnTo>
                      <a:pt x="94959" y="169370"/>
                    </a:lnTo>
                    <a:cubicBezTo>
                      <a:pt x="97654" y="169370"/>
                      <a:pt x="99844" y="171561"/>
                      <a:pt x="99844" y="174256"/>
                    </a:cubicBezTo>
                    <a:cubicBezTo>
                      <a:pt x="99819" y="176925"/>
                      <a:pt x="97654" y="179115"/>
                      <a:pt x="94959" y="179115"/>
                    </a:cubicBezTo>
                    <a:close/>
                  </a:path>
                </a:pathLst>
              </a:custGeom>
              <a:grpFill/>
              <a:ln w="2512" cap="flat">
                <a:noFill/>
                <a:prstDash val="solid"/>
                <a:miter/>
              </a:ln>
            </p:spPr>
            <p:txBody>
              <a:bodyPr rtlCol="0" anchor="ctr"/>
              <a:lstStyle/>
              <a:p>
                <a:endParaRPr lang="en-GB" dirty="0"/>
              </a:p>
            </p:txBody>
          </p:sp>
          <p:sp>
            <p:nvSpPr>
              <p:cNvPr id="207" name="Freihandform: Form 587">
                <a:extLst>
                  <a:ext uri="{FF2B5EF4-FFF2-40B4-BE49-F238E27FC236}">
                    <a16:creationId xmlns:a16="http://schemas.microsoft.com/office/drawing/2014/main" id="{F38E87FD-181E-4947-BAB2-ADDA9065A1BB}"/>
                  </a:ext>
                </a:extLst>
              </p:cNvPr>
              <p:cNvSpPr/>
              <p:nvPr/>
            </p:nvSpPr>
            <p:spPr>
              <a:xfrm>
                <a:off x="3549243" y="4230769"/>
                <a:ext cx="150105" cy="189942"/>
              </a:xfrm>
              <a:custGeom>
                <a:avLst/>
                <a:gdLst>
                  <a:gd name="connsiteX0" fmla="*/ 21490 w 150105"/>
                  <a:gd name="connsiteY0" fmla="*/ 189943 h 189942"/>
                  <a:gd name="connsiteX1" fmla="*/ 20030 w 150105"/>
                  <a:gd name="connsiteY1" fmla="*/ 189892 h 189942"/>
                  <a:gd name="connsiteX2" fmla="*/ 6608 w 150105"/>
                  <a:gd name="connsiteY2" fmla="*/ 183546 h 189942"/>
                  <a:gd name="connsiteX3" fmla="*/ 1219 w 150105"/>
                  <a:gd name="connsiteY3" fmla="*/ 177402 h 189942"/>
                  <a:gd name="connsiteX4" fmla="*/ 1673 w 150105"/>
                  <a:gd name="connsiteY4" fmla="*/ 170527 h 189942"/>
                  <a:gd name="connsiteX5" fmla="*/ 8547 w 150105"/>
                  <a:gd name="connsiteY5" fmla="*/ 170981 h 189942"/>
                  <a:gd name="connsiteX6" fmla="*/ 13936 w 150105"/>
                  <a:gd name="connsiteY6" fmla="*/ 177125 h 189942"/>
                  <a:gd name="connsiteX7" fmla="*/ 20659 w 150105"/>
                  <a:gd name="connsiteY7" fmla="*/ 180172 h 189942"/>
                  <a:gd name="connsiteX8" fmla="*/ 32872 w 150105"/>
                  <a:gd name="connsiteY8" fmla="*/ 175564 h 189942"/>
                  <a:gd name="connsiteX9" fmla="*/ 38991 w 150105"/>
                  <a:gd name="connsiteY9" fmla="*/ 164031 h 189942"/>
                  <a:gd name="connsiteX10" fmla="*/ 36801 w 150105"/>
                  <a:gd name="connsiteY10" fmla="*/ 156980 h 189942"/>
                  <a:gd name="connsiteX11" fmla="*/ 1446 w 150105"/>
                  <a:gd name="connsiteY11" fmla="*/ 117143 h 189942"/>
                  <a:gd name="connsiteX12" fmla="*/ 1849 w 150105"/>
                  <a:gd name="connsiteY12" fmla="*/ 110268 h 189942"/>
                  <a:gd name="connsiteX13" fmla="*/ 8723 w 150105"/>
                  <a:gd name="connsiteY13" fmla="*/ 110646 h 189942"/>
                  <a:gd name="connsiteX14" fmla="*/ 58708 w 150105"/>
                  <a:gd name="connsiteY14" fmla="*/ 166247 h 189942"/>
                  <a:gd name="connsiteX15" fmla="*/ 77670 w 150105"/>
                  <a:gd name="connsiteY15" fmla="*/ 164736 h 189942"/>
                  <a:gd name="connsiteX16" fmla="*/ 81624 w 150105"/>
                  <a:gd name="connsiteY16" fmla="*/ 146152 h 189942"/>
                  <a:gd name="connsiteX17" fmla="*/ 7288 w 150105"/>
                  <a:gd name="connsiteY17" fmla="*/ 62373 h 189942"/>
                  <a:gd name="connsiteX18" fmla="*/ 6885 w 150105"/>
                  <a:gd name="connsiteY18" fmla="*/ 56405 h 189942"/>
                  <a:gd name="connsiteX19" fmla="*/ 10763 w 150105"/>
                  <a:gd name="connsiteY19" fmla="*/ 54038 h 189942"/>
                  <a:gd name="connsiteX20" fmla="*/ 14893 w 150105"/>
                  <a:gd name="connsiteY20" fmla="*/ 55474 h 189942"/>
                  <a:gd name="connsiteX21" fmla="*/ 86685 w 150105"/>
                  <a:gd name="connsiteY21" fmla="*/ 137036 h 189942"/>
                  <a:gd name="connsiteX22" fmla="*/ 105621 w 150105"/>
                  <a:gd name="connsiteY22" fmla="*/ 135475 h 189942"/>
                  <a:gd name="connsiteX23" fmla="*/ 109550 w 150105"/>
                  <a:gd name="connsiteY23" fmla="*/ 116891 h 189942"/>
                  <a:gd name="connsiteX24" fmla="*/ 30581 w 150105"/>
                  <a:gd name="connsiteY24" fmla="*/ 27925 h 189942"/>
                  <a:gd name="connsiteX25" fmla="*/ 30203 w 150105"/>
                  <a:gd name="connsiteY25" fmla="*/ 21932 h 189942"/>
                  <a:gd name="connsiteX26" fmla="*/ 34056 w 150105"/>
                  <a:gd name="connsiteY26" fmla="*/ 19615 h 189942"/>
                  <a:gd name="connsiteX27" fmla="*/ 38160 w 150105"/>
                  <a:gd name="connsiteY27" fmla="*/ 21050 h 189942"/>
                  <a:gd name="connsiteX28" fmla="*/ 115291 w 150105"/>
                  <a:gd name="connsiteY28" fmla="*/ 108657 h 189942"/>
                  <a:gd name="connsiteX29" fmla="*/ 123425 w 150105"/>
                  <a:gd name="connsiteY29" fmla="*/ 111729 h 189942"/>
                  <a:gd name="connsiteX30" fmla="*/ 134227 w 150105"/>
                  <a:gd name="connsiteY30" fmla="*/ 107096 h 189942"/>
                  <a:gd name="connsiteX31" fmla="*/ 140170 w 150105"/>
                  <a:gd name="connsiteY31" fmla="*/ 96973 h 189942"/>
                  <a:gd name="connsiteX32" fmla="*/ 138156 w 150105"/>
                  <a:gd name="connsiteY32" fmla="*/ 88512 h 189942"/>
                  <a:gd name="connsiteX33" fmla="*/ 66817 w 150105"/>
                  <a:gd name="connsiteY33" fmla="*/ 8107 h 189942"/>
                  <a:gd name="connsiteX34" fmla="*/ 67220 w 150105"/>
                  <a:gd name="connsiteY34" fmla="*/ 1233 h 189942"/>
                  <a:gd name="connsiteX35" fmla="*/ 74094 w 150105"/>
                  <a:gd name="connsiteY35" fmla="*/ 1636 h 189942"/>
                  <a:gd name="connsiteX36" fmla="*/ 145459 w 150105"/>
                  <a:gd name="connsiteY36" fmla="*/ 82065 h 189942"/>
                  <a:gd name="connsiteX37" fmla="*/ 149764 w 150105"/>
                  <a:gd name="connsiteY37" fmla="*/ 98635 h 189942"/>
                  <a:gd name="connsiteX38" fmla="*/ 140649 w 150105"/>
                  <a:gd name="connsiteY38" fmla="*/ 114423 h 189942"/>
                  <a:gd name="connsiteX39" fmla="*/ 123827 w 150105"/>
                  <a:gd name="connsiteY39" fmla="*/ 121474 h 189942"/>
                  <a:gd name="connsiteX40" fmla="*/ 121410 w 150105"/>
                  <a:gd name="connsiteY40" fmla="*/ 121449 h 189942"/>
                  <a:gd name="connsiteX41" fmla="*/ 112043 w 150105"/>
                  <a:gd name="connsiteY41" fmla="*/ 142803 h 189942"/>
                  <a:gd name="connsiteX42" fmla="*/ 93383 w 150105"/>
                  <a:gd name="connsiteY42" fmla="*/ 149828 h 189942"/>
                  <a:gd name="connsiteX43" fmla="*/ 84117 w 150105"/>
                  <a:gd name="connsiteY43" fmla="*/ 172089 h 189942"/>
                  <a:gd name="connsiteX44" fmla="*/ 51431 w 150105"/>
                  <a:gd name="connsiteY44" fmla="*/ 172769 h 189942"/>
                  <a:gd name="connsiteX45" fmla="*/ 48031 w 150105"/>
                  <a:gd name="connsiteY45" fmla="*/ 168991 h 189942"/>
                  <a:gd name="connsiteX46" fmla="*/ 39293 w 150105"/>
                  <a:gd name="connsiteY46" fmla="*/ 182917 h 189942"/>
                  <a:gd name="connsiteX47" fmla="*/ 21490 w 150105"/>
                  <a:gd name="connsiteY47" fmla="*/ 189943 h 189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50105" h="189942">
                    <a:moveTo>
                      <a:pt x="21490" y="189943"/>
                    </a:moveTo>
                    <a:cubicBezTo>
                      <a:pt x="21012" y="189943"/>
                      <a:pt x="20533" y="189917"/>
                      <a:pt x="20030" y="189892"/>
                    </a:cubicBezTo>
                    <a:cubicBezTo>
                      <a:pt x="14666" y="189540"/>
                      <a:pt x="9907" y="187298"/>
                      <a:pt x="6608" y="183546"/>
                    </a:cubicBezTo>
                    <a:lnTo>
                      <a:pt x="1219" y="177402"/>
                    </a:lnTo>
                    <a:cubicBezTo>
                      <a:pt x="-569" y="175388"/>
                      <a:pt x="-367" y="172290"/>
                      <a:pt x="1673" y="170527"/>
                    </a:cubicBezTo>
                    <a:cubicBezTo>
                      <a:pt x="3687" y="168765"/>
                      <a:pt x="6784" y="168941"/>
                      <a:pt x="8547" y="170981"/>
                    </a:cubicBezTo>
                    <a:lnTo>
                      <a:pt x="13936" y="177125"/>
                    </a:lnTo>
                    <a:cubicBezTo>
                      <a:pt x="15950" y="179417"/>
                      <a:pt x="18695" y="180046"/>
                      <a:pt x="20659" y="180172"/>
                    </a:cubicBezTo>
                    <a:cubicBezTo>
                      <a:pt x="24764" y="180348"/>
                      <a:pt x="29246" y="178737"/>
                      <a:pt x="32872" y="175564"/>
                    </a:cubicBezTo>
                    <a:cubicBezTo>
                      <a:pt x="36498" y="172366"/>
                      <a:pt x="38740" y="168186"/>
                      <a:pt x="38991" y="164031"/>
                    </a:cubicBezTo>
                    <a:cubicBezTo>
                      <a:pt x="39117" y="162092"/>
                      <a:pt x="38840" y="159271"/>
                      <a:pt x="36801" y="156980"/>
                    </a:cubicBezTo>
                    <a:lnTo>
                      <a:pt x="1446" y="117143"/>
                    </a:lnTo>
                    <a:cubicBezTo>
                      <a:pt x="-342" y="115128"/>
                      <a:pt x="-166" y="112056"/>
                      <a:pt x="1849" y="110268"/>
                    </a:cubicBezTo>
                    <a:cubicBezTo>
                      <a:pt x="3863" y="108481"/>
                      <a:pt x="6935" y="108657"/>
                      <a:pt x="8723" y="110646"/>
                    </a:cubicBezTo>
                    <a:lnTo>
                      <a:pt x="58708" y="166247"/>
                    </a:lnTo>
                    <a:cubicBezTo>
                      <a:pt x="62863" y="170981"/>
                      <a:pt x="71349" y="170276"/>
                      <a:pt x="77670" y="164736"/>
                    </a:cubicBezTo>
                    <a:cubicBezTo>
                      <a:pt x="83965" y="159196"/>
                      <a:pt x="85728" y="150861"/>
                      <a:pt x="81624" y="146152"/>
                    </a:cubicBezTo>
                    <a:lnTo>
                      <a:pt x="7288" y="62373"/>
                    </a:lnTo>
                    <a:cubicBezTo>
                      <a:pt x="5802" y="60711"/>
                      <a:pt x="5651" y="58243"/>
                      <a:pt x="6885" y="56405"/>
                    </a:cubicBezTo>
                    <a:cubicBezTo>
                      <a:pt x="7741" y="55146"/>
                      <a:pt x="9252" y="54139"/>
                      <a:pt x="10763" y="54038"/>
                    </a:cubicBezTo>
                    <a:cubicBezTo>
                      <a:pt x="12299" y="53963"/>
                      <a:pt x="13885" y="54315"/>
                      <a:pt x="14893" y="55474"/>
                    </a:cubicBezTo>
                    <a:lnTo>
                      <a:pt x="86685" y="137036"/>
                    </a:lnTo>
                    <a:cubicBezTo>
                      <a:pt x="90815" y="141720"/>
                      <a:pt x="99301" y="141015"/>
                      <a:pt x="105621" y="135475"/>
                    </a:cubicBezTo>
                    <a:cubicBezTo>
                      <a:pt x="111816" y="130036"/>
                      <a:pt x="113629" y="121524"/>
                      <a:pt x="109550" y="116891"/>
                    </a:cubicBezTo>
                    <a:lnTo>
                      <a:pt x="30581" y="27925"/>
                    </a:lnTo>
                    <a:cubicBezTo>
                      <a:pt x="29095" y="26238"/>
                      <a:pt x="28944" y="23795"/>
                      <a:pt x="30203" y="21932"/>
                    </a:cubicBezTo>
                    <a:cubicBezTo>
                      <a:pt x="31059" y="20698"/>
                      <a:pt x="32570" y="19716"/>
                      <a:pt x="34056" y="19615"/>
                    </a:cubicBezTo>
                    <a:cubicBezTo>
                      <a:pt x="35567" y="19514"/>
                      <a:pt x="37153" y="19943"/>
                      <a:pt x="38160" y="21050"/>
                    </a:cubicBezTo>
                    <a:lnTo>
                      <a:pt x="115291" y="108657"/>
                    </a:lnTo>
                    <a:cubicBezTo>
                      <a:pt x="117155" y="110797"/>
                      <a:pt x="119975" y="111804"/>
                      <a:pt x="123425" y="111729"/>
                    </a:cubicBezTo>
                    <a:cubicBezTo>
                      <a:pt x="127177" y="111553"/>
                      <a:pt x="131030" y="109916"/>
                      <a:pt x="134227" y="107096"/>
                    </a:cubicBezTo>
                    <a:cubicBezTo>
                      <a:pt x="137425" y="104275"/>
                      <a:pt x="139541" y="100674"/>
                      <a:pt x="140170" y="96973"/>
                    </a:cubicBezTo>
                    <a:cubicBezTo>
                      <a:pt x="140750" y="93649"/>
                      <a:pt x="140019" y="90652"/>
                      <a:pt x="138156" y="88512"/>
                    </a:cubicBezTo>
                    <a:lnTo>
                      <a:pt x="66817" y="8107"/>
                    </a:lnTo>
                    <a:cubicBezTo>
                      <a:pt x="65029" y="6093"/>
                      <a:pt x="65205" y="2996"/>
                      <a:pt x="67220" y="1233"/>
                    </a:cubicBezTo>
                    <a:cubicBezTo>
                      <a:pt x="69234" y="-555"/>
                      <a:pt x="72332" y="-379"/>
                      <a:pt x="74094" y="1636"/>
                    </a:cubicBezTo>
                    <a:lnTo>
                      <a:pt x="145459" y="82065"/>
                    </a:lnTo>
                    <a:cubicBezTo>
                      <a:pt x="149336" y="86472"/>
                      <a:pt x="150847" y="92339"/>
                      <a:pt x="149764" y="98635"/>
                    </a:cubicBezTo>
                    <a:cubicBezTo>
                      <a:pt x="148757" y="104552"/>
                      <a:pt x="145509" y="110142"/>
                      <a:pt x="140649" y="114423"/>
                    </a:cubicBezTo>
                    <a:cubicBezTo>
                      <a:pt x="135789" y="118704"/>
                      <a:pt x="129795" y="121222"/>
                      <a:pt x="123827" y="121474"/>
                    </a:cubicBezTo>
                    <a:cubicBezTo>
                      <a:pt x="123022" y="121524"/>
                      <a:pt x="122191" y="121524"/>
                      <a:pt x="121410" y="121449"/>
                    </a:cubicBezTo>
                    <a:cubicBezTo>
                      <a:pt x="121989" y="128827"/>
                      <a:pt x="118716" y="136935"/>
                      <a:pt x="112043" y="142803"/>
                    </a:cubicBezTo>
                    <a:cubicBezTo>
                      <a:pt x="106478" y="147688"/>
                      <a:pt x="99553" y="149980"/>
                      <a:pt x="93383" y="149828"/>
                    </a:cubicBezTo>
                    <a:cubicBezTo>
                      <a:pt x="94315" y="157433"/>
                      <a:pt x="91067" y="165970"/>
                      <a:pt x="84117" y="172089"/>
                    </a:cubicBezTo>
                    <a:cubicBezTo>
                      <a:pt x="73767" y="181179"/>
                      <a:pt x="59111" y="181482"/>
                      <a:pt x="51431" y="172769"/>
                    </a:cubicBezTo>
                    <a:lnTo>
                      <a:pt x="48031" y="168991"/>
                    </a:lnTo>
                    <a:cubicBezTo>
                      <a:pt x="46722" y="174179"/>
                      <a:pt x="43650" y="179089"/>
                      <a:pt x="39293" y="182917"/>
                    </a:cubicBezTo>
                    <a:cubicBezTo>
                      <a:pt x="34156" y="187424"/>
                      <a:pt x="27735" y="189943"/>
                      <a:pt x="21490" y="189943"/>
                    </a:cubicBezTo>
                    <a:close/>
                  </a:path>
                </a:pathLst>
              </a:custGeom>
              <a:grpFill/>
              <a:ln w="2512" cap="flat">
                <a:noFill/>
                <a:prstDash val="solid"/>
                <a:miter/>
              </a:ln>
            </p:spPr>
            <p:txBody>
              <a:bodyPr rtlCol="0" anchor="ctr"/>
              <a:lstStyle/>
              <a:p>
                <a:endParaRPr lang="en-GB" dirty="0"/>
              </a:p>
            </p:txBody>
          </p:sp>
          <p:grpSp>
            <p:nvGrpSpPr>
              <p:cNvPr id="208" name="Grafik 8">
                <a:extLst>
                  <a:ext uri="{FF2B5EF4-FFF2-40B4-BE49-F238E27FC236}">
                    <a16:creationId xmlns:a16="http://schemas.microsoft.com/office/drawing/2014/main" id="{47D6ECA2-7964-4228-B94C-AEB97454167B}"/>
                  </a:ext>
                </a:extLst>
              </p:cNvPr>
              <p:cNvGrpSpPr/>
              <p:nvPr/>
            </p:nvGrpSpPr>
            <p:grpSpPr>
              <a:xfrm>
                <a:off x="3398282" y="4281685"/>
                <a:ext cx="177533" cy="150182"/>
                <a:chOff x="3398282" y="4281685"/>
                <a:chExt cx="177533" cy="150182"/>
              </a:xfrm>
              <a:grpFill/>
            </p:grpSpPr>
            <p:grpSp>
              <p:nvGrpSpPr>
                <p:cNvPr id="211" name="Grafik 8">
                  <a:extLst>
                    <a:ext uri="{FF2B5EF4-FFF2-40B4-BE49-F238E27FC236}">
                      <a16:creationId xmlns:a16="http://schemas.microsoft.com/office/drawing/2014/main" id="{ED50B488-8AF7-4019-8AB8-A60C4068F8C9}"/>
                    </a:ext>
                  </a:extLst>
                </p:cNvPr>
                <p:cNvGrpSpPr/>
                <p:nvPr/>
              </p:nvGrpSpPr>
              <p:grpSpPr>
                <a:xfrm>
                  <a:off x="3398282" y="4281685"/>
                  <a:ext cx="159007" cy="127569"/>
                  <a:chOff x="3398282" y="4281685"/>
                  <a:chExt cx="159007" cy="127569"/>
                </a:xfrm>
                <a:grpFill/>
              </p:grpSpPr>
              <p:sp>
                <p:nvSpPr>
                  <p:cNvPr id="213" name="Freihandform: Form 590">
                    <a:extLst>
                      <a:ext uri="{FF2B5EF4-FFF2-40B4-BE49-F238E27FC236}">
                        <a16:creationId xmlns:a16="http://schemas.microsoft.com/office/drawing/2014/main" id="{E7733A28-76C3-4914-90EF-8544116645B5}"/>
                      </a:ext>
                    </a:extLst>
                  </p:cNvPr>
                  <p:cNvSpPr/>
                  <p:nvPr/>
                </p:nvSpPr>
                <p:spPr>
                  <a:xfrm>
                    <a:off x="3398282" y="4281685"/>
                    <a:ext cx="68912" cy="75015"/>
                  </a:xfrm>
                  <a:custGeom>
                    <a:avLst/>
                    <a:gdLst>
                      <a:gd name="connsiteX0" fmla="*/ 27330 w 68912"/>
                      <a:gd name="connsiteY0" fmla="*/ 75016 h 75015"/>
                      <a:gd name="connsiteX1" fmla="*/ 27330 w 68912"/>
                      <a:gd name="connsiteY1" fmla="*/ 75016 h 75015"/>
                      <a:gd name="connsiteX2" fmla="*/ 11516 w 68912"/>
                      <a:gd name="connsiteY2" fmla="*/ 69904 h 75015"/>
                      <a:gd name="connsiteX3" fmla="*/ 4163 w 68912"/>
                      <a:gd name="connsiteY3" fmla="*/ 35027 h 75015"/>
                      <a:gd name="connsiteX4" fmla="*/ 22042 w 68912"/>
                      <a:gd name="connsiteY4" fmla="*/ 9770 h 75015"/>
                      <a:gd name="connsiteX5" fmla="*/ 41557 w 68912"/>
                      <a:gd name="connsiteY5" fmla="*/ 0 h 75015"/>
                      <a:gd name="connsiteX6" fmla="*/ 57397 w 68912"/>
                      <a:gd name="connsiteY6" fmla="*/ 5112 h 75015"/>
                      <a:gd name="connsiteX7" fmla="*/ 64750 w 68912"/>
                      <a:gd name="connsiteY7" fmla="*/ 39988 h 75015"/>
                      <a:gd name="connsiteX8" fmla="*/ 46871 w 68912"/>
                      <a:gd name="connsiteY8" fmla="*/ 65245 h 75015"/>
                      <a:gd name="connsiteX9" fmla="*/ 27330 w 68912"/>
                      <a:gd name="connsiteY9" fmla="*/ 75016 h 75015"/>
                      <a:gd name="connsiteX10" fmla="*/ 41532 w 68912"/>
                      <a:gd name="connsiteY10" fmla="*/ 9770 h 75015"/>
                      <a:gd name="connsiteX11" fmla="*/ 29999 w 68912"/>
                      <a:gd name="connsiteY11" fmla="*/ 15411 h 75015"/>
                      <a:gd name="connsiteX12" fmla="*/ 12121 w 68912"/>
                      <a:gd name="connsiteY12" fmla="*/ 40668 h 75015"/>
                      <a:gd name="connsiteX13" fmla="*/ 17157 w 68912"/>
                      <a:gd name="connsiteY13" fmla="*/ 61921 h 75015"/>
                      <a:gd name="connsiteX14" fmla="*/ 38863 w 68912"/>
                      <a:gd name="connsiteY14" fmla="*/ 59579 h 75015"/>
                      <a:gd name="connsiteX15" fmla="*/ 56742 w 68912"/>
                      <a:gd name="connsiteY15" fmla="*/ 34322 h 75015"/>
                      <a:gd name="connsiteX16" fmla="*/ 51706 w 68912"/>
                      <a:gd name="connsiteY16" fmla="*/ 13044 h 75015"/>
                      <a:gd name="connsiteX17" fmla="*/ 41532 w 68912"/>
                      <a:gd name="connsiteY17" fmla="*/ 9770 h 7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912" h="75015">
                        <a:moveTo>
                          <a:pt x="27330" y="75016"/>
                        </a:moveTo>
                        <a:lnTo>
                          <a:pt x="27330" y="75016"/>
                        </a:lnTo>
                        <a:cubicBezTo>
                          <a:pt x="21714" y="75016"/>
                          <a:pt x="16250" y="73253"/>
                          <a:pt x="11516" y="69904"/>
                        </a:cubicBezTo>
                        <a:cubicBezTo>
                          <a:pt x="-244" y="61569"/>
                          <a:pt x="-3542" y="45931"/>
                          <a:pt x="4163" y="35027"/>
                        </a:cubicBezTo>
                        <a:lnTo>
                          <a:pt x="22042" y="9770"/>
                        </a:lnTo>
                        <a:cubicBezTo>
                          <a:pt x="26449" y="3551"/>
                          <a:pt x="33550" y="0"/>
                          <a:pt x="41557" y="0"/>
                        </a:cubicBezTo>
                        <a:cubicBezTo>
                          <a:pt x="47173" y="0"/>
                          <a:pt x="52663" y="1763"/>
                          <a:pt x="57397" y="5112"/>
                        </a:cubicBezTo>
                        <a:cubicBezTo>
                          <a:pt x="69157" y="13447"/>
                          <a:pt x="72455" y="29110"/>
                          <a:pt x="64750" y="39988"/>
                        </a:cubicBezTo>
                        <a:lnTo>
                          <a:pt x="46871" y="65245"/>
                        </a:lnTo>
                        <a:cubicBezTo>
                          <a:pt x="42414" y="71465"/>
                          <a:pt x="35313" y="75016"/>
                          <a:pt x="27330" y="75016"/>
                        </a:cubicBezTo>
                        <a:close/>
                        <a:moveTo>
                          <a:pt x="41532" y="9770"/>
                        </a:moveTo>
                        <a:cubicBezTo>
                          <a:pt x="36748" y="9770"/>
                          <a:pt x="32543" y="11835"/>
                          <a:pt x="29999" y="15411"/>
                        </a:cubicBezTo>
                        <a:lnTo>
                          <a:pt x="12121" y="40668"/>
                        </a:lnTo>
                        <a:cubicBezTo>
                          <a:pt x="7512" y="47165"/>
                          <a:pt x="9779" y="56709"/>
                          <a:pt x="17157" y="61921"/>
                        </a:cubicBezTo>
                        <a:cubicBezTo>
                          <a:pt x="24308" y="66983"/>
                          <a:pt x="34431" y="65875"/>
                          <a:pt x="38863" y="59579"/>
                        </a:cubicBezTo>
                        <a:lnTo>
                          <a:pt x="56742" y="34322"/>
                        </a:lnTo>
                        <a:cubicBezTo>
                          <a:pt x="61350" y="27826"/>
                          <a:pt x="59084" y="18282"/>
                          <a:pt x="51706" y="13044"/>
                        </a:cubicBezTo>
                        <a:cubicBezTo>
                          <a:pt x="48634" y="10929"/>
                          <a:pt x="45108" y="9770"/>
                          <a:pt x="41532" y="9770"/>
                        </a:cubicBezTo>
                        <a:close/>
                      </a:path>
                    </a:pathLst>
                  </a:custGeom>
                  <a:grpFill/>
                  <a:ln w="2512" cap="flat">
                    <a:noFill/>
                    <a:prstDash val="solid"/>
                    <a:miter/>
                  </a:ln>
                </p:spPr>
                <p:txBody>
                  <a:bodyPr rtlCol="0" anchor="ctr"/>
                  <a:lstStyle/>
                  <a:p>
                    <a:endParaRPr lang="en-GB" dirty="0"/>
                  </a:p>
                </p:txBody>
              </p:sp>
              <p:sp>
                <p:nvSpPr>
                  <p:cNvPr id="214" name="Freihandform: Form 591">
                    <a:extLst>
                      <a:ext uri="{FF2B5EF4-FFF2-40B4-BE49-F238E27FC236}">
                        <a16:creationId xmlns:a16="http://schemas.microsoft.com/office/drawing/2014/main" id="{D785E82B-C070-4404-8E83-A34754943685}"/>
                      </a:ext>
                    </a:extLst>
                  </p:cNvPr>
                  <p:cNvSpPr/>
                  <p:nvPr/>
                </p:nvSpPr>
                <p:spPr>
                  <a:xfrm>
                    <a:off x="3434195" y="4288408"/>
                    <a:ext cx="82954" cy="94027"/>
                  </a:xfrm>
                  <a:custGeom>
                    <a:avLst/>
                    <a:gdLst>
                      <a:gd name="connsiteX0" fmla="*/ 28081 w 82954"/>
                      <a:gd name="connsiteY0" fmla="*/ 94027 h 94027"/>
                      <a:gd name="connsiteX1" fmla="*/ 28081 w 82954"/>
                      <a:gd name="connsiteY1" fmla="*/ 94027 h 94027"/>
                      <a:gd name="connsiteX2" fmla="*/ 11864 w 82954"/>
                      <a:gd name="connsiteY2" fmla="*/ 88865 h 94027"/>
                      <a:gd name="connsiteX3" fmla="*/ 407 w 82954"/>
                      <a:gd name="connsiteY3" fmla="*/ 70684 h 94027"/>
                      <a:gd name="connsiteX4" fmla="*/ 5166 w 82954"/>
                      <a:gd name="connsiteY4" fmla="*/ 49733 h 94027"/>
                      <a:gd name="connsiteX5" fmla="*/ 31959 w 82954"/>
                      <a:gd name="connsiteY5" fmla="*/ 11860 h 94027"/>
                      <a:gd name="connsiteX6" fmla="*/ 54899 w 82954"/>
                      <a:gd name="connsiteY6" fmla="*/ 0 h 94027"/>
                      <a:gd name="connsiteX7" fmla="*/ 71091 w 82954"/>
                      <a:gd name="connsiteY7" fmla="*/ 5162 h 94027"/>
                      <a:gd name="connsiteX8" fmla="*/ 82548 w 82954"/>
                      <a:gd name="connsiteY8" fmla="*/ 23343 h 94027"/>
                      <a:gd name="connsiteX9" fmla="*/ 77789 w 82954"/>
                      <a:gd name="connsiteY9" fmla="*/ 44294 h 94027"/>
                      <a:gd name="connsiteX10" fmla="*/ 50996 w 82954"/>
                      <a:gd name="connsiteY10" fmla="*/ 82167 h 94027"/>
                      <a:gd name="connsiteX11" fmla="*/ 28081 w 82954"/>
                      <a:gd name="connsiteY11" fmla="*/ 94027 h 94027"/>
                      <a:gd name="connsiteX12" fmla="*/ 54950 w 82954"/>
                      <a:gd name="connsiteY12" fmla="*/ 9770 h 94027"/>
                      <a:gd name="connsiteX13" fmla="*/ 39966 w 82954"/>
                      <a:gd name="connsiteY13" fmla="*/ 17501 h 94027"/>
                      <a:gd name="connsiteX14" fmla="*/ 13173 w 82954"/>
                      <a:gd name="connsiteY14" fmla="*/ 55374 h 94027"/>
                      <a:gd name="connsiteX15" fmla="*/ 10051 w 82954"/>
                      <a:gd name="connsiteY15" fmla="*/ 69048 h 94027"/>
                      <a:gd name="connsiteX16" fmla="*/ 17505 w 82954"/>
                      <a:gd name="connsiteY16" fmla="*/ 80908 h 94027"/>
                      <a:gd name="connsiteX17" fmla="*/ 43064 w 82954"/>
                      <a:gd name="connsiteY17" fmla="*/ 76526 h 94027"/>
                      <a:gd name="connsiteX18" fmla="*/ 69857 w 82954"/>
                      <a:gd name="connsiteY18" fmla="*/ 38653 h 94027"/>
                      <a:gd name="connsiteX19" fmla="*/ 72979 w 82954"/>
                      <a:gd name="connsiteY19" fmla="*/ 24980 h 94027"/>
                      <a:gd name="connsiteX20" fmla="*/ 65500 w 82954"/>
                      <a:gd name="connsiteY20" fmla="*/ 13119 h 94027"/>
                      <a:gd name="connsiteX21" fmla="*/ 54950 w 82954"/>
                      <a:gd name="connsiteY21" fmla="*/ 9770 h 9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2954" h="94027">
                        <a:moveTo>
                          <a:pt x="28081" y="94027"/>
                        </a:moveTo>
                        <a:cubicBezTo>
                          <a:pt x="28081" y="94027"/>
                          <a:pt x="28081" y="94027"/>
                          <a:pt x="28081" y="94027"/>
                        </a:cubicBezTo>
                        <a:cubicBezTo>
                          <a:pt x="22239" y="94027"/>
                          <a:pt x="16648" y="92240"/>
                          <a:pt x="11864" y="88865"/>
                        </a:cubicBezTo>
                        <a:cubicBezTo>
                          <a:pt x="5745" y="84534"/>
                          <a:pt x="1691" y="78088"/>
                          <a:pt x="407" y="70684"/>
                        </a:cubicBezTo>
                        <a:cubicBezTo>
                          <a:pt x="-853" y="63281"/>
                          <a:pt x="835" y="55853"/>
                          <a:pt x="5166" y="49733"/>
                        </a:cubicBezTo>
                        <a:lnTo>
                          <a:pt x="31959" y="11860"/>
                        </a:lnTo>
                        <a:cubicBezTo>
                          <a:pt x="37222" y="4432"/>
                          <a:pt x="45784" y="0"/>
                          <a:pt x="54899" y="0"/>
                        </a:cubicBezTo>
                        <a:cubicBezTo>
                          <a:pt x="60716" y="0"/>
                          <a:pt x="66332" y="1788"/>
                          <a:pt x="71091" y="5162"/>
                        </a:cubicBezTo>
                        <a:cubicBezTo>
                          <a:pt x="77210" y="9493"/>
                          <a:pt x="81289" y="15940"/>
                          <a:pt x="82548" y="23343"/>
                        </a:cubicBezTo>
                        <a:cubicBezTo>
                          <a:pt x="83807" y="30746"/>
                          <a:pt x="82120" y="38175"/>
                          <a:pt x="77789" y="44294"/>
                        </a:cubicBezTo>
                        <a:lnTo>
                          <a:pt x="50996" y="82167"/>
                        </a:lnTo>
                        <a:cubicBezTo>
                          <a:pt x="45784" y="89595"/>
                          <a:pt x="37197" y="94027"/>
                          <a:pt x="28081" y="94027"/>
                        </a:cubicBezTo>
                        <a:close/>
                        <a:moveTo>
                          <a:pt x="54950" y="9770"/>
                        </a:moveTo>
                        <a:cubicBezTo>
                          <a:pt x="49007" y="9770"/>
                          <a:pt x="43391" y="12666"/>
                          <a:pt x="39966" y="17501"/>
                        </a:cubicBezTo>
                        <a:lnTo>
                          <a:pt x="13173" y="55374"/>
                        </a:lnTo>
                        <a:cubicBezTo>
                          <a:pt x="10353" y="59378"/>
                          <a:pt x="9245" y="64238"/>
                          <a:pt x="10051" y="69048"/>
                        </a:cubicBezTo>
                        <a:cubicBezTo>
                          <a:pt x="10882" y="73882"/>
                          <a:pt x="13526" y="78088"/>
                          <a:pt x="17505" y="80908"/>
                        </a:cubicBezTo>
                        <a:cubicBezTo>
                          <a:pt x="25487" y="86549"/>
                          <a:pt x="37423" y="84484"/>
                          <a:pt x="43064" y="76526"/>
                        </a:cubicBezTo>
                        <a:lnTo>
                          <a:pt x="69857" y="38653"/>
                        </a:lnTo>
                        <a:cubicBezTo>
                          <a:pt x="72677" y="34650"/>
                          <a:pt x="73785" y="29815"/>
                          <a:pt x="72979" y="24980"/>
                        </a:cubicBezTo>
                        <a:cubicBezTo>
                          <a:pt x="72148" y="20145"/>
                          <a:pt x="69505" y="15940"/>
                          <a:pt x="65500" y="13119"/>
                        </a:cubicBezTo>
                        <a:cubicBezTo>
                          <a:pt x="62378" y="10929"/>
                          <a:pt x="58727" y="9770"/>
                          <a:pt x="54950" y="9770"/>
                        </a:cubicBezTo>
                        <a:close/>
                      </a:path>
                    </a:pathLst>
                  </a:custGeom>
                  <a:grpFill/>
                  <a:ln w="2512" cap="flat">
                    <a:noFill/>
                    <a:prstDash val="solid"/>
                    <a:miter/>
                  </a:ln>
                </p:spPr>
                <p:txBody>
                  <a:bodyPr rtlCol="0" anchor="ctr"/>
                  <a:lstStyle/>
                  <a:p>
                    <a:endParaRPr lang="en-GB" dirty="0"/>
                  </a:p>
                </p:txBody>
              </p:sp>
              <p:sp>
                <p:nvSpPr>
                  <p:cNvPr id="215" name="Freihandform: Form 592">
                    <a:extLst>
                      <a:ext uri="{FF2B5EF4-FFF2-40B4-BE49-F238E27FC236}">
                        <a16:creationId xmlns:a16="http://schemas.microsoft.com/office/drawing/2014/main" id="{1CB3E9AD-0C07-42F8-9614-537B58E9E4A0}"/>
                      </a:ext>
                    </a:extLst>
                  </p:cNvPr>
                  <p:cNvSpPr/>
                  <p:nvPr/>
                </p:nvSpPr>
                <p:spPr>
                  <a:xfrm>
                    <a:off x="3472111" y="4312054"/>
                    <a:ext cx="85179" cy="97200"/>
                  </a:xfrm>
                  <a:custGeom>
                    <a:avLst/>
                    <a:gdLst>
                      <a:gd name="connsiteX0" fmla="*/ 28039 w 85179"/>
                      <a:gd name="connsiteY0" fmla="*/ 97200 h 97200"/>
                      <a:gd name="connsiteX1" fmla="*/ 28039 w 85179"/>
                      <a:gd name="connsiteY1" fmla="*/ 97200 h 97200"/>
                      <a:gd name="connsiteX2" fmla="*/ 11847 w 85179"/>
                      <a:gd name="connsiteY2" fmla="*/ 92038 h 97200"/>
                      <a:gd name="connsiteX3" fmla="*/ 5149 w 85179"/>
                      <a:gd name="connsiteY3" fmla="*/ 52881 h 97200"/>
                      <a:gd name="connsiteX4" fmla="*/ 34183 w 85179"/>
                      <a:gd name="connsiteY4" fmla="*/ 11860 h 97200"/>
                      <a:gd name="connsiteX5" fmla="*/ 57123 w 85179"/>
                      <a:gd name="connsiteY5" fmla="*/ 0 h 97200"/>
                      <a:gd name="connsiteX6" fmla="*/ 73315 w 85179"/>
                      <a:gd name="connsiteY6" fmla="*/ 5162 h 97200"/>
                      <a:gd name="connsiteX7" fmla="*/ 84773 w 85179"/>
                      <a:gd name="connsiteY7" fmla="*/ 23343 h 97200"/>
                      <a:gd name="connsiteX8" fmla="*/ 80013 w 85179"/>
                      <a:gd name="connsiteY8" fmla="*/ 44294 h 97200"/>
                      <a:gd name="connsiteX9" fmla="*/ 50979 w 85179"/>
                      <a:gd name="connsiteY9" fmla="*/ 85315 h 97200"/>
                      <a:gd name="connsiteX10" fmla="*/ 28039 w 85179"/>
                      <a:gd name="connsiteY10" fmla="*/ 97200 h 97200"/>
                      <a:gd name="connsiteX11" fmla="*/ 57123 w 85179"/>
                      <a:gd name="connsiteY11" fmla="*/ 9770 h 97200"/>
                      <a:gd name="connsiteX12" fmla="*/ 42140 w 85179"/>
                      <a:gd name="connsiteY12" fmla="*/ 17501 h 97200"/>
                      <a:gd name="connsiteX13" fmla="*/ 13106 w 85179"/>
                      <a:gd name="connsiteY13" fmla="*/ 58522 h 97200"/>
                      <a:gd name="connsiteX14" fmla="*/ 17487 w 85179"/>
                      <a:gd name="connsiteY14" fmla="*/ 84081 h 97200"/>
                      <a:gd name="connsiteX15" fmla="*/ 43021 w 85179"/>
                      <a:gd name="connsiteY15" fmla="*/ 79699 h 97200"/>
                      <a:gd name="connsiteX16" fmla="*/ 72056 w 85179"/>
                      <a:gd name="connsiteY16" fmla="*/ 38679 h 97200"/>
                      <a:gd name="connsiteX17" fmla="*/ 75153 w 85179"/>
                      <a:gd name="connsiteY17" fmla="*/ 25005 h 97200"/>
                      <a:gd name="connsiteX18" fmla="*/ 67674 w 85179"/>
                      <a:gd name="connsiteY18" fmla="*/ 13145 h 97200"/>
                      <a:gd name="connsiteX19" fmla="*/ 57123 w 85179"/>
                      <a:gd name="connsiteY19" fmla="*/ 9770 h 9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179" h="97200">
                        <a:moveTo>
                          <a:pt x="28039" y="97200"/>
                        </a:moveTo>
                        <a:lnTo>
                          <a:pt x="28039" y="97200"/>
                        </a:lnTo>
                        <a:cubicBezTo>
                          <a:pt x="22222" y="97200"/>
                          <a:pt x="16606" y="95413"/>
                          <a:pt x="11847" y="92038"/>
                        </a:cubicBezTo>
                        <a:cubicBezTo>
                          <a:pt x="-794" y="83099"/>
                          <a:pt x="-3791" y="65522"/>
                          <a:pt x="5149" y="52881"/>
                        </a:cubicBezTo>
                        <a:lnTo>
                          <a:pt x="34183" y="11860"/>
                        </a:lnTo>
                        <a:cubicBezTo>
                          <a:pt x="39446" y="4432"/>
                          <a:pt x="48007" y="0"/>
                          <a:pt x="57123" y="0"/>
                        </a:cubicBezTo>
                        <a:cubicBezTo>
                          <a:pt x="62965" y="0"/>
                          <a:pt x="68556" y="1788"/>
                          <a:pt x="73315" y="5162"/>
                        </a:cubicBezTo>
                        <a:cubicBezTo>
                          <a:pt x="79434" y="9493"/>
                          <a:pt x="83513" y="15965"/>
                          <a:pt x="84773" y="23343"/>
                        </a:cubicBezTo>
                        <a:cubicBezTo>
                          <a:pt x="86032" y="30746"/>
                          <a:pt x="84344" y="38175"/>
                          <a:pt x="80013" y="44294"/>
                        </a:cubicBezTo>
                        <a:lnTo>
                          <a:pt x="50979" y="85315"/>
                        </a:lnTo>
                        <a:cubicBezTo>
                          <a:pt x="45716" y="92768"/>
                          <a:pt x="37154" y="97200"/>
                          <a:pt x="28039" y="97200"/>
                        </a:cubicBezTo>
                        <a:close/>
                        <a:moveTo>
                          <a:pt x="57123" y="9770"/>
                        </a:moveTo>
                        <a:cubicBezTo>
                          <a:pt x="51180" y="9770"/>
                          <a:pt x="45590" y="12666"/>
                          <a:pt x="42140" y="17501"/>
                        </a:cubicBezTo>
                        <a:lnTo>
                          <a:pt x="13106" y="58522"/>
                        </a:lnTo>
                        <a:cubicBezTo>
                          <a:pt x="7264" y="66781"/>
                          <a:pt x="9228" y="78239"/>
                          <a:pt x="17487" y="84081"/>
                        </a:cubicBezTo>
                        <a:cubicBezTo>
                          <a:pt x="25470" y="89747"/>
                          <a:pt x="37406" y="87656"/>
                          <a:pt x="43021" y="79699"/>
                        </a:cubicBezTo>
                        <a:lnTo>
                          <a:pt x="72056" y="38679"/>
                        </a:lnTo>
                        <a:cubicBezTo>
                          <a:pt x="74876" y="34675"/>
                          <a:pt x="75984" y="29840"/>
                          <a:pt x="75153" y="25005"/>
                        </a:cubicBezTo>
                        <a:cubicBezTo>
                          <a:pt x="74322" y="20170"/>
                          <a:pt x="71678" y="15965"/>
                          <a:pt x="67674" y="13145"/>
                        </a:cubicBezTo>
                        <a:cubicBezTo>
                          <a:pt x="64577" y="10954"/>
                          <a:pt x="60925" y="9770"/>
                          <a:pt x="57123" y="9770"/>
                        </a:cubicBezTo>
                        <a:close/>
                      </a:path>
                    </a:pathLst>
                  </a:custGeom>
                  <a:grpFill/>
                  <a:ln w="2512" cap="flat">
                    <a:noFill/>
                    <a:prstDash val="solid"/>
                    <a:miter/>
                  </a:ln>
                </p:spPr>
                <p:txBody>
                  <a:bodyPr rtlCol="0" anchor="ctr"/>
                  <a:lstStyle/>
                  <a:p>
                    <a:endParaRPr lang="en-GB" dirty="0"/>
                  </a:p>
                </p:txBody>
              </p:sp>
            </p:grpSp>
            <p:sp>
              <p:nvSpPr>
                <p:cNvPr id="212" name="Freihandform: Form 593">
                  <a:extLst>
                    <a:ext uri="{FF2B5EF4-FFF2-40B4-BE49-F238E27FC236}">
                      <a16:creationId xmlns:a16="http://schemas.microsoft.com/office/drawing/2014/main" id="{00D6BBCC-7BA3-483A-9433-58B019DA7F3B}"/>
                    </a:ext>
                  </a:extLst>
                </p:cNvPr>
                <p:cNvSpPr/>
                <p:nvPr/>
              </p:nvSpPr>
              <p:spPr>
                <a:xfrm>
                  <a:off x="3507347" y="4354056"/>
                  <a:ext cx="68468" cy="77810"/>
                </a:xfrm>
                <a:custGeom>
                  <a:avLst/>
                  <a:gdLst>
                    <a:gd name="connsiteX0" fmla="*/ 23096 w 68468"/>
                    <a:gd name="connsiteY0" fmla="*/ 77810 h 77810"/>
                    <a:gd name="connsiteX1" fmla="*/ 23096 w 68468"/>
                    <a:gd name="connsiteY1" fmla="*/ 77810 h 77810"/>
                    <a:gd name="connsiteX2" fmla="*/ 9724 w 68468"/>
                    <a:gd name="connsiteY2" fmla="*/ 73504 h 77810"/>
                    <a:gd name="connsiteX3" fmla="*/ 3655 w 68468"/>
                    <a:gd name="connsiteY3" fmla="*/ 43539 h 77810"/>
                    <a:gd name="connsiteX4" fmla="*/ 28434 w 68468"/>
                    <a:gd name="connsiteY4" fmla="*/ 8536 h 77810"/>
                    <a:gd name="connsiteX5" fmla="*/ 45381 w 68468"/>
                    <a:gd name="connsiteY5" fmla="*/ 0 h 77810"/>
                    <a:gd name="connsiteX6" fmla="*/ 58727 w 68468"/>
                    <a:gd name="connsiteY6" fmla="*/ 4306 h 77810"/>
                    <a:gd name="connsiteX7" fmla="*/ 64821 w 68468"/>
                    <a:gd name="connsiteY7" fmla="*/ 34297 h 77810"/>
                    <a:gd name="connsiteX8" fmla="*/ 40043 w 68468"/>
                    <a:gd name="connsiteY8" fmla="*/ 69299 h 77810"/>
                    <a:gd name="connsiteX9" fmla="*/ 23096 w 68468"/>
                    <a:gd name="connsiteY9" fmla="*/ 77810 h 77810"/>
                    <a:gd name="connsiteX10" fmla="*/ 45381 w 68468"/>
                    <a:gd name="connsiteY10" fmla="*/ 9745 h 77810"/>
                    <a:gd name="connsiteX11" fmla="*/ 36416 w 68468"/>
                    <a:gd name="connsiteY11" fmla="*/ 14177 h 77810"/>
                    <a:gd name="connsiteX12" fmla="*/ 11638 w 68468"/>
                    <a:gd name="connsiteY12" fmla="*/ 49179 h 77810"/>
                    <a:gd name="connsiteX13" fmla="*/ 15390 w 68468"/>
                    <a:gd name="connsiteY13" fmla="*/ 65547 h 77810"/>
                    <a:gd name="connsiteX14" fmla="*/ 32085 w 68468"/>
                    <a:gd name="connsiteY14" fmla="*/ 63658 h 77810"/>
                    <a:gd name="connsiteX15" fmla="*/ 56864 w 68468"/>
                    <a:gd name="connsiteY15" fmla="*/ 28656 h 77810"/>
                    <a:gd name="connsiteX16" fmla="*/ 53112 w 68468"/>
                    <a:gd name="connsiteY16" fmla="*/ 12263 h 77810"/>
                    <a:gd name="connsiteX17" fmla="*/ 45381 w 68468"/>
                    <a:gd name="connsiteY17" fmla="*/ 9745 h 7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8468" h="77810">
                      <a:moveTo>
                        <a:pt x="23096" y="77810"/>
                      </a:moveTo>
                      <a:lnTo>
                        <a:pt x="23096" y="77810"/>
                      </a:lnTo>
                      <a:cubicBezTo>
                        <a:pt x="18336" y="77810"/>
                        <a:pt x="13703" y="76325"/>
                        <a:pt x="9724" y="73504"/>
                      </a:cubicBezTo>
                      <a:cubicBezTo>
                        <a:pt x="-298" y="66403"/>
                        <a:pt x="-3018" y="52956"/>
                        <a:pt x="3655" y="43539"/>
                      </a:cubicBezTo>
                      <a:lnTo>
                        <a:pt x="28434" y="8536"/>
                      </a:lnTo>
                      <a:cubicBezTo>
                        <a:pt x="32287" y="3122"/>
                        <a:pt x="38456" y="0"/>
                        <a:pt x="45381" y="0"/>
                      </a:cubicBezTo>
                      <a:cubicBezTo>
                        <a:pt x="50140" y="0"/>
                        <a:pt x="54774" y="1486"/>
                        <a:pt x="58727" y="4306"/>
                      </a:cubicBezTo>
                      <a:cubicBezTo>
                        <a:pt x="68750" y="11407"/>
                        <a:pt x="71494" y="24854"/>
                        <a:pt x="64821" y="34297"/>
                      </a:cubicBezTo>
                      <a:lnTo>
                        <a:pt x="40043" y="69299"/>
                      </a:lnTo>
                      <a:cubicBezTo>
                        <a:pt x="36190" y="74688"/>
                        <a:pt x="30020" y="77810"/>
                        <a:pt x="23096" y="77810"/>
                      </a:cubicBezTo>
                      <a:close/>
                      <a:moveTo>
                        <a:pt x="45381" y="9745"/>
                      </a:moveTo>
                      <a:cubicBezTo>
                        <a:pt x="41654" y="9745"/>
                        <a:pt x="38406" y="11357"/>
                        <a:pt x="36416" y="14177"/>
                      </a:cubicBezTo>
                      <a:lnTo>
                        <a:pt x="11638" y="49179"/>
                      </a:lnTo>
                      <a:cubicBezTo>
                        <a:pt x="8062" y="54215"/>
                        <a:pt x="9749" y="61568"/>
                        <a:pt x="15390" y="65547"/>
                      </a:cubicBezTo>
                      <a:cubicBezTo>
                        <a:pt x="20880" y="69425"/>
                        <a:pt x="28635" y="68519"/>
                        <a:pt x="32085" y="63658"/>
                      </a:cubicBezTo>
                      <a:lnTo>
                        <a:pt x="56864" y="28656"/>
                      </a:lnTo>
                      <a:cubicBezTo>
                        <a:pt x="60440" y="23620"/>
                        <a:pt x="58752" y="16267"/>
                        <a:pt x="53112" y="12263"/>
                      </a:cubicBezTo>
                      <a:cubicBezTo>
                        <a:pt x="50770" y="10601"/>
                        <a:pt x="48101" y="9745"/>
                        <a:pt x="45381" y="9745"/>
                      </a:cubicBezTo>
                      <a:close/>
                    </a:path>
                  </a:pathLst>
                </a:custGeom>
                <a:grpFill/>
                <a:ln w="2512" cap="flat">
                  <a:noFill/>
                  <a:prstDash val="solid"/>
                  <a:miter/>
                </a:ln>
              </p:spPr>
              <p:txBody>
                <a:bodyPr rtlCol="0" anchor="ctr"/>
                <a:lstStyle/>
                <a:p>
                  <a:endParaRPr lang="en-GB" dirty="0"/>
                </a:p>
              </p:txBody>
            </p:sp>
          </p:grpSp>
          <p:sp>
            <p:nvSpPr>
              <p:cNvPr id="209" name="Freihandform: Form 594">
                <a:extLst>
                  <a:ext uri="{FF2B5EF4-FFF2-40B4-BE49-F238E27FC236}">
                    <a16:creationId xmlns:a16="http://schemas.microsoft.com/office/drawing/2014/main" id="{01186CBE-4359-4439-9964-56319277D056}"/>
                  </a:ext>
                </a:extLst>
              </p:cNvPr>
              <p:cNvSpPr/>
              <p:nvPr/>
            </p:nvSpPr>
            <p:spPr>
              <a:xfrm>
                <a:off x="3453494" y="4155176"/>
                <a:ext cx="185712" cy="108629"/>
              </a:xfrm>
              <a:custGeom>
                <a:avLst/>
                <a:gdLst>
                  <a:gd name="connsiteX0" fmla="*/ 40864 w 185712"/>
                  <a:gd name="connsiteY0" fmla="*/ 108630 h 108629"/>
                  <a:gd name="connsiteX1" fmla="*/ 3217 w 185712"/>
                  <a:gd name="connsiteY1" fmla="*/ 94629 h 108629"/>
                  <a:gd name="connsiteX2" fmla="*/ 2940 w 185712"/>
                  <a:gd name="connsiteY2" fmla="*/ 80250 h 108629"/>
                  <a:gd name="connsiteX3" fmla="*/ 69621 w 185712"/>
                  <a:gd name="connsiteY3" fmla="*/ 13645 h 108629"/>
                  <a:gd name="connsiteX4" fmla="*/ 97245 w 185712"/>
                  <a:gd name="connsiteY4" fmla="*/ 324 h 108629"/>
                  <a:gd name="connsiteX5" fmla="*/ 143654 w 185712"/>
                  <a:gd name="connsiteY5" fmla="*/ 501 h 108629"/>
                  <a:gd name="connsiteX6" fmla="*/ 148414 w 185712"/>
                  <a:gd name="connsiteY6" fmla="*/ 5487 h 108629"/>
                  <a:gd name="connsiteX7" fmla="*/ 143427 w 185712"/>
                  <a:gd name="connsiteY7" fmla="*/ 10246 h 108629"/>
                  <a:gd name="connsiteX8" fmla="*/ 98630 w 185712"/>
                  <a:gd name="connsiteY8" fmla="*/ 9969 h 108629"/>
                  <a:gd name="connsiteX9" fmla="*/ 76470 w 185712"/>
                  <a:gd name="connsiteY9" fmla="*/ 20570 h 108629"/>
                  <a:gd name="connsiteX10" fmla="*/ 9790 w 185712"/>
                  <a:gd name="connsiteY10" fmla="*/ 87200 h 108629"/>
                  <a:gd name="connsiteX11" fmla="*/ 20718 w 185712"/>
                  <a:gd name="connsiteY11" fmla="*/ 94755 h 108629"/>
                  <a:gd name="connsiteX12" fmla="*/ 61412 w 185712"/>
                  <a:gd name="connsiteY12" fmla="*/ 92942 h 108629"/>
                  <a:gd name="connsiteX13" fmla="*/ 104925 w 185712"/>
                  <a:gd name="connsiteY13" fmla="*/ 49655 h 108629"/>
                  <a:gd name="connsiteX14" fmla="*/ 105706 w 185712"/>
                  <a:gd name="connsiteY14" fmla="*/ 48824 h 108629"/>
                  <a:gd name="connsiteX15" fmla="*/ 110440 w 185712"/>
                  <a:gd name="connsiteY15" fmla="*/ 47162 h 108629"/>
                  <a:gd name="connsiteX16" fmla="*/ 114192 w 185712"/>
                  <a:gd name="connsiteY16" fmla="*/ 50310 h 108629"/>
                  <a:gd name="connsiteX17" fmla="*/ 164756 w 185712"/>
                  <a:gd name="connsiteY17" fmla="*/ 75617 h 108629"/>
                  <a:gd name="connsiteX18" fmla="*/ 166972 w 185712"/>
                  <a:gd name="connsiteY18" fmla="*/ 74912 h 108629"/>
                  <a:gd name="connsiteX19" fmla="*/ 178178 w 185712"/>
                  <a:gd name="connsiteY19" fmla="*/ 69750 h 108629"/>
                  <a:gd name="connsiteX20" fmla="*/ 184927 w 185712"/>
                  <a:gd name="connsiteY20" fmla="*/ 71185 h 108629"/>
                  <a:gd name="connsiteX21" fmla="*/ 183491 w 185712"/>
                  <a:gd name="connsiteY21" fmla="*/ 77934 h 108629"/>
                  <a:gd name="connsiteX22" fmla="*/ 170070 w 185712"/>
                  <a:gd name="connsiteY22" fmla="*/ 84153 h 108629"/>
                  <a:gd name="connsiteX23" fmla="*/ 167552 w 185712"/>
                  <a:gd name="connsiteY23" fmla="*/ 84959 h 108629"/>
                  <a:gd name="connsiteX24" fmla="*/ 107922 w 185712"/>
                  <a:gd name="connsiteY24" fmla="*/ 60458 h 108629"/>
                  <a:gd name="connsiteX25" fmla="*/ 68060 w 185712"/>
                  <a:gd name="connsiteY25" fmla="*/ 100118 h 108629"/>
                  <a:gd name="connsiteX26" fmla="*/ 67506 w 185712"/>
                  <a:gd name="connsiteY26" fmla="*/ 100597 h 108629"/>
                  <a:gd name="connsiteX27" fmla="*/ 40864 w 185712"/>
                  <a:gd name="connsiteY27" fmla="*/ 108630 h 10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5712" h="108629">
                    <a:moveTo>
                      <a:pt x="40864" y="108630"/>
                    </a:moveTo>
                    <a:cubicBezTo>
                      <a:pt x="24873" y="108630"/>
                      <a:pt x="9387" y="101881"/>
                      <a:pt x="3217" y="94629"/>
                    </a:cubicBezTo>
                    <a:cubicBezTo>
                      <a:pt x="-1794" y="88736"/>
                      <a:pt x="-207" y="83348"/>
                      <a:pt x="2940" y="80250"/>
                    </a:cubicBezTo>
                    <a:lnTo>
                      <a:pt x="69621" y="13645"/>
                    </a:lnTo>
                    <a:cubicBezTo>
                      <a:pt x="69772" y="13494"/>
                      <a:pt x="81481" y="2591"/>
                      <a:pt x="97245" y="324"/>
                    </a:cubicBezTo>
                    <a:cubicBezTo>
                      <a:pt x="102357" y="-431"/>
                      <a:pt x="136805" y="349"/>
                      <a:pt x="143654" y="501"/>
                    </a:cubicBezTo>
                    <a:cubicBezTo>
                      <a:pt x="146349" y="576"/>
                      <a:pt x="148489" y="2792"/>
                      <a:pt x="148414" y="5487"/>
                    </a:cubicBezTo>
                    <a:cubicBezTo>
                      <a:pt x="148338" y="8181"/>
                      <a:pt x="146399" y="10221"/>
                      <a:pt x="143427" y="10246"/>
                    </a:cubicBezTo>
                    <a:cubicBezTo>
                      <a:pt x="127866" y="9868"/>
                      <a:pt x="101929" y="9465"/>
                      <a:pt x="98630" y="9969"/>
                    </a:cubicBezTo>
                    <a:cubicBezTo>
                      <a:pt x="86316" y="11732"/>
                      <a:pt x="76571" y="20470"/>
                      <a:pt x="76470" y="20570"/>
                    </a:cubicBezTo>
                    <a:lnTo>
                      <a:pt x="9790" y="87200"/>
                    </a:lnTo>
                    <a:cubicBezTo>
                      <a:pt x="9916" y="87855"/>
                      <a:pt x="12786" y="91456"/>
                      <a:pt x="20718" y="94755"/>
                    </a:cubicBezTo>
                    <a:cubicBezTo>
                      <a:pt x="32755" y="99741"/>
                      <a:pt x="49954" y="101075"/>
                      <a:pt x="61412" y="92942"/>
                    </a:cubicBezTo>
                    <a:lnTo>
                      <a:pt x="104925" y="49655"/>
                    </a:lnTo>
                    <a:cubicBezTo>
                      <a:pt x="105278" y="49327"/>
                      <a:pt x="105479" y="49076"/>
                      <a:pt x="105706" y="48824"/>
                    </a:cubicBezTo>
                    <a:cubicBezTo>
                      <a:pt x="106864" y="47514"/>
                      <a:pt x="108753" y="46834"/>
                      <a:pt x="110440" y="47162"/>
                    </a:cubicBezTo>
                    <a:cubicBezTo>
                      <a:pt x="112152" y="47514"/>
                      <a:pt x="113638" y="48648"/>
                      <a:pt x="114192" y="50310"/>
                    </a:cubicBezTo>
                    <a:cubicBezTo>
                      <a:pt x="115426" y="54062"/>
                      <a:pt x="127387" y="86646"/>
                      <a:pt x="164756" y="75617"/>
                    </a:cubicBezTo>
                    <a:cubicBezTo>
                      <a:pt x="165486" y="75390"/>
                      <a:pt x="166217" y="75189"/>
                      <a:pt x="166972" y="74912"/>
                    </a:cubicBezTo>
                    <a:cubicBezTo>
                      <a:pt x="171404" y="73426"/>
                      <a:pt x="175181" y="71689"/>
                      <a:pt x="178178" y="69750"/>
                    </a:cubicBezTo>
                    <a:cubicBezTo>
                      <a:pt x="180444" y="68289"/>
                      <a:pt x="183466" y="68918"/>
                      <a:pt x="184927" y="71185"/>
                    </a:cubicBezTo>
                    <a:cubicBezTo>
                      <a:pt x="186387" y="73451"/>
                      <a:pt x="185758" y="76473"/>
                      <a:pt x="183491" y="77934"/>
                    </a:cubicBezTo>
                    <a:cubicBezTo>
                      <a:pt x="179790" y="80326"/>
                      <a:pt x="175282" y="82416"/>
                      <a:pt x="170070" y="84153"/>
                    </a:cubicBezTo>
                    <a:cubicBezTo>
                      <a:pt x="169213" y="84430"/>
                      <a:pt x="168382" y="84707"/>
                      <a:pt x="167552" y="84959"/>
                    </a:cubicBezTo>
                    <a:cubicBezTo>
                      <a:pt x="135042" y="94528"/>
                      <a:pt x="116055" y="76473"/>
                      <a:pt x="107922" y="60458"/>
                    </a:cubicBezTo>
                    <a:lnTo>
                      <a:pt x="68060" y="100118"/>
                    </a:lnTo>
                    <a:cubicBezTo>
                      <a:pt x="67883" y="100295"/>
                      <a:pt x="67707" y="100446"/>
                      <a:pt x="67506" y="100597"/>
                    </a:cubicBezTo>
                    <a:cubicBezTo>
                      <a:pt x="59624" y="106363"/>
                      <a:pt x="50156" y="108630"/>
                      <a:pt x="40864" y="108630"/>
                    </a:cubicBezTo>
                    <a:close/>
                  </a:path>
                </a:pathLst>
              </a:custGeom>
              <a:grpFill/>
              <a:ln w="2512" cap="flat">
                <a:noFill/>
                <a:prstDash val="solid"/>
                <a:miter/>
              </a:ln>
            </p:spPr>
            <p:txBody>
              <a:bodyPr rtlCol="0" anchor="ctr"/>
              <a:lstStyle/>
              <a:p>
                <a:endParaRPr lang="en-GB" dirty="0"/>
              </a:p>
            </p:txBody>
          </p:sp>
          <p:sp>
            <p:nvSpPr>
              <p:cNvPr id="210" name="Freihandform: Form 595">
                <a:extLst>
                  <a:ext uri="{FF2B5EF4-FFF2-40B4-BE49-F238E27FC236}">
                    <a16:creationId xmlns:a16="http://schemas.microsoft.com/office/drawing/2014/main" id="{9F1E9D6A-BACD-4042-8130-25FA63E7CD2E}"/>
                  </a:ext>
                </a:extLst>
              </p:cNvPr>
              <p:cNvSpPr/>
              <p:nvPr/>
            </p:nvSpPr>
            <p:spPr>
              <a:xfrm>
                <a:off x="3294895" y="4162224"/>
                <a:ext cx="99869" cy="175539"/>
              </a:xfrm>
              <a:custGeom>
                <a:avLst/>
                <a:gdLst>
                  <a:gd name="connsiteX0" fmla="*/ 94984 w 99869"/>
                  <a:gd name="connsiteY0" fmla="*/ 175540 h 175539"/>
                  <a:gd name="connsiteX1" fmla="*/ 4885 w 99869"/>
                  <a:gd name="connsiteY1" fmla="*/ 175540 h 175539"/>
                  <a:gd name="connsiteX2" fmla="*/ 0 w 99869"/>
                  <a:gd name="connsiteY2" fmla="*/ 170655 h 175539"/>
                  <a:gd name="connsiteX3" fmla="*/ 4885 w 99869"/>
                  <a:gd name="connsiteY3" fmla="*/ 165769 h 175539"/>
                  <a:gd name="connsiteX4" fmla="*/ 90099 w 99869"/>
                  <a:gd name="connsiteY4" fmla="*/ 165769 h 175539"/>
                  <a:gd name="connsiteX5" fmla="*/ 90099 w 99869"/>
                  <a:gd name="connsiteY5" fmla="*/ 9770 h 175539"/>
                  <a:gd name="connsiteX6" fmla="*/ 4885 w 99869"/>
                  <a:gd name="connsiteY6" fmla="*/ 9770 h 175539"/>
                  <a:gd name="connsiteX7" fmla="*/ 0 w 99869"/>
                  <a:gd name="connsiteY7" fmla="*/ 4885 h 175539"/>
                  <a:gd name="connsiteX8" fmla="*/ 4885 w 99869"/>
                  <a:gd name="connsiteY8" fmla="*/ 0 h 175539"/>
                  <a:gd name="connsiteX9" fmla="*/ 94984 w 99869"/>
                  <a:gd name="connsiteY9" fmla="*/ 0 h 175539"/>
                  <a:gd name="connsiteX10" fmla="*/ 99870 w 99869"/>
                  <a:gd name="connsiteY10" fmla="*/ 4885 h 175539"/>
                  <a:gd name="connsiteX11" fmla="*/ 99870 w 99869"/>
                  <a:gd name="connsiteY11" fmla="*/ 170655 h 175539"/>
                  <a:gd name="connsiteX12" fmla="*/ 94984 w 99869"/>
                  <a:gd name="connsiteY12" fmla="*/ 175540 h 17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869" h="175539">
                    <a:moveTo>
                      <a:pt x="94984" y="175540"/>
                    </a:moveTo>
                    <a:lnTo>
                      <a:pt x="4885" y="175540"/>
                    </a:lnTo>
                    <a:cubicBezTo>
                      <a:pt x="2191" y="175540"/>
                      <a:pt x="0" y="173349"/>
                      <a:pt x="0" y="170655"/>
                    </a:cubicBezTo>
                    <a:cubicBezTo>
                      <a:pt x="0" y="167960"/>
                      <a:pt x="2191" y="165769"/>
                      <a:pt x="4885" y="165769"/>
                    </a:cubicBezTo>
                    <a:lnTo>
                      <a:pt x="90099" y="165769"/>
                    </a:lnTo>
                    <a:lnTo>
                      <a:pt x="90099" y="9770"/>
                    </a:lnTo>
                    <a:lnTo>
                      <a:pt x="4885" y="9770"/>
                    </a:lnTo>
                    <a:cubicBezTo>
                      <a:pt x="2191" y="9770"/>
                      <a:pt x="0" y="7580"/>
                      <a:pt x="0" y="4885"/>
                    </a:cubicBezTo>
                    <a:cubicBezTo>
                      <a:pt x="0" y="2191"/>
                      <a:pt x="2191" y="0"/>
                      <a:pt x="4885" y="0"/>
                    </a:cubicBezTo>
                    <a:lnTo>
                      <a:pt x="94984" y="0"/>
                    </a:lnTo>
                    <a:cubicBezTo>
                      <a:pt x="97679" y="0"/>
                      <a:pt x="99870" y="2191"/>
                      <a:pt x="99870" y="4885"/>
                    </a:cubicBezTo>
                    <a:lnTo>
                      <a:pt x="99870" y="170655"/>
                    </a:lnTo>
                    <a:cubicBezTo>
                      <a:pt x="99844" y="173349"/>
                      <a:pt x="97679" y="175540"/>
                      <a:pt x="94984" y="175540"/>
                    </a:cubicBezTo>
                    <a:close/>
                  </a:path>
                </a:pathLst>
              </a:custGeom>
              <a:grpFill/>
              <a:ln w="2512" cap="flat">
                <a:noFill/>
                <a:prstDash val="solid"/>
                <a:miter/>
              </a:ln>
            </p:spPr>
            <p:txBody>
              <a:bodyPr rtlCol="0" anchor="ctr"/>
              <a:lstStyle/>
              <a:p>
                <a:endParaRPr lang="en-GB" dirty="0"/>
              </a:p>
            </p:txBody>
          </p:sp>
        </p:grpSp>
      </p:grpSp>
      <p:grpSp>
        <p:nvGrpSpPr>
          <p:cNvPr id="30" name="Group 29">
            <a:extLst>
              <a:ext uri="{FF2B5EF4-FFF2-40B4-BE49-F238E27FC236}">
                <a16:creationId xmlns:a16="http://schemas.microsoft.com/office/drawing/2014/main" id="{4EA46468-5C25-98E7-7A4D-AAEA3C14871F}"/>
              </a:ext>
            </a:extLst>
          </p:cNvPr>
          <p:cNvGrpSpPr/>
          <p:nvPr/>
        </p:nvGrpSpPr>
        <p:grpSpPr>
          <a:xfrm>
            <a:off x="516762" y="4063479"/>
            <a:ext cx="554574" cy="310272"/>
            <a:chOff x="516762" y="4063479"/>
            <a:chExt cx="554574" cy="310272"/>
          </a:xfrm>
        </p:grpSpPr>
        <p:grpSp>
          <p:nvGrpSpPr>
            <p:cNvPr id="3" name="Group 2">
              <a:extLst>
                <a:ext uri="{FF2B5EF4-FFF2-40B4-BE49-F238E27FC236}">
                  <a16:creationId xmlns:a16="http://schemas.microsoft.com/office/drawing/2014/main" id="{71E8742B-0335-4BA6-B8A1-3E1384AEDBBB}"/>
                </a:ext>
              </a:extLst>
            </p:cNvPr>
            <p:cNvGrpSpPr/>
            <p:nvPr/>
          </p:nvGrpSpPr>
          <p:grpSpPr>
            <a:xfrm>
              <a:off x="516762" y="4106281"/>
              <a:ext cx="186288" cy="258046"/>
              <a:chOff x="516762" y="4106281"/>
              <a:chExt cx="186288" cy="258046"/>
            </a:xfrm>
            <a:solidFill>
              <a:schemeClr val="accent1"/>
            </a:solidFill>
          </p:grpSpPr>
          <p:grpSp>
            <p:nvGrpSpPr>
              <p:cNvPr id="239" name="Group 238">
                <a:extLst>
                  <a:ext uri="{FF2B5EF4-FFF2-40B4-BE49-F238E27FC236}">
                    <a16:creationId xmlns:a16="http://schemas.microsoft.com/office/drawing/2014/main" id="{824171FE-453C-4342-A607-A29E930814C0}"/>
                  </a:ext>
                </a:extLst>
              </p:cNvPr>
              <p:cNvGrpSpPr/>
              <p:nvPr/>
            </p:nvGrpSpPr>
            <p:grpSpPr>
              <a:xfrm>
                <a:off x="516762" y="4106281"/>
                <a:ext cx="185969" cy="258046"/>
                <a:chOff x="2510428" y="3444723"/>
                <a:chExt cx="177687" cy="246555"/>
              </a:xfrm>
              <a:grpFill/>
            </p:grpSpPr>
            <p:grpSp>
              <p:nvGrpSpPr>
                <p:cNvPr id="252" name="Grafik 35">
                  <a:extLst>
                    <a:ext uri="{FF2B5EF4-FFF2-40B4-BE49-F238E27FC236}">
                      <a16:creationId xmlns:a16="http://schemas.microsoft.com/office/drawing/2014/main" id="{91F01C3D-1BCB-49BD-8600-3D21C5202C0B}"/>
                    </a:ext>
                  </a:extLst>
                </p:cNvPr>
                <p:cNvGrpSpPr/>
                <p:nvPr/>
              </p:nvGrpSpPr>
              <p:grpSpPr>
                <a:xfrm>
                  <a:off x="2510428" y="3444723"/>
                  <a:ext cx="126943" cy="246555"/>
                  <a:chOff x="2510428" y="3444723"/>
                  <a:chExt cx="126943" cy="246555"/>
                </a:xfrm>
                <a:grpFill/>
              </p:grpSpPr>
              <p:sp>
                <p:nvSpPr>
                  <p:cNvPr id="254" name="Freihandform: Form 347">
                    <a:extLst>
                      <a:ext uri="{FF2B5EF4-FFF2-40B4-BE49-F238E27FC236}">
                        <a16:creationId xmlns:a16="http://schemas.microsoft.com/office/drawing/2014/main" id="{9F796058-51B9-4240-B09B-140C4AFD023B}"/>
                      </a:ext>
                    </a:extLst>
                  </p:cNvPr>
                  <p:cNvSpPr/>
                  <p:nvPr/>
                </p:nvSpPr>
                <p:spPr>
                  <a:xfrm>
                    <a:off x="2575748" y="3444723"/>
                    <a:ext cx="61623" cy="152137"/>
                  </a:xfrm>
                  <a:custGeom>
                    <a:avLst/>
                    <a:gdLst>
                      <a:gd name="connsiteX0" fmla="*/ 58387 w 61623"/>
                      <a:gd name="connsiteY0" fmla="*/ 287 h 152137"/>
                      <a:gd name="connsiteX1" fmla="*/ 52068 w 61623"/>
                      <a:gd name="connsiteY1" fmla="*/ 3239 h 152137"/>
                      <a:gd name="connsiteX2" fmla="*/ 297 w 61623"/>
                      <a:gd name="connsiteY2" fmla="*/ 145526 h 152137"/>
                      <a:gd name="connsiteX3" fmla="*/ 3249 w 61623"/>
                      <a:gd name="connsiteY3" fmla="*/ 151845 h 152137"/>
                      <a:gd name="connsiteX4" fmla="*/ 4932 w 61623"/>
                      <a:gd name="connsiteY4" fmla="*/ 152137 h 152137"/>
                      <a:gd name="connsiteX5" fmla="*/ 9568 w 61623"/>
                      <a:gd name="connsiteY5" fmla="*/ 148892 h 152137"/>
                      <a:gd name="connsiteX6" fmla="*/ 61339 w 61623"/>
                      <a:gd name="connsiteY6" fmla="*/ 6606 h 152137"/>
                      <a:gd name="connsiteX7" fmla="*/ 58387 w 61623"/>
                      <a:gd name="connsiteY7" fmla="*/ 287 h 152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623" h="152137">
                        <a:moveTo>
                          <a:pt x="58387" y="287"/>
                        </a:moveTo>
                        <a:cubicBezTo>
                          <a:pt x="55825" y="-616"/>
                          <a:pt x="53020" y="677"/>
                          <a:pt x="52068" y="3239"/>
                        </a:cubicBezTo>
                        <a:lnTo>
                          <a:pt x="297" y="145526"/>
                        </a:lnTo>
                        <a:cubicBezTo>
                          <a:pt x="-630" y="148087"/>
                          <a:pt x="687" y="150918"/>
                          <a:pt x="3249" y="151845"/>
                        </a:cubicBezTo>
                        <a:cubicBezTo>
                          <a:pt x="3810" y="152040"/>
                          <a:pt x="4371" y="152137"/>
                          <a:pt x="4932" y="152137"/>
                        </a:cubicBezTo>
                        <a:cubicBezTo>
                          <a:pt x="6933" y="152137"/>
                          <a:pt x="8836" y="150893"/>
                          <a:pt x="9568" y="148892"/>
                        </a:cubicBezTo>
                        <a:lnTo>
                          <a:pt x="61339" y="6606"/>
                        </a:lnTo>
                        <a:cubicBezTo>
                          <a:pt x="62242" y="4044"/>
                          <a:pt x="60925" y="1214"/>
                          <a:pt x="58387" y="287"/>
                        </a:cubicBezTo>
                        <a:close/>
                      </a:path>
                    </a:pathLst>
                  </a:custGeom>
                  <a:grpFill/>
                  <a:ln w="2436" cap="flat">
                    <a:noFill/>
                    <a:prstDash val="solid"/>
                    <a:miter/>
                  </a:ln>
                </p:spPr>
                <p:txBody>
                  <a:bodyPr rtlCol="0" anchor="ctr"/>
                  <a:lstStyle/>
                  <a:p>
                    <a:endParaRPr lang="en-GB" dirty="0"/>
                  </a:p>
                </p:txBody>
              </p:sp>
              <p:sp>
                <p:nvSpPr>
                  <p:cNvPr id="255" name="Freihandform: Form 348">
                    <a:extLst>
                      <a:ext uri="{FF2B5EF4-FFF2-40B4-BE49-F238E27FC236}">
                        <a16:creationId xmlns:a16="http://schemas.microsoft.com/office/drawing/2014/main" id="{3A30B57F-B686-4481-BBE5-EB1BAE91C937}"/>
                      </a:ext>
                    </a:extLst>
                  </p:cNvPr>
                  <p:cNvSpPr/>
                  <p:nvPr/>
                </p:nvSpPr>
                <p:spPr>
                  <a:xfrm>
                    <a:off x="2510428" y="3584052"/>
                    <a:ext cx="107194" cy="107227"/>
                  </a:xfrm>
                  <a:custGeom>
                    <a:avLst/>
                    <a:gdLst>
                      <a:gd name="connsiteX0" fmla="*/ 71911 w 107194"/>
                      <a:gd name="connsiteY0" fmla="*/ 3245 h 107227"/>
                      <a:gd name="connsiteX1" fmla="*/ 53588 w 107194"/>
                      <a:gd name="connsiteY1" fmla="*/ 0 h 107227"/>
                      <a:gd name="connsiteX2" fmla="*/ 3232 w 107194"/>
                      <a:gd name="connsiteY2" fmla="*/ 35279 h 107227"/>
                      <a:gd name="connsiteX3" fmla="*/ 35266 w 107194"/>
                      <a:gd name="connsiteY3" fmla="*/ 103982 h 107227"/>
                      <a:gd name="connsiteX4" fmla="*/ 53588 w 107194"/>
                      <a:gd name="connsiteY4" fmla="*/ 107227 h 107227"/>
                      <a:gd name="connsiteX5" fmla="*/ 103945 w 107194"/>
                      <a:gd name="connsiteY5" fmla="*/ 71948 h 107227"/>
                      <a:gd name="connsiteX6" fmla="*/ 102164 w 107194"/>
                      <a:gd name="connsiteY6" fmla="*/ 30961 h 107227"/>
                      <a:gd name="connsiteX7" fmla="*/ 71911 w 107194"/>
                      <a:gd name="connsiteY7" fmla="*/ 3245 h 107227"/>
                      <a:gd name="connsiteX8" fmla="*/ 94698 w 107194"/>
                      <a:gd name="connsiteY8" fmla="*/ 68557 h 107227"/>
                      <a:gd name="connsiteX9" fmla="*/ 53588 w 107194"/>
                      <a:gd name="connsiteY9" fmla="*/ 97346 h 107227"/>
                      <a:gd name="connsiteX10" fmla="*/ 38633 w 107194"/>
                      <a:gd name="connsiteY10" fmla="*/ 94711 h 107227"/>
                      <a:gd name="connsiteX11" fmla="*/ 12478 w 107194"/>
                      <a:gd name="connsiteY11" fmla="*/ 38646 h 107227"/>
                      <a:gd name="connsiteX12" fmla="*/ 53588 w 107194"/>
                      <a:gd name="connsiteY12" fmla="*/ 9857 h 107227"/>
                      <a:gd name="connsiteX13" fmla="*/ 68544 w 107194"/>
                      <a:gd name="connsiteY13" fmla="*/ 12516 h 107227"/>
                      <a:gd name="connsiteX14" fmla="*/ 93234 w 107194"/>
                      <a:gd name="connsiteY14" fmla="*/ 35133 h 107227"/>
                      <a:gd name="connsiteX15" fmla="*/ 94698 w 107194"/>
                      <a:gd name="connsiteY15" fmla="*/ 68557 h 107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7194" h="107227">
                        <a:moveTo>
                          <a:pt x="71911" y="3245"/>
                        </a:moveTo>
                        <a:cubicBezTo>
                          <a:pt x="65982" y="1098"/>
                          <a:pt x="59834" y="0"/>
                          <a:pt x="53588" y="0"/>
                        </a:cubicBezTo>
                        <a:cubicBezTo>
                          <a:pt x="31143" y="0"/>
                          <a:pt x="10917" y="14175"/>
                          <a:pt x="3232" y="35279"/>
                        </a:cubicBezTo>
                        <a:cubicBezTo>
                          <a:pt x="-6869" y="63043"/>
                          <a:pt x="7501" y="93857"/>
                          <a:pt x="35266" y="103982"/>
                        </a:cubicBezTo>
                        <a:cubicBezTo>
                          <a:pt x="41170" y="106129"/>
                          <a:pt x="47342" y="107227"/>
                          <a:pt x="53588" y="107227"/>
                        </a:cubicBezTo>
                        <a:cubicBezTo>
                          <a:pt x="76034" y="107227"/>
                          <a:pt x="96284" y="93052"/>
                          <a:pt x="103945" y="71948"/>
                        </a:cubicBezTo>
                        <a:cubicBezTo>
                          <a:pt x="108824" y="58505"/>
                          <a:pt x="108190" y="43940"/>
                          <a:pt x="102164" y="30961"/>
                        </a:cubicBezTo>
                        <a:cubicBezTo>
                          <a:pt x="96113" y="17981"/>
                          <a:pt x="85354" y="8149"/>
                          <a:pt x="71911" y="3245"/>
                        </a:cubicBezTo>
                        <a:close/>
                        <a:moveTo>
                          <a:pt x="94698" y="68557"/>
                        </a:moveTo>
                        <a:cubicBezTo>
                          <a:pt x="88428" y="85782"/>
                          <a:pt x="71911" y="97346"/>
                          <a:pt x="53588" y="97346"/>
                        </a:cubicBezTo>
                        <a:cubicBezTo>
                          <a:pt x="48489" y="97346"/>
                          <a:pt x="43463" y="96444"/>
                          <a:pt x="38633" y="94711"/>
                        </a:cubicBezTo>
                        <a:cubicBezTo>
                          <a:pt x="15967" y="86465"/>
                          <a:pt x="4232" y="61311"/>
                          <a:pt x="12478" y="38646"/>
                        </a:cubicBezTo>
                        <a:cubicBezTo>
                          <a:pt x="18749" y="21421"/>
                          <a:pt x="35266" y="9857"/>
                          <a:pt x="53588" y="9857"/>
                        </a:cubicBezTo>
                        <a:cubicBezTo>
                          <a:pt x="58687" y="9857"/>
                          <a:pt x="63713" y="10759"/>
                          <a:pt x="68544" y="12516"/>
                        </a:cubicBezTo>
                        <a:cubicBezTo>
                          <a:pt x="79523" y="16517"/>
                          <a:pt x="88282" y="24544"/>
                          <a:pt x="93234" y="35133"/>
                        </a:cubicBezTo>
                        <a:cubicBezTo>
                          <a:pt x="98163" y="45697"/>
                          <a:pt x="98675" y="57578"/>
                          <a:pt x="94698" y="68557"/>
                        </a:cubicBezTo>
                        <a:close/>
                      </a:path>
                    </a:pathLst>
                  </a:custGeom>
                  <a:grpFill/>
                  <a:ln w="2436" cap="flat">
                    <a:noFill/>
                    <a:prstDash val="solid"/>
                    <a:miter/>
                  </a:ln>
                </p:spPr>
                <p:txBody>
                  <a:bodyPr rtlCol="0" anchor="ctr"/>
                  <a:lstStyle/>
                  <a:p>
                    <a:endParaRPr lang="en-GB" dirty="0"/>
                  </a:p>
                </p:txBody>
              </p:sp>
            </p:grpSp>
            <p:sp>
              <p:nvSpPr>
                <p:cNvPr id="253" name="Freihandform: Form 351">
                  <a:extLst>
                    <a:ext uri="{FF2B5EF4-FFF2-40B4-BE49-F238E27FC236}">
                      <a16:creationId xmlns:a16="http://schemas.microsoft.com/office/drawing/2014/main" id="{DED672C0-076E-4E17-955A-8A9D4D966686}"/>
                    </a:ext>
                  </a:extLst>
                </p:cNvPr>
                <p:cNvSpPr/>
                <p:nvPr/>
              </p:nvSpPr>
              <p:spPr>
                <a:xfrm>
                  <a:off x="2627268" y="3654452"/>
                  <a:ext cx="60847" cy="17651"/>
                </a:xfrm>
                <a:custGeom>
                  <a:avLst/>
                  <a:gdLst>
                    <a:gd name="connsiteX0" fmla="*/ 55565 w 60847"/>
                    <a:gd name="connsiteY0" fmla="*/ 7502 h 17651"/>
                    <a:gd name="connsiteX1" fmla="*/ 6697 w 60847"/>
                    <a:gd name="connsiteY1" fmla="*/ 329 h 17651"/>
                    <a:gd name="connsiteX2" fmla="*/ 329 w 60847"/>
                    <a:gd name="connsiteY2" fmla="*/ 3159 h 17651"/>
                    <a:gd name="connsiteX3" fmla="*/ 3159 w 60847"/>
                    <a:gd name="connsiteY3" fmla="*/ 9527 h 17651"/>
                    <a:gd name="connsiteX4" fmla="*/ 47294 w 60847"/>
                    <a:gd name="connsiteY4" fmla="*/ 17651 h 17651"/>
                    <a:gd name="connsiteX5" fmla="*/ 56273 w 60847"/>
                    <a:gd name="connsiteY5" fmla="*/ 17334 h 17651"/>
                    <a:gd name="connsiteX6" fmla="*/ 60835 w 60847"/>
                    <a:gd name="connsiteY6" fmla="*/ 12064 h 17651"/>
                    <a:gd name="connsiteX7" fmla="*/ 55565 w 60847"/>
                    <a:gd name="connsiteY7" fmla="*/ 7502 h 17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47" h="17651">
                      <a:moveTo>
                        <a:pt x="55565" y="7502"/>
                      </a:moveTo>
                      <a:cubicBezTo>
                        <a:pt x="39072" y="8722"/>
                        <a:pt x="22214" y="6282"/>
                        <a:pt x="6697" y="329"/>
                      </a:cubicBezTo>
                      <a:cubicBezTo>
                        <a:pt x="4135" y="-647"/>
                        <a:pt x="1305" y="622"/>
                        <a:pt x="329" y="3159"/>
                      </a:cubicBezTo>
                      <a:cubicBezTo>
                        <a:pt x="-647" y="5696"/>
                        <a:pt x="622" y="8551"/>
                        <a:pt x="3159" y="9527"/>
                      </a:cubicBezTo>
                      <a:cubicBezTo>
                        <a:pt x="17237" y="14919"/>
                        <a:pt x="32095" y="17651"/>
                        <a:pt x="47294" y="17651"/>
                      </a:cubicBezTo>
                      <a:cubicBezTo>
                        <a:pt x="50320" y="17651"/>
                        <a:pt x="53296" y="17554"/>
                        <a:pt x="56273" y="17334"/>
                      </a:cubicBezTo>
                      <a:cubicBezTo>
                        <a:pt x="58981" y="17139"/>
                        <a:pt x="61030" y="14772"/>
                        <a:pt x="60835" y="12064"/>
                      </a:cubicBezTo>
                      <a:cubicBezTo>
                        <a:pt x="60640" y="9356"/>
                        <a:pt x="58273" y="7356"/>
                        <a:pt x="55565" y="7502"/>
                      </a:cubicBezTo>
                      <a:close/>
                    </a:path>
                  </a:pathLst>
                </a:custGeom>
                <a:grpFill/>
                <a:ln w="2436" cap="flat">
                  <a:noFill/>
                  <a:prstDash val="solid"/>
                  <a:miter/>
                </a:ln>
              </p:spPr>
              <p:txBody>
                <a:bodyPr rtlCol="0" anchor="ctr"/>
                <a:lstStyle/>
                <a:p>
                  <a:endParaRPr lang="en-GB" dirty="0"/>
                </a:p>
              </p:txBody>
            </p:sp>
          </p:grpSp>
          <p:sp>
            <p:nvSpPr>
              <p:cNvPr id="237" name="Freihandform: Form 352">
                <a:extLst>
                  <a:ext uri="{FF2B5EF4-FFF2-40B4-BE49-F238E27FC236}">
                    <a16:creationId xmlns:a16="http://schemas.microsoft.com/office/drawing/2014/main" id="{86913B26-8527-4096-868E-886B8D306FE3}"/>
                  </a:ext>
                </a:extLst>
              </p:cNvPr>
              <p:cNvSpPr/>
              <p:nvPr/>
            </p:nvSpPr>
            <p:spPr>
              <a:xfrm>
                <a:off x="678562" y="4314524"/>
                <a:ext cx="24488" cy="29199"/>
              </a:xfrm>
              <a:custGeom>
                <a:avLst/>
                <a:gdLst>
                  <a:gd name="connsiteX0" fmla="*/ 8844 w 23397"/>
                  <a:gd name="connsiteY0" fmla="*/ 1964 h 27898"/>
                  <a:gd name="connsiteX1" fmla="*/ 1964 w 23397"/>
                  <a:gd name="connsiteY1" fmla="*/ 988 h 27898"/>
                  <a:gd name="connsiteX2" fmla="*/ 988 w 23397"/>
                  <a:gd name="connsiteY2" fmla="*/ 7868 h 27898"/>
                  <a:gd name="connsiteX3" fmla="*/ 14529 w 23397"/>
                  <a:gd name="connsiteY3" fmla="*/ 25923 h 27898"/>
                  <a:gd name="connsiteX4" fmla="*/ 18481 w 23397"/>
                  <a:gd name="connsiteY4" fmla="*/ 27899 h 27898"/>
                  <a:gd name="connsiteX5" fmla="*/ 21434 w 23397"/>
                  <a:gd name="connsiteY5" fmla="*/ 26923 h 27898"/>
                  <a:gd name="connsiteX6" fmla="*/ 22409 w 23397"/>
                  <a:gd name="connsiteY6" fmla="*/ 20043 h 27898"/>
                  <a:gd name="connsiteX7" fmla="*/ 8844 w 23397"/>
                  <a:gd name="connsiteY7" fmla="*/ 1964 h 27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97" h="27898">
                    <a:moveTo>
                      <a:pt x="8844" y="1964"/>
                    </a:moveTo>
                    <a:cubicBezTo>
                      <a:pt x="7234" y="-207"/>
                      <a:pt x="4136" y="-646"/>
                      <a:pt x="1964" y="988"/>
                    </a:cubicBezTo>
                    <a:cubicBezTo>
                      <a:pt x="-207" y="2623"/>
                      <a:pt x="-646" y="5697"/>
                      <a:pt x="988" y="7868"/>
                    </a:cubicBezTo>
                    <a:lnTo>
                      <a:pt x="14529" y="25923"/>
                    </a:lnTo>
                    <a:cubicBezTo>
                      <a:pt x="15481" y="27216"/>
                      <a:pt x="16969" y="27899"/>
                      <a:pt x="18481" y="27899"/>
                    </a:cubicBezTo>
                    <a:cubicBezTo>
                      <a:pt x="19506" y="27899"/>
                      <a:pt x="20555" y="27582"/>
                      <a:pt x="21434" y="26923"/>
                    </a:cubicBezTo>
                    <a:cubicBezTo>
                      <a:pt x="23605" y="25288"/>
                      <a:pt x="24044" y="22214"/>
                      <a:pt x="22409" y="20043"/>
                    </a:cubicBezTo>
                    <a:lnTo>
                      <a:pt x="8844" y="1964"/>
                    </a:lnTo>
                    <a:close/>
                  </a:path>
                </a:pathLst>
              </a:custGeom>
              <a:grpFill/>
              <a:ln w="2436" cap="flat">
                <a:noFill/>
                <a:prstDash val="solid"/>
                <a:miter/>
              </a:ln>
            </p:spPr>
            <p:txBody>
              <a:bodyPr rtlCol="0" anchor="ctr"/>
              <a:lstStyle/>
              <a:p>
                <a:endParaRPr lang="en-GB" dirty="0"/>
              </a:p>
            </p:txBody>
          </p:sp>
          <p:sp>
            <p:nvSpPr>
              <p:cNvPr id="238" name="Freihandform: Form 353">
                <a:extLst>
                  <a:ext uri="{FF2B5EF4-FFF2-40B4-BE49-F238E27FC236}">
                    <a16:creationId xmlns:a16="http://schemas.microsoft.com/office/drawing/2014/main" id="{728B3DB3-9739-414E-AF4C-34C5E3B84E03}"/>
                  </a:ext>
                </a:extLst>
              </p:cNvPr>
              <p:cNvSpPr/>
              <p:nvPr/>
            </p:nvSpPr>
            <p:spPr>
              <a:xfrm>
                <a:off x="678183" y="4334141"/>
                <a:ext cx="24488" cy="29189"/>
              </a:xfrm>
              <a:custGeom>
                <a:avLst/>
                <a:gdLst>
                  <a:gd name="connsiteX0" fmla="*/ 14529 w 23397"/>
                  <a:gd name="connsiteY0" fmla="*/ 1980 h 27889"/>
                  <a:gd name="connsiteX1" fmla="*/ 988 w 23397"/>
                  <a:gd name="connsiteY1" fmla="*/ 20034 h 27889"/>
                  <a:gd name="connsiteX2" fmla="*/ 1964 w 23397"/>
                  <a:gd name="connsiteY2" fmla="*/ 26914 h 27889"/>
                  <a:gd name="connsiteX3" fmla="*/ 4916 w 23397"/>
                  <a:gd name="connsiteY3" fmla="*/ 27890 h 27889"/>
                  <a:gd name="connsiteX4" fmla="*/ 8869 w 23397"/>
                  <a:gd name="connsiteY4" fmla="*/ 25914 h 27889"/>
                  <a:gd name="connsiteX5" fmla="*/ 22409 w 23397"/>
                  <a:gd name="connsiteY5" fmla="*/ 7860 h 27889"/>
                  <a:gd name="connsiteX6" fmla="*/ 21434 w 23397"/>
                  <a:gd name="connsiteY6" fmla="*/ 980 h 27889"/>
                  <a:gd name="connsiteX7" fmla="*/ 14529 w 23397"/>
                  <a:gd name="connsiteY7" fmla="*/ 1980 h 278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97" h="27889">
                    <a:moveTo>
                      <a:pt x="14529" y="1980"/>
                    </a:moveTo>
                    <a:lnTo>
                      <a:pt x="988" y="20034"/>
                    </a:lnTo>
                    <a:cubicBezTo>
                      <a:pt x="-646" y="22205"/>
                      <a:pt x="-207" y="25304"/>
                      <a:pt x="1964" y="26914"/>
                    </a:cubicBezTo>
                    <a:cubicBezTo>
                      <a:pt x="2843" y="27573"/>
                      <a:pt x="3892" y="27890"/>
                      <a:pt x="4916" y="27890"/>
                    </a:cubicBezTo>
                    <a:cubicBezTo>
                      <a:pt x="6405" y="27890"/>
                      <a:pt x="7893" y="27207"/>
                      <a:pt x="8869" y="25914"/>
                    </a:cubicBezTo>
                    <a:lnTo>
                      <a:pt x="22409" y="7860"/>
                    </a:lnTo>
                    <a:cubicBezTo>
                      <a:pt x="24044" y="5688"/>
                      <a:pt x="23605" y="2590"/>
                      <a:pt x="21434" y="980"/>
                    </a:cubicBezTo>
                    <a:cubicBezTo>
                      <a:pt x="19238" y="-655"/>
                      <a:pt x="16139" y="-192"/>
                      <a:pt x="14529" y="1980"/>
                    </a:cubicBezTo>
                    <a:close/>
                  </a:path>
                </a:pathLst>
              </a:custGeom>
              <a:grpFill/>
              <a:ln w="2436" cap="flat">
                <a:noFill/>
                <a:prstDash val="solid"/>
                <a:miter/>
              </a:ln>
            </p:spPr>
            <p:txBody>
              <a:bodyPr rtlCol="0" anchor="ctr"/>
              <a:lstStyle/>
              <a:p>
                <a:endParaRPr lang="en-GB" dirty="0"/>
              </a:p>
            </p:txBody>
          </p:sp>
        </p:grpSp>
        <p:grpSp>
          <p:nvGrpSpPr>
            <p:cNvPr id="240" name="Group 239">
              <a:extLst>
                <a:ext uri="{FF2B5EF4-FFF2-40B4-BE49-F238E27FC236}">
                  <a16:creationId xmlns:a16="http://schemas.microsoft.com/office/drawing/2014/main" id="{5E8B6472-BF6D-40B6-954D-5580C2D747F8}"/>
                </a:ext>
              </a:extLst>
            </p:cNvPr>
            <p:cNvGrpSpPr/>
            <p:nvPr/>
          </p:nvGrpSpPr>
          <p:grpSpPr>
            <a:xfrm>
              <a:off x="585590" y="4063479"/>
              <a:ext cx="485746" cy="310272"/>
              <a:chOff x="2576191" y="3403827"/>
              <a:chExt cx="464114" cy="296455"/>
            </a:xfrm>
            <a:solidFill>
              <a:schemeClr val="tx2"/>
            </a:solidFill>
          </p:grpSpPr>
          <p:grpSp>
            <p:nvGrpSpPr>
              <p:cNvPr id="241" name="Grafik 35">
                <a:extLst>
                  <a:ext uri="{FF2B5EF4-FFF2-40B4-BE49-F238E27FC236}">
                    <a16:creationId xmlns:a16="http://schemas.microsoft.com/office/drawing/2014/main" id="{60B0B980-A8C6-46BD-B02A-B26827A05F5D}"/>
                  </a:ext>
                </a:extLst>
              </p:cNvPr>
              <p:cNvGrpSpPr/>
              <p:nvPr/>
            </p:nvGrpSpPr>
            <p:grpSpPr>
              <a:xfrm>
                <a:off x="2933103" y="3441668"/>
                <a:ext cx="107202" cy="258614"/>
                <a:chOff x="2933103" y="3441668"/>
                <a:chExt cx="107202" cy="258614"/>
              </a:xfrm>
              <a:grpFill/>
            </p:grpSpPr>
            <p:sp>
              <p:nvSpPr>
                <p:cNvPr id="250" name="Freihandform: Form 338">
                  <a:extLst>
                    <a:ext uri="{FF2B5EF4-FFF2-40B4-BE49-F238E27FC236}">
                      <a16:creationId xmlns:a16="http://schemas.microsoft.com/office/drawing/2014/main" id="{AE644809-28CE-4B9E-9098-BE4E46582A61}"/>
                    </a:ext>
                  </a:extLst>
                </p:cNvPr>
                <p:cNvSpPr/>
                <p:nvPr/>
              </p:nvSpPr>
              <p:spPr>
                <a:xfrm>
                  <a:off x="2981776" y="3441668"/>
                  <a:ext cx="9856" cy="161267"/>
                </a:xfrm>
                <a:custGeom>
                  <a:avLst/>
                  <a:gdLst>
                    <a:gd name="connsiteX0" fmla="*/ 4928 w 9856"/>
                    <a:gd name="connsiteY0" fmla="*/ 0 h 161267"/>
                    <a:gd name="connsiteX1" fmla="*/ 0 w 9856"/>
                    <a:gd name="connsiteY1" fmla="*/ 4928 h 161267"/>
                    <a:gd name="connsiteX2" fmla="*/ 0 w 9856"/>
                    <a:gd name="connsiteY2" fmla="*/ 156339 h 161267"/>
                    <a:gd name="connsiteX3" fmla="*/ 4928 w 9856"/>
                    <a:gd name="connsiteY3" fmla="*/ 161268 h 161267"/>
                    <a:gd name="connsiteX4" fmla="*/ 9857 w 9856"/>
                    <a:gd name="connsiteY4" fmla="*/ 156339 h 161267"/>
                    <a:gd name="connsiteX5" fmla="*/ 9857 w 9856"/>
                    <a:gd name="connsiteY5" fmla="*/ 4928 h 161267"/>
                    <a:gd name="connsiteX6" fmla="*/ 4928 w 9856"/>
                    <a:gd name="connsiteY6" fmla="*/ 0 h 16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6" h="161267">
                      <a:moveTo>
                        <a:pt x="4928" y="0"/>
                      </a:moveTo>
                      <a:cubicBezTo>
                        <a:pt x="2220" y="0"/>
                        <a:pt x="0" y="2196"/>
                        <a:pt x="0" y="4928"/>
                      </a:cubicBezTo>
                      <a:lnTo>
                        <a:pt x="0" y="156339"/>
                      </a:lnTo>
                      <a:cubicBezTo>
                        <a:pt x="0" y="159048"/>
                        <a:pt x="2196" y="161268"/>
                        <a:pt x="4928" y="161268"/>
                      </a:cubicBezTo>
                      <a:cubicBezTo>
                        <a:pt x="7636" y="161268"/>
                        <a:pt x="9857" y="159072"/>
                        <a:pt x="9857" y="156339"/>
                      </a:cubicBezTo>
                      <a:lnTo>
                        <a:pt x="9857" y="4928"/>
                      </a:lnTo>
                      <a:cubicBezTo>
                        <a:pt x="9832" y="2220"/>
                        <a:pt x="7636" y="0"/>
                        <a:pt x="4928" y="0"/>
                      </a:cubicBezTo>
                      <a:close/>
                    </a:path>
                  </a:pathLst>
                </a:custGeom>
                <a:grpFill/>
                <a:ln w="2436" cap="flat">
                  <a:noFill/>
                  <a:prstDash val="solid"/>
                  <a:miter/>
                </a:ln>
              </p:spPr>
              <p:txBody>
                <a:bodyPr rtlCol="0" anchor="ctr"/>
                <a:lstStyle/>
                <a:p>
                  <a:endParaRPr lang="en-GB" dirty="0"/>
                </a:p>
              </p:txBody>
            </p:sp>
            <p:sp>
              <p:nvSpPr>
                <p:cNvPr id="251" name="Freihandform: Form 339">
                  <a:extLst>
                    <a:ext uri="{FF2B5EF4-FFF2-40B4-BE49-F238E27FC236}">
                      <a16:creationId xmlns:a16="http://schemas.microsoft.com/office/drawing/2014/main" id="{070031F1-B0B0-495C-99F6-673073C3FCFA}"/>
                    </a:ext>
                  </a:extLst>
                </p:cNvPr>
                <p:cNvSpPr/>
                <p:nvPr/>
              </p:nvSpPr>
              <p:spPr>
                <a:xfrm>
                  <a:off x="2933103" y="3593079"/>
                  <a:ext cx="107202" cy="107202"/>
                </a:xfrm>
                <a:custGeom>
                  <a:avLst/>
                  <a:gdLst>
                    <a:gd name="connsiteX0" fmla="*/ 53601 w 107202"/>
                    <a:gd name="connsiteY0" fmla="*/ 0 h 107202"/>
                    <a:gd name="connsiteX1" fmla="*/ 0 w 107202"/>
                    <a:gd name="connsiteY1" fmla="*/ 53601 h 107202"/>
                    <a:gd name="connsiteX2" fmla="*/ 53601 w 107202"/>
                    <a:gd name="connsiteY2" fmla="*/ 107203 h 107202"/>
                    <a:gd name="connsiteX3" fmla="*/ 107203 w 107202"/>
                    <a:gd name="connsiteY3" fmla="*/ 53601 h 107202"/>
                    <a:gd name="connsiteX4" fmla="*/ 53601 w 107202"/>
                    <a:gd name="connsiteY4" fmla="*/ 0 h 107202"/>
                    <a:gd name="connsiteX5" fmla="*/ 53601 w 107202"/>
                    <a:gd name="connsiteY5" fmla="*/ 97346 h 107202"/>
                    <a:gd name="connsiteX6" fmla="*/ 9857 w 107202"/>
                    <a:gd name="connsiteY6" fmla="*/ 53601 h 107202"/>
                    <a:gd name="connsiteX7" fmla="*/ 53601 w 107202"/>
                    <a:gd name="connsiteY7" fmla="*/ 9857 h 107202"/>
                    <a:gd name="connsiteX8" fmla="*/ 97346 w 107202"/>
                    <a:gd name="connsiteY8" fmla="*/ 53601 h 107202"/>
                    <a:gd name="connsiteX9" fmla="*/ 53601 w 107202"/>
                    <a:gd name="connsiteY9" fmla="*/ 97346 h 10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02" h="107202">
                      <a:moveTo>
                        <a:pt x="53601" y="0"/>
                      </a:moveTo>
                      <a:cubicBezTo>
                        <a:pt x="24056" y="0"/>
                        <a:pt x="0" y="24032"/>
                        <a:pt x="0" y="53601"/>
                      </a:cubicBezTo>
                      <a:cubicBezTo>
                        <a:pt x="0" y="83147"/>
                        <a:pt x="24032" y="107203"/>
                        <a:pt x="53601" y="107203"/>
                      </a:cubicBezTo>
                      <a:cubicBezTo>
                        <a:pt x="83147" y="107203"/>
                        <a:pt x="107203" y="83171"/>
                        <a:pt x="107203" y="53601"/>
                      </a:cubicBezTo>
                      <a:cubicBezTo>
                        <a:pt x="107178" y="24056"/>
                        <a:pt x="83147" y="0"/>
                        <a:pt x="53601" y="0"/>
                      </a:cubicBezTo>
                      <a:close/>
                      <a:moveTo>
                        <a:pt x="53601" y="97346"/>
                      </a:moveTo>
                      <a:cubicBezTo>
                        <a:pt x="29472" y="97346"/>
                        <a:pt x="9857" y="77731"/>
                        <a:pt x="9857" y="53601"/>
                      </a:cubicBezTo>
                      <a:cubicBezTo>
                        <a:pt x="9857" y="29472"/>
                        <a:pt x="29472" y="9857"/>
                        <a:pt x="53601" y="9857"/>
                      </a:cubicBezTo>
                      <a:cubicBezTo>
                        <a:pt x="77731" y="9857"/>
                        <a:pt x="97346" y="29472"/>
                        <a:pt x="97346" y="53601"/>
                      </a:cubicBezTo>
                      <a:cubicBezTo>
                        <a:pt x="97346" y="77706"/>
                        <a:pt x="77706" y="97346"/>
                        <a:pt x="53601" y="97346"/>
                      </a:cubicBezTo>
                      <a:close/>
                    </a:path>
                  </a:pathLst>
                </a:custGeom>
                <a:grpFill/>
                <a:ln w="2436" cap="flat">
                  <a:noFill/>
                  <a:prstDash val="solid"/>
                  <a:miter/>
                </a:ln>
              </p:spPr>
              <p:txBody>
                <a:bodyPr rtlCol="0" anchor="ctr"/>
                <a:lstStyle/>
                <a:p>
                  <a:endParaRPr lang="en-GB" dirty="0"/>
                </a:p>
              </p:txBody>
            </p:sp>
          </p:grpSp>
          <p:grpSp>
            <p:nvGrpSpPr>
              <p:cNvPr id="242" name="Grafik 35">
                <a:extLst>
                  <a:ext uri="{FF2B5EF4-FFF2-40B4-BE49-F238E27FC236}">
                    <a16:creationId xmlns:a16="http://schemas.microsoft.com/office/drawing/2014/main" id="{3821E4B6-87D1-4111-A299-534B8D83434A}"/>
                  </a:ext>
                </a:extLst>
              </p:cNvPr>
              <p:cNvGrpSpPr/>
              <p:nvPr/>
            </p:nvGrpSpPr>
            <p:grpSpPr>
              <a:xfrm>
                <a:off x="2814140" y="3441668"/>
                <a:ext cx="107202" cy="258614"/>
                <a:chOff x="2814140" y="3441668"/>
                <a:chExt cx="107202" cy="258614"/>
              </a:xfrm>
              <a:grpFill/>
            </p:grpSpPr>
            <p:sp>
              <p:nvSpPr>
                <p:cNvPr id="248" name="Freihandform: Form 341">
                  <a:extLst>
                    <a:ext uri="{FF2B5EF4-FFF2-40B4-BE49-F238E27FC236}">
                      <a16:creationId xmlns:a16="http://schemas.microsoft.com/office/drawing/2014/main" id="{6A1B1119-3D8C-4F1F-8A8B-F0153F53CC5B}"/>
                    </a:ext>
                  </a:extLst>
                </p:cNvPr>
                <p:cNvSpPr/>
                <p:nvPr/>
              </p:nvSpPr>
              <p:spPr>
                <a:xfrm>
                  <a:off x="2862814" y="3441668"/>
                  <a:ext cx="9856" cy="161267"/>
                </a:xfrm>
                <a:custGeom>
                  <a:avLst/>
                  <a:gdLst>
                    <a:gd name="connsiteX0" fmla="*/ 4928 w 9856"/>
                    <a:gd name="connsiteY0" fmla="*/ 0 h 161267"/>
                    <a:gd name="connsiteX1" fmla="*/ 0 w 9856"/>
                    <a:gd name="connsiteY1" fmla="*/ 4928 h 161267"/>
                    <a:gd name="connsiteX2" fmla="*/ 0 w 9856"/>
                    <a:gd name="connsiteY2" fmla="*/ 156339 h 161267"/>
                    <a:gd name="connsiteX3" fmla="*/ 4928 w 9856"/>
                    <a:gd name="connsiteY3" fmla="*/ 161268 h 161267"/>
                    <a:gd name="connsiteX4" fmla="*/ 9857 w 9856"/>
                    <a:gd name="connsiteY4" fmla="*/ 156339 h 161267"/>
                    <a:gd name="connsiteX5" fmla="*/ 9857 w 9856"/>
                    <a:gd name="connsiteY5" fmla="*/ 4928 h 161267"/>
                    <a:gd name="connsiteX6" fmla="*/ 4928 w 9856"/>
                    <a:gd name="connsiteY6" fmla="*/ 0 h 16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6" h="161267">
                      <a:moveTo>
                        <a:pt x="4928" y="0"/>
                      </a:moveTo>
                      <a:cubicBezTo>
                        <a:pt x="2220" y="0"/>
                        <a:pt x="0" y="2196"/>
                        <a:pt x="0" y="4928"/>
                      </a:cubicBezTo>
                      <a:lnTo>
                        <a:pt x="0" y="156339"/>
                      </a:lnTo>
                      <a:cubicBezTo>
                        <a:pt x="0" y="159048"/>
                        <a:pt x="2196" y="161268"/>
                        <a:pt x="4928" y="161268"/>
                      </a:cubicBezTo>
                      <a:cubicBezTo>
                        <a:pt x="7636" y="161268"/>
                        <a:pt x="9857" y="159072"/>
                        <a:pt x="9857" y="156339"/>
                      </a:cubicBezTo>
                      <a:lnTo>
                        <a:pt x="9857" y="4928"/>
                      </a:lnTo>
                      <a:cubicBezTo>
                        <a:pt x="9832" y="2220"/>
                        <a:pt x="7636" y="0"/>
                        <a:pt x="4928" y="0"/>
                      </a:cubicBezTo>
                      <a:close/>
                    </a:path>
                  </a:pathLst>
                </a:custGeom>
                <a:grpFill/>
                <a:ln w="2436" cap="flat">
                  <a:noFill/>
                  <a:prstDash val="solid"/>
                  <a:miter/>
                </a:ln>
              </p:spPr>
              <p:txBody>
                <a:bodyPr rtlCol="0" anchor="ctr"/>
                <a:lstStyle/>
                <a:p>
                  <a:endParaRPr lang="en-GB" dirty="0"/>
                </a:p>
              </p:txBody>
            </p:sp>
            <p:sp>
              <p:nvSpPr>
                <p:cNvPr id="249" name="Freihandform: Form 342">
                  <a:extLst>
                    <a:ext uri="{FF2B5EF4-FFF2-40B4-BE49-F238E27FC236}">
                      <a16:creationId xmlns:a16="http://schemas.microsoft.com/office/drawing/2014/main" id="{D0FE0BDF-67E5-461B-8961-BE9E183B246B}"/>
                    </a:ext>
                  </a:extLst>
                </p:cNvPr>
                <p:cNvSpPr/>
                <p:nvPr/>
              </p:nvSpPr>
              <p:spPr>
                <a:xfrm>
                  <a:off x="2814140" y="3593079"/>
                  <a:ext cx="107202" cy="107202"/>
                </a:xfrm>
                <a:custGeom>
                  <a:avLst/>
                  <a:gdLst>
                    <a:gd name="connsiteX0" fmla="*/ 53602 w 107202"/>
                    <a:gd name="connsiteY0" fmla="*/ 0 h 107202"/>
                    <a:gd name="connsiteX1" fmla="*/ 0 w 107202"/>
                    <a:gd name="connsiteY1" fmla="*/ 53601 h 107202"/>
                    <a:gd name="connsiteX2" fmla="*/ 53602 w 107202"/>
                    <a:gd name="connsiteY2" fmla="*/ 107203 h 107202"/>
                    <a:gd name="connsiteX3" fmla="*/ 107203 w 107202"/>
                    <a:gd name="connsiteY3" fmla="*/ 53601 h 107202"/>
                    <a:gd name="connsiteX4" fmla="*/ 53602 w 107202"/>
                    <a:gd name="connsiteY4" fmla="*/ 0 h 107202"/>
                    <a:gd name="connsiteX5" fmla="*/ 53602 w 107202"/>
                    <a:gd name="connsiteY5" fmla="*/ 97346 h 107202"/>
                    <a:gd name="connsiteX6" fmla="*/ 9857 w 107202"/>
                    <a:gd name="connsiteY6" fmla="*/ 53601 h 107202"/>
                    <a:gd name="connsiteX7" fmla="*/ 53602 w 107202"/>
                    <a:gd name="connsiteY7" fmla="*/ 9857 h 107202"/>
                    <a:gd name="connsiteX8" fmla="*/ 97346 w 107202"/>
                    <a:gd name="connsiteY8" fmla="*/ 53601 h 107202"/>
                    <a:gd name="connsiteX9" fmla="*/ 53602 w 107202"/>
                    <a:gd name="connsiteY9" fmla="*/ 97346 h 10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02" h="107202">
                      <a:moveTo>
                        <a:pt x="53602" y="0"/>
                      </a:moveTo>
                      <a:cubicBezTo>
                        <a:pt x="24056" y="0"/>
                        <a:pt x="0" y="24032"/>
                        <a:pt x="0" y="53601"/>
                      </a:cubicBezTo>
                      <a:cubicBezTo>
                        <a:pt x="0" y="83147"/>
                        <a:pt x="24032" y="107203"/>
                        <a:pt x="53602" y="107203"/>
                      </a:cubicBezTo>
                      <a:cubicBezTo>
                        <a:pt x="83147" y="107203"/>
                        <a:pt x="107203" y="83171"/>
                        <a:pt x="107203" y="53601"/>
                      </a:cubicBezTo>
                      <a:cubicBezTo>
                        <a:pt x="107178" y="24056"/>
                        <a:pt x="83147" y="0"/>
                        <a:pt x="53602" y="0"/>
                      </a:cubicBezTo>
                      <a:close/>
                      <a:moveTo>
                        <a:pt x="53602" y="97346"/>
                      </a:moveTo>
                      <a:cubicBezTo>
                        <a:pt x="29472" y="97346"/>
                        <a:pt x="9857" y="77731"/>
                        <a:pt x="9857" y="53601"/>
                      </a:cubicBezTo>
                      <a:cubicBezTo>
                        <a:pt x="9857" y="29472"/>
                        <a:pt x="29472" y="9857"/>
                        <a:pt x="53602" y="9857"/>
                      </a:cubicBezTo>
                      <a:cubicBezTo>
                        <a:pt x="77731" y="9857"/>
                        <a:pt x="97346" y="29472"/>
                        <a:pt x="97346" y="53601"/>
                      </a:cubicBezTo>
                      <a:cubicBezTo>
                        <a:pt x="97346" y="77706"/>
                        <a:pt x="77706" y="97346"/>
                        <a:pt x="53602" y="97346"/>
                      </a:cubicBezTo>
                      <a:close/>
                    </a:path>
                  </a:pathLst>
                </a:custGeom>
                <a:grpFill/>
                <a:ln w="2436" cap="flat">
                  <a:noFill/>
                  <a:prstDash val="solid"/>
                  <a:miter/>
                </a:ln>
              </p:spPr>
              <p:txBody>
                <a:bodyPr rtlCol="0" anchor="ctr"/>
                <a:lstStyle/>
                <a:p>
                  <a:endParaRPr lang="en-GB" dirty="0"/>
                </a:p>
              </p:txBody>
            </p:sp>
          </p:grpSp>
          <p:grpSp>
            <p:nvGrpSpPr>
              <p:cNvPr id="243" name="Grafik 35">
                <a:extLst>
                  <a:ext uri="{FF2B5EF4-FFF2-40B4-BE49-F238E27FC236}">
                    <a16:creationId xmlns:a16="http://schemas.microsoft.com/office/drawing/2014/main" id="{16EBF851-153A-4D0D-90CB-C36DD257D03D}"/>
                  </a:ext>
                </a:extLst>
              </p:cNvPr>
              <p:cNvGrpSpPr/>
              <p:nvPr/>
            </p:nvGrpSpPr>
            <p:grpSpPr>
              <a:xfrm>
                <a:off x="2695154" y="3441668"/>
                <a:ext cx="107202" cy="258614"/>
                <a:chOff x="2695154" y="3441668"/>
                <a:chExt cx="107202" cy="258614"/>
              </a:xfrm>
              <a:grpFill/>
            </p:grpSpPr>
            <p:sp>
              <p:nvSpPr>
                <p:cNvPr id="246" name="Freihandform: Form 344">
                  <a:extLst>
                    <a:ext uri="{FF2B5EF4-FFF2-40B4-BE49-F238E27FC236}">
                      <a16:creationId xmlns:a16="http://schemas.microsoft.com/office/drawing/2014/main" id="{1D7A7BB0-0075-4E57-9606-14261C45FDC0}"/>
                    </a:ext>
                  </a:extLst>
                </p:cNvPr>
                <p:cNvSpPr/>
                <p:nvPr/>
              </p:nvSpPr>
              <p:spPr>
                <a:xfrm>
                  <a:off x="2743827" y="3441668"/>
                  <a:ext cx="9856" cy="161267"/>
                </a:xfrm>
                <a:custGeom>
                  <a:avLst/>
                  <a:gdLst>
                    <a:gd name="connsiteX0" fmla="*/ 4928 w 9856"/>
                    <a:gd name="connsiteY0" fmla="*/ 0 h 161267"/>
                    <a:gd name="connsiteX1" fmla="*/ 0 w 9856"/>
                    <a:gd name="connsiteY1" fmla="*/ 4928 h 161267"/>
                    <a:gd name="connsiteX2" fmla="*/ 0 w 9856"/>
                    <a:gd name="connsiteY2" fmla="*/ 156339 h 161267"/>
                    <a:gd name="connsiteX3" fmla="*/ 4928 w 9856"/>
                    <a:gd name="connsiteY3" fmla="*/ 161268 h 161267"/>
                    <a:gd name="connsiteX4" fmla="*/ 9857 w 9856"/>
                    <a:gd name="connsiteY4" fmla="*/ 156339 h 161267"/>
                    <a:gd name="connsiteX5" fmla="*/ 9857 w 9856"/>
                    <a:gd name="connsiteY5" fmla="*/ 4928 h 161267"/>
                    <a:gd name="connsiteX6" fmla="*/ 4928 w 9856"/>
                    <a:gd name="connsiteY6" fmla="*/ 0 h 161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56" h="161267">
                      <a:moveTo>
                        <a:pt x="4928" y="0"/>
                      </a:moveTo>
                      <a:cubicBezTo>
                        <a:pt x="2220" y="0"/>
                        <a:pt x="0" y="2196"/>
                        <a:pt x="0" y="4928"/>
                      </a:cubicBezTo>
                      <a:lnTo>
                        <a:pt x="0" y="156339"/>
                      </a:lnTo>
                      <a:cubicBezTo>
                        <a:pt x="0" y="159048"/>
                        <a:pt x="2196" y="161268"/>
                        <a:pt x="4928" y="161268"/>
                      </a:cubicBezTo>
                      <a:cubicBezTo>
                        <a:pt x="7661" y="161268"/>
                        <a:pt x="9857" y="159072"/>
                        <a:pt x="9857" y="156339"/>
                      </a:cubicBezTo>
                      <a:lnTo>
                        <a:pt x="9857" y="4928"/>
                      </a:lnTo>
                      <a:cubicBezTo>
                        <a:pt x="9857" y="2220"/>
                        <a:pt x="7661" y="0"/>
                        <a:pt x="4928" y="0"/>
                      </a:cubicBezTo>
                      <a:close/>
                    </a:path>
                  </a:pathLst>
                </a:custGeom>
                <a:grpFill/>
                <a:ln w="2436" cap="flat">
                  <a:noFill/>
                  <a:prstDash val="solid"/>
                  <a:miter/>
                </a:ln>
              </p:spPr>
              <p:txBody>
                <a:bodyPr rtlCol="0" anchor="ctr"/>
                <a:lstStyle/>
                <a:p>
                  <a:endParaRPr lang="en-GB" dirty="0"/>
                </a:p>
              </p:txBody>
            </p:sp>
            <p:sp>
              <p:nvSpPr>
                <p:cNvPr id="247" name="Freihandform: Form 345">
                  <a:extLst>
                    <a:ext uri="{FF2B5EF4-FFF2-40B4-BE49-F238E27FC236}">
                      <a16:creationId xmlns:a16="http://schemas.microsoft.com/office/drawing/2014/main" id="{35B1A2E3-1DB9-43CD-ABF8-A1028E62E10B}"/>
                    </a:ext>
                  </a:extLst>
                </p:cNvPr>
                <p:cNvSpPr/>
                <p:nvPr/>
              </p:nvSpPr>
              <p:spPr>
                <a:xfrm>
                  <a:off x="2695154" y="3593079"/>
                  <a:ext cx="107202" cy="107202"/>
                </a:xfrm>
                <a:custGeom>
                  <a:avLst/>
                  <a:gdLst>
                    <a:gd name="connsiteX0" fmla="*/ 53602 w 107202"/>
                    <a:gd name="connsiteY0" fmla="*/ 0 h 107202"/>
                    <a:gd name="connsiteX1" fmla="*/ 0 w 107202"/>
                    <a:gd name="connsiteY1" fmla="*/ 53601 h 107202"/>
                    <a:gd name="connsiteX2" fmla="*/ 53602 w 107202"/>
                    <a:gd name="connsiteY2" fmla="*/ 107203 h 107202"/>
                    <a:gd name="connsiteX3" fmla="*/ 107203 w 107202"/>
                    <a:gd name="connsiteY3" fmla="*/ 53601 h 107202"/>
                    <a:gd name="connsiteX4" fmla="*/ 53602 w 107202"/>
                    <a:gd name="connsiteY4" fmla="*/ 0 h 107202"/>
                    <a:gd name="connsiteX5" fmla="*/ 53602 w 107202"/>
                    <a:gd name="connsiteY5" fmla="*/ 97346 h 107202"/>
                    <a:gd name="connsiteX6" fmla="*/ 9857 w 107202"/>
                    <a:gd name="connsiteY6" fmla="*/ 53601 h 107202"/>
                    <a:gd name="connsiteX7" fmla="*/ 53602 w 107202"/>
                    <a:gd name="connsiteY7" fmla="*/ 9857 h 107202"/>
                    <a:gd name="connsiteX8" fmla="*/ 97346 w 107202"/>
                    <a:gd name="connsiteY8" fmla="*/ 53601 h 107202"/>
                    <a:gd name="connsiteX9" fmla="*/ 53602 w 107202"/>
                    <a:gd name="connsiteY9" fmla="*/ 97346 h 107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202" h="107202">
                      <a:moveTo>
                        <a:pt x="53602" y="0"/>
                      </a:moveTo>
                      <a:cubicBezTo>
                        <a:pt x="24056" y="0"/>
                        <a:pt x="0" y="24032"/>
                        <a:pt x="0" y="53601"/>
                      </a:cubicBezTo>
                      <a:cubicBezTo>
                        <a:pt x="0" y="83147"/>
                        <a:pt x="24032" y="107203"/>
                        <a:pt x="53602" y="107203"/>
                      </a:cubicBezTo>
                      <a:cubicBezTo>
                        <a:pt x="83147" y="107203"/>
                        <a:pt x="107203" y="83171"/>
                        <a:pt x="107203" y="53601"/>
                      </a:cubicBezTo>
                      <a:cubicBezTo>
                        <a:pt x="107203" y="24056"/>
                        <a:pt x="83147" y="0"/>
                        <a:pt x="53602" y="0"/>
                      </a:cubicBezTo>
                      <a:close/>
                      <a:moveTo>
                        <a:pt x="53602" y="97346"/>
                      </a:moveTo>
                      <a:cubicBezTo>
                        <a:pt x="29472" y="97346"/>
                        <a:pt x="9857" y="77731"/>
                        <a:pt x="9857" y="53601"/>
                      </a:cubicBezTo>
                      <a:cubicBezTo>
                        <a:pt x="9857" y="29472"/>
                        <a:pt x="29472" y="9857"/>
                        <a:pt x="53602" y="9857"/>
                      </a:cubicBezTo>
                      <a:cubicBezTo>
                        <a:pt x="77731" y="9857"/>
                        <a:pt x="97346" y="29472"/>
                        <a:pt x="97346" y="53601"/>
                      </a:cubicBezTo>
                      <a:cubicBezTo>
                        <a:pt x="97346" y="77706"/>
                        <a:pt x="77731" y="97346"/>
                        <a:pt x="53602" y="97346"/>
                      </a:cubicBezTo>
                      <a:close/>
                    </a:path>
                  </a:pathLst>
                </a:custGeom>
                <a:grpFill/>
                <a:ln w="2436" cap="flat">
                  <a:noFill/>
                  <a:prstDash val="solid"/>
                  <a:miter/>
                </a:ln>
              </p:spPr>
              <p:txBody>
                <a:bodyPr rtlCol="0" anchor="ctr"/>
                <a:lstStyle/>
                <a:p>
                  <a:endParaRPr lang="en-GB" dirty="0"/>
                </a:p>
              </p:txBody>
            </p:sp>
          </p:grpSp>
          <p:sp>
            <p:nvSpPr>
              <p:cNvPr id="244" name="Freihandform: Form 349">
                <a:extLst>
                  <a:ext uri="{FF2B5EF4-FFF2-40B4-BE49-F238E27FC236}">
                    <a16:creationId xmlns:a16="http://schemas.microsoft.com/office/drawing/2014/main" id="{6A3B6355-B37F-41CF-8A52-C4D95C598910}"/>
                  </a:ext>
                </a:extLst>
              </p:cNvPr>
              <p:cNvSpPr/>
              <p:nvPr/>
            </p:nvSpPr>
            <p:spPr>
              <a:xfrm>
                <a:off x="2576191" y="3441668"/>
                <a:ext cx="458698" cy="9856"/>
              </a:xfrm>
              <a:custGeom>
                <a:avLst/>
                <a:gdLst>
                  <a:gd name="connsiteX0" fmla="*/ 453770 w 458698"/>
                  <a:gd name="connsiteY0" fmla="*/ 0 h 9856"/>
                  <a:gd name="connsiteX1" fmla="*/ 4928 w 458698"/>
                  <a:gd name="connsiteY1" fmla="*/ 0 h 9856"/>
                  <a:gd name="connsiteX2" fmla="*/ 0 w 458698"/>
                  <a:gd name="connsiteY2" fmla="*/ 4928 h 9856"/>
                  <a:gd name="connsiteX3" fmla="*/ 4928 w 458698"/>
                  <a:gd name="connsiteY3" fmla="*/ 9857 h 9856"/>
                  <a:gd name="connsiteX4" fmla="*/ 453770 w 458698"/>
                  <a:gd name="connsiteY4" fmla="*/ 9857 h 9856"/>
                  <a:gd name="connsiteX5" fmla="*/ 458699 w 458698"/>
                  <a:gd name="connsiteY5" fmla="*/ 4928 h 9856"/>
                  <a:gd name="connsiteX6" fmla="*/ 453770 w 458698"/>
                  <a:gd name="connsiteY6" fmla="*/ 0 h 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698" h="9856">
                    <a:moveTo>
                      <a:pt x="453770" y="0"/>
                    </a:moveTo>
                    <a:lnTo>
                      <a:pt x="4928" y="0"/>
                    </a:lnTo>
                    <a:cubicBezTo>
                      <a:pt x="2220" y="0"/>
                      <a:pt x="0" y="2196"/>
                      <a:pt x="0" y="4928"/>
                    </a:cubicBezTo>
                    <a:cubicBezTo>
                      <a:pt x="0" y="7636"/>
                      <a:pt x="2196" y="9857"/>
                      <a:pt x="4928" y="9857"/>
                    </a:cubicBezTo>
                    <a:lnTo>
                      <a:pt x="453770" y="9857"/>
                    </a:lnTo>
                    <a:cubicBezTo>
                      <a:pt x="456478" y="9857"/>
                      <a:pt x="458699" y="7661"/>
                      <a:pt x="458699" y="4928"/>
                    </a:cubicBezTo>
                    <a:cubicBezTo>
                      <a:pt x="458699" y="2220"/>
                      <a:pt x="456478" y="0"/>
                      <a:pt x="453770" y="0"/>
                    </a:cubicBezTo>
                    <a:close/>
                  </a:path>
                </a:pathLst>
              </a:custGeom>
              <a:grpFill/>
              <a:ln w="2436" cap="flat">
                <a:noFill/>
                <a:prstDash val="solid"/>
                <a:miter/>
              </a:ln>
            </p:spPr>
            <p:txBody>
              <a:bodyPr rtlCol="0" anchor="ctr"/>
              <a:lstStyle/>
              <a:p>
                <a:endParaRPr lang="en-GB" dirty="0"/>
              </a:p>
            </p:txBody>
          </p:sp>
          <p:sp>
            <p:nvSpPr>
              <p:cNvPr id="245" name="Freihandform: Form 350">
                <a:extLst>
                  <a:ext uri="{FF2B5EF4-FFF2-40B4-BE49-F238E27FC236}">
                    <a16:creationId xmlns:a16="http://schemas.microsoft.com/office/drawing/2014/main" id="{3912A7FF-C3F1-4840-B1E1-98447EE220EB}"/>
                  </a:ext>
                </a:extLst>
              </p:cNvPr>
              <p:cNvSpPr/>
              <p:nvPr/>
            </p:nvSpPr>
            <p:spPr>
              <a:xfrm>
                <a:off x="2576191" y="3403827"/>
                <a:ext cx="458698" cy="9856"/>
              </a:xfrm>
              <a:custGeom>
                <a:avLst/>
                <a:gdLst>
                  <a:gd name="connsiteX0" fmla="*/ 453770 w 458698"/>
                  <a:gd name="connsiteY0" fmla="*/ 0 h 9856"/>
                  <a:gd name="connsiteX1" fmla="*/ 4928 w 458698"/>
                  <a:gd name="connsiteY1" fmla="*/ 0 h 9856"/>
                  <a:gd name="connsiteX2" fmla="*/ 0 w 458698"/>
                  <a:gd name="connsiteY2" fmla="*/ 4928 h 9856"/>
                  <a:gd name="connsiteX3" fmla="*/ 4928 w 458698"/>
                  <a:gd name="connsiteY3" fmla="*/ 9857 h 9856"/>
                  <a:gd name="connsiteX4" fmla="*/ 453770 w 458698"/>
                  <a:gd name="connsiteY4" fmla="*/ 9857 h 9856"/>
                  <a:gd name="connsiteX5" fmla="*/ 458699 w 458698"/>
                  <a:gd name="connsiteY5" fmla="*/ 4928 h 9856"/>
                  <a:gd name="connsiteX6" fmla="*/ 453770 w 458698"/>
                  <a:gd name="connsiteY6" fmla="*/ 0 h 9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8698" h="9856">
                    <a:moveTo>
                      <a:pt x="453770" y="0"/>
                    </a:moveTo>
                    <a:lnTo>
                      <a:pt x="4928" y="0"/>
                    </a:lnTo>
                    <a:cubicBezTo>
                      <a:pt x="2220" y="0"/>
                      <a:pt x="0" y="2196"/>
                      <a:pt x="0" y="4928"/>
                    </a:cubicBezTo>
                    <a:cubicBezTo>
                      <a:pt x="0" y="7661"/>
                      <a:pt x="2196" y="9857"/>
                      <a:pt x="4928" y="9857"/>
                    </a:cubicBezTo>
                    <a:lnTo>
                      <a:pt x="453770" y="9857"/>
                    </a:lnTo>
                    <a:cubicBezTo>
                      <a:pt x="456478" y="9857"/>
                      <a:pt x="458699" y="7661"/>
                      <a:pt x="458699" y="4928"/>
                    </a:cubicBezTo>
                    <a:cubicBezTo>
                      <a:pt x="458699" y="2196"/>
                      <a:pt x="456478" y="0"/>
                      <a:pt x="453770" y="0"/>
                    </a:cubicBezTo>
                    <a:close/>
                  </a:path>
                </a:pathLst>
              </a:custGeom>
              <a:grpFill/>
              <a:ln w="2436" cap="flat">
                <a:noFill/>
                <a:prstDash val="solid"/>
                <a:miter/>
              </a:ln>
            </p:spPr>
            <p:txBody>
              <a:bodyPr rtlCol="0" anchor="ctr"/>
              <a:lstStyle/>
              <a:p>
                <a:endParaRPr lang="en-GB" dirty="0"/>
              </a:p>
            </p:txBody>
          </p:sp>
        </p:grpSp>
      </p:grpSp>
      <p:grpSp>
        <p:nvGrpSpPr>
          <p:cNvPr id="43" name="Group 42">
            <a:extLst>
              <a:ext uri="{FF2B5EF4-FFF2-40B4-BE49-F238E27FC236}">
                <a16:creationId xmlns:a16="http://schemas.microsoft.com/office/drawing/2014/main" id="{85D5E4F2-C78D-BD80-DB10-31EE298EB934}"/>
              </a:ext>
            </a:extLst>
          </p:cNvPr>
          <p:cNvGrpSpPr/>
          <p:nvPr/>
        </p:nvGrpSpPr>
        <p:grpSpPr>
          <a:xfrm>
            <a:off x="8157614" y="3271292"/>
            <a:ext cx="328913" cy="432003"/>
            <a:chOff x="8157202" y="3271292"/>
            <a:chExt cx="328913" cy="432003"/>
          </a:xfrm>
        </p:grpSpPr>
        <p:grpSp>
          <p:nvGrpSpPr>
            <p:cNvPr id="350" name="Grafik 137">
              <a:extLst>
                <a:ext uri="{FF2B5EF4-FFF2-40B4-BE49-F238E27FC236}">
                  <a16:creationId xmlns:a16="http://schemas.microsoft.com/office/drawing/2014/main" id="{89743ABF-0895-4D95-BAF7-385F69E65DC2}"/>
                </a:ext>
              </a:extLst>
            </p:cNvPr>
            <p:cNvGrpSpPr/>
            <p:nvPr/>
          </p:nvGrpSpPr>
          <p:grpSpPr>
            <a:xfrm>
              <a:off x="8222202" y="3462328"/>
              <a:ext cx="198845" cy="240967"/>
              <a:chOff x="2655055" y="4331918"/>
              <a:chExt cx="235260" cy="285096"/>
            </a:xfrm>
            <a:solidFill>
              <a:schemeClr val="tx2"/>
            </a:solidFill>
          </p:grpSpPr>
          <p:grpSp>
            <p:nvGrpSpPr>
              <p:cNvPr id="356" name="Grafik 137">
                <a:extLst>
                  <a:ext uri="{FF2B5EF4-FFF2-40B4-BE49-F238E27FC236}">
                    <a16:creationId xmlns:a16="http://schemas.microsoft.com/office/drawing/2014/main" id="{A09429B1-4953-48D9-B3EE-1D62B85E2910}"/>
                  </a:ext>
                </a:extLst>
              </p:cNvPr>
              <p:cNvGrpSpPr/>
              <p:nvPr/>
            </p:nvGrpSpPr>
            <p:grpSpPr>
              <a:xfrm>
                <a:off x="2655055" y="4479507"/>
                <a:ext cx="235260" cy="137507"/>
                <a:chOff x="2655055" y="4479507"/>
                <a:chExt cx="235260" cy="137507"/>
              </a:xfrm>
              <a:grpFill/>
            </p:grpSpPr>
            <p:sp>
              <p:nvSpPr>
                <p:cNvPr id="358" name="Freihandform: Form 357">
                  <a:extLst>
                    <a:ext uri="{FF2B5EF4-FFF2-40B4-BE49-F238E27FC236}">
                      <a16:creationId xmlns:a16="http://schemas.microsoft.com/office/drawing/2014/main" id="{4DE6F8CD-67EB-460B-86AF-DB7481DA1D54}"/>
                    </a:ext>
                  </a:extLst>
                </p:cNvPr>
                <p:cNvSpPr/>
                <p:nvPr/>
              </p:nvSpPr>
              <p:spPr>
                <a:xfrm>
                  <a:off x="2698387" y="4565638"/>
                  <a:ext cx="10041" cy="51376"/>
                </a:xfrm>
                <a:custGeom>
                  <a:avLst/>
                  <a:gdLst>
                    <a:gd name="connsiteX0" fmla="*/ 5021 w 10041"/>
                    <a:gd name="connsiteY0" fmla="*/ 51377 h 51376"/>
                    <a:gd name="connsiteX1" fmla="*/ 0 w 10041"/>
                    <a:gd name="connsiteY1" fmla="*/ 46356 h 51376"/>
                    <a:gd name="connsiteX2" fmla="*/ 0 w 10041"/>
                    <a:gd name="connsiteY2" fmla="*/ 5021 h 51376"/>
                    <a:gd name="connsiteX3" fmla="*/ 5021 w 10041"/>
                    <a:gd name="connsiteY3" fmla="*/ 0 h 51376"/>
                    <a:gd name="connsiteX4" fmla="*/ 10041 w 10041"/>
                    <a:gd name="connsiteY4" fmla="*/ 5021 h 51376"/>
                    <a:gd name="connsiteX5" fmla="*/ 10041 w 10041"/>
                    <a:gd name="connsiteY5" fmla="*/ 46356 h 51376"/>
                    <a:gd name="connsiteX6" fmla="*/ 5021 w 10041"/>
                    <a:gd name="connsiteY6" fmla="*/ 51377 h 51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51376">
                      <a:moveTo>
                        <a:pt x="5021" y="51377"/>
                      </a:moveTo>
                      <a:cubicBezTo>
                        <a:pt x="2254" y="51377"/>
                        <a:pt x="0" y="49123"/>
                        <a:pt x="0" y="46356"/>
                      </a:cubicBezTo>
                      <a:lnTo>
                        <a:pt x="0" y="5021"/>
                      </a:lnTo>
                      <a:cubicBezTo>
                        <a:pt x="0" y="2254"/>
                        <a:pt x="2254" y="0"/>
                        <a:pt x="5021" y="0"/>
                      </a:cubicBezTo>
                      <a:cubicBezTo>
                        <a:pt x="7788" y="0"/>
                        <a:pt x="10041" y="2254"/>
                        <a:pt x="10041" y="5021"/>
                      </a:cubicBezTo>
                      <a:lnTo>
                        <a:pt x="10041" y="46356"/>
                      </a:lnTo>
                      <a:cubicBezTo>
                        <a:pt x="10013" y="49123"/>
                        <a:pt x="7788" y="51377"/>
                        <a:pt x="5021" y="51377"/>
                      </a:cubicBezTo>
                      <a:close/>
                    </a:path>
                  </a:pathLst>
                </a:custGeom>
                <a:grpFill/>
                <a:ln w="2848" cap="flat">
                  <a:noFill/>
                  <a:prstDash val="solid"/>
                  <a:miter/>
                </a:ln>
              </p:spPr>
              <p:txBody>
                <a:bodyPr rtlCol="0" anchor="ctr"/>
                <a:lstStyle/>
                <a:p>
                  <a:endParaRPr lang="en-GB" dirty="0"/>
                </a:p>
              </p:txBody>
            </p:sp>
            <p:sp>
              <p:nvSpPr>
                <p:cNvPr id="359" name="Freihandform: Form 358">
                  <a:extLst>
                    <a:ext uri="{FF2B5EF4-FFF2-40B4-BE49-F238E27FC236}">
                      <a16:creationId xmlns:a16="http://schemas.microsoft.com/office/drawing/2014/main" id="{B9D7E168-712A-444A-A17D-3EBBA1838FBE}"/>
                    </a:ext>
                  </a:extLst>
                </p:cNvPr>
                <p:cNvSpPr/>
                <p:nvPr/>
              </p:nvSpPr>
              <p:spPr>
                <a:xfrm>
                  <a:off x="2655055" y="4479507"/>
                  <a:ext cx="96335" cy="137507"/>
                </a:xfrm>
                <a:custGeom>
                  <a:avLst/>
                  <a:gdLst>
                    <a:gd name="connsiteX0" fmla="*/ 5021 w 96335"/>
                    <a:gd name="connsiteY0" fmla="*/ 137508 h 137507"/>
                    <a:gd name="connsiteX1" fmla="*/ 0 w 96335"/>
                    <a:gd name="connsiteY1" fmla="*/ 132487 h 137507"/>
                    <a:gd name="connsiteX2" fmla="*/ 0 w 96335"/>
                    <a:gd name="connsiteY2" fmla="*/ 50330 h 137507"/>
                    <a:gd name="connsiteX3" fmla="*/ 45443 w 96335"/>
                    <a:gd name="connsiteY3" fmla="*/ 10649 h 137507"/>
                    <a:gd name="connsiteX4" fmla="*/ 78705 w 96335"/>
                    <a:gd name="connsiteY4" fmla="*/ 10649 h 137507"/>
                    <a:gd name="connsiteX5" fmla="*/ 86322 w 96335"/>
                    <a:gd name="connsiteY5" fmla="*/ 4944 h 137507"/>
                    <a:gd name="connsiteX6" fmla="*/ 91400 w 96335"/>
                    <a:gd name="connsiteY6" fmla="*/ 9 h 137507"/>
                    <a:gd name="connsiteX7" fmla="*/ 96335 w 96335"/>
                    <a:gd name="connsiteY7" fmla="*/ 5087 h 137507"/>
                    <a:gd name="connsiteX8" fmla="*/ 79219 w 96335"/>
                    <a:gd name="connsiteY8" fmla="*/ 20634 h 137507"/>
                    <a:gd name="connsiteX9" fmla="*/ 45443 w 96335"/>
                    <a:gd name="connsiteY9" fmla="*/ 20662 h 137507"/>
                    <a:gd name="connsiteX10" fmla="*/ 10013 w 96335"/>
                    <a:gd name="connsiteY10" fmla="*/ 50301 h 137507"/>
                    <a:gd name="connsiteX11" fmla="*/ 10013 w 96335"/>
                    <a:gd name="connsiteY11" fmla="*/ 132458 h 137507"/>
                    <a:gd name="connsiteX12" fmla="*/ 5021 w 96335"/>
                    <a:gd name="connsiteY12" fmla="*/ 137508 h 13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335" h="137507">
                      <a:moveTo>
                        <a:pt x="5021" y="137508"/>
                      </a:moveTo>
                      <a:cubicBezTo>
                        <a:pt x="2254" y="137508"/>
                        <a:pt x="0" y="135254"/>
                        <a:pt x="0" y="132487"/>
                      </a:cubicBezTo>
                      <a:lnTo>
                        <a:pt x="0" y="50330"/>
                      </a:lnTo>
                      <a:cubicBezTo>
                        <a:pt x="0" y="18950"/>
                        <a:pt x="29725" y="10649"/>
                        <a:pt x="45443" y="10649"/>
                      </a:cubicBezTo>
                      <a:lnTo>
                        <a:pt x="78705" y="10649"/>
                      </a:lnTo>
                      <a:cubicBezTo>
                        <a:pt x="78591" y="10621"/>
                        <a:pt x="86265" y="9622"/>
                        <a:pt x="86322" y="4944"/>
                      </a:cubicBezTo>
                      <a:cubicBezTo>
                        <a:pt x="86379" y="2177"/>
                        <a:pt x="88889" y="-162"/>
                        <a:pt x="91400" y="9"/>
                      </a:cubicBezTo>
                      <a:cubicBezTo>
                        <a:pt x="94167" y="66"/>
                        <a:pt x="96363" y="2320"/>
                        <a:pt x="96335" y="5087"/>
                      </a:cubicBezTo>
                      <a:cubicBezTo>
                        <a:pt x="96164" y="16041"/>
                        <a:pt x="85067" y="20034"/>
                        <a:pt x="79219" y="20634"/>
                      </a:cubicBezTo>
                      <a:lnTo>
                        <a:pt x="45443" y="20662"/>
                      </a:lnTo>
                      <a:cubicBezTo>
                        <a:pt x="44017" y="20662"/>
                        <a:pt x="10013" y="21147"/>
                        <a:pt x="10013" y="50301"/>
                      </a:cubicBezTo>
                      <a:lnTo>
                        <a:pt x="10013" y="132458"/>
                      </a:lnTo>
                      <a:cubicBezTo>
                        <a:pt x="10013" y="135254"/>
                        <a:pt x="7788" y="137508"/>
                        <a:pt x="5021" y="137508"/>
                      </a:cubicBezTo>
                      <a:close/>
                    </a:path>
                  </a:pathLst>
                </a:custGeom>
                <a:grpFill/>
                <a:ln w="2848" cap="flat">
                  <a:noFill/>
                  <a:prstDash val="solid"/>
                  <a:miter/>
                </a:ln>
              </p:spPr>
              <p:txBody>
                <a:bodyPr rtlCol="0" anchor="ctr"/>
                <a:lstStyle/>
                <a:p>
                  <a:endParaRPr lang="en-GB" dirty="0"/>
                </a:p>
              </p:txBody>
            </p:sp>
            <p:sp>
              <p:nvSpPr>
                <p:cNvPr id="360" name="Freihandform: Form 359">
                  <a:extLst>
                    <a:ext uri="{FF2B5EF4-FFF2-40B4-BE49-F238E27FC236}">
                      <a16:creationId xmlns:a16="http://schemas.microsoft.com/office/drawing/2014/main" id="{9630AB34-7E7E-42C0-9832-FE1B0602E21E}"/>
                    </a:ext>
                  </a:extLst>
                </p:cNvPr>
                <p:cNvSpPr/>
                <p:nvPr/>
              </p:nvSpPr>
              <p:spPr>
                <a:xfrm>
                  <a:off x="2836970" y="4566322"/>
                  <a:ext cx="10041" cy="47867"/>
                </a:xfrm>
                <a:custGeom>
                  <a:avLst/>
                  <a:gdLst>
                    <a:gd name="connsiteX0" fmla="*/ 5021 w 10041"/>
                    <a:gd name="connsiteY0" fmla="*/ 47868 h 47867"/>
                    <a:gd name="connsiteX1" fmla="*/ 0 w 10041"/>
                    <a:gd name="connsiteY1" fmla="*/ 42847 h 47867"/>
                    <a:gd name="connsiteX2" fmla="*/ 0 w 10041"/>
                    <a:gd name="connsiteY2" fmla="*/ 5021 h 47867"/>
                    <a:gd name="connsiteX3" fmla="*/ 5021 w 10041"/>
                    <a:gd name="connsiteY3" fmla="*/ 0 h 47867"/>
                    <a:gd name="connsiteX4" fmla="*/ 10041 w 10041"/>
                    <a:gd name="connsiteY4" fmla="*/ 5021 h 47867"/>
                    <a:gd name="connsiteX5" fmla="*/ 10041 w 10041"/>
                    <a:gd name="connsiteY5" fmla="*/ 42847 h 47867"/>
                    <a:gd name="connsiteX6" fmla="*/ 5021 w 10041"/>
                    <a:gd name="connsiteY6" fmla="*/ 47868 h 47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47867">
                      <a:moveTo>
                        <a:pt x="5021" y="47868"/>
                      </a:moveTo>
                      <a:cubicBezTo>
                        <a:pt x="2254" y="47868"/>
                        <a:pt x="0" y="45614"/>
                        <a:pt x="0" y="42847"/>
                      </a:cubicBezTo>
                      <a:lnTo>
                        <a:pt x="0" y="5021"/>
                      </a:lnTo>
                      <a:cubicBezTo>
                        <a:pt x="0" y="2254"/>
                        <a:pt x="2254" y="0"/>
                        <a:pt x="5021" y="0"/>
                      </a:cubicBezTo>
                      <a:cubicBezTo>
                        <a:pt x="7788" y="0"/>
                        <a:pt x="10041" y="2254"/>
                        <a:pt x="10041" y="5021"/>
                      </a:cubicBezTo>
                      <a:lnTo>
                        <a:pt x="10041" y="42847"/>
                      </a:lnTo>
                      <a:cubicBezTo>
                        <a:pt x="10041" y="45643"/>
                        <a:pt x="7788" y="47868"/>
                        <a:pt x="5021" y="47868"/>
                      </a:cubicBezTo>
                      <a:close/>
                    </a:path>
                  </a:pathLst>
                </a:custGeom>
                <a:grpFill/>
                <a:ln w="2848" cap="flat">
                  <a:noFill/>
                  <a:prstDash val="solid"/>
                  <a:miter/>
                </a:ln>
              </p:spPr>
              <p:txBody>
                <a:bodyPr rtlCol="0" anchor="ctr"/>
                <a:lstStyle/>
                <a:p>
                  <a:endParaRPr lang="en-GB" dirty="0"/>
                </a:p>
              </p:txBody>
            </p:sp>
            <p:sp>
              <p:nvSpPr>
                <p:cNvPr id="361" name="Freihandform: Form 360">
                  <a:extLst>
                    <a:ext uri="{FF2B5EF4-FFF2-40B4-BE49-F238E27FC236}">
                      <a16:creationId xmlns:a16="http://schemas.microsoft.com/office/drawing/2014/main" id="{014B4EC6-81CD-41BD-BD86-5993738C734D}"/>
                    </a:ext>
                  </a:extLst>
                </p:cNvPr>
                <p:cNvSpPr/>
                <p:nvPr/>
              </p:nvSpPr>
              <p:spPr>
                <a:xfrm>
                  <a:off x="2796719" y="4479516"/>
                  <a:ext cx="93596" cy="136100"/>
                </a:xfrm>
                <a:custGeom>
                  <a:avLst/>
                  <a:gdLst>
                    <a:gd name="connsiteX0" fmla="*/ 88604 w 93596"/>
                    <a:gd name="connsiteY0" fmla="*/ 136101 h 136100"/>
                    <a:gd name="connsiteX1" fmla="*/ 83583 w 93596"/>
                    <a:gd name="connsiteY1" fmla="*/ 131080 h 136100"/>
                    <a:gd name="connsiteX2" fmla="*/ 83583 w 93596"/>
                    <a:gd name="connsiteY2" fmla="*/ 50321 h 136100"/>
                    <a:gd name="connsiteX3" fmla="*/ 48182 w 93596"/>
                    <a:gd name="connsiteY3" fmla="*/ 20682 h 136100"/>
                    <a:gd name="connsiteX4" fmla="*/ 14891 w 93596"/>
                    <a:gd name="connsiteY4" fmla="*/ 20682 h 136100"/>
                    <a:gd name="connsiteX5" fmla="*/ 4479 w 93596"/>
                    <a:gd name="connsiteY5" fmla="*/ 16631 h 136100"/>
                    <a:gd name="connsiteX6" fmla="*/ 0 w 93596"/>
                    <a:gd name="connsiteY6" fmla="*/ 5049 h 136100"/>
                    <a:gd name="connsiteX7" fmla="*/ 4992 w 93596"/>
                    <a:gd name="connsiteY7" fmla="*/ 0 h 136100"/>
                    <a:gd name="connsiteX8" fmla="*/ 5021 w 93596"/>
                    <a:gd name="connsiteY8" fmla="*/ 0 h 136100"/>
                    <a:gd name="connsiteX9" fmla="*/ 10041 w 93596"/>
                    <a:gd name="connsiteY9" fmla="*/ 4992 h 136100"/>
                    <a:gd name="connsiteX10" fmla="*/ 11411 w 93596"/>
                    <a:gd name="connsiteY10" fmla="*/ 9385 h 136100"/>
                    <a:gd name="connsiteX11" fmla="*/ 14720 w 93596"/>
                    <a:gd name="connsiteY11" fmla="*/ 10640 h 136100"/>
                    <a:gd name="connsiteX12" fmla="*/ 14720 w 93596"/>
                    <a:gd name="connsiteY12" fmla="*/ 10640 h 136100"/>
                    <a:gd name="connsiteX13" fmla="*/ 48182 w 93596"/>
                    <a:gd name="connsiteY13" fmla="*/ 10640 h 136100"/>
                    <a:gd name="connsiteX14" fmla="*/ 93596 w 93596"/>
                    <a:gd name="connsiteY14" fmla="*/ 50321 h 136100"/>
                    <a:gd name="connsiteX15" fmla="*/ 93596 w 93596"/>
                    <a:gd name="connsiteY15" fmla="*/ 131080 h 136100"/>
                    <a:gd name="connsiteX16" fmla="*/ 88604 w 93596"/>
                    <a:gd name="connsiteY16" fmla="*/ 136101 h 136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3596" h="136100">
                      <a:moveTo>
                        <a:pt x="88604" y="136101"/>
                      </a:moveTo>
                      <a:cubicBezTo>
                        <a:pt x="85837" y="136101"/>
                        <a:pt x="83583" y="133847"/>
                        <a:pt x="83583" y="131080"/>
                      </a:cubicBezTo>
                      <a:lnTo>
                        <a:pt x="83583" y="50321"/>
                      </a:lnTo>
                      <a:cubicBezTo>
                        <a:pt x="83583" y="21138"/>
                        <a:pt x="49608" y="20682"/>
                        <a:pt x="48182" y="20682"/>
                      </a:cubicBezTo>
                      <a:lnTo>
                        <a:pt x="14891" y="20682"/>
                      </a:lnTo>
                      <a:cubicBezTo>
                        <a:pt x="14463" y="20682"/>
                        <a:pt x="8815" y="20796"/>
                        <a:pt x="4479" y="16631"/>
                      </a:cubicBezTo>
                      <a:cubicBezTo>
                        <a:pt x="2453" y="14691"/>
                        <a:pt x="57" y="11125"/>
                        <a:pt x="0" y="5049"/>
                      </a:cubicBezTo>
                      <a:cubicBezTo>
                        <a:pt x="0" y="2282"/>
                        <a:pt x="2225" y="28"/>
                        <a:pt x="4992" y="0"/>
                      </a:cubicBezTo>
                      <a:cubicBezTo>
                        <a:pt x="4992" y="0"/>
                        <a:pt x="5021" y="0"/>
                        <a:pt x="5021" y="0"/>
                      </a:cubicBezTo>
                      <a:cubicBezTo>
                        <a:pt x="7788" y="0"/>
                        <a:pt x="10013" y="2225"/>
                        <a:pt x="10041" y="4992"/>
                      </a:cubicBezTo>
                      <a:cubicBezTo>
                        <a:pt x="10041" y="7046"/>
                        <a:pt x="10526" y="8501"/>
                        <a:pt x="11411" y="9385"/>
                      </a:cubicBezTo>
                      <a:cubicBezTo>
                        <a:pt x="12666" y="10583"/>
                        <a:pt x="14663" y="10640"/>
                        <a:pt x="14720" y="10640"/>
                      </a:cubicBezTo>
                      <a:lnTo>
                        <a:pt x="14720" y="10640"/>
                      </a:lnTo>
                      <a:lnTo>
                        <a:pt x="48182" y="10640"/>
                      </a:lnTo>
                      <a:cubicBezTo>
                        <a:pt x="63900" y="10640"/>
                        <a:pt x="93596" y="18942"/>
                        <a:pt x="93596" y="50321"/>
                      </a:cubicBezTo>
                      <a:lnTo>
                        <a:pt x="93596" y="131080"/>
                      </a:lnTo>
                      <a:cubicBezTo>
                        <a:pt x="93596" y="133847"/>
                        <a:pt x="91371" y="136101"/>
                        <a:pt x="88604" y="136101"/>
                      </a:cubicBezTo>
                      <a:close/>
                    </a:path>
                  </a:pathLst>
                </a:custGeom>
                <a:grpFill/>
                <a:ln w="2848" cap="flat">
                  <a:noFill/>
                  <a:prstDash val="solid"/>
                  <a:miter/>
                </a:ln>
              </p:spPr>
              <p:txBody>
                <a:bodyPr rtlCol="0" anchor="ctr"/>
                <a:lstStyle/>
                <a:p>
                  <a:endParaRPr lang="en-GB" dirty="0"/>
                </a:p>
              </p:txBody>
            </p:sp>
          </p:grpSp>
          <p:sp>
            <p:nvSpPr>
              <p:cNvPr id="357" name="Freihandform: Form 356">
                <a:extLst>
                  <a:ext uri="{FF2B5EF4-FFF2-40B4-BE49-F238E27FC236}">
                    <a16:creationId xmlns:a16="http://schemas.microsoft.com/office/drawing/2014/main" id="{7AC679D0-C935-4BB2-9749-800706226091}"/>
                  </a:ext>
                </a:extLst>
              </p:cNvPr>
              <p:cNvSpPr/>
              <p:nvPr/>
            </p:nvSpPr>
            <p:spPr>
              <a:xfrm>
                <a:off x="2710967" y="4331918"/>
                <a:ext cx="123492" cy="138639"/>
              </a:xfrm>
              <a:custGeom>
                <a:avLst/>
                <a:gdLst>
                  <a:gd name="connsiteX0" fmla="*/ 61732 w 123492"/>
                  <a:gd name="connsiteY0" fmla="*/ 138640 h 138639"/>
                  <a:gd name="connsiteX1" fmla="*/ 0 w 123492"/>
                  <a:gd name="connsiteY1" fmla="*/ 69320 h 138639"/>
                  <a:gd name="connsiteX2" fmla="*/ 61732 w 123492"/>
                  <a:gd name="connsiteY2" fmla="*/ 0 h 138639"/>
                  <a:gd name="connsiteX3" fmla="*/ 123492 w 123492"/>
                  <a:gd name="connsiteY3" fmla="*/ 69320 h 138639"/>
                  <a:gd name="connsiteX4" fmla="*/ 61732 w 123492"/>
                  <a:gd name="connsiteY4" fmla="*/ 138640 h 138639"/>
                  <a:gd name="connsiteX5" fmla="*/ 61732 w 123492"/>
                  <a:gd name="connsiteY5" fmla="*/ 10041 h 138639"/>
                  <a:gd name="connsiteX6" fmla="*/ 10013 w 123492"/>
                  <a:gd name="connsiteY6" fmla="*/ 69320 h 138639"/>
                  <a:gd name="connsiteX7" fmla="*/ 61732 w 123492"/>
                  <a:gd name="connsiteY7" fmla="*/ 128627 h 138639"/>
                  <a:gd name="connsiteX8" fmla="*/ 113451 w 123492"/>
                  <a:gd name="connsiteY8" fmla="*/ 69320 h 138639"/>
                  <a:gd name="connsiteX9" fmla="*/ 61732 w 123492"/>
                  <a:gd name="connsiteY9" fmla="*/ 10041 h 1386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492" h="138639">
                    <a:moveTo>
                      <a:pt x="61732" y="138640"/>
                    </a:moveTo>
                    <a:cubicBezTo>
                      <a:pt x="27699" y="138640"/>
                      <a:pt x="0" y="107546"/>
                      <a:pt x="0" y="69320"/>
                    </a:cubicBezTo>
                    <a:cubicBezTo>
                      <a:pt x="0" y="31094"/>
                      <a:pt x="27699" y="0"/>
                      <a:pt x="61732" y="0"/>
                    </a:cubicBezTo>
                    <a:cubicBezTo>
                      <a:pt x="95793" y="0"/>
                      <a:pt x="123492" y="31094"/>
                      <a:pt x="123492" y="69320"/>
                    </a:cubicBezTo>
                    <a:cubicBezTo>
                      <a:pt x="123464" y="107546"/>
                      <a:pt x="95764" y="138640"/>
                      <a:pt x="61732" y="138640"/>
                    </a:cubicBezTo>
                    <a:close/>
                    <a:moveTo>
                      <a:pt x="61732" y="10041"/>
                    </a:moveTo>
                    <a:cubicBezTo>
                      <a:pt x="33234" y="10041"/>
                      <a:pt x="10013" y="36628"/>
                      <a:pt x="10013" y="69320"/>
                    </a:cubicBezTo>
                    <a:cubicBezTo>
                      <a:pt x="10013" y="102012"/>
                      <a:pt x="33205" y="128627"/>
                      <a:pt x="61732" y="128627"/>
                    </a:cubicBezTo>
                    <a:cubicBezTo>
                      <a:pt x="90259" y="128627"/>
                      <a:pt x="113451" y="102040"/>
                      <a:pt x="113451" y="69320"/>
                    </a:cubicBezTo>
                    <a:cubicBezTo>
                      <a:pt x="113451" y="36628"/>
                      <a:pt x="90230" y="10041"/>
                      <a:pt x="61732" y="10041"/>
                    </a:cubicBezTo>
                    <a:close/>
                  </a:path>
                </a:pathLst>
              </a:custGeom>
              <a:grpFill/>
              <a:ln w="2848" cap="flat">
                <a:noFill/>
                <a:prstDash val="solid"/>
                <a:miter/>
              </a:ln>
            </p:spPr>
            <p:txBody>
              <a:bodyPr rtlCol="0" anchor="ctr"/>
              <a:lstStyle/>
              <a:p>
                <a:endParaRPr lang="en-GB" dirty="0"/>
              </a:p>
            </p:txBody>
          </p:sp>
        </p:grpSp>
        <p:grpSp>
          <p:nvGrpSpPr>
            <p:cNvPr id="351" name="Grafik 137">
              <a:extLst>
                <a:ext uri="{FF2B5EF4-FFF2-40B4-BE49-F238E27FC236}">
                  <a16:creationId xmlns:a16="http://schemas.microsoft.com/office/drawing/2014/main" id="{6ABCD605-03A5-45E0-B9B7-1C7633C44593}"/>
                </a:ext>
              </a:extLst>
            </p:cNvPr>
            <p:cNvGrpSpPr/>
            <p:nvPr/>
          </p:nvGrpSpPr>
          <p:grpSpPr>
            <a:xfrm>
              <a:off x="8157202" y="3271292"/>
              <a:ext cx="328913" cy="319473"/>
              <a:chOff x="2578151" y="4105901"/>
              <a:chExt cx="389148" cy="377979"/>
            </a:xfrm>
            <a:solidFill>
              <a:schemeClr val="accent1"/>
            </a:solidFill>
          </p:grpSpPr>
          <p:sp>
            <p:nvSpPr>
              <p:cNvPr id="352" name="Freihandform: Form 351">
                <a:extLst>
                  <a:ext uri="{FF2B5EF4-FFF2-40B4-BE49-F238E27FC236}">
                    <a16:creationId xmlns:a16="http://schemas.microsoft.com/office/drawing/2014/main" id="{34AC042F-21BC-4139-BBA1-CF4B6343A052}"/>
                  </a:ext>
                </a:extLst>
              </p:cNvPr>
              <p:cNvSpPr/>
              <p:nvPr/>
            </p:nvSpPr>
            <p:spPr>
              <a:xfrm>
                <a:off x="2578151" y="4186033"/>
                <a:ext cx="389148" cy="297847"/>
              </a:xfrm>
              <a:custGeom>
                <a:avLst/>
                <a:gdLst>
                  <a:gd name="connsiteX0" fmla="*/ 299184 w 389148"/>
                  <a:gd name="connsiteY0" fmla="*/ 297847 h 297847"/>
                  <a:gd name="connsiteX1" fmla="*/ 294249 w 389148"/>
                  <a:gd name="connsiteY1" fmla="*/ 293683 h 297847"/>
                  <a:gd name="connsiteX2" fmla="*/ 284350 w 389148"/>
                  <a:gd name="connsiteY2" fmla="*/ 235973 h 297847"/>
                  <a:gd name="connsiteX3" fmla="*/ 285805 w 389148"/>
                  <a:gd name="connsiteY3" fmla="*/ 231551 h 297847"/>
                  <a:gd name="connsiteX4" fmla="*/ 373297 w 389148"/>
                  <a:gd name="connsiteY4" fmla="*/ 146256 h 297847"/>
                  <a:gd name="connsiteX5" fmla="*/ 252372 w 389148"/>
                  <a:gd name="connsiteY5" fmla="*/ 128684 h 297847"/>
                  <a:gd name="connsiteX6" fmla="*/ 248606 w 389148"/>
                  <a:gd name="connsiteY6" fmla="*/ 125945 h 297847"/>
                  <a:gd name="connsiteX7" fmla="*/ 194548 w 389148"/>
                  <a:gd name="connsiteY7" fmla="*/ 16374 h 297847"/>
                  <a:gd name="connsiteX8" fmla="*/ 140462 w 389148"/>
                  <a:gd name="connsiteY8" fmla="*/ 125945 h 297847"/>
                  <a:gd name="connsiteX9" fmla="*/ 136696 w 389148"/>
                  <a:gd name="connsiteY9" fmla="*/ 128684 h 297847"/>
                  <a:gd name="connsiteX10" fmla="*/ 15771 w 389148"/>
                  <a:gd name="connsiteY10" fmla="*/ 146256 h 297847"/>
                  <a:gd name="connsiteX11" fmla="*/ 103263 w 389148"/>
                  <a:gd name="connsiteY11" fmla="*/ 231551 h 297847"/>
                  <a:gd name="connsiteX12" fmla="*/ 104717 w 389148"/>
                  <a:gd name="connsiteY12" fmla="*/ 235973 h 297847"/>
                  <a:gd name="connsiteX13" fmla="*/ 95019 w 389148"/>
                  <a:gd name="connsiteY13" fmla="*/ 292484 h 297847"/>
                  <a:gd name="connsiteX14" fmla="*/ 89227 w 389148"/>
                  <a:gd name="connsiteY14" fmla="*/ 296564 h 297847"/>
                  <a:gd name="connsiteX15" fmla="*/ 85148 w 389148"/>
                  <a:gd name="connsiteY15" fmla="*/ 290773 h 297847"/>
                  <a:gd name="connsiteX16" fmla="*/ 94391 w 389148"/>
                  <a:gd name="connsiteY16" fmla="*/ 236857 h 297847"/>
                  <a:gd name="connsiteX17" fmla="*/ 1508 w 389148"/>
                  <a:gd name="connsiteY17" fmla="*/ 146314 h 297847"/>
                  <a:gd name="connsiteX18" fmla="*/ 253 w 389148"/>
                  <a:gd name="connsiteY18" fmla="*/ 141179 h 297847"/>
                  <a:gd name="connsiteX19" fmla="*/ 4304 w 389148"/>
                  <a:gd name="connsiteY19" fmla="*/ 137755 h 297847"/>
                  <a:gd name="connsiteX20" fmla="*/ 132674 w 389148"/>
                  <a:gd name="connsiteY20" fmla="*/ 119099 h 297847"/>
                  <a:gd name="connsiteX21" fmla="*/ 190070 w 389148"/>
                  <a:gd name="connsiteY21" fmla="*/ 2796 h 297847"/>
                  <a:gd name="connsiteX22" fmla="*/ 194577 w 389148"/>
                  <a:gd name="connsiteY22" fmla="*/ 0 h 297847"/>
                  <a:gd name="connsiteX23" fmla="*/ 194577 w 389148"/>
                  <a:gd name="connsiteY23" fmla="*/ 0 h 297847"/>
                  <a:gd name="connsiteX24" fmla="*/ 199084 w 389148"/>
                  <a:gd name="connsiteY24" fmla="*/ 2796 h 297847"/>
                  <a:gd name="connsiteX25" fmla="*/ 256480 w 389148"/>
                  <a:gd name="connsiteY25" fmla="*/ 119099 h 297847"/>
                  <a:gd name="connsiteX26" fmla="*/ 384850 w 389148"/>
                  <a:gd name="connsiteY26" fmla="*/ 137755 h 297847"/>
                  <a:gd name="connsiteX27" fmla="*/ 388901 w 389148"/>
                  <a:gd name="connsiteY27" fmla="*/ 141179 h 297847"/>
                  <a:gd name="connsiteX28" fmla="*/ 387646 w 389148"/>
                  <a:gd name="connsiteY28" fmla="*/ 146314 h 297847"/>
                  <a:gd name="connsiteX29" fmla="*/ 294763 w 389148"/>
                  <a:gd name="connsiteY29" fmla="*/ 236857 h 297847"/>
                  <a:gd name="connsiteX30" fmla="*/ 304205 w 389148"/>
                  <a:gd name="connsiteY30" fmla="*/ 291971 h 297847"/>
                  <a:gd name="connsiteX31" fmla="*/ 300126 w 389148"/>
                  <a:gd name="connsiteY31" fmla="*/ 297762 h 297847"/>
                  <a:gd name="connsiteX32" fmla="*/ 299184 w 389148"/>
                  <a:gd name="connsiteY32" fmla="*/ 297847 h 297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389148" h="297847">
                    <a:moveTo>
                      <a:pt x="299184" y="297847"/>
                    </a:moveTo>
                    <a:cubicBezTo>
                      <a:pt x="296788" y="297847"/>
                      <a:pt x="294677" y="296136"/>
                      <a:pt x="294249" y="293683"/>
                    </a:cubicBezTo>
                    <a:lnTo>
                      <a:pt x="284350" y="235973"/>
                    </a:lnTo>
                    <a:cubicBezTo>
                      <a:pt x="284065" y="234347"/>
                      <a:pt x="284607" y="232692"/>
                      <a:pt x="285805" y="231551"/>
                    </a:cubicBezTo>
                    <a:lnTo>
                      <a:pt x="373297" y="146256"/>
                    </a:lnTo>
                    <a:lnTo>
                      <a:pt x="252372" y="128684"/>
                    </a:lnTo>
                    <a:cubicBezTo>
                      <a:pt x="250746" y="128456"/>
                      <a:pt x="249319" y="127429"/>
                      <a:pt x="248606" y="125945"/>
                    </a:cubicBezTo>
                    <a:lnTo>
                      <a:pt x="194548" y="16374"/>
                    </a:lnTo>
                    <a:lnTo>
                      <a:pt x="140462" y="125945"/>
                    </a:lnTo>
                    <a:cubicBezTo>
                      <a:pt x="139720" y="127429"/>
                      <a:pt x="138322" y="128456"/>
                      <a:pt x="136696" y="128684"/>
                    </a:cubicBezTo>
                    <a:lnTo>
                      <a:pt x="15771" y="146256"/>
                    </a:lnTo>
                    <a:lnTo>
                      <a:pt x="103263" y="231551"/>
                    </a:lnTo>
                    <a:cubicBezTo>
                      <a:pt x="104432" y="232692"/>
                      <a:pt x="104974" y="234375"/>
                      <a:pt x="104717" y="235973"/>
                    </a:cubicBezTo>
                    <a:lnTo>
                      <a:pt x="95019" y="292484"/>
                    </a:lnTo>
                    <a:cubicBezTo>
                      <a:pt x="94562" y="295223"/>
                      <a:pt x="91966" y="296992"/>
                      <a:pt x="89227" y="296564"/>
                    </a:cubicBezTo>
                    <a:cubicBezTo>
                      <a:pt x="86489" y="296107"/>
                      <a:pt x="84663" y="293511"/>
                      <a:pt x="85148" y="290773"/>
                    </a:cubicBezTo>
                    <a:lnTo>
                      <a:pt x="94391" y="236857"/>
                    </a:lnTo>
                    <a:lnTo>
                      <a:pt x="1508" y="146314"/>
                    </a:lnTo>
                    <a:cubicBezTo>
                      <a:pt x="139" y="144973"/>
                      <a:pt x="-346" y="143004"/>
                      <a:pt x="253" y="141179"/>
                    </a:cubicBezTo>
                    <a:cubicBezTo>
                      <a:pt x="852" y="139353"/>
                      <a:pt x="2392" y="138041"/>
                      <a:pt x="4304" y="137755"/>
                    </a:cubicBezTo>
                    <a:lnTo>
                      <a:pt x="132674" y="119099"/>
                    </a:lnTo>
                    <a:lnTo>
                      <a:pt x="190070" y="2796"/>
                    </a:lnTo>
                    <a:cubicBezTo>
                      <a:pt x="190925" y="1084"/>
                      <a:pt x="192665" y="0"/>
                      <a:pt x="194577" y="0"/>
                    </a:cubicBezTo>
                    <a:lnTo>
                      <a:pt x="194577" y="0"/>
                    </a:lnTo>
                    <a:cubicBezTo>
                      <a:pt x="196488" y="0"/>
                      <a:pt x="198228" y="1084"/>
                      <a:pt x="199084" y="2796"/>
                    </a:cubicBezTo>
                    <a:lnTo>
                      <a:pt x="256480" y="119099"/>
                    </a:lnTo>
                    <a:lnTo>
                      <a:pt x="384850" y="137755"/>
                    </a:lnTo>
                    <a:cubicBezTo>
                      <a:pt x="386733" y="138041"/>
                      <a:pt x="388302" y="139353"/>
                      <a:pt x="388901" y="141179"/>
                    </a:cubicBezTo>
                    <a:cubicBezTo>
                      <a:pt x="389500" y="143004"/>
                      <a:pt x="388986" y="144973"/>
                      <a:pt x="387646" y="146314"/>
                    </a:cubicBezTo>
                    <a:lnTo>
                      <a:pt x="294763" y="236857"/>
                    </a:lnTo>
                    <a:lnTo>
                      <a:pt x="304205" y="291971"/>
                    </a:lnTo>
                    <a:cubicBezTo>
                      <a:pt x="304661" y="294710"/>
                      <a:pt x="302836" y="297277"/>
                      <a:pt x="300126" y="297762"/>
                    </a:cubicBezTo>
                    <a:cubicBezTo>
                      <a:pt x="299755" y="297847"/>
                      <a:pt x="299470" y="297847"/>
                      <a:pt x="299184" y="297847"/>
                    </a:cubicBezTo>
                    <a:close/>
                  </a:path>
                </a:pathLst>
              </a:custGeom>
              <a:solidFill>
                <a:schemeClr val="accent1"/>
              </a:solidFill>
              <a:ln w="2848" cap="flat">
                <a:noFill/>
                <a:prstDash val="solid"/>
                <a:miter/>
              </a:ln>
            </p:spPr>
            <p:txBody>
              <a:bodyPr rtlCol="0" anchor="ctr"/>
              <a:lstStyle/>
              <a:p>
                <a:endParaRPr lang="en-GB" dirty="0"/>
              </a:p>
            </p:txBody>
          </p:sp>
          <p:sp>
            <p:nvSpPr>
              <p:cNvPr id="353" name="Freihandform: Form 352">
                <a:extLst>
                  <a:ext uri="{FF2B5EF4-FFF2-40B4-BE49-F238E27FC236}">
                    <a16:creationId xmlns:a16="http://schemas.microsoft.com/office/drawing/2014/main" id="{3A8D0440-F9C5-4652-A3A0-D5BFC2916E69}"/>
                  </a:ext>
                </a:extLst>
              </p:cNvPr>
              <p:cNvSpPr/>
              <p:nvPr/>
            </p:nvSpPr>
            <p:spPr>
              <a:xfrm>
                <a:off x="2766851" y="4105901"/>
                <a:ext cx="10041" cy="50121"/>
              </a:xfrm>
              <a:custGeom>
                <a:avLst/>
                <a:gdLst>
                  <a:gd name="connsiteX0" fmla="*/ 5021 w 10041"/>
                  <a:gd name="connsiteY0" fmla="*/ 50121 h 50121"/>
                  <a:gd name="connsiteX1" fmla="*/ 0 w 10041"/>
                  <a:gd name="connsiteY1" fmla="*/ 45101 h 50121"/>
                  <a:gd name="connsiteX2" fmla="*/ 0 w 10041"/>
                  <a:gd name="connsiteY2" fmla="*/ 5021 h 50121"/>
                  <a:gd name="connsiteX3" fmla="*/ 5021 w 10041"/>
                  <a:gd name="connsiteY3" fmla="*/ 0 h 50121"/>
                  <a:gd name="connsiteX4" fmla="*/ 10041 w 10041"/>
                  <a:gd name="connsiteY4" fmla="*/ 5021 h 50121"/>
                  <a:gd name="connsiteX5" fmla="*/ 10041 w 10041"/>
                  <a:gd name="connsiteY5" fmla="*/ 45101 h 50121"/>
                  <a:gd name="connsiteX6" fmla="*/ 5021 w 10041"/>
                  <a:gd name="connsiteY6" fmla="*/ 50121 h 50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50121">
                    <a:moveTo>
                      <a:pt x="5021" y="50121"/>
                    </a:moveTo>
                    <a:cubicBezTo>
                      <a:pt x="2254" y="50121"/>
                      <a:pt x="0" y="47868"/>
                      <a:pt x="0" y="45101"/>
                    </a:cubicBezTo>
                    <a:lnTo>
                      <a:pt x="0" y="5021"/>
                    </a:lnTo>
                    <a:cubicBezTo>
                      <a:pt x="0" y="2254"/>
                      <a:pt x="2254" y="0"/>
                      <a:pt x="5021" y="0"/>
                    </a:cubicBezTo>
                    <a:cubicBezTo>
                      <a:pt x="7788" y="0"/>
                      <a:pt x="10041" y="2254"/>
                      <a:pt x="10041" y="5021"/>
                    </a:cubicBezTo>
                    <a:lnTo>
                      <a:pt x="10041" y="45101"/>
                    </a:lnTo>
                    <a:cubicBezTo>
                      <a:pt x="10013" y="47896"/>
                      <a:pt x="7788" y="50121"/>
                      <a:pt x="5021" y="50121"/>
                    </a:cubicBezTo>
                    <a:close/>
                  </a:path>
                </a:pathLst>
              </a:custGeom>
              <a:solidFill>
                <a:schemeClr val="accent1"/>
              </a:solidFill>
              <a:ln w="2848" cap="flat">
                <a:noFill/>
                <a:prstDash val="solid"/>
                <a:miter/>
              </a:ln>
            </p:spPr>
            <p:txBody>
              <a:bodyPr rtlCol="0" anchor="ctr"/>
              <a:lstStyle/>
              <a:p>
                <a:endParaRPr lang="en-GB" dirty="0"/>
              </a:p>
            </p:txBody>
          </p:sp>
          <p:sp>
            <p:nvSpPr>
              <p:cNvPr id="354" name="Freihandform: Form 353">
                <a:extLst>
                  <a:ext uri="{FF2B5EF4-FFF2-40B4-BE49-F238E27FC236}">
                    <a16:creationId xmlns:a16="http://schemas.microsoft.com/office/drawing/2014/main" id="{FDA9BF24-E5E8-40A3-8A45-08CF2CE46BE1}"/>
                  </a:ext>
                </a:extLst>
              </p:cNvPr>
              <p:cNvSpPr/>
              <p:nvPr/>
            </p:nvSpPr>
            <p:spPr>
              <a:xfrm>
                <a:off x="2619917" y="4217904"/>
                <a:ext cx="38354" cy="38332"/>
              </a:xfrm>
              <a:custGeom>
                <a:avLst/>
                <a:gdLst>
                  <a:gd name="connsiteX0" fmla="*/ 33341 w 38354"/>
                  <a:gd name="connsiteY0" fmla="*/ 38333 h 38332"/>
                  <a:gd name="connsiteX1" fmla="*/ 29803 w 38354"/>
                  <a:gd name="connsiteY1" fmla="*/ 36878 h 38332"/>
                  <a:gd name="connsiteX2" fmla="*/ 1476 w 38354"/>
                  <a:gd name="connsiteY2" fmla="*/ 8551 h 38332"/>
                  <a:gd name="connsiteX3" fmla="*/ 1476 w 38354"/>
                  <a:gd name="connsiteY3" fmla="*/ 1476 h 38332"/>
                  <a:gd name="connsiteX4" fmla="*/ 8551 w 38354"/>
                  <a:gd name="connsiteY4" fmla="*/ 1476 h 38332"/>
                  <a:gd name="connsiteX5" fmla="*/ 36878 w 38354"/>
                  <a:gd name="connsiteY5" fmla="*/ 29803 h 38332"/>
                  <a:gd name="connsiteX6" fmla="*/ 36878 w 38354"/>
                  <a:gd name="connsiteY6" fmla="*/ 36878 h 38332"/>
                  <a:gd name="connsiteX7" fmla="*/ 33341 w 38354"/>
                  <a:gd name="connsiteY7" fmla="*/ 38333 h 3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354" h="38332">
                    <a:moveTo>
                      <a:pt x="33341" y="38333"/>
                    </a:moveTo>
                    <a:cubicBezTo>
                      <a:pt x="32057" y="38333"/>
                      <a:pt x="30773" y="37848"/>
                      <a:pt x="29803" y="36878"/>
                    </a:cubicBezTo>
                    <a:lnTo>
                      <a:pt x="1476" y="8551"/>
                    </a:lnTo>
                    <a:cubicBezTo>
                      <a:pt x="-492" y="6582"/>
                      <a:pt x="-492" y="3416"/>
                      <a:pt x="1476" y="1476"/>
                    </a:cubicBezTo>
                    <a:cubicBezTo>
                      <a:pt x="3445" y="-492"/>
                      <a:pt x="6611" y="-492"/>
                      <a:pt x="8551" y="1476"/>
                    </a:cubicBezTo>
                    <a:lnTo>
                      <a:pt x="36878" y="29803"/>
                    </a:lnTo>
                    <a:cubicBezTo>
                      <a:pt x="38846" y="31772"/>
                      <a:pt x="38846" y="34938"/>
                      <a:pt x="36878" y="36878"/>
                    </a:cubicBezTo>
                    <a:cubicBezTo>
                      <a:pt x="35908" y="37848"/>
                      <a:pt x="34624" y="38333"/>
                      <a:pt x="33341" y="38333"/>
                    </a:cubicBezTo>
                    <a:close/>
                  </a:path>
                </a:pathLst>
              </a:custGeom>
              <a:solidFill>
                <a:schemeClr val="accent1"/>
              </a:solidFill>
              <a:ln w="2848" cap="flat">
                <a:noFill/>
                <a:prstDash val="solid"/>
                <a:miter/>
              </a:ln>
            </p:spPr>
            <p:txBody>
              <a:bodyPr rtlCol="0" anchor="ctr"/>
              <a:lstStyle/>
              <a:p>
                <a:endParaRPr lang="en-GB" dirty="0"/>
              </a:p>
            </p:txBody>
          </p:sp>
          <p:sp>
            <p:nvSpPr>
              <p:cNvPr id="355" name="Freihandform: Form 354">
                <a:extLst>
                  <a:ext uri="{FF2B5EF4-FFF2-40B4-BE49-F238E27FC236}">
                    <a16:creationId xmlns:a16="http://schemas.microsoft.com/office/drawing/2014/main" id="{56A9052A-6930-45EA-B941-1757C8B71C85}"/>
                  </a:ext>
                </a:extLst>
              </p:cNvPr>
              <p:cNvSpPr/>
              <p:nvPr/>
            </p:nvSpPr>
            <p:spPr>
              <a:xfrm>
                <a:off x="2887070" y="4217904"/>
                <a:ext cx="38354" cy="38332"/>
              </a:xfrm>
              <a:custGeom>
                <a:avLst/>
                <a:gdLst>
                  <a:gd name="connsiteX0" fmla="*/ 5014 w 38354"/>
                  <a:gd name="connsiteY0" fmla="*/ 38333 h 38332"/>
                  <a:gd name="connsiteX1" fmla="*/ 1476 w 38354"/>
                  <a:gd name="connsiteY1" fmla="*/ 36878 h 38332"/>
                  <a:gd name="connsiteX2" fmla="*/ 1476 w 38354"/>
                  <a:gd name="connsiteY2" fmla="*/ 29803 h 38332"/>
                  <a:gd name="connsiteX3" fmla="*/ 29803 w 38354"/>
                  <a:gd name="connsiteY3" fmla="*/ 1476 h 38332"/>
                  <a:gd name="connsiteX4" fmla="*/ 36878 w 38354"/>
                  <a:gd name="connsiteY4" fmla="*/ 1476 h 38332"/>
                  <a:gd name="connsiteX5" fmla="*/ 36878 w 38354"/>
                  <a:gd name="connsiteY5" fmla="*/ 8551 h 38332"/>
                  <a:gd name="connsiteX6" fmla="*/ 8551 w 38354"/>
                  <a:gd name="connsiteY6" fmla="*/ 36878 h 38332"/>
                  <a:gd name="connsiteX7" fmla="*/ 5014 w 38354"/>
                  <a:gd name="connsiteY7" fmla="*/ 38333 h 3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354" h="38332">
                    <a:moveTo>
                      <a:pt x="5014" y="38333"/>
                    </a:moveTo>
                    <a:cubicBezTo>
                      <a:pt x="3730" y="38333"/>
                      <a:pt x="2446" y="37848"/>
                      <a:pt x="1476" y="36878"/>
                    </a:cubicBezTo>
                    <a:cubicBezTo>
                      <a:pt x="-492" y="34910"/>
                      <a:pt x="-492" y="31743"/>
                      <a:pt x="1476" y="29803"/>
                    </a:cubicBezTo>
                    <a:lnTo>
                      <a:pt x="29803" y="1476"/>
                    </a:lnTo>
                    <a:cubicBezTo>
                      <a:pt x="31772" y="-492"/>
                      <a:pt x="34938" y="-492"/>
                      <a:pt x="36878" y="1476"/>
                    </a:cubicBezTo>
                    <a:cubicBezTo>
                      <a:pt x="38846" y="3445"/>
                      <a:pt x="38846" y="6611"/>
                      <a:pt x="36878" y="8551"/>
                    </a:cubicBezTo>
                    <a:lnTo>
                      <a:pt x="8551" y="36878"/>
                    </a:lnTo>
                    <a:cubicBezTo>
                      <a:pt x="7581" y="37848"/>
                      <a:pt x="6297" y="38333"/>
                      <a:pt x="5014" y="38333"/>
                    </a:cubicBezTo>
                    <a:close/>
                  </a:path>
                </a:pathLst>
              </a:custGeom>
              <a:solidFill>
                <a:schemeClr val="accent1"/>
              </a:solidFill>
              <a:ln w="2848" cap="flat">
                <a:noFill/>
                <a:prstDash val="solid"/>
                <a:miter/>
              </a:ln>
            </p:spPr>
            <p:txBody>
              <a:bodyPr rtlCol="0" anchor="ctr"/>
              <a:lstStyle/>
              <a:p>
                <a:endParaRPr lang="en-GB" dirty="0"/>
              </a:p>
            </p:txBody>
          </p:sp>
        </p:grpSp>
      </p:grpSp>
      <p:sp>
        <p:nvSpPr>
          <p:cNvPr id="362" name="TextBox 1423">
            <a:extLst>
              <a:ext uri="{FF2B5EF4-FFF2-40B4-BE49-F238E27FC236}">
                <a16:creationId xmlns:a16="http://schemas.microsoft.com/office/drawing/2014/main" id="{3CE8F412-B3C6-4917-9169-D2C19B482963}"/>
              </a:ext>
            </a:extLst>
          </p:cNvPr>
          <p:cNvSpPr txBox="1"/>
          <p:nvPr/>
        </p:nvSpPr>
        <p:spPr>
          <a:xfrm>
            <a:off x="8197838" y="3741645"/>
            <a:ext cx="248465" cy="107722"/>
          </a:xfrm>
          <a:prstGeom prst="rect">
            <a:avLst/>
          </a:prstGeom>
          <a:noFill/>
          <a:effectLst/>
        </p:spPr>
        <p:txBody>
          <a:bodyPr wrap="none" lIns="0" tIns="0" rIns="0" bIns="0" rtlCol="0" anchor="t" anchorCtr="0">
            <a:spAutoFit/>
          </a:bodyPr>
          <a:lstStyle/>
          <a:p>
            <a:pPr algn="ctr"/>
            <a:r>
              <a:rPr lang="en-GB" sz="700" dirty="0">
                <a:solidFill>
                  <a:schemeClr val="tx2"/>
                </a:solidFill>
              </a:rPr>
              <a:t>Talent</a:t>
            </a:r>
          </a:p>
        </p:txBody>
      </p:sp>
      <p:grpSp>
        <p:nvGrpSpPr>
          <p:cNvPr id="40" name="Group 39">
            <a:extLst>
              <a:ext uri="{FF2B5EF4-FFF2-40B4-BE49-F238E27FC236}">
                <a16:creationId xmlns:a16="http://schemas.microsoft.com/office/drawing/2014/main" id="{5E7075BB-0323-7B2A-6296-AE5B14112FC1}"/>
              </a:ext>
            </a:extLst>
          </p:cNvPr>
          <p:cNvGrpSpPr/>
          <p:nvPr/>
        </p:nvGrpSpPr>
        <p:grpSpPr>
          <a:xfrm>
            <a:off x="4879867" y="2456446"/>
            <a:ext cx="589838" cy="431999"/>
            <a:chOff x="4879455" y="2456446"/>
            <a:chExt cx="589838" cy="431999"/>
          </a:xfrm>
        </p:grpSpPr>
        <p:grpSp>
          <p:nvGrpSpPr>
            <p:cNvPr id="364" name="Group 951">
              <a:extLst>
                <a:ext uri="{FF2B5EF4-FFF2-40B4-BE49-F238E27FC236}">
                  <a16:creationId xmlns:a16="http://schemas.microsoft.com/office/drawing/2014/main" id="{1B624B74-73EB-4B38-94FD-342E734C93CC}"/>
                </a:ext>
              </a:extLst>
            </p:cNvPr>
            <p:cNvGrpSpPr/>
            <p:nvPr/>
          </p:nvGrpSpPr>
          <p:grpSpPr>
            <a:xfrm>
              <a:off x="5061849" y="2654202"/>
              <a:ext cx="225049" cy="234243"/>
              <a:chOff x="3512397" y="1881558"/>
              <a:chExt cx="201826" cy="210071"/>
            </a:xfrm>
          </p:grpSpPr>
          <p:grpSp>
            <p:nvGrpSpPr>
              <p:cNvPr id="384" name="Grafik 137">
                <a:extLst>
                  <a:ext uri="{FF2B5EF4-FFF2-40B4-BE49-F238E27FC236}">
                    <a16:creationId xmlns:a16="http://schemas.microsoft.com/office/drawing/2014/main" id="{25EC4ACB-CFD9-4A05-82A6-2EC9AC3F67BE}"/>
                  </a:ext>
                </a:extLst>
              </p:cNvPr>
              <p:cNvGrpSpPr/>
              <p:nvPr/>
            </p:nvGrpSpPr>
            <p:grpSpPr>
              <a:xfrm>
                <a:off x="3512397" y="2010642"/>
                <a:ext cx="201826" cy="80987"/>
                <a:chOff x="3512397" y="2010642"/>
                <a:chExt cx="201826" cy="80987"/>
              </a:xfrm>
              <a:solidFill>
                <a:schemeClr val="accent1"/>
              </a:solidFill>
            </p:grpSpPr>
            <p:sp>
              <p:nvSpPr>
                <p:cNvPr id="386" name="Freihandform: Form 385">
                  <a:extLst>
                    <a:ext uri="{FF2B5EF4-FFF2-40B4-BE49-F238E27FC236}">
                      <a16:creationId xmlns:a16="http://schemas.microsoft.com/office/drawing/2014/main" id="{71700114-B0E1-4193-9A9D-448239646FBF}"/>
                    </a:ext>
                  </a:extLst>
                </p:cNvPr>
                <p:cNvSpPr/>
                <p:nvPr/>
              </p:nvSpPr>
              <p:spPr>
                <a:xfrm>
                  <a:off x="3512397" y="2010642"/>
                  <a:ext cx="83554" cy="80987"/>
                </a:xfrm>
                <a:custGeom>
                  <a:avLst/>
                  <a:gdLst>
                    <a:gd name="connsiteX0" fmla="*/ 5021 w 83554"/>
                    <a:gd name="connsiteY0" fmla="*/ 80987 h 80987"/>
                    <a:gd name="connsiteX1" fmla="*/ 0 w 83554"/>
                    <a:gd name="connsiteY1" fmla="*/ 75967 h 80987"/>
                    <a:gd name="connsiteX2" fmla="*/ 0 w 83554"/>
                    <a:gd name="connsiteY2" fmla="*/ 43589 h 80987"/>
                    <a:gd name="connsiteX3" fmla="*/ 39453 w 83554"/>
                    <a:gd name="connsiteY3" fmla="*/ 9071 h 80987"/>
                    <a:gd name="connsiteX4" fmla="*/ 67751 w 83554"/>
                    <a:gd name="connsiteY4" fmla="*/ 9071 h 80987"/>
                    <a:gd name="connsiteX5" fmla="*/ 73513 w 83554"/>
                    <a:gd name="connsiteY5" fmla="*/ 4935 h 80987"/>
                    <a:gd name="connsiteX6" fmla="*/ 78534 w 83554"/>
                    <a:gd name="connsiteY6" fmla="*/ 0 h 80987"/>
                    <a:gd name="connsiteX7" fmla="*/ 78620 w 83554"/>
                    <a:gd name="connsiteY7" fmla="*/ 0 h 80987"/>
                    <a:gd name="connsiteX8" fmla="*/ 83555 w 83554"/>
                    <a:gd name="connsiteY8" fmla="*/ 5078 h 80987"/>
                    <a:gd name="connsiteX9" fmla="*/ 68322 w 83554"/>
                    <a:gd name="connsiteY9" fmla="*/ 19027 h 80987"/>
                    <a:gd name="connsiteX10" fmla="*/ 39481 w 83554"/>
                    <a:gd name="connsiteY10" fmla="*/ 19056 h 80987"/>
                    <a:gd name="connsiteX11" fmla="*/ 10070 w 83554"/>
                    <a:gd name="connsiteY11" fmla="*/ 43560 h 80987"/>
                    <a:gd name="connsiteX12" fmla="*/ 10070 w 83554"/>
                    <a:gd name="connsiteY12" fmla="*/ 75938 h 80987"/>
                    <a:gd name="connsiteX13" fmla="*/ 5021 w 83554"/>
                    <a:gd name="connsiteY13" fmla="*/ 80987 h 80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3554" h="80987">
                      <a:moveTo>
                        <a:pt x="5021" y="80987"/>
                      </a:moveTo>
                      <a:cubicBezTo>
                        <a:pt x="2254" y="80987"/>
                        <a:pt x="0" y="78734"/>
                        <a:pt x="0" y="75967"/>
                      </a:cubicBezTo>
                      <a:lnTo>
                        <a:pt x="0" y="43589"/>
                      </a:lnTo>
                      <a:cubicBezTo>
                        <a:pt x="0" y="16289"/>
                        <a:pt x="25788" y="9071"/>
                        <a:pt x="39453" y="9071"/>
                      </a:cubicBezTo>
                      <a:lnTo>
                        <a:pt x="67751" y="9071"/>
                      </a:lnTo>
                      <a:cubicBezTo>
                        <a:pt x="67608" y="9043"/>
                        <a:pt x="73456" y="8216"/>
                        <a:pt x="73513" y="4935"/>
                      </a:cubicBezTo>
                      <a:cubicBezTo>
                        <a:pt x="73570" y="2197"/>
                        <a:pt x="75796" y="0"/>
                        <a:pt x="78534" y="0"/>
                      </a:cubicBezTo>
                      <a:cubicBezTo>
                        <a:pt x="78563" y="0"/>
                        <a:pt x="78591" y="0"/>
                        <a:pt x="78620" y="0"/>
                      </a:cubicBezTo>
                      <a:cubicBezTo>
                        <a:pt x="81387" y="29"/>
                        <a:pt x="83583" y="2311"/>
                        <a:pt x="83555" y="5078"/>
                      </a:cubicBezTo>
                      <a:cubicBezTo>
                        <a:pt x="83412" y="14919"/>
                        <a:pt x="73513" y="18514"/>
                        <a:pt x="68322" y="19027"/>
                      </a:cubicBezTo>
                      <a:lnTo>
                        <a:pt x="39481" y="19056"/>
                      </a:lnTo>
                      <a:cubicBezTo>
                        <a:pt x="38283" y="19056"/>
                        <a:pt x="10070" y="19484"/>
                        <a:pt x="10070" y="43560"/>
                      </a:cubicBezTo>
                      <a:lnTo>
                        <a:pt x="10070" y="75938"/>
                      </a:lnTo>
                      <a:cubicBezTo>
                        <a:pt x="10041" y="78762"/>
                        <a:pt x="7788" y="80987"/>
                        <a:pt x="5021" y="80987"/>
                      </a:cubicBezTo>
                      <a:close/>
                    </a:path>
                  </a:pathLst>
                </a:custGeom>
                <a:solidFill>
                  <a:schemeClr val="accent1"/>
                </a:solidFill>
                <a:ln w="2848" cap="flat">
                  <a:noFill/>
                  <a:prstDash val="solid"/>
                  <a:miter/>
                </a:ln>
              </p:spPr>
              <p:txBody>
                <a:bodyPr rtlCol="0" anchor="ctr"/>
                <a:lstStyle/>
                <a:p>
                  <a:endParaRPr lang="en-GB" dirty="0"/>
                </a:p>
              </p:txBody>
            </p:sp>
            <p:sp>
              <p:nvSpPr>
                <p:cNvPr id="387" name="Freihandform: Form 386">
                  <a:extLst>
                    <a:ext uri="{FF2B5EF4-FFF2-40B4-BE49-F238E27FC236}">
                      <a16:creationId xmlns:a16="http://schemas.microsoft.com/office/drawing/2014/main" id="{CCD35A71-8307-45A9-8C49-53F96729FEB9}"/>
                    </a:ext>
                  </a:extLst>
                </p:cNvPr>
                <p:cNvSpPr/>
                <p:nvPr/>
              </p:nvSpPr>
              <p:spPr>
                <a:xfrm>
                  <a:off x="3633008" y="2010670"/>
                  <a:ext cx="81215" cy="79760"/>
                </a:xfrm>
                <a:custGeom>
                  <a:avLst/>
                  <a:gdLst>
                    <a:gd name="connsiteX0" fmla="*/ 76166 w 81215"/>
                    <a:gd name="connsiteY0" fmla="*/ 79761 h 79760"/>
                    <a:gd name="connsiteX1" fmla="*/ 71146 w 81215"/>
                    <a:gd name="connsiteY1" fmla="*/ 74740 h 79760"/>
                    <a:gd name="connsiteX2" fmla="*/ 71146 w 81215"/>
                    <a:gd name="connsiteY2" fmla="*/ 43560 h 79760"/>
                    <a:gd name="connsiteX3" fmla="*/ 41735 w 81215"/>
                    <a:gd name="connsiteY3" fmla="*/ 19056 h 79760"/>
                    <a:gd name="connsiteX4" fmla="*/ 13408 w 81215"/>
                    <a:gd name="connsiteY4" fmla="*/ 19056 h 79760"/>
                    <a:gd name="connsiteX5" fmla="*/ 4022 w 81215"/>
                    <a:gd name="connsiteY5" fmla="*/ 15404 h 79760"/>
                    <a:gd name="connsiteX6" fmla="*/ 0 w 81215"/>
                    <a:gd name="connsiteY6" fmla="*/ 5021 h 79760"/>
                    <a:gd name="connsiteX7" fmla="*/ 4992 w 81215"/>
                    <a:gd name="connsiteY7" fmla="*/ 0 h 79760"/>
                    <a:gd name="connsiteX8" fmla="*/ 5021 w 81215"/>
                    <a:gd name="connsiteY8" fmla="*/ 0 h 79760"/>
                    <a:gd name="connsiteX9" fmla="*/ 10041 w 81215"/>
                    <a:gd name="connsiteY9" fmla="*/ 4992 h 79760"/>
                    <a:gd name="connsiteX10" fmla="*/ 13350 w 81215"/>
                    <a:gd name="connsiteY10" fmla="*/ 9043 h 79760"/>
                    <a:gd name="connsiteX11" fmla="*/ 41792 w 81215"/>
                    <a:gd name="connsiteY11" fmla="*/ 9043 h 79760"/>
                    <a:gd name="connsiteX12" fmla="*/ 81216 w 81215"/>
                    <a:gd name="connsiteY12" fmla="*/ 43560 h 79760"/>
                    <a:gd name="connsiteX13" fmla="*/ 81216 w 81215"/>
                    <a:gd name="connsiteY13" fmla="*/ 74740 h 79760"/>
                    <a:gd name="connsiteX14" fmla="*/ 76166 w 81215"/>
                    <a:gd name="connsiteY14" fmla="*/ 79761 h 79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1215" h="79760">
                      <a:moveTo>
                        <a:pt x="76166" y="79761"/>
                      </a:moveTo>
                      <a:cubicBezTo>
                        <a:pt x="73399" y="79761"/>
                        <a:pt x="71146" y="77507"/>
                        <a:pt x="71146" y="74740"/>
                      </a:cubicBezTo>
                      <a:lnTo>
                        <a:pt x="71146" y="43560"/>
                      </a:lnTo>
                      <a:cubicBezTo>
                        <a:pt x="71146" y="19484"/>
                        <a:pt x="42933" y="19056"/>
                        <a:pt x="41735" y="19056"/>
                      </a:cubicBezTo>
                      <a:lnTo>
                        <a:pt x="13408" y="19056"/>
                      </a:lnTo>
                      <a:cubicBezTo>
                        <a:pt x="13008" y="19027"/>
                        <a:pt x="7931" y="19141"/>
                        <a:pt x="4022" y="15404"/>
                      </a:cubicBezTo>
                      <a:cubicBezTo>
                        <a:pt x="2197" y="13664"/>
                        <a:pt x="29" y="10441"/>
                        <a:pt x="0" y="5021"/>
                      </a:cubicBezTo>
                      <a:cubicBezTo>
                        <a:pt x="0" y="2254"/>
                        <a:pt x="2225" y="0"/>
                        <a:pt x="4992" y="0"/>
                      </a:cubicBezTo>
                      <a:cubicBezTo>
                        <a:pt x="4992" y="0"/>
                        <a:pt x="5021" y="0"/>
                        <a:pt x="5021" y="0"/>
                      </a:cubicBezTo>
                      <a:cubicBezTo>
                        <a:pt x="7759" y="0"/>
                        <a:pt x="10013" y="2225"/>
                        <a:pt x="10041" y="4992"/>
                      </a:cubicBezTo>
                      <a:cubicBezTo>
                        <a:pt x="10041" y="6105"/>
                        <a:pt x="10070" y="9043"/>
                        <a:pt x="13350" y="9043"/>
                      </a:cubicBezTo>
                      <a:lnTo>
                        <a:pt x="41792" y="9043"/>
                      </a:lnTo>
                      <a:cubicBezTo>
                        <a:pt x="55427" y="9043"/>
                        <a:pt x="81216" y="16260"/>
                        <a:pt x="81216" y="43560"/>
                      </a:cubicBezTo>
                      <a:lnTo>
                        <a:pt x="81216" y="74740"/>
                      </a:lnTo>
                      <a:cubicBezTo>
                        <a:pt x="81187" y="77536"/>
                        <a:pt x="78934" y="79761"/>
                        <a:pt x="76166" y="79761"/>
                      </a:cubicBezTo>
                      <a:close/>
                    </a:path>
                  </a:pathLst>
                </a:custGeom>
                <a:solidFill>
                  <a:schemeClr val="accent1"/>
                </a:solidFill>
                <a:ln w="2848" cap="flat">
                  <a:noFill/>
                  <a:prstDash val="solid"/>
                  <a:miter/>
                </a:ln>
              </p:spPr>
              <p:txBody>
                <a:bodyPr rtlCol="0" anchor="ctr"/>
                <a:lstStyle/>
                <a:p>
                  <a:endParaRPr lang="en-GB" dirty="0"/>
                </a:p>
              </p:txBody>
            </p:sp>
          </p:grpSp>
          <p:sp>
            <p:nvSpPr>
              <p:cNvPr id="385" name="Freihandform: Form 384">
                <a:extLst>
                  <a:ext uri="{FF2B5EF4-FFF2-40B4-BE49-F238E27FC236}">
                    <a16:creationId xmlns:a16="http://schemas.microsoft.com/office/drawing/2014/main" id="{2CFD169E-24E5-4E07-93F9-A0514B65C729}"/>
                  </a:ext>
                </a:extLst>
              </p:cNvPr>
              <p:cNvSpPr/>
              <p:nvPr/>
            </p:nvSpPr>
            <p:spPr>
              <a:xfrm>
                <a:off x="3560008" y="1881558"/>
                <a:ext cx="106604" cy="119526"/>
              </a:xfrm>
              <a:custGeom>
                <a:avLst/>
                <a:gdLst>
                  <a:gd name="connsiteX0" fmla="*/ 53288 w 106604"/>
                  <a:gd name="connsiteY0" fmla="*/ 119527 h 119526"/>
                  <a:gd name="connsiteX1" fmla="*/ 0 w 106604"/>
                  <a:gd name="connsiteY1" fmla="*/ 59763 h 119526"/>
                  <a:gd name="connsiteX2" fmla="*/ 53288 w 106604"/>
                  <a:gd name="connsiteY2" fmla="*/ 0 h 119526"/>
                  <a:gd name="connsiteX3" fmla="*/ 106604 w 106604"/>
                  <a:gd name="connsiteY3" fmla="*/ 59763 h 119526"/>
                  <a:gd name="connsiteX4" fmla="*/ 53288 w 106604"/>
                  <a:gd name="connsiteY4" fmla="*/ 119527 h 119526"/>
                  <a:gd name="connsiteX5" fmla="*/ 53288 w 106604"/>
                  <a:gd name="connsiteY5" fmla="*/ 10041 h 119526"/>
                  <a:gd name="connsiteX6" fmla="*/ 10013 w 106604"/>
                  <a:gd name="connsiteY6" fmla="*/ 59763 h 119526"/>
                  <a:gd name="connsiteX7" fmla="*/ 53288 w 106604"/>
                  <a:gd name="connsiteY7" fmla="*/ 109514 h 119526"/>
                  <a:gd name="connsiteX8" fmla="*/ 96591 w 106604"/>
                  <a:gd name="connsiteY8" fmla="*/ 59763 h 119526"/>
                  <a:gd name="connsiteX9" fmla="*/ 53288 w 106604"/>
                  <a:gd name="connsiteY9" fmla="*/ 10041 h 11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604" h="119526">
                    <a:moveTo>
                      <a:pt x="53288" y="119527"/>
                    </a:moveTo>
                    <a:cubicBezTo>
                      <a:pt x="23905" y="119527"/>
                      <a:pt x="0" y="92712"/>
                      <a:pt x="0" y="59763"/>
                    </a:cubicBezTo>
                    <a:cubicBezTo>
                      <a:pt x="0" y="26815"/>
                      <a:pt x="23905" y="0"/>
                      <a:pt x="53288" y="0"/>
                    </a:cubicBezTo>
                    <a:cubicBezTo>
                      <a:pt x="82699" y="0"/>
                      <a:pt x="106604" y="26815"/>
                      <a:pt x="106604" y="59763"/>
                    </a:cubicBezTo>
                    <a:cubicBezTo>
                      <a:pt x="106604" y="92712"/>
                      <a:pt x="82670" y="119527"/>
                      <a:pt x="53288" y="119527"/>
                    </a:cubicBezTo>
                    <a:close/>
                    <a:moveTo>
                      <a:pt x="53288" y="10041"/>
                    </a:moveTo>
                    <a:cubicBezTo>
                      <a:pt x="29440" y="10041"/>
                      <a:pt x="10013" y="32349"/>
                      <a:pt x="10013" y="59763"/>
                    </a:cubicBezTo>
                    <a:cubicBezTo>
                      <a:pt x="10013" y="87178"/>
                      <a:pt x="29440" y="109514"/>
                      <a:pt x="53288" y="109514"/>
                    </a:cubicBezTo>
                    <a:cubicBezTo>
                      <a:pt x="77165" y="109514"/>
                      <a:pt x="96591" y="87206"/>
                      <a:pt x="96591" y="59763"/>
                    </a:cubicBezTo>
                    <a:cubicBezTo>
                      <a:pt x="96591" y="32349"/>
                      <a:pt x="77165" y="10041"/>
                      <a:pt x="53288" y="10041"/>
                    </a:cubicBezTo>
                    <a:close/>
                  </a:path>
                </a:pathLst>
              </a:custGeom>
              <a:solidFill>
                <a:schemeClr val="accent1"/>
              </a:solidFill>
              <a:ln w="2848" cap="flat">
                <a:noFill/>
                <a:prstDash val="solid"/>
                <a:miter/>
              </a:ln>
            </p:spPr>
            <p:txBody>
              <a:bodyPr rtlCol="0" anchor="ctr"/>
              <a:lstStyle/>
              <a:p>
                <a:endParaRPr lang="en-GB" dirty="0"/>
              </a:p>
            </p:txBody>
          </p:sp>
        </p:grpSp>
        <p:grpSp>
          <p:nvGrpSpPr>
            <p:cNvPr id="365" name="Group 952">
              <a:extLst>
                <a:ext uri="{FF2B5EF4-FFF2-40B4-BE49-F238E27FC236}">
                  <a16:creationId xmlns:a16="http://schemas.microsoft.com/office/drawing/2014/main" id="{E99C3B93-E293-4AAC-B8D5-163DBBB08186}"/>
                </a:ext>
              </a:extLst>
            </p:cNvPr>
            <p:cNvGrpSpPr/>
            <p:nvPr/>
          </p:nvGrpSpPr>
          <p:grpSpPr>
            <a:xfrm>
              <a:off x="4879455" y="2456446"/>
              <a:ext cx="589838" cy="414187"/>
              <a:chOff x="3348825" y="1704208"/>
              <a:chExt cx="528971" cy="371446"/>
            </a:xfrm>
            <a:solidFill>
              <a:schemeClr val="tx2"/>
            </a:solidFill>
          </p:grpSpPr>
          <p:grpSp>
            <p:nvGrpSpPr>
              <p:cNvPr id="366" name="Grafik 137">
                <a:extLst>
                  <a:ext uri="{FF2B5EF4-FFF2-40B4-BE49-F238E27FC236}">
                    <a16:creationId xmlns:a16="http://schemas.microsoft.com/office/drawing/2014/main" id="{A917E8EF-0C55-4ED3-9BE3-5B0049A63CC3}"/>
                  </a:ext>
                </a:extLst>
              </p:cNvPr>
              <p:cNvGrpSpPr/>
              <p:nvPr/>
            </p:nvGrpSpPr>
            <p:grpSpPr>
              <a:xfrm>
                <a:off x="3408246" y="1704208"/>
                <a:ext cx="410071" cy="220254"/>
                <a:chOff x="3408246" y="1704208"/>
                <a:chExt cx="410071" cy="220254"/>
              </a:xfrm>
              <a:grpFill/>
            </p:grpSpPr>
            <p:grpSp>
              <p:nvGrpSpPr>
                <p:cNvPr id="370" name="Grafik 137">
                  <a:extLst>
                    <a:ext uri="{FF2B5EF4-FFF2-40B4-BE49-F238E27FC236}">
                      <a16:creationId xmlns:a16="http://schemas.microsoft.com/office/drawing/2014/main" id="{31755C27-83CC-4CC2-A28C-00F4B3350AC9}"/>
                    </a:ext>
                  </a:extLst>
                </p:cNvPr>
                <p:cNvGrpSpPr/>
                <p:nvPr/>
              </p:nvGrpSpPr>
              <p:grpSpPr>
                <a:xfrm>
                  <a:off x="3408246" y="1704208"/>
                  <a:ext cx="169220" cy="220254"/>
                  <a:chOff x="3408246" y="1704208"/>
                  <a:chExt cx="169220" cy="220254"/>
                </a:xfrm>
                <a:grpFill/>
              </p:grpSpPr>
              <p:grpSp>
                <p:nvGrpSpPr>
                  <p:cNvPr id="378" name="Grafik 137">
                    <a:extLst>
                      <a:ext uri="{FF2B5EF4-FFF2-40B4-BE49-F238E27FC236}">
                        <a16:creationId xmlns:a16="http://schemas.microsoft.com/office/drawing/2014/main" id="{03E251BD-A788-4596-8C20-A453B02B17FB}"/>
                      </a:ext>
                    </a:extLst>
                  </p:cNvPr>
                  <p:cNvGrpSpPr/>
                  <p:nvPr/>
                </p:nvGrpSpPr>
                <p:grpSpPr>
                  <a:xfrm>
                    <a:off x="3408246" y="1812267"/>
                    <a:ext cx="169220" cy="112195"/>
                    <a:chOff x="3408246" y="1812267"/>
                    <a:chExt cx="169220" cy="112195"/>
                  </a:xfrm>
                  <a:grpFill/>
                </p:grpSpPr>
                <p:sp>
                  <p:nvSpPr>
                    <p:cNvPr id="380" name="Freihandform: Form 379">
                      <a:extLst>
                        <a:ext uri="{FF2B5EF4-FFF2-40B4-BE49-F238E27FC236}">
                          <a16:creationId xmlns:a16="http://schemas.microsoft.com/office/drawing/2014/main" id="{5194011D-911B-4465-A8FA-8348E7EFEA28}"/>
                        </a:ext>
                      </a:extLst>
                    </p:cNvPr>
                    <p:cNvSpPr/>
                    <p:nvPr/>
                  </p:nvSpPr>
                  <p:spPr>
                    <a:xfrm>
                      <a:off x="3438884" y="1873114"/>
                      <a:ext cx="10041" cy="43275"/>
                    </a:xfrm>
                    <a:custGeom>
                      <a:avLst/>
                      <a:gdLst>
                        <a:gd name="connsiteX0" fmla="*/ 5021 w 10041"/>
                        <a:gd name="connsiteY0" fmla="*/ 43275 h 43275"/>
                        <a:gd name="connsiteX1" fmla="*/ 0 w 10041"/>
                        <a:gd name="connsiteY1" fmla="*/ 38254 h 43275"/>
                        <a:gd name="connsiteX2" fmla="*/ 0 w 10041"/>
                        <a:gd name="connsiteY2" fmla="*/ 5021 h 43275"/>
                        <a:gd name="connsiteX3" fmla="*/ 5021 w 10041"/>
                        <a:gd name="connsiteY3" fmla="*/ 0 h 43275"/>
                        <a:gd name="connsiteX4" fmla="*/ 10041 w 10041"/>
                        <a:gd name="connsiteY4" fmla="*/ 5021 h 43275"/>
                        <a:gd name="connsiteX5" fmla="*/ 10041 w 10041"/>
                        <a:gd name="connsiteY5" fmla="*/ 38254 h 43275"/>
                        <a:gd name="connsiteX6" fmla="*/ 5021 w 10041"/>
                        <a:gd name="connsiteY6" fmla="*/ 43275 h 4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43275">
                          <a:moveTo>
                            <a:pt x="5021" y="43275"/>
                          </a:moveTo>
                          <a:cubicBezTo>
                            <a:pt x="2254" y="43275"/>
                            <a:pt x="0" y="41021"/>
                            <a:pt x="0" y="38254"/>
                          </a:cubicBezTo>
                          <a:lnTo>
                            <a:pt x="0" y="5021"/>
                          </a:lnTo>
                          <a:cubicBezTo>
                            <a:pt x="0" y="2254"/>
                            <a:pt x="2254" y="0"/>
                            <a:pt x="5021" y="0"/>
                          </a:cubicBezTo>
                          <a:cubicBezTo>
                            <a:pt x="7788" y="0"/>
                            <a:pt x="10041" y="2254"/>
                            <a:pt x="10041" y="5021"/>
                          </a:cubicBezTo>
                          <a:lnTo>
                            <a:pt x="10041" y="38254"/>
                          </a:lnTo>
                          <a:cubicBezTo>
                            <a:pt x="10041" y="41021"/>
                            <a:pt x="7788" y="43275"/>
                            <a:pt x="5021" y="43275"/>
                          </a:cubicBezTo>
                          <a:close/>
                        </a:path>
                      </a:pathLst>
                    </a:custGeom>
                    <a:grpFill/>
                    <a:ln w="2848" cap="flat">
                      <a:noFill/>
                      <a:prstDash val="solid"/>
                      <a:miter/>
                    </a:ln>
                  </p:spPr>
                  <p:txBody>
                    <a:bodyPr rtlCol="0" anchor="ctr"/>
                    <a:lstStyle/>
                    <a:p>
                      <a:endParaRPr lang="en-GB" dirty="0"/>
                    </a:p>
                  </p:txBody>
                </p:sp>
                <p:sp>
                  <p:nvSpPr>
                    <p:cNvPr id="381" name="Freihandform: Form 380">
                      <a:extLst>
                        <a:ext uri="{FF2B5EF4-FFF2-40B4-BE49-F238E27FC236}">
                          <a16:creationId xmlns:a16="http://schemas.microsoft.com/office/drawing/2014/main" id="{D04F89BE-4DDF-4CE0-A425-310008AC970B}"/>
                        </a:ext>
                      </a:extLst>
                    </p:cNvPr>
                    <p:cNvSpPr/>
                    <p:nvPr/>
                  </p:nvSpPr>
                  <p:spPr>
                    <a:xfrm>
                      <a:off x="3408246" y="1812267"/>
                      <a:ext cx="71060" cy="112195"/>
                    </a:xfrm>
                    <a:custGeom>
                      <a:avLst/>
                      <a:gdLst>
                        <a:gd name="connsiteX0" fmla="*/ 5021 w 71060"/>
                        <a:gd name="connsiteY0" fmla="*/ 112196 h 112195"/>
                        <a:gd name="connsiteX1" fmla="*/ 0 w 71060"/>
                        <a:gd name="connsiteY1" fmla="*/ 107175 h 112195"/>
                        <a:gd name="connsiteX2" fmla="*/ 0 w 71060"/>
                        <a:gd name="connsiteY2" fmla="*/ 37056 h 112195"/>
                        <a:gd name="connsiteX3" fmla="*/ 9699 w 71060"/>
                        <a:gd name="connsiteY3" fmla="*/ 15547 h 112195"/>
                        <a:gd name="connsiteX4" fmla="*/ 33576 w 71060"/>
                        <a:gd name="connsiteY4" fmla="*/ 7531 h 112195"/>
                        <a:gd name="connsiteX5" fmla="*/ 57082 w 71060"/>
                        <a:gd name="connsiteY5" fmla="*/ 7531 h 112195"/>
                        <a:gd name="connsiteX6" fmla="*/ 61019 w 71060"/>
                        <a:gd name="connsiteY6" fmla="*/ 4935 h 112195"/>
                        <a:gd name="connsiteX7" fmla="*/ 66039 w 71060"/>
                        <a:gd name="connsiteY7" fmla="*/ 0 h 112195"/>
                        <a:gd name="connsiteX8" fmla="*/ 66125 w 71060"/>
                        <a:gd name="connsiteY8" fmla="*/ 0 h 112195"/>
                        <a:gd name="connsiteX9" fmla="*/ 71060 w 71060"/>
                        <a:gd name="connsiteY9" fmla="*/ 5078 h 112195"/>
                        <a:gd name="connsiteX10" fmla="*/ 57653 w 71060"/>
                        <a:gd name="connsiteY10" fmla="*/ 17515 h 112195"/>
                        <a:gd name="connsiteX11" fmla="*/ 33633 w 71060"/>
                        <a:gd name="connsiteY11" fmla="*/ 17544 h 112195"/>
                        <a:gd name="connsiteX12" fmla="*/ 16061 w 71060"/>
                        <a:gd name="connsiteY12" fmla="*/ 23306 h 112195"/>
                        <a:gd name="connsiteX13" fmla="*/ 10041 w 71060"/>
                        <a:gd name="connsiteY13" fmla="*/ 37028 h 112195"/>
                        <a:gd name="connsiteX14" fmla="*/ 10041 w 71060"/>
                        <a:gd name="connsiteY14" fmla="*/ 107146 h 112195"/>
                        <a:gd name="connsiteX15" fmla="*/ 5021 w 71060"/>
                        <a:gd name="connsiteY15" fmla="*/ 112196 h 112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060" h="112195">
                          <a:moveTo>
                            <a:pt x="5021" y="112196"/>
                          </a:moveTo>
                          <a:cubicBezTo>
                            <a:pt x="2254" y="112196"/>
                            <a:pt x="0" y="109942"/>
                            <a:pt x="0" y="107175"/>
                          </a:cubicBezTo>
                          <a:lnTo>
                            <a:pt x="0" y="37056"/>
                          </a:lnTo>
                          <a:cubicBezTo>
                            <a:pt x="0" y="28156"/>
                            <a:pt x="3366" y="20710"/>
                            <a:pt x="9699" y="15547"/>
                          </a:cubicBezTo>
                          <a:cubicBezTo>
                            <a:pt x="19427" y="7645"/>
                            <a:pt x="33005" y="7531"/>
                            <a:pt x="33576" y="7531"/>
                          </a:cubicBezTo>
                          <a:lnTo>
                            <a:pt x="57082" y="7531"/>
                          </a:lnTo>
                          <a:cubicBezTo>
                            <a:pt x="56911" y="7503"/>
                            <a:pt x="60990" y="6818"/>
                            <a:pt x="61019" y="4935"/>
                          </a:cubicBezTo>
                          <a:cubicBezTo>
                            <a:pt x="61076" y="2197"/>
                            <a:pt x="63301" y="0"/>
                            <a:pt x="66039" y="0"/>
                          </a:cubicBezTo>
                          <a:cubicBezTo>
                            <a:pt x="66068" y="0"/>
                            <a:pt x="66096" y="0"/>
                            <a:pt x="66125" y="0"/>
                          </a:cubicBezTo>
                          <a:cubicBezTo>
                            <a:pt x="68892" y="57"/>
                            <a:pt x="71089" y="2311"/>
                            <a:pt x="71060" y="5078"/>
                          </a:cubicBezTo>
                          <a:cubicBezTo>
                            <a:pt x="70946" y="12694"/>
                            <a:pt x="64014" y="16859"/>
                            <a:pt x="57653" y="17515"/>
                          </a:cubicBezTo>
                          <a:lnTo>
                            <a:pt x="33633" y="17544"/>
                          </a:lnTo>
                          <a:cubicBezTo>
                            <a:pt x="33547" y="17544"/>
                            <a:pt x="22993" y="17658"/>
                            <a:pt x="16061" y="23306"/>
                          </a:cubicBezTo>
                          <a:cubicBezTo>
                            <a:pt x="12010" y="26587"/>
                            <a:pt x="10041" y="31094"/>
                            <a:pt x="10041" y="37028"/>
                          </a:cubicBezTo>
                          <a:lnTo>
                            <a:pt x="10041" y="107146"/>
                          </a:lnTo>
                          <a:cubicBezTo>
                            <a:pt x="10041" y="109942"/>
                            <a:pt x="7788" y="112196"/>
                            <a:pt x="5021" y="112196"/>
                          </a:cubicBezTo>
                          <a:close/>
                        </a:path>
                      </a:pathLst>
                    </a:custGeom>
                    <a:grpFill/>
                    <a:ln w="2848" cap="flat">
                      <a:noFill/>
                      <a:prstDash val="solid"/>
                      <a:miter/>
                    </a:ln>
                  </p:spPr>
                  <p:txBody>
                    <a:bodyPr rtlCol="0" anchor="ctr"/>
                    <a:lstStyle/>
                    <a:p>
                      <a:endParaRPr lang="en-GB" dirty="0"/>
                    </a:p>
                  </p:txBody>
                </p:sp>
                <p:sp>
                  <p:nvSpPr>
                    <p:cNvPr id="382" name="Freihandform: Form 381">
                      <a:extLst>
                        <a:ext uri="{FF2B5EF4-FFF2-40B4-BE49-F238E27FC236}">
                          <a16:creationId xmlns:a16="http://schemas.microsoft.com/office/drawing/2014/main" id="{FD1E5FBD-18F4-4DC4-A855-E3589937C418}"/>
                        </a:ext>
                      </a:extLst>
                    </p:cNvPr>
                    <p:cNvSpPr/>
                    <p:nvPr/>
                  </p:nvSpPr>
                  <p:spPr>
                    <a:xfrm>
                      <a:off x="3536845" y="1873628"/>
                      <a:ext cx="10041" cy="23848"/>
                    </a:xfrm>
                    <a:custGeom>
                      <a:avLst/>
                      <a:gdLst>
                        <a:gd name="connsiteX0" fmla="*/ 5021 w 10041"/>
                        <a:gd name="connsiteY0" fmla="*/ 23848 h 23848"/>
                        <a:gd name="connsiteX1" fmla="*/ 0 w 10041"/>
                        <a:gd name="connsiteY1" fmla="*/ 18828 h 23848"/>
                        <a:gd name="connsiteX2" fmla="*/ 0 w 10041"/>
                        <a:gd name="connsiteY2" fmla="*/ 5021 h 23848"/>
                        <a:gd name="connsiteX3" fmla="*/ 5021 w 10041"/>
                        <a:gd name="connsiteY3" fmla="*/ 0 h 23848"/>
                        <a:gd name="connsiteX4" fmla="*/ 10041 w 10041"/>
                        <a:gd name="connsiteY4" fmla="*/ 5021 h 23848"/>
                        <a:gd name="connsiteX5" fmla="*/ 10041 w 10041"/>
                        <a:gd name="connsiteY5" fmla="*/ 18828 h 23848"/>
                        <a:gd name="connsiteX6" fmla="*/ 5021 w 10041"/>
                        <a:gd name="connsiteY6" fmla="*/ 23848 h 2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23848">
                          <a:moveTo>
                            <a:pt x="5021" y="23848"/>
                          </a:moveTo>
                          <a:cubicBezTo>
                            <a:pt x="2254" y="23848"/>
                            <a:pt x="0" y="21595"/>
                            <a:pt x="0" y="18828"/>
                          </a:cubicBezTo>
                          <a:lnTo>
                            <a:pt x="0" y="5021"/>
                          </a:lnTo>
                          <a:cubicBezTo>
                            <a:pt x="0" y="2254"/>
                            <a:pt x="2254" y="0"/>
                            <a:pt x="5021" y="0"/>
                          </a:cubicBezTo>
                          <a:cubicBezTo>
                            <a:pt x="7788" y="0"/>
                            <a:pt x="10041" y="2254"/>
                            <a:pt x="10041" y="5021"/>
                          </a:cubicBezTo>
                          <a:lnTo>
                            <a:pt x="10041" y="18828"/>
                          </a:lnTo>
                          <a:cubicBezTo>
                            <a:pt x="10013" y="21595"/>
                            <a:pt x="7788" y="23848"/>
                            <a:pt x="5021" y="23848"/>
                          </a:cubicBezTo>
                          <a:close/>
                        </a:path>
                      </a:pathLst>
                    </a:custGeom>
                    <a:grpFill/>
                    <a:ln w="2848" cap="flat">
                      <a:noFill/>
                      <a:prstDash val="solid"/>
                      <a:miter/>
                    </a:ln>
                  </p:spPr>
                  <p:txBody>
                    <a:bodyPr rtlCol="0" anchor="ctr"/>
                    <a:lstStyle/>
                    <a:p>
                      <a:endParaRPr lang="en-GB" dirty="0"/>
                    </a:p>
                  </p:txBody>
                </p:sp>
                <p:sp>
                  <p:nvSpPr>
                    <p:cNvPr id="383" name="Freihandform: Form 382">
                      <a:extLst>
                        <a:ext uri="{FF2B5EF4-FFF2-40B4-BE49-F238E27FC236}">
                          <a16:creationId xmlns:a16="http://schemas.microsoft.com/office/drawing/2014/main" id="{5C7297C9-5C19-4245-B780-DFE05BD8F863}"/>
                        </a:ext>
                      </a:extLst>
                    </p:cNvPr>
                    <p:cNvSpPr/>
                    <p:nvPr/>
                  </p:nvSpPr>
                  <p:spPr>
                    <a:xfrm>
                      <a:off x="3508346" y="1812295"/>
                      <a:ext cx="69120" cy="71801"/>
                    </a:xfrm>
                    <a:custGeom>
                      <a:avLst/>
                      <a:gdLst>
                        <a:gd name="connsiteX0" fmla="*/ 64128 w 69120"/>
                        <a:gd name="connsiteY0" fmla="*/ 71802 h 71801"/>
                        <a:gd name="connsiteX1" fmla="*/ 59107 w 69120"/>
                        <a:gd name="connsiteY1" fmla="*/ 66781 h 71801"/>
                        <a:gd name="connsiteX2" fmla="*/ 59107 w 69120"/>
                        <a:gd name="connsiteY2" fmla="*/ 37028 h 71801"/>
                        <a:gd name="connsiteX3" fmla="*/ 35544 w 69120"/>
                        <a:gd name="connsiteY3" fmla="*/ 17544 h 71801"/>
                        <a:gd name="connsiteX4" fmla="*/ 12010 w 69120"/>
                        <a:gd name="connsiteY4" fmla="*/ 17544 h 71801"/>
                        <a:gd name="connsiteX5" fmla="*/ 3623 w 69120"/>
                        <a:gd name="connsiteY5" fmla="*/ 14292 h 71801"/>
                        <a:gd name="connsiteX6" fmla="*/ 0 w 69120"/>
                        <a:gd name="connsiteY6" fmla="*/ 5049 h 71801"/>
                        <a:gd name="connsiteX7" fmla="*/ 4964 w 69120"/>
                        <a:gd name="connsiteY7" fmla="*/ 0 h 71801"/>
                        <a:gd name="connsiteX8" fmla="*/ 4992 w 69120"/>
                        <a:gd name="connsiteY8" fmla="*/ 0 h 71801"/>
                        <a:gd name="connsiteX9" fmla="*/ 10013 w 69120"/>
                        <a:gd name="connsiteY9" fmla="*/ 4992 h 71801"/>
                        <a:gd name="connsiteX10" fmla="*/ 10555 w 69120"/>
                        <a:gd name="connsiteY10" fmla="*/ 7046 h 71801"/>
                        <a:gd name="connsiteX11" fmla="*/ 11810 w 69120"/>
                        <a:gd name="connsiteY11" fmla="*/ 7531 h 71801"/>
                        <a:gd name="connsiteX12" fmla="*/ 11810 w 69120"/>
                        <a:gd name="connsiteY12" fmla="*/ 7531 h 71801"/>
                        <a:gd name="connsiteX13" fmla="*/ 35544 w 69120"/>
                        <a:gd name="connsiteY13" fmla="*/ 7531 h 71801"/>
                        <a:gd name="connsiteX14" fmla="*/ 69120 w 69120"/>
                        <a:gd name="connsiteY14" fmla="*/ 37028 h 71801"/>
                        <a:gd name="connsiteX15" fmla="*/ 69120 w 69120"/>
                        <a:gd name="connsiteY15" fmla="*/ 66810 h 71801"/>
                        <a:gd name="connsiteX16" fmla="*/ 64128 w 69120"/>
                        <a:gd name="connsiteY16" fmla="*/ 71802 h 7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9120" h="71801">
                          <a:moveTo>
                            <a:pt x="64128" y="71802"/>
                          </a:moveTo>
                          <a:cubicBezTo>
                            <a:pt x="61361" y="71802"/>
                            <a:pt x="59107" y="69548"/>
                            <a:pt x="59107" y="66781"/>
                          </a:cubicBezTo>
                          <a:lnTo>
                            <a:pt x="59107" y="37028"/>
                          </a:lnTo>
                          <a:cubicBezTo>
                            <a:pt x="59107" y="18200"/>
                            <a:pt x="37941" y="17544"/>
                            <a:pt x="35544" y="17544"/>
                          </a:cubicBezTo>
                          <a:lnTo>
                            <a:pt x="12010" y="17544"/>
                          </a:lnTo>
                          <a:cubicBezTo>
                            <a:pt x="11354" y="17601"/>
                            <a:pt x="7046" y="17572"/>
                            <a:pt x="3623" y="14292"/>
                          </a:cubicBezTo>
                          <a:cubicBezTo>
                            <a:pt x="1997" y="12723"/>
                            <a:pt x="28" y="9842"/>
                            <a:pt x="0" y="5049"/>
                          </a:cubicBezTo>
                          <a:cubicBezTo>
                            <a:pt x="0" y="2282"/>
                            <a:pt x="2225" y="29"/>
                            <a:pt x="4964" y="0"/>
                          </a:cubicBezTo>
                          <a:cubicBezTo>
                            <a:pt x="4964" y="0"/>
                            <a:pt x="4992" y="0"/>
                            <a:pt x="4992" y="0"/>
                          </a:cubicBezTo>
                          <a:cubicBezTo>
                            <a:pt x="7759" y="0"/>
                            <a:pt x="9984" y="2225"/>
                            <a:pt x="10013" y="4992"/>
                          </a:cubicBezTo>
                          <a:cubicBezTo>
                            <a:pt x="10013" y="5991"/>
                            <a:pt x="10212" y="6732"/>
                            <a:pt x="10555" y="7046"/>
                          </a:cubicBezTo>
                          <a:cubicBezTo>
                            <a:pt x="10954" y="7445"/>
                            <a:pt x="11810" y="7531"/>
                            <a:pt x="11810" y="7531"/>
                          </a:cubicBezTo>
                          <a:lnTo>
                            <a:pt x="11810" y="7531"/>
                          </a:lnTo>
                          <a:lnTo>
                            <a:pt x="35544" y="7531"/>
                          </a:lnTo>
                          <a:cubicBezTo>
                            <a:pt x="47155" y="7531"/>
                            <a:pt x="69120" y="13693"/>
                            <a:pt x="69120" y="37028"/>
                          </a:cubicBezTo>
                          <a:lnTo>
                            <a:pt x="69120" y="66810"/>
                          </a:lnTo>
                          <a:cubicBezTo>
                            <a:pt x="69149" y="69577"/>
                            <a:pt x="66895" y="71802"/>
                            <a:pt x="64128" y="71802"/>
                          </a:cubicBezTo>
                          <a:close/>
                        </a:path>
                      </a:pathLst>
                    </a:custGeom>
                    <a:grpFill/>
                    <a:ln w="2848" cap="flat">
                      <a:noFill/>
                      <a:prstDash val="solid"/>
                      <a:miter/>
                    </a:ln>
                  </p:spPr>
                  <p:txBody>
                    <a:bodyPr rtlCol="0" anchor="ctr"/>
                    <a:lstStyle/>
                    <a:p>
                      <a:endParaRPr lang="en-GB" dirty="0"/>
                    </a:p>
                  </p:txBody>
                </p:sp>
              </p:grpSp>
              <p:sp>
                <p:nvSpPr>
                  <p:cNvPr id="379" name="Freihandform: Form 378">
                    <a:extLst>
                      <a:ext uri="{FF2B5EF4-FFF2-40B4-BE49-F238E27FC236}">
                        <a16:creationId xmlns:a16="http://schemas.microsoft.com/office/drawing/2014/main" id="{98009CFC-B8C7-4B88-9844-D79FD0D4BE4D}"/>
                      </a:ext>
                    </a:extLst>
                  </p:cNvPr>
                  <p:cNvSpPr/>
                  <p:nvPr/>
                </p:nvSpPr>
                <p:spPr>
                  <a:xfrm>
                    <a:off x="3449239" y="1704208"/>
                    <a:ext cx="90201" cy="100927"/>
                  </a:xfrm>
                  <a:custGeom>
                    <a:avLst/>
                    <a:gdLst>
                      <a:gd name="connsiteX0" fmla="*/ 45101 w 90201"/>
                      <a:gd name="connsiteY0" fmla="*/ 100928 h 100927"/>
                      <a:gd name="connsiteX1" fmla="*/ 0 w 90201"/>
                      <a:gd name="connsiteY1" fmla="*/ 50464 h 100927"/>
                      <a:gd name="connsiteX2" fmla="*/ 45101 w 90201"/>
                      <a:gd name="connsiteY2" fmla="*/ 0 h 100927"/>
                      <a:gd name="connsiteX3" fmla="*/ 90202 w 90201"/>
                      <a:gd name="connsiteY3" fmla="*/ 50464 h 100927"/>
                      <a:gd name="connsiteX4" fmla="*/ 45101 w 90201"/>
                      <a:gd name="connsiteY4" fmla="*/ 100928 h 100927"/>
                      <a:gd name="connsiteX5" fmla="*/ 45101 w 90201"/>
                      <a:gd name="connsiteY5" fmla="*/ 10041 h 100927"/>
                      <a:gd name="connsiteX6" fmla="*/ 10013 w 90201"/>
                      <a:gd name="connsiteY6" fmla="*/ 50464 h 100927"/>
                      <a:gd name="connsiteX7" fmla="*/ 45101 w 90201"/>
                      <a:gd name="connsiteY7" fmla="*/ 90915 h 100927"/>
                      <a:gd name="connsiteX8" fmla="*/ 80189 w 90201"/>
                      <a:gd name="connsiteY8" fmla="*/ 50464 h 100927"/>
                      <a:gd name="connsiteX9" fmla="*/ 45101 w 90201"/>
                      <a:gd name="connsiteY9" fmla="*/ 10041 h 10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01" h="100927">
                        <a:moveTo>
                          <a:pt x="45101" y="100928"/>
                        </a:moveTo>
                        <a:cubicBezTo>
                          <a:pt x="20226" y="100928"/>
                          <a:pt x="0" y="78277"/>
                          <a:pt x="0" y="50464"/>
                        </a:cubicBezTo>
                        <a:cubicBezTo>
                          <a:pt x="0" y="22650"/>
                          <a:pt x="20226" y="0"/>
                          <a:pt x="45101" y="0"/>
                        </a:cubicBezTo>
                        <a:cubicBezTo>
                          <a:pt x="69976" y="0"/>
                          <a:pt x="90202" y="22622"/>
                          <a:pt x="90202" y="50464"/>
                        </a:cubicBezTo>
                        <a:cubicBezTo>
                          <a:pt x="90230" y="78306"/>
                          <a:pt x="69976" y="100928"/>
                          <a:pt x="45101" y="100928"/>
                        </a:cubicBezTo>
                        <a:close/>
                        <a:moveTo>
                          <a:pt x="45101" y="10041"/>
                        </a:moveTo>
                        <a:cubicBezTo>
                          <a:pt x="25760" y="10041"/>
                          <a:pt x="10013" y="28184"/>
                          <a:pt x="10013" y="50464"/>
                        </a:cubicBezTo>
                        <a:cubicBezTo>
                          <a:pt x="10013" y="72772"/>
                          <a:pt x="25760" y="90915"/>
                          <a:pt x="45101" y="90915"/>
                        </a:cubicBezTo>
                        <a:cubicBezTo>
                          <a:pt x="64442" y="90915"/>
                          <a:pt x="80189" y="72772"/>
                          <a:pt x="80189" y="50464"/>
                        </a:cubicBezTo>
                        <a:cubicBezTo>
                          <a:pt x="80217" y="28184"/>
                          <a:pt x="64470" y="10041"/>
                          <a:pt x="45101" y="10041"/>
                        </a:cubicBezTo>
                        <a:close/>
                      </a:path>
                    </a:pathLst>
                  </a:custGeom>
                  <a:grpFill/>
                  <a:ln w="2848" cap="flat">
                    <a:noFill/>
                    <a:prstDash val="solid"/>
                    <a:miter/>
                  </a:ln>
                </p:spPr>
                <p:txBody>
                  <a:bodyPr rtlCol="0" anchor="ctr"/>
                  <a:lstStyle/>
                  <a:p>
                    <a:endParaRPr lang="en-GB" dirty="0"/>
                  </a:p>
                </p:txBody>
              </p:sp>
            </p:grpSp>
            <p:grpSp>
              <p:nvGrpSpPr>
                <p:cNvPr id="371" name="Grafik 137">
                  <a:extLst>
                    <a:ext uri="{FF2B5EF4-FFF2-40B4-BE49-F238E27FC236}">
                      <a16:creationId xmlns:a16="http://schemas.microsoft.com/office/drawing/2014/main" id="{311B78B2-8EFA-433B-949B-294AA486FA63}"/>
                    </a:ext>
                  </a:extLst>
                </p:cNvPr>
                <p:cNvGrpSpPr/>
                <p:nvPr/>
              </p:nvGrpSpPr>
              <p:grpSpPr>
                <a:xfrm>
                  <a:off x="3649097" y="1704208"/>
                  <a:ext cx="169220" cy="220254"/>
                  <a:chOff x="3649097" y="1704208"/>
                  <a:chExt cx="169220" cy="220254"/>
                </a:xfrm>
                <a:grpFill/>
              </p:grpSpPr>
              <p:grpSp>
                <p:nvGrpSpPr>
                  <p:cNvPr id="372" name="Grafik 137">
                    <a:extLst>
                      <a:ext uri="{FF2B5EF4-FFF2-40B4-BE49-F238E27FC236}">
                        <a16:creationId xmlns:a16="http://schemas.microsoft.com/office/drawing/2014/main" id="{1F36CB0A-E834-41A8-A581-6925076154C5}"/>
                      </a:ext>
                    </a:extLst>
                  </p:cNvPr>
                  <p:cNvGrpSpPr/>
                  <p:nvPr/>
                </p:nvGrpSpPr>
                <p:grpSpPr>
                  <a:xfrm>
                    <a:off x="3649097" y="1812295"/>
                    <a:ext cx="169220" cy="112167"/>
                    <a:chOff x="3649097" y="1812295"/>
                    <a:chExt cx="169220" cy="112167"/>
                  </a:xfrm>
                  <a:grpFill/>
                </p:grpSpPr>
                <p:sp>
                  <p:nvSpPr>
                    <p:cNvPr id="374" name="Freihandform: Form 373">
                      <a:extLst>
                        <a:ext uri="{FF2B5EF4-FFF2-40B4-BE49-F238E27FC236}">
                          <a16:creationId xmlns:a16="http://schemas.microsoft.com/office/drawing/2014/main" id="{E43231F2-5831-4435-9AB8-A575A2CD47AE}"/>
                        </a:ext>
                      </a:extLst>
                    </p:cNvPr>
                    <p:cNvSpPr/>
                    <p:nvPr/>
                  </p:nvSpPr>
                  <p:spPr>
                    <a:xfrm>
                      <a:off x="3777667" y="1873114"/>
                      <a:ext cx="10041" cy="43275"/>
                    </a:xfrm>
                    <a:custGeom>
                      <a:avLst/>
                      <a:gdLst>
                        <a:gd name="connsiteX0" fmla="*/ 5021 w 10041"/>
                        <a:gd name="connsiteY0" fmla="*/ 43275 h 43275"/>
                        <a:gd name="connsiteX1" fmla="*/ 0 w 10041"/>
                        <a:gd name="connsiteY1" fmla="*/ 38254 h 43275"/>
                        <a:gd name="connsiteX2" fmla="*/ 0 w 10041"/>
                        <a:gd name="connsiteY2" fmla="*/ 5021 h 43275"/>
                        <a:gd name="connsiteX3" fmla="*/ 5021 w 10041"/>
                        <a:gd name="connsiteY3" fmla="*/ 0 h 43275"/>
                        <a:gd name="connsiteX4" fmla="*/ 10041 w 10041"/>
                        <a:gd name="connsiteY4" fmla="*/ 5021 h 43275"/>
                        <a:gd name="connsiteX5" fmla="*/ 10041 w 10041"/>
                        <a:gd name="connsiteY5" fmla="*/ 38254 h 43275"/>
                        <a:gd name="connsiteX6" fmla="*/ 5021 w 10041"/>
                        <a:gd name="connsiteY6" fmla="*/ 43275 h 43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43275">
                          <a:moveTo>
                            <a:pt x="5021" y="43275"/>
                          </a:moveTo>
                          <a:cubicBezTo>
                            <a:pt x="2254" y="43275"/>
                            <a:pt x="0" y="41021"/>
                            <a:pt x="0" y="38254"/>
                          </a:cubicBezTo>
                          <a:lnTo>
                            <a:pt x="0" y="5021"/>
                          </a:lnTo>
                          <a:cubicBezTo>
                            <a:pt x="0" y="2254"/>
                            <a:pt x="2254" y="0"/>
                            <a:pt x="5021" y="0"/>
                          </a:cubicBezTo>
                          <a:cubicBezTo>
                            <a:pt x="7788" y="0"/>
                            <a:pt x="10041" y="2254"/>
                            <a:pt x="10041" y="5021"/>
                          </a:cubicBezTo>
                          <a:lnTo>
                            <a:pt x="10041" y="38254"/>
                          </a:lnTo>
                          <a:cubicBezTo>
                            <a:pt x="10041" y="41021"/>
                            <a:pt x="7788" y="43275"/>
                            <a:pt x="5021" y="43275"/>
                          </a:cubicBezTo>
                          <a:close/>
                        </a:path>
                      </a:pathLst>
                    </a:custGeom>
                    <a:grpFill/>
                    <a:ln w="2848" cap="flat">
                      <a:noFill/>
                      <a:prstDash val="solid"/>
                      <a:miter/>
                    </a:ln>
                  </p:spPr>
                  <p:txBody>
                    <a:bodyPr rtlCol="0" anchor="ctr"/>
                    <a:lstStyle/>
                    <a:p>
                      <a:endParaRPr lang="en-GB" dirty="0"/>
                    </a:p>
                  </p:txBody>
                </p:sp>
                <p:sp>
                  <p:nvSpPr>
                    <p:cNvPr id="375" name="Freihandform: Form 374">
                      <a:extLst>
                        <a:ext uri="{FF2B5EF4-FFF2-40B4-BE49-F238E27FC236}">
                          <a16:creationId xmlns:a16="http://schemas.microsoft.com/office/drawing/2014/main" id="{6CA18CFB-288E-4E7D-90F3-3BA1C5912D58}"/>
                        </a:ext>
                      </a:extLst>
                    </p:cNvPr>
                    <p:cNvSpPr/>
                    <p:nvPr/>
                  </p:nvSpPr>
                  <p:spPr>
                    <a:xfrm>
                      <a:off x="3747285" y="1812295"/>
                      <a:ext cx="71032" cy="112167"/>
                    </a:xfrm>
                    <a:custGeom>
                      <a:avLst/>
                      <a:gdLst>
                        <a:gd name="connsiteX0" fmla="*/ 66040 w 71032"/>
                        <a:gd name="connsiteY0" fmla="*/ 112167 h 112167"/>
                        <a:gd name="connsiteX1" fmla="*/ 61020 w 71032"/>
                        <a:gd name="connsiteY1" fmla="*/ 107146 h 112167"/>
                        <a:gd name="connsiteX2" fmla="*/ 61020 w 71032"/>
                        <a:gd name="connsiteY2" fmla="*/ 37028 h 112167"/>
                        <a:gd name="connsiteX3" fmla="*/ 55000 w 71032"/>
                        <a:gd name="connsiteY3" fmla="*/ 23306 h 112167"/>
                        <a:gd name="connsiteX4" fmla="*/ 37428 w 71032"/>
                        <a:gd name="connsiteY4" fmla="*/ 17544 h 112167"/>
                        <a:gd name="connsiteX5" fmla="*/ 13922 w 71032"/>
                        <a:gd name="connsiteY5" fmla="*/ 17544 h 112167"/>
                        <a:gd name="connsiteX6" fmla="*/ 1 w 71032"/>
                        <a:gd name="connsiteY6" fmla="*/ 5078 h 112167"/>
                        <a:gd name="connsiteX7" fmla="*/ 4936 w 71032"/>
                        <a:gd name="connsiteY7" fmla="*/ 0 h 112167"/>
                        <a:gd name="connsiteX8" fmla="*/ 10014 w 71032"/>
                        <a:gd name="connsiteY8" fmla="*/ 4935 h 112167"/>
                        <a:gd name="connsiteX9" fmla="*/ 14464 w 71032"/>
                        <a:gd name="connsiteY9" fmla="*/ 7560 h 112167"/>
                        <a:gd name="connsiteX10" fmla="*/ 37457 w 71032"/>
                        <a:gd name="connsiteY10" fmla="*/ 7531 h 112167"/>
                        <a:gd name="connsiteX11" fmla="*/ 61334 w 71032"/>
                        <a:gd name="connsiteY11" fmla="*/ 15547 h 112167"/>
                        <a:gd name="connsiteX12" fmla="*/ 71032 w 71032"/>
                        <a:gd name="connsiteY12" fmla="*/ 37056 h 112167"/>
                        <a:gd name="connsiteX13" fmla="*/ 71032 w 71032"/>
                        <a:gd name="connsiteY13" fmla="*/ 107175 h 112167"/>
                        <a:gd name="connsiteX14" fmla="*/ 66040 w 71032"/>
                        <a:gd name="connsiteY14" fmla="*/ 112167 h 112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1032" h="112167">
                          <a:moveTo>
                            <a:pt x="66040" y="112167"/>
                          </a:moveTo>
                          <a:cubicBezTo>
                            <a:pt x="63273" y="112167"/>
                            <a:pt x="61020" y="109913"/>
                            <a:pt x="61020" y="107146"/>
                          </a:cubicBezTo>
                          <a:lnTo>
                            <a:pt x="61020" y="37028"/>
                          </a:lnTo>
                          <a:cubicBezTo>
                            <a:pt x="61020" y="31066"/>
                            <a:pt x="59051" y="26587"/>
                            <a:pt x="55000" y="23306"/>
                          </a:cubicBezTo>
                          <a:cubicBezTo>
                            <a:pt x="48069" y="17658"/>
                            <a:pt x="37542" y="17544"/>
                            <a:pt x="37428" y="17544"/>
                          </a:cubicBezTo>
                          <a:lnTo>
                            <a:pt x="13922" y="17544"/>
                          </a:lnTo>
                          <a:cubicBezTo>
                            <a:pt x="7047" y="16859"/>
                            <a:pt x="115" y="12723"/>
                            <a:pt x="1" y="5078"/>
                          </a:cubicBezTo>
                          <a:cubicBezTo>
                            <a:pt x="-56" y="2311"/>
                            <a:pt x="2169" y="29"/>
                            <a:pt x="4936" y="0"/>
                          </a:cubicBezTo>
                          <a:cubicBezTo>
                            <a:pt x="7532" y="200"/>
                            <a:pt x="9985" y="2168"/>
                            <a:pt x="10014" y="4935"/>
                          </a:cubicBezTo>
                          <a:cubicBezTo>
                            <a:pt x="10043" y="6875"/>
                            <a:pt x="14407" y="7560"/>
                            <a:pt x="14464" y="7560"/>
                          </a:cubicBezTo>
                          <a:lnTo>
                            <a:pt x="37457" y="7531"/>
                          </a:lnTo>
                          <a:cubicBezTo>
                            <a:pt x="38027" y="7531"/>
                            <a:pt x="51606" y="7617"/>
                            <a:pt x="61334" y="15547"/>
                          </a:cubicBezTo>
                          <a:cubicBezTo>
                            <a:pt x="67666" y="20710"/>
                            <a:pt x="71032" y="28156"/>
                            <a:pt x="71032" y="37056"/>
                          </a:cubicBezTo>
                          <a:lnTo>
                            <a:pt x="71032" y="107175"/>
                          </a:lnTo>
                          <a:cubicBezTo>
                            <a:pt x="71061" y="109913"/>
                            <a:pt x="68808" y="112167"/>
                            <a:pt x="66040" y="112167"/>
                          </a:cubicBezTo>
                          <a:close/>
                        </a:path>
                      </a:pathLst>
                    </a:custGeom>
                    <a:grpFill/>
                    <a:ln w="2848" cap="flat">
                      <a:noFill/>
                      <a:prstDash val="solid"/>
                      <a:miter/>
                    </a:ln>
                  </p:spPr>
                  <p:txBody>
                    <a:bodyPr rtlCol="0" anchor="ctr"/>
                    <a:lstStyle/>
                    <a:p>
                      <a:endParaRPr lang="en-GB" dirty="0"/>
                    </a:p>
                  </p:txBody>
                </p:sp>
                <p:sp>
                  <p:nvSpPr>
                    <p:cNvPr id="376" name="Freihandform: Form 375">
                      <a:extLst>
                        <a:ext uri="{FF2B5EF4-FFF2-40B4-BE49-F238E27FC236}">
                          <a16:creationId xmlns:a16="http://schemas.microsoft.com/office/drawing/2014/main" id="{9E7D09EF-E87F-44AF-A0E6-89D7207FFC6F}"/>
                        </a:ext>
                      </a:extLst>
                    </p:cNvPr>
                    <p:cNvSpPr/>
                    <p:nvPr/>
                  </p:nvSpPr>
                  <p:spPr>
                    <a:xfrm>
                      <a:off x="3679735" y="1873628"/>
                      <a:ext cx="10041" cy="23848"/>
                    </a:xfrm>
                    <a:custGeom>
                      <a:avLst/>
                      <a:gdLst>
                        <a:gd name="connsiteX0" fmla="*/ 5021 w 10041"/>
                        <a:gd name="connsiteY0" fmla="*/ 23848 h 23848"/>
                        <a:gd name="connsiteX1" fmla="*/ 0 w 10041"/>
                        <a:gd name="connsiteY1" fmla="*/ 18828 h 23848"/>
                        <a:gd name="connsiteX2" fmla="*/ 0 w 10041"/>
                        <a:gd name="connsiteY2" fmla="*/ 5021 h 23848"/>
                        <a:gd name="connsiteX3" fmla="*/ 5021 w 10041"/>
                        <a:gd name="connsiteY3" fmla="*/ 0 h 23848"/>
                        <a:gd name="connsiteX4" fmla="*/ 10041 w 10041"/>
                        <a:gd name="connsiteY4" fmla="*/ 5021 h 23848"/>
                        <a:gd name="connsiteX5" fmla="*/ 10041 w 10041"/>
                        <a:gd name="connsiteY5" fmla="*/ 18828 h 23848"/>
                        <a:gd name="connsiteX6" fmla="*/ 5021 w 10041"/>
                        <a:gd name="connsiteY6" fmla="*/ 23848 h 23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23848">
                          <a:moveTo>
                            <a:pt x="5021" y="23848"/>
                          </a:moveTo>
                          <a:cubicBezTo>
                            <a:pt x="2254" y="23848"/>
                            <a:pt x="0" y="21595"/>
                            <a:pt x="0" y="18828"/>
                          </a:cubicBezTo>
                          <a:lnTo>
                            <a:pt x="0" y="5021"/>
                          </a:lnTo>
                          <a:cubicBezTo>
                            <a:pt x="0" y="2254"/>
                            <a:pt x="2254" y="0"/>
                            <a:pt x="5021" y="0"/>
                          </a:cubicBezTo>
                          <a:cubicBezTo>
                            <a:pt x="7788" y="0"/>
                            <a:pt x="10041" y="2254"/>
                            <a:pt x="10041" y="5021"/>
                          </a:cubicBezTo>
                          <a:lnTo>
                            <a:pt x="10041" y="18828"/>
                          </a:lnTo>
                          <a:cubicBezTo>
                            <a:pt x="10013" y="21595"/>
                            <a:pt x="7788" y="23848"/>
                            <a:pt x="5021" y="23848"/>
                          </a:cubicBezTo>
                          <a:close/>
                        </a:path>
                      </a:pathLst>
                    </a:custGeom>
                    <a:grpFill/>
                    <a:ln w="2848" cap="flat">
                      <a:noFill/>
                      <a:prstDash val="solid"/>
                      <a:miter/>
                    </a:ln>
                  </p:spPr>
                  <p:txBody>
                    <a:bodyPr rtlCol="0" anchor="ctr"/>
                    <a:lstStyle/>
                    <a:p>
                      <a:endParaRPr lang="en-GB" dirty="0"/>
                    </a:p>
                  </p:txBody>
                </p:sp>
                <p:sp>
                  <p:nvSpPr>
                    <p:cNvPr id="377" name="Freihandform: Form 376">
                      <a:extLst>
                        <a:ext uri="{FF2B5EF4-FFF2-40B4-BE49-F238E27FC236}">
                          <a16:creationId xmlns:a16="http://schemas.microsoft.com/office/drawing/2014/main" id="{F791D6E3-63DF-47DE-8E69-632920E34391}"/>
                        </a:ext>
                      </a:extLst>
                    </p:cNvPr>
                    <p:cNvSpPr/>
                    <p:nvPr/>
                  </p:nvSpPr>
                  <p:spPr>
                    <a:xfrm>
                      <a:off x="3649097" y="1812295"/>
                      <a:ext cx="69092" cy="71801"/>
                    </a:xfrm>
                    <a:custGeom>
                      <a:avLst/>
                      <a:gdLst>
                        <a:gd name="connsiteX0" fmla="*/ 5021 w 69092"/>
                        <a:gd name="connsiteY0" fmla="*/ 71802 h 71801"/>
                        <a:gd name="connsiteX1" fmla="*/ 0 w 69092"/>
                        <a:gd name="connsiteY1" fmla="*/ 66781 h 71801"/>
                        <a:gd name="connsiteX2" fmla="*/ 0 w 69092"/>
                        <a:gd name="connsiteY2" fmla="*/ 37028 h 71801"/>
                        <a:gd name="connsiteX3" fmla="*/ 33576 w 69092"/>
                        <a:gd name="connsiteY3" fmla="*/ 7531 h 71801"/>
                        <a:gd name="connsiteX4" fmla="*/ 57111 w 69092"/>
                        <a:gd name="connsiteY4" fmla="*/ 7531 h 71801"/>
                        <a:gd name="connsiteX5" fmla="*/ 59079 w 69092"/>
                        <a:gd name="connsiteY5" fmla="*/ 4992 h 71801"/>
                        <a:gd name="connsiteX6" fmla="*/ 64100 w 69092"/>
                        <a:gd name="connsiteY6" fmla="*/ 0 h 71801"/>
                        <a:gd name="connsiteX7" fmla="*/ 64128 w 69092"/>
                        <a:gd name="connsiteY7" fmla="*/ 0 h 71801"/>
                        <a:gd name="connsiteX8" fmla="*/ 69092 w 69092"/>
                        <a:gd name="connsiteY8" fmla="*/ 5049 h 71801"/>
                        <a:gd name="connsiteX9" fmla="*/ 65469 w 69092"/>
                        <a:gd name="connsiteY9" fmla="*/ 14292 h 71801"/>
                        <a:gd name="connsiteX10" fmla="*/ 56911 w 69092"/>
                        <a:gd name="connsiteY10" fmla="*/ 17544 h 71801"/>
                        <a:gd name="connsiteX11" fmla="*/ 33547 w 69092"/>
                        <a:gd name="connsiteY11" fmla="*/ 17544 h 71801"/>
                        <a:gd name="connsiteX12" fmla="*/ 9984 w 69092"/>
                        <a:gd name="connsiteY12" fmla="*/ 37028 h 71801"/>
                        <a:gd name="connsiteX13" fmla="*/ 9984 w 69092"/>
                        <a:gd name="connsiteY13" fmla="*/ 66810 h 71801"/>
                        <a:gd name="connsiteX14" fmla="*/ 5021 w 69092"/>
                        <a:gd name="connsiteY14" fmla="*/ 71802 h 7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092" h="71801">
                          <a:moveTo>
                            <a:pt x="5021" y="71802"/>
                          </a:moveTo>
                          <a:cubicBezTo>
                            <a:pt x="2254" y="71802"/>
                            <a:pt x="0" y="69548"/>
                            <a:pt x="0" y="66781"/>
                          </a:cubicBezTo>
                          <a:lnTo>
                            <a:pt x="0" y="37028"/>
                          </a:lnTo>
                          <a:cubicBezTo>
                            <a:pt x="0" y="13693"/>
                            <a:pt x="21966" y="7531"/>
                            <a:pt x="33576" y="7531"/>
                          </a:cubicBezTo>
                          <a:lnTo>
                            <a:pt x="57111" y="7531"/>
                          </a:lnTo>
                          <a:cubicBezTo>
                            <a:pt x="58765" y="7503"/>
                            <a:pt x="59079" y="6590"/>
                            <a:pt x="59079" y="4992"/>
                          </a:cubicBezTo>
                          <a:cubicBezTo>
                            <a:pt x="59079" y="2225"/>
                            <a:pt x="61332" y="0"/>
                            <a:pt x="64100" y="0"/>
                          </a:cubicBezTo>
                          <a:cubicBezTo>
                            <a:pt x="64100" y="0"/>
                            <a:pt x="64128" y="0"/>
                            <a:pt x="64128" y="0"/>
                          </a:cubicBezTo>
                          <a:cubicBezTo>
                            <a:pt x="66895" y="29"/>
                            <a:pt x="69120" y="2282"/>
                            <a:pt x="69092" y="5049"/>
                          </a:cubicBezTo>
                          <a:cubicBezTo>
                            <a:pt x="69063" y="9842"/>
                            <a:pt x="67123" y="12723"/>
                            <a:pt x="65469" y="14292"/>
                          </a:cubicBezTo>
                          <a:cubicBezTo>
                            <a:pt x="62046" y="17572"/>
                            <a:pt x="57767" y="17601"/>
                            <a:pt x="56911" y="17544"/>
                          </a:cubicBezTo>
                          <a:lnTo>
                            <a:pt x="33547" y="17544"/>
                          </a:lnTo>
                          <a:cubicBezTo>
                            <a:pt x="31151" y="17544"/>
                            <a:pt x="9984" y="18229"/>
                            <a:pt x="9984" y="37028"/>
                          </a:cubicBezTo>
                          <a:lnTo>
                            <a:pt x="9984" y="66810"/>
                          </a:lnTo>
                          <a:cubicBezTo>
                            <a:pt x="10041" y="69577"/>
                            <a:pt x="7788" y="71802"/>
                            <a:pt x="5021" y="71802"/>
                          </a:cubicBezTo>
                          <a:close/>
                        </a:path>
                      </a:pathLst>
                    </a:custGeom>
                    <a:grpFill/>
                    <a:ln w="2848" cap="flat">
                      <a:noFill/>
                      <a:prstDash val="solid"/>
                      <a:miter/>
                    </a:ln>
                  </p:spPr>
                  <p:txBody>
                    <a:bodyPr rtlCol="0" anchor="ctr"/>
                    <a:lstStyle/>
                    <a:p>
                      <a:endParaRPr lang="en-GB" dirty="0"/>
                    </a:p>
                  </p:txBody>
                </p:sp>
              </p:grpSp>
              <p:sp>
                <p:nvSpPr>
                  <p:cNvPr id="373" name="Freihandform: Form 372">
                    <a:extLst>
                      <a:ext uri="{FF2B5EF4-FFF2-40B4-BE49-F238E27FC236}">
                        <a16:creationId xmlns:a16="http://schemas.microsoft.com/office/drawing/2014/main" id="{9D65C624-3604-4993-B227-63224CC399E3}"/>
                      </a:ext>
                    </a:extLst>
                  </p:cNvPr>
                  <p:cNvSpPr/>
                  <p:nvPr/>
                </p:nvSpPr>
                <p:spPr>
                  <a:xfrm>
                    <a:off x="3687152" y="1704208"/>
                    <a:ext cx="90201" cy="100927"/>
                  </a:xfrm>
                  <a:custGeom>
                    <a:avLst/>
                    <a:gdLst>
                      <a:gd name="connsiteX0" fmla="*/ 45101 w 90201"/>
                      <a:gd name="connsiteY0" fmla="*/ 100928 h 100927"/>
                      <a:gd name="connsiteX1" fmla="*/ 0 w 90201"/>
                      <a:gd name="connsiteY1" fmla="*/ 50464 h 100927"/>
                      <a:gd name="connsiteX2" fmla="*/ 45101 w 90201"/>
                      <a:gd name="connsiteY2" fmla="*/ 0 h 100927"/>
                      <a:gd name="connsiteX3" fmla="*/ 90201 w 90201"/>
                      <a:gd name="connsiteY3" fmla="*/ 50464 h 100927"/>
                      <a:gd name="connsiteX4" fmla="*/ 45101 w 90201"/>
                      <a:gd name="connsiteY4" fmla="*/ 100928 h 100927"/>
                      <a:gd name="connsiteX5" fmla="*/ 45101 w 90201"/>
                      <a:gd name="connsiteY5" fmla="*/ 10041 h 100927"/>
                      <a:gd name="connsiteX6" fmla="*/ 10013 w 90201"/>
                      <a:gd name="connsiteY6" fmla="*/ 50464 h 100927"/>
                      <a:gd name="connsiteX7" fmla="*/ 45101 w 90201"/>
                      <a:gd name="connsiteY7" fmla="*/ 90915 h 100927"/>
                      <a:gd name="connsiteX8" fmla="*/ 80188 w 90201"/>
                      <a:gd name="connsiteY8" fmla="*/ 50464 h 100927"/>
                      <a:gd name="connsiteX9" fmla="*/ 45101 w 90201"/>
                      <a:gd name="connsiteY9" fmla="*/ 10041 h 100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0201" h="100927">
                        <a:moveTo>
                          <a:pt x="45101" y="100928"/>
                        </a:moveTo>
                        <a:cubicBezTo>
                          <a:pt x="20225" y="100928"/>
                          <a:pt x="0" y="78277"/>
                          <a:pt x="0" y="50464"/>
                        </a:cubicBezTo>
                        <a:cubicBezTo>
                          <a:pt x="0" y="22650"/>
                          <a:pt x="20254" y="0"/>
                          <a:pt x="45101" y="0"/>
                        </a:cubicBezTo>
                        <a:cubicBezTo>
                          <a:pt x="69976" y="0"/>
                          <a:pt x="90201" y="22622"/>
                          <a:pt x="90201" y="50464"/>
                        </a:cubicBezTo>
                        <a:cubicBezTo>
                          <a:pt x="90201" y="78306"/>
                          <a:pt x="69976" y="100928"/>
                          <a:pt x="45101" y="100928"/>
                        </a:cubicBezTo>
                        <a:close/>
                        <a:moveTo>
                          <a:pt x="45101" y="10041"/>
                        </a:moveTo>
                        <a:cubicBezTo>
                          <a:pt x="25760" y="10041"/>
                          <a:pt x="10013" y="28184"/>
                          <a:pt x="10013" y="50464"/>
                        </a:cubicBezTo>
                        <a:cubicBezTo>
                          <a:pt x="10013" y="72772"/>
                          <a:pt x="25760" y="90915"/>
                          <a:pt x="45101" y="90915"/>
                        </a:cubicBezTo>
                        <a:cubicBezTo>
                          <a:pt x="64442" y="90915"/>
                          <a:pt x="80188" y="72772"/>
                          <a:pt x="80188" y="50464"/>
                        </a:cubicBezTo>
                        <a:cubicBezTo>
                          <a:pt x="80188" y="28184"/>
                          <a:pt x="64442" y="10041"/>
                          <a:pt x="45101" y="10041"/>
                        </a:cubicBezTo>
                        <a:close/>
                      </a:path>
                    </a:pathLst>
                  </a:custGeom>
                  <a:grpFill/>
                  <a:ln w="2848" cap="flat">
                    <a:noFill/>
                    <a:prstDash val="solid"/>
                    <a:miter/>
                  </a:ln>
                </p:spPr>
                <p:txBody>
                  <a:bodyPr rtlCol="0" anchor="ctr"/>
                  <a:lstStyle/>
                  <a:p>
                    <a:endParaRPr lang="en-GB" dirty="0"/>
                  </a:p>
                </p:txBody>
              </p:sp>
            </p:grpSp>
          </p:grpSp>
          <p:grpSp>
            <p:nvGrpSpPr>
              <p:cNvPr id="367" name="Grafik 137">
                <a:extLst>
                  <a:ext uri="{FF2B5EF4-FFF2-40B4-BE49-F238E27FC236}">
                    <a16:creationId xmlns:a16="http://schemas.microsoft.com/office/drawing/2014/main" id="{902DE936-FAFB-45C8-9A69-DF4162D0BA36}"/>
                  </a:ext>
                </a:extLst>
              </p:cNvPr>
              <p:cNvGrpSpPr/>
              <p:nvPr/>
            </p:nvGrpSpPr>
            <p:grpSpPr>
              <a:xfrm>
                <a:off x="3348825" y="1907390"/>
                <a:ext cx="528971" cy="168264"/>
                <a:chOff x="3348825" y="1907390"/>
                <a:chExt cx="528971" cy="168264"/>
              </a:xfrm>
              <a:grpFill/>
            </p:grpSpPr>
            <p:sp>
              <p:nvSpPr>
                <p:cNvPr id="368" name="Freihandform: Form 367">
                  <a:extLst>
                    <a:ext uri="{FF2B5EF4-FFF2-40B4-BE49-F238E27FC236}">
                      <a16:creationId xmlns:a16="http://schemas.microsoft.com/office/drawing/2014/main" id="{8D23670C-3CCD-4017-A550-7DC12E75DBAA}"/>
                    </a:ext>
                  </a:extLst>
                </p:cNvPr>
                <p:cNvSpPr/>
                <p:nvPr/>
              </p:nvSpPr>
              <p:spPr>
                <a:xfrm>
                  <a:off x="3670304" y="1907390"/>
                  <a:ext cx="207492" cy="168035"/>
                </a:xfrm>
                <a:custGeom>
                  <a:avLst/>
                  <a:gdLst>
                    <a:gd name="connsiteX0" fmla="*/ 55673 w 207492"/>
                    <a:gd name="connsiteY0" fmla="*/ 168036 h 168035"/>
                    <a:gd name="connsiteX1" fmla="*/ 50738 w 207492"/>
                    <a:gd name="connsiteY1" fmla="*/ 163814 h 168035"/>
                    <a:gd name="connsiteX2" fmla="*/ 54903 w 207492"/>
                    <a:gd name="connsiteY2" fmla="*/ 158080 h 168035"/>
                    <a:gd name="connsiteX3" fmla="*/ 197451 w 207492"/>
                    <a:gd name="connsiteY3" fmla="*/ 86992 h 168035"/>
                    <a:gd name="connsiteX4" fmla="*/ 4610 w 207492"/>
                    <a:gd name="connsiteY4" fmla="*/ 9998 h 168035"/>
                    <a:gd name="connsiteX5" fmla="*/ 17 w 207492"/>
                    <a:gd name="connsiteY5" fmla="*/ 4606 h 168035"/>
                    <a:gd name="connsiteX6" fmla="*/ 5409 w 207492"/>
                    <a:gd name="connsiteY6" fmla="*/ 14 h 168035"/>
                    <a:gd name="connsiteX7" fmla="*/ 207492 w 207492"/>
                    <a:gd name="connsiteY7" fmla="*/ 86992 h 168035"/>
                    <a:gd name="connsiteX8" fmla="*/ 56472 w 207492"/>
                    <a:gd name="connsiteY8" fmla="*/ 167979 h 168035"/>
                    <a:gd name="connsiteX9" fmla="*/ 55673 w 207492"/>
                    <a:gd name="connsiteY9" fmla="*/ 168036 h 16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7492" h="168035">
                      <a:moveTo>
                        <a:pt x="55673" y="168036"/>
                      </a:moveTo>
                      <a:cubicBezTo>
                        <a:pt x="53248" y="168036"/>
                        <a:pt x="51109" y="166267"/>
                        <a:pt x="50738" y="163814"/>
                      </a:cubicBezTo>
                      <a:cubicBezTo>
                        <a:pt x="50310" y="161075"/>
                        <a:pt x="52193" y="158508"/>
                        <a:pt x="54903" y="158080"/>
                      </a:cubicBezTo>
                      <a:cubicBezTo>
                        <a:pt x="140169" y="144673"/>
                        <a:pt x="197451" y="116117"/>
                        <a:pt x="197451" y="86992"/>
                      </a:cubicBezTo>
                      <a:cubicBezTo>
                        <a:pt x="197451" y="51305"/>
                        <a:pt x="116349" y="18927"/>
                        <a:pt x="4610" y="9998"/>
                      </a:cubicBezTo>
                      <a:cubicBezTo>
                        <a:pt x="1843" y="9770"/>
                        <a:pt x="-211" y="7373"/>
                        <a:pt x="17" y="4606"/>
                      </a:cubicBezTo>
                      <a:cubicBezTo>
                        <a:pt x="246" y="1839"/>
                        <a:pt x="2699" y="-186"/>
                        <a:pt x="5409" y="14"/>
                      </a:cubicBezTo>
                      <a:cubicBezTo>
                        <a:pt x="126276" y="9656"/>
                        <a:pt x="207492" y="44601"/>
                        <a:pt x="207492" y="86992"/>
                      </a:cubicBezTo>
                      <a:cubicBezTo>
                        <a:pt x="207492" y="122308"/>
                        <a:pt x="149611" y="153345"/>
                        <a:pt x="56472" y="167979"/>
                      </a:cubicBezTo>
                      <a:cubicBezTo>
                        <a:pt x="56215" y="168007"/>
                        <a:pt x="55930" y="168036"/>
                        <a:pt x="55673" y="168036"/>
                      </a:cubicBezTo>
                      <a:close/>
                    </a:path>
                  </a:pathLst>
                </a:custGeom>
                <a:grpFill/>
                <a:ln w="2848" cap="flat">
                  <a:noFill/>
                  <a:prstDash val="solid"/>
                  <a:miter/>
                </a:ln>
              </p:spPr>
              <p:txBody>
                <a:bodyPr rtlCol="0" anchor="ctr"/>
                <a:lstStyle/>
                <a:p>
                  <a:endParaRPr lang="en-GB" dirty="0"/>
                </a:p>
              </p:txBody>
            </p:sp>
            <p:sp>
              <p:nvSpPr>
                <p:cNvPr id="369" name="Freihandform: Form 368">
                  <a:extLst>
                    <a:ext uri="{FF2B5EF4-FFF2-40B4-BE49-F238E27FC236}">
                      <a16:creationId xmlns:a16="http://schemas.microsoft.com/office/drawing/2014/main" id="{0FA79B8A-D3D6-4123-8C45-C1F153708858}"/>
                    </a:ext>
                  </a:extLst>
                </p:cNvPr>
                <p:cNvSpPr/>
                <p:nvPr/>
              </p:nvSpPr>
              <p:spPr>
                <a:xfrm>
                  <a:off x="3348825" y="1907650"/>
                  <a:ext cx="204240" cy="168004"/>
                </a:xfrm>
                <a:custGeom>
                  <a:avLst/>
                  <a:gdLst>
                    <a:gd name="connsiteX0" fmla="*/ 153331 w 204240"/>
                    <a:gd name="connsiteY0" fmla="*/ 168004 h 168004"/>
                    <a:gd name="connsiteX1" fmla="*/ 152561 w 204240"/>
                    <a:gd name="connsiteY1" fmla="*/ 167947 h 168004"/>
                    <a:gd name="connsiteX2" fmla="*/ 0 w 204240"/>
                    <a:gd name="connsiteY2" fmla="*/ 86703 h 168004"/>
                    <a:gd name="connsiteX3" fmla="*/ 198803 w 204240"/>
                    <a:gd name="connsiteY3" fmla="*/ 10 h 168004"/>
                    <a:gd name="connsiteX4" fmla="*/ 204223 w 204240"/>
                    <a:gd name="connsiteY4" fmla="*/ 4574 h 168004"/>
                    <a:gd name="connsiteX5" fmla="*/ 199659 w 204240"/>
                    <a:gd name="connsiteY5" fmla="*/ 9995 h 168004"/>
                    <a:gd name="connsiteX6" fmla="*/ 10041 w 204240"/>
                    <a:gd name="connsiteY6" fmla="*/ 86703 h 168004"/>
                    <a:gd name="connsiteX7" fmla="*/ 154101 w 204240"/>
                    <a:gd name="connsiteY7" fmla="*/ 158048 h 168004"/>
                    <a:gd name="connsiteX8" fmla="*/ 158295 w 204240"/>
                    <a:gd name="connsiteY8" fmla="*/ 163754 h 168004"/>
                    <a:gd name="connsiteX9" fmla="*/ 153331 w 204240"/>
                    <a:gd name="connsiteY9" fmla="*/ 168004 h 168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4240" h="168004">
                      <a:moveTo>
                        <a:pt x="153331" y="168004"/>
                      </a:moveTo>
                      <a:cubicBezTo>
                        <a:pt x="153075" y="168004"/>
                        <a:pt x="152818" y="167976"/>
                        <a:pt x="152561" y="167947"/>
                      </a:cubicBezTo>
                      <a:cubicBezTo>
                        <a:pt x="58451" y="153398"/>
                        <a:pt x="0" y="122276"/>
                        <a:pt x="0" y="86703"/>
                      </a:cubicBezTo>
                      <a:cubicBezTo>
                        <a:pt x="0" y="44854"/>
                        <a:pt x="79903" y="10023"/>
                        <a:pt x="198803" y="10"/>
                      </a:cubicBezTo>
                      <a:cubicBezTo>
                        <a:pt x="201399" y="-161"/>
                        <a:pt x="203995" y="1836"/>
                        <a:pt x="204223" y="4574"/>
                      </a:cubicBezTo>
                      <a:cubicBezTo>
                        <a:pt x="204451" y="7342"/>
                        <a:pt x="202397" y="9766"/>
                        <a:pt x="199659" y="9995"/>
                      </a:cubicBezTo>
                      <a:cubicBezTo>
                        <a:pt x="89774" y="19237"/>
                        <a:pt x="10041" y="51501"/>
                        <a:pt x="10041" y="86703"/>
                      </a:cubicBezTo>
                      <a:cubicBezTo>
                        <a:pt x="10041" y="116057"/>
                        <a:pt x="67951" y="144726"/>
                        <a:pt x="154101" y="158048"/>
                      </a:cubicBezTo>
                      <a:cubicBezTo>
                        <a:pt x="156840" y="158476"/>
                        <a:pt x="158723" y="161044"/>
                        <a:pt x="158295" y="163754"/>
                      </a:cubicBezTo>
                      <a:cubicBezTo>
                        <a:pt x="157896" y="166235"/>
                        <a:pt x="155756" y="168004"/>
                        <a:pt x="153331" y="168004"/>
                      </a:cubicBezTo>
                      <a:close/>
                    </a:path>
                  </a:pathLst>
                </a:custGeom>
                <a:grpFill/>
                <a:ln w="2848" cap="flat">
                  <a:noFill/>
                  <a:prstDash val="solid"/>
                  <a:miter/>
                </a:ln>
              </p:spPr>
              <p:txBody>
                <a:bodyPr rtlCol="0" anchor="ctr"/>
                <a:lstStyle/>
                <a:p>
                  <a:endParaRPr lang="en-GB" dirty="0"/>
                </a:p>
              </p:txBody>
            </p:sp>
          </p:grpSp>
        </p:grpSp>
      </p:grpSp>
      <p:sp>
        <p:nvSpPr>
          <p:cNvPr id="388" name="TextBox 1414">
            <a:extLst>
              <a:ext uri="{FF2B5EF4-FFF2-40B4-BE49-F238E27FC236}">
                <a16:creationId xmlns:a16="http://schemas.microsoft.com/office/drawing/2014/main" id="{660D0295-0834-40FA-B77C-3CF75326E74F}"/>
              </a:ext>
            </a:extLst>
          </p:cNvPr>
          <p:cNvSpPr txBox="1"/>
          <p:nvPr/>
        </p:nvSpPr>
        <p:spPr>
          <a:xfrm>
            <a:off x="5015288" y="2907223"/>
            <a:ext cx="318997" cy="107722"/>
          </a:xfrm>
          <a:prstGeom prst="rect">
            <a:avLst/>
          </a:prstGeom>
          <a:noFill/>
          <a:effectLst/>
        </p:spPr>
        <p:txBody>
          <a:bodyPr wrap="none" lIns="0" tIns="0" rIns="0" bIns="0" rtlCol="0" anchor="t" anchorCtr="0">
            <a:spAutoFit/>
          </a:bodyPr>
          <a:lstStyle/>
          <a:p>
            <a:pPr algn="ctr"/>
            <a:r>
              <a:rPr lang="en-GB" sz="700" dirty="0">
                <a:solidFill>
                  <a:schemeClr val="tx2"/>
                </a:solidFill>
              </a:rPr>
              <a:t>Meeting</a:t>
            </a:r>
          </a:p>
        </p:txBody>
      </p:sp>
      <p:grpSp>
        <p:nvGrpSpPr>
          <p:cNvPr id="33" name="Group 32">
            <a:extLst>
              <a:ext uri="{FF2B5EF4-FFF2-40B4-BE49-F238E27FC236}">
                <a16:creationId xmlns:a16="http://schemas.microsoft.com/office/drawing/2014/main" id="{6528C0D3-A838-E03E-1099-7616F052FB1C}"/>
              </a:ext>
            </a:extLst>
          </p:cNvPr>
          <p:cNvGrpSpPr/>
          <p:nvPr/>
        </p:nvGrpSpPr>
        <p:grpSpPr>
          <a:xfrm>
            <a:off x="5032080" y="1626716"/>
            <a:ext cx="362382" cy="432000"/>
            <a:chOff x="5031668" y="1626716"/>
            <a:chExt cx="362382" cy="432000"/>
          </a:xfrm>
        </p:grpSpPr>
        <p:grpSp>
          <p:nvGrpSpPr>
            <p:cNvPr id="390" name="Grafik 53">
              <a:extLst>
                <a:ext uri="{FF2B5EF4-FFF2-40B4-BE49-F238E27FC236}">
                  <a16:creationId xmlns:a16="http://schemas.microsoft.com/office/drawing/2014/main" id="{F32CABBE-0B9E-404C-B930-E1BDAF871AE9}"/>
                </a:ext>
              </a:extLst>
            </p:cNvPr>
            <p:cNvGrpSpPr/>
            <p:nvPr/>
          </p:nvGrpSpPr>
          <p:grpSpPr>
            <a:xfrm>
              <a:off x="5031668" y="1712660"/>
              <a:ext cx="362382" cy="346056"/>
              <a:chOff x="5358611" y="1790308"/>
              <a:chExt cx="416582" cy="397814"/>
            </a:xfrm>
            <a:solidFill>
              <a:schemeClr val="tx2"/>
            </a:solidFill>
          </p:grpSpPr>
          <p:sp>
            <p:nvSpPr>
              <p:cNvPr id="403" name="Freihandform: Form 402">
                <a:extLst>
                  <a:ext uri="{FF2B5EF4-FFF2-40B4-BE49-F238E27FC236}">
                    <a16:creationId xmlns:a16="http://schemas.microsoft.com/office/drawing/2014/main" id="{1837B8FD-3FFF-4230-9227-E51FD1DF2D89}"/>
                  </a:ext>
                </a:extLst>
              </p:cNvPr>
              <p:cNvSpPr/>
              <p:nvPr/>
            </p:nvSpPr>
            <p:spPr>
              <a:xfrm>
                <a:off x="5431855" y="2113310"/>
                <a:ext cx="270099" cy="74811"/>
              </a:xfrm>
              <a:custGeom>
                <a:avLst/>
                <a:gdLst>
                  <a:gd name="connsiteX0" fmla="*/ 16492 w 270099"/>
                  <a:gd name="connsiteY0" fmla="*/ 74812 h 74811"/>
                  <a:gd name="connsiteX1" fmla="*/ 6806 w 270099"/>
                  <a:gd name="connsiteY1" fmla="*/ 71632 h 74811"/>
                  <a:gd name="connsiteX2" fmla="*/ 243 w 270099"/>
                  <a:gd name="connsiteY2" fmla="*/ 55498 h 74811"/>
                  <a:gd name="connsiteX3" fmla="*/ 7500 w 270099"/>
                  <a:gd name="connsiteY3" fmla="*/ 13198 h 74811"/>
                  <a:gd name="connsiteX4" fmla="*/ 13225 w 270099"/>
                  <a:gd name="connsiteY4" fmla="*/ 9151 h 74811"/>
                  <a:gd name="connsiteX5" fmla="*/ 17273 w 270099"/>
                  <a:gd name="connsiteY5" fmla="*/ 14875 h 74811"/>
                  <a:gd name="connsiteX6" fmla="*/ 10015 w 270099"/>
                  <a:gd name="connsiteY6" fmla="*/ 57175 h 74811"/>
                  <a:gd name="connsiteX7" fmla="*/ 12646 w 270099"/>
                  <a:gd name="connsiteY7" fmla="*/ 63623 h 74811"/>
                  <a:gd name="connsiteX8" fmla="*/ 19586 w 270099"/>
                  <a:gd name="connsiteY8" fmla="*/ 64114 h 74811"/>
                  <a:gd name="connsiteX9" fmla="*/ 132751 w 270099"/>
                  <a:gd name="connsiteY9" fmla="*/ 4611 h 74811"/>
                  <a:gd name="connsiteX10" fmla="*/ 137348 w 270099"/>
                  <a:gd name="connsiteY10" fmla="*/ 4611 h 74811"/>
                  <a:gd name="connsiteX11" fmla="*/ 250514 w 270099"/>
                  <a:gd name="connsiteY11" fmla="*/ 64114 h 74811"/>
                  <a:gd name="connsiteX12" fmla="*/ 257453 w 270099"/>
                  <a:gd name="connsiteY12" fmla="*/ 63623 h 74811"/>
                  <a:gd name="connsiteX13" fmla="*/ 260084 w 270099"/>
                  <a:gd name="connsiteY13" fmla="*/ 57175 h 74811"/>
                  <a:gd name="connsiteX14" fmla="*/ 251266 w 270099"/>
                  <a:gd name="connsiteY14" fmla="*/ 5797 h 74811"/>
                  <a:gd name="connsiteX15" fmla="*/ 255313 w 270099"/>
                  <a:gd name="connsiteY15" fmla="*/ 72 h 74811"/>
                  <a:gd name="connsiteX16" fmla="*/ 261038 w 270099"/>
                  <a:gd name="connsiteY16" fmla="*/ 4120 h 74811"/>
                  <a:gd name="connsiteX17" fmla="*/ 269857 w 270099"/>
                  <a:gd name="connsiteY17" fmla="*/ 55498 h 74811"/>
                  <a:gd name="connsiteX18" fmla="*/ 263293 w 270099"/>
                  <a:gd name="connsiteY18" fmla="*/ 71632 h 74811"/>
                  <a:gd name="connsiteX19" fmla="*/ 245917 w 270099"/>
                  <a:gd name="connsiteY19" fmla="*/ 72875 h 74811"/>
                  <a:gd name="connsiteX20" fmla="*/ 135064 w 270099"/>
                  <a:gd name="connsiteY20" fmla="*/ 14586 h 74811"/>
                  <a:gd name="connsiteX21" fmla="*/ 24212 w 270099"/>
                  <a:gd name="connsiteY21" fmla="*/ 72875 h 74811"/>
                  <a:gd name="connsiteX22" fmla="*/ 16492 w 270099"/>
                  <a:gd name="connsiteY22" fmla="*/ 74812 h 74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0099" h="74811">
                    <a:moveTo>
                      <a:pt x="16492" y="74812"/>
                    </a:moveTo>
                    <a:cubicBezTo>
                      <a:pt x="13080" y="74812"/>
                      <a:pt x="9697" y="73742"/>
                      <a:pt x="6806" y="71632"/>
                    </a:cubicBezTo>
                    <a:cubicBezTo>
                      <a:pt x="1688" y="67931"/>
                      <a:pt x="-827" y="61743"/>
                      <a:pt x="243" y="55498"/>
                    </a:cubicBezTo>
                    <a:lnTo>
                      <a:pt x="7500" y="13198"/>
                    </a:lnTo>
                    <a:cubicBezTo>
                      <a:pt x="7963" y="10509"/>
                      <a:pt x="10536" y="8688"/>
                      <a:pt x="13225" y="9151"/>
                    </a:cubicBezTo>
                    <a:cubicBezTo>
                      <a:pt x="15914" y="9613"/>
                      <a:pt x="17735" y="12186"/>
                      <a:pt x="17273" y="14875"/>
                    </a:cubicBezTo>
                    <a:lnTo>
                      <a:pt x="10015" y="57175"/>
                    </a:lnTo>
                    <a:cubicBezTo>
                      <a:pt x="9582" y="59690"/>
                      <a:pt x="10565" y="62119"/>
                      <a:pt x="12646" y="63623"/>
                    </a:cubicBezTo>
                    <a:cubicBezTo>
                      <a:pt x="14728" y="65126"/>
                      <a:pt x="17301" y="65300"/>
                      <a:pt x="19586" y="64114"/>
                    </a:cubicBezTo>
                    <a:lnTo>
                      <a:pt x="132751" y="4611"/>
                    </a:lnTo>
                    <a:cubicBezTo>
                      <a:pt x="134197" y="3859"/>
                      <a:pt x="135903" y="3859"/>
                      <a:pt x="137348" y="4611"/>
                    </a:cubicBezTo>
                    <a:lnTo>
                      <a:pt x="250514" y="64114"/>
                    </a:lnTo>
                    <a:cubicBezTo>
                      <a:pt x="252769" y="65300"/>
                      <a:pt x="255371" y="65126"/>
                      <a:pt x="257453" y="63623"/>
                    </a:cubicBezTo>
                    <a:cubicBezTo>
                      <a:pt x="259535" y="62119"/>
                      <a:pt x="260518" y="59690"/>
                      <a:pt x="260084" y="57175"/>
                    </a:cubicBezTo>
                    <a:lnTo>
                      <a:pt x="251266" y="5797"/>
                    </a:lnTo>
                    <a:cubicBezTo>
                      <a:pt x="250803" y="3108"/>
                      <a:pt x="252625" y="534"/>
                      <a:pt x="255313" y="72"/>
                    </a:cubicBezTo>
                    <a:cubicBezTo>
                      <a:pt x="258031" y="-391"/>
                      <a:pt x="260576" y="1431"/>
                      <a:pt x="261038" y="4120"/>
                    </a:cubicBezTo>
                    <a:lnTo>
                      <a:pt x="269857" y="55498"/>
                    </a:lnTo>
                    <a:cubicBezTo>
                      <a:pt x="270927" y="61743"/>
                      <a:pt x="268411" y="67931"/>
                      <a:pt x="263293" y="71632"/>
                    </a:cubicBezTo>
                    <a:cubicBezTo>
                      <a:pt x="258176" y="75361"/>
                      <a:pt x="251526" y="75824"/>
                      <a:pt x="245917" y="72875"/>
                    </a:cubicBezTo>
                    <a:lnTo>
                      <a:pt x="135064" y="14586"/>
                    </a:lnTo>
                    <a:lnTo>
                      <a:pt x="24212" y="72875"/>
                    </a:lnTo>
                    <a:cubicBezTo>
                      <a:pt x="21725" y="74205"/>
                      <a:pt x="19094" y="74812"/>
                      <a:pt x="16492" y="74812"/>
                    </a:cubicBezTo>
                    <a:close/>
                  </a:path>
                </a:pathLst>
              </a:custGeom>
              <a:grpFill/>
              <a:ln w="2890" cap="flat">
                <a:noFill/>
                <a:prstDash val="solid"/>
                <a:miter/>
              </a:ln>
            </p:spPr>
            <p:txBody>
              <a:bodyPr rtlCol="0" anchor="ctr"/>
              <a:lstStyle/>
              <a:p>
                <a:endParaRPr lang="en-GB" dirty="0"/>
              </a:p>
            </p:txBody>
          </p:sp>
          <p:sp>
            <p:nvSpPr>
              <p:cNvPr id="404" name="Freihandform: Form 403">
                <a:extLst>
                  <a:ext uri="{FF2B5EF4-FFF2-40B4-BE49-F238E27FC236}">
                    <a16:creationId xmlns:a16="http://schemas.microsoft.com/office/drawing/2014/main" id="{AB8176B7-B0D4-46FD-9F34-05246F1CF059}"/>
                  </a:ext>
                </a:extLst>
              </p:cNvPr>
              <p:cNvSpPr/>
              <p:nvPr/>
            </p:nvSpPr>
            <p:spPr>
              <a:xfrm>
                <a:off x="5358611" y="1790308"/>
                <a:ext cx="416582" cy="235612"/>
              </a:xfrm>
              <a:custGeom>
                <a:avLst/>
                <a:gdLst>
                  <a:gd name="connsiteX0" fmla="*/ 76696 w 416582"/>
                  <a:gd name="connsiteY0" fmla="*/ 235612 h 235612"/>
                  <a:gd name="connsiteX1" fmla="*/ 73256 w 416582"/>
                  <a:gd name="connsiteY1" fmla="*/ 234196 h 235612"/>
                  <a:gd name="connsiteX2" fmla="*/ 4992 w 416582"/>
                  <a:gd name="connsiteY2" fmla="*/ 167638 h 235612"/>
                  <a:gd name="connsiteX3" fmla="*/ 829 w 416582"/>
                  <a:gd name="connsiteY3" fmla="*/ 150724 h 235612"/>
                  <a:gd name="connsiteX4" fmla="*/ 14128 w 416582"/>
                  <a:gd name="connsiteY4" fmla="*/ 139505 h 235612"/>
                  <a:gd name="connsiteX5" fmla="*/ 138079 w 416582"/>
                  <a:gd name="connsiteY5" fmla="*/ 121493 h 235612"/>
                  <a:gd name="connsiteX6" fmla="*/ 193505 w 416582"/>
                  <a:gd name="connsiteY6" fmla="*/ 9194 h 235612"/>
                  <a:gd name="connsiteX7" fmla="*/ 208279 w 416582"/>
                  <a:gd name="connsiteY7" fmla="*/ 0 h 235612"/>
                  <a:gd name="connsiteX8" fmla="*/ 223083 w 416582"/>
                  <a:gd name="connsiteY8" fmla="*/ 9194 h 235612"/>
                  <a:gd name="connsiteX9" fmla="*/ 278509 w 416582"/>
                  <a:gd name="connsiteY9" fmla="*/ 121493 h 235612"/>
                  <a:gd name="connsiteX10" fmla="*/ 402459 w 416582"/>
                  <a:gd name="connsiteY10" fmla="*/ 139505 h 235612"/>
                  <a:gd name="connsiteX11" fmla="*/ 415759 w 416582"/>
                  <a:gd name="connsiteY11" fmla="*/ 150724 h 235612"/>
                  <a:gd name="connsiteX12" fmla="*/ 411596 w 416582"/>
                  <a:gd name="connsiteY12" fmla="*/ 167638 h 235612"/>
                  <a:gd name="connsiteX13" fmla="*/ 346831 w 416582"/>
                  <a:gd name="connsiteY13" fmla="*/ 230755 h 235612"/>
                  <a:gd name="connsiteX14" fmla="*/ 339834 w 416582"/>
                  <a:gd name="connsiteY14" fmla="*/ 230668 h 235612"/>
                  <a:gd name="connsiteX15" fmla="*/ 339920 w 416582"/>
                  <a:gd name="connsiteY15" fmla="*/ 223671 h 235612"/>
                  <a:gd name="connsiteX16" fmla="*/ 404657 w 416582"/>
                  <a:gd name="connsiteY16" fmla="*/ 160554 h 235612"/>
                  <a:gd name="connsiteX17" fmla="*/ 406334 w 416582"/>
                  <a:gd name="connsiteY17" fmla="*/ 153788 h 235612"/>
                  <a:gd name="connsiteX18" fmla="*/ 401014 w 416582"/>
                  <a:gd name="connsiteY18" fmla="*/ 149307 h 235612"/>
                  <a:gd name="connsiteX19" fmla="*/ 274490 w 416582"/>
                  <a:gd name="connsiteY19" fmla="*/ 130918 h 235612"/>
                  <a:gd name="connsiteX20" fmla="*/ 270761 w 416582"/>
                  <a:gd name="connsiteY20" fmla="*/ 128200 h 235612"/>
                  <a:gd name="connsiteX21" fmla="*/ 214178 w 416582"/>
                  <a:gd name="connsiteY21" fmla="*/ 13560 h 235612"/>
                  <a:gd name="connsiteX22" fmla="*/ 202352 w 416582"/>
                  <a:gd name="connsiteY22" fmla="*/ 13560 h 235612"/>
                  <a:gd name="connsiteX23" fmla="*/ 145769 w 416582"/>
                  <a:gd name="connsiteY23" fmla="*/ 128229 h 235612"/>
                  <a:gd name="connsiteX24" fmla="*/ 142040 w 416582"/>
                  <a:gd name="connsiteY24" fmla="*/ 130947 h 235612"/>
                  <a:gd name="connsiteX25" fmla="*/ 15516 w 416582"/>
                  <a:gd name="connsiteY25" fmla="*/ 149336 h 235612"/>
                  <a:gd name="connsiteX26" fmla="*/ 10196 w 416582"/>
                  <a:gd name="connsiteY26" fmla="*/ 153817 h 235612"/>
                  <a:gd name="connsiteX27" fmla="*/ 11873 w 416582"/>
                  <a:gd name="connsiteY27" fmla="*/ 160583 h 235612"/>
                  <a:gd name="connsiteX28" fmla="*/ 80137 w 416582"/>
                  <a:gd name="connsiteY28" fmla="*/ 227141 h 235612"/>
                  <a:gd name="connsiteX29" fmla="*/ 80224 w 416582"/>
                  <a:gd name="connsiteY29" fmla="*/ 234138 h 235612"/>
                  <a:gd name="connsiteX30" fmla="*/ 76696 w 416582"/>
                  <a:gd name="connsiteY30" fmla="*/ 235612 h 23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416582" h="235612">
                    <a:moveTo>
                      <a:pt x="76696" y="235612"/>
                    </a:moveTo>
                    <a:cubicBezTo>
                      <a:pt x="75453" y="235612"/>
                      <a:pt x="74210" y="235150"/>
                      <a:pt x="73256" y="234196"/>
                    </a:cubicBezTo>
                    <a:lnTo>
                      <a:pt x="4992" y="167638"/>
                    </a:lnTo>
                    <a:cubicBezTo>
                      <a:pt x="453" y="163214"/>
                      <a:pt x="-1138" y="156738"/>
                      <a:pt x="829" y="150724"/>
                    </a:cubicBezTo>
                    <a:cubicBezTo>
                      <a:pt x="2795" y="144710"/>
                      <a:pt x="7883" y="140402"/>
                      <a:pt x="14128" y="139505"/>
                    </a:cubicBezTo>
                    <a:lnTo>
                      <a:pt x="138079" y="121493"/>
                    </a:lnTo>
                    <a:lnTo>
                      <a:pt x="193505" y="9194"/>
                    </a:lnTo>
                    <a:cubicBezTo>
                      <a:pt x="196309" y="3527"/>
                      <a:pt x="201976" y="0"/>
                      <a:pt x="208279" y="0"/>
                    </a:cubicBezTo>
                    <a:cubicBezTo>
                      <a:pt x="214611" y="0"/>
                      <a:pt x="220278" y="3527"/>
                      <a:pt x="223083" y="9194"/>
                    </a:cubicBezTo>
                    <a:lnTo>
                      <a:pt x="278509" y="121493"/>
                    </a:lnTo>
                    <a:lnTo>
                      <a:pt x="402459" y="139505"/>
                    </a:lnTo>
                    <a:cubicBezTo>
                      <a:pt x="408705" y="140402"/>
                      <a:pt x="413822" y="144710"/>
                      <a:pt x="415759" y="150724"/>
                    </a:cubicBezTo>
                    <a:cubicBezTo>
                      <a:pt x="417725" y="156738"/>
                      <a:pt x="416106" y="163214"/>
                      <a:pt x="411596" y="167638"/>
                    </a:cubicBezTo>
                    <a:lnTo>
                      <a:pt x="346831" y="230755"/>
                    </a:lnTo>
                    <a:cubicBezTo>
                      <a:pt x="344865" y="232663"/>
                      <a:pt x="341742" y="232634"/>
                      <a:pt x="339834" y="230668"/>
                    </a:cubicBezTo>
                    <a:cubicBezTo>
                      <a:pt x="337925" y="228702"/>
                      <a:pt x="337954" y="225579"/>
                      <a:pt x="339920" y="223671"/>
                    </a:cubicBezTo>
                    <a:lnTo>
                      <a:pt x="404657" y="160554"/>
                    </a:lnTo>
                    <a:cubicBezTo>
                      <a:pt x="406507" y="158761"/>
                      <a:pt x="407114" y="156246"/>
                      <a:pt x="406334" y="153788"/>
                    </a:cubicBezTo>
                    <a:cubicBezTo>
                      <a:pt x="405524" y="151360"/>
                      <a:pt x="403558" y="149683"/>
                      <a:pt x="401014" y="149307"/>
                    </a:cubicBezTo>
                    <a:lnTo>
                      <a:pt x="274490" y="130918"/>
                    </a:lnTo>
                    <a:cubicBezTo>
                      <a:pt x="272871" y="130687"/>
                      <a:pt x="271483" y="129675"/>
                      <a:pt x="270761" y="128200"/>
                    </a:cubicBezTo>
                    <a:lnTo>
                      <a:pt x="214178" y="13560"/>
                    </a:lnTo>
                    <a:cubicBezTo>
                      <a:pt x="211894" y="8963"/>
                      <a:pt x="204636" y="8963"/>
                      <a:pt x="202352" y="13560"/>
                    </a:cubicBezTo>
                    <a:lnTo>
                      <a:pt x="145769" y="128229"/>
                    </a:lnTo>
                    <a:cubicBezTo>
                      <a:pt x="145047" y="129675"/>
                      <a:pt x="143659" y="130687"/>
                      <a:pt x="142040" y="130947"/>
                    </a:cubicBezTo>
                    <a:lnTo>
                      <a:pt x="15516" y="149336"/>
                    </a:lnTo>
                    <a:cubicBezTo>
                      <a:pt x="12972" y="149712"/>
                      <a:pt x="10977" y="151389"/>
                      <a:pt x="10196" y="153817"/>
                    </a:cubicBezTo>
                    <a:cubicBezTo>
                      <a:pt x="9416" y="156246"/>
                      <a:pt x="10023" y="158790"/>
                      <a:pt x="11873" y="160583"/>
                    </a:cubicBezTo>
                    <a:lnTo>
                      <a:pt x="80137" y="227141"/>
                    </a:lnTo>
                    <a:cubicBezTo>
                      <a:pt x="82103" y="229049"/>
                      <a:pt x="82132" y="232172"/>
                      <a:pt x="80224" y="234138"/>
                    </a:cubicBezTo>
                    <a:cubicBezTo>
                      <a:pt x="79270" y="235121"/>
                      <a:pt x="77997" y="235612"/>
                      <a:pt x="76696" y="235612"/>
                    </a:cubicBezTo>
                    <a:close/>
                  </a:path>
                </a:pathLst>
              </a:custGeom>
              <a:grpFill/>
              <a:ln w="2890" cap="flat">
                <a:noFill/>
                <a:prstDash val="solid"/>
                <a:miter/>
              </a:ln>
            </p:spPr>
            <p:txBody>
              <a:bodyPr rtlCol="0" anchor="ctr"/>
              <a:lstStyle/>
              <a:p>
                <a:endParaRPr lang="en-GB" dirty="0"/>
              </a:p>
            </p:txBody>
          </p:sp>
        </p:grpSp>
        <p:grpSp>
          <p:nvGrpSpPr>
            <p:cNvPr id="391" name="Grafik 53">
              <a:extLst>
                <a:ext uri="{FF2B5EF4-FFF2-40B4-BE49-F238E27FC236}">
                  <a16:creationId xmlns:a16="http://schemas.microsoft.com/office/drawing/2014/main" id="{151CA4CC-7E27-445F-931F-3417ED7B134D}"/>
                </a:ext>
              </a:extLst>
            </p:cNvPr>
            <p:cNvGrpSpPr/>
            <p:nvPr/>
          </p:nvGrpSpPr>
          <p:grpSpPr>
            <a:xfrm>
              <a:off x="5074784" y="1626716"/>
              <a:ext cx="278411" cy="360118"/>
              <a:chOff x="5408179" y="1691510"/>
              <a:chExt cx="320052" cy="413979"/>
            </a:xfrm>
            <a:solidFill>
              <a:schemeClr val="accent1"/>
            </a:solidFill>
          </p:grpSpPr>
          <p:sp>
            <p:nvSpPr>
              <p:cNvPr id="392" name="Freihandform: Form 391">
                <a:extLst>
                  <a:ext uri="{FF2B5EF4-FFF2-40B4-BE49-F238E27FC236}">
                    <a16:creationId xmlns:a16="http://schemas.microsoft.com/office/drawing/2014/main" id="{34CF09BA-BBE9-4AE2-9CB0-8E4E0114C00C}"/>
                  </a:ext>
                </a:extLst>
              </p:cNvPr>
              <p:cNvSpPr/>
              <p:nvPr/>
            </p:nvSpPr>
            <p:spPr>
              <a:xfrm>
                <a:off x="5423366" y="2095601"/>
                <a:ext cx="287048" cy="9888"/>
              </a:xfrm>
              <a:custGeom>
                <a:avLst/>
                <a:gdLst>
                  <a:gd name="connsiteX0" fmla="*/ 282104 w 287048"/>
                  <a:gd name="connsiteY0" fmla="*/ 9888 h 9888"/>
                  <a:gd name="connsiteX1" fmla="*/ 4944 w 287048"/>
                  <a:gd name="connsiteY1" fmla="*/ 9888 h 9888"/>
                  <a:gd name="connsiteX2" fmla="*/ 0 w 287048"/>
                  <a:gd name="connsiteY2" fmla="*/ 4944 h 9888"/>
                  <a:gd name="connsiteX3" fmla="*/ 4944 w 287048"/>
                  <a:gd name="connsiteY3" fmla="*/ 0 h 9888"/>
                  <a:gd name="connsiteX4" fmla="*/ 282104 w 287048"/>
                  <a:gd name="connsiteY4" fmla="*/ 0 h 9888"/>
                  <a:gd name="connsiteX5" fmla="*/ 287049 w 287048"/>
                  <a:gd name="connsiteY5" fmla="*/ 4944 h 9888"/>
                  <a:gd name="connsiteX6" fmla="*/ 282104 w 287048"/>
                  <a:gd name="connsiteY6" fmla="*/ 9888 h 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7048" h="9888">
                    <a:moveTo>
                      <a:pt x="282104" y="9888"/>
                    </a:moveTo>
                    <a:lnTo>
                      <a:pt x="4944" y="9888"/>
                    </a:lnTo>
                    <a:cubicBezTo>
                      <a:pt x="2226" y="9888"/>
                      <a:pt x="0" y="7662"/>
                      <a:pt x="0" y="4944"/>
                    </a:cubicBezTo>
                    <a:cubicBezTo>
                      <a:pt x="0" y="2197"/>
                      <a:pt x="2226" y="0"/>
                      <a:pt x="4944" y="0"/>
                    </a:cubicBezTo>
                    <a:lnTo>
                      <a:pt x="282104" y="0"/>
                    </a:lnTo>
                    <a:cubicBezTo>
                      <a:pt x="284822" y="0"/>
                      <a:pt x="287049" y="2226"/>
                      <a:pt x="287049" y="4944"/>
                    </a:cubicBezTo>
                    <a:cubicBezTo>
                      <a:pt x="287049" y="7691"/>
                      <a:pt x="284851" y="9888"/>
                      <a:pt x="282104" y="9888"/>
                    </a:cubicBezTo>
                    <a:close/>
                  </a:path>
                </a:pathLst>
              </a:custGeom>
              <a:solidFill>
                <a:schemeClr val="accent1"/>
              </a:solidFill>
              <a:ln w="2890" cap="flat">
                <a:noFill/>
                <a:prstDash val="solid"/>
                <a:miter/>
              </a:ln>
            </p:spPr>
            <p:txBody>
              <a:bodyPr rtlCol="0" anchor="ctr"/>
              <a:lstStyle/>
              <a:p>
                <a:endParaRPr lang="en-GB" dirty="0"/>
              </a:p>
            </p:txBody>
          </p:sp>
          <p:sp>
            <p:nvSpPr>
              <p:cNvPr id="393" name="Freihandform: Form 392">
                <a:extLst>
                  <a:ext uri="{FF2B5EF4-FFF2-40B4-BE49-F238E27FC236}">
                    <a16:creationId xmlns:a16="http://schemas.microsoft.com/office/drawing/2014/main" id="{0FEF2F0C-249C-497F-86FC-76AC9AA84A7D}"/>
                  </a:ext>
                </a:extLst>
              </p:cNvPr>
              <p:cNvSpPr/>
              <p:nvPr/>
            </p:nvSpPr>
            <p:spPr>
              <a:xfrm>
                <a:off x="5446468" y="2076345"/>
                <a:ext cx="240845" cy="29144"/>
              </a:xfrm>
              <a:custGeom>
                <a:avLst/>
                <a:gdLst>
                  <a:gd name="connsiteX0" fmla="*/ 235901 w 240845"/>
                  <a:gd name="connsiteY0" fmla="*/ 29144 h 29144"/>
                  <a:gd name="connsiteX1" fmla="*/ 4944 w 240845"/>
                  <a:gd name="connsiteY1" fmla="*/ 29144 h 29144"/>
                  <a:gd name="connsiteX2" fmla="*/ 0 w 240845"/>
                  <a:gd name="connsiteY2" fmla="*/ 24200 h 29144"/>
                  <a:gd name="connsiteX3" fmla="*/ 0 w 240845"/>
                  <a:gd name="connsiteY3" fmla="*/ 4944 h 29144"/>
                  <a:gd name="connsiteX4" fmla="*/ 4944 w 240845"/>
                  <a:gd name="connsiteY4" fmla="*/ 0 h 29144"/>
                  <a:gd name="connsiteX5" fmla="*/ 9888 w 240845"/>
                  <a:gd name="connsiteY5" fmla="*/ 4944 h 29144"/>
                  <a:gd name="connsiteX6" fmla="*/ 9888 w 240845"/>
                  <a:gd name="connsiteY6" fmla="*/ 19256 h 29144"/>
                  <a:gd name="connsiteX7" fmla="*/ 230957 w 240845"/>
                  <a:gd name="connsiteY7" fmla="*/ 19256 h 29144"/>
                  <a:gd name="connsiteX8" fmla="*/ 230957 w 240845"/>
                  <a:gd name="connsiteY8" fmla="*/ 4944 h 29144"/>
                  <a:gd name="connsiteX9" fmla="*/ 235901 w 240845"/>
                  <a:gd name="connsiteY9" fmla="*/ 0 h 29144"/>
                  <a:gd name="connsiteX10" fmla="*/ 240845 w 240845"/>
                  <a:gd name="connsiteY10" fmla="*/ 4944 h 29144"/>
                  <a:gd name="connsiteX11" fmla="*/ 240845 w 240845"/>
                  <a:gd name="connsiteY11" fmla="*/ 24200 h 29144"/>
                  <a:gd name="connsiteX12" fmla="*/ 235901 w 240845"/>
                  <a:gd name="connsiteY12" fmla="*/ 29144 h 291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0845" h="29144">
                    <a:moveTo>
                      <a:pt x="235901" y="29144"/>
                    </a:moveTo>
                    <a:lnTo>
                      <a:pt x="4944" y="29144"/>
                    </a:lnTo>
                    <a:cubicBezTo>
                      <a:pt x="2226" y="29144"/>
                      <a:pt x="0" y="26918"/>
                      <a:pt x="0" y="24200"/>
                    </a:cubicBezTo>
                    <a:lnTo>
                      <a:pt x="0" y="4944"/>
                    </a:lnTo>
                    <a:cubicBezTo>
                      <a:pt x="0" y="2197"/>
                      <a:pt x="2226" y="0"/>
                      <a:pt x="4944" y="0"/>
                    </a:cubicBezTo>
                    <a:cubicBezTo>
                      <a:pt x="7691" y="0"/>
                      <a:pt x="9888" y="2226"/>
                      <a:pt x="9888" y="4944"/>
                    </a:cubicBezTo>
                    <a:lnTo>
                      <a:pt x="9888" y="19256"/>
                    </a:lnTo>
                    <a:lnTo>
                      <a:pt x="230957" y="19256"/>
                    </a:lnTo>
                    <a:lnTo>
                      <a:pt x="230957" y="4944"/>
                    </a:lnTo>
                    <a:cubicBezTo>
                      <a:pt x="230957" y="2197"/>
                      <a:pt x="233184" y="0"/>
                      <a:pt x="235901" y="0"/>
                    </a:cubicBezTo>
                    <a:cubicBezTo>
                      <a:pt x="238619" y="0"/>
                      <a:pt x="240845" y="2226"/>
                      <a:pt x="240845" y="4944"/>
                    </a:cubicBezTo>
                    <a:lnTo>
                      <a:pt x="240845" y="24200"/>
                    </a:lnTo>
                    <a:cubicBezTo>
                      <a:pt x="240845" y="26947"/>
                      <a:pt x="238648" y="29144"/>
                      <a:pt x="235901" y="29144"/>
                    </a:cubicBezTo>
                    <a:close/>
                  </a:path>
                </a:pathLst>
              </a:custGeom>
              <a:solidFill>
                <a:schemeClr val="accent1"/>
              </a:solidFill>
              <a:ln w="2890" cap="flat">
                <a:noFill/>
                <a:prstDash val="solid"/>
                <a:miter/>
              </a:ln>
            </p:spPr>
            <p:txBody>
              <a:bodyPr rtlCol="0" anchor="ctr"/>
              <a:lstStyle/>
              <a:p>
                <a:endParaRPr lang="en-GB" dirty="0"/>
              </a:p>
            </p:txBody>
          </p:sp>
          <p:sp>
            <p:nvSpPr>
              <p:cNvPr id="394" name="Freihandform: Form 393">
                <a:extLst>
                  <a:ext uri="{FF2B5EF4-FFF2-40B4-BE49-F238E27FC236}">
                    <a16:creationId xmlns:a16="http://schemas.microsoft.com/office/drawing/2014/main" id="{788D367C-69A2-458B-BF3F-EB071ACB5E90}"/>
                  </a:ext>
                </a:extLst>
              </p:cNvPr>
              <p:cNvSpPr/>
              <p:nvPr/>
            </p:nvSpPr>
            <p:spPr>
              <a:xfrm>
                <a:off x="5446468" y="2057117"/>
                <a:ext cx="240845" cy="9888"/>
              </a:xfrm>
              <a:custGeom>
                <a:avLst/>
                <a:gdLst>
                  <a:gd name="connsiteX0" fmla="*/ 235901 w 240845"/>
                  <a:gd name="connsiteY0" fmla="*/ 9888 h 9888"/>
                  <a:gd name="connsiteX1" fmla="*/ 4944 w 240845"/>
                  <a:gd name="connsiteY1" fmla="*/ 9888 h 9888"/>
                  <a:gd name="connsiteX2" fmla="*/ 0 w 240845"/>
                  <a:gd name="connsiteY2" fmla="*/ 4944 h 9888"/>
                  <a:gd name="connsiteX3" fmla="*/ 4944 w 240845"/>
                  <a:gd name="connsiteY3" fmla="*/ 0 h 9888"/>
                  <a:gd name="connsiteX4" fmla="*/ 235901 w 240845"/>
                  <a:gd name="connsiteY4" fmla="*/ 0 h 9888"/>
                  <a:gd name="connsiteX5" fmla="*/ 240845 w 240845"/>
                  <a:gd name="connsiteY5" fmla="*/ 4944 h 9888"/>
                  <a:gd name="connsiteX6" fmla="*/ 235901 w 240845"/>
                  <a:gd name="connsiteY6" fmla="*/ 9888 h 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0845" h="9888">
                    <a:moveTo>
                      <a:pt x="235901" y="9888"/>
                    </a:moveTo>
                    <a:lnTo>
                      <a:pt x="4944" y="9888"/>
                    </a:lnTo>
                    <a:cubicBezTo>
                      <a:pt x="2226" y="9888"/>
                      <a:pt x="0" y="7662"/>
                      <a:pt x="0" y="4944"/>
                    </a:cubicBezTo>
                    <a:cubicBezTo>
                      <a:pt x="0" y="2197"/>
                      <a:pt x="2226" y="0"/>
                      <a:pt x="4944" y="0"/>
                    </a:cubicBezTo>
                    <a:lnTo>
                      <a:pt x="235901" y="0"/>
                    </a:lnTo>
                    <a:cubicBezTo>
                      <a:pt x="238648" y="0"/>
                      <a:pt x="240845" y="2226"/>
                      <a:pt x="240845" y="4944"/>
                    </a:cubicBezTo>
                    <a:cubicBezTo>
                      <a:pt x="240845" y="7662"/>
                      <a:pt x="238648" y="9888"/>
                      <a:pt x="235901" y="9888"/>
                    </a:cubicBezTo>
                    <a:close/>
                  </a:path>
                </a:pathLst>
              </a:custGeom>
              <a:solidFill>
                <a:schemeClr val="accent1"/>
              </a:solidFill>
              <a:ln w="2890" cap="flat">
                <a:noFill/>
                <a:prstDash val="solid"/>
                <a:miter/>
              </a:ln>
            </p:spPr>
            <p:txBody>
              <a:bodyPr rtlCol="0" anchor="ctr"/>
              <a:lstStyle/>
              <a:p>
                <a:endParaRPr lang="en-GB" dirty="0"/>
              </a:p>
            </p:txBody>
          </p:sp>
          <p:sp>
            <p:nvSpPr>
              <p:cNvPr id="395" name="Freihandform: Form 394">
                <a:extLst>
                  <a:ext uri="{FF2B5EF4-FFF2-40B4-BE49-F238E27FC236}">
                    <a16:creationId xmlns:a16="http://schemas.microsoft.com/office/drawing/2014/main" id="{4C6A3CA3-ABCF-4A5A-BAE4-AF47205A5009}"/>
                  </a:ext>
                </a:extLst>
              </p:cNvPr>
              <p:cNvSpPr/>
              <p:nvPr/>
            </p:nvSpPr>
            <p:spPr>
              <a:xfrm>
                <a:off x="5446468" y="1941610"/>
                <a:ext cx="240845" cy="106139"/>
              </a:xfrm>
              <a:custGeom>
                <a:avLst/>
                <a:gdLst>
                  <a:gd name="connsiteX0" fmla="*/ 235901 w 240845"/>
                  <a:gd name="connsiteY0" fmla="*/ 106140 h 106139"/>
                  <a:gd name="connsiteX1" fmla="*/ 4944 w 240845"/>
                  <a:gd name="connsiteY1" fmla="*/ 106140 h 106139"/>
                  <a:gd name="connsiteX2" fmla="*/ 0 w 240845"/>
                  <a:gd name="connsiteY2" fmla="*/ 101196 h 106139"/>
                  <a:gd name="connsiteX3" fmla="*/ 120423 w 240845"/>
                  <a:gd name="connsiteY3" fmla="*/ 0 h 106139"/>
                  <a:gd name="connsiteX4" fmla="*/ 240845 w 240845"/>
                  <a:gd name="connsiteY4" fmla="*/ 101196 h 106139"/>
                  <a:gd name="connsiteX5" fmla="*/ 235901 w 240845"/>
                  <a:gd name="connsiteY5" fmla="*/ 106140 h 106139"/>
                  <a:gd name="connsiteX6" fmla="*/ 10004 w 240845"/>
                  <a:gd name="connsiteY6" fmla="*/ 96251 h 106139"/>
                  <a:gd name="connsiteX7" fmla="*/ 230842 w 240845"/>
                  <a:gd name="connsiteY7" fmla="*/ 96251 h 106139"/>
                  <a:gd name="connsiteX8" fmla="*/ 120423 w 240845"/>
                  <a:gd name="connsiteY8" fmla="*/ 9917 h 106139"/>
                  <a:gd name="connsiteX9" fmla="*/ 10004 w 240845"/>
                  <a:gd name="connsiteY9" fmla="*/ 96251 h 106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0845" h="106139">
                    <a:moveTo>
                      <a:pt x="235901" y="106140"/>
                    </a:moveTo>
                    <a:lnTo>
                      <a:pt x="4944" y="106140"/>
                    </a:lnTo>
                    <a:cubicBezTo>
                      <a:pt x="2226" y="106140"/>
                      <a:pt x="0" y="103913"/>
                      <a:pt x="0" y="101196"/>
                    </a:cubicBezTo>
                    <a:cubicBezTo>
                      <a:pt x="0" y="39726"/>
                      <a:pt x="47273" y="0"/>
                      <a:pt x="120423" y="0"/>
                    </a:cubicBezTo>
                    <a:cubicBezTo>
                      <a:pt x="193573" y="0"/>
                      <a:pt x="240845" y="39726"/>
                      <a:pt x="240845" y="101196"/>
                    </a:cubicBezTo>
                    <a:cubicBezTo>
                      <a:pt x="240845" y="103942"/>
                      <a:pt x="238648" y="106140"/>
                      <a:pt x="235901" y="106140"/>
                    </a:cubicBezTo>
                    <a:close/>
                    <a:moveTo>
                      <a:pt x="10004" y="96251"/>
                    </a:moveTo>
                    <a:lnTo>
                      <a:pt x="230842" y="96251"/>
                    </a:lnTo>
                    <a:cubicBezTo>
                      <a:pt x="228326" y="43630"/>
                      <a:pt x="185535" y="9917"/>
                      <a:pt x="120423" y="9917"/>
                    </a:cubicBezTo>
                    <a:cubicBezTo>
                      <a:pt x="55282" y="9917"/>
                      <a:pt x="12519" y="43630"/>
                      <a:pt x="10004" y="96251"/>
                    </a:cubicBezTo>
                    <a:close/>
                  </a:path>
                </a:pathLst>
              </a:custGeom>
              <a:solidFill>
                <a:schemeClr val="accent1"/>
              </a:solidFill>
              <a:ln w="2890" cap="flat">
                <a:noFill/>
                <a:prstDash val="solid"/>
                <a:miter/>
              </a:ln>
            </p:spPr>
            <p:txBody>
              <a:bodyPr rtlCol="0" anchor="ctr"/>
              <a:lstStyle/>
              <a:p>
                <a:endParaRPr lang="en-GB" dirty="0"/>
              </a:p>
            </p:txBody>
          </p:sp>
          <p:sp>
            <p:nvSpPr>
              <p:cNvPr id="396" name="Freihandform: Form 395">
                <a:extLst>
                  <a:ext uri="{FF2B5EF4-FFF2-40B4-BE49-F238E27FC236}">
                    <a16:creationId xmlns:a16="http://schemas.microsoft.com/office/drawing/2014/main" id="{BD90D7D8-6382-4598-B13B-99F23854ED59}"/>
                  </a:ext>
                </a:extLst>
              </p:cNvPr>
              <p:cNvSpPr/>
              <p:nvPr/>
            </p:nvSpPr>
            <p:spPr>
              <a:xfrm>
                <a:off x="5472933" y="1962220"/>
                <a:ext cx="72942" cy="55286"/>
              </a:xfrm>
              <a:custGeom>
                <a:avLst/>
                <a:gdLst>
                  <a:gd name="connsiteX0" fmla="*/ 4934 w 72942"/>
                  <a:gd name="connsiteY0" fmla="*/ 55286 h 55286"/>
                  <a:gd name="connsiteX1" fmla="*/ 2592 w 72942"/>
                  <a:gd name="connsiteY1" fmla="*/ 54679 h 55286"/>
                  <a:gd name="connsiteX2" fmla="*/ 597 w 72942"/>
                  <a:gd name="connsiteY2" fmla="*/ 47971 h 55286"/>
                  <a:gd name="connsiteX3" fmla="*/ 66808 w 72942"/>
                  <a:gd name="connsiteY3" fmla="*/ 149 h 55286"/>
                  <a:gd name="connsiteX4" fmla="*/ 72793 w 72942"/>
                  <a:gd name="connsiteY4" fmla="*/ 3763 h 55286"/>
                  <a:gd name="connsiteX5" fmla="*/ 69179 w 72942"/>
                  <a:gd name="connsiteY5" fmla="*/ 9748 h 55286"/>
                  <a:gd name="connsiteX6" fmla="*/ 9271 w 72942"/>
                  <a:gd name="connsiteY6" fmla="*/ 52684 h 55286"/>
                  <a:gd name="connsiteX7" fmla="*/ 4934 w 72942"/>
                  <a:gd name="connsiteY7" fmla="*/ 55286 h 55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942" h="55286">
                    <a:moveTo>
                      <a:pt x="4934" y="55286"/>
                    </a:moveTo>
                    <a:cubicBezTo>
                      <a:pt x="4125" y="55286"/>
                      <a:pt x="3315" y="55084"/>
                      <a:pt x="2592" y="54679"/>
                    </a:cubicBezTo>
                    <a:cubicBezTo>
                      <a:pt x="192" y="53378"/>
                      <a:pt x="-704" y="50371"/>
                      <a:pt x="597" y="47971"/>
                    </a:cubicBezTo>
                    <a:cubicBezTo>
                      <a:pt x="13435" y="24263"/>
                      <a:pt x="36334" y="7753"/>
                      <a:pt x="66808" y="149"/>
                    </a:cubicBezTo>
                    <a:cubicBezTo>
                      <a:pt x="69439" y="-516"/>
                      <a:pt x="72157" y="1103"/>
                      <a:pt x="72793" y="3763"/>
                    </a:cubicBezTo>
                    <a:cubicBezTo>
                      <a:pt x="73458" y="6423"/>
                      <a:pt x="71839" y="9112"/>
                      <a:pt x="69179" y="9748"/>
                    </a:cubicBezTo>
                    <a:cubicBezTo>
                      <a:pt x="41480" y="16659"/>
                      <a:pt x="20750" y="31491"/>
                      <a:pt x="9271" y="52684"/>
                    </a:cubicBezTo>
                    <a:cubicBezTo>
                      <a:pt x="8404" y="54361"/>
                      <a:pt x="6698" y="55286"/>
                      <a:pt x="4934" y="55286"/>
                    </a:cubicBezTo>
                    <a:close/>
                  </a:path>
                </a:pathLst>
              </a:custGeom>
              <a:solidFill>
                <a:schemeClr val="accent1"/>
              </a:solidFill>
              <a:ln w="2890" cap="flat">
                <a:noFill/>
                <a:prstDash val="solid"/>
                <a:miter/>
              </a:ln>
            </p:spPr>
            <p:txBody>
              <a:bodyPr rtlCol="0" anchor="ctr"/>
              <a:lstStyle/>
              <a:p>
                <a:endParaRPr lang="en-GB" dirty="0"/>
              </a:p>
            </p:txBody>
          </p:sp>
          <p:sp>
            <p:nvSpPr>
              <p:cNvPr id="397" name="Freihandform: Form 396">
                <a:extLst>
                  <a:ext uri="{FF2B5EF4-FFF2-40B4-BE49-F238E27FC236}">
                    <a16:creationId xmlns:a16="http://schemas.microsoft.com/office/drawing/2014/main" id="{BD67F7ED-7D49-4C08-84D4-05302C753BA4}"/>
                  </a:ext>
                </a:extLst>
              </p:cNvPr>
              <p:cNvSpPr/>
              <p:nvPr/>
            </p:nvSpPr>
            <p:spPr>
              <a:xfrm>
                <a:off x="5561946" y="1919636"/>
                <a:ext cx="9888" cy="31891"/>
              </a:xfrm>
              <a:custGeom>
                <a:avLst/>
                <a:gdLst>
                  <a:gd name="connsiteX0" fmla="*/ 4944 w 9888"/>
                  <a:gd name="connsiteY0" fmla="*/ 31891 h 31891"/>
                  <a:gd name="connsiteX1" fmla="*/ 0 w 9888"/>
                  <a:gd name="connsiteY1" fmla="*/ 26947 h 31891"/>
                  <a:gd name="connsiteX2" fmla="*/ 0 w 9888"/>
                  <a:gd name="connsiteY2" fmla="*/ 4944 h 31891"/>
                  <a:gd name="connsiteX3" fmla="*/ 4944 w 9888"/>
                  <a:gd name="connsiteY3" fmla="*/ 0 h 31891"/>
                  <a:gd name="connsiteX4" fmla="*/ 9888 w 9888"/>
                  <a:gd name="connsiteY4" fmla="*/ 4944 h 31891"/>
                  <a:gd name="connsiteX5" fmla="*/ 9888 w 9888"/>
                  <a:gd name="connsiteY5" fmla="*/ 26947 h 31891"/>
                  <a:gd name="connsiteX6" fmla="*/ 4944 w 9888"/>
                  <a:gd name="connsiteY6" fmla="*/ 31891 h 31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31891">
                    <a:moveTo>
                      <a:pt x="4944" y="31891"/>
                    </a:moveTo>
                    <a:cubicBezTo>
                      <a:pt x="2197" y="31891"/>
                      <a:pt x="0" y="29665"/>
                      <a:pt x="0" y="26947"/>
                    </a:cubicBezTo>
                    <a:lnTo>
                      <a:pt x="0" y="4944"/>
                    </a:lnTo>
                    <a:cubicBezTo>
                      <a:pt x="0" y="2197"/>
                      <a:pt x="2226" y="0"/>
                      <a:pt x="4944" y="0"/>
                    </a:cubicBezTo>
                    <a:cubicBezTo>
                      <a:pt x="7691" y="0"/>
                      <a:pt x="9888" y="2226"/>
                      <a:pt x="9888" y="4944"/>
                    </a:cubicBezTo>
                    <a:lnTo>
                      <a:pt x="9888" y="26947"/>
                    </a:lnTo>
                    <a:cubicBezTo>
                      <a:pt x="9888" y="29665"/>
                      <a:pt x="7662" y="31891"/>
                      <a:pt x="4944" y="31891"/>
                    </a:cubicBezTo>
                    <a:close/>
                  </a:path>
                </a:pathLst>
              </a:custGeom>
              <a:solidFill>
                <a:schemeClr val="accent1"/>
              </a:solidFill>
              <a:ln w="2890" cap="flat">
                <a:noFill/>
                <a:prstDash val="solid"/>
                <a:miter/>
              </a:ln>
            </p:spPr>
            <p:txBody>
              <a:bodyPr rtlCol="0" anchor="ctr"/>
              <a:lstStyle/>
              <a:p>
                <a:endParaRPr lang="en-GB" dirty="0"/>
              </a:p>
            </p:txBody>
          </p:sp>
          <p:sp>
            <p:nvSpPr>
              <p:cNvPr id="398" name="Freihandform: Form 397">
                <a:extLst>
                  <a:ext uri="{FF2B5EF4-FFF2-40B4-BE49-F238E27FC236}">
                    <a16:creationId xmlns:a16="http://schemas.microsoft.com/office/drawing/2014/main" id="{2687094E-0EF8-465C-BB9E-505BF803CDB4}"/>
                  </a:ext>
                </a:extLst>
              </p:cNvPr>
              <p:cNvSpPr/>
              <p:nvPr/>
            </p:nvSpPr>
            <p:spPr>
              <a:xfrm>
                <a:off x="5534999" y="1900409"/>
                <a:ext cx="63782" cy="29115"/>
              </a:xfrm>
              <a:custGeom>
                <a:avLst/>
                <a:gdLst>
                  <a:gd name="connsiteX0" fmla="*/ 53084 w 63782"/>
                  <a:gd name="connsiteY0" fmla="*/ 29115 h 29115"/>
                  <a:gd name="connsiteX1" fmla="*/ 10698 w 63782"/>
                  <a:gd name="connsiteY1" fmla="*/ 29115 h 29115"/>
                  <a:gd name="connsiteX2" fmla="*/ 0 w 63782"/>
                  <a:gd name="connsiteY2" fmla="*/ 18418 h 29115"/>
                  <a:gd name="connsiteX3" fmla="*/ 0 w 63782"/>
                  <a:gd name="connsiteY3" fmla="*/ 10698 h 29115"/>
                  <a:gd name="connsiteX4" fmla="*/ 10698 w 63782"/>
                  <a:gd name="connsiteY4" fmla="*/ 0 h 29115"/>
                  <a:gd name="connsiteX5" fmla="*/ 53084 w 63782"/>
                  <a:gd name="connsiteY5" fmla="*/ 0 h 29115"/>
                  <a:gd name="connsiteX6" fmla="*/ 63782 w 63782"/>
                  <a:gd name="connsiteY6" fmla="*/ 10698 h 29115"/>
                  <a:gd name="connsiteX7" fmla="*/ 63782 w 63782"/>
                  <a:gd name="connsiteY7" fmla="*/ 18418 h 29115"/>
                  <a:gd name="connsiteX8" fmla="*/ 53084 w 63782"/>
                  <a:gd name="connsiteY8" fmla="*/ 29115 h 29115"/>
                  <a:gd name="connsiteX9" fmla="*/ 10698 w 63782"/>
                  <a:gd name="connsiteY9" fmla="*/ 9859 h 29115"/>
                  <a:gd name="connsiteX10" fmla="*/ 9888 w 63782"/>
                  <a:gd name="connsiteY10" fmla="*/ 10669 h 29115"/>
                  <a:gd name="connsiteX11" fmla="*/ 9888 w 63782"/>
                  <a:gd name="connsiteY11" fmla="*/ 18389 h 29115"/>
                  <a:gd name="connsiteX12" fmla="*/ 10698 w 63782"/>
                  <a:gd name="connsiteY12" fmla="*/ 19198 h 29115"/>
                  <a:gd name="connsiteX13" fmla="*/ 53084 w 63782"/>
                  <a:gd name="connsiteY13" fmla="*/ 19198 h 29115"/>
                  <a:gd name="connsiteX14" fmla="*/ 53894 w 63782"/>
                  <a:gd name="connsiteY14" fmla="*/ 18389 h 29115"/>
                  <a:gd name="connsiteX15" fmla="*/ 53894 w 63782"/>
                  <a:gd name="connsiteY15" fmla="*/ 10669 h 29115"/>
                  <a:gd name="connsiteX16" fmla="*/ 53084 w 63782"/>
                  <a:gd name="connsiteY16" fmla="*/ 9859 h 29115"/>
                  <a:gd name="connsiteX17" fmla="*/ 10698 w 63782"/>
                  <a:gd name="connsiteY17" fmla="*/ 9859 h 29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3782" h="29115">
                    <a:moveTo>
                      <a:pt x="53084" y="29115"/>
                    </a:moveTo>
                    <a:lnTo>
                      <a:pt x="10698" y="29115"/>
                    </a:lnTo>
                    <a:cubicBezTo>
                      <a:pt x="4800" y="29115"/>
                      <a:pt x="0" y="24316"/>
                      <a:pt x="0" y="18418"/>
                    </a:cubicBezTo>
                    <a:lnTo>
                      <a:pt x="0" y="10698"/>
                    </a:lnTo>
                    <a:cubicBezTo>
                      <a:pt x="0" y="4800"/>
                      <a:pt x="4800" y="0"/>
                      <a:pt x="10698" y="0"/>
                    </a:cubicBezTo>
                    <a:lnTo>
                      <a:pt x="53084" y="0"/>
                    </a:lnTo>
                    <a:cubicBezTo>
                      <a:pt x="58983" y="0"/>
                      <a:pt x="63782" y="4800"/>
                      <a:pt x="63782" y="10698"/>
                    </a:cubicBezTo>
                    <a:lnTo>
                      <a:pt x="63782" y="18418"/>
                    </a:lnTo>
                    <a:cubicBezTo>
                      <a:pt x="63782" y="24316"/>
                      <a:pt x="58983" y="29115"/>
                      <a:pt x="53084" y="29115"/>
                    </a:cubicBezTo>
                    <a:close/>
                    <a:moveTo>
                      <a:pt x="10698" y="9859"/>
                    </a:moveTo>
                    <a:cubicBezTo>
                      <a:pt x="10264" y="9859"/>
                      <a:pt x="9888" y="10235"/>
                      <a:pt x="9888" y="10669"/>
                    </a:cubicBezTo>
                    <a:lnTo>
                      <a:pt x="9888" y="18389"/>
                    </a:lnTo>
                    <a:cubicBezTo>
                      <a:pt x="9888" y="18822"/>
                      <a:pt x="10264" y="19198"/>
                      <a:pt x="10698" y="19198"/>
                    </a:cubicBezTo>
                    <a:lnTo>
                      <a:pt x="53084" y="19198"/>
                    </a:lnTo>
                    <a:cubicBezTo>
                      <a:pt x="53518" y="19198"/>
                      <a:pt x="53894" y="18822"/>
                      <a:pt x="53894" y="18389"/>
                    </a:cubicBezTo>
                    <a:lnTo>
                      <a:pt x="53894" y="10669"/>
                    </a:lnTo>
                    <a:cubicBezTo>
                      <a:pt x="53894" y="10235"/>
                      <a:pt x="53518" y="9859"/>
                      <a:pt x="53084" y="9859"/>
                    </a:cubicBezTo>
                    <a:lnTo>
                      <a:pt x="10698" y="9859"/>
                    </a:lnTo>
                    <a:close/>
                  </a:path>
                </a:pathLst>
              </a:custGeom>
              <a:solidFill>
                <a:schemeClr val="accent1"/>
              </a:solidFill>
              <a:ln w="2890" cap="flat">
                <a:noFill/>
                <a:prstDash val="solid"/>
                <a:miter/>
              </a:ln>
            </p:spPr>
            <p:txBody>
              <a:bodyPr rtlCol="0" anchor="ctr"/>
              <a:lstStyle/>
              <a:p>
                <a:endParaRPr lang="en-GB" dirty="0"/>
              </a:p>
            </p:txBody>
          </p:sp>
          <p:grpSp>
            <p:nvGrpSpPr>
              <p:cNvPr id="399" name="Grafik 53">
                <a:extLst>
                  <a:ext uri="{FF2B5EF4-FFF2-40B4-BE49-F238E27FC236}">
                    <a16:creationId xmlns:a16="http://schemas.microsoft.com/office/drawing/2014/main" id="{9678E931-E886-4759-BA99-D63B522EBADE}"/>
                  </a:ext>
                </a:extLst>
              </p:cNvPr>
              <p:cNvGrpSpPr/>
              <p:nvPr/>
            </p:nvGrpSpPr>
            <p:grpSpPr>
              <a:xfrm>
                <a:off x="5408179" y="1691510"/>
                <a:ext cx="320052" cy="131094"/>
                <a:chOff x="5408179" y="1691510"/>
                <a:chExt cx="320052" cy="131094"/>
              </a:xfrm>
              <a:solidFill>
                <a:schemeClr val="accent1"/>
              </a:solidFill>
            </p:grpSpPr>
            <p:sp>
              <p:nvSpPr>
                <p:cNvPr id="400" name="Freihandform: Form 399">
                  <a:extLst>
                    <a:ext uri="{FF2B5EF4-FFF2-40B4-BE49-F238E27FC236}">
                      <a16:creationId xmlns:a16="http://schemas.microsoft.com/office/drawing/2014/main" id="{3B9DC4FF-43AA-470A-8C7B-629132DAD766}"/>
                    </a:ext>
                  </a:extLst>
                </p:cNvPr>
                <p:cNvSpPr/>
                <p:nvPr/>
              </p:nvSpPr>
              <p:spPr>
                <a:xfrm>
                  <a:off x="5563102" y="1691510"/>
                  <a:ext cx="10062" cy="56238"/>
                </a:xfrm>
                <a:custGeom>
                  <a:avLst/>
                  <a:gdLst>
                    <a:gd name="connsiteX0" fmla="*/ 4944 w 10062"/>
                    <a:gd name="connsiteY0" fmla="*/ 56238 h 56238"/>
                    <a:gd name="connsiteX1" fmla="*/ 4944 w 10062"/>
                    <a:gd name="connsiteY1" fmla="*/ 56238 h 56238"/>
                    <a:gd name="connsiteX2" fmla="*/ 0 w 10062"/>
                    <a:gd name="connsiteY2" fmla="*/ 51265 h 56238"/>
                    <a:gd name="connsiteX3" fmla="*/ 145 w 10062"/>
                    <a:gd name="connsiteY3" fmla="*/ 4947 h 56238"/>
                    <a:gd name="connsiteX4" fmla="*/ 5118 w 10062"/>
                    <a:gd name="connsiteY4" fmla="*/ 2 h 56238"/>
                    <a:gd name="connsiteX5" fmla="*/ 10062 w 10062"/>
                    <a:gd name="connsiteY5" fmla="*/ 4975 h 56238"/>
                    <a:gd name="connsiteX6" fmla="*/ 9917 w 10062"/>
                    <a:gd name="connsiteY6" fmla="*/ 51294 h 56238"/>
                    <a:gd name="connsiteX7" fmla="*/ 4944 w 10062"/>
                    <a:gd name="connsiteY7" fmla="*/ 56238 h 5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62" h="56238">
                      <a:moveTo>
                        <a:pt x="4944" y="56238"/>
                      </a:moveTo>
                      <a:cubicBezTo>
                        <a:pt x="4944" y="56238"/>
                        <a:pt x="4944" y="56238"/>
                        <a:pt x="4944" y="56238"/>
                      </a:cubicBezTo>
                      <a:cubicBezTo>
                        <a:pt x="2198" y="56238"/>
                        <a:pt x="-29" y="54012"/>
                        <a:pt x="0" y="51265"/>
                      </a:cubicBezTo>
                      <a:lnTo>
                        <a:pt x="145" y="4947"/>
                      </a:lnTo>
                      <a:cubicBezTo>
                        <a:pt x="145" y="2200"/>
                        <a:pt x="2342" y="-84"/>
                        <a:pt x="5118" y="2"/>
                      </a:cubicBezTo>
                      <a:cubicBezTo>
                        <a:pt x="7865" y="2"/>
                        <a:pt x="10062" y="2229"/>
                        <a:pt x="10062" y="4975"/>
                      </a:cubicBezTo>
                      <a:lnTo>
                        <a:pt x="9917" y="51294"/>
                      </a:lnTo>
                      <a:cubicBezTo>
                        <a:pt x="9889" y="54041"/>
                        <a:pt x="7662" y="56238"/>
                        <a:pt x="4944" y="56238"/>
                      </a:cubicBezTo>
                      <a:close/>
                    </a:path>
                  </a:pathLst>
                </a:custGeom>
                <a:solidFill>
                  <a:schemeClr val="accent1"/>
                </a:solidFill>
                <a:ln w="2890" cap="flat">
                  <a:noFill/>
                  <a:prstDash val="solid"/>
                  <a:miter/>
                </a:ln>
              </p:spPr>
              <p:txBody>
                <a:bodyPr rtlCol="0" anchor="ctr"/>
                <a:lstStyle/>
                <a:p>
                  <a:endParaRPr lang="en-GB" dirty="0"/>
                </a:p>
              </p:txBody>
            </p:sp>
            <p:sp>
              <p:nvSpPr>
                <p:cNvPr id="401" name="Freihandform: Form 400">
                  <a:extLst>
                    <a:ext uri="{FF2B5EF4-FFF2-40B4-BE49-F238E27FC236}">
                      <a16:creationId xmlns:a16="http://schemas.microsoft.com/office/drawing/2014/main" id="{5A471AA9-7333-4C9F-8F4C-12CCE47A9A95}"/>
                    </a:ext>
                  </a:extLst>
                </p:cNvPr>
                <p:cNvSpPr/>
                <p:nvPr/>
              </p:nvSpPr>
              <p:spPr>
                <a:xfrm>
                  <a:off x="5408179" y="1770727"/>
                  <a:ext cx="51884" cy="51877"/>
                </a:xfrm>
                <a:custGeom>
                  <a:avLst/>
                  <a:gdLst>
                    <a:gd name="connsiteX0" fmla="*/ 46933 w 51884"/>
                    <a:gd name="connsiteY0" fmla="*/ 51877 h 51877"/>
                    <a:gd name="connsiteX1" fmla="*/ 43435 w 51884"/>
                    <a:gd name="connsiteY1" fmla="*/ 50432 h 51877"/>
                    <a:gd name="connsiteX2" fmla="*/ 1453 w 51884"/>
                    <a:gd name="connsiteY2" fmla="*/ 8450 h 51877"/>
                    <a:gd name="connsiteX3" fmla="*/ 1453 w 51884"/>
                    <a:gd name="connsiteY3" fmla="*/ 1453 h 51877"/>
                    <a:gd name="connsiteX4" fmla="*/ 8450 w 51884"/>
                    <a:gd name="connsiteY4" fmla="*/ 1453 h 51877"/>
                    <a:gd name="connsiteX5" fmla="*/ 50432 w 51884"/>
                    <a:gd name="connsiteY5" fmla="*/ 43435 h 51877"/>
                    <a:gd name="connsiteX6" fmla="*/ 50432 w 51884"/>
                    <a:gd name="connsiteY6" fmla="*/ 50432 h 51877"/>
                    <a:gd name="connsiteX7" fmla="*/ 46933 w 51884"/>
                    <a:gd name="connsiteY7" fmla="*/ 51877 h 5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884" h="51877">
                      <a:moveTo>
                        <a:pt x="46933" y="51877"/>
                      </a:moveTo>
                      <a:cubicBezTo>
                        <a:pt x="45661" y="51877"/>
                        <a:pt x="44389" y="51386"/>
                        <a:pt x="43435" y="50432"/>
                      </a:cubicBezTo>
                      <a:lnTo>
                        <a:pt x="1453" y="8450"/>
                      </a:lnTo>
                      <a:cubicBezTo>
                        <a:pt x="-484" y="6513"/>
                        <a:pt x="-484" y="3390"/>
                        <a:pt x="1453" y="1453"/>
                      </a:cubicBezTo>
                      <a:cubicBezTo>
                        <a:pt x="3390" y="-484"/>
                        <a:pt x="6513" y="-484"/>
                        <a:pt x="8450" y="1453"/>
                      </a:cubicBezTo>
                      <a:lnTo>
                        <a:pt x="50432" y="43435"/>
                      </a:lnTo>
                      <a:cubicBezTo>
                        <a:pt x="52369" y="45372"/>
                        <a:pt x="52369" y="48494"/>
                        <a:pt x="50432" y="50432"/>
                      </a:cubicBezTo>
                      <a:cubicBezTo>
                        <a:pt x="49477" y="51386"/>
                        <a:pt x="48205" y="51877"/>
                        <a:pt x="46933" y="51877"/>
                      </a:cubicBezTo>
                      <a:close/>
                    </a:path>
                  </a:pathLst>
                </a:custGeom>
                <a:solidFill>
                  <a:schemeClr val="accent1"/>
                </a:solidFill>
                <a:ln w="2890" cap="flat">
                  <a:noFill/>
                  <a:prstDash val="solid"/>
                  <a:miter/>
                </a:ln>
              </p:spPr>
              <p:txBody>
                <a:bodyPr rtlCol="0" anchor="ctr"/>
                <a:lstStyle/>
                <a:p>
                  <a:endParaRPr lang="en-GB" dirty="0"/>
                </a:p>
              </p:txBody>
            </p:sp>
            <p:sp>
              <p:nvSpPr>
                <p:cNvPr id="402" name="Freihandform: Form 401">
                  <a:extLst>
                    <a:ext uri="{FF2B5EF4-FFF2-40B4-BE49-F238E27FC236}">
                      <a16:creationId xmlns:a16="http://schemas.microsoft.com/office/drawing/2014/main" id="{EB153D63-E888-4136-8C2A-CC6EF23DDAAE}"/>
                    </a:ext>
                  </a:extLst>
                </p:cNvPr>
                <p:cNvSpPr/>
                <p:nvPr/>
              </p:nvSpPr>
              <p:spPr>
                <a:xfrm>
                  <a:off x="5676319" y="1770727"/>
                  <a:ext cx="51913" cy="51877"/>
                </a:xfrm>
                <a:custGeom>
                  <a:avLst/>
                  <a:gdLst>
                    <a:gd name="connsiteX0" fmla="*/ 4951 w 51913"/>
                    <a:gd name="connsiteY0" fmla="*/ 51877 h 51877"/>
                    <a:gd name="connsiteX1" fmla="*/ 1453 w 51913"/>
                    <a:gd name="connsiteY1" fmla="*/ 50432 h 51877"/>
                    <a:gd name="connsiteX2" fmla="*/ 1453 w 51913"/>
                    <a:gd name="connsiteY2" fmla="*/ 43435 h 51877"/>
                    <a:gd name="connsiteX3" fmla="*/ 43464 w 51913"/>
                    <a:gd name="connsiteY3" fmla="*/ 1453 h 51877"/>
                    <a:gd name="connsiteX4" fmla="*/ 50460 w 51913"/>
                    <a:gd name="connsiteY4" fmla="*/ 1453 h 51877"/>
                    <a:gd name="connsiteX5" fmla="*/ 50460 w 51913"/>
                    <a:gd name="connsiteY5" fmla="*/ 8450 h 51877"/>
                    <a:gd name="connsiteX6" fmla="*/ 8450 w 51913"/>
                    <a:gd name="connsiteY6" fmla="*/ 50432 h 51877"/>
                    <a:gd name="connsiteX7" fmla="*/ 4951 w 51913"/>
                    <a:gd name="connsiteY7" fmla="*/ 51877 h 51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913" h="51877">
                      <a:moveTo>
                        <a:pt x="4951" y="51877"/>
                      </a:moveTo>
                      <a:cubicBezTo>
                        <a:pt x="3679" y="51877"/>
                        <a:pt x="2407" y="51386"/>
                        <a:pt x="1453" y="50432"/>
                      </a:cubicBezTo>
                      <a:cubicBezTo>
                        <a:pt x="-484" y="48494"/>
                        <a:pt x="-484" y="45372"/>
                        <a:pt x="1453" y="43435"/>
                      </a:cubicBezTo>
                      <a:lnTo>
                        <a:pt x="43464" y="1453"/>
                      </a:lnTo>
                      <a:cubicBezTo>
                        <a:pt x="45401" y="-484"/>
                        <a:pt x="48523" y="-484"/>
                        <a:pt x="50460" y="1453"/>
                      </a:cubicBezTo>
                      <a:cubicBezTo>
                        <a:pt x="52398" y="3390"/>
                        <a:pt x="52398" y="6513"/>
                        <a:pt x="50460" y="8450"/>
                      </a:cubicBezTo>
                      <a:lnTo>
                        <a:pt x="8450" y="50432"/>
                      </a:lnTo>
                      <a:cubicBezTo>
                        <a:pt x="7496" y="51386"/>
                        <a:pt x="6224" y="51877"/>
                        <a:pt x="4951" y="51877"/>
                      </a:cubicBezTo>
                      <a:close/>
                    </a:path>
                  </a:pathLst>
                </a:custGeom>
                <a:solidFill>
                  <a:schemeClr val="accent1"/>
                </a:solidFill>
                <a:ln w="2890" cap="flat">
                  <a:noFill/>
                  <a:prstDash val="solid"/>
                  <a:miter/>
                </a:ln>
              </p:spPr>
              <p:txBody>
                <a:bodyPr rtlCol="0" anchor="ctr"/>
                <a:lstStyle/>
                <a:p>
                  <a:endParaRPr lang="en-GB" dirty="0"/>
                </a:p>
              </p:txBody>
            </p:sp>
          </p:grpSp>
        </p:grpSp>
      </p:grpSp>
      <p:grpSp>
        <p:nvGrpSpPr>
          <p:cNvPr id="29" name="Group 28">
            <a:extLst>
              <a:ext uri="{FF2B5EF4-FFF2-40B4-BE49-F238E27FC236}">
                <a16:creationId xmlns:a16="http://schemas.microsoft.com/office/drawing/2014/main" id="{ADCF3877-634E-756F-EB69-649B06AD1B71}"/>
              </a:ext>
            </a:extLst>
          </p:cNvPr>
          <p:cNvGrpSpPr/>
          <p:nvPr/>
        </p:nvGrpSpPr>
        <p:grpSpPr>
          <a:xfrm>
            <a:off x="7072000" y="1626718"/>
            <a:ext cx="415338" cy="431996"/>
            <a:chOff x="6981844" y="1626718"/>
            <a:chExt cx="415338" cy="431996"/>
          </a:xfrm>
        </p:grpSpPr>
        <p:grpSp>
          <p:nvGrpSpPr>
            <p:cNvPr id="406" name="Grafik 53">
              <a:extLst>
                <a:ext uri="{FF2B5EF4-FFF2-40B4-BE49-F238E27FC236}">
                  <a16:creationId xmlns:a16="http://schemas.microsoft.com/office/drawing/2014/main" id="{E0FE593C-3E9E-41B2-A40A-B6CC5D8F1C2D}"/>
                </a:ext>
              </a:extLst>
            </p:cNvPr>
            <p:cNvGrpSpPr/>
            <p:nvPr/>
          </p:nvGrpSpPr>
          <p:grpSpPr>
            <a:xfrm>
              <a:off x="7061890" y="1626718"/>
              <a:ext cx="255221" cy="352594"/>
              <a:chOff x="7057288" y="1694760"/>
              <a:chExt cx="284179" cy="392600"/>
            </a:xfrm>
            <a:solidFill>
              <a:schemeClr val="tx2"/>
            </a:solidFill>
          </p:grpSpPr>
          <p:sp>
            <p:nvSpPr>
              <p:cNvPr id="419" name="Freihandform: Form 418">
                <a:extLst>
                  <a:ext uri="{FF2B5EF4-FFF2-40B4-BE49-F238E27FC236}">
                    <a16:creationId xmlns:a16="http://schemas.microsoft.com/office/drawing/2014/main" id="{6FC59BC3-EEBD-4C31-AD65-585869FC15EE}"/>
                  </a:ext>
                </a:extLst>
              </p:cNvPr>
              <p:cNvSpPr/>
              <p:nvPr/>
            </p:nvSpPr>
            <p:spPr>
              <a:xfrm>
                <a:off x="7169655" y="1967863"/>
                <a:ext cx="64013" cy="43449"/>
              </a:xfrm>
              <a:custGeom>
                <a:avLst/>
                <a:gdLst>
                  <a:gd name="connsiteX0" fmla="*/ 31689 w 64013"/>
                  <a:gd name="connsiteY0" fmla="*/ 43427 h 43449"/>
                  <a:gd name="connsiteX1" fmla="*/ 31371 w 64013"/>
                  <a:gd name="connsiteY1" fmla="*/ 43398 h 43449"/>
                  <a:gd name="connsiteX2" fmla="*/ 31400 w 64013"/>
                  <a:gd name="connsiteY2" fmla="*/ 43283 h 43449"/>
                  <a:gd name="connsiteX3" fmla="*/ 10929 w 64013"/>
                  <a:gd name="connsiteY3" fmla="*/ 31024 h 43449"/>
                  <a:gd name="connsiteX4" fmla="*/ 0 w 64013"/>
                  <a:gd name="connsiteY4" fmla="*/ 11739 h 43449"/>
                  <a:gd name="connsiteX5" fmla="*/ 0 w 64013"/>
                  <a:gd name="connsiteY5" fmla="*/ 4944 h 43449"/>
                  <a:gd name="connsiteX6" fmla="*/ 4944 w 64013"/>
                  <a:gd name="connsiteY6" fmla="*/ 0 h 43449"/>
                  <a:gd name="connsiteX7" fmla="*/ 9888 w 64013"/>
                  <a:gd name="connsiteY7" fmla="*/ 4944 h 43449"/>
                  <a:gd name="connsiteX8" fmla="*/ 9888 w 64013"/>
                  <a:gd name="connsiteY8" fmla="*/ 11739 h 43449"/>
                  <a:gd name="connsiteX9" fmla="*/ 32007 w 64013"/>
                  <a:gd name="connsiteY9" fmla="*/ 33077 h 43449"/>
                  <a:gd name="connsiteX10" fmla="*/ 54125 w 64013"/>
                  <a:gd name="connsiteY10" fmla="*/ 11739 h 43449"/>
                  <a:gd name="connsiteX11" fmla="*/ 54125 w 64013"/>
                  <a:gd name="connsiteY11" fmla="*/ 4944 h 43449"/>
                  <a:gd name="connsiteX12" fmla="*/ 59069 w 64013"/>
                  <a:gd name="connsiteY12" fmla="*/ 0 h 43449"/>
                  <a:gd name="connsiteX13" fmla="*/ 64013 w 64013"/>
                  <a:gd name="connsiteY13" fmla="*/ 4944 h 43449"/>
                  <a:gd name="connsiteX14" fmla="*/ 64013 w 64013"/>
                  <a:gd name="connsiteY14" fmla="*/ 11739 h 43449"/>
                  <a:gd name="connsiteX15" fmla="*/ 53287 w 64013"/>
                  <a:gd name="connsiteY15" fmla="*/ 30879 h 43449"/>
                  <a:gd name="connsiteX16" fmla="*/ 32672 w 64013"/>
                  <a:gd name="connsiteY16" fmla="*/ 43312 h 43449"/>
                  <a:gd name="connsiteX17" fmla="*/ 32701 w 64013"/>
                  <a:gd name="connsiteY17" fmla="*/ 43427 h 43449"/>
                  <a:gd name="connsiteX18" fmla="*/ 32036 w 64013"/>
                  <a:gd name="connsiteY18" fmla="*/ 43427 h 43449"/>
                  <a:gd name="connsiteX19" fmla="*/ 31689 w 64013"/>
                  <a:gd name="connsiteY19" fmla="*/ 43427 h 43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4013" h="43449">
                    <a:moveTo>
                      <a:pt x="31689" y="43427"/>
                    </a:moveTo>
                    <a:cubicBezTo>
                      <a:pt x="31573" y="43427"/>
                      <a:pt x="31457" y="43427"/>
                      <a:pt x="31371" y="43398"/>
                    </a:cubicBezTo>
                    <a:lnTo>
                      <a:pt x="31400" y="43283"/>
                    </a:lnTo>
                    <a:cubicBezTo>
                      <a:pt x="26658" y="42242"/>
                      <a:pt x="15584" y="35071"/>
                      <a:pt x="10929" y="31024"/>
                    </a:cubicBezTo>
                    <a:cubicBezTo>
                      <a:pt x="3672" y="24750"/>
                      <a:pt x="0" y="18244"/>
                      <a:pt x="0" y="11739"/>
                    </a:cubicBezTo>
                    <a:lnTo>
                      <a:pt x="0" y="4944"/>
                    </a:lnTo>
                    <a:cubicBezTo>
                      <a:pt x="0" y="2197"/>
                      <a:pt x="2226" y="0"/>
                      <a:pt x="4944" y="0"/>
                    </a:cubicBezTo>
                    <a:cubicBezTo>
                      <a:pt x="7691" y="0"/>
                      <a:pt x="9888" y="2226"/>
                      <a:pt x="9888" y="4944"/>
                    </a:cubicBezTo>
                    <a:lnTo>
                      <a:pt x="9888" y="11739"/>
                    </a:lnTo>
                    <a:cubicBezTo>
                      <a:pt x="9888" y="20152"/>
                      <a:pt x="24605" y="29462"/>
                      <a:pt x="32007" y="33077"/>
                    </a:cubicBezTo>
                    <a:cubicBezTo>
                      <a:pt x="39408" y="29491"/>
                      <a:pt x="54125" y="20181"/>
                      <a:pt x="54125" y="11739"/>
                    </a:cubicBezTo>
                    <a:lnTo>
                      <a:pt x="54125" y="4944"/>
                    </a:lnTo>
                    <a:cubicBezTo>
                      <a:pt x="54125" y="2197"/>
                      <a:pt x="56351" y="0"/>
                      <a:pt x="59069" y="0"/>
                    </a:cubicBezTo>
                    <a:cubicBezTo>
                      <a:pt x="61816" y="0"/>
                      <a:pt x="64013" y="2226"/>
                      <a:pt x="64013" y="4944"/>
                    </a:cubicBezTo>
                    <a:lnTo>
                      <a:pt x="64013" y="11739"/>
                    </a:lnTo>
                    <a:cubicBezTo>
                      <a:pt x="64013" y="18215"/>
                      <a:pt x="60399" y="24634"/>
                      <a:pt x="53287" y="30879"/>
                    </a:cubicBezTo>
                    <a:cubicBezTo>
                      <a:pt x="48632" y="34956"/>
                      <a:pt x="37471" y="42242"/>
                      <a:pt x="32672" y="43312"/>
                    </a:cubicBezTo>
                    <a:lnTo>
                      <a:pt x="32701" y="43427"/>
                    </a:lnTo>
                    <a:cubicBezTo>
                      <a:pt x="32498" y="43456"/>
                      <a:pt x="32296" y="43456"/>
                      <a:pt x="32036" y="43427"/>
                    </a:cubicBezTo>
                    <a:cubicBezTo>
                      <a:pt x="31920" y="43398"/>
                      <a:pt x="31804" y="43427"/>
                      <a:pt x="31689" y="43427"/>
                    </a:cubicBezTo>
                    <a:close/>
                  </a:path>
                </a:pathLst>
              </a:custGeom>
              <a:grpFill/>
              <a:ln w="2890" cap="flat">
                <a:noFill/>
                <a:prstDash val="solid"/>
                <a:miter/>
              </a:ln>
            </p:spPr>
            <p:txBody>
              <a:bodyPr rtlCol="0" anchor="ctr"/>
              <a:lstStyle/>
              <a:p>
                <a:endParaRPr lang="en-GB" dirty="0"/>
              </a:p>
            </p:txBody>
          </p:sp>
          <p:sp>
            <p:nvSpPr>
              <p:cNvPr id="420" name="Freihandform: Form 419">
                <a:extLst>
                  <a:ext uri="{FF2B5EF4-FFF2-40B4-BE49-F238E27FC236}">
                    <a16:creationId xmlns:a16="http://schemas.microsoft.com/office/drawing/2014/main" id="{95A6640E-EFAB-4539-B9D1-40488E6DE2D4}"/>
                  </a:ext>
                </a:extLst>
              </p:cNvPr>
              <p:cNvSpPr/>
              <p:nvPr/>
            </p:nvSpPr>
            <p:spPr>
              <a:xfrm>
                <a:off x="7234059" y="1962810"/>
                <a:ext cx="107408" cy="123191"/>
              </a:xfrm>
              <a:custGeom>
                <a:avLst/>
                <a:gdLst>
                  <a:gd name="connsiteX0" fmla="*/ 102482 w 107408"/>
                  <a:gd name="connsiteY0" fmla="*/ 123192 h 123191"/>
                  <a:gd name="connsiteX1" fmla="*/ 97567 w 107408"/>
                  <a:gd name="connsiteY1" fmla="*/ 118855 h 123191"/>
                  <a:gd name="connsiteX2" fmla="*/ 92796 w 107408"/>
                  <a:gd name="connsiteY2" fmla="*/ 79793 h 123191"/>
                  <a:gd name="connsiteX3" fmla="*/ 4120 w 107408"/>
                  <a:gd name="connsiteY3" fmla="*/ 9824 h 123191"/>
                  <a:gd name="connsiteX4" fmla="*/ 72 w 107408"/>
                  <a:gd name="connsiteY4" fmla="*/ 4099 h 123191"/>
                  <a:gd name="connsiteX5" fmla="*/ 5797 w 107408"/>
                  <a:gd name="connsiteY5" fmla="*/ 80 h 123191"/>
                  <a:gd name="connsiteX6" fmla="*/ 102569 w 107408"/>
                  <a:gd name="connsiteY6" fmla="*/ 78434 h 123191"/>
                  <a:gd name="connsiteX7" fmla="*/ 107368 w 107408"/>
                  <a:gd name="connsiteY7" fmla="*/ 117669 h 123191"/>
                  <a:gd name="connsiteX8" fmla="*/ 103060 w 107408"/>
                  <a:gd name="connsiteY8" fmla="*/ 123192 h 123191"/>
                  <a:gd name="connsiteX9" fmla="*/ 102482 w 107408"/>
                  <a:gd name="connsiteY9" fmla="*/ 123192 h 123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7408" h="123191">
                    <a:moveTo>
                      <a:pt x="102482" y="123192"/>
                    </a:moveTo>
                    <a:cubicBezTo>
                      <a:pt x="100024" y="123192"/>
                      <a:pt x="97885" y="121341"/>
                      <a:pt x="97567" y="118855"/>
                    </a:cubicBezTo>
                    <a:lnTo>
                      <a:pt x="92796" y="79793"/>
                    </a:lnTo>
                    <a:cubicBezTo>
                      <a:pt x="84903" y="29224"/>
                      <a:pt x="58447" y="19221"/>
                      <a:pt x="4120" y="9824"/>
                    </a:cubicBezTo>
                    <a:cubicBezTo>
                      <a:pt x="1431" y="9361"/>
                      <a:pt x="-391" y="6788"/>
                      <a:pt x="72" y="4099"/>
                    </a:cubicBezTo>
                    <a:cubicBezTo>
                      <a:pt x="534" y="1410"/>
                      <a:pt x="3166" y="-411"/>
                      <a:pt x="5797" y="80"/>
                    </a:cubicBezTo>
                    <a:cubicBezTo>
                      <a:pt x="58303" y="9188"/>
                      <a:pt x="93374" y="19539"/>
                      <a:pt x="102569" y="78434"/>
                    </a:cubicBezTo>
                    <a:lnTo>
                      <a:pt x="107368" y="117669"/>
                    </a:lnTo>
                    <a:cubicBezTo>
                      <a:pt x="107715" y="120387"/>
                      <a:pt x="105778" y="122845"/>
                      <a:pt x="103060" y="123192"/>
                    </a:cubicBezTo>
                    <a:cubicBezTo>
                      <a:pt x="102887" y="123192"/>
                      <a:pt x="102684" y="123192"/>
                      <a:pt x="102482" y="123192"/>
                    </a:cubicBezTo>
                    <a:close/>
                  </a:path>
                </a:pathLst>
              </a:custGeom>
              <a:grpFill/>
              <a:ln w="2890" cap="flat">
                <a:noFill/>
                <a:prstDash val="solid"/>
                <a:miter/>
              </a:ln>
            </p:spPr>
            <p:txBody>
              <a:bodyPr rtlCol="0" anchor="ctr"/>
              <a:lstStyle/>
              <a:p>
                <a:endParaRPr lang="en-GB" dirty="0"/>
              </a:p>
            </p:txBody>
          </p:sp>
          <p:sp>
            <p:nvSpPr>
              <p:cNvPr id="421" name="Freihandform: Form 420">
                <a:extLst>
                  <a:ext uri="{FF2B5EF4-FFF2-40B4-BE49-F238E27FC236}">
                    <a16:creationId xmlns:a16="http://schemas.microsoft.com/office/drawing/2014/main" id="{415C29C9-761E-4BD4-8B6A-9B9A82276807}"/>
                  </a:ext>
                </a:extLst>
              </p:cNvPr>
              <p:cNvSpPr/>
              <p:nvPr/>
            </p:nvSpPr>
            <p:spPr>
              <a:xfrm>
                <a:off x="7057288" y="1962421"/>
                <a:ext cx="109828" cy="124939"/>
              </a:xfrm>
              <a:custGeom>
                <a:avLst/>
                <a:gdLst>
                  <a:gd name="connsiteX0" fmla="*/ 4955 w 109828"/>
                  <a:gd name="connsiteY0" fmla="*/ 124939 h 124939"/>
                  <a:gd name="connsiteX1" fmla="*/ 4348 w 109828"/>
                  <a:gd name="connsiteY1" fmla="*/ 124910 h 124939"/>
                  <a:gd name="connsiteX2" fmla="*/ 40 w 109828"/>
                  <a:gd name="connsiteY2" fmla="*/ 119388 h 124939"/>
                  <a:gd name="connsiteX3" fmla="*/ 4984 w 109828"/>
                  <a:gd name="connsiteY3" fmla="*/ 78967 h 124939"/>
                  <a:gd name="connsiteX4" fmla="*/ 104098 w 109828"/>
                  <a:gd name="connsiteY4" fmla="*/ 64 h 124939"/>
                  <a:gd name="connsiteX5" fmla="*/ 109765 w 109828"/>
                  <a:gd name="connsiteY5" fmla="*/ 4169 h 124939"/>
                  <a:gd name="connsiteX6" fmla="*/ 105659 w 109828"/>
                  <a:gd name="connsiteY6" fmla="*/ 9836 h 124939"/>
                  <a:gd name="connsiteX7" fmla="*/ 14728 w 109828"/>
                  <a:gd name="connsiteY7" fmla="*/ 80529 h 124939"/>
                  <a:gd name="connsiteX8" fmla="*/ 9842 w 109828"/>
                  <a:gd name="connsiteY8" fmla="*/ 120602 h 124939"/>
                  <a:gd name="connsiteX9" fmla="*/ 4955 w 109828"/>
                  <a:gd name="connsiteY9" fmla="*/ 124939 h 124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828" h="124939">
                    <a:moveTo>
                      <a:pt x="4955" y="124939"/>
                    </a:moveTo>
                    <a:cubicBezTo>
                      <a:pt x="4753" y="124939"/>
                      <a:pt x="4551" y="124939"/>
                      <a:pt x="4348" y="124910"/>
                    </a:cubicBezTo>
                    <a:cubicBezTo>
                      <a:pt x="1630" y="124592"/>
                      <a:pt x="-307" y="122106"/>
                      <a:pt x="40" y="119388"/>
                    </a:cubicBezTo>
                    <a:lnTo>
                      <a:pt x="4984" y="78967"/>
                    </a:lnTo>
                    <a:cubicBezTo>
                      <a:pt x="17706" y="14116"/>
                      <a:pt x="50204" y="8824"/>
                      <a:pt x="104098" y="64"/>
                    </a:cubicBezTo>
                    <a:cubicBezTo>
                      <a:pt x="106758" y="-370"/>
                      <a:pt x="109331" y="1452"/>
                      <a:pt x="109765" y="4169"/>
                    </a:cubicBezTo>
                    <a:cubicBezTo>
                      <a:pt x="110199" y="6858"/>
                      <a:pt x="108377" y="9403"/>
                      <a:pt x="105659" y="9836"/>
                    </a:cubicBezTo>
                    <a:cubicBezTo>
                      <a:pt x="52662" y="18453"/>
                      <a:pt x="26062" y="22761"/>
                      <a:pt x="14728" y="80529"/>
                    </a:cubicBezTo>
                    <a:lnTo>
                      <a:pt x="9842" y="120602"/>
                    </a:lnTo>
                    <a:cubicBezTo>
                      <a:pt x="9553" y="123089"/>
                      <a:pt x="7413" y="124939"/>
                      <a:pt x="4955" y="124939"/>
                    </a:cubicBezTo>
                    <a:close/>
                  </a:path>
                </a:pathLst>
              </a:custGeom>
              <a:grpFill/>
              <a:ln w="2890" cap="flat">
                <a:noFill/>
                <a:prstDash val="solid"/>
                <a:miter/>
              </a:ln>
            </p:spPr>
            <p:txBody>
              <a:bodyPr rtlCol="0" anchor="ctr"/>
              <a:lstStyle/>
              <a:p>
                <a:endParaRPr lang="en-GB" dirty="0"/>
              </a:p>
            </p:txBody>
          </p:sp>
          <p:grpSp>
            <p:nvGrpSpPr>
              <p:cNvPr id="422" name="Grafik 53">
                <a:extLst>
                  <a:ext uri="{FF2B5EF4-FFF2-40B4-BE49-F238E27FC236}">
                    <a16:creationId xmlns:a16="http://schemas.microsoft.com/office/drawing/2014/main" id="{0F9DB15A-7484-40CD-93EB-BA223568182F}"/>
                  </a:ext>
                </a:extLst>
              </p:cNvPr>
              <p:cNvGrpSpPr/>
              <p:nvPr/>
            </p:nvGrpSpPr>
            <p:grpSpPr>
              <a:xfrm>
                <a:off x="7102099" y="1694760"/>
                <a:ext cx="202533" cy="287183"/>
                <a:chOff x="7102099" y="1694760"/>
                <a:chExt cx="202533" cy="287183"/>
              </a:xfrm>
              <a:grpFill/>
            </p:grpSpPr>
            <p:sp>
              <p:nvSpPr>
                <p:cNvPr id="423" name="Freihandform: Form 422">
                  <a:extLst>
                    <a:ext uri="{FF2B5EF4-FFF2-40B4-BE49-F238E27FC236}">
                      <a16:creationId xmlns:a16="http://schemas.microsoft.com/office/drawing/2014/main" id="{3F86062B-985F-4A1E-ADDE-433F1C057B8A}"/>
                    </a:ext>
                  </a:extLst>
                </p:cNvPr>
                <p:cNvSpPr/>
                <p:nvPr/>
              </p:nvSpPr>
              <p:spPr>
                <a:xfrm>
                  <a:off x="7107084" y="1764827"/>
                  <a:ext cx="189532" cy="217116"/>
                </a:xfrm>
                <a:custGeom>
                  <a:avLst/>
                  <a:gdLst>
                    <a:gd name="connsiteX0" fmla="*/ 95098 w 189532"/>
                    <a:gd name="connsiteY0" fmla="*/ 217116 h 217116"/>
                    <a:gd name="connsiteX1" fmla="*/ 2403 w 189532"/>
                    <a:gd name="connsiteY1" fmla="*/ 121009 h 217116"/>
                    <a:gd name="connsiteX2" fmla="*/ 4 w 189532"/>
                    <a:gd name="connsiteY2" fmla="*/ 50230 h 217116"/>
                    <a:gd name="connsiteX3" fmla="*/ 437 w 189532"/>
                    <a:gd name="connsiteY3" fmla="*/ 48033 h 217116"/>
                    <a:gd name="connsiteX4" fmla="*/ 13361 w 189532"/>
                    <a:gd name="connsiteY4" fmla="*/ 19987 h 217116"/>
                    <a:gd name="connsiteX5" fmla="*/ 15819 w 189532"/>
                    <a:gd name="connsiteY5" fmla="*/ 17587 h 217116"/>
                    <a:gd name="connsiteX6" fmla="*/ 18190 w 189532"/>
                    <a:gd name="connsiteY6" fmla="*/ 16546 h 217116"/>
                    <a:gd name="connsiteX7" fmla="*/ 21341 w 189532"/>
                    <a:gd name="connsiteY7" fmla="*/ 16257 h 217116"/>
                    <a:gd name="connsiteX8" fmla="*/ 27673 w 189532"/>
                    <a:gd name="connsiteY8" fmla="*/ 17009 h 217116"/>
                    <a:gd name="connsiteX9" fmla="*/ 54562 w 189532"/>
                    <a:gd name="connsiteY9" fmla="*/ 1627 h 217116"/>
                    <a:gd name="connsiteX10" fmla="*/ 58466 w 189532"/>
                    <a:gd name="connsiteY10" fmla="*/ 8 h 217116"/>
                    <a:gd name="connsiteX11" fmla="*/ 62195 w 189532"/>
                    <a:gd name="connsiteY11" fmla="*/ 1974 h 217116"/>
                    <a:gd name="connsiteX12" fmla="*/ 93682 w 189532"/>
                    <a:gd name="connsiteY12" fmla="*/ 18079 h 217116"/>
                    <a:gd name="connsiteX13" fmla="*/ 96197 w 189532"/>
                    <a:gd name="connsiteY13" fmla="*/ 18281 h 217116"/>
                    <a:gd name="connsiteX14" fmla="*/ 104929 w 189532"/>
                    <a:gd name="connsiteY14" fmla="*/ 18946 h 217116"/>
                    <a:gd name="connsiteX15" fmla="*/ 106085 w 189532"/>
                    <a:gd name="connsiteY15" fmla="*/ 19149 h 217116"/>
                    <a:gd name="connsiteX16" fmla="*/ 107271 w 189532"/>
                    <a:gd name="connsiteY16" fmla="*/ 19062 h 217116"/>
                    <a:gd name="connsiteX17" fmla="*/ 130401 w 189532"/>
                    <a:gd name="connsiteY17" fmla="*/ 17472 h 217116"/>
                    <a:gd name="connsiteX18" fmla="*/ 164692 w 189532"/>
                    <a:gd name="connsiteY18" fmla="*/ 7901 h 217116"/>
                    <a:gd name="connsiteX19" fmla="*/ 170504 w 189532"/>
                    <a:gd name="connsiteY19" fmla="*/ 10561 h 217116"/>
                    <a:gd name="connsiteX20" fmla="*/ 189066 w 189532"/>
                    <a:gd name="connsiteY20" fmla="*/ 50086 h 217116"/>
                    <a:gd name="connsiteX21" fmla="*/ 189528 w 189532"/>
                    <a:gd name="connsiteY21" fmla="*/ 52370 h 217116"/>
                    <a:gd name="connsiteX22" fmla="*/ 187187 w 189532"/>
                    <a:gd name="connsiteY22" fmla="*/ 121183 h 217116"/>
                    <a:gd name="connsiteX23" fmla="*/ 95098 w 189532"/>
                    <a:gd name="connsiteY23" fmla="*/ 217116 h 217116"/>
                    <a:gd name="connsiteX24" fmla="*/ 9950 w 189532"/>
                    <a:gd name="connsiteY24" fmla="*/ 51040 h 217116"/>
                    <a:gd name="connsiteX25" fmla="*/ 12320 w 189532"/>
                    <a:gd name="connsiteY25" fmla="*/ 120836 h 217116"/>
                    <a:gd name="connsiteX26" fmla="*/ 94578 w 189532"/>
                    <a:gd name="connsiteY26" fmla="*/ 207228 h 217116"/>
                    <a:gd name="connsiteX27" fmla="*/ 177356 w 189532"/>
                    <a:gd name="connsiteY27" fmla="*/ 121009 h 217116"/>
                    <a:gd name="connsiteX28" fmla="*/ 179640 w 189532"/>
                    <a:gd name="connsiteY28" fmla="*/ 53208 h 217116"/>
                    <a:gd name="connsiteX29" fmla="*/ 163362 w 189532"/>
                    <a:gd name="connsiteY29" fmla="*/ 18541 h 217116"/>
                    <a:gd name="connsiteX30" fmla="*/ 132628 w 189532"/>
                    <a:gd name="connsiteY30" fmla="*/ 27100 h 217116"/>
                    <a:gd name="connsiteX31" fmla="*/ 107473 w 189532"/>
                    <a:gd name="connsiteY31" fmla="*/ 28921 h 217116"/>
                    <a:gd name="connsiteX32" fmla="*/ 105652 w 189532"/>
                    <a:gd name="connsiteY32" fmla="*/ 29066 h 217116"/>
                    <a:gd name="connsiteX33" fmla="*/ 103512 w 189532"/>
                    <a:gd name="connsiteY33" fmla="*/ 28748 h 217116"/>
                    <a:gd name="connsiteX34" fmla="*/ 95388 w 189532"/>
                    <a:gd name="connsiteY34" fmla="*/ 28112 h 217116"/>
                    <a:gd name="connsiteX35" fmla="*/ 92988 w 189532"/>
                    <a:gd name="connsiteY35" fmla="*/ 27909 h 217116"/>
                    <a:gd name="connsiteX36" fmla="*/ 92988 w 189532"/>
                    <a:gd name="connsiteY36" fmla="*/ 27909 h 217116"/>
                    <a:gd name="connsiteX37" fmla="*/ 58061 w 189532"/>
                    <a:gd name="connsiteY37" fmla="*/ 12181 h 217116"/>
                    <a:gd name="connsiteX38" fmla="*/ 27731 w 189532"/>
                    <a:gd name="connsiteY38" fmla="*/ 26868 h 217116"/>
                    <a:gd name="connsiteX39" fmla="*/ 21370 w 189532"/>
                    <a:gd name="connsiteY39" fmla="*/ 26290 h 217116"/>
                    <a:gd name="connsiteX40" fmla="*/ 9950 w 189532"/>
                    <a:gd name="connsiteY40" fmla="*/ 51040 h 21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89532" h="217116">
                      <a:moveTo>
                        <a:pt x="95098" y="217116"/>
                      </a:moveTo>
                      <a:cubicBezTo>
                        <a:pt x="53030" y="216943"/>
                        <a:pt x="2403" y="172561"/>
                        <a:pt x="2403" y="121009"/>
                      </a:cubicBezTo>
                      <a:lnTo>
                        <a:pt x="4" y="50230"/>
                      </a:lnTo>
                      <a:cubicBezTo>
                        <a:pt x="-25" y="49478"/>
                        <a:pt x="119" y="48727"/>
                        <a:pt x="437" y="48033"/>
                      </a:cubicBezTo>
                      <a:lnTo>
                        <a:pt x="13361" y="19987"/>
                      </a:lnTo>
                      <a:cubicBezTo>
                        <a:pt x="13853" y="18917"/>
                        <a:pt x="14749" y="18050"/>
                        <a:pt x="15819" y="17587"/>
                      </a:cubicBezTo>
                      <a:lnTo>
                        <a:pt x="18190" y="16546"/>
                      </a:lnTo>
                      <a:cubicBezTo>
                        <a:pt x="19173" y="16113"/>
                        <a:pt x="20300" y="15997"/>
                        <a:pt x="21341" y="16257"/>
                      </a:cubicBezTo>
                      <a:cubicBezTo>
                        <a:pt x="23452" y="16778"/>
                        <a:pt x="25592" y="17009"/>
                        <a:pt x="27673" y="17009"/>
                      </a:cubicBezTo>
                      <a:cubicBezTo>
                        <a:pt x="35538" y="17009"/>
                        <a:pt x="46091" y="10966"/>
                        <a:pt x="54562" y="1627"/>
                      </a:cubicBezTo>
                      <a:cubicBezTo>
                        <a:pt x="55545" y="529"/>
                        <a:pt x="56962" y="-79"/>
                        <a:pt x="58466" y="8"/>
                      </a:cubicBezTo>
                      <a:cubicBezTo>
                        <a:pt x="59940" y="66"/>
                        <a:pt x="61299" y="789"/>
                        <a:pt x="62195" y="1974"/>
                      </a:cubicBezTo>
                      <a:cubicBezTo>
                        <a:pt x="72835" y="16084"/>
                        <a:pt x="93450" y="18079"/>
                        <a:pt x="93682" y="18079"/>
                      </a:cubicBezTo>
                      <a:lnTo>
                        <a:pt x="96197" y="18281"/>
                      </a:lnTo>
                      <a:cubicBezTo>
                        <a:pt x="98857" y="18513"/>
                        <a:pt x="101777" y="18773"/>
                        <a:pt x="104929" y="18946"/>
                      </a:cubicBezTo>
                      <a:cubicBezTo>
                        <a:pt x="105334" y="18975"/>
                        <a:pt x="105710" y="19033"/>
                        <a:pt x="106085" y="19149"/>
                      </a:cubicBezTo>
                      <a:lnTo>
                        <a:pt x="107271" y="19062"/>
                      </a:lnTo>
                      <a:cubicBezTo>
                        <a:pt x="115713" y="19293"/>
                        <a:pt x="122942" y="18802"/>
                        <a:pt x="130401" y="17472"/>
                      </a:cubicBezTo>
                      <a:lnTo>
                        <a:pt x="164692" y="7901"/>
                      </a:lnTo>
                      <a:cubicBezTo>
                        <a:pt x="167034" y="7265"/>
                        <a:pt x="169463" y="8393"/>
                        <a:pt x="170504" y="10561"/>
                      </a:cubicBezTo>
                      <a:lnTo>
                        <a:pt x="189066" y="50086"/>
                      </a:lnTo>
                      <a:cubicBezTo>
                        <a:pt x="189413" y="50808"/>
                        <a:pt x="189557" y="51560"/>
                        <a:pt x="189528" y="52370"/>
                      </a:cubicBezTo>
                      <a:lnTo>
                        <a:pt x="187187" y="121183"/>
                      </a:lnTo>
                      <a:cubicBezTo>
                        <a:pt x="187215" y="172561"/>
                        <a:pt x="136560" y="216943"/>
                        <a:pt x="95098" y="217116"/>
                      </a:cubicBezTo>
                      <a:close/>
                      <a:moveTo>
                        <a:pt x="9950" y="51040"/>
                      </a:moveTo>
                      <a:lnTo>
                        <a:pt x="12320" y="120836"/>
                      </a:lnTo>
                      <a:cubicBezTo>
                        <a:pt x="12320" y="158856"/>
                        <a:pt x="51035" y="207025"/>
                        <a:pt x="94578" y="207228"/>
                      </a:cubicBezTo>
                      <a:cubicBezTo>
                        <a:pt x="138612" y="207054"/>
                        <a:pt x="177356" y="158856"/>
                        <a:pt x="177356" y="121009"/>
                      </a:cubicBezTo>
                      <a:lnTo>
                        <a:pt x="179640" y="53208"/>
                      </a:lnTo>
                      <a:lnTo>
                        <a:pt x="163362" y="18541"/>
                      </a:lnTo>
                      <a:lnTo>
                        <a:pt x="132628" y="27100"/>
                      </a:lnTo>
                      <a:cubicBezTo>
                        <a:pt x="123983" y="28661"/>
                        <a:pt x="116147" y="29210"/>
                        <a:pt x="107473" y="28921"/>
                      </a:cubicBezTo>
                      <a:lnTo>
                        <a:pt x="105652" y="29066"/>
                      </a:lnTo>
                      <a:cubicBezTo>
                        <a:pt x="104958" y="29124"/>
                        <a:pt x="104177" y="29008"/>
                        <a:pt x="103512" y="28748"/>
                      </a:cubicBezTo>
                      <a:cubicBezTo>
                        <a:pt x="100592" y="28574"/>
                        <a:pt x="97874" y="28343"/>
                        <a:pt x="95388" y="28112"/>
                      </a:cubicBezTo>
                      <a:lnTo>
                        <a:pt x="92988" y="27909"/>
                      </a:lnTo>
                      <a:lnTo>
                        <a:pt x="92988" y="27909"/>
                      </a:lnTo>
                      <a:cubicBezTo>
                        <a:pt x="93017" y="27909"/>
                        <a:pt x="72170" y="26435"/>
                        <a:pt x="58061" y="12181"/>
                      </a:cubicBezTo>
                      <a:cubicBezTo>
                        <a:pt x="49907" y="19843"/>
                        <a:pt x="38631" y="26868"/>
                        <a:pt x="27731" y="26868"/>
                      </a:cubicBezTo>
                      <a:cubicBezTo>
                        <a:pt x="25621" y="26868"/>
                        <a:pt x="23481" y="26666"/>
                        <a:pt x="21370" y="26290"/>
                      </a:cubicBezTo>
                      <a:lnTo>
                        <a:pt x="9950" y="51040"/>
                      </a:lnTo>
                      <a:close/>
                    </a:path>
                  </a:pathLst>
                </a:custGeom>
                <a:grpFill/>
                <a:ln w="2890" cap="flat">
                  <a:noFill/>
                  <a:prstDash val="solid"/>
                  <a:miter/>
                </a:ln>
              </p:spPr>
              <p:txBody>
                <a:bodyPr rtlCol="0" anchor="ctr"/>
                <a:lstStyle/>
                <a:p>
                  <a:endParaRPr lang="en-GB" dirty="0"/>
                </a:p>
              </p:txBody>
            </p:sp>
            <p:sp>
              <p:nvSpPr>
                <p:cNvPr id="424" name="Freihandform: Form 423">
                  <a:extLst>
                    <a:ext uri="{FF2B5EF4-FFF2-40B4-BE49-F238E27FC236}">
                      <a16:creationId xmlns:a16="http://schemas.microsoft.com/office/drawing/2014/main" id="{B570D7D9-D46E-4012-BF5F-3828D804A141}"/>
                    </a:ext>
                  </a:extLst>
                </p:cNvPr>
                <p:cNvSpPr/>
                <p:nvPr/>
              </p:nvSpPr>
              <p:spPr>
                <a:xfrm>
                  <a:off x="7152907" y="1694760"/>
                  <a:ext cx="151725" cy="129318"/>
                </a:xfrm>
                <a:custGeom>
                  <a:avLst/>
                  <a:gdLst>
                    <a:gd name="connsiteX0" fmla="*/ 139744 w 151725"/>
                    <a:gd name="connsiteY0" fmla="*/ 129318 h 129318"/>
                    <a:gd name="connsiteX1" fmla="*/ 135262 w 151725"/>
                    <a:gd name="connsiteY1" fmla="*/ 126485 h 129318"/>
                    <a:gd name="connsiteX2" fmla="*/ 116932 w 151725"/>
                    <a:gd name="connsiteY2" fmla="*/ 87915 h 129318"/>
                    <a:gd name="connsiteX3" fmla="*/ 49709 w 151725"/>
                    <a:gd name="connsiteY3" fmla="*/ 98237 h 129318"/>
                    <a:gd name="connsiteX4" fmla="*/ 47136 w 151725"/>
                    <a:gd name="connsiteY4" fmla="*/ 98006 h 129318"/>
                    <a:gd name="connsiteX5" fmla="*/ 47136 w 151725"/>
                    <a:gd name="connsiteY5" fmla="*/ 98006 h 129318"/>
                    <a:gd name="connsiteX6" fmla="*/ 12035 w 151725"/>
                    <a:gd name="connsiteY6" fmla="*/ 82103 h 129318"/>
                    <a:gd name="connsiteX7" fmla="*/ 65 w 151725"/>
                    <a:gd name="connsiteY7" fmla="*/ 48188 h 129318"/>
                    <a:gd name="connsiteX8" fmla="*/ 44158 w 151725"/>
                    <a:gd name="connsiteY8" fmla="*/ 19 h 129318"/>
                    <a:gd name="connsiteX9" fmla="*/ 151569 w 151725"/>
                    <a:gd name="connsiteY9" fmla="*/ 64987 h 129318"/>
                    <a:gd name="connsiteX10" fmla="*/ 151598 w 151725"/>
                    <a:gd name="connsiteY10" fmla="*/ 67329 h 129318"/>
                    <a:gd name="connsiteX11" fmla="*/ 144659 w 151725"/>
                    <a:gd name="connsiteY11" fmla="*/ 124953 h 129318"/>
                    <a:gd name="connsiteX12" fmla="*/ 140554 w 151725"/>
                    <a:gd name="connsiteY12" fmla="*/ 129261 h 129318"/>
                    <a:gd name="connsiteX13" fmla="*/ 139744 w 151725"/>
                    <a:gd name="connsiteY13" fmla="*/ 129318 h 129318"/>
                    <a:gd name="connsiteX14" fmla="*/ 124391 w 151725"/>
                    <a:gd name="connsiteY14" fmla="*/ 80571 h 129318"/>
                    <a:gd name="connsiteX15" fmla="*/ 136824 w 151725"/>
                    <a:gd name="connsiteY15" fmla="*/ 106737 h 129318"/>
                    <a:gd name="connsiteX16" fmla="*/ 141913 w 151725"/>
                    <a:gd name="connsiteY16" fmla="*/ 67155 h 129318"/>
                    <a:gd name="connsiteX17" fmla="*/ 44273 w 151725"/>
                    <a:gd name="connsiteY17" fmla="*/ 9937 h 129318"/>
                    <a:gd name="connsiteX18" fmla="*/ 9953 w 151725"/>
                    <a:gd name="connsiteY18" fmla="*/ 48680 h 129318"/>
                    <a:gd name="connsiteX19" fmla="*/ 47858 w 151725"/>
                    <a:gd name="connsiteY19" fmla="*/ 88175 h 129318"/>
                    <a:gd name="connsiteX20" fmla="*/ 50576 w 151725"/>
                    <a:gd name="connsiteY20" fmla="*/ 88406 h 129318"/>
                    <a:gd name="connsiteX21" fmla="*/ 117423 w 151725"/>
                    <a:gd name="connsiteY21" fmla="*/ 76899 h 129318"/>
                    <a:gd name="connsiteX22" fmla="*/ 123842 w 151725"/>
                    <a:gd name="connsiteY22" fmla="*/ 79039 h 129318"/>
                    <a:gd name="connsiteX23" fmla="*/ 124391 w 151725"/>
                    <a:gd name="connsiteY23" fmla="*/ 80571 h 129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1725" h="129318">
                      <a:moveTo>
                        <a:pt x="139744" y="129318"/>
                      </a:moveTo>
                      <a:cubicBezTo>
                        <a:pt x="137865" y="129318"/>
                        <a:pt x="136101" y="128249"/>
                        <a:pt x="135262" y="126485"/>
                      </a:cubicBezTo>
                      <a:lnTo>
                        <a:pt x="116932" y="87915"/>
                      </a:lnTo>
                      <a:cubicBezTo>
                        <a:pt x="85503" y="101359"/>
                        <a:pt x="64079" y="99480"/>
                        <a:pt x="49709" y="98237"/>
                      </a:cubicBezTo>
                      <a:lnTo>
                        <a:pt x="47136" y="98006"/>
                      </a:lnTo>
                      <a:lnTo>
                        <a:pt x="47136" y="98006"/>
                      </a:lnTo>
                      <a:cubicBezTo>
                        <a:pt x="47193" y="98006"/>
                        <a:pt x="26087" y="96444"/>
                        <a:pt x="12035" y="82103"/>
                      </a:cubicBezTo>
                      <a:cubicBezTo>
                        <a:pt x="3448" y="73343"/>
                        <a:pt x="-571" y="61922"/>
                        <a:pt x="65" y="48188"/>
                      </a:cubicBezTo>
                      <a:cubicBezTo>
                        <a:pt x="1308" y="21502"/>
                        <a:pt x="20680" y="337"/>
                        <a:pt x="44158" y="19"/>
                      </a:cubicBezTo>
                      <a:cubicBezTo>
                        <a:pt x="104817" y="-732"/>
                        <a:pt x="140207" y="20432"/>
                        <a:pt x="151569" y="64987"/>
                      </a:cubicBezTo>
                      <a:cubicBezTo>
                        <a:pt x="151772" y="65768"/>
                        <a:pt x="151772" y="66577"/>
                        <a:pt x="151598" y="67329"/>
                      </a:cubicBezTo>
                      <a:cubicBezTo>
                        <a:pt x="151107" y="70423"/>
                        <a:pt x="147203" y="103297"/>
                        <a:pt x="144659" y="124953"/>
                      </a:cubicBezTo>
                      <a:cubicBezTo>
                        <a:pt x="144399" y="127150"/>
                        <a:pt x="142722" y="128914"/>
                        <a:pt x="140554" y="129261"/>
                      </a:cubicBezTo>
                      <a:cubicBezTo>
                        <a:pt x="140264" y="129318"/>
                        <a:pt x="140004" y="129318"/>
                        <a:pt x="139744" y="129318"/>
                      </a:cubicBezTo>
                      <a:close/>
                      <a:moveTo>
                        <a:pt x="124391" y="80571"/>
                      </a:moveTo>
                      <a:lnTo>
                        <a:pt x="136824" y="106737"/>
                      </a:lnTo>
                      <a:cubicBezTo>
                        <a:pt x="139599" y="83029"/>
                        <a:pt x="140929" y="72244"/>
                        <a:pt x="141913" y="67155"/>
                      </a:cubicBezTo>
                      <a:cubicBezTo>
                        <a:pt x="131620" y="27342"/>
                        <a:pt x="100567" y="9127"/>
                        <a:pt x="44273" y="9937"/>
                      </a:cubicBezTo>
                      <a:cubicBezTo>
                        <a:pt x="26029" y="10197"/>
                        <a:pt x="10936" y="27198"/>
                        <a:pt x="9953" y="48680"/>
                      </a:cubicBezTo>
                      <a:cubicBezTo>
                        <a:pt x="8276" y="84677"/>
                        <a:pt x="46268" y="88060"/>
                        <a:pt x="47858" y="88175"/>
                      </a:cubicBezTo>
                      <a:lnTo>
                        <a:pt x="50576" y="88406"/>
                      </a:lnTo>
                      <a:cubicBezTo>
                        <a:pt x="64628" y="89621"/>
                        <a:pt x="85850" y="91471"/>
                        <a:pt x="117423" y="76899"/>
                      </a:cubicBezTo>
                      <a:cubicBezTo>
                        <a:pt x="119794" y="75800"/>
                        <a:pt x="122599" y="76726"/>
                        <a:pt x="123842" y="79039"/>
                      </a:cubicBezTo>
                      <a:cubicBezTo>
                        <a:pt x="124131" y="79501"/>
                        <a:pt x="124304" y="80022"/>
                        <a:pt x="124391" y="80571"/>
                      </a:cubicBezTo>
                      <a:close/>
                    </a:path>
                  </a:pathLst>
                </a:custGeom>
                <a:grpFill/>
                <a:ln w="2890" cap="flat">
                  <a:noFill/>
                  <a:prstDash val="solid"/>
                  <a:miter/>
                </a:ln>
              </p:spPr>
              <p:txBody>
                <a:bodyPr rtlCol="0" anchor="ctr"/>
                <a:lstStyle/>
                <a:p>
                  <a:endParaRPr lang="en-GB" dirty="0"/>
                </a:p>
              </p:txBody>
            </p:sp>
            <p:sp>
              <p:nvSpPr>
                <p:cNvPr id="425" name="Freihandform: Form 424">
                  <a:extLst>
                    <a:ext uri="{FF2B5EF4-FFF2-40B4-BE49-F238E27FC236}">
                      <a16:creationId xmlns:a16="http://schemas.microsoft.com/office/drawing/2014/main" id="{30595480-D306-4842-BB44-13B90C9CC757}"/>
                    </a:ext>
                  </a:extLst>
                </p:cNvPr>
                <p:cNvSpPr/>
                <p:nvPr/>
              </p:nvSpPr>
              <p:spPr>
                <a:xfrm>
                  <a:off x="7102099" y="1713622"/>
                  <a:ext cx="68422" cy="108461"/>
                </a:xfrm>
                <a:custGeom>
                  <a:avLst/>
                  <a:gdLst>
                    <a:gd name="connsiteX0" fmla="*/ 8921 w 68422"/>
                    <a:gd name="connsiteY0" fmla="*/ 108462 h 108461"/>
                    <a:gd name="connsiteX1" fmla="*/ 8082 w 68422"/>
                    <a:gd name="connsiteY1" fmla="*/ 108404 h 108461"/>
                    <a:gd name="connsiteX2" fmla="*/ 3976 w 68422"/>
                    <a:gd name="connsiteY2" fmla="*/ 103980 h 108461"/>
                    <a:gd name="connsiteX3" fmla="*/ 15 w 68422"/>
                    <a:gd name="connsiteY3" fmla="*/ 55319 h 108461"/>
                    <a:gd name="connsiteX4" fmla="*/ 15 w 68422"/>
                    <a:gd name="connsiteY4" fmla="*/ 52688 h 108461"/>
                    <a:gd name="connsiteX5" fmla="*/ 28090 w 68422"/>
                    <a:gd name="connsiteY5" fmla="*/ 5878 h 108461"/>
                    <a:gd name="connsiteX6" fmla="*/ 64231 w 68422"/>
                    <a:gd name="connsiteY6" fmla="*/ 3131 h 108461"/>
                    <a:gd name="connsiteX7" fmla="*/ 66747 w 68422"/>
                    <a:gd name="connsiteY7" fmla="*/ 6370 h 108461"/>
                    <a:gd name="connsiteX8" fmla="*/ 65966 w 68422"/>
                    <a:gd name="connsiteY8" fmla="*/ 10389 h 108461"/>
                    <a:gd name="connsiteX9" fmla="*/ 61311 w 68422"/>
                    <a:gd name="connsiteY9" fmla="*/ 32044 h 108461"/>
                    <a:gd name="connsiteX10" fmla="*/ 67527 w 68422"/>
                    <a:gd name="connsiteY10" fmla="*/ 53093 h 108461"/>
                    <a:gd name="connsiteX11" fmla="*/ 67152 w 68422"/>
                    <a:gd name="connsiteY11" fmla="*/ 59252 h 108461"/>
                    <a:gd name="connsiteX12" fmla="*/ 32716 w 68422"/>
                    <a:gd name="connsiteY12" fmla="*/ 78132 h 108461"/>
                    <a:gd name="connsiteX13" fmla="*/ 26153 w 68422"/>
                    <a:gd name="connsiteY13" fmla="*/ 77554 h 108461"/>
                    <a:gd name="connsiteX14" fmla="*/ 13431 w 68422"/>
                    <a:gd name="connsiteY14" fmla="*/ 105599 h 108461"/>
                    <a:gd name="connsiteX15" fmla="*/ 8921 w 68422"/>
                    <a:gd name="connsiteY15" fmla="*/ 108462 h 108461"/>
                    <a:gd name="connsiteX16" fmla="*/ 51105 w 68422"/>
                    <a:gd name="connsiteY16" fmla="*/ 9897 h 108461"/>
                    <a:gd name="connsiteX17" fmla="*/ 32022 w 68422"/>
                    <a:gd name="connsiteY17" fmla="*/ 14928 h 108461"/>
                    <a:gd name="connsiteX18" fmla="*/ 9875 w 68422"/>
                    <a:gd name="connsiteY18" fmla="*/ 52602 h 108461"/>
                    <a:gd name="connsiteX19" fmla="*/ 9875 w 68422"/>
                    <a:gd name="connsiteY19" fmla="*/ 55319 h 108461"/>
                    <a:gd name="connsiteX20" fmla="*/ 12159 w 68422"/>
                    <a:gd name="connsiteY20" fmla="*/ 84319 h 108461"/>
                    <a:gd name="connsiteX21" fmla="*/ 18751 w 68422"/>
                    <a:gd name="connsiteY21" fmla="*/ 69747 h 108461"/>
                    <a:gd name="connsiteX22" fmla="*/ 24649 w 68422"/>
                    <a:gd name="connsiteY22" fmla="*/ 67029 h 108461"/>
                    <a:gd name="connsiteX23" fmla="*/ 32629 w 68422"/>
                    <a:gd name="connsiteY23" fmla="*/ 68215 h 108461"/>
                    <a:gd name="connsiteX24" fmla="*/ 57148 w 68422"/>
                    <a:gd name="connsiteY24" fmla="*/ 55319 h 108461"/>
                    <a:gd name="connsiteX25" fmla="*/ 51336 w 68422"/>
                    <a:gd name="connsiteY25" fmla="*/ 32073 h 108461"/>
                    <a:gd name="connsiteX26" fmla="*/ 54748 w 68422"/>
                    <a:gd name="connsiteY26" fmla="*/ 10244 h 108461"/>
                    <a:gd name="connsiteX27" fmla="*/ 51105 w 68422"/>
                    <a:gd name="connsiteY27" fmla="*/ 9897 h 108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422" h="108461">
                      <a:moveTo>
                        <a:pt x="8921" y="108462"/>
                      </a:moveTo>
                      <a:cubicBezTo>
                        <a:pt x="8660" y="108462"/>
                        <a:pt x="8371" y="108433"/>
                        <a:pt x="8082" y="108404"/>
                      </a:cubicBezTo>
                      <a:cubicBezTo>
                        <a:pt x="5856" y="108028"/>
                        <a:pt x="4179" y="106206"/>
                        <a:pt x="3976" y="103980"/>
                      </a:cubicBezTo>
                      <a:cubicBezTo>
                        <a:pt x="3572" y="99441"/>
                        <a:pt x="15" y="59454"/>
                        <a:pt x="15" y="55319"/>
                      </a:cubicBezTo>
                      <a:lnTo>
                        <a:pt x="15" y="52688"/>
                      </a:lnTo>
                      <a:cubicBezTo>
                        <a:pt x="-100" y="39012"/>
                        <a:pt x="-274" y="18311"/>
                        <a:pt x="28090" y="5878"/>
                      </a:cubicBezTo>
                      <a:cubicBezTo>
                        <a:pt x="43645" y="-945"/>
                        <a:pt x="54777" y="-1784"/>
                        <a:pt x="64231" y="3131"/>
                      </a:cubicBezTo>
                      <a:cubicBezTo>
                        <a:pt x="65503" y="3796"/>
                        <a:pt x="66429" y="4982"/>
                        <a:pt x="66747" y="6370"/>
                      </a:cubicBezTo>
                      <a:cubicBezTo>
                        <a:pt x="67094" y="7757"/>
                        <a:pt x="66804" y="9232"/>
                        <a:pt x="65966" y="10389"/>
                      </a:cubicBezTo>
                      <a:cubicBezTo>
                        <a:pt x="62786" y="14870"/>
                        <a:pt x="61311" y="21751"/>
                        <a:pt x="61311" y="32044"/>
                      </a:cubicBezTo>
                      <a:cubicBezTo>
                        <a:pt x="61311" y="39909"/>
                        <a:pt x="63508" y="47368"/>
                        <a:pt x="67527" y="53093"/>
                      </a:cubicBezTo>
                      <a:cubicBezTo>
                        <a:pt x="68857" y="54972"/>
                        <a:pt x="68684" y="57517"/>
                        <a:pt x="67152" y="59252"/>
                      </a:cubicBezTo>
                      <a:cubicBezTo>
                        <a:pt x="58969" y="68359"/>
                        <a:pt x="45611" y="78132"/>
                        <a:pt x="32716" y="78132"/>
                      </a:cubicBezTo>
                      <a:cubicBezTo>
                        <a:pt x="30519" y="78132"/>
                        <a:pt x="28350" y="77929"/>
                        <a:pt x="26153" y="77554"/>
                      </a:cubicBezTo>
                      <a:lnTo>
                        <a:pt x="13431" y="105599"/>
                      </a:lnTo>
                      <a:cubicBezTo>
                        <a:pt x="12621" y="107363"/>
                        <a:pt x="10829" y="108462"/>
                        <a:pt x="8921" y="108462"/>
                      </a:cubicBezTo>
                      <a:close/>
                      <a:moveTo>
                        <a:pt x="51105" y="9897"/>
                      </a:moveTo>
                      <a:cubicBezTo>
                        <a:pt x="46681" y="9897"/>
                        <a:pt x="40638" y="11140"/>
                        <a:pt x="32022" y="14928"/>
                      </a:cubicBezTo>
                      <a:cubicBezTo>
                        <a:pt x="9615" y="24758"/>
                        <a:pt x="9759" y="39533"/>
                        <a:pt x="9875" y="52602"/>
                      </a:cubicBezTo>
                      <a:lnTo>
                        <a:pt x="9875" y="55319"/>
                      </a:lnTo>
                      <a:cubicBezTo>
                        <a:pt x="9875" y="57199"/>
                        <a:pt x="10973" y="70585"/>
                        <a:pt x="12159" y="84319"/>
                      </a:cubicBezTo>
                      <a:lnTo>
                        <a:pt x="18751" y="69747"/>
                      </a:lnTo>
                      <a:cubicBezTo>
                        <a:pt x="19763" y="67492"/>
                        <a:pt x="22307" y="66335"/>
                        <a:pt x="24649" y="67029"/>
                      </a:cubicBezTo>
                      <a:cubicBezTo>
                        <a:pt x="27309" y="67810"/>
                        <a:pt x="29998" y="68215"/>
                        <a:pt x="32629" y="68215"/>
                      </a:cubicBezTo>
                      <a:cubicBezTo>
                        <a:pt x="39800" y="68215"/>
                        <a:pt x="49139" y="63242"/>
                        <a:pt x="57148" y="55319"/>
                      </a:cubicBezTo>
                      <a:cubicBezTo>
                        <a:pt x="53360" y="48554"/>
                        <a:pt x="51336" y="40458"/>
                        <a:pt x="51336" y="32073"/>
                      </a:cubicBezTo>
                      <a:cubicBezTo>
                        <a:pt x="51336" y="25394"/>
                        <a:pt x="51799" y="17328"/>
                        <a:pt x="54748" y="10244"/>
                      </a:cubicBezTo>
                      <a:cubicBezTo>
                        <a:pt x="53707" y="10013"/>
                        <a:pt x="52493" y="9897"/>
                        <a:pt x="51105" y="9897"/>
                      </a:cubicBezTo>
                      <a:close/>
                    </a:path>
                  </a:pathLst>
                </a:custGeom>
                <a:grpFill/>
                <a:ln w="2890" cap="flat">
                  <a:noFill/>
                  <a:prstDash val="solid"/>
                  <a:miter/>
                </a:ln>
              </p:spPr>
              <p:txBody>
                <a:bodyPr rtlCol="0" anchor="ctr"/>
                <a:lstStyle/>
                <a:p>
                  <a:endParaRPr lang="en-GB" dirty="0"/>
                </a:p>
              </p:txBody>
            </p:sp>
            <p:sp>
              <p:nvSpPr>
                <p:cNvPr id="426" name="Freihandform: Form 425">
                  <a:extLst>
                    <a:ext uri="{FF2B5EF4-FFF2-40B4-BE49-F238E27FC236}">
                      <a16:creationId xmlns:a16="http://schemas.microsoft.com/office/drawing/2014/main" id="{C0C9B3D8-E6D2-4E2C-9107-76CABFFB162D}"/>
                    </a:ext>
                  </a:extLst>
                </p:cNvPr>
                <p:cNvSpPr/>
                <p:nvPr/>
              </p:nvSpPr>
              <p:spPr>
                <a:xfrm>
                  <a:off x="7180891" y="1733003"/>
                  <a:ext cx="82552" cy="29982"/>
                </a:xfrm>
                <a:custGeom>
                  <a:avLst/>
                  <a:gdLst>
                    <a:gd name="connsiteX0" fmla="*/ 50869 w 82552"/>
                    <a:gd name="connsiteY0" fmla="*/ 29982 h 29982"/>
                    <a:gd name="connsiteX1" fmla="*/ 1197 w 82552"/>
                    <a:gd name="connsiteY1" fmla="*/ 8153 h 29982"/>
                    <a:gd name="connsiteX2" fmla="*/ 1717 w 82552"/>
                    <a:gd name="connsiteY2" fmla="*/ 1185 h 29982"/>
                    <a:gd name="connsiteX3" fmla="*/ 8685 w 82552"/>
                    <a:gd name="connsiteY3" fmla="*/ 1705 h 29982"/>
                    <a:gd name="connsiteX4" fmla="*/ 8685 w 82552"/>
                    <a:gd name="connsiteY4" fmla="*/ 1705 h 29982"/>
                    <a:gd name="connsiteX5" fmla="*/ 75648 w 82552"/>
                    <a:gd name="connsiteY5" fmla="*/ 14658 h 29982"/>
                    <a:gd name="connsiteX6" fmla="*/ 82153 w 82552"/>
                    <a:gd name="connsiteY6" fmla="*/ 17232 h 29982"/>
                    <a:gd name="connsiteX7" fmla="*/ 79580 w 82552"/>
                    <a:gd name="connsiteY7" fmla="*/ 23737 h 29982"/>
                    <a:gd name="connsiteX8" fmla="*/ 50869 w 82552"/>
                    <a:gd name="connsiteY8" fmla="*/ 29982 h 29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552" h="29982">
                      <a:moveTo>
                        <a:pt x="50869" y="29982"/>
                      </a:moveTo>
                      <a:cubicBezTo>
                        <a:pt x="20366" y="29982"/>
                        <a:pt x="1457" y="8442"/>
                        <a:pt x="1197" y="8153"/>
                      </a:cubicBezTo>
                      <a:cubicBezTo>
                        <a:pt x="-596" y="6071"/>
                        <a:pt x="-336" y="2949"/>
                        <a:pt x="1717" y="1185"/>
                      </a:cubicBezTo>
                      <a:cubicBezTo>
                        <a:pt x="3799" y="-579"/>
                        <a:pt x="6921" y="-348"/>
                        <a:pt x="8685" y="1705"/>
                      </a:cubicBezTo>
                      <a:lnTo>
                        <a:pt x="8685" y="1705"/>
                      </a:lnTo>
                      <a:cubicBezTo>
                        <a:pt x="9755" y="2949"/>
                        <a:pt x="35517" y="31948"/>
                        <a:pt x="75648" y="14658"/>
                      </a:cubicBezTo>
                      <a:cubicBezTo>
                        <a:pt x="78134" y="13589"/>
                        <a:pt x="81055" y="14716"/>
                        <a:pt x="82153" y="17232"/>
                      </a:cubicBezTo>
                      <a:cubicBezTo>
                        <a:pt x="83223" y="19747"/>
                        <a:pt x="82066" y="22667"/>
                        <a:pt x="79580" y="23737"/>
                      </a:cubicBezTo>
                      <a:cubicBezTo>
                        <a:pt x="69200" y="28219"/>
                        <a:pt x="59572" y="29982"/>
                        <a:pt x="50869" y="29982"/>
                      </a:cubicBezTo>
                      <a:close/>
                    </a:path>
                  </a:pathLst>
                </a:custGeom>
                <a:grpFill/>
                <a:ln w="2890" cap="flat">
                  <a:noFill/>
                  <a:prstDash val="solid"/>
                  <a:miter/>
                </a:ln>
              </p:spPr>
              <p:txBody>
                <a:bodyPr rtlCol="0" anchor="ctr"/>
                <a:lstStyle/>
                <a:p>
                  <a:endParaRPr lang="en-GB" dirty="0"/>
                </a:p>
              </p:txBody>
            </p:sp>
          </p:grpSp>
        </p:grpSp>
        <p:grpSp>
          <p:nvGrpSpPr>
            <p:cNvPr id="407" name="Grafik 53">
              <a:extLst>
                <a:ext uri="{FF2B5EF4-FFF2-40B4-BE49-F238E27FC236}">
                  <a16:creationId xmlns:a16="http://schemas.microsoft.com/office/drawing/2014/main" id="{4EF41763-5B0B-4C35-9D68-90FE17A50984}"/>
                </a:ext>
              </a:extLst>
            </p:cNvPr>
            <p:cNvGrpSpPr/>
            <p:nvPr/>
          </p:nvGrpSpPr>
          <p:grpSpPr>
            <a:xfrm>
              <a:off x="6981844" y="1839087"/>
              <a:ext cx="415338" cy="219627"/>
              <a:chOff x="6968160" y="1931230"/>
              <a:chExt cx="462463" cy="244546"/>
            </a:xfrm>
            <a:solidFill>
              <a:schemeClr val="accent1"/>
            </a:solidFill>
          </p:grpSpPr>
          <p:grpSp>
            <p:nvGrpSpPr>
              <p:cNvPr id="408" name="Grafik 53">
                <a:extLst>
                  <a:ext uri="{FF2B5EF4-FFF2-40B4-BE49-F238E27FC236}">
                    <a16:creationId xmlns:a16="http://schemas.microsoft.com/office/drawing/2014/main" id="{BCD225DD-0C6F-4CAC-96C1-6970C500B366}"/>
                  </a:ext>
                </a:extLst>
              </p:cNvPr>
              <p:cNvGrpSpPr/>
              <p:nvPr/>
            </p:nvGrpSpPr>
            <p:grpSpPr>
              <a:xfrm>
                <a:off x="6968160" y="1931230"/>
                <a:ext cx="462463" cy="194758"/>
                <a:chOff x="6968160" y="1931230"/>
                <a:chExt cx="462463" cy="194758"/>
              </a:xfrm>
              <a:solidFill>
                <a:schemeClr val="accent1"/>
              </a:solidFill>
            </p:grpSpPr>
            <p:sp>
              <p:nvSpPr>
                <p:cNvPr id="411" name="Freihandform: Form 410">
                  <a:extLst>
                    <a:ext uri="{FF2B5EF4-FFF2-40B4-BE49-F238E27FC236}">
                      <a16:creationId xmlns:a16="http://schemas.microsoft.com/office/drawing/2014/main" id="{2959D244-4ADE-4377-8BA9-A5AAC00DB9DB}"/>
                    </a:ext>
                  </a:extLst>
                </p:cNvPr>
                <p:cNvSpPr/>
                <p:nvPr/>
              </p:nvSpPr>
              <p:spPr>
                <a:xfrm>
                  <a:off x="6968160" y="2078397"/>
                  <a:ext cx="462463" cy="47590"/>
                </a:xfrm>
                <a:custGeom>
                  <a:avLst/>
                  <a:gdLst>
                    <a:gd name="connsiteX0" fmla="*/ 457520 w 462463"/>
                    <a:gd name="connsiteY0" fmla="*/ 47591 h 47590"/>
                    <a:gd name="connsiteX1" fmla="*/ 4944 w 462463"/>
                    <a:gd name="connsiteY1" fmla="*/ 47591 h 47590"/>
                    <a:gd name="connsiteX2" fmla="*/ 0 w 462463"/>
                    <a:gd name="connsiteY2" fmla="*/ 42647 h 47590"/>
                    <a:gd name="connsiteX3" fmla="*/ 0 w 462463"/>
                    <a:gd name="connsiteY3" fmla="*/ 4944 h 47590"/>
                    <a:gd name="connsiteX4" fmla="*/ 4944 w 462463"/>
                    <a:gd name="connsiteY4" fmla="*/ 0 h 47590"/>
                    <a:gd name="connsiteX5" fmla="*/ 457520 w 462463"/>
                    <a:gd name="connsiteY5" fmla="*/ 0 h 47590"/>
                    <a:gd name="connsiteX6" fmla="*/ 462464 w 462463"/>
                    <a:gd name="connsiteY6" fmla="*/ 4944 h 47590"/>
                    <a:gd name="connsiteX7" fmla="*/ 462464 w 462463"/>
                    <a:gd name="connsiteY7" fmla="*/ 42647 h 47590"/>
                    <a:gd name="connsiteX8" fmla="*/ 457520 w 462463"/>
                    <a:gd name="connsiteY8" fmla="*/ 47591 h 47590"/>
                    <a:gd name="connsiteX9" fmla="*/ 9888 w 462463"/>
                    <a:gd name="connsiteY9" fmla="*/ 37703 h 47590"/>
                    <a:gd name="connsiteX10" fmla="*/ 452576 w 462463"/>
                    <a:gd name="connsiteY10" fmla="*/ 37703 h 47590"/>
                    <a:gd name="connsiteX11" fmla="*/ 452576 w 462463"/>
                    <a:gd name="connsiteY11" fmla="*/ 9888 h 47590"/>
                    <a:gd name="connsiteX12" fmla="*/ 9888 w 462463"/>
                    <a:gd name="connsiteY12" fmla="*/ 9888 h 47590"/>
                    <a:gd name="connsiteX13" fmla="*/ 9888 w 462463"/>
                    <a:gd name="connsiteY13" fmla="*/ 37703 h 4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62463" h="47590">
                      <a:moveTo>
                        <a:pt x="457520" y="47591"/>
                      </a:moveTo>
                      <a:lnTo>
                        <a:pt x="4944" y="47591"/>
                      </a:lnTo>
                      <a:cubicBezTo>
                        <a:pt x="2226" y="47591"/>
                        <a:pt x="0" y="45365"/>
                        <a:pt x="0" y="42647"/>
                      </a:cubicBezTo>
                      <a:lnTo>
                        <a:pt x="0" y="4944"/>
                      </a:lnTo>
                      <a:cubicBezTo>
                        <a:pt x="0" y="2197"/>
                        <a:pt x="2226" y="0"/>
                        <a:pt x="4944" y="0"/>
                      </a:cubicBezTo>
                      <a:lnTo>
                        <a:pt x="457520" y="0"/>
                      </a:lnTo>
                      <a:cubicBezTo>
                        <a:pt x="460266" y="0"/>
                        <a:pt x="462464" y="2226"/>
                        <a:pt x="462464" y="4944"/>
                      </a:cubicBezTo>
                      <a:lnTo>
                        <a:pt x="462464" y="42647"/>
                      </a:lnTo>
                      <a:cubicBezTo>
                        <a:pt x="462464" y="45393"/>
                        <a:pt x="460238" y="47591"/>
                        <a:pt x="457520" y="47591"/>
                      </a:cubicBezTo>
                      <a:close/>
                      <a:moveTo>
                        <a:pt x="9888" y="37703"/>
                      </a:moveTo>
                      <a:lnTo>
                        <a:pt x="452576" y="37703"/>
                      </a:lnTo>
                      <a:lnTo>
                        <a:pt x="452576" y="9888"/>
                      </a:lnTo>
                      <a:lnTo>
                        <a:pt x="9888" y="9888"/>
                      </a:lnTo>
                      <a:lnTo>
                        <a:pt x="9888" y="37703"/>
                      </a:lnTo>
                      <a:close/>
                    </a:path>
                  </a:pathLst>
                </a:custGeom>
                <a:solidFill>
                  <a:schemeClr val="accent1"/>
                </a:solidFill>
                <a:ln w="2890" cap="flat">
                  <a:noFill/>
                  <a:prstDash val="solid"/>
                  <a:miter/>
                </a:ln>
              </p:spPr>
              <p:txBody>
                <a:bodyPr rtlCol="0" anchor="ctr"/>
                <a:lstStyle/>
                <a:p>
                  <a:endParaRPr lang="en-GB" dirty="0"/>
                </a:p>
              </p:txBody>
            </p:sp>
            <p:grpSp>
              <p:nvGrpSpPr>
                <p:cNvPr id="412" name="Grafik 53">
                  <a:extLst>
                    <a:ext uri="{FF2B5EF4-FFF2-40B4-BE49-F238E27FC236}">
                      <a16:creationId xmlns:a16="http://schemas.microsoft.com/office/drawing/2014/main" id="{96989A33-B0D5-4661-844F-09A0009F9BE0}"/>
                    </a:ext>
                  </a:extLst>
                </p:cNvPr>
                <p:cNvGrpSpPr/>
                <p:nvPr/>
              </p:nvGrpSpPr>
              <p:grpSpPr>
                <a:xfrm>
                  <a:off x="6987011" y="1931230"/>
                  <a:ext cx="425281" cy="157055"/>
                  <a:chOff x="6987011" y="1931230"/>
                  <a:chExt cx="425281" cy="157055"/>
                </a:xfrm>
                <a:solidFill>
                  <a:schemeClr val="accent1"/>
                </a:solidFill>
              </p:grpSpPr>
              <p:grpSp>
                <p:nvGrpSpPr>
                  <p:cNvPr id="413" name="Grafik 53">
                    <a:extLst>
                      <a:ext uri="{FF2B5EF4-FFF2-40B4-BE49-F238E27FC236}">
                        <a16:creationId xmlns:a16="http://schemas.microsoft.com/office/drawing/2014/main" id="{BEE4B5A7-60E0-4A15-BEAF-5ED1462C1031}"/>
                      </a:ext>
                    </a:extLst>
                  </p:cNvPr>
                  <p:cNvGrpSpPr/>
                  <p:nvPr/>
                </p:nvGrpSpPr>
                <p:grpSpPr>
                  <a:xfrm>
                    <a:off x="6987011" y="1931230"/>
                    <a:ext cx="85871" cy="157055"/>
                    <a:chOff x="6987011" y="1931230"/>
                    <a:chExt cx="85871" cy="157055"/>
                  </a:xfrm>
                  <a:solidFill>
                    <a:schemeClr val="accent1"/>
                  </a:solidFill>
                </p:grpSpPr>
                <p:sp>
                  <p:nvSpPr>
                    <p:cNvPr id="417" name="Freihandform: Form 416">
                      <a:extLst>
                        <a:ext uri="{FF2B5EF4-FFF2-40B4-BE49-F238E27FC236}">
                          <a16:creationId xmlns:a16="http://schemas.microsoft.com/office/drawing/2014/main" id="{8A608213-B226-431E-8BA8-99A22A00401F}"/>
                        </a:ext>
                      </a:extLst>
                    </p:cNvPr>
                    <p:cNvSpPr/>
                    <p:nvPr/>
                  </p:nvSpPr>
                  <p:spPr>
                    <a:xfrm>
                      <a:off x="6987011" y="1965260"/>
                      <a:ext cx="53895" cy="123026"/>
                    </a:xfrm>
                    <a:custGeom>
                      <a:avLst/>
                      <a:gdLst>
                        <a:gd name="connsiteX0" fmla="*/ 4944 w 53895"/>
                        <a:gd name="connsiteY0" fmla="*/ 123026 h 123026"/>
                        <a:gd name="connsiteX1" fmla="*/ 0 w 53895"/>
                        <a:gd name="connsiteY1" fmla="*/ 118082 h 123026"/>
                        <a:gd name="connsiteX2" fmla="*/ 0 w 53895"/>
                        <a:gd name="connsiteY2" fmla="*/ 67802 h 123026"/>
                        <a:gd name="connsiteX3" fmla="*/ 896 w 53895"/>
                        <a:gd name="connsiteY3" fmla="*/ 64969 h 123026"/>
                        <a:gd name="connsiteX4" fmla="*/ 44902 w 53895"/>
                        <a:gd name="connsiteY4" fmla="*/ 2112 h 123026"/>
                        <a:gd name="connsiteX5" fmla="*/ 51783 w 53895"/>
                        <a:gd name="connsiteY5" fmla="*/ 897 h 123026"/>
                        <a:gd name="connsiteX6" fmla="*/ 52998 w 53895"/>
                        <a:gd name="connsiteY6" fmla="*/ 7779 h 123026"/>
                        <a:gd name="connsiteX7" fmla="*/ 9888 w 53895"/>
                        <a:gd name="connsiteY7" fmla="*/ 69364 h 123026"/>
                        <a:gd name="connsiteX8" fmla="*/ 9888 w 53895"/>
                        <a:gd name="connsiteY8" fmla="*/ 118082 h 123026"/>
                        <a:gd name="connsiteX9" fmla="*/ 4944 w 53895"/>
                        <a:gd name="connsiteY9" fmla="*/ 123026 h 12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95" h="123026">
                          <a:moveTo>
                            <a:pt x="4944" y="123026"/>
                          </a:moveTo>
                          <a:cubicBezTo>
                            <a:pt x="2197" y="123026"/>
                            <a:pt x="0" y="120800"/>
                            <a:pt x="0" y="118082"/>
                          </a:cubicBezTo>
                          <a:lnTo>
                            <a:pt x="0" y="67802"/>
                          </a:lnTo>
                          <a:cubicBezTo>
                            <a:pt x="0" y="66790"/>
                            <a:pt x="318" y="65807"/>
                            <a:pt x="896" y="64969"/>
                          </a:cubicBezTo>
                          <a:lnTo>
                            <a:pt x="44902" y="2112"/>
                          </a:lnTo>
                          <a:cubicBezTo>
                            <a:pt x="46463" y="-143"/>
                            <a:pt x="49557" y="-664"/>
                            <a:pt x="51783" y="897"/>
                          </a:cubicBezTo>
                          <a:cubicBezTo>
                            <a:pt x="54038" y="2459"/>
                            <a:pt x="54559" y="5552"/>
                            <a:pt x="52998" y="7779"/>
                          </a:cubicBezTo>
                          <a:lnTo>
                            <a:pt x="9888" y="69364"/>
                          </a:lnTo>
                          <a:lnTo>
                            <a:pt x="9888" y="118082"/>
                          </a:lnTo>
                          <a:cubicBezTo>
                            <a:pt x="9888" y="120800"/>
                            <a:pt x="7691" y="123026"/>
                            <a:pt x="4944" y="123026"/>
                          </a:cubicBezTo>
                          <a:close/>
                        </a:path>
                      </a:pathLst>
                    </a:custGeom>
                    <a:solidFill>
                      <a:schemeClr val="accent1"/>
                    </a:solidFill>
                    <a:ln w="2890" cap="flat">
                      <a:noFill/>
                      <a:prstDash val="solid"/>
                      <a:miter/>
                    </a:ln>
                  </p:spPr>
                  <p:txBody>
                    <a:bodyPr rtlCol="0" anchor="ctr"/>
                    <a:lstStyle/>
                    <a:p>
                      <a:endParaRPr lang="en-GB" dirty="0"/>
                    </a:p>
                  </p:txBody>
                </p:sp>
                <p:sp>
                  <p:nvSpPr>
                    <p:cNvPr id="418" name="Freihandform: Form 417">
                      <a:extLst>
                        <a:ext uri="{FF2B5EF4-FFF2-40B4-BE49-F238E27FC236}">
                          <a16:creationId xmlns:a16="http://schemas.microsoft.com/office/drawing/2014/main" id="{CBA53623-CC43-4710-8C57-8FD625E38A68}"/>
                        </a:ext>
                      </a:extLst>
                    </p:cNvPr>
                    <p:cNvSpPr/>
                    <p:nvPr/>
                  </p:nvSpPr>
                  <p:spPr>
                    <a:xfrm>
                      <a:off x="7012686" y="1931230"/>
                      <a:ext cx="60196" cy="60168"/>
                    </a:xfrm>
                    <a:custGeom>
                      <a:avLst/>
                      <a:gdLst>
                        <a:gd name="connsiteX0" fmla="*/ 30098 w 60196"/>
                        <a:gd name="connsiteY0" fmla="*/ 60168 h 60168"/>
                        <a:gd name="connsiteX1" fmla="*/ 0 w 60196"/>
                        <a:gd name="connsiteY1" fmla="*/ 30070 h 60168"/>
                        <a:gd name="connsiteX2" fmla="*/ 30098 w 60196"/>
                        <a:gd name="connsiteY2" fmla="*/ 0 h 60168"/>
                        <a:gd name="connsiteX3" fmla="*/ 60197 w 60196"/>
                        <a:gd name="connsiteY3" fmla="*/ 30070 h 60168"/>
                        <a:gd name="connsiteX4" fmla="*/ 30098 w 60196"/>
                        <a:gd name="connsiteY4" fmla="*/ 60168 h 60168"/>
                        <a:gd name="connsiteX5" fmla="*/ 30098 w 60196"/>
                        <a:gd name="connsiteY5" fmla="*/ 9859 h 60168"/>
                        <a:gd name="connsiteX6" fmla="*/ 9888 w 60196"/>
                        <a:gd name="connsiteY6" fmla="*/ 30041 h 60168"/>
                        <a:gd name="connsiteX7" fmla="*/ 30098 w 60196"/>
                        <a:gd name="connsiteY7" fmla="*/ 50251 h 60168"/>
                        <a:gd name="connsiteX8" fmla="*/ 50280 w 60196"/>
                        <a:gd name="connsiteY8" fmla="*/ 30041 h 60168"/>
                        <a:gd name="connsiteX9" fmla="*/ 30098 w 60196"/>
                        <a:gd name="connsiteY9" fmla="*/ 9859 h 60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96" h="60168">
                          <a:moveTo>
                            <a:pt x="30098" y="60168"/>
                          </a:moveTo>
                          <a:cubicBezTo>
                            <a:pt x="13502" y="60168"/>
                            <a:pt x="0" y="46666"/>
                            <a:pt x="0" y="30070"/>
                          </a:cubicBezTo>
                          <a:cubicBezTo>
                            <a:pt x="0" y="13473"/>
                            <a:pt x="13502" y="0"/>
                            <a:pt x="30098" y="0"/>
                          </a:cubicBezTo>
                          <a:cubicBezTo>
                            <a:pt x="46695" y="0"/>
                            <a:pt x="60197" y="13502"/>
                            <a:pt x="60197" y="30070"/>
                          </a:cubicBezTo>
                          <a:cubicBezTo>
                            <a:pt x="60168" y="46666"/>
                            <a:pt x="46666" y="60168"/>
                            <a:pt x="30098" y="60168"/>
                          </a:cubicBezTo>
                          <a:close/>
                          <a:moveTo>
                            <a:pt x="30098" y="9859"/>
                          </a:moveTo>
                          <a:cubicBezTo>
                            <a:pt x="18967" y="9859"/>
                            <a:pt x="9888" y="18909"/>
                            <a:pt x="9888" y="30041"/>
                          </a:cubicBezTo>
                          <a:cubicBezTo>
                            <a:pt x="9888" y="41172"/>
                            <a:pt x="18938" y="50251"/>
                            <a:pt x="30098" y="50251"/>
                          </a:cubicBezTo>
                          <a:cubicBezTo>
                            <a:pt x="41230" y="50251"/>
                            <a:pt x="50280" y="41201"/>
                            <a:pt x="50280" y="30041"/>
                          </a:cubicBezTo>
                          <a:cubicBezTo>
                            <a:pt x="50280" y="18938"/>
                            <a:pt x="41230" y="9859"/>
                            <a:pt x="30098" y="9859"/>
                          </a:cubicBezTo>
                          <a:close/>
                        </a:path>
                      </a:pathLst>
                    </a:custGeom>
                    <a:solidFill>
                      <a:schemeClr val="accent1"/>
                    </a:solidFill>
                    <a:ln w="2890" cap="flat">
                      <a:noFill/>
                      <a:prstDash val="solid"/>
                      <a:miter/>
                    </a:ln>
                  </p:spPr>
                  <p:txBody>
                    <a:bodyPr rtlCol="0" anchor="ctr"/>
                    <a:lstStyle/>
                    <a:p>
                      <a:endParaRPr lang="en-GB" dirty="0"/>
                    </a:p>
                  </p:txBody>
                </p:sp>
              </p:grpSp>
              <p:grpSp>
                <p:nvGrpSpPr>
                  <p:cNvPr id="414" name="Grafik 53">
                    <a:extLst>
                      <a:ext uri="{FF2B5EF4-FFF2-40B4-BE49-F238E27FC236}">
                        <a16:creationId xmlns:a16="http://schemas.microsoft.com/office/drawing/2014/main" id="{7689BBBF-98AB-443A-A39A-23B97CCE1B1A}"/>
                      </a:ext>
                    </a:extLst>
                  </p:cNvPr>
                  <p:cNvGrpSpPr/>
                  <p:nvPr/>
                </p:nvGrpSpPr>
                <p:grpSpPr>
                  <a:xfrm>
                    <a:off x="7326421" y="1931230"/>
                    <a:ext cx="85871" cy="157055"/>
                    <a:chOff x="7326421" y="1931230"/>
                    <a:chExt cx="85871" cy="157055"/>
                  </a:xfrm>
                  <a:solidFill>
                    <a:schemeClr val="accent1"/>
                  </a:solidFill>
                </p:grpSpPr>
                <p:sp>
                  <p:nvSpPr>
                    <p:cNvPr id="415" name="Freihandform: Form 414">
                      <a:extLst>
                        <a:ext uri="{FF2B5EF4-FFF2-40B4-BE49-F238E27FC236}">
                          <a16:creationId xmlns:a16="http://schemas.microsoft.com/office/drawing/2014/main" id="{B6CA0732-9342-46B4-AC1A-DFEC9A82A533}"/>
                        </a:ext>
                      </a:extLst>
                    </p:cNvPr>
                    <p:cNvSpPr/>
                    <p:nvPr/>
                  </p:nvSpPr>
                  <p:spPr>
                    <a:xfrm>
                      <a:off x="7358406" y="1965268"/>
                      <a:ext cx="53887" cy="123018"/>
                    </a:xfrm>
                    <a:custGeom>
                      <a:avLst/>
                      <a:gdLst>
                        <a:gd name="connsiteX0" fmla="*/ 48943 w 53887"/>
                        <a:gd name="connsiteY0" fmla="*/ 123018 h 123018"/>
                        <a:gd name="connsiteX1" fmla="*/ 43999 w 53887"/>
                        <a:gd name="connsiteY1" fmla="*/ 118074 h 123018"/>
                        <a:gd name="connsiteX2" fmla="*/ 43999 w 53887"/>
                        <a:gd name="connsiteY2" fmla="*/ 69356 h 123018"/>
                        <a:gd name="connsiteX3" fmla="*/ 890 w 53887"/>
                        <a:gd name="connsiteY3" fmla="*/ 7771 h 123018"/>
                        <a:gd name="connsiteX4" fmla="*/ 2104 w 53887"/>
                        <a:gd name="connsiteY4" fmla="*/ 890 h 123018"/>
                        <a:gd name="connsiteX5" fmla="*/ 8985 w 53887"/>
                        <a:gd name="connsiteY5" fmla="*/ 2104 h 123018"/>
                        <a:gd name="connsiteX6" fmla="*/ 52991 w 53887"/>
                        <a:gd name="connsiteY6" fmla="*/ 64961 h 123018"/>
                        <a:gd name="connsiteX7" fmla="*/ 53887 w 53887"/>
                        <a:gd name="connsiteY7" fmla="*/ 67794 h 123018"/>
                        <a:gd name="connsiteX8" fmla="*/ 53887 w 53887"/>
                        <a:gd name="connsiteY8" fmla="*/ 118074 h 123018"/>
                        <a:gd name="connsiteX9" fmla="*/ 48943 w 53887"/>
                        <a:gd name="connsiteY9" fmla="*/ 123018 h 123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3887" h="123018">
                          <a:moveTo>
                            <a:pt x="48943" y="123018"/>
                          </a:moveTo>
                          <a:cubicBezTo>
                            <a:pt x="46225" y="123018"/>
                            <a:pt x="43999" y="120792"/>
                            <a:pt x="43999" y="118074"/>
                          </a:cubicBezTo>
                          <a:lnTo>
                            <a:pt x="43999" y="69356"/>
                          </a:lnTo>
                          <a:lnTo>
                            <a:pt x="890" y="7771"/>
                          </a:lnTo>
                          <a:cubicBezTo>
                            <a:pt x="-672" y="5545"/>
                            <a:pt x="-122" y="2451"/>
                            <a:pt x="2104" y="890"/>
                          </a:cubicBezTo>
                          <a:cubicBezTo>
                            <a:pt x="4330" y="-672"/>
                            <a:pt x="7424" y="-122"/>
                            <a:pt x="8985" y="2104"/>
                          </a:cubicBezTo>
                          <a:lnTo>
                            <a:pt x="52991" y="64961"/>
                          </a:lnTo>
                          <a:cubicBezTo>
                            <a:pt x="53569" y="65799"/>
                            <a:pt x="53887" y="66782"/>
                            <a:pt x="53887" y="67794"/>
                          </a:cubicBezTo>
                          <a:lnTo>
                            <a:pt x="53887" y="118074"/>
                          </a:lnTo>
                          <a:cubicBezTo>
                            <a:pt x="53887" y="120792"/>
                            <a:pt x="51661" y="123018"/>
                            <a:pt x="48943" y="123018"/>
                          </a:cubicBezTo>
                          <a:close/>
                        </a:path>
                      </a:pathLst>
                    </a:custGeom>
                    <a:solidFill>
                      <a:schemeClr val="accent1"/>
                    </a:solidFill>
                    <a:ln w="2890" cap="flat">
                      <a:noFill/>
                      <a:prstDash val="solid"/>
                      <a:miter/>
                    </a:ln>
                  </p:spPr>
                  <p:txBody>
                    <a:bodyPr rtlCol="0" anchor="ctr"/>
                    <a:lstStyle/>
                    <a:p>
                      <a:endParaRPr lang="en-GB" dirty="0"/>
                    </a:p>
                  </p:txBody>
                </p:sp>
                <p:sp>
                  <p:nvSpPr>
                    <p:cNvPr id="416" name="Freihandform: Form 415">
                      <a:extLst>
                        <a:ext uri="{FF2B5EF4-FFF2-40B4-BE49-F238E27FC236}">
                          <a16:creationId xmlns:a16="http://schemas.microsoft.com/office/drawing/2014/main" id="{35F35B23-E7E3-43B0-9F6C-B02342BF0607}"/>
                        </a:ext>
                      </a:extLst>
                    </p:cNvPr>
                    <p:cNvSpPr/>
                    <p:nvPr/>
                  </p:nvSpPr>
                  <p:spPr>
                    <a:xfrm>
                      <a:off x="7326421" y="1931230"/>
                      <a:ext cx="60196" cy="60168"/>
                    </a:xfrm>
                    <a:custGeom>
                      <a:avLst/>
                      <a:gdLst>
                        <a:gd name="connsiteX0" fmla="*/ 30098 w 60196"/>
                        <a:gd name="connsiteY0" fmla="*/ 60168 h 60168"/>
                        <a:gd name="connsiteX1" fmla="*/ 0 w 60196"/>
                        <a:gd name="connsiteY1" fmla="*/ 30070 h 60168"/>
                        <a:gd name="connsiteX2" fmla="*/ 30098 w 60196"/>
                        <a:gd name="connsiteY2" fmla="*/ 0 h 60168"/>
                        <a:gd name="connsiteX3" fmla="*/ 60197 w 60196"/>
                        <a:gd name="connsiteY3" fmla="*/ 30070 h 60168"/>
                        <a:gd name="connsiteX4" fmla="*/ 30098 w 60196"/>
                        <a:gd name="connsiteY4" fmla="*/ 60168 h 60168"/>
                        <a:gd name="connsiteX5" fmla="*/ 30098 w 60196"/>
                        <a:gd name="connsiteY5" fmla="*/ 9859 h 60168"/>
                        <a:gd name="connsiteX6" fmla="*/ 9917 w 60196"/>
                        <a:gd name="connsiteY6" fmla="*/ 30041 h 60168"/>
                        <a:gd name="connsiteX7" fmla="*/ 30098 w 60196"/>
                        <a:gd name="connsiteY7" fmla="*/ 50251 h 60168"/>
                        <a:gd name="connsiteX8" fmla="*/ 50309 w 60196"/>
                        <a:gd name="connsiteY8" fmla="*/ 30041 h 60168"/>
                        <a:gd name="connsiteX9" fmla="*/ 30098 w 60196"/>
                        <a:gd name="connsiteY9" fmla="*/ 9859 h 60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196" h="60168">
                          <a:moveTo>
                            <a:pt x="30098" y="60168"/>
                          </a:moveTo>
                          <a:cubicBezTo>
                            <a:pt x="13502" y="60168"/>
                            <a:pt x="0" y="46666"/>
                            <a:pt x="0" y="30070"/>
                          </a:cubicBezTo>
                          <a:cubicBezTo>
                            <a:pt x="0" y="13473"/>
                            <a:pt x="13502" y="0"/>
                            <a:pt x="30098" y="0"/>
                          </a:cubicBezTo>
                          <a:cubicBezTo>
                            <a:pt x="46694" y="0"/>
                            <a:pt x="60197" y="13502"/>
                            <a:pt x="60197" y="30070"/>
                          </a:cubicBezTo>
                          <a:cubicBezTo>
                            <a:pt x="60197" y="46666"/>
                            <a:pt x="46694" y="60168"/>
                            <a:pt x="30098" y="60168"/>
                          </a:cubicBezTo>
                          <a:close/>
                          <a:moveTo>
                            <a:pt x="30098" y="9859"/>
                          </a:moveTo>
                          <a:cubicBezTo>
                            <a:pt x="18967" y="9859"/>
                            <a:pt x="9917" y="18909"/>
                            <a:pt x="9917" y="30041"/>
                          </a:cubicBezTo>
                          <a:cubicBezTo>
                            <a:pt x="9917" y="41172"/>
                            <a:pt x="18967" y="50251"/>
                            <a:pt x="30098" y="50251"/>
                          </a:cubicBezTo>
                          <a:cubicBezTo>
                            <a:pt x="41230" y="50251"/>
                            <a:pt x="50309" y="41201"/>
                            <a:pt x="50309" y="30041"/>
                          </a:cubicBezTo>
                          <a:cubicBezTo>
                            <a:pt x="50309" y="18938"/>
                            <a:pt x="41259" y="9859"/>
                            <a:pt x="30098" y="9859"/>
                          </a:cubicBezTo>
                          <a:close/>
                        </a:path>
                      </a:pathLst>
                    </a:custGeom>
                    <a:solidFill>
                      <a:schemeClr val="accent1"/>
                    </a:solidFill>
                    <a:ln w="2890" cap="flat">
                      <a:noFill/>
                      <a:prstDash val="solid"/>
                      <a:miter/>
                    </a:ln>
                  </p:spPr>
                  <p:txBody>
                    <a:bodyPr rtlCol="0" anchor="ctr"/>
                    <a:lstStyle/>
                    <a:p>
                      <a:endParaRPr lang="en-GB" dirty="0"/>
                    </a:p>
                  </p:txBody>
                </p:sp>
              </p:grpSp>
            </p:grpSp>
          </p:grpSp>
          <p:sp>
            <p:nvSpPr>
              <p:cNvPr id="409" name="Freihandform: Form 408">
                <a:extLst>
                  <a:ext uri="{FF2B5EF4-FFF2-40B4-BE49-F238E27FC236}">
                    <a16:creationId xmlns:a16="http://schemas.microsoft.com/office/drawing/2014/main" id="{14AED51D-18CB-41E2-BFCB-BA6243A38456}"/>
                  </a:ext>
                </a:extLst>
              </p:cNvPr>
              <p:cNvSpPr/>
              <p:nvPr/>
            </p:nvSpPr>
            <p:spPr>
              <a:xfrm>
                <a:off x="7017630" y="2118586"/>
                <a:ext cx="9888" cy="57190"/>
              </a:xfrm>
              <a:custGeom>
                <a:avLst/>
                <a:gdLst>
                  <a:gd name="connsiteX0" fmla="*/ 4944 w 9888"/>
                  <a:gd name="connsiteY0" fmla="*/ 57190 h 57190"/>
                  <a:gd name="connsiteX1" fmla="*/ 0 w 9888"/>
                  <a:gd name="connsiteY1" fmla="*/ 52246 h 57190"/>
                  <a:gd name="connsiteX2" fmla="*/ 0 w 9888"/>
                  <a:gd name="connsiteY2" fmla="*/ 4944 h 57190"/>
                  <a:gd name="connsiteX3" fmla="*/ 4944 w 9888"/>
                  <a:gd name="connsiteY3" fmla="*/ 0 h 57190"/>
                  <a:gd name="connsiteX4" fmla="*/ 9888 w 9888"/>
                  <a:gd name="connsiteY4" fmla="*/ 4944 h 57190"/>
                  <a:gd name="connsiteX5" fmla="*/ 9888 w 9888"/>
                  <a:gd name="connsiteY5" fmla="*/ 52217 h 57190"/>
                  <a:gd name="connsiteX6" fmla="*/ 4944 w 9888"/>
                  <a:gd name="connsiteY6" fmla="*/ 57190 h 5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57190">
                    <a:moveTo>
                      <a:pt x="4944" y="57190"/>
                    </a:moveTo>
                    <a:cubicBezTo>
                      <a:pt x="2197" y="57190"/>
                      <a:pt x="0" y="54964"/>
                      <a:pt x="0" y="52246"/>
                    </a:cubicBezTo>
                    <a:lnTo>
                      <a:pt x="0" y="4944"/>
                    </a:lnTo>
                    <a:cubicBezTo>
                      <a:pt x="0" y="2197"/>
                      <a:pt x="2226" y="0"/>
                      <a:pt x="4944" y="0"/>
                    </a:cubicBezTo>
                    <a:cubicBezTo>
                      <a:pt x="7691" y="0"/>
                      <a:pt x="9888" y="2226"/>
                      <a:pt x="9888" y="4944"/>
                    </a:cubicBezTo>
                    <a:lnTo>
                      <a:pt x="9888" y="52217"/>
                    </a:lnTo>
                    <a:cubicBezTo>
                      <a:pt x="9888" y="54964"/>
                      <a:pt x="7691" y="57190"/>
                      <a:pt x="4944" y="57190"/>
                    </a:cubicBezTo>
                    <a:close/>
                  </a:path>
                </a:pathLst>
              </a:custGeom>
              <a:solidFill>
                <a:schemeClr val="accent1"/>
              </a:solidFill>
              <a:ln w="2890" cap="flat">
                <a:noFill/>
                <a:prstDash val="solid"/>
                <a:miter/>
              </a:ln>
            </p:spPr>
            <p:txBody>
              <a:bodyPr rtlCol="0" anchor="ctr"/>
              <a:lstStyle/>
              <a:p>
                <a:endParaRPr lang="en-GB" dirty="0"/>
              </a:p>
            </p:txBody>
          </p:sp>
          <p:sp>
            <p:nvSpPr>
              <p:cNvPr id="410" name="Freihandform: Form 409">
                <a:extLst>
                  <a:ext uri="{FF2B5EF4-FFF2-40B4-BE49-F238E27FC236}">
                    <a16:creationId xmlns:a16="http://schemas.microsoft.com/office/drawing/2014/main" id="{03111143-94D4-4883-82C1-B49B0D121479}"/>
                  </a:ext>
                </a:extLst>
              </p:cNvPr>
              <p:cNvSpPr/>
              <p:nvPr/>
            </p:nvSpPr>
            <p:spPr>
              <a:xfrm>
                <a:off x="7365078" y="2118586"/>
                <a:ext cx="9888" cy="57190"/>
              </a:xfrm>
              <a:custGeom>
                <a:avLst/>
                <a:gdLst>
                  <a:gd name="connsiteX0" fmla="*/ 4944 w 9888"/>
                  <a:gd name="connsiteY0" fmla="*/ 57190 h 57190"/>
                  <a:gd name="connsiteX1" fmla="*/ 0 w 9888"/>
                  <a:gd name="connsiteY1" fmla="*/ 52246 h 57190"/>
                  <a:gd name="connsiteX2" fmla="*/ 0 w 9888"/>
                  <a:gd name="connsiteY2" fmla="*/ 4944 h 57190"/>
                  <a:gd name="connsiteX3" fmla="*/ 4944 w 9888"/>
                  <a:gd name="connsiteY3" fmla="*/ 0 h 57190"/>
                  <a:gd name="connsiteX4" fmla="*/ 9888 w 9888"/>
                  <a:gd name="connsiteY4" fmla="*/ 4944 h 57190"/>
                  <a:gd name="connsiteX5" fmla="*/ 9888 w 9888"/>
                  <a:gd name="connsiteY5" fmla="*/ 52217 h 57190"/>
                  <a:gd name="connsiteX6" fmla="*/ 4944 w 9888"/>
                  <a:gd name="connsiteY6" fmla="*/ 57190 h 57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57190">
                    <a:moveTo>
                      <a:pt x="4944" y="57190"/>
                    </a:moveTo>
                    <a:cubicBezTo>
                      <a:pt x="2197" y="57190"/>
                      <a:pt x="0" y="54964"/>
                      <a:pt x="0" y="52246"/>
                    </a:cubicBezTo>
                    <a:lnTo>
                      <a:pt x="0" y="4944"/>
                    </a:lnTo>
                    <a:cubicBezTo>
                      <a:pt x="0" y="2197"/>
                      <a:pt x="2226" y="0"/>
                      <a:pt x="4944" y="0"/>
                    </a:cubicBezTo>
                    <a:cubicBezTo>
                      <a:pt x="7662" y="0"/>
                      <a:pt x="9888" y="2226"/>
                      <a:pt x="9888" y="4944"/>
                    </a:cubicBezTo>
                    <a:lnTo>
                      <a:pt x="9888" y="52217"/>
                    </a:lnTo>
                    <a:cubicBezTo>
                      <a:pt x="9888" y="54964"/>
                      <a:pt x="7662" y="57190"/>
                      <a:pt x="4944" y="57190"/>
                    </a:cubicBezTo>
                    <a:close/>
                  </a:path>
                </a:pathLst>
              </a:custGeom>
              <a:solidFill>
                <a:schemeClr val="accent1"/>
              </a:solidFill>
              <a:ln w="2890" cap="flat">
                <a:noFill/>
                <a:prstDash val="solid"/>
                <a:miter/>
              </a:ln>
            </p:spPr>
            <p:txBody>
              <a:bodyPr rtlCol="0" anchor="ctr"/>
              <a:lstStyle/>
              <a:p>
                <a:endParaRPr lang="en-GB" dirty="0"/>
              </a:p>
            </p:txBody>
          </p:sp>
        </p:grpSp>
      </p:grpSp>
      <p:grpSp>
        <p:nvGrpSpPr>
          <p:cNvPr id="4" name="Group 3">
            <a:extLst>
              <a:ext uri="{FF2B5EF4-FFF2-40B4-BE49-F238E27FC236}">
                <a16:creationId xmlns:a16="http://schemas.microsoft.com/office/drawing/2014/main" id="{CDD92F9B-B575-167A-240B-D5BE70B24944}"/>
              </a:ext>
            </a:extLst>
          </p:cNvPr>
          <p:cNvGrpSpPr/>
          <p:nvPr/>
        </p:nvGrpSpPr>
        <p:grpSpPr>
          <a:xfrm>
            <a:off x="6012914" y="1626715"/>
            <a:ext cx="491576" cy="432002"/>
            <a:chOff x="6012502" y="1626715"/>
            <a:chExt cx="491576" cy="432002"/>
          </a:xfrm>
        </p:grpSpPr>
        <p:grpSp>
          <p:nvGrpSpPr>
            <p:cNvPr id="428" name="Group 1006">
              <a:extLst>
                <a:ext uri="{FF2B5EF4-FFF2-40B4-BE49-F238E27FC236}">
                  <a16:creationId xmlns:a16="http://schemas.microsoft.com/office/drawing/2014/main" id="{88ED94D0-14F5-445F-B116-70753A64E1A7}"/>
                </a:ext>
              </a:extLst>
            </p:cNvPr>
            <p:cNvGrpSpPr/>
            <p:nvPr/>
          </p:nvGrpSpPr>
          <p:grpSpPr>
            <a:xfrm>
              <a:off x="6046385" y="1626715"/>
              <a:ext cx="260747" cy="432000"/>
              <a:chOff x="6201751" y="1690356"/>
              <a:chExt cx="301175" cy="498980"/>
            </a:xfrm>
            <a:solidFill>
              <a:schemeClr val="tx2"/>
            </a:solidFill>
          </p:grpSpPr>
          <p:grpSp>
            <p:nvGrpSpPr>
              <p:cNvPr id="440" name="Grafik 53">
                <a:extLst>
                  <a:ext uri="{FF2B5EF4-FFF2-40B4-BE49-F238E27FC236}">
                    <a16:creationId xmlns:a16="http://schemas.microsoft.com/office/drawing/2014/main" id="{EF6F5301-72CF-4BED-85A9-CC5E7F3C39FF}"/>
                  </a:ext>
                </a:extLst>
              </p:cNvPr>
              <p:cNvGrpSpPr/>
              <p:nvPr/>
            </p:nvGrpSpPr>
            <p:grpSpPr>
              <a:xfrm>
                <a:off x="6201751" y="1731822"/>
                <a:ext cx="301175" cy="457514"/>
                <a:chOff x="6201751" y="1731822"/>
                <a:chExt cx="301175" cy="457514"/>
              </a:xfrm>
              <a:grpFill/>
            </p:grpSpPr>
            <p:sp>
              <p:nvSpPr>
                <p:cNvPr id="447" name="Freihandform: Form 446">
                  <a:extLst>
                    <a:ext uri="{FF2B5EF4-FFF2-40B4-BE49-F238E27FC236}">
                      <a16:creationId xmlns:a16="http://schemas.microsoft.com/office/drawing/2014/main" id="{605B5898-B3C1-40DD-8A5C-4305222899EB}"/>
                    </a:ext>
                  </a:extLst>
                </p:cNvPr>
                <p:cNvSpPr/>
                <p:nvPr/>
              </p:nvSpPr>
              <p:spPr>
                <a:xfrm>
                  <a:off x="6322619" y="1997296"/>
                  <a:ext cx="63782" cy="43282"/>
                </a:xfrm>
                <a:custGeom>
                  <a:avLst/>
                  <a:gdLst>
                    <a:gd name="connsiteX0" fmla="*/ 32267 w 63782"/>
                    <a:gd name="connsiteY0" fmla="*/ 43283 h 43282"/>
                    <a:gd name="connsiteX1" fmla="*/ 31891 w 63782"/>
                    <a:gd name="connsiteY1" fmla="*/ 43254 h 43282"/>
                    <a:gd name="connsiteX2" fmla="*/ 31197 w 63782"/>
                    <a:gd name="connsiteY2" fmla="*/ 43254 h 43282"/>
                    <a:gd name="connsiteX3" fmla="*/ 31226 w 63782"/>
                    <a:gd name="connsiteY3" fmla="*/ 43138 h 43282"/>
                    <a:gd name="connsiteX4" fmla="*/ 10871 w 63782"/>
                    <a:gd name="connsiteY4" fmla="*/ 30937 h 43282"/>
                    <a:gd name="connsiteX5" fmla="*/ 0 w 63782"/>
                    <a:gd name="connsiteY5" fmla="*/ 11710 h 43282"/>
                    <a:gd name="connsiteX6" fmla="*/ 0 w 63782"/>
                    <a:gd name="connsiteY6" fmla="*/ 4944 h 43282"/>
                    <a:gd name="connsiteX7" fmla="*/ 4944 w 63782"/>
                    <a:gd name="connsiteY7" fmla="*/ 0 h 43282"/>
                    <a:gd name="connsiteX8" fmla="*/ 9888 w 63782"/>
                    <a:gd name="connsiteY8" fmla="*/ 4944 h 43282"/>
                    <a:gd name="connsiteX9" fmla="*/ 9888 w 63782"/>
                    <a:gd name="connsiteY9" fmla="*/ 11710 h 43282"/>
                    <a:gd name="connsiteX10" fmla="*/ 31891 w 63782"/>
                    <a:gd name="connsiteY10" fmla="*/ 32932 h 43282"/>
                    <a:gd name="connsiteX11" fmla="*/ 53894 w 63782"/>
                    <a:gd name="connsiteY11" fmla="*/ 11710 h 43282"/>
                    <a:gd name="connsiteX12" fmla="*/ 53894 w 63782"/>
                    <a:gd name="connsiteY12" fmla="*/ 4944 h 43282"/>
                    <a:gd name="connsiteX13" fmla="*/ 58838 w 63782"/>
                    <a:gd name="connsiteY13" fmla="*/ 0 h 43282"/>
                    <a:gd name="connsiteX14" fmla="*/ 63782 w 63782"/>
                    <a:gd name="connsiteY14" fmla="*/ 4944 h 43282"/>
                    <a:gd name="connsiteX15" fmla="*/ 63782 w 63782"/>
                    <a:gd name="connsiteY15" fmla="*/ 11710 h 43282"/>
                    <a:gd name="connsiteX16" fmla="*/ 52911 w 63782"/>
                    <a:gd name="connsiteY16" fmla="*/ 30937 h 43282"/>
                    <a:gd name="connsiteX17" fmla="*/ 32556 w 63782"/>
                    <a:gd name="connsiteY17" fmla="*/ 43138 h 43282"/>
                    <a:gd name="connsiteX18" fmla="*/ 32585 w 63782"/>
                    <a:gd name="connsiteY18" fmla="*/ 43254 h 43282"/>
                    <a:gd name="connsiteX19" fmla="*/ 32267 w 63782"/>
                    <a:gd name="connsiteY19" fmla="*/ 43283 h 4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3782" h="43282">
                      <a:moveTo>
                        <a:pt x="32267" y="43283"/>
                      </a:moveTo>
                      <a:cubicBezTo>
                        <a:pt x="32151" y="43283"/>
                        <a:pt x="32036" y="43283"/>
                        <a:pt x="31891" y="43254"/>
                      </a:cubicBezTo>
                      <a:cubicBezTo>
                        <a:pt x="31631" y="43283"/>
                        <a:pt x="31400" y="43283"/>
                        <a:pt x="31197" y="43254"/>
                      </a:cubicBezTo>
                      <a:lnTo>
                        <a:pt x="31226" y="43138"/>
                      </a:lnTo>
                      <a:cubicBezTo>
                        <a:pt x="26455" y="42068"/>
                        <a:pt x="15497" y="34956"/>
                        <a:pt x="10871" y="30937"/>
                      </a:cubicBezTo>
                      <a:cubicBezTo>
                        <a:pt x="3643" y="24663"/>
                        <a:pt x="0" y="18215"/>
                        <a:pt x="0" y="11710"/>
                      </a:cubicBezTo>
                      <a:lnTo>
                        <a:pt x="0" y="4944"/>
                      </a:lnTo>
                      <a:cubicBezTo>
                        <a:pt x="0" y="2197"/>
                        <a:pt x="2226" y="0"/>
                        <a:pt x="4944" y="0"/>
                      </a:cubicBezTo>
                      <a:cubicBezTo>
                        <a:pt x="7691" y="0"/>
                        <a:pt x="9888" y="2226"/>
                        <a:pt x="9888" y="4944"/>
                      </a:cubicBezTo>
                      <a:lnTo>
                        <a:pt x="9888" y="11710"/>
                      </a:lnTo>
                      <a:cubicBezTo>
                        <a:pt x="9888" y="20095"/>
                        <a:pt x="24547" y="29347"/>
                        <a:pt x="31891" y="32932"/>
                      </a:cubicBezTo>
                      <a:cubicBezTo>
                        <a:pt x="39264" y="29347"/>
                        <a:pt x="53894" y="20095"/>
                        <a:pt x="53894" y="11710"/>
                      </a:cubicBezTo>
                      <a:lnTo>
                        <a:pt x="53894" y="4944"/>
                      </a:lnTo>
                      <a:cubicBezTo>
                        <a:pt x="53894" y="2197"/>
                        <a:pt x="56120" y="0"/>
                        <a:pt x="58838" y="0"/>
                      </a:cubicBezTo>
                      <a:cubicBezTo>
                        <a:pt x="61585" y="0"/>
                        <a:pt x="63782" y="2226"/>
                        <a:pt x="63782" y="4944"/>
                      </a:cubicBezTo>
                      <a:lnTo>
                        <a:pt x="63782" y="11710"/>
                      </a:lnTo>
                      <a:cubicBezTo>
                        <a:pt x="63782" y="18215"/>
                        <a:pt x="60110" y="24692"/>
                        <a:pt x="52911" y="30937"/>
                      </a:cubicBezTo>
                      <a:cubicBezTo>
                        <a:pt x="48285" y="34956"/>
                        <a:pt x="37327" y="42068"/>
                        <a:pt x="32556" y="43138"/>
                      </a:cubicBezTo>
                      <a:lnTo>
                        <a:pt x="32585" y="43254"/>
                      </a:lnTo>
                      <a:cubicBezTo>
                        <a:pt x="32469" y="43283"/>
                        <a:pt x="32383" y="43283"/>
                        <a:pt x="32267" y="43283"/>
                      </a:cubicBezTo>
                      <a:close/>
                    </a:path>
                  </a:pathLst>
                </a:custGeom>
                <a:grpFill/>
                <a:ln w="2890" cap="flat">
                  <a:noFill/>
                  <a:prstDash val="solid"/>
                  <a:miter/>
                </a:ln>
              </p:spPr>
              <p:txBody>
                <a:bodyPr rtlCol="0" anchor="ctr"/>
                <a:lstStyle/>
                <a:p>
                  <a:endParaRPr lang="en-GB" dirty="0"/>
                </a:p>
              </p:txBody>
            </p:sp>
            <p:sp>
              <p:nvSpPr>
                <p:cNvPr id="448" name="Freihandform: Form 447">
                  <a:extLst>
                    <a:ext uri="{FF2B5EF4-FFF2-40B4-BE49-F238E27FC236}">
                      <a16:creationId xmlns:a16="http://schemas.microsoft.com/office/drawing/2014/main" id="{4604D335-98A3-43D7-B7FE-208554CF5B5F}"/>
                    </a:ext>
                  </a:extLst>
                </p:cNvPr>
                <p:cNvSpPr/>
                <p:nvPr/>
              </p:nvSpPr>
              <p:spPr>
                <a:xfrm>
                  <a:off x="6386783" y="1992235"/>
                  <a:ext cx="116142" cy="197101"/>
                </a:xfrm>
                <a:custGeom>
                  <a:avLst/>
                  <a:gdLst>
                    <a:gd name="connsiteX0" fmla="*/ 111164 w 116142"/>
                    <a:gd name="connsiteY0" fmla="*/ 197101 h 197101"/>
                    <a:gd name="connsiteX1" fmla="*/ 106249 w 116142"/>
                    <a:gd name="connsiteY1" fmla="*/ 192764 h 197101"/>
                    <a:gd name="connsiteX2" fmla="*/ 92399 w 116142"/>
                    <a:gd name="connsiteY2" fmla="*/ 79541 h 197101"/>
                    <a:gd name="connsiteX3" fmla="*/ 4099 w 116142"/>
                    <a:gd name="connsiteY3" fmla="*/ 9832 h 197101"/>
                    <a:gd name="connsiteX4" fmla="*/ 80 w 116142"/>
                    <a:gd name="connsiteY4" fmla="*/ 4107 h 197101"/>
                    <a:gd name="connsiteX5" fmla="*/ 5805 w 116142"/>
                    <a:gd name="connsiteY5" fmla="*/ 88 h 197101"/>
                    <a:gd name="connsiteX6" fmla="*/ 102230 w 116142"/>
                    <a:gd name="connsiteY6" fmla="*/ 78153 h 197101"/>
                    <a:gd name="connsiteX7" fmla="*/ 116108 w 116142"/>
                    <a:gd name="connsiteY7" fmla="*/ 191521 h 197101"/>
                    <a:gd name="connsiteX8" fmla="*/ 111800 w 116142"/>
                    <a:gd name="connsiteY8" fmla="*/ 197043 h 197101"/>
                    <a:gd name="connsiteX9" fmla="*/ 111164 w 116142"/>
                    <a:gd name="connsiteY9" fmla="*/ 197101 h 19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142" h="197101">
                      <a:moveTo>
                        <a:pt x="111164" y="197101"/>
                      </a:moveTo>
                      <a:cubicBezTo>
                        <a:pt x="108706" y="197101"/>
                        <a:pt x="106567" y="195251"/>
                        <a:pt x="106249" y="192764"/>
                      </a:cubicBezTo>
                      <a:lnTo>
                        <a:pt x="92399" y="79541"/>
                      </a:lnTo>
                      <a:cubicBezTo>
                        <a:pt x="84535" y="29174"/>
                        <a:pt x="58195" y="19228"/>
                        <a:pt x="4099" y="9832"/>
                      </a:cubicBezTo>
                      <a:cubicBezTo>
                        <a:pt x="1410" y="9369"/>
                        <a:pt x="-411" y="6796"/>
                        <a:pt x="80" y="4107"/>
                      </a:cubicBezTo>
                      <a:cubicBezTo>
                        <a:pt x="543" y="1418"/>
                        <a:pt x="3116" y="-433"/>
                        <a:pt x="5805" y="88"/>
                      </a:cubicBezTo>
                      <a:cubicBezTo>
                        <a:pt x="58109" y="9138"/>
                        <a:pt x="93064" y="19488"/>
                        <a:pt x="102230" y="78153"/>
                      </a:cubicBezTo>
                      <a:lnTo>
                        <a:pt x="116108" y="191521"/>
                      </a:lnTo>
                      <a:cubicBezTo>
                        <a:pt x="116426" y="194239"/>
                        <a:pt x="114518" y="196696"/>
                        <a:pt x="111800" y="197043"/>
                      </a:cubicBezTo>
                      <a:cubicBezTo>
                        <a:pt x="111569" y="197072"/>
                        <a:pt x="111366" y="197101"/>
                        <a:pt x="111164" y="197101"/>
                      </a:cubicBezTo>
                      <a:close/>
                    </a:path>
                  </a:pathLst>
                </a:custGeom>
                <a:grpFill/>
                <a:ln w="2890" cap="flat">
                  <a:noFill/>
                  <a:prstDash val="solid"/>
                  <a:miter/>
                </a:ln>
              </p:spPr>
              <p:txBody>
                <a:bodyPr rtlCol="0" anchor="ctr"/>
                <a:lstStyle/>
                <a:p>
                  <a:endParaRPr lang="en-GB" dirty="0"/>
                </a:p>
              </p:txBody>
            </p:sp>
            <p:sp>
              <p:nvSpPr>
                <p:cNvPr id="449" name="Freihandform: Form 448">
                  <a:extLst>
                    <a:ext uri="{FF2B5EF4-FFF2-40B4-BE49-F238E27FC236}">
                      <a16:creationId xmlns:a16="http://schemas.microsoft.com/office/drawing/2014/main" id="{4F6F78C4-B4AB-40B4-9F96-B88D73F2C9A7}"/>
                    </a:ext>
                  </a:extLst>
                </p:cNvPr>
                <p:cNvSpPr/>
                <p:nvPr/>
              </p:nvSpPr>
              <p:spPr>
                <a:xfrm>
                  <a:off x="6201751" y="1991884"/>
                  <a:ext cx="118358" cy="197453"/>
                </a:xfrm>
                <a:custGeom>
                  <a:avLst/>
                  <a:gdLst>
                    <a:gd name="connsiteX0" fmla="*/ 4955 w 118358"/>
                    <a:gd name="connsiteY0" fmla="*/ 197453 h 197453"/>
                    <a:gd name="connsiteX1" fmla="*/ 4348 w 118358"/>
                    <a:gd name="connsiteY1" fmla="*/ 197424 h 197453"/>
                    <a:gd name="connsiteX2" fmla="*/ 40 w 118358"/>
                    <a:gd name="connsiteY2" fmla="*/ 191902 h 197453"/>
                    <a:gd name="connsiteX3" fmla="*/ 13890 w 118358"/>
                    <a:gd name="connsiteY3" fmla="*/ 78678 h 197453"/>
                    <a:gd name="connsiteX4" fmla="*/ 112627 w 118358"/>
                    <a:gd name="connsiteY4" fmla="*/ 64 h 197453"/>
                    <a:gd name="connsiteX5" fmla="*/ 118294 w 118358"/>
                    <a:gd name="connsiteY5" fmla="*/ 4169 h 197453"/>
                    <a:gd name="connsiteX6" fmla="*/ 114189 w 118358"/>
                    <a:gd name="connsiteY6" fmla="*/ 9836 h 197453"/>
                    <a:gd name="connsiteX7" fmla="*/ 23633 w 118358"/>
                    <a:gd name="connsiteY7" fmla="*/ 80240 h 197453"/>
                    <a:gd name="connsiteX8" fmla="*/ 9842 w 118358"/>
                    <a:gd name="connsiteY8" fmla="*/ 193087 h 197453"/>
                    <a:gd name="connsiteX9" fmla="*/ 4955 w 118358"/>
                    <a:gd name="connsiteY9" fmla="*/ 197453 h 19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8358" h="197453">
                      <a:moveTo>
                        <a:pt x="4955" y="197453"/>
                      </a:moveTo>
                      <a:cubicBezTo>
                        <a:pt x="4753" y="197453"/>
                        <a:pt x="4551" y="197453"/>
                        <a:pt x="4348" y="197424"/>
                      </a:cubicBezTo>
                      <a:cubicBezTo>
                        <a:pt x="1630" y="197106"/>
                        <a:pt x="-307" y="194620"/>
                        <a:pt x="40" y="191902"/>
                      </a:cubicBezTo>
                      <a:lnTo>
                        <a:pt x="13890" y="78678"/>
                      </a:lnTo>
                      <a:cubicBezTo>
                        <a:pt x="26553" y="14058"/>
                        <a:pt x="58965" y="8796"/>
                        <a:pt x="112627" y="64"/>
                      </a:cubicBezTo>
                      <a:cubicBezTo>
                        <a:pt x="115316" y="-370"/>
                        <a:pt x="117861" y="1452"/>
                        <a:pt x="118294" y="4169"/>
                      </a:cubicBezTo>
                      <a:cubicBezTo>
                        <a:pt x="118728" y="6858"/>
                        <a:pt x="116907" y="9403"/>
                        <a:pt x="114189" y="9836"/>
                      </a:cubicBezTo>
                      <a:cubicBezTo>
                        <a:pt x="61394" y="18424"/>
                        <a:pt x="34909" y="22732"/>
                        <a:pt x="23633" y="80240"/>
                      </a:cubicBezTo>
                      <a:lnTo>
                        <a:pt x="9842" y="193087"/>
                      </a:lnTo>
                      <a:cubicBezTo>
                        <a:pt x="9553" y="195603"/>
                        <a:pt x="7413" y="197453"/>
                        <a:pt x="4955" y="197453"/>
                      </a:cubicBezTo>
                      <a:close/>
                    </a:path>
                  </a:pathLst>
                </a:custGeom>
                <a:grpFill/>
                <a:ln w="2890" cap="flat">
                  <a:noFill/>
                  <a:prstDash val="solid"/>
                  <a:miter/>
                </a:ln>
              </p:spPr>
              <p:txBody>
                <a:bodyPr rtlCol="0" anchor="ctr"/>
                <a:lstStyle/>
                <a:p>
                  <a:endParaRPr lang="en-GB" dirty="0"/>
                </a:p>
              </p:txBody>
            </p:sp>
            <p:grpSp>
              <p:nvGrpSpPr>
                <p:cNvPr id="450" name="Grafik 53">
                  <a:extLst>
                    <a:ext uri="{FF2B5EF4-FFF2-40B4-BE49-F238E27FC236}">
                      <a16:creationId xmlns:a16="http://schemas.microsoft.com/office/drawing/2014/main" id="{404C5345-E52E-4D8F-BEDE-835ABD7168D9}"/>
                    </a:ext>
                  </a:extLst>
                </p:cNvPr>
                <p:cNvGrpSpPr/>
                <p:nvPr/>
              </p:nvGrpSpPr>
              <p:grpSpPr>
                <a:xfrm>
                  <a:off x="6255236" y="1731822"/>
                  <a:ext cx="196888" cy="279554"/>
                  <a:chOff x="6255236" y="1731822"/>
                  <a:chExt cx="196888" cy="279554"/>
                </a:xfrm>
                <a:grpFill/>
              </p:grpSpPr>
              <p:sp>
                <p:nvSpPr>
                  <p:cNvPr id="451" name="Freihandform: Form 450">
                    <a:extLst>
                      <a:ext uri="{FF2B5EF4-FFF2-40B4-BE49-F238E27FC236}">
                        <a16:creationId xmlns:a16="http://schemas.microsoft.com/office/drawing/2014/main" id="{8DB06FF4-1B9D-4A6E-B9F8-06E96B2F773C}"/>
                      </a:ext>
                    </a:extLst>
                  </p:cNvPr>
                  <p:cNvSpPr/>
                  <p:nvPr/>
                </p:nvSpPr>
                <p:spPr>
                  <a:xfrm>
                    <a:off x="6260279" y="1795049"/>
                    <a:ext cx="188809" cy="216328"/>
                  </a:xfrm>
                  <a:custGeom>
                    <a:avLst/>
                    <a:gdLst>
                      <a:gd name="connsiteX0" fmla="*/ 94752 w 188809"/>
                      <a:gd name="connsiteY0" fmla="*/ 216328 h 216328"/>
                      <a:gd name="connsiteX1" fmla="*/ 2374 w 188809"/>
                      <a:gd name="connsiteY1" fmla="*/ 120568 h 216328"/>
                      <a:gd name="connsiteX2" fmla="*/ 4 w 188809"/>
                      <a:gd name="connsiteY2" fmla="*/ 50050 h 216328"/>
                      <a:gd name="connsiteX3" fmla="*/ 437 w 188809"/>
                      <a:gd name="connsiteY3" fmla="*/ 47852 h 216328"/>
                      <a:gd name="connsiteX4" fmla="*/ 13333 w 188809"/>
                      <a:gd name="connsiteY4" fmla="*/ 19922 h 216328"/>
                      <a:gd name="connsiteX5" fmla="*/ 15790 w 188809"/>
                      <a:gd name="connsiteY5" fmla="*/ 17522 h 216328"/>
                      <a:gd name="connsiteX6" fmla="*/ 18132 w 188809"/>
                      <a:gd name="connsiteY6" fmla="*/ 16482 h 216328"/>
                      <a:gd name="connsiteX7" fmla="*/ 21284 w 188809"/>
                      <a:gd name="connsiteY7" fmla="*/ 16192 h 216328"/>
                      <a:gd name="connsiteX8" fmla="*/ 27587 w 188809"/>
                      <a:gd name="connsiteY8" fmla="*/ 16944 h 216328"/>
                      <a:gd name="connsiteX9" fmla="*/ 54360 w 188809"/>
                      <a:gd name="connsiteY9" fmla="*/ 1620 h 216328"/>
                      <a:gd name="connsiteX10" fmla="*/ 58263 w 188809"/>
                      <a:gd name="connsiteY10" fmla="*/ 1 h 216328"/>
                      <a:gd name="connsiteX11" fmla="*/ 61993 w 188809"/>
                      <a:gd name="connsiteY11" fmla="*/ 1967 h 216328"/>
                      <a:gd name="connsiteX12" fmla="*/ 93335 w 188809"/>
                      <a:gd name="connsiteY12" fmla="*/ 18014 h 216328"/>
                      <a:gd name="connsiteX13" fmla="*/ 95764 w 188809"/>
                      <a:gd name="connsiteY13" fmla="*/ 18216 h 216328"/>
                      <a:gd name="connsiteX14" fmla="*/ 104524 w 188809"/>
                      <a:gd name="connsiteY14" fmla="*/ 18881 h 216328"/>
                      <a:gd name="connsiteX15" fmla="*/ 105681 w 188809"/>
                      <a:gd name="connsiteY15" fmla="*/ 19084 h 216328"/>
                      <a:gd name="connsiteX16" fmla="*/ 106837 w 188809"/>
                      <a:gd name="connsiteY16" fmla="*/ 18997 h 216328"/>
                      <a:gd name="connsiteX17" fmla="*/ 129881 w 188809"/>
                      <a:gd name="connsiteY17" fmla="*/ 17407 h 216328"/>
                      <a:gd name="connsiteX18" fmla="*/ 164027 w 188809"/>
                      <a:gd name="connsiteY18" fmla="*/ 7865 h 216328"/>
                      <a:gd name="connsiteX19" fmla="*/ 169839 w 188809"/>
                      <a:gd name="connsiteY19" fmla="*/ 10525 h 216328"/>
                      <a:gd name="connsiteX20" fmla="*/ 188343 w 188809"/>
                      <a:gd name="connsiteY20" fmla="*/ 49905 h 216328"/>
                      <a:gd name="connsiteX21" fmla="*/ 188806 w 188809"/>
                      <a:gd name="connsiteY21" fmla="*/ 52189 h 216328"/>
                      <a:gd name="connsiteX22" fmla="*/ 186493 w 188809"/>
                      <a:gd name="connsiteY22" fmla="*/ 120742 h 216328"/>
                      <a:gd name="connsiteX23" fmla="*/ 94752 w 188809"/>
                      <a:gd name="connsiteY23" fmla="*/ 216328 h 216328"/>
                      <a:gd name="connsiteX24" fmla="*/ 9921 w 188809"/>
                      <a:gd name="connsiteY24" fmla="*/ 50888 h 216328"/>
                      <a:gd name="connsiteX25" fmla="*/ 12263 w 188809"/>
                      <a:gd name="connsiteY25" fmla="*/ 120424 h 216328"/>
                      <a:gd name="connsiteX26" fmla="*/ 94173 w 188809"/>
                      <a:gd name="connsiteY26" fmla="*/ 206440 h 216328"/>
                      <a:gd name="connsiteX27" fmla="*/ 176604 w 188809"/>
                      <a:gd name="connsiteY27" fmla="*/ 120597 h 216328"/>
                      <a:gd name="connsiteX28" fmla="*/ 178888 w 188809"/>
                      <a:gd name="connsiteY28" fmla="*/ 53085 h 216328"/>
                      <a:gd name="connsiteX29" fmla="*/ 162668 w 188809"/>
                      <a:gd name="connsiteY29" fmla="*/ 18563 h 216328"/>
                      <a:gd name="connsiteX30" fmla="*/ 132078 w 188809"/>
                      <a:gd name="connsiteY30" fmla="*/ 27093 h 216328"/>
                      <a:gd name="connsiteX31" fmla="*/ 107011 w 188809"/>
                      <a:gd name="connsiteY31" fmla="*/ 28914 h 216328"/>
                      <a:gd name="connsiteX32" fmla="*/ 105218 w 188809"/>
                      <a:gd name="connsiteY32" fmla="*/ 29059 h 216328"/>
                      <a:gd name="connsiteX33" fmla="*/ 103050 w 188809"/>
                      <a:gd name="connsiteY33" fmla="*/ 28741 h 216328"/>
                      <a:gd name="connsiteX34" fmla="*/ 94867 w 188809"/>
                      <a:gd name="connsiteY34" fmla="*/ 28105 h 216328"/>
                      <a:gd name="connsiteX35" fmla="*/ 92554 w 188809"/>
                      <a:gd name="connsiteY35" fmla="*/ 27902 h 216328"/>
                      <a:gd name="connsiteX36" fmla="*/ 92554 w 188809"/>
                      <a:gd name="connsiteY36" fmla="*/ 27902 h 216328"/>
                      <a:gd name="connsiteX37" fmla="*/ 57772 w 188809"/>
                      <a:gd name="connsiteY37" fmla="*/ 12260 h 216328"/>
                      <a:gd name="connsiteX38" fmla="*/ 27558 w 188809"/>
                      <a:gd name="connsiteY38" fmla="*/ 26861 h 216328"/>
                      <a:gd name="connsiteX39" fmla="*/ 21226 w 188809"/>
                      <a:gd name="connsiteY39" fmla="*/ 26312 h 216328"/>
                      <a:gd name="connsiteX40" fmla="*/ 9921 w 188809"/>
                      <a:gd name="connsiteY40" fmla="*/ 50888 h 216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88809" h="216328">
                        <a:moveTo>
                          <a:pt x="94752" y="216328"/>
                        </a:moveTo>
                        <a:cubicBezTo>
                          <a:pt x="52857" y="216155"/>
                          <a:pt x="2374" y="171947"/>
                          <a:pt x="2374" y="120568"/>
                        </a:cubicBezTo>
                        <a:lnTo>
                          <a:pt x="4" y="50050"/>
                        </a:lnTo>
                        <a:cubicBezTo>
                          <a:pt x="-25" y="49298"/>
                          <a:pt x="119" y="48546"/>
                          <a:pt x="437" y="47852"/>
                        </a:cubicBezTo>
                        <a:lnTo>
                          <a:pt x="13333" y="19922"/>
                        </a:lnTo>
                        <a:cubicBezTo>
                          <a:pt x="13853" y="18852"/>
                          <a:pt x="14720" y="17985"/>
                          <a:pt x="15790" y="17522"/>
                        </a:cubicBezTo>
                        <a:lnTo>
                          <a:pt x="18132" y="16482"/>
                        </a:lnTo>
                        <a:cubicBezTo>
                          <a:pt x="19115" y="16048"/>
                          <a:pt x="20243" y="15932"/>
                          <a:pt x="21284" y="16192"/>
                        </a:cubicBezTo>
                        <a:cubicBezTo>
                          <a:pt x="23394" y="16684"/>
                          <a:pt x="25505" y="16944"/>
                          <a:pt x="27587" y="16944"/>
                        </a:cubicBezTo>
                        <a:cubicBezTo>
                          <a:pt x="35422" y="16944"/>
                          <a:pt x="45917" y="10930"/>
                          <a:pt x="54360" y="1620"/>
                        </a:cubicBezTo>
                        <a:cubicBezTo>
                          <a:pt x="55343" y="522"/>
                          <a:pt x="56702" y="-28"/>
                          <a:pt x="58263" y="1"/>
                        </a:cubicBezTo>
                        <a:cubicBezTo>
                          <a:pt x="59738" y="59"/>
                          <a:pt x="61097" y="782"/>
                          <a:pt x="61993" y="1967"/>
                        </a:cubicBezTo>
                        <a:cubicBezTo>
                          <a:pt x="72575" y="16019"/>
                          <a:pt x="93132" y="17985"/>
                          <a:pt x="93335" y="18014"/>
                        </a:cubicBezTo>
                        <a:lnTo>
                          <a:pt x="95764" y="18216"/>
                        </a:lnTo>
                        <a:cubicBezTo>
                          <a:pt x="98453" y="18448"/>
                          <a:pt x="101373" y="18708"/>
                          <a:pt x="104524" y="18881"/>
                        </a:cubicBezTo>
                        <a:cubicBezTo>
                          <a:pt x="104929" y="18910"/>
                          <a:pt x="105305" y="18968"/>
                          <a:pt x="105681" y="19084"/>
                        </a:cubicBezTo>
                        <a:lnTo>
                          <a:pt x="106837" y="18997"/>
                        </a:lnTo>
                        <a:cubicBezTo>
                          <a:pt x="115309" y="19257"/>
                          <a:pt x="122450" y="18737"/>
                          <a:pt x="129881" y="17407"/>
                        </a:cubicBezTo>
                        <a:lnTo>
                          <a:pt x="164027" y="7865"/>
                        </a:lnTo>
                        <a:cubicBezTo>
                          <a:pt x="166340" y="7200"/>
                          <a:pt x="168798" y="8357"/>
                          <a:pt x="169839" y="10525"/>
                        </a:cubicBezTo>
                        <a:lnTo>
                          <a:pt x="188343" y="49905"/>
                        </a:lnTo>
                        <a:cubicBezTo>
                          <a:pt x="188690" y="50628"/>
                          <a:pt x="188835" y="51380"/>
                          <a:pt x="188806" y="52189"/>
                        </a:cubicBezTo>
                        <a:lnTo>
                          <a:pt x="186493" y="120742"/>
                        </a:lnTo>
                        <a:cubicBezTo>
                          <a:pt x="186522" y="171947"/>
                          <a:pt x="136068" y="216184"/>
                          <a:pt x="94752" y="216328"/>
                        </a:cubicBezTo>
                        <a:close/>
                        <a:moveTo>
                          <a:pt x="9921" y="50888"/>
                        </a:moveTo>
                        <a:lnTo>
                          <a:pt x="12263" y="120424"/>
                        </a:lnTo>
                        <a:cubicBezTo>
                          <a:pt x="12263" y="158300"/>
                          <a:pt x="50833" y="206267"/>
                          <a:pt x="94173" y="206440"/>
                        </a:cubicBezTo>
                        <a:cubicBezTo>
                          <a:pt x="138034" y="206267"/>
                          <a:pt x="176604" y="158271"/>
                          <a:pt x="176604" y="120597"/>
                        </a:cubicBezTo>
                        <a:lnTo>
                          <a:pt x="178888" y="53085"/>
                        </a:lnTo>
                        <a:lnTo>
                          <a:pt x="162668" y="18563"/>
                        </a:lnTo>
                        <a:lnTo>
                          <a:pt x="132078" y="27093"/>
                        </a:lnTo>
                        <a:cubicBezTo>
                          <a:pt x="123462" y="28654"/>
                          <a:pt x="115685" y="29203"/>
                          <a:pt x="107011" y="28914"/>
                        </a:cubicBezTo>
                        <a:lnTo>
                          <a:pt x="105218" y="29059"/>
                        </a:lnTo>
                        <a:cubicBezTo>
                          <a:pt x="104466" y="29117"/>
                          <a:pt x="103744" y="29001"/>
                          <a:pt x="103050" y="28741"/>
                        </a:cubicBezTo>
                        <a:cubicBezTo>
                          <a:pt x="100129" y="28567"/>
                          <a:pt x="97383" y="28336"/>
                          <a:pt x="94867" y="28105"/>
                        </a:cubicBezTo>
                        <a:lnTo>
                          <a:pt x="92554" y="27902"/>
                        </a:lnTo>
                        <a:cubicBezTo>
                          <a:pt x="92554" y="27902"/>
                          <a:pt x="92554" y="27902"/>
                          <a:pt x="92554" y="27902"/>
                        </a:cubicBezTo>
                        <a:cubicBezTo>
                          <a:pt x="92583" y="27902"/>
                          <a:pt x="71824" y="26428"/>
                          <a:pt x="57772" y="12260"/>
                        </a:cubicBezTo>
                        <a:cubicBezTo>
                          <a:pt x="49647" y="19893"/>
                          <a:pt x="38429" y="26861"/>
                          <a:pt x="27558" y="26861"/>
                        </a:cubicBezTo>
                        <a:cubicBezTo>
                          <a:pt x="25447" y="26861"/>
                          <a:pt x="23336" y="26688"/>
                          <a:pt x="21226" y="26312"/>
                        </a:cubicBezTo>
                        <a:lnTo>
                          <a:pt x="9921" y="50888"/>
                        </a:lnTo>
                        <a:close/>
                      </a:path>
                    </a:pathLst>
                  </a:custGeom>
                  <a:grpFill/>
                  <a:ln w="2890" cap="flat">
                    <a:noFill/>
                    <a:prstDash val="solid"/>
                    <a:miter/>
                  </a:ln>
                </p:spPr>
                <p:txBody>
                  <a:bodyPr rtlCol="0" anchor="ctr"/>
                  <a:lstStyle/>
                  <a:p>
                    <a:endParaRPr lang="en-GB" dirty="0"/>
                  </a:p>
                </p:txBody>
              </p:sp>
              <p:sp>
                <p:nvSpPr>
                  <p:cNvPr id="452" name="Freihandform: Form 451">
                    <a:extLst>
                      <a:ext uri="{FF2B5EF4-FFF2-40B4-BE49-F238E27FC236}">
                        <a16:creationId xmlns:a16="http://schemas.microsoft.com/office/drawing/2014/main" id="{F0C92F25-72C4-416C-8FFB-DBA6751DD688}"/>
                      </a:ext>
                    </a:extLst>
                  </p:cNvPr>
                  <p:cNvSpPr/>
                  <p:nvPr/>
                </p:nvSpPr>
                <p:spPr>
                  <a:xfrm>
                    <a:off x="6305894" y="1731822"/>
                    <a:ext cx="146230" cy="122325"/>
                  </a:xfrm>
                  <a:custGeom>
                    <a:avLst/>
                    <a:gdLst>
                      <a:gd name="connsiteX0" fmla="*/ 139229 w 146230"/>
                      <a:gd name="connsiteY0" fmla="*/ 122326 h 122325"/>
                      <a:gd name="connsiteX1" fmla="*/ 134777 w 146230"/>
                      <a:gd name="connsiteY1" fmla="*/ 119492 h 122325"/>
                      <a:gd name="connsiteX2" fmla="*/ 116504 w 146230"/>
                      <a:gd name="connsiteY2" fmla="*/ 81067 h 122325"/>
                      <a:gd name="connsiteX3" fmla="*/ 49541 w 146230"/>
                      <a:gd name="connsiteY3" fmla="*/ 91331 h 122325"/>
                      <a:gd name="connsiteX4" fmla="*/ 46968 w 146230"/>
                      <a:gd name="connsiteY4" fmla="*/ 91100 h 122325"/>
                      <a:gd name="connsiteX5" fmla="*/ 46968 w 146230"/>
                      <a:gd name="connsiteY5" fmla="*/ 91100 h 122325"/>
                      <a:gd name="connsiteX6" fmla="*/ 11983 w 146230"/>
                      <a:gd name="connsiteY6" fmla="*/ 75255 h 122325"/>
                      <a:gd name="connsiteX7" fmla="*/ 71 w 146230"/>
                      <a:gd name="connsiteY7" fmla="*/ 41456 h 122325"/>
                      <a:gd name="connsiteX8" fmla="*/ 43990 w 146230"/>
                      <a:gd name="connsiteY8" fmla="*/ 53 h 122325"/>
                      <a:gd name="connsiteX9" fmla="*/ 146139 w 146230"/>
                      <a:gd name="connsiteY9" fmla="*/ 63141 h 122325"/>
                      <a:gd name="connsiteX10" fmla="*/ 146168 w 146230"/>
                      <a:gd name="connsiteY10" fmla="*/ 64847 h 122325"/>
                      <a:gd name="connsiteX11" fmla="*/ 144173 w 146230"/>
                      <a:gd name="connsiteY11" fmla="*/ 117526 h 122325"/>
                      <a:gd name="connsiteX12" fmla="*/ 140241 w 146230"/>
                      <a:gd name="connsiteY12" fmla="*/ 122210 h 122325"/>
                      <a:gd name="connsiteX13" fmla="*/ 139229 w 146230"/>
                      <a:gd name="connsiteY13" fmla="*/ 122326 h 122325"/>
                      <a:gd name="connsiteX14" fmla="*/ 123963 w 146230"/>
                      <a:gd name="connsiteY14" fmla="*/ 73723 h 122325"/>
                      <a:gd name="connsiteX15" fmla="*/ 135008 w 146230"/>
                      <a:gd name="connsiteY15" fmla="*/ 96911 h 122325"/>
                      <a:gd name="connsiteX16" fmla="*/ 136569 w 146230"/>
                      <a:gd name="connsiteY16" fmla="*/ 65020 h 122325"/>
                      <a:gd name="connsiteX17" fmla="*/ 136425 w 146230"/>
                      <a:gd name="connsiteY17" fmla="*/ 65049 h 122325"/>
                      <a:gd name="connsiteX18" fmla="*/ 44134 w 146230"/>
                      <a:gd name="connsiteY18" fmla="*/ 9970 h 122325"/>
                      <a:gd name="connsiteX19" fmla="*/ 9959 w 146230"/>
                      <a:gd name="connsiteY19" fmla="*/ 41947 h 122325"/>
                      <a:gd name="connsiteX20" fmla="*/ 47719 w 146230"/>
                      <a:gd name="connsiteY20" fmla="*/ 81269 h 122325"/>
                      <a:gd name="connsiteX21" fmla="*/ 50408 w 146230"/>
                      <a:gd name="connsiteY21" fmla="*/ 81501 h 122325"/>
                      <a:gd name="connsiteX22" fmla="*/ 117024 w 146230"/>
                      <a:gd name="connsiteY22" fmla="*/ 70022 h 122325"/>
                      <a:gd name="connsiteX23" fmla="*/ 123472 w 146230"/>
                      <a:gd name="connsiteY23" fmla="*/ 72191 h 122325"/>
                      <a:gd name="connsiteX24" fmla="*/ 123963 w 146230"/>
                      <a:gd name="connsiteY24" fmla="*/ 73723 h 12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46230" h="122325">
                        <a:moveTo>
                          <a:pt x="139229" y="122326"/>
                        </a:moveTo>
                        <a:cubicBezTo>
                          <a:pt x="137350" y="122326"/>
                          <a:pt x="135586" y="121256"/>
                          <a:pt x="134777" y="119492"/>
                        </a:cubicBezTo>
                        <a:lnTo>
                          <a:pt x="116504" y="81067"/>
                        </a:lnTo>
                        <a:cubicBezTo>
                          <a:pt x="85191" y="94425"/>
                          <a:pt x="63882" y="92574"/>
                          <a:pt x="49541" y="91331"/>
                        </a:cubicBezTo>
                        <a:lnTo>
                          <a:pt x="46968" y="91100"/>
                        </a:lnTo>
                        <a:lnTo>
                          <a:pt x="46968" y="91100"/>
                        </a:lnTo>
                        <a:cubicBezTo>
                          <a:pt x="47026" y="91100"/>
                          <a:pt x="25977" y="89538"/>
                          <a:pt x="11983" y="75255"/>
                        </a:cubicBezTo>
                        <a:cubicBezTo>
                          <a:pt x="3425" y="66524"/>
                          <a:pt x="-594" y="55161"/>
                          <a:pt x="71" y="41456"/>
                        </a:cubicBezTo>
                        <a:cubicBezTo>
                          <a:pt x="1227" y="16649"/>
                          <a:pt x="18460" y="399"/>
                          <a:pt x="43990" y="53"/>
                        </a:cubicBezTo>
                        <a:cubicBezTo>
                          <a:pt x="93084" y="-584"/>
                          <a:pt x="134603" y="3667"/>
                          <a:pt x="146139" y="63141"/>
                        </a:cubicBezTo>
                        <a:cubicBezTo>
                          <a:pt x="146255" y="63719"/>
                          <a:pt x="146255" y="64297"/>
                          <a:pt x="146168" y="64847"/>
                        </a:cubicBezTo>
                        <a:cubicBezTo>
                          <a:pt x="145937" y="67882"/>
                          <a:pt x="144867" y="97836"/>
                          <a:pt x="144173" y="117526"/>
                        </a:cubicBezTo>
                        <a:cubicBezTo>
                          <a:pt x="144087" y="119810"/>
                          <a:pt x="142468" y="121747"/>
                          <a:pt x="140241" y="122210"/>
                        </a:cubicBezTo>
                        <a:cubicBezTo>
                          <a:pt x="139923" y="122268"/>
                          <a:pt x="139576" y="122326"/>
                          <a:pt x="139229" y="122326"/>
                        </a:cubicBezTo>
                        <a:close/>
                        <a:moveTo>
                          <a:pt x="123963" y="73723"/>
                        </a:moveTo>
                        <a:lnTo>
                          <a:pt x="135008" y="96911"/>
                        </a:lnTo>
                        <a:cubicBezTo>
                          <a:pt x="135673" y="78378"/>
                          <a:pt x="136049" y="69473"/>
                          <a:pt x="136569" y="65020"/>
                        </a:cubicBezTo>
                        <a:lnTo>
                          <a:pt x="136425" y="65049"/>
                        </a:lnTo>
                        <a:cubicBezTo>
                          <a:pt x="126305" y="12890"/>
                          <a:pt x="91841" y="9305"/>
                          <a:pt x="44134" y="9970"/>
                        </a:cubicBezTo>
                        <a:cubicBezTo>
                          <a:pt x="23953" y="10230"/>
                          <a:pt x="10855" y="22489"/>
                          <a:pt x="9959" y="41947"/>
                        </a:cubicBezTo>
                        <a:cubicBezTo>
                          <a:pt x="8282" y="77771"/>
                          <a:pt x="46100" y="81154"/>
                          <a:pt x="47719" y="81269"/>
                        </a:cubicBezTo>
                        <a:lnTo>
                          <a:pt x="50408" y="81501"/>
                        </a:lnTo>
                        <a:cubicBezTo>
                          <a:pt x="64402" y="82715"/>
                          <a:pt x="85538" y="84565"/>
                          <a:pt x="117024" y="70022"/>
                        </a:cubicBezTo>
                        <a:cubicBezTo>
                          <a:pt x="119395" y="68923"/>
                          <a:pt x="122228" y="69877"/>
                          <a:pt x="123472" y="72191"/>
                        </a:cubicBezTo>
                        <a:cubicBezTo>
                          <a:pt x="123703" y="72682"/>
                          <a:pt x="123876" y="73202"/>
                          <a:pt x="123963" y="73723"/>
                        </a:cubicBezTo>
                        <a:close/>
                      </a:path>
                    </a:pathLst>
                  </a:custGeom>
                  <a:grpFill/>
                  <a:ln w="2890" cap="flat">
                    <a:noFill/>
                    <a:prstDash val="solid"/>
                    <a:miter/>
                  </a:ln>
                </p:spPr>
                <p:txBody>
                  <a:bodyPr rtlCol="0" anchor="ctr"/>
                  <a:lstStyle/>
                  <a:p>
                    <a:endParaRPr lang="en-GB" dirty="0"/>
                  </a:p>
                </p:txBody>
              </p:sp>
              <p:sp>
                <p:nvSpPr>
                  <p:cNvPr id="453" name="Freihandform: Form 452">
                    <a:extLst>
                      <a:ext uri="{FF2B5EF4-FFF2-40B4-BE49-F238E27FC236}">
                        <a16:creationId xmlns:a16="http://schemas.microsoft.com/office/drawing/2014/main" id="{A4137483-026B-497B-9624-D97B8EAA840D}"/>
                      </a:ext>
                    </a:extLst>
                  </p:cNvPr>
                  <p:cNvSpPr/>
                  <p:nvPr/>
                </p:nvSpPr>
                <p:spPr>
                  <a:xfrm>
                    <a:off x="6255236" y="1744094"/>
                    <a:ext cx="68172" cy="108058"/>
                  </a:xfrm>
                  <a:custGeom>
                    <a:avLst/>
                    <a:gdLst>
                      <a:gd name="connsiteX0" fmla="*/ 8950 w 68172"/>
                      <a:gd name="connsiteY0" fmla="*/ 108059 h 108058"/>
                      <a:gd name="connsiteX1" fmla="*/ 8111 w 68172"/>
                      <a:gd name="connsiteY1" fmla="*/ 108001 h 108058"/>
                      <a:gd name="connsiteX2" fmla="*/ 4005 w 68172"/>
                      <a:gd name="connsiteY2" fmla="*/ 103577 h 108058"/>
                      <a:gd name="connsiteX3" fmla="*/ 44 w 68172"/>
                      <a:gd name="connsiteY3" fmla="*/ 55119 h 108058"/>
                      <a:gd name="connsiteX4" fmla="*/ 15 w 68172"/>
                      <a:gd name="connsiteY4" fmla="*/ 52488 h 108058"/>
                      <a:gd name="connsiteX5" fmla="*/ 27974 w 68172"/>
                      <a:gd name="connsiteY5" fmla="*/ 5851 h 108058"/>
                      <a:gd name="connsiteX6" fmla="*/ 63971 w 68172"/>
                      <a:gd name="connsiteY6" fmla="*/ 3134 h 108058"/>
                      <a:gd name="connsiteX7" fmla="*/ 66486 w 68172"/>
                      <a:gd name="connsiteY7" fmla="*/ 6372 h 108058"/>
                      <a:gd name="connsiteX8" fmla="*/ 65706 w 68172"/>
                      <a:gd name="connsiteY8" fmla="*/ 10391 h 108058"/>
                      <a:gd name="connsiteX9" fmla="*/ 61080 w 68172"/>
                      <a:gd name="connsiteY9" fmla="*/ 31960 h 108058"/>
                      <a:gd name="connsiteX10" fmla="*/ 67267 w 68172"/>
                      <a:gd name="connsiteY10" fmla="*/ 52893 h 108058"/>
                      <a:gd name="connsiteX11" fmla="*/ 66891 w 68172"/>
                      <a:gd name="connsiteY11" fmla="*/ 59051 h 108058"/>
                      <a:gd name="connsiteX12" fmla="*/ 32572 w 68172"/>
                      <a:gd name="connsiteY12" fmla="*/ 77845 h 108058"/>
                      <a:gd name="connsiteX13" fmla="*/ 26037 w 68172"/>
                      <a:gd name="connsiteY13" fmla="*/ 77267 h 108058"/>
                      <a:gd name="connsiteX14" fmla="*/ 13373 w 68172"/>
                      <a:gd name="connsiteY14" fmla="*/ 105197 h 108058"/>
                      <a:gd name="connsiteX15" fmla="*/ 8950 w 68172"/>
                      <a:gd name="connsiteY15" fmla="*/ 108059 h 108058"/>
                      <a:gd name="connsiteX16" fmla="*/ 50989 w 68172"/>
                      <a:gd name="connsiteY16" fmla="*/ 9870 h 108058"/>
                      <a:gd name="connsiteX17" fmla="*/ 31993 w 68172"/>
                      <a:gd name="connsiteY17" fmla="*/ 14872 h 108058"/>
                      <a:gd name="connsiteX18" fmla="*/ 9962 w 68172"/>
                      <a:gd name="connsiteY18" fmla="*/ 52372 h 108058"/>
                      <a:gd name="connsiteX19" fmla="*/ 9990 w 68172"/>
                      <a:gd name="connsiteY19" fmla="*/ 55090 h 108058"/>
                      <a:gd name="connsiteX20" fmla="*/ 12246 w 68172"/>
                      <a:gd name="connsiteY20" fmla="*/ 83888 h 108058"/>
                      <a:gd name="connsiteX21" fmla="*/ 18780 w 68172"/>
                      <a:gd name="connsiteY21" fmla="*/ 69460 h 108058"/>
                      <a:gd name="connsiteX22" fmla="*/ 24678 w 68172"/>
                      <a:gd name="connsiteY22" fmla="*/ 66742 h 108058"/>
                      <a:gd name="connsiteX23" fmla="*/ 32629 w 68172"/>
                      <a:gd name="connsiteY23" fmla="*/ 67928 h 108058"/>
                      <a:gd name="connsiteX24" fmla="*/ 57032 w 68172"/>
                      <a:gd name="connsiteY24" fmla="*/ 55090 h 108058"/>
                      <a:gd name="connsiteX25" fmla="*/ 51249 w 68172"/>
                      <a:gd name="connsiteY25" fmla="*/ 31931 h 108058"/>
                      <a:gd name="connsiteX26" fmla="*/ 54661 w 68172"/>
                      <a:gd name="connsiteY26" fmla="*/ 10188 h 108058"/>
                      <a:gd name="connsiteX27" fmla="*/ 50989 w 68172"/>
                      <a:gd name="connsiteY27" fmla="*/ 9870 h 108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8172" h="108058">
                        <a:moveTo>
                          <a:pt x="8950" y="108059"/>
                        </a:moveTo>
                        <a:cubicBezTo>
                          <a:pt x="8660" y="108059"/>
                          <a:pt x="8400" y="108030"/>
                          <a:pt x="8111" y="108001"/>
                        </a:cubicBezTo>
                        <a:cubicBezTo>
                          <a:pt x="5885" y="107625"/>
                          <a:pt x="4208" y="105804"/>
                          <a:pt x="4005" y="103577"/>
                        </a:cubicBezTo>
                        <a:cubicBezTo>
                          <a:pt x="3601" y="99038"/>
                          <a:pt x="44" y="59225"/>
                          <a:pt x="44" y="55119"/>
                        </a:cubicBezTo>
                        <a:lnTo>
                          <a:pt x="15" y="52488"/>
                        </a:lnTo>
                        <a:cubicBezTo>
                          <a:pt x="-100" y="38841"/>
                          <a:pt x="-274" y="18255"/>
                          <a:pt x="27974" y="5851"/>
                        </a:cubicBezTo>
                        <a:cubicBezTo>
                          <a:pt x="43472" y="-943"/>
                          <a:pt x="54574" y="-1782"/>
                          <a:pt x="63971" y="3134"/>
                        </a:cubicBezTo>
                        <a:cubicBezTo>
                          <a:pt x="65243" y="3799"/>
                          <a:pt x="66168" y="4984"/>
                          <a:pt x="66486" y="6372"/>
                        </a:cubicBezTo>
                        <a:cubicBezTo>
                          <a:pt x="66805" y="7760"/>
                          <a:pt x="66544" y="9234"/>
                          <a:pt x="65706" y="10391"/>
                        </a:cubicBezTo>
                        <a:cubicBezTo>
                          <a:pt x="62554" y="14843"/>
                          <a:pt x="61080" y="21696"/>
                          <a:pt x="61080" y="31960"/>
                        </a:cubicBezTo>
                        <a:cubicBezTo>
                          <a:pt x="61080" y="39795"/>
                          <a:pt x="63277" y="47226"/>
                          <a:pt x="67267" y="52893"/>
                        </a:cubicBezTo>
                        <a:cubicBezTo>
                          <a:pt x="68597" y="54772"/>
                          <a:pt x="68453" y="57317"/>
                          <a:pt x="66891" y="59051"/>
                        </a:cubicBezTo>
                        <a:cubicBezTo>
                          <a:pt x="58738" y="68130"/>
                          <a:pt x="45438" y="77845"/>
                          <a:pt x="32572" y="77845"/>
                        </a:cubicBezTo>
                        <a:cubicBezTo>
                          <a:pt x="30403" y="77845"/>
                          <a:pt x="28235" y="77642"/>
                          <a:pt x="26037" y="77267"/>
                        </a:cubicBezTo>
                        <a:lnTo>
                          <a:pt x="13373" y="105197"/>
                        </a:lnTo>
                        <a:cubicBezTo>
                          <a:pt x="12650" y="106931"/>
                          <a:pt x="10887" y="108059"/>
                          <a:pt x="8950" y="108059"/>
                        </a:cubicBezTo>
                        <a:close/>
                        <a:moveTo>
                          <a:pt x="50989" y="9870"/>
                        </a:moveTo>
                        <a:cubicBezTo>
                          <a:pt x="46594" y="9870"/>
                          <a:pt x="40580" y="11114"/>
                          <a:pt x="31993" y="14872"/>
                        </a:cubicBezTo>
                        <a:cubicBezTo>
                          <a:pt x="9701" y="24645"/>
                          <a:pt x="9846" y="39391"/>
                          <a:pt x="9962" y="52372"/>
                        </a:cubicBezTo>
                        <a:lnTo>
                          <a:pt x="9990" y="55090"/>
                        </a:lnTo>
                        <a:cubicBezTo>
                          <a:pt x="9990" y="56970"/>
                          <a:pt x="11089" y="70241"/>
                          <a:pt x="12246" y="83888"/>
                        </a:cubicBezTo>
                        <a:lnTo>
                          <a:pt x="18780" y="69460"/>
                        </a:lnTo>
                        <a:cubicBezTo>
                          <a:pt x="19792" y="67205"/>
                          <a:pt x="22307" y="66048"/>
                          <a:pt x="24678" y="66742"/>
                        </a:cubicBezTo>
                        <a:cubicBezTo>
                          <a:pt x="27338" y="67523"/>
                          <a:pt x="29998" y="67928"/>
                          <a:pt x="32629" y="67928"/>
                        </a:cubicBezTo>
                        <a:cubicBezTo>
                          <a:pt x="39771" y="67928"/>
                          <a:pt x="49081" y="62984"/>
                          <a:pt x="57032" y="55090"/>
                        </a:cubicBezTo>
                        <a:cubicBezTo>
                          <a:pt x="53273" y="48354"/>
                          <a:pt x="51249" y="40287"/>
                          <a:pt x="51249" y="31931"/>
                        </a:cubicBezTo>
                        <a:cubicBezTo>
                          <a:pt x="51249" y="25281"/>
                          <a:pt x="51712" y="17243"/>
                          <a:pt x="54661" y="10188"/>
                        </a:cubicBezTo>
                        <a:cubicBezTo>
                          <a:pt x="53562" y="9986"/>
                          <a:pt x="52377" y="9870"/>
                          <a:pt x="50989" y="9870"/>
                        </a:cubicBezTo>
                        <a:close/>
                      </a:path>
                    </a:pathLst>
                  </a:custGeom>
                  <a:grpFill/>
                  <a:ln w="2890" cap="flat">
                    <a:noFill/>
                    <a:prstDash val="solid"/>
                    <a:miter/>
                  </a:ln>
                </p:spPr>
                <p:txBody>
                  <a:bodyPr rtlCol="0" anchor="ctr"/>
                  <a:lstStyle/>
                  <a:p>
                    <a:endParaRPr lang="en-GB" dirty="0"/>
                  </a:p>
                </p:txBody>
              </p:sp>
            </p:grpSp>
          </p:grpSp>
          <p:grpSp>
            <p:nvGrpSpPr>
              <p:cNvPr id="441" name="Grafik 53">
                <a:extLst>
                  <a:ext uri="{FF2B5EF4-FFF2-40B4-BE49-F238E27FC236}">
                    <a16:creationId xmlns:a16="http://schemas.microsoft.com/office/drawing/2014/main" id="{FC4C360F-C370-4AD7-B448-37AF9F195F37}"/>
                  </a:ext>
                </a:extLst>
              </p:cNvPr>
              <p:cNvGrpSpPr/>
              <p:nvPr/>
            </p:nvGrpSpPr>
            <p:grpSpPr>
              <a:xfrm>
                <a:off x="6213761" y="1827543"/>
                <a:ext cx="143611" cy="136821"/>
                <a:chOff x="6213761" y="1827543"/>
                <a:chExt cx="143611" cy="136821"/>
              </a:xfrm>
              <a:grpFill/>
            </p:grpSpPr>
            <p:sp>
              <p:nvSpPr>
                <p:cNvPr id="444" name="Freihandform: Form 443">
                  <a:extLst>
                    <a:ext uri="{FF2B5EF4-FFF2-40B4-BE49-F238E27FC236}">
                      <a16:creationId xmlns:a16="http://schemas.microsoft.com/office/drawing/2014/main" id="{5364CA80-5DF3-4240-82DC-B50B54D4BEBA}"/>
                    </a:ext>
                  </a:extLst>
                </p:cNvPr>
                <p:cNvSpPr/>
                <p:nvPr/>
              </p:nvSpPr>
              <p:spPr>
                <a:xfrm>
                  <a:off x="6213761" y="1827543"/>
                  <a:ext cx="54962" cy="83679"/>
                </a:xfrm>
                <a:custGeom>
                  <a:avLst/>
                  <a:gdLst>
                    <a:gd name="connsiteX0" fmla="*/ 50048 w 54962"/>
                    <a:gd name="connsiteY0" fmla="*/ 83680 h 83679"/>
                    <a:gd name="connsiteX1" fmla="*/ 49528 w 54962"/>
                    <a:gd name="connsiteY1" fmla="*/ 83651 h 83679"/>
                    <a:gd name="connsiteX2" fmla="*/ 26918 w 54962"/>
                    <a:gd name="connsiteY2" fmla="*/ 81280 h 83679"/>
                    <a:gd name="connsiteX3" fmla="*/ 25386 w 54962"/>
                    <a:gd name="connsiteY3" fmla="*/ 80875 h 83679"/>
                    <a:gd name="connsiteX4" fmla="*/ 0 w 54962"/>
                    <a:gd name="connsiteY4" fmla="*/ 41813 h 83679"/>
                    <a:gd name="connsiteX5" fmla="*/ 25386 w 54962"/>
                    <a:gd name="connsiteY5" fmla="*/ 2752 h 83679"/>
                    <a:gd name="connsiteX6" fmla="*/ 26831 w 54962"/>
                    <a:gd name="connsiteY6" fmla="*/ 2347 h 83679"/>
                    <a:gd name="connsiteX7" fmla="*/ 46145 w 54962"/>
                    <a:gd name="connsiteY7" fmla="*/ 34 h 83679"/>
                    <a:gd name="connsiteX8" fmla="*/ 51639 w 54962"/>
                    <a:gd name="connsiteY8" fmla="*/ 4371 h 83679"/>
                    <a:gd name="connsiteX9" fmla="*/ 47302 w 54962"/>
                    <a:gd name="connsiteY9" fmla="*/ 9865 h 83679"/>
                    <a:gd name="connsiteX10" fmla="*/ 28797 w 54962"/>
                    <a:gd name="connsiteY10" fmla="*/ 12091 h 83679"/>
                    <a:gd name="connsiteX11" fmla="*/ 9888 w 54962"/>
                    <a:gd name="connsiteY11" fmla="*/ 41813 h 83679"/>
                    <a:gd name="connsiteX12" fmla="*/ 28768 w 54962"/>
                    <a:gd name="connsiteY12" fmla="*/ 71536 h 83679"/>
                    <a:gd name="connsiteX13" fmla="*/ 50540 w 54962"/>
                    <a:gd name="connsiteY13" fmla="*/ 73820 h 83679"/>
                    <a:gd name="connsiteX14" fmla="*/ 54935 w 54962"/>
                    <a:gd name="connsiteY14" fmla="*/ 79256 h 83679"/>
                    <a:gd name="connsiteX15" fmla="*/ 50048 w 54962"/>
                    <a:gd name="connsiteY15" fmla="*/ 83680 h 83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4962" h="83679">
                      <a:moveTo>
                        <a:pt x="50048" y="83680"/>
                      </a:moveTo>
                      <a:cubicBezTo>
                        <a:pt x="49875" y="83680"/>
                        <a:pt x="49701" y="83680"/>
                        <a:pt x="49528" y="83651"/>
                      </a:cubicBezTo>
                      <a:lnTo>
                        <a:pt x="26918" y="81280"/>
                      </a:lnTo>
                      <a:cubicBezTo>
                        <a:pt x="26398" y="81222"/>
                        <a:pt x="25877" y="81077"/>
                        <a:pt x="25386" y="80875"/>
                      </a:cubicBezTo>
                      <a:cubicBezTo>
                        <a:pt x="9975" y="73849"/>
                        <a:pt x="0" y="58525"/>
                        <a:pt x="0" y="41813"/>
                      </a:cubicBezTo>
                      <a:cubicBezTo>
                        <a:pt x="0" y="25102"/>
                        <a:pt x="9975" y="9778"/>
                        <a:pt x="25386" y="2752"/>
                      </a:cubicBezTo>
                      <a:cubicBezTo>
                        <a:pt x="25848" y="2550"/>
                        <a:pt x="26340" y="2405"/>
                        <a:pt x="26831" y="2347"/>
                      </a:cubicBezTo>
                      <a:lnTo>
                        <a:pt x="46145" y="34"/>
                      </a:lnTo>
                      <a:cubicBezTo>
                        <a:pt x="48863" y="-284"/>
                        <a:pt x="51321" y="1653"/>
                        <a:pt x="51639" y="4371"/>
                      </a:cubicBezTo>
                      <a:cubicBezTo>
                        <a:pt x="51957" y="7089"/>
                        <a:pt x="50019" y="9547"/>
                        <a:pt x="47302" y="9865"/>
                      </a:cubicBezTo>
                      <a:lnTo>
                        <a:pt x="28797" y="12091"/>
                      </a:lnTo>
                      <a:cubicBezTo>
                        <a:pt x="17290" y="17642"/>
                        <a:pt x="9888" y="29236"/>
                        <a:pt x="9888" y="41813"/>
                      </a:cubicBezTo>
                      <a:cubicBezTo>
                        <a:pt x="9888" y="54391"/>
                        <a:pt x="17290" y="65956"/>
                        <a:pt x="28768" y="71536"/>
                      </a:cubicBezTo>
                      <a:lnTo>
                        <a:pt x="50540" y="73820"/>
                      </a:lnTo>
                      <a:cubicBezTo>
                        <a:pt x="53258" y="74109"/>
                        <a:pt x="55224" y="76538"/>
                        <a:pt x="54935" y="79256"/>
                      </a:cubicBezTo>
                      <a:cubicBezTo>
                        <a:pt x="54703" y="81800"/>
                        <a:pt x="52535" y="83680"/>
                        <a:pt x="50048" y="83680"/>
                      </a:cubicBezTo>
                      <a:close/>
                    </a:path>
                  </a:pathLst>
                </a:custGeom>
                <a:grpFill/>
                <a:ln w="2890" cap="flat">
                  <a:noFill/>
                  <a:prstDash val="solid"/>
                  <a:miter/>
                </a:ln>
              </p:spPr>
              <p:txBody>
                <a:bodyPr rtlCol="0" anchor="ctr"/>
                <a:lstStyle/>
                <a:p>
                  <a:endParaRPr lang="en-GB" dirty="0"/>
                </a:p>
              </p:txBody>
            </p:sp>
            <p:sp>
              <p:nvSpPr>
                <p:cNvPr id="445" name="Freihandform: Form 444">
                  <a:extLst>
                    <a:ext uri="{FF2B5EF4-FFF2-40B4-BE49-F238E27FC236}">
                      <a16:creationId xmlns:a16="http://schemas.microsoft.com/office/drawing/2014/main" id="{E9B73759-059F-4A9C-BC8B-3DBAC26E96EF}"/>
                    </a:ext>
                  </a:extLst>
                </p:cNvPr>
                <p:cNvSpPr/>
                <p:nvPr/>
              </p:nvSpPr>
              <p:spPr>
                <a:xfrm>
                  <a:off x="6305473" y="1934931"/>
                  <a:ext cx="51898" cy="29433"/>
                </a:xfrm>
                <a:custGeom>
                  <a:avLst/>
                  <a:gdLst>
                    <a:gd name="connsiteX0" fmla="*/ 37182 w 51898"/>
                    <a:gd name="connsiteY0" fmla="*/ 29433 h 29433"/>
                    <a:gd name="connsiteX1" fmla="*/ 14717 w 51898"/>
                    <a:gd name="connsiteY1" fmla="*/ 29433 h 29433"/>
                    <a:gd name="connsiteX2" fmla="*/ 0 w 51898"/>
                    <a:gd name="connsiteY2" fmla="*/ 14717 h 29433"/>
                    <a:gd name="connsiteX3" fmla="*/ 14717 w 51898"/>
                    <a:gd name="connsiteY3" fmla="*/ 0 h 29433"/>
                    <a:gd name="connsiteX4" fmla="*/ 37182 w 51898"/>
                    <a:gd name="connsiteY4" fmla="*/ 0 h 29433"/>
                    <a:gd name="connsiteX5" fmla="*/ 51899 w 51898"/>
                    <a:gd name="connsiteY5" fmla="*/ 14717 h 29433"/>
                    <a:gd name="connsiteX6" fmla="*/ 37182 w 51898"/>
                    <a:gd name="connsiteY6" fmla="*/ 29433 h 29433"/>
                    <a:gd name="connsiteX7" fmla="*/ 14746 w 51898"/>
                    <a:gd name="connsiteY7" fmla="*/ 9917 h 29433"/>
                    <a:gd name="connsiteX8" fmla="*/ 9917 w 51898"/>
                    <a:gd name="connsiteY8" fmla="*/ 14717 h 29433"/>
                    <a:gd name="connsiteX9" fmla="*/ 14746 w 51898"/>
                    <a:gd name="connsiteY9" fmla="*/ 19516 h 29433"/>
                    <a:gd name="connsiteX10" fmla="*/ 37211 w 51898"/>
                    <a:gd name="connsiteY10" fmla="*/ 19516 h 29433"/>
                    <a:gd name="connsiteX11" fmla="*/ 42040 w 51898"/>
                    <a:gd name="connsiteY11" fmla="*/ 14717 h 29433"/>
                    <a:gd name="connsiteX12" fmla="*/ 37211 w 51898"/>
                    <a:gd name="connsiteY12" fmla="*/ 9917 h 29433"/>
                    <a:gd name="connsiteX13" fmla="*/ 14746 w 51898"/>
                    <a:gd name="connsiteY13" fmla="*/ 9917 h 29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898" h="29433">
                      <a:moveTo>
                        <a:pt x="37182" y="29433"/>
                      </a:moveTo>
                      <a:lnTo>
                        <a:pt x="14717" y="29433"/>
                      </a:lnTo>
                      <a:cubicBezTo>
                        <a:pt x="6592" y="29433"/>
                        <a:pt x="0" y="22841"/>
                        <a:pt x="0" y="14717"/>
                      </a:cubicBezTo>
                      <a:cubicBezTo>
                        <a:pt x="0" y="6621"/>
                        <a:pt x="6592" y="0"/>
                        <a:pt x="14717" y="0"/>
                      </a:cubicBezTo>
                      <a:lnTo>
                        <a:pt x="37182" y="0"/>
                      </a:lnTo>
                      <a:cubicBezTo>
                        <a:pt x="45307" y="0"/>
                        <a:pt x="51899" y="6592"/>
                        <a:pt x="51899" y="14717"/>
                      </a:cubicBezTo>
                      <a:cubicBezTo>
                        <a:pt x="51899" y="22841"/>
                        <a:pt x="45307" y="29433"/>
                        <a:pt x="37182" y="29433"/>
                      </a:cubicBezTo>
                      <a:close/>
                      <a:moveTo>
                        <a:pt x="14746" y="9917"/>
                      </a:moveTo>
                      <a:cubicBezTo>
                        <a:pt x="12086" y="9917"/>
                        <a:pt x="9917" y="12086"/>
                        <a:pt x="9917" y="14717"/>
                      </a:cubicBezTo>
                      <a:cubicBezTo>
                        <a:pt x="9917" y="17377"/>
                        <a:pt x="12086" y="19516"/>
                        <a:pt x="14746" y="19516"/>
                      </a:cubicBezTo>
                      <a:lnTo>
                        <a:pt x="37211" y="19516"/>
                      </a:lnTo>
                      <a:cubicBezTo>
                        <a:pt x="39871" y="19516"/>
                        <a:pt x="42040" y="17348"/>
                        <a:pt x="42040" y="14717"/>
                      </a:cubicBezTo>
                      <a:cubicBezTo>
                        <a:pt x="42040" y="12057"/>
                        <a:pt x="39871" y="9917"/>
                        <a:pt x="37211" y="9917"/>
                      </a:cubicBezTo>
                      <a:lnTo>
                        <a:pt x="14746" y="9917"/>
                      </a:lnTo>
                      <a:close/>
                    </a:path>
                  </a:pathLst>
                </a:custGeom>
                <a:grpFill/>
                <a:ln w="2890" cap="flat">
                  <a:noFill/>
                  <a:prstDash val="solid"/>
                  <a:miter/>
                </a:ln>
              </p:spPr>
              <p:txBody>
                <a:bodyPr rtlCol="0" anchor="ctr"/>
                <a:lstStyle/>
                <a:p>
                  <a:endParaRPr lang="en-GB" dirty="0"/>
                </a:p>
              </p:txBody>
            </p:sp>
            <p:sp>
              <p:nvSpPr>
                <p:cNvPr id="446" name="Freihandform: Form 445">
                  <a:extLst>
                    <a:ext uri="{FF2B5EF4-FFF2-40B4-BE49-F238E27FC236}">
                      <a16:creationId xmlns:a16="http://schemas.microsoft.com/office/drawing/2014/main" id="{DC481E91-3B83-41DA-AFEC-4C7C6779F497}"/>
                    </a:ext>
                  </a:extLst>
                </p:cNvPr>
                <p:cNvSpPr/>
                <p:nvPr/>
              </p:nvSpPr>
              <p:spPr>
                <a:xfrm>
                  <a:off x="6239980" y="1902368"/>
                  <a:ext cx="75381" cy="52252"/>
                </a:xfrm>
                <a:custGeom>
                  <a:avLst/>
                  <a:gdLst>
                    <a:gd name="connsiteX0" fmla="*/ 70466 w 75381"/>
                    <a:gd name="connsiteY0" fmla="*/ 52252 h 52252"/>
                    <a:gd name="connsiteX1" fmla="*/ 70437 w 75381"/>
                    <a:gd name="connsiteY1" fmla="*/ 52252 h 52252"/>
                    <a:gd name="connsiteX2" fmla="*/ 63672 w 75381"/>
                    <a:gd name="connsiteY2" fmla="*/ 52224 h 52252"/>
                    <a:gd name="connsiteX3" fmla="*/ 9749 w 75381"/>
                    <a:gd name="connsiteY3" fmla="*/ 46123 h 52252"/>
                    <a:gd name="connsiteX4" fmla="*/ 1509 w 75381"/>
                    <a:gd name="connsiteY4" fmla="*/ 3968 h 52252"/>
                    <a:gd name="connsiteX5" fmla="*/ 7320 w 75381"/>
                    <a:gd name="connsiteY5" fmla="*/ 93 h 52252"/>
                    <a:gd name="connsiteX6" fmla="*/ 11195 w 75381"/>
                    <a:gd name="connsiteY6" fmla="*/ 5905 h 52252"/>
                    <a:gd name="connsiteX7" fmla="*/ 15329 w 75381"/>
                    <a:gd name="connsiteY7" fmla="*/ 37998 h 52252"/>
                    <a:gd name="connsiteX8" fmla="*/ 63672 w 75381"/>
                    <a:gd name="connsiteY8" fmla="*/ 42364 h 52252"/>
                    <a:gd name="connsiteX9" fmla="*/ 70466 w 75381"/>
                    <a:gd name="connsiteY9" fmla="*/ 42393 h 52252"/>
                    <a:gd name="connsiteX10" fmla="*/ 75382 w 75381"/>
                    <a:gd name="connsiteY10" fmla="*/ 47366 h 52252"/>
                    <a:gd name="connsiteX11" fmla="*/ 70466 w 75381"/>
                    <a:gd name="connsiteY11" fmla="*/ 52252 h 5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5381" h="52252">
                      <a:moveTo>
                        <a:pt x="70466" y="52252"/>
                      </a:moveTo>
                      <a:cubicBezTo>
                        <a:pt x="70466" y="52252"/>
                        <a:pt x="70437" y="52252"/>
                        <a:pt x="70437" y="52252"/>
                      </a:cubicBezTo>
                      <a:lnTo>
                        <a:pt x="63672" y="52224"/>
                      </a:lnTo>
                      <a:cubicBezTo>
                        <a:pt x="37159" y="52137"/>
                        <a:pt x="17787" y="51674"/>
                        <a:pt x="9749" y="46123"/>
                      </a:cubicBezTo>
                      <a:cubicBezTo>
                        <a:pt x="-4476" y="36292"/>
                        <a:pt x="873" y="7235"/>
                        <a:pt x="1509" y="3968"/>
                      </a:cubicBezTo>
                      <a:cubicBezTo>
                        <a:pt x="2058" y="1279"/>
                        <a:pt x="4689" y="-427"/>
                        <a:pt x="7320" y="93"/>
                      </a:cubicBezTo>
                      <a:cubicBezTo>
                        <a:pt x="10009" y="643"/>
                        <a:pt x="11744" y="3245"/>
                        <a:pt x="11195" y="5905"/>
                      </a:cubicBezTo>
                      <a:cubicBezTo>
                        <a:pt x="9229" y="15851"/>
                        <a:pt x="8593" y="33343"/>
                        <a:pt x="15329" y="37998"/>
                      </a:cubicBezTo>
                      <a:cubicBezTo>
                        <a:pt x="21459" y="42220"/>
                        <a:pt x="46873" y="42306"/>
                        <a:pt x="63672" y="42364"/>
                      </a:cubicBezTo>
                      <a:lnTo>
                        <a:pt x="70466" y="42393"/>
                      </a:lnTo>
                      <a:cubicBezTo>
                        <a:pt x="73213" y="42422"/>
                        <a:pt x="75411" y="44648"/>
                        <a:pt x="75382" y="47366"/>
                      </a:cubicBezTo>
                      <a:cubicBezTo>
                        <a:pt x="75382" y="50055"/>
                        <a:pt x="73184" y="52252"/>
                        <a:pt x="70466" y="52252"/>
                      </a:cubicBezTo>
                      <a:close/>
                    </a:path>
                  </a:pathLst>
                </a:custGeom>
                <a:grpFill/>
                <a:ln w="2890" cap="flat">
                  <a:noFill/>
                  <a:prstDash val="solid"/>
                  <a:miter/>
                </a:ln>
              </p:spPr>
              <p:txBody>
                <a:bodyPr rtlCol="0" anchor="ctr"/>
                <a:lstStyle/>
                <a:p>
                  <a:endParaRPr lang="en-GB" dirty="0"/>
                </a:p>
              </p:txBody>
            </p:sp>
          </p:grpSp>
          <p:sp>
            <p:nvSpPr>
              <p:cNvPr id="442" name="Freihandform: Form 441">
                <a:extLst>
                  <a:ext uri="{FF2B5EF4-FFF2-40B4-BE49-F238E27FC236}">
                    <a16:creationId xmlns:a16="http://schemas.microsoft.com/office/drawing/2014/main" id="{75ACCC81-5B94-4201-A988-97B9BE84F4D9}"/>
                  </a:ext>
                </a:extLst>
              </p:cNvPr>
              <p:cNvSpPr/>
              <p:nvPr/>
            </p:nvSpPr>
            <p:spPr>
              <a:xfrm>
                <a:off x="6439226" y="1827536"/>
                <a:ext cx="53893" cy="83686"/>
              </a:xfrm>
              <a:custGeom>
                <a:avLst/>
                <a:gdLst>
                  <a:gd name="connsiteX0" fmla="*/ 4943 w 53893"/>
                  <a:gd name="connsiteY0" fmla="*/ 83687 h 83686"/>
                  <a:gd name="connsiteX1" fmla="*/ 28 w 53893"/>
                  <a:gd name="connsiteY1" fmla="*/ 79263 h 83686"/>
                  <a:gd name="connsiteX2" fmla="*/ 4423 w 53893"/>
                  <a:gd name="connsiteY2" fmla="*/ 73827 h 83686"/>
                  <a:gd name="connsiteX3" fmla="*/ 25616 w 53893"/>
                  <a:gd name="connsiteY3" fmla="*/ 71543 h 83686"/>
                  <a:gd name="connsiteX4" fmla="*/ 43976 w 53893"/>
                  <a:gd name="connsiteY4" fmla="*/ 41821 h 83686"/>
                  <a:gd name="connsiteX5" fmla="*/ 25558 w 53893"/>
                  <a:gd name="connsiteY5" fmla="*/ 12069 h 83686"/>
                  <a:gd name="connsiteX6" fmla="*/ 8702 w 53893"/>
                  <a:gd name="connsiteY6" fmla="*/ 9843 h 83686"/>
                  <a:gd name="connsiteX7" fmla="*/ 4452 w 53893"/>
                  <a:gd name="connsiteY7" fmla="*/ 4291 h 83686"/>
                  <a:gd name="connsiteX8" fmla="*/ 10003 w 53893"/>
                  <a:gd name="connsiteY8" fmla="*/ 41 h 83686"/>
                  <a:gd name="connsiteX9" fmla="*/ 27640 w 53893"/>
                  <a:gd name="connsiteY9" fmla="*/ 2354 h 83686"/>
                  <a:gd name="connsiteX10" fmla="*/ 29086 w 53893"/>
                  <a:gd name="connsiteY10" fmla="*/ 2788 h 83686"/>
                  <a:gd name="connsiteX11" fmla="*/ 53893 w 53893"/>
                  <a:gd name="connsiteY11" fmla="*/ 41821 h 83686"/>
                  <a:gd name="connsiteX12" fmla="*/ 29115 w 53893"/>
                  <a:gd name="connsiteY12" fmla="*/ 80853 h 83686"/>
                  <a:gd name="connsiteX13" fmla="*/ 27553 w 53893"/>
                  <a:gd name="connsiteY13" fmla="*/ 81287 h 83686"/>
                  <a:gd name="connsiteX14" fmla="*/ 5493 w 53893"/>
                  <a:gd name="connsiteY14" fmla="*/ 83658 h 83686"/>
                  <a:gd name="connsiteX15" fmla="*/ 4943 w 53893"/>
                  <a:gd name="connsiteY15" fmla="*/ 83687 h 83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3893" h="83686">
                    <a:moveTo>
                      <a:pt x="4943" y="83687"/>
                    </a:moveTo>
                    <a:cubicBezTo>
                      <a:pt x="2457" y="83687"/>
                      <a:pt x="288" y="81807"/>
                      <a:pt x="28" y="79263"/>
                    </a:cubicBezTo>
                    <a:cubicBezTo>
                      <a:pt x="-261" y="76545"/>
                      <a:pt x="1705" y="74116"/>
                      <a:pt x="4423" y="73827"/>
                    </a:cubicBezTo>
                    <a:lnTo>
                      <a:pt x="25616" y="71543"/>
                    </a:lnTo>
                    <a:cubicBezTo>
                      <a:pt x="36806" y="65992"/>
                      <a:pt x="43976" y="54398"/>
                      <a:pt x="43976" y="41821"/>
                    </a:cubicBezTo>
                    <a:cubicBezTo>
                      <a:pt x="43976" y="29214"/>
                      <a:pt x="36777" y="17620"/>
                      <a:pt x="25558" y="12069"/>
                    </a:cubicBezTo>
                    <a:lnTo>
                      <a:pt x="8702" y="9843"/>
                    </a:lnTo>
                    <a:cubicBezTo>
                      <a:pt x="5984" y="9496"/>
                      <a:pt x="4076" y="7009"/>
                      <a:pt x="4452" y="4291"/>
                    </a:cubicBezTo>
                    <a:cubicBezTo>
                      <a:pt x="4799" y="1574"/>
                      <a:pt x="7285" y="-306"/>
                      <a:pt x="10003" y="41"/>
                    </a:cubicBezTo>
                    <a:lnTo>
                      <a:pt x="27640" y="2354"/>
                    </a:lnTo>
                    <a:cubicBezTo>
                      <a:pt x="28132" y="2412"/>
                      <a:pt x="28623" y="2557"/>
                      <a:pt x="29086" y="2788"/>
                    </a:cubicBezTo>
                    <a:cubicBezTo>
                      <a:pt x="44150" y="9814"/>
                      <a:pt x="53893" y="25138"/>
                      <a:pt x="53893" y="41821"/>
                    </a:cubicBezTo>
                    <a:cubicBezTo>
                      <a:pt x="53893" y="58503"/>
                      <a:pt x="44150" y="73798"/>
                      <a:pt x="29115" y="80853"/>
                    </a:cubicBezTo>
                    <a:cubicBezTo>
                      <a:pt x="28623" y="81084"/>
                      <a:pt x="28103" y="81229"/>
                      <a:pt x="27553" y="81287"/>
                    </a:cubicBezTo>
                    <a:lnTo>
                      <a:pt x="5493" y="83658"/>
                    </a:lnTo>
                    <a:cubicBezTo>
                      <a:pt x="5290" y="83687"/>
                      <a:pt x="5117" y="83687"/>
                      <a:pt x="4943" y="83687"/>
                    </a:cubicBezTo>
                    <a:close/>
                  </a:path>
                </a:pathLst>
              </a:custGeom>
              <a:grpFill/>
              <a:ln w="2890" cap="flat">
                <a:noFill/>
                <a:prstDash val="solid"/>
                <a:miter/>
              </a:ln>
            </p:spPr>
            <p:txBody>
              <a:bodyPr rtlCol="0" anchor="ctr"/>
              <a:lstStyle/>
              <a:p>
                <a:endParaRPr lang="en-GB" dirty="0"/>
              </a:p>
            </p:txBody>
          </p:sp>
          <p:sp>
            <p:nvSpPr>
              <p:cNvPr id="443" name="Freihandform: Form 442">
                <a:extLst>
                  <a:ext uri="{FF2B5EF4-FFF2-40B4-BE49-F238E27FC236}">
                    <a16:creationId xmlns:a16="http://schemas.microsoft.com/office/drawing/2014/main" id="{6D1F76D2-BB2F-46D6-99E9-2A9C7409076E}"/>
                  </a:ext>
                </a:extLst>
              </p:cNvPr>
              <p:cNvSpPr/>
              <p:nvPr/>
            </p:nvSpPr>
            <p:spPr>
              <a:xfrm>
                <a:off x="6231080" y="1690356"/>
                <a:ext cx="246628" cy="152574"/>
              </a:xfrm>
              <a:custGeom>
                <a:avLst/>
                <a:gdLst>
                  <a:gd name="connsiteX0" fmla="*/ 4944 w 246628"/>
                  <a:gd name="connsiteY0" fmla="*/ 152574 h 152574"/>
                  <a:gd name="connsiteX1" fmla="*/ 0 w 246628"/>
                  <a:gd name="connsiteY1" fmla="*/ 147630 h 152574"/>
                  <a:gd name="connsiteX2" fmla="*/ 0 w 246628"/>
                  <a:gd name="connsiteY2" fmla="*/ 111344 h 152574"/>
                  <a:gd name="connsiteX3" fmla="*/ 123314 w 246628"/>
                  <a:gd name="connsiteY3" fmla="*/ 0 h 152574"/>
                  <a:gd name="connsiteX4" fmla="*/ 246628 w 246628"/>
                  <a:gd name="connsiteY4" fmla="*/ 111344 h 152574"/>
                  <a:gd name="connsiteX5" fmla="*/ 246628 w 246628"/>
                  <a:gd name="connsiteY5" fmla="*/ 146820 h 152574"/>
                  <a:gd name="connsiteX6" fmla="*/ 241684 w 246628"/>
                  <a:gd name="connsiteY6" fmla="*/ 151764 h 152574"/>
                  <a:gd name="connsiteX7" fmla="*/ 236740 w 246628"/>
                  <a:gd name="connsiteY7" fmla="*/ 146820 h 152574"/>
                  <a:gd name="connsiteX8" fmla="*/ 236740 w 246628"/>
                  <a:gd name="connsiteY8" fmla="*/ 111344 h 152574"/>
                  <a:gd name="connsiteX9" fmla="*/ 123314 w 246628"/>
                  <a:gd name="connsiteY9" fmla="*/ 9888 h 152574"/>
                  <a:gd name="connsiteX10" fmla="*/ 9888 w 246628"/>
                  <a:gd name="connsiteY10" fmla="*/ 111344 h 152574"/>
                  <a:gd name="connsiteX11" fmla="*/ 9888 w 246628"/>
                  <a:gd name="connsiteY11" fmla="*/ 147630 h 152574"/>
                  <a:gd name="connsiteX12" fmla="*/ 4944 w 246628"/>
                  <a:gd name="connsiteY12" fmla="*/ 152574 h 152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6628" h="152574">
                    <a:moveTo>
                      <a:pt x="4944" y="152574"/>
                    </a:moveTo>
                    <a:cubicBezTo>
                      <a:pt x="2197" y="152574"/>
                      <a:pt x="0" y="150348"/>
                      <a:pt x="0" y="147630"/>
                    </a:cubicBezTo>
                    <a:lnTo>
                      <a:pt x="0" y="111344"/>
                    </a:lnTo>
                    <a:cubicBezTo>
                      <a:pt x="0" y="47851"/>
                      <a:pt x="53027" y="0"/>
                      <a:pt x="123314" y="0"/>
                    </a:cubicBezTo>
                    <a:cubicBezTo>
                      <a:pt x="193602" y="0"/>
                      <a:pt x="246628" y="47880"/>
                      <a:pt x="246628" y="111344"/>
                    </a:cubicBezTo>
                    <a:lnTo>
                      <a:pt x="246628" y="146820"/>
                    </a:lnTo>
                    <a:cubicBezTo>
                      <a:pt x="246628" y="149567"/>
                      <a:pt x="244402" y="151764"/>
                      <a:pt x="241684" y="151764"/>
                    </a:cubicBezTo>
                    <a:cubicBezTo>
                      <a:pt x="238937" y="151764"/>
                      <a:pt x="236740" y="149538"/>
                      <a:pt x="236740" y="146820"/>
                    </a:cubicBezTo>
                    <a:lnTo>
                      <a:pt x="236740" y="111344"/>
                    </a:lnTo>
                    <a:cubicBezTo>
                      <a:pt x="236740" y="53518"/>
                      <a:pt x="187993" y="9888"/>
                      <a:pt x="123314" y="9888"/>
                    </a:cubicBezTo>
                    <a:cubicBezTo>
                      <a:pt x="58665" y="9888"/>
                      <a:pt x="9888" y="53518"/>
                      <a:pt x="9888" y="111344"/>
                    </a:cubicBezTo>
                    <a:lnTo>
                      <a:pt x="9888" y="147630"/>
                    </a:lnTo>
                    <a:cubicBezTo>
                      <a:pt x="9888" y="150377"/>
                      <a:pt x="7662" y="152574"/>
                      <a:pt x="4944" y="152574"/>
                    </a:cubicBezTo>
                    <a:close/>
                  </a:path>
                </a:pathLst>
              </a:custGeom>
              <a:grpFill/>
              <a:ln w="2890" cap="flat">
                <a:noFill/>
                <a:prstDash val="solid"/>
                <a:miter/>
              </a:ln>
            </p:spPr>
            <p:txBody>
              <a:bodyPr rtlCol="0" anchor="ctr"/>
              <a:lstStyle/>
              <a:p>
                <a:endParaRPr lang="en-GB" dirty="0"/>
              </a:p>
            </p:txBody>
          </p:sp>
        </p:grpSp>
        <p:grpSp>
          <p:nvGrpSpPr>
            <p:cNvPr id="429" name="Group 1005">
              <a:extLst>
                <a:ext uri="{FF2B5EF4-FFF2-40B4-BE49-F238E27FC236}">
                  <a16:creationId xmlns:a16="http://schemas.microsoft.com/office/drawing/2014/main" id="{1BE7BAD2-C9DF-4B54-BB11-0F595EDD2EB5}"/>
                </a:ext>
              </a:extLst>
            </p:cNvPr>
            <p:cNvGrpSpPr/>
            <p:nvPr/>
          </p:nvGrpSpPr>
          <p:grpSpPr>
            <a:xfrm>
              <a:off x="6012502" y="1654377"/>
              <a:ext cx="491576" cy="404340"/>
              <a:chOff x="6162614" y="1722305"/>
              <a:chExt cx="567793" cy="467031"/>
            </a:xfrm>
            <a:solidFill>
              <a:schemeClr val="accent1"/>
            </a:solidFill>
          </p:grpSpPr>
          <p:grpSp>
            <p:nvGrpSpPr>
              <p:cNvPr id="430" name="Grafik 53">
                <a:extLst>
                  <a:ext uri="{FF2B5EF4-FFF2-40B4-BE49-F238E27FC236}">
                    <a16:creationId xmlns:a16="http://schemas.microsoft.com/office/drawing/2014/main" id="{B7DE8F08-4119-47AE-B302-3B1932CAFDB2}"/>
                  </a:ext>
                </a:extLst>
              </p:cNvPr>
              <p:cNvGrpSpPr/>
              <p:nvPr/>
            </p:nvGrpSpPr>
            <p:grpSpPr>
              <a:xfrm>
                <a:off x="6246654" y="2051269"/>
                <a:ext cx="211399" cy="138067"/>
                <a:chOff x="6246654" y="2051269"/>
                <a:chExt cx="211399" cy="138067"/>
              </a:xfrm>
              <a:grpFill/>
            </p:grpSpPr>
            <p:sp>
              <p:nvSpPr>
                <p:cNvPr id="438" name="Freihandform: Form 437">
                  <a:extLst>
                    <a:ext uri="{FF2B5EF4-FFF2-40B4-BE49-F238E27FC236}">
                      <a16:creationId xmlns:a16="http://schemas.microsoft.com/office/drawing/2014/main" id="{A1D5642D-BA29-4ECF-B2E1-D1B26AF2384D}"/>
                    </a:ext>
                  </a:extLst>
                </p:cNvPr>
                <p:cNvSpPr/>
                <p:nvPr/>
              </p:nvSpPr>
              <p:spPr>
                <a:xfrm>
                  <a:off x="6261902" y="2160135"/>
                  <a:ext cx="180851" cy="29202"/>
                </a:xfrm>
                <a:custGeom>
                  <a:avLst/>
                  <a:gdLst>
                    <a:gd name="connsiteX0" fmla="*/ 175907 w 180851"/>
                    <a:gd name="connsiteY0" fmla="*/ 29202 h 29202"/>
                    <a:gd name="connsiteX1" fmla="*/ 4944 w 180851"/>
                    <a:gd name="connsiteY1" fmla="*/ 29202 h 29202"/>
                    <a:gd name="connsiteX2" fmla="*/ 0 w 180851"/>
                    <a:gd name="connsiteY2" fmla="*/ 24258 h 29202"/>
                    <a:gd name="connsiteX3" fmla="*/ 0 w 180851"/>
                    <a:gd name="connsiteY3" fmla="*/ 4944 h 29202"/>
                    <a:gd name="connsiteX4" fmla="*/ 4944 w 180851"/>
                    <a:gd name="connsiteY4" fmla="*/ 0 h 29202"/>
                    <a:gd name="connsiteX5" fmla="*/ 9888 w 180851"/>
                    <a:gd name="connsiteY5" fmla="*/ 4944 h 29202"/>
                    <a:gd name="connsiteX6" fmla="*/ 9888 w 180851"/>
                    <a:gd name="connsiteY6" fmla="*/ 19314 h 29202"/>
                    <a:gd name="connsiteX7" fmla="*/ 170963 w 180851"/>
                    <a:gd name="connsiteY7" fmla="*/ 19314 h 29202"/>
                    <a:gd name="connsiteX8" fmla="*/ 170963 w 180851"/>
                    <a:gd name="connsiteY8" fmla="*/ 4944 h 29202"/>
                    <a:gd name="connsiteX9" fmla="*/ 175907 w 180851"/>
                    <a:gd name="connsiteY9" fmla="*/ 0 h 29202"/>
                    <a:gd name="connsiteX10" fmla="*/ 180851 w 180851"/>
                    <a:gd name="connsiteY10" fmla="*/ 4944 h 29202"/>
                    <a:gd name="connsiteX11" fmla="*/ 180851 w 180851"/>
                    <a:gd name="connsiteY11" fmla="*/ 24258 h 29202"/>
                    <a:gd name="connsiteX12" fmla="*/ 175907 w 180851"/>
                    <a:gd name="connsiteY12" fmla="*/ 29202 h 29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80851" h="29202">
                      <a:moveTo>
                        <a:pt x="175907" y="29202"/>
                      </a:moveTo>
                      <a:lnTo>
                        <a:pt x="4944" y="29202"/>
                      </a:lnTo>
                      <a:cubicBezTo>
                        <a:pt x="2226" y="29202"/>
                        <a:pt x="0" y="26976"/>
                        <a:pt x="0" y="24258"/>
                      </a:cubicBezTo>
                      <a:lnTo>
                        <a:pt x="0" y="4944"/>
                      </a:lnTo>
                      <a:cubicBezTo>
                        <a:pt x="0" y="2197"/>
                        <a:pt x="2226" y="0"/>
                        <a:pt x="4944" y="0"/>
                      </a:cubicBezTo>
                      <a:cubicBezTo>
                        <a:pt x="7691" y="0"/>
                        <a:pt x="9888" y="2226"/>
                        <a:pt x="9888" y="4944"/>
                      </a:cubicBezTo>
                      <a:lnTo>
                        <a:pt x="9888" y="19314"/>
                      </a:lnTo>
                      <a:lnTo>
                        <a:pt x="170963" y="19314"/>
                      </a:lnTo>
                      <a:lnTo>
                        <a:pt x="170963" y="4944"/>
                      </a:lnTo>
                      <a:cubicBezTo>
                        <a:pt x="170963" y="2197"/>
                        <a:pt x="173189" y="0"/>
                        <a:pt x="175907" y="0"/>
                      </a:cubicBezTo>
                      <a:cubicBezTo>
                        <a:pt x="178654" y="0"/>
                        <a:pt x="180851" y="2226"/>
                        <a:pt x="180851" y="4944"/>
                      </a:cubicBezTo>
                      <a:lnTo>
                        <a:pt x="180851" y="24258"/>
                      </a:lnTo>
                      <a:cubicBezTo>
                        <a:pt x="180851" y="26976"/>
                        <a:pt x="178625" y="29202"/>
                        <a:pt x="175907" y="29202"/>
                      </a:cubicBezTo>
                      <a:close/>
                    </a:path>
                  </a:pathLst>
                </a:custGeom>
                <a:grpFill/>
                <a:ln w="2890" cap="flat">
                  <a:noFill/>
                  <a:prstDash val="solid"/>
                  <a:miter/>
                </a:ln>
              </p:spPr>
              <p:txBody>
                <a:bodyPr rtlCol="0" anchor="ctr"/>
                <a:lstStyle/>
                <a:p>
                  <a:endParaRPr lang="en-GB" dirty="0"/>
                </a:p>
              </p:txBody>
            </p:sp>
            <p:sp>
              <p:nvSpPr>
                <p:cNvPr id="439" name="Freihandform: Form 438">
                  <a:extLst>
                    <a:ext uri="{FF2B5EF4-FFF2-40B4-BE49-F238E27FC236}">
                      <a16:creationId xmlns:a16="http://schemas.microsoft.com/office/drawing/2014/main" id="{7247356A-42A4-4393-8DDA-8C4004334302}"/>
                    </a:ext>
                  </a:extLst>
                </p:cNvPr>
                <p:cNvSpPr/>
                <p:nvPr/>
              </p:nvSpPr>
              <p:spPr>
                <a:xfrm>
                  <a:off x="6246654" y="2051269"/>
                  <a:ext cx="211399" cy="118383"/>
                </a:xfrm>
                <a:custGeom>
                  <a:avLst/>
                  <a:gdLst>
                    <a:gd name="connsiteX0" fmla="*/ 191125 w 211399"/>
                    <a:gd name="connsiteY0" fmla="*/ 118349 h 118383"/>
                    <a:gd name="connsiteX1" fmla="*/ 190344 w 211399"/>
                    <a:gd name="connsiteY1" fmla="*/ 118291 h 118383"/>
                    <a:gd name="connsiteX2" fmla="*/ 186239 w 211399"/>
                    <a:gd name="connsiteY2" fmla="*/ 112624 h 118383"/>
                    <a:gd name="connsiteX3" fmla="*/ 201418 w 211399"/>
                    <a:gd name="connsiteY3" fmla="*/ 16691 h 118383"/>
                    <a:gd name="connsiteX4" fmla="*/ 200377 w 211399"/>
                    <a:gd name="connsiteY4" fmla="*/ 12180 h 118383"/>
                    <a:gd name="connsiteX5" fmla="*/ 194277 w 211399"/>
                    <a:gd name="connsiteY5" fmla="*/ 10070 h 118383"/>
                    <a:gd name="connsiteX6" fmla="*/ 16693 w 211399"/>
                    <a:gd name="connsiteY6" fmla="*/ 10070 h 118383"/>
                    <a:gd name="connsiteX7" fmla="*/ 11315 w 211399"/>
                    <a:gd name="connsiteY7" fmla="*/ 11920 h 118383"/>
                    <a:gd name="connsiteX8" fmla="*/ 9898 w 211399"/>
                    <a:gd name="connsiteY8" fmla="*/ 16951 h 118383"/>
                    <a:gd name="connsiteX9" fmla="*/ 25049 w 211399"/>
                    <a:gd name="connsiteY9" fmla="*/ 112653 h 118383"/>
                    <a:gd name="connsiteX10" fmla="*/ 20943 w 211399"/>
                    <a:gd name="connsiteY10" fmla="*/ 118320 h 118383"/>
                    <a:gd name="connsiteX11" fmla="*/ 15276 w 211399"/>
                    <a:gd name="connsiteY11" fmla="*/ 114214 h 118383"/>
                    <a:gd name="connsiteX12" fmla="*/ 97 w 211399"/>
                    <a:gd name="connsiteY12" fmla="*/ 18281 h 118383"/>
                    <a:gd name="connsiteX13" fmla="*/ 3826 w 211399"/>
                    <a:gd name="connsiteY13" fmla="*/ 5473 h 118383"/>
                    <a:gd name="connsiteX14" fmla="*/ 16519 w 211399"/>
                    <a:gd name="connsiteY14" fmla="*/ 210 h 118383"/>
                    <a:gd name="connsiteX15" fmla="*/ 194624 w 211399"/>
                    <a:gd name="connsiteY15" fmla="*/ 239 h 118383"/>
                    <a:gd name="connsiteX16" fmla="*/ 208126 w 211399"/>
                    <a:gd name="connsiteY16" fmla="*/ 6051 h 118383"/>
                    <a:gd name="connsiteX17" fmla="*/ 211191 w 211399"/>
                    <a:gd name="connsiteY17" fmla="*/ 18397 h 118383"/>
                    <a:gd name="connsiteX18" fmla="*/ 196011 w 211399"/>
                    <a:gd name="connsiteY18" fmla="*/ 114214 h 118383"/>
                    <a:gd name="connsiteX19" fmla="*/ 191125 w 211399"/>
                    <a:gd name="connsiteY19" fmla="*/ 118349 h 118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1399" h="118383">
                      <a:moveTo>
                        <a:pt x="191125" y="118349"/>
                      </a:moveTo>
                      <a:cubicBezTo>
                        <a:pt x="190865" y="118349"/>
                        <a:pt x="190605" y="118320"/>
                        <a:pt x="190344" y="118291"/>
                      </a:cubicBezTo>
                      <a:cubicBezTo>
                        <a:pt x="187655" y="117858"/>
                        <a:pt x="185805" y="115342"/>
                        <a:pt x="186239" y="112624"/>
                      </a:cubicBezTo>
                      <a:lnTo>
                        <a:pt x="201418" y="16691"/>
                      </a:lnTo>
                      <a:cubicBezTo>
                        <a:pt x="201418" y="16633"/>
                        <a:pt x="201794" y="13886"/>
                        <a:pt x="200377" y="12180"/>
                      </a:cubicBezTo>
                      <a:cubicBezTo>
                        <a:pt x="199047" y="10561"/>
                        <a:pt x="196329" y="10156"/>
                        <a:pt x="194277" y="10070"/>
                      </a:cubicBezTo>
                      <a:cubicBezTo>
                        <a:pt x="182625" y="9694"/>
                        <a:pt x="24066" y="9925"/>
                        <a:pt x="16693" y="10070"/>
                      </a:cubicBezTo>
                      <a:cubicBezTo>
                        <a:pt x="14177" y="10128"/>
                        <a:pt x="12356" y="10735"/>
                        <a:pt x="11315" y="11920"/>
                      </a:cubicBezTo>
                      <a:cubicBezTo>
                        <a:pt x="9898" y="13510"/>
                        <a:pt x="9811" y="16084"/>
                        <a:pt x="9898" y="16951"/>
                      </a:cubicBezTo>
                      <a:lnTo>
                        <a:pt x="25049" y="112653"/>
                      </a:lnTo>
                      <a:cubicBezTo>
                        <a:pt x="25482" y="115342"/>
                        <a:pt x="23632" y="117886"/>
                        <a:pt x="20943" y="118320"/>
                      </a:cubicBezTo>
                      <a:cubicBezTo>
                        <a:pt x="18254" y="118754"/>
                        <a:pt x="15710" y="116903"/>
                        <a:pt x="15276" y="114214"/>
                      </a:cubicBezTo>
                      <a:lnTo>
                        <a:pt x="97" y="18281"/>
                      </a:lnTo>
                      <a:cubicBezTo>
                        <a:pt x="-19" y="17327"/>
                        <a:pt x="-655" y="10619"/>
                        <a:pt x="3826" y="5473"/>
                      </a:cubicBezTo>
                      <a:cubicBezTo>
                        <a:pt x="5850" y="3131"/>
                        <a:pt x="9725" y="326"/>
                        <a:pt x="16519" y="210"/>
                      </a:cubicBezTo>
                      <a:cubicBezTo>
                        <a:pt x="24442" y="66"/>
                        <a:pt x="182075" y="-194"/>
                        <a:pt x="194624" y="239"/>
                      </a:cubicBezTo>
                      <a:cubicBezTo>
                        <a:pt x="200637" y="442"/>
                        <a:pt x="205148" y="2408"/>
                        <a:pt x="208126" y="6051"/>
                      </a:cubicBezTo>
                      <a:cubicBezTo>
                        <a:pt x="212347" y="11284"/>
                        <a:pt x="211335" y="17703"/>
                        <a:pt x="211191" y="18397"/>
                      </a:cubicBezTo>
                      <a:lnTo>
                        <a:pt x="196011" y="114214"/>
                      </a:lnTo>
                      <a:cubicBezTo>
                        <a:pt x="195635" y="116614"/>
                        <a:pt x="193525" y="118349"/>
                        <a:pt x="191125" y="118349"/>
                      </a:cubicBezTo>
                      <a:close/>
                    </a:path>
                  </a:pathLst>
                </a:custGeom>
                <a:grpFill/>
                <a:ln w="2890" cap="flat">
                  <a:noFill/>
                  <a:prstDash val="solid"/>
                  <a:miter/>
                </a:ln>
              </p:spPr>
              <p:txBody>
                <a:bodyPr rtlCol="0" anchor="ctr"/>
                <a:lstStyle/>
                <a:p>
                  <a:endParaRPr lang="en-GB" dirty="0"/>
                </a:p>
              </p:txBody>
            </p:sp>
          </p:grpSp>
          <p:sp>
            <p:nvSpPr>
              <p:cNvPr id="431" name="Freihandform: Form 430">
                <a:extLst>
                  <a:ext uri="{FF2B5EF4-FFF2-40B4-BE49-F238E27FC236}">
                    <a16:creationId xmlns:a16="http://schemas.microsoft.com/office/drawing/2014/main" id="{3A148A0A-B3E5-420F-BAFE-632AFDF6792E}"/>
                  </a:ext>
                </a:extLst>
              </p:cNvPr>
              <p:cNvSpPr/>
              <p:nvPr/>
            </p:nvSpPr>
            <p:spPr>
              <a:xfrm>
                <a:off x="6162614" y="2179448"/>
                <a:ext cx="379425" cy="9888"/>
              </a:xfrm>
              <a:custGeom>
                <a:avLst/>
                <a:gdLst>
                  <a:gd name="connsiteX0" fmla="*/ 374482 w 379425"/>
                  <a:gd name="connsiteY0" fmla="*/ 9888 h 9888"/>
                  <a:gd name="connsiteX1" fmla="*/ 4944 w 379425"/>
                  <a:gd name="connsiteY1" fmla="*/ 9888 h 9888"/>
                  <a:gd name="connsiteX2" fmla="*/ 0 w 379425"/>
                  <a:gd name="connsiteY2" fmla="*/ 4944 h 9888"/>
                  <a:gd name="connsiteX3" fmla="*/ 4944 w 379425"/>
                  <a:gd name="connsiteY3" fmla="*/ 0 h 9888"/>
                  <a:gd name="connsiteX4" fmla="*/ 374482 w 379425"/>
                  <a:gd name="connsiteY4" fmla="*/ 0 h 9888"/>
                  <a:gd name="connsiteX5" fmla="*/ 379426 w 379425"/>
                  <a:gd name="connsiteY5" fmla="*/ 4944 h 9888"/>
                  <a:gd name="connsiteX6" fmla="*/ 374482 w 379425"/>
                  <a:gd name="connsiteY6" fmla="*/ 9888 h 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79425" h="9888">
                    <a:moveTo>
                      <a:pt x="374482" y="9888"/>
                    </a:moveTo>
                    <a:lnTo>
                      <a:pt x="4944" y="9888"/>
                    </a:lnTo>
                    <a:cubicBezTo>
                      <a:pt x="2197" y="9888"/>
                      <a:pt x="0" y="7662"/>
                      <a:pt x="0" y="4944"/>
                    </a:cubicBezTo>
                    <a:cubicBezTo>
                      <a:pt x="0" y="2226"/>
                      <a:pt x="2226" y="0"/>
                      <a:pt x="4944" y="0"/>
                    </a:cubicBezTo>
                    <a:lnTo>
                      <a:pt x="374482" y="0"/>
                    </a:lnTo>
                    <a:cubicBezTo>
                      <a:pt x="377199" y="0"/>
                      <a:pt x="379426" y="2226"/>
                      <a:pt x="379426" y="4944"/>
                    </a:cubicBezTo>
                    <a:cubicBezTo>
                      <a:pt x="379426" y="7662"/>
                      <a:pt x="377228" y="9888"/>
                      <a:pt x="374482" y="9888"/>
                    </a:cubicBezTo>
                    <a:close/>
                  </a:path>
                </a:pathLst>
              </a:custGeom>
              <a:grpFill/>
              <a:ln w="2890" cap="flat">
                <a:noFill/>
                <a:prstDash val="solid"/>
                <a:miter/>
              </a:ln>
            </p:spPr>
            <p:txBody>
              <a:bodyPr rtlCol="0" anchor="ctr"/>
              <a:lstStyle/>
              <a:p>
                <a:endParaRPr lang="en-GB" dirty="0"/>
              </a:p>
            </p:txBody>
          </p:sp>
          <p:grpSp>
            <p:nvGrpSpPr>
              <p:cNvPr id="432" name="Grafik 53">
                <a:extLst>
                  <a:ext uri="{FF2B5EF4-FFF2-40B4-BE49-F238E27FC236}">
                    <a16:creationId xmlns:a16="http://schemas.microsoft.com/office/drawing/2014/main" id="{1FDEC43A-7C9C-4D61-B86E-75108825AF23}"/>
                  </a:ext>
                </a:extLst>
              </p:cNvPr>
              <p:cNvGrpSpPr/>
              <p:nvPr/>
            </p:nvGrpSpPr>
            <p:grpSpPr>
              <a:xfrm>
                <a:off x="6518244" y="1722305"/>
                <a:ext cx="212163" cy="195278"/>
                <a:chOff x="6518244" y="1722305"/>
                <a:chExt cx="212163" cy="195278"/>
              </a:xfrm>
              <a:grpFill/>
            </p:grpSpPr>
            <p:sp>
              <p:nvSpPr>
                <p:cNvPr id="433" name="Freihandform: Form 432">
                  <a:extLst>
                    <a:ext uri="{FF2B5EF4-FFF2-40B4-BE49-F238E27FC236}">
                      <a16:creationId xmlns:a16="http://schemas.microsoft.com/office/drawing/2014/main" id="{31B0FFDB-9C7D-4469-AF84-AE1E34634D37}"/>
                    </a:ext>
                  </a:extLst>
                </p:cNvPr>
                <p:cNvSpPr/>
                <p:nvPr/>
              </p:nvSpPr>
              <p:spPr>
                <a:xfrm>
                  <a:off x="6518244" y="1722305"/>
                  <a:ext cx="212163" cy="195278"/>
                </a:xfrm>
                <a:custGeom>
                  <a:avLst/>
                  <a:gdLst>
                    <a:gd name="connsiteX0" fmla="*/ 44295 w 212163"/>
                    <a:gd name="connsiteY0" fmla="*/ 195279 h 195278"/>
                    <a:gd name="connsiteX1" fmla="*/ 42387 w 212163"/>
                    <a:gd name="connsiteY1" fmla="*/ 194903 h 195278"/>
                    <a:gd name="connsiteX2" fmla="*/ 39322 w 212163"/>
                    <a:gd name="connsiteY2" fmla="*/ 190334 h 195278"/>
                    <a:gd name="connsiteX3" fmla="*/ 39322 w 212163"/>
                    <a:gd name="connsiteY3" fmla="*/ 150348 h 195278"/>
                    <a:gd name="connsiteX4" fmla="*/ 27410 w 212163"/>
                    <a:gd name="connsiteY4" fmla="*/ 150348 h 195278"/>
                    <a:gd name="connsiteX5" fmla="*/ 0 w 212163"/>
                    <a:gd name="connsiteY5" fmla="*/ 122938 h 195278"/>
                    <a:gd name="connsiteX6" fmla="*/ 0 w 212163"/>
                    <a:gd name="connsiteY6" fmla="*/ 27410 h 195278"/>
                    <a:gd name="connsiteX7" fmla="*/ 27438 w 212163"/>
                    <a:gd name="connsiteY7" fmla="*/ 0 h 195278"/>
                    <a:gd name="connsiteX8" fmla="*/ 184754 w 212163"/>
                    <a:gd name="connsiteY8" fmla="*/ 0 h 195278"/>
                    <a:gd name="connsiteX9" fmla="*/ 184754 w 212163"/>
                    <a:gd name="connsiteY9" fmla="*/ 0 h 195278"/>
                    <a:gd name="connsiteX10" fmla="*/ 198199 w 212163"/>
                    <a:gd name="connsiteY10" fmla="*/ 3325 h 195278"/>
                    <a:gd name="connsiteX11" fmla="*/ 212164 w 212163"/>
                    <a:gd name="connsiteY11" fmla="*/ 27410 h 195278"/>
                    <a:gd name="connsiteX12" fmla="*/ 212164 w 212163"/>
                    <a:gd name="connsiteY12" fmla="*/ 122938 h 195278"/>
                    <a:gd name="connsiteX13" fmla="*/ 184725 w 212163"/>
                    <a:gd name="connsiteY13" fmla="*/ 150348 h 195278"/>
                    <a:gd name="connsiteX14" fmla="*/ 91307 w 212163"/>
                    <a:gd name="connsiteY14" fmla="*/ 150348 h 195278"/>
                    <a:gd name="connsiteX15" fmla="*/ 47793 w 212163"/>
                    <a:gd name="connsiteY15" fmla="*/ 193833 h 195278"/>
                    <a:gd name="connsiteX16" fmla="*/ 44295 w 212163"/>
                    <a:gd name="connsiteY16" fmla="*/ 195279 h 195278"/>
                    <a:gd name="connsiteX17" fmla="*/ 44295 w 212163"/>
                    <a:gd name="connsiteY17" fmla="*/ 140431 h 195278"/>
                    <a:gd name="connsiteX18" fmla="*/ 49239 w 212163"/>
                    <a:gd name="connsiteY18" fmla="*/ 145375 h 195278"/>
                    <a:gd name="connsiteX19" fmla="*/ 49239 w 212163"/>
                    <a:gd name="connsiteY19" fmla="*/ 178364 h 195278"/>
                    <a:gd name="connsiteX20" fmla="*/ 85756 w 212163"/>
                    <a:gd name="connsiteY20" fmla="*/ 141876 h 195278"/>
                    <a:gd name="connsiteX21" fmla="*/ 89254 w 212163"/>
                    <a:gd name="connsiteY21" fmla="*/ 140431 h 195278"/>
                    <a:gd name="connsiteX22" fmla="*/ 184754 w 212163"/>
                    <a:gd name="connsiteY22" fmla="*/ 140431 h 195278"/>
                    <a:gd name="connsiteX23" fmla="*/ 202276 w 212163"/>
                    <a:gd name="connsiteY23" fmla="*/ 122909 h 195278"/>
                    <a:gd name="connsiteX24" fmla="*/ 202276 w 212163"/>
                    <a:gd name="connsiteY24" fmla="*/ 27410 h 195278"/>
                    <a:gd name="connsiteX25" fmla="*/ 193775 w 212163"/>
                    <a:gd name="connsiteY25" fmla="*/ 12172 h 195278"/>
                    <a:gd name="connsiteX26" fmla="*/ 184754 w 212163"/>
                    <a:gd name="connsiteY26" fmla="*/ 9888 h 195278"/>
                    <a:gd name="connsiteX27" fmla="*/ 27438 w 212163"/>
                    <a:gd name="connsiteY27" fmla="*/ 9888 h 195278"/>
                    <a:gd name="connsiteX28" fmla="*/ 9888 w 212163"/>
                    <a:gd name="connsiteY28" fmla="*/ 27410 h 195278"/>
                    <a:gd name="connsiteX29" fmla="*/ 9888 w 212163"/>
                    <a:gd name="connsiteY29" fmla="*/ 122938 h 195278"/>
                    <a:gd name="connsiteX30" fmla="*/ 27438 w 212163"/>
                    <a:gd name="connsiteY30" fmla="*/ 140459 h 195278"/>
                    <a:gd name="connsiteX31" fmla="*/ 44295 w 212163"/>
                    <a:gd name="connsiteY31" fmla="*/ 140459 h 1952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12163" h="195278">
                      <a:moveTo>
                        <a:pt x="44295" y="195279"/>
                      </a:moveTo>
                      <a:cubicBezTo>
                        <a:pt x="43659" y="195279"/>
                        <a:pt x="43023" y="195163"/>
                        <a:pt x="42387" y="194903"/>
                      </a:cubicBezTo>
                      <a:cubicBezTo>
                        <a:pt x="40536" y="194122"/>
                        <a:pt x="39322" y="192329"/>
                        <a:pt x="39322" y="190334"/>
                      </a:cubicBezTo>
                      <a:lnTo>
                        <a:pt x="39322" y="150348"/>
                      </a:lnTo>
                      <a:lnTo>
                        <a:pt x="27410" y="150348"/>
                      </a:lnTo>
                      <a:cubicBezTo>
                        <a:pt x="17926" y="150348"/>
                        <a:pt x="0" y="144623"/>
                        <a:pt x="0" y="122938"/>
                      </a:cubicBezTo>
                      <a:lnTo>
                        <a:pt x="0" y="27410"/>
                      </a:lnTo>
                      <a:cubicBezTo>
                        <a:pt x="0" y="5725"/>
                        <a:pt x="17955" y="0"/>
                        <a:pt x="27438" y="0"/>
                      </a:cubicBezTo>
                      <a:lnTo>
                        <a:pt x="184754" y="0"/>
                      </a:lnTo>
                      <a:cubicBezTo>
                        <a:pt x="184754" y="0"/>
                        <a:pt x="184754" y="0"/>
                        <a:pt x="184754" y="0"/>
                      </a:cubicBezTo>
                      <a:cubicBezTo>
                        <a:pt x="185448" y="0"/>
                        <a:pt x="191722" y="87"/>
                        <a:pt x="198199" y="3325"/>
                      </a:cubicBezTo>
                      <a:cubicBezTo>
                        <a:pt x="204560" y="6505"/>
                        <a:pt x="212164" y="13271"/>
                        <a:pt x="212164" y="27410"/>
                      </a:cubicBezTo>
                      <a:lnTo>
                        <a:pt x="212164" y="122938"/>
                      </a:lnTo>
                      <a:cubicBezTo>
                        <a:pt x="212164" y="144623"/>
                        <a:pt x="194238" y="150348"/>
                        <a:pt x="184725" y="150348"/>
                      </a:cubicBezTo>
                      <a:lnTo>
                        <a:pt x="91307" y="150348"/>
                      </a:lnTo>
                      <a:lnTo>
                        <a:pt x="47793" y="193833"/>
                      </a:lnTo>
                      <a:cubicBezTo>
                        <a:pt x="46868" y="194787"/>
                        <a:pt x="45596" y="195279"/>
                        <a:pt x="44295" y="195279"/>
                      </a:cubicBezTo>
                      <a:close/>
                      <a:moveTo>
                        <a:pt x="44295" y="140431"/>
                      </a:moveTo>
                      <a:cubicBezTo>
                        <a:pt x="47042" y="140431"/>
                        <a:pt x="49239" y="142657"/>
                        <a:pt x="49239" y="145375"/>
                      </a:cubicBezTo>
                      <a:lnTo>
                        <a:pt x="49239" y="178364"/>
                      </a:lnTo>
                      <a:lnTo>
                        <a:pt x="85756" y="141876"/>
                      </a:lnTo>
                      <a:cubicBezTo>
                        <a:pt x="86681" y="140951"/>
                        <a:pt x="87953" y="140431"/>
                        <a:pt x="89254" y="140431"/>
                      </a:cubicBezTo>
                      <a:lnTo>
                        <a:pt x="184754" y="140431"/>
                      </a:lnTo>
                      <a:cubicBezTo>
                        <a:pt x="186518" y="140402"/>
                        <a:pt x="202276" y="139766"/>
                        <a:pt x="202276" y="122909"/>
                      </a:cubicBezTo>
                      <a:lnTo>
                        <a:pt x="202276" y="27410"/>
                      </a:lnTo>
                      <a:cubicBezTo>
                        <a:pt x="202276" y="20008"/>
                        <a:pt x="199500" y="15035"/>
                        <a:pt x="193775" y="12172"/>
                      </a:cubicBezTo>
                      <a:cubicBezTo>
                        <a:pt x="189323" y="9946"/>
                        <a:pt x="184812" y="9888"/>
                        <a:pt x="184754" y="9888"/>
                      </a:cubicBezTo>
                      <a:lnTo>
                        <a:pt x="27438" y="9888"/>
                      </a:lnTo>
                      <a:cubicBezTo>
                        <a:pt x="25588" y="9917"/>
                        <a:pt x="9888" y="10582"/>
                        <a:pt x="9888" y="27410"/>
                      </a:cubicBezTo>
                      <a:lnTo>
                        <a:pt x="9888" y="122938"/>
                      </a:lnTo>
                      <a:cubicBezTo>
                        <a:pt x="9888" y="139795"/>
                        <a:pt x="25646" y="140431"/>
                        <a:pt x="27438" y="140459"/>
                      </a:cubicBezTo>
                      <a:lnTo>
                        <a:pt x="44295" y="140459"/>
                      </a:lnTo>
                      <a:close/>
                    </a:path>
                  </a:pathLst>
                </a:custGeom>
                <a:grpFill/>
                <a:ln w="2890" cap="flat">
                  <a:noFill/>
                  <a:prstDash val="solid"/>
                  <a:miter/>
                </a:ln>
              </p:spPr>
              <p:txBody>
                <a:bodyPr rtlCol="0" anchor="ctr"/>
                <a:lstStyle/>
                <a:p>
                  <a:endParaRPr lang="en-GB" dirty="0"/>
                </a:p>
              </p:txBody>
            </p:sp>
            <p:grpSp>
              <p:nvGrpSpPr>
                <p:cNvPr id="434" name="Grafik 53">
                  <a:extLst>
                    <a:ext uri="{FF2B5EF4-FFF2-40B4-BE49-F238E27FC236}">
                      <a16:creationId xmlns:a16="http://schemas.microsoft.com/office/drawing/2014/main" id="{1DA04914-63DA-48EE-9947-7C3619E65D3C}"/>
                    </a:ext>
                  </a:extLst>
                </p:cNvPr>
                <p:cNvGrpSpPr/>
                <p:nvPr/>
              </p:nvGrpSpPr>
              <p:grpSpPr>
                <a:xfrm>
                  <a:off x="6567744" y="1798924"/>
                  <a:ext cx="113223" cy="18706"/>
                  <a:chOff x="6567744" y="1798924"/>
                  <a:chExt cx="113223" cy="18706"/>
                </a:xfrm>
                <a:grpFill/>
              </p:grpSpPr>
              <p:sp>
                <p:nvSpPr>
                  <p:cNvPr id="435" name="Freihandform: Form 434">
                    <a:extLst>
                      <a:ext uri="{FF2B5EF4-FFF2-40B4-BE49-F238E27FC236}">
                        <a16:creationId xmlns:a16="http://schemas.microsoft.com/office/drawing/2014/main" id="{427AC012-C322-44DE-B039-A93298CE33B5}"/>
                      </a:ext>
                    </a:extLst>
                  </p:cNvPr>
                  <p:cNvSpPr/>
                  <p:nvPr/>
                </p:nvSpPr>
                <p:spPr>
                  <a:xfrm>
                    <a:off x="6662260" y="1798924"/>
                    <a:ext cx="18706" cy="18706"/>
                  </a:xfrm>
                  <a:custGeom>
                    <a:avLst/>
                    <a:gdLst>
                      <a:gd name="connsiteX0" fmla="*/ 9339 w 18706"/>
                      <a:gd name="connsiteY0" fmla="*/ 0 h 18706"/>
                      <a:gd name="connsiteX1" fmla="*/ 18707 w 18706"/>
                      <a:gd name="connsiteY1" fmla="*/ 9368 h 18706"/>
                      <a:gd name="connsiteX2" fmla="*/ 9339 w 18706"/>
                      <a:gd name="connsiteY2" fmla="*/ 18707 h 18706"/>
                      <a:gd name="connsiteX3" fmla="*/ 0 w 18706"/>
                      <a:gd name="connsiteY3" fmla="*/ 9368 h 18706"/>
                      <a:gd name="connsiteX4" fmla="*/ 9339 w 18706"/>
                      <a:gd name="connsiteY4" fmla="*/ 0 h 18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06" h="18706">
                        <a:moveTo>
                          <a:pt x="9339" y="0"/>
                        </a:moveTo>
                        <a:cubicBezTo>
                          <a:pt x="14485" y="0"/>
                          <a:pt x="18707" y="4192"/>
                          <a:pt x="18707" y="9368"/>
                        </a:cubicBezTo>
                        <a:cubicBezTo>
                          <a:pt x="18707" y="14514"/>
                          <a:pt x="14514" y="18707"/>
                          <a:pt x="9339" y="18707"/>
                        </a:cubicBezTo>
                        <a:cubicBezTo>
                          <a:pt x="4192" y="18707"/>
                          <a:pt x="0" y="14514"/>
                          <a:pt x="0" y="9368"/>
                        </a:cubicBezTo>
                        <a:cubicBezTo>
                          <a:pt x="0" y="4192"/>
                          <a:pt x="4192" y="0"/>
                          <a:pt x="9339" y="0"/>
                        </a:cubicBezTo>
                        <a:close/>
                      </a:path>
                    </a:pathLst>
                  </a:custGeom>
                  <a:grpFill/>
                  <a:ln w="2890" cap="flat">
                    <a:noFill/>
                    <a:prstDash val="solid"/>
                    <a:miter/>
                  </a:ln>
                </p:spPr>
                <p:txBody>
                  <a:bodyPr rtlCol="0" anchor="ctr"/>
                  <a:lstStyle/>
                  <a:p>
                    <a:endParaRPr lang="en-GB" dirty="0"/>
                  </a:p>
                </p:txBody>
              </p:sp>
              <p:sp>
                <p:nvSpPr>
                  <p:cNvPr id="436" name="Freihandform: Form 435">
                    <a:extLst>
                      <a:ext uri="{FF2B5EF4-FFF2-40B4-BE49-F238E27FC236}">
                        <a16:creationId xmlns:a16="http://schemas.microsoft.com/office/drawing/2014/main" id="{21B64C07-74AC-4F28-800E-983C114C33C8}"/>
                      </a:ext>
                    </a:extLst>
                  </p:cNvPr>
                  <p:cNvSpPr/>
                  <p:nvPr/>
                </p:nvSpPr>
                <p:spPr>
                  <a:xfrm>
                    <a:off x="6614987" y="1798924"/>
                    <a:ext cx="18706" cy="18706"/>
                  </a:xfrm>
                  <a:custGeom>
                    <a:avLst/>
                    <a:gdLst>
                      <a:gd name="connsiteX0" fmla="*/ 9368 w 18706"/>
                      <a:gd name="connsiteY0" fmla="*/ 0 h 18706"/>
                      <a:gd name="connsiteX1" fmla="*/ 18707 w 18706"/>
                      <a:gd name="connsiteY1" fmla="*/ 9368 h 18706"/>
                      <a:gd name="connsiteX2" fmla="*/ 9368 w 18706"/>
                      <a:gd name="connsiteY2" fmla="*/ 18707 h 18706"/>
                      <a:gd name="connsiteX3" fmla="*/ 0 w 18706"/>
                      <a:gd name="connsiteY3" fmla="*/ 9368 h 18706"/>
                      <a:gd name="connsiteX4" fmla="*/ 9368 w 18706"/>
                      <a:gd name="connsiteY4" fmla="*/ 0 h 18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06" h="18706">
                        <a:moveTo>
                          <a:pt x="9368" y="0"/>
                        </a:moveTo>
                        <a:cubicBezTo>
                          <a:pt x="14514" y="0"/>
                          <a:pt x="18707" y="4192"/>
                          <a:pt x="18707" y="9368"/>
                        </a:cubicBezTo>
                        <a:cubicBezTo>
                          <a:pt x="18707" y="14514"/>
                          <a:pt x="14514" y="18707"/>
                          <a:pt x="9368" y="18707"/>
                        </a:cubicBezTo>
                        <a:cubicBezTo>
                          <a:pt x="4221" y="18707"/>
                          <a:pt x="0" y="14514"/>
                          <a:pt x="0" y="9368"/>
                        </a:cubicBezTo>
                        <a:cubicBezTo>
                          <a:pt x="0" y="4192"/>
                          <a:pt x="4221" y="0"/>
                          <a:pt x="9368" y="0"/>
                        </a:cubicBezTo>
                        <a:close/>
                      </a:path>
                    </a:pathLst>
                  </a:custGeom>
                  <a:grpFill/>
                  <a:ln w="2890" cap="flat">
                    <a:noFill/>
                    <a:prstDash val="solid"/>
                    <a:miter/>
                  </a:ln>
                </p:spPr>
                <p:txBody>
                  <a:bodyPr rtlCol="0" anchor="ctr"/>
                  <a:lstStyle/>
                  <a:p>
                    <a:endParaRPr lang="en-GB" dirty="0"/>
                  </a:p>
                </p:txBody>
              </p:sp>
              <p:sp>
                <p:nvSpPr>
                  <p:cNvPr id="437" name="Freihandform: Form 436">
                    <a:extLst>
                      <a:ext uri="{FF2B5EF4-FFF2-40B4-BE49-F238E27FC236}">
                        <a16:creationId xmlns:a16="http://schemas.microsoft.com/office/drawing/2014/main" id="{70AF6378-CE43-4DF3-8DA2-300878003BBB}"/>
                      </a:ext>
                    </a:extLst>
                  </p:cNvPr>
                  <p:cNvSpPr/>
                  <p:nvPr/>
                </p:nvSpPr>
                <p:spPr>
                  <a:xfrm>
                    <a:off x="6567744" y="1798924"/>
                    <a:ext cx="18706" cy="18706"/>
                  </a:xfrm>
                  <a:custGeom>
                    <a:avLst/>
                    <a:gdLst>
                      <a:gd name="connsiteX0" fmla="*/ 9368 w 18706"/>
                      <a:gd name="connsiteY0" fmla="*/ 0 h 18706"/>
                      <a:gd name="connsiteX1" fmla="*/ 18707 w 18706"/>
                      <a:gd name="connsiteY1" fmla="*/ 9368 h 18706"/>
                      <a:gd name="connsiteX2" fmla="*/ 9368 w 18706"/>
                      <a:gd name="connsiteY2" fmla="*/ 18707 h 18706"/>
                      <a:gd name="connsiteX3" fmla="*/ 0 w 18706"/>
                      <a:gd name="connsiteY3" fmla="*/ 9368 h 18706"/>
                      <a:gd name="connsiteX4" fmla="*/ 9368 w 18706"/>
                      <a:gd name="connsiteY4" fmla="*/ 0 h 18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06" h="18706">
                        <a:moveTo>
                          <a:pt x="9368" y="0"/>
                        </a:moveTo>
                        <a:cubicBezTo>
                          <a:pt x="14514" y="0"/>
                          <a:pt x="18707" y="4192"/>
                          <a:pt x="18707" y="9368"/>
                        </a:cubicBezTo>
                        <a:cubicBezTo>
                          <a:pt x="18707" y="14514"/>
                          <a:pt x="14514" y="18707"/>
                          <a:pt x="9368" y="18707"/>
                        </a:cubicBezTo>
                        <a:cubicBezTo>
                          <a:pt x="4221" y="18707"/>
                          <a:pt x="0" y="14514"/>
                          <a:pt x="0" y="9368"/>
                        </a:cubicBezTo>
                        <a:cubicBezTo>
                          <a:pt x="0" y="4192"/>
                          <a:pt x="4192" y="0"/>
                          <a:pt x="9368" y="0"/>
                        </a:cubicBezTo>
                        <a:close/>
                      </a:path>
                    </a:pathLst>
                  </a:custGeom>
                  <a:grpFill/>
                  <a:ln w="2890" cap="flat">
                    <a:noFill/>
                    <a:prstDash val="solid"/>
                    <a:miter/>
                  </a:ln>
                </p:spPr>
                <p:txBody>
                  <a:bodyPr rtlCol="0" anchor="ctr"/>
                  <a:lstStyle/>
                  <a:p>
                    <a:endParaRPr lang="en-GB" dirty="0"/>
                  </a:p>
                </p:txBody>
              </p:sp>
            </p:grpSp>
          </p:grpSp>
        </p:grpSp>
      </p:grpSp>
      <p:grpSp>
        <p:nvGrpSpPr>
          <p:cNvPr id="35" name="Group 34">
            <a:extLst>
              <a:ext uri="{FF2B5EF4-FFF2-40B4-BE49-F238E27FC236}">
                <a16:creationId xmlns:a16="http://schemas.microsoft.com/office/drawing/2014/main" id="{F23FC59A-C9EB-5B26-83DA-64A59415016B}"/>
              </a:ext>
            </a:extLst>
          </p:cNvPr>
          <p:cNvGrpSpPr/>
          <p:nvPr/>
        </p:nvGrpSpPr>
        <p:grpSpPr>
          <a:xfrm>
            <a:off x="8175881" y="1626716"/>
            <a:ext cx="333575" cy="431997"/>
            <a:chOff x="8175469" y="1626716"/>
            <a:chExt cx="333575" cy="431997"/>
          </a:xfrm>
        </p:grpSpPr>
        <p:grpSp>
          <p:nvGrpSpPr>
            <p:cNvPr id="455" name="Grafik 53">
              <a:extLst>
                <a:ext uri="{FF2B5EF4-FFF2-40B4-BE49-F238E27FC236}">
                  <a16:creationId xmlns:a16="http://schemas.microsoft.com/office/drawing/2014/main" id="{E54EF470-4E07-4E01-88DD-031052BEDEF2}"/>
                </a:ext>
              </a:extLst>
            </p:cNvPr>
            <p:cNvGrpSpPr/>
            <p:nvPr/>
          </p:nvGrpSpPr>
          <p:grpSpPr>
            <a:xfrm>
              <a:off x="8214476" y="1626716"/>
              <a:ext cx="255538" cy="221230"/>
              <a:chOff x="7880135" y="1630564"/>
              <a:chExt cx="333366" cy="288609"/>
            </a:xfrm>
            <a:solidFill>
              <a:schemeClr val="accent1"/>
            </a:solidFill>
          </p:grpSpPr>
          <p:grpSp>
            <p:nvGrpSpPr>
              <p:cNvPr id="462" name="Grafik 53">
                <a:extLst>
                  <a:ext uri="{FF2B5EF4-FFF2-40B4-BE49-F238E27FC236}">
                    <a16:creationId xmlns:a16="http://schemas.microsoft.com/office/drawing/2014/main" id="{398A2ED6-6016-443A-819C-B39EA9FC6E02}"/>
                  </a:ext>
                </a:extLst>
              </p:cNvPr>
              <p:cNvGrpSpPr/>
              <p:nvPr/>
            </p:nvGrpSpPr>
            <p:grpSpPr>
              <a:xfrm>
                <a:off x="7880135" y="1630564"/>
                <a:ext cx="333366" cy="288609"/>
                <a:chOff x="7880135" y="1630564"/>
                <a:chExt cx="333366" cy="288609"/>
              </a:xfrm>
              <a:solidFill>
                <a:schemeClr val="accent1"/>
              </a:solidFill>
            </p:grpSpPr>
            <p:grpSp>
              <p:nvGrpSpPr>
                <p:cNvPr id="466" name="Grafik 53">
                  <a:extLst>
                    <a:ext uri="{FF2B5EF4-FFF2-40B4-BE49-F238E27FC236}">
                      <a16:creationId xmlns:a16="http://schemas.microsoft.com/office/drawing/2014/main" id="{2B89798D-54C2-4F88-9D7A-E372DEB71E88}"/>
                    </a:ext>
                  </a:extLst>
                </p:cNvPr>
                <p:cNvGrpSpPr/>
                <p:nvPr/>
              </p:nvGrpSpPr>
              <p:grpSpPr>
                <a:xfrm>
                  <a:off x="7880135" y="1630564"/>
                  <a:ext cx="333366" cy="288609"/>
                  <a:chOff x="7880135" y="1630564"/>
                  <a:chExt cx="333366" cy="288609"/>
                </a:xfrm>
                <a:solidFill>
                  <a:schemeClr val="accent1"/>
                </a:solidFill>
              </p:grpSpPr>
              <p:grpSp>
                <p:nvGrpSpPr>
                  <p:cNvPr id="468" name="Grafik 53">
                    <a:extLst>
                      <a:ext uri="{FF2B5EF4-FFF2-40B4-BE49-F238E27FC236}">
                        <a16:creationId xmlns:a16="http://schemas.microsoft.com/office/drawing/2014/main" id="{21517F50-88FC-43DD-812C-BFF0A09D0EE0}"/>
                      </a:ext>
                    </a:extLst>
                  </p:cNvPr>
                  <p:cNvGrpSpPr/>
                  <p:nvPr/>
                </p:nvGrpSpPr>
                <p:grpSpPr>
                  <a:xfrm>
                    <a:off x="7880135" y="1680352"/>
                    <a:ext cx="333366" cy="238821"/>
                    <a:chOff x="7880135" y="1680352"/>
                    <a:chExt cx="333366" cy="238821"/>
                  </a:xfrm>
                  <a:solidFill>
                    <a:schemeClr val="accent1"/>
                  </a:solidFill>
                </p:grpSpPr>
                <p:sp>
                  <p:nvSpPr>
                    <p:cNvPr id="473" name="Freihandform: Form 472">
                      <a:extLst>
                        <a:ext uri="{FF2B5EF4-FFF2-40B4-BE49-F238E27FC236}">
                          <a16:creationId xmlns:a16="http://schemas.microsoft.com/office/drawing/2014/main" id="{EF41CEC8-0EB8-43AD-9043-BF561E5A1042}"/>
                        </a:ext>
                      </a:extLst>
                    </p:cNvPr>
                    <p:cNvSpPr/>
                    <p:nvPr/>
                  </p:nvSpPr>
                  <p:spPr>
                    <a:xfrm>
                      <a:off x="7880135" y="1680352"/>
                      <a:ext cx="333366" cy="121145"/>
                    </a:xfrm>
                    <a:custGeom>
                      <a:avLst/>
                      <a:gdLst>
                        <a:gd name="connsiteX0" fmla="*/ 199240 w 333366"/>
                        <a:gd name="connsiteY0" fmla="*/ 121146 h 121145"/>
                        <a:gd name="connsiteX1" fmla="*/ 194324 w 333366"/>
                        <a:gd name="connsiteY1" fmla="*/ 116809 h 121145"/>
                        <a:gd name="connsiteX2" fmla="*/ 198604 w 333366"/>
                        <a:gd name="connsiteY2" fmla="*/ 111286 h 121145"/>
                        <a:gd name="connsiteX3" fmla="*/ 323450 w 333366"/>
                        <a:gd name="connsiteY3" fmla="*/ 81101 h 121145"/>
                        <a:gd name="connsiteX4" fmla="*/ 323450 w 333366"/>
                        <a:gd name="connsiteY4" fmla="*/ 9888 h 121145"/>
                        <a:gd name="connsiteX5" fmla="*/ 9888 w 333366"/>
                        <a:gd name="connsiteY5" fmla="*/ 9888 h 121145"/>
                        <a:gd name="connsiteX6" fmla="*/ 9888 w 333366"/>
                        <a:gd name="connsiteY6" fmla="*/ 81014 h 121145"/>
                        <a:gd name="connsiteX7" fmla="*/ 133896 w 333366"/>
                        <a:gd name="connsiteY7" fmla="*/ 110563 h 121145"/>
                        <a:gd name="connsiteX8" fmla="*/ 138117 w 333366"/>
                        <a:gd name="connsiteY8" fmla="*/ 116144 h 121145"/>
                        <a:gd name="connsiteX9" fmla="*/ 132537 w 333366"/>
                        <a:gd name="connsiteY9" fmla="*/ 120365 h 121145"/>
                        <a:gd name="connsiteX10" fmla="*/ 3296 w 333366"/>
                        <a:gd name="connsiteY10" fmla="*/ 89226 h 121145"/>
                        <a:gd name="connsiteX11" fmla="*/ 0 w 333366"/>
                        <a:gd name="connsiteY11" fmla="*/ 84571 h 121145"/>
                        <a:gd name="connsiteX12" fmla="*/ 0 w 333366"/>
                        <a:gd name="connsiteY12" fmla="*/ 4944 h 121145"/>
                        <a:gd name="connsiteX13" fmla="*/ 4944 w 333366"/>
                        <a:gd name="connsiteY13" fmla="*/ 0 h 121145"/>
                        <a:gd name="connsiteX14" fmla="*/ 328423 w 333366"/>
                        <a:gd name="connsiteY14" fmla="*/ 0 h 121145"/>
                        <a:gd name="connsiteX15" fmla="*/ 333367 w 333366"/>
                        <a:gd name="connsiteY15" fmla="*/ 4944 h 121145"/>
                        <a:gd name="connsiteX16" fmla="*/ 333367 w 333366"/>
                        <a:gd name="connsiteY16" fmla="*/ 84571 h 121145"/>
                        <a:gd name="connsiteX17" fmla="*/ 330158 w 333366"/>
                        <a:gd name="connsiteY17" fmla="*/ 89197 h 121145"/>
                        <a:gd name="connsiteX18" fmla="*/ 199847 w 333366"/>
                        <a:gd name="connsiteY18" fmla="*/ 121117 h 121145"/>
                        <a:gd name="connsiteX19" fmla="*/ 199240 w 333366"/>
                        <a:gd name="connsiteY19" fmla="*/ 121146 h 121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33366" h="121145">
                          <a:moveTo>
                            <a:pt x="199240" y="121146"/>
                          </a:moveTo>
                          <a:cubicBezTo>
                            <a:pt x="196782" y="121146"/>
                            <a:pt x="194642" y="119324"/>
                            <a:pt x="194324" y="116809"/>
                          </a:cubicBezTo>
                          <a:cubicBezTo>
                            <a:pt x="193977" y="114091"/>
                            <a:pt x="195915" y="111633"/>
                            <a:pt x="198604" y="111286"/>
                          </a:cubicBezTo>
                          <a:cubicBezTo>
                            <a:pt x="256632" y="103942"/>
                            <a:pt x="310063" y="85843"/>
                            <a:pt x="323450" y="81101"/>
                          </a:cubicBezTo>
                          <a:lnTo>
                            <a:pt x="323450" y="9888"/>
                          </a:lnTo>
                          <a:lnTo>
                            <a:pt x="9888" y="9888"/>
                          </a:lnTo>
                          <a:lnTo>
                            <a:pt x="9888" y="81014"/>
                          </a:lnTo>
                          <a:cubicBezTo>
                            <a:pt x="23564" y="85583"/>
                            <a:pt x="77545" y="102815"/>
                            <a:pt x="133896" y="110563"/>
                          </a:cubicBezTo>
                          <a:cubicBezTo>
                            <a:pt x="136614" y="110939"/>
                            <a:pt x="138493" y="113426"/>
                            <a:pt x="138117" y="116144"/>
                          </a:cubicBezTo>
                          <a:cubicBezTo>
                            <a:pt x="137742" y="118861"/>
                            <a:pt x="135255" y="120712"/>
                            <a:pt x="132537" y="120365"/>
                          </a:cubicBezTo>
                          <a:cubicBezTo>
                            <a:pt x="66587" y="111286"/>
                            <a:pt x="3903" y="89428"/>
                            <a:pt x="3296" y="89226"/>
                          </a:cubicBezTo>
                          <a:cubicBezTo>
                            <a:pt x="1330" y="88532"/>
                            <a:pt x="0" y="86652"/>
                            <a:pt x="0" y="84571"/>
                          </a:cubicBezTo>
                          <a:lnTo>
                            <a:pt x="0" y="4944"/>
                          </a:lnTo>
                          <a:cubicBezTo>
                            <a:pt x="0" y="2197"/>
                            <a:pt x="2226" y="0"/>
                            <a:pt x="4944" y="0"/>
                          </a:cubicBezTo>
                          <a:lnTo>
                            <a:pt x="328423" y="0"/>
                          </a:lnTo>
                          <a:cubicBezTo>
                            <a:pt x="331141" y="0"/>
                            <a:pt x="333367" y="2226"/>
                            <a:pt x="333367" y="4944"/>
                          </a:cubicBezTo>
                          <a:lnTo>
                            <a:pt x="333367" y="84571"/>
                          </a:lnTo>
                          <a:cubicBezTo>
                            <a:pt x="333367" y="86623"/>
                            <a:pt x="332095" y="88474"/>
                            <a:pt x="330158" y="89197"/>
                          </a:cubicBezTo>
                          <a:cubicBezTo>
                            <a:pt x="329551" y="89428"/>
                            <a:pt x="267821" y="112501"/>
                            <a:pt x="199847" y="121117"/>
                          </a:cubicBezTo>
                          <a:cubicBezTo>
                            <a:pt x="199644" y="121117"/>
                            <a:pt x="199442" y="121146"/>
                            <a:pt x="199240" y="121146"/>
                          </a:cubicBezTo>
                          <a:close/>
                        </a:path>
                      </a:pathLst>
                    </a:custGeom>
                    <a:solidFill>
                      <a:schemeClr val="accent1"/>
                    </a:solidFill>
                    <a:ln w="2890" cap="flat">
                      <a:noFill/>
                      <a:prstDash val="solid"/>
                      <a:miter/>
                    </a:ln>
                  </p:spPr>
                  <p:txBody>
                    <a:bodyPr rtlCol="0" anchor="ctr"/>
                    <a:lstStyle/>
                    <a:p>
                      <a:endParaRPr lang="en-GB" dirty="0"/>
                    </a:p>
                  </p:txBody>
                </p:sp>
                <p:sp>
                  <p:nvSpPr>
                    <p:cNvPr id="474" name="Freihandform: Form 473">
                      <a:extLst>
                        <a:ext uri="{FF2B5EF4-FFF2-40B4-BE49-F238E27FC236}">
                          <a16:creationId xmlns:a16="http://schemas.microsoft.com/office/drawing/2014/main" id="{8663E72A-5B7C-49C6-8186-4DF98F8EF3DF}"/>
                        </a:ext>
                      </a:extLst>
                    </p:cNvPr>
                    <p:cNvSpPr/>
                    <p:nvPr/>
                  </p:nvSpPr>
                  <p:spPr>
                    <a:xfrm>
                      <a:off x="7895054" y="1769924"/>
                      <a:ext cx="303500" cy="149249"/>
                    </a:xfrm>
                    <a:custGeom>
                      <a:avLst/>
                      <a:gdLst>
                        <a:gd name="connsiteX0" fmla="*/ 298585 w 303500"/>
                        <a:gd name="connsiteY0" fmla="*/ 149249 h 149249"/>
                        <a:gd name="connsiteX1" fmla="*/ 4944 w 303500"/>
                        <a:gd name="connsiteY1" fmla="*/ 149249 h 149249"/>
                        <a:gd name="connsiteX2" fmla="*/ 0 w 303500"/>
                        <a:gd name="connsiteY2" fmla="*/ 144305 h 149249"/>
                        <a:gd name="connsiteX3" fmla="*/ 0 w 303500"/>
                        <a:gd name="connsiteY3" fmla="*/ 4944 h 149249"/>
                        <a:gd name="connsiteX4" fmla="*/ 4944 w 303500"/>
                        <a:gd name="connsiteY4" fmla="*/ 0 h 149249"/>
                        <a:gd name="connsiteX5" fmla="*/ 9888 w 303500"/>
                        <a:gd name="connsiteY5" fmla="*/ 4944 h 149249"/>
                        <a:gd name="connsiteX6" fmla="*/ 9888 w 303500"/>
                        <a:gd name="connsiteY6" fmla="*/ 139332 h 149249"/>
                        <a:gd name="connsiteX7" fmla="*/ 293612 w 303500"/>
                        <a:gd name="connsiteY7" fmla="*/ 139332 h 149249"/>
                        <a:gd name="connsiteX8" fmla="*/ 293612 w 303500"/>
                        <a:gd name="connsiteY8" fmla="*/ 4944 h 149249"/>
                        <a:gd name="connsiteX9" fmla="*/ 298556 w 303500"/>
                        <a:gd name="connsiteY9" fmla="*/ 0 h 149249"/>
                        <a:gd name="connsiteX10" fmla="*/ 303500 w 303500"/>
                        <a:gd name="connsiteY10" fmla="*/ 4944 h 149249"/>
                        <a:gd name="connsiteX11" fmla="*/ 303500 w 303500"/>
                        <a:gd name="connsiteY11" fmla="*/ 144276 h 149249"/>
                        <a:gd name="connsiteX12" fmla="*/ 298585 w 303500"/>
                        <a:gd name="connsiteY12" fmla="*/ 149249 h 149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3500" h="149249">
                          <a:moveTo>
                            <a:pt x="298585" y="149249"/>
                          </a:moveTo>
                          <a:lnTo>
                            <a:pt x="4944" y="149249"/>
                          </a:lnTo>
                          <a:cubicBezTo>
                            <a:pt x="2226" y="149249"/>
                            <a:pt x="0" y="147023"/>
                            <a:pt x="0" y="144305"/>
                          </a:cubicBezTo>
                          <a:lnTo>
                            <a:pt x="0" y="4944"/>
                          </a:lnTo>
                          <a:cubicBezTo>
                            <a:pt x="0" y="2197"/>
                            <a:pt x="2226" y="0"/>
                            <a:pt x="4944" y="0"/>
                          </a:cubicBezTo>
                          <a:cubicBezTo>
                            <a:pt x="7691" y="0"/>
                            <a:pt x="9888" y="2226"/>
                            <a:pt x="9888" y="4944"/>
                          </a:cubicBezTo>
                          <a:lnTo>
                            <a:pt x="9888" y="139332"/>
                          </a:lnTo>
                          <a:lnTo>
                            <a:pt x="293612" y="139332"/>
                          </a:lnTo>
                          <a:lnTo>
                            <a:pt x="293612" y="4944"/>
                          </a:lnTo>
                          <a:cubicBezTo>
                            <a:pt x="293612" y="2197"/>
                            <a:pt x="295838" y="0"/>
                            <a:pt x="298556" y="0"/>
                          </a:cubicBezTo>
                          <a:cubicBezTo>
                            <a:pt x="301303" y="0"/>
                            <a:pt x="303500" y="2226"/>
                            <a:pt x="303500" y="4944"/>
                          </a:cubicBezTo>
                          <a:lnTo>
                            <a:pt x="303500" y="144276"/>
                          </a:lnTo>
                          <a:cubicBezTo>
                            <a:pt x="303529" y="147023"/>
                            <a:pt x="301303" y="149249"/>
                            <a:pt x="298585" y="149249"/>
                          </a:cubicBezTo>
                          <a:close/>
                        </a:path>
                      </a:pathLst>
                    </a:custGeom>
                    <a:solidFill>
                      <a:schemeClr val="accent1"/>
                    </a:solidFill>
                    <a:ln w="2890" cap="flat">
                      <a:noFill/>
                      <a:prstDash val="solid"/>
                      <a:miter/>
                    </a:ln>
                  </p:spPr>
                  <p:txBody>
                    <a:bodyPr rtlCol="0" anchor="ctr"/>
                    <a:lstStyle/>
                    <a:p>
                      <a:endParaRPr lang="en-GB" dirty="0"/>
                    </a:p>
                  </p:txBody>
                </p:sp>
              </p:grpSp>
              <p:sp>
                <p:nvSpPr>
                  <p:cNvPr id="469" name="Freihandform: Form 468">
                    <a:extLst>
                      <a:ext uri="{FF2B5EF4-FFF2-40B4-BE49-F238E27FC236}">
                        <a16:creationId xmlns:a16="http://schemas.microsoft.com/office/drawing/2014/main" id="{A494E104-08B2-4464-83E7-A785A641D064}"/>
                      </a:ext>
                    </a:extLst>
                  </p:cNvPr>
                  <p:cNvSpPr/>
                  <p:nvPr/>
                </p:nvSpPr>
                <p:spPr>
                  <a:xfrm>
                    <a:off x="8003969" y="1630564"/>
                    <a:ext cx="85669" cy="32295"/>
                  </a:xfrm>
                  <a:custGeom>
                    <a:avLst/>
                    <a:gdLst>
                      <a:gd name="connsiteX0" fmla="*/ 71473 w 85669"/>
                      <a:gd name="connsiteY0" fmla="*/ 32296 h 32295"/>
                      <a:gd name="connsiteX1" fmla="*/ 14225 w 85669"/>
                      <a:gd name="connsiteY1" fmla="*/ 32296 h 32295"/>
                      <a:gd name="connsiteX2" fmla="*/ 0 w 85669"/>
                      <a:gd name="connsiteY2" fmla="*/ 16162 h 32295"/>
                      <a:gd name="connsiteX3" fmla="*/ 14225 w 85669"/>
                      <a:gd name="connsiteY3" fmla="*/ 0 h 32295"/>
                      <a:gd name="connsiteX4" fmla="*/ 71444 w 85669"/>
                      <a:gd name="connsiteY4" fmla="*/ 0 h 32295"/>
                      <a:gd name="connsiteX5" fmla="*/ 85669 w 85669"/>
                      <a:gd name="connsiteY5" fmla="*/ 16162 h 32295"/>
                      <a:gd name="connsiteX6" fmla="*/ 71473 w 85669"/>
                      <a:gd name="connsiteY6" fmla="*/ 32296 h 32295"/>
                      <a:gd name="connsiteX7" fmla="*/ 14225 w 85669"/>
                      <a:gd name="connsiteY7" fmla="*/ 9888 h 32295"/>
                      <a:gd name="connsiteX8" fmla="*/ 9888 w 85669"/>
                      <a:gd name="connsiteY8" fmla="*/ 16133 h 32295"/>
                      <a:gd name="connsiteX9" fmla="*/ 14225 w 85669"/>
                      <a:gd name="connsiteY9" fmla="*/ 22379 h 32295"/>
                      <a:gd name="connsiteX10" fmla="*/ 71444 w 85669"/>
                      <a:gd name="connsiteY10" fmla="*/ 22379 h 32295"/>
                      <a:gd name="connsiteX11" fmla="*/ 75781 w 85669"/>
                      <a:gd name="connsiteY11" fmla="*/ 16133 h 32295"/>
                      <a:gd name="connsiteX12" fmla="*/ 71444 w 85669"/>
                      <a:gd name="connsiteY12" fmla="*/ 9888 h 32295"/>
                      <a:gd name="connsiteX13" fmla="*/ 14225 w 85669"/>
                      <a:gd name="connsiteY13" fmla="*/ 9888 h 32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5669" h="32295">
                        <a:moveTo>
                          <a:pt x="71473" y="32296"/>
                        </a:moveTo>
                        <a:lnTo>
                          <a:pt x="14225" y="32296"/>
                        </a:lnTo>
                        <a:cubicBezTo>
                          <a:pt x="6390" y="32296"/>
                          <a:pt x="0" y="25039"/>
                          <a:pt x="0" y="16162"/>
                        </a:cubicBezTo>
                        <a:cubicBezTo>
                          <a:pt x="0" y="7257"/>
                          <a:pt x="6390" y="0"/>
                          <a:pt x="14225" y="0"/>
                        </a:cubicBezTo>
                        <a:lnTo>
                          <a:pt x="71444" y="0"/>
                        </a:lnTo>
                        <a:cubicBezTo>
                          <a:pt x="79280" y="0"/>
                          <a:pt x="85669" y="7257"/>
                          <a:pt x="85669" y="16162"/>
                        </a:cubicBezTo>
                        <a:cubicBezTo>
                          <a:pt x="85698" y="25068"/>
                          <a:pt x="79308" y="32296"/>
                          <a:pt x="71473" y="32296"/>
                        </a:cubicBezTo>
                        <a:close/>
                        <a:moveTo>
                          <a:pt x="14225" y="9888"/>
                        </a:moveTo>
                        <a:cubicBezTo>
                          <a:pt x="11883" y="9888"/>
                          <a:pt x="9888" y="12751"/>
                          <a:pt x="9888" y="16133"/>
                        </a:cubicBezTo>
                        <a:cubicBezTo>
                          <a:pt x="9888" y="19458"/>
                          <a:pt x="11912" y="22379"/>
                          <a:pt x="14225" y="22379"/>
                        </a:cubicBezTo>
                        <a:lnTo>
                          <a:pt x="71444" y="22379"/>
                        </a:lnTo>
                        <a:cubicBezTo>
                          <a:pt x="73757" y="22379"/>
                          <a:pt x="75781" y="19458"/>
                          <a:pt x="75781" y="16133"/>
                        </a:cubicBezTo>
                        <a:cubicBezTo>
                          <a:pt x="75781" y="12808"/>
                          <a:pt x="73757" y="9888"/>
                          <a:pt x="71444" y="9888"/>
                        </a:cubicBezTo>
                        <a:lnTo>
                          <a:pt x="14225" y="9888"/>
                        </a:lnTo>
                        <a:close/>
                      </a:path>
                    </a:pathLst>
                  </a:custGeom>
                  <a:solidFill>
                    <a:schemeClr val="accent1"/>
                  </a:solidFill>
                  <a:ln w="2890" cap="flat">
                    <a:noFill/>
                    <a:prstDash val="solid"/>
                    <a:miter/>
                  </a:ln>
                </p:spPr>
                <p:txBody>
                  <a:bodyPr rtlCol="0" anchor="ctr"/>
                  <a:lstStyle/>
                  <a:p>
                    <a:endParaRPr lang="en-GB" dirty="0"/>
                  </a:p>
                </p:txBody>
              </p:sp>
              <p:grpSp>
                <p:nvGrpSpPr>
                  <p:cNvPr id="470" name="Grafik 53">
                    <a:extLst>
                      <a:ext uri="{FF2B5EF4-FFF2-40B4-BE49-F238E27FC236}">
                        <a16:creationId xmlns:a16="http://schemas.microsoft.com/office/drawing/2014/main" id="{01138763-9C8A-43FE-99B1-EDDE5C8B59E0}"/>
                      </a:ext>
                    </a:extLst>
                  </p:cNvPr>
                  <p:cNvGrpSpPr/>
                  <p:nvPr/>
                </p:nvGrpSpPr>
                <p:grpSpPr>
                  <a:xfrm>
                    <a:off x="7984626" y="1640538"/>
                    <a:ext cx="124355" cy="49701"/>
                    <a:chOff x="7984626" y="1640538"/>
                    <a:chExt cx="124355" cy="49701"/>
                  </a:xfrm>
                  <a:solidFill>
                    <a:schemeClr val="accent1"/>
                  </a:solidFill>
                </p:grpSpPr>
                <p:sp>
                  <p:nvSpPr>
                    <p:cNvPr id="471" name="Freihandform: Form 470">
                      <a:extLst>
                        <a:ext uri="{FF2B5EF4-FFF2-40B4-BE49-F238E27FC236}">
                          <a16:creationId xmlns:a16="http://schemas.microsoft.com/office/drawing/2014/main" id="{47B2DDE2-6DDD-420C-A243-3EC7781AFFFF}"/>
                        </a:ext>
                      </a:extLst>
                    </p:cNvPr>
                    <p:cNvSpPr/>
                    <p:nvPr/>
                  </p:nvSpPr>
                  <p:spPr>
                    <a:xfrm>
                      <a:off x="7984626" y="1640538"/>
                      <a:ext cx="26108" cy="44699"/>
                    </a:xfrm>
                    <a:custGeom>
                      <a:avLst/>
                      <a:gdLst>
                        <a:gd name="connsiteX0" fmla="*/ 4944 w 26108"/>
                        <a:gd name="connsiteY0" fmla="*/ 44700 h 44699"/>
                        <a:gd name="connsiteX1" fmla="*/ 0 w 26108"/>
                        <a:gd name="connsiteY1" fmla="*/ 39755 h 44699"/>
                        <a:gd name="connsiteX2" fmla="*/ 0 w 26108"/>
                        <a:gd name="connsiteY2" fmla="*/ 4944 h 44699"/>
                        <a:gd name="connsiteX3" fmla="*/ 1475 w 26108"/>
                        <a:gd name="connsiteY3" fmla="*/ 1446 h 44699"/>
                        <a:gd name="connsiteX4" fmla="*/ 5002 w 26108"/>
                        <a:gd name="connsiteY4" fmla="*/ 0 h 44699"/>
                        <a:gd name="connsiteX5" fmla="*/ 21193 w 26108"/>
                        <a:gd name="connsiteY5" fmla="*/ 116 h 44699"/>
                        <a:gd name="connsiteX6" fmla="*/ 26109 w 26108"/>
                        <a:gd name="connsiteY6" fmla="*/ 5089 h 44699"/>
                        <a:gd name="connsiteX7" fmla="*/ 21164 w 26108"/>
                        <a:gd name="connsiteY7" fmla="*/ 10004 h 44699"/>
                        <a:gd name="connsiteX8" fmla="*/ 21135 w 26108"/>
                        <a:gd name="connsiteY8" fmla="*/ 10004 h 44699"/>
                        <a:gd name="connsiteX9" fmla="*/ 9917 w 26108"/>
                        <a:gd name="connsiteY9" fmla="*/ 9917 h 44699"/>
                        <a:gd name="connsiteX10" fmla="*/ 9917 w 26108"/>
                        <a:gd name="connsiteY10" fmla="*/ 39755 h 44699"/>
                        <a:gd name="connsiteX11" fmla="*/ 4944 w 26108"/>
                        <a:gd name="connsiteY11" fmla="*/ 44700 h 44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108" h="44699">
                          <a:moveTo>
                            <a:pt x="4944" y="44700"/>
                          </a:moveTo>
                          <a:cubicBezTo>
                            <a:pt x="2226" y="44700"/>
                            <a:pt x="0" y="42473"/>
                            <a:pt x="0" y="39755"/>
                          </a:cubicBezTo>
                          <a:lnTo>
                            <a:pt x="0" y="4944"/>
                          </a:lnTo>
                          <a:cubicBezTo>
                            <a:pt x="0" y="3614"/>
                            <a:pt x="520" y="2371"/>
                            <a:pt x="1475" y="1446"/>
                          </a:cubicBezTo>
                          <a:cubicBezTo>
                            <a:pt x="2400" y="520"/>
                            <a:pt x="3788" y="145"/>
                            <a:pt x="5002" y="0"/>
                          </a:cubicBezTo>
                          <a:lnTo>
                            <a:pt x="21193" y="116"/>
                          </a:lnTo>
                          <a:cubicBezTo>
                            <a:pt x="23940" y="145"/>
                            <a:pt x="26137" y="2371"/>
                            <a:pt x="26109" y="5089"/>
                          </a:cubicBezTo>
                          <a:cubicBezTo>
                            <a:pt x="26080" y="7807"/>
                            <a:pt x="23882" y="10004"/>
                            <a:pt x="21164" y="10004"/>
                          </a:cubicBezTo>
                          <a:cubicBezTo>
                            <a:pt x="21164" y="10004"/>
                            <a:pt x="21135" y="10004"/>
                            <a:pt x="21135" y="10004"/>
                          </a:cubicBezTo>
                          <a:lnTo>
                            <a:pt x="9917" y="9917"/>
                          </a:lnTo>
                          <a:lnTo>
                            <a:pt x="9917" y="39755"/>
                          </a:lnTo>
                          <a:cubicBezTo>
                            <a:pt x="9917" y="42502"/>
                            <a:pt x="7691" y="44700"/>
                            <a:pt x="4944" y="44700"/>
                          </a:cubicBezTo>
                          <a:close/>
                        </a:path>
                      </a:pathLst>
                    </a:custGeom>
                    <a:solidFill>
                      <a:schemeClr val="accent1"/>
                    </a:solidFill>
                    <a:ln w="2890" cap="flat">
                      <a:noFill/>
                      <a:prstDash val="solid"/>
                      <a:miter/>
                    </a:ln>
                  </p:spPr>
                  <p:txBody>
                    <a:bodyPr rtlCol="0" anchor="ctr"/>
                    <a:lstStyle/>
                    <a:p>
                      <a:endParaRPr lang="en-GB" dirty="0"/>
                    </a:p>
                  </p:txBody>
                </p:sp>
                <p:sp>
                  <p:nvSpPr>
                    <p:cNvPr id="472" name="Freihandform: Form 471">
                      <a:extLst>
                        <a:ext uri="{FF2B5EF4-FFF2-40B4-BE49-F238E27FC236}">
                          <a16:creationId xmlns:a16="http://schemas.microsoft.com/office/drawing/2014/main" id="{564708CC-9B48-4643-8AB9-0BA311374458}"/>
                        </a:ext>
                      </a:extLst>
                    </p:cNvPr>
                    <p:cNvSpPr/>
                    <p:nvPr/>
                  </p:nvSpPr>
                  <p:spPr>
                    <a:xfrm>
                      <a:off x="8084174" y="1640538"/>
                      <a:ext cx="24807" cy="49701"/>
                    </a:xfrm>
                    <a:custGeom>
                      <a:avLst/>
                      <a:gdLst>
                        <a:gd name="connsiteX0" fmla="*/ 19863 w 24807"/>
                        <a:gd name="connsiteY0" fmla="*/ 49701 h 49701"/>
                        <a:gd name="connsiteX1" fmla="*/ 14919 w 24807"/>
                        <a:gd name="connsiteY1" fmla="*/ 44757 h 49701"/>
                        <a:gd name="connsiteX2" fmla="*/ 14919 w 24807"/>
                        <a:gd name="connsiteY2" fmla="*/ 9888 h 49701"/>
                        <a:gd name="connsiteX3" fmla="*/ 4944 w 24807"/>
                        <a:gd name="connsiteY3" fmla="*/ 9888 h 49701"/>
                        <a:gd name="connsiteX4" fmla="*/ 0 w 24807"/>
                        <a:gd name="connsiteY4" fmla="*/ 4944 h 49701"/>
                        <a:gd name="connsiteX5" fmla="*/ 4944 w 24807"/>
                        <a:gd name="connsiteY5" fmla="*/ 0 h 49701"/>
                        <a:gd name="connsiteX6" fmla="*/ 19863 w 24807"/>
                        <a:gd name="connsiteY6" fmla="*/ 0 h 49701"/>
                        <a:gd name="connsiteX7" fmla="*/ 24807 w 24807"/>
                        <a:gd name="connsiteY7" fmla="*/ 4944 h 49701"/>
                        <a:gd name="connsiteX8" fmla="*/ 24807 w 24807"/>
                        <a:gd name="connsiteY8" fmla="*/ 44757 h 49701"/>
                        <a:gd name="connsiteX9" fmla="*/ 19863 w 24807"/>
                        <a:gd name="connsiteY9" fmla="*/ 49701 h 49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807" h="49701">
                          <a:moveTo>
                            <a:pt x="19863" y="49701"/>
                          </a:moveTo>
                          <a:cubicBezTo>
                            <a:pt x="17146" y="49701"/>
                            <a:pt x="14919" y="47475"/>
                            <a:pt x="14919" y="44757"/>
                          </a:cubicBezTo>
                          <a:lnTo>
                            <a:pt x="14919" y="9888"/>
                          </a:lnTo>
                          <a:lnTo>
                            <a:pt x="4944" y="9888"/>
                          </a:lnTo>
                          <a:cubicBezTo>
                            <a:pt x="2197" y="9888"/>
                            <a:pt x="0" y="7662"/>
                            <a:pt x="0" y="4944"/>
                          </a:cubicBezTo>
                          <a:cubicBezTo>
                            <a:pt x="0" y="2197"/>
                            <a:pt x="2226" y="0"/>
                            <a:pt x="4944" y="0"/>
                          </a:cubicBezTo>
                          <a:lnTo>
                            <a:pt x="19863" y="0"/>
                          </a:lnTo>
                          <a:cubicBezTo>
                            <a:pt x="22610" y="0"/>
                            <a:pt x="24807" y="2226"/>
                            <a:pt x="24807" y="4944"/>
                          </a:cubicBezTo>
                          <a:lnTo>
                            <a:pt x="24807" y="44757"/>
                          </a:lnTo>
                          <a:cubicBezTo>
                            <a:pt x="24836" y="47475"/>
                            <a:pt x="22610" y="49701"/>
                            <a:pt x="19863" y="49701"/>
                          </a:cubicBezTo>
                          <a:close/>
                        </a:path>
                      </a:pathLst>
                    </a:custGeom>
                    <a:solidFill>
                      <a:schemeClr val="accent1"/>
                    </a:solidFill>
                    <a:ln w="2890" cap="flat">
                      <a:noFill/>
                      <a:prstDash val="solid"/>
                      <a:miter/>
                    </a:ln>
                  </p:spPr>
                  <p:txBody>
                    <a:bodyPr rtlCol="0" anchor="ctr"/>
                    <a:lstStyle/>
                    <a:p>
                      <a:endParaRPr lang="en-GB" dirty="0"/>
                    </a:p>
                  </p:txBody>
                </p:sp>
              </p:grpSp>
            </p:grpSp>
            <p:sp>
              <p:nvSpPr>
                <p:cNvPr id="467" name="Freihandform: Form 466">
                  <a:extLst>
                    <a:ext uri="{FF2B5EF4-FFF2-40B4-BE49-F238E27FC236}">
                      <a16:creationId xmlns:a16="http://schemas.microsoft.com/office/drawing/2014/main" id="{97C5FA1E-7F4F-414B-AA32-1AF54BE15E72}"/>
                    </a:ext>
                  </a:extLst>
                </p:cNvPr>
                <p:cNvSpPr/>
                <p:nvPr/>
              </p:nvSpPr>
              <p:spPr>
                <a:xfrm>
                  <a:off x="8011660" y="1767149"/>
                  <a:ext cx="70316" cy="70316"/>
                </a:xfrm>
                <a:custGeom>
                  <a:avLst/>
                  <a:gdLst>
                    <a:gd name="connsiteX0" fmla="*/ 35158 w 70316"/>
                    <a:gd name="connsiteY0" fmla="*/ 70316 h 70316"/>
                    <a:gd name="connsiteX1" fmla="*/ 0 w 70316"/>
                    <a:gd name="connsiteY1" fmla="*/ 35158 h 70316"/>
                    <a:gd name="connsiteX2" fmla="*/ 35158 w 70316"/>
                    <a:gd name="connsiteY2" fmla="*/ 0 h 70316"/>
                    <a:gd name="connsiteX3" fmla="*/ 70317 w 70316"/>
                    <a:gd name="connsiteY3" fmla="*/ 35158 h 70316"/>
                    <a:gd name="connsiteX4" fmla="*/ 35158 w 70316"/>
                    <a:gd name="connsiteY4" fmla="*/ 70316 h 70316"/>
                    <a:gd name="connsiteX5" fmla="*/ 35158 w 70316"/>
                    <a:gd name="connsiteY5" fmla="*/ 9917 h 70316"/>
                    <a:gd name="connsiteX6" fmla="*/ 9917 w 70316"/>
                    <a:gd name="connsiteY6" fmla="*/ 35187 h 70316"/>
                    <a:gd name="connsiteX7" fmla="*/ 35158 w 70316"/>
                    <a:gd name="connsiteY7" fmla="*/ 60428 h 70316"/>
                    <a:gd name="connsiteX8" fmla="*/ 60399 w 70316"/>
                    <a:gd name="connsiteY8" fmla="*/ 35187 h 70316"/>
                    <a:gd name="connsiteX9" fmla="*/ 35158 w 70316"/>
                    <a:gd name="connsiteY9" fmla="*/ 9917 h 70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316" h="70316">
                      <a:moveTo>
                        <a:pt x="35158" y="70316"/>
                      </a:moveTo>
                      <a:cubicBezTo>
                        <a:pt x="15786" y="70316"/>
                        <a:pt x="0" y="54559"/>
                        <a:pt x="0" y="35158"/>
                      </a:cubicBezTo>
                      <a:cubicBezTo>
                        <a:pt x="0" y="15758"/>
                        <a:pt x="15758" y="0"/>
                        <a:pt x="35158" y="0"/>
                      </a:cubicBezTo>
                      <a:cubicBezTo>
                        <a:pt x="54530" y="0"/>
                        <a:pt x="70317" y="15758"/>
                        <a:pt x="70317" y="35158"/>
                      </a:cubicBezTo>
                      <a:cubicBezTo>
                        <a:pt x="70317" y="54559"/>
                        <a:pt x="54530" y="70316"/>
                        <a:pt x="35158" y="70316"/>
                      </a:cubicBezTo>
                      <a:close/>
                      <a:moveTo>
                        <a:pt x="35158" y="9917"/>
                      </a:moveTo>
                      <a:cubicBezTo>
                        <a:pt x="21222" y="9917"/>
                        <a:pt x="9917" y="21251"/>
                        <a:pt x="9917" y="35187"/>
                      </a:cubicBezTo>
                      <a:cubicBezTo>
                        <a:pt x="9917" y="49123"/>
                        <a:pt x="21251" y="60428"/>
                        <a:pt x="35158" y="60428"/>
                      </a:cubicBezTo>
                      <a:cubicBezTo>
                        <a:pt x="49094" y="60428"/>
                        <a:pt x="60399" y="49094"/>
                        <a:pt x="60399" y="35187"/>
                      </a:cubicBezTo>
                      <a:cubicBezTo>
                        <a:pt x="60399" y="21251"/>
                        <a:pt x="49065" y="9917"/>
                        <a:pt x="35158" y="9917"/>
                      </a:cubicBezTo>
                      <a:close/>
                    </a:path>
                  </a:pathLst>
                </a:custGeom>
                <a:solidFill>
                  <a:schemeClr val="accent1"/>
                </a:solidFill>
                <a:ln w="2890" cap="flat">
                  <a:noFill/>
                  <a:prstDash val="solid"/>
                  <a:miter/>
                </a:ln>
              </p:spPr>
              <p:txBody>
                <a:bodyPr rtlCol="0" anchor="ctr"/>
                <a:lstStyle/>
                <a:p>
                  <a:endParaRPr lang="en-GB" dirty="0"/>
                </a:p>
              </p:txBody>
            </p:sp>
          </p:grpSp>
          <p:sp>
            <p:nvSpPr>
              <p:cNvPr id="463" name="Freihandform: Form 462">
                <a:extLst>
                  <a:ext uri="{FF2B5EF4-FFF2-40B4-BE49-F238E27FC236}">
                    <a16:creationId xmlns:a16="http://schemas.microsoft.com/office/drawing/2014/main" id="{8EFBDCCA-D1D3-48FA-97DC-08D4F0E50A6F}"/>
                  </a:ext>
                </a:extLst>
              </p:cNvPr>
              <p:cNvSpPr/>
              <p:nvPr/>
            </p:nvSpPr>
            <p:spPr>
              <a:xfrm>
                <a:off x="8030222" y="1797854"/>
                <a:ext cx="22031" cy="22031"/>
              </a:xfrm>
              <a:custGeom>
                <a:avLst/>
                <a:gdLst>
                  <a:gd name="connsiteX0" fmla="*/ 17088 w 22031"/>
                  <a:gd name="connsiteY0" fmla="*/ 22032 h 22031"/>
                  <a:gd name="connsiteX1" fmla="*/ 0 w 22031"/>
                  <a:gd name="connsiteY1" fmla="*/ 4944 h 22031"/>
                  <a:gd name="connsiteX2" fmla="*/ 4944 w 22031"/>
                  <a:gd name="connsiteY2" fmla="*/ 0 h 22031"/>
                  <a:gd name="connsiteX3" fmla="*/ 9888 w 22031"/>
                  <a:gd name="connsiteY3" fmla="*/ 4944 h 22031"/>
                  <a:gd name="connsiteX4" fmla="*/ 17088 w 22031"/>
                  <a:gd name="connsiteY4" fmla="*/ 12143 h 22031"/>
                  <a:gd name="connsiteX5" fmla="*/ 22032 w 22031"/>
                  <a:gd name="connsiteY5" fmla="*/ 17088 h 22031"/>
                  <a:gd name="connsiteX6" fmla="*/ 17088 w 22031"/>
                  <a:gd name="connsiteY6" fmla="*/ 22032 h 2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031" h="22031">
                    <a:moveTo>
                      <a:pt x="17088" y="22032"/>
                    </a:moveTo>
                    <a:cubicBezTo>
                      <a:pt x="7662" y="22032"/>
                      <a:pt x="0" y="14370"/>
                      <a:pt x="0" y="4944"/>
                    </a:cubicBezTo>
                    <a:cubicBezTo>
                      <a:pt x="0" y="2226"/>
                      <a:pt x="2226" y="0"/>
                      <a:pt x="4944" y="0"/>
                    </a:cubicBezTo>
                    <a:cubicBezTo>
                      <a:pt x="7691" y="0"/>
                      <a:pt x="9888" y="2226"/>
                      <a:pt x="9888" y="4944"/>
                    </a:cubicBezTo>
                    <a:cubicBezTo>
                      <a:pt x="9888" y="8905"/>
                      <a:pt x="13098" y="12143"/>
                      <a:pt x="17088" y="12143"/>
                    </a:cubicBezTo>
                    <a:cubicBezTo>
                      <a:pt x="19805" y="12143"/>
                      <a:pt x="22032" y="14370"/>
                      <a:pt x="22032" y="17088"/>
                    </a:cubicBezTo>
                    <a:cubicBezTo>
                      <a:pt x="22032" y="19805"/>
                      <a:pt x="19805" y="22032"/>
                      <a:pt x="17088" y="22032"/>
                    </a:cubicBezTo>
                    <a:close/>
                  </a:path>
                </a:pathLst>
              </a:custGeom>
              <a:solidFill>
                <a:schemeClr val="accent1"/>
              </a:solidFill>
              <a:ln w="2890" cap="flat">
                <a:noFill/>
                <a:prstDash val="solid"/>
                <a:miter/>
              </a:ln>
            </p:spPr>
            <p:txBody>
              <a:bodyPr rtlCol="0" anchor="ctr"/>
              <a:lstStyle/>
              <a:p>
                <a:endParaRPr lang="en-GB" dirty="0"/>
              </a:p>
            </p:txBody>
          </p:sp>
          <p:sp>
            <p:nvSpPr>
              <p:cNvPr id="464" name="Freihandform: Form 463">
                <a:extLst>
                  <a:ext uri="{FF2B5EF4-FFF2-40B4-BE49-F238E27FC236}">
                    <a16:creationId xmlns:a16="http://schemas.microsoft.com/office/drawing/2014/main" id="{41C333D7-C8DC-4689-8F79-43FB633F899A}"/>
                  </a:ext>
                </a:extLst>
              </p:cNvPr>
              <p:cNvSpPr/>
              <p:nvPr/>
            </p:nvSpPr>
            <p:spPr>
              <a:xfrm>
                <a:off x="7919717" y="1810460"/>
                <a:ext cx="9888" cy="81823"/>
              </a:xfrm>
              <a:custGeom>
                <a:avLst/>
                <a:gdLst>
                  <a:gd name="connsiteX0" fmla="*/ 4944 w 9888"/>
                  <a:gd name="connsiteY0" fmla="*/ 81824 h 81823"/>
                  <a:gd name="connsiteX1" fmla="*/ 0 w 9888"/>
                  <a:gd name="connsiteY1" fmla="*/ 76880 h 81823"/>
                  <a:gd name="connsiteX2" fmla="*/ 0 w 9888"/>
                  <a:gd name="connsiteY2" fmla="*/ 4944 h 81823"/>
                  <a:gd name="connsiteX3" fmla="*/ 4944 w 9888"/>
                  <a:gd name="connsiteY3" fmla="*/ 0 h 81823"/>
                  <a:gd name="connsiteX4" fmla="*/ 9888 w 9888"/>
                  <a:gd name="connsiteY4" fmla="*/ 4944 h 81823"/>
                  <a:gd name="connsiteX5" fmla="*/ 9888 w 9888"/>
                  <a:gd name="connsiteY5" fmla="*/ 76880 h 81823"/>
                  <a:gd name="connsiteX6" fmla="*/ 4944 w 9888"/>
                  <a:gd name="connsiteY6" fmla="*/ 81824 h 8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81823">
                    <a:moveTo>
                      <a:pt x="4944" y="81824"/>
                    </a:moveTo>
                    <a:cubicBezTo>
                      <a:pt x="2197" y="81824"/>
                      <a:pt x="0" y="79598"/>
                      <a:pt x="0" y="76880"/>
                    </a:cubicBezTo>
                    <a:lnTo>
                      <a:pt x="0" y="4944"/>
                    </a:lnTo>
                    <a:cubicBezTo>
                      <a:pt x="0" y="2197"/>
                      <a:pt x="2226" y="0"/>
                      <a:pt x="4944" y="0"/>
                    </a:cubicBezTo>
                    <a:cubicBezTo>
                      <a:pt x="7691" y="0"/>
                      <a:pt x="9888" y="2226"/>
                      <a:pt x="9888" y="4944"/>
                    </a:cubicBezTo>
                    <a:lnTo>
                      <a:pt x="9888" y="76880"/>
                    </a:lnTo>
                    <a:cubicBezTo>
                      <a:pt x="9888" y="79626"/>
                      <a:pt x="7662" y="81824"/>
                      <a:pt x="4944" y="81824"/>
                    </a:cubicBezTo>
                    <a:close/>
                  </a:path>
                </a:pathLst>
              </a:custGeom>
              <a:solidFill>
                <a:schemeClr val="accent1"/>
              </a:solidFill>
              <a:ln w="2890" cap="flat">
                <a:noFill/>
                <a:prstDash val="solid"/>
                <a:miter/>
              </a:ln>
            </p:spPr>
            <p:txBody>
              <a:bodyPr rtlCol="0" anchor="ctr"/>
              <a:lstStyle/>
              <a:p>
                <a:endParaRPr lang="en-GB" dirty="0"/>
              </a:p>
            </p:txBody>
          </p:sp>
          <p:sp>
            <p:nvSpPr>
              <p:cNvPr id="465" name="Freihandform: Form 464">
                <a:extLst>
                  <a:ext uri="{FF2B5EF4-FFF2-40B4-BE49-F238E27FC236}">
                    <a16:creationId xmlns:a16="http://schemas.microsoft.com/office/drawing/2014/main" id="{5C4A75F8-1F49-4349-93DD-1D4AAD4992B6}"/>
                  </a:ext>
                </a:extLst>
              </p:cNvPr>
              <p:cNvSpPr/>
              <p:nvPr/>
            </p:nvSpPr>
            <p:spPr>
              <a:xfrm>
                <a:off x="8164350" y="1810460"/>
                <a:ext cx="9888" cy="81823"/>
              </a:xfrm>
              <a:custGeom>
                <a:avLst/>
                <a:gdLst>
                  <a:gd name="connsiteX0" fmla="*/ 4944 w 9888"/>
                  <a:gd name="connsiteY0" fmla="*/ 81824 h 81823"/>
                  <a:gd name="connsiteX1" fmla="*/ 0 w 9888"/>
                  <a:gd name="connsiteY1" fmla="*/ 76880 h 81823"/>
                  <a:gd name="connsiteX2" fmla="*/ 0 w 9888"/>
                  <a:gd name="connsiteY2" fmla="*/ 4944 h 81823"/>
                  <a:gd name="connsiteX3" fmla="*/ 4944 w 9888"/>
                  <a:gd name="connsiteY3" fmla="*/ 0 h 81823"/>
                  <a:gd name="connsiteX4" fmla="*/ 9888 w 9888"/>
                  <a:gd name="connsiteY4" fmla="*/ 4944 h 81823"/>
                  <a:gd name="connsiteX5" fmla="*/ 9888 w 9888"/>
                  <a:gd name="connsiteY5" fmla="*/ 76880 h 81823"/>
                  <a:gd name="connsiteX6" fmla="*/ 4944 w 9888"/>
                  <a:gd name="connsiteY6" fmla="*/ 81824 h 81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81823">
                    <a:moveTo>
                      <a:pt x="4944" y="81824"/>
                    </a:moveTo>
                    <a:cubicBezTo>
                      <a:pt x="2197" y="81824"/>
                      <a:pt x="0" y="79598"/>
                      <a:pt x="0" y="76880"/>
                    </a:cubicBezTo>
                    <a:lnTo>
                      <a:pt x="0" y="4944"/>
                    </a:lnTo>
                    <a:cubicBezTo>
                      <a:pt x="0" y="2197"/>
                      <a:pt x="2226" y="0"/>
                      <a:pt x="4944" y="0"/>
                    </a:cubicBezTo>
                    <a:cubicBezTo>
                      <a:pt x="7662" y="0"/>
                      <a:pt x="9888" y="2226"/>
                      <a:pt x="9888" y="4944"/>
                    </a:cubicBezTo>
                    <a:lnTo>
                      <a:pt x="9888" y="76880"/>
                    </a:lnTo>
                    <a:cubicBezTo>
                      <a:pt x="9888" y="79626"/>
                      <a:pt x="7662" y="81824"/>
                      <a:pt x="4944" y="81824"/>
                    </a:cubicBezTo>
                    <a:close/>
                  </a:path>
                </a:pathLst>
              </a:custGeom>
              <a:solidFill>
                <a:schemeClr val="accent1"/>
              </a:solidFill>
              <a:ln w="2890" cap="flat">
                <a:noFill/>
                <a:prstDash val="solid"/>
                <a:miter/>
              </a:ln>
            </p:spPr>
            <p:txBody>
              <a:bodyPr rtlCol="0" anchor="ctr"/>
              <a:lstStyle/>
              <a:p>
                <a:endParaRPr lang="en-GB" dirty="0"/>
              </a:p>
            </p:txBody>
          </p:sp>
        </p:grpSp>
        <p:grpSp>
          <p:nvGrpSpPr>
            <p:cNvPr id="456" name="Grafik 53">
              <a:extLst>
                <a:ext uri="{FF2B5EF4-FFF2-40B4-BE49-F238E27FC236}">
                  <a16:creationId xmlns:a16="http://schemas.microsoft.com/office/drawing/2014/main" id="{531BBD9C-BE2D-4AF1-9C76-C779A2AFDB8B}"/>
                </a:ext>
              </a:extLst>
            </p:cNvPr>
            <p:cNvGrpSpPr/>
            <p:nvPr/>
          </p:nvGrpSpPr>
          <p:grpSpPr>
            <a:xfrm>
              <a:off x="8175469" y="1867691"/>
              <a:ext cx="333575" cy="191022"/>
              <a:chOff x="7829248" y="1944935"/>
              <a:chExt cx="435170" cy="249201"/>
            </a:xfrm>
            <a:solidFill>
              <a:schemeClr val="tx2"/>
            </a:solidFill>
          </p:grpSpPr>
          <p:grpSp>
            <p:nvGrpSpPr>
              <p:cNvPr id="457" name="Grafik 53">
                <a:extLst>
                  <a:ext uri="{FF2B5EF4-FFF2-40B4-BE49-F238E27FC236}">
                    <a16:creationId xmlns:a16="http://schemas.microsoft.com/office/drawing/2014/main" id="{E1D6E643-C8AD-49EC-999F-B1730504FFDF}"/>
                  </a:ext>
                </a:extLst>
              </p:cNvPr>
              <p:cNvGrpSpPr/>
              <p:nvPr/>
            </p:nvGrpSpPr>
            <p:grpSpPr>
              <a:xfrm>
                <a:off x="7871316" y="1977281"/>
                <a:ext cx="270949" cy="216855"/>
                <a:chOff x="7871316" y="1977281"/>
                <a:chExt cx="270949" cy="216855"/>
              </a:xfrm>
              <a:grpFill/>
            </p:grpSpPr>
            <p:sp>
              <p:nvSpPr>
                <p:cNvPr id="459" name="Freihandform: Form 458">
                  <a:extLst>
                    <a:ext uri="{FF2B5EF4-FFF2-40B4-BE49-F238E27FC236}">
                      <a16:creationId xmlns:a16="http://schemas.microsoft.com/office/drawing/2014/main" id="{52CE67C3-9FA5-4362-B805-36275BD4300A}"/>
                    </a:ext>
                  </a:extLst>
                </p:cNvPr>
                <p:cNvSpPr/>
                <p:nvPr/>
              </p:nvSpPr>
              <p:spPr>
                <a:xfrm>
                  <a:off x="8010214" y="1978098"/>
                  <a:ext cx="85727" cy="71906"/>
                </a:xfrm>
                <a:custGeom>
                  <a:avLst/>
                  <a:gdLst>
                    <a:gd name="connsiteX0" fmla="*/ 4944 w 85727"/>
                    <a:gd name="connsiteY0" fmla="*/ 71907 h 71906"/>
                    <a:gd name="connsiteX1" fmla="*/ 0 w 85727"/>
                    <a:gd name="connsiteY1" fmla="*/ 66963 h 71906"/>
                    <a:gd name="connsiteX2" fmla="*/ 4944 w 85727"/>
                    <a:gd name="connsiteY2" fmla="*/ 62018 h 71906"/>
                    <a:gd name="connsiteX3" fmla="*/ 34811 w 85727"/>
                    <a:gd name="connsiteY3" fmla="*/ 62018 h 71906"/>
                    <a:gd name="connsiteX4" fmla="*/ 45220 w 85727"/>
                    <a:gd name="connsiteY4" fmla="*/ 42994 h 71906"/>
                    <a:gd name="connsiteX5" fmla="*/ 31226 w 85727"/>
                    <a:gd name="connsiteY5" fmla="*/ 20499 h 71906"/>
                    <a:gd name="connsiteX6" fmla="*/ 29665 w 85727"/>
                    <a:gd name="connsiteY6" fmla="*/ 10380 h 71906"/>
                    <a:gd name="connsiteX7" fmla="*/ 35736 w 85727"/>
                    <a:gd name="connsiteY7" fmla="*/ 2111 h 71906"/>
                    <a:gd name="connsiteX8" fmla="*/ 54212 w 85727"/>
                    <a:gd name="connsiteY8" fmla="*/ 6158 h 71906"/>
                    <a:gd name="connsiteX9" fmla="*/ 59185 w 85727"/>
                    <a:gd name="connsiteY9" fmla="*/ 14138 h 71906"/>
                    <a:gd name="connsiteX10" fmla="*/ 59185 w 85727"/>
                    <a:gd name="connsiteY10" fmla="*/ 13271 h 71906"/>
                    <a:gd name="connsiteX11" fmla="*/ 72456 w 85727"/>
                    <a:gd name="connsiteY11" fmla="*/ 0 h 71906"/>
                    <a:gd name="connsiteX12" fmla="*/ 85727 w 85727"/>
                    <a:gd name="connsiteY12" fmla="*/ 13271 h 71906"/>
                    <a:gd name="connsiteX13" fmla="*/ 85698 w 85727"/>
                    <a:gd name="connsiteY13" fmla="*/ 47909 h 71906"/>
                    <a:gd name="connsiteX14" fmla="*/ 80754 w 85727"/>
                    <a:gd name="connsiteY14" fmla="*/ 52853 h 71906"/>
                    <a:gd name="connsiteX15" fmla="*/ 80754 w 85727"/>
                    <a:gd name="connsiteY15" fmla="*/ 52853 h 71906"/>
                    <a:gd name="connsiteX16" fmla="*/ 75810 w 85727"/>
                    <a:gd name="connsiteY16" fmla="*/ 47909 h 71906"/>
                    <a:gd name="connsiteX17" fmla="*/ 75839 w 85727"/>
                    <a:gd name="connsiteY17" fmla="*/ 13271 h 71906"/>
                    <a:gd name="connsiteX18" fmla="*/ 72456 w 85727"/>
                    <a:gd name="connsiteY18" fmla="*/ 9917 h 71906"/>
                    <a:gd name="connsiteX19" fmla="*/ 69073 w 85727"/>
                    <a:gd name="connsiteY19" fmla="*/ 13300 h 71906"/>
                    <a:gd name="connsiteX20" fmla="*/ 69073 w 85727"/>
                    <a:gd name="connsiteY20" fmla="*/ 31486 h 71906"/>
                    <a:gd name="connsiteX21" fmla="*/ 65488 w 85727"/>
                    <a:gd name="connsiteY21" fmla="*/ 36257 h 71906"/>
                    <a:gd name="connsiteX22" fmla="*/ 59937 w 85727"/>
                    <a:gd name="connsiteY22" fmla="*/ 34117 h 71906"/>
                    <a:gd name="connsiteX23" fmla="*/ 45827 w 85727"/>
                    <a:gd name="connsiteY23" fmla="*/ 11421 h 71906"/>
                    <a:gd name="connsiteX24" fmla="*/ 40970 w 85727"/>
                    <a:gd name="connsiteY24" fmla="*/ 10524 h 71906"/>
                    <a:gd name="connsiteX25" fmla="*/ 39264 w 85727"/>
                    <a:gd name="connsiteY25" fmla="*/ 12808 h 71906"/>
                    <a:gd name="connsiteX26" fmla="*/ 39640 w 85727"/>
                    <a:gd name="connsiteY26" fmla="*/ 15266 h 71906"/>
                    <a:gd name="connsiteX27" fmla="*/ 55166 w 85727"/>
                    <a:gd name="connsiteY27" fmla="*/ 40218 h 71906"/>
                    <a:gd name="connsiteX28" fmla="*/ 55311 w 85727"/>
                    <a:gd name="connsiteY28" fmla="*/ 45220 h 71906"/>
                    <a:gd name="connsiteX29" fmla="*/ 42097 w 85727"/>
                    <a:gd name="connsiteY29" fmla="*/ 69333 h 71906"/>
                    <a:gd name="connsiteX30" fmla="*/ 37760 w 85727"/>
                    <a:gd name="connsiteY30" fmla="*/ 71907 h 71906"/>
                    <a:gd name="connsiteX31" fmla="*/ 4944 w 85727"/>
                    <a:gd name="connsiteY31" fmla="*/ 71907 h 7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5727" h="71906">
                      <a:moveTo>
                        <a:pt x="4944" y="71907"/>
                      </a:moveTo>
                      <a:cubicBezTo>
                        <a:pt x="2226" y="71907"/>
                        <a:pt x="0" y="69680"/>
                        <a:pt x="0" y="66963"/>
                      </a:cubicBezTo>
                      <a:cubicBezTo>
                        <a:pt x="0" y="64216"/>
                        <a:pt x="2226" y="62018"/>
                        <a:pt x="4944" y="62018"/>
                      </a:cubicBezTo>
                      <a:lnTo>
                        <a:pt x="34811" y="62018"/>
                      </a:lnTo>
                      <a:lnTo>
                        <a:pt x="45220" y="42994"/>
                      </a:lnTo>
                      <a:lnTo>
                        <a:pt x="31226" y="20499"/>
                      </a:lnTo>
                      <a:cubicBezTo>
                        <a:pt x="29347" y="17463"/>
                        <a:pt x="28797" y="13878"/>
                        <a:pt x="29665" y="10380"/>
                      </a:cubicBezTo>
                      <a:cubicBezTo>
                        <a:pt x="30532" y="6939"/>
                        <a:pt x="32701" y="4019"/>
                        <a:pt x="35736" y="2111"/>
                      </a:cubicBezTo>
                      <a:cubicBezTo>
                        <a:pt x="42068" y="-1822"/>
                        <a:pt x="50337" y="0"/>
                        <a:pt x="54212" y="6158"/>
                      </a:cubicBezTo>
                      <a:lnTo>
                        <a:pt x="59185" y="14138"/>
                      </a:lnTo>
                      <a:lnTo>
                        <a:pt x="59185" y="13271"/>
                      </a:lnTo>
                      <a:cubicBezTo>
                        <a:pt x="59185" y="5956"/>
                        <a:pt x="65141" y="0"/>
                        <a:pt x="72456" y="0"/>
                      </a:cubicBezTo>
                      <a:cubicBezTo>
                        <a:pt x="79771" y="0"/>
                        <a:pt x="85727" y="5956"/>
                        <a:pt x="85727" y="13271"/>
                      </a:cubicBezTo>
                      <a:lnTo>
                        <a:pt x="85698" y="47909"/>
                      </a:lnTo>
                      <a:cubicBezTo>
                        <a:pt x="85698" y="50627"/>
                        <a:pt x="83472" y="52853"/>
                        <a:pt x="80754" y="52853"/>
                      </a:cubicBezTo>
                      <a:lnTo>
                        <a:pt x="80754" y="52853"/>
                      </a:lnTo>
                      <a:cubicBezTo>
                        <a:pt x="78007" y="52853"/>
                        <a:pt x="75810" y="50627"/>
                        <a:pt x="75810" y="47909"/>
                      </a:cubicBezTo>
                      <a:lnTo>
                        <a:pt x="75839" y="13271"/>
                      </a:lnTo>
                      <a:cubicBezTo>
                        <a:pt x="75839" y="11421"/>
                        <a:pt x="74335" y="9917"/>
                        <a:pt x="72456" y="9917"/>
                      </a:cubicBezTo>
                      <a:cubicBezTo>
                        <a:pt x="70606" y="9917"/>
                        <a:pt x="69073" y="11421"/>
                        <a:pt x="69073" y="13300"/>
                      </a:cubicBezTo>
                      <a:lnTo>
                        <a:pt x="69073" y="31486"/>
                      </a:lnTo>
                      <a:cubicBezTo>
                        <a:pt x="69073" y="33684"/>
                        <a:pt x="67599" y="35650"/>
                        <a:pt x="65488" y="36257"/>
                      </a:cubicBezTo>
                      <a:cubicBezTo>
                        <a:pt x="63377" y="36864"/>
                        <a:pt x="61093" y="35997"/>
                        <a:pt x="59937" y="34117"/>
                      </a:cubicBezTo>
                      <a:lnTo>
                        <a:pt x="45827" y="11421"/>
                      </a:lnTo>
                      <a:cubicBezTo>
                        <a:pt x="44844" y="9859"/>
                        <a:pt x="42676" y="9455"/>
                        <a:pt x="40970" y="10524"/>
                      </a:cubicBezTo>
                      <a:cubicBezTo>
                        <a:pt x="40102" y="11074"/>
                        <a:pt x="39495" y="11883"/>
                        <a:pt x="39264" y="12808"/>
                      </a:cubicBezTo>
                      <a:cubicBezTo>
                        <a:pt x="39033" y="13676"/>
                        <a:pt x="39177" y="14543"/>
                        <a:pt x="39640" y="15266"/>
                      </a:cubicBezTo>
                      <a:lnTo>
                        <a:pt x="55166" y="40218"/>
                      </a:lnTo>
                      <a:cubicBezTo>
                        <a:pt x="56120" y="41722"/>
                        <a:pt x="56178" y="43630"/>
                        <a:pt x="55311" y="45220"/>
                      </a:cubicBezTo>
                      <a:lnTo>
                        <a:pt x="42097" y="69333"/>
                      </a:lnTo>
                      <a:cubicBezTo>
                        <a:pt x="41230" y="70924"/>
                        <a:pt x="39553" y="71907"/>
                        <a:pt x="37760" y="71907"/>
                      </a:cubicBezTo>
                      <a:lnTo>
                        <a:pt x="4944" y="71907"/>
                      </a:lnTo>
                      <a:close/>
                    </a:path>
                  </a:pathLst>
                </a:custGeom>
                <a:grpFill/>
                <a:ln w="2890" cap="flat">
                  <a:noFill/>
                  <a:prstDash val="solid"/>
                  <a:miter/>
                </a:ln>
              </p:spPr>
              <p:txBody>
                <a:bodyPr rtlCol="0" anchor="ctr"/>
                <a:lstStyle/>
                <a:p>
                  <a:endParaRPr lang="en-GB" dirty="0"/>
                </a:p>
              </p:txBody>
            </p:sp>
            <p:sp>
              <p:nvSpPr>
                <p:cNvPr id="460" name="Freihandform: Form 459">
                  <a:extLst>
                    <a:ext uri="{FF2B5EF4-FFF2-40B4-BE49-F238E27FC236}">
                      <a16:creationId xmlns:a16="http://schemas.microsoft.com/office/drawing/2014/main" id="{AEF78324-0C6E-49F1-811F-F10589A42DAD}"/>
                    </a:ext>
                  </a:extLst>
                </p:cNvPr>
                <p:cNvSpPr/>
                <p:nvPr/>
              </p:nvSpPr>
              <p:spPr>
                <a:xfrm>
                  <a:off x="7923937" y="1977281"/>
                  <a:ext cx="218328" cy="201213"/>
                </a:xfrm>
                <a:custGeom>
                  <a:avLst/>
                  <a:gdLst>
                    <a:gd name="connsiteX0" fmla="*/ 4627 w 218328"/>
                    <a:gd name="connsiteY0" fmla="*/ 201214 h 201213"/>
                    <a:gd name="connsiteX1" fmla="*/ 4598 w 218328"/>
                    <a:gd name="connsiteY1" fmla="*/ 191325 h 201213"/>
                    <a:gd name="connsiteX2" fmla="*/ 61644 w 218328"/>
                    <a:gd name="connsiteY2" fmla="*/ 191239 h 201213"/>
                    <a:gd name="connsiteX3" fmla="*/ 125108 w 218328"/>
                    <a:gd name="connsiteY3" fmla="*/ 153767 h 201213"/>
                    <a:gd name="connsiteX4" fmla="*/ 207221 w 218328"/>
                    <a:gd name="connsiteY4" fmla="*/ 17038 h 201213"/>
                    <a:gd name="connsiteX5" fmla="*/ 208406 w 218328"/>
                    <a:gd name="connsiteY5" fmla="*/ 12874 h 201213"/>
                    <a:gd name="connsiteX6" fmla="*/ 206932 w 218328"/>
                    <a:gd name="connsiteY6" fmla="*/ 11226 h 201213"/>
                    <a:gd name="connsiteX7" fmla="*/ 200773 w 218328"/>
                    <a:gd name="connsiteY7" fmla="*/ 15129 h 201213"/>
                    <a:gd name="connsiteX8" fmla="*/ 145838 w 218328"/>
                    <a:gd name="connsiteY8" fmla="*/ 83422 h 201213"/>
                    <a:gd name="connsiteX9" fmla="*/ 111490 w 218328"/>
                    <a:gd name="connsiteY9" fmla="*/ 89060 h 201213"/>
                    <a:gd name="connsiteX10" fmla="*/ 84832 w 218328"/>
                    <a:gd name="connsiteY10" fmla="*/ 65322 h 201213"/>
                    <a:gd name="connsiteX11" fmla="*/ 84687 w 218328"/>
                    <a:gd name="connsiteY11" fmla="*/ 64571 h 201213"/>
                    <a:gd name="connsiteX12" fmla="*/ 78876 w 218328"/>
                    <a:gd name="connsiteY12" fmla="*/ 30656 h 201213"/>
                    <a:gd name="connsiteX13" fmla="*/ 78384 w 218328"/>
                    <a:gd name="connsiteY13" fmla="*/ 30714 h 201213"/>
                    <a:gd name="connsiteX14" fmla="*/ 63176 w 218328"/>
                    <a:gd name="connsiteY14" fmla="*/ 9925 h 201213"/>
                    <a:gd name="connsiteX15" fmla="*/ 63003 w 218328"/>
                    <a:gd name="connsiteY15" fmla="*/ 9925 h 201213"/>
                    <a:gd name="connsiteX16" fmla="*/ 60285 w 218328"/>
                    <a:gd name="connsiteY16" fmla="*/ 10677 h 201213"/>
                    <a:gd name="connsiteX17" fmla="*/ 61210 w 218328"/>
                    <a:gd name="connsiteY17" fmla="*/ 23399 h 201213"/>
                    <a:gd name="connsiteX18" fmla="*/ 62366 w 218328"/>
                    <a:gd name="connsiteY18" fmla="*/ 29499 h 201213"/>
                    <a:gd name="connsiteX19" fmla="*/ 67340 w 218328"/>
                    <a:gd name="connsiteY19" fmla="*/ 66479 h 201213"/>
                    <a:gd name="connsiteX20" fmla="*/ 58174 w 218328"/>
                    <a:gd name="connsiteY20" fmla="*/ 115226 h 201213"/>
                    <a:gd name="connsiteX21" fmla="*/ 26919 w 218328"/>
                    <a:gd name="connsiteY21" fmla="*/ 128497 h 201213"/>
                    <a:gd name="connsiteX22" fmla="*/ 6593 w 218328"/>
                    <a:gd name="connsiteY22" fmla="*/ 128324 h 201213"/>
                    <a:gd name="connsiteX23" fmla="*/ 5437 w 218328"/>
                    <a:gd name="connsiteY23" fmla="*/ 128497 h 201213"/>
                    <a:gd name="connsiteX24" fmla="*/ 5408 w 218328"/>
                    <a:gd name="connsiteY24" fmla="*/ 128237 h 201213"/>
                    <a:gd name="connsiteX25" fmla="*/ 1 w 218328"/>
                    <a:gd name="connsiteY25" fmla="*/ 123640 h 201213"/>
                    <a:gd name="connsiteX26" fmla="*/ 5148 w 218328"/>
                    <a:gd name="connsiteY26" fmla="*/ 118609 h 201213"/>
                    <a:gd name="connsiteX27" fmla="*/ 5928 w 218328"/>
                    <a:gd name="connsiteY27" fmla="*/ 118638 h 201213"/>
                    <a:gd name="connsiteX28" fmla="*/ 26832 w 218328"/>
                    <a:gd name="connsiteY28" fmla="*/ 118580 h 201213"/>
                    <a:gd name="connsiteX29" fmla="*/ 50512 w 218328"/>
                    <a:gd name="connsiteY29" fmla="*/ 108923 h 201213"/>
                    <a:gd name="connsiteX30" fmla="*/ 57567 w 218328"/>
                    <a:gd name="connsiteY30" fmla="*/ 68069 h 201213"/>
                    <a:gd name="connsiteX31" fmla="*/ 52565 w 218328"/>
                    <a:gd name="connsiteY31" fmla="*/ 30916 h 201213"/>
                    <a:gd name="connsiteX32" fmla="*/ 51495 w 218328"/>
                    <a:gd name="connsiteY32" fmla="*/ 25365 h 201213"/>
                    <a:gd name="connsiteX33" fmla="*/ 52478 w 218328"/>
                    <a:gd name="connsiteY33" fmla="*/ 4547 h 201213"/>
                    <a:gd name="connsiteX34" fmla="*/ 62598 w 218328"/>
                    <a:gd name="connsiteY34" fmla="*/ 8 h 201213"/>
                    <a:gd name="connsiteX35" fmla="*/ 88157 w 218328"/>
                    <a:gd name="connsiteY35" fmla="*/ 29239 h 201213"/>
                    <a:gd name="connsiteX36" fmla="*/ 88186 w 218328"/>
                    <a:gd name="connsiteY36" fmla="*/ 29441 h 201213"/>
                    <a:gd name="connsiteX37" fmla="*/ 94373 w 218328"/>
                    <a:gd name="connsiteY37" fmla="*/ 62662 h 201213"/>
                    <a:gd name="connsiteX38" fmla="*/ 114236 w 218328"/>
                    <a:gd name="connsiteY38" fmla="*/ 79490 h 201213"/>
                    <a:gd name="connsiteX39" fmla="*/ 138928 w 218328"/>
                    <a:gd name="connsiteY39" fmla="*/ 76194 h 201213"/>
                    <a:gd name="connsiteX40" fmla="*/ 192706 w 218328"/>
                    <a:gd name="connsiteY40" fmla="*/ 9202 h 201213"/>
                    <a:gd name="connsiteX41" fmla="*/ 211962 w 218328"/>
                    <a:gd name="connsiteY41" fmla="*/ 2639 h 201213"/>
                    <a:gd name="connsiteX42" fmla="*/ 218034 w 218328"/>
                    <a:gd name="connsiteY42" fmla="*/ 10677 h 201213"/>
                    <a:gd name="connsiteX43" fmla="*/ 215519 w 218328"/>
                    <a:gd name="connsiteY43" fmla="*/ 22329 h 201213"/>
                    <a:gd name="connsiteX44" fmla="*/ 133666 w 218328"/>
                    <a:gd name="connsiteY44" fmla="*/ 158625 h 201213"/>
                    <a:gd name="connsiteX45" fmla="*/ 61586 w 218328"/>
                    <a:gd name="connsiteY45" fmla="*/ 201069 h 201213"/>
                    <a:gd name="connsiteX46" fmla="*/ 4627 w 218328"/>
                    <a:gd name="connsiteY46" fmla="*/ 201214 h 201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8328" h="201213">
                      <a:moveTo>
                        <a:pt x="4627" y="201214"/>
                      </a:moveTo>
                      <a:lnTo>
                        <a:pt x="4598" y="191325"/>
                      </a:lnTo>
                      <a:cubicBezTo>
                        <a:pt x="4598" y="191325"/>
                        <a:pt x="42098" y="191239"/>
                        <a:pt x="61644" y="191239"/>
                      </a:cubicBezTo>
                      <a:cubicBezTo>
                        <a:pt x="74307" y="191239"/>
                        <a:pt x="105852" y="187596"/>
                        <a:pt x="125108" y="153767"/>
                      </a:cubicBezTo>
                      <a:cubicBezTo>
                        <a:pt x="138292" y="130608"/>
                        <a:pt x="206527" y="18165"/>
                        <a:pt x="207221" y="17038"/>
                      </a:cubicBezTo>
                      <a:cubicBezTo>
                        <a:pt x="207799" y="16141"/>
                        <a:pt x="208695" y="14175"/>
                        <a:pt x="208406" y="12874"/>
                      </a:cubicBezTo>
                      <a:cubicBezTo>
                        <a:pt x="208348" y="12643"/>
                        <a:pt x="208204" y="11978"/>
                        <a:pt x="206932" y="11226"/>
                      </a:cubicBezTo>
                      <a:cubicBezTo>
                        <a:pt x="204561" y="9809"/>
                        <a:pt x="200802" y="15072"/>
                        <a:pt x="200773" y="15129"/>
                      </a:cubicBezTo>
                      <a:cubicBezTo>
                        <a:pt x="146243" y="83046"/>
                        <a:pt x="146214" y="83075"/>
                        <a:pt x="145838" y="83422"/>
                      </a:cubicBezTo>
                      <a:cubicBezTo>
                        <a:pt x="138176" y="90968"/>
                        <a:pt x="125310" y="93137"/>
                        <a:pt x="111490" y="89060"/>
                      </a:cubicBezTo>
                      <a:cubicBezTo>
                        <a:pt x="97611" y="84954"/>
                        <a:pt x="87145" y="75644"/>
                        <a:pt x="84832" y="65322"/>
                      </a:cubicBezTo>
                      <a:cubicBezTo>
                        <a:pt x="84832" y="65265"/>
                        <a:pt x="84687" y="64629"/>
                        <a:pt x="84687" y="64571"/>
                      </a:cubicBezTo>
                      <a:cubicBezTo>
                        <a:pt x="80900" y="44736"/>
                        <a:pt x="79107" y="35311"/>
                        <a:pt x="78876" y="30656"/>
                      </a:cubicBezTo>
                      <a:lnTo>
                        <a:pt x="78384" y="30714"/>
                      </a:lnTo>
                      <a:cubicBezTo>
                        <a:pt x="76967" y="21057"/>
                        <a:pt x="68785" y="9925"/>
                        <a:pt x="63176" y="9925"/>
                      </a:cubicBezTo>
                      <a:cubicBezTo>
                        <a:pt x="63118" y="9925"/>
                        <a:pt x="63060" y="9925"/>
                        <a:pt x="63003" y="9925"/>
                      </a:cubicBezTo>
                      <a:cubicBezTo>
                        <a:pt x="61644" y="9983"/>
                        <a:pt x="60632" y="10272"/>
                        <a:pt x="60285" y="10677"/>
                      </a:cubicBezTo>
                      <a:cubicBezTo>
                        <a:pt x="58955" y="12383"/>
                        <a:pt x="60314" y="19004"/>
                        <a:pt x="61210" y="23399"/>
                      </a:cubicBezTo>
                      <a:cubicBezTo>
                        <a:pt x="61615" y="25451"/>
                        <a:pt x="62048" y="27504"/>
                        <a:pt x="62366" y="29499"/>
                      </a:cubicBezTo>
                      <a:lnTo>
                        <a:pt x="67340" y="66479"/>
                      </a:lnTo>
                      <a:cubicBezTo>
                        <a:pt x="67542" y="67462"/>
                        <a:pt x="73035" y="97127"/>
                        <a:pt x="58174" y="115226"/>
                      </a:cubicBezTo>
                      <a:cubicBezTo>
                        <a:pt x="50975" y="123958"/>
                        <a:pt x="40479" y="128411"/>
                        <a:pt x="26919" y="128497"/>
                      </a:cubicBezTo>
                      <a:cubicBezTo>
                        <a:pt x="16828" y="128526"/>
                        <a:pt x="10525" y="128584"/>
                        <a:pt x="6593" y="128324"/>
                      </a:cubicBezTo>
                      <a:cubicBezTo>
                        <a:pt x="6217" y="128411"/>
                        <a:pt x="5813" y="128469"/>
                        <a:pt x="5437" y="128497"/>
                      </a:cubicBezTo>
                      <a:lnTo>
                        <a:pt x="5408" y="128237"/>
                      </a:lnTo>
                      <a:cubicBezTo>
                        <a:pt x="59" y="127746"/>
                        <a:pt x="59" y="126560"/>
                        <a:pt x="1" y="123640"/>
                      </a:cubicBezTo>
                      <a:cubicBezTo>
                        <a:pt x="-57" y="120922"/>
                        <a:pt x="2430" y="118667"/>
                        <a:pt x="5148" y="118609"/>
                      </a:cubicBezTo>
                      <a:cubicBezTo>
                        <a:pt x="5466" y="118580"/>
                        <a:pt x="5697" y="118609"/>
                        <a:pt x="5928" y="118638"/>
                      </a:cubicBezTo>
                      <a:cubicBezTo>
                        <a:pt x="7461" y="118638"/>
                        <a:pt x="12260" y="118667"/>
                        <a:pt x="26832" y="118580"/>
                      </a:cubicBezTo>
                      <a:cubicBezTo>
                        <a:pt x="37328" y="118522"/>
                        <a:pt x="45279" y="115284"/>
                        <a:pt x="50512" y="108923"/>
                      </a:cubicBezTo>
                      <a:cubicBezTo>
                        <a:pt x="62453" y="94409"/>
                        <a:pt x="57625" y="68329"/>
                        <a:pt x="57567" y="68069"/>
                      </a:cubicBezTo>
                      <a:lnTo>
                        <a:pt x="52565" y="30916"/>
                      </a:lnTo>
                      <a:cubicBezTo>
                        <a:pt x="52276" y="29181"/>
                        <a:pt x="51900" y="27273"/>
                        <a:pt x="51495" y="25365"/>
                      </a:cubicBezTo>
                      <a:cubicBezTo>
                        <a:pt x="49934" y="17761"/>
                        <a:pt x="48315" y="9867"/>
                        <a:pt x="52478" y="4547"/>
                      </a:cubicBezTo>
                      <a:cubicBezTo>
                        <a:pt x="54704" y="1714"/>
                        <a:pt x="58087" y="181"/>
                        <a:pt x="62598" y="8"/>
                      </a:cubicBezTo>
                      <a:cubicBezTo>
                        <a:pt x="75348" y="-426"/>
                        <a:pt x="86364" y="16980"/>
                        <a:pt x="88157" y="29239"/>
                      </a:cubicBezTo>
                      <a:cubicBezTo>
                        <a:pt x="88157" y="29297"/>
                        <a:pt x="88186" y="29384"/>
                        <a:pt x="88186" y="29441"/>
                      </a:cubicBezTo>
                      <a:cubicBezTo>
                        <a:pt x="88301" y="30135"/>
                        <a:pt x="89053" y="34617"/>
                        <a:pt x="94373" y="62662"/>
                      </a:cubicBezTo>
                      <a:cubicBezTo>
                        <a:pt x="95963" y="69862"/>
                        <a:pt x="103914" y="76454"/>
                        <a:pt x="114236" y="79490"/>
                      </a:cubicBezTo>
                      <a:cubicBezTo>
                        <a:pt x="124385" y="82497"/>
                        <a:pt x="133839" y="81225"/>
                        <a:pt x="138928" y="76194"/>
                      </a:cubicBezTo>
                      <a:cubicBezTo>
                        <a:pt x="139593" y="75355"/>
                        <a:pt x="174433" y="31986"/>
                        <a:pt x="192706" y="9202"/>
                      </a:cubicBezTo>
                      <a:cubicBezTo>
                        <a:pt x="196638" y="3131"/>
                        <a:pt x="204590" y="-1785"/>
                        <a:pt x="211962" y="2639"/>
                      </a:cubicBezTo>
                      <a:cubicBezTo>
                        <a:pt x="216039" y="5097"/>
                        <a:pt x="217514" y="8364"/>
                        <a:pt x="218034" y="10677"/>
                      </a:cubicBezTo>
                      <a:cubicBezTo>
                        <a:pt x="219335" y="16488"/>
                        <a:pt x="215923" y="21722"/>
                        <a:pt x="215519" y="22329"/>
                      </a:cubicBezTo>
                      <a:cubicBezTo>
                        <a:pt x="214969" y="23254"/>
                        <a:pt x="146792" y="135581"/>
                        <a:pt x="133666" y="158625"/>
                      </a:cubicBezTo>
                      <a:cubicBezTo>
                        <a:pt x="111837" y="196935"/>
                        <a:pt x="75985" y="201069"/>
                        <a:pt x="61586" y="201069"/>
                      </a:cubicBezTo>
                      <a:cubicBezTo>
                        <a:pt x="42098" y="201127"/>
                        <a:pt x="4627" y="201214"/>
                        <a:pt x="4627" y="201214"/>
                      </a:cubicBezTo>
                      <a:close/>
                    </a:path>
                  </a:pathLst>
                </a:custGeom>
                <a:grpFill/>
                <a:ln w="2890" cap="flat">
                  <a:noFill/>
                  <a:prstDash val="solid"/>
                  <a:miter/>
                </a:ln>
              </p:spPr>
              <p:txBody>
                <a:bodyPr rtlCol="0" anchor="ctr"/>
                <a:lstStyle/>
                <a:p>
                  <a:endParaRPr lang="en-GB" dirty="0"/>
                </a:p>
              </p:txBody>
            </p:sp>
            <p:sp>
              <p:nvSpPr>
                <p:cNvPr id="461" name="Freihandform: Form 460">
                  <a:extLst>
                    <a:ext uri="{FF2B5EF4-FFF2-40B4-BE49-F238E27FC236}">
                      <a16:creationId xmlns:a16="http://schemas.microsoft.com/office/drawing/2014/main" id="{0381A882-A64D-4548-B308-698B229291CC}"/>
                    </a:ext>
                  </a:extLst>
                </p:cNvPr>
                <p:cNvSpPr/>
                <p:nvPr/>
              </p:nvSpPr>
              <p:spPr>
                <a:xfrm>
                  <a:off x="7871316" y="2081607"/>
                  <a:ext cx="61208" cy="112529"/>
                </a:xfrm>
                <a:custGeom>
                  <a:avLst/>
                  <a:gdLst>
                    <a:gd name="connsiteX0" fmla="*/ 56265 w 61208"/>
                    <a:gd name="connsiteY0" fmla="*/ 112530 h 112529"/>
                    <a:gd name="connsiteX1" fmla="*/ 4944 w 61208"/>
                    <a:gd name="connsiteY1" fmla="*/ 112530 h 112529"/>
                    <a:gd name="connsiteX2" fmla="*/ 0 w 61208"/>
                    <a:gd name="connsiteY2" fmla="*/ 107585 h 112529"/>
                    <a:gd name="connsiteX3" fmla="*/ 4944 w 61208"/>
                    <a:gd name="connsiteY3" fmla="*/ 102641 h 112529"/>
                    <a:gd name="connsiteX4" fmla="*/ 51321 w 61208"/>
                    <a:gd name="connsiteY4" fmla="*/ 102641 h 112529"/>
                    <a:gd name="connsiteX5" fmla="*/ 51321 w 61208"/>
                    <a:gd name="connsiteY5" fmla="*/ 9888 h 112529"/>
                    <a:gd name="connsiteX6" fmla="*/ 4944 w 61208"/>
                    <a:gd name="connsiteY6" fmla="*/ 9888 h 112529"/>
                    <a:gd name="connsiteX7" fmla="*/ 0 w 61208"/>
                    <a:gd name="connsiteY7" fmla="*/ 4944 h 112529"/>
                    <a:gd name="connsiteX8" fmla="*/ 4944 w 61208"/>
                    <a:gd name="connsiteY8" fmla="*/ 0 h 112529"/>
                    <a:gd name="connsiteX9" fmla="*/ 56265 w 61208"/>
                    <a:gd name="connsiteY9" fmla="*/ 0 h 112529"/>
                    <a:gd name="connsiteX10" fmla="*/ 61209 w 61208"/>
                    <a:gd name="connsiteY10" fmla="*/ 4944 h 112529"/>
                    <a:gd name="connsiteX11" fmla="*/ 61209 w 61208"/>
                    <a:gd name="connsiteY11" fmla="*/ 107585 h 112529"/>
                    <a:gd name="connsiteX12" fmla="*/ 56265 w 61208"/>
                    <a:gd name="connsiteY12" fmla="*/ 112530 h 112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208" h="112529">
                      <a:moveTo>
                        <a:pt x="56265" y="112530"/>
                      </a:moveTo>
                      <a:lnTo>
                        <a:pt x="4944" y="112530"/>
                      </a:lnTo>
                      <a:cubicBezTo>
                        <a:pt x="2226" y="112530"/>
                        <a:pt x="0" y="110303"/>
                        <a:pt x="0" y="107585"/>
                      </a:cubicBezTo>
                      <a:cubicBezTo>
                        <a:pt x="0" y="104868"/>
                        <a:pt x="2226" y="102641"/>
                        <a:pt x="4944" y="102641"/>
                      </a:cubicBezTo>
                      <a:lnTo>
                        <a:pt x="51321" y="102641"/>
                      </a:lnTo>
                      <a:lnTo>
                        <a:pt x="51321" y="9888"/>
                      </a:lnTo>
                      <a:lnTo>
                        <a:pt x="4944" y="9888"/>
                      </a:lnTo>
                      <a:cubicBezTo>
                        <a:pt x="2226" y="9888"/>
                        <a:pt x="0" y="7662"/>
                        <a:pt x="0" y="4944"/>
                      </a:cubicBezTo>
                      <a:cubicBezTo>
                        <a:pt x="0" y="2197"/>
                        <a:pt x="2226" y="0"/>
                        <a:pt x="4944" y="0"/>
                      </a:cubicBezTo>
                      <a:lnTo>
                        <a:pt x="56265" y="0"/>
                      </a:lnTo>
                      <a:cubicBezTo>
                        <a:pt x="59012" y="0"/>
                        <a:pt x="61209" y="2226"/>
                        <a:pt x="61209" y="4944"/>
                      </a:cubicBezTo>
                      <a:lnTo>
                        <a:pt x="61209" y="107585"/>
                      </a:lnTo>
                      <a:cubicBezTo>
                        <a:pt x="61209" y="110303"/>
                        <a:pt x="59012" y="112530"/>
                        <a:pt x="56265" y="112530"/>
                      </a:cubicBezTo>
                      <a:close/>
                    </a:path>
                  </a:pathLst>
                </a:custGeom>
                <a:grpFill/>
                <a:ln w="2890" cap="flat">
                  <a:noFill/>
                  <a:prstDash val="solid"/>
                  <a:miter/>
                </a:ln>
              </p:spPr>
              <p:txBody>
                <a:bodyPr rtlCol="0" anchor="ctr"/>
                <a:lstStyle/>
                <a:p>
                  <a:endParaRPr lang="en-GB" dirty="0"/>
                </a:p>
              </p:txBody>
            </p:sp>
          </p:grpSp>
          <p:sp>
            <p:nvSpPr>
              <p:cNvPr id="458" name="Freihandform: Form 457">
                <a:extLst>
                  <a:ext uri="{FF2B5EF4-FFF2-40B4-BE49-F238E27FC236}">
                    <a16:creationId xmlns:a16="http://schemas.microsoft.com/office/drawing/2014/main" id="{98990963-1472-4A41-9E9D-0B17EAB08504}"/>
                  </a:ext>
                </a:extLst>
              </p:cNvPr>
              <p:cNvSpPr/>
              <p:nvPr/>
            </p:nvSpPr>
            <p:spPr>
              <a:xfrm>
                <a:off x="7829248" y="1944935"/>
                <a:ext cx="435170" cy="9888"/>
              </a:xfrm>
              <a:custGeom>
                <a:avLst/>
                <a:gdLst>
                  <a:gd name="connsiteX0" fmla="*/ 430197 w 435170"/>
                  <a:gd name="connsiteY0" fmla="*/ 9888 h 9888"/>
                  <a:gd name="connsiteX1" fmla="*/ 4944 w 435170"/>
                  <a:gd name="connsiteY1" fmla="*/ 9888 h 9888"/>
                  <a:gd name="connsiteX2" fmla="*/ 0 w 435170"/>
                  <a:gd name="connsiteY2" fmla="*/ 4944 h 9888"/>
                  <a:gd name="connsiteX3" fmla="*/ 4944 w 435170"/>
                  <a:gd name="connsiteY3" fmla="*/ 0 h 9888"/>
                  <a:gd name="connsiteX4" fmla="*/ 430226 w 435170"/>
                  <a:gd name="connsiteY4" fmla="*/ 0 h 9888"/>
                  <a:gd name="connsiteX5" fmla="*/ 435170 w 435170"/>
                  <a:gd name="connsiteY5" fmla="*/ 4944 h 9888"/>
                  <a:gd name="connsiteX6" fmla="*/ 430197 w 435170"/>
                  <a:gd name="connsiteY6" fmla="*/ 9888 h 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5170" h="9888">
                    <a:moveTo>
                      <a:pt x="430197" y="9888"/>
                    </a:moveTo>
                    <a:lnTo>
                      <a:pt x="4944" y="9888"/>
                    </a:lnTo>
                    <a:cubicBezTo>
                      <a:pt x="2226" y="9888"/>
                      <a:pt x="0" y="7662"/>
                      <a:pt x="0" y="4944"/>
                    </a:cubicBezTo>
                    <a:cubicBezTo>
                      <a:pt x="0" y="2197"/>
                      <a:pt x="2226" y="0"/>
                      <a:pt x="4944" y="0"/>
                    </a:cubicBezTo>
                    <a:lnTo>
                      <a:pt x="430226" y="0"/>
                    </a:lnTo>
                    <a:cubicBezTo>
                      <a:pt x="432973" y="0"/>
                      <a:pt x="435170" y="2226"/>
                      <a:pt x="435170" y="4944"/>
                    </a:cubicBezTo>
                    <a:cubicBezTo>
                      <a:pt x="435141" y="7691"/>
                      <a:pt x="432944" y="9888"/>
                      <a:pt x="430197" y="9888"/>
                    </a:cubicBezTo>
                    <a:close/>
                  </a:path>
                </a:pathLst>
              </a:custGeom>
              <a:grpFill/>
              <a:ln w="2890" cap="flat">
                <a:noFill/>
                <a:prstDash val="solid"/>
                <a:miter/>
              </a:ln>
            </p:spPr>
            <p:txBody>
              <a:bodyPr rtlCol="0" anchor="ctr"/>
              <a:lstStyle/>
              <a:p>
                <a:endParaRPr lang="en-GB" dirty="0"/>
              </a:p>
            </p:txBody>
          </p:sp>
        </p:grpSp>
      </p:grpSp>
      <p:sp>
        <p:nvSpPr>
          <p:cNvPr id="475" name="TextBox 1415">
            <a:extLst>
              <a:ext uri="{FF2B5EF4-FFF2-40B4-BE49-F238E27FC236}">
                <a16:creationId xmlns:a16="http://schemas.microsoft.com/office/drawing/2014/main" id="{BD0F020C-8394-49E3-B74B-DEC9D99CD6F9}"/>
              </a:ext>
            </a:extLst>
          </p:cNvPr>
          <p:cNvSpPr txBox="1"/>
          <p:nvPr/>
        </p:nvSpPr>
        <p:spPr>
          <a:xfrm>
            <a:off x="7136518" y="2077494"/>
            <a:ext cx="333425" cy="107722"/>
          </a:xfrm>
          <a:prstGeom prst="rect">
            <a:avLst/>
          </a:prstGeom>
          <a:noFill/>
          <a:effectLst/>
        </p:spPr>
        <p:txBody>
          <a:bodyPr wrap="none" lIns="0" tIns="0" rIns="0" bIns="0" rtlCol="0" anchor="t" anchorCtr="0">
            <a:spAutoFit/>
          </a:bodyPr>
          <a:lstStyle/>
          <a:p>
            <a:pPr algn="ctr"/>
            <a:r>
              <a:rPr lang="en-GB" sz="700" dirty="0">
                <a:solidFill>
                  <a:schemeClr val="tx2"/>
                </a:solidFill>
              </a:rPr>
              <a:t>Speaker</a:t>
            </a:r>
          </a:p>
        </p:txBody>
      </p:sp>
      <p:sp>
        <p:nvSpPr>
          <p:cNvPr id="476" name="TextBox 1413">
            <a:extLst>
              <a:ext uri="{FF2B5EF4-FFF2-40B4-BE49-F238E27FC236}">
                <a16:creationId xmlns:a16="http://schemas.microsoft.com/office/drawing/2014/main" id="{BFF56BB6-AC3F-4002-8F61-041EE9CD04B4}"/>
              </a:ext>
            </a:extLst>
          </p:cNvPr>
          <p:cNvSpPr txBox="1"/>
          <p:nvPr/>
        </p:nvSpPr>
        <p:spPr>
          <a:xfrm>
            <a:off x="5036136" y="2077494"/>
            <a:ext cx="354264" cy="107722"/>
          </a:xfrm>
          <a:prstGeom prst="rect">
            <a:avLst/>
          </a:prstGeom>
          <a:noFill/>
          <a:effectLst/>
        </p:spPr>
        <p:txBody>
          <a:bodyPr wrap="none" lIns="0" tIns="0" rIns="0" bIns="0" rtlCol="0" anchor="t" anchorCtr="0">
            <a:spAutoFit/>
          </a:bodyPr>
          <a:lstStyle/>
          <a:p>
            <a:pPr algn="ctr"/>
            <a:r>
              <a:rPr lang="en-GB" sz="700" dirty="0">
                <a:solidFill>
                  <a:schemeClr val="tx2"/>
                </a:solidFill>
              </a:rPr>
              <a:t>Features</a:t>
            </a:r>
          </a:p>
        </p:txBody>
      </p:sp>
      <p:sp>
        <p:nvSpPr>
          <p:cNvPr id="477" name="TextBox 1416">
            <a:extLst>
              <a:ext uri="{FF2B5EF4-FFF2-40B4-BE49-F238E27FC236}">
                <a16:creationId xmlns:a16="http://schemas.microsoft.com/office/drawing/2014/main" id="{D92D9C57-6B62-4DC6-B2DD-F3ECBF7970F8}"/>
              </a:ext>
            </a:extLst>
          </p:cNvPr>
          <p:cNvSpPr txBox="1"/>
          <p:nvPr/>
        </p:nvSpPr>
        <p:spPr>
          <a:xfrm>
            <a:off x="6042297" y="2077494"/>
            <a:ext cx="432811" cy="107722"/>
          </a:xfrm>
          <a:prstGeom prst="rect">
            <a:avLst/>
          </a:prstGeom>
          <a:noFill/>
          <a:effectLst/>
        </p:spPr>
        <p:txBody>
          <a:bodyPr wrap="none" lIns="0" tIns="0" rIns="0" bIns="0" rtlCol="0" anchor="t" anchorCtr="0">
            <a:spAutoFit/>
          </a:bodyPr>
          <a:lstStyle/>
          <a:p>
            <a:pPr algn="ctr"/>
            <a:r>
              <a:rPr lang="en-GB" sz="700" dirty="0">
                <a:solidFill>
                  <a:schemeClr val="tx2"/>
                </a:solidFill>
              </a:rPr>
              <a:t>Assistance</a:t>
            </a:r>
          </a:p>
        </p:txBody>
      </p:sp>
      <p:grpSp>
        <p:nvGrpSpPr>
          <p:cNvPr id="38" name="Group 37">
            <a:extLst>
              <a:ext uri="{FF2B5EF4-FFF2-40B4-BE49-F238E27FC236}">
                <a16:creationId xmlns:a16="http://schemas.microsoft.com/office/drawing/2014/main" id="{6086BFC6-78D5-4DF5-428E-DD17BB1968A5}"/>
              </a:ext>
            </a:extLst>
          </p:cNvPr>
          <p:cNvGrpSpPr/>
          <p:nvPr/>
        </p:nvGrpSpPr>
        <p:grpSpPr>
          <a:xfrm>
            <a:off x="7028474" y="2449347"/>
            <a:ext cx="453131" cy="431995"/>
            <a:chOff x="6938318" y="2449347"/>
            <a:chExt cx="453131" cy="431995"/>
          </a:xfrm>
        </p:grpSpPr>
        <p:grpSp>
          <p:nvGrpSpPr>
            <p:cNvPr id="480" name="Grafik 53">
              <a:extLst>
                <a:ext uri="{FF2B5EF4-FFF2-40B4-BE49-F238E27FC236}">
                  <a16:creationId xmlns:a16="http://schemas.microsoft.com/office/drawing/2014/main" id="{B4D90D87-FB85-42B7-9043-4B39BCF9F679}"/>
                </a:ext>
              </a:extLst>
            </p:cNvPr>
            <p:cNvGrpSpPr/>
            <p:nvPr/>
          </p:nvGrpSpPr>
          <p:grpSpPr>
            <a:xfrm>
              <a:off x="7080963" y="2449347"/>
              <a:ext cx="169986" cy="431993"/>
              <a:chOff x="7107811" y="2511890"/>
              <a:chExt cx="206150" cy="523894"/>
            </a:xfrm>
            <a:solidFill>
              <a:schemeClr val="accent1"/>
            </a:solidFill>
          </p:grpSpPr>
          <p:grpSp>
            <p:nvGrpSpPr>
              <p:cNvPr id="500" name="Grafik 53">
                <a:extLst>
                  <a:ext uri="{FF2B5EF4-FFF2-40B4-BE49-F238E27FC236}">
                    <a16:creationId xmlns:a16="http://schemas.microsoft.com/office/drawing/2014/main" id="{72FD662B-7FB2-45DD-8C4E-8C7E8D39EBE2}"/>
                  </a:ext>
                </a:extLst>
              </p:cNvPr>
              <p:cNvGrpSpPr/>
              <p:nvPr/>
            </p:nvGrpSpPr>
            <p:grpSpPr>
              <a:xfrm>
                <a:off x="7107811" y="2642366"/>
                <a:ext cx="206150" cy="393418"/>
                <a:chOff x="7108020" y="2642379"/>
                <a:chExt cx="206163" cy="393421"/>
              </a:xfrm>
              <a:solidFill>
                <a:schemeClr val="accent1"/>
              </a:solidFill>
            </p:grpSpPr>
            <p:sp>
              <p:nvSpPr>
                <p:cNvPr id="502" name="Freihandform: Form 501">
                  <a:extLst>
                    <a:ext uri="{FF2B5EF4-FFF2-40B4-BE49-F238E27FC236}">
                      <a16:creationId xmlns:a16="http://schemas.microsoft.com/office/drawing/2014/main" id="{84178208-D804-44C1-849F-DE4ED9713D15}"/>
                    </a:ext>
                  </a:extLst>
                </p:cNvPr>
                <p:cNvSpPr/>
                <p:nvPr/>
              </p:nvSpPr>
              <p:spPr>
                <a:xfrm>
                  <a:off x="7108020" y="2642379"/>
                  <a:ext cx="85180" cy="251919"/>
                </a:xfrm>
                <a:custGeom>
                  <a:avLst/>
                  <a:gdLst>
                    <a:gd name="connsiteX0" fmla="*/ 23824 w 85177"/>
                    <a:gd name="connsiteY0" fmla="*/ 251919 h 251919"/>
                    <a:gd name="connsiteX1" fmla="*/ 0 w 85177"/>
                    <a:gd name="connsiteY1" fmla="*/ 228095 h 251919"/>
                    <a:gd name="connsiteX2" fmla="*/ 0 w 85177"/>
                    <a:gd name="connsiteY2" fmla="*/ 44439 h 251919"/>
                    <a:gd name="connsiteX3" fmla="*/ 40189 w 85177"/>
                    <a:gd name="connsiteY3" fmla="*/ 9281 h 251919"/>
                    <a:gd name="connsiteX4" fmla="*/ 69189 w 85177"/>
                    <a:gd name="connsiteY4" fmla="*/ 9281 h 251919"/>
                    <a:gd name="connsiteX5" fmla="*/ 75261 w 85177"/>
                    <a:gd name="connsiteY5" fmla="*/ 4886 h 251919"/>
                    <a:gd name="connsiteX6" fmla="*/ 80291 w 85177"/>
                    <a:gd name="connsiteY6" fmla="*/ 0 h 251919"/>
                    <a:gd name="connsiteX7" fmla="*/ 85178 w 85177"/>
                    <a:gd name="connsiteY7" fmla="*/ 5031 h 251919"/>
                    <a:gd name="connsiteX8" fmla="*/ 69738 w 85177"/>
                    <a:gd name="connsiteY8" fmla="*/ 19140 h 251919"/>
                    <a:gd name="connsiteX9" fmla="*/ 40247 w 85177"/>
                    <a:gd name="connsiteY9" fmla="*/ 19169 h 251919"/>
                    <a:gd name="connsiteX10" fmla="*/ 9946 w 85177"/>
                    <a:gd name="connsiteY10" fmla="*/ 44410 h 251919"/>
                    <a:gd name="connsiteX11" fmla="*/ 9946 w 85177"/>
                    <a:gd name="connsiteY11" fmla="*/ 228066 h 251919"/>
                    <a:gd name="connsiteX12" fmla="*/ 23882 w 85177"/>
                    <a:gd name="connsiteY12" fmla="*/ 242002 h 251919"/>
                    <a:gd name="connsiteX13" fmla="*/ 37818 w 85177"/>
                    <a:gd name="connsiteY13" fmla="*/ 228066 h 251919"/>
                    <a:gd name="connsiteX14" fmla="*/ 37818 w 85177"/>
                    <a:gd name="connsiteY14" fmla="*/ 79973 h 251919"/>
                    <a:gd name="connsiteX15" fmla="*/ 42762 w 85177"/>
                    <a:gd name="connsiteY15" fmla="*/ 75029 h 251919"/>
                    <a:gd name="connsiteX16" fmla="*/ 47706 w 85177"/>
                    <a:gd name="connsiteY16" fmla="*/ 79973 h 251919"/>
                    <a:gd name="connsiteX17" fmla="*/ 47706 w 85177"/>
                    <a:gd name="connsiteY17" fmla="*/ 228066 h 251919"/>
                    <a:gd name="connsiteX18" fmla="*/ 23824 w 85177"/>
                    <a:gd name="connsiteY18" fmla="*/ 251919 h 25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177" h="251919">
                      <a:moveTo>
                        <a:pt x="23824" y="251919"/>
                      </a:moveTo>
                      <a:cubicBezTo>
                        <a:pt x="10669" y="251919"/>
                        <a:pt x="0" y="241221"/>
                        <a:pt x="0" y="228095"/>
                      </a:cubicBezTo>
                      <a:lnTo>
                        <a:pt x="0" y="44439"/>
                      </a:lnTo>
                      <a:cubicBezTo>
                        <a:pt x="0" y="16625"/>
                        <a:pt x="26282" y="9281"/>
                        <a:pt x="40189" y="9281"/>
                      </a:cubicBezTo>
                      <a:lnTo>
                        <a:pt x="69189" y="9281"/>
                      </a:lnTo>
                      <a:cubicBezTo>
                        <a:pt x="69044" y="9252"/>
                        <a:pt x="75203" y="8385"/>
                        <a:pt x="75261" y="4886"/>
                      </a:cubicBezTo>
                      <a:cubicBezTo>
                        <a:pt x="75318" y="2140"/>
                        <a:pt x="77747" y="202"/>
                        <a:pt x="80291" y="0"/>
                      </a:cubicBezTo>
                      <a:cubicBezTo>
                        <a:pt x="83038" y="58"/>
                        <a:pt x="85207" y="2284"/>
                        <a:pt x="85178" y="5031"/>
                      </a:cubicBezTo>
                      <a:cubicBezTo>
                        <a:pt x="85033" y="14977"/>
                        <a:pt x="75000" y="18620"/>
                        <a:pt x="69738" y="19140"/>
                      </a:cubicBezTo>
                      <a:lnTo>
                        <a:pt x="40247" y="19169"/>
                      </a:lnTo>
                      <a:cubicBezTo>
                        <a:pt x="39033" y="19169"/>
                        <a:pt x="9946" y="19603"/>
                        <a:pt x="9946" y="44410"/>
                      </a:cubicBezTo>
                      <a:lnTo>
                        <a:pt x="9946" y="228066"/>
                      </a:lnTo>
                      <a:cubicBezTo>
                        <a:pt x="9946" y="235757"/>
                        <a:pt x="16191" y="242002"/>
                        <a:pt x="23882" y="242002"/>
                      </a:cubicBezTo>
                      <a:cubicBezTo>
                        <a:pt x="31573" y="242002"/>
                        <a:pt x="37818" y="235757"/>
                        <a:pt x="37818" y="228066"/>
                      </a:cubicBezTo>
                      <a:lnTo>
                        <a:pt x="37818" y="79973"/>
                      </a:lnTo>
                      <a:cubicBezTo>
                        <a:pt x="37818" y="77227"/>
                        <a:pt x="40044" y="75029"/>
                        <a:pt x="42762" y="75029"/>
                      </a:cubicBezTo>
                      <a:cubicBezTo>
                        <a:pt x="45480" y="75029"/>
                        <a:pt x="47706" y="77256"/>
                        <a:pt x="47706" y="79973"/>
                      </a:cubicBezTo>
                      <a:lnTo>
                        <a:pt x="47706" y="228066"/>
                      </a:lnTo>
                      <a:cubicBezTo>
                        <a:pt x="47649" y="241250"/>
                        <a:pt x="36951" y="251919"/>
                        <a:pt x="23824" y="251919"/>
                      </a:cubicBezTo>
                      <a:close/>
                    </a:path>
                  </a:pathLst>
                </a:custGeom>
                <a:solidFill>
                  <a:schemeClr val="accent1"/>
                </a:solidFill>
                <a:ln w="2890" cap="flat">
                  <a:noFill/>
                  <a:prstDash val="solid"/>
                  <a:miter/>
                </a:ln>
              </p:spPr>
              <p:txBody>
                <a:bodyPr rtlCol="0" anchor="ctr"/>
                <a:lstStyle/>
                <a:p>
                  <a:endParaRPr lang="en-GB" dirty="0"/>
                </a:p>
              </p:txBody>
            </p:sp>
            <p:sp>
              <p:nvSpPr>
                <p:cNvPr id="503" name="Freihandform: Form 502">
                  <a:extLst>
                    <a:ext uri="{FF2B5EF4-FFF2-40B4-BE49-F238E27FC236}">
                      <a16:creationId xmlns:a16="http://schemas.microsoft.com/office/drawing/2014/main" id="{6FEC2337-19C2-4DD2-AFE7-355EBA12B051}"/>
                    </a:ext>
                  </a:extLst>
                </p:cNvPr>
                <p:cNvSpPr/>
                <p:nvPr/>
              </p:nvSpPr>
              <p:spPr>
                <a:xfrm>
                  <a:off x="7231460" y="2642436"/>
                  <a:ext cx="82723" cy="251861"/>
                </a:xfrm>
                <a:custGeom>
                  <a:avLst/>
                  <a:gdLst>
                    <a:gd name="connsiteX0" fmla="*/ 58925 w 82720"/>
                    <a:gd name="connsiteY0" fmla="*/ 251861 h 251861"/>
                    <a:gd name="connsiteX1" fmla="*/ 35100 w 82720"/>
                    <a:gd name="connsiteY1" fmla="*/ 228037 h 251861"/>
                    <a:gd name="connsiteX2" fmla="*/ 35100 w 82720"/>
                    <a:gd name="connsiteY2" fmla="*/ 80581 h 251861"/>
                    <a:gd name="connsiteX3" fmla="*/ 40044 w 82720"/>
                    <a:gd name="connsiteY3" fmla="*/ 75636 h 251861"/>
                    <a:gd name="connsiteX4" fmla="*/ 44989 w 82720"/>
                    <a:gd name="connsiteY4" fmla="*/ 80581 h 251861"/>
                    <a:gd name="connsiteX5" fmla="*/ 44989 w 82720"/>
                    <a:gd name="connsiteY5" fmla="*/ 228037 h 251861"/>
                    <a:gd name="connsiteX6" fmla="*/ 58925 w 82720"/>
                    <a:gd name="connsiteY6" fmla="*/ 241973 h 251861"/>
                    <a:gd name="connsiteX7" fmla="*/ 72832 w 82720"/>
                    <a:gd name="connsiteY7" fmla="*/ 228037 h 251861"/>
                    <a:gd name="connsiteX8" fmla="*/ 72832 w 82720"/>
                    <a:gd name="connsiteY8" fmla="*/ 44382 h 251861"/>
                    <a:gd name="connsiteX9" fmla="*/ 42560 w 82720"/>
                    <a:gd name="connsiteY9" fmla="*/ 19140 h 251861"/>
                    <a:gd name="connsiteX10" fmla="*/ 13560 w 82720"/>
                    <a:gd name="connsiteY10" fmla="*/ 19140 h 251861"/>
                    <a:gd name="connsiteX11" fmla="*/ 4077 w 82720"/>
                    <a:gd name="connsiteY11" fmla="*/ 15468 h 251861"/>
                    <a:gd name="connsiteX12" fmla="*/ 0 w 82720"/>
                    <a:gd name="connsiteY12" fmla="*/ 4973 h 251861"/>
                    <a:gd name="connsiteX13" fmla="*/ 4915 w 82720"/>
                    <a:gd name="connsiteY13" fmla="*/ 0 h 251861"/>
                    <a:gd name="connsiteX14" fmla="*/ 4944 w 82720"/>
                    <a:gd name="connsiteY14" fmla="*/ 0 h 251861"/>
                    <a:gd name="connsiteX15" fmla="*/ 9888 w 82720"/>
                    <a:gd name="connsiteY15" fmla="*/ 4915 h 251861"/>
                    <a:gd name="connsiteX16" fmla="*/ 10900 w 82720"/>
                    <a:gd name="connsiteY16" fmla="*/ 8327 h 251861"/>
                    <a:gd name="connsiteX17" fmla="*/ 13358 w 82720"/>
                    <a:gd name="connsiteY17" fmla="*/ 9252 h 251861"/>
                    <a:gd name="connsiteX18" fmla="*/ 13358 w 82720"/>
                    <a:gd name="connsiteY18" fmla="*/ 9252 h 251861"/>
                    <a:gd name="connsiteX19" fmla="*/ 42560 w 82720"/>
                    <a:gd name="connsiteY19" fmla="*/ 9252 h 251861"/>
                    <a:gd name="connsiteX20" fmla="*/ 82720 w 82720"/>
                    <a:gd name="connsiteY20" fmla="*/ 44410 h 251861"/>
                    <a:gd name="connsiteX21" fmla="*/ 82720 w 82720"/>
                    <a:gd name="connsiteY21" fmla="*/ 228066 h 251861"/>
                    <a:gd name="connsiteX22" fmla="*/ 58925 w 82720"/>
                    <a:gd name="connsiteY22" fmla="*/ 251861 h 25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2720" h="251861">
                      <a:moveTo>
                        <a:pt x="58925" y="251861"/>
                      </a:moveTo>
                      <a:cubicBezTo>
                        <a:pt x="45798" y="251861"/>
                        <a:pt x="35100" y="241164"/>
                        <a:pt x="35100" y="228037"/>
                      </a:cubicBezTo>
                      <a:lnTo>
                        <a:pt x="35100" y="80581"/>
                      </a:lnTo>
                      <a:cubicBezTo>
                        <a:pt x="35100" y="77863"/>
                        <a:pt x="37327" y="75636"/>
                        <a:pt x="40044" y="75636"/>
                      </a:cubicBezTo>
                      <a:cubicBezTo>
                        <a:pt x="42791" y="75636"/>
                        <a:pt x="44989" y="77863"/>
                        <a:pt x="44989" y="80581"/>
                      </a:cubicBezTo>
                      <a:lnTo>
                        <a:pt x="44989" y="228037"/>
                      </a:lnTo>
                      <a:cubicBezTo>
                        <a:pt x="44989" y="235728"/>
                        <a:pt x="51234" y="241973"/>
                        <a:pt x="58925" y="241973"/>
                      </a:cubicBezTo>
                      <a:cubicBezTo>
                        <a:pt x="66587" y="241973"/>
                        <a:pt x="72832" y="235728"/>
                        <a:pt x="72832" y="228037"/>
                      </a:cubicBezTo>
                      <a:lnTo>
                        <a:pt x="72832" y="44382"/>
                      </a:lnTo>
                      <a:cubicBezTo>
                        <a:pt x="72832" y="19401"/>
                        <a:pt x="43803" y="19140"/>
                        <a:pt x="42560" y="19140"/>
                      </a:cubicBezTo>
                      <a:lnTo>
                        <a:pt x="13560" y="19140"/>
                      </a:lnTo>
                      <a:cubicBezTo>
                        <a:pt x="13155" y="19111"/>
                        <a:pt x="8009" y="19227"/>
                        <a:pt x="4077" y="15468"/>
                      </a:cubicBezTo>
                      <a:cubicBezTo>
                        <a:pt x="2226" y="13705"/>
                        <a:pt x="29" y="10438"/>
                        <a:pt x="0" y="4973"/>
                      </a:cubicBezTo>
                      <a:cubicBezTo>
                        <a:pt x="0" y="2226"/>
                        <a:pt x="2197" y="0"/>
                        <a:pt x="4915" y="0"/>
                      </a:cubicBezTo>
                      <a:cubicBezTo>
                        <a:pt x="4915" y="0"/>
                        <a:pt x="4944" y="0"/>
                        <a:pt x="4944" y="0"/>
                      </a:cubicBezTo>
                      <a:cubicBezTo>
                        <a:pt x="7662" y="0"/>
                        <a:pt x="9888" y="2197"/>
                        <a:pt x="9888" y="4915"/>
                      </a:cubicBezTo>
                      <a:cubicBezTo>
                        <a:pt x="9888" y="6534"/>
                        <a:pt x="10235" y="7691"/>
                        <a:pt x="10900" y="8327"/>
                      </a:cubicBezTo>
                      <a:cubicBezTo>
                        <a:pt x="11796" y="9194"/>
                        <a:pt x="13329" y="9252"/>
                        <a:pt x="13358" y="9252"/>
                      </a:cubicBezTo>
                      <a:lnTo>
                        <a:pt x="13358" y="9252"/>
                      </a:lnTo>
                      <a:lnTo>
                        <a:pt x="42560" y="9252"/>
                      </a:lnTo>
                      <a:cubicBezTo>
                        <a:pt x="56467" y="9252"/>
                        <a:pt x="82720" y="16596"/>
                        <a:pt x="82720" y="44410"/>
                      </a:cubicBezTo>
                      <a:lnTo>
                        <a:pt x="82720" y="228066"/>
                      </a:lnTo>
                      <a:cubicBezTo>
                        <a:pt x="82720" y="241193"/>
                        <a:pt x="72051" y="251861"/>
                        <a:pt x="58925" y="251861"/>
                      </a:cubicBezTo>
                      <a:close/>
                    </a:path>
                  </a:pathLst>
                </a:custGeom>
                <a:solidFill>
                  <a:schemeClr val="accent1"/>
                </a:solidFill>
                <a:ln w="2890" cap="flat">
                  <a:noFill/>
                  <a:prstDash val="solid"/>
                  <a:miter/>
                </a:ln>
              </p:spPr>
              <p:txBody>
                <a:bodyPr rtlCol="0" anchor="ctr"/>
                <a:lstStyle/>
                <a:p>
                  <a:endParaRPr lang="en-GB" dirty="0"/>
                </a:p>
              </p:txBody>
            </p:sp>
            <p:sp>
              <p:nvSpPr>
                <p:cNvPr id="504" name="Freihandform: Form 503">
                  <a:extLst>
                    <a:ext uri="{FF2B5EF4-FFF2-40B4-BE49-F238E27FC236}">
                      <a16:creationId xmlns:a16="http://schemas.microsoft.com/office/drawing/2014/main" id="{B97DA7F3-83A2-4AF0-82C2-9E94BC252AAA}"/>
                    </a:ext>
                  </a:extLst>
                </p:cNvPr>
                <p:cNvSpPr/>
                <p:nvPr/>
              </p:nvSpPr>
              <p:spPr>
                <a:xfrm>
                  <a:off x="7207692" y="2863304"/>
                  <a:ext cx="9888" cy="172496"/>
                </a:xfrm>
                <a:custGeom>
                  <a:avLst/>
                  <a:gdLst>
                    <a:gd name="connsiteX0" fmla="*/ 4944 w 9888"/>
                    <a:gd name="connsiteY0" fmla="*/ 172495 h 172495"/>
                    <a:gd name="connsiteX1" fmla="*/ 0 w 9888"/>
                    <a:gd name="connsiteY1" fmla="*/ 167551 h 172495"/>
                    <a:gd name="connsiteX2" fmla="*/ 0 w 9888"/>
                    <a:gd name="connsiteY2" fmla="*/ 4944 h 172495"/>
                    <a:gd name="connsiteX3" fmla="*/ 4944 w 9888"/>
                    <a:gd name="connsiteY3" fmla="*/ 0 h 172495"/>
                    <a:gd name="connsiteX4" fmla="*/ 9888 w 9888"/>
                    <a:gd name="connsiteY4" fmla="*/ 4944 h 172495"/>
                    <a:gd name="connsiteX5" fmla="*/ 9888 w 9888"/>
                    <a:gd name="connsiteY5" fmla="*/ 167551 h 172495"/>
                    <a:gd name="connsiteX6" fmla="*/ 4944 w 9888"/>
                    <a:gd name="connsiteY6" fmla="*/ 172495 h 172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172495">
                      <a:moveTo>
                        <a:pt x="4944" y="172495"/>
                      </a:moveTo>
                      <a:cubicBezTo>
                        <a:pt x="2226" y="172495"/>
                        <a:pt x="0" y="170269"/>
                        <a:pt x="0" y="167551"/>
                      </a:cubicBezTo>
                      <a:lnTo>
                        <a:pt x="0" y="4944"/>
                      </a:lnTo>
                      <a:cubicBezTo>
                        <a:pt x="0" y="2197"/>
                        <a:pt x="2226" y="0"/>
                        <a:pt x="4944" y="0"/>
                      </a:cubicBezTo>
                      <a:cubicBezTo>
                        <a:pt x="7691" y="0"/>
                        <a:pt x="9888" y="2226"/>
                        <a:pt x="9888" y="4944"/>
                      </a:cubicBezTo>
                      <a:lnTo>
                        <a:pt x="9888" y="167551"/>
                      </a:lnTo>
                      <a:cubicBezTo>
                        <a:pt x="9917" y="170269"/>
                        <a:pt x="7691" y="172495"/>
                        <a:pt x="4944" y="172495"/>
                      </a:cubicBezTo>
                      <a:close/>
                    </a:path>
                  </a:pathLst>
                </a:custGeom>
                <a:solidFill>
                  <a:schemeClr val="accent1"/>
                </a:solidFill>
                <a:ln w="2890" cap="flat">
                  <a:noFill/>
                  <a:prstDash val="solid"/>
                  <a:miter/>
                </a:ln>
              </p:spPr>
              <p:txBody>
                <a:bodyPr rtlCol="0" anchor="ctr"/>
                <a:lstStyle/>
                <a:p>
                  <a:endParaRPr lang="en-GB" dirty="0"/>
                </a:p>
              </p:txBody>
            </p:sp>
            <p:sp>
              <p:nvSpPr>
                <p:cNvPr id="505" name="Freihandform: Form 504">
                  <a:extLst>
                    <a:ext uri="{FF2B5EF4-FFF2-40B4-BE49-F238E27FC236}">
                      <a16:creationId xmlns:a16="http://schemas.microsoft.com/office/drawing/2014/main" id="{A1059C6C-31F2-49CE-8D44-4FF9E86508F8}"/>
                    </a:ext>
                  </a:extLst>
                </p:cNvPr>
                <p:cNvSpPr/>
                <p:nvPr/>
              </p:nvSpPr>
              <p:spPr>
                <a:xfrm>
                  <a:off x="7145764" y="2755949"/>
                  <a:ext cx="9917" cy="279850"/>
                </a:xfrm>
                <a:custGeom>
                  <a:avLst/>
                  <a:gdLst>
                    <a:gd name="connsiteX0" fmla="*/ 4973 w 9917"/>
                    <a:gd name="connsiteY0" fmla="*/ 279849 h 279849"/>
                    <a:gd name="connsiteX1" fmla="*/ 29 w 9917"/>
                    <a:gd name="connsiteY1" fmla="*/ 274905 h 279849"/>
                    <a:gd name="connsiteX2" fmla="*/ 0 w 9917"/>
                    <a:gd name="connsiteY2" fmla="*/ 4944 h 279849"/>
                    <a:gd name="connsiteX3" fmla="*/ 4944 w 9917"/>
                    <a:gd name="connsiteY3" fmla="*/ 0 h 279849"/>
                    <a:gd name="connsiteX4" fmla="*/ 9888 w 9917"/>
                    <a:gd name="connsiteY4" fmla="*/ 4944 h 279849"/>
                    <a:gd name="connsiteX5" fmla="*/ 9917 w 9917"/>
                    <a:gd name="connsiteY5" fmla="*/ 274905 h 279849"/>
                    <a:gd name="connsiteX6" fmla="*/ 4973 w 9917"/>
                    <a:gd name="connsiteY6" fmla="*/ 279849 h 27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17" h="279849">
                      <a:moveTo>
                        <a:pt x="4973" y="279849"/>
                      </a:moveTo>
                      <a:cubicBezTo>
                        <a:pt x="2255" y="279849"/>
                        <a:pt x="29" y="277623"/>
                        <a:pt x="29" y="274905"/>
                      </a:cubicBezTo>
                      <a:lnTo>
                        <a:pt x="0" y="4944"/>
                      </a:lnTo>
                      <a:cubicBezTo>
                        <a:pt x="0" y="2226"/>
                        <a:pt x="2226" y="0"/>
                        <a:pt x="4944" y="0"/>
                      </a:cubicBezTo>
                      <a:cubicBezTo>
                        <a:pt x="7662" y="0"/>
                        <a:pt x="9888" y="2226"/>
                        <a:pt x="9888" y="4944"/>
                      </a:cubicBezTo>
                      <a:lnTo>
                        <a:pt x="9917" y="274905"/>
                      </a:lnTo>
                      <a:cubicBezTo>
                        <a:pt x="9917" y="277623"/>
                        <a:pt x="7691" y="279849"/>
                        <a:pt x="4973" y="279849"/>
                      </a:cubicBezTo>
                      <a:close/>
                    </a:path>
                  </a:pathLst>
                </a:custGeom>
                <a:solidFill>
                  <a:schemeClr val="accent1"/>
                </a:solidFill>
                <a:ln w="2890" cap="flat">
                  <a:noFill/>
                  <a:prstDash val="solid"/>
                  <a:miter/>
                </a:ln>
              </p:spPr>
              <p:txBody>
                <a:bodyPr rtlCol="0" anchor="ctr"/>
                <a:lstStyle/>
                <a:p>
                  <a:endParaRPr lang="en-GB" dirty="0"/>
                </a:p>
              </p:txBody>
            </p:sp>
            <p:sp>
              <p:nvSpPr>
                <p:cNvPr id="506" name="Freihandform: Form 505">
                  <a:extLst>
                    <a:ext uri="{FF2B5EF4-FFF2-40B4-BE49-F238E27FC236}">
                      <a16:creationId xmlns:a16="http://schemas.microsoft.com/office/drawing/2014/main" id="{F1713E11-54F2-4424-A33D-7ACA6751BDC0}"/>
                    </a:ext>
                  </a:extLst>
                </p:cNvPr>
                <p:cNvSpPr/>
                <p:nvPr/>
              </p:nvSpPr>
              <p:spPr>
                <a:xfrm>
                  <a:off x="7266311" y="2755944"/>
                  <a:ext cx="9946" cy="279850"/>
                </a:xfrm>
                <a:custGeom>
                  <a:avLst/>
                  <a:gdLst>
                    <a:gd name="connsiteX0" fmla="*/ 4944 w 9946"/>
                    <a:gd name="connsiteY0" fmla="*/ 279849 h 279849"/>
                    <a:gd name="connsiteX1" fmla="*/ 4944 w 9946"/>
                    <a:gd name="connsiteY1" fmla="*/ 279849 h 279849"/>
                    <a:gd name="connsiteX2" fmla="*/ 0 w 9946"/>
                    <a:gd name="connsiteY2" fmla="*/ 274905 h 279849"/>
                    <a:gd name="connsiteX3" fmla="*/ 58 w 9946"/>
                    <a:gd name="connsiteY3" fmla="*/ 4944 h 279849"/>
                    <a:gd name="connsiteX4" fmla="*/ 5002 w 9946"/>
                    <a:gd name="connsiteY4" fmla="*/ 0 h 279849"/>
                    <a:gd name="connsiteX5" fmla="*/ 9946 w 9946"/>
                    <a:gd name="connsiteY5" fmla="*/ 4944 h 279849"/>
                    <a:gd name="connsiteX6" fmla="*/ 9888 w 9946"/>
                    <a:gd name="connsiteY6" fmla="*/ 274905 h 279849"/>
                    <a:gd name="connsiteX7" fmla="*/ 4944 w 9946"/>
                    <a:gd name="connsiteY7" fmla="*/ 279849 h 27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46" h="279849">
                      <a:moveTo>
                        <a:pt x="4944" y="279849"/>
                      </a:moveTo>
                      <a:lnTo>
                        <a:pt x="4944" y="279849"/>
                      </a:lnTo>
                      <a:cubicBezTo>
                        <a:pt x="2197" y="279849"/>
                        <a:pt x="0" y="277623"/>
                        <a:pt x="0" y="274905"/>
                      </a:cubicBezTo>
                      <a:lnTo>
                        <a:pt x="58" y="4944"/>
                      </a:lnTo>
                      <a:cubicBezTo>
                        <a:pt x="58" y="2226"/>
                        <a:pt x="2284" y="0"/>
                        <a:pt x="5002" y="0"/>
                      </a:cubicBezTo>
                      <a:cubicBezTo>
                        <a:pt x="7720" y="0"/>
                        <a:pt x="9946" y="2226"/>
                        <a:pt x="9946" y="4944"/>
                      </a:cubicBezTo>
                      <a:lnTo>
                        <a:pt x="9888" y="274905"/>
                      </a:lnTo>
                      <a:cubicBezTo>
                        <a:pt x="9888" y="277623"/>
                        <a:pt x="7691" y="279849"/>
                        <a:pt x="4944" y="279849"/>
                      </a:cubicBezTo>
                      <a:close/>
                    </a:path>
                  </a:pathLst>
                </a:custGeom>
                <a:solidFill>
                  <a:schemeClr val="accent1"/>
                </a:solidFill>
                <a:ln w="2890" cap="flat">
                  <a:noFill/>
                  <a:prstDash val="solid"/>
                  <a:miter/>
                </a:ln>
              </p:spPr>
              <p:txBody>
                <a:bodyPr rtlCol="0" anchor="ctr"/>
                <a:lstStyle/>
                <a:p>
                  <a:endParaRPr lang="en-GB" dirty="0"/>
                </a:p>
              </p:txBody>
            </p:sp>
          </p:grpSp>
          <p:sp>
            <p:nvSpPr>
              <p:cNvPr id="501" name="Freihandform: Form 500">
                <a:extLst>
                  <a:ext uri="{FF2B5EF4-FFF2-40B4-BE49-F238E27FC236}">
                    <a16:creationId xmlns:a16="http://schemas.microsoft.com/office/drawing/2014/main" id="{D122B6B8-B32A-45FB-ACFF-1469257606BC}"/>
                  </a:ext>
                </a:extLst>
              </p:cNvPr>
              <p:cNvSpPr/>
              <p:nvPr/>
            </p:nvSpPr>
            <p:spPr>
              <a:xfrm>
                <a:off x="7156470" y="2511890"/>
                <a:ext cx="108770" cy="121954"/>
              </a:xfrm>
              <a:custGeom>
                <a:avLst/>
                <a:gdLst>
                  <a:gd name="connsiteX0" fmla="*/ 54385 w 108770"/>
                  <a:gd name="connsiteY0" fmla="*/ 121955 h 121955"/>
                  <a:gd name="connsiteX1" fmla="*/ 0 w 108770"/>
                  <a:gd name="connsiteY1" fmla="*/ 60978 h 121955"/>
                  <a:gd name="connsiteX2" fmla="*/ 54385 w 108770"/>
                  <a:gd name="connsiteY2" fmla="*/ 0 h 121955"/>
                  <a:gd name="connsiteX3" fmla="*/ 108771 w 108770"/>
                  <a:gd name="connsiteY3" fmla="*/ 60978 h 121955"/>
                  <a:gd name="connsiteX4" fmla="*/ 54385 w 108770"/>
                  <a:gd name="connsiteY4" fmla="*/ 121955 h 121955"/>
                  <a:gd name="connsiteX5" fmla="*/ 54385 w 108770"/>
                  <a:gd name="connsiteY5" fmla="*/ 9888 h 121955"/>
                  <a:gd name="connsiteX6" fmla="*/ 9917 w 108770"/>
                  <a:gd name="connsiteY6" fmla="*/ 60978 h 121955"/>
                  <a:gd name="connsiteX7" fmla="*/ 54385 w 108770"/>
                  <a:gd name="connsiteY7" fmla="*/ 112067 h 121955"/>
                  <a:gd name="connsiteX8" fmla="*/ 98883 w 108770"/>
                  <a:gd name="connsiteY8" fmla="*/ 60978 h 121955"/>
                  <a:gd name="connsiteX9" fmla="*/ 54385 w 108770"/>
                  <a:gd name="connsiteY9" fmla="*/ 9888 h 121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8770" h="121955">
                    <a:moveTo>
                      <a:pt x="54385" y="121955"/>
                    </a:moveTo>
                    <a:cubicBezTo>
                      <a:pt x="24403" y="121955"/>
                      <a:pt x="0" y="94603"/>
                      <a:pt x="0" y="60978"/>
                    </a:cubicBezTo>
                    <a:cubicBezTo>
                      <a:pt x="0" y="27352"/>
                      <a:pt x="24403" y="0"/>
                      <a:pt x="54385" y="0"/>
                    </a:cubicBezTo>
                    <a:cubicBezTo>
                      <a:pt x="84368" y="0"/>
                      <a:pt x="108771" y="27352"/>
                      <a:pt x="108771" y="60978"/>
                    </a:cubicBezTo>
                    <a:cubicBezTo>
                      <a:pt x="108771" y="94574"/>
                      <a:pt x="84368" y="121955"/>
                      <a:pt x="54385" y="121955"/>
                    </a:cubicBezTo>
                    <a:close/>
                    <a:moveTo>
                      <a:pt x="54385" y="9888"/>
                    </a:moveTo>
                    <a:cubicBezTo>
                      <a:pt x="29867" y="9888"/>
                      <a:pt x="9917" y="32816"/>
                      <a:pt x="9917" y="60978"/>
                    </a:cubicBezTo>
                    <a:cubicBezTo>
                      <a:pt x="9917" y="89139"/>
                      <a:pt x="29867" y="112067"/>
                      <a:pt x="54385" y="112067"/>
                    </a:cubicBezTo>
                    <a:cubicBezTo>
                      <a:pt x="78933" y="112067"/>
                      <a:pt x="98883" y="89139"/>
                      <a:pt x="98883" y="60978"/>
                    </a:cubicBezTo>
                    <a:cubicBezTo>
                      <a:pt x="98883" y="32787"/>
                      <a:pt x="78904" y="9888"/>
                      <a:pt x="54385" y="9888"/>
                    </a:cubicBezTo>
                    <a:close/>
                  </a:path>
                </a:pathLst>
              </a:custGeom>
              <a:solidFill>
                <a:schemeClr val="accent1"/>
              </a:solidFill>
              <a:ln w="2890" cap="flat">
                <a:noFill/>
                <a:prstDash val="solid"/>
                <a:miter/>
              </a:ln>
            </p:spPr>
            <p:txBody>
              <a:bodyPr rtlCol="0" anchor="ctr"/>
              <a:lstStyle/>
              <a:p>
                <a:endParaRPr lang="en-GB" dirty="0"/>
              </a:p>
            </p:txBody>
          </p:sp>
        </p:grpSp>
        <p:grpSp>
          <p:nvGrpSpPr>
            <p:cNvPr id="481" name="Group 1011">
              <a:extLst>
                <a:ext uri="{FF2B5EF4-FFF2-40B4-BE49-F238E27FC236}">
                  <a16:creationId xmlns:a16="http://schemas.microsoft.com/office/drawing/2014/main" id="{91991731-7C3C-4CB9-9FC3-F71DE2F6A97B}"/>
                </a:ext>
              </a:extLst>
            </p:cNvPr>
            <p:cNvGrpSpPr/>
            <p:nvPr/>
          </p:nvGrpSpPr>
          <p:grpSpPr>
            <a:xfrm>
              <a:off x="6938318" y="2503938"/>
              <a:ext cx="453131" cy="377404"/>
              <a:chOff x="6934765" y="2578101"/>
              <a:chExt cx="549529" cy="457693"/>
            </a:xfrm>
            <a:solidFill>
              <a:schemeClr val="tx2"/>
            </a:solidFill>
          </p:grpSpPr>
          <p:grpSp>
            <p:nvGrpSpPr>
              <p:cNvPr id="482" name="Grafik 53">
                <a:extLst>
                  <a:ext uri="{FF2B5EF4-FFF2-40B4-BE49-F238E27FC236}">
                    <a16:creationId xmlns:a16="http://schemas.microsoft.com/office/drawing/2014/main" id="{13B8DC49-4127-4410-8D2E-A108B70A169C}"/>
                  </a:ext>
                </a:extLst>
              </p:cNvPr>
              <p:cNvGrpSpPr/>
              <p:nvPr/>
            </p:nvGrpSpPr>
            <p:grpSpPr>
              <a:xfrm>
                <a:off x="7308236" y="2578101"/>
                <a:ext cx="176058" cy="457693"/>
                <a:chOff x="7308257" y="2578101"/>
                <a:chExt cx="176058" cy="457693"/>
              </a:xfrm>
              <a:grpFill/>
            </p:grpSpPr>
            <p:grpSp>
              <p:nvGrpSpPr>
                <p:cNvPr id="492" name="Grafik 53">
                  <a:extLst>
                    <a:ext uri="{FF2B5EF4-FFF2-40B4-BE49-F238E27FC236}">
                      <a16:creationId xmlns:a16="http://schemas.microsoft.com/office/drawing/2014/main" id="{064C7730-B882-4343-97CD-046C96966809}"/>
                    </a:ext>
                  </a:extLst>
                </p:cNvPr>
                <p:cNvGrpSpPr/>
                <p:nvPr/>
              </p:nvGrpSpPr>
              <p:grpSpPr>
                <a:xfrm>
                  <a:off x="7308257" y="2691787"/>
                  <a:ext cx="176058" cy="344007"/>
                  <a:chOff x="7308257" y="2691787"/>
                  <a:chExt cx="176058" cy="344007"/>
                </a:xfrm>
                <a:grpFill/>
              </p:grpSpPr>
              <p:sp>
                <p:nvSpPr>
                  <p:cNvPr id="494" name="Freihandform: Form 493">
                    <a:extLst>
                      <a:ext uri="{FF2B5EF4-FFF2-40B4-BE49-F238E27FC236}">
                        <a16:creationId xmlns:a16="http://schemas.microsoft.com/office/drawing/2014/main" id="{F379B9B4-F1A4-4E82-B140-4DA5E70B7C2F}"/>
                      </a:ext>
                    </a:extLst>
                  </p:cNvPr>
                  <p:cNvSpPr/>
                  <p:nvPr/>
                </p:nvSpPr>
                <p:spPr>
                  <a:xfrm>
                    <a:off x="7308257" y="2757189"/>
                    <a:ext cx="37970" cy="155349"/>
                  </a:xfrm>
                  <a:custGeom>
                    <a:avLst/>
                    <a:gdLst>
                      <a:gd name="connsiteX0" fmla="*/ 16603 w 37970"/>
                      <a:gd name="connsiteY0" fmla="*/ 155350 h 155349"/>
                      <a:gd name="connsiteX1" fmla="*/ 1453 w 37970"/>
                      <a:gd name="connsiteY1" fmla="*/ 149076 h 155349"/>
                      <a:gd name="connsiteX2" fmla="*/ 1453 w 37970"/>
                      <a:gd name="connsiteY2" fmla="*/ 142079 h 155349"/>
                      <a:gd name="connsiteX3" fmla="*/ 8450 w 37970"/>
                      <a:gd name="connsiteY3" fmla="*/ 142079 h 155349"/>
                      <a:gd name="connsiteX4" fmla="*/ 16603 w 37970"/>
                      <a:gd name="connsiteY4" fmla="*/ 145461 h 155349"/>
                      <a:gd name="connsiteX5" fmla="*/ 28082 w 37970"/>
                      <a:gd name="connsiteY5" fmla="*/ 133954 h 155349"/>
                      <a:gd name="connsiteX6" fmla="*/ 28082 w 37970"/>
                      <a:gd name="connsiteY6" fmla="*/ 4944 h 155349"/>
                      <a:gd name="connsiteX7" fmla="*/ 33026 w 37970"/>
                      <a:gd name="connsiteY7" fmla="*/ 0 h 155349"/>
                      <a:gd name="connsiteX8" fmla="*/ 37970 w 37970"/>
                      <a:gd name="connsiteY8" fmla="*/ 4944 h 155349"/>
                      <a:gd name="connsiteX9" fmla="*/ 37970 w 37970"/>
                      <a:gd name="connsiteY9" fmla="*/ 133954 h 155349"/>
                      <a:gd name="connsiteX10" fmla="*/ 16603 w 37970"/>
                      <a:gd name="connsiteY10" fmla="*/ 155350 h 15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970" h="155349">
                        <a:moveTo>
                          <a:pt x="16603" y="155350"/>
                        </a:moveTo>
                        <a:cubicBezTo>
                          <a:pt x="10879" y="155350"/>
                          <a:pt x="5501" y="153123"/>
                          <a:pt x="1453" y="149076"/>
                        </a:cubicBezTo>
                        <a:cubicBezTo>
                          <a:pt x="-484" y="147138"/>
                          <a:pt x="-484" y="144016"/>
                          <a:pt x="1453" y="142079"/>
                        </a:cubicBezTo>
                        <a:cubicBezTo>
                          <a:pt x="3390" y="140141"/>
                          <a:pt x="6513" y="140141"/>
                          <a:pt x="8450" y="142079"/>
                        </a:cubicBezTo>
                        <a:cubicBezTo>
                          <a:pt x="10618" y="144247"/>
                          <a:pt x="13510" y="145461"/>
                          <a:pt x="16603" y="145461"/>
                        </a:cubicBezTo>
                        <a:cubicBezTo>
                          <a:pt x="22935" y="145461"/>
                          <a:pt x="28082" y="140315"/>
                          <a:pt x="28082" y="133954"/>
                        </a:cubicBezTo>
                        <a:lnTo>
                          <a:pt x="28082" y="4944"/>
                        </a:lnTo>
                        <a:cubicBezTo>
                          <a:pt x="28082" y="2226"/>
                          <a:pt x="30308" y="0"/>
                          <a:pt x="33026" y="0"/>
                        </a:cubicBezTo>
                        <a:cubicBezTo>
                          <a:pt x="35773" y="0"/>
                          <a:pt x="37970" y="2226"/>
                          <a:pt x="37970" y="4944"/>
                        </a:cubicBezTo>
                        <a:lnTo>
                          <a:pt x="37970" y="133954"/>
                        </a:lnTo>
                        <a:cubicBezTo>
                          <a:pt x="37999" y="145751"/>
                          <a:pt x="28400" y="155350"/>
                          <a:pt x="16603" y="155350"/>
                        </a:cubicBezTo>
                        <a:close/>
                      </a:path>
                    </a:pathLst>
                  </a:custGeom>
                  <a:grpFill/>
                  <a:ln w="2890" cap="flat">
                    <a:noFill/>
                    <a:prstDash val="solid"/>
                    <a:miter/>
                  </a:ln>
                </p:spPr>
                <p:txBody>
                  <a:bodyPr rtlCol="0" anchor="ctr"/>
                  <a:lstStyle/>
                  <a:p>
                    <a:endParaRPr lang="en-GB" dirty="0"/>
                  </a:p>
                </p:txBody>
              </p:sp>
              <p:sp>
                <p:nvSpPr>
                  <p:cNvPr id="495" name="Freihandform: Form 494">
                    <a:extLst>
                      <a:ext uri="{FF2B5EF4-FFF2-40B4-BE49-F238E27FC236}">
                        <a16:creationId xmlns:a16="http://schemas.microsoft.com/office/drawing/2014/main" id="{34579098-CDD2-4537-88AD-E56D92458BED}"/>
                      </a:ext>
                    </a:extLst>
                  </p:cNvPr>
                  <p:cNvSpPr/>
                  <p:nvPr/>
                </p:nvSpPr>
                <p:spPr>
                  <a:xfrm>
                    <a:off x="7326048" y="2691787"/>
                    <a:ext cx="52850" cy="18995"/>
                  </a:xfrm>
                  <a:custGeom>
                    <a:avLst/>
                    <a:gdLst>
                      <a:gd name="connsiteX0" fmla="*/ 4941 w 52850"/>
                      <a:gd name="connsiteY0" fmla="*/ 18996 h 18995"/>
                      <a:gd name="connsiteX1" fmla="*/ 113 w 52850"/>
                      <a:gd name="connsiteY1" fmla="*/ 15093 h 18995"/>
                      <a:gd name="connsiteX2" fmla="*/ 3900 w 52850"/>
                      <a:gd name="connsiteY2" fmla="*/ 9194 h 18995"/>
                      <a:gd name="connsiteX3" fmla="*/ 13037 w 52850"/>
                      <a:gd name="connsiteY3" fmla="*/ 8067 h 18995"/>
                      <a:gd name="connsiteX4" fmla="*/ 38278 w 52850"/>
                      <a:gd name="connsiteY4" fmla="*/ 8067 h 18995"/>
                      <a:gd name="connsiteX5" fmla="*/ 42933 w 52850"/>
                      <a:gd name="connsiteY5" fmla="*/ 4857 h 18995"/>
                      <a:gd name="connsiteX6" fmla="*/ 47964 w 52850"/>
                      <a:gd name="connsiteY6" fmla="*/ 0 h 18995"/>
                      <a:gd name="connsiteX7" fmla="*/ 52850 w 52850"/>
                      <a:gd name="connsiteY7" fmla="*/ 5031 h 18995"/>
                      <a:gd name="connsiteX8" fmla="*/ 38827 w 52850"/>
                      <a:gd name="connsiteY8" fmla="*/ 17955 h 18995"/>
                      <a:gd name="connsiteX9" fmla="*/ 13066 w 52850"/>
                      <a:gd name="connsiteY9" fmla="*/ 17984 h 18995"/>
                      <a:gd name="connsiteX10" fmla="*/ 6011 w 52850"/>
                      <a:gd name="connsiteY10" fmla="*/ 18880 h 18995"/>
                      <a:gd name="connsiteX11" fmla="*/ 4941 w 52850"/>
                      <a:gd name="connsiteY11" fmla="*/ 18996 h 1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0" h="18995">
                        <a:moveTo>
                          <a:pt x="4941" y="18996"/>
                        </a:moveTo>
                        <a:cubicBezTo>
                          <a:pt x="2657" y="18996"/>
                          <a:pt x="604" y="17406"/>
                          <a:pt x="113" y="15093"/>
                        </a:cubicBezTo>
                        <a:cubicBezTo>
                          <a:pt x="-466" y="12433"/>
                          <a:pt x="1240" y="9773"/>
                          <a:pt x="3900" y="9194"/>
                        </a:cubicBezTo>
                        <a:cubicBezTo>
                          <a:pt x="8989" y="8096"/>
                          <a:pt x="12892" y="8067"/>
                          <a:pt x="13037" y="8067"/>
                        </a:cubicBezTo>
                        <a:lnTo>
                          <a:pt x="38278" y="8067"/>
                        </a:lnTo>
                        <a:cubicBezTo>
                          <a:pt x="38133" y="8038"/>
                          <a:pt x="42875" y="7315"/>
                          <a:pt x="42933" y="4857"/>
                        </a:cubicBezTo>
                        <a:cubicBezTo>
                          <a:pt x="42991" y="2140"/>
                          <a:pt x="45130" y="173"/>
                          <a:pt x="47964" y="0"/>
                        </a:cubicBezTo>
                        <a:cubicBezTo>
                          <a:pt x="50710" y="29"/>
                          <a:pt x="52879" y="2284"/>
                          <a:pt x="52850" y="5031"/>
                        </a:cubicBezTo>
                        <a:cubicBezTo>
                          <a:pt x="52705" y="14138"/>
                          <a:pt x="43627" y="17463"/>
                          <a:pt x="38827" y="17955"/>
                        </a:cubicBezTo>
                        <a:lnTo>
                          <a:pt x="13066" y="17984"/>
                        </a:lnTo>
                        <a:cubicBezTo>
                          <a:pt x="13037" y="17984"/>
                          <a:pt x="10001" y="18013"/>
                          <a:pt x="6011" y="18880"/>
                        </a:cubicBezTo>
                        <a:cubicBezTo>
                          <a:pt x="5664" y="18967"/>
                          <a:pt x="5288" y="18996"/>
                          <a:pt x="4941" y="18996"/>
                        </a:cubicBezTo>
                        <a:close/>
                      </a:path>
                    </a:pathLst>
                  </a:custGeom>
                  <a:grpFill/>
                  <a:ln w="2890" cap="flat">
                    <a:noFill/>
                    <a:prstDash val="solid"/>
                    <a:miter/>
                  </a:ln>
                </p:spPr>
                <p:txBody>
                  <a:bodyPr rtlCol="0" anchor="ctr"/>
                  <a:lstStyle/>
                  <a:p>
                    <a:endParaRPr lang="en-GB" dirty="0"/>
                  </a:p>
                </p:txBody>
              </p:sp>
              <p:sp>
                <p:nvSpPr>
                  <p:cNvPr id="496" name="Freihandform: Form 495">
                    <a:extLst>
                      <a:ext uri="{FF2B5EF4-FFF2-40B4-BE49-F238E27FC236}">
                        <a16:creationId xmlns:a16="http://schemas.microsoft.com/office/drawing/2014/main" id="{D4AD358F-BB72-450D-9DF8-7850FC5C492A}"/>
                      </a:ext>
                    </a:extLst>
                  </p:cNvPr>
                  <p:cNvSpPr/>
                  <p:nvPr/>
                </p:nvSpPr>
                <p:spPr>
                  <a:xfrm>
                    <a:off x="7410992" y="2691845"/>
                    <a:ext cx="73323" cy="220693"/>
                  </a:xfrm>
                  <a:custGeom>
                    <a:avLst/>
                    <a:gdLst>
                      <a:gd name="connsiteX0" fmla="*/ 51957 w 73323"/>
                      <a:gd name="connsiteY0" fmla="*/ 220693 h 220693"/>
                      <a:gd name="connsiteX1" fmla="*/ 30561 w 73323"/>
                      <a:gd name="connsiteY1" fmla="*/ 199297 h 220693"/>
                      <a:gd name="connsiteX2" fmla="*/ 30561 w 73323"/>
                      <a:gd name="connsiteY2" fmla="*/ 70837 h 220693"/>
                      <a:gd name="connsiteX3" fmla="*/ 35505 w 73323"/>
                      <a:gd name="connsiteY3" fmla="*/ 65893 h 220693"/>
                      <a:gd name="connsiteX4" fmla="*/ 40449 w 73323"/>
                      <a:gd name="connsiteY4" fmla="*/ 70837 h 220693"/>
                      <a:gd name="connsiteX5" fmla="*/ 40449 w 73323"/>
                      <a:gd name="connsiteY5" fmla="*/ 199297 h 220693"/>
                      <a:gd name="connsiteX6" fmla="*/ 51957 w 73323"/>
                      <a:gd name="connsiteY6" fmla="*/ 210805 h 220693"/>
                      <a:gd name="connsiteX7" fmla="*/ 63435 w 73323"/>
                      <a:gd name="connsiteY7" fmla="*/ 199297 h 220693"/>
                      <a:gd name="connsiteX8" fmla="*/ 63435 w 73323"/>
                      <a:gd name="connsiteY8" fmla="*/ 39322 h 220693"/>
                      <a:gd name="connsiteX9" fmla="*/ 37703 w 73323"/>
                      <a:gd name="connsiteY9" fmla="*/ 17955 h 220693"/>
                      <a:gd name="connsiteX10" fmla="*/ 12433 w 73323"/>
                      <a:gd name="connsiteY10" fmla="*/ 17955 h 220693"/>
                      <a:gd name="connsiteX11" fmla="*/ 3730 w 73323"/>
                      <a:gd name="connsiteY11" fmla="*/ 14572 h 220693"/>
                      <a:gd name="connsiteX12" fmla="*/ 0 w 73323"/>
                      <a:gd name="connsiteY12" fmla="*/ 4973 h 220693"/>
                      <a:gd name="connsiteX13" fmla="*/ 4915 w 73323"/>
                      <a:gd name="connsiteY13" fmla="*/ 0 h 220693"/>
                      <a:gd name="connsiteX14" fmla="*/ 4944 w 73323"/>
                      <a:gd name="connsiteY14" fmla="*/ 0 h 220693"/>
                      <a:gd name="connsiteX15" fmla="*/ 9888 w 73323"/>
                      <a:gd name="connsiteY15" fmla="*/ 4915 h 220693"/>
                      <a:gd name="connsiteX16" fmla="*/ 10582 w 73323"/>
                      <a:gd name="connsiteY16" fmla="*/ 7431 h 220693"/>
                      <a:gd name="connsiteX17" fmla="*/ 12259 w 73323"/>
                      <a:gd name="connsiteY17" fmla="*/ 8067 h 220693"/>
                      <a:gd name="connsiteX18" fmla="*/ 12259 w 73323"/>
                      <a:gd name="connsiteY18" fmla="*/ 8067 h 220693"/>
                      <a:gd name="connsiteX19" fmla="*/ 37703 w 73323"/>
                      <a:gd name="connsiteY19" fmla="*/ 8067 h 220693"/>
                      <a:gd name="connsiteX20" fmla="*/ 73323 w 73323"/>
                      <a:gd name="connsiteY20" fmla="*/ 39322 h 220693"/>
                      <a:gd name="connsiteX21" fmla="*/ 73323 w 73323"/>
                      <a:gd name="connsiteY21" fmla="*/ 199297 h 220693"/>
                      <a:gd name="connsiteX22" fmla="*/ 51957 w 73323"/>
                      <a:gd name="connsiteY22" fmla="*/ 220693 h 22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73323" h="220693">
                        <a:moveTo>
                          <a:pt x="51957" y="220693"/>
                        </a:moveTo>
                        <a:cubicBezTo>
                          <a:pt x="40160" y="220693"/>
                          <a:pt x="30561" y="211094"/>
                          <a:pt x="30561" y="199297"/>
                        </a:cubicBezTo>
                        <a:lnTo>
                          <a:pt x="30561" y="70837"/>
                        </a:lnTo>
                        <a:cubicBezTo>
                          <a:pt x="30561" y="68119"/>
                          <a:pt x="32787" y="65893"/>
                          <a:pt x="35505" y="65893"/>
                        </a:cubicBezTo>
                        <a:cubicBezTo>
                          <a:pt x="38223" y="65893"/>
                          <a:pt x="40449" y="68119"/>
                          <a:pt x="40449" y="70837"/>
                        </a:cubicBezTo>
                        <a:lnTo>
                          <a:pt x="40449" y="199297"/>
                        </a:lnTo>
                        <a:cubicBezTo>
                          <a:pt x="40449" y="205629"/>
                          <a:pt x="45625" y="210805"/>
                          <a:pt x="51957" y="210805"/>
                        </a:cubicBezTo>
                        <a:cubicBezTo>
                          <a:pt x="58289" y="210805"/>
                          <a:pt x="63435" y="205658"/>
                          <a:pt x="63435" y="199297"/>
                        </a:cubicBezTo>
                        <a:lnTo>
                          <a:pt x="63435" y="39322"/>
                        </a:lnTo>
                        <a:cubicBezTo>
                          <a:pt x="63435" y="18186"/>
                          <a:pt x="38743" y="17955"/>
                          <a:pt x="37703" y="17955"/>
                        </a:cubicBezTo>
                        <a:lnTo>
                          <a:pt x="12433" y="17955"/>
                        </a:lnTo>
                        <a:cubicBezTo>
                          <a:pt x="12115" y="17955"/>
                          <a:pt x="7344" y="18042"/>
                          <a:pt x="3730" y="14572"/>
                        </a:cubicBezTo>
                        <a:cubicBezTo>
                          <a:pt x="2024" y="12953"/>
                          <a:pt x="0" y="9975"/>
                          <a:pt x="0" y="4973"/>
                        </a:cubicBezTo>
                        <a:cubicBezTo>
                          <a:pt x="0" y="2255"/>
                          <a:pt x="2197" y="29"/>
                          <a:pt x="4915" y="0"/>
                        </a:cubicBezTo>
                        <a:cubicBezTo>
                          <a:pt x="4915" y="0"/>
                          <a:pt x="4944" y="0"/>
                          <a:pt x="4944" y="0"/>
                        </a:cubicBezTo>
                        <a:cubicBezTo>
                          <a:pt x="7662" y="0"/>
                          <a:pt x="9888" y="2197"/>
                          <a:pt x="9888" y="4915"/>
                        </a:cubicBezTo>
                        <a:cubicBezTo>
                          <a:pt x="9888" y="5754"/>
                          <a:pt x="10004" y="6881"/>
                          <a:pt x="10582" y="7431"/>
                        </a:cubicBezTo>
                        <a:cubicBezTo>
                          <a:pt x="11160" y="7980"/>
                          <a:pt x="12259" y="8067"/>
                          <a:pt x="12259" y="8067"/>
                        </a:cubicBezTo>
                        <a:lnTo>
                          <a:pt x="12259" y="8067"/>
                        </a:lnTo>
                        <a:lnTo>
                          <a:pt x="37703" y="8067"/>
                        </a:lnTo>
                        <a:cubicBezTo>
                          <a:pt x="50019" y="8067"/>
                          <a:pt x="73323" y="14601"/>
                          <a:pt x="73323" y="39322"/>
                        </a:cubicBezTo>
                        <a:lnTo>
                          <a:pt x="73323" y="199297"/>
                        </a:lnTo>
                        <a:cubicBezTo>
                          <a:pt x="73352" y="211094"/>
                          <a:pt x="63753" y="220693"/>
                          <a:pt x="51957" y="220693"/>
                        </a:cubicBezTo>
                        <a:close/>
                      </a:path>
                    </a:pathLst>
                  </a:custGeom>
                  <a:grpFill/>
                  <a:ln w="2890" cap="flat">
                    <a:noFill/>
                    <a:prstDash val="solid"/>
                    <a:miter/>
                  </a:ln>
                </p:spPr>
                <p:txBody>
                  <a:bodyPr rtlCol="0" anchor="ctr"/>
                  <a:lstStyle/>
                  <a:p>
                    <a:endParaRPr lang="en-GB" dirty="0"/>
                  </a:p>
                </p:txBody>
              </p:sp>
              <p:sp>
                <p:nvSpPr>
                  <p:cNvPr id="497" name="Freihandform: Form 496">
                    <a:extLst>
                      <a:ext uri="{FF2B5EF4-FFF2-40B4-BE49-F238E27FC236}">
                        <a16:creationId xmlns:a16="http://schemas.microsoft.com/office/drawing/2014/main" id="{4A2D7C84-F809-42A0-95D8-CEDFB4ABB35D}"/>
                      </a:ext>
                    </a:extLst>
                  </p:cNvPr>
                  <p:cNvSpPr/>
                  <p:nvPr/>
                </p:nvSpPr>
                <p:spPr>
                  <a:xfrm>
                    <a:off x="7390319" y="2884232"/>
                    <a:ext cx="9888" cy="151562"/>
                  </a:xfrm>
                  <a:custGeom>
                    <a:avLst/>
                    <a:gdLst>
                      <a:gd name="connsiteX0" fmla="*/ 4944 w 9888"/>
                      <a:gd name="connsiteY0" fmla="*/ 151562 h 151562"/>
                      <a:gd name="connsiteX1" fmla="*/ 0 w 9888"/>
                      <a:gd name="connsiteY1" fmla="*/ 146618 h 151562"/>
                      <a:gd name="connsiteX2" fmla="*/ 0 w 9888"/>
                      <a:gd name="connsiteY2" fmla="*/ 4944 h 151562"/>
                      <a:gd name="connsiteX3" fmla="*/ 4944 w 9888"/>
                      <a:gd name="connsiteY3" fmla="*/ 0 h 151562"/>
                      <a:gd name="connsiteX4" fmla="*/ 9888 w 9888"/>
                      <a:gd name="connsiteY4" fmla="*/ 4944 h 151562"/>
                      <a:gd name="connsiteX5" fmla="*/ 9888 w 9888"/>
                      <a:gd name="connsiteY5" fmla="*/ 146618 h 151562"/>
                      <a:gd name="connsiteX6" fmla="*/ 4944 w 9888"/>
                      <a:gd name="connsiteY6" fmla="*/ 151562 h 15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151562">
                        <a:moveTo>
                          <a:pt x="4944" y="151562"/>
                        </a:moveTo>
                        <a:cubicBezTo>
                          <a:pt x="2197" y="151562"/>
                          <a:pt x="0" y="149336"/>
                          <a:pt x="0" y="146618"/>
                        </a:cubicBezTo>
                        <a:lnTo>
                          <a:pt x="0" y="4944"/>
                        </a:lnTo>
                        <a:cubicBezTo>
                          <a:pt x="0" y="2197"/>
                          <a:pt x="2226" y="0"/>
                          <a:pt x="4944" y="0"/>
                        </a:cubicBezTo>
                        <a:cubicBezTo>
                          <a:pt x="7662" y="0"/>
                          <a:pt x="9888" y="2226"/>
                          <a:pt x="9888" y="4944"/>
                        </a:cubicBezTo>
                        <a:lnTo>
                          <a:pt x="9888" y="146618"/>
                        </a:lnTo>
                        <a:cubicBezTo>
                          <a:pt x="9888" y="149336"/>
                          <a:pt x="7662" y="151562"/>
                          <a:pt x="4944" y="151562"/>
                        </a:cubicBezTo>
                        <a:close/>
                      </a:path>
                    </a:pathLst>
                  </a:custGeom>
                  <a:grpFill/>
                  <a:ln w="2890" cap="flat">
                    <a:noFill/>
                    <a:prstDash val="solid"/>
                    <a:miter/>
                  </a:ln>
                </p:spPr>
                <p:txBody>
                  <a:bodyPr rtlCol="0" anchor="ctr"/>
                  <a:lstStyle/>
                  <a:p>
                    <a:endParaRPr lang="en-GB" dirty="0"/>
                  </a:p>
                </p:txBody>
              </p:sp>
              <p:sp>
                <p:nvSpPr>
                  <p:cNvPr id="498" name="Freihandform: Form 497">
                    <a:extLst>
                      <a:ext uri="{FF2B5EF4-FFF2-40B4-BE49-F238E27FC236}">
                        <a16:creationId xmlns:a16="http://schemas.microsoft.com/office/drawing/2014/main" id="{BD7B0B62-BC29-439D-9D06-C374CC04528B}"/>
                      </a:ext>
                    </a:extLst>
                  </p:cNvPr>
                  <p:cNvSpPr/>
                  <p:nvPr/>
                </p:nvSpPr>
                <p:spPr>
                  <a:xfrm>
                    <a:off x="7336367" y="2790728"/>
                    <a:ext cx="9917" cy="245066"/>
                  </a:xfrm>
                  <a:custGeom>
                    <a:avLst/>
                    <a:gdLst>
                      <a:gd name="connsiteX0" fmla="*/ 4973 w 9917"/>
                      <a:gd name="connsiteY0" fmla="*/ 245067 h 245066"/>
                      <a:gd name="connsiteX1" fmla="*/ 29 w 9917"/>
                      <a:gd name="connsiteY1" fmla="*/ 240123 h 245066"/>
                      <a:gd name="connsiteX2" fmla="*/ 0 w 9917"/>
                      <a:gd name="connsiteY2" fmla="*/ 4944 h 245066"/>
                      <a:gd name="connsiteX3" fmla="*/ 4944 w 9917"/>
                      <a:gd name="connsiteY3" fmla="*/ 0 h 245066"/>
                      <a:gd name="connsiteX4" fmla="*/ 9888 w 9917"/>
                      <a:gd name="connsiteY4" fmla="*/ 4944 h 245066"/>
                      <a:gd name="connsiteX5" fmla="*/ 9917 w 9917"/>
                      <a:gd name="connsiteY5" fmla="*/ 240123 h 245066"/>
                      <a:gd name="connsiteX6" fmla="*/ 4973 w 9917"/>
                      <a:gd name="connsiteY6" fmla="*/ 245067 h 24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17" h="245066">
                        <a:moveTo>
                          <a:pt x="4973" y="245067"/>
                        </a:moveTo>
                        <a:cubicBezTo>
                          <a:pt x="2226" y="245067"/>
                          <a:pt x="29" y="242841"/>
                          <a:pt x="29" y="240123"/>
                        </a:cubicBezTo>
                        <a:lnTo>
                          <a:pt x="0" y="4944"/>
                        </a:lnTo>
                        <a:cubicBezTo>
                          <a:pt x="0" y="2197"/>
                          <a:pt x="2226" y="0"/>
                          <a:pt x="4944" y="0"/>
                        </a:cubicBezTo>
                        <a:cubicBezTo>
                          <a:pt x="7691" y="0"/>
                          <a:pt x="9888" y="2226"/>
                          <a:pt x="9888" y="4944"/>
                        </a:cubicBezTo>
                        <a:lnTo>
                          <a:pt x="9917" y="240123"/>
                        </a:lnTo>
                        <a:cubicBezTo>
                          <a:pt x="9917" y="242841"/>
                          <a:pt x="7691" y="245067"/>
                          <a:pt x="4973" y="245067"/>
                        </a:cubicBezTo>
                        <a:close/>
                      </a:path>
                    </a:pathLst>
                  </a:custGeom>
                  <a:grpFill/>
                  <a:ln w="2890" cap="flat">
                    <a:noFill/>
                    <a:prstDash val="solid"/>
                    <a:miter/>
                  </a:ln>
                </p:spPr>
                <p:txBody>
                  <a:bodyPr rtlCol="0" anchor="ctr"/>
                  <a:lstStyle/>
                  <a:p>
                    <a:endParaRPr lang="en-GB" dirty="0"/>
                  </a:p>
                </p:txBody>
              </p:sp>
              <p:sp>
                <p:nvSpPr>
                  <p:cNvPr id="499" name="Freihandform: Form 498">
                    <a:extLst>
                      <a:ext uri="{FF2B5EF4-FFF2-40B4-BE49-F238E27FC236}">
                        <a16:creationId xmlns:a16="http://schemas.microsoft.com/office/drawing/2014/main" id="{6F8208FC-8892-40CC-9BC4-95F092DFF719}"/>
                      </a:ext>
                    </a:extLst>
                  </p:cNvPr>
                  <p:cNvSpPr/>
                  <p:nvPr/>
                </p:nvSpPr>
                <p:spPr>
                  <a:xfrm>
                    <a:off x="7441582" y="2790728"/>
                    <a:ext cx="9917" cy="245066"/>
                  </a:xfrm>
                  <a:custGeom>
                    <a:avLst/>
                    <a:gdLst>
                      <a:gd name="connsiteX0" fmla="*/ 4944 w 9917"/>
                      <a:gd name="connsiteY0" fmla="*/ 245067 h 245066"/>
                      <a:gd name="connsiteX1" fmla="*/ 4944 w 9917"/>
                      <a:gd name="connsiteY1" fmla="*/ 245067 h 245066"/>
                      <a:gd name="connsiteX2" fmla="*/ 0 w 9917"/>
                      <a:gd name="connsiteY2" fmla="*/ 240123 h 245066"/>
                      <a:gd name="connsiteX3" fmla="*/ 29 w 9917"/>
                      <a:gd name="connsiteY3" fmla="*/ 4944 h 245066"/>
                      <a:gd name="connsiteX4" fmla="*/ 4973 w 9917"/>
                      <a:gd name="connsiteY4" fmla="*/ 0 h 245066"/>
                      <a:gd name="connsiteX5" fmla="*/ 9917 w 9917"/>
                      <a:gd name="connsiteY5" fmla="*/ 4944 h 245066"/>
                      <a:gd name="connsiteX6" fmla="*/ 9888 w 9917"/>
                      <a:gd name="connsiteY6" fmla="*/ 240123 h 245066"/>
                      <a:gd name="connsiteX7" fmla="*/ 4944 w 9917"/>
                      <a:gd name="connsiteY7" fmla="*/ 245067 h 24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17" h="245066">
                        <a:moveTo>
                          <a:pt x="4944" y="245067"/>
                        </a:moveTo>
                        <a:lnTo>
                          <a:pt x="4944" y="245067"/>
                        </a:lnTo>
                        <a:cubicBezTo>
                          <a:pt x="2226" y="245067"/>
                          <a:pt x="0" y="242841"/>
                          <a:pt x="0" y="240123"/>
                        </a:cubicBezTo>
                        <a:lnTo>
                          <a:pt x="29" y="4944"/>
                        </a:lnTo>
                        <a:cubicBezTo>
                          <a:pt x="29" y="2197"/>
                          <a:pt x="2255" y="0"/>
                          <a:pt x="4973" y="0"/>
                        </a:cubicBezTo>
                        <a:cubicBezTo>
                          <a:pt x="7720" y="0"/>
                          <a:pt x="9917" y="2226"/>
                          <a:pt x="9917" y="4944"/>
                        </a:cubicBezTo>
                        <a:lnTo>
                          <a:pt x="9888" y="240123"/>
                        </a:lnTo>
                        <a:cubicBezTo>
                          <a:pt x="9888" y="242841"/>
                          <a:pt x="7662" y="245067"/>
                          <a:pt x="4944" y="245067"/>
                        </a:cubicBezTo>
                        <a:close/>
                      </a:path>
                    </a:pathLst>
                  </a:custGeom>
                  <a:grpFill/>
                  <a:ln w="2890" cap="flat">
                    <a:noFill/>
                    <a:prstDash val="solid"/>
                    <a:miter/>
                  </a:ln>
                </p:spPr>
                <p:txBody>
                  <a:bodyPr rtlCol="0" anchor="ctr"/>
                  <a:lstStyle/>
                  <a:p>
                    <a:endParaRPr lang="en-GB" dirty="0"/>
                  </a:p>
                </p:txBody>
              </p:sp>
            </p:grpSp>
            <p:sp>
              <p:nvSpPr>
                <p:cNvPr id="493" name="Freihandform: Form 492">
                  <a:extLst>
                    <a:ext uri="{FF2B5EF4-FFF2-40B4-BE49-F238E27FC236}">
                      <a16:creationId xmlns:a16="http://schemas.microsoft.com/office/drawing/2014/main" id="{25799541-EBC0-48C8-AD33-1D1D11AA43F7}"/>
                    </a:ext>
                  </a:extLst>
                </p:cNvPr>
                <p:cNvSpPr/>
                <p:nvPr/>
              </p:nvSpPr>
              <p:spPr>
                <a:xfrm>
                  <a:off x="7345909" y="2578101"/>
                  <a:ext cx="96020" cy="107527"/>
                </a:xfrm>
                <a:custGeom>
                  <a:avLst/>
                  <a:gdLst>
                    <a:gd name="connsiteX0" fmla="*/ 47996 w 96020"/>
                    <a:gd name="connsiteY0" fmla="*/ 107528 h 107527"/>
                    <a:gd name="connsiteX1" fmla="*/ 0 w 96020"/>
                    <a:gd name="connsiteY1" fmla="*/ 53749 h 107527"/>
                    <a:gd name="connsiteX2" fmla="*/ 47996 w 96020"/>
                    <a:gd name="connsiteY2" fmla="*/ 0 h 107527"/>
                    <a:gd name="connsiteX3" fmla="*/ 96020 w 96020"/>
                    <a:gd name="connsiteY3" fmla="*/ 53749 h 107527"/>
                    <a:gd name="connsiteX4" fmla="*/ 47996 w 96020"/>
                    <a:gd name="connsiteY4" fmla="*/ 107528 h 107527"/>
                    <a:gd name="connsiteX5" fmla="*/ 47996 w 96020"/>
                    <a:gd name="connsiteY5" fmla="*/ 9917 h 107527"/>
                    <a:gd name="connsiteX6" fmla="*/ 9888 w 96020"/>
                    <a:gd name="connsiteY6" fmla="*/ 53778 h 107527"/>
                    <a:gd name="connsiteX7" fmla="*/ 47996 w 96020"/>
                    <a:gd name="connsiteY7" fmla="*/ 97639 h 107527"/>
                    <a:gd name="connsiteX8" fmla="*/ 86103 w 96020"/>
                    <a:gd name="connsiteY8" fmla="*/ 53778 h 107527"/>
                    <a:gd name="connsiteX9" fmla="*/ 47996 w 96020"/>
                    <a:gd name="connsiteY9" fmla="*/ 9917 h 10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020" h="107527">
                      <a:moveTo>
                        <a:pt x="47996" y="107528"/>
                      </a:moveTo>
                      <a:cubicBezTo>
                        <a:pt x="21540" y="107528"/>
                        <a:pt x="0" y="83414"/>
                        <a:pt x="0" y="53749"/>
                      </a:cubicBezTo>
                      <a:cubicBezTo>
                        <a:pt x="0" y="24113"/>
                        <a:pt x="21540" y="0"/>
                        <a:pt x="47996" y="0"/>
                      </a:cubicBezTo>
                      <a:cubicBezTo>
                        <a:pt x="74480" y="0"/>
                        <a:pt x="96020" y="24113"/>
                        <a:pt x="96020" y="53749"/>
                      </a:cubicBezTo>
                      <a:cubicBezTo>
                        <a:pt x="95991" y="83414"/>
                        <a:pt x="74451" y="107528"/>
                        <a:pt x="47996" y="107528"/>
                      </a:cubicBezTo>
                      <a:close/>
                      <a:moveTo>
                        <a:pt x="47996" y="9917"/>
                      </a:moveTo>
                      <a:cubicBezTo>
                        <a:pt x="26976" y="9917"/>
                        <a:pt x="9888" y="29607"/>
                        <a:pt x="9888" y="53778"/>
                      </a:cubicBezTo>
                      <a:cubicBezTo>
                        <a:pt x="9888" y="77978"/>
                        <a:pt x="26976" y="97639"/>
                        <a:pt x="47996" y="97639"/>
                      </a:cubicBezTo>
                      <a:cubicBezTo>
                        <a:pt x="69015" y="97639"/>
                        <a:pt x="86103" y="77950"/>
                        <a:pt x="86103" y="53778"/>
                      </a:cubicBezTo>
                      <a:cubicBezTo>
                        <a:pt x="86103" y="29578"/>
                        <a:pt x="69015" y="9917"/>
                        <a:pt x="47996" y="9917"/>
                      </a:cubicBezTo>
                      <a:close/>
                    </a:path>
                  </a:pathLst>
                </a:custGeom>
                <a:grpFill/>
                <a:ln w="2890" cap="flat">
                  <a:noFill/>
                  <a:prstDash val="solid"/>
                  <a:miter/>
                </a:ln>
              </p:spPr>
              <p:txBody>
                <a:bodyPr rtlCol="0" anchor="ctr"/>
                <a:lstStyle/>
                <a:p>
                  <a:endParaRPr lang="en-GB" dirty="0"/>
                </a:p>
              </p:txBody>
            </p:sp>
          </p:grpSp>
          <p:grpSp>
            <p:nvGrpSpPr>
              <p:cNvPr id="483" name="Grafik 53">
                <a:extLst>
                  <a:ext uri="{FF2B5EF4-FFF2-40B4-BE49-F238E27FC236}">
                    <a16:creationId xmlns:a16="http://schemas.microsoft.com/office/drawing/2014/main" id="{C88773E2-52B7-4B15-9F83-622AEC5BEADE}"/>
                  </a:ext>
                </a:extLst>
              </p:cNvPr>
              <p:cNvGrpSpPr/>
              <p:nvPr/>
            </p:nvGrpSpPr>
            <p:grpSpPr>
              <a:xfrm>
                <a:off x="6934765" y="2578101"/>
                <a:ext cx="176058" cy="457693"/>
                <a:chOff x="6934765" y="2578101"/>
                <a:chExt cx="176058" cy="457693"/>
              </a:xfrm>
              <a:grpFill/>
            </p:grpSpPr>
            <p:grpSp>
              <p:nvGrpSpPr>
                <p:cNvPr id="484" name="Grafik 53">
                  <a:extLst>
                    <a:ext uri="{FF2B5EF4-FFF2-40B4-BE49-F238E27FC236}">
                      <a16:creationId xmlns:a16="http://schemas.microsoft.com/office/drawing/2014/main" id="{0849193D-D9D3-4D1E-BD82-0B139E82C7AE}"/>
                    </a:ext>
                  </a:extLst>
                </p:cNvPr>
                <p:cNvGrpSpPr/>
                <p:nvPr/>
              </p:nvGrpSpPr>
              <p:grpSpPr>
                <a:xfrm>
                  <a:off x="6934765" y="2691787"/>
                  <a:ext cx="176058" cy="344007"/>
                  <a:chOff x="6934765" y="2691787"/>
                  <a:chExt cx="176058" cy="344007"/>
                </a:xfrm>
                <a:grpFill/>
              </p:grpSpPr>
              <p:sp>
                <p:nvSpPr>
                  <p:cNvPr id="486" name="Freihandform: Form 485">
                    <a:extLst>
                      <a:ext uri="{FF2B5EF4-FFF2-40B4-BE49-F238E27FC236}">
                        <a16:creationId xmlns:a16="http://schemas.microsoft.com/office/drawing/2014/main" id="{E233661B-835D-48E5-8EBD-85A49DEC1340}"/>
                      </a:ext>
                    </a:extLst>
                  </p:cNvPr>
                  <p:cNvSpPr/>
                  <p:nvPr/>
                </p:nvSpPr>
                <p:spPr>
                  <a:xfrm>
                    <a:off x="7072854" y="2757189"/>
                    <a:ext cx="37970" cy="155349"/>
                  </a:xfrm>
                  <a:custGeom>
                    <a:avLst/>
                    <a:gdLst>
                      <a:gd name="connsiteX0" fmla="*/ 21396 w 37970"/>
                      <a:gd name="connsiteY0" fmla="*/ 155350 h 155349"/>
                      <a:gd name="connsiteX1" fmla="*/ 0 w 37970"/>
                      <a:gd name="connsiteY1" fmla="*/ 133954 h 155349"/>
                      <a:gd name="connsiteX2" fmla="*/ 0 w 37970"/>
                      <a:gd name="connsiteY2" fmla="*/ 4944 h 155349"/>
                      <a:gd name="connsiteX3" fmla="*/ 4944 w 37970"/>
                      <a:gd name="connsiteY3" fmla="*/ 0 h 155349"/>
                      <a:gd name="connsiteX4" fmla="*/ 9888 w 37970"/>
                      <a:gd name="connsiteY4" fmla="*/ 4944 h 155349"/>
                      <a:gd name="connsiteX5" fmla="*/ 9888 w 37970"/>
                      <a:gd name="connsiteY5" fmla="*/ 133954 h 155349"/>
                      <a:gd name="connsiteX6" fmla="*/ 21367 w 37970"/>
                      <a:gd name="connsiteY6" fmla="*/ 145461 h 155349"/>
                      <a:gd name="connsiteX7" fmla="*/ 29520 w 37970"/>
                      <a:gd name="connsiteY7" fmla="*/ 142079 h 155349"/>
                      <a:gd name="connsiteX8" fmla="*/ 36517 w 37970"/>
                      <a:gd name="connsiteY8" fmla="*/ 142079 h 155349"/>
                      <a:gd name="connsiteX9" fmla="*/ 36517 w 37970"/>
                      <a:gd name="connsiteY9" fmla="*/ 149076 h 155349"/>
                      <a:gd name="connsiteX10" fmla="*/ 21396 w 37970"/>
                      <a:gd name="connsiteY10" fmla="*/ 155350 h 155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970" h="155349">
                        <a:moveTo>
                          <a:pt x="21396" y="155350"/>
                        </a:moveTo>
                        <a:cubicBezTo>
                          <a:pt x="9599" y="155350"/>
                          <a:pt x="0" y="145751"/>
                          <a:pt x="0" y="133954"/>
                        </a:cubicBezTo>
                        <a:lnTo>
                          <a:pt x="0" y="4944"/>
                        </a:lnTo>
                        <a:cubicBezTo>
                          <a:pt x="0" y="2226"/>
                          <a:pt x="2226" y="0"/>
                          <a:pt x="4944" y="0"/>
                        </a:cubicBezTo>
                        <a:cubicBezTo>
                          <a:pt x="7662" y="0"/>
                          <a:pt x="9888" y="2226"/>
                          <a:pt x="9888" y="4944"/>
                        </a:cubicBezTo>
                        <a:lnTo>
                          <a:pt x="9888" y="133954"/>
                        </a:lnTo>
                        <a:cubicBezTo>
                          <a:pt x="9888" y="140286"/>
                          <a:pt x="15035" y="145461"/>
                          <a:pt x="21367" y="145461"/>
                        </a:cubicBezTo>
                        <a:cubicBezTo>
                          <a:pt x="24432" y="145461"/>
                          <a:pt x="27323" y="144276"/>
                          <a:pt x="29520" y="142079"/>
                        </a:cubicBezTo>
                        <a:cubicBezTo>
                          <a:pt x="31457" y="140141"/>
                          <a:pt x="34580" y="140141"/>
                          <a:pt x="36517" y="142079"/>
                        </a:cubicBezTo>
                        <a:cubicBezTo>
                          <a:pt x="38454" y="144016"/>
                          <a:pt x="38454" y="147138"/>
                          <a:pt x="36517" y="149076"/>
                        </a:cubicBezTo>
                        <a:cubicBezTo>
                          <a:pt x="32498" y="153123"/>
                          <a:pt x="27120" y="155350"/>
                          <a:pt x="21396" y="155350"/>
                        </a:cubicBezTo>
                        <a:close/>
                      </a:path>
                    </a:pathLst>
                  </a:custGeom>
                  <a:grpFill/>
                  <a:ln w="2890" cap="flat">
                    <a:noFill/>
                    <a:prstDash val="solid"/>
                    <a:miter/>
                  </a:ln>
                </p:spPr>
                <p:txBody>
                  <a:bodyPr rtlCol="0" anchor="ctr"/>
                  <a:lstStyle/>
                  <a:p>
                    <a:endParaRPr lang="en-GB" dirty="0"/>
                  </a:p>
                </p:txBody>
              </p:sp>
              <p:sp>
                <p:nvSpPr>
                  <p:cNvPr id="487" name="Freihandform: Form 486">
                    <a:extLst>
                      <a:ext uri="{FF2B5EF4-FFF2-40B4-BE49-F238E27FC236}">
                        <a16:creationId xmlns:a16="http://schemas.microsoft.com/office/drawing/2014/main" id="{1910C39B-E56C-4D1B-9CDF-31705E5A8F2E}"/>
                      </a:ext>
                    </a:extLst>
                  </p:cNvPr>
                  <p:cNvSpPr/>
                  <p:nvPr/>
                </p:nvSpPr>
                <p:spPr>
                  <a:xfrm>
                    <a:off x="7040240" y="2691787"/>
                    <a:ext cx="52850" cy="18995"/>
                  </a:xfrm>
                  <a:custGeom>
                    <a:avLst/>
                    <a:gdLst>
                      <a:gd name="connsiteX0" fmla="*/ 47880 w 52850"/>
                      <a:gd name="connsiteY0" fmla="*/ 18996 h 18995"/>
                      <a:gd name="connsiteX1" fmla="*/ 46810 w 52850"/>
                      <a:gd name="connsiteY1" fmla="*/ 18880 h 18995"/>
                      <a:gd name="connsiteX2" fmla="*/ 39756 w 52850"/>
                      <a:gd name="connsiteY2" fmla="*/ 17984 h 18995"/>
                      <a:gd name="connsiteX3" fmla="*/ 14515 w 52850"/>
                      <a:gd name="connsiteY3" fmla="*/ 17984 h 18995"/>
                      <a:gd name="connsiteX4" fmla="*/ 0 w 52850"/>
                      <a:gd name="connsiteY4" fmla="*/ 5031 h 18995"/>
                      <a:gd name="connsiteX5" fmla="*/ 4887 w 52850"/>
                      <a:gd name="connsiteY5" fmla="*/ 0 h 18995"/>
                      <a:gd name="connsiteX6" fmla="*/ 9918 w 52850"/>
                      <a:gd name="connsiteY6" fmla="*/ 4857 h 18995"/>
                      <a:gd name="connsiteX7" fmla="*/ 15035 w 52850"/>
                      <a:gd name="connsiteY7" fmla="*/ 8096 h 18995"/>
                      <a:gd name="connsiteX8" fmla="*/ 39814 w 52850"/>
                      <a:gd name="connsiteY8" fmla="*/ 8067 h 18995"/>
                      <a:gd name="connsiteX9" fmla="*/ 48950 w 52850"/>
                      <a:gd name="connsiteY9" fmla="*/ 9194 h 18995"/>
                      <a:gd name="connsiteX10" fmla="*/ 52738 w 52850"/>
                      <a:gd name="connsiteY10" fmla="*/ 15093 h 18995"/>
                      <a:gd name="connsiteX11" fmla="*/ 47880 w 52850"/>
                      <a:gd name="connsiteY11" fmla="*/ 18996 h 1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2850" h="18995">
                        <a:moveTo>
                          <a:pt x="47880" y="18996"/>
                        </a:moveTo>
                        <a:cubicBezTo>
                          <a:pt x="47533" y="18996"/>
                          <a:pt x="47186" y="18967"/>
                          <a:pt x="46810" y="18880"/>
                        </a:cubicBezTo>
                        <a:cubicBezTo>
                          <a:pt x="42820" y="18013"/>
                          <a:pt x="39785" y="17984"/>
                          <a:pt x="39756" y="17984"/>
                        </a:cubicBezTo>
                        <a:lnTo>
                          <a:pt x="14515" y="17984"/>
                        </a:lnTo>
                        <a:cubicBezTo>
                          <a:pt x="9224" y="17463"/>
                          <a:pt x="145" y="14138"/>
                          <a:pt x="0" y="5031"/>
                        </a:cubicBezTo>
                        <a:cubicBezTo>
                          <a:pt x="-28" y="2284"/>
                          <a:pt x="2140" y="58"/>
                          <a:pt x="4887" y="0"/>
                        </a:cubicBezTo>
                        <a:cubicBezTo>
                          <a:pt x="7518" y="116"/>
                          <a:pt x="9860" y="2140"/>
                          <a:pt x="9918" y="4857"/>
                        </a:cubicBezTo>
                        <a:cubicBezTo>
                          <a:pt x="9946" y="7373"/>
                          <a:pt x="14977" y="8067"/>
                          <a:pt x="15035" y="8096"/>
                        </a:cubicBezTo>
                        <a:lnTo>
                          <a:pt x="39814" y="8067"/>
                        </a:lnTo>
                        <a:cubicBezTo>
                          <a:pt x="39987" y="8067"/>
                          <a:pt x="43890" y="8067"/>
                          <a:pt x="48950" y="9194"/>
                        </a:cubicBezTo>
                        <a:cubicBezTo>
                          <a:pt x="51610" y="9773"/>
                          <a:pt x="53316" y="12404"/>
                          <a:pt x="52738" y="15093"/>
                        </a:cubicBezTo>
                        <a:cubicBezTo>
                          <a:pt x="52188" y="17435"/>
                          <a:pt x="50164" y="18996"/>
                          <a:pt x="47880" y="18996"/>
                        </a:cubicBezTo>
                        <a:close/>
                      </a:path>
                    </a:pathLst>
                  </a:custGeom>
                  <a:grpFill/>
                  <a:ln w="2890" cap="flat">
                    <a:noFill/>
                    <a:prstDash val="solid"/>
                    <a:miter/>
                  </a:ln>
                </p:spPr>
                <p:txBody>
                  <a:bodyPr rtlCol="0" anchor="ctr"/>
                  <a:lstStyle/>
                  <a:p>
                    <a:endParaRPr lang="en-GB" dirty="0"/>
                  </a:p>
                </p:txBody>
              </p:sp>
              <p:sp>
                <p:nvSpPr>
                  <p:cNvPr id="488" name="Freihandform: Form 487">
                    <a:extLst>
                      <a:ext uri="{FF2B5EF4-FFF2-40B4-BE49-F238E27FC236}">
                        <a16:creationId xmlns:a16="http://schemas.microsoft.com/office/drawing/2014/main" id="{122980BF-1380-407C-8140-36595A50B0B8}"/>
                      </a:ext>
                    </a:extLst>
                  </p:cNvPr>
                  <p:cNvSpPr/>
                  <p:nvPr/>
                </p:nvSpPr>
                <p:spPr>
                  <a:xfrm>
                    <a:off x="6934765" y="2691845"/>
                    <a:ext cx="73352" cy="220693"/>
                  </a:xfrm>
                  <a:custGeom>
                    <a:avLst/>
                    <a:gdLst>
                      <a:gd name="connsiteX0" fmla="*/ 21396 w 73352"/>
                      <a:gd name="connsiteY0" fmla="*/ 220693 h 220693"/>
                      <a:gd name="connsiteX1" fmla="*/ 0 w 73352"/>
                      <a:gd name="connsiteY1" fmla="*/ 199297 h 220693"/>
                      <a:gd name="connsiteX2" fmla="*/ 0 w 73352"/>
                      <a:gd name="connsiteY2" fmla="*/ 39322 h 220693"/>
                      <a:gd name="connsiteX3" fmla="*/ 35650 w 73352"/>
                      <a:gd name="connsiteY3" fmla="*/ 8067 h 220693"/>
                      <a:gd name="connsiteX4" fmla="*/ 60920 w 73352"/>
                      <a:gd name="connsiteY4" fmla="*/ 8067 h 220693"/>
                      <a:gd name="connsiteX5" fmla="*/ 63464 w 73352"/>
                      <a:gd name="connsiteY5" fmla="*/ 4915 h 220693"/>
                      <a:gd name="connsiteX6" fmla="*/ 68408 w 73352"/>
                      <a:gd name="connsiteY6" fmla="*/ 0 h 220693"/>
                      <a:gd name="connsiteX7" fmla="*/ 68437 w 73352"/>
                      <a:gd name="connsiteY7" fmla="*/ 0 h 220693"/>
                      <a:gd name="connsiteX8" fmla="*/ 73352 w 73352"/>
                      <a:gd name="connsiteY8" fmla="*/ 4973 h 220693"/>
                      <a:gd name="connsiteX9" fmla="*/ 69623 w 73352"/>
                      <a:gd name="connsiteY9" fmla="*/ 14572 h 220693"/>
                      <a:gd name="connsiteX10" fmla="*/ 60746 w 73352"/>
                      <a:gd name="connsiteY10" fmla="*/ 17955 h 220693"/>
                      <a:gd name="connsiteX11" fmla="*/ 35650 w 73352"/>
                      <a:gd name="connsiteY11" fmla="*/ 17955 h 220693"/>
                      <a:gd name="connsiteX12" fmla="*/ 9917 w 73352"/>
                      <a:gd name="connsiteY12" fmla="*/ 39322 h 220693"/>
                      <a:gd name="connsiteX13" fmla="*/ 9917 w 73352"/>
                      <a:gd name="connsiteY13" fmla="*/ 199297 h 220693"/>
                      <a:gd name="connsiteX14" fmla="*/ 21396 w 73352"/>
                      <a:gd name="connsiteY14" fmla="*/ 210805 h 220693"/>
                      <a:gd name="connsiteX15" fmla="*/ 32903 w 73352"/>
                      <a:gd name="connsiteY15" fmla="*/ 199297 h 220693"/>
                      <a:gd name="connsiteX16" fmla="*/ 32903 w 73352"/>
                      <a:gd name="connsiteY16" fmla="*/ 70837 h 220693"/>
                      <a:gd name="connsiteX17" fmla="*/ 37847 w 73352"/>
                      <a:gd name="connsiteY17" fmla="*/ 65893 h 220693"/>
                      <a:gd name="connsiteX18" fmla="*/ 42791 w 73352"/>
                      <a:gd name="connsiteY18" fmla="*/ 70837 h 220693"/>
                      <a:gd name="connsiteX19" fmla="*/ 42791 w 73352"/>
                      <a:gd name="connsiteY19" fmla="*/ 199297 h 220693"/>
                      <a:gd name="connsiteX20" fmla="*/ 21396 w 73352"/>
                      <a:gd name="connsiteY20" fmla="*/ 220693 h 220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3352" h="220693">
                        <a:moveTo>
                          <a:pt x="21396" y="220693"/>
                        </a:moveTo>
                        <a:cubicBezTo>
                          <a:pt x="9599" y="220693"/>
                          <a:pt x="0" y="211094"/>
                          <a:pt x="0" y="199297"/>
                        </a:cubicBezTo>
                        <a:lnTo>
                          <a:pt x="0" y="39322"/>
                        </a:lnTo>
                        <a:cubicBezTo>
                          <a:pt x="0" y="14601"/>
                          <a:pt x="23304" y="8067"/>
                          <a:pt x="35650" y="8067"/>
                        </a:cubicBezTo>
                        <a:lnTo>
                          <a:pt x="60920" y="8067"/>
                        </a:lnTo>
                        <a:cubicBezTo>
                          <a:pt x="63464" y="8038"/>
                          <a:pt x="63464" y="6014"/>
                          <a:pt x="63464" y="4915"/>
                        </a:cubicBezTo>
                        <a:cubicBezTo>
                          <a:pt x="63464" y="2197"/>
                          <a:pt x="65690" y="0"/>
                          <a:pt x="68408" y="0"/>
                        </a:cubicBezTo>
                        <a:cubicBezTo>
                          <a:pt x="68408" y="0"/>
                          <a:pt x="68437" y="0"/>
                          <a:pt x="68437" y="0"/>
                        </a:cubicBezTo>
                        <a:cubicBezTo>
                          <a:pt x="71155" y="29"/>
                          <a:pt x="73381" y="2255"/>
                          <a:pt x="73352" y="4973"/>
                        </a:cubicBezTo>
                        <a:cubicBezTo>
                          <a:pt x="73323" y="9975"/>
                          <a:pt x="71300" y="12953"/>
                          <a:pt x="69623" y="14572"/>
                        </a:cubicBezTo>
                        <a:cubicBezTo>
                          <a:pt x="66008" y="18042"/>
                          <a:pt x="61238" y="17984"/>
                          <a:pt x="60746" y="17955"/>
                        </a:cubicBezTo>
                        <a:lnTo>
                          <a:pt x="35650" y="17955"/>
                        </a:lnTo>
                        <a:cubicBezTo>
                          <a:pt x="34609" y="17955"/>
                          <a:pt x="9917" y="18331"/>
                          <a:pt x="9917" y="39322"/>
                        </a:cubicBezTo>
                        <a:lnTo>
                          <a:pt x="9917" y="199297"/>
                        </a:lnTo>
                        <a:cubicBezTo>
                          <a:pt x="9917" y="205629"/>
                          <a:pt x="15064" y="210805"/>
                          <a:pt x="21396" y="210805"/>
                        </a:cubicBezTo>
                        <a:cubicBezTo>
                          <a:pt x="27728" y="210805"/>
                          <a:pt x="32903" y="205658"/>
                          <a:pt x="32903" y="199297"/>
                        </a:cubicBezTo>
                        <a:lnTo>
                          <a:pt x="32903" y="70837"/>
                        </a:lnTo>
                        <a:cubicBezTo>
                          <a:pt x="32903" y="68119"/>
                          <a:pt x="35129" y="65893"/>
                          <a:pt x="37847" y="65893"/>
                        </a:cubicBezTo>
                        <a:cubicBezTo>
                          <a:pt x="40594" y="65893"/>
                          <a:pt x="42791" y="68119"/>
                          <a:pt x="42791" y="70837"/>
                        </a:cubicBezTo>
                        <a:lnTo>
                          <a:pt x="42791" y="199297"/>
                        </a:lnTo>
                        <a:cubicBezTo>
                          <a:pt x="42791" y="211094"/>
                          <a:pt x="33192" y="220693"/>
                          <a:pt x="21396" y="220693"/>
                        </a:cubicBezTo>
                        <a:close/>
                      </a:path>
                    </a:pathLst>
                  </a:custGeom>
                  <a:grpFill/>
                  <a:ln w="2890" cap="flat">
                    <a:noFill/>
                    <a:prstDash val="solid"/>
                    <a:miter/>
                  </a:ln>
                </p:spPr>
                <p:txBody>
                  <a:bodyPr rtlCol="0" anchor="ctr"/>
                  <a:lstStyle/>
                  <a:p>
                    <a:endParaRPr lang="en-GB" dirty="0"/>
                  </a:p>
                </p:txBody>
              </p:sp>
              <p:sp>
                <p:nvSpPr>
                  <p:cNvPr id="489" name="Freihandform: Form 488">
                    <a:extLst>
                      <a:ext uri="{FF2B5EF4-FFF2-40B4-BE49-F238E27FC236}">
                        <a16:creationId xmlns:a16="http://schemas.microsoft.com/office/drawing/2014/main" id="{D0B5E407-D07C-4D7E-90A6-D96CEA91C802}"/>
                      </a:ext>
                    </a:extLst>
                  </p:cNvPr>
                  <p:cNvSpPr/>
                  <p:nvPr/>
                </p:nvSpPr>
                <p:spPr>
                  <a:xfrm>
                    <a:off x="7018931" y="2884232"/>
                    <a:ext cx="9888" cy="151562"/>
                  </a:xfrm>
                  <a:custGeom>
                    <a:avLst/>
                    <a:gdLst>
                      <a:gd name="connsiteX0" fmla="*/ 4944 w 9888"/>
                      <a:gd name="connsiteY0" fmla="*/ 151562 h 151562"/>
                      <a:gd name="connsiteX1" fmla="*/ 0 w 9888"/>
                      <a:gd name="connsiteY1" fmla="*/ 146618 h 151562"/>
                      <a:gd name="connsiteX2" fmla="*/ 0 w 9888"/>
                      <a:gd name="connsiteY2" fmla="*/ 4944 h 151562"/>
                      <a:gd name="connsiteX3" fmla="*/ 4944 w 9888"/>
                      <a:gd name="connsiteY3" fmla="*/ 0 h 151562"/>
                      <a:gd name="connsiteX4" fmla="*/ 9888 w 9888"/>
                      <a:gd name="connsiteY4" fmla="*/ 4944 h 151562"/>
                      <a:gd name="connsiteX5" fmla="*/ 9888 w 9888"/>
                      <a:gd name="connsiteY5" fmla="*/ 146618 h 151562"/>
                      <a:gd name="connsiteX6" fmla="*/ 4944 w 9888"/>
                      <a:gd name="connsiteY6" fmla="*/ 151562 h 15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151562">
                        <a:moveTo>
                          <a:pt x="4944" y="151562"/>
                        </a:moveTo>
                        <a:cubicBezTo>
                          <a:pt x="2197" y="151562"/>
                          <a:pt x="0" y="149336"/>
                          <a:pt x="0" y="146618"/>
                        </a:cubicBezTo>
                        <a:lnTo>
                          <a:pt x="0" y="4944"/>
                        </a:lnTo>
                        <a:cubicBezTo>
                          <a:pt x="0" y="2197"/>
                          <a:pt x="2226" y="0"/>
                          <a:pt x="4944" y="0"/>
                        </a:cubicBezTo>
                        <a:cubicBezTo>
                          <a:pt x="7662" y="0"/>
                          <a:pt x="9888" y="2226"/>
                          <a:pt x="9888" y="4944"/>
                        </a:cubicBezTo>
                        <a:lnTo>
                          <a:pt x="9888" y="146618"/>
                        </a:lnTo>
                        <a:cubicBezTo>
                          <a:pt x="9888" y="149336"/>
                          <a:pt x="7662" y="151562"/>
                          <a:pt x="4944" y="151562"/>
                        </a:cubicBezTo>
                        <a:close/>
                      </a:path>
                    </a:pathLst>
                  </a:custGeom>
                  <a:grpFill/>
                  <a:ln w="2890" cap="flat">
                    <a:noFill/>
                    <a:prstDash val="solid"/>
                    <a:miter/>
                  </a:ln>
                </p:spPr>
                <p:txBody>
                  <a:bodyPr rtlCol="0" anchor="ctr"/>
                  <a:lstStyle/>
                  <a:p>
                    <a:endParaRPr lang="en-GB" dirty="0"/>
                  </a:p>
                </p:txBody>
              </p:sp>
              <p:sp>
                <p:nvSpPr>
                  <p:cNvPr id="490" name="Freihandform: Form 489">
                    <a:extLst>
                      <a:ext uri="{FF2B5EF4-FFF2-40B4-BE49-F238E27FC236}">
                        <a16:creationId xmlns:a16="http://schemas.microsoft.com/office/drawing/2014/main" id="{536AEFF2-91CE-472D-84A2-7D77F1871934}"/>
                      </a:ext>
                    </a:extLst>
                  </p:cNvPr>
                  <p:cNvSpPr/>
                  <p:nvPr/>
                </p:nvSpPr>
                <p:spPr>
                  <a:xfrm>
                    <a:off x="7072854" y="2790728"/>
                    <a:ext cx="9917" cy="245066"/>
                  </a:xfrm>
                  <a:custGeom>
                    <a:avLst/>
                    <a:gdLst>
                      <a:gd name="connsiteX0" fmla="*/ 4944 w 9917"/>
                      <a:gd name="connsiteY0" fmla="*/ 245067 h 245066"/>
                      <a:gd name="connsiteX1" fmla="*/ 4944 w 9917"/>
                      <a:gd name="connsiteY1" fmla="*/ 245067 h 245066"/>
                      <a:gd name="connsiteX2" fmla="*/ 0 w 9917"/>
                      <a:gd name="connsiteY2" fmla="*/ 240123 h 245066"/>
                      <a:gd name="connsiteX3" fmla="*/ 29 w 9917"/>
                      <a:gd name="connsiteY3" fmla="*/ 4944 h 245066"/>
                      <a:gd name="connsiteX4" fmla="*/ 4973 w 9917"/>
                      <a:gd name="connsiteY4" fmla="*/ 0 h 245066"/>
                      <a:gd name="connsiteX5" fmla="*/ 9917 w 9917"/>
                      <a:gd name="connsiteY5" fmla="*/ 4944 h 245066"/>
                      <a:gd name="connsiteX6" fmla="*/ 9888 w 9917"/>
                      <a:gd name="connsiteY6" fmla="*/ 240123 h 245066"/>
                      <a:gd name="connsiteX7" fmla="*/ 4944 w 9917"/>
                      <a:gd name="connsiteY7" fmla="*/ 245067 h 24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17" h="245066">
                        <a:moveTo>
                          <a:pt x="4944" y="245067"/>
                        </a:moveTo>
                        <a:lnTo>
                          <a:pt x="4944" y="245067"/>
                        </a:lnTo>
                        <a:cubicBezTo>
                          <a:pt x="2197" y="245067"/>
                          <a:pt x="0" y="242841"/>
                          <a:pt x="0" y="240123"/>
                        </a:cubicBezTo>
                        <a:lnTo>
                          <a:pt x="29" y="4944"/>
                        </a:lnTo>
                        <a:cubicBezTo>
                          <a:pt x="29" y="2197"/>
                          <a:pt x="2255" y="0"/>
                          <a:pt x="4973" y="0"/>
                        </a:cubicBezTo>
                        <a:cubicBezTo>
                          <a:pt x="7691" y="0"/>
                          <a:pt x="9917" y="2226"/>
                          <a:pt x="9917" y="4944"/>
                        </a:cubicBezTo>
                        <a:lnTo>
                          <a:pt x="9888" y="240123"/>
                        </a:lnTo>
                        <a:cubicBezTo>
                          <a:pt x="9888" y="242841"/>
                          <a:pt x="7662" y="245067"/>
                          <a:pt x="4944" y="245067"/>
                        </a:cubicBezTo>
                        <a:close/>
                      </a:path>
                    </a:pathLst>
                  </a:custGeom>
                  <a:grpFill/>
                  <a:ln w="2890" cap="flat">
                    <a:noFill/>
                    <a:prstDash val="solid"/>
                    <a:miter/>
                  </a:ln>
                </p:spPr>
                <p:txBody>
                  <a:bodyPr rtlCol="0" anchor="ctr"/>
                  <a:lstStyle/>
                  <a:p>
                    <a:endParaRPr lang="en-GB" dirty="0"/>
                  </a:p>
                </p:txBody>
              </p:sp>
              <p:sp>
                <p:nvSpPr>
                  <p:cNvPr id="491" name="Freihandform: Form 490">
                    <a:extLst>
                      <a:ext uri="{FF2B5EF4-FFF2-40B4-BE49-F238E27FC236}">
                        <a16:creationId xmlns:a16="http://schemas.microsoft.com/office/drawing/2014/main" id="{313520C8-AC99-49E7-A2E4-FE80611420FC}"/>
                      </a:ext>
                    </a:extLst>
                  </p:cNvPr>
                  <p:cNvSpPr/>
                  <p:nvPr/>
                </p:nvSpPr>
                <p:spPr>
                  <a:xfrm>
                    <a:off x="6967640" y="2790728"/>
                    <a:ext cx="9917" cy="245066"/>
                  </a:xfrm>
                  <a:custGeom>
                    <a:avLst/>
                    <a:gdLst>
                      <a:gd name="connsiteX0" fmla="*/ 4973 w 9917"/>
                      <a:gd name="connsiteY0" fmla="*/ 245067 h 245066"/>
                      <a:gd name="connsiteX1" fmla="*/ 29 w 9917"/>
                      <a:gd name="connsiteY1" fmla="*/ 240123 h 245066"/>
                      <a:gd name="connsiteX2" fmla="*/ 0 w 9917"/>
                      <a:gd name="connsiteY2" fmla="*/ 4944 h 245066"/>
                      <a:gd name="connsiteX3" fmla="*/ 4944 w 9917"/>
                      <a:gd name="connsiteY3" fmla="*/ 0 h 245066"/>
                      <a:gd name="connsiteX4" fmla="*/ 9888 w 9917"/>
                      <a:gd name="connsiteY4" fmla="*/ 4944 h 245066"/>
                      <a:gd name="connsiteX5" fmla="*/ 9917 w 9917"/>
                      <a:gd name="connsiteY5" fmla="*/ 240123 h 245066"/>
                      <a:gd name="connsiteX6" fmla="*/ 4973 w 9917"/>
                      <a:gd name="connsiteY6" fmla="*/ 245067 h 245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917" h="245066">
                        <a:moveTo>
                          <a:pt x="4973" y="245067"/>
                        </a:moveTo>
                        <a:cubicBezTo>
                          <a:pt x="2226" y="245067"/>
                          <a:pt x="29" y="242841"/>
                          <a:pt x="29" y="240123"/>
                        </a:cubicBezTo>
                        <a:lnTo>
                          <a:pt x="0" y="4944"/>
                        </a:lnTo>
                        <a:cubicBezTo>
                          <a:pt x="0" y="2197"/>
                          <a:pt x="2226" y="0"/>
                          <a:pt x="4944" y="0"/>
                        </a:cubicBezTo>
                        <a:cubicBezTo>
                          <a:pt x="7691" y="0"/>
                          <a:pt x="9888" y="2226"/>
                          <a:pt x="9888" y="4944"/>
                        </a:cubicBezTo>
                        <a:lnTo>
                          <a:pt x="9917" y="240123"/>
                        </a:lnTo>
                        <a:cubicBezTo>
                          <a:pt x="9917" y="242841"/>
                          <a:pt x="7691" y="245067"/>
                          <a:pt x="4973" y="245067"/>
                        </a:cubicBezTo>
                        <a:close/>
                      </a:path>
                    </a:pathLst>
                  </a:custGeom>
                  <a:grpFill/>
                  <a:ln w="2890" cap="flat">
                    <a:noFill/>
                    <a:prstDash val="solid"/>
                    <a:miter/>
                  </a:ln>
                </p:spPr>
                <p:txBody>
                  <a:bodyPr rtlCol="0" anchor="ctr"/>
                  <a:lstStyle/>
                  <a:p>
                    <a:endParaRPr lang="en-GB" dirty="0"/>
                  </a:p>
                </p:txBody>
              </p:sp>
            </p:grpSp>
            <p:sp>
              <p:nvSpPr>
                <p:cNvPr id="485" name="Freihandform: Form 484">
                  <a:extLst>
                    <a:ext uri="{FF2B5EF4-FFF2-40B4-BE49-F238E27FC236}">
                      <a16:creationId xmlns:a16="http://schemas.microsoft.com/office/drawing/2014/main" id="{B892C3FD-AFFF-4823-9D7D-8AC8A2A205E2}"/>
                    </a:ext>
                  </a:extLst>
                </p:cNvPr>
                <p:cNvSpPr/>
                <p:nvPr/>
              </p:nvSpPr>
              <p:spPr>
                <a:xfrm>
                  <a:off x="6977210" y="2578101"/>
                  <a:ext cx="96020" cy="107527"/>
                </a:xfrm>
                <a:custGeom>
                  <a:avLst/>
                  <a:gdLst>
                    <a:gd name="connsiteX0" fmla="*/ 48024 w 96020"/>
                    <a:gd name="connsiteY0" fmla="*/ 107528 h 107527"/>
                    <a:gd name="connsiteX1" fmla="*/ 0 w 96020"/>
                    <a:gd name="connsiteY1" fmla="*/ 53749 h 107527"/>
                    <a:gd name="connsiteX2" fmla="*/ 48024 w 96020"/>
                    <a:gd name="connsiteY2" fmla="*/ 0 h 107527"/>
                    <a:gd name="connsiteX3" fmla="*/ 96020 w 96020"/>
                    <a:gd name="connsiteY3" fmla="*/ 53749 h 107527"/>
                    <a:gd name="connsiteX4" fmla="*/ 48024 w 96020"/>
                    <a:gd name="connsiteY4" fmla="*/ 107528 h 107527"/>
                    <a:gd name="connsiteX5" fmla="*/ 48024 w 96020"/>
                    <a:gd name="connsiteY5" fmla="*/ 9917 h 107527"/>
                    <a:gd name="connsiteX6" fmla="*/ 9917 w 96020"/>
                    <a:gd name="connsiteY6" fmla="*/ 53778 h 107527"/>
                    <a:gd name="connsiteX7" fmla="*/ 48024 w 96020"/>
                    <a:gd name="connsiteY7" fmla="*/ 97639 h 107527"/>
                    <a:gd name="connsiteX8" fmla="*/ 86132 w 96020"/>
                    <a:gd name="connsiteY8" fmla="*/ 53778 h 107527"/>
                    <a:gd name="connsiteX9" fmla="*/ 48024 w 96020"/>
                    <a:gd name="connsiteY9" fmla="*/ 9917 h 10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020" h="107527">
                      <a:moveTo>
                        <a:pt x="48024" y="107528"/>
                      </a:moveTo>
                      <a:cubicBezTo>
                        <a:pt x="21540" y="107528"/>
                        <a:pt x="0" y="83414"/>
                        <a:pt x="0" y="53749"/>
                      </a:cubicBezTo>
                      <a:cubicBezTo>
                        <a:pt x="0" y="24113"/>
                        <a:pt x="21540" y="0"/>
                        <a:pt x="48024" y="0"/>
                      </a:cubicBezTo>
                      <a:cubicBezTo>
                        <a:pt x="74480" y="0"/>
                        <a:pt x="96020" y="24113"/>
                        <a:pt x="96020" y="53749"/>
                      </a:cubicBezTo>
                      <a:cubicBezTo>
                        <a:pt x="96020" y="83414"/>
                        <a:pt x="74480" y="107528"/>
                        <a:pt x="48024" y="107528"/>
                      </a:cubicBezTo>
                      <a:close/>
                      <a:moveTo>
                        <a:pt x="48024" y="9917"/>
                      </a:moveTo>
                      <a:cubicBezTo>
                        <a:pt x="27005" y="9917"/>
                        <a:pt x="9917" y="29607"/>
                        <a:pt x="9917" y="53778"/>
                      </a:cubicBezTo>
                      <a:cubicBezTo>
                        <a:pt x="9917" y="77978"/>
                        <a:pt x="27005" y="97639"/>
                        <a:pt x="48024" y="97639"/>
                      </a:cubicBezTo>
                      <a:cubicBezTo>
                        <a:pt x="69044" y="97639"/>
                        <a:pt x="86132" y="77950"/>
                        <a:pt x="86132" y="53778"/>
                      </a:cubicBezTo>
                      <a:cubicBezTo>
                        <a:pt x="86103" y="29578"/>
                        <a:pt x="69015" y="9917"/>
                        <a:pt x="48024" y="9917"/>
                      </a:cubicBezTo>
                      <a:close/>
                    </a:path>
                  </a:pathLst>
                </a:custGeom>
                <a:grpFill/>
                <a:ln w="2890" cap="flat">
                  <a:noFill/>
                  <a:prstDash val="solid"/>
                  <a:miter/>
                </a:ln>
              </p:spPr>
              <p:txBody>
                <a:bodyPr rtlCol="0" anchor="ctr"/>
                <a:lstStyle/>
                <a:p>
                  <a:endParaRPr lang="en-GB" dirty="0"/>
                </a:p>
              </p:txBody>
            </p:sp>
          </p:grpSp>
        </p:grpSp>
      </p:grpSp>
      <p:grpSp>
        <p:nvGrpSpPr>
          <p:cNvPr id="36" name="Group 35">
            <a:extLst>
              <a:ext uri="{FF2B5EF4-FFF2-40B4-BE49-F238E27FC236}">
                <a16:creationId xmlns:a16="http://schemas.microsoft.com/office/drawing/2014/main" id="{C5A4DFFD-E314-7190-CEE7-8665E234A309}"/>
              </a:ext>
            </a:extLst>
          </p:cNvPr>
          <p:cNvGrpSpPr/>
          <p:nvPr/>
        </p:nvGrpSpPr>
        <p:grpSpPr>
          <a:xfrm>
            <a:off x="8060797" y="2449341"/>
            <a:ext cx="563751" cy="432000"/>
            <a:chOff x="8060385" y="2449341"/>
            <a:chExt cx="563751" cy="432000"/>
          </a:xfrm>
        </p:grpSpPr>
        <p:grpSp>
          <p:nvGrpSpPr>
            <p:cNvPr id="508" name="Grafik 53">
              <a:extLst>
                <a:ext uri="{FF2B5EF4-FFF2-40B4-BE49-F238E27FC236}">
                  <a16:creationId xmlns:a16="http://schemas.microsoft.com/office/drawing/2014/main" id="{C52873DB-BC2F-4FDD-8B72-A6A4A5B949FA}"/>
                </a:ext>
              </a:extLst>
            </p:cNvPr>
            <p:cNvGrpSpPr/>
            <p:nvPr/>
          </p:nvGrpSpPr>
          <p:grpSpPr>
            <a:xfrm>
              <a:off x="8205008" y="2449369"/>
              <a:ext cx="340226" cy="431972"/>
              <a:chOff x="7891690" y="2541081"/>
              <a:chExt cx="351361" cy="446110"/>
            </a:xfrm>
            <a:solidFill>
              <a:schemeClr val="tx2"/>
            </a:solidFill>
          </p:grpSpPr>
          <p:sp>
            <p:nvSpPr>
              <p:cNvPr id="527" name="Freihandform: Form 526">
                <a:extLst>
                  <a:ext uri="{FF2B5EF4-FFF2-40B4-BE49-F238E27FC236}">
                    <a16:creationId xmlns:a16="http://schemas.microsoft.com/office/drawing/2014/main" id="{964118FC-F306-475C-9C57-F684AB2291EB}"/>
                  </a:ext>
                </a:extLst>
              </p:cNvPr>
              <p:cNvSpPr/>
              <p:nvPr/>
            </p:nvSpPr>
            <p:spPr>
              <a:xfrm>
                <a:off x="8124392" y="2868562"/>
                <a:ext cx="88184" cy="88184"/>
              </a:xfrm>
              <a:custGeom>
                <a:avLst/>
                <a:gdLst>
                  <a:gd name="connsiteX0" fmla="*/ 44092 w 88184"/>
                  <a:gd name="connsiteY0" fmla="*/ 88185 h 88184"/>
                  <a:gd name="connsiteX1" fmla="*/ 0 w 88184"/>
                  <a:gd name="connsiteY1" fmla="*/ 44092 h 88184"/>
                  <a:gd name="connsiteX2" fmla="*/ 44092 w 88184"/>
                  <a:gd name="connsiteY2" fmla="*/ 0 h 88184"/>
                  <a:gd name="connsiteX3" fmla="*/ 88185 w 88184"/>
                  <a:gd name="connsiteY3" fmla="*/ 44092 h 88184"/>
                  <a:gd name="connsiteX4" fmla="*/ 44092 w 88184"/>
                  <a:gd name="connsiteY4" fmla="*/ 88185 h 88184"/>
                  <a:gd name="connsiteX5" fmla="*/ 44092 w 88184"/>
                  <a:gd name="connsiteY5" fmla="*/ 9859 h 88184"/>
                  <a:gd name="connsiteX6" fmla="*/ 9888 w 88184"/>
                  <a:gd name="connsiteY6" fmla="*/ 44064 h 88184"/>
                  <a:gd name="connsiteX7" fmla="*/ 44092 w 88184"/>
                  <a:gd name="connsiteY7" fmla="*/ 78268 h 88184"/>
                  <a:gd name="connsiteX8" fmla="*/ 78296 w 88184"/>
                  <a:gd name="connsiteY8" fmla="*/ 44064 h 88184"/>
                  <a:gd name="connsiteX9" fmla="*/ 44092 w 88184"/>
                  <a:gd name="connsiteY9" fmla="*/ 9859 h 8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184" h="88184">
                    <a:moveTo>
                      <a:pt x="44092" y="88185"/>
                    </a:moveTo>
                    <a:cubicBezTo>
                      <a:pt x="19776" y="88185"/>
                      <a:pt x="0" y="68408"/>
                      <a:pt x="0" y="44092"/>
                    </a:cubicBezTo>
                    <a:cubicBezTo>
                      <a:pt x="0" y="19777"/>
                      <a:pt x="19776" y="0"/>
                      <a:pt x="44092" y="0"/>
                    </a:cubicBezTo>
                    <a:cubicBezTo>
                      <a:pt x="68408" y="0"/>
                      <a:pt x="88185" y="19777"/>
                      <a:pt x="88185" y="44092"/>
                    </a:cubicBezTo>
                    <a:cubicBezTo>
                      <a:pt x="88185" y="68408"/>
                      <a:pt x="68408" y="88185"/>
                      <a:pt x="44092" y="88185"/>
                    </a:cubicBezTo>
                    <a:close/>
                    <a:moveTo>
                      <a:pt x="44092" y="9859"/>
                    </a:moveTo>
                    <a:cubicBezTo>
                      <a:pt x="25241" y="9859"/>
                      <a:pt x="9888" y="25212"/>
                      <a:pt x="9888" y="44064"/>
                    </a:cubicBezTo>
                    <a:cubicBezTo>
                      <a:pt x="9888" y="62915"/>
                      <a:pt x="25212" y="78268"/>
                      <a:pt x="44092" y="78268"/>
                    </a:cubicBezTo>
                    <a:cubicBezTo>
                      <a:pt x="62944" y="78268"/>
                      <a:pt x="78296" y="62915"/>
                      <a:pt x="78296" y="44064"/>
                    </a:cubicBezTo>
                    <a:cubicBezTo>
                      <a:pt x="78296" y="25212"/>
                      <a:pt x="62944" y="9859"/>
                      <a:pt x="44092" y="9859"/>
                    </a:cubicBezTo>
                    <a:close/>
                  </a:path>
                </a:pathLst>
              </a:custGeom>
              <a:grpFill/>
              <a:ln w="2890" cap="flat">
                <a:noFill/>
                <a:prstDash val="solid"/>
                <a:miter/>
              </a:ln>
            </p:spPr>
            <p:txBody>
              <a:bodyPr rtlCol="0" anchor="ctr"/>
              <a:lstStyle/>
              <a:p>
                <a:endParaRPr lang="en-GB" dirty="0"/>
              </a:p>
            </p:txBody>
          </p:sp>
          <p:sp>
            <p:nvSpPr>
              <p:cNvPr id="528" name="Freihandform: Form 527">
                <a:extLst>
                  <a:ext uri="{FF2B5EF4-FFF2-40B4-BE49-F238E27FC236}">
                    <a16:creationId xmlns:a16="http://schemas.microsoft.com/office/drawing/2014/main" id="{254D27F8-1F42-4E99-8CF8-749B431D37FE}"/>
                  </a:ext>
                </a:extLst>
              </p:cNvPr>
              <p:cNvSpPr/>
              <p:nvPr/>
            </p:nvSpPr>
            <p:spPr>
              <a:xfrm>
                <a:off x="7997529" y="2676066"/>
                <a:ext cx="42170" cy="63196"/>
              </a:xfrm>
              <a:custGeom>
                <a:avLst/>
                <a:gdLst>
                  <a:gd name="connsiteX0" fmla="*/ 37233 w 42170"/>
                  <a:gd name="connsiteY0" fmla="*/ 63197 h 63196"/>
                  <a:gd name="connsiteX1" fmla="*/ 32983 w 42170"/>
                  <a:gd name="connsiteY1" fmla="*/ 60797 h 63196"/>
                  <a:gd name="connsiteX2" fmla="*/ 716 w 42170"/>
                  <a:gd name="connsiteY2" fmla="*/ 7510 h 63196"/>
                  <a:gd name="connsiteX3" fmla="*/ 2393 w 42170"/>
                  <a:gd name="connsiteY3" fmla="*/ 716 h 63196"/>
                  <a:gd name="connsiteX4" fmla="*/ 9187 w 42170"/>
                  <a:gd name="connsiteY4" fmla="*/ 2393 h 63196"/>
                  <a:gd name="connsiteX5" fmla="*/ 41454 w 42170"/>
                  <a:gd name="connsiteY5" fmla="*/ 55679 h 63196"/>
                  <a:gd name="connsiteX6" fmla="*/ 39777 w 42170"/>
                  <a:gd name="connsiteY6" fmla="*/ 62474 h 63196"/>
                  <a:gd name="connsiteX7" fmla="*/ 37233 w 42170"/>
                  <a:gd name="connsiteY7" fmla="*/ 63197 h 63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170" h="63196">
                    <a:moveTo>
                      <a:pt x="37233" y="63197"/>
                    </a:moveTo>
                    <a:cubicBezTo>
                      <a:pt x="35556" y="63197"/>
                      <a:pt x="33908" y="62358"/>
                      <a:pt x="32983" y="60797"/>
                    </a:cubicBezTo>
                    <a:lnTo>
                      <a:pt x="716" y="7510"/>
                    </a:lnTo>
                    <a:cubicBezTo>
                      <a:pt x="-701" y="5168"/>
                      <a:pt x="51" y="2133"/>
                      <a:pt x="2393" y="716"/>
                    </a:cubicBezTo>
                    <a:cubicBezTo>
                      <a:pt x="4735" y="-701"/>
                      <a:pt x="7771" y="51"/>
                      <a:pt x="9187" y="2393"/>
                    </a:cubicBezTo>
                    <a:lnTo>
                      <a:pt x="41454" y="55679"/>
                    </a:lnTo>
                    <a:cubicBezTo>
                      <a:pt x="42871" y="58021"/>
                      <a:pt x="42119" y="61057"/>
                      <a:pt x="39777" y="62474"/>
                    </a:cubicBezTo>
                    <a:cubicBezTo>
                      <a:pt x="38997" y="62966"/>
                      <a:pt x="38100" y="63197"/>
                      <a:pt x="37233" y="63197"/>
                    </a:cubicBezTo>
                    <a:close/>
                  </a:path>
                </a:pathLst>
              </a:custGeom>
              <a:grpFill/>
              <a:ln w="2890" cap="flat">
                <a:noFill/>
                <a:prstDash val="solid"/>
                <a:miter/>
              </a:ln>
            </p:spPr>
            <p:txBody>
              <a:bodyPr rtlCol="0" anchor="ctr"/>
              <a:lstStyle/>
              <a:p>
                <a:endParaRPr lang="en-GB" dirty="0"/>
              </a:p>
            </p:txBody>
          </p:sp>
          <p:sp>
            <p:nvSpPr>
              <p:cNvPr id="529" name="Freihandform: Form 528">
                <a:extLst>
                  <a:ext uri="{FF2B5EF4-FFF2-40B4-BE49-F238E27FC236}">
                    <a16:creationId xmlns:a16="http://schemas.microsoft.com/office/drawing/2014/main" id="{DC31507B-04EE-4516-8B0D-DD4E5AA4FC46}"/>
                  </a:ext>
                </a:extLst>
              </p:cNvPr>
              <p:cNvSpPr/>
              <p:nvPr/>
            </p:nvSpPr>
            <p:spPr>
              <a:xfrm>
                <a:off x="7891690" y="2541081"/>
                <a:ext cx="56267" cy="46793"/>
              </a:xfrm>
              <a:custGeom>
                <a:avLst/>
                <a:gdLst>
                  <a:gd name="connsiteX0" fmla="*/ 4954 w 56267"/>
                  <a:gd name="connsiteY0" fmla="*/ 46793 h 46793"/>
                  <a:gd name="connsiteX1" fmla="*/ 3422 w 56267"/>
                  <a:gd name="connsiteY1" fmla="*/ 46562 h 46793"/>
                  <a:gd name="connsiteX2" fmla="*/ 241 w 56267"/>
                  <a:gd name="connsiteY2" fmla="*/ 40317 h 46793"/>
                  <a:gd name="connsiteX3" fmla="*/ 25974 w 56267"/>
                  <a:gd name="connsiteY3" fmla="*/ 1082 h 46793"/>
                  <a:gd name="connsiteX4" fmla="*/ 29935 w 56267"/>
                  <a:gd name="connsiteY4" fmla="*/ 70 h 46793"/>
                  <a:gd name="connsiteX5" fmla="*/ 33318 w 56267"/>
                  <a:gd name="connsiteY5" fmla="*/ 2383 h 46793"/>
                  <a:gd name="connsiteX6" fmla="*/ 55552 w 56267"/>
                  <a:gd name="connsiteY6" fmla="*/ 39131 h 46793"/>
                  <a:gd name="connsiteX7" fmla="*/ 53875 w 56267"/>
                  <a:gd name="connsiteY7" fmla="*/ 45926 h 46793"/>
                  <a:gd name="connsiteX8" fmla="*/ 47080 w 56267"/>
                  <a:gd name="connsiteY8" fmla="*/ 44249 h 46793"/>
                  <a:gd name="connsiteX9" fmla="*/ 28027 w 56267"/>
                  <a:gd name="connsiteY9" fmla="*/ 12762 h 46793"/>
                  <a:gd name="connsiteX10" fmla="*/ 9667 w 56267"/>
                  <a:gd name="connsiteY10" fmla="*/ 43381 h 46793"/>
                  <a:gd name="connsiteX11" fmla="*/ 4954 w 56267"/>
                  <a:gd name="connsiteY11" fmla="*/ 46793 h 46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6267" h="46793">
                    <a:moveTo>
                      <a:pt x="4954" y="46793"/>
                    </a:moveTo>
                    <a:cubicBezTo>
                      <a:pt x="4463" y="46793"/>
                      <a:pt x="3942" y="46706"/>
                      <a:pt x="3422" y="46562"/>
                    </a:cubicBezTo>
                    <a:cubicBezTo>
                      <a:pt x="819" y="45723"/>
                      <a:pt x="-597" y="42919"/>
                      <a:pt x="241" y="40317"/>
                    </a:cubicBezTo>
                    <a:cubicBezTo>
                      <a:pt x="8308" y="15480"/>
                      <a:pt x="25251" y="1631"/>
                      <a:pt x="25974" y="1082"/>
                    </a:cubicBezTo>
                    <a:cubicBezTo>
                      <a:pt x="27073" y="185"/>
                      <a:pt x="28518" y="-162"/>
                      <a:pt x="29935" y="70"/>
                    </a:cubicBezTo>
                    <a:cubicBezTo>
                      <a:pt x="31352" y="330"/>
                      <a:pt x="32566" y="1168"/>
                      <a:pt x="33318" y="2383"/>
                    </a:cubicBezTo>
                    <a:lnTo>
                      <a:pt x="55552" y="39131"/>
                    </a:lnTo>
                    <a:cubicBezTo>
                      <a:pt x="56968" y="41473"/>
                      <a:pt x="56217" y="44509"/>
                      <a:pt x="53875" y="45926"/>
                    </a:cubicBezTo>
                    <a:cubicBezTo>
                      <a:pt x="51504" y="47342"/>
                      <a:pt x="48468" y="46591"/>
                      <a:pt x="47080" y="44249"/>
                    </a:cubicBezTo>
                    <a:lnTo>
                      <a:pt x="28027" y="12762"/>
                    </a:lnTo>
                    <a:cubicBezTo>
                      <a:pt x="22938" y="18082"/>
                      <a:pt x="14438" y="28607"/>
                      <a:pt x="9667" y="43381"/>
                    </a:cubicBezTo>
                    <a:cubicBezTo>
                      <a:pt x="8973" y="45463"/>
                      <a:pt x="7036" y="46793"/>
                      <a:pt x="4954" y="46793"/>
                    </a:cubicBezTo>
                    <a:close/>
                  </a:path>
                </a:pathLst>
              </a:custGeom>
              <a:grpFill/>
              <a:ln w="2890" cap="flat">
                <a:noFill/>
                <a:prstDash val="solid"/>
                <a:miter/>
              </a:ln>
            </p:spPr>
            <p:txBody>
              <a:bodyPr rtlCol="0" anchor="ctr"/>
              <a:lstStyle/>
              <a:p>
                <a:endParaRPr lang="en-GB" dirty="0"/>
              </a:p>
            </p:txBody>
          </p:sp>
          <p:sp>
            <p:nvSpPr>
              <p:cNvPr id="530" name="Freihandform: Form 529">
                <a:extLst>
                  <a:ext uri="{FF2B5EF4-FFF2-40B4-BE49-F238E27FC236}">
                    <a16:creationId xmlns:a16="http://schemas.microsoft.com/office/drawing/2014/main" id="{00D422A7-9C85-45B5-A4CB-C0C311B80196}"/>
                  </a:ext>
                </a:extLst>
              </p:cNvPr>
              <p:cNvSpPr/>
              <p:nvPr/>
            </p:nvSpPr>
            <p:spPr>
              <a:xfrm>
                <a:off x="7917441" y="2675497"/>
                <a:ext cx="87307" cy="122227"/>
              </a:xfrm>
              <a:custGeom>
                <a:avLst/>
                <a:gdLst>
                  <a:gd name="connsiteX0" fmla="*/ 82365 w 87307"/>
                  <a:gd name="connsiteY0" fmla="*/ 122228 h 122227"/>
                  <a:gd name="connsiteX1" fmla="*/ 78288 w 87307"/>
                  <a:gd name="connsiteY1" fmla="*/ 120088 h 122227"/>
                  <a:gd name="connsiteX2" fmla="*/ 888 w 87307"/>
                  <a:gd name="connsiteY2" fmla="*/ 7761 h 122227"/>
                  <a:gd name="connsiteX3" fmla="*/ 2131 w 87307"/>
                  <a:gd name="connsiteY3" fmla="*/ 880 h 122227"/>
                  <a:gd name="connsiteX4" fmla="*/ 9012 w 87307"/>
                  <a:gd name="connsiteY4" fmla="*/ 2123 h 122227"/>
                  <a:gd name="connsiteX5" fmla="*/ 86442 w 87307"/>
                  <a:gd name="connsiteY5" fmla="*/ 114508 h 122227"/>
                  <a:gd name="connsiteX6" fmla="*/ 85169 w 87307"/>
                  <a:gd name="connsiteY6" fmla="*/ 121390 h 122227"/>
                  <a:gd name="connsiteX7" fmla="*/ 82365 w 87307"/>
                  <a:gd name="connsiteY7" fmla="*/ 122228 h 12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307" h="122227">
                    <a:moveTo>
                      <a:pt x="82365" y="122228"/>
                    </a:moveTo>
                    <a:cubicBezTo>
                      <a:pt x="80775" y="122228"/>
                      <a:pt x="79242" y="121476"/>
                      <a:pt x="78288" y="120088"/>
                    </a:cubicBezTo>
                    <a:cubicBezTo>
                      <a:pt x="49693" y="78454"/>
                      <a:pt x="21098" y="36906"/>
                      <a:pt x="888" y="7761"/>
                    </a:cubicBezTo>
                    <a:cubicBezTo>
                      <a:pt x="-673" y="5506"/>
                      <a:pt x="-124" y="2441"/>
                      <a:pt x="2131" y="880"/>
                    </a:cubicBezTo>
                    <a:cubicBezTo>
                      <a:pt x="4386" y="-681"/>
                      <a:pt x="7480" y="-103"/>
                      <a:pt x="9012" y="2123"/>
                    </a:cubicBezTo>
                    <a:cubicBezTo>
                      <a:pt x="29223" y="31268"/>
                      <a:pt x="57847" y="72845"/>
                      <a:pt x="86442" y="114508"/>
                    </a:cubicBezTo>
                    <a:cubicBezTo>
                      <a:pt x="87974" y="116763"/>
                      <a:pt x="87424" y="119828"/>
                      <a:pt x="85169" y="121390"/>
                    </a:cubicBezTo>
                    <a:cubicBezTo>
                      <a:pt x="84302" y="121939"/>
                      <a:pt x="83319" y="122228"/>
                      <a:pt x="82365" y="122228"/>
                    </a:cubicBezTo>
                    <a:close/>
                  </a:path>
                </a:pathLst>
              </a:custGeom>
              <a:grpFill/>
              <a:ln w="2890" cap="flat">
                <a:noFill/>
                <a:prstDash val="solid"/>
                <a:miter/>
              </a:ln>
            </p:spPr>
            <p:txBody>
              <a:bodyPr rtlCol="0" anchor="ctr"/>
              <a:lstStyle/>
              <a:p>
                <a:endParaRPr lang="en-GB" dirty="0"/>
              </a:p>
            </p:txBody>
          </p:sp>
          <p:sp>
            <p:nvSpPr>
              <p:cNvPr id="531" name="Freihandform: Form 530">
                <a:extLst>
                  <a:ext uri="{FF2B5EF4-FFF2-40B4-BE49-F238E27FC236}">
                    <a16:creationId xmlns:a16="http://schemas.microsoft.com/office/drawing/2014/main" id="{5798EFF5-AB97-427E-86E7-455E78955A9A}"/>
                  </a:ext>
                </a:extLst>
              </p:cNvPr>
              <p:cNvSpPr/>
              <p:nvPr/>
            </p:nvSpPr>
            <p:spPr>
              <a:xfrm>
                <a:off x="8030368" y="2787641"/>
                <a:ext cx="212682" cy="199550"/>
              </a:xfrm>
              <a:custGeom>
                <a:avLst/>
                <a:gdLst>
                  <a:gd name="connsiteX0" fmla="*/ 138116 w 212682"/>
                  <a:gd name="connsiteY0" fmla="*/ 199551 h 199550"/>
                  <a:gd name="connsiteX1" fmla="*/ 70662 w 212682"/>
                  <a:gd name="connsiteY1" fmla="*/ 161588 h 199550"/>
                  <a:gd name="connsiteX2" fmla="*/ 866 w 212682"/>
                  <a:gd name="connsiteY2" fmla="*/ 59641 h 199550"/>
                  <a:gd name="connsiteX3" fmla="*/ 2138 w 212682"/>
                  <a:gd name="connsiteY3" fmla="*/ 52759 h 199550"/>
                  <a:gd name="connsiteX4" fmla="*/ 9019 w 212682"/>
                  <a:gd name="connsiteY4" fmla="*/ 54031 h 199550"/>
                  <a:gd name="connsiteX5" fmla="*/ 78757 w 212682"/>
                  <a:gd name="connsiteY5" fmla="*/ 155892 h 199550"/>
                  <a:gd name="connsiteX6" fmla="*/ 138116 w 212682"/>
                  <a:gd name="connsiteY6" fmla="*/ 189634 h 199550"/>
                  <a:gd name="connsiteX7" fmla="*/ 202765 w 212682"/>
                  <a:gd name="connsiteY7" fmla="*/ 124984 h 199550"/>
                  <a:gd name="connsiteX8" fmla="*/ 138116 w 212682"/>
                  <a:gd name="connsiteY8" fmla="*/ 60334 h 199550"/>
                  <a:gd name="connsiteX9" fmla="*/ 88848 w 212682"/>
                  <a:gd name="connsiteY9" fmla="*/ 83176 h 199550"/>
                  <a:gd name="connsiteX10" fmla="*/ 84685 w 212682"/>
                  <a:gd name="connsiteY10" fmla="*/ 84911 h 199550"/>
                  <a:gd name="connsiteX11" fmla="*/ 80839 w 212682"/>
                  <a:gd name="connsiteY11" fmla="*/ 82540 h 199550"/>
                  <a:gd name="connsiteX12" fmla="*/ 35417 w 212682"/>
                  <a:gd name="connsiteY12" fmla="*/ 7510 h 199550"/>
                  <a:gd name="connsiteX13" fmla="*/ 37094 w 212682"/>
                  <a:gd name="connsiteY13" fmla="*/ 716 h 199550"/>
                  <a:gd name="connsiteX14" fmla="*/ 43888 w 212682"/>
                  <a:gd name="connsiteY14" fmla="*/ 2393 h 199550"/>
                  <a:gd name="connsiteX15" fmla="*/ 85928 w 212682"/>
                  <a:gd name="connsiteY15" fmla="*/ 71813 h 199550"/>
                  <a:gd name="connsiteX16" fmla="*/ 138116 w 212682"/>
                  <a:gd name="connsiteY16" fmla="*/ 50446 h 199550"/>
                  <a:gd name="connsiteX17" fmla="*/ 212683 w 212682"/>
                  <a:gd name="connsiteY17" fmla="*/ 124984 h 199550"/>
                  <a:gd name="connsiteX18" fmla="*/ 138116 w 212682"/>
                  <a:gd name="connsiteY18" fmla="*/ 199551 h 199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2682" h="199550">
                    <a:moveTo>
                      <a:pt x="138116" y="199551"/>
                    </a:moveTo>
                    <a:cubicBezTo>
                      <a:pt x="111776" y="199551"/>
                      <a:pt x="88443" y="186424"/>
                      <a:pt x="70662" y="161588"/>
                    </a:cubicBezTo>
                    <a:cubicBezTo>
                      <a:pt x="70604" y="161501"/>
                      <a:pt x="39320" y="115761"/>
                      <a:pt x="866" y="59641"/>
                    </a:cubicBezTo>
                    <a:cubicBezTo>
                      <a:pt x="-667" y="57385"/>
                      <a:pt x="-117" y="54321"/>
                      <a:pt x="2138" y="52759"/>
                    </a:cubicBezTo>
                    <a:cubicBezTo>
                      <a:pt x="4393" y="51227"/>
                      <a:pt x="7487" y="51805"/>
                      <a:pt x="9019" y="54031"/>
                    </a:cubicBezTo>
                    <a:cubicBezTo>
                      <a:pt x="47474" y="110123"/>
                      <a:pt x="78757" y="155892"/>
                      <a:pt x="78757" y="155892"/>
                    </a:cubicBezTo>
                    <a:cubicBezTo>
                      <a:pt x="94775" y="178242"/>
                      <a:pt x="114754" y="189634"/>
                      <a:pt x="138116" y="189634"/>
                    </a:cubicBezTo>
                    <a:cubicBezTo>
                      <a:pt x="173766" y="189634"/>
                      <a:pt x="202765" y="160634"/>
                      <a:pt x="202765" y="124984"/>
                    </a:cubicBezTo>
                    <a:cubicBezTo>
                      <a:pt x="202765" y="89334"/>
                      <a:pt x="173766" y="60334"/>
                      <a:pt x="138116" y="60334"/>
                    </a:cubicBezTo>
                    <a:cubicBezTo>
                      <a:pt x="119149" y="60334"/>
                      <a:pt x="101194" y="68661"/>
                      <a:pt x="88848" y="83176"/>
                    </a:cubicBezTo>
                    <a:cubicBezTo>
                      <a:pt x="87836" y="84390"/>
                      <a:pt x="86217" y="85026"/>
                      <a:pt x="84685" y="84911"/>
                    </a:cubicBezTo>
                    <a:cubicBezTo>
                      <a:pt x="83094" y="84795"/>
                      <a:pt x="81678" y="83899"/>
                      <a:pt x="80839" y="82540"/>
                    </a:cubicBezTo>
                    <a:lnTo>
                      <a:pt x="35417" y="7510"/>
                    </a:lnTo>
                    <a:cubicBezTo>
                      <a:pt x="34000" y="5168"/>
                      <a:pt x="34752" y="2133"/>
                      <a:pt x="37094" y="716"/>
                    </a:cubicBezTo>
                    <a:cubicBezTo>
                      <a:pt x="39436" y="-701"/>
                      <a:pt x="42472" y="51"/>
                      <a:pt x="43888" y="2393"/>
                    </a:cubicBezTo>
                    <a:lnTo>
                      <a:pt x="85928" y="71813"/>
                    </a:lnTo>
                    <a:cubicBezTo>
                      <a:pt x="99835" y="58166"/>
                      <a:pt x="118484" y="50446"/>
                      <a:pt x="138116" y="50446"/>
                    </a:cubicBezTo>
                    <a:cubicBezTo>
                      <a:pt x="179230" y="50446"/>
                      <a:pt x="212683" y="83899"/>
                      <a:pt x="212683" y="124984"/>
                    </a:cubicBezTo>
                    <a:cubicBezTo>
                      <a:pt x="212654" y="166098"/>
                      <a:pt x="179230" y="199551"/>
                      <a:pt x="138116" y="199551"/>
                    </a:cubicBezTo>
                    <a:close/>
                  </a:path>
                </a:pathLst>
              </a:custGeom>
              <a:grpFill/>
              <a:ln w="2890" cap="flat">
                <a:noFill/>
                <a:prstDash val="solid"/>
                <a:miter/>
              </a:ln>
            </p:spPr>
            <p:txBody>
              <a:bodyPr rtlCol="0" anchor="ctr"/>
              <a:lstStyle/>
              <a:p>
                <a:endParaRPr lang="en-GB" dirty="0"/>
              </a:p>
            </p:txBody>
          </p:sp>
        </p:grpSp>
        <p:grpSp>
          <p:nvGrpSpPr>
            <p:cNvPr id="509" name="Group 1013">
              <a:extLst>
                <a:ext uri="{FF2B5EF4-FFF2-40B4-BE49-F238E27FC236}">
                  <a16:creationId xmlns:a16="http://schemas.microsoft.com/office/drawing/2014/main" id="{160B2DEA-A26E-4E72-B60D-6CD85586AAF0}"/>
                </a:ext>
              </a:extLst>
            </p:cNvPr>
            <p:cNvGrpSpPr/>
            <p:nvPr/>
          </p:nvGrpSpPr>
          <p:grpSpPr>
            <a:xfrm>
              <a:off x="8060385" y="2485552"/>
              <a:ext cx="563751" cy="143930"/>
              <a:chOff x="7742330" y="2578448"/>
              <a:chExt cx="582202" cy="148641"/>
            </a:xfrm>
          </p:grpSpPr>
          <p:grpSp>
            <p:nvGrpSpPr>
              <p:cNvPr id="516" name="Grafik 53">
                <a:extLst>
                  <a:ext uri="{FF2B5EF4-FFF2-40B4-BE49-F238E27FC236}">
                    <a16:creationId xmlns:a16="http://schemas.microsoft.com/office/drawing/2014/main" id="{45E4B844-1F1D-42D4-9623-177A9AD1282A}"/>
                  </a:ext>
                </a:extLst>
              </p:cNvPr>
              <p:cNvGrpSpPr/>
              <p:nvPr/>
            </p:nvGrpSpPr>
            <p:grpSpPr>
              <a:xfrm>
                <a:off x="7742330" y="2578477"/>
                <a:ext cx="280816" cy="148612"/>
                <a:chOff x="7742330" y="2578477"/>
                <a:chExt cx="280816" cy="148612"/>
              </a:xfrm>
              <a:solidFill>
                <a:schemeClr val="accent1"/>
              </a:solidFill>
            </p:grpSpPr>
            <p:sp>
              <p:nvSpPr>
                <p:cNvPr id="523" name="Freihandform: Form 522">
                  <a:extLst>
                    <a:ext uri="{FF2B5EF4-FFF2-40B4-BE49-F238E27FC236}">
                      <a16:creationId xmlns:a16="http://schemas.microsoft.com/office/drawing/2014/main" id="{2BBFF9A4-7791-4450-AD06-DF80247178D4}"/>
                    </a:ext>
                  </a:extLst>
                </p:cNvPr>
                <p:cNvSpPr/>
                <p:nvPr/>
              </p:nvSpPr>
              <p:spPr>
                <a:xfrm>
                  <a:off x="7808546" y="2578477"/>
                  <a:ext cx="214600" cy="106226"/>
                </a:xfrm>
                <a:custGeom>
                  <a:avLst/>
                  <a:gdLst>
                    <a:gd name="connsiteX0" fmla="*/ 209648 w 214600"/>
                    <a:gd name="connsiteY0" fmla="*/ 106226 h 106226"/>
                    <a:gd name="connsiteX1" fmla="*/ 4944 w 214600"/>
                    <a:gd name="connsiteY1" fmla="*/ 106226 h 106226"/>
                    <a:gd name="connsiteX2" fmla="*/ 0 w 214600"/>
                    <a:gd name="connsiteY2" fmla="*/ 101282 h 106226"/>
                    <a:gd name="connsiteX3" fmla="*/ 0 w 214600"/>
                    <a:gd name="connsiteY3" fmla="*/ 4944 h 106226"/>
                    <a:gd name="connsiteX4" fmla="*/ 4944 w 214600"/>
                    <a:gd name="connsiteY4" fmla="*/ 0 h 106226"/>
                    <a:gd name="connsiteX5" fmla="*/ 209648 w 214600"/>
                    <a:gd name="connsiteY5" fmla="*/ 0 h 106226"/>
                    <a:gd name="connsiteX6" fmla="*/ 214217 w 214600"/>
                    <a:gd name="connsiteY6" fmla="*/ 3065 h 106226"/>
                    <a:gd name="connsiteX7" fmla="*/ 213147 w 214600"/>
                    <a:gd name="connsiteY7" fmla="*/ 8471 h 106226"/>
                    <a:gd name="connsiteX8" fmla="*/ 192561 w 214600"/>
                    <a:gd name="connsiteY8" fmla="*/ 29058 h 106226"/>
                    <a:gd name="connsiteX9" fmla="*/ 213147 w 214600"/>
                    <a:gd name="connsiteY9" fmla="*/ 49644 h 106226"/>
                    <a:gd name="connsiteX10" fmla="*/ 214592 w 214600"/>
                    <a:gd name="connsiteY10" fmla="*/ 53142 h 106226"/>
                    <a:gd name="connsiteX11" fmla="*/ 213147 w 214600"/>
                    <a:gd name="connsiteY11" fmla="*/ 56641 h 106226"/>
                    <a:gd name="connsiteX12" fmla="*/ 192561 w 214600"/>
                    <a:gd name="connsiteY12" fmla="*/ 77227 h 106226"/>
                    <a:gd name="connsiteX13" fmla="*/ 213147 w 214600"/>
                    <a:gd name="connsiteY13" fmla="*/ 97813 h 106226"/>
                    <a:gd name="connsiteX14" fmla="*/ 214217 w 214600"/>
                    <a:gd name="connsiteY14" fmla="*/ 103219 h 106226"/>
                    <a:gd name="connsiteX15" fmla="*/ 209648 w 214600"/>
                    <a:gd name="connsiteY15" fmla="*/ 106226 h 106226"/>
                    <a:gd name="connsiteX16" fmla="*/ 9888 w 214600"/>
                    <a:gd name="connsiteY16" fmla="*/ 96338 h 106226"/>
                    <a:gd name="connsiteX17" fmla="*/ 197678 w 214600"/>
                    <a:gd name="connsiteY17" fmla="*/ 96338 h 106226"/>
                    <a:gd name="connsiteX18" fmla="*/ 182036 w 214600"/>
                    <a:gd name="connsiteY18" fmla="*/ 80696 h 106226"/>
                    <a:gd name="connsiteX19" fmla="*/ 182036 w 214600"/>
                    <a:gd name="connsiteY19" fmla="*/ 73699 h 106226"/>
                    <a:gd name="connsiteX20" fmla="*/ 202622 w 214600"/>
                    <a:gd name="connsiteY20" fmla="*/ 53113 h 106226"/>
                    <a:gd name="connsiteX21" fmla="*/ 182036 w 214600"/>
                    <a:gd name="connsiteY21" fmla="*/ 32527 h 106226"/>
                    <a:gd name="connsiteX22" fmla="*/ 180591 w 214600"/>
                    <a:gd name="connsiteY22" fmla="*/ 29029 h 106226"/>
                    <a:gd name="connsiteX23" fmla="*/ 182036 w 214600"/>
                    <a:gd name="connsiteY23" fmla="*/ 25530 h 106226"/>
                    <a:gd name="connsiteX24" fmla="*/ 197678 w 214600"/>
                    <a:gd name="connsiteY24" fmla="*/ 9888 h 106226"/>
                    <a:gd name="connsiteX25" fmla="*/ 9888 w 214600"/>
                    <a:gd name="connsiteY25" fmla="*/ 9888 h 106226"/>
                    <a:gd name="connsiteX26" fmla="*/ 9888 w 214600"/>
                    <a:gd name="connsiteY26" fmla="*/ 96338 h 10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14600" h="106226">
                      <a:moveTo>
                        <a:pt x="209648" y="106226"/>
                      </a:moveTo>
                      <a:lnTo>
                        <a:pt x="4944" y="106226"/>
                      </a:lnTo>
                      <a:cubicBezTo>
                        <a:pt x="2226" y="106226"/>
                        <a:pt x="0" y="104000"/>
                        <a:pt x="0" y="101282"/>
                      </a:cubicBezTo>
                      <a:lnTo>
                        <a:pt x="0" y="4944"/>
                      </a:lnTo>
                      <a:cubicBezTo>
                        <a:pt x="0" y="2197"/>
                        <a:pt x="2226" y="0"/>
                        <a:pt x="4944" y="0"/>
                      </a:cubicBezTo>
                      <a:lnTo>
                        <a:pt x="209648" y="0"/>
                      </a:lnTo>
                      <a:cubicBezTo>
                        <a:pt x="211643" y="0"/>
                        <a:pt x="213465" y="1214"/>
                        <a:pt x="214217" y="3065"/>
                      </a:cubicBezTo>
                      <a:cubicBezTo>
                        <a:pt x="214968" y="4915"/>
                        <a:pt x="214563" y="7055"/>
                        <a:pt x="213147" y="8471"/>
                      </a:cubicBezTo>
                      <a:lnTo>
                        <a:pt x="192561" y="29058"/>
                      </a:lnTo>
                      <a:lnTo>
                        <a:pt x="213147" y="49644"/>
                      </a:lnTo>
                      <a:cubicBezTo>
                        <a:pt x="214072" y="50569"/>
                        <a:pt x="214592" y="51841"/>
                        <a:pt x="214592" y="53142"/>
                      </a:cubicBezTo>
                      <a:cubicBezTo>
                        <a:pt x="214592" y="54443"/>
                        <a:pt x="214072" y="55715"/>
                        <a:pt x="213147" y="56641"/>
                      </a:cubicBezTo>
                      <a:lnTo>
                        <a:pt x="192561" y="77227"/>
                      </a:lnTo>
                      <a:lnTo>
                        <a:pt x="213147" y="97813"/>
                      </a:lnTo>
                      <a:cubicBezTo>
                        <a:pt x="214563" y="99230"/>
                        <a:pt x="214997" y="101369"/>
                        <a:pt x="214217" y="103219"/>
                      </a:cubicBezTo>
                      <a:cubicBezTo>
                        <a:pt x="213465" y="105012"/>
                        <a:pt x="211643" y="106226"/>
                        <a:pt x="209648" y="106226"/>
                      </a:cubicBezTo>
                      <a:close/>
                      <a:moveTo>
                        <a:pt x="9888" y="96338"/>
                      </a:moveTo>
                      <a:lnTo>
                        <a:pt x="197678" y="96338"/>
                      </a:lnTo>
                      <a:lnTo>
                        <a:pt x="182036" y="80696"/>
                      </a:lnTo>
                      <a:cubicBezTo>
                        <a:pt x="180099" y="78759"/>
                        <a:pt x="180099" y="75636"/>
                        <a:pt x="182036" y="73699"/>
                      </a:cubicBezTo>
                      <a:lnTo>
                        <a:pt x="202622" y="53113"/>
                      </a:lnTo>
                      <a:lnTo>
                        <a:pt x="182036" y="32527"/>
                      </a:lnTo>
                      <a:cubicBezTo>
                        <a:pt x="181111" y="31602"/>
                        <a:pt x="180591" y="30330"/>
                        <a:pt x="180591" y="29029"/>
                      </a:cubicBezTo>
                      <a:cubicBezTo>
                        <a:pt x="180591" y="27728"/>
                        <a:pt x="181111" y="26455"/>
                        <a:pt x="182036" y="25530"/>
                      </a:cubicBezTo>
                      <a:lnTo>
                        <a:pt x="197678" y="9888"/>
                      </a:lnTo>
                      <a:lnTo>
                        <a:pt x="9888" y="9888"/>
                      </a:lnTo>
                      <a:lnTo>
                        <a:pt x="9888" y="96338"/>
                      </a:lnTo>
                      <a:close/>
                    </a:path>
                  </a:pathLst>
                </a:custGeom>
                <a:solidFill>
                  <a:schemeClr val="accent1"/>
                </a:solidFill>
                <a:ln w="2890" cap="flat">
                  <a:noFill/>
                  <a:prstDash val="solid"/>
                  <a:miter/>
                </a:ln>
              </p:spPr>
              <p:txBody>
                <a:bodyPr rtlCol="0" anchor="ctr"/>
                <a:lstStyle/>
                <a:p>
                  <a:endParaRPr lang="en-GB" dirty="0"/>
                </a:p>
              </p:txBody>
            </p:sp>
            <p:grpSp>
              <p:nvGrpSpPr>
                <p:cNvPr id="524" name="Grafik 53">
                  <a:extLst>
                    <a:ext uri="{FF2B5EF4-FFF2-40B4-BE49-F238E27FC236}">
                      <a16:creationId xmlns:a16="http://schemas.microsoft.com/office/drawing/2014/main" id="{E26897F1-F834-4B6C-9293-0E28D536C100}"/>
                    </a:ext>
                  </a:extLst>
                </p:cNvPr>
                <p:cNvGrpSpPr/>
                <p:nvPr/>
              </p:nvGrpSpPr>
              <p:grpSpPr>
                <a:xfrm>
                  <a:off x="7742330" y="2620864"/>
                  <a:ext cx="130315" cy="106226"/>
                  <a:chOff x="7742330" y="2620864"/>
                  <a:chExt cx="130315" cy="106226"/>
                </a:xfrm>
                <a:solidFill>
                  <a:schemeClr val="accent1"/>
                </a:solidFill>
              </p:grpSpPr>
              <p:sp>
                <p:nvSpPr>
                  <p:cNvPr id="525" name="Freihandform: Form 524">
                    <a:extLst>
                      <a:ext uri="{FF2B5EF4-FFF2-40B4-BE49-F238E27FC236}">
                        <a16:creationId xmlns:a16="http://schemas.microsoft.com/office/drawing/2014/main" id="{B305A0A5-F2F1-49DE-BCDC-F5CBFD405BD2}"/>
                      </a:ext>
                    </a:extLst>
                  </p:cNvPr>
                  <p:cNvSpPr/>
                  <p:nvPr/>
                </p:nvSpPr>
                <p:spPr>
                  <a:xfrm>
                    <a:off x="7742330" y="2620864"/>
                    <a:ext cx="130315" cy="106226"/>
                  </a:xfrm>
                  <a:custGeom>
                    <a:avLst/>
                    <a:gdLst>
                      <a:gd name="connsiteX0" fmla="*/ 125343 w 130315"/>
                      <a:gd name="connsiteY0" fmla="*/ 106226 h 106226"/>
                      <a:gd name="connsiteX1" fmla="*/ 4949 w 130315"/>
                      <a:gd name="connsiteY1" fmla="*/ 106226 h 106226"/>
                      <a:gd name="connsiteX2" fmla="*/ 525 w 130315"/>
                      <a:gd name="connsiteY2" fmla="*/ 103480 h 106226"/>
                      <a:gd name="connsiteX3" fmla="*/ 988 w 130315"/>
                      <a:gd name="connsiteY3" fmla="*/ 98304 h 106226"/>
                      <a:gd name="connsiteX4" fmla="*/ 34874 w 130315"/>
                      <a:gd name="connsiteY4" fmla="*/ 53113 h 106226"/>
                      <a:gd name="connsiteX5" fmla="*/ 988 w 130315"/>
                      <a:gd name="connsiteY5" fmla="*/ 7922 h 106226"/>
                      <a:gd name="connsiteX6" fmla="*/ 525 w 130315"/>
                      <a:gd name="connsiteY6" fmla="*/ 2747 h 106226"/>
                      <a:gd name="connsiteX7" fmla="*/ 4949 w 130315"/>
                      <a:gd name="connsiteY7" fmla="*/ 0 h 106226"/>
                      <a:gd name="connsiteX8" fmla="*/ 71189 w 130315"/>
                      <a:gd name="connsiteY8" fmla="*/ 0 h 106226"/>
                      <a:gd name="connsiteX9" fmla="*/ 76133 w 130315"/>
                      <a:gd name="connsiteY9" fmla="*/ 4944 h 106226"/>
                      <a:gd name="connsiteX10" fmla="*/ 71189 w 130315"/>
                      <a:gd name="connsiteY10" fmla="*/ 9888 h 106226"/>
                      <a:gd name="connsiteX11" fmla="*/ 14866 w 130315"/>
                      <a:gd name="connsiteY11" fmla="*/ 9888 h 106226"/>
                      <a:gd name="connsiteX12" fmla="*/ 45051 w 130315"/>
                      <a:gd name="connsiteY12" fmla="*/ 50135 h 106226"/>
                      <a:gd name="connsiteX13" fmla="*/ 45051 w 130315"/>
                      <a:gd name="connsiteY13" fmla="*/ 56091 h 106226"/>
                      <a:gd name="connsiteX14" fmla="*/ 14866 w 130315"/>
                      <a:gd name="connsiteY14" fmla="*/ 96338 h 106226"/>
                      <a:gd name="connsiteX15" fmla="*/ 120428 w 130315"/>
                      <a:gd name="connsiteY15" fmla="*/ 96338 h 106226"/>
                      <a:gd name="connsiteX16" fmla="*/ 120428 w 130315"/>
                      <a:gd name="connsiteY16" fmla="*/ 59156 h 106226"/>
                      <a:gd name="connsiteX17" fmla="*/ 125372 w 130315"/>
                      <a:gd name="connsiteY17" fmla="*/ 54212 h 106226"/>
                      <a:gd name="connsiteX18" fmla="*/ 130316 w 130315"/>
                      <a:gd name="connsiteY18" fmla="*/ 59156 h 106226"/>
                      <a:gd name="connsiteX19" fmla="*/ 130316 w 130315"/>
                      <a:gd name="connsiteY19" fmla="*/ 101311 h 106226"/>
                      <a:gd name="connsiteX20" fmla="*/ 125343 w 130315"/>
                      <a:gd name="connsiteY20" fmla="*/ 106226 h 1062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0315" h="106226">
                        <a:moveTo>
                          <a:pt x="125343" y="106226"/>
                        </a:moveTo>
                        <a:lnTo>
                          <a:pt x="4949" y="106226"/>
                        </a:lnTo>
                        <a:cubicBezTo>
                          <a:pt x="3070" y="106226"/>
                          <a:pt x="1364" y="105157"/>
                          <a:pt x="525" y="103480"/>
                        </a:cubicBezTo>
                        <a:cubicBezTo>
                          <a:pt x="-313" y="101803"/>
                          <a:pt x="-140" y="99808"/>
                          <a:pt x="988" y="98304"/>
                        </a:cubicBezTo>
                        <a:lnTo>
                          <a:pt x="34874" y="53113"/>
                        </a:lnTo>
                        <a:lnTo>
                          <a:pt x="988" y="7922"/>
                        </a:lnTo>
                        <a:cubicBezTo>
                          <a:pt x="-140" y="6419"/>
                          <a:pt x="-313" y="4424"/>
                          <a:pt x="525" y="2747"/>
                        </a:cubicBezTo>
                        <a:cubicBezTo>
                          <a:pt x="1364" y="1070"/>
                          <a:pt x="3070" y="0"/>
                          <a:pt x="4949" y="0"/>
                        </a:cubicBezTo>
                        <a:lnTo>
                          <a:pt x="71189" y="0"/>
                        </a:lnTo>
                        <a:cubicBezTo>
                          <a:pt x="73935" y="0"/>
                          <a:pt x="76133" y="2226"/>
                          <a:pt x="76133" y="4944"/>
                        </a:cubicBezTo>
                        <a:cubicBezTo>
                          <a:pt x="76133" y="7662"/>
                          <a:pt x="73906" y="9888"/>
                          <a:pt x="71189" y="9888"/>
                        </a:cubicBezTo>
                        <a:lnTo>
                          <a:pt x="14866" y="9888"/>
                        </a:lnTo>
                        <a:lnTo>
                          <a:pt x="45051" y="50135"/>
                        </a:lnTo>
                        <a:cubicBezTo>
                          <a:pt x="46381" y="51899"/>
                          <a:pt x="46381" y="54328"/>
                          <a:pt x="45051" y="56091"/>
                        </a:cubicBezTo>
                        <a:lnTo>
                          <a:pt x="14866" y="96338"/>
                        </a:lnTo>
                        <a:lnTo>
                          <a:pt x="120428" y="96338"/>
                        </a:lnTo>
                        <a:lnTo>
                          <a:pt x="120428" y="59156"/>
                        </a:lnTo>
                        <a:cubicBezTo>
                          <a:pt x="120428" y="56409"/>
                          <a:pt x="122654" y="54212"/>
                          <a:pt x="125372" y="54212"/>
                        </a:cubicBezTo>
                        <a:cubicBezTo>
                          <a:pt x="128089" y="54212"/>
                          <a:pt x="130316" y="56438"/>
                          <a:pt x="130316" y="59156"/>
                        </a:cubicBezTo>
                        <a:lnTo>
                          <a:pt x="130316" y="101311"/>
                        </a:lnTo>
                        <a:cubicBezTo>
                          <a:pt x="130316" y="104029"/>
                          <a:pt x="128089" y="106226"/>
                          <a:pt x="125343" y="106226"/>
                        </a:cubicBezTo>
                        <a:close/>
                      </a:path>
                    </a:pathLst>
                  </a:custGeom>
                  <a:solidFill>
                    <a:schemeClr val="accent1"/>
                  </a:solidFill>
                  <a:ln w="2890" cap="flat">
                    <a:noFill/>
                    <a:prstDash val="solid"/>
                    <a:miter/>
                  </a:ln>
                </p:spPr>
                <p:txBody>
                  <a:bodyPr rtlCol="0" anchor="ctr"/>
                  <a:lstStyle/>
                  <a:p>
                    <a:endParaRPr lang="en-GB" dirty="0"/>
                  </a:p>
                </p:txBody>
              </p:sp>
              <p:sp>
                <p:nvSpPr>
                  <p:cNvPr id="526" name="Freihandform: Form 525">
                    <a:extLst>
                      <a:ext uri="{FF2B5EF4-FFF2-40B4-BE49-F238E27FC236}">
                        <a16:creationId xmlns:a16="http://schemas.microsoft.com/office/drawing/2014/main" id="{8D228D5E-DCFA-4E7E-864A-F1258D25CBF6}"/>
                      </a:ext>
                    </a:extLst>
                  </p:cNvPr>
                  <p:cNvSpPr/>
                  <p:nvPr/>
                </p:nvSpPr>
                <p:spPr>
                  <a:xfrm>
                    <a:off x="7809661" y="2675410"/>
                    <a:ext cx="62216" cy="49800"/>
                  </a:xfrm>
                  <a:custGeom>
                    <a:avLst/>
                    <a:gdLst>
                      <a:gd name="connsiteX0" fmla="*/ 57260 w 62216"/>
                      <a:gd name="connsiteY0" fmla="*/ 49801 h 49800"/>
                      <a:gd name="connsiteX1" fmla="*/ 54253 w 62216"/>
                      <a:gd name="connsiteY1" fmla="*/ 48789 h 49800"/>
                      <a:gd name="connsiteX2" fmla="*/ 1949 w 62216"/>
                      <a:gd name="connsiteY2" fmla="*/ 8889 h 49800"/>
                      <a:gd name="connsiteX3" fmla="*/ 1024 w 62216"/>
                      <a:gd name="connsiteY3" fmla="*/ 1949 h 49800"/>
                      <a:gd name="connsiteX4" fmla="*/ 7963 w 62216"/>
                      <a:gd name="connsiteY4" fmla="*/ 1024 h 49800"/>
                      <a:gd name="connsiteX5" fmla="*/ 60267 w 62216"/>
                      <a:gd name="connsiteY5" fmla="*/ 40924 h 49800"/>
                      <a:gd name="connsiteX6" fmla="*/ 61192 w 62216"/>
                      <a:gd name="connsiteY6" fmla="*/ 47863 h 49800"/>
                      <a:gd name="connsiteX7" fmla="*/ 57260 w 62216"/>
                      <a:gd name="connsiteY7" fmla="*/ 49801 h 4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16" h="49800">
                        <a:moveTo>
                          <a:pt x="57260" y="49801"/>
                        </a:moveTo>
                        <a:cubicBezTo>
                          <a:pt x="56219" y="49801"/>
                          <a:pt x="55149" y="49482"/>
                          <a:pt x="54253" y="48789"/>
                        </a:cubicBezTo>
                        <a:lnTo>
                          <a:pt x="1949" y="8889"/>
                        </a:lnTo>
                        <a:cubicBezTo>
                          <a:pt x="-219" y="7241"/>
                          <a:pt x="-653" y="4118"/>
                          <a:pt x="1024" y="1949"/>
                        </a:cubicBezTo>
                        <a:cubicBezTo>
                          <a:pt x="2672" y="-219"/>
                          <a:pt x="5795" y="-653"/>
                          <a:pt x="7963" y="1024"/>
                        </a:cubicBezTo>
                        <a:lnTo>
                          <a:pt x="60267" y="40924"/>
                        </a:lnTo>
                        <a:cubicBezTo>
                          <a:pt x="62435" y="42572"/>
                          <a:pt x="62869" y="45695"/>
                          <a:pt x="61192" y="47863"/>
                        </a:cubicBezTo>
                        <a:cubicBezTo>
                          <a:pt x="60238" y="49135"/>
                          <a:pt x="58763" y="49801"/>
                          <a:pt x="57260" y="49801"/>
                        </a:cubicBezTo>
                        <a:close/>
                      </a:path>
                    </a:pathLst>
                  </a:custGeom>
                  <a:solidFill>
                    <a:schemeClr val="accent1"/>
                  </a:solidFill>
                  <a:ln w="2890" cap="flat">
                    <a:noFill/>
                    <a:prstDash val="solid"/>
                    <a:miter/>
                  </a:ln>
                </p:spPr>
                <p:txBody>
                  <a:bodyPr rtlCol="0" anchor="ctr"/>
                  <a:lstStyle/>
                  <a:p>
                    <a:endParaRPr lang="en-GB" dirty="0"/>
                  </a:p>
                </p:txBody>
              </p:sp>
            </p:grpSp>
          </p:grpSp>
          <p:grpSp>
            <p:nvGrpSpPr>
              <p:cNvPr id="517" name="Grafik 53">
                <a:extLst>
                  <a:ext uri="{FF2B5EF4-FFF2-40B4-BE49-F238E27FC236}">
                    <a16:creationId xmlns:a16="http://schemas.microsoft.com/office/drawing/2014/main" id="{11A9AFDA-DEFE-4D0B-B068-70169C8BE7F5}"/>
                  </a:ext>
                </a:extLst>
              </p:cNvPr>
              <p:cNvGrpSpPr/>
              <p:nvPr/>
            </p:nvGrpSpPr>
            <p:grpSpPr>
              <a:xfrm>
                <a:off x="8043345" y="2578448"/>
                <a:ext cx="281187" cy="148641"/>
                <a:chOff x="8043345" y="2578448"/>
                <a:chExt cx="281187" cy="148641"/>
              </a:xfrm>
              <a:solidFill>
                <a:schemeClr val="accent1"/>
              </a:solidFill>
            </p:grpSpPr>
            <p:sp>
              <p:nvSpPr>
                <p:cNvPr id="518" name="Freihandform: Form 517">
                  <a:extLst>
                    <a:ext uri="{FF2B5EF4-FFF2-40B4-BE49-F238E27FC236}">
                      <a16:creationId xmlns:a16="http://schemas.microsoft.com/office/drawing/2014/main" id="{614A577C-6849-4A11-96C3-8B1679DDE72D}"/>
                    </a:ext>
                  </a:extLst>
                </p:cNvPr>
                <p:cNvSpPr/>
                <p:nvPr/>
              </p:nvSpPr>
              <p:spPr>
                <a:xfrm>
                  <a:off x="8142694" y="2578506"/>
                  <a:ext cx="115247" cy="106197"/>
                </a:xfrm>
                <a:custGeom>
                  <a:avLst/>
                  <a:gdLst>
                    <a:gd name="connsiteX0" fmla="*/ 110303 w 115247"/>
                    <a:gd name="connsiteY0" fmla="*/ 106198 h 106197"/>
                    <a:gd name="connsiteX1" fmla="*/ 4944 w 115247"/>
                    <a:gd name="connsiteY1" fmla="*/ 106198 h 106197"/>
                    <a:gd name="connsiteX2" fmla="*/ 0 w 115247"/>
                    <a:gd name="connsiteY2" fmla="*/ 101253 h 106197"/>
                    <a:gd name="connsiteX3" fmla="*/ 4944 w 115247"/>
                    <a:gd name="connsiteY3" fmla="*/ 96309 h 106197"/>
                    <a:gd name="connsiteX4" fmla="*/ 105359 w 115247"/>
                    <a:gd name="connsiteY4" fmla="*/ 96309 h 106197"/>
                    <a:gd name="connsiteX5" fmla="*/ 105359 w 115247"/>
                    <a:gd name="connsiteY5" fmla="*/ 9888 h 106197"/>
                    <a:gd name="connsiteX6" fmla="*/ 30735 w 115247"/>
                    <a:gd name="connsiteY6" fmla="*/ 9888 h 106197"/>
                    <a:gd name="connsiteX7" fmla="*/ 25790 w 115247"/>
                    <a:gd name="connsiteY7" fmla="*/ 4944 h 106197"/>
                    <a:gd name="connsiteX8" fmla="*/ 30735 w 115247"/>
                    <a:gd name="connsiteY8" fmla="*/ 0 h 106197"/>
                    <a:gd name="connsiteX9" fmla="*/ 110303 w 115247"/>
                    <a:gd name="connsiteY9" fmla="*/ 0 h 106197"/>
                    <a:gd name="connsiteX10" fmla="*/ 115247 w 115247"/>
                    <a:gd name="connsiteY10" fmla="*/ 4944 h 106197"/>
                    <a:gd name="connsiteX11" fmla="*/ 115247 w 115247"/>
                    <a:gd name="connsiteY11" fmla="*/ 101282 h 106197"/>
                    <a:gd name="connsiteX12" fmla="*/ 110303 w 115247"/>
                    <a:gd name="connsiteY12" fmla="*/ 106198 h 106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247" h="106197">
                      <a:moveTo>
                        <a:pt x="110303" y="106198"/>
                      </a:moveTo>
                      <a:lnTo>
                        <a:pt x="4944" y="106198"/>
                      </a:lnTo>
                      <a:cubicBezTo>
                        <a:pt x="2226" y="106198"/>
                        <a:pt x="0" y="103971"/>
                        <a:pt x="0" y="101253"/>
                      </a:cubicBezTo>
                      <a:cubicBezTo>
                        <a:pt x="0" y="98536"/>
                        <a:pt x="2226" y="96309"/>
                        <a:pt x="4944" y="96309"/>
                      </a:cubicBezTo>
                      <a:lnTo>
                        <a:pt x="105359" y="96309"/>
                      </a:lnTo>
                      <a:lnTo>
                        <a:pt x="105359" y="9888"/>
                      </a:lnTo>
                      <a:lnTo>
                        <a:pt x="30735" y="9888"/>
                      </a:lnTo>
                      <a:cubicBezTo>
                        <a:pt x="27988" y="9888"/>
                        <a:pt x="25790" y="7662"/>
                        <a:pt x="25790" y="4944"/>
                      </a:cubicBezTo>
                      <a:cubicBezTo>
                        <a:pt x="25790" y="2197"/>
                        <a:pt x="28017" y="0"/>
                        <a:pt x="30735" y="0"/>
                      </a:cubicBezTo>
                      <a:lnTo>
                        <a:pt x="110303" y="0"/>
                      </a:lnTo>
                      <a:cubicBezTo>
                        <a:pt x="113050" y="0"/>
                        <a:pt x="115247" y="2226"/>
                        <a:pt x="115247" y="4944"/>
                      </a:cubicBezTo>
                      <a:lnTo>
                        <a:pt x="115247" y="101282"/>
                      </a:lnTo>
                      <a:cubicBezTo>
                        <a:pt x="115247" y="103971"/>
                        <a:pt x="113021" y="106198"/>
                        <a:pt x="110303" y="106198"/>
                      </a:cubicBezTo>
                      <a:close/>
                    </a:path>
                  </a:pathLst>
                </a:custGeom>
                <a:solidFill>
                  <a:schemeClr val="accent1"/>
                </a:solidFill>
                <a:ln w="2890" cap="flat">
                  <a:noFill/>
                  <a:prstDash val="solid"/>
                  <a:miter/>
                </a:ln>
              </p:spPr>
              <p:txBody>
                <a:bodyPr rtlCol="0" anchor="ctr"/>
                <a:lstStyle/>
                <a:p>
                  <a:endParaRPr lang="en-GB" dirty="0"/>
                </a:p>
              </p:txBody>
            </p:sp>
            <p:sp>
              <p:nvSpPr>
                <p:cNvPr id="519" name="Freihandform: Form 518">
                  <a:extLst>
                    <a:ext uri="{FF2B5EF4-FFF2-40B4-BE49-F238E27FC236}">
                      <a16:creationId xmlns:a16="http://schemas.microsoft.com/office/drawing/2014/main" id="{D57FD125-D560-42C7-96C5-2E990A2A28EA}"/>
                    </a:ext>
                  </a:extLst>
                </p:cNvPr>
                <p:cNvSpPr/>
                <p:nvPr/>
              </p:nvSpPr>
              <p:spPr>
                <a:xfrm>
                  <a:off x="8043345" y="2578448"/>
                  <a:ext cx="88332" cy="98622"/>
                </a:xfrm>
                <a:custGeom>
                  <a:avLst/>
                  <a:gdLst>
                    <a:gd name="connsiteX0" fmla="*/ 29639 w 88332"/>
                    <a:gd name="connsiteY0" fmla="*/ 98622 h 98622"/>
                    <a:gd name="connsiteX1" fmla="*/ 26893 w 88332"/>
                    <a:gd name="connsiteY1" fmla="*/ 97784 h 98622"/>
                    <a:gd name="connsiteX2" fmla="*/ 2201 w 88332"/>
                    <a:gd name="connsiteY2" fmla="*/ 81332 h 98622"/>
                    <a:gd name="connsiteX3" fmla="*/ 3 w 88332"/>
                    <a:gd name="connsiteY3" fmla="*/ 77429 h 98622"/>
                    <a:gd name="connsiteX4" fmla="*/ 1854 w 88332"/>
                    <a:gd name="connsiteY4" fmla="*/ 73352 h 98622"/>
                    <a:gd name="connsiteX5" fmla="*/ 27124 w 88332"/>
                    <a:gd name="connsiteY5" fmla="*/ 53142 h 98622"/>
                    <a:gd name="connsiteX6" fmla="*/ 1854 w 88332"/>
                    <a:gd name="connsiteY6" fmla="*/ 32932 h 98622"/>
                    <a:gd name="connsiteX7" fmla="*/ 3 w 88332"/>
                    <a:gd name="connsiteY7" fmla="*/ 29058 h 98622"/>
                    <a:gd name="connsiteX8" fmla="*/ 1854 w 88332"/>
                    <a:gd name="connsiteY8" fmla="*/ 25183 h 98622"/>
                    <a:gd name="connsiteX9" fmla="*/ 31952 w 88332"/>
                    <a:gd name="connsiteY9" fmla="*/ 1099 h 98622"/>
                    <a:gd name="connsiteX10" fmla="*/ 35046 w 88332"/>
                    <a:gd name="connsiteY10" fmla="*/ 0 h 98622"/>
                    <a:gd name="connsiteX11" fmla="*/ 83389 w 88332"/>
                    <a:gd name="connsiteY11" fmla="*/ 0 h 98622"/>
                    <a:gd name="connsiteX12" fmla="*/ 88333 w 88332"/>
                    <a:gd name="connsiteY12" fmla="*/ 4944 h 98622"/>
                    <a:gd name="connsiteX13" fmla="*/ 83389 w 88332"/>
                    <a:gd name="connsiteY13" fmla="*/ 9888 h 98622"/>
                    <a:gd name="connsiteX14" fmla="*/ 36781 w 88332"/>
                    <a:gd name="connsiteY14" fmla="*/ 9888 h 98622"/>
                    <a:gd name="connsiteX15" fmla="*/ 12870 w 88332"/>
                    <a:gd name="connsiteY15" fmla="*/ 29029 h 98622"/>
                    <a:gd name="connsiteX16" fmla="*/ 38140 w 88332"/>
                    <a:gd name="connsiteY16" fmla="*/ 49239 h 98622"/>
                    <a:gd name="connsiteX17" fmla="*/ 39990 w 88332"/>
                    <a:gd name="connsiteY17" fmla="*/ 53113 h 98622"/>
                    <a:gd name="connsiteX18" fmla="*/ 38140 w 88332"/>
                    <a:gd name="connsiteY18" fmla="*/ 56988 h 98622"/>
                    <a:gd name="connsiteX19" fmla="*/ 13333 w 88332"/>
                    <a:gd name="connsiteY19" fmla="*/ 76851 h 98622"/>
                    <a:gd name="connsiteX20" fmla="*/ 32386 w 88332"/>
                    <a:gd name="connsiteY20" fmla="*/ 89573 h 98622"/>
                    <a:gd name="connsiteX21" fmla="*/ 33745 w 88332"/>
                    <a:gd name="connsiteY21" fmla="*/ 96425 h 98622"/>
                    <a:gd name="connsiteX22" fmla="*/ 29639 w 88332"/>
                    <a:gd name="connsiteY22" fmla="*/ 98622 h 9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88332" h="98622">
                      <a:moveTo>
                        <a:pt x="29639" y="98622"/>
                      </a:moveTo>
                      <a:cubicBezTo>
                        <a:pt x="28685" y="98622"/>
                        <a:pt x="27731" y="98362"/>
                        <a:pt x="26893" y="97784"/>
                      </a:cubicBezTo>
                      <a:lnTo>
                        <a:pt x="2201" y="81332"/>
                      </a:lnTo>
                      <a:cubicBezTo>
                        <a:pt x="900" y="80465"/>
                        <a:pt x="61" y="79019"/>
                        <a:pt x="3" y="77429"/>
                      </a:cubicBezTo>
                      <a:cubicBezTo>
                        <a:pt x="-54" y="75839"/>
                        <a:pt x="611" y="74335"/>
                        <a:pt x="1854" y="73352"/>
                      </a:cubicBezTo>
                      <a:lnTo>
                        <a:pt x="27124" y="53142"/>
                      </a:lnTo>
                      <a:lnTo>
                        <a:pt x="1854" y="32932"/>
                      </a:lnTo>
                      <a:cubicBezTo>
                        <a:pt x="669" y="32007"/>
                        <a:pt x="3" y="30561"/>
                        <a:pt x="3" y="29058"/>
                      </a:cubicBezTo>
                      <a:cubicBezTo>
                        <a:pt x="3" y="27554"/>
                        <a:pt x="698" y="26137"/>
                        <a:pt x="1854" y="25183"/>
                      </a:cubicBezTo>
                      <a:lnTo>
                        <a:pt x="31952" y="1099"/>
                      </a:lnTo>
                      <a:cubicBezTo>
                        <a:pt x="32820" y="405"/>
                        <a:pt x="33919" y="0"/>
                        <a:pt x="35046" y="0"/>
                      </a:cubicBezTo>
                      <a:lnTo>
                        <a:pt x="83389" y="0"/>
                      </a:lnTo>
                      <a:cubicBezTo>
                        <a:pt x="86135" y="0"/>
                        <a:pt x="88333" y="2226"/>
                        <a:pt x="88333" y="4944"/>
                      </a:cubicBezTo>
                      <a:cubicBezTo>
                        <a:pt x="88333" y="7662"/>
                        <a:pt x="86107" y="9888"/>
                        <a:pt x="83389" y="9888"/>
                      </a:cubicBezTo>
                      <a:lnTo>
                        <a:pt x="36781" y="9888"/>
                      </a:lnTo>
                      <a:lnTo>
                        <a:pt x="12870" y="29029"/>
                      </a:lnTo>
                      <a:lnTo>
                        <a:pt x="38140" y="49239"/>
                      </a:lnTo>
                      <a:cubicBezTo>
                        <a:pt x="39325" y="50164"/>
                        <a:pt x="39990" y="51610"/>
                        <a:pt x="39990" y="53113"/>
                      </a:cubicBezTo>
                      <a:cubicBezTo>
                        <a:pt x="39990" y="54617"/>
                        <a:pt x="39296" y="56033"/>
                        <a:pt x="38140" y="56988"/>
                      </a:cubicBezTo>
                      <a:lnTo>
                        <a:pt x="13333" y="76851"/>
                      </a:lnTo>
                      <a:lnTo>
                        <a:pt x="32386" y="89573"/>
                      </a:lnTo>
                      <a:cubicBezTo>
                        <a:pt x="34670" y="91076"/>
                        <a:pt x="35277" y="94170"/>
                        <a:pt x="33745" y="96425"/>
                      </a:cubicBezTo>
                      <a:cubicBezTo>
                        <a:pt x="32820" y="97871"/>
                        <a:pt x="31230" y="98622"/>
                        <a:pt x="29639" y="98622"/>
                      </a:cubicBezTo>
                      <a:close/>
                    </a:path>
                  </a:pathLst>
                </a:custGeom>
                <a:solidFill>
                  <a:schemeClr val="accent1"/>
                </a:solidFill>
                <a:ln w="2890" cap="flat">
                  <a:noFill/>
                  <a:prstDash val="solid"/>
                  <a:miter/>
                </a:ln>
              </p:spPr>
              <p:txBody>
                <a:bodyPr rtlCol="0" anchor="ctr"/>
                <a:lstStyle/>
                <a:p>
                  <a:endParaRPr lang="en-GB" dirty="0"/>
                </a:p>
              </p:txBody>
            </p:sp>
            <p:grpSp>
              <p:nvGrpSpPr>
                <p:cNvPr id="520" name="Grafik 53">
                  <a:extLst>
                    <a:ext uri="{FF2B5EF4-FFF2-40B4-BE49-F238E27FC236}">
                      <a16:creationId xmlns:a16="http://schemas.microsoft.com/office/drawing/2014/main" id="{3766698A-1FE7-45E6-BB95-963E844CE562}"/>
                    </a:ext>
                  </a:extLst>
                </p:cNvPr>
                <p:cNvGrpSpPr/>
                <p:nvPr/>
              </p:nvGrpSpPr>
              <p:grpSpPr>
                <a:xfrm>
                  <a:off x="8194217" y="2620835"/>
                  <a:ext cx="130315" cy="106255"/>
                  <a:chOff x="8194217" y="2620835"/>
                  <a:chExt cx="130315" cy="106255"/>
                </a:xfrm>
                <a:solidFill>
                  <a:schemeClr val="accent1"/>
                </a:solidFill>
              </p:grpSpPr>
              <p:sp>
                <p:nvSpPr>
                  <p:cNvPr id="521" name="Freihandform: Form 520">
                    <a:extLst>
                      <a:ext uri="{FF2B5EF4-FFF2-40B4-BE49-F238E27FC236}">
                        <a16:creationId xmlns:a16="http://schemas.microsoft.com/office/drawing/2014/main" id="{0CAF24FB-F7A8-46B4-8B80-068CFB3DB14E}"/>
                      </a:ext>
                    </a:extLst>
                  </p:cNvPr>
                  <p:cNvSpPr/>
                  <p:nvPr/>
                </p:nvSpPr>
                <p:spPr>
                  <a:xfrm>
                    <a:off x="8194217" y="2620835"/>
                    <a:ext cx="130315" cy="106255"/>
                  </a:xfrm>
                  <a:custGeom>
                    <a:avLst/>
                    <a:gdLst>
                      <a:gd name="connsiteX0" fmla="*/ 125367 w 130315"/>
                      <a:gd name="connsiteY0" fmla="*/ 106255 h 106255"/>
                      <a:gd name="connsiteX1" fmla="*/ 4944 w 130315"/>
                      <a:gd name="connsiteY1" fmla="*/ 106255 h 106255"/>
                      <a:gd name="connsiteX2" fmla="*/ 0 w 130315"/>
                      <a:gd name="connsiteY2" fmla="*/ 101311 h 106255"/>
                      <a:gd name="connsiteX3" fmla="*/ 0 w 130315"/>
                      <a:gd name="connsiteY3" fmla="*/ 59156 h 106255"/>
                      <a:gd name="connsiteX4" fmla="*/ 4944 w 130315"/>
                      <a:gd name="connsiteY4" fmla="*/ 54212 h 106255"/>
                      <a:gd name="connsiteX5" fmla="*/ 9888 w 130315"/>
                      <a:gd name="connsiteY5" fmla="*/ 59156 h 106255"/>
                      <a:gd name="connsiteX6" fmla="*/ 9888 w 130315"/>
                      <a:gd name="connsiteY6" fmla="*/ 96338 h 106255"/>
                      <a:gd name="connsiteX7" fmla="*/ 115450 w 130315"/>
                      <a:gd name="connsiteY7" fmla="*/ 96338 h 106255"/>
                      <a:gd name="connsiteX8" fmla="*/ 85264 w 130315"/>
                      <a:gd name="connsiteY8" fmla="*/ 56091 h 106255"/>
                      <a:gd name="connsiteX9" fmla="*/ 85264 w 130315"/>
                      <a:gd name="connsiteY9" fmla="*/ 50135 h 106255"/>
                      <a:gd name="connsiteX10" fmla="*/ 115450 w 130315"/>
                      <a:gd name="connsiteY10" fmla="*/ 9888 h 106255"/>
                      <a:gd name="connsiteX11" fmla="*/ 59127 w 130315"/>
                      <a:gd name="connsiteY11" fmla="*/ 9888 h 106255"/>
                      <a:gd name="connsiteX12" fmla="*/ 54183 w 130315"/>
                      <a:gd name="connsiteY12" fmla="*/ 4944 h 106255"/>
                      <a:gd name="connsiteX13" fmla="*/ 59127 w 130315"/>
                      <a:gd name="connsiteY13" fmla="*/ 0 h 106255"/>
                      <a:gd name="connsiteX14" fmla="*/ 125367 w 130315"/>
                      <a:gd name="connsiteY14" fmla="*/ 0 h 106255"/>
                      <a:gd name="connsiteX15" fmla="*/ 129791 w 130315"/>
                      <a:gd name="connsiteY15" fmla="*/ 2747 h 106255"/>
                      <a:gd name="connsiteX16" fmla="*/ 129328 w 130315"/>
                      <a:gd name="connsiteY16" fmla="*/ 7922 h 106255"/>
                      <a:gd name="connsiteX17" fmla="*/ 95442 w 130315"/>
                      <a:gd name="connsiteY17" fmla="*/ 53113 h 106255"/>
                      <a:gd name="connsiteX18" fmla="*/ 129328 w 130315"/>
                      <a:gd name="connsiteY18" fmla="*/ 98304 h 106255"/>
                      <a:gd name="connsiteX19" fmla="*/ 129791 w 130315"/>
                      <a:gd name="connsiteY19" fmla="*/ 103480 h 106255"/>
                      <a:gd name="connsiteX20" fmla="*/ 125367 w 130315"/>
                      <a:gd name="connsiteY20" fmla="*/ 106255 h 106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0315" h="106255">
                        <a:moveTo>
                          <a:pt x="125367" y="106255"/>
                        </a:moveTo>
                        <a:lnTo>
                          <a:pt x="4944" y="106255"/>
                        </a:lnTo>
                        <a:cubicBezTo>
                          <a:pt x="2226" y="106255"/>
                          <a:pt x="0" y="104029"/>
                          <a:pt x="0" y="101311"/>
                        </a:cubicBezTo>
                        <a:lnTo>
                          <a:pt x="0" y="59156"/>
                        </a:lnTo>
                        <a:cubicBezTo>
                          <a:pt x="0" y="56409"/>
                          <a:pt x="2226" y="54212"/>
                          <a:pt x="4944" y="54212"/>
                        </a:cubicBezTo>
                        <a:cubicBezTo>
                          <a:pt x="7691" y="54212"/>
                          <a:pt x="9888" y="56438"/>
                          <a:pt x="9888" y="59156"/>
                        </a:cubicBezTo>
                        <a:lnTo>
                          <a:pt x="9888" y="96338"/>
                        </a:lnTo>
                        <a:lnTo>
                          <a:pt x="115450" y="96338"/>
                        </a:lnTo>
                        <a:lnTo>
                          <a:pt x="85264" y="56091"/>
                        </a:lnTo>
                        <a:cubicBezTo>
                          <a:pt x="83935" y="54328"/>
                          <a:pt x="83935" y="51899"/>
                          <a:pt x="85264" y="50135"/>
                        </a:cubicBezTo>
                        <a:lnTo>
                          <a:pt x="115450" y="9888"/>
                        </a:lnTo>
                        <a:lnTo>
                          <a:pt x="59127" y="9888"/>
                        </a:lnTo>
                        <a:cubicBezTo>
                          <a:pt x="56380" y="9888"/>
                          <a:pt x="54183" y="7662"/>
                          <a:pt x="54183" y="4944"/>
                        </a:cubicBezTo>
                        <a:cubicBezTo>
                          <a:pt x="54183" y="2197"/>
                          <a:pt x="56409" y="0"/>
                          <a:pt x="59127" y="0"/>
                        </a:cubicBezTo>
                        <a:lnTo>
                          <a:pt x="125367" y="0"/>
                        </a:lnTo>
                        <a:cubicBezTo>
                          <a:pt x="127246" y="0"/>
                          <a:pt x="128952" y="1070"/>
                          <a:pt x="129791" y="2747"/>
                        </a:cubicBezTo>
                        <a:cubicBezTo>
                          <a:pt x="130629" y="4424"/>
                          <a:pt x="130456" y="6419"/>
                          <a:pt x="129328" y="7922"/>
                        </a:cubicBezTo>
                        <a:lnTo>
                          <a:pt x="95442" y="53113"/>
                        </a:lnTo>
                        <a:lnTo>
                          <a:pt x="129328" y="98304"/>
                        </a:lnTo>
                        <a:cubicBezTo>
                          <a:pt x="130456" y="99808"/>
                          <a:pt x="130629" y="101803"/>
                          <a:pt x="129791" y="103480"/>
                        </a:cubicBezTo>
                        <a:cubicBezTo>
                          <a:pt x="128952" y="105215"/>
                          <a:pt x="127246" y="106255"/>
                          <a:pt x="125367" y="106255"/>
                        </a:cubicBezTo>
                        <a:close/>
                      </a:path>
                    </a:pathLst>
                  </a:custGeom>
                  <a:solidFill>
                    <a:schemeClr val="accent1"/>
                  </a:solidFill>
                  <a:ln w="2890" cap="flat">
                    <a:noFill/>
                    <a:prstDash val="solid"/>
                    <a:miter/>
                  </a:ln>
                </p:spPr>
                <p:txBody>
                  <a:bodyPr rtlCol="0" anchor="ctr"/>
                  <a:lstStyle/>
                  <a:p>
                    <a:endParaRPr lang="en-GB" dirty="0"/>
                  </a:p>
                </p:txBody>
              </p:sp>
              <p:sp>
                <p:nvSpPr>
                  <p:cNvPr id="522" name="Freihandform: Form 521">
                    <a:extLst>
                      <a:ext uri="{FF2B5EF4-FFF2-40B4-BE49-F238E27FC236}">
                        <a16:creationId xmlns:a16="http://schemas.microsoft.com/office/drawing/2014/main" id="{1BCE3187-B4A4-44D1-9F87-6D1A8DC8BA5C}"/>
                      </a:ext>
                    </a:extLst>
                  </p:cNvPr>
                  <p:cNvSpPr/>
                  <p:nvPr/>
                </p:nvSpPr>
                <p:spPr>
                  <a:xfrm>
                    <a:off x="8194998" y="2675410"/>
                    <a:ext cx="62191" cy="49800"/>
                  </a:xfrm>
                  <a:custGeom>
                    <a:avLst/>
                    <a:gdLst>
                      <a:gd name="connsiteX0" fmla="*/ 4944 w 62191"/>
                      <a:gd name="connsiteY0" fmla="*/ 49801 h 49800"/>
                      <a:gd name="connsiteX1" fmla="*/ 1012 w 62191"/>
                      <a:gd name="connsiteY1" fmla="*/ 47863 h 49800"/>
                      <a:gd name="connsiteX2" fmla="*/ 1937 w 62191"/>
                      <a:gd name="connsiteY2" fmla="*/ 40924 h 49800"/>
                      <a:gd name="connsiteX3" fmla="*/ 54241 w 62191"/>
                      <a:gd name="connsiteY3" fmla="*/ 1024 h 49800"/>
                      <a:gd name="connsiteX4" fmla="*/ 61180 w 62191"/>
                      <a:gd name="connsiteY4" fmla="*/ 1949 h 49800"/>
                      <a:gd name="connsiteX5" fmla="*/ 60255 w 62191"/>
                      <a:gd name="connsiteY5" fmla="*/ 8889 h 49800"/>
                      <a:gd name="connsiteX6" fmla="*/ 7951 w 62191"/>
                      <a:gd name="connsiteY6" fmla="*/ 48789 h 49800"/>
                      <a:gd name="connsiteX7" fmla="*/ 4944 w 62191"/>
                      <a:gd name="connsiteY7" fmla="*/ 49801 h 49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91" h="49800">
                        <a:moveTo>
                          <a:pt x="4944" y="49801"/>
                        </a:moveTo>
                        <a:cubicBezTo>
                          <a:pt x="3441" y="49801"/>
                          <a:pt x="1966" y="49135"/>
                          <a:pt x="1012" y="47863"/>
                        </a:cubicBezTo>
                        <a:cubicBezTo>
                          <a:pt x="-636" y="45695"/>
                          <a:pt x="-231" y="42572"/>
                          <a:pt x="1937" y="40924"/>
                        </a:cubicBezTo>
                        <a:lnTo>
                          <a:pt x="54241" y="1024"/>
                        </a:lnTo>
                        <a:cubicBezTo>
                          <a:pt x="56438" y="-653"/>
                          <a:pt x="59532" y="-219"/>
                          <a:pt x="61180" y="1949"/>
                        </a:cubicBezTo>
                        <a:cubicBezTo>
                          <a:pt x="62828" y="4118"/>
                          <a:pt x="62423" y="7241"/>
                          <a:pt x="60255" y="8889"/>
                        </a:cubicBezTo>
                        <a:lnTo>
                          <a:pt x="7951" y="48789"/>
                        </a:lnTo>
                        <a:cubicBezTo>
                          <a:pt x="7055" y="49482"/>
                          <a:pt x="5985" y="49801"/>
                          <a:pt x="4944" y="49801"/>
                        </a:cubicBezTo>
                        <a:close/>
                      </a:path>
                    </a:pathLst>
                  </a:custGeom>
                  <a:solidFill>
                    <a:schemeClr val="accent1"/>
                  </a:solidFill>
                  <a:ln w="2890" cap="flat">
                    <a:noFill/>
                    <a:prstDash val="solid"/>
                    <a:miter/>
                  </a:ln>
                </p:spPr>
                <p:txBody>
                  <a:bodyPr rtlCol="0" anchor="ctr"/>
                  <a:lstStyle/>
                  <a:p>
                    <a:endParaRPr lang="en-GB" dirty="0"/>
                  </a:p>
                </p:txBody>
              </p:sp>
            </p:grpSp>
          </p:grpSp>
        </p:grpSp>
        <p:grpSp>
          <p:nvGrpSpPr>
            <p:cNvPr id="510" name="Group 1015">
              <a:extLst>
                <a:ext uri="{FF2B5EF4-FFF2-40B4-BE49-F238E27FC236}">
                  <a16:creationId xmlns:a16="http://schemas.microsoft.com/office/drawing/2014/main" id="{D1A1CA63-8FD1-427C-BAD8-28440F4666B8}"/>
                </a:ext>
              </a:extLst>
            </p:cNvPr>
            <p:cNvGrpSpPr/>
            <p:nvPr/>
          </p:nvGrpSpPr>
          <p:grpSpPr>
            <a:xfrm>
              <a:off x="8142261" y="2449341"/>
              <a:ext cx="343866" cy="432000"/>
              <a:chOff x="7826877" y="2541052"/>
              <a:chExt cx="355120" cy="446139"/>
            </a:xfrm>
            <a:solidFill>
              <a:schemeClr val="tx2"/>
            </a:solidFill>
          </p:grpSpPr>
          <p:sp>
            <p:nvSpPr>
              <p:cNvPr id="511" name="Freihandform: Form 510">
                <a:extLst>
                  <a:ext uri="{FF2B5EF4-FFF2-40B4-BE49-F238E27FC236}">
                    <a16:creationId xmlns:a16="http://schemas.microsoft.com/office/drawing/2014/main" id="{6144FA40-6146-4E1F-9AFA-169861188638}"/>
                  </a:ext>
                </a:extLst>
              </p:cNvPr>
              <p:cNvSpPr/>
              <p:nvPr/>
            </p:nvSpPr>
            <p:spPr>
              <a:xfrm>
                <a:off x="8014667" y="2772079"/>
                <a:ext cx="38916" cy="38916"/>
              </a:xfrm>
              <a:custGeom>
                <a:avLst/>
                <a:gdLst>
                  <a:gd name="connsiteX0" fmla="*/ 19458 w 38916"/>
                  <a:gd name="connsiteY0" fmla="*/ 38917 h 38916"/>
                  <a:gd name="connsiteX1" fmla="*/ 0 w 38916"/>
                  <a:gd name="connsiteY1" fmla="*/ 19459 h 38916"/>
                  <a:gd name="connsiteX2" fmla="*/ 19458 w 38916"/>
                  <a:gd name="connsiteY2" fmla="*/ 0 h 38916"/>
                  <a:gd name="connsiteX3" fmla="*/ 38917 w 38916"/>
                  <a:gd name="connsiteY3" fmla="*/ 19459 h 38916"/>
                  <a:gd name="connsiteX4" fmla="*/ 19458 w 38916"/>
                  <a:gd name="connsiteY4" fmla="*/ 38917 h 38916"/>
                  <a:gd name="connsiteX5" fmla="*/ 19458 w 38916"/>
                  <a:gd name="connsiteY5" fmla="*/ 9917 h 38916"/>
                  <a:gd name="connsiteX6" fmla="*/ 9888 w 38916"/>
                  <a:gd name="connsiteY6" fmla="*/ 19459 h 38916"/>
                  <a:gd name="connsiteX7" fmla="*/ 19458 w 38916"/>
                  <a:gd name="connsiteY7" fmla="*/ 29000 h 38916"/>
                  <a:gd name="connsiteX8" fmla="*/ 29000 w 38916"/>
                  <a:gd name="connsiteY8" fmla="*/ 19459 h 38916"/>
                  <a:gd name="connsiteX9" fmla="*/ 19458 w 38916"/>
                  <a:gd name="connsiteY9" fmla="*/ 9917 h 389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916" h="38916">
                    <a:moveTo>
                      <a:pt x="19458" y="38917"/>
                    </a:moveTo>
                    <a:cubicBezTo>
                      <a:pt x="8732" y="38917"/>
                      <a:pt x="0" y="30185"/>
                      <a:pt x="0" y="19459"/>
                    </a:cubicBezTo>
                    <a:cubicBezTo>
                      <a:pt x="0" y="8732"/>
                      <a:pt x="8732" y="0"/>
                      <a:pt x="19458" y="0"/>
                    </a:cubicBezTo>
                    <a:cubicBezTo>
                      <a:pt x="30185" y="0"/>
                      <a:pt x="38917" y="8732"/>
                      <a:pt x="38917" y="19459"/>
                    </a:cubicBezTo>
                    <a:cubicBezTo>
                      <a:pt x="38917" y="30185"/>
                      <a:pt x="30156" y="38917"/>
                      <a:pt x="19458" y="38917"/>
                    </a:cubicBezTo>
                    <a:close/>
                    <a:moveTo>
                      <a:pt x="19458" y="9917"/>
                    </a:moveTo>
                    <a:cubicBezTo>
                      <a:pt x="14196" y="9917"/>
                      <a:pt x="9888" y="14196"/>
                      <a:pt x="9888" y="19459"/>
                    </a:cubicBezTo>
                    <a:cubicBezTo>
                      <a:pt x="9888" y="24721"/>
                      <a:pt x="14167" y="29000"/>
                      <a:pt x="19458" y="29000"/>
                    </a:cubicBezTo>
                    <a:cubicBezTo>
                      <a:pt x="24721" y="29000"/>
                      <a:pt x="29000" y="24721"/>
                      <a:pt x="29000" y="19459"/>
                    </a:cubicBezTo>
                    <a:cubicBezTo>
                      <a:pt x="29000" y="14225"/>
                      <a:pt x="24721" y="9917"/>
                      <a:pt x="19458" y="9917"/>
                    </a:cubicBezTo>
                    <a:close/>
                  </a:path>
                </a:pathLst>
              </a:custGeom>
              <a:grpFill/>
              <a:ln w="2890" cap="flat">
                <a:noFill/>
                <a:prstDash val="solid"/>
                <a:miter/>
              </a:ln>
            </p:spPr>
            <p:txBody>
              <a:bodyPr rtlCol="0" anchor="ctr"/>
              <a:lstStyle/>
              <a:p>
                <a:endParaRPr lang="en-GB" dirty="0"/>
              </a:p>
            </p:txBody>
          </p:sp>
          <p:sp>
            <p:nvSpPr>
              <p:cNvPr id="512" name="Freihandform: Form 511">
                <a:extLst>
                  <a:ext uri="{FF2B5EF4-FFF2-40B4-BE49-F238E27FC236}">
                    <a16:creationId xmlns:a16="http://schemas.microsoft.com/office/drawing/2014/main" id="{BAFC6685-D050-4A6B-8E15-301AAB7E6B5A}"/>
                  </a:ext>
                </a:extLst>
              </p:cNvPr>
              <p:cNvSpPr/>
              <p:nvPr/>
            </p:nvSpPr>
            <p:spPr>
              <a:xfrm>
                <a:off x="8061396" y="2598260"/>
                <a:ext cx="90139" cy="138978"/>
              </a:xfrm>
              <a:custGeom>
                <a:avLst/>
                <a:gdLst>
                  <a:gd name="connsiteX0" fmla="*/ 4938 w 90139"/>
                  <a:gd name="connsiteY0" fmla="*/ 138979 h 138978"/>
                  <a:gd name="connsiteX1" fmla="*/ 2336 w 90139"/>
                  <a:gd name="connsiteY1" fmla="*/ 138227 h 138978"/>
                  <a:gd name="connsiteX2" fmla="*/ 746 w 90139"/>
                  <a:gd name="connsiteY2" fmla="*/ 131404 h 138978"/>
                  <a:gd name="connsiteX3" fmla="*/ 80979 w 90139"/>
                  <a:gd name="connsiteY3" fmla="*/ 2336 h 138978"/>
                  <a:gd name="connsiteX4" fmla="*/ 87803 w 90139"/>
                  <a:gd name="connsiteY4" fmla="*/ 746 h 138978"/>
                  <a:gd name="connsiteX5" fmla="*/ 89393 w 90139"/>
                  <a:gd name="connsiteY5" fmla="*/ 7569 h 138978"/>
                  <a:gd name="connsiteX6" fmla="*/ 9131 w 90139"/>
                  <a:gd name="connsiteY6" fmla="*/ 136637 h 138978"/>
                  <a:gd name="connsiteX7" fmla="*/ 4938 w 90139"/>
                  <a:gd name="connsiteY7" fmla="*/ 138979 h 138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139" h="138978">
                    <a:moveTo>
                      <a:pt x="4938" y="138979"/>
                    </a:moveTo>
                    <a:cubicBezTo>
                      <a:pt x="4042" y="138979"/>
                      <a:pt x="3146" y="138748"/>
                      <a:pt x="2336" y="138227"/>
                    </a:cubicBezTo>
                    <a:cubicBezTo>
                      <a:pt x="23" y="136782"/>
                      <a:pt x="-700" y="133746"/>
                      <a:pt x="746" y="131404"/>
                    </a:cubicBezTo>
                    <a:lnTo>
                      <a:pt x="80979" y="2336"/>
                    </a:lnTo>
                    <a:cubicBezTo>
                      <a:pt x="82425" y="23"/>
                      <a:pt x="85461" y="-700"/>
                      <a:pt x="87803" y="746"/>
                    </a:cubicBezTo>
                    <a:cubicBezTo>
                      <a:pt x="90116" y="2191"/>
                      <a:pt x="90839" y="5227"/>
                      <a:pt x="89393" y="7569"/>
                    </a:cubicBezTo>
                    <a:lnTo>
                      <a:pt x="9131" y="136637"/>
                    </a:lnTo>
                    <a:cubicBezTo>
                      <a:pt x="8205" y="138141"/>
                      <a:pt x="6586" y="138979"/>
                      <a:pt x="4938" y="138979"/>
                    </a:cubicBezTo>
                    <a:close/>
                  </a:path>
                </a:pathLst>
              </a:custGeom>
              <a:grpFill/>
              <a:ln w="2890" cap="flat">
                <a:noFill/>
                <a:prstDash val="solid"/>
                <a:miter/>
              </a:ln>
            </p:spPr>
            <p:txBody>
              <a:bodyPr rtlCol="0" anchor="ctr"/>
              <a:lstStyle/>
              <a:p>
                <a:endParaRPr lang="en-GB" dirty="0"/>
              </a:p>
            </p:txBody>
          </p:sp>
          <p:grpSp>
            <p:nvGrpSpPr>
              <p:cNvPr id="513" name="Grafik 53">
                <a:extLst>
                  <a:ext uri="{FF2B5EF4-FFF2-40B4-BE49-F238E27FC236}">
                    <a16:creationId xmlns:a16="http://schemas.microsoft.com/office/drawing/2014/main" id="{DCE6720C-0C2D-42C2-B4EF-A37B93859DA9}"/>
                  </a:ext>
                </a:extLst>
              </p:cNvPr>
              <p:cNvGrpSpPr/>
              <p:nvPr/>
            </p:nvGrpSpPr>
            <p:grpSpPr>
              <a:xfrm>
                <a:off x="7826877" y="2541052"/>
                <a:ext cx="355120" cy="446139"/>
                <a:chOff x="7826877" y="2541052"/>
                <a:chExt cx="355120" cy="446139"/>
              </a:xfrm>
              <a:grpFill/>
            </p:grpSpPr>
            <p:sp>
              <p:nvSpPr>
                <p:cNvPr id="514" name="Freihandform: Form 513">
                  <a:extLst>
                    <a:ext uri="{FF2B5EF4-FFF2-40B4-BE49-F238E27FC236}">
                      <a16:creationId xmlns:a16="http://schemas.microsoft.com/office/drawing/2014/main" id="{7B54FBD2-C295-4001-8627-F6A9D249E8F4}"/>
                    </a:ext>
                  </a:extLst>
                </p:cNvPr>
                <p:cNvSpPr/>
                <p:nvPr/>
              </p:nvSpPr>
              <p:spPr>
                <a:xfrm>
                  <a:off x="7857351" y="2868562"/>
                  <a:ext cx="88184" cy="88184"/>
                </a:xfrm>
                <a:custGeom>
                  <a:avLst/>
                  <a:gdLst>
                    <a:gd name="connsiteX0" fmla="*/ 44092 w 88184"/>
                    <a:gd name="connsiteY0" fmla="*/ 88185 h 88184"/>
                    <a:gd name="connsiteX1" fmla="*/ 0 w 88184"/>
                    <a:gd name="connsiteY1" fmla="*/ 44092 h 88184"/>
                    <a:gd name="connsiteX2" fmla="*/ 44092 w 88184"/>
                    <a:gd name="connsiteY2" fmla="*/ 0 h 88184"/>
                    <a:gd name="connsiteX3" fmla="*/ 88185 w 88184"/>
                    <a:gd name="connsiteY3" fmla="*/ 44092 h 88184"/>
                    <a:gd name="connsiteX4" fmla="*/ 44092 w 88184"/>
                    <a:gd name="connsiteY4" fmla="*/ 88185 h 88184"/>
                    <a:gd name="connsiteX5" fmla="*/ 44092 w 88184"/>
                    <a:gd name="connsiteY5" fmla="*/ 9859 h 88184"/>
                    <a:gd name="connsiteX6" fmla="*/ 9888 w 88184"/>
                    <a:gd name="connsiteY6" fmla="*/ 44064 h 88184"/>
                    <a:gd name="connsiteX7" fmla="*/ 44092 w 88184"/>
                    <a:gd name="connsiteY7" fmla="*/ 78268 h 88184"/>
                    <a:gd name="connsiteX8" fmla="*/ 78296 w 88184"/>
                    <a:gd name="connsiteY8" fmla="*/ 44064 h 88184"/>
                    <a:gd name="connsiteX9" fmla="*/ 44092 w 88184"/>
                    <a:gd name="connsiteY9" fmla="*/ 9859 h 8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8184" h="88184">
                      <a:moveTo>
                        <a:pt x="44092" y="88185"/>
                      </a:moveTo>
                      <a:cubicBezTo>
                        <a:pt x="19776" y="88185"/>
                        <a:pt x="0" y="68408"/>
                        <a:pt x="0" y="44092"/>
                      </a:cubicBezTo>
                      <a:cubicBezTo>
                        <a:pt x="0" y="19777"/>
                        <a:pt x="19776" y="0"/>
                        <a:pt x="44092" y="0"/>
                      </a:cubicBezTo>
                      <a:cubicBezTo>
                        <a:pt x="68408" y="0"/>
                        <a:pt x="88185" y="19777"/>
                        <a:pt x="88185" y="44092"/>
                      </a:cubicBezTo>
                      <a:cubicBezTo>
                        <a:pt x="88185" y="68408"/>
                        <a:pt x="68408" y="88185"/>
                        <a:pt x="44092" y="88185"/>
                      </a:cubicBezTo>
                      <a:close/>
                      <a:moveTo>
                        <a:pt x="44092" y="9859"/>
                      </a:moveTo>
                      <a:cubicBezTo>
                        <a:pt x="25241" y="9859"/>
                        <a:pt x="9888" y="25212"/>
                        <a:pt x="9888" y="44064"/>
                      </a:cubicBezTo>
                      <a:cubicBezTo>
                        <a:pt x="9888" y="62915"/>
                        <a:pt x="25241" y="78268"/>
                        <a:pt x="44092" y="78268"/>
                      </a:cubicBezTo>
                      <a:cubicBezTo>
                        <a:pt x="62944" y="78268"/>
                        <a:pt x="78296" y="62915"/>
                        <a:pt x="78296" y="44064"/>
                      </a:cubicBezTo>
                      <a:cubicBezTo>
                        <a:pt x="78268" y="25212"/>
                        <a:pt x="62944" y="9859"/>
                        <a:pt x="44092" y="9859"/>
                      </a:cubicBezTo>
                      <a:close/>
                    </a:path>
                  </a:pathLst>
                </a:custGeom>
                <a:grpFill/>
                <a:ln w="2890" cap="flat">
                  <a:noFill/>
                  <a:prstDash val="solid"/>
                  <a:miter/>
                </a:ln>
              </p:spPr>
              <p:txBody>
                <a:bodyPr rtlCol="0" anchor="ctr"/>
                <a:lstStyle/>
                <a:p>
                  <a:endParaRPr lang="en-GB" dirty="0"/>
                </a:p>
              </p:txBody>
            </p:sp>
            <p:sp>
              <p:nvSpPr>
                <p:cNvPr id="515" name="Freihandform: Form 514">
                  <a:extLst>
                    <a:ext uri="{FF2B5EF4-FFF2-40B4-BE49-F238E27FC236}">
                      <a16:creationId xmlns:a16="http://schemas.microsoft.com/office/drawing/2014/main" id="{6A40B414-AB9F-4DF5-80D5-760D2F408004}"/>
                    </a:ext>
                  </a:extLst>
                </p:cNvPr>
                <p:cNvSpPr/>
                <p:nvPr/>
              </p:nvSpPr>
              <p:spPr>
                <a:xfrm>
                  <a:off x="7826877" y="2541052"/>
                  <a:ext cx="355120" cy="446139"/>
                </a:xfrm>
                <a:custGeom>
                  <a:avLst/>
                  <a:gdLst>
                    <a:gd name="connsiteX0" fmla="*/ 74567 w 355120"/>
                    <a:gd name="connsiteY0" fmla="*/ 446140 h 446139"/>
                    <a:gd name="connsiteX1" fmla="*/ 0 w 355120"/>
                    <a:gd name="connsiteY1" fmla="*/ 371573 h 446139"/>
                    <a:gd name="connsiteX2" fmla="*/ 74567 w 355120"/>
                    <a:gd name="connsiteY2" fmla="*/ 297035 h 446139"/>
                    <a:gd name="connsiteX3" fmla="*/ 126755 w 355120"/>
                    <a:gd name="connsiteY3" fmla="*/ 318402 h 446139"/>
                    <a:gd name="connsiteX4" fmla="*/ 318043 w 355120"/>
                    <a:gd name="connsiteY4" fmla="*/ 2383 h 446139"/>
                    <a:gd name="connsiteX5" fmla="*/ 321426 w 355120"/>
                    <a:gd name="connsiteY5" fmla="*/ 70 h 446139"/>
                    <a:gd name="connsiteX6" fmla="*/ 325387 w 355120"/>
                    <a:gd name="connsiteY6" fmla="*/ 1082 h 446139"/>
                    <a:gd name="connsiteX7" fmla="*/ 332153 w 355120"/>
                    <a:gd name="connsiteY7" fmla="*/ 131508 h 446139"/>
                    <a:gd name="connsiteX8" fmla="*/ 142108 w 355120"/>
                    <a:gd name="connsiteY8" fmla="*/ 408061 h 446139"/>
                    <a:gd name="connsiteX9" fmla="*/ 74567 w 355120"/>
                    <a:gd name="connsiteY9" fmla="*/ 446140 h 446139"/>
                    <a:gd name="connsiteX10" fmla="*/ 74567 w 355120"/>
                    <a:gd name="connsiteY10" fmla="*/ 306924 h 446139"/>
                    <a:gd name="connsiteX11" fmla="*/ 9917 w 355120"/>
                    <a:gd name="connsiteY11" fmla="*/ 371573 h 446139"/>
                    <a:gd name="connsiteX12" fmla="*/ 74567 w 355120"/>
                    <a:gd name="connsiteY12" fmla="*/ 436223 h 446139"/>
                    <a:gd name="connsiteX13" fmla="*/ 133983 w 355120"/>
                    <a:gd name="connsiteY13" fmla="*/ 402394 h 446139"/>
                    <a:gd name="connsiteX14" fmla="*/ 324028 w 355120"/>
                    <a:gd name="connsiteY14" fmla="*/ 125841 h 446139"/>
                    <a:gd name="connsiteX15" fmla="*/ 323363 w 355120"/>
                    <a:gd name="connsiteY15" fmla="*/ 12705 h 446139"/>
                    <a:gd name="connsiteX16" fmla="*/ 131815 w 355120"/>
                    <a:gd name="connsiteY16" fmla="*/ 329100 h 446139"/>
                    <a:gd name="connsiteX17" fmla="*/ 127969 w 355120"/>
                    <a:gd name="connsiteY17" fmla="*/ 331471 h 446139"/>
                    <a:gd name="connsiteX18" fmla="*/ 123806 w 355120"/>
                    <a:gd name="connsiteY18" fmla="*/ 329736 h 446139"/>
                    <a:gd name="connsiteX19" fmla="*/ 74567 w 355120"/>
                    <a:gd name="connsiteY19" fmla="*/ 306924 h 4461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55120" h="446139">
                      <a:moveTo>
                        <a:pt x="74567" y="446140"/>
                      </a:moveTo>
                      <a:cubicBezTo>
                        <a:pt x="33452" y="446140"/>
                        <a:pt x="0" y="412688"/>
                        <a:pt x="0" y="371573"/>
                      </a:cubicBezTo>
                      <a:cubicBezTo>
                        <a:pt x="0" y="330459"/>
                        <a:pt x="33452" y="297035"/>
                        <a:pt x="74567" y="297035"/>
                      </a:cubicBezTo>
                      <a:cubicBezTo>
                        <a:pt x="94170" y="297035"/>
                        <a:pt x="112848" y="304755"/>
                        <a:pt x="126755" y="318402"/>
                      </a:cubicBezTo>
                      <a:lnTo>
                        <a:pt x="318043" y="2383"/>
                      </a:lnTo>
                      <a:cubicBezTo>
                        <a:pt x="318795" y="1168"/>
                        <a:pt x="320009" y="330"/>
                        <a:pt x="321426" y="70"/>
                      </a:cubicBezTo>
                      <a:cubicBezTo>
                        <a:pt x="322872" y="-162"/>
                        <a:pt x="324289" y="185"/>
                        <a:pt x="325387" y="1082"/>
                      </a:cubicBezTo>
                      <a:cubicBezTo>
                        <a:pt x="347014" y="18458"/>
                        <a:pt x="376303" y="68102"/>
                        <a:pt x="332153" y="131508"/>
                      </a:cubicBezTo>
                      <a:cubicBezTo>
                        <a:pt x="279589" y="207000"/>
                        <a:pt x="143466" y="406066"/>
                        <a:pt x="142108" y="408061"/>
                      </a:cubicBezTo>
                      <a:cubicBezTo>
                        <a:pt x="124210" y="433013"/>
                        <a:pt x="100878" y="446140"/>
                        <a:pt x="74567" y="446140"/>
                      </a:cubicBezTo>
                      <a:close/>
                      <a:moveTo>
                        <a:pt x="74567" y="306924"/>
                      </a:moveTo>
                      <a:cubicBezTo>
                        <a:pt x="38917" y="306924"/>
                        <a:pt x="9917" y="335923"/>
                        <a:pt x="9917" y="371573"/>
                      </a:cubicBezTo>
                      <a:cubicBezTo>
                        <a:pt x="9917" y="407223"/>
                        <a:pt x="38917" y="436223"/>
                        <a:pt x="74567" y="436223"/>
                      </a:cubicBezTo>
                      <a:cubicBezTo>
                        <a:pt x="97900" y="436223"/>
                        <a:pt x="117878" y="424831"/>
                        <a:pt x="133983" y="402394"/>
                      </a:cubicBezTo>
                      <a:cubicBezTo>
                        <a:pt x="135284" y="400486"/>
                        <a:pt x="271464" y="201362"/>
                        <a:pt x="324028" y="125841"/>
                      </a:cubicBezTo>
                      <a:cubicBezTo>
                        <a:pt x="365981" y="65587"/>
                        <a:pt x="335362" y="25051"/>
                        <a:pt x="323363" y="12705"/>
                      </a:cubicBezTo>
                      <a:lnTo>
                        <a:pt x="131815" y="329100"/>
                      </a:lnTo>
                      <a:cubicBezTo>
                        <a:pt x="130976" y="330459"/>
                        <a:pt x="129559" y="331355"/>
                        <a:pt x="127969" y="331471"/>
                      </a:cubicBezTo>
                      <a:cubicBezTo>
                        <a:pt x="126408" y="331615"/>
                        <a:pt x="124818" y="330950"/>
                        <a:pt x="123806" y="329736"/>
                      </a:cubicBezTo>
                      <a:cubicBezTo>
                        <a:pt x="111489" y="315251"/>
                        <a:pt x="93534" y="306924"/>
                        <a:pt x="74567" y="306924"/>
                      </a:cubicBezTo>
                      <a:close/>
                    </a:path>
                  </a:pathLst>
                </a:custGeom>
                <a:grpFill/>
                <a:ln w="2890" cap="flat">
                  <a:noFill/>
                  <a:prstDash val="solid"/>
                  <a:miter/>
                </a:ln>
              </p:spPr>
              <p:txBody>
                <a:bodyPr rtlCol="0" anchor="ctr"/>
                <a:lstStyle/>
                <a:p>
                  <a:endParaRPr lang="en-GB" dirty="0"/>
                </a:p>
              </p:txBody>
            </p:sp>
          </p:grpSp>
        </p:grpSp>
      </p:grpSp>
      <p:grpSp>
        <p:nvGrpSpPr>
          <p:cNvPr id="39" name="Group 38">
            <a:extLst>
              <a:ext uri="{FF2B5EF4-FFF2-40B4-BE49-F238E27FC236}">
                <a16:creationId xmlns:a16="http://schemas.microsoft.com/office/drawing/2014/main" id="{E8F81276-8C1A-CC90-1409-23BEDB45040D}"/>
              </a:ext>
            </a:extLst>
          </p:cNvPr>
          <p:cNvGrpSpPr/>
          <p:nvPr/>
        </p:nvGrpSpPr>
        <p:grpSpPr>
          <a:xfrm>
            <a:off x="6071077" y="2449340"/>
            <a:ext cx="375243" cy="432000"/>
            <a:chOff x="6070665" y="2449340"/>
            <a:chExt cx="375243" cy="432000"/>
          </a:xfrm>
        </p:grpSpPr>
        <p:sp>
          <p:nvSpPr>
            <p:cNvPr id="533" name="Freihandform: Form 532">
              <a:extLst>
                <a:ext uri="{FF2B5EF4-FFF2-40B4-BE49-F238E27FC236}">
                  <a16:creationId xmlns:a16="http://schemas.microsoft.com/office/drawing/2014/main" id="{B94F4592-7CE0-41F0-A4F6-1E5AE803EDB2}"/>
                </a:ext>
              </a:extLst>
            </p:cNvPr>
            <p:cNvSpPr/>
            <p:nvPr/>
          </p:nvSpPr>
          <p:spPr>
            <a:xfrm>
              <a:off x="6070665" y="2449340"/>
              <a:ext cx="375243" cy="432000"/>
            </a:xfrm>
            <a:custGeom>
              <a:avLst/>
              <a:gdLst>
                <a:gd name="connsiteX0" fmla="*/ 226562 w 453095"/>
                <a:gd name="connsiteY0" fmla="*/ 521627 h 521627"/>
                <a:gd name="connsiteX1" fmla="*/ 224076 w 453095"/>
                <a:gd name="connsiteY1" fmla="*/ 520962 h 521627"/>
                <a:gd name="connsiteX2" fmla="*/ 2486 w 453095"/>
                <a:gd name="connsiteY2" fmla="*/ 393022 h 521627"/>
                <a:gd name="connsiteX3" fmla="*/ 0 w 453095"/>
                <a:gd name="connsiteY3" fmla="*/ 388743 h 521627"/>
                <a:gd name="connsiteX4" fmla="*/ 0 w 453095"/>
                <a:gd name="connsiteY4" fmla="*/ 132892 h 521627"/>
                <a:gd name="connsiteX5" fmla="*/ 2486 w 453095"/>
                <a:gd name="connsiteY5" fmla="*/ 128612 h 521627"/>
                <a:gd name="connsiteX6" fmla="*/ 224076 w 453095"/>
                <a:gd name="connsiteY6" fmla="*/ 672 h 521627"/>
                <a:gd name="connsiteX7" fmla="*/ 229020 w 453095"/>
                <a:gd name="connsiteY7" fmla="*/ 672 h 521627"/>
                <a:gd name="connsiteX8" fmla="*/ 450610 w 453095"/>
                <a:gd name="connsiteY8" fmla="*/ 128612 h 521627"/>
                <a:gd name="connsiteX9" fmla="*/ 453096 w 453095"/>
                <a:gd name="connsiteY9" fmla="*/ 132892 h 521627"/>
                <a:gd name="connsiteX10" fmla="*/ 453096 w 453095"/>
                <a:gd name="connsiteY10" fmla="*/ 388743 h 521627"/>
                <a:gd name="connsiteX11" fmla="*/ 450610 w 453095"/>
                <a:gd name="connsiteY11" fmla="*/ 393022 h 521627"/>
                <a:gd name="connsiteX12" fmla="*/ 229020 w 453095"/>
                <a:gd name="connsiteY12" fmla="*/ 520962 h 521627"/>
                <a:gd name="connsiteX13" fmla="*/ 226562 w 453095"/>
                <a:gd name="connsiteY13" fmla="*/ 521627 h 521627"/>
                <a:gd name="connsiteX14" fmla="*/ 9946 w 453095"/>
                <a:gd name="connsiteY14" fmla="*/ 385881 h 521627"/>
                <a:gd name="connsiteX15" fmla="*/ 226562 w 453095"/>
                <a:gd name="connsiteY15" fmla="*/ 510958 h 521627"/>
                <a:gd name="connsiteX16" fmla="*/ 443179 w 453095"/>
                <a:gd name="connsiteY16" fmla="*/ 385881 h 521627"/>
                <a:gd name="connsiteX17" fmla="*/ 443179 w 453095"/>
                <a:gd name="connsiteY17" fmla="*/ 135754 h 521627"/>
                <a:gd name="connsiteX18" fmla="*/ 226562 w 453095"/>
                <a:gd name="connsiteY18" fmla="*/ 10676 h 521627"/>
                <a:gd name="connsiteX19" fmla="*/ 9946 w 453095"/>
                <a:gd name="connsiteY19" fmla="*/ 135754 h 521627"/>
                <a:gd name="connsiteX20" fmla="*/ 9946 w 453095"/>
                <a:gd name="connsiteY20" fmla="*/ 385881 h 5216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53095" h="521627">
                  <a:moveTo>
                    <a:pt x="226562" y="521627"/>
                  </a:moveTo>
                  <a:cubicBezTo>
                    <a:pt x="225695" y="521627"/>
                    <a:pt x="224857" y="521396"/>
                    <a:pt x="224076" y="520962"/>
                  </a:cubicBezTo>
                  <a:lnTo>
                    <a:pt x="2486" y="393022"/>
                  </a:lnTo>
                  <a:cubicBezTo>
                    <a:pt x="954" y="392126"/>
                    <a:pt x="0" y="390507"/>
                    <a:pt x="0" y="388743"/>
                  </a:cubicBezTo>
                  <a:lnTo>
                    <a:pt x="0" y="132892"/>
                  </a:lnTo>
                  <a:cubicBezTo>
                    <a:pt x="0" y="131128"/>
                    <a:pt x="954" y="129480"/>
                    <a:pt x="2486" y="128612"/>
                  </a:cubicBezTo>
                  <a:lnTo>
                    <a:pt x="224076" y="672"/>
                  </a:lnTo>
                  <a:cubicBezTo>
                    <a:pt x="225608" y="-224"/>
                    <a:pt x="227488" y="-224"/>
                    <a:pt x="229020" y="672"/>
                  </a:cubicBezTo>
                  <a:lnTo>
                    <a:pt x="450610" y="128612"/>
                  </a:lnTo>
                  <a:cubicBezTo>
                    <a:pt x="452142" y="129509"/>
                    <a:pt x="453096" y="131128"/>
                    <a:pt x="453096" y="132892"/>
                  </a:cubicBezTo>
                  <a:lnTo>
                    <a:pt x="453096" y="388743"/>
                  </a:lnTo>
                  <a:cubicBezTo>
                    <a:pt x="453096" y="390507"/>
                    <a:pt x="452142" y="392155"/>
                    <a:pt x="450610" y="393022"/>
                  </a:cubicBezTo>
                  <a:lnTo>
                    <a:pt x="229020" y="520962"/>
                  </a:lnTo>
                  <a:cubicBezTo>
                    <a:pt x="228268" y="521396"/>
                    <a:pt x="227430" y="521627"/>
                    <a:pt x="226562" y="521627"/>
                  </a:cubicBezTo>
                  <a:close/>
                  <a:moveTo>
                    <a:pt x="9946" y="385881"/>
                  </a:moveTo>
                  <a:lnTo>
                    <a:pt x="226562" y="510958"/>
                  </a:lnTo>
                  <a:lnTo>
                    <a:pt x="443179" y="385881"/>
                  </a:lnTo>
                  <a:lnTo>
                    <a:pt x="443179" y="135754"/>
                  </a:lnTo>
                  <a:lnTo>
                    <a:pt x="226562" y="10676"/>
                  </a:lnTo>
                  <a:lnTo>
                    <a:pt x="9946" y="135754"/>
                  </a:lnTo>
                  <a:lnTo>
                    <a:pt x="9946" y="385881"/>
                  </a:lnTo>
                  <a:close/>
                </a:path>
              </a:pathLst>
            </a:custGeom>
            <a:solidFill>
              <a:schemeClr val="accent1"/>
            </a:solidFill>
            <a:ln w="2890" cap="flat">
              <a:noFill/>
              <a:prstDash val="solid"/>
              <a:miter/>
            </a:ln>
          </p:spPr>
          <p:txBody>
            <a:bodyPr rtlCol="0" anchor="ctr"/>
            <a:lstStyle/>
            <a:p>
              <a:endParaRPr lang="en-GB" dirty="0"/>
            </a:p>
          </p:txBody>
        </p:sp>
        <p:grpSp>
          <p:nvGrpSpPr>
            <p:cNvPr id="534" name="Grafik 53">
              <a:extLst>
                <a:ext uri="{FF2B5EF4-FFF2-40B4-BE49-F238E27FC236}">
                  <a16:creationId xmlns:a16="http://schemas.microsoft.com/office/drawing/2014/main" id="{550ED1F7-7755-40A0-9E9E-30711CCB0657}"/>
                </a:ext>
              </a:extLst>
            </p:cNvPr>
            <p:cNvGrpSpPr/>
            <p:nvPr/>
          </p:nvGrpSpPr>
          <p:grpSpPr>
            <a:xfrm>
              <a:off x="6161254" y="2513220"/>
              <a:ext cx="187849" cy="331365"/>
              <a:chOff x="6268233" y="2559553"/>
              <a:chExt cx="226822" cy="400113"/>
            </a:xfrm>
            <a:solidFill>
              <a:schemeClr val="tx2"/>
            </a:solidFill>
          </p:grpSpPr>
          <p:grpSp>
            <p:nvGrpSpPr>
              <p:cNvPr id="535" name="Grafik 53">
                <a:extLst>
                  <a:ext uri="{FF2B5EF4-FFF2-40B4-BE49-F238E27FC236}">
                    <a16:creationId xmlns:a16="http://schemas.microsoft.com/office/drawing/2014/main" id="{FBC5C0DF-E6B3-47AA-A81C-3C84213EF4B4}"/>
                  </a:ext>
                </a:extLst>
              </p:cNvPr>
              <p:cNvGrpSpPr/>
              <p:nvPr/>
            </p:nvGrpSpPr>
            <p:grpSpPr>
              <a:xfrm>
                <a:off x="6268233" y="2559553"/>
                <a:ext cx="226822" cy="400113"/>
                <a:chOff x="6268233" y="2559553"/>
                <a:chExt cx="226822" cy="400113"/>
              </a:xfrm>
              <a:grpFill/>
            </p:grpSpPr>
            <p:sp>
              <p:nvSpPr>
                <p:cNvPr id="537" name="Freihandform: Form 536">
                  <a:extLst>
                    <a:ext uri="{FF2B5EF4-FFF2-40B4-BE49-F238E27FC236}">
                      <a16:creationId xmlns:a16="http://schemas.microsoft.com/office/drawing/2014/main" id="{179849E6-6607-4585-8D90-27D6CEBBB495}"/>
                    </a:ext>
                  </a:extLst>
                </p:cNvPr>
                <p:cNvSpPr/>
                <p:nvPr/>
              </p:nvSpPr>
              <p:spPr>
                <a:xfrm>
                  <a:off x="6378392" y="2834415"/>
                  <a:ext cx="9888" cy="125251"/>
                </a:xfrm>
                <a:custGeom>
                  <a:avLst/>
                  <a:gdLst>
                    <a:gd name="connsiteX0" fmla="*/ 4944 w 9888"/>
                    <a:gd name="connsiteY0" fmla="*/ 125251 h 125251"/>
                    <a:gd name="connsiteX1" fmla="*/ 0 w 9888"/>
                    <a:gd name="connsiteY1" fmla="*/ 120307 h 125251"/>
                    <a:gd name="connsiteX2" fmla="*/ 0 w 9888"/>
                    <a:gd name="connsiteY2" fmla="*/ 4944 h 125251"/>
                    <a:gd name="connsiteX3" fmla="*/ 4944 w 9888"/>
                    <a:gd name="connsiteY3" fmla="*/ 0 h 125251"/>
                    <a:gd name="connsiteX4" fmla="*/ 9888 w 9888"/>
                    <a:gd name="connsiteY4" fmla="*/ 4944 h 125251"/>
                    <a:gd name="connsiteX5" fmla="*/ 9888 w 9888"/>
                    <a:gd name="connsiteY5" fmla="*/ 120307 h 125251"/>
                    <a:gd name="connsiteX6" fmla="*/ 4944 w 9888"/>
                    <a:gd name="connsiteY6" fmla="*/ 125251 h 125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125251">
                      <a:moveTo>
                        <a:pt x="4944" y="125251"/>
                      </a:moveTo>
                      <a:cubicBezTo>
                        <a:pt x="2226" y="125251"/>
                        <a:pt x="0" y="123025"/>
                        <a:pt x="0" y="120307"/>
                      </a:cubicBezTo>
                      <a:lnTo>
                        <a:pt x="0" y="4944"/>
                      </a:lnTo>
                      <a:cubicBezTo>
                        <a:pt x="0" y="2226"/>
                        <a:pt x="2226" y="0"/>
                        <a:pt x="4944" y="0"/>
                      </a:cubicBezTo>
                      <a:cubicBezTo>
                        <a:pt x="7691" y="0"/>
                        <a:pt x="9888" y="2226"/>
                        <a:pt x="9888" y="4944"/>
                      </a:cubicBezTo>
                      <a:lnTo>
                        <a:pt x="9888" y="120307"/>
                      </a:lnTo>
                      <a:cubicBezTo>
                        <a:pt x="9888" y="123025"/>
                        <a:pt x="7662" y="125251"/>
                        <a:pt x="4944" y="125251"/>
                      </a:cubicBezTo>
                      <a:close/>
                    </a:path>
                  </a:pathLst>
                </a:custGeom>
                <a:grpFill/>
                <a:ln w="2890" cap="flat">
                  <a:noFill/>
                  <a:prstDash val="solid"/>
                  <a:miter/>
                </a:ln>
              </p:spPr>
              <p:txBody>
                <a:bodyPr rtlCol="0" anchor="ctr"/>
                <a:lstStyle/>
                <a:p>
                  <a:endParaRPr lang="en-GB" dirty="0"/>
                </a:p>
              </p:txBody>
            </p:sp>
            <p:sp>
              <p:nvSpPr>
                <p:cNvPr id="538" name="Freihandform: Form 537">
                  <a:extLst>
                    <a:ext uri="{FF2B5EF4-FFF2-40B4-BE49-F238E27FC236}">
                      <a16:creationId xmlns:a16="http://schemas.microsoft.com/office/drawing/2014/main" id="{9256EBA0-3A8D-4F23-9B3C-37F2E7618788}"/>
                    </a:ext>
                  </a:extLst>
                </p:cNvPr>
                <p:cNvSpPr/>
                <p:nvPr/>
              </p:nvSpPr>
              <p:spPr>
                <a:xfrm>
                  <a:off x="6379787" y="2804793"/>
                  <a:ext cx="44411" cy="65734"/>
                </a:xfrm>
                <a:custGeom>
                  <a:avLst/>
                  <a:gdLst>
                    <a:gd name="connsiteX0" fmla="*/ 30525 w 44411"/>
                    <a:gd name="connsiteY0" fmla="*/ 65735 h 65734"/>
                    <a:gd name="connsiteX1" fmla="*/ 26998 w 44411"/>
                    <a:gd name="connsiteY1" fmla="*/ 64260 h 65734"/>
                    <a:gd name="connsiteX2" fmla="*/ 1439 w 44411"/>
                    <a:gd name="connsiteY2" fmla="*/ 38470 h 65734"/>
                    <a:gd name="connsiteX3" fmla="*/ 1467 w 44411"/>
                    <a:gd name="connsiteY3" fmla="*/ 31473 h 65734"/>
                    <a:gd name="connsiteX4" fmla="*/ 8464 w 44411"/>
                    <a:gd name="connsiteY4" fmla="*/ 31502 h 65734"/>
                    <a:gd name="connsiteX5" fmla="*/ 29166 w 44411"/>
                    <a:gd name="connsiteY5" fmla="*/ 52377 h 65734"/>
                    <a:gd name="connsiteX6" fmla="*/ 26680 w 44411"/>
                    <a:gd name="connsiteY6" fmla="*/ 8256 h 65734"/>
                    <a:gd name="connsiteX7" fmla="*/ 27084 w 44411"/>
                    <a:gd name="connsiteY7" fmla="*/ 1259 h 65734"/>
                    <a:gd name="connsiteX8" fmla="*/ 34081 w 44411"/>
                    <a:gd name="connsiteY8" fmla="*/ 1663 h 65734"/>
                    <a:gd name="connsiteX9" fmla="*/ 34746 w 44411"/>
                    <a:gd name="connsiteY9" fmla="*/ 63306 h 65734"/>
                    <a:gd name="connsiteX10" fmla="*/ 31103 w 44411"/>
                    <a:gd name="connsiteY10" fmla="*/ 65648 h 65734"/>
                    <a:gd name="connsiteX11" fmla="*/ 30525 w 44411"/>
                    <a:gd name="connsiteY11" fmla="*/ 65735 h 65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11" h="65734">
                      <a:moveTo>
                        <a:pt x="30525" y="65735"/>
                      </a:moveTo>
                      <a:cubicBezTo>
                        <a:pt x="29224" y="65735"/>
                        <a:pt x="27952" y="65214"/>
                        <a:pt x="26998" y="64260"/>
                      </a:cubicBezTo>
                      <a:lnTo>
                        <a:pt x="1439" y="38470"/>
                      </a:lnTo>
                      <a:cubicBezTo>
                        <a:pt x="-499" y="36533"/>
                        <a:pt x="-470" y="33381"/>
                        <a:pt x="1467" y="31473"/>
                      </a:cubicBezTo>
                      <a:cubicBezTo>
                        <a:pt x="3405" y="29536"/>
                        <a:pt x="6527" y="29564"/>
                        <a:pt x="8464" y="31502"/>
                      </a:cubicBezTo>
                      <a:lnTo>
                        <a:pt x="29166" y="52377"/>
                      </a:lnTo>
                      <a:cubicBezTo>
                        <a:pt x="33416" y="42633"/>
                        <a:pt x="39517" y="22654"/>
                        <a:pt x="26680" y="8256"/>
                      </a:cubicBezTo>
                      <a:cubicBezTo>
                        <a:pt x="24858" y="6203"/>
                        <a:pt x="25032" y="3080"/>
                        <a:pt x="27084" y="1259"/>
                      </a:cubicBezTo>
                      <a:cubicBezTo>
                        <a:pt x="29137" y="-563"/>
                        <a:pt x="32260" y="-389"/>
                        <a:pt x="34081" y="1663"/>
                      </a:cubicBezTo>
                      <a:cubicBezTo>
                        <a:pt x="56460" y="26789"/>
                        <a:pt x="35643" y="61831"/>
                        <a:pt x="34746" y="63306"/>
                      </a:cubicBezTo>
                      <a:cubicBezTo>
                        <a:pt x="33966" y="64607"/>
                        <a:pt x="32607" y="65474"/>
                        <a:pt x="31103" y="65648"/>
                      </a:cubicBezTo>
                      <a:cubicBezTo>
                        <a:pt x="30930" y="65735"/>
                        <a:pt x="30727" y="65735"/>
                        <a:pt x="30525" y="65735"/>
                      </a:cubicBezTo>
                      <a:close/>
                    </a:path>
                  </a:pathLst>
                </a:custGeom>
                <a:grpFill/>
                <a:ln w="2890" cap="flat">
                  <a:noFill/>
                  <a:prstDash val="solid"/>
                  <a:miter/>
                </a:ln>
              </p:spPr>
              <p:txBody>
                <a:bodyPr rtlCol="0" anchor="ctr"/>
                <a:lstStyle/>
                <a:p>
                  <a:endParaRPr lang="en-GB" dirty="0"/>
                </a:p>
              </p:txBody>
            </p:sp>
            <p:sp>
              <p:nvSpPr>
                <p:cNvPr id="539" name="Freihandform: Form 538">
                  <a:extLst>
                    <a:ext uri="{FF2B5EF4-FFF2-40B4-BE49-F238E27FC236}">
                      <a16:creationId xmlns:a16="http://schemas.microsoft.com/office/drawing/2014/main" id="{17099123-34CE-49A7-9456-8DAA18E92CB7}"/>
                    </a:ext>
                  </a:extLst>
                </p:cNvPr>
                <p:cNvSpPr/>
                <p:nvPr/>
              </p:nvSpPr>
              <p:spPr>
                <a:xfrm>
                  <a:off x="6339785" y="2804851"/>
                  <a:ext cx="44439" cy="65676"/>
                </a:xfrm>
                <a:custGeom>
                  <a:avLst/>
                  <a:gdLst>
                    <a:gd name="connsiteX0" fmla="*/ 13886 w 44439"/>
                    <a:gd name="connsiteY0" fmla="*/ 65677 h 65676"/>
                    <a:gd name="connsiteX1" fmla="*/ 13308 w 44439"/>
                    <a:gd name="connsiteY1" fmla="*/ 65648 h 65676"/>
                    <a:gd name="connsiteX2" fmla="*/ 9665 w 44439"/>
                    <a:gd name="connsiteY2" fmla="*/ 63306 h 65676"/>
                    <a:gd name="connsiteX3" fmla="*/ 10330 w 44439"/>
                    <a:gd name="connsiteY3" fmla="*/ 1663 h 65676"/>
                    <a:gd name="connsiteX4" fmla="*/ 17327 w 44439"/>
                    <a:gd name="connsiteY4" fmla="*/ 1259 h 65676"/>
                    <a:gd name="connsiteX5" fmla="*/ 17732 w 44439"/>
                    <a:gd name="connsiteY5" fmla="*/ 8256 h 65676"/>
                    <a:gd name="connsiteX6" fmla="*/ 15245 w 44439"/>
                    <a:gd name="connsiteY6" fmla="*/ 52406 h 65676"/>
                    <a:gd name="connsiteX7" fmla="*/ 35976 w 44439"/>
                    <a:gd name="connsiteY7" fmla="*/ 31502 h 65676"/>
                    <a:gd name="connsiteX8" fmla="*/ 42973 w 44439"/>
                    <a:gd name="connsiteY8" fmla="*/ 31473 h 65676"/>
                    <a:gd name="connsiteX9" fmla="*/ 43001 w 44439"/>
                    <a:gd name="connsiteY9" fmla="*/ 38470 h 65676"/>
                    <a:gd name="connsiteX10" fmla="*/ 17414 w 44439"/>
                    <a:gd name="connsiteY10" fmla="*/ 64260 h 65676"/>
                    <a:gd name="connsiteX11" fmla="*/ 13886 w 44439"/>
                    <a:gd name="connsiteY11" fmla="*/ 65677 h 6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39" h="65676">
                      <a:moveTo>
                        <a:pt x="13886" y="65677"/>
                      </a:moveTo>
                      <a:cubicBezTo>
                        <a:pt x="13684" y="65677"/>
                        <a:pt x="13510" y="65677"/>
                        <a:pt x="13308" y="65648"/>
                      </a:cubicBezTo>
                      <a:cubicBezTo>
                        <a:pt x="11804" y="65474"/>
                        <a:pt x="10445" y="64607"/>
                        <a:pt x="9665" y="63306"/>
                      </a:cubicBezTo>
                      <a:cubicBezTo>
                        <a:pt x="8768" y="61831"/>
                        <a:pt x="-12049" y="26789"/>
                        <a:pt x="10330" y="1663"/>
                      </a:cubicBezTo>
                      <a:cubicBezTo>
                        <a:pt x="12151" y="-389"/>
                        <a:pt x="15274" y="-563"/>
                        <a:pt x="17327" y="1259"/>
                      </a:cubicBezTo>
                      <a:cubicBezTo>
                        <a:pt x="19380" y="3080"/>
                        <a:pt x="19553" y="6203"/>
                        <a:pt x="17732" y="8256"/>
                      </a:cubicBezTo>
                      <a:cubicBezTo>
                        <a:pt x="4836" y="22741"/>
                        <a:pt x="10995" y="42662"/>
                        <a:pt x="15245" y="52406"/>
                      </a:cubicBezTo>
                      <a:lnTo>
                        <a:pt x="35976" y="31502"/>
                      </a:lnTo>
                      <a:cubicBezTo>
                        <a:pt x="37913" y="29564"/>
                        <a:pt x="41035" y="29535"/>
                        <a:pt x="42973" y="31473"/>
                      </a:cubicBezTo>
                      <a:cubicBezTo>
                        <a:pt x="44910" y="33410"/>
                        <a:pt x="44939" y="36532"/>
                        <a:pt x="43001" y="38470"/>
                      </a:cubicBezTo>
                      <a:lnTo>
                        <a:pt x="17414" y="64260"/>
                      </a:lnTo>
                      <a:cubicBezTo>
                        <a:pt x="16459" y="65156"/>
                        <a:pt x="15187" y="65677"/>
                        <a:pt x="13886" y="65677"/>
                      </a:cubicBezTo>
                      <a:close/>
                    </a:path>
                  </a:pathLst>
                </a:custGeom>
                <a:grpFill/>
                <a:ln w="2890" cap="flat">
                  <a:noFill/>
                  <a:prstDash val="solid"/>
                  <a:miter/>
                </a:ln>
              </p:spPr>
              <p:txBody>
                <a:bodyPr rtlCol="0" anchor="ctr"/>
                <a:lstStyle/>
                <a:p>
                  <a:endParaRPr lang="en-GB" dirty="0"/>
                </a:p>
              </p:txBody>
            </p:sp>
            <p:sp>
              <p:nvSpPr>
                <p:cNvPr id="540" name="Freihandform: Form 539">
                  <a:extLst>
                    <a:ext uri="{FF2B5EF4-FFF2-40B4-BE49-F238E27FC236}">
                      <a16:creationId xmlns:a16="http://schemas.microsoft.com/office/drawing/2014/main" id="{8BFC8B0E-E5B5-422E-99E3-D29C1CF7121C}"/>
                    </a:ext>
                  </a:extLst>
                </p:cNvPr>
                <p:cNvSpPr/>
                <p:nvPr/>
              </p:nvSpPr>
              <p:spPr>
                <a:xfrm>
                  <a:off x="6338490" y="2559553"/>
                  <a:ext cx="137466" cy="117373"/>
                </a:xfrm>
                <a:custGeom>
                  <a:avLst/>
                  <a:gdLst>
                    <a:gd name="connsiteX0" fmla="*/ 126179 w 137466"/>
                    <a:gd name="connsiteY0" fmla="*/ 117373 h 117373"/>
                    <a:gd name="connsiteX1" fmla="*/ 121726 w 137466"/>
                    <a:gd name="connsiteY1" fmla="*/ 114540 h 117373"/>
                    <a:gd name="connsiteX2" fmla="*/ 105419 w 137466"/>
                    <a:gd name="connsiteY2" fmla="*/ 80249 h 117373"/>
                    <a:gd name="connsiteX3" fmla="*/ 45136 w 137466"/>
                    <a:gd name="connsiteY3" fmla="*/ 89386 h 117373"/>
                    <a:gd name="connsiteX4" fmla="*/ 42851 w 137466"/>
                    <a:gd name="connsiteY4" fmla="*/ 89183 h 117373"/>
                    <a:gd name="connsiteX5" fmla="*/ 42851 w 137466"/>
                    <a:gd name="connsiteY5" fmla="*/ 89183 h 117373"/>
                    <a:gd name="connsiteX6" fmla="*/ 10787 w 137466"/>
                    <a:gd name="connsiteY6" fmla="*/ 74553 h 117373"/>
                    <a:gd name="connsiteX7" fmla="*/ 60 w 137466"/>
                    <a:gd name="connsiteY7" fmla="*/ 43819 h 117373"/>
                    <a:gd name="connsiteX8" fmla="*/ 40192 w 137466"/>
                    <a:gd name="connsiteY8" fmla="*/ 15 h 117373"/>
                    <a:gd name="connsiteX9" fmla="*/ 137310 w 137466"/>
                    <a:gd name="connsiteY9" fmla="*/ 58824 h 117373"/>
                    <a:gd name="connsiteX10" fmla="*/ 137339 w 137466"/>
                    <a:gd name="connsiteY10" fmla="*/ 61138 h 117373"/>
                    <a:gd name="connsiteX11" fmla="*/ 131123 w 137466"/>
                    <a:gd name="connsiteY11" fmla="*/ 112979 h 117373"/>
                    <a:gd name="connsiteX12" fmla="*/ 127017 w 137466"/>
                    <a:gd name="connsiteY12" fmla="*/ 117287 h 117373"/>
                    <a:gd name="connsiteX13" fmla="*/ 126179 w 137466"/>
                    <a:gd name="connsiteY13" fmla="*/ 117373 h 117373"/>
                    <a:gd name="connsiteX14" fmla="*/ 112850 w 137466"/>
                    <a:gd name="connsiteY14" fmla="*/ 72847 h 117373"/>
                    <a:gd name="connsiteX15" fmla="*/ 123288 w 137466"/>
                    <a:gd name="connsiteY15" fmla="*/ 94792 h 117373"/>
                    <a:gd name="connsiteX16" fmla="*/ 127625 w 137466"/>
                    <a:gd name="connsiteY16" fmla="*/ 60993 h 117373"/>
                    <a:gd name="connsiteX17" fmla="*/ 40307 w 137466"/>
                    <a:gd name="connsiteY17" fmla="*/ 9961 h 117373"/>
                    <a:gd name="connsiteX18" fmla="*/ 9920 w 137466"/>
                    <a:gd name="connsiteY18" fmla="*/ 44339 h 117373"/>
                    <a:gd name="connsiteX19" fmla="*/ 43574 w 137466"/>
                    <a:gd name="connsiteY19" fmla="*/ 79353 h 117373"/>
                    <a:gd name="connsiteX20" fmla="*/ 46003 w 137466"/>
                    <a:gd name="connsiteY20" fmla="*/ 79555 h 117373"/>
                    <a:gd name="connsiteX21" fmla="*/ 105911 w 137466"/>
                    <a:gd name="connsiteY21" fmla="*/ 69233 h 117373"/>
                    <a:gd name="connsiteX22" fmla="*/ 112358 w 137466"/>
                    <a:gd name="connsiteY22" fmla="*/ 71431 h 117373"/>
                    <a:gd name="connsiteX23" fmla="*/ 112850 w 137466"/>
                    <a:gd name="connsiteY23" fmla="*/ 72847 h 117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7466" h="117373">
                      <a:moveTo>
                        <a:pt x="126179" y="117373"/>
                      </a:moveTo>
                      <a:cubicBezTo>
                        <a:pt x="124300" y="117373"/>
                        <a:pt x="122536" y="116304"/>
                        <a:pt x="121726" y="114540"/>
                      </a:cubicBezTo>
                      <a:lnTo>
                        <a:pt x="105419" y="80249"/>
                      </a:lnTo>
                      <a:cubicBezTo>
                        <a:pt x="77258" y="92190"/>
                        <a:pt x="58060" y="90513"/>
                        <a:pt x="45136" y="89386"/>
                      </a:cubicBezTo>
                      <a:lnTo>
                        <a:pt x="42851" y="89183"/>
                      </a:lnTo>
                      <a:lnTo>
                        <a:pt x="42851" y="89183"/>
                      </a:lnTo>
                      <a:cubicBezTo>
                        <a:pt x="42880" y="89183"/>
                        <a:pt x="23595" y="87795"/>
                        <a:pt x="10787" y="74553"/>
                      </a:cubicBezTo>
                      <a:cubicBezTo>
                        <a:pt x="3067" y="66602"/>
                        <a:pt x="-518" y="56251"/>
                        <a:pt x="60" y="43819"/>
                      </a:cubicBezTo>
                      <a:cubicBezTo>
                        <a:pt x="1188" y="19532"/>
                        <a:pt x="18825" y="304"/>
                        <a:pt x="40192" y="15"/>
                      </a:cubicBezTo>
                      <a:cubicBezTo>
                        <a:pt x="95502" y="-621"/>
                        <a:pt x="127046" y="18520"/>
                        <a:pt x="137310" y="58824"/>
                      </a:cubicBezTo>
                      <a:cubicBezTo>
                        <a:pt x="137513" y="59605"/>
                        <a:pt x="137513" y="60386"/>
                        <a:pt x="137339" y="61138"/>
                      </a:cubicBezTo>
                      <a:cubicBezTo>
                        <a:pt x="136906" y="63942"/>
                        <a:pt x="133407" y="93491"/>
                        <a:pt x="131123" y="112979"/>
                      </a:cubicBezTo>
                      <a:cubicBezTo>
                        <a:pt x="130863" y="115176"/>
                        <a:pt x="129186" y="116940"/>
                        <a:pt x="127017" y="117287"/>
                      </a:cubicBezTo>
                      <a:cubicBezTo>
                        <a:pt x="126728" y="117373"/>
                        <a:pt x="126439" y="117373"/>
                        <a:pt x="126179" y="117373"/>
                      </a:cubicBezTo>
                      <a:close/>
                      <a:moveTo>
                        <a:pt x="112850" y="72847"/>
                      </a:moveTo>
                      <a:lnTo>
                        <a:pt x="123288" y="94792"/>
                      </a:lnTo>
                      <a:cubicBezTo>
                        <a:pt x="125629" y="74958"/>
                        <a:pt x="126786" y="65590"/>
                        <a:pt x="127625" y="60993"/>
                      </a:cubicBezTo>
                      <a:cubicBezTo>
                        <a:pt x="118430" y="25488"/>
                        <a:pt x="90674" y="9296"/>
                        <a:pt x="40307" y="9961"/>
                      </a:cubicBezTo>
                      <a:cubicBezTo>
                        <a:pt x="24145" y="10164"/>
                        <a:pt x="10816" y="25285"/>
                        <a:pt x="9920" y="44339"/>
                      </a:cubicBezTo>
                      <a:cubicBezTo>
                        <a:pt x="8445" y="76172"/>
                        <a:pt x="42158" y="79237"/>
                        <a:pt x="43574" y="79353"/>
                      </a:cubicBezTo>
                      <a:lnTo>
                        <a:pt x="46003" y="79555"/>
                      </a:lnTo>
                      <a:cubicBezTo>
                        <a:pt x="58580" y="80654"/>
                        <a:pt x="77576" y="82302"/>
                        <a:pt x="105911" y="69233"/>
                      </a:cubicBezTo>
                      <a:cubicBezTo>
                        <a:pt x="108311" y="68105"/>
                        <a:pt x="111144" y="69089"/>
                        <a:pt x="112358" y="71431"/>
                      </a:cubicBezTo>
                      <a:cubicBezTo>
                        <a:pt x="112590" y="71893"/>
                        <a:pt x="112763" y="72385"/>
                        <a:pt x="112850" y="72847"/>
                      </a:cubicBezTo>
                      <a:close/>
                    </a:path>
                  </a:pathLst>
                </a:custGeom>
                <a:grpFill/>
                <a:ln w="2890" cap="flat">
                  <a:noFill/>
                  <a:prstDash val="solid"/>
                  <a:miter/>
                </a:ln>
              </p:spPr>
              <p:txBody>
                <a:bodyPr rtlCol="0" anchor="ctr"/>
                <a:lstStyle/>
                <a:p>
                  <a:endParaRPr lang="en-GB" dirty="0"/>
                </a:p>
              </p:txBody>
            </p:sp>
            <p:sp>
              <p:nvSpPr>
                <p:cNvPr id="541" name="Freihandform: Form 540">
                  <a:extLst>
                    <a:ext uri="{FF2B5EF4-FFF2-40B4-BE49-F238E27FC236}">
                      <a16:creationId xmlns:a16="http://schemas.microsoft.com/office/drawing/2014/main" id="{DB68EFC2-53DB-4580-B8AE-658C097AA7AA}"/>
                    </a:ext>
                  </a:extLst>
                </p:cNvPr>
                <p:cNvSpPr/>
                <p:nvPr/>
              </p:nvSpPr>
              <p:spPr>
                <a:xfrm>
                  <a:off x="6292707" y="2576576"/>
                  <a:ext cx="62554" cy="98585"/>
                </a:xfrm>
                <a:custGeom>
                  <a:avLst/>
                  <a:gdLst>
                    <a:gd name="connsiteX0" fmla="*/ 8546 w 62554"/>
                    <a:gd name="connsiteY0" fmla="*/ 98586 h 98585"/>
                    <a:gd name="connsiteX1" fmla="*/ 7707 w 62554"/>
                    <a:gd name="connsiteY1" fmla="*/ 98528 h 98585"/>
                    <a:gd name="connsiteX2" fmla="*/ 3601 w 62554"/>
                    <a:gd name="connsiteY2" fmla="*/ 94104 h 98585"/>
                    <a:gd name="connsiteX3" fmla="*/ 16 w 62554"/>
                    <a:gd name="connsiteY3" fmla="*/ 50272 h 98585"/>
                    <a:gd name="connsiteX4" fmla="*/ 16 w 62554"/>
                    <a:gd name="connsiteY4" fmla="*/ 47901 h 98585"/>
                    <a:gd name="connsiteX5" fmla="*/ 25575 w 62554"/>
                    <a:gd name="connsiteY5" fmla="*/ 5341 h 98585"/>
                    <a:gd name="connsiteX6" fmla="*/ 58507 w 62554"/>
                    <a:gd name="connsiteY6" fmla="*/ 2884 h 98585"/>
                    <a:gd name="connsiteX7" fmla="*/ 61023 w 62554"/>
                    <a:gd name="connsiteY7" fmla="*/ 6122 h 98585"/>
                    <a:gd name="connsiteX8" fmla="*/ 60242 w 62554"/>
                    <a:gd name="connsiteY8" fmla="*/ 10141 h 98585"/>
                    <a:gd name="connsiteX9" fmla="*/ 56165 w 62554"/>
                    <a:gd name="connsiteY9" fmla="*/ 29339 h 98585"/>
                    <a:gd name="connsiteX10" fmla="*/ 61659 w 62554"/>
                    <a:gd name="connsiteY10" fmla="*/ 47988 h 98585"/>
                    <a:gd name="connsiteX11" fmla="*/ 61283 w 62554"/>
                    <a:gd name="connsiteY11" fmla="*/ 54147 h 98585"/>
                    <a:gd name="connsiteX12" fmla="*/ 29941 w 62554"/>
                    <a:gd name="connsiteY12" fmla="*/ 71263 h 98585"/>
                    <a:gd name="connsiteX13" fmla="*/ 24332 w 62554"/>
                    <a:gd name="connsiteY13" fmla="*/ 70800 h 98585"/>
                    <a:gd name="connsiteX14" fmla="*/ 13056 w 62554"/>
                    <a:gd name="connsiteY14" fmla="*/ 95695 h 98585"/>
                    <a:gd name="connsiteX15" fmla="*/ 8546 w 62554"/>
                    <a:gd name="connsiteY15" fmla="*/ 98586 h 98585"/>
                    <a:gd name="connsiteX16" fmla="*/ 46508 w 62554"/>
                    <a:gd name="connsiteY16" fmla="*/ 9881 h 98585"/>
                    <a:gd name="connsiteX17" fmla="*/ 29565 w 62554"/>
                    <a:gd name="connsiteY17" fmla="*/ 14362 h 98585"/>
                    <a:gd name="connsiteX18" fmla="*/ 9933 w 62554"/>
                    <a:gd name="connsiteY18" fmla="*/ 47786 h 98585"/>
                    <a:gd name="connsiteX19" fmla="*/ 9933 w 62554"/>
                    <a:gd name="connsiteY19" fmla="*/ 50243 h 98585"/>
                    <a:gd name="connsiteX20" fmla="*/ 11813 w 62554"/>
                    <a:gd name="connsiteY20" fmla="*/ 74386 h 98585"/>
                    <a:gd name="connsiteX21" fmla="*/ 16959 w 62554"/>
                    <a:gd name="connsiteY21" fmla="*/ 63023 h 98585"/>
                    <a:gd name="connsiteX22" fmla="*/ 22857 w 62554"/>
                    <a:gd name="connsiteY22" fmla="*/ 60305 h 98585"/>
                    <a:gd name="connsiteX23" fmla="*/ 29912 w 62554"/>
                    <a:gd name="connsiteY23" fmla="*/ 61346 h 98585"/>
                    <a:gd name="connsiteX24" fmla="*/ 51337 w 62554"/>
                    <a:gd name="connsiteY24" fmla="*/ 50157 h 98585"/>
                    <a:gd name="connsiteX25" fmla="*/ 46219 w 62554"/>
                    <a:gd name="connsiteY25" fmla="*/ 29339 h 98585"/>
                    <a:gd name="connsiteX26" fmla="*/ 49082 w 62554"/>
                    <a:gd name="connsiteY26" fmla="*/ 10083 h 98585"/>
                    <a:gd name="connsiteX27" fmla="*/ 46508 w 62554"/>
                    <a:gd name="connsiteY27" fmla="*/ 9881 h 9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2554" h="98585">
                      <a:moveTo>
                        <a:pt x="8546" y="98586"/>
                      </a:moveTo>
                      <a:cubicBezTo>
                        <a:pt x="8256" y="98586"/>
                        <a:pt x="7996" y="98557"/>
                        <a:pt x="7707" y="98528"/>
                      </a:cubicBezTo>
                      <a:cubicBezTo>
                        <a:pt x="5481" y="98152"/>
                        <a:pt x="3804" y="96331"/>
                        <a:pt x="3601" y="94104"/>
                      </a:cubicBezTo>
                      <a:cubicBezTo>
                        <a:pt x="3226" y="89999"/>
                        <a:pt x="16" y="54031"/>
                        <a:pt x="16" y="50272"/>
                      </a:cubicBezTo>
                      <a:lnTo>
                        <a:pt x="16" y="47901"/>
                      </a:lnTo>
                      <a:cubicBezTo>
                        <a:pt x="-99" y="35469"/>
                        <a:pt x="-273" y="16675"/>
                        <a:pt x="25575" y="5341"/>
                      </a:cubicBezTo>
                      <a:cubicBezTo>
                        <a:pt x="39714" y="-875"/>
                        <a:pt x="49862" y="-1627"/>
                        <a:pt x="58507" y="2884"/>
                      </a:cubicBezTo>
                      <a:cubicBezTo>
                        <a:pt x="59779" y="3549"/>
                        <a:pt x="60705" y="4734"/>
                        <a:pt x="61023" y="6122"/>
                      </a:cubicBezTo>
                      <a:cubicBezTo>
                        <a:pt x="61341" y="7510"/>
                        <a:pt x="61080" y="8984"/>
                        <a:pt x="60242" y="10141"/>
                      </a:cubicBezTo>
                      <a:cubicBezTo>
                        <a:pt x="56570" y="15259"/>
                        <a:pt x="56165" y="23557"/>
                        <a:pt x="56165" y="29339"/>
                      </a:cubicBezTo>
                      <a:cubicBezTo>
                        <a:pt x="56165" y="36307"/>
                        <a:pt x="58102" y="42928"/>
                        <a:pt x="61659" y="47988"/>
                      </a:cubicBezTo>
                      <a:cubicBezTo>
                        <a:pt x="62989" y="49867"/>
                        <a:pt x="62815" y="52412"/>
                        <a:pt x="61283" y="54147"/>
                      </a:cubicBezTo>
                      <a:cubicBezTo>
                        <a:pt x="53852" y="62416"/>
                        <a:pt x="41709" y="71263"/>
                        <a:pt x="29941" y="71263"/>
                      </a:cubicBezTo>
                      <a:cubicBezTo>
                        <a:pt x="28062" y="71263"/>
                        <a:pt x="26211" y="71119"/>
                        <a:pt x="24332" y="70800"/>
                      </a:cubicBezTo>
                      <a:lnTo>
                        <a:pt x="13056" y="95695"/>
                      </a:lnTo>
                      <a:cubicBezTo>
                        <a:pt x="12246" y="97458"/>
                        <a:pt x="10454" y="98586"/>
                        <a:pt x="8546" y="98586"/>
                      </a:cubicBezTo>
                      <a:close/>
                      <a:moveTo>
                        <a:pt x="46508" y="9881"/>
                      </a:moveTo>
                      <a:cubicBezTo>
                        <a:pt x="42605" y="9881"/>
                        <a:pt x="37227" y="11008"/>
                        <a:pt x="29565" y="14362"/>
                      </a:cubicBezTo>
                      <a:cubicBezTo>
                        <a:pt x="9731" y="23065"/>
                        <a:pt x="9818" y="35642"/>
                        <a:pt x="9933" y="47786"/>
                      </a:cubicBezTo>
                      <a:lnTo>
                        <a:pt x="9933" y="50243"/>
                      </a:lnTo>
                      <a:cubicBezTo>
                        <a:pt x="9933" y="51834"/>
                        <a:pt x="10830" y="62734"/>
                        <a:pt x="11813" y="74386"/>
                      </a:cubicBezTo>
                      <a:lnTo>
                        <a:pt x="16959" y="63023"/>
                      </a:lnTo>
                      <a:cubicBezTo>
                        <a:pt x="17971" y="60768"/>
                        <a:pt x="20487" y="59611"/>
                        <a:pt x="22857" y="60305"/>
                      </a:cubicBezTo>
                      <a:cubicBezTo>
                        <a:pt x="25171" y="60999"/>
                        <a:pt x="27541" y="61346"/>
                        <a:pt x="29912" y="61346"/>
                      </a:cubicBezTo>
                      <a:cubicBezTo>
                        <a:pt x="36071" y="61346"/>
                        <a:pt x="44369" y="56951"/>
                        <a:pt x="51337" y="50157"/>
                      </a:cubicBezTo>
                      <a:cubicBezTo>
                        <a:pt x="48012" y="44085"/>
                        <a:pt x="46219" y="36828"/>
                        <a:pt x="46219" y="29339"/>
                      </a:cubicBezTo>
                      <a:cubicBezTo>
                        <a:pt x="46219" y="23470"/>
                        <a:pt x="46595" y="16386"/>
                        <a:pt x="49082" y="10083"/>
                      </a:cubicBezTo>
                      <a:cubicBezTo>
                        <a:pt x="48330" y="9968"/>
                        <a:pt x="47462" y="9881"/>
                        <a:pt x="46508" y="9881"/>
                      </a:cubicBezTo>
                      <a:close/>
                    </a:path>
                  </a:pathLst>
                </a:custGeom>
                <a:grpFill/>
                <a:ln w="2890" cap="flat">
                  <a:noFill/>
                  <a:prstDash val="solid"/>
                  <a:miter/>
                </a:ln>
              </p:spPr>
              <p:txBody>
                <a:bodyPr rtlCol="0" anchor="ctr"/>
                <a:lstStyle/>
                <a:p>
                  <a:endParaRPr lang="en-GB" dirty="0"/>
                </a:p>
              </p:txBody>
            </p:sp>
            <p:sp>
              <p:nvSpPr>
                <p:cNvPr id="542" name="Freihandform: Form 541">
                  <a:extLst>
                    <a:ext uri="{FF2B5EF4-FFF2-40B4-BE49-F238E27FC236}">
                      <a16:creationId xmlns:a16="http://schemas.microsoft.com/office/drawing/2014/main" id="{1AFF2CA7-D538-4376-8186-64BAB37FCD80}"/>
                    </a:ext>
                  </a:extLst>
                </p:cNvPr>
                <p:cNvSpPr/>
                <p:nvPr/>
              </p:nvSpPr>
              <p:spPr>
                <a:xfrm>
                  <a:off x="6297230" y="2622585"/>
                  <a:ext cx="171491" cy="196362"/>
                </a:xfrm>
                <a:custGeom>
                  <a:avLst/>
                  <a:gdLst>
                    <a:gd name="connsiteX0" fmla="*/ 86049 w 171491"/>
                    <a:gd name="connsiteY0" fmla="*/ 196362 h 196362"/>
                    <a:gd name="connsiteX1" fmla="*/ 2143 w 171491"/>
                    <a:gd name="connsiteY1" fmla="*/ 109421 h 196362"/>
                    <a:gd name="connsiteX2" fmla="*/ 4 w 171491"/>
                    <a:gd name="connsiteY2" fmla="*/ 45754 h 196362"/>
                    <a:gd name="connsiteX3" fmla="*/ 437 w 171491"/>
                    <a:gd name="connsiteY3" fmla="*/ 43557 h 196362"/>
                    <a:gd name="connsiteX4" fmla="*/ 12089 w 171491"/>
                    <a:gd name="connsiteY4" fmla="*/ 18316 h 196362"/>
                    <a:gd name="connsiteX5" fmla="*/ 14518 w 171491"/>
                    <a:gd name="connsiteY5" fmla="*/ 15916 h 196362"/>
                    <a:gd name="connsiteX6" fmla="*/ 16629 w 171491"/>
                    <a:gd name="connsiteY6" fmla="*/ 14962 h 196362"/>
                    <a:gd name="connsiteX7" fmla="*/ 19809 w 171491"/>
                    <a:gd name="connsiteY7" fmla="*/ 14644 h 196362"/>
                    <a:gd name="connsiteX8" fmla="*/ 25418 w 171491"/>
                    <a:gd name="connsiteY8" fmla="*/ 15309 h 196362"/>
                    <a:gd name="connsiteX9" fmla="*/ 49242 w 171491"/>
                    <a:gd name="connsiteY9" fmla="*/ 1633 h 196362"/>
                    <a:gd name="connsiteX10" fmla="*/ 56239 w 171491"/>
                    <a:gd name="connsiteY10" fmla="*/ 1286 h 196362"/>
                    <a:gd name="connsiteX11" fmla="*/ 56586 w 171491"/>
                    <a:gd name="connsiteY11" fmla="*/ 8283 h 196362"/>
                    <a:gd name="connsiteX12" fmla="*/ 25447 w 171491"/>
                    <a:gd name="connsiteY12" fmla="*/ 25197 h 196362"/>
                    <a:gd name="connsiteX13" fmla="*/ 19983 w 171491"/>
                    <a:gd name="connsiteY13" fmla="*/ 24763 h 196362"/>
                    <a:gd name="connsiteX14" fmla="*/ 9950 w 171491"/>
                    <a:gd name="connsiteY14" fmla="*/ 46535 h 196362"/>
                    <a:gd name="connsiteX15" fmla="*/ 12060 w 171491"/>
                    <a:gd name="connsiteY15" fmla="*/ 109218 h 196362"/>
                    <a:gd name="connsiteX16" fmla="*/ 85557 w 171491"/>
                    <a:gd name="connsiteY16" fmla="*/ 186445 h 196362"/>
                    <a:gd name="connsiteX17" fmla="*/ 159517 w 171491"/>
                    <a:gd name="connsiteY17" fmla="*/ 109392 h 196362"/>
                    <a:gd name="connsiteX18" fmla="*/ 161599 w 171491"/>
                    <a:gd name="connsiteY18" fmla="*/ 47315 h 196362"/>
                    <a:gd name="connsiteX19" fmla="*/ 166716 w 171491"/>
                    <a:gd name="connsiteY19" fmla="*/ 42545 h 196362"/>
                    <a:gd name="connsiteX20" fmla="*/ 171487 w 171491"/>
                    <a:gd name="connsiteY20" fmla="*/ 47662 h 196362"/>
                    <a:gd name="connsiteX21" fmla="*/ 169405 w 171491"/>
                    <a:gd name="connsiteY21" fmla="*/ 109565 h 196362"/>
                    <a:gd name="connsiteX22" fmla="*/ 86049 w 171491"/>
                    <a:gd name="connsiteY22" fmla="*/ 196362 h 196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71491" h="196362">
                      <a:moveTo>
                        <a:pt x="86049" y="196362"/>
                      </a:moveTo>
                      <a:cubicBezTo>
                        <a:pt x="47970" y="196189"/>
                        <a:pt x="2143" y="156029"/>
                        <a:pt x="2143" y="109421"/>
                      </a:cubicBezTo>
                      <a:lnTo>
                        <a:pt x="4" y="45754"/>
                      </a:lnTo>
                      <a:cubicBezTo>
                        <a:pt x="-25" y="45002"/>
                        <a:pt x="119" y="44251"/>
                        <a:pt x="437" y="43557"/>
                      </a:cubicBezTo>
                      <a:lnTo>
                        <a:pt x="12089" y="18316"/>
                      </a:lnTo>
                      <a:cubicBezTo>
                        <a:pt x="12581" y="17246"/>
                        <a:pt x="13448" y="16407"/>
                        <a:pt x="14518" y="15916"/>
                      </a:cubicBezTo>
                      <a:lnTo>
                        <a:pt x="16629" y="14962"/>
                      </a:lnTo>
                      <a:cubicBezTo>
                        <a:pt x="17612" y="14528"/>
                        <a:pt x="18739" y="14412"/>
                        <a:pt x="19809" y="14644"/>
                      </a:cubicBezTo>
                      <a:cubicBezTo>
                        <a:pt x="21688" y="15077"/>
                        <a:pt x="23568" y="15309"/>
                        <a:pt x="25418" y="15309"/>
                      </a:cubicBezTo>
                      <a:cubicBezTo>
                        <a:pt x="32357" y="15309"/>
                        <a:pt x="41696" y="9931"/>
                        <a:pt x="49242" y="1633"/>
                      </a:cubicBezTo>
                      <a:cubicBezTo>
                        <a:pt x="51064" y="-391"/>
                        <a:pt x="54216" y="-564"/>
                        <a:pt x="56239" y="1286"/>
                      </a:cubicBezTo>
                      <a:cubicBezTo>
                        <a:pt x="58263" y="3136"/>
                        <a:pt x="58408" y="6259"/>
                        <a:pt x="56586" y="8283"/>
                      </a:cubicBezTo>
                      <a:cubicBezTo>
                        <a:pt x="49156" y="16465"/>
                        <a:pt x="37099" y="25197"/>
                        <a:pt x="25447" y="25197"/>
                      </a:cubicBezTo>
                      <a:cubicBezTo>
                        <a:pt x="23626" y="25197"/>
                        <a:pt x="21804" y="25052"/>
                        <a:pt x="19983" y="24763"/>
                      </a:cubicBezTo>
                      <a:lnTo>
                        <a:pt x="9950" y="46535"/>
                      </a:lnTo>
                      <a:lnTo>
                        <a:pt x="12060" y="109218"/>
                      </a:lnTo>
                      <a:cubicBezTo>
                        <a:pt x="12060" y="149986"/>
                        <a:pt x="53175" y="186300"/>
                        <a:pt x="85557" y="186445"/>
                      </a:cubicBezTo>
                      <a:cubicBezTo>
                        <a:pt x="118402" y="186300"/>
                        <a:pt x="159517" y="149986"/>
                        <a:pt x="159517" y="109392"/>
                      </a:cubicBezTo>
                      <a:lnTo>
                        <a:pt x="161599" y="47315"/>
                      </a:lnTo>
                      <a:cubicBezTo>
                        <a:pt x="161685" y="44598"/>
                        <a:pt x="164027" y="42487"/>
                        <a:pt x="166716" y="42545"/>
                      </a:cubicBezTo>
                      <a:cubicBezTo>
                        <a:pt x="169434" y="42632"/>
                        <a:pt x="171602" y="44916"/>
                        <a:pt x="171487" y="47662"/>
                      </a:cubicBezTo>
                      <a:lnTo>
                        <a:pt x="169405" y="109565"/>
                      </a:lnTo>
                      <a:cubicBezTo>
                        <a:pt x="169434" y="156057"/>
                        <a:pt x="123578" y="196218"/>
                        <a:pt x="86049" y="196362"/>
                      </a:cubicBezTo>
                      <a:close/>
                    </a:path>
                  </a:pathLst>
                </a:custGeom>
                <a:grpFill/>
                <a:ln w="2890" cap="flat">
                  <a:noFill/>
                  <a:prstDash val="solid"/>
                  <a:miter/>
                </a:ln>
              </p:spPr>
              <p:txBody>
                <a:bodyPr rtlCol="0" anchor="ctr"/>
                <a:lstStyle/>
                <a:p>
                  <a:endParaRPr lang="en-GB" dirty="0"/>
                </a:p>
              </p:txBody>
            </p:sp>
            <p:sp>
              <p:nvSpPr>
                <p:cNvPr id="543" name="Freihandform: Form 542">
                  <a:extLst>
                    <a:ext uri="{FF2B5EF4-FFF2-40B4-BE49-F238E27FC236}">
                      <a16:creationId xmlns:a16="http://schemas.microsoft.com/office/drawing/2014/main" id="{9A2779F8-D37C-4C97-B9B7-2A8E7735F7E9}"/>
                    </a:ext>
                  </a:extLst>
                </p:cNvPr>
                <p:cNvSpPr/>
                <p:nvPr/>
              </p:nvSpPr>
              <p:spPr>
                <a:xfrm>
                  <a:off x="6356303" y="2806774"/>
                  <a:ext cx="54240" cy="37413"/>
                </a:xfrm>
                <a:custGeom>
                  <a:avLst/>
                  <a:gdLst>
                    <a:gd name="connsiteX0" fmla="*/ 26918 w 54240"/>
                    <a:gd name="connsiteY0" fmla="*/ 37413 h 37413"/>
                    <a:gd name="connsiteX1" fmla="*/ 26745 w 54240"/>
                    <a:gd name="connsiteY1" fmla="*/ 37413 h 37413"/>
                    <a:gd name="connsiteX2" fmla="*/ 26745 w 54240"/>
                    <a:gd name="connsiteY2" fmla="*/ 37356 h 37413"/>
                    <a:gd name="connsiteX3" fmla="*/ 8298 w 54240"/>
                    <a:gd name="connsiteY3" fmla="*/ 26166 h 37413"/>
                    <a:gd name="connsiteX4" fmla="*/ 0 w 54240"/>
                    <a:gd name="connsiteY4" fmla="*/ 10524 h 37413"/>
                    <a:gd name="connsiteX5" fmla="*/ 0 w 54240"/>
                    <a:gd name="connsiteY5" fmla="*/ 4944 h 37413"/>
                    <a:gd name="connsiteX6" fmla="*/ 4944 w 54240"/>
                    <a:gd name="connsiteY6" fmla="*/ 0 h 37413"/>
                    <a:gd name="connsiteX7" fmla="*/ 9888 w 54240"/>
                    <a:gd name="connsiteY7" fmla="*/ 4944 h 37413"/>
                    <a:gd name="connsiteX8" fmla="*/ 9888 w 54240"/>
                    <a:gd name="connsiteY8" fmla="*/ 10524 h 37413"/>
                    <a:gd name="connsiteX9" fmla="*/ 27120 w 54240"/>
                    <a:gd name="connsiteY9" fmla="*/ 27005 h 37413"/>
                    <a:gd name="connsiteX10" fmla="*/ 44353 w 54240"/>
                    <a:gd name="connsiteY10" fmla="*/ 10524 h 37413"/>
                    <a:gd name="connsiteX11" fmla="*/ 44353 w 54240"/>
                    <a:gd name="connsiteY11" fmla="*/ 4944 h 37413"/>
                    <a:gd name="connsiteX12" fmla="*/ 49297 w 54240"/>
                    <a:gd name="connsiteY12" fmla="*/ 0 h 37413"/>
                    <a:gd name="connsiteX13" fmla="*/ 54241 w 54240"/>
                    <a:gd name="connsiteY13" fmla="*/ 4944 h 37413"/>
                    <a:gd name="connsiteX14" fmla="*/ 54241 w 54240"/>
                    <a:gd name="connsiteY14" fmla="*/ 10524 h 37413"/>
                    <a:gd name="connsiteX15" fmla="*/ 46001 w 54240"/>
                    <a:gd name="connsiteY15" fmla="*/ 26108 h 37413"/>
                    <a:gd name="connsiteX16" fmla="*/ 27496 w 54240"/>
                    <a:gd name="connsiteY16" fmla="*/ 37327 h 37413"/>
                    <a:gd name="connsiteX17" fmla="*/ 27496 w 54240"/>
                    <a:gd name="connsiteY17" fmla="*/ 37385 h 37413"/>
                    <a:gd name="connsiteX18" fmla="*/ 27092 w 54240"/>
                    <a:gd name="connsiteY18" fmla="*/ 37385 h 37413"/>
                    <a:gd name="connsiteX19" fmla="*/ 26918 w 54240"/>
                    <a:gd name="connsiteY19" fmla="*/ 37413 h 37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240" h="37413">
                      <a:moveTo>
                        <a:pt x="26918" y="37413"/>
                      </a:moveTo>
                      <a:cubicBezTo>
                        <a:pt x="26860" y="37413"/>
                        <a:pt x="26802" y="37413"/>
                        <a:pt x="26745" y="37413"/>
                      </a:cubicBezTo>
                      <a:lnTo>
                        <a:pt x="26745" y="37356"/>
                      </a:lnTo>
                      <a:cubicBezTo>
                        <a:pt x="22726" y="36691"/>
                        <a:pt x="12664" y="30185"/>
                        <a:pt x="8298" y="26166"/>
                      </a:cubicBezTo>
                      <a:cubicBezTo>
                        <a:pt x="2805" y="21106"/>
                        <a:pt x="0" y="15844"/>
                        <a:pt x="0" y="10524"/>
                      </a:cubicBezTo>
                      <a:lnTo>
                        <a:pt x="0" y="4944"/>
                      </a:lnTo>
                      <a:cubicBezTo>
                        <a:pt x="0" y="2197"/>
                        <a:pt x="2226" y="0"/>
                        <a:pt x="4944" y="0"/>
                      </a:cubicBezTo>
                      <a:cubicBezTo>
                        <a:pt x="7662" y="0"/>
                        <a:pt x="9888" y="2226"/>
                        <a:pt x="9888" y="4944"/>
                      </a:cubicBezTo>
                      <a:lnTo>
                        <a:pt x="9888" y="10524"/>
                      </a:lnTo>
                      <a:cubicBezTo>
                        <a:pt x="9888" y="16827"/>
                        <a:pt x="21107" y="24027"/>
                        <a:pt x="27120" y="27005"/>
                      </a:cubicBezTo>
                      <a:cubicBezTo>
                        <a:pt x="33134" y="24027"/>
                        <a:pt x="44353" y="16827"/>
                        <a:pt x="44353" y="10524"/>
                      </a:cubicBezTo>
                      <a:lnTo>
                        <a:pt x="44353" y="4944"/>
                      </a:lnTo>
                      <a:cubicBezTo>
                        <a:pt x="44353" y="2197"/>
                        <a:pt x="46579" y="0"/>
                        <a:pt x="49297" y="0"/>
                      </a:cubicBezTo>
                      <a:cubicBezTo>
                        <a:pt x="52043" y="0"/>
                        <a:pt x="54241" y="2226"/>
                        <a:pt x="54241" y="4944"/>
                      </a:cubicBezTo>
                      <a:lnTo>
                        <a:pt x="54241" y="10524"/>
                      </a:lnTo>
                      <a:cubicBezTo>
                        <a:pt x="54241" y="15815"/>
                        <a:pt x="51465" y="21078"/>
                        <a:pt x="46001" y="26108"/>
                      </a:cubicBezTo>
                      <a:cubicBezTo>
                        <a:pt x="41635" y="30127"/>
                        <a:pt x="31544" y="36662"/>
                        <a:pt x="27496" y="37327"/>
                      </a:cubicBezTo>
                      <a:lnTo>
                        <a:pt x="27496" y="37385"/>
                      </a:lnTo>
                      <a:cubicBezTo>
                        <a:pt x="27381" y="37385"/>
                        <a:pt x="27236" y="37385"/>
                        <a:pt x="27092" y="37385"/>
                      </a:cubicBezTo>
                      <a:cubicBezTo>
                        <a:pt x="27063" y="37413"/>
                        <a:pt x="26976" y="37413"/>
                        <a:pt x="26918" y="37413"/>
                      </a:cubicBezTo>
                      <a:close/>
                    </a:path>
                  </a:pathLst>
                </a:custGeom>
                <a:grpFill/>
                <a:ln w="2890" cap="flat">
                  <a:noFill/>
                  <a:prstDash val="solid"/>
                  <a:miter/>
                </a:ln>
              </p:spPr>
              <p:txBody>
                <a:bodyPr rtlCol="0" anchor="ctr"/>
                <a:lstStyle/>
                <a:p>
                  <a:endParaRPr lang="en-GB" dirty="0"/>
                </a:p>
              </p:txBody>
            </p:sp>
            <p:sp>
              <p:nvSpPr>
                <p:cNvPr id="544" name="Freihandform: Form 543">
                  <a:extLst>
                    <a:ext uri="{FF2B5EF4-FFF2-40B4-BE49-F238E27FC236}">
                      <a16:creationId xmlns:a16="http://schemas.microsoft.com/office/drawing/2014/main" id="{2B35E840-23F8-441C-AFDF-E8B43B23D1C6}"/>
                    </a:ext>
                  </a:extLst>
                </p:cNvPr>
                <p:cNvSpPr/>
                <p:nvPr/>
              </p:nvSpPr>
              <p:spPr>
                <a:xfrm>
                  <a:off x="6409133" y="2802646"/>
                  <a:ext cx="85922" cy="107116"/>
                </a:xfrm>
                <a:custGeom>
                  <a:avLst/>
                  <a:gdLst>
                    <a:gd name="connsiteX0" fmla="*/ 80950 w 85922"/>
                    <a:gd name="connsiteY0" fmla="*/ 107116 h 107116"/>
                    <a:gd name="connsiteX1" fmla="*/ 76006 w 85922"/>
                    <a:gd name="connsiteY1" fmla="*/ 102172 h 107116"/>
                    <a:gd name="connsiteX2" fmla="*/ 76006 w 85922"/>
                    <a:gd name="connsiteY2" fmla="*/ 65828 h 107116"/>
                    <a:gd name="connsiteX3" fmla="*/ 4099 w 85922"/>
                    <a:gd name="connsiteY3" fmla="*/ 9824 h 107116"/>
                    <a:gd name="connsiteX4" fmla="*/ 80 w 85922"/>
                    <a:gd name="connsiteY4" fmla="*/ 4099 h 107116"/>
                    <a:gd name="connsiteX5" fmla="*/ 5805 w 85922"/>
                    <a:gd name="connsiteY5" fmla="*/ 80 h 107116"/>
                    <a:gd name="connsiteX6" fmla="*/ 85923 w 85922"/>
                    <a:gd name="connsiteY6" fmla="*/ 65828 h 107116"/>
                    <a:gd name="connsiteX7" fmla="*/ 85923 w 85922"/>
                    <a:gd name="connsiteY7" fmla="*/ 102172 h 107116"/>
                    <a:gd name="connsiteX8" fmla="*/ 80950 w 85922"/>
                    <a:gd name="connsiteY8" fmla="*/ 107116 h 107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922" h="107116">
                      <a:moveTo>
                        <a:pt x="80950" y="107116"/>
                      </a:moveTo>
                      <a:cubicBezTo>
                        <a:pt x="78203" y="107116"/>
                        <a:pt x="76006" y="104890"/>
                        <a:pt x="76006" y="102172"/>
                      </a:cubicBezTo>
                      <a:lnTo>
                        <a:pt x="76006" y="65828"/>
                      </a:lnTo>
                      <a:cubicBezTo>
                        <a:pt x="76006" y="39373"/>
                        <a:pt x="47787" y="17399"/>
                        <a:pt x="4099" y="9824"/>
                      </a:cubicBezTo>
                      <a:cubicBezTo>
                        <a:pt x="1410" y="9361"/>
                        <a:pt x="-411" y="6788"/>
                        <a:pt x="80" y="4099"/>
                      </a:cubicBezTo>
                      <a:cubicBezTo>
                        <a:pt x="543" y="1410"/>
                        <a:pt x="3058" y="-411"/>
                        <a:pt x="5805" y="80"/>
                      </a:cubicBezTo>
                      <a:cubicBezTo>
                        <a:pt x="54495" y="8523"/>
                        <a:pt x="85923" y="34313"/>
                        <a:pt x="85923" y="65828"/>
                      </a:cubicBezTo>
                      <a:lnTo>
                        <a:pt x="85923" y="102172"/>
                      </a:lnTo>
                      <a:cubicBezTo>
                        <a:pt x="85894" y="104890"/>
                        <a:pt x="83697" y="107116"/>
                        <a:pt x="80950" y="107116"/>
                      </a:cubicBezTo>
                      <a:close/>
                    </a:path>
                  </a:pathLst>
                </a:custGeom>
                <a:grpFill/>
                <a:ln w="2890" cap="flat">
                  <a:noFill/>
                  <a:prstDash val="solid"/>
                  <a:miter/>
                </a:ln>
              </p:spPr>
              <p:txBody>
                <a:bodyPr rtlCol="0" anchor="ctr"/>
                <a:lstStyle/>
                <a:p>
                  <a:endParaRPr lang="en-GB" dirty="0"/>
                </a:p>
              </p:txBody>
            </p:sp>
            <p:sp>
              <p:nvSpPr>
                <p:cNvPr id="545" name="Freihandform: Form 544">
                  <a:extLst>
                    <a:ext uri="{FF2B5EF4-FFF2-40B4-BE49-F238E27FC236}">
                      <a16:creationId xmlns:a16="http://schemas.microsoft.com/office/drawing/2014/main" id="{C3F986CC-203B-4DF1-885F-1EF80F79508C}"/>
                    </a:ext>
                  </a:extLst>
                </p:cNvPr>
                <p:cNvSpPr/>
                <p:nvPr/>
              </p:nvSpPr>
              <p:spPr>
                <a:xfrm>
                  <a:off x="6268233" y="2802345"/>
                  <a:ext cx="87757" cy="107417"/>
                </a:xfrm>
                <a:custGeom>
                  <a:avLst/>
                  <a:gdLst>
                    <a:gd name="connsiteX0" fmla="*/ 4944 w 87757"/>
                    <a:gd name="connsiteY0" fmla="*/ 107418 h 107417"/>
                    <a:gd name="connsiteX1" fmla="*/ 0 w 87757"/>
                    <a:gd name="connsiteY1" fmla="*/ 102474 h 107417"/>
                    <a:gd name="connsiteX2" fmla="*/ 0 w 87757"/>
                    <a:gd name="connsiteY2" fmla="*/ 66130 h 107417"/>
                    <a:gd name="connsiteX3" fmla="*/ 82026 w 87757"/>
                    <a:gd name="connsiteY3" fmla="*/ 64 h 107417"/>
                    <a:gd name="connsiteX4" fmla="*/ 87693 w 87757"/>
                    <a:gd name="connsiteY4" fmla="*/ 4170 h 107417"/>
                    <a:gd name="connsiteX5" fmla="*/ 83588 w 87757"/>
                    <a:gd name="connsiteY5" fmla="*/ 9836 h 107417"/>
                    <a:gd name="connsiteX6" fmla="*/ 9859 w 87757"/>
                    <a:gd name="connsiteY6" fmla="*/ 66130 h 107417"/>
                    <a:gd name="connsiteX7" fmla="*/ 9859 w 87757"/>
                    <a:gd name="connsiteY7" fmla="*/ 102474 h 107417"/>
                    <a:gd name="connsiteX8" fmla="*/ 4944 w 87757"/>
                    <a:gd name="connsiteY8" fmla="*/ 107418 h 107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7757" h="107417">
                      <a:moveTo>
                        <a:pt x="4944" y="107418"/>
                      </a:moveTo>
                      <a:cubicBezTo>
                        <a:pt x="2197" y="107418"/>
                        <a:pt x="0" y="105192"/>
                        <a:pt x="0" y="102474"/>
                      </a:cubicBezTo>
                      <a:lnTo>
                        <a:pt x="0" y="66130"/>
                      </a:lnTo>
                      <a:cubicBezTo>
                        <a:pt x="0" y="34095"/>
                        <a:pt x="32209" y="8160"/>
                        <a:pt x="82026" y="64"/>
                      </a:cubicBezTo>
                      <a:cubicBezTo>
                        <a:pt x="84715" y="-370"/>
                        <a:pt x="87259" y="1452"/>
                        <a:pt x="87693" y="4170"/>
                      </a:cubicBezTo>
                      <a:cubicBezTo>
                        <a:pt x="88127" y="6858"/>
                        <a:pt x="86305" y="9403"/>
                        <a:pt x="83588" y="9836"/>
                      </a:cubicBezTo>
                      <a:cubicBezTo>
                        <a:pt x="39495" y="17007"/>
                        <a:pt x="9859" y="39617"/>
                        <a:pt x="9859" y="66130"/>
                      </a:cubicBezTo>
                      <a:lnTo>
                        <a:pt x="9859" y="102474"/>
                      </a:lnTo>
                      <a:cubicBezTo>
                        <a:pt x="9888" y="105192"/>
                        <a:pt x="7662" y="107418"/>
                        <a:pt x="4944" y="107418"/>
                      </a:cubicBezTo>
                      <a:close/>
                    </a:path>
                  </a:pathLst>
                </a:custGeom>
                <a:grpFill/>
                <a:ln w="2890" cap="flat">
                  <a:noFill/>
                  <a:prstDash val="solid"/>
                  <a:miter/>
                </a:ln>
              </p:spPr>
              <p:txBody>
                <a:bodyPr rtlCol="0" anchor="ctr"/>
                <a:lstStyle/>
                <a:p>
                  <a:endParaRPr lang="en-GB" dirty="0"/>
                </a:p>
              </p:txBody>
            </p:sp>
          </p:grpSp>
          <p:sp>
            <p:nvSpPr>
              <p:cNvPr id="536" name="Freihandform: Form 535">
                <a:extLst>
                  <a:ext uri="{FF2B5EF4-FFF2-40B4-BE49-F238E27FC236}">
                    <a16:creationId xmlns:a16="http://schemas.microsoft.com/office/drawing/2014/main" id="{2479A32D-6474-4575-B519-51BEB700C972}"/>
                  </a:ext>
                </a:extLst>
              </p:cNvPr>
              <p:cNvSpPr/>
              <p:nvPr/>
            </p:nvSpPr>
            <p:spPr>
              <a:xfrm>
                <a:off x="6360050" y="2597809"/>
                <a:ext cx="70350" cy="26611"/>
              </a:xfrm>
              <a:custGeom>
                <a:avLst/>
                <a:gdLst>
                  <a:gd name="connsiteX0" fmla="*/ 43149 w 70350"/>
                  <a:gd name="connsiteY0" fmla="*/ 26611 h 26611"/>
                  <a:gd name="connsiteX1" fmla="*/ 1197 w 70350"/>
                  <a:gd name="connsiteY1" fmla="*/ 8165 h 26611"/>
                  <a:gd name="connsiteX2" fmla="*/ 1717 w 70350"/>
                  <a:gd name="connsiteY2" fmla="*/ 1197 h 26611"/>
                  <a:gd name="connsiteX3" fmla="*/ 8685 w 70350"/>
                  <a:gd name="connsiteY3" fmla="*/ 1717 h 26611"/>
                  <a:gd name="connsiteX4" fmla="*/ 63446 w 70350"/>
                  <a:gd name="connsiteY4" fmla="*/ 12270 h 26611"/>
                  <a:gd name="connsiteX5" fmla="*/ 69952 w 70350"/>
                  <a:gd name="connsiteY5" fmla="*/ 14844 h 26611"/>
                  <a:gd name="connsiteX6" fmla="*/ 67379 w 70350"/>
                  <a:gd name="connsiteY6" fmla="*/ 21349 h 26611"/>
                  <a:gd name="connsiteX7" fmla="*/ 43149 w 70350"/>
                  <a:gd name="connsiteY7" fmla="*/ 26611 h 26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0350" h="26611">
                    <a:moveTo>
                      <a:pt x="43149" y="26611"/>
                    </a:moveTo>
                    <a:cubicBezTo>
                      <a:pt x="17388" y="26611"/>
                      <a:pt x="1399" y="8396"/>
                      <a:pt x="1197" y="8165"/>
                    </a:cubicBezTo>
                    <a:cubicBezTo>
                      <a:pt x="-596" y="6083"/>
                      <a:pt x="-336" y="2960"/>
                      <a:pt x="1717" y="1197"/>
                    </a:cubicBezTo>
                    <a:cubicBezTo>
                      <a:pt x="3799" y="-596"/>
                      <a:pt x="6921" y="-336"/>
                      <a:pt x="8685" y="1717"/>
                    </a:cubicBezTo>
                    <a:cubicBezTo>
                      <a:pt x="9581" y="2758"/>
                      <a:pt x="30688" y="26409"/>
                      <a:pt x="63446" y="12270"/>
                    </a:cubicBezTo>
                    <a:cubicBezTo>
                      <a:pt x="65962" y="11201"/>
                      <a:pt x="68853" y="12357"/>
                      <a:pt x="69952" y="14844"/>
                    </a:cubicBezTo>
                    <a:cubicBezTo>
                      <a:pt x="71022" y="17359"/>
                      <a:pt x="69865" y="20279"/>
                      <a:pt x="67379" y="21349"/>
                    </a:cubicBezTo>
                    <a:cubicBezTo>
                      <a:pt x="58589" y="25137"/>
                      <a:pt x="50464" y="26611"/>
                      <a:pt x="43149" y="26611"/>
                    </a:cubicBezTo>
                    <a:close/>
                  </a:path>
                </a:pathLst>
              </a:custGeom>
              <a:grpFill/>
              <a:ln w="2890" cap="flat">
                <a:noFill/>
                <a:prstDash val="solid"/>
                <a:miter/>
              </a:ln>
            </p:spPr>
            <p:txBody>
              <a:bodyPr rtlCol="0" anchor="ctr"/>
              <a:lstStyle/>
              <a:p>
                <a:endParaRPr lang="en-GB" dirty="0"/>
              </a:p>
            </p:txBody>
          </p:sp>
        </p:grpSp>
      </p:grpSp>
      <p:sp>
        <p:nvSpPr>
          <p:cNvPr id="546" name="TextBox 1419">
            <a:extLst>
              <a:ext uri="{FF2B5EF4-FFF2-40B4-BE49-F238E27FC236}">
                <a16:creationId xmlns:a16="http://schemas.microsoft.com/office/drawing/2014/main" id="{A217BE3B-F094-4563-9F6D-195F475E9130}"/>
              </a:ext>
            </a:extLst>
          </p:cNvPr>
          <p:cNvSpPr txBox="1">
            <a:spLocks/>
          </p:cNvSpPr>
          <p:nvPr/>
        </p:nvSpPr>
        <p:spPr>
          <a:xfrm>
            <a:off x="7188616" y="2899619"/>
            <a:ext cx="229229" cy="107722"/>
          </a:xfrm>
          <a:prstGeom prst="rect">
            <a:avLst/>
          </a:prstGeom>
          <a:noFill/>
          <a:effectLst/>
        </p:spPr>
        <p:txBody>
          <a:bodyPr wrap="none" lIns="0" tIns="0" rIns="0" bIns="0" rtlCol="0" anchor="t" anchorCtr="0">
            <a:spAutoFit/>
          </a:bodyPr>
          <a:lstStyle/>
          <a:p>
            <a:pPr algn="ctr"/>
            <a:r>
              <a:rPr lang="en-GB" sz="700" dirty="0">
                <a:solidFill>
                  <a:schemeClr val="tx2"/>
                </a:solidFill>
              </a:rPr>
              <a:t>Team</a:t>
            </a:r>
          </a:p>
        </p:txBody>
      </p:sp>
      <p:sp>
        <p:nvSpPr>
          <p:cNvPr id="547" name="TextBox 1420">
            <a:extLst>
              <a:ext uri="{FF2B5EF4-FFF2-40B4-BE49-F238E27FC236}">
                <a16:creationId xmlns:a16="http://schemas.microsoft.com/office/drawing/2014/main" id="{1C98CF6A-EE57-465C-9744-9E3A2FC89221}"/>
              </a:ext>
            </a:extLst>
          </p:cNvPr>
          <p:cNvSpPr txBox="1"/>
          <p:nvPr/>
        </p:nvSpPr>
        <p:spPr>
          <a:xfrm>
            <a:off x="6132065" y="2899619"/>
            <a:ext cx="253274" cy="107722"/>
          </a:xfrm>
          <a:prstGeom prst="rect">
            <a:avLst/>
          </a:prstGeom>
          <a:noFill/>
          <a:effectLst/>
        </p:spPr>
        <p:txBody>
          <a:bodyPr wrap="none" lIns="0" tIns="0" rIns="0" bIns="0" rtlCol="0" anchor="t" anchorCtr="0">
            <a:spAutoFit/>
          </a:bodyPr>
          <a:lstStyle/>
          <a:p>
            <a:pPr algn="ctr"/>
            <a:r>
              <a:rPr lang="en-GB" sz="700" dirty="0">
                <a:solidFill>
                  <a:schemeClr val="tx2"/>
                </a:solidFill>
              </a:rPr>
              <a:t>Profile</a:t>
            </a:r>
          </a:p>
        </p:txBody>
      </p:sp>
      <p:sp>
        <p:nvSpPr>
          <p:cNvPr id="548" name="TextBox 1418">
            <a:extLst>
              <a:ext uri="{FF2B5EF4-FFF2-40B4-BE49-F238E27FC236}">
                <a16:creationId xmlns:a16="http://schemas.microsoft.com/office/drawing/2014/main" id="{4A4DE8DC-AE48-450E-9C23-0C74438E83F6}"/>
              </a:ext>
            </a:extLst>
          </p:cNvPr>
          <p:cNvSpPr txBox="1"/>
          <p:nvPr/>
        </p:nvSpPr>
        <p:spPr>
          <a:xfrm>
            <a:off x="8205612" y="2899619"/>
            <a:ext cx="274113" cy="107722"/>
          </a:xfrm>
          <a:prstGeom prst="rect">
            <a:avLst/>
          </a:prstGeom>
          <a:noFill/>
          <a:effectLst/>
        </p:spPr>
        <p:txBody>
          <a:bodyPr wrap="none" lIns="0" tIns="0" rIns="0" bIns="0" rtlCol="0" anchor="t" anchorCtr="0">
            <a:spAutoFit/>
          </a:bodyPr>
          <a:lstStyle/>
          <a:p>
            <a:pPr algn="ctr"/>
            <a:r>
              <a:rPr lang="en-GB" sz="700" dirty="0">
                <a:solidFill>
                  <a:schemeClr val="tx2"/>
                </a:solidFill>
              </a:rPr>
              <a:t>Events</a:t>
            </a:r>
          </a:p>
        </p:txBody>
      </p:sp>
      <p:grpSp>
        <p:nvGrpSpPr>
          <p:cNvPr id="42" name="Group 41">
            <a:extLst>
              <a:ext uri="{FF2B5EF4-FFF2-40B4-BE49-F238E27FC236}">
                <a16:creationId xmlns:a16="http://schemas.microsoft.com/office/drawing/2014/main" id="{177F54AE-312B-A263-CA2D-E6720142E436}"/>
              </a:ext>
            </a:extLst>
          </p:cNvPr>
          <p:cNvGrpSpPr/>
          <p:nvPr/>
        </p:nvGrpSpPr>
        <p:grpSpPr>
          <a:xfrm>
            <a:off x="7006810" y="3273397"/>
            <a:ext cx="636158" cy="432006"/>
            <a:chOff x="6916654" y="3273397"/>
            <a:chExt cx="636158" cy="432006"/>
          </a:xfrm>
        </p:grpSpPr>
        <p:grpSp>
          <p:nvGrpSpPr>
            <p:cNvPr id="550" name="Group 1023">
              <a:extLst>
                <a:ext uri="{FF2B5EF4-FFF2-40B4-BE49-F238E27FC236}">
                  <a16:creationId xmlns:a16="http://schemas.microsoft.com/office/drawing/2014/main" id="{54DE1C6F-B9D0-4159-9328-B40580A637A7}"/>
                </a:ext>
              </a:extLst>
            </p:cNvPr>
            <p:cNvGrpSpPr/>
            <p:nvPr/>
          </p:nvGrpSpPr>
          <p:grpSpPr>
            <a:xfrm>
              <a:off x="7107617" y="3273397"/>
              <a:ext cx="168664" cy="155469"/>
              <a:chOff x="7105294" y="3361153"/>
              <a:chExt cx="157180" cy="144883"/>
            </a:xfrm>
          </p:grpSpPr>
          <p:sp>
            <p:nvSpPr>
              <p:cNvPr id="558" name="Freihandform: Form 557">
                <a:extLst>
                  <a:ext uri="{FF2B5EF4-FFF2-40B4-BE49-F238E27FC236}">
                    <a16:creationId xmlns:a16="http://schemas.microsoft.com/office/drawing/2014/main" id="{E3F734E3-B741-4B2A-B638-AA3C0ADC62CF}"/>
                  </a:ext>
                </a:extLst>
              </p:cNvPr>
              <p:cNvSpPr/>
              <p:nvPr/>
            </p:nvSpPr>
            <p:spPr>
              <a:xfrm>
                <a:off x="7105294" y="3361153"/>
                <a:ext cx="9888" cy="144883"/>
              </a:xfrm>
              <a:custGeom>
                <a:avLst/>
                <a:gdLst>
                  <a:gd name="connsiteX0" fmla="*/ 4944 w 9888"/>
                  <a:gd name="connsiteY0" fmla="*/ 144883 h 144883"/>
                  <a:gd name="connsiteX1" fmla="*/ 0 w 9888"/>
                  <a:gd name="connsiteY1" fmla="*/ 139939 h 144883"/>
                  <a:gd name="connsiteX2" fmla="*/ 0 w 9888"/>
                  <a:gd name="connsiteY2" fmla="*/ 4944 h 144883"/>
                  <a:gd name="connsiteX3" fmla="*/ 4944 w 9888"/>
                  <a:gd name="connsiteY3" fmla="*/ 0 h 144883"/>
                  <a:gd name="connsiteX4" fmla="*/ 9888 w 9888"/>
                  <a:gd name="connsiteY4" fmla="*/ 4944 h 144883"/>
                  <a:gd name="connsiteX5" fmla="*/ 9888 w 9888"/>
                  <a:gd name="connsiteY5" fmla="*/ 139939 h 144883"/>
                  <a:gd name="connsiteX6" fmla="*/ 4944 w 9888"/>
                  <a:gd name="connsiteY6" fmla="*/ 144883 h 144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144883">
                    <a:moveTo>
                      <a:pt x="4944" y="144883"/>
                    </a:moveTo>
                    <a:cubicBezTo>
                      <a:pt x="2197" y="144883"/>
                      <a:pt x="0" y="142657"/>
                      <a:pt x="0" y="139939"/>
                    </a:cubicBezTo>
                    <a:lnTo>
                      <a:pt x="0" y="4944"/>
                    </a:lnTo>
                    <a:cubicBezTo>
                      <a:pt x="0" y="2197"/>
                      <a:pt x="2226" y="0"/>
                      <a:pt x="4944" y="0"/>
                    </a:cubicBezTo>
                    <a:cubicBezTo>
                      <a:pt x="7662" y="0"/>
                      <a:pt x="9888" y="2226"/>
                      <a:pt x="9888" y="4944"/>
                    </a:cubicBezTo>
                    <a:lnTo>
                      <a:pt x="9888" y="139939"/>
                    </a:lnTo>
                    <a:cubicBezTo>
                      <a:pt x="9888" y="142686"/>
                      <a:pt x="7691" y="144883"/>
                      <a:pt x="4944" y="144883"/>
                    </a:cubicBezTo>
                    <a:close/>
                  </a:path>
                </a:pathLst>
              </a:custGeom>
              <a:solidFill>
                <a:schemeClr val="accent1"/>
              </a:solidFill>
              <a:ln w="2890" cap="flat">
                <a:noFill/>
                <a:prstDash val="solid"/>
                <a:miter/>
              </a:ln>
            </p:spPr>
            <p:txBody>
              <a:bodyPr rtlCol="0" anchor="ctr"/>
              <a:lstStyle/>
              <a:p>
                <a:endParaRPr lang="en-GB" dirty="0"/>
              </a:p>
            </p:txBody>
          </p:sp>
          <p:sp>
            <p:nvSpPr>
              <p:cNvPr id="559" name="Freihandform: Form 558">
                <a:extLst>
                  <a:ext uri="{FF2B5EF4-FFF2-40B4-BE49-F238E27FC236}">
                    <a16:creationId xmlns:a16="http://schemas.microsoft.com/office/drawing/2014/main" id="{94A6C34C-8C6C-44E0-A935-229B4D70BEB3}"/>
                  </a:ext>
                </a:extLst>
              </p:cNvPr>
              <p:cNvSpPr/>
              <p:nvPr/>
            </p:nvSpPr>
            <p:spPr>
              <a:xfrm>
                <a:off x="7105294" y="3373412"/>
                <a:ext cx="95788" cy="83529"/>
              </a:xfrm>
              <a:custGeom>
                <a:avLst/>
                <a:gdLst>
                  <a:gd name="connsiteX0" fmla="*/ 90845 w 95788"/>
                  <a:gd name="connsiteY0" fmla="*/ 83530 h 83529"/>
                  <a:gd name="connsiteX1" fmla="*/ 4944 w 95788"/>
                  <a:gd name="connsiteY1" fmla="*/ 83530 h 83529"/>
                  <a:gd name="connsiteX2" fmla="*/ 0 w 95788"/>
                  <a:gd name="connsiteY2" fmla="*/ 78586 h 83529"/>
                  <a:gd name="connsiteX3" fmla="*/ 0 w 95788"/>
                  <a:gd name="connsiteY3" fmla="*/ 4944 h 83529"/>
                  <a:gd name="connsiteX4" fmla="*/ 4944 w 95788"/>
                  <a:gd name="connsiteY4" fmla="*/ 0 h 83529"/>
                  <a:gd name="connsiteX5" fmla="*/ 90845 w 95788"/>
                  <a:gd name="connsiteY5" fmla="*/ 0 h 83529"/>
                  <a:gd name="connsiteX6" fmla="*/ 95789 w 95788"/>
                  <a:gd name="connsiteY6" fmla="*/ 4944 h 83529"/>
                  <a:gd name="connsiteX7" fmla="*/ 95789 w 95788"/>
                  <a:gd name="connsiteY7" fmla="*/ 78586 h 83529"/>
                  <a:gd name="connsiteX8" fmla="*/ 90845 w 95788"/>
                  <a:gd name="connsiteY8" fmla="*/ 83530 h 83529"/>
                  <a:gd name="connsiteX9" fmla="*/ 9888 w 95788"/>
                  <a:gd name="connsiteY9" fmla="*/ 73642 h 83529"/>
                  <a:gd name="connsiteX10" fmla="*/ 85901 w 95788"/>
                  <a:gd name="connsiteY10" fmla="*/ 73642 h 83529"/>
                  <a:gd name="connsiteX11" fmla="*/ 85901 w 95788"/>
                  <a:gd name="connsiteY11" fmla="*/ 9917 h 83529"/>
                  <a:gd name="connsiteX12" fmla="*/ 9888 w 95788"/>
                  <a:gd name="connsiteY12" fmla="*/ 9917 h 83529"/>
                  <a:gd name="connsiteX13" fmla="*/ 9888 w 95788"/>
                  <a:gd name="connsiteY13" fmla="*/ 73642 h 8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788" h="83529">
                    <a:moveTo>
                      <a:pt x="90845" y="83530"/>
                    </a:moveTo>
                    <a:lnTo>
                      <a:pt x="4944" y="83530"/>
                    </a:lnTo>
                    <a:cubicBezTo>
                      <a:pt x="2197" y="83530"/>
                      <a:pt x="0" y="81303"/>
                      <a:pt x="0" y="78586"/>
                    </a:cubicBezTo>
                    <a:lnTo>
                      <a:pt x="0" y="4944"/>
                    </a:lnTo>
                    <a:cubicBezTo>
                      <a:pt x="0" y="2197"/>
                      <a:pt x="2226" y="0"/>
                      <a:pt x="4944" y="0"/>
                    </a:cubicBezTo>
                    <a:lnTo>
                      <a:pt x="90845" y="0"/>
                    </a:lnTo>
                    <a:cubicBezTo>
                      <a:pt x="93563" y="0"/>
                      <a:pt x="95789" y="2226"/>
                      <a:pt x="95789" y="4944"/>
                    </a:cubicBezTo>
                    <a:lnTo>
                      <a:pt x="95789" y="78586"/>
                    </a:lnTo>
                    <a:cubicBezTo>
                      <a:pt x="95789" y="81332"/>
                      <a:pt x="93592" y="83530"/>
                      <a:pt x="90845" y="83530"/>
                    </a:cubicBezTo>
                    <a:close/>
                    <a:moveTo>
                      <a:pt x="9888" y="73642"/>
                    </a:moveTo>
                    <a:lnTo>
                      <a:pt x="85901" y="73642"/>
                    </a:lnTo>
                    <a:lnTo>
                      <a:pt x="85901" y="9917"/>
                    </a:lnTo>
                    <a:lnTo>
                      <a:pt x="9888" y="9917"/>
                    </a:lnTo>
                    <a:lnTo>
                      <a:pt x="9888" y="73642"/>
                    </a:lnTo>
                    <a:close/>
                  </a:path>
                </a:pathLst>
              </a:custGeom>
              <a:solidFill>
                <a:schemeClr val="accent1"/>
              </a:solidFill>
              <a:ln w="2890" cap="flat">
                <a:noFill/>
                <a:prstDash val="solid"/>
                <a:miter/>
              </a:ln>
            </p:spPr>
            <p:txBody>
              <a:bodyPr rtlCol="0" anchor="ctr"/>
              <a:lstStyle/>
              <a:p>
                <a:endParaRPr lang="en-GB" dirty="0"/>
              </a:p>
            </p:txBody>
          </p:sp>
          <p:sp>
            <p:nvSpPr>
              <p:cNvPr id="560" name="Freihandform: Form 559">
                <a:extLst>
                  <a:ext uri="{FF2B5EF4-FFF2-40B4-BE49-F238E27FC236}">
                    <a16:creationId xmlns:a16="http://schemas.microsoft.com/office/drawing/2014/main" id="{09B07735-7ED0-4E71-B7F9-38CE04345C22}"/>
                  </a:ext>
                </a:extLst>
              </p:cNvPr>
              <p:cNvSpPr/>
              <p:nvPr/>
            </p:nvSpPr>
            <p:spPr>
              <a:xfrm>
                <a:off x="7166648" y="3397959"/>
                <a:ext cx="95826" cy="83529"/>
              </a:xfrm>
              <a:custGeom>
                <a:avLst/>
                <a:gdLst>
                  <a:gd name="connsiteX0" fmla="*/ 90845 w 95826"/>
                  <a:gd name="connsiteY0" fmla="*/ 83530 h 83529"/>
                  <a:gd name="connsiteX1" fmla="*/ 4944 w 95826"/>
                  <a:gd name="connsiteY1" fmla="*/ 83530 h 83529"/>
                  <a:gd name="connsiteX2" fmla="*/ 0 w 95826"/>
                  <a:gd name="connsiteY2" fmla="*/ 78586 h 83529"/>
                  <a:gd name="connsiteX3" fmla="*/ 0 w 95826"/>
                  <a:gd name="connsiteY3" fmla="*/ 54038 h 83529"/>
                  <a:gd name="connsiteX4" fmla="*/ 4944 w 95826"/>
                  <a:gd name="connsiteY4" fmla="*/ 49094 h 83529"/>
                  <a:gd name="connsiteX5" fmla="*/ 9888 w 95826"/>
                  <a:gd name="connsiteY5" fmla="*/ 54038 h 83529"/>
                  <a:gd name="connsiteX6" fmla="*/ 9888 w 95826"/>
                  <a:gd name="connsiteY6" fmla="*/ 73641 h 83529"/>
                  <a:gd name="connsiteX7" fmla="*/ 82836 w 95826"/>
                  <a:gd name="connsiteY7" fmla="*/ 73641 h 83529"/>
                  <a:gd name="connsiteX8" fmla="*/ 68003 w 95826"/>
                  <a:gd name="connsiteY8" fmla="*/ 43977 h 83529"/>
                  <a:gd name="connsiteX9" fmla="*/ 68003 w 95826"/>
                  <a:gd name="connsiteY9" fmla="*/ 39553 h 83529"/>
                  <a:gd name="connsiteX10" fmla="*/ 82836 w 95826"/>
                  <a:gd name="connsiteY10" fmla="*/ 9888 h 83529"/>
                  <a:gd name="connsiteX11" fmla="*/ 29491 w 95826"/>
                  <a:gd name="connsiteY11" fmla="*/ 9888 h 83529"/>
                  <a:gd name="connsiteX12" fmla="*/ 24547 w 95826"/>
                  <a:gd name="connsiteY12" fmla="*/ 4944 h 83529"/>
                  <a:gd name="connsiteX13" fmla="*/ 29491 w 95826"/>
                  <a:gd name="connsiteY13" fmla="*/ 0 h 83529"/>
                  <a:gd name="connsiteX14" fmla="*/ 90845 w 95826"/>
                  <a:gd name="connsiteY14" fmla="*/ 0 h 83529"/>
                  <a:gd name="connsiteX15" fmla="*/ 95066 w 95826"/>
                  <a:gd name="connsiteY15" fmla="*/ 2342 h 83529"/>
                  <a:gd name="connsiteX16" fmla="*/ 95297 w 95826"/>
                  <a:gd name="connsiteY16" fmla="*/ 7141 h 83529"/>
                  <a:gd name="connsiteX17" fmla="*/ 78007 w 95826"/>
                  <a:gd name="connsiteY17" fmla="*/ 41750 h 83529"/>
                  <a:gd name="connsiteX18" fmla="*/ 95297 w 95826"/>
                  <a:gd name="connsiteY18" fmla="*/ 76359 h 83529"/>
                  <a:gd name="connsiteX19" fmla="*/ 95066 w 95826"/>
                  <a:gd name="connsiteY19" fmla="*/ 81159 h 83529"/>
                  <a:gd name="connsiteX20" fmla="*/ 90845 w 95826"/>
                  <a:gd name="connsiteY20" fmla="*/ 83530 h 83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826" h="83529">
                    <a:moveTo>
                      <a:pt x="90845" y="83530"/>
                    </a:moveTo>
                    <a:lnTo>
                      <a:pt x="4944" y="83530"/>
                    </a:lnTo>
                    <a:cubicBezTo>
                      <a:pt x="2226" y="83530"/>
                      <a:pt x="0" y="81303"/>
                      <a:pt x="0" y="78586"/>
                    </a:cubicBezTo>
                    <a:lnTo>
                      <a:pt x="0" y="54038"/>
                    </a:lnTo>
                    <a:cubicBezTo>
                      <a:pt x="0" y="51292"/>
                      <a:pt x="2226" y="49094"/>
                      <a:pt x="4944" y="49094"/>
                    </a:cubicBezTo>
                    <a:cubicBezTo>
                      <a:pt x="7691" y="49094"/>
                      <a:pt x="9888" y="51321"/>
                      <a:pt x="9888" y="54038"/>
                    </a:cubicBezTo>
                    <a:lnTo>
                      <a:pt x="9888" y="73641"/>
                    </a:lnTo>
                    <a:lnTo>
                      <a:pt x="82836" y="73641"/>
                    </a:lnTo>
                    <a:lnTo>
                      <a:pt x="68003" y="43977"/>
                    </a:lnTo>
                    <a:cubicBezTo>
                      <a:pt x="67309" y="42589"/>
                      <a:pt x="67309" y="40941"/>
                      <a:pt x="68003" y="39553"/>
                    </a:cubicBezTo>
                    <a:lnTo>
                      <a:pt x="82836" y="9888"/>
                    </a:lnTo>
                    <a:lnTo>
                      <a:pt x="29491" y="9888"/>
                    </a:lnTo>
                    <a:cubicBezTo>
                      <a:pt x="26745" y="9888"/>
                      <a:pt x="24547" y="7662"/>
                      <a:pt x="24547" y="4944"/>
                    </a:cubicBezTo>
                    <a:cubicBezTo>
                      <a:pt x="24547" y="2226"/>
                      <a:pt x="26773" y="0"/>
                      <a:pt x="29491" y="0"/>
                    </a:cubicBezTo>
                    <a:lnTo>
                      <a:pt x="90845" y="0"/>
                    </a:lnTo>
                    <a:cubicBezTo>
                      <a:pt x="92551" y="0"/>
                      <a:pt x="94141" y="896"/>
                      <a:pt x="95066" y="2342"/>
                    </a:cubicBezTo>
                    <a:cubicBezTo>
                      <a:pt x="95962" y="3816"/>
                      <a:pt x="96049" y="5609"/>
                      <a:pt x="95297" y="7141"/>
                    </a:cubicBezTo>
                    <a:lnTo>
                      <a:pt x="78007" y="41750"/>
                    </a:lnTo>
                    <a:lnTo>
                      <a:pt x="95297" y="76359"/>
                    </a:lnTo>
                    <a:cubicBezTo>
                      <a:pt x="96078" y="77892"/>
                      <a:pt x="95991" y="79713"/>
                      <a:pt x="95066" y="81159"/>
                    </a:cubicBezTo>
                    <a:cubicBezTo>
                      <a:pt x="94170" y="82662"/>
                      <a:pt x="92551" y="83530"/>
                      <a:pt x="90845" y="83530"/>
                    </a:cubicBezTo>
                    <a:close/>
                  </a:path>
                </a:pathLst>
              </a:custGeom>
              <a:solidFill>
                <a:schemeClr val="accent1"/>
              </a:solidFill>
              <a:ln w="2890" cap="flat">
                <a:noFill/>
                <a:prstDash val="solid"/>
                <a:miter/>
              </a:ln>
            </p:spPr>
            <p:txBody>
              <a:bodyPr rtlCol="0" anchor="ctr"/>
              <a:lstStyle/>
              <a:p>
                <a:endParaRPr lang="en-GB" dirty="0"/>
              </a:p>
            </p:txBody>
          </p:sp>
        </p:grpSp>
        <p:grpSp>
          <p:nvGrpSpPr>
            <p:cNvPr id="551" name="Group 1024">
              <a:extLst>
                <a:ext uri="{FF2B5EF4-FFF2-40B4-BE49-F238E27FC236}">
                  <a16:creationId xmlns:a16="http://schemas.microsoft.com/office/drawing/2014/main" id="{5533FFD0-FF41-41A1-A964-B5CFC0520C52}"/>
                </a:ext>
              </a:extLst>
            </p:cNvPr>
            <p:cNvGrpSpPr/>
            <p:nvPr/>
          </p:nvGrpSpPr>
          <p:grpSpPr>
            <a:xfrm>
              <a:off x="6916654" y="3418261"/>
              <a:ext cx="636158" cy="287142"/>
              <a:chOff x="6927334" y="3496148"/>
              <a:chExt cx="592842" cy="267590"/>
            </a:xfrm>
            <a:solidFill>
              <a:schemeClr val="tx2"/>
            </a:solidFill>
          </p:grpSpPr>
          <p:sp>
            <p:nvSpPr>
              <p:cNvPr id="552" name="Freihandform: Form 551">
                <a:extLst>
                  <a:ext uri="{FF2B5EF4-FFF2-40B4-BE49-F238E27FC236}">
                    <a16:creationId xmlns:a16="http://schemas.microsoft.com/office/drawing/2014/main" id="{3C2C6EA5-29E1-45F4-A644-28E155E7C5EF}"/>
                  </a:ext>
                </a:extLst>
              </p:cNvPr>
              <p:cNvSpPr/>
              <p:nvPr/>
            </p:nvSpPr>
            <p:spPr>
              <a:xfrm>
                <a:off x="6927334" y="3496148"/>
                <a:ext cx="368816" cy="267590"/>
              </a:xfrm>
              <a:custGeom>
                <a:avLst/>
                <a:gdLst>
                  <a:gd name="connsiteX0" fmla="*/ 363929 w 368816"/>
                  <a:gd name="connsiteY0" fmla="*/ 267590 h 267590"/>
                  <a:gd name="connsiteX1" fmla="*/ 359882 w 368816"/>
                  <a:gd name="connsiteY1" fmla="*/ 265479 h 267590"/>
                  <a:gd name="connsiteX2" fmla="*/ 182934 w 368816"/>
                  <a:gd name="connsiteY2" fmla="*/ 13560 h 267590"/>
                  <a:gd name="connsiteX3" fmla="*/ 9022 w 368816"/>
                  <a:gd name="connsiteY3" fmla="*/ 262415 h 267590"/>
                  <a:gd name="connsiteX4" fmla="*/ 2112 w 368816"/>
                  <a:gd name="connsiteY4" fmla="*/ 263629 h 267590"/>
                  <a:gd name="connsiteX5" fmla="*/ 897 w 368816"/>
                  <a:gd name="connsiteY5" fmla="*/ 256748 h 267590"/>
                  <a:gd name="connsiteX6" fmla="*/ 178828 w 368816"/>
                  <a:gd name="connsiteY6" fmla="*/ 2111 h 267590"/>
                  <a:gd name="connsiteX7" fmla="*/ 182876 w 368816"/>
                  <a:gd name="connsiteY7" fmla="*/ 0 h 267590"/>
                  <a:gd name="connsiteX8" fmla="*/ 182876 w 368816"/>
                  <a:gd name="connsiteY8" fmla="*/ 0 h 267590"/>
                  <a:gd name="connsiteX9" fmla="*/ 186924 w 368816"/>
                  <a:gd name="connsiteY9" fmla="*/ 2111 h 267590"/>
                  <a:gd name="connsiteX10" fmla="*/ 367919 w 368816"/>
                  <a:gd name="connsiteY10" fmla="*/ 259812 h 267590"/>
                  <a:gd name="connsiteX11" fmla="*/ 366705 w 368816"/>
                  <a:gd name="connsiteY11" fmla="*/ 266694 h 267590"/>
                  <a:gd name="connsiteX12" fmla="*/ 363929 w 368816"/>
                  <a:gd name="connsiteY12" fmla="*/ 267590 h 267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68816" h="267590">
                    <a:moveTo>
                      <a:pt x="363929" y="267590"/>
                    </a:moveTo>
                    <a:cubicBezTo>
                      <a:pt x="362368" y="267590"/>
                      <a:pt x="360836" y="266867"/>
                      <a:pt x="359882" y="265479"/>
                    </a:cubicBezTo>
                    <a:lnTo>
                      <a:pt x="182934" y="13560"/>
                    </a:lnTo>
                    <a:lnTo>
                      <a:pt x="9022" y="262415"/>
                    </a:lnTo>
                    <a:cubicBezTo>
                      <a:pt x="7461" y="264670"/>
                      <a:pt x="4367" y="265190"/>
                      <a:pt x="2112" y="263629"/>
                    </a:cubicBezTo>
                    <a:cubicBezTo>
                      <a:pt x="-143" y="262068"/>
                      <a:pt x="-664" y="258974"/>
                      <a:pt x="897" y="256748"/>
                    </a:cubicBezTo>
                    <a:lnTo>
                      <a:pt x="178828" y="2111"/>
                    </a:lnTo>
                    <a:cubicBezTo>
                      <a:pt x="179754" y="781"/>
                      <a:pt x="181257" y="0"/>
                      <a:pt x="182876" y="0"/>
                    </a:cubicBezTo>
                    <a:lnTo>
                      <a:pt x="182876" y="0"/>
                    </a:lnTo>
                    <a:cubicBezTo>
                      <a:pt x="184495" y="0"/>
                      <a:pt x="185999" y="781"/>
                      <a:pt x="186924" y="2111"/>
                    </a:cubicBezTo>
                    <a:lnTo>
                      <a:pt x="367919" y="259812"/>
                    </a:lnTo>
                    <a:cubicBezTo>
                      <a:pt x="369481" y="262039"/>
                      <a:pt x="368960" y="265133"/>
                      <a:pt x="366705" y="266694"/>
                    </a:cubicBezTo>
                    <a:cubicBezTo>
                      <a:pt x="365895" y="267301"/>
                      <a:pt x="364912" y="267590"/>
                      <a:pt x="363929" y="267590"/>
                    </a:cubicBezTo>
                    <a:close/>
                  </a:path>
                </a:pathLst>
              </a:custGeom>
              <a:grpFill/>
              <a:ln w="2890" cap="flat">
                <a:noFill/>
                <a:prstDash val="solid"/>
                <a:miter/>
              </a:ln>
            </p:spPr>
            <p:txBody>
              <a:bodyPr rtlCol="0" anchor="ctr"/>
              <a:lstStyle/>
              <a:p>
                <a:endParaRPr lang="en-GB" dirty="0"/>
              </a:p>
            </p:txBody>
          </p:sp>
          <p:sp>
            <p:nvSpPr>
              <p:cNvPr id="553" name="Freihandform: Form 552">
                <a:extLst>
                  <a:ext uri="{FF2B5EF4-FFF2-40B4-BE49-F238E27FC236}">
                    <a16:creationId xmlns:a16="http://schemas.microsoft.com/office/drawing/2014/main" id="{B35C0DF9-392F-49FA-A6F5-CC13570D67B7}"/>
                  </a:ext>
                </a:extLst>
              </p:cNvPr>
              <p:cNvSpPr/>
              <p:nvPr/>
            </p:nvSpPr>
            <p:spPr>
              <a:xfrm>
                <a:off x="7212683" y="3539045"/>
                <a:ext cx="307493" cy="224692"/>
              </a:xfrm>
              <a:custGeom>
                <a:avLst/>
                <a:gdLst>
                  <a:gd name="connsiteX0" fmla="*/ 302512 w 307493"/>
                  <a:gd name="connsiteY0" fmla="*/ 224692 h 224692"/>
                  <a:gd name="connsiteX1" fmla="*/ 298753 w 307493"/>
                  <a:gd name="connsiteY1" fmla="*/ 222958 h 224692"/>
                  <a:gd name="connsiteX2" fmla="*/ 118076 w 307493"/>
                  <a:gd name="connsiteY2" fmla="*/ 12153 h 224692"/>
                  <a:gd name="connsiteX3" fmla="*/ 8351 w 307493"/>
                  <a:gd name="connsiteY3" fmla="*/ 115951 h 224692"/>
                  <a:gd name="connsiteX4" fmla="*/ 1354 w 307493"/>
                  <a:gd name="connsiteY4" fmla="*/ 115748 h 224692"/>
                  <a:gd name="connsiteX5" fmla="*/ 1556 w 307493"/>
                  <a:gd name="connsiteY5" fmla="*/ 108751 h 224692"/>
                  <a:gd name="connsiteX6" fmla="*/ 115069 w 307493"/>
                  <a:gd name="connsiteY6" fmla="*/ 1368 h 224692"/>
                  <a:gd name="connsiteX7" fmla="*/ 118741 w 307493"/>
                  <a:gd name="connsiteY7" fmla="*/ 9 h 224692"/>
                  <a:gd name="connsiteX8" fmla="*/ 122239 w 307493"/>
                  <a:gd name="connsiteY8" fmla="*/ 1744 h 224692"/>
                  <a:gd name="connsiteX9" fmla="*/ 306299 w 307493"/>
                  <a:gd name="connsiteY9" fmla="*/ 216510 h 224692"/>
                  <a:gd name="connsiteX10" fmla="*/ 305750 w 307493"/>
                  <a:gd name="connsiteY10" fmla="*/ 223478 h 224692"/>
                  <a:gd name="connsiteX11" fmla="*/ 302512 w 307493"/>
                  <a:gd name="connsiteY11" fmla="*/ 224692 h 224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7493" h="224692">
                    <a:moveTo>
                      <a:pt x="302512" y="224692"/>
                    </a:moveTo>
                    <a:cubicBezTo>
                      <a:pt x="301124" y="224692"/>
                      <a:pt x="299736" y="224114"/>
                      <a:pt x="298753" y="222958"/>
                    </a:cubicBezTo>
                    <a:lnTo>
                      <a:pt x="118076" y="12153"/>
                    </a:lnTo>
                    <a:lnTo>
                      <a:pt x="8351" y="115951"/>
                    </a:lnTo>
                    <a:cubicBezTo>
                      <a:pt x="6356" y="117830"/>
                      <a:pt x="3233" y="117743"/>
                      <a:pt x="1354" y="115748"/>
                    </a:cubicBezTo>
                    <a:cubicBezTo>
                      <a:pt x="-526" y="113753"/>
                      <a:pt x="-439" y="110631"/>
                      <a:pt x="1556" y="108751"/>
                    </a:cubicBezTo>
                    <a:lnTo>
                      <a:pt x="115069" y="1368"/>
                    </a:lnTo>
                    <a:cubicBezTo>
                      <a:pt x="116052" y="443"/>
                      <a:pt x="117410" y="-77"/>
                      <a:pt x="118741" y="9"/>
                    </a:cubicBezTo>
                    <a:cubicBezTo>
                      <a:pt x="120100" y="67"/>
                      <a:pt x="121343" y="703"/>
                      <a:pt x="122239" y="1744"/>
                    </a:cubicBezTo>
                    <a:lnTo>
                      <a:pt x="306299" y="216510"/>
                    </a:lnTo>
                    <a:cubicBezTo>
                      <a:pt x="308092" y="218592"/>
                      <a:pt x="307832" y="221714"/>
                      <a:pt x="305750" y="223478"/>
                    </a:cubicBezTo>
                    <a:cubicBezTo>
                      <a:pt x="304796" y="224317"/>
                      <a:pt x="303668" y="224692"/>
                      <a:pt x="302512" y="224692"/>
                    </a:cubicBezTo>
                    <a:close/>
                  </a:path>
                </a:pathLst>
              </a:custGeom>
              <a:grpFill/>
              <a:ln w="2890" cap="flat">
                <a:noFill/>
                <a:prstDash val="solid"/>
                <a:miter/>
              </a:ln>
            </p:spPr>
            <p:txBody>
              <a:bodyPr rtlCol="0" anchor="ctr"/>
              <a:lstStyle/>
              <a:p>
                <a:endParaRPr lang="en-GB" dirty="0"/>
              </a:p>
            </p:txBody>
          </p:sp>
          <p:grpSp>
            <p:nvGrpSpPr>
              <p:cNvPr id="554" name="Grafik 53">
                <a:extLst>
                  <a:ext uri="{FF2B5EF4-FFF2-40B4-BE49-F238E27FC236}">
                    <a16:creationId xmlns:a16="http://schemas.microsoft.com/office/drawing/2014/main" id="{0ACE70DF-A264-4153-B5F7-91E1631F8585}"/>
                  </a:ext>
                </a:extLst>
              </p:cNvPr>
              <p:cNvGrpSpPr/>
              <p:nvPr/>
            </p:nvGrpSpPr>
            <p:grpSpPr>
              <a:xfrm>
                <a:off x="7029738" y="3605808"/>
                <a:ext cx="158081" cy="34442"/>
                <a:chOff x="7029738" y="3605808"/>
                <a:chExt cx="158081" cy="34442"/>
              </a:xfrm>
              <a:grpFill/>
            </p:grpSpPr>
            <p:sp>
              <p:nvSpPr>
                <p:cNvPr id="555" name="Freihandform: Form 554">
                  <a:extLst>
                    <a:ext uri="{FF2B5EF4-FFF2-40B4-BE49-F238E27FC236}">
                      <a16:creationId xmlns:a16="http://schemas.microsoft.com/office/drawing/2014/main" id="{6A20D17D-8029-4D06-8C0C-744A07291777}"/>
                    </a:ext>
                  </a:extLst>
                </p:cNvPr>
                <p:cNvSpPr/>
                <p:nvPr/>
              </p:nvSpPr>
              <p:spPr>
                <a:xfrm>
                  <a:off x="7029738" y="3605808"/>
                  <a:ext cx="58996" cy="34442"/>
                </a:xfrm>
                <a:custGeom>
                  <a:avLst/>
                  <a:gdLst>
                    <a:gd name="connsiteX0" fmla="*/ 29498 w 58996"/>
                    <a:gd name="connsiteY0" fmla="*/ 34443 h 34442"/>
                    <a:gd name="connsiteX1" fmla="*/ 26000 w 58996"/>
                    <a:gd name="connsiteY1" fmla="*/ 32997 h 34442"/>
                    <a:gd name="connsiteX2" fmla="*/ 1453 w 58996"/>
                    <a:gd name="connsiteY2" fmla="*/ 8450 h 34442"/>
                    <a:gd name="connsiteX3" fmla="*/ 1453 w 58996"/>
                    <a:gd name="connsiteY3" fmla="*/ 1453 h 34442"/>
                    <a:gd name="connsiteX4" fmla="*/ 8450 w 58996"/>
                    <a:gd name="connsiteY4" fmla="*/ 1453 h 34442"/>
                    <a:gd name="connsiteX5" fmla="*/ 29498 w 58996"/>
                    <a:gd name="connsiteY5" fmla="*/ 22502 h 34442"/>
                    <a:gd name="connsiteX6" fmla="*/ 50547 w 58996"/>
                    <a:gd name="connsiteY6" fmla="*/ 1453 h 34442"/>
                    <a:gd name="connsiteX7" fmla="*/ 57544 w 58996"/>
                    <a:gd name="connsiteY7" fmla="*/ 1453 h 34442"/>
                    <a:gd name="connsiteX8" fmla="*/ 57544 w 58996"/>
                    <a:gd name="connsiteY8" fmla="*/ 8450 h 34442"/>
                    <a:gd name="connsiteX9" fmla="*/ 32997 w 58996"/>
                    <a:gd name="connsiteY9" fmla="*/ 32997 h 34442"/>
                    <a:gd name="connsiteX10" fmla="*/ 29498 w 58996"/>
                    <a:gd name="connsiteY10" fmla="*/ 34443 h 3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996" h="34442">
                      <a:moveTo>
                        <a:pt x="29498" y="34443"/>
                      </a:moveTo>
                      <a:cubicBezTo>
                        <a:pt x="28226" y="34443"/>
                        <a:pt x="26954" y="33951"/>
                        <a:pt x="26000" y="32997"/>
                      </a:cubicBezTo>
                      <a:lnTo>
                        <a:pt x="1453" y="8450"/>
                      </a:lnTo>
                      <a:cubicBezTo>
                        <a:pt x="-484" y="6513"/>
                        <a:pt x="-484" y="3390"/>
                        <a:pt x="1453" y="1453"/>
                      </a:cubicBezTo>
                      <a:cubicBezTo>
                        <a:pt x="3390" y="-484"/>
                        <a:pt x="6513" y="-484"/>
                        <a:pt x="8450" y="1453"/>
                      </a:cubicBezTo>
                      <a:lnTo>
                        <a:pt x="29498" y="22502"/>
                      </a:lnTo>
                      <a:lnTo>
                        <a:pt x="50547" y="1453"/>
                      </a:lnTo>
                      <a:cubicBezTo>
                        <a:pt x="52484" y="-484"/>
                        <a:pt x="55607" y="-484"/>
                        <a:pt x="57544" y="1453"/>
                      </a:cubicBezTo>
                      <a:cubicBezTo>
                        <a:pt x="59481" y="3390"/>
                        <a:pt x="59481" y="6513"/>
                        <a:pt x="57544" y="8450"/>
                      </a:cubicBezTo>
                      <a:lnTo>
                        <a:pt x="32997" y="32997"/>
                      </a:lnTo>
                      <a:cubicBezTo>
                        <a:pt x="32043" y="33980"/>
                        <a:pt x="30771" y="34443"/>
                        <a:pt x="29498" y="34443"/>
                      </a:cubicBezTo>
                      <a:close/>
                    </a:path>
                  </a:pathLst>
                </a:custGeom>
                <a:grpFill/>
                <a:ln w="2890" cap="flat">
                  <a:noFill/>
                  <a:prstDash val="solid"/>
                  <a:miter/>
                </a:ln>
              </p:spPr>
              <p:txBody>
                <a:bodyPr rtlCol="0" anchor="ctr"/>
                <a:lstStyle/>
                <a:p>
                  <a:endParaRPr lang="en-GB" dirty="0"/>
                </a:p>
              </p:txBody>
            </p:sp>
            <p:sp>
              <p:nvSpPr>
                <p:cNvPr id="556" name="Freihandform: Form 555">
                  <a:extLst>
                    <a:ext uri="{FF2B5EF4-FFF2-40B4-BE49-F238E27FC236}">
                      <a16:creationId xmlns:a16="http://schemas.microsoft.com/office/drawing/2014/main" id="{7C34A220-4FD2-4CEF-926A-C9F32A010D93}"/>
                    </a:ext>
                  </a:extLst>
                </p:cNvPr>
                <p:cNvSpPr/>
                <p:nvPr/>
              </p:nvSpPr>
              <p:spPr>
                <a:xfrm>
                  <a:off x="7079584" y="3605808"/>
                  <a:ext cx="58997" cy="34442"/>
                </a:xfrm>
                <a:custGeom>
                  <a:avLst/>
                  <a:gdLst>
                    <a:gd name="connsiteX0" fmla="*/ 29498 w 58997"/>
                    <a:gd name="connsiteY0" fmla="*/ 34443 h 34442"/>
                    <a:gd name="connsiteX1" fmla="*/ 26000 w 58997"/>
                    <a:gd name="connsiteY1" fmla="*/ 32997 h 34442"/>
                    <a:gd name="connsiteX2" fmla="*/ 1453 w 58997"/>
                    <a:gd name="connsiteY2" fmla="*/ 8450 h 34442"/>
                    <a:gd name="connsiteX3" fmla="*/ 1453 w 58997"/>
                    <a:gd name="connsiteY3" fmla="*/ 1453 h 34442"/>
                    <a:gd name="connsiteX4" fmla="*/ 8450 w 58997"/>
                    <a:gd name="connsiteY4" fmla="*/ 1453 h 34442"/>
                    <a:gd name="connsiteX5" fmla="*/ 29498 w 58997"/>
                    <a:gd name="connsiteY5" fmla="*/ 22502 h 34442"/>
                    <a:gd name="connsiteX6" fmla="*/ 50547 w 58997"/>
                    <a:gd name="connsiteY6" fmla="*/ 1453 h 34442"/>
                    <a:gd name="connsiteX7" fmla="*/ 57544 w 58997"/>
                    <a:gd name="connsiteY7" fmla="*/ 1453 h 34442"/>
                    <a:gd name="connsiteX8" fmla="*/ 57544 w 58997"/>
                    <a:gd name="connsiteY8" fmla="*/ 8450 h 34442"/>
                    <a:gd name="connsiteX9" fmla="*/ 32997 w 58997"/>
                    <a:gd name="connsiteY9" fmla="*/ 32997 h 34442"/>
                    <a:gd name="connsiteX10" fmla="*/ 29498 w 58997"/>
                    <a:gd name="connsiteY10" fmla="*/ 34443 h 3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997" h="34442">
                      <a:moveTo>
                        <a:pt x="29498" y="34443"/>
                      </a:moveTo>
                      <a:cubicBezTo>
                        <a:pt x="28226" y="34443"/>
                        <a:pt x="26954" y="33951"/>
                        <a:pt x="26000" y="32997"/>
                      </a:cubicBezTo>
                      <a:lnTo>
                        <a:pt x="1453" y="8450"/>
                      </a:lnTo>
                      <a:cubicBezTo>
                        <a:pt x="-484" y="6513"/>
                        <a:pt x="-484" y="3390"/>
                        <a:pt x="1453" y="1453"/>
                      </a:cubicBezTo>
                      <a:cubicBezTo>
                        <a:pt x="3390" y="-484"/>
                        <a:pt x="6513" y="-484"/>
                        <a:pt x="8450" y="1453"/>
                      </a:cubicBezTo>
                      <a:lnTo>
                        <a:pt x="29498" y="22502"/>
                      </a:lnTo>
                      <a:lnTo>
                        <a:pt x="50547" y="1453"/>
                      </a:lnTo>
                      <a:cubicBezTo>
                        <a:pt x="52484" y="-484"/>
                        <a:pt x="55607" y="-484"/>
                        <a:pt x="57544" y="1453"/>
                      </a:cubicBezTo>
                      <a:cubicBezTo>
                        <a:pt x="59481" y="3390"/>
                        <a:pt x="59481" y="6513"/>
                        <a:pt x="57544" y="8450"/>
                      </a:cubicBezTo>
                      <a:lnTo>
                        <a:pt x="32997" y="32997"/>
                      </a:lnTo>
                      <a:cubicBezTo>
                        <a:pt x="32043" y="33980"/>
                        <a:pt x="30771" y="34443"/>
                        <a:pt x="29498" y="34443"/>
                      </a:cubicBezTo>
                      <a:close/>
                    </a:path>
                  </a:pathLst>
                </a:custGeom>
                <a:grpFill/>
                <a:ln w="2890" cap="flat">
                  <a:noFill/>
                  <a:prstDash val="solid"/>
                  <a:miter/>
                </a:ln>
              </p:spPr>
              <p:txBody>
                <a:bodyPr rtlCol="0" anchor="ctr"/>
                <a:lstStyle/>
                <a:p>
                  <a:endParaRPr lang="en-GB" dirty="0"/>
                </a:p>
              </p:txBody>
            </p:sp>
            <p:sp>
              <p:nvSpPr>
                <p:cNvPr id="557" name="Freihandform: Form 556">
                  <a:extLst>
                    <a:ext uri="{FF2B5EF4-FFF2-40B4-BE49-F238E27FC236}">
                      <a16:creationId xmlns:a16="http://schemas.microsoft.com/office/drawing/2014/main" id="{2517E486-1E3B-4C3B-80D9-FB5EF64BE7A0}"/>
                    </a:ext>
                  </a:extLst>
                </p:cNvPr>
                <p:cNvSpPr/>
                <p:nvPr/>
              </p:nvSpPr>
              <p:spPr>
                <a:xfrm>
                  <a:off x="7128822" y="3605808"/>
                  <a:ext cx="58997" cy="34442"/>
                </a:xfrm>
                <a:custGeom>
                  <a:avLst/>
                  <a:gdLst>
                    <a:gd name="connsiteX0" fmla="*/ 29499 w 58997"/>
                    <a:gd name="connsiteY0" fmla="*/ 34443 h 34442"/>
                    <a:gd name="connsiteX1" fmla="*/ 26000 w 58997"/>
                    <a:gd name="connsiteY1" fmla="*/ 32997 h 34442"/>
                    <a:gd name="connsiteX2" fmla="*/ 1453 w 58997"/>
                    <a:gd name="connsiteY2" fmla="*/ 8450 h 34442"/>
                    <a:gd name="connsiteX3" fmla="*/ 1453 w 58997"/>
                    <a:gd name="connsiteY3" fmla="*/ 1453 h 34442"/>
                    <a:gd name="connsiteX4" fmla="*/ 8450 w 58997"/>
                    <a:gd name="connsiteY4" fmla="*/ 1453 h 34442"/>
                    <a:gd name="connsiteX5" fmla="*/ 29499 w 58997"/>
                    <a:gd name="connsiteY5" fmla="*/ 22502 h 34442"/>
                    <a:gd name="connsiteX6" fmla="*/ 50547 w 58997"/>
                    <a:gd name="connsiteY6" fmla="*/ 1453 h 34442"/>
                    <a:gd name="connsiteX7" fmla="*/ 57544 w 58997"/>
                    <a:gd name="connsiteY7" fmla="*/ 1453 h 34442"/>
                    <a:gd name="connsiteX8" fmla="*/ 57544 w 58997"/>
                    <a:gd name="connsiteY8" fmla="*/ 8450 h 34442"/>
                    <a:gd name="connsiteX9" fmla="*/ 32997 w 58997"/>
                    <a:gd name="connsiteY9" fmla="*/ 32997 h 34442"/>
                    <a:gd name="connsiteX10" fmla="*/ 29499 w 58997"/>
                    <a:gd name="connsiteY10" fmla="*/ 34443 h 34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8997" h="34442">
                      <a:moveTo>
                        <a:pt x="29499" y="34443"/>
                      </a:moveTo>
                      <a:cubicBezTo>
                        <a:pt x="28226" y="34443"/>
                        <a:pt x="26954" y="33951"/>
                        <a:pt x="26000" y="32997"/>
                      </a:cubicBezTo>
                      <a:lnTo>
                        <a:pt x="1453" y="8450"/>
                      </a:lnTo>
                      <a:cubicBezTo>
                        <a:pt x="-484" y="6513"/>
                        <a:pt x="-484" y="3390"/>
                        <a:pt x="1453" y="1453"/>
                      </a:cubicBezTo>
                      <a:cubicBezTo>
                        <a:pt x="3390" y="-484"/>
                        <a:pt x="6513" y="-484"/>
                        <a:pt x="8450" y="1453"/>
                      </a:cubicBezTo>
                      <a:lnTo>
                        <a:pt x="29499" y="22502"/>
                      </a:lnTo>
                      <a:lnTo>
                        <a:pt x="50547" y="1453"/>
                      </a:lnTo>
                      <a:cubicBezTo>
                        <a:pt x="52484" y="-484"/>
                        <a:pt x="55607" y="-484"/>
                        <a:pt x="57544" y="1453"/>
                      </a:cubicBezTo>
                      <a:cubicBezTo>
                        <a:pt x="59481" y="3390"/>
                        <a:pt x="59481" y="6513"/>
                        <a:pt x="57544" y="8450"/>
                      </a:cubicBezTo>
                      <a:lnTo>
                        <a:pt x="32997" y="32997"/>
                      </a:lnTo>
                      <a:cubicBezTo>
                        <a:pt x="32014" y="33980"/>
                        <a:pt x="30742" y="34443"/>
                        <a:pt x="29499" y="34443"/>
                      </a:cubicBezTo>
                      <a:close/>
                    </a:path>
                  </a:pathLst>
                </a:custGeom>
                <a:grpFill/>
                <a:ln w="2890" cap="flat">
                  <a:noFill/>
                  <a:prstDash val="solid"/>
                  <a:miter/>
                </a:ln>
              </p:spPr>
              <p:txBody>
                <a:bodyPr rtlCol="0" anchor="ctr"/>
                <a:lstStyle/>
                <a:p>
                  <a:endParaRPr lang="en-GB" dirty="0"/>
                </a:p>
              </p:txBody>
            </p:sp>
          </p:grpSp>
        </p:grpSp>
      </p:grpSp>
      <p:grpSp>
        <p:nvGrpSpPr>
          <p:cNvPr id="561" name="Group 1020">
            <a:extLst>
              <a:ext uri="{FF2B5EF4-FFF2-40B4-BE49-F238E27FC236}">
                <a16:creationId xmlns:a16="http://schemas.microsoft.com/office/drawing/2014/main" id="{B0936387-43A8-45FC-9DF2-0D9B00E4BDB8}"/>
              </a:ext>
            </a:extLst>
          </p:cNvPr>
          <p:cNvGrpSpPr>
            <a:grpSpLocks noChangeAspect="1"/>
          </p:cNvGrpSpPr>
          <p:nvPr/>
        </p:nvGrpSpPr>
        <p:grpSpPr>
          <a:xfrm>
            <a:off x="4943268" y="3362829"/>
            <a:ext cx="540000" cy="342569"/>
            <a:chOff x="5248869" y="3427102"/>
            <a:chExt cx="612182" cy="388361"/>
          </a:xfrm>
        </p:grpSpPr>
        <p:sp>
          <p:nvSpPr>
            <p:cNvPr id="562" name="Freihandform: Form 561">
              <a:extLst>
                <a:ext uri="{FF2B5EF4-FFF2-40B4-BE49-F238E27FC236}">
                  <a16:creationId xmlns:a16="http://schemas.microsoft.com/office/drawing/2014/main" id="{1C74E177-D6D5-4CC8-8687-D09AEC28B924}"/>
                </a:ext>
              </a:extLst>
            </p:cNvPr>
            <p:cNvSpPr/>
            <p:nvPr/>
          </p:nvSpPr>
          <p:spPr>
            <a:xfrm>
              <a:off x="5399937" y="3427102"/>
              <a:ext cx="239409" cy="388330"/>
            </a:xfrm>
            <a:custGeom>
              <a:avLst/>
              <a:gdLst>
                <a:gd name="connsiteX0" fmla="*/ 209629 w 239409"/>
                <a:gd name="connsiteY0" fmla="*/ 388331 h 388330"/>
                <a:gd name="connsiteX1" fmla="*/ 204685 w 239409"/>
                <a:gd name="connsiteY1" fmla="*/ 383387 h 388330"/>
                <a:gd name="connsiteX2" fmla="*/ 204685 w 239409"/>
                <a:gd name="connsiteY2" fmla="*/ 299799 h 388330"/>
                <a:gd name="connsiteX3" fmla="*/ 205639 w 239409"/>
                <a:gd name="connsiteY3" fmla="*/ 296879 h 388330"/>
                <a:gd name="connsiteX4" fmla="*/ 207287 w 239409"/>
                <a:gd name="connsiteY4" fmla="*/ 294595 h 388330"/>
                <a:gd name="connsiteX5" fmla="*/ 207837 w 239409"/>
                <a:gd name="connsiteY5" fmla="*/ 293959 h 388330"/>
                <a:gd name="connsiteX6" fmla="*/ 229319 w 239409"/>
                <a:gd name="connsiteY6" fmla="*/ 241164 h 388330"/>
                <a:gd name="connsiteX7" fmla="*/ 229550 w 239409"/>
                <a:gd name="connsiteY7" fmla="*/ 71039 h 388330"/>
                <a:gd name="connsiteX8" fmla="*/ 212145 w 239409"/>
                <a:gd name="connsiteY8" fmla="*/ 56120 h 388330"/>
                <a:gd name="connsiteX9" fmla="*/ 195578 w 239409"/>
                <a:gd name="connsiteY9" fmla="*/ 71271 h 388330"/>
                <a:gd name="connsiteX10" fmla="*/ 195317 w 239409"/>
                <a:gd name="connsiteY10" fmla="*/ 93736 h 388330"/>
                <a:gd name="connsiteX11" fmla="*/ 195317 w 239409"/>
                <a:gd name="connsiteY11" fmla="*/ 144132 h 388330"/>
                <a:gd name="connsiteX12" fmla="*/ 190373 w 239409"/>
                <a:gd name="connsiteY12" fmla="*/ 149076 h 388330"/>
                <a:gd name="connsiteX13" fmla="*/ 186557 w 239409"/>
                <a:gd name="connsiteY13" fmla="*/ 147601 h 388330"/>
                <a:gd name="connsiteX14" fmla="*/ 184822 w 239409"/>
                <a:gd name="connsiteY14" fmla="*/ 144074 h 388330"/>
                <a:gd name="connsiteX15" fmla="*/ 185429 w 239409"/>
                <a:gd name="connsiteY15" fmla="*/ 93707 h 388330"/>
                <a:gd name="connsiteX16" fmla="*/ 185429 w 239409"/>
                <a:gd name="connsiteY16" fmla="*/ 39090 h 388330"/>
                <a:gd name="connsiteX17" fmla="*/ 170828 w 239409"/>
                <a:gd name="connsiteY17" fmla="*/ 28306 h 388330"/>
                <a:gd name="connsiteX18" fmla="*/ 153278 w 239409"/>
                <a:gd name="connsiteY18" fmla="*/ 41288 h 388330"/>
                <a:gd name="connsiteX19" fmla="*/ 152931 w 239409"/>
                <a:gd name="connsiteY19" fmla="*/ 144623 h 388330"/>
                <a:gd name="connsiteX20" fmla="*/ 148796 w 239409"/>
                <a:gd name="connsiteY20" fmla="*/ 149480 h 388330"/>
                <a:gd name="connsiteX21" fmla="*/ 143303 w 239409"/>
                <a:gd name="connsiteY21" fmla="*/ 146242 h 388330"/>
                <a:gd name="connsiteX22" fmla="*/ 142840 w 239409"/>
                <a:gd name="connsiteY22" fmla="*/ 144103 h 388330"/>
                <a:gd name="connsiteX23" fmla="*/ 142840 w 239409"/>
                <a:gd name="connsiteY23" fmla="*/ 20644 h 388330"/>
                <a:gd name="connsiteX24" fmla="*/ 128239 w 239409"/>
                <a:gd name="connsiteY24" fmla="*/ 9859 h 388330"/>
                <a:gd name="connsiteX25" fmla="*/ 113667 w 239409"/>
                <a:gd name="connsiteY25" fmla="*/ 20644 h 388330"/>
                <a:gd name="connsiteX26" fmla="*/ 113667 w 239409"/>
                <a:gd name="connsiteY26" fmla="*/ 42734 h 388330"/>
                <a:gd name="connsiteX27" fmla="*/ 113898 w 239409"/>
                <a:gd name="connsiteY27" fmla="*/ 45451 h 388330"/>
                <a:gd name="connsiteX28" fmla="*/ 113898 w 239409"/>
                <a:gd name="connsiteY28" fmla="*/ 144103 h 388330"/>
                <a:gd name="connsiteX29" fmla="*/ 108954 w 239409"/>
                <a:gd name="connsiteY29" fmla="*/ 149047 h 388330"/>
                <a:gd name="connsiteX30" fmla="*/ 103779 w 239409"/>
                <a:gd name="connsiteY30" fmla="*/ 144103 h 388330"/>
                <a:gd name="connsiteX31" fmla="*/ 103779 w 239409"/>
                <a:gd name="connsiteY31" fmla="*/ 43861 h 388330"/>
                <a:gd name="connsiteX32" fmla="*/ 86633 w 239409"/>
                <a:gd name="connsiteY32" fmla="*/ 33886 h 388330"/>
                <a:gd name="connsiteX33" fmla="*/ 69199 w 239409"/>
                <a:gd name="connsiteY33" fmla="*/ 45451 h 388330"/>
                <a:gd name="connsiteX34" fmla="*/ 69748 w 239409"/>
                <a:gd name="connsiteY34" fmla="*/ 180649 h 388330"/>
                <a:gd name="connsiteX35" fmla="*/ 66105 w 239409"/>
                <a:gd name="connsiteY35" fmla="*/ 185448 h 388330"/>
                <a:gd name="connsiteX36" fmla="*/ 60525 w 239409"/>
                <a:gd name="connsiteY36" fmla="*/ 183164 h 388330"/>
                <a:gd name="connsiteX37" fmla="*/ 36238 w 239409"/>
                <a:gd name="connsiteY37" fmla="*/ 141616 h 388330"/>
                <a:gd name="connsiteX38" fmla="*/ 17531 w 239409"/>
                <a:gd name="connsiteY38" fmla="*/ 138089 h 388330"/>
                <a:gd name="connsiteX39" fmla="*/ 10563 w 239409"/>
                <a:gd name="connsiteY39" fmla="*/ 146589 h 388330"/>
                <a:gd name="connsiteX40" fmla="*/ 11459 w 239409"/>
                <a:gd name="connsiteY40" fmla="*/ 156073 h 388330"/>
                <a:gd name="connsiteX41" fmla="*/ 75068 w 239409"/>
                <a:gd name="connsiteY41" fmla="*/ 264757 h 388330"/>
                <a:gd name="connsiteX42" fmla="*/ 75415 w 239409"/>
                <a:gd name="connsiteY42" fmla="*/ 265451 h 388330"/>
                <a:gd name="connsiteX43" fmla="*/ 99008 w 239409"/>
                <a:gd name="connsiteY43" fmla="*/ 296388 h 388330"/>
                <a:gd name="connsiteX44" fmla="*/ 99673 w 239409"/>
                <a:gd name="connsiteY44" fmla="*/ 297024 h 388330"/>
                <a:gd name="connsiteX45" fmla="*/ 102506 w 239409"/>
                <a:gd name="connsiteY45" fmla="*/ 300233 h 388330"/>
                <a:gd name="connsiteX46" fmla="*/ 103750 w 239409"/>
                <a:gd name="connsiteY46" fmla="*/ 303500 h 388330"/>
                <a:gd name="connsiteX47" fmla="*/ 103750 w 239409"/>
                <a:gd name="connsiteY47" fmla="*/ 383300 h 388330"/>
                <a:gd name="connsiteX48" fmla="*/ 98806 w 239409"/>
                <a:gd name="connsiteY48" fmla="*/ 388244 h 388330"/>
                <a:gd name="connsiteX49" fmla="*/ 93861 w 239409"/>
                <a:gd name="connsiteY49" fmla="*/ 383300 h 388330"/>
                <a:gd name="connsiteX50" fmla="*/ 93861 w 239409"/>
                <a:gd name="connsiteY50" fmla="*/ 305379 h 388330"/>
                <a:gd name="connsiteX51" fmla="*/ 92560 w 239409"/>
                <a:gd name="connsiteY51" fmla="*/ 303905 h 388330"/>
                <a:gd name="connsiteX52" fmla="*/ 66336 w 239409"/>
                <a:gd name="connsiteY52" fmla="*/ 269412 h 388330"/>
                <a:gd name="connsiteX53" fmla="*/ 2872 w 239409"/>
                <a:gd name="connsiteY53" fmla="*/ 161161 h 388330"/>
                <a:gd name="connsiteX54" fmla="*/ 1080 w 239409"/>
                <a:gd name="connsiteY54" fmla="*/ 143669 h 388330"/>
                <a:gd name="connsiteX55" fmla="*/ 12500 w 239409"/>
                <a:gd name="connsiteY55" fmla="*/ 129588 h 388330"/>
                <a:gd name="connsiteX56" fmla="*/ 44738 w 239409"/>
                <a:gd name="connsiteY56" fmla="*/ 136643 h 388330"/>
                <a:gd name="connsiteX57" fmla="*/ 59744 w 239409"/>
                <a:gd name="connsiteY57" fmla="*/ 162318 h 388330"/>
                <a:gd name="connsiteX58" fmla="*/ 59253 w 239409"/>
                <a:gd name="connsiteY58" fmla="*/ 45509 h 388330"/>
                <a:gd name="connsiteX59" fmla="*/ 86575 w 239409"/>
                <a:gd name="connsiteY59" fmla="*/ 24027 h 388330"/>
                <a:gd name="connsiteX60" fmla="*/ 103721 w 239409"/>
                <a:gd name="connsiteY60" fmla="*/ 29231 h 388330"/>
                <a:gd name="connsiteX61" fmla="*/ 103721 w 239409"/>
                <a:gd name="connsiteY61" fmla="*/ 20673 h 388330"/>
                <a:gd name="connsiteX62" fmla="*/ 128210 w 239409"/>
                <a:gd name="connsiteY62" fmla="*/ 0 h 388330"/>
                <a:gd name="connsiteX63" fmla="*/ 152699 w 239409"/>
                <a:gd name="connsiteY63" fmla="*/ 20673 h 388330"/>
                <a:gd name="connsiteX64" fmla="*/ 152699 w 239409"/>
                <a:gd name="connsiteY64" fmla="*/ 25010 h 388330"/>
                <a:gd name="connsiteX65" fmla="*/ 170770 w 239409"/>
                <a:gd name="connsiteY65" fmla="*/ 18418 h 388330"/>
                <a:gd name="connsiteX66" fmla="*/ 195259 w 239409"/>
                <a:gd name="connsiteY66" fmla="*/ 39090 h 388330"/>
                <a:gd name="connsiteX67" fmla="*/ 195259 w 239409"/>
                <a:gd name="connsiteY67" fmla="*/ 53056 h 388330"/>
                <a:gd name="connsiteX68" fmla="*/ 212087 w 239409"/>
                <a:gd name="connsiteY68" fmla="*/ 46232 h 388330"/>
                <a:gd name="connsiteX69" fmla="*/ 239410 w 239409"/>
                <a:gd name="connsiteY69" fmla="*/ 71068 h 388330"/>
                <a:gd name="connsiteX70" fmla="*/ 239178 w 239409"/>
                <a:gd name="connsiteY70" fmla="*/ 241164 h 388330"/>
                <a:gd name="connsiteX71" fmla="*/ 215007 w 239409"/>
                <a:gd name="connsiteY71" fmla="*/ 300811 h 388330"/>
                <a:gd name="connsiteX72" fmla="*/ 214544 w 239409"/>
                <a:gd name="connsiteY72" fmla="*/ 301447 h 388330"/>
                <a:gd name="connsiteX73" fmla="*/ 214544 w 239409"/>
                <a:gd name="connsiteY73" fmla="*/ 383416 h 388330"/>
                <a:gd name="connsiteX74" fmla="*/ 209629 w 239409"/>
                <a:gd name="connsiteY74" fmla="*/ 388331 h 388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239409" h="388330">
                  <a:moveTo>
                    <a:pt x="209629" y="388331"/>
                  </a:moveTo>
                  <a:cubicBezTo>
                    <a:pt x="206911" y="388331"/>
                    <a:pt x="204685" y="386105"/>
                    <a:pt x="204685" y="383387"/>
                  </a:cubicBezTo>
                  <a:lnTo>
                    <a:pt x="204685" y="299799"/>
                  </a:lnTo>
                  <a:cubicBezTo>
                    <a:pt x="204685" y="298758"/>
                    <a:pt x="205032" y="297718"/>
                    <a:pt x="205639" y="296879"/>
                  </a:cubicBezTo>
                  <a:lnTo>
                    <a:pt x="207287" y="294595"/>
                  </a:lnTo>
                  <a:cubicBezTo>
                    <a:pt x="207461" y="294364"/>
                    <a:pt x="207634" y="294161"/>
                    <a:pt x="207837" y="293959"/>
                  </a:cubicBezTo>
                  <a:cubicBezTo>
                    <a:pt x="221802" y="280456"/>
                    <a:pt x="229406" y="261692"/>
                    <a:pt x="229319" y="241164"/>
                  </a:cubicBezTo>
                  <a:lnTo>
                    <a:pt x="229550" y="71039"/>
                  </a:lnTo>
                  <a:cubicBezTo>
                    <a:pt x="229550" y="65141"/>
                    <a:pt x="220211" y="56120"/>
                    <a:pt x="212145" y="56120"/>
                  </a:cubicBezTo>
                  <a:cubicBezTo>
                    <a:pt x="204309" y="56120"/>
                    <a:pt x="195578" y="65141"/>
                    <a:pt x="195578" y="71271"/>
                  </a:cubicBezTo>
                  <a:lnTo>
                    <a:pt x="195317" y="93736"/>
                  </a:lnTo>
                  <a:lnTo>
                    <a:pt x="195317" y="144132"/>
                  </a:lnTo>
                  <a:cubicBezTo>
                    <a:pt x="195317" y="146878"/>
                    <a:pt x="193091" y="149076"/>
                    <a:pt x="190373" y="149076"/>
                  </a:cubicBezTo>
                  <a:cubicBezTo>
                    <a:pt x="189043" y="149076"/>
                    <a:pt x="187482" y="148555"/>
                    <a:pt x="186557" y="147601"/>
                  </a:cubicBezTo>
                  <a:cubicBezTo>
                    <a:pt x="185631" y="146647"/>
                    <a:pt x="184822" y="145375"/>
                    <a:pt x="184822" y="144074"/>
                  </a:cubicBezTo>
                  <a:lnTo>
                    <a:pt x="185429" y="93707"/>
                  </a:lnTo>
                  <a:lnTo>
                    <a:pt x="185429" y="39090"/>
                  </a:lnTo>
                  <a:cubicBezTo>
                    <a:pt x="185429" y="33250"/>
                    <a:pt x="178750" y="28306"/>
                    <a:pt x="170828" y="28306"/>
                  </a:cubicBezTo>
                  <a:cubicBezTo>
                    <a:pt x="162125" y="28306"/>
                    <a:pt x="153278" y="35852"/>
                    <a:pt x="153278" y="41288"/>
                  </a:cubicBezTo>
                  <a:lnTo>
                    <a:pt x="152931" y="144623"/>
                  </a:lnTo>
                  <a:cubicBezTo>
                    <a:pt x="152931" y="147023"/>
                    <a:pt x="151167" y="149076"/>
                    <a:pt x="148796" y="149480"/>
                  </a:cubicBezTo>
                  <a:cubicBezTo>
                    <a:pt x="146454" y="149943"/>
                    <a:pt x="144112" y="148526"/>
                    <a:pt x="143303" y="146242"/>
                  </a:cubicBezTo>
                  <a:cubicBezTo>
                    <a:pt x="143129" y="145722"/>
                    <a:pt x="142840" y="144681"/>
                    <a:pt x="142840" y="144103"/>
                  </a:cubicBezTo>
                  <a:lnTo>
                    <a:pt x="142840" y="20644"/>
                  </a:lnTo>
                  <a:cubicBezTo>
                    <a:pt x="142840" y="14717"/>
                    <a:pt x="136277" y="9859"/>
                    <a:pt x="128239" y="9859"/>
                  </a:cubicBezTo>
                  <a:cubicBezTo>
                    <a:pt x="120346" y="9859"/>
                    <a:pt x="113667" y="14803"/>
                    <a:pt x="113667" y="20644"/>
                  </a:cubicBezTo>
                  <a:lnTo>
                    <a:pt x="113667" y="42734"/>
                  </a:lnTo>
                  <a:cubicBezTo>
                    <a:pt x="113811" y="43630"/>
                    <a:pt x="113898" y="44526"/>
                    <a:pt x="113898" y="45451"/>
                  </a:cubicBezTo>
                  <a:lnTo>
                    <a:pt x="113898" y="144103"/>
                  </a:lnTo>
                  <a:cubicBezTo>
                    <a:pt x="113898" y="146849"/>
                    <a:pt x="111672" y="149047"/>
                    <a:pt x="108954" y="149047"/>
                  </a:cubicBezTo>
                  <a:cubicBezTo>
                    <a:pt x="106236" y="149047"/>
                    <a:pt x="103779" y="146820"/>
                    <a:pt x="103779" y="144103"/>
                  </a:cubicBezTo>
                  <a:lnTo>
                    <a:pt x="103779" y="43861"/>
                  </a:lnTo>
                  <a:cubicBezTo>
                    <a:pt x="102304" y="38830"/>
                    <a:pt x="94122" y="33886"/>
                    <a:pt x="86633" y="33886"/>
                  </a:cubicBezTo>
                  <a:cubicBezTo>
                    <a:pt x="78335" y="33886"/>
                    <a:pt x="69199" y="39929"/>
                    <a:pt x="69199" y="45451"/>
                  </a:cubicBezTo>
                  <a:lnTo>
                    <a:pt x="69748" y="180649"/>
                  </a:lnTo>
                  <a:cubicBezTo>
                    <a:pt x="69748" y="182875"/>
                    <a:pt x="68273" y="184841"/>
                    <a:pt x="66105" y="185448"/>
                  </a:cubicBezTo>
                  <a:cubicBezTo>
                    <a:pt x="63936" y="186027"/>
                    <a:pt x="61652" y="185101"/>
                    <a:pt x="60525" y="183164"/>
                  </a:cubicBezTo>
                  <a:lnTo>
                    <a:pt x="36238" y="141616"/>
                  </a:lnTo>
                  <a:cubicBezTo>
                    <a:pt x="32768" y="135689"/>
                    <a:pt x="24355" y="134099"/>
                    <a:pt x="17531" y="138089"/>
                  </a:cubicBezTo>
                  <a:cubicBezTo>
                    <a:pt x="14148" y="140055"/>
                    <a:pt x="11662" y="143091"/>
                    <a:pt x="10563" y="146589"/>
                  </a:cubicBezTo>
                  <a:cubicBezTo>
                    <a:pt x="9493" y="149914"/>
                    <a:pt x="9811" y="153297"/>
                    <a:pt x="11459" y="156073"/>
                  </a:cubicBezTo>
                  <a:lnTo>
                    <a:pt x="75068" y="264757"/>
                  </a:lnTo>
                  <a:cubicBezTo>
                    <a:pt x="75184" y="264988"/>
                    <a:pt x="75299" y="265219"/>
                    <a:pt x="75415" y="265451"/>
                  </a:cubicBezTo>
                  <a:cubicBezTo>
                    <a:pt x="80099" y="277334"/>
                    <a:pt x="88252" y="288032"/>
                    <a:pt x="99008" y="296388"/>
                  </a:cubicBezTo>
                  <a:cubicBezTo>
                    <a:pt x="99239" y="296590"/>
                    <a:pt x="99471" y="296792"/>
                    <a:pt x="99673" y="297024"/>
                  </a:cubicBezTo>
                  <a:lnTo>
                    <a:pt x="102506" y="300233"/>
                  </a:lnTo>
                  <a:cubicBezTo>
                    <a:pt x="103316" y="301129"/>
                    <a:pt x="103750" y="302315"/>
                    <a:pt x="103750" y="303500"/>
                  </a:cubicBezTo>
                  <a:lnTo>
                    <a:pt x="103750" y="383300"/>
                  </a:lnTo>
                  <a:cubicBezTo>
                    <a:pt x="103750" y="386047"/>
                    <a:pt x="101523" y="388244"/>
                    <a:pt x="98806" y="388244"/>
                  </a:cubicBezTo>
                  <a:cubicBezTo>
                    <a:pt x="96059" y="388244"/>
                    <a:pt x="93861" y="386018"/>
                    <a:pt x="93861" y="383300"/>
                  </a:cubicBezTo>
                  <a:lnTo>
                    <a:pt x="93861" y="305379"/>
                  </a:lnTo>
                  <a:lnTo>
                    <a:pt x="92560" y="303905"/>
                  </a:lnTo>
                  <a:cubicBezTo>
                    <a:pt x="80677" y="294595"/>
                    <a:pt x="71627" y="282683"/>
                    <a:pt x="66336" y="269412"/>
                  </a:cubicBezTo>
                  <a:lnTo>
                    <a:pt x="2872" y="161161"/>
                  </a:lnTo>
                  <a:cubicBezTo>
                    <a:pt x="-193" y="155928"/>
                    <a:pt x="-829" y="149712"/>
                    <a:pt x="1080" y="143669"/>
                  </a:cubicBezTo>
                  <a:cubicBezTo>
                    <a:pt x="2930" y="137829"/>
                    <a:pt x="6978" y="132826"/>
                    <a:pt x="12500" y="129588"/>
                  </a:cubicBezTo>
                  <a:cubicBezTo>
                    <a:pt x="24065" y="122851"/>
                    <a:pt x="38522" y="126032"/>
                    <a:pt x="44738" y="136643"/>
                  </a:cubicBezTo>
                  <a:lnTo>
                    <a:pt x="59744" y="162318"/>
                  </a:lnTo>
                  <a:lnTo>
                    <a:pt x="59253" y="45509"/>
                  </a:lnTo>
                  <a:cubicBezTo>
                    <a:pt x="59253" y="33395"/>
                    <a:pt x="73940" y="24027"/>
                    <a:pt x="86575" y="24027"/>
                  </a:cubicBezTo>
                  <a:cubicBezTo>
                    <a:pt x="92474" y="24027"/>
                    <a:pt x="98719" y="25964"/>
                    <a:pt x="103721" y="29231"/>
                  </a:cubicBezTo>
                  <a:lnTo>
                    <a:pt x="103721" y="20673"/>
                  </a:lnTo>
                  <a:cubicBezTo>
                    <a:pt x="103721" y="9281"/>
                    <a:pt x="114708" y="0"/>
                    <a:pt x="128210" y="0"/>
                  </a:cubicBezTo>
                  <a:cubicBezTo>
                    <a:pt x="141713" y="0"/>
                    <a:pt x="152699" y="9281"/>
                    <a:pt x="152699" y="20673"/>
                  </a:cubicBezTo>
                  <a:lnTo>
                    <a:pt x="152699" y="25010"/>
                  </a:lnTo>
                  <a:cubicBezTo>
                    <a:pt x="157759" y="21049"/>
                    <a:pt x="164294" y="18418"/>
                    <a:pt x="170770" y="18418"/>
                  </a:cubicBezTo>
                  <a:cubicBezTo>
                    <a:pt x="184273" y="18418"/>
                    <a:pt x="195259" y="27699"/>
                    <a:pt x="195259" y="39090"/>
                  </a:cubicBezTo>
                  <a:lnTo>
                    <a:pt x="195259" y="53056"/>
                  </a:lnTo>
                  <a:cubicBezTo>
                    <a:pt x="199914" y="49008"/>
                    <a:pt x="205842" y="46232"/>
                    <a:pt x="212087" y="46232"/>
                  </a:cubicBezTo>
                  <a:cubicBezTo>
                    <a:pt x="225098" y="46232"/>
                    <a:pt x="239410" y="59243"/>
                    <a:pt x="239410" y="71068"/>
                  </a:cubicBezTo>
                  <a:lnTo>
                    <a:pt x="239178" y="241164"/>
                  </a:lnTo>
                  <a:cubicBezTo>
                    <a:pt x="239294" y="264236"/>
                    <a:pt x="230707" y="285401"/>
                    <a:pt x="215007" y="300811"/>
                  </a:cubicBezTo>
                  <a:lnTo>
                    <a:pt x="214544" y="301447"/>
                  </a:lnTo>
                  <a:lnTo>
                    <a:pt x="214544" y="383416"/>
                  </a:lnTo>
                  <a:cubicBezTo>
                    <a:pt x="214573" y="386133"/>
                    <a:pt x="212347" y="388331"/>
                    <a:pt x="209629" y="388331"/>
                  </a:cubicBezTo>
                  <a:close/>
                </a:path>
              </a:pathLst>
            </a:custGeom>
            <a:solidFill>
              <a:schemeClr val="accent1"/>
            </a:solidFill>
            <a:ln w="2890" cap="flat">
              <a:noFill/>
              <a:prstDash val="solid"/>
              <a:miter/>
            </a:ln>
          </p:spPr>
          <p:txBody>
            <a:bodyPr rtlCol="0" anchor="ctr"/>
            <a:lstStyle/>
            <a:p>
              <a:endParaRPr lang="en-GB" dirty="0"/>
            </a:p>
          </p:txBody>
        </p:sp>
        <p:grpSp>
          <p:nvGrpSpPr>
            <p:cNvPr id="563" name="Group 1019">
              <a:extLst>
                <a:ext uri="{FF2B5EF4-FFF2-40B4-BE49-F238E27FC236}">
                  <a16:creationId xmlns:a16="http://schemas.microsoft.com/office/drawing/2014/main" id="{5D63A36B-BF29-48E2-BA11-EFA7142E3BBB}"/>
                </a:ext>
              </a:extLst>
            </p:cNvPr>
            <p:cNvGrpSpPr/>
            <p:nvPr/>
          </p:nvGrpSpPr>
          <p:grpSpPr>
            <a:xfrm>
              <a:off x="5248869" y="3514855"/>
              <a:ext cx="612182" cy="300608"/>
              <a:chOff x="5248869" y="3514855"/>
              <a:chExt cx="612182" cy="300608"/>
            </a:xfrm>
          </p:grpSpPr>
          <p:sp>
            <p:nvSpPr>
              <p:cNvPr id="564" name="Freihandform: Form 563">
                <a:extLst>
                  <a:ext uri="{FF2B5EF4-FFF2-40B4-BE49-F238E27FC236}">
                    <a16:creationId xmlns:a16="http://schemas.microsoft.com/office/drawing/2014/main" id="{8AE4C014-A7D8-4B71-966E-007032B6F2A7}"/>
                  </a:ext>
                </a:extLst>
              </p:cNvPr>
              <p:cNvSpPr/>
              <p:nvPr/>
            </p:nvSpPr>
            <p:spPr>
              <a:xfrm>
                <a:off x="5674828" y="3514855"/>
                <a:ext cx="186223" cy="300579"/>
              </a:xfrm>
              <a:custGeom>
                <a:avLst/>
                <a:gdLst>
                  <a:gd name="connsiteX0" fmla="*/ 162081 w 186223"/>
                  <a:gd name="connsiteY0" fmla="*/ 300580 h 300579"/>
                  <a:gd name="connsiteX1" fmla="*/ 157137 w 186223"/>
                  <a:gd name="connsiteY1" fmla="*/ 295636 h 300579"/>
                  <a:gd name="connsiteX2" fmla="*/ 157137 w 186223"/>
                  <a:gd name="connsiteY2" fmla="*/ 231420 h 300579"/>
                  <a:gd name="connsiteX3" fmla="*/ 158091 w 186223"/>
                  <a:gd name="connsiteY3" fmla="*/ 228500 h 300579"/>
                  <a:gd name="connsiteX4" fmla="*/ 159364 w 186223"/>
                  <a:gd name="connsiteY4" fmla="*/ 226765 h 300579"/>
                  <a:gd name="connsiteX5" fmla="*/ 159913 w 186223"/>
                  <a:gd name="connsiteY5" fmla="*/ 226158 h 300579"/>
                  <a:gd name="connsiteX6" fmla="*/ 176046 w 186223"/>
                  <a:gd name="connsiteY6" fmla="*/ 186431 h 300579"/>
                  <a:gd name="connsiteX7" fmla="*/ 176249 w 186223"/>
                  <a:gd name="connsiteY7" fmla="*/ 55744 h 300579"/>
                  <a:gd name="connsiteX8" fmla="*/ 164019 w 186223"/>
                  <a:gd name="connsiteY8" fmla="*/ 45422 h 300579"/>
                  <a:gd name="connsiteX9" fmla="*/ 152453 w 186223"/>
                  <a:gd name="connsiteY9" fmla="*/ 55918 h 300579"/>
                  <a:gd name="connsiteX10" fmla="*/ 152251 w 186223"/>
                  <a:gd name="connsiteY10" fmla="*/ 73323 h 300579"/>
                  <a:gd name="connsiteX11" fmla="*/ 152251 w 186223"/>
                  <a:gd name="connsiteY11" fmla="*/ 111893 h 300579"/>
                  <a:gd name="connsiteX12" fmla="*/ 147307 w 186223"/>
                  <a:gd name="connsiteY12" fmla="*/ 116837 h 300579"/>
                  <a:gd name="connsiteX13" fmla="*/ 143548 w 186223"/>
                  <a:gd name="connsiteY13" fmla="*/ 115363 h 300579"/>
                  <a:gd name="connsiteX14" fmla="*/ 141900 w 186223"/>
                  <a:gd name="connsiteY14" fmla="*/ 111836 h 300579"/>
                  <a:gd name="connsiteX15" fmla="*/ 142363 w 186223"/>
                  <a:gd name="connsiteY15" fmla="*/ 73294 h 300579"/>
                  <a:gd name="connsiteX16" fmla="*/ 142363 w 186223"/>
                  <a:gd name="connsiteY16" fmla="*/ 31226 h 300579"/>
                  <a:gd name="connsiteX17" fmla="*/ 132301 w 186223"/>
                  <a:gd name="connsiteY17" fmla="*/ 24084 h 300579"/>
                  <a:gd name="connsiteX18" fmla="*/ 119955 w 186223"/>
                  <a:gd name="connsiteY18" fmla="*/ 32903 h 300579"/>
                  <a:gd name="connsiteX19" fmla="*/ 119695 w 186223"/>
                  <a:gd name="connsiteY19" fmla="*/ 112298 h 300579"/>
                  <a:gd name="connsiteX20" fmla="*/ 115618 w 186223"/>
                  <a:gd name="connsiteY20" fmla="*/ 117155 h 300579"/>
                  <a:gd name="connsiteX21" fmla="*/ 110125 w 186223"/>
                  <a:gd name="connsiteY21" fmla="*/ 114004 h 300579"/>
                  <a:gd name="connsiteX22" fmla="*/ 109662 w 186223"/>
                  <a:gd name="connsiteY22" fmla="*/ 111893 h 300579"/>
                  <a:gd name="connsiteX23" fmla="*/ 109662 w 186223"/>
                  <a:gd name="connsiteY23" fmla="*/ 17059 h 300579"/>
                  <a:gd name="connsiteX24" fmla="*/ 99600 w 186223"/>
                  <a:gd name="connsiteY24" fmla="*/ 9946 h 300579"/>
                  <a:gd name="connsiteX25" fmla="*/ 89539 w 186223"/>
                  <a:gd name="connsiteY25" fmla="*/ 17059 h 300579"/>
                  <a:gd name="connsiteX26" fmla="*/ 89539 w 186223"/>
                  <a:gd name="connsiteY26" fmla="*/ 33915 h 300579"/>
                  <a:gd name="connsiteX27" fmla="*/ 89712 w 186223"/>
                  <a:gd name="connsiteY27" fmla="*/ 36112 h 300579"/>
                  <a:gd name="connsiteX28" fmla="*/ 89712 w 186223"/>
                  <a:gd name="connsiteY28" fmla="*/ 111893 h 300579"/>
                  <a:gd name="connsiteX29" fmla="*/ 84768 w 186223"/>
                  <a:gd name="connsiteY29" fmla="*/ 116837 h 300579"/>
                  <a:gd name="connsiteX30" fmla="*/ 79621 w 186223"/>
                  <a:gd name="connsiteY30" fmla="*/ 111893 h 300579"/>
                  <a:gd name="connsiteX31" fmla="*/ 79621 w 186223"/>
                  <a:gd name="connsiteY31" fmla="*/ 35043 h 300579"/>
                  <a:gd name="connsiteX32" fmla="*/ 67594 w 186223"/>
                  <a:gd name="connsiteY32" fmla="*/ 28364 h 300579"/>
                  <a:gd name="connsiteX33" fmla="*/ 55363 w 186223"/>
                  <a:gd name="connsiteY33" fmla="*/ 36083 h 300579"/>
                  <a:gd name="connsiteX34" fmla="*/ 55797 w 186223"/>
                  <a:gd name="connsiteY34" fmla="*/ 139939 h 300579"/>
                  <a:gd name="connsiteX35" fmla="*/ 52154 w 186223"/>
                  <a:gd name="connsiteY35" fmla="*/ 144739 h 300579"/>
                  <a:gd name="connsiteX36" fmla="*/ 46574 w 186223"/>
                  <a:gd name="connsiteY36" fmla="*/ 142454 h 300579"/>
                  <a:gd name="connsiteX37" fmla="*/ 27896 w 186223"/>
                  <a:gd name="connsiteY37" fmla="*/ 110534 h 300579"/>
                  <a:gd name="connsiteX38" fmla="*/ 15117 w 186223"/>
                  <a:gd name="connsiteY38" fmla="*/ 108250 h 300579"/>
                  <a:gd name="connsiteX39" fmla="*/ 10837 w 186223"/>
                  <a:gd name="connsiteY39" fmla="*/ 120509 h 300579"/>
                  <a:gd name="connsiteX40" fmla="*/ 59700 w 186223"/>
                  <a:gd name="connsiteY40" fmla="*/ 203981 h 300579"/>
                  <a:gd name="connsiteX41" fmla="*/ 60047 w 186223"/>
                  <a:gd name="connsiteY41" fmla="*/ 204675 h 300579"/>
                  <a:gd name="connsiteX42" fmla="*/ 77800 w 186223"/>
                  <a:gd name="connsiteY42" fmla="*/ 227950 h 300579"/>
                  <a:gd name="connsiteX43" fmla="*/ 78465 w 186223"/>
                  <a:gd name="connsiteY43" fmla="*/ 228586 h 300579"/>
                  <a:gd name="connsiteX44" fmla="*/ 80662 w 186223"/>
                  <a:gd name="connsiteY44" fmla="*/ 231073 h 300579"/>
                  <a:gd name="connsiteX45" fmla="*/ 81906 w 186223"/>
                  <a:gd name="connsiteY45" fmla="*/ 234340 h 300579"/>
                  <a:gd name="connsiteX46" fmla="*/ 81906 w 186223"/>
                  <a:gd name="connsiteY46" fmla="*/ 295636 h 300579"/>
                  <a:gd name="connsiteX47" fmla="*/ 76961 w 186223"/>
                  <a:gd name="connsiteY47" fmla="*/ 300580 h 300579"/>
                  <a:gd name="connsiteX48" fmla="*/ 72017 w 186223"/>
                  <a:gd name="connsiteY48" fmla="*/ 295636 h 300579"/>
                  <a:gd name="connsiteX49" fmla="*/ 72017 w 186223"/>
                  <a:gd name="connsiteY49" fmla="*/ 236219 h 300579"/>
                  <a:gd name="connsiteX50" fmla="*/ 71381 w 186223"/>
                  <a:gd name="connsiteY50" fmla="*/ 235496 h 300579"/>
                  <a:gd name="connsiteX51" fmla="*/ 50998 w 186223"/>
                  <a:gd name="connsiteY51" fmla="*/ 208665 h 300579"/>
                  <a:gd name="connsiteX52" fmla="*/ 2337 w 186223"/>
                  <a:gd name="connsiteY52" fmla="*/ 125511 h 300579"/>
                  <a:gd name="connsiteX53" fmla="*/ 10143 w 186223"/>
                  <a:gd name="connsiteY53" fmla="*/ 99692 h 300579"/>
                  <a:gd name="connsiteX54" fmla="*/ 36483 w 186223"/>
                  <a:gd name="connsiteY54" fmla="*/ 105533 h 300579"/>
                  <a:gd name="connsiteX55" fmla="*/ 45880 w 186223"/>
                  <a:gd name="connsiteY55" fmla="*/ 121550 h 300579"/>
                  <a:gd name="connsiteX56" fmla="*/ 45533 w 186223"/>
                  <a:gd name="connsiteY56" fmla="*/ 36083 h 300579"/>
                  <a:gd name="connsiteX57" fmla="*/ 67680 w 186223"/>
                  <a:gd name="connsiteY57" fmla="*/ 18447 h 300579"/>
                  <a:gd name="connsiteX58" fmla="*/ 79708 w 186223"/>
                  <a:gd name="connsiteY58" fmla="*/ 21598 h 300579"/>
                  <a:gd name="connsiteX59" fmla="*/ 79708 w 186223"/>
                  <a:gd name="connsiteY59" fmla="*/ 17030 h 300579"/>
                  <a:gd name="connsiteX60" fmla="*/ 99658 w 186223"/>
                  <a:gd name="connsiteY60" fmla="*/ 0 h 300579"/>
                  <a:gd name="connsiteX61" fmla="*/ 119608 w 186223"/>
                  <a:gd name="connsiteY61" fmla="*/ 17030 h 300579"/>
                  <a:gd name="connsiteX62" fmla="*/ 119608 w 186223"/>
                  <a:gd name="connsiteY62" fmla="*/ 18071 h 300579"/>
                  <a:gd name="connsiteX63" fmla="*/ 132359 w 186223"/>
                  <a:gd name="connsiteY63" fmla="*/ 14167 h 300579"/>
                  <a:gd name="connsiteX64" fmla="*/ 152309 w 186223"/>
                  <a:gd name="connsiteY64" fmla="*/ 31197 h 300579"/>
                  <a:gd name="connsiteX65" fmla="*/ 152309 w 186223"/>
                  <a:gd name="connsiteY65" fmla="*/ 39582 h 300579"/>
                  <a:gd name="connsiteX66" fmla="*/ 164076 w 186223"/>
                  <a:gd name="connsiteY66" fmla="*/ 35505 h 300579"/>
                  <a:gd name="connsiteX67" fmla="*/ 186224 w 186223"/>
                  <a:gd name="connsiteY67" fmla="*/ 55744 h 300579"/>
                  <a:gd name="connsiteX68" fmla="*/ 186021 w 186223"/>
                  <a:gd name="connsiteY68" fmla="*/ 186402 h 300579"/>
                  <a:gd name="connsiteX69" fmla="*/ 167170 w 186223"/>
                  <a:gd name="connsiteY69" fmla="*/ 232952 h 300579"/>
                  <a:gd name="connsiteX70" fmla="*/ 167083 w 186223"/>
                  <a:gd name="connsiteY70" fmla="*/ 233068 h 300579"/>
                  <a:gd name="connsiteX71" fmla="*/ 167083 w 186223"/>
                  <a:gd name="connsiteY71" fmla="*/ 295664 h 300579"/>
                  <a:gd name="connsiteX72" fmla="*/ 162081 w 186223"/>
                  <a:gd name="connsiteY72" fmla="*/ 300580 h 30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86223" h="300579">
                    <a:moveTo>
                      <a:pt x="162081" y="300580"/>
                    </a:moveTo>
                    <a:cubicBezTo>
                      <a:pt x="159335" y="300580"/>
                      <a:pt x="157137" y="298354"/>
                      <a:pt x="157137" y="295636"/>
                    </a:cubicBezTo>
                    <a:lnTo>
                      <a:pt x="157137" y="231420"/>
                    </a:lnTo>
                    <a:cubicBezTo>
                      <a:pt x="157137" y="230350"/>
                      <a:pt x="157484" y="229338"/>
                      <a:pt x="158091" y="228500"/>
                    </a:cubicBezTo>
                    <a:lnTo>
                      <a:pt x="159364" y="226765"/>
                    </a:lnTo>
                    <a:cubicBezTo>
                      <a:pt x="159537" y="226534"/>
                      <a:pt x="159711" y="226331"/>
                      <a:pt x="159913" y="226158"/>
                    </a:cubicBezTo>
                    <a:cubicBezTo>
                      <a:pt x="170408" y="215980"/>
                      <a:pt x="176133" y="201871"/>
                      <a:pt x="176046" y="186431"/>
                    </a:cubicBezTo>
                    <a:lnTo>
                      <a:pt x="176249" y="55744"/>
                    </a:lnTo>
                    <a:cubicBezTo>
                      <a:pt x="176249" y="52130"/>
                      <a:pt x="169946" y="45422"/>
                      <a:pt x="164019" y="45422"/>
                    </a:cubicBezTo>
                    <a:cubicBezTo>
                      <a:pt x="158294" y="45422"/>
                      <a:pt x="152453" y="52159"/>
                      <a:pt x="152453" y="55918"/>
                    </a:cubicBezTo>
                    <a:lnTo>
                      <a:pt x="152251" y="73323"/>
                    </a:lnTo>
                    <a:lnTo>
                      <a:pt x="152251" y="111893"/>
                    </a:lnTo>
                    <a:cubicBezTo>
                      <a:pt x="152251" y="114611"/>
                      <a:pt x="150025" y="116837"/>
                      <a:pt x="147307" y="116837"/>
                    </a:cubicBezTo>
                    <a:cubicBezTo>
                      <a:pt x="145977" y="116837"/>
                      <a:pt x="144473" y="116317"/>
                      <a:pt x="143548" y="115363"/>
                    </a:cubicBezTo>
                    <a:cubicBezTo>
                      <a:pt x="142623" y="114409"/>
                      <a:pt x="141871" y="113137"/>
                      <a:pt x="141900" y="111836"/>
                    </a:cubicBezTo>
                    <a:lnTo>
                      <a:pt x="142363" y="73294"/>
                    </a:lnTo>
                    <a:lnTo>
                      <a:pt x="142363" y="31226"/>
                    </a:lnTo>
                    <a:cubicBezTo>
                      <a:pt x="142363" y="27352"/>
                      <a:pt x="137766" y="24084"/>
                      <a:pt x="132301" y="24084"/>
                    </a:cubicBezTo>
                    <a:cubicBezTo>
                      <a:pt x="126461" y="24084"/>
                      <a:pt x="119955" y="29347"/>
                      <a:pt x="119955" y="32903"/>
                    </a:cubicBezTo>
                    <a:lnTo>
                      <a:pt x="119695" y="112298"/>
                    </a:lnTo>
                    <a:cubicBezTo>
                      <a:pt x="119695" y="114698"/>
                      <a:pt x="117960" y="116722"/>
                      <a:pt x="115618" y="117155"/>
                    </a:cubicBezTo>
                    <a:cubicBezTo>
                      <a:pt x="113276" y="117560"/>
                      <a:pt x="110934" y="116259"/>
                      <a:pt x="110125" y="114004"/>
                    </a:cubicBezTo>
                    <a:cubicBezTo>
                      <a:pt x="109922" y="113455"/>
                      <a:pt x="109662" y="112501"/>
                      <a:pt x="109662" y="111893"/>
                    </a:cubicBezTo>
                    <a:lnTo>
                      <a:pt x="109662" y="17059"/>
                    </a:lnTo>
                    <a:cubicBezTo>
                      <a:pt x="109662" y="13213"/>
                      <a:pt x="105065" y="9946"/>
                      <a:pt x="99600" y="9946"/>
                    </a:cubicBezTo>
                    <a:cubicBezTo>
                      <a:pt x="94136" y="9946"/>
                      <a:pt x="89539" y="13213"/>
                      <a:pt x="89539" y="17059"/>
                    </a:cubicBezTo>
                    <a:lnTo>
                      <a:pt x="89539" y="33915"/>
                    </a:lnTo>
                    <a:cubicBezTo>
                      <a:pt x="89654" y="34638"/>
                      <a:pt x="89712" y="35361"/>
                      <a:pt x="89712" y="36112"/>
                    </a:cubicBezTo>
                    <a:lnTo>
                      <a:pt x="89712" y="111893"/>
                    </a:lnTo>
                    <a:cubicBezTo>
                      <a:pt x="89712" y="114611"/>
                      <a:pt x="87486" y="116837"/>
                      <a:pt x="84768" y="116837"/>
                    </a:cubicBezTo>
                    <a:cubicBezTo>
                      <a:pt x="82050" y="116837"/>
                      <a:pt x="79621" y="114611"/>
                      <a:pt x="79621" y="111893"/>
                    </a:cubicBezTo>
                    <a:lnTo>
                      <a:pt x="79621" y="35043"/>
                    </a:lnTo>
                    <a:cubicBezTo>
                      <a:pt x="78552" y="31920"/>
                      <a:pt x="73145" y="28364"/>
                      <a:pt x="67594" y="28364"/>
                    </a:cubicBezTo>
                    <a:cubicBezTo>
                      <a:pt x="61406" y="28364"/>
                      <a:pt x="55363" y="32787"/>
                      <a:pt x="55363" y="36083"/>
                    </a:cubicBezTo>
                    <a:lnTo>
                      <a:pt x="55797" y="139939"/>
                    </a:lnTo>
                    <a:cubicBezTo>
                      <a:pt x="55797" y="142165"/>
                      <a:pt x="54323" y="144131"/>
                      <a:pt x="52154" y="144739"/>
                    </a:cubicBezTo>
                    <a:cubicBezTo>
                      <a:pt x="49986" y="145317"/>
                      <a:pt x="47701" y="144392"/>
                      <a:pt x="46574" y="142454"/>
                    </a:cubicBezTo>
                    <a:lnTo>
                      <a:pt x="27896" y="110534"/>
                    </a:lnTo>
                    <a:cubicBezTo>
                      <a:pt x="25554" y="106516"/>
                      <a:pt x="19800" y="105504"/>
                      <a:pt x="15117" y="108250"/>
                    </a:cubicBezTo>
                    <a:cubicBezTo>
                      <a:pt x="10433" y="110997"/>
                      <a:pt x="8495" y="116519"/>
                      <a:pt x="10837" y="120509"/>
                    </a:cubicBezTo>
                    <a:lnTo>
                      <a:pt x="59700" y="203981"/>
                    </a:lnTo>
                    <a:cubicBezTo>
                      <a:pt x="59816" y="204213"/>
                      <a:pt x="59932" y="204444"/>
                      <a:pt x="60047" y="204675"/>
                    </a:cubicBezTo>
                    <a:cubicBezTo>
                      <a:pt x="63575" y="213638"/>
                      <a:pt x="69704" y="221676"/>
                      <a:pt x="77800" y="227950"/>
                    </a:cubicBezTo>
                    <a:cubicBezTo>
                      <a:pt x="78031" y="228124"/>
                      <a:pt x="78263" y="228355"/>
                      <a:pt x="78465" y="228586"/>
                    </a:cubicBezTo>
                    <a:lnTo>
                      <a:pt x="80662" y="231073"/>
                    </a:lnTo>
                    <a:cubicBezTo>
                      <a:pt x="81472" y="231969"/>
                      <a:pt x="81906" y="233155"/>
                      <a:pt x="81906" y="234340"/>
                    </a:cubicBezTo>
                    <a:lnTo>
                      <a:pt x="81906" y="295636"/>
                    </a:lnTo>
                    <a:cubicBezTo>
                      <a:pt x="81906" y="298382"/>
                      <a:pt x="79679" y="300580"/>
                      <a:pt x="76961" y="300580"/>
                    </a:cubicBezTo>
                    <a:cubicBezTo>
                      <a:pt x="74244" y="300580"/>
                      <a:pt x="72017" y="298354"/>
                      <a:pt x="72017" y="295636"/>
                    </a:cubicBezTo>
                    <a:lnTo>
                      <a:pt x="72017" y="236219"/>
                    </a:lnTo>
                    <a:lnTo>
                      <a:pt x="71381" y="235496"/>
                    </a:lnTo>
                    <a:cubicBezTo>
                      <a:pt x="62158" y="228239"/>
                      <a:pt x="55132" y="218987"/>
                      <a:pt x="50998" y="208665"/>
                    </a:cubicBezTo>
                    <a:lnTo>
                      <a:pt x="2337" y="125511"/>
                    </a:lnTo>
                    <a:cubicBezTo>
                      <a:pt x="-2752" y="116780"/>
                      <a:pt x="747" y="105214"/>
                      <a:pt x="10143" y="99692"/>
                    </a:cubicBezTo>
                    <a:cubicBezTo>
                      <a:pt x="19569" y="94199"/>
                      <a:pt x="31366" y="96830"/>
                      <a:pt x="36483" y="105533"/>
                    </a:cubicBezTo>
                    <a:lnTo>
                      <a:pt x="45880" y="121550"/>
                    </a:lnTo>
                    <a:lnTo>
                      <a:pt x="45533" y="36083"/>
                    </a:lnTo>
                    <a:cubicBezTo>
                      <a:pt x="45533" y="25993"/>
                      <a:pt x="57214" y="18447"/>
                      <a:pt x="67680" y="18447"/>
                    </a:cubicBezTo>
                    <a:cubicBezTo>
                      <a:pt x="71757" y="18447"/>
                      <a:pt x="76036" y="19603"/>
                      <a:pt x="79708" y="21598"/>
                    </a:cubicBezTo>
                    <a:lnTo>
                      <a:pt x="79708" y="17030"/>
                    </a:lnTo>
                    <a:cubicBezTo>
                      <a:pt x="79708" y="7633"/>
                      <a:pt x="88671" y="0"/>
                      <a:pt x="99658" y="0"/>
                    </a:cubicBezTo>
                    <a:cubicBezTo>
                      <a:pt x="110674" y="0"/>
                      <a:pt x="119608" y="7633"/>
                      <a:pt x="119608" y="17030"/>
                    </a:cubicBezTo>
                    <a:lnTo>
                      <a:pt x="119608" y="18071"/>
                    </a:lnTo>
                    <a:cubicBezTo>
                      <a:pt x="123367" y="15671"/>
                      <a:pt x="127848" y="14167"/>
                      <a:pt x="132359" y="14167"/>
                    </a:cubicBezTo>
                    <a:cubicBezTo>
                      <a:pt x="143375" y="14167"/>
                      <a:pt x="152309" y="21800"/>
                      <a:pt x="152309" y="31197"/>
                    </a:cubicBezTo>
                    <a:lnTo>
                      <a:pt x="152309" y="39582"/>
                    </a:lnTo>
                    <a:cubicBezTo>
                      <a:pt x="155749" y="37095"/>
                      <a:pt x="159826" y="35505"/>
                      <a:pt x="164076" y="35505"/>
                    </a:cubicBezTo>
                    <a:cubicBezTo>
                      <a:pt x="174832" y="35505"/>
                      <a:pt x="186224" y="45914"/>
                      <a:pt x="186224" y="55744"/>
                    </a:cubicBezTo>
                    <a:lnTo>
                      <a:pt x="186021" y="186402"/>
                    </a:lnTo>
                    <a:cubicBezTo>
                      <a:pt x="186108" y="204386"/>
                      <a:pt x="179429" y="220924"/>
                      <a:pt x="167170" y="232952"/>
                    </a:cubicBezTo>
                    <a:lnTo>
                      <a:pt x="167083" y="233068"/>
                    </a:lnTo>
                    <a:lnTo>
                      <a:pt x="167083" y="295664"/>
                    </a:lnTo>
                    <a:cubicBezTo>
                      <a:pt x="167026" y="298382"/>
                      <a:pt x="164799" y="300580"/>
                      <a:pt x="162081" y="300580"/>
                    </a:cubicBezTo>
                    <a:close/>
                  </a:path>
                </a:pathLst>
              </a:custGeom>
              <a:solidFill>
                <a:schemeClr val="tx2"/>
              </a:solidFill>
              <a:ln w="2890" cap="flat">
                <a:noFill/>
                <a:prstDash val="solid"/>
                <a:miter/>
              </a:ln>
            </p:spPr>
            <p:txBody>
              <a:bodyPr rtlCol="0" anchor="ctr"/>
              <a:lstStyle/>
              <a:p>
                <a:endParaRPr lang="en-GB" dirty="0"/>
              </a:p>
            </p:txBody>
          </p:sp>
          <p:sp>
            <p:nvSpPr>
              <p:cNvPr id="565" name="Freihandform: Form 564">
                <a:extLst>
                  <a:ext uri="{FF2B5EF4-FFF2-40B4-BE49-F238E27FC236}">
                    <a16:creationId xmlns:a16="http://schemas.microsoft.com/office/drawing/2014/main" id="{9FDDC401-E24F-4A08-9B2B-630FC3A48A78}"/>
                  </a:ext>
                </a:extLst>
              </p:cNvPr>
              <p:cNvSpPr/>
              <p:nvPr/>
            </p:nvSpPr>
            <p:spPr>
              <a:xfrm>
                <a:off x="5248869" y="3598500"/>
                <a:ext cx="135435" cy="216963"/>
              </a:xfrm>
              <a:custGeom>
                <a:avLst/>
                <a:gdLst>
                  <a:gd name="connsiteX0" fmla="*/ 116874 w 135435"/>
                  <a:gd name="connsiteY0" fmla="*/ 216934 h 216963"/>
                  <a:gd name="connsiteX1" fmla="*/ 111930 w 135435"/>
                  <a:gd name="connsiteY1" fmla="*/ 211990 h 216963"/>
                  <a:gd name="connsiteX2" fmla="*/ 111930 w 135435"/>
                  <a:gd name="connsiteY2" fmla="*/ 166279 h 216963"/>
                  <a:gd name="connsiteX3" fmla="*/ 112884 w 135435"/>
                  <a:gd name="connsiteY3" fmla="*/ 163359 h 216963"/>
                  <a:gd name="connsiteX4" fmla="*/ 113780 w 135435"/>
                  <a:gd name="connsiteY4" fmla="*/ 162115 h 216963"/>
                  <a:gd name="connsiteX5" fmla="*/ 114329 w 135435"/>
                  <a:gd name="connsiteY5" fmla="*/ 161479 h 216963"/>
                  <a:gd name="connsiteX6" fmla="*/ 125403 w 135435"/>
                  <a:gd name="connsiteY6" fmla="*/ 134214 h 216963"/>
                  <a:gd name="connsiteX7" fmla="*/ 125548 w 135435"/>
                  <a:gd name="connsiteY7" fmla="*/ 41143 h 216963"/>
                  <a:gd name="connsiteX8" fmla="*/ 118261 w 135435"/>
                  <a:gd name="connsiteY8" fmla="*/ 35216 h 216963"/>
                  <a:gd name="connsiteX9" fmla="*/ 111438 w 135435"/>
                  <a:gd name="connsiteY9" fmla="*/ 41288 h 216963"/>
                  <a:gd name="connsiteX10" fmla="*/ 111293 w 135435"/>
                  <a:gd name="connsiteY10" fmla="*/ 81130 h 216963"/>
                  <a:gd name="connsiteX11" fmla="*/ 106349 w 135435"/>
                  <a:gd name="connsiteY11" fmla="*/ 86074 h 216963"/>
                  <a:gd name="connsiteX12" fmla="*/ 102677 w 135435"/>
                  <a:gd name="connsiteY12" fmla="*/ 84600 h 216963"/>
                  <a:gd name="connsiteX13" fmla="*/ 101087 w 135435"/>
                  <a:gd name="connsiteY13" fmla="*/ 81072 h 216963"/>
                  <a:gd name="connsiteX14" fmla="*/ 101405 w 135435"/>
                  <a:gd name="connsiteY14" fmla="*/ 53258 h 216963"/>
                  <a:gd name="connsiteX15" fmla="*/ 101405 w 135435"/>
                  <a:gd name="connsiteY15" fmla="*/ 23680 h 216963"/>
                  <a:gd name="connsiteX16" fmla="*/ 95651 w 135435"/>
                  <a:gd name="connsiteY16" fmla="*/ 20037 h 216963"/>
                  <a:gd name="connsiteX17" fmla="*/ 88279 w 135435"/>
                  <a:gd name="connsiteY17" fmla="*/ 24894 h 216963"/>
                  <a:gd name="connsiteX18" fmla="*/ 88076 w 135435"/>
                  <a:gd name="connsiteY18" fmla="*/ 81448 h 216963"/>
                  <a:gd name="connsiteX19" fmla="*/ 83942 w 135435"/>
                  <a:gd name="connsiteY19" fmla="*/ 86305 h 216963"/>
                  <a:gd name="connsiteX20" fmla="*/ 78448 w 135435"/>
                  <a:gd name="connsiteY20" fmla="*/ 83067 h 216963"/>
                  <a:gd name="connsiteX21" fmla="*/ 78072 w 135435"/>
                  <a:gd name="connsiteY21" fmla="*/ 81159 h 216963"/>
                  <a:gd name="connsiteX22" fmla="*/ 78072 w 135435"/>
                  <a:gd name="connsiteY22" fmla="*/ 13618 h 216963"/>
                  <a:gd name="connsiteX23" fmla="*/ 72319 w 135435"/>
                  <a:gd name="connsiteY23" fmla="*/ 9975 h 216963"/>
                  <a:gd name="connsiteX24" fmla="*/ 66565 w 135435"/>
                  <a:gd name="connsiteY24" fmla="*/ 13618 h 216963"/>
                  <a:gd name="connsiteX25" fmla="*/ 66565 w 135435"/>
                  <a:gd name="connsiteY25" fmla="*/ 25530 h 216963"/>
                  <a:gd name="connsiteX26" fmla="*/ 66681 w 135435"/>
                  <a:gd name="connsiteY26" fmla="*/ 27178 h 216963"/>
                  <a:gd name="connsiteX27" fmla="*/ 66681 w 135435"/>
                  <a:gd name="connsiteY27" fmla="*/ 81130 h 216963"/>
                  <a:gd name="connsiteX28" fmla="*/ 61736 w 135435"/>
                  <a:gd name="connsiteY28" fmla="*/ 86074 h 216963"/>
                  <a:gd name="connsiteX29" fmla="*/ 56648 w 135435"/>
                  <a:gd name="connsiteY29" fmla="*/ 81130 h 216963"/>
                  <a:gd name="connsiteX30" fmla="*/ 56648 w 135435"/>
                  <a:gd name="connsiteY30" fmla="*/ 26658 h 216963"/>
                  <a:gd name="connsiteX31" fmla="*/ 49506 w 135435"/>
                  <a:gd name="connsiteY31" fmla="*/ 23073 h 216963"/>
                  <a:gd name="connsiteX32" fmla="*/ 42220 w 135435"/>
                  <a:gd name="connsiteY32" fmla="*/ 27149 h 216963"/>
                  <a:gd name="connsiteX33" fmla="*/ 42538 w 135435"/>
                  <a:gd name="connsiteY33" fmla="*/ 101109 h 216963"/>
                  <a:gd name="connsiteX34" fmla="*/ 38895 w 135435"/>
                  <a:gd name="connsiteY34" fmla="*/ 105908 h 216963"/>
                  <a:gd name="connsiteX35" fmla="*/ 33315 w 135435"/>
                  <a:gd name="connsiteY35" fmla="*/ 103624 h 216963"/>
                  <a:gd name="connsiteX36" fmla="*/ 20015 w 135435"/>
                  <a:gd name="connsiteY36" fmla="*/ 80899 h 216963"/>
                  <a:gd name="connsiteX37" fmla="*/ 12845 w 135435"/>
                  <a:gd name="connsiteY37" fmla="*/ 79771 h 216963"/>
                  <a:gd name="connsiteX38" fmla="*/ 10329 w 135435"/>
                  <a:gd name="connsiteY38" fmla="*/ 86566 h 216963"/>
                  <a:gd name="connsiteX39" fmla="*/ 45112 w 135435"/>
                  <a:gd name="connsiteY39" fmla="*/ 146011 h 216963"/>
                  <a:gd name="connsiteX40" fmla="*/ 45458 w 135435"/>
                  <a:gd name="connsiteY40" fmla="*/ 146705 h 216963"/>
                  <a:gd name="connsiteX41" fmla="*/ 57660 w 135435"/>
                  <a:gd name="connsiteY41" fmla="*/ 162693 h 216963"/>
                  <a:gd name="connsiteX42" fmla="*/ 58354 w 135435"/>
                  <a:gd name="connsiteY42" fmla="*/ 163330 h 216963"/>
                  <a:gd name="connsiteX43" fmla="*/ 59915 w 135435"/>
                  <a:gd name="connsiteY43" fmla="*/ 165093 h 216963"/>
                  <a:gd name="connsiteX44" fmla="*/ 61158 w 135435"/>
                  <a:gd name="connsiteY44" fmla="*/ 168361 h 216963"/>
                  <a:gd name="connsiteX45" fmla="*/ 61158 w 135435"/>
                  <a:gd name="connsiteY45" fmla="*/ 212019 h 216963"/>
                  <a:gd name="connsiteX46" fmla="*/ 56214 w 135435"/>
                  <a:gd name="connsiteY46" fmla="*/ 216963 h 216963"/>
                  <a:gd name="connsiteX47" fmla="*/ 51270 w 135435"/>
                  <a:gd name="connsiteY47" fmla="*/ 212019 h 216963"/>
                  <a:gd name="connsiteX48" fmla="*/ 51241 w 135435"/>
                  <a:gd name="connsiteY48" fmla="*/ 170211 h 216963"/>
                  <a:gd name="connsiteX49" fmla="*/ 36438 w 135435"/>
                  <a:gd name="connsiteY49" fmla="*/ 150695 h 216963"/>
                  <a:gd name="connsiteX50" fmla="*/ 1858 w 135435"/>
                  <a:gd name="connsiteY50" fmla="*/ 91568 h 216963"/>
                  <a:gd name="connsiteX51" fmla="*/ 7929 w 135435"/>
                  <a:gd name="connsiteY51" fmla="*/ 71242 h 216963"/>
                  <a:gd name="connsiteX52" fmla="*/ 28631 w 135435"/>
                  <a:gd name="connsiteY52" fmla="*/ 75897 h 216963"/>
                  <a:gd name="connsiteX53" fmla="*/ 32650 w 135435"/>
                  <a:gd name="connsiteY53" fmla="*/ 82720 h 216963"/>
                  <a:gd name="connsiteX54" fmla="*/ 32419 w 135435"/>
                  <a:gd name="connsiteY54" fmla="*/ 27149 h 216963"/>
                  <a:gd name="connsiteX55" fmla="*/ 49622 w 135435"/>
                  <a:gd name="connsiteY55" fmla="*/ 13155 h 216963"/>
                  <a:gd name="connsiteX56" fmla="*/ 56763 w 135435"/>
                  <a:gd name="connsiteY56" fmla="*/ 14601 h 216963"/>
                  <a:gd name="connsiteX57" fmla="*/ 56763 w 135435"/>
                  <a:gd name="connsiteY57" fmla="*/ 13560 h 216963"/>
                  <a:gd name="connsiteX58" fmla="*/ 72405 w 135435"/>
                  <a:gd name="connsiteY58" fmla="*/ 0 h 216963"/>
                  <a:gd name="connsiteX59" fmla="*/ 87932 w 135435"/>
                  <a:gd name="connsiteY59" fmla="*/ 11941 h 216963"/>
                  <a:gd name="connsiteX60" fmla="*/ 95680 w 135435"/>
                  <a:gd name="connsiteY60" fmla="*/ 10062 h 216963"/>
                  <a:gd name="connsiteX61" fmla="*/ 111322 w 135435"/>
                  <a:gd name="connsiteY61" fmla="*/ 23593 h 216963"/>
                  <a:gd name="connsiteX62" fmla="*/ 111322 w 135435"/>
                  <a:gd name="connsiteY62" fmla="*/ 27034 h 216963"/>
                  <a:gd name="connsiteX63" fmla="*/ 118261 w 135435"/>
                  <a:gd name="connsiteY63" fmla="*/ 25241 h 216963"/>
                  <a:gd name="connsiteX64" fmla="*/ 135436 w 135435"/>
                  <a:gd name="connsiteY64" fmla="*/ 41085 h 216963"/>
                  <a:gd name="connsiteX65" fmla="*/ 135291 w 135435"/>
                  <a:gd name="connsiteY65" fmla="*/ 134128 h 216963"/>
                  <a:gd name="connsiteX66" fmla="*/ 121818 w 135435"/>
                  <a:gd name="connsiteY66" fmla="*/ 167927 h 216963"/>
                  <a:gd name="connsiteX67" fmla="*/ 121818 w 135435"/>
                  <a:gd name="connsiteY67" fmla="*/ 211932 h 216963"/>
                  <a:gd name="connsiteX68" fmla="*/ 116874 w 135435"/>
                  <a:gd name="connsiteY68" fmla="*/ 216934 h 216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35435" h="216963">
                    <a:moveTo>
                      <a:pt x="116874" y="216934"/>
                    </a:moveTo>
                    <a:cubicBezTo>
                      <a:pt x="114156" y="216934"/>
                      <a:pt x="111930" y="214708"/>
                      <a:pt x="111930" y="211990"/>
                    </a:cubicBezTo>
                    <a:lnTo>
                      <a:pt x="111930" y="166279"/>
                    </a:lnTo>
                    <a:cubicBezTo>
                      <a:pt x="111930" y="165238"/>
                      <a:pt x="112276" y="164197"/>
                      <a:pt x="112884" y="163359"/>
                    </a:cubicBezTo>
                    <a:lnTo>
                      <a:pt x="113780" y="162115"/>
                    </a:lnTo>
                    <a:cubicBezTo>
                      <a:pt x="113953" y="161884"/>
                      <a:pt x="114127" y="161682"/>
                      <a:pt x="114329" y="161479"/>
                    </a:cubicBezTo>
                    <a:cubicBezTo>
                      <a:pt x="121529" y="154540"/>
                      <a:pt x="125432" y="144854"/>
                      <a:pt x="125403" y="134214"/>
                    </a:cubicBezTo>
                    <a:lnTo>
                      <a:pt x="125548" y="41143"/>
                    </a:lnTo>
                    <a:cubicBezTo>
                      <a:pt x="125548" y="39380"/>
                      <a:pt x="121731" y="35216"/>
                      <a:pt x="118261" y="35216"/>
                    </a:cubicBezTo>
                    <a:cubicBezTo>
                      <a:pt x="114936" y="35216"/>
                      <a:pt x="111438" y="39408"/>
                      <a:pt x="111438" y="41288"/>
                    </a:cubicBezTo>
                    <a:lnTo>
                      <a:pt x="111293" y="81130"/>
                    </a:lnTo>
                    <a:cubicBezTo>
                      <a:pt x="111293" y="83848"/>
                      <a:pt x="109067" y="86074"/>
                      <a:pt x="106349" y="86074"/>
                    </a:cubicBezTo>
                    <a:cubicBezTo>
                      <a:pt x="105019" y="86074"/>
                      <a:pt x="103603" y="85554"/>
                      <a:pt x="102677" y="84600"/>
                    </a:cubicBezTo>
                    <a:cubicBezTo>
                      <a:pt x="101752" y="83645"/>
                      <a:pt x="101058" y="82373"/>
                      <a:pt x="101087" y="81072"/>
                    </a:cubicBezTo>
                    <a:lnTo>
                      <a:pt x="101405" y="53258"/>
                    </a:lnTo>
                    <a:lnTo>
                      <a:pt x="101405" y="23680"/>
                    </a:lnTo>
                    <a:cubicBezTo>
                      <a:pt x="101405" y="21974"/>
                      <a:pt x="98948" y="20037"/>
                      <a:pt x="95651" y="20037"/>
                    </a:cubicBezTo>
                    <a:cubicBezTo>
                      <a:pt x="91980" y="20037"/>
                      <a:pt x="88279" y="23362"/>
                      <a:pt x="88279" y="24894"/>
                    </a:cubicBezTo>
                    <a:lnTo>
                      <a:pt x="88076" y="81448"/>
                    </a:lnTo>
                    <a:cubicBezTo>
                      <a:pt x="88076" y="83848"/>
                      <a:pt x="86313" y="85900"/>
                      <a:pt x="83942" y="86305"/>
                    </a:cubicBezTo>
                    <a:cubicBezTo>
                      <a:pt x="81571" y="86739"/>
                      <a:pt x="79258" y="85322"/>
                      <a:pt x="78448" y="83067"/>
                    </a:cubicBezTo>
                    <a:cubicBezTo>
                      <a:pt x="78275" y="82547"/>
                      <a:pt x="78072" y="81708"/>
                      <a:pt x="78072" y="81159"/>
                    </a:cubicBezTo>
                    <a:lnTo>
                      <a:pt x="78072" y="13618"/>
                    </a:lnTo>
                    <a:cubicBezTo>
                      <a:pt x="78072" y="11883"/>
                      <a:pt x="75701" y="9975"/>
                      <a:pt x="72319" y="9975"/>
                    </a:cubicBezTo>
                    <a:cubicBezTo>
                      <a:pt x="68936" y="9975"/>
                      <a:pt x="66565" y="11883"/>
                      <a:pt x="66565" y="13618"/>
                    </a:cubicBezTo>
                    <a:lnTo>
                      <a:pt x="66565" y="25530"/>
                    </a:lnTo>
                    <a:cubicBezTo>
                      <a:pt x="66652" y="26079"/>
                      <a:pt x="66681" y="26600"/>
                      <a:pt x="66681" y="27178"/>
                    </a:cubicBezTo>
                    <a:lnTo>
                      <a:pt x="66681" y="81130"/>
                    </a:lnTo>
                    <a:cubicBezTo>
                      <a:pt x="66681" y="83848"/>
                      <a:pt x="64454" y="86074"/>
                      <a:pt x="61736" y="86074"/>
                    </a:cubicBezTo>
                    <a:cubicBezTo>
                      <a:pt x="59019" y="86074"/>
                      <a:pt x="56648" y="83848"/>
                      <a:pt x="56648" y="81130"/>
                    </a:cubicBezTo>
                    <a:lnTo>
                      <a:pt x="56648" y="26658"/>
                    </a:lnTo>
                    <a:cubicBezTo>
                      <a:pt x="55983" y="25241"/>
                      <a:pt x="52889" y="23073"/>
                      <a:pt x="49506" y="23073"/>
                    </a:cubicBezTo>
                    <a:cubicBezTo>
                      <a:pt x="45661" y="23073"/>
                      <a:pt x="42220" y="25848"/>
                      <a:pt x="42220" y="27149"/>
                    </a:cubicBezTo>
                    <a:lnTo>
                      <a:pt x="42538" y="101109"/>
                    </a:lnTo>
                    <a:cubicBezTo>
                      <a:pt x="42538" y="103335"/>
                      <a:pt x="41064" y="105301"/>
                      <a:pt x="38895" y="105908"/>
                    </a:cubicBezTo>
                    <a:cubicBezTo>
                      <a:pt x="36727" y="106487"/>
                      <a:pt x="34443" y="105561"/>
                      <a:pt x="33315" y="103624"/>
                    </a:cubicBezTo>
                    <a:lnTo>
                      <a:pt x="20015" y="80899"/>
                    </a:lnTo>
                    <a:cubicBezTo>
                      <a:pt x="18743" y="78730"/>
                      <a:pt x="15533" y="78210"/>
                      <a:pt x="12845" y="79771"/>
                    </a:cubicBezTo>
                    <a:cubicBezTo>
                      <a:pt x="10185" y="81332"/>
                      <a:pt x="9057" y="84368"/>
                      <a:pt x="10329" y="86566"/>
                    </a:cubicBezTo>
                    <a:lnTo>
                      <a:pt x="45112" y="146011"/>
                    </a:lnTo>
                    <a:cubicBezTo>
                      <a:pt x="45227" y="146242"/>
                      <a:pt x="45343" y="146473"/>
                      <a:pt x="45458" y="146705"/>
                    </a:cubicBezTo>
                    <a:cubicBezTo>
                      <a:pt x="47858" y="152834"/>
                      <a:pt x="52080" y="158357"/>
                      <a:pt x="57660" y="162693"/>
                    </a:cubicBezTo>
                    <a:cubicBezTo>
                      <a:pt x="57920" y="162896"/>
                      <a:pt x="58151" y="163098"/>
                      <a:pt x="58354" y="163330"/>
                    </a:cubicBezTo>
                    <a:lnTo>
                      <a:pt x="59915" y="165093"/>
                    </a:lnTo>
                    <a:cubicBezTo>
                      <a:pt x="60725" y="165990"/>
                      <a:pt x="61158" y="167146"/>
                      <a:pt x="61158" y="168361"/>
                    </a:cubicBezTo>
                    <a:lnTo>
                      <a:pt x="61158" y="212019"/>
                    </a:lnTo>
                    <a:cubicBezTo>
                      <a:pt x="61158" y="214766"/>
                      <a:pt x="58932" y="216963"/>
                      <a:pt x="56214" y="216963"/>
                    </a:cubicBezTo>
                    <a:cubicBezTo>
                      <a:pt x="53467" y="216963"/>
                      <a:pt x="51270" y="214737"/>
                      <a:pt x="51270" y="212019"/>
                    </a:cubicBezTo>
                    <a:lnTo>
                      <a:pt x="51241" y="170211"/>
                    </a:lnTo>
                    <a:cubicBezTo>
                      <a:pt x="44562" y="164920"/>
                      <a:pt x="39445" y="158212"/>
                      <a:pt x="36438" y="150695"/>
                    </a:cubicBezTo>
                    <a:lnTo>
                      <a:pt x="1858" y="91568"/>
                    </a:lnTo>
                    <a:cubicBezTo>
                      <a:pt x="-2161" y="84686"/>
                      <a:pt x="557" y="75550"/>
                      <a:pt x="7929" y="71242"/>
                    </a:cubicBezTo>
                    <a:cubicBezTo>
                      <a:pt x="15302" y="66934"/>
                      <a:pt x="24612" y="69015"/>
                      <a:pt x="28631" y="75897"/>
                    </a:cubicBezTo>
                    <a:lnTo>
                      <a:pt x="32650" y="82720"/>
                    </a:lnTo>
                    <a:lnTo>
                      <a:pt x="32419" y="27149"/>
                    </a:lnTo>
                    <a:cubicBezTo>
                      <a:pt x="32419" y="19140"/>
                      <a:pt x="41497" y="13155"/>
                      <a:pt x="49622" y="13155"/>
                    </a:cubicBezTo>
                    <a:cubicBezTo>
                      <a:pt x="51993" y="13155"/>
                      <a:pt x="54479" y="13676"/>
                      <a:pt x="56763" y="14601"/>
                    </a:cubicBezTo>
                    <a:lnTo>
                      <a:pt x="56763" y="13560"/>
                    </a:lnTo>
                    <a:cubicBezTo>
                      <a:pt x="56763" y="6101"/>
                      <a:pt x="63789" y="0"/>
                      <a:pt x="72405" y="0"/>
                    </a:cubicBezTo>
                    <a:cubicBezTo>
                      <a:pt x="80414" y="0"/>
                      <a:pt x="87035" y="5233"/>
                      <a:pt x="87932" y="11941"/>
                    </a:cubicBezTo>
                    <a:cubicBezTo>
                      <a:pt x="90331" y="10756"/>
                      <a:pt x="93020" y="10062"/>
                      <a:pt x="95680" y="10062"/>
                    </a:cubicBezTo>
                    <a:cubicBezTo>
                      <a:pt x="104296" y="10062"/>
                      <a:pt x="111322" y="16133"/>
                      <a:pt x="111322" y="23593"/>
                    </a:cubicBezTo>
                    <a:lnTo>
                      <a:pt x="111322" y="27034"/>
                    </a:lnTo>
                    <a:cubicBezTo>
                      <a:pt x="113520" y="25906"/>
                      <a:pt x="115891" y="25241"/>
                      <a:pt x="118261" y="25241"/>
                    </a:cubicBezTo>
                    <a:cubicBezTo>
                      <a:pt x="126617" y="25241"/>
                      <a:pt x="135436" y="33395"/>
                      <a:pt x="135436" y="41085"/>
                    </a:cubicBezTo>
                    <a:lnTo>
                      <a:pt x="135291" y="134128"/>
                    </a:lnTo>
                    <a:cubicBezTo>
                      <a:pt x="135349" y="147138"/>
                      <a:pt x="130578" y="159137"/>
                      <a:pt x="121818" y="167927"/>
                    </a:cubicBezTo>
                    <a:lnTo>
                      <a:pt x="121818" y="211932"/>
                    </a:lnTo>
                    <a:cubicBezTo>
                      <a:pt x="121847" y="214737"/>
                      <a:pt x="119620" y="216934"/>
                      <a:pt x="116874" y="216934"/>
                    </a:cubicBezTo>
                    <a:close/>
                  </a:path>
                </a:pathLst>
              </a:custGeom>
              <a:solidFill>
                <a:schemeClr val="tx2"/>
              </a:solidFill>
              <a:ln w="2890" cap="flat">
                <a:noFill/>
                <a:prstDash val="solid"/>
                <a:miter/>
              </a:ln>
            </p:spPr>
            <p:txBody>
              <a:bodyPr rtlCol="0" anchor="ctr"/>
              <a:lstStyle/>
              <a:p>
                <a:endParaRPr lang="en-GB" dirty="0"/>
              </a:p>
            </p:txBody>
          </p:sp>
        </p:grpSp>
      </p:grpSp>
      <p:grpSp>
        <p:nvGrpSpPr>
          <p:cNvPr id="41" name="Group 40">
            <a:extLst>
              <a:ext uri="{FF2B5EF4-FFF2-40B4-BE49-F238E27FC236}">
                <a16:creationId xmlns:a16="http://schemas.microsoft.com/office/drawing/2014/main" id="{93063121-C7F3-EF4C-598B-D6CF419B53A9}"/>
              </a:ext>
            </a:extLst>
          </p:cNvPr>
          <p:cNvGrpSpPr/>
          <p:nvPr/>
        </p:nvGrpSpPr>
        <p:grpSpPr>
          <a:xfrm>
            <a:off x="5983435" y="3273397"/>
            <a:ext cx="550535" cy="432000"/>
            <a:chOff x="5983023" y="3273397"/>
            <a:chExt cx="550535" cy="432000"/>
          </a:xfrm>
        </p:grpSpPr>
        <p:grpSp>
          <p:nvGrpSpPr>
            <p:cNvPr id="567" name="Grafik 53">
              <a:extLst>
                <a:ext uri="{FF2B5EF4-FFF2-40B4-BE49-F238E27FC236}">
                  <a16:creationId xmlns:a16="http://schemas.microsoft.com/office/drawing/2014/main" id="{2935735F-A894-4AAF-B2FC-CE93C74E5C42}"/>
                </a:ext>
              </a:extLst>
            </p:cNvPr>
            <p:cNvGrpSpPr/>
            <p:nvPr/>
          </p:nvGrpSpPr>
          <p:grpSpPr>
            <a:xfrm>
              <a:off x="6250776" y="3533949"/>
              <a:ext cx="175756" cy="114854"/>
              <a:chOff x="6417038" y="3631401"/>
              <a:chExt cx="207507" cy="135603"/>
            </a:xfrm>
            <a:solidFill>
              <a:schemeClr val="accent1"/>
            </a:solidFill>
          </p:grpSpPr>
          <p:sp>
            <p:nvSpPr>
              <p:cNvPr id="588" name="Freihandform: Form 587">
                <a:extLst>
                  <a:ext uri="{FF2B5EF4-FFF2-40B4-BE49-F238E27FC236}">
                    <a16:creationId xmlns:a16="http://schemas.microsoft.com/office/drawing/2014/main" id="{F90C9177-70F9-4AFB-ABBF-69EC8309F653}"/>
                  </a:ext>
                </a:extLst>
              </p:cNvPr>
              <p:cNvSpPr/>
              <p:nvPr/>
            </p:nvSpPr>
            <p:spPr>
              <a:xfrm>
                <a:off x="6431997" y="3738150"/>
                <a:ext cx="177554" cy="28855"/>
              </a:xfrm>
              <a:custGeom>
                <a:avLst/>
                <a:gdLst>
                  <a:gd name="connsiteX0" fmla="*/ 172611 w 177554"/>
                  <a:gd name="connsiteY0" fmla="*/ 28855 h 28855"/>
                  <a:gd name="connsiteX1" fmla="*/ 4944 w 177554"/>
                  <a:gd name="connsiteY1" fmla="*/ 28855 h 28855"/>
                  <a:gd name="connsiteX2" fmla="*/ 0 w 177554"/>
                  <a:gd name="connsiteY2" fmla="*/ 23911 h 28855"/>
                  <a:gd name="connsiteX3" fmla="*/ 0 w 177554"/>
                  <a:gd name="connsiteY3" fmla="*/ 4944 h 28855"/>
                  <a:gd name="connsiteX4" fmla="*/ 4944 w 177554"/>
                  <a:gd name="connsiteY4" fmla="*/ 0 h 28855"/>
                  <a:gd name="connsiteX5" fmla="*/ 9888 w 177554"/>
                  <a:gd name="connsiteY5" fmla="*/ 4944 h 28855"/>
                  <a:gd name="connsiteX6" fmla="*/ 9888 w 177554"/>
                  <a:gd name="connsiteY6" fmla="*/ 18938 h 28855"/>
                  <a:gd name="connsiteX7" fmla="*/ 167667 w 177554"/>
                  <a:gd name="connsiteY7" fmla="*/ 18938 h 28855"/>
                  <a:gd name="connsiteX8" fmla="*/ 167667 w 177554"/>
                  <a:gd name="connsiteY8" fmla="*/ 4944 h 28855"/>
                  <a:gd name="connsiteX9" fmla="*/ 172611 w 177554"/>
                  <a:gd name="connsiteY9" fmla="*/ 0 h 28855"/>
                  <a:gd name="connsiteX10" fmla="*/ 177555 w 177554"/>
                  <a:gd name="connsiteY10" fmla="*/ 4944 h 28855"/>
                  <a:gd name="connsiteX11" fmla="*/ 177555 w 177554"/>
                  <a:gd name="connsiteY11" fmla="*/ 23911 h 28855"/>
                  <a:gd name="connsiteX12" fmla="*/ 172611 w 177554"/>
                  <a:gd name="connsiteY12" fmla="*/ 28855 h 28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554" h="28855">
                    <a:moveTo>
                      <a:pt x="172611" y="28855"/>
                    </a:moveTo>
                    <a:lnTo>
                      <a:pt x="4944" y="28855"/>
                    </a:lnTo>
                    <a:cubicBezTo>
                      <a:pt x="2197" y="28855"/>
                      <a:pt x="0" y="26629"/>
                      <a:pt x="0" y="23911"/>
                    </a:cubicBezTo>
                    <a:lnTo>
                      <a:pt x="0" y="4944"/>
                    </a:lnTo>
                    <a:cubicBezTo>
                      <a:pt x="0" y="2226"/>
                      <a:pt x="2226" y="0"/>
                      <a:pt x="4944" y="0"/>
                    </a:cubicBezTo>
                    <a:cubicBezTo>
                      <a:pt x="7691" y="0"/>
                      <a:pt x="9888" y="2226"/>
                      <a:pt x="9888" y="4944"/>
                    </a:cubicBezTo>
                    <a:lnTo>
                      <a:pt x="9888" y="18938"/>
                    </a:lnTo>
                    <a:lnTo>
                      <a:pt x="167667" y="18938"/>
                    </a:lnTo>
                    <a:lnTo>
                      <a:pt x="167667" y="4944"/>
                    </a:lnTo>
                    <a:cubicBezTo>
                      <a:pt x="167667" y="2226"/>
                      <a:pt x="169893" y="0"/>
                      <a:pt x="172611" y="0"/>
                    </a:cubicBezTo>
                    <a:cubicBezTo>
                      <a:pt x="175357" y="0"/>
                      <a:pt x="177555" y="2226"/>
                      <a:pt x="177555" y="4944"/>
                    </a:cubicBezTo>
                    <a:lnTo>
                      <a:pt x="177555" y="23911"/>
                    </a:lnTo>
                    <a:cubicBezTo>
                      <a:pt x="177555" y="26658"/>
                      <a:pt x="175329" y="28855"/>
                      <a:pt x="172611" y="28855"/>
                    </a:cubicBezTo>
                    <a:close/>
                  </a:path>
                </a:pathLst>
              </a:custGeom>
              <a:solidFill>
                <a:schemeClr val="accent1"/>
              </a:solidFill>
              <a:ln w="2890" cap="flat">
                <a:noFill/>
                <a:prstDash val="solid"/>
                <a:miter/>
              </a:ln>
            </p:spPr>
            <p:txBody>
              <a:bodyPr rtlCol="0" anchor="ctr"/>
              <a:lstStyle/>
              <a:p>
                <a:endParaRPr lang="en-GB" dirty="0"/>
              </a:p>
            </p:txBody>
          </p:sp>
          <p:sp>
            <p:nvSpPr>
              <p:cNvPr id="589" name="Freihandform: Form 588">
                <a:extLst>
                  <a:ext uri="{FF2B5EF4-FFF2-40B4-BE49-F238E27FC236}">
                    <a16:creationId xmlns:a16="http://schemas.microsoft.com/office/drawing/2014/main" id="{3FD5EC27-621B-441D-A14E-8BE146BCEEB3}"/>
                  </a:ext>
                </a:extLst>
              </p:cNvPr>
              <p:cNvSpPr/>
              <p:nvPr/>
            </p:nvSpPr>
            <p:spPr>
              <a:xfrm>
                <a:off x="6417038" y="3631401"/>
                <a:ext cx="207507" cy="116281"/>
              </a:xfrm>
              <a:custGeom>
                <a:avLst/>
                <a:gdLst>
                  <a:gd name="connsiteX0" fmla="*/ 187541 w 207507"/>
                  <a:gd name="connsiteY0" fmla="*/ 116261 h 116281"/>
                  <a:gd name="connsiteX1" fmla="*/ 186760 w 207507"/>
                  <a:gd name="connsiteY1" fmla="*/ 116203 h 116281"/>
                  <a:gd name="connsiteX2" fmla="*/ 182655 w 207507"/>
                  <a:gd name="connsiteY2" fmla="*/ 110536 h 116281"/>
                  <a:gd name="connsiteX3" fmla="*/ 197545 w 207507"/>
                  <a:gd name="connsiteY3" fmla="*/ 16453 h 116281"/>
                  <a:gd name="connsiteX4" fmla="*/ 196533 w 207507"/>
                  <a:gd name="connsiteY4" fmla="*/ 12087 h 116281"/>
                  <a:gd name="connsiteX5" fmla="*/ 190635 w 207507"/>
                  <a:gd name="connsiteY5" fmla="*/ 10063 h 116281"/>
                  <a:gd name="connsiteX6" fmla="*/ 16463 w 207507"/>
                  <a:gd name="connsiteY6" fmla="*/ 10063 h 116281"/>
                  <a:gd name="connsiteX7" fmla="*/ 11258 w 207507"/>
                  <a:gd name="connsiteY7" fmla="*/ 11856 h 116281"/>
                  <a:gd name="connsiteX8" fmla="*/ 9899 w 207507"/>
                  <a:gd name="connsiteY8" fmla="*/ 16713 h 116281"/>
                  <a:gd name="connsiteX9" fmla="*/ 24761 w 207507"/>
                  <a:gd name="connsiteY9" fmla="*/ 110565 h 116281"/>
                  <a:gd name="connsiteX10" fmla="*/ 20655 w 207507"/>
                  <a:gd name="connsiteY10" fmla="*/ 116232 h 116281"/>
                  <a:gd name="connsiteX11" fmla="*/ 14988 w 207507"/>
                  <a:gd name="connsiteY11" fmla="*/ 112126 h 116281"/>
                  <a:gd name="connsiteX12" fmla="*/ 98 w 207507"/>
                  <a:gd name="connsiteY12" fmla="*/ 18043 h 116281"/>
                  <a:gd name="connsiteX13" fmla="*/ 3770 w 207507"/>
                  <a:gd name="connsiteY13" fmla="*/ 5408 h 116281"/>
                  <a:gd name="connsiteX14" fmla="*/ 16289 w 207507"/>
                  <a:gd name="connsiteY14" fmla="*/ 204 h 116281"/>
                  <a:gd name="connsiteX15" fmla="*/ 190982 w 207507"/>
                  <a:gd name="connsiteY15" fmla="*/ 204 h 116281"/>
                  <a:gd name="connsiteX16" fmla="*/ 204282 w 207507"/>
                  <a:gd name="connsiteY16" fmla="*/ 5958 h 116281"/>
                  <a:gd name="connsiteX17" fmla="*/ 207317 w 207507"/>
                  <a:gd name="connsiteY17" fmla="*/ 18159 h 116281"/>
                  <a:gd name="connsiteX18" fmla="*/ 192456 w 207507"/>
                  <a:gd name="connsiteY18" fmla="*/ 112126 h 116281"/>
                  <a:gd name="connsiteX19" fmla="*/ 187541 w 207507"/>
                  <a:gd name="connsiteY19" fmla="*/ 116261 h 116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7507" h="116281">
                    <a:moveTo>
                      <a:pt x="187541" y="116261"/>
                    </a:moveTo>
                    <a:cubicBezTo>
                      <a:pt x="187281" y="116261"/>
                      <a:pt x="187020" y="116232"/>
                      <a:pt x="186760" y="116203"/>
                    </a:cubicBezTo>
                    <a:cubicBezTo>
                      <a:pt x="184071" y="115769"/>
                      <a:pt x="182221" y="113225"/>
                      <a:pt x="182655" y="110536"/>
                    </a:cubicBezTo>
                    <a:lnTo>
                      <a:pt x="197545" y="16453"/>
                    </a:lnTo>
                    <a:cubicBezTo>
                      <a:pt x="197545" y="16395"/>
                      <a:pt x="197921" y="13764"/>
                      <a:pt x="196533" y="12087"/>
                    </a:cubicBezTo>
                    <a:cubicBezTo>
                      <a:pt x="195232" y="10526"/>
                      <a:pt x="192601" y="10121"/>
                      <a:pt x="190635" y="10063"/>
                    </a:cubicBezTo>
                    <a:cubicBezTo>
                      <a:pt x="179272" y="9687"/>
                      <a:pt x="23749" y="9919"/>
                      <a:pt x="16463" y="10063"/>
                    </a:cubicBezTo>
                    <a:cubicBezTo>
                      <a:pt x="14005" y="10121"/>
                      <a:pt x="12270" y="10699"/>
                      <a:pt x="11258" y="11856"/>
                    </a:cubicBezTo>
                    <a:cubicBezTo>
                      <a:pt x="9899" y="13388"/>
                      <a:pt x="9813" y="15875"/>
                      <a:pt x="9899" y="16713"/>
                    </a:cubicBezTo>
                    <a:lnTo>
                      <a:pt x="24761" y="110565"/>
                    </a:lnTo>
                    <a:cubicBezTo>
                      <a:pt x="25194" y="113254"/>
                      <a:pt x="23344" y="115798"/>
                      <a:pt x="20655" y="116232"/>
                    </a:cubicBezTo>
                    <a:cubicBezTo>
                      <a:pt x="17966" y="116608"/>
                      <a:pt x="15422" y="114815"/>
                      <a:pt x="14988" y="112126"/>
                    </a:cubicBezTo>
                    <a:lnTo>
                      <a:pt x="98" y="18043"/>
                    </a:lnTo>
                    <a:cubicBezTo>
                      <a:pt x="-18" y="17118"/>
                      <a:pt x="-654" y="10497"/>
                      <a:pt x="3770" y="5408"/>
                    </a:cubicBezTo>
                    <a:cubicBezTo>
                      <a:pt x="5765" y="3095"/>
                      <a:pt x="9581" y="349"/>
                      <a:pt x="16289" y="204"/>
                    </a:cubicBezTo>
                    <a:cubicBezTo>
                      <a:pt x="24067" y="59"/>
                      <a:pt x="178694" y="-172"/>
                      <a:pt x="190982" y="204"/>
                    </a:cubicBezTo>
                    <a:cubicBezTo>
                      <a:pt x="196909" y="406"/>
                      <a:pt x="201361" y="2344"/>
                      <a:pt x="204282" y="5958"/>
                    </a:cubicBezTo>
                    <a:cubicBezTo>
                      <a:pt x="208445" y="11104"/>
                      <a:pt x="207433" y="17436"/>
                      <a:pt x="207317" y="18159"/>
                    </a:cubicBezTo>
                    <a:lnTo>
                      <a:pt x="192456" y="112126"/>
                    </a:lnTo>
                    <a:cubicBezTo>
                      <a:pt x="192022" y="114526"/>
                      <a:pt x="189941" y="116261"/>
                      <a:pt x="187541" y="116261"/>
                    </a:cubicBezTo>
                    <a:close/>
                  </a:path>
                </a:pathLst>
              </a:custGeom>
              <a:solidFill>
                <a:schemeClr val="accent1"/>
              </a:solidFill>
              <a:ln w="2890" cap="flat">
                <a:noFill/>
                <a:prstDash val="solid"/>
                <a:miter/>
              </a:ln>
            </p:spPr>
            <p:txBody>
              <a:bodyPr rtlCol="0" anchor="ctr"/>
              <a:lstStyle/>
              <a:p>
                <a:endParaRPr lang="en-GB" dirty="0"/>
              </a:p>
            </p:txBody>
          </p:sp>
        </p:grpSp>
        <p:grpSp>
          <p:nvGrpSpPr>
            <p:cNvPr id="568" name="Group 1021">
              <a:extLst>
                <a:ext uri="{FF2B5EF4-FFF2-40B4-BE49-F238E27FC236}">
                  <a16:creationId xmlns:a16="http://schemas.microsoft.com/office/drawing/2014/main" id="{B0F69F7A-BE08-4F4C-A1EC-548C52BE2C1B}"/>
                </a:ext>
              </a:extLst>
            </p:cNvPr>
            <p:cNvGrpSpPr/>
            <p:nvPr/>
          </p:nvGrpSpPr>
          <p:grpSpPr>
            <a:xfrm>
              <a:off x="5983023" y="3273397"/>
              <a:ext cx="550535" cy="432000"/>
              <a:chOff x="6100914" y="3323778"/>
              <a:chExt cx="649993" cy="510044"/>
            </a:xfrm>
            <a:solidFill>
              <a:schemeClr val="tx2"/>
            </a:solidFill>
          </p:grpSpPr>
          <p:sp>
            <p:nvSpPr>
              <p:cNvPr id="569" name="Freihandform: Form 568">
                <a:extLst>
                  <a:ext uri="{FF2B5EF4-FFF2-40B4-BE49-F238E27FC236}">
                    <a16:creationId xmlns:a16="http://schemas.microsoft.com/office/drawing/2014/main" id="{007BEDFF-54A1-4A94-B0C6-4EA82D1D8859}"/>
                  </a:ext>
                </a:extLst>
              </p:cNvPr>
              <p:cNvSpPr/>
              <p:nvPr/>
            </p:nvSpPr>
            <p:spPr>
              <a:xfrm>
                <a:off x="6100914" y="3757117"/>
                <a:ext cx="649993" cy="9888"/>
              </a:xfrm>
              <a:custGeom>
                <a:avLst/>
                <a:gdLst>
                  <a:gd name="connsiteX0" fmla="*/ 645021 w 649993"/>
                  <a:gd name="connsiteY0" fmla="*/ 9888 h 9888"/>
                  <a:gd name="connsiteX1" fmla="*/ 4944 w 649993"/>
                  <a:gd name="connsiteY1" fmla="*/ 9888 h 9888"/>
                  <a:gd name="connsiteX2" fmla="*/ 0 w 649993"/>
                  <a:gd name="connsiteY2" fmla="*/ 4944 h 9888"/>
                  <a:gd name="connsiteX3" fmla="*/ 4944 w 649993"/>
                  <a:gd name="connsiteY3" fmla="*/ 0 h 9888"/>
                  <a:gd name="connsiteX4" fmla="*/ 645050 w 649993"/>
                  <a:gd name="connsiteY4" fmla="*/ 0 h 9888"/>
                  <a:gd name="connsiteX5" fmla="*/ 649994 w 649993"/>
                  <a:gd name="connsiteY5" fmla="*/ 4944 h 9888"/>
                  <a:gd name="connsiteX6" fmla="*/ 645021 w 649993"/>
                  <a:gd name="connsiteY6" fmla="*/ 9888 h 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9993" h="9888">
                    <a:moveTo>
                      <a:pt x="645021" y="9888"/>
                    </a:moveTo>
                    <a:lnTo>
                      <a:pt x="4944" y="9888"/>
                    </a:lnTo>
                    <a:cubicBezTo>
                      <a:pt x="2197" y="9888"/>
                      <a:pt x="0" y="7662"/>
                      <a:pt x="0" y="4944"/>
                    </a:cubicBezTo>
                    <a:cubicBezTo>
                      <a:pt x="0" y="2197"/>
                      <a:pt x="2226" y="0"/>
                      <a:pt x="4944" y="0"/>
                    </a:cubicBezTo>
                    <a:lnTo>
                      <a:pt x="645050" y="0"/>
                    </a:lnTo>
                    <a:cubicBezTo>
                      <a:pt x="647796" y="0"/>
                      <a:pt x="649994" y="2226"/>
                      <a:pt x="649994" y="4944"/>
                    </a:cubicBezTo>
                    <a:cubicBezTo>
                      <a:pt x="649994" y="7691"/>
                      <a:pt x="647767" y="9888"/>
                      <a:pt x="645021" y="9888"/>
                    </a:cubicBezTo>
                    <a:close/>
                  </a:path>
                </a:pathLst>
              </a:custGeom>
              <a:grpFill/>
              <a:ln w="2890" cap="flat">
                <a:noFill/>
                <a:prstDash val="solid"/>
                <a:miter/>
              </a:ln>
            </p:spPr>
            <p:txBody>
              <a:bodyPr rtlCol="0" anchor="ctr"/>
              <a:lstStyle/>
              <a:p>
                <a:endParaRPr lang="en-GB" dirty="0"/>
              </a:p>
            </p:txBody>
          </p:sp>
          <p:sp>
            <p:nvSpPr>
              <p:cNvPr id="570" name="Freihandform: Form 569">
                <a:extLst>
                  <a:ext uri="{FF2B5EF4-FFF2-40B4-BE49-F238E27FC236}">
                    <a16:creationId xmlns:a16="http://schemas.microsoft.com/office/drawing/2014/main" id="{F0E42920-ACBE-4E85-B473-EF01DF216343}"/>
                  </a:ext>
                </a:extLst>
              </p:cNvPr>
              <p:cNvSpPr/>
              <p:nvPr/>
            </p:nvSpPr>
            <p:spPr>
              <a:xfrm>
                <a:off x="6153709" y="3757146"/>
                <a:ext cx="49470" cy="75867"/>
              </a:xfrm>
              <a:custGeom>
                <a:avLst/>
                <a:gdLst>
                  <a:gd name="connsiteX0" fmla="*/ 44526 w 49470"/>
                  <a:gd name="connsiteY0" fmla="*/ 75868 h 75867"/>
                  <a:gd name="connsiteX1" fmla="*/ 39582 w 49470"/>
                  <a:gd name="connsiteY1" fmla="*/ 70924 h 75867"/>
                  <a:gd name="connsiteX2" fmla="*/ 39582 w 49470"/>
                  <a:gd name="connsiteY2" fmla="*/ 9888 h 75867"/>
                  <a:gd name="connsiteX3" fmla="*/ 9888 w 49470"/>
                  <a:gd name="connsiteY3" fmla="*/ 9888 h 75867"/>
                  <a:gd name="connsiteX4" fmla="*/ 9888 w 49470"/>
                  <a:gd name="connsiteY4" fmla="*/ 70924 h 75867"/>
                  <a:gd name="connsiteX5" fmla="*/ 4944 w 49470"/>
                  <a:gd name="connsiteY5" fmla="*/ 75868 h 75867"/>
                  <a:gd name="connsiteX6" fmla="*/ 0 w 49470"/>
                  <a:gd name="connsiteY6" fmla="*/ 70924 h 75867"/>
                  <a:gd name="connsiteX7" fmla="*/ 0 w 49470"/>
                  <a:gd name="connsiteY7" fmla="*/ 4944 h 75867"/>
                  <a:gd name="connsiteX8" fmla="*/ 4944 w 49470"/>
                  <a:gd name="connsiteY8" fmla="*/ 0 h 75867"/>
                  <a:gd name="connsiteX9" fmla="*/ 44526 w 49470"/>
                  <a:gd name="connsiteY9" fmla="*/ 0 h 75867"/>
                  <a:gd name="connsiteX10" fmla="*/ 49470 w 49470"/>
                  <a:gd name="connsiteY10" fmla="*/ 4944 h 75867"/>
                  <a:gd name="connsiteX11" fmla="*/ 49470 w 49470"/>
                  <a:gd name="connsiteY11" fmla="*/ 70924 h 75867"/>
                  <a:gd name="connsiteX12" fmla="*/ 44526 w 49470"/>
                  <a:gd name="connsiteY12" fmla="*/ 75868 h 7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70" h="75867">
                    <a:moveTo>
                      <a:pt x="44526" y="75868"/>
                    </a:moveTo>
                    <a:cubicBezTo>
                      <a:pt x="41779" y="75868"/>
                      <a:pt x="39582" y="73641"/>
                      <a:pt x="39582" y="70924"/>
                    </a:cubicBezTo>
                    <a:lnTo>
                      <a:pt x="39582" y="9888"/>
                    </a:lnTo>
                    <a:lnTo>
                      <a:pt x="9888" y="9888"/>
                    </a:lnTo>
                    <a:lnTo>
                      <a:pt x="9888" y="70924"/>
                    </a:lnTo>
                    <a:cubicBezTo>
                      <a:pt x="9888" y="73670"/>
                      <a:pt x="7662" y="75868"/>
                      <a:pt x="4944" y="75868"/>
                    </a:cubicBezTo>
                    <a:cubicBezTo>
                      <a:pt x="2197" y="75868"/>
                      <a:pt x="0" y="73641"/>
                      <a:pt x="0" y="70924"/>
                    </a:cubicBezTo>
                    <a:lnTo>
                      <a:pt x="0" y="4944"/>
                    </a:lnTo>
                    <a:cubicBezTo>
                      <a:pt x="0" y="2197"/>
                      <a:pt x="2226" y="0"/>
                      <a:pt x="4944" y="0"/>
                    </a:cubicBezTo>
                    <a:lnTo>
                      <a:pt x="44526" y="0"/>
                    </a:lnTo>
                    <a:cubicBezTo>
                      <a:pt x="47273" y="0"/>
                      <a:pt x="49470" y="2226"/>
                      <a:pt x="49470" y="4944"/>
                    </a:cubicBezTo>
                    <a:lnTo>
                      <a:pt x="49470" y="70924"/>
                    </a:lnTo>
                    <a:cubicBezTo>
                      <a:pt x="49470" y="73641"/>
                      <a:pt x="47273" y="75868"/>
                      <a:pt x="44526" y="75868"/>
                    </a:cubicBezTo>
                    <a:close/>
                  </a:path>
                </a:pathLst>
              </a:custGeom>
              <a:grpFill/>
              <a:ln w="2890" cap="flat">
                <a:noFill/>
                <a:prstDash val="solid"/>
                <a:miter/>
              </a:ln>
            </p:spPr>
            <p:txBody>
              <a:bodyPr rtlCol="0" anchor="ctr"/>
              <a:lstStyle/>
              <a:p>
                <a:endParaRPr lang="en-GB" dirty="0"/>
              </a:p>
            </p:txBody>
          </p:sp>
          <p:sp>
            <p:nvSpPr>
              <p:cNvPr id="571" name="Freihandform: Form 570">
                <a:extLst>
                  <a:ext uri="{FF2B5EF4-FFF2-40B4-BE49-F238E27FC236}">
                    <a16:creationId xmlns:a16="http://schemas.microsoft.com/office/drawing/2014/main" id="{106D7DF4-FA9D-4E15-B496-CAEC52E0B20F}"/>
                  </a:ext>
                </a:extLst>
              </p:cNvPr>
              <p:cNvSpPr/>
              <p:nvPr/>
            </p:nvSpPr>
            <p:spPr>
              <a:xfrm>
                <a:off x="6649452" y="3757955"/>
                <a:ext cx="49470" cy="75867"/>
              </a:xfrm>
              <a:custGeom>
                <a:avLst/>
                <a:gdLst>
                  <a:gd name="connsiteX0" fmla="*/ 44526 w 49470"/>
                  <a:gd name="connsiteY0" fmla="*/ 75868 h 75867"/>
                  <a:gd name="connsiteX1" fmla="*/ 39582 w 49470"/>
                  <a:gd name="connsiteY1" fmla="*/ 70924 h 75867"/>
                  <a:gd name="connsiteX2" fmla="*/ 39582 w 49470"/>
                  <a:gd name="connsiteY2" fmla="*/ 9888 h 75867"/>
                  <a:gd name="connsiteX3" fmla="*/ 9888 w 49470"/>
                  <a:gd name="connsiteY3" fmla="*/ 9888 h 75867"/>
                  <a:gd name="connsiteX4" fmla="*/ 9888 w 49470"/>
                  <a:gd name="connsiteY4" fmla="*/ 70924 h 75867"/>
                  <a:gd name="connsiteX5" fmla="*/ 4944 w 49470"/>
                  <a:gd name="connsiteY5" fmla="*/ 75868 h 75867"/>
                  <a:gd name="connsiteX6" fmla="*/ 0 w 49470"/>
                  <a:gd name="connsiteY6" fmla="*/ 70924 h 75867"/>
                  <a:gd name="connsiteX7" fmla="*/ 0 w 49470"/>
                  <a:gd name="connsiteY7" fmla="*/ 4944 h 75867"/>
                  <a:gd name="connsiteX8" fmla="*/ 4944 w 49470"/>
                  <a:gd name="connsiteY8" fmla="*/ 0 h 75867"/>
                  <a:gd name="connsiteX9" fmla="*/ 44526 w 49470"/>
                  <a:gd name="connsiteY9" fmla="*/ 0 h 75867"/>
                  <a:gd name="connsiteX10" fmla="*/ 49470 w 49470"/>
                  <a:gd name="connsiteY10" fmla="*/ 4944 h 75867"/>
                  <a:gd name="connsiteX11" fmla="*/ 49470 w 49470"/>
                  <a:gd name="connsiteY11" fmla="*/ 70924 h 75867"/>
                  <a:gd name="connsiteX12" fmla="*/ 44526 w 49470"/>
                  <a:gd name="connsiteY12" fmla="*/ 75868 h 758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9470" h="75867">
                    <a:moveTo>
                      <a:pt x="44526" y="75868"/>
                    </a:moveTo>
                    <a:cubicBezTo>
                      <a:pt x="41779" y="75868"/>
                      <a:pt x="39582" y="73642"/>
                      <a:pt x="39582" y="70924"/>
                    </a:cubicBezTo>
                    <a:lnTo>
                      <a:pt x="39582" y="9888"/>
                    </a:lnTo>
                    <a:lnTo>
                      <a:pt x="9888" y="9888"/>
                    </a:lnTo>
                    <a:lnTo>
                      <a:pt x="9888" y="70924"/>
                    </a:lnTo>
                    <a:cubicBezTo>
                      <a:pt x="9888" y="73671"/>
                      <a:pt x="7662" y="75868"/>
                      <a:pt x="4944" y="75868"/>
                    </a:cubicBezTo>
                    <a:cubicBezTo>
                      <a:pt x="2197" y="75868"/>
                      <a:pt x="0" y="73642"/>
                      <a:pt x="0" y="70924"/>
                    </a:cubicBezTo>
                    <a:lnTo>
                      <a:pt x="0" y="4944"/>
                    </a:lnTo>
                    <a:cubicBezTo>
                      <a:pt x="0" y="2197"/>
                      <a:pt x="2226" y="0"/>
                      <a:pt x="4944" y="0"/>
                    </a:cubicBezTo>
                    <a:lnTo>
                      <a:pt x="44526" y="0"/>
                    </a:lnTo>
                    <a:cubicBezTo>
                      <a:pt x="47273" y="0"/>
                      <a:pt x="49470" y="2226"/>
                      <a:pt x="49470" y="4944"/>
                    </a:cubicBezTo>
                    <a:lnTo>
                      <a:pt x="49470" y="70924"/>
                    </a:lnTo>
                    <a:cubicBezTo>
                      <a:pt x="49470" y="73642"/>
                      <a:pt x="47273" y="75868"/>
                      <a:pt x="44526" y="75868"/>
                    </a:cubicBezTo>
                    <a:close/>
                  </a:path>
                </a:pathLst>
              </a:custGeom>
              <a:grpFill/>
              <a:ln w="2890" cap="flat">
                <a:noFill/>
                <a:prstDash val="solid"/>
                <a:miter/>
              </a:ln>
            </p:spPr>
            <p:txBody>
              <a:bodyPr rtlCol="0" anchor="ctr"/>
              <a:lstStyle/>
              <a:p>
                <a:endParaRPr lang="en-GB" dirty="0"/>
              </a:p>
            </p:txBody>
          </p:sp>
          <p:sp>
            <p:nvSpPr>
              <p:cNvPr id="572" name="Freihandform: Form 571">
                <a:extLst>
                  <a:ext uri="{FF2B5EF4-FFF2-40B4-BE49-F238E27FC236}">
                    <a16:creationId xmlns:a16="http://schemas.microsoft.com/office/drawing/2014/main" id="{0097B1DF-7380-49C7-AC37-98468BE44F8A}"/>
                  </a:ext>
                </a:extLst>
              </p:cNvPr>
              <p:cNvSpPr/>
              <p:nvPr/>
            </p:nvSpPr>
            <p:spPr>
              <a:xfrm>
                <a:off x="6120719" y="3724098"/>
                <a:ext cx="128691" cy="42906"/>
              </a:xfrm>
              <a:custGeom>
                <a:avLst/>
                <a:gdLst>
                  <a:gd name="connsiteX0" fmla="*/ 123719 w 128691"/>
                  <a:gd name="connsiteY0" fmla="*/ 42907 h 42906"/>
                  <a:gd name="connsiteX1" fmla="*/ 4944 w 128691"/>
                  <a:gd name="connsiteY1" fmla="*/ 42907 h 42906"/>
                  <a:gd name="connsiteX2" fmla="*/ 0 w 128691"/>
                  <a:gd name="connsiteY2" fmla="*/ 37963 h 42906"/>
                  <a:gd name="connsiteX3" fmla="*/ 0 w 128691"/>
                  <a:gd name="connsiteY3" fmla="*/ 22032 h 42906"/>
                  <a:gd name="connsiteX4" fmla="*/ 22032 w 128691"/>
                  <a:gd name="connsiteY4" fmla="*/ 0 h 42906"/>
                  <a:gd name="connsiteX5" fmla="*/ 106660 w 128691"/>
                  <a:gd name="connsiteY5" fmla="*/ 0 h 42906"/>
                  <a:gd name="connsiteX6" fmla="*/ 128692 w 128691"/>
                  <a:gd name="connsiteY6" fmla="*/ 22032 h 42906"/>
                  <a:gd name="connsiteX7" fmla="*/ 128692 w 128691"/>
                  <a:gd name="connsiteY7" fmla="*/ 37963 h 42906"/>
                  <a:gd name="connsiteX8" fmla="*/ 123719 w 128691"/>
                  <a:gd name="connsiteY8" fmla="*/ 42907 h 42906"/>
                  <a:gd name="connsiteX9" fmla="*/ 9888 w 128691"/>
                  <a:gd name="connsiteY9" fmla="*/ 33019 h 42906"/>
                  <a:gd name="connsiteX10" fmla="*/ 118775 w 128691"/>
                  <a:gd name="connsiteY10" fmla="*/ 33019 h 42906"/>
                  <a:gd name="connsiteX11" fmla="*/ 118775 w 128691"/>
                  <a:gd name="connsiteY11" fmla="*/ 22032 h 42906"/>
                  <a:gd name="connsiteX12" fmla="*/ 106660 w 128691"/>
                  <a:gd name="connsiteY12" fmla="*/ 9917 h 42906"/>
                  <a:gd name="connsiteX13" fmla="*/ 22032 w 128691"/>
                  <a:gd name="connsiteY13" fmla="*/ 9917 h 42906"/>
                  <a:gd name="connsiteX14" fmla="*/ 9917 w 128691"/>
                  <a:gd name="connsiteY14" fmla="*/ 22032 h 42906"/>
                  <a:gd name="connsiteX15" fmla="*/ 9917 w 128691"/>
                  <a:gd name="connsiteY15" fmla="*/ 33019 h 42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8691" h="42906">
                    <a:moveTo>
                      <a:pt x="123719" y="42907"/>
                    </a:moveTo>
                    <a:lnTo>
                      <a:pt x="4944" y="42907"/>
                    </a:lnTo>
                    <a:cubicBezTo>
                      <a:pt x="2197" y="42907"/>
                      <a:pt x="0" y="40681"/>
                      <a:pt x="0" y="37963"/>
                    </a:cubicBezTo>
                    <a:lnTo>
                      <a:pt x="0" y="22032"/>
                    </a:lnTo>
                    <a:cubicBezTo>
                      <a:pt x="0" y="9888"/>
                      <a:pt x="9888" y="0"/>
                      <a:pt x="22032" y="0"/>
                    </a:cubicBezTo>
                    <a:lnTo>
                      <a:pt x="106660" y="0"/>
                    </a:lnTo>
                    <a:cubicBezTo>
                      <a:pt x="118804" y="0"/>
                      <a:pt x="128692" y="9888"/>
                      <a:pt x="128692" y="22032"/>
                    </a:cubicBezTo>
                    <a:lnTo>
                      <a:pt x="128692" y="37963"/>
                    </a:lnTo>
                    <a:cubicBezTo>
                      <a:pt x="128663" y="40709"/>
                      <a:pt x="126437" y="42907"/>
                      <a:pt x="123719" y="42907"/>
                    </a:cubicBezTo>
                    <a:close/>
                    <a:moveTo>
                      <a:pt x="9888" y="33019"/>
                    </a:moveTo>
                    <a:lnTo>
                      <a:pt x="118775" y="33019"/>
                    </a:lnTo>
                    <a:lnTo>
                      <a:pt x="118775" y="22032"/>
                    </a:lnTo>
                    <a:cubicBezTo>
                      <a:pt x="118775" y="15353"/>
                      <a:pt x="113339" y="9917"/>
                      <a:pt x="106660" y="9917"/>
                    </a:cubicBezTo>
                    <a:lnTo>
                      <a:pt x="22032" y="9917"/>
                    </a:lnTo>
                    <a:cubicBezTo>
                      <a:pt x="15353" y="9917"/>
                      <a:pt x="9917" y="15353"/>
                      <a:pt x="9917" y="22032"/>
                    </a:cubicBezTo>
                    <a:lnTo>
                      <a:pt x="9917" y="33019"/>
                    </a:lnTo>
                    <a:close/>
                  </a:path>
                </a:pathLst>
              </a:custGeom>
              <a:grpFill/>
              <a:ln w="2890" cap="flat">
                <a:noFill/>
                <a:prstDash val="solid"/>
                <a:miter/>
              </a:ln>
            </p:spPr>
            <p:txBody>
              <a:bodyPr rtlCol="0" anchor="ctr"/>
              <a:lstStyle/>
              <a:p>
                <a:endParaRPr lang="en-GB" dirty="0"/>
              </a:p>
            </p:txBody>
          </p:sp>
          <p:grpSp>
            <p:nvGrpSpPr>
              <p:cNvPr id="573" name="Grafik 53">
                <a:extLst>
                  <a:ext uri="{FF2B5EF4-FFF2-40B4-BE49-F238E27FC236}">
                    <a16:creationId xmlns:a16="http://schemas.microsoft.com/office/drawing/2014/main" id="{D8B0340A-7F29-4E14-AD49-27F93EE3176D}"/>
                  </a:ext>
                </a:extLst>
              </p:cNvPr>
              <p:cNvGrpSpPr/>
              <p:nvPr/>
            </p:nvGrpSpPr>
            <p:grpSpPr>
              <a:xfrm>
                <a:off x="6142106" y="3450642"/>
                <a:ext cx="186476" cy="280626"/>
                <a:chOff x="6142106" y="3450642"/>
                <a:chExt cx="186476" cy="280626"/>
              </a:xfrm>
              <a:grpFill/>
            </p:grpSpPr>
            <p:sp>
              <p:nvSpPr>
                <p:cNvPr id="583" name="Freihandform: Form 582">
                  <a:extLst>
                    <a:ext uri="{FF2B5EF4-FFF2-40B4-BE49-F238E27FC236}">
                      <a16:creationId xmlns:a16="http://schemas.microsoft.com/office/drawing/2014/main" id="{132F4718-A051-4826-B9D7-6E193FF8476C}"/>
                    </a:ext>
                  </a:extLst>
                </p:cNvPr>
                <p:cNvSpPr/>
                <p:nvPr/>
              </p:nvSpPr>
              <p:spPr>
                <a:xfrm>
                  <a:off x="6146696" y="3486583"/>
                  <a:ext cx="77778" cy="110933"/>
                </a:xfrm>
                <a:custGeom>
                  <a:avLst/>
                  <a:gdLst>
                    <a:gd name="connsiteX0" fmla="*/ 4931 w 77778"/>
                    <a:gd name="connsiteY0" fmla="*/ 110934 h 110933"/>
                    <a:gd name="connsiteX1" fmla="*/ 2184 w 77778"/>
                    <a:gd name="connsiteY1" fmla="*/ 110095 h 110933"/>
                    <a:gd name="connsiteX2" fmla="*/ 825 w 77778"/>
                    <a:gd name="connsiteY2" fmla="*/ 103243 h 110933"/>
                    <a:gd name="connsiteX3" fmla="*/ 68713 w 77778"/>
                    <a:gd name="connsiteY3" fmla="*/ 2192 h 110933"/>
                    <a:gd name="connsiteX4" fmla="*/ 75595 w 77778"/>
                    <a:gd name="connsiteY4" fmla="*/ 833 h 110933"/>
                    <a:gd name="connsiteX5" fmla="*/ 76953 w 77778"/>
                    <a:gd name="connsiteY5" fmla="*/ 7685 h 110933"/>
                    <a:gd name="connsiteX6" fmla="*/ 9066 w 77778"/>
                    <a:gd name="connsiteY6" fmla="*/ 108736 h 110933"/>
                    <a:gd name="connsiteX7" fmla="*/ 4931 w 77778"/>
                    <a:gd name="connsiteY7" fmla="*/ 110934 h 110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778" h="110933">
                      <a:moveTo>
                        <a:pt x="4931" y="110934"/>
                      </a:moveTo>
                      <a:cubicBezTo>
                        <a:pt x="3977" y="110934"/>
                        <a:pt x="3023" y="110674"/>
                        <a:pt x="2184" y="110095"/>
                      </a:cubicBezTo>
                      <a:cubicBezTo>
                        <a:pt x="-71" y="108563"/>
                        <a:pt x="-678" y="105498"/>
                        <a:pt x="825" y="103243"/>
                      </a:cubicBezTo>
                      <a:lnTo>
                        <a:pt x="68713" y="2192"/>
                      </a:lnTo>
                      <a:cubicBezTo>
                        <a:pt x="70246" y="-92"/>
                        <a:pt x="73310" y="-670"/>
                        <a:pt x="75595" y="833"/>
                      </a:cubicBezTo>
                      <a:cubicBezTo>
                        <a:pt x="77850" y="2365"/>
                        <a:pt x="78457" y="5430"/>
                        <a:pt x="76953" y="7685"/>
                      </a:cubicBezTo>
                      <a:lnTo>
                        <a:pt x="9066" y="108736"/>
                      </a:lnTo>
                      <a:cubicBezTo>
                        <a:pt x="8083" y="110153"/>
                        <a:pt x="6521" y="110934"/>
                        <a:pt x="4931" y="110934"/>
                      </a:cubicBezTo>
                      <a:close/>
                    </a:path>
                  </a:pathLst>
                </a:custGeom>
                <a:grpFill/>
                <a:ln w="2890" cap="flat">
                  <a:noFill/>
                  <a:prstDash val="solid"/>
                  <a:miter/>
                </a:ln>
              </p:spPr>
              <p:txBody>
                <a:bodyPr rtlCol="0" anchor="ctr"/>
                <a:lstStyle/>
                <a:p>
                  <a:endParaRPr lang="en-GB" dirty="0"/>
                </a:p>
              </p:txBody>
            </p:sp>
            <p:sp>
              <p:nvSpPr>
                <p:cNvPr id="584" name="Freihandform: Form 583">
                  <a:extLst>
                    <a:ext uri="{FF2B5EF4-FFF2-40B4-BE49-F238E27FC236}">
                      <a16:creationId xmlns:a16="http://schemas.microsoft.com/office/drawing/2014/main" id="{2BF713F8-3744-4914-8A68-8387C3292846}"/>
                    </a:ext>
                  </a:extLst>
                </p:cNvPr>
                <p:cNvSpPr/>
                <p:nvPr/>
              </p:nvSpPr>
              <p:spPr>
                <a:xfrm>
                  <a:off x="6142106" y="3622084"/>
                  <a:ext cx="49806" cy="109184"/>
                </a:xfrm>
                <a:custGeom>
                  <a:avLst/>
                  <a:gdLst>
                    <a:gd name="connsiteX0" fmla="*/ 44853 w 49806"/>
                    <a:gd name="connsiteY0" fmla="*/ 109185 h 109184"/>
                    <a:gd name="connsiteX1" fmla="*/ 40256 w 49806"/>
                    <a:gd name="connsiteY1" fmla="*/ 106091 h 109184"/>
                    <a:gd name="connsiteX2" fmla="*/ 356 w 49806"/>
                    <a:gd name="connsiteY2" fmla="*/ 6804 h 109184"/>
                    <a:gd name="connsiteX3" fmla="*/ 3103 w 49806"/>
                    <a:gd name="connsiteY3" fmla="*/ 356 h 109184"/>
                    <a:gd name="connsiteX4" fmla="*/ 9551 w 49806"/>
                    <a:gd name="connsiteY4" fmla="*/ 3103 h 109184"/>
                    <a:gd name="connsiteX5" fmla="*/ 49451 w 49806"/>
                    <a:gd name="connsiteY5" fmla="*/ 102390 h 109184"/>
                    <a:gd name="connsiteX6" fmla="*/ 46704 w 49806"/>
                    <a:gd name="connsiteY6" fmla="*/ 108838 h 109184"/>
                    <a:gd name="connsiteX7" fmla="*/ 44853 w 49806"/>
                    <a:gd name="connsiteY7" fmla="*/ 109185 h 10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806" h="109184">
                      <a:moveTo>
                        <a:pt x="44853" y="109185"/>
                      </a:moveTo>
                      <a:cubicBezTo>
                        <a:pt x="42887" y="109185"/>
                        <a:pt x="41037" y="108000"/>
                        <a:pt x="40256" y="106091"/>
                      </a:cubicBezTo>
                      <a:lnTo>
                        <a:pt x="356" y="6804"/>
                      </a:lnTo>
                      <a:cubicBezTo>
                        <a:pt x="-656" y="4260"/>
                        <a:pt x="559" y="1397"/>
                        <a:pt x="3103" y="356"/>
                      </a:cubicBezTo>
                      <a:cubicBezTo>
                        <a:pt x="5618" y="-656"/>
                        <a:pt x="8510" y="559"/>
                        <a:pt x="9551" y="3103"/>
                      </a:cubicBezTo>
                      <a:lnTo>
                        <a:pt x="49451" y="102390"/>
                      </a:lnTo>
                      <a:cubicBezTo>
                        <a:pt x="50463" y="104935"/>
                        <a:pt x="49248" y="107797"/>
                        <a:pt x="46704" y="108838"/>
                      </a:cubicBezTo>
                      <a:cubicBezTo>
                        <a:pt x="46097" y="109069"/>
                        <a:pt x="45490" y="109185"/>
                        <a:pt x="44853" y="109185"/>
                      </a:cubicBezTo>
                      <a:close/>
                    </a:path>
                  </a:pathLst>
                </a:custGeom>
                <a:grpFill/>
                <a:ln w="2890" cap="flat">
                  <a:noFill/>
                  <a:prstDash val="solid"/>
                  <a:miter/>
                </a:ln>
              </p:spPr>
              <p:txBody>
                <a:bodyPr rtlCol="0" anchor="ctr"/>
                <a:lstStyle/>
                <a:p>
                  <a:endParaRPr lang="en-GB" dirty="0"/>
                </a:p>
              </p:txBody>
            </p:sp>
            <p:grpSp>
              <p:nvGrpSpPr>
                <p:cNvPr id="585" name="Grafik 53">
                  <a:extLst>
                    <a:ext uri="{FF2B5EF4-FFF2-40B4-BE49-F238E27FC236}">
                      <a16:creationId xmlns:a16="http://schemas.microsoft.com/office/drawing/2014/main" id="{273ECFE2-F5AA-4E66-91B7-8EF15B036C16}"/>
                    </a:ext>
                  </a:extLst>
                </p:cNvPr>
                <p:cNvGrpSpPr/>
                <p:nvPr/>
              </p:nvGrpSpPr>
              <p:grpSpPr>
                <a:xfrm>
                  <a:off x="6212761" y="3450642"/>
                  <a:ext cx="115821" cy="115793"/>
                  <a:chOff x="6212761" y="3450642"/>
                  <a:chExt cx="115821" cy="115793"/>
                </a:xfrm>
                <a:grpFill/>
              </p:grpSpPr>
              <p:sp>
                <p:nvSpPr>
                  <p:cNvPr id="586" name="Freihandform: Form 585">
                    <a:extLst>
                      <a:ext uri="{FF2B5EF4-FFF2-40B4-BE49-F238E27FC236}">
                        <a16:creationId xmlns:a16="http://schemas.microsoft.com/office/drawing/2014/main" id="{53F37F22-2572-4A9D-B63B-D75C2E9D6EC6}"/>
                      </a:ext>
                    </a:extLst>
                  </p:cNvPr>
                  <p:cNvSpPr/>
                  <p:nvPr/>
                </p:nvSpPr>
                <p:spPr>
                  <a:xfrm>
                    <a:off x="6218733" y="3456542"/>
                    <a:ext cx="109849" cy="109893"/>
                  </a:xfrm>
                  <a:custGeom>
                    <a:avLst/>
                    <a:gdLst>
                      <a:gd name="connsiteX0" fmla="*/ 20906 w 109849"/>
                      <a:gd name="connsiteY0" fmla="*/ 109893 h 109893"/>
                      <a:gd name="connsiteX1" fmla="*/ 20906 w 109849"/>
                      <a:gd name="connsiteY1" fmla="*/ 109893 h 109893"/>
                      <a:gd name="connsiteX2" fmla="*/ 17407 w 109849"/>
                      <a:gd name="connsiteY2" fmla="*/ 108448 h 109893"/>
                      <a:gd name="connsiteX3" fmla="*/ 19402 w 109849"/>
                      <a:gd name="connsiteY3" fmla="*/ 19454 h 109893"/>
                      <a:gd name="connsiteX4" fmla="*/ 64188 w 109849"/>
                      <a:gd name="connsiteY4" fmla="*/ 24 h 109893"/>
                      <a:gd name="connsiteX5" fmla="*/ 108396 w 109849"/>
                      <a:gd name="connsiteY5" fmla="*/ 17459 h 109893"/>
                      <a:gd name="connsiteX6" fmla="*/ 108396 w 109849"/>
                      <a:gd name="connsiteY6" fmla="*/ 24456 h 109893"/>
                      <a:gd name="connsiteX7" fmla="*/ 24404 w 109849"/>
                      <a:gd name="connsiteY7" fmla="*/ 108448 h 109893"/>
                      <a:gd name="connsiteX8" fmla="*/ 20906 w 109849"/>
                      <a:gd name="connsiteY8" fmla="*/ 109893 h 109893"/>
                      <a:gd name="connsiteX9" fmla="*/ 65750 w 109849"/>
                      <a:gd name="connsiteY9" fmla="*/ 9912 h 109893"/>
                      <a:gd name="connsiteX10" fmla="*/ 64420 w 109849"/>
                      <a:gd name="connsiteY10" fmla="*/ 9941 h 109893"/>
                      <a:gd name="connsiteX11" fmla="*/ 26399 w 109849"/>
                      <a:gd name="connsiteY11" fmla="*/ 26479 h 109893"/>
                      <a:gd name="connsiteX12" fmla="*/ 21079 w 109849"/>
                      <a:gd name="connsiteY12" fmla="*/ 97808 h 109893"/>
                      <a:gd name="connsiteX13" fmla="*/ 97728 w 109849"/>
                      <a:gd name="connsiteY13" fmla="*/ 21159 h 109893"/>
                      <a:gd name="connsiteX14" fmla="*/ 65750 w 109849"/>
                      <a:gd name="connsiteY14" fmla="*/ 9912 h 109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9849" h="109893">
                        <a:moveTo>
                          <a:pt x="20906" y="109893"/>
                        </a:moveTo>
                        <a:lnTo>
                          <a:pt x="20906" y="109893"/>
                        </a:lnTo>
                        <a:cubicBezTo>
                          <a:pt x="19605" y="109893"/>
                          <a:pt x="18332" y="109373"/>
                          <a:pt x="17407" y="108448"/>
                        </a:cubicBezTo>
                        <a:cubicBezTo>
                          <a:pt x="-6562" y="84450"/>
                          <a:pt x="-5665" y="44550"/>
                          <a:pt x="19402" y="19454"/>
                        </a:cubicBezTo>
                        <a:cubicBezTo>
                          <a:pt x="31517" y="7339"/>
                          <a:pt x="47419" y="429"/>
                          <a:pt x="64188" y="24"/>
                        </a:cubicBezTo>
                        <a:cubicBezTo>
                          <a:pt x="80958" y="-439"/>
                          <a:pt x="96744" y="5807"/>
                          <a:pt x="108396" y="17459"/>
                        </a:cubicBezTo>
                        <a:cubicBezTo>
                          <a:pt x="110334" y="19396"/>
                          <a:pt x="110334" y="22518"/>
                          <a:pt x="108396" y="24456"/>
                        </a:cubicBezTo>
                        <a:lnTo>
                          <a:pt x="24404" y="108448"/>
                        </a:lnTo>
                        <a:cubicBezTo>
                          <a:pt x="23479" y="109373"/>
                          <a:pt x="22207" y="109893"/>
                          <a:pt x="20906" y="109893"/>
                        </a:cubicBezTo>
                        <a:close/>
                        <a:moveTo>
                          <a:pt x="65750" y="9912"/>
                        </a:moveTo>
                        <a:cubicBezTo>
                          <a:pt x="65316" y="9912"/>
                          <a:pt x="64882" y="9912"/>
                          <a:pt x="64420" y="9941"/>
                        </a:cubicBezTo>
                        <a:cubicBezTo>
                          <a:pt x="50223" y="10288"/>
                          <a:pt x="36692" y="16157"/>
                          <a:pt x="26399" y="26479"/>
                        </a:cubicBezTo>
                        <a:cubicBezTo>
                          <a:pt x="6420" y="46458"/>
                          <a:pt x="4454" y="77453"/>
                          <a:pt x="21079" y="97808"/>
                        </a:cubicBezTo>
                        <a:lnTo>
                          <a:pt x="97728" y="21159"/>
                        </a:lnTo>
                        <a:cubicBezTo>
                          <a:pt x="88793" y="13844"/>
                          <a:pt x="77662" y="9912"/>
                          <a:pt x="65750" y="9912"/>
                        </a:cubicBezTo>
                        <a:close/>
                      </a:path>
                    </a:pathLst>
                  </a:custGeom>
                  <a:grpFill/>
                  <a:ln w="2890" cap="flat">
                    <a:noFill/>
                    <a:prstDash val="solid"/>
                    <a:miter/>
                  </a:ln>
                </p:spPr>
                <p:txBody>
                  <a:bodyPr rtlCol="0" anchor="ctr"/>
                  <a:lstStyle/>
                  <a:p>
                    <a:endParaRPr lang="en-GB" dirty="0"/>
                  </a:p>
                </p:txBody>
              </p:sp>
              <p:sp>
                <p:nvSpPr>
                  <p:cNvPr id="587" name="Freihandform: Form 586">
                    <a:extLst>
                      <a:ext uri="{FF2B5EF4-FFF2-40B4-BE49-F238E27FC236}">
                        <a16:creationId xmlns:a16="http://schemas.microsoft.com/office/drawing/2014/main" id="{BB391F16-7610-4B32-8359-0C4734653B9F}"/>
                      </a:ext>
                    </a:extLst>
                  </p:cNvPr>
                  <p:cNvSpPr/>
                  <p:nvPr/>
                </p:nvSpPr>
                <p:spPr>
                  <a:xfrm>
                    <a:off x="6212761" y="3450642"/>
                    <a:ext cx="47210" cy="47587"/>
                  </a:xfrm>
                  <a:custGeom>
                    <a:avLst/>
                    <a:gdLst>
                      <a:gd name="connsiteX0" fmla="*/ 17423 w 47210"/>
                      <a:gd name="connsiteY0" fmla="*/ 47588 h 47587"/>
                      <a:gd name="connsiteX1" fmla="*/ 13924 w 47210"/>
                      <a:gd name="connsiteY1" fmla="*/ 46142 h 47587"/>
                      <a:gd name="connsiteX2" fmla="*/ 4759 w 47210"/>
                      <a:gd name="connsiteY2" fmla="*/ 36977 h 47587"/>
                      <a:gd name="connsiteX3" fmla="*/ 9356 w 47210"/>
                      <a:gd name="connsiteY3" fmla="*/ 9365 h 47587"/>
                      <a:gd name="connsiteX4" fmla="*/ 36939 w 47210"/>
                      <a:gd name="connsiteY4" fmla="*/ 4768 h 47587"/>
                      <a:gd name="connsiteX5" fmla="*/ 45758 w 47210"/>
                      <a:gd name="connsiteY5" fmla="*/ 13586 h 47587"/>
                      <a:gd name="connsiteX6" fmla="*/ 45758 w 47210"/>
                      <a:gd name="connsiteY6" fmla="*/ 20583 h 47587"/>
                      <a:gd name="connsiteX7" fmla="*/ 38761 w 47210"/>
                      <a:gd name="connsiteY7" fmla="*/ 20583 h 47587"/>
                      <a:gd name="connsiteX8" fmla="*/ 29942 w 47210"/>
                      <a:gd name="connsiteY8" fmla="*/ 11765 h 47587"/>
                      <a:gd name="connsiteX9" fmla="*/ 16353 w 47210"/>
                      <a:gd name="connsiteY9" fmla="*/ 16362 h 47587"/>
                      <a:gd name="connsiteX10" fmla="*/ 11756 w 47210"/>
                      <a:gd name="connsiteY10" fmla="*/ 29980 h 47587"/>
                      <a:gd name="connsiteX11" fmla="*/ 20921 w 47210"/>
                      <a:gd name="connsiteY11" fmla="*/ 39145 h 47587"/>
                      <a:gd name="connsiteX12" fmla="*/ 20921 w 47210"/>
                      <a:gd name="connsiteY12" fmla="*/ 46142 h 47587"/>
                      <a:gd name="connsiteX13" fmla="*/ 17423 w 47210"/>
                      <a:gd name="connsiteY13" fmla="*/ 47588 h 47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7210" h="47587">
                        <a:moveTo>
                          <a:pt x="17423" y="47588"/>
                        </a:moveTo>
                        <a:cubicBezTo>
                          <a:pt x="16151" y="47588"/>
                          <a:pt x="14878" y="47096"/>
                          <a:pt x="13924" y="46142"/>
                        </a:cubicBezTo>
                        <a:lnTo>
                          <a:pt x="4759" y="36977"/>
                        </a:lnTo>
                        <a:cubicBezTo>
                          <a:pt x="-2874" y="29344"/>
                          <a:pt x="-1313" y="20063"/>
                          <a:pt x="9356" y="9365"/>
                        </a:cubicBezTo>
                        <a:cubicBezTo>
                          <a:pt x="20054" y="-1333"/>
                          <a:pt x="29306" y="-2865"/>
                          <a:pt x="36939" y="4768"/>
                        </a:cubicBezTo>
                        <a:lnTo>
                          <a:pt x="45758" y="13586"/>
                        </a:lnTo>
                        <a:cubicBezTo>
                          <a:pt x="47695" y="15523"/>
                          <a:pt x="47695" y="18646"/>
                          <a:pt x="45758" y="20583"/>
                        </a:cubicBezTo>
                        <a:cubicBezTo>
                          <a:pt x="43820" y="22520"/>
                          <a:pt x="40698" y="22520"/>
                          <a:pt x="38761" y="20583"/>
                        </a:cubicBezTo>
                        <a:lnTo>
                          <a:pt x="29942" y="11765"/>
                        </a:lnTo>
                        <a:cubicBezTo>
                          <a:pt x="28150" y="9972"/>
                          <a:pt x="25432" y="7283"/>
                          <a:pt x="16353" y="16362"/>
                        </a:cubicBezTo>
                        <a:cubicBezTo>
                          <a:pt x="7245" y="25469"/>
                          <a:pt x="9963" y="28187"/>
                          <a:pt x="11756" y="29980"/>
                        </a:cubicBezTo>
                        <a:lnTo>
                          <a:pt x="20921" y="39145"/>
                        </a:lnTo>
                        <a:cubicBezTo>
                          <a:pt x="22858" y="41082"/>
                          <a:pt x="22858" y="44205"/>
                          <a:pt x="20921" y="46142"/>
                        </a:cubicBezTo>
                        <a:cubicBezTo>
                          <a:pt x="19967" y="47096"/>
                          <a:pt x="18695" y="47588"/>
                          <a:pt x="17423" y="47588"/>
                        </a:cubicBezTo>
                        <a:close/>
                      </a:path>
                    </a:pathLst>
                  </a:custGeom>
                  <a:grpFill/>
                  <a:ln w="2890" cap="flat">
                    <a:noFill/>
                    <a:prstDash val="solid"/>
                    <a:miter/>
                  </a:ln>
                </p:spPr>
                <p:txBody>
                  <a:bodyPr rtlCol="0" anchor="ctr"/>
                  <a:lstStyle/>
                  <a:p>
                    <a:endParaRPr lang="en-GB" dirty="0"/>
                  </a:p>
                </p:txBody>
              </p:sp>
            </p:grpSp>
          </p:grpSp>
          <p:sp>
            <p:nvSpPr>
              <p:cNvPr id="574" name="Freihandform: Form 573">
                <a:extLst>
                  <a:ext uri="{FF2B5EF4-FFF2-40B4-BE49-F238E27FC236}">
                    <a16:creationId xmlns:a16="http://schemas.microsoft.com/office/drawing/2014/main" id="{7227E87E-B236-4E9A-8F49-383F92E10A22}"/>
                  </a:ext>
                </a:extLst>
              </p:cNvPr>
              <p:cNvSpPr/>
              <p:nvPr/>
            </p:nvSpPr>
            <p:spPr>
              <a:xfrm>
                <a:off x="6120690" y="3588033"/>
                <a:ext cx="43716" cy="43716"/>
              </a:xfrm>
              <a:custGeom>
                <a:avLst/>
                <a:gdLst>
                  <a:gd name="connsiteX0" fmla="*/ 21858 w 43716"/>
                  <a:gd name="connsiteY0" fmla="*/ 43716 h 43716"/>
                  <a:gd name="connsiteX1" fmla="*/ 0 w 43716"/>
                  <a:gd name="connsiteY1" fmla="*/ 21858 h 43716"/>
                  <a:gd name="connsiteX2" fmla="*/ 21858 w 43716"/>
                  <a:gd name="connsiteY2" fmla="*/ 0 h 43716"/>
                  <a:gd name="connsiteX3" fmla="*/ 43716 w 43716"/>
                  <a:gd name="connsiteY3" fmla="*/ 21858 h 43716"/>
                  <a:gd name="connsiteX4" fmla="*/ 21858 w 43716"/>
                  <a:gd name="connsiteY4" fmla="*/ 43716 h 43716"/>
                  <a:gd name="connsiteX5" fmla="*/ 21858 w 43716"/>
                  <a:gd name="connsiteY5" fmla="*/ 9888 h 43716"/>
                  <a:gd name="connsiteX6" fmla="*/ 9888 w 43716"/>
                  <a:gd name="connsiteY6" fmla="*/ 21858 h 43716"/>
                  <a:gd name="connsiteX7" fmla="*/ 21858 w 43716"/>
                  <a:gd name="connsiteY7" fmla="*/ 33828 h 43716"/>
                  <a:gd name="connsiteX8" fmla="*/ 33828 w 43716"/>
                  <a:gd name="connsiteY8" fmla="*/ 21858 h 43716"/>
                  <a:gd name="connsiteX9" fmla="*/ 21858 w 43716"/>
                  <a:gd name="connsiteY9" fmla="*/ 9888 h 43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716" h="43716">
                    <a:moveTo>
                      <a:pt x="21858" y="43716"/>
                    </a:moveTo>
                    <a:cubicBezTo>
                      <a:pt x="9802" y="43716"/>
                      <a:pt x="0" y="33915"/>
                      <a:pt x="0" y="21858"/>
                    </a:cubicBezTo>
                    <a:cubicBezTo>
                      <a:pt x="0" y="9801"/>
                      <a:pt x="9802" y="0"/>
                      <a:pt x="21858" y="0"/>
                    </a:cubicBezTo>
                    <a:cubicBezTo>
                      <a:pt x="33915" y="0"/>
                      <a:pt x="43716" y="9801"/>
                      <a:pt x="43716" y="21858"/>
                    </a:cubicBezTo>
                    <a:cubicBezTo>
                      <a:pt x="43716" y="33915"/>
                      <a:pt x="33915" y="43716"/>
                      <a:pt x="21858" y="43716"/>
                    </a:cubicBezTo>
                    <a:close/>
                    <a:moveTo>
                      <a:pt x="21858" y="9888"/>
                    </a:moveTo>
                    <a:cubicBezTo>
                      <a:pt x="15266" y="9888"/>
                      <a:pt x="9888" y="15266"/>
                      <a:pt x="9888" y="21858"/>
                    </a:cubicBezTo>
                    <a:cubicBezTo>
                      <a:pt x="9888" y="28450"/>
                      <a:pt x="15266" y="33828"/>
                      <a:pt x="21858" y="33828"/>
                    </a:cubicBezTo>
                    <a:cubicBezTo>
                      <a:pt x="28450" y="33828"/>
                      <a:pt x="33828" y="28450"/>
                      <a:pt x="33828" y="21858"/>
                    </a:cubicBezTo>
                    <a:cubicBezTo>
                      <a:pt x="33828" y="15266"/>
                      <a:pt x="28479" y="9888"/>
                      <a:pt x="21858" y="9888"/>
                    </a:cubicBezTo>
                    <a:close/>
                  </a:path>
                </a:pathLst>
              </a:custGeom>
              <a:grpFill/>
              <a:ln w="2890" cap="flat">
                <a:noFill/>
                <a:prstDash val="solid"/>
                <a:miter/>
              </a:ln>
            </p:spPr>
            <p:txBody>
              <a:bodyPr rtlCol="0" anchor="ctr"/>
              <a:lstStyle/>
              <a:p>
                <a:endParaRPr lang="en-GB" dirty="0"/>
              </a:p>
            </p:txBody>
          </p:sp>
          <p:grpSp>
            <p:nvGrpSpPr>
              <p:cNvPr id="575" name="Grafik 53">
                <a:extLst>
                  <a:ext uri="{FF2B5EF4-FFF2-40B4-BE49-F238E27FC236}">
                    <a16:creationId xmlns:a16="http://schemas.microsoft.com/office/drawing/2014/main" id="{A7DB0DA4-FE8D-4B7D-9246-156FD1BD66E5}"/>
                  </a:ext>
                </a:extLst>
              </p:cNvPr>
              <p:cNvGrpSpPr/>
              <p:nvPr/>
            </p:nvGrpSpPr>
            <p:grpSpPr>
              <a:xfrm>
                <a:off x="6377614" y="3323778"/>
                <a:ext cx="286436" cy="421281"/>
                <a:chOff x="6377614" y="3323778"/>
                <a:chExt cx="286436" cy="421281"/>
              </a:xfrm>
              <a:grpFill/>
            </p:grpSpPr>
            <p:sp>
              <p:nvSpPr>
                <p:cNvPr id="576" name="Freihandform: Form 575">
                  <a:extLst>
                    <a:ext uri="{FF2B5EF4-FFF2-40B4-BE49-F238E27FC236}">
                      <a16:creationId xmlns:a16="http://schemas.microsoft.com/office/drawing/2014/main" id="{43EABD77-BAD9-4D50-9586-92FC78D240D2}"/>
                    </a:ext>
                  </a:extLst>
                </p:cNvPr>
                <p:cNvSpPr/>
                <p:nvPr/>
              </p:nvSpPr>
              <p:spPr>
                <a:xfrm>
                  <a:off x="6492396" y="3582077"/>
                  <a:ext cx="61064" cy="41576"/>
                </a:xfrm>
                <a:custGeom>
                  <a:avLst/>
                  <a:gdLst>
                    <a:gd name="connsiteX0" fmla="*/ 30879 w 61064"/>
                    <a:gd name="connsiteY0" fmla="*/ 41577 h 41576"/>
                    <a:gd name="connsiteX1" fmla="*/ 30503 w 61064"/>
                    <a:gd name="connsiteY1" fmla="*/ 41548 h 41576"/>
                    <a:gd name="connsiteX2" fmla="*/ 29780 w 61064"/>
                    <a:gd name="connsiteY2" fmla="*/ 41548 h 41576"/>
                    <a:gd name="connsiteX3" fmla="*/ 29809 w 61064"/>
                    <a:gd name="connsiteY3" fmla="*/ 41432 h 41576"/>
                    <a:gd name="connsiteX4" fmla="*/ 10524 w 61064"/>
                    <a:gd name="connsiteY4" fmla="*/ 29896 h 41576"/>
                    <a:gd name="connsiteX5" fmla="*/ 0 w 61064"/>
                    <a:gd name="connsiteY5" fmla="*/ 11363 h 41576"/>
                    <a:gd name="connsiteX6" fmla="*/ 0 w 61064"/>
                    <a:gd name="connsiteY6" fmla="*/ 4944 h 41576"/>
                    <a:gd name="connsiteX7" fmla="*/ 4944 w 61064"/>
                    <a:gd name="connsiteY7" fmla="*/ 0 h 41576"/>
                    <a:gd name="connsiteX8" fmla="*/ 9888 w 61064"/>
                    <a:gd name="connsiteY8" fmla="*/ 4944 h 41576"/>
                    <a:gd name="connsiteX9" fmla="*/ 9888 w 61064"/>
                    <a:gd name="connsiteY9" fmla="*/ 11363 h 41576"/>
                    <a:gd name="connsiteX10" fmla="*/ 30532 w 61064"/>
                    <a:gd name="connsiteY10" fmla="*/ 31226 h 41576"/>
                    <a:gd name="connsiteX11" fmla="*/ 51176 w 61064"/>
                    <a:gd name="connsiteY11" fmla="*/ 11363 h 41576"/>
                    <a:gd name="connsiteX12" fmla="*/ 51176 w 61064"/>
                    <a:gd name="connsiteY12" fmla="*/ 4944 h 41576"/>
                    <a:gd name="connsiteX13" fmla="*/ 56120 w 61064"/>
                    <a:gd name="connsiteY13" fmla="*/ 0 h 41576"/>
                    <a:gd name="connsiteX14" fmla="*/ 61064 w 61064"/>
                    <a:gd name="connsiteY14" fmla="*/ 4944 h 41576"/>
                    <a:gd name="connsiteX15" fmla="*/ 61064 w 61064"/>
                    <a:gd name="connsiteY15" fmla="*/ 11363 h 41576"/>
                    <a:gd name="connsiteX16" fmla="*/ 50424 w 61064"/>
                    <a:gd name="connsiteY16" fmla="*/ 30012 h 41576"/>
                    <a:gd name="connsiteX17" fmla="*/ 31226 w 61064"/>
                    <a:gd name="connsiteY17" fmla="*/ 41461 h 41576"/>
                    <a:gd name="connsiteX18" fmla="*/ 31255 w 61064"/>
                    <a:gd name="connsiteY18" fmla="*/ 41577 h 41576"/>
                    <a:gd name="connsiteX19" fmla="*/ 30879 w 61064"/>
                    <a:gd name="connsiteY19" fmla="*/ 41577 h 41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064" h="41576">
                      <a:moveTo>
                        <a:pt x="30879" y="41577"/>
                      </a:moveTo>
                      <a:cubicBezTo>
                        <a:pt x="30764" y="41577"/>
                        <a:pt x="30648" y="41577"/>
                        <a:pt x="30503" y="41548"/>
                      </a:cubicBezTo>
                      <a:cubicBezTo>
                        <a:pt x="30243" y="41577"/>
                        <a:pt x="29983" y="41577"/>
                        <a:pt x="29780" y="41548"/>
                      </a:cubicBezTo>
                      <a:lnTo>
                        <a:pt x="29809" y="41432"/>
                      </a:lnTo>
                      <a:cubicBezTo>
                        <a:pt x="24952" y="40334"/>
                        <a:pt x="14283" y="33134"/>
                        <a:pt x="10524" y="29896"/>
                      </a:cubicBezTo>
                      <a:cubicBezTo>
                        <a:pt x="3556" y="23882"/>
                        <a:pt x="0" y="17637"/>
                        <a:pt x="0" y="11363"/>
                      </a:cubicBezTo>
                      <a:lnTo>
                        <a:pt x="0" y="4944"/>
                      </a:lnTo>
                      <a:cubicBezTo>
                        <a:pt x="0" y="2197"/>
                        <a:pt x="2226" y="0"/>
                        <a:pt x="4944" y="0"/>
                      </a:cubicBezTo>
                      <a:cubicBezTo>
                        <a:pt x="7691" y="0"/>
                        <a:pt x="9888" y="2226"/>
                        <a:pt x="9888" y="4944"/>
                      </a:cubicBezTo>
                      <a:lnTo>
                        <a:pt x="9888" y="11363"/>
                      </a:lnTo>
                      <a:cubicBezTo>
                        <a:pt x="9888" y="19140"/>
                        <a:pt x="23564" y="27814"/>
                        <a:pt x="30532" y="31226"/>
                      </a:cubicBezTo>
                      <a:cubicBezTo>
                        <a:pt x="37500" y="27814"/>
                        <a:pt x="51176" y="19140"/>
                        <a:pt x="51176" y="11363"/>
                      </a:cubicBezTo>
                      <a:lnTo>
                        <a:pt x="51176" y="4944"/>
                      </a:lnTo>
                      <a:cubicBezTo>
                        <a:pt x="51176" y="2197"/>
                        <a:pt x="53402" y="0"/>
                        <a:pt x="56120" y="0"/>
                      </a:cubicBezTo>
                      <a:cubicBezTo>
                        <a:pt x="58838" y="0"/>
                        <a:pt x="61064" y="2226"/>
                        <a:pt x="61064" y="4944"/>
                      </a:cubicBezTo>
                      <a:lnTo>
                        <a:pt x="61064" y="11363"/>
                      </a:lnTo>
                      <a:cubicBezTo>
                        <a:pt x="61064" y="17666"/>
                        <a:pt x="57479" y="23940"/>
                        <a:pt x="50424" y="30012"/>
                      </a:cubicBezTo>
                      <a:cubicBezTo>
                        <a:pt x="46666" y="33221"/>
                        <a:pt x="36055" y="40362"/>
                        <a:pt x="31226" y="41461"/>
                      </a:cubicBezTo>
                      <a:lnTo>
                        <a:pt x="31255" y="41577"/>
                      </a:lnTo>
                      <a:cubicBezTo>
                        <a:pt x="31139" y="41548"/>
                        <a:pt x="30995" y="41577"/>
                        <a:pt x="30879" y="41577"/>
                      </a:cubicBezTo>
                      <a:close/>
                    </a:path>
                  </a:pathLst>
                </a:custGeom>
                <a:grpFill/>
                <a:ln w="2890" cap="flat">
                  <a:noFill/>
                  <a:prstDash val="solid"/>
                  <a:miter/>
                </a:ln>
              </p:spPr>
              <p:txBody>
                <a:bodyPr rtlCol="0" anchor="ctr"/>
                <a:lstStyle/>
                <a:p>
                  <a:endParaRPr lang="en-GB" dirty="0"/>
                </a:p>
              </p:txBody>
            </p:sp>
            <p:sp>
              <p:nvSpPr>
                <p:cNvPr id="577" name="Freihandform: Form 576">
                  <a:extLst>
                    <a:ext uri="{FF2B5EF4-FFF2-40B4-BE49-F238E27FC236}">
                      <a16:creationId xmlns:a16="http://schemas.microsoft.com/office/drawing/2014/main" id="{0654B5E5-64D7-407C-8564-3C275558C3F8}"/>
                    </a:ext>
                  </a:extLst>
                </p:cNvPr>
                <p:cNvSpPr/>
                <p:nvPr/>
              </p:nvSpPr>
              <p:spPr>
                <a:xfrm>
                  <a:off x="6553294" y="3577242"/>
                  <a:ext cx="110756" cy="167818"/>
                </a:xfrm>
                <a:custGeom>
                  <a:avLst/>
                  <a:gdLst>
                    <a:gd name="connsiteX0" fmla="*/ 105786 w 110756"/>
                    <a:gd name="connsiteY0" fmla="*/ 167818 h 167818"/>
                    <a:gd name="connsiteX1" fmla="*/ 100900 w 110756"/>
                    <a:gd name="connsiteY1" fmla="*/ 163597 h 167818"/>
                    <a:gd name="connsiteX2" fmla="*/ 87744 w 110756"/>
                    <a:gd name="connsiteY2" fmla="*/ 75903 h 167818"/>
                    <a:gd name="connsiteX3" fmla="*/ 4099 w 110756"/>
                    <a:gd name="connsiteY3" fmla="*/ 9837 h 167818"/>
                    <a:gd name="connsiteX4" fmla="*/ 80 w 110756"/>
                    <a:gd name="connsiteY4" fmla="*/ 4113 h 167818"/>
                    <a:gd name="connsiteX5" fmla="*/ 5805 w 110756"/>
                    <a:gd name="connsiteY5" fmla="*/ 65 h 167818"/>
                    <a:gd name="connsiteX6" fmla="*/ 97546 w 110756"/>
                    <a:gd name="connsiteY6" fmla="*/ 74400 h 167818"/>
                    <a:gd name="connsiteX7" fmla="*/ 110701 w 110756"/>
                    <a:gd name="connsiteY7" fmla="*/ 162122 h 167818"/>
                    <a:gd name="connsiteX8" fmla="*/ 106538 w 110756"/>
                    <a:gd name="connsiteY8" fmla="*/ 167760 h 167818"/>
                    <a:gd name="connsiteX9" fmla="*/ 105786 w 110756"/>
                    <a:gd name="connsiteY9" fmla="*/ 167818 h 167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756" h="167818">
                      <a:moveTo>
                        <a:pt x="105786" y="167818"/>
                      </a:moveTo>
                      <a:cubicBezTo>
                        <a:pt x="103386" y="167818"/>
                        <a:pt x="101276" y="166054"/>
                        <a:pt x="100900" y="163597"/>
                      </a:cubicBezTo>
                      <a:lnTo>
                        <a:pt x="87744" y="75903"/>
                      </a:lnTo>
                      <a:cubicBezTo>
                        <a:pt x="80285" y="28110"/>
                        <a:pt x="55333" y="18714"/>
                        <a:pt x="4099" y="9837"/>
                      </a:cubicBezTo>
                      <a:cubicBezTo>
                        <a:pt x="1410" y="9375"/>
                        <a:pt x="-411" y="6801"/>
                        <a:pt x="80" y="4113"/>
                      </a:cubicBezTo>
                      <a:cubicBezTo>
                        <a:pt x="543" y="1424"/>
                        <a:pt x="3116" y="-369"/>
                        <a:pt x="5805" y="65"/>
                      </a:cubicBezTo>
                      <a:cubicBezTo>
                        <a:pt x="55564" y="8681"/>
                        <a:pt x="88843" y="18511"/>
                        <a:pt x="97546" y="74400"/>
                      </a:cubicBezTo>
                      <a:lnTo>
                        <a:pt x="110701" y="162122"/>
                      </a:lnTo>
                      <a:cubicBezTo>
                        <a:pt x="111106" y="164840"/>
                        <a:pt x="109256" y="167355"/>
                        <a:pt x="106538" y="167760"/>
                      </a:cubicBezTo>
                      <a:cubicBezTo>
                        <a:pt x="106307" y="167789"/>
                        <a:pt x="106046" y="167818"/>
                        <a:pt x="105786" y="167818"/>
                      </a:cubicBezTo>
                      <a:close/>
                    </a:path>
                  </a:pathLst>
                </a:custGeom>
                <a:grpFill/>
                <a:ln w="2890" cap="flat">
                  <a:noFill/>
                  <a:prstDash val="solid"/>
                  <a:miter/>
                </a:ln>
              </p:spPr>
              <p:txBody>
                <a:bodyPr rtlCol="0" anchor="ctr"/>
                <a:lstStyle/>
                <a:p>
                  <a:endParaRPr lang="en-GB" dirty="0"/>
                </a:p>
              </p:txBody>
            </p:sp>
            <p:sp>
              <p:nvSpPr>
                <p:cNvPr id="578" name="Freihandform: Form 577">
                  <a:extLst>
                    <a:ext uri="{FF2B5EF4-FFF2-40B4-BE49-F238E27FC236}">
                      <a16:creationId xmlns:a16="http://schemas.microsoft.com/office/drawing/2014/main" id="{D5C37D9F-E3AE-4748-94EB-434910B348A0}"/>
                    </a:ext>
                  </a:extLst>
                </p:cNvPr>
                <p:cNvSpPr/>
                <p:nvPr/>
              </p:nvSpPr>
              <p:spPr>
                <a:xfrm>
                  <a:off x="6377614" y="3576889"/>
                  <a:ext cx="112880" cy="168171"/>
                </a:xfrm>
                <a:custGeom>
                  <a:avLst/>
                  <a:gdLst>
                    <a:gd name="connsiteX0" fmla="*/ 4971 w 112880"/>
                    <a:gd name="connsiteY0" fmla="*/ 168171 h 168171"/>
                    <a:gd name="connsiteX1" fmla="*/ 4219 w 112880"/>
                    <a:gd name="connsiteY1" fmla="*/ 168113 h 168171"/>
                    <a:gd name="connsiteX2" fmla="*/ 56 w 112880"/>
                    <a:gd name="connsiteY2" fmla="*/ 162475 h 168171"/>
                    <a:gd name="connsiteX3" fmla="*/ 13211 w 112880"/>
                    <a:gd name="connsiteY3" fmla="*/ 74782 h 168171"/>
                    <a:gd name="connsiteX4" fmla="*/ 107149 w 112880"/>
                    <a:gd name="connsiteY4" fmla="*/ 71 h 168171"/>
                    <a:gd name="connsiteX5" fmla="*/ 112816 w 112880"/>
                    <a:gd name="connsiteY5" fmla="*/ 4176 h 168171"/>
                    <a:gd name="connsiteX6" fmla="*/ 108711 w 112880"/>
                    <a:gd name="connsiteY6" fmla="*/ 9844 h 168171"/>
                    <a:gd name="connsiteX7" fmla="*/ 22926 w 112880"/>
                    <a:gd name="connsiteY7" fmla="*/ 76488 h 168171"/>
                    <a:gd name="connsiteX8" fmla="*/ 9799 w 112880"/>
                    <a:gd name="connsiteY8" fmla="*/ 163950 h 168171"/>
                    <a:gd name="connsiteX9" fmla="*/ 4971 w 112880"/>
                    <a:gd name="connsiteY9" fmla="*/ 168171 h 16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2880" h="168171">
                      <a:moveTo>
                        <a:pt x="4971" y="168171"/>
                      </a:moveTo>
                      <a:cubicBezTo>
                        <a:pt x="4739" y="168171"/>
                        <a:pt x="4479" y="168142"/>
                        <a:pt x="4219" y="168113"/>
                      </a:cubicBezTo>
                      <a:cubicBezTo>
                        <a:pt x="1501" y="167709"/>
                        <a:pt x="-349" y="165193"/>
                        <a:pt x="56" y="162475"/>
                      </a:cubicBezTo>
                      <a:lnTo>
                        <a:pt x="13211" y="74782"/>
                      </a:lnTo>
                      <a:cubicBezTo>
                        <a:pt x="25239" y="13371"/>
                        <a:pt x="56089" y="8369"/>
                        <a:pt x="107149" y="71"/>
                      </a:cubicBezTo>
                      <a:cubicBezTo>
                        <a:pt x="109838" y="-392"/>
                        <a:pt x="112383" y="1459"/>
                        <a:pt x="112816" y="4176"/>
                      </a:cubicBezTo>
                      <a:cubicBezTo>
                        <a:pt x="113250" y="6865"/>
                        <a:pt x="111428" y="9410"/>
                        <a:pt x="108711" y="9844"/>
                      </a:cubicBezTo>
                      <a:cubicBezTo>
                        <a:pt x="58720" y="17968"/>
                        <a:pt x="33624" y="22045"/>
                        <a:pt x="22926" y="76488"/>
                      </a:cubicBezTo>
                      <a:lnTo>
                        <a:pt x="9799" y="163950"/>
                      </a:lnTo>
                      <a:cubicBezTo>
                        <a:pt x="9481" y="166407"/>
                        <a:pt x="7371" y="168171"/>
                        <a:pt x="4971" y="168171"/>
                      </a:cubicBezTo>
                      <a:close/>
                    </a:path>
                  </a:pathLst>
                </a:custGeom>
                <a:grpFill/>
                <a:ln w="2890" cap="flat">
                  <a:noFill/>
                  <a:prstDash val="solid"/>
                  <a:miter/>
                </a:ln>
              </p:spPr>
              <p:txBody>
                <a:bodyPr rtlCol="0" anchor="ctr"/>
                <a:lstStyle/>
                <a:p>
                  <a:endParaRPr lang="en-GB" dirty="0"/>
                </a:p>
              </p:txBody>
            </p:sp>
            <p:sp>
              <p:nvSpPr>
                <p:cNvPr id="579" name="Freihandform: Form 578">
                  <a:extLst>
                    <a:ext uri="{FF2B5EF4-FFF2-40B4-BE49-F238E27FC236}">
                      <a16:creationId xmlns:a16="http://schemas.microsoft.com/office/drawing/2014/main" id="{21F27401-F13B-4242-9310-276C581511B8}"/>
                    </a:ext>
                  </a:extLst>
                </p:cNvPr>
                <p:cNvSpPr/>
                <p:nvPr/>
              </p:nvSpPr>
              <p:spPr>
                <a:xfrm>
                  <a:off x="6433208" y="3390068"/>
                  <a:ext cx="179788" cy="205858"/>
                </a:xfrm>
                <a:custGeom>
                  <a:avLst/>
                  <a:gdLst>
                    <a:gd name="connsiteX0" fmla="*/ 90212 w 179788"/>
                    <a:gd name="connsiteY0" fmla="*/ 205858 h 205858"/>
                    <a:gd name="connsiteX1" fmla="*/ 2259 w 179788"/>
                    <a:gd name="connsiteY1" fmla="*/ 114696 h 205858"/>
                    <a:gd name="connsiteX2" fmla="*/ 4 w 179788"/>
                    <a:gd name="connsiteY2" fmla="*/ 47762 h 205858"/>
                    <a:gd name="connsiteX3" fmla="*/ 437 w 179788"/>
                    <a:gd name="connsiteY3" fmla="*/ 45565 h 205858"/>
                    <a:gd name="connsiteX4" fmla="*/ 12668 w 179788"/>
                    <a:gd name="connsiteY4" fmla="*/ 19051 h 205858"/>
                    <a:gd name="connsiteX5" fmla="*/ 15125 w 179788"/>
                    <a:gd name="connsiteY5" fmla="*/ 16651 h 205858"/>
                    <a:gd name="connsiteX6" fmla="*/ 17351 w 179788"/>
                    <a:gd name="connsiteY6" fmla="*/ 15668 h 205858"/>
                    <a:gd name="connsiteX7" fmla="*/ 20532 w 179788"/>
                    <a:gd name="connsiteY7" fmla="*/ 15379 h 205858"/>
                    <a:gd name="connsiteX8" fmla="*/ 26459 w 179788"/>
                    <a:gd name="connsiteY8" fmla="*/ 16102 h 205858"/>
                    <a:gd name="connsiteX9" fmla="*/ 51671 w 179788"/>
                    <a:gd name="connsiteY9" fmla="*/ 1646 h 205858"/>
                    <a:gd name="connsiteX10" fmla="*/ 55574 w 179788"/>
                    <a:gd name="connsiteY10" fmla="*/ 27 h 205858"/>
                    <a:gd name="connsiteX11" fmla="*/ 59304 w 179788"/>
                    <a:gd name="connsiteY11" fmla="*/ 1993 h 205858"/>
                    <a:gd name="connsiteX12" fmla="*/ 88882 w 179788"/>
                    <a:gd name="connsiteY12" fmla="*/ 17114 h 205858"/>
                    <a:gd name="connsiteX13" fmla="*/ 91109 w 179788"/>
                    <a:gd name="connsiteY13" fmla="*/ 17288 h 205858"/>
                    <a:gd name="connsiteX14" fmla="*/ 99522 w 179788"/>
                    <a:gd name="connsiteY14" fmla="*/ 17924 h 205858"/>
                    <a:gd name="connsiteX15" fmla="*/ 100650 w 179788"/>
                    <a:gd name="connsiteY15" fmla="*/ 18126 h 205858"/>
                    <a:gd name="connsiteX16" fmla="*/ 101691 w 179788"/>
                    <a:gd name="connsiteY16" fmla="*/ 18068 h 205858"/>
                    <a:gd name="connsiteX17" fmla="*/ 123549 w 179788"/>
                    <a:gd name="connsiteY17" fmla="*/ 16565 h 205858"/>
                    <a:gd name="connsiteX18" fmla="*/ 155960 w 179788"/>
                    <a:gd name="connsiteY18" fmla="*/ 7515 h 205858"/>
                    <a:gd name="connsiteX19" fmla="*/ 161772 w 179788"/>
                    <a:gd name="connsiteY19" fmla="*/ 10175 h 205858"/>
                    <a:gd name="connsiteX20" fmla="*/ 179322 w 179788"/>
                    <a:gd name="connsiteY20" fmla="*/ 47560 h 205858"/>
                    <a:gd name="connsiteX21" fmla="*/ 179785 w 179788"/>
                    <a:gd name="connsiteY21" fmla="*/ 49815 h 205858"/>
                    <a:gd name="connsiteX22" fmla="*/ 177587 w 179788"/>
                    <a:gd name="connsiteY22" fmla="*/ 114898 h 205858"/>
                    <a:gd name="connsiteX23" fmla="*/ 90212 w 179788"/>
                    <a:gd name="connsiteY23" fmla="*/ 205858 h 205858"/>
                    <a:gd name="connsiteX24" fmla="*/ 9921 w 179788"/>
                    <a:gd name="connsiteY24" fmla="*/ 48571 h 205858"/>
                    <a:gd name="connsiteX25" fmla="*/ 12147 w 179788"/>
                    <a:gd name="connsiteY25" fmla="*/ 114522 h 205858"/>
                    <a:gd name="connsiteX26" fmla="*/ 89663 w 179788"/>
                    <a:gd name="connsiteY26" fmla="*/ 195941 h 205858"/>
                    <a:gd name="connsiteX27" fmla="*/ 167670 w 179788"/>
                    <a:gd name="connsiteY27" fmla="*/ 114667 h 205858"/>
                    <a:gd name="connsiteX28" fmla="*/ 169839 w 179788"/>
                    <a:gd name="connsiteY28" fmla="*/ 50624 h 205858"/>
                    <a:gd name="connsiteX29" fmla="*/ 154573 w 179788"/>
                    <a:gd name="connsiteY29" fmla="*/ 18097 h 205858"/>
                    <a:gd name="connsiteX30" fmla="*/ 125746 w 179788"/>
                    <a:gd name="connsiteY30" fmla="*/ 26135 h 205858"/>
                    <a:gd name="connsiteX31" fmla="*/ 101864 w 179788"/>
                    <a:gd name="connsiteY31" fmla="*/ 27870 h 205858"/>
                    <a:gd name="connsiteX32" fmla="*/ 100187 w 179788"/>
                    <a:gd name="connsiteY32" fmla="*/ 28014 h 205858"/>
                    <a:gd name="connsiteX33" fmla="*/ 98077 w 179788"/>
                    <a:gd name="connsiteY33" fmla="*/ 27696 h 205858"/>
                    <a:gd name="connsiteX34" fmla="*/ 90241 w 179788"/>
                    <a:gd name="connsiteY34" fmla="*/ 27089 h 205858"/>
                    <a:gd name="connsiteX35" fmla="*/ 88131 w 179788"/>
                    <a:gd name="connsiteY35" fmla="*/ 26916 h 205858"/>
                    <a:gd name="connsiteX36" fmla="*/ 88131 w 179788"/>
                    <a:gd name="connsiteY36" fmla="*/ 26916 h 205858"/>
                    <a:gd name="connsiteX37" fmla="*/ 55112 w 179788"/>
                    <a:gd name="connsiteY37" fmla="*/ 12170 h 205858"/>
                    <a:gd name="connsiteX38" fmla="*/ 26430 w 179788"/>
                    <a:gd name="connsiteY38" fmla="*/ 25933 h 205858"/>
                    <a:gd name="connsiteX39" fmla="*/ 20561 w 179788"/>
                    <a:gd name="connsiteY39" fmla="*/ 25441 h 205858"/>
                    <a:gd name="connsiteX40" fmla="*/ 9921 w 179788"/>
                    <a:gd name="connsiteY40" fmla="*/ 48571 h 205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9788" h="205858">
                      <a:moveTo>
                        <a:pt x="90212" y="205858"/>
                      </a:moveTo>
                      <a:cubicBezTo>
                        <a:pt x="50312" y="205685"/>
                        <a:pt x="2259" y="163588"/>
                        <a:pt x="2259" y="114696"/>
                      </a:cubicBezTo>
                      <a:lnTo>
                        <a:pt x="4" y="47762"/>
                      </a:lnTo>
                      <a:cubicBezTo>
                        <a:pt x="-25" y="47010"/>
                        <a:pt x="119" y="46258"/>
                        <a:pt x="437" y="45565"/>
                      </a:cubicBezTo>
                      <a:lnTo>
                        <a:pt x="12668" y="19051"/>
                      </a:lnTo>
                      <a:cubicBezTo>
                        <a:pt x="13159" y="17982"/>
                        <a:pt x="14055" y="17143"/>
                        <a:pt x="15125" y="16651"/>
                      </a:cubicBezTo>
                      <a:lnTo>
                        <a:pt x="17351" y="15668"/>
                      </a:lnTo>
                      <a:cubicBezTo>
                        <a:pt x="18334" y="15206"/>
                        <a:pt x="19462" y="15119"/>
                        <a:pt x="20532" y="15379"/>
                      </a:cubicBezTo>
                      <a:cubicBezTo>
                        <a:pt x="22498" y="15842"/>
                        <a:pt x="24493" y="16102"/>
                        <a:pt x="26459" y="16102"/>
                      </a:cubicBezTo>
                      <a:cubicBezTo>
                        <a:pt x="33832" y="16102"/>
                        <a:pt x="43720" y="10435"/>
                        <a:pt x="51671" y="1646"/>
                      </a:cubicBezTo>
                      <a:cubicBezTo>
                        <a:pt x="52654" y="547"/>
                        <a:pt x="54013" y="-147"/>
                        <a:pt x="55574" y="27"/>
                      </a:cubicBezTo>
                      <a:cubicBezTo>
                        <a:pt x="57049" y="84"/>
                        <a:pt x="58408" y="807"/>
                        <a:pt x="59304" y="1993"/>
                      </a:cubicBezTo>
                      <a:cubicBezTo>
                        <a:pt x="69279" y="15235"/>
                        <a:pt x="88680" y="17114"/>
                        <a:pt x="88882" y="17114"/>
                      </a:cubicBezTo>
                      <a:lnTo>
                        <a:pt x="91109" y="17288"/>
                      </a:lnTo>
                      <a:cubicBezTo>
                        <a:pt x="93682" y="17519"/>
                        <a:pt x="96486" y="17750"/>
                        <a:pt x="99522" y="17924"/>
                      </a:cubicBezTo>
                      <a:cubicBezTo>
                        <a:pt x="99898" y="17953"/>
                        <a:pt x="100274" y="18010"/>
                        <a:pt x="100650" y="18126"/>
                      </a:cubicBezTo>
                      <a:lnTo>
                        <a:pt x="101691" y="18068"/>
                      </a:lnTo>
                      <a:cubicBezTo>
                        <a:pt x="109700" y="18300"/>
                        <a:pt x="116494" y="17837"/>
                        <a:pt x="123549" y="16565"/>
                      </a:cubicBezTo>
                      <a:lnTo>
                        <a:pt x="155960" y="7515"/>
                      </a:lnTo>
                      <a:cubicBezTo>
                        <a:pt x="158302" y="6850"/>
                        <a:pt x="160731" y="8007"/>
                        <a:pt x="161772" y="10175"/>
                      </a:cubicBezTo>
                      <a:lnTo>
                        <a:pt x="179322" y="47560"/>
                      </a:lnTo>
                      <a:cubicBezTo>
                        <a:pt x="179669" y="48282"/>
                        <a:pt x="179814" y="49034"/>
                        <a:pt x="179785" y="49815"/>
                      </a:cubicBezTo>
                      <a:lnTo>
                        <a:pt x="177587" y="114898"/>
                      </a:lnTo>
                      <a:cubicBezTo>
                        <a:pt x="177587" y="163588"/>
                        <a:pt x="129534" y="205685"/>
                        <a:pt x="90212" y="205858"/>
                      </a:cubicBezTo>
                      <a:close/>
                      <a:moveTo>
                        <a:pt x="9921" y="48571"/>
                      </a:moveTo>
                      <a:lnTo>
                        <a:pt x="12147" y="114522"/>
                      </a:lnTo>
                      <a:cubicBezTo>
                        <a:pt x="12147" y="150374"/>
                        <a:pt x="48635" y="195768"/>
                        <a:pt x="89663" y="195941"/>
                      </a:cubicBezTo>
                      <a:cubicBezTo>
                        <a:pt x="124330" y="195797"/>
                        <a:pt x="167670" y="157516"/>
                        <a:pt x="167670" y="114667"/>
                      </a:cubicBezTo>
                      <a:lnTo>
                        <a:pt x="169839" y="50624"/>
                      </a:lnTo>
                      <a:lnTo>
                        <a:pt x="154573" y="18097"/>
                      </a:lnTo>
                      <a:lnTo>
                        <a:pt x="125746" y="26135"/>
                      </a:lnTo>
                      <a:cubicBezTo>
                        <a:pt x="117535" y="27609"/>
                        <a:pt x="110076" y="28101"/>
                        <a:pt x="101864" y="27870"/>
                      </a:cubicBezTo>
                      <a:lnTo>
                        <a:pt x="100187" y="28014"/>
                      </a:lnTo>
                      <a:cubicBezTo>
                        <a:pt x="99464" y="28043"/>
                        <a:pt x="98742" y="27956"/>
                        <a:pt x="98077" y="27696"/>
                      </a:cubicBezTo>
                      <a:cubicBezTo>
                        <a:pt x="95272" y="27523"/>
                        <a:pt x="92670" y="27291"/>
                        <a:pt x="90241" y="27089"/>
                      </a:cubicBezTo>
                      <a:lnTo>
                        <a:pt x="88131" y="26916"/>
                      </a:lnTo>
                      <a:lnTo>
                        <a:pt x="88131" y="26916"/>
                      </a:lnTo>
                      <a:cubicBezTo>
                        <a:pt x="88188" y="26916"/>
                        <a:pt x="68528" y="25557"/>
                        <a:pt x="55112" y="12170"/>
                      </a:cubicBezTo>
                      <a:cubicBezTo>
                        <a:pt x="47392" y="19369"/>
                        <a:pt x="36752" y="25933"/>
                        <a:pt x="26430" y="25933"/>
                      </a:cubicBezTo>
                      <a:cubicBezTo>
                        <a:pt x="24464" y="25933"/>
                        <a:pt x="22498" y="25759"/>
                        <a:pt x="20561" y="25441"/>
                      </a:cubicBezTo>
                      <a:lnTo>
                        <a:pt x="9921" y="48571"/>
                      </a:lnTo>
                      <a:close/>
                    </a:path>
                  </a:pathLst>
                </a:custGeom>
                <a:grpFill/>
                <a:ln w="2890" cap="flat">
                  <a:noFill/>
                  <a:prstDash val="solid"/>
                  <a:miter/>
                </a:ln>
              </p:spPr>
              <p:txBody>
                <a:bodyPr rtlCol="0" anchor="ctr"/>
                <a:lstStyle/>
                <a:p>
                  <a:endParaRPr lang="en-GB" dirty="0"/>
                </a:p>
              </p:txBody>
            </p:sp>
            <p:sp>
              <p:nvSpPr>
                <p:cNvPr id="580" name="Freihandform: Form 579">
                  <a:extLst>
                    <a:ext uri="{FF2B5EF4-FFF2-40B4-BE49-F238E27FC236}">
                      <a16:creationId xmlns:a16="http://schemas.microsoft.com/office/drawing/2014/main" id="{880DFF1D-0FB0-4D46-8A18-C9E311973233}"/>
                    </a:ext>
                  </a:extLst>
                </p:cNvPr>
                <p:cNvSpPr/>
                <p:nvPr/>
              </p:nvSpPr>
              <p:spPr>
                <a:xfrm>
                  <a:off x="6476519" y="3323778"/>
                  <a:ext cx="144031" cy="122841"/>
                </a:xfrm>
                <a:custGeom>
                  <a:avLst/>
                  <a:gdLst>
                    <a:gd name="connsiteX0" fmla="*/ 132426 w 144031"/>
                    <a:gd name="connsiteY0" fmla="*/ 122841 h 122841"/>
                    <a:gd name="connsiteX1" fmla="*/ 127973 w 144031"/>
                    <a:gd name="connsiteY1" fmla="*/ 120008 h 122841"/>
                    <a:gd name="connsiteX2" fmla="*/ 110741 w 144031"/>
                    <a:gd name="connsiteY2" fmla="*/ 83751 h 122841"/>
                    <a:gd name="connsiteX3" fmla="*/ 47248 w 144031"/>
                    <a:gd name="connsiteY3" fmla="*/ 93437 h 122841"/>
                    <a:gd name="connsiteX4" fmla="*/ 44820 w 144031"/>
                    <a:gd name="connsiteY4" fmla="*/ 93234 h 122841"/>
                    <a:gd name="connsiteX5" fmla="*/ 44820 w 144031"/>
                    <a:gd name="connsiteY5" fmla="*/ 93234 h 122841"/>
                    <a:gd name="connsiteX6" fmla="*/ 11483 w 144031"/>
                    <a:gd name="connsiteY6" fmla="*/ 78142 h 122841"/>
                    <a:gd name="connsiteX7" fmla="*/ 62 w 144031"/>
                    <a:gd name="connsiteY7" fmla="*/ 45817 h 122841"/>
                    <a:gd name="connsiteX8" fmla="*/ 42015 w 144031"/>
                    <a:gd name="connsiteY8" fmla="*/ 19 h 122841"/>
                    <a:gd name="connsiteX9" fmla="*/ 143876 w 144031"/>
                    <a:gd name="connsiteY9" fmla="*/ 61661 h 122841"/>
                    <a:gd name="connsiteX10" fmla="*/ 143904 w 144031"/>
                    <a:gd name="connsiteY10" fmla="*/ 64003 h 122841"/>
                    <a:gd name="connsiteX11" fmla="*/ 137341 w 144031"/>
                    <a:gd name="connsiteY11" fmla="*/ 118475 h 122841"/>
                    <a:gd name="connsiteX12" fmla="*/ 133236 w 144031"/>
                    <a:gd name="connsiteY12" fmla="*/ 122784 h 122841"/>
                    <a:gd name="connsiteX13" fmla="*/ 132426 w 144031"/>
                    <a:gd name="connsiteY13" fmla="*/ 122841 h 122841"/>
                    <a:gd name="connsiteX14" fmla="*/ 118172 w 144031"/>
                    <a:gd name="connsiteY14" fmla="*/ 76378 h 122841"/>
                    <a:gd name="connsiteX15" fmla="*/ 129506 w 144031"/>
                    <a:gd name="connsiteY15" fmla="*/ 100231 h 122841"/>
                    <a:gd name="connsiteX16" fmla="*/ 134190 w 144031"/>
                    <a:gd name="connsiteY16" fmla="*/ 63772 h 122841"/>
                    <a:gd name="connsiteX17" fmla="*/ 42131 w 144031"/>
                    <a:gd name="connsiteY17" fmla="*/ 9878 h 122841"/>
                    <a:gd name="connsiteX18" fmla="*/ 9921 w 144031"/>
                    <a:gd name="connsiteY18" fmla="*/ 46251 h 122841"/>
                    <a:gd name="connsiteX19" fmla="*/ 45542 w 144031"/>
                    <a:gd name="connsiteY19" fmla="*/ 83317 h 122841"/>
                    <a:gd name="connsiteX20" fmla="*/ 48087 w 144031"/>
                    <a:gd name="connsiteY20" fmla="*/ 83520 h 122841"/>
                    <a:gd name="connsiteX21" fmla="*/ 111204 w 144031"/>
                    <a:gd name="connsiteY21" fmla="*/ 72677 h 122841"/>
                    <a:gd name="connsiteX22" fmla="*/ 117651 w 144031"/>
                    <a:gd name="connsiteY22" fmla="*/ 74846 h 122841"/>
                    <a:gd name="connsiteX23" fmla="*/ 118172 w 144031"/>
                    <a:gd name="connsiteY23" fmla="*/ 76378 h 12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031" h="122841">
                      <a:moveTo>
                        <a:pt x="132426" y="122841"/>
                      </a:moveTo>
                      <a:cubicBezTo>
                        <a:pt x="130547" y="122841"/>
                        <a:pt x="128783" y="121772"/>
                        <a:pt x="127973" y="120008"/>
                      </a:cubicBezTo>
                      <a:lnTo>
                        <a:pt x="110741" y="83751"/>
                      </a:lnTo>
                      <a:cubicBezTo>
                        <a:pt x="81076" y="96357"/>
                        <a:pt x="60866" y="94593"/>
                        <a:pt x="47248" y="93437"/>
                      </a:cubicBezTo>
                      <a:lnTo>
                        <a:pt x="44820" y="93234"/>
                      </a:lnTo>
                      <a:lnTo>
                        <a:pt x="44820" y="93234"/>
                      </a:lnTo>
                      <a:cubicBezTo>
                        <a:pt x="44906" y="93234"/>
                        <a:pt x="24841" y="91760"/>
                        <a:pt x="11483" y="78142"/>
                      </a:cubicBezTo>
                      <a:cubicBezTo>
                        <a:pt x="3300" y="69786"/>
                        <a:pt x="-545" y="58915"/>
                        <a:pt x="62" y="45817"/>
                      </a:cubicBezTo>
                      <a:cubicBezTo>
                        <a:pt x="1248" y="20431"/>
                        <a:pt x="19665" y="308"/>
                        <a:pt x="42015" y="19"/>
                      </a:cubicBezTo>
                      <a:cubicBezTo>
                        <a:pt x="99928" y="-704"/>
                        <a:pt x="133091" y="19391"/>
                        <a:pt x="143876" y="61661"/>
                      </a:cubicBezTo>
                      <a:cubicBezTo>
                        <a:pt x="144078" y="62442"/>
                        <a:pt x="144078" y="63252"/>
                        <a:pt x="143904" y="64003"/>
                      </a:cubicBezTo>
                      <a:cubicBezTo>
                        <a:pt x="143442" y="66953"/>
                        <a:pt x="139741" y="98034"/>
                        <a:pt x="137341" y="118475"/>
                      </a:cubicBezTo>
                      <a:cubicBezTo>
                        <a:pt x="137081" y="120673"/>
                        <a:pt x="135404" y="122436"/>
                        <a:pt x="133236" y="122784"/>
                      </a:cubicBezTo>
                      <a:cubicBezTo>
                        <a:pt x="132975" y="122841"/>
                        <a:pt x="132686" y="122841"/>
                        <a:pt x="132426" y="122841"/>
                      </a:cubicBezTo>
                      <a:close/>
                      <a:moveTo>
                        <a:pt x="118172" y="76378"/>
                      </a:moveTo>
                      <a:lnTo>
                        <a:pt x="129506" y="100231"/>
                      </a:lnTo>
                      <a:cubicBezTo>
                        <a:pt x="132050" y="78633"/>
                        <a:pt x="133293" y="68629"/>
                        <a:pt x="134190" y="63772"/>
                      </a:cubicBezTo>
                      <a:cubicBezTo>
                        <a:pt x="124504" y="26301"/>
                        <a:pt x="95244" y="9358"/>
                        <a:pt x="42131" y="9878"/>
                      </a:cubicBezTo>
                      <a:cubicBezTo>
                        <a:pt x="25014" y="10109"/>
                        <a:pt x="10876" y="26098"/>
                        <a:pt x="9921" y="46251"/>
                      </a:cubicBezTo>
                      <a:cubicBezTo>
                        <a:pt x="8331" y="80021"/>
                        <a:pt x="44010" y="83202"/>
                        <a:pt x="45542" y="83317"/>
                      </a:cubicBezTo>
                      <a:lnTo>
                        <a:pt x="48087" y="83520"/>
                      </a:lnTo>
                      <a:cubicBezTo>
                        <a:pt x="61329" y="84705"/>
                        <a:pt x="81366" y="86440"/>
                        <a:pt x="111204" y="72677"/>
                      </a:cubicBezTo>
                      <a:cubicBezTo>
                        <a:pt x="113604" y="71579"/>
                        <a:pt x="116437" y="72533"/>
                        <a:pt x="117651" y="74846"/>
                      </a:cubicBezTo>
                      <a:cubicBezTo>
                        <a:pt x="117941" y="75366"/>
                        <a:pt x="118085" y="75887"/>
                        <a:pt x="118172" y="76378"/>
                      </a:cubicBezTo>
                      <a:close/>
                    </a:path>
                  </a:pathLst>
                </a:custGeom>
                <a:grpFill/>
                <a:ln w="2890" cap="flat">
                  <a:noFill/>
                  <a:prstDash val="solid"/>
                  <a:miter/>
                </a:ln>
              </p:spPr>
              <p:txBody>
                <a:bodyPr rtlCol="0" anchor="ctr"/>
                <a:lstStyle/>
                <a:p>
                  <a:endParaRPr lang="en-GB" dirty="0"/>
                </a:p>
              </p:txBody>
            </p:sp>
            <p:sp>
              <p:nvSpPr>
                <p:cNvPr id="581" name="Freihandform: Form 580">
                  <a:extLst>
                    <a:ext uri="{FF2B5EF4-FFF2-40B4-BE49-F238E27FC236}">
                      <a16:creationId xmlns:a16="http://schemas.microsoft.com/office/drawing/2014/main" id="{7247BC23-D7F6-47C7-B2DE-55B48CD62256}"/>
                    </a:ext>
                  </a:extLst>
                </p:cNvPr>
                <p:cNvSpPr/>
                <p:nvPr/>
              </p:nvSpPr>
              <p:spPr>
                <a:xfrm>
                  <a:off x="6428425" y="3341600"/>
                  <a:ext cx="65223" cy="103140"/>
                </a:xfrm>
                <a:custGeom>
                  <a:avLst/>
                  <a:gdLst>
                    <a:gd name="connsiteX0" fmla="*/ 8748 w 65223"/>
                    <a:gd name="connsiteY0" fmla="*/ 103140 h 103140"/>
                    <a:gd name="connsiteX1" fmla="*/ 7909 w 65223"/>
                    <a:gd name="connsiteY1" fmla="*/ 103082 h 103140"/>
                    <a:gd name="connsiteX2" fmla="*/ 3803 w 65223"/>
                    <a:gd name="connsiteY2" fmla="*/ 98630 h 103140"/>
                    <a:gd name="connsiteX3" fmla="*/ 45 w 65223"/>
                    <a:gd name="connsiteY3" fmla="*/ 52600 h 103140"/>
                    <a:gd name="connsiteX4" fmla="*/ 16 w 65223"/>
                    <a:gd name="connsiteY4" fmla="*/ 50114 h 103140"/>
                    <a:gd name="connsiteX5" fmla="*/ 26731 w 65223"/>
                    <a:gd name="connsiteY5" fmla="*/ 5588 h 103140"/>
                    <a:gd name="connsiteX6" fmla="*/ 61138 w 65223"/>
                    <a:gd name="connsiteY6" fmla="*/ 3014 h 103140"/>
                    <a:gd name="connsiteX7" fmla="*/ 63653 w 65223"/>
                    <a:gd name="connsiteY7" fmla="*/ 6253 h 103140"/>
                    <a:gd name="connsiteX8" fmla="*/ 62873 w 65223"/>
                    <a:gd name="connsiteY8" fmla="*/ 10272 h 103140"/>
                    <a:gd name="connsiteX9" fmla="*/ 58507 w 65223"/>
                    <a:gd name="connsiteY9" fmla="*/ 30597 h 103140"/>
                    <a:gd name="connsiteX10" fmla="*/ 64318 w 65223"/>
                    <a:gd name="connsiteY10" fmla="*/ 50345 h 103140"/>
                    <a:gd name="connsiteX11" fmla="*/ 63943 w 65223"/>
                    <a:gd name="connsiteY11" fmla="*/ 56503 h 103140"/>
                    <a:gd name="connsiteX12" fmla="*/ 31184 w 65223"/>
                    <a:gd name="connsiteY12" fmla="*/ 74430 h 103140"/>
                    <a:gd name="connsiteX13" fmla="*/ 25141 w 65223"/>
                    <a:gd name="connsiteY13" fmla="*/ 73909 h 103140"/>
                    <a:gd name="connsiteX14" fmla="*/ 13200 w 65223"/>
                    <a:gd name="connsiteY14" fmla="*/ 100249 h 103140"/>
                    <a:gd name="connsiteX15" fmla="*/ 8748 w 65223"/>
                    <a:gd name="connsiteY15" fmla="*/ 103140 h 103140"/>
                    <a:gd name="connsiteX16" fmla="*/ 48648 w 65223"/>
                    <a:gd name="connsiteY16" fmla="*/ 9924 h 103140"/>
                    <a:gd name="connsiteX17" fmla="*/ 30721 w 65223"/>
                    <a:gd name="connsiteY17" fmla="*/ 14666 h 103140"/>
                    <a:gd name="connsiteX18" fmla="*/ 9933 w 65223"/>
                    <a:gd name="connsiteY18" fmla="*/ 50027 h 103140"/>
                    <a:gd name="connsiteX19" fmla="*/ 9962 w 65223"/>
                    <a:gd name="connsiteY19" fmla="*/ 52600 h 103140"/>
                    <a:gd name="connsiteX20" fmla="*/ 12044 w 65223"/>
                    <a:gd name="connsiteY20" fmla="*/ 78969 h 103140"/>
                    <a:gd name="connsiteX21" fmla="*/ 17855 w 65223"/>
                    <a:gd name="connsiteY21" fmla="*/ 66131 h 103140"/>
                    <a:gd name="connsiteX22" fmla="*/ 23753 w 65223"/>
                    <a:gd name="connsiteY22" fmla="*/ 63414 h 103140"/>
                    <a:gd name="connsiteX23" fmla="*/ 31242 w 65223"/>
                    <a:gd name="connsiteY23" fmla="*/ 64512 h 103140"/>
                    <a:gd name="connsiteX24" fmla="*/ 54083 w 65223"/>
                    <a:gd name="connsiteY24" fmla="*/ 52513 h 103140"/>
                    <a:gd name="connsiteX25" fmla="*/ 48648 w 65223"/>
                    <a:gd name="connsiteY25" fmla="*/ 30568 h 103140"/>
                    <a:gd name="connsiteX26" fmla="*/ 51770 w 65223"/>
                    <a:gd name="connsiteY26" fmla="*/ 10127 h 103140"/>
                    <a:gd name="connsiteX27" fmla="*/ 48648 w 65223"/>
                    <a:gd name="connsiteY27" fmla="*/ 9924 h 10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65223" h="103140">
                      <a:moveTo>
                        <a:pt x="8748" y="103140"/>
                      </a:moveTo>
                      <a:cubicBezTo>
                        <a:pt x="8458" y="103140"/>
                        <a:pt x="8198" y="103111"/>
                        <a:pt x="7909" y="103082"/>
                      </a:cubicBezTo>
                      <a:cubicBezTo>
                        <a:pt x="5683" y="102706"/>
                        <a:pt x="4006" y="100885"/>
                        <a:pt x="3803" y="98630"/>
                      </a:cubicBezTo>
                      <a:cubicBezTo>
                        <a:pt x="3428" y="94322"/>
                        <a:pt x="45" y="56532"/>
                        <a:pt x="45" y="52600"/>
                      </a:cubicBezTo>
                      <a:lnTo>
                        <a:pt x="16" y="50114"/>
                      </a:lnTo>
                      <a:cubicBezTo>
                        <a:pt x="-100" y="37103"/>
                        <a:pt x="-273" y="17442"/>
                        <a:pt x="26731" y="5588"/>
                      </a:cubicBezTo>
                      <a:cubicBezTo>
                        <a:pt x="41506" y="-918"/>
                        <a:pt x="52117" y="-1698"/>
                        <a:pt x="61138" y="3014"/>
                      </a:cubicBezTo>
                      <a:cubicBezTo>
                        <a:pt x="62410" y="3679"/>
                        <a:pt x="63335" y="4865"/>
                        <a:pt x="63653" y="6253"/>
                      </a:cubicBezTo>
                      <a:cubicBezTo>
                        <a:pt x="63971" y="7640"/>
                        <a:pt x="63711" y="9115"/>
                        <a:pt x="62873" y="10272"/>
                      </a:cubicBezTo>
                      <a:cubicBezTo>
                        <a:pt x="59895" y="14464"/>
                        <a:pt x="58507" y="20912"/>
                        <a:pt x="58507" y="30597"/>
                      </a:cubicBezTo>
                      <a:cubicBezTo>
                        <a:pt x="58507" y="37970"/>
                        <a:pt x="60589" y="44996"/>
                        <a:pt x="64318" y="50345"/>
                      </a:cubicBezTo>
                      <a:cubicBezTo>
                        <a:pt x="65648" y="52224"/>
                        <a:pt x="65504" y="54769"/>
                        <a:pt x="63943" y="56503"/>
                      </a:cubicBezTo>
                      <a:cubicBezTo>
                        <a:pt x="56165" y="65177"/>
                        <a:pt x="43472" y="74430"/>
                        <a:pt x="31184" y="74430"/>
                      </a:cubicBezTo>
                      <a:cubicBezTo>
                        <a:pt x="29160" y="74430"/>
                        <a:pt x="27165" y="74256"/>
                        <a:pt x="25141" y="73909"/>
                      </a:cubicBezTo>
                      <a:lnTo>
                        <a:pt x="13200" y="100249"/>
                      </a:lnTo>
                      <a:cubicBezTo>
                        <a:pt x="12448" y="102042"/>
                        <a:pt x="10656" y="103140"/>
                        <a:pt x="8748" y="103140"/>
                      </a:cubicBezTo>
                      <a:close/>
                      <a:moveTo>
                        <a:pt x="48648" y="9924"/>
                      </a:moveTo>
                      <a:cubicBezTo>
                        <a:pt x="44484" y="9924"/>
                        <a:pt x="38817" y="11110"/>
                        <a:pt x="30721" y="14666"/>
                      </a:cubicBezTo>
                      <a:cubicBezTo>
                        <a:pt x="9702" y="23889"/>
                        <a:pt x="9817" y="37190"/>
                        <a:pt x="9933" y="50027"/>
                      </a:cubicBezTo>
                      <a:lnTo>
                        <a:pt x="9962" y="52600"/>
                      </a:lnTo>
                      <a:cubicBezTo>
                        <a:pt x="9962" y="54335"/>
                        <a:pt x="10945" y="66363"/>
                        <a:pt x="12044" y="78969"/>
                      </a:cubicBezTo>
                      <a:lnTo>
                        <a:pt x="17855" y="66131"/>
                      </a:lnTo>
                      <a:cubicBezTo>
                        <a:pt x="18867" y="63876"/>
                        <a:pt x="21383" y="62720"/>
                        <a:pt x="23753" y="63414"/>
                      </a:cubicBezTo>
                      <a:cubicBezTo>
                        <a:pt x="26240" y="64136"/>
                        <a:pt x="28755" y="64512"/>
                        <a:pt x="31242" y="64512"/>
                      </a:cubicBezTo>
                      <a:cubicBezTo>
                        <a:pt x="37921" y="64512"/>
                        <a:pt x="46624" y="59886"/>
                        <a:pt x="54083" y="52513"/>
                      </a:cubicBezTo>
                      <a:cubicBezTo>
                        <a:pt x="50556" y="46124"/>
                        <a:pt x="48648" y="38491"/>
                        <a:pt x="48648" y="30568"/>
                      </a:cubicBezTo>
                      <a:cubicBezTo>
                        <a:pt x="48648" y="24323"/>
                        <a:pt x="49052" y="16777"/>
                        <a:pt x="51770" y="10127"/>
                      </a:cubicBezTo>
                      <a:cubicBezTo>
                        <a:pt x="50845" y="10011"/>
                        <a:pt x="49804" y="9924"/>
                        <a:pt x="48648" y="9924"/>
                      </a:cubicBezTo>
                      <a:close/>
                    </a:path>
                  </a:pathLst>
                </a:custGeom>
                <a:grpFill/>
                <a:ln w="2890" cap="flat">
                  <a:noFill/>
                  <a:prstDash val="solid"/>
                  <a:miter/>
                </a:ln>
              </p:spPr>
              <p:txBody>
                <a:bodyPr rtlCol="0" anchor="ctr"/>
                <a:lstStyle/>
                <a:p>
                  <a:endParaRPr lang="en-GB" dirty="0"/>
                </a:p>
              </p:txBody>
            </p:sp>
            <p:sp>
              <p:nvSpPr>
                <p:cNvPr id="582" name="Freihandform: Form 581">
                  <a:extLst>
                    <a:ext uri="{FF2B5EF4-FFF2-40B4-BE49-F238E27FC236}">
                      <a16:creationId xmlns:a16="http://schemas.microsoft.com/office/drawing/2014/main" id="{FD391C17-0635-4081-824A-E52EA60A24BB}"/>
                    </a:ext>
                  </a:extLst>
                </p:cNvPr>
                <p:cNvSpPr/>
                <p:nvPr/>
              </p:nvSpPr>
              <p:spPr>
                <a:xfrm>
                  <a:off x="6503025" y="3359927"/>
                  <a:ext cx="78590" cy="28895"/>
                </a:xfrm>
                <a:custGeom>
                  <a:avLst/>
                  <a:gdLst>
                    <a:gd name="connsiteX0" fmla="*/ 48354 w 78590"/>
                    <a:gd name="connsiteY0" fmla="*/ 28895 h 28895"/>
                    <a:gd name="connsiteX1" fmla="*/ 1197 w 78590"/>
                    <a:gd name="connsiteY1" fmla="*/ 8165 h 28895"/>
                    <a:gd name="connsiteX2" fmla="*/ 1717 w 78590"/>
                    <a:gd name="connsiteY2" fmla="*/ 1197 h 28895"/>
                    <a:gd name="connsiteX3" fmla="*/ 8685 w 78590"/>
                    <a:gd name="connsiteY3" fmla="*/ 1717 h 28895"/>
                    <a:gd name="connsiteX4" fmla="*/ 71687 w 78590"/>
                    <a:gd name="connsiteY4" fmla="*/ 13889 h 28895"/>
                    <a:gd name="connsiteX5" fmla="*/ 78192 w 78590"/>
                    <a:gd name="connsiteY5" fmla="*/ 16463 h 28895"/>
                    <a:gd name="connsiteX6" fmla="*/ 75619 w 78590"/>
                    <a:gd name="connsiteY6" fmla="*/ 22968 h 28895"/>
                    <a:gd name="connsiteX7" fmla="*/ 48354 w 78590"/>
                    <a:gd name="connsiteY7" fmla="*/ 28895 h 28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90" h="28895">
                      <a:moveTo>
                        <a:pt x="48354" y="28895"/>
                      </a:moveTo>
                      <a:cubicBezTo>
                        <a:pt x="19383" y="28895"/>
                        <a:pt x="1399" y="8425"/>
                        <a:pt x="1197" y="8165"/>
                      </a:cubicBezTo>
                      <a:cubicBezTo>
                        <a:pt x="-596" y="6083"/>
                        <a:pt x="-336" y="2960"/>
                        <a:pt x="1717" y="1197"/>
                      </a:cubicBezTo>
                      <a:cubicBezTo>
                        <a:pt x="3799" y="-596"/>
                        <a:pt x="6921" y="-336"/>
                        <a:pt x="8685" y="1717"/>
                      </a:cubicBezTo>
                      <a:cubicBezTo>
                        <a:pt x="9697" y="2903"/>
                        <a:pt x="33955" y="30168"/>
                        <a:pt x="71687" y="13889"/>
                      </a:cubicBezTo>
                      <a:cubicBezTo>
                        <a:pt x="74202" y="12791"/>
                        <a:pt x="77093" y="13947"/>
                        <a:pt x="78192" y="16463"/>
                      </a:cubicBezTo>
                      <a:cubicBezTo>
                        <a:pt x="79262" y="18978"/>
                        <a:pt x="78105" y="21898"/>
                        <a:pt x="75619" y="22968"/>
                      </a:cubicBezTo>
                      <a:cubicBezTo>
                        <a:pt x="65759" y="27247"/>
                        <a:pt x="56594" y="28895"/>
                        <a:pt x="48354" y="28895"/>
                      </a:cubicBezTo>
                      <a:close/>
                    </a:path>
                  </a:pathLst>
                </a:custGeom>
                <a:grpFill/>
                <a:ln w="2890" cap="flat">
                  <a:noFill/>
                  <a:prstDash val="solid"/>
                  <a:miter/>
                </a:ln>
              </p:spPr>
              <p:txBody>
                <a:bodyPr rtlCol="0" anchor="ctr"/>
                <a:lstStyle/>
                <a:p>
                  <a:endParaRPr lang="en-GB" dirty="0"/>
                </a:p>
              </p:txBody>
            </p:sp>
          </p:grpSp>
        </p:grpSp>
      </p:grpSp>
      <p:sp>
        <p:nvSpPr>
          <p:cNvPr id="590" name="TextBox 1427">
            <a:extLst>
              <a:ext uri="{FF2B5EF4-FFF2-40B4-BE49-F238E27FC236}">
                <a16:creationId xmlns:a16="http://schemas.microsoft.com/office/drawing/2014/main" id="{241DB036-28AB-4632-8752-289F9461B0FF}"/>
              </a:ext>
            </a:extLst>
          </p:cNvPr>
          <p:cNvSpPr txBox="1"/>
          <p:nvPr/>
        </p:nvSpPr>
        <p:spPr>
          <a:xfrm>
            <a:off x="7186212" y="3723675"/>
            <a:ext cx="234038" cy="107722"/>
          </a:xfrm>
          <a:prstGeom prst="rect">
            <a:avLst/>
          </a:prstGeom>
          <a:noFill/>
          <a:effectLst/>
        </p:spPr>
        <p:txBody>
          <a:bodyPr wrap="none" lIns="0" tIns="0" rIns="0" bIns="0" rtlCol="0" anchor="t" anchorCtr="0">
            <a:spAutoFit/>
          </a:bodyPr>
          <a:lstStyle/>
          <a:p>
            <a:pPr algn="ctr"/>
            <a:r>
              <a:rPr lang="en-GB" sz="700" dirty="0">
                <a:solidFill>
                  <a:schemeClr val="tx2"/>
                </a:solidFill>
              </a:rPr>
              <a:t>Goals</a:t>
            </a:r>
          </a:p>
        </p:txBody>
      </p:sp>
      <p:sp>
        <p:nvSpPr>
          <p:cNvPr id="591" name="TextBox 1425">
            <a:extLst>
              <a:ext uri="{FF2B5EF4-FFF2-40B4-BE49-F238E27FC236}">
                <a16:creationId xmlns:a16="http://schemas.microsoft.com/office/drawing/2014/main" id="{06370773-EFB0-49BF-B15D-1240612EC256}"/>
              </a:ext>
            </a:extLst>
          </p:cNvPr>
          <p:cNvSpPr txBox="1"/>
          <p:nvPr/>
        </p:nvSpPr>
        <p:spPr>
          <a:xfrm>
            <a:off x="4979230" y="3723675"/>
            <a:ext cx="468077" cy="107722"/>
          </a:xfrm>
          <a:prstGeom prst="rect">
            <a:avLst/>
          </a:prstGeom>
          <a:noFill/>
          <a:effectLst/>
        </p:spPr>
        <p:txBody>
          <a:bodyPr wrap="none" lIns="0" tIns="0" rIns="0" bIns="0" rtlCol="0" anchor="t" anchorCtr="0">
            <a:spAutoFit/>
          </a:bodyPr>
          <a:lstStyle/>
          <a:p>
            <a:pPr algn="ctr"/>
            <a:r>
              <a:rPr lang="en-GB" sz="700" dirty="0">
                <a:solidFill>
                  <a:schemeClr val="tx2"/>
                </a:solidFill>
              </a:rPr>
              <a:t>Participants</a:t>
            </a:r>
          </a:p>
        </p:txBody>
      </p:sp>
      <p:sp>
        <p:nvSpPr>
          <p:cNvPr id="592" name="TextBox 1428">
            <a:extLst>
              <a:ext uri="{FF2B5EF4-FFF2-40B4-BE49-F238E27FC236}">
                <a16:creationId xmlns:a16="http://schemas.microsoft.com/office/drawing/2014/main" id="{30FF7CAD-97C9-4D3A-99E5-0A5EB03BBC72}"/>
              </a:ext>
            </a:extLst>
          </p:cNvPr>
          <p:cNvSpPr txBox="1"/>
          <p:nvPr/>
        </p:nvSpPr>
        <p:spPr>
          <a:xfrm>
            <a:off x="6128859" y="3723675"/>
            <a:ext cx="259686" cy="107722"/>
          </a:xfrm>
          <a:prstGeom prst="rect">
            <a:avLst/>
          </a:prstGeom>
          <a:noFill/>
          <a:effectLst/>
        </p:spPr>
        <p:txBody>
          <a:bodyPr wrap="none" lIns="0" tIns="0" rIns="0" bIns="0" rtlCol="0" anchor="t" anchorCtr="0">
            <a:spAutoFit/>
          </a:bodyPr>
          <a:lstStyle/>
          <a:p>
            <a:pPr algn="ctr"/>
            <a:r>
              <a:rPr lang="en-GB" sz="700" dirty="0">
                <a:solidFill>
                  <a:schemeClr val="tx2"/>
                </a:solidFill>
              </a:rPr>
              <a:t>Expert</a:t>
            </a:r>
          </a:p>
        </p:txBody>
      </p:sp>
      <p:sp>
        <p:nvSpPr>
          <p:cNvPr id="594" name="Freihandform: Form 593">
            <a:extLst>
              <a:ext uri="{FF2B5EF4-FFF2-40B4-BE49-F238E27FC236}">
                <a16:creationId xmlns:a16="http://schemas.microsoft.com/office/drawing/2014/main" id="{10525F87-79AC-4A45-96E5-9195DF37D662}"/>
              </a:ext>
            </a:extLst>
          </p:cNvPr>
          <p:cNvSpPr/>
          <p:nvPr/>
        </p:nvSpPr>
        <p:spPr>
          <a:xfrm>
            <a:off x="4967902" y="4077385"/>
            <a:ext cx="490720" cy="432000"/>
          </a:xfrm>
          <a:custGeom>
            <a:avLst/>
            <a:gdLst>
              <a:gd name="connsiteX0" fmla="*/ 197360 w 448504"/>
              <a:gd name="connsiteY0" fmla="*/ 394836 h 394836"/>
              <a:gd name="connsiteX1" fmla="*/ 90238 w 448504"/>
              <a:gd name="connsiteY1" fmla="*/ 363263 h 394836"/>
              <a:gd name="connsiteX2" fmla="*/ 88763 w 448504"/>
              <a:gd name="connsiteY2" fmla="*/ 356411 h 394836"/>
              <a:gd name="connsiteX3" fmla="*/ 95615 w 448504"/>
              <a:gd name="connsiteY3" fmla="*/ 354936 h 394836"/>
              <a:gd name="connsiteX4" fmla="*/ 197389 w 448504"/>
              <a:gd name="connsiteY4" fmla="*/ 384919 h 394836"/>
              <a:gd name="connsiteX5" fmla="*/ 333107 w 448504"/>
              <a:gd name="connsiteY5" fmla="*/ 326688 h 394836"/>
              <a:gd name="connsiteX6" fmla="*/ 338225 w 448504"/>
              <a:gd name="connsiteY6" fmla="*/ 325387 h 394836"/>
              <a:gd name="connsiteX7" fmla="*/ 433464 w 448504"/>
              <a:gd name="connsiteY7" fmla="*/ 356266 h 394836"/>
              <a:gd name="connsiteX8" fmla="*/ 378211 w 448504"/>
              <a:gd name="connsiteY8" fmla="*/ 252006 h 394836"/>
              <a:gd name="connsiteX9" fmla="*/ 377835 w 448504"/>
              <a:gd name="connsiteY9" fmla="*/ 248334 h 394836"/>
              <a:gd name="connsiteX10" fmla="*/ 384919 w 448504"/>
              <a:gd name="connsiteY10" fmla="*/ 197389 h 394836"/>
              <a:gd name="connsiteX11" fmla="*/ 197418 w 448504"/>
              <a:gd name="connsiteY11" fmla="*/ 9888 h 394836"/>
              <a:gd name="connsiteX12" fmla="*/ 9917 w 448504"/>
              <a:gd name="connsiteY12" fmla="*/ 197389 h 394836"/>
              <a:gd name="connsiteX13" fmla="*/ 27005 w 448504"/>
              <a:gd name="connsiteY13" fmla="*/ 275715 h 394836"/>
              <a:gd name="connsiteX14" fmla="*/ 24576 w 448504"/>
              <a:gd name="connsiteY14" fmla="*/ 282278 h 394836"/>
              <a:gd name="connsiteX15" fmla="*/ 18013 w 448504"/>
              <a:gd name="connsiteY15" fmla="*/ 279849 h 394836"/>
              <a:gd name="connsiteX16" fmla="*/ 0 w 448504"/>
              <a:gd name="connsiteY16" fmla="*/ 197389 h 394836"/>
              <a:gd name="connsiteX17" fmla="*/ 197389 w 448504"/>
              <a:gd name="connsiteY17" fmla="*/ 0 h 394836"/>
              <a:gd name="connsiteX18" fmla="*/ 394778 w 448504"/>
              <a:gd name="connsiteY18" fmla="*/ 197389 h 394836"/>
              <a:gd name="connsiteX19" fmla="*/ 387868 w 448504"/>
              <a:gd name="connsiteY19" fmla="*/ 249115 h 394836"/>
              <a:gd name="connsiteX20" fmla="*/ 447921 w 448504"/>
              <a:gd name="connsiteY20" fmla="*/ 362425 h 394836"/>
              <a:gd name="connsiteX21" fmla="*/ 447342 w 448504"/>
              <a:gd name="connsiteY21" fmla="*/ 367918 h 394836"/>
              <a:gd name="connsiteX22" fmla="*/ 442022 w 448504"/>
              <a:gd name="connsiteY22" fmla="*/ 369451 h 394836"/>
              <a:gd name="connsiteX23" fmla="*/ 338109 w 448504"/>
              <a:gd name="connsiteY23" fmla="*/ 335767 h 394836"/>
              <a:gd name="connsiteX24" fmla="*/ 197360 w 448504"/>
              <a:gd name="connsiteY24" fmla="*/ 394836 h 394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48504" h="394836">
                <a:moveTo>
                  <a:pt x="197360" y="394836"/>
                </a:moveTo>
                <a:cubicBezTo>
                  <a:pt x="159195" y="394836"/>
                  <a:pt x="122129" y="383907"/>
                  <a:pt x="90238" y="363263"/>
                </a:cubicBezTo>
                <a:cubicBezTo>
                  <a:pt x="87953" y="361789"/>
                  <a:pt x="87288" y="358724"/>
                  <a:pt x="88763" y="356411"/>
                </a:cubicBezTo>
                <a:cubicBezTo>
                  <a:pt x="90238" y="354098"/>
                  <a:pt x="93331" y="353462"/>
                  <a:pt x="95615" y="354936"/>
                </a:cubicBezTo>
                <a:cubicBezTo>
                  <a:pt x="125916" y="374539"/>
                  <a:pt x="161103" y="384919"/>
                  <a:pt x="197389" y="384919"/>
                </a:cubicBezTo>
                <a:cubicBezTo>
                  <a:pt x="249144" y="384919"/>
                  <a:pt x="297342" y="364246"/>
                  <a:pt x="333107" y="326688"/>
                </a:cubicBezTo>
                <a:cubicBezTo>
                  <a:pt x="334437" y="325329"/>
                  <a:pt x="336403" y="324809"/>
                  <a:pt x="338225" y="325387"/>
                </a:cubicBezTo>
                <a:lnTo>
                  <a:pt x="433464" y="356266"/>
                </a:lnTo>
                <a:lnTo>
                  <a:pt x="378211" y="252006"/>
                </a:lnTo>
                <a:cubicBezTo>
                  <a:pt x="377604" y="250878"/>
                  <a:pt x="377460" y="249577"/>
                  <a:pt x="377835" y="248334"/>
                </a:cubicBezTo>
                <a:cubicBezTo>
                  <a:pt x="382519" y="231709"/>
                  <a:pt x="384919" y="214564"/>
                  <a:pt x="384919" y="197389"/>
                </a:cubicBezTo>
                <a:cubicBezTo>
                  <a:pt x="384919" y="93996"/>
                  <a:pt x="300811" y="9888"/>
                  <a:pt x="197418" y="9888"/>
                </a:cubicBezTo>
                <a:cubicBezTo>
                  <a:pt x="94025" y="9888"/>
                  <a:pt x="9917" y="93996"/>
                  <a:pt x="9917" y="197389"/>
                </a:cubicBezTo>
                <a:cubicBezTo>
                  <a:pt x="9917" y="224741"/>
                  <a:pt x="15671" y="251081"/>
                  <a:pt x="27005" y="275715"/>
                </a:cubicBezTo>
                <a:cubicBezTo>
                  <a:pt x="28161" y="278201"/>
                  <a:pt x="27063" y="281121"/>
                  <a:pt x="24576" y="282278"/>
                </a:cubicBezTo>
                <a:cubicBezTo>
                  <a:pt x="22090" y="283406"/>
                  <a:pt x="19140" y="282336"/>
                  <a:pt x="18013" y="279849"/>
                </a:cubicBezTo>
                <a:cubicBezTo>
                  <a:pt x="6072" y="253914"/>
                  <a:pt x="0" y="226158"/>
                  <a:pt x="0" y="197389"/>
                </a:cubicBezTo>
                <a:cubicBezTo>
                  <a:pt x="0" y="88532"/>
                  <a:pt x="88561" y="0"/>
                  <a:pt x="197389" y="0"/>
                </a:cubicBezTo>
                <a:cubicBezTo>
                  <a:pt x="306247" y="0"/>
                  <a:pt x="394778" y="88561"/>
                  <a:pt x="394778" y="197389"/>
                </a:cubicBezTo>
                <a:cubicBezTo>
                  <a:pt x="394778" y="214824"/>
                  <a:pt x="392465" y="232201"/>
                  <a:pt x="387868" y="249115"/>
                </a:cubicBezTo>
                <a:lnTo>
                  <a:pt x="447921" y="362425"/>
                </a:lnTo>
                <a:cubicBezTo>
                  <a:pt x="448875" y="364218"/>
                  <a:pt x="448643" y="366386"/>
                  <a:pt x="447342" y="367918"/>
                </a:cubicBezTo>
                <a:cubicBezTo>
                  <a:pt x="446041" y="369451"/>
                  <a:pt x="443959" y="370058"/>
                  <a:pt x="442022" y="369451"/>
                </a:cubicBezTo>
                <a:lnTo>
                  <a:pt x="338109" y="335767"/>
                </a:lnTo>
                <a:cubicBezTo>
                  <a:pt x="300638" y="373874"/>
                  <a:pt x="250792" y="394836"/>
                  <a:pt x="197360" y="394836"/>
                </a:cubicBezTo>
                <a:close/>
              </a:path>
            </a:pathLst>
          </a:custGeom>
          <a:solidFill>
            <a:schemeClr val="accent1"/>
          </a:solidFill>
          <a:ln w="2890" cap="flat">
            <a:noFill/>
            <a:prstDash val="solid"/>
            <a:miter/>
          </a:ln>
        </p:spPr>
        <p:txBody>
          <a:bodyPr rtlCol="0" anchor="ctr"/>
          <a:lstStyle/>
          <a:p>
            <a:endParaRPr lang="en-GB" dirty="0"/>
          </a:p>
        </p:txBody>
      </p:sp>
      <p:grpSp>
        <p:nvGrpSpPr>
          <p:cNvPr id="46" name="Group 45">
            <a:extLst>
              <a:ext uri="{FF2B5EF4-FFF2-40B4-BE49-F238E27FC236}">
                <a16:creationId xmlns:a16="http://schemas.microsoft.com/office/drawing/2014/main" id="{CF03BB93-73D1-5A2B-B1D8-750ECFAFE633}"/>
              </a:ext>
            </a:extLst>
          </p:cNvPr>
          <p:cNvGrpSpPr/>
          <p:nvPr/>
        </p:nvGrpSpPr>
        <p:grpSpPr>
          <a:xfrm>
            <a:off x="4986180" y="4141506"/>
            <a:ext cx="358734" cy="331244"/>
            <a:chOff x="4985768" y="4141506"/>
            <a:chExt cx="358734" cy="331244"/>
          </a:xfrm>
        </p:grpSpPr>
        <p:grpSp>
          <p:nvGrpSpPr>
            <p:cNvPr id="596" name="Grafik 53">
              <a:extLst>
                <a:ext uri="{FF2B5EF4-FFF2-40B4-BE49-F238E27FC236}">
                  <a16:creationId xmlns:a16="http://schemas.microsoft.com/office/drawing/2014/main" id="{DB64C60D-3783-4D36-A1BF-96E1A3ED9677}"/>
                </a:ext>
              </a:extLst>
            </p:cNvPr>
            <p:cNvGrpSpPr/>
            <p:nvPr/>
          </p:nvGrpSpPr>
          <p:grpSpPr>
            <a:xfrm>
              <a:off x="5034928" y="4145428"/>
              <a:ext cx="307391" cy="307391"/>
              <a:chOff x="5410529" y="4246123"/>
              <a:chExt cx="280947" cy="280947"/>
            </a:xfrm>
            <a:solidFill>
              <a:schemeClr val="tx2"/>
            </a:solidFill>
          </p:grpSpPr>
          <p:sp>
            <p:nvSpPr>
              <p:cNvPr id="598" name="Freihandform: Form 597">
                <a:extLst>
                  <a:ext uri="{FF2B5EF4-FFF2-40B4-BE49-F238E27FC236}">
                    <a16:creationId xmlns:a16="http://schemas.microsoft.com/office/drawing/2014/main" id="{3B0B00EB-485C-44F1-96F4-0C3EF1F9D873}"/>
                  </a:ext>
                </a:extLst>
              </p:cNvPr>
              <p:cNvSpPr/>
              <p:nvPr/>
            </p:nvSpPr>
            <p:spPr>
              <a:xfrm>
                <a:off x="5423816" y="4446044"/>
                <a:ext cx="31146" cy="39449"/>
              </a:xfrm>
              <a:custGeom>
                <a:avLst/>
                <a:gdLst>
                  <a:gd name="connsiteX0" fmla="*/ 26179 w 31146"/>
                  <a:gd name="connsiteY0" fmla="*/ 39450 h 39449"/>
                  <a:gd name="connsiteX1" fmla="*/ 22593 w 31146"/>
                  <a:gd name="connsiteY1" fmla="*/ 37888 h 39449"/>
                  <a:gd name="connsiteX2" fmla="*/ 591 w 31146"/>
                  <a:gd name="connsiteY2" fmla="*/ 7298 h 39449"/>
                  <a:gd name="connsiteX3" fmla="*/ 2614 w 31146"/>
                  <a:gd name="connsiteY3" fmla="*/ 591 h 39449"/>
                  <a:gd name="connsiteX4" fmla="*/ 9322 w 31146"/>
                  <a:gd name="connsiteY4" fmla="*/ 2614 h 39449"/>
                  <a:gd name="connsiteX5" fmla="*/ 29793 w 31146"/>
                  <a:gd name="connsiteY5" fmla="*/ 31065 h 39449"/>
                  <a:gd name="connsiteX6" fmla="*/ 29590 w 31146"/>
                  <a:gd name="connsiteY6" fmla="*/ 38062 h 39449"/>
                  <a:gd name="connsiteX7" fmla="*/ 26179 w 31146"/>
                  <a:gd name="connsiteY7" fmla="*/ 39450 h 39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46" h="39449">
                    <a:moveTo>
                      <a:pt x="26179" y="39450"/>
                    </a:moveTo>
                    <a:cubicBezTo>
                      <a:pt x="24878" y="39450"/>
                      <a:pt x="23548" y="38929"/>
                      <a:pt x="22593" y="37888"/>
                    </a:cubicBezTo>
                    <a:cubicBezTo>
                      <a:pt x="13919" y="28723"/>
                      <a:pt x="6518" y="18430"/>
                      <a:pt x="591" y="7298"/>
                    </a:cubicBezTo>
                    <a:cubicBezTo>
                      <a:pt x="-711" y="4899"/>
                      <a:pt x="215" y="1892"/>
                      <a:pt x="2614" y="591"/>
                    </a:cubicBezTo>
                    <a:cubicBezTo>
                      <a:pt x="5014" y="-710"/>
                      <a:pt x="8021" y="215"/>
                      <a:pt x="9322" y="2614"/>
                    </a:cubicBezTo>
                    <a:cubicBezTo>
                      <a:pt x="14845" y="12965"/>
                      <a:pt x="21755" y="22536"/>
                      <a:pt x="29793" y="31065"/>
                    </a:cubicBezTo>
                    <a:cubicBezTo>
                      <a:pt x="31672" y="33060"/>
                      <a:pt x="31585" y="36182"/>
                      <a:pt x="29590" y="38062"/>
                    </a:cubicBezTo>
                    <a:cubicBezTo>
                      <a:pt x="28607" y="39016"/>
                      <a:pt x="27393" y="39450"/>
                      <a:pt x="26179" y="39450"/>
                    </a:cubicBezTo>
                    <a:close/>
                  </a:path>
                </a:pathLst>
              </a:custGeom>
              <a:grpFill/>
              <a:ln w="2890" cap="flat">
                <a:noFill/>
                <a:prstDash val="solid"/>
                <a:miter/>
              </a:ln>
            </p:spPr>
            <p:txBody>
              <a:bodyPr rtlCol="0" anchor="ctr"/>
              <a:lstStyle/>
              <a:p>
                <a:endParaRPr lang="en-GB" dirty="0"/>
              </a:p>
            </p:txBody>
          </p:sp>
          <p:sp>
            <p:nvSpPr>
              <p:cNvPr id="599" name="Freihandform: Form 598">
                <a:extLst>
                  <a:ext uri="{FF2B5EF4-FFF2-40B4-BE49-F238E27FC236}">
                    <a16:creationId xmlns:a16="http://schemas.microsoft.com/office/drawing/2014/main" id="{732EC55C-C07A-41B5-9780-1D9B70422285}"/>
                  </a:ext>
                </a:extLst>
              </p:cNvPr>
              <p:cNvSpPr/>
              <p:nvPr/>
            </p:nvSpPr>
            <p:spPr>
              <a:xfrm>
                <a:off x="5410529" y="4381638"/>
                <a:ext cx="280947" cy="9888"/>
              </a:xfrm>
              <a:custGeom>
                <a:avLst/>
                <a:gdLst>
                  <a:gd name="connsiteX0" fmla="*/ 276004 w 280947"/>
                  <a:gd name="connsiteY0" fmla="*/ 9888 h 9888"/>
                  <a:gd name="connsiteX1" fmla="*/ 4944 w 280947"/>
                  <a:gd name="connsiteY1" fmla="*/ 9888 h 9888"/>
                  <a:gd name="connsiteX2" fmla="*/ 0 w 280947"/>
                  <a:gd name="connsiteY2" fmla="*/ 4944 h 9888"/>
                  <a:gd name="connsiteX3" fmla="*/ 4944 w 280947"/>
                  <a:gd name="connsiteY3" fmla="*/ 0 h 9888"/>
                  <a:gd name="connsiteX4" fmla="*/ 276004 w 280947"/>
                  <a:gd name="connsiteY4" fmla="*/ 0 h 9888"/>
                  <a:gd name="connsiteX5" fmla="*/ 280948 w 280947"/>
                  <a:gd name="connsiteY5" fmla="*/ 4944 h 9888"/>
                  <a:gd name="connsiteX6" fmla="*/ 276004 w 280947"/>
                  <a:gd name="connsiteY6" fmla="*/ 9888 h 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0947" h="9888">
                    <a:moveTo>
                      <a:pt x="276004" y="9888"/>
                    </a:moveTo>
                    <a:lnTo>
                      <a:pt x="4944" y="9888"/>
                    </a:lnTo>
                    <a:cubicBezTo>
                      <a:pt x="2197" y="9888"/>
                      <a:pt x="0" y="7662"/>
                      <a:pt x="0" y="4944"/>
                    </a:cubicBezTo>
                    <a:cubicBezTo>
                      <a:pt x="0" y="2226"/>
                      <a:pt x="2226" y="0"/>
                      <a:pt x="4944" y="0"/>
                    </a:cubicBezTo>
                    <a:lnTo>
                      <a:pt x="276004" y="0"/>
                    </a:lnTo>
                    <a:cubicBezTo>
                      <a:pt x="278722" y="0"/>
                      <a:pt x="280948" y="2226"/>
                      <a:pt x="280948" y="4944"/>
                    </a:cubicBezTo>
                    <a:cubicBezTo>
                      <a:pt x="280948" y="7662"/>
                      <a:pt x="278750" y="9888"/>
                      <a:pt x="276004" y="9888"/>
                    </a:cubicBezTo>
                    <a:close/>
                  </a:path>
                </a:pathLst>
              </a:custGeom>
              <a:grpFill/>
              <a:ln w="2890" cap="flat">
                <a:noFill/>
                <a:prstDash val="solid"/>
                <a:miter/>
              </a:ln>
            </p:spPr>
            <p:txBody>
              <a:bodyPr rtlCol="0" anchor="ctr"/>
              <a:lstStyle/>
              <a:p>
                <a:endParaRPr lang="en-GB" dirty="0"/>
              </a:p>
            </p:txBody>
          </p:sp>
          <p:sp>
            <p:nvSpPr>
              <p:cNvPr id="600" name="Freihandform: Form 599">
                <a:extLst>
                  <a:ext uri="{FF2B5EF4-FFF2-40B4-BE49-F238E27FC236}">
                    <a16:creationId xmlns:a16="http://schemas.microsoft.com/office/drawing/2014/main" id="{8A37C237-2197-471C-BC56-C1C20738141F}"/>
                  </a:ext>
                </a:extLst>
              </p:cNvPr>
              <p:cNvSpPr/>
              <p:nvPr/>
            </p:nvSpPr>
            <p:spPr>
              <a:xfrm>
                <a:off x="5546073" y="4246123"/>
                <a:ext cx="9888" cy="280947"/>
              </a:xfrm>
              <a:custGeom>
                <a:avLst/>
                <a:gdLst>
                  <a:gd name="connsiteX0" fmla="*/ 4944 w 9888"/>
                  <a:gd name="connsiteY0" fmla="*/ 280948 h 280947"/>
                  <a:gd name="connsiteX1" fmla="*/ 0 w 9888"/>
                  <a:gd name="connsiteY1" fmla="*/ 276004 h 280947"/>
                  <a:gd name="connsiteX2" fmla="*/ 0 w 9888"/>
                  <a:gd name="connsiteY2" fmla="*/ 4944 h 280947"/>
                  <a:gd name="connsiteX3" fmla="*/ 4944 w 9888"/>
                  <a:gd name="connsiteY3" fmla="*/ 0 h 280947"/>
                  <a:gd name="connsiteX4" fmla="*/ 9888 w 9888"/>
                  <a:gd name="connsiteY4" fmla="*/ 4944 h 280947"/>
                  <a:gd name="connsiteX5" fmla="*/ 9888 w 9888"/>
                  <a:gd name="connsiteY5" fmla="*/ 276004 h 280947"/>
                  <a:gd name="connsiteX6" fmla="*/ 4944 w 9888"/>
                  <a:gd name="connsiteY6" fmla="*/ 280948 h 280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888" h="280947">
                    <a:moveTo>
                      <a:pt x="4944" y="280948"/>
                    </a:moveTo>
                    <a:cubicBezTo>
                      <a:pt x="2226" y="280948"/>
                      <a:pt x="0" y="278722"/>
                      <a:pt x="0" y="276004"/>
                    </a:cubicBezTo>
                    <a:lnTo>
                      <a:pt x="0" y="4944"/>
                    </a:lnTo>
                    <a:cubicBezTo>
                      <a:pt x="0" y="2226"/>
                      <a:pt x="2226" y="0"/>
                      <a:pt x="4944" y="0"/>
                    </a:cubicBezTo>
                    <a:cubicBezTo>
                      <a:pt x="7691" y="0"/>
                      <a:pt x="9888" y="2226"/>
                      <a:pt x="9888" y="4944"/>
                    </a:cubicBezTo>
                    <a:lnTo>
                      <a:pt x="9888" y="276004"/>
                    </a:lnTo>
                    <a:cubicBezTo>
                      <a:pt x="9888" y="278722"/>
                      <a:pt x="7691" y="280948"/>
                      <a:pt x="4944" y="280948"/>
                    </a:cubicBezTo>
                    <a:close/>
                  </a:path>
                </a:pathLst>
              </a:custGeom>
              <a:grpFill/>
              <a:ln w="2890" cap="flat">
                <a:noFill/>
                <a:prstDash val="solid"/>
                <a:miter/>
              </a:ln>
            </p:spPr>
            <p:txBody>
              <a:bodyPr rtlCol="0" anchor="ctr"/>
              <a:lstStyle/>
              <a:p>
                <a:endParaRPr lang="en-GB" dirty="0"/>
              </a:p>
            </p:txBody>
          </p:sp>
          <p:sp>
            <p:nvSpPr>
              <p:cNvPr id="601" name="Freihandform: Form 600">
                <a:extLst>
                  <a:ext uri="{FF2B5EF4-FFF2-40B4-BE49-F238E27FC236}">
                    <a16:creationId xmlns:a16="http://schemas.microsoft.com/office/drawing/2014/main" id="{7F792D82-096C-41CF-9D9B-98AF47C381E5}"/>
                  </a:ext>
                </a:extLst>
              </p:cNvPr>
              <p:cNvSpPr/>
              <p:nvPr/>
            </p:nvSpPr>
            <p:spPr>
              <a:xfrm>
                <a:off x="5438763" y="4296899"/>
                <a:ext cx="224489" cy="37321"/>
              </a:xfrm>
              <a:custGeom>
                <a:avLst/>
                <a:gdLst>
                  <a:gd name="connsiteX0" fmla="*/ 116620 w 224489"/>
                  <a:gd name="connsiteY0" fmla="*/ 37321 h 37321"/>
                  <a:gd name="connsiteX1" fmla="*/ 2472 w 224489"/>
                  <a:gd name="connsiteY1" fmla="*/ 9247 h 37321"/>
                  <a:gd name="connsiteX2" fmla="*/ 679 w 224489"/>
                  <a:gd name="connsiteY2" fmla="*/ 2481 h 37321"/>
                  <a:gd name="connsiteX3" fmla="*/ 7445 w 224489"/>
                  <a:gd name="connsiteY3" fmla="*/ 660 h 37321"/>
                  <a:gd name="connsiteX4" fmla="*/ 217064 w 224489"/>
                  <a:gd name="connsiteY4" fmla="*/ 660 h 37321"/>
                  <a:gd name="connsiteX5" fmla="*/ 223830 w 224489"/>
                  <a:gd name="connsiteY5" fmla="*/ 2452 h 37321"/>
                  <a:gd name="connsiteX6" fmla="*/ 222037 w 224489"/>
                  <a:gd name="connsiteY6" fmla="*/ 9218 h 37321"/>
                  <a:gd name="connsiteX7" fmla="*/ 116620 w 224489"/>
                  <a:gd name="connsiteY7" fmla="*/ 37321 h 3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489" h="37321">
                    <a:moveTo>
                      <a:pt x="116620" y="37321"/>
                    </a:moveTo>
                    <a:cubicBezTo>
                      <a:pt x="52057" y="37321"/>
                      <a:pt x="3194" y="9681"/>
                      <a:pt x="2472" y="9247"/>
                    </a:cubicBezTo>
                    <a:cubicBezTo>
                      <a:pt x="101" y="7888"/>
                      <a:pt x="-709" y="4852"/>
                      <a:pt x="679" y="2481"/>
                    </a:cubicBezTo>
                    <a:cubicBezTo>
                      <a:pt x="2038" y="110"/>
                      <a:pt x="5074" y="-699"/>
                      <a:pt x="7445" y="660"/>
                    </a:cubicBezTo>
                    <a:cubicBezTo>
                      <a:pt x="8485" y="1267"/>
                      <a:pt x="113613" y="60568"/>
                      <a:pt x="217064" y="660"/>
                    </a:cubicBezTo>
                    <a:cubicBezTo>
                      <a:pt x="219435" y="-699"/>
                      <a:pt x="222442" y="110"/>
                      <a:pt x="223830" y="2452"/>
                    </a:cubicBezTo>
                    <a:cubicBezTo>
                      <a:pt x="225189" y="4823"/>
                      <a:pt x="224379" y="7859"/>
                      <a:pt x="222037" y="9218"/>
                    </a:cubicBezTo>
                    <a:cubicBezTo>
                      <a:pt x="185664" y="30296"/>
                      <a:pt x="149147" y="37321"/>
                      <a:pt x="116620" y="37321"/>
                    </a:cubicBezTo>
                    <a:close/>
                  </a:path>
                </a:pathLst>
              </a:custGeom>
              <a:grpFill/>
              <a:ln w="2890" cap="flat">
                <a:noFill/>
                <a:prstDash val="solid"/>
                <a:miter/>
              </a:ln>
            </p:spPr>
            <p:txBody>
              <a:bodyPr rtlCol="0" anchor="ctr"/>
              <a:lstStyle/>
              <a:p>
                <a:endParaRPr lang="en-GB" dirty="0"/>
              </a:p>
            </p:txBody>
          </p:sp>
          <p:sp>
            <p:nvSpPr>
              <p:cNvPr id="602" name="Freihandform: Form 601">
                <a:extLst>
                  <a:ext uri="{FF2B5EF4-FFF2-40B4-BE49-F238E27FC236}">
                    <a16:creationId xmlns:a16="http://schemas.microsoft.com/office/drawing/2014/main" id="{43B9B52C-619C-4DEF-8278-D1211316463D}"/>
                  </a:ext>
                </a:extLst>
              </p:cNvPr>
              <p:cNvSpPr/>
              <p:nvPr/>
            </p:nvSpPr>
            <p:spPr>
              <a:xfrm>
                <a:off x="5478538" y="4251340"/>
                <a:ext cx="42917" cy="270497"/>
              </a:xfrm>
              <a:custGeom>
                <a:avLst/>
                <a:gdLst>
                  <a:gd name="connsiteX0" fmla="*/ 37957 w 42917"/>
                  <a:gd name="connsiteY0" fmla="*/ 270498 h 270497"/>
                  <a:gd name="connsiteX1" fmla="*/ 33707 w 42917"/>
                  <a:gd name="connsiteY1" fmla="*/ 268098 h 270497"/>
                  <a:gd name="connsiteX2" fmla="*/ 33620 w 42917"/>
                  <a:gd name="connsiteY2" fmla="*/ 2561 h 270497"/>
                  <a:gd name="connsiteX3" fmla="*/ 40357 w 42917"/>
                  <a:gd name="connsiteY3" fmla="*/ 624 h 270497"/>
                  <a:gd name="connsiteX4" fmla="*/ 42294 w 42917"/>
                  <a:gd name="connsiteY4" fmla="*/ 7331 h 270497"/>
                  <a:gd name="connsiteX5" fmla="*/ 42207 w 42917"/>
                  <a:gd name="connsiteY5" fmla="*/ 263009 h 270497"/>
                  <a:gd name="connsiteX6" fmla="*/ 40501 w 42917"/>
                  <a:gd name="connsiteY6" fmla="*/ 269804 h 270497"/>
                  <a:gd name="connsiteX7" fmla="*/ 37957 w 42917"/>
                  <a:gd name="connsiteY7" fmla="*/ 270498 h 270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17" h="270497">
                    <a:moveTo>
                      <a:pt x="37957" y="270498"/>
                    </a:moveTo>
                    <a:cubicBezTo>
                      <a:pt x="36280" y="270498"/>
                      <a:pt x="34632" y="269630"/>
                      <a:pt x="33707" y="268098"/>
                    </a:cubicBezTo>
                    <a:cubicBezTo>
                      <a:pt x="32955" y="266826"/>
                      <a:pt x="-41699" y="139001"/>
                      <a:pt x="33620" y="2561"/>
                    </a:cubicBezTo>
                    <a:cubicBezTo>
                      <a:pt x="34950" y="161"/>
                      <a:pt x="37957" y="-706"/>
                      <a:pt x="40357" y="624"/>
                    </a:cubicBezTo>
                    <a:cubicBezTo>
                      <a:pt x="42756" y="1954"/>
                      <a:pt x="43624" y="4961"/>
                      <a:pt x="42294" y="7331"/>
                    </a:cubicBezTo>
                    <a:cubicBezTo>
                      <a:pt x="-30307" y="138857"/>
                      <a:pt x="41484" y="261766"/>
                      <a:pt x="42207" y="263009"/>
                    </a:cubicBezTo>
                    <a:cubicBezTo>
                      <a:pt x="43624" y="265351"/>
                      <a:pt x="42843" y="268387"/>
                      <a:pt x="40501" y="269804"/>
                    </a:cubicBezTo>
                    <a:cubicBezTo>
                      <a:pt x="39721" y="270266"/>
                      <a:pt x="38824" y="270498"/>
                      <a:pt x="37957" y="270498"/>
                    </a:cubicBezTo>
                    <a:close/>
                  </a:path>
                </a:pathLst>
              </a:custGeom>
              <a:grpFill/>
              <a:ln w="2890" cap="flat">
                <a:noFill/>
                <a:prstDash val="solid"/>
                <a:miter/>
              </a:ln>
            </p:spPr>
            <p:txBody>
              <a:bodyPr rtlCol="0" anchor="ctr"/>
              <a:lstStyle/>
              <a:p>
                <a:endParaRPr lang="en-GB" dirty="0"/>
              </a:p>
            </p:txBody>
          </p:sp>
          <p:sp>
            <p:nvSpPr>
              <p:cNvPr id="603" name="Freihandform: Form 602">
                <a:extLst>
                  <a:ext uri="{FF2B5EF4-FFF2-40B4-BE49-F238E27FC236}">
                    <a16:creationId xmlns:a16="http://schemas.microsoft.com/office/drawing/2014/main" id="{23543929-97CD-4652-A078-5222408CE2DA}"/>
                  </a:ext>
                </a:extLst>
              </p:cNvPr>
              <p:cNvSpPr/>
              <p:nvPr/>
            </p:nvSpPr>
            <p:spPr>
              <a:xfrm>
                <a:off x="5580550" y="4251353"/>
                <a:ext cx="42917" cy="270484"/>
              </a:xfrm>
              <a:custGeom>
                <a:avLst/>
                <a:gdLst>
                  <a:gd name="connsiteX0" fmla="*/ 4961 w 42917"/>
                  <a:gd name="connsiteY0" fmla="*/ 270485 h 270484"/>
                  <a:gd name="connsiteX1" fmla="*/ 2416 w 42917"/>
                  <a:gd name="connsiteY1" fmla="*/ 269791 h 270484"/>
                  <a:gd name="connsiteX2" fmla="*/ 710 w 42917"/>
                  <a:gd name="connsiteY2" fmla="*/ 262997 h 270484"/>
                  <a:gd name="connsiteX3" fmla="*/ 624 w 42917"/>
                  <a:gd name="connsiteY3" fmla="*/ 7318 h 270484"/>
                  <a:gd name="connsiteX4" fmla="*/ 2561 w 42917"/>
                  <a:gd name="connsiteY4" fmla="*/ 611 h 270484"/>
                  <a:gd name="connsiteX5" fmla="*/ 9297 w 42917"/>
                  <a:gd name="connsiteY5" fmla="*/ 2548 h 270484"/>
                  <a:gd name="connsiteX6" fmla="*/ 9211 w 42917"/>
                  <a:gd name="connsiteY6" fmla="*/ 268085 h 270484"/>
                  <a:gd name="connsiteX7" fmla="*/ 4961 w 42917"/>
                  <a:gd name="connsiteY7" fmla="*/ 270485 h 270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917" h="270484">
                    <a:moveTo>
                      <a:pt x="4961" y="270485"/>
                    </a:moveTo>
                    <a:cubicBezTo>
                      <a:pt x="4093" y="270485"/>
                      <a:pt x="3226" y="270254"/>
                      <a:pt x="2416" y="269791"/>
                    </a:cubicBezTo>
                    <a:cubicBezTo>
                      <a:pt x="74" y="268403"/>
                      <a:pt x="-706" y="265338"/>
                      <a:pt x="710" y="262997"/>
                    </a:cubicBezTo>
                    <a:cubicBezTo>
                      <a:pt x="1433" y="261782"/>
                      <a:pt x="73137" y="138671"/>
                      <a:pt x="624" y="7318"/>
                    </a:cubicBezTo>
                    <a:cubicBezTo>
                      <a:pt x="-706" y="4919"/>
                      <a:pt x="161" y="1912"/>
                      <a:pt x="2561" y="611"/>
                    </a:cubicBezTo>
                    <a:cubicBezTo>
                      <a:pt x="4961" y="-690"/>
                      <a:pt x="7967" y="148"/>
                      <a:pt x="9297" y="2548"/>
                    </a:cubicBezTo>
                    <a:cubicBezTo>
                      <a:pt x="84616" y="138989"/>
                      <a:pt x="9962" y="266813"/>
                      <a:pt x="9211" y="268085"/>
                    </a:cubicBezTo>
                    <a:cubicBezTo>
                      <a:pt x="8286" y="269618"/>
                      <a:pt x="6637" y="270485"/>
                      <a:pt x="4961" y="270485"/>
                    </a:cubicBezTo>
                    <a:close/>
                  </a:path>
                </a:pathLst>
              </a:custGeom>
              <a:grpFill/>
              <a:ln w="2890" cap="flat">
                <a:noFill/>
                <a:prstDash val="solid"/>
                <a:miter/>
              </a:ln>
            </p:spPr>
            <p:txBody>
              <a:bodyPr rtlCol="0" anchor="ctr"/>
              <a:lstStyle/>
              <a:p>
                <a:endParaRPr lang="en-GB" dirty="0"/>
              </a:p>
            </p:txBody>
          </p:sp>
          <p:sp>
            <p:nvSpPr>
              <p:cNvPr id="604" name="Freihandform: Form 603">
                <a:extLst>
                  <a:ext uri="{FF2B5EF4-FFF2-40B4-BE49-F238E27FC236}">
                    <a16:creationId xmlns:a16="http://schemas.microsoft.com/office/drawing/2014/main" id="{43A2F4AE-EE98-4470-A332-0034D6C9CE70}"/>
                  </a:ext>
                </a:extLst>
              </p:cNvPr>
              <p:cNvSpPr/>
              <p:nvPr/>
            </p:nvSpPr>
            <p:spPr>
              <a:xfrm>
                <a:off x="5438776" y="4438966"/>
                <a:ext cx="224466" cy="37298"/>
              </a:xfrm>
              <a:custGeom>
                <a:avLst/>
                <a:gdLst>
                  <a:gd name="connsiteX0" fmla="*/ 4945 w 224466"/>
                  <a:gd name="connsiteY0" fmla="*/ 37276 h 37298"/>
                  <a:gd name="connsiteX1" fmla="*/ 666 w 224466"/>
                  <a:gd name="connsiteY1" fmla="*/ 34818 h 37298"/>
                  <a:gd name="connsiteX2" fmla="*/ 2459 w 224466"/>
                  <a:gd name="connsiteY2" fmla="*/ 28053 h 37298"/>
                  <a:gd name="connsiteX3" fmla="*/ 221995 w 224466"/>
                  <a:gd name="connsiteY3" fmla="*/ 28053 h 37298"/>
                  <a:gd name="connsiteX4" fmla="*/ 223788 w 224466"/>
                  <a:gd name="connsiteY4" fmla="*/ 34818 h 37298"/>
                  <a:gd name="connsiteX5" fmla="*/ 217022 w 224466"/>
                  <a:gd name="connsiteY5" fmla="*/ 36640 h 37298"/>
                  <a:gd name="connsiteX6" fmla="*/ 7403 w 224466"/>
                  <a:gd name="connsiteY6" fmla="*/ 36640 h 37298"/>
                  <a:gd name="connsiteX7" fmla="*/ 4945 w 224466"/>
                  <a:gd name="connsiteY7" fmla="*/ 37276 h 37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466" h="37298">
                    <a:moveTo>
                      <a:pt x="4945" y="37276"/>
                    </a:moveTo>
                    <a:cubicBezTo>
                      <a:pt x="3239" y="37276"/>
                      <a:pt x="1562" y="36379"/>
                      <a:pt x="666" y="34818"/>
                    </a:cubicBezTo>
                    <a:cubicBezTo>
                      <a:pt x="-693" y="32447"/>
                      <a:pt x="88" y="29411"/>
                      <a:pt x="2459" y="28053"/>
                    </a:cubicBezTo>
                    <a:cubicBezTo>
                      <a:pt x="110998" y="-34747"/>
                      <a:pt x="220897" y="27416"/>
                      <a:pt x="221995" y="28053"/>
                    </a:cubicBezTo>
                    <a:cubicBezTo>
                      <a:pt x="224366" y="29411"/>
                      <a:pt x="225176" y="32447"/>
                      <a:pt x="223788" y="34818"/>
                    </a:cubicBezTo>
                    <a:cubicBezTo>
                      <a:pt x="222429" y="37189"/>
                      <a:pt x="219393" y="37999"/>
                      <a:pt x="217022" y="36640"/>
                    </a:cubicBezTo>
                    <a:cubicBezTo>
                      <a:pt x="215981" y="36033"/>
                      <a:pt x="110883" y="-23268"/>
                      <a:pt x="7403" y="36640"/>
                    </a:cubicBezTo>
                    <a:cubicBezTo>
                      <a:pt x="6651" y="37074"/>
                      <a:pt x="5784" y="37276"/>
                      <a:pt x="4945" y="37276"/>
                    </a:cubicBezTo>
                    <a:close/>
                  </a:path>
                </a:pathLst>
              </a:custGeom>
              <a:grpFill/>
              <a:ln w="2890" cap="flat">
                <a:noFill/>
                <a:prstDash val="solid"/>
                <a:miter/>
              </a:ln>
            </p:spPr>
            <p:txBody>
              <a:bodyPr rtlCol="0" anchor="ctr"/>
              <a:lstStyle/>
              <a:p>
                <a:endParaRPr lang="en-GB" dirty="0"/>
              </a:p>
            </p:txBody>
          </p:sp>
        </p:grpSp>
        <p:sp>
          <p:nvSpPr>
            <p:cNvPr id="597" name="Freihandform: Form 596">
              <a:extLst>
                <a:ext uri="{FF2B5EF4-FFF2-40B4-BE49-F238E27FC236}">
                  <a16:creationId xmlns:a16="http://schemas.microsoft.com/office/drawing/2014/main" id="{F9DAF599-2BB9-418F-8305-286BC6E3F3BF}"/>
                </a:ext>
              </a:extLst>
            </p:cNvPr>
            <p:cNvSpPr/>
            <p:nvPr/>
          </p:nvSpPr>
          <p:spPr>
            <a:xfrm>
              <a:off x="4985768" y="4141506"/>
              <a:ext cx="358734" cy="331244"/>
            </a:xfrm>
            <a:custGeom>
              <a:avLst/>
              <a:gdLst>
                <a:gd name="connsiteX0" fmla="*/ 4944 w 327873"/>
                <a:gd name="connsiteY0" fmla="*/ 302748 h 302748"/>
                <a:gd name="connsiteX1" fmla="*/ 1446 w 327873"/>
                <a:gd name="connsiteY1" fmla="*/ 301303 h 302748"/>
                <a:gd name="connsiteX2" fmla="*/ 405 w 327873"/>
                <a:gd name="connsiteY2" fmla="*/ 295867 h 302748"/>
                <a:gd name="connsiteX3" fmla="*/ 47822 w 327873"/>
                <a:gd name="connsiteY3" fmla="*/ 184060 h 302748"/>
                <a:gd name="connsiteX4" fmla="*/ 41837 w 327873"/>
                <a:gd name="connsiteY4" fmla="*/ 143004 h 302748"/>
                <a:gd name="connsiteX5" fmla="*/ 184841 w 327873"/>
                <a:gd name="connsiteY5" fmla="*/ 0 h 302748"/>
                <a:gd name="connsiteX6" fmla="*/ 327874 w 327873"/>
                <a:gd name="connsiteY6" fmla="*/ 143004 h 302748"/>
                <a:gd name="connsiteX7" fmla="*/ 184841 w 327873"/>
                <a:gd name="connsiteY7" fmla="*/ 286008 h 302748"/>
                <a:gd name="connsiteX8" fmla="*/ 104521 w 327873"/>
                <a:gd name="connsiteY8" fmla="*/ 261200 h 302748"/>
                <a:gd name="connsiteX9" fmla="*/ 6881 w 327873"/>
                <a:gd name="connsiteY9" fmla="*/ 302372 h 302748"/>
                <a:gd name="connsiteX10" fmla="*/ 4944 w 327873"/>
                <a:gd name="connsiteY10" fmla="*/ 302748 h 302748"/>
                <a:gd name="connsiteX11" fmla="*/ 184841 w 327873"/>
                <a:gd name="connsiteY11" fmla="*/ 9888 h 302748"/>
                <a:gd name="connsiteX12" fmla="*/ 51725 w 327873"/>
                <a:gd name="connsiteY12" fmla="*/ 143004 h 302748"/>
                <a:gd name="connsiteX13" fmla="*/ 57797 w 327873"/>
                <a:gd name="connsiteY13" fmla="*/ 182875 h 302748"/>
                <a:gd name="connsiteX14" fmla="*/ 57624 w 327873"/>
                <a:gd name="connsiteY14" fmla="*/ 186287 h 302748"/>
                <a:gd name="connsiteX15" fmla="*/ 14254 w 327873"/>
                <a:gd name="connsiteY15" fmla="*/ 288523 h 302748"/>
                <a:gd name="connsiteX16" fmla="*/ 103162 w 327873"/>
                <a:gd name="connsiteY16" fmla="*/ 251052 h 302748"/>
                <a:gd name="connsiteX17" fmla="*/ 107961 w 327873"/>
                <a:gd name="connsiteY17" fmla="*/ 251572 h 302748"/>
                <a:gd name="connsiteX18" fmla="*/ 184841 w 327873"/>
                <a:gd name="connsiteY18" fmla="*/ 276148 h 302748"/>
                <a:gd name="connsiteX19" fmla="*/ 317957 w 327873"/>
                <a:gd name="connsiteY19" fmla="*/ 143033 h 302748"/>
                <a:gd name="connsiteX20" fmla="*/ 184841 w 327873"/>
                <a:gd name="connsiteY20" fmla="*/ 9888 h 30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27873" h="302748">
                  <a:moveTo>
                    <a:pt x="4944" y="302748"/>
                  </a:moveTo>
                  <a:cubicBezTo>
                    <a:pt x="3643" y="302748"/>
                    <a:pt x="2400" y="302257"/>
                    <a:pt x="1446" y="301303"/>
                  </a:cubicBezTo>
                  <a:cubicBezTo>
                    <a:pt x="29" y="299886"/>
                    <a:pt x="-405" y="297746"/>
                    <a:pt x="405" y="295867"/>
                  </a:cubicBezTo>
                  <a:lnTo>
                    <a:pt x="47822" y="184060"/>
                  </a:lnTo>
                  <a:cubicBezTo>
                    <a:pt x="43832" y="170760"/>
                    <a:pt x="41837" y="156969"/>
                    <a:pt x="41837" y="143004"/>
                  </a:cubicBezTo>
                  <a:cubicBezTo>
                    <a:pt x="41837" y="64158"/>
                    <a:pt x="105995" y="0"/>
                    <a:pt x="184841" y="0"/>
                  </a:cubicBezTo>
                  <a:cubicBezTo>
                    <a:pt x="263716" y="0"/>
                    <a:pt x="327874" y="64158"/>
                    <a:pt x="327874" y="143004"/>
                  </a:cubicBezTo>
                  <a:cubicBezTo>
                    <a:pt x="327874" y="221850"/>
                    <a:pt x="263716" y="286008"/>
                    <a:pt x="184841" y="286008"/>
                  </a:cubicBezTo>
                  <a:cubicBezTo>
                    <a:pt x="156073" y="286008"/>
                    <a:pt x="128345" y="277449"/>
                    <a:pt x="104521" y="261200"/>
                  </a:cubicBezTo>
                  <a:lnTo>
                    <a:pt x="6881" y="302372"/>
                  </a:lnTo>
                  <a:cubicBezTo>
                    <a:pt x="6245" y="302633"/>
                    <a:pt x="5580" y="302748"/>
                    <a:pt x="4944" y="302748"/>
                  </a:cubicBezTo>
                  <a:close/>
                  <a:moveTo>
                    <a:pt x="184841" y="9888"/>
                  </a:moveTo>
                  <a:cubicBezTo>
                    <a:pt x="111431" y="9888"/>
                    <a:pt x="51725" y="69594"/>
                    <a:pt x="51725" y="143004"/>
                  </a:cubicBezTo>
                  <a:cubicBezTo>
                    <a:pt x="51725" y="156564"/>
                    <a:pt x="53778" y="169980"/>
                    <a:pt x="57797" y="182875"/>
                  </a:cubicBezTo>
                  <a:cubicBezTo>
                    <a:pt x="58144" y="184003"/>
                    <a:pt x="58086" y="185188"/>
                    <a:pt x="57624" y="186287"/>
                  </a:cubicBezTo>
                  <a:lnTo>
                    <a:pt x="14254" y="288523"/>
                  </a:lnTo>
                  <a:lnTo>
                    <a:pt x="103162" y="251052"/>
                  </a:lnTo>
                  <a:cubicBezTo>
                    <a:pt x="104752" y="250387"/>
                    <a:pt x="106545" y="250589"/>
                    <a:pt x="107961" y="251572"/>
                  </a:cubicBezTo>
                  <a:cubicBezTo>
                    <a:pt x="130629" y="267648"/>
                    <a:pt x="157200" y="276148"/>
                    <a:pt x="184841" y="276148"/>
                  </a:cubicBezTo>
                  <a:cubicBezTo>
                    <a:pt x="258251" y="276148"/>
                    <a:pt x="317957" y="216443"/>
                    <a:pt x="317957" y="143033"/>
                  </a:cubicBezTo>
                  <a:cubicBezTo>
                    <a:pt x="317957" y="69594"/>
                    <a:pt x="258222" y="9888"/>
                    <a:pt x="184841" y="9888"/>
                  </a:cubicBezTo>
                  <a:close/>
                </a:path>
              </a:pathLst>
            </a:custGeom>
            <a:solidFill>
              <a:schemeClr val="tx2"/>
            </a:solidFill>
            <a:ln w="2890" cap="flat">
              <a:noFill/>
              <a:prstDash val="solid"/>
              <a:miter/>
            </a:ln>
          </p:spPr>
          <p:txBody>
            <a:bodyPr rtlCol="0" anchor="ctr"/>
            <a:lstStyle/>
            <a:p>
              <a:endParaRPr lang="en-GB" dirty="0"/>
            </a:p>
          </p:txBody>
        </p:sp>
      </p:grpSp>
      <p:grpSp>
        <p:nvGrpSpPr>
          <p:cNvPr id="44" name="Group 43">
            <a:extLst>
              <a:ext uri="{FF2B5EF4-FFF2-40B4-BE49-F238E27FC236}">
                <a16:creationId xmlns:a16="http://schemas.microsoft.com/office/drawing/2014/main" id="{F9473A53-CB71-E5B6-658F-97207A25404D}"/>
              </a:ext>
            </a:extLst>
          </p:cNvPr>
          <p:cNvGrpSpPr/>
          <p:nvPr/>
        </p:nvGrpSpPr>
        <p:grpSpPr>
          <a:xfrm>
            <a:off x="8064553" y="4077384"/>
            <a:ext cx="556230" cy="431997"/>
            <a:chOff x="8064141" y="4077384"/>
            <a:chExt cx="556230" cy="431997"/>
          </a:xfrm>
        </p:grpSpPr>
        <p:grpSp>
          <p:nvGrpSpPr>
            <p:cNvPr id="606" name="Grafik 53">
              <a:extLst>
                <a:ext uri="{FF2B5EF4-FFF2-40B4-BE49-F238E27FC236}">
                  <a16:creationId xmlns:a16="http://schemas.microsoft.com/office/drawing/2014/main" id="{56DB5609-FE5E-41E1-B740-02CD8D35FFD6}"/>
                </a:ext>
              </a:extLst>
            </p:cNvPr>
            <p:cNvGrpSpPr/>
            <p:nvPr/>
          </p:nvGrpSpPr>
          <p:grpSpPr>
            <a:xfrm>
              <a:off x="8218847" y="4077384"/>
              <a:ext cx="246564" cy="283702"/>
              <a:chOff x="7906185" y="4162940"/>
              <a:chExt cx="257036" cy="295751"/>
            </a:xfrm>
            <a:solidFill>
              <a:schemeClr val="accent1"/>
            </a:solidFill>
          </p:grpSpPr>
          <p:sp>
            <p:nvSpPr>
              <p:cNvPr id="613" name="Freihandform: Form 612">
                <a:extLst>
                  <a:ext uri="{FF2B5EF4-FFF2-40B4-BE49-F238E27FC236}">
                    <a16:creationId xmlns:a16="http://schemas.microsoft.com/office/drawing/2014/main" id="{953BF0FC-E50B-4B53-9EF8-8899796F7CD7}"/>
                  </a:ext>
                </a:extLst>
              </p:cNvPr>
              <p:cNvSpPr/>
              <p:nvPr/>
            </p:nvSpPr>
            <p:spPr>
              <a:xfrm>
                <a:off x="7906185" y="4162940"/>
                <a:ext cx="257036" cy="295751"/>
              </a:xfrm>
              <a:custGeom>
                <a:avLst/>
                <a:gdLst>
                  <a:gd name="connsiteX0" fmla="*/ 4944 w 257036"/>
                  <a:gd name="connsiteY0" fmla="*/ 295751 h 295751"/>
                  <a:gd name="connsiteX1" fmla="*/ 0 w 257036"/>
                  <a:gd name="connsiteY1" fmla="*/ 290807 h 295751"/>
                  <a:gd name="connsiteX2" fmla="*/ 0 w 257036"/>
                  <a:gd name="connsiteY2" fmla="*/ 4944 h 295751"/>
                  <a:gd name="connsiteX3" fmla="*/ 4944 w 257036"/>
                  <a:gd name="connsiteY3" fmla="*/ 0 h 295751"/>
                  <a:gd name="connsiteX4" fmla="*/ 252093 w 257036"/>
                  <a:gd name="connsiteY4" fmla="*/ 0 h 295751"/>
                  <a:gd name="connsiteX5" fmla="*/ 257037 w 257036"/>
                  <a:gd name="connsiteY5" fmla="*/ 4944 h 295751"/>
                  <a:gd name="connsiteX6" fmla="*/ 257037 w 257036"/>
                  <a:gd name="connsiteY6" fmla="*/ 290171 h 295751"/>
                  <a:gd name="connsiteX7" fmla="*/ 252093 w 257036"/>
                  <a:gd name="connsiteY7" fmla="*/ 295115 h 295751"/>
                  <a:gd name="connsiteX8" fmla="*/ 247149 w 257036"/>
                  <a:gd name="connsiteY8" fmla="*/ 290171 h 295751"/>
                  <a:gd name="connsiteX9" fmla="*/ 247149 w 257036"/>
                  <a:gd name="connsiteY9" fmla="*/ 9888 h 295751"/>
                  <a:gd name="connsiteX10" fmla="*/ 9888 w 257036"/>
                  <a:gd name="connsiteY10" fmla="*/ 9888 h 295751"/>
                  <a:gd name="connsiteX11" fmla="*/ 9888 w 257036"/>
                  <a:gd name="connsiteY11" fmla="*/ 290778 h 295751"/>
                  <a:gd name="connsiteX12" fmla="*/ 4944 w 257036"/>
                  <a:gd name="connsiteY12" fmla="*/ 295751 h 29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57036" h="295751">
                    <a:moveTo>
                      <a:pt x="4944" y="295751"/>
                    </a:moveTo>
                    <a:cubicBezTo>
                      <a:pt x="2197" y="295751"/>
                      <a:pt x="0" y="293525"/>
                      <a:pt x="0" y="290807"/>
                    </a:cubicBezTo>
                    <a:lnTo>
                      <a:pt x="0" y="4944"/>
                    </a:lnTo>
                    <a:cubicBezTo>
                      <a:pt x="0" y="2197"/>
                      <a:pt x="2226" y="0"/>
                      <a:pt x="4944" y="0"/>
                    </a:cubicBezTo>
                    <a:lnTo>
                      <a:pt x="252093" y="0"/>
                    </a:lnTo>
                    <a:cubicBezTo>
                      <a:pt x="254839" y="0"/>
                      <a:pt x="257037" y="2226"/>
                      <a:pt x="257037" y="4944"/>
                    </a:cubicBezTo>
                    <a:lnTo>
                      <a:pt x="257037" y="290171"/>
                    </a:lnTo>
                    <a:cubicBezTo>
                      <a:pt x="257037" y="292889"/>
                      <a:pt x="254811" y="295115"/>
                      <a:pt x="252093" y="295115"/>
                    </a:cubicBezTo>
                    <a:cubicBezTo>
                      <a:pt x="249346" y="295115"/>
                      <a:pt x="247149" y="292889"/>
                      <a:pt x="247149" y="290171"/>
                    </a:cubicBezTo>
                    <a:lnTo>
                      <a:pt x="247149" y="9888"/>
                    </a:lnTo>
                    <a:lnTo>
                      <a:pt x="9888" y="9888"/>
                    </a:lnTo>
                    <a:lnTo>
                      <a:pt x="9888" y="290778"/>
                    </a:lnTo>
                    <a:cubicBezTo>
                      <a:pt x="9888" y="293554"/>
                      <a:pt x="7662" y="295751"/>
                      <a:pt x="4944" y="295751"/>
                    </a:cubicBezTo>
                    <a:close/>
                  </a:path>
                </a:pathLst>
              </a:custGeom>
              <a:solidFill>
                <a:schemeClr val="accent1"/>
              </a:solidFill>
              <a:ln w="2890" cap="flat">
                <a:noFill/>
                <a:prstDash val="solid"/>
                <a:miter/>
              </a:ln>
            </p:spPr>
            <p:txBody>
              <a:bodyPr rtlCol="0" anchor="ctr"/>
              <a:lstStyle/>
              <a:p>
                <a:endParaRPr lang="en-GB" dirty="0"/>
              </a:p>
            </p:txBody>
          </p:sp>
          <p:grpSp>
            <p:nvGrpSpPr>
              <p:cNvPr id="614" name="Grafik 53">
                <a:extLst>
                  <a:ext uri="{FF2B5EF4-FFF2-40B4-BE49-F238E27FC236}">
                    <a16:creationId xmlns:a16="http://schemas.microsoft.com/office/drawing/2014/main" id="{B4C8019D-3C45-4187-8BA1-9B97726138A0}"/>
                  </a:ext>
                </a:extLst>
              </p:cNvPr>
              <p:cNvGrpSpPr/>
              <p:nvPr/>
            </p:nvGrpSpPr>
            <p:grpSpPr>
              <a:xfrm>
                <a:off x="7936345" y="4288567"/>
                <a:ext cx="196699" cy="58462"/>
                <a:chOff x="7936345" y="4288567"/>
                <a:chExt cx="196699" cy="58462"/>
              </a:xfrm>
              <a:solidFill>
                <a:schemeClr val="accent1"/>
              </a:solidFill>
            </p:grpSpPr>
            <p:sp>
              <p:nvSpPr>
                <p:cNvPr id="617" name="Freihandform: Form 616">
                  <a:extLst>
                    <a:ext uri="{FF2B5EF4-FFF2-40B4-BE49-F238E27FC236}">
                      <a16:creationId xmlns:a16="http://schemas.microsoft.com/office/drawing/2014/main" id="{E42CCEF3-8D78-47A3-A5A8-521DC81B9C54}"/>
                    </a:ext>
                  </a:extLst>
                </p:cNvPr>
                <p:cNvSpPr/>
                <p:nvPr/>
              </p:nvSpPr>
              <p:spPr>
                <a:xfrm>
                  <a:off x="7936345" y="4288777"/>
                  <a:ext cx="60953" cy="58252"/>
                </a:xfrm>
                <a:custGeom>
                  <a:avLst/>
                  <a:gdLst>
                    <a:gd name="connsiteX0" fmla="*/ 46258 w 60953"/>
                    <a:gd name="connsiteY0" fmla="*/ 58253 h 58252"/>
                    <a:gd name="connsiteX1" fmla="*/ 43944 w 60953"/>
                    <a:gd name="connsiteY1" fmla="*/ 57674 h 58252"/>
                    <a:gd name="connsiteX2" fmla="*/ 30471 w 60953"/>
                    <a:gd name="connsiteY2" fmla="*/ 50591 h 58252"/>
                    <a:gd name="connsiteX3" fmla="*/ 16997 w 60953"/>
                    <a:gd name="connsiteY3" fmla="*/ 57674 h 58252"/>
                    <a:gd name="connsiteX4" fmla="*/ 11793 w 60953"/>
                    <a:gd name="connsiteY4" fmla="*/ 57298 h 58252"/>
                    <a:gd name="connsiteX5" fmla="*/ 9827 w 60953"/>
                    <a:gd name="connsiteY5" fmla="*/ 52470 h 58252"/>
                    <a:gd name="connsiteX6" fmla="*/ 12400 w 60953"/>
                    <a:gd name="connsiteY6" fmla="*/ 37464 h 58252"/>
                    <a:gd name="connsiteX7" fmla="*/ 1500 w 60953"/>
                    <a:gd name="connsiteY7" fmla="*/ 26824 h 58252"/>
                    <a:gd name="connsiteX8" fmla="*/ 257 w 60953"/>
                    <a:gd name="connsiteY8" fmla="*/ 21764 h 58252"/>
                    <a:gd name="connsiteX9" fmla="*/ 4247 w 60953"/>
                    <a:gd name="connsiteY9" fmla="*/ 18381 h 58252"/>
                    <a:gd name="connsiteX10" fmla="*/ 19311 w 60953"/>
                    <a:gd name="connsiteY10" fmla="*/ 16184 h 58252"/>
                    <a:gd name="connsiteX11" fmla="*/ 26047 w 60953"/>
                    <a:gd name="connsiteY11" fmla="*/ 2537 h 58252"/>
                    <a:gd name="connsiteX12" fmla="*/ 34923 w 60953"/>
                    <a:gd name="connsiteY12" fmla="*/ 2537 h 58252"/>
                    <a:gd name="connsiteX13" fmla="*/ 41660 w 60953"/>
                    <a:gd name="connsiteY13" fmla="*/ 16184 h 58252"/>
                    <a:gd name="connsiteX14" fmla="*/ 56724 w 60953"/>
                    <a:gd name="connsiteY14" fmla="*/ 18381 h 58252"/>
                    <a:gd name="connsiteX15" fmla="*/ 60714 w 60953"/>
                    <a:gd name="connsiteY15" fmla="*/ 21764 h 58252"/>
                    <a:gd name="connsiteX16" fmla="*/ 59471 w 60953"/>
                    <a:gd name="connsiteY16" fmla="*/ 26824 h 58252"/>
                    <a:gd name="connsiteX17" fmla="*/ 48571 w 60953"/>
                    <a:gd name="connsiteY17" fmla="*/ 37464 h 58252"/>
                    <a:gd name="connsiteX18" fmla="*/ 51144 w 60953"/>
                    <a:gd name="connsiteY18" fmla="*/ 52470 h 58252"/>
                    <a:gd name="connsiteX19" fmla="*/ 49178 w 60953"/>
                    <a:gd name="connsiteY19" fmla="*/ 57298 h 58252"/>
                    <a:gd name="connsiteX20" fmla="*/ 46258 w 60953"/>
                    <a:gd name="connsiteY20" fmla="*/ 58253 h 58252"/>
                    <a:gd name="connsiteX21" fmla="*/ 30471 w 60953"/>
                    <a:gd name="connsiteY21" fmla="*/ 40037 h 58252"/>
                    <a:gd name="connsiteX22" fmla="*/ 32784 w 60953"/>
                    <a:gd name="connsiteY22" fmla="*/ 40615 h 58252"/>
                    <a:gd name="connsiteX23" fmla="*/ 39694 w 60953"/>
                    <a:gd name="connsiteY23" fmla="*/ 44259 h 58252"/>
                    <a:gd name="connsiteX24" fmla="*/ 38364 w 60953"/>
                    <a:gd name="connsiteY24" fmla="*/ 36568 h 58252"/>
                    <a:gd name="connsiteX25" fmla="*/ 39781 w 60953"/>
                    <a:gd name="connsiteY25" fmla="*/ 32173 h 58252"/>
                    <a:gd name="connsiteX26" fmla="*/ 45361 w 60953"/>
                    <a:gd name="connsiteY26" fmla="*/ 26737 h 58252"/>
                    <a:gd name="connsiteX27" fmla="*/ 37641 w 60953"/>
                    <a:gd name="connsiteY27" fmla="*/ 25610 h 58252"/>
                    <a:gd name="connsiteX28" fmla="*/ 33912 w 60953"/>
                    <a:gd name="connsiteY28" fmla="*/ 22892 h 58252"/>
                    <a:gd name="connsiteX29" fmla="*/ 30471 w 60953"/>
                    <a:gd name="connsiteY29" fmla="*/ 15895 h 58252"/>
                    <a:gd name="connsiteX30" fmla="*/ 27030 w 60953"/>
                    <a:gd name="connsiteY30" fmla="*/ 22892 h 58252"/>
                    <a:gd name="connsiteX31" fmla="*/ 23301 w 60953"/>
                    <a:gd name="connsiteY31" fmla="*/ 25610 h 58252"/>
                    <a:gd name="connsiteX32" fmla="*/ 15581 w 60953"/>
                    <a:gd name="connsiteY32" fmla="*/ 26737 h 58252"/>
                    <a:gd name="connsiteX33" fmla="*/ 21161 w 60953"/>
                    <a:gd name="connsiteY33" fmla="*/ 32173 h 58252"/>
                    <a:gd name="connsiteX34" fmla="*/ 22578 w 60953"/>
                    <a:gd name="connsiteY34" fmla="*/ 36568 h 58252"/>
                    <a:gd name="connsiteX35" fmla="*/ 21248 w 60953"/>
                    <a:gd name="connsiteY35" fmla="*/ 44259 h 58252"/>
                    <a:gd name="connsiteX36" fmla="*/ 28158 w 60953"/>
                    <a:gd name="connsiteY36" fmla="*/ 40615 h 58252"/>
                    <a:gd name="connsiteX37" fmla="*/ 30471 w 60953"/>
                    <a:gd name="connsiteY37" fmla="*/ 40037 h 5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0953" h="58252">
                      <a:moveTo>
                        <a:pt x="46258" y="58253"/>
                      </a:moveTo>
                      <a:cubicBezTo>
                        <a:pt x="45477" y="58253"/>
                        <a:pt x="44667" y="58079"/>
                        <a:pt x="43944" y="57674"/>
                      </a:cubicBezTo>
                      <a:lnTo>
                        <a:pt x="30471" y="50591"/>
                      </a:lnTo>
                      <a:lnTo>
                        <a:pt x="16997" y="57674"/>
                      </a:lnTo>
                      <a:cubicBezTo>
                        <a:pt x="15321" y="58542"/>
                        <a:pt x="13297" y="58397"/>
                        <a:pt x="11793" y="57298"/>
                      </a:cubicBezTo>
                      <a:cubicBezTo>
                        <a:pt x="10261" y="56200"/>
                        <a:pt x="9509" y="54320"/>
                        <a:pt x="9827" y="52470"/>
                      </a:cubicBezTo>
                      <a:lnTo>
                        <a:pt x="12400" y="37464"/>
                      </a:lnTo>
                      <a:lnTo>
                        <a:pt x="1500" y="26824"/>
                      </a:lnTo>
                      <a:cubicBezTo>
                        <a:pt x="141" y="25523"/>
                        <a:pt x="-350" y="23557"/>
                        <a:pt x="257" y="21764"/>
                      </a:cubicBezTo>
                      <a:cubicBezTo>
                        <a:pt x="835" y="19972"/>
                        <a:pt x="2396" y="18671"/>
                        <a:pt x="4247" y="18381"/>
                      </a:cubicBezTo>
                      <a:lnTo>
                        <a:pt x="19311" y="16184"/>
                      </a:lnTo>
                      <a:lnTo>
                        <a:pt x="26047" y="2537"/>
                      </a:lnTo>
                      <a:cubicBezTo>
                        <a:pt x="27724" y="-846"/>
                        <a:pt x="33247" y="-846"/>
                        <a:pt x="34923" y="2537"/>
                      </a:cubicBezTo>
                      <a:lnTo>
                        <a:pt x="41660" y="16184"/>
                      </a:lnTo>
                      <a:lnTo>
                        <a:pt x="56724" y="18381"/>
                      </a:lnTo>
                      <a:cubicBezTo>
                        <a:pt x="58603" y="18642"/>
                        <a:pt x="60136" y="19972"/>
                        <a:pt x="60714" y="21764"/>
                      </a:cubicBezTo>
                      <a:cubicBezTo>
                        <a:pt x="61292" y="23557"/>
                        <a:pt x="60801" y="25523"/>
                        <a:pt x="59471" y="26824"/>
                      </a:cubicBezTo>
                      <a:lnTo>
                        <a:pt x="48571" y="37464"/>
                      </a:lnTo>
                      <a:lnTo>
                        <a:pt x="51144" y="52470"/>
                      </a:lnTo>
                      <a:cubicBezTo>
                        <a:pt x="51462" y="54320"/>
                        <a:pt x="50710" y="56200"/>
                        <a:pt x="49178" y="57298"/>
                      </a:cubicBezTo>
                      <a:cubicBezTo>
                        <a:pt x="48310" y="57934"/>
                        <a:pt x="47269" y="58253"/>
                        <a:pt x="46258" y="58253"/>
                      </a:cubicBezTo>
                      <a:close/>
                      <a:moveTo>
                        <a:pt x="30471" y="40037"/>
                      </a:moveTo>
                      <a:cubicBezTo>
                        <a:pt x="31252" y="40037"/>
                        <a:pt x="32061" y="40211"/>
                        <a:pt x="32784" y="40615"/>
                      </a:cubicBezTo>
                      <a:lnTo>
                        <a:pt x="39694" y="44259"/>
                      </a:lnTo>
                      <a:lnTo>
                        <a:pt x="38364" y="36568"/>
                      </a:lnTo>
                      <a:cubicBezTo>
                        <a:pt x="38075" y="34948"/>
                        <a:pt x="38624" y="33329"/>
                        <a:pt x="39781" y="32173"/>
                      </a:cubicBezTo>
                      <a:lnTo>
                        <a:pt x="45361" y="26737"/>
                      </a:lnTo>
                      <a:lnTo>
                        <a:pt x="37641" y="25610"/>
                      </a:lnTo>
                      <a:cubicBezTo>
                        <a:pt x="36022" y="25378"/>
                        <a:pt x="34634" y="24366"/>
                        <a:pt x="33912" y="22892"/>
                      </a:cubicBezTo>
                      <a:lnTo>
                        <a:pt x="30471" y="15895"/>
                      </a:lnTo>
                      <a:lnTo>
                        <a:pt x="27030" y="22892"/>
                      </a:lnTo>
                      <a:cubicBezTo>
                        <a:pt x="26307" y="24337"/>
                        <a:pt x="24920" y="25378"/>
                        <a:pt x="23301" y="25610"/>
                      </a:cubicBezTo>
                      <a:lnTo>
                        <a:pt x="15581" y="26737"/>
                      </a:lnTo>
                      <a:lnTo>
                        <a:pt x="21161" y="32173"/>
                      </a:lnTo>
                      <a:cubicBezTo>
                        <a:pt x="22317" y="33301"/>
                        <a:pt x="22867" y="34948"/>
                        <a:pt x="22578" y="36568"/>
                      </a:cubicBezTo>
                      <a:lnTo>
                        <a:pt x="21248" y="44259"/>
                      </a:lnTo>
                      <a:lnTo>
                        <a:pt x="28158" y="40615"/>
                      </a:lnTo>
                      <a:cubicBezTo>
                        <a:pt x="28881" y="40240"/>
                        <a:pt x="29690" y="40037"/>
                        <a:pt x="30471" y="40037"/>
                      </a:cubicBezTo>
                      <a:close/>
                    </a:path>
                  </a:pathLst>
                </a:custGeom>
                <a:solidFill>
                  <a:schemeClr val="accent1"/>
                </a:solidFill>
                <a:ln w="2890" cap="flat">
                  <a:noFill/>
                  <a:prstDash val="solid"/>
                  <a:miter/>
                </a:ln>
              </p:spPr>
              <p:txBody>
                <a:bodyPr rtlCol="0" anchor="ctr"/>
                <a:lstStyle/>
                <a:p>
                  <a:endParaRPr lang="en-GB" dirty="0"/>
                </a:p>
              </p:txBody>
            </p:sp>
            <p:sp>
              <p:nvSpPr>
                <p:cNvPr id="618" name="Freihandform: Form 617">
                  <a:extLst>
                    <a:ext uri="{FF2B5EF4-FFF2-40B4-BE49-F238E27FC236}">
                      <a16:creationId xmlns:a16="http://schemas.microsoft.com/office/drawing/2014/main" id="{0D631830-7B4F-4A67-B2C6-0381C01BAA0F}"/>
                    </a:ext>
                  </a:extLst>
                </p:cNvPr>
                <p:cNvSpPr/>
                <p:nvPr/>
              </p:nvSpPr>
              <p:spPr>
                <a:xfrm>
                  <a:off x="8004204" y="4288777"/>
                  <a:ext cx="60953" cy="58252"/>
                </a:xfrm>
                <a:custGeom>
                  <a:avLst/>
                  <a:gdLst>
                    <a:gd name="connsiteX0" fmla="*/ 46257 w 60953"/>
                    <a:gd name="connsiteY0" fmla="*/ 58253 h 58252"/>
                    <a:gd name="connsiteX1" fmla="*/ 43944 w 60953"/>
                    <a:gd name="connsiteY1" fmla="*/ 57674 h 58252"/>
                    <a:gd name="connsiteX2" fmla="*/ 30471 w 60953"/>
                    <a:gd name="connsiteY2" fmla="*/ 50591 h 58252"/>
                    <a:gd name="connsiteX3" fmla="*/ 16997 w 60953"/>
                    <a:gd name="connsiteY3" fmla="*/ 57674 h 58252"/>
                    <a:gd name="connsiteX4" fmla="*/ 11793 w 60953"/>
                    <a:gd name="connsiteY4" fmla="*/ 57298 h 58252"/>
                    <a:gd name="connsiteX5" fmla="*/ 9827 w 60953"/>
                    <a:gd name="connsiteY5" fmla="*/ 52470 h 58252"/>
                    <a:gd name="connsiteX6" fmla="*/ 12400 w 60953"/>
                    <a:gd name="connsiteY6" fmla="*/ 37464 h 58252"/>
                    <a:gd name="connsiteX7" fmla="*/ 1500 w 60953"/>
                    <a:gd name="connsiteY7" fmla="*/ 26824 h 58252"/>
                    <a:gd name="connsiteX8" fmla="*/ 257 w 60953"/>
                    <a:gd name="connsiteY8" fmla="*/ 21764 h 58252"/>
                    <a:gd name="connsiteX9" fmla="*/ 4247 w 60953"/>
                    <a:gd name="connsiteY9" fmla="*/ 18381 h 58252"/>
                    <a:gd name="connsiteX10" fmla="*/ 19310 w 60953"/>
                    <a:gd name="connsiteY10" fmla="*/ 16184 h 58252"/>
                    <a:gd name="connsiteX11" fmla="*/ 26047 w 60953"/>
                    <a:gd name="connsiteY11" fmla="*/ 2537 h 58252"/>
                    <a:gd name="connsiteX12" fmla="*/ 34924 w 60953"/>
                    <a:gd name="connsiteY12" fmla="*/ 2537 h 58252"/>
                    <a:gd name="connsiteX13" fmla="*/ 41660 w 60953"/>
                    <a:gd name="connsiteY13" fmla="*/ 16184 h 58252"/>
                    <a:gd name="connsiteX14" fmla="*/ 56724 w 60953"/>
                    <a:gd name="connsiteY14" fmla="*/ 18381 h 58252"/>
                    <a:gd name="connsiteX15" fmla="*/ 60714 w 60953"/>
                    <a:gd name="connsiteY15" fmla="*/ 21764 h 58252"/>
                    <a:gd name="connsiteX16" fmla="*/ 59471 w 60953"/>
                    <a:gd name="connsiteY16" fmla="*/ 26824 h 58252"/>
                    <a:gd name="connsiteX17" fmla="*/ 48570 w 60953"/>
                    <a:gd name="connsiteY17" fmla="*/ 37464 h 58252"/>
                    <a:gd name="connsiteX18" fmla="*/ 51144 w 60953"/>
                    <a:gd name="connsiteY18" fmla="*/ 52470 h 58252"/>
                    <a:gd name="connsiteX19" fmla="*/ 49178 w 60953"/>
                    <a:gd name="connsiteY19" fmla="*/ 57298 h 58252"/>
                    <a:gd name="connsiteX20" fmla="*/ 46257 w 60953"/>
                    <a:gd name="connsiteY20" fmla="*/ 58253 h 58252"/>
                    <a:gd name="connsiteX21" fmla="*/ 30471 w 60953"/>
                    <a:gd name="connsiteY21" fmla="*/ 40037 h 58252"/>
                    <a:gd name="connsiteX22" fmla="*/ 32784 w 60953"/>
                    <a:gd name="connsiteY22" fmla="*/ 40615 h 58252"/>
                    <a:gd name="connsiteX23" fmla="*/ 39694 w 60953"/>
                    <a:gd name="connsiteY23" fmla="*/ 44259 h 58252"/>
                    <a:gd name="connsiteX24" fmla="*/ 38364 w 60953"/>
                    <a:gd name="connsiteY24" fmla="*/ 36568 h 58252"/>
                    <a:gd name="connsiteX25" fmla="*/ 39781 w 60953"/>
                    <a:gd name="connsiteY25" fmla="*/ 32173 h 58252"/>
                    <a:gd name="connsiteX26" fmla="*/ 45361 w 60953"/>
                    <a:gd name="connsiteY26" fmla="*/ 26737 h 58252"/>
                    <a:gd name="connsiteX27" fmla="*/ 37641 w 60953"/>
                    <a:gd name="connsiteY27" fmla="*/ 25610 h 58252"/>
                    <a:gd name="connsiteX28" fmla="*/ 33911 w 60953"/>
                    <a:gd name="connsiteY28" fmla="*/ 22892 h 58252"/>
                    <a:gd name="connsiteX29" fmla="*/ 30471 w 60953"/>
                    <a:gd name="connsiteY29" fmla="*/ 15895 h 58252"/>
                    <a:gd name="connsiteX30" fmla="*/ 27030 w 60953"/>
                    <a:gd name="connsiteY30" fmla="*/ 22892 h 58252"/>
                    <a:gd name="connsiteX31" fmla="*/ 23300 w 60953"/>
                    <a:gd name="connsiteY31" fmla="*/ 25610 h 58252"/>
                    <a:gd name="connsiteX32" fmla="*/ 15581 w 60953"/>
                    <a:gd name="connsiteY32" fmla="*/ 26737 h 58252"/>
                    <a:gd name="connsiteX33" fmla="*/ 21161 w 60953"/>
                    <a:gd name="connsiteY33" fmla="*/ 32173 h 58252"/>
                    <a:gd name="connsiteX34" fmla="*/ 22578 w 60953"/>
                    <a:gd name="connsiteY34" fmla="*/ 36568 h 58252"/>
                    <a:gd name="connsiteX35" fmla="*/ 21248 w 60953"/>
                    <a:gd name="connsiteY35" fmla="*/ 44259 h 58252"/>
                    <a:gd name="connsiteX36" fmla="*/ 28158 w 60953"/>
                    <a:gd name="connsiteY36" fmla="*/ 40615 h 58252"/>
                    <a:gd name="connsiteX37" fmla="*/ 30471 w 60953"/>
                    <a:gd name="connsiteY37" fmla="*/ 40037 h 58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0953" h="58252">
                      <a:moveTo>
                        <a:pt x="46257" y="58253"/>
                      </a:moveTo>
                      <a:cubicBezTo>
                        <a:pt x="45477" y="58253"/>
                        <a:pt x="44667" y="58079"/>
                        <a:pt x="43944" y="57674"/>
                      </a:cubicBezTo>
                      <a:lnTo>
                        <a:pt x="30471" y="50591"/>
                      </a:lnTo>
                      <a:lnTo>
                        <a:pt x="16997" y="57674"/>
                      </a:lnTo>
                      <a:cubicBezTo>
                        <a:pt x="15320" y="58542"/>
                        <a:pt x="13296" y="58397"/>
                        <a:pt x="11793" y="57298"/>
                      </a:cubicBezTo>
                      <a:cubicBezTo>
                        <a:pt x="10261" y="56200"/>
                        <a:pt x="9509" y="54320"/>
                        <a:pt x="9827" y="52470"/>
                      </a:cubicBezTo>
                      <a:lnTo>
                        <a:pt x="12400" y="37464"/>
                      </a:lnTo>
                      <a:lnTo>
                        <a:pt x="1500" y="26824"/>
                      </a:lnTo>
                      <a:cubicBezTo>
                        <a:pt x="141" y="25523"/>
                        <a:pt x="-350" y="23557"/>
                        <a:pt x="257" y="21764"/>
                      </a:cubicBezTo>
                      <a:cubicBezTo>
                        <a:pt x="835" y="19972"/>
                        <a:pt x="2396" y="18671"/>
                        <a:pt x="4247" y="18381"/>
                      </a:cubicBezTo>
                      <a:lnTo>
                        <a:pt x="19310" y="16184"/>
                      </a:lnTo>
                      <a:lnTo>
                        <a:pt x="26047" y="2537"/>
                      </a:lnTo>
                      <a:cubicBezTo>
                        <a:pt x="27724" y="-846"/>
                        <a:pt x="33246" y="-846"/>
                        <a:pt x="34924" y="2537"/>
                      </a:cubicBezTo>
                      <a:lnTo>
                        <a:pt x="41660" y="16184"/>
                      </a:lnTo>
                      <a:lnTo>
                        <a:pt x="56724" y="18381"/>
                      </a:lnTo>
                      <a:cubicBezTo>
                        <a:pt x="58603" y="18642"/>
                        <a:pt x="60136" y="19972"/>
                        <a:pt x="60714" y="21764"/>
                      </a:cubicBezTo>
                      <a:cubicBezTo>
                        <a:pt x="61292" y="23557"/>
                        <a:pt x="60801" y="25523"/>
                        <a:pt x="59471" y="26824"/>
                      </a:cubicBezTo>
                      <a:lnTo>
                        <a:pt x="48570" y="37464"/>
                      </a:lnTo>
                      <a:lnTo>
                        <a:pt x="51144" y="52470"/>
                      </a:lnTo>
                      <a:cubicBezTo>
                        <a:pt x="51462" y="54320"/>
                        <a:pt x="50710" y="56200"/>
                        <a:pt x="49178" y="57298"/>
                      </a:cubicBezTo>
                      <a:cubicBezTo>
                        <a:pt x="48310" y="57934"/>
                        <a:pt x="47269" y="58253"/>
                        <a:pt x="46257" y="58253"/>
                      </a:cubicBezTo>
                      <a:close/>
                      <a:moveTo>
                        <a:pt x="30471" y="40037"/>
                      </a:moveTo>
                      <a:cubicBezTo>
                        <a:pt x="31251" y="40037"/>
                        <a:pt x="32061" y="40211"/>
                        <a:pt x="32784" y="40615"/>
                      </a:cubicBezTo>
                      <a:lnTo>
                        <a:pt x="39694" y="44259"/>
                      </a:lnTo>
                      <a:lnTo>
                        <a:pt x="38364" y="36568"/>
                      </a:lnTo>
                      <a:cubicBezTo>
                        <a:pt x="38075" y="34948"/>
                        <a:pt x="38624" y="33329"/>
                        <a:pt x="39781" y="32173"/>
                      </a:cubicBezTo>
                      <a:lnTo>
                        <a:pt x="45361" y="26737"/>
                      </a:lnTo>
                      <a:lnTo>
                        <a:pt x="37641" y="25610"/>
                      </a:lnTo>
                      <a:cubicBezTo>
                        <a:pt x="36022" y="25378"/>
                        <a:pt x="34634" y="24366"/>
                        <a:pt x="33911" y="22892"/>
                      </a:cubicBezTo>
                      <a:lnTo>
                        <a:pt x="30471" y="15895"/>
                      </a:lnTo>
                      <a:lnTo>
                        <a:pt x="27030" y="22892"/>
                      </a:lnTo>
                      <a:cubicBezTo>
                        <a:pt x="26307" y="24337"/>
                        <a:pt x="24920" y="25378"/>
                        <a:pt x="23300" y="25610"/>
                      </a:cubicBezTo>
                      <a:lnTo>
                        <a:pt x="15581" y="26737"/>
                      </a:lnTo>
                      <a:lnTo>
                        <a:pt x="21161" y="32173"/>
                      </a:lnTo>
                      <a:cubicBezTo>
                        <a:pt x="22317" y="33301"/>
                        <a:pt x="22867" y="34948"/>
                        <a:pt x="22578" y="36568"/>
                      </a:cubicBezTo>
                      <a:lnTo>
                        <a:pt x="21248" y="44259"/>
                      </a:lnTo>
                      <a:lnTo>
                        <a:pt x="28158" y="40615"/>
                      </a:lnTo>
                      <a:cubicBezTo>
                        <a:pt x="28881" y="40240"/>
                        <a:pt x="29690" y="40037"/>
                        <a:pt x="30471" y="40037"/>
                      </a:cubicBezTo>
                      <a:close/>
                    </a:path>
                  </a:pathLst>
                </a:custGeom>
                <a:solidFill>
                  <a:schemeClr val="accent1"/>
                </a:solidFill>
                <a:ln w="2890" cap="flat">
                  <a:noFill/>
                  <a:prstDash val="solid"/>
                  <a:miter/>
                </a:ln>
              </p:spPr>
              <p:txBody>
                <a:bodyPr rtlCol="0" anchor="ctr"/>
                <a:lstStyle/>
                <a:p>
                  <a:endParaRPr lang="en-GB" dirty="0"/>
                </a:p>
              </p:txBody>
            </p:sp>
            <p:sp>
              <p:nvSpPr>
                <p:cNvPr id="619" name="Freihandform: Form 618">
                  <a:extLst>
                    <a:ext uri="{FF2B5EF4-FFF2-40B4-BE49-F238E27FC236}">
                      <a16:creationId xmlns:a16="http://schemas.microsoft.com/office/drawing/2014/main" id="{0F7F5837-B1B4-4A33-BF38-809FD771C87E}"/>
                    </a:ext>
                  </a:extLst>
                </p:cNvPr>
                <p:cNvSpPr/>
                <p:nvPr/>
              </p:nvSpPr>
              <p:spPr>
                <a:xfrm>
                  <a:off x="8072063" y="4288567"/>
                  <a:ext cx="60982" cy="58462"/>
                </a:xfrm>
                <a:custGeom>
                  <a:avLst/>
                  <a:gdLst>
                    <a:gd name="connsiteX0" fmla="*/ 46258 w 60982"/>
                    <a:gd name="connsiteY0" fmla="*/ 58462 h 58462"/>
                    <a:gd name="connsiteX1" fmla="*/ 43944 w 60982"/>
                    <a:gd name="connsiteY1" fmla="*/ 57884 h 58462"/>
                    <a:gd name="connsiteX2" fmla="*/ 30471 w 60982"/>
                    <a:gd name="connsiteY2" fmla="*/ 50800 h 58462"/>
                    <a:gd name="connsiteX3" fmla="*/ 16997 w 60982"/>
                    <a:gd name="connsiteY3" fmla="*/ 57884 h 58462"/>
                    <a:gd name="connsiteX4" fmla="*/ 11793 w 60982"/>
                    <a:gd name="connsiteY4" fmla="*/ 57508 h 58462"/>
                    <a:gd name="connsiteX5" fmla="*/ 9827 w 60982"/>
                    <a:gd name="connsiteY5" fmla="*/ 52680 h 58462"/>
                    <a:gd name="connsiteX6" fmla="*/ 12400 w 60982"/>
                    <a:gd name="connsiteY6" fmla="*/ 37674 h 58462"/>
                    <a:gd name="connsiteX7" fmla="*/ 1500 w 60982"/>
                    <a:gd name="connsiteY7" fmla="*/ 27034 h 58462"/>
                    <a:gd name="connsiteX8" fmla="*/ 257 w 60982"/>
                    <a:gd name="connsiteY8" fmla="*/ 21974 h 58462"/>
                    <a:gd name="connsiteX9" fmla="*/ 4247 w 60982"/>
                    <a:gd name="connsiteY9" fmla="*/ 18591 h 58462"/>
                    <a:gd name="connsiteX10" fmla="*/ 19311 w 60982"/>
                    <a:gd name="connsiteY10" fmla="*/ 16394 h 58462"/>
                    <a:gd name="connsiteX11" fmla="*/ 26047 w 60982"/>
                    <a:gd name="connsiteY11" fmla="*/ 2747 h 58462"/>
                    <a:gd name="connsiteX12" fmla="*/ 30500 w 60982"/>
                    <a:gd name="connsiteY12" fmla="*/ 0 h 58462"/>
                    <a:gd name="connsiteX13" fmla="*/ 30500 w 60982"/>
                    <a:gd name="connsiteY13" fmla="*/ 0 h 58462"/>
                    <a:gd name="connsiteX14" fmla="*/ 34952 w 60982"/>
                    <a:gd name="connsiteY14" fmla="*/ 2747 h 58462"/>
                    <a:gd name="connsiteX15" fmla="*/ 41689 w 60982"/>
                    <a:gd name="connsiteY15" fmla="*/ 16394 h 58462"/>
                    <a:gd name="connsiteX16" fmla="*/ 56753 w 60982"/>
                    <a:gd name="connsiteY16" fmla="*/ 18591 h 58462"/>
                    <a:gd name="connsiteX17" fmla="*/ 60743 w 60982"/>
                    <a:gd name="connsiteY17" fmla="*/ 21974 h 58462"/>
                    <a:gd name="connsiteX18" fmla="*/ 59500 w 60982"/>
                    <a:gd name="connsiteY18" fmla="*/ 27034 h 58462"/>
                    <a:gd name="connsiteX19" fmla="*/ 48599 w 60982"/>
                    <a:gd name="connsiteY19" fmla="*/ 37674 h 58462"/>
                    <a:gd name="connsiteX20" fmla="*/ 51173 w 60982"/>
                    <a:gd name="connsiteY20" fmla="*/ 52680 h 58462"/>
                    <a:gd name="connsiteX21" fmla="*/ 49207 w 60982"/>
                    <a:gd name="connsiteY21" fmla="*/ 57508 h 58462"/>
                    <a:gd name="connsiteX22" fmla="*/ 46258 w 60982"/>
                    <a:gd name="connsiteY22" fmla="*/ 58462 h 58462"/>
                    <a:gd name="connsiteX23" fmla="*/ 15581 w 60982"/>
                    <a:gd name="connsiteY23" fmla="*/ 26947 h 58462"/>
                    <a:gd name="connsiteX24" fmla="*/ 21161 w 60982"/>
                    <a:gd name="connsiteY24" fmla="*/ 32383 h 58462"/>
                    <a:gd name="connsiteX25" fmla="*/ 22578 w 60982"/>
                    <a:gd name="connsiteY25" fmla="*/ 36777 h 58462"/>
                    <a:gd name="connsiteX26" fmla="*/ 21248 w 60982"/>
                    <a:gd name="connsiteY26" fmla="*/ 44468 h 58462"/>
                    <a:gd name="connsiteX27" fmla="*/ 28158 w 60982"/>
                    <a:gd name="connsiteY27" fmla="*/ 40825 h 58462"/>
                    <a:gd name="connsiteX28" fmla="*/ 32755 w 60982"/>
                    <a:gd name="connsiteY28" fmla="*/ 40825 h 58462"/>
                    <a:gd name="connsiteX29" fmla="*/ 39636 w 60982"/>
                    <a:gd name="connsiteY29" fmla="*/ 44468 h 58462"/>
                    <a:gd name="connsiteX30" fmla="*/ 38335 w 60982"/>
                    <a:gd name="connsiteY30" fmla="*/ 36777 h 58462"/>
                    <a:gd name="connsiteX31" fmla="*/ 39752 w 60982"/>
                    <a:gd name="connsiteY31" fmla="*/ 32383 h 58462"/>
                    <a:gd name="connsiteX32" fmla="*/ 45332 w 60982"/>
                    <a:gd name="connsiteY32" fmla="*/ 26947 h 58462"/>
                    <a:gd name="connsiteX33" fmla="*/ 37612 w 60982"/>
                    <a:gd name="connsiteY33" fmla="*/ 25819 h 58462"/>
                    <a:gd name="connsiteX34" fmla="*/ 33883 w 60982"/>
                    <a:gd name="connsiteY34" fmla="*/ 23101 h 58462"/>
                    <a:gd name="connsiteX35" fmla="*/ 30442 w 60982"/>
                    <a:gd name="connsiteY35" fmla="*/ 16105 h 58462"/>
                    <a:gd name="connsiteX36" fmla="*/ 27001 w 60982"/>
                    <a:gd name="connsiteY36" fmla="*/ 23101 h 58462"/>
                    <a:gd name="connsiteX37" fmla="*/ 23272 w 60982"/>
                    <a:gd name="connsiteY37" fmla="*/ 25819 h 58462"/>
                    <a:gd name="connsiteX38" fmla="*/ 15581 w 60982"/>
                    <a:gd name="connsiteY38" fmla="*/ 26947 h 58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60982" h="58462">
                      <a:moveTo>
                        <a:pt x="46258" y="58462"/>
                      </a:moveTo>
                      <a:cubicBezTo>
                        <a:pt x="45477" y="58462"/>
                        <a:pt x="44667" y="58289"/>
                        <a:pt x="43944" y="57884"/>
                      </a:cubicBezTo>
                      <a:lnTo>
                        <a:pt x="30471" y="50800"/>
                      </a:lnTo>
                      <a:lnTo>
                        <a:pt x="16997" y="57884"/>
                      </a:lnTo>
                      <a:cubicBezTo>
                        <a:pt x="15321" y="58751"/>
                        <a:pt x="13297" y="58607"/>
                        <a:pt x="11793" y="57508"/>
                      </a:cubicBezTo>
                      <a:cubicBezTo>
                        <a:pt x="10261" y="56409"/>
                        <a:pt x="9509" y="54530"/>
                        <a:pt x="9827" y="52680"/>
                      </a:cubicBezTo>
                      <a:lnTo>
                        <a:pt x="12400" y="37674"/>
                      </a:lnTo>
                      <a:lnTo>
                        <a:pt x="1500" y="27034"/>
                      </a:lnTo>
                      <a:cubicBezTo>
                        <a:pt x="141" y="25733"/>
                        <a:pt x="-350" y="23767"/>
                        <a:pt x="257" y="21974"/>
                      </a:cubicBezTo>
                      <a:cubicBezTo>
                        <a:pt x="835" y="20181"/>
                        <a:pt x="2396" y="18880"/>
                        <a:pt x="4247" y="18591"/>
                      </a:cubicBezTo>
                      <a:lnTo>
                        <a:pt x="19311" y="16394"/>
                      </a:lnTo>
                      <a:lnTo>
                        <a:pt x="26047" y="2747"/>
                      </a:lnTo>
                      <a:cubicBezTo>
                        <a:pt x="26886" y="1070"/>
                        <a:pt x="28592" y="0"/>
                        <a:pt x="30500" y="0"/>
                      </a:cubicBezTo>
                      <a:lnTo>
                        <a:pt x="30500" y="0"/>
                      </a:lnTo>
                      <a:cubicBezTo>
                        <a:pt x="32379" y="0"/>
                        <a:pt x="34114" y="1070"/>
                        <a:pt x="34952" y="2747"/>
                      </a:cubicBezTo>
                      <a:lnTo>
                        <a:pt x="41689" y="16394"/>
                      </a:lnTo>
                      <a:lnTo>
                        <a:pt x="56753" y="18591"/>
                      </a:lnTo>
                      <a:cubicBezTo>
                        <a:pt x="58632" y="18851"/>
                        <a:pt x="60165" y="20181"/>
                        <a:pt x="60743" y="21974"/>
                      </a:cubicBezTo>
                      <a:cubicBezTo>
                        <a:pt x="61321" y="23767"/>
                        <a:pt x="60830" y="25733"/>
                        <a:pt x="59500" y="27034"/>
                      </a:cubicBezTo>
                      <a:lnTo>
                        <a:pt x="48599" y="37674"/>
                      </a:lnTo>
                      <a:lnTo>
                        <a:pt x="51173" y="52680"/>
                      </a:lnTo>
                      <a:cubicBezTo>
                        <a:pt x="51491" y="54530"/>
                        <a:pt x="50739" y="56409"/>
                        <a:pt x="49207" y="57508"/>
                      </a:cubicBezTo>
                      <a:cubicBezTo>
                        <a:pt x="48310" y="58144"/>
                        <a:pt x="47269" y="58462"/>
                        <a:pt x="46258" y="58462"/>
                      </a:cubicBezTo>
                      <a:close/>
                      <a:moveTo>
                        <a:pt x="15581" y="26947"/>
                      </a:moveTo>
                      <a:lnTo>
                        <a:pt x="21161" y="32383"/>
                      </a:lnTo>
                      <a:cubicBezTo>
                        <a:pt x="22317" y="33510"/>
                        <a:pt x="22867" y="35158"/>
                        <a:pt x="22578" y="36777"/>
                      </a:cubicBezTo>
                      <a:lnTo>
                        <a:pt x="21248" y="44468"/>
                      </a:lnTo>
                      <a:lnTo>
                        <a:pt x="28158" y="40825"/>
                      </a:lnTo>
                      <a:cubicBezTo>
                        <a:pt x="29575" y="40073"/>
                        <a:pt x="31309" y="40073"/>
                        <a:pt x="32755" y="40825"/>
                      </a:cubicBezTo>
                      <a:lnTo>
                        <a:pt x="39636" y="44468"/>
                      </a:lnTo>
                      <a:lnTo>
                        <a:pt x="38335" y="36777"/>
                      </a:lnTo>
                      <a:cubicBezTo>
                        <a:pt x="38046" y="35158"/>
                        <a:pt x="38595" y="33539"/>
                        <a:pt x="39752" y="32383"/>
                      </a:cubicBezTo>
                      <a:lnTo>
                        <a:pt x="45332" y="26947"/>
                      </a:lnTo>
                      <a:lnTo>
                        <a:pt x="37612" y="25819"/>
                      </a:lnTo>
                      <a:cubicBezTo>
                        <a:pt x="35993" y="25588"/>
                        <a:pt x="34605" y="24576"/>
                        <a:pt x="33883" y="23101"/>
                      </a:cubicBezTo>
                      <a:lnTo>
                        <a:pt x="30442" y="16105"/>
                      </a:lnTo>
                      <a:lnTo>
                        <a:pt x="27001" y="23101"/>
                      </a:lnTo>
                      <a:cubicBezTo>
                        <a:pt x="26279" y="24576"/>
                        <a:pt x="24891" y="25588"/>
                        <a:pt x="23272" y="25819"/>
                      </a:cubicBezTo>
                      <a:lnTo>
                        <a:pt x="15581" y="26947"/>
                      </a:lnTo>
                      <a:close/>
                    </a:path>
                  </a:pathLst>
                </a:custGeom>
                <a:solidFill>
                  <a:schemeClr val="accent1"/>
                </a:solidFill>
                <a:ln w="2890" cap="flat">
                  <a:noFill/>
                  <a:prstDash val="solid"/>
                  <a:miter/>
                </a:ln>
              </p:spPr>
              <p:txBody>
                <a:bodyPr rtlCol="0" anchor="ctr"/>
                <a:lstStyle/>
                <a:p>
                  <a:endParaRPr lang="en-GB" dirty="0"/>
                </a:p>
              </p:txBody>
            </p:sp>
          </p:grpSp>
          <p:sp>
            <p:nvSpPr>
              <p:cNvPr id="615" name="Freihandform: Form 614">
                <a:extLst>
                  <a:ext uri="{FF2B5EF4-FFF2-40B4-BE49-F238E27FC236}">
                    <a16:creationId xmlns:a16="http://schemas.microsoft.com/office/drawing/2014/main" id="{0427742B-64B5-4B6B-A4C5-DDC9A95EEA08}"/>
                  </a:ext>
                </a:extLst>
              </p:cNvPr>
              <p:cNvSpPr/>
              <p:nvPr/>
            </p:nvSpPr>
            <p:spPr>
              <a:xfrm>
                <a:off x="7949468" y="4256589"/>
                <a:ext cx="174865" cy="9888"/>
              </a:xfrm>
              <a:custGeom>
                <a:avLst/>
                <a:gdLst>
                  <a:gd name="connsiteX0" fmla="*/ 169922 w 174865"/>
                  <a:gd name="connsiteY0" fmla="*/ 9888 h 9888"/>
                  <a:gd name="connsiteX1" fmla="*/ 4944 w 174865"/>
                  <a:gd name="connsiteY1" fmla="*/ 9888 h 9888"/>
                  <a:gd name="connsiteX2" fmla="*/ 0 w 174865"/>
                  <a:gd name="connsiteY2" fmla="*/ 4944 h 9888"/>
                  <a:gd name="connsiteX3" fmla="*/ 4944 w 174865"/>
                  <a:gd name="connsiteY3" fmla="*/ 0 h 9888"/>
                  <a:gd name="connsiteX4" fmla="*/ 169922 w 174865"/>
                  <a:gd name="connsiteY4" fmla="*/ 0 h 9888"/>
                  <a:gd name="connsiteX5" fmla="*/ 174866 w 174865"/>
                  <a:gd name="connsiteY5" fmla="*/ 4944 h 9888"/>
                  <a:gd name="connsiteX6" fmla="*/ 169922 w 174865"/>
                  <a:gd name="connsiteY6" fmla="*/ 9888 h 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865" h="9888">
                    <a:moveTo>
                      <a:pt x="169922" y="9888"/>
                    </a:moveTo>
                    <a:lnTo>
                      <a:pt x="4944" y="9888"/>
                    </a:lnTo>
                    <a:cubicBezTo>
                      <a:pt x="2226" y="9888"/>
                      <a:pt x="0" y="7662"/>
                      <a:pt x="0" y="4944"/>
                    </a:cubicBezTo>
                    <a:cubicBezTo>
                      <a:pt x="0" y="2197"/>
                      <a:pt x="2226" y="0"/>
                      <a:pt x="4944" y="0"/>
                    </a:cubicBezTo>
                    <a:lnTo>
                      <a:pt x="169922" y="0"/>
                    </a:lnTo>
                    <a:cubicBezTo>
                      <a:pt x="172669" y="0"/>
                      <a:pt x="174866" y="2226"/>
                      <a:pt x="174866" y="4944"/>
                    </a:cubicBezTo>
                    <a:cubicBezTo>
                      <a:pt x="174866" y="7662"/>
                      <a:pt x="172669" y="9888"/>
                      <a:pt x="169922" y="9888"/>
                    </a:cubicBezTo>
                    <a:close/>
                  </a:path>
                </a:pathLst>
              </a:custGeom>
              <a:solidFill>
                <a:schemeClr val="accent1"/>
              </a:solidFill>
              <a:ln w="2890" cap="flat">
                <a:noFill/>
                <a:prstDash val="solid"/>
                <a:miter/>
              </a:ln>
            </p:spPr>
            <p:txBody>
              <a:bodyPr rtlCol="0" anchor="ctr"/>
              <a:lstStyle/>
              <a:p>
                <a:endParaRPr lang="en-GB" dirty="0"/>
              </a:p>
            </p:txBody>
          </p:sp>
          <p:sp>
            <p:nvSpPr>
              <p:cNvPr id="616" name="Freihandform: Form 615">
                <a:extLst>
                  <a:ext uri="{FF2B5EF4-FFF2-40B4-BE49-F238E27FC236}">
                    <a16:creationId xmlns:a16="http://schemas.microsoft.com/office/drawing/2014/main" id="{CFA90EEF-BCEF-4186-AE47-79BDA8A0D1AD}"/>
                  </a:ext>
                </a:extLst>
              </p:cNvPr>
              <p:cNvSpPr/>
              <p:nvPr/>
            </p:nvSpPr>
            <p:spPr>
              <a:xfrm>
                <a:off x="7949468" y="4375364"/>
                <a:ext cx="174865" cy="9888"/>
              </a:xfrm>
              <a:custGeom>
                <a:avLst/>
                <a:gdLst>
                  <a:gd name="connsiteX0" fmla="*/ 169922 w 174865"/>
                  <a:gd name="connsiteY0" fmla="*/ 9888 h 9888"/>
                  <a:gd name="connsiteX1" fmla="*/ 4944 w 174865"/>
                  <a:gd name="connsiteY1" fmla="*/ 9888 h 9888"/>
                  <a:gd name="connsiteX2" fmla="*/ 0 w 174865"/>
                  <a:gd name="connsiteY2" fmla="*/ 4944 h 9888"/>
                  <a:gd name="connsiteX3" fmla="*/ 4944 w 174865"/>
                  <a:gd name="connsiteY3" fmla="*/ 0 h 9888"/>
                  <a:gd name="connsiteX4" fmla="*/ 169922 w 174865"/>
                  <a:gd name="connsiteY4" fmla="*/ 0 h 9888"/>
                  <a:gd name="connsiteX5" fmla="*/ 174866 w 174865"/>
                  <a:gd name="connsiteY5" fmla="*/ 4944 h 9888"/>
                  <a:gd name="connsiteX6" fmla="*/ 169922 w 174865"/>
                  <a:gd name="connsiteY6" fmla="*/ 9888 h 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865" h="9888">
                    <a:moveTo>
                      <a:pt x="169922" y="9888"/>
                    </a:moveTo>
                    <a:lnTo>
                      <a:pt x="4944" y="9888"/>
                    </a:lnTo>
                    <a:cubicBezTo>
                      <a:pt x="2226" y="9888"/>
                      <a:pt x="0" y="7662"/>
                      <a:pt x="0" y="4944"/>
                    </a:cubicBezTo>
                    <a:cubicBezTo>
                      <a:pt x="0" y="2197"/>
                      <a:pt x="2226" y="0"/>
                      <a:pt x="4944" y="0"/>
                    </a:cubicBezTo>
                    <a:lnTo>
                      <a:pt x="169922" y="0"/>
                    </a:lnTo>
                    <a:cubicBezTo>
                      <a:pt x="172669" y="0"/>
                      <a:pt x="174866" y="2226"/>
                      <a:pt x="174866" y="4944"/>
                    </a:cubicBezTo>
                    <a:cubicBezTo>
                      <a:pt x="174866" y="7691"/>
                      <a:pt x="172669" y="9888"/>
                      <a:pt x="169922" y="9888"/>
                    </a:cubicBezTo>
                    <a:close/>
                  </a:path>
                </a:pathLst>
              </a:custGeom>
              <a:solidFill>
                <a:schemeClr val="accent1"/>
              </a:solidFill>
              <a:ln w="2890" cap="flat">
                <a:noFill/>
                <a:prstDash val="solid"/>
                <a:miter/>
              </a:ln>
            </p:spPr>
            <p:txBody>
              <a:bodyPr rtlCol="0" anchor="ctr"/>
              <a:lstStyle/>
              <a:p>
                <a:endParaRPr lang="en-GB" dirty="0"/>
              </a:p>
            </p:txBody>
          </p:sp>
        </p:grpSp>
        <p:grpSp>
          <p:nvGrpSpPr>
            <p:cNvPr id="607" name="Grafik 53">
              <a:extLst>
                <a:ext uri="{FF2B5EF4-FFF2-40B4-BE49-F238E27FC236}">
                  <a16:creationId xmlns:a16="http://schemas.microsoft.com/office/drawing/2014/main" id="{4809E8BB-ED95-4961-971B-8D89F713BD5B}"/>
                </a:ext>
              </a:extLst>
            </p:cNvPr>
            <p:cNvGrpSpPr/>
            <p:nvPr/>
          </p:nvGrpSpPr>
          <p:grpSpPr>
            <a:xfrm>
              <a:off x="8064141" y="4127609"/>
              <a:ext cx="556230" cy="381772"/>
              <a:chOff x="7744908" y="4215301"/>
              <a:chExt cx="579854" cy="397987"/>
            </a:xfrm>
            <a:solidFill>
              <a:schemeClr val="tx2"/>
            </a:solidFill>
          </p:grpSpPr>
          <p:sp>
            <p:nvSpPr>
              <p:cNvPr id="608" name="Freihandform: Form 607">
                <a:extLst>
                  <a:ext uri="{FF2B5EF4-FFF2-40B4-BE49-F238E27FC236}">
                    <a16:creationId xmlns:a16="http://schemas.microsoft.com/office/drawing/2014/main" id="{D3AD2CFE-255B-442A-A921-CC81987F43B9}"/>
                  </a:ext>
                </a:extLst>
              </p:cNvPr>
              <p:cNvSpPr/>
              <p:nvPr/>
            </p:nvSpPr>
            <p:spPr>
              <a:xfrm>
                <a:off x="7822713" y="4215301"/>
                <a:ext cx="422419" cy="274413"/>
              </a:xfrm>
              <a:custGeom>
                <a:avLst/>
                <a:gdLst>
                  <a:gd name="connsiteX0" fmla="*/ 417475 w 422419"/>
                  <a:gd name="connsiteY0" fmla="*/ 274414 h 274413"/>
                  <a:gd name="connsiteX1" fmla="*/ 4944 w 422419"/>
                  <a:gd name="connsiteY1" fmla="*/ 274414 h 274413"/>
                  <a:gd name="connsiteX2" fmla="*/ 0 w 422419"/>
                  <a:gd name="connsiteY2" fmla="*/ 269469 h 274413"/>
                  <a:gd name="connsiteX3" fmla="*/ 0 w 422419"/>
                  <a:gd name="connsiteY3" fmla="*/ 10727 h 274413"/>
                  <a:gd name="connsiteX4" fmla="*/ 10380 w 422419"/>
                  <a:gd name="connsiteY4" fmla="*/ 347 h 274413"/>
                  <a:gd name="connsiteX5" fmla="*/ 67830 w 422419"/>
                  <a:gd name="connsiteY5" fmla="*/ 347 h 274413"/>
                  <a:gd name="connsiteX6" fmla="*/ 72774 w 422419"/>
                  <a:gd name="connsiteY6" fmla="*/ 5291 h 274413"/>
                  <a:gd name="connsiteX7" fmla="*/ 67830 w 422419"/>
                  <a:gd name="connsiteY7" fmla="*/ 10235 h 274413"/>
                  <a:gd name="connsiteX8" fmla="*/ 10380 w 422419"/>
                  <a:gd name="connsiteY8" fmla="*/ 10235 h 274413"/>
                  <a:gd name="connsiteX9" fmla="*/ 9830 w 422419"/>
                  <a:gd name="connsiteY9" fmla="*/ 10409 h 274413"/>
                  <a:gd name="connsiteX10" fmla="*/ 9888 w 422419"/>
                  <a:gd name="connsiteY10" fmla="*/ 264497 h 274413"/>
                  <a:gd name="connsiteX11" fmla="*/ 412531 w 422419"/>
                  <a:gd name="connsiteY11" fmla="*/ 264497 h 274413"/>
                  <a:gd name="connsiteX12" fmla="*/ 412531 w 422419"/>
                  <a:gd name="connsiteY12" fmla="*/ 10698 h 274413"/>
                  <a:gd name="connsiteX13" fmla="*/ 412011 w 422419"/>
                  <a:gd name="connsiteY13" fmla="*/ 10206 h 274413"/>
                  <a:gd name="connsiteX14" fmla="*/ 358868 w 422419"/>
                  <a:gd name="connsiteY14" fmla="*/ 9888 h 274413"/>
                  <a:gd name="connsiteX15" fmla="*/ 353953 w 422419"/>
                  <a:gd name="connsiteY15" fmla="*/ 4915 h 274413"/>
                  <a:gd name="connsiteX16" fmla="*/ 358897 w 422419"/>
                  <a:gd name="connsiteY16" fmla="*/ 0 h 274413"/>
                  <a:gd name="connsiteX17" fmla="*/ 358926 w 422419"/>
                  <a:gd name="connsiteY17" fmla="*/ 0 h 274413"/>
                  <a:gd name="connsiteX18" fmla="*/ 412069 w 422419"/>
                  <a:gd name="connsiteY18" fmla="*/ 318 h 274413"/>
                  <a:gd name="connsiteX19" fmla="*/ 422419 w 422419"/>
                  <a:gd name="connsiteY19" fmla="*/ 10698 h 274413"/>
                  <a:gd name="connsiteX20" fmla="*/ 422419 w 422419"/>
                  <a:gd name="connsiteY20" fmla="*/ 269441 h 274413"/>
                  <a:gd name="connsiteX21" fmla="*/ 417475 w 422419"/>
                  <a:gd name="connsiteY21" fmla="*/ 274414 h 27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2419" h="274413">
                    <a:moveTo>
                      <a:pt x="417475" y="274414"/>
                    </a:moveTo>
                    <a:lnTo>
                      <a:pt x="4944" y="274414"/>
                    </a:lnTo>
                    <a:cubicBezTo>
                      <a:pt x="2197" y="274414"/>
                      <a:pt x="0" y="272187"/>
                      <a:pt x="0" y="269469"/>
                    </a:cubicBezTo>
                    <a:lnTo>
                      <a:pt x="0" y="10727"/>
                    </a:lnTo>
                    <a:cubicBezTo>
                      <a:pt x="0" y="3990"/>
                      <a:pt x="5349" y="347"/>
                      <a:pt x="10380" y="347"/>
                    </a:cubicBezTo>
                    <a:lnTo>
                      <a:pt x="67830" y="347"/>
                    </a:lnTo>
                    <a:cubicBezTo>
                      <a:pt x="70577" y="347"/>
                      <a:pt x="72774" y="2573"/>
                      <a:pt x="72774" y="5291"/>
                    </a:cubicBezTo>
                    <a:cubicBezTo>
                      <a:pt x="72774" y="8009"/>
                      <a:pt x="70548" y="10235"/>
                      <a:pt x="67830" y="10235"/>
                    </a:cubicBezTo>
                    <a:lnTo>
                      <a:pt x="10380" y="10235"/>
                    </a:lnTo>
                    <a:cubicBezTo>
                      <a:pt x="10264" y="10235"/>
                      <a:pt x="9946" y="10351"/>
                      <a:pt x="9830" y="10409"/>
                    </a:cubicBezTo>
                    <a:lnTo>
                      <a:pt x="9888" y="264497"/>
                    </a:lnTo>
                    <a:lnTo>
                      <a:pt x="412531" y="264497"/>
                    </a:lnTo>
                    <a:lnTo>
                      <a:pt x="412531" y="10698"/>
                    </a:lnTo>
                    <a:cubicBezTo>
                      <a:pt x="412531" y="10698"/>
                      <a:pt x="412040" y="10206"/>
                      <a:pt x="412011" y="10206"/>
                    </a:cubicBezTo>
                    <a:lnTo>
                      <a:pt x="358868" y="9888"/>
                    </a:lnTo>
                    <a:cubicBezTo>
                      <a:pt x="356151" y="9859"/>
                      <a:pt x="353924" y="7633"/>
                      <a:pt x="353953" y="4915"/>
                    </a:cubicBezTo>
                    <a:cubicBezTo>
                      <a:pt x="353982" y="2197"/>
                      <a:pt x="356180" y="0"/>
                      <a:pt x="358897" y="0"/>
                    </a:cubicBezTo>
                    <a:cubicBezTo>
                      <a:pt x="358897" y="0"/>
                      <a:pt x="358926" y="0"/>
                      <a:pt x="358926" y="0"/>
                    </a:cubicBezTo>
                    <a:lnTo>
                      <a:pt x="412069" y="318"/>
                    </a:lnTo>
                    <a:cubicBezTo>
                      <a:pt x="417071" y="318"/>
                      <a:pt x="422419" y="3961"/>
                      <a:pt x="422419" y="10698"/>
                    </a:cubicBezTo>
                    <a:lnTo>
                      <a:pt x="422419" y="269441"/>
                    </a:lnTo>
                    <a:cubicBezTo>
                      <a:pt x="422419" y="272187"/>
                      <a:pt x="420193" y="274414"/>
                      <a:pt x="417475" y="274414"/>
                    </a:cubicBezTo>
                    <a:close/>
                  </a:path>
                </a:pathLst>
              </a:custGeom>
              <a:grpFill/>
              <a:ln w="2890" cap="flat">
                <a:noFill/>
                <a:prstDash val="solid"/>
                <a:miter/>
              </a:ln>
            </p:spPr>
            <p:txBody>
              <a:bodyPr rtlCol="0" anchor="ctr"/>
              <a:lstStyle/>
              <a:p>
                <a:endParaRPr lang="en-GB" dirty="0"/>
              </a:p>
            </p:txBody>
          </p:sp>
          <p:sp>
            <p:nvSpPr>
              <p:cNvPr id="609" name="Freihandform: Form 608">
                <a:extLst>
                  <a:ext uri="{FF2B5EF4-FFF2-40B4-BE49-F238E27FC236}">
                    <a16:creationId xmlns:a16="http://schemas.microsoft.com/office/drawing/2014/main" id="{59BC3279-5014-4E13-8C0F-6B6DEEA4E119}"/>
                  </a:ext>
                </a:extLst>
              </p:cNvPr>
              <p:cNvSpPr/>
              <p:nvPr/>
            </p:nvSpPr>
            <p:spPr>
              <a:xfrm>
                <a:off x="7744908" y="4575702"/>
                <a:ext cx="579793" cy="37586"/>
              </a:xfrm>
              <a:custGeom>
                <a:avLst/>
                <a:gdLst>
                  <a:gd name="connsiteX0" fmla="*/ 574878 w 579793"/>
                  <a:gd name="connsiteY0" fmla="*/ 37587 h 37586"/>
                  <a:gd name="connsiteX1" fmla="*/ 4944 w 579793"/>
                  <a:gd name="connsiteY1" fmla="*/ 37587 h 37586"/>
                  <a:gd name="connsiteX2" fmla="*/ 0 w 579793"/>
                  <a:gd name="connsiteY2" fmla="*/ 32643 h 37586"/>
                  <a:gd name="connsiteX3" fmla="*/ 0 w 579793"/>
                  <a:gd name="connsiteY3" fmla="*/ 4944 h 37586"/>
                  <a:gd name="connsiteX4" fmla="*/ 4944 w 579793"/>
                  <a:gd name="connsiteY4" fmla="*/ 0 h 37586"/>
                  <a:gd name="connsiteX5" fmla="*/ 9888 w 579793"/>
                  <a:gd name="connsiteY5" fmla="*/ 4944 h 37586"/>
                  <a:gd name="connsiteX6" fmla="*/ 9888 w 579793"/>
                  <a:gd name="connsiteY6" fmla="*/ 27670 h 37586"/>
                  <a:gd name="connsiteX7" fmla="*/ 569905 w 579793"/>
                  <a:gd name="connsiteY7" fmla="*/ 27670 h 37586"/>
                  <a:gd name="connsiteX8" fmla="*/ 569905 w 579793"/>
                  <a:gd name="connsiteY8" fmla="*/ 4944 h 37586"/>
                  <a:gd name="connsiteX9" fmla="*/ 574849 w 579793"/>
                  <a:gd name="connsiteY9" fmla="*/ 0 h 37586"/>
                  <a:gd name="connsiteX10" fmla="*/ 579793 w 579793"/>
                  <a:gd name="connsiteY10" fmla="*/ 4944 h 37586"/>
                  <a:gd name="connsiteX11" fmla="*/ 579793 w 579793"/>
                  <a:gd name="connsiteY11" fmla="*/ 32643 h 37586"/>
                  <a:gd name="connsiteX12" fmla="*/ 574878 w 579793"/>
                  <a:gd name="connsiteY12" fmla="*/ 37587 h 37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79793" h="37586">
                    <a:moveTo>
                      <a:pt x="574878" y="37587"/>
                    </a:moveTo>
                    <a:lnTo>
                      <a:pt x="4944" y="37587"/>
                    </a:lnTo>
                    <a:cubicBezTo>
                      <a:pt x="2226" y="37587"/>
                      <a:pt x="0" y="35361"/>
                      <a:pt x="0" y="32643"/>
                    </a:cubicBezTo>
                    <a:lnTo>
                      <a:pt x="0" y="4944"/>
                    </a:lnTo>
                    <a:cubicBezTo>
                      <a:pt x="0" y="2197"/>
                      <a:pt x="2226" y="0"/>
                      <a:pt x="4944" y="0"/>
                    </a:cubicBezTo>
                    <a:cubicBezTo>
                      <a:pt x="7691" y="0"/>
                      <a:pt x="9888" y="2226"/>
                      <a:pt x="9888" y="4944"/>
                    </a:cubicBezTo>
                    <a:lnTo>
                      <a:pt x="9888" y="27670"/>
                    </a:lnTo>
                    <a:lnTo>
                      <a:pt x="569905" y="27670"/>
                    </a:lnTo>
                    <a:lnTo>
                      <a:pt x="569905" y="4944"/>
                    </a:lnTo>
                    <a:cubicBezTo>
                      <a:pt x="569905" y="2197"/>
                      <a:pt x="572131" y="0"/>
                      <a:pt x="574849" y="0"/>
                    </a:cubicBezTo>
                    <a:cubicBezTo>
                      <a:pt x="577596" y="0"/>
                      <a:pt x="579793" y="2226"/>
                      <a:pt x="579793" y="4944"/>
                    </a:cubicBezTo>
                    <a:lnTo>
                      <a:pt x="579793" y="32643"/>
                    </a:lnTo>
                    <a:cubicBezTo>
                      <a:pt x="579822" y="35361"/>
                      <a:pt x="577596" y="37587"/>
                      <a:pt x="574878" y="37587"/>
                    </a:cubicBezTo>
                    <a:close/>
                  </a:path>
                </a:pathLst>
              </a:custGeom>
              <a:grpFill/>
              <a:ln w="2890" cap="flat">
                <a:noFill/>
                <a:prstDash val="solid"/>
                <a:miter/>
              </a:ln>
            </p:spPr>
            <p:txBody>
              <a:bodyPr rtlCol="0" anchor="ctr"/>
              <a:lstStyle/>
              <a:p>
                <a:endParaRPr lang="en-GB" dirty="0"/>
              </a:p>
            </p:txBody>
          </p:sp>
          <p:sp>
            <p:nvSpPr>
              <p:cNvPr id="610" name="Freihandform: Form 609">
                <a:extLst>
                  <a:ext uri="{FF2B5EF4-FFF2-40B4-BE49-F238E27FC236}">
                    <a16:creationId xmlns:a16="http://schemas.microsoft.com/office/drawing/2014/main" id="{EF43657C-769C-4C96-913D-BDC4FEBCE6EB}"/>
                  </a:ext>
                </a:extLst>
              </p:cNvPr>
              <p:cNvSpPr/>
              <p:nvPr/>
            </p:nvSpPr>
            <p:spPr>
              <a:xfrm>
                <a:off x="7744912" y="4479827"/>
                <a:ext cx="579850" cy="105792"/>
              </a:xfrm>
              <a:custGeom>
                <a:avLst/>
                <a:gdLst>
                  <a:gd name="connsiteX0" fmla="*/ 574874 w 579850"/>
                  <a:gd name="connsiteY0" fmla="*/ 105793 h 105792"/>
                  <a:gd name="connsiteX1" fmla="*/ 4941 w 579850"/>
                  <a:gd name="connsiteY1" fmla="*/ 105793 h 105792"/>
                  <a:gd name="connsiteX2" fmla="*/ 488 w 579850"/>
                  <a:gd name="connsiteY2" fmla="*/ 102959 h 105792"/>
                  <a:gd name="connsiteX3" fmla="*/ 1124 w 579850"/>
                  <a:gd name="connsiteY3" fmla="*/ 97726 h 105792"/>
                  <a:gd name="connsiteX4" fmla="*/ 78929 w 579850"/>
                  <a:gd name="connsiteY4" fmla="*/ 1822 h 105792"/>
                  <a:gd name="connsiteX5" fmla="*/ 82775 w 579850"/>
                  <a:gd name="connsiteY5" fmla="*/ 0 h 105792"/>
                  <a:gd name="connsiteX6" fmla="*/ 495306 w 579850"/>
                  <a:gd name="connsiteY6" fmla="*/ 0 h 105792"/>
                  <a:gd name="connsiteX7" fmla="*/ 499122 w 579850"/>
                  <a:gd name="connsiteY7" fmla="*/ 1793 h 105792"/>
                  <a:gd name="connsiteX8" fmla="*/ 578720 w 579850"/>
                  <a:gd name="connsiteY8" fmla="*/ 97697 h 105792"/>
                  <a:gd name="connsiteX9" fmla="*/ 579385 w 579850"/>
                  <a:gd name="connsiteY9" fmla="*/ 102959 h 105792"/>
                  <a:gd name="connsiteX10" fmla="*/ 574874 w 579850"/>
                  <a:gd name="connsiteY10" fmla="*/ 105793 h 105792"/>
                  <a:gd name="connsiteX11" fmla="*/ 15321 w 579850"/>
                  <a:gd name="connsiteY11" fmla="*/ 95904 h 105792"/>
                  <a:gd name="connsiteX12" fmla="*/ 564321 w 579850"/>
                  <a:gd name="connsiteY12" fmla="*/ 95904 h 105792"/>
                  <a:gd name="connsiteX13" fmla="*/ 492935 w 579850"/>
                  <a:gd name="connsiteY13" fmla="*/ 9888 h 105792"/>
                  <a:gd name="connsiteX14" fmla="*/ 85088 w 579850"/>
                  <a:gd name="connsiteY14" fmla="*/ 9888 h 105792"/>
                  <a:gd name="connsiteX15" fmla="*/ 15321 w 579850"/>
                  <a:gd name="connsiteY15" fmla="*/ 95904 h 105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9850" h="105792">
                    <a:moveTo>
                      <a:pt x="574874" y="105793"/>
                    </a:moveTo>
                    <a:lnTo>
                      <a:pt x="4941" y="105793"/>
                    </a:lnTo>
                    <a:cubicBezTo>
                      <a:pt x="3033" y="105793"/>
                      <a:pt x="1298" y="104694"/>
                      <a:pt x="488" y="102959"/>
                    </a:cubicBezTo>
                    <a:cubicBezTo>
                      <a:pt x="-350" y="101253"/>
                      <a:pt x="-90" y="99201"/>
                      <a:pt x="1124" y="97726"/>
                    </a:cubicBezTo>
                    <a:lnTo>
                      <a:pt x="78929" y="1822"/>
                    </a:lnTo>
                    <a:cubicBezTo>
                      <a:pt x="79855" y="665"/>
                      <a:pt x="81271" y="0"/>
                      <a:pt x="82775" y="0"/>
                    </a:cubicBezTo>
                    <a:lnTo>
                      <a:pt x="495306" y="0"/>
                    </a:lnTo>
                    <a:cubicBezTo>
                      <a:pt x="496780" y="0"/>
                      <a:pt x="498168" y="665"/>
                      <a:pt x="499122" y="1793"/>
                    </a:cubicBezTo>
                    <a:lnTo>
                      <a:pt x="578720" y="97697"/>
                    </a:lnTo>
                    <a:cubicBezTo>
                      <a:pt x="579934" y="99172"/>
                      <a:pt x="580195" y="101224"/>
                      <a:pt x="579385" y="102959"/>
                    </a:cubicBezTo>
                    <a:cubicBezTo>
                      <a:pt x="578546" y="104694"/>
                      <a:pt x="576783" y="105793"/>
                      <a:pt x="574874" y="105793"/>
                    </a:cubicBezTo>
                    <a:close/>
                    <a:moveTo>
                      <a:pt x="15321" y="95904"/>
                    </a:moveTo>
                    <a:lnTo>
                      <a:pt x="564321" y="95904"/>
                    </a:lnTo>
                    <a:lnTo>
                      <a:pt x="492935" y="9888"/>
                    </a:lnTo>
                    <a:lnTo>
                      <a:pt x="85088" y="9888"/>
                    </a:lnTo>
                    <a:lnTo>
                      <a:pt x="15321" y="95904"/>
                    </a:lnTo>
                    <a:close/>
                  </a:path>
                </a:pathLst>
              </a:custGeom>
              <a:grpFill/>
              <a:ln w="2890" cap="flat">
                <a:noFill/>
                <a:prstDash val="solid"/>
                <a:miter/>
              </a:ln>
            </p:spPr>
            <p:txBody>
              <a:bodyPr rtlCol="0" anchor="ctr"/>
              <a:lstStyle/>
              <a:p>
                <a:endParaRPr lang="en-GB" dirty="0"/>
              </a:p>
            </p:txBody>
          </p:sp>
          <p:sp>
            <p:nvSpPr>
              <p:cNvPr id="611" name="Freihandform: Form 610">
                <a:extLst>
                  <a:ext uri="{FF2B5EF4-FFF2-40B4-BE49-F238E27FC236}">
                    <a16:creationId xmlns:a16="http://schemas.microsoft.com/office/drawing/2014/main" id="{1C448A75-B8DF-4B35-961E-BBC806F2FD82}"/>
                  </a:ext>
                </a:extLst>
              </p:cNvPr>
              <p:cNvSpPr/>
              <p:nvPr/>
            </p:nvSpPr>
            <p:spPr>
              <a:xfrm>
                <a:off x="7846220" y="4239184"/>
                <a:ext cx="373556" cy="221589"/>
              </a:xfrm>
              <a:custGeom>
                <a:avLst/>
                <a:gdLst>
                  <a:gd name="connsiteX0" fmla="*/ 368641 w 373556"/>
                  <a:gd name="connsiteY0" fmla="*/ 221590 h 221589"/>
                  <a:gd name="connsiteX1" fmla="*/ 4944 w 373556"/>
                  <a:gd name="connsiteY1" fmla="*/ 221590 h 221589"/>
                  <a:gd name="connsiteX2" fmla="*/ 0 w 373556"/>
                  <a:gd name="connsiteY2" fmla="*/ 216645 h 221589"/>
                  <a:gd name="connsiteX3" fmla="*/ 0 w 373556"/>
                  <a:gd name="connsiteY3" fmla="*/ 4944 h 221589"/>
                  <a:gd name="connsiteX4" fmla="*/ 4944 w 373556"/>
                  <a:gd name="connsiteY4" fmla="*/ 0 h 221589"/>
                  <a:gd name="connsiteX5" fmla="*/ 44584 w 373556"/>
                  <a:gd name="connsiteY5" fmla="*/ 0 h 221589"/>
                  <a:gd name="connsiteX6" fmla="*/ 49528 w 373556"/>
                  <a:gd name="connsiteY6" fmla="*/ 4944 h 221589"/>
                  <a:gd name="connsiteX7" fmla="*/ 44584 w 373556"/>
                  <a:gd name="connsiteY7" fmla="*/ 9888 h 221589"/>
                  <a:gd name="connsiteX8" fmla="*/ 9888 w 373556"/>
                  <a:gd name="connsiteY8" fmla="*/ 9888 h 221589"/>
                  <a:gd name="connsiteX9" fmla="*/ 9888 w 373556"/>
                  <a:gd name="connsiteY9" fmla="*/ 211672 h 221589"/>
                  <a:gd name="connsiteX10" fmla="*/ 363668 w 373556"/>
                  <a:gd name="connsiteY10" fmla="*/ 211672 h 221589"/>
                  <a:gd name="connsiteX11" fmla="*/ 363668 w 373556"/>
                  <a:gd name="connsiteY11" fmla="*/ 9888 h 221589"/>
                  <a:gd name="connsiteX12" fmla="*/ 336056 w 373556"/>
                  <a:gd name="connsiteY12" fmla="*/ 9888 h 221589"/>
                  <a:gd name="connsiteX13" fmla="*/ 331112 w 373556"/>
                  <a:gd name="connsiteY13" fmla="*/ 4944 h 221589"/>
                  <a:gd name="connsiteX14" fmla="*/ 336056 w 373556"/>
                  <a:gd name="connsiteY14" fmla="*/ 0 h 221589"/>
                  <a:gd name="connsiteX15" fmla="*/ 368612 w 373556"/>
                  <a:gd name="connsiteY15" fmla="*/ 0 h 221589"/>
                  <a:gd name="connsiteX16" fmla="*/ 373556 w 373556"/>
                  <a:gd name="connsiteY16" fmla="*/ 4944 h 221589"/>
                  <a:gd name="connsiteX17" fmla="*/ 373556 w 373556"/>
                  <a:gd name="connsiteY17" fmla="*/ 216645 h 221589"/>
                  <a:gd name="connsiteX18" fmla="*/ 368641 w 373556"/>
                  <a:gd name="connsiteY18" fmla="*/ 221590 h 2215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3556" h="221589">
                    <a:moveTo>
                      <a:pt x="368641" y="221590"/>
                    </a:moveTo>
                    <a:lnTo>
                      <a:pt x="4944" y="221590"/>
                    </a:lnTo>
                    <a:cubicBezTo>
                      <a:pt x="2226" y="221590"/>
                      <a:pt x="0" y="219363"/>
                      <a:pt x="0" y="216645"/>
                    </a:cubicBezTo>
                    <a:lnTo>
                      <a:pt x="0" y="4944"/>
                    </a:lnTo>
                    <a:cubicBezTo>
                      <a:pt x="0" y="2197"/>
                      <a:pt x="2226" y="0"/>
                      <a:pt x="4944" y="0"/>
                    </a:cubicBezTo>
                    <a:lnTo>
                      <a:pt x="44584" y="0"/>
                    </a:lnTo>
                    <a:cubicBezTo>
                      <a:pt x="47331" y="0"/>
                      <a:pt x="49528" y="2226"/>
                      <a:pt x="49528" y="4944"/>
                    </a:cubicBezTo>
                    <a:cubicBezTo>
                      <a:pt x="49528" y="7662"/>
                      <a:pt x="47302" y="9888"/>
                      <a:pt x="44584" y="9888"/>
                    </a:cubicBezTo>
                    <a:lnTo>
                      <a:pt x="9888" y="9888"/>
                    </a:lnTo>
                    <a:lnTo>
                      <a:pt x="9888" y="211672"/>
                    </a:lnTo>
                    <a:lnTo>
                      <a:pt x="363668" y="211672"/>
                    </a:lnTo>
                    <a:lnTo>
                      <a:pt x="363668" y="9888"/>
                    </a:lnTo>
                    <a:lnTo>
                      <a:pt x="336056" y="9888"/>
                    </a:lnTo>
                    <a:cubicBezTo>
                      <a:pt x="333309" y="9888"/>
                      <a:pt x="331112" y="7662"/>
                      <a:pt x="331112" y="4944"/>
                    </a:cubicBezTo>
                    <a:cubicBezTo>
                      <a:pt x="331112" y="2197"/>
                      <a:pt x="333338" y="0"/>
                      <a:pt x="336056" y="0"/>
                    </a:cubicBezTo>
                    <a:lnTo>
                      <a:pt x="368612" y="0"/>
                    </a:lnTo>
                    <a:cubicBezTo>
                      <a:pt x="371330" y="0"/>
                      <a:pt x="373556" y="2226"/>
                      <a:pt x="373556" y="4944"/>
                    </a:cubicBezTo>
                    <a:lnTo>
                      <a:pt x="373556" y="216645"/>
                    </a:lnTo>
                    <a:cubicBezTo>
                      <a:pt x="373585" y="219363"/>
                      <a:pt x="371359" y="221590"/>
                      <a:pt x="368641" y="221590"/>
                    </a:cubicBezTo>
                    <a:close/>
                  </a:path>
                </a:pathLst>
              </a:custGeom>
              <a:grpFill/>
              <a:ln w="2890" cap="flat">
                <a:noFill/>
                <a:prstDash val="solid"/>
                <a:miter/>
              </a:ln>
            </p:spPr>
            <p:txBody>
              <a:bodyPr rtlCol="0" anchor="ctr"/>
              <a:lstStyle/>
              <a:p>
                <a:endParaRPr lang="en-GB" dirty="0"/>
              </a:p>
            </p:txBody>
          </p:sp>
          <p:sp>
            <p:nvSpPr>
              <p:cNvPr id="612" name="Freihandform: Form 611">
                <a:extLst>
                  <a:ext uri="{FF2B5EF4-FFF2-40B4-BE49-F238E27FC236}">
                    <a16:creationId xmlns:a16="http://schemas.microsoft.com/office/drawing/2014/main" id="{3F25EF94-B02C-4736-8EAB-1A8F3440157F}"/>
                  </a:ext>
                </a:extLst>
              </p:cNvPr>
              <p:cNvSpPr/>
              <p:nvPr/>
            </p:nvSpPr>
            <p:spPr>
              <a:xfrm>
                <a:off x="7832197" y="4530916"/>
                <a:ext cx="405938" cy="9888"/>
              </a:xfrm>
              <a:custGeom>
                <a:avLst/>
                <a:gdLst>
                  <a:gd name="connsiteX0" fmla="*/ 400966 w 405938"/>
                  <a:gd name="connsiteY0" fmla="*/ 9888 h 9888"/>
                  <a:gd name="connsiteX1" fmla="*/ 4944 w 405938"/>
                  <a:gd name="connsiteY1" fmla="*/ 9888 h 9888"/>
                  <a:gd name="connsiteX2" fmla="*/ 0 w 405938"/>
                  <a:gd name="connsiteY2" fmla="*/ 4944 h 9888"/>
                  <a:gd name="connsiteX3" fmla="*/ 4944 w 405938"/>
                  <a:gd name="connsiteY3" fmla="*/ 0 h 9888"/>
                  <a:gd name="connsiteX4" fmla="*/ 400995 w 405938"/>
                  <a:gd name="connsiteY4" fmla="*/ 0 h 9888"/>
                  <a:gd name="connsiteX5" fmla="*/ 405939 w 405938"/>
                  <a:gd name="connsiteY5" fmla="*/ 4944 h 9888"/>
                  <a:gd name="connsiteX6" fmla="*/ 400966 w 405938"/>
                  <a:gd name="connsiteY6" fmla="*/ 9888 h 9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5938" h="9888">
                    <a:moveTo>
                      <a:pt x="400966" y="9888"/>
                    </a:moveTo>
                    <a:lnTo>
                      <a:pt x="4944" y="9888"/>
                    </a:lnTo>
                    <a:cubicBezTo>
                      <a:pt x="2197" y="9888"/>
                      <a:pt x="0" y="7662"/>
                      <a:pt x="0" y="4944"/>
                    </a:cubicBezTo>
                    <a:cubicBezTo>
                      <a:pt x="0" y="2197"/>
                      <a:pt x="2226" y="0"/>
                      <a:pt x="4944" y="0"/>
                    </a:cubicBezTo>
                    <a:lnTo>
                      <a:pt x="400995" y="0"/>
                    </a:lnTo>
                    <a:cubicBezTo>
                      <a:pt x="403741" y="0"/>
                      <a:pt x="405939" y="2226"/>
                      <a:pt x="405939" y="4944"/>
                    </a:cubicBezTo>
                    <a:cubicBezTo>
                      <a:pt x="405939" y="7691"/>
                      <a:pt x="403712" y="9888"/>
                      <a:pt x="400966" y="9888"/>
                    </a:cubicBezTo>
                    <a:close/>
                  </a:path>
                </a:pathLst>
              </a:custGeom>
              <a:grpFill/>
              <a:ln w="2890" cap="flat">
                <a:noFill/>
                <a:prstDash val="solid"/>
                <a:miter/>
              </a:ln>
            </p:spPr>
            <p:txBody>
              <a:bodyPr rtlCol="0" anchor="ctr"/>
              <a:lstStyle/>
              <a:p>
                <a:endParaRPr lang="en-GB" dirty="0"/>
              </a:p>
            </p:txBody>
          </p:sp>
        </p:grpSp>
      </p:grpSp>
      <p:grpSp>
        <p:nvGrpSpPr>
          <p:cNvPr id="620" name="Group 1042">
            <a:extLst>
              <a:ext uri="{FF2B5EF4-FFF2-40B4-BE49-F238E27FC236}">
                <a16:creationId xmlns:a16="http://schemas.microsoft.com/office/drawing/2014/main" id="{6C877B66-6469-468F-AEE5-88582BA27C86}"/>
              </a:ext>
            </a:extLst>
          </p:cNvPr>
          <p:cNvGrpSpPr>
            <a:grpSpLocks noChangeAspect="1"/>
          </p:cNvGrpSpPr>
          <p:nvPr/>
        </p:nvGrpSpPr>
        <p:grpSpPr>
          <a:xfrm>
            <a:off x="6024704" y="4241980"/>
            <a:ext cx="467999" cy="267404"/>
            <a:chOff x="6108146" y="4248753"/>
            <a:chExt cx="549751" cy="314112"/>
          </a:xfrm>
        </p:grpSpPr>
        <p:grpSp>
          <p:nvGrpSpPr>
            <p:cNvPr id="621" name="Group 1038">
              <a:extLst>
                <a:ext uri="{FF2B5EF4-FFF2-40B4-BE49-F238E27FC236}">
                  <a16:creationId xmlns:a16="http://schemas.microsoft.com/office/drawing/2014/main" id="{641F6B40-FAD1-4325-8408-BA81881F54B1}"/>
                </a:ext>
              </a:extLst>
            </p:cNvPr>
            <p:cNvGrpSpPr/>
            <p:nvPr/>
          </p:nvGrpSpPr>
          <p:grpSpPr>
            <a:xfrm>
              <a:off x="6418902" y="4260809"/>
              <a:ext cx="238995" cy="243100"/>
              <a:chOff x="6418899" y="4260811"/>
              <a:chExt cx="238995" cy="243100"/>
            </a:xfrm>
          </p:grpSpPr>
          <p:sp>
            <p:nvSpPr>
              <p:cNvPr id="634" name="Freihandform: Form 633">
                <a:extLst>
                  <a:ext uri="{FF2B5EF4-FFF2-40B4-BE49-F238E27FC236}">
                    <a16:creationId xmlns:a16="http://schemas.microsoft.com/office/drawing/2014/main" id="{1FA3003A-117A-4A87-A650-FDFAC3896567}"/>
                  </a:ext>
                </a:extLst>
              </p:cNvPr>
              <p:cNvSpPr/>
              <p:nvPr/>
            </p:nvSpPr>
            <p:spPr>
              <a:xfrm>
                <a:off x="6418899" y="4260811"/>
                <a:ext cx="140517" cy="232258"/>
              </a:xfrm>
              <a:custGeom>
                <a:avLst/>
                <a:gdLst>
                  <a:gd name="connsiteX0" fmla="*/ 135573 w 140517"/>
                  <a:gd name="connsiteY0" fmla="*/ 232258 h 232258"/>
                  <a:gd name="connsiteX1" fmla="*/ 95095 w 140517"/>
                  <a:gd name="connsiteY1" fmla="*/ 232258 h 232258"/>
                  <a:gd name="connsiteX2" fmla="*/ 90151 w 140517"/>
                  <a:gd name="connsiteY2" fmla="*/ 227314 h 232258"/>
                  <a:gd name="connsiteX3" fmla="*/ 95095 w 140517"/>
                  <a:gd name="connsiteY3" fmla="*/ 222370 h 232258"/>
                  <a:gd name="connsiteX4" fmla="*/ 130629 w 140517"/>
                  <a:gd name="connsiteY4" fmla="*/ 222370 h 232258"/>
                  <a:gd name="connsiteX5" fmla="*/ 130629 w 140517"/>
                  <a:gd name="connsiteY5" fmla="*/ 70519 h 232258"/>
                  <a:gd name="connsiteX6" fmla="*/ 100155 w 140517"/>
                  <a:gd name="connsiteY6" fmla="*/ 70519 h 232258"/>
                  <a:gd name="connsiteX7" fmla="*/ 95240 w 140517"/>
                  <a:gd name="connsiteY7" fmla="*/ 66211 h 232258"/>
                  <a:gd name="connsiteX8" fmla="*/ 4944 w 140517"/>
                  <a:gd name="connsiteY8" fmla="*/ 9888 h 232258"/>
                  <a:gd name="connsiteX9" fmla="*/ 0 w 140517"/>
                  <a:gd name="connsiteY9" fmla="*/ 4944 h 232258"/>
                  <a:gd name="connsiteX10" fmla="*/ 4944 w 140517"/>
                  <a:gd name="connsiteY10" fmla="*/ 0 h 232258"/>
                  <a:gd name="connsiteX11" fmla="*/ 104376 w 140517"/>
                  <a:gd name="connsiteY11" fmla="*/ 60631 h 232258"/>
                  <a:gd name="connsiteX12" fmla="*/ 135573 w 140517"/>
                  <a:gd name="connsiteY12" fmla="*/ 60631 h 232258"/>
                  <a:gd name="connsiteX13" fmla="*/ 140517 w 140517"/>
                  <a:gd name="connsiteY13" fmla="*/ 65575 h 232258"/>
                  <a:gd name="connsiteX14" fmla="*/ 140517 w 140517"/>
                  <a:gd name="connsiteY14" fmla="*/ 227343 h 232258"/>
                  <a:gd name="connsiteX15" fmla="*/ 135573 w 140517"/>
                  <a:gd name="connsiteY15" fmla="*/ 232258 h 232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517" h="232258">
                    <a:moveTo>
                      <a:pt x="135573" y="232258"/>
                    </a:moveTo>
                    <a:lnTo>
                      <a:pt x="95095" y="232258"/>
                    </a:lnTo>
                    <a:cubicBezTo>
                      <a:pt x="92348" y="232258"/>
                      <a:pt x="90151" y="230032"/>
                      <a:pt x="90151" y="227314"/>
                    </a:cubicBezTo>
                    <a:cubicBezTo>
                      <a:pt x="90151" y="224567"/>
                      <a:pt x="92377" y="222370"/>
                      <a:pt x="95095" y="222370"/>
                    </a:cubicBezTo>
                    <a:lnTo>
                      <a:pt x="130629" y="222370"/>
                    </a:lnTo>
                    <a:lnTo>
                      <a:pt x="130629" y="70519"/>
                    </a:lnTo>
                    <a:lnTo>
                      <a:pt x="100155" y="70519"/>
                    </a:lnTo>
                    <a:cubicBezTo>
                      <a:pt x="97668" y="70519"/>
                      <a:pt x="95558" y="68668"/>
                      <a:pt x="95240" y="66211"/>
                    </a:cubicBezTo>
                    <a:cubicBezTo>
                      <a:pt x="90527" y="29896"/>
                      <a:pt x="58462" y="9888"/>
                      <a:pt x="4944" y="9888"/>
                    </a:cubicBezTo>
                    <a:cubicBezTo>
                      <a:pt x="2197" y="9888"/>
                      <a:pt x="0" y="7662"/>
                      <a:pt x="0" y="4944"/>
                    </a:cubicBezTo>
                    <a:cubicBezTo>
                      <a:pt x="0" y="2226"/>
                      <a:pt x="2226" y="0"/>
                      <a:pt x="4944" y="0"/>
                    </a:cubicBezTo>
                    <a:cubicBezTo>
                      <a:pt x="80147" y="0"/>
                      <a:pt x="99750" y="36170"/>
                      <a:pt x="104376" y="60631"/>
                    </a:cubicBezTo>
                    <a:lnTo>
                      <a:pt x="135573" y="60631"/>
                    </a:lnTo>
                    <a:cubicBezTo>
                      <a:pt x="138320" y="60631"/>
                      <a:pt x="140517" y="62857"/>
                      <a:pt x="140517" y="65575"/>
                    </a:cubicBezTo>
                    <a:lnTo>
                      <a:pt x="140517" y="227343"/>
                    </a:lnTo>
                    <a:cubicBezTo>
                      <a:pt x="140546" y="230032"/>
                      <a:pt x="138320" y="232258"/>
                      <a:pt x="135573" y="232258"/>
                    </a:cubicBezTo>
                    <a:close/>
                  </a:path>
                </a:pathLst>
              </a:custGeom>
              <a:solidFill>
                <a:schemeClr val="accent1"/>
              </a:solidFill>
              <a:ln w="2890" cap="flat">
                <a:noFill/>
                <a:prstDash val="solid"/>
                <a:miter/>
              </a:ln>
            </p:spPr>
            <p:txBody>
              <a:bodyPr rtlCol="0" anchor="ctr"/>
              <a:lstStyle/>
              <a:p>
                <a:endParaRPr lang="en-GB" dirty="0"/>
              </a:p>
            </p:txBody>
          </p:sp>
          <p:sp>
            <p:nvSpPr>
              <p:cNvPr id="635" name="Freihandform: Form 634">
                <a:extLst>
                  <a:ext uri="{FF2B5EF4-FFF2-40B4-BE49-F238E27FC236}">
                    <a16:creationId xmlns:a16="http://schemas.microsoft.com/office/drawing/2014/main" id="{D534C6FD-986D-4FF0-BBEE-A690447E45F0}"/>
                  </a:ext>
                </a:extLst>
              </p:cNvPr>
              <p:cNvSpPr/>
              <p:nvPr/>
            </p:nvSpPr>
            <p:spPr>
              <a:xfrm>
                <a:off x="6549384" y="4308604"/>
                <a:ext cx="108510" cy="195307"/>
              </a:xfrm>
              <a:custGeom>
                <a:avLst/>
                <a:gdLst>
                  <a:gd name="connsiteX0" fmla="*/ 103595 w 108510"/>
                  <a:gd name="connsiteY0" fmla="*/ 195307 h 195307"/>
                  <a:gd name="connsiteX1" fmla="*/ 4944 w 108510"/>
                  <a:gd name="connsiteY1" fmla="*/ 195307 h 195307"/>
                  <a:gd name="connsiteX2" fmla="*/ 0 w 108510"/>
                  <a:gd name="connsiteY2" fmla="*/ 190363 h 195307"/>
                  <a:gd name="connsiteX3" fmla="*/ 0 w 108510"/>
                  <a:gd name="connsiteY3" fmla="*/ 4944 h 195307"/>
                  <a:gd name="connsiteX4" fmla="*/ 4944 w 108510"/>
                  <a:gd name="connsiteY4" fmla="*/ 0 h 195307"/>
                  <a:gd name="connsiteX5" fmla="*/ 103566 w 108510"/>
                  <a:gd name="connsiteY5" fmla="*/ 0 h 195307"/>
                  <a:gd name="connsiteX6" fmla="*/ 108511 w 108510"/>
                  <a:gd name="connsiteY6" fmla="*/ 4944 h 195307"/>
                  <a:gd name="connsiteX7" fmla="*/ 103566 w 108510"/>
                  <a:gd name="connsiteY7" fmla="*/ 9888 h 195307"/>
                  <a:gd name="connsiteX8" fmla="*/ 9888 w 108510"/>
                  <a:gd name="connsiteY8" fmla="*/ 9888 h 195307"/>
                  <a:gd name="connsiteX9" fmla="*/ 9888 w 108510"/>
                  <a:gd name="connsiteY9" fmla="*/ 185419 h 195307"/>
                  <a:gd name="connsiteX10" fmla="*/ 103566 w 108510"/>
                  <a:gd name="connsiteY10" fmla="*/ 185419 h 195307"/>
                  <a:gd name="connsiteX11" fmla="*/ 108511 w 108510"/>
                  <a:gd name="connsiteY11" fmla="*/ 190363 h 195307"/>
                  <a:gd name="connsiteX12" fmla="*/ 103595 w 108510"/>
                  <a:gd name="connsiteY12" fmla="*/ 195307 h 195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510" h="195307">
                    <a:moveTo>
                      <a:pt x="103595" y="195307"/>
                    </a:moveTo>
                    <a:lnTo>
                      <a:pt x="4944" y="195307"/>
                    </a:lnTo>
                    <a:cubicBezTo>
                      <a:pt x="2197" y="195307"/>
                      <a:pt x="0" y="193081"/>
                      <a:pt x="0" y="190363"/>
                    </a:cubicBezTo>
                    <a:lnTo>
                      <a:pt x="0" y="4944"/>
                    </a:lnTo>
                    <a:cubicBezTo>
                      <a:pt x="0" y="2226"/>
                      <a:pt x="2226" y="0"/>
                      <a:pt x="4944" y="0"/>
                    </a:cubicBezTo>
                    <a:lnTo>
                      <a:pt x="103566" y="0"/>
                    </a:lnTo>
                    <a:cubicBezTo>
                      <a:pt x="106284" y="0"/>
                      <a:pt x="108511" y="2226"/>
                      <a:pt x="108511" y="4944"/>
                    </a:cubicBezTo>
                    <a:cubicBezTo>
                      <a:pt x="108511" y="7691"/>
                      <a:pt x="106284" y="9888"/>
                      <a:pt x="103566" y="9888"/>
                    </a:cubicBezTo>
                    <a:lnTo>
                      <a:pt x="9888" y="9888"/>
                    </a:lnTo>
                    <a:lnTo>
                      <a:pt x="9888" y="185419"/>
                    </a:lnTo>
                    <a:lnTo>
                      <a:pt x="103566" y="185419"/>
                    </a:lnTo>
                    <a:cubicBezTo>
                      <a:pt x="106284" y="185419"/>
                      <a:pt x="108511" y="187646"/>
                      <a:pt x="108511" y="190363"/>
                    </a:cubicBezTo>
                    <a:cubicBezTo>
                      <a:pt x="108539" y="193110"/>
                      <a:pt x="106313" y="195307"/>
                      <a:pt x="103595" y="195307"/>
                    </a:cubicBezTo>
                    <a:close/>
                  </a:path>
                </a:pathLst>
              </a:custGeom>
              <a:solidFill>
                <a:schemeClr val="accent1"/>
              </a:solidFill>
              <a:ln w="2890" cap="flat">
                <a:noFill/>
                <a:prstDash val="solid"/>
                <a:miter/>
              </a:ln>
            </p:spPr>
            <p:txBody>
              <a:bodyPr rtlCol="0" anchor="ctr"/>
              <a:lstStyle/>
              <a:p>
                <a:endParaRPr lang="en-GB" dirty="0"/>
              </a:p>
            </p:txBody>
          </p:sp>
        </p:grpSp>
        <p:grpSp>
          <p:nvGrpSpPr>
            <p:cNvPr id="622" name="Group 1034">
              <a:extLst>
                <a:ext uri="{FF2B5EF4-FFF2-40B4-BE49-F238E27FC236}">
                  <a16:creationId xmlns:a16="http://schemas.microsoft.com/office/drawing/2014/main" id="{3009A1D5-F59D-416F-8D28-799A1573942A}"/>
                </a:ext>
              </a:extLst>
            </p:cNvPr>
            <p:cNvGrpSpPr/>
            <p:nvPr/>
          </p:nvGrpSpPr>
          <p:grpSpPr>
            <a:xfrm>
              <a:off x="6108146" y="4248753"/>
              <a:ext cx="442022" cy="301908"/>
              <a:chOff x="6108142" y="4248754"/>
              <a:chExt cx="442022" cy="301909"/>
            </a:xfrm>
          </p:grpSpPr>
          <p:sp>
            <p:nvSpPr>
              <p:cNvPr id="631" name="Freihandform: Form 630">
                <a:extLst>
                  <a:ext uri="{FF2B5EF4-FFF2-40B4-BE49-F238E27FC236}">
                    <a16:creationId xmlns:a16="http://schemas.microsoft.com/office/drawing/2014/main" id="{13BDAD08-2F35-4498-9C7C-9DF15118422B}"/>
                  </a:ext>
                </a:extLst>
              </p:cNvPr>
              <p:cNvSpPr/>
              <p:nvPr/>
            </p:nvSpPr>
            <p:spPr>
              <a:xfrm>
                <a:off x="6206996" y="4248754"/>
                <a:ext cx="204211" cy="191375"/>
              </a:xfrm>
              <a:custGeom>
                <a:avLst/>
                <a:gdLst>
                  <a:gd name="connsiteX0" fmla="*/ 22003 w 204211"/>
                  <a:gd name="connsiteY0" fmla="*/ 191375 h 191375"/>
                  <a:gd name="connsiteX1" fmla="*/ 4944 w 204211"/>
                  <a:gd name="connsiteY1" fmla="*/ 191375 h 191375"/>
                  <a:gd name="connsiteX2" fmla="*/ 0 w 204211"/>
                  <a:gd name="connsiteY2" fmla="*/ 186431 h 191375"/>
                  <a:gd name="connsiteX3" fmla="*/ 0 w 204211"/>
                  <a:gd name="connsiteY3" fmla="*/ 44382 h 191375"/>
                  <a:gd name="connsiteX4" fmla="*/ 4944 w 204211"/>
                  <a:gd name="connsiteY4" fmla="*/ 39437 h 191375"/>
                  <a:gd name="connsiteX5" fmla="*/ 31457 w 204211"/>
                  <a:gd name="connsiteY5" fmla="*/ 39437 h 191375"/>
                  <a:gd name="connsiteX6" fmla="*/ 96830 w 204211"/>
                  <a:gd name="connsiteY6" fmla="*/ 0 h 191375"/>
                  <a:gd name="connsiteX7" fmla="*/ 173767 w 204211"/>
                  <a:gd name="connsiteY7" fmla="*/ 0 h 191375"/>
                  <a:gd name="connsiteX8" fmla="*/ 203692 w 204211"/>
                  <a:gd name="connsiteY8" fmla="*/ 14572 h 191375"/>
                  <a:gd name="connsiteX9" fmla="*/ 201466 w 204211"/>
                  <a:gd name="connsiteY9" fmla="*/ 21222 h 191375"/>
                  <a:gd name="connsiteX10" fmla="*/ 194816 w 204211"/>
                  <a:gd name="connsiteY10" fmla="*/ 18996 h 191375"/>
                  <a:gd name="connsiteX11" fmla="*/ 173738 w 204211"/>
                  <a:gd name="connsiteY11" fmla="*/ 9917 h 191375"/>
                  <a:gd name="connsiteX12" fmla="*/ 96801 w 204211"/>
                  <a:gd name="connsiteY12" fmla="*/ 9917 h 191375"/>
                  <a:gd name="connsiteX13" fmla="*/ 38946 w 204211"/>
                  <a:gd name="connsiteY13" fmla="*/ 46550 h 191375"/>
                  <a:gd name="connsiteX14" fmla="*/ 34464 w 204211"/>
                  <a:gd name="connsiteY14" fmla="*/ 49384 h 191375"/>
                  <a:gd name="connsiteX15" fmla="*/ 9830 w 204211"/>
                  <a:gd name="connsiteY15" fmla="*/ 49384 h 191375"/>
                  <a:gd name="connsiteX16" fmla="*/ 9830 w 204211"/>
                  <a:gd name="connsiteY16" fmla="*/ 181516 h 191375"/>
                  <a:gd name="connsiteX17" fmla="*/ 21945 w 204211"/>
                  <a:gd name="connsiteY17" fmla="*/ 181516 h 191375"/>
                  <a:gd name="connsiteX18" fmla="*/ 26889 w 204211"/>
                  <a:gd name="connsiteY18" fmla="*/ 186460 h 191375"/>
                  <a:gd name="connsiteX19" fmla="*/ 22003 w 204211"/>
                  <a:gd name="connsiteY19" fmla="*/ 191375 h 19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04211" h="191375">
                    <a:moveTo>
                      <a:pt x="22003" y="191375"/>
                    </a:moveTo>
                    <a:lnTo>
                      <a:pt x="4944" y="191375"/>
                    </a:lnTo>
                    <a:cubicBezTo>
                      <a:pt x="2226" y="191375"/>
                      <a:pt x="0" y="189149"/>
                      <a:pt x="0" y="186431"/>
                    </a:cubicBezTo>
                    <a:lnTo>
                      <a:pt x="0" y="44382"/>
                    </a:lnTo>
                    <a:cubicBezTo>
                      <a:pt x="0" y="41664"/>
                      <a:pt x="2226" y="39437"/>
                      <a:pt x="4944" y="39437"/>
                    </a:cubicBezTo>
                    <a:lnTo>
                      <a:pt x="31457" y="39437"/>
                    </a:lnTo>
                    <a:cubicBezTo>
                      <a:pt x="44208" y="15382"/>
                      <a:pt x="69536" y="0"/>
                      <a:pt x="96830" y="0"/>
                    </a:cubicBezTo>
                    <a:lnTo>
                      <a:pt x="173767" y="0"/>
                    </a:lnTo>
                    <a:cubicBezTo>
                      <a:pt x="189004" y="0"/>
                      <a:pt x="198806" y="4771"/>
                      <a:pt x="203692" y="14572"/>
                    </a:cubicBezTo>
                    <a:cubicBezTo>
                      <a:pt x="204907" y="17001"/>
                      <a:pt x="203924" y="19979"/>
                      <a:pt x="201466" y="21222"/>
                    </a:cubicBezTo>
                    <a:cubicBezTo>
                      <a:pt x="199037" y="22437"/>
                      <a:pt x="196059" y="21454"/>
                      <a:pt x="194816" y="18996"/>
                    </a:cubicBezTo>
                    <a:cubicBezTo>
                      <a:pt x="192705" y="14775"/>
                      <a:pt x="188397" y="9917"/>
                      <a:pt x="173738" y="9917"/>
                    </a:cubicBezTo>
                    <a:lnTo>
                      <a:pt x="96801" y="9917"/>
                    </a:lnTo>
                    <a:cubicBezTo>
                      <a:pt x="72254" y="9917"/>
                      <a:pt x="49557" y="24287"/>
                      <a:pt x="38946" y="46550"/>
                    </a:cubicBezTo>
                    <a:cubicBezTo>
                      <a:pt x="38136" y="48285"/>
                      <a:pt x="36373" y="49384"/>
                      <a:pt x="34464" y="49384"/>
                    </a:cubicBezTo>
                    <a:lnTo>
                      <a:pt x="9830" y="49384"/>
                    </a:lnTo>
                    <a:lnTo>
                      <a:pt x="9830" y="181516"/>
                    </a:lnTo>
                    <a:lnTo>
                      <a:pt x="21945" y="181516"/>
                    </a:lnTo>
                    <a:cubicBezTo>
                      <a:pt x="24663" y="181516"/>
                      <a:pt x="26889" y="183742"/>
                      <a:pt x="26889" y="186460"/>
                    </a:cubicBezTo>
                    <a:cubicBezTo>
                      <a:pt x="26947" y="189149"/>
                      <a:pt x="24721" y="191375"/>
                      <a:pt x="22003" y="191375"/>
                    </a:cubicBezTo>
                    <a:close/>
                  </a:path>
                </a:pathLst>
              </a:custGeom>
              <a:solidFill>
                <a:schemeClr val="tx2"/>
              </a:solidFill>
              <a:ln w="2890" cap="flat">
                <a:noFill/>
                <a:prstDash val="solid"/>
                <a:miter/>
              </a:ln>
            </p:spPr>
            <p:txBody>
              <a:bodyPr rtlCol="0" anchor="ctr"/>
              <a:lstStyle/>
              <a:p>
                <a:endParaRPr lang="en-GB" dirty="0"/>
              </a:p>
            </p:txBody>
          </p:sp>
          <p:sp>
            <p:nvSpPr>
              <p:cNvPr id="632" name="Freihandform: Form 631">
                <a:extLst>
                  <a:ext uri="{FF2B5EF4-FFF2-40B4-BE49-F238E27FC236}">
                    <a16:creationId xmlns:a16="http://schemas.microsoft.com/office/drawing/2014/main" id="{D8D6877E-8914-4B32-A678-CC847E1F0098}"/>
                  </a:ext>
                </a:extLst>
              </p:cNvPr>
              <p:cNvSpPr/>
              <p:nvPr/>
            </p:nvSpPr>
            <p:spPr>
              <a:xfrm>
                <a:off x="6386572" y="4343342"/>
                <a:ext cx="163592" cy="207321"/>
              </a:xfrm>
              <a:custGeom>
                <a:avLst/>
                <a:gdLst>
                  <a:gd name="connsiteX0" fmla="*/ 23162 w 163592"/>
                  <a:gd name="connsiteY0" fmla="*/ 207322 h 207321"/>
                  <a:gd name="connsiteX1" fmla="*/ 21601 w 163592"/>
                  <a:gd name="connsiteY1" fmla="*/ 207264 h 207321"/>
                  <a:gd name="connsiteX2" fmla="*/ 7173 w 163592"/>
                  <a:gd name="connsiteY2" fmla="*/ 200440 h 207321"/>
                  <a:gd name="connsiteX3" fmla="*/ 1246 w 163592"/>
                  <a:gd name="connsiteY3" fmla="*/ 193704 h 207321"/>
                  <a:gd name="connsiteX4" fmla="*/ 1679 w 163592"/>
                  <a:gd name="connsiteY4" fmla="*/ 186707 h 207321"/>
                  <a:gd name="connsiteX5" fmla="*/ 8676 w 163592"/>
                  <a:gd name="connsiteY5" fmla="*/ 187169 h 207321"/>
                  <a:gd name="connsiteX6" fmla="*/ 14604 w 163592"/>
                  <a:gd name="connsiteY6" fmla="*/ 193906 h 207321"/>
                  <a:gd name="connsiteX7" fmla="*/ 22208 w 163592"/>
                  <a:gd name="connsiteY7" fmla="*/ 197376 h 207321"/>
                  <a:gd name="connsiteX8" fmla="*/ 35855 w 163592"/>
                  <a:gd name="connsiteY8" fmla="*/ 192229 h 207321"/>
                  <a:gd name="connsiteX9" fmla="*/ 42678 w 163592"/>
                  <a:gd name="connsiteY9" fmla="*/ 179334 h 207321"/>
                  <a:gd name="connsiteX10" fmla="*/ 40192 w 163592"/>
                  <a:gd name="connsiteY10" fmla="*/ 171325 h 207321"/>
                  <a:gd name="connsiteX11" fmla="*/ 1477 w 163592"/>
                  <a:gd name="connsiteY11" fmla="*/ 127724 h 207321"/>
                  <a:gd name="connsiteX12" fmla="*/ 1882 w 163592"/>
                  <a:gd name="connsiteY12" fmla="*/ 120756 h 207321"/>
                  <a:gd name="connsiteX13" fmla="*/ 8850 w 163592"/>
                  <a:gd name="connsiteY13" fmla="*/ 121132 h 207321"/>
                  <a:gd name="connsiteX14" fmla="*/ 63582 w 163592"/>
                  <a:gd name="connsiteY14" fmla="*/ 181994 h 207321"/>
                  <a:gd name="connsiteX15" fmla="*/ 84891 w 163592"/>
                  <a:gd name="connsiteY15" fmla="*/ 180346 h 207321"/>
                  <a:gd name="connsiteX16" fmla="*/ 91541 w 163592"/>
                  <a:gd name="connsiteY16" fmla="*/ 169041 h 207321"/>
                  <a:gd name="connsiteX17" fmla="*/ 89257 w 163592"/>
                  <a:gd name="connsiteY17" fmla="*/ 159471 h 207321"/>
                  <a:gd name="connsiteX18" fmla="*/ 7867 w 163592"/>
                  <a:gd name="connsiteY18" fmla="*/ 67730 h 207321"/>
                  <a:gd name="connsiteX19" fmla="*/ 7491 w 163592"/>
                  <a:gd name="connsiteY19" fmla="*/ 61658 h 207321"/>
                  <a:gd name="connsiteX20" fmla="*/ 11452 w 163592"/>
                  <a:gd name="connsiteY20" fmla="*/ 59258 h 207321"/>
                  <a:gd name="connsiteX21" fmla="*/ 15644 w 163592"/>
                  <a:gd name="connsiteY21" fmla="*/ 60675 h 207321"/>
                  <a:gd name="connsiteX22" fmla="*/ 94259 w 163592"/>
                  <a:gd name="connsiteY22" fmla="*/ 149958 h 207321"/>
                  <a:gd name="connsiteX23" fmla="*/ 115539 w 163592"/>
                  <a:gd name="connsiteY23" fmla="*/ 148281 h 207321"/>
                  <a:gd name="connsiteX24" fmla="*/ 122189 w 163592"/>
                  <a:gd name="connsiteY24" fmla="*/ 136976 h 207321"/>
                  <a:gd name="connsiteX25" fmla="*/ 119905 w 163592"/>
                  <a:gd name="connsiteY25" fmla="*/ 127406 h 207321"/>
                  <a:gd name="connsiteX26" fmla="*/ 33455 w 163592"/>
                  <a:gd name="connsiteY26" fmla="*/ 29969 h 207321"/>
                  <a:gd name="connsiteX27" fmla="*/ 33050 w 163592"/>
                  <a:gd name="connsiteY27" fmla="*/ 23898 h 207321"/>
                  <a:gd name="connsiteX28" fmla="*/ 36982 w 163592"/>
                  <a:gd name="connsiteY28" fmla="*/ 21527 h 207321"/>
                  <a:gd name="connsiteX29" fmla="*/ 41175 w 163592"/>
                  <a:gd name="connsiteY29" fmla="*/ 22972 h 207321"/>
                  <a:gd name="connsiteX30" fmla="*/ 125601 w 163592"/>
                  <a:gd name="connsiteY30" fmla="*/ 118877 h 207321"/>
                  <a:gd name="connsiteX31" fmla="*/ 134795 w 163592"/>
                  <a:gd name="connsiteY31" fmla="*/ 122375 h 207321"/>
                  <a:gd name="connsiteX32" fmla="*/ 146852 w 163592"/>
                  <a:gd name="connsiteY32" fmla="*/ 117200 h 207321"/>
                  <a:gd name="connsiteX33" fmla="*/ 151218 w 163592"/>
                  <a:gd name="connsiteY33" fmla="*/ 96296 h 207321"/>
                  <a:gd name="connsiteX34" fmla="*/ 73095 w 163592"/>
                  <a:gd name="connsiteY34" fmla="*/ 8255 h 207321"/>
                  <a:gd name="connsiteX35" fmla="*/ 73499 w 163592"/>
                  <a:gd name="connsiteY35" fmla="*/ 1259 h 207321"/>
                  <a:gd name="connsiteX36" fmla="*/ 80496 w 163592"/>
                  <a:gd name="connsiteY36" fmla="*/ 1663 h 207321"/>
                  <a:gd name="connsiteX37" fmla="*/ 158648 w 163592"/>
                  <a:gd name="connsiteY37" fmla="*/ 89732 h 207321"/>
                  <a:gd name="connsiteX38" fmla="*/ 153415 w 163592"/>
                  <a:gd name="connsiteY38" fmla="*/ 124601 h 207321"/>
                  <a:gd name="connsiteX39" fmla="*/ 135229 w 163592"/>
                  <a:gd name="connsiteY39" fmla="*/ 132206 h 207321"/>
                  <a:gd name="connsiteX40" fmla="*/ 132193 w 163592"/>
                  <a:gd name="connsiteY40" fmla="*/ 132148 h 207321"/>
                  <a:gd name="connsiteX41" fmla="*/ 131933 w 163592"/>
                  <a:gd name="connsiteY41" fmla="*/ 138567 h 207321"/>
                  <a:gd name="connsiteX42" fmla="*/ 122073 w 163592"/>
                  <a:gd name="connsiteY42" fmla="*/ 155625 h 207321"/>
                  <a:gd name="connsiteX43" fmla="*/ 101487 w 163592"/>
                  <a:gd name="connsiteY43" fmla="*/ 163200 h 207321"/>
                  <a:gd name="connsiteX44" fmla="*/ 101343 w 163592"/>
                  <a:gd name="connsiteY44" fmla="*/ 170631 h 207321"/>
                  <a:gd name="connsiteX45" fmla="*/ 91483 w 163592"/>
                  <a:gd name="connsiteY45" fmla="*/ 187690 h 207321"/>
                  <a:gd name="connsiteX46" fmla="*/ 56238 w 163592"/>
                  <a:gd name="connsiteY46" fmla="*/ 188470 h 207321"/>
                  <a:gd name="connsiteX47" fmla="*/ 52017 w 163592"/>
                  <a:gd name="connsiteY47" fmla="*/ 183787 h 207321"/>
                  <a:gd name="connsiteX48" fmla="*/ 42418 w 163592"/>
                  <a:gd name="connsiteY48" fmla="*/ 199573 h 207321"/>
                  <a:gd name="connsiteX49" fmla="*/ 23162 w 163592"/>
                  <a:gd name="connsiteY49" fmla="*/ 207322 h 207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163592" h="207321">
                    <a:moveTo>
                      <a:pt x="23162" y="207322"/>
                    </a:moveTo>
                    <a:cubicBezTo>
                      <a:pt x="22641" y="207322"/>
                      <a:pt x="22121" y="207322"/>
                      <a:pt x="21601" y="207264"/>
                    </a:cubicBezTo>
                    <a:cubicBezTo>
                      <a:pt x="15847" y="206888"/>
                      <a:pt x="10729" y="204488"/>
                      <a:pt x="7173" y="200440"/>
                    </a:cubicBezTo>
                    <a:lnTo>
                      <a:pt x="1246" y="193704"/>
                    </a:lnTo>
                    <a:cubicBezTo>
                      <a:pt x="-576" y="191651"/>
                      <a:pt x="-373" y="188528"/>
                      <a:pt x="1679" y="186707"/>
                    </a:cubicBezTo>
                    <a:cubicBezTo>
                      <a:pt x="3732" y="184914"/>
                      <a:pt x="6855" y="185088"/>
                      <a:pt x="8676" y="187169"/>
                    </a:cubicBezTo>
                    <a:lnTo>
                      <a:pt x="14604" y="193906"/>
                    </a:lnTo>
                    <a:cubicBezTo>
                      <a:pt x="16917" y="196508"/>
                      <a:pt x="20010" y="197231"/>
                      <a:pt x="22208" y="197376"/>
                    </a:cubicBezTo>
                    <a:cubicBezTo>
                      <a:pt x="26805" y="197665"/>
                      <a:pt x="31807" y="195785"/>
                      <a:pt x="35855" y="192229"/>
                    </a:cubicBezTo>
                    <a:cubicBezTo>
                      <a:pt x="39903" y="188673"/>
                      <a:pt x="42389" y="183960"/>
                      <a:pt x="42678" y="179334"/>
                    </a:cubicBezTo>
                    <a:cubicBezTo>
                      <a:pt x="42823" y="177137"/>
                      <a:pt x="42505" y="173956"/>
                      <a:pt x="40192" y="171325"/>
                    </a:cubicBezTo>
                    <a:lnTo>
                      <a:pt x="1477" y="127724"/>
                    </a:lnTo>
                    <a:cubicBezTo>
                      <a:pt x="-344" y="125671"/>
                      <a:pt x="-142" y="122549"/>
                      <a:pt x="1882" y="120756"/>
                    </a:cubicBezTo>
                    <a:cubicBezTo>
                      <a:pt x="3906" y="118935"/>
                      <a:pt x="7028" y="119108"/>
                      <a:pt x="8850" y="121132"/>
                    </a:cubicBezTo>
                    <a:lnTo>
                      <a:pt x="63582" y="181994"/>
                    </a:lnTo>
                    <a:cubicBezTo>
                      <a:pt x="68295" y="187343"/>
                      <a:pt x="77836" y="186591"/>
                      <a:pt x="84891" y="180346"/>
                    </a:cubicBezTo>
                    <a:cubicBezTo>
                      <a:pt x="88476" y="177194"/>
                      <a:pt x="90818" y="173176"/>
                      <a:pt x="91541" y="169041"/>
                    </a:cubicBezTo>
                    <a:cubicBezTo>
                      <a:pt x="92177" y="165282"/>
                      <a:pt x="91368" y="161870"/>
                      <a:pt x="89257" y="159471"/>
                    </a:cubicBezTo>
                    <a:lnTo>
                      <a:pt x="7867" y="67730"/>
                    </a:lnTo>
                    <a:cubicBezTo>
                      <a:pt x="6363" y="66024"/>
                      <a:pt x="6190" y="63537"/>
                      <a:pt x="7491" y="61658"/>
                    </a:cubicBezTo>
                    <a:cubicBezTo>
                      <a:pt x="8358" y="60386"/>
                      <a:pt x="9920" y="59345"/>
                      <a:pt x="11452" y="59258"/>
                    </a:cubicBezTo>
                    <a:cubicBezTo>
                      <a:pt x="13013" y="59200"/>
                      <a:pt x="14633" y="59547"/>
                      <a:pt x="15644" y="60675"/>
                    </a:cubicBezTo>
                    <a:lnTo>
                      <a:pt x="94259" y="149958"/>
                    </a:lnTo>
                    <a:cubicBezTo>
                      <a:pt x="98914" y="155249"/>
                      <a:pt x="108455" y="154498"/>
                      <a:pt x="115539" y="148281"/>
                    </a:cubicBezTo>
                    <a:cubicBezTo>
                      <a:pt x="119095" y="145130"/>
                      <a:pt x="121466" y="141111"/>
                      <a:pt x="122189" y="136976"/>
                    </a:cubicBezTo>
                    <a:cubicBezTo>
                      <a:pt x="122825" y="133218"/>
                      <a:pt x="122015" y="129806"/>
                      <a:pt x="119905" y="127406"/>
                    </a:cubicBezTo>
                    <a:lnTo>
                      <a:pt x="33455" y="29969"/>
                    </a:lnTo>
                    <a:cubicBezTo>
                      <a:pt x="31951" y="28263"/>
                      <a:pt x="31778" y="25777"/>
                      <a:pt x="33050" y="23898"/>
                    </a:cubicBezTo>
                    <a:cubicBezTo>
                      <a:pt x="33917" y="22625"/>
                      <a:pt x="35450" y="21613"/>
                      <a:pt x="36982" y="21527"/>
                    </a:cubicBezTo>
                    <a:cubicBezTo>
                      <a:pt x="38544" y="21382"/>
                      <a:pt x="40163" y="21816"/>
                      <a:pt x="41175" y="22972"/>
                    </a:cubicBezTo>
                    <a:lnTo>
                      <a:pt x="125601" y="118877"/>
                    </a:lnTo>
                    <a:cubicBezTo>
                      <a:pt x="127740" y="121277"/>
                      <a:pt x="130979" y="122462"/>
                      <a:pt x="134795" y="122375"/>
                    </a:cubicBezTo>
                    <a:cubicBezTo>
                      <a:pt x="139016" y="122202"/>
                      <a:pt x="143296" y="120351"/>
                      <a:pt x="146852" y="117200"/>
                    </a:cubicBezTo>
                    <a:cubicBezTo>
                      <a:pt x="153907" y="110984"/>
                      <a:pt x="155873" y="101616"/>
                      <a:pt x="151218" y="96296"/>
                    </a:cubicBezTo>
                    <a:lnTo>
                      <a:pt x="73095" y="8255"/>
                    </a:lnTo>
                    <a:cubicBezTo>
                      <a:pt x="71273" y="6203"/>
                      <a:pt x="71475" y="3080"/>
                      <a:pt x="73499" y="1259"/>
                    </a:cubicBezTo>
                    <a:cubicBezTo>
                      <a:pt x="75552" y="-563"/>
                      <a:pt x="78675" y="-389"/>
                      <a:pt x="80496" y="1663"/>
                    </a:cubicBezTo>
                    <a:lnTo>
                      <a:pt x="158648" y="89732"/>
                    </a:lnTo>
                    <a:cubicBezTo>
                      <a:pt x="166917" y="99158"/>
                      <a:pt x="164575" y="114800"/>
                      <a:pt x="153415" y="124601"/>
                    </a:cubicBezTo>
                    <a:cubicBezTo>
                      <a:pt x="148153" y="129228"/>
                      <a:pt x="141705" y="131946"/>
                      <a:pt x="135229" y="132206"/>
                    </a:cubicBezTo>
                    <a:cubicBezTo>
                      <a:pt x="134188" y="132264"/>
                      <a:pt x="133176" y="132235"/>
                      <a:pt x="132193" y="132148"/>
                    </a:cubicBezTo>
                    <a:cubicBezTo>
                      <a:pt x="132395" y="134230"/>
                      <a:pt x="132309" y="136369"/>
                      <a:pt x="131933" y="138567"/>
                    </a:cubicBezTo>
                    <a:cubicBezTo>
                      <a:pt x="130834" y="144927"/>
                      <a:pt x="127335" y="150999"/>
                      <a:pt x="122073" y="155625"/>
                    </a:cubicBezTo>
                    <a:cubicBezTo>
                      <a:pt x="115944" y="161032"/>
                      <a:pt x="108455" y="163518"/>
                      <a:pt x="101487" y="163200"/>
                    </a:cubicBezTo>
                    <a:cubicBezTo>
                      <a:pt x="101834" y="165571"/>
                      <a:pt x="101805" y="168058"/>
                      <a:pt x="101343" y="170631"/>
                    </a:cubicBezTo>
                    <a:cubicBezTo>
                      <a:pt x="100244" y="177021"/>
                      <a:pt x="96746" y="183064"/>
                      <a:pt x="91483" y="187690"/>
                    </a:cubicBezTo>
                    <a:cubicBezTo>
                      <a:pt x="80323" y="197491"/>
                      <a:pt x="64508" y="197867"/>
                      <a:pt x="56238" y="188470"/>
                    </a:cubicBezTo>
                    <a:lnTo>
                      <a:pt x="52017" y="183787"/>
                    </a:lnTo>
                    <a:cubicBezTo>
                      <a:pt x="50716" y="189656"/>
                      <a:pt x="47333" y="195236"/>
                      <a:pt x="42418" y="199573"/>
                    </a:cubicBezTo>
                    <a:cubicBezTo>
                      <a:pt x="36867" y="204604"/>
                      <a:pt x="29927" y="207322"/>
                      <a:pt x="23162" y="207322"/>
                    </a:cubicBezTo>
                    <a:close/>
                  </a:path>
                </a:pathLst>
              </a:custGeom>
              <a:solidFill>
                <a:schemeClr val="tx2"/>
              </a:solidFill>
              <a:ln w="2890" cap="flat">
                <a:noFill/>
                <a:prstDash val="solid"/>
                <a:miter/>
              </a:ln>
            </p:spPr>
            <p:txBody>
              <a:bodyPr rtlCol="0" anchor="ctr"/>
              <a:lstStyle/>
              <a:p>
                <a:endParaRPr lang="en-GB" dirty="0"/>
              </a:p>
            </p:txBody>
          </p:sp>
          <p:sp>
            <p:nvSpPr>
              <p:cNvPr id="633" name="Freihandform: Form 632">
                <a:extLst>
                  <a:ext uri="{FF2B5EF4-FFF2-40B4-BE49-F238E27FC236}">
                    <a16:creationId xmlns:a16="http://schemas.microsoft.com/office/drawing/2014/main" id="{78FCBEB5-B84E-479A-A511-FB6CF2581965}"/>
                  </a:ext>
                </a:extLst>
              </p:cNvPr>
              <p:cNvSpPr/>
              <p:nvPr/>
            </p:nvSpPr>
            <p:spPr>
              <a:xfrm>
                <a:off x="6108142" y="4268473"/>
                <a:ext cx="108510" cy="191375"/>
              </a:xfrm>
              <a:custGeom>
                <a:avLst/>
                <a:gdLst>
                  <a:gd name="connsiteX0" fmla="*/ 103566 w 108510"/>
                  <a:gd name="connsiteY0" fmla="*/ 191375 h 191375"/>
                  <a:gd name="connsiteX1" fmla="*/ 4944 w 108510"/>
                  <a:gd name="connsiteY1" fmla="*/ 191375 h 191375"/>
                  <a:gd name="connsiteX2" fmla="*/ 0 w 108510"/>
                  <a:gd name="connsiteY2" fmla="*/ 186431 h 191375"/>
                  <a:gd name="connsiteX3" fmla="*/ 4944 w 108510"/>
                  <a:gd name="connsiteY3" fmla="*/ 181487 h 191375"/>
                  <a:gd name="connsiteX4" fmla="*/ 98622 w 108510"/>
                  <a:gd name="connsiteY4" fmla="*/ 181487 h 191375"/>
                  <a:gd name="connsiteX5" fmla="*/ 98622 w 108510"/>
                  <a:gd name="connsiteY5" fmla="*/ 9888 h 191375"/>
                  <a:gd name="connsiteX6" fmla="*/ 4944 w 108510"/>
                  <a:gd name="connsiteY6" fmla="*/ 9888 h 191375"/>
                  <a:gd name="connsiteX7" fmla="*/ 0 w 108510"/>
                  <a:gd name="connsiteY7" fmla="*/ 4944 h 191375"/>
                  <a:gd name="connsiteX8" fmla="*/ 4944 w 108510"/>
                  <a:gd name="connsiteY8" fmla="*/ 0 h 191375"/>
                  <a:gd name="connsiteX9" fmla="*/ 103566 w 108510"/>
                  <a:gd name="connsiteY9" fmla="*/ 0 h 191375"/>
                  <a:gd name="connsiteX10" fmla="*/ 108511 w 108510"/>
                  <a:gd name="connsiteY10" fmla="*/ 4944 h 191375"/>
                  <a:gd name="connsiteX11" fmla="*/ 108511 w 108510"/>
                  <a:gd name="connsiteY11" fmla="*/ 186431 h 191375"/>
                  <a:gd name="connsiteX12" fmla="*/ 103566 w 108510"/>
                  <a:gd name="connsiteY12" fmla="*/ 191375 h 191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8510" h="191375">
                    <a:moveTo>
                      <a:pt x="103566" y="191375"/>
                    </a:moveTo>
                    <a:lnTo>
                      <a:pt x="4944" y="191375"/>
                    </a:lnTo>
                    <a:cubicBezTo>
                      <a:pt x="2226" y="191375"/>
                      <a:pt x="0" y="189149"/>
                      <a:pt x="0" y="186431"/>
                    </a:cubicBezTo>
                    <a:cubicBezTo>
                      <a:pt x="0" y="183714"/>
                      <a:pt x="2226" y="181487"/>
                      <a:pt x="4944" y="181487"/>
                    </a:cubicBezTo>
                    <a:lnTo>
                      <a:pt x="98622" y="181487"/>
                    </a:lnTo>
                    <a:lnTo>
                      <a:pt x="98622" y="9888"/>
                    </a:lnTo>
                    <a:lnTo>
                      <a:pt x="4944" y="9888"/>
                    </a:lnTo>
                    <a:cubicBezTo>
                      <a:pt x="2226" y="9888"/>
                      <a:pt x="0" y="7662"/>
                      <a:pt x="0" y="4944"/>
                    </a:cubicBezTo>
                    <a:cubicBezTo>
                      <a:pt x="0" y="2197"/>
                      <a:pt x="2226" y="0"/>
                      <a:pt x="4944" y="0"/>
                    </a:cubicBezTo>
                    <a:lnTo>
                      <a:pt x="103566" y="0"/>
                    </a:lnTo>
                    <a:cubicBezTo>
                      <a:pt x="106284" y="0"/>
                      <a:pt x="108511" y="2226"/>
                      <a:pt x="108511" y="4944"/>
                    </a:cubicBezTo>
                    <a:lnTo>
                      <a:pt x="108511" y="186431"/>
                    </a:lnTo>
                    <a:cubicBezTo>
                      <a:pt x="108540" y="189149"/>
                      <a:pt x="106313" y="191375"/>
                      <a:pt x="103566" y="191375"/>
                    </a:cubicBezTo>
                    <a:close/>
                  </a:path>
                </a:pathLst>
              </a:custGeom>
              <a:solidFill>
                <a:schemeClr val="tx2"/>
              </a:solidFill>
              <a:ln w="2890" cap="flat">
                <a:noFill/>
                <a:prstDash val="solid"/>
                <a:miter/>
              </a:ln>
            </p:spPr>
            <p:txBody>
              <a:bodyPr rtlCol="0" anchor="ctr"/>
              <a:lstStyle/>
              <a:p>
                <a:endParaRPr lang="en-GB" dirty="0"/>
              </a:p>
            </p:txBody>
          </p:sp>
        </p:grpSp>
        <p:grpSp>
          <p:nvGrpSpPr>
            <p:cNvPr id="623" name="Group 1041">
              <a:extLst>
                <a:ext uri="{FF2B5EF4-FFF2-40B4-BE49-F238E27FC236}">
                  <a16:creationId xmlns:a16="http://schemas.microsoft.com/office/drawing/2014/main" id="{AB5E73F9-493C-4DB5-9E23-F56349F38E36}"/>
                </a:ext>
              </a:extLst>
            </p:cNvPr>
            <p:cNvGrpSpPr/>
            <p:nvPr/>
          </p:nvGrpSpPr>
          <p:grpSpPr>
            <a:xfrm>
              <a:off x="6221272" y="4260724"/>
              <a:ext cx="263053" cy="302141"/>
              <a:chOff x="6221272" y="4260724"/>
              <a:chExt cx="263053" cy="302141"/>
            </a:xfrm>
          </p:grpSpPr>
          <p:sp>
            <p:nvSpPr>
              <p:cNvPr id="624" name="Freihandform: Form 623">
                <a:extLst>
                  <a:ext uri="{FF2B5EF4-FFF2-40B4-BE49-F238E27FC236}">
                    <a16:creationId xmlns:a16="http://schemas.microsoft.com/office/drawing/2014/main" id="{DCAF5D03-B7E2-463A-977B-9879A3A3225F}"/>
                  </a:ext>
                </a:extLst>
              </p:cNvPr>
              <p:cNvSpPr/>
              <p:nvPr/>
            </p:nvSpPr>
            <p:spPr>
              <a:xfrm>
                <a:off x="6281796" y="4260724"/>
                <a:ext cx="202529" cy="117964"/>
              </a:xfrm>
              <a:custGeom>
                <a:avLst/>
                <a:gdLst>
                  <a:gd name="connsiteX0" fmla="*/ 44610 w 202529"/>
                  <a:gd name="connsiteY0" fmla="*/ 117965 h 117964"/>
                  <a:gd name="connsiteX1" fmla="*/ 3409 w 202529"/>
                  <a:gd name="connsiteY1" fmla="*/ 102959 h 117964"/>
                  <a:gd name="connsiteX2" fmla="*/ 3091 w 202529"/>
                  <a:gd name="connsiteY2" fmla="*/ 87751 h 117964"/>
                  <a:gd name="connsiteX3" fmla="*/ 76125 w 202529"/>
                  <a:gd name="connsiteY3" fmla="*/ 14803 h 117964"/>
                  <a:gd name="connsiteX4" fmla="*/ 106137 w 202529"/>
                  <a:gd name="connsiteY4" fmla="*/ 347 h 117964"/>
                  <a:gd name="connsiteX5" fmla="*/ 156908 w 202529"/>
                  <a:gd name="connsiteY5" fmla="*/ 549 h 117964"/>
                  <a:gd name="connsiteX6" fmla="*/ 161737 w 202529"/>
                  <a:gd name="connsiteY6" fmla="*/ 5609 h 117964"/>
                  <a:gd name="connsiteX7" fmla="*/ 156677 w 202529"/>
                  <a:gd name="connsiteY7" fmla="*/ 10437 h 117964"/>
                  <a:gd name="connsiteX8" fmla="*/ 107554 w 202529"/>
                  <a:gd name="connsiteY8" fmla="*/ 10119 h 117964"/>
                  <a:gd name="connsiteX9" fmla="*/ 83093 w 202529"/>
                  <a:gd name="connsiteY9" fmla="*/ 21829 h 117964"/>
                  <a:gd name="connsiteX10" fmla="*/ 10059 w 202529"/>
                  <a:gd name="connsiteY10" fmla="*/ 94777 h 117964"/>
                  <a:gd name="connsiteX11" fmla="*/ 20236 w 202529"/>
                  <a:gd name="connsiteY11" fmla="*/ 102843 h 117964"/>
                  <a:gd name="connsiteX12" fmla="*/ 67133 w 202529"/>
                  <a:gd name="connsiteY12" fmla="*/ 101629 h 117964"/>
                  <a:gd name="connsiteX13" fmla="*/ 114782 w 202529"/>
                  <a:gd name="connsiteY13" fmla="*/ 54212 h 117964"/>
                  <a:gd name="connsiteX14" fmla="*/ 115823 w 202529"/>
                  <a:gd name="connsiteY14" fmla="*/ 53084 h 117964"/>
                  <a:gd name="connsiteX15" fmla="*/ 120536 w 202529"/>
                  <a:gd name="connsiteY15" fmla="*/ 51494 h 117964"/>
                  <a:gd name="connsiteX16" fmla="*/ 124265 w 202529"/>
                  <a:gd name="connsiteY16" fmla="*/ 54790 h 117964"/>
                  <a:gd name="connsiteX17" fmla="*/ 180097 w 202529"/>
                  <a:gd name="connsiteY17" fmla="*/ 82749 h 117964"/>
                  <a:gd name="connsiteX18" fmla="*/ 182496 w 202529"/>
                  <a:gd name="connsiteY18" fmla="*/ 81997 h 117964"/>
                  <a:gd name="connsiteX19" fmla="*/ 194871 w 202529"/>
                  <a:gd name="connsiteY19" fmla="*/ 76301 h 117964"/>
                  <a:gd name="connsiteX20" fmla="*/ 201723 w 202529"/>
                  <a:gd name="connsiteY20" fmla="*/ 77747 h 117964"/>
                  <a:gd name="connsiteX21" fmla="*/ 200278 w 202529"/>
                  <a:gd name="connsiteY21" fmla="*/ 84599 h 117964"/>
                  <a:gd name="connsiteX22" fmla="*/ 185677 w 202529"/>
                  <a:gd name="connsiteY22" fmla="*/ 91365 h 117964"/>
                  <a:gd name="connsiteX23" fmla="*/ 182930 w 202529"/>
                  <a:gd name="connsiteY23" fmla="*/ 92232 h 117964"/>
                  <a:gd name="connsiteX24" fmla="*/ 117847 w 202529"/>
                  <a:gd name="connsiteY24" fmla="*/ 65141 h 117964"/>
                  <a:gd name="connsiteX25" fmla="*/ 73812 w 202529"/>
                  <a:gd name="connsiteY25" fmla="*/ 108915 h 117964"/>
                  <a:gd name="connsiteX26" fmla="*/ 73234 w 202529"/>
                  <a:gd name="connsiteY26" fmla="*/ 109407 h 117964"/>
                  <a:gd name="connsiteX27" fmla="*/ 44610 w 202529"/>
                  <a:gd name="connsiteY27" fmla="*/ 117965 h 117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2529" h="117964">
                    <a:moveTo>
                      <a:pt x="44610" y="117965"/>
                    </a:moveTo>
                    <a:cubicBezTo>
                      <a:pt x="27089" y="117965"/>
                      <a:pt x="9972" y="110679"/>
                      <a:pt x="3409" y="102959"/>
                    </a:cubicBezTo>
                    <a:cubicBezTo>
                      <a:pt x="-1882" y="96714"/>
                      <a:pt x="-234" y="91018"/>
                      <a:pt x="3091" y="87751"/>
                    </a:cubicBezTo>
                    <a:lnTo>
                      <a:pt x="76125" y="14803"/>
                    </a:lnTo>
                    <a:cubicBezTo>
                      <a:pt x="76270" y="14659"/>
                      <a:pt x="88934" y="2804"/>
                      <a:pt x="106137" y="347"/>
                    </a:cubicBezTo>
                    <a:cubicBezTo>
                      <a:pt x="111717" y="-463"/>
                      <a:pt x="149391" y="376"/>
                      <a:pt x="156908" y="549"/>
                    </a:cubicBezTo>
                    <a:cubicBezTo>
                      <a:pt x="159626" y="607"/>
                      <a:pt x="161795" y="2891"/>
                      <a:pt x="161737" y="5609"/>
                    </a:cubicBezTo>
                    <a:cubicBezTo>
                      <a:pt x="161679" y="8356"/>
                      <a:pt x="159337" y="10553"/>
                      <a:pt x="156677" y="10437"/>
                    </a:cubicBezTo>
                    <a:cubicBezTo>
                      <a:pt x="139647" y="10033"/>
                      <a:pt x="111226" y="9599"/>
                      <a:pt x="107554" y="10119"/>
                    </a:cubicBezTo>
                    <a:cubicBezTo>
                      <a:pt x="93878" y="12085"/>
                      <a:pt x="83209" y="21713"/>
                      <a:pt x="83093" y="21829"/>
                    </a:cubicBezTo>
                    <a:lnTo>
                      <a:pt x="10059" y="94777"/>
                    </a:lnTo>
                    <a:cubicBezTo>
                      <a:pt x="9972" y="95673"/>
                      <a:pt x="12545" y="99258"/>
                      <a:pt x="20236" y="102843"/>
                    </a:cubicBezTo>
                    <a:cubicBezTo>
                      <a:pt x="33479" y="108973"/>
                      <a:pt x="53718" y="111199"/>
                      <a:pt x="67133" y="101629"/>
                    </a:cubicBezTo>
                    <a:lnTo>
                      <a:pt x="114782" y="54212"/>
                    </a:lnTo>
                    <a:cubicBezTo>
                      <a:pt x="115187" y="53836"/>
                      <a:pt x="115505" y="53431"/>
                      <a:pt x="115823" y="53084"/>
                    </a:cubicBezTo>
                    <a:cubicBezTo>
                      <a:pt x="116979" y="51754"/>
                      <a:pt x="118772" y="51147"/>
                      <a:pt x="120536" y="51494"/>
                    </a:cubicBezTo>
                    <a:cubicBezTo>
                      <a:pt x="122270" y="51841"/>
                      <a:pt x="123687" y="53113"/>
                      <a:pt x="124265" y="54790"/>
                    </a:cubicBezTo>
                    <a:cubicBezTo>
                      <a:pt x="125624" y="58925"/>
                      <a:pt x="138838" y="94892"/>
                      <a:pt x="180097" y="82749"/>
                    </a:cubicBezTo>
                    <a:cubicBezTo>
                      <a:pt x="180877" y="82517"/>
                      <a:pt x="181687" y="82257"/>
                      <a:pt x="182496" y="81997"/>
                    </a:cubicBezTo>
                    <a:cubicBezTo>
                      <a:pt x="187412" y="80349"/>
                      <a:pt x="191575" y="78441"/>
                      <a:pt x="194871" y="76301"/>
                    </a:cubicBezTo>
                    <a:cubicBezTo>
                      <a:pt x="197155" y="74827"/>
                      <a:pt x="200220" y="75463"/>
                      <a:pt x="201723" y="77747"/>
                    </a:cubicBezTo>
                    <a:cubicBezTo>
                      <a:pt x="203227" y="80031"/>
                      <a:pt x="202562" y="83096"/>
                      <a:pt x="200278" y="84599"/>
                    </a:cubicBezTo>
                    <a:cubicBezTo>
                      <a:pt x="196288" y="87202"/>
                      <a:pt x="191373" y="89486"/>
                      <a:pt x="185677" y="91365"/>
                    </a:cubicBezTo>
                    <a:cubicBezTo>
                      <a:pt x="184780" y="91654"/>
                      <a:pt x="183855" y="91943"/>
                      <a:pt x="182930" y="92232"/>
                    </a:cubicBezTo>
                    <a:cubicBezTo>
                      <a:pt x="147251" y="102757"/>
                      <a:pt x="126550" y="82662"/>
                      <a:pt x="117847" y="65141"/>
                    </a:cubicBezTo>
                    <a:lnTo>
                      <a:pt x="73812" y="108915"/>
                    </a:lnTo>
                    <a:cubicBezTo>
                      <a:pt x="73639" y="109089"/>
                      <a:pt x="73436" y="109262"/>
                      <a:pt x="73234" y="109407"/>
                    </a:cubicBezTo>
                    <a:cubicBezTo>
                      <a:pt x="64878" y="115536"/>
                      <a:pt x="54672" y="117965"/>
                      <a:pt x="44610" y="117965"/>
                    </a:cubicBezTo>
                    <a:close/>
                  </a:path>
                </a:pathLst>
              </a:custGeom>
              <a:solidFill>
                <a:schemeClr val="accent1"/>
              </a:solidFill>
              <a:ln w="2890" cap="flat">
                <a:noFill/>
                <a:prstDash val="solid"/>
                <a:miter/>
              </a:ln>
            </p:spPr>
            <p:txBody>
              <a:bodyPr rtlCol="0" anchor="ctr"/>
              <a:lstStyle/>
              <a:p>
                <a:endParaRPr lang="en-GB" dirty="0"/>
              </a:p>
            </p:txBody>
          </p:sp>
          <p:grpSp>
            <p:nvGrpSpPr>
              <p:cNvPr id="625" name="Grafik 53">
                <a:extLst>
                  <a:ext uri="{FF2B5EF4-FFF2-40B4-BE49-F238E27FC236}">
                    <a16:creationId xmlns:a16="http://schemas.microsoft.com/office/drawing/2014/main" id="{CFBF3B82-DD3F-40E8-96D1-25FC9405D3C4}"/>
                  </a:ext>
                </a:extLst>
              </p:cNvPr>
              <p:cNvGrpSpPr/>
              <p:nvPr/>
            </p:nvGrpSpPr>
            <p:grpSpPr>
              <a:xfrm>
                <a:off x="6221272" y="4399261"/>
                <a:ext cx="193624" cy="163604"/>
                <a:chOff x="6221272" y="4399261"/>
                <a:chExt cx="193624" cy="163604"/>
              </a:xfrm>
              <a:solidFill>
                <a:schemeClr val="accent1"/>
              </a:solidFill>
            </p:grpSpPr>
            <p:grpSp>
              <p:nvGrpSpPr>
                <p:cNvPr id="626" name="Grafik 53">
                  <a:extLst>
                    <a:ext uri="{FF2B5EF4-FFF2-40B4-BE49-F238E27FC236}">
                      <a16:creationId xmlns:a16="http://schemas.microsoft.com/office/drawing/2014/main" id="{FB2D0D5B-61DE-46BE-8259-BBC17D61F243}"/>
                    </a:ext>
                  </a:extLst>
                </p:cNvPr>
                <p:cNvGrpSpPr/>
                <p:nvPr/>
              </p:nvGrpSpPr>
              <p:grpSpPr>
                <a:xfrm>
                  <a:off x="6221272" y="4399261"/>
                  <a:ext cx="173373" cy="138854"/>
                  <a:chOff x="6221272" y="4399261"/>
                  <a:chExt cx="173373" cy="138854"/>
                </a:xfrm>
                <a:solidFill>
                  <a:schemeClr val="accent1"/>
                </a:solidFill>
              </p:grpSpPr>
              <p:sp>
                <p:nvSpPr>
                  <p:cNvPr id="628" name="Freihandform: Form 627">
                    <a:extLst>
                      <a:ext uri="{FF2B5EF4-FFF2-40B4-BE49-F238E27FC236}">
                        <a16:creationId xmlns:a16="http://schemas.microsoft.com/office/drawing/2014/main" id="{FA3A6079-8B78-4B71-AED5-A98D172D0B7F}"/>
                      </a:ext>
                    </a:extLst>
                  </p:cNvPr>
                  <p:cNvSpPr/>
                  <p:nvPr/>
                </p:nvSpPr>
                <p:spPr>
                  <a:xfrm>
                    <a:off x="6221272" y="4399261"/>
                    <a:ext cx="74668" cy="81346"/>
                  </a:xfrm>
                  <a:custGeom>
                    <a:avLst/>
                    <a:gdLst>
                      <a:gd name="connsiteX0" fmla="*/ 29527 w 74668"/>
                      <a:gd name="connsiteY0" fmla="*/ 81346 h 81346"/>
                      <a:gd name="connsiteX1" fmla="*/ 12468 w 74668"/>
                      <a:gd name="connsiteY1" fmla="*/ 75824 h 81346"/>
                      <a:gd name="connsiteX2" fmla="*/ 642 w 74668"/>
                      <a:gd name="connsiteY2" fmla="*/ 58274 h 81346"/>
                      <a:gd name="connsiteX3" fmla="*/ 4517 w 74668"/>
                      <a:gd name="connsiteY3" fmla="*/ 38179 h 81346"/>
                      <a:gd name="connsiteX4" fmla="*/ 24091 w 74668"/>
                      <a:gd name="connsiteY4" fmla="*/ 10538 h 81346"/>
                      <a:gd name="connsiteX5" fmla="*/ 41728 w 74668"/>
                      <a:gd name="connsiteY5" fmla="*/ 217 h 81346"/>
                      <a:gd name="connsiteX6" fmla="*/ 62198 w 74668"/>
                      <a:gd name="connsiteY6" fmla="*/ 5537 h 81346"/>
                      <a:gd name="connsiteX7" fmla="*/ 74284 w 74668"/>
                      <a:gd name="connsiteY7" fmla="*/ 24388 h 81346"/>
                      <a:gd name="connsiteX8" fmla="*/ 70149 w 74668"/>
                      <a:gd name="connsiteY8" fmla="*/ 43181 h 81346"/>
                      <a:gd name="connsiteX9" fmla="*/ 50575 w 74668"/>
                      <a:gd name="connsiteY9" fmla="*/ 70822 h 81346"/>
                      <a:gd name="connsiteX10" fmla="*/ 32938 w 74668"/>
                      <a:gd name="connsiteY10" fmla="*/ 81144 h 81346"/>
                      <a:gd name="connsiteX11" fmla="*/ 29527 w 74668"/>
                      <a:gd name="connsiteY11" fmla="*/ 81346 h 81346"/>
                      <a:gd name="connsiteX12" fmla="*/ 45140 w 74668"/>
                      <a:gd name="connsiteY12" fmla="*/ 9874 h 81346"/>
                      <a:gd name="connsiteX13" fmla="*/ 42942 w 74668"/>
                      <a:gd name="connsiteY13" fmla="*/ 10018 h 81346"/>
                      <a:gd name="connsiteX14" fmla="*/ 32158 w 74668"/>
                      <a:gd name="connsiteY14" fmla="*/ 16234 h 81346"/>
                      <a:gd name="connsiteX15" fmla="*/ 12584 w 74668"/>
                      <a:gd name="connsiteY15" fmla="*/ 43875 h 81346"/>
                      <a:gd name="connsiteX16" fmla="*/ 10299 w 74668"/>
                      <a:gd name="connsiteY16" fmla="*/ 56105 h 81346"/>
                      <a:gd name="connsiteX17" fmla="*/ 18193 w 74668"/>
                      <a:gd name="connsiteY17" fmla="*/ 67700 h 81346"/>
                      <a:gd name="connsiteX18" fmla="*/ 31753 w 74668"/>
                      <a:gd name="connsiteY18" fmla="*/ 71285 h 81346"/>
                      <a:gd name="connsiteX19" fmla="*/ 42537 w 74668"/>
                      <a:gd name="connsiteY19" fmla="*/ 65040 h 81346"/>
                      <a:gd name="connsiteX20" fmla="*/ 62112 w 74668"/>
                      <a:gd name="connsiteY20" fmla="*/ 37399 h 81346"/>
                      <a:gd name="connsiteX21" fmla="*/ 62112 w 74668"/>
                      <a:gd name="connsiteY21" fmla="*/ 37399 h 81346"/>
                      <a:gd name="connsiteX22" fmla="*/ 64569 w 74668"/>
                      <a:gd name="connsiteY22" fmla="*/ 26007 h 81346"/>
                      <a:gd name="connsiteX23" fmla="*/ 56531 w 74668"/>
                      <a:gd name="connsiteY23" fmla="*/ 13574 h 81346"/>
                      <a:gd name="connsiteX24" fmla="*/ 45140 w 74668"/>
                      <a:gd name="connsiteY24" fmla="*/ 9874 h 81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4668" h="81346">
                        <a:moveTo>
                          <a:pt x="29527" y="81346"/>
                        </a:moveTo>
                        <a:cubicBezTo>
                          <a:pt x="23513" y="81346"/>
                          <a:pt x="17585" y="79438"/>
                          <a:pt x="12468" y="75824"/>
                        </a:cubicBezTo>
                        <a:cubicBezTo>
                          <a:pt x="6367" y="71516"/>
                          <a:pt x="2175" y="65300"/>
                          <a:pt x="642" y="58274"/>
                        </a:cubicBezTo>
                        <a:cubicBezTo>
                          <a:pt x="-948" y="51075"/>
                          <a:pt x="440" y="43962"/>
                          <a:pt x="4517" y="38179"/>
                        </a:cubicBezTo>
                        <a:lnTo>
                          <a:pt x="24091" y="10538"/>
                        </a:lnTo>
                        <a:cubicBezTo>
                          <a:pt x="28168" y="4785"/>
                          <a:pt x="34442" y="1113"/>
                          <a:pt x="41728" y="217"/>
                        </a:cubicBezTo>
                        <a:cubicBezTo>
                          <a:pt x="48840" y="-680"/>
                          <a:pt x="56127" y="1229"/>
                          <a:pt x="62198" y="5537"/>
                        </a:cubicBezTo>
                        <a:cubicBezTo>
                          <a:pt x="68617" y="10076"/>
                          <a:pt x="73012" y="16957"/>
                          <a:pt x="74284" y="24388"/>
                        </a:cubicBezTo>
                        <a:cubicBezTo>
                          <a:pt x="75440" y="31125"/>
                          <a:pt x="73966" y="37803"/>
                          <a:pt x="70149" y="43181"/>
                        </a:cubicBezTo>
                        <a:lnTo>
                          <a:pt x="50575" y="70822"/>
                        </a:lnTo>
                        <a:cubicBezTo>
                          <a:pt x="46499" y="76576"/>
                          <a:pt x="40224" y="80277"/>
                          <a:pt x="32938" y="81144"/>
                        </a:cubicBezTo>
                        <a:cubicBezTo>
                          <a:pt x="31811" y="81260"/>
                          <a:pt x="30683" y="81346"/>
                          <a:pt x="29527" y="81346"/>
                        </a:cubicBezTo>
                        <a:close/>
                        <a:moveTo>
                          <a:pt x="45140" y="9874"/>
                        </a:moveTo>
                        <a:cubicBezTo>
                          <a:pt x="44388" y="9874"/>
                          <a:pt x="43665" y="9931"/>
                          <a:pt x="42942" y="10018"/>
                        </a:cubicBezTo>
                        <a:cubicBezTo>
                          <a:pt x="38432" y="10567"/>
                          <a:pt x="34615" y="12765"/>
                          <a:pt x="32158" y="16234"/>
                        </a:cubicBezTo>
                        <a:lnTo>
                          <a:pt x="12584" y="43875"/>
                        </a:lnTo>
                        <a:cubicBezTo>
                          <a:pt x="10126" y="47345"/>
                          <a:pt x="9316" y="51682"/>
                          <a:pt x="10299" y="56105"/>
                        </a:cubicBezTo>
                        <a:cubicBezTo>
                          <a:pt x="11311" y="60703"/>
                          <a:pt x="14116" y="64837"/>
                          <a:pt x="18193" y="67700"/>
                        </a:cubicBezTo>
                        <a:cubicBezTo>
                          <a:pt x="22269" y="70591"/>
                          <a:pt x="27098" y="71834"/>
                          <a:pt x="31753" y="71285"/>
                        </a:cubicBezTo>
                        <a:cubicBezTo>
                          <a:pt x="36263" y="70735"/>
                          <a:pt x="40080" y="68509"/>
                          <a:pt x="42537" y="65040"/>
                        </a:cubicBezTo>
                        <a:lnTo>
                          <a:pt x="62112" y="37399"/>
                        </a:lnTo>
                        <a:cubicBezTo>
                          <a:pt x="62112" y="37399"/>
                          <a:pt x="62112" y="37399"/>
                          <a:pt x="62112" y="37399"/>
                        </a:cubicBezTo>
                        <a:cubicBezTo>
                          <a:pt x="64396" y="34189"/>
                          <a:pt x="65263" y="30142"/>
                          <a:pt x="64569" y="26007"/>
                        </a:cubicBezTo>
                        <a:cubicBezTo>
                          <a:pt x="63731" y="21150"/>
                          <a:pt x="60810" y="16610"/>
                          <a:pt x="56531" y="13574"/>
                        </a:cubicBezTo>
                        <a:cubicBezTo>
                          <a:pt x="53062" y="11175"/>
                          <a:pt x="49101" y="9874"/>
                          <a:pt x="45140" y="9874"/>
                        </a:cubicBezTo>
                        <a:close/>
                      </a:path>
                    </a:pathLst>
                  </a:custGeom>
                  <a:solidFill>
                    <a:schemeClr val="accent1"/>
                  </a:solidFill>
                  <a:ln w="2890" cap="flat">
                    <a:noFill/>
                    <a:prstDash val="solid"/>
                    <a:miter/>
                  </a:ln>
                </p:spPr>
                <p:txBody>
                  <a:bodyPr rtlCol="0" anchor="ctr"/>
                  <a:lstStyle/>
                  <a:p>
                    <a:endParaRPr lang="en-GB" dirty="0"/>
                  </a:p>
                </p:txBody>
              </p:sp>
              <p:sp>
                <p:nvSpPr>
                  <p:cNvPr id="629" name="Freihandform: Form 628">
                    <a:extLst>
                      <a:ext uri="{FF2B5EF4-FFF2-40B4-BE49-F238E27FC236}">
                        <a16:creationId xmlns:a16="http://schemas.microsoft.com/office/drawing/2014/main" id="{A629888C-DC81-490F-97DF-1377C5392F49}"/>
                      </a:ext>
                    </a:extLst>
                  </p:cNvPr>
                  <p:cNvSpPr/>
                  <p:nvPr/>
                </p:nvSpPr>
                <p:spPr>
                  <a:xfrm>
                    <a:off x="6260682" y="4406585"/>
                    <a:ext cx="90044" cy="102183"/>
                  </a:xfrm>
                  <a:custGeom>
                    <a:avLst/>
                    <a:gdLst>
                      <a:gd name="connsiteX0" fmla="*/ 30277 w 90044"/>
                      <a:gd name="connsiteY0" fmla="*/ 102183 h 102183"/>
                      <a:gd name="connsiteX1" fmla="*/ 12813 w 90044"/>
                      <a:gd name="connsiteY1" fmla="*/ 96603 h 102183"/>
                      <a:gd name="connsiteX2" fmla="*/ 439 w 90044"/>
                      <a:gd name="connsiteY2" fmla="*/ 76942 h 102183"/>
                      <a:gd name="connsiteX3" fmla="*/ 5585 w 90044"/>
                      <a:gd name="connsiteY3" fmla="*/ 54275 h 102183"/>
                      <a:gd name="connsiteX4" fmla="*/ 34932 w 90044"/>
                      <a:gd name="connsiteY4" fmla="*/ 12813 h 102183"/>
                      <a:gd name="connsiteX5" fmla="*/ 54593 w 90044"/>
                      <a:gd name="connsiteY5" fmla="*/ 439 h 102183"/>
                      <a:gd name="connsiteX6" fmla="*/ 77232 w 90044"/>
                      <a:gd name="connsiteY6" fmla="*/ 5585 h 102183"/>
                      <a:gd name="connsiteX7" fmla="*/ 89606 w 90044"/>
                      <a:gd name="connsiteY7" fmla="*/ 25246 h 102183"/>
                      <a:gd name="connsiteX8" fmla="*/ 84460 w 90044"/>
                      <a:gd name="connsiteY8" fmla="*/ 47914 h 102183"/>
                      <a:gd name="connsiteX9" fmla="*/ 55113 w 90044"/>
                      <a:gd name="connsiteY9" fmla="*/ 89375 h 102183"/>
                      <a:gd name="connsiteX10" fmla="*/ 35452 w 90044"/>
                      <a:gd name="connsiteY10" fmla="*/ 101750 h 102183"/>
                      <a:gd name="connsiteX11" fmla="*/ 30277 w 90044"/>
                      <a:gd name="connsiteY11" fmla="*/ 102183 h 102183"/>
                      <a:gd name="connsiteX12" fmla="*/ 59739 w 90044"/>
                      <a:gd name="connsiteY12" fmla="*/ 9922 h 102183"/>
                      <a:gd name="connsiteX13" fmla="*/ 56241 w 90044"/>
                      <a:gd name="connsiteY13" fmla="*/ 10211 h 102183"/>
                      <a:gd name="connsiteX14" fmla="*/ 42999 w 90044"/>
                      <a:gd name="connsiteY14" fmla="*/ 18567 h 102183"/>
                      <a:gd name="connsiteX15" fmla="*/ 13652 w 90044"/>
                      <a:gd name="connsiteY15" fmla="*/ 60028 h 102183"/>
                      <a:gd name="connsiteX16" fmla="*/ 13652 w 90044"/>
                      <a:gd name="connsiteY16" fmla="*/ 60028 h 102183"/>
                      <a:gd name="connsiteX17" fmla="*/ 10182 w 90044"/>
                      <a:gd name="connsiteY17" fmla="*/ 75294 h 102183"/>
                      <a:gd name="connsiteX18" fmla="*/ 18509 w 90044"/>
                      <a:gd name="connsiteY18" fmla="*/ 88537 h 102183"/>
                      <a:gd name="connsiteX19" fmla="*/ 33775 w 90044"/>
                      <a:gd name="connsiteY19" fmla="*/ 92006 h 102183"/>
                      <a:gd name="connsiteX20" fmla="*/ 47017 w 90044"/>
                      <a:gd name="connsiteY20" fmla="*/ 83650 h 102183"/>
                      <a:gd name="connsiteX21" fmla="*/ 76364 w 90044"/>
                      <a:gd name="connsiteY21" fmla="*/ 42189 h 102183"/>
                      <a:gd name="connsiteX22" fmla="*/ 79834 w 90044"/>
                      <a:gd name="connsiteY22" fmla="*/ 26923 h 102183"/>
                      <a:gd name="connsiteX23" fmla="*/ 71478 w 90044"/>
                      <a:gd name="connsiteY23" fmla="*/ 13681 h 102183"/>
                      <a:gd name="connsiteX24" fmla="*/ 59739 w 90044"/>
                      <a:gd name="connsiteY24" fmla="*/ 9922 h 102183"/>
                      <a:gd name="connsiteX25" fmla="*/ 9604 w 90044"/>
                      <a:gd name="connsiteY25" fmla="*/ 57166 h 102183"/>
                      <a:gd name="connsiteX26" fmla="*/ 9662 w 90044"/>
                      <a:gd name="connsiteY26" fmla="*/ 57166 h 102183"/>
                      <a:gd name="connsiteX27" fmla="*/ 9604 w 90044"/>
                      <a:gd name="connsiteY27" fmla="*/ 57166 h 10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90044" h="102183">
                        <a:moveTo>
                          <a:pt x="30277" y="102183"/>
                        </a:moveTo>
                        <a:cubicBezTo>
                          <a:pt x="24061" y="102183"/>
                          <a:pt x="17989" y="100275"/>
                          <a:pt x="12813" y="96603"/>
                        </a:cubicBezTo>
                        <a:cubicBezTo>
                          <a:pt x="6192" y="91919"/>
                          <a:pt x="1798" y="84951"/>
                          <a:pt x="439" y="76942"/>
                        </a:cubicBezTo>
                        <a:cubicBezTo>
                          <a:pt x="-920" y="68962"/>
                          <a:pt x="901" y="60896"/>
                          <a:pt x="5585" y="54275"/>
                        </a:cubicBezTo>
                        <a:lnTo>
                          <a:pt x="34932" y="12813"/>
                        </a:lnTo>
                        <a:cubicBezTo>
                          <a:pt x="39616" y="6192"/>
                          <a:pt x="46613" y="1797"/>
                          <a:pt x="54593" y="439"/>
                        </a:cubicBezTo>
                        <a:cubicBezTo>
                          <a:pt x="62573" y="-920"/>
                          <a:pt x="70639" y="901"/>
                          <a:pt x="77232" y="5585"/>
                        </a:cubicBezTo>
                        <a:cubicBezTo>
                          <a:pt x="83853" y="10269"/>
                          <a:pt x="88247" y="17237"/>
                          <a:pt x="89606" y="25246"/>
                        </a:cubicBezTo>
                        <a:cubicBezTo>
                          <a:pt x="90965" y="33226"/>
                          <a:pt x="89144" y="41293"/>
                          <a:pt x="84460" y="47914"/>
                        </a:cubicBezTo>
                        <a:lnTo>
                          <a:pt x="55113" y="89375"/>
                        </a:lnTo>
                        <a:cubicBezTo>
                          <a:pt x="50429" y="95996"/>
                          <a:pt x="43461" y="100391"/>
                          <a:pt x="35452" y="101750"/>
                        </a:cubicBezTo>
                        <a:cubicBezTo>
                          <a:pt x="33718" y="102039"/>
                          <a:pt x="31983" y="102183"/>
                          <a:pt x="30277" y="102183"/>
                        </a:cubicBezTo>
                        <a:close/>
                        <a:moveTo>
                          <a:pt x="59739" y="9922"/>
                        </a:moveTo>
                        <a:cubicBezTo>
                          <a:pt x="58583" y="9922"/>
                          <a:pt x="57426" y="10009"/>
                          <a:pt x="56241" y="10211"/>
                        </a:cubicBezTo>
                        <a:cubicBezTo>
                          <a:pt x="50863" y="11136"/>
                          <a:pt x="46150" y="14086"/>
                          <a:pt x="42999" y="18567"/>
                        </a:cubicBezTo>
                        <a:lnTo>
                          <a:pt x="13652" y="60028"/>
                        </a:lnTo>
                        <a:cubicBezTo>
                          <a:pt x="13652" y="60028"/>
                          <a:pt x="13652" y="60028"/>
                          <a:pt x="13652" y="60028"/>
                        </a:cubicBezTo>
                        <a:cubicBezTo>
                          <a:pt x="10500" y="64481"/>
                          <a:pt x="9257" y="69917"/>
                          <a:pt x="10182" y="75294"/>
                        </a:cubicBezTo>
                        <a:cubicBezTo>
                          <a:pt x="11108" y="80672"/>
                          <a:pt x="14057" y="85385"/>
                          <a:pt x="18509" y="88537"/>
                        </a:cubicBezTo>
                        <a:cubicBezTo>
                          <a:pt x="22962" y="91688"/>
                          <a:pt x="28397" y="92931"/>
                          <a:pt x="33775" y="92006"/>
                        </a:cubicBezTo>
                        <a:cubicBezTo>
                          <a:pt x="39153" y="91081"/>
                          <a:pt x="43866" y="88132"/>
                          <a:pt x="47017" y="83650"/>
                        </a:cubicBezTo>
                        <a:lnTo>
                          <a:pt x="76364" y="42189"/>
                        </a:lnTo>
                        <a:cubicBezTo>
                          <a:pt x="79516" y="37736"/>
                          <a:pt x="80759" y="32301"/>
                          <a:pt x="79834" y="26923"/>
                        </a:cubicBezTo>
                        <a:cubicBezTo>
                          <a:pt x="78909" y="21545"/>
                          <a:pt x="75930" y="16832"/>
                          <a:pt x="71478" y="13681"/>
                        </a:cubicBezTo>
                        <a:cubicBezTo>
                          <a:pt x="68008" y="11194"/>
                          <a:pt x="63932" y="9922"/>
                          <a:pt x="59739" y="9922"/>
                        </a:cubicBezTo>
                        <a:close/>
                        <a:moveTo>
                          <a:pt x="9604" y="57166"/>
                        </a:moveTo>
                        <a:lnTo>
                          <a:pt x="9662" y="57166"/>
                        </a:lnTo>
                        <a:lnTo>
                          <a:pt x="9604" y="57166"/>
                        </a:lnTo>
                        <a:close/>
                      </a:path>
                    </a:pathLst>
                  </a:custGeom>
                  <a:solidFill>
                    <a:schemeClr val="accent1"/>
                  </a:solidFill>
                  <a:ln w="2890" cap="flat">
                    <a:noFill/>
                    <a:prstDash val="solid"/>
                    <a:miter/>
                  </a:ln>
                </p:spPr>
                <p:txBody>
                  <a:bodyPr rtlCol="0" anchor="ctr"/>
                  <a:lstStyle/>
                  <a:p>
                    <a:endParaRPr lang="en-GB" dirty="0"/>
                  </a:p>
                </p:txBody>
              </p:sp>
              <p:sp>
                <p:nvSpPr>
                  <p:cNvPr id="630" name="Freihandform: Form 629">
                    <a:extLst>
                      <a:ext uri="{FF2B5EF4-FFF2-40B4-BE49-F238E27FC236}">
                        <a16:creationId xmlns:a16="http://schemas.microsoft.com/office/drawing/2014/main" id="{BA5307B6-12A7-4E6C-844B-4E699E9A8990}"/>
                      </a:ext>
                    </a:extLst>
                  </p:cNvPr>
                  <p:cNvSpPr/>
                  <p:nvPr/>
                </p:nvSpPr>
                <p:spPr>
                  <a:xfrm>
                    <a:off x="6302167" y="4432503"/>
                    <a:ext cx="92479" cy="105612"/>
                  </a:xfrm>
                  <a:custGeom>
                    <a:avLst/>
                    <a:gdLst>
                      <a:gd name="connsiteX0" fmla="*/ 30283 w 92479"/>
                      <a:gd name="connsiteY0" fmla="*/ 105613 h 105612"/>
                      <a:gd name="connsiteX1" fmla="*/ 12790 w 92479"/>
                      <a:gd name="connsiteY1" fmla="*/ 100032 h 105612"/>
                      <a:gd name="connsiteX2" fmla="*/ 5562 w 92479"/>
                      <a:gd name="connsiteY2" fmla="*/ 57733 h 105612"/>
                      <a:gd name="connsiteX3" fmla="*/ 5562 w 92479"/>
                      <a:gd name="connsiteY3" fmla="*/ 57733 h 105612"/>
                      <a:gd name="connsiteX4" fmla="*/ 37366 w 92479"/>
                      <a:gd name="connsiteY4" fmla="*/ 12802 h 105612"/>
                      <a:gd name="connsiteX5" fmla="*/ 57027 w 92479"/>
                      <a:gd name="connsiteY5" fmla="*/ 427 h 105612"/>
                      <a:gd name="connsiteX6" fmla="*/ 79666 w 92479"/>
                      <a:gd name="connsiteY6" fmla="*/ 5574 h 105612"/>
                      <a:gd name="connsiteX7" fmla="*/ 92041 w 92479"/>
                      <a:gd name="connsiteY7" fmla="*/ 25234 h 105612"/>
                      <a:gd name="connsiteX8" fmla="*/ 86894 w 92479"/>
                      <a:gd name="connsiteY8" fmla="*/ 47902 h 105612"/>
                      <a:gd name="connsiteX9" fmla="*/ 55119 w 92479"/>
                      <a:gd name="connsiteY9" fmla="*/ 92804 h 105612"/>
                      <a:gd name="connsiteX10" fmla="*/ 30283 w 92479"/>
                      <a:gd name="connsiteY10" fmla="*/ 105613 h 105612"/>
                      <a:gd name="connsiteX11" fmla="*/ 13629 w 92479"/>
                      <a:gd name="connsiteY11" fmla="*/ 63457 h 105612"/>
                      <a:gd name="connsiteX12" fmla="*/ 18515 w 92479"/>
                      <a:gd name="connsiteY12" fmla="*/ 91966 h 105612"/>
                      <a:gd name="connsiteX13" fmla="*/ 47023 w 92479"/>
                      <a:gd name="connsiteY13" fmla="*/ 87080 h 105612"/>
                      <a:gd name="connsiteX14" fmla="*/ 78828 w 92479"/>
                      <a:gd name="connsiteY14" fmla="*/ 42177 h 105612"/>
                      <a:gd name="connsiteX15" fmla="*/ 82297 w 92479"/>
                      <a:gd name="connsiteY15" fmla="*/ 26911 h 105612"/>
                      <a:gd name="connsiteX16" fmla="*/ 73941 w 92479"/>
                      <a:gd name="connsiteY16" fmla="*/ 13669 h 105612"/>
                      <a:gd name="connsiteX17" fmla="*/ 58675 w 92479"/>
                      <a:gd name="connsiteY17" fmla="*/ 10200 h 105612"/>
                      <a:gd name="connsiteX18" fmla="*/ 45433 w 92479"/>
                      <a:gd name="connsiteY18" fmla="*/ 18527 h 105612"/>
                      <a:gd name="connsiteX19" fmla="*/ 13629 w 92479"/>
                      <a:gd name="connsiteY19" fmla="*/ 63457 h 105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2479" h="105612">
                        <a:moveTo>
                          <a:pt x="30283" y="105613"/>
                        </a:moveTo>
                        <a:cubicBezTo>
                          <a:pt x="24211" y="105613"/>
                          <a:pt x="18110" y="103791"/>
                          <a:pt x="12790" y="100032"/>
                        </a:cubicBezTo>
                        <a:cubicBezTo>
                          <a:pt x="-857" y="90375"/>
                          <a:pt x="-4095" y="71380"/>
                          <a:pt x="5562" y="57733"/>
                        </a:cubicBezTo>
                        <a:cubicBezTo>
                          <a:pt x="5562" y="57733"/>
                          <a:pt x="5562" y="57733"/>
                          <a:pt x="5562" y="57733"/>
                        </a:cubicBezTo>
                        <a:lnTo>
                          <a:pt x="37366" y="12802"/>
                        </a:lnTo>
                        <a:cubicBezTo>
                          <a:pt x="42050" y="6181"/>
                          <a:pt x="49018" y="1786"/>
                          <a:pt x="57027" y="427"/>
                        </a:cubicBezTo>
                        <a:cubicBezTo>
                          <a:pt x="65007" y="-903"/>
                          <a:pt x="73074" y="890"/>
                          <a:pt x="79666" y="5574"/>
                        </a:cubicBezTo>
                        <a:cubicBezTo>
                          <a:pt x="86287" y="10258"/>
                          <a:pt x="90682" y="17226"/>
                          <a:pt x="92041" y="25234"/>
                        </a:cubicBezTo>
                        <a:cubicBezTo>
                          <a:pt x="93400" y="33243"/>
                          <a:pt x="91578" y="41281"/>
                          <a:pt x="86894" y="47902"/>
                        </a:cubicBezTo>
                        <a:lnTo>
                          <a:pt x="55119" y="92804"/>
                        </a:lnTo>
                        <a:cubicBezTo>
                          <a:pt x="49192" y="101160"/>
                          <a:pt x="39795" y="105613"/>
                          <a:pt x="30283" y="105613"/>
                        </a:cubicBezTo>
                        <a:close/>
                        <a:moveTo>
                          <a:pt x="13629" y="63457"/>
                        </a:moveTo>
                        <a:cubicBezTo>
                          <a:pt x="7123" y="72652"/>
                          <a:pt x="9292" y="85460"/>
                          <a:pt x="18515" y="91966"/>
                        </a:cubicBezTo>
                        <a:cubicBezTo>
                          <a:pt x="27709" y="98471"/>
                          <a:pt x="40518" y="96303"/>
                          <a:pt x="47023" y="87080"/>
                        </a:cubicBezTo>
                        <a:lnTo>
                          <a:pt x="78828" y="42177"/>
                        </a:lnTo>
                        <a:cubicBezTo>
                          <a:pt x="81979" y="37725"/>
                          <a:pt x="83223" y="32289"/>
                          <a:pt x="82297" y="26911"/>
                        </a:cubicBezTo>
                        <a:cubicBezTo>
                          <a:pt x="81372" y="21534"/>
                          <a:pt x="78423" y="16821"/>
                          <a:pt x="73941" y="13669"/>
                        </a:cubicBezTo>
                        <a:cubicBezTo>
                          <a:pt x="69489" y="10518"/>
                          <a:pt x="64053" y="9274"/>
                          <a:pt x="58675" y="10200"/>
                        </a:cubicBezTo>
                        <a:cubicBezTo>
                          <a:pt x="53298" y="11125"/>
                          <a:pt x="48585" y="14074"/>
                          <a:pt x="45433" y="18527"/>
                        </a:cubicBezTo>
                        <a:lnTo>
                          <a:pt x="13629" y="63457"/>
                        </a:lnTo>
                        <a:close/>
                      </a:path>
                    </a:pathLst>
                  </a:custGeom>
                  <a:solidFill>
                    <a:schemeClr val="accent1"/>
                  </a:solidFill>
                  <a:ln w="2890" cap="flat">
                    <a:noFill/>
                    <a:prstDash val="solid"/>
                    <a:miter/>
                  </a:ln>
                </p:spPr>
                <p:txBody>
                  <a:bodyPr rtlCol="0" anchor="ctr"/>
                  <a:lstStyle/>
                  <a:p>
                    <a:endParaRPr lang="en-GB" dirty="0"/>
                  </a:p>
                </p:txBody>
              </p:sp>
            </p:grpSp>
            <p:sp>
              <p:nvSpPr>
                <p:cNvPr id="627" name="Freihandform: Form 626">
                  <a:extLst>
                    <a:ext uri="{FF2B5EF4-FFF2-40B4-BE49-F238E27FC236}">
                      <a16:creationId xmlns:a16="http://schemas.microsoft.com/office/drawing/2014/main" id="{87FBB09F-F052-4EED-A79B-BF234B19D504}"/>
                    </a:ext>
                  </a:extLst>
                </p:cNvPr>
                <p:cNvSpPr/>
                <p:nvPr/>
              </p:nvSpPr>
              <p:spPr>
                <a:xfrm>
                  <a:off x="6340702" y="4478474"/>
                  <a:ext cx="74195" cy="84390"/>
                </a:xfrm>
                <a:custGeom>
                  <a:avLst/>
                  <a:gdLst>
                    <a:gd name="connsiteX0" fmla="*/ 24911 w 74195"/>
                    <a:gd name="connsiteY0" fmla="*/ 84391 h 84390"/>
                    <a:gd name="connsiteX1" fmla="*/ 10512 w 74195"/>
                    <a:gd name="connsiteY1" fmla="*/ 79765 h 84390"/>
                    <a:gd name="connsiteX2" fmla="*/ 508 w 74195"/>
                    <a:gd name="connsiteY2" fmla="*/ 64759 h 84390"/>
                    <a:gd name="connsiteX3" fmla="*/ 3949 w 74195"/>
                    <a:gd name="connsiteY3" fmla="*/ 47498 h 84390"/>
                    <a:gd name="connsiteX4" fmla="*/ 31069 w 74195"/>
                    <a:gd name="connsiteY4" fmla="*/ 9188 h 84390"/>
                    <a:gd name="connsiteX5" fmla="*/ 46220 w 74195"/>
                    <a:gd name="connsiteY5" fmla="*/ 196 h 84390"/>
                    <a:gd name="connsiteX6" fmla="*/ 63683 w 74195"/>
                    <a:gd name="connsiteY6" fmla="*/ 4649 h 84390"/>
                    <a:gd name="connsiteX7" fmla="*/ 73687 w 74195"/>
                    <a:gd name="connsiteY7" fmla="*/ 19655 h 84390"/>
                    <a:gd name="connsiteX8" fmla="*/ 70247 w 74195"/>
                    <a:gd name="connsiteY8" fmla="*/ 36945 h 84390"/>
                    <a:gd name="connsiteX9" fmla="*/ 43126 w 74195"/>
                    <a:gd name="connsiteY9" fmla="*/ 75255 h 84390"/>
                    <a:gd name="connsiteX10" fmla="*/ 24911 w 74195"/>
                    <a:gd name="connsiteY10" fmla="*/ 84391 h 84390"/>
                    <a:gd name="connsiteX11" fmla="*/ 49342 w 74195"/>
                    <a:gd name="connsiteY11" fmla="*/ 9882 h 84390"/>
                    <a:gd name="connsiteX12" fmla="*/ 47521 w 74195"/>
                    <a:gd name="connsiteY12" fmla="*/ 9998 h 84390"/>
                    <a:gd name="connsiteX13" fmla="*/ 39165 w 74195"/>
                    <a:gd name="connsiteY13" fmla="*/ 14884 h 84390"/>
                    <a:gd name="connsiteX14" fmla="*/ 12045 w 74195"/>
                    <a:gd name="connsiteY14" fmla="*/ 53194 h 84390"/>
                    <a:gd name="connsiteX15" fmla="*/ 12045 w 74195"/>
                    <a:gd name="connsiteY15" fmla="*/ 53194 h 84390"/>
                    <a:gd name="connsiteX16" fmla="*/ 10194 w 74195"/>
                    <a:gd name="connsiteY16" fmla="*/ 62677 h 84390"/>
                    <a:gd name="connsiteX17" fmla="*/ 16237 w 74195"/>
                    <a:gd name="connsiteY17" fmla="*/ 71640 h 84390"/>
                    <a:gd name="connsiteX18" fmla="*/ 35059 w 74195"/>
                    <a:gd name="connsiteY18" fmla="*/ 69472 h 84390"/>
                    <a:gd name="connsiteX19" fmla="*/ 62180 w 74195"/>
                    <a:gd name="connsiteY19" fmla="*/ 31162 h 84390"/>
                    <a:gd name="connsiteX20" fmla="*/ 64001 w 74195"/>
                    <a:gd name="connsiteY20" fmla="*/ 21650 h 84390"/>
                    <a:gd name="connsiteX21" fmla="*/ 57958 w 74195"/>
                    <a:gd name="connsiteY21" fmla="*/ 12658 h 84390"/>
                    <a:gd name="connsiteX22" fmla="*/ 49342 w 74195"/>
                    <a:gd name="connsiteY22" fmla="*/ 9882 h 84390"/>
                    <a:gd name="connsiteX23" fmla="*/ 8026 w 74195"/>
                    <a:gd name="connsiteY23" fmla="*/ 50332 h 84390"/>
                    <a:gd name="connsiteX24" fmla="*/ 8084 w 74195"/>
                    <a:gd name="connsiteY24" fmla="*/ 50332 h 84390"/>
                    <a:gd name="connsiteX25" fmla="*/ 8026 w 74195"/>
                    <a:gd name="connsiteY25" fmla="*/ 50332 h 8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74195" h="84390">
                      <a:moveTo>
                        <a:pt x="24911" y="84391"/>
                      </a:moveTo>
                      <a:cubicBezTo>
                        <a:pt x="19996" y="84391"/>
                        <a:pt x="14936" y="82887"/>
                        <a:pt x="10512" y="79765"/>
                      </a:cubicBezTo>
                      <a:cubicBezTo>
                        <a:pt x="5337" y="76093"/>
                        <a:pt x="1780" y="70773"/>
                        <a:pt x="508" y="64759"/>
                      </a:cubicBezTo>
                      <a:cubicBezTo>
                        <a:pt x="-793" y="58601"/>
                        <a:pt x="421" y="52471"/>
                        <a:pt x="3949" y="47498"/>
                      </a:cubicBezTo>
                      <a:lnTo>
                        <a:pt x="31069" y="9188"/>
                      </a:lnTo>
                      <a:cubicBezTo>
                        <a:pt x="34597" y="4215"/>
                        <a:pt x="39975" y="1035"/>
                        <a:pt x="46220" y="196"/>
                      </a:cubicBezTo>
                      <a:cubicBezTo>
                        <a:pt x="52320" y="-584"/>
                        <a:pt x="58508" y="977"/>
                        <a:pt x="63683" y="4649"/>
                      </a:cubicBezTo>
                      <a:cubicBezTo>
                        <a:pt x="68859" y="8321"/>
                        <a:pt x="72415" y="13641"/>
                        <a:pt x="73687" y="19655"/>
                      </a:cubicBezTo>
                      <a:cubicBezTo>
                        <a:pt x="74988" y="25813"/>
                        <a:pt x="73774" y="31943"/>
                        <a:pt x="70247" y="36945"/>
                      </a:cubicBezTo>
                      <a:lnTo>
                        <a:pt x="43126" y="75255"/>
                      </a:lnTo>
                      <a:cubicBezTo>
                        <a:pt x="38905" y="81211"/>
                        <a:pt x="32052" y="84391"/>
                        <a:pt x="24911" y="84391"/>
                      </a:cubicBezTo>
                      <a:close/>
                      <a:moveTo>
                        <a:pt x="49342" y="9882"/>
                      </a:moveTo>
                      <a:cubicBezTo>
                        <a:pt x="48735" y="9882"/>
                        <a:pt x="48128" y="9911"/>
                        <a:pt x="47521" y="9998"/>
                      </a:cubicBezTo>
                      <a:cubicBezTo>
                        <a:pt x="44051" y="10460"/>
                        <a:pt x="41073" y="12195"/>
                        <a:pt x="39165" y="14884"/>
                      </a:cubicBezTo>
                      <a:lnTo>
                        <a:pt x="12045" y="53194"/>
                      </a:lnTo>
                      <a:lnTo>
                        <a:pt x="12045" y="53194"/>
                      </a:lnTo>
                      <a:cubicBezTo>
                        <a:pt x="10136" y="55883"/>
                        <a:pt x="9471" y="59266"/>
                        <a:pt x="10194" y="62677"/>
                      </a:cubicBezTo>
                      <a:cubicBezTo>
                        <a:pt x="10946" y="66234"/>
                        <a:pt x="13085" y="69443"/>
                        <a:pt x="16237" y="71640"/>
                      </a:cubicBezTo>
                      <a:cubicBezTo>
                        <a:pt x="22598" y="76122"/>
                        <a:pt x="31040" y="75168"/>
                        <a:pt x="35059" y="69472"/>
                      </a:cubicBezTo>
                      <a:lnTo>
                        <a:pt x="62180" y="31162"/>
                      </a:lnTo>
                      <a:cubicBezTo>
                        <a:pt x="64088" y="28473"/>
                        <a:pt x="64753" y="25090"/>
                        <a:pt x="64001" y="21650"/>
                      </a:cubicBezTo>
                      <a:cubicBezTo>
                        <a:pt x="63250" y="18064"/>
                        <a:pt x="61110" y="14884"/>
                        <a:pt x="57958" y="12658"/>
                      </a:cubicBezTo>
                      <a:cubicBezTo>
                        <a:pt x="55385" y="10865"/>
                        <a:pt x="52378" y="9882"/>
                        <a:pt x="49342" y="9882"/>
                      </a:cubicBezTo>
                      <a:close/>
                      <a:moveTo>
                        <a:pt x="8026" y="50332"/>
                      </a:moveTo>
                      <a:lnTo>
                        <a:pt x="8084" y="50332"/>
                      </a:lnTo>
                      <a:lnTo>
                        <a:pt x="8026" y="50332"/>
                      </a:lnTo>
                      <a:close/>
                    </a:path>
                  </a:pathLst>
                </a:custGeom>
                <a:solidFill>
                  <a:schemeClr val="accent1"/>
                </a:solidFill>
                <a:ln w="2890" cap="flat">
                  <a:noFill/>
                  <a:prstDash val="solid"/>
                  <a:miter/>
                </a:ln>
              </p:spPr>
              <p:txBody>
                <a:bodyPr rtlCol="0" anchor="ctr"/>
                <a:lstStyle/>
                <a:p>
                  <a:endParaRPr lang="en-GB" dirty="0"/>
                </a:p>
              </p:txBody>
            </p:sp>
          </p:grpSp>
        </p:grpSp>
      </p:grpSp>
      <p:sp>
        <p:nvSpPr>
          <p:cNvPr id="636" name="TextBox 1421">
            <a:extLst>
              <a:ext uri="{FF2B5EF4-FFF2-40B4-BE49-F238E27FC236}">
                <a16:creationId xmlns:a16="http://schemas.microsoft.com/office/drawing/2014/main" id="{585DDDA0-504E-4647-BE58-59D53AA0B220}"/>
              </a:ext>
            </a:extLst>
          </p:cNvPr>
          <p:cNvSpPr txBox="1"/>
          <p:nvPr/>
        </p:nvSpPr>
        <p:spPr>
          <a:xfrm>
            <a:off x="5036136" y="4547732"/>
            <a:ext cx="354264" cy="107722"/>
          </a:xfrm>
          <a:prstGeom prst="rect">
            <a:avLst/>
          </a:prstGeom>
          <a:noFill/>
          <a:effectLst/>
        </p:spPr>
        <p:txBody>
          <a:bodyPr wrap="none" lIns="0" tIns="0" rIns="0" bIns="0" rtlCol="0" anchor="t" anchorCtr="0">
            <a:spAutoFit/>
          </a:bodyPr>
          <a:lstStyle/>
          <a:p>
            <a:pPr algn="ctr"/>
            <a:r>
              <a:rPr lang="en-GB" sz="700" dirty="0">
                <a:solidFill>
                  <a:schemeClr val="tx2"/>
                </a:solidFill>
              </a:rPr>
              <a:t>Contacts</a:t>
            </a:r>
          </a:p>
        </p:txBody>
      </p:sp>
      <p:sp>
        <p:nvSpPr>
          <p:cNvPr id="637" name="TextBox 1424">
            <a:extLst>
              <a:ext uri="{FF2B5EF4-FFF2-40B4-BE49-F238E27FC236}">
                <a16:creationId xmlns:a16="http://schemas.microsoft.com/office/drawing/2014/main" id="{3AFECFB4-F115-4CAA-A9A4-B34A2554345C}"/>
              </a:ext>
            </a:extLst>
          </p:cNvPr>
          <p:cNvSpPr txBox="1"/>
          <p:nvPr/>
        </p:nvSpPr>
        <p:spPr>
          <a:xfrm>
            <a:off x="6063938" y="4547732"/>
            <a:ext cx="389529" cy="107722"/>
          </a:xfrm>
          <a:prstGeom prst="rect">
            <a:avLst/>
          </a:prstGeom>
          <a:noFill/>
          <a:effectLst/>
        </p:spPr>
        <p:txBody>
          <a:bodyPr wrap="none" lIns="0" tIns="0" rIns="0" bIns="0" rtlCol="0" anchor="t" anchorCtr="0">
            <a:spAutoFit/>
          </a:bodyPr>
          <a:lstStyle/>
          <a:p>
            <a:pPr algn="ctr"/>
            <a:r>
              <a:rPr lang="en-GB" sz="700" dirty="0">
                <a:solidFill>
                  <a:schemeClr val="tx2"/>
                </a:solidFill>
              </a:rPr>
              <a:t>Customer</a:t>
            </a:r>
          </a:p>
        </p:txBody>
      </p:sp>
      <p:sp>
        <p:nvSpPr>
          <p:cNvPr id="638" name="TextBox 1422">
            <a:extLst>
              <a:ext uri="{FF2B5EF4-FFF2-40B4-BE49-F238E27FC236}">
                <a16:creationId xmlns:a16="http://schemas.microsoft.com/office/drawing/2014/main" id="{7F382109-5066-4B48-AE74-3D2B7A29ECBD}"/>
              </a:ext>
            </a:extLst>
          </p:cNvPr>
          <p:cNvSpPr txBox="1"/>
          <p:nvPr/>
        </p:nvSpPr>
        <p:spPr>
          <a:xfrm>
            <a:off x="8196795" y="4547732"/>
            <a:ext cx="291747" cy="107722"/>
          </a:xfrm>
          <a:prstGeom prst="rect">
            <a:avLst/>
          </a:prstGeom>
          <a:noFill/>
          <a:effectLst/>
        </p:spPr>
        <p:txBody>
          <a:bodyPr wrap="none" lIns="0" tIns="0" rIns="0" bIns="0" rtlCol="0" anchor="t" anchorCtr="0">
            <a:spAutoFit/>
          </a:bodyPr>
          <a:lstStyle/>
          <a:p>
            <a:pPr algn="ctr"/>
            <a:r>
              <a:rPr lang="en-GB" sz="700" dirty="0">
                <a:solidFill>
                  <a:schemeClr val="tx2"/>
                </a:solidFill>
              </a:rPr>
              <a:t>Review</a:t>
            </a:r>
          </a:p>
        </p:txBody>
      </p:sp>
      <p:grpSp>
        <p:nvGrpSpPr>
          <p:cNvPr id="45" name="Group 44">
            <a:extLst>
              <a:ext uri="{FF2B5EF4-FFF2-40B4-BE49-F238E27FC236}">
                <a16:creationId xmlns:a16="http://schemas.microsoft.com/office/drawing/2014/main" id="{5D5C99B7-4C39-05A5-3541-6CA22B1C643C}"/>
              </a:ext>
            </a:extLst>
          </p:cNvPr>
          <p:cNvGrpSpPr/>
          <p:nvPr/>
        </p:nvGrpSpPr>
        <p:grpSpPr>
          <a:xfrm>
            <a:off x="6982541" y="4077378"/>
            <a:ext cx="640662" cy="432000"/>
            <a:chOff x="6892385" y="4077378"/>
            <a:chExt cx="640662" cy="432000"/>
          </a:xfrm>
        </p:grpSpPr>
        <p:grpSp>
          <p:nvGrpSpPr>
            <p:cNvPr id="640" name="Group 974">
              <a:extLst>
                <a:ext uri="{FF2B5EF4-FFF2-40B4-BE49-F238E27FC236}">
                  <a16:creationId xmlns:a16="http://schemas.microsoft.com/office/drawing/2014/main" id="{0BAA9797-9502-4ADF-8BBF-199B4CF72FBB}"/>
                </a:ext>
              </a:extLst>
            </p:cNvPr>
            <p:cNvGrpSpPr/>
            <p:nvPr/>
          </p:nvGrpSpPr>
          <p:grpSpPr>
            <a:xfrm>
              <a:off x="6967364" y="4077378"/>
              <a:ext cx="378849" cy="432000"/>
              <a:chOff x="1686253" y="4130654"/>
              <a:chExt cx="404856" cy="461655"/>
            </a:xfrm>
          </p:grpSpPr>
          <p:grpSp>
            <p:nvGrpSpPr>
              <p:cNvPr id="663" name="Grafik 137">
                <a:extLst>
                  <a:ext uri="{FF2B5EF4-FFF2-40B4-BE49-F238E27FC236}">
                    <a16:creationId xmlns:a16="http://schemas.microsoft.com/office/drawing/2014/main" id="{CAD62884-C160-4B61-B334-180164C1C47C}"/>
                  </a:ext>
                </a:extLst>
              </p:cNvPr>
              <p:cNvGrpSpPr/>
              <p:nvPr/>
            </p:nvGrpSpPr>
            <p:grpSpPr>
              <a:xfrm>
                <a:off x="1805557" y="4426361"/>
                <a:ext cx="285552" cy="165948"/>
                <a:chOff x="1805557" y="4426361"/>
                <a:chExt cx="285552" cy="165948"/>
              </a:xfrm>
              <a:solidFill>
                <a:schemeClr val="accent1"/>
              </a:solidFill>
            </p:grpSpPr>
            <p:sp>
              <p:nvSpPr>
                <p:cNvPr id="668" name="Freihandform: Form 667">
                  <a:extLst>
                    <a:ext uri="{FF2B5EF4-FFF2-40B4-BE49-F238E27FC236}">
                      <a16:creationId xmlns:a16="http://schemas.microsoft.com/office/drawing/2014/main" id="{C133223A-DC4A-476A-A084-5DB540114D2C}"/>
                    </a:ext>
                  </a:extLst>
                </p:cNvPr>
                <p:cNvSpPr/>
                <p:nvPr/>
              </p:nvSpPr>
              <p:spPr>
                <a:xfrm>
                  <a:off x="1858560" y="4531691"/>
                  <a:ext cx="10041" cy="60619"/>
                </a:xfrm>
                <a:custGeom>
                  <a:avLst/>
                  <a:gdLst>
                    <a:gd name="connsiteX0" fmla="*/ 5021 w 10041"/>
                    <a:gd name="connsiteY0" fmla="*/ 60619 h 60619"/>
                    <a:gd name="connsiteX1" fmla="*/ 0 w 10041"/>
                    <a:gd name="connsiteY1" fmla="*/ 55599 h 60619"/>
                    <a:gd name="connsiteX2" fmla="*/ 0 w 10041"/>
                    <a:gd name="connsiteY2" fmla="*/ 5021 h 60619"/>
                    <a:gd name="connsiteX3" fmla="*/ 5021 w 10041"/>
                    <a:gd name="connsiteY3" fmla="*/ 0 h 60619"/>
                    <a:gd name="connsiteX4" fmla="*/ 10041 w 10041"/>
                    <a:gd name="connsiteY4" fmla="*/ 5021 h 60619"/>
                    <a:gd name="connsiteX5" fmla="*/ 10041 w 10041"/>
                    <a:gd name="connsiteY5" fmla="*/ 55599 h 60619"/>
                    <a:gd name="connsiteX6" fmla="*/ 5021 w 10041"/>
                    <a:gd name="connsiteY6" fmla="*/ 60619 h 606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60619">
                      <a:moveTo>
                        <a:pt x="5021" y="60619"/>
                      </a:moveTo>
                      <a:cubicBezTo>
                        <a:pt x="2254" y="60619"/>
                        <a:pt x="0" y="58366"/>
                        <a:pt x="0" y="55599"/>
                      </a:cubicBezTo>
                      <a:lnTo>
                        <a:pt x="0" y="5021"/>
                      </a:lnTo>
                      <a:cubicBezTo>
                        <a:pt x="0" y="2254"/>
                        <a:pt x="2254" y="0"/>
                        <a:pt x="5021" y="0"/>
                      </a:cubicBezTo>
                      <a:cubicBezTo>
                        <a:pt x="7788" y="0"/>
                        <a:pt x="10041" y="2254"/>
                        <a:pt x="10041" y="5021"/>
                      </a:cubicBezTo>
                      <a:lnTo>
                        <a:pt x="10041" y="55599"/>
                      </a:lnTo>
                      <a:cubicBezTo>
                        <a:pt x="10041" y="58394"/>
                        <a:pt x="7788" y="60619"/>
                        <a:pt x="5021" y="60619"/>
                      </a:cubicBezTo>
                      <a:close/>
                    </a:path>
                  </a:pathLst>
                </a:custGeom>
                <a:solidFill>
                  <a:schemeClr val="accent1"/>
                </a:solidFill>
                <a:ln w="2848" cap="flat">
                  <a:noFill/>
                  <a:prstDash val="solid"/>
                  <a:miter/>
                </a:ln>
              </p:spPr>
              <p:txBody>
                <a:bodyPr rtlCol="0" anchor="ctr"/>
                <a:lstStyle/>
                <a:p>
                  <a:endParaRPr lang="en-GB" dirty="0"/>
                </a:p>
              </p:txBody>
            </p:sp>
            <p:sp>
              <p:nvSpPr>
                <p:cNvPr id="669" name="Freihandform: Form 668">
                  <a:extLst>
                    <a:ext uri="{FF2B5EF4-FFF2-40B4-BE49-F238E27FC236}">
                      <a16:creationId xmlns:a16="http://schemas.microsoft.com/office/drawing/2014/main" id="{4687949E-B1D3-466B-A7F1-C9BF312CDFBE}"/>
                    </a:ext>
                  </a:extLst>
                </p:cNvPr>
                <p:cNvSpPr/>
                <p:nvPr/>
              </p:nvSpPr>
              <p:spPr>
                <a:xfrm>
                  <a:off x="1805557" y="4426361"/>
                  <a:ext cx="115619" cy="165948"/>
                </a:xfrm>
                <a:custGeom>
                  <a:avLst/>
                  <a:gdLst>
                    <a:gd name="connsiteX0" fmla="*/ 5021 w 115619"/>
                    <a:gd name="connsiteY0" fmla="*/ 165949 h 165948"/>
                    <a:gd name="connsiteX1" fmla="*/ 0 w 115619"/>
                    <a:gd name="connsiteY1" fmla="*/ 160928 h 165948"/>
                    <a:gd name="connsiteX2" fmla="*/ 0 w 115619"/>
                    <a:gd name="connsiteY2" fmla="*/ 60428 h 165948"/>
                    <a:gd name="connsiteX3" fmla="*/ 54486 w 115619"/>
                    <a:gd name="connsiteY3" fmla="*/ 13017 h 165948"/>
                    <a:gd name="connsiteX4" fmla="*/ 95194 w 115619"/>
                    <a:gd name="connsiteY4" fmla="*/ 13017 h 165948"/>
                    <a:gd name="connsiteX5" fmla="*/ 105606 w 115619"/>
                    <a:gd name="connsiteY5" fmla="*/ 4944 h 165948"/>
                    <a:gd name="connsiteX6" fmla="*/ 110684 w 115619"/>
                    <a:gd name="connsiteY6" fmla="*/ 9 h 165948"/>
                    <a:gd name="connsiteX7" fmla="*/ 115619 w 115619"/>
                    <a:gd name="connsiteY7" fmla="*/ 5087 h 165948"/>
                    <a:gd name="connsiteX8" fmla="*/ 95679 w 115619"/>
                    <a:gd name="connsiteY8" fmla="*/ 23001 h 165948"/>
                    <a:gd name="connsiteX9" fmla="*/ 54458 w 115619"/>
                    <a:gd name="connsiteY9" fmla="*/ 23030 h 165948"/>
                    <a:gd name="connsiteX10" fmla="*/ 9984 w 115619"/>
                    <a:gd name="connsiteY10" fmla="*/ 60400 h 165948"/>
                    <a:gd name="connsiteX11" fmla="*/ 9984 w 115619"/>
                    <a:gd name="connsiteY11" fmla="*/ 160900 h 165948"/>
                    <a:gd name="connsiteX12" fmla="*/ 5021 w 115619"/>
                    <a:gd name="connsiteY12" fmla="*/ 165949 h 165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619" h="165948">
                      <a:moveTo>
                        <a:pt x="5021" y="165949"/>
                      </a:moveTo>
                      <a:cubicBezTo>
                        <a:pt x="2254" y="165949"/>
                        <a:pt x="0" y="163695"/>
                        <a:pt x="0" y="160928"/>
                      </a:cubicBezTo>
                      <a:lnTo>
                        <a:pt x="0" y="60428"/>
                      </a:lnTo>
                      <a:cubicBezTo>
                        <a:pt x="0" y="22944"/>
                        <a:pt x="35630" y="13017"/>
                        <a:pt x="54486" y="13017"/>
                      </a:cubicBezTo>
                      <a:lnTo>
                        <a:pt x="95194" y="13017"/>
                      </a:lnTo>
                      <a:cubicBezTo>
                        <a:pt x="95051" y="13017"/>
                        <a:pt x="105520" y="11705"/>
                        <a:pt x="105606" y="4944"/>
                      </a:cubicBezTo>
                      <a:cubicBezTo>
                        <a:pt x="105634" y="2177"/>
                        <a:pt x="107803" y="-162"/>
                        <a:pt x="110684" y="9"/>
                      </a:cubicBezTo>
                      <a:cubicBezTo>
                        <a:pt x="113451" y="66"/>
                        <a:pt x="115647" y="2319"/>
                        <a:pt x="115619" y="5087"/>
                      </a:cubicBezTo>
                      <a:cubicBezTo>
                        <a:pt x="115419" y="17695"/>
                        <a:pt x="102497" y="22317"/>
                        <a:pt x="95679" y="23001"/>
                      </a:cubicBezTo>
                      <a:lnTo>
                        <a:pt x="54458" y="23030"/>
                      </a:lnTo>
                      <a:cubicBezTo>
                        <a:pt x="52660" y="23030"/>
                        <a:pt x="9984" y="23600"/>
                        <a:pt x="9984" y="60400"/>
                      </a:cubicBezTo>
                      <a:lnTo>
                        <a:pt x="9984" y="160900"/>
                      </a:lnTo>
                      <a:cubicBezTo>
                        <a:pt x="10041" y="163724"/>
                        <a:pt x="7788" y="165949"/>
                        <a:pt x="5021" y="165949"/>
                      </a:cubicBezTo>
                      <a:close/>
                    </a:path>
                  </a:pathLst>
                </a:custGeom>
                <a:solidFill>
                  <a:schemeClr val="accent1"/>
                </a:solidFill>
                <a:ln w="2848" cap="flat">
                  <a:noFill/>
                  <a:prstDash val="solid"/>
                  <a:miter/>
                </a:ln>
              </p:spPr>
              <p:txBody>
                <a:bodyPr rtlCol="0" anchor="ctr"/>
                <a:lstStyle/>
                <a:p>
                  <a:endParaRPr lang="en-GB" dirty="0"/>
                </a:p>
              </p:txBody>
            </p:sp>
            <p:sp>
              <p:nvSpPr>
                <p:cNvPr id="670" name="Freihandform: Form 669">
                  <a:extLst>
                    <a:ext uri="{FF2B5EF4-FFF2-40B4-BE49-F238E27FC236}">
                      <a16:creationId xmlns:a16="http://schemas.microsoft.com/office/drawing/2014/main" id="{5DD15749-98C7-4453-BC32-28156900ECDB}"/>
                    </a:ext>
                  </a:extLst>
                </p:cNvPr>
                <p:cNvSpPr/>
                <p:nvPr/>
              </p:nvSpPr>
              <p:spPr>
                <a:xfrm>
                  <a:off x="2028094" y="4532575"/>
                  <a:ext cx="10041" cy="56311"/>
                </a:xfrm>
                <a:custGeom>
                  <a:avLst/>
                  <a:gdLst>
                    <a:gd name="connsiteX0" fmla="*/ 5021 w 10041"/>
                    <a:gd name="connsiteY0" fmla="*/ 56312 h 56311"/>
                    <a:gd name="connsiteX1" fmla="*/ 0 w 10041"/>
                    <a:gd name="connsiteY1" fmla="*/ 51291 h 56311"/>
                    <a:gd name="connsiteX2" fmla="*/ 0 w 10041"/>
                    <a:gd name="connsiteY2" fmla="*/ 5021 h 56311"/>
                    <a:gd name="connsiteX3" fmla="*/ 5021 w 10041"/>
                    <a:gd name="connsiteY3" fmla="*/ 0 h 56311"/>
                    <a:gd name="connsiteX4" fmla="*/ 10041 w 10041"/>
                    <a:gd name="connsiteY4" fmla="*/ 5021 h 56311"/>
                    <a:gd name="connsiteX5" fmla="*/ 10041 w 10041"/>
                    <a:gd name="connsiteY5" fmla="*/ 51291 h 56311"/>
                    <a:gd name="connsiteX6" fmla="*/ 5021 w 10041"/>
                    <a:gd name="connsiteY6" fmla="*/ 56312 h 56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56311">
                      <a:moveTo>
                        <a:pt x="5021" y="56312"/>
                      </a:moveTo>
                      <a:cubicBezTo>
                        <a:pt x="2254" y="56312"/>
                        <a:pt x="0" y="54058"/>
                        <a:pt x="0" y="51291"/>
                      </a:cubicBezTo>
                      <a:lnTo>
                        <a:pt x="0" y="5021"/>
                      </a:lnTo>
                      <a:cubicBezTo>
                        <a:pt x="0" y="2254"/>
                        <a:pt x="2254" y="0"/>
                        <a:pt x="5021" y="0"/>
                      </a:cubicBezTo>
                      <a:cubicBezTo>
                        <a:pt x="7788" y="0"/>
                        <a:pt x="10041" y="2254"/>
                        <a:pt x="10041" y="5021"/>
                      </a:cubicBezTo>
                      <a:lnTo>
                        <a:pt x="10041" y="51291"/>
                      </a:lnTo>
                      <a:cubicBezTo>
                        <a:pt x="10013" y="54058"/>
                        <a:pt x="7788" y="56312"/>
                        <a:pt x="5021" y="56312"/>
                      </a:cubicBezTo>
                      <a:close/>
                    </a:path>
                  </a:pathLst>
                </a:custGeom>
                <a:solidFill>
                  <a:schemeClr val="accent1"/>
                </a:solidFill>
                <a:ln w="2848" cap="flat">
                  <a:noFill/>
                  <a:prstDash val="solid"/>
                  <a:miter/>
                </a:ln>
              </p:spPr>
              <p:txBody>
                <a:bodyPr rtlCol="0" anchor="ctr"/>
                <a:lstStyle/>
                <a:p>
                  <a:endParaRPr lang="en-GB" dirty="0"/>
                </a:p>
              </p:txBody>
            </p:sp>
            <p:sp>
              <p:nvSpPr>
                <p:cNvPr id="671" name="Freihandform: Form 670">
                  <a:extLst>
                    <a:ext uri="{FF2B5EF4-FFF2-40B4-BE49-F238E27FC236}">
                      <a16:creationId xmlns:a16="http://schemas.microsoft.com/office/drawing/2014/main" id="{6CB74383-E874-4D91-A791-8B2636DBB44B}"/>
                    </a:ext>
                  </a:extLst>
                </p:cNvPr>
                <p:cNvSpPr/>
                <p:nvPr/>
              </p:nvSpPr>
              <p:spPr>
                <a:xfrm>
                  <a:off x="1978800" y="4426427"/>
                  <a:ext cx="112309" cy="164171"/>
                </a:xfrm>
                <a:custGeom>
                  <a:avLst/>
                  <a:gdLst>
                    <a:gd name="connsiteX0" fmla="*/ 107289 w 112309"/>
                    <a:gd name="connsiteY0" fmla="*/ 164171 h 164171"/>
                    <a:gd name="connsiteX1" fmla="*/ 102269 w 112309"/>
                    <a:gd name="connsiteY1" fmla="*/ 159151 h 164171"/>
                    <a:gd name="connsiteX2" fmla="*/ 102269 w 112309"/>
                    <a:gd name="connsiteY2" fmla="*/ 60391 h 164171"/>
                    <a:gd name="connsiteX3" fmla="*/ 57824 w 112309"/>
                    <a:gd name="connsiteY3" fmla="*/ 23021 h 164171"/>
                    <a:gd name="connsiteX4" fmla="*/ 17116 w 112309"/>
                    <a:gd name="connsiteY4" fmla="*/ 23021 h 164171"/>
                    <a:gd name="connsiteX5" fmla="*/ 5135 w 112309"/>
                    <a:gd name="connsiteY5" fmla="*/ 18400 h 164171"/>
                    <a:gd name="connsiteX6" fmla="*/ 0 w 112309"/>
                    <a:gd name="connsiteY6" fmla="*/ 5049 h 164171"/>
                    <a:gd name="connsiteX7" fmla="*/ 4992 w 112309"/>
                    <a:gd name="connsiteY7" fmla="*/ 0 h 164171"/>
                    <a:gd name="connsiteX8" fmla="*/ 5021 w 112309"/>
                    <a:gd name="connsiteY8" fmla="*/ 0 h 164171"/>
                    <a:gd name="connsiteX9" fmla="*/ 10042 w 112309"/>
                    <a:gd name="connsiteY9" fmla="*/ 4992 h 164171"/>
                    <a:gd name="connsiteX10" fmla="*/ 12096 w 112309"/>
                    <a:gd name="connsiteY10" fmla="*/ 11183 h 164171"/>
                    <a:gd name="connsiteX11" fmla="*/ 16945 w 112309"/>
                    <a:gd name="connsiteY11" fmla="*/ 13037 h 164171"/>
                    <a:gd name="connsiteX12" fmla="*/ 57852 w 112309"/>
                    <a:gd name="connsiteY12" fmla="*/ 13037 h 164171"/>
                    <a:gd name="connsiteX13" fmla="*/ 112310 w 112309"/>
                    <a:gd name="connsiteY13" fmla="*/ 60448 h 164171"/>
                    <a:gd name="connsiteX14" fmla="*/ 112310 w 112309"/>
                    <a:gd name="connsiteY14" fmla="*/ 159208 h 164171"/>
                    <a:gd name="connsiteX15" fmla="*/ 107289 w 112309"/>
                    <a:gd name="connsiteY15" fmla="*/ 164171 h 164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2309" h="164171">
                      <a:moveTo>
                        <a:pt x="107289" y="164171"/>
                      </a:moveTo>
                      <a:cubicBezTo>
                        <a:pt x="104522" y="164171"/>
                        <a:pt x="102269" y="161918"/>
                        <a:pt x="102269" y="159151"/>
                      </a:cubicBezTo>
                      <a:lnTo>
                        <a:pt x="102269" y="60391"/>
                      </a:lnTo>
                      <a:cubicBezTo>
                        <a:pt x="102269" y="23563"/>
                        <a:pt x="59621" y="23021"/>
                        <a:pt x="57824" y="23021"/>
                      </a:cubicBezTo>
                      <a:lnTo>
                        <a:pt x="17116" y="23021"/>
                      </a:lnTo>
                      <a:cubicBezTo>
                        <a:pt x="16574" y="23021"/>
                        <a:pt x="10099" y="23135"/>
                        <a:pt x="5135" y="18400"/>
                      </a:cubicBezTo>
                      <a:cubicBezTo>
                        <a:pt x="1769" y="15176"/>
                        <a:pt x="29" y="10669"/>
                        <a:pt x="0" y="5049"/>
                      </a:cubicBezTo>
                      <a:cubicBezTo>
                        <a:pt x="-28" y="2282"/>
                        <a:pt x="2225" y="29"/>
                        <a:pt x="4992" y="0"/>
                      </a:cubicBezTo>
                      <a:cubicBezTo>
                        <a:pt x="4992" y="0"/>
                        <a:pt x="5021" y="0"/>
                        <a:pt x="5021" y="0"/>
                      </a:cubicBezTo>
                      <a:cubicBezTo>
                        <a:pt x="7760" y="0"/>
                        <a:pt x="10013" y="2225"/>
                        <a:pt x="10042" y="4992"/>
                      </a:cubicBezTo>
                      <a:cubicBezTo>
                        <a:pt x="10070" y="7816"/>
                        <a:pt x="10755" y="9870"/>
                        <a:pt x="12096" y="11183"/>
                      </a:cubicBezTo>
                      <a:cubicBezTo>
                        <a:pt x="14007" y="13037"/>
                        <a:pt x="16974" y="13037"/>
                        <a:pt x="16945" y="13037"/>
                      </a:cubicBezTo>
                      <a:lnTo>
                        <a:pt x="57852" y="13037"/>
                      </a:lnTo>
                      <a:cubicBezTo>
                        <a:pt x="76680" y="13037"/>
                        <a:pt x="112310" y="22936"/>
                        <a:pt x="112310" y="60448"/>
                      </a:cubicBezTo>
                      <a:lnTo>
                        <a:pt x="112310" y="159208"/>
                      </a:lnTo>
                      <a:cubicBezTo>
                        <a:pt x="112281" y="161918"/>
                        <a:pt x="110056" y="164171"/>
                        <a:pt x="107289" y="164171"/>
                      </a:cubicBezTo>
                      <a:close/>
                    </a:path>
                  </a:pathLst>
                </a:custGeom>
                <a:solidFill>
                  <a:schemeClr val="accent1"/>
                </a:solidFill>
                <a:ln w="2848" cap="flat">
                  <a:noFill/>
                  <a:prstDash val="solid"/>
                  <a:miter/>
                </a:ln>
              </p:spPr>
              <p:txBody>
                <a:bodyPr rtlCol="0" anchor="ctr"/>
                <a:lstStyle/>
                <a:p>
                  <a:endParaRPr lang="en-GB" dirty="0"/>
                </a:p>
              </p:txBody>
            </p:sp>
          </p:grpSp>
          <p:sp>
            <p:nvSpPr>
              <p:cNvPr id="664" name="Freihandform: Form 663">
                <a:extLst>
                  <a:ext uri="{FF2B5EF4-FFF2-40B4-BE49-F238E27FC236}">
                    <a16:creationId xmlns:a16="http://schemas.microsoft.com/office/drawing/2014/main" id="{2AC4F15F-ABAF-4A37-ACDE-C1CE7E771C9D}"/>
                  </a:ext>
                </a:extLst>
              </p:cNvPr>
              <p:cNvSpPr/>
              <p:nvPr/>
            </p:nvSpPr>
            <p:spPr>
              <a:xfrm>
                <a:off x="1873965" y="4251045"/>
                <a:ext cx="148766" cy="167337"/>
              </a:xfrm>
              <a:custGeom>
                <a:avLst/>
                <a:gdLst>
                  <a:gd name="connsiteX0" fmla="*/ 74369 w 148766"/>
                  <a:gd name="connsiteY0" fmla="*/ 167338 h 167337"/>
                  <a:gd name="connsiteX1" fmla="*/ 0 w 148766"/>
                  <a:gd name="connsiteY1" fmla="*/ 83669 h 167337"/>
                  <a:gd name="connsiteX2" fmla="*/ 74369 w 148766"/>
                  <a:gd name="connsiteY2" fmla="*/ 0 h 167337"/>
                  <a:gd name="connsiteX3" fmla="*/ 148767 w 148766"/>
                  <a:gd name="connsiteY3" fmla="*/ 83669 h 167337"/>
                  <a:gd name="connsiteX4" fmla="*/ 74369 w 148766"/>
                  <a:gd name="connsiteY4" fmla="*/ 167338 h 167337"/>
                  <a:gd name="connsiteX5" fmla="*/ 74369 w 148766"/>
                  <a:gd name="connsiteY5" fmla="*/ 10041 h 167337"/>
                  <a:gd name="connsiteX6" fmla="*/ 10013 w 148766"/>
                  <a:gd name="connsiteY6" fmla="*/ 83669 h 167337"/>
                  <a:gd name="connsiteX7" fmla="*/ 74369 w 148766"/>
                  <a:gd name="connsiteY7" fmla="*/ 157325 h 167337"/>
                  <a:gd name="connsiteX8" fmla="*/ 138754 w 148766"/>
                  <a:gd name="connsiteY8" fmla="*/ 83669 h 167337"/>
                  <a:gd name="connsiteX9" fmla="*/ 74369 w 148766"/>
                  <a:gd name="connsiteY9" fmla="*/ 10041 h 167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8766" h="167337">
                    <a:moveTo>
                      <a:pt x="74369" y="167338"/>
                    </a:moveTo>
                    <a:cubicBezTo>
                      <a:pt x="33348" y="167338"/>
                      <a:pt x="0" y="129797"/>
                      <a:pt x="0" y="83669"/>
                    </a:cubicBezTo>
                    <a:cubicBezTo>
                      <a:pt x="0" y="37541"/>
                      <a:pt x="33376" y="0"/>
                      <a:pt x="74369" y="0"/>
                    </a:cubicBezTo>
                    <a:cubicBezTo>
                      <a:pt x="115391" y="0"/>
                      <a:pt x="148767" y="37513"/>
                      <a:pt x="148767" y="83669"/>
                    </a:cubicBezTo>
                    <a:cubicBezTo>
                      <a:pt x="148767" y="129825"/>
                      <a:pt x="115391" y="167338"/>
                      <a:pt x="74369" y="167338"/>
                    </a:cubicBezTo>
                    <a:close/>
                    <a:moveTo>
                      <a:pt x="74369" y="10041"/>
                    </a:moveTo>
                    <a:cubicBezTo>
                      <a:pt x="38882" y="10041"/>
                      <a:pt x="10013" y="43075"/>
                      <a:pt x="10013" y="83669"/>
                    </a:cubicBezTo>
                    <a:cubicBezTo>
                      <a:pt x="10013" y="124262"/>
                      <a:pt x="38882" y="157325"/>
                      <a:pt x="74369" y="157325"/>
                    </a:cubicBezTo>
                    <a:cubicBezTo>
                      <a:pt x="109856" y="157325"/>
                      <a:pt x="138754" y="124291"/>
                      <a:pt x="138754" y="83669"/>
                    </a:cubicBezTo>
                    <a:cubicBezTo>
                      <a:pt x="138754" y="43047"/>
                      <a:pt x="109856" y="10041"/>
                      <a:pt x="74369" y="10041"/>
                    </a:cubicBezTo>
                    <a:close/>
                  </a:path>
                </a:pathLst>
              </a:custGeom>
              <a:solidFill>
                <a:schemeClr val="accent1"/>
              </a:solidFill>
              <a:ln w="2848" cap="flat">
                <a:noFill/>
                <a:prstDash val="solid"/>
                <a:miter/>
              </a:ln>
            </p:spPr>
            <p:txBody>
              <a:bodyPr rtlCol="0" anchor="ctr"/>
              <a:lstStyle/>
              <a:p>
                <a:endParaRPr lang="en-GB" dirty="0"/>
              </a:p>
            </p:txBody>
          </p:sp>
          <p:sp>
            <p:nvSpPr>
              <p:cNvPr id="665" name="Freihandform: Form 664">
                <a:extLst>
                  <a:ext uri="{FF2B5EF4-FFF2-40B4-BE49-F238E27FC236}">
                    <a16:creationId xmlns:a16="http://schemas.microsoft.com/office/drawing/2014/main" id="{DD99F648-3FBD-4BB3-9A79-4C2A69B0A29E}"/>
                  </a:ext>
                </a:extLst>
              </p:cNvPr>
              <p:cNvSpPr/>
              <p:nvPr/>
            </p:nvSpPr>
            <p:spPr>
              <a:xfrm>
                <a:off x="1728412" y="4130654"/>
                <a:ext cx="74689" cy="101848"/>
              </a:xfrm>
              <a:custGeom>
                <a:avLst/>
                <a:gdLst>
                  <a:gd name="connsiteX0" fmla="*/ 69671 w 74689"/>
                  <a:gd name="connsiteY0" fmla="*/ 101848 h 101848"/>
                  <a:gd name="connsiteX1" fmla="*/ 66847 w 74689"/>
                  <a:gd name="connsiteY1" fmla="*/ 100964 h 101848"/>
                  <a:gd name="connsiteX2" fmla="*/ 2177 w 74689"/>
                  <a:gd name="connsiteY2" fmla="*/ 56491 h 101848"/>
                  <a:gd name="connsiteX3" fmla="*/ 37 w 74689"/>
                  <a:gd name="connsiteY3" fmla="*/ 51727 h 101848"/>
                  <a:gd name="connsiteX4" fmla="*/ 6199 w 74689"/>
                  <a:gd name="connsiteY4" fmla="*/ 4344 h 101848"/>
                  <a:gd name="connsiteX5" fmla="*/ 9109 w 74689"/>
                  <a:gd name="connsiteY5" fmla="*/ 436 h 101848"/>
                  <a:gd name="connsiteX6" fmla="*/ 13959 w 74689"/>
                  <a:gd name="connsiteY6" fmla="*/ 835 h 101848"/>
                  <a:gd name="connsiteX7" fmla="*/ 67104 w 74689"/>
                  <a:gd name="connsiteY7" fmla="*/ 36636 h 101848"/>
                  <a:gd name="connsiteX8" fmla="*/ 69300 w 74689"/>
                  <a:gd name="connsiteY8" fmla="*/ 40316 h 101848"/>
                  <a:gd name="connsiteX9" fmla="*/ 74663 w 74689"/>
                  <a:gd name="connsiteY9" fmla="*/ 96371 h 101848"/>
                  <a:gd name="connsiteX10" fmla="*/ 72210 w 74689"/>
                  <a:gd name="connsiteY10" fmla="*/ 101164 h 101848"/>
                  <a:gd name="connsiteX11" fmla="*/ 69671 w 74689"/>
                  <a:gd name="connsiteY11" fmla="*/ 101848 h 101848"/>
                  <a:gd name="connsiteX12" fmla="*/ 10393 w 74689"/>
                  <a:gd name="connsiteY12" fmla="*/ 49987 h 101848"/>
                  <a:gd name="connsiteX13" fmla="*/ 63681 w 74689"/>
                  <a:gd name="connsiteY13" fmla="*/ 86643 h 101848"/>
                  <a:gd name="connsiteX14" fmla="*/ 59573 w 74689"/>
                  <a:gd name="connsiteY14" fmla="*/ 43625 h 101848"/>
                  <a:gd name="connsiteX15" fmla="*/ 15128 w 74689"/>
                  <a:gd name="connsiteY15" fmla="*/ 13672 h 101848"/>
                  <a:gd name="connsiteX16" fmla="*/ 10393 w 74689"/>
                  <a:gd name="connsiteY16" fmla="*/ 49987 h 10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4689" h="101848">
                    <a:moveTo>
                      <a:pt x="69671" y="101848"/>
                    </a:moveTo>
                    <a:cubicBezTo>
                      <a:pt x="68673" y="101848"/>
                      <a:pt x="67674" y="101563"/>
                      <a:pt x="66847" y="100964"/>
                    </a:cubicBezTo>
                    <a:lnTo>
                      <a:pt x="2177" y="56491"/>
                    </a:lnTo>
                    <a:cubicBezTo>
                      <a:pt x="636" y="55435"/>
                      <a:pt x="-191" y="53581"/>
                      <a:pt x="37" y="51727"/>
                    </a:cubicBezTo>
                    <a:lnTo>
                      <a:pt x="6199" y="4344"/>
                    </a:lnTo>
                    <a:cubicBezTo>
                      <a:pt x="6427" y="2632"/>
                      <a:pt x="7511" y="1149"/>
                      <a:pt x="9109" y="436"/>
                    </a:cubicBezTo>
                    <a:cubicBezTo>
                      <a:pt x="10678" y="-249"/>
                      <a:pt x="12532" y="-135"/>
                      <a:pt x="13959" y="835"/>
                    </a:cubicBezTo>
                    <a:lnTo>
                      <a:pt x="67104" y="36636"/>
                    </a:lnTo>
                    <a:cubicBezTo>
                      <a:pt x="68359" y="37463"/>
                      <a:pt x="69158" y="38833"/>
                      <a:pt x="69300" y="40316"/>
                    </a:cubicBezTo>
                    <a:lnTo>
                      <a:pt x="74663" y="96371"/>
                    </a:lnTo>
                    <a:cubicBezTo>
                      <a:pt x="74863" y="98311"/>
                      <a:pt x="73893" y="100194"/>
                      <a:pt x="72210" y="101164"/>
                    </a:cubicBezTo>
                    <a:cubicBezTo>
                      <a:pt x="71440" y="101620"/>
                      <a:pt x="70556" y="101848"/>
                      <a:pt x="69671" y="101848"/>
                    </a:cubicBezTo>
                    <a:close/>
                    <a:moveTo>
                      <a:pt x="10393" y="49987"/>
                    </a:moveTo>
                    <a:lnTo>
                      <a:pt x="63681" y="86643"/>
                    </a:lnTo>
                    <a:lnTo>
                      <a:pt x="59573" y="43625"/>
                    </a:lnTo>
                    <a:lnTo>
                      <a:pt x="15128" y="13672"/>
                    </a:lnTo>
                    <a:lnTo>
                      <a:pt x="10393" y="49987"/>
                    </a:lnTo>
                    <a:close/>
                  </a:path>
                </a:pathLst>
              </a:custGeom>
              <a:solidFill>
                <a:schemeClr val="accent1"/>
              </a:solidFill>
              <a:ln w="2848" cap="flat">
                <a:noFill/>
                <a:prstDash val="solid"/>
                <a:miter/>
              </a:ln>
            </p:spPr>
            <p:txBody>
              <a:bodyPr rtlCol="0" anchor="ctr"/>
              <a:lstStyle/>
              <a:p>
                <a:endParaRPr lang="en-GB" dirty="0"/>
              </a:p>
            </p:txBody>
          </p:sp>
          <p:sp>
            <p:nvSpPr>
              <p:cNvPr id="666" name="Freihandform: Form 665">
                <a:extLst>
                  <a:ext uri="{FF2B5EF4-FFF2-40B4-BE49-F238E27FC236}">
                    <a16:creationId xmlns:a16="http://schemas.microsoft.com/office/drawing/2014/main" id="{415C5EDE-BEF8-431F-B5DD-DD271255664C}"/>
                  </a:ext>
                </a:extLst>
              </p:cNvPr>
              <p:cNvSpPr/>
              <p:nvPr/>
            </p:nvSpPr>
            <p:spPr>
              <a:xfrm>
                <a:off x="1686253" y="4178408"/>
                <a:ext cx="117942" cy="68101"/>
              </a:xfrm>
              <a:custGeom>
                <a:avLst/>
                <a:gdLst>
                  <a:gd name="connsiteX0" fmla="*/ 59170 w 117942"/>
                  <a:gd name="connsiteY0" fmla="*/ 68102 h 68101"/>
                  <a:gd name="connsiteX1" fmla="*/ 56432 w 117942"/>
                  <a:gd name="connsiteY1" fmla="*/ 67274 h 68101"/>
                  <a:gd name="connsiteX2" fmla="*/ 2260 w 117942"/>
                  <a:gd name="connsiteY2" fmla="*/ 31816 h 68101"/>
                  <a:gd name="connsiteX3" fmla="*/ 6 w 117942"/>
                  <a:gd name="connsiteY3" fmla="*/ 27394 h 68101"/>
                  <a:gd name="connsiteX4" fmla="*/ 2630 w 117942"/>
                  <a:gd name="connsiteY4" fmla="*/ 23201 h 68101"/>
                  <a:gd name="connsiteX5" fmla="*/ 44565 w 117942"/>
                  <a:gd name="connsiteY5" fmla="*/ 607 h 68101"/>
                  <a:gd name="connsiteX6" fmla="*/ 49699 w 117942"/>
                  <a:gd name="connsiteY6" fmla="*/ 836 h 68101"/>
                  <a:gd name="connsiteX7" fmla="*/ 115682 w 117942"/>
                  <a:gd name="connsiteY7" fmla="*/ 44225 h 68101"/>
                  <a:gd name="connsiteX8" fmla="*/ 117878 w 117942"/>
                  <a:gd name="connsiteY8" fmla="*/ 49188 h 68101"/>
                  <a:gd name="connsiteX9" fmla="*/ 114255 w 117942"/>
                  <a:gd name="connsiteY9" fmla="*/ 53239 h 68101"/>
                  <a:gd name="connsiteX10" fmla="*/ 60483 w 117942"/>
                  <a:gd name="connsiteY10" fmla="*/ 67874 h 68101"/>
                  <a:gd name="connsiteX11" fmla="*/ 59170 w 117942"/>
                  <a:gd name="connsiteY11" fmla="*/ 68102 h 68101"/>
                  <a:gd name="connsiteX12" fmla="*/ 14783 w 117942"/>
                  <a:gd name="connsiteY12" fmla="*/ 28050 h 68101"/>
                  <a:gd name="connsiteX13" fmla="*/ 60026 w 117942"/>
                  <a:gd name="connsiteY13" fmla="*/ 57661 h 68101"/>
                  <a:gd name="connsiteX14" fmla="*/ 100905 w 117942"/>
                  <a:gd name="connsiteY14" fmla="*/ 46535 h 68101"/>
                  <a:gd name="connsiteX15" fmla="*/ 46704 w 117942"/>
                  <a:gd name="connsiteY15" fmla="*/ 10877 h 68101"/>
                  <a:gd name="connsiteX16" fmla="*/ 14783 w 117942"/>
                  <a:gd name="connsiteY16" fmla="*/ 28050 h 68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7942" h="68101">
                    <a:moveTo>
                      <a:pt x="59170" y="68102"/>
                    </a:moveTo>
                    <a:cubicBezTo>
                      <a:pt x="58200" y="68102"/>
                      <a:pt x="57259" y="67816"/>
                      <a:pt x="56432" y="67274"/>
                    </a:cubicBezTo>
                    <a:lnTo>
                      <a:pt x="2260" y="31816"/>
                    </a:lnTo>
                    <a:cubicBezTo>
                      <a:pt x="776" y="30846"/>
                      <a:pt x="-80" y="29163"/>
                      <a:pt x="6" y="27394"/>
                    </a:cubicBezTo>
                    <a:cubicBezTo>
                      <a:pt x="91" y="25625"/>
                      <a:pt x="1090" y="24028"/>
                      <a:pt x="2630" y="23201"/>
                    </a:cubicBezTo>
                    <a:lnTo>
                      <a:pt x="44565" y="607"/>
                    </a:lnTo>
                    <a:cubicBezTo>
                      <a:pt x="46191" y="-277"/>
                      <a:pt x="48159" y="-191"/>
                      <a:pt x="49699" y="836"/>
                    </a:cubicBezTo>
                    <a:lnTo>
                      <a:pt x="115682" y="44225"/>
                    </a:lnTo>
                    <a:cubicBezTo>
                      <a:pt x="117336" y="45309"/>
                      <a:pt x="118192" y="47249"/>
                      <a:pt x="117878" y="49188"/>
                    </a:cubicBezTo>
                    <a:cubicBezTo>
                      <a:pt x="117565" y="51128"/>
                      <a:pt x="116138" y="52726"/>
                      <a:pt x="114255" y="53239"/>
                    </a:cubicBezTo>
                    <a:lnTo>
                      <a:pt x="60483" y="67874"/>
                    </a:lnTo>
                    <a:cubicBezTo>
                      <a:pt x="60055" y="68016"/>
                      <a:pt x="59598" y="68102"/>
                      <a:pt x="59170" y="68102"/>
                    </a:cubicBezTo>
                    <a:close/>
                    <a:moveTo>
                      <a:pt x="14783" y="28050"/>
                    </a:moveTo>
                    <a:lnTo>
                      <a:pt x="60026" y="57661"/>
                    </a:lnTo>
                    <a:lnTo>
                      <a:pt x="100905" y="46535"/>
                    </a:lnTo>
                    <a:lnTo>
                      <a:pt x="46704" y="10877"/>
                    </a:lnTo>
                    <a:lnTo>
                      <a:pt x="14783" y="28050"/>
                    </a:lnTo>
                    <a:close/>
                  </a:path>
                </a:pathLst>
              </a:custGeom>
              <a:solidFill>
                <a:schemeClr val="accent1"/>
              </a:solidFill>
              <a:ln w="2848" cap="flat">
                <a:noFill/>
                <a:prstDash val="solid"/>
                <a:miter/>
              </a:ln>
            </p:spPr>
            <p:txBody>
              <a:bodyPr rtlCol="0" anchor="ctr"/>
              <a:lstStyle/>
              <a:p>
                <a:endParaRPr lang="en-GB" dirty="0"/>
              </a:p>
            </p:txBody>
          </p:sp>
          <p:sp>
            <p:nvSpPr>
              <p:cNvPr id="667" name="Freihandform: Form 666">
                <a:extLst>
                  <a:ext uri="{FF2B5EF4-FFF2-40B4-BE49-F238E27FC236}">
                    <a16:creationId xmlns:a16="http://schemas.microsoft.com/office/drawing/2014/main" id="{A07F44E8-B45B-40BF-B3CC-38AAB054046A}"/>
                  </a:ext>
                </a:extLst>
              </p:cNvPr>
              <p:cNvSpPr/>
              <p:nvPr/>
            </p:nvSpPr>
            <p:spPr>
              <a:xfrm>
                <a:off x="1697815" y="4157459"/>
                <a:ext cx="258039" cy="176883"/>
              </a:xfrm>
              <a:custGeom>
                <a:avLst/>
                <a:gdLst>
                  <a:gd name="connsiteX0" fmla="*/ 253029 w 258039"/>
                  <a:gd name="connsiteY0" fmla="*/ 176884 h 176883"/>
                  <a:gd name="connsiteX1" fmla="*/ 250234 w 258039"/>
                  <a:gd name="connsiteY1" fmla="*/ 176028 h 176883"/>
                  <a:gd name="connsiteX2" fmla="*/ 2222 w 258039"/>
                  <a:gd name="connsiteY2" fmla="*/ 9175 h 176883"/>
                  <a:gd name="connsiteX3" fmla="*/ 853 w 258039"/>
                  <a:gd name="connsiteY3" fmla="*/ 2215 h 176883"/>
                  <a:gd name="connsiteX4" fmla="*/ 7813 w 258039"/>
                  <a:gd name="connsiteY4" fmla="*/ 845 h 176883"/>
                  <a:gd name="connsiteX5" fmla="*/ 255825 w 258039"/>
                  <a:gd name="connsiteY5" fmla="*/ 167698 h 176883"/>
                  <a:gd name="connsiteX6" fmla="*/ 257194 w 258039"/>
                  <a:gd name="connsiteY6" fmla="*/ 174659 h 176883"/>
                  <a:gd name="connsiteX7" fmla="*/ 253029 w 258039"/>
                  <a:gd name="connsiteY7" fmla="*/ 176884 h 1768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8039" h="176883">
                    <a:moveTo>
                      <a:pt x="253029" y="176884"/>
                    </a:moveTo>
                    <a:cubicBezTo>
                      <a:pt x="252059" y="176884"/>
                      <a:pt x="251089" y="176599"/>
                      <a:pt x="250234" y="176028"/>
                    </a:cubicBezTo>
                    <a:lnTo>
                      <a:pt x="2222" y="9175"/>
                    </a:lnTo>
                    <a:cubicBezTo>
                      <a:pt x="-88" y="7635"/>
                      <a:pt x="-688" y="4525"/>
                      <a:pt x="853" y="2215"/>
                    </a:cubicBezTo>
                    <a:cubicBezTo>
                      <a:pt x="2393" y="-67"/>
                      <a:pt x="5503" y="-695"/>
                      <a:pt x="7813" y="845"/>
                    </a:cubicBezTo>
                    <a:lnTo>
                      <a:pt x="255825" y="167698"/>
                    </a:lnTo>
                    <a:cubicBezTo>
                      <a:pt x="258107" y="169239"/>
                      <a:pt x="258735" y="172348"/>
                      <a:pt x="257194" y="174659"/>
                    </a:cubicBezTo>
                    <a:cubicBezTo>
                      <a:pt x="256224" y="176114"/>
                      <a:pt x="254627" y="176884"/>
                      <a:pt x="253029" y="176884"/>
                    </a:cubicBezTo>
                    <a:close/>
                  </a:path>
                </a:pathLst>
              </a:custGeom>
              <a:solidFill>
                <a:schemeClr val="accent1"/>
              </a:solidFill>
              <a:ln w="2848" cap="flat">
                <a:noFill/>
                <a:prstDash val="solid"/>
                <a:miter/>
              </a:ln>
            </p:spPr>
            <p:txBody>
              <a:bodyPr rtlCol="0" anchor="ctr"/>
              <a:lstStyle/>
              <a:p>
                <a:endParaRPr lang="en-GB" dirty="0"/>
              </a:p>
            </p:txBody>
          </p:sp>
        </p:grpSp>
        <p:grpSp>
          <p:nvGrpSpPr>
            <p:cNvPr id="641" name="Group 975">
              <a:extLst>
                <a:ext uri="{FF2B5EF4-FFF2-40B4-BE49-F238E27FC236}">
                  <a16:creationId xmlns:a16="http://schemas.microsoft.com/office/drawing/2014/main" id="{051F0142-28BC-4E3D-9211-CC175CF71414}"/>
                </a:ext>
              </a:extLst>
            </p:cNvPr>
            <p:cNvGrpSpPr/>
            <p:nvPr/>
          </p:nvGrpSpPr>
          <p:grpSpPr>
            <a:xfrm>
              <a:off x="6892385" y="4097935"/>
              <a:ext cx="640662" cy="411438"/>
              <a:chOff x="1606127" y="4152628"/>
              <a:chExt cx="684641" cy="439681"/>
            </a:xfrm>
            <a:solidFill>
              <a:schemeClr val="tx2"/>
            </a:solidFill>
          </p:grpSpPr>
          <p:grpSp>
            <p:nvGrpSpPr>
              <p:cNvPr id="642" name="Grafik 137">
                <a:extLst>
                  <a:ext uri="{FF2B5EF4-FFF2-40B4-BE49-F238E27FC236}">
                    <a16:creationId xmlns:a16="http://schemas.microsoft.com/office/drawing/2014/main" id="{9737BB12-5B44-4F39-B9D1-C5F32A89B5FB}"/>
                  </a:ext>
                </a:extLst>
              </p:cNvPr>
              <p:cNvGrpSpPr/>
              <p:nvPr/>
            </p:nvGrpSpPr>
            <p:grpSpPr>
              <a:xfrm>
                <a:off x="1606127" y="4324073"/>
                <a:ext cx="182228" cy="268236"/>
                <a:chOff x="1606127" y="4324073"/>
                <a:chExt cx="182228" cy="268236"/>
              </a:xfrm>
              <a:grpFill/>
            </p:grpSpPr>
            <p:grpSp>
              <p:nvGrpSpPr>
                <p:cNvPr id="657" name="Grafik 137">
                  <a:extLst>
                    <a:ext uri="{FF2B5EF4-FFF2-40B4-BE49-F238E27FC236}">
                      <a16:creationId xmlns:a16="http://schemas.microsoft.com/office/drawing/2014/main" id="{C7567F0B-1AAD-4EDB-84B6-2F794B4A2354}"/>
                    </a:ext>
                  </a:extLst>
                </p:cNvPr>
                <p:cNvGrpSpPr/>
                <p:nvPr/>
              </p:nvGrpSpPr>
              <p:grpSpPr>
                <a:xfrm>
                  <a:off x="1606127" y="4463534"/>
                  <a:ext cx="182228" cy="128775"/>
                  <a:chOff x="1606127" y="4463534"/>
                  <a:chExt cx="182228" cy="128775"/>
                </a:xfrm>
                <a:grpFill/>
              </p:grpSpPr>
              <p:sp>
                <p:nvSpPr>
                  <p:cNvPr id="659" name="Freihandform: Form 658">
                    <a:extLst>
                      <a:ext uri="{FF2B5EF4-FFF2-40B4-BE49-F238E27FC236}">
                        <a16:creationId xmlns:a16="http://schemas.microsoft.com/office/drawing/2014/main" id="{CF182AC3-7509-4F9C-AAB4-EF36F924A7F5}"/>
                      </a:ext>
                    </a:extLst>
                  </p:cNvPr>
                  <p:cNvSpPr/>
                  <p:nvPr/>
                </p:nvSpPr>
                <p:spPr>
                  <a:xfrm>
                    <a:off x="1646492" y="4543758"/>
                    <a:ext cx="10041" cy="48552"/>
                  </a:xfrm>
                  <a:custGeom>
                    <a:avLst/>
                    <a:gdLst>
                      <a:gd name="connsiteX0" fmla="*/ 5021 w 10041"/>
                      <a:gd name="connsiteY0" fmla="*/ 48552 h 48552"/>
                      <a:gd name="connsiteX1" fmla="*/ 0 w 10041"/>
                      <a:gd name="connsiteY1" fmla="*/ 43532 h 48552"/>
                      <a:gd name="connsiteX2" fmla="*/ 0 w 10041"/>
                      <a:gd name="connsiteY2" fmla="*/ 5021 h 48552"/>
                      <a:gd name="connsiteX3" fmla="*/ 5021 w 10041"/>
                      <a:gd name="connsiteY3" fmla="*/ 0 h 48552"/>
                      <a:gd name="connsiteX4" fmla="*/ 10041 w 10041"/>
                      <a:gd name="connsiteY4" fmla="*/ 5021 h 48552"/>
                      <a:gd name="connsiteX5" fmla="*/ 10041 w 10041"/>
                      <a:gd name="connsiteY5" fmla="*/ 43532 h 48552"/>
                      <a:gd name="connsiteX6" fmla="*/ 5021 w 10041"/>
                      <a:gd name="connsiteY6" fmla="*/ 48552 h 4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48552">
                        <a:moveTo>
                          <a:pt x="5021" y="48552"/>
                        </a:moveTo>
                        <a:cubicBezTo>
                          <a:pt x="2254" y="48552"/>
                          <a:pt x="0" y="46299"/>
                          <a:pt x="0" y="43532"/>
                        </a:cubicBezTo>
                        <a:lnTo>
                          <a:pt x="0" y="5021"/>
                        </a:lnTo>
                        <a:cubicBezTo>
                          <a:pt x="0" y="2254"/>
                          <a:pt x="2254" y="0"/>
                          <a:pt x="5021" y="0"/>
                        </a:cubicBezTo>
                        <a:cubicBezTo>
                          <a:pt x="7788" y="0"/>
                          <a:pt x="10041" y="2254"/>
                          <a:pt x="10041" y="5021"/>
                        </a:cubicBezTo>
                        <a:lnTo>
                          <a:pt x="10041" y="43532"/>
                        </a:lnTo>
                        <a:cubicBezTo>
                          <a:pt x="10041" y="46328"/>
                          <a:pt x="7788" y="48552"/>
                          <a:pt x="5021" y="48552"/>
                        </a:cubicBezTo>
                        <a:close/>
                      </a:path>
                    </a:pathLst>
                  </a:custGeom>
                  <a:grpFill/>
                  <a:ln w="2848" cap="flat">
                    <a:noFill/>
                    <a:prstDash val="solid"/>
                    <a:miter/>
                  </a:ln>
                </p:spPr>
                <p:txBody>
                  <a:bodyPr rtlCol="0" anchor="ctr"/>
                  <a:lstStyle/>
                  <a:p>
                    <a:endParaRPr lang="en-GB" dirty="0"/>
                  </a:p>
                </p:txBody>
              </p:sp>
              <p:sp>
                <p:nvSpPr>
                  <p:cNvPr id="660" name="Freihandform: Form 659">
                    <a:extLst>
                      <a:ext uri="{FF2B5EF4-FFF2-40B4-BE49-F238E27FC236}">
                        <a16:creationId xmlns:a16="http://schemas.microsoft.com/office/drawing/2014/main" id="{3BBB963B-B863-4670-97E0-DB63860DA9BA}"/>
                      </a:ext>
                    </a:extLst>
                  </p:cNvPr>
                  <p:cNvSpPr/>
                  <p:nvPr/>
                </p:nvSpPr>
                <p:spPr>
                  <a:xfrm>
                    <a:off x="1606127" y="4463534"/>
                    <a:ext cx="90430" cy="128775"/>
                  </a:xfrm>
                  <a:custGeom>
                    <a:avLst/>
                    <a:gdLst>
                      <a:gd name="connsiteX0" fmla="*/ 5021 w 90430"/>
                      <a:gd name="connsiteY0" fmla="*/ 128776 h 128775"/>
                      <a:gd name="connsiteX1" fmla="*/ 0 w 90430"/>
                      <a:gd name="connsiteY1" fmla="*/ 123755 h 128775"/>
                      <a:gd name="connsiteX2" fmla="*/ 0 w 90430"/>
                      <a:gd name="connsiteY2" fmla="*/ 47218 h 128775"/>
                      <a:gd name="connsiteX3" fmla="*/ 42676 w 90430"/>
                      <a:gd name="connsiteY3" fmla="*/ 9905 h 128775"/>
                      <a:gd name="connsiteX4" fmla="*/ 73656 w 90430"/>
                      <a:gd name="connsiteY4" fmla="*/ 9905 h 128775"/>
                      <a:gd name="connsiteX5" fmla="*/ 80417 w 90430"/>
                      <a:gd name="connsiteY5" fmla="*/ 4941 h 128775"/>
                      <a:gd name="connsiteX6" fmla="*/ 85495 w 90430"/>
                      <a:gd name="connsiteY6" fmla="*/ 6 h 128775"/>
                      <a:gd name="connsiteX7" fmla="*/ 90430 w 90430"/>
                      <a:gd name="connsiteY7" fmla="*/ 5084 h 128775"/>
                      <a:gd name="connsiteX8" fmla="*/ 74169 w 90430"/>
                      <a:gd name="connsiteY8" fmla="*/ 19889 h 128775"/>
                      <a:gd name="connsiteX9" fmla="*/ 42676 w 90430"/>
                      <a:gd name="connsiteY9" fmla="*/ 19918 h 128775"/>
                      <a:gd name="connsiteX10" fmla="*/ 10013 w 90430"/>
                      <a:gd name="connsiteY10" fmla="*/ 47189 h 128775"/>
                      <a:gd name="connsiteX11" fmla="*/ 10013 w 90430"/>
                      <a:gd name="connsiteY11" fmla="*/ 123727 h 128775"/>
                      <a:gd name="connsiteX12" fmla="*/ 5021 w 90430"/>
                      <a:gd name="connsiteY12" fmla="*/ 128776 h 128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0430" h="128775">
                        <a:moveTo>
                          <a:pt x="5021" y="128776"/>
                        </a:moveTo>
                        <a:cubicBezTo>
                          <a:pt x="2254" y="128776"/>
                          <a:pt x="0" y="126522"/>
                          <a:pt x="0" y="123755"/>
                        </a:cubicBezTo>
                        <a:lnTo>
                          <a:pt x="0" y="47218"/>
                        </a:lnTo>
                        <a:cubicBezTo>
                          <a:pt x="0" y="17721"/>
                          <a:pt x="27928" y="9905"/>
                          <a:pt x="42676" y="9905"/>
                        </a:cubicBezTo>
                        <a:lnTo>
                          <a:pt x="73656" y="9905"/>
                        </a:lnTo>
                        <a:cubicBezTo>
                          <a:pt x="73542" y="9877"/>
                          <a:pt x="80331" y="8992"/>
                          <a:pt x="80417" y="4941"/>
                        </a:cubicBezTo>
                        <a:cubicBezTo>
                          <a:pt x="80474" y="2174"/>
                          <a:pt x="82813" y="-136"/>
                          <a:pt x="85495" y="6"/>
                        </a:cubicBezTo>
                        <a:cubicBezTo>
                          <a:pt x="88262" y="63"/>
                          <a:pt x="90458" y="2317"/>
                          <a:pt x="90430" y="5084"/>
                        </a:cubicBezTo>
                        <a:cubicBezTo>
                          <a:pt x="90259" y="15525"/>
                          <a:pt x="79732" y="19347"/>
                          <a:pt x="74169" y="19889"/>
                        </a:cubicBezTo>
                        <a:lnTo>
                          <a:pt x="42676" y="19918"/>
                        </a:lnTo>
                        <a:cubicBezTo>
                          <a:pt x="41364" y="19918"/>
                          <a:pt x="10013" y="20374"/>
                          <a:pt x="10013" y="47189"/>
                        </a:cubicBezTo>
                        <a:lnTo>
                          <a:pt x="10013" y="123727"/>
                        </a:lnTo>
                        <a:cubicBezTo>
                          <a:pt x="10041" y="126551"/>
                          <a:pt x="7788" y="128776"/>
                          <a:pt x="5021" y="128776"/>
                        </a:cubicBezTo>
                        <a:close/>
                      </a:path>
                    </a:pathLst>
                  </a:custGeom>
                  <a:grpFill/>
                  <a:ln w="2848" cap="flat">
                    <a:noFill/>
                    <a:prstDash val="solid"/>
                    <a:miter/>
                  </a:ln>
                </p:spPr>
                <p:txBody>
                  <a:bodyPr rtlCol="0" anchor="ctr"/>
                  <a:lstStyle/>
                  <a:p>
                    <a:endParaRPr lang="en-GB" dirty="0"/>
                  </a:p>
                </p:txBody>
              </p:sp>
              <p:sp>
                <p:nvSpPr>
                  <p:cNvPr id="661" name="Freihandform: Form 660">
                    <a:extLst>
                      <a:ext uri="{FF2B5EF4-FFF2-40B4-BE49-F238E27FC236}">
                        <a16:creationId xmlns:a16="http://schemas.microsoft.com/office/drawing/2014/main" id="{02C350C6-286B-4206-9BA5-7777AF752D49}"/>
                      </a:ext>
                    </a:extLst>
                  </p:cNvPr>
                  <p:cNvSpPr/>
                  <p:nvPr/>
                </p:nvSpPr>
                <p:spPr>
                  <a:xfrm>
                    <a:off x="1775576" y="4544442"/>
                    <a:ext cx="10041" cy="45272"/>
                  </a:xfrm>
                  <a:custGeom>
                    <a:avLst/>
                    <a:gdLst>
                      <a:gd name="connsiteX0" fmla="*/ 5021 w 10041"/>
                      <a:gd name="connsiteY0" fmla="*/ 45272 h 45272"/>
                      <a:gd name="connsiteX1" fmla="*/ 0 w 10041"/>
                      <a:gd name="connsiteY1" fmla="*/ 40251 h 45272"/>
                      <a:gd name="connsiteX2" fmla="*/ 0 w 10041"/>
                      <a:gd name="connsiteY2" fmla="*/ 5021 h 45272"/>
                      <a:gd name="connsiteX3" fmla="*/ 5021 w 10041"/>
                      <a:gd name="connsiteY3" fmla="*/ 0 h 45272"/>
                      <a:gd name="connsiteX4" fmla="*/ 10041 w 10041"/>
                      <a:gd name="connsiteY4" fmla="*/ 5021 h 45272"/>
                      <a:gd name="connsiteX5" fmla="*/ 10041 w 10041"/>
                      <a:gd name="connsiteY5" fmla="*/ 40251 h 45272"/>
                      <a:gd name="connsiteX6" fmla="*/ 5021 w 10041"/>
                      <a:gd name="connsiteY6" fmla="*/ 45272 h 4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45272">
                        <a:moveTo>
                          <a:pt x="5021" y="45272"/>
                        </a:moveTo>
                        <a:cubicBezTo>
                          <a:pt x="2254" y="45272"/>
                          <a:pt x="0" y="43018"/>
                          <a:pt x="0" y="40251"/>
                        </a:cubicBezTo>
                        <a:lnTo>
                          <a:pt x="0" y="5021"/>
                        </a:lnTo>
                        <a:cubicBezTo>
                          <a:pt x="0" y="2254"/>
                          <a:pt x="2254" y="0"/>
                          <a:pt x="5021" y="0"/>
                        </a:cubicBezTo>
                        <a:cubicBezTo>
                          <a:pt x="7788" y="0"/>
                          <a:pt x="10041" y="2254"/>
                          <a:pt x="10041" y="5021"/>
                        </a:cubicBezTo>
                        <a:lnTo>
                          <a:pt x="10041" y="40251"/>
                        </a:lnTo>
                        <a:cubicBezTo>
                          <a:pt x="10041" y="43018"/>
                          <a:pt x="7788" y="45272"/>
                          <a:pt x="5021" y="45272"/>
                        </a:cubicBezTo>
                        <a:close/>
                      </a:path>
                    </a:pathLst>
                  </a:custGeom>
                  <a:grpFill/>
                  <a:ln w="2848" cap="flat">
                    <a:noFill/>
                    <a:prstDash val="solid"/>
                    <a:miter/>
                  </a:ln>
                </p:spPr>
                <p:txBody>
                  <a:bodyPr rtlCol="0" anchor="ctr"/>
                  <a:lstStyle/>
                  <a:p>
                    <a:endParaRPr lang="en-GB" dirty="0"/>
                  </a:p>
                </p:txBody>
              </p:sp>
              <p:sp>
                <p:nvSpPr>
                  <p:cNvPr id="662" name="Freihandform: Form 661">
                    <a:extLst>
                      <a:ext uri="{FF2B5EF4-FFF2-40B4-BE49-F238E27FC236}">
                        <a16:creationId xmlns:a16="http://schemas.microsoft.com/office/drawing/2014/main" id="{5D81A063-01B7-49EE-AB4F-703196BE8236}"/>
                      </a:ext>
                    </a:extLst>
                  </p:cNvPr>
                  <p:cNvSpPr/>
                  <p:nvPr/>
                </p:nvSpPr>
                <p:spPr>
                  <a:xfrm>
                    <a:off x="1738092" y="4463598"/>
                    <a:ext cx="50264" cy="19940"/>
                  </a:xfrm>
                  <a:custGeom>
                    <a:avLst/>
                    <a:gdLst>
                      <a:gd name="connsiteX0" fmla="*/ 14007 w 50264"/>
                      <a:gd name="connsiteY0" fmla="*/ 19912 h 19940"/>
                      <a:gd name="connsiteX1" fmla="*/ 4279 w 50264"/>
                      <a:gd name="connsiteY1" fmla="*/ 16061 h 19940"/>
                      <a:gd name="connsiteX2" fmla="*/ 0 w 50264"/>
                      <a:gd name="connsiteY2" fmla="*/ 5049 h 19940"/>
                      <a:gd name="connsiteX3" fmla="*/ 4992 w 50264"/>
                      <a:gd name="connsiteY3" fmla="*/ 0 h 19940"/>
                      <a:gd name="connsiteX4" fmla="*/ 5021 w 50264"/>
                      <a:gd name="connsiteY4" fmla="*/ 0 h 19940"/>
                      <a:gd name="connsiteX5" fmla="*/ 10041 w 50264"/>
                      <a:gd name="connsiteY5" fmla="*/ 4992 h 19940"/>
                      <a:gd name="connsiteX6" fmla="*/ 14121 w 50264"/>
                      <a:gd name="connsiteY6" fmla="*/ 9899 h 19940"/>
                      <a:gd name="connsiteX7" fmla="*/ 45243 w 50264"/>
                      <a:gd name="connsiteY7" fmla="*/ 9899 h 19940"/>
                      <a:gd name="connsiteX8" fmla="*/ 50264 w 50264"/>
                      <a:gd name="connsiteY8" fmla="*/ 14919 h 19940"/>
                      <a:gd name="connsiteX9" fmla="*/ 45243 w 50264"/>
                      <a:gd name="connsiteY9" fmla="*/ 19940 h 19940"/>
                      <a:gd name="connsiteX10" fmla="*/ 14206 w 50264"/>
                      <a:gd name="connsiteY10" fmla="*/ 19940 h 19940"/>
                      <a:gd name="connsiteX11" fmla="*/ 14007 w 50264"/>
                      <a:gd name="connsiteY11" fmla="*/ 19912 h 1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264" h="19940">
                        <a:moveTo>
                          <a:pt x="14007" y="19912"/>
                        </a:moveTo>
                        <a:cubicBezTo>
                          <a:pt x="12894" y="19912"/>
                          <a:pt x="8045" y="19683"/>
                          <a:pt x="4279" y="16061"/>
                        </a:cubicBezTo>
                        <a:cubicBezTo>
                          <a:pt x="2339" y="14206"/>
                          <a:pt x="29" y="10783"/>
                          <a:pt x="0" y="5049"/>
                        </a:cubicBezTo>
                        <a:cubicBezTo>
                          <a:pt x="0" y="2282"/>
                          <a:pt x="2225" y="29"/>
                          <a:pt x="4992" y="0"/>
                        </a:cubicBezTo>
                        <a:cubicBezTo>
                          <a:pt x="4992" y="0"/>
                          <a:pt x="5021" y="0"/>
                          <a:pt x="5021" y="0"/>
                        </a:cubicBezTo>
                        <a:cubicBezTo>
                          <a:pt x="7788" y="0"/>
                          <a:pt x="10013" y="2225"/>
                          <a:pt x="10041" y="4992"/>
                        </a:cubicBezTo>
                        <a:cubicBezTo>
                          <a:pt x="10041" y="6219"/>
                          <a:pt x="10070" y="9899"/>
                          <a:pt x="14121" y="9899"/>
                        </a:cubicBezTo>
                        <a:lnTo>
                          <a:pt x="45243" y="9899"/>
                        </a:lnTo>
                        <a:cubicBezTo>
                          <a:pt x="48010" y="9899"/>
                          <a:pt x="50264" y="12152"/>
                          <a:pt x="50264" y="14919"/>
                        </a:cubicBezTo>
                        <a:cubicBezTo>
                          <a:pt x="50264" y="17687"/>
                          <a:pt x="48010" y="19940"/>
                          <a:pt x="45243" y="19940"/>
                        </a:cubicBezTo>
                        <a:lnTo>
                          <a:pt x="14206" y="19940"/>
                        </a:lnTo>
                        <a:cubicBezTo>
                          <a:pt x="14178" y="19912"/>
                          <a:pt x="14092" y="19912"/>
                          <a:pt x="14007" y="19912"/>
                        </a:cubicBezTo>
                        <a:close/>
                      </a:path>
                    </a:pathLst>
                  </a:custGeom>
                  <a:grpFill/>
                  <a:ln w="2848" cap="flat">
                    <a:noFill/>
                    <a:prstDash val="solid"/>
                    <a:miter/>
                  </a:ln>
                </p:spPr>
                <p:txBody>
                  <a:bodyPr rtlCol="0" anchor="ctr"/>
                  <a:lstStyle/>
                  <a:p>
                    <a:endParaRPr lang="en-GB" dirty="0"/>
                  </a:p>
                </p:txBody>
              </p:sp>
            </p:grpSp>
            <p:sp>
              <p:nvSpPr>
                <p:cNvPr id="658" name="Freihandform: Form 657">
                  <a:extLst>
                    <a:ext uri="{FF2B5EF4-FFF2-40B4-BE49-F238E27FC236}">
                      <a16:creationId xmlns:a16="http://schemas.microsoft.com/office/drawing/2014/main" id="{45DD1D2A-E203-4D92-9D09-5E31D9DA57F9}"/>
                    </a:ext>
                  </a:extLst>
                </p:cNvPr>
                <p:cNvSpPr/>
                <p:nvPr/>
              </p:nvSpPr>
              <p:spPr>
                <a:xfrm>
                  <a:off x="1658188" y="4324073"/>
                  <a:ext cx="115704" cy="129796"/>
                </a:xfrm>
                <a:custGeom>
                  <a:avLst/>
                  <a:gdLst>
                    <a:gd name="connsiteX0" fmla="*/ 57852 w 115704"/>
                    <a:gd name="connsiteY0" fmla="*/ 129797 h 129796"/>
                    <a:gd name="connsiteX1" fmla="*/ 0 w 115704"/>
                    <a:gd name="connsiteY1" fmla="*/ 64898 h 129796"/>
                    <a:gd name="connsiteX2" fmla="*/ 57852 w 115704"/>
                    <a:gd name="connsiteY2" fmla="*/ 0 h 129796"/>
                    <a:gd name="connsiteX3" fmla="*/ 115704 w 115704"/>
                    <a:gd name="connsiteY3" fmla="*/ 64898 h 129796"/>
                    <a:gd name="connsiteX4" fmla="*/ 57852 w 115704"/>
                    <a:gd name="connsiteY4" fmla="*/ 129797 h 129796"/>
                    <a:gd name="connsiteX5" fmla="*/ 57852 w 115704"/>
                    <a:gd name="connsiteY5" fmla="*/ 10013 h 129796"/>
                    <a:gd name="connsiteX6" fmla="*/ 10041 w 115704"/>
                    <a:gd name="connsiteY6" fmla="*/ 64898 h 129796"/>
                    <a:gd name="connsiteX7" fmla="*/ 57852 w 115704"/>
                    <a:gd name="connsiteY7" fmla="*/ 119784 h 129796"/>
                    <a:gd name="connsiteX8" fmla="*/ 105692 w 115704"/>
                    <a:gd name="connsiteY8" fmla="*/ 64898 h 129796"/>
                    <a:gd name="connsiteX9" fmla="*/ 57852 w 115704"/>
                    <a:gd name="connsiteY9" fmla="*/ 10013 h 12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704" h="129796">
                      <a:moveTo>
                        <a:pt x="57852" y="129797"/>
                      </a:moveTo>
                      <a:cubicBezTo>
                        <a:pt x="25959" y="129797"/>
                        <a:pt x="0" y="100671"/>
                        <a:pt x="0" y="64898"/>
                      </a:cubicBezTo>
                      <a:cubicBezTo>
                        <a:pt x="0" y="29126"/>
                        <a:pt x="25959" y="0"/>
                        <a:pt x="57852" y="0"/>
                      </a:cubicBezTo>
                      <a:cubicBezTo>
                        <a:pt x="89745" y="0"/>
                        <a:pt x="115704" y="29126"/>
                        <a:pt x="115704" y="64898"/>
                      </a:cubicBezTo>
                      <a:cubicBezTo>
                        <a:pt x="115704" y="100671"/>
                        <a:pt x="89774" y="129797"/>
                        <a:pt x="57852" y="129797"/>
                      </a:cubicBezTo>
                      <a:close/>
                      <a:moveTo>
                        <a:pt x="57852" y="10013"/>
                      </a:moveTo>
                      <a:cubicBezTo>
                        <a:pt x="31494" y="10013"/>
                        <a:pt x="10041" y="34631"/>
                        <a:pt x="10041" y="64898"/>
                      </a:cubicBezTo>
                      <a:cubicBezTo>
                        <a:pt x="10041" y="95165"/>
                        <a:pt x="31494" y="119784"/>
                        <a:pt x="57852" y="119784"/>
                      </a:cubicBezTo>
                      <a:cubicBezTo>
                        <a:pt x="84239" y="119784"/>
                        <a:pt x="105692" y="95165"/>
                        <a:pt x="105692" y="64898"/>
                      </a:cubicBezTo>
                      <a:cubicBezTo>
                        <a:pt x="105692" y="34631"/>
                        <a:pt x="84239" y="10013"/>
                        <a:pt x="57852" y="10013"/>
                      </a:cubicBezTo>
                      <a:close/>
                    </a:path>
                  </a:pathLst>
                </a:custGeom>
                <a:grpFill/>
                <a:ln w="2848" cap="flat">
                  <a:noFill/>
                  <a:prstDash val="solid"/>
                  <a:miter/>
                </a:ln>
              </p:spPr>
              <p:txBody>
                <a:bodyPr rtlCol="0" anchor="ctr"/>
                <a:lstStyle/>
                <a:p>
                  <a:endParaRPr lang="en-GB" dirty="0"/>
                </a:p>
              </p:txBody>
            </p:sp>
          </p:grpSp>
          <p:grpSp>
            <p:nvGrpSpPr>
              <p:cNvPr id="643" name="Grafik 137">
                <a:extLst>
                  <a:ext uri="{FF2B5EF4-FFF2-40B4-BE49-F238E27FC236}">
                    <a16:creationId xmlns:a16="http://schemas.microsoft.com/office/drawing/2014/main" id="{E877931F-3C52-4A7B-BCA7-849A21587211}"/>
                  </a:ext>
                </a:extLst>
              </p:cNvPr>
              <p:cNvGrpSpPr/>
              <p:nvPr/>
            </p:nvGrpSpPr>
            <p:grpSpPr>
              <a:xfrm>
                <a:off x="2108568" y="4324073"/>
                <a:ext cx="182200" cy="268236"/>
                <a:chOff x="2108568" y="4324073"/>
                <a:chExt cx="182200" cy="268236"/>
              </a:xfrm>
              <a:grpFill/>
            </p:grpSpPr>
            <p:grpSp>
              <p:nvGrpSpPr>
                <p:cNvPr id="651" name="Grafik 137">
                  <a:extLst>
                    <a:ext uri="{FF2B5EF4-FFF2-40B4-BE49-F238E27FC236}">
                      <a16:creationId xmlns:a16="http://schemas.microsoft.com/office/drawing/2014/main" id="{0C74CE46-0015-46FA-9622-E5ACAB4205BA}"/>
                    </a:ext>
                  </a:extLst>
                </p:cNvPr>
                <p:cNvGrpSpPr/>
                <p:nvPr/>
              </p:nvGrpSpPr>
              <p:grpSpPr>
                <a:xfrm>
                  <a:off x="2108568" y="4463569"/>
                  <a:ext cx="182200" cy="128740"/>
                  <a:chOff x="2108568" y="4463569"/>
                  <a:chExt cx="182200" cy="128740"/>
                </a:xfrm>
                <a:grpFill/>
              </p:grpSpPr>
              <p:sp>
                <p:nvSpPr>
                  <p:cNvPr id="653" name="Freihandform: Form 652">
                    <a:extLst>
                      <a:ext uri="{FF2B5EF4-FFF2-40B4-BE49-F238E27FC236}">
                        <a16:creationId xmlns:a16="http://schemas.microsoft.com/office/drawing/2014/main" id="{A5FF337F-C98E-4F70-9531-312F138B7FD6}"/>
                      </a:ext>
                    </a:extLst>
                  </p:cNvPr>
                  <p:cNvSpPr/>
                  <p:nvPr/>
                </p:nvSpPr>
                <p:spPr>
                  <a:xfrm>
                    <a:off x="2111250" y="4543758"/>
                    <a:ext cx="10041" cy="48552"/>
                  </a:xfrm>
                  <a:custGeom>
                    <a:avLst/>
                    <a:gdLst>
                      <a:gd name="connsiteX0" fmla="*/ 5021 w 10041"/>
                      <a:gd name="connsiteY0" fmla="*/ 48552 h 48552"/>
                      <a:gd name="connsiteX1" fmla="*/ 0 w 10041"/>
                      <a:gd name="connsiteY1" fmla="*/ 43532 h 48552"/>
                      <a:gd name="connsiteX2" fmla="*/ 0 w 10041"/>
                      <a:gd name="connsiteY2" fmla="*/ 5021 h 48552"/>
                      <a:gd name="connsiteX3" fmla="*/ 5021 w 10041"/>
                      <a:gd name="connsiteY3" fmla="*/ 0 h 48552"/>
                      <a:gd name="connsiteX4" fmla="*/ 10041 w 10041"/>
                      <a:gd name="connsiteY4" fmla="*/ 5021 h 48552"/>
                      <a:gd name="connsiteX5" fmla="*/ 10041 w 10041"/>
                      <a:gd name="connsiteY5" fmla="*/ 43532 h 48552"/>
                      <a:gd name="connsiteX6" fmla="*/ 5021 w 10041"/>
                      <a:gd name="connsiteY6" fmla="*/ 48552 h 48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48552">
                        <a:moveTo>
                          <a:pt x="5021" y="48552"/>
                        </a:moveTo>
                        <a:cubicBezTo>
                          <a:pt x="2254" y="48552"/>
                          <a:pt x="0" y="46299"/>
                          <a:pt x="0" y="43532"/>
                        </a:cubicBezTo>
                        <a:lnTo>
                          <a:pt x="0" y="5021"/>
                        </a:lnTo>
                        <a:cubicBezTo>
                          <a:pt x="0" y="2254"/>
                          <a:pt x="2254" y="0"/>
                          <a:pt x="5021" y="0"/>
                        </a:cubicBezTo>
                        <a:cubicBezTo>
                          <a:pt x="7788" y="0"/>
                          <a:pt x="10041" y="2254"/>
                          <a:pt x="10041" y="5021"/>
                        </a:cubicBezTo>
                        <a:lnTo>
                          <a:pt x="10041" y="43532"/>
                        </a:lnTo>
                        <a:cubicBezTo>
                          <a:pt x="10041" y="46328"/>
                          <a:pt x="7788" y="48552"/>
                          <a:pt x="5021" y="48552"/>
                        </a:cubicBezTo>
                        <a:close/>
                      </a:path>
                    </a:pathLst>
                  </a:custGeom>
                  <a:grpFill/>
                  <a:ln w="2848" cap="flat">
                    <a:noFill/>
                    <a:prstDash val="solid"/>
                    <a:miter/>
                  </a:ln>
                </p:spPr>
                <p:txBody>
                  <a:bodyPr rtlCol="0" anchor="ctr"/>
                  <a:lstStyle/>
                  <a:p>
                    <a:endParaRPr lang="en-GB" dirty="0"/>
                  </a:p>
                </p:txBody>
              </p:sp>
              <p:sp>
                <p:nvSpPr>
                  <p:cNvPr id="654" name="Freihandform: Form 653">
                    <a:extLst>
                      <a:ext uri="{FF2B5EF4-FFF2-40B4-BE49-F238E27FC236}">
                        <a16:creationId xmlns:a16="http://schemas.microsoft.com/office/drawing/2014/main" id="{9F3EFA16-D267-4C13-A543-865A227ED74F}"/>
                      </a:ext>
                    </a:extLst>
                  </p:cNvPr>
                  <p:cNvSpPr/>
                  <p:nvPr/>
                </p:nvSpPr>
                <p:spPr>
                  <a:xfrm>
                    <a:off x="2108568" y="4463569"/>
                    <a:ext cx="52803" cy="19940"/>
                  </a:xfrm>
                  <a:custGeom>
                    <a:avLst/>
                    <a:gdLst>
                      <a:gd name="connsiteX0" fmla="*/ 5021 w 52803"/>
                      <a:gd name="connsiteY0" fmla="*/ 19940 h 19940"/>
                      <a:gd name="connsiteX1" fmla="*/ 0 w 52803"/>
                      <a:gd name="connsiteY1" fmla="*/ 14919 h 19940"/>
                      <a:gd name="connsiteX2" fmla="*/ 5021 w 52803"/>
                      <a:gd name="connsiteY2" fmla="*/ 9899 h 19940"/>
                      <a:gd name="connsiteX3" fmla="*/ 36001 w 52803"/>
                      <a:gd name="connsiteY3" fmla="*/ 9899 h 19940"/>
                      <a:gd name="connsiteX4" fmla="*/ 42762 w 52803"/>
                      <a:gd name="connsiteY4" fmla="*/ 4935 h 19940"/>
                      <a:gd name="connsiteX5" fmla="*/ 47782 w 52803"/>
                      <a:gd name="connsiteY5" fmla="*/ 0 h 19940"/>
                      <a:gd name="connsiteX6" fmla="*/ 47868 w 52803"/>
                      <a:gd name="connsiteY6" fmla="*/ 0 h 19940"/>
                      <a:gd name="connsiteX7" fmla="*/ 52803 w 52803"/>
                      <a:gd name="connsiteY7" fmla="*/ 5078 h 19940"/>
                      <a:gd name="connsiteX8" fmla="*/ 36543 w 52803"/>
                      <a:gd name="connsiteY8" fmla="*/ 19883 h 19940"/>
                      <a:gd name="connsiteX9" fmla="*/ 5021 w 52803"/>
                      <a:gd name="connsiteY9" fmla="*/ 19940 h 19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803" h="19940">
                        <a:moveTo>
                          <a:pt x="5021" y="19940"/>
                        </a:moveTo>
                        <a:cubicBezTo>
                          <a:pt x="2254" y="19940"/>
                          <a:pt x="0" y="17687"/>
                          <a:pt x="0" y="14919"/>
                        </a:cubicBezTo>
                        <a:cubicBezTo>
                          <a:pt x="0" y="12152"/>
                          <a:pt x="2254" y="9899"/>
                          <a:pt x="5021" y="9899"/>
                        </a:cubicBezTo>
                        <a:lnTo>
                          <a:pt x="36001" y="9899"/>
                        </a:lnTo>
                        <a:cubicBezTo>
                          <a:pt x="35887" y="9870"/>
                          <a:pt x="42705" y="8986"/>
                          <a:pt x="42762" y="4935"/>
                        </a:cubicBezTo>
                        <a:cubicBezTo>
                          <a:pt x="42819" y="2197"/>
                          <a:pt x="45044" y="0"/>
                          <a:pt x="47782" y="0"/>
                        </a:cubicBezTo>
                        <a:cubicBezTo>
                          <a:pt x="47811" y="0"/>
                          <a:pt x="47839" y="0"/>
                          <a:pt x="47868" y="0"/>
                        </a:cubicBezTo>
                        <a:cubicBezTo>
                          <a:pt x="50635" y="57"/>
                          <a:pt x="52831" y="2311"/>
                          <a:pt x="52803" y="5078"/>
                        </a:cubicBezTo>
                        <a:cubicBezTo>
                          <a:pt x="52632" y="15519"/>
                          <a:pt x="42105" y="19341"/>
                          <a:pt x="36543" y="19883"/>
                        </a:cubicBezTo>
                        <a:lnTo>
                          <a:pt x="5021" y="19940"/>
                        </a:lnTo>
                        <a:close/>
                      </a:path>
                    </a:pathLst>
                  </a:custGeom>
                  <a:grpFill/>
                  <a:ln w="2848" cap="flat">
                    <a:noFill/>
                    <a:prstDash val="solid"/>
                    <a:miter/>
                  </a:ln>
                </p:spPr>
                <p:txBody>
                  <a:bodyPr rtlCol="0" anchor="ctr"/>
                  <a:lstStyle/>
                  <a:p>
                    <a:endParaRPr lang="en-GB" dirty="0"/>
                  </a:p>
                </p:txBody>
              </p:sp>
              <p:sp>
                <p:nvSpPr>
                  <p:cNvPr id="655" name="Freihandform: Form 654">
                    <a:extLst>
                      <a:ext uri="{FF2B5EF4-FFF2-40B4-BE49-F238E27FC236}">
                        <a16:creationId xmlns:a16="http://schemas.microsoft.com/office/drawing/2014/main" id="{4437CCE4-2A58-4FEB-A0D8-ED5C0589D705}"/>
                      </a:ext>
                    </a:extLst>
                  </p:cNvPr>
                  <p:cNvSpPr/>
                  <p:nvPr/>
                </p:nvSpPr>
                <p:spPr>
                  <a:xfrm>
                    <a:off x="2240362" y="4544442"/>
                    <a:ext cx="10041" cy="45272"/>
                  </a:xfrm>
                  <a:custGeom>
                    <a:avLst/>
                    <a:gdLst>
                      <a:gd name="connsiteX0" fmla="*/ 5021 w 10041"/>
                      <a:gd name="connsiteY0" fmla="*/ 45272 h 45272"/>
                      <a:gd name="connsiteX1" fmla="*/ 0 w 10041"/>
                      <a:gd name="connsiteY1" fmla="*/ 40251 h 45272"/>
                      <a:gd name="connsiteX2" fmla="*/ 0 w 10041"/>
                      <a:gd name="connsiteY2" fmla="*/ 5021 h 45272"/>
                      <a:gd name="connsiteX3" fmla="*/ 5021 w 10041"/>
                      <a:gd name="connsiteY3" fmla="*/ 0 h 45272"/>
                      <a:gd name="connsiteX4" fmla="*/ 10041 w 10041"/>
                      <a:gd name="connsiteY4" fmla="*/ 5021 h 45272"/>
                      <a:gd name="connsiteX5" fmla="*/ 10041 w 10041"/>
                      <a:gd name="connsiteY5" fmla="*/ 40251 h 45272"/>
                      <a:gd name="connsiteX6" fmla="*/ 5021 w 10041"/>
                      <a:gd name="connsiteY6" fmla="*/ 45272 h 45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45272">
                        <a:moveTo>
                          <a:pt x="5021" y="45272"/>
                        </a:moveTo>
                        <a:cubicBezTo>
                          <a:pt x="2254" y="45272"/>
                          <a:pt x="0" y="43018"/>
                          <a:pt x="0" y="40251"/>
                        </a:cubicBezTo>
                        <a:lnTo>
                          <a:pt x="0" y="5021"/>
                        </a:lnTo>
                        <a:cubicBezTo>
                          <a:pt x="0" y="2254"/>
                          <a:pt x="2254" y="0"/>
                          <a:pt x="5021" y="0"/>
                        </a:cubicBezTo>
                        <a:cubicBezTo>
                          <a:pt x="7788" y="0"/>
                          <a:pt x="10041" y="2254"/>
                          <a:pt x="10041" y="5021"/>
                        </a:cubicBezTo>
                        <a:lnTo>
                          <a:pt x="10041" y="40251"/>
                        </a:lnTo>
                        <a:cubicBezTo>
                          <a:pt x="10013" y="43018"/>
                          <a:pt x="7788" y="45272"/>
                          <a:pt x="5021" y="45272"/>
                        </a:cubicBezTo>
                        <a:close/>
                      </a:path>
                    </a:pathLst>
                  </a:custGeom>
                  <a:grpFill/>
                  <a:ln w="2848" cap="flat">
                    <a:noFill/>
                    <a:prstDash val="solid"/>
                    <a:miter/>
                  </a:ln>
                </p:spPr>
                <p:txBody>
                  <a:bodyPr rtlCol="0" anchor="ctr"/>
                  <a:lstStyle/>
                  <a:p>
                    <a:endParaRPr lang="en-GB" dirty="0"/>
                  </a:p>
                </p:txBody>
              </p:sp>
              <p:sp>
                <p:nvSpPr>
                  <p:cNvPr id="656" name="Freihandform: Form 655">
                    <a:extLst>
                      <a:ext uri="{FF2B5EF4-FFF2-40B4-BE49-F238E27FC236}">
                        <a16:creationId xmlns:a16="http://schemas.microsoft.com/office/drawing/2014/main" id="{7DFB2AFC-D017-4415-88FF-12D02B7C9AD8}"/>
                      </a:ext>
                    </a:extLst>
                  </p:cNvPr>
                  <p:cNvSpPr/>
                  <p:nvPr/>
                </p:nvSpPr>
                <p:spPr>
                  <a:xfrm>
                    <a:off x="2202849" y="4463569"/>
                    <a:ext cx="87919" cy="127428"/>
                  </a:xfrm>
                  <a:custGeom>
                    <a:avLst/>
                    <a:gdLst>
                      <a:gd name="connsiteX0" fmla="*/ 82870 w 87919"/>
                      <a:gd name="connsiteY0" fmla="*/ 127429 h 127428"/>
                      <a:gd name="connsiteX1" fmla="*/ 77850 w 87919"/>
                      <a:gd name="connsiteY1" fmla="*/ 122408 h 127428"/>
                      <a:gd name="connsiteX2" fmla="*/ 77850 w 87919"/>
                      <a:gd name="connsiteY2" fmla="*/ 47183 h 127428"/>
                      <a:gd name="connsiteX3" fmla="*/ 45215 w 87919"/>
                      <a:gd name="connsiteY3" fmla="*/ 19912 h 127428"/>
                      <a:gd name="connsiteX4" fmla="*/ 14207 w 87919"/>
                      <a:gd name="connsiteY4" fmla="*/ 19912 h 127428"/>
                      <a:gd name="connsiteX5" fmla="*/ 4279 w 87919"/>
                      <a:gd name="connsiteY5" fmla="*/ 16061 h 127428"/>
                      <a:gd name="connsiteX6" fmla="*/ 0 w 87919"/>
                      <a:gd name="connsiteY6" fmla="*/ 5049 h 127428"/>
                      <a:gd name="connsiteX7" fmla="*/ 4992 w 87919"/>
                      <a:gd name="connsiteY7" fmla="*/ 0 h 127428"/>
                      <a:gd name="connsiteX8" fmla="*/ 5021 w 87919"/>
                      <a:gd name="connsiteY8" fmla="*/ 0 h 127428"/>
                      <a:gd name="connsiteX9" fmla="*/ 10042 w 87919"/>
                      <a:gd name="connsiteY9" fmla="*/ 4992 h 127428"/>
                      <a:gd name="connsiteX10" fmla="*/ 11240 w 87919"/>
                      <a:gd name="connsiteY10" fmla="*/ 8843 h 127428"/>
                      <a:gd name="connsiteX11" fmla="*/ 14064 w 87919"/>
                      <a:gd name="connsiteY11" fmla="*/ 9927 h 127428"/>
                      <a:gd name="connsiteX12" fmla="*/ 14064 w 87919"/>
                      <a:gd name="connsiteY12" fmla="*/ 9927 h 127428"/>
                      <a:gd name="connsiteX13" fmla="*/ 45272 w 87919"/>
                      <a:gd name="connsiteY13" fmla="*/ 9927 h 127428"/>
                      <a:gd name="connsiteX14" fmla="*/ 87920 w 87919"/>
                      <a:gd name="connsiteY14" fmla="*/ 47240 h 127428"/>
                      <a:gd name="connsiteX15" fmla="*/ 87920 w 87919"/>
                      <a:gd name="connsiteY15" fmla="*/ 122465 h 127428"/>
                      <a:gd name="connsiteX16" fmla="*/ 82870 w 87919"/>
                      <a:gd name="connsiteY16" fmla="*/ 127429 h 127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7919" h="127428">
                        <a:moveTo>
                          <a:pt x="82870" y="127429"/>
                        </a:moveTo>
                        <a:cubicBezTo>
                          <a:pt x="80103" y="127429"/>
                          <a:pt x="77850" y="125175"/>
                          <a:pt x="77850" y="122408"/>
                        </a:cubicBezTo>
                        <a:lnTo>
                          <a:pt x="77850" y="47183"/>
                        </a:lnTo>
                        <a:cubicBezTo>
                          <a:pt x="77850" y="20226"/>
                          <a:pt x="46556" y="19912"/>
                          <a:pt x="45215" y="19912"/>
                        </a:cubicBezTo>
                        <a:lnTo>
                          <a:pt x="14207" y="19912"/>
                        </a:lnTo>
                        <a:cubicBezTo>
                          <a:pt x="13750" y="19912"/>
                          <a:pt x="8387" y="19997"/>
                          <a:pt x="4279" y="16061"/>
                        </a:cubicBezTo>
                        <a:cubicBezTo>
                          <a:pt x="2339" y="14206"/>
                          <a:pt x="29" y="10783"/>
                          <a:pt x="0" y="5049"/>
                        </a:cubicBezTo>
                        <a:cubicBezTo>
                          <a:pt x="-28" y="2282"/>
                          <a:pt x="2225" y="29"/>
                          <a:pt x="4992" y="0"/>
                        </a:cubicBezTo>
                        <a:cubicBezTo>
                          <a:pt x="4992" y="0"/>
                          <a:pt x="5021" y="0"/>
                          <a:pt x="5021" y="0"/>
                        </a:cubicBezTo>
                        <a:cubicBezTo>
                          <a:pt x="7788" y="0"/>
                          <a:pt x="10013" y="2225"/>
                          <a:pt x="10042" y="4992"/>
                        </a:cubicBezTo>
                        <a:cubicBezTo>
                          <a:pt x="10042" y="6789"/>
                          <a:pt x="10441" y="8102"/>
                          <a:pt x="11240" y="8843"/>
                        </a:cubicBezTo>
                        <a:cubicBezTo>
                          <a:pt x="12295" y="9842"/>
                          <a:pt x="14035" y="9927"/>
                          <a:pt x="14064" y="9927"/>
                        </a:cubicBezTo>
                        <a:lnTo>
                          <a:pt x="14064" y="9927"/>
                        </a:lnTo>
                        <a:lnTo>
                          <a:pt x="45272" y="9927"/>
                        </a:lnTo>
                        <a:cubicBezTo>
                          <a:pt x="60020" y="9927"/>
                          <a:pt x="87920" y="17715"/>
                          <a:pt x="87920" y="47240"/>
                        </a:cubicBezTo>
                        <a:lnTo>
                          <a:pt x="87920" y="122465"/>
                        </a:lnTo>
                        <a:cubicBezTo>
                          <a:pt x="87891" y="125204"/>
                          <a:pt x="85637" y="127429"/>
                          <a:pt x="82870" y="127429"/>
                        </a:cubicBezTo>
                        <a:close/>
                      </a:path>
                    </a:pathLst>
                  </a:custGeom>
                  <a:grpFill/>
                  <a:ln w="2848" cap="flat">
                    <a:noFill/>
                    <a:prstDash val="solid"/>
                    <a:miter/>
                  </a:ln>
                </p:spPr>
                <p:txBody>
                  <a:bodyPr rtlCol="0" anchor="ctr"/>
                  <a:lstStyle/>
                  <a:p>
                    <a:endParaRPr lang="en-GB" dirty="0"/>
                  </a:p>
                </p:txBody>
              </p:sp>
            </p:grpSp>
            <p:sp>
              <p:nvSpPr>
                <p:cNvPr id="652" name="Freihandform: Form 651">
                  <a:extLst>
                    <a:ext uri="{FF2B5EF4-FFF2-40B4-BE49-F238E27FC236}">
                      <a16:creationId xmlns:a16="http://schemas.microsoft.com/office/drawing/2014/main" id="{EAEC4E2A-6261-447B-9588-BC8A32E6A675}"/>
                    </a:ext>
                  </a:extLst>
                </p:cNvPr>
                <p:cNvSpPr/>
                <p:nvPr/>
              </p:nvSpPr>
              <p:spPr>
                <a:xfrm>
                  <a:off x="2122974" y="4324073"/>
                  <a:ext cx="115704" cy="129796"/>
                </a:xfrm>
                <a:custGeom>
                  <a:avLst/>
                  <a:gdLst>
                    <a:gd name="connsiteX0" fmla="*/ 57852 w 115704"/>
                    <a:gd name="connsiteY0" fmla="*/ 129797 h 129796"/>
                    <a:gd name="connsiteX1" fmla="*/ 0 w 115704"/>
                    <a:gd name="connsiteY1" fmla="*/ 64898 h 129796"/>
                    <a:gd name="connsiteX2" fmla="*/ 57852 w 115704"/>
                    <a:gd name="connsiteY2" fmla="*/ 0 h 129796"/>
                    <a:gd name="connsiteX3" fmla="*/ 115704 w 115704"/>
                    <a:gd name="connsiteY3" fmla="*/ 64898 h 129796"/>
                    <a:gd name="connsiteX4" fmla="*/ 57852 w 115704"/>
                    <a:gd name="connsiteY4" fmla="*/ 129797 h 129796"/>
                    <a:gd name="connsiteX5" fmla="*/ 57852 w 115704"/>
                    <a:gd name="connsiteY5" fmla="*/ 10013 h 129796"/>
                    <a:gd name="connsiteX6" fmla="*/ 10041 w 115704"/>
                    <a:gd name="connsiteY6" fmla="*/ 64898 h 129796"/>
                    <a:gd name="connsiteX7" fmla="*/ 57852 w 115704"/>
                    <a:gd name="connsiteY7" fmla="*/ 119784 h 129796"/>
                    <a:gd name="connsiteX8" fmla="*/ 105691 w 115704"/>
                    <a:gd name="connsiteY8" fmla="*/ 64898 h 129796"/>
                    <a:gd name="connsiteX9" fmla="*/ 57852 w 115704"/>
                    <a:gd name="connsiteY9" fmla="*/ 10013 h 12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5704" h="129796">
                      <a:moveTo>
                        <a:pt x="57852" y="129797"/>
                      </a:moveTo>
                      <a:cubicBezTo>
                        <a:pt x="25959" y="129797"/>
                        <a:pt x="0" y="100671"/>
                        <a:pt x="0" y="64898"/>
                      </a:cubicBezTo>
                      <a:cubicBezTo>
                        <a:pt x="0" y="29126"/>
                        <a:pt x="25959" y="0"/>
                        <a:pt x="57852" y="0"/>
                      </a:cubicBezTo>
                      <a:cubicBezTo>
                        <a:pt x="89745" y="0"/>
                        <a:pt x="115704" y="29126"/>
                        <a:pt x="115704" y="64898"/>
                      </a:cubicBezTo>
                      <a:cubicBezTo>
                        <a:pt x="115704" y="100671"/>
                        <a:pt x="89745" y="129797"/>
                        <a:pt x="57852" y="129797"/>
                      </a:cubicBezTo>
                      <a:close/>
                      <a:moveTo>
                        <a:pt x="57852" y="10013"/>
                      </a:moveTo>
                      <a:cubicBezTo>
                        <a:pt x="31493" y="10013"/>
                        <a:pt x="10041" y="34631"/>
                        <a:pt x="10041" y="64898"/>
                      </a:cubicBezTo>
                      <a:cubicBezTo>
                        <a:pt x="10041" y="95165"/>
                        <a:pt x="31493" y="119784"/>
                        <a:pt x="57852" y="119784"/>
                      </a:cubicBezTo>
                      <a:cubicBezTo>
                        <a:pt x="84239" y="119784"/>
                        <a:pt x="105691" y="95165"/>
                        <a:pt x="105691" y="64898"/>
                      </a:cubicBezTo>
                      <a:cubicBezTo>
                        <a:pt x="105691" y="34631"/>
                        <a:pt x="84211" y="10013"/>
                        <a:pt x="57852" y="10013"/>
                      </a:cubicBezTo>
                      <a:close/>
                    </a:path>
                  </a:pathLst>
                </a:custGeom>
                <a:grpFill/>
                <a:ln w="2848" cap="flat">
                  <a:noFill/>
                  <a:prstDash val="solid"/>
                  <a:miter/>
                </a:ln>
              </p:spPr>
              <p:txBody>
                <a:bodyPr rtlCol="0" anchor="ctr"/>
                <a:lstStyle/>
                <a:p>
                  <a:endParaRPr lang="en-GB" dirty="0"/>
                </a:p>
              </p:txBody>
            </p:sp>
          </p:grpSp>
          <p:sp>
            <p:nvSpPr>
              <p:cNvPr id="644" name="Freihandform: Form 643">
                <a:extLst>
                  <a:ext uri="{FF2B5EF4-FFF2-40B4-BE49-F238E27FC236}">
                    <a16:creationId xmlns:a16="http://schemas.microsoft.com/office/drawing/2014/main" id="{55A5803C-F96C-46BE-9680-C8523BC06487}"/>
                  </a:ext>
                </a:extLst>
              </p:cNvPr>
              <p:cNvSpPr/>
              <p:nvPr/>
            </p:nvSpPr>
            <p:spPr>
              <a:xfrm>
                <a:off x="1789468" y="4254795"/>
                <a:ext cx="42740" cy="173457"/>
              </a:xfrm>
              <a:custGeom>
                <a:avLst/>
                <a:gdLst>
                  <a:gd name="connsiteX0" fmla="*/ 37741 w 42740"/>
                  <a:gd name="connsiteY0" fmla="*/ 173458 h 173457"/>
                  <a:gd name="connsiteX1" fmla="*/ 33776 w 42740"/>
                  <a:gd name="connsiteY1" fmla="*/ 171518 h 173457"/>
                  <a:gd name="connsiteX2" fmla="*/ 0 w 42740"/>
                  <a:gd name="connsiteY2" fmla="*/ 72958 h 173457"/>
                  <a:gd name="connsiteX3" fmla="*/ 16089 w 42740"/>
                  <a:gd name="connsiteY3" fmla="*/ 2811 h 173457"/>
                  <a:gd name="connsiteX4" fmla="*/ 22793 w 42740"/>
                  <a:gd name="connsiteY4" fmla="*/ 500 h 173457"/>
                  <a:gd name="connsiteX5" fmla="*/ 25103 w 42740"/>
                  <a:gd name="connsiteY5" fmla="*/ 7204 h 173457"/>
                  <a:gd name="connsiteX6" fmla="*/ 10013 w 42740"/>
                  <a:gd name="connsiteY6" fmla="*/ 72987 h 173457"/>
                  <a:gd name="connsiteX7" fmla="*/ 41678 w 42740"/>
                  <a:gd name="connsiteY7" fmla="*/ 165384 h 173457"/>
                  <a:gd name="connsiteX8" fmla="*/ 40793 w 42740"/>
                  <a:gd name="connsiteY8" fmla="*/ 172431 h 173457"/>
                  <a:gd name="connsiteX9" fmla="*/ 37741 w 42740"/>
                  <a:gd name="connsiteY9" fmla="*/ 173458 h 173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2740" h="173457">
                    <a:moveTo>
                      <a:pt x="37741" y="173458"/>
                    </a:moveTo>
                    <a:cubicBezTo>
                      <a:pt x="36257" y="173458"/>
                      <a:pt x="34774" y="172802"/>
                      <a:pt x="33776" y="171518"/>
                    </a:cubicBezTo>
                    <a:cubicBezTo>
                      <a:pt x="11667" y="143105"/>
                      <a:pt x="0" y="109016"/>
                      <a:pt x="0" y="72958"/>
                    </a:cubicBezTo>
                    <a:cubicBezTo>
                      <a:pt x="0" y="48368"/>
                      <a:pt x="5420" y="24748"/>
                      <a:pt x="16089" y="2811"/>
                    </a:cubicBezTo>
                    <a:cubicBezTo>
                      <a:pt x="17287" y="329"/>
                      <a:pt x="20282" y="-698"/>
                      <a:pt x="22793" y="500"/>
                    </a:cubicBezTo>
                    <a:cubicBezTo>
                      <a:pt x="25275" y="1727"/>
                      <a:pt x="26302" y="4694"/>
                      <a:pt x="25103" y="7204"/>
                    </a:cubicBezTo>
                    <a:cubicBezTo>
                      <a:pt x="15091" y="27772"/>
                      <a:pt x="10013" y="49908"/>
                      <a:pt x="10013" y="72987"/>
                    </a:cubicBezTo>
                    <a:cubicBezTo>
                      <a:pt x="10013" y="106791"/>
                      <a:pt x="20967" y="138769"/>
                      <a:pt x="41678" y="165384"/>
                    </a:cubicBezTo>
                    <a:cubicBezTo>
                      <a:pt x="43389" y="167581"/>
                      <a:pt x="42990" y="170719"/>
                      <a:pt x="40793" y="172431"/>
                    </a:cubicBezTo>
                    <a:cubicBezTo>
                      <a:pt x="39909" y="173115"/>
                      <a:pt x="38825" y="173458"/>
                      <a:pt x="37741" y="173458"/>
                    </a:cubicBezTo>
                    <a:close/>
                  </a:path>
                </a:pathLst>
              </a:custGeom>
              <a:grpFill/>
              <a:ln w="2848" cap="flat">
                <a:noFill/>
                <a:prstDash val="solid"/>
                <a:miter/>
              </a:ln>
            </p:spPr>
            <p:txBody>
              <a:bodyPr rtlCol="0" anchor="ctr"/>
              <a:lstStyle/>
              <a:p>
                <a:endParaRPr lang="en-GB" dirty="0"/>
              </a:p>
            </p:txBody>
          </p:sp>
          <p:sp>
            <p:nvSpPr>
              <p:cNvPr id="645" name="Freihandform: Form 644">
                <a:extLst>
                  <a:ext uri="{FF2B5EF4-FFF2-40B4-BE49-F238E27FC236}">
                    <a16:creationId xmlns:a16="http://schemas.microsoft.com/office/drawing/2014/main" id="{48BFC756-41BE-490A-9402-BF5630DF3B92}"/>
                  </a:ext>
                </a:extLst>
              </p:cNvPr>
              <p:cNvSpPr/>
              <p:nvPr/>
            </p:nvSpPr>
            <p:spPr>
              <a:xfrm>
                <a:off x="1829488" y="4167119"/>
                <a:ext cx="281276" cy="260734"/>
              </a:xfrm>
              <a:custGeom>
                <a:avLst/>
                <a:gdLst>
                  <a:gd name="connsiteX0" fmla="*/ 243850 w 281276"/>
                  <a:gd name="connsiteY0" fmla="*/ 260734 h 260734"/>
                  <a:gd name="connsiteX1" fmla="*/ 240798 w 281276"/>
                  <a:gd name="connsiteY1" fmla="*/ 259679 h 260734"/>
                  <a:gd name="connsiteX2" fmla="*/ 239885 w 281276"/>
                  <a:gd name="connsiteY2" fmla="*/ 252661 h 260734"/>
                  <a:gd name="connsiteX3" fmla="*/ 271264 w 281276"/>
                  <a:gd name="connsiteY3" fmla="*/ 160634 h 260734"/>
                  <a:gd name="connsiteX4" fmla="*/ 120615 w 281276"/>
                  <a:gd name="connsiteY4" fmla="*/ 10013 h 260734"/>
                  <a:gd name="connsiteX5" fmla="*/ 8733 w 281276"/>
                  <a:gd name="connsiteY5" fmla="*/ 59820 h 260734"/>
                  <a:gd name="connsiteX6" fmla="*/ 1658 w 281276"/>
                  <a:gd name="connsiteY6" fmla="*/ 60191 h 260734"/>
                  <a:gd name="connsiteX7" fmla="*/ 1287 w 281276"/>
                  <a:gd name="connsiteY7" fmla="*/ 53117 h 260734"/>
                  <a:gd name="connsiteX8" fmla="*/ 120615 w 281276"/>
                  <a:gd name="connsiteY8" fmla="*/ 0 h 260734"/>
                  <a:gd name="connsiteX9" fmla="*/ 281277 w 281276"/>
                  <a:gd name="connsiteY9" fmla="*/ 160634 h 260734"/>
                  <a:gd name="connsiteX10" fmla="*/ 247815 w 281276"/>
                  <a:gd name="connsiteY10" fmla="*/ 258794 h 260734"/>
                  <a:gd name="connsiteX11" fmla="*/ 243850 w 281276"/>
                  <a:gd name="connsiteY11" fmla="*/ 260734 h 260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81276" h="260734">
                    <a:moveTo>
                      <a:pt x="243850" y="260734"/>
                    </a:moveTo>
                    <a:cubicBezTo>
                      <a:pt x="242766" y="260734"/>
                      <a:pt x="241710" y="260392"/>
                      <a:pt x="240798" y="259679"/>
                    </a:cubicBezTo>
                    <a:cubicBezTo>
                      <a:pt x="238601" y="257996"/>
                      <a:pt x="238202" y="254829"/>
                      <a:pt x="239885" y="252661"/>
                    </a:cubicBezTo>
                    <a:cubicBezTo>
                      <a:pt x="260395" y="226103"/>
                      <a:pt x="271264" y="194295"/>
                      <a:pt x="271264" y="160634"/>
                    </a:cubicBezTo>
                    <a:cubicBezTo>
                      <a:pt x="271264" y="77593"/>
                      <a:pt x="203684" y="10013"/>
                      <a:pt x="120615" y="10013"/>
                    </a:cubicBezTo>
                    <a:cubicBezTo>
                      <a:pt x="78024" y="10013"/>
                      <a:pt x="37259" y="28184"/>
                      <a:pt x="8733" y="59820"/>
                    </a:cubicBezTo>
                    <a:cubicBezTo>
                      <a:pt x="6878" y="61874"/>
                      <a:pt x="3712" y="62046"/>
                      <a:pt x="1658" y="60191"/>
                    </a:cubicBezTo>
                    <a:cubicBezTo>
                      <a:pt x="-396" y="58337"/>
                      <a:pt x="-567" y="55171"/>
                      <a:pt x="1287" y="53117"/>
                    </a:cubicBezTo>
                    <a:cubicBezTo>
                      <a:pt x="31725" y="19341"/>
                      <a:pt x="75200" y="0"/>
                      <a:pt x="120615" y="0"/>
                    </a:cubicBezTo>
                    <a:cubicBezTo>
                      <a:pt x="209219" y="0"/>
                      <a:pt x="281277" y="72059"/>
                      <a:pt x="281277" y="160634"/>
                    </a:cubicBezTo>
                    <a:cubicBezTo>
                      <a:pt x="281277" y="196520"/>
                      <a:pt x="269695" y="230467"/>
                      <a:pt x="247815" y="258794"/>
                    </a:cubicBezTo>
                    <a:cubicBezTo>
                      <a:pt x="246817" y="260050"/>
                      <a:pt x="245333" y="260734"/>
                      <a:pt x="243850" y="260734"/>
                    </a:cubicBezTo>
                    <a:close/>
                  </a:path>
                </a:pathLst>
              </a:custGeom>
              <a:grpFill/>
              <a:ln w="2848" cap="flat">
                <a:noFill/>
                <a:prstDash val="solid"/>
                <a:miter/>
              </a:ln>
            </p:spPr>
            <p:txBody>
              <a:bodyPr rtlCol="0" anchor="ctr"/>
              <a:lstStyle/>
              <a:p>
                <a:endParaRPr lang="en-GB" dirty="0"/>
              </a:p>
            </p:txBody>
          </p:sp>
          <p:sp>
            <p:nvSpPr>
              <p:cNvPr id="646" name="Freihandform: Form 645">
                <a:extLst>
                  <a:ext uri="{FF2B5EF4-FFF2-40B4-BE49-F238E27FC236}">
                    <a16:creationId xmlns:a16="http://schemas.microsoft.com/office/drawing/2014/main" id="{F53AE631-C8CF-4BB6-A6E0-353714822BD8}"/>
                  </a:ext>
                </a:extLst>
              </p:cNvPr>
              <p:cNvSpPr/>
              <p:nvPr/>
            </p:nvSpPr>
            <p:spPr>
              <a:xfrm>
                <a:off x="1833057" y="4275632"/>
                <a:ext cx="38856" cy="130483"/>
              </a:xfrm>
              <a:custGeom>
                <a:avLst/>
                <a:gdLst>
                  <a:gd name="connsiteX0" fmla="*/ 33833 w 38856"/>
                  <a:gd name="connsiteY0" fmla="*/ 130484 h 130483"/>
                  <a:gd name="connsiteX1" fmla="*/ 30124 w 38856"/>
                  <a:gd name="connsiteY1" fmla="*/ 128829 h 130483"/>
                  <a:gd name="connsiteX2" fmla="*/ 0 w 38856"/>
                  <a:gd name="connsiteY2" fmla="*/ 50495 h 130483"/>
                  <a:gd name="connsiteX3" fmla="*/ 10070 w 38856"/>
                  <a:gd name="connsiteY3" fmla="*/ 2969 h 130483"/>
                  <a:gd name="connsiteX4" fmla="*/ 16688 w 38856"/>
                  <a:gd name="connsiteY4" fmla="*/ 431 h 130483"/>
                  <a:gd name="connsiteX5" fmla="*/ 19227 w 38856"/>
                  <a:gd name="connsiteY5" fmla="*/ 7049 h 130483"/>
                  <a:gd name="connsiteX6" fmla="*/ 10041 w 38856"/>
                  <a:gd name="connsiteY6" fmla="*/ 50524 h 130483"/>
                  <a:gd name="connsiteX7" fmla="*/ 37570 w 38856"/>
                  <a:gd name="connsiteY7" fmla="*/ 122154 h 130483"/>
                  <a:gd name="connsiteX8" fmla="*/ 37199 w 38856"/>
                  <a:gd name="connsiteY8" fmla="*/ 129229 h 130483"/>
                  <a:gd name="connsiteX9" fmla="*/ 33833 w 38856"/>
                  <a:gd name="connsiteY9" fmla="*/ 130484 h 130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8856" h="130483">
                    <a:moveTo>
                      <a:pt x="33833" y="130484"/>
                    </a:moveTo>
                    <a:cubicBezTo>
                      <a:pt x="32463" y="130484"/>
                      <a:pt x="31094" y="129942"/>
                      <a:pt x="30124" y="128829"/>
                    </a:cubicBezTo>
                    <a:cubicBezTo>
                      <a:pt x="10698" y="107320"/>
                      <a:pt x="0" y="79478"/>
                      <a:pt x="0" y="50495"/>
                    </a:cubicBezTo>
                    <a:cubicBezTo>
                      <a:pt x="0" y="33950"/>
                      <a:pt x="3395" y="17946"/>
                      <a:pt x="10070" y="2969"/>
                    </a:cubicBezTo>
                    <a:cubicBezTo>
                      <a:pt x="11211" y="431"/>
                      <a:pt x="14149" y="-682"/>
                      <a:pt x="16688" y="431"/>
                    </a:cubicBezTo>
                    <a:cubicBezTo>
                      <a:pt x="19227" y="1572"/>
                      <a:pt x="20340" y="4510"/>
                      <a:pt x="19227" y="7049"/>
                    </a:cubicBezTo>
                    <a:cubicBezTo>
                      <a:pt x="13122" y="20742"/>
                      <a:pt x="10041" y="35376"/>
                      <a:pt x="10041" y="50524"/>
                    </a:cubicBezTo>
                    <a:cubicBezTo>
                      <a:pt x="10041" y="77053"/>
                      <a:pt x="19826" y="102471"/>
                      <a:pt x="37570" y="122154"/>
                    </a:cubicBezTo>
                    <a:cubicBezTo>
                      <a:pt x="39424" y="124208"/>
                      <a:pt x="39253" y="127375"/>
                      <a:pt x="37199" y="129229"/>
                    </a:cubicBezTo>
                    <a:cubicBezTo>
                      <a:pt x="36257" y="130056"/>
                      <a:pt x="35031" y="130484"/>
                      <a:pt x="33833" y="130484"/>
                    </a:cubicBezTo>
                    <a:close/>
                  </a:path>
                </a:pathLst>
              </a:custGeom>
              <a:grpFill/>
              <a:ln w="2848" cap="flat">
                <a:noFill/>
                <a:prstDash val="solid"/>
                <a:miter/>
              </a:ln>
            </p:spPr>
            <p:txBody>
              <a:bodyPr rtlCol="0" anchor="ctr"/>
              <a:lstStyle/>
              <a:p>
                <a:endParaRPr lang="en-GB" dirty="0"/>
              </a:p>
            </p:txBody>
          </p:sp>
          <p:sp>
            <p:nvSpPr>
              <p:cNvPr id="647" name="Freihandform: Form 646">
                <a:extLst>
                  <a:ext uri="{FF2B5EF4-FFF2-40B4-BE49-F238E27FC236}">
                    <a16:creationId xmlns:a16="http://schemas.microsoft.com/office/drawing/2014/main" id="{6189F2FD-B688-44E4-85EE-91C87AA5B7DD}"/>
                  </a:ext>
                </a:extLst>
              </p:cNvPr>
              <p:cNvSpPr/>
              <p:nvPr/>
            </p:nvSpPr>
            <p:spPr>
              <a:xfrm>
                <a:off x="1865870" y="4209082"/>
                <a:ext cx="201248" cy="210013"/>
              </a:xfrm>
              <a:custGeom>
                <a:avLst/>
                <a:gdLst>
                  <a:gd name="connsiteX0" fmla="*/ 153552 w 201248"/>
                  <a:gd name="connsiteY0" fmla="*/ 210014 h 210013"/>
                  <a:gd name="connsiteX1" fmla="*/ 149616 w 201248"/>
                  <a:gd name="connsiteY1" fmla="*/ 208102 h 210013"/>
                  <a:gd name="connsiteX2" fmla="*/ 150443 w 201248"/>
                  <a:gd name="connsiteY2" fmla="*/ 201056 h 210013"/>
                  <a:gd name="connsiteX3" fmla="*/ 191236 w 201248"/>
                  <a:gd name="connsiteY3" fmla="*/ 117017 h 210013"/>
                  <a:gd name="connsiteX4" fmla="*/ 84204 w 201248"/>
                  <a:gd name="connsiteY4" fmla="*/ 10013 h 210013"/>
                  <a:gd name="connsiteX5" fmla="*/ 8551 w 201248"/>
                  <a:gd name="connsiteY5" fmla="*/ 41335 h 210013"/>
                  <a:gd name="connsiteX6" fmla="*/ 1476 w 201248"/>
                  <a:gd name="connsiteY6" fmla="*/ 41335 h 210013"/>
                  <a:gd name="connsiteX7" fmla="*/ 1476 w 201248"/>
                  <a:gd name="connsiteY7" fmla="*/ 34261 h 210013"/>
                  <a:gd name="connsiteX8" fmla="*/ 84204 w 201248"/>
                  <a:gd name="connsiteY8" fmla="*/ 0 h 210013"/>
                  <a:gd name="connsiteX9" fmla="*/ 201249 w 201248"/>
                  <a:gd name="connsiteY9" fmla="*/ 117017 h 210013"/>
                  <a:gd name="connsiteX10" fmla="*/ 156633 w 201248"/>
                  <a:gd name="connsiteY10" fmla="*/ 208930 h 210013"/>
                  <a:gd name="connsiteX11" fmla="*/ 153552 w 201248"/>
                  <a:gd name="connsiteY11" fmla="*/ 210014 h 21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1248" h="210013">
                    <a:moveTo>
                      <a:pt x="153552" y="210014"/>
                    </a:moveTo>
                    <a:cubicBezTo>
                      <a:pt x="152069" y="210014"/>
                      <a:pt x="150614" y="209358"/>
                      <a:pt x="149616" y="208102"/>
                    </a:cubicBezTo>
                    <a:cubicBezTo>
                      <a:pt x="147904" y="205934"/>
                      <a:pt x="148275" y="202768"/>
                      <a:pt x="150443" y="201056"/>
                    </a:cubicBezTo>
                    <a:cubicBezTo>
                      <a:pt x="176374" y="180603"/>
                      <a:pt x="191236" y="149965"/>
                      <a:pt x="191236" y="117017"/>
                    </a:cubicBezTo>
                    <a:cubicBezTo>
                      <a:pt x="191236" y="58023"/>
                      <a:pt x="143226" y="10013"/>
                      <a:pt x="84204" y="10013"/>
                    </a:cubicBezTo>
                    <a:cubicBezTo>
                      <a:pt x="55620" y="10013"/>
                      <a:pt x="28776" y="21138"/>
                      <a:pt x="8551" y="41335"/>
                    </a:cubicBezTo>
                    <a:cubicBezTo>
                      <a:pt x="6583" y="43304"/>
                      <a:pt x="3416" y="43304"/>
                      <a:pt x="1476" y="41335"/>
                    </a:cubicBezTo>
                    <a:cubicBezTo>
                      <a:pt x="-492" y="39367"/>
                      <a:pt x="-492" y="36200"/>
                      <a:pt x="1476" y="34261"/>
                    </a:cubicBezTo>
                    <a:cubicBezTo>
                      <a:pt x="23584" y="12181"/>
                      <a:pt x="52967" y="0"/>
                      <a:pt x="84204" y="0"/>
                    </a:cubicBezTo>
                    <a:cubicBezTo>
                      <a:pt x="148760" y="0"/>
                      <a:pt x="201249" y="52489"/>
                      <a:pt x="201249" y="117017"/>
                    </a:cubicBezTo>
                    <a:cubicBezTo>
                      <a:pt x="201249" y="153075"/>
                      <a:pt x="184989" y="186565"/>
                      <a:pt x="156633" y="208930"/>
                    </a:cubicBezTo>
                    <a:cubicBezTo>
                      <a:pt x="155749" y="209671"/>
                      <a:pt x="154636" y="210014"/>
                      <a:pt x="153552" y="210014"/>
                    </a:cubicBezTo>
                    <a:close/>
                  </a:path>
                </a:pathLst>
              </a:custGeom>
              <a:grpFill/>
              <a:ln w="2848" cap="flat">
                <a:noFill/>
                <a:prstDash val="solid"/>
                <a:miter/>
              </a:ln>
            </p:spPr>
            <p:txBody>
              <a:bodyPr rtlCol="0" anchor="ctr"/>
              <a:lstStyle/>
              <a:p>
                <a:endParaRPr lang="en-GB" dirty="0"/>
              </a:p>
            </p:txBody>
          </p:sp>
          <p:sp>
            <p:nvSpPr>
              <p:cNvPr id="648" name="Freihandform: Form 647">
                <a:extLst>
                  <a:ext uri="{FF2B5EF4-FFF2-40B4-BE49-F238E27FC236}">
                    <a16:creationId xmlns:a16="http://schemas.microsoft.com/office/drawing/2014/main" id="{54C929FC-AE1B-4D04-98E9-FAABC68E6EBE}"/>
                  </a:ext>
                </a:extLst>
              </p:cNvPr>
              <p:cNvSpPr/>
              <p:nvPr/>
            </p:nvSpPr>
            <p:spPr>
              <a:xfrm>
                <a:off x="1945823" y="4152628"/>
                <a:ext cx="10041" cy="72714"/>
              </a:xfrm>
              <a:custGeom>
                <a:avLst/>
                <a:gdLst>
                  <a:gd name="connsiteX0" fmla="*/ 5021 w 10041"/>
                  <a:gd name="connsiteY0" fmla="*/ 72715 h 72714"/>
                  <a:gd name="connsiteX1" fmla="*/ 0 w 10041"/>
                  <a:gd name="connsiteY1" fmla="*/ 67694 h 72714"/>
                  <a:gd name="connsiteX2" fmla="*/ 0 w 10041"/>
                  <a:gd name="connsiteY2" fmla="*/ 5021 h 72714"/>
                  <a:gd name="connsiteX3" fmla="*/ 5021 w 10041"/>
                  <a:gd name="connsiteY3" fmla="*/ 0 h 72714"/>
                  <a:gd name="connsiteX4" fmla="*/ 10041 w 10041"/>
                  <a:gd name="connsiteY4" fmla="*/ 5021 h 72714"/>
                  <a:gd name="connsiteX5" fmla="*/ 10041 w 10041"/>
                  <a:gd name="connsiteY5" fmla="*/ 67722 h 72714"/>
                  <a:gd name="connsiteX6" fmla="*/ 5021 w 10041"/>
                  <a:gd name="connsiteY6" fmla="*/ 72715 h 72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41" h="72714">
                    <a:moveTo>
                      <a:pt x="5021" y="72715"/>
                    </a:moveTo>
                    <a:cubicBezTo>
                      <a:pt x="2254" y="72715"/>
                      <a:pt x="0" y="70461"/>
                      <a:pt x="0" y="67694"/>
                    </a:cubicBezTo>
                    <a:lnTo>
                      <a:pt x="0" y="5021"/>
                    </a:lnTo>
                    <a:cubicBezTo>
                      <a:pt x="0" y="2254"/>
                      <a:pt x="2254" y="0"/>
                      <a:pt x="5021" y="0"/>
                    </a:cubicBezTo>
                    <a:cubicBezTo>
                      <a:pt x="7788" y="0"/>
                      <a:pt x="10041" y="2254"/>
                      <a:pt x="10041" y="5021"/>
                    </a:cubicBezTo>
                    <a:lnTo>
                      <a:pt x="10041" y="67722"/>
                    </a:lnTo>
                    <a:cubicBezTo>
                      <a:pt x="10041" y="70490"/>
                      <a:pt x="7788" y="72715"/>
                      <a:pt x="5021" y="72715"/>
                    </a:cubicBezTo>
                    <a:close/>
                  </a:path>
                </a:pathLst>
              </a:custGeom>
              <a:grpFill/>
              <a:ln w="2848" cap="flat">
                <a:noFill/>
                <a:prstDash val="solid"/>
                <a:miter/>
              </a:ln>
            </p:spPr>
            <p:txBody>
              <a:bodyPr rtlCol="0" anchor="ctr"/>
              <a:lstStyle/>
              <a:p>
                <a:endParaRPr lang="en-GB" dirty="0"/>
              </a:p>
            </p:txBody>
          </p:sp>
          <p:sp>
            <p:nvSpPr>
              <p:cNvPr id="649" name="Freihandform: Form 648">
                <a:extLst>
                  <a:ext uri="{FF2B5EF4-FFF2-40B4-BE49-F238E27FC236}">
                    <a16:creationId xmlns:a16="http://schemas.microsoft.com/office/drawing/2014/main" id="{88E52C61-1D35-40EC-80D3-1BB6611FA740}"/>
                  </a:ext>
                </a:extLst>
              </p:cNvPr>
              <p:cNvSpPr/>
              <p:nvPr/>
            </p:nvSpPr>
            <p:spPr>
              <a:xfrm>
                <a:off x="2042558" y="4322904"/>
                <a:ext cx="76308" cy="10041"/>
              </a:xfrm>
              <a:custGeom>
                <a:avLst/>
                <a:gdLst>
                  <a:gd name="connsiteX0" fmla="*/ 71288 w 76308"/>
                  <a:gd name="connsiteY0" fmla="*/ 10041 h 10041"/>
                  <a:gd name="connsiteX1" fmla="*/ 5021 w 76308"/>
                  <a:gd name="connsiteY1" fmla="*/ 10041 h 10041"/>
                  <a:gd name="connsiteX2" fmla="*/ 0 w 76308"/>
                  <a:gd name="connsiteY2" fmla="*/ 5021 h 10041"/>
                  <a:gd name="connsiteX3" fmla="*/ 5021 w 76308"/>
                  <a:gd name="connsiteY3" fmla="*/ 0 h 10041"/>
                  <a:gd name="connsiteX4" fmla="*/ 71288 w 76308"/>
                  <a:gd name="connsiteY4" fmla="*/ 0 h 10041"/>
                  <a:gd name="connsiteX5" fmla="*/ 76309 w 76308"/>
                  <a:gd name="connsiteY5" fmla="*/ 5021 h 10041"/>
                  <a:gd name="connsiteX6" fmla="*/ 71288 w 76308"/>
                  <a:gd name="connsiteY6" fmla="*/ 10041 h 1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308" h="10041">
                    <a:moveTo>
                      <a:pt x="71288" y="10041"/>
                    </a:moveTo>
                    <a:lnTo>
                      <a:pt x="5021" y="10041"/>
                    </a:lnTo>
                    <a:cubicBezTo>
                      <a:pt x="2254" y="10041"/>
                      <a:pt x="0" y="7788"/>
                      <a:pt x="0" y="5021"/>
                    </a:cubicBezTo>
                    <a:cubicBezTo>
                      <a:pt x="0" y="2254"/>
                      <a:pt x="2254" y="0"/>
                      <a:pt x="5021" y="0"/>
                    </a:cubicBezTo>
                    <a:lnTo>
                      <a:pt x="71288" y="0"/>
                    </a:lnTo>
                    <a:cubicBezTo>
                      <a:pt x="74055" y="0"/>
                      <a:pt x="76309" y="2254"/>
                      <a:pt x="76309" y="5021"/>
                    </a:cubicBezTo>
                    <a:cubicBezTo>
                      <a:pt x="76309" y="7788"/>
                      <a:pt x="74055" y="10041"/>
                      <a:pt x="71288" y="10041"/>
                    </a:cubicBezTo>
                    <a:close/>
                  </a:path>
                </a:pathLst>
              </a:custGeom>
              <a:grpFill/>
              <a:ln w="2848" cap="flat">
                <a:noFill/>
                <a:prstDash val="solid"/>
                <a:miter/>
              </a:ln>
            </p:spPr>
            <p:txBody>
              <a:bodyPr rtlCol="0" anchor="ctr"/>
              <a:lstStyle/>
              <a:p>
                <a:endParaRPr lang="en-GB" dirty="0"/>
              </a:p>
            </p:txBody>
          </p:sp>
          <p:sp>
            <p:nvSpPr>
              <p:cNvPr id="650" name="Freihandform: Form 649">
                <a:extLst>
                  <a:ext uri="{FF2B5EF4-FFF2-40B4-BE49-F238E27FC236}">
                    <a16:creationId xmlns:a16="http://schemas.microsoft.com/office/drawing/2014/main" id="{102E2A05-24BA-48FF-8C6D-B58EBA85DF96}"/>
                  </a:ext>
                </a:extLst>
              </p:cNvPr>
              <p:cNvSpPr/>
              <p:nvPr/>
            </p:nvSpPr>
            <p:spPr>
              <a:xfrm>
                <a:off x="1780825" y="4322904"/>
                <a:ext cx="72686" cy="10041"/>
              </a:xfrm>
              <a:custGeom>
                <a:avLst/>
                <a:gdLst>
                  <a:gd name="connsiteX0" fmla="*/ 67665 w 72686"/>
                  <a:gd name="connsiteY0" fmla="*/ 10041 h 10041"/>
                  <a:gd name="connsiteX1" fmla="*/ 5021 w 72686"/>
                  <a:gd name="connsiteY1" fmla="*/ 10041 h 10041"/>
                  <a:gd name="connsiteX2" fmla="*/ 0 w 72686"/>
                  <a:gd name="connsiteY2" fmla="*/ 5021 h 10041"/>
                  <a:gd name="connsiteX3" fmla="*/ 5021 w 72686"/>
                  <a:gd name="connsiteY3" fmla="*/ 0 h 10041"/>
                  <a:gd name="connsiteX4" fmla="*/ 67665 w 72686"/>
                  <a:gd name="connsiteY4" fmla="*/ 0 h 10041"/>
                  <a:gd name="connsiteX5" fmla="*/ 72686 w 72686"/>
                  <a:gd name="connsiteY5" fmla="*/ 5021 h 10041"/>
                  <a:gd name="connsiteX6" fmla="*/ 67665 w 72686"/>
                  <a:gd name="connsiteY6" fmla="*/ 10041 h 10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686" h="10041">
                    <a:moveTo>
                      <a:pt x="67665" y="10041"/>
                    </a:moveTo>
                    <a:lnTo>
                      <a:pt x="5021" y="10041"/>
                    </a:lnTo>
                    <a:cubicBezTo>
                      <a:pt x="2254" y="10041"/>
                      <a:pt x="0" y="7788"/>
                      <a:pt x="0" y="5021"/>
                    </a:cubicBezTo>
                    <a:cubicBezTo>
                      <a:pt x="0" y="2254"/>
                      <a:pt x="2254" y="0"/>
                      <a:pt x="5021" y="0"/>
                    </a:cubicBezTo>
                    <a:lnTo>
                      <a:pt x="67665" y="0"/>
                    </a:lnTo>
                    <a:cubicBezTo>
                      <a:pt x="70433" y="0"/>
                      <a:pt x="72686" y="2254"/>
                      <a:pt x="72686" y="5021"/>
                    </a:cubicBezTo>
                    <a:cubicBezTo>
                      <a:pt x="72686" y="7788"/>
                      <a:pt x="70404" y="10041"/>
                      <a:pt x="67665" y="10041"/>
                    </a:cubicBezTo>
                    <a:close/>
                  </a:path>
                </a:pathLst>
              </a:custGeom>
              <a:grpFill/>
              <a:ln w="2848" cap="flat">
                <a:noFill/>
                <a:prstDash val="solid"/>
                <a:miter/>
              </a:ln>
            </p:spPr>
            <p:txBody>
              <a:bodyPr rtlCol="0" anchor="ctr"/>
              <a:lstStyle/>
              <a:p>
                <a:endParaRPr lang="en-GB" dirty="0"/>
              </a:p>
            </p:txBody>
          </p:sp>
        </p:grpSp>
      </p:grpSp>
      <p:sp>
        <p:nvSpPr>
          <p:cNvPr id="23" name="TextBox 1424">
            <a:extLst>
              <a:ext uri="{FF2B5EF4-FFF2-40B4-BE49-F238E27FC236}">
                <a16:creationId xmlns:a16="http://schemas.microsoft.com/office/drawing/2014/main" id="{6A3FA9DB-2CCA-40B9-9D9A-676F6A9ED6DE}"/>
              </a:ext>
            </a:extLst>
          </p:cNvPr>
          <p:cNvSpPr txBox="1"/>
          <p:nvPr/>
        </p:nvSpPr>
        <p:spPr>
          <a:xfrm>
            <a:off x="7166617" y="4547732"/>
            <a:ext cx="272510" cy="107722"/>
          </a:xfrm>
          <a:prstGeom prst="rect">
            <a:avLst/>
          </a:prstGeom>
          <a:noFill/>
          <a:effectLst/>
        </p:spPr>
        <p:txBody>
          <a:bodyPr wrap="none" lIns="0" tIns="0" rIns="0" bIns="0" rtlCol="0" anchor="t" anchorCtr="0">
            <a:spAutoFit/>
          </a:bodyPr>
          <a:lstStyle/>
          <a:p>
            <a:pPr algn="ctr"/>
            <a:r>
              <a:rPr lang="en-GB" sz="700" dirty="0">
                <a:solidFill>
                  <a:schemeClr val="tx2"/>
                </a:solidFill>
              </a:rPr>
              <a:t>Clients</a:t>
            </a:r>
          </a:p>
        </p:txBody>
      </p:sp>
      <p:sp>
        <p:nvSpPr>
          <p:cNvPr id="24" name="TextBox 1414">
            <a:extLst>
              <a:ext uri="{FF2B5EF4-FFF2-40B4-BE49-F238E27FC236}">
                <a16:creationId xmlns:a16="http://schemas.microsoft.com/office/drawing/2014/main" id="{A57EC421-4E8A-4EAA-B19D-2C032D383CCA}"/>
              </a:ext>
            </a:extLst>
          </p:cNvPr>
          <p:cNvSpPr txBox="1"/>
          <p:nvPr/>
        </p:nvSpPr>
        <p:spPr>
          <a:xfrm>
            <a:off x="8178360" y="2077494"/>
            <a:ext cx="328616" cy="107722"/>
          </a:xfrm>
          <a:prstGeom prst="rect">
            <a:avLst/>
          </a:prstGeom>
          <a:noFill/>
          <a:effectLst/>
        </p:spPr>
        <p:txBody>
          <a:bodyPr wrap="none" lIns="0" tIns="0" rIns="0" bIns="0" rtlCol="0" anchor="t" anchorCtr="0">
            <a:spAutoFit/>
          </a:bodyPr>
          <a:lstStyle/>
          <a:p>
            <a:pPr algn="ctr"/>
            <a:r>
              <a:rPr lang="en-GB" sz="700" dirty="0">
                <a:solidFill>
                  <a:schemeClr val="tx2"/>
                </a:solidFill>
              </a:rPr>
              <a:t>Portfolio</a:t>
            </a:r>
          </a:p>
        </p:txBody>
      </p:sp>
    </p:spTree>
    <p:extLst>
      <p:ext uri="{BB962C8B-B14F-4D97-AF65-F5344CB8AC3E}">
        <p14:creationId xmlns:p14="http://schemas.microsoft.com/office/powerpoint/2010/main" val="2389362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60121B33-C7DB-4722-8B91-EC9CB78D5733}"/>
              </a:ext>
            </a:extLst>
          </p:cNvPr>
          <p:cNvGraphicFramePr>
            <a:graphicFrameLocks noChangeAspect="1"/>
          </p:cNvGraphicFramePr>
          <p:nvPr>
            <p:custDataLst>
              <p:tags r:id="rId1"/>
            </p:custDataLst>
            <p:extLst>
              <p:ext uri="{D42A27DB-BD31-4B8C-83A1-F6EECF244321}">
                <p14:modId xmlns:p14="http://schemas.microsoft.com/office/powerpoint/2010/main" val="3202233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4" progId="TCLayout.ActiveDocument.1">
                  <p:embed/>
                </p:oleObj>
              </mc:Choice>
              <mc:Fallback>
                <p:oleObj name="think-cell Folie" r:id="rId5" imgW="344" imgH="344" progId="TCLayout.ActiveDocument.1">
                  <p:embed/>
                  <p:pic>
                    <p:nvPicPr>
                      <p:cNvPr id="10" name="Objekt 9" hidden="1">
                        <a:extLst>
                          <a:ext uri="{FF2B5EF4-FFF2-40B4-BE49-F238E27FC236}">
                            <a16:creationId xmlns:a16="http://schemas.microsoft.com/office/drawing/2014/main" id="{60121B33-C7DB-4722-8B91-EC9CB78D573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39852627-5AB6-483C-A606-F540EF074970}"/>
              </a:ext>
            </a:extLst>
          </p:cNvPr>
          <p:cNvSpPr/>
          <p:nvPr>
            <p:custDataLst>
              <p:tags r:id="rId2"/>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0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 name="Foliennummernplatzhalter 1">
            <a:extLst>
              <a:ext uri="{FF2B5EF4-FFF2-40B4-BE49-F238E27FC236}">
                <a16:creationId xmlns:a16="http://schemas.microsoft.com/office/drawing/2014/main" id="{2B0BDBF8-C60A-47C0-BBF8-CF9B1FE8E920}"/>
              </a:ext>
            </a:extLst>
          </p:cNvPr>
          <p:cNvSpPr>
            <a:spLocks noGrp="1"/>
          </p:cNvSpPr>
          <p:nvPr>
            <p:ph type="sldNum" sz="quarter" idx="11"/>
          </p:nvPr>
        </p:nvSpPr>
        <p:spPr/>
        <p:txBody>
          <a:bodyPr/>
          <a:lstStyle/>
          <a:p>
            <a:fld id="{D56DB8AA-803C-49D2-90AA-1140CE72DCD7}" type="slidenum">
              <a:rPr lang="en-GB" smtClean="0"/>
              <a:pPr/>
              <a:t>45</a:t>
            </a:fld>
            <a:endParaRPr lang="en-GB" dirty="0"/>
          </a:p>
        </p:txBody>
      </p:sp>
      <p:sp>
        <p:nvSpPr>
          <p:cNvPr id="8" name="Titel 7">
            <a:extLst>
              <a:ext uri="{FF2B5EF4-FFF2-40B4-BE49-F238E27FC236}">
                <a16:creationId xmlns:a16="http://schemas.microsoft.com/office/drawing/2014/main" id="{961143B2-DC01-415C-B80E-71EF86F91A68}"/>
              </a:ext>
            </a:extLst>
          </p:cNvPr>
          <p:cNvSpPr>
            <a:spLocks noGrp="1"/>
          </p:cNvSpPr>
          <p:nvPr>
            <p:ph type="title"/>
          </p:nvPr>
        </p:nvSpPr>
        <p:spPr>
          <a:xfrm>
            <a:off x="252413" y="346076"/>
            <a:ext cx="3652604" cy="645478"/>
          </a:xfrm>
        </p:spPr>
        <p:txBody>
          <a:bodyPr vert="horz"/>
          <a:lstStyle/>
          <a:p>
            <a:r>
              <a:rPr lang="en-GB" sz="800" b="1" dirty="0">
                <a:solidFill>
                  <a:schemeClr val="tx2"/>
                </a:solidFill>
                <a:latin typeface="+mn-lt"/>
              </a:rPr>
              <a:t>Picture credits</a:t>
            </a:r>
            <a:br>
              <a:rPr lang="en-GB" sz="800" dirty="0">
                <a:solidFill>
                  <a:schemeClr val="tx2"/>
                </a:solidFill>
                <a:latin typeface="+mn-lt"/>
              </a:rPr>
            </a:br>
            <a:r>
              <a:rPr lang="en-GB" sz="800" dirty="0">
                <a:solidFill>
                  <a:schemeClr val="tx2"/>
                </a:solidFill>
                <a:latin typeface="+mn-lt"/>
              </a:rPr>
              <a:t>Icons: Munich Re</a:t>
            </a:r>
            <a:br>
              <a:rPr lang="en-GB" sz="800" dirty="0">
                <a:solidFill>
                  <a:schemeClr val="tx2"/>
                </a:solidFill>
                <a:latin typeface="+mn-lt"/>
              </a:rPr>
            </a:br>
            <a:r>
              <a:rPr lang="en-GB" sz="800" dirty="0">
                <a:solidFill>
                  <a:schemeClr val="tx2"/>
                </a:solidFill>
                <a:latin typeface="+mn-lt"/>
              </a:rPr>
              <a:t>Pictograms: Getty Images</a:t>
            </a:r>
            <a:br>
              <a:rPr lang="en-GB" sz="800" dirty="0">
                <a:solidFill>
                  <a:schemeClr val="tx2"/>
                </a:solidFill>
                <a:latin typeface="+mn-lt"/>
              </a:rPr>
            </a:br>
            <a:endParaRPr lang="en-GB" sz="800" dirty="0">
              <a:solidFill>
                <a:schemeClr val="tx2"/>
              </a:solidFill>
              <a:latin typeface="+mn-lt"/>
            </a:endParaRPr>
          </a:p>
        </p:txBody>
      </p:sp>
      <p:sp>
        <p:nvSpPr>
          <p:cNvPr id="6" name="TextBox 5">
            <a:extLst>
              <a:ext uri="{FF2B5EF4-FFF2-40B4-BE49-F238E27FC236}">
                <a16:creationId xmlns:a16="http://schemas.microsoft.com/office/drawing/2014/main" id="{F4B1D95D-B871-2B38-7EE0-87DD5FF1888F}"/>
              </a:ext>
            </a:extLst>
          </p:cNvPr>
          <p:cNvSpPr txBox="1"/>
          <p:nvPr/>
        </p:nvSpPr>
        <p:spPr>
          <a:xfrm>
            <a:off x="252414" y="1205999"/>
            <a:ext cx="2154702" cy="2436733"/>
          </a:xfrm>
          <a:prstGeom prst="rect">
            <a:avLst/>
          </a:prstGeom>
          <a:noFill/>
          <a:effectLst/>
        </p:spPr>
        <p:txBody>
          <a:bodyPr wrap="square" lIns="0" tIns="0" rIns="0" bIns="0" rtlCol="0">
            <a:noAutofit/>
          </a:bodyPr>
          <a:lstStyle/>
          <a:p>
            <a:r>
              <a:rPr lang="en-GB" sz="1200" dirty="0">
                <a:solidFill>
                  <a:schemeClr val="tx2"/>
                </a:solidFill>
              </a:rPr>
              <a:t>Copyright notes:</a:t>
            </a:r>
          </a:p>
          <a:p>
            <a:r>
              <a:rPr lang="en-GB" sz="800" dirty="0">
                <a:solidFill>
                  <a:schemeClr val="tx2"/>
                </a:solidFill>
              </a:rPr>
              <a:t>For editorial use and PowerPoint application </a:t>
            </a:r>
            <a:br>
              <a:rPr lang="en-GB" sz="800" dirty="0">
                <a:solidFill>
                  <a:schemeClr val="tx2"/>
                </a:solidFill>
              </a:rPr>
            </a:br>
            <a:r>
              <a:rPr lang="en-GB" sz="800" dirty="0">
                <a:solidFill>
                  <a:schemeClr val="tx2"/>
                </a:solidFill>
              </a:rPr>
              <a:t>in general, the credit is mandatory. However, </a:t>
            </a:r>
            <a:br>
              <a:rPr lang="en-GB" sz="800" dirty="0">
                <a:solidFill>
                  <a:schemeClr val="tx2"/>
                </a:solidFill>
              </a:rPr>
            </a:br>
            <a:r>
              <a:rPr lang="en-GB" sz="800" dirty="0">
                <a:solidFill>
                  <a:schemeClr val="tx2"/>
                </a:solidFill>
              </a:rPr>
              <a:t>it is sufficient to provide the reference in a </a:t>
            </a:r>
            <a:br>
              <a:rPr lang="en-GB" sz="800" dirty="0">
                <a:solidFill>
                  <a:schemeClr val="tx2"/>
                </a:solidFill>
              </a:rPr>
            </a:br>
            <a:r>
              <a:rPr lang="en-GB" sz="800" dirty="0">
                <a:solidFill>
                  <a:schemeClr val="tx2"/>
                </a:solidFill>
              </a:rPr>
              <a:t>collective imprint (instead of next to each icon). </a:t>
            </a:r>
            <a:br>
              <a:rPr lang="en-GB" sz="800" dirty="0">
                <a:solidFill>
                  <a:schemeClr val="tx2"/>
                </a:solidFill>
              </a:rPr>
            </a:br>
            <a:r>
              <a:rPr lang="en-GB" sz="800" dirty="0">
                <a:solidFill>
                  <a:schemeClr val="tx2"/>
                </a:solidFill>
              </a:rPr>
              <a:t>If there is a lack of space, the credit for </a:t>
            </a:r>
            <a:br>
              <a:rPr lang="en-GB" sz="800" dirty="0">
                <a:solidFill>
                  <a:schemeClr val="tx2"/>
                </a:solidFill>
              </a:rPr>
            </a:br>
            <a:r>
              <a:rPr lang="en-GB" sz="800" dirty="0">
                <a:solidFill>
                  <a:schemeClr val="tx2"/>
                </a:solidFill>
              </a:rPr>
              <a:t>pictograms can be reduced to "Getty Images".</a:t>
            </a:r>
          </a:p>
          <a:p>
            <a:r>
              <a:rPr lang="en-GB" sz="800" dirty="0">
                <a:solidFill>
                  <a:schemeClr val="tx2"/>
                </a:solidFill>
              </a:rPr>
              <a:t>For commercial use like brochures, flyers or </a:t>
            </a:r>
            <a:br>
              <a:rPr lang="en-GB" sz="800" dirty="0">
                <a:solidFill>
                  <a:schemeClr val="tx2"/>
                </a:solidFill>
              </a:rPr>
            </a:br>
            <a:r>
              <a:rPr lang="en-GB" sz="800" dirty="0">
                <a:solidFill>
                  <a:schemeClr val="tx2"/>
                </a:solidFill>
              </a:rPr>
              <a:t>similar, the credit may be omitted.</a:t>
            </a:r>
          </a:p>
          <a:p>
            <a:endParaRPr lang="en-GB" sz="800" dirty="0">
              <a:solidFill>
                <a:schemeClr val="tx2"/>
              </a:solidFill>
            </a:endParaRPr>
          </a:p>
        </p:txBody>
      </p:sp>
    </p:spTree>
    <p:extLst>
      <p:ext uri="{BB962C8B-B14F-4D97-AF65-F5344CB8AC3E}">
        <p14:creationId xmlns:p14="http://schemas.microsoft.com/office/powerpoint/2010/main" val="492579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kt 36" hidden="1">
            <a:extLst>
              <a:ext uri="{FF2B5EF4-FFF2-40B4-BE49-F238E27FC236}">
                <a16:creationId xmlns:a16="http://schemas.microsoft.com/office/drawing/2014/main" id="{C9A92D7F-354F-4A29-970A-B736BE5C5626}"/>
              </a:ext>
            </a:extLst>
          </p:cNvPr>
          <p:cNvGraphicFramePr>
            <a:graphicFrameLocks noChangeAspect="1"/>
          </p:cNvGraphicFramePr>
          <p:nvPr>
            <p:custDataLst>
              <p:tags r:id="rId1"/>
            </p:custDataLst>
            <p:extLst>
              <p:ext uri="{D42A27DB-BD31-4B8C-83A1-F6EECF244321}">
                <p14:modId xmlns:p14="http://schemas.microsoft.com/office/powerpoint/2010/main" val="279489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7" name="Objekt 36" hidden="1">
                        <a:extLst>
                          <a:ext uri="{FF2B5EF4-FFF2-40B4-BE49-F238E27FC236}">
                            <a16:creationId xmlns:a16="http://schemas.microsoft.com/office/drawing/2014/main" id="{C9A92D7F-354F-4A29-970A-B736BE5C56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17621E0-077E-46B2-91A8-33F8E30B44F5}"/>
              </a:ext>
            </a:extLst>
          </p:cNvPr>
          <p:cNvSpPr>
            <a:spLocks noGrp="1"/>
          </p:cNvSpPr>
          <p:nvPr>
            <p:ph type="sldNum" sz="quarter" idx="11"/>
          </p:nvPr>
        </p:nvSpPr>
        <p:spPr/>
        <p:txBody>
          <a:bodyPr/>
          <a:lstStyle/>
          <a:p>
            <a:fld id="{D56DB8AA-803C-49D2-90AA-1140CE72DCD7}" type="slidenum">
              <a:rPr lang="en-GB" smtClean="0"/>
              <a:pPr/>
              <a:t>5</a:t>
            </a:fld>
            <a:endParaRPr lang="en-GB" dirty="0"/>
          </a:p>
        </p:txBody>
      </p:sp>
      <p:sp>
        <p:nvSpPr>
          <p:cNvPr id="3" name="Title 2">
            <a:extLst>
              <a:ext uri="{FF2B5EF4-FFF2-40B4-BE49-F238E27FC236}">
                <a16:creationId xmlns:a16="http://schemas.microsoft.com/office/drawing/2014/main" id="{5D7F79F6-E91B-619B-E246-1C59EF751742}"/>
              </a:ext>
            </a:extLst>
          </p:cNvPr>
          <p:cNvSpPr>
            <a:spLocks noGrp="1"/>
          </p:cNvSpPr>
          <p:nvPr>
            <p:ph type="title"/>
          </p:nvPr>
        </p:nvSpPr>
        <p:spPr/>
        <p:txBody>
          <a:bodyPr/>
          <a:lstStyle/>
          <a:p>
            <a:r>
              <a:rPr lang="en-GB" dirty="0"/>
              <a:t>Munich Re Icons 3/12</a:t>
            </a:r>
            <a:br>
              <a:rPr lang="en-GB" dirty="0"/>
            </a:br>
            <a:endParaRPr lang="en-US" dirty="0"/>
          </a:p>
        </p:txBody>
      </p:sp>
      <p:sp>
        <p:nvSpPr>
          <p:cNvPr id="5" name="TextBox 4">
            <a:extLst>
              <a:ext uri="{FF2B5EF4-FFF2-40B4-BE49-F238E27FC236}">
                <a16:creationId xmlns:a16="http://schemas.microsoft.com/office/drawing/2014/main" id="{5AD83D3A-A100-4371-AC41-A7405177B33A}"/>
              </a:ext>
            </a:extLst>
          </p:cNvPr>
          <p:cNvSpPr txBox="1"/>
          <p:nvPr/>
        </p:nvSpPr>
        <p:spPr>
          <a:xfrm>
            <a:off x="505510" y="2077494"/>
            <a:ext cx="577081" cy="107722"/>
          </a:xfrm>
          <a:prstGeom prst="rect">
            <a:avLst/>
          </a:prstGeom>
          <a:noFill/>
          <a:effectLst/>
        </p:spPr>
        <p:txBody>
          <a:bodyPr wrap="none" lIns="0" tIns="0" rIns="0" bIns="0" rtlCol="0" anchor="t">
            <a:spAutoFit/>
          </a:bodyPr>
          <a:lstStyle/>
          <a:p>
            <a:pPr algn="ctr"/>
            <a:r>
              <a:rPr lang="en-GB" sz="700">
                <a:solidFill>
                  <a:schemeClr val="tx2"/>
                </a:solidFill>
              </a:rPr>
              <a:t>Container ship</a:t>
            </a:r>
            <a:endParaRPr lang="en-GB" sz="700" dirty="0">
              <a:solidFill>
                <a:schemeClr val="tx2"/>
              </a:solidFill>
            </a:endParaRPr>
          </a:p>
        </p:txBody>
      </p:sp>
      <p:sp>
        <p:nvSpPr>
          <p:cNvPr id="6" name="TextBox 5">
            <a:extLst>
              <a:ext uri="{FF2B5EF4-FFF2-40B4-BE49-F238E27FC236}">
                <a16:creationId xmlns:a16="http://schemas.microsoft.com/office/drawing/2014/main" id="{1BD15567-A15D-49C3-9103-91B8B8D5847E}"/>
              </a:ext>
            </a:extLst>
          </p:cNvPr>
          <p:cNvSpPr txBox="1"/>
          <p:nvPr/>
        </p:nvSpPr>
        <p:spPr>
          <a:xfrm>
            <a:off x="552798" y="2899619"/>
            <a:ext cx="482504" cy="107722"/>
          </a:xfrm>
          <a:prstGeom prst="rect">
            <a:avLst/>
          </a:prstGeom>
          <a:noFill/>
          <a:effectLst/>
        </p:spPr>
        <p:txBody>
          <a:bodyPr wrap="none" lIns="0" tIns="0" rIns="0" bIns="0" rtlCol="0" anchor="t">
            <a:spAutoFit/>
          </a:bodyPr>
          <a:lstStyle/>
          <a:p>
            <a:pPr algn="ctr"/>
            <a:r>
              <a:rPr lang="en-GB" sz="700" dirty="0">
                <a:solidFill>
                  <a:schemeClr val="tx2"/>
                </a:solidFill>
              </a:rPr>
              <a:t>Coordinates</a:t>
            </a:r>
          </a:p>
        </p:txBody>
      </p:sp>
      <p:sp>
        <p:nvSpPr>
          <p:cNvPr id="7" name="TextBox 6">
            <a:extLst>
              <a:ext uri="{FF2B5EF4-FFF2-40B4-BE49-F238E27FC236}">
                <a16:creationId xmlns:a16="http://schemas.microsoft.com/office/drawing/2014/main" id="{D9D50C47-5543-41DB-A464-F99001E55AC2}"/>
              </a:ext>
            </a:extLst>
          </p:cNvPr>
          <p:cNvSpPr txBox="1"/>
          <p:nvPr/>
        </p:nvSpPr>
        <p:spPr>
          <a:xfrm>
            <a:off x="724318" y="3723675"/>
            <a:ext cx="139462" cy="107722"/>
          </a:xfrm>
          <a:prstGeom prst="rect">
            <a:avLst/>
          </a:prstGeom>
          <a:noFill/>
          <a:effectLst/>
        </p:spPr>
        <p:txBody>
          <a:bodyPr wrap="none" lIns="0" tIns="0" rIns="0" bIns="0" rtlCol="0" anchor="t">
            <a:spAutoFit/>
          </a:bodyPr>
          <a:lstStyle/>
          <a:p>
            <a:pPr algn="ctr"/>
            <a:r>
              <a:rPr lang="en-US" sz="700" dirty="0">
                <a:solidFill>
                  <a:schemeClr val="tx2"/>
                </a:solidFill>
              </a:rPr>
              <a:t>Cut</a:t>
            </a:r>
          </a:p>
        </p:txBody>
      </p:sp>
      <p:sp>
        <p:nvSpPr>
          <p:cNvPr id="8" name="TextBox 7">
            <a:extLst>
              <a:ext uri="{FF2B5EF4-FFF2-40B4-BE49-F238E27FC236}">
                <a16:creationId xmlns:a16="http://schemas.microsoft.com/office/drawing/2014/main" id="{F235984E-4D01-4EE6-9DA0-45E9D12C1A90}"/>
              </a:ext>
            </a:extLst>
          </p:cNvPr>
          <p:cNvSpPr txBox="1"/>
          <p:nvPr/>
        </p:nvSpPr>
        <p:spPr>
          <a:xfrm>
            <a:off x="665008" y="4547732"/>
            <a:ext cx="258084" cy="107722"/>
          </a:xfrm>
          <a:prstGeom prst="rect">
            <a:avLst/>
          </a:prstGeom>
          <a:noFill/>
          <a:effectLst/>
        </p:spPr>
        <p:txBody>
          <a:bodyPr wrap="none" lIns="0" tIns="0" rIns="0" bIns="0" rtlCol="0" anchor="t">
            <a:spAutoFit/>
          </a:bodyPr>
          <a:lstStyle/>
          <a:p>
            <a:pPr algn="ctr"/>
            <a:r>
              <a:rPr lang="en-GB" sz="700">
                <a:solidFill>
                  <a:schemeClr val="tx2"/>
                </a:solidFill>
              </a:rPr>
              <a:t>Delete</a:t>
            </a:r>
            <a:endParaRPr lang="en-GB" sz="700" dirty="0">
              <a:solidFill>
                <a:schemeClr val="tx2"/>
              </a:solidFill>
            </a:endParaRPr>
          </a:p>
        </p:txBody>
      </p:sp>
      <p:sp>
        <p:nvSpPr>
          <p:cNvPr id="9" name="TextBox 8">
            <a:extLst>
              <a:ext uri="{FF2B5EF4-FFF2-40B4-BE49-F238E27FC236}">
                <a16:creationId xmlns:a16="http://schemas.microsoft.com/office/drawing/2014/main" id="{B7CE3119-40C7-46B0-BCEA-086CE0753637}"/>
              </a:ext>
            </a:extLst>
          </p:cNvPr>
          <p:cNvSpPr txBox="1"/>
          <p:nvPr/>
        </p:nvSpPr>
        <p:spPr>
          <a:xfrm>
            <a:off x="1550944" y="2077494"/>
            <a:ext cx="577081" cy="107722"/>
          </a:xfrm>
          <a:prstGeom prst="rect">
            <a:avLst/>
          </a:prstGeom>
          <a:noFill/>
          <a:effectLst/>
        </p:spPr>
        <p:txBody>
          <a:bodyPr wrap="none" lIns="0" tIns="0" rIns="0" bIns="0" rtlCol="0" anchor="t">
            <a:spAutoFit/>
          </a:bodyPr>
          <a:lstStyle/>
          <a:p>
            <a:pPr algn="ctr"/>
            <a:r>
              <a:rPr lang="en-GB" sz="700">
                <a:solidFill>
                  <a:schemeClr val="tx2"/>
                </a:solidFill>
              </a:rPr>
              <a:t>Container ship</a:t>
            </a:r>
            <a:endParaRPr lang="en-GB" sz="700" dirty="0">
              <a:solidFill>
                <a:schemeClr val="tx2"/>
              </a:solidFill>
            </a:endParaRPr>
          </a:p>
        </p:txBody>
      </p:sp>
      <p:sp>
        <p:nvSpPr>
          <p:cNvPr id="10" name="TextBox 9">
            <a:extLst>
              <a:ext uri="{FF2B5EF4-FFF2-40B4-BE49-F238E27FC236}">
                <a16:creationId xmlns:a16="http://schemas.microsoft.com/office/drawing/2014/main" id="{D2E01BAB-8B88-4A60-B145-401B2B87E664}"/>
              </a:ext>
            </a:extLst>
          </p:cNvPr>
          <p:cNvSpPr txBox="1"/>
          <p:nvPr/>
        </p:nvSpPr>
        <p:spPr>
          <a:xfrm>
            <a:off x="1615865" y="2899619"/>
            <a:ext cx="447238" cy="107722"/>
          </a:xfrm>
          <a:prstGeom prst="rect">
            <a:avLst/>
          </a:prstGeom>
          <a:noFill/>
          <a:effectLst/>
        </p:spPr>
        <p:txBody>
          <a:bodyPr wrap="none" lIns="0" tIns="0" rIns="0" bIns="0" rtlCol="0" anchor="t">
            <a:spAutoFit/>
          </a:bodyPr>
          <a:lstStyle/>
          <a:p>
            <a:pPr algn="ctr"/>
            <a:r>
              <a:rPr lang="en-GB" sz="700" dirty="0">
                <a:solidFill>
                  <a:schemeClr val="tx2"/>
                </a:solidFill>
              </a:rPr>
              <a:t>Cruise ship</a:t>
            </a:r>
          </a:p>
        </p:txBody>
      </p:sp>
      <p:sp>
        <p:nvSpPr>
          <p:cNvPr id="11" name="TextBox 10">
            <a:extLst>
              <a:ext uri="{FF2B5EF4-FFF2-40B4-BE49-F238E27FC236}">
                <a16:creationId xmlns:a16="http://schemas.microsoft.com/office/drawing/2014/main" id="{679E3BC1-F321-4C37-93CC-E469EAE2AA3C}"/>
              </a:ext>
            </a:extLst>
          </p:cNvPr>
          <p:cNvSpPr txBox="1"/>
          <p:nvPr/>
        </p:nvSpPr>
        <p:spPr>
          <a:xfrm>
            <a:off x="1609452" y="3723675"/>
            <a:ext cx="460062" cy="107722"/>
          </a:xfrm>
          <a:prstGeom prst="rect">
            <a:avLst/>
          </a:prstGeom>
          <a:noFill/>
          <a:effectLst/>
        </p:spPr>
        <p:txBody>
          <a:bodyPr wrap="none" lIns="0" tIns="0" rIns="0" bIns="0" rtlCol="0" anchor="t">
            <a:spAutoFit/>
          </a:bodyPr>
          <a:lstStyle/>
          <a:p>
            <a:pPr algn="ctr"/>
            <a:r>
              <a:rPr lang="en-US" sz="700" dirty="0">
                <a:solidFill>
                  <a:schemeClr val="tx2"/>
                </a:solidFill>
              </a:rPr>
              <a:t>Cut content</a:t>
            </a:r>
          </a:p>
        </p:txBody>
      </p:sp>
      <p:sp>
        <p:nvSpPr>
          <p:cNvPr id="12" name="TextBox 11">
            <a:extLst>
              <a:ext uri="{FF2B5EF4-FFF2-40B4-BE49-F238E27FC236}">
                <a16:creationId xmlns:a16="http://schemas.microsoft.com/office/drawing/2014/main" id="{7DDE1068-2DE5-4545-B8EF-52FC1DFC8C79}"/>
              </a:ext>
            </a:extLst>
          </p:cNvPr>
          <p:cNvSpPr txBox="1"/>
          <p:nvPr/>
        </p:nvSpPr>
        <p:spPr>
          <a:xfrm>
            <a:off x="1640712" y="4547732"/>
            <a:ext cx="397545" cy="107722"/>
          </a:xfrm>
          <a:prstGeom prst="rect">
            <a:avLst/>
          </a:prstGeom>
          <a:noFill/>
          <a:effectLst/>
        </p:spPr>
        <p:txBody>
          <a:bodyPr wrap="none" lIns="0" tIns="0" rIns="0" bIns="0" rtlCol="0" anchor="t">
            <a:spAutoFit/>
          </a:bodyPr>
          <a:lstStyle/>
          <a:p>
            <a:pPr algn="ctr"/>
            <a:r>
              <a:rPr lang="en-US" sz="700" dirty="0">
                <a:solidFill>
                  <a:schemeClr val="tx2"/>
                </a:solidFill>
              </a:rPr>
              <a:t>Delete file</a:t>
            </a:r>
          </a:p>
        </p:txBody>
      </p:sp>
      <p:sp>
        <p:nvSpPr>
          <p:cNvPr id="13" name="TextBox 12">
            <a:extLst>
              <a:ext uri="{FF2B5EF4-FFF2-40B4-BE49-F238E27FC236}">
                <a16:creationId xmlns:a16="http://schemas.microsoft.com/office/drawing/2014/main" id="{0EFD3B5F-E4B1-44F5-917E-90842C774949}"/>
              </a:ext>
            </a:extLst>
          </p:cNvPr>
          <p:cNvSpPr txBox="1"/>
          <p:nvPr/>
        </p:nvSpPr>
        <p:spPr>
          <a:xfrm>
            <a:off x="2595576" y="2077494"/>
            <a:ext cx="578685" cy="107722"/>
          </a:xfrm>
          <a:prstGeom prst="rect">
            <a:avLst/>
          </a:prstGeom>
          <a:noFill/>
          <a:effectLst/>
        </p:spPr>
        <p:txBody>
          <a:bodyPr wrap="none" lIns="0" tIns="0" rIns="0" bIns="0" rtlCol="0" anchor="t">
            <a:spAutoFit/>
          </a:bodyPr>
          <a:lstStyle/>
          <a:p>
            <a:pPr algn="ctr"/>
            <a:r>
              <a:rPr lang="en-GB" sz="700" dirty="0">
                <a:solidFill>
                  <a:schemeClr val="tx2"/>
                </a:solidFill>
              </a:rPr>
              <a:t>Construction 1</a:t>
            </a:r>
          </a:p>
        </p:txBody>
      </p:sp>
      <p:sp>
        <p:nvSpPr>
          <p:cNvPr id="14" name="TextBox 13">
            <a:extLst>
              <a:ext uri="{FF2B5EF4-FFF2-40B4-BE49-F238E27FC236}">
                <a16:creationId xmlns:a16="http://schemas.microsoft.com/office/drawing/2014/main" id="{96F313F8-DE6F-48CA-B99E-574FB4F6BD03}"/>
              </a:ext>
            </a:extLst>
          </p:cNvPr>
          <p:cNvSpPr txBox="1"/>
          <p:nvPr/>
        </p:nvSpPr>
        <p:spPr>
          <a:xfrm>
            <a:off x="2743052" y="2899619"/>
            <a:ext cx="283732" cy="107722"/>
          </a:xfrm>
          <a:prstGeom prst="rect">
            <a:avLst/>
          </a:prstGeom>
          <a:noFill/>
          <a:effectLst/>
        </p:spPr>
        <p:txBody>
          <a:bodyPr wrap="none" lIns="0" tIns="0" rIns="0" bIns="0" rtlCol="0" anchor="t">
            <a:spAutoFit/>
          </a:bodyPr>
          <a:lstStyle/>
          <a:p>
            <a:pPr algn="ctr"/>
            <a:r>
              <a:rPr lang="en-GB" sz="700" dirty="0">
                <a:solidFill>
                  <a:schemeClr val="tx2"/>
                </a:solidFill>
              </a:rPr>
              <a:t>Culvert</a:t>
            </a:r>
          </a:p>
        </p:txBody>
      </p:sp>
      <p:sp>
        <p:nvSpPr>
          <p:cNvPr id="15" name="TextBox 14">
            <a:extLst>
              <a:ext uri="{FF2B5EF4-FFF2-40B4-BE49-F238E27FC236}">
                <a16:creationId xmlns:a16="http://schemas.microsoft.com/office/drawing/2014/main" id="{32BA43A5-67FB-414B-8E0D-121482BFB587}"/>
              </a:ext>
            </a:extLst>
          </p:cNvPr>
          <p:cNvSpPr txBox="1"/>
          <p:nvPr/>
        </p:nvSpPr>
        <p:spPr>
          <a:xfrm>
            <a:off x="2755875" y="3723675"/>
            <a:ext cx="258084" cy="107722"/>
          </a:xfrm>
          <a:prstGeom prst="rect">
            <a:avLst/>
          </a:prstGeom>
          <a:noFill/>
          <a:effectLst/>
        </p:spPr>
        <p:txBody>
          <a:bodyPr wrap="none" lIns="0" tIns="0" rIns="0" bIns="0" rtlCol="0" anchor="t">
            <a:spAutoFit/>
          </a:bodyPr>
          <a:lstStyle/>
          <a:p>
            <a:pPr algn="ctr"/>
            <a:r>
              <a:rPr lang="en-US" sz="700">
                <a:solidFill>
                  <a:schemeClr val="tx2"/>
                </a:solidFill>
              </a:rPr>
              <a:t>Dance</a:t>
            </a:r>
            <a:endParaRPr lang="en-US" sz="700" dirty="0">
              <a:solidFill>
                <a:schemeClr val="tx2"/>
              </a:solidFill>
            </a:endParaRPr>
          </a:p>
        </p:txBody>
      </p:sp>
      <p:sp>
        <p:nvSpPr>
          <p:cNvPr id="16" name="TextBox 15">
            <a:extLst>
              <a:ext uri="{FF2B5EF4-FFF2-40B4-BE49-F238E27FC236}">
                <a16:creationId xmlns:a16="http://schemas.microsoft.com/office/drawing/2014/main" id="{893B9F11-CE31-47AF-9E24-6F57B45402B0}"/>
              </a:ext>
            </a:extLst>
          </p:cNvPr>
          <p:cNvSpPr txBox="1"/>
          <p:nvPr/>
        </p:nvSpPr>
        <p:spPr>
          <a:xfrm>
            <a:off x="2621224" y="4547732"/>
            <a:ext cx="527388" cy="107722"/>
          </a:xfrm>
          <a:prstGeom prst="rect">
            <a:avLst/>
          </a:prstGeom>
          <a:noFill/>
          <a:effectLst/>
        </p:spPr>
        <p:txBody>
          <a:bodyPr wrap="none" lIns="0" tIns="0" rIns="0" bIns="0" rtlCol="0" anchor="t">
            <a:spAutoFit/>
          </a:bodyPr>
          <a:lstStyle/>
          <a:p>
            <a:pPr algn="ctr"/>
            <a:r>
              <a:rPr lang="en-US" sz="700" dirty="0">
                <a:solidFill>
                  <a:schemeClr val="tx2"/>
                </a:solidFill>
              </a:rPr>
              <a:t>Development</a:t>
            </a:r>
          </a:p>
        </p:txBody>
      </p:sp>
      <p:sp>
        <p:nvSpPr>
          <p:cNvPr id="17" name="TextBox 16">
            <a:extLst>
              <a:ext uri="{FF2B5EF4-FFF2-40B4-BE49-F238E27FC236}">
                <a16:creationId xmlns:a16="http://schemas.microsoft.com/office/drawing/2014/main" id="{EE8CD29E-C48A-4B24-A357-5E5B1D7C34E3}"/>
              </a:ext>
            </a:extLst>
          </p:cNvPr>
          <p:cNvSpPr txBox="1"/>
          <p:nvPr/>
        </p:nvSpPr>
        <p:spPr>
          <a:xfrm>
            <a:off x="3641009" y="2077494"/>
            <a:ext cx="578685" cy="107722"/>
          </a:xfrm>
          <a:prstGeom prst="rect">
            <a:avLst/>
          </a:prstGeom>
          <a:noFill/>
          <a:effectLst/>
        </p:spPr>
        <p:txBody>
          <a:bodyPr wrap="none" lIns="0" tIns="0" rIns="0" bIns="0" rtlCol="0" anchor="t">
            <a:spAutoFit/>
          </a:bodyPr>
          <a:lstStyle/>
          <a:p>
            <a:pPr algn="ctr"/>
            <a:r>
              <a:rPr lang="en-GB" sz="700" dirty="0">
                <a:solidFill>
                  <a:schemeClr val="tx2"/>
                </a:solidFill>
              </a:rPr>
              <a:t>Construction 2</a:t>
            </a:r>
          </a:p>
        </p:txBody>
      </p:sp>
      <p:sp>
        <p:nvSpPr>
          <p:cNvPr id="18" name="TextBox 17">
            <a:extLst>
              <a:ext uri="{FF2B5EF4-FFF2-40B4-BE49-F238E27FC236}">
                <a16:creationId xmlns:a16="http://schemas.microsoft.com/office/drawing/2014/main" id="{4458B552-F48D-403D-8F2E-D440209FF76D}"/>
              </a:ext>
            </a:extLst>
          </p:cNvPr>
          <p:cNvSpPr txBox="1"/>
          <p:nvPr/>
        </p:nvSpPr>
        <p:spPr>
          <a:xfrm>
            <a:off x="3848598" y="2899619"/>
            <a:ext cx="163507" cy="107722"/>
          </a:xfrm>
          <a:prstGeom prst="rect">
            <a:avLst/>
          </a:prstGeom>
          <a:noFill/>
          <a:effectLst/>
        </p:spPr>
        <p:txBody>
          <a:bodyPr wrap="none" lIns="0" tIns="0" rIns="0" bIns="0" rtlCol="0" anchor="t">
            <a:spAutoFit/>
          </a:bodyPr>
          <a:lstStyle/>
          <a:p>
            <a:pPr algn="ctr"/>
            <a:r>
              <a:rPr lang="en-US" sz="700" dirty="0">
                <a:solidFill>
                  <a:schemeClr val="tx2"/>
                </a:solidFill>
              </a:rPr>
              <a:t>Cup</a:t>
            </a:r>
          </a:p>
        </p:txBody>
      </p:sp>
      <p:sp>
        <p:nvSpPr>
          <p:cNvPr id="19" name="TextBox 18">
            <a:extLst>
              <a:ext uri="{FF2B5EF4-FFF2-40B4-BE49-F238E27FC236}">
                <a16:creationId xmlns:a16="http://schemas.microsoft.com/office/drawing/2014/main" id="{FFBE2F39-2346-46D2-84F2-7CABDE694FCB}"/>
              </a:ext>
            </a:extLst>
          </p:cNvPr>
          <p:cNvSpPr txBox="1"/>
          <p:nvPr/>
        </p:nvSpPr>
        <p:spPr>
          <a:xfrm>
            <a:off x="3738792" y="3723675"/>
            <a:ext cx="383118" cy="107722"/>
          </a:xfrm>
          <a:prstGeom prst="rect">
            <a:avLst/>
          </a:prstGeom>
          <a:noFill/>
          <a:effectLst/>
        </p:spPr>
        <p:txBody>
          <a:bodyPr wrap="none" lIns="0" tIns="0" rIns="0" bIns="0" rtlCol="0" anchor="t">
            <a:spAutoFit/>
          </a:bodyPr>
          <a:lstStyle/>
          <a:p>
            <a:pPr algn="ctr"/>
            <a:r>
              <a:rPr lang="en-GB" sz="700">
                <a:solidFill>
                  <a:schemeClr val="tx2"/>
                </a:solidFill>
              </a:rPr>
              <a:t>Database</a:t>
            </a:r>
            <a:endParaRPr lang="en-GB" sz="700" dirty="0">
              <a:solidFill>
                <a:schemeClr val="tx2"/>
              </a:solidFill>
            </a:endParaRPr>
          </a:p>
        </p:txBody>
      </p:sp>
      <p:sp>
        <p:nvSpPr>
          <p:cNvPr id="20" name="TextBox 19">
            <a:extLst>
              <a:ext uri="{FF2B5EF4-FFF2-40B4-BE49-F238E27FC236}">
                <a16:creationId xmlns:a16="http://schemas.microsoft.com/office/drawing/2014/main" id="{FF3A3AB8-37E7-4E9E-9CCE-33E9846515E5}"/>
              </a:ext>
            </a:extLst>
          </p:cNvPr>
          <p:cNvSpPr txBox="1"/>
          <p:nvPr/>
        </p:nvSpPr>
        <p:spPr>
          <a:xfrm>
            <a:off x="3754021" y="4547732"/>
            <a:ext cx="352661" cy="107722"/>
          </a:xfrm>
          <a:prstGeom prst="rect">
            <a:avLst/>
          </a:prstGeom>
          <a:noFill/>
          <a:effectLst/>
        </p:spPr>
        <p:txBody>
          <a:bodyPr wrap="none" lIns="0" tIns="0" rIns="0" bIns="0" rtlCol="0" anchor="t">
            <a:spAutoFit/>
          </a:bodyPr>
          <a:lstStyle/>
          <a:p>
            <a:pPr algn="ctr"/>
            <a:r>
              <a:rPr lang="en-US" sz="700" dirty="0">
                <a:solidFill>
                  <a:schemeClr val="tx2"/>
                </a:solidFill>
              </a:rPr>
              <a:t>Direction</a:t>
            </a:r>
          </a:p>
        </p:txBody>
      </p:sp>
      <p:sp>
        <p:nvSpPr>
          <p:cNvPr id="21" name="TextBox 20">
            <a:extLst>
              <a:ext uri="{FF2B5EF4-FFF2-40B4-BE49-F238E27FC236}">
                <a16:creationId xmlns:a16="http://schemas.microsoft.com/office/drawing/2014/main" id="{93220A32-A35B-43A9-A988-D3A70D7C5862}"/>
              </a:ext>
            </a:extLst>
          </p:cNvPr>
          <p:cNvSpPr txBox="1"/>
          <p:nvPr/>
        </p:nvSpPr>
        <p:spPr>
          <a:xfrm>
            <a:off x="4819318" y="2077494"/>
            <a:ext cx="787075" cy="107722"/>
          </a:xfrm>
          <a:prstGeom prst="rect">
            <a:avLst/>
          </a:prstGeom>
          <a:noFill/>
          <a:effectLst/>
        </p:spPr>
        <p:txBody>
          <a:bodyPr wrap="none" lIns="0" tIns="0" rIns="0" bIns="0" rtlCol="0" anchor="t">
            <a:spAutoFit/>
          </a:bodyPr>
          <a:lstStyle/>
          <a:p>
            <a:pPr algn="ctr"/>
            <a:r>
              <a:rPr lang="en-US" sz="700">
                <a:solidFill>
                  <a:schemeClr val="tx2"/>
                </a:solidFill>
              </a:rPr>
              <a:t>Direction down 2 px</a:t>
            </a:r>
            <a:endParaRPr lang="en-US" sz="700" dirty="0">
              <a:solidFill>
                <a:schemeClr val="tx2"/>
              </a:solidFill>
            </a:endParaRPr>
          </a:p>
        </p:txBody>
      </p:sp>
      <p:sp>
        <p:nvSpPr>
          <p:cNvPr id="22" name="TextBox 21">
            <a:extLst>
              <a:ext uri="{FF2B5EF4-FFF2-40B4-BE49-F238E27FC236}">
                <a16:creationId xmlns:a16="http://schemas.microsoft.com/office/drawing/2014/main" id="{821AD68B-07EE-4916-9EBD-FBF8970C79DB}"/>
              </a:ext>
            </a:extLst>
          </p:cNvPr>
          <p:cNvSpPr txBox="1"/>
          <p:nvPr/>
        </p:nvSpPr>
        <p:spPr>
          <a:xfrm>
            <a:off x="4831341" y="2899619"/>
            <a:ext cx="763029" cy="215444"/>
          </a:xfrm>
          <a:prstGeom prst="rect">
            <a:avLst/>
          </a:prstGeom>
          <a:noFill/>
          <a:effectLst/>
        </p:spPr>
        <p:txBody>
          <a:bodyPr wrap="none" lIns="0" tIns="0" rIns="0" bIns="0" rtlCol="0" anchor="t">
            <a:spAutoFit/>
          </a:bodyPr>
          <a:lstStyle/>
          <a:p>
            <a:pPr algn="ctr"/>
            <a:r>
              <a:rPr lang="en-US" sz="700">
                <a:solidFill>
                  <a:schemeClr val="tx2"/>
                </a:solidFill>
              </a:rPr>
              <a:t>Direction left down </a:t>
            </a:r>
            <a:br>
              <a:rPr lang="en-US" sz="700">
                <a:solidFill>
                  <a:schemeClr val="tx2"/>
                </a:solidFill>
              </a:rPr>
            </a:br>
            <a:r>
              <a:rPr lang="en-US" sz="700">
                <a:solidFill>
                  <a:schemeClr val="tx2"/>
                </a:solidFill>
              </a:rPr>
              <a:t>2 px</a:t>
            </a:r>
            <a:endParaRPr lang="en-US" sz="700" dirty="0">
              <a:solidFill>
                <a:schemeClr val="tx2"/>
              </a:solidFill>
            </a:endParaRPr>
          </a:p>
        </p:txBody>
      </p:sp>
      <p:sp>
        <p:nvSpPr>
          <p:cNvPr id="23" name="TextBox 22">
            <a:extLst>
              <a:ext uri="{FF2B5EF4-FFF2-40B4-BE49-F238E27FC236}">
                <a16:creationId xmlns:a16="http://schemas.microsoft.com/office/drawing/2014/main" id="{EFD32576-2B3D-4FA9-ABF2-E5C896300DE5}"/>
              </a:ext>
            </a:extLst>
          </p:cNvPr>
          <p:cNvSpPr txBox="1"/>
          <p:nvPr/>
        </p:nvSpPr>
        <p:spPr>
          <a:xfrm>
            <a:off x="4838554" y="3723675"/>
            <a:ext cx="748603" cy="107722"/>
          </a:xfrm>
          <a:prstGeom prst="rect">
            <a:avLst/>
          </a:prstGeom>
          <a:noFill/>
          <a:effectLst/>
        </p:spPr>
        <p:txBody>
          <a:bodyPr wrap="none" lIns="0" tIns="0" rIns="0" bIns="0" rtlCol="0" anchor="t">
            <a:spAutoFit/>
          </a:bodyPr>
          <a:lstStyle/>
          <a:p>
            <a:pPr algn="ctr"/>
            <a:r>
              <a:rPr lang="en-GB" sz="700">
                <a:solidFill>
                  <a:schemeClr val="tx2"/>
                </a:solidFill>
              </a:rPr>
              <a:t>Direction right 2 px</a:t>
            </a:r>
            <a:endParaRPr lang="en-GB" sz="700" dirty="0">
              <a:solidFill>
                <a:schemeClr val="tx2"/>
              </a:solidFill>
            </a:endParaRPr>
          </a:p>
        </p:txBody>
      </p:sp>
      <p:sp>
        <p:nvSpPr>
          <p:cNvPr id="24" name="TextBox 23">
            <a:extLst>
              <a:ext uri="{FF2B5EF4-FFF2-40B4-BE49-F238E27FC236}">
                <a16:creationId xmlns:a16="http://schemas.microsoft.com/office/drawing/2014/main" id="{2DCEF14B-FABC-42E1-896B-E2E2140A1E42}"/>
              </a:ext>
            </a:extLst>
          </p:cNvPr>
          <p:cNvSpPr txBox="1"/>
          <p:nvPr/>
        </p:nvSpPr>
        <p:spPr>
          <a:xfrm>
            <a:off x="4923513" y="4547732"/>
            <a:ext cx="578685" cy="215444"/>
          </a:xfrm>
          <a:prstGeom prst="rect">
            <a:avLst/>
          </a:prstGeom>
          <a:noFill/>
          <a:effectLst/>
        </p:spPr>
        <p:txBody>
          <a:bodyPr wrap="none" lIns="0" tIns="0" rIns="0" bIns="0" rtlCol="0" anchor="t">
            <a:spAutoFit/>
          </a:bodyPr>
          <a:lstStyle/>
          <a:p>
            <a:pPr algn="ctr"/>
            <a:r>
              <a:rPr lang="en-US" sz="700">
                <a:solidFill>
                  <a:schemeClr val="tx2"/>
                </a:solidFill>
              </a:rPr>
              <a:t>Direction right </a:t>
            </a:r>
            <a:br>
              <a:rPr lang="en-US" sz="700">
                <a:solidFill>
                  <a:schemeClr val="tx2"/>
                </a:solidFill>
              </a:rPr>
            </a:br>
            <a:r>
              <a:rPr lang="en-US" sz="700">
                <a:solidFill>
                  <a:schemeClr val="tx2"/>
                </a:solidFill>
              </a:rPr>
              <a:t>up 2 px</a:t>
            </a:r>
            <a:endParaRPr lang="en-US" sz="700" dirty="0">
              <a:solidFill>
                <a:schemeClr val="tx2"/>
              </a:solidFill>
            </a:endParaRPr>
          </a:p>
        </p:txBody>
      </p:sp>
      <p:sp>
        <p:nvSpPr>
          <p:cNvPr id="25" name="TextBox 24">
            <a:extLst>
              <a:ext uri="{FF2B5EF4-FFF2-40B4-BE49-F238E27FC236}">
                <a16:creationId xmlns:a16="http://schemas.microsoft.com/office/drawing/2014/main" id="{6FC12F2C-C935-4357-916E-C055FCA6A264}"/>
              </a:ext>
            </a:extLst>
          </p:cNvPr>
          <p:cNvSpPr txBox="1"/>
          <p:nvPr/>
        </p:nvSpPr>
        <p:spPr>
          <a:xfrm>
            <a:off x="5864752" y="2077494"/>
            <a:ext cx="787075" cy="107722"/>
          </a:xfrm>
          <a:prstGeom prst="rect">
            <a:avLst/>
          </a:prstGeom>
          <a:noFill/>
          <a:effectLst/>
        </p:spPr>
        <p:txBody>
          <a:bodyPr wrap="none" lIns="0" tIns="0" rIns="0" bIns="0" rtlCol="0" anchor="t">
            <a:spAutoFit/>
          </a:bodyPr>
          <a:lstStyle/>
          <a:p>
            <a:pPr algn="ctr"/>
            <a:r>
              <a:rPr lang="en-GB" sz="700" dirty="0">
                <a:solidFill>
                  <a:schemeClr val="tx2"/>
                </a:solidFill>
              </a:rPr>
              <a:t>Direction down 4 px</a:t>
            </a:r>
          </a:p>
        </p:txBody>
      </p:sp>
      <p:sp>
        <p:nvSpPr>
          <p:cNvPr id="26" name="TextBox 25">
            <a:extLst>
              <a:ext uri="{FF2B5EF4-FFF2-40B4-BE49-F238E27FC236}">
                <a16:creationId xmlns:a16="http://schemas.microsoft.com/office/drawing/2014/main" id="{375573AA-893E-4235-B87B-403CE9A4B56A}"/>
              </a:ext>
            </a:extLst>
          </p:cNvPr>
          <p:cNvSpPr txBox="1"/>
          <p:nvPr/>
        </p:nvSpPr>
        <p:spPr>
          <a:xfrm>
            <a:off x="5791817" y="2899619"/>
            <a:ext cx="932949" cy="107722"/>
          </a:xfrm>
          <a:prstGeom prst="rect">
            <a:avLst/>
          </a:prstGeom>
          <a:noFill/>
          <a:effectLst/>
        </p:spPr>
        <p:txBody>
          <a:bodyPr wrap="none" lIns="0" tIns="0" rIns="0" bIns="0" rtlCol="0" anchor="t">
            <a:spAutoFit/>
          </a:bodyPr>
          <a:lstStyle/>
          <a:p>
            <a:pPr algn="ctr"/>
            <a:r>
              <a:rPr lang="en-US" sz="700" dirty="0">
                <a:solidFill>
                  <a:schemeClr val="tx2"/>
                </a:solidFill>
              </a:rPr>
              <a:t>Direction left down 4 px</a:t>
            </a:r>
          </a:p>
        </p:txBody>
      </p:sp>
      <p:sp>
        <p:nvSpPr>
          <p:cNvPr id="27" name="TextBox 26">
            <a:extLst>
              <a:ext uri="{FF2B5EF4-FFF2-40B4-BE49-F238E27FC236}">
                <a16:creationId xmlns:a16="http://schemas.microsoft.com/office/drawing/2014/main" id="{00732F28-00B4-4222-A17C-203EB0CA358A}"/>
              </a:ext>
            </a:extLst>
          </p:cNvPr>
          <p:cNvSpPr txBox="1"/>
          <p:nvPr/>
        </p:nvSpPr>
        <p:spPr>
          <a:xfrm>
            <a:off x="5883990" y="3723675"/>
            <a:ext cx="748603" cy="107722"/>
          </a:xfrm>
          <a:prstGeom prst="rect">
            <a:avLst/>
          </a:prstGeom>
          <a:noFill/>
          <a:effectLst/>
        </p:spPr>
        <p:txBody>
          <a:bodyPr wrap="none" lIns="0" tIns="0" rIns="0" bIns="0" rtlCol="0" anchor="t">
            <a:spAutoFit/>
          </a:bodyPr>
          <a:lstStyle/>
          <a:p>
            <a:pPr algn="ctr"/>
            <a:r>
              <a:rPr lang="en-GB" sz="700">
                <a:solidFill>
                  <a:schemeClr val="tx2"/>
                </a:solidFill>
              </a:rPr>
              <a:t>Direction right 4 px</a:t>
            </a:r>
            <a:endParaRPr lang="en-GB" sz="700" dirty="0">
              <a:solidFill>
                <a:schemeClr val="tx2"/>
              </a:solidFill>
            </a:endParaRPr>
          </a:p>
        </p:txBody>
      </p:sp>
      <p:sp>
        <p:nvSpPr>
          <p:cNvPr id="28" name="TextBox 27">
            <a:extLst>
              <a:ext uri="{FF2B5EF4-FFF2-40B4-BE49-F238E27FC236}">
                <a16:creationId xmlns:a16="http://schemas.microsoft.com/office/drawing/2014/main" id="{6636AED0-54ED-4FA8-98DA-222684C015ED}"/>
              </a:ext>
            </a:extLst>
          </p:cNvPr>
          <p:cNvSpPr txBox="1"/>
          <p:nvPr/>
        </p:nvSpPr>
        <p:spPr>
          <a:xfrm>
            <a:off x="5981771" y="4547732"/>
            <a:ext cx="553037" cy="215444"/>
          </a:xfrm>
          <a:prstGeom prst="rect">
            <a:avLst/>
          </a:prstGeom>
          <a:noFill/>
          <a:effectLst/>
        </p:spPr>
        <p:txBody>
          <a:bodyPr wrap="none" lIns="0" tIns="0" rIns="0" bIns="0" rtlCol="0" anchor="t">
            <a:spAutoFit/>
          </a:bodyPr>
          <a:lstStyle/>
          <a:p>
            <a:pPr algn="ctr"/>
            <a:r>
              <a:rPr lang="en-US" sz="700">
                <a:solidFill>
                  <a:schemeClr val="tx2"/>
                </a:solidFill>
              </a:rPr>
              <a:t>Direction right</a:t>
            </a:r>
            <a:br>
              <a:rPr lang="en-US" sz="700">
                <a:solidFill>
                  <a:schemeClr val="tx2"/>
                </a:solidFill>
              </a:rPr>
            </a:br>
            <a:r>
              <a:rPr lang="en-US" sz="700">
                <a:solidFill>
                  <a:schemeClr val="tx2"/>
                </a:solidFill>
              </a:rPr>
              <a:t>up 4 px</a:t>
            </a:r>
            <a:endParaRPr lang="en-US" sz="700" dirty="0">
              <a:solidFill>
                <a:schemeClr val="tx2"/>
              </a:solidFill>
            </a:endParaRPr>
          </a:p>
        </p:txBody>
      </p:sp>
      <p:sp>
        <p:nvSpPr>
          <p:cNvPr id="29" name="TextBox 28">
            <a:extLst>
              <a:ext uri="{FF2B5EF4-FFF2-40B4-BE49-F238E27FC236}">
                <a16:creationId xmlns:a16="http://schemas.microsoft.com/office/drawing/2014/main" id="{22027184-82EA-4009-B5E6-CE92B4EE07CE}"/>
              </a:ext>
            </a:extLst>
          </p:cNvPr>
          <p:cNvSpPr txBox="1"/>
          <p:nvPr/>
        </p:nvSpPr>
        <p:spPr>
          <a:xfrm>
            <a:off x="6956674" y="2077494"/>
            <a:ext cx="694101" cy="107722"/>
          </a:xfrm>
          <a:prstGeom prst="rect">
            <a:avLst/>
          </a:prstGeom>
          <a:noFill/>
          <a:effectLst/>
        </p:spPr>
        <p:txBody>
          <a:bodyPr wrap="none" lIns="0" tIns="0" rIns="0" bIns="0" rtlCol="0" anchor="t">
            <a:spAutoFit/>
          </a:bodyPr>
          <a:lstStyle/>
          <a:p>
            <a:pPr algn="ctr"/>
            <a:r>
              <a:rPr lang="en-GB" sz="700" dirty="0">
                <a:solidFill>
                  <a:schemeClr val="tx2"/>
                </a:solidFill>
              </a:rPr>
              <a:t>Direction left 2 px</a:t>
            </a:r>
          </a:p>
        </p:txBody>
      </p:sp>
      <p:sp>
        <p:nvSpPr>
          <p:cNvPr id="30" name="TextBox 29">
            <a:extLst>
              <a:ext uri="{FF2B5EF4-FFF2-40B4-BE49-F238E27FC236}">
                <a16:creationId xmlns:a16="http://schemas.microsoft.com/office/drawing/2014/main" id="{7DCEEAF2-AD0D-439A-B915-1B4F00E23B93}"/>
              </a:ext>
            </a:extLst>
          </p:cNvPr>
          <p:cNvSpPr txBox="1"/>
          <p:nvPr/>
        </p:nvSpPr>
        <p:spPr>
          <a:xfrm>
            <a:off x="6894157" y="2899619"/>
            <a:ext cx="819135" cy="107722"/>
          </a:xfrm>
          <a:prstGeom prst="rect">
            <a:avLst/>
          </a:prstGeom>
          <a:noFill/>
          <a:effectLst/>
        </p:spPr>
        <p:txBody>
          <a:bodyPr wrap="none" lIns="0" tIns="0" rIns="0" bIns="0" rtlCol="0" anchor="t">
            <a:spAutoFit/>
          </a:bodyPr>
          <a:lstStyle/>
          <a:p>
            <a:pPr algn="ctr"/>
            <a:r>
              <a:rPr lang="en-US" sz="700" dirty="0">
                <a:solidFill>
                  <a:schemeClr val="tx2"/>
                </a:solidFill>
              </a:rPr>
              <a:t>Direction left up 2 px</a:t>
            </a:r>
          </a:p>
        </p:txBody>
      </p:sp>
      <p:sp>
        <p:nvSpPr>
          <p:cNvPr id="31" name="TextBox 30">
            <a:extLst>
              <a:ext uri="{FF2B5EF4-FFF2-40B4-BE49-F238E27FC236}">
                <a16:creationId xmlns:a16="http://schemas.microsoft.com/office/drawing/2014/main" id="{6A7AB33E-8F8D-4DC6-8DCC-6E96408E244E}"/>
              </a:ext>
            </a:extLst>
          </p:cNvPr>
          <p:cNvSpPr txBox="1"/>
          <p:nvPr/>
        </p:nvSpPr>
        <p:spPr>
          <a:xfrm>
            <a:off x="7014382" y="3723675"/>
            <a:ext cx="578685" cy="215444"/>
          </a:xfrm>
          <a:prstGeom prst="rect">
            <a:avLst/>
          </a:prstGeom>
          <a:noFill/>
          <a:effectLst/>
        </p:spPr>
        <p:txBody>
          <a:bodyPr wrap="none" lIns="0" tIns="0" rIns="0" bIns="0" rtlCol="0" anchor="t">
            <a:spAutoFit/>
          </a:bodyPr>
          <a:lstStyle/>
          <a:p>
            <a:pPr algn="ctr"/>
            <a:r>
              <a:rPr lang="en-US" sz="700">
                <a:solidFill>
                  <a:schemeClr val="tx2"/>
                </a:solidFill>
              </a:rPr>
              <a:t>Direction right </a:t>
            </a:r>
            <a:br>
              <a:rPr lang="en-US" sz="700">
                <a:solidFill>
                  <a:schemeClr val="tx2"/>
                </a:solidFill>
              </a:rPr>
            </a:br>
            <a:r>
              <a:rPr lang="en-US" sz="700">
                <a:solidFill>
                  <a:schemeClr val="tx2"/>
                </a:solidFill>
              </a:rPr>
              <a:t>down 2 px</a:t>
            </a:r>
            <a:endParaRPr lang="en-US" sz="700" dirty="0">
              <a:solidFill>
                <a:schemeClr val="tx2"/>
              </a:solidFill>
            </a:endParaRPr>
          </a:p>
        </p:txBody>
      </p:sp>
      <p:sp>
        <p:nvSpPr>
          <p:cNvPr id="32" name="TextBox 31">
            <a:extLst>
              <a:ext uri="{FF2B5EF4-FFF2-40B4-BE49-F238E27FC236}">
                <a16:creationId xmlns:a16="http://schemas.microsoft.com/office/drawing/2014/main" id="{B1ADB887-F441-428B-8818-5E224DFE60E5}"/>
              </a:ext>
            </a:extLst>
          </p:cNvPr>
          <p:cNvSpPr txBox="1"/>
          <p:nvPr/>
        </p:nvSpPr>
        <p:spPr>
          <a:xfrm>
            <a:off x="6967094" y="4547732"/>
            <a:ext cx="673261" cy="107722"/>
          </a:xfrm>
          <a:prstGeom prst="rect">
            <a:avLst/>
          </a:prstGeom>
          <a:noFill/>
          <a:effectLst/>
        </p:spPr>
        <p:txBody>
          <a:bodyPr wrap="none" lIns="0" tIns="0" rIns="0" bIns="0" rtlCol="0" anchor="t">
            <a:spAutoFit/>
          </a:bodyPr>
          <a:lstStyle/>
          <a:p>
            <a:pPr algn="ctr"/>
            <a:r>
              <a:rPr lang="en-GB" sz="700" dirty="0">
                <a:solidFill>
                  <a:schemeClr val="tx2"/>
                </a:solidFill>
              </a:rPr>
              <a:t>Direction up 2 px</a:t>
            </a:r>
          </a:p>
        </p:txBody>
      </p:sp>
      <p:sp>
        <p:nvSpPr>
          <p:cNvPr id="33" name="TextBox 32">
            <a:extLst>
              <a:ext uri="{FF2B5EF4-FFF2-40B4-BE49-F238E27FC236}">
                <a16:creationId xmlns:a16="http://schemas.microsoft.com/office/drawing/2014/main" id="{FEAE11AE-C5EB-484E-9349-357FCFEBEB4B}"/>
              </a:ext>
            </a:extLst>
          </p:cNvPr>
          <p:cNvSpPr txBox="1"/>
          <p:nvPr/>
        </p:nvSpPr>
        <p:spPr>
          <a:xfrm>
            <a:off x="8002107" y="2077494"/>
            <a:ext cx="694101" cy="107722"/>
          </a:xfrm>
          <a:prstGeom prst="rect">
            <a:avLst/>
          </a:prstGeom>
          <a:noFill/>
          <a:effectLst/>
        </p:spPr>
        <p:txBody>
          <a:bodyPr wrap="none" lIns="0" tIns="0" rIns="0" bIns="0" rtlCol="0" anchor="t">
            <a:spAutoFit/>
          </a:bodyPr>
          <a:lstStyle/>
          <a:p>
            <a:pPr algn="ctr"/>
            <a:r>
              <a:rPr lang="en-GB" sz="700" dirty="0">
                <a:solidFill>
                  <a:schemeClr val="tx2"/>
                </a:solidFill>
              </a:rPr>
              <a:t>Direction left 4 px</a:t>
            </a:r>
          </a:p>
        </p:txBody>
      </p:sp>
      <p:sp>
        <p:nvSpPr>
          <p:cNvPr id="34" name="TextBox 33">
            <a:extLst>
              <a:ext uri="{FF2B5EF4-FFF2-40B4-BE49-F238E27FC236}">
                <a16:creationId xmlns:a16="http://schemas.microsoft.com/office/drawing/2014/main" id="{E1E4551F-FA22-44EC-BBA8-C7A93D696518}"/>
              </a:ext>
            </a:extLst>
          </p:cNvPr>
          <p:cNvSpPr txBox="1"/>
          <p:nvPr/>
        </p:nvSpPr>
        <p:spPr>
          <a:xfrm>
            <a:off x="7939589" y="2899619"/>
            <a:ext cx="819135" cy="107722"/>
          </a:xfrm>
          <a:prstGeom prst="rect">
            <a:avLst/>
          </a:prstGeom>
          <a:noFill/>
          <a:effectLst/>
        </p:spPr>
        <p:txBody>
          <a:bodyPr wrap="none" lIns="0" tIns="0" rIns="0" bIns="0" rtlCol="0" anchor="t">
            <a:spAutoFit/>
          </a:bodyPr>
          <a:lstStyle/>
          <a:p>
            <a:pPr algn="ctr"/>
            <a:r>
              <a:rPr lang="en-US" sz="700" dirty="0">
                <a:solidFill>
                  <a:schemeClr val="tx2"/>
                </a:solidFill>
              </a:rPr>
              <a:t>Direction left up 4 px</a:t>
            </a:r>
          </a:p>
        </p:txBody>
      </p:sp>
      <p:sp>
        <p:nvSpPr>
          <p:cNvPr id="35" name="TextBox 34">
            <a:extLst>
              <a:ext uri="{FF2B5EF4-FFF2-40B4-BE49-F238E27FC236}">
                <a16:creationId xmlns:a16="http://schemas.microsoft.com/office/drawing/2014/main" id="{BD7A8130-019A-461C-A442-106FCB2E7926}"/>
              </a:ext>
            </a:extLst>
          </p:cNvPr>
          <p:cNvSpPr txBox="1"/>
          <p:nvPr/>
        </p:nvSpPr>
        <p:spPr>
          <a:xfrm>
            <a:off x="8059815" y="3723675"/>
            <a:ext cx="578685" cy="215444"/>
          </a:xfrm>
          <a:prstGeom prst="rect">
            <a:avLst/>
          </a:prstGeom>
          <a:noFill/>
          <a:effectLst/>
        </p:spPr>
        <p:txBody>
          <a:bodyPr wrap="none" lIns="0" tIns="0" rIns="0" bIns="0" rtlCol="0" anchor="t">
            <a:spAutoFit/>
          </a:bodyPr>
          <a:lstStyle/>
          <a:p>
            <a:pPr algn="ctr"/>
            <a:r>
              <a:rPr lang="en-US" sz="700">
                <a:solidFill>
                  <a:schemeClr val="tx2"/>
                </a:solidFill>
              </a:rPr>
              <a:t>Direction right </a:t>
            </a:r>
            <a:br>
              <a:rPr lang="en-US" sz="700">
                <a:solidFill>
                  <a:schemeClr val="tx2"/>
                </a:solidFill>
              </a:rPr>
            </a:br>
            <a:r>
              <a:rPr lang="en-US" sz="700">
                <a:solidFill>
                  <a:schemeClr val="tx2"/>
                </a:solidFill>
              </a:rPr>
              <a:t>down 4 px</a:t>
            </a:r>
            <a:endParaRPr lang="en-US" sz="700" dirty="0">
              <a:solidFill>
                <a:schemeClr val="tx2"/>
              </a:solidFill>
            </a:endParaRPr>
          </a:p>
        </p:txBody>
      </p:sp>
      <p:sp>
        <p:nvSpPr>
          <p:cNvPr id="36" name="TextBox 35">
            <a:extLst>
              <a:ext uri="{FF2B5EF4-FFF2-40B4-BE49-F238E27FC236}">
                <a16:creationId xmlns:a16="http://schemas.microsoft.com/office/drawing/2014/main" id="{99FB37C3-C234-4EE2-8ED7-0A806FBFD1B2}"/>
              </a:ext>
            </a:extLst>
          </p:cNvPr>
          <p:cNvSpPr txBox="1"/>
          <p:nvPr/>
        </p:nvSpPr>
        <p:spPr>
          <a:xfrm>
            <a:off x="8012527" y="4547732"/>
            <a:ext cx="673261" cy="107722"/>
          </a:xfrm>
          <a:prstGeom prst="rect">
            <a:avLst/>
          </a:prstGeom>
          <a:noFill/>
          <a:effectLst/>
        </p:spPr>
        <p:txBody>
          <a:bodyPr wrap="none" lIns="0" tIns="0" rIns="0" bIns="0" rtlCol="0" anchor="t">
            <a:spAutoFit/>
          </a:bodyPr>
          <a:lstStyle/>
          <a:p>
            <a:pPr algn="ctr"/>
            <a:r>
              <a:rPr lang="en-GB" sz="700" dirty="0">
                <a:solidFill>
                  <a:schemeClr val="tx2"/>
                </a:solidFill>
              </a:rPr>
              <a:t>Direction up 4 px</a:t>
            </a:r>
          </a:p>
        </p:txBody>
      </p:sp>
      <p:sp>
        <p:nvSpPr>
          <p:cNvPr id="194" name="Freeform 115">
            <a:extLst>
              <a:ext uri="{FF2B5EF4-FFF2-40B4-BE49-F238E27FC236}">
                <a16:creationId xmlns:a16="http://schemas.microsoft.com/office/drawing/2014/main" id="{746C384D-F71A-4589-81C7-0FACB4D74C58}"/>
              </a:ext>
            </a:extLst>
          </p:cNvPr>
          <p:cNvSpPr>
            <a:spLocks/>
          </p:cNvSpPr>
          <p:nvPr/>
        </p:nvSpPr>
        <p:spPr bwMode="auto">
          <a:xfrm>
            <a:off x="5005686" y="2406184"/>
            <a:ext cx="414338" cy="412750"/>
          </a:xfrm>
          <a:custGeom>
            <a:avLst/>
            <a:gdLst>
              <a:gd name="T0" fmla="*/ 29 w 261"/>
              <a:gd name="T1" fmla="*/ 244 h 260"/>
              <a:gd name="T2" fmla="*/ 147 w 261"/>
              <a:gd name="T3" fmla="*/ 244 h 260"/>
              <a:gd name="T4" fmla="*/ 147 w 261"/>
              <a:gd name="T5" fmla="*/ 260 h 260"/>
              <a:gd name="T6" fmla="*/ 0 w 261"/>
              <a:gd name="T7" fmla="*/ 260 h 260"/>
              <a:gd name="T8" fmla="*/ 0 w 261"/>
              <a:gd name="T9" fmla="*/ 114 h 260"/>
              <a:gd name="T10" fmla="*/ 16 w 261"/>
              <a:gd name="T11" fmla="*/ 114 h 260"/>
              <a:gd name="T12" fmla="*/ 16 w 261"/>
              <a:gd name="T13" fmla="*/ 234 h 260"/>
              <a:gd name="T14" fmla="*/ 249 w 261"/>
              <a:gd name="T15" fmla="*/ 0 h 260"/>
              <a:gd name="T16" fmla="*/ 261 w 261"/>
              <a:gd name="T17" fmla="*/ 12 h 260"/>
              <a:gd name="T18" fmla="*/ 29 w 261"/>
              <a:gd name="T19" fmla="*/ 24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60">
                <a:moveTo>
                  <a:pt x="29" y="244"/>
                </a:moveTo>
                <a:lnTo>
                  <a:pt x="147" y="244"/>
                </a:lnTo>
                <a:lnTo>
                  <a:pt x="147" y="260"/>
                </a:lnTo>
                <a:lnTo>
                  <a:pt x="0" y="260"/>
                </a:lnTo>
                <a:lnTo>
                  <a:pt x="0" y="114"/>
                </a:lnTo>
                <a:lnTo>
                  <a:pt x="16" y="114"/>
                </a:lnTo>
                <a:lnTo>
                  <a:pt x="16" y="234"/>
                </a:lnTo>
                <a:lnTo>
                  <a:pt x="249" y="0"/>
                </a:lnTo>
                <a:lnTo>
                  <a:pt x="261" y="12"/>
                </a:lnTo>
                <a:lnTo>
                  <a:pt x="29" y="24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5" name="Freeform 119">
            <a:extLst>
              <a:ext uri="{FF2B5EF4-FFF2-40B4-BE49-F238E27FC236}">
                <a16:creationId xmlns:a16="http://schemas.microsoft.com/office/drawing/2014/main" id="{86560C85-111D-4333-98C8-2C3791E432D4}"/>
              </a:ext>
            </a:extLst>
          </p:cNvPr>
          <p:cNvSpPr>
            <a:spLocks/>
          </p:cNvSpPr>
          <p:nvPr/>
        </p:nvSpPr>
        <p:spPr bwMode="auto">
          <a:xfrm>
            <a:off x="6176920" y="2406184"/>
            <a:ext cx="412750" cy="412750"/>
          </a:xfrm>
          <a:custGeom>
            <a:avLst/>
            <a:gdLst>
              <a:gd name="T0" fmla="*/ 57 w 260"/>
              <a:gd name="T1" fmla="*/ 227 h 260"/>
              <a:gd name="T2" fmla="*/ 146 w 260"/>
              <a:gd name="T3" fmla="*/ 227 h 260"/>
              <a:gd name="T4" fmla="*/ 146 w 260"/>
              <a:gd name="T5" fmla="*/ 260 h 260"/>
              <a:gd name="T6" fmla="*/ 0 w 260"/>
              <a:gd name="T7" fmla="*/ 260 h 260"/>
              <a:gd name="T8" fmla="*/ 0 w 260"/>
              <a:gd name="T9" fmla="*/ 114 h 260"/>
              <a:gd name="T10" fmla="*/ 32 w 260"/>
              <a:gd name="T11" fmla="*/ 114 h 260"/>
              <a:gd name="T12" fmla="*/ 32 w 260"/>
              <a:gd name="T13" fmla="*/ 205 h 260"/>
              <a:gd name="T14" fmla="*/ 238 w 260"/>
              <a:gd name="T15" fmla="*/ 0 h 260"/>
              <a:gd name="T16" fmla="*/ 260 w 260"/>
              <a:gd name="T17" fmla="*/ 22 h 260"/>
              <a:gd name="T18" fmla="*/ 57 w 260"/>
              <a:gd name="T19" fmla="*/ 22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260">
                <a:moveTo>
                  <a:pt x="57" y="227"/>
                </a:moveTo>
                <a:lnTo>
                  <a:pt x="146" y="227"/>
                </a:lnTo>
                <a:lnTo>
                  <a:pt x="146" y="260"/>
                </a:lnTo>
                <a:lnTo>
                  <a:pt x="0" y="260"/>
                </a:lnTo>
                <a:lnTo>
                  <a:pt x="0" y="114"/>
                </a:lnTo>
                <a:lnTo>
                  <a:pt x="32" y="114"/>
                </a:lnTo>
                <a:lnTo>
                  <a:pt x="32" y="205"/>
                </a:lnTo>
                <a:lnTo>
                  <a:pt x="238" y="0"/>
                </a:lnTo>
                <a:lnTo>
                  <a:pt x="260" y="22"/>
                </a:lnTo>
                <a:lnTo>
                  <a:pt x="57" y="22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6" name="Freeform 123">
            <a:extLst>
              <a:ext uri="{FF2B5EF4-FFF2-40B4-BE49-F238E27FC236}">
                <a16:creationId xmlns:a16="http://schemas.microsoft.com/office/drawing/2014/main" id="{B44A0ECE-537D-465C-BDEF-18848C700F48}"/>
              </a:ext>
            </a:extLst>
          </p:cNvPr>
          <p:cNvSpPr>
            <a:spLocks/>
          </p:cNvSpPr>
          <p:nvPr/>
        </p:nvSpPr>
        <p:spPr bwMode="auto">
          <a:xfrm>
            <a:off x="7097349" y="2406184"/>
            <a:ext cx="412750" cy="412750"/>
          </a:xfrm>
          <a:custGeom>
            <a:avLst/>
            <a:gdLst>
              <a:gd name="T0" fmla="*/ 0 w 260"/>
              <a:gd name="T1" fmla="*/ 0 h 260"/>
              <a:gd name="T2" fmla="*/ 146 w 260"/>
              <a:gd name="T3" fmla="*/ 0 h 260"/>
              <a:gd name="T4" fmla="*/ 146 w 260"/>
              <a:gd name="T5" fmla="*/ 16 h 260"/>
              <a:gd name="T6" fmla="*/ 26 w 260"/>
              <a:gd name="T7" fmla="*/ 16 h 260"/>
              <a:gd name="T8" fmla="*/ 260 w 260"/>
              <a:gd name="T9" fmla="*/ 248 h 260"/>
              <a:gd name="T10" fmla="*/ 248 w 260"/>
              <a:gd name="T11" fmla="*/ 260 h 260"/>
              <a:gd name="T12" fmla="*/ 16 w 260"/>
              <a:gd name="T13" fmla="*/ 28 h 260"/>
              <a:gd name="T14" fmla="*/ 16 w 260"/>
              <a:gd name="T15" fmla="*/ 146 h 260"/>
              <a:gd name="T16" fmla="*/ 0 w 260"/>
              <a:gd name="T17" fmla="*/ 146 h 260"/>
              <a:gd name="T18" fmla="*/ 0 w 260"/>
              <a:gd name="T19"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260">
                <a:moveTo>
                  <a:pt x="0" y="0"/>
                </a:moveTo>
                <a:lnTo>
                  <a:pt x="146" y="0"/>
                </a:lnTo>
                <a:lnTo>
                  <a:pt x="146" y="16"/>
                </a:lnTo>
                <a:lnTo>
                  <a:pt x="26" y="16"/>
                </a:lnTo>
                <a:lnTo>
                  <a:pt x="260" y="248"/>
                </a:lnTo>
                <a:lnTo>
                  <a:pt x="248" y="260"/>
                </a:lnTo>
                <a:lnTo>
                  <a:pt x="16" y="28"/>
                </a:lnTo>
                <a:lnTo>
                  <a:pt x="16" y="146"/>
                </a:lnTo>
                <a:lnTo>
                  <a:pt x="0" y="146"/>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7" name="Freeform 127">
            <a:extLst>
              <a:ext uri="{FF2B5EF4-FFF2-40B4-BE49-F238E27FC236}">
                <a16:creationId xmlns:a16="http://schemas.microsoft.com/office/drawing/2014/main" id="{F0F71A60-E425-4A39-8FFC-459CB0F0AACD}"/>
              </a:ext>
            </a:extLst>
          </p:cNvPr>
          <p:cNvSpPr>
            <a:spLocks/>
          </p:cNvSpPr>
          <p:nvPr/>
        </p:nvSpPr>
        <p:spPr bwMode="auto">
          <a:xfrm>
            <a:off x="8141987" y="2406184"/>
            <a:ext cx="414338" cy="412750"/>
          </a:xfrm>
          <a:custGeom>
            <a:avLst/>
            <a:gdLst>
              <a:gd name="T0" fmla="*/ 33 w 261"/>
              <a:gd name="T1" fmla="*/ 57 h 260"/>
              <a:gd name="T2" fmla="*/ 33 w 261"/>
              <a:gd name="T3" fmla="*/ 146 h 260"/>
              <a:gd name="T4" fmla="*/ 0 w 261"/>
              <a:gd name="T5" fmla="*/ 146 h 260"/>
              <a:gd name="T6" fmla="*/ 0 w 261"/>
              <a:gd name="T7" fmla="*/ 0 h 260"/>
              <a:gd name="T8" fmla="*/ 147 w 261"/>
              <a:gd name="T9" fmla="*/ 0 h 260"/>
              <a:gd name="T10" fmla="*/ 147 w 261"/>
              <a:gd name="T11" fmla="*/ 32 h 260"/>
              <a:gd name="T12" fmla="*/ 55 w 261"/>
              <a:gd name="T13" fmla="*/ 32 h 260"/>
              <a:gd name="T14" fmla="*/ 261 w 261"/>
              <a:gd name="T15" fmla="*/ 238 h 260"/>
              <a:gd name="T16" fmla="*/ 238 w 261"/>
              <a:gd name="T17" fmla="*/ 260 h 260"/>
              <a:gd name="T18" fmla="*/ 33 w 261"/>
              <a:gd name="T19" fmla="*/ 5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1" h="260">
                <a:moveTo>
                  <a:pt x="33" y="57"/>
                </a:moveTo>
                <a:lnTo>
                  <a:pt x="33" y="146"/>
                </a:lnTo>
                <a:lnTo>
                  <a:pt x="0" y="146"/>
                </a:lnTo>
                <a:lnTo>
                  <a:pt x="0" y="0"/>
                </a:lnTo>
                <a:lnTo>
                  <a:pt x="147" y="0"/>
                </a:lnTo>
                <a:lnTo>
                  <a:pt x="147" y="32"/>
                </a:lnTo>
                <a:lnTo>
                  <a:pt x="55" y="32"/>
                </a:lnTo>
                <a:lnTo>
                  <a:pt x="261" y="238"/>
                </a:lnTo>
                <a:lnTo>
                  <a:pt x="238" y="260"/>
                </a:lnTo>
                <a:lnTo>
                  <a:pt x="33" y="5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8" name="Freeform 131">
            <a:extLst>
              <a:ext uri="{FF2B5EF4-FFF2-40B4-BE49-F238E27FC236}">
                <a16:creationId xmlns:a16="http://schemas.microsoft.com/office/drawing/2014/main" id="{E83E5284-DFDF-488C-98C3-4D71FB2183A6}"/>
              </a:ext>
            </a:extLst>
          </p:cNvPr>
          <p:cNvSpPr>
            <a:spLocks/>
          </p:cNvSpPr>
          <p:nvPr/>
        </p:nvSpPr>
        <p:spPr bwMode="auto">
          <a:xfrm>
            <a:off x="5005687" y="3277610"/>
            <a:ext cx="414337" cy="330200"/>
          </a:xfrm>
          <a:custGeom>
            <a:avLst/>
            <a:gdLst>
              <a:gd name="T0" fmla="*/ 0 w 261"/>
              <a:gd name="T1" fmla="*/ 96 h 208"/>
              <a:gd name="T2" fmla="*/ 230 w 261"/>
              <a:gd name="T3" fmla="*/ 96 h 208"/>
              <a:gd name="T4" fmla="*/ 145 w 261"/>
              <a:gd name="T5" fmla="*/ 12 h 208"/>
              <a:gd name="T6" fmla="*/ 157 w 261"/>
              <a:gd name="T7" fmla="*/ 0 h 208"/>
              <a:gd name="T8" fmla="*/ 261 w 261"/>
              <a:gd name="T9" fmla="*/ 104 h 208"/>
              <a:gd name="T10" fmla="*/ 261 w 261"/>
              <a:gd name="T11" fmla="*/ 104 h 208"/>
              <a:gd name="T12" fmla="*/ 261 w 261"/>
              <a:gd name="T13" fmla="*/ 104 h 208"/>
              <a:gd name="T14" fmla="*/ 157 w 261"/>
              <a:gd name="T15" fmla="*/ 208 h 208"/>
              <a:gd name="T16" fmla="*/ 145 w 261"/>
              <a:gd name="T17" fmla="*/ 196 h 208"/>
              <a:gd name="T18" fmla="*/ 230 w 261"/>
              <a:gd name="T19" fmla="*/ 112 h 208"/>
              <a:gd name="T20" fmla="*/ 0 w 261"/>
              <a:gd name="T21" fmla="*/ 112 h 208"/>
              <a:gd name="T22" fmla="*/ 0 w 261"/>
              <a:gd name="T23" fmla="*/ 9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1" h="208">
                <a:moveTo>
                  <a:pt x="0" y="96"/>
                </a:moveTo>
                <a:lnTo>
                  <a:pt x="230" y="96"/>
                </a:lnTo>
                <a:lnTo>
                  <a:pt x="145" y="12"/>
                </a:lnTo>
                <a:lnTo>
                  <a:pt x="157" y="0"/>
                </a:lnTo>
                <a:lnTo>
                  <a:pt x="261" y="104"/>
                </a:lnTo>
                <a:lnTo>
                  <a:pt x="261" y="104"/>
                </a:lnTo>
                <a:lnTo>
                  <a:pt x="261" y="104"/>
                </a:lnTo>
                <a:lnTo>
                  <a:pt x="157" y="208"/>
                </a:lnTo>
                <a:lnTo>
                  <a:pt x="145" y="196"/>
                </a:lnTo>
                <a:lnTo>
                  <a:pt x="230" y="112"/>
                </a:lnTo>
                <a:lnTo>
                  <a:pt x="0" y="112"/>
                </a:lnTo>
                <a:lnTo>
                  <a:pt x="0" y="9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99" name="Freeform 135">
            <a:extLst>
              <a:ext uri="{FF2B5EF4-FFF2-40B4-BE49-F238E27FC236}">
                <a16:creationId xmlns:a16="http://schemas.microsoft.com/office/drawing/2014/main" id="{F673C102-17A9-44C6-9135-BBAF6547AE76}"/>
              </a:ext>
            </a:extLst>
          </p:cNvPr>
          <p:cNvSpPr>
            <a:spLocks/>
          </p:cNvSpPr>
          <p:nvPr/>
        </p:nvSpPr>
        <p:spPr bwMode="auto">
          <a:xfrm>
            <a:off x="6051916" y="3277610"/>
            <a:ext cx="412750" cy="330200"/>
          </a:xfrm>
          <a:custGeom>
            <a:avLst/>
            <a:gdLst>
              <a:gd name="T0" fmla="*/ 0 w 260"/>
              <a:gd name="T1" fmla="*/ 88 h 208"/>
              <a:gd name="T2" fmla="*/ 197 w 260"/>
              <a:gd name="T3" fmla="*/ 88 h 208"/>
              <a:gd name="T4" fmla="*/ 134 w 260"/>
              <a:gd name="T5" fmla="*/ 22 h 208"/>
              <a:gd name="T6" fmla="*/ 156 w 260"/>
              <a:gd name="T7" fmla="*/ 0 h 208"/>
              <a:gd name="T8" fmla="*/ 260 w 260"/>
              <a:gd name="T9" fmla="*/ 104 h 208"/>
              <a:gd name="T10" fmla="*/ 260 w 260"/>
              <a:gd name="T11" fmla="*/ 104 h 208"/>
              <a:gd name="T12" fmla="*/ 260 w 260"/>
              <a:gd name="T13" fmla="*/ 104 h 208"/>
              <a:gd name="T14" fmla="*/ 156 w 260"/>
              <a:gd name="T15" fmla="*/ 208 h 208"/>
              <a:gd name="T16" fmla="*/ 134 w 260"/>
              <a:gd name="T17" fmla="*/ 186 h 208"/>
              <a:gd name="T18" fmla="*/ 197 w 260"/>
              <a:gd name="T19" fmla="*/ 120 h 208"/>
              <a:gd name="T20" fmla="*/ 0 w 260"/>
              <a:gd name="T21" fmla="*/ 120 h 208"/>
              <a:gd name="T22" fmla="*/ 0 w 260"/>
              <a:gd name="T23" fmla="*/ 8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0" h="208">
                <a:moveTo>
                  <a:pt x="0" y="88"/>
                </a:moveTo>
                <a:lnTo>
                  <a:pt x="197" y="88"/>
                </a:lnTo>
                <a:lnTo>
                  <a:pt x="134" y="22"/>
                </a:lnTo>
                <a:lnTo>
                  <a:pt x="156" y="0"/>
                </a:lnTo>
                <a:lnTo>
                  <a:pt x="260" y="104"/>
                </a:lnTo>
                <a:lnTo>
                  <a:pt x="260" y="104"/>
                </a:lnTo>
                <a:lnTo>
                  <a:pt x="260" y="104"/>
                </a:lnTo>
                <a:lnTo>
                  <a:pt x="156" y="208"/>
                </a:lnTo>
                <a:lnTo>
                  <a:pt x="134" y="186"/>
                </a:lnTo>
                <a:lnTo>
                  <a:pt x="197" y="120"/>
                </a:lnTo>
                <a:lnTo>
                  <a:pt x="0" y="120"/>
                </a:lnTo>
                <a:lnTo>
                  <a:pt x="0" y="8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0" name="Freeform 139">
            <a:extLst>
              <a:ext uri="{FF2B5EF4-FFF2-40B4-BE49-F238E27FC236}">
                <a16:creationId xmlns:a16="http://schemas.microsoft.com/office/drawing/2014/main" id="{34A17DC9-B661-43D1-954D-B20D9111B83A}"/>
              </a:ext>
            </a:extLst>
          </p:cNvPr>
          <p:cNvSpPr>
            <a:spLocks/>
          </p:cNvSpPr>
          <p:nvPr/>
        </p:nvSpPr>
        <p:spPr bwMode="auto">
          <a:xfrm>
            <a:off x="7097349" y="3195060"/>
            <a:ext cx="412750" cy="412750"/>
          </a:xfrm>
          <a:custGeom>
            <a:avLst/>
            <a:gdLst>
              <a:gd name="T0" fmla="*/ 244 w 260"/>
              <a:gd name="T1" fmla="*/ 231 h 260"/>
              <a:gd name="T2" fmla="*/ 244 w 260"/>
              <a:gd name="T3" fmla="*/ 114 h 260"/>
              <a:gd name="T4" fmla="*/ 260 w 260"/>
              <a:gd name="T5" fmla="*/ 114 h 260"/>
              <a:gd name="T6" fmla="*/ 260 w 260"/>
              <a:gd name="T7" fmla="*/ 260 h 260"/>
              <a:gd name="T8" fmla="*/ 114 w 260"/>
              <a:gd name="T9" fmla="*/ 260 h 260"/>
              <a:gd name="T10" fmla="*/ 114 w 260"/>
              <a:gd name="T11" fmla="*/ 244 h 260"/>
              <a:gd name="T12" fmla="*/ 234 w 260"/>
              <a:gd name="T13" fmla="*/ 244 h 260"/>
              <a:gd name="T14" fmla="*/ 0 w 260"/>
              <a:gd name="T15" fmla="*/ 12 h 260"/>
              <a:gd name="T16" fmla="*/ 12 w 260"/>
              <a:gd name="T17" fmla="*/ 0 h 260"/>
              <a:gd name="T18" fmla="*/ 244 w 260"/>
              <a:gd name="T19" fmla="*/ 23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260">
                <a:moveTo>
                  <a:pt x="244" y="231"/>
                </a:moveTo>
                <a:lnTo>
                  <a:pt x="244" y="114"/>
                </a:lnTo>
                <a:lnTo>
                  <a:pt x="260" y="114"/>
                </a:lnTo>
                <a:lnTo>
                  <a:pt x="260" y="260"/>
                </a:lnTo>
                <a:lnTo>
                  <a:pt x="114" y="260"/>
                </a:lnTo>
                <a:lnTo>
                  <a:pt x="114" y="244"/>
                </a:lnTo>
                <a:lnTo>
                  <a:pt x="234" y="244"/>
                </a:lnTo>
                <a:lnTo>
                  <a:pt x="0" y="12"/>
                </a:lnTo>
                <a:lnTo>
                  <a:pt x="12" y="0"/>
                </a:lnTo>
                <a:lnTo>
                  <a:pt x="244" y="23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1" name="Freeform 143">
            <a:extLst>
              <a:ext uri="{FF2B5EF4-FFF2-40B4-BE49-F238E27FC236}">
                <a16:creationId xmlns:a16="http://schemas.microsoft.com/office/drawing/2014/main" id="{5A05961F-805C-4B58-A814-9677A80D2B23}"/>
              </a:ext>
            </a:extLst>
          </p:cNvPr>
          <p:cNvSpPr>
            <a:spLocks/>
          </p:cNvSpPr>
          <p:nvPr/>
        </p:nvSpPr>
        <p:spPr bwMode="auto">
          <a:xfrm>
            <a:off x="8142782" y="3193472"/>
            <a:ext cx="412750" cy="414338"/>
          </a:xfrm>
          <a:custGeom>
            <a:avLst/>
            <a:gdLst>
              <a:gd name="T0" fmla="*/ 227 w 260"/>
              <a:gd name="T1" fmla="*/ 204 h 261"/>
              <a:gd name="T2" fmla="*/ 227 w 260"/>
              <a:gd name="T3" fmla="*/ 114 h 261"/>
              <a:gd name="T4" fmla="*/ 260 w 260"/>
              <a:gd name="T5" fmla="*/ 114 h 261"/>
              <a:gd name="T6" fmla="*/ 260 w 260"/>
              <a:gd name="T7" fmla="*/ 261 h 261"/>
              <a:gd name="T8" fmla="*/ 114 w 260"/>
              <a:gd name="T9" fmla="*/ 261 h 261"/>
              <a:gd name="T10" fmla="*/ 114 w 260"/>
              <a:gd name="T11" fmla="*/ 228 h 261"/>
              <a:gd name="T12" fmla="*/ 205 w 260"/>
              <a:gd name="T13" fmla="*/ 228 h 261"/>
              <a:gd name="T14" fmla="*/ 0 w 260"/>
              <a:gd name="T15" fmla="*/ 22 h 261"/>
              <a:gd name="T16" fmla="*/ 22 w 260"/>
              <a:gd name="T17" fmla="*/ 0 h 261"/>
              <a:gd name="T18" fmla="*/ 227 w 260"/>
              <a:gd name="T19" fmla="*/ 20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261">
                <a:moveTo>
                  <a:pt x="227" y="204"/>
                </a:moveTo>
                <a:lnTo>
                  <a:pt x="227" y="114"/>
                </a:lnTo>
                <a:lnTo>
                  <a:pt x="260" y="114"/>
                </a:lnTo>
                <a:lnTo>
                  <a:pt x="260" y="261"/>
                </a:lnTo>
                <a:lnTo>
                  <a:pt x="114" y="261"/>
                </a:lnTo>
                <a:lnTo>
                  <a:pt x="114" y="228"/>
                </a:lnTo>
                <a:lnTo>
                  <a:pt x="205" y="228"/>
                </a:lnTo>
                <a:lnTo>
                  <a:pt x="0" y="22"/>
                </a:lnTo>
                <a:lnTo>
                  <a:pt x="22" y="0"/>
                </a:lnTo>
                <a:lnTo>
                  <a:pt x="227" y="2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2" name="Freeform 147">
            <a:extLst>
              <a:ext uri="{FF2B5EF4-FFF2-40B4-BE49-F238E27FC236}">
                <a16:creationId xmlns:a16="http://schemas.microsoft.com/office/drawing/2014/main" id="{2278C6F6-80D3-476A-9C8B-1C45ADBB10C0}"/>
              </a:ext>
            </a:extLst>
          </p:cNvPr>
          <p:cNvSpPr>
            <a:spLocks/>
          </p:cNvSpPr>
          <p:nvPr/>
        </p:nvSpPr>
        <p:spPr bwMode="auto">
          <a:xfrm>
            <a:off x="5006480" y="4050221"/>
            <a:ext cx="412750" cy="414338"/>
          </a:xfrm>
          <a:custGeom>
            <a:avLst/>
            <a:gdLst>
              <a:gd name="T0" fmla="*/ 260 w 260"/>
              <a:gd name="T1" fmla="*/ 0 h 261"/>
              <a:gd name="T2" fmla="*/ 260 w 260"/>
              <a:gd name="T3" fmla="*/ 147 h 261"/>
              <a:gd name="T4" fmla="*/ 244 w 260"/>
              <a:gd name="T5" fmla="*/ 147 h 261"/>
              <a:gd name="T6" fmla="*/ 244 w 260"/>
              <a:gd name="T7" fmla="*/ 26 h 261"/>
              <a:gd name="T8" fmla="*/ 12 w 260"/>
              <a:gd name="T9" fmla="*/ 261 h 261"/>
              <a:gd name="T10" fmla="*/ 0 w 260"/>
              <a:gd name="T11" fmla="*/ 249 h 261"/>
              <a:gd name="T12" fmla="*/ 231 w 260"/>
              <a:gd name="T13" fmla="*/ 16 h 261"/>
              <a:gd name="T14" fmla="*/ 114 w 260"/>
              <a:gd name="T15" fmla="*/ 16 h 261"/>
              <a:gd name="T16" fmla="*/ 114 w 260"/>
              <a:gd name="T17" fmla="*/ 0 h 261"/>
              <a:gd name="T18" fmla="*/ 260 w 260"/>
              <a:gd name="T19"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261">
                <a:moveTo>
                  <a:pt x="260" y="0"/>
                </a:moveTo>
                <a:lnTo>
                  <a:pt x="260" y="147"/>
                </a:lnTo>
                <a:lnTo>
                  <a:pt x="244" y="147"/>
                </a:lnTo>
                <a:lnTo>
                  <a:pt x="244" y="26"/>
                </a:lnTo>
                <a:lnTo>
                  <a:pt x="12" y="261"/>
                </a:lnTo>
                <a:lnTo>
                  <a:pt x="0" y="249"/>
                </a:lnTo>
                <a:lnTo>
                  <a:pt x="231" y="16"/>
                </a:lnTo>
                <a:lnTo>
                  <a:pt x="114" y="16"/>
                </a:lnTo>
                <a:lnTo>
                  <a:pt x="114" y="0"/>
                </a:lnTo>
                <a:lnTo>
                  <a:pt x="26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5" name="Freihandform: Form 29">
            <a:extLst>
              <a:ext uri="{FF2B5EF4-FFF2-40B4-BE49-F238E27FC236}">
                <a16:creationId xmlns:a16="http://schemas.microsoft.com/office/drawing/2014/main" id="{C67B57C2-C2B1-463C-8BDC-C92789AE2445}"/>
              </a:ext>
            </a:extLst>
          </p:cNvPr>
          <p:cNvSpPr>
            <a:spLocks noChangeAspect="1"/>
          </p:cNvSpPr>
          <p:nvPr/>
        </p:nvSpPr>
        <p:spPr>
          <a:xfrm>
            <a:off x="2691274" y="3193810"/>
            <a:ext cx="387290" cy="414000"/>
          </a:xfrm>
          <a:custGeom>
            <a:avLst/>
            <a:gdLst>
              <a:gd name="connsiteX0" fmla="*/ 126063 w 276225"/>
              <a:gd name="connsiteY0" fmla="*/ 27146 h 295275"/>
              <a:gd name="connsiteX1" fmla="*/ 98917 w 276225"/>
              <a:gd name="connsiteY1" fmla="*/ 54293 h 295275"/>
              <a:gd name="connsiteX2" fmla="*/ 71771 w 276225"/>
              <a:gd name="connsiteY2" fmla="*/ 27146 h 295275"/>
              <a:gd name="connsiteX3" fmla="*/ 98917 w 276225"/>
              <a:gd name="connsiteY3" fmla="*/ 0 h 295275"/>
              <a:gd name="connsiteX4" fmla="*/ 126063 w 276225"/>
              <a:gd name="connsiteY4" fmla="*/ 27146 h 295275"/>
              <a:gd name="connsiteX5" fmla="*/ 223495 w 276225"/>
              <a:gd name="connsiteY5" fmla="*/ 81172 h 295275"/>
              <a:gd name="connsiteX6" fmla="*/ 211588 w 276225"/>
              <a:gd name="connsiteY6" fmla="*/ 69266 h 295275"/>
              <a:gd name="connsiteX7" fmla="*/ 207016 w 276225"/>
              <a:gd name="connsiteY7" fmla="*/ 70190 h 295275"/>
              <a:gd name="connsiteX8" fmla="*/ 207016 w 276225"/>
              <a:gd name="connsiteY8" fmla="*/ 70180 h 295275"/>
              <a:gd name="connsiteX9" fmla="*/ 206997 w 276225"/>
              <a:gd name="connsiteY9" fmla="*/ 70199 h 295275"/>
              <a:gd name="connsiteX10" fmla="*/ 203368 w 276225"/>
              <a:gd name="connsiteY10" fmla="*/ 72628 h 295275"/>
              <a:gd name="connsiteX11" fmla="*/ 180108 w 276225"/>
              <a:gd name="connsiteY11" fmla="*/ 88411 h 295275"/>
              <a:gd name="connsiteX12" fmla="*/ 175765 w 276225"/>
              <a:gd name="connsiteY12" fmla="*/ 87973 h 295275"/>
              <a:gd name="connsiteX13" fmla="*/ 151895 w 276225"/>
              <a:gd name="connsiteY13" fmla="*/ 63437 h 295275"/>
              <a:gd name="connsiteX14" fmla="*/ 135084 w 276225"/>
              <a:gd name="connsiteY14" fmla="*/ 58950 h 295275"/>
              <a:gd name="connsiteX15" fmla="*/ 85773 w 276225"/>
              <a:gd name="connsiteY15" fmla="*/ 68923 h 295275"/>
              <a:gd name="connsiteX16" fmla="*/ 72771 w 276225"/>
              <a:gd name="connsiteY16" fmla="*/ 77324 h 295275"/>
              <a:gd name="connsiteX17" fmla="*/ 53607 w 276225"/>
              <a:gd name="connsiteY17" fmla="*/ 122596 h 295275"/>
              <a:gd name="connsiteX18" fmla="*/ 47892 w 276225"/>
              <a:gd name="connsiteY18" fmla="*/ 125740 h 295275"/>
              <a:gd name="connsiteX19" fmla="*/ 14726 w 276225"/>
              <a:gd name="connsiteY19" fmla="*/ 116386 h 295275"/>
              <a:gd name="connsiteX20" fmla="*/ 14669 w 276225"/>
              <a:gd name="connsiteY20" fmla="*/ 116586 h 295275"/>
              <a:gd name="connsiteX21" fmla="*/ 11906 w 276225"/>
              <a:gd name="connsiteY21" fmla="*/ 116024 h 295275"/>
              <a:gd name="connsiteX22" fmla="*/ 0 w 276225"/>
              <a:gd name="connsiteY22" fmla="*/ 127930 h 295275"/>
              <a:gd name="connsiteX23" fmla="*/ 8077 w 276225"/>
              <a:gd name="connsiteY23" fmla="*/ 139065 h 295275"/>
              <a:gd name="connsiteX24" fmla="*/ 8049 w 276225"/>
              <a:gd name="connsiteY24" fmla="*/ 139179 h 295275"/>
              <a:gd name="connsiteX25" fmla="*/ 60455 w 276225"/>
              <a:gd name="connsiteY25" fmla="*/ 149819 h 295275"/>
              <a:gd name="connsiteX26" fmla="*/ 67180 w 276225"/>
              <a:gd name="connsiteY26" fmla="*/ 146790 h 295275"/>
              <a:gd name="connsiteX27" fmla="*/ 80401 w 276225"/>
              <a:gd name="connsiteY27" fmla="*/ 115529 h 295275"/>
              <a:gd name="connsiteX28" fmla="*/ 83315 w 276225"/>
              <a:gd name="connsiteY28" fmla="*/ 117767 h 295275"/>
              <a:gd name="connsiteX29" fmla="*/ 82420 w 276225"/>
              <a:gd name="connsiteY29" fmla="*/ 169421 h 295275"/>
              <a:gd name="connsiteX30" fmla="*/ 61017 w 276225"/>
              <a:gd name="connsiteY30" fmla="*/ 228257 h 295275"/>
              <a:gd name="connsiteX31" fmla="*/ 61693 w 276225"/>
              <a:gd name="connsiteY31" fmla="*/ 238906 h 295275"/>
              <a:gd name="connsiteX32" fmla="*/ 83315 w 276225"/>
              <a:gd name="connsiteY32" fmla="*/ 297294 h 295275"/>
              <a:gd name="connsiteX33" fmla="*/ 83449 w 276225"/>
              <a:gd name="connsiteY33" fmla="*/ 297647 h 295275"/>
              <a:gd name="connsiteX34" fmla="*/ 83525 w 276225"/>
              <a:gd name="connsiteY34" fmla="*/ 297856 h 295275"/>
              <a:gd name="connsiteX35" fmla="*/ 83572 w 276225"/>
              <a:gd name="connsiteY35" fmla="*/ 297837 h 295275"/>
              <a:gd name="connsiteX36" fmla="*/ 94336 w 276225"/>
              <a:gd name="connsiteY36" fmla="*/ 304790 h 295275"/>
              <a:gd name="connsiteX37" fmla="*/ 106242 w 276225"/>
              <a:gd name="connsiteY37" fmla="*/ 292884 h 295275"/>
              <a:gd name="connsiteX38" fmla="*/ 105366 w 276225"/>
              <a:gd name="connsiteY38" fmla="*/ 288560 h 295275"/>
              <a:gd name="connsiteX39" fmla="*/ 105413 w 276225"/>
              <a:gd name="connsiteY39" fmla="*/ 288541 h 295275"/>
              <a:gd name="connsiteX40" fmla="*/ 87135 w 276225"/>
              <a:gd name="connsiteY40" fmla="*/ 235944 h 295275"/>
              <a:gd name="connsiteX41" fmla="*/ 87811 w 276225"/>
              <a:gd name="connsiteY41" fmla="*/ 229486 h 295275"/>
              <a:gd name="connsiteX42" fmla="*/ 110366 w 276225"/>
              <a:gd name="connsiteY42" fmla="*/ 181032 h 295275"/>
              <a:gd name="connsiteX43" fmla="*/ 117958 w 276225"/>
              <a:gd name="connsiteY43" fmla="*/ 231048 h 295275"/>
              <a:gd name="connsiteX44" fmla="*/ 121263 w 276225"/>
              <a:gd name="connsiteY44" fmla="*/ 239754 h 295275"/>
              <a:gd name="connsiteX45" fmla="*/ 154743 w 276225"/>
              <a:gd name="connsiteY45" fmla="*/ 287884 h 295275"/>
              <a:gd name="connsiteX46" fmla="*/ 154810 w 276225"/>
              <a:gd name="connsiteY46" fmla="*/ 287826 h 295275"/>
              <a:gd name="connsiteX47" fmla="*/ 163640 w 276225"/>
              <a:gd name="connsiteY47" fmla="*/ 291922 h 295275"/>
              <a:gd name="connsiteX48" fmla="*/ 175546 w 276225"/>
              <a:gd name="connsiteY48" fmla="*/ 280016 h 295275"/>
              <a:gd name="connsiteX49" fmla="*/ 172707 w 276225"/>
              <a:gd name="connsiteY49" fmla="*/ 272558 h 295275"/>
              <a:gd name="connsiteX50" fmla="*/ 172822 w 276225"/>
              <a:gd name="connsiteY50" fmla="*/ 272463 h 295275"/>
              <a:gd name="connsiteX51" fmla="*/ 141341 w 276225"/>
              <a:gd name="connsiteY51" fmla="*/ 230029 h 295275"/>
              <a:gd name="connsiteX52" fmla="*/ 140703 w 276225"/>
              <a:gd name="connsiteY52" fmla="*/ 88516 h 295275"/>
              <a:gd name="connsiteX53" fmla="*/ 142942 w 276225"/>
              <a:gd name="connsiteY53" fmla="*/ 87059 h 295275"/>
              <a:gd name="connsiteX54" fmla="*/ 171517 w 276225"/>
              <a:gd name="connsiteY54" fmla="*/ 113728 h 295275"/>
              <a:gd name="connsiteX55" fmla="*/ 180032 w 276225"/>
              <a:gd name="connsiteY55" fmla="*/ 113843 h 295275"/>
              <a:gd name="connsiteX56" fmla="*/ 214970 w 276225"/>
              <a:gd name="connsiteY56" fmla="*/ 92383 h 295275"/>
              <a:gd name="connsiteX57" fmla="*/ 223495 w 276225"/>
              <a:gd name="connsiteY57" fmla="*/ 81172 h 295275"/>
              <a:gd name="connsiteX58" fmla="*/ 262328 w 276225"/>
              <a:gd name="connsiteY58" fmla="*/ 120644 h 295275"/>
              <a:gd name="connsiteX59" fmla="*/ 236639 w 276225"/>
              <a:gd name="connsiteY59" fmla="*/ 120072 h 295275"/>
              <a:gd name="connsiteX60" fmla="*/ 236639 w 276225"/>
              <a:gd name="connsiteY60" fmla="*/ 170821 h 295275"/>
              <a:gd name="connsiteX61" fmla="*/ 225152 w 276225"/>
              <a:gd name="connsiteY61" fmla="*/ 170431 h 295275"/>
              <a:gd name="connsiteX62" fmla="*/ 210493 w 276225"/>
              <a:gd name="connsiteY62" fmla="*/ 187528 h 295275"/>
              <a:gd name="connsiteX63" fmla="*/ 231086 w 276225"/>
              <a:gd name="connsiteY63" fmla="*/ 196634 h 295275"/>
              <a:gd name="connsiteX64" fmla="*/ 245926 w 276225"/>
              <a:gd name="connsiteY64" fmla="*/ 181604 h 295275"/>
              <a:gd name="connsiteX65" fmla="*/ 245993 w 276225"/>
              <a:gd name="connsiteY65" fmla="*/ 181604 h 295275"/>
              <a:gd name="connsiteX66" fmla="*/ 245993 w 276225"/>
              <a:gd name="connsiteY66" fmla="*/ 136360 h 295275"/>
              <a:gd name="connsiteX67" fmla="*/ 258918 w 276225"/>
              <a:gd name="connsiteY67" fmla="*/ 133960 h 295275"/>
              <a:gd name="connsiteX68" fmla="*/ 278482 w 276225"/>
              <a:gd name="connsiteY68" fmla="*/ 145590 h 295275"/>
              <a:gd name="connsiteX69" fmla="*/ 262328 w 276225"/>
              <a:gd name="connsiteY69" fmla="*/ 120644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276225" h="295275">
                <a:moveTo>
                  <a:pt x="126063" y="27146"/>
                </a:moveTo>
                <a:cubicBezTo>
                  <a:pt x="126063" y="42139"/>
                  <a:pt x="113909" y="54293"/>
                  <a:pt x="98917" y="54293"/>
                </a:cubicBezTo>
                <a:cubicBezTo>
                  <a:pt x="83925" y="54293"/>
                  <a:pt x="71771" y="42139"/>
                  <a:pt x="71771" y="27146"/>
                </a:cubicBezTo>
                <a:cubicBezTo>
                  <a:pt x="71771" y="12154"/>
                  <a:pt x="83925" y="0"/>
                  <a:pt x="98917" y="0"/>
                </a:cubicBezTo>
                <a:cubicBezTo>
                  <a:pt x="113909" y="0"/>
                  <a:pt x="126063" y="12154"/>
                  <a:pt x="126063" y="27146"/>
                </a:cubicBezTo>
                <a:close/>
                <a:moveTo>
                  <a:pt x="223495" y="81172"/>
                </a:moveTo>
                <a:cubicBezTo>
                  <a:pt x="223495" y="74600"/>
                  <a:pt x="218161" y="69266"/>
                  <a:pt x="211588" y="69266"/>
                </a:cubicBezTo>
                <a:cubicBezTo>
                  <a:pt x="209969" y="69266"/>
                  <a:pt x="208426" y="69599"/>
                  <a:pt x="207016" y="70190"/>
                </a:cubicBezTo>
                <a:lnTo>
                  <a:pt x="207016" y="70180"/>
                </a:lnTo>
                <a:cubicBezTo>
                  <a:pt x="207016" y="70180"/>
                  <a:pt x="206997" y="70190"/>
                  <a:pt x="206997" y="70199"/>
                </a:cubicBezTo>
                <a:cubicBezTo>
                  <a:pt x="205635" y="70771"/>
                  <a:pt x="204416" y="71618"/>
                  <a:pt x="203368" y="72628"/>
                </a:cubicBezTo>
                <a:cubicBezTo>
                  <a:pt x="196406" y="77295"/>
                  <a:pt x="181737" y="87144"/>
                  <a:pt x="180108" y="88411"/>
                </a:cubicBezTo>
                <a:cubicBezTo>
                  <a:pt x="179403" y="88630"/>
                  <a:pt x="177041" y="89345"/>
                  <a:pt x="175765" y="87973"/>
                </a:cubicBezTo>
                <a:cubicBezTo>
                  <a:pt x="174022" y="86125"/>
                  <a:pt x="156267" y="67694"/>
                  <a:pt x="151895" y="63437"/>
                </a:cubicBezTo>
                <a:cubicBezTo>
                  <a:pt x="146294" y="57493"/>
                  <a:pt x="141361" y="57836"/>
                  <a:pt x="135084" y="58950"/>
                </a:cubicBezTo>
                <a:cubicBezTo>
                  <a:pt x="131597" y="59569"/>
                  <a:pt x="90488" y="67799"/>
                  <a:pt x="85773" y="68923"/>
                </a:cubicBezTo>
                <a:cubicBezTo>
                  <a:pt x="77934" y="70047"/>
                  <a:pt x="74790" y="72733"/>
                  <a:pt x="72771" y="77324"/>
                </a:cubicBezTo>
                <a:cubicBezTo>
                  <a:pt x="71066" y="81210"/>
                  <a:pt x="58093" y="112652"/>
                  <a:pt x="53607" y="122596"/>
                </a:cubicBezTo>
                <a:cubicBezTo>
                  <a:pt x="52788" y="124416"/>
                  <a:pt x="52483" y="127187"/>
                  <a:pt x="47892" y="125740"/>
                </a:cubicBezTo>
                <a:cubicBezTo>
                  <a:pt x="45720" y="125054"/>
                  <a:pt x="14726" y="116386"/>
                  <a:pt x="14726" y="116386"/>
                </a:cubicBezTo>
                <a:lnTo>
                  <a:pt x="14669" y="116586"/>
                </a:lnTo>
                <a:cubicBezTo>
                  <a:pt x="13754" y="116357"/>
                  <a:pt x="12887" y="116024"/>
                  <a:pt x="11906" y="116024"/>
                </a:cubicBezTo>
                <a:cubicBezTo>
                  <a:pt x="5334" y="116024"/>
                  <a:pt x="0" y="121358"/>
                  <a:pt x="0" y="127930"/>
                </a:cubicBezTo>
                <a:cubicBezTo>
                  <a:pt x="0" y="133150"/>
                  <a:pt x="3410" y="137455"/>
                  <a:pt x="8077" y="139065"/>
                </a:cubicBezTo>
                <a:lnTo>
                  <a:pt x="8049" y="139179"/>
                </a:lnTo>
                <a:cubicBezTo>
                  <a:pt x="8049" y="139179"/>
                  <a:pt x="56750" y="149038"/>
                  <a:pt x="60455" y="149819"/>
                </a:cubicBezTo>
                <a:cubicBezTo>
                  <a:pt x="64151" y="150600"/>
                  <a:pt x="65942" y="149600"/>
                  <a:pt x="67180" y="146790"/>
                </a:cubicBezTo>
                <a:cubicBezTo>
                  <a:pt x="68409" y="143989"/>
                  <a:pt x="80401" y="115529"/>
                  <a:pt x="80401" y="115529"/>
                </a:cubicBezTo>
                <a:cubicBezTo>
                  <a:pt x="80401" y="115529"/>
                  <a:pt x="83315" y="113509"/>
                  <a:pt x="83315" y="117767"/>
                </a:cubicBezTo>
                <a:cubicBezTo>
                  <a:pt x="83315" y="122025"/>
                  <a:pt x="82420" y="169421"/>
                  <a:pt x="82420" y="169421"/>
                </a:cubicBezTo>
                <a:cubicBezTo>
                  <a:pt x="82420" y="169421"/>
                  <a:pt x="62132" y="224790"/>
                  <a:pt x="61017" y="228257"/>
                </a:cubicBezTo>
                <a:cubicBezTo>
                  <a:pt x="59893" y="231734"/>
                  <a:pt x="60341" y="235201"/>
                  <a:pt x="61693" y="238906"/>
                </a:cubicBezTo>
                <a:cubicBezTo>
                  <a:pt x="62960" y="242392"/>
                  <a:pt x="81248" y="291713"/>
                  <a:pt x="83315" y="297294"/>
                </a:cubicBezTo>
                <a:cubicBezTo>
                  <a:pt x="83363" y="297409"/>
                  <a:pt x="83391" y="297532"/>
                  <a:pt x="83449" y="297647"/>
                </a:cubicBezTo>
                <a:cubicBezTo>
                  <a:pt x="83468" y="297694"/>
                  <a:pt x="83525" y="297856"/>
                  <a:pt x="83525" y="297856"/>
                </a:cubicBezTo>
                <a:lnTo>
                  <a:pt x="83572" y="297837"/>
                </a:lnTo>
                <a:cubicBezTo>
                  <a:pt x="85458" y="301923"/>
                  <a:pt x="89535" y="304790"/>
                  <a:pt x="94336" y="304790"/>
                </a:cubicBezTo>
                <a:cubicBezTo>
                  <a:pt x="100908" y="304790"/>
                  <a:pt x="106242" y="299456"/>
                  <a:pt x="106242" y="292884"/>
                </a:cubicBezTo>
                <a:cubicBezTo>
                  <a:pt x="106242" y="291351"/>
                  <a:pt x="105899" y="289912"/>
                  <a:pt x="105366" y="288560"/>
                </a:cubicBezTo>
                <a:lnTo>
                  <a:pt x="105413" y="288541"/>
                </a:lnTo>
                <a:cubicBezTo>
                  <a:pt x="105413" y="288541"/>
                  <a:pt x="87830" y="237877"/>
                  <a:pt x="87135" y="235944"/>
                </a:cubicBezTo>
                <a:cubicBezTo>
                  <a:pt x="85906" y="232515"/>
                  <a:pt x="86906" y="231286"/>
                  <a:pt x="87811" y="229486"/>
                </a:cubicBezTo>
                <a:cubicBezTo>
                  <a:pt x="88906" y="227286"/>
                  <a:pt x="110366" y="181032"/>
                  <a:pt x="110366" y="181032"/>
                </a:cubicBezTo>
                <a:cubicBezTo>
                  <a:pt x="110366" y="181032"/>
                  <a:pt x="117062" y="225781"/>
                  <a:pt x="117958" y="231048"/>
                </a:cubicBezTo>
                <a:cubicBezTo>
                  <a:pt x="118853" y="236315"/>
                  <a:pt x="119977" y="237887"/>
                  <a:pt x="121263" y="239754"/>
                </a:cubicBezTo>
                <a:cubicBezTo>
                  <a:pt x="122549" y="241621"/>
                  <a:pt x="154743" y="287884"/>
                  <a:pt x="154743" y="287884"/>
                </a:cubicBezTo>
                <a:lnTo>
                  <a:pt x="154810" y="287826"/>
                </a:lnTo>
                <a:cubicBezTo>
                  <a:pt x="156991" y="290293"/>
                  <a:pt x="160087" y="291922"/>
                  <a:pt x="163640" y="291922"/>
                </a:cubicBezTo>
                <a:cubicBezTo>
                  <a:pt x="170212" y="291922"/>
                  <a:pt x="175546" y="286588"/>
                  <a:pt x="175546" y="280016"/>
                </a:cubicBezTo>
                <a:cubicBezTo>
                  <a:pt x="175546" y="277149"/>
                  <a:pt x="174393" y="274615"/>
                  <a:pt x="172707" y="272558"/>
                </a:cubicBezTo>
                <a:lnTo>
                  <a:pt x="172822" y="272463"/>
                </a:lnTo>
                <a:cubicBezTo>
                  <a:pt x="172822" y="272463"/>
                  <a:pt x="142951" y="234420"/>
                  <a:pt x="141341" y="230029"/>
                </a:cubicBezTo>
                <a:cubicBezTo>
                  <a:pt x="139732" y="225647"/>
                  <a:pt x="140818" y="91878"/>
                  <a:pt x="140703" y="88516"/>
                </a:cubicBezTo>
                <a:cubicBezTo>
                  <a:pt x="140589" y="85153"/>
                  <a:pt x="142942" y="87059"/>
                  <a:pt x="142942" y="87059"/>
                </a:cubicBezTo>
                <a:cubicBezTo>
                  <a:pt x="142942" y="87059"/>
                  <a:pt x="168773" y="110985"/>
                  <a:pt x="171517" y="113728"/>
                </a:cubicBezTo>
                <a:cubicBezTo>
                  <a:pt x="174260" y="116472"/>
                  <a:pt x="178356" y="115072"/>
                  <a:pt x="180032" y="113843"/>
                </a:cubicBezTo>
                <a:cubicBezTo>
                  <a:pt x="181518" y="112757"/>
                  <a:pt x="208674" y="96222"/>
                  <a:pt x="214970" y="92383"/>
                </a:cubicBezTo>
                <a:cubicBezTo>
                  <a:pt x="219856" y="90926"/>
                  <a:pt x="223495" y="86554"/>
                  <a:pt x="223495" y="81172"/>
                </a:cubicBezTo>
                <a:close/>
                <a:moveTo>
                  <a:pt x="262328" y="120644"/>
                </a:moveTo>
                <a:cubicBezTo>
                  <a:pt x="249850" y="116957"/>
                  <a:pt x="236639" y="120072"/>
                  <a:pt x="236639" y="120072"/>
                </a:cubicBezTo>
                <a:lnTo>
                  <a:pt x="236639" y="170821"/>
                </a:lnTo>
                <a:cubicBezTo>
                  <a:pt x="233239" y="169745"/>
                  <a:pt x="229267" y="169497"/>
                  <a:pt x="225152" y="170431"/>
                </a:cubicBezTo>
                <a:cubicBezTo>
                  <a:pt x="215417" y="172641"/>
                  <a:pt x="208855" y="180289"/>
                  <a:pt x="210493" y="187528"/>
                </a:cubicBezTo>
                <a:cubicBezTo>
                  <a:pt x="212131" y="194767"/>
                  <a:pt x="221351" y="198844"/>
                  <a:pt x="231086" y="196634"/>
                </a:cubicBezTo>
                <a:cubicBezTo>
                  <a:pt x="239897" y="194643"/>
                  <a:pt x="246040" y="188176"/>
                  <a:pt x="245926" y="181604"/>
                </a:cubicBezTo>
                <a:lnTo>
                  <a:pt x="245993" y="181604"/>
                </a:lnTo>
                <a:lnTo>
                  <a:pt x="245993" y="136360"/>
                </a:lnTo>
                <a:cubicBezTo>
                  <a:pt x="248183" y="135198"/>
                  <a:pt x="253079" y="133131"/>
                  <a:pt x="258918" y="133960"/>
                </a:cubicBezTo>
                <a:cubicBezTo>
                  <a:pt x="266862" y="135093"/>
                  <a:pt x="278482" y="145590"/>
                  <a:pt x="278482" y="145590"/>
                </a:cubicBezTo>
                <a:cubicBezTo>
                  <a:pt x="278482" y="145590"/>
                  <a:pt x="274806" y="124330"/>
                  <a:pt x="262328" y="120644"/>
                </a:cubicBezTo>
                <a:close/>
              </a:path>
            </a:pathLst>
          </a:custGeom>
          <a:solidFill>
            <a:schemeClr val="tx2"/>
          </a:solidFill>
          <a:ln w="9525" cap="flat">
            <a:noFill/>
            <a:prstDash val="solid"/>
            <a:miter/>
          </a:ln>
        </p:spPr>
        <p:txBody>
          <a:bodyPr rtlCol="0" anchor="ctr"/>
          <a:lstStyle/>
          <a:p>
            <a:endParaRPr lang="en-GB" dirty="0"/>
          </a:p>
        </p:txBody>
      </p:sp>
      <p:sp>
        <p:nvSpPr>
          <p:cNvPr id="225" name="Freeform 46">
            <a:extLst>
              <a:ext uri="{FF2B5EF4-FFF2-40B4-BE49-F238E27FC236}">
                <a16:creationId xmlns:a16="http://schemas.microsoft.com/office/drawing/2014/main" id="{F907A62E-73C7-4864-B30D-474ADF8AE2D3}"/>
              </a:ext>
            </a:extLst>
          </p:cNvPr>
          <p:cNvSpPr>
            <a:spLocks noEditPoints="1"/>
          </p:cNvSpPr>
          <p:nvPr/>
        </p:nvSpPr>
        <p:spPr bwMode="auto">
          <a:xfrm>
            <a:off x="587675" y="1553637"/>
            <a:ext cx="412750" cy="412750"/>
          </a:xfrm>
          <a:custGeom>
            <a:avLst/>
            <a:gdLst>
              <a:gd name="T0" fmla="*/ 62 w 128"/>
              <a:gd name="T1" fmla="*/ 44 h 128"/>
              <a:gd name="T2" fmla="*/ 16 w 128"/>
              <a:gd name="T3" fmla="*/ 44 h 128"/>
              <a:gd name="T4" fmla="*/ 16 w 128"/>
              <a:gd name="T5" fmla="*/ 24 h 128"/>
              <a:gd name="T6" fmla="*/ 62 w 128"/>
              <a:gd name="T7" fmla="*/ 24 h 128"/>
              <a:gd name="T8" fmla="*/ 62 w 128"/>
              <a:gd name="T9" fmla="*/ 44 h 128"/>
              <a:gd name="T10" fmla="*/ 96 w 128"/>
              <a:gd name="T11" fmla="*/ 0 h 128"/>
              <a:gd name="T12" fmla="*/ 32 w 128"/>
              <a:gd name="T13" fmla="*/ 0 h 128"/>
              <a:gd name="T14" fmla="*/ 32 w 128"/>
              <a:gd name="T15" fmla="*/ 20 h 128"/>
              <a:gd name="T16" fmla="*/ 96 w 128"/>
              <a:gd name="T17" fmla="*/ 20 h 128"/>
              <a:gd name="T18" fmla="*/ 96 w 128"/>
              <a:gd name="T19" fmla="*/ 0 h 128"/>
              <a:gd name="T20" fmla="*/ 112 w 128"/>
              <a:gd name="T21" fmla="*/ 24 h 128"/>
              <a:gd name="T22" fmla="*/ 66 w 128"/>
              <a:gd name="T23" fmla="*/ 24 h 128"/>
              <a:gd name="T24" fmla="*/ 66 w 128"/>
              <a:gd name="T25" fmla="*/ 44 h 128"/>
              <a:gd name="T26" fmla="*/ 112 w 128"/>
              <a:gd name="T27" fmla="*/ 44 h 128"/>
              <a:gd name="T28" fmla="*/ 112 w 128"/>
              <a:gd name="T29" fmla="*/ 24 h 128"/>
              <a:gd name="T30" fmla="*/ 40 w 128"/>
              <a:gd name="T31" fmla="*/ 68 h 128"/>
              <a:gd name="T32" fmla="*/ 34 w 128"/>
              <a:gd name="T33" fmla="*/ 74 h 128"/>
              <a:gd name="T34" fmla="*/ 40 w 128"/>
              <a:gd name="T35" fmla="*/ 79 h 128"/>
              <a:gd name="T36" fmla="*/ 46 w 128"/>
              <a:gd name="T37" fmla="*/ 74 h 128"/>
              <a:gd name="T38" fmla="*/ 40 w 128"/>
              <a:gd name="T39" fmla="*/ 68 h 128"/>
              <a:gd name="T40" fmla="*/ 64 w 128"/>
              <a:gd name="T41" fmla="*/ 68 h 128"/>
              <a:gd name="T42" fmla="*/ 58 w 128"/>
              <a:gd name="T43" fmla="*/ 74 h 128"/>
              <a:gd name="T44" fmla="*/ 64 w 128"/>
              <a:gd name="T45" fmla="*/ 79 h 128"/>
              <a:gd name="T46" fmla="*/ 70 w 128"/>
              <a:gd name="T47" fmla="*/ 74 h 128"/>
              <a:gd name="T48" fmla="*/ 64 w 128"/>
              <a:gd name="T49" fmla="*/ 68 h 128"/>
              <a:gd name="T50" fmla="*/ 88 w 128"/>
              <a:gd name="T51" fmla="*/ 68 h 128"/>
              <a:gd name="T52" fmla="*/ 82 w 128"/>
              <a:gd name="T53" fmla="*/ 74 h 128"/>
              <a:gd name="T54" fmla="*/ 88 w 128"/>
              <a:gd name="T55" fmla="*/ 79 h 128"/>
              <a:gd name="T56" fmla="*/ 94 w 128"/>
              <a:gd name="T57" fmla="*/ 74 h 128"/>
              <a:gd name="T58" fmla="*/ 88 w 128"/>
              <a:gd name="T59" fmla="*/ 68 h 128"/>
              <a:gd name="T60" fmla="*/ 22 w 128"/>
              <a:gd name="T61" fmla="*/ 104 h 128"/>
              <a:gd name="T62" fmla="*/ 16 w 128"/>
              <a:gd name="T63" fmla="*/ 98 h 128"/>
              <a:gd name="T64" fmla="*/ 16 w 128"/>
              <a:gd name="T65" fmla="*/ 60 h 128"/>
              <a:gd name="T66" fmla="*/ 112 w 128"/>
              <a:gd name="T67" fmla="*/ 60 h 128"/>
              <a:gd name="T68" fmla="*/ 112 w 128"/>
              <a:gd name="T69" fmla="*/ 98 h 128"/>
              <a:gd name="T70" fmla="*/ 106 w 128"/>
              <a:gd name="T71" fmla="*/ 104 h 128"/>
              <a:gd name="T72" fmla="*/ 113 w 128"/>
              <a:gd name="T73" fmla="*/ 108 h 128"/>
              <a:gd name="T74" fmla="*/ 120 w 128"/>
              <a:gd name="T75" fmla="*/ 101 h 128"/>
              <a:gd name="T76" fmla="*/ 120 w 128"/>
              <a:gd name="T77" fmla="*/ 52 h 128"/>
              <a:gd name="T78" fmla="*/ 8 w 128"/>
              <a:gd name="T79" fmla="*/ 52 h 128"/>
              <a:gd name="T80" fmla="*/ 8 w 128"/>
              <a:gd name="T81" fmla="*/ 102 h 128"/>
              <a:gd name="T82" fmla="*/ 15 w 128"/>
              <a:gd name="T83" fmla="*/ 108 h 128"/>
              <a:gd name="T84" fmla="*/ 22 w 128"/>
              <a:gd name="T85" fmla="*/ 104 h 128"/>
              <a:gd name="T86" fmla="*/ 128 w 128"/>
              <a:gd name="T87" fmla="*/ 120 h 128"/>
              <a:gd name="T88" fmla="*/ 98 w 128"/>
              <a:gd name="T89" fmla="*/ 109 h 128"/>
              <a:gd name="T90" fmla="*/ 96 w 128"/>
              <a:gd name="T91" fmla="*/ 107 h 128"/>
              <a:gd name="T92" fmla="*/ 94 w 128"/>
              <a:gd name="T93" fmla="*/ 109 h 128"/>
              <a:gd name="T94" fmla="*/ 64 w 128"/>
              <a:gd name="T95" fmla="*/ 120 h 128"/>
              <a:gd name="T96" fmla="*/ 34 w 128"/>
              <a:gd name="T97" fmla="*/ 109 h 128"/>
              <a:gd name="T98" fmla="*/ 32 w 128"/>
              <a:gd name="T99" fmla="*/ 107 h 128"/>
              <a:gd name="T100" fmla="*/ 30 w 128"/>
              <a:gd name="T101" fmla="*/ 109 h 128"/>
              <a:gd name="T102" fmla="*/ 0 w 128"/>
              <a:gd name="T103" fmla="*/ 120 h 128"/>
              <a:gd name="T104" fmla="*/ 0 w 128"/>
              <a:gd name="T105" fmla="*/ 128 h 128"/>
              <a:gd name="T106" fmla="*/ 32 w 128"/>
              <a:gd name="T107" fmla="*/ 117 h 128"/>
              <a:gd name="T108" fmla="*/ 64 w 128"/>
              <a:gd name="T109" fmla="*/ 128 h 128"/>
              <a:gd name="T110" fmla="*/ 96 w 128"/>
              <a:gd name="T111" fmla="*/ 117 h 128"/>
              <a:gd name="T112" fmla="*/ 128 w 128"/>
              <a:gd name="T113" fmla="*/ 128 h 128"/>
              <a:gd name="T114" fmla="*/ 128 w 128"/>
              <a:gd name="T115"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8" h="128">
                <a:moveTo>
                  <a:pt x="62" y="44"/>
                </a:moveTo>
                <a:cubicBezTo>
                  <a:pt x="16" y="44"/>
                  <a:pt x="16" y="44"/>
                  <a:pt x="16" y="44"/>
                </a:cubicBezTo>
                <a:cubicBezTo>
                  <a:pt x="16" y="24"/>
                  <a:pt x="16" y="24"/>
                  <a:pt x="16" y="24"/>
                </a:cubicBezTo>
                <a:cubicBezTo>
                  <a:pt x="62" y="24"/>
                  <a:pt x="62" y="24"/>
                  <a:pt x="62" y="24"/>
                </a:cubicBezTo>
                <a:lnTo>
                  <a:pt x="62" y="44"/>
                </a:lnTo>
                <a:close/>
                <a:moveTo>
                  <a:pt x="96" y="0"/>
                </a:moveTo>
                <a:cubicBezTo>
                  <a:pt x="32" y="0"/>
                  <a:pt x="32" y="0"/>
                  <a:pt x="32" y="0"/>
                </a:cubicBezTo>
                <a:cubicBezTo>
                  <a:pt x="32" y="20"/>
                  <a:pt x="32" y="20"/>
                  <a:pt x="32" y="20"/>
                </a:cubicBezTo>
                <a:cubicBezTo>
                  <a:pt x="96" y="20"/>
                  <a:pt x="96" y="20"/>
                  <a:pt x="96" y="20"/>
                </a:cubicBezTo>
                <a:lnTo>
                  <a:pt x="96" y="0"/>
                </a:lnTo>
                <a:close/>
                <a:moveTo>
                  <a:pt x="112" y="24"/>
                </a:moveTo>
                <a:cubicBezTo>
                  <a:pt x="66" y="24"/>
                  <a:pt x="66" y="24"/>
                  <a:pt x="66" y="24"/>
                </a:cubicBezTo>
                <a:cubicBezTo>
                  <a:pt x="66" y="44"/>
                  <a:pt x="66" y="44"/>
                  <a:pt x="66" y="44"/>
                </a:cubicBezTo>
                <a:cubicBezTo>
                  <a:pt x="112" y="44"/>
                  <a:pt x="112" y="44"/>
                  <a:pt x="112" y="44"/>
                </a:cubicBezTo>
                <a:lnTo>
                  <a:pt x="112" y="24"/>
                </a:lnTo>
                <a:close/>
                <a:moveTo>
                  <a:pt x="40" y="68"/>
                </a:moveTo>
                <a:cubicBezTo>
                  <a:pt x="37" y="68"/>
                  <a:pt x="34" y="71"/>
                  <a:pt x="34" y="74"/>
                </a:cubicBezTo>
                <a:cubicBezTo>
                  <a:pt x="34" y="77"/>
                  <a:pt x="37" y="79"/>
                  <a:pt x="40" y="79"/>
                </a:cubicBezTo>
                <a:cubicBezTo>
                  <a:pt x="43" y="79"/>
                  <a:pt x="46" y="77"/>
                  <a:pt x="46" y="74"/>
                </a:cubicBezTo>
                <a:cubicBezTo>
                  <a:pt x="46" y="71"/>
                  <a:pt x="43" y="68"/>
                  <a:pt x="40" y="68"/>
                </a:cubicBezTo>
                <a:close/>
                <a:moveTo>
                  <a:pt x="64" y="68"/>
                </a:moveTo>
                <a:cubicBezTo>
                  <a:pt x="61" y="68"/>
                  <a:pt x="58" y="71"/>
                  <a:pt x="58" y="74"/>
                </a:cubicBezTo>
                <a:cubicBezTo>
                  <a:pt x="58" y="77"/>
                  <a:pt x="61" y="79"/>
                  <a:pt x="64" y="79"/>
                </a:cubicBezTo>
                <a:cubicBezTo>
                  <a:pt x="67" y="79"/>
                  <a:pt x="70" y="77"/>
                  <a:pt x="70" y="74"/>
                </a:cubicBezTo>
                <a:cubicBezTo>
                  <a:pt x="70" y="71"/>
                  <a:pt x="67" y="68"/>
                  <a:pt x="64" y="68"/>
                </a:cubicBezTo>
                <a:close/>
                <a:moveTo>
                  <a:pt x="88" y="68"/>
                </a:moveTo>
                <a:cubicBezTo>
                  <a:pt x="85" y="68"/>
                  <a:pt x="82" y="71"/>
                  <a:pt x="82" y="74"/>
                </a:cubicBezTo>
                <a:cubicBezTo>
                  <a:pt x="82" y="77"/>
                  <a:pt x="85" y="79"/>
                  <a:pt x="88" y="79"/>
                </a:cubicBezTo>
                <a:cubicBezTo>
                  <a:pt x="91" y="79"/>
                  <a:pt x="94" y="77"/>
                  <a:pt x="94" y="74"/>
                </a:cubicBezTo>
                <a:cubicBezTo>
                  <a:pt x="94" y="71"/>
                  <a:pt x="91" y="68"/>
                  <a:pt x="88" y="68"/>
                </a:cubicBezTo>
                <a:close/>
                <a:moveTo>
                  <a:pt x="22" y="104"/>
                </a:moveTo>
                <a:cubicBezTo>
                  <a:pt x="16" y="98"/>
                  <a:pt x="16" y="98"/>
                  <a:pt x="16" y="98"/>
                </a:cubicBezTo>
                <a:cubicBezTo>
                  <a:pt x="16" y="60"/>
                  <a:pt x="16" y="60"/>
                  <a:pt x="16" y="60"/>
                </a:cubicBezTo>
                <a:cubicBezTo>
                  <a:pt x="112" y="60"/>
                  <a:pt x="112" y="60"/>
                  <a:pt x="112" y="60"/>
                </a:cubicBezTo>
                <a:cubicBezTo>
                  <a:pt x="112" y="98"/>
                  <a:pt x="112" y="98"/>
                  <a:pt x="112" y="98"/>
                </a:cubicBezTo>
                <a:cubicBezTo>
                  <a:pt x="106" y="104"/>
                  <a:pt x="106" y="104"/>
                  <a:pt x="106" y="104"/>
                </a:cubicBezTo>
                <a:cubicBezTo>
                  <a:pt x="108" y="106"/>
                  <a:pt x="111" y="107"/>
                  <a:pt x="113" y="108"/>
                </a:cubicBezTo>
                <a:cubicBezTo>
                  <a:pt x="120" y="101"/>
                  <a:pt x="120" y="101"/>
                  <a:pt x="120" y="101"/>
                </a:cubicBezTo>
                <a:cubicBezTo>
                  <a:pt x="120" y="52"/>
                  <a:pt x="120" y="52"/>
                  <a:pt x="120" y="52"/>
                </a:cubicBezTo>
                <a:cubicBezTo>
                  <a:pt x="8" y="52"/>
                  <a:pt x="8" y="52"/>
                  <a:pt x="8" y="52"/>
                </a:cubicBezTo>
                <a:cubicBezTo>
                  <a:pt x="8" y="102"/>
                  <a:pt x="8" y="102"/>
                  <a:pt x="8" y="102"/>
                </a:cubicBezTo>
                <a:cubicBezTo>
                  <a:pt x="15" y="108"/>
                  <a:pt x="15" y="108"/>
                  <a:pt x="15" y="108"/>
                </a:cubicBezTo>
                <a:cubicBezTo>
                  <a:pt x="17" y="107"/>
                  <a:pt x="20" y="106"/>
                  <a:pt x="22" y="104"/>
                </a:cubicBezTo>
                <a:close/>
                <a:moveTo>
                  <a:pt x="128" y="120"/>
                </a:moveTo>
                <a:cubicBezTo>
                  <a:pt x="114" y="120"/>
                  <a:pt x="99" y="109"/>
                  <a:pt x="98" y="109"/>
                </a:cubicBezTo>
                <a:cubicBezTo>
                  <a:pt x="96" y="107"/>
                  <a:pt x="96" y="107"/>
                  <a:pt x="96" y="107"/>
                </a:cubicBezTo>
                <a:cubicBezTo>
                  <a:pt x="94" y="109"/>
                  <a:pt x="94" y="109"/>
                  <a:pt x="94" y="109"/>
                </a:cubicBezTo>
                <a:cubicBezTo>
                  <a:pt x="93" y="109"/>
                  <a:pt x="78" y="120"/>
                  <a:pt x="64" y="120"/>
                </a:cubicBezTo>
                <a:cubicBezTo>
                  <a:pt x="50" y="120"/>
                  <a:pt x="35" y="109"/>
                  <a:pt x="34" y="109"/>
                </a:cubicBezTo>
                <a:cubicBezTo>
                  <a:pt x="32" y="107"/>
                  <a:pt x="32" y="107"/>
                  <a:pt x="32" y="107"/>
                </a:cubicBezTo>
                <a:cubicBezTo>
                  <a:pt x="30" y="109"/>
                  <a:pt x="30" y="109"/>
                  <a:pt x="30" y="109"/>
                </a:cubicBezTo>
                <a:cubicBezTo>
                  <a:pt x="29" y="109"/>
                  <a:pt x="14" y="120"/>
                  <a:pt x="0" y="120"/>
                </a:cubicBezTo>
                <a:cubicBezTo>
                  <a:pt x="0" y="128"/>
                  <a:pt x="0" y="128"/>
                  <a:pt x="0" y="128"/>
                </a:cubicBezTo>
                <a:cubicBezTo>
                  <a:pt x="14" y="128"/>
                  <a:pt x="27" y="120"/>
                  <a:pt x="32" y="117"/>
                </a:cubicBezTo>
                <a:cubicBezTo>
                  <a:pt x="37" y="120"/>
                  <a:pt x="50" y="128"/>
                  <a:pt x="64" y="128"/>
                </a:cubicBezTo>
                <a:cubicBezTo>
                  <a:pt x="78" y="128"/>
                  <a:pt x="91" y="120"/>
                  <a:pt x="96" y="117"/>
                </a:cubicBezTo>
                <a:cubicBezTo>
                  <a:pt x="101" y="120"/>
                  <a:pt x="114" y="128"/>
                  <a:pt x="128" y="128"/>
                </a:cubicBezTo>
                <a:lnTo>
                  <a:pt x="128" y="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6" name="Freeform 50">
            <a:extLst>
              <a:ext uri="{FF2B5EF4-FFF2-40B4-BE49-F238E27FC236}">
                <a16:creationId xmlns:a16="http://schemas.microsoft.com/office/drawing/2014/main" id="{6FE59179-695D-4F64-839E-9D2B1F6B8509}"/>
              </a:ext>
            </a:extLst>
          </p:cNvPr>
          <p:cNvSpPr>
            <a:spLocks noEditPoints="1"/>
          </p:cNvSpPr>
          <p:nvPr/>
        </p:nvSpPr>
        <p:spPr bwMode="auto">
          <a:xfrm>
            <a:off x="1683116" y="1553637"/>
            <a:ext cx="312737" cy="412750"/>
          </a:xfrm>
          <a:custGeom>
            <a:avLst/>
            <a:gdLst>
              <a:gd name="T0" fmla="*/ 181 w 197"/>
              <a:gd name="T1" fmla="*/ 16 h 260"/>
              <a:gd name="T2" fmla="*/ 181 w 197"/>
              <a:gd name="T3" fmla="*/ 244 h 260"/>
              <a:gd name="T4" fmla="*/ 17 w 197"/>
              <a:gd name="T5" fmla="*/ 244 h 260"/>
              <a:gd name="T6" fmla="*/ 17 w 197"/>
              <a:gd name="T7" fmla="*/ 16 h 260"/>
              <a:gd name="T8" fmla="*/ 181 w 197"/>
              <a:gd name="T9" fmla="*/ 16 h 260"/>
              <a:gd name="T10" fmla="*/ 197 w 197"/>
              <a:gd name="T11" fmla="*/ 0 h 260"/>
              <a:gd name="T12" fmla="*/ 0 w 197"/>
              <a:gd name="T13" fmla="*/ 0 h 260"/>
              <a:gd name="T14" fmla="*/ 0 w 197"/>
              <a:gd name="T15" fmla="*/ 260 h 260"/>
              <a:gd name="T16" fmla="*/ 197 w 197"/>
              <a:gd name="T17" fmla="*/ 260 h 260"/>
              <a:gd name="T18" fmla="*/ 197 w 197"/>
              <a:gd name="T19" fmla="*/ 0 h 260"/>
              <a:gd name="T20" fmla="*/ 197 w 197"/>
              <a:gd name="T21" fmla="*/ 0 h 260"/>
              <a:gd name="T22" fmla="*/ 164 w 197"/>
              <a:gd name="T23" fmla="*/ 162 h 260"/>
              <a:gd name="T24" fmla="*/ 33 w 197"/>
              <a:gd name="T25" fmla="*/ 162 h 260"/>
              <a:gd name="T26" fmla="*/ 33 w 197"/>
              <a:gd name="T27" fmla="*/ 179 h 260"/>
              <a:gd name="T28" fmla="*/ 164 w 197"/>
              <a:gd name="T29" fmla="*/ 179 h 260"/>
              <a:gd name="T30" fmla="*/ 164 w 197"/>
              <a:gd name="T31" fmla="*/ 162 h 260"/>
              <a:gd name="T32" fmla="*/ 164 w 197"/>
              <a:gd name="T33" fmla="*/ 195 h 260"/>
              <a:gd name="T34" fmla="*/ 33 w 197"/>
              <a:gd name="T35" fmla="*/ 195 h 260"/>
              <a:gd name="T36" fmla="*/ 33 w 197"/>
              <a:gd name="T37" fmla="*/ 211 h 260"/>
              <a:gd name="T38" fmla="*/ 164 w 197"/>
              <a:gd name="T39" fmla="*/ 211 h 260"/>
              <a:gd name="T40" fmla="*/ 164 w 197"/>
              <a:gd name="T41" fmla="*/ 195 h 260"/>
              <a:gd name="T42" fmla="*/ 164 w 197"/>
              <a:gd name="T43" fmla="*/ 130 h 260"/>
              <a:gd name="T44" fmla="*/ 33 w 197"/>
              <a:gd name="T45" fmla="*/ 130 h 260"/>
              <a:gd name="T46" fmla="*/ 33 w 197"/>
              <a:gd name="T47" fmla="*/ 146 h 260"/>
              <a:gd name="T48" fmla="*/ 164 w 197"/>
              <a:gd name="T49" fmla="*/ 146 h 260"/>
              <a:gd name="T50" fmla="*/ 164 w 197"/>
              <a:gd name="T51" fmla="*/ 130 h 260"/>
              <a:gd name="T52" fmla="*/ 33 w 197"/>
              <a:gd name="T53" fmla="*/ 97 h 260"/>
              <a:gd name="T54" fmla="*/ 107 w 197"/>
              <a:gd name="T55" fmla="*/ 97 h 260"/>
              <a:gd name="T56" fmla="*/ 107 w 197"/>
              <a:gd name="T57" fmla="*/ 41 h 260"/>
              <a:gd name="T58" fmla="*/ 33 w 197"/>
              <a:gd name="T59" fmla="*/ 41 h 260"/>
              <a:gd name="T60" fmla="*/ 33 w 197"/>
              <a:gd name="T61" fmla="*/ 9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7" h="260">
                <a:moveTo>
                  <a:pt x="181" y="16"/>
                </a:moveTo>
                <a:lnTo>
                  <a:pt x="181" y="244"/>
                </a:lnTo>
                <a:lnTo>
                  <a:pt x="17" y="244"/>
                </a:lnTo>
                <a:lnTo>
                  <a:pt x="17" y="16"/>
                </a:lnTo>
                <a:lnTo>
                  <a:pt x="181" y="16"/>
                </a:lnTo>
                <a:close/>
                <a:moveTo>
                  <a:pt x="197" y="0"/>
                </a:moveTo>
                <a:lnTo>
                  <a:pt x="0" y="0"/>
                </a:lnTo>
                <a:lnTo>
                  <a:pt x="0" y="260"/>
                </a:lnTo>
                <a:lnTo>
                  <a:pt x="197" y="260"/>
                </a:lnTo>
                <a:lnTo>
                  <a:pt x="197" y="0"/>
                </a:lnTo>
                <a:lnTo>
                  <a:pt x="197" y="0"/>
                </a:lnTo>
                <a:close/>
                <a:moveTo>
                  <a:pt x="164" y="162"/>
                </a:moveTo>
                <a:lnTo>
                  <a:pt x="33" y="162"/>
                </a:lnTo>
                <a:lnTo>
                  <a:pt x="33" y="179"/>
                </a:lnTo>
                <a:lnTo>
                  <a:pt x="164" y="179"/>
                </a:lnTo>
                <a:lnTo>
                  <a:pt x="164" y="162"/>
                </a:lnTo>
                <a:close/>
                <a:moveTo>
                  <a:pt x="164" y="195"/>
                </a:moveTo>
                <a:lnTo>
                  <a:pt x="33" y="195"/>
                </a:lnTo>
                <a:lnTo>
                  <a:pt x="33" y="211"/>
                </a:lnTo>
                <a:lnTo>
                  <a:pt x="164" y="211"/>
                </a:lnTo>
                <a:lnTo>
                  <a:pt x="164" y="195"/>
                </a:lnTo>
                <a:close/>
                <a:moveTo>
                  <a:pt x="164" y="130"/>
                </a:moveTo>
                <a:lnTo>
                  <a:pt x="33" y="130"/>
                </a:lnTo>
                <a:lnTo>
                  <a:pt x="33" y="146"/>
                </a:lnTo>
                <a:lnTo>
                  <a:pt x="164" y="146"/>
                </a:lnTo>
                <a:lnTo>
                  <a:pt x="164" y="130"/>
                </a:lnTo>
                <a:close/>
                <a:moveTo>
                  <a:pt x="33" y="97"/>
                </a:moveTo>
                <a:lnTo>
                  <a:pt x="107" y="97"/>
                </a:lnTo>
                <a:lnTo>
                  <a:pt x="107" y="41"/>
                </a:lnTo>
                <a:lnTo>
                  <a:pt x="33" y="41"/>
                </a:lnTo>
                <a:lnTo>
                  <a:pt x="33" y="9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7" name="Freeform 55">
            <a:extLst>
              <a:ext uri="{FF2B5EF4-FFF2-40B4-BE49-F238E27FC236}">
                <a16:creationId xmlns:a16="http://schemas.microsoft.com/office/drawing/2014/main" id="{92EF922B-8FD0-4DC6-9F27-072ABC540E11}"/>
              </a:ext>
            </a:extLst>
          </p:cNvPr>
          <p:cNvSpPr>
            <a:spLocks noEditPoints="1"/>
          </p:cNvSpPr>
          <p:nvPr/>
        </p:nvSpPr>
        <p:spPr bwMode="auto">
          <a:xfrm>
            <a:off x="2715850" y="1553637"/>
            <a:ext cx="338137" cy="412750"/>
          </a:xfrm>
          <a:custGeom>
            <a:avLst/>
            <a:gdLst>
              <a:gd name="T0" fmla="*/ 48 w 104"/>
              <a:gd name="T1" fmla="*/ 96 h 128"/>
              <a:gd name="T2" fmla="*/ 48 w 104"/>
              <a:gd name="T3" fmla="*/ 96 h 128"/>
              <a:gd name="T4" fmla="*/ 48 w 104"/>
              <a:gd name="T5" fmla="*/ 128 h 128"/>
              <a:gd name="T6" fmla="*/ 0 w 104"/>
              <a:gd name="T7" fmla="*/ 128 h 128"/>
              <a:gd name="T8" fmla="*/ 0 w 104"/>
              <a:gd name="T9" fmla="*/ 96 h 128"/>
              <a:gd name="T10" fmla="*/ 0 w 104"/>
              <a:gd name="T11" fmla="*/ 96 h 128"/>
              <a:gd name="T12" fmla="*/ 24 w 104"/>
              <a:gd name="T13" fmla="*/ 116 h 128"/>
              <a:gd name="T14" fmla="*/ 48 w 104"/>
              <a:gd name="T15" fmla="*/ 96 h 128"/>
              <a:gd name="T16" fmla="*/ 57 w 104"/>
              <a:gd name="T17" fmla="*/ 23 h 128"/>
              <a:gd name="T18" fmla="*/ 57 w 104"/>
              <a:gd name="T19" fmla="*/ 23 h 128"/>
              <a:gd name="T20" fmla="*/ 24 w 104"/>
              <a:gd name="T21" fmla="*/ 68 h 128"/>
              <a:gd name="T22" fmla="*/ 47 w 104"/>
              <a:gd name="T23" fmla="*/ 84 h 128"/>
              <a:gd name="T24" fmla="*/ 68 w 104"/>
              <a:gd name="T25" fmla="*/ 37 h 128"/>
              <a:gd name="T26" fmla="*/ 57 w 104"/>
              <a:gd name="T27" fmla="*/ 23 h 128"/>
              <a:gd name="T28" fmla="*/ 8 w 104"/>
              <a:gd name="T29" fmla="*/ 92 h 128"/>
              <a:gd name="T30" fmla="*/ 24 w 104"/>
              <a:gd name="T31" fmla="*/ 76 h 128"/>
              <a:gd name="T32" fmla="*/ 40 w 104"/>
              <a:gd name="T33" fmla="*/ 92 h 128"/>
              <a:gd name="T34" fmla="*/ 24 w 104"/>
              <a:gd name="T35" fmla="*/ 108 h 128"/>
              <a:gd name="T36" fmla="*/ 8 w 104"/>
              <a:gd name="T37" fmla="*/ 92 h 128"/>
              <a:gd name="T38" fmla="*/ 16 w 104"/>
              <a:gd name="T39" fmla="*/ 92 h 128"/>
              <a:gd name="T40" fmla="*/ 24 w 104"/>
              <a:gd name="T41" fmla="*/ 100 h 128"/>
              <a:gd name="T42" fmla="*/ 32 w 104"/>
              <a:gd name="T43" fmla="*/ 92 h 128"/>
              <a:gd name="T44" fmla="*/ 24 w 104"/>
              <a:gd name="T45" fmla="*/ 84 h 128"/>
              <a:gd name="T46" fmla="*/ 16 w 104"/>
              <a:gd name="T47" fmla="*/ 92 h 128"/>
              <a:gd name="T48" fmla="*/ 104 w 104"/>
              <a:gd name="T49" fmla="*/ 68 h 128"/>
              <a:gd name="T50" fmla="*/ 92 w 104"/>
              <a:gd name="T51" fmla="*/ 80 h 128"/>
              <a:gd name="T52" fmla="*/ 84 w 104"/>
              <a:gd name="T53" fmla="*/ 76 h 128"/>
              <a:gd name="T54" fmla="*/ 89 w 104"/>
              <a:gd name="T55" fmla="*/ 71 h 128"/>
              <a:gd name="T56" fmla="*/ 92 w 104"/>
              <a:gd name="T57" fmla="*/ 72 h 128"/>
              <a:gd name="T58" fmla="*/ 96 w 104"/>
              <a:gd name="T59" fmla="*/ 68 h 128"/>
              <a:gd name="T60" fmla="*/ 92 w 104"/>
              <a:gd name="T61" fmla="*/ 64 h 128"/>
              <a:gd name="T62" fmla="*/ 88 w 104"/>
              <a:gd name="T63" fmla="*/ 64 h 128"/>
              <a:gd name="T64" fmla="*/ 88 w 104"/>
              <a:gd name="T65" fmla="*/ 30 h 128"/>
              <a:gd name="T66" fmla="*/ 80 w 104"/>
              <a:gd name="T67" fmla="*/ 32 h 128"/>
              <a:gd name="T68" fmla="*/ 64 w 104"/>
              <a:gd name="T69" fmla="*/ 16 h 128"/>
              <a:gd name="T70" fmla="*/ 80 w 104"/>
              <a:gd name="T71" fmla="*/ 0 h 128"/>
              <a:gd name="T72" fmla="*/ 96 w 104"/>
              <a:gd name="T73" fmla="*/ 16 h 128"/>
              <a:gd name="T74" fmla="*/ 96 w 104"/>
              <a:gd name="T75" fmla="*/ 57 h 128"/>
              <a:gd name="T76" fmla="*/ 104 w 104"/>
              <a:gd name="T77" fmla="*/ 68 h 128"/>
              <a:gd name="T78" fmla="*/ 88 w 104"/>
              <a:gd name="T79" fmla="*/ 16 h 128"/>
              <a:gd name="T80" fmla="*/ 80 w 104"/>
              <a:gd name="T81" fmla="*/ 8 h 128"/>
              <a:gd name="T82" fmla="*/ 72 w 104"/>
              <a:gd name="T83" fmla="*/ 16 h 128"/>
              <a:gd name="T84" fmla="*/ 80 w 104"/>
              <a:gd name="T85" fmla="*/ 24 h 128"/>
              <a:gd name="T86" fmla="*/ 88 w 104"/>
              <a:gd name="T87" fmla="*/ 1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 h="128">
                <a:moveTo>
                  <a:pt x="48" y="96"/>
                </a:moveTo>
                <a:cubicBezTo>
                  <a:pt x="48" y="96"/>
                  <a:pt x="48" y="96"/>
                  <a:pt x="48" y="96"/>
                </a:cubicBezTo>
                <a:cubicBezTo>
                  <a:pt x="48" y="128"/>
                  <a:pt x="48" y="128"/>
                  <a:pt x="48" y="128"/>
                </a:cubicBezTo>
                <a:cubicBezTo>
                  <a:pt x="0" y="128"/>
                  <a:pt x="0" y="128"/>
                  <a:pt x="0" y="128"/>
                </a:cubicBezTo>
                <a:cubicBezTo>
                  <a:pt x="0" y="96"/>
                  <a:pt x="0" y="96"/>
                  <a:pt x="0" y="96"/>
                </a:cubicBezTo>
                <a:cubicBezTo>
                  <a:pt x="0" y="96"/>
                  <a:pt x="0" y="96"/>
                  <a:pt x="0" y="96"/>
                </a:cubicBezTo>
                <a:cubicBezTo>
                  <a:pt x="2" y="107"/>
                  <a:pt x="12" y="116"/>
                  <a:pt x="24" y="116"/>
                </a:cubicBezTo>
                <a:cubicBezTo>
                  <a:pt x="36" y="116"/>
                  <a:pt x="46" y="107"/>
                  <a:pt x="48" y="96"/>
                </a:cubicBezTo>
                <a:close/>
                <a:moveTo>
                  <a:pt x="57" y="23"/>
                </a:moveTo>
                <a:cubicBezTo>
                  <a:pt x="57" y="23"/>
                  <a:pt x="57" y="23"/>
                  <a:pt x="57" y="23"/>
                </a:cubicBezTo>
                <a:cubicBezTo>
                  <a:pt x="24" y="68"/>
                  <a:pt x="24" y="68"/>
                  <a:pt x="24" y="68"/>
                </a:cubicBezTo>
                <a:cubicBezTo>
                  <a:pt x="35" y="68"/>
                  <a:pt x="44" y="75"/>
                  <a:pt x="47" y="84"/>
                </a:cubicBezTo>
                <a:cubicBezTo>
                  <a:pt x="68" y="37"/>
                  <a:pt x="68" y="37"/>
                  <a:pt x="68" y="37"/>
                </a:cubicBezTo>
                <a:cubicBezTo>
                  <a:pt x="63" y="34"/>
                  <a:pt x="59" y="29"/>
                  <a:pt x="57" y="23"/>
                </a:cubicBezTo>
                <a:close/>
                <a:moveTo>
                  <a:pt x="8" y="92"/>
                </a:moveTo>
                <a:cubicBezTo>
                  <a:pt x="8" y="83"/>
                  <a:pt x="15" y="76"/>
                  <a:pt x="24" y="76"/>
                </a:cubicBezTo>
                <a:cubicBezTo>
                  <a:pt x="33" y="76"/>
                  <a:pt x="40" y="83"/>
                  <a:pt x="40" y="92"/>
                </a:cubicBezTo>
                <a:cubicBezTo>
                  <a:pt x="40" y="101"/>
                  <a:pt x="33" y="108"/>
                  <a:pt x="24" y="108"/>
                </a:cubicBezTo>
                <a:cubicBezTo>
                  <a:pt x="15" y="108"/>
                  <a:pt x="8" y="101"/>
                  <a:pt x="8" y="92"/>
                </a:cubicBezTo>
                <a:close/>
                <a:moveTo>
                  <a:pt x="16" y="92"/>
                </a:moveTo>
                <a:cubicBezTo>
                  <a:pt x="16" y="96"/>
                  <a:pt x="20" y="100"/>
                  <a:pt x="24" y="100"/>
                </a:cubicBezTo>
                <a:cubicBezTo>
                  <a:pt x="28" y="100"/>
                  <a:pt x="32" y="96"/>
                  <a:pt x="32" y="92"/>
                </a:cubicBezTo>
                <a:cubicBezTo>
                  <a:pt x="32" y="88"/>
                  <a:pt x="28" y="84"/>
                  <a:pt x="24" y="84"/>
                </a:cubicBezTo>
                <a:cubicBezTo>
                  <a:pt x="20" y="84"/>
                  <a:pt x="16" y="88"/>
                  <a:pt x="16" y="92"/>
                </a:cubicBezTo>
                <a:close/>
                <a:moveTo>
                  <a:pt x="104" y="68"/>
                </a:moveTo>
                <a:cubicBezTo>
                  <a:pt x="104" y="75"/>
                  <a:pt x="99" y="80"/>
                  <a:pt x="92" y="80"/>
                </a:cubicBezTo>
                <a:cubicBezTo>
                  <a:pt x="89" y="80"/>
                  <a:pt x="86" y="79"/>
                  <a:pt x="84" y="76"/>
                </a:cubicBezTo>
                <a:cubicBezTo>
                  <a:pt x="89" y="71"/>
                  <a:pt x="89" y="71"/>
                  <a:pt x="89" y="71"/>
                </a:cubicBezTo>
                <a:cubicBezTo>
                  <a:pt x="90" y="72"/>
                  <a:pt x="91" y="72"/>
                  <a:pt x="92" y="72"/>
                </a:cubicBezTo>
                <a:cubicBezTo>
                  <a:pt x="94" y="72"/>
                  <a:pt x="96" y="70"/>
                  <a:pt x="96" y="68"/>
                </a:cubicBezTo>
                <a:cubicBezTo>
                  <a:pt x="96" y="66"/>
                  <a:pt x="94" y="64"/>
                  <a:pt x="92" y="64"/>
                </a:cubicBezTo>
                <a:cubicBezTo>
                  <a:pt x="88" y="64"/>
                  <a:pt x="88" y="64"/>
                  <a:pt x="88" y="64"/>
                </a:cubicBezTo>
                <a:cubicBezTo>
                  <a:pt x="88" y="30"/>
                  <a:pt x="88" y="30"/>
                  <a:pt x="88" y="30"/>
                </a:cubicBezTo>
                <a:cubicBezTo>
                  <a:pt x="86" y="31"/>
                  <a:pt x="83" y="32"/>
                  <a:pt x="80" y="32"/>
                </a:cubicBezTo>
                <a:cubicBezTo>
                  <a:pt x="71" y="32"/>
                  <a:pt x="64" y="25"/>
                  <a:pt x="64" y="16"/>
                </a:cubicBezTo>
                <a:cubicBezTo>
                  <a:pt x="64" y="7"/>
                  <a:pt x="71" y="0"/>
                  <a:pt x="80" y="0"/>
                </a:cubicBezTo>
                <a:cubicBezTo>
                  <a:pt x="89" y="0"/>
                  <a:pt x="96" y="7"/>
                  <a:pt x="96" y="16"/>
                </a:cubicBezTo>
                <a:cubicBezTo>
                  <a:pt x="96" y="57"/>
                  <a:pt x="96" y="57"/>
                  <a:pt x="96" y="57"/>
                </a:cubicBezTo>
                <a:cubicBezTo>
                  <a:pt x="101" y="58"/>
                  <a:pt x="104" y="63"/>
                  <a:pt x="104" y="68"/>
                </a:cubicBezTo>
                <a:close/>
                <a:moveTo>
                  <a:pt x="88" y="16"/>
                </a:moveTo>
                <a:cubicBezTo>
                  <a:pt x="88" y="12"/>
                  <a:pt x="84" y="8"/>
                  <a:pt x="80" y="8"/>
                </a:cubicBezTo>
                <a:cubicBezTo>
                  <a:pt x="76" y="8"/>
                  <a:pt x="72" y="12"/>
                  <a:pt x="72" y="16"/>
                </a:cubicBezTo>
                <a:cubicBezTo>
                  <a:pt x="72" y="20"/>
                  <a:pt x="76" y="24"/>
                  <a:pt x="80" y="24"/>
                </a:cubicBezTo>
                <a:cubicBezTo>
                  <a:pt x="84" y="24"/>
                  <a:pt x="88" y="20"/>
                  <a:pt x="88" y="1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8" name="Freeform 59">
            <a:extLst>
              <a:ext uri="{FF2B5EF4-FFF2-40B4-BE49-F238E27FC236}">
                <a16:creationId xmlns:a16="http://schemas.microsoft.com/office/drawing/2014/main" id="{FD1F48F4-58FE-45FF-BCCD-035503B34A4D}"/>
              </a:ext>
            </a:extLst>
          </p:cNvPr>
          <p:cNvSpPr>
            <a:spLocks noEditPoints="1"/>
          </p:cNvSpPr>
          <p:nvPr/>
        </p:nvSpPr>
        <p:spPr bwMode="auto">
          <a:xfrm>
            <a:off x="3723976" y="1550462"/>
            <a:ext cx="412750" cy="415925"/>
          </a:xfrm>
          <a:custGeom>
            <a:avLst/>
            <a:gdLst>
              <a:gd name="T0" fmla="*/ 120 w 128"/>
              <a:gd name="T1" fmla="*/ 34 h 129"/>
              <a:gd name="T2" fmla="*/ 120 w 128"/>
              <a:gd name="T3" fmla="*/ 6 h 129"/>
              <a:gd name="T4" fmla="*/ 120 w 128"/>
              <a:gd name="T5" fmla="*/ 3 h 129"/>
              <a:gd name="T6" fmla="*/ 114 w 128"/>
              <a:gd name="T7" fmla="*/ 2 h 129"/>
              <a:gd name="T8" fmla="*/ 64 w 128"/>
              <a:gd name="T9" fmla="*/ 30 h 129"/>
              <a:gd name="T10" fmla="*/ 64 w 128"/>
              <a:gd name="T11" fmla="*/ 25 h 129"/>
              <a:gd name="T12" fmla="*/ 0 w 128"/>
              <a:gd name="T13" fmla="*/ 25 h 129"/>
              <a:gd name="T14" fmla="*/ 0 w 128"/>
              <a:gd name="T15" fmla="*/ 89 h 129"/>
              <a:gd name="T16" fmla="*/ 24 w 128"/>
              <a:gd name="T17" fmla="*/ 89 h 129"/>
              <a:gd name="T18" fmla="*/ 24 w 128"/>
              <a:gd name="T19" fmla="*/ 121 h 129"/>
              <a:gd name="T20" fmla="*/ 0 w 128"/>
              <a:gd name="T21" fmla="*/ 121 h 129"/>
              <a:gd name="T22" fmla="*/ 0 w 128"/>
              <a:gd name="T23" fmla="*/ 129 h 129"/>
              <a:gd name="T24" fmla="*/ 80 w 128"/>
              <a:gd name="T25" fmla="*/ 129 h 129"/>
              <a:gd name="T26" fmla="*/ 80 w 128"/>
              <a:gd name="T27" fmla="*/ 121 h 129"/>
              <a:gd name="T28" fmla="*/ 40 w 128"/>
              <a:gd name="T29" fmla="*/ 121 h 129"/>
              <a:gd name="T30" fmla="*/ 40 w 128"/>
              <a:gd name="T31" fmla="*/ 89 h 129"/>
              <a:gd name="T32" fmla="*/ 64 w 128"/>
              <a:gd name="T33" fmla="*/ 89 h 129"/>
              <a:gd name="T34" fmla="*/ 64 w 128"/>
              <a:gd name="T35" fmla="*/ 50 h 129"/>
              <a:gd name="T36" fmla="*/ 112 w 128"/>
              <a:gd name="T37" fmla="*/ 14 h 129"/>
              <a:gd name="T38" fmla="*/ 112 w 128"/>
              <a:gd name="T39" fmla="*/ 41 h 129"/>
              <a:gd name="T40" fmla="*/ 116 w 128"/>
              <a:gd name="T41" fmla="*/ 41 h 129"/>
              <a:gd name="T42" fmla="*/ 120 w 128"/>
              <a:gd name="T43" fmla="*/ 45 h 129"/>
              <a:gd name="T44" fmla="*/ 116 w 128"/>
              <a:gd name="T45" fmla="*/ 49 h 129"/>
              <a:gd name="T46" fmla="*/ 113 w 128"/>
              <a:gd name="T47" fmla="*/ 48 h 129"/>
              <a:gd name="T48" fmla="*/ 108 w 128"/>
              <a:gd name="T49" fmla="*/ 53 h 129"/>
              <a:gd name="T50" fmla="*/ 116 w 128"/>
              <a:gd name="T51" fmla="*/ 57 h 129"/>
              <a:gd name="T52" fmla="*/ 128 w 128"/>
              <a:gd name="T53" fmla="*/ 45 h 129"/>
              <a:gd name="T54" fmla="*/ 120 w 128"/>
              <a:gd name="T55" fmla="*/ 34 h 129"/>
              <a:gd name="T56" fmla="*/ 56 w 128"/>
              <a:gd name="T57" fmla="*/ 81 h 129"/>
              <a:gd name="T58" fmla="*/ 8 w 128"/>
              <a:gd name="T59" fmla="*/ 81 h 129"/>
              <a:gd name="T60" fmla="*/ 8 w 128"/>
              <a:gd name="T61" fmla="*/ 33 h 129"/>
              <a:gd name="T62" fmla="*/ 56 w 128"/>
              <a:gd name="T63" fmla="*/ 33 h 129"/>
              <a:gd name="T64" fmla="*/ 56 w 128"/>
              <a:gd name="T65" fmla="*/ 8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29">
                <a:moveTo>
                  <a:pt x="120" y="34"/>
                </a:moveTo>
                <a:cubicBezTo>
                  <a:pt x="120" y="6"/>
                  <a:pt x="120" y="6"/>
                  <a:pt x="120" y="6"/>
                </a:cubicBezTo>
                <a:cubicBezTo>
                  <a:pt x="120" y="5"/>
                  <a:pt x="120" y="4"/>
                  <a:pt x="120" y="3"/>
                </a:cubicBezTo>
                <a:cubicBezTo>
                  <a:pt x="118" y="1"/>
                  <a:pt x="116" y="0"/>
                  <a:pt x="114" y="2"/>
                </a:cubicBezTo>
                <a:cubicBezTo>
                  <a:pt x="64" y="30"/>
                  <a:pt x="64" y="30"/>
                  <a:pt x="64" y="30"/>
                </a:cubicBezTo>
                <a:cubicBezTo>
                  <a:pt x="64" y="25"/>
                  <a:pt x="64" y="25"/>
                  <a:pt x="64" y="25"/>
                </a:cubicBezTo>
                <a:cubicBezTo>
                  <a:pt x="0" y="25"/>
                  <a:pt x="0" y="25"/>
                  <a:pt x="0" y="25"/>
                </a:cubicBezTo>
                <a:cubicBezTo>
                  <a:pt x="0" y="89"/>
                  <a:pt x="0" y="89"/>
                  <a:pt x="0" y="89"/>
                </a:cubicBezTo>
                <a:cubicBezTo>
                  <a:pt x="24" y="89"/>
                  <a:pt x="24" y="89"/>
                  <a:pt x="24" y="89"/>
                </a:cubicBezTo>
                <a:cubicBezTo>
                  <a:pt x="24" y="121"/>
                  <a:pt x="24" y="121"/>
                  <a:pt x="24" y="121"/>
                </a:cubicBezTo>
                <a:cubicBezTo>
                  <a:pt x="0" y="121"/>
                  <a:pt x="0" y="121"/>
                  <a:pt x="0" y="121"/>
                </a:cubicBezTo>
                <a:cubicBezTo>
                  <a:pt x="0" y="129"/>
                  <a:pt x="0" y="129"/>
                  <a:pt x="0" y="129"/>
                </a:cubicBezTo>
                <a:cubicBezTo>
                  <a:pt x="80" y="129"/>
                  <a:pt x="80" y="129"/>
                  <a:pt x="80" y="129"/>
                </a:cubicBezTo>
                <a:cubicBezTo>
                  <a:pt x="80" y="121"/>
                  <a:pt x="80" y="121"/>
                  <a:pt x="80" y="121"/>
                </a:cubicBezTo>
                <a:cubicBezTo>
                  <a:pt x="40" y="121"/>
                  <a:pt x="40" y="121"/>
                  <a:pt x="40" y="121"/>
                </a:cubicBezTo>
                <a:cubicBezTo>
                  <a:pt x="40" y="89"/>
                  <a:pt x="40" y="89"/>
                  <a:pt x="40" y="89"/>
                </a:cubicBezTo>
                <a:cubicBezTo>
                  <a:pt x="64" y="89"/>
                  <a:pt x="64" y="89"/>
                  <a:pt x="64" y="89"/>
                </a:cubicBezTo>
                <a:cubicBezTo>
                  <a:pt x="64" y="50"/>
                  <a:pt x="64" y="50"/>
                  <a:pt x="64" y="50"/>
                </a:cubicBezTo>
                <a:cubicBezTo>
                  <a:pt x="112" y="14"/>
                  <a:pt x="112" y="14"/>
                  <a:pt x="112" y="14"/>
                </a:cubicBezTo>
                <a:cubicBezTo>
                  <a:pt x="112" y="41"/>
                  <a:pt x="112" y="41"/>
                  <a:pt x="112" y="41"/>
                </a:cubicBezTo>
                <a:cubicBezTo>
                  <a:pt x="116" y="41"/>
                  <a:pt x="116" y="41"/>
                  <a:pt x="116" y="41"/>
                </a:cubicBezTo>
                <a:cubicBezTo>
                  <a:pt x="118" y="41"/>
                  <a:pt x="120" y="43"/>
                  <a:pt x="120" y="45"/>
                </a:cubicBezTo>
                <a:cubicBezTo>
                  <a:pt x="120" y="47"/>
                  <a:pt x="118" y="49"/>
                  <a:pt x="116" y="49"/>
                </a:cubicBezTo>
                <a:cubicBezTo>
                  <a:pt x="115" y="49"/>
                  <a:pt x="114" y="49"/>
                  <a:pt x="113" y="48"/>
                </a:cubicBezTo>
                <a:cubicBezTo>
                  <a:pt x="108" y="53"/>
                  <a:pt x="108" y="53"/>
                  <a:pt x="108" y="53"/>
                </a:cubicBezTo>
                <a:cubicBezTo>
                  <a:pt x="110" y="56"/>
                  <a:pt x="113" y="57"/>
                  <a:pt x="116" y="57"/>
                </a:cubicBezTo>
                <a:cubicBezTo>
                  <a:pt x="123" y="57"/>
                  <a:pt x="128" y="52"/>
                  <a:pt x="128" y="45"/>
                </a:cubicBezTo>
                <a:cubicBezTo>
                  <a:pt x="128" y="40"/>
                  <a:pt x="125" y="35"/>
                  <a:pt x="120" y="34"/>
                </a:cubicBezTo>
                <a:close/>
                <a:moveTo>
                  <a:pt x="56" y="81"/>
                </a:moveTo>
                <a:cubicBezTo>
                  <a:pt x="8" y="81"/>
                  <a:pt x="8" y="81"/>
                  <a:pt x="8" y="81"/>
                </a:cubicBezTo>
                <a:cubicBezTo>
                  <a:pt x="8" y="33"/>
                  <a:pt x="8" y="33"/>
                  <a:pt x="8" y="33"/>
                </a:cubicBezTo>
                <a:cubicBezTo>
                  <a:pt x="56" y="33"/>
                  <a:pt x="56" y="33"/>
                  <a:pt x="56" y="33"/>
                </a:cubicBezTo>
                <a:lnTo>
                  <a:pt x="56" y="8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29" name="Freeform 63">
            <a:extLst>
              <a:ext uri="{FF2B5EF4-FFF2-40B4-BE49-F238E27FC236}">
                <a16:creationId xmlns:a16="http://schemas.microsoft.com/office/drawing/2014/main" id="{57999526-D537-4492-9CFC-4B6ED128ABD9}"/>
              </a:ext>
            </a:extLst>
          </p:cNvPr>
          <p:cNvSpPr>
            <a:spLocks noEditPoints="1"/>
          </p:cNvSpPr>
          <p:nvPr/>
        </p:nvSpPr>
        <p:spPr bwMode="auto">
          <a:xfrm>
            <a:off x="586881" y="2406184"/>
            <a:ext cx="414338" cy="412750"/>
          </a:xfrm>
          <a:custGeom>
            <a:avLst/>
            <a:gdLst>
              <a:gd name="T0" fmla="*/ 204 w 261"/>
              <a:gd name="T1" fmla="*/ 173 h 260"/>
              <a:gd name="T2" fmla="*/ 224 w 261"/>
              <a:gd name="T3" fmla="*/ 173 h 260"/>
              <a:gd name="T4" fmla="*/ 224 w 261"/>
              <a:gd name="T5" fmla="*/ 126 h 260"/>
              <a:gd name="T6" fmla="*/ 261 w 261"/>
              <a:gd name="T7" fmla="*/ 65 h 260"/>
              <a:gd name="T8" fmla="*/ 241 w 261"/>
              <a:gd name="T9" fmla="*/ 65 h 260"/>
              <a:gd name="T10" fmla="*/ 214 w 261"/>
              <a:gd name="T11" fmla="*/ 112 h 260"/>
              <a:gd name="T12" fmla="*/ 214 w 261"/>
              <a:gd name="T13" fmla="*/ 112 h 260"/>
              <a:gd name="T14" fmla="*/ 190 w 261"/>
              <a:gd name="T15" fmla="*/ 65 h 260"/>
              <a:gd name="T16" fmla="*/ 190 w 261"/>
              <a:gd name="T17" fmla="*/ 65 h 260"/>
              <a:gd name="T18" fmla="*/ 167 w 261"/>
              <a:gd name="T19" fmla="*/ 65 h 260"/>
              <a:gd name="T20" fmla="*/ 204 w 261"/>
              <a:gd name="T21" fmla="*/ 128 h 260"/>
              <a:gd name="T22" fmla="*/ 204 w 261"/>
              <a:gd name="T23" fmla="*/ 173 h 260"/>
              <a:gd name="T24" fmla="*/ 41 w 261"/>
              <a:gd name="T25" fmla="*/ 217 h 260"/>
              <a:gd name="T26" fmla="*/ 41 w 261"/>
              <a:gd name="T27" fmla="*/ 0 h 260"/>
              <a:gd name="T28" fmla="*/ 24 w 261"/>
              <a:gd name="T29" fmla="*/ 0 h 260"/>
              <a:gd name="T30" fmla="*/ 24 w 261"/>
              <a:gd name="T31" fmla="*/ 217 h 260"/>
              <a:gd name="T32" fmla="*/ 0 w 261"/>
              <a:gd name="T33" fmla="*/ 217 h 260"/>
              <a:gd name="T34" fmla="*/ 0 w 261"/>
              <a:gd name="T35" fmla="*/ 236 h 260"/>
              <a:gd name="T36" fmla="*/ 24 w 261"/>
              <a:gd name="T37" fmla="*/ 236 h 260"/>
              <a:gd name="T38" fmla="*/ 24 w 261"/>
              <a:gd name="T39" fmla="*/ 260 h 260"/>
              <a:gd name="T40" fmla="*/ 41 w 261"/>
              <a:gd name="T41" fmla="*/ 260 h 260"/>
              <a:gd name="T42" fmla="*/ 41 w 261"/>
              <a:gd name="T43" fmla="*/ 236 h 260"/>
              <a:gd name="T44" fmla="*/ 261 w 261"/>
              <a:gd name="T45" fmla="*/ 236 h 260"/>
              <a:gd name="T46" fmla="*/ 261 w 261"/>
              <a:gd name="T47" fmla="*/ 217 h 260"/>
              <a:gd name="T48" fmla="*/ 41 w 261"/>
              <a:gd name="T49" fmla="*/ 217 h 260"/>
              <a:gd name="T50" fmla="*/ 86 w 261"/>
              <a:gd name="T51" fmla="*/ 173 h 260"/>
              <a:gd name="T52" fmla="*/ 112 w 261"/>
              <a:gd name="T53" fmla="*/ 132 h 260"/>
              <a:gd name="T54" fmla="*/ 112 w 261"/>
              <a:gd name="T55" fmla="*/ 132 h 260"/>
              <a:gd name="T56" fmla="*/ 139 w 261"/>
              <a:gd name="T57" fmla="*/ 173 h 260"/>
              <a:gd name="T58" fmla="*/ 161 w 261"/>
              <a:gd name="T59" fmla="*/ 173 h 260"/>
              <a:gd name="T60" fmla="*/ 124 w 261"/>
              <a:gd name="T61" fmla="*/ 116 h 260"/>
              <a:gd name="T62" fmla="*/ 159 w 261"/>
              <a:gd name="T63" fmla="*/ 65 h 260"/>
              <a:gd name="T64" fmla="*/ 137 w 261"/>
              <a:gd name="T65" fmla="*/ 65 h 260"/>
              <a:gd name="T66" fmla="*/ 114 w 261"/>
              <a:gd name="T67" fmla="*/ 104 h 260"/>
              <a:gd name="T68" fmla="*/ 114 w 261"/>
              <a:gd name="T69" fmla="*/ 104 h 260"/>
              <a:gd name="T70" fmla="*/ 90 w 261"/>
              <a:gd name="T71" fmla="*/ 65 h 260"/>
              <a:gd name="T72" fmla="*/ 67 w 261"/>
              <a:gd name="T73" fmla="*/ 65 h 260"/>
              <a:gd name="T74" fmla="*/ 102 w 261"/>
              <a:gd name="T75" fmla="*/ 118 h 260"/>
              <a:gd name="T76" fmla="*/ 65 w 261"/>
              <a:gd name="T77" fmla="*/ 173 h 260"/>
              <a:gd name="T78" fmla="*/ 86 w 261"/>
              <a:gd name="T79" fmla="*/ 17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1" h="260">
                <a:moveTo>
                  <a:pt x="204" y="173"/>
                </a:moveTo>
                <a:lnTo>
                  <a:pt x="224" y="173"/>
                </a:lnTo>
                <a:lnTo>
                  <a:pt x="224" y="126"/>
                </a:lnTo>
                <a:lnTo>
                  <a:pt x="261" y="65"/>
                </a:lnTo>
                <a:lnTo>
                  <a:pt x="241" y="65"/>
                </a:lnTo>
                <a:lnTo>
                  <a:pt x="214" y="112"/>
                </a:lnTo>
                <a:lnTo>
                  <a:pt x="214" y="112"/>
                </a:lnTo>
                <a:lnTo>
                  <a:pt x="190" y="65"/>
                </a:lnTo>
                <a:lnTo>
                  <a:pt x="190" y="65"/>
                </a:lnTo>
                <a:lnTo>
                  <a:pt x="167" y="65"/>
                </a:lnTo>
                <a:lnTo>
                  <a:pt x="204" y="128"/>
                </a:lnTo>
                <a:lnTo>
                  <a:pt x="204" y="173"/>
                </a:lnTo>
                <a:close/>
                <a:moveTo>
                  <a:pt x="41" y="217"/>
                </a:moveTo>
                <a:lnTo>
                  <a:pt x="41" y="0"/>
                </a:lnTo>
                <a:lnTo>
                  <a:pt x="24" y="0"/>
                </a:lnTo>
                <a:lnTo>
                  <a:pt x="24" y="217"/>
                </a:lnTo>
                <a:lnTo>
                  <a:pt x="0" y="217"/>
                </a:lnTo>
                <a:lnTo>
                  <a:pt x="0" y="236"/>
                </a:lnTo>
                <a:lnTo>
                  <a:pt x="24" y="236"/>
                </a:lnTo>
                <a:lnTo>
                  <a:pt x="24" y="260"/>
                </a:lnTo>
                <a:lnTo>
                  <a:pt x="41" y="260"/>
                </a:lnTo>
                <a:lnTo>
                  <a:pt x="41" y="236"/>
                </a:lnTo>
                <a:lnTo>
                  <a:pt x="261" y="236"/>
                </a:lnTo>
                <a:lnTo>
                  <a:pt x="261" y="217"/>
                </a:lnTo>
                <a:lnTo>
                  <a:pt x="41" y="217"/>
                </a:lnTo>
                <a:close/>
                <a:moveTo>
                  <a:pt x="86" y="173"/>
                </a:moveTo>
                <a:lnTo>
                  <a:pt x="112" y="132"/>
                </a:lnTo>
                <a:lnTo>
                  <a:pt x="112" y="132"/>
                </a:lnTo>
                <a:lnTo>
                  <a:pt x="139" y="173"/>
                </a:lnTo>
                <a:lnTo>
                  <a:pt x="161" y="173"/>
                </a:lnTo>
                <a:lnTo>
                  <a:pt x="124" y="116"/>
                </a:lnTo>
                <a:lnTo>
                  <a:pt x="159" y="65"/>
                </a:lnTo>
                <a:lnTo>
                  <a:pt x="137" y="65"/>
                </a:lnTo>
                <a:lnTo>
                  <a:pt x="114" y="104"/>
                </a:lnTo>
                <a:lnTo>
                  <a:pt x="114" y="104"/>
                </a:lnTo>
                <a:lnTo>
                  <a:pt x="90" y="65"/>
                </a:lnTo>
                <a:lnTo>
                  <a:pt x="67" y="65"/>
                </a:lnTo>
                <a:lnTo>
                  <a:pt x="102" y="118"/>
                </a:lnTo>
                <a:lnTo>
                  <a:pt x="65" y="173"/>
                </a:lnTo>
                <a:lnTo>
                  <a:pt x="86" y="1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0" name="Freeform 67">
            <a:extLst>
              <a:ext uri="{FF2B5EF4-FFF2-40B4-BE49-F238E27FC236}">
                <a16:creationId xmlns:a16="http://schemas.microsoft.com/office/drawing/2014/main" id="{48E31C69-0BBE-4F94-8C53-D7CC29E01FF3}"/>
              </a:ext>
            </a:extLst>
          </p:cNvPr>
          <p:cNvSpPr>
            <a:spLocks noEditPoints="1"/>
          </p:cNvSpPr>
          <p:nvPr/>
        </p:nvSpPr>
        <p:spPr bwMode="auto">
          <a:xfrm>
            <a:off x="1633110" y="2418884"/>
            <a:ext cx="412750" cy="400050"/>
          </a:xfrm>
          <a:custGeom>
            <a:avLst/>
            <a:gdLst>
              <a:gd name="T0" fmla="*/ 64 w 128"/>
              <a:gd name="T1" fmla="*/ 124 h 124"/>
              <a:gd name="T2" fmla="*/ 35 w 128"/>
              <a:gd name="T3" fmla="*/ 113 h 124"/>
              <a:gd name="T4" fmla="*/ 0 w 128"/>
              <a:gd name="T5" fmla="*/ 124 h 124"/>
              <a:gd name="T6" fmla="*/ 0 w 128"/>
              <a:gd name="T7" fmla="*/ 116 h 124"/>
              <a:gd name="T8" fmla="*/ 34 w 128"/>
              <a:gd name="T9" fmla="*/ 105 h 124"/>
              <a:gd name="T10" fmla="*/ 37 w 128"/>
              <a:gd name="T11" fmla="*/ 103 h 124"/>
              <a:gd name="T12" fmla="*/ 39 w 128"/>
              <a:gd name="T13" fmla="*/ 105 h 124"/>
              <a:gd name="T14" fmla="*/ 64 w 128"/>
              <a:gd name="T15" fmla="*/ 116 h 124"/>
              <a:gd name="T16" fmla="*/ 89 w 128"/>
              <a:gd name="T17" fmla="*/ 105 h 124"/>
              <a:gd name="T18" fmla="*/ 91 w 128"/>
              <a:gd name="T19" fmla="*/ 103 h 124"/>
              <a:gd name="T20" fmla="*/ 94 w 128"/>
              <a:gd name="T21" fmla="*/ 105 h 124"/>
              <a:gd name="T22" fmla="*/ 128 w 128"/>
              <a:gd name="T23" fmla="*/ 116 h 124"/>
              <a:gd name="T24" fmla="*/ 128 w 128"/>
              <a:gd name="T25" fmla="*/ 124 h 124"/>
              <a:gd name="T26" fmla="*/ 93 w 128"/>
              <a:gd name="T27" fmla="*/ 113 h 124"/>
              <a:gd name="T28" fmla="*/ 64 w 128"/>
              <a:gd name="T29" fmla="*/ 124 h 124"/>
              <a:gd name="T30" fmla="*/ 114 w 128"/>
              <a:gd name="T31" fmla="*/ 74 h 124"/>
              <a:gd name="T32" fmla="*/ 101 w 128"/>
              <a:gd name="T33" fmla="*/ 99 h 124"/>
              <a:gd name="T34" fmla="*/ 94 w 128"/>
              <a:gd name="T35" fmla="*/ 95 h 124"/>
              <a:gd name="T36" fmla="*/ 102 w 128"/>
              <a:gd name="T37" fmla="*/ 78 h 124"/>
              <a:gd name="T38" fmla="*/ 68 w 128"/>
              <a:gd name="T39" fmla="*/ 66 h 124"/>
              <a:gd name="T40" fmla="*/ 68 w 128"/>
              <a:gd name="T41" fmla="*/ 108 h 124"/>
              <a:gd name="T42" fmla="*/ 64 w 128"/>
              <a:gd name="T43" fmla="*/ 108 h 124"/>
              <a:gd name="T44" fmla="*/ 60 w 128"/>
              <a:gd name="T45" fmla="*/ 108 h 124"/>
              <a:gd name="T46" fmla="*/ 60 w 128"/>
              <a:gd name="T47" fmla="*/ 66 h 124"/>
              <a:gd name="T48" fmla="*/ 26 w 128"/>
              <a:gd name="T49" fmla="*/ 78 h 124"/>
              <a:gd name="T50" fmla="*/ 34 w 128"/>
              <a:gd name="T51" fmla="*/ 95 h 124"/>
              <a:gd name="T52" fmla="*/ 27 w 128"/>
              <a:gd name="T53" fmla="*/ 99 h 124"/>
              <a:gd name="T54" fmla="*/ 14 w 128"/>
              <a:gd name="T55" fmla="*/ 74 h 124"/>
              <a:gd name="T56" fmla="*/ 28 w 128"/>
              <a:gd name="T57" fmla="*/ 69 h 124"/>
              <a:gd name="T58" fmla="*/ 28 w 128"/>
              <a:gd name="T59" fmla="*/ 32 h 124"/>
              <a:gd name="T60" fmla="*/ 36 w 128"/>
              <a:gd name="T61" fmla="*/ 32 h 124"/>
              <a:gd name="T62" fmla="*/ 36 w 128"/>
              <a:gd name="T63" fmla="*/ 8 h 124"/>
              <a:gd name="T64" fmla="*/ 52 w 128"/>
              <a:gd name="T65" fmla="*/ 8 h 124"/>
              <a:gd name="T66" fmla="*/ 52 w 128"/>
              <a:gd name="T67" fmla="*/ 0 h 124"/>
              <a:gd name="T68" fmla="*/ 76 w 128"/>
              <a:gd name="T69" fmla="*/ 0 h 124"/>
              <a:gd name="T70" fmla="*/ 76 w 128"/>
              <a:gd name="T71" fmla="*/ 8 h 124"/>
              <a:gd name="T72" fmla="*/ 92 w 128"/>
              <a:gd name="T73" fmla="*/ 8 h 124"/>
              <a:gd name="T74" fmla="*/ 92 w 128"/>
              <a:gd name="T75" fmla="*/ 32 h 124"/>
              <a:gd name="T76" fmla="*/ 100 w 128"/>
              <a:gd name="T77" fmla="*/ 32 h 124"/>
              <a:gd name="T78" fmla="*/ 100 w 128"/>
              <a:gd name="T79" fmla="*/ 69 h 124"/>
              <a:gd name="T80" fmla="*/ 114 w 128"/>
              <a:gd name="T81" fmla="*/ 74 h 124"/>
              <a:gd name="T82" fmla="*/ 44 w 128"/>
              <a:gd name="T83" fmla="*/ 32 h 124"/>
              <a:gd name="T84" fmla="*/ 84 w 128"/>
              <a:gd name="T85" fmla="*/ 32 h 124"/>
              <a:gd name="T86" fmla="*/ 84 w 128"/>
              <a:gd name="T87" fmla="*/ 24 h 124"/>
              <a:gd name="T88" fmla="*/ 44 w 128"/>
              <a:gd name="T89" fmla="*/ 24 h 124"/>
              <a:gd name="T90" fmla="*/ 44 w 128"/>
              <a:gd name="T91" fmla="*/ 32 h 124"/>
              <a:gd name="T92" fmla="*/ 92 w 128"/>
              <a:gd name="T93" fmla="*/ 40 h 124"/>
              <a:gd name="T94" fmla="*/ 36 w 128"/>
              <a:gd name="T95" fmla="*/ 40 h 124"/>
              <a:gd name="T96" fmla="*/ 36 w 128"/>
              <a:gd name="T97" fmla="*/ 66 h 124"/>
              <a:gd name="T98" fmla="*/ 64 w 128"/>
              <a:gd name="T99" fmla="*/ 56 h 124"/>
              <a:gd name="T100" fmla="*/ 92 w 128"/>
              <a:gd name="T101" fmla="*/ 66 h 124"/>
              <a:gd name="T102" fmla="*/ 92 w 128"/>
              <a:gd name="T103" fmla="*/ 4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8" h="124">
                <a:moveTo>
                  <a:pt x="64" y="124"/>
                </a:moveTo>
                <a:cubicBezTo>
                  <a:pt x="51" y="124"/>
                  <a:pt x="40" y="117"/>
                  <a:pt x="35" y="113"/>
                </a:cubicBezTo>
                <a:cubicBezTo>
                  <a:pt x="29" y="116"/>
                  <a:pt x="14" y="124"/>
                  <a:pt x="0" y="124"/>
                </a:cubicBezTo>
                <a:cubicBezTo>
                  <a:pt x="0" y="116"/>
                  <a:pt x="0" y="116"/>
                  <a:pt x="0" y="116"/>
                </a:cubicBezTo>
                <a:cubicBezTo>
                  <a:pt x="15" y="116"/>
                  <a:pt x="34" y="105"/>
                  <a:pt x="34" y="105"/>
                </a:cubicBezTo>
                <a:cubicBezTo>
                  <a:pt x="37" y="103"/>
                  <a:pt x="37" y="103"/>
                  <a:pt x="37" y="103"/>
                </a:cubicBezTo>
                <a:cubicBezTo>
                  <a:pt x="39" y="105"/>
                  <a:pt x="39" y="105"/>
                  <a:pt x="39" y="105"/>
                </a:cubicBezTo>
                <a:cubicBezTo>
                  <a:pt x="39" y="105"/>
                  <a:pt x="50" y="116"/>
                  <a:pt x="64" y="116"/>
                </a:cubicBezTo>
                <a:cubicBezTo>
                  <a:pt x="78" y="116"/>
                  <a:pt x="89" y="105"/>
                  <a:pt x="89" y="105"/>
                </a:cubicBezTo>
                <a:cubicBezTo>
                  <a:pt x="91" y="103"/>
                  <a:pt x="91" y="103"/>
                  <a:pt x="91" y="103"/>
                </a:cubicBezTo>
                <a:cubicBezTo>
                  <a:pt x="94" y="105"/>
                  <a:pt x="94" y="105"/>
                  <a:pt x="94" y="105"/>
                </a:cubicBezTo>
                <a:cubicBezTo>
                  <a:pt x="94" y="105"/>
                  <a:pt x="113" y="116"/>
                  <a:pt x="128" y="116"/>
                </a:cubicBezTo>
                <a:cubicBezTo>
                  <a:pt x="128" y="124"/>
                  <a:pt x="128" y="124"/>
                  <a:pt x="128" y="124"/>
                </a:cubicBezTo>
                <a:cubicBezTo>
                  <a:pt x="114" y="124"/>
                  <a:pt x="99" y="116"/>
                  <a:pt x="93" y="113"/>
                </a:cubicBezTo>
                <a:cubicBezTo>
                  <a:pt x="88" y="117"/>
                  <a:pt x="77" y="124"/>
                  <a:pt x="64" y="124"/>
                </a:cubicBezTo>
                <a:close/>
                <a:moveTo>
                  <a:pt x="114" y="74"/>
                </a:moveTo>
                <a:cubicBezTo>
                  <a:pt x="101" y="99"/>
                  <a:pt x="101" y="99"/>
                  <a:pt x="101" y="99"/>
                </a:cubicBezTo>
                <a:cubicBezTo>
                  <a:pt x="97" y="98"/>
                  <a:pt x="95" y="96"/>
                  <a:pt x="94" y="95"/>
                </a:cubicBezTo>
                <a:cubicBezTo>
                  <a:pt x="102" y="78"/>
                  <a:pt x="102" y="78"/>
                  <a:pt x="102" y="78"/>
                </a:cubicBezTo>
                <a:cubicBezTo>
                  <a:pt x="68" y="66"/>
                  <a:pt x="68" y="66"/>
                  <a:pt x="68" y="66"/>
                </a:cubicBezTo>
                <a:cubicBezTo>
                  <a:pt x="68" y="108"/>
                  <a:pt x="68" y="108"/>
                  <a:pt x="68" y="108"/>
                </a:cubicBezTo>
                <a:cubicBezTo>
                  <a:pt x="67" y="108"/>
                  <a:pt x="65" y="108"/>
                  <a:pt x="64" y="108"/>
                </a:cubicBezTo>
                <a:cubicBezTo>
                  <a:pt x="63" y="108"/>
                  <a:pt x="61" y="108"/>
                  <a:pt x="60" y="108"/>
                </a:cubicBezTo>
                <a:cubicBezTo>
                  <a:pt x="60" y="66"/>
                  <a:pt x="60" y="66"/>
                  <a:pt x="60" y="66"/>
                </a:cubicBezTo>
                <a:cubicBezTo>
                  <a:pt x="26" y="78"/>
                  <a:pt x="26" y="78"/>
                  <a:pt x="26" y="78"/>
                </a:cubicBezTo>
                <a:cubicBezTo>
                  <a:pt x="34" y="95"/>
                  <a:pt x="34" y="95"/>
                  <a:pt x="34" y="95"/>
                </a:cubicBezTo>
                <a:cubicBezTo>
                  <a:pt x="33" y="96"/>
                  <a:pt x="31" y="97"/>
                  <a:pt x="27" y="99"/>
                </a:cubicBezTo>
                <a:cubicBezTo>
                  <a:pt x="14" y="74"/>
                  <a:pt x="14" y="74"/>
                  <a:pt x="14" y="74"/>
                </a:cubicBezTo>
                <a:cubicBezTo>
                  <a:pt x="28" y="69"/>
                  <a:pt x="28" y="69"/>
                  <a:pt x="28" y="69"/>
                </a:cubicBezTo>
                <a:cubicBezTo>
                  <a:pt x="28" y="32"/>
                  <a:pt x="28" y="32"/>
                  <a:pt x="28" y="32"/>
                </a:cubicBezTo>
                <a:cubicBezTo>
                  <a:pt x="36" y="32"/>
                  <a:pt x="36" y="32"/>
                  <a:pt x="36" y="32"/>
                </a:cubicBezTo>
                <a:cubicBezTo>
                  <a:pt x="36" y="8"/>
                  <a:pt x="36" y="8"/>
                  <a:pt x="36" y="8"/>
                </a:cubicBezTo>
                <a:cubicBezTo>
                  <a:pt x="52" y="8"/>
                  <a:pt x="52" y="8"/>
                  <a:pt x="52" y="8"/>
                </a:cubicBezTo>
                <a:cubicBezTo>
                  <a:pt x="52" y="0"/>
                  <a:pt x="52" y="0"/>
                  <a:pt x="52" y="0"/>
                </a:cubicBezTo>
                <a:cubicBezTo>
                  <a:pt x="76" y="0"/>
                  <a:pt x="76" y="0"/>
                  <a:pt x="76" y="0"/>
                </a:cubicBezTo>
                <a:cubicBezTo>
                  <a:pt x="76" y="8"/>
                  <a:pt x="76" y="8"/>
                  <a:pt x="76" y="8"/>
                </a:cubicBezTo>
                <a:cubicBezTo>
                  <a:pt x="92" y="8"/>
                  <a:pt x="92" y="8"/>
                  <a:pt x="92" y="8"/>
                </a:cubicBezTo>
                <a:cubicBezTo>
                  <a:pt x="92" y="32"/>
                  <a:pt x="92" y="32"/>
                  <a:pt x="92" y="32"/>
                </a:cubicBezTo>
                <a:cubicBezTo>
                  <a:pt x="100" y="32"/>
                  <a:pt x="100" y="32"/>
                  <a:pt x="100" y="32"/>
                </a:cubicBezTo>
                <a:cubicBezTo>
                  <a:pt x="100" y="69"/>
                  <a:pt x="100" y="69"/>
                  <a:pt x="100" y="69"/>
                </a:cubicBezTo>
                <a:lnTo>
                  <a:pt x="114" y="74"/>
                </a:lnTo>
                <a:close/>
                <a:moveTo>
                  <a:pt x="44" y="32"/>
                </a:moveTo>
                <a:cubicBezTo>
                  <a:pt x="84" y="32"/>
                  <a:pt x="84" y="32"/>
                  <a:pt x="84" y="32"/>
                </a:cubicBezTo>
                <a:cubicBezTo>
                  <a:pt x="84" y="24"/>
                  <a:pt x="84" y="24"/>
                  <a:pt x="84" y="24"/>
                </a:cubicBezTo>
                <a:cubicBezTo>
                  <a:pt x="44" y="24"/>
                  <a:pt x="44" y="24"/>
                  <a:pt x="44" y="24"/>
                </a:cubicBezTo>
                <a:lnTo>
                  <a:pt x="44" y="32"/>
                </a:lnTo>
                <a:close/>
                <a:moveTo>
                  <a:pt x="92" y="40"/>
                </a:moveTo>
                <a:cubicBezTo>
                  <a:pt x="36" y="40"/>
                  <a:pt x="36" y="40"/>
                  <a:pt x="36" y="40"/>
                </a:cubicBezTo>
                <a:cubicBezTo>
                  <a:pt x="36" y="66"/>
                  <a:pt x="36" y="66"/>
                  <a:pt x="36" y="66"/>
                </a:cubicBezTo>
                <a:cubicBezTo>
                  <a:pt x="64" y="56"/>
                  <a:pt x="64" y="56"/>
                  <a:pt x="64" y="56"/>
                </a:cubicBezTo>
                <a:cubicBezTo>
                  <a:pt x="92" y="66"/>
                  <a:pt x="92" y="66"/>
                  <a:pt x="92" y="66"/>
                </a:cubicBezTo>
                <a:lnTo>
                  <a:pt x="92" y="4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1" name="Freeform 71">
            <a:extLst>
              <a:ext uri="{FF2B5EF4-FFF2-40B4-BE49-F238E27FC236}">
                <a16:creationId xmlns:a16="http://schemas.microsoft.com/office/drawing/2014/main" id="{D7527040-E735-480F-9A75-090465D327CB}"/>
              </a:ext>
            </a:extLst>
          </p:cNvPr>
          <p:cNvSpPr>
            <a:spLocks noEditPoints="1"/>
          </p:cNvSpPr>
          <p:nvPr/>
        </p:nvSpPr>
        <p:spPr bwMode="auto">
          <a:xfrm>
            <a:off x="3723976" y="2406184"/>
            <a:ext cx="412750" cy="412750"/>
          </a:xfrm>
          <a:custGeom>
            <a:avLst/>
            <a:gdLst>
              <a:gd name="T0" fmla="*/ 128 w 128"/>
              <a:gd name="T1" fmla="*/ 80 h 128"/>
              <a:gd name="T2" fmla="*/ 112 w 128"/>
              <a:gd name="T3" fmla="*/ 96 h 128"/>
              <a:gd name="T4" fmla="*/ 95 w 128"/>
              <a:gd name="T5" fmla="*/ 96 h 128"/>
              <a:gd name="T6" fmla="*/ 75 w 128"/>
              <a:gd name="T7" fmla="*/ 112 h 128"/>
              <a:gd name="T8" fmla="*/ 74 w 128"/>
              <a:gd name="T9" fmla="*/ 112 h 128"/>
              <a:gd name="T10" fmla="*/ 38 w 128"/>
              <a:gd name="T11" fmla="*/ 112 h 128"/>
              <a:gd name="T12" fmla="*/ 37 w 128"/>
              <a:gd name="T13" fmla="*/ 112 h 128"/>
              <a:gd name="T14" fmla="*/ 0 w 128"/>
              <a:gd name="T15" fmla="*/ 52 h 128"/>
              <a:gd name="T16" fmla="*/ 0 w 128"/>
              <a:gd name="T17" fmla="*/ 48 h 128"/>
              <a:gd name="T18" fmla="*/ 112 w 128"/>
              <a:gd name="T19" fmla="*/ 48 h 128"/>
              <a:gd name="T20" fmla="*/ 112 w 128"/>
              <a:gd name="T21" fmla="*/ 52 h 128"/>
              <a:gd name="T22" fmla="*/ 111 w 128"/>
              <a:gd name="T23" fmla="*/ 64 h 128"/>
              <a:gd name="T24" fmla="*/ 112 w 128"/>
              <a:gd name="T25" fmla="*/ 64 h 128"/>
              <a:gd name="T26" fmla="*/ 128 w 128"/>
              <a:gd name="T27" fmla="*/ 80 h 128"/>
              <a:gd name="T28" fmla="*/ 104 w 128"/>
              <a:gd name="T29" fmla="*/ 56 h 128"/>
              <a:gd name="T30" fmla="*/ 8 w 128"/>
              <a:gd name="T31" fmla="*/ 56 h 128"/>
              <a:gd name="T32" fmla="*/ 39 w 128"/>
              <a:gd name="T33" fmla="*/ 104 h 128"/>
              <a:gd name="T34" fmla="*/ 73 w 128"/>
              <a:gd name="T35" fmla="*/ 104 h 128"/>
              <a:gd name="T36" fmla="*/ 104 w 128"/>
              <a:gd name="T37" fmla="*/ 56 h 128"/>
              <a:gd name="T38" fmla="*/ 120 w 128"/>
              <a:gd name="T39" fmla="*/ 80 h 128"/>
              <a:gd name="T40" fmla="*/ 112 w 128"/>
              <a:gd name="T41" fmla="*/ 72 h 128"/>
              <a:gd name="T42" fmla="*/ 109 w 128"/>
              <a:gd name="T43" fmla="*/ 72 h 128"/>
              <a:gd name="T44" fmla="*/ 101 w 128"/>
              <a:gd name="T45" fmla="*/ 88 h 128"/>
              <a:gd name="T46" fmla="*/ 112 w 128"/>
              <a:gd name="T47" fmla="*/ 88 h 128"/>
              <a:gd name="T48" fmla="*/ 120 w 128"/>
              <a:gd name="T49" fmla="*/ 80 h 128"/>
              <a:gd name="T50" fmla="*/ 112 w 128"/>
              <a:gd name="T51" fmla="*/ 120 h 128"/>
              <a:gd name="T52" fmla="*/ 0 w 128"/>
              <a:gd name="T53" fmla="*/ 120 h 128"/>
              <a:gd name="T54" fmla="*/ 8 w 128"/>
              <a:gd name="T55" fmla="*/ 128 h 128"/>
              <a:gd name="T56" fmla="*/ 104 w 128"/>
              <a:gd name="T57" fmla="*/ 128 h 128"/>
              <a:gd name="T58" fmla="*/ 112 w 128"/>
              <a:gd name="T59" fmla="*/ 120 h 128"/>
              <a:gd name="T60" fmla="*/ 31 w 128"/>
              <a:gd name="T61" fmla="*/ 28 h 128"/>
              <a:gd name="T62" fmla="*/ 28 w 128"/>
              <a:gd name="T63" fmla="*/ 20 h 128"/>
              <a:gd name="T64" fmla="*/ 31 w 128"/>
              <a:gd name="T65" fmla="*/ 12 h 128"/>
              <a:gd name="T66" fmla="*/ 36 w 128"/>
              <a:gd name="T67" fmla="*/ 0 h 128"/>
              <a:gd name="T68" fmla="*/ 28 w 128"/>
              <a:gd name="T69" fmla="*/ 0 h 128"/>
              <a:gd name="T70" fmla="*/ 25 w 128"/>
              <a:gd name="T71" fmla="*/ 8 h 128"/>
              <a:gd name="T72" fmla="*/ 20 w 128"/>
              <a:gd name="T73" fmla="*/ 20 h 128"/>
              <a:gd name="T74" fmla="*/ 25 w 128"/>
              <a:gd name="T75" fmla="*/ 32 h 128"/>
              <a:gd name="T76" fmla="*/ 28 w 128"/>
              <a:gd name="T77" fmla="*/ 40 h 128"/>
              <a:gd name="T78" fmla="*/ 36 w 128"/>
              <a:gd name="T79" fmla="*/ 40 h 128"/>
              <a:gd name="T80" fmla="*/ 31 w 128"/>
              <a:gd name="T81" fmla="*/ 28 h 128"/>
              <a:gd name="T82" fmla="*/ 55 w 128"/>
              <a:gd name="T83" fmla="*/ 28 h 128"/>
              <a:gd name="T84" fmla="*/ 52 w 128"/>
              <a:gd name="T85" fmla="*/ 20 h 128"/>
              <a:gd name="T86" fmla="*/ 55 w 128"/>
              <a:gd name="T87" fmla="*/ 12 h 128"/>
              <a:gd name="T88" fmla="*/ 60 w 128"/>
              <a:gd name="T89" fmla="*/ 0 h 128"/>
              <a:gd name="T90" fmla="*/ 52 w 128"/>
              <a:gd name="T91" fmla="*/ 0 h 128"/>
              <a:gd name="T92" fmla="*/ 49 w 128"/>
              <a:gd name="T93" fmla="*/ 8 h 128"/>
              <a:gd name="T94" fmla="*/ 44 w 128"/>
              <a:gd name="T95" fmla="*/ 20 h 128"/>
              <a:gd name="T96" fmla="*/ 49 w 128"/>
              <a:gd name="T97" fmla="*/ 32 h 128"/>
              <a:gd name="T98" fmla="*/ 52 w 128"/>
              <a:gd name="T99" fmla="*/ 40 h 128"/>
              <a:gd name="T100" fmla="*/ 60 w 128"/>
              <a:gd name="T101" fmla="*/ 40 h 128"/>
              <a:gd name="T102" fmla="*/ 55 w 128"/>
              <a:gd name="T103" fmla="*/ 28 h 128"/>
              <a:gd name="T104" fmla="*/ 79 w 128"/>
              <a:gd name="T105" fmla="*/ 28 h 128"/>
              <a:gd name="T106" fmla="*/ 76 w 128"/>
              <a:gd name="T107" fmla="*/ 20 h 128"/>
              <a:gd name="T108" fmla="*/ 79 w 128"/>
              <a:gd name="T109" fmla="*/ 12 h 128"/>
              <a:gd name="T110" fmla="*/ 84 w 128"/>
              <a:gd name="T111" fmla="*/ 0 h 128"/>
              <a:gd name="T112" fmla="*/ 76 w 128"/>
              <a:gd name="T113" fmla="*/ 0 h 128"/>
              <a:gd name="T114" fmla="*/ 73 w 128"/>
              <a:gd name="T115" fmla="*/ 8 h 128"/>
              <a:gd name="T116" fmla="*/ 68 w 128"/>
              <a:gd name="T117" fmla="*/ 20 h 128"/>
              <a:gd name="T118" fmla="*/ 73 w 128"/>
              <a:gd name="T119" fmla="*/ 32 h 128"/>
              <a:gd name="T120" fmla="*/ 76 w 128"/>
              <a:gd name="T121" fmla="*/ 40 h 128"/>
              <a:gd name="T122" fmla="*/ 84 w 128"/>
              <a:gd name="T123" fmla="*/ 40 h 128"/>
              <a:gd name="T124" fmla="*/ 79 w 128"/>
              <a:gd name="T125" fmla="*/ 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8" h="128">
                <a:moveTo>
                  <a:pt x="128" y="80"/>
                </a:moveTo>
                <a:cubicBezTo>
                  <a:pt x="128" y="89"/>
                  <a:pt x="121" y="96"/>
                  <a:pt x="112" y="96"/>
                </a:cubicBezTo>
                <a:cubicBezTo>
                  <a:pt x="95" y="96"/>
                  <a:pt x="95" y="96"/>
                  <a:pt x="95" y="96"/>
                </a:cubicBezTo>
                <a:cubicBezTo>
                  <a:pt x="90" y="103"/>
                  <a:pt x="83" y="108"/>
                  <a:pt x="75" y="112"/>
                </a:cubicBezTo>
                <a:cubicBezTo>
                  <a:pt x="74" y="112"/>
                  <a:pt x="74" y="112"/>
                  <a:pt x="74" y="112"/>
                </a:cubicBezTo>
                <a:cubicBezTo>
                  <a:pt x="38" y="112"/>
                  <a:pt x="38" y="112"/>
                  <a:pt x="38" y="112"/>
                </a:cubicBezTo>
                <a:cubicBezTo>
                  <a:pt x="37" y="112"/>
                  <a:pt x="37" y="112"/>
                  <a:pt x="37" y="112"/>
                </a:cubicBezTo>
                <a:cubicBezTo>
                  <a:pt x="16" y="102"/>
                  <a:pt x="0" y="77"/>
                  <a:pt x="0" y="52"/>
                </a:cubicBezTo>
                <a:cubicBezTo>
                  <a:pt x="0" y="48"/>
                  <a:pt x="0" y="48"/>
                  <a:pt x="0" y="48"/>
                </a:cubicBezTo>
                <a:cubicBezTo>
                  <a:pt x="112" y="48"/>
                  <a:pt x="112" y="48"/>
                  <a:pt x="112" y="48"/>
                </a:cubicBezTo>
                <a:cubicBezTo>
                  <a:pt x="112" y="52"/>
                  <a:pt x="112" y="52"/>
                  <a:pt x="112" y="52"/>
                </a:cubicBezTo>
                <a:cubicBezTo>
                  <a:pt x="112" y="56"/>
                  <a:pt x="112" y="60"/>
                  <a:pt x="111" y="64"/>
                </a:cubicBezTo>
                <a:cubicBezTo>
                  <a:pt x="112" y="64"/>
                  <a:pt x="112" y="64"/>
                  <a:pt x="112" y="64"/>
                </a:cubicBezTo>
                <a:cubicBezTo>
                  <a:pt x="121" y="64"/>
                  <a:pt x="128" y="71"/>
                  <a:pt x="128" y="80"/>
                </a:cubicBezTo>
                <a:close/>
                <a:moveTo>
                  <a:pt x="104" y="56"/>
                </a:moveTo>
                <a:cubicBezTo>
                  <a:pt x="8" y="56"/>
                  <a:pt x="8" y="56"/>
                  <a:pt x="8" y="56"/>
                </a:cubicBezTo>
                <a:cubicBezTo>
                  <a:pt x="10" y="76"/>
                  <a:pt x="23" y="96"/>
                  <a:pt x="39" y="104"/>
                </a:cubicBezTo>
                <a:cubicBezTo>
                  <a:pt x="73" y="104"/>
                  <a:pt x="73" y="104"/>
                  <a:pt x="73" y="104"/>
                </a:cubicBezTo>
                <a:cubicBezTo>
                  <a:pt x="89" y="96"/>
                  <a:pt x="102" y="76"/>
                  <a:pt x="104" y="56"/>
                </a:cubicBezTo>
                <a:close/>
                <a:moveTo>
                  <a:pt x="120" y="80"/>
                </a:moveTo>
                <a:cubicBezTo>
                  <a:pt x="120" y="76"/>
                  <a:pt x="117" y="72"/>
                  <a:pt x="112" y="72"/>
                </a:cubicBezTo>
                <a:cubicBezTo>
                  <a:pt x="109" y="72"/>
                  <a:pt x="109" y="72"/>
                  <a:pt x="109" y="72"/>
                </a:cubicBezTo>
                <a:cubicBezTo>
                  <a:pt x="107" y="78"/>
                  <a:pt x="104" y="83"/>
                  <a:pt x="101" y="88"/>
                </a:cubicBezTo>
                <a:cubicBezTo>
                  <a:pt x="112" y="88"/>
                  <a:pt x="112" y="88"/>
                  <a:pt x="112" y="88"/>
                </a:cubicBezTo>
                <a:cubicBezTo>
                  <a:pt x="117" y="88"/>
                  <a:pt x="120" y="84"/>
                  <a:pt x="120" y="80"/>
                </a:cubicBezTo>
                <a:close/>
                <a:moveTo>
                  <a:pt x="112" y="120"/>
                </a:moveTo>
                <a:cubicBezTo>
                  <a:pt x="0" y="120"/>
                  <a:pt x="0" y="120"/>
                  <a:pt x="0" y="120"/>
                </a:cubicBezTo>
                <a:cubicBezTo>
                  <a:pt x="8" y="128"/>
                  <a:pt x="8" y="128"/>
                  <a:pt x="8" y="128"/>
                </a:cubicBezTo>
                <a:cubicBezTo>
                  <a:pt x="104" y="128"/>
                  <a:pt x="104" y="128"/>
                  <a:pt x="104" y="128"/>
                </a:cubicBezTo>
                <a:lnTo>
                  <a:pt x="112" y="120"/>
                </a:lnTo>
                <a:close/>
                <a:moveTo>
                  <a:pt x="31" y="28"/>
                </a:moveTo>
                <a:cubicBezTo>
                  <a:pt x="29" y="25"/>
                  <a:pt x="28" y="24"/>
                  <a:pt x="28" y="20"/>
                </a:cubicBezTo>
                <a:cubicBezTo>
                  <a:pt x="28" y="16"/>
                  <a:pt x="29" y="15"/>
                  <a:pt x="31" y="12"/>
                </a:cubicBezTo>
                <a:cubicBezTo>
                  <a:pt x="33" y="10"/>
                  <a:pt x="36" y="6"/>
                  <a:pt x="36" y="0"/>
                </a:cubicBezTo>
                <a:cubicBezTo>
                  <a:pt x="28" y="0"/>
                  <a:pt x="28" y="0"/>
                  <a:pt x="28" y="0"/>
                </a:cubicBezTo>
                <a:cubicBezTo>
                  <a:pt x="28" y="4"/>
                  <a:pt x="27" y="5"/>
                  <a:pt x="25" y="8"/>
                </a:cubicBezTo>
                <a:cubicBezTo>
                  <a:pt x="23" y="10"/>
                  <a:pt x="20" y="14"/>
                  <a:pt x="20" y="20"/>
                </a:cubicBezTo>
                <a:cubicBezTo>
                  <a:pt x="20" y="26"/>
                  <a:pt x="23" y="30"/>
                  <a:pt x="25" y="32"/>
                </a:cubicBezTo>
                <a:cubicBezTo>
                  <a:pt x="27" y="35"/>
                  <a:pt x="28" y="36"/>
                  <a:pt x="28" y="40"/>
                </a:cubicBezTo>
                <a:cubicBezTo>
                  <a:pt x="36" y="40"/>
                  <a:pt x="36" y="40"/>
                  <a:pt x="36" y="40"/>
                </a:cubicBezTo>
                <a:cubicBezTo>
                  <a:pt x="36" y="34"/>
                  <a:pt x="33" y="30"/>
                  <a:pt x="31" y="28"/>
                </a:cubicBezTo>
                <a:close/>
                <a:moveTo>
                  <a:pt x="55" y="28"/>
                </a:moveTo>
                <a:cubicBezTo>
                  <a:pt x="53" y="25"/>
                  <a:pt x="52" y="24"/>
                  <a:pt x="52" y="20"/>
                </a:cubicBezTo>
                <a:cubicBezTo>
                  <a:pt x="52" y="16"/>
                  <a:pt x="53" y="15"/>
                  <a:pt x="55" y="12"/>
                </a:cubicBezTo>
                <a:cubicBezTo>
                  <a:pt x="57" y="10"/>
                  <a:pt x="60" y="6"/>
                  <a:pt x="60" y="0"/>
                </a:cubicBezTo>
                <a:cubicBezTo>
                  <a:pt x="52" y="0"/>
                  <a:pt x="52" y="0"/>
                  <a:pt x="52" y="0"/>
                </a:cubicBezTo>
                <a:cubicBezTo>
                  <a:pt x="52" y="4"/>
                  <a:pt x="51" y="5"/>
                  <a:pt x="49" y="8"/>
                </a:cubicBezTo>
                <a:cubicBezTo>
                  <a:pt x="47" y="10"/>
                  <a:pt x="44" y="14"/>
                  <a:pt x="44" y="20"/>
                </a:cubicBezTo>
                <a:cubicBezTo>
                  <a:pt x="44" y="26"/>
                  <a:pt x="47" y="30"/>
                  <a:pt x="49" y="32"/>
                </a:cubicBezTo>
                <a:cubicBezTo>
                  <a:pt x="51" y="35"/>
                  <a:pt x="52" y="36"/>
                  <a:pt x="52" y="40"/>
                </a:cubicBezTo>
                <a:cubicBezTo>
                  <a:pt x="60" y="40"/>
                  <a:pt x="60" y="40"/>
                  <a:pt x="60" y="40"/>
                </a:cubicBezTo>
                <a:cubicBezTo>
                  <a:pt x="60" y="34"/>
                  <a:pt x="57" y="30"/>
                  <a:pt x="55" y="28"/>
                </a:cubicBezTo>
                <a:close/>
                <a:moveTo>
                  <a:pt x="79" y="28"/>
                </a:moveTo>
                <a:cubicBezTo>
                  <a:pt x="77" y="25"/>
                  <a:pt x="76" y="24"/>
                  <a:pt x="76" y="20"/>
                </a:cubicBezTo>
                <a:cubicBezTo>
                  <a:pt x="76" y="16"/>
                  <a:pt x="77" y="15"/>
                  <a:pt x="79" y="12"/>
                </a:cubicBezTo>
                <a:cubicBezTo>
                  <a:pt x="81" y="10"/>
                  <a:pt x="84" y="6"/>
                  <a:pt x="84" y="0"/>
                </a:cubicBezTo>
                <a:cubicBezTo>
                  <a:pt x="76" y="0"/>
                  <a:pt x="76" y="0"/>
                  <a:pt x="76" y="0"/>
                </a:cubicBezTo>
                <a:cubicBezTo>
                  <a:pt x="76" y="4"/>
                  <a:pt x="75" y="5"/>
                  <a:pt x="73" y="8"/>
                </a:cubicBezTo>
                <a:cubicBezTo>
                  <a:pt x="71" y="10"/>
                  <a:pt x="68" y="14"/>
                  <a:pt x="68" y="20"/>
                </a:cubicBezTo>
                <a:cubicBezTo>
                  <a:pt x="68" y="26"/>
                  <a:pt x="71" y="30"/>
                  <a:pt x="73" y="32"/>
                </a:cubicBezTo>
                <a:cubicBezTo>
                  <a:pt x="75" y="35"/>
                  <a:pt x="76" y="36"/>
                  <a:pt x="76" y="40"/>
                </a:cubicBezTo>
                <a:cubicBezTo>
                  <a:pt x="84" y="40"/>
                  <a:pt x="84" y="40"/>
                  <a:pt x="84" y="40"/>
                </a:cubicBezTo>
                <a:cubicBezTo>
                  <a:pt x="84" y="34"/>
                  <a:pt x="81" y="30"/>
                  <a:pt x="79" y="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2" name="Freeform 75">
            <a:extLst>
              <a:ext uri="{FF2B5EF4-FFF2-40B4-BE49-F238E27FC236}">
                <a16:creationId xmlns:a16="http://schemas.microsoft.com/office/drawing/2014/main" id="{AF634BC6-0C13-4E51-8217-098055BC1CCD}"/>
              </a:ext>
            </a:extLst>
          </p:cNvPr>
          <p:cNvSpPr>
            <a:spLocks noEditPoints="1"/>
          </p:cNvSpPr>
          <p:nvPr/>
        </p:nvSpPr>
        <p:spPr bwMode="auto">
          <a:xfrm>
            <a:off x="587675" y="3195060"/>
            <a:ext cx="412750" cy="412750"/>
          </a:xfrm>
          <a:custGeom>
            <a:avLst/>
            <a:gdLst>
              <a:gd name="T0" fmla="*/ 76 w 128"/>
              <a:gd name="T1" fmla="*/ 42 h 128"/>
              <a:gd name="T2" fmla="*/ 105 w 128"/>
              <a:gd name="T3" fmla="*/ 12 h 128"/>
              <a:gd name="T4" fmla="*/ 128 w 128"/>
              <a:gd name="T5" fmla="*/ 12 h 128"/>
              <a:gd name="T6" fmla="*/ 87 w 128"/>
              <a:gd name="T7" fmla="*/ 53 h 128"/>
              <a:gd name="T8" fmla="*/ 76 w 128"/>
              <a:gd name="T9" fmla="*/ 42 h 128"/>
              <a:gd name="T10" fmla="*/ 127 w 128"/>
              <a:gd name="T11" fmla="*/ 116 h 128"/>
              <a:gd name="T12" fmla="*/ 105 w 128"/>
              <a:gd name="T13" fmla="*/ 116 h 128"/>
              <a:gd name="T14" fmla="*/ 64 w 128"/>
              <a:gd name="T15" fmla="*/ 76 h 128"/>
              <a:gd name="T16" fmla="*/ 46 w 128"/>
              <a:gd name="T17" fmla="*/ 94 h 128"/>
              <a:gd name="T18" fmla="*/ 48 w 128"/>
              <a:gd name="T19" fmla="*/ 104 h 128"/>
              <a:gd name="T20" fmla="*/ 24 w 128"/>
              <a:gd name="T21" fmla="*/ 128 h 128"/>
              <a:gd name="T22" fmla="*/ 0 w 128"/>
              <a:gd name="T23" fmla="*/ 104 h 128"/>
              <a:gd name="T24" fmla="*/ 24 w 128"/>
              <a:gd name="T25" fmla="*/ 80 h 128"/>
              <a:gd name="T26" fmla="*/ 35 w 128"/>
              <a:gd name="T27" fmla="*/ 83 h 128"/>
              <a:gd name="T28" fmla="*/ 53 w 128"/>
              <a:gd name="T29" fmla="*/ 64 h 128"/>
              <a:gd name="T30" fmla="*/ 34 w 128"/>
              <a:gd name="T31" fmla="*/ 46 h 128"/>
              <a:gd name="T32" fmla="*/ 34 w 128"/>
              <a:gd name="T33" fmla="*/ 46 h 128"/>
              <a:gd name="T34" fmla="*/ 24 w 128"/>
              <a:gd name="T35" fmla="*/ 48 h 128"/>
              <a:gd name="T36" fmla="*/ 0 w 128"/>
              <a:gd name="T37" fmla="*/ 24 h 128"/>
              <a:gd name="T38" fmla="*/ 24 w 128"/>
              <a:gd name="T39" fmla="*/ 0 h 128"/>
              <a:gd name="T40" fmla="*/ 48 w 128"/>
              <a:gd name="T41" fmla="*/ 24 h 128"/>
              <a:gd name="T42" fmla="*/ 46 w 128"/>
              <a:gd name="T43" fmla="*/ 34 h 128"/>
              <a:gd name="T44" fmla="*/ 46 w 128"/>
              <a:gd name="T45" fmla="*/ 34 h 128"/>
              <a:gd name="T46" fmla="*/ 127 w 128"/>
              <a:gd name="T47" fmla="*/ 116 h 128"/>
              <a:gd name="T48" fmla="*/ 40 w 128"/>
              <a:gd name="T49" fmla="*/ 24 h 128"/>
              <a:gd name="T50" fmla="*/ 24 w 128"/>
              <a:gd name="T51" fmla="*/ 8 h 128"/>
              <a:gd name="T52" fmla="*/ 8 w 128"/>
              <a:gd name="T53" fmla="*/ 24 h 128"/>
              <a:gd name="T54" fmla="*/ 24 w 128"/>
              <a:gd name="T55" fmla="*/ 40 h 128"/>
              <a:gd name="T56" fmla="*/ 40 w 128"/>
              <a:gd name="T57" fmla="*/ 24 h 128"/>
              <a:gd name="T58" fmla="*/ 40 w 128"/>
              <a:gd name="T59" fmla="*/ 104 h 128"/>
              <a:gd name="T60" fmla="*/ 24 w 128"/>
              <a:gd name="T61" fmla="*/ 88 h 128"/>
              <a:gd name="T62" fmla="*/ 8 w 128"/>
              <a:gd name="T63" fmla="*/ 104 h 128"/>
              <a:gd name="T64" fmla="*/ 24 w 128"/>
              <a:gd name="T65" fmla="*/ 120 h 128"/>
              <a:gd name="T66" fmla="*/ 40 w 128"/>
              <a:gd name="T67" fmla="*/ 104 h 128"/>
              <a:gd name="T68" fmla="*/ 68 w 128"/>
              <a:gd name="T69" fmla="*/ 64 h 128"/>
              <a:gd name="T70" fmla="*/ 64 w 128"/>
              <a:gd name="T71" fmla="*/ 60 h 128"/>
              <a:gd name="T72" fmla="*/ 60 w 128"/>
              <a:gd name="T73" fmla="*/ 64 h 128"/>
              <a:gd name="T74" fmla="*/ 64 w 128"/>
              <a:gd name="T75" fmla="*/ 68 h 128"/>
              <a:gd name="T76" fmla="*/ 68 w 128"/>
              <a:gd name="T7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8" h="128">
                <a:moveTo>
                  <a:pt x="76" y="42"/>
                </a:moveTo>
                <a:cubicBezTo>
                  <a:pt x="105" y="12"/>
                  <a:pt x="105" y="12"/>
                  <a:pt x="105" y="12"/>
                </a:cubicBezTo>
                <a:cubicBezTo>
                  <a:pt x="128" y="12"/>
                  <a:pt x="128" y="12"/>
                  <a:pt x="128" y="12"/>
                </a:cubicBezTo>
                <a:cubicBezTo>
                  <a:pt x="87" y="53"/>
                  <a:pt x="87" y="53"/>
                  <a:pt x="87" y="53"/>
                </a:cubicBezTo>
                <a:lnTo>
                  <a:pt x="76" y="42"/>
                </a:lnTo>
                <a:close/>
                <a:moveTo>
                  <a:pt x="127" y="116"/>
                </a:moveTo>
                <a:cubicBezTo>
                  <a:pt x="105" y="116"/>
                  <a:pt x="105" y="116"/>
                  <a:pt x="105" y="116"/>
                </a:cubicBezTo>
                <a:cubicBezTo>
                  <a:pt x="64" y="76"/>
                  <a:pt x="64" y="76"/>
                  <a:pt x="64" y="76"/>
                </a:cubicBezTo>
                <a:cubicBezTo>
                  <a:pt x="46" y="94"/>
                  <a:pt x="46" y="94"/>
                  <a:pt x="46" y="94"/>
                </a:cubicBezTo>
                <a:cubicBezTo>
                  <a:pt x="47" y="97"/>
                  <a:pt x="48" y="101"/>
                  <a:pt x="48" y="104"/>
                </a:cubicBezTo>
                <a:cubicBezTo>
                  <a:pt x="48" y="117"/>
                  <a:pt x="37" y="128"/>
                  <a:pt x="24" y="128"/>
                </a:cubicBezTo>
                <a:cubicBezTo>
                  <a:pt x="11" y="128"/>
                  <a:pt x="0" y="117"/>
                  <a:pt x="0" y="104"/>
                </a:cubicBezTo>
                <a:cubicBezTo>
                  <a:pt x="0" y="91"/>
                  <a:pt x="11" y="80"/>
                  <a:pt x="24" y="80"/>
                </a:cubicBezTo>
                <a:cubicBezTo>
                  <a:pt x="28" y="80"/>
                  <a:pt x="32" y="81"/>
                  <a:pt x="35" y="83"/>
                </a:cubicBezTo>
                <a:cubicBezTo>
                  <a:pt x="53" y="64"/>
                  <a:pt x="53" y="64"/>
                  <a:pt x="53" y="64"/>
                </a:cubicBezTo>
                <a:cubicBezTo>
                  <a:pt x="34" y="46"/>
                  <a:pt x="34" y="46"/>
                  <a:pt x="34" y="46"/>
                </a:cubicBezTo>
                <a:cubicBezTo>
                  <a:pt x="34" y="46"/>
                  <a:pt x="34" y="46"/>
                  <a:pt x="34" y="46"/>
                </a:cubicBezTo>
                <a:cubicBezTo>
                  <a:pt x="31" y="47"/>
                  <a:pt x="28" y="48"/>
                  <a:pt x="24" y="48"/>
                </a:cubicBezTo>
                <a:cubicBezTo>
                  <a:pt x="11" y="48"/>
                  <a:pt x="0" y="37"/>
                  <a:pt x="0" y="24"/>
                </a:cubicBezTo>
                <a:cubicBezTo>
                  <a:pt x="0" y="11"/>
                  <a:pt x="11" y="0"/>
                  <a:pt x="24" y="0"/>
                </a:cubicBezTo>
                <a:cubicBezTo>
                  <a:pt x="37" y="0"/>
                  <a:pt x="48" y="11"/>
                  <a:pt x="48" y="24"/>
                </a:cubicBezTo>
                <a:cubicBezTo>
                  <a:pt x="48" y="28"/>
                  <a:pt x="47" y="31"/>
                  <a:pt x="46" y="34"/>
                </a:cubicBezTo>
                <a:cubicBezTo>
                  <a:pt x="46" y="34"/>
                  <a:pt x="46" y="34"/>
                  <a:pt x="46" y="34"/>
                </a:cubicBezTo>
                <a:lnTo>
                  <a:pt x="127" y="116"/>
                </a:lnTo>
                <a:close/>
                <a:moveTo>
                  <a:pt x="40" y="24"/>
                </a:moveTo>
                <a:cubicBezTo>
                  <a:pt x="40" y="15"/>
                  <a:pt x="33" y="8"/>
                  <a:pt x="24" y="8"/>
                </a:cubicBezTo>
                <a:cubicBezTo>
                  <a:pt x="15" y="8"/>
                  <a:pt x="8" y="15"/>
                  <a:pt x="8" y="24"/>
                </a:cubicBezTo>
                <a:cubicBezTo>
                  <a:pt x="8" y="33"/>
                  <a:pt x="15" y="40"/>
                  <a:pt x="24" y="40"/>
                </a:cubicBezTo>
                <a:cubicBezTo>
                  <a:pt x="33" y="40"/>
                  <a:pt x="40" y="33"/>
                  <a:pt x="40" y="24"/>
                </a:cubicBezTo>
                <a:close/>
                <a:moveTo>
                  <a:pt x="40" y="104"/>
                </a:moveTo>
                <a:cubicBezTo>
                  <a:pt x="40" y="95"/>
                  <a:pt x="33" y="88"/>
                  <a:pt x="24" y="88"/>
                </a:cubicBezTo>
                <a:cubicBezTo>
                  <a:pt x="15" y="88"/>
                  <a:pt x="8" y="95"/>
                  <a:pt x="8" y="104"/>
                </a:cubicBezTo>
                <a:cubicBezTo>
                  <a:pt x="8" y="113"/>
                  <a:pt x="15" y="120"/>
                  <a:pt x="24" y="120"/>
                </a:cubicBezTo>
                <a:cubicBezTo>
                  <a:pt x="33" y="120"/>
                  <a:pt x="40" y="113"/>
                  <a:pt x="40" y="104"/>
                </a:cubicBezTo>
                <a:close/>
                <a:moveTo>
                  <a:pt x="68" y="64"/>
                </a:moveTo>
                <a:cubicBezTo>
                  <a:pt x="68" y="62"/>
                  <a:pt x="66" y="60"/>
                  <a:pt x="64" y="60"/>
                </a:cubicBezTo>
                <a:cubicBezTo>
                  <a:pt x="62" y="60"/>
                  <a:pt x="60" y="62"/>
                  <a:pt x="60" y="64"/>
                </a:cubicBezTo>
                <a:cubicBezTo>
                  <a:pt x="60" y="66"/>
                  <a:pt x="62" y="68"/>
                  <a:pt x="64" y="68"/>
                </a:cubicBezTo>
                <a:cubicBezTo>
                  <a:pt x="66" y="68"/>
                  <a:pt x="68" y="66"/>
                  <a:pt x="68" y="6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3" name="Freeform 79">
            <a:extLst>
              <a:ext uri="{FF2B5EF4-FFF2-40B4-BE49-F238E27FC236}">
                <a16:creationId xmlns:a16="http://schemas.microsoft.com/office/drawing/2014/main" id="{7C1C1E48-A6C7-4F30-B06B-5D4BA08B254E}"/>
              </a:ext>
            </a:extLst>
          </p:cNvPr>
          <p:cNvSpPr>
            <a:spLocks noEditPoints="1"/>
          </p:cNvSpPr>
          <p:nvPr/>
        </p:nvSpPr>
        <p:spPr bwMode="auto">
          <a:xfrm>
            <a:off x="1633902" y="3195060"/>
            <a:ext cx="411163" cy="412750"/>
          </a:xfrm>
          <a:custGeom>
            <a:avLst/>
            <a:gdLst>
              <a:gd name="T0" fmla="*/ 25 w 127"/>
              <a:gd name="T1" fmla="*/ 122 h 128"/>
              <a:gd name="T2" fmla="*/ 37 w 127"/>
              <a:gd name="T3" fmla="*/ 122 h 128"/>
              <a:gd name="T4" fmla="*/ 42 w 127"/>
              <a:gd name="T5" fmla="*/ 117 h 128"/>
              <a:gd name="T6" fmla="*/ 42 w 127"/>
              <a:gd name="T7" fmla="*/ 105 h 128"/>
              <a:gd name="T8" fmla="*/ 42 w 127"/>
              <a:gd name="T9" fmla="*/ 117 h 128"/>
              <a:gd name="T10" fmla="*/ 48 w 127"/>
              <a:gd name="T11" fmla="*/ 100 h 128"/>
              <a:gd name="T12" fmla="*/ 59 w 127"/>
              <a:gd name="T13" fmla="*/ 100 h 128"/>
              <a:gd name="T14" fmla="*/ 65 w 127"/>
              <a:gd name="T15" fmla="*/ 94 h 128"/>
              <a:gd name="T16" fmla="*/ 65 w 127"/>
              <a:gd name="T17" fmla="*/ 83 h 128"/>
              <a:gd name="T18" fmla="*/ 65 w 127"/>
              <a:gd name="T19" fmla="*/ 94 h 128"/>
              <a:gd name="T20" fmla="*/ 71 w 127"/>
              <a:gd name="T21" fmla="*/ 77 h 128"/>
              <a:gd name="T22" fmla="*/ 82 w 127"/>
              <a:gd name="T23" fmla="*/ 77 h 128"/>
              <a:gd name="T24" fmla="*/ 88 w 127"/>
              <a:gd name="T25" fmla="*/ 71 h 128"/>
              <a:gd name="T26" fmla="*/ 88 w 127"/>
              <a:gd name="T27" fmla="*/ 60 h 128"/>
              <a:gd name="T28" fmla="*/ 88 w 127"/>
              <a:gd name="T29" fmla="*/ 71 h 128"/>
              <a:gd name="T30" fmla="*/ 93 w 127"/>
              <a:gd name="T31" fmla="*/ 55 h 128"/>
              <a:gd name="T32" fmla="*/ 105 w 127"/>
              <a:gd name="T33" fmla="*/ 55 h 128"/>
              <a:gd name="T34" fmla="*/ 110 w 127"/>
              <a:gd name="T35" fmla="*/ 49 h 128"/>
              <a:gd name="T36" fmla="*/ 110 w 127"/>
              <a:gd name="T37" fmla="*/ 38 h 128"/>
              <a:gd name="T38" fmla="*/ 110 w 127"/>
              <a:gd name="T39" fmla="*/ 49 h 128"/>
              <a:gd name="T40" fmla="*/ 116 w 127"/>
              <a:gd name="T41" fmla="*/ 32 h 128"/>
              <a:gd name="T42" fmla="*/ 127 w 127"/>
              <a:gd name="T43" fmla="*/ 32 h 128"/>
              <a:gd name="T44" fmla="*/ 107 w 127"/>
              <a:gd name="T45" fmla="*/ 8 h 128"/>
              <a:gd name="T46" fmla="*/ 57 w 127"/>
              <a:gd name="T47" fmla="*/ 35 h 128"/>
              <a:gd name="T48" fmla="*/ 107 w 127"/>
              <a:gd name="T49" fmla="*/ 8 h 128"/>
              <a:gd name="T50" fmla="*/ 40 w 127"/>
              <a:gd name="T51" fmla="*/ 20 h 128"/>
              <a:gd name="T52" fmla="*/ 0 w 127"/>
              <a:gd name="T53" fmla="*/ 20 h 128"/>
              <a:gd name="T54" fmla="*/ 27 w 127"/>
              <a:gd name="T55" fmla="*/ 39 h 128"/>
              <a:gd name="T56" fmla="*/ 26 w 127"/>
              <a:gd name="T57" fmla="*/ 65 h 128"/>
              <a:gd name="T58" fmla="*/ 0 w 127"/>
              <a:gd name="T59" fmla="*/ 84 h 128"/>
              <a:gd name="T60" fmla="*/ 40 w 127"/>
              <a:gd name="T61" fmla="*/ 84 h 128"/>
              <a:gd name="T62" fmla="*/ 51 w 127"/>
              <a:gd name="T63" fmla="*/ 63 h 128"/>
              <a:gd name="T64" fmla="*/ 68 w 127"/>
              <a:gd name="T65" fmla="*/ 58 h 128"/>
              <a:gd name="T66" fmla="*/ 20 w 127"/>
              <a:gd name="T67" fmla="*/ 32 h 128"/>
              <a:gd name="T68" fmla="*/ 20 w 127"/>
              <a:gd name="T69" fmla="*/ 8 h 128"/>
              <a:gd name="T70" fmla="*/ 20 w 127"/>
              <a:gd name="T71" fmla="*/ 32 h 128"/>
              <a:gd name="T72" fmla="*/ 8 w 127"/>
              <a:gd name="T73" fmla="*/ 84 h 128"/>
              <a:gd name="T74" fmla="*/ 32 w 127"/>
              <a:gd name="T75" fmla="*/ 84 h 128"/>
              <a:gd name="T76" fmla="*/ 51 w 127"/>
              <a:gd name="T77" fmla="*/ 56 h 128"/>
              <a:gd name="T78" fmla="*/ 51 w 127"/>
              <a:gd name="T79" fmla="*/ 48 h 128"/>
              <a:gd name="T80" fmla="*/ 51 w 127"/>
              <a:gd name="T81"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7" h="128">
                <a:moveTo>
                  <a:pt x="31" y="128"/>
                </a:moveTo>
                <a:cubicBezTo>
                  <a:pt x="25" y="122"/>
                  <a:pt x="25" y="122"/>
                  <a:pt x="25" y="122"/>
                </a:cubicBezTo>
                <a:cubicBezTo>
                  <a:pt x="31" y="117"/>
                  <a:pt x="31" y="117"/>
                  <a:pt x="31" y="117"/>
                </a:cubicBezTo>
                <a:cubicBezTo>
                  <a:pt x="37" y="122"/>
                  <a:pt x="37" y="122"/>
                  <a:pt x="37" y="122"/>
                </a:cubicBezTo>
                <a:lnTo>
                  <a:pt x="31" y="128"/>
                </a:lnTo>
                <a:close/>
                <a:moveTo>
                  <a:pt x="42" y="117"/>
                </a:moveTo>
                <a:cubicBezTo>
                  <a:pt x="37" y="111"/>
                  <a:pt x="37" y="111"/>
                  <a:pt x="37" y="111"/>
                </a:cubicBezTo>
                <a:cubicBezTo>
                  <a:pt x="42" y="105"/>
                  <a:pt x="42" y="105"/>
                  <a:pt x="42" y="105"/>
                </a:cubicBezTo>
                <a:cubicBezTo>
                  <a:pt x="48" y="111"/>
                  <a:pt x="48" y="111"/>
                  <a:pt x="48" y="111"/>
                </a:cubicBezTo>
                <a:lnTo>
                  <a:pt x="42" y="117"/>
                </a:lnTo>
                <a:close/>
                <a:moveTo>
                  <a:pt x="54" y="105"/>
                </a:moveTo>
                <a:cubicBezTo>
                  <a:pt x="48" y="100"/>
                  <a:pt x="48" y="100"/>
                  <a:pt x="48" y="100"/>
                </a:cubicBezTo>
                <a:cubicBezTo>
                  <a:pt x="54" y="94"/>
                  <a:pt x="54" y="94"/>
                  <a:pt x="54" y="94"/>
                </a:cubicBezTo>
                <a:cubicBezTo>
                  <a:pt x="59" y="100"/>
                  <a:pt x="59" y="100"/>
                  <a:pt x="59" y="100"/>
                </a:cubicBezTo>
                <a:lnTo>
                  <a:pt x="54" y="105"/>
                </a:lnTo>
                <a:close/>
                <a:moveTo>
                  <a:pt x="65" y="94"/>
                </a:moveTo>
                <a:cubicBezTo>
                  <a:pt x="59" y="88"/>
                  <a:pt x="59" y="88"/>
                  <a:pt x="59" y="88"/>
                </a:cubicBezTo>
                <a:cubicBezTo>
                  <a:pt x="65" y="83"/>
                  <a:pt x="65" y="83"/>
                  <a:pt x="65" y="83"/>
                </a:cubicBezTo>
                <a:cubicBezTo>
                  <a:pt x="71" y="88"/>
                  <a:pt x="71" y="88"/>
                  <a:pt x="71" y="88"/>
                </a:cubicBezTo>
                <a:lnTo>
                  <a:pt x="65" y="94"/>
                </a:lnTo>
                <a:close/>
                <a:moveTo>
                  <a:pt x="76" y="83"/>
                </a:moveTo>
                <a:cubicBezTo>
                  <a:pt x="71" y="77"/>
                  <a:pt x="71" y="77"/>
                  <a:pt x="71" y="77"/>
                </a:cubicBezTo>
                <a:cubicBezTo>
                  <a:pt x="76" y="71"/>
                  <a:pt x="76" y="71"/>
                  <a:pt x="76" y="71"/>
                </a:cubicBezTo>
                <a:cubicBezTo>
                  <a:pt x="82" y="77"/>
                  <a:pt x="82" y="77"/>
                  <a:pt x="82" y="77"/>
                </a:cubicBezTo>
                <a:lnTo>
                  <a:pt x="76" y="83"/>
                </a:lnTo>
                <a:close/>
                <a:moveTo>
                  <a:pt x="88" y="71"/>
                </a:moveTo>
                <a:cubicBezTo>
                  <a:pt x="82" y="66"/>
                  <a:pt x="82" y="66"/>
                  <a:pt x="82" y="66"/>
                </a:cubicBezTo>
                <a:cubicBezTo>
                  <a:pt x="88" y="60"/>
                  <a:pt x="88" y="60"/>
                  <a:pt x="88" y="60"/>
                </a:cubicBezTo>
                <a:cubicBezTo>
                  <a:pt x="93" y="66"/>
                  <a:pt x="93" y="66"/>
                  <a:pt x="93" y="66"/>
                </a:cubicBezTo>
                <a:lnTo>
                  <a:pt x="88" y="71"/>
                </a:lnTo>
                <a:close/>
                <a:moveTo>
                  <a:pt x="99" y="60"/>
                </a:moveTo>
                <a:cubicBezTo>
                  <a:pt x="93" y="55"/>
                  <a:pt x="93" y="55"/>
                  <a:pt x="93" y="55"/>
                </a:cubicBezTo>
                <a:cubicBezTo>
                  <a:pt x="99" y="49"/>
                  <a:pt x="99" y="49"/>
                  <a:pt x="99" y="49"/>
                </a:cubicBezTo>
                <a:cubicBezTo>
                  <a:pt x="105" y="55"/>
                  <a:pt x="105" y="55"/>
                  <a:pt x="105" y="55"/>
                </a:cubicBezTo>
                <a:lnTo>
                  <a:pt x="99" y="60"/>
                </a:lnTo>
                <a:close/>
                <a:moveTo>
                  <a:pt x="110" y="49"/>
                </a:moveTo>
                <a:cubicBezTo>
                  <a:pt x="105" y="43"/>
                  <a:pt x="105" y="43"/>
                  <a:pt x="105" y="43"/>
                </a:cubicBezTo>
                <a:cubicBezTo>
                  <a:pt x="110" y="38"/>
                  <a:pt x="110" y="38"/>
                  <a:pt x="110" y="38"/>
                </a:cubicBezTo>
                <a:cubicBezTo>
                  <a:pt x="116" y="43"/>
                  <a:pt x="116" y="43"/>
                  <a:pt x="116" y="43"/>
                </a:cubicBezTo>
                <a:lnTo>
                  <a:pt x="110" y="49"/>
                </a:lnTo>
                <a:close/>
                <a:moveTo>
                  <a:pt x="122" y="38"/>
                </a:moveTo>
                <a:cubicBezTo>
                  <a:pt x="116" y="32"/>
                  <a:pt x="116" y="32"/>
                  <a:pt x="116" y="32"/>
                </a:cubicBezTo>
                <a:cubicBezTo>
                  <a:pt x="122" y="26"/>
                  <a:pt x="122" y="26"/>
                  <a:pt x="122" y="26"/>
                </a:cubicBezTo>
                <a:cubicBezTo>
                  <a:pt x="127" y="32"/>
                  <a:pt x="127" y="32"/>
                  <a:pt x="127" y="32"/>
                </a:cubicBezTo>
                <a:lnTo>
                  <a:pt x="122" y="38"/>
                </a:lnTo>
                <a:close/>
                <a:moveTo>
                  <a:pt x="107" y="8"/>
                </a:moveTo>
                <a:cubicBezTo>
                  <a:pt x="84" y="8"/>
                  <a:pt x="84" y="8"/>
                  <a:pt x="84" y="8"/>
                </a:cubicBezTo>
                <a:cubicBezTo>
                  <a:pt x="57" y="35"/>
                  <a:pt x="57" y="35"/>
                  <a:pt x="57" y="35"/>
                </a:cubicBezTo>
                <a:cubicBezTo>
                  <a:pt x="68" y="46"/>
                  <a:pt x="68" y="46"/>
                  <a:pt x="68" y="46"/>
                </a:cubicBezTo>
                <a:lnTo>
                  <a:pt x="107" y="8"/>
                </a:lnTo>
                <a:close/>
                <a:moveTo>
                  <a:pt x="39" y="27"/>
                </a:moveTo>
                <a:cubicBezTo>
                  <a:pt x="39" y="25"/>
                  <a:pt x="40" y="23"/>
                  <a:pt x="40" y="20"/>
                </a:cubicBezTo>
                <a:cubicBezTo>
                  <a:pt x="40" y="9"/>
                  <a:pt x="31" y="0"/>
                  <a:pt x="20" y="0"/>
                </a:cubicBezTo>
                <a:cubicBezTo>
                  <a:pt x="9" y="0"/>
                  <a:pt x="0" y="9"/>
                  <a:pt x="0" y="20"/>
                </a:cubicBezTo>
                <a:cubicBezTo>
                  <a:pt x="0" y="31"/>
                  <a:pt x="9" y="40"/>
                  <a:pt x="20" y="40"/>
                </a:cubicBezTo>
                <a:cubicBezTo>
                  <a:pt x="23" y="40"/>
                  <a:pt x="25" y="39"/>
                  <a:pt x="27" y="39"/>
                </a:cubicBezTo>
                <a:cubicBezTo>
                  <a:pt x="40" y="52"/>
                  <a:pt x="40" y="52"/>
                  <a:pt x="40" y="52"/>
                </a:cubicBezTo>
                <a:cubicBezTo>
                  <a:pt x="26" y="65"/>
                  <a:pt x="26" y="65"/>
                  <a:pt x="26" y="65"/>
                </a:cubicBezTo>
                <a:cubicBezTo>
                  <a:pt x="24" y="64"/>
                  <a:pt x="22" y="64"/>
                  <a:pt x="20" y="64"/>
                </a:cubicBezTo>
                <a:cubicBezTo>
                  <a:pt x="9" y="64"/>
                  <a:pt x="0" y="73"/>
                  <a:pt x="0" y="84"/>
                </a:cubicBezTo>
                <a:cubicBezTo>
                  <a:pt x="0" y="95"/>
                  <a:pt x="9" y="104"/>
                  <a:pt x="20" y="104"/>
                </a:cubicBezTo>
                <a:cubicBezTo>
                  <a:pt x="31" y="104"/>
                  <a:pt x="40" y="95"/>
                  <a:pt x="40" y="84"/>
                </a:cubicBezTo>
                <a:cubicBezTo>
                  <a:pt x="40" y="81"/>
                  <a:pt x="39" y="78"/>
                  <a:pt x="38" y="76"/>
                </a:cubicBezTo>
                <a:cubicBezTo>
                  <a:pt x="51" y="63"/>
                  <a:pt x="51" y="63"/>
                  <a:pt x="51" y="63"/>
                </a:cubicBezTo>
                <a:cubicBezTo>
                  <a:pt x="57" y="69"/>
                  <a:pt x="57" y="69"/>
                  <a:pt x="57" y="69"/>
                </a:cubicBezTo>
                <a:cubicBezTo>
                  <a:pt x="68" y="58"/>
                  <a:pt x="68" y="58"/>
                  <a:pt x="68" y="58"/>
                </a:cubicBezTo>
                <a:lnTo>
                  <a:pt x="39" y="27"/>
                </a:lnTo>
                <a:close/>
                <a:moveTo>
                  <a:pt x="20" y="32"/>
                </a:moveTo>
                <a:cubicBezTo>
                  <a:pt x="13" y="32"/>
                  <a:pt x="8" y="27"/>
                  <a:pt x="8" y="20"/>
                </a:cubicBezTo>
                <a:cubicBezTo>
                  <a:pt x="8" y="13"/>
                  <a:pt x="13" y="8"/>
                  <a:pt x="20" y="8"/>
                </a:cubicBezTo>
                <a:cubicBezTo>
                  <a:pt x="27" y="8"/>
                  <a:pt x="32" y="13"/>
                  <a:pt x="32" y="20"/>
                </a:cubicBezTo>
                <a:cubicBezTo>
                  <a:pt x="32" y="27"/>
                  <a:pt x="27" y="32"/>
                  <a:pt x="20" y="32"/>
                </a:cubicBezTo>
                <a:close/>
                <a:moveTo>
                  <a:pt x="20" y="96"/>
                </a:moveTo>
                <a:cubicBezTo>
                  <a:pt x="13" y="96"/>
                  <a:pt x="8" y="91"/>
                  <a:pt x="8" y="84"/>
                </a:cubicBezTo>
                <a:cubicBezTo>
                  <a:pt x="8" y="77"/>
                  <a:pt x="13" y="72"/>
                  <a:pt x="20" y="72"/>
                </a:cubicBezTo>
                <a:cubicBezTo>
                  <a:pt x="27" y="72"/>
                  <a:pt x="32" y="77"/>
                  <a:pt x="32" y="84"/>
                </a:cubicBezTo>
                <a:cubicBezTo>
                  <a:pt x="32" y="91"/>
                  <a:pt x="27" y="96"/>
                  <a:pt x="20" y="96"/>
                </a:cubicBezTo>
                <a:close/>
                <a:moveTo>
                  <a:pt x="51" y="56"/>
                </a:moveTo>
                <a:cubicBezTo>
                  <a:pt x="48" y="56"/>
                  <a:pt x="47" y="54"/>
                  <a:pt x="47" y="52"/>
                </a:cubicBezTo>
                <a:cubicBezTo>
                  <a:pt x="47" y="50"/>
                  <a:pt x="48" y="48"/>
                  <a:pt x="51" y="48"/>
                </a:cubicBezTo>
                <a:cubicBezTo>
                  <a:pt x="53" y="48"/>
                  <a:pt x="54" y="50"/>
                  <a:pt x="54" y="52"/>
                </a:cubicBezTo>
                <a:cubicBezTo>
                  <a:pt x="54" y="54"/>
                  <a:pt x="53" y="56"/>
                  <a:pt x="51" y="5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4" name="Freeform 83">
            <a:extLst>
              <a:ext uri="{FF2B5EF4-FFF2-40B4-BE49-F238E27FC236}">
                <a16:creationId xmlns:a16="http://schemas.microsoft.com/office/drawing/2014/main" id="{3D9E12FC-E205-4702-B2C2-2BA21ACA795E}"/>
              </a:ext>
            </a:extLst>
          </p:cNvPr>
          <p:cNvSpPr>
            <a:spLocks noEditPoints="1"/>
          </p:cNvSpPr>
          <p:nvPr/>
        </p:nvSpPr>
        <p:spPr bwMode="auto">
          <a:xfrm>
            <a:off x="3812082" y="3195060"/>
            <a:ext cx="236538" cy="412750"/>
          </a:xfrm>
          <a:custGeom>
            <a:avLst/>
            <a:gdLst>
              <a:gd name="T0" fmla="*/ 64 w 72"/>
              <a:gd name="T1" fmla="*/ 104 h 128"/>
              <a:gd name="T2" fmla="*/ 72 w 72"/>
              <a:gd name="T3" fmla="*/ 100 h 128"/>
              <a:gd name="T4" fmla="*/ 72 w 72"/>
              <a:gd name="T5" fmla="*/ 112 h 128"/>
              <a:gd name="T6" fmla="*/ 36 w 72"/>
              <a:gd name="T7" fmla="*/ 128 h 128"/>
              <a:gd name="T8" fmla="*/ 0 w 72"/>
              <a:gd name="T9" fmla="*/ 112 h 128"/>
              <a:gd name="T10" fmla="*/ 0 w 72"/>
              <a:gd name="T11" fmla="*/ 100 h 128"/>
              <a:gd name="T12" fmla="*/ 8 w 72"/>
              <a:gd name="T13" fmla="*/ 104 h 128"/>
              <a:gd name="T14" fmla="*/ 9 w 72"/>
              <a:gd name="T15" fmla="*/ 104 h 128"/>
              <a:gd name="T16" fmla="*/ 14 w 72"/>
              <a:gd name="T17" fmla="*/ 105 h 128"/>
              <a:gd name="T18" fmla="*/ 36 w 72"/>
              <a:gd name="T19" fmla="*/ 108 h 128"/>
              <a:gd name="T20" fmla="*/ 58 w 72"/>
              <a:gd name="T21" fmla="*/ 105 h 128"/>
              <a:gd name="T22" fmla="*/ 63 w 72"/>
              <a:gd name="T23" fmla="*/ 104 h 128"/>
              <a:gd name="T24" fmla="*/ 64 w 72"/>
              <a:gd name="T25" fmla="*/ 104 h 128"/>
              <a:gd name="T26" fmla="*/ 36 w 72"/>
              <a:gd name="T27" fmla="*/ 52 h 128"/>
              <a:gd name="T28" fmla="*/ 8 w 72"/>
              <a:gd name="T29" fmla="*/ 48 h 128"/>
              <a:gd name="T30" fmla="*/ 0 w 72"/>
              <a:gd name="T31" fmla="*/ 44 h 128"/>
              <a:gd name="T32" fmla="*/ 0 w 72"/>
              <a:gd name="T33" fmla="*/ 60 h 128"/>
              <a:gd name="T34" fmla="*/ 8 w 72"/>
              <a:gd name="T35" fmla="*/ 67 h 128"/>
              <a:gd name="T36" fmla="*/ 36 w 72"/>
              <a:gd name="T37" fmla="*/ 72 h 128"/>
              <a:gd name="T38" fmla="*/ 64 w 72"/>
              <a:gd name="T39" fmla="*/ 67 h 128"/>
              <a:gd name="T40" fmla="*/ 72 w 72"/>
              <a:gd name="T41" fmla="*/ 60 h 128"/>
              <a:gd name="T42" fmla="*/ 72 w 72"/>
              <a:gd name="T43" fmla="*/ 44 h 128"/>
              <a:gd name="T44" fmla="*/ 64 w 72"/>
              <a:gd name="T45" fmla="*/ 48 h 128"/>
              <a:gd name="T46" fmla="*/ 36 w 72"/>
              <a:gd name="T47" fmla="*/ 52 h 128"/>
              <a:gd name="T48" fmla="*/ 36 w 72"/>
              <a:gd name="T49" fmla="*/ 80 h 128"/>
              <a:gd name="T50" fmla="*/ 8 w 72"/>
              <a:gd name="T51" fmla="*/ 76 h 128"/>
              <a:gd name="T52" fmla="*/ 0 w 72"/>
              <a:gd name="T53" fmla="*/ 72 h 128"/>
              <a:gd name="T54" fmla="*/ 0 w 72"/>
              <a:gd name="T55" fmla="*/ 88 h 128"/>
              <a:gd name="T56" fmla="*/ 8 w 72"/>
              <a:gd name="T57" fmla="*/ 95 h 128"/>
              <a:gd name="T58" fmla="*/ 36 w 72"/>
              <a:gd name="T59" fmla="*/ 100 h 128"/>
              <a:gd name="T60" fmla="*/ 64 w 72"/>
              <a:gd name="T61" fmla="*/ 95 h 128"/>
              <a:gd name="T62" fmla="*/ 72 w 72"/>
              <a:gd name="T63" fmla="*/ 88 h 128"/>
              <a:gd name="T64" fmla="*/ 72 w 72"/>
              <a:gd name="T65" fmla="*/ 72 h 128"/>
              <a:gd name="T66" fmla="*/ 64 w 72"/>
              <a:gd name="T67" fmla="*/ 76 h 128"/>
              <a:gd name="T68" fmla="*/ 36 w 72"/>
              <a:gd name="T69" fmla="*/ 80 h 128"/>
              <a:gd name="T70" fmla="*/ 36 w 72"/>
              <a:gd name="T71" fmla="*/ 0 h 128"/>
              <a:gd name="T72" fmla="*/ 0 w 72"/>
              <a:gd name="T73" fmla="*/ 16 h 128"/>
              <a:gd name="T74" fmla="*/ 0 w 72"/>
              <a:gd name="T75" fmla="*/ 32 h 128"/>
              <a:gd name="T76" fmla="*/ 8 w 72"/>
              <a:gd name="T77" fmla="*/ 39 h 128"/>
              <a:gd name="T78" fmla="*/ 36 w 72"/>
              <a:gd name="T79" fmla="*/ 44 h 128"/>
              <a:gd name="T80" fmla="*/ 64 w 72"/>
              <a:gd name="T81" fmla="*/ 39 h 128"/>
              <a:gd name="T82" fmla="*/ 72 w 72"/>
              <a:gd name="T83" fmla="*/ 32 h 128"/>
              <a:gd name="T84" fmla="*/ 72 w 72"/>
              <a:gd name="T85" fmla="*/ 16 h 128"/>
              <a:gd name="T86" fmla="*/ 36 w 72"/>
              <a:gd name="T8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 h="128">
                <a:moveTo>
                  <a:pt x="64" y="104"/>
                </a:moveTo>
                <a:cubicBezTo>
                  <a:pt x="67" y="103"/>
                  <a:pt x="70" y="101"/>
                  <a:pt x="72" y="100"/>
                </a:cubicBezTo>
                <a:cubicBezTo>
                  <a:pt x="72" y="112"/>
                  <a:pt x="72" y="112"/>
                  <a:pt x="72" y="112"/>
                </a:cubicBezTo>
                <a:cubicBezTo>
                  <a:pt x="72" y="123"/>
                  <a:pt x="54" y="128"/>
                  <a:pt x="36" y="128"/>
                </a:cubicBezTo>
                <a:cubicBezTo>
                  <a:pt x="18" y="128"/>
                  <a:pt x="0" y="123"/>
                  <a:pt x="0" y="112"/>
                </a:cubicBezTo>
                <a:cubicBezTo>
                  <a:pt x="0" y="100"/>
                  <a:pt x="0" y="100"/>
                  <a:pt x="0" y="100"/>
                </a:cubicBezTo>
                <a:cubicBezTo>
                  <a:pt x="2" y="101"/>
                  <a:pt x="5" y="103"/>
                  <a:pt x="8" y="104"/>
                </a:cubicBezTo>
                <a:cubicBezTo>
                  <a:pt x="8" y="104"/>
                  <a:pt x="9" y="104"/>
                  <a:pt x="9" y="104"/>
                </a:cubicBezTo>
                <a:cubicBezTo>
                  <a:pt x="11" y="105"/>
                  <a:pt x="12" y="105"/>
                  <a:pt x="14" y="105"/>
                </a:cubicBezTo>
                <a:cubicBezTo>
                  <a:pt x="21" y="107"/>
                  <a:pt x="28" y="108"/>
                  <a:pt x="36" y="108"/>
                </a:cubicBezTo>
                <a:cubicBezTo>
                  <a:pt x="44" y="108"/>
                  <a:pt x="51" y="107"/>
                  <a:pt x="58" y="105"/>
                </a:cubicBezTo>
                <a:cubicBezTo>
                  <a:pt x="60" y="105"/>
                  <a:pt x="61" y="105"/>
                  <a:pt x="63" y="104"/>
                </a:cubicBezTo>
                <a:cubicBezTo>
                  <a:pt x="63" y="104"/>
                  <a:pt x="64" y="104"/>
                  <a:pt x="64" y="104"/>
                </a:cubicBezTo>
                <a:close/>
                <a:moveTo>
                  <a:pt x="36" y="52"/>
                </a:moveTo>
                <a:cubicBezTo>
                  <a:pt x="26" y="52"/>
                  <a:pt x="16" y="50"/>
                  <a:pt x="8" y="48"/>
                </a:cubicBezTo>
                <a:cubicBezTo>
                  <a:pt x="5" y="47"/>
                  <a:pt x="2" y="45"/>
                  <a:pt x="0" y="44"/>
                </a:cubicBezTo>
                <a:cubicBezTo>
                  <a:pt x="0" y="60"/>
                  <a:pt x="0" y="60"/>
                  <a:pt x="0" y="60"/>
                </a:cubicBezTo>
                <a:cubicBezTo>
                  <a:pt x="0" y="62"/>
                  <a:pt x="3" y="65"/>
                  <a:pt x="8" y="67"/>
                </a:cubicBezTo>
                <a:cubicBezTo>
                  <a:pt x="14" y="70"/>
                  <a:pt x="24" y="72"/>
                  <a:pt x="36" y="72"/>
                </a:cubicBezTo>
                <a:cubicBezTo>
                  <a:pt x="48" y="72"/>
                  <a:pt x="58" y="70"/>
                  <a:pt x="64" y="67"/>
                </a:cubicBezTo>
                <a:cubicBezTo>
                  <a:pt x="69" y="65"/>
                  <a:pt x="72" y="62"/>
                  <a:pt x="72" y="60"/>
                </a:cubicBezTo>
                <a:cubicBezTo>
                  <a:pt x="72" y="44"/>
                  <a:pt x="72" y="44"/>
                  <a:pt x="72" y="44"/>
                </a:cubicBezTo>
                <a:cubicBezTo>
                  <a:pt x="70" y="45"/>
                  <a:pt x="67" y="47"/>
                  <a:pt x="64" y="48"/>
                </a:cubicBezTo>
                <a:cubicBezTo>
                  <a:pt x="56" y="50"/>
                  <a:pt x="46" y="52"/>
                  <a:pt x="36" y="52"/>
                </a:cubicBezTo>
                <a:close/>
                <a:moveTo>
                  <a:pt x="36" y="80"/>
                </a:moveTo>
                <a:cubicBezTo>
                  <a:pt x="26" y="80"/>
                  <a:pt x="16" y="78"/>
                  <a:pt x="8" y="76"/>
                </a:cubicBezTo>
                <a:cubicBezTo>
                  <a:pt x="5" y="75"/>
                  <a:pt x="2" y="73"/>
                  <a:pt x="0" y="72"/>
                </a:cubicBezTo>
                <a:cubicBezTo>
                  <a:pt x="0" y="88"/>
                  <a:pt x="0" y="88"/>
                  <a:pt x="0" y="88"/>
                </a:cubicBezTo>
                <a:cubicBezTo>
                  <a:pt x="0" y="90"/>
                  <a:pt x="3" y="93"/>
                  <a:pt x="8" y="95"/>
                </a:cubicBezTo>
                <a:cubicBezTo>
                  <a:pt x="14" y="98"/>
                  <a:pt x="24" y="100"/>
                  <a:pt x="36" y="100"/>
                </a:cubicBezTo>
                <a:cubicBezTo>
                  <a:pt x="48" y="100"/>
                  <a:pt x="58" y="98"/>
                  <a:pt x="64" y="95"/>
                </a:cubicBezTo>
                <a:cubicBezTo>
                  <a:pt x="69" y="93"/>
                  <a:pt x="72" y="90"/>
                  <a:pt x="72" y="88"/>
                </a:cubicBezTo>
                <a:cubicBezTo>
                  <a:pt x="72" y="72"/>
                  <a:pt x="72" y="72"/>
                  <a:pt x="72" y="72"/>
                </a:cubicBezTo>
                <a:cubicBezTo>
                  <a:pt x="70" y="73"/>
                  <a:pt x="67" y="75"/>
                  <a:pt x="64" y="76"/>
                </a:cubicBezTo>
                <a:cubicBezTo>
                  <a:pt x="56" y="78"/>
                  <a:pt x="46" y="80"/>
                  <a:pt x="36" y="80"/>
                </a:cubicBezTo>
                <a:close/>
                <a:moveTo>
                  <a:pt x="36" y="0"/>
                </a:moveTo>
                <a:cubicBezTo>
                  <a:pt x="18" y="0"/>
                  <a:pt x="0" y="5"/>
                  <a:pt x="0" y="16"/>
                </a:cubicBezTo>
                <a:cubicBezTo>
                  <a:pt x="0" y="32"/>
                  <a:pt x="0" y="32"/>
                  <a:pt x="0" y="32"/>
                </a:cubicBezTo>
                <a:cubicBezTo>
                  <a:pt x="0" y="34"/>
                  <a:pt x="3" y="37"/>
                  <a:pt x="8" y="39"/>
                </a:cubicBezTo>
                <a:cubicBezTo>
                  <a:pt x="14" y="42"/>
                  <a:pt x="24" y="44"/>
                  <a:pt x="36" y="44"/>
                </a:cubicBezTo>
                <a:cubicBezTo>
                  <a:pt x="48" y="44"/>
                  <a:pt x="58" y="42"/>
                  <a:pt x="64" y="39"/>
                </a:cubicBezTo>
                <a:cubicBezTo>
                  <a:pt x="69" y="37"/>
                  <a:pt x="72" y="34"/>
                  <a:pt x="72" y="32"/>
                </a:cubicBezTo>
                <a:cubicBezTo>
                  <a:pt x="72" y="16"/>
                  <a:pt x="72" y="16"/>
                  <a:pt x="72" y="16"/>
                </a:cubicBezTo>
                <a:cubicBezTo>
                  <a:pt x="72" y="5"/>
                  <a:pt x="54" y="0"/>
                  <a:pt x="36"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5" name="Freeform: Shape 234">
            <a:extLst>
              <a:ext uri="{FF2B5EF4-FFF2-40B4-BE49-F238E27FC236}">
                <a16:creationId xmlns:a16="http://schemas.microsoft.com/office/drawing/2014/main" id="{9815F186-47DB-4CBE-869D-C3CDA2A4961F}"/>
              </a:ext>
            </a:extLst>
          </p:cNvPr>
          <p:cNvSpPr/>
          <p:nvPr/>
        </p:nvSpPr>
        <p:spPr>
          <a:xfrm>
            <a:off x="2732519" y="2514134"/>
            <a:ext cx="304800" cy="304800"/>
          </a:xfrm>
          <a:custGeom>
            <a:avLst/>
            <a:gdLst>
              <a:gd name="connsiteX0" fmla="*/ 295275 w 304800"/>
              <a:gd name="connsiteY0" fmla="*/ 161925 h 304800"/>
              <a:gd name="connsiteX1" fmla="*/ 247650 w 304800"/>
              <a:gd name="connsiteY1" fmla="*/ 161925 h 304800"/>
              <a:gd name="connsiteX2" fmla="*/ 238125 w 304800"/>
              <a:gd name="connsiteY2" fmla="*/ 171450 h 304800"/>
              <a:gd name="connsiteX3" fmla="*/ 238125 w 304800"/>
              <a:gd name="connsiteY3" fmla="*/ 180975 h 304800"/>
              <a:gd name="connsiteX4" fmla="*/ 123825 w 304800"/>
              <a:gd name="connsiteY4" fmla="*/ 180975 h 304800"/>
              <a:gd name="connsiteX5" fmla="*/ 123825 w 304800"/>
              <a:gd name="connsiteY5" fmla="*/ 66675 h 304800"/>
              <a:gd name="connsiteX6" fmla="*/ 133350 w 304800"/>
              <a:gd name="connsiteY6" fmla="*/ 66675 h 304800"/>
              <a:gd name="connsiteX7" fmla="*/ 142875 w 304800"/>
              <a:gd name="connsiteY7" fmla="*/ 57150 h 304800"/>
              <a:gd name="connsiteX8" fmla="*/ 142875 w 304800"/>
              <a:gd name="connsiteY8" fmla="*/ 9525 h 304800"/>
              <a:gd name="connsiteX9" fmla="*/ 133350 w 304800"/>
              <a:gd name="connsiteY9" fmla="*/ 0 h 304800"/>
              <a:gd name="connsiteX10" fmla="*/ 9525 w 304800"/>
              <a:gd name="connsiteY10" fmla="*/ 0 h 304800"/>
              <a:gd name="connsiteX11" fmla="*/ 0 w 304800"/>
              <a:gd name="connsiteY11" fmla="*/ 9525 h 304800"/>
              <a:gd name="connsiteX12" fmla="*/ 0 w 304800"/>
              <a:gd name="connsiteY12" fmla="*/ 57150 h 304800"/>
              <a:gd name="connsiteX13" fmla="*/ 9525 w 304800"/>
              <a:gd name="connsiteY13" fmla="*/ 66675 h 304800"/>
              <a:gd name="connsiteX14" fmla="*/ 19050 w 304800"/>
              <a:gd name="connsiteY14" fmla="*/ 66675 h 304800"/>
              <a:gd name="connsiteX15" fmla="*/ 19050 w 304800"/>
              <a:gd name="connsiteY15" fmla="*/ 209550 h 304800"/>
              <a:gd name="connsiteX16" fmla="*/ 95250 w 304800"/>
              <a:gd name="connsiteY16" fmla="*/ 285750 h 304800"/>
              <a:gd name="connsiteX17" fmla="*/ 238125 w 304800"/>
              <a:gd name="connsiteY17" fmla="*/ 285750 h 304800"/>
              <a:gd name="connsiteX18" fmla="*/ 238125 w 304800"/>
              <a:gd name="connsiteY18" fmla="*/ 295275 h 304800"/>
              <a:gd name="connsiteX19" fmla="*/ 247650 w 304800"/>
              <a:gd name="connsiteY19" fmla="*/ 304800 h 304800"/>
              <a:gd name="connsiteX20" fmla="*/ 295275 w 304800"/>
              <a:gd name="connsiteY20" fmla="*/ 304800 h 304800"/>
              <a:gd name="connsiteX21" fmla="*/ 304800 w 304800"/>
              <a:gd name="connsiteY21" fmla="*/ 295275 h 304800"/>
              <a:gd name="connsiteX22" fmla="*/ 304800 w 304800"/>
              <a:gd name="connsiteY22" fmla="*/ 171450 h 304800"/>
              <a:gd name="connsiteX23" fmla="*/ 295275 w 304800"/>
              <a:gd name="connsiteY23" fmla="*/ 161925 h 304800"/>
              <a:gd name="connsiteX24" fmla="*/ 19050 w 304800"/>
              <a:gd name="connsiteY24" fmla="*/ 19050 h 304800"/>
              <a:gd name="connsiteX25" fmla="*/ 123825 w 304800"/>
              <a:gd name="connsiteY25" fmla="*/ 19050 h 304800"/>
              <a:gd name="connsiteX26" fmla="*/ 123825 w 304800"/>
              <a:gd name="connsiteY26" fmla="*/ 47625 h 304800"/>
              <a:gd name="connsiteX27" fmla="*/ 19050 w 304800"/>
              <a:gd name="connsiteY27" fmla="*/ 47625 h 304800"/>
              <a:gd name="connsiteX28" fmla="*/ 19050 w 304800"/>
              <a:gd name="connsiteY28" fmla="*/ 19050 h 304800"/>
              <a:gd name="connsiteX29" fmla="*/ 95250 w 304800"/>
              <a:gd name="connsiteY29" fmla="*/ 266700 h 304800"/>
              <a:gd name="connsiteX30" fmla="*/ 38100 w 304800"/>
              <a:gd name="connsiteY30" fmla="*/ 209550 h 304800"/>
              <a:gd name="connsiteX31" fmla="*/ 38100 w 304800"/>
              <a:gd name="connsiteY31" fmla="*/ 66675 h 304800"/>
              <a:gd name="connsiteX32" fmla="*/ 104775 w 304800"/>
              <a:gd name="connsiteY32" fmla="*/ 66675 h 304800"/>
              <a:gd name="connsiteX33" fmla="*/ 104775 w 304800"/>
              <a:gd name="connsiteY33" fmla="*/ 190500 h 304800"/>
              <a:gd name="connsiteX34" fmla="*/ 114300 w 304800"/>
              <a:gd name="connsiteY34" fmla="*/ 200025 h 304800"/>
              <a:gd name="connsiteX35" fmla="*/ 238125 w 304800"/>
              <a:gd name="connsiteY35" fmla="*/ 200025 h 304800"/>
              <a:gd name="connsiteX36" fmla="*/ 238125 w 304800"/>
              <a:gd name="connsiteY36" fmla="*/ 266700 h 304800"/>
              <a:gd name="connsiteX37" fmla="*/ 95250 w 304800"/>
              <a:gd name="connsiteY37" fmla="*/ 266700 h 304800"/>
              <a:gd name="connsiteX38" fmla="*/ 285750 w 304800"/>
              <a:gd name="connsiteY38" fmla="*/ 285750 h 304800"/>
              <a:gd name="connsiteX39" fmla="*/ 257175 w 304800"/>
              <a:gd name="connsiteY39" fmla="*/ 285750 h 304800"/>
              <a:gd name="connsiteX40" fmla="*/ 257175 w 304800"/>
              <a:gd name="connsiteY40" fmla="*/ 180975 h 304800"/>
              <a:gd name="connsiteX41" fmla="*/ 285750 w 304800"/>
              <a:gd name="connsiteY41" fmla="*/ 180975 h 304800"/>
              <a:gd name="connsiteX42" fmla="*/ 285750 w 304800"/>
              <a:gd name="connsiteY42" fmla="*/ 285750 h 304800"/>
              <a:gd name="connsiteX43" fmla="*/ 228600 w 304800"/>
              <a:gd name="connsiteY43" fmla="*/ 209550 h 304800"/>
              <a:gd name="connsiteX44" fmla="*/ 228600 w 304800"/>
              <a:gd name="connsiteY44" fmla="*/ 257175 h 304800"/>
              <a:gd name="connsiteX45" fmla="*/ 95250 w 304800"/>
              <a:gd name="connsiteY45" fmla="*/ 257175 h 304800"/>
              <a:gd name="connsiteX46" fmla="*/ 47625 w 304800"/>
              <a:gd name="connsiteY46" fmla="*/ 209550 h 304800"/>
              <a:gd name="connsiteX47" fmla="*/ 47625 w 304800"/>
              <a:gd name="connsiteY47" fmla="*/ 76200 h 304800"/>
              <a:gd name="connsiteX48" fmla="*/ 95250 w 304800"/>
              <a:gd name="connsiteY48" fmla="*/ 76200 h 304800"/>
              <a:gd name="connsiteX49" fmla="*/ 95250 w 304800"/>
              <a:gd name="connsiteY49" fmla="*/ 190500 h 304800"/>
              <a:gd name="connsiteX50" fmla="*/ 114300 w 304800"/>
              <a:gd name="connsiteY50" fmla="*/ 209550 h 304800"/>
              <a:gd name="connsiteX51" fmla="*/ 228600 w 304800"/>
              <a:gd name="connsiteY51" fmla="*/ 20955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04800" h="304800">
                <a:moveTo>
                  <a:pt x="295275" y="161925"/>
                </a:moveTo>
                <a:lnTo>
                  <a:pt x="247650" y="161925"/>
                </a:lnTo>
                <a:cubicBezTo>
                  <a:pt x="241935" y="161925"/>
                  <a:pt x="238125" y="165735"/>
                  <a:pt x="238125" y="171450"/>
                </a:cubicBezTo>
                <a:lnTo>
                  <a:pt x="238125" y="180975"/>
                </a:lnTo>
                <a:lnTo>
                  <a:pt x="123825" y="180975"/>
                </a:lnTo>
                <a:lnTo>
                  <a:pt x="123825" y="66675"/>
                </a:lnTo>
                <a:lnTo>
                  <a:pt x="133350" y="66675"/>
                </a:lnTo>
                <a:cubicBezTo>
                  <a:pt x="139065" y="66675"/>
                  <a:pt x="142875" y="62865"/>
                  <a:pt x="142875" y="57150"/>
                </a:cubicBezTo>
                <a:lnTo>
                  <a:pt x="142875" y="9525"/>
                </a:lnTo>
                <a:cubicBezTo>
                  <a:pt x="142875" y="3810"/>
                  <a:pt x="139065" y="0"/>
                  <a:pt x="133350" y="0"/>
                </a:cubicBezTo>
                <a:lnTo>
                  <a:pt x="9525" y="0"/>
                </a:lnTo>
                <a:cubicBezTo>
                  <a:pt x="3810" y="0"/>
                  <a:pt x="0" y="3810"/>
                  <a:pt x="0" y="9525"/>
                </a:cubicBezTo>
                <a:lnTo>
                  <a:pt x="0" y="57150"/>
                </a:lnTo>
                <a:cubicBezTo>
                  <a:pt x="0" y="62865"/>
                  <a:pt x="3810" y="66675"/>
                  <a:pt x="9525" y="66675"/>
                </a:cubicBezTo>
                <a:lnTo>
                  <a:pt x="19050" y="66675"/>
                </a:lnTo>
                <a:lnTo>
                  <a:pt x="19050" y="209550"/>
                </a:lnTo>
                <a:cubicBezTo>
                  <a:pt x="19050" y="251460"/>
                  <a:pt x="53340" y="285750"/>
                  <a:pt x="95250" y="285750"/>
                </a:cubicBezTo>
                <a:lnTo>
                  <a:pt x="238125" y="285750"/>
                </a:lnTo>
                <a:lnTo>
                  <a:pt x="238125" y="295275"/>
                </a:lnTo>
                <a:cubicBezTo>
                  <a:pt x="238125" y="300990"/>
                  <a:pt x="241935" y="304800"/>
                  <a:pt x="247650" y="304800"/>
                </a:cubicBezTo>
                <a:lnTo>
                  <a:pt x="295275" y="304800"/>
                </a:lnTo>
                <a:cubicBezTo>
                  <a:pt x="300990" y="304800"/>
                  <a:pt x="304800" y="300990"/>
                  <a:pt x="304800" y="295275"/>
                </a:cubicBezTo>
                <a:lnTo>
                  <a:pt x="304800" y="171450"/>
                </a:lnTo>
                <a:cubicBezTo>
                  <a:pt x="304800" y="165735"/>
                  <a:pt x="300990" y="161925"/>
                  <a:pt x="295275" y="161925"/>
                </a:cubicBezTo>
                <a:close/>
                <a:moveTo>
                  <a:pt x="19050" y="19050"/>
                </a:moveTo>
                <a:lnTo>
                  <a:pt x="123825" y="19050"/>
                </a:lnTo>
                <a:lnTo>
                  <a:pt x="123825" y="47625"/>
                </a:lnTo>
                <a:lnTo>
                  <a:pt x="19050" y="47625"/>
                </a:lnTo>
                <a:lnTo>
                  <a:pt x="19050" y="19050"/>
                </a:lnTo>
                <a:close/>
                <a:moveTo>
                  <a:pt x="95250" y="266700"/>
                </a:moveTo>
                <a:cubicBezTo>
                  <a:pt x="63818" y="266700"/>
                  <a:pt x="38100" y="240983"/>
                  <a:pt x="38100" y="209550"/>
                </a:cubicBezTo>
                <a:lnTo>
                  <a:pt x="38100" y="66675"/>
                </a:lnTo>
                <a:lnTo>
                  <a:pt x="104775" y="66675"/>
                </a:lnTo>
                <a:lnTo>
                  <a:pt x="104775" y="190500"/>
                </a:lnTo>
                <a:cubicBezTo>
                  <a:pt x="104775" y="195263"/>
                  <a:pt x="108585" y="200025"/>
                  <a:pt x="114300" y="200025"/>
                </a:cubicBezTo>
                <a:lnTo>
                  <a:pt x="238125" y="200025"/>
                </a:lnTo>
                <a:lnTo>
                  <a:pt x="238125" y="266700"/>
                </a:lnTo>
                <a:lnTo>
                  <a:pt x="95250" y="266700"/>
                </a:lnTo>
                <a:close/>
                <a:moveTo>
                  <a:pt x="285750" y="285750"/>
                </a:moveTo>
                <a:lnTo>
                  <a:pt x="257175" y="285750"/>
                </a:lnTo>
                <a:lnTo>
                  <a:pt x="257175" y="180975"/>
                </a:lnTo>
                <a:lnTo>
                  <a:pt x="285750" y="180975"/>
                </a:lnTo>
                <a:lnTo>
                  <a:pt x="285750" y="285750"/>
                </a:lnTo>
                <a:close/>
                <a:moveTo>
                  <a:pt x="228600" y="209550"/>
                </a:moveTo>
                <a:lnTo>
                  <a:pt x="228600" y="257175"/>
                </a:lnTo>
                <a:lnTo>
                  <a:pt x="95250" y="257175"/>
                </a:lnTo>
                <a:cubicBezTo>
                  <a:pt x="68580" y="257175"/>
                  <a:pt x="47625" y="236220"/>
                  <a:pt x="47625" y="209550"/>
                </a:cubicBezTo>
                <a:lnTo>
                  <a:pt x="47625" y="76200"/>
                </a:lnTo>
                <a:lnTo>
                  <a:pt x="95250" y="76200"/>
                </a:lnTo>
                <a:lnTo>
                  <a:pt x="95250" y="190500"/>
                </a:lnTo>
                <a:cubicBezTo>
                  <a:pt x="95250" y="200978"/>
                  <a:pt x="103823" y="209550"/>
                  <a:pt x="114300" y="209550"/>
                </a:cubicBezTo>
                <a:lnTo>
                  <a:pt x="228600" y="209550"/>
                </a:lnTo>
                <a:close/>
              </a:path>
            </a:pathLst>
          </a:custGeom>
          <a:solidFill>
            <a:schemeClr val="tx2"/>
          </a:solidFill>
          <a:ln w="9525" cap="flat">
            <a:noFill/>
            <a:prstDash val="solid"/>
            <a:miter/>
          </a:ln>
        </p:spPr>
        <p:txBody>
          <a:bodyPr rtlCol="0" anchor="ctr"/>
          <a:lstStyle/>
          <a:p>
            <a:endParaRPr lang="en-GB"/>
          </a:p>
        </p:txBody>
      </p:sp>
      <p:sp>
        <p:nvSpPr>
          <p:cNvPr id="244" name="Freeform 87">
            <a:extLst>
              <a:ext uri="{FF2B5EF4-FFF2-40B4-BE49-F238E27FC236}">
                <a16:creationId xmlns:a16="http://schemas.microsoft.com/office/drawing/2014/main" id="{E2E3DB65-578C-4FD1-A848-DA6EEB002504}"/>
              </a:ext>
            </a:extLst>
          </p:cNvPr>
          <p:cNvSpPr>
            <a:spLocks noEditPoints="1"/>
          </p:cNvSpPr>
          <p:nvPr/>
        </p:nvSpPr>
        <p:spPr bwMode="auto">
          <a:xfrm>
            <a:off x="663081" y="4051809"/>
            <a:ext cx="261938" cy="412750"/>
          </a:xfrm>
          <a:custGeom>
            <a:avLst/>
            <a:gdLst>
              <a:gd name="T0" fmla="*/ 58 w 165"/>
              <a:gd name="T1" fmla="*/ 89 h 260"/>
              <a:gd name="T2" fmla="*/ 58 w 165"/>
              <a:gd name="T3" fmla="*/ 219 h 260"/>
              <a:gd name="T4" fmla="*/ 41 w 165"/>
              <a:gd name="T5" fmla="*/ 219 h 260"/>
              <a:gd name="T6" fmla="*/ 41 w 165"/>
              <a:gd name="T7" fmla="*/ 89 h 260"/>
              <a:gd name="T8" fmla="*/ 58 w 165"/>
              <a:gd name="T9" fmla="*/ 89 h 260"/>
              <a:gd name="T10" fmla="*/ 74 w 165"/>
              <a:gd name="T11" fmla="*/ 89 h 260"/>
              <a:gd name="T12" fmla="*/ 74 w 165"/>
              <a:gd name="T13" fmla="*/ 219 h 260"/>
              <a:gd name="T14" fmla="*/ 91 w 165"/>
              <a:gd name="T15" fmla="*/ 219 h 260"/>
              <a:gd name="T16" fmla="*/ 91 w 165"/>
              <a:gd name="T17" fmla="*/ 89 h 260"/>
              <a:gd name="T18" fmla="*/ 74 w 165"/>
              <a:gd name="T19" fmla="*/ 89 h 260"/>
              <a:gd name="T20" fmla="*/ 107 w 165"/>
              <a:gd name="T21" fmla="*/ 89 h 260"/>
              <a:gd name="T22" fmla="*/ 107 w 165"/>
              <a:gd name="T23" fmla="*/ 219 h 260"/>
              <a:gd name="T24" fmla="*/ 124 w 165"/>
              <a:gd name="T25" fmla="*/ 219 h 260"/>
              <a:gd name="T26" fmla="*/ 124 w 165"/>
              <a:gd name="T27" fmla="*/ 89 h 260"/>
              <a:gd name="T28" fmla="*/ 107 w 165"/>
              <a:gd name="T29" fmla="*/ 89 h 260"/>
              <a:gd name="T30" fmla="*/ 165 w 165"/>
              <a:gd name="T31" fmla="*/ 32 h 260"/>
              <a:gd name="T32" fmla="*/ 165 w 165"/>
              <a:gd name="T33" fmla="*/ 16 h 260"/>
              <a:gd name="T34" fmla="*/ 132 w 165"/>
              <a:gd name="T35" fmla="*/ 16 h 260"/>
              <a:gd name="T36" fmla="*/ 132 w 165"/>
              <a:gd name="T37" fmla="*/ 0 h 260"/>
              <a:gd name="T38" fmla="*/ 33 w 165"/>
              <a:gd name="T39" fmla="*/ 0 h 260"/>
              <a:gd name="T40" fmla="*/ 33 w 165"/>
              <a:gd name="T41" fmla="*/ 16 h 260"/>
              <a:gd name="T42" fmla="*/ 0 w 165"/>
              <a:gd name="T43" fmla="*/ 16 h 260"/>
              <a:gd name="T44" fmla="*/ 0 w 165"/>
              <a:gd name="T45" fmla="*/ 32 h 260"/>
              <a:gd name="T46" fmla="*/ 165 w 165"/>
              <a:gd name="T47" fmla="*/ 32 h 260"/>
              <a:gd name="T48" fmla="*/ 165 w 165"/>
              <a:gd name="T49" fmla="*/ 49 h 260"/>
              <a:gd name="T50" fmla="*/ 165 w 165"/>
              <a:gd name="T51" fmla="*/ 260 h 260"/>
              <a:gd name="T52" fmla="*/ 0 w 165"/>
              <a:gd name="T53" fmla="*/ 260 h 260"/>
              <a:gd name="T54" fmla="*/ 0 w 165"/>
              <a:gd name="T55" fmla="*/ 49 h 260"/>
              <a:gd name="T56" fmla="*/ 165 w 165"/>
              <a:gd name="T57" fmla="*/ 49 h 260"/>
              <a:gd name="T58" fmla="*/ 148 w 165"/>
              <a:gd name="T59" fmla="*/ 244 h 260"/>
              <a:gd name="T60" fmla="*/ 148 w 165"/>
              <a:gd name="T61" fmla="*/ 65 h 260"/>
              <a:gd name="T62" fmla="*/ 17 w 165"/>
              <a:gd name="T63" fmla="*/ 65 h 260"/>
              <a:gd name="T64" fmla="*/ 17 w 165"/>
              <a:gd name="T65" fmla="*/ 244 h 260"/>
              <a:gd name="T66" fmla="*/ 148 w 165"/>
              <a:gd name="T67" fmla="*/ 24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5" h="260">
                <a:moveTo>
                  <a:pt x="58" y="89"/>
                </a:moveTo>
                <a:lnTo>
                  <a:pt x="58" y="219"/>
                </a:lnTo>
                <a:lnTo>
                  <a:pt x="41" y="219"/>
                </a:lnTo>
                <a:lnTo>
                  <a:pt x="41" y="89"/>
                </a:lnTo>
                <a:lnTo>
                  <a:pt x="58" y="89"/>
                </a:lnTo>
                <a:close/>
                <a:moveTo>
                  <a:pt x="74" y="89"/>
                </a:moveTo>
                <a:lnTo>
                  <a:pt x="74" y="219"/>
                </a:lnTo>
                <a:lnTo>
                  <a:pt x="91" y="219"/>
                </a:lnTo>
                <a:lnTo>
                  <a:pt x="91" y="89"/>
                </a:lnTo>
                <a:lnTo>
                  <a:pt x="74" y="89"/>
                </a:lnTo>
                <a:close/>
                <a:moveTo>
                  <a:pt x="107" y="89"/>
                </a:moveTo>
                <a:lnTo>
                  <a:pt x="107" y="219"/>
                </a:lnTo>
                <a:lnTo>
                  <a:pt x="124" y="219"/>
                </a:lnTo>
                <a:lnTo>
                  <a:pt x="124" y="89"/>
                </a:lnTo>
                <a:lnTo>
                  <a:pt x="107" y="89"/>
                </a:lnTo>
                <a:close/>
                <a:moveTo>
                  <a:pt x="165" y="32"/>
                </a:moveTo>
                <a:lnTo>
                  <a:pt x="165" y="16"/>
                </a:lnTo>
                <a:lnTo>
                  <a:pt x="132" y="16"/>
                </a:lnTo>
                <a:lnTo>
                  <a:pt x="132" y="0"/>
                </a:lnTo>
                <a:lnTo>
                  <a:pt x="33" y="0"/>
                </a:lnTo>
                <a:lnTo>
                  <a:pt x="33" y="16"/>
                </a:lnTo>
                <a:lnTo>
                  <a:pt x="0" y="16"/>
                </a:lnTo>
                <a:lnTo>
                  <a:pt x="0" y="32"/>
                </a:lnTo>
                <a:lnTo>
                  <a:pt x="165" y="32"/>
                </a:lnTo>
                <a:close/>
                <a:moveTo>
                  <a:pt x="165" y="49"/>
                </a:moveTo>
                <a:lnTo>
                  <a:pt x="165" y="260"/>
                </a:lnTo>
                <a:lnTo>
                  <a:pt x="0" y="260"/>
                </a:lnTo>
                <a:lnTo>
                  <a:pt x="0" y="49"/>
                </a:lnTo>
                <a:lnTo>
                  <a:pt x="165" y="49"/>
                </a:lnTo>
                <a:close/>
                <a:moveTo>
                  <a:pt x="148" y="244"/>
                </a:moveTo>
                <a:lnTo>
                  <a:pt x="148" y="65"/>
                </a:lnTo>
                <a:lnTo>
                  <a:pt x="17" y="65"/>
                </a:lnTo>
                <a:lnTo>
                  <a:pt x="17" y="244"/>
                </a:lnTo>
                <a:lnTo>
                  <a:pt x="148" y="24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5" name="Freeform 91">
            <a:extLst>
              <a:ext uri="{FF2B5EF4-FFF2-40B4-BE49-F238E27FC236}">
                <a16:creationId xmlns:a16="http://schemas.microsoft.com/office/drawing/2014/main" id="{73E112B4-5D7B-4A98-AC5C-198D2BF62387}"/>
              </a:ext>
            </a:extLst>
          </p:cNvPr>
          <p:cNvSpPr>
            <a:spLocks noEditPoints="1"/>
          </p:cNvSpPr>
          <p:nvPr/>
        </p:nvSpPr>
        <p:spPr bwMode="auto">
          <a:xfrm>
            <a:off x="1645016" y="4050221"/>
            <a:ext cx="388938" cy="414338"/>
          </a:xfrm>
          <a:custGeom>
            <a:avLst/>
            <a:gdLst>
              <a:gd name="T0" fmla="*/ 245 w 245"/>
              <a:gd name="T1" fmla="*/ 261 h 261"/>
              <a:gd name="T2" fmla="*/ 180 w 245"/>
              <a:gd name="T3" fmla="*/ 261 h 261"/>
              <a:gd name="T4" fmla="*/ 180 w 245"/>
              <a:gd name="T5" fmla="*/ 245 h 261"/>
              <a:gd name="T6" fmla="*/ 229 w 245"/>
              <a:gd name="T7" fmla="*/ 245 h 261"/>
              <a:gd name="T8" fmla="*/ 229 w 245"/>
              <a:gd name="T9" fmla="*/ 82 h 261"/>
              <a:gd name="T10" fmla="*/ 163 w 245"/>
              <a:gd name="T11" fmla="*/ 82 h 261"/>
              <a:gd name="T12" fmla="*/ 163 w 245"/>
              <a:gd name="T13" fmla="*/ 16 h 261"/>
              <a:gd name="T14" fmla="*/ 65 w 245"/>
              <a:gd name="T15" fmla="*/ 16 h 261"/>
              <a:gd name="T16" fmla="*/ 65 w 245"/>
              <a:gd name="T17" fmla="*/ 65 h 261"/>
              <a:gd name="T18" fmla="*/ 49 w 245"/>
              <a:gd name="T19" fmla="*/ 65 h 261"/>
              <a:gd name="T20" fmla="*/ 49 w 245"/>
              <a:gd name="T21" fmla="*/ 0 h 261"/>
              <a:gd name="T22" fmla="*/ 163 w 245"/>
              <a:gd name="T23" fmla="*/ 0 h 261"/>
              <a:gd name="T24" fmla="*/ 245 w 245"/>
              <a:gd name="T25" fmla="*/ 82 h 261"/>
              <a:gd name="T26" fmla="*/ 245 w 245"/>
              <a:gd name="T27" fmla="*/ 261 h 261"/>
              <a:gd name="T28" fmla="*/ 114 w 245"/>
              <a:gd name="T29" fmla="*/ 210 h 261"/>
              <a:gd name="T30" fmla="*/ 69 w 245"/>
              <a:gd name="T31" fmla="*/ 163 h 261"/>
              <a:gd name="T32" fmla="*/ 114 w 245"/>
              <a:gd name="T33" fmla="*/ 118 h 261"/>
              <a:gd name="T34" fmla="*/ 104 w 245"/>
              <a:gd name="T35" fmla="*/ 106 h 261"/>
              <a:gd name="T36" fmla="*/ 57 w 245"/>
              <a:gd name="T37" fmla="*/ 153 h 261"/>
              <a:gd name="T38" fmla="*/ 10 w 245"/>
              <a:gd name="T39" fmla="*/ 106 h 261"/>
              <a:gd name="T40" fmla="*/ 0 w 245"/>
              <a:gd name="T41" fmla="*/ 118 h 261"/>
              <a:gd name="T42" fmla="*/ 45 w 245"/>
              <a:gd name="T43" fmla="*/ 163 h 261"/>
              <a:gd name="T44" fmla="*/ 0 w 245"/>
              <a:gd name="T45" fmla="*/ 210 h 261"/>
              <a:gd name="T46" fmla="*/ 10 w 245"/>
              <a:gd name="T47" fmla="*/ 222 h 261"/>
              <a:gd name="T48" fmla="*/ 57 w 245"/>
              <a:gd name="T49" fmla="*/ 175 h 261"/>
              <a:gd name="T50" fmla="*/ 104 w 245"/>
              <a:gd name="T51" fmla="*/ 222 h 261"/>
              <a:gd name="T52" fmla="*/ 114 w 245"/>
              <a:gd name="T53" fmla="*/ 21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261">
                <a:moveTo>
                  <a:pt x="245" y="261"/>
                </a:moveTo>
                <a:lnTo>
                  <a:pt x="180" y="261"/>
                </a:lnTo>
                <a:lnTo>
                  <a:pt x="180" y="245"/>
                </a:lnTo>
                <a:lnTo>
                  <a:pt x="229" y="245"/>
                </a:lnTo>
                <a:lnTo>
                  <a:pt x="229" y="82"/>
                </a:lnTo>
                <a:lnTo>
                  <a:pt x="163" y="82"/>
                </a:lnTo>
                <a:lnTo>
                  <a:pt x="163" y="16"/>
                </a:lnTo>
                <a:lnTo>
                  <a:pt x="65" y="16"/>
                </a:lnTo>
                <a:lnTo>
                  <a:pt x="65" y="65"/>
                </a:lnTo>
                <a:lnTo>
                  <a:pt x="49" y="65"/>
                </a:lnTo>
                <a:lnTo>
                  <a:pt x="49" y="0"/>
                </a:lnTo>
                <a:lnTo>
                  <a:pt x="163" y="0"/>
                </a:lnTo>
                <a:lnTo>
                  <a:pt x="245" y="82"/>
                </a:lnTo>
                <a:lnTo>
                  <a:pt x="245" y="261"/>
                </a:lnTo>
                <a:close/>
                <a:moveTo>
                  <a:pt x="114" y="210"/>
                </a:moveTo>
                <a:lnTo>
                  <a:pt x="69" y="163"/>
                </a:lnTo>
                <a:lnTo>
                  <a:pt x="114" y="118"/>
                </a:lnTo>
                <a:lnTo>
                  <a:pt x="104" y="106"/>
                </a:lnTo>
                <a:lnTo>
                  <a:pt x="57" y="153"/>
                </a:lnTo>
                <a:lnTo>
                  <a:pt x="10" y="106"/>
                </a:lnTo>
                <a:lnTo>
                  <a:pt x="0" y="118"/>
                </a:lnTo>
                <a:lnTo>
                  <a:pt x="45" y="163"/>
                </a:lnTo>
                <a:lnTo>
                  <a:pt x="0" y="210"/>
                </a:lnTo>
                <a:lnTo>
                  <a:pt x="10" y="222"/>
                </a:lnTo>
                <a:lnTo>
                  <a:pt x="57" y="175"/>
                </a:lnTo>
                <a:lnTo>
                  <a:pt x="104" y="222"/>
                </a:lnTo>
                <a:lnTo>
                  <a:pt x="114" y="2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6" name="Freeform 95">
            <a:extLst>
              <a:ext uri="{FF2B5EF4-FFF2-40B4-BE49-F238E27FC236}">
                <a16:creationId xmlns:a16="http://schemas.microsoft.com/office/drawing/2014/main" id="{9CED60E0-4B3B-444F-A30F-E49A844CB7B9}"/>
              </a:ext>
            </a:extLst>
          </p:cNvPr>
          <p:cNvSpPr>
            <a:spLocks noEditPoints="1"/>
          </p:cNvSpPr>
          <p:nvPr/>
        </p:nvSpPr>
        <p:spPr bwMode="auto">
          <a:xfrm>
            <a:off x="2678543" y="4050221"/>
            <a:ext cx="412750" cy="414338"/>
          </a:xfrm>
          <a:custGeom>
            <a:avLst/>
            <a:gdLst>
              <a:gd name="T0" fmla="*/ 128 w 128"/>
              <a:gd name="T1" fmla="*/ 0 h 128"/>
              <a:gd name="T2" fmla="*/ 128 w 128"/>
              <a:gd name="T3" fmla="*/ 64 h 128"/>
              <a:gd name="T4" fmla="*/ 120 w 128"/>
              <a:gd name="T5" fmla="*/ 64 h 128"/>
              <a:gd name="T6" fmla="*/ 120 w 128"/>
              <a:gd name="T7" fmla="*/ 13 h 128"/>
              <a:gd name="T8" fmla="*/ 6 w 128"/>
              <a:gd name="T9" fmla="*/ 128 h 128"/>
              <a:gd name="T10" fmla="*/ 0 w 128"/>
              <a:gd name="T11" fmla="*/ 122 h 128"/>
              <a:gd name="T12" fmla="*/ 114 w 128"/>
              <a:gd name="T13" fmla="*/ 8 h 128"/>
              <a:gd name="T14" fmla="*/ 64 w 128"/>
              <a:gd name="T15" fmla="*/ 8 h 128"/>
              <a:gd name="T16" fmla="*/ 64 w 128"/>
              <a:gd name="T17" fmla="*/ 0 h 128"/>
              <a:gd name="T18" fmla="*/ 128 w 128"/>
              <a:gd name="T19" fmla="*/ 0 h 128"/>
              <a:gd name="T20" fmla="*/ 24 w 128"/>
              <a:gd name="T21" fmla="*/ 64 h 128"/>
              <a:gd name="T22" fmla="*/ 0 w 128"/>
              <a:gd name="T23" fmla="*/ 40 h 128"/>
              <a:gd name="T24" fmla="*/ 24 w 128"/>
              <a:gd name="T25" fmla="*/ 16 h 128"/>
              <a:gd name="T26" fmla="*/ 48 w 128"/>
              <a:gd name="T27" fmla="*/ 40 h 128"/>
              <a:gd name="T28" fmla="*/ 24 w 128"/>
              <a:gd name="T29" fmla="*/ 64 h 128"/>
              <a:gd name="T30" fmla="*/ 24 w 128"/>
              <a:gd name="T31" fmla="*/ 24 h 128"/>
              <a:gd name="T32" fmla="*/ 8 w 128"/>
              <a:gd name="T33" fmla="*/ 40 h 128"/>
              <a:gd name="T34" fmla="*/ 24 w 128"/>
              <a:gd name="T35" fmla="*/ 56 h 128"/>
              <a:gd name="T36" fmla="*/ 40 w 128"/>
              <a:gd name="T37" fmla="*/ 40 h 128"/>
              <a:gd name="T38" fmla="*/ 24 w 128"/>
              <a:gd name="T39" fmla="*/ 24 h 128"/>
              <a:gd name="T40" fmla="*/ 88 w 128"/>
              <a:gd name="T41" fmla="*/ 128 h 128"/>
              <a:gd name="T42" fmla="*/ 64 w 128"/>
              <a:gd name="T43" fmla="*/ 104 h 128"/>
              <a:gd name="T44" fmla="*/ 88 w 128"/>
              <a:gd name="T45" fmla="*/ 80 h 128"/>
              <a:gd name="T46" fmla="*/ 112 w 128"/>
              <a:gd name="T47" fmla="*/ 104 h 128"/>
              <a:gd name="T48" fmla="*/ 88 w 128"/>
              <a:gd name="T49" fmla="*/ 128 h 128"/>
              <a:gd name="T50" fmla="*/ 88 w 128"/>
              <a:gd name="T51" fmla="*/ 88 h 128"/>
              <a:gd name="T52" fmla="*/ 72 w 128"/>
              <a:gd name="T53" fmla="*/ 104 h 128"/>
              <a:gd name="T54" fmla="*/ 88 w 128"/>
              <a:gd name="T55" fmla="*/ 120 h 128"/>
              <a:gd name="T56" fmla="*/ 104 w 128"/>
              <a:gd name="T57" fmla="*/ 104 h 128"/>
              <a:gd name="T58" fmla="*/ 88 w 128"/>
              <a:gd name="T59" fmla="*/ 8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8" h="128">
                <a:moveTo>
                  <a:pt x="128" y="0"/>
                </a:moveTo>
                <a:cubicBezTo>
                  <a:pt x="128" y="64"/>
                  <a:pt x="128" y="64"/>
                  <a:pt x="128" y="64"/>
                </a:cubicBezTo>
                <a:cubicBezTo>
                  <a:pt x="120" y="64"/>
                  <a:pt x="120" y="64"/>
                  <a:pt x="120" y="64"/>
                </a:cubicBezTo>
                <a:cubicBezTo>
                  <a:pt x="120" y="13"/>
                  <a:pt x="120" y="13"/>
                  <a:pt x="120" y="13"/>
                </a:cubicBezTo>
                <a:cubicBezTo>
                  <a:pt x="6" y="128"/>
                  <a:pt x="6" y="128"/>
                  <a:pt x="6" y="128"/>
                </a:cubicBezTo>
                <a:cubicBezTo>
                  <a:pt x="0" y="122"/>
                  <a:pt x="0" y="122"/>
                  <a:pt x="0" y="122"/>
                </a:cubicBezTo>
                <a:cubicBezTo>
                  <a:pt x="114" y="8"/>
                  <a:pt x="114" y="8"/>
                  <a:pt x="114" y="8"/>
                </a:cubicBezTo>
                <a:cubicBezTo>
                  <a:pt x="64" y="8"/>
                  <a:pt x="64" y="8"/>
                  <a:pt x="64" y="8"/>
                </a:cubicBezTo>
                <a:cubicBezTo>
                  <a:pt x="64" y="0"/>
                  <a:pt x="64" y="0"/>
                  <a:pt x="64" y="0"/>
                </a:cubicBezTo>
                <a:lnTo>
                  <a:pt x="128" y="0"/>
                </a:lnTo>
                <a:close/>
                <a:moveTo>
                  <a:pt x="24" y="64"/>
                </a:moveTo>
                <a:cubicBezTo>
                  <a:pt x="11" y="64"/>
                  <a:pt x="0" y="53"/>
                  <a:pt x="0" y="40"/>
                </a:cubicBezTo>
                <a:cubicBezTo>
                  <a:pt x="0" y="27"/>
                  <a:pt x="11" y="16"/>
                  <a:pt x="24" y="16"/>
                </a:cubicBezTo>
                <a:cubicBezTo>
                  <a:pt x="37" y="16"/>
                  <a:pt x="48" y="27"/>
                  <a:pt x="48" y="40"/>
                </a:cubicBezTo>
                <a:cubicBezTo>
                  <a:pt x="48" y="53"/>
                  <a:pt x="37" y="64"/>
                  <a:pt x="24" y="64"/>
                </a:cubicBezTo>
                <a:close/>
                <a:moveTo>
                  <a:pt x="24" y="24"/>
                </a:moveTo>
                <a:cubicBezTo>
                  <a:pt x="15" y="24"/>
                  <a:pt x="8" y="31"/>
                  <a:pt x="8" y="40"/>
                </a:cubicBezTo>
                <a:cubicBezTo>
                  <a:pt x="8" y="49"/>
                  <a:pt x="15" y="56"/>
                  <a:pt x="24" y="56"/>
                </a:cubicBezTo>
                <a:cubicBezTo>
                  <a:pt x="33" y="56"/>
                  <a:pt x="40" y="49"/>
                  <a:pt x="40" y="40"/>
                </a:cubicBezTo>
                <a:cubicBezTo>
                  <a:pt x="40" y="31"/>
                  <a:pt x="33" y="24"/>
                  <a:pt x="24" y="24"/>
                </a:cubicBezTo>
                <a:close/>
                <a:moveTo>
                  <a:pt x="88" y="128"/>
                </a:moveTo>
                <a:cubicBezTo>
                  <a:pt x="75" y="128"/>
                  <a:pt x="64" y="117"/>
                  <a:pt x="64" y="104"/>
                </a:cubicBezTo>
                <a:cubicBezTo>
                  <a:pt x="64" y="91"/>
                  <a:pt x="75" y="80"/>
                  <a:pt x="88" y="80"/>
                </a:cubicBezTo>
                <a:cubicBezTo>
                  <a:pt x="101" y="80"/>
                  <a:pt x="112" y="91"/>
                  <a:pt x="112" y="104"/>
                </a:cubicBezTo>
                <a:cubicBezTo>
                  <a:pt x="112" y="117"/>
                  <a:pt x="101" y="128"/>
                  <a:pt x="88" y="128"/>
                </a:cubicBezTo>
                <a:close/>
                <a:moveTo>
                  <a:pt x="88" y="88"/>
                </a:moveTo>
                <a:cubicBezTo>
                  <a:pt x="79" y="88"/>
                  <a:pt x="72" y="95"/>
                  <a:pt x="72" y="104"/>
                </a:cubicBezTo>
                <a:cubicBezTo>
                  <a:pt x="72" y="113"/>
                  <a:pt x="79" y="120"/>
                  <a:pt x="88" y="120"/>
                </a:cubicBezTo>
                <a:cubicBezTo>
                  <a:pt x="97" y="120"/>
                  <a:pt x="104" y="113"/>
                  <a:pt x="104" y="104"/>
                </a:cubicBezTo>
                <a:cubicBezTo>
                  <a:pt x="104" y="95"/>
                  <a:pt x="97" y="88"/>
                  <a:pt x="88" y="8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7" name="Freeform 76">
            <a:extLst>
              <a:ext uri="{FF2B5EF4-FFF2-40B4-BE49-F238E27FC236}">
                <a16:creationId xmlns:a16="http://schemas.microsoft.com/office/drawing/2014/main" id="{4C8C8F30-05B6-41AD-807E-4560D385B488}"/>
              </a:ext>
            </a:extLst>
          </p:cNvPr>
          <p:cNvSpPr>
            <a:spLocks noEditPoints="1"/>
          </p:cNvSpPr>
          <p:nvPr/>
        </p:nvSpPr>
        <p:spPr bwMode="auto">
          <a:xfrm>
            <a:off x="3739057" y="4050221"/>
            <a:ext cx="382588" cy="414338"/>
          </a:xfrm>
          <a:custGeom>
            <a:avLst/>
            <a:gdLst>
              <a:gd name="T0" fmla="*/ 229 w 241"/>
              <a:gd name="T1" fmla="*/ 65 h 261"/>
              <a:gd name="T2" fmla="*/ 194 w 241"/>
              <a:gd name="T3" fmla="*/ 31 h 261"/>
              <a:gd name="T4" fmla="*/ 194 w 241"/>
              <a:gd name="T5" fmla="*/ 228 h 261"/>
              <a:gd name="T6" fmla="*/ 178 w 241"/>
              <a:gd name="T7" fmla="*/ 228 h 261"/>
              <a:gd name="T8" fmla="*/ 178 w 241"/>
              <a:gd name="T9" fmla="*/ 31 h 261"/>
              <a:gd name="T10" fmla="*/ 143 w 241"/>
              <a:gd name="T11" fmla="*/ 65 h 261"/>
              <a:gd name="T12" fmla="*/ 131 w 241"/>
              <a:gd name="T13" fmla="*/ 55 h 261"/>
              <a:gd name="T14" fmla="*/ 186 w 241"/>
              <a:gd name="T15" fmla="*/ 0 h 261"/>
              <a:gd name="T16" fmla="*/ 241 w 241"/>
              <a:gd name="T17" fmla="*/ 55 h 261"/>
              <a:gd name="T18" fmla="*/ 229 w 241"/>
              <a:gd name="T19" fmla="*/ 65 h 261"/>
              <a:gd name="T20" fmla="*/ 63 w 241"/>
              <a:gd name="T21" fmla="*/ 230 h 261"/>
              <a:gd name="T22" fmla="*/ 63 w 241"/>
              <a:gd name="T23" fmla="*/ 33 h 261"/>
              <a:gd name="T24" fmla="*/ 47 w 241"/>
              <a:gd name="T25" fmla="*/ 33 h 261"/>
              <a:gd name="T26" fmla="*/ 47 w 241"/>
              <a:gd name="T27" fmla="*/ 230 h 261"/>
              <a:gd name="T28" fmla="*/ 12 w 241"/>
              <a:gd name="T29" fmla="*/ 196 h 261"/>
              <a:gd name="T30" fmla="*/ 0 w 241"/>
              <a:gd name="T31" fmla="*/ 206 h 261"/>
              <a:gd name="T32" fmla="*/ 55 w 241"/>
              <a:gd name="T33" fmla="*/ 261 h 261"/>
              <a:gd name="T34" fmla="*/ 110 w 241"/>
              <a:gd name="T35" fmla="*/ 206 h 261"/>
              <a:gd name="T36" fmla="*/ 98 w 241"/>
              <a:gd name="T37" fmla="*/ 196 h 261"/>
              <a:gd name="T38" fmla="*/ 63 w 241"/>
              <a:gd name="T39" fmla="*/ 23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1" h="261">
                <a:moveTo>
                  <a:pt x="229" y="65"/>
                </a:moveTo>
                <a:lnTo>
                  <a:pt x="194" y="31"/>
                </a:lnTo>
                <a:lnTo>
                  <a:pt x="194" y="228"/>
                </a:lnTo>
                <a:lnTo>
                  <a:pt x="178" y="228"/>
                </a:lnTo>
                <a:lnTo>
                  <a:pt x="178" y="31"/>
                </a:lnTo>
                <a:lnTo>
                  <a:pt x="143" y="65"/>
                </a:lnTo>
                <a:lnTo>
                  <a:pt x="131" y="55"/>
                </a:lnTo>
                <a:lnTo>
                  <a:pt x="186" y="0"/>
                </a:lnTo>
                <a:lnTo>
                  <a:pt x="241" y="55"/>
                </a:lnTo>
                <a:lnTo>
                  <a:pt x="229" y="65"/>
                </a:lnTo>
                <a:close/>
                <a:moveTo>
                  <a:pt x="63" y="230"/>
                </a:moveTo>
                <a:lnTo>
                  <a:pt x="63" y="33"/>
                </a:lnTo>
                <a:lnTo>
                  <a:pt x="47" y="33"/>
                </a:lnTo>
                <a:lnTo>
                  <a:pt x="47" y="230"/>
                </a:lnTo>
                <a:lnTo>
                  <a:pt x="12" y="196"/>
                </a:lnTo>
                <a:lnTo>
                  <a:pt x="0" y="206"/>
                </a:lnTo>
                <a:lnTo>
                  <a:pt x="55" y="261"/>
                </a:lnTo>
                <a:lnTo>
                  <a:pt x="110" y="206"/>
                </a:lnTo>
                <a:lnTo>
                  <a:pt x="98" y="196"/>
                </a:lnTo>
                <a:lnTo>
                  <a:pt x="63" y="23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0" name="Freeform 107">
            <a:extLst>
              <a:ext uri="{FF2B5EF4-FFF2-40B4-BE49-F238E27FC236}">
                <a16:creationId xmlns:a16="http://schemas.microsoft.com/office/drawing/2014/main" id="{2A16BBE7-CA7D-4A11-B81F-D4BF9AD2798A}"/>
              </a:ext>
            </a:extLst>
          </p:cNvPr>
          <p:cNvSpPr>
            <a:spLocks/>
          </p:cNvSpPr>
          <p:nvPr/>
        </p:nvSpPr>
        <p:spPr bwMode="auto">
          <a:xfrm>
            <a:off x="7097349" y="1634600"/>
            <a:ext cx="412750" cy="331787"/>
          </a:xfrm>
          <a:custGeom>
            <a:avLst/>
            <a:gdLst>
              <a:gd name="T0" fmla="*/ 260 w 260"/>
              <a:gd name="T1" fmla="*/ 113 h 209"/>
              <a:gd name="T2" fmla="*/ 30 w 260"/>
              <a:gd name="T3" fmla="*/ 113 h 209"/>
              <a:gd name="T4" fmla="*/ 116 w 260"/>
              <a:gd name="T5" fmla="*/ 197 h 209"/>
              <a:gd name="T6" fmla="*/ 104 w 260"/>
              <a:gd name="T7" fmla="*/ 209 h 209"/>
              <a:gd name="T8" fmla="*/ 0 w 260"/>
              <a:gd name="T9" fmla="*/ 105 h 209"/>
              <a:gd name="T10" fmla="*/ 0 w 260"/>
              <a:gd name="T11" fmla="*/ 105 h 209"/>
              <a:gd name="T12" fmla="*/ 0 w 260"/>
              <a:gd name="T13" fmla="*/ 105 h 209"/>
              <a:gd name="T14" fmla="*/ 104 w 260"/>
              <a:gd name="T15" fmla="*/ 0 h 209"/>
              <a:gd name="T16" fmla="*/ 116 w 260"/>
              <a:gd name="T17" fmla="*/ 12 h 209"/>
              <a:gd name="T18" fmla="*/ 30 w 260"/>
              <a:gd name="T19" fmla="*/ 96 h 209"/>
              <a:gd name="T20" fmla="*/ 260 w 260"/>
              <a:gd name="T21" fmla="*/ 96 h 209"/>
              <a:gd name="T22" fmla="*/ 260 w 260"/>
              <a:gd name="T23" fmla="*/ 113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0" h="209">
                <a:moveTo>
                  <a:pt x="260" y="113"/>
                </a:moveTo>
                <a:lnTo>
                  <a:pt x="30" y="113"/>
                </a:lnTo>
                <a:lnTo>
                  <a:pt x="116" y="197"/>
                </a:lnTo>
                <a:lnTo>
                  <a:pt x="104" y="209"/>
                </a:lnTo>
                <a:lnTo>
                  <a:pt x="0" y="105"/>
                </a:lnTo>
                <a:lnTo>
                  <a:pt x="0" y="105"/>
                </a:lnTo>
                <a:lnTo>
                  <a:pt x="0" y="105"/>
                </a:lnTo>
                <a:lnTo>
                  <a:pt x="104" y="0"/>
                </a:lnTo>
                <a:lnTo>
                  <a:pt x="116" y="12"/>
                </a:lnTo>
                <a:lnTo>
                  <a:pt x="30" y="96"/>
                </a:lnTo>
                <a:lnTo>
                  <a:pt x="260" y="96"/>
                </a:lnTo>
                <a:lnTo>
                  <a:pt x="260" y="11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51" name="Freeform 111">
            <a:extLst>
              <a:ext uri="{FF2B5EF4-FFF2-40B4-BE49-F238E27FC236}">
                <a16:creationId xmlns:a16="http://schemas.microsoft.com/office/drawing/2014/main" id="{4F8BAF45-CEE3-4DEE-ABCA-EB9F65C0352D}"/>
              </a:ext>
            </a:extLst>
          </p:cNvPr>
          <p:cNvSpPr>
            <a:spLocks/>
          </p:cNvSpPr>
          <p:nvPr/>
        </p:nvSpPr>
        <p:spPr bwMode="auto">
          <a:xfrm>
            <a:off x="8142782" y="1634599"/>
            <a:ext cx="412750" cy="331788"/>
          </a:xfrm>
          <a:custGeom>
            <a:avLst/>
            <a:gdLst>
              <a:gd name="T0" fmla="*/ 260 w 260"/>
              <a:gd name="T1" fmla="*/ 121 h 209"/>
              <a:gd name="T2" fmla="*/ 63 w 260"/>
              <a:gd name="T3" fmla="*/ 121 h 209"/>
              <a:gd name="T4" fmla="*/ 126 w 260"/>
              <a:gd name="T5" fmla="*/ 186 h 209"/>
              <a:gd name="T6" fmla="*/ 104 w 260"/>
              <a:gd name="T7" fmla="*/ 209 h 209"/>
              <a:gd name="T8" fmla="*/ 0 w 260"/>
              <a:gd name="T9" fmla="*/ 105 h 209"/>
              <a:gd name="T10" fmla="*/ 0 w 260"/>
              <a:gd name="T11" fmla="*/ 105 h 209"/>
              <a:gd name="T12" fmla="*/ 0 w 260"/>
              <a:gd name="T13" fmla="*/ 105 h 209"/>
              <a:gd name="T14" fmla="*/ 104 w 260"/>
              <a:gd name="T15" fmla="*/ 0 h 209"/>
              <a:gd name="T16" fmla="*/ 126 w 260"/>
              <a:gd name="T17" fmla="*/ 23 h 209"/>
              <a:gd name="T18" fmla="*/ 63 w 260"/>
              <a:gd name="T19" fmla="*/ 88 h 209"/>
              <a:gd name="T20" fmla="*/ 260 w 260"/>
              <a:gd name="T21" fmla="*/ 88 h 209"/>
              <a:gd name="T22" fmla="*/ 260 w 260"/>
              <a:gd name="T23" fmla="*/ 121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0" h="209">
                <a:moveTo>
                  <a:pt x="260" y="121"/>
                </a:moveTo>
                <a:lnTo>
                  <a:pt x="63" y="121"/>
                </a:lnTo>
                <a:lnTo>
                  <a:pt x="126" y="186"/>
                </a:lnTo>
                <a:lnTo>
                  <a:pt x="104" y="209"/>
                </a:lnTo>
                <a:lnTo>
                  <a:pt x="0" y="105"/>
                </a:lnTo>
                <a:lnTo>
                  <a:pt x="0" y="105"/>
                </a:lnTo>
                <a:lnTo>
                  <a:pt x="0" y="105"/>
                </a:lnTo>
                <a:lnTo>
                  <a:pt x="104" y="0"/>
                </a:lnTo>
                <a:lnTo>
                  <a:pt x="126" y="23"/>
                </a:lnTo>
                <a:lnTo>
                  <a:pt x="63" y="88"/>
                </a:lnTo>
                <a:lnTo>
                  <a:pt x="260" y="88"/>
                </a:lnTo>
                <a:lnTo>
                  <a:pt x="260" y="12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78" name="Freeform 151">
            <a:extLst>
              <a:ext uri="{FF2B5EF4-FFF2-40B4-BE49-F238E27FC236}">
                <a16:creationId xmlns:a16="http://schemas.microsoft.com/office/drawing/2014/main" id="{520760B7-FA40-468F-8187-C662D6AFA83F}"/>
              </a:ext>
            </a:extLst>
          </p:cNvPr>
          <p:cNvSpPr>
            <a:spLocks/>
          </p:cNvSpPr>
          <p:nvPr/>
        </p:nvSpPr>
        <p:spPr bwMode="auto">
          <a:xfrm>
            <a:off x="6051914" y="4051809"/>
            <a:ext cx="412750" cy="412750"/>
          </a:xfrm>
          <a:custGeom>
            <a:avLst/>
            <a:gdLst>
              <a:gd name="T0" fmla="*/ 203 w 260"/>
              <a:gd name="T1" fmla="*/ 32 h 260"/>
              <a:gd name="T2" fmla="*/ 114 w 260"/>
              <a:gd name="T3" fmla="*/ 32 h 260"/>
              <a:gd name="T4" fmla="*/ 114 w 260"/>
              <a:gd name="T5" fmla="*/ 0 h 260"/>
              <a:gd name="T6" fmla="*/ 260 w 260"/>
              <a:gd name="T7" fmla="*/ 0 h 260"/>
              <a:gd name="T8" fmla="*/ 260 w 260"/>
              <a:gd name="T9" fmla="*/ 146 h 260"/>
              <a:gd name="T10" fmla="*/ 227 w 260"/>
              <a:gd name="T11" fmla="*/ 146 h 260"/>
              <a:gd name="T12" fmla="*/ 227 w 260"/>
              <a:gd name="T13" fmla="*/ 55 h 260"/>
              <a:gd name="T14" fmla="*/ 22 w 260"/>
              <a:gd name="T15" fmla="*/ 260 h 260"/>
              <a:gd name="T16" fmla="*/ 0 w 260"/>
              <a:gd name="T17" fmla="*/ 238 h 260"/>
              <a:gd name="T18" fmla="*/ 203 w 260"/>
              <a:gd name="T19" fmla="*/ 32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0" h="260">
                <a:moveTo>
                  <a:pt x="203" y="32"/>
                </a:moveTo>
                <a:lnTo>
                  <a:pt x="114" y="32"/>
                </a:lnTo>
                <a:lnTo>
                  <a:pt x="114" y="0"/>
                </a:lnTo>
                <a:lnTo>
                  <a:pt x="260" y="0"/>
                </a:lnTo>
                <a:lnTo>
                  <a:pt x="260" y="146"/>
                </a:lnTo>
                <a:lnTo>
                  <a:pt x="227" y="146"/>
                </a:lnTo>
                <a:lnTo>
                  <a:pt x="227" y="55"/>
                </a:lnTo>
                <a:lnTo>
                  <a:pt x="22" y="260"/>
                </a:lnTo>
                <a:lnTo>
                  <a:pt x="0" y="238"/>
                </a:lnTo>
                <a:lnTo>
                  <a:pt x="203" y="3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81" name="Freeform 155">
            <a:extLst>
              <a:ext uri="{FF2B5EF4-FFF2-40B4-BE49-F238E27FC236}">
                <a16:creationId xmlns:a16="http://schemas.microsoft.com/office/drawing/2014/main" id="{E6F59099-9270-4E21-B991-09BF7369F7C7}"/>
              </a:ext>
            </a:extLst>
          </p:cNvPr>
          <p:cNvSpPr>
            <a:spLocks/>
          </p:cNvSpPr>
          <p:nvPr/>
        </p:nvSpPr>
        <p:spPr bwMode="auto">
          <a:xfrm>
            <a:off x="7141006" y="4048634"/>
            <a:ext cx="331787" cy="412750"/>
          </a:xfrm>
          <a:custGeom>
            <a:avLst/>
            <a:gdLst>
              <a:gd name="T0" fmla="*/ 96 w 209"/>
              <a:gd name="T1" fmla="*/ 260 h 260"/>
              <a:gd name="T2" fmla="*/ 96 w 209"/>
              <a:gd name="T3" fmla="*/ 30 h 260"/>
              <a:gd name="T4" fmla="*/ 12 w 209"/>
              <a:gd name="T5" fmla="*/ 116 h 260"/>
              <a:gd name="T6" fmla="*/ 0 w 209"/>
              <a:gd name="T7" fmla="*/ 104 h 260"/>
              <a:gd name="T8" fmla="*/ 105 w 209"/>
              <a:gd name="T9" fmla="*/ 0 h 260"/>
              <a:gd name="T10" fmla="*/ 105 w 209"/>
              <a:gd name="T11" fmla="*/ 0 h 260"/>
              <a:gd name="T12" fmla="*/ 105 w 209"/>
              <a:gd name="T13" fmla="*/ 0 h 260"/>
              <a:gd name="T14" fmla="*/ 209 w 209"/>
              <a:gd name="T15" fmla="*/ 104 h 260"/>
              <a:gd name="T16" fmla="*/ 197 w 209"/>
              <a:gd name="T17" fmla="*/ 116 h 260"/>
              <a:gd name="T18" fmla="*/ 113 w 209"/>
              <a:gd name="T19" fmla="*/ 30 h 260"/>
              <a:gd name="T20" fmla="*/ 113 w 209"/>
              <a:gd name="T21" fmla="*/ 260 h 260"/>
              <a:gd name="T22" fmla="*/ 96 w 209"/>
              <a:gd name="T23"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60">
                <a:moveTo>
                  <a:pt x="96" y="260"/>
                </a:moveTo>
                <a:lnTo>
                  <a:pt x="96" y="30"/>
                </a:lnTo>
                <a:lnTo>
                  <a:pt x="12" y="116"/>
                </a:lnTo>
                <a:lnTo>
                  <a:pt x="0" y="104"/>
                </a:lnTo>
                <a:lnTo>
                  <a:pt x="105" y="0"/>
                </a:lnTo>
                <a:lnTo>
                  <a:pt x="105" y="0"/>
                </a:lnTo>
                <a:lnTo>
                  <a:pt x="105" y="0"/>
                </a:lnTo>
                <a:lnTo>
                  <a:pt x="209" y="104"/>
                </a:lnTo>
                <a:lnTo>
                  <a:pt x="197" y="116"/>
                </a:lnTo>
                <a:lnTo>
                  <a:pt x="113" y="30"/>
                </a:lnTo>
                <a:lnTo>
                  <a:pt x="113" y="260"/>
                </a:lnTo>
                <a:lnTo>
                  <a:pt x="96" y="26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2" name="Freeform 159">
            <a:extLst>
              <a:ext uri="{FF2B5EF4-FFF2-40B4-BE49-F238E27FC236}">
                <a16:creationId xmlns:a16="http://schemas.microsoft.com/office/drawing/2014/main" id="{59753827-0544-49DA-9E6B-608B42F9CAA3}"/>
              </a:ext>
            </a:extLst>
          </p:cNvPr>
          <p:cNvSpPr>
            <a:spLocks/>
          </p:cNvSpPr>
          <p:nvPr/>
        </p:nvSpPr>
        <p:spPr bwMode="auto">
          <a:xfrm>
            <a:off x="8183264" y="4051809"/>
            <a:ext cx="331787" cy="412750"/>
          </a:xfrm>
          <a:custGeom>
            <a:avLst/>
            <a:gdLst>
              <a:gd name="T0" fmla="*/ 88 w 209"/>
              <a:gd name="T1" fmla="*/ 260 h 260"/>
              <a:gd name="T2" fmla="*/ 88 w 209"/>
              <a:gd name="T3" fmla="*/ 63 h 260"/>
              <a:gd name="T4" fmla="*/ 23 w 209"/>
              <a:gd name="T5" fmla="*/ 126 h 260"/>
              <a:gd name="T6" fmla="*/ 0 w 209"/>
              <a:gd name="T7" fmla="*/ 104 h 260"/>
              <a:gd name="T8" fmla="*/ 105 w 209"/>
              <a:gd name="T9" fmla="*/ 0 h 260"/>
              <a:gd name="T10" fmla="*/ 105 w 209"/>
              <a:gd name="T11" fmla="*/ 0 h 260"/>
              <a:gd name="T12" fmla="*/ 105 w 209"/>
              <a:gd name="T13" fmla="*/ 0 h 260"/>
              <a:gd name="T14" fmla="*/ 209 w 209"/>
              <a:gd name="T15" fmla="*/ 104 h 260"/>
              <a:gd name="T16" fmla="*/ 186 w 209"/>
              <a:gd name="T17" fmla="*/ 126 h 260"/>
              <a:gd name="T18" fmla="*/ 121 w 209"/>
              <a:gd name="T19" fmla="*/ 63 h 260"/>
              <a:gd name="T20" fmla="*/ 121 w 209"/>
              <a:gd name="T21" fmla="*/ 260 h 260"/>
              <a:gd name="T22" fmla="*/ 88 w 209"/>
              <a:gd name="T23"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60">
                <a:moveTo>
                  <a:pt x="88" y="260"/>
                </a:moveTo>
                <a:lnTo>
                  <a:pt x="88" y="63"/>
                </a:lnTo>
                <a:lnTo>
                  <a:pt x="23" y="126"/>
                </a:lnTo>
                <a:lnTo>
                  <a:pt x="0" y="104"/>
                </a:lnTo>
                <a:lnTo>
                  <a:pt x="105" y="0"/>
                </a:lnTo>
                <a:lnTo>
                  <a:pt x="105" y="0"/>
                </a:lnTo>
                <a:lnTo>
                  <a:pt x="105" y="0"/>
                </a:lnTo>
                <a:lnTo>
                  <a:pt x="209" y="104"/>
                </a:lnTo>
                <a:lnTo>
                  <a:pt x="186" y="126"/>
                </a:lnTo>
                <a:lnTo>
                  <a:pt x="121" y="63"/>
                </a:lnTo>
                <a:lnTo>
                  <a:pt x="121" y="260"/>
                </a:lnTo>
                <a:lnTo>
                  <a:pt x="88" y="2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6" name="Freeform 99">
            <a:extLst>
              <a:ext uri="{FF2B5EF4-FFF2-40B4-BE49-F238E27FC236}">
                <a16:creationId xmlns:a16="http://schemas.microsoft.com/office/drawing/2014/main" id="{3B943C73-CF66-4F82-B996-98387B9EB2B9}"/>
              </a:ext>
            </a:extLst>
          </p:cNvPr>
          <p:cNvSpPr>
            <a:spLocks/>
          </p:cNvSpPr>
          <p:nvPr/>
        </p:nvSpPr>
        <p:spPr bwMode="auto">
          <a:xfrm>
            <a:off x="5046961" y="1552049"/>
            <a:ext cx="331788" cy="414338"/>
          </a:xfrm>
          <a:custGeom>
            <a:avLst/>
            <a:gdLst>
              <a:gd name="T0" fmla="*/ 113 w 209"/>
              <a:gd name="T1" fmla="*/ 0 h 261"/>
              <a:gd name="T2" fmla="*/ 113 w 209"/>
              <a:gd name="T3" fmla="*/ 230 h 261"/>
              <a:gd name="T4" fmla="*/ 197 w 209"/>
              <a:gd name="T5" fmla="*/ 145 h 261"/>
              <a:gd name="T6" fmla="*/ 209 w 209"/>
              <a:gd name="T7" fmla="*/ 157 h 261"/>
              <a:gd name="T8" fmla="*/ 105 w 209"/>
              <a:gd name="T9" fmla="*/ 261 h 261"/>
              <a:gd name="T10" fmla="*/ 105 w 209"/>
              <a:gd name="T11" fmla="*/ 261 h 261"/>
              <a:gd name="T12" fmla="*/ 105 w 209"/>
              <a:gd name="T13" fmla="*/ 261 h 261"/>
              <a:gd name="T14" fmla="*/ 0 w 209"/>
              <a:gd name="T15" fmla="*/ 157 h 261"/>
              <a:gd name="T16" fmla="*/ 12 w 209"/>
              <a:gd name="T17" fmla="*/ 145 h 261"/>
              <a:gd name="T18" fmla="*/ 96 w 209"/>
              <a:gd name="T19" fmla="*/ 230 h 261"/>
              <a:gd name="T20" fmla="*/ 96 w 209"/>
              <a:gd name="T21" fmla="*/ 0 h 261"/>
              <a:gd name="T22" fmla="*/ 113 w 209"/>
              <a:gd name="T23"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9" h="261">
                <a:moveTo>
                  <a:pt x="113" y="0"/>
                </a:moveTo>
                <a:lnTo>
                  <a:pt x="113" y="230"/>
                </a:lnTo>
                <a:lnTo>
                  <a:pt x="197" y="145"/>
                </a:lnTo>
                <a:lnTo>
                  <a:pt x="209" y="157"/>
                </a:lnTo>
                <a:lnTo>
                  <a:pt x="105" y="261"/>
                </a:lnTo>
                <a:lnTo>
                  <a:pt x="105" y="261"/>
                </a:lnTo>
                <a:lnTo>
                  <a:pt x="105" y="261"/>
                </a:lnTo>
                <a:lnTo>
                  <a:pt x="0" y="157"/>
                </a:lnTo>
                <a:lnTo>
                  <a:pt x="12" y="145"/>
                </a:lnTo>
                <a:lnTo>
                  <a:pt x="96" y="230"/>
                </a:lnTo>
                <a:lnTo>
                  <a:pt x="96" y="0"/>
                </a:lnTo>
                <a:lnTo>
                  <a:pt x="113"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97" name="Freeform 103">
            <a:extLst>
              <a:ext uri="{FF2B5EF4-FFF2-40B4-BE49-F238E27FC236}">
                <a16:creationId xmlns:a16="http://schemas.microsoft.com/office/drawing/2014/main" id="{7B00F3F0-7DF8-40AC-9A8A-79666629ADD5}"/>
              </a:ext>
            </a:extLst>
          </p:cNvPr>
          <p:cNvSpPr>
            <a:spLocks/>
          </p:cNvSpPr>
          <p:nvPr/>
        </p:nvSpPr>
        <p:spPr bwMode="auto">
          <a:xfrm>
            <a:off x="6093189" y="1553637"/>
            <a:ext cx="330200" cy="412750"/>
          </a:xfrm>
          <a:custGeom>
            <a:avLst/>
            <a:gdLst>
              <a:gd name="T0" fmla="*/ 120 w 208"/>
              <a:gd name="T1" fmla="*/ 0 h 260"/>
              <a:gd name="T2" fmla="*/ 120 w 208"/>
              <a:gd name="T3" fmla="*/ 197 h 260"/>
              <a:gd name="T4" fmla="*/ 186 w 208"/>
              <a:gd name="T5" fmla="*/ 134 h 260"/>
              <a:gd name="T6" fmla="*/ 208 w 208"/>
              <a:gd name="T7" fmla="*/ 156 h 260"/>
              <a:gd name="T8" fmla="*/ 104 w 208"/>
              <a:gd name="T9" fmla="*/ 260 h 260"/>
              <a:gd name="T10" fmla="*/ 104 w 208"/>
              <a:gd name="T11" fmla="*/ 260 h 260"/>
              <a:gd name="T12" fmla="*/ 104 w 208"/>
              <a:gd name="T13" fmla="*/ 260 h 260"/>
              <a:gd name="T14" fmla="*/ 0 w 208"/>
              <a:gd name="T15" fmla="*/ 156 h 260"/>
              <a:gd name="T16" fmla="*/ 22 w 208"/>
              <a:gd name="T17" fmla="*/ 134 h 260"/>
              <a:gd name="T18" fmla="*/ 88 w 208"/>
              <a:gd name="T19" fmla="*/ 197 h 260"/>
              <a:gd name="T20" fmla="*/ 88 w 208"/>
              <a:gd name="T21" fmla="*/ 0 h 260"/>
              <a:gd name="T22" fmla="*/ 120 w 208"/>
              <a:gd name="T23"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8" h="260">
                <a:moveTo>
                  <a:pt x="120" y="0"/>
                </a:moveTo>
                <a:lnTo>
                  <a:pt x="120" y="197"/>
                </a:lnTo>
                <a:lnTo>
                  <a:pt x="186" y="134"/>
                </a:lnTo>
                <a:lnTo>
                  <a:pt x="208" y="156"/>
                </a:lnTo>
                <a:lnTo>
                  <a:pt x="104" y="260"/>
                </a:lnTo>
                <a:lnTo>
                  <a:pt x="104" y="260"/>
                </a:lnTo>
                <a:lnTo>
                  <a:pt x="104" y="260"/>
                </a:lnTo>
                <a:lnTo>
                  <a:pt x="0" y="156"/>
                </a:lnTo>
                <a:lnTo>
                  <a:pt x="22" y="134"/>
                </a:lnTo>
                <a:lnTo>
                  <a:pt x="88" y="197"/>
                </a:lnTo>
                <a:lnTo>
                  <a:pt x="88" y="0"/>
                </a:lnTo>
                <a:lnTo>
                  <a:pt x="12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60269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kt 15" hidden="1">
            <a:extLst>
              <a:ext uri="{FF2B5EF4-FFF2-40B4-BE49-F238E27FC236}">
                <a16:creationId xmlns:a16="http://schemas.microsoft.com/office/drawing/2014/main" id="{073854D0-FDC6-4CE4-9DF3-87ABD0614C78}"/>
              </a:ext>
            </a:extLst>
          </p:cNvPr>
          <p:cNvGraphicFramePr>
            <a:graphicFrameLocks noChangeAspect="1"/>
          </p:cNvGraphicFramePr>
          <p:nvPr>
            <p:custDataLst>
              <p:tags r:id="rId1"/>
            </p:custDataLst>
            <p:extLst>
              <p:ext uri="{D42A27DB-BD31-4B8C-83A1-F6EECF244321}">
                <p14:modId xmlns:p14="http://schemas.microsoft.com/office/powerpoint/2010/main" val="1807597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16" name="Objekt 15" hidden="1">
                        <a:extLst>
                          <a:ext uri="{FF2B5EF4-FFF2-40B4-BE49-F238E27FC236}">
                            <a16:creationId xmlns:a16="http://schemas.microsoft.com/office/drawing/2014/main" id="{073854D0-FDC6-4CE4-9DF3-87ABD0614C7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2500216-C938-4807-8522-6AA0E75E5350}"/>
              </a:ext>
            </a:extLst>
          </p:cNvPr>
          <p:cNvSpPr>
            <a:spLocks noGrp="1"/>
          </p:cNvSpPr>
          <p:nvPr>
            <p:ph type="sldNum" sz="quarter" idx="11"/>
          </p:nvPr>
        </p:nvSpPr>
        <p:spPr/>
        <p:txBody>
          <a:bodyPr/>
          <a:lstStyle/>
          <a:p>
            <a:fld id="{D56DB8AA-803C-49D2-90AA-1140CE72DCD7}" type="slidenum">
              <a:rPr lang="en-GB" smtClean="0"/>
              <a:pPr/>
              <a:t>6</a:t>
            </a:fld>
            <a:endParaRPr lang="en-GB" dirty="0"/>
          </a:p>
        </p:txBody>
      </p:sp>
      <p:sp>
        <p:nvSpPr>
          <p:cNvPr id="3" name="Title 2">
            <a:extLst>
              <a:ext uri="{FF2B5EF4-FFF2-40B4-BE49-F238E27FC236}">
                <a16:creationId xmlns:a16="http://schemas.microsoft.com/office/drawing/2014/main" id="{B9585930-84CC-AFF3-D372-72F8EAF42F96}"/>
              </a:ext>
            </a:extLst>
          </p:cNvPr>
          <p:cNvSpPr>
            <a:spLocks noGrp="1"/>
          </p:cNvSpPr>
          <p:nvPr>
            <p:ph type="title"/>
          </p:nvPr>
        </p:nvSpPr>
        <p:spPr/>
        <p:txBody>
          <a:bodyPr/>
          <a:lstStyle/>
          <a:p>
            <a:r>
              <a:rPr lang="en-GB" dirty="0"/>
              <a:t>Munich Re Icons 4/12</a:t>
            </a:r>
            <a:br>
              <a:rPr lang="en-GB" dirty="0"/>
            </a:br>
            <a:endParaRPr lang="en-US" dirty="0"/>
          </a:p>
        </p:txBody>
      </p:sp>
      <p:sp>
        <p:nvSpPr>
          <p:cNvPr id="5" name="TextBox 4">
            <a:extLst>
              <a:ext uri="{FF2B5EF4-FFF2-40B4-BE49-F238E27FC236}">
                <a16:creationId xmlns:a16="http://schemas.microsoft.com/office/drawing/2014/main" id="{88022096-E2FA-4526-B50B-E4E232B84830}"/>
              </a:ext>
            </a:extLst>
          </p:cNvPr>
          <p:cNvSpPr txBox="1"/>
          <p:nvPr/>
        </p:nvSpPr>
        <p:spPr>
          <a:xfrm>
            <a:off x="517532" y="2077494"/>
            <a:ext cx="553037" cy="215444"/>
          </a:xfrm>
          <a:prstGeom prst="rect">
            <a:avLst/>
          </a:prstGeom>
          <a:noFill/>
          <a:effectLst/>
        </p:spPr>
        <p:txBody>
          <a:bodyPr wrap="none" lIns="0" tIns="0" rIns="0" bIns="0" rtlCol="0" anchor="t">
            <a:spAutoFit/>
          </a:bodyPr>
          <a:lstStyle/>
          <a:p>
            <a:pPr algn="ctr"/>
            <a:r>
              <a:rPr lang="en-GB" sz="700" dirty="0">
                <a:solidFill>
                  <a:schemeClr val="tx2"/>
                </a:solidFill>
              </a:rPr>
              <a:t>Disaster Risk </a:t>
            </a:r>
            <a:br>
              <a:rPr lang="en-GB" sz="700" dirty="0">
                <a:solidFill>
                  <a:schemeClr val="tx2"/>
                </a:solidFill>
              </a:rPr>
            </a:br>
            <a:r>
              <a:rPr lang="en-GB" sz="700" dirty="0">
                <a:solidFill>
                  <a:schemeClr val="tx2"/>
                </a:solidFill>
              </a:rPr>
              <a:t>management</a:t>
            </a:r>
          </a:p>
        </p:txBody>
      </p:sp>
      <p:sp>
        <p:nvSpPr>
          <p:cNvPr id="6" name="TextBox 5">
            <a:extLst>
              <a:ext uri="{FF2B5EF4-FFF2-40B4-BE49-F238E27FC236}">
                <a16:creationId xmlns:a16="http://schemas.microsoft.com/office/drawing/2014/main" id="{AA0493E6-3A6B-4EC0-BBD3-43EF9C710DC7}"/>
              </a:ext>
            </a:extLst>
          </p:cNvPr>
          <p:cNvSpPr txBox="1"/>
          <p:nvPr/>
        </p:nvSpPr>
        <p:spPr>
          <a:xfrm>
            <a:off x="567225" y="2899619"/>
            <a:ext cx="453650" cy="107722"/>
          </a:xfrm>
          <a:prstGeom prst="rect">
            <a:avLst/>
          </a:prstGeom>
          <a:noFill/>
          <a:effectLst/>
        </p:spPr>
        <p:txBody>
          <a:bodyPr wrap="none" lIns="0" tIns="0" rIns="0" bIns="0" rtlCol="0" anchor="t">
            <a:spAutoFit/>
          </a:bodyPr>
          <a:lstStyle/>
          <a:p>
            <a:pPr algn="ctr"/>
            <a:r>
              <a:rPr lang="en-GB" sz="700" dirty="0">
                <a:solidFill>
                  <a:schemeClr val="tx2"/>
                </a:solidFill>
              </a:rPr>
              <a:t>Documents</a:t>
            </a:r>
          </a:p>
        </p:txBody>
      </p:sp>
      <p:sp>
        <p:nvSpPr>
          <p:cNvPr id="9" name="TextBox 8">
            <a:extLst>
              <a:ext uri="{FF2B5EF4-FFF2-40B4-BE49-F238E27FC236}">
                <a16:creationId xmlns:a16="http://schemas.microsoft.com/office/drawing/2014/main" id="{DBD2211A-E130-4B14-9582-8525EC66C434}"/>
              </a:ext>
            </a:extLst>
          </p:cNvPr>
          <p:cNvSpPr txBox="1"/>
          <p:nvPr/>
        </p:nvSpPr>
        <p:spPr>
          <a:xfrm>
            <a:off x="1623880" y="2077494"/>
            <a:ext cx="431208" cy="107722"/>
          </a:xfrm>
          <a:prstGeom prst="rect">
            <a:avLst/>
          </a:prstGeom>
          <a:noFill/>
          <a:effectLst/>
        </p:spPr>
        <p:txBody>
          <a:bodyPr wrap="none" lIns="0" tIns="0" rIns="0" bIns="0" rtlCol="0" anchor="t">
            <a:spAutoFit/>
          </a:bodyPr>
          <a:lstStyle/>
          <a:p>
            <a:pPr algn="ctr"/>
            <a:r>
              <a:rPr lang="en-GB" sz="700" dirty="0">
                <a:solidFill>
                  <a:schemeClr val="tx2"/>
                </a:solidFill>
              </a:rPr>
              <a:t>Discussion</a:t>
            </a:r>
          </a:p>
        </p:txBody>
      </p:sp>
      <p:sp>
        <p:nvSpPr>
          <p:cNvPr id="10" name="TextBox 9">
            <a:extLst>
              <a:ext uri="{FF2B5EF4-FFF2-40B4-BE49-F238E27FC236}">
                <a16:creationId xmlns:a16="http://schemas.microsoft.com/office/drawing/2014/main" id="{6BD45AC1-ED1A-4B1D-A0B3-6DBB3F835454}"/>
              </a:ext>
            </a:extLst>
          </p:cNvPr>
          <p:cNvSpPr txBox="1"/>
          <p:nvPr/>
        </p:nvSpPr>
        <p:spPr>
          <a:xfrm>
            <a:off x="1641513" y="2899619"/>
            <a:ext cx="395942" cy="107722"/>
          </a:xfrm>
          <a:prstGeom prst="rect">
            <a:avLst/>
          </a:prstGeom>
          <a:noFill/>
          <a:effectLst/>
        </p:spPr>
        <p:txBody>
          <a:bodyPr wrap="none" lIns="0" tIns="0" rIns="0" bIns="0" rtlCol="0" anchor="t">
            <a:spAutoFit/>
          </a:bodyPr>
          <a:lstStyle/>
          <a:p>
            <a:pPr algn="ctr"/>
            <a:r>
              <a:rPr lang="en-GB" sz="700">
                <a:solidFill>
                  <a:schemeClr val="tx2"/>
                </a:solidFill>
              </a:rPr>
              <a:t>Download</a:t>
            </a:r>
            <a:endParaRPr lang="en-GB" sz="700" dirty="0">
              <a:solidFill>
                <a:schemeClr val="tx2"/>
              </a:solidFill>
            </a:endParaRPr>
          </a:p>
        </p:txBody>
      </p:sp>
      <p:sp>
        <p:nvSpPr>
          <p:cNvPr id="13" name="TextBox 12">
            <a:extLst>
              <a:ext uri="{FF2B5EF4-FFF2-40B4-BE49-F238E27FC236}">
                <a16:creationId xmlns:a16="http://schemas.microsoft.com/office/drawing/2014/main" id="{6323499E-7D82-41E8-8CAE-FFDBB38D2491}"/>
              </a:ext>
            </a:extLst>
          </p:cNvPr>
          <p:cNvSpPr txBox="1"/>
          <p:nvPr/>
        </p:nvSpPr>
        <p:spPr>
          <a:xfrm>
            <a:off x="2710992" y="2077494"/>
            <a:ext cx="347852" cy="107722"/>
          </a:xfrm>
          <a:prstGeom prst="rect">
            <a:avLst/>
          </a:prstGeom>
          <a:noFill/>
          <a:effectLst/>
        </p:spPr>
        <p:txBody>
          <a:bodyPr wrap="none" lIns="0" tIns="0" rIns="0" bIns="0" rtlCol="0" anchor="t">
            <a:spAutoFit/>
          </a:bodyPr>
          <a:lstStyle/>
          <a:p>
            <a:pPr algn="ctr"/>
            <a:r>
              <a:rPr lang="en-GB" sz="700" dirty="0">
                <a:solidFill>
                  <a:schemeClr val="tx2"/>
                </a:solidFill>
              </a:rPr>
              <a:t>Distance</a:t>
            </a:r>
          </a:p>
        </p:txBody>
      </p:sp>
      <p:sp>
        <p:nvSpPr>
          <p:cNvPr id="14" name="TextBox 13">
            <a:extLst>
              <a:ext uri="{FF2B5EF4-FFF2-40B4-BE49-F238E27FC236}">
                <a16:creationId xmlns:a16="http://schemas.microsoft.com/office/drawing/2014/main" id="{0372A365-B0B4-4522-9518-93332205F42B}"/>
              </a:ext>
            </a:extLst>
          </p:cNvPr>
          <p:cNvSpPr txBox="1"/>
          <p:nvPr/>
        </p:nvSpPr>
        <p:spPr>
          <a:xfrm>
            <a:off x="2567524" y="2899619"/>
            <a:ext cx="634790" cy="107722"/>
          </a:xfrm>
          <a:prstGeom prst="rect">
            <a:avLst/>
          </a:prstGeom>
          <a:noFill/>
          <a:effectLst/>
        </p:spPr>
        <p:txBody>
          <a:bodyPr wrap="none" lIns="0" tIns="0" rIns="0" bIns="0" rtlCol="0" anchor="t">
            <a:spAutoFit/>
          </a:bodyPr>
          <a:lstStyle/>
          <a:p>
            <a:pPr algn="ctr"/>
            <a:r>
              <a:rPr lang="en-GB" sz="700" dirty="0">
                <a:solidFill>
                  <a:schemeClr val="tx2"/>
                </a:solidFill>
              </a:rPr>
              <a:t>Download cloud</a:t>
            </a:r>
          </a:p>
        </p:txBody>
      </p:sp>
      <p:sp>
        <p:nvSpPr>
          <p:cNvPr id="17" name="TextBox 16">
            <a:extLst>
              <a:ext uri="{FF2B5EF4-FFF2-40B4-BE49-F238E27FC236}">
                <a16:creationId xmlns:a16="http://schemas.microsoft.com/office/drawing/2014/main" id="{36B7C57F-9198-437E-ABB5-2ADA62AEBD1F}"/>
              </a:ext>
            </a:extLst>
          </p:cNvPr>
          <p:cNvSpPr txBox="1"/>
          <p:nvPr/>
        </p:nvSpPr>
        <p:spPr>
          <a:xfrm>
            <a:off x="3725968" y="2077494"/>
            <a:ext cx="408765" cy="107722"/>
          </a:xfrm>
          <a:prstGeom prst="rect">
            <a:avLst/>
          </a:prstGeom>
          <a:noFill/>
          <a:effectLst/>
        </p:spPr>
        <p:txBody>
          <a:bodyPr wrap="none" lIns="0" tIns="0" rIns="0" bIns="0" rtlCol="0" anchor="t">
            <a:spAutoFit/>
          </a:bodyPr>
          <a:lstStyle/>
          <a:p>
            <a:pPr algn="ctr"/>
            <a:r>
              <a:rPr lang="en-GB" sz="700">
                <a:solidFill>
                  <a:schemeClr val="tx2"/>
                </a:solidFill>
              </a:rPr>
              <a:t>Document</a:t>
            </a:r>
            <a:endParaRPr lang="en-GB" sz="700" dirty="0">
              <a:solidFill>
                <a:schemeClr val="tx2"/>
              </a:solidFill>
            </a:endParaRPr>
          </a:p>
        </p:txBody>
      </p:sp>
      <p:sp>
        <p:nvSpPr>
          <p:cNvPr id="18" name="TextBox 17">
            <a:extLst>
              <a:ext uri="{FF2B5EF4-FFF2-40B4-BE49-F238E27FC236}">
                <a16:creationId xmlns:a16="http://schemas.microsoft.com/office/drawing/2014/main" id="{AD57C6AA-B819-4327-884D-9085C9EC5E39}"/>
              </a:ext>
            </a:extLst>
          </p:cNvPr>
          <p:cNvSpPr txBox="1"/>
          <p:nvPr/>
        </p:nvSpPr>
        <p:spPr>
          <a:xfrm>
            <a:off x="3662650" y="2899619"/>
            <a:ext cx="535403" cy="107722"/>
          </a:xfrm>
          <a:prstGeom prst="rect">
            <a:avLst/>
          </a:prstGeom>
          <a:noFill/>
          <a:effectLst/>
        </p:spPr>
        <p:txBody>
          <a:bodyPr wrap="none" lIns="0" tIns="0" rIns="0" bIns="0" rtlCol="0" anchor="t">
            <a:spAutoFit/>
          </a:bodyPr>
          <a:lstStyle/>
          <a:p>
            <a:pPr algn="ctr"/>
            <a:r>
              <a:rPr lang="en-GB" sz="700" dirty="0">
                <a:solidFill>
                  <a:schemeClr val="tx2"/>
                </a:solidFill>
              </a:rPr>
              <a:t>Download file</a:t>
            </a:r>
          </a:p>
        </p:txBody>
      </p:sp>
      <p:sp>
        <p:nvSpPr>
          <p:cNvPr id="7" name="TextBox 6">
            <a:extLst>
              <a:ext uri="{FF2B5EF4-FFF2-40B4-BE49-F238E27FC236}">
                <a16:creationId xmlns:a16="http://schemas.microsoft.com/office/drawing/2014/main" id="{A66A102A-5CE1-42EF-A5BF-84EDB0D2E8AE}"/>
              </a:ext>
            </a:extLst>
          </p:cNvPr>
          <p:cNvSpPr txBox="1"/>
          <p:nvPr/>
        </p:nvSpPr>
        <p:spPr>
          <a:xfrm>
            <a:off x="4907484" y="2075562"/>
            <a:ext cx="610745" cy="107722"/>
          </a:xfrm>
          <a:prstGeom prst="rect">
            <a:avLst/>
          </a:prstGeom>
          <a:noFill/>
          <a:effectLst/>
        </p:spPr>
        <p:txBody>
          <a:bodyPr wrap="none" lIns="0" tIns="0" rIns="0" bIns="0" rtlCol="0" anchor="t">
            <a:spAutoFit/>
          </a:bodyPr>
          <a:lstStyle/>
          <a:p>
            <a:pPr algn="ctr"/>
            <a:r>
              <a:rPr lang="en-GB" sz="700" dirty="0">
                <a:solidFill>
                  <a:schemeClr val="tx2"/>
                </a:solidFill>
              </a:rPr>
              <a:t>Enter comment</a:t>
            </a:r>
          </a:p>
        </p:txBody>
      </p:sp>
      <p:sp>
        <p:nvSpPr>
          <p:cNvPr id="8" name="TextBox 7">
            <a:extLst>
              <a:ext uri="{FF2B5EF4-FFF2-40B4-BE49-F238E27FC236}">
                <a16:creationId xmlns:a16="http://schemas.microsoft.com/office/drawing/2014/main" id="{3D939F5E-D5AF-427F-9814-22098EA10EDD}"/>
              </a:ext>
            </a:extLst>
          </p:cNvPr>
          <p:cNvSpPr txBox="1"/>
          <p:nvPr/>
        </p:nvSpPr>
        <p:spPr>
          <a:xfrm>
            <a:off x="5075799" y="2899619"/>
            <a:ext cx="274114" cy="107722"/>
          </a:xfrm>
          <a:prstGeom prst="rect">
            <a:avLst/>
          </a:prstGeom>
          <a:noFill/>
          <a:effectLst/>
        </p:spPr>
        <p:txBody>
          <a:bodyPr wrap="none" lIns="0" tIns="0" rIns="0" bIns="0" rtlCol="0" anchor="t">
            <a:spAutoFit/>
          </a:bodyPr>
          <a:lstStyle/>
          <a:p>
            <a:pPr algn="ctr"/>
            <a:r>
              <a:rPr lang="en-GB" sz="700" dirty="0">
                <a:solidFill>
                  <a:schemeClr val="tx2"/>
                </a:solidFill>
              </a:rPr>
              <a:t>Events</a:t>
            </a:r>
          </a:p>
        </p:txBody>
      </p:sp>
      <p:sp>
        <p:nvSpPr>
          <p:cNvPr id="11" name="TextBox 10">
            <a:extLst>
              <a:ext uri="{FF2B5EF4-FFF2-40B4-BE49-F238E27FC236}">
                <a16:creationId xmlns:a16="http://schemas.microsoft.com/office/drawing/2014/main" id="{68B0F076-0C13-4A22-930E-9EDC79197439}"/>
              </a:ext>
            </a:extLst>
          </p:cNvPr>
          <p:cNvSpPr txBox="1"/>
          <p:nvPr/>
        </p:nvSpPr>
        <p:spPr>
          <a:xfrm>
            <a:off x="5976265" y="2075562"/>
            <a:ext cx="559449" cy="107722"/>
          </a:xfrm>
          <a:prstGeom prst="rect">
            <a:avLst/>
          </a:prstGeom>
          <a:noFill/>
          <a:effectLst/>
        </p:spPr>
        <p:txBody>
          <a:bodyPr wrap="none" lIns="0" tIns="0" rIns="0" bIns="0" rtlCol="0" anchor="t">
            <a:spAutoFit/>
          </a:bodyPr>
          <a:lstStyle/>
          <a:p>
            <a:pPr algn="ctr"/>
            <a:r>
              <a:rPr lang="en-GB" sz="700">
                <a:solidFill>
                  <a:schemeClr val="tx2"/>
                </a:solidFill>
              </a:rPr>
              <a:t>Entertainment</a:t>
            </a:r>
            <a:endParaRPr lang="en-GB" sz="700" dirty="0">
              <a:solidFill>
                <a:schemeClr val="tx2"/>
              </a:solidFill>
            </a:endParaRPr>
          </a:p>
        </p:txBody>
      </p:sp>
      <p:sp>
        <p:nvSpPr>
          <p:cNvPr id="12" name="TextBox 11">
            <a:extLst>
              <a:ext uri="{FF2B5EF4-FFF2-40B4-BE49-F238E27FC236}">
                <a16:creationId xmlns:a16="http://schemas.microsoft.com/office/drawing/2014/main" id="{5D5B9964-8EA2-44FA-A2FF-0F7BAB3AFCE5}"/>
              </a:ext>
            </a:extLst>
          </p:cNvPr>
          <p:cNvSpPr txBox="1"/>
          <p:nvPr/>
        </p:nvSpPr>
        <p:spPr>
          <a:xfrm>
            <a:off x="6059621" y="2899619"/>
            <a:ext cx="392736" cy="107722"/>
          </a:xfrm>
          <a:prstGeom prst="rect">
            <a:avLst/>
          </a:prstGeom>
          <a:noFill/>
          <a:effectLst/>
        </p:spPr>
        <p:txBody>
          <a:bodyPr wrap="none" lIns="0" tIns="0" rIns="0" bIns="0" rtlCol="0" anchor="t">
            <a:spAutoFit/>
          </a:bodyPr>
          <a:lstStyle/>
          <a:p>
            <a:pPr algn="ctr"/>
            <a:r>
              <a:rPr lang="en-GB" sz="700">
                <a:solidFill>
                  <a:schemeClr val="tx2"/>
                </a:solidFill>
              </a:rPr>
              <a:t>Execution</a:t>
            </a:r>
            <a:endParaRPr lang="en-GB" sz="700" dirty="0">
              <a:solidFill>
                <a:schemeClr val="tx2"/>
              </a:solidFill>
            </a:endParaRPr>
          </a:p>
        </p:txBody>
      </p:sp>
      <p:sp>
        <p:nvSpPr>
          <p:cNvPr id="15" name="TextBox 14">
            <a:extLst>
              <a:ext uri="{FF2B5EF4-FFF2-40B4-BE49-F238E27FC236}">
                <a16:creationId xmlns:a16="http://schemas.microsoft.com/office/drawing/2014/main" id="{D8C7B61D-81F3-4B4B-8750-F4EC3BCBA4E5}"/>
              </a:ext>
            </a:extLst>
          </p:cNvPr>
          <p:cNvSpPr txBox="1"/>
          <p:nvPr/>
        </p:nvSpPr>
        <p:spPr>
          <a:xfrm>
            <a:off x="7047450" y="2075562"/>
            <a:ext cx="503343" cy="107722"/>
          </a:xfrm>
          <a:prstGeom prst="rect">
            <a:avLst/>
          </a:prstGeom>
          <a:noFill/>
          <a:effectLst/>
        </p:spPr>
        <p:txBody>
          <a:bodyPr wrap="none" lIns="0" tIns="0" rIns="0" bIns="0" rtlCol="0" anchor="t">
            <a:spAutoFit/>
          </a:bodyPr>
          <a:lstStyle/>
          <a:p>
            <a:pPr algn="ctr"/>
            <a:r>
              <a:rPr lang="en-GB" sz="700">
                <a:solidFill>
                  <a:schemeClr val="tx2"/>
                </a:solidFill>
              </a:rPr>
              <a:t>Environment</a:t>
            </a:r>
            <a:endParaRPr lang="en-GB" sz="700" dirty="0">
              <a:solidFill>
                <a:schemeClr val="tx2"/>
              </a:solidFill>
            </a:endParaRPr>
          </a:p>
        </p:txBody>
      </p:sp>
      <p:sp>
        <p:nvSpPr>
          <p:cNvPr id="19" name="TextBox 18">
            <a:extLst>
              <a:ext uri="{FF2B5EF4-FFF2-40B4-BE49-F238E27FC236}">
                <a16:creationId xmlns:a16="http://schemas.microsoft.com/office/drawing/2014/main" id="{632B2D47-518F-4BCD-85D4-12BFA1A237BB}"/>
              </a:ext>
            </a:extLst>
          </p:cNvPr>
          <p:cNvSpPr txBox="1"/>
          <p:nvPr/>
        </p:nvSpPr>
        <p:spPr>
          <a:xfrm>
            <a:off x="8064935" y="2075562"/>
            <a:ext cx="554640" cy="107722"/>
          </a:xfrm>
          <a:prstGeom prst="rect">
            <a:avLst/>
          </a:prstGeom>
          <a:noFill/>
          <a:effectLst/>
        </p:spPr>
        <p:txBody>
          <a:bodyPr wrap="none" lIns="0" tIns="0" rIns="0" bIns="0" rtlCol="0" anchor="t">
            <a:spAutoFit/>
          </a:bodyPr>
          <a:lstStyle/>
          <a:p>
            <a:pPr algn="ctr"/>
            <a:r>
              <a:rPr lang="en-GB" sz="700">
                <a:solidFill>
                  <a:schemeClr val="tx2"/>
                </a:solidFill>
              </a:rPr>
              <a:t>Event support</a:t>
            </a:r>
            <a:endParaRPr lang="en-GB" sz="700" dirty="0">
              <a:solidFill>
                <a:schemeClr val="tx2"/>
              </a:solidFill>
            </a:endParaRPr>
          </a:p>
        </p:txBody>
      </p:sp>
      <p:sp>
        <p:nvSpPr>
          <p:cNvPr id="20" name="TextBox 19">
            <a:extLst>
              <a:ext uri="{FF2B5EF4-FFF2-40B4-BE49-F238E27FC236}">
                <a16:creationId xmlns:a16="http://schemas.microsoft.com/office/drawing/2014/main" id="{5B7C8164-EB46-43F3-B155-FF0A24695F6A}"/>
              </a:ext>
            </a:extLst>
          </p:cNvPr>
          <p:cNvSpPr txBox="1"/>
          <p:nvPr/>
        </p:nvSpPr>
        <p:spPr>
          <a:xfrm>
            <a:off x="8267715" y="2899619"/>
            <a:ext cx="149080" cy="107722"/>
          </a:xfrm>
          <a:prstGeom prst="rect">
            <a:avLst/>
          </a:prstGeom>
          <a:noFill/>
          <a:effectLst/>
        </p:spPr>
        <p:txBody>
          <a:bodyPr wrap="none" lIns="0" tIns="0" rIns="0" bIns="0" rtlCol="0" anchor="t">
            <a:spAutoFit/>
          </a:bodyPr>
          <a:lstStyle/>
          <a:p>
            <a:pPr algn="ctr"/>
            <a:r>
              <a:rPr lang="en-GB" sz="700">
                <a:solidFill>
                  <a:schemeClr val="tx2"/>
                </a:solidFill>
              </a:rPr>
              <a:t>Exit</a:t>
            </a:r>
            <a:endParaRPr lang="en-GB" sz="700" dirty="0">
              <a:solidFill>
                <a:schemeClr val="tx2"/>
              </a:solidFill>
            </a:endParaRPr>
          </a:p>
        </p:txBody>
      </p:sp>
      <p:sp>
        <p:nvSpPr>
          <p:cNvPr id="21" name="TextBox 20">
            <a:extLst>
              <a:ext uri="{FF2B5EF4-FFF2-40B4-BE49-F238E27FC236}">
                <a16:creationId xmlns:a16="http://schemas.microsoft.com/office/drawing/2014/main" id="{FF414406-9A65-442B-9A20-AE2BF1B20F98}"/>
              </a:ext>
            </a:extLst>
          </p:cNvPr>
          <p:cNvSpPr txBox="1"/>
          <p:nvPr/>
        </p:nvSpPr>
        <p:spPr>
          <a:xfrm>
            <a:off x="5061371" y="3723675"/>
            <a:ext cx="302968" cy="107722"/>
          </a:xfrm>
          <a:prstGeom prst="rect">
            <a:avLst/>
          </a:prstGeom>
          <a:noFill/>
          <a:effectLst/>
        </p:spPr>
        <p:txBody>
          <a:bodyPr wrap="none" lIns="0" tIns="0" rIns="0" bIns="0" rtlCol="0" anchor="t">
            <a:spAutoFit/>
          </a:bodyPr>
          <a:lstStyle/>
          <a:p>
            <a:pPr algn="ctr"/>
            <a:r>
              <a:rPr lang="en-GB" sz="700" dirty="0">
                <a:solidFill>
                  <a:schemeClr val="tx2"/>
                </a:solidFill>
              </a:rPr>
              <a:t>Expand</a:t>
            </a:r>
          </a:p>
        </p:txBody>
      </p:sp>
      <p:sp>
        <p:nvSpPr>
          <p:cNvPr id="22" name="TextBox 21">
            <a:extLst>
              <a:ext uri="{FF2B5EF4-FFF2-40B4-BE49-F238E27FC236}">
                <a16:creationId xmlns:a16="http://schemas.microsoft.com/office/drawing/2014/main" id="{573853A6-C654-4D84-850F-5E5902FB1B68}"/>
              </a:ext>
            </a:extLst>
          </p:cNvPr>
          <p:cNvSpPr txBox="1"/>
          <p:nvPr/>
        </p:nvSpPr>
        <p:spPr>
          <a:xfrm>
            <a:off x="5019693" y="4547732"/>
            <a:ext cx="386324" cy="107722"/>
          </a:xfrm>
          <a:prstGeom prst="rect">
            <a:avLst/>
          </a:prstGeom>
          <a:noFill/>
          <a:effectLst/>
        </p:spPr>
        <p:txBody>
          <a:bodyPr wrap="none" lIns="0" tIns="0" rIns="0" bIns="0" rtlCol="0" anchor="t">
            <a:spAutoFit/>
          </a:bodyPr>
          <a:lstStyle/>
          <a:p>
            <a:pPr algn="ctr"/>
            <a:r>
              <a:rPr lang="en-GB" sz="700" dirty="0">
                <a:solidFill>
                  <a:schemeClr val="tx2"/>
                </a:solidFill>
              </a:rPr>
              <a:t>Explosion</a:t>
            </a:r>
          </a:p>
        </p:txBody>
      </p:sp>
      <p:sp>
        <p:nvSpPr>
          <p:cNvPr id="25" name="TextBox 24">
            <a:extLst>
              <a:ext uri="{FF2B5EF4-FFF2-40B4-BE49-F238E27FC236}">
                <a16:creationId xmlns:a16="http://schemas.microsoft.com/office/drawing/2014/main" id="{CA2B3FFB-7AC6-4D10-82F1-D6E8DE4DCE67}"/>
              </a:ext>
            </a:extLst>
          </p:cNvPr>
          <p:cNvSpPr txBox="1"/>
          <p:nvPr/>
        </p:nvSpPr>
        <p:spPr>
          <a:xfrm>
            <a:off x="6012230" y="3723675"/>
            <a:ext cx="492122" cy="215444"/>
          </a:xfrm>
          <a:prstGeom prst="rect">
            <a:avLst/>
          </a:prstGeom>
          <a:noFill/>
          <a:effectLst/>
        </p:spPr>
        <p:txBody>
          <a:bodyPr wrap="none" lIns="0" tIns="0" rIns="0" bIns="0" rtlCol="0" anchor="t">
            <a:spAutoFit/>
          </a:bodyPr>
          <a:lstStyle/>
          <a:p>
            <a:pPr algn="ctr"/>
            <a:r>
              <a:rPr lang="en-GB" sz="700" dirty="0">
                <a:solidFill>
                  <a:schemeClr val="tx2"/>
                </a:solidFill>
              </a:rPr>
              <a:t>Expand side</a:t>
            </a:r>
            <a:br>
              <a:rPr lang="en-GB" sz="700" dirty="0">
                <a:solidFill>
                  <a:schemeClr val="tx2"/>
                </a:solidFill>
              </a:rPr>
            </a:br>
            <a:r>
              <a:rPr lang="en-GB" sz="700" dirty="0">
                <a:solidFill>
                  <a:schemeClr val="tx2"/>
                </a:solidFill>
              </a:rPr>
              <a:t>navigation</a:t>
            </a:r>
          </a:p>
        </p:txBody>
      </p:sp>
      <p:sp>
        <p:nvSpPr>
          <p:cNvPr id="26" name="TextBox 25">
            <a:extLst>
              <a:ext uri="{FF2B5EF4-FFF2-40B4-BE49-F238E27FC236}">
                <a16:creationId xmlns:a16="http://schemas.microsoft.com/office/drawing/2014/main" id="{DD981021-E528-4E24-8CA1-9CBA58DA04C2}"/>
              </a:ext>
            </a:extLst>
          </p:cNvPr>
          <p:cNvSpPr txBox="1"/>
          <p:nvPr/>
        </p:nvSpPr>
        <p:spPr>
          <a:xfrm>
            <a:off x="5996200" y="4547732"/>
            <a:ext cx="524182" cy="107722"/>
          </a:xfrm>
          <a:prstGeom prst="rect">
            <a:avLst/>
          </a:prstGeom>
          <a:noFill/>
          <a:effectLst/>
        </p:spPr>
        <p:txBody>
          <a:bodyPr wrap="none" lIns="0" tIns="0" rIns="0" bIns="0" rtlCol="0" anchor="t">
            <a:spAutoFit/>
          </a:bodyPr>
          <a:lstStyle/>
          <a:p>
            <a:pPr algn="ctr"/>
            <a:r>
              <a:rPr lang="en-GB" sz="700">
                <a:solidFill>
                  <a:schemeClr val="tx2"/>
                </a:solidFill>
              </a:rPr>
              <a:t>Express train</a:t>
            </a:r>
            <a:endParaRPr lang="en-GB" sz="700" dirty="0">
              <a:solidFill>
                <a:schemeClr val="tx2"/>
              </a:solidFill>
            </a:endParaRPr>
          </a:p>
        </p:txBody>
      </p:sp>
      <p:sp>
        <p:nvSpPr>
          <p:cNvPr id="29" name="TextBox 28">
            <a:extLst>
              <a:ext uri="{FF2B5EF4-FFF2-40B4-BE49-F238E27FC236}">
                <a16:creationId xmlns:a16="http://schemas.microsoft.com/office/drawing/2014/main" id="{7C3EE73E-EB0F-4477-BA50-E0DECDE01D35}"/>
              </a:ext>
            </a:extLst>
          </p:cNvPr>
          <p:cNvSpPr txBox="1"/>
          <p:nvPr/>
        </p:nvSpPr>
        <p:spPr>
          <a:xfrm>
            <a:off x="7173882" y="3723675"/>
            <a:ext cx="259687" cy="107722"/>
          </a:xfrm>
          <a:prstGeom prst="rect">
            <a:avLst/>
          </a:prstGeom>
          <a:noFill/>
          <a:effectLst/>
        </p:spPr>
        <p:txBody>
          <a:bodyPr wrap="none" lIns="0" tIns="0" rIns="0" bIns="0" rtlCol="0" anchor="t">
            <a:spAutoFit/>
          </a:bodyPr>
          <a:lstStyle/>
          <a:p>
            <a:pPr algn="ctr"/>
            <a:r>
              <a:rPr lang="en-GB" sz="700" dirty="0">
                <a:solidFill>
                  <a:schemeClr val="tx2"/>
                </a:solidFill>
              </a:rPr>
              <a:t>Expert</a:t>
            </a:r>
          </a:p>
        </p:txBody>
      </p:sp>
      <p:sp>
        <p:nvSpPr>
          <p:cNvPr id="30" name="TextBox 29">
            <a:extLst>
              <a:ext uri="{FF2B5EF4-FFF2-40B4-BE49-F238E27FC236}">
                <a16:creationId xmlns:a16="http://schemas.microsoft.com/office/drawing/2014/main" id="{A7AA673E-8D69-4CC0-A0C1-ACA9E124EE7B}"/>
              </a:ext>
            </a:extLst>
          </p:cNvPr>
          <p:cNvSpPr txBox="1"/>
          <p:nvPr/>
        </p:nvSpPr>
        <p:spPr>
          <a:xfrm>
            <a:off x="7056861" y="4547732"/>
            <a:ext cx="493725" cy="107722"/>
          </a:xfrm>
          <a:prstGeom prst="rect">
            <a:avLst/>
          </a:prstGeom>
          <a:noFill/>
          <a:effectLst/>
        </p:spPr>
        <p:txBody>
          <a:bodyPr wrap="none" lIns="0" tIns="0" rIns="0" bIns="0" rtlCol="0" anchor="t">
            <a:spAutoFit/>
          </a:bodyPr>
          <a:lstStyle/>
          <a:p>
            <a:pPr algn="ctr"/>
            <a:r>
              <a:rPr lang="en-GB" sz="700" dirty="0">
                <a:solidFill>
                  <a:schemeClr val="tx2"/>
                </a:solidFill>
              </a:rPr>
              <a:t>Eye crossed</a:t>
            </a:r>
          </a:p>
        </p:txBody>
      </p:sp>
      <p:sp>
        <p:nvSpPr>
          <p:cNvPr id="33" name="TextBox 32">
            <a:extLst>
              <a:ext uri="{FF2B5EF4-FFF2-40B4-BE49-F238E27FC236}">
                <a16:creationId xmlns:a16="http://schemas.microsoft.com/office/drawing/2014/main" id="{47D2F6CE-7030-456C-B848-F32BE09D543F}"/>
              </a:ext>
            </a:extLst>
          </p:cNvPr>
          <p:cNvSpPr txBox="1"/>
          <p:nvPr/>
        </p:nvSpPr>
        <p:spPr>
          <a:xfrm>
            <a:off x="8265311" y="3723675"/>
            <a:ext cx="153888" cy="107722"/>
          </a:xfrm>
          <a:prstGeom prst="rect">
            <a:avLst/>
          </a:prstGeom>
          <a:noFill/>
          <a:effectLst/>
        </p:spPr>
        <p:txBody>
          <a:bodyPr wrap="none" lIns="0" tIns="0" rIns="0" bIns="0" rtlCol="0" anchor="t">
            <a:spAutoFit/>
          </a:bodyPr>
          <a:lstStyle/>
          <a:p>
            <a:pPr algn="ctr"/>
            <a:r>
              <a:rPr lang="en-GB" sz="700">
                <a:solidFill>
                  <a:schemeClr val="tx2"/>
                </a:solidFill>
              </a:rPr>
              <a:t>Eye</a:t>
            </a:r>
            <a:endParaRPr lang="en-GB" sz="700" dirty="0">
              <a:solidFill>
                <a:schemeClr val="tx2"/>
              </a:solidFill>
            </a:endParaRPr>
          </a:p>
        </p:txBody>
      </p:sp>
      <p:sp>
        <p:nvSpPr>
          <p:cNvPr id="34" name="TextBox 33">
            <a:extLst>
              <a:ext uri="{FF2B5EF4-FFF2-40B4-BE49-F238E27FC236}">
                <a16:creationId xmlns:a16="http://schemas.microsoft.com/office/drawing/2014/main" id="{0FB02A60-9ACA-43F1-ACB8-A6C092A270F7}"/>
              </a:ext>
            </a:extLst>
          </p:cNvPr>
          <p:cNvSpPr txBox="1"/>
          <p:nvPr/>
        </p:nvSpPr>
        <p:spPr>
          <a:xfrm>
            <a:off x="8145887" y="4547732"/>
            <a:ext cx="392736" cy="107722"/>
          </a:xfrm>
          <a:prstGeom prst="rect">
            <a:avLst/>
          </a:prstGeom>
          <a:noFill/>
          <a:effectLst/>
        </p:spPr>
        <p:txBody>
          <a:bodyPr wrap="none" lIns="0" tIns="0" rIns="0" bIns="0" rtlCol="0" anchor="t">
            <a:spAutoFit/>
          </a:bodyPr>
          <a:lstStyle/>
          <a:p>
            <a:pPr algn="ctr"/>
            <a:r>
              <a:rPr lang="en-GB" sz="700" dirty="0">
                <a:solidFill>
                  <a:schemeClr val="tx2"/>
                </a:solidFill>
              </a:rPr>
              <a:t>Facebook</a:t>
            </a:r>
          </a:p>
        </p:txBody>
      </p:sp>
      <p:sp>
        <p:nvSpPr>
          <p:cNvPr id="23" name="TextBox 22">
            <a:extLst>
              <a:ext uri="{FF2B5EF4-FFF2-40B4-BE49-F238E27FC236}">
                <a16:creationId xmlns:a16="http://schemas.microsoft.com/office/drawing/2014/main" id="{A1660E40-52A5-490E-A1E9-232C3F59D60F}"/>
              </a:ext>
            </a:extLst>
          </p:cNvPr>
          <p:cNvSpPr txBox="1"/>
          <p:nvPr/>
        </p:nvSpPr>
        <p:spPr>
          <a:xfrm>
            <a:off x="567225" y="3723675"/>
            <a:ext cx="453650" cy="107722"/>
          </a:xfrm>
          <a:prstGeom prst="rect">
            <a:avLst/>
          </a:prstGeom>
          <a:noFill/>
          <a:effectLst/>
        </p:spPr>
        <p:txBody>
          <a:bodyPr wrap="none" lIns="0" tIns="0" rIns="0" bIns="0" rtlCol="0" anchor="t">
            <a:spAutoFit/>
          </a:bodyPr>
          <a:lstStyle/>
          <a:p>
            <a:pPr algn="ctr"/>
            <a:r>
              <a:rPr lang="en-GB" sz="700" dirty="0">
                <a:solidFill>
                  <a:schemeClr val="tx2"/>
                </a:solidFill>
              </a:rPr>
              <a:t>Dress code</a:t>
            </a:r>
          </a:p>
        </p:txBody>
      </p:sp>
      <p:sp>
        <p:nvSpPr>
          <p:cNvPr id="24" name="TextBox 23">
            <a:extLst>
              <a:ext uri="{FF2B5EF4-FFF2-40B4-BE49-F238E27FC236}">
                <a16:creationId xmlns:a16="http://schemas.microsoft.com/office/drawing/2014/main" id="{B64BF248-DAB9-4864-850F-651FD9C0745D}"/>
              </a:ext>
            </a:extLst>
          </p:cNvPr>
          <p:cNvSpPr txBox="1"/>
          <p:nvPr/>
        </p:nvSpPr>
        <p:spPr>
          <a:xfrm>
            <a:off x="647376" y="4547732"/>
            <a:ext cx="293349" cy="107722"/>
          </a:xfrm>
          <a:prstGeom prst="rect">
            <a:avLst/>
          </a:prstGeom>
          <a:noFill/>
          <a:effectLst/>
        </p:spPr>
        <p:txBody>
          <a:bodyPr wrap="none" lIns="0" tIns="0" rIns="0" bIns="0" rtlCol="0" anchor="t">
            <a:spAutoFit/>
          </a:bodyPr>
          <a:lstStyle/>
          <a:p>
            <a:pPr algn="ctr"/>
            <a:r>
              <a:rPr lang="en-GB" sz="700" dirty="0">
                <a:solidFill>
                  <a:schemeClr val="tx2"/>
                </a:solidFill>
              </a:rPr>
              <a:t>Edit file</a:t>
            </a:r>
          </a:p>
        </p:txBody>
      </p:sp>
      <p:sp>
        <p:nvSpPr>
          <p:cNvPr id="27" name="TextBox 26">
            <a:extLst>
              <a:ext uri="{FF2B5EF4-FFF2-40B4-BE49-F238E27FC236}">
                <a16:creationId xmlns:a16="http://schemas.microsoft.com/office/drawing/2014/main" id="{7138C2D2-0B5F-4B4E-A23D-0E2693F3D5ED}"/>
              </a:ext>
            </a:extLst>
          </p:cNvPr>
          <p:cNvSpPr txBox="1"/>
          <p:nvPr/>
        </p:nvSpPr>
        <p:spPr>
          <a:xfrm>
            <a:off x="1679985" y="3723675"/>
            <a:ext cx="318998" cy="107722"/>
          </a:xfrm>
          <a:prstGeom prst="rect">
            <a:avLst/>
          </a:prstGeom>
          <a:noFill/>
          <a:effectLst/>
        </p:spPr>
        <p:txBody>
          <a:bodyPr wrap="none" lIns="0" tIns="0" rIns="0" bIns="0" rtlCol="0" anchor="t">
            <a:spAutoFit/>
          </a:bodyPr>
          <a:lstStyle/>
          <a:p>
            <a:pPr algn="ctr"/>
            <a:r>
              <a:rPr lang="en-GB" sz="700">
                <a:solidFill>
                  <a:schemeClr val="tx2"/>
                </a:solidFill>
              </a:rPr>
              <a:t>Drought</a:t>
            </a:r>
            <a:endParaRPr lang="en-GB" sz="700" dirty="0">
              <a:solidFill>
                <a:schemeClr val="tx2"/>
              </a:solidFill>
            </a:endParaRPr>
          </a:p>
        </p:txBody>
      </p:sp>
      <p:sp>
        <p:nvSpPr>
          <p:cNvPr id="28" name="TextBox 27">
            <a:extLst>
              <a:ext uri="{FF2B5EF4-FFF2-40B4-BE49-F238E27FC236}">
                <a16:creationId xmlns:a16="http://schemas.microsoft.com/office/drawing/2014/main" id="{E6A49141-C291-4B3A-9235-76792268830B}"/>
              </a:ext>
            </a:extLst>
          </p:cNvPr>
          <p:cNvSpPr txBox="1"/>
          <p:nvPr/>
        </p:nvSpPr>
        <p:spPr>
          <a:xfrm>
            <a:off x="1640711" y="4547732"/>
            <a:ext cx="397545" cy="107722"/>
          </a:xfrm>
          <a:prstGeom prst="rect">
            <a:avLst/>
          </a:prstGeom>
          <a:noFill/>
          <a:effectLst/>
        </p:spPr>
        <p:txBody>
          <a:bodyPr wrap="none" lIns="0" tIns="0" rIns="0" bIns="0" rtlCol="0" anchor="t">
            <a:spAutoFit/>
          </a:bodyPr>
          <a:lstStyle/>
          <a:p>
            <a:pPr algn="ctr"/>
            <a:r>
              <a:rPr lang="en-GB" sz="700">
                <a:solidFill>
                  <a:schemeClr val="tx2"/>
                </a:solidFill>
              </a:rPr>
              <a:t>Education</a:t>
            </a:r>
            <a:endParaRPr lang="en-GB" sz="700" dirty="0">
              <a:solidFill>
                <a:schemeClr val="tx2"/>
              </a:solidFill>
            </a:endParaRPr>
          </a:p>
        </p:txBody>
      </p:sp>
      <p:sp>
        <p:nvSpPr>
          <p:cNvPr id="31" name="TextBox 30">
            <a:extLst>
              <a:ext uri="{FF2B5EF4-FFF2-40B4-BE49-F238E27FC236}">
                <a16:creationId xmlns:a16="http://schemas.microsoft.com/office/drawing/2014/main" id="{B8835558-235E-42FB-98C4-F45E812F6D58}"/>
              </a:ext>
            </a:extLst>
          </p:cNvPr>
          <p:cNvSpPr txBox="1"/>
          <p:nvPr/>
        </p:nvSpPr>
        <p:spPr>
          <a:xfrm>
            <a:off x="2687748" y="3723675"/>
            <a:ext cx="394339" cy="107722"/>
          </a:xfrm>
          <a:prstGeom prst="rect">
            <a:avLst/>
          </a:prstGeom>
          <a:noFill/>
          <a:effectLst/>
        </p:spPr>
        <p:txBody>
          <a:bodyPr wrap="none" lIns="0" tIns="0" rIns="0" bIns="0" rtlCol="0" anchor="t">
            <a:spAutoFit/>
          </a:bodyPr>
          <a:lstStyle/>
          <a:p>
            <a:pPr algn="ctr"/>
            <a:r>
              <a:rPr lang="en-GB" sz="700">
                <a:solidFill>
                  <a:schemeClr val="tx2"/>
                </a:solidFill>
              </a:rPr>
              <a:t>Drought 2</a:t>
            </a:r>
            <a:endParaRPr lang="en-GB" sz="700" dirty="0">
              <a:solidFill>
                <a:schemeClr val="tx2"/>
              </a:solidFill>
            </a:endParaRPr>
          </a:p>
        </p:txBody>
      </p:sp>
      <p:sp>
        <p:nvSpPr>
          <p:cNvPr id="32" name="TextBox 31">
            <a:extLst>
              <a:ext uri="{FF2B5EF4-FFF2-40B4-BE49-F238E27FC236}">
                <a16:creationId xmlns:a16="http://schemas.microsoft.com/office/drawing/2014/main" id="{34E4B73E-2458-4117-84F9-9E5BE2F56CF3}"/>
              </a:ext>
            </a:extLst>
          </p:cNvPr>
          <p:cNvSpPr txBox="1"/>
          <p:nvPr/>
        </p:nvSpPr>
        <p:spPr>
          <a:xfrm>
            <a:off x="2658093" y="4547732"/>
            <a:ext cx="453650" cy="107722"/>
          </a:xfrm>
          <a:prstGeom prst="rect">
            <a:avLst/>
          </a:prstGeom>
          <a:noFill/>
          <a:effectLst/>
        </p:spPr>
        <p:txBody>
          <a:bodyPr wrap="none" lIns="0" tIns="0" rIns="0" bIns="0" rtlCol="0" anchor="t">
            <a:spAutoFit/>
          </a:bodyPr>
          <a:lstStyle/>
          <a:p>
            <a:pPr algn="ctr"/>
            <a:r>
              <a:rPr lang="en-GB" sz="700" dirty="0">
                <a:solidFill>
                  <a:schemeClr val="tx2"/>
                </a:solidFill>
              </a:rPr>
              <a:t>Emergency</a:t>
            </a:r>
          </a:p>
        </p:txBody>
      </p:sp>
      <p:sp>
        <p:nvSpPr>
          <p:cNvPr id="35" name="TextBox 34">
            <a:extLst>
              <a:ext uri="{FF2B5EF4-FFF2-40B4-BE49-F238E27FC236}">
                <a16:creationId xmlns:a16="http://schemas.microsoft.com/office/drawing/2014/main" id="{FB581E1B-7339-4B69-A929-22AE87F1C7DF}"/>
              </a:ext>
            </a:extLst>
          </p:cNvPr>
          <p:cNvSpPr txBox="1"/>
          <p:nvPr/>
        </p:nvSpPr>
        <p:spPr>
          <a:xfrm>
            <a:off x="3701121" y="3723675"/>
            <a:ext cx="458460" cy="107722"/>
          </a:xfrm>
          <a:prstGeom prst="rect">
            <a:avLst/>
          </a:prstGeom>
          <a:noFill/>
          <a:effectLst/>
        </p:spPr>
        <p:txBody>
          <a:bodyPr wrap="none" lIns="0" tIns="0" rIns="0" bIns="0" rtlCol="0" anchor="t">
            <a:spAutoFit/>
          </a:bodyPr>
          <a:lstStyle/>
          <a:p>
            <a:pPr algn="ctr"/>
            <a:r>
              <a:rPr lang="en-GB" sz="700" dirty="0">
                <a:solidFill>
                  <a:schemeClr val="tx2"/>
                </a:solidFill>
              </a:rPr>
              <a:t>Earthquake</a:t>
            </a:r>
          </a:p>
        </p:txBody>
      </p:sp>
      <p:sp>
        <p:nvSpPr>
          <p:cNvPr id="36" name="TextBox 35">
            <a:extLst>
              <a:ext uri="{FF2B5EF4-FFF2-40B4-BE49-F238E27FC236}">
                <a16:creationId xmlns:a16="http://schemas.microsoft.com/office/drawing/2014/main" id="{FEBE69A9-C273-4423-8BFF-630C5174A871}"/>
              </a:ext>
            </a:extLst>
          </p:cNvPr>
          <p:cNvSpPr txBox="1"/>
          <p:nvPr/>
        </p:nvSpPr>
        <p:spPr>
          <a:xfrm>
            <a:off x="3788486" y="4547732"/>
            <a:ext cx="283731" cy="107722"/>
          </a:xfrm>
          <a:prstGeom prst="rect">
            <a:avLst/>
          </a:prstGeom>
          <a:noFill/>
          <a:effectLst/>
        </p:spPr>
        <p:txBody>
          <a:bodyPr wrap="none" lIns="0" tIns="0" rIns="0" bIns="0" rtlCol="0" anchor="t">
            <a:spAutoFit/>
          </a:bodyPr>
          <a:lstStyle/>
          <a:p>
            <a:pPr algn="ctr"/>
            <a:r>
              <a:rPr lang="en-GB" sz="700">
                <a:solidFill>
                  <a:schemeClr val="tx2"/>
                </a:solidFill>
              </a:rPr>
              <a:t>Energy</a:t>
            </a:r>
            <a:endParaRPr lang="en-GB" sz="700" dirty="0">
              <a:solidFill>
                <a:schemeClr val="tx2"/>
              </a:solidFill>
            </a:endParaRPr>
          </a:p>
        </p:txBody>
      </p:sp>
      <p:sp>
        <p:nvSpPr>
          <p:cNvPr id="86" name="TextBox 85">
            <a:extLst>
              <a:ext uri="{FF2B5EF4-FFF2-40B4-BE49-F238E27FC236}">
                <a16:creationId xmlns:a16="http://schemas.microsoft.com/office/drawing/2014/main" id="{82BFACC5-3AE3-4236-BD4A-E69FBC76718D}"/>
              </a:ext>
            </a:extLst>
          </p:cNvPr>
          <p:cNvSpPr txBox="1"/>
          <p:nvPr/>
        </p:nvSpPr>
        <p:spPr>
          <a:xfrm>
            <a:off x="7125196" y="2899619"/>
            <a:ext cx="347852" cy="107722"/>
          </a:xfrm>
          <a:prstGeom prst="rect">
            <a:avLst/>
          </a:prstGeom>
          <a:noFill/>
          <a:effectLst/>
        </p:spPr>
        <p:txBody>
          <a:bodyPr wrap="none" lIns="0" tIns="0" rIns="0" bIns="0" rtlCol="0" anchor="t">
            <a:spAutoFit/>
          </a:bodyPr>
          <a:lstStyle/>
          <a:p>
            <a:pPr algn="ctr"/>
            <a:r>
              <a:rPr lang="en-GB" sz="700">
                <a:solidFill>
                  <a:schemeClr val="tx2"/>
                </a:solidFill>
              </a:rPr>
              <a:t>Exhibitor</a:t>
            </a:r>
            <a:endParaRPr lang="en-GB" sz="700" dirty="0">
              <a:solidFill>
                <a:schemeClr val="tx2"/>
              </a:solidFill>
            </a:endParaRPr>
          </a:p>
        </p:txBody>
      </p:sp>
      <p:sp>
        <p:nvSpPr>
          <p:cNvPr id="181" name="Freihandform: Form 42">
            <a:extLst>
              <a:ext uri="{FF2B5EF4-FFF2-40B4-BE49-F238E27FC236}">
                <a16:creationId xmlns:a16="http://schemas.microsoft.com/office/drawing/2014/main" id="{CDED95C1-6089-435E-ABD0-E45962EC5F2D}"/>
              </a:ext>
            </a:extLst>
          </p:cNvPr>
          <p:cNvSpPr>
            <a:spLocks noChangeAspect="1"/>
          </p:cNvSpPr>
          <p:nvPr/>
        </p:nvSpPr>
        <p:spPr>
          <a:xfrm>
            <a:off x="6075124" y="1651382"/>
            <a:ext cx="366334" cy="353702"/>
          </a:xfrm>
          <a:custGeom>
            <a:avLst/>
            <a:gdLst>
              <a:gd name="connsiteX0" fmla="*/ 45663 w 276225"/>
              <a:gd name="connsiteY0" fmla="*/ 47949 h 266700"/>
              <a:gd name="connsiteX1" fmla="*/ 28718 w 276225"/>
              <a:gd name="connsiteY1" fmla="*/ 42205 h 266700"/>
              <a:gd name="connsiteX2" fmla="*/ 14383 w 276225"/>
              <a:gd name="connsiteY2" fmla="*/ 52902 h 266700"/>
              <a:gd name="connsiteX3" fmla="*/ 14611 w 276225"/>
              <a:gd name="connsiteY3" fmla="*/ 35014 h 266700"/>
              <a:gd name="connsiteX4" fmla="*/ 0 w 276225"/>
              <a:gd name="connsiteY4" fmla="*/ 24679 h 266700"/>
              <a:gd name="connsiteX5" fmla="*/ 17088 w 276225"/>
              <a:gd name="connsiteY5" fmla="*/ 19364 h 266700"/>
              <a:gd name="connsiteX6" fmla="*/ 22403 w 276225"/>
              <a:gd name="connsiteY6" fmla="*/ 2276 h 266700"/>
              <a:gd name="connsiteX7" fmla="*/ 32728 w 276225"/>
              <a:gd name="connsiteY7" fmla="*/ 16897 h 266700"/>
              <a:gd name="connsiteX8" fmla="*/ 50616 w 276225"/>
              <a:gd name="connsiteY8" fmla="*/ 16669 h 266700"/>
              <a:gd name="connsiteX9" fmla="*/ 39910 w 276225"/>
              <a:gd name="connsiteY9" fmla="*/ 31004 h 266700"/>
              <a:gd name="connsiteX10" fmla="*/ 45663 w 276225"/>
              <a:gd name="connsiteY10" fmla="*/ 47949 h 266700"/>
              <a:gd name="connsiteX11" fmla="*/ 156915 w 276225"/>
              <a:gd name="connsiteY11" fmla="*/ 17707 h 266700"/>
              <a:gd name="connsiteX12" fmla="*/ 154343 w 276225"/>
              <a:gd name="connsiteY12" fmla="*/ 0 h 266700"/>
              <a:gd name="connsiteX13" fmla="*/ 141856 w 276225"/>
              <a:gd name="connsiteY13" fmla="*/ 12811 h 266700"/>
              <a:gd name="connsiteX14" fmla="*/ 124225 w 276225"/>
              <a:gd name="connsiteY14" fmla="*/ 9782 h 266700"/>
              <a:gd name="connsiteX15" fmla="*/ 132550 w 276225"/>
              <a:gd name="connsiteY15" fmla="*/ 25622 h 266700"/>
              <a:gd name="connsiteX16" fmla="*/ 124225 w 276225"/>
              <a:gd name="connsiteY16" fmla="*/ 41462 h 266700"/>
              <a:gd name="connsiteX17" fmla="*/ 141856 w 276225"/>
              <a:gd name="connsiteY17" fmla="*/ 38433 h 266700"/>
              <a:gd name="connsiteX18" fmla="*/ 154343 w 276225"/>
              <a:gd name="connsiteY18" fmla="*/ 51244 h 266700"/>
              <a:gd name="connsiteX19" fmla="*/ 156915 w 276225"/>
              <a:gd name="connsiteY19" fmla="*/ 33538 h 266700"/>
              <a:gd name="connsiteX20" fmla="*/ 172955 w 276225"/>
              <a:gd name="connsiteY20" fmla="*/ 25622 h 266700"/>
              <a:gd name="connsiteX21" fmla="*/ 156915 w 276225"/>
              <a:gd name="connsiteY21" fmla="*/ 17707 h 266700"/>
              <a:gd name="connsiteX22" fmla="*/ 252889 w 276225"/>
              <a:gd name="connsiteY22" fmla="*/ 72199 h 266700"/>
              <a:gd name="connsiteX23" fmla="*/ 261414 w 276225"/>
              <a:gd name="connsiteY23" fmla="*/ 56474 h 266700"/>
              <a:gd name="connsiteX24" fmla="*/ 243745 w 276225"/>
              <a:gd name="connsiteY24" fmla="*/ 59274 h 266700"/>
              <a:gd name="connsiteX25" fmla="*/ 231419 w 276225"/>
              <a:gd name="connsiteY25" fmla="*/ 46301 h 266700"/>
              <a:gd name="connsiteX26" fmla="*/ 228619 w 276225"/>
              <a:gd name="connsiteY26" fmla="*/ 63979 h 266700"/>
              <a:gd name="connsiteX27" fmla="*/ 212474 w 276225"/>
              <a:gd name="connsiteY27" fmla="*/ 71695 h 266700"/>
              <a:gd name="connsiteX28" fmla="*/ 228419 w 276225"/>
              <a:gd name="connsiteY28" fmla="*/ 79820 h 266700"/>
              <a:gd name="connsiteX29" fmla="*/ 230762 w 276225"/>
              <a:gd name="connsiteY29" fmla="*/ 97555 h 266700"/>
              <a:gd name="connsiteX30" fmla="*/ 243411 w 276225"/>
              <a:gd name="connsiteY30" fmla="*/ 84906 h 266700"/>
              <a:gd name="connsiteX31" fmla="*/ 261004 w 276225"/>
              <a:gd name="connsiteY31" fmla="*/ 88154 h 266700"/>
              <a:gd name="connsiteX32" fmla="*/ 252889 w 276225"/>
              <a:gd name="connsiteY32" fmla="*/ 72199 h 266700"/>
              <a:gd name="connsiteX33" fmla="*/ 264928 w 276225"/>
              <a:gd name="connsiteY33" fmla="*/ 226876 h 266700"/>
              <a:gd name="connsiteX34" fmla="*/ 267776 w 276225"/>
              <a:gd name="connsiteY34" fmla="*/ 209217 h 266700"/>
              <a:gd name="connsiteX35" fmla="*/ 252022 w 276225"/>
              <a:gd name="connsiteY35" fmla="*/ 217694 h 266700"/>
              <a:gd name="connsiteX36" fmla="*/ 236106 w 276225"/>
              <a:gd name="connsiteY36" fmla="*/ 209521 h 266700"/>
              <a:gd name="connsiteX37" fmla="*/ 239306 w 276225"/>
              <a:gd name="connsiteY37" fmla="*/ 227124 h 266700"/>
              <a:gd name="connsiteX38" fmla="*/ 226619 w 276225"/>
              <a:gd name="connsiteY38" fmla="*/ 239735 h 266700"/>
              <a:gd name="connsiteX39" fmla="*/ 244345 w 276225"/>
              <a:gd name="connsiteY39" fmla="*/ 242135 h 266700"/>
              <a:gd name="connsiteX40" fmla="*/ 252422 w 276225"/>
              <a:gd name="connsiteY40" fmla="*/ 258099 h 266700"/>
              <a:gd name="connsiteX41" fmla="*/ 260175 w 276225"/>
              <a:gd name="connsiteY41" fmla="*/ 241983 h 266700"/>
              <a:gd name="connsiteX42" fmla="*/ 277854 w 276225"/>
              <a:gd name="connsiteY42" fmla="*/ 239230 h 266700"/>
              <a:gd name="connsiteX43" fmla="*/ 264928 w 276225"/>
              <a:gd name="connsiteY43" fmla="*/ 226876 h 266700"/>
              <a:gd name="connsiteX44" fmla="*/ 57826 w 276225"/>
              <a:gd name="connsiteY44" fmla="*/ 82105 h 266700"/>
              <a:gd name="connsiteX45" fmla="*/ 41710 w 276225"/>
              <a:gd name="connsiteY45" fmla="*/ 65989 h 266700"/>
              <a:gd name="connsiteX46" fmla="*/ 25594 w 276225"/>
              <a:gd name="connsiteY46" fmla="*/ 82105 h 266700"/>
              <a:gd name="connsiteX47" fmla="*/ 41710 w 276225"/>
              <a:gd name="connsiteY47" fmla="*/ 98222 h 266700"/>
              <a:gd name="connsiteX48" fmla="*/ 57826 w 276225"/>
              <a:gd name="connsiteY48" fmla="*/ 82105 h 266700"/>
              <a:gd name="connsiteX49" fmla="*/ 49416 w 276225"/>
              <a:gd name="connsiteY49" fmla="*/ 82105 h 266700"/>
              <a:gd name="connsiteX50" fmla="*/ 41720 w 276225"/>
              <a:gd name="connsiteY50" fmla="*/ 89802 h 266700"/>
              <a:gd name="connsiteX51" fmla="*/ 34023 w 276225"/>
              <a:gd name="connsiteY51" fmla="*/ 82105 h 266700"/>
              <a:gd name="connsiteX52" fmla="*/ 41720 w 276225"/>
              <a:gd name="connsiteY52" fmla="*/ 74409 h 266700"/>
              <a:gd name="connsiteX53" fmla="*/ 49416 w 276225"/>
              <a:gd name="connsiteY53" fmla="*/ 82105 h 266700"/>
              <a:gd name="connsiteX54" fmla="*/ 73676 w 276225"/>
              <a:gd name="connsiteY54" fmla="*/ 207493 h 266700"/>
              <a:gd name="connsiteX55" fmla="*/ 57560 w 276225"/>
              <a:gd name="connsiteY55" fmla="*/ 191376 h 266700"/>
              <a:gd name="connsiteX56" fmla="*/ 41443 w 276225"/>
              <a:gd name="connsiteY56" fmla="*/ 207493 h 266700"/>
              <a:gd name="connsiteX57" fmla="*/ 57560 w 276225"/>
              <a:gd name="connsiteY57" fmla="*/ 223609 h 266700"/>
              <a:gd name="connsiteX58" fmla="*/ 73676 w 276225"/>
              <a:gd name="connsiteY58" fmla="*/ 207493 h 266700"/>
              <a:gd name="connsiteX59" fmla="*/ 65265 w 276225"/>
              <a:gd name="connsiteY59" fmla="*/ 207493 h 266700"/>
              <a:gd name="connsiteX60" fmla="*/ 57569 w 276225"/>
              <a:gd name="connsiteY60" fmla="*/ 215189 h 266700"/>
              <a:gd name="connsiteX61" fmla="*/ 49873 w 276225"/>
              <a:gd name="connsiteY61" fmla="*/ 207493 h 266700"/>
              <a:gd name="connsiteX62" fmla="*/ 57569 w 276225"/>
              <a:gd name="connsiteY62" fmla="*/ 199796 h 266700"/>
              <a:gd name="connsiteX63" fmla="*/ 65265 w 276225"/>
              <a:gd name="connsiteY63" fmla="*/ 207493 h 266700"/>
              <a:gd name="connsiteX64" fmla="*/ 168935 w 276225"/>
              <a:gd name="connsiteY64" fmla="*/ 250355 h 266700"/>
              <a:gd name="connsiteX65" fmla="*/ 152819 w 276225"/>
              <a:gd name="connsiteY65" fmla="*/ 234239 h 266700"/>
              <a:gd name="connsiteX66" fmla="*/ 136703 w 276225"/>
              <a:gd name="connsiteY66" fmla="*/ 250355 h 266700"/>
              <a:gd name="connsiteX67" fmla="*/ 152819 w 276225"/>
              <a:gd name="connsiteY67" fmla="*/ 266471 h 266700"/>
              <a:gd name="connsiteX68" fmla="*/ 168935 w 276225"/>
              <a:gd name="connsiteY68" fmla="*/ 250355 h 266700"/>
              <a:gd name="connsiteX69" fmla="*/ 160515 w 276225"/>
              <a:gd name="connsiteY69" fmla="*/ 250355 h 266700"/>
              <a:gd name="connsiteX70" fmla="*/ 152819 w 276225"/>
              <a:gd name="connsiteY70" fmla="*/ 258051 h 266700"/>
              <a:gd name="connsiteX71" fmla="*/ 145123 w 276225"/>
              <a:gd name="connsiteY71" fmla="*/ 250355 h 266700"/>
              <a:gd name="connsiteX72" fmla="*/ 152819 w 276225"/>
              <a:gd name="connsiteY72" fmla="*/ 242659 h 266700"/>
              <a:gd name="connsiteX73" fmla="*/ 160515 w 276225"/>
              <a:gd name="connsiteY73" fmla="*/ 250355 h 266700"/>
              <a:gd name="connsiteX74" fmla="*/ 8706 w 276225"/>
              <a:gd name="connsiteY74" fmla="*/ 221075 h 266700"/>
              <a:gd name="connsiteX75" fmla="*/ 12773 w 276225"/>
              <a:gd name="connsiteY75" fmla="*/ 216722 h 266700"/>
              <a:gd name="connsiteX76" fmla="*/ 35585 w 276225"/>
              <a:gd name="connsiteY76" fmla="*/ 165725 h 266700"/>
              <a:gd name="connsiteX77" fmla="*/ 97927 w 276225"/>
              <a:gd name="connsiteY77" fmla="*/ 140789 h 266700"/>
              <a:gd name="connsiteX78" fmla="*/ 156229 w 276225"/>
              <a:gd name="connsiteY78" fmla="*/ 144323 h 266700"/>
              <a:gd name="connsiteX79" fmla="*/ 195805 w 276225"/>
              <a:gd name="connsiteY79" fmla="*/ 83934 h 266700"/>
              <a:gd name="connsiteX80" fmla="*/ 206512 w 276225"/>
              <a:gd name="connsiteY80" fmla="*/ 39376 h 266700"/>
              <a:gd name="connsiteX81" fmla="*/ 246478 w 276225"/>
              <a:gd name="connsiteY81" fmla="*/ 16602 h 266700"/>
              <a:gd name="connsiteX82" fmla="*/ 251317 w 276225"/>
              <a:gd name="connsiteY82" fmla="*/ 13164 h 266700"/>
              <a:gd name="connsiteX83" fmla="*/ 247888 w 276225"/>
              <a:gd name="connsiteY83" fmla="*/ 8296 h 266700"/>
              <a:gd name="connsiteX84" fmla="*/ 199777 w 276225"/>
              <a:gd name="connsiteY84" fmla="*/ 34309 h 266700"/>
              <a:gd name="connsiteX85" fmla="*/ 187385 w 276225"/>
              <a:gd name="connsiteY85" fmla="*/ 83830 h 266700"/>
              <a:gd name="connsiteX86" fmla="*/ 153619 w 276225"/>
              <a:gd name="connsiteY86" fmla="*/ 136293 h 266700"/>
              <a:gd name="connsiteX87" fmla="*/ 103956 w 276225"/>
              <a:gd name="connsiteY87" fmla="*/ 134655 h 266700"/>
              <a:gd name="connsiteX88" fmla="*/ 111671 w 276225"/>
              <a:gd name="connsiteY88" fmla="*/ 73104 h 266700"/>
              <a:gd name="connsiteX89" fmla="*/ 90507 w 276225"/>
              <a:gd name="connsiteY89" fmla="*/ 60798 h 266700"/>
              <a:gd name="connsiteX90" fmla="*/ 76190 w 276225"/>
              <a:gd name="connsiteY90" fmla="*/ 78772 h 266700"/>
              <a:gd name="connsiteX91" fmla="*/ 91240 w 276225"/>
              <a:gd name="connsiteY91" fmla="*/ 135331 h 266700"/>
              <a:gd name="connsiteX92" fmla="*/ 33671 w 276225"/>
              <a:gd name="connsiteY92" fmla="*/ 157505 h 266700"/>
              <a:gd name="connsiteX93" fmla="*/ 4334 w 276225"/>
              <a:gd name="connsiteY93" fmla="*/ 216999 h 266700"/>
              <a:gd name="connsiteX94" fmla="*/ 8534 w 276225"/>
              <a:gd name="connsiteY94" fmla="*/ 221066 h 266700"/>
              <a:gd name="connsiteX95" fmla="*/ 8706 w 276225"/>
              <a:gd name="connsiteY95" fmla="*/ 221075 h 266700"/>
              <a:gd name="connsiteX96" fmla="*/ 104451 w 276225"/>
              <a:gd name="connsiteY96" fmla="*/ 77438 h 266700"/>
              <a:gd name="connsiteX97" fmla="*/ 97317 w 276225"/>
              <a:gd name="connsiteY97" fmla="*/ 129502 h 266700"/>
              <a:gd name="connsiteX98" fmla="*/ 84363 w 276225"/>
              <a:gd name="connsiteY98" fmla="*/ 80877 h 266700"/>
              <a:gd name="connsiteX99" fmla="*/ 92602 w 276225"/>
              <a:gd name="connsiteY99" fmla="*/ 68971 h 266700"/>
              <a:gd name="connsiteX100" fmla="*/ 93774 w 276225"/>
              <a:gd name="connsiteY100" fmla="*/ 68818 h 266700"/>
              <a:gd name="connsiteX101" fmla="*/ 104451 w 276225"/>
              <a:gd name="connsiteY101" fmla="*/ 77438 h 266700"/>
              <a:gd name="connsiteX102" fmla="*/ 98041 w 276225"/>
              <a:gd name="connsiteY102" fmla="*/ 245593 h 266700"/>
              <a:gd name="connsiteX103" fmla="*/ 112919 w 276225"/>
              <a:gd name="connsiteY103" fmla="*/ 209159 h 266700"/>
              <a:gd name="connsiteX104" fmla="*/ 143208 w 276225"/>
              <a:gd name="connsiteY104" fmla="*/ 174784 h 266700"/>
              <a:gd name="connsiteX105" fmla="*/ 179194 w 276225"/>
              <a:gd name="connsiteY105" fmla="*/ 179127 h 266700"/>
              <a:gd name="connsiteX106" fmla="*/ 166345 w 276225"/>
              <a:gd name="connsiteY106" fmla="*/ 221066 h 266700"/>
              <a:gd name="connsiteX107" fmla="*/ 185023 w 276225"/>
              <a:gd name="connsiteY107" fmla="*/ 236068 h 266700"/>
              <a:gd name="connsiteX108" fmla="*/ 185166 w 276225"/>
              <a:gd name="connsiteY108" fmla="*/ 236068 h 266700"/>
              <a:gd name="connsiteX109" fmla="*/ 199149 w 276225"/>
              <a:gd name="connsiteY109" fmla="*/ 225562 h 266700"/>
              <a:gd name="connsiteX110" fmla="*/ 194205 w 276225"/>
              <a:gd name="connsiteY110" fmla="*/ 180242 h 266700"/>
              <a:gd name="connsiteX111" fmla="*/ 194062 w 276225"/>
              <a:gd name="connsiteY111" fmla="*/ 180061 h 266700"/>
              <a:gd name="connsiteX112" fmla="*/ 239459 w 276225"/>
              <a:gd name="connsiteY112" fmla="*/ 169659 h 266700"/>
              <a:gd name="connsiteX113" fmla="*/ 269396 w 276225"/>
              <a:gd name="connsiteY113" fmla="*/ 126902 h 266700"/>
              <a:gd name="connsiteX114" fmla="*/ 265081 w 276225"/>
              <a:gd name="connsiteY114" fmla="*/ 121730 h 266700"/>
              <a:gd name="connsiteX115" fmla="*/ 259909 w 276225"/>
              <a:gd name="connsiteY115" fmla="*/ 126044 h 266700"/>
              <a:gd name="connsiteX116" fmla="*/ 238477 w 276225"/>
              <a:gd name="connsiteY116" fmla="*/ 160191 h 266700"/>
              <a:gd name="connsiteX117" fmla="*/ 187081 w 276225"/>
              <a:gd name="connsiteY117" fmla="*/ 173012 h 266700"/>
              <a:gd name="connsiteX118" fmla="*/ 141484 w 276225"/>
              <a:gd name="connsiteY118" fmla="*/ 165411 h 266700"/>
              <a:gd name="connsiteX119" fmla="*/ 103499 w 276225"/>
              <a:gd name="connsiteY119" fmla="*/ 207836 h 266700"/>
              <a:gd name="connsiteX120" fmla="*/ 91392 w 276225"/>
              <a:gd name="connsiteY120" fmla="*/ 238773 h 266700"/>
              <a:gd name="connsiteX121" fmla="*/ 59045 w 276225"/>
              <a:gd name="connsiteY121" fmla="*/ 251717 h 266700"/>
              <a:gd name="connsiteX122" fmla="*/ 53207 w 276225"/>
              <a:gd name="connsiteY122" fmla="*/ 255041 h 266700"/>
              <a:gd name="connsiteX123" fmla="*/ 56512 w 276225"/>
              <a:gd name="connsiteY123" fmla="*/ 260909 h 266700"/>
              <a:gd name="connsiteX124" fmla="*/ 63236 w 276225"/>
              <a:gd name="connsiteY124" fmla="*/ 261642 h 266700"/>
              <a:gd name="connsiteX125" fmla="*/ 98041 w 276225"/>
              <a:gd name="connsiteY125" fmla="*/ 245593 h 266700"/>
              <a:gd name="connsiteX126" fmla="*/ 186623 w 276225"/>
              <a:gd name="connsiteY126" fmla="*/ 186004 h 266700"/>
              <a:gd name="connsiteX127" fmla="*/ 190605 w 276225"/>
              <a:gd name="connsiteY127" fmla="*/ 221361 h 266700"/>
              <a:gd name="connsiteX128" fmla="*/ 185099 w 276225"/>
              <a:gd name="connsiteY128" fmla="*/ 226543 h 266700"/>
              <a:gd name="connsiteX129" fmla="*/ 175327 w 276225"/>
              <a:gd name="connsiteY129" fmla="*/ 217865 h 266700"/>
              <a:gd name="connsiteX130" fmla="*/ 186271 w 276225"/>
              <a:gd name="connsiteY130" fmla="*/ 185547 h 266700"/>
              <a:gd name="connsiteX131" fmla="*/ 186623 w 276225"/>
              <a:gd name="connsiteY131" fmla="*/ 186004 h 266700"/>
              <a:gd name="connsiteX132" fmla="*/ 152543 w 276225"/>
              <a:gd name="connsiteY132" fmla="*/ 83820 h 266700"/>
              <a:gd name="connsiteX133" fmla="*/ 147780 w 276225"/>
              <a:gd name="connsiteY133" fmla="*/ 88583 h 266700"/>
              <a:gd name="connsiteX134" fmla="*/ 152543 w 276225"/>
              <a:gd name="connsiteY134" fmla="*/ 93345 h 266700"/>
              <a:gd name="connsiteX135" fmla="*/ 157305 w 276225"/>
              <a:gd name="connsiteY135" fmla="*/ 88583 h 266700"/>
              <a:gd name="connsiteX136" fmla="*/ 152543 w 276225"/>
              <a:gd name="connsiteY136" fmla="*/ 83820 h 266700"/>
              <a:gd name="connsiteX137" fmla="*/ 221799 w 276225"/>
              <a:gd name="connsiteY137" fmla="*/ 125882 h 266700"/>
              <a:gd name="connsiteX138" fmla="*/ 217037 w 276225"/>
              <a:gd name="connsiteY138" fmla="*/ 130645 h 266700"/>
              <a:gd name="connsiteX139" fmla="*/ 221799 w 276225"/>
              <a:gd name="connsiteY139" fmla="*/ 135407 h 266700"/>
              <a:gd name="connsiteX140" fmla="*/ 226562 w 276225"/>
              <a:gd name="connsiteY140" fmla="*/ 130645 h 266700"/>
              <a:gd name="connsiteX141" fmla="*/ 221799 w 276225"/>
              <a:gd name="connsiteY141" fmla="*/ 125882 h 266700"/>
              <a:gd name="connsiteX142" fmla="*/ 21460 w 276225"/>
              <a:gd name="connsiteY142" fmla="*/ 259204 h 266700"/>
              <a:gd name="connsiteX143" fmla="*/ 16697 w 276225"/>
              <a:gd name="connsiteY143" fmla="*/ 263966 h 266700"/>
              <a:gd name="connsiteX144" fmla="*/ 21460 w 276225"/>
              <a:gd name="connsiteY144" fmla="*/ 268729 h 266700"/>
              <a:gd name="connsiteX145" fmla="*/ 26222 w 276225"/>
              <a:gd name="connsiteY145" fmla="*/ 263966 h 266700"/>
              <a:gd name="connsiteX146" fmla="*/ 21460 w 276225"/>
              <a:gd name="connsiteY146" fmla="*/ 259204 h 266700"/>
              <a:gd name="connsiteX147" fmla="*/ 12068 w 276225"/>
              <a:gd name="connsiteY147" fmla="*/ 116348 h 266700"/>
              <a:gd name="connsiteX148" fmla="*/ 7306 w 276225"/>
              <a:gd name="connsiteY148" fmla="*/ 121110 h 266700"/>
              <a:gd name="connsiteX149" fmla="*/ 12068 w 276225"/>
              <a:gd name="connsiteY149" fmla="*/ 125873 h 266700"/>
              <a:gd name="connsiteX150" fmla="*/ 16831 w 276225"/>
              <a:gd name="connsiteY150" fmla="*/ 121110 h 266700"/>
              <a:gd name="connsiteX151" fmla="*/ 12068 w 276225"/>
              <a:gd name="connsiteY151" fmla="*/ 116348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Lst>
            <a:rect l="l" t="t" r="r" b="b"/>
            <a:pathLst>
              <a:path w="276225" h="266700">
                <a:moveTo>
                  <a:pt x="45663" y="47949"/>
                </a:moveTo>
                <a:lnTo>
                  <a:pt x="28718" y="42205"/>
                </a:lnTo>
                <a:lnTo>
                  <a:pt x="14383" y="52902"/>
                </a:lnTo>
                <a:lnTo>
                  <a:pt x="14611" y="35014"/>
                </a:lnTo>
                <a:lnTo>
                  <a:pt x="0" y="24679"/>
                </a:lnTo>
                <a:lnTo>
                  <a:pt x="17088" y="19364"/>
                </a:lnTo>
                <a:lnTo>
                  <a:pt x="22403" y="2276"/>
                </a:lnTo>
                <a:lnTo>
                  <a:pt x="32728" y="16897"/>
                </a:lnTo>
                <a:lnTo>
                  <a:pt x="50616" y="16669"/>
                </a:lnTo>
                <a:lnTo>
                  <a:pt x="39910" y="31004"/>
                </a:lnTo>
                <a:lnTo>
                  <a:pt x="45663" y="47949"/>
                </a:lnTo>
                <a:close/>
                <a:moveTo>
                  <a:pt x="156915" y="17707"/>
                </a:moveTo>
                <a:lnTo>
                  <a:pt x="154343" y="0"/>
                </a:lnTo>
                <a:lnTo>
                  <a:pt x="141856" y="12811"/>
                </a:lnTo>
                <a:lnTo>
                  <a:pt x="124225" y="9782"/>
                </a:lnTo>
                <a:lnTo>
                  <a:pt x="132550" y="25622"/>
                </a:lnTo>
                <a:lnTo>
                  <a:pt x="124225" y="41462"/>
                </a:lnTo>
                <a:lnTo>
                  <a:pt x="141856" y="38433"/>
                </a:lnTo>
                <a:lnTo>
                  <a:pt x="154343" y="51244"/>
                </a:lnTo>
                <a:lnTo>
                  <a:pt x="156915" y="33538"/>
                </a:lnTo>
                <a:lnTo>
                  <a:pt x="172955" y="25622"/>
                </a:lnTo>
                <a:lnTo>
                  <a:pt x="156915" y="17707"/>
                </a:lnTo>
                <a:close/>
                <a:moveTo>
                  <a:pt x="252889" y="72199"/>
                </a:moveTo>
                <a:lnTo>
                  <a:pt x="261414" y="56474"/>
                </a:lnTo>
                <a:lnTo>
                  <a:pt x="243745" y="59274"/>
                </a:lnTo>
                <a:lnTo>
                  <a:pt x="231419" y="46301"/>
                </a:lnTo>
                <a:lnTo>
                  <a:pt x="228619" y="63979"/>
                </a:lnTo>
                <a:lnTo>
                  <a:pt x="212474" y="71695"/>
                </a:lnTo>
                <a:lnTo>
                  <a:pt x="228419" y="79820"/>
                </a:lnTo>
                <a:lnTo>
                  <a:pt x="230762" y="97555"/>
                </a:lnTo>
                <a:lnTo>
                  <a:pt x="243411" y="84906"/>
                </a:lnTo>
                <a:lnTo>
                  <a:pt x="261004" y="88154"/>
                </a:lnTo>
                <a:lnTo>
                  <a:pt x="252889" y="72199"/>
                </a:lnTo>
                <a:close/>
                <a:moveTo>
                  <a:pt x="264928" y="226876"/>
                </a:moveTo>
                <a:lnTo>
                  <a:pt x="267776" y="209217"/>
                </a:lnTo>
                <a:lnTo>
                  <a:pt x="252022" y="217694"/>
                </a:lnTo>
                <a:lnTo>
                  <a:pt x="236106" y="209521"/>
                </a:lnTo>
                <a:lnTo>
                  <a:pt x="239306" y="227124"/>
                </a:lnTo>
                <a:lnTo>
                  <a:pt x="226619" y="239735"/>
                </a:lnTo>
                <a:lnTo>
                  <a:pt x="244345" y="242135"/>
                </a:lnTo>
                <a:lnTo>
                  <a:pt x="252422" y="258099"/>
                </a:lnTo>
                <a:lnTo>
                  <a:pt x="260175" y="241983"/>
                </a:lnTo>
                <a:lnTo>
                  <a:pt x="277854" y="239230"/>
                </a:lnTo>
                <a:lnTo>
                  <a:pt x="264928" y="226876"/>
                </a:lnTo>
                <a:close/>
                <a:moveTo>
                  <a:pt x="57826" y="82105"/>
                </a:moveTo>
                <a:cubicBezTo>
                  <a:pt x="57826" y="73219"/>
                  <a:pt x="50597" y="65989"/>
                  <a:pt x="41710" y="65989"/>
                </a:cubicBezTo>
                <a:cubicBezTo>
                  <a:pt x="32823" y="65989"/>
                  <a:pt x="25594" y="73219"/>
                  <a:pt x="25594" y="82105"/>
                </a:cubicBezTo>
                <a:cubicBezTo>
                  <a:pt x="25594" y="90992"/>
                  <a:pt x="32823" y="98222"/>
                  <a:pt x="41710" y="98222"/>
                </a:cubicBezTo>
                <a:cubicBezTo>
                  <a:pt x="50606" y="98222"/>
                  <a:pt x="57826" y="90983"/>
                  <a:pt x="57826" y="82105"/>
                </a:cubicBezTo>
                <a:close/>
                <a:moveTo>
                  <a:pt x="49416" y="82105"/>
                </a:moveTo>
                <a:cubicBezTo>
                  <a:pt x="49416" y="86344"/>
                  <a:pt x="45968" y="89802"/>
                  <a:pt x="41720" y="89802"/>
                </a:cubicBezTo>
                <a:cubicBezTo>
                  <a:pt x="37471" y="89802"/>
                  <a:pt x="34023" y="86354"/>
                  <a:pt x="34023" y="82105"/>
                </a:cubicBezTo>
                <a:cubicBezTo>
                  <a:pt x="34023" y="77857"/>
                  <a:pt x="37471" y="74409"/>
                  <a:pt x="41720" y="74409"/>
                </a:cubicBezTo>
                <a:cubicBezTo>
                  <a:pt x="45958" y="74409"/>
                  <a:pt x="49416" y="77857"/>
                  <a:pt x="49416" y="82105"/>
                </a:cubicBezTo>
                <a:close/>
                <a:moveTo>
                  <a:pt x="73676" y="207493"/>
                </a:moveTo>
                <a:cubicBezTo>
                  <a:pt x="73676" y="198606"/>
                  <a:pt x="66446" y="191376"/>
                  <a:pt x="57560" y="191376"/>
                </a:cubicBezTo>
                <a:cubicBezTo>
                  <a:pt x="48673" y="191376"/>
                  <a:pt x="41443" y="198615"/>
                  <a:pt x="41443" y="207493"/>
                </a:cubicBezTo>
                <a:cubicBezTo>
                  <a:pt x="41443" y="216379"/>
                  <a:pt x="48673" y="223609"/>
                  <a:pt x="57560" y="223609"/>
                </a:cubicBezTo>
                <a:cubicBezTo>
                  <a:pt x="66446" y="223609"/>
                  <a:pt x="73676" y="216370"/>
                  <a:pt x="73676" y="207493"/>
                </a:cubicBezTo>
                <a:close/>
                <a:moveTo>
                  <a:pt x="65265" y="207493"/>
                </a:moveTo>
                <a:cubicBezTo>
                  <a:pt x="65265" y="211731"/>
                  <a:pt x="61817" y="215189"/>
                  <a:pt x="57569" y="215189"/>
                </a:cubicBezTo>
                <a:cubicBezTo>
                  <a:pt x="53321" y="215189"/>
                  <a:pt x="49873" y="211741"/>
                  <a:pt x="49873" y="207493"/>
                </a:cubicBezTo>
                <a:cubicBezTo>
                  <a:pt x="49873" y="203254"/>
                  <a:pt x="53321" y="199796"/>
                  <a:pt x="57569" y="199796"/>
                </a:cubicBezTo>
                <a:cubicBezTo>
                  <a:pt x="61817" y="199796"/>
                  <a:pt x="65265" y="203244"/>
                  <a:pt x="65265" y="207493"/>
                </a:cubicBezTo>
                <a:close/>
                <a:moveTo>
                  <a:pt x="168935" y="250355"/>
                </a:moveTo>
                <a:cubicBezTo>
                  <a:pt x="168935" y="241468"/>
                  <a:pt x="161696" y="234239"/>
                  <a:pt x="152819" y="234239"/>
                </a:cubicBezTo>
                <a:cubicBezTo>
                  <a:pt x="143942" y="234239"/>
                  <a:pt x="136703" y="241478"/>
                  <a:pt x="136703" y="250355"/>
                </a:cubicBezTo>
                <a:cubicBezTo>
                  <a:pt x="136703" y="259242"/>
                  <a:pt x="143942" y="266471"/>
                  <a:pt x="152819" y="266471"/>
                </a:cubicBezTo>
                <a:cubicBezTo>
                  <a:pt x="161696" y="266471"/>
                  <a:pt x="168935" y="259232"/>
                  <a:pt x="168935" y="250355"/>
                </a:cubicBezTo>
                <a:close/>
                <a:moveTo>
                  <a:pt x="160515" y="250355"/>
                </a:moveTo>
                <a:cubicBezTo>
                  <a:pt x="160515" y="254594"/>
                  <a:pt x="157067" y="258051"/>
                  <a:pt x="152819" y="258051"/>
                </a:cubicBezTo>
                <a:cubicBezTo>
                  <a:pt x="148580" y="258051"/>
                  <a:pt x="145123" y="254603"/>
                  <a:pt x="145123" y="250355"/>
                </a:cubicBezTo>
                <a:cubicBezTo>
                  <a:pt x="145123" y="246116"/>
                  <a:pt x="148571" y="242659"/>
                  <a:pt x="152819" y="242659"/>
                </a:cubicBezTo>
                <a:cubicBezTo>
                  <a:pt x="157058" y="242659"/>
                  <a:pt x="160515" y="246107"/>
                  <a:pt x="160515" y="250355"/>
                </a:cubicBezTo>
                <a:close/>
                <a:moveTo>
                  <a:pt x="8706" y="221075"/>
                </a:moveTo>
                <a:cubicBezTo>
                  <a:pt x="11030" y="220999"/>
                  <a:pt x="12849" y="219046"/>
                  <a:pt x="12773" y="216722"/>
                </a:cubicBezTo>
                <a:cubicBezTo>
                  <a:pt x="12744" y="216275"/>
                  <a:pt x="11487" y="171326"/>
                  <a:pt x="35585" y="165725"/>
                </a:cubicBezTo>
                <a:cubicBezTo>
                  <a:pt x="52949" y="161677"/>
                  <a:pt x="82772" y="153305"/>
                  <a:pt x="97927" y="140789"/>
                </a:cubicBezTo>
                <a:cubicBezTo>
                  <a:pt x="109309" y="148466"/>
                  <a:pt x="127721" y="153553"/>
                  <a:pt x="156229" y="144323"/>
                </a:cubicBezTo>
                <a:cubicBezTo>
                  <a:pt x="195291" y="131664"/>
                  <a:pt x="195548" y="107404"/>
                  <a:pt x="195805" y="83934"/>
                </a:cubicBezTo>
                <a:cubicBezTo>
                  <a:pt x="195977" y="68809"/>
                  <a:pt x="196139" y="53159"/>
                  <a:pt x="206512" y="39376"/>
                </a:cubicBezTo>
                <a:cubicBezTo>
                  <a:pt x="225800" y="13745"/>
                  <a:pt x="245583" y="16488"/>
                  <a:pt x="246478" y="16602"/>
                </a:cubicBezTo>
                <a:cubicBezTo>
                  <a:pt x="248717" y="16983"/>
                  <a:pt x="250927" y="15450"/>
                  <a:pt x="251317" y="13164"/>
                </a:cubicBezTo>
                <a:cubicBezTo>
                  <a:pt x="251717" y="10878"/>
                  <a:pt x="250174" y="8696"/>
                  <a:pt x="247888" y="8296"/>
                </a:cubicBezTo>
                <a:cubicBezTo>
                  <a:pt x="246869" y="8125"/>
                  <a:pt x="222361" y="4305"/>
                  <a:pt x="199777" y="34309"/>
                </a:cubicBezTo>
                <a:cubicBezTo>
                  <a:pt x="187747" y="50302"/>
                  <a:pt x="187557" y="68113"/>
                  <a:pt x="187385" y="83830"/>
                </a:cubicBezTo>
                <a:cubicBezTo>
                  <a:pt x="187128" y="107109"/>
                  <a:pt x="186928" y="125501"/>
                  <a:pt x="153619" y="136293"/>
                </a:cubicBezTo>
                <a:cubicBezTo>
                  <a:pt x="133350" y="142875"/>
                  <a:pt x="116376" y="142256"/>
                  <a:pt x="103956" y="134655"/>
                </a:cubicBezTo>
                <a:cubicBezTo>
                  <a:pt x="121853" y="113281"/>
                  <a:pt x="120901" y="88592"/>
                  <a:pt x="111671" y="73104"/>
                </a:cubicBezTo>
                <a:cubicBezTo>
                  <a:pt x="106013" y="63627"/>
                  <a:pt x="97917" y="58893"/>
                  <a:pt x="90507" y="60798"/>
                </a:cubicBezTo>
                <a:cubicBezTo>
                  <a:pt x="83820" y="62513"/>
                  <a:pt x="78743" y="68894"/>
                  <a:pt x="76190" y="78772"/>
                </a:cubicBezTo>
                <a:cubicBezTo>
                  <a:pt x="71885" y="95479"/>
                  <a:pt x="75714" y="120091"/>
                  <a:pt x="91240" y="135331"/>
                </a:cubicBezTo>
                <a:cubicBezTo>
                  <a:pt x="75905" y="146999"/>
                  <a:pt x="43901" y="155124"/>
                  <a:pt x="33671" y="157505"/>
                </a:cubicBezTo>
                <a:cubicBezTo>
                  <a:pt x="2896" y="164659"/>
                  <a:pt x="4267" y="214855"/>
                  <a:pt x="4334" y="216999"/>
                </a:cubicBezTo>
                <a:cubicBezTo>
                  <a:pt x="4410" y="219266"/>
                  <a:pt x="6286" y="221066"/>
                  <a:pt x="8534" y="221066"/>
                </a:cubicBezTo>
                <a:cubicBezTo>
                  <a:pt x="8601" y="221085"/>
                  <a:pt x="8658" y="221075"/>
                  <a:pt x="8706" y="221075"/>
                </a:cubicBezTo>
                <a:close/>
                <a:moveTo>
                  <a:pt x="104451" y="77438"/>
                </a:moveTo>
                <a:cubicBezTo>
                  <a:pt x="112176" y="90373"/>
                  <a:pt x="112757" y="111223"/>
                  <a:pt x="97317" y="129502"/>
                </a:cubicBezTo>
                <a:cubicBezTo>
                  <a:pt x="84068" y="116643"/>
                  <a:pt x="80734" y="94945"/>
                  <a:pt x="84363" y="80877"/>
                </a:cubicBezTo>
                <a:cubicBezTo>
                  <a:pt x="86058" y="74314"/>
                  <a:pt x="89135" y="69856"/>
                  <a:pt x="92602" y="68971"/>
                </a:cubicBezTo>
                <a:cubicBezTo>
                  <a:pt x="92983" y="68875"/>
                  <a:pt x="93374" y="68818"/>
                  <a:pt x="93774" y="68818"/>
                </a:cubicBezTo>
                <a:cubicBezTo>
                  <a:pt x="97136" y="68818"/>
                  <a:pt x="101270" y="72104"/>
                  <a:pt x="104451" y="77438"/>
                </a:cubicBezTo>
                <a:close/>
                <a:moveTo>
                  <a:pt x="98041" y="245593"/>
                </a:moveTo>
                <a:cubicBezTo>
                  <a:pt x="109404" y="234458"/>
                  <a:pt x="111281" y="221018"/>
                  <a:pt x="112919" y="209159"/>
                </a:cubicBezTo>
                <a:cubicBezTo>
                  <a:pt x="115300" y="192014"/>
                  <a:pt x="117024" y="179622"/>
                  <a:pt x="143208" y="174784"/>
                </a:cubicBezTo>
                <a:cubicBezTo>
                  <a:pt x="158286" y="171983"/>
                  <a:pt x="170497" y="173498"/>
                  <a:pt x="179194" y="179127"/>
                </a:cubicBezTo>
                <a:cubicBezTo>
                  <a:pt x="163954" y="193596"/>
                  <a:pt x="162573" y="210455"/>
                  <a:pt x="166345" y="221066"/>
                </a:cubicBezTo>
                <a:cubicBezTo>
                  <a:pt x="169593" y="230200"/>
                  <a:pt x="176908" y="236068"/>
                  <a:pt x="185023" y="236068"/>
                </a:cubicBezTo>
                <a:cubicBezTo>
                  <a:pt x="185071" y="236068"/>
                  <a:pt x="185118" y="236068"/>
                  <a:pt x="185166" y="236068"/>
                </a:cubicBezTo>
                <a:cubicBezTo>
                  <a:pt x="190795" y="236020"/>
                  <a:pt x="195891" y="232191"/>
                  <a:pt x="199149" y="225562"/>
                </a:cubicBezTo>
                <a:cubicBezTo>
                  <a:pt x="204759" y="214160"/>
                  <a:pt x="204921" y="194405"/>
                  <a:pt x="194205" y="180242"/>
                </a:cubicBezTo>
                <a:cubicBezTo>
                  <a:pt x="194158" y="180184"/>
                  <a:pt x="194110" y="180118"/>
                  <a:pt x="194062" y="180061"/>
                </a:cubicBezTo>
                <a:cubicBezTo>
                  <a:pt x="203302" y="175508"/>
                  <a:pt x="219570" y="171745"/>
                  <a:pt x="239459" y="169659"/>
                </a:cubicBezTo>
                <a:cubicBezTo>
                  <a:pt x="265490" y="166973"/>
                  <a:pt x="269243" y="128540"/>
                  <a:pt x="269396" y="126902"/>
                </a:cubicBezTo>
                <a:cubicBezTo>
                  <a:pt x="269624" y="124282"/>
                  <a:pt x="267691" y="121958"/>
                  <a:pt x="265081" y="121730"/>
                </a:cubicBezTo>
                <a:cubicBezTo>
                  <a:pt x="262452" y="121549"/>
                  <a:pt x="260137" y="123415"/>
                  <a:pt x="259909" y="126044"/>
                </a:cubicBezTo>
                <a:cubicBezTo>
                  <a:pt x="259880" y="126368"/>
                  <a:pt x="256508" y="158334"/>
                  <a:pt x="238477" y="160191"/>
                </a:cubicBezTo>
                <a:cubicBezTo>
                  <a:pt x="224504" y="161649"/>
                  <a:pt x="200520" y="165183"/>
                  <a:pt x="187081" y="173012"/>
                </a:cubicBezTo>
                <a:cubicBezTo>
                  <a:pt x="178251" y="166145"/>
                  <a:pt x="164059" y="161230"/>
                  <a:pt x="141484" y="165411"/>
                </a:cubicBezTo>
                <a:cubicBezTo>
                  <a:pt x="108547" y="171507"/>
                  <a:pt x="105861" y="190805"/>
                  <a:pt x="103499" y="207836"/>
                </a:cubicBezTo>
                <a:cubicBezTo>
                  <a:pt x="101918" y="219189"/>
                  <a:pt x="100432" y="229914"/>
                  <a:pt x="91392" y="238773"/>
                </a:cubicBezTo>
                <a:cubicBezTo>
                  <a:pt x="74457" y="255384"/>
                  <a:pt x="59779" y="251898"/>
                  <a:pt x="59045" y="251717"/>
                </a:cubicBezTo>
                <a:cubicBezTo>
                  <a:pt x="56550" y="251060"/>
                  <a:pt x="53912" y="252517"/>
                  <a:pt x="53207" y="255041"/>
                </a:cubicBezTo>
                <a:cubicBezTo>
                  <a:pt x="52502" y="257585"/>
                  <a:pt x="53978" y="260204"/>
                  <a:pt x="56512" y="260909"/>
                </a:cubicBezTo>
                <a:cubicBezTo>
                  <a:pt x="56788" y="260995"/>
                  <a:pt x="59265" y="261642"/>
                  <a:pt x="63236" y="261642"/>
                </a:cubicBezTo>
                <a:cubicBezTo>
                  <a:pt x="70895" y="261642"/>
                  <a:pt x="84134" y="259213"/>
                  <a:pt x="98041" y="245593"/>
                </a:cubicBezTo>
                <a:close/>
                <a:moveTo>
                  <a:pt x="186623" y="186004"/>
                </a:moveTo>
                <a:cubicBezTo>
                  <a:pt x="194739" y="196710"/>
                  <a:pt x="195015" y="212379"/>
                  <a:pt x="190605" y="221361"/>
                </a:cubicBezTo>
                <a:cubicBezTo>
                  <a:pt x="189014" y="224590"/>
                  <a:pt x="186957" y="226524"/>
                  <a:pt x="185099" y="226543"/>
                </a:cubicBezTo>
                <a:cubicBezTo>
                  <a:pt x="181166" y="226514"/>
                  <a:pt x="177251" y="223256"/>
                  <a:pt x="175327" y="217865"/>
                </a:cubicBezTo>
                <a:cubicBezTo>
                  <a:pt x="172498" y="209921"/>
                  <a:pt x="173869" y="197015"/>
                  <a:pt x="186271" y="185547"/>
                </a:cubicBezTo>
                <a:cubicBezTo>
                  <a:pt x="186385" y="185699"/>
                  <a:pt x="186500" y="185842"/>
                  <a:pt x="186623" y="186004"/>
                </a:cubicBezTo>
                <a:close/>
                <a:moveTo>
                  <a:pt x="152543" y="83820"/>
                </a:moveTo>
                <a:cubicBezTo>
                  <a:pt x="149914" y="83820"/>
                  <a:pt x="147780" y="85954"/>
                  <a:pt x="147780" y="88583"/>
                </a:cubicBezTo>
                <a:cubicBezTo>
                  <a:pt x="147780" y="91211"/>
                  <a:pt x="149914" y="93345"/>
                  <a:pt x="152543" y="93345"/>
                </a:cubicBezTo>
                <a:cubicBezTo>
                  <a:pt x="155172" y="93345"/>
                  <a:pt x="157305" y="91211"/>
                  <a:pt x="157305" y="88583"/>
                </a:cubicBezTo>
                <a:cubicBezTo>
                  <a:pt x="157305" y="85954"/>
                  <a:pt x="155172" y="83820"/>
                  <a:pt x="152543" y="83820"/>
                </a:cubicBezTo>
                <a:close/>
                <a:moveTo>
                  <a:pt x="221799" y="125882"/>
                </a:moveTo>
                <a:cubicBezTo>
                  <a:pt x="219170" y="125882"/>
                  <a:pt x="217037" y="128016"/>
                  <a:pt x="217037" y="130645"/>
                </a:cubicBezTo>
                <a:cubicBezTo>
                  <a:pt x="217037" y="133274"/>
                  <a:pt x="219170" y="135407"/>
                  <a:pt x="221799" y="135407"/>
                </a:cubicBezTo>
                <a:cubicBezTo>
                  <a:pt x="224428" y="135407"/>
                  <a:pt x="226562" y="133274"/>
                  <a:pt x="226562" y="130645"/>
                </a:cubicBezTo>
                <a:cubicBezTo>
                  <a:pt x="226562" y="128016"/>
                  <a:pt x="224428" y="125882"/>
                  <a:pt x="221799" y="125882"/>
                </a:cubicBezTo>
                <a:close/>
                <a:moveTo>
                  <a:pt x="21460" y="259204"/>
                </a:moveTo>
                <a:cubicBezTo>
                  <a:pt x="18831" y="259204"/>
                  <a:pt x="16697" y="261337"/>
                  <a:pt x="16697" y="263966"/>
                </a:cubicBezTo>
                <a:cubicBezTo>
                  <a:pt x="16697" y="266595"/>
                  <a:pt x="18831" y="268729"/>
                  <a:pt x="21460" y="268729"/>
                </a:cubicBezTo>
                <a:cubicBezTo>
                  <a:pt x="24089" y="268729"/>
                  <a:pt x="26222" y="266595"/>
                  <a:pt x="26222" y="263966"/>
                </a:cubicBezTo>
                <a:cubicBezTo>
                  <a:pt x="26222" y="261337"/>
                  <a:pt x="24089" y="259204"/>
                  <a:pt x="21460" y="259204"/>
                </a:cubicBezTo>
                <a:close/>
                <a:moveTo>
                  <a:pt x="12068" y="116348"/>
                </a:moveTo>
                <a:cubicBezTo>
                  <a:pt x="9439" y="116348"/>
                  <a:pt x="7306" y="118481"/>
                  <a:pt x="7306" y="121110"/>
                </a:cubicBezTo>
                <a:cubicBezTo>
                  <a:pt x="7306" y="123739"/>
                  <a:pt x="9439" y="125873"/>
                  <a:pt x="12068" y="125873"/>
                </a:cubicBezTo>
                <a:cubicBezTo>
                  <a:pt x="14697" y="125873"/>
                  <a:pt x="16831" y="123739"/>
                  <a:pt x="16831" y="121110"/>
                </a:cubicBezTo>
                <a:cubicBezTo>
                  <a:pt x="16831" y="118481"/>
                  <a:pt x="14697" y="116348"/>
                  <a:pt x="12068" y="116348"/>
                </a:cubicBezTo>
                <a:close/>
              </a:path>
            </a:pathLst>
          </a:custGeom>
          <a:solidFill>
            <a:schemeClr val="tx2"/>
          </a:solidFill>
          <a:ln w="9525" cap="flat">
            <a:noFill/>
            <a:prstDash val="solid"/>
            <a:miter/>
          </a:ln>
        </p:spPr>
        <p:txBody>
          <a:bodyPr rtlCol="0" anchor="ctr"/>
          <a:lstStyle/>
          <a:p>
            <a:endParaRPr lang="en-GB" dirty="0"/>
          </a:p>
        </p:txBody>
      </p:sp>
      <p:pic>
        <p:nvPicPr>
          <p:cNvPr id="183" name="Graphic 182">
            <a:extLst>
              <a:ext uri="{FF2B5EF4-FFF2-40B4-BE49-F238E27FC236}">
                <a16:creationId xmlns:a16="http://schemas.microsoft.com/office/drawing/2014/main" id="{47F558C9-DD7E-4E31-B933-16E69EB956C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15071" y="4088841"/>
            <a:ext cx="375718" cy="375718"/>
          </a:xfrm>
          <a:prstGeom prst="rect">
            <a:avLst/>
          </a:prstGeom>
        </p:spPr>
      </p:pic>
      <p:sp>
        <p:nvSpPr>
          <p:cNvPr id="187" name="Freihandform: Form 32">
            <a:extLst>
              <a:ext uri="{FF2B5EF4-FFF2-40B4-BE49-F238E27FC236}">
                <a16:creationId xmlns:a16="http://schemas.microsoft.com/office/drawing/2014/main" id="{FCA5F70E-904D-4A8B-B268-227C5FB2828C}"/>
              </a:ext>
            </a:extLst>
          </p:cNvPr>
          <p:cNvSpPr>
            <a:spLocks noChangeAspect="1"/>
          </p:cNvSpPr>
          <p:nvPr/>
        </p:nvSpPr>
        <p:spPr>
          <a:xfrm>
            <a:off x="1665793" y="3260430"/>
            <a:ext cx="347380" cy="347380"/>
          </a:xfrm>
          <a:custGeom>
            <a:avLst/>
            <a:gdLst>
              <a:gd name="connsiteX0" fmla="*/ 304457 w 304800"/>
              <a:gd name="connsiteY0" fmla="*/ 304800 h 304800"/>
              <a:gd name="connsiteX1" fmla="*/ 246602 w 304800"/>
              <a:gd name="connsiteY1" fmla="*/ 304800 h 304800"/>
              <a:gd name="connsiteX2" fmla="*/ 228600 w 304800"/>
              <a:gd name="connsiteY2" fmla="*/ 209893 h 304800"/>
              <a:gd name="connsiteX3" fmla="*/ 304762 w 304800"/>
              <a:gd name="connsiteY3" fmla="*/ 226886 h 304800"/>
              <a:gd name="connsiteX4" fmla="*/ 304457 w 304800"/>
              <a:gd name="connsiteY4" fmla="*/ 304800 h 304800"/>
              <a:gd name="connsiteX5" fmla="*/ 262376 w 304800"/>
              <a:gd name="connsiteY5" fmla="*/ 285750 h 304800"/>
              <a:gd name="connsiteX6" fmla="*/ 285483 w 304800"/>
              <a:gd name="connsiteY6" fmla="*/ 285750 h 304800"/>
              <a:gd name="connsiteX7" fmla="*/ 285664 w 304800"/>
              <a:gd name="connsiteY7" fmla="*/ 242145 h 304800"/>
              <a:gd name="connsiteX8" fmla="*/ 252717 w 304800"/>
              <a:gd name="connsiteY8" fmla="*/ 234791 h 304800"/>
              <a:gd name="connsiteX9" fmla="*/ 262376 w 304800"/>
              <a:gd name="connsiteY9" fmla="*/ 285750 h 304800"/>
              <a:gd name="connsiteX10" fmla="*/ 304352 w 304800"/>
              <a:gd name="connsiteY10" fmla="*/ 208521 h 304800"/>
              <a:gd name="connsiteX11" fmla="*/ 228048 w 304800"/>
              <a:gd name="connsiteY11" fmla="*/ 190729 h 304800"/>
              <a:gd name="connsiteX12" fmla="*/ 208874 w 304800"/>
              <a:gd name="connsiteY12" fmla="*/ 142875 h 304800"/>
              <a:gd name="connsiteX13" fmla="*/ 304800 w 304800"/>
              <a:gd name="connsiteY13" fmla="*/ 143113 h 304800"/>
              <a:gd name="connsiteX14" fmla="*/ 304352 w 304800"/>
              <a:gd name="connsiteY14" fmla="*/ 208521 h 304800"/>
              <a:gd name="connsiteX15" fmla="*/ 242040 w 304800"/>
              <a:gd name="connsiteY15" fmla="*/ 174422 h 304800"/>
              <a:gd name="connsiteX16" fmla="*/ 285474 w 304800"/>
              <a:gd name="connsiteY16" fmla="*/ 184547 h 304800"/>
              <a:gd name="connsiteX17" fmla="*/ 285626 w 304800"/>
              <a:gd name="connsiteY17" fmla="*/ 162106 h 304800"/>
              <a:gd name="connsiteX18" fmla="*/ 237058 w 304800"/>
              <a:gd name="connsiteY18" fmla="*/ 161992 h 304800"/>
              <a:gd name="connsiteX19" fmla="*/ 242040 w 304800"/>
              <a:gd name="connsiteY19" fmla="*/ 174422 h 304800"/>
              <a:gd name="connsiteX20" fmla="*/ 114300 w 304800"/>
              <a:gd name="connsiteY20" fmla="*/ 209502 h 304800"/>
              <a:gd name="connsiteX21" fmla="*/ 114300 w 304800"/>
              <a:gd name="connsiteY21" fmla="*/ 142875 h 304800"/>
              <a:gd name="connsiteX22" fmla="*/ 190995 w 304800"/>
              <a:gd name="connsiteY22" fmla="*/ 142923 h 304800"/>
              <a:gd name="connsiteX23" fmla="*/ 210598 w 304800"/>
              <a:gd name="connsiteY23" fmla="*/ 190710 h 304800"/>
              <a:gd name="connsiteX24" fmla="*/ 114300 w 304800"/>
              <a:gd name="connsiteY24" fmla="*/ 209502 h 304800"/>
              <a:gd name="connsiteX25" fmla="*/ 133350 w 304800"/>
              <a:gd name="connsiteY25" fmla="*/ 161944 h 304800"/>
              <a:gd name="connsiteX26" fmla="*/ 133350 w 304800"/>
              <a:gd name="connsiteY26" fmla="*/ 186376 h 304800"/>
              <a:gd name="connsiteX27" fmla="*/ 184156 w 304800"/>
              <a:gd name="connsiteY27" fmla="*/ 176451 h 304800"/>
              <a:gd name="connsiteX28" fmla="*/ 178213 w 304800"/>
              <a:gd name="connsiteY28" fmla="*/ 161963 h 304800"/>
              <a:gd name="connsiteX29" fmla="*/ 133350 w 304800"/>
              <a:gd name="connsiteY29" fmla="*/ 161944 h 304800"/>
              <a:gd name="connsiteX30" fmla="*/ 95783 w 304800"/>
              <a:gd name="connsiteY30" fmla="*/ 209807 h 304800"/>
              <a:gd name="connsiteX31" fmla="*/ 67 w 304800"/>
              <a:gd name="connsiteY31" fmla="*/ 188214 h 304800"/>
              <a:gd name="connsiteX32" fmla="*/ 67 w 304800"/>
              <a:gd name="connsiteY32" fmla="*/ 142875 h 304800"/>
              <a:gd name="connsiteX33" fmla="*/ 95231 w 304800"/>
              <a:gd name="connsiteY33" fmla="*/ 142875 h 304800"/>
              <a:gd name="connsiteX34" fmla="*/ 95783 w 304800"/>
              <a:gd name="connsiteY34" fmla="*/ 209807 h 304800"/>
              <a:gd name="connsiteX35" fmla="*/ 19117 w 304800"/>
              <a:gd name="connsiteY35" fmla="*/ 172974 h 304800"/>
              <a:gd name="connsiteX36" fmla="*/ 76533 w 304800"/>
              <a:gd name="connsiteY36" fmla="*/ 185938 h 304800"/>
              <a:gd name="connsiteX37" fmla="*/ 76333 w 304800"/>
              <a:gd name="connsiteY37" fmla="*/ 161925 h 304800"/>
              <a:gd name="connsiteX38" fmla="*/ 19117 w 304800"/>
              <a:gd name="connsiteY38" fmla="*/ 161925 h 304800"/>
              <a:gd name="connsiteX39" fmla="*/ 19117 w 304800"/>
              <a:gd name="connsiteY39" fmla="*/ 172974 h 304800"/>
              <a:gd name="connsiteX40" fmla="*/ 85563 w 304800"/>
              <a:gd name="connsiteY40" fmla="*/ 304800 h 304800"/>
              <a:gd name="connsiteX41" fmla="*/ 0 w 304800"/>
              <a:gd name="connsiteY41" fmla="*/ 304800 h 304800"/>
              <a:gd name="connsiteX42" fmla="*/ 0 w 304800"/>
              <a:gd name="connsiteY42" fmla="*/ 208521 h 304800"/>
              <a:gd name="connsiteX43" fmla="*/ 95069 w 304800"/>
              <a:gd name="connsiteY43" fmla="*/ 228638 h 304800"/>
              <a:gd name="connsiteX44" fmla="*/ 85563 w 304800"/>
              <a:gd name="connsiteY44" fmla="*/ 304800 h 304800"/>
              <a:gd name="connsiteX45" fmla="*/ 19050 w 304800"/>
              <a:gd name="connsiteY45" fmla="*/ 285750 h 304800"/>
              <a:gd name="connsiteX46" fmla="*/ 68742 w 304800"/>
              <a:gd name="connsiteY46" fmla="*/ 285750 h 304800"/>
              <a:gd name="connsiteX47" fmla="*/ 74000 w 304800"/>
              <a:gd name="connsiteY47" fmla="*/ 243650 h 304800"/>
              <a:gd name="connsiteX48" fmla="*/ 19050 w 304800"/>
              <a:gd name="connsiteY48" fmla="*/ 232010 h 304800"/>
              <a:gd name="connsiteX49" fmla="*/ 19050 w 304800"/>
              <a:gd name="connsiteY49" fmla="*/ 285750 h 304800"/>
              <a:gd name="connsiteX50" fmla="*/ 229124 w 304800"/>
              <a:gd name="connsiteY50" fmla="*/ 304800 h 304800"/>
              <a:gd name="connsiteX51" fmla="*/ 104203 w 304800"/>
              <a:gd name="connsiteY51" fmla="*/ 304305 h 304800"/>
              <a:gd name="connsiteX52" fmla="*/ 114500 w 304800"/>
              <a:gd name="connsiteY52" fmla="*/ 228143 h 304800"/>
              <a:gd name="connsiteX53" fmla="*/ 209750 w 304800"/>
              <a:gd name="connsiteY53" fmla="*/ 208321 h 304800"/>
              <a:gd name="connsiteX54" fmla="*/ 229124 w 304800"/>
              <a:gd name="connsiteY54" fmla="*/ 304800 h 304800"/>
              <a:gd name="connsiteX55" fmla="*/ 125987 w 304800"/>
              <a:gd name="connsiteY55" fmla="*/ 285350 h 304800"/>
              <a:gd name="connsiteX56" fmla="*/ 205854 w 304800"/>
              <a:gd name="connsiteY56" fmla="*/ 285655 h 304800"/>
              <a:gd name="connsiteX57" fmla="*/ 194853 w 304800"/>
              <a:gd name="connsiteY57" fmla="*/ 230886 h 304800"/>
              <a:gd name="connsiteX58" fmla="*/ 131578 w 304800"/>
              <a:gd name="connsiteY58" fmla="*/ 244050 h 304800"/>
              <a:gd name="connsiteX59" fmla="*/ 125987 w 304800"/>
              <a:gd name="connsiteY59" fmla="*/ 285350 h 304800"/>
              <a:gd name="connsiteX60" fmla="*/ 266652 w 304800"/>
              <a:gd name="connsiteY60" fmla="*/ 19050 h 304800"/>
              <a:gd name="connsiteX61" fmla="*/ 266652 w 304800"/>
              <a:gd name="connsiteY61" fmla="*/ 0 h 304800"/>
              <a:gd name="connsiteX62" fmla="*/ 209483 w 304800"/>
              <a:gd name="connsiteY62" fmla="*/ 0 h 304800"/>
              <a:gd name="connsiteX63" fmla="*/ 209483 w 304800"/>
              <a:gd name="connsiteY63" fmla="*/ 9525 h 304800"/>
              <a:gd name="connsiteX64" fmla="*/ 209550 w 304800"/>
              <a:gd name="connsiteY64" fmla="*/ 9525 h 304800"/>
              <a:gd name="connsiteX65" fmla="*/ 152400 w 304800"/>
              <a:gd name="connsiteY65" fmla="*/ 66675 h 304800"/>
              <a:gd name="connsiteX66" fmla="*/ 95250 w 304800"/>
              <a:gd name="connsiteY66" fmla="*/ 9525 h 304800"/>
              <a:gd name="connsiteX67" fmla="*/ 95317 w 304800"/>
              <a:gd name="connsiteY67" fmla="*/ 9525 h 304800"/>
              <a:gd name="connsiteX68" fmla="*/ 95317 w 304800"/>
              <a:gd name="connsiteY68" fmla="*/ 0 h 304800"/>
              <a:gd name="connsiteX69" fmla="*/ 38100 w 304800"/>
              <a:gd name="connsiteY69" fmla="*/ 0 h 304800"/>
              <a:gd name="connsiteX70" fmla="*/ 38100 w 304800"/>
              <a:gd name="connsiteY70" fmla="*/ 19050 h 304800"/>
              <a:gd name="connsiteX71" fmla="*/ 76857 w 304800"/>
              <a:gd name="connsiteY71" fmla="*/ 19050 h 304800"/>
              <a:gd name="connsiteX72" fmla="*/ 82163 w 304800"/>
              <a:gd name="connsiteY72" fmla="*/ 39072 h 304800"/>
              <a:gd name="connsiteX73" fmla="*/ 48654 w 304800"/>
              <a:gd name="connsiteY73" fmla="*/ 58426 h 304800"/>
              <a:gd name="connsiteX74" fmla="*/ 58179 w 304800"/>
              <a:gd name="connsiteY74" fmla="*/ 74924 h 304800"/>
              <a:gd name="connsiteX75" fmla="*/ 91792 w 304800"/>
              <a:gd name="connsiteY75" fmla="*/ 55512 h 304800"/>
              <a:gd name="connsiteX76" fmla="*/ 106413 w 304800"/>
              <a:gd name="connsiteY76" fmla="*/ 70133 h 304800"/>
              <a:gd name="connsiteX77" fmla="*/ 87011 w 304800"/>
              <a:gd name="connsiteY77" fmla="*/ 103746 h 304800"/>
              <a:gd name="connsiteX78" fmla="*/ 103508 w 304800"/>
              <a:gd name="connsiteY78" fmla="*/ 113271 h 304800"/>
              <a:gd name="connsiteX79" fmla="*/ 122863 w 304800"/>
              <a:gd name="connsiteY79" fmla="*/ 79753 h 304800"/>
              <a:gd name="connsiteX80" fmla="*/ 142885 w 304800"/>
              <a:gd name="connsiteY80" fmla="*/ 85058 h 304800"/>
              <a:gd name="connsiteX81" fmla="*/ 142885 w 304800"/>
              <a:gd name="connsiteY81" fmla="*/ 123825 h 304800"/>
              <a:gd name="connsiteX82" fmla="*/ 161935 w 304800"/>
              <a:gd name="connsiteY82" fmla="*/ 123825 h 304800"/>
              <a:gd name="connsiteX83" fmla="*/ 161935 w 304800"/>
              <a:gd name="connsiteY83" fmla="*/ 85068 h 304800"/>
              <a:gd name="connsiteX84" fmla="*/ 181956 w 304800"/>
              <a:gd name="connsiteY84" fmla="*/ 79762 h 304800"/>
              <a:gd name="connsiteX85" fmla="*/ 201311 w 304800"/>
              <a:gd name="connsiteY85" fmla="*/ 113281 h 304800"/>
              <a:gd name="connsiteX86" fmla="*/ 217808 w 304800"/>
              <a:gd name="connsiteY86" fmla="*/ 103756 h 304800"/>
              <a:gd name="connsiteX87" fmla="*/ 198406 w 304800"/>
              <a:gd name="connsiteY87" fmla="*/ 70142 h 304800"/>
              <a:gd name="connsiteX88" fmla="*/ 213027 w 304800"/>
              <a:gd name="connsiteY88" fmla="*/ 55521 h 304800"/>
              <a:gd name="connsiteX89" fmla="*/ 246640 w 304800"/>
              <a:gd name="connsiteY89" fmla="*/ 74933 h 304800"/>
              <a:gd name="connsiteX90" fmla="*/ 256165 w 304800"/>
              <a:gd name="connsiteY90" fmla="*/ 58436 h 304800"/>
              <a:gd name="connsiteX91" fmla="*/ 222647 w 304800"/>
              <a:gd name="connsiteY91" fmla="*/ 39081 h 304800"/>
              <a:gd name="connsiteX92" fmla="*/ 227952 w 304800"/>
              <a:gd name="connsiteY92" fmla="*/ 19060 h 304800"/>
              <a:gd name="connsiteX93" fmla="*/ 266652 w 304800"/>
              <a:gd name="connsiteY93" fmla="*/ 1906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304800" h="304800">
                <a:moveTo>
                  <a:pt x="304457" y="304800"/>
                </a:moveTo>
                <a:lnTo>
                  <a:pt x="246602" y="304800"/>
                </a:lnTo>
                <a:lnTo>
                  <a:pt x="228600" y="209893"/>
                </a:lnTo>
                <a:lnTo>
                  <a:pt x="304762" y="226886"/>
                </a:lnTo>
                <a:lnTo>
                  <a:pt x="304457" y="304800"/>
                </a:lnTo>
                <a:close/>
                <a:moveTo>
                  <a:pt x="262376" y="285750"/>
                </a:moveTo>
                <a:lnTo>
                  <a:pt x="285483" y="285750"/>
                </a:lnTo>
                <a:lnTo>
                  <a:pt x="285664" y="242145"/>
                </a:lnTo>
                <a:lnTo>
                  <a:pt x="252717" y="234791"/>
                </a:lnTo>
                <a:lnTo>
                  <a:pt x="262376" y="285750"/>
                </a:lnTo>
                <a:close/>
                <a:moveTo>
                  <a:pt x="304352" y="208521"/>
                </a:moveTo>
                <a:lnTo>
                  <a:pt x="228048" y="190729"/>
                </a:lnTo>
                <a:lnTo>
                  <a:pt x="208874" y="142875"/>
                </a:lnTo>
                <a:lnTo>
                  <a:pt x="304800" y="143113"/>
                </a:lnTo>
                <a:lnTo>
                  <a:pt x="304352" y="208521"/>
                </a:lnTo>
                <a:close/>
                <a:moveTo>
                  <a:pt x="242040" y="174422"/>
                </a:moveTo>
                <a:lnTo>
                  <a:pt x="285474" y="184547"/>
                </a:lnTo>
                <a:lnTo>
                  <a:pt x="285626" y="162106"/>
                </a:lnTo>
                <a:lnTo>
                  <a:pt x="237058" y="161992"/>
                </a:lnTo>
                <a:lnTo>
                  <a:pt x="242040" y="174422"/>
                </a:lnTo>
                <a:close/>
                <a:moveTo>
                  <a:pt x="114300" y="209502"/>
                </a:moveTo>
                <a:lnTo>
                  <a:pt x="114300" y="142875"/>
                </a:lnTo>
                <a:lnTo>
                  <a:pt x="190995" y="142923"/>
                </a:lnTo>
                <a:lnTo>
                  <a:pt x="210598" y="190710"/>
                </a:lnTo>
                <a:lnTo>
                  <a:pt x="114300" y="209502"/>
                </a:lnTo>
                <a:close/>
                <a:moveTo>
                  <a:pt x="133350" y="161944"/>
                </a:moveTo>
                <a:lnTo>
                  <a:pt x="133350" y="186376"/>
                </a:lnTo>
                <a:lnTo>
                  <a:pt x="184156" y="176451"/>
                </a:lnTo>
                <a:lnTo>
                  <a:pt x="178213" y="161963"/>
                </a:lnTo>
                <a:lnTo>
                  <a:pt x="133350" y="161944"/>
                </a:lnTo>
                <a:close/>
                <a:moveTo>
                  <a:pt x="95783" y="209807"/>
                </a:moveTo>
                <a:lnTo>
                  <a:pt x="67" y="188214"/>
                </a:lnTo>
                <a:lnTo>
                  <a:pt x="67" y="142875"/>
                </a:lnTo>
                <a:lnTo>
                  <a:pt x="95231" y="142875"/>
                </a:lnTo>
                <a:lnTo>
                  <a:pt x="95783" y="209807"/>
                </a:lnTo>
                <a:close/>
                <a:moveTo>
                  <a:pt x="19117" y="172974"/>
                </a:moveTo>
                <a:lnTo>
                  <a:pt x="76533" y="185938"/>
                </a:lnTo>
                <a:lnTo>
                  <a:pt x="76333" y="161925"/>
                </a:lnTo>
                <a:lnTo>
                  <a:pt x="19117" y="161925"/>
                </a:lnTo>
                <a:lnTo>
                  <a:pt x="19117" y="172974"/>
                </a:lnTo>
                <a:close/>
                <a:moveTo>
                  <a:pt x="85563" y="304800"/>
                </a:moveTo>
                <a:lnTo>
                  <a:pt x="0" y="304800"/>
                </a:lnTo>
                <a:lnTo>
                  <a:pt x="0" y="208521"/>
                </a:lnTo>
                <a:lnTo>
                  <a:pt x="95069" y="228638"/>
                </a:lnTo>
                <a:lnTo>
                  <a:pt x="85563" y="304800"/>
                </a:lnTo>
                <a:close/>
                <a:moveTo>
                  <a:pt x="19050" y="285750"/>
                </a:moveTo>
                <a:lnTo>
                  <a:pt x="68742" y="285750"/>
                </a:lnTo>
                <a:lnTo>
                  <a:pt x="74000" y="243650"/>
                </a:lnTo>
                <a:lnTo>
                  <a:pt x="19050" y="232010"/>
                </a:lnTo>
                <a:lnTo>
                  <a:pt x="19050" y="285750"/>
                </a:lnTo>
                <a:close/>
                <a:moveTo>
                  <a:pt x="229124" y="304800"/>
                </a:moveTo>
                <a:lnTo>
                  <a:pt x="104203" y="304305"/>
                </a:lnTo>
                <a:lnTo>
                  <a:pt x="114500" y="228143"/>
                </a:lnTo>
                <a:lnTo>
                  <a:pt x="209750" y="208321"/>
                </a:lnTo>
                <a:lnTo>
                  <a:pt x="229124" y="304800"/>
                </a:lnTo>
                <a:close/>
                <a:moveTo>
                  <a:pt x="125987" y="285350"/>
                </a:moveTo>
                <a:lnTo>
                  <a:pt x="205854" y="285655"/>
                </a:lnTo>
                <a:lnTo>
                  <a:pt x="194853" y="230886"/>
                </a:lnTo>
                <a:lnTo>
                  <a:pt x="131578" y="244050"/>
                </a:lnTo>
                <a:lnTo>
                  <a:pt x="125987" y="285350"/>
                </a:lnTo>
                <a:close/>
                <a:moveTo>
                  <a:pt x="266652" y="19050"/>
                </a:moveTo>
                <a:lnTo>
                  <a:pt x="266652" y="0"/>
                </a:lnTo>
                <a:lnTo>
                  <a:pt x="209483" y="0"/>
                </a:lnTo>
                <a:lnTo>
                  <a:pt x="209483" y="9525"/>
                </a:lnTo>
                <a:lnTo>
                  <a:pt x="209550" y="9525"/>
                </a:lnTo>
                <a:cubicBezTo>
                  <a:pt x="209550" y="41043"/>
                  <a:pt x="183918" y="66675"/>
                  <a:pt x="152400" y="66675"/>
                </a:cubicBezTo>
                <a:cubicBezTo>
                  <a:pt x="120882" y="66675"/>
                  <a:pt x="95250" y="41043"/>
                  <a:pt x="95250" y="9525"/>
                </a:cubicBezTo>
                <a:lnTo>
                  <a:pt x="95317" y="9525"/>
                </a:lnTo>
                <a:lnTo>
                  <a:pt x="95317" y="0"/>
                </a:lnTo>
                <a:lnTo>
                  <a:pt x="38100" y="0"/>
                </a:lnTo>
                <a:lnTo>
                  <a:pt x="38100" y="19050"/>
                </a:lnTo>
                <a:lnTo>
                  <a:pt x="76857" y="19050"/>
                </a:lnTo>
                <a:cubicBezTo>
                  <a:pt x="77734" y="26051"/>
                  <a:pt x="79505" y="32785"/>
                  <a:pt x="82163" y="39072"/>
                </a:cubicBezTo>
                <a:lnTo>
                  <a:pt x="48654" y="58426"/>
                </a:lnTo>
                <a:lnTo>
                  <a:pt x="58179" y="74924"/>
                </a:lnTo>
                <a:lnTo>
                  <a:pt x="91792" y="55512"/>
                </a:lnTo>
                <a:cubicBezTo>
                  <a:pt x="95983" y="61027"/>
                  <a:pt x="100898" y="65932"/>
                  <a:pt x="106413" y="70133"/>
                </a:cubicBezTo>
                <a:lnTo>
                  <a:pt x="87011" y="103746"/>
                </a:lnTo>
                <a:lnTo>
                  <a:pt x="103508" y="113271"/>
                </a:lnTo>
                <a:lnTo>
                  <a:pt x="122863" y="79753"/>
                </a:lnTo>
                <a:cubicBezTo>
                  <a:pt x="129149" y="82410"/>
                  <a:pt x="135884" y="84182"/>
                  <a:pt x="142885" y="85058"/>
                </a:cubicBezTo>
                <a:lnTo>
                  <a:pt x="142885" y="123825"/>
                </a:lnTo>
                <a:lnTo>
                  <a:pt x="161935" y="123825"/>
                </a:lnTo>
                <a:lnTo>
                  <a:pt x="161935" y="85068"/>
                </a:lnTo>
                <a:cubicBezTo>
                  <a:pt x="168945" y="84191"/>
                  <a:pt x="175670" y="82420"/>
                  <a:pt x="181956" y="79762"/>
                </a:cubicBezTo>
                <a:lnTo>
                  <a:pt x="201311" y="113281"/>
                </a:lnTo>
                <a:lnTo>
                  <a:pt x="217808" y="103756"/>
                </a:lnTo>
                <a:lnTo>
                  <a:pt x="198406" y="70142"/>
                </a:lnTo>
                <a:cubicBezTo>
                  <a:pt x="203921" y="65951"/>
                  <a:pt x="208826" y="61036"/>
                  <a:pt x="213027" y="55521"/>
                </a:cubicBezTo>
                <a:lnTo>
                  <a:pt x="246640" y="74933"/>
                </a:lnTo>
                <a:lnTo>
                  <a:pt x="256165" y="58436"/>
                </a:lnTo>
                <a:lnTo>
                  <a:pt x="222647" y="39081"/>
                </a:lnTo>
                <a:cubicBezTo>
                  <a:pt x="225304" y="32795"/>
                  <a:pt x="227076" y="26060"/>
                  <a:pt x="227952" y="19060"/>
                </a:cubicBezTo>
                <a:lnTo>
                  <a:pt x="266652" y="19060"/>
                </a:lnTo>
                <a:close/>
              </a:path>
            </a:pathLst>
          </a:custGeom>
          <a:solidFill>
            <a:schemeClr val="tx2"/>
          </a:solidFill>
          <a:ln w="9525" cap="flat">
            <a:noFill/>
            <a:prstDash val="solid"/>
            <a:miter/>
          </a:ln>
        </p:spPr>
        <p:txBody>
          <a:bodyPr rtlCol="0" anchor="ctr"/>
          <a:lstStyle/>
          <a:p>
            <a:endParaRPr lang="en-GB" dirty="0"/>
          </a:p>
        </p:txBody>
      </p:sp>
      <p:pic>
        <p:nvPicPr>
          <p:cNvPr id="189" name="Graphic 188">
            <a:extLst>
              <a:ext uri="{FF2B5EF4-FFF2-40B4-BE49-F238E27FC236}">
                <a16:creationId xmlns:a16="http://schemas.microsoft.com/office/drawing/2014/main" id="{F31E9D50-F062-4508-8E90-52118CF908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697058" y="3232092"/>
            <a:ext cx="375718" cy="375718"/>
          </a:xfrm>
          <a:prstGeom prst="rect">
            <a:avLst/>
          </a:prstGeom>
        </p:spPr>
      </p:pic>
      <p:sp>
        <p:nvSpPr>
          <p:cNvPr id="204" name="Freeform 5">
            <a:extLst>
              <a:ext uri="{FF2B5EF4-FFF2-40B4-BE49-F238E27FC236}">
                <a16:creationId xmlns:a16="http://schemas.microsoft.com/office/drawing/2014/main" id="{697122FC-1BD7-49D7-B72C-5C41EB362899}"/>
              </a:ext>
            </a:extLst>
          </p:cNvPr>
          <p:cNvSpPr>
            <a:spLocks noEditPoints="1"/>
          </p:cNvSpPr>
          <p:nvPr/>
        </p:nvSpPr>
        <p:spPr bwMode="auto">
          <a:xfrm>
            <a:off x="1632314" y="1592334"/>
            <a:ext cx="414338" cy="412750"/>
          </a:xfrm>
          <a:custGeom>
            <a:avLst/>
            <a:gdLst>
              <a:gd name="T0" fmla="*/ 0 w 261"/>
              <a:gd name="T1" fmla="*/ 146 h 260"/>
              <a:gd name="T2" fmla="*/ 0 w 261"/>
              <a:gd name="T3" fmla="*/ 260 h 260"/>
              <a:gd name="T4" fmla="*/ 163 w 261"/>
              <a:gd name="T5" fmla="*/ 260 h 260"/>
              <a:gd name="T6" fmla="*/ 163 w 261"/>
              <a:gd name="T7" fmla="*/ 211 h 260"/>
              <a:gd name="T8" fmla="*/ 196 w 261"/>
              <a:gd name="T9" fmla="*/ 179 h 260"/>
              <a:gd name="T10" fmla="*/ 163 w 261"/>
              <a:gd name="T11" fmla="*/ 179 h 260"/>
              <a:gd name="T12" fmla="*/ 163 w 261"/>
              <a:gd name="T13" fmla="*/ 146 h 260"/>
              <a:gd name="T14" fmla="*/ 0 w 261"/>
              <a:gd name="T15" fmla="*/ 146 h 260"/>
              <a:gd name="T16" fmla="*/ 147 w 261"/>
              <a:gd name="T17" fmla="*/ 244 h 260"/>
              <a:gd name="T18" fmla="*/ 16 w 261"/>
              <a:gd name="T19" fmla="*/ 244 h 260"/>
              <a:gd name="T20" fmla="*/ 16 w 261"/>
              <a:gd name="T21" fmla="*/ 162 h 260"/>
              <a:gd name="T22" fmla="*/ 147 w 261"/>
              <a:gd name="T23" fmla="*/ 162 h 260"/>
              <a:gd name="T24" fmla="*/ 147 w 261"/>
              <a:gd name="T25" fmla="*/ 244 h 260"/>
              <a:gd name="T26" fmla="*/ 130 w 261"/>
              <a:gd name="T27" fmla="*/ 227 h 260"/>
              <a:gd name="T28" fmla="*/ 33 w 261"/>
              <a:gd name="T29" fmla="*/ 227 h 260"/>
              <a:gd name="T30" fmla="*/ 33 w 261"/>
              <a:gd name="T31" fmla="*/ 211 h 260"/>
              <a:gd name="T32" fmla="*/ 130 w 261"/>
              <a:gd name="T33" fmla="*/ 211 h 260"/>
              <a:gd name="T34" fmla="*/ 130 w 261"/>
              <a:gd name="T35" fmla="*/ 227 h 260"/>
              <a:gd name="T36" fmla="*/ 130 w 261"/>
              <a:gd name="T37" fmla="*/ 195 h 260"/>
              <a:gd name="T38" fmla="*/ 33 w 261"/>
              <a:gd name="T39" fmla="*/ 195 h 260"/>
              <a:gd name="T40" fmla="*/ 33 w 261"/>
              <a:gd name="T41" fmla="*/ 179 h 260"/>
              <a:gd name="T42" fmla="*/ 130 w 261"/>
              <a:gd name="T43" fmla="*/ 179 h 260"/>
              <a:gd name="T44" fmla="*/ 130 w 261"/>
              <a:gd name="T45" fmla="*/ 195 h 260"/>
              <a:gd name="T46" fmla="*/ 196 w 261"/>
              <a:gd name="T47" fmla="*/ 114 h 260"/>
              <a:gd name="T48" fmla="*/ 196 w 261"/>
              <a:gd name="T49" fmla="*/ 146 h 260"/>
              <a:gd name="T50" fmla="*/ 228 w 261"/>
              <a:gd name="T51" fmla="*/ 114 h 260"/>
              <a:gd name="T52" fmla="*/ 261 w 261"/>
              <a:gd name="T53" fmla="*/ 114 h 260"/>
              <a:gd name="T54" fmla="*/ 261 w 261"/>
              <a:gd name="T55" fmla="*/ 0 h 260"/>
              <a:gd name="T56" fmla="*/ 98 w 261"/>
              <a:gd name="T57" fmla="*/ 0 h 260"/>
              <a:gd name="T58" fmla="*/ 98 w 261"/>
              <a:gd name="T59" fmla="*/ 114 h 260"/>
              <a:gd name="T60" fmla="*/ 196 w 261"/>
              <a:gd name="T61" fmla="*/ 114 h 260"/>
              <a:gd name="T62" fmla="*/ 245 w 261"/>
              <a:gd name="T63" fmla="*/ 97 h 260"/>
              <a:gd name="T64" fmla="*/ 114 w 261"/>
              <a:gd name="T65" fmla="*/ 97 h 260"/>
              <a:gd name="T66" fmla="*/ 114 w 261"/>
              <a:gd name="T67" fmla="*/ 16 h 260"/>
              <a:gd name="T68" fmla="*/ 245 w 261"/>
              <a:gd name="T69" fmla="*/ 16 h 260"/>
              <a:gd name="T70" fmla="*/ 245 w 261"/>
              <a:gd name="T71" fmla="*/ 97 h 260"/>
              <a:gd name="T72" fmla="*/ 130 w 261"/>
              <a:gd name="T73" fmla="*/ 32 h 260"/>
              <a:gd name="T74" fmla="*/ 228 w 261"/>
              <a:gd name="T75" fmla="*/ 32 h 260"/>
              <a:gd name="T76" fmla="*/ 228 w 261"/>
              <a:gd name="T77" fmla="*/ 49 h 260"/>
              <a:gd name="T78" fmla="*/ 130 w 261"/>
              <a:gd name="T79" fmla="*/ 49 h 260"/>
              <a:gd name="T80" fmla="*/ 130 w 261"/>
              <a:gd name="T81" fmla="*/ 32 h 260"/>
              <a:gd name="T82" fmla="*/ 130 w 261"/>
              <a:gd name="T83" fmla="*/ 65 h 260"/>
              <a:gd name="T84" fmla="*/ 228 w 261"/>
              <a:gd name="T85" fmla="*/ 65 h 260"/>
              <a:gd name="T86" fmla="*/ 228 w 261"/>
              <a:gd name="T87" fmla="*/ 81 h 260"/>
              <a:gd name="T88" fmla="*/ 130 w 261"/>
              <a:gd name="T89" fmla="*/ 81 h 260"/>
              <a:gd name="T90" fmla="*/ 130 w 261"/>
              <a:gd name="T91" fmla="*/ 6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1" h="260">
                <a:moveTo>
                  <a:pt x="0" y="146"/>
                </a:moveTo>
                <a:lnTo>
                  <a:pt x="0" y="260"/>
                </a:lnTo>
                <a:lnTo>
                  <a:pt x="163" y="260"/>
                </a:lnTo>
                <a:lnTo>
                  <a:pt x="163" y="211"/>
                </a:lnTo>
                <a:lnTo>
                  <a:pt x="196" y="179"/>
                </a:lnTo>
                <a:lnTo>
                  <a:pt x="163" y="179"/>
                </a:lnTo>
                <a:lnTo>
                  <a:pt x="163" y="146"/>
                </a:lnTo>
                <a:lnTo>
                  <a:pt x="0" y="146"/>
                </a:lnTo>
                <a:close/>
                <a:moveTo>
                  <a:pt x="147" y="244"/>
                </a:moveTo>
                <a:lnTo>
                  <a:pt x="16" y="244"/>
                </a:lnTo>
                <a:lnTo>
                  <a:pt x="16" y="162"/>
                </a:lnTo>
                <a:lnTo>
                  <a:pt x="147" y="162"/>
                </a:lnTo>
                <a:lnTo>
                  <a:pt x="147" y="244"/>
                </a:lnTo>
                <a:close/>
                <a:moveTo>
                  <a:pt x="130" y="227"/>
                </a:moveTo>
                <a:lnTo>
                  <a:pt x="33" y="227"/>
                </a:lnTo>
                <a:lnTo>
                  <a:pt x="33" y="211"/>
                </a:lnTo>
                <a:lnTo>
                  <a:pt x="130" y="211"/>
                </a:lnTo>
                <a:lnTo>
                  <a:pt x="130" y="227"/>
                </a:lnTo>
                <a:close/>
                <a:moveTo>
                  <a:pt x="130" y="195"/>
                </a:moveTo>
                <a:lnTo>
                  <a:pt x="33" y="195"/>
                </a:lnTo>
                <a:lnTo>
                  <a:pt x="33" y="179"/>
                </a:lnTo>
                <a:lnTo>
                  <a:pt x="130" y="179"/>
                </a:lnTo>
                <a:lnTo>
                  <a:pt x="130" y="195"/>
                </a:lnTo>
                <a:close/>
                <a:moveTo>
                  <a:pt x="196" y="114"/>
                </a:moveTo>
                <a:lnTo>
                  <a:pt x="196" y="146"/>
                </a:lnTo>
                <a:lnTo>
                  <a:pt x="228" y="114"/>
                </a:lnTo>
                <a:lnTo>
                  <a:pt x="261" y="114"/>
                </a:lnTo>
                <a:lnTo>
                  <a:pt x="261" y="0"/>
                </a:lnTo>
                <a:lnTo>
                  <a:pt x="98" y="0"/>
                </a:lnTo>
                <a:lnTo>
                  <a:pt x="98" y="114"/>
                </a:lnTo>
                <a:lnTo>
                  <a:pt x="196" y="114"/>
                </a:lnTo>
                <a:close/>
                <a:moveTo>
                  <a:pt x="245" y="97"/>
                </a:moveTo>
                <a:lnTo>
                  <a:pt x="114" y="97"/>
                </a:lnTo>
                <a:lnTo>
                  <a:pt x="114" y="16"/>
                </a:lnTo>
                <a:lnTo>
                  <a:pt x="245" y="16"/>
                </a:lnTo>
                <a:lnTo>
                  <a:pt x="245" y="97"/>
                </a:lnTo>
                <a:close/>
                <a:moveTo>
                  <a:pt x="130" y="32"/>
                </a:moveTo>
                <a:lnTo>
                  <a:pt x="228" y="32"/>
                </a:lnTo>
                <a:lnTo>
                  <a:pt x="228" y="49"/>
                </a:lnTo>
                <a:lnTo>
                  <a:pt x="130" y="49"/>
                </a:lnTo>
                <a:lnTo>
                  <a:pt x="130" y="32"/>
                </a:lnTo>
                <a:close/>
                <a:moveTo>
                  <a:pt x="130" y="65"/>
                </a:moveTo>
                <a:lnTo>
                  <a:pt x="228" y="65"/>
                </a:lnTo>
                <a:lnTo>
                  <a:pt x="228" y="81"/>
                </a:lnTo>
                <a:lnTo>
                  <a:pt x="130" y="81"/>
                </a:lnTo>
                <a:lnTo>
                  <a:pt x="130" y="6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5" name="Freeform 9">
            <a:extLst>
              <a:ext uri="{FF2B5EF4-FFF2-40B4-BE49-F238E27FC236}">
                <a16:creationId xmlns:a16="http://schemas.microsoft.com/office/drawing/2014/main" id="{30146A6B-E299-43D5-A8E0-5E05057A280B}"/>
              </a:ext>
            </a:extLst>
          </p:cNvPr>
          <p:cNvSpPr>
            <a:spLocks noEditPoints="1"/>
          </p:cNvSpPr>
          <p:nvPr/>
        </p:nvSpPr>
        <p:spPr bwMode="auto">
          <a:xfrm>
            <a:off x="2678542" y="1844746"/>
            <a:ext cx="412750" cy="160338"/>
          </a:xfrm>
          <a:custGeom>
            <a:avLst/>
            <a:gdLst>
              <a:gd name="T0" fmla="*/ 16 w 260"/>
              <a:gd name="T1" fmla="*/ 101 h 101"/>
              <a:gd name="T2" fmla="*/ 0 w 260"/>
              <a:gd name="T3" fmla="*/ 101 h 101"/>
              <a:gd name="T4" fmla="*/ 0 w 260"/>
              <a:gd name="T5" fmla="*/ 0 h 101"/>
              <a:gd name="T6" fmla="*/ 16 w 260"/>
              <a:gd name="T7" fmla="*/ 0 h 101"/>
              <a:gd name="T8" fmla="*/ 16 w 260"/>
              <a:gd name="T9" fmla="*/ 101 h 101"/>
              <a:gd name="T10" fmla="*/ 260 w 260"/>
              <a:gd name="T11" fmla="*/ 0 h 101"/>
              <a:gd name="T12" fmla="*/ 244 w 260"/>
              <a:gd name="T13" fmla="*/ 0 h 101"/>
              <a:gd name="T14" fmla="*/ 244 w 260"/>
              <a:gd name="T15" fmla="*/ 101 h 101"/>
              <a:gd name="T16" fmla="*/ 260 w 260"/>
              <a:gd name="T17" fmla="*/ 101 h 101"/>
              <a:gd name="T18" fmla="*/ 260 w 260"/>
              <a:gd name="T19" fmla="*/ 0 h 101"/>
              <a:gd name="T20" fmla="*/ 185 w 260"/>
              <a:gd name="T21" fmla="*/ 2 h 101"/>
              <a:gd name="T22" fmla="*/ 173 w 260"/>
              <a:gd name="T23" fmla="*/ 15 h 101"/>
              <a:gd name="T24" fmla="*/ 199 w 260"/>
              <a:gd name="T25" fmla="*/ 42 h 101"/>
              <a:gd name="T26" fmla="*/ 61 w 260"/>
              <a:gd name="T27" fmla="*/ 42 h 101"/>
              <a:gd name="T28" fmla="*/ 87 w 260"/>
              <a:gd name="T29" fmla="*/ 15 h 101"/>
              <a:gd name="T30" fmla="*/ 75 w 260"/>
              <a:gd name="T31" fmla="*/ 2 h 101"/>
              <a:gd name="T32" fmla="*/ 28 w 260"/>
              <a:gd name="T33" fmla="*/ 51 h 101"/>
              <a:gd name="T34" fmla="*/ 75 w 260"/>
              <a:gd name="T35" fmla="*/ 99 h 101"/>
              <a:gd name="T36" fmla="*/ 87 w 260"/>
              <a:gd name="T37" fmla="*/ 86 h 101"/>
              <a:gd name="T38" fmla="*/ 61 w 260"/>
              <a:gd name="T39" fmla="*/ 59 h 101"/>
              <a:gd name="T40" fmla="*/ 199 w 260"/>
              <a:gd name="T41" fmla="*/ 59 h 101"/>
              <a:gd name="T42" fmla="*/ 173 w 260"/>
              <a:gd name="T43" fmla="*/ 86 h 101"/>
              <a:gd name="T44" fmla="*/ 185 w 260"/>
              <a:gd name="T45" fmla="*/ 99 h 101"/>
              <a:gd name="T46" fmla="*/ 231 w 260"/>
              <a:gd name="T47" fmla="*/ 51 h 101"/>
              <a:gd name="T48" fmla="*/ 185 w 260"/>
              <a:gd name="T49" fmla="*/ 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101">
                <a:moveTo>
                  <a:pt x="16" y="101"/>
                </a:moveTo>
                <a:lnTo>
                  <a:pt x="0" y="101"/>
                </a:lnTo>
                <a:lnTo>
                  <a:pt x="0" y="0"/>
                </a:lnTo>
                <a:lnTo>
                  <a:pt x="16" y="0"/>
                </a:lnTo>
                <a:lnTo>
                  <a:pt x="16" y="101"/>
                </a:lnTo>
                <a:close/>
                <a:moveTo>
                  <a:pt x="260" y="0"/>
                </a:moveTo>
                <a:lnTo>
                  <a:pt x="244" y="0"/>
                </a:lnTo>
                <a:lnTo>
                  <a:pt x="244" y="101"/>
                </a:lnTo>
                <a:lnTo>
                  <a:pt x="260" y="101"/>
                </a:lnTo>
                <a:lnTo>
                  <a:pt x="260" y="0"/>
                </a:lnTo>
                <a:close/>
                <a:moveTo>
                  <a:pt x="185" y="2"/>
                </a:moveTo>
                <a:lnTo>
                  <a:pt x="173" y="15"/>
                </a:lnTo>
                <a:lnTo>
                  <a:pt x="199" y="42"/>
                </a:lnTo>
                <a:lnTo>
                  <a:pt x="61" y="42"/>
                </a:lnTo>
                <a:lnTo>
                  <a:pt x="87" y="15"/>
                </a:lnTo>
                <a:lnTo>
                  <a:pt x="75" y="2"/>
                </a:lnTo>
                <a:lnTo>
                  <a:pt x="28" y="51"/>
                </a:lnTo>
                <a:lnTo>
                  <a:pt x="75" y="99"/>
                </a:lnTo>
                <a:lnTo>
                  <a:pt x="87" y="86"/>
                </a:lnTo>
                <a:lnTo>
                  <a:pt x="61" y="59"/>
                </a:lnTo>
                <a:lnTo>
                  <a:pt x="199" y="59"/>
                </a:lnTo>
                <a:lnTo>
                  <a:pt x="173" y="86"/>
                </a:lnTo>
                <a:lnTo>
                  <a:pt x="185" y="99"/>
                </a:lnTo>
                <a:lnTo>
                  <a:pt x="231" y="51"/>
                </a:lnTo>
                <a:lnTo>
                  <a:pt x="185" y="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6" name="Freeform 13">
            <a:extLst>
              <a:ext uri="{FF2B5EF4-FFF2-40B4-BE49-F238E27FC236}">
                <a16:creationId xmlns:a16="http://schemas.microsoft.com/office/drawing/2014/main" id="{73A2682A-5875-407D-9FFE-AE8F5FAE0EC9}"/>
              </a:ext>
            </a:extLst>
          </p:cNvPr>
          <p:cNvSpPr>
            <a:spLocks noEditPoints="1"/>
          </p:cNvSpPr>
          <p:nvPr/>
        </p:nvSpPr>
        <p:spPr bwMode="auto">
          <a:xfrm>
            <a:off x="3773983" y="1592334"/>
            <a:ext cx="312738" cy="412750"/>
          </a:xfrm>
          <a:custGeom>
            <a:avLst/>
            <a:gdLst>
              <a:gd name="T0" fmla="*/ 197 w 197"/>
              <a:gd name="T1" fmla="*/ 81 h 260"/>
              <a:gd name="T2" fmla="*/ 115 w 197"/>
              <a:gd name="T3" fmla="*/ 0 h 260"/>
              <a:gd name="T4" fmla="*/ 0 w 197"/>
              <a:gd name="T5" fmla="*/ 0 h 260"/>
              <a:gd name="T6" fmla="*/ 0 w 197"/>
              <a:gd name="T7" fmla="*/ 260 h 260"/>
              <a:gd name="T8" fmla="*/ 197 w 197"/>
              <a:gd name="T9" fmla="*/ 260 h 260"/>
              <a:gd name="T10" fmla="*/ 197 w 197"/>
              <a:gd name="T11" fmla="*/ 81 h 260"/>
              <a:gd name="T12" fmla="*/ 17 w 197"/>
              <a:gd name="T13" fmla="*/ 244 h 260"/>
              <a:gd name="T14" fmla="*/ 17 w 197"/>
              <a:gd name="T15" fmla="*/ 16 h 260"/>
              <a:gd name="T16" fmla="*/ 115 w 197"/>
              <a:gd name="T17" fmla="*/ 16 h 260"/>
              <a:gd name="T18" fmla="*/ 115 w 197"/>
              <a:gd name="T19" fmla="*/ 81 h 260"/>
              <a:gd name="T20" fmla="*/ 181 w 197"/>
              <a:gd name="T21" fmla="*/ 81 h 260"/>
              <a:gd name="T22" fmla="*/ 181 w 197"/>
              <a:gd name="T23" fmla="*/ 244 h 260"/>
              <a:gd name="T24" fmla="*/ 17 w 197"/>
              <a:gd name="T25" fmla="*/ 24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60">
                <a:moveTo>
                  <a:pt x="197" y="81"/>
                </a:moveTo>
                <a:lnTo>
                  <a:pt x="115" y="0"/>
                </a:lnTo>
                <a:lnTo>
                  <a:pt x="0" y="0"/>
                </a:lnTo>
                <a:lnTo>
                  <a:pt x="0" y="260"/>
                </a:lnTo>
                <a:lnTo>
                  <a:pt x="197" y="260"/>
                </a:lnTo>
                <a:lnTo>
                  <a:pt x="197" y="81"/>
                </a:lnTo>
                <a:close/>
                <a:moveTo>
                  <a:pt x="17" y="244"/>
                </a:moveTo>
                <a:lnTo>
                  <a:pt x="17" y="16"/>
                </a:lnTo>
                <a:lnTo>
                  <a:pt x="115" y="16"/>
                </a:lnTo>
                <a:lnTo>
                  <a:pt x="115" y="81"/>
                </a:lnTo>
                <a:lnTo>
                  <a:pt x="181" y="81"/>
                </a:lnTo>
                <a:lnTo>
                  <a:pt x="181" y="244"/>
                </a:lnTo>
                <a:lnTo>
                  <a:pt x="17" y="24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7" name="Freeform 17">
            <a:extLst>
              <a:ext uri="{FF2B5EF4-FFF2-40B4-BE49-F238E27FC236}">
                <a16:creationId xmlns:a16="http://schemas.microsoft.com/office/drawing/2014/main" id="{8C97B7E0-FC23-43E5-BFD7-E423796574C5}"/>
              </a:ext>
            </a:extLst>
          </p:cNvPr>
          <p:cNvSpPr>
            <a:spLocks noEditPoints="1"/>
          </p:cNvSpPr>
          <p:nvPr/>
        </p:nvSpPr>
        <p:spPr bwMode="auto">
          <a:xfrm>
            <a:off x="637681" y="2404596"/>
            <a:ext cx="312738" cy="414338"/>
          </a:xfrm>
          <a:custGeom>
            <a:avLst/>
            <a:gdLst>
              <a:gd name="T0" fmla="*/ 131 w 197"/>
              <a:gd name="T1" fmla="*/ 33 h 261"/>
              <a:gd name="T2" fmla="*/ 0 w 197"/>
              <a:gd name="T3" fmla="*/ 33 h 261"/>
              <a:gd name="T4" fmla="*/ 0 w 197"/>
              <a:gd name="T5" fmla="*/ 261 h 261"/>
              <a:gd name="T6" fmla="*/ 197 w 197"/>
              <a:gd name="T7" fmla="*/ 261 h 261"/>
              <a:gd name="T8" fmla="*/ 197 w 197"/>
              <a:gd name="T9" fmla="*/ 98 h 261"/>
              <a:gd name="T10" fmla="*/ 131 w 197"/>
              <a:gd name="T11" fmla="*/ 33 h 261"/>
              <a:gd name="T12" fmla="*/ 131 w 197"/>
              <a:gd name="T13" fmla="*/ 33 h 261"/>
              <a:gd name="T14" fmla="*/ 181 w 197"/>
              <a:gd name="T15" fmla="*/ 245 h 261"/>
              <a:gd name="T16" fmla="*/ 17 w 197"/>
              <a:gd name="T17" fmla="*/ 245 h 261"/>
              <a:gd name="T18" fmla="*/ 17 w 197"/>
              <a:gd name="T19" fmla="*/ 49 h 261"/>
              <a:gd name="T20" fmla="*/ 131 w 197"/>
              <a:gd name="T21" fmla="*/ 49 h 261"/>
              <a:gd name="T22" fmla="*/ 131 w 197"/>
              <a:gd name="T23" fmla="*/ 98 h 261"/>
              <a:gd name="T24" fmla="*/ 181 w 197"/>
              <a:gd name="T25" fmla="*/ 98 h 261"/>
              <a:gd name="T26" fmla="*/ 181 w 197"/>
              <a:gd name="T27" fmla="*/ 245 h 261"/>
              <a:gd name="T28" fmla="*/ 152 w 197"/>
              <a:gd name="T29" fmla="*/ 0 h 261"/>
              <a:gd name="T30" fmla="*/ 197 w 197"/>
              <a:gd name="T31" fmla="*/ 45 h 261"/>
              <a:gd name="T32" fmla="*/ 197 w 197"/>
              <a:gd name="T33" fmla="*/ 69 h 261"/>
              <a:gd name="T34" fmla="*/ 144 w 197"/>
              <a:gd name="T35" fmla="*/ 16 h 261"/>
              <a:gd name="T36" fmla="*/ 17 w 197"/>
              <a:gd name="T37" fmla="*/ 16 h 261"/>
              <a:gd name="T38" fmla="*/ 17 w 197"/>
              <a:gd name="T39" fmla="*/ 0 h 261"/>
              <a:gd name="T40" fmla="*/ 152 w 197"/>
              <a:gd name="T41"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261">
                <a:moveTo>
                  <a:pt x="131" y="33"/>
                </a:moveTo>
                <a:lnTo>
                  <a:pt x="0" y="33"/>
                </a:lnTo>
                <a:lnTo>
                  <a:pt x="0" y="261"/>
                </a:lnTo>
                <a:lnTo>
                  <a:pt x="197" y="261"/>
                </a:lnTo>
                <a:lnTo>
                  <a:pt x="197" y="98"/>
                </a:lnTo>
                <a:lnTo>
                  <a:pt x="131" y="33"/>
                </a:lnTo>
                <a:lnTo>
                  <a:pt x="131" y="33"/>
                </a:lnTo>
                <a:close/>
                <a:moveTo>
                  <a:pt x="181" y="245"/>
                </a:moveTo>
                <a:lnTo>
                  <a:pt x="17" y="245"/>
                </a:lnTo>
                <a:lnTo>
                  <a:pt x="17" y="49"/>
                </a:lnTo>
                <a:lnTo>
                  <a:pt x="131" y="49"/>
                </a:lnTo>
                <a:lnTo>
                  <a:pt x="131" y="98"/>
                </a:lnTo>
                <a:lnTo>
                  <a:pt x="181" y="98"/>
                </a:lnTo>
                <a:lnTo>
                  <a:pt x="181" y="245"/>
                </a:lnTo>
                <a:close/>
                <a:moveTo>
                  <a:pt x="152" y="0"/>
                </a:moveTo>
                <a:lnTo>
                  <a:pt x="197" y="45"/>
                </a:lnTo>
                <a:lnTo>
                  <a:pt x="197" y="69"/>
                </a:lnTo>
                <a:lnTo>
                  <a:pt x="144" y="16"/>
                </a:lnTo>
                <a:lnTo>
                  <a:pt x="17" y="16"/>
                </a:lnTo>
                <a:lnTo>
                  <a:pt x="17" y="0"/>
                </a:lnTo>
                <a:lnTo>
                  <a:pt x="152"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8" name="Freeform 22">
            <a:extLst>
              <a:ext uri="{FF2B5EF4-FFF2-40B4-BE49-F238E27FC236}">
                <a16:creationId xmlns:a16="http://schemas.microsoft.com/office/drawing/2014/main" id="{8C733305-B013-4914-AA97-3DE172091C61}"/>
              </a:ext>
            </a:extLst>
          </p:cNvPr>
          <p:cNvSpPr>
            <a:spLocks noEditPoints="1"/>
          </p:cNvSpPr>
          <p:nvPr/>
        </p:nvSpPr>
        <p:spPr bwMode="auto">
          <a:xfrm>
            <a:off x="1632315" y="2406184"/>
            <a:ext cx="414337" cy="412750"/>
          </a:xfrm>
          <a:custGeom>
            <a:avLst/>
            <a:gdLst>
              <a:gd name="T0" fmla="*/ 261 w 261"/>
              <a:gd name="T1" fmla="*/ 260 h 260"/>
              <a:gd name="T2" fmla="*/ 0 w 261"/>
              <a:gd name="T3" fmla="*/ 260 h 260"/>
              <a:gd name="T4" fmla="*/ 0 w 261"/>
              <a:gd name="T5" fmla="*/ 179 h 260"/>
              <a:gd name="T6" fmla="*/ 16 w 261"/>
              <a:gd name="T7" fmla="*/ 179 h 260"/>
              <a:gd name="T8" fmla="*/ 16 w 261"/>
              <a:gd name="T9" fmla="*/ 244 h 260"/>
              <a:gd name="T10" fmla="*/ 245 w 261"/>
              <a:gd name="T11" fmla="*/ 244 h 260"/>
              <a:gd name="T12" fmla="*/ 245 w 261"/>
              <a:gd name="T13" fmla="*/ 179 h 260"/>
              <a:gd name="T14" fmla="*/ 261 w 261"/>
              <a:gd name="T15" fmla="*/ 179 h 260"/>
              <a:gd name="T16" fmla="*/ 261 w 261"/>
              <a:gd name="T17" fmla="*/ 260 h 260"/>
              <a:gd name="T18" fmla="*/ 63 w 261"/>
              <a:gd name="T19" fmla="*/ 108 h 260"/>
              <a:gd name="T20" fmla="*/ 130 w 261"/>
              <a:gd name="T21" fmla="*/ 179 h 260"/>
              <a:gd name="T22" fmla="*/ 198 w 261"/>
              <a:gd name="T23" fmla="*/ 108 h 260"/>
              <a:gd name="T24" fmla="*/ 185 w 261"/>
              <a:gd name="T25" fmla="*/ 95 h 260"/>
              <a:gd name="T26" fmla="*/ 139 w 261"/>
              <a:gd name="T27" fmla="*/ 146 h 260"/>
              <a:gd name="T28" fmla="*/ 139 w 261"/>
              <a:gd name="T29" fmla="*/ 0 h 260"/>
              <a:gd name="T30" fmla="*/ 122 w 261"/>
              <a:gd name="T31" fmla="*/ 0 h 260"/>
              <a:gd name="T32" fmla="*/ 122 w 261"/>
              <a:gd name="T33" fmla="*/ 146 h 260"/>
              <a:gd name="T34" fmla="*/ 75 w 261"/>
              <a:gd name="T35" fmla="*/ 95 h 260"/>
              <a:gd name="T36" fmla="*/ 63 w 261"/>
              <a:gd name="T37" fmla="*/ 108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1" h="260">
                <a:moveTo>
                  <a:pt x="261" y="260"/>
                </a:moveTo>
                <a:lnTo>
                  <a:pt x="0" y="260"/>
                </a:lnTo>
                <a:lnTo>
                  <a:pt x="0" y="179"/>
                </a:lnTo>
                <a:lnTo>
                  <a:pt x="16" y="179"/>
                </a:lnTo>
                <a:lnTo>
                  <a:pt x="16" y="244"/>
                </a:lnTo>
                <a:lnTo>
                  <a:pt x="245" y="244"/>
                </a:lnTo>
                <a:lnTo>
                  <a:pt x="245" y="179"/>
                </a:lnTo>
                <a:lnTo>
                  <a:pt x="261" y="179"/>
                </a:lnTo>
                <a:lnTo>
                  <a:pt x="261" y="260"/>
                </a:lnTo>
                <a:close/>
                <a:moveTo>
                  <a:pt x="63" y="108"/>
                </a:moveTo>
                <a:lnTo>
                  <a:pt x="130" y="179"/>
                </a:lnTo>
                <a:lnTo>
                  <a:pt x="198" y="108"/>
                </a:lnTo>
                <a:lnTo>
                  <a:pt x="185" y="95"/>
                </a:lnTo>
                <a:lnTo>
                  <a:pt x="139" y="146"/>
                </a:lnTo>
                <a:lnTo>
                  <a:pt x="139" y="0"/>
                </a:lnTo>
                <a:lnTo>
                  <a:pt x="122" y="0"/>
                </a:lnTo>
                <a:lnTo>
                  <a:pt x="122" y="146"/>
                </a:lnTo>
                <a:lnTo>
                  <a:pt x="75" y="95"/>
                </a:lnTo>
                <a:lnTo>
                  <a:pt x="63" y="10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9" name="Freeform 26">
            <a:extLst>
              <a:ext uri="{FF2B5EF4-FFF2-40B4-BE49-F238E27FC236}">
                <a16:creationId xmlns:a16="http://schemas.microsoft.com/office/drawing/2014/main" id="{54ADDFF5-FA0D-4B90-A948-A31F6A9989C8}"/>
              </a:ext>
            </a:extLst>
          </p:cNvPr>
          <p:cNvSpPr>
            <a:spLocks noEditPoints="1"/>
          </p:cNvSpPr>
          <p:nvPr/>
        </p:nvSpPr>
        <p:spPr bwMode="auto">
          <a:xfrm>
            <a:off x="2677748" y="2404596"/>
            <a:ext cx="414338" cy="414338"/>
          </a:xfrm>
          <a:custGeom>
            <a:avLst/>
            <a:gdLst>
              <a:gd name="T0" fmla="*/ 128 w 128"/>
              <a:gd name="T1" fmla="*/ 54 h 128"/>
              <a:gd name="T2" fmla="*/ 98 w 128"/>
              <a:gd name="T3" fmla="*/ 84 h 128"/>
              <a:gd name="T4" fmla="*/ 96 w 128"/>
              <a:gd name="T5" fmla="*/ 84 h 128"/>
              <a:gd name="T6" fmla="*/ 84 w 128"/>
              <a:gd name="T7" fmla="*/ 84 h 128"/>
              <a:gd name="T8" fmla="*/ 84 w 128"/>
              <a:gd name="T9" fmla="*/ 76 h 128"/>
              <a:gd name="T10" fmla="*/ 96 w 128"/>
              <a:gd name="T11" fmla="*/ 76 h 128"/>
              <a:gd name="T12" fmla="*/ 98 w 128"/>
              <a:gd name="T13" fmla="*/ 76 h 128"/>
              <a:gd name="T14" fmla="*/ 120 w 128"/>
              <a:gd name="T15" fmla="*/ 54 h 128"/>
              <a:gd name="T16" fmla="*/ 98 w 128"/>
              <a:gd name="T17" fmla="*/ 32 h 128"/>
              <a:gd name="T18" fmla="*/ 92 w 128"/>
              <a:gd name="T19" fmla="*/ 33 h 128"/>
              <a:gd name="T20" fmla="*/ 84 w 128"/>
              <a:gd name="T21" fmla="*/ 37 h 128"/>
              <a:gd name="T22" fmla="*/ 84 w 128"/>
              <a:gd name="T23" fmla="*/ 36 h 128"/>
              <a:gd name="T24" fmla="*/ 83 w 128"/>
              <a:gd name="T25" fmla="*/ 28 h 128"/>
              <a:gd name="T26" fmla="*/ 56 w 128"/>
              <a:gd name="T27" fmla="*/ 8 h 128"/>
              <a:gd name="T28" fmla="*/ 28 w 128"/>
              <a:gd name="T29" fmla="*/ 36 h 128"/>
              <a:gd name="T30" fmla="*/ 28 w 128"/>
              <a:gd name="T31" fmla="*/ 36 h 128"/>
              <a:gd name="T32" fmla="*/ 30 w 128"/>
              <a:gd name="T33" fmla="*/ 45 h 128"/>
              <a:gd name="T34" fmla="*/ 24 w 128"/>
              <a:gd name="T35" fmla="*/ 44 h 128"/>
              <a:gd name="T36" fmla="*/ 21 w 128"/>
              <a:gd name="T37" fmla="*/ 44 h 128"/>
              <a:gd name="T38" fmla="*/ 8 w 128"/>
              <a:gd name="T39" fmla="*/ 60 h 128"/>
              <a:gd name="T40" fmla="*/ 24 w 128"/>
              <a:gd name="T41" fmla="*/ 76 h 128"/>
              <a:gd name="T42" fmla="*/ 44 w 128"/>
              <a:gd name="T43" fmla="*/ 76 h 128"/>
              <a:gd name="T44" fmla="*/ 44 w 128"/>
              <a:gd name="T45" fmla="*/ 84 h 128"/>
              <a:gd name="T46" fmla="*/ 24 w 128"/>
              <a:gd name="T47" fmla="*/ 84 h 128"/>
              <a:gd name="T48" fmla="*/ 0 w 128"/>
              <a:gd name="T49" fmla="*/ 60 h 128"/>
              <a:gd name="T50" fmla="*/ 20 w 128"/>
              <a:gd name="T51" fmla="*/ 36 h 128"/>
              <a:gd name="T52" fmla="*/ 20 w 128"/>
              <a:gd name="T53" fmla="*/ 36 h 128"/>
              <a:gd name="T54" fmla="*/ 56 w 128"/>
              <a:gd name="T55" fmla="*/ 0 h 128"/>
              <a:gd name="T56" fmla="*/ 90 w 128"/>
              <a:gd name="T57" fmla="*/ 25 h 128"/>
              <a:gd name="T58" fmla="*/ 98 w 128"/>
              <a:gd name="T59" fmla="*/ 24 h 128"/>
              <a:gd name="T60" fmla="*/ 128 w 128"/>
              <a:gd name="T61" fmla="*/ 54 h 128"/>
              <a:gd name="T62" fmla="*/ 85 w 128"/>
              <a:gd name="T63" fmla="*/ 91 h 128"/>
              <a:gd name="T64" fmla="*/ 68 w 128"/>
              <a:gd name="T65" fmla="*/ 111 h 128"/>
              <a:gd name="T66" fmla="*/ 68 w 128"/>
              <a:gd name="T67" fmla="*/ 52 h 128"/>
              <a:gd name="T68" fmla="*/ 60 w 128"/>
              <a:gd name="T69" fmla="*/ 52 h 128"/>
              <a:gd name="T70" fmla="*/ 60 w 128"/>
              <a:gd name="T71" fmla="*/ 111 h 128"/>
              <a:gd name="T72" fmla="*/ 43 w 128"/>
              <a:gd name="T73" fmla="*/ 91 h 128"/>
              <a:gd name="T74" fmla="*/ 37 w 128"/>
              <a:gd name="T75" fmla="*/ 96 h 128"/>
              <a:gd name="T76" fmla="*/ 64 w 128"/>
              <a:gd name="T77" fmla="*/ 128 h 128"/>
              <a:gd name="T78" fmla="*/ 91 w 128"/>
              <a:gd name="T79" fmla="*/ 96 h 128"/>
              <a:gd name="T80" fmla="*/ 85 w 128"/>
              <a:gd name="T81" fmla="*/ 9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8" h="128">
                <a:moveTo>
                  <a:pt x="128" y="54"/>
                </a:moveTo>
                <a:cubicBezTo>
                  <a:pt x="128" y="71"/>
                  <a:pt x="115" y="84"/>
                  <a:pt x="98" y="84"/>
                </a:cubicBezTo>
                <a:cubicBezTo>
                  <a:pt x="97" y="84"/>
                  <a:pt x="97" y="84"/>
                  <a:pt x="96" y="84"/>
                </a:cubicBezTo>
                <a:cubicBezTo>
                  <a:pt x="84" y="84"/>
                  <a:pt x="84" y="84"/>
                  <a:pt x="84" y="84"/>
                </a:cubicBezTo>
                <a:cubicBezTo>
                  <a:pt x="84" y="76"/>
                  <a:pt x="84" y="76"/>
                  <a:pt x="84" y="76"/>
                </a:cubicBezTo>
                <a:cubicBezTo>
                  <a:pt x="96" y="76"/>
                  <a:pt x="96" y="76"/>
                  <a:pt x="96" y="76"/>
                </a:cubicBezTo>
                <a:cubicBezTo>
                  <a:pt x="97" y="76"/>
                  <a:pt x="97" y="76"/>
                  <a:pt x="98" y="76"/>
                </a:cubicBezTo>
                <a:cubicBezTo>
                  <a:pt x="110" y="76"/>
                  <a:pt x="120" y="66"/>
                  <a:pt x="120" y="54"/>
                </a:cubicBezTo>
                <a:cubicBezTo>
                  <a:pt x="120" y="42"/>
                  <a:pt x="110" y="32"/>
                  <a:pt x="98" y="32"/>
                </a:cubicBezTo>
                <a:cubicBezTo>
                  <a:pt x="96" y="32"/>
                  <a:pt x="94" y="32"/>
                  <a:pt x="92" y="33"/>
                </a:cubicBezTo>
                <a:cubicBezTo>
                  <a:pt x="89" y="34"/>
                  <a:pt x="86" y="35"/>
                  <a:pt x="84" y="37"/>
                </a:cubicBezTo>
                <a:cubicBezTo>
                  <a:pt x="84" y="37"/>
                  <a:pt x="84" y="36"/>
                  <a:pt x="84" y="36"/>
                </a:cubicBezTo>
                <a:cubicBezTo>
                  <a:pt x="84" y="33"/>
                  <a:pt x="84" y="31"/>
                  <a:pt x="83" y="28"/>
                </a:cubicBezTo>
                <a:cubicBezTo>
                  <a:pt x="79" y="17"/>
                  <a:pt x="69" y="8"/>
                  <a:pt x="56" y="8"/>
                </a:cubicBezTo>
                <a:cubicBezTo>
                  <a:pt x="41" y="8"/>
                  <a:pt x="28" y="21"/>
                  <a:pt x="28" y="36"/>
                </a:cubicBezTo>
                <a:cubicBezTo>
                  <a:pt x="28" y="36"/>
                  <a:pt x="28" y="36"/>
                  <a:pt x="28" y="36"/>
                </a:cubicBezTo>
                <a:cubicBezTo>
                  <a:pt x="28" y="39"/>
                  <a:pt x="29" y="42"/>
                  <a:pt x="30" y="45"/>
                </a:cubicBezTo>
                <a:cubicBezTo>
                  <a:pt x="28" y="44"/>
                  <a:pt x="26" y="44"/>
                  <a:pt x="24" y="44"/>
                </a:cubicBezTo>
                <a:cubicBezTo>
                  <a:pt x="23" y="44"/>
                  <a:pt x="22" y="44"/>
                  <a:pt x="21" y="44"/>
                </a:cubicBezTo>
                <a:cubicBezTo>
                  <a:pt x="14" y="46"/>
                  <a:pt x="8" y="52"/>
                  <a:pt x="8" y="60"/>
                </a:cubicBezTo>
                <a:cubicBezTo>
                  <a:pt x="8" y="69"/>
                  <a:pt x="15" y="76"/>
                  <a:pt x="24" y="76"/>
                </a:cubicBezTo>
                <a:cubicBezTo>
                  <a:pt x="44" y="76"/>
                  <a:pt x="44" y="76"/>
                  <a:pt x="44" y="76"/>
                </a:cubicBezTo>
                <a:cubicBezTo>
                  <a:pt x="44" y="84"/>
                  <a:pt x="44" y="84"/>
                  <a:pt x="44" y="84"/>
                </a:cubicBezTo>
                <a:cubicBezTo>
                  <a:pt x="24" y="84"/>
                  <a:pt x="24" y="84"/>
                  <a:pt x="24" y="84"/>
                </a:cubicBezTo>
                <a:cubicBezTo>
                  <a:pt x="11" y="84"/>
                  <a:pt x="0" y="73"/>
                  <a:pt x="0" y="60"/>
                </a:cubicBezTo>
                <a:cubicBezTo>
                  <a:pt x="0" y="48"/>
                  <a:pt x="9" y="38"/>
                  <a:pt x="20" y="36"/>
                </a:cubicBezTo>
                <a:cubicBezTo>
                  <a:pt x="20" y="36"/>
                  <a:pt x="20" y="36"/>
                  <a:pt x="20" y="36"/>
                </a:cubicBezTo>
                <a:cubicBezTo>
                  <a:pt x="20" y="16"/>
                  <a:pt x="36" y="0"/>
                  <a:pt x="56" y="0"/>
                </a:cubicBezTo>
                <a:cubicBezTo>
                  <a:pt x="72" y="0"/>
                  <a:pt x="86" y="11"/>
                  <a:pt x="90" y="25"/>
                </a:cubicBezTo>
                <a:cubicBezTo>
                  <a:pt x="93" y="24"/>
                  <a:pt x="95" y="24"/>
                  <a:pt x="98" y="24"/>
                </a:cubicBezTo>
                <a:cubicBezTo>
                  <a:pt x="115" y="24"/>
                  <a:pt x="128" y="37"/>
                  <a:pt x="128" y="54"/>
                </a:cubicBezTo>
                <a:close/>
                <a:moveTo>
                  <a:pt x="85" y="91"/>
                </a:moveTo>
                <a:cubicBezTo>
                  <a:pt x="68" y="111"/>
                  <a:pt x="68" y="111"/>
                  <a:pt x="68" y="111"/>
                </a:cubicBezTo>
                <a:cubicBezTo>
                  <a:pt x="68" y="52"/>
                  <a:pt x="68" y="52"/>
                  <a:pt x="68" y="52"/>
                </a:cubicBezTo>
                <a:cubicBezTo>
                  <a:pt x="60" y="52"/>
                  <a:pt x="60" y="52"/>
                  <a:pt x="60" y="52"/>
                </a:cubicBezTo>
                <a:cubicBezTo>
                  <a:pt x="60" y="111"/>
                  <a:pt x="60" y="111"/>
                  <a:pt x="60" y="111"/>
                </a:cubicBezTo>
                <a:cubicBezTo>
                  <a:pt x="43" y="91"/>
                  <a:pt x="43" y="91"/>
                  <a:pt x="43" y="91"/>
                </a:cubicBezTo>
                <a:cubicBezTo>
                  <a:pt x="37" y="96"/>
                  <a:pt x="37" y="96"/>
                  <a:pt x="37" y="96"/>
                </a:cubicBezTo>
                <a:cubicBezTo>
                  <a:pt x="64" y="128"/>
                  <a:pt x="64" y="128"/>
                  <a:pt x="64" y="128"/>
                </a:cubicBezTo>
                <a:cubicBezTo>
                  <a:pt x="91" y="96"/>
                  <a:pt x="91" y="96"/>
                  <a:pt x="91" y="96"/>
                </a:cubicBezTo>
                <a:lnTo>
                  <a:pt x="85" y="9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0" name="Freeform 30">
            <a:extLst>
              <a:ext uri="{FF2B5EF4-FFF2-40B4-BE49-F238E27FC236}">
                <a16:creationId xmlns:a16="http://schemas.microsoft.com/office/drawing/2014/main" id="{F82F271E-F947-4476-A6BF-CFE1D57AD169}"/>
              </a:ext>
            </a:extLst>
          </p:cNvPr>
          <p:cNvSpPr>
            <a:spLocks noEditPoints="1"/>
          </p:cNvSpPr>
          <p:nvPr/>
        </p:nvSpPr>
        <p:spPr bwMode="auto">
          <a:xfrm>
            <a:off x="3766046" y="2406184"/>
            <a:ext cx="328613" cy="412750"/>
          </a:xfrm>
          <a:custGeom>
            <a:avLst/>
            <a:gdLst>
              <a:gd name="T0" fmla="*/ 207 w 207"/>
              <a:gd name="T1" fmla="*/ 81 h 260"/>
              <a:gd name="T2" fmla="*/ 207 w 207"/>
              <a:gd name="T3" fmla="*/ 260 h 260"/>
              <a:gd name="T4" fmla="*/ 141 w 207"/>
              <a:gd name="T5" fmla="*/ 260 h 260"/>
              <a:gd name="T6" fmla="*/ 141 w 207"/>
              <a:gd name="T7" fmla="*/ 244 h 260"/>
              <a:gd name="T8" fmla="*/ 191 w 207"/>
              <a:gd name="T9" fmla="*/ 244 h 260"/>
              <a:gd name="T10" fmla="*/ 191 w 207"/>
              <a:gd name="T11" fmla="*/ 81 h 260"/>
              <a:gd name="T12" fmla="*/ 125 w 207"/>
              <a:gd name="T13" fmla="*/ 81 h 260"/>
              <a:gd name="T14" fmla="*/ 125 w 207"/>
              <a:gd name="T15" fmla="*/ 16 h 260"/>
              <a:gd name="T16" fmla="*/ 27 w 207"/>
              <a:gd name="T17" fmla="*/ 16 h 260"/>
              <a:gd name="T18" fmla="*/ 27 w 207"/>
              <a:gd name="T19" fmla="*/ 65 h 260"/>
              <a:gd name="T20" fmla="*/ 10 w 207"/>
              <a:gd name="T21" fmla="*/ 65 h 260"/>
              <a:gd name="T22" fmla="*/ 10 w 207"/>
              <a:gd name="T23" fmla="*/ 0 h 260"/>
              <a:gd name="T24" fmla="*/ 125 w 207"/>
              <a:gd name="T25" fmla="*/ 0 h 260"/>
              <a:gd name="T26" fmla="*/ 207 w 207"/>
              <a:gd name="T27" fmla="*/ 81 h 260"/>
              <a:gd name="T28" fmla="*/ 68 w 207"/>
              <a:gd name="T29" fmla="*/ 260 h 260"/>
              <a:gd name="T30" fmla="*/ 135 w 207"/>
              <a:gd name="T31" fmla="*/ 189 h 260"/>
              <a:gd name="T32" fmla="*/ 123 w 207"/>
              <a:gd name="T33" fmla="*/ 177 h 260"/>
              <a:gd name="T34" fmla="*/ 76 w 207"/>
              <a:gd name="T35" fmla="*/ 227 h 260"/>
              <a:gd name="T36" fmla="*/ 76 w 207"/>
              <a:gd name="T37" fmla="*/ 106 h 260"/>
              <a:gd name="T38" fmla="*/ 59 w 207"/>
              <a:gd name="T39" fmla="*/ 106 h 260"/>
              <a:gd name="T40" fmla="*/ 59 w 207"/>
              <a:gd name="T41" fmla="*/ 227 h 260"/>
              <a:gd name="T42" fmla="*/ 12 w 207"/>
              <a:gd name="T43" fmla="*/ 177 h 260"/>
              <a:gd name="T44" fmla="*/ 0 w 207"/>
              <a:gd name="T45" fmla="*/ 189 h 260"/>
              <a:gd name="T46" fmla="*/ 68 w 207"/>
              <a:gd name="T47" fmla="*/ 26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7" h="260">
                <a:moveTo>
                  <a:pt x="207" y="81"/>
                </a:moveTo>
                <a:lnTo>
                  <a:pt x="207" y="260"/>
                </a:lnTo>
                <a:lnTo>
                  <a:pt x="141" y="260"/>
                </a:lnTo>
                <a:lnTo>
                  <a:pt x="141" y="244"/>
                </a:lnTo>
                <a:lnTo>
                  <a:pt x="191" y="244"/>
                </a:lnTo>
                <a:lnTo>
                  <a:pt x="191" y="81"/>
                </a:lnTo>
                <a:lnTo>
                  <a:pt x="125" y="81"/>
                </a:lnTo>
                <a:lnTo>
                  <a:pt x="125" y="16"/>
                </a:lnTo>
                <a:lnTo>
                  <a:pt x="27" y="16"/>
                </a:lnTo>
                <a:lnTo>
                  <a:pt x="27" y="65"/>
                </a:lnTo>
                <a:lnTo>
                  <a:pt x="10" y="65"/>
                </a:lnTo>
                <a:lnTo>
                  <a:pt x="10" y="0"/>
                </a:lnTo>
                <a:lnTo>
                  <a:pt x="125" y="0"/>
                </a:lnTo>
                <a:lnTo>
                  <a:pt x="207" y="81"/>
                </a:lnTo>
                <a:close/>
                <a:moveTo>
                  <a:pt x="68" y="260"/>
                </a:moveTo>
                <a:lnTo>
                  <a:pt x="135" y="189"/>
                </a:lnTo>
                <a:lnTo>
                  <a:pt x="123" y="177"/>
                </a:lnTo>
                <a:lnTo>
                  <a:pt x="76" y="227"/>
                </a:lnTo>
                <a:lnTo>
                  <a:pt x="76" y="106"/>
                </a:lnTo>
                <a:lnTo>
                  <a:pt x="59" y="106"/>
                </a:lnTo>
                <a:lnTo>
                  <a:pt x="59" y="227"/>
                </a:lnTo>
                <a:lnTo>
                  <a:pt x="12" y="177"/>
                </a:lnTo>
                <a:lnTo>
                  <a:pt x="0" y="189"/>
                </a:lnTo>
                <a:lnTo>
                  <a:pt x="68" y="26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1" name="Freeform 34">
            <a:extLst>
              <a:ext uri="{FF2B5EF4-FFF2-40B4-BE49-F238E27FC236}">
                <a16:creationId xmlns:a16="http://schemas.microsoft.com/office/drawing/2014/main" id="{6CAA5D5D-9853-4F1B-9A23-165EEB872F27}"/>
              </a:ext>
            </a:extLst>
          </p:cNvPr>
          <p:cNvSpPr>
            <a:spLocks noEditPoints="1"/>
          </p:cNvSpPr>
          <p:nvPr/>
        </p:nvSpPr>
        <p:spPr bwMode="auto">
          <a:xfrm>
            <a:off x="587675" y="3307772"/>
            <a:ext cx="412750" cy="300038"/>
          </a:xfrm>
          <a:custGeom>
            <a:avLst/>
            <a:gdLst>
              <a:gd name="T0" fmla="*/ 128 w 128"/>
              <a:gd name="T1" fmla="*/ 86 h 92"/>
              <a:gd name="T2" fmla="*/ 68 w 128"/>
              <a:gd name="T3" fmla="*/ 38 h 92"/>
              <a:gd name="T4" fmla="*/ 68 w 128"/>
              <a:gd name="T5" fmla="*/ 30 h 92"/>
              <a:gd name="T6" fmla="*/ 79 w 128"/>
              <a:gd name="T7" fmla="*/ 15 h 92"/>
              <a:gd name="T8" fmla="*/ 64 w 128"/>
              <a:gd name="T9" fmla="*/ 0 h 92"/>
              <a:gd name="T10" fmla="*/ 49 w 128"/>
              <a:gd name="T11" fmla="*/ 15 h 92"/>
              <a:gd name="T12" fmla="*/ 49 w 128"/>
              <a:gd name="T13" fmla="*/ 16 h 92"/>
              <a:gd name="T14" fmla="*/ 57 w 128"/>
              <a:gd name="T15" fmla="*/ 16 h 92"/>
              <a:gd name="T16" fmla="*/ 57 w 128"/>
              <a:gd name="T17" fmla="*/ 15 h 92"/>
              <a:gd name="T18" fmla="*/ 64 w 128"/>
              <a:gd name="T19" fmla="*/ 8 h 92"/>
              <a:gd name="T20" fmla="*/ 71 w 128"/>
              <a:gd name="T21" fmla="*/ 15 h 92"/>
              <a:gd name="T22" fmla="*/ 64 w 128"/>
              <a:gd name="T23" fmla="*/ 24 h 92"/>
              <a:gd name="T24" fmla="*/ 60 w 128"/>
              <a:gd name="T25" fmla="*/ 24 h 92"/>
              <a:gd name="T26" fmla="*/ 60 w 128"/>
              <a:gd name="T27" fmla="*/ 38 h 92"/>
              <a:gd name="T28" fmla="*/ 0 w 128"/>
              <a:gd name="T29" fmla="*/ 86 h 92"/>
              <a:gd name="T30" fmla="*/ 0 w 128"/>
              <a:gd name="T31" fmla="*/ 92 h 92"/>
              <a:gd name="T32" fmla="*/ 128 w 128"/>
              <a:gd name="T33" fmla="*/ 92 h 92"/>
              <a:gd name="T34" fmla="*/ 128 w 128"/>
              <a:gd name="T35" fmla="*/ 86 h 92"/>
              <a:gd name="T36" fmla="*/ 15 w 128"/>
              <a:gd name="T37" fmla="*/ 84 h 92"/>
              <a:gd name="T38" fmla="*/ 64 w 128"/>
              <a:gd name="T39" fmla="*/ 45 h 92"/>
              <a:gd name="T40" fmla="*/ 113 w 128"/>
              <a:gd name="T41" fmla="*/ 84 h 92"/>
              <a:gd name="T42" fmla="*/ 15 w 128"/>
              <a:gd name="T43"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92">
                <a:moveTo>
                  <a:pt x="128" y="86"/>
                </a:moveTo>
                <a:cubicBezTo>
                  <a:pt x="68" y="38"/>
                  <a:pt x="68" y="38"/>
                  <a:pt x="68" y="38"/>
                </a:cubicBezTo>
                <a:cubicBezTo>
                  <a:pt x="68" y="30"/>
                  <a:pt x="68" y="30"/>
                  <a:pt x="68" y="30"/>
                </a:cubicBezTo>
                <a:cubicBezTo>
                  <a:pt x="74" y="28"/>
                  <a:pt x="79" y="22"/>
                  <a:pt x="79" y="15"/>
                </a:cubicBezTo>
                <a:cubicBezTo>
                  <a:pt x="79" y="7"/>
                  <a:pt x="72" y="0"/>
                  <a:pt x="64" y="0"/>
                </a:cubicBezTo>
                <a:cubicBezTo>
                  <a:pt x="55" y="0"/>
                  <a:pt x="49" y="7"/>
                  <a:pt x="49" y="15"/>
                </a:cubicBezTo>
                <a:cubicBezTo>
                  <a:pt x="49" y="16"/>
                  <a:pt x="49" y="16"/>
                  <a:pt x="49" y="16"/>
                </a:cubicBezTo>
                <a:cubicBezTo>
                  <a:pt x="57" y="16"/>
                  <a:pt x="57" y="16"/>
                  <a:pt x="57" y="16"/>
                </a:cubicBezTo>
                <a:cubicBezTo>
                  <a:pt x="57" y="16"/>
                  <a:pt x="57" y="16"/>
                  <a:pt x="57" y="15"/>
                </a:cubicBezTo>
                <a:cubicBezTo>
                  <a:pt x="57" y="11"/>
                  <a:pt x="60" y="8"/>
                  <a:pt x="64" y="8"/>
                </a:cubicBezTo>
                <a:cubicBezTo>
                  <a:pt x="68" y="8"/>
                  <a:pt x="71" y="11"/>
                  <a:pt x="71" y="15"/>
                </a:cubicBezTo>
                <a:cubicBezTo>
                  <a:pt x="71" y="19"/>
                  <a:pt x="68" y="24"/>
                  <a:pt x="64" y="24"/>
                </a:cubicBezTo>
                <a:cubicBezTo>
                  <a:pt x="63" y="24"/>
                  <a:pt x="60" y="24"/>
                  <a:pt x="60" y="24"/>
                </a:cubicBezTo>
                <a:cubicBezTo>
                  <a:pt x="60" y="38"/>
                  <a:pt x="60" y="38"/>
                  <a:pt x="60" y="38"/>
                </a:cubicBezTo>
                <a:cubicBezTo>
                  <a:pt x="0" y="86"/>
                  <a:pt x="0" y="86"/>
                  <a:pt x="0" y="86"/>
                </a:cubicBezTo>
                <a:cubicBezTo>
                  <a:pt x="0" y="92"/>
                  <a:pt x="0" y="92"/>
                  <a:pt x="0" y="92"/>
                </a:cubicBezTo>
                <a:cubicBezTo>
                  <a:pt x="128" y="92"/>
                  <a:pt x="128" y="92"/>
                  <a:pt x="128" y="92"/>
                </a:cubicBezTo>
                <a:lnTo>
                  <a:pt x="128" y="86"/>
                </a:lnTo>
                <a:close/>
                <a:moveTo>
                  <a:pt x="15" y="84"/>
                </a:moveTo>
                <a:cubicBezTo>
                  <a:pt x="64" y="45"/>
                  <a:pt x="64" y="45"/>
                  <a:pt x="64" y="45"/>
                </a:cubicBezTo>
                <a:cubicBezTo>
                  <a:pt x="113" y="84"/>
                  <a:pt x="113" y="84"/>
                  <a:pt x="113" y="84"/>
                </a:cubicBezTo>
                <a:lnTo>
                  <a:pt x="15" y="8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2" name="Freeform 38">
            <a:extLst>
              <a:ext uri="{FF2B5EF4-FFF2-40B4-BE49-F238E27FC236}">
                <a16:creationId xmlns:a16="http://schemas.microsoft.com/office/drawing/2014/main" id="{DE8C447B-511B-4C25-BC7F-EE057A143995}"/>
              </a:ext>
            </a:extLst>
          </p:cNvPr>
          <p:cNvSpPr>
            <a:spLocks noEditPoints="1"/>
          </p:cNvSpPr>
          <p:nvPr/>
        </p:nvSpPr>
        <p:spPr bwMode="auto">
          <a:xfrm>
            <a:off x="3723183" y="3193472"/>
            <a:ext cx="414338" cy="414338"/>
          </a:xfrm>
          <a:custGeom>
            <a:avLst/>
            <a:gdLst>
              <a:gd name="T0" fmla="*/ 130 w 261"/>
              <a:gd name="T1" fmla="*/ 0 h 261"/>
              <a:gd name="T2" fmla="*/ 0 w 261"/>
              <a:gd name="T3" fmla="*/ 130 h 261"/>
              <a:gd name="T4" fmla="*/ 130 w 261"/>
              <a:gd name="T5" fmla="*/ 261 h 261"/>
              <a:gd name="T6" fmla="*/ 261 w 261"/>
              <a:gd name="T7" fmla="*/ 130 h 261"/>
              <a:gd name="T8" fmla="*/ 130 w 261"/>
              <a:gd name="T9" fmla="*/ 0 h 261"/>
              <a:gd name="T10" fmla="*/ 230 w 261"/>
              <a:gd name="T11" fmla="*/ 122 h 261"/>
              <a:gd name="T12" fmla="*/ 181 w 261"/>
              <a:gd name="T13" fmla="*/ 122 h 261"/>
              <a:gd name="T14" fmla="*/ 151 w 261"/>
              <a:gd name="T15" fmla="*/ 151 h 261"/>
              <a:gd name="T16" fmla="*/ 110 w 261"/>
              <a:gd name="T17" fmla="*/ 79 h 261"/>
              <a:gd name="T18" fmla="*/ 67 w 261"/>
              <a:gd name="T19" fmla="*/ 122 h 261"/>
              <a:gd name="T20" fmla="*/ 31 w 261"/>
              <a:gd name="T21" fmla="*/ 122 h 261"/>
              <a:gd name="T22" fmla="*/ 130 w 261"/>
              <a:gd name="T23" fmla="*/ 22 h 261"/>
              <a:gd name="T24" fmla="*/ 230 w 261"/>
              <a:gd name="T25" fmla="*/ 122 h 261"/>
              <a:gd name="T26" fmla="*/ 31 w 261"/>
              <a:gd name="T27" fmla="*/ 139 h 261"/>
              <a:gd name="T28" fmla="*/ 73 w 261"/>
              <a:gd name="T29" fmla="*/ 139 h 261"/>
              <a:gd name="T30" fmla="*/ 106 w 261"/>
              <a:gd name="T31" fmla="*/ 106 h 261"/>
              <a:gd name="T32" fmla="*/ 147 w 261"/>
              <a:gd name="T33" fmla="*/ 177 h 261"/>
              <a:gd name="T34" fmla="*/ 188 w 261"/>
              <a:gd name="T35" fmla="*/ 139 h 261"/>
              <a:gd name="T36" fmla="*/ 230 w 261"/>
              <a:gd name="T37" fmla="*/ 139 h 261"/>
              <a:gd name="T38" fmla="*/ 130 w 261"/>
              <a:gd name="T39" fmla="*/ 238 h 261"/>
              <a:gd name="T40" fmla="*/ 31 w 261"/>
              <a:gd name="T41" fmla="*/ 13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1" h="261">
                <a:moveTo>
                  <a:pt x="130" y="0"/>
                </a:moveTo>
                <a:lnTo>
                  <a:pt x="0" y="130"/>
                </a:lnTo>
                <a:lnTo>
                  <a:pt x="130" y="261"/>
                </a:lnTo>
                <a:lnTo>
                  <a:pt x="261" y="130"/>
                </a:lnTo>
                <a:lnTo>
                  <a:pt x="130" y="0"/>
                </a:lnTo>
                <a:close/>
                <a:moveTo>
                  <a:pt x="230" y="122"/>
                </a:moveTo>
                <a:lnTo>
                  <a:pt x="181" y="122"/>
                </a:lnTo>
                <a:lnTo>
                  <a:pt x="151" y="151"/>
                </a:lnTo>
                <a:lnTo>
                  <a:pt x="110" y="79"/>
                </a:lnTo>
                <a:lnTo>
                  <a:pt x="67" y="122"/>
                </a:lnTo>
                <a:lnTo>
                  <a:pt x="31" y="122"/>
                </a:lnTo>
                <a:lnTo>
                  <a:pt x="130" y="22"/>
                </a:lnTo>
                <a:lnTo>
                  <a:pt x="230" y="122"/>
                </a:lnTo>
                <a:close/>
                <a:moveTo>
                  <a:pt x="31" y="139"/>
                </a:moveTo>
                <a:lnTo>
                  <a:pt x="73" y="139"/>
                </a:lnTo>
                <a:lnTo>
                  <a:pt x="106" y="106"/>
                </a:lnTo>
                <a:lnTo>
                  <a:pt x="147" y="177"/>
                </a:lnTo>
                <a:lnTo>
                  <a:pt x="188" y="139"/>
                </a:lnTo>
                <a:lnTo>
                  <a:pt x="230" y="139"/>
                </a:lnTo>
                <a:lnTo>
                  <a:pt x="130" y="238"/>
                </a:lnTo>
                <a:lnTo>
                  <a:pt x="31" y="13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3" name="Freeform 42">
            <a:extLst>
              <a:ext uri="{FF2B5EF4-FFF2-40B4-BE49-F238E27FC236}">
                <a16:creationId xmlns:a16="http://schemas.microsoft.com/office/drawing/2014/main" id="{CA887B42-51B5-4AD5-A962-BD932A06844D}"/>
              </a:ext>
            </a:extLst>
          </p:cNvPr>
          <p:cNvSpPr>
            <a:spLocks noEditPoints="1"/>
          </p:cNvSpPr>
          <p:nvPr/>
        </p:nvSpPr>
        <p:spPr bwMode="auto">
          <a:xfrm>
            <a:off x="599581" y="4050221"/>
            <a:ext cx="388938" cy="414338"/>
          </a:xfrm>
          <a:custGeom>
            <a:avLst/>
            <a:gdLst>
              <a:gd name="T0" fmla="*/ 245 w 245"/>
              <a:gd name="T1" fmla="*/ 261 h 261"/>
              <a:gd name="T2" fmla="*/ 180 w 245"/>
              <a:gd name="T3" fmla="*/ 261 h 261"/>
              <a:gd name="T4" fmla="*/ 180 w 245"/>
              <a:gd name="T5" fmla="*/ 245 h 261"/>
              <a:gd name="T6" fmla="*/ 229 w 245"/>
              <a:gd name="T7" fmla="*/ 245 h 261"/>
              <a:gd name="T8" fmla="*/ 229 w 245"/>
              <a:gd name="T9" fmla="*/ 82 h 261"/>
              <a:gd name="T10" fmla="*/ 163 w 245"/>
              <a:gd name="T11" fmla="*/ 82 h 261"/>
              <a:gd name="T12" fmla="*/ 163 w 245"/>
              <a:gd name="T13" fmla="*/ 16 h 261"/>
              <a:gd name="T14" fmla="*/ 65 w 245"/>
              <a:gd name="T15" fmla="*/ 16 h 261"/>
              <a:gd name="T16" fmla="*/ 65 w 245"/>
              <a:gd name="T17" fmla="*/ 65 h 261"/>
              <a:gd name="T18" fmla="*/ 49 w 245"/>
              <a:gd name="T19" fmla="*/ 65 h 261"/>
              <a:gd name="T20" fmla="*/ 49 w 245"/>
              <a:gd name="T21" fmla="*/ 0 h 261"/>
              <a:gd name="T22" fmla="*/ 163 w 245"/>
              <a:gd name="T23" fmla="*/ 0 h 261"/>
              <a:gd name="T24" fmla="*/ 245 w 245"/>
              <a:gd name="T25" fmla="*/ 82 h 261"/>
              <a:gd name="T26" fmla="*/ 245 w 245"/>
              <a:gd name="T27" fmla="*/ 261 h 261"/>
              <a:gd name="T28" fmla="*/ 22 w 245"/>
              <a:gd name="T29" fmla="*/ 198 h 261"/>
              <a:gd name="T30" fmla="*/ 47 w 245"/>
              <a:gd name="T31" fmla="*/ 222 h 261"/>
              <a:gd name="T32" fmla="*/ 147 w 245"/>
              <a:gd name="T33" fmla="*/ 122 h 261"/>
              <a:gd name="T34" fmla="*/ 122 w 245"/>
              <a:gd name="T35" fmla="*/ 98 h 261"/>
              <a:gd name="T36" fmla="*/ 22 w 245"/>
              <a:gd name="T37" fmla="*/ 198 h 261"/>
              <a:gd name="T38" fmla="*/ 12 w 245"/>
              <a:gd name="T39" fmla="*/ 210 h 261"/>
              <a:gd name="T40" fmla="*/ 0 w 245"/>
              <a:gd name="T41" fmla="*/ 245 h 261"/>
              <a:gd name="T42" fmla="*/ 35 w 245"/>
              <a:gd name="T43" fmla="*/ 232 h 261"/>
              <a:gd name="T44" fmla="*/ 12 w 245"/>
              <a:gd name="T45" fmla="*/ 21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5" h="261">
                <a:moveTo>
                  <a:pt x="245" y="261"/>
                </a:moveTo>
                <a:lnTo>
                  <a:pt x="180" y="261"/>
                </a:lnTo>
                <a:lnTo>
                  <a:pt x="180" y="245"/>
                </a:lnTo>
                <a:lnTo>
                  <a:pt x="229" y="245"/>
                </a:lnTo>
                <a:lnTo>
                  <a:pt x="229" y="82"/>
                </a:lnTo>
                <a:lnTo>
                  <a:pt x="163" y="82"/>
                </a:lnTo>
                <a:lnTo>
                  <a:pt x="163" y="16"/>
                </a:lnTo>
                <a:lnTo>
                  <a:pt x="65" y="16"/>
                </a:lnTo>
                <a:lnTo>
                  <a:pt x="65" y="65"/>
                </a:lnTo>
                <a:lnTo>
                  <a:pt x="49" y="65"/>
                </a:lnTo>
                <a:lnTo>
                  <a:pt x="49" y="0"/>
                </a:lnTo>
                <a:lnTo>
                  <a:pt x="163" y="0"/>
                </a:lnTo>
                <a:lnTo>
                  <a:pt x="245" y="82"/>
                </a:lnTo>
                <a:lnTo>
                  <a:pt x="245" y="261"/>
                </a:lnTo>
                <a:close/>
                <a:moveTo>
                  <a:pt x="22" y="198"/>
                </a:moveTo>
                <a:lnTo>
                  <a:pt x="47" y="222"/>
                </a:lnTo>
                <a:lnTo>
                  <a:pt x="147" y="122"/>
                </a:lnTo>
                <a:lnTo>
                  <a:pt x="122" y="98"/>
                </a:lnTo>
                <a:lnTo>
                  <a:pt x="22" y="198"/>
                </a:lnTo>
                <a:close/>
                <a:moveTo>
                  <a:pt x="12" y="210"/>
                </a:moveTo>
                <a:lnTo>
                  <a:pt x="0" y="245"/>
                </a:lnTo>
                <a:lnTo>
                  <a:pt x="35" y="232"/>
                </a:lnTo>
                <a:lnTo>
                  <a:pt x="12" y="21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4" name="Freeform 46">
            <a:extLst>
              <a:ext uri="{FF2B5EF4-FFF2-40B4-BE49-F238E27FC236}">
                <a16:creationId xmlns:a16="http://schemas.microsoft.com/office/drawing/2014/main" id="{F2952070-EA49-49F4-8988-1E97A29665FC}"/>
              </a:ext>
            </a:extLst>
          </p:cNvPr>
          <p:cNvSpPr>
            <a:spLocks noEditPoints="1"/>
          </p:cNvSpPr>
          <p:nvPr/>
        </p:nvSpPr>
        <p:spPr bwMode="auto">
          <a:xfrm>
            <a:off x="1633108" y="4113721"/>
            <a:ext cx="412750" cy="350838"/>
          </a:xfrm>
          <a:custGeom>
            <a:avLst/>
            <a:gdLst>
              <a:gd name="T0" fmla="*/ 0 w 128"/>
              <a:gd name="T1" fmla="*/ 36 h 108"/>
              <a:gd name="T2" fmla="*/ 64 w 128"/>
              <a:gd name="T3" fmla="*/ 0 h 108"/>
              <a:gd name="T4" fmla="*/ 128 w 128"/>
              <a:gd name="T5" fmla="*/ 36 h 108"/>
              <a:gd name="T6" fmla="*/ 64 w 128"/>
              <a:gd name="T7" fmla="*/ 76 h 108"/>
              <a:gd name="T8" fmla="*/ 0 w 128"/>
              <a:gd name="T9" fmla="*/ 36 h 108"/>
              <a:gd name="T10" fmla="*/ 20 w 128"/>
              <a:gd name="T11" fmla="*/ 88 h 108"/>
              <a:gd name="T12" fmla="*/ 64 w 128"/>
              <a:gd name="T13" fmla="*/ 108 h 108"/>
              <a:gd name="T14" fmla="*/ 108 w 128"/>
              <a:gd name="T15" fmla="*/ 88 h 108"/>
              <a:gd name="T16" fmla="*/ 108 w 128"/>
              <a:gd name="T17" fmla="*/ 56 h 108"/>
              <a:gd name="T18" fmla="*/ 64 w 128"/>
              <a:gd name="T19" fmla="*/ 84 h 108"/>
              <a:gd name="T20" fmla="*/ 20 w 128"/>
              <a:gd name="T21" fmla="*/ 56 h 108"/>
              <a:gd name="T22" fmla="*/ 20 w 128"/>
              <a:gd name="T23" fmla="*/ 88 h 108"/>
              <a:gd name="T24" fmla="*/ 124 w 128"/>
              <a:gd name="T25" fmla="*/ 56 h 108"/>
              <a:gd name="T26" fmla="*/ 116 w 128"/>
              <a:gd name="T27" fmla="*/ 56 h 108"/>
              <a:gd name="T28" fmla="*/ 116 w 128"/>
              <a:gd name="T29" fmla="*/ 108 h 108"/>
              <a:gd name="T30" fmla="*/ 124 w 128"/>
              <a:gd name="T31" fmla="*/ 108 h 108"/>
              <a:gd name="T32" fmla="*/ 124 w 128"/>
              <a:gd name="T33" fmla="*/ 5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108">
                <a:moveTo>
                  <a:pt x="0" y="36"/>
                </a:moveTo>
                <a:cubicBezTo>
                  <a:pt x="64" y="0"/>
                  <a:pt x="64" y="0"/>
                  <a:pt x="64" y="0"/>
                </a:cubicBezTo>
                <a:cubicBezTo>
                  <a:pt x="128" y="36"/>
                  <a:pt x="128" y="36"/>
                  <a:pt x="128" y="36"/>
                </a:cubicBezTo>
                <a:cubicBezTo>
                  <a:pt x="64" y="76"/>
                  <a:pt x="64" y="76"/>
                  <a:pt x="64" y="76"/>
                </a:cubicBezTo>
                <a:lnTo>
                  <a:pt x="0" y="36"/>
                </a:lnTo>
                <a:close/>
                <a:moveTo>
                  <a:pt x="20" y="88"/>
                </a:moveTo>
                <a:cubicBezTo>
                  <a:pt x="20" y="88"/>
                  <a:pt x="36" y="108"/>
                  <a:pt x="64" y="108"/>
                </a:cubicBezTo>
                <a:cubicBezTo>
                  <a:pt x="92" y="108"/>
                  <a:pt x="108" y="88"/>
                  <a:pt x="108" y="88"/>
                </a:cubicBezTo>
                <a:cubicBezTo>
                  <a:pt x="108" y="56"/>
                  <a:pt x="108" y="56"/>
                  <a:pt x="108" y="56"/>
                </a:cubicBezTo>
                <a:cubicBezTo>
                  <a:pt x="64" y="84"/>
                  <a:pt x="64" y="84"/>
                  <a:pt x="64" y="84"/>
                </a:cubicBezTo>
                <a:cubicBezTo>
                  <a:pt x="20" y="56"/>
                  <a:pt x="20" y="56"/>
                  <a:pt x="20" y="56"/>
                </a:cubicBezTo>
                <a:lnTo>
                  <a:pt x="20" y="88"/>
                </a:lnTo>
                <a:close/>
                <a:moveTo>
                  <a:pt x="124" y="56"/>
                </a:moveTo>
                <a:cubicBezTo>
                  <a:pt x="116" y="56"/>
                  <a:pt x="116" y="56"/>
                  <a:pt x="116" y="56"/>
                </a:cubicBezTo>
                <a:cubicBezTo>
                  <a:pt x="116" y="108"/>
                  <a:pt x="116" y="108"/>
                  <a:pt x="116" y="108"/>
                </a:cubicBezTo>
                <a:cubicBezTo>
                  <a:pt x="124" y="108"/>
                  <a:pt x="124" y="108"/>
                  <a:pt x="124" y="108"/>
                </a:cubicBezTo>
                <a:lnTo>
                  <a:pt x="124" y="5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5" name="Freeform 50">
            <a:extLst>
              <a:ext uri="{FF2B5EF4-FFF2-40B4-BE49-F238E27FC236}">
                <a16:creationId xmlns:a16="http://schemas.microsoft.com/office/drawing/2014/main" id="{193C627D-6AF2-4F87-89C3-1CAEFCFD910A}"/>
              </a:ext>
            </a:extLst>
          </p:cNvPr>
          <p:cNvSpPr>
            <a:spLocks noEditPoints="1"/>
          </p:cNvSpPr>
          <p:nvPr/>
        </p:nvSpPr>
        <p:spPr bwMode="auto">
          <a:xfrm>
            <a:off x="2678542" y="4115309"/>
            <a:ext cx="412750" cy="349250"/>
          </a:xfrm>
          <a:custGeom>
            <a:avLst/>
            <a:gdLst>
              <a:gd name="T0" fmla="*/ 187 w 260"/>
              <a:gd name="T1" fmla="*/ 147 h 220"/>
              <a:gd name="T2" fmla="*/ 146 w 260"/>
              <a:gd name="T3" fmla="*/ 147 h 220"/>
              <a:gd name="T4" fmla="*/ 146 w 260"/>
              <a:gd name="T5" fmla="*/ 187 h 220"/>
              <a:gd name="T6" fmla="*/ 114 w 260"/>
              <a:gd name="T7" fmla="*/ 187 h 220"/>
              <a:gd name="T8" fmla="*/ 114 w 260"/>
              <a:gd name="T9" fmla="*/ 147 h 220"/>
              <a:gd name="T10" fmla="*/ 73 w 260"/>
              <a:gd name="T11" fmla="*/ 147 h 220"/>
              <a:gd name="T12" fmla="*/ 73 w 260"/>
              <a:gd name="T13" fmla="*/ 114 h 220"/>
              <a:gd name="T14" fmla="*/ 114 w 260"/>
              <a:gd name="T15" fmla="*/ 114 h 220"/>
              <a:gd name="T16" fmla="*/ 114 w 260"/>
              <a:gd name="T17" fmla="*/ 73 h 220"/>
              <a:gd name="T18" fmla="*/ 146 w 260"/>
              <a:gd name="T19" fmla="*/ 73 h 220"/>
              <a:gd name="T20" fmla="*/ 146 w 260"/>
              <a:gd name="T21" fmla="*/ 114 h 220"/>
              <a:gd name="T22" fmla="*/ 187 w 260"/>
              <a:gd name="T23" fmla="*/ 114 h 220"/>
              <a:gd name="T24" fmla="*/ 187 w 260"/>
              <a:gd name="T25" fmla="*/ 147 h 220"/>
              <a:gd name="T26" fmla="*/ 260 w 260"/>
              <a:gd name="T27" fmla="*/ 41 h 220"/>
              <a:gd name="T28" fmla="*/ 260 w 260"/>
              <a:gd name="T29" fmla="*/ 220 h 220"/>
              <a:gd name="T30" fmla="*/ 0 w 260"/>
              <a:gd name="T31" fmla="*/ 220 h 220"/>
              <a:gd name="T32" fmla="*/ 0 w 260"/>
              <a:gd name="T33" fmla="*/ 41 h 220"/>
              <a:gd name="T34" fmla="*/ 65 w 260"/>
              <a:gd name="T35" fmla="*/ 41 h 220"/>
              <a:gd name="T36" fmla="*/ 65 w 260"/>
              <a:gd name="T37" fmla="*/ 0 h 220"/>
              <a:gd name="T38" fmla="*/ 195 w 260"/>
              <a:gd name="T39" fmla="*/ 0 h 220"/>
              <a:gd name="T40" fmla="*/ 195 w 260"/>
              <a:gd name="T41" fmla="*/ 41 h 220"/>
              <a:gd name="T42" fmla="*/ 260 w 260"/>
              <a:gd name="T43" fmla="*/ 41 h 220"/>
              <a:gd name="T44" fmla="*/ 81 w 260"/>
              <a:gd name="T45" fmla="*/ 41 h 220"/>
              <a:gd name="T46" fmla="*/ 179 w 260"/>
              <a:gd name="T47" fmla="*/ 41 h 220"/>
              <a:gd name="T48" fmla="*/ 179 w 260"/>
              <a:gd name="T49" fmla="*/ 16 h 220"/>
              <a:gd name="T50" fmla="*/ 81 w 260"/>
              <a:gd name="T51" fmla="*/ 16 h 220"/>
              <a:gd name="T52" fmla="*/ 81 w 260"/>
              <a:gd name="T53" fmla="*/ 41 h 220"/>
              <a:gd name="T54" fmla="*/ 244 w 260"/>
              <a:gd name="T55" fmla="*/ 57 h 220"/>
              <a:gd name="T56" fmla="*/ 16 w 260"/>
              <a:gd name="T57" fmla="*/ 57 h 220"/>
              <a:gd name="T58" fmla="*/ 16 w 260"/>
              <a:gd name="T59" fmla="*/ 204 h 220"/>
              <a:gd name="T60" fmla="*/ 244 w 260"/>
              <a:gd name="T61" fmla="*/ 204 h 220"/>
              <a:gd name="T62" fmla="*/ 244 w 260"/>
              <a:gd name="T63" fmla="*/ 57 h 220"/>
              <a:gd name="T64" fmla="*/ 244 w 260"/>
              <a:gd name="T65" fmla="*/ 57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60" h="220">
                <a:moveTo>
                  <a:pt x="187" y="147"/>
                </a:moveTo>
                <a:lnTo>
                  <a:pt x="146" y="147"/>
                </a:lnTo>
                <a:lnTo>
                  <a:pt x="146" y="187"/>
                </a:lnTo>
                <a:lnTo>
                  <a:pt x="114" y="187"/>
                </a:lnTo>
                <a:lnTo>
                  <a:pt x="114" y="147"/>
                </a:lnTo>
                <a:lnTo>
                  <a:pt x="73" y="147"/>
                </a:lnTo>
                <a:lnTo>
                  <a:pt x="73" y="114"/>
                </a:lnTo>
                <a:lnTo>
                  <a:pt x="114" y="114"/>
                </a:lnTo>
                <a:lnTo>
                  <a:pt x="114" y="73"/>
                </a:lnTo>
                <a:lnTo>
                  <a:pt x="146" y="73"/>
                </a:lnTo>
                <a:lnTo>
                  <a:pt x="146" y="114"/>
                </a:lnTo>
                <a:lnTo>
                  <a:pt x="187" y="114"/>
                </a:lnTo>
                <a:lnTo>
                  <a:pt x="187" y="147"/>
                </a:lnTo>
                <a:close/>
                <a:moveTo>
                  <a:pt x="260" y="41"/>
                </a:moveTo>
                <a:lnTo>
                  <a:pt x="260" y="220"/>
                </a:lnTo>
                <a:lnTo>
                  <a:pt x="0" y="220"/>
                </a:lnTo>
                <a:lnTo>
                  <a:pt x="0" y="41"/>
                </a:lnTo>
                <a:lnTo>
                  <a:pt x="65" y="41"/>
                </a:lnTo>
                <a:lnTo>
                  <a:pt x="65" y="0"/>
                </a:lnTo>
                <a:lnTo>
                  <a:pt x="195" y="0"/>
                </a:lnTo>
                <a:lnTo>
                  <a:pt x="195" y="41"/>
                </a:lnTo>
                <a:lnTo>
                  <a:pt x="260" y="41"/>
                </a:lnTo>
                <a:close/>
                <a:moveTo>
                  <a:pt x="81" y="41"/>
                </a:moveTo>
                <a:lnTo>
                  <a:pt x="179" y="41"/>
                </a:lnTo>
                <a:lnTo>
                  <a:pt x="179" y="16"/>
                </a:lnTo>
                <a:lnTo>
                  <a:pt x="81" y="16"/>
                </a:lnTo>
                <a:lnTo>
                  <a:pt x="81" y="41"/>
                </a:lnTo>
                <a:close/>
                <a:moveTo>
                  <a:pt x="244" y="57"/>
                </a:moveTo>
                <a:lnTo>
                  <a:pt x="16" y="57"/>
                </a:lnTo>
                <a:lnTo>
                  <a:pt x="16" y="204"/>
                </a:lnTo>
                <a:lnTo>
                  <a:pt x="244" y="204"/>
                </a:lnTo>
                <a:lnTo>
                  <a:pt x="244" y="57"/>
                </a:lnTo>
                <a:lnTo>
                  <a:pt x="244" y="5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6" name="Freeform 54">
            <a:extLst>
              <a:ext uri="{FF2B5EF4-FFF2-40B4-BE49-F238E27FC236}">
                <a16:creationId xmlns:a16="http://schemas.microsoft.com/office/drawing/2014/main" id="{0056B181-0413-41E4-8B24-8BFB0DCC5002}"/>
              </a:ext>
            </a:extLst>
          </p:cNvPr>
          <p:cNvSpPr>
            <a:spLocks noEditPoints="1"/>
          </p:cNvSpPr>
          <p:nvPr/>
        </p:nvSpPr>
        <p:spPr bwMode="auto">
          <a:xfrm>
            <a:off x="3723183" y="4253421"/>
            <a:ext cx="414338" cy="211138"/>
          </a:xfrm>
          <a:custGeom>
            <a:avLst/>
            <a:gdLst>
              <a:gd name="T0" fmla="*/ 128 w 128"/>
              <a:gd name="T1" fmla="*/ 20 h 64"/>
              <a:gd name="T2" fmla="*/ 128 w 128"/>
              <a:gd name="T3" fmla="*/ 12 h 64"/>
              <a:gd name="T4" fmla="*/ 100 w 128"/>
              <a:gd name="T5" fmla="*/ 12 h 64"/>
              <a:gd name="T6" fmla="*/ 100 w 128"/>
              <a:gd name="T7" fmla="*/ 0 h 64"/>
              <a:gd name="T8" fmla="*/ 60 w 128"/>
              <a:gd name="T9" fmla="*/ 0 h 64"/>
              <a:gd name="T10" fmla="*/ 29 w 128"/>
              <a:gd name="T11" fmla="*/ 24 h 64"/>
              <a:gd name="T12" fmla="*/ 0 w 128"/>
              <a:gd name="T13" fmla="*/ 24 h 64"/>
              <a:gd name="T14" fmla="*/ 0 w 128"/>
              <a:gd name="T15" fmla="*/ 40 h 64"/>
              <a:gd name="T16" fmla="*/ 29 w 128"/>
              <a:gd name="T17" fmla="*/ 40 h 64"/>
              <a:gd name="T18" fmla="*/ 60 w 128"/>
              <a:gd name="T19" fmla="*/ 64 h 64"/>
              <a:gd name="T20" fmla="*/ 100 w 128"/>
              <a:gd name="T21" fmla="*/ 64 h 64"/>
              <a:gd name="T22" fmla="*/ 100 w 128"/>
              <a:gd name="T23" fmla="*/ 52 h 64"/>
              <a:gd name="T24" fmla="*/ 128 w 128"/>
              <a:gd name="T25" fmla="*/ 52 h 64"/>
              <a:gd name="T26" fmla="*/ 128 w 128"/>
              <a:gd name="T27" fmla="*/ 44 h 64"/>
              <a:gd name="T28" fmla="*/ 100 w 128"/>
              <a:gd name="T29" fmla="*/ 44 h 64"/>
              <a:gd name="T30" fmla="*/ 100 w 128"/>
              <a:gd name="T31" fmla="*/ 20 h 64"/>
              <a:gd name="T32" fmla="*/ 128 w 128"/>
              <a:gd name="T33" fmla="*/ 20 h 64"/>
              <a:gd name="T34" fmla="*/ 92 w 128"/>
              <a:gd name="T35" fmla="*/ 56 h 64"/>
              <a:gd name="T36" fmla="*/ 60 w 128"/>
              <a:gd name="T37" fmla="*/ 56 h 64"/>
              <a:gd name="T38" fmla="*/ 37 w 128"/>
              <a:gd name="T39" fmla="*/ 32 h 64"/>
              <a:gd name="T40" fmla="*/ 60 w 128"/>
              <a:gd name="T41" fmla="*/ 8 h 64"/>
              <a:gd name="T42" fmla="*/ 92 w 128"/>
              <a:gd name="T43" fmla="*/ 8 h 64"/>
              <a:gd name="T44" fmla="*/ 92 w 128"/>
              <a:gd name="T45" fmla="*/ 5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8" h="64">
                <a:moveTo>
                  <a:pt x="128" y="20"/>
                </a:moveTo>
                <a:cubicBezTo>
                  <a:pt x="128" y="12"/>
                  <a:pt x="128" y="12"/>
                  <a:pt x="128" y="12"/>
                </a:cubicBezTo>
                <a:cubicBezTo>
                  <a:pt x="100" y="12"/>
                  <a:pt x="100" y="12"/>
                  <a:pt x="100" y="12"/>
                </a:cubicBezTo>
                <a:cubicBezTo>
                  <a:pt x="100" y="0"/>
                  <a:pt x="100" y="0"/>
                  <a:pt x="100" y="0"/>
                </a:cubicBezTo>
                <a:cubicBezTo>
                  <a:pt x="60" y="0"/>
                  <a:pt x="60" y="0"/>
                  <a:pt x="60" y="0"/>
                </a:cubicBezTo>
                <a:cubicBezTo>
                  <a:pt x="45" y="0"/>
                  <a:pt x="33" y="10"/>
                  <a:pt x="29" y="24"/>
                </a:cubicBezTo>
                <a:cubicBezTo>
                  <a:pt x="0" y="24"/>
                  <a:pt x="0" y="24"/>
                  <a:pt x="0" y="24"/>
                </a:cubicBezTo>
                <a:cubicBezTo>
                  <a:pt x="0" y="40"/>
                  <a:pt x="0" y="40"/>
                  <a:pt x="0" y="40"/>
                </a:cubicBezTo>
                <a:cubicBezTo>
                  <a:pt x="29" y="40"/>
                  <a:pt x="29" y="40"/>
                  <a:pt x="29" y="40"/>
                </a:cubicBezTo>
                <a:cubicBezTo>
                  <a:pt x="33" y="54"/>
                  <a:pt x="45" y="64"/>
                  <a:pt x="60" y="64"/>
                </a:cubicBezTo>
                <a:cubicBezTo>
                  <a:pt x="100" y="64"/>
                  <a:pt x="100" y="64"/>
                  <a:pt x="100" y="64"/>
                </a:cubicBezTo>
                <a:cubicBezTo>
                  <a:pt x="100" y="52"/>
                  <a:pt x="100" y="52"/>
                  <a:pt x="100" y="52"/>
                </a:cubicBezTo>
                <a:cubicBezTo>
                  <a:pt x="128" y="52"/>
                  <a:pt x="128" y="52"/>
                  <a:pt x="128" y="52"/>
                </a:cubicBezTo>
                <a:cubicBezTo>
                  <a:pt x="128" y="44"/>
                  <a:pt x="128" y="44"/>
                  <a:pt x="128" y="44"/>
                </a:cubicBezTo>
                <a:cubicBezTo>
                  <a:pt x="100" y="44"/>
                  <a:pt x="100" y="44"/>
                  <a:pt x="100" y="44"/>
                </a:cubicBezTo>
                <a:cubicBezTo>
                  <a:pt x="100" y="20"/>
                  <a:pt x="100" y="20"/>
                  <a:pt x="100" y="20"/>
                </a:cubicBezTo>
                <a:lnTo>
                  <a:pt x="128" y="20"/>
                </a:lnTo>
                <a:close/>
                <a:moveTo>
                  <a:pt x="92" y="56"/>
                </a:moveTo>
                <a:cubicBezTo>
                  <a:pt x="60" y="56"/>
                  <a:pt x="60" y="56"/>
                  <a:pt x="60" y="56"/>
                </a:cubicBezTo>
                <a:cubicBezTo>
                  <a:pt x="47" y="56"/>
                  <a:pt x="37" y="45"/>
                  <a:pt x="37" y="32"/>
                </a:cubicBezTo>
                <a:cubicBezTo>
                  <a:pt x="37" y="19"/>
                  <a:pt x="47" y="8"/>
                  <a:pt x="60" y="8"/>
                </a:cubicBezTo>
                <a:cubicBezTo>
                  <a:pt x="92" y="8"/>
                  <a:pt x="92" y="8"/>
                  <a:pt x="92" y="8"/>
                </a:cubicBezTo>
                <a:lnTo>
                  <a:pt x="92" y="5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3" name="Freeform 5">
            <a:extLst>
              <a:ext uri="{FF2B5EF4-FFF2-40B4-BE49-F238E27FC236}">
                <a16:creationId xmlns:a16="http://schemas.microsoft.com/office/drawing/2014/main" id="{9C10753F-CD1D-4A6A-BFE4-F9926E07E0DC}"/>
              </a:ext>
            </a:extLst>
          </p:cNvPr>
          <p:cNvSpPr>
            <a:spLocks noEditPoints="1"/>
          </p:cNvSpPr>
          <p:nvPr/>
        </p:nvSpPr>
        <p:spPr bwMode="auto">
          <a:xfrm>
            <a:off x="5006480" y="1590746"/>
            <a:ext cx="412750" cy="414338"/>
          </a:xfrm>
          <a:custGeom>
            <a:avLst/>
            <a:gdLst>
              <a:gd name="T0" fmla="*/ 211 w 260"/>
              <a:gd name="T1" fmla="*/ 65 h 261"/>
              <a:gd name="T2" fmla="*/ 49 w 260"/>
              <a:gd name="T3" fmla="*/ 65 h 261"/>
              <a:gd name="T4" fmla="*/ 49 w 260"/>
              <a:gd name="T5" fmla="*/ 49 h 261"/>
              <a:gd name="T6" fmla="*/ 211 w 260"/>
              <a:gd name="T7" fmla="*/ 49 h 261"/>
              <a:gd name="T8" fmla="*/ 211 w 260"/>
              <a:gd name="T9" fmla="*/ 65 h 261"/>
              <a:gd name="T10" fmla="*/ 211 w 260"/>
              <a:gd name="T11" fmla="*/ 82 h 261"/>
              <a:gd name="T12" fmla="*/ 49 w 260"/>
              <a:gd name="T13" fmla="*/ 82 h 261"/>
              <a:gd name="T14" fmla="*/ 49 w 260"/>
              <a:gd name="T15" fmla="*/ 98 h 261"/>
              <a:gd name="T16" fmla="*/ 211 w 260"/>
              <a:gd name="T17" fmla="*/ 98 h 261"/>
              <a:gd name="T18" fmla="*/ 211 w 260"/>
              <a:gd name="T19" fmla="*/ 82 h 261"/>
              <a:gd name="T20" fmla="*/ 114 w 260"/>
              <a:gd name="T21" fmla="*/ 196 h 261"/>
              <a:gd name="T22" fmla="*/ 65 w 260"/>
              <a:gd name="T23" fmla="*/ 196 h 261"/>
              <a:gd name="T24" fmla="*/ 65 w 260"/>
              <a:gd name="T25" fmla="*/ 147 h 261"/>
              <a:gd name="T26" fmla="*/ 49 w 260"/>
              <a:gd name="T27" fmla="*/ 147 h 261"/>
              <a:gd name="T28" fmla="*/ 49 w 260"/>
              <a:gd name="T29" fmla="*/ 196 h 261"/>
              <a:gd name="T30" fmla="*/ 0 w 260"/>
              <a:gd name="T31" fmla="*/ 196 h 261"/>
              <a:gd name="T32" fmla="*/ 0 w 260"/>
              <a:gd name="T33" fmla="*/ 212 h 261"/>
              <a:gd name="T34" fmla="*/ 49 w 260"/>
              <a:gd name="T35" fmla="*/ 212 h 261"/>
              <a:gd name="T36" fmla="*/ 49 w 260"/>
              <a:gd name="T37" fmla="*/ 261 h 261"/>
              <a:gd name="T38" fmla="*/ 65 w 260"/>
              <a:gd name="T39" fmla="*/ 261 h 261"/>
              <a:gd name="T40" fmla="*/ 65 w 260"/>
              <a:gd name="T41" fmla="*/ 212 h 261"/>
              <a:gd name="T42" fmla="*/ 114 w 260"/>
              <a:gd name="T43" fmla="*/ 212 h 261"/>
              <a:gd name="T44" fmla="*/ 114 w 260"/>
              <a:gd name="T45" fmla="*/ 196 h 261"/>
              <a:gd name="T46" fmla="*/ 0 w 260"/>
              <a:gd name="T47" fmla="*/ 0 h 261"/>
              <a:gd name="T48" fmla="*/ 0 w 260"/>
              <a:gd name="T49" fmla="*/ 130 h 261"/>
              <a:gd name="T50" fmla="*/ 16 w 260"/>
              <a:gd name="T51" fmla="*/ 130 h 261"/>
              <a:gd name="T52" fmla="*/ 16 w 260"/>
              <a:gd name="T53" fmla="*/ 16 h 261"/>
              <a:gd name="T54" fmla="*/ 244 w 260"/>
              <a:gd name="T55" fmla="*/ 16 h 261"/>
              <a:gd name="T56" fmla="*/ 244 w 260"/>
              <a:gd name="T57" fmla="*/ 147 h 261"/>
              <a:gd name="T58" fmla="*/ 130 w 260"/>
              <a:gd name="T59" fmla="*/ 147 h 261"/>
              <a:gd name="T60" fmla="*/ 130 w 260"/>
              <a:gd name="T61" fmla="*/ 163 h 261"/>
              <a:gd name="T62" fmla="*/ 162 w 260"/>
              <a:gd name="T63" fmla="*/ 163 h 261"/>
              <a:gd name="T64" fmla="*/ 227 w 260"/>
              <a:gd name="T65" fmla="*/ 228 h 261"/>
              <a:gd name="T66" fmla="*/ 227 w 260"/>
              <a:gd name="T67" fmla="*/ 163 h 261"/>
              <a:gd name="T68" fmla="*/ 260 w 260"/>
              <a:gd name="T69" fmla="*/ 163 h 261"/>
              <a:gd name="T70" fmla="*/ 260 w 260"/>
              <a:gd name="T71" fmla="*/ 0 h 261"/>
              <a:gd name="T72" fmla="*/ 0 w 260"/>
              <a:gd name="T73"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0" h="261">
                <a:moveTo>
                  <a:pt x="211" y="65"/>
                </a:moveTo>
                <a:lnTo>
                  <a:pt x="49" y="65"/>
                </a:lnTo>
                <a:lnTo>
                  <a:pt x="49" y="49"/>
                </a:lnTo>
                <a:lnTo>
                  <a:pt x="211" y="49"/>
                </a:lnTo>
                <a:lnTo>
                  <a:pt x="211" y="65"/>
                </a:lnTo>
                <a:close/>
                <a:moveTo>
                  <a:pt x="211" y="82"/>
                </a:moveTo>
                <a:lnTo>
                  <a:pt x="49" y="82"/>
                </a:lnTo>
                <a:lnTo>
                  <a:pt x="49" y="98"/>
                </a:lnTo>
                <a:lnTo>
                  <a:pt x="211" y="98"/>
                </a:lnTo>
                <a:lnTo>
                  <a:pt x="211" y="82"/>
                </a:lnTo>
                <a:close/>
                <a:moveTo>
                  <a:pt x="114" y="196"/>
                </a:moveTo>
                <a:lnTo>
                  <a:pt x="65" y="196"/>
                </a:lnTo>
                <a:lnTo>
                  <a:pt x="65" y="147"/>
                </a:lnTo>
                <a:lnTo>
                  <a:pt x="49" y="147"/>
                </a:lnTo>
                <a:lnTo>
                  <a:pt x="49" y="196"/>
                </a:lnTo>
                <a:lnTo>
                  <a:pt x="0" y="196"/>
                </a:lnTo>
                <a:lnTo>
                  <a:pt x="0" y="212"/>
                </a:lnTo>
                <a:lnTo>
                  <a:pt x="49" y="212"/>
                </a:lnTo>
                <a:lnTo>
                  <a:pt x="49" y="261"/>
                </a:lnTo>
                <a:lnTo>
                  <a:pt x="65" y="261"/>
                </a:lnTo>
                <a:lnTo>
                  <a:pt x="65" y="212"/>
                </a:lnTo>
                <a:lnTo>
                  <a:pt x="114" y="212"/>
                </a:lnTo>
                <a:lnTo>
                  <a:pt x="114" y="196"/>
                </a:lnTo>
                <a:close/>
                <a:moveTo>
                  <a:pt x="0" y="0"/>
                </a:moveTo>
                <a:lnTo>
                  <a:pt x="0" y="130"/>
                </a:lnTo>
                <a:lnTo>
                  <a:pt x="16" y="130"/>
                </a:lnTo>
                <a:lnTo>
                  <a:pt x="16" y="16"/>
                </a:lnTo>
                <a:lnTo>
                  <a:pt x="244" y="16"/>
                </a:lnTo>
                <a:lnTo>
                  <a:pt x="244" y="147"/>
                </a:lnTo>
                <a:lnTo>
                  <a:pt x="130" y="147"/>
                </a:lnTo>
                <a:lnTo>
                  <a:pt x="130" y="163"/>
                </a:lnTo>
                <a:lnTo>
                  <a:pt x="162" y="163"/>
                </a:lnTo>
                <a:lnTo>
                  <a:pt x="227" y="228"/>
                </a:lnTo>
                <a:lnTo>
                  <a:pt x="227" y="163"/>
                </a:lnTo>
                <a:lnTo>
                  <a:pt x="260" y="163"/>
                </a:lnTo>
                <a:lnTo>
                  <a:pt x="260" y="0"/>
                </a:lnTo>
                <a:lnTo>
                  <a:pt x="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4" name="Freeform 9">
            <a:extLst>
              <a:ext uri="{FF2B5EF4-FFF2-40B4-BE49-F238E27FC236}">
                <a16:creationId xmlns:a16="http://schemas.microsoft.com/office/drawing/2014/main" id="{10055650-F405-40A8-985E-BED0EC0DDB5B}"/>
              </a:ext>
            </a:extLst>
          </p:cNvPr>
          <p:cNvSpPr>
            <a:spLocks noEditPoints="1"/>
          </p:cNvSpPr>
          <p:nvPr/>
        </p:nvSpPr>
        <p:spPr bwMode="auto">
          <a:xfrm>
            <a:off x="7133861" y="1590746"/>
            <a:ext cx="338138" cy="414338"/>
          </a:xfrm>
          <a:custGeom>
            <a:avLst/>
            <a:gdLst>
              <a:gd name="T0" fmla="*/ 104 w 104"/>
              <a:gd name="T1" fmla="*/ 64 h 128"/>
              <a:gd name="T2" fmla="*/ 54 w 104"/>
              <a:gd name="T3" fmla="*/ 1 h 128"/>
              <a:gd name="T4" fmla="*/ 52 w 104"/>
              <a:gd name="T5" fmla="*/ 0 h 128"/>
              <a:gd name="T6" fmla="*/ 50 w 104"/>
              <a:gd name="T7" fmla="*/ 1 h 128"/>
              <a:gd name="T8" fmla="*/ 0 w 104"/>
              <a:gd name="T9" fmla="*/ 64 h 128"/>
              <a:gd name="T10" fmla="*/ 48 w 104"/>
              <a:gd name="T11" fmla="*/ 116 h 128"/>
              <a:gd name="T12" fmla="*/ 48 w 104"/>
              <a:gd name="T13" fmla="*/ 128 h 128"/>
              <a:gd name="T14" fmla="*/ 56 w 104"/>
              <a:gd name="T15" fmla="*/ 128 h 128"/>
              <a:gd name="T16" fmla="*/ 56 w 104"/>
              <a:gd name="T17" fmla="*/ 116 h 128"/>
              <a:gd name="T18" fmla="*/ 104 w 104"/>
              <a:gd name="T19" fmla="*/ 64 h 128"/>
              <a:gd name="T20" fmla="*/ 56 w 104"/>
              <a:gd name="T21" fmla="*/ 108 h 128"/>
              <a:gd name="T22" fmla="*/ 56 w 104"/>
              <a:gd name="T23" fmla="*/ 90 h 128"/>
              <a:gd name="T24" fmla="*/ 87 w 104"/>
              <a:gd name="T25" fmla="*/ 63 h 128"/>
              <a:gd name="T26" fmla="*/ 81 w 104"/>
              <a:gd name="T27" fmla="*/ 57 h 128"/>
              <a:gd name="T28" fmla="*/ 56 w 104"/>
              <a:gd name="T29" fmla="*/ 79 h 128"/>
              <a:gd name="T30" fmla="*/ 56 w 104"/>
              <a:gd name="T31" fmla="*/ 58 h 128"/>
              <a:gd name="T32" fmla="*/ 75 w 104"/>
              <a:gd name="T33" fmla="*/ 43 h 128"/>
              <a:gd name="T34" fmla="*/ 70 w 104"/>
              <a:gd name="T35" fmla="*/ 37 h 128"/>
              <a:gd name="T36" fmla="*/ 56 w 104"/>
              <a:gd name="T37" fmla="*/ 48 h 128"/>
              <a:gd name="T38" fmla="*/ 56 w 104"/>
              <a:gd name="T39" fmla="*/ 32 h 128"/>
              <a:gd name="T40" fmla="*/ 48 w 104"/>
              <a:gd name="T41" fmla="*/ 32 h 128"/>
              <a:gd name="T42" fmla="*/ 48 w 104"/>
              <a:gd name="T43" fmla="*/ 48 h 128"/>
              <a:gd name="T44" fmla="*/ 35 w 104"/>
              <a:gd name="T45" fmla="*/ 37 h 128"/>
              <a:gd name="T46" fmla="*/ 30 w 104"/>
              <a:gd name="T47" fmla="*/ 43 h 128"/>
              <a:gd name="T48" fmla="*/ 48 w 104"/>
              <a:gd name="T49" fmla="*/ 58 h 128"/>
              <a:gd name="T50" fmla="*/ 48 w 104"/>
              <a:gd name="T51" fmla="*/ 84 h 128"/>
              <a:gd name="T52" fmla="*/ 26 w 104"/>
              <a:gd name="T53" fmla="*/ 69 h 128"/>
              <a:gd name="T54" fmla="*/ 22 w 104"/>
              <a:gd name="T55" fmla="*/ 75 h 128"/>
              <a:gd name="T56" fmla="*/ 48 w 104"/>
              <a:gd name="T57" fmla="*/ 94 h 128"/>
              <a:gd name="T58" fmla="*/ 48 w 104"/>
              <a:gd name="T59" fmla="*/ 108 h 128"/>
              <a:gd name="T60" fmla="*/ 8 w 104"/>
              <a:gd name="T61" fmla="*/ 64 h 128"/>
              <a:gd name="T62" fmla="*/ 52 w 104"/>
              <a:gd name="T63" fmla="*/ 9 h 128"/>
              <a:gd name="T64" fmla="*/ 96 w 104"/>
              <a:gd name="T65" fmla="*/ 64 h 128"/>
              <a:gd name="T66" fmla="*/ 56 w 104"/>
              <a:gd name="T67" fmla="*/ 10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4" h="128">
                <a:moveTo>
                  <a:pt x="104" y="64"/>
                </a:moveTo>
                <a:cubicBezTo>
                  <a:pt x="104" y="26"/>
                  <a:pt x="56" y="2"/>
                  <a:pt x="54" y="1"/>
                </a:cubicBezTo>
                <a:cubicBezTo>
                  <a:pt x="52" y="0"/>
                  <a:pt x="52" y="0"/>
                  <a:pt x="52" y="0"/>
                </a:cubicBezTo>
                <a:cubicBezTo>
                  <a:pt x="50" y="1"/>
                  <a:pt x="50" y="1"/>
                  <a:pt x="50" y="1"/>
                </a:cubicBezTo>
                <a:cubicBezTo>
                  <a:pt x="48" y="2"/>
                  <a:pt x="0" y="26"/>
                  <a:pt x="0" y="64"/>
                </a:cubicBezTo>
                <a:cubicBezTo>
                  <a:pt x="0" y="103"/>
                  <a:pt x="32" y="114"/>
                  <a:pt x="48" y="116"/>
                </a:cubicBezTo>
                <a:cubicBezTo>
                  <a:pt x="48" y="128"/>
                  <a:pt x="48" y="128"/>
                  <a:pt x="48" y="128"/>
                </a:cubicBezTo>
                <a:cubicBezTo>
                  <a:pt x="56" y="128"/>
                  <a:pt x="56" y="128"/>
                  <a:pt x="56" y="128"/>
                </a:cubicBezTo>
                <a:cubicBezTo>
                  <a:pt x="56" y="116"/>
                  <a:pt x="56" y="116"/>
                  <a:pt x="56" y="116"/>
                </a:cubicBezTo>
                <a:cubicBezTo>
                  <a:pt x="80" y="114"/>
                  <a:pt x="104" y="100"/>
                  <a:pt x="104" y="64"/>
                </a:cubicBezTo>
                <a:close/>
                <a:moveTo>
                  <a:pt x="56" y="108"/>
                </a:moveTo>
                <a:cubicBezTo>
                  <a:pt x="56" y="90"/>
                  <a:pt x="56" y="90"/>
                  <a:pt x="56" y="90"/>
                </a:cubicBezTo>
                <a:cubicBezTo>
                  <a:pt x="87" y="63"/>
                  <a:pt x="87" y="63"/>
                  <a:pt x="87" y="63"/>
                </a:cubicBezTo>
                <a:cubicBezTo>
                  <a:pt x="81" y="57"/>
                  <a:pt x="81" y="57"/>
                  <a:pt x="81" y="57"/>
                </a:cubicBezTo>
                <a:cubicBezTo>
                  <a:pt x="56" y="79"/>
                  <a:pt x="56" y="79"/>
                  <a:pt x="56" y="79"/>
                </a:cubicBezTo>
                <a:cubicBezTo>
                  <a:pt x="56" y="58"/>
                  <a:pt x="56" y="58"/>
                  <a:pt x="56" y="58"/>
                </a:cubicBezTo>
                <a:cubicBezTo>
                  <a:pt x="75" y="43"/>
                  <a:pt x="75" y="43"/>
                  <a:pt x="75" y="43"/>
                </a:cubicBezTo>
                <a:cubicBezTo>
                  <a:pt x="70" y="37"/>
                  <a:pt x="70" y="37"/>
                  <a:pt x="70" y="37"/>
                </a:cubicBezTo>
                <a:cubicBezTo>
                  <a:pt x="56" y="48"/>
                  <a:pt x="56" y="48"/>
                  <a:pt x="56" y="48"/>
                </a:cubicBezTo>
                <a:cubicBezTo>
                  <a:pt x="56" y="32"/>
                  <a:pt x="56" y="32"/>
                  <a:pt x="56" y="32"/>
                </a:cubicBezTo>
                <a:cubicBezTo>
                  <a:pt x="48" y="32"/>
                  <a:pt x="48" y="32"/>
                  <a:pt x="48" y="32"/>
                </a:cubicBezTo>
                <a:cubicBezTo>
                  <a:pt x="48" y="48"/>
                  <a:pt x="48" y="48"/>
                  <a:pt x="48" y="48"/>
                </a:cubicBezTo>
                <a:cubicBezTo>
                  <a:pt x="35" y="37"/>
                  <a:pt x="35" y="37"/>
                  <a:pt x="35" y="37"/>
                </a:cubicBezTo>
                <a:cubicBezTo>
                  <a:pt x="30" y="43"/>
                  <a:pt x="30" y="43"/>
                  <a:pt x="30" y="43"/>
                </a:cubicBezTo>
                <a:cubicBezTo>
                  <a:pt x="48" y="58"/>
                  <a:pt x="48" y="58"/>
                  <a:pt x="48" y="58"/>
                </a:cubicBezTo>
                <a:cubicBezTo>
                  <a:pt x="48" y="84"/>
                  <a:pt x="48" y="84"/>
                  <a:pt x="48" y="84"/>
                </a:cubicBezTo>
                <a:cubicBezTo>
                  <a:pt x="26" y="69"/>
                  <a:pt x="26" y="69"/>
                  <a:pt x="26" y="69"/>
                </a:cubicBezTo>
                <a:cubicBezTo>
                  <a:pt x="22" y="75"/>
                  <a:pt x="22" y="75"/>
                  <a:pt x="22" y="75"/>
                </a:cubicBezTo>
                <a:cubicBezTo>
                  <a:pt x="48" y="94"/>
                  <a:pt x="48" y="94"/>
                  <a:pt x="48" y="94"/>
                </a:cubicBezTo>
                <a:cubicBezTo>
                  <a:pt x="48" y="108"/>
                  <a:pt x="48" y="108"/>
                  <a:pt x="48" y="108"/>
                </a:cubicBezTo>
                <a:cubicBezTo>
                  <a:pt x="37" y="106"/>
                  <a:pt x="8" y="99"/>
                  <a:pt x="8" y="64"/>
                </a:cubicBezTo>
                <a:cubicBezTo>
                  <a:pt x="8" y="35"/>
                  <a:pt x="44" y="12"/>
                  <a:pt x="52" y="9"/>
                </a:cubicBezTo>
                <a:cubicBezTo>
                  <a:pt x="60" y="12"/>
                  <a:pt x="96" y="35"/>
                  <a:pt x="96" y="64"/>
                </a:cubicBezTo>
                <a:cubicBezTo>
                  <a:pt x="96" y="100"/>
                  <a:pt x="71" y="107"/>
                  <a:pt x="56" y="10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5" name="Freeform 13">
            <a:extLst>
              <a:ext uri="{FF2B5EF4-FFF2-40B4-BE49-F238E27FC236}">
                <a16:creationId xmlns:a16="http://schemas.microsoft.com/office/drawing/2014/main" id="{E835B72E-C99E-429D-AE3D-E61C2A38CDCE}"/>
              </a:ext>
            </a:extLst>
          </p:cNvPr>
          <p:cNvSpPr>
            <a:spLocks/>
          </p:cNvSpPr>
          <p:nvPr/>
        </p:nvSpPr>
        <p:spPr bwMode="auto">
          <a:xfrm>
            <a:off x="8168182" y="1590746"/>
            <a:ext cx="361950" cy="414338"/>
          </a:xfrm>
          <a:custGeom>
            <a:avLst/>
            <a:gdLst>
              <a:gd name="T0" fmla="*/ 112 w 112"/>
              <a:gd name="T1" fmla="*/ 56 h 128"/>
              <a:gd name="T2" fmla="*/ 112 w 112"/>
              <a:gd name="T3" fmla="*/ 76 h 128"/>
              <a:gd name="T4" fmla="*/ 108 w 112"/>
              <a:gd name="T5" fmla="*/ 80 h 128"/>
              <a:gd name="T6" fmla="*/ 92 w 112"/>
              <a:gd name="T7" fmla="*/ 80 h 128"/>
              <a:gd name="T8" fmla="*/ 88 w 112"/>
              <a:gd name="T9" fmla="*/ 76 h 128"/>
              <a:gd name="T10" fmla="*/ 88 w 112"/>
              <a:gd name="T11" fmla="*/ 56 h 128"/>
              <a:gd name="T12" fmla="*/ 92 w 112"/>
              <a:gd name="T13" fmla="*/ 52 h 128"/>
              <a:gd name="T14" fmla="*/ 92 w 112"/>
              <a:gd name="T15" fmla="*/ 48 h 128"/>
              <a:gd name="T16" fmla="*/ 81 w 112"/>
              <a:gd name="T17" fmla="*/ 20 h 128"/>
              <a:gd name="T18" fmla="*/ 56 w 112"/>
              <a:gd name="T19" fmla="*/ 8 h 128"/>
              <a:gd name="T20" fmla="*/ 31 w 112"/>
              <a:gd name="T21" fmla="*/ 20 h 128"/>
              <a:gd name="T22" fmla="*/ 20 w 112"/>
              <a:gd name="T23" fmla="*/ 48 h 128"/>
              <a:gd name="T24" fmla="*/ 20 w 112"/>
              <a:gd name="T25" fmla="*/ 52 h 128"/>
              <a:gd name="T26" fmla="*/ 24 w 112"/>
              <a:gd name="T27" fmla="*/ 56 h 128"/>
              <a:gd name="T28" fmla="*/ 24 w 112"/>
              <a:gd name="T29" fmla="*/ 74 h 128"/>
              <a:gd name="T30" fmla="*/ 24 w 112"/>
              <a:gd name="T31" fmla="*/ 74 h 128"/>
              <a:gd name="T32" fmla="*/ 34 w 112"/>
              <a:gd name="T33" fmla="*/ 103 h 128"/>
              <a:gd name="T34" fmla="*/ 48 w 112"/>
              <a:gd name="T35" fmla="*/ 113 h 128"/>
              <a:gd name="T36" fmla="*/ 56 w 112"/>
              <a:gd name="T37" fmla="*/ 108 h 128"/>
              <a:gd name="T38" fmla="*/ 66 w 112"/>
              <a:gd name="T39" fmla="*/ 118 h 128"/>
              <a:gd name="T40" fmla="*/ 56 w 112"/>
              <a:gd name="T41" fmla="*/ 128 h 128"/>
              <a:gd name="T42" fmla="*/ 46 w 112"/>
              <a:gd name="T43" fmla="*/ 121 h 128"/>
              <a:gd name="T44" fmla="*/ 27 w 112"/>
              <a:gd name="T45" fmla="*/ 108 h 128"/>
              <a:gd name="T46" fmla="*/ 16 w 112"/>
              <a:gd name="T47" fmla="*/ 80 h 128"/>
              <a:gd name="T48" fmla="*/ 4 w 112"/>
              <a:gd name="T49" fmla="*/ 80 h 128"/>
              <a:gd name="T50" fmla="*/ 0 w 112"/>
              <a:gd name="T51" fmla="*/ 76 h 128"/>
              <a:gd name="T52" fmla="*/ 0 w 112"/>
              <a:gd name="T53" fmla="*/ 56 h 128"/>
              <a:gd name="T54" fmla="*/ 4 w 112"/>
              <a:gd name="T55" fmla="*/ 52 h 128"/>
              <a:gd name="T56" fmla="*/ 12 w 112"/>
              <a:gd name="T57" fmla="*/ 52 h 128"/>
              <a:gd name="T58" fmla="*/ 12 w 112"/>
              <a:gd name="T59" fmla="*/ 48 h 128"/>
              <a:gd name="T60" fmla="*/ 25 w 112"/>
              <a:gd name="T61" fmla="*/ 14 h 128"/>
              <a:gd name="T62" fmla="*/ 56 w 112"/>
              <a:gd name="T63" fmla="*/ 0 h 128"/>
              <a:gd name="T64" fmla="*/ 87 w 112"/>
              <a:gd name="T65" fmla="*/ 14 h 128"/>
              <a:gd name="T66" fmla="*/ 100 w 112"/>
              <a:gd name="T67" fmla="*/ 48 h 128"/>
              <a:gd name="T68" fmla="*/ 100 w 112"/>
              <a:gd name="T69" fmla="*/ 52 h 128"/>
              <a:gd name="T70" fmla="*/ 108 w 112"/>
              <a:gd name="T71" fmla="*/ 52 h 128"/>
              <a:gd name="T72" fmla="*/ 112 w 112"/>
              <a:gd name="T73" fmla="*/ 5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2" h="128">
                <a:moveTo>
                  <a:pt x="112" y="56"/>
                </a:moveTo>
                <a:cubicBezTo>
                  <a:pt x="112" y="76"/>
                  <a:pt x="112" y="76"/>
                  <a:pt x="112" y="76"/>
                </a:cubicBezTo>
                <a:cubicBezTo>
                  <a:pt x="112" y="76"/>
                  <a:pt x="112" y="80"/>
                  <a:pt x="108" y="80"/>
                </a:cubicBezTo>
                <a:cubicBezTo>
                  <a:pt x="104" y="80"/>
                  <a:pt x="96" y="80"/>
                  <a:pt x="92" y="80"/>
                </a:cubicBezTo>
                <a:cubicBezTo>
                  <a:pt x="88" y="80"/>
                  <a:pt x="88" y="76"/>
                  <a:pt x="88" y="76"/>
                </a:cubicBezTo>
                <a:cubicBezTo>
                  <a:pt x="88" y="76"/>
                  <a:pt x="88" y="60"/>
                  <a:pt x="88" y="56"/>
                </a:cubicBezTo>
                <a:cubicBezTo>
                  <a:pt x="88" y="52"/>
                  <a:pt x="92" y="52"/>
                  <a:pt x="92" y="52"/>
                </a:cubicBezTo>
                <a:cubicBezTo>
                  <a:pt x="92" y="48"/>
                  <a:pt x="92" y="48"/>
                  <a:pt x="92" y="48"/>
                </a:cubicBezTo>
                <a:cubicBezTo>
                  <a:pt x="92" y="37"/>
                  <a:pt x="88" y="27"/>
                  <a:pt x="81" y="20"/>
                </a:cubicBezTo>
                <a:cubicBezTo>
                  <a:pt x="75" y="12"/>
                  <a:pt x="66" y="8"/>
                  <a:pt x="56" y="8"/>
                </a:cubicBezTo>
                <a:cubicBezTo>
                  <a:pt x="46" y="8"/>
                  <a:pt x="37" y="12"/>
                  <a:pt x="31" y="20"/>
                </a:cubicBezTo>
                <a:cubicBezTo>
                  <a:pt x="24" y="27"/>
                  <a:pt x="20" y="37"/>
                  <a:pt x="20" y="48"/>
                </a:cubicBezTo>
                <a:cubicBezTo>
                  <a:pt x="20" y="52"/>
                  <a:pt x="20" y="52"/>
                  <a:pt x="20" y="52"/>
                </a:cubicBezTo>
                <a:cubicBezTo>
                  <a:pt x="20" y="52"/>
                  <a:pt x="24" y="52"/>
                  <a:pt x="24" y="56"/>
                </a:cubicBezTo>
                <a:cubicBezTo>
                  <a:pt x="24" y="59"/>
                  <a:pt x="24" y="68"/>
                  <a:pt x="24" y="74"/>
                </a:cubicBezTo>
                <a:cubicBezTo>
                  <a:pt x="24" y="74"/>
                  <a:pt x="24" y="74"/>
                  <a:pt x="24" y="74"/>
                </a:cubicBezTo>
                <a:cubicBezTo>
                  <a:pt x="24" y="85"/>
                  <a:pt x="27" y="95"/>
                  <a:pt x="34" y="103"/>
                </a:cubicBezTo>
                <a:cubicBezTo>
                  <a:pt x="38" y="107"/>
                  <a:pt x="42" y="111"/>
                  <a:pt x="48" y="113"/>
                </a:cubicBezTo>
                <a:cubicBezTo>
                  <a:pt x="49" y="110"/>
                  <a:pt x="52" y="108"/>
                  <a:pt x="56" y="108"/>
                </a:cubicBezTo>
                <a:cubicBezTo>
                  <a:pt x="62" y="108"/>
                  <a:pt x="66" y="112"/>
                  <a:pt x="66" y="118"/>
                </a:cubicBezTo>
                <a:cubicBezTo>
                  <a:pt x="66" y="124"/>
                  <a:pt x="62" y="128"/>
                  <a:pt x="56" y="128"/>
                </a:cubicBezTo>
                <a:cubicBezTo>
                  <a:pt x="51" y="128"/>
                  <a:pt x="48" y="125"/>
                  <a:pt x="46" y="121"/>
                </a:cubicBezTo>
                <a:cubicBezTo>
                  <a:pt x="39" y="118"/>
                  <a:pt x="33" y="114"/>
                  <a:pt x="27" y="108"/>
                </a:cubicBezTo>
                <a:cubicBezTo>
                  <a:pt x="21" y="100"/>
                  <a:pt x="17" y="90"/>
                  <a:pt x="16" y="80"/>
                </a:cubicBezTo>
                <a:cubicBezTo>
                  <a:pt x="4" y="80"/>
                  <a:pt x="4" y="80"/>
                  <a:pt x="4" y="80"/>
                </a:cubicBezTo>
                <a:cubicBezTo>
                  <a:pt x="4" y="80"/>
                  <a:pt x="0" y="80"/>
                  <a:pt x="0" y="76"/>
                </a:cubicBezTo>
                <a:cubicBezTo>
                  <a:pt x="0" y="72"/>
                  <a:pt x="0" y="60"/>
                  <a:pt x="0" y="56"/>
                </a:cubicBezTo>
                <a:cubicBezTo>
                  <a:pt x="0" y="52"/>
                  <a:pt x="4" y="52"/>
                  <a:pt x="4" y="52"/>
                </a:cubicBezTo>
                <a:cubicBezTo>
                  <a:pt x="12" y="52"/>
                  <a:pt x="12" y="52"/>
                  <a:pt x="12" y="52"/>
                </a:cubicBezTo>
                <a:cubicBezTo>
                  <a:pt x="12" y="48"/>
                  <a:pt x="12" y="48"/>
                  <a:pt x="12" y="48"/>
                </a:cubicBezTo>
                <a:cubicBezTo>
                  <a:pt x="12" y="35"/>
                  <a:pt x="17" y="23"/>
                  <a:pt x="25" y="14"/>
                </a:cubicBezTo>
                <a:cubicBezTo>
                  <a:pt x="33" y="5"/>
                  <a:pt x="44" y="0"/>
                  <a:pt x="56" y="0"/>
                </a:cubicBezTo>
                <a:cubicBezTo>
                  <a:pt x="68" y="0"/>
                  <a:pt x="79" y="5"/>
                  <a:pt x="87" y="14"/>
                </a:cubicBezTo>
                <a:cubicBezTo>
                  <a:pt x="95" y="23"/>
                  <a:pt x="100" y="35"/>
                  <a:pt x="100" y="48"/>
                </a:cubicBezTo>
                <a:cubicBezTo>
                  <a:pt x="100" y="52"/>
                  <a:pt x="100" y="52"/>
                  <a:pt x="100" y="52"/>
                </a:cubicBezTo>
                <a:cubicBezTo>
                  <a:pt x="103" y="52"/>
                  <a:pt x="106" y="52"/>
                  <a:pt x="108" y="52"/>
                </a:cubicBezTo>
                <a:cubicBezTo>
                  <a:pt x="112" y="52"/>
                  <a:pt x="112" y="56"/>
                  <a:pt x="112" y="5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6" name="Freeform 17">
            <a:extLst>
              <a:ext uri="{FF2B5EF4-FFF2-40B4-BE49-F238E27FC236}">
                <a16:creationId xmlns:a16="http://schemas.microsoft.com/office/drawing/2014/main" id="{F2249009-A0C0-49A7-A843-89AFFE95A19C}"/>
              </a:ext>
            </a:extLst>
          </p:cNvPr>
          <p:cNvSpPr>
            <a:spLocks noEditPoints="1"/>
          </p:cNvSpPr>
          <p:nvPr/>
        </p:nvSpPr>
        <p:spPr bwMode="auto">
          <a:xfrm>
            <a:off x="5005686" y="2404596"/>
            <a:ext cx="414338" cy="414338"/>
          </a:xfrm>
          <a:custGeom>
            <a:avLst/>
            <a:gdLst>
              <a:gd name="T0" fmla="*/ 32 w 128"/>
              <a:gd name="T1" fmla="*/ 72 h 128"/>
              <a:gd name="T2" fmla="*/ 32 w 128"/>
              <a:gd name="T3" fmla="*/ 56 h 128"/>
              <a:gd name="T4" fmla="*/ 92 w 128"/>
              <a:gd name="T5" fmla="*/ 30 h 128"/>
              <a:gd name="T6" fmla="*/ 92 w 128"/>
              <a:gd name="T7" fmla="*/ 46 h 128"/>
              <a:gd name="T8" fmla="*/ 92 w 128"/>
              <a:gd name="T9" fmla="*/ 30 h 128"/>
              <a:gd name="T10" fmla="*/ 84 w 128"/>
              <a:gd name="T11" fmla="*/ 90 h 128"/>
              <a:gd name="T12" fmla="*/ 100 w 128"/>
              <a:gd name="T13" fmla="*/ 90 h 128"/>
              <a:gd name="T14" fmla="*/ 128 w 128"/>
              <a:gd name="T15" fmla="*/ 64 h 128"/>
              <a:gd name="T16" fmla="*/ 0 w 128"/>
              <a:gd name="T17" fmla="*/ 64 h 128"/>
              <a:gd name="T18" fmla="*/ 128 w 128"/>
              <a:gd name="T19" fmla="*/ 64 h 128"/>
              <a:gd name="T20" fmla="*/ 34 w 128"/>
              <a:gd name="T21" fmla="*/ 36 h 128"/>
              <a:gd name="T22" fmla="*/ 16 w 128"/>
              <a:gd name="T23" fmla="*/ 36 h 128"/>
              <a:gd name="T24" fmla="*/ 34 w 128"/>
              <a:gd name="T25" fmla="*/ 92 h 128"/>
              <a:gd name="T26" fmla="*/ 49 w 128"/>
              <a:gd name="T27" fmla="*/ 118 h 128"/>
              <a:gd name="T28" fmla="*/ 38 w 128"/>
              <a:gd name="T29" fmla="*/ 92 h 128"/>
              <a:gd name="T30" fmla="*/ 60 w 128"/>
              <a:gd name="T31" fmla="*/ 92 h 128"/>
              <a:gd name="T32" fmla="*/ 37 w 128"/>
              <a:gd name="T33" fmla="*/ 40 h 128"/>
              <a:gd name="T34" fmla="*/ 32 w 128"/>
              <a:gd name="T35" fmla="*/ 50 h 128"/>
              <a:gd name="T36" fmla="*/ 33 w 128"/>
              <a:gd name="T37" fmla="*/ 40 h 128"/>
              <a:gd name="T38" fmla="*/ 8 w 128"/>
              <a:gd name="T39" fmla="*/ 60 h 128"/>
              <a:gd name="T40" fmla="*/ 18 w 128"/>
              <a:gd name="T41" fmla="*/ 64 h 128"/>
              <a:gd name="T42" fmla="*/ 8 w 128"/>
              <a:gd name="T43" fmla="*/ 68 h 128"/>
              <a:gd name="T44" fmla="*/ 33 w 128"/>
              <a:gd name="T45" fmla="*/ 88 h 128"/>
              <a:gd name="T46" fmla="*/ 32 w 128"/>
              <a:gd name="T47" fmla="*/ 78 h 128"/>
              <a:gd name="T48" fmla="*/ 37 w 128"/>
              <a:gd name="T49" fmla="*/ 88 h 128"/>
              <a:gd name="T50" fmla="*/ 60 w 128"/>
              <a:gd name="T51" fmla="*/ 68 h 128"/>
              <a:gd name="T52" fmla="*/ 46 w 128"/>
              <a:gd name="T53" fmla="*/ 64 h 128"/>
              <a:gd name="T54" fmla="*/ 60 w 128"/>
              <a:gd name="T55" fmla="*/ 60 h 128"/>
              <a:gd name="T56" fmla="*/ 60 w 128"/>
              <a:gd name="T57" fmla="*/ 9 h 128"/>
              <a:gd name="T58" fmla="*/ 60 w 128"/>
              <a:gd name="T59" fmla="*/ 36 h 128"/>
              <a:gd name="T60" fmla="*/ 68 w 128"/>
              <a:gd name="T61" fmla="*/ 60 h 128"/>
              <a:gd name="T62" fmla="*/ 93 w 128"/>
              <a:gd name="T63" fmla="*/ 52 h 128"/>
              <a:gd name="T64" fmla="*/ 98 w 128"/>
              <a:gd name="T65" fmla="*/ 60 h 128"/>
              <a:gd name="T66" fmla="*/ 115 w 128"/>
              <a:gd name="T67" fmla="*/ 40 h 128"/>
              <a:gd name="T68" fmla="*/ 106 w 128"/>
              <a:gd name="T69" fmla="*/ 38 h 128"/>
              <a:gd name="T70" fmla="*/ 112 w 128"/>
              <a:gd name="T71" fmla="*/ 36 h 128"/>
              <a:gd name="T72" fmla="*/ 89 w 128"/>
              <a:gd name="T73" fmla="*/ 24 h 128"/>
              <a:gd name="T74" fmla="*/ 68 w 128"/>
              <a:gd name="T75" fmla="*/ 9 h 128"/>
              <a:gd name="T76" fmla="*/ 78 w 128"/>
              <a:gd name="T77" fmla="*/ 36 h 128"/>
              <a:gd name="T78" fmla="*/ 78 w 128"/>
              <a:gd name="T79" fmla="*/ 40 h 128"/>
              <a:gd name="T80" fmla="*/ 68 w 128"/>
              <a:gd name="T81" fmla="*/ 60 h 128"/>
              <a:gd name="T82" fmla="*/ 98 w 128"/>
              <a:gd name="T83" fmla="*/ 68 h 128"/>
              <a:gd name="T84" fmla="*/ 93 w 128"/>
              <a:gd name="T85" fmla="*/ 76 h 128"/>
              <a:gd name="T86" fmla="*/ 68 w 128"/>
              <a:gd name="T87" fmla="*/ 68 h 128"/>
              <a:gd name="T88" fmla="*/ 78 w 128"/>
              <a:gd name="T89" fmla="*/ 88 h 128"/>
              <a:gd name="T90" fmla="*/ 78 w 128"/>
              <a:gd name="T91" fmla="*/ 92 h 128"/>
              <a:gd name="T92" fmla="*/ 68 w 128"/>
              <a:gd name="T93" fmla="*/ 119 h 128"/>
              <a:gd name="T94" fmla="*/ 89 w 128"/>
              <a:gd name="T95" fmla="*/ 104 h 128"/>
              <a:gd name="T96" fmla="*/ 112 w 128"/>
              <a:gd name="T97" fmla="*/ 92 h 128"/>
              <a:gd name="T98" fmla="*/ 106 w 128"/>
              <a:gd name="T99" fmla="*/ 90 h 128"/>
              <a:gd name="T100" fmla="*/ 115 w 128"/>
              <a:gd name="T101" fmla="*/ 8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 h="128">
                <a:moveTo>
                  <a:pt x="40" y="64"/>
                </a:moveTo>
                <a:cubicBezTo>
                  <a:pt x="40" y="68"/>
                  <a:pt x="36" y="72"/>
                  <a:pt x="32" y="72"/>
                </a:cubicBezTo>
                <a:cubicBezTo>
                  <a:pt x="28" y="72"/>
                  <a:pt x="24" y="68"/>
                  <a:pt x="24" y="64"/>
                </a:cubicBezTo>
                <a:cubicBezTo>
                  <a:pt x="24" y="60"/>
                  <a:pt x="28" y="56"/>
                  <a:pt x="32" y="56"/>
                </a:cubicBezTo>
                <a:cubicBezTo>
                  <a:pt x="36" y="56"/>
                  <a:pt x="40" y="60"/>
                  <a:pt x="40" y="64"/>
                </a:cubicBezTo>
                <a:close/>
                <a:moveTo>
                  <a:pt x="92" y="30"/>
                </a:moveTo>
                <a:cubicBezTo>
                  <a:pt x="88" y="30"/>
                  <a:pt x="84" y="34"/>
                  <a:pt x="84" y="38"/>
                </a:cubicBezTo>
                <a:cubicBezTo>
                  <a:pt x="84" y="42"/>
                  <a:pt x="88" y="46"/>
                  <a:pt x="92" y="46"/>
                </a:cubicBezTo>
                <a:cubicBezTo>
                  <a:pt x="96" y="46"/>
                  <a:pt x="100" y="42"/>
                  <a:pt x="100" y="38"/>
                </a:cubicBezTo>
                <a:cubicBezTo>
                  <a:pt x="100" y="34"/>
                  <a:pt x="96" y="30"/>
                  <a:pt x="92" y="30"/>
                </a:cubicBezTo>
                <a:close/>
                <a:moveTo>
                  <a:pt x="92" y="82"/>
                </a:moveTo>
                <a:cubicBezTo>
                  <a:pt x="88" y="82"/>
                  <a:pt x="84" y="86"/>
                  <a:pt x="84" y="90"/>
                </a:cubicBezTo>
                <a:cubicBezTo>
                  <a:pt x="84" y="94"/>
                  <a:pt x="88" y="98"/>
                  <a:pt x="92" y="98"/>
                </a:cubicBezTo>
                <a:cubicBezTo>
                  <a:pt x="96" y="98"/>
                  <a:pt x="100" y="94"/>
                  <a:pt x="100" y="90"/>
                </a:cubicBezTo>
                <a:cubicBezTo>
                  <a:pt x="100" y="86"/>
                  <a:pt x="96" y="82"/>
                  <a:pt x="92" y="82"/>
                </a:cubicBezTo>
                <a:close/>
                <a:moveTo>
                  <a:pt x="128" y="64"/>
                </a:moveTo>
                <a:cubicBezTo>
                  <a:pt x="128" y="99"/>
                  <a:pt x="99" y="128"/>
                  <a:pt x="64" y="128"/>
                </a:cubicBezTo>
                <a:cubicBezTo>
                  <a:pt x="29" y="128"/>
                  <a:pt x="0" y="99"/>
                  <a:pt x="0" y="64"/>
                </a:cubicBezTo>
                <a:cubicBezTo>
                  <a:pt x="0" y="29"/>
                  <a:pt x="29" y="0"/>
                  <a:pt x="64" y="0"/>
                </a:cubicBezTo>
                <a:cubicBezTo>
                  <a:pt x="99" y="0"/>
                  <a:pt x="128" y="29"/>
                  <a:pt x="128" y="64"/>
                </a:cubicBezTo>
                <a:close/>
                <a:moveTo>
                  <a:pt x="16" y="36"/>
                </a:moveTo>
                <a:cubicBezTo>
                  <a:pt x="34" y="36"/>
                  <a:pt x="34" y="36"/>
                  <a:pt x="34" y="36"/>
                </a:cubicBezTo>
                <a:cubicBezTo>
                  <a:pt x="37" y="25"/>
                  <a:pt x="43" y="16"/>
                  <a:pt x="49" y="10"/>
                </a:cubicBezTo>
                <a:cubicBezTo>
                  <a:pt x="35" y="14"/>
                  <a:pt x="23" y="23"/>
                  <a:pt x="16" y="36"/>
                </a:cubicBezTo>
                <a:close/>
                <a:moveTo>
                  <a:pt x="49" y="118"/>
                </a:moveTo>
                <a:cubicBezTo>
                  <a:pt x="43" y="112"/>
                  <a:pt x="37" y="103"/>
                  <a:pt x="34" y="92"/>
                </a:cubicBezTo>
                <a:cubicBezTo>
                  <a:pt x="16" y="92"/>
                  <a:pt x="16" y="92"/>
                  <a:pt x="16" y="92"/>
                </a:cubicBezTo>
                <a:cubicBezTo>
                  <a:pt x="23" y="105"/>
                  <a:pt x="35" y="114"/>
                  <a:pt x="49" y="118"/>
                </a:cubicBezTo>
                <a:close/>
                <a:moveTo>
                  <a:pt x="60" y="92"/>
                </a:moveTo>
                <a:cubicBezTo>
                  <a:pt x="38" y="92"/>
                  <a:pt x="38" y="92"/>
                  <a:pt x="38" y="92"/>
                </a:cubicBezTo>
                <a:cubicBezTo>
                  <a:pt x="43" y="107"/>
                  <a:pt x="51" y="117"/>
                  <a:pt x="60" y="119"/>
                </a:cubicBezTo>
                <a:lnTo>
                  <a:pt x="60" y="92"/>
                </a:lnTo>
                <a:close/>
                <a:moveTo>
                  <a:pt x="60" y="40"/>
                </a:moveTo>
                <a:cubicBezTo>
                  <a:pt x="37" y="40"/>
                  <a:pt x="37" y="40"/>
                  <a:pt x="37" y="40"/>
                </a:cubicBezTo>
                <a:cubicBezTo>
                  <a:pt x="36" y="43"/>
                  <a:pt x="35" y="47"/>
                  <a:pt x="35" y="50"/>
                </a:cubicBezTo>
                <a:cubicBezTo>
                  <a:pt x="34" y="50"/>
                  <a:pt x="33" y="50"/>
                  <a:pt x="32" y="50"/>
                </a:cubicBezTo>
                <a:cubicBezTo>
                  <a:pt x="32" y="50"/>
                  <a:pt x="31" y="50"/>
                  <a:pt x="31" y="50"/>
                </a:cubicBezTo>
                <a:cubicBezTo>
                  <a:pt x="31" y="47"/>
                  <a:pt x="32" y="43"/>
                  <a:pt x="33" y="40"/>
                </a:cubicBezTo>
                <a:cubicBezTo>
                  <a:pt x="13" y="40"/>
                  <a:pt x="13" y="40"/>
                  <a:pt x="13" y="40"/>
                </a:cubicBezTo>
                <a:cubicBezTo>
                  <a:pt x="11" y="46"/>
                  <a:pt x="9" y="53"/>
                  <a:pt x="8" y="60"/>
                </a:cubicBezTo>
                <a:cubicBezTo>
                  <a:pt x="19" y="60"/>
                  <a:pt x="19" y="60"/>
                  <a:pt x="19" y="60"/>
                </a:cubicBezTo>
                <a:cubicBezTo>
                  <a:pt x="18" y="61"/>
                  <a:pt x="18" y="63"/>
                  <a:pt x="18" y="64"/>
                </a:cubicBezTo>
                <a:cubicBezTo>
                  <a:pt x="18" y="65"/>
                  <a:pt x="18" y="67"/>
                  <a:pt x="19" y="68"/>
                </a:cubicBezTo>
                <a:cubicBezTo>
                  <a:pt x="8" y="68"/>
                  <a:pt x="8" y="68"/>
                  <a:pt x="8" y="68"/>
                </a:cubicBezTo>
                <a:cubicBezTo>
                  <a:pt x="9" y="75"/>
                  <a:pt x="11" y="82"/>
                  <a:pt x="13" y="88"/>
                </a:cubicBezTo>
                <a:cubicBezTo>
                  <a:pt x="33" y="88"/>
                  <a:pt x="33" y="88"/>
                  <a:pt x="33" y="88"/>
                </a:cubicBezTo>
                <a:cubicBezTo>
                  <a:pt x="32" y="85"/>
                  <a:pt x="31" y="81"/>
                  <a:pt x="31" y="78"/>
                </a:cubicBezTo>
                <a:cubicBezTo>
                  <a:pt x="31" y="78"/>
                  <a:pt x="32" y="78"/>
                  <a:pt x="32" y="78"/>
                </a:cubicBezTo>
                <a:cubicBezTo>
                  <a:pt x="33" y="78"/>
                  <a:pt x="34" y="78"/>
                  <a:pt x="35" y="78"/>
                </a:cubicBezTo>
                <a:cubicBezTo>
                  <a:pt x="35" y="81"/>
                  <a:pt x="36" y="85"/>
                  <a:pt x="37" y="88"/>
                </a:cubicBezTo>
                <a:cubicBezTo>
                  <a:pt x="60" y="88"/>
                  <a:pt x="60" y="88"/>
                  <a:pt x="60" y="88"/>
                </a:cubicBezTo>
                <a:cubicBezTo>
                  <a:pt x="60" y="68"/>
                  <a:pt x="60" y="68"/>
                  <a:pt x="60" y="68"/>
                </a:cubicBezTo>
                <a:cubicBezTo>
                  <a:pt x="45" y="68"/>
                  <a:pt x="45" y="68"/>
                  <a:pt x="45" y="68"/>
                </a:cubicBezTo>
                <a:cubicBezTo>
                  <a:pt x="46" y="67"/>
                  <a:pt x="46" y="65"/>
                  <a:pt x="46" y="64"/>
                </a:cubicBezTo>
                <a:cubicBezTo>
                  <a:pt x="46" y="63"/>
                  <a:pt x="46" y="61"/>
                  <a:pt x="45" y="60"/>
                </a:cubicBezTo>
                <a:cubicBezTo>
                  <a:pt x="60" y="60"/>
                  <a:pt x="60" y="60"/>
                  <a:pt x="60" y="60"/>
                </a:cubicBezTo>
                <a:lnTo>
                  <a:pt x="60" y="40"/>
                </a:lnTo>
                <a:close/>
                <a:moveTo>
                  <a:pt x="60" y="9"/>
                </a:moveTo>
                <a:cubicBezTo>
                  <a:pt x="51" y="11"/>
                  <a:pt x="43" y="21"/>
                  <a:pt x="38" y="36"/>
                </a:cubicBezTo>
                <a:cubicBezTo>
                  <a:pt x="60" y="36"/>
                  <a:pt x="60" y="36"/>
                  <a:pt x="60" y="36"/>
                </a:cubicBezTo>
                <a:lnTo>
                  <a:pt x="60" y="9"/>
                </a:lnTo>
                <a:close/>
                <a:moveTo>
                  <a:pt x="68" y="60"/>
                </a:moveTo>
                <a:cubicBezTo>
                  <a:pt x="94" y="60"/>
                  <a:pt x="94" y="60"/>
                  <a:pt x="94" y="60"/>
                </a:cubicBezTo>
                <a:cubicBezTo>
                  <a:pt x="94" y="57"/>
                  <a:pt x="94" y="55"/>
                  <a:pt x="93" y="52"/>
                </a:cubicBezTo>
                <a:cubicBezTo>
                  <a:pt x="95" y="52"/>
                  <a:pt x="96" y="51"/>
                  <a:pt x="97" y="51"/>
                </a:cubicBezTo>
                <a:cubicBezTo>
                  <a:pt x="98" y="54"/>
                  <a:pt x="98" y="57"/>
                  <a:pt x="98" y="60"/>
                </a:cubicBezTo>
                <a:cubicBezTo>
                  <a:pt x="120" y="60"/>
                  <a:pt x="120" y="60"/>
                  <a:pt x="120" y="60"/>
                </a:cubicBezTo>
                <a:cubicBezTo>
                  <a:pt x="119" y="53"/>
                  <a:pt x="117" y="46"/>
                  <a:pt x="115" y="40"/>
                </a:cubicBezTo>
                <a:cubicBezTo>
                  <a:pt x="106" y="40"/>
                  <a:pt x="106" y="40"/>
                  <a:pt x="106" y="40"/>
                </a:cubicBezTo>
                <a:cubicBezTo>
                  <a:pt x="106" y="39"/>
                  <a:pt x="106" y="39"/>
                  <a:pt x="106" y="38"/>
                </a:cubicBezTo>
                <a:cubicBezTo>
                  <a:pt x="106" y="37"/>
                  <a:pt x="106" y="37"/>
                  <a:pt x="106" y="36"/>
                </a:cubicBezTo>
                <a:cubicBezTo>
                  <a:pt x="112" y="36"/>
                  <a:pt x="112" y="36"/>
                  <a:pt x="112" y="36"/>
                </a:cubicBezTo>
                <a:cubicBezTo>
                  <a:pt x="105" y="23"/>
                  <a:pt x="93" y="14"/>
                  <a:pt x="79" y="10"/>
                </a:cubicBezTo>
                <a:cubicBezTo>
                  <a:pt x="83" y="14"/>
                  <a:pt x="86" y="18"/>
                  <a:pt x="89" y="24"/>
                </a:cubicBezTo>
                <a:cubicBezTo>
                  <a:pt x="88" y="25"/>
                  <a:pt x="87" y="25"/>
                  <a:pt x="86" y="26"/>
                </a:cubicBezTo>
                <a:cubicBezTo>
                  <a:pt x="81" y="16"/>
                  <a:pt x="75" y="10"/>
                  <a:pt x="68" y="9"/>
                </a:cubicBezTo>
                <a:cubicBezTo>
                  <a:pt x="68" y="36"/>
                  <a:pt x="68" y="36"/>
                  <a:pt x="68" y="36"/>
                </a:cubicBezTo>
                <a:cubicBezTo>
                  <a:pt x="78" y="36"/>
                  <a:pt x="78" y="36"/>
                  <a:pt x="78" y="36"/>
                </a:cubicBezTo>
                <a:cubicBezTo>
                  <a:pt x="78" y="37"/>
                  <a:pt x="78" y="37"/>
                  <a:pt x="78" y="38"/>
                </a:cubicBezTo>
                <a:cubicBezTo>
                  <a:pt x="78" y="39"/>
                  <a:pt x="78" y="39"/>
                  <a:pt x="78" y="40"/>
                </a:cubicBezTo>
                <a:cubicBezTo>
                  <a:pt x="68" y="40"/>
                  <a:pt x="68" y="40"/>
                  <a:pt x="68" y="40"/>
                </a:cubicBezTo>
                <a:lnTo>
                  <a:pt x="68" y="60"/>
                </a:lnTo>
                <a:close/>
                <a:moveTo>
                  <a:pt x="120" y="68"/>
                </a:moveTo>
                <a:cubicBezTo>
                  <a:pt x="98" y="68"/>
                  <a:pt x="98" y="68"/>
                  <a:pt x="98" y="68"/>
                </a:cubicBezTo>
                <a:cubicBezTo>
                  <a:pt x="98" y="71"/>
                  <a:pt x="98" y="74"/>
                  <a:pt x="97" y="77"/>
                </a:cubicBezTo>
                <a:cubicBezTo>
                  <a:pt x="96" y="77"/>
                  <a:pt x="95" y="76"/>
                  <a:pt x="93" y="76"/>
                </a:cubicBezTo>
                <a:cubicBezTo>
                  <a:pt x="94" y="73"/>
                  <a:pt x="94" y="71"/>
                  <a:pt x="94" y="68"/>
                </a:cubicBezTo>
                <a:cubicBezTo>
                  <a:pt x="68" y="68"/>
                  <a:pt x="68" y="68"/>
                  <a:pt x="68" y="68"/>
                </a:cubicBezTo>
                <a:cubicBezTo>
                  <a:pt x="68" y="88"/>
                  <a:pt x="68" y="88"/>
                  <a:pt x="68" y="88"/>
                </a:cubicBezTo>
                <a:cubicBezTo>
                  <a:pt x="78" y="88"/>
                  <a:pt x="78" y="88"/>
                  <a:pt x="78" y="88"/>
                </a:cubicBezTo>
                <a:cubicBezTo>
                  <a:pt x="78" y="89"/>
                  <a:pt x="78" y="89"/>
                  <a:pt x="78" y="90"/>
                </a:cubicBezTo>
                <a:cubicBezTo>
                  <a:pt x="78" y="91"/>
                  <a:pt x="78" y="91"/>
                  <a:pt x="78" y="92"/>
                </a:cubicBezTo>
                <a:cubicBezTo>
                  <a:pt x="68" y="92"/>
                  <a:pt x="68" y="92"/>
                  <a:pt x="68" y="92"/>
                </a:cubicBezTo>
                <a:cubicBezTo>
                  <a:pt x="68" y="119"/>
                  <a:pt x="68" y="119"/>
                  <a:pt x="68" y="119"/>
                </a:cubicBezTo>
                <a:cubicBezTo>
                  <a:pt x="75" y="118"/>
                  <a:pt x="81" y="112"/>
                  <a:pt x="86" y="102"/>
                </a:cubicBezTo>
                <a:cubicBezTo>
                  <a:pt x="87" y="103"/>
                  <a:pt x="88" y="103"/>
                  <a:pt x="89" y="104"/>
                </a:cubicBezTo>
                <a:cubicBezTo>
                  <a:pt x="86" y="110"/>
                  <a:pt x="83" y="114"/>
                  <a:pt x="79" y="118"/>
                </a:cubicBezTo>
                <a:cubicBezTo>
                  <a:pt x="93" y="114"/>
                  <a:pt x="105" y="105"/>
                  <a:pt x="112" y="92"/>
                </a:cubicBezTo>
                <a:cubicBezTo>
                  <a:pt x="106" y="92"/>
                  <a:pt x="106" y="92"/>
                  <a:pt x="106" y="92"/>
                </a:cubicBezTo>
                <a:cubicBezTo>
                  <a:pt x="106" y="91"/>
                  <a:pt x="106" y="91"/>
                  <a:pt x="106" y="90"/>
                </a:cubicBezTo>
                <a:cubicBezTo>
                  <a:pt x="106" y="89"/>
                  <a:pt x="106" y="89"/>
                  <a:pt x="106" y="88"/>
                </a:cubicBezTo>
                <a:cubicBezTo>
                  <a:pt x="115" y="88"/>
                  <a:pt x="115" y="88"/>
                  <a:pt x="115" y="88"/>
                </a:cubicBezTo>
                <a:cubicBezTo>
                  <a:pt x="117" y="82"/>
                  <a:pt x="119" y="75"/>
                  <a:pt x="120" y="6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7" name="Freeform 21">
            <a:extLst>
              <a:ext uri="{FF2B5EF4-FFF2-40B4-BE49-F238E27FC236}">
                <a16:creationId xmlns:a16="http://schemas.microsoft.com/office/drawing/2014/main" id="{6EA114B2-78C5-43F8-BC59-218899ACDF42}"/>
              </a:ext>
            </a:extLst>
          </p:cNvPr>
          <p:cNvSpPr>
            <a:spLocks noEditPoints="1"/>
          </p:cNvSpPr>
          <p:nvPr/>
        </p:nvSpPr>
        <p:spPr bwMode="auto">
          <a:xfrm>
            <a:off x="6051122" y="2404596"/>
            <a:ext cx="414338" cy="414338"/>
          </a:xfrm>
          <a:custGeom>
            <a:avLst/>
            <a:gdLst>
              <a:gd name="T0" fmla="*/ 261 w 261"/>
              <a:gd name="T1" fmla="*/ 90 h 261"/>
              <a:gd name="T2" fmla="*/ 261 w 261"/>
              <a:gd name="T3" fmla="*/ 41 h 261"/>
              <a:gd name="T4" fmla="*/ 98 w 261"/>
              <a:gd name="T5" fmla="*/ 26 h 261"/>
              <a:gd name="T6" fmla="*/ 98 w 261"/>
              <a:gd name="T7" fmla="*/ 0 h 261"/>
              <a:gd name="T8" fmla="*/ 65 w 261"/>
              <a:gd name="T9" fmla="*/ 0 h 261"/>
              <a:gd name="T10" fmla="*/ 65 w 261"/>
              <a:gd name="T11" fmla="*/ 29 h 261"/>
              <a:gd name="T12" fmla="*/ 0 w 261"/>
              <a:gd name="T13" fmla="*/ 43 h 261"/>
              <a:gd name="T14" fmla="*/ 0 w 261"/>
              <a:gd name="T15" fmla="*/ 90 h 261"/>
              <a:gd name="T16" fmla="*/ 65 w 261"/>
              <a:gd name="T17" fmla="*/ 90 h 261"/>
              <a:gd name="T18" fmla="*/ 65 w 261"/>
              <a:gd name="T19" fmla="*/ 261 h 261"/>
              <a:gd name="T20" fmla="*/ 98 w 261"/>
              <a:gd name="T21" fmla="*/ 261 h 261"/>
              <a:gd name="T22" fmla="*/ 98 w 261"/>
              <a:gd name="T23" fmla="*/ 90 h 261"/>
              <a:gd name="T24" fmla="*/ 188 w 261"/>
              <a:gd name="T25" fmla="*/ 90 h 261"/>
              <a:gd name="T26" fmla="*/ 188 w 261"/>
              <a:gd name="T27" fmla="*/ 122 h 261"/>
              <a:gd name="T28" fmla="*/ 163 w 261"/>
              <a:gd name="T29" fmla="*/ 122 h 261"/>
              <a:gd name="T30" fmla="*/ 163 w 261"/>
              <a:gd name="T31" fmla="*/ 188 h 261"/>
              <a:gd name="T32" fmla="*/ 228 w 261"/>
              <a:gd name="T33" fmla="*/ 188 h 261"/>
              <a:gd name="T34" fmla="*/ 228 w 261"/>
              <a:gd name="T35" fmla="*/ 122 h 261"/>
              <a:gd name="T36" fmla="*/ 204 w 261"/>
              <a:gd name="T37" fmla="*/ 122 h 261"/>
              <a:gd name="T38" fmla="*/ 204 w 261"/>
              <a:gd name="T39" fmla="*/ 90 h 261"/>
              <a:gd name="T40" fmla="*/ 261 w 261"/>
              <a:gd name="T41" fmla="*/ 90 h 261"/>
              <a:gd name="T42" fmla="*/ 212 w 261"/>
              <a:gd name="T43" fmla="*/ 139 h 261"/>
              <a:gd name="T44" fmla="*/ 212 w 261"/>
              <a:gd name="T45" fmla="*/ 171 h 261"/>
              <a:gd name="T46" fmla="*/ 179 w 261"/>
              <a:gd name="T47" fmla="*/ 171 h 261"/>
              <a:gd name="T48" fmla="*/ 179 w 261"/>
              <a:gd name="T49" fmla="*/ 139 h 261"/>
              <a:gd name="T50" fmla="*/ 212 w 261"/>
              <a:gd name="T51" fmla="*/ 139 h 261"/>
              <a:gd name="T52" fmla="*/ 98 w 261"/>
              <a:gd name="T53" fmla="*/ 73 h 261"/>
              <a:gd name="T54" fmla="*/ 65 w 261"/>
              <a:gd name="T55" fmla="*/ 73 h 261"/>
              <a:gd name="T56" fmla="*/ 16 w 261"/>
              <a:gd name="T57" fmla="*/ 73 h 261"/>
              <a:gd name="T58" fmla="*/ 16 w 261"/>
              <a:gd name="T59" fmla="*/ 55 h 261"/>
              <a:gd name="T60" fmla="*/ 65 w 261"/>
              <a:gd name="T61" fmla="*/ 45 h 261"/>
              <a:gd name="T62" fmla="*/ 65 w 261"/>
              <a:gd name="T63" fmla="*/ 45 h 261"/>
              <a:gd name="T64" fmla="*/ 82 w 261"/>
              <a:gd name="T65" fmla="*/ 41 h 261"/>
              <a:gd name="T66" fmla="*/ 245 w 261"/>
              <a:gd name="T67" fmla="*/ 57 h 261"/>
              <a:gd name="T68" fmla="*/ 245 w 261"/>
              <a:gd name="T69" fmla="*/ 73 h 261"/>
              <a:gd name="T70" fmla="*/ 98 w 261"/>
              <a:gd name="T71" fmla="*/ 7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 h="261">
                <a:moveTo>
                  <a:pt x="261" y="90"/>
                </a:moveTo>
                <a:lnTo>
                  <a:pt x="261" y="41"/>
                </a:lnTo>
                <a:lnTo>
                  <a:pt x="98" y="26"/>
                </a:lnTo>
                <a:lnTo>
                  <a:pt x="98" y="0"/>
                </a:lnTo>
                <a:lnTo>
                  <a:pt x="65" y="0"/>
                </a:lnTo>
                <a:lnTo>
                  <a:pt x="65" y="29"/>
                </a:lnTo>
                <a:lnTo>
                  <a:pt x="0" y="43"/>
                </a:lnTo>
                <a:lnTo>
                  <a:pt x="0" y="90"/>
                </a:lnTo>
                <a:lnTo>
                  <a:pt x="65" y="90"/>
                </a:lnTo>
                <a:lnTo>
                  <a:pt x="65" y="261"/>
                </a:lnTo>
                <a:lnTo>
                  <a:pt x="98" y="261"/>
                </a:lnTo>
                <a:lnTo>
                  <a:pt x="98" y="90"/>
                </a:lnTo>
                <a:lnTo>
                  <a:pt x="188" y="90"/>
                </a:lnTo>
                <a:lnTo>
                  <a:pt x="188" y="122"/>
                </a:lnTo>
                <a:lnTo>
                  <a:pt x="163" y="122"/>
                </a:lnTo>
                <a:lnTo>
                  <a:pt x="163" y="188"/>
                </a:lnTo>
                <a:lnTo>
                  <a:pt x="228" y="188"/>
                </a:lnTo>
                <a:lnTo>
                  <a:pt x="228" y="122"/>
                </a:lnTo>
                <a:lnTo>
                  <a:pt x="204" y="122"/>
                </a:lnTo>
                <a:lnTo>
                  <a:pt x="204" y="90"/>
                </a:lnTo>
                <a:lnTo>
                  <a:pt x="261" y="90"/>
                </a:lnTo>
                <a:close/>
                <a:moveTo>
                  <a:pt x="212" y="139"/>
                </a:moveTo>
                <a:lnTo>
                  <a:pt x="212" y="171"/>
                </a:lnTo>
                <a:lnTo>
                  <a:pt x="179" y="171"/>
                </a:lnTo>
                <a:lnTo>
                  <a:pt x="179" y="139"/>
                </a:lnTo>
                <a:lnTo>
                  <a:pt x="212" y="139"/>
                </a:lnTo>
                <a:close/>
                <a:moveTo>
                  <a:pt x="98" y="73"/>
                </a:moveTo>
                <a:lnTo>
                  <a:pt x="65" y="73"/>
                </a:lnTo>
                <a:lnTo>
                  <a:pt x="16" y="73"/>
                </a:lnTo>
                <a:lnTo>
                  <a:pt x="16" y="55"/>
                </a:lnTo>
                <a:lnTo>
                  <a:pt x="65" y="45"/>
                </a:lnTo>
                <a:lnTo>
                  <a:pt x="65" y="45"/>
                </a:lnTo>
                <a:lnTo>
                  <a:pt x="82" y="41"/>
                </a:lnTo>
                <a:lnTo>
                  <a:pt x="245" y="57"/>
                </a:lnTo>
                <a:lnTo>
                  <a:pt x="245" y="73"/>
                </a:lnTo>
                <a:lnTo>
                  <a:pt x="98" y="7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8" name="Freeform 25">
            <a:extLst>
              <a:ext uri="{FF2B5EF4-FFF2-40B4-BE49-F238E27FC236}">
                <a16:creationId xmlns:a16="http://schemas.microsoft.com/office/drawing/2014/main" id="{43BAA435-5949-4515-A643-B3C71F4400D5}"/>
              </a:ext>
            </a:extLst>
          </p:cNvPr>
          <p:cNvSpPr>
            <a:spLocks noEditPoints="1"/>
          </p:cNvSpPr>
          <p:nvPr/>
        </p:nvSpPr>
        <p:spPr bwMode="auto">
          <a:xfrm>
            <a:off x="7095761" y="2404596"/>
            <a:ext cx="414338" cy="414338"/>
          </a:xfrm>
          <a:custGeom>
            <a:avLst/>
            <a:gdLst>
              <a:gd name="T0" fmla="*/ 96 w 128"/>
              <a:gd name="T1" fmla="*/ 127 h 128"/>
              <a:gd name="T2" fmla="*/ 96 w 128"/>
              <a:gd name="T3" fmla="*/ 127 h 128"/>
              <a:gd name="T4" fmla="*/ 96 w 128"/>
              <a:gd name="T5" fmla="*/ 128 h 128"/>
              <a:gd name="T6" fmla="*/ 0 w 128"/>
              <a:gd name="T7" fmla="*/ 128 h 128"/>
              <a:gd name="T8" fmla="*/ 0 w 128"/>
              <a:gd name="T9" fmla="*/ 127 h 128"/>
              <a:gd name="T10" fmla="*/ 0 w 128"/>
              <a:gd name="T11" fmla="*/ 127 h 128"/>
              <a:gd name="T12" fmla="*/ 37 w 128"/>
              <a:gd name="T13" fmla="*/ 80 h 128"/>
              <a:gd name="T14" fmla="*/ 48 w 128"/>
              <a:gd name="T15" fmla="*/ 98 h 128"/>
              <a:gd name="T16" fmla="*/ 59 w 128"/>
              <a:gd name="T17" fmla="*/ 80 h 128"/>
              <a:gd name="T18" fmla="*/ 73 w 128"/>
              <a:gd name="T19" fmla="*/ 86 h 128"/>
              <a:gd name="T20" fmla="*/ 90 w 128"/>
              <a:gd name="T21" fmla="*/ 103 h 128"/>
              <a:gd name="T22" fmla="*/ 96 w 128"/>
              <a:gd name="T23" fmla="*/ 127 h 128"/>
              <a:gd name="T24" fmla="*/ 84 w 128"/>
              <a:gd name="T25" fmla="*/ 35 h 128"/>
              <a:gd name="T26" fmla="*/ 8 w 128"/>
              <a:gd name="T27" fmla="*/ 11 h 128"/>
              <a:gd name="T28" fmla="*/ 8 w 128"/>
              <a:gd name="T29" fmla="*/ 88 h 128"/>
              <a:gd name="T30" fmla="*/ 0 w 128"/>
              <a:gd name="T31" fmla="*/ 98 h 128"/>
              <a:gd name="T32" fmla="*/ 0 w 128"/>
              <a:gd name="T33" fmla="*/ 0 h 128"/>
              <a:gd name="T34" fmla="*/ 88 w 128"/>
              <a:gd name="T35" fmla="*/ 28 h 128"/>
              <a:gd name="T36" fmla="*/ 128 w 128"/>
              <a:gd name="T37" fmla="*/ 5 h 128"/>
              <a:gd name="T38" fmla="*/ 128 w 128"/>
              <a:gd name="T39" fmla="*/ 111 h 128"/>
              <a:gd name="T40" fmla="*/ 84 w 128"/>
              <a:gd name="T41" fmla="*/ 86 h 128"/>
              <a:gd name="T42" fmla="*/ 84 w 128"/>
              <a:gd name="T43" fmla="*/ 35 h 128"/>
              <a:gd name="T44" fmla="*/ 120 w 128"/>
              <a:gd name="T45" fmla="*/ 19 h 128"/>
              <a:gd name="T46" fmla="*/ 92 w 128"/>
              <a:gd name="T47" fmla="*/ 34 h 128"/>
              <a:gd name="T48" fmla="*/ 92 w 128"/>
              <a:gd name="T49" fmla="*/ 82 h 128"/>
              <a:gd name="T50" fmla="*/ 120 w 128"/>
              <a:gd name="T51" fmla="*/ 97 h 128"/>
              <a:gd name="T52" fmla="*/ 120 w 128"/>
              <a:gd name="T53" fmla="*/ 19 h 128"/>
              <a:gd name="T54" fmla="*/ 66 w 128"/>
              <a:gd name="T55" fmla="*/ 54 h 128"/>
              <a:gd name="T56" fmla="*/ 48 w 128"/>
              <a:gd name="T57" fmla="*/ 36 h 128"/>
              <a:gd name="T58" fmla="*/ 30 w 128"/>
              <a:gd name="T59" fmla="*/ 54 h 128"/>
              <a:gd name="T60" fmla="*/ 48 w 128"/>
              <a:gd name="T61" fmla="*/ 72 h 128"/>
              <a:gd name="T62" fmla="*/ 66 w 128"/>
              <a:gd name="T63" fmla="*/ 5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128">
                <a:moveTo>
                  <a:pt x="96" y="127"/>
                </a:moveTo>
                <a:cubicBezTo>
                  <a:pt x="96" y="127"/>
                  <a:pt x="96" y="127"/>
                  <a:pt x="96" y="127"/>
                </a:cubicBezTo>
                <a:cubicBezTo>
                  <a:pt x="96" y="127"/>
                  <a:pt x="96" y="128"/>
                  <a:pt x="96" y="128"/>
                </a:cubicBezTo>
                <a:cubicBezTo>
                  <a:pt x="0" y="128"/>
                  <a:pt x="0" y="128"/>
                  <a:pt x="0" y="128"/>
                </a:cubicBezTo>
                <a:cubicBezTo>
                  <a:pt x="0" y="128"/>
                  <a:pt x="0" y="127"/>
                  <a:pt x="0" y="127"/>
                </a:cubicBezTo>
                <a:cubicBezTo>
                  <a:pt x="0" y="127"/>
                  <a:pt x="0" y="127"/>
                  <a:pt x="0" y="127"/>
                </a:cubicBezTo>
                <a:cubicBezTo>
                  <a:pt x="0" y="104"/>
                  <a:pt x="16" y="85"/>
                  <a:pt x="37" y="80"/>
                </a:cubicBezTo>
                <a:cubicBezTo>
                  <a:pt x="48" y="98"/>
                  <a:pt x="48" y="98"/>
                  <a:pt x="48" y="98"/>
                </a:cubicBezTo>
                <a:cubicBezTo>
                  <a:pt x="59" y="80"/>
                  <a:pt x="59" y="80"/>
                  <a:pt x="59" y="80"/>
                </a:cubicBezTo>
                <a:cubicBezTo>
                  <a:pt x="64" y="81"/>
                  <a:pt x="69" y="83"/>
                  <a:pt x="73" y="86"/>
                </a:cubicBezTo>
                <a:cubicBezTo>
                  <a:pt x="80" y="90"/>
                  <a:pt x="86" y="96"/>
                  <a:pt x="90" y="103"/>
                </a:cubicBezTo>
                <a:cubicBezTo>
                  <a:pt x="94" y="110"/>
                  <a:pt x="96" y="118"/>
                  <a:pt x="96" y="127"/>
                </a:cubicBezTo>
                <a:close/>
                <a:moveTo>
                  <a:pt x="84" y="35"/>
                </a:moveTo>
                <a:cubicBezTo>
                  <a:pt x="8" y="11"/>
                  <a:pt x="8" y="11"/>
                  <a:pt x="8" y="11"/>
                </a:cubicBezTo>
                <a:cubicBezTo>
                  <a:pt x="8" y="88"/>
                  <a:pt x="8" y="88"/>
                  <a:pt x="8" y="88"/>
                </a:cubicBezTo>
                <a:cubicBezTo>
                  <a:pt x="5" y="91"/>
                  <a:pt x="2" y="94"/>
                  <a:pt x="0" y="98"/>
                </a:cubicBezTo>
                <a:cubicBezTo>
                  <a:pt x="0" y="0"/>
                  <a:pt x="0" y="0"/>
                  <a:pt x="0" y="0"/>
                </a:cubicBezTo>
                <a:cubicBezTo>
                  <a:pt x="88" y="28"/>
                  <a:pt x="88" y="28"/>
                  <a:pt x="88" y="28"/>
                </a:cubicBezTo>
                <a:cubicBezTo>
                  <a:pt x="128" y="5"/>
                  <a:pt x="128" y="5"/>
                  <a:pt x="128" y="5"/>
                </a:cubicBezTo>
                <a:cubicBezTo>
                  <a:pt x="128" y="111"/>
                  <a:pt x="128" y="111"/>
                  <a:pt x="128" y="111"/>
                </a:cubicBezTo>
                <a:cubicBezTo>
                  <a:pt x="84" y="86"/>
                  <a:pt x="84" y="86"/>
                  <a:pt x="84" y="86"/>
                </a:cubicBezTo>
                <a:lnTo>
                  <a:pt x="84" y="35"/>
                </a:lnTo>
                <a:close/>
                <a:moveTo>
                  <a:pt x="120" y="19"/>
                </a:moveTo>
                <a:cubicBezTo>
                  <a:pt x="92" y="34"/>
                  <a:pt x="92" y="34"/>
                  <a:pt x="92" y="34"/>
                </a:cubicBezTo>
                <a:cubicBezTo>
                  <a:pt x="92" y="82"/>
                  <a:pt x="92" y="82"/>
                  <a:pt x="92" y="82"/>
                </a:cubicBezTo>
                <a:cubicBezTo>
                  <a:pt x="120" y="97"/>
                  <a:pt x="120" y="97"/>
                  <a:pt x="120" y="97"/>
                </a:cubicBezTo>
                <a:lnTo>
                  <a:pt x="120" y="19"/>
                </a:lnTo>
                <a:close/>
                <a:moveTo>
                  <a:pt x="66" y="54"/>
                </a:moveTo>
                <a:cubicBezTo>
                  <a:pt x="66" y="44"/>
                  <a:pt x="58" y="36"/>
                  <a:pt x="48" y="36"/>
                </a:cubicBezTo>
                <a:cubicBezTo>
                  <a:pt x="38" y="36"/>
                  <a:pt x="30" y="44"/>
                  <a:pt x="30" y="54"/>
                </a:cubicBezTo>
                <a:cubicBezTo>
                  <a:pt x="30" y="64"/>
                  <a:pt x="38" y="72"/>
                  <a:pt x="48" y="72"/>
                </a:cubicBezTo>
                <a:cubicBezTo>
                  <a:pt x="58" y="72"/>
                  <a:pt x="66" y="64"/>
                  <a:pt x="66" y="5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9" name="Freeform 29">
            <a:extLst>
              <a:ext uri="{FF2B5EF4-FFF2-40B4-BE49-F238E27FC236}">
                <a16:creationId xmlns:a16="http://schemas.microsoft.com/office/drawing/2014/main" id="{91117496-53A4-4956-A982-6A5CA5FCE1D9}"/>
              </a:ext>
            </a:extLst>
          </p:cNvPr>
          <p:cNvSpPr>
            <a:spLocks noEditPoints="1"/>
          </p:cNvSpPr>
          <p:nvPr/>
        </p:nvSpPr>
        <p:spPr bwMode="auto">
          <a:xfrm>
            <a:off x="8141988" y="2404596"/>
            <a:ext cx="414338" cy="414338"/>
          </a:xfrm>
          <a:custGeom>
            <a:avLst/>
            <a:gdLst>
              <a:gd name="T0" fmla="*/ 179 w 261"/>
              <a:gd name="T1" fmla="*/ 82 h 261"/>
              <a:gd name="T2" fmla="*/ 261 w 261"/>
              <a:gd name="T3" fmla="*/ 82 h 261"/>
              <a:gd name="T4" fmla="*/ 261 w 261"/>
              <a:gd name="T5" fmla="*/ 261 h 261"/>
              <a:gd name="T6" fmla="*/ 0 w 261"/>
              <a:gd name="T7" fmla="*/ 261 h 261"/>
              <a:gd name="T8" fmla="*/ 0 w 261"/>
              <a:gd name="T9" fmla="*/ 82 h 261"/>
              <a:gd name="T10" fmla="*/ 82 w 261"/>
              <a:gd name="T11" fmla="*/ 82 h 261"/>
              <a:gd name="T12" fmla="*/ 82 w 261"/>
              <a:gd name="T13" fmla="*/ 98 h 261"/>
              <a:gd name="T14" fmla="*/ 16 w 261"/>
              <a:gd name="T15" fmla="*/ 98 h 261"/>
              <a:gd name="T16" fmla="*/ 16 w 261"/>
              <a:gd name="T17" fmla="*/ 245 h 261"/>
              <a:gd name="T18" fmla="*/ 245 w 261"/>
              <a:gd name="T19" fmla="*/ 245 h 261"/>
              <a:gd name="T20" fmla="*/ 245 w 261"/>
              <a:gd name="T21" fmla="*/ 98 h 261"/>
              <a:gd name="T22" fmla="*/ 179 w 261"/>
              <a:gd name="T23" fmla="*/ 98 h 261"/>
              <a:gd name="T24" fmla="*/ 179 w 261"/>
              <a:gd name="T25" fmla="*/ 82 h 261"/>
              <a:gd name="T26" fmla="*/ 96 w 261"/>
              <a:gd name="T27" fmla="*/ 57 h 261"/>
              <a:gd name="T28" fmla="*/ 122 w 261"/>
              <a:gd name="T29" fmla="*/ 31 h 261"/>
              <a:gd name="T30" fmla="*/ 122 w 261"/>
              <a:gd name="T31" fmla="*/ 163 h 261"/>
              <a:gd name="T32" fmla="*/ 139 w 261"/>
              <a:gd name="T33" fmla="*/ 163 h 261"/>
              <a:gd name="T34" fmla="*/ 139 w 261"/>
              <a:gd name="T35" fmla="*/ 31 h 261"/>
              <a:gd name="T36" fmla="*/ 165 w 261"/>
              <a:gd name="T37" fmla="*/ 57 h 261"/>
              <a:gd name="T38" fmla="*/ 177 w 261"/>
              <a:gd name="T39" fmla="*/ 47 h 261"/>
              <a:gd name="T40" fmla="*/ 130 w 261"/>
              <a:gd name="T41" fmla="*/ 0 h 261"/>
              <a:gd name="T42" fmla="*/ 84 w 261"/>
              <a:gd name="T43" fmla="*/ 47 h 261"/>
              <a:gd name="T44" fmla="*/ 96 w 261"/>
              <a:gd name="T45" fmla="*/ 57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261">
                <a:moveTo>
                  <a:pt x="179" y="82"/>
                </a:moveTo>
                <a:lnTo>
                  <a:pt x="261" y="82"/>
                </a:lnTo>
                <a:lnTo>
                  <a:pt x="261" y="261"/>
                </a:lnTo>
                <a:lnTo>
                  <a:pt x="0" y="261"/>
                </a:lnTo>
                <a:lnTo>
                  <a:pt x="0" y="82"/>
                </a:lnTo>
                <a:lnTo>
                  <a:pt x="82" y="82"/>
                </a:lnTo>
                <a:lnTo>
                  <a:pt x="82" y="98"/>
                </a:lnTo>
                <a:lnTo>
                  <a:pt x="16" y="98"/>
                </a:lnTo>
                <a:lnTo>
                  <a:pt x="16" y="245"/>
                </a:lnTo>
                <a:lnTo>
                  <a:pt x="245" y="245"/>
                </a:lnTo>
                <a:lnTo>
                  <a:pt x="245" y="98"/>
                </a:lnTo>
                <a:lnTo>
                  <a:pt x="179" y="98"/>
                </a:lnTo>
                <a:lnTo>
                  <a:pt x="179" y="82"/>
                </a:lnTo>
                <a:close/>
                <a:moveTo>
                  <a:pt x="96" y="57"/>
                </a:moveTo>
                <a:lnTo>
                  <a:pt x="122" y="31"/>
                </a:lnTo>
                <a:lnTo>
                  <a:pt x="122" y="163"/>
                </a:lnTo>
                <a:lnTo>
                  <a:pt x="139" y="163"/>
                </a:lnTo>
                <a:lnTo>
                  <a:pt x="139" y="31"/>
                </a:lnTo>
                <a:lnTo>
                  <a:pt x="165" y="57"/>
                </a:lnTo>
                <a:lnTo>
                  <a:pt x="177" y="47"/>
                </a:lnTo>
                <a:lnTo>
                  <a:pt x="130" y="0"/>
                </a:lnTo>
                <a:lnTo>
                  <a:pt x="84" y="47"/>
                </a:lnTo>
                <a:lnTo>
                  <a:pt x="96" y="5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0" name="Freeform 33">
            <a:extLst>
              <a:ext uri="{FF2B5EF4-FFF2-40B4-BE49-F238E27FC236}">
                <a16:creationId xmlns:a16="http://schemas.microsoft.com/office/drawing/2014/main" id="{EEF7EF2B-18E8-43BC-96C8-9F90B427CF0A}"/>
              </a:ext>
            </a:extLst>
          </p:cNvPr>
          <p:cNvSpPr>
            <a:spLocks noEditPoints="1"/>
          </p:cNvSpPr>
          <p:nvPr/>
        </p:nvSpPr>
        <p:spPr bwMode="auto">
          <a:xfrm>
            <a:off x="5043786" y="3195060"/>
            <a:ext cx="338138" cy="412750"/>
          </a:xfrm>
          <a:custGeom>
            <a:avLst/>
            <a:gdLst>
              <a:gd name="T0" fmla="*/ 100 w 104"/>
              <a:gd name="T1" fmla="*/ 97 h 128"/>
              <a:gd name="T2" fmla="*/ 82 w 104"/>
              <a:gd name="T3" fmla="*/ 79 h 128"/>
              <a:gd name="T4" fmla="*/ 88 w 104"/>
              <a:gd name="T5" fmla="*/ 64 h 128"/>
              <a:gd name="T6" fmla="*/ 82 w 104"/>
              <a:gd name="T7" fmla="*/ 49 h 128"/>
              <a:gd name="T8" fmla="*/ 100 w 104"/>
              <a:gd name="T9" fmla="*/ 31 h 128"/>
              <a:gd name="T10" fmla="*/ 100 w 104"/>
              <a:gd name="T11" fmla="*/ 44 h 128"/>
              <a:gd name="T12" fmla="*/ 104 w 104"/>
              <a:gd name="T13" fmla="*/ 44 h 128"/>
              <a:gd name="T14" fmla="*/ 104 w 104"/>
              <a:gd name="T15" fmla="*/ 24 h 128"/>
              <a:gd name="T16" fmla="*/ 84 w 104"/>
              <a:gd name="T17" fmla="*/ 24 h 128"/>
              <a:gd name="T18" fmla="*/ 84 w 104"/>
              <a:gd name="T19" fmla="*/ 28 h 128"/>
              <a:gd name="T20" fmla="*/ 97 w 104"/>
              <a:gd name="T21" fmla="*/ 28 h 128"/>
              <a:gd name="T22" fmla="*/ 79 w 104"/>
              <a:gd name="T23" fmla="*/ 46 h 128"/>
              <a:gd name="T24" fmla="*/ 66 w 104"/>
              <a:gd name="T25" fmla="*/ 40 h 128"/>
              <a:gd name="T26" fmla="*/ 66 w 104"/>
              <a:gd name="T27" fmla="*/ 16 h 128"/>
              <a:gd name="T28" fmla="*/ 75 w 104"/>
              <a:gd name="T29" fmla="*/ 25 h 128"/>
              <a:gd name="T30" fmla="*/ 78 w 104"/>
              <a:gd name="T31" fmla="*/ 22 h 128"/>
              <a:gd name="T32" fmla="*/ 64 w 104"/>
              <a:gd name="T33" fmla="*/ 8 h 128"/>
              <a:gd name="T34" fmla="*/ 50 w 104"/>
              <a:gd name="T35" fmla="*/ 22 h 128"/>
              <a:gd name="T36" fmla="*/ 53 w 104"/>
              <a:gd name="T37" fmla="*/ 25 h 128"/>
              <a:gd name="T38" fmla="*/ 62 w 104"/>
              <a:gd name="T39" fmla="*/ 16 h 128"/>
              <a:gd name="T40" fmla="*/ 62 w 104"/>
              <a:gd name="T41" fmla="*/ 40 h 128"/>
              <a:gd name="T42" fmla="*/ 49 w 104"/>
              <a:gd name="T43" fmla="*/ 46 h 128"/>
              <a:gd name="T44" fmla="*/ 7 w 104"/>
              <a:gd name="T45" fmla="*/ 4 h 128"/>
              <a:gd name="T46" fmla="*/ 20 w 104"/>
              <a:gd name="T47" fmla="*/ 4 h 128"/>
              <a:gd name="T48" fmla="*/ 20 w 104"/>
              <a:gd name="T49" fmla="*/ 0 h 128"/>
              <a:gd name="T50" fmla="*/ 0 w 104"/>
              <a:gd name="T51" fmla="*/ 0 h 128"/>
              <a:gd name="T52" fmla="*/ 0 w 104"/>
              <a:gd name="T53" fmla="*/ 20 h 128"/>
              <a:gd name="T54" fmla="*/ 4 w 104"/>
              <a:gd name="T55" fmla="*/ 20 h 128"/>
              <a:gd name="T56" fmla="*/ 4 w 104"/>
              <a:gd name="T57" fmla="*/ 7 h 128"/>
              <a:gd name="T58" fmla="*/ 46 w 104"/>
              <a:gd name="T59" fmla="*/ 49 h 128"/>
              <a:gd name="T60" fmla="*/ 40 w 104"/>
              <a:gd name="T61" fmla="*/ 62 h 128"/>
              <a:gd name="T62" fmla="*/ 12 w 104"/>
              <a:gd name="T63" fmla="*/ 62 h 128"/>
              <a:gd name="T64" fmla="*/ 21 w 104"/>
              <a:gd name="T65" fmla="*/ 53 h 128"/>
              <a:gd name="T66" fmla="*/ 18 w 104"/>
              <a:gd name="T67" fmla="*/ 50 h 128"/>
              <a:gd name="T68" fmla="*/ 4 w 104"/>
              <a:gd name="T69" fmla="*/ 64 h 128"/>
              <a:gd name="T70" fmla="*/ 18 w 104"/>
              <a:gd name="T71" fmla="*/ 78 h 128"/>
              <a:gd name="T72" fmla="*/ 21 w 104"/>
              <a:gd name="T73" fmla="*/ 75 h 128"/>
              <a:gd name="T74" fmla="*/ 12 w 104"/>
              <a:gd name="T75" fmla="*/ 66 h 128"/>
              <a:gd name="T76" fmla="*/ 40 w 104"/>
              <a:gd name="T77" fmla="*/ 66 h 128"/>
              <a:gd name="T78" fmla="*/ 46 w 104"/>
              <a:gd name="T79" fmla="*/ 79 h 128"/>
              <a:gd name="T80" fmla="*/ 4 w 104"/>
              <a:gd name="T81" fmla="*/ 121 h 128"/>
              <a:gd name="T82" fmla="*/ 4 w 104"/>
              <a:gd name="T83" fmla="*/ 108 h 128"/>
              <a:gd name="T84" fmla="*/ 0 w 104"/>
              <a:gd name="T85" fmla="*/ 108 h 128"/>
              <a:gd name="T86" fmla="*/ 0 w 104"/>
              <a:gd name="T87" fmla="*/ 128 h 128"/>
              <a:gd name="T88" fmla="*/ 20 w 104"/>
              <a:gd name="T89" fmla="*/ 128 h 128"/>
              <a:gd name="T90" fmla="*/ 20 w 104"/>
              <a:gd name="T91" fmla="*/ 124 h 128"/>
              <a:gd name="T92" fmla="*/ 7 w 104"/>
              <a:gd name="T93" fmla="*/ 124 h 128"/>
              <a:gd name="T94" fmla="*/ 49 w 104"/>
              <a:gd name="T95" fmla="*/ 82 h 128"/>
              <a:gd name="T96" fmla="*/ 64 w 104"/>
              <a:gd name="T97" fmla="*/ 88 h 128"/>
              <a:gd name="T98" fmla="*/ 79 w 104"/>
              <a:gd name="T99" fmla="*/ 82 h 128"/>
              <a:gd name="T100" fmla="*/ 97 w 104"/>
              <a:gd name="T101" fmla="*/ 100 h 128"/>
              <a:gd name="T102" fmla="*/ 84 w 104"/>
              <a:gd name="T103" fmla="*/ 100 h 128"/>
              <a:gd name="T104" fmla="*/ 84 w 104"/>
              <a:gd name="T105" fmla="*/ 104 h 128"/>
              <a:gd name="T106" fmla="*/ 104 w 104"/>
              <a:gd name="T107" fmla="*/ 104 h 128"/>
              <a:gd name="T108" fmla="*/ 104 w 104"/>
              <a:gd name="T109" fmla="*/ 84 h 128"/>
              <a:gd name="T110" fmla="*/ 100 w 104"/>
              <a:gd name="T111" fmla="*/ 84 h 128"/>
              <a:gd name="T112" fmla="*/ 100 w 104"/>
              <a:gd name="T113" fmla="*/ 97 h 128"/>
              <a:gd name="T114" fmla="*/ 64 w 104"/>
              <a:gd name="T115" fmla="*/ 80 h 128"/>
              <a:gd name="T116" fmla="*/ 48 w 104"/>
              <a:gd name="T117" fmla="*/ 64 h 128"/>
              <a:gd name="T118" fmla="*/ 64 w 104"/>
              <a:gd name="T119" fmla="*/ 48 h 128"/>
              <a:gd name="T120" fmla="*/ 80 w 104"/>
              <a:gd name="T121" fmla="*/ 64 h 128"/>
              <a:gd name="T122" fmla="*/ 64 w 104"/>
              <a:gd name="T123" fmla="*/ 8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 h="128">
                <a:moveTo>
                  <a:pt x="100" y="97"/>
                </a:moveTo>
                <a:cubicBezTo>
                  <a:pt x="82" y="79"/>
                  <a:pt x="82" y="79"/>
                  <a:pt x="82" y="79"/>
                </a:cubicBezTo>
                <a:cubicBezTo>
                  <a:pt x="86" y="75"/>
                  <a:pt x="88" y="70"/>
                  <a:pt x="88" y="64"/>
                </a:cubicBezTo>
                <a:cubicBezTo>
                  <a:pt x="88" y="58"/>
                  <a:pt x="86" y="53"/>
                  <a:pt x="82" y="49"/>
                </a:cubicBezTo>
                <a:cubicBezTo>
                  <a:pt x="100" y="31"/>
                  <a:pt x="100" y="31"/>
                  <a:pt x="100" y="31"/>
                </a:cubicBezTo>
                <a:cubicBezTo>
                  <a:pt x="100" y="44"/>
                  <a:pt x="100" y="44"/>
                  <a:pt x="100" y="44"/>
                </a:cubicBezTo>
                <a:cubicBezTo>
                  <a:pt x="104" y="44"/>
                  <a:pt x="104" y="44"/>
                  <a:pt x="104" y="44"/>
                </a:cubicBezTo>
                <a:cubicBezTo>
                  <a:pt x="104" y="24"/>
                  <a:pt x="104" y="24"/>
                  <a:pt x="104" y="24"/>
                </a:cubicBezTo>
                <a:cubicBezTo>
                  <a:pt x="84" y="24"/>
                  <a:pt x="84" y="24"/>
                  <a:pt x="84" y="24"/>
                </a:cubicBezTo>
                <a:cubicBezTo>
                  <a:pt x="84" y="28"/>
                  <a:pt x="84" y="28"/>
                  <a:pt x="84" y="28"/>
                </a:cubicBezTo>
                <a:cubicBezTo>
                  <a:pt x="97" y="28"/>
                  <a:pt x="97" y="28"/>
                  <a:pt x="97" y="28"/>
                </a:cubicBezTo>
                <a:cubicBezTo>
                  <a:pt x="79" y="46"/>
                  <a:pt x="79" y="46"/>
                  <a:pt x="79" y="46"/>
                </a:cubicBezTo>
                <a:cubicBezTo>
                  <a:pt x="76" y="43"/>
                  <a:pt x="71" y="41"/>
                  <a:pt x="66" y="40"/>
                </a:cubicBezTo>
                <a:cubicBezTo>
                  <a:pt x="66" y="16"/>
                  <a:pt x="66" y="16"/>
                  <a:pt x="66" y="16"/>
                </a:cubicBezTo>
                <a:cubicBezTo>
                  <a:pt x="75" y="25"/>
                  <a:pt x="75" y="25"/>
                  <a:pt x="75" y="25"/>
                </a:cubicBezTo>
                <a:cubicBezTo>
                  <a:pt x="78" y="22"/>
                  <a:pt x="78" y="22"/>
                  <a:pt x="78" y="22"/>
                </a:cubicBezTo>
                <a:cubicBezTo>
                  <a:pt x="64" y="8"/>
                  <a:pt x="64" y="8"/>
                  <a:pt x="64" y="8"/>
                </a:cubicBezTo>
                <a:cubicBezTo>
                  <a:pt x="50" y="22"/>
                  <a:pt x="50" y="22"/>
                  <a:pt x="50" y="22"/>
                </a:cubicBezTo>
                <a:cubicBezTo>
                  <a:pt x="53" y="25"/>
                  <a:pt x="53" y="25"/>
                  <a:pt x="53" y="25"/>
                </a:cubicBezTo>
                <a:cubicBezTo>
                  <a:pt x="62" y="16"/>
                  <a:pt x="62" y="16"/>
                  <a:pt x="62" y="16"/>
                </a:cubicBezTo>
                <a:cubicBezTo>
                  <a:pt x="62" y="40"/>
                  <a:pt x="62" y="40"/>
                  <a:pt x="62" y="40"/>
                </a:cubicBezTo>
                <a:cubicBezTo>
                  <a:pt x="57" y="41"/>
                  <a:pt x="52" y="43"/>
                  <a:pt x="49" y="46"/>
                </a:cubicBezTo>
                <a:cubicBezTo>
                  <a:pt x="7" y="4"/>
                  <a:pt x="7" y="4"/>
                  <a:pt x="7" y="4"/>
                </a:cubicBezTo>
                <a:cubicBezTo>
                  <a:pt x="20" y="4"/>
                  <a:pt x="20" y="4"/>
                  <a:pt x="20" y="4"/>
                </a:cubicBezTo>
                <a:cubicBezTo>
                  <a:pt x="20" y="0"/>
                  <a:pt x="20" y="0"/>
                  <a:pt x="20" y="0"/>
                </a:cubicBezTo>
                <a:cubicBezTo>
                  <a:pt x="0" y="0"/>
                  <a:pt x="0" y="0"/>
                  <a:pt x="0" y="0"/>
                </a:cubicBezTo>
                <a:cubicBezTo>
                  <a:pt x="0" y="20"/>
                  <a:pt x="0" y="20"/>
                  <a:pt x="0" y="20"/>
                </a:cubicBezTo>
                <a:cubicBezTo>
                  <a:pt x="4" y="20"/>
                  <a:pt x="4" y="20"/>
                  <a:pt x="4" y="20"/>
                </a:cubicBezTo>
                <a:cubicBezTo>
                  <a:pt x="4" y="7"/>
                  <a:pt x="4" y="7"/>
                  <a:pt x="4" y="7"/>
                </a:cubicBezTo>
                <a:cubicBezTo>
                  <a:pt x="46" y="49"/>
                  <a:pt x="46" y="49"/>
                  <a:pt x="46" y="49"/>
                </a:cubicBezTo>
                <a:cubicBezTo>
                  <a:pt x="43" y="52"/>
                  <a:pt x="41" y="57"/>
                  <a:pt x="40" y="62"/>
                </a:cubicBezTo>
                <a:cubicBezTo>
                  <a:pt x="12" y="62"/>
                  <a:pt x="12" y="62"/>
                  <a:pt x="12" y="62"/>
                </a:cubicBezTo>
                <a:cubicBezTo>
                  <a:pt x="21" y="53"/>
                  <a:pt x="21" y="53"/>
                  <a:pt x="21" y="53"/>
                </a:cubicBezTo>
                <a:cubicBezTo>
                  <a:pt x="18" y="50"/>
                  <a:pt x="18" y="50"/>
                  <a:pt x="18" y="50"/>
                </a:cubicBezTo>
                <a:cubicBezTo>
                  <a:pt x="4" y="64"/>
                  <a:pt x="4" y="64"/>
                  <a:pt x="4" y="64"/>
                </a:cubicBezTo>
                <a:cubicBezTo>
                  <a:pt x="18" y="78"/>
                  <a:pt x="18" y="78"/>
                  <a:pt x="18" y="78"/>
                </a:cubicBezTo>
                <a:cubicBezTo>
                  <a:pt x="21" y="75"/>
                  <a:pt x="21" y="75"/>
                  <a:pt x="21" y="75"/>
                </a:cubicBezTo>
                <a:cubicBezTo>
                  <a:pt x="12" y="66"/>
                  <a:pt x="12" y="66"/>
                  <a:pt x="12" y="66"/>
                </a:cubicBezTo>
                <a:cubicBezTo>
                  <a:pt x="40" y="66"/>
                  <a:pt x="40" y="66"/>
                  <a:pt x="40" y="66"/>
                </a:cubicBezTo>
                <a:cubicBezTo>
                  <a:pt x="41" y="71"/>
                  <a:pt x="43" y="76"/>
                  <a:pt x="46" y="79"/>
                </a:cubicBezTo>
                <a:cubicBezTo>
                  <a:pt x="4" y="121"/>
                  <a:pt x="4" y="121"/>
                  <a:pt x="4" y="121"/>
                </a:cubicBezTo>
                <a:cubicBezTo>
                  <a:pt x="4" y="108"/>
                  <a:pt x="4" y="108"/>
                  <a:pt x="4" y="108"/>
                </a:cubicBezTo>
                <a:cubicBezTo>
                  <a:pt x="0" y="108"/>
                  <a:pt x="0" y="108"/>
                  <a:pt x="0" y="108"/>
                </a:cubicBezTo>
                <a:cubicBezTo>
                  <a:pt x="0" y="128"/>
                  <a:pt x="0" y="128"/>
                  <a:pt x="0" y="128"/>
                </a:cubicBezTo>
                <a:cubicBezTo>
                  <a:pt x="20" y="128"/>
                  <a:pt x="20" y="128"/>
                  <a:pt x="20" y="128"/>
                </a:cubicBezTo>
                <a:cubicBezTo>
                  <a:pt x="20" y="124"/>
                  <a:pt x="20" y="124"/>
                  <a:pt x="20" y="124"/>
                </a:cubicBezTo>
                <a:cubicBezTo>
                  <a:pt x="7" y="124"/>
                  <a:pt x="7" y="124"/>
                  <a:pt x="7" y="124"/>
                </a:cubicBezTo>
                <a:cubicBezTo>
                  <a:pt x="49" y="82"/>
                  <a:pt x="49" y="82"/>
                  <a:pt x="49" y="82"/>
                </a:cubicBezTo>
                <a:cubicBezTo>
                  <a:pt x="53" y="86"/>
                  <a:pt x="58" y="88"/>
                  <a:pt x="64" y="88"/>
                </a:cubicBezTo>
                <a:cubicBezTo>
                  <a:pt x="70" y="88"/>
                  <a:pt x="75" y="86"/>
                  <a:pt x="79" y="82"/>
                </a:cubicBezTo>
                <a:cubicBezTo>
                  <a:pt x="97" y="100"/>
                  <a:pt x="97" y="100"/>
                  <a:pt x="97" y="100"/>
                </a:cubicBezTo>
                <a:cubicBezTo>
                  <a:pt x="84" y="100"/>
                  <a:pt x="84" y="100"/>
                  <a:pt x="84" y="100"/>
                </a:cubicBezTo>
                <a:cubicBezTo>
                  <a:pt x="84" y="104"/>
                  <a:pt x="84" y="104"/>
                  <a:pt x="84" y="104"/>
                </a:cubicBezTo>
                <a:cubicBezTo>
                  <a:pt x="104" y="104"/>
                  <a:pt x="104" y="104"/>
                  <a:pt x="104" y="104"/>
                </a:cubicBezTo>
                <a:cubicBezTo>
                  <a:pt x="104" y="84"/>
                  <a:pt x="104" y="84"/>
                  <a:pt x="104" y="84"/>
                </a:cubicBezTo>
                <a:cubicBezTo>
                  <a:pt x="100" y="84"/>
                  <a:pt x="100" y="84"/>
                  <a:pt x="100" y="84"/>
                </a:cubicBezTo>
                <a:lnTo>
                  <a:pt x="100" y="97"/>
                </a:lnTo>
                <a:close/>
                <a:moveTo>
                  <a:pt x="64" y="80"/>
                </a:moveTo>
                <a:cubicBezTo>
                  <a:pt x="55" y="80"/>
                  <a:pt x="48" y="73"/>
                  <a:pt x="48" y="64"/>
                </a:cubicBezTo>
                <a:cubicBezTo>
                  <a:pt x="48" y="55"/>
                  <a:pt x="55" y="48"/>
                  <a:pt x="64" y="48"/>
                </a:cubicBezTo>
                <a:cubicBezTo>
                  <a:pt x="73" y="48"/>
                  <a:pt x="80" y="55"/>
                  <a:pt x="80" y="64"/>
                </a:cubicBezTo>
                <a:cubicBezTo>
                  <a:pt x="80" y="73"/>
                  <a:pt x="73" y="80"/>
                  <a:pt x="64" y="8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1" name="Freeform 37">
            <a:extLst>
              <a:ext uri="{FF2B5EF4-FFF2-40B4-BE49-F238E27FC236}">
                <a16:creationId xmlns:a16="http://schemas.microsoft.com/office/drawing/2014/main" id="{BD4AC0D2-053B-4B12-931B-8EBA55992888}"/>
              </a:ext>
            </a:extLst>
          </p:cNvPr>
          <p:cNvSpPr>
            <a:spLocks noEditPoints="1"/>
          </p:cNvSpPr>
          <p:nvPr/>
        </p:nvSpPr>
        <p:spPr bwMode="auto">
          <a:xfrm>
            <a:off x="7098936" y="3193472"/>
            <a:ext cx="407988" cy="414338"/>
          </a:xfrm>
          <a:custGeom>
            <a:avLst/>
            <a:gdLst>
              <a:gd name="T0" fmla="*/ 81 w 126"/>
              <a:gd name="T1" fmla="*/ 62 h 128"/>
              <a:gd name="T2" fmla="*/ 63 w 126"/>
              <a:gd name="T3" fmla="*/ 80 h 128"/>
              <a:gd name="T4" fmla="*/ 45 w 126"/>
              <a:gd name="T5" fmla="*/ 62 h 128"/>
              <a:gd name="T6" fmla="*/ 63 w 126"/>
              <a:gd name="T7" fmla="*/ 44 h 128"/>
              <a:gd name="T8" fmla="*/ 81 w 126"/>
              <a:gd name="T9" fmla="*/ 62 h 128"/>
              <a:gd name="T10" fmla="*/ 13 w 126"/>
              <a:gd name="T11" fmla="*/ 28 h 128"/>
              <a:gd name="T12" fmla="*/ 0 w 126"/>
              <a:gd name="T13" fmla="*/ 30 h 128"/>
              <a:gd name="T14" fmla="*/ 10 w 126"/>
              <a:gd name="T15" fmla="*/ 39 h 128"/>
              <a:gd name="T16" fmla="*/ 7 w 126"/>
              <a:gd name="T17" fmla="*/ 52 h 128"/>
              <a:gd name="T18" fmla="*/ 19 w 126"/>
              <a:gd name="T19" fmla="*/ 46 h 128"/>
              <a:gd name="T20" fmla="*/ 31 w 126"/>
              <a:gd name="T21" fmla="*/ 52 h 128"/>
              <a:gd name="T22" fmla="*/ 28 w 126"/>
              <a:gd name="T23" fmla="*/ 39 h 128"/>
              <a:gd name="T24" fmla="*/ 38 w 126"/>
              <a:gd name="T25" fmla="*/ 30 h 128"/>
              <a:gd name="T26" fmla="*/ 25 w 126"/>
              <a:gd name="T27" fmla="*/ 28 h 128"/>
              <a:gd name="T28" fmla="*/ 19 w 126"/>
              <a:gd name="T29" fmla="*/ 16 h 128"/>
              <a:gd name="T30" fmla="*/ 13 w 126"/>
              <a:gd name="T31" fmla="*/ 28 h 128"/>
              <a:gd name="T32" fmla="*/ 101 w 126"/>
              <a:gd name="T33" fmla="*/ 28 h 128"/>
              <a:gd name="T34" fmla="*/ 88 w 126"/>
              <a:gd name="T35" fmla="*/ 30 h 128"/>
              <a:gd name="T36" fmla="*/ 98 w 126"/>
              <a:gd name="T37" fmla="*/ 39 h 128"/>
              <a:gd name="T38" fmla="*/ 95 w 126"/>
              <a:gd name="T39" fmla="*/ 52 h 128"/>
              <a:gd name="T40" fmla="*/ 107 w 126"/>
              <a:gd name="T41" fmla="*/ 46 h 128"/>
              <a:gd name="T42" fmla="*/ 119 w 126"/>
              <a:gd name="T43" fmla="*/ 52 h 128"/>
              <a:gd name="T44" fmla="*/ 116 w 126"/>
              <a:gd name="T45" fmla="*/ 39 h 128"/>
              <a:gd name="T46" fmla="*/ 126 w 126"/>
              <a:gd name="T47" fmla="*/ 30 h 128"/>
              <a:gd name="T48" fmla="*/ 113 w 126"/>
              <a:gd name="T49" fmla="*/ 28 h 128"/>
              <a:gd name="T50" fmla="*/ 107 w 126"/>
              <a:gd name="T51" fmla="*/ 16 h 128"/>
              <a:gd name="T52" fmla="*/ 101 w 126"/>
              <a:gd name="T53" fmla="*/ 28 h 128"/>
              <a:gd name="T54" fmla="*/ 58 w 126"/>
              <a:gd name="T55" fmla="*/ 10 h 128"/>
              <a:gd name="T56" fmla="*/ 46 w 126"/>
              <a:gd name="T57" fmla="*/ 12 h 128"/>
              <a:gd name="T58" fmla="*/ 55 w 126"/>
              <a:gd name="T59" fmla="*/ 20 h 128"/>
              <a:gd name="T60" fmla="*/ 53 w 126"/>
              <a:gd name="T61" fmla="*/ 32 h 128"/>
              <a:gd name="T62" fmla="*/ 63 w 126"/>
              <a:gd name="T63" fmla="*/ 26 h 128"/>
              <a:gd name="T64" fmla="*/ 73 w 126"/>
              <a:gd name="T65" fmla="*/ 32 h 128"/>
              <a:gd name="T66" fmla="*/ 71 w 126"/>
              <a:gd name="T67" fmla="*/ 20 h 128"/>
              <a:gd name="T68" fmla="*/ 80 w 126"/>
              <a:gd name="T69" fmla="*/ 12 h 128"/>
              <a:gd name="T70" fmla="*/ 68 w 126"/>
              <a:gd name="T71" fmla="*/ 10 h 128"/>
              <a:gd name="T72" fmla="*/ 63 w 126"/>
              <a:gd name="T73" fmla="*/ 0 h 128"/>
              <a:gd name="T74" fmla="*/ 58 w 126"/>
              <a:gd name="T75" fmla="*/ 10 h 128"/>
              <a:gd name="T76" fmla="*/ 111 w 126"/>
              <a:gd name="T77" fmla="*/ 128 h 128"/>
              <a:gd name="T78" fmla="*/ 105 w 126"/>
              <a:gd name="T79" fmla="*/ 111 h 128"/>
              <a:gd name="T80" fmla="*/ 88 w 126"/>
              <a:gd name="T81" fmla="*/ 94 h 128"/>
              <a:gd name="T82" fmla="*/ 74 w 126"/>
              <a:gd name="T83" fmla="*/ 88 h 128"/>
              <a:gd name="T84" fmla="*/ 63 w 126"/>
              <a:gd name="T85" fmla="*/ 106 h 128"/>
              <a:gd name="T86" fmla="*/ 52 w 126"/>
              <a:gd name="T87" fmla="*/ 88 h 128"/>
              <a:gd name="T88" fmla="*/ 15 w 126"/>
              <a:gd name="T89" fmla="*/ 128 h 128"/>
              <a:gd name="T90" fmla="*/ 111 w 126"/>
              <a:gd name="T9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6" h="128">
                <a:moveTo>
                  <a:pt x="81" y="62"/>
                </a:moveTo>
                <a:cubicBezTo>
                  <a:pt x="81" y="72"/>
                  <a:pt x="73" y="80"/>
                  <a:pt x="63" y="80"/>
                </a:cubicBezTo>
                <a:cubicBezTo>
                  <a:pt x="53" y="80"/>
                  <a:pt x="45" y="72"/>
                  <a:pt x="45" y="62"/>
                </a:cubicBezTo>
                <a:cubicBezTo>
                  <a:pt x="45" y="52"/>
                  <a:pt x="53" y="44"/>
                  <a:pt x="63" y="44"/>
                </a:cubicBezTo>
                <a:cubicBezTo>
                  <a:pt x="73" y="44"/>
                  <a:pt x="81" y="52"/>
                  <a:pt x="81" y="62"/>
                </a:cubicBezTo>
                <a:close/>
                <a:moveTo>
                  <a:pt x="13" y="28"/>
                </a:moveTo>
                <a:cubicBezTo>
                  <a:pt x="0" y="30"/>
                  <a:pt x="0" y="30"/>
                  <a:pt x="0" y="30"/>
                </a:cubicBezTo>
                <a:cubicBezTo>
                  <a:pt x="10" y="39"/>
                  <a:pt x="10" y="39"/>
                  <a:pt x="10" y="39"/>
                </a:cubicBezTo>
                <a:cubicBezTo>
                  <a:pt x="7" y="52"/>
                  <a:pt x="7" y="52"/>
                  <a:pt x="7" y="52"/>
                </a:cubicBezTo>
                <a:cubicBezTo>
                  <a:pt x="19" y="46"/>
                  <a:pt x="19" y="46"/>
                  <a:pt x="19" y="46"/>
                </a:cubicBezTo>
                <a:cubicBezTo>
                  <a:pt x="31" y="52"/>
                  <a:pt x="31" y="52"/>
                  <a:pt x="31" y="52"/>
                </a:cubicBezTo>
                <a:cubicBezTo>
                  <a:pt x="28" y="39"/>
                  <a:pt x="28" y="39"/>
                  <a:pt x="28" y="39"/>
                </a:cubicBezTo>
                <a:cubicBezTo>
                  <a:pt x="38" y="30"/>
                  <a:pt x="38" y="30"/>
                  <a:pt x="38" y="30"/>
                </a:cubicBezTo>
                <a:cubicBezTo>
                  <a:pt x="25" y="28"/>
                  <a:pt x="25" y="28"/>
                  <a:pt x="25" y="28"/>
                </a:cubicBezTo>
                <a:cubicBezTo>
                  <a:pt x="19" y="16"/>
                  <a:pt x="19" y="16"/>
                  <a:pt x="19" y="16"/>
                </a:cubicBezTo>
                <a:lnTo>
                  <a:pt x="13" y="28"/>
                </a:lnTo>
                <a:close/>
                <a:moveTo>
                  <a:pt x="101" y="28"/>
                </a:moveTo>
                <a:cubicBezTo>
                  <a:pt x="88" y="30"/>
                  <a:pt x="88" y="30"/>
                  <a:pt x="88" y="30"/>
                </a:cubicBezTo>
                <a:cubicBezTo>
                  <a:pt x="98" y="39"/>
                  <a:pt x="98" y="39"/>
                  <a:pt x="98" y="39"/>
                </a:cubicBezTo>
                <a:cubicBezTo>
                  <a:pt x="95" y="52"/>
                  <a:pt x="95" y="52"/>
                  <a:pt x="95" y="52"/>
                </a:cubicBezTo>
                <a:cubicBezTo>
                  <a:pt x="107" y="46"/>
                  <a:pt x="107" y="46"/>
                  <a:pt x="107" y="46"/>
                </a:cubicBezTo>
                <a:cubicBezTo>
                  <a:pt x="119" y="52"/>
                  <a:pt x="119" y="52"/>
                  <a:pt x="119" y="52"/>
                </a:cubicBezTo>
                <a:cubicBezTo>
                  <a:pt x="116" y="39"/>
                  <a:pt x="116" y="39"/>
                  <a:pt x="116" y="39"/>
                </a:cubicBezTo>
                <a:cubicBezTo>
                  <a:pt x="126" y="30"/>
                  <a:pt x="126" y="30"/>
                  <a:pt x="126" y="30"/>
                </a:cubicBezTo>
                <a:cubicBezTo>
                  <a:pt x="113" y="28"/>
                  <a:pt x="113" y="28"/>
                  <a:pt x="113" y="28"/>
                </a:cubicBezTo>
                <a:cubicBezTo>
                  <a:pt x="107" y="16"/>
                  <a:pt x="107" y="16"/>
                  <a:pt x="107" y="16"/>
                </a:cubicBezTo>
                <a:lnTo>
                  <a:pt x="101" y="28"/>
                </a:lnTo>
                <a:close/>
                <a:moveTo>
                  <a:pt x="58" y="10"/>
                </a:moveTo>
                <a:cubicBezTo>
                  <a:pt x="46" y="12"/>
                  <a:pt x="46" y="12"/>
                  <a:pt x="46" y="12"/>
                </a:cubicBezTo>
                <a:cubicBezTo>
                  <a:pt x="55" y="20"/>
                  <a:pt x="55" y="20"/>
                  <a:pt x="55" y="20"/>
                </a:cubicBezTo>
                <a:cubicBezTo>
                  <a:pt x="53" y="32"/>
                  <a:pt x="53" y="32"/>
                  <a:pt x="53" y="32"/>
                </a:cubicBezTo>
                <a:cubicBezTo>
                  <a:pt x="63" y="26"/>
                  <a:pt x="63" y="26"/>
                  <a:pt x="63" y="26"/>
                </a:cubicBezTo>
                <a:cubicBezTo>
                  <a:pt x="73" y="32"/>
                  <a:pt x="73" y="32"/>
                  <a:pt x="73" y="32"/>
                </a:cubicBezTo>
                <a:cubicBezTo>
                  <a:pt x="71" y="20"/>
                  <a:pt x="71" y="20"/>
                  <a:pt x="71" y="20"/>
                </a:cubicBezTo>
                <a:cubicBezTo>
                  <a:pt x="80" y="12"/>
                  <a:pt x="80" y="12"/>
                  <a:pt x="80" y="12"/>
                </a:cubicBezTo>
                <a:cubicBezTo>
                  <a:pt x="68" y="10"/>
                  <a:pt x="68" y="10"/>
                  <a:pt x="68" y="10"/>
                </a:cubicBezTo>
                <a:cubicBezTo>
                  <a:pt x="63" y="0"/>
                  <a:pt x="63" y="0"/>
                  <a:pt x="63" y="0"/>
                </a:cubicBezTo>
                <a:lnTo>
                  <a:pt x="58" y="10"/>
                </a:lnTo>
                <a:close/>
                <a:moveTo>
                  <a:pt x="111" y="128"/>
                </a:moveTo>
                <a:cubicBezTo>
                  <a:pt x="110" y="122"/>
                  <a:pt x="108" y="116"/>
                  <a:pt x="105" y="111"/>
                </a:cubicBezTo>
                <a:cubicBezTo>
                  <a:pt x="101" y="104"/>
                  <a:pt x="95" y="98"/>
                  <a:pt x="88" y="94"/>
                </a:cubicBezTo>
                <a:cubicBezTo>
                  <a:pt x="84" y="91"/>
                  <a:pt x="79" y="89"/>
                  <a:pt x="74" y="88"/>
                </a:cubicBezTo>
                <a:cubicBezTo>
                  <a:pt x="63" y="106"/>
                  <a:pt x="63" y="106"/>
                  <a:pt x="63" y="106"/>
                </a:cubicBezTo>
                <a:cubicBezTo>
                  <a:pt x="52" y="88"/>
                  <a:pt x="52" y="88"/>
                  <a:pt x="52" y="88"/>
                </a:cubicBezTo>
                <a:cubicBezTo>
                  <a:pt x="33" y="92"/>
                  <a:pt x="18" y="108"/>
                  <a:pt x="15" y="128"/>
                </a:cubicBezTo>
                <a:lnTo>
                  <a:pt x="111" y="12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2" name="Freeform 41">
            <a:extLst>
              <a:ext uri="{FF2B5EF4-FFF2-40B4-BE49-F238E27FC236}">
                <a16:creationId xmlns:a16="http://schemas.microsoft.com/office/drawing/2014/main" id="{5F8A8A7E-3B08-43DB-8449-A72F15CC68D1}"/>
              </a:ext>
            </a:extLst>
          </p:cNvPr>
          <p:cNvSpPr>
            <a:spLocks noEditPoints="1"/>
          </p:cNvSpPr>
          <p:nvPr/>
        </p:nvSpPr>
        <p:spPr bwMode="auto">
          <a:xfrm>
            <a:off x="8141988" y="3345873"/>
            <a:ext cx="414338" cy="261937"/>
          </a:xfrm>
          <a:custGeom>
            <a:avLst/>
            <a:gdLst>
              <a:gd name="T0" fmla="*/ 64 w 128"/>
              <a:gd name="T1" fmla="*/ 80 h 80"/>
              <a:gd name="T2" fmla="*/ 1 w 128"/>
              <a:gd name="T3" fmla="*/ 42 h 80"/>
              <a:gd name="T4" fmla="*/ 0 w 128"/>
              <a:gd name="T5" fmla="*/ 40 h 80"/>
              <a:gd name="T6" fmla="*/ 1 w 128"/>
              <a:gd name="T7" fmla="*/ 38 h 80"/>
              <a:gd name="T8" fmla="*/ 64 w 128"/>
              <a:gd name="T9" fmla="*/ 0 h 80"/>
              <a:gd name="T10" fmla="*/ 127 w 128"/>
              <a:gd name="T11" fmla="*/ 38 h 80"/>
              <a:gd name="T12" fmla="*/ 128 w 128"/>
              <a:gd name="T13" fmla="*/ 40 h 80"/>
              <a:gd name="T14" fmla="*/ 127 w 128"/>
              <a:gd name="T15" fmla="*/ 42 h 80"/>
              <a:gd name="T16" fmla="*/ 64 w 128"/>
              <a:gd name="T17" fmla="*/ 80 h 80"/>
              <a:gd name="T18" fmla="*/ 10 w 128"/>
              <a:gd name="T19" fmla="*/ 40 h 80"/>
              <a:gd name="T20" fmla="*/ 64 w 128"/>
              <a:gd name="T21" fmla="*/ 72 h 80"/>
              <a:gd name="T22" fmla="*/ 119 w 128"/>
              <a:gd name="T23" fmla="*/ 40 h 80"/>
              <a:gd name="T24" fmla="*/ 64 w 128"/>
              <a:gd name="T25" fmla="*/ 8 h 80"/>
              <a:gd name="T26" fmla="*/ 10 w 128"/>
              <a:gd name="T27" fmla="*/ 40 h 80"/>
              <a:gd name="T28" fmla="*/ 84 w 128"/>
              <a:gd name="T29" fmla="*/ 40 h 80"/>
              <a:gd name="T30" fmla="*/ 64 w 128"/>
              <a:gd name="T31" fmla="*/ 60 h 80"/>
              <a:gd name="T32" fmla="*/ 44 w 128"/>
              <a:gd name="T33" fmla="*/ 40 h 80"/>
              <a:gd name="T34" fmla="*/ 64 w 128"/>
              <a:gd name="T35" fmla="*/ 20 h 80"/>
              <a:gd name="T36" fmla="*/ 84 w 128"/>
              <a:gd name="T37" fmla="*/ 4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8" h="80">
                <a:moveTo>
                  <a:pt x="64" y="80"/>
                </a:moveTo>
                <a:cubicBezTo>
                  <a:pt x="28" y="80"/>
                  <a:pt x="2" y="43"/>
                  <a:pt x="1" y="42"/>
                </a:cubicBezTo>
                <a:cubicBezTo>
                  <a:pt x="0" y="40"/>
                  <a:pt x="0" y="40"/>
                  <a:pt x="0" y="40"/>
                </a:cubicBezTo>
                <a:cubicBezTo>
                  <a:pt x="1" y="38"/>
                  <a:pt x="1" y="38"/>
                  <a:pt x="1" y="38"/>
                </a:cubicBezTo>
                <a:cubicBezTo>
                  <a:pt x="2" y="37"/>
                  <a:pt x="28" y="0"/>
                  <a:pt x="64" y="0"/>
                </a:cubicBezTo>
                <a:cubicBezTo>
                  <a:pt x="100" y="0"/>
                  <a:pt x="126" y="37"/>
                  <a:pt x="127" y="38"/>
                </a:cubicBezTo>
                <a:cubicBezTo>
                  <a:pt x="128" y="40"/>
                  <a:pt x="128" y="40"/>
                  <a:pt x="128" y="40"/>
                </a:cubicBezTo>
                <a:cubicBezTo>
                  <a:pt x="127" y="42"/>
                  <a:pt x="127" y="42"/>
                  <a:pt x="127" y="42"/>
                </a:cubicBezTo>
                <a:cubicBezTo>
                  <a:pt x="126" y="43"/>
                  <a:pt x="100" y="80"/>
                  <a:pt x="64" y="80"/>
                </a:cubicBezTo>
                <a:close/>
                <a:moveTo>
                  <a:pt x="10" y="40"/>
                </a:moveTo>
                <a:cubicBezTo>
                  <a:pt x="15" y="47"/>
                  <a:pt x="36" y="72"/>
                  <a:pt x="64" y="72"/>
                </a:cubicBezTo>
                <a:cubicBezTo>
                  <a:pt x="92" y="72"/>
                  <a:pt x="114" y="47"/>
                  <a:pt x="119" y="40"/>
                </a:cubicBezTo>
                <a:cubicBezTo>
                  <a:pt x="114" y="33"/>
                  <a:pt x="92" y="8"/>
                  <a:pt x="64" y="8"/>
                </a:cubicBezTo>
                <a:cubicBezTo>
                  <a:pt x="36" y="8"/>
                  <a:pt x="14" y="33"/>
                  <a:pt x="10" y="40"/>
                </a:cubicBezTo>
                <a:close/>
                <a:moveTo>
                  <a:pt x="84" y="40"/>
                </a:moveTo>
                <a:cubicBezTo>
                  <a:pt x="84" y="51"/>
                  <a:pt x="75" y="60"/>
                  <a:pt x="64" y="60"/>
                </a:cubicBezTo>
                <a:cubicBezTo>
                  <a:pt x="53" y="60"/>
                  <a:pt x="44" y="51"/>
                  <a:pt x="44" y="40"/>
                </a:cubicBezTo>
                <a:cubicBezTo>
                  <a:pt x="44" y="29"/>
                  <a:pt x="53" y="20"/>
                  <a:pt x="64" y="20"/>
                </a:cubicBezTo>
                <a:cubicBezTo>
                  <a:pt x="75" y="20"/>
                  <a:pt x="84" y="29"/>
                  <a:pt x="84" y="4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3" name="Freeform 45">
            <a:extLst>
              <a:ext uri="{FF2B5EF4-FFF2-40B4-BE49-F238E27FC236}">
                <a16:creationId xmlns:a16="http://schemas.microsoft.com/office/drawing/2014/main" id="{2D9A114B-76A1-4625-AFD2-FDC2C53B2F77}"/>
              </a:ext>
            </a:extLst>
          </p:cNvPr>
          <p:cNvSpPr>
            <a:spLocks/>
          </p:cNvSpPr>
          <p:nvPr/>
        </p:nvSpPr>
        <p:spPr bwMode="auto">
          <a:xfrm>
            <a:off x="5006480" y="4050221"/>
            <a:ext cx="412750" cy="414338"/>
          </a:xfrm>
          <a:custGeom>
            <a:avLst/>
            <a:gdLst>
              <a:gd name="T0" fmla="*/ 0 w 260"/>
              <a:gd name="T1" fmla="*/ 204 h 261"/>
              <a:gd name="T2" fmla="*/ 57 w 260"/>
              <a:gd name="T3" fmla="*/ 208 h 261"/>
              <a:gd name="T4" fmla="*/ 20 w 260"/>
              <a:gd name="T5" fmla="*/ 122 h 261"/>
              <a:gd name="T6" fmla="*/ 87 w 260"/>
              <a:gd name="T7" fmla="*/ 149 h 261"/>
              <a:gd name="T8" fmla="*/ 83 w 260"/>
              <a:gd name="T9" fmla="*/ 0 h 261"/>
              <a:gd name="T10" fmla="*/ 122 w 260"/>
              <a:gd name="T11" fmla="*/ 106 h 261"/>
              <a:gd name="T12" fmla="*/ 154 w 260"/>
              <a:gd name="T13" fmla="*/ 57 h 261"/>
              <a:gd name="T14" fmla="*/ 156 w 260"/>
              <a:gd name="T15" fmla="*/ 122 h 261"/>
              <a:gd name="T16" fmla="*/ 215 w 260"/>
              <a:gd name="T17" fmla="*/ 47 h 261"/>
              <a:gd name="T18" fmla="*/ 193 w 260"/>
              <a:gd name="T19" fmla="*/ 202 h 261"/>
              <a:gd name="T20" fmla="*/ 260 w 260"/>
              <a:gd name="T21" fmla="*/ 159 h 261"/>
              <a:gd name="T22" fmla="*/ 197 w 260"/>
              <a:gd name="T23" fmla="*/ 261 h 261"/>
              <a:gd name="T24" fmla="*/ 177 w 260"/>
              <a:gd name="T25" fmla="*/ 261 h 261"/>
              <a:gd name="T26" fmla="*/ 207 w 260"/>
              <a:gd name="T27" fmla="*/ 212 h 261"/>
              <a:gd name="T28" fmla="*/ 173 w 260"/>
              <a:gd name="T29" fmla="*/ 234 h 261"/>
              <a:gd name="T30" fmla="*/ 191 w 260"/>
              <a:gd name="T31" fmla="*/ 104 h 261"/>
              <a:gd name="T32" fmla="*/ 142 w 260"/>
              <a:gd name="T33" fmla="*/ 167 h 261"/>
              <a:gd name="T34" fmla="*/ 140 w 260"/>
              <a:gd name="T35" fmla="*/ 108 h 261"/>
              <a:gd name="T36" fmla="*/ 118 w 260"/>
              <a:gd name="T37" fmla="*/ 143 h 261"/>
              <a:gd name="T38" fmla="*/ 104 w 260"/>
              <a:gd name="T39" fmla="*/ 102 h 261"/>
              <a:gd name="T40" fmla="*/ 106 w 260"/>
              <a:gd name="T41" fmla="*/ 175 h 261"/>
              <a:gd name="T42" fmla="*/ 51 w 260"/>
              <a:gd name="T43" fmla="*/ 151 h 261"/>
              <a:gd name="T44" fmla="*/ 81 w 260"/>
              <a:gd name="T45" fmla="*/ 226 h 261"/>
              <a:gd name="T46" fmla="*/ 43 w 260"/>
              <a:gd name="T47" fmla="*/ 224 h 261"/>
              <a:gd name="T48" fmla="*/ 77 w 260"/>
              <a:gd name="T49" fmla="*/ 261 h 261"/>
              <a:gd name="T50" fmla="*/ 55 w 260"/>
              <a:gd name="T51" fmla="*/ 261 h 261"/>
              <a:gd name="T52" fmla="*/ 0 w 260"/>
              <a:gd name="T53" fmla="*/ 204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0" h="261">
                <a:moveTo>
                  <a:pt x="0" y="204"/>
                </a:moveTo>
                <a:lnTo>
                  <a:pt x="57" y="208"/>
                </a:lnTo>
                <a:lnTo>
                  <a:pt x="20" y="122"/>
                </a:lnTo>
                <a:lnTo>
                  <a:pt x="87" y="149"/>
                </a:lnTo>
                <a:lnTo>
                  <a:pt x="83" y="0"/>
                </a:lnTo>
                <a:lnTo>
                  <a:pt x="122" y="106"/>
                </a:lnTo>
                <a:lnTo>
                  <a:pt x="154" y="57"/>
                </a:lnTo>
                <a:lnTo>
                  <a:pt x="156" y="122"/>
                </a:lnTo>
                <a:lnTo>
                  <a:pt x="215" y="47"/>
                </a:lnTo>
                <a:lnTo>
                  <a:pt x="193" y="202"/>
                </a:lnTo>
                <a:lnTo>
                  <a:pt x="260" y="159"/>
                </a:lnTo>
                <a:lnTo>
                  <a:pt x="197" y="261"/>
                </a:lnTo>
                <a:lnTo>
                  <a:pt x="177" y="261"/>
                </a:lnTo>
                <a:lnTo>
                  <a:pt x="207" y="212"/>
                </a:lnTo>
                <a:lnTo>
                  <a:pt x="173" y="234"/>
                </a:lnTo>
                <a:lnTo>
                  <a:pt x="191" y="104"/>
                </a:lnTo>
                <a:lnTo>
                  <a:pt x="142" y="167"/>
                </a:lnTo>
                <a:lnTo>
                  <a:pt x="140" y="108"/>
                </a:lnTo>
                <a:lnTo>
                  <a:pt x="118" y="143"/>
                </a:lnTo>
                <a:lnTo>
                  <a:pt x="104" y="102"/>
                </a:lnTo>
                <a:lnTo>
                  <a:pt x="106" y="175"/>
                </a:lnTo>
                <a:lnTo>
                  <a:pt x="51" y="151"/>
                </a:lnTo>
                <a:lnTo>
                  <a:pt x="81" y="226"/>
                </a:lnTo>
                <a:lnTo>
                  <a:pt x="43" y="224"/>
                </a:lnTo>
                <a:lnTo>
                  <a:pt x="77" y="261"/>
                </a:lnTo>
                <a:lnTo>
                  <a:pt x="55" y="261"/>
                </a:lnTo>
                <a:lnTo>
                  <a:pt x="0" y="2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4" name="Freeform 49">
            <a:extLst>
              <a:ext uri="{FF2B5EF4-FFF2-40B4-BE49-F238E27FC236}">
                <a16:creationId xmlns:a16="http://schemas.microsoft.com/office/drawing/2014/main" id="{6530C368-19DE-46D2-8167-AB9302A69445}"/>
              </a:ext>
            </a:extLst>
          </p:cNvPr>
          <p:cNvSpPr>
            <a:spLocks noEditPoints="1"/>
          </p:cNvSpPr>
          <p:nvPr/>
        </p:nvSpPr>
        <p:spPr bwMode="auto">
          <a:xfrm>
            <a:off x="6089223" y="4051809"/>
            <a:ext cx="338137" cy="412750"/>
          </a:xfrm>
          <a:custGeom>
            <a:avLst/>
            <a:gdLst>
              <a:gd name="T0" fmla="*/ 76 w 104"/>
              <a:gd name="T1" fmla="*/ 112 h 128"/>
              <a:gd name="T2" fmla="*/ 28 w 104"/>
              <a:gd name="T3" fmla="*/ 112 h 128"/>
              <a:gd name="T4" fmla="*/ 12 w 104"/>
              <a:gd name="T5" fmla="*/ 103 h 128"/>
              <a:gd name="T6" fmla="*/ 0 w 104"/>
              <a:gd name="T7" fmla="*/ 80 h 128"/>
              <a:gd name="T8" fmla="*/ 13 w 104"/>
              <a:gd name="T9" fmla="*/ 14 h 128"/>
              <a:gd name="T10" fmla="*/ 52 w 104"/>
              <a:gd name="T11" fmla="*/ 0 h 128"/>
              <a:gd name="T12" fmla="*/ 91 w 104"/>
              <a:gd name="T13" fmla="*/ 14 h 128"/>
              <a:gd name="T14" fmla="*/ 104 w 104"/>
              <a:gd name="T15" fmla="*/ 80 h 128"/>
              <a:gd name="T16" fmla="*/ 92 w 104"/>
              <a:gd name="T17" fmla="*/ 102 h 128"/>
              <a:gd name="T18" fmla="*/ 76 w 104"/>
              <a:gd name="T19" fmla="*/ 112 h 128"/>
              <a:gd name="T20" fmla="*/ 52 w 104"/>
              <a:gd name="T21" fmla="*/ 8 h 128"/>
              <a:gd name="T22" fmla="*/ 20 w 104"/>
              <a:gd name="T23" fmla="*/ 19 h 128"/>
              <a:gd name="T24" fmla="*/ 8 w 104"/>
              <a:gd name="T25" fmla="*/ 80 h 128"/>
              <a:gd name="T26" fmla="*/ 18 w 104"/>
              <a:gd name="T27" fmla="*/ 98 h 128"/>
              <a:gd name="T28" fmla="*/ 18 w 104"/>
              <a:gd name="T29" fmla="*/ 98 h 128"/>
              <a:gd name="T30" fmla="*/ 28 w 104"/>
              <a:gd name="T31" fmla="*/ 104 h 128"/>
              <a:gd name="T32" fmla="*/ 76 w 104"/>
              <a:gd name="T33" fmla="*/ 104 h 128"/>
              <a:gd name="T34" fmla="*/ 86 w 104"/>
              <a:gd name="T35" fmla="*/ 98 h 128"/>
              <a:gd name="T36" fmla="*/ 86 w 104"/>
              <a:gd name="T37" fmla="*/ 97 h 128"/>
              <a:gd name="T38" fmla="*/ 96 w 104"/>
              <a:gd name="T39" fmla="*/ 80 h 128"/>
              <a:gd name="T40" fmla="*/ 84 w 104"/>
              <a:gd name="T41" fmla="*/ 18 h 128"/>
              <a:gd name="T42" fmla="*/ 52 w 104"/>
              <a:gd name="T43" fmla="*/ 8 h 128"/>
              <a:gd name="T44" fmla="*/ 84 w 104"/>
              <a:gd name="T45" fmla="*/ 120 h 128"/>
              <a:gd name="T46" fmla="*/ 20 w 104"/>
              <a:gd name="T47" fmla="*/ 120 h 128"/>
              <a:gd name="T48" fmla="*/ 20 w 104"/>
              <a:gd name="T49" fmla="*/ 128 h 128"/>
              <a:gd name="T50" fmla="*/ 84 w 104"/>
              <a:gd name="T51" fmla="*/ 128 h 128"/>
              <a:gd name="T52" fmla="*/ 84 w 104"/>
              <a:gd name="T53" fmla="*/ 120 h 128"/>
              <a:gd name="T54" fmla="*/ 80 w 104"/>
              <a:gd name="T55" fmla="*/ 24 h 128"/>
              <a:gd name="T56" fmla="*/ 52 w 104"/>
              <a:gd name="T57" fmla="*/ 16 h 128"/>
              <a:gd name="T58" fmla="*/ 24 w 104"/>
              <a:gd name="T59" fmla="*/ 24 h 128"/>
              <a:gd name="T60" fmla="*/ 20 w 104"/>
              <a:gd name="T61" fmla="*/ 48 h 128"/>
              <a:gd name="T62" fmla="*/ 52 w 104"/>
              <a:gd name="T63" fmla="*/ 56 h 128"/>
              <a:gd name="T64" fmla="*/ 84 w 104"/>
              <a:gd name="T65" fmla="*/ 48 h 128"/>
              <a:gd name="T66" fmla="*/ 80 w 104"/>
              <a:gd name="T67" fmla="*/ 24 h 128"/>
              <a:gd name="T68" fmla="*/ 52 w 104"/>
              <a:gd name="T69" fmla="*/ 80 h 128"/>
              <a:gd name="T70" fmla="*/ 44 w 104"/>
              <a:gd name="T71" fmla="*/ 88 h 128"/>
              <a:gd name="T72" fmla="*/ 52 w 104"/>
              <a:gd name="T73" fmla="*/ 96 h 128"/>
              <a:gd name="T74" fmla="*/ 60 w 104"/>
              <a:gd name="T75" fmla="*/ 88 h 128"/>
              <a:gd name="T76" fmla="*/ 52 w 104"/>
              <a:gd name="T77" fmla="*/ 8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 h="128">
                <a:moveTo>
                  <a:pt x="76" y="112"/>
                </a:moveTo>
                <a:cubicBezTo>
                  <a:pt x="28" y="112"/>
                  <a:pt x="28" y="112"/>
                  <a:pt x="28" y="112"/>
                </a:cubicBezTo>
                <a:cubicBezTo>
                  <a:pt x="19" y="112"/>
                  <a:pt x="13" y="104"/>
                  <a:pt x="12" y="103"/>
                </a:cubicBezTo>
                <a:cubicBezTo>
                  <a:pt x="10" y="101"/>
                  <a:pt x="0" y="89"/>
                  <a:pt x="0" y="80"/>
                </a:cubicBezTo>
                <a:cubicBezTo>
                  <a:pt x="0" y="72"/>
                  <a:pt x="9" y="21"/>
                  <a:pt x="13" y="14"/>
                </a:cubicBezTo>
                <a:cubicBezTo>
                  <a:pt x="16" y="10"/>
                  <a:pt x="26" y="0"/>
                  <a:pt x="52" y="0"/>
                </a:cubicBezTo>
                <a:cubicBezTo>
                  <a:pt x="74" y="0"/>
                  <a:pt x="87" y="9"/>
                  <a:pt x="91" y="14"/>
                </a:cubicBezTo>
                <a:cubicBezTo>
                  <a:pt x="94" y="19"/>
                  <a:pt x="104" y="72"/>
                  <a:pt x="104" y="80"/>
                </a:cubicBezTo>
                <a:cubicBezTo>
                  <a:pt x="104" y="89"/>
                  <a:pt x="94" y="100"/>
                  <a:pt x="92" y="102"/>
                </a:cubicBezTo>
                <a:cubicBezTo>
                  <a:pt x="91" y="104"/>
                  <a:pt x="85" y="112"/>
                  <a:pt x="76" y="112"/>
                </a:cubicBezTo>
                <a:close/>
                <a:moveTo>
                  <a:pt x="52" y="8"/>
                </a:moveTo>
                <a:cubicBezTo>
                  <a:pt x="29" y="8"/>
                  <a:pt x="22" y="16"/>
                  <a:pt x="20" y="19"/>
                </a:cubicBezTo>
                <a:cubicBezTo>
                  <a:pt x="17" y="24"/>
                  <a:pt x="8" y="72"/>
                  <a:pt x="8" y="80"/>
                </a:cubicBezTo>
                <a:cubicBezTo>
                  <a:pt x="8" y="85"/>
                  <a:pt x="14" y="93"/>
                  <a:pt x="18" y="98"/>
                </a:cubicBezTo>
                <a:cubicBezTo>
                  <a:pt x="18" y="98"/>
                  <a:pt x="18" y="98"/>
                  <a:pt x="18" y="98"/>
                </a:cubicBezTo>
                <a:cubicBezTo>
                  <a:pt x="18" y="98"/>
                  <a:pt x="22" y="104"/>
                  <a:pt x="28" y="104"/>
                </a:cubicBezTo>
                <a:cubicBezTo>
                  <a:pt x="76" y="104"/>
                  <a:pt x="76" y="104"/>
                  <a:pt x="76" y="104"/>
                </a:cubicBezTo>
                <a:cubicBezTo>
                  <a:pt x="82" y="104"/>
                  <a:pt x="86" y="98"/>
                  <a:pt x="86" y="98"/>
                </a:cubicBezTo>
                <a:cubicBezTo>
                  <a:pt x="86" y="97"/>
                  <a:pt x="86" y="97"/>
                  <a:pt x="86" y="97"/>
                </a:cubicBezTo>
                <a:cubicBezTo>
                  <a:pt x="90" y="93"/>
                  <a:pt x="96" y="85"/>
                  <a:pt x="96" y="80"/>
                </a:cubicBezTo>
                <a:cubicBezTo>
                  <a:pt x="96" y="72"/>
                  <a:pt x="86" y="23"/>
                  <a:pt x="84" y="18"/>
                </a:cubicBezTo>
                <a:cubicBezTo>
                  <a:pt x="83" y="16"/>
                  <a:pt x="73" y="8"/>
                  <a:pt x="52" y="8"/>
                </a:cubicBezTo>
                <a:close/>
                <a:moveTo>
                  <a:pt x="84" y="120"/>
                </a:moveTo>
                <a:cubicBezTo>
                  <a:pt x="20" y="120"/>
                  <a:pt x="20" y="120"/>
                  <a:pt x="20" y="120"/>
                </a:cubicBezTo>
                <a:cubicBezTo>
                  <a:pt x="20" y="128"/>
                  <a:pt x="20" y="128"/>
                  <a:pt x="20" y="128"/>
                </a:cubicBezTo>
                <a:cubicBezTo>
                  <a:pt x="84" y="128"/>
                  <a:pt x="84" y="128"/>
                  <a:pt x="84" y="128"/>
                </a:cubicBezTo>
                <a:lnTo>
                  <a:pt x="84" y="120"/>
                </a:lnTo>
                <a:close/>
                <a:moveTo>
                  <a:pt x="80" y="24"/>
                </a:moveTo>
                <a:cubicBezTo>
                  <a:pt x="80" y="24"/>
                  <a:pt x="67" y="16"/>
                  <a:pt x="52" y="16"/>
                </a:cubicBezTo>
                <a:cubicBezTo>
                  <a:pt x="37" y="16"/>
                  <a:pt x="24" y="24"/>
                  <a:pt x="24" y="24"/>
                </a:cubicBezTo>
                <a:cubicBezTo>
                  <a:pt x="20" y="48"/>
                  <a:pt x="20" y="48"/>
                  <a:pt x="20" y="48"/>
                </a:cubicBezTo>
                <a:cubicBezTo>
                  <a:pt x="20" y="48"/>
                  <a:pt x="44" y="56"/>
                  <a:pt x="52" y="56"/>
                </a:cubicBezTo>
                <a:cubicBezTo>
                  <a:pt x="60" y="56"/>
                  <a:pt x="84" y="48"/>
                  <a:pt x="84" y="48"/>
                </a:cubicBezTo>
                <a:lnTo>
                  <a:pt x="80" y="24"/>
                </a:lnTo>
                <a:close/>
                <a:moveTo>
                  <a:pt x="52" y="80"/>
                </a:moveTo>
                <a:cubicBezTo>
                  <a:pt x="48" y="80"/>
                  <a:pt x="44" y="84"/>
                  <a:pt x="44" y="88"/>
                </a:cubicBezTo>
                <a:cubicBezTo>
                  <a:pt x="44" y="92"/>
                  <a:pt x="48" y="96"/>
                  <a:pt x="52" y="96"/>
                </a:cubicBezTo>
                <a:cubicBezTo>
                  <a:pt x="56" y="96"/>
                  <a:pt x="60" y="92"/>
                  <a:pt x="60" y="88"/>
                </a:cubicBezTo>
                <a:cubicBezTo>
                  <a:pt x="60" y="84"/>
                  <a:pt x="56" y="80"/>
                  <a:pt x="52" y="8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5" name="Freeform 53">
            <a:extLst>
              <a:ext uri="{FF2B5EF4-FFF2-40B4-BE49-F238E27FC236}">
                <a16:creationId xmlns:a16="http://schemas.microsoft.com/office/drawing/2014/main" id="{DAE58661-6F89-4176-A6F0-00E5405F33AC}"/>
              </a:ext>
            </a:extLst>
          </p:cNvPr>
          <p:cNvSpPr>
            <a:spLocks/>
          </p:cNvSpPr>
          <p:nvPr/>
        </p:nvSpPr>
        <p:spPr bwMode="auto">
          <a:xfrm>
            <a:off x="8249939" y="4051809"/>
            <a:ext cx="198437" cy="412750"/>
          </a:xfrm>
          <a:custGeom>
            <a:avLst/>
            <a:gdLst>
              <a:gd name="T0" fmla="*/ 15 w 60"/>
              <a:gd name="T1" fmla="*/ 128 h 128"/>
              <a:gd name="T2" fmla="*/ 15 w 60"/>
              <a:gd name="T3" fmla="*/ 67 h 128"/>
              <a:gd name="T4" fmla="*/ 0 w 60"/>
              <a:gd name="T5" fmla="*/ 67 h 128"/>
              <a:gd name="T6" fmla="*/ 0 w 60"/>
              <a:gd name="T7" fmla="*/ 45 h 128"/>
              <a:gd name="T8" fmla="*/ 15 w 60"/>
              <a:gd name="T9" fmla="*/ 45 h 128"/>
              <a:gd name="T10" fmla="*/ 15 w 60"/>
              <a:gd name="T11" fmla="*/ 29 h 128"/>
              <a:gd name="T12" fmla="*/ 43 w 60"/>
              <a:gd name="T13" fmla="*/ 0 h 128"/>
              <a:gd name="T14" fmla="*/ 60 w 60"/>
              <a:gd name="T15" fmla="*/ 1 h 128"/>
              <a:gd name="T16" fmla="*/ 60 w 60"/>
              <a:gd name="T17" fmla="*/ 20 h 128"/>
              <a:gd name="T18" fmla="*/ 48 w 60"/>
              <a:gd name="T19" fmla="*/ 20 h 128"/>
              <a:gd name="T20" fmla="*/ 37 w 60"/>
              <a:gd name="T21" fmla="*/ 31 h 128"/>
              <a:gd name="T22" fmla="*/ 37 w 60"/>
              <a:gd name="T23" fmla="*/ 45 h 128"/>
              <a:gd name="T24" fmla="*/ 59 w 60"/>
              <a:gd name="T25" fmla="*/ 45 h 128"/>
              <a:gd name="T26" fmla="*/ 56 w 60"/>
              <a:gd name="T27" fmla="*/ 67 h 128"/>
              <a:gd name="T28" fmla="*/ 37 w 60"/>
              <a:gd name="T29" fmla="*/ 67 h 128"/>
              <a:gd name="T30" fmla="*/ 37 w 60"/>
              <a:gd name="T31" fmla="*/ 128 h 128"/>
              <a:gd name="T32" fmla="*/ 15 w 60"/>
              <a:gd name="T33"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0" h="128">
                <a:moveTo>
                  <a:pt x="15" y="128"/>
                </a:moveTo>
                <a:cubicBezTo>
                  <a:pt x="15" y="67"/>
                  <a:pt x="15" y="67"/>
                  <a:pt x="15" y="67"/>
                </a:cubicBezTo>
                <a:cubicBezTo>
                  <a:pt x="0" y="67"/>
                  <a:pt x="0" y="67"/>
                  <a:pt x="0" y="67"/>
                </a:cubicBezTo>
                <a:cubicBezTo>
                  <a:pt x="0" y="45"/>
                  <a:pt x="0" y="45"/>
                  <a:pt x="0" y="45"/>
                </a:cubicBezTo>
                <a:cubicBezTo>
                  <a:pt x="15" y="45"/>
                  <a:pt x="15" y="45"/>
                  <a:pt x="15" y="45"/>
                </a:cubicBezTo>
                <a:cubicBezTo>
                  <a:pt x="15" y="29"/>
                  <a:pt x="15" y="29"/>
                  <a:pt x="15" y="29"/>
                </a:cubicBezTo>
                <a:cubicBezTo>
                  <a:pt x="15" y="10"/>
                  <a:pt x="26" y="0"/>
                  <a:pt x="43" y="0"/>
                </a:cubicBezTo>
                <a:cubicBezTo>
                  <a:pt x="51" y="0"/>
                  <a:pt x="58" y="1"/>
                  <a:pt x="60" y="1"/>
                </a:cubicBezTo>
                <a:cubicBezTo>
                  <a:pt x="60" y="20"/>
                  <a:pt x="60" y="20"/>
                  <a:pt x="60" y="20"/>
                </a:cubicBezTo>
                <a:cubicBezTo>
                  <a:pt x="48" y="20"/>
                  <a:pt x="48" y="20"/>
                  <a:pt x="48" y="20"/>
                </a:cubicBezTo>
                <a:cubicBezTo>
                  <a:pt x="39" y="20"/>
                  <a:pt x="37" y="25"/>
                  <a:pt x="37" y="31"/>
                </a:cubicBezTo>
                <a:cubicBezTo>
                  <a:pt x="37" y="45"/>
                  <a:pt x="37" y="45"/>
                  <a:pt x="37" y="45"/>
                </a:cubicBezTo>
                <a:cubicBezTo>
                  <a:pt x="59" y="45"/>
                  <a:pt x="59" y="45"/>
                  <a:pt x="59" y="45"/>
                </a:cubicBezTo>
                <a:cubicBezTo>
                  <a:pt x="56" y="67"/>
                  <a:pt x="56" y="67"/>
                  <a:pt x="56" y="67"/>
                </a:cubicBezTo>
                <a:cubicBezTo>
                  <a:pt x="37" y="67"/>
                  <a:pt x="37" y="67"/>
                  <a:pt x="37" y="67"/>
                </a:cubicBezTo>
                <a:cubicBezTo>
                  <a:pt x="37" y="128"/>
                  <a:pt x="37" y="128"/>
                  <a:pt x="37" y="128"/>
                </a:cubicBezTo>
                <a:lnTo>
                  <a:pt x="15" y="12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247" name="Group 246">
            <a:extLst>
              <a:ext uri="{FF2B5EF4-FFF2-40B4-BE49-F238E27FC236}">
                <a16:creationId xmlns:a16="http://schemas.microsoft.com/office/drawing/2014/main" id="{6AD4A0DF-74C2-4534-8B50-775C89FDC482}"/>
              </a:ext>
            </a:extLst>
          </p:cNvPr>
          <p:cNvGrpSpPr/>
          <p:nvPr/>
        </p:nvGrpSpPr>
        <p:grpSpPr>
          <a:xfrm>
            <a:off x="6105891" y="3303010"/>
            <a:ext cx="304800" cy="304800"/>
            <a:chOff x="1741853" y="1038980"/>
            <a:chExt cx="304800" cy="304800"/>
          </a:xfrm>
          <a:solidFill>
            <a:schemeClr val="tx2"/>
          </a:solidFill>
        </p:grpSpPr>
        <p:sp>
          <p:nvSpPr>
            <p:cNvPr id="248" name="Freeform: Shape 247">
              <a:extLst>
                <a:ext uri="{FF2B5EF4-FFF2-40B4-BE49-F238E27FC236}">
                  <a16:creationId xmlns:a16="http://schemas.microsoft.com/office/drawing/2014/main" id="{9937B235-A2F6-4E64-8AD3-4C86E3682F60}"/>
                </a:ext>
              </a:extLst>
            </p:cNvPr>
            <p:cNvSpPr/>
            <p:nvPr/>
          </p:nvSpPr>
          <p:spPr>
            <a:xfrm>
              <a:off x="1741853" y="1038980"/>
              <a:ext cx="19050" cy="304800"/>
            </a:xfrm>
            <a:custGeom>
              <a:avLst/>
              <a:gdLst>
                <a:gd name="connsiteX0" fmla="*/ 0 w 19050"/>
                <a:gd name="connsiteY0" fmla="*/ 0 h 304800"/>
                <a:gd name="connsiteX1" fmla="*/ 0 w 19050"/>
                <a:gd name="connsiteY1" fmla="*/ 304800 h 304800"/>
                <a:gd name="connsiteX2" fmla="*/ 19050 w 19050"/>
                <a:gd name="connsiteY2" fmla="*/ 304800 h 304800"/>
                <a:gd name="connsiteX3" fmla="*/ 19050 w 19050"/>
                <a:gd name="connsiteY3" fmla="*/ 0 h 304800"/>
                <a:gd name="connsiteX4" fmla="*/ 0 w 19050"/>
                <a:gd name="connsiteY4" fmla="*/ 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304800">
                  <a:moveTo>
                    <a:pt x="0" y="0"/>
                  </a:moveTo>
                  <a:lnTo>
                    <a:pt x="0" y="304800"/>
                  </a:lnTo>
                  <a:lnTo>
                    <a:pt x="19050" y="304800"/>
                  </a:lnTo>
                  <a:lnTo>
                    <a:pt x="19050" y="0"/>
                  </a:lnTo>
                  <a:lnTo>
                    <a:pt x="0" y="0"/>
                  </a:lnTo>
                  <a:close/>
                </a:path>
              </a:pathLst>
            </a:custGeom>
            <a:grpFill/>
            <a:ln w="9525" cap="flat">
              <a:noFill/>
              <a:prstDash val="solid"/>
              <a:miter/>
            </a:ln>
          </p:spPr>
          <p:txBody>
            <a:bodyPr rtlCol="0" anchor="ctr"/>
            <a:lstStyle/>
            <a:p>
              <a:endParaRPr lang="en-GB"/>
            </a:p>
          </p:txBody>
        </p:sp>
        <p:sp>
          <p:nvSpPr>
            <p:cNvPr id="249" name="Freeform: Shape 248">
              <a:extLst>
                <a:ext uri="{FF2B5EF4-FFF2-40B4-BE49-F238E27FC236}">
                  <a16:creationId xmlns:a16="http://schemas.microsoft.com/office/drawing/2014/main" id="{0D1AC4AE-7C9B-41D1-BD12-AAF64DFFAB41}"/>
                </a:ext>
              </a:extLst>
            </p:cNvPr>
            <p:cNvSpPr/>
            <p:nvPr/>
          </p:nvSpPr>
          <p:spPr>
            <a:xfrm>
              <a:off x="1818053" y="1070412"/>
              <a:ext cx="228600" cy="241935"/>
            </a:xfrm>
            <a:custGeom>
              <a:avLst/>
              <a:gdLst>
                <a:gd name="connsiteX0" fmla="*/ 0 w 228600"/>
                <a:gd name="connsiteY0" fmla="*/ 111443 h 241935"/>
                <a:gd name="connsiteX1" fmla="*/ 192405 w 228600"/>
                <a:gd name="connsiteY1" fmla="*/ 111443 h 241935"/>
                <a:gd name="connsiteX2" fmla="*/ 94298 w 228600"/>
                <a:gd name="connsiteY2" fmla="*/ 13335 h 241935"/>
                <a:gd name="connsiteX3" fmla="*/ 107632 w 228600"/>
                <a:gd name="connsiteY3" fmla="*/ 0 h 241935"/>
                <a:gd name="connsiteX4" fmla="*/ 228600 w 228600"/>
                <a:gd name="connsiteY4" fmla="*/ 120968 h 241935"/>
                <a:gd name="connsiteX5" fmla="*/ 228600 w 228600"/>
                <a:gd name="connsiteY5" fmla="*/ 120968 h 241935"/>
                <a:gd name="connsiteX6" fmla="*/ 228600 w 228600"/>
                <a:gd name="connsiteY6" fmla="*/ 120968 h 241935"/>
                <a:gd name="connsiteX7" fmla="*/ 107632 w 228600"/>
                <a:gd name="connsiteY7" fmla="*/ 241935 h 241935"/>
                <a:gd name="connsiteX8" fmla="*/ 94298 w 228600"/>
                <a:gd name="connsiteY8" fmla="*/ 228600 h 241935"/>
                <a:gd name="connsiteX9" fmla="*/ 192405 w 228600"/>
                <a:gd name="connsiteY9" fmla="*/ 130493 h 241935"/>
                <a:gd name="connsiteX10" fmla="*/ 0 w 228600"/>
                <a:gd name="connsiteY10" fmla="*/ 130493 h 241935"/>
                <a:gd name="connsiteX11" fmla="*/ 0 w 228600"/>
                <a:gd name="connsiteY11" fmla="*/ 111443 h 241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 h="241935">
                  <a:moveTo>
                    <a:pt x="0" y="111443"/>
                  </a:moveTo>
                  <a:lnTo>
                    <a:pt x="192405" y="111443"/>
                  </a:lnTo>
                  <a:lnTo>
                    <a:pt x="94298" y="13335"/>
                  </a:lnTo>
                  <a:lnTo>
                    <a:pt x="107632" y="0"/>
                  </a:lnTo>
                  <a:lnTo>
                    <a:pt x="228600" y="120968"/>
                  </a:lnTo>
                  <a:lnTo>
                    <a:pt x="228600" y="120968"/>
                  </a:lnTo>
                  <a:lnTo>
                    <a:pt x="228600" y="120968"/>
                  </a:lnTo>
                  <a:lnTo>
                    <a:pt x="107632" y="241935"/>
                  </a:lnTo>
                  <a:lnTo>
                    <a:pt x="94298" y="228600"/>
                  </a:lnTo>
                  <a:lnTo>
                    <a:pt x="192405" y="130493"/>
                  </a:lnTo>
                  <a:lnTo>
                    <a:pt x="0" y="130493"/>
                  </a:lnTo>
                  <a:lnTo>
                    <a:pt x="0" y="111443"/>
                  </a:lnTo>
                  <a:close/>
                </a:path>
              </a:pathLst>
            </a:custGeom>
            <a:grpFill/>
            <a:ln w="9525" cap="flat">
              <a:noFill/>
              <a:prstDash val="solid"/>
              <a:miter/>
            </a:ln>
          </p:spPr>
          <p:txBody>
            <a:bodyPr rtlCol="0" anchor="ctr"/>
            <a:lstStyle/>
            <a:p>
              <a:endParaRPr lang="en-GB"/>
            </a:p>
          </p:txBody>
        </p:sp>
      </p:grpSp>
      <p:sp>
        <p:nvSpPr>
          <p:cNvPr id="80" name="Freihandform: Form 63">
            <a:extLst>
              <a:ext uri="{FF2B5EF4-FFF2-40B4-BE49-F238E27FC236}">
                <a16:creationId xmlns:a16="http://schemas.microsoft.com/office/drawing/2014/main" id="{CBBF5F85-97B7-4522-9739-F1DCB4EFF04B}"/>
              </a:ext>
            </a:extLst>
          </p:cNvPr>
          <p:cNvSpPr>
            <a:spLocks noChangeAspect="1"/>
          </p:cNvSpPr>
          <p:nvPr/>
        </p:nvSpPr>
        <p:spPr>
          <a:xfrm>
            <a:off x="647626" y="1614622"/>
            <a:ext cx="292848" cy="390462"/>
          </a:xfrm>
          <a:custGeom>
            <a:avLst/>
            <a:gdLst>
              <a:gd name="connsiteX0" fmla="*/ 114300 w 228600"/>
              <a:gd name="connsiteY0" fmla="*/ 304800 h 304800"/>
              <a:gd name="connsiteX1" fmla="*/ 0 w 228600"/>
              <a:gd name="connsiteY1" fmla="*/ 190500 h 304800"/>
              <a:gd name="connsiteX2" fmla="*/ 114300 w 228600"/>
              <a:gd name="connsiteY2" fmla="*/ 76200 h 304800"/>
              <a:gd name="connsiteX3" fmla="*/ 114300 w 228600"/>
              <a:gd name="connsiteY3" fmla="*/ 95250 h 304800"/>
              <a:gd name="connsiteX4" fmla="*/ 19050 w 228600"/>
              <a:gd name="connsiteY4" fmla="*/ 190500 h 304800"/>
              <a:gd name="connsiteX5" fmla="*/ 114300 w 228600"/>
              <a:gd name="connsiteY5" fmla="*/ 285750 h 304800"/>
              <a:gd name="connsiteX6" fmla="*/ 209550 w 228600"/>
              <a:gd name="connsiteY6" fmla="*/ 190500 h 304800"/>
              <a:gd name="connsiteX7" fmla="*/ 228600 w 228600"/>
              <a:gd name="connsiteY7" fmla="*/ 190500 h 304800"/>
              <a:gd name="connsiteX8" fmla="*/ 114300 w 228600"/>
              <a:gd name="connsiteY8" fmla="*/ 304800 h 304800"/>
              <a:gd name="connsiteX9" fmla="*/ 190500 w 228600"/>
              <a:gd name="connsiteY9" fmla="*/ 190500 h 304800"/>
              <a:gd name="connsiteX10" fmla="*/ 171450 w 228600"/>
              <a:gd name="connsiteY10" fmla="*/ 190500 h 304800"/>
              <a:gd name="connsiteX11" fmla="*/ 114300 w 228600"/>
              <a:gd name="connsiteY11" fmla="*/ 247650 h 304800"/>
              <a:gd name="connsiteX12" fmla="*/ 57150 w 228600"/>
              <a:gd name="connsiteY12" fmla="*/ 190500 h 304800"/>
              <a:gd name="connsiteX13" fmla="*/ 114300 w 228600"/>
              <a:gd name="connsiteY13" fmla="*/ 133350 h 304800"/>
              <a:gd name="connsiteX14" fmla="*/ 114300 w 228600"/>
              <a:gd name="connsiteY14" fmla="*/ 114300 h 304800"/>
              <a:gd name="connsiteX15" fmla="*/ 38100 w 228600"/>
              <a:gd name="connsiteY15" fmla="*/ 190500 h 304800"/>
              <a:gd name="connsiteX16" fmla="*/ 114300 w 228600"/>
              <a:gd name="connsiteY16" fmla="*/ 266700 h 304800"/>
              <a:gd name="connsiteX17" fmla="*/ 190500 w 228600"/>
              <a:gd name="connsiteY17" fmla="*/ 190500 h 304800"/>
              <a:gd name="connsiteX18" fmla="*/ 152400 w 228600"/>
              <a:gd name="connsiteY18" fmla="*/ 190500 h 304800"/>
              <a:gd name="connsiteX19" fmla="*/ 133350 w 228600"/>
              <a:gd name="connsiteY19" fmla="*/ 190500 h 304800"/>
              <a:gd name="connsiteX20" fmla="*/ 114300 w 228600"/>
              <a:gd name="connsiteY20" fmla="*/ 209550 h 304800"/>
              <a:gd name="connsiteX21" fmla="*/ 95250 w 228600"/>
              <a:gd name="connsiteY21" fmla="*/ 190500 h 304800"/>
              <a:gd name="connsiteX22" fmla="*/ 114300 w 228600"/>
              <a:gd name="connsiteY22" fmla="*/ 171450 h 304800"/>
              <a:gd name="connsiteX23" fmla="*/ 114300 w 228600"/>
              <a:gd name="connsiteY23" fmla="*/ 152400 h 304800"/>
              <a:gd name="connsiteX24" fmla="*/ 76200 w 228600"/>
              <a:gd name="connsiteY24" fmla="*/ 190500 h 304800"/>
              <a:gd name="connsiteX25" fmla="*/ 114300 w 228600"/>
              <a:gd name="connsiteY25" fmla="*/ 228600 h 304800"/>
              <a:gd name="connsiteX26" fmla="*/ 152400 w 228600"/>
              <a:gd name="connsiteY26" fmla="*/ 190500 h 304800"/>
              <a:gd name="connsiteX27" fmla="*/ 200025 w 228600"/>
              <a:gd name="connsiteY27" fmla="*/ 76200 h 304800"/>
              <a:gd name="connsiteX28" fmla="*/ 200025 w 228600"/>
              <a:gd name="connsiteY28" fmla="*/ 0 h 304800"/>
              <a:gd name="connsiteX29" fmla="*/ 142875 w 228600"/>
              <a:gd name="connsiteY29" fmla="*/ 95250 h 304800"/>
              <a:gd name="connsiteX30" fmla="*/ 180975 w 228600"/>
              <a:gd name="connsiteY30" fmla="*/ 95250 h 304800"/>
              <a:gd name="connsiteX31" fmla="*/ 171450 w 228600"/>
              <a:gd name="connsiteY31" fmla="*/ 171450 h 304800"/>
              <a:gd name="connsiteX32" fmla="*/ 228600 w 228600"/>
              <a:gd name="connsiteY32" fmla="*/ 76200 h 304800"/>
              <a:gd name="connsiteX33" fmla="*/ 200025 w 228600"/>
              <a:gd name="connsiteY33" fmla="*/ 762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28600" h="304800">
                <a:moveTo>
                  <a:pt x="114300" y="304800"/>
                </a:moveTo>
                <a:cubicBezTo>
                  <a:pt x="51273" y="304800"/>
                  <a:pt x="0" y="253527"/>
                  <a:pt x="0" y="190500"/>
                </a:cubicBezTo>
                <a:cubicBezTo>
                  <a:pt x="0" y="127473"/>
                  <a:pt x="51273" y="76200"/>
                  <a:pt x="114300" y="76200"/>
                </a:cubicBezTo>
                <a:lnTo>
                  <a:pt x="114300" y="95250"/>
                </a:lnTo>
                <a:cubicBezTo>
                  <a:pt x="61779" y="95250"/>
                  <a:pt x="19050" y="137979"/>
                  <a:pt x="19050" y="190500"/>
                </a:cubicBezTo>
                <a:cubicBezTo>
                  <a:pt x="19050" y="243021"/>
                  <a:pt x="61779" y="285750"/>
                  <a:pt x="114300" y="285750"/>
                </a:cubicBezTo>
                <a:cubicBezTo>
                  <a:pt x="166821" y="285750"/>
                  <a:pt x="209550" y="243021"/>
                  <a:pt x="209550" y="190500"/>
                </a:cubicBezTo>
                <a:lnTo>
                  <a:pt x="228600" y="190500"/>
                </a:lnTo>
                <a:cubicBezTo>
                  <a:pt x="228600" y="253527"/>
                  <a:pt x="177327" y="304800"/>
                  <a:pt x="114300" y="304800"/>
                </a:cubicBezTo>
                <a:close/>
                <a:moveTo>
                  <a:pt x="190500" y="190500"/>
                </a:moveTo>
                <a:lnTo>
                  <a:pt x="171450" y="190500"/>
                </a:lnTo>
                <a:cubicBezTo>
                  <a:pt x="171450" y="222018"/>
                  <a:pt x="145818" y="247650"/>
                  <a:pt x="114300" y="247650"/>
                </a:cubicBezTo>
                <a:cubicBezTo>
                  <a:pt x="82782" y="247650"/>
                  <a:pt x="57150" y="222018"/>
                  <a:pt x="57150" y="190500"/>
                </a:cubicBezTo>
                <a:cubicBezTo>
                  <a:pt x="57150" y="158982"/>
                  <a:pt x="82782" y="133350"/>
                  <a:pt x="114300" y="133350"/>
                </a:cubicBezTo>
                <a:lnTo>
                  <a:pt x="114300" y="114300"/>
                </a:lnTo>
                <a:cubicBezTo>
                  <a:pt x="72285" y="114300"/>
                  <a:pt x="38100" y="148485"/>
                  <a:pt x="38100" y="190500"/>
                </a:cubicBezTo>
                <a:cubicBezTo>
                  <a:pt x="38100" y="232515"/>
                  <a:pt x="72285" y="266700"/>
                  <a:pt x="114300" y="266700"/>
                </a:cubicBezTo>
                <a:cubicBezTo>
                  <a:pt x="156315" y="266700"/>
                  <a:pt x="190500" y="232515"/>
                  <a:pt x="190500" y="190500"/>
                </a:cubicBezTo>
                <a:close/>
                <a:moveTo>
                  <a:pt x="152400" y="190500"/>
                </a:moveTo>
                <a:lnTo>
                  <a:pt x="133350" y="190500"/>
                </a:lnTo>
                <a:cubicBezTo>
                  <a:pt x="133350" y="201006"/>
                  <a:pt x="124806" y="209550"/>
                  <a:pt x="114300" y="209550"/>
                </a:cubicBezTo>
                <a:cubicBezTo>
                  <a:pt x="103794" y="209550"/>
                  <a:pt x="95250" y="201006"/>
                  <a:pt x="95250" y="190500"/>
                </a:cubicBezTo>
                <a:cubicBezTo>
                  <a:pt x="95250" y="179994"/>
                  <a:pt x="103794" y="171450"/>
                  <a:pt x="114300" y="171450"/>
                </a:cubicBezTo>
                <a:lnTo>
                  <a:pt x="114300" y="152400"/>
                </a:lnTo>
                <a:cubicBezTo>
                  <a:pt x="93288" y="152400"/>
                  <a:pt x="76200" y="169488"/>
                  <a:pt x="76200" y="190500"/>
                </a:cubicBezTo>
                <a:cubicBezTo>
                  <a:pt x="76200" y="211512"/>
                  <a:pt x="93288" y="228600"/>
                  <a:pt x="114300" y="228600"/>
                </a:cubicBezTo>
                <a:cubicBezTo>
                  <a:pt x="135312" y="228600"/>
                  <a:pt x="152400" y="211512"/>
                  <a:pt x="152400" y="190500"/>
                </a:cubicBezTo>
                <a:close/>
                <a:moveTo>
                  <a:pt x="200025" y="76200"/>
                </a:moveTo>
                <a:lnTo>
                  <a:pt x="200025" y="0"/>
                </a:lnTo>
                <a:lnTo>
                  <a:pt x="142875" y="95250"/>
                </a:lnTo>
                <a:lnTo>
                  <a:pt x="180975" y="95250"/>
                </a:lnTo>
                <a:lnTo>
                  <a:pt x="171450" y="171450"/>
                </a:lnTo>
                <a:lnTo>
                  <a:pt x="228600" y="76200"/>
                </a:lnTo>
                <a:lnTo>
                  <a:pt x="200025" y="76200"/>
                </a:lnTo>
                <a:close/>
              </a:path>
            </a:pathLst>
          </a:custGeom>
          <a:solidFill>
            <a:schemeClr val="tx2"/>
          </a:solidFill>
          <a:ln w="9525" cap="flat">
            <a:noFill/>
            <a:prstDash val="solid"/>
            <a:miter/>
          </a:ln>
        </p:spPr>
        <p:txBody>
          <a:bodyPr rtlCol="0" anchor="ctr"/>
          <a:lstStyle/>
          <a:p>
            <a:endParaRPr lang="en-GB" dirty="0"/>
          </a:p>
        </p:txBody>
      </p:sp>
    </p:spTree>
    <p:extLst>
      <p:ext uri="{BB962C8B-B14F-4D97-AF65-F5344CB8AC3E}">
        <p14:creationId xmlns:p14="http://schemas.microsoft.com/office/powerpoint/2010/main" val="1837925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Objekt 64" hidden="1">
            <a:extLst>
              <a:ext uri="{FF2B5EF4-FFF2-40B4-BE49-F238E27FC236}">
                <a16:creationId xmlns:a16="http://schemas.microsoft.com/office/drawing/2014/main" id="{F7698F2B-747F-4EA6-97C4-22465CAB63C7}"/>
              </a:ext>
            </a:extLst>
          </p:cNvPr>
          <p:cNvGraphicFramePr>
            <a:graphicFrameLocks noChangeAspect="1"/>
          </p:cNvGraphicFramePr>
          <p:nvPr>
            <p:custDataLst>
              <p:tags r:id="rId1"/>
            </p:custDataLst>
            <p:extLst>
              <p:ext uri="{D42A27DB-BD31-4B8C-83A1-F6EECF244321}">
                <p14:modId xmlns:p14="http://schemas.microsoft.com/office/powerpoint/2010/main" val="1560650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65" name="Objekt 64" hidden="1">
                        <a:extLst>
                          <a:ext uri="{FF2B5EF4-FFF2-40B4-BE49-F238E27FC236}">
                            <a16:creationId xmlns:a16="http://schemas.microsoft.com/office/drawing/2014/main" id="{F7698F2B-747F-4EA6-97C4-22465CAB63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C7DDD88-B39B-4958-81D8-1DD32C78D6A9}"/>
              </a:ext>
            </a:extLst>
          </p:cNvPr>
          <p:cNvSpPr>
            <a:spLocks noGrp="1"/>
          </p:cNvSpPr>
          <p:nvPr>
            <p:ph type="sldNum" sz="quarter" idx="11"/>
          </p:nvPr>
        </p:nvSpPr>
        <p:spPr/>
        <p:txBody>
          <a:bodyPr/>
          <a:lstStyle/>
          <a:p>
            <a:fld id="{D56DB8AA-803C-49D2-90AA-1140CE72DCD7}" type="slidenum">
              <a:rPr lang="en-GB" smtClean="0"/>
              <a:pPr/>
              <a:t>7</a:t>
            </a:fld>
            <a:endParaRPr lang="en-GB" dirty="0"/>
          </a:p>
        </p:txBody>
      </p:sp>
      <p:sp>
        <p:nvSpPr>
          <p:cNvPr id="39" name="Title 38">
            <a:extLst>
              <a:ext uri="{FF2B5EF4-FFF2-40B4-BE49-F238E27FC236}">
                <a16:creationId xmlns:a16="http://schemas.microsoft.com/office/drawing/2014/main" id="{77CBEB4C-CC79-F3E0-B918-7F360B0954A6}"/>
              </a:ext>
            </a:extLst>
          </p:cNvPr>
          <p:cNvSpPr>
            <a:spLocks noGrp="1"/>
          </p:cNvSpPr>
          <p:nvPr>
            <p:ph type="title"/>
          </p:nvPr>
        </p:nvSpPr>
        <p:spPr/>
        <p:txBody>
          <a:bodyPr/>
          <a:lstStyle/>
          <a:p>
            <a:r>
              <a:rPr lang="en-US" dirty="0"/>
              <a:t>Munich Re Icons 5/12</a:t>
            </a:r>
            <a:br>
              <a:rPr lang="en-US" dirty="0"/>
            </a:br>
            <a:endParaRPr lang="en-US" dirty="0"/>
          </a:p>
        </p:txBody>
      </p:sp>
      <p:sp>
        <p:nvSpPr>
          <p:cNvPr id="5" name="TextBox 4">
            <a:extLst>
              <a:ext uri="{FF2B5EF4-FFF2-40B4-BE49-F238E27FC236}">
                <a16:creationId xmlns:a16="http://schemas.microsoft.com/office/drawing/2014/main" id="{6A413E99-7CB0-424D-B2B4-1DCD2C2A8F6F}"/>
              </a:ext>
            </a:extLst>
          </p:cNvPr>
          <p:cNvSpPr txBox="1"/>
          <p:nvPr/>
        </p:nvSpPr>
        <p:spPr>
          <a:xfrm>
            <a:off x="644169" y="2077494"/>
            <a:ext cx="299761" cy="107722"/>
          </a:xfrm>
          <a:prstGeom prst="rect">
            <a:avLst/>
          </a:prstGeom>
          <a:noFill/>
          <a:effectLst/>
        </p:spPr>
        <p:txBody>
          <a:bodyPr wrap="none" lIns="0" tIns="0" rIns="0" bIns="0" rtlCol="0" anchor="t">
            <a:spAutoFit/>
          </a:bodyPr>
          <a:lstStyle/>
          <a:p>
            <a:pPr algn="ctr"/>
            <a:r>
              <a:rPr lang="en-GB" sz="700" dirty="0">
                <a:solidFill>
                  <a:schemeClr val="tx2"/>
                </a:solidFill>
              </a:rPr>
              <a:t>Factory</a:t>
            </a:r>
          </a:p>
        </p:txBody>
      </p:sp>
      <p:sp>
        <p:nvSpPr>
          <p:cNvPr id="6" name="TextBox 5">
            <a:extLst>
              <a:ext uri="{FF2B5EF4-FFF2-40B4-BE49-F238E27FC236}">
                <a16:creationId xmlns:a16="http://schemas.microsoft.com/office/drawing/2014/main" id="{A0539ABE-DA6E-4E7E-903B-CDC0B9C7F378}"/>
              </a:ext>
            </a:extLst>
          </p:cNvPr>
          <p:cNvSpPr txBox="1"/>
          <p:nvPr/>
        </p:nvSpPr>
        <p:spPr>
          <a:xfrm>
            <a:off x="634550" y="2899619"/>
            <a:ext cx="318998" cy="107722"/>
          </a:xfrm>
          <a:prstGeom prst="rect">
            <a:avLst/>
          </a:prstGeom>
          <a:noFill/>
          <a:effectLst/>
        </p:spPr>
        <p:txBody>
          <a:bodyPr wrap="none" lIns="0" tIns="0" rIns="0" bIns="0" rtlCol="0" anchor="t">
            <a:spAutoFit/>
          </a:bodyPr>
          <a:lstStyle/>
          <a:p>
            <a:pPr algn="ctr"/>
            <a:r>
              <a:rPr lang="en-GB" sz="700" dirty="0">
                <a:solidFill>
                  <a:schemeClr val="tx2"/>
                </a:solidFill>
              </a:rPr>
              <a:t>File GIF</a:t>
            </a:r>
          </a:p>
        </p:txBody>
      </p:sp>
      <p:sp>
        <p:nvSpPr>
          <p:cNvPr id="7" name="TextBox 6">
            <a:extLst>
              <a:ext uri="{FF2B5EF4-FFF2-40B4-BE49-F238E27FC236}">
                <a16:creationId xmlns:a16="http://schemas.microsoft.com/office/drawing/2014/main" id="{7A9B7E32-57B1-47A1-BB46-4A04DEE1B489}"/>
              </a:ext>
            </a:extLst>
          </p:cNvPr>
          <p:cNvSpPr txBox="1"/>
          <p:nvPr/>
        </p:nvSpPr>
        <p:spPr>
          <a:xfrm>
            <a:off x="520737" y="3723675"/>
            <a:ext cx="546625" cy="107722"/>
          </a:xfrm>
          <a:prstGeom prst="rect">
            <a:avLst/>
          </a:prstGeom>
          <a:noFill/>
          <a:effectLst/>
        </p:spPr>
        <p:txBody>
          <a:bodyPr wrap="none" lIns="0" tIns="0" rIns="0" bIns="0" rtlCol="0" anchor="t">
            <a:spAutoFit/>
          </a:bodyPr>
          <a:lstStyle/>
          <a:p>
            <a:pPr algn="ctr"/>
            <a:r>
              <a:rPr lang="en-GB" sz="700" dirty="0">
                <a:solidFill>
                  <a:schemeClr val="tx2"/>
                </a:solidFill>
              </a:rPr>
              <a:t>File MS Excel</a:t>
            </a:r>
          </a:p>
        </p:txBody>
      </p:sp>
      <p:sp>
        <p:nvSpPr>
          <p:cNvPr id="8" name="TextBox 7">
            <a:extLst>
              <a:ext uri="{FF2B5EF4-FFF2-40B4-BE49-F238E27FC236}">
                <a16:creationId xmlns:a16="http://schemas.microsoft.com/office/drawing/2014/main" id="{8EB9DF62-EB8D-4126-85B0-6A9AEE28236F}"/>
              </a:ext>
            </a:extLst>
          </p:cNvPr>
          <p:cNvSpPr txBox="1"/>
          <p:nvPr/>
        </p:nvSpPr>
        <p:spPr>
          <a:xfrm>
            <a:off x="608101" y="4547732"/>
            <a:ext cx="371897" cy="107722"/>
          </a:xfrm>
          <a:prstGeom prst="rect">
            <a:avLst/>
          </a:prstGeom>
          <a:noFill/>
          <a:effectLst/>
        </p:spPr>
        <p:txBody>
          <a:bodyPr wrap="none" lIns="0" tIns="0" rIns="0" bIns="0" rtlCol="0" anchor="t">
            <a:spAutoFit/>
          </a:bodyPr>
          <a:lstStyle/>
          <a:p>
            <a:pPr algn="ctr"/>
            <a:r>
              <a:rPr lang="en-GB" sz="700" dirty="0">
                <a:solidFill>
                  <a:schemeClr val="tx2"/>
                </a:solidFill>
              </a:rPr>
              <a:t>File PNG</a:t>
            </a:r>
          </a:p>
        </p:txBody>
      </p:sp>
      <p:sp>
        <p:nvSpPr>
          <p:cNvPr id="9" name="TextBox 8">
            <a:extLst>
              <a:ext uri="{FF2B5EF4-FFF2-40B4-BE49-F238E27FC236}">
                <a16:creationId xmlns:a16="http://schemas.microsoft.com/office/drawing/2014/main" id="{46B3C1AF-3174-416B-A948-2BD0C36F9A3B}"/>
              </a:ext>
            </a:extLst>
          </p:cNvPr>
          <p:cNvSpPr txBox="1"/>
          <p:nvPr/>
        </p:nvSpPr>
        <p:spPr>
          <a:xfrm>
            <a:off x="1655334" y="2077494"/>
            <a:ext cx="368300" cy="107722"/>
          </a:xfrm>
          <a:prstGeom prst="rect">
            <a:avLst/>
          </a:prstGeom>
          <a:noFill/>
          <a:effectLst/>
        </p:spPr>
        <p:txBody>
          <a:bodyPr wrap="square" lIns="0" tIns="0" rIns="0" bIns="0" rtlCol="0" anchor="t">
            <a:spAutoFit/>
          </a:bodyPr>
          <a:lstStyle/>
          <a:p>
            <a:pPr algn="ctr"/>
            <a:r>
              <a:rPr lang="en-GB" sz="700">
                <a:solidFill>
                  <a:schemeClr val="tx2"/>
                </a:solidFill>
              </a:rPr>
              <a:t>File AAC</a:t>
            </a:r>
            <a:endParaRPr lang="en-GB" sz="700" dirty="0">
              <a:solidFill>
                <a:schemeClr val="tx2"/>
              </a:solidFill>
            </a:endParaRPr>
          </a:p>
        </p:txBody>
      </p:sp>
      <p:sp>
        <p:nvSpPr>
          <p:cNvPr id="10" name="TextBox 9">
            <a:extLst>
              <a:ext uri="{FF2B5EF4-FFF2-40B4-BE49-F238E27FC236}">
                <a16:creationId xmlns:a16="http://schemas.microsoft.com/office/drawing/2014/main" id="{592C4F4E-9889-49ED-8A2B-089379AABA02}"/>
              </a:ext>
            </a:extLst>
          </p:cNvPr>
          <p:cNvSpPr txBox="1"/>
          <p:nvPr/>
        </p:nvSpPr>
        <p:spPr>
          <a:xfrm>
            <a:off x="1667962" y="2899619"/>
            <a:ext cx="343043" cy="107722"/>
          </a:xfrm>
          <a:prstGeom prst="rect">
            <a:avLst/>
          </a:prstGeom>
          <a:noFill/>
          <a:effectLst/>
        </p:spPr>
        <p:txBody>
          <a:bodyPr wrap="none" lIns="0" tIns="0" rIns="0" bIns="0" rtlCol="0" anchor="t">
            <a:spAutoFit/>
          </a:bodyPr>
          <a:lstStyle/>
          <a:p>
            <a:pPr algn="ctr"/>
            <a:r>
              <a:rPr lang="en-GB" sz="700" dirty="0">
                <a:solidFill>
                  <a:schemeClr val="tx2"/>
                </a:solidFill>
              </a:rPr>
              <a:t>File JPG</a:t>
            </a:r>
          </a:p>
        </p:txBody>
      </p:sp>
      <p:sp>
        <p:nvSpPr>
          <p:cNvPr id="11" name="TextBox 10">
            <a:extLst>
              <a:ext uri="{FF2B5EF4-FFF2-40B4-BE49-F238E27FC236}">
                <a16:creationId xmlns:a16="http://schemas.microsoft.com/office/drawing/2014/main" id="{B3DAB1AD-4FA4-47D8-B91A-215EC9129540}"/>
              </a:ext>
            </a:extLst>
          </p:cNvPr>
          <p:cNvSpPr txBox="1"/>
          <p:nvPr/>
        </p:nvSpPr>
        <p:spPr>
          <a:xfrm>
            <a:off x="1611056" y="3723675"/>
            <a:ext cx="456856" cy="215444"/>
          </a:xfrm>
          <a:prstGeom prst="rect">
            <a:avLst/>
          </a:prstGeom>
          <a:noFill/>
          <a:effectLst/>
        </p:spPr>
        <p:txBody>
          <a:bodyPr wrap="none" lIns="0" tIns="0" rIns="0" bIns="0" rtlCol="0" anchor="t">
            <a:spAutoFit/>
          </a:bodyPr>
          <a:lstStyle/>
          <a:p>
            <a:pPr algn="ctr"/>
            <a:r>
              <a:rPr lang="en-GB" sz="700" dirty="0">
                <a:solidFill>
                  <a:schemeClr val="tx2"/>
                </a:solidFill>
              </a:rPr>
              <a:t>File MS</a:t>
            </a:r>
            <a:br>
              <a:rPr lang="en-GB" sz="700" dirty="0">
                <a:solidFill>
                  <a:schemeClr val="tx2"/>
                </a:solidFill>
              </a:rPr>
            </a:br>
            <a:r>
              <a:rPr lang="en-GB" sz="700" dirty="0">
                <a:solidFill>
                  <a:schemeClr val="tx2"/>
                </a:solidFill>
              </a:rPr>
              <a:t>PowerPoint</a:t>
            </a:r>
          </a:p>
        </p:txBody>
      </p:sp>
      <p:sp>
        <p:nvSpPr>
          <p:cNvPr id="12" name="TextBox 11">
            <a:extLst>
              <a:ext uri="{FF2B5EF4-FFF2-40B4-BE49-F238E27FC236}">
                <a16:creationId xmlns:a16="http://schemas.microsoft.com/office/drawing/2014/main" id="{BFD69C6E-BEF7-4629-829F-42AA448899EF}"/>
              </a:ext>
            </a:extLst>
          </p:cNvPr>
          <p:cNvSpPr txBox="1"/>
          <p:nvPr/>
        </p:nvSpPr>
        <p:spPr>
          <a:xfrm>
            <a:off x="1653536" y="4547732"/>
            <a:ext cx="371898" cy="107722"/>
          </a:xfrm>
          <a:prstGeom prst="rect">
            <a:avLst/>
          </a:prstGeom>
          <a:noFill/>
          <a:effectLst/>
        </p:spPr>
        <p:txBody>
          <a:bodyPr wrap="none" lIns="0" tIns="0" rIns="0" bIns="0" rtlCol="0" anchor="t">
            <a:spAutoFit/>
          </a:bodyPr>
          <a:lstStyle/>
          <a:p>
            <a:pPr algn="ctr"/>
            <a:r>
              <a:rPr lang="en-GB" sz="700">
                <a:solidFill>
                  <a:schemeClr val="tx2"/>
                </a:solidFill>
              </a:rPr>
              <a:t>File WAV</a:t>
            </a:r>
            <a:endParaRPr lang="en-GB" sz="700" dirty="0">
              <a:solidFill>
                <a:schemeClr val="tx2"/>
              </a:solidFill>
            </a:endParaRPr>
          </a:p>
        </p:txBody>
      </p:sp>
      <p:sp>
        <p:nvSpPr>
          <p:cNvPr id="13" name="TextBox 12">
            <a:extLst>
              <a:ext uri="{FF2B5EF4-FFF2-40B4-BE49-F238E27FC236}">
                <a16:creationId xmlns:a16="http://schemas.microsoft.com/office/drawing/2014/main" id="{9830C2B1-7EAA-4F7B-91C5-65B3457623E7}"/>
              </a:ext>
            </a:extLst>
          </p:cNvPr>
          <p:cNvSpPr txBox="1"/>
          <p:nvPr/>
        </p:nvSpPr>
        <p:spPr>
          <a:xfrm>
            <a:off x="2758280" y="2077494"/>
            <a:ext cx="253274" cy="107722"/>
          </a:xfrm>
          <a:prstGeom prst="rect">
            <a:avLst/>
          </a:prstGeom>
          <a:noFill/>
          <a:effectLst/>
        </p:spPr>
        <p:txBody>
          <a:bodyPr wrap="none" lIns="0" tIns="0" rIns="0" bIns="0" rtlCol="0" anchor="t">
            <a:spAutoFit/>
          </a:bodyPr>
          <a:lstStyle/>
          <a:p>
            <a:pPr algn="ctr"/>
            <a:r>
              <a:rPr lang="en-GB" sz="700" dirty="0">
                <a:solidFill>
                  <a:schemeClr val="tx2"/>
                </a:solidFill>
              </a:rPr>
              <a:t>File AI</a:t>
            </a:r>
          </a:p>
        </p:txBody>
      </p:sp>
      <p:sp>
        <p:nvSpPr>
          <p:cNvPr id="14" name="TextBox 13">
            <a:extLst>
              <a:ext uri="{FF2B5EF4-FFF2-40B4-BE49-F238E27FC236}">
                <a16:creationId xmlns:a16="http://schemas.microsoft.com/office/drawing/2014/main" id="{E682E504-CAF8-4C50-8DF2-4A03B7BAD06A}"/>
              </a:ext>
            </a:extLst>
          </p:cNvPr>
          <p:cNvSpPr txBox="1"/>
          <p:nvPr/>
        </p:nvSpPr>
        <p:spPr>
          <a:xfrm>
            <a:off x="2698168" y="2899619"/>
            <a:ext cx="373500" cy="107722"/>
          </a:xfrm>
          <a:prstGeom prst="rect">
            <a:avLst/>
          </a:prstGeom>
          <a:noFill/>
          <a:effectLst/>
        </p:spPr>
        <p:txBody>
          <a:bodyPr wrap="none" lIns="0" tIns="0" rIns="0" bIns="0" rtlCol="0" anchor="t">
            <a:spAutoFit/>
          </a:bodyPr>
          <a:lstStyle/>
          <a:p>
            <a:pPr algn="ctr"/>
            <a:r>
              <a:rPr lang="en-GB" sz="700" dirty="0">
                <a:solidFill>
                  <a:schemeClr val="tx2"/>
                </a:solidFill>
              </a:rPr>
              <a:t>File MOV</a:t>
            </a:r>
          </a:p>
        </p:txBody>
      </p:sp>
      <p:sp>
        <p:nvSpPr>
          <p:cNvPr id="15" name="TextBox 14">
            <a:extLst>
              <a:ext uri="{FF2B5EF4-FFF2-40B4-BE49-F238E27FC236}">
                <a16:creationId xmlns:a16="http://schemas.microsoft.com/office/drawing/2014/main" id="{C9928E14-9074-40CC-BED7-57080CDE900A}"/>
              </a:ext>
            </a:extLst>
          </p:cNvPr>
          <p:cNvSpPr txBox="1"/>
          <p:nvPr/>
        </p:nvSpPr>
        <p:spPr>
          <a:xfrm>
            <a:off x="2613209" y="3723675"/>
            <a:ext cx="543418" cy="107722"/>
          </a:xfrm>
          <a:prstGeom prst="rect">
            <a:avLst/>
          </a:prstGeom>
          <a:noFill/>
          <a:effectLst/>
        </p:spPr>
        <p:txBody>
          <a:bodyPr wrap="none" lIns="0" tIns="0" rIns="0" bIns="0" rtlCol="0" anchor="t">
            <a:spAutoFit/>
          </a:bodyPr>
          <a:lstStyle/>
          <a:p>
            <a:pPr algn="ctr"/>
            <a:r>
              <a:rPr lang="en-GB" sz="700" dirty="0">
                <a:solidFill>
                  <a:schemeClr val="tx2"/>
                </a:solidFill>
              </a:rPr>
              <a:t>File MS Word</a:t>
            </a:r>
          </a:p>
        </p:txBody>
      </p:sp>
      <p:sp>
        <p:nvSpPr>
          <p:cNvPr id="16" name="TextBox 15">
            <a:extLst>
              <a:ext uri="{FF2B5EF4-FFF2-40B4-BE49-F238E27FC236}">
                <a16:creationId xmlns:a16="http://schemas.microsoft.com/office/drawing/2014/main" id="{A49CDF3A-7C05-49FF-9752-B8ABCCD991AE}"/>
              </a:ext>
            </a:extLst>
          </p:cNvPr>
          <p:cNvSpPr txBox="1"/>
          <p:nvPr/>
        </p:nvSpPr>
        <p:spPr>
          <a:xfrm>
            <a:off x="2731029" y="4547732"/>
            <a:ext cx="307778" cy="107722"/>
          </a:xfrm>
          <a:prstGeom prst="rect">
            <a:avLst/>
          </a:prstGeom>
          <a:noFill/>
          <a:effectLst/>
        </p:spPr>
        <p:txBody>
          <a:bodyPr wrap="none" lIns="0" tIns="0" rIns="0" bIns="0" rtlCol="0" anchor="t">
            <a:spAutoFit/>
          </a:bodyPr>
          <a:lstStyle/>
          <a:p>
            <a:pPr algn="ctr"/>
            <a:r>
              <a:rPr lang="en-GB" sz="700">
                <a:solidFill>
                  <a:schemeClr val="tx2"/>
                </a:solidFill>
              </a:rPr>
              <a:t>File ZIP</a:t>
            </a:r>
            <a:endParaRPr lang="en-GB" sz="700" dirty="0">
              <a:solidFill>
                <a:schemeClr val="tx2"/>
              </a:solidFill>
            </a:endParaRPr>
          </a:p>
        </p:txBody>
      </p:sp>
      <p:sp>
        <p:nvSpPr>
          <p:cNvPr id="17" name="TextBox 16">
            <a:extLst>
              <a:ext uri="{FF2B5EF4-FFF2-40B4-BE49-F238E27FC236}">
                <a16:creationId xmlns:a16="http://schemas.microsoft.com/office/drawing/2014/main" id="{5C89155F-B323-433A-AEE7-3925565C736B}"/>
              </a:ext>
            </a:extLst>
          </p:cNvPr>
          <p:cNvSpPr txBox="1"/>
          <p:nvPr/>
        </p:nvSpPr>
        <p:spPr>
          <a:xfrm>
            <a:off x="3757227" y="2077494"/>
            <a:ext cx="346249" cy="107722"/>
          </a:xfrm>
          <a:prstGeom prst="rect">
            <a:avLst/>
          </a:prstGeom>
          <a:noFill/>
          <a:effectLst/>
        </p:spPr>
        <p:txBody>
          <a:bodyPr wrap="none" lIns="0" tIns="0" rIns="0" bIns="0" rtlCol="0" anchor="t">
            <a:spAutoFit/>
          </a:bodyPr>
          <a:lstStyle/>
          <a:p>
            <a:pPr algn="ctr"/>
            <a:r>
              <a:rPr lang="en-GB" sz="700" dirty="0">
                <a:solidFill>
                  <a:schemeClr val="tx2"/>
                </a:solidFill>
              </a:rPr>
              <a:t>File EPS</a:t>
            </a:r>
          </a:p>
        </p:txBody>
      </p:sp>
      <p:sp>
        <p:nvSpPr>
          <p:cNvPr id="18" name="TextBox 17">
            <a:extLst>
              <a:ext uri="{FF2B5EF4-FFF2-40B4-BE49-F238E27FC236}">
                <a16:creationId xmlns:a16="http://schemas.microsoft.com/office/drawing/2014/main" id="{3CCD38B0-A10A-4519-AF19-3FD44B50153C}"/>
              </a:ext>
            </a:extLst>
          </p:cNvPr>
          <p:cNvSpPr txBox="1"/>
          <p:nvPr/>
        </p:nvSpPr>
        <p:spPr>
          <a:xfrm>
            <a:off x="3743603" y="2899619"/>
            <a:ext cx="373499" cy="107722"/>
          </a:xfrm>
          <a:prstGeom prst="rect">
            <a:avLst/>
          </a:prstGeom>
          <a:noFill/>
          <a:effectLst/>
        </p:spPr>
        <p:txBody>
          <a:bodyPr wrap="none" lIns="0" tIns="0" rIns="0" bIns="0" rtlCol="0" anchor="t">
            <a:spAutoFit/>
          </a:bodyPr>
          <a:lstStyle/>
          <a:p>
            <a:pPr algn="ctr"/>
            <a:r>
              <a:rPr lang="en-GB" sz="700">
                <a:solidFill>
                  <a:schemeClr val="tx2"/>
                </a:solidFill>
              </a:rPr>
              <a:t>File MPG</a:t>
            </a:r>
            <a:endParaRPr lang="en-GB" sz="700" dirty="0">
              <a:solidFill>
                <a:schemeClr val="tx2"/>
              </a:solidFill>
            </a:endParaRPr>
          </a:p>
        </p:txBody>
      </p:sp>
      <p:sp>
        <p:nvSpPr>
          <p:cNvPr id="19" name="TextBox 18">
            <a:extLst>
              <a:ext uri="{FF2B5EF4-FFF2-40B4-BE49-F238E27FC236}">
                <a16:creationId xmlns:a16="http://schemas.microsoft.com/office/drawing/2014/main" id="{95BBD417-4523-4962-B20F-5EA8CEEF9FA4}"/>
              </a:ext>
            </a:extLst>
          </p:cNvPr>
          <p:cNvSpPr txBox="1"/>
          <p:nvPr/>
        </p:nvSpPr>
        <p:spPr>
          <a:xfrm>
            <a:off x="3757225" y="3723675"/>
            <a:ext cx="346249" cy="107722"/>
          </a:xfrm>
          <a:prstGeom prst="rect">
            <a:avLst/>
          </a:prstGeom>
          <a:noFill/>
          <a:effectLst/>
        </p:spPr>
        <p:txBody>
          <a:bodyPr wrap="none" lIns="0" tIns="0" rIns="0" bIns="0" rtlCol="0" anchor="t">
            <a:spAutoFit/>
          </a:bodyPr>
          <a:lstStyle/>
          <a:p>
            <a:pPr algn="ctr"/>
            <a:r>
              <a:rPr lang="en-GB" sz="700" dirty="0">
                <a:solidFill>
                  <a:schemeClr val="tx2"/>
                </a:solidFill>
              </a:rPr>
              <a:t>File PDF</a:t>
            </a:r>
          </a:p>
        </p:txBody>
      </p:sp>
      <p:sp>
        <p:nvSpPr>
          <p:cNvPr id="20" name="TextBox 19">
            <a:extLst>
              <a:ext uri="{FF2B5EF4-FFF2-40B4-BE49-F238E27FC236}">
                <a16:creationId xmlns:a16="http://schemas.microsoft.com/office/drawing/2014/main" id="{CAD7CB18-0C30-4151-A1C1-93226A2C32F4}"/>
              </a:ext>
            </a:extLst>
          </p:cNvPr>
          <p:cNvSpPr txBox="1"/>
          <p:nvPr/>
        </p:nvSpPr>
        <p:spPr>
          <a:xfrm>
            <a:off x="3830964" y="4547732"/>
            <a:ext cx="198772" cy="107722"/>
          </a:xfrm>
          <a:prstGeom prst="rect">
            <a:avLst/>
          </a:prstGeom>
          <a:noFill/>
          <a:effectLst/>
        </p:spPr>
        <p:txBody>
          <a:bodyPr wrap="none" lIns="0" tIns="0" rIns="0" bIns="0" rtlCol="0" anchor="t">
            <a:spAutoFit/>
          </a:bodyPr>
          <a:lstStyle/>
          <a:p>
            <a:pPr algn="ctr"/>
            <a:r>
              <a:rPr lang="en-GB" sz="700" dirty="0">
                <a:solidFill>
                  <a:schemeClr val="tx2"/>
                </a:solidFill>
              </a:rPr>
              <a:t>Filter</a:t>
            </a:r>
          </a:p>
        </p:txBody>
      </p:sp>
      <p:sp>
        <p:nvSpPr>
          <p:cNvPr id="21" name="TextBox 20">
            <a:extLst>
              <a:ext uri="{FF2B5EF4-FFF2-40B4-BE49-F238E27FC236}">
                <a16:creationId xmlns:a16="http://schemas.microsoft.com/office/drawing/2014/main" id="{0D1CE005-1954-475E-840D-E53D53D54CED}"/>
              </a:ext>
            </a:extLst>
          </p:cNvPr>
          <p:cNvSpPr txBox="1"/>
          <p:nvPr/>
        </p:nvSpPr>
        <p:spPr>
          <a:xfrm>
            <a:off x="5021296" y="2077494"/>
            <a:ext cx="383117" cy="215444"/>
          </a:xfrm>
          <a:prstGeom prst="rect">
            <a:avLst/>
          </a:prstGeom>
          <a:noFill/>
          <a:effectLst/>
        </p:spPr>
        <p:txBody>
          <a:bodyPr wrap="none" lIns="0" tIns="0" rIns="0" bIns="0" rtlCol="0" anchor="t">
            <a:spAutoFit/>
          </a:bodyPr>
          <a:lstStyle/>
          <a:p>
            <a:pPr algn="ctr"/>
            <a:r>
              <a:rPr lang="en-GB" sz="700" dirty="0">
                <a:solidFill>
                  <a:schemeClr val="tx2"/>
                </a:solidFill>
              </a:rPr>
              <a:t>Financial</a:t>
            </a:r>
            <a:br>
              <a:rPr lang="en-GB" sz="700" dirty="0">
                <a:solidFill>
                  <a:schemeClr val="tx2"/>
                </a:solidFill>
              </a:rPr>
            </a:br>
            <a:r>
              <a:rPr lang="en-GB" sz="700" dirty="0">
                <a:solidFill>
                  <a:schemeClr val="tx2"/>
                </a:solidFill>
              </a:rPr>
              <a:t>indicators</a:t>
            </a:r>
          </a:p>
        </p:txBody>
      </p:sp>
      <p:sp>
        <p:nvSpPr>
          <p:cNvPr id="22" name="TextBox 21">
            <a:extLst>
              <a:ext uri="{FF2B5EF4-FFF2-40B4-BE49-F238E27FC236}">
                <a16:creationId xmlns:a16="http://schemas.microsoft.com/office/drawing/2014/main" id="{E110912C-C00E-4328-84B8-62528A4222FC}"/>
              </a:ext>
            </a:extLst>
          </p:cNvPr>
          <p:cNvSpPr txBox="1"/>
          <p:nvPr/>
        </p:nvSpPr>
        <p:spPr>
          <a:xfrm>
            <a:off x="5030114" y="2899619"/>
            <a:ext cx="365485" cy="107722"/>
          </a:xfrm>
          <a:prstGeom prst="rect">
            <a:avLst/>
          </a:prstGeom>
          <a:noFill/>
          <a:effectLst/>
        </p:spPr>
        <p:txBody>
          <a:bodyPr wrap="none" lIns="0" tIns="0" rIns="0" bIns="0" rtlCol="0" anchor="t">
            <a:spAutoFit/>
          </a:bodyPr>
          <a:lstStyle/>
          <a:p>
            <a:pPr algn="ctr"/>
            <a:r>
              <a:rPr lang="en-GB" sz="700" dirty="0">
                <a:solidFill>
                  <a:schemeClr val="tx2"/>
                </a:solidFill>
              </a:rPr>
              <a:t>Flexibility</a:t>
            </a:r>
          </a:p>
        </p:txBody>
      </p:sp>
      <p:sp>
        <p:nvSpPr>
          <p:cNvPr id="23" name="TextBox 22">
            <a:extLst>
              <a:ext uri="{FF2B5EF4-FFF2-40B4-BE49-F238E27FC236}">
                <a16:creationId xmlns:a16="http://schemas.microsoft.com/office/drawing/2014/main" id="{5EA887A4-F602-4BE6-9868-DFA6830AF3E4}"/>
              </a:ext>
            </a:extLst>
          </p:cNvPr>
          <p:cNvSpPr txBox="1"/>
          <p:nvPr/>
        </p:nvSpPr>
        <p:spPr>
          <a:xfrm>
            <a:off x="5001259" y="3723675"/>
            <a:ext cx="423194" cy="107722"/>
          </a:xfrm>
          <a:prstGeom prst="rect">
            <a:avLst/>
          </a:prstGeom>
          <a:noFill/>
          <a:effectLst/>
        </p:spPr>
        <p:txBody>
          <a:bodyPr wrap="none" lIns="0" tIns="0" rIns="0" bIns="0" rtlCol="0" anchor="t">
            <a:spAutoFit/>
          </a:bodyPr>
          <a:lstStyle/>
          <a:p>
            <a:pPr algn="ctr"/>
            <a:r>
              <a:rPr lang="en-GB" sz="700" dirty="0">
                <a:solidFill>
                  <a:schemeClr val="tx2"/>
                </a:solidFill>
              </a:rPr>
              <a:t>Food drink</a:t>
            </a:r>
          </a:p>
        </p:txBody>
      </p:sp>
      <p:sp>
        <p:nvSpPr>
          <p:cNvPr id="24" name="TextBox 23">
            <a:extLst>
              <a:ext uri="{FF2B5EF4-FFF2-40B4-BE49-F238E27FC236}">
                <a16:creationId xmlns:a16="http://schemas.microsoft.com/office/drawing/2014/main" id="{4DBED3F3-0C72-4C6C-AEB1-881E395E7E6B}"/>
              </a:ext>
            </a:extLst>
          </p:cNvPr>
          <p:cNvSpPr txBox="1"/>
          <p:nvPr/>
        </p:nvSpPr>
        <p:spPr>
          <a:xfrm>
            <a:off x="5110263" y="4547732"/>
            <a:ext cx="205184" cy="107722"/>
          </a:xfrm>
          <a:prstGeom prst="rect">
            <a:avLst/>
          </a:prstGeom>
          <a:noFill/>
          <a:effectLst/>
        </p:spPr>
        <p:txBody>
          <a:bodyPr wrap="none" lIns="0" tIns="0" rIns="0" bIns="0" rtlCol="0" anchor="t">
            <a:spAutoFit/>
          </a:bodyPr>
          <a:lstStyle/>
          <a:p>
            <a:pPr algn="ctr"/>
            <a:r>
              <a:rPr lang="en-GB" sz="700" dirty="0">
                <a:solidFill>
                  <a:schemeClr val="tx2"/>
                </a:solidFill>
              </a:rPr>
              <a:t>Frost</a:t>
            </a:r>
          </a:p>
        </p:txBody>
      </p:sp>
      <p:sp>
        <p:nvSpPr>
          <p:cNvPr id="25" name="TextBox 24">
            <a:extLst>
              <a:ext uri="{FF2B5EF4-FFF2-40B4-BE49-F238E27FC236}">
                <a16:creationId xmlns:a16="http://schemas.microsoft.com/office/drawing/2014/main" id="{CC872A55-6976-406A-872B-D884F2D85CB5}"/>
              </a:ext>
            </a:extLst>
          </p:cNvPr>
          <p:cNvSpPr txBox="1"/>
          <p:nvPr/>
        </p:nvSpPr>
        <p:spPr>
          <a:xfrm>
            <a:off x="6069135" y="2077494"/>
            <a:ext cx="378309" cy="215444"/>
          </a:xfrm>
          <a:prstGeom prst="rect">
            <a:avLst/>
          </a:prstGeom>
          <a:noFill/>
          <a:effectLst/>
        </p:spPr>
        <p:txBody>
          <a:bodyPr wrap="none" lIns="0" tIns="0" rIns="0" bIns="0" rtlCol="0" anchor="t">
            <a:spAutoFit/>
          </a:bodyPr>
          <a:lstStyle/>
          <a:p>
            <a:pPr algn="ctr"/>
            <a:r>
              <a:rPr lang="en-GB" sz="700" dirty="0">
                <a:solidFill>
                  <a:schemeClr val="tx2"/>
                </a:solidFill>
              </a:rPr>
              <a:t>Financial</a:t>
            </a:r>
            <a:br>
              <a:rPr lang="en-GB" sz="700" dirty="0">
                <a:solidFill>
                  <a:schemeClr val="tx2"/>
                </a:solidFill>
              </a:rPr>
            </a:br>
            <a:r>
              <a:rPr lang="en-GB" sz="700" dirty="0">
                <a:solidFill>
                  <a:schemeClr val="tx2"/>
                </a:solidFill>
              </a:rPr>
              <a:t>institution</a:t>
            </a:r>
          </a:p>
        </p:txBody>
      </p:sp>
      <p:sp>
        <p:nvSpPr>
          <p:cNvPr id="26" name="TextBox 25">
            <a:extLst>
              <a:ext uri="{FF2B5EF4-FFF2-40B4-BE49-F238E27FC236}">
                <a16:creationId xmlns:a16="http://schemas.microsoft.com/office/drawing/2014/main" id="{B7F30024-8144-4F3A-90C8-FDD05819618F}"/>
              </a:ext>
            </a:extLst>
          </p:cNvPr>
          <p:cNvSpPr txBox="1"/>
          <p:nvPr/>
        </p:nvSpPr>
        <p:spPr>
          <a:xfrm>
            <a:off x="6109210" y="2899619"/>
            <a:ext cx="298160" cy="107722"/>
          </a:xfrm>
          <a:prstGeom prst="rect">
            <a:avLst/>
          </a:prstGeom>
          <a:noFill/>
          <a:effectLst/>
        </p:spPr>
        <p:txBody>
          <a:bodyPr wrap="none" lIns="0" tIns="0" rIns="0" bIns="0" rtlCol="0" anchor="t">
            <a:spAutoFit/>
          </a:bodyPr>
          <a:lstStyle/>
          <a:p>
            <a:pPr algn="ctr"/>
            <a:r>
              <a:rPr lang="en-GB" sz="700" dirty="0">
                <a:solidFill>
                  <a:schemeClr val="tx2"/>
                </a:solidFill>
              </a:rPr>
              <a:t>Flood 1</a:t>
            </a:r>
          </a:p>
        </p:txBody>
      </p:sp>
      <p:sp>
        <p:nvSpPr>
          <p:cNvPr id="27" name="TextBox 26">
            <a:extLst>
              <a:ext uri="{FF2B5EF4-FFF2-40B4-BE49-F238E27FC236}">
                <a16:creationId xmlns:a16="http://schemas.microsoft.com/office/drawing/2014/main" id="{2E9C3160-65E6-4422-BE6E-752D24F31DAF}"/>
              </a:ext>
            </a:extLst>
          </p:cNvPr>
          <p:cNvSpPr txBox="1"/>
          <p:nvPr/>
        </p:nvSpPr>
        <p:spPr>
          <a:xfrm>
            <a:off x="6153294" y="3723675"/>
            <a:ext cx="209993" cy="107722"/>
          </a:xfrm>
          <a:prstGeom prst="rect">
            <a:avLst/>
          </a:prstGeom>
          <a:noFill/>
          <a:effectLst/>
        </p:spPr>
        <p:txBody>
          <a:bodyPr wrap="none" lIns="0" tIns="0" rIns="0" bIns="0" rtlCol="0" anchor="t">
            <a:spAutoFit/>
          </a:bodyPr>
          <a:lstStyle/>
          <a:p>
            <a:pPr algn="ctr"/>
            <a:r>
              <a:rPr lang="en-GB" sz="700" dirty="0">
                <a:solidFill>
                  <a:schemeClr val="tx2"/>
                </a:solidFill>
              </a:rPr>
              <a:t>Form</a:t>
            </a:r>
          </a:p>
        </p:txBody>
      </p:sp>
      <p:sp>
        <p:nvSpPr>
          <p:cNvPr id="28" name="TextBox 27">
            <a:extLst>
              <a:ext uri="{FF2B5EF4-FFF2-40B4-BE49-F238E27FC236}">
                <a16:creationId xmlns:a16="http://schemas.microsoft.com/office/drawing/2014/main" id="{276213EC-0D43-4B6F-8DD0-93D4B2C29139}"/>
              </a:ext>
            </a:extLst>
          </p:cNvPr>
          <p:cNvSpPr txBox="1"/>
          <p:nvPr/>
        </p:nvSpPr>
        <p:spPr>
          <a:xfrm>
            <a:off x="6077149" y="4547732"/>
            <a:ext cx="362279" cy="107722"/>
          </a:xfrm>
          <a:prstGeom prst="rect">
            <a:avLst/>
          </a:prstGeom>
          <a:noFill/>
          <a:effectLst/>
        </p:spPr>
        <p:txBody>
          <a:bodyPr wrap="none" lIns="0" tIns="0" rIns="0" bIns="0" rtlCol="0" anchor="t">
            <a:spAutoFit/>
          </a:bodyPr>
          <a:lstStyle/>
          <a:p>
            <a:pPr algn="ctr"/>
            <a:r>
              <a:rPr lang="en-GB" sz="700" dirty="0">
                <a:solidFill>
                  <a:schemeClr val="tx2"/>
                </a:solidFill>
              </a:rPr>
              <a:t>Full point</a:t>
            </a:r>
          </a:p>
        </p:txBody>
      </p:sp>
      <p:sp>
        <p:nvSpPr>
          <p:cNvPr id="29" name="TextBox 28">
            <a:extLst>
              <a:ext uri="{FF2B5EF4-FFF2-40B4-BE49-F238E27FC236}">
                <a16:creationId xmlns:a16="http://schemas.microsoft.com/office/drawing/2014/main" id="{19C7EE87-7B2F-4979-B043-CE6C59289657}"/>
              </a:ext>
            </a:extLst>
          </p:cNvPr>
          <p:cNvSpPr txBox="1"/>
          <p:nvPr/>
        </p:nvSpPr>
        <p:spPr>
          <a:xfrm>
            <a:off x="7189109" y="2077494"/>
            <a:ext cx="229230" cy="107722"/>
          </a:xfrm>
          <a:prstGeom prst="rect">
            <a:avLst/>
          </a:prstGeom>
          <a:noFill/>
          <a:effectLst/>
        </p:spPr>
        <p:txBody>
          <a:bodyPr wrap="none" lIns="0" tIns="0" rIns="0" bIns="0" rtlCol="0" anchor="t">
            <a:spAutoFit/>
          </a:bodyPr>
          <a:lstStyle/>
          <a:p>
            <a:pPr algn="ctr"/>
            <a:r>
              <a:rPr lang="en-GB" sz="700">
                <a:solidFill>
                  <a:schemeClr val="tx2"/>
                </a:solidFill>
              </a:rPr>
              <a:t>Fire 1</a:t>
            </a:r>
            <a:endParaRPr lang="en-GB" sz="700" dirty="0">
              <a:solidFill>
                <a:schemeClr val="tx2"/>
              </a:solidFill>
            </a:endParaRPr>
          </a:p>
        </p:txBody>
      </p:sp>
      <p:sp>
        <p:nvSpPr>
          <p:cNvPr id="30" name="TextBox 29">
            <a:extLst>
              <a:ext uri="{FF2B5EF4-FFF2-40B4-BE49-F238E27FC236}">
                <a16:creationId xmlns:a16="http://schemas.microsoft.com/office/drawing/2014/main" id="{D6B231AA-1839-4D6D-A2A3-BDAD590B0B28}"/>
              </a:ext>
            </a:extLst>
          </p:cNvPr>
          <p:cNvSpPr txBox="1"/>
          <p:nvPr/>
        </p:nvSpPr>
        <p:spPr>
          <a:xfrm>
            <a:off x="7154645" y="2899619"/>
            <a:ext cx="298160" cy="107722"/>
          </a:xfrm>
          <a:prstGeom prst="rect">
            <a:avLst/>
          </a:prstGeom>
          <a:noFill/>
          <a:effectLst/>
        </p:spPr>
        <p:txBody>
          <a:bodyPr wrap="none" lIns="0" tIns="0" rIns="0" bIns="0" rtlCol="0" anchor="t">
            <a:spAutoFit/>
          </a:bodyPr>
          <a:lstStyle/>
          <a:p>
            <a:pPr algn="ctr"/>
            <a:r>
              <a:rPr lang="en-GB" sz="700">
                <a:solidFill>
                  <a:schemeClr val="tx2"/>
                </a:solidFill>
              </a:rPr>
              <a:t>Flood 2</a:t>
            </a:r>
            <a:endParaRPr lang="en-GB" sz="700" dirty="0">
              <a:solidFill>
                <a:schemeClr val="tx2"/>
              </a:solidFill>
            </a:endParaRPr>
          </a:p>
        </p:txBody>
      </p:sp>
      <p:sp>
        <p:nvSpPr>
          <p:cNvPr id="31" name="TextBox 30">
            <a:extLst>
              <a:ext uri="{FF2B5EF4-FFF2-40B4-BE49-F238E27FC236}">
                <a16:creationId xmlns:a16="http://schemas.microsoft.com/office/drawing/2014/main" id="{AEF9F88F-2B63-46C9-9051-2331FB2BB9FC}"/>
              </a:ext>
            </a:extLst>
          </p:cNvPr>
          <p:cNvSpPr txBox="1"/>
          <p:nvPr/>
        </p:nvSpPr>
        <p:spPr>
          <a:xfrm>
            <a:off x="7111364" y="3723675"/>
            <a:ext cx="384721" cy="107722"/>
          </a:xfrm>
          <a:prstGeom prst="rect">
            <a:avLst/>
          </a:prstGeom>
          <a:noFill/>
          <a:effectLst/>
        </p:spPr>
        <p:txBody>
          <a:bodyPr wrap="none" lIns="0" tIns="0" rIns="0" bIns="0" rtlCol="0" anchor="t">
            <a:spAutoFit/>
          </a:bodyPr>
          <a:lstStyle/>
          <a:p>
            <a:pPr algn="ctr"/>
            <a:r>
              <a:rPr lang="en-GB" sz="700">
                <a:solidFill>
                  <a:schemeClr val="tx2"/>
                </a:solidFill>
              </a:rPr>
              <a:t>Freezer 1</a:t>
            </a:r>
            <a:endParaRPr lang="en-GB" sz="700" dirty="0">
              <a:solidFill>
                <a:schemeClr val="tx2"/>
              </a:solidFill>
            </a:endParaRPr>
          </a:p>
        </p:txBody>
      </p:sp>
      <p:sp>
        <p:nvSpPr>
          <p:cNvPr id="32" name="TextBox 31">
            <a:extLst>
              <a:ext uri="{FF2B5EF4-FFF2-40B4-BE49-F238E27FC236}">
                <a16:creationId xmlns:a16="http://schemas.microsoft.com/office/drawing/2014/main" id="{6F7EEF7F-351A-441A-B060-EA0877F33AA7}"/>
              </a:ext>
            </a:extLst>
          </p:cNvPr>
          <p:cNvSpPr txBox="1"/>
          <p:nvPr/>
        </p:nvSpPr>
        <p:spPr>
          <a:xfrm>
            <a:off x="6978315" y="4547732"/>
            <a:ext cx="650819" cy="107722"/>
          </a:xfrm>
          <a:prstGeom prst="rect">
            <a:avLst/>
          </a:prstGeom>
          <a:noFill/>
          <a:effectLst/>
        </p:spPr>
        <p:txBody>
          <a:bodyPr wrap="none" lIns="0" tIns="0" rIns="0" bIns="0" rtlCol="0" anchor="t">
            <a:spAutoFit/>
          </a:bodyPr>
          <a:lstStyle/>
          <a:p>
            <a:pPr algn="ctr"/>
            <a:r>
              <a:rPr lang="en-GB" sz="700" dirty="0">
                <a:solidFill>
                  <a:schemeClr val="tx2"/>
                </a:solidFill>
              </a:rPr>
              <a:t>Full point outline</a:t>
            </a:r>
          </a:p>
        </p:txBody>
      </p:sp>
      <p:sp>
        <p:nvSpPr>
          <p:cNvPr id="33" name="TextBox 32">
            <a:extLst>
              <a:ext uri="{FF2B5EF4-FFF2-40B4-BE49-F238E27FC236}">
                <a16:creationId xmlns:a16="http://schemas.microsoft.com/office/drawing/2014/main" id="{FEACD6FC-FC95-4B0F-8A05-C30983840610}"/>
              </a:ext>
            </a:extLst>
          </p:cNvPr>
          <p:cNvSpPr txBox="1"/>
          <p:nvPr/>
        </p:nvSpPr>
        <p:spPr>
          <a:xfrm>
            <a:off x="8234543" y="2077494"/>
            <a:ext cx="229229" cy="107722"/>
          </a:xfrm>
          <a:prstGeom prst="rect">
            <a:avLst/>
          </a:prstGeom>
          <a:noFill/>
          <a:effectLst/>
        </p:spPr>
        <p:txBody>
          <a:bodyPr wrap="none" lIns="0" tIns="0" rIns="0" bIns="0" rtlCol="0" anchor="t">
            <a:spAutoFit/>
          </a:bodyPr>
          <a:lstStyle/>
          <a:p>
            <a:pPr algn="ctr"/>
            <a:r>
              <a:rPr lang="en-GB" sz="700" dirty="0">
                <a:solidFill>
                  <a:schemeClr val="tx2"/>
                </a:solidFill>
              </a:rPr>
              <a:t>Fire 2</a:t>
            </a:r>
          </a:p>
        </p:txBody>
      </p:sp>
      <p:sp>
        <p:nvSpPr>
          <p:cNvPr id="34" name="TextBox 33">
            <a:extLst>
              <a:ext uri="{FF2B5EF4-FFF2-40B4-BE49-F238E27FC236}">
                <a16:creationId xmlns:a16="http://schemas.microsoft.com/office/drawing/2014/main" id="{B14E4628-AD51-4276-941D-D0236CE50182}"/>
              </a:ext>
            </a:extLst>
          </p:cNvPr>
          <p:cNvSpPr txBox="1"/>
          <p:nvPr/>
        </p:nvSpPr>
        <p:spPr>
          <a:xfrm>
            <a:off x="8222520" y="2899619"/>
            <a:ext cx="253274" cy="107722"/>
          </a:xfrm>
          <a:prstGeom prst="rect">
            <a:avLst/>
          </a:prstGeom>
          <a:noFill/>
          <a:effectLst/>
        </p:spPr>
        <p:txBody>
          <a:bodyPr wrap="none" lIns="0" tIns="0" rIns="0" bIns="0" rtlCol="0" anchor="t">
            <a:spAutoFit/>
          </a:bodyPr>
          <a:lstStyle/>
          <a:p>
            <a:pPr algn="ctr"/>
            <a:r>
              <a:rPr lang="en-GB" sz="700">
                <a:solidFill>
                  <a:schemeClr val="tx2"/>
                </a:solidFill>
              </a:rPr>
              <a:t>Folder</a:t>
            </a:r>
            <a:endParaRPr lang="en-GB" sz="700" dirty="0" err="1">
              <a:solidFill>
                <a:schemeClr val="tx2"/>
              </a:solidFill>
            </a:endParaRPr>
          </a:p>
        </p:txBody>
      </p:sp>
      <p:sp>
        <p:nvSpPr>
          <p:cNvPr id="35" name="TextBox 34">
            <a:extLst>
              <a:ext uri="{FF2B5EF4-FFF2-40B4-BE49-F238E27FC236}">
                <a16:creationId xmlns:a16="http://schemas.microsoft.com/office/drawing/2014/main" id="{5DB33A25-469B-40DE-840B-AB423680D807}"/>
              </a:ext>
            </a:extLst>
          </p:cNvPr>
          <p:cNvSpPr txBox="1"/>
          <p:nvPr/>
        </p:nvSpPr>
        <p:spPr>
          <a:xfrm>
            <a:off x="8156796" y="3723675"/>
            <a:ext cx="384722" cy="107722"/>
          </a:xfrm>
          <a:prstGeom prst="rect">
            <a:avLst/>
          </a:prstGeom>
          <a:noFill/>
          <a:effectLst/>
        </p:spPr>
        <p:txBody>
          <a:bodyPr wrap="none" lIns="0" tIns="0" rIns="0" bIns="0" rtlCol="0" anchor="t">
            <a:spAutoFit/>
          </a:bodyPr>
          <a:lstStyle/>
          <a:p>
            <a:pPr algn="ctr"/>
            <a:r>
              <a:rPr lang="en-GB" sz="700" dirty="0">
                <a:solidFill>
                  <a:schemeClr val="tx2"/>
                </a:solidFill>
              </a:rPr>
              <a:t>Freezer 2</a:t>
            </a:r>
          </a:p>
        </p:txBody>
      </p:sp>
      <p:sp>
        <p:nvSpPr>
          <p:cNvPr id="36" name="TextBox 35">
            <a:extLst>
              <a:ext uri="{FF2B5EF4-FFF2-40B4-BE49-F238E27FC236}">
                <a16:creationId xmlns:a16="http://schemas.microsoft.com/office/drawing/2014/main" id="{AF8ACB42-77BA-4DB5-A3EE-616392853D1E}"/>
              </a:ext>
            </a:extLst>
          </p:cNvPr>
          <p:cNvSpPr txBox="1"/>
          <p:nvPr/>
        </p:nvSpPr>
        <p:spPr>
          <a:xfrm>
            <a:off x="8207291" y="4547732"/>
            <a:ext cx="283732" cy="107722"/>
          </a:xfrm>
          <a:prstGeom prst="rect">
            <a:avLst/>
          </a:prstGeom>
          <a:noFill/>
          <a:effectLst/>
        </p:spPr>
        <p:txBody>
          <a:bodyPr wrap="none" lIns="0" tIns="0" rIns="0" bIns="0" rtlCol="0" anchor="t">
            <a:spAutoFit/>
          </a:bodyPr>
          <a:lstStyle/>
          <a:p>
            <a:pPr algn="ctr"/>
            <a:r>
              <a:rPr lang="en-GB" sz="700" dirty="0">
                <a:solidFill>
                  <a:schemeClr val="tx2"/>
                </a:solidFill>
              </a:rPr>
              <a:t>Gallery</a:t>
            </a:r>
          </a:p>
        </p:txBody>
      </p:sp>
      <p:sp>
        <p:nvSpPr>
          <p:cNvPr id="182" name="Freihandform: Form 46">
            <a:extLst>
              <a:ext uri="{FF2B5EF4-FFF2-40B4-BE49-F238E27FC236}">
                <a16:creationId xmlns:a16="http://schemas.microsoft.com/office/drawing/2014/main" id="{ED4499DE-0421-4E6E-BB88-F963C4046E1A}"/>
              </a:ext>
            </a:extLst>
          </p:cNvPr>
          <p:cNvSpPr>
            <a:spLocks noChangeAspect="1"/>
          </p:cNvSpPr>
          <p:nvPr/>
        </p:nvSpPr>
        <p:spPr>
          <a:xfrm>
            <a:off x="5029688" y="3241476"/>
            <a:ext cx="366334" cy="366334"/>
          </a:xfrm>
          <a:custGeom>
            <a:avLst/>
            <a:gdLst>
              <a:gd name="connsiteX0" fmla="*/ 285750 w 304800"/>
              <a:gd name="connsiteY0" fmla="*/ 171450 h 304800"/>
              <a:gd name="connsiteX1" fmla="*/ 266700 w 304800"/>
              <a:gd name="connsiteY1" fmla="*/ 171450 h 304800"/>
              <a:gd name="connsiteX2" fmla="*/ 266700 w 304800"/>
              <a:gd name="connsiteY2" fmla="*/ 35500 h 304800"/>
              <a:gd name="connsiteX3" fmla="*/ 304543 w 304800"/>
              <a:gd name="connsiteY3" fmla="*/ 0 h 304800"/>
              <a:gd name="connsiteX4" fmla="*/ 304800 w 304800"/>
              <a:gd name="connsiteY4" fmla="*/ 0 h 304800"/>
              <a:gd name="connsiteX5" fmla="*/ 304800 w 304800"/>
              <a:gd name="connsiteY5" fmla="*/ 304800 h 304800"/>
              <a:gd name="connsiteX6" fmla="*/ 285750 w 304800"/>
              <a:gd name="connsiteY6" fmla="*/ 304800 h 304800"/>
              <a:gd name="connsiteX7" fmla="*/ 285750 w 304800"/>
              <a:gd name="connsiteY7" fmla="*/ 171450 h 304800"/>
              <a:gd name="connsiteX8" fmla="*/ 247650 w 304800"/>
              <a:gd name="connsiteY8" fmla="*/ 238 h 304800"/>
              <a:gd name="connsiteX9" fmla="*/ 228600 w 304800"/>
              <a:gd name="connsiteY9" fmla="*/ 238 h 304800"/>
              <a:gd name="connsiteX10" fmla="*/ 228600 w 304800"/>
              <a:gd name="connsiteY10" fmla="*/ 85725 h 304800"/>
              <a:gd name="connsiteX11" fmla="*/ 219075 w 304800"/>
              <a:gd name="connsiteY11" fmla="*/ 85725 h 304800"/>
              <a:gd name="connsiteX12" fmla="*/ 219075 w 304800"/>
              <a:gd name="connsiteY12" fmla="*/ 238 h 304800"/>
              <a:gd name="connsiteX13" fmla="*/ 200025 w 304800"/>
              <a:gd name="connsiteY13" fmla="*/ 238 h 304800"/>
              <a:gd name="connsiteX14" fmla="*/ 200025 w 304800"/>
              <a:gd name="connsiteY14" fmla="*/ 85725 h 304800"/>
              <a:gd name="connsiteX15" fmla="*/ 190500 w 304800"/>
              <a:gd name="connsiteY15" fmla="*/ 85725 h 304800"/>
              <a:gd name="connsiteX16" fmla="*/ 190500 w 304800"/>
              <a:gd name="connsiteY16" fmla="*/ 238 h 304800"/>
              <a:gd name="connsiteX17" fmla="*/ 171450 w 304800"/>
              <a:gd name="connsiteY17" fmla="*/ 238 h 304800"/>
              <a:gd name="connsiteX18" fmla="*/ 171450 w 304800"/>
              <a:gd name="connsiteY18" fmla="*/ 104775 h 304800"/>
              <a:gd name="connsiteX19" fmla="*/ 200025 w 304800"/>
              <a:gd name="connsiteY19" fmla="*/ 142875 h 304800"/>
              <a:gd name="connsiteX20" fmla="*/ 200025 w 304800"/>
              <a:gd name="connsiteY20" fmla="*/ 304800 h 304800"/>
              <a:gd name="connsiteX21" fmla="*/ 219075 w 304800"/>
              <a:gd name="connsiteY21" fmla="*/ 304800 h 304800"/>
              <a:gd name="connsiteX22" fmla="*/ 219075 w 304800"/>
              <a:gd name="connsiteY22" fmla="*/ 142875 h 304800"/>
              <a:gd name="connsiteX23" fmla="*/ 247650 w 304800"/>
              <a:gd name="connsiteY23" fmla="*/ 104775 h 304800"/>
              <a:gd name="connsiteX24" fmla="*/ 247650 w 304800"/>
              <a:gd name="connsiteY24" fmla="*/ 238 h 304800"/>
              <a:gd name="connsiteX25" fmla="*/ 152400 w 304800"/>
              <a:gd name="connsiteY25" fmla="*/ 104775 h 304800"/>
              <a:gd name="connsiteX26" fmla="*/ 152400 w 304800"/>
              <a:gd name="connsiteY26" fmla="*/ 10 h 304800"/>
              <a:gd name="connsiteX27" fmla="*/ 0 w 304800"/>
              <a:gd name="connsiteY27" fmla="*/ 10 h 304800"/>
              <a:gd name="connsiteX28" fmla="*/ 0 w 304800"/>
              <a:gd name="connsiteY28" fmla="*/ 104775 h 304800"/>
              <a:gd name="connsiteX29" fmla="*/ 66675 w 304800"/>
              <a:gd name="connsiteY29" fmla="*/ 180318 h 304800"/>
              <a:gd name="connsiteX30" fmla="*/ 66675 w 304800"/>
              <a:gd name="connsiteY30" fmla="*/ 285750 h 304800"/>
              <a:gd name="connsiteX31" fmla="*/ 19050 w 304800"/>
              <a:gd name="connsiteY31" fmla="*/ 285750 h 304800"/>
              <a:gd name="connsiteX32" fmla="*/ 19050 w 304800"/>
              <a:gd name="connsiteY32" fmla="*/ 304800 h 304800"/>
              <a:gd name="connsiteX33" fmla="*/ 133350 w 304800"/>
              <a:gd name="connsiteY33" fmla="*/ 304800 h 304800"/>
              <a:gd name="connsiteX34" fmla="*/ 133350 w 304800"/>
              <a:gd name="connsiteY34" fmla="*/ 285750 h 304800"/>
              <a:gd name="connsiteX35" fmla="*/ 85725 w 304800"/>
              <a:gd name="connsiteY35" fmla="*/ 285750 h 304800"/>
              <a:gd name="connsiteX36" fmla="*/ 85725 w 304800"/>
              <a:gd name="connsiteY36" fmla="*/ 180318 h 304800"/>
              <a:gd name="connsiteX37" fmla="*/ 152400 w 304800"/>
              <a:gd name="connsiteY37" fmla="*/ 104775 h 304800"/>
              <a:gd name="connsiteX38" fmla="*/ 19050 w 304800"/>
              <a:gd name="connsiteY38" fmla="*/ 104775 h 304800"/>
              <a:gd name="connsiteX39" fmla="*/ 19050 w 304800"/>
              <a:gd name="connsiteY39" fmla="*/ 19060 h 304800"/>
              <a:gd name="connsiteX40" fmla="*/ 133350 w 304800"/>
              <a:gd name="connsiteY40" fmla="*/ 19060 h 304800"/>
              <a:gd name="connsiteX41" fmla="*/ 133350 w 304800"/>
              <a:gd name="connsiteY41" fmla="*/ 104775 h 304800"/>
              <a:gd name="connsiteX42" fmla="*/ 76200 w 304800"/>
              <a:gd name="connsiteY42" fmla="*/ 161925 h 304800"/>
              <a:gd name="connsiteX43" fmla="*/ 19050 w 304800"/>
              <a:gd name="connsiteY43" fmla="*/ 10477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04800" h="304800">
                <a:moveTo>
                  <a:pt x="285750" y="171450"/>
                </a:moveTo>
                <a:lnTo>
                  <a:pt x="266700" y="171450"/>
                </a:lnTo>
                <a:lnTo>
                  <a:pt x="266700" y="35500"/>
                </a:lnTo>
                <a:cubicBezTo>
                  <a:pt x="268062" y="15688"/>
                  <a:pt x="284388" y="0"/>
                  <a:pt x="304543" y="0"/>
                </a:cubicBezTo>
                <a:lnTo>
                  <a:pt x="304800" y="0"/>
                </a:lnTo>
                <a:lnTo>
                  <a:pt x="304800" y="304800"/>
                </a:lnTo>
                <a:lnTo>
                  <a:pt x="285750" y="304800"/>
                </a:lnTo>
                <a:lnTo>
                  <a:pt x="285750" y="171450"/>
                </a:lnTo>
                <a:close/>
                <a:moveTo>
                  <a:pt x="247650" y="238"/>
                </a:moveTo>
                <a:lnTo>
                  <a:pt x="228600" y="238"/>
                </a:lnTo>
                <a:lnTo>
                  <a:pt x="228600" y="85725"/>
                </a:lnTo>
                <a:lnTo>
                  <a:pt x="219075" y="85725"/>
                </a:lnTo>
                <a:lnTo>
                  <a:pt x="219075" y="238"/>
                </a:lnTo>
                <a:lnTo>
                  <a:pt x="200025" y="238"/>
                </a:lnTo>
                <a:lnTo>
                  <a:pt x="200025" y="85725"/>
                </a:lnTo>
                <a:lnTo>
                  <a:pt x="190500" y="85725"/>
                </a:lnTo>
                <a:lnTo>
                  <a:pt x="190500" y="238"/>
                </a:lnTo>
                <a:lnTo>
                  <a:pt x="171450" y="238"/>
                </a:lnTo>
                <a:lnTo>
                  <a:pt x="171450" y="104775"/>
                </a:lnTo>
                <a:cubicBezTo>
                  <a:pt x="187862" y="109023"/>
                  <a:pt x="200025" y="125149"/>
                  <a:pt x="200025" y="142875"/>
                </a:cubicBezTo>
                <a:lnTo>
                  <a:pt x="200025" y="304800"/>
                </a:lnTo>
                <a:lnTo>
                  <a:pt x="219075" y="304800"/>
                </a:lnTo>
                <a:lnTo>
                  <a:pt x="219075" y="142875"/>
                </a:lnTo>
                <a:cubicBezTo>
                  <a:pt x="219075" y="125149"/>
                  <a:pt x="231238" y="109023"/>
                  <a:pt x="247650" y="104775"/>
                </a:cubicBezTo>
                <a:lnTo>
                  <a:pt x="247650" y="238"/>
                </a:lnTo>
                <a:close/>
                <a:moveTo>
                  <a:pt x="152400" y="104775"/>
                </a:moveTo>
                <a:lnTo>
                  <a:pt x="152400" y="10"/>
                </a:lnTo>
                <a:lnTo>
                  <a:pt x="0" y="10"/>
                </a:lnTo>
                <a:lnTo>
                  <a:pt x="0" y="104775"/>
                </a:lnTo>
                <a:cubicBezTo>
                  <a:pt x="0" y="143561"/>
                  <a:pt x="29147" y="175603"/>
                  <a:pt x="66675" y="180318"/>
                </a:cubicBezTo>
                <a:lnTo>
                  <a:pt x="66675" y="285750"/>
                </a:lnTo>
                <a:lnTo>
                  <a:pt x="19050" y="285750"/>
                </a:lnTo>
                <a:lnTo>
                  <a:pt x="19050" y="304800"/>
                </a:lnTo>
                <a:lnTo>
                  <a:pt x="133350" y="304800"/>
                </a:lnTo>
                <a:lnTo>
                  <a:pt x="133350" y="285750"/>
                </a:lnTo>
                <a:lnTo>
                  <a:pt x="85725" y="285750"/>
                </a:lnTo>
                <a:lnTo>
                  <a:pt x="85725" y="180318"/>
                </a:lnTo>
                <a:cubicBezTo>
                  <a:pt x="123253" y="175603"/>
                  <a:pt x="152400" y="143561"/>
                  <a:pt x="152400" y="104775"/>
                </a:cubicBezTo>
                <a:close/>
                <a:moveTo>
                  <a:pt x="19050" y="104775"/>
                </a:moveTo>
                <a:lnTo>
                  <a:pt x="19050" y="19060"/>
                </a:lnTo>
                <a:lnTo>
                  <a:pt x="133350" y="19060"/>
                </a:lnTo>
                <a:lnTo>
                  <a:pt x="133350" y="104775"/>
                </a:lnTo>
                <a:cubicBezTo>
                  <a:pt x="133350" y="136293"/>
                  <a:pt x="107718" y="161925"/>
                  <a:pt x="76200" y="161925"/>
                </a:cubicBezTo>
                <a:cubicBezTo>
                  <a:pt x="44682" y="161925"/>
                  <a:pt x="19050" y="136293"/>
                  <a:pt x="19050" y="104775"/>
                </a:cubicBezTo>
                <a:close/>
              </a:path>
            </a:pathLst>
          </a:custGeom>
          <a:solidFill>
            <a:schemeClr val="tx2"/>
          </a:solidFill>
          <a:ln w="9525" cap="flat">
            <a:noFill/>
            <a:prstDash val="solid"/>
            <a:miter/>
          </a:ln>
        </p:spPr>
        <p:txBody>
          <a:bodyPr rtlCol="0" anchor="ctr"/>
          <a:lstStyle/>
          <a:p>
            <a:endParaRPr lang="en-GB" dirty="0"/>
          </a:p>
        </p:txBody>
      </p:sp>
      <p:sp>
        <p:nvSpPr>
          <p:cNvPr id="184" name="Freeform 18">
            <a:extLst>
              <a:ext uri="{FF2B5EF4-FFF2-40B4-BE49-F238E27FC236}">
                <a16:creationId xmlns:a16="http://schemas.microsoft.com/office/drawing/2014/main" id="{8D6AAAC2-709D-4C90-9C46-AFF3FA76EF6E}"/>
              </a:ext>
            </a:extLst>
          </p:cNvPr>
          <p:cNvSpPr>
            <a:spLocks noEditPoints="1"/>
          </p:cNvSpPr>
          <p:nvPr/>
        </p:nvSpPr>
        <p:spPr bwMode="auto">
          <a:xfrm>
            <a:off x="5006480" y="1681234"/>
            <a:ext cx="412750" cy="323850"/>
          </a:xfrm>
          <a:custGeom>
            <a:avLst/>
            <a:gdLst>
              <a:gd name="T0" fmla="*/ 144 w 260"/>
              <a:gd name="T1" fmla="*/ 112 h 204"/>
              <a:gd name="T2" fmla="*/ 217 w 260"/>
              <a:gd name="T3" fmla="*/ 33 h 204"/>
              <a:gd name="T4" fmla="*/ 217 w 260"/>
              <a:gd name="T5" fmla="*/ 57 h 204"/>
              <a:gd name="T6" fmla="*/ 142 w 260"/>
              <a:gd name="T7" fmla="*/ 135 h 204"/>
              <a:gd name="T8" fmla="*/ 104 w 260"/>
              <a:gd name="T9" fmla="*/ 88 h 204"/>
              <a:gd name="T10" fmla="*/ 43 w 260"/>
              <a:gd name="T11" fmla="*/ 157 h 204"/>
              <a:gd name="T12" fmla="*/ 43 w 260"/>
              <a:gd name="T13" fmla="*/ 133 h 204"/>
              <a:gd name="T14" fmla="*/ 104 w 260"/>
              <a:gd name="T15" fmla="*/ 63 h 204"/>
              <a:gd name="T16" fmla="*/ 144 w 260"/>
              <a:gd name="T17" fmla="*/ 112 h 204"/>
              <a:gd name="T18" fmla="*/ 0 w 260"/>
              <a:gd name="T19" fmla="*/ 204 h 204"/>
              <a:gd name="T20" fmla="*/ 0 w 260"/>
              <a:gd name="T21" fmla="*/ 0 h 204"/>
              <a:gd name="T22" fmla="*/ 260 w 260"/>
              <a:gd name="T23" fmla="*/ 0 h 204"/>
              <a:gd name="T24" fmla="*/ 260 w 260"/>
              <a:gd name="T25" fmla="*/ 204 h 204"/>
              <a:gd name="T26" fmla="*/ 0 w 260"/>
              <a:gd name="T27" fmla="*/ 204 h 204"/>
              <a:gd name="T28" fmla="*/ 16 w 260"/>
              <a:gd name="T29" fmla="*/ 188 h 204"/>
              <a:gd name="T30" fmla="*/ 244 w 260"/>
              <a:gd name="T31" fmla="*/ 188 h 204"/>
              <a:gd name="T32" fmla="*/ 244 w 260"/>
              <a:gd name="T33" fmla="*/ 16 h 204"/>
              <a:gd name="T34" fmla="*/ 16 w 260"/>
              <a:gd name="T35" fmla="*/ 16 h 204"/>
              <a:gd name="T36" fmla="*/ 16 w 260"/>
              <a:gd name="T37" fmla="*/ 188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0" h="204">
                <a:moveTo>
                  <a:pt x="144" y="112"/>
                </a:moveTo>
                <a:lnTo>
                  <a:pt x="217" y="33"/>
                </a:lnTo>
                <a:lnTo>
                  <a:pt x="217" y="57"/>
                </a:lnTo>
                <a:lnTo>
                  <a:pt x="142" y="135"/>
                </a:lnTo>
                <a:lnTo>
                  <a:pt x="104" y="88"/>
                </a:lnTo>
                <a:lnTo>
                  <a:pt x="43" y="157"/>
                </a:lnTo>
                <a:lnTo>
                  <a:pt x="43" y="133"/>
                </a:lnTo>
                <a:lnTo>
                  <a:pt x="104" y="63"/>
                </a:lnTo>
                <a:lnTo>
                  <a:pt x="144" y="112"/>
                </a:lnTo>
                <a:close/>
                <a:moveTo>
                  <a:pt x="0" y="204"/>
                </a:moveTo>
                <a:lnTo>
                  <a:pt x="0" y="0"/>
                </a:lnTo>
                <a:lnTo>
                  <a:pt x="260" y="0"/>
                </a:lnTo>
                <a:lnTo>
                  <a:pt x="260" y="204"/>
                </a:lnTo>
                <a:lnTo>
                  <a:pt x="0" y="204"/>
                </a:lnTo>
                <a:close/>
                <a:moveTo>
                  <a:pt x="16" y="188"/>
                </a:moveTo>
                <a:lnTo>
                  <a:pt x="244" y="188"/>
                </a:lnTo>
                <a:lnTo>
                  <a:pt x="244" y="16"/>
                </a:lnTo>
                <a:lnTo>
                  <a:pt x="16" y="16"/>
                </a:lnTo>
                <a:lnTo>
                  <a:pt x="16" y="18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1" name="Freeform 22">
            <a:extLst>
              <a:ext uri="{FF2B5EF4-FFF2-40B4-BE49-F238E27FC236}">
                <a16:creationId xmlns:a16="http://schemas.microsoft.com/office/drawing/2014/main" id="{710D73DF-EC72-4750-8F93-4EF62D822E33}"/>
              </a:ext>
            </a:extLst>
          </p:cNvPr>
          <p:cNvSpPr>
            <a:spLocks noEditPoints="1"/>
          </p:cNvSpPr>
          <p:nvPr/>
        </p:nvSpPr>
        <p:spPr bwMode="auto">
          <a:xfrm>
            <a:off x="6051123" y="1592334"/>
            <a:ext cx="414337" cy="412750"/>
          </a:xfrm>
          <a:custGeom>
            <a:avLst/>
            <a:gdLst>
              <a:gd name="T0" fmla="*/ 130 w 261"/>
              <a:gd name="T1" fmla="*/ 0 h 260"/>
              <a:gd name="T2" fmla="*/ 0 w 261"/>
              <a:gd name="T3" fmla="*/ 75 h 260"/>
              <a:gd name="T4" fmla="*/ 0 w 261"/>
              <a:gd name="T5" fmla="*/ 97 h 260"/>
              <a:gd name="T6" fmla="*/ 261 w 261"/>
              <a:gd name="T7" fmla="*/ 97 h 260"/>
              <a:gd name="T8" fmla="*/ 261 w 261"/>
              <a:gd name="T9" fmla="*/ 75 h 260"/>
              <a:gd name="T10" fmla="*/ 130 w 261"/>
              <a:gd name="T11" fmla="*/ 0 h 260"/>
              <a:gd name="T12" fmla="*/ 130 w 261"/>
              <a:gd name="T13" fmla="*/ 18 h 260"/>
              <a:gd name="T14" fmla="*/ 238 w 261"/>
              <a:gd name="T15" fmla="*/ 81 h 260"/>
              <a:gd name="T16" fmla="*/ 22 w 261"/>
              <a:gd name="T17" fmla="*/ 81 h 260"/>
              <a:gd name="T18" fmla="*/ 130 w 261"/>
              <a:gd name="T19" fmla="*/ 18 h 260"/>
              <a:gd name="T20" fmla="*/ 261 w 261"/>
              <a:gd name="T21" fmla="*/ 260 h 260"/>
              <a:gd name="T22" fmla="*/ 0 w 261"/>
              <a:gd name="T23" fmla="*/ 260 h 260"/>
              <a:gd name="T24" fmla="*/ 0 w 261"/>
              <a:gd name="T25" fmla="*/ 244 h 260"/>
              <a:gd name="T26" fmla="*/ 261 w 261"/>
              <a:gd name="T27" fmla="*/ 244 h 260"/>
              <a:gd name="T28" fmla="*/ 261 w 261"/>
              <a:gd name="T29" fmla="*/ 260 h 260"/>
              <a:gd name="T30" fmla="*/ 114 w 261"/>
              <a:gd name="T31" fmla="*/ 227 h 260"/>
              <a:gd name="T32" fmla="*/ 82 w 261"/>
              <a:gd name="T33" fmla="*/ 227 h 260"/>
              <a:gd name="T34" fmla="*/ 82 w 261"/>
              <a:gd name="T35" fmla="*/ 114 h 260"/>
              <a:gd name="T36" fmla="*/ 114 w 261"/>
              <a:gd name="T37" fmla="*/ 114 h 260"/>
              <a:gd name="T38" fmla="*/ 114 w 261"/>
              <a:gd name="T39" fmla="*/ 227 h 260"/>
              <a:gd name="T40" fmla="*/ 179 w 261"/>
              <a:gd name="T41" fmla="*/ 227 h 260"/>
              <a:gd name="T42" fmla="*/ 147 w 261"/>
              <a:gd name="T43" fmla="*/ 227 h 260"/>
              <a:gd name="T44" fmla="*/ 147 w 261"/>
              <a:gd name="T45" fmla="*/ 114 h 260"/>
              <a:gd name="T46" fmla="*/ 179 w 261"/>
              <a:gd name="T47" fmla="*/ 114 h 260"/>
              <a:gd name="T48" fmla="*/ 179 w 261"/>
              <a:gd name="T49" fmla="*/ 227 h 260"/>
              <a:gd name="T50" fmla="*/ 245 w 261"/>
              <a:gd name="T51" fmla="*/ 227 h 260"/>
              <a:gd name="T52" fmla="*/ 212 w 261"/>
              <a:gd name="T53" fmla="*/ 227 h 260"/>
              <a:gd name="T54" fmla="*/ 212 w 261"/>
              <a:gd name="T55" fmla="*/ 114 h 260"/>
              <a:gd name="T56" fmla="*/ 245 w 261"/>
              <a:gd name="T57" fmla="*/ 114 h 260"/>
              <a:gd name="T58" fmla="*/ 245 w 261"/>
              <a:gd name="T59" fmla="*/ 227 h 260"/>
              <a:gd name="T60" fmla="*/ 49 w 261"/>
              <a:gd name="T61" fmla="*/ 227 h 260"/>
              <a:gd name="T62" fmla="*/ 16 w 261"/>
              <a:gd name="T63" fmla="*/ 227 h 260"/>
              <a:gd name="T64" fmla="*/ 16 w 261"/>
              <a:gd name="T65" fmla="*/ 114 h 260"/>
              <a:gd name="T66" fmla="*/ 49 w 261"/>
              <a:gd name="T67" fmla="*/ 114 h 260"/>
              <a:gd name="T68" fmla="*/ 49 w 261"/>
              <a:gd name="T69" fmla="*/ 22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1" h="260">
                <a:moveTo>
                  <a:pt x="130" y="0"/>
                </a:moveTo>
                <a:lnTo>
                  <a:pt x="0" y="75"/>
                </a:lnTo>
                <a:lnTo>
                  <a:pt x="0" y="97"/>
                </a:lnTo>
                <a:lnTo>
                  <a:pt x="261" y="97"/>
                </a:lnTo>
                <a:lnTo>
                  <a:pt x="261" y="75"/>
                </a:lnTo>
                <a:lnTo>
                  <a:pt x="130" y="0"/>
                </a:lnTo>
                <a:close/>
                <a:moveTo>
                  <a:pt x="130" y="18"/>
                </a:moveTo>
                <a:lnTo>
                  <a:pt x="238" y="81"/>
                </a:lnTo>
                <a:lnTo>
                  <a:pt x="22" y="81"/>
                </a:lnTo>
                <a:lnTo>
                  <a:pt x="130" y="18"/>
                </a:lnTo>
                <a:close/>
                <a:moveTo>
                  <a:pt x="261" y="260"/>
                </a:moveTo>
                <a:lnTo>
                  <a:pt x="0" y="260"/>
                </a:lnTo>
                <a:lnTo>
                  <a:pt x="0" y="244"/>
                </a:lnTo>
                <a:lnTo>
                  <a:pt x="261" y="244"/>
                </a:lnTo>
                <a:lnTo>
                  <a:pt x="261" y="260"/>
                </a:lnTo>
                <a:close/>
                <a:moveTo>
                  <a:pt x="114" y="227"/>
                </a:moveTo>
                <a:lnTo>
                  <a:pt x="82" y="227"/>
                </a:lnTo>
                <a:lnTo>
                  <a:pt x="82" y="114"/>
                </a:lnTo>
                <a:lnTo>
                  <a:pt x="114" y="114"/>
                </a:lnTo>
                <a:lnTo>
                  <a:pt x="114" y="227"/>
                </a:lnTo>
                <a:close/>
                <a:moveTo>
                  <a:pt x="179" y="227"/>
                </a:moveTo>
                <a:lnTo>
                  <a:pt x="147" y="227"/>
                </a:lnTo>
                <a:lnTo>
                  <a:pt x="147" y="114"/>
                </a:lnTo>
                <a:lnTo>
                  <a:pt x="179" y="114"/>
                </a:lnTo>
                <a:lnTo>
                  <a:pt x="179" y="227"/>
                </a:lnTo>
                <a:close/>
                <a:moveTo>
                  <a:pt x="245" y="227"/>
                </a:moveTo>
                <a:lnTo>
                  <a:pt x="212" y="227"/>
                </a:lnTo>
                <a:lnTo>
                  <a:pt x="212" y="114"/>
                </a:lnTo>
                <a:lnTo>
                  <a:pt x="245" y="114"/>
                </a:lnTo>
                <a:lnTo>
                  <a:pt x="245" y="227"/>
                </a:lnTo>
                <a:close/>
                <a:moveTo>
                  <a:pt x="49" y="227"/>
                </a:moveTo>
                <a:lnTo>
                  <a:pt x="16" y="227"/>
                </a:lnTo>
                <a:lnTo>
                  <a:pt x="16" y="114"/>
                </a:lnTo>
                <a:lnTo>
                  <a:pt x="49" y="114"/>
                </a:lnTo>
                <a:lnTo>
                  <a:pt x="49" y="22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2" name="Freeform 26">
            <a:extLst>
              <a:ext uri="{FF2B5EF4-FFF2-40B4-BE49-F238E27FC236}">
                <a16:creationId xmlns:a16="http://schemas.microsoft.com/office/drawing/2014/main" id="{2A1EA960-46CD-4D99-9C10-A4F3F5DEB4F9}"/>
              </a:ext>
            </a:extLst>
          </p:cNvPr>
          <p:cNvSpPr>
            <a:spLocks noEditPoints="1"/>
          </p:cNvSpPr>
          <p:nvPr/>
        </p:nvSpPr>
        <p:spPr bwMode="auto">
          <a:xfrm>
            <a:off x="7159261" y="1590746"/>
            <a:ext cx="287338" cy="414338"/>
          </a:xfrm>
          <a:custGeom>
            <a:avLst/>
            <a:gdLst>
              <a:gd name="T0" fmla="*/ 44 w 88"/>
              <a:gd name="T1" fmla="*/ 128 h 128"/>
              <a:gd name="T2" fmla="*/ 0 w 88"/>
              <a:gd name="T3" fmla="*/ 92 h 128"/>
              <a:gd name="T4" fmla="*/ 8 w 88"/>
              <a:gd name="T5" fmla="*/ 36 h 128"/>
              <a:gd name="T6" fmla="*/ 24 w 88"/>
              <a:gd name="T7" fmla="*/ 60 h 128"/>
              <a:gd name="T8" fmla="*/ 40 w 88"/>
              <a:gd name="T9" fmla="*/ 0 h 128"/>
              <a:gd name="T10" fmla="*/ 64 w 88"/>
              <a:gd name="T11" fmla="*/ 76 h 128"/>
              <a:gd name="T12" fmla="*/ 80 w 88"/>
              <a:gd name="T13" fmla="*/ 44 h 128"/>
              <a:gd name="T14" fmla="*/ 88 w 88"/>
              <a:gd name="T15" fmla="*/ 92 h 128"/>
              <a:gd name="T16" fmla="*/ 44 w 88"/>
              <a:gd name="T17" fmla="*/ 128 h 128"/>
              <a:gd name="T18" fmla="*/ 44 w 88"/>
              <a:gd name="T19" fmla="*/ 128 h 128"/>
              <a:gd name="T20" fmla="*/ 63 w 88"/>
              <a:gd name="T21" fmla="*/ 112 h 128"/>
              <a:gd name="T22" fmla="*/ 60 w 88"/>
              <a:gd name="T23" fmla="*/ 88 h 128"/>
              <a:gd name="T24" fmla="*/ 53 w 88"/>
              <a:gd name="T25" fmla="*/ 98 h 128"/>
              <a:gd name="T26" fmla="*/ 46 w 88"/>
              <a:gd name="T27" fmla="*/ 72 h 128"/>
              <a:gd name="T28" fmla="*/ 35 w 88"/>
              <a:gd name="T29" fmla="*/ 105 h 128"/>
              <a:gd name="T30" fmla="*/ 28 w 88"/>
              <a:gd name="T31" fmla="*/ 91 h 128"/>
              <a:gd name="T32" fmla="*/ 25 w 88"/>
              <a:gd name="T33" fmla="*/ 112 h 128"/>
              <a:gd name="T34" fmla="*/ 44 w 88"/>
              <a:gd name="T35"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8" h="128">
                <a:moveTo>
                  <a:pt x="44" y="128"/>
                </a:moveTo>
                <a:cubicBezTo>
                  <a:pt x="13" y="128"/>
                  <a:pt x="0" y="108"/>
                  <a:pt x="0" y="92"/>
                </a:cubicBezTo>
                <a:cubicBezTo>
                  <a:pt x="0" y="76"/>
                  <a:pt x="15" y="61"/>
                  <a:pt x="8" y="36"/>
                </a:cubicBezTo>
                <a:cubicBezTo>
                  <a:pt x="24" y="44"/>
                  <a:pt x="24" y="53"/>
                  <a:pt x="24" y="60"/>
                </a:cubicBezTo>
                <a:cubicBezTo>
                  <a:pt x="56" y="36"/>
                  <a:pt x="44" y="8"/>
                  <a:pt x="40" y="0"/>
                </a:cubicBezTo>
                <a:cubicBezTo>
                  <a:pt x="84" y="20"/>
                  <a:pt x="48" y="60"/>
                  <a:pt x="64" y="76"/>
                </a:cubicBezTo>
                <a:cubicBezTo>
                  <a:pt x="64" y="63"/>
                  <a:pt x="64" y="52"/>
                  <a:pt x="80" y="44"/>
                </a:cubicBezTo>
                <a:cubicBezTo>
                  <a:pt x="68" y="60"/>
                  <a:pt x="88" y="76"/>
                  <a:pt x="88" y="92"/>
                </a:cubicBezTo>
                <a:cubicBezTo>
                  <a:pt x="88" y="108"/>
                  <a:pt x="75" y="128"/>
                  <a:pt x="44" y="128"/>
                </a:cubicBezTo>
                <a:close/>
                <a:moveTo>
                  <a:pt x="44" y="128"/>
                </a:moveTo>
                <a:cubicBezTo>
                  <a:pt x="57" y="128"/>
                  <a:pt x="63" y="119"/>
                  <a:pt x="63" y="112"/>
                </a:cubicBezTo>
                <a:cubicBezTo>
                  <a:pt x="63" y="105"/>
                  <a:pt x="57" y="99"/>
                  <a:pt x="60" y="88"/>
                </a:cubicBezTo>
                <a:cubicBezTo>
                  <a:pt x="53" y="91"/>
                  <a:pt x="53" y="95"/>
                  <a:pt x="53" y="98"/>
                </a:cubicBezTo>
                <a:cubicBezTo>
                  <a:pt x="39" y="88"/>
                  <a:pt x="44" y="76"/>
                  <a:pt x="46" y="72"/>
                </a:cubicBezTo>
                <a:cubicBezTo>
                  <a:pt x="26" y="81"/>
                  <a:pt x="42" y="98"/>
                  <a:pt x="35" y="105"/>
                </a:cubicBezTo>
                <a:cubicBezTo>
                  <a:pt x="35" y="100"/>
                  <a:pt x="35" y="95"/>
                  <a:pt x="28" y="91"/>
                </a:cubicBezTo>
                <a:cubicBezTo>
                  <a:pt x="33" y="98"/>
                  <a:pt x="25" y="105"/>
                  <a:pt x="25" y="112"/>
                </a:cubicBezTo>
                <a:cubicBezTo>
                  <a:pt x="25" y="119"/>
                  <a:pt x="31" y="128"/>
                  <a:pt x="44" y="12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3" name="Freeform 30">
            <a:extLst>
              <a:ext uri="{FF2B5EF4-FFF2-40B4-BE49-F238E27FC236}">
                <a16:creationId xmlns:a16="http://schemas.microsoft.com/office/drawing/2014/main" id="{2626573C-323A-4B2B-A2AF-69C3016CE809}"/>
              </a:ext>
            </a:extLst>
          </p:cNvPr>
          <p:cNvSpPr>
            <a:spLocks/>
          </p:cNvSpPr>
          <p:nvPr/>
        </p:nvSpPr>
        <p:spPr bwMode="auto">
          <a:xfrm>
            <a:off x="8205488" y="1590746"/>
            <a:ext cx="287338" cy="414338"/>
          </a:xfrm>
          <a:custGeom>
            <a:avLst/>
            <a:gdLst>
              <a:gd name="T0" fmla="*/ 64 w 88"/>
              <a:gd name="T1" fmla="*/ 38 h 128"/>
              <a:gd name="T2" fmla="*/ 59 w 88"/>
              <a:gd name="T3" fmla="*/ 56 h 128"/>
              <a:gd name="T4" fmla="*/ 54 w 88"/>
              <a:gd name="T5" fmla="*/ 68 h 128"/>
              <a:gd name="T6" fmla="*/ 69 w 88"/>
              <a:gd name="T7" fmla="*/ 84 h 128"/>
              <a:gd name="T8" fmla="*/ 85 w 88"/>
              <a:gd name="T9" fmla="*/ 69 h 128"/>
              <a:gd name="T10" fmla="*/ 88 w 88"/>
              <a:gd name="T11" fmla="*/ 84 h 128"/>
              <a:gd name="T12" fmla="*/ 44 w 88"/>
              <a:gd name="T13" fmla="*/ 128 h 128"/>
              <a:gd name="T14" fmla="*/ 27 w 88"/>
              <a:gd name="T15" fmla="*/ 73 h 128"/>
              <a:gd name="T16" fmla="*/ 19 w 88"/>
              <a:gd name="T17" fmla="*/ 120 h 128"/>
              <a:gd name="T18" fmla="*/ 0 w 88"/>
              <a:gd name="T19" fmla="*/ 84 h 128"/>
              <a:gd name="T20" fmla="*/ 13 w 88"/>
              <a:gd name="T21" fmla="*/ 53 h 128"/>
              <a:gd name="T22" fmla="*/ 37 w 88"/>
              <a:gd name="T23" fmla="*/ 30 h 128"/>
              <a:gd name="T24" fmla="*/ 37 w 88"/>
              <a:gd name="T25" fmla="*/ 0 h 128"/>
              <a:gd name="T26" fmla="*/ 64 w 88"/>
              <a:gd name="T27" fmla="*/ 3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 h="128">
                <a:moveTo>
                  <a:pt x="64" y="38"/>
                </a:moveTo>
                <a:cubicBezTo>
                  <a:pt x="64" y="47"/>
                  <a:pt x="62" y="52"/>
                  <a:pt x="59" y="56"/>
                </a:cubicBezTo>
                <a:cubicBezTo>
                  <a:pt x="57" y="60"/>
                  <a:pt x="54" y="63"/>
                  <a:pt x="54" y="68"/>
                </a:cubicBezTo>
                <a:cubicBezTo>
                  <a:pt x="54" y="77"/>
                  <a:pt x="60" y="84"/>
                  <a:pt x="69" y="84"/>
                </a:cubicBezTo>
                <a:cubicBezTo>
                  <a:pt x="78" y="84"/>
                  <a:pt x="85" y="77"/>
                  <a:pt x="85" y="69"/>
                </a:cubicBezTo>
                <a:cubicBezTo>
                  <a:pt x="87" y="73"/>
                  <a:pt x="88" y="79"/>
                  <a:pt x="88" y="84"/>
                </a:cubicBezTo>
                <a:cubicBezTo>
                  <a:pt x="88" y="108"/>
                  <a:pt x="68" y="128"/>
                  <a:pt x="44" y="128"/>
                </a:cubicBezTo>
                <a:cubicBezTo>
                  <a:pt x="44" y="106"/>
                  <a:pt x="22" y="106"/>
                  <a:pt x="27" y="73"/>
                </a:cubicBezTo>
                <a:cubicBezTo>
                  <a:pt x="22" y="78"/>
                  <a:pt x="8" y="93"/>
                  <a:pt x="19" y="120"/>
                </a:cubicBezTo>
                <a:cubicBezTo>
                  <a:pt x="7" y="112"/>
                  <a:pt x="0" y="99"/>
                  <a:pt x="0" y="84"/>
                </a:cubicBezTo>
                <a:cubicBezTo>
                  <a:pt x="0" y="72"/>
                  <a:pt x="5" y="61"/>
                  <a:pt x="13" y="53"/>
                </a:cubicBezTo>
                <a:cubicBezTo>
                  <a:pt x="18" y="47"/>
                  <a:pt x="32" y="40"/>
                  <a:pt x="37" y="30"/>
                </a:cubicBezTo>
                <a:cubicBezTo>
                  <a:pt x="45" y="12"/>
                  <a:pt x="37" y="0"/>
                  <a:pt x="37" y="0"/>
                </a:cubicBezTo>
                <a:cubicBezTo>
                  <a:pt x="37" y="0"/>
                  <a:pt x="64" y="13"/>
                  <a:pt x="64" y="3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4" name="Freeform 61">
            <a:extLst>
              <a:ext uri="{FF2B5EF4-FFF2-40B4-BE49-F238E27FC236}">
                <a16:creationId xmlns:a16="http://schemas.microsoft.com/office/drawing/2014/main" id="{45C9761E-D7CB-4ECD-B6D0-6EE250C271F3}"/>
              </a:ext>
            </a:extLst>
          </p:cNvPr>
          <p:cNvSpPr>
            <a:spLocks noEditPoints="1"/>
          </p:cNvSpPr>
          <p:nvPr/>
        </p:nvSpPr>
        <p:spPr bwMode="auto">
          <a:xfrm>
            <a:off x="1632314" y="1592334"/>
            <a:ext cx="414338" cy="412750"/>
          </a:xfrm>
          <a:custGeom>
            <a:avLst/>
            <a:gdLst>
              <a:gd name="T0" fmla="*/ 128 w 128"/>
              <a:gd name="T1" fmla="*/ 40 h 128"/>
              <a:gd name="T2" fmla="*/ 128 w 128"/>
              <a:gd name="T3" fmla="*/ 128 h 128"/>
              <a:gd name="T4" fmla="*/ 96 w 128"/>
              <a:gd name="T5" fmla="*/ 128 h 128"/>
              <a:gd name="T6" fmla="*/ 96 w 128"/>
              <a:gd name="T7" fmla="*/ 120 h 128"/>
              <a:gd name="T8" fmla="*/ 120 w 128"/>
              <a:gd name="T9" fmla="*/ 120 h 128"/>
              <a:gd name="T10" fmla="*/ 120 w 128"/>
              <a:gd name="T11" fmla="*/ 40 h 128"/>
              <a:gd name="T12" fmla="*/ 88 w 128"/>
              <a:gd name="T13" fmla="*/ 40 h 128"/>
              <a:gd name="T14" fmla="*/ 88 w 128"/>
              <a:gd name="T15" fmla="*/ 8 h 128"/>
              <a:gd name="T16" fmla="*/ 40 w 128"/>
              <a:gd name="T17" fmla="*/ 8 h 128"/>
              <a:gd name="T18" fmla="*/ 40 w 128"/>
              <a:gd name="T19" fmla="*/ 32 h 128"/>
              <a:gd name="T20" fmla="*/ 32 w 128"/>
              <a:gd name="T21" fmla="*/ 32 h 128"/>
              <a:gd name="T22" fmla="*/ 32 w 128"/>
              <a:gd name="T23" fmla="*/ 0 h 128"/>
              <a:gd name="T24" fmla="*/ 88 w 128"/>
              <a:gd name="T25" fmla="*/ 0 h 128"/>
              <a:gd name="T26" fmla="*/ 128 w 128"/>
              <a:gd name="T27" fmla="*/ 40 h 128"/>
              <a:gd name="T28" fmla="*/ 0 w 128"/>
              <a:gd name="T29" fmla="*/ 104 h 128"/>
              <a:gd name="T30" fmla="*/ 6 w 128"/>
              <a:gd name="T31" fmla="*/ 104 h 128"/>
              <a:gd name="T32" fmla="*/ 10 w 128"/>
              <a:gd name="T33" fmla="*/ 95 h 128"/>
              <a:gd name="T34" fmla="*/ 23 w 128"/>
              <a:gd name="T35" fmla="*/ 95 h 128"/>
              <a:gd name="T36" fmla="*/ 27 w 128"/>
              <a:gd name="T37" fmla="*/ 104 h 128"/>
              <a:gd name="T38" fmla="*/ 34 w 128"/>
              <a:gd name="T39" fmla="*/ 104 h 128"/>
              <a:gd name="T40" fmla="*/ 20 w 128"/>
              <a:gd name="T41" fmla="*/ 67 h 128"/>
              <a:gd name="T42" fmla="*/ 13 w 128"/>
              <a:gd name="T43" fmla="*/ 67 h 128"/>
              <a:gd name="T44" fmla="*/ 0 w 128"/>
              <a:gd name="T45" fmla="*/ 104 h 128"/>
              <a:gd name="T46" fmla="*/ 15 w 128"/>
              <a:gd name="T47" fmla="*/ 78 h 128"/>
              <a:gd name="T48" fmla="*/ 16 w 128"/>
              <a:gd name="T49" fmla="*/ 73 h 128"/>
              <a:gd name="T50" fmla="*/ 17 w 128"/>
              <a:gd name="T51" fmla="*/ 73 h 128"/>
              <a:gd name="T52" fmla="*/ 18 w 128"/>
              <a:gd name="T53" fmla="*/ 78 h 128"/>
              <a:gd name="T54" fmla="*/ 22 w 128"/>
              <a:gd name="T55" fmla="*/ 90 h 128"/>
              <a:gd name="T56" fmla="*/ 11 w 128"/>
              <a:gd name="T57" fmla="*/ 90 h 128"/>
              <a:gd name="T58" fmla="*/ 15 w 128"/>
              <a:gd name="T59" fmla="*/ 78 h 128"/>
              <a:gd name="T60" fmla="*/ 36 w 128"/>
              <a:gd name="T61" fmla="*/ 104 h 128"/>
              <a:gd name="T62" fmla="*/ 43 w 128"/>
              <a:gd name="T63" fmla="*/ 104 h 128"/>
              <a:gd name="T64" fmla="*/ 46 w 128"/>
              <a:gd name="T65" fmla="*/ 95 h 128"/>
              <a:gd name="T66" fmla="*/ 60 w 128"/>
              <a:gd name="T67" fmla="*/ 95 h 128"/>
              <a:gd name="T68" fmla="*/ 63 w 128"/>
              <a:gd name="T69" fmla="*/ 104 h 128"/>
              <a:gd name="T70" fmla="*/ 70 w 128"/>
              <a:gd name="T71" fmla="*/ 104 h 128"/>
              <a:gd name="T72" fmla="*/ 57 w 128"/>
              <a:gd name="T73" fmla="*/ 67 h 128"/>
              <a:gd name="T74" fmla="*/ 49 w 128"/>
              <a:gd name="T75" fmla="*/ 67 h 128"/>
              <a:gd name="T76" fmla="*/ 36 w 128"/>
              <a:gd name="T77" fmla="*/ 104 h 128"/>
              <a:gd name="T78" fmla="*/ 51 w 128"/>
              <a:gd name="T79" fmla="*/ 78 h 128"/>
              <a:gd name="T80" fmla="*/ 53 w 128"/>
              <a:gd name="T81" fmla="*/ 73 h 128"/>
              <a:gd name="T82" fmla="*/ 53 w 128"/>
              <a:gd name="T83" fmla="*/ 73 h 128"/>
              <a:gd name="T84" fmla="*/ 54 w 128"/>
              <a:gd name="T85" fmla="*/ 78 h 128"/>
              <a:gd name="T86" fmla="*/ 58 w 128"/>
              <a:gd name="T87" fmla="*/ 90 h 128"/>
              <a:gd name="T88" fmla="*/ 47 w 128"/>
              <a:gd name="T89" fmla="*/ 90 h 128"/>
              <a:gd name="T90" fmla="*/ 51 w 128"/>
              <a:gd name="T91" fmla="*/ 78 h 128"/>
              <a:gd name="T92" fmla="*/ 89 w 128"/>
              <a:gd name="T93" fmla="*/ 72 h 128"/>
              <a:gd name="T94" fmla="*/ 97 w 128"/>
              <a:gd name="T95" fmla="*/ 79 h 128"/>
              <a:gd name="T96" fmla="*/ 104 w 128"/>
              <a:gd name="T97" fmla="*/ 79 h 128"/>
              <a:gd name="T98" fmla="*/ 89 w 128"/>
              <a:gd name="T99" fmla="*/ 67 h 128"/>
              <a:gd name="T100" fmla="*/ 72 w 128"/>
              <a:gd name="T101" fmla="*/ 86 h 128"/>
              <a:gd name="T102" fmla="*/ 89 w 128"/>
              <a:gd name="T103" fmla="*/ 105 h 128"/>
              <a:gd name="T104" fmla="*/ 104 w 128"/>
              <a:gd name="T105" fmla="*/ 92 h 128"/>
              <a:gd name="T106" fmla="*/ 97 w 128"/>
              <a:gd name="T107" fmla="*/ 92 h 128"/>
              <a:gd name="T108" fmla="*/ 89 w 128"/>
              <a:gd name="T109" fmla="*/ 100 h 128"/>
              <a:gd name="T110" fmla="*/ 80 w 128"/>
              <a:gd name="T111" fmla="*/ 86 h 128"/>
              <a:gd name="T112" fmla="*/ 89 w 128"/>
              <a:gd name="T113" fmla="*/ 7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 h="128">
                <a:moveTo>
                  <a:pt x="128" y="40"/>
                </a:moveTo>
                <a:cubicBezTo>
                  <a:pt x="128" y="128"/>
                  <a:pt x="128" y="128"/>
                  <a:pt x="128" y="128"/>
                </a:cubicBezTo>
                <a:cubicBezTo>
                  <a:pt x="96" y="128"/>
                  <a:pt x="96" y="128"/>
                  <a:pt x="96" y="128"/>
                </a:cubicBezTo>
                <a:cubicBezTo>
                  <a:pt x="96" y="120"/>
                  <a:pt x="96" y="120"/>
                  <a:pt x="96" y="120"/>
                </a:cubicBezTo>
                <a:cubicBezTo>
                  <a:pt x="120" y="120"/>
                  <a:pt x="120" y="120"/>
                  <a:pt x="120" y="120"/>
                </a:cubicBezTo>
                <a:cubicBezTo>
                  <a:pt x="120" y="40"/>
                  <a:pt x="120" y="40"/>
                  <a:pt x="120" y="40"/>
                </a:cubicBezTo>
                <a:cubicBezTo>
                  <a:pt x="88" y="40"/>
                  <a:pt x="88" y="40"/>
                  <a:pt x="88" y="40"/>
                </a:cubicBezTo>
                <a:cubicBezTo>
                  <a:pt x="88" y="8"/>
                  <a:pt x="88" y="8"/>
                  <a:pt x="88" y="8"/>
                </a:cubicBezTo>
                <a:cubicBezTo>
                  <a:pt x="40" y="8"/>
                  <a:pt x="40" y="8"/>
                  <a:pt x="40" y="8"/>
                </a:cubicBezTo>
                <a:cubicBezTo>
                  <a:pt x="40" y="32"/>
                  <a:pt x="40" y="32"/>
                  <a:pt x="40" y="32"/>
                </a:cubicBezTo>
                <a:cubicBezTo>
                  <a:pt x="32" y="32"/>
                  <a:pt x="32" y="32"/>
                  <a:pt x="32" y="32"/>
                </a:cubicBezTo>
                <a:cubicBezTo>
                  <a:pt x="32" y="0"/>
                  <a:pt x="32" y="0"/>
                  <a:pt x="32" y="0"/>
                </a:cubicBezTo>
                <a:cubicBezTo>
                  <a:pt x="88" y="0"/>
                  <a:pt x="88" y="0"/>
                  <a:pt x="88" y="0"/>
                </a:cubicBezTo>
                <a:lnTo>
                  <a:pt x="128" y="40"/>
                </a:lnTo>
                <a:close/>
                <a:moveTo>
                  <a:pt x="0" y="104"/>
                </a:moveTo>
                <a:cubicBezTo>
                  <a:pt x="6" y="104"/>
                  <a:pt x="6" y="104"/>
                  <a:pt x="6" y="104"/>
                </a:cubicBezTo>
                <a:cubicBezTo>
                  <a:pt x="10" y="95"/>
                  <a:pt x="10" y="95"/>
                  <a:pt x="10" y="95"/>
                </a:cubicBezTo>
                <a:cubicBezTo>
                  <a:pt x="23" y="95"/>
                  <a:pt x="23" y="95"/>
                  <a:pt x="23" y="95"/>
                </a:cubicBezTo>
                <a:cubicBezTo>
                  <a:pt x="27" y="104"/>
                  <a:pt x="27" y="104"/>
                  <a:pt x="27" y="104"/>
                </a:cubicBezTo>
                <a:cubicBezTo>
                  <a:pt x="34" y="104"/>
                  <a:pt x="34" y="104"/>
                  <a:pt x="34" y="104"/>
                </a:cubicBezTo>
                <a:cubicBezTo>
                  <a:pt x="20" y="67"/>
                  <a:pt x="20" y="67"/>
                  <a:pt x="20" y="67"/>
                </a:cubicBezTo>
                <a:cubicBezTo>
                  <a:pt x="13" y="67"/>
                  <a:pt x="13" y="67"/>
                  <a:pt x="13" y="67"/>
                </a:cubicBezTo>
                <a:lnTo>
                  <a:pt x="0" y="104"/>
                </a:lnTo>
                <a:close/>
                <a:moveTo>
                  <a:pt x="15" y="78"/>
                </a:moveTo>
                <a:cubicBezTo>
                  <a:pt x="16" y="75"/>
                  <a:pt x="16" y="73"/>
                  <a:pt x="16" y="73"/>
                </a:cubicBezTo>
                <a:cubicBezTo>
                  <a:pt x="17" y="73"/>
                  <a:pt x="17" y="73"/>
                  <a:pt x="17" y="73"/>
                </a:cubicBezTo>
                <a:cubicBezTo>
                  <a:pt x="17" y="73"/>
                  <a:pt x="17" y="75"/>
                  <a:pt x="18" y="78"/>
                </a:cubicBezTo>
                <a:cubicBezTo>
                  <a:pt x="22" y="90"/>
                  <a:pt x="22" y="90"/>
                  <a:pt x="22" y="90"/>
                </a:cubicBezTo>
                <a:cubicBezTo>
                  <a:pt x="11" y="90"/>
                  <a:pt x="11" y="90"/>
                  <a:pt x="11" y="90"/>
                </a:cubicBezTo>
                <a:lnTo>
                  <a:pt x="15" y="78"/>
                </a:lnTo>
                <a:close/>
                <a:moveTo>
                  <a:pt x="36" y="104"/>
                </a:moveTo>
                <a:cubicBezTo>
                  <a:pt x="43" y="104"/>
                  <a:pt x="43" y="104"/>
                  <a:pt x="43" y="104"/>
                </a:cubicBezTo>
                <a:cubicBezTo>
                  <a:pt x="46" y="95"/>
                  <a:pt x="46" y="95"/>
                  <a:pt x="46" y="95"/>
                </a:cubicBezTo>
                <a:cubicBezTo>
                  <a:pt x="60" y="95"/>
                  <a:pt x="60" y="95"/>
                  <a:pt x="60" y="95"/>
                </a:cubicBezTo>
                <a:cubicBezTo>
                  <a:pt x="63" y="104"/>
                  <a:pt x="63" y="104"/>
                  <a:pt x="63" y="104"/>
                </a:cubicBezTo>
                <a:cubicBezTo>
                  <a:pt x="70" y="104"/>
                  <a:pt x="70" y="104"/>
                  <a:pt x="70" y="104"/>
                </a:cubicBezTo>
                <a:cubicBezTo>
                  <a:pt x="57" y="67"/>
                  <a:pt x="57" y="67"/>
                  <a:pt x="57" y="67"/>
                </a:cubicBezTo>
                <a:cubicBezTo>
                  <a:pt x="49" y="67"/>
                  <a:pt x="49" y="67"/>
                  <a:pt x="49" y="67"/>
                </a:cubicBezTo>
                <a:lnTo>
                  <a:pt x="36" y="104"/>
                </a:lnTo>
                <a:close/>
                <a:moveTo>
                  <a:pt x="51" y="78"/>
                </a:moveTo>
                <a:cubicBezTo>
                  <a:pt x="52" y="75"/>
                  <a:pt x="53" y="73"/>
                  <a:pt x="53" y="73"/>
                </a:cubicBezTo>
                <a:cubicBezTo>
                  <a:pt x="53" y="73"/>
                  <a:pt x="53" y="73"/>
                  <a:pt x="53" y="73"/>
                </a:cubicBezTo>
                <a:cubicBezTo>
                  <a:pt x="53" y="73"/>
                  <a:pt x="53" y="75"/>
                  <a:pt x="54" y="78"/>
                </a:cubicBezTo>
                <a:cubicBezTo>
                  <a:pt x="58" y="90"/>
                  <a:pt x="58" y="90"/>
                  <a:pt x="58" y="90"/>
                </a:cubicBezTo>
                <a:cubicBezTo>
                  <a:pt x="47" y="90"/>
                  <a:pt x="47" y="90"/>
                  <a:pt x="47" y="90"/>
                </a:cubicBezTo>
                <a:lnTo>
                  <a:pt x="51" y="78"/>
                </a:lnTo>
                <a:close/>
                <a:moveTo>
                  <a:pt x="89" y="72"/>
                </a:moveTo>
                <a:cubicBezTo>
                  <a:pt x="94" y="72"/>
                  <a:pt x="97" y="75"/>
                  <a:pt x="97" y="79"/>
                </a:cubicBezTo>
                <a:cubicBezTo>
                  <a:pt x="104" y="79"/>
                  <a:pt x="104" y="79"/>
                  <a:pt x="104" y="79"/>
                </a:cubicBezTo>
                <a:cubicBezTo>
                  <a:pt x="103" y="71"/>
                  <a:pt x="97" y="67"/>
                  <a:pt x="89" y="67"/>
                </a:cubicBezTo>
                <a:cubicBezTo>
                  <a:pt x="79" y="67"/>
                  <a:pt x="72" y="74"/>
                  <a:pt x="72" y="86"/>
                </a:cubicBezTo>
                <a:cubicBezTo>
                  <a:pt x="72" y="98"/>
                  <a:pt x="79" y="105"/>
                  <a:pt x="89" y="105"/>
                </a:cubicBezTo>
                <a:cubicBezTo>
                  <a:pt x="98" y="105"/>
                  <a:pt x="104" y="99"/>
                  <a:pt x="104" y="92"/>
                </a:cubicBezTo>
                <a:cubicBezTo>
                  <a:pt x="97" y="92"/>
                  <a:pt x="97" y="92"/>
                  <a:pt x="97" y="92"/>
                </a:cubicBezTo>
                <a:cubicBezTo>
                  <a:pt x="97" y="96"/>
                  <a:pt x="94" y="100"/>
                  <a:pt x="89" y="100"/>
                </a:cubicBezTo>
                <a:cubicBezTo>
                  <a:pt x="83" y="100"/>
                  <a:pt x="80" y="95"/>
                  <a:pt x="80" y="86"/>
                </a:cubicBezTo>
                <a:cubicBezTo>
                  <a:pt x="80" y="77"/>
                  <a:pt x="83" y="72"/>
                  <a:pt x="89" y="7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5" name="Freeform 65">
            <a:extLst>
              <a:ext uri="{FF2B5EF4-FFF2-40B4-BE49-F238E27FC236}">
                <a16:creationId xmlns:a16="http://schemas.microsoft.com/office/drawing/2014/main" id="{4C1443C5-701F-4B2B-B8E4-7DADBECDF797}"/>
              </a:ext>
            </a:extLst>
          </p:cNvPr>
          <p:cNvSpPr>
            <a:spLocks noEditPoints="1"/>
          </p:cNvSpPr>
          <p:nvPr/>
        </p:nvSpPr>
        <p:spPr bwMode="auto">
          <a:xfrm>
            <a:off x="2697592" y="1592334"/>
            <a:ext cx="374650" cy="412750"/>
          </a:xfrm>
          <a:custGeom>
            <a:avLst/>
            <a:gdLst>
              <a:gd name="T0" fmla="*/ 116 w 116"/>
              <a:gd name="T1" fmla="*/ 40 h 128"/>
              <a:gd name="T2" fmla="*/ 116 w 116"/>
              <a:gd name="T3" fmla="*/ 128 h 128"/>
              <a:gd name="T4" fmla="*/ 84 w 116"/>
              <a:gd name="T5" fmla="*/ 128 h 128"/>
              <a:gd name="T6" fmla="*/ 84 w 116"/>
              <a:gd name="T7" fmla="*/ 120 h 128"/>
              <a:gd name="T8" fmla="*/ 108 w 116"/>
              <a:gd name="T9" fmla="*/ 120 h 128"/>
              <a:gd name="T10" fmla="*/ 108 w 116"/>
              <a:gd name="T11" fmla="*/ 40 h 128"/>
              <a:gd name="T12" fmla="*/ 76 w 116"/>
              <a:gd name="T13" fmla="*/ 40 h 128"/>
              <a:gd name="T14" fmla="*/ 76 w 116"/>
              <a:gd name="T15" fmla="*/ 8 h 128"/>
              <a:gd name="T16" fmla="*/ 28 w 116"/>
              <a:gd name="T17" fmla="*/ 8 h 128"/>
              <a:gd name="T18" fmla="*/ 28 w 116"/>
              <a:gd name="T19" fmla="*/ 32 h 128"/>
              <a:gd name="T20" fmla="*/ 20 w 116"/>
              <a:gd name="T21" fmla="*/ 32 h 128"/>
              <a:gd name="T22" fmla="*/ 20 w 116"/>
              <a:gd name="T23" fmla="*/ 0 h 128"/>
              <a:gd name="T24" fmla="*/ 76 w 116"/>
              <a:gd name="T25" fmla="*/ 0 h 128"/>
              <a:gd name="T26" fmla="*/ 116 w 116"/>
              <a:gd name="T27" fmla="*/ 40 h 128"/>
              <a:gd name="T28" fmla="*/ 0 w 116"/>
              <a:gd name="T29" fmla="*/ 104 h 128"/>
              <a:gd name="T30" fmla="*/ 6 w 116"/>
              <a:gd name="T31" fmla="*/ 104 h 128"/>
              <a:gd name="T32" fmla="*/ 9 w 116"/>
              <a:gd name="T33" fmla="*/ 95 h 128"/>
              <a:gd name="T34" fmla="*/ 23 w 116"/>
              <a:gd name="T35" fmla="*/ 95 h 128"/>
              <a:gd name="T36" fmla="*/ 26 w 116"/>
              <a:gd name="T37" fmla="*/ 104 h 128"/>
              <a:gd name="T38" fmla="*/ 33 w 116"/>
              <a:gd name="T39" fmla="*/ 104 h 128"/>
              <a:gd name="T40" fmla="*/ 20 w 116"/>
              <a:gd name="T41" fmla="*/ 67 h 128"/>
              <a:gd name="T42" fmla="*/ 13 w 116"/>
              <a:gd name="T43" fmla="*/ 67 h 128"/>
              <a:gd name="T44" fmla="*/ 0 w 116"/>
              <a:gd name="T45" fmla="*/ 104 h 128"/>
              <a:gd name="T46" fmla="*/ 15 w 116"/>
              <a:gd name="T47" fmla="*/ 78 h 128"/>
              <a:gd name="T48" fmla="*/ 16 w 116"/>
              <a:gd name="T49" fmla="*/ 73 h 128"/>
              <a:gd name="T50" fmla="*/ 16 w 116"/>
              <a:gd name="T51" fmla="*/ 73 h 128"/>
              <a:gd name="T52" fmla="*/ 18 w 116"/>
              <a:gd name="T53" fmla="*/ 78 h 128"/>
              <a:gd name="T54" fmla="*/ 22 w 116"/>
              <a:gd name="T55" fmla="*/ 90 h 128"/>
              <a:gd name="T56" fmla="*/ 11 w 116"/>
              <a:gd name="T57" fmla="*/ 90 h 128"/>
              <a:gd name="T58" fmla="*/ 15 w 116"/>
              <a:gd name="T59" fmla="*/ 78 h 128"/>
              <a:gd name="T60" fmla="*/ 39 w 116"/>
              <a:gd name="T61" fmla="*/ 104 h 128"/>
              <a:gd name="T62" fmla="*/ 45 w 116"/>
              <a:gd name="T63" fmla="*/ 104 h 128"/>
              <a:gd name="T64" fmla="*/ 45 w 116"/>
              <a:gd name="T65" fmla="*/ 67 h 128"/>
              <a:gd name="T66" fmla="*/ 39 w 116"/>
              <a:gd name="T67" fmla="*/ 67 h 128"/>
              <a:gd name="T68" fmla="*/ 39 w 116"/>
              <a:gd name="T69"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6" h="128">
                <a:moveTo>
                  <a:pt x="116" y="40"/>
                </a:moveTo>
                <a:cubicBezTo>
                  <a:pt x="116" y="128"/>
                  <a:pt x="116" y="128"/>
                  <a:pt x="116" y="128"/>
                </a:cubicBezTo>
                <a:cubicBezTo>
                  <a:pt x="84" y="128"/>
                  <a:pt x="84" y="128"/>
                  <a:pt x="84" y="128"/>
                </a:cubicBezTo>
                <a:cubicBezTo>
                  <a:pt x="84" y="120"/>
                  <a:pt x="84" y="120"/>
                  <a:pt x="84" y="120"/>
                </a:cubicBezTo>
                <a:cubicBezTo>
                  <a:pt x="108" y="120"/>
                  <a:pt x="108" y="120"/>
                  <a:pt x="108" y="120"/>
                </a:cubicBezTo>
                <a:cubicBezTo>
                  <a:pt x="108" y="40"/>
                  <a:pt x="108" y="40"/>
                  <a:pt x="108" y="40"/>
                </a:cubicBezTo>
                <a:cubicBezTo>
                  <a:pt x="76" y="40"/>
                  <a:pt x="76" y="40"/>
                  <a:pt x="76" y="40"/>
                </a:cubicBezTo>
                <a:cubicBezTo>
                  <a:pt x="76" y="8"/>
                  <a:pt x="76" y="8"/>
                  <a:pt x="76" y="8"/>
                </a:cubicBezTo>
                <a:cubicBezTo>
                  <a:pt x="28" y="8"/>
                  <a:pt x="28" y="8"/>
                  <a:pt x="28" y="8"/>
                </a:cubicBezTo>
                <a:cubicBezTo>
                  <a:pt x="28" y="32"/>
                  <a:pt x="28" y="32"/>
                  <a:pt x="28" y="32"/>
                </a:cubicBezTo>
                <a:cubicBezTo>
                  <a:pt x="20" y="32"/>
                  <a:pt x="20" y="32"/>
                  <a:pt x="20" y="32"/>
                </a:cubicBezTo>
                <a:cubicBezTo>
                  <a:pt x="20" y="0"/>
                  <a:pt x="20" y="0"/>
                  <a:pt x="20" y="0"/>
                </a:cubicBezTo>
                <a:cubicBezTo>
                  <a:pt x="76" y="0"/>
                  <a:pt x="76" y="0"/>
                  <a:pt x="76" y="0"/>
                </a:cubicBezTo>
                <a:lnTo>
                  <a:pt x="116" y="40"/>
                </a:lnTo>
                <a:close/>
                <a:moveTo>
                  <a:pt x="0" y="104"/>
                </a:moveTo>
                <a:cubicBezTo>
                  <a:pt x="6" y="104"/>
                  <a:pt x="6" y="104"/>
                  <a:pt x="6" y="104"/>
                </a:cubicBezTo>
                <a:cubicBezTo>
                  <a:pt x="9" y="95"/>
                  <a:pt x="9" y="95"/>
                  <a:pt x="9" y="95"/>
                </a:cubicBezTo>
                <a:cubicBezTo>
                  <a:pt x="23" y="95"/>
                  <a:pt x="23" y="95"/>
                  <a:pt x="23" y="95"/>
                </a:cubicBezTo>
                <a:cubicBezTo>
                  <a:pt x="26" y="104"/>
                  <a:pt x="26" y="104"/>
                  <a:pt x="26" y="104"/>
                </a:cubicBezTo>
                <a:cubicBezTo>
                  <a:pt x="33" y="104"/>
                  <a:pt x="33" y="104"/>
                  <a:pt x="33" y="104"/>
                </a:cubicBezTo>
                <a:cubicBezTo>
                  <a:pt x="20" y="67"/>
                  <a:pt x="20" y="67"/>
                  <a:pt x="20" y="67"/>
                </a:cubicBezTo>
                <a:cubicBezTo>
                  <a:pt x="13" y="67"/>
                  <a:pt x="13" y="67"/>
                  <a:pt x="13" y="67"/>
                </a:cubicBezTo>
                <a:lnTo>
                  <a:pt x="0" y="104"/>
                </a:lnTo>
                <a:close/>
                <a:moveTo>
                  <a:pt x="15" y="78"/>
                </a:moveTo>
                <a:cubicBezTo>
                  <a:pt x="16" y="75"/>
                  <a:pt x="16" y="73"/>
                  <a:pt x="16" y="73"/>
                </a:cubicBezTo>
                <a:cubicBezTo>
                  <a:pt x="16" y="73"/>
                  <a:pt x="16" y="73"/>
                  <a:pt x="16" y="73"/>
                </a:cubicBezTo>
                <a:cubicBezTo>
                  <a:pt x="16" y="73"/>
                  <a:pt x="17" y="75"/>
                  <a:pt x="18" y="78"/>
                </a:cubicBezTo>
                <a:cubicBezTo>
                  <a:pt x="22" y="90"/>
                  <a:pt x="22" y="90"/>
                  <a:pt x="22" y="90"/>
                </a:cubicBezTo>
                <a:cubicBezTo>
                  <a:pt x="11" y="90"/>
                  <a:pt x="11" y="90"/>
                  <a:pt x="11" y="90"/>
                </a:cubicBezTo>
                <a:lnTo>
                  <a:pt x="15" y="78"/>
                </a:lnTo>
                <a:close/>
                <a:moveTo>
                  <a:pt x="39" y="104"/>
                </a:moveTo>
                <a:cubicBezTo>
                  <a:pt x="45" y="104"/>
                  <a:pt x="45" y="104"/>
                  <a:pt x="45" y="104"/>
                </a:cubicBezTo>
                <a:cubicBezTo>
                  <a:pt x="45" y="67"/>
                  <a:pt x="45" y="67"/>
                  <a:pt x="45" y="67"/>
                </a:cubicBezTo>
                <a:cubicBezTo>
                  <a:pt x="39" y="67"/>
                  <a:pt x="39" y="67"/>
                  <a:pt x="39" y="67"/>
                </a:cubicBezTo>
                <a:lnTo>
                  <a:pt x="39" y="1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6" name="Freeform 69">
            <a:extLst>
              <a:ext uri="{FF2B5EF4-FFF2-40B4-BE49-F238E27FC236}">
                <a16:creationId xmlns:a16="http://schemas.microsoft.com/office/drawing/2014/main" id="{AC666BFC-D64F-4146-BC68-B029F79EA932}"/>
              </a:ext>
            </a:extLst>
          </p:cNvPr>
          <p:cNvSpPr>
            <a:spLocks noEditPoints="1"/>
          </p:cNvSpPr>
          <p:nvPr/>
        </p:nvSpPr>
        <p:spPr bwMode="auto">
          <a:xfrm>
            <a:off x="3723977" y="1592334"/>
            <a:ext cx="412750" cy="412750"/>
          </a:xfrm>
          <a:custGeom>
            <a:avLst/>
            <a:gdLst>
              <a:gd name="T0" fmla="*/ 128 w 128"/>
              <a:gd name="T1" fmla="*/ 40 h 128"/>
              <a:gd name="T2" fmla="*/ 128 w 128"/>
              <a:gd name="T3" fmla="*/ 128 h 128"/>
              <a:gd name="T4" fmla="*/ 96 w 128"/>
              <a:gd name="T5" fmla="*/ 128 h 128"/>
              <a:gd name="T6" fmla="*/ 96 w 128"/>
              <a:gd name="T7" fmla="*/ 120 h 128"/>
              <a:gd name="T8" fmla="*/ 120 w 128"/>
              <a:gd name="T9" fmla="*/ 120 h 128"/>
              <a:gd name="T10" fmla="*/ 120 w 128"/>
              <a:gd name="T11" fmla="*/ 40 h 128"/>
              <a:gd name="T12" fmla="*/ 88 w 128"/>
              <a:gd name="T13" fmla="*/ 40 h 128"/>
              <a:gd name="T14" fmla="*/ 88 w 128"/>
              <a:gd name="T15" fmla="*/ 8 h 128"/>
              <a:gd name="T16" fmla="*/ 40 w 128"/>
              <a:gd name="T17" fmla="*/ 8 h 128"/>
              <a:gd name="T18" fmla="*/ 40 w 128"/>
              <a:gd name="T19" fmla="*/ 32 h 128"/>
              <a:gd name="T20" fmla="*/ 32 w 128"/>
              <a:gd name="T21" fmla="*/ 32 h 128"/>
              <a:gd name="T22" fmla="*/ 32 w 128"/>
              <a:gd name="T23" fmla="*/ 0 h 128"/>
              <a:gd name="T24" fmla="*/ 88 w 128"/>
              <a:gd name="T25" fmla="*/ 0 h 128"/>
              <a:gd name="T26" fmla="*/ 128 w 128"/>
              <a:gd name="T27" fmla="*/ 40 h 128"/>
              <a:gd name="T28" fmla="*/ 0 w 128"/>
              <a:gd name="T29" fmla="*/ 104 h 128"/>
              <a:gd name="T30" fmla="*/ 24 w 128"/>
              <a:gd name="T31" fmla="*/ 104 h 128"/>
              <a:gd name="T32" fmla="*/ 24 w 128"/>
              <a:gd name="T33" fmla="*/ 99 h 128"/>
              <a:gd name="T34" fmla="*/ 7 w 128"/>
              <a:gd name="T35" fmla="*/ 99 h 128"/>
              <a:gd name="T36" fmla="*/ 7 w 128"/>
              <a:gd name="T37" fmla="*/ 88 h 128"/>
              <a:gd name="T38" fmla="*/ 23 w 128"/>
              <a:gd name="T39" fmla="*/ 88 h 128"/>
              <a:gd name="T40" fmla="*/ 23 w 128"/>
              <a:gd name="T41" fmla="*/ 83 h 128"/>
              <a:gd name="T42" fmla="*/ 7 w 128"/>
              <a:gd name="T43" fmla="*/ 83 h 128"/>
              <a:gd name="T44" fmla="*/ 7 w 128"/>
              <a:gd name="T45" fmla="*/ 72 h 128"/>
              <a:gd name="T46" fmla="*/ 24 w 128"/>
              <a:gd name="T47" fmla="*/ 72 h 128"/>
              <a:gd name="T48" fmla="*/ 24 w 128"/>
              <a:gd name="T49" fmla="*/ 67 h 128"/>
              <a:gd name="T50" fmla="*/ 0 w 128"/>
              <a:gd name="T51" fmla="*/ 67 h 128"/>
              <a:gd name="T52" fmla="*/ 0 w 128"/>
              <a:gd name="T53" fmla="*/ 104 h 128"/>
              <a:gd name="T54" fmla="*/ 43 w 128"/>
              <a:gd name="T55" fmla="*/ 91 h 128"/>
              <a:gd name="T56" fmla="*/ 57 w 128"/>
              <a:gd name="T57" fmla="*/ 79 h 128"/>
              <a:gd name="T58" fmla="*/ 43 w 128"/>
              <a:gd name="T59" fmla="*/ 67 h 128"/>
              <a:gd name="T60" fmla="*/ 31 w 128"/>
              <a:gd name="T61" fmla="*/ 67 h 128"/>
              <a:gd name="T62" fmla="*/ 31 w 128"/>
              <a:gd name="T63" fmla="*/ 104 h 128"/>
              <a:gd name="T64" fmla="*/ 38 w 128"/>
              <a:gd name="T65" fmla="*/ 104 h 128"/>
              <a:gd name="T66" fmla="*/ 38 w 128"/>
              <a:gd name="T67" fmla="*/ 91 h 128"/>
              <a:gd name="T68" fmla="*/ 43 w 128"/>
              <a:gd name="T69" fmla="*/ 91 h 128"/>
              <a:gd name="T70" fmla="*/ 38 w 128"/>
              <a:gd name="T71" fmla="*/ 86 h 128"/>
              <a:gd name="T72" fmla="*/ 38 w 128"/>
              <a:gd name="T73" fmla="*/ 72 h 128"/>
              <a:gd name="T74" fmla="*/ 43 w 128"/>
              <a:gd name="T75" fmla="*/ 72 h 128"/>
              <a:gd name="T76" fmla="*/ 50 w 128"/>
              <a:gd name="T77" fmla="*/ 79 h 128"/>
              <a:gd name="T78" fmla="*/ 43 w 128"/>
              <a:gd name="T79" fmla="*/ 86 h 128"/>
              <a:gd name="T80" fmla="*/ 38 w 128"/>
              <a:gd name="T81" fmla="*/ 86 h 128"/>
              <a:gd name="T82" fmla="*/ 88 w 128"/>
              <a:gd name="T83" fmla="*/ 77 h 128"/>
              <a:gd name="T84" fmla="*/ 75 w 128"/>
              <a:gd name="T85" fmla="*/ 67 h 128"/>
              <a:gd name="T86" fmla="*/ 62 w 128"/>
              <a:gd name="T87" fmla="*/ 78 h 128"/>
              <a:gd name="T88" fmla="*/ 71 w 128"/>
              <a:gd name="T89" fmla="*/ 88 h 128"/>
              <a:gd name="T90" fmla="*/ 77 w 128"/>
              <a:gd name="T91" fmla="*/ 89 h 128"/>
              <a:gd name="T92" fmla="*/ 82 w 128"/>
              <a:gd name="T93" fmla="*/ 94 h 128"/>
              <a:gd name="T94" fmla="*/ 75 w 128"/>
              <a:gd name="T95" fmla="*/ 100 h 128"/>
              <a:gd name="T96" fmla="*/ 67 w 128"/>
              <a:gd name="T97" fmla="*/ 94 h 128"/>
              <a:gd name="T98" fmla="*/ 60 w 128"/>
              <a:gd name="T99" fmla="*/ 94 h 128"/>
              <a:gd name="T100" fmla="*/ 75 w 128"/>
              <a:gd name="T101" fmla="*/ 105 h 128"/>
              <a:gd name="T102" fmla="*/ 89 w 128"/>
              <a:gd name="T103" fmla="*/ 93 h 128"/>
              <a:gd name="T104" fmla="*/ 79 w 128"/>
              <a:gd name="T105" fmla="*/ 83 h 128"/>
              <a:gd name="T106" fmla="*/ 74 w 128"/>
              <a:gd name="T107" fmla="*/ 82 h 128"/>
              <a:gd name="T108" fmla="*/ 69 w 128"/>
              <a:gd name="T109" fmla="*/ 77 h 128"/>
              <a:gd name="T110" fmla="*/ 75 w 128"/>
              <a:gd name="T111" fmla="*/ 72 h 128"/>
              <a:gd name="T112" fmla="*/ 81 w 128"/>
              <a:gd name="T113" fmla="*/ 77 h 128"/>
              <a:gd name="T114" fmla="*/ 88 w 128"/>
              <a:gd name="T115" fmla="*/ 7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8" h="128">
                <a:moveTo>
                  <a:pt x="128" y="40"/>
                </a:moveTo>
                <a:cubicBezTo>
                  <a:pt x="128" y="128"/>
                  <a:pt x="128" y="128"/>
                  <a:pt x="128" y="128"/>
                </a:cubicBezTo>
                <a:cubicBezTo>
                  <a:pt x="96" y="128"/>
                  <a:pt x="96" y="128"/>
                  <a:pt x="96" y="128"/>
                </a:cubicBezTo>
                <a:cubicBezTo>
                  <a:pt x="96" y="120"/>
                  <a:pt x="96" y="120"/>
                  <a:pt x="96" y="120"/>
                </a:cubicBezTo>
                <a:cubicBezTo>
                  <a:pt x="120" y="120"/>
                  <a:pt x="120" y="120"/>
                  <a:pt x="120" y="120"/>
                </a:cubicBezTo>
                <a:cubicBezTo>
                  <a:pt x="120" y="40"/>
                  <a:pt x="120" y="40"/>
                  <a:pt x="120" y="40"/>
                </a:cubicBezTo>
                <a:cubicBezTo>
                  <a:pt x="88" y="40"/>
                  <a:pt x="88" y="40"/>
                  <a:pt x="88" y="40"/>
                </a:cubicBezTo>
                <a:cubicBezTo>
                  <a:pt x="88" y="8"/>
                  <a:pt x="88" y="8"/>
                  <a:pt x="88" y="8"/>
                </a:cubicBezTo>
                <a:cubicBezTo>
                  <a:pt x="40" y="8"/>
                  <a:pt x="40" y="8"/>
                  <a:pt x="40" y="8"/>
                </a:cubicBezTo>
                <a:cubicBezTo>
                  <a:pt x="40" y="32"/>
                  <a:pt x="40" y="32"/>
                  <a:pt x="40" y="32"/>
                </a:cubicBezTo>
                <a:cubicBezTo>
                  <a:pt x="32" y="32"/>
                  <a:pt x="32" y="32"/>
                  <a:pt x="32" y="32"/>
                </a:cubicBezTo>
                <a:cubicBezTo>
                  <a:pt x="32" y="0"/>
                  <a:pt x="32" y="0"/>
                  <a:pt x="32" y="0"/>
                </a:cubicBezTo>
                <a:cubicBezTo>
                  <a:pt x="88" y="0"/>
                  <a:pt x="88" y="0"/>
                  <a:pt x="88" y="0"/>
                </a:cubicBezTo>
                <a:lnTo>
                  <a:pt x="128" y="40"/>
                </a:lnTo>
                <a:close/>
                <a:moveTo>
                  <a:pt x="0" y="104"/>
                </a:moveTo>
                <a:cubicBezTo>
                  <a:pt x="24" y="104"/>
                  <a:pt x="24" y="104"/>
                  <a:pt x="24" y="104"/>
                </a:cubicBezTo>
                <a:cubicBezTo>
                  <a:pt x="24" y="99"/>
                  <a:pt x="24" y="99"/>
                  <a:pt x="24" y="99"/>
                </a:cubicBezTo>
                <a:cubicBezTo>
                  <a:pt x="7" y="99"/>
                  <a:pt x="7" y="99"/>
                  <a:pt x="7" y="99"/>
                </a:cubicBezTo>
                <a:cubicBezTo>
                  <a:pt x="7" y="88"/>
                  <a:pt x="7" y="88"/>
                  <a:pt x="7" y="88"/>
                </a:cubicBezTo>
                <a:cubicBezTo>
                  <a:pt x="23" y="88"/>
                  <a:pt x="23" y="88"/>
                  <a:pt x="23" y="88"/>
                </a:cubicBezTo>
                <a:cubicBezTo>
                  <a:pt x="23" y="83"/>
                  <a:pt x="23" y="83"/>
                  <a:pt x="23" y="83"/>
                </a:cubicBezTo>
                <a:cubicBezTo>
                  <a:pt x="7" y="83"/>
                  <a:pt x="7" y="83"/>
                  <a:pt x="7" y="83"/>
                </a:cubicBezTo>
                <a:cubicBezTo>
                  <a:pt x="7" y="72"/>
                  <a:pt x="7" y="72"/>
                  <a:pt x="7" y="72"/>
                </a:cubicBezTo>
                <a:cubicBezTo>
                  <a:pt x="24" y="72"/>
                  <a:pt x="24" y="72"/>
                  <a:pt x="24" y="72"/>
                </a:cubicBezTo>
                <a:cubicBezTo>
                  <a:pt x="24" y="67"/>
                  <a:pt x="24" y="67"/>
                  <a:pt x="24" y="67"/>
                </a:cubicBezTo>
                <a:cubicBezTo>
                  <a:pt x="0" y="67"/>
                  <a:pt x="0" y="67"/>
                  <a:pt x="0" y="67"/>
                </a:cubicBezTo>
                <a:lnTo>
                  <a:pt x="0" y="104"/>
                </a:lnTo>
                <a:close/>
                <a:moveTo>
                  <a:pt x="43" y="91"/>
                </a:moveTo>
                <a:cubicBezTo>
                  <a:pt x="51" y="91"/>
                  <a:pt x="57" y="87"/>
                  <a:pt x="57" y="79"/>
                </a:cubicBezTo>
                <a:cubicBezTo>
                  <a:pt x="57" y="71"/>
                  <a:pt x="51" y="67"/>
                  <a:pt x="43" y="67"/>
                </a:cubicBezTo>
                <a:cubicBezTo>
                  <a:pt x="31" y="67"/>
                  <a:pt x="31" y="67"/>
                  <a:pt x="31" y="67"/>
                </a:cubicBezTo>
                <a:cubicBezTo>
                  <a:pt x="31" y="104"/>
                  <a:pt x="31" y="104"/>
                  <a:pt x="31" y="104"/>
                </a:cubicBezTo>
                <a:cubicBezTo>
                  <a:pt x="38" y="104"/>
                  <a:pt x="38" y="104"/>
                  <a:pt x="38" y="104"/>
                </a:cubicBezTo>
                <a:cubicBezTo>
                  <a:pt x="38" y="91"/>
                  <a:pt x="38" y="91"/>
                  <a:pt x="38" y="91"/>
                </a:cubicBezTo>
                <a:lnTo>
                  <a:pt x="43" y="91"/>
                </a:lnTo>
                <a:close/>
                <a:moveTo>
                  <a:pt x="38" y="86"/>
                </a:moveTo>
                <a:cubicBezTo>
                  <a:pt x="38" y="72"/>
                  <a:pt x="38" y="72"/>
                  <a:pt x="38" y="72"/>
                </a:cubicBezTo>
                <a:cubicBezTo>
                  <a:pt x="43" y="72"/>
                  <a:pt x="43" y="72"/>
                  <a:pt x="43" y="72"/>
                </a:cubicBezTo>
                <a:cubicBezTo>
                  <a:pt x="48" y="72"/>
                  <a:pt x="50" y="74"/>
                  <a:pt x="50" y="79"/>
                </a:cubicBezTo>
                <a:cubicBezTo>
                  <a:pt x="50" y="84"/>
                  <a:pt x="48" y="86"/>
                  <a:pt x="43" y="86"/>
                </a:cubicBezTo>
                <a:lnTo>
                  <a:pt x="38" y="86"/>
                </a:lnTo>
                <a:close/>
                <a:moveTo>
                  <a:pt x="88" y="77"/>
                </a:moveTo>
                <a:cubicBezTo>
                  <a:pt x="88" y="71"/>
                  <a:pt x="84" y="67"/>
                  <a:pt x="75" y="67"/>
                </a:cubicBezTo>
                <a:cubicBezTo>
                  <a:pt x="67" y="67"/>
                  <a:pt x="62" y="71"/>
                  <a:pt x="62" y="78"/>
                </a:cubicBezTo>
                <a:cubicBezTo>
                  <a:pt x="62" y="83"/>
                  <a:pt x="65" y="87"/>
                  <a:pt x="71" y="88"/>
                </a:cubicBezTo>
                <a:cubicBezTo>
                  <a:pt x="77" y="89"/>
                  <a:pt x="77" y="89"/>
                  <a:pt x="77" y="89"/>
                </a:cubicBezTo>
                <a:cubicBezTo>
                  <a:pt x="81" y="90"/>
                  <a:pt x="82" y="91"/>
                  <a:pt x="82" y="94"/>
                </a:cubicBezTo>
                <a:cubicBezTo>
                  <a:pt x="82" y="97"/>
                  <a:pt x="80" y="100"/>
                  <a:pt x="75" y="100"/>
                </a:cubicBezTo>
                <a:cubicBezTo>
                  <a:pt x="70" y="100"/>
                  <a:pt x="68" y="97"/>
                  <a:pt x="67" y="94"/>
                </a:cubicBezTo>
                <a:cubicBezTo>
                  <a:pt x="60" y="94"/>
                  <a:pt x="60" y="94"/>
                  <a:pt x="60" y="94"/>
                </a:cubicBezTo>
                <a:cubicBezTo>
                  <a:pt x="61" y="101"/>
                  <a:pt x="66" y="105"/>
                  <a:pt x="75" y="105"/>
                </a:cubicBezTo>
                <a:cubicBezTo>
                  <a:pt x="84" y="105"/>
                  <a:pt x="89" y="100"/>
                  <a:pt x="89" y="93"/>
                </a:cubicBezTo>
                <a:cubicBezTo>
                  <a:pt x="89" y="88"/>
                  <a:pt x="86" y="84"/>
                  <a:pt x="79" y="83"/>
                </a:cubicBezTo>
                <a:cubicBezTo>
                  <a:pt x="74" y="82"/>
                  <a:pt x="74" y="82"/>
                  <a:pt x="74" y="82"/>
                </a:cubicBezTo>
                <a:cubicBezTo>
                  <a:pt x="70" y="81"/>
                  <a:pt x="69" y="80"/>
                  <a:pt x="69" y="77"/>
                </a:cubicBezTo>
                <a:cubicBezTo>
                  <a:pt x="69" y="74"/>
                  <a:pt x="71" y="72"/>
                  <a:pt x="75" y="72"/>
                </a:cubicBezTo>
                <a:cubicBezTo>
                  <a:pt x="79" y="72"/>
                  <a:pt x="81" y="74"/>
                  <a:pt x="81" y="77"/>
                </a:cubicBezTo>
                <a:lnTo>
                  <a:pt x="88" y="7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7" name="Freeform 73">
            <a:extLst>
              <a:ext uri="{FF2B5EF4-FFF2-40B4-BE49-F238E27FC236}">
                <a16:creationId xmlns:a16="http://schemas.microsoft.com/office/drawing/2014/main" id="{2B82D687-E78E-4281-B94A-AC4CD2E6AC00}"/>
              </a:ext>
            </a:extLst>
          </p:cNvPr>
          <p:cNvSpPr>
            <a:spLocks noEditPoints="1"/>
          </p:cNvSpPr>
          <p:nvPr/>
        </p:nvSpPr>
        <p:spPr bwMode="auto">
          <a:xfrm>
            <a:off x="586881" y="2376509"/>
            <a:ext cx="414338" cy="412750"/>
          </a:xfrm>
          <a:custGeom>
            <a:avLst/>
            <a:gdLst>
              <a:gd name="T0" fmla="*/ 128 w 128"/>
              <a:gd name="T1" fmla="*/ 40 h 128"/>
              <a:gd name="T2" fmla="*/ 128 w 128"/>
              <a:gd name="T3" fmla="*/ 128 h 128"/>
              <a:gd name="T4" fmla="*/ 96 w 128"/>
              <a:gd name="T5" fmla="*/ 128 h 128"/>
              <a:gd name="T6" fmla="*/ 96 w 128"/>
              <a:gd name="T7" fmla="*/ 120 h 128"/>
              <a:gd name="T8" fmla="*/ 120 w 128"/>
              <a:gd name="T9" fmla="*/ 120 h 128"/>
              <a:gd name="T10" fmla="*/ 120 w 128"/>
              <a:gd name="T11" fmla="*/ 40 h 128"/>
              <a:gd name="T12" fmla="*/ 88 w 128"/>
              <a:gd name="T13" fmla="*/ 40 h 128"/>
              <a:gd name="T14" fmla="*/ 88 w 128"/>
              <a:gd name="T15" fmla="*/ 8 h 128"/>
              <a:gd name="T16" fmla="*/ 40 w 128"/>
              <a:gd name="T17" fmla="*/ 8 h 128"/>
              <a:gd name="T18" fmla="*/ 40 w 128"/>
              <a:gd name="T19" fmla="*/ 32 h 128"/>
              <a:gd name="T20" fmla="*/ 32 w 128"/>
              <a:gd name="T21" fmla="*/ 32 h 128"/>
              <a:gd name="T22" fmla="*/ 32 w 128"/>
              <a:gd name="T23" fmla="*/ 0 h 128"/>
              <a:gd name="T24" fmla="*/ 88 w 128"/>
              <a:gd name="T25" fmla="*/ 0 h 128"/>
              <a:gd name="T26" fmla="*/ 128 w 128"/>
              <a:gd name="T27" fmla="*/ 40 h 128"/>
              <a:gd name="T28" fmla="*/ 17 w 128"/>
              <a:gd name="T29" fmla="*/ 71 h 128"/>
              <a:gd name="T30" fmla="*/ 25 w 128"/>
              <a:gd name="T31" fmla="*/ 78 h 128"/>
              <a:gd name="T32" fmla="*/ 32 w 128"/>
              <a:gd name="T33" fmla="*/ 78 h 128"/>
              <a:gd name="T34" fmla="*/ 17 w 128"/>
              <a:gd name="T35" fmla="*/ 67 h 128"/>
              <a:gd name="T36" fmla="*/ 0 w 128"/>
              <a:gd name="T37" fmla="*/ 86 h 128"/>
              <a:gd name="T38" fmla="*/ 16 w 128"/>
              <a:gd name="T39" fmla="*/ 105 h 128"/>
              <a:gd name="T40" fmla="*/ 27 w 128"/>
              <a:gd name="T41" fmla="*/ 99 h 128"/>
              <a:gd name="T42" fmla="*/ 27 w 128"/>
              <a:gd name="T43" fmla="*/ 99 h 128"/>
              <a:gd name="T44" fmla="*/ 27 w 128"/>
              <a:gd name="T45" fmla="*/ 104 h 128"/>
              <a:gd name="T46" fmla="*/ 33 w 128"/>
              <a:gd name="T47" fmla="*/ 104 h 128"/>
              <a:gd name="T48" fmla="*/ 33 w 128"/>
              <a:gd name="T49" fmla="*/ 85 h 128"/>
              <a:gd name="T50" fmla="*/ 17 w 128"/>
              <a:gd name="T51" fmla="*/ 85 h 128"/>
              <a:gd name="T52" fmla="*/ 17 w 128"/>
              <a:gd name="T53" fmla="*/ 90 h 128"/>
              <a:gd name="T54" fmla="*/ 26 w 128"/>
              <a:gd name="T55" fmla="*/ 90 h 128"/>
              <a:gd name="T56" fmla="*/ 26 w 128"/>
              <a:gd name="T57" fmla="*/ 90 h 128"/>
              <a:gd name="T58" fmla="*/ 17 w 128"/>
              <a:gd name="T59" fmla="*/ 100 h 128"/>
              <a:gd name="T60" fmla="*/ 7 w 128"/>
              <a:gd name="T61" fmla="*/ 86 h 128"/>
              <a:gd name="T62" fmla="*/ 17 w 128"/>
              <a:gd name="T63" fmla="*/ 71 h 128"/>
              <a:gd name="T64" fmla="*/ 41 w 128"/>
              <a:gd name="T65" fmla="*/ 104 h 128"/>
              <a:gd name="T66" fmla="*/ 47 w 128"/>
              <a:gd name="T67" fmla="*/ 104 h 128"/>
              <a:gd name="T68" fmla="*/ 47 w 128"/>
              <a:gd name="T69" fmla="*/ 67 h 128"/>
              <a:gd name="T70" fmla="*/ 41 w 128"/>
              <a:gd name="T71" fmla="*/ 67 h 128"/>
              <a:gd name="T72" fmla="*/ 41 w 128"/>
              <a:gd name="T73" fmla="*/ 104 h 128"/>
              <a:gd name="T74" fmla="*/ 56 w 128"/>
              <a:gd name="T75" fmla="*/ 104 h 128"/>
              <a:gd name="T76" fmla="*/ 62 w 128"/>
              <a:gd name="T77" fmla="*/ 104 h 128"/>
              <a:gd name="T78" fmla="*/ 62 w 128"/>
              <a:gd name="T79" fmla="*/ 89 h 128"/>
              <a:gd name="T80" fmla="*/ 78 w 128"/>
              <a:gd name="T81" fmla="*/ 89 h 128"/>
              <a:gd name="T82" fmla="*/ 78 w 128"/>
              <a:gd name="T83" fmla="*/ 84 h 128"/>
              <a:gd name="T84" fmla="*/ 62 w 128"/>
              <a:gd name="T85" fmla="*/ 84 h 128"/>
              <a:gd name="T86" fmla="*/ 62 w 128"/>
              <a:gd name="T87" fmla="*/ 72 h 128"/>
              <a:gd name="T88" fmla="*/ 79 w 128"/>
              <a:gd name="T89" fmla="*/ 72 h 128"/>
              <a:gd name="T90" fmla="*/ 79 w 128"/>
              <a:gd name="T91" fmla="*/ 67 h 128"/>
              <a:gd name="T92" fmla="*/ 56 w 128"/>
              <a:gd name="T93" fmla="*/ 67 h 128"/>
              <a:gd name="T94" fmla="*/ 56 w 128"/>
              <a:gd name="T95"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8" h="128">
                <a:moveTo>
                  <a:pt x="128" y="40"/>
                </a:moveTo>
                <a:cubicBezTo>
                  <a:pt x="128" y="128"/>
                  <a:pt x="128" y="128"/>
                  <a:pt x="128" y="128"/>
                </a:cubicBezTo>
                <a:cubicBezTo>
                  <a:pt x="96" y="128"/>
                  <a:pt x="96" y="128"/>
                  <a:pt x="96" y="128"/>
                </a:cubicBezTo>
                <a:cubicBezTo>
                  <a:pt x="96" y="120"/>
                  <a:pt x="96" y="120"/>
                  <a:pt x="96" y="120"/>
                </a:cubicBezTo>
                <a:cubicBezTo>
                  <a:pt x="120" y="120"/>
                  <a:pt x="120" y="120"/>
                  <a:pt x="120" y="120"/>
                </a:cubicBezTo>
                <a:cubicBezTo>
                  <a:pt x="120" y="40"/>
                  <a:pt x="120" y="40"/>
                  <a:pt x="120" y="40"/>
                </a:cubicBezTo>
                <a:cubicBezTo>
                  <a:pt x="88" y="40"/>
                  <a:pt x="88" y="40"/>
                  <a:pt x="88" y="40"/>
                </a:cubicBezTo>
                <a:cubicBezTo>
                  <a:pt x="88" y="8"/>
                  <a:pt x="88" y="8"/>
                  <a:pt x="88" y="8"/>
                </a:cubicBezTo>
                <a:cubicBezTo>
                  <a:pt x="40" y="8"/>
                  <a:pt x="40" y="8"/>
                  <a:pt x="40" y="8"/>
                </a:cubicBezTo>
                <a:cubicBezTo>
                  <a:pt x="40" y="32"/>
                  <a:pt x="40" y="32"/>
                  <a:pt x="40" y="32"/>
                </a:cubicBezTo>
                <a:cubicBezTo>
                  <a:pt x="32" y="32"/>
                  <a:pt x="32" y="32"/>
                  <a:pt x="32" y="32"/>
                </a:cubicBezTo>
                <a:cubicBezTo>
                  <a:pt x="32" y="0"/>
                  <a:pt x="32" y="0"/>
                  <a:pt x="32" y="0"/>
                </a:cubicBezTo>
                <a:cubicBezTo>
                  <a:pt x="88" y="0"/>
                  <a:pt x="88" y="0"/>
                  <a:pt x="88" y="0"/>
                </a:cubicBezTo>
                <a:lnTo>
                  <a:pt x="128" y="40"/>
                </a:lnTo>
                <a:close/>
                <a:moveTo>
                  <a:pt x="17" y="71"/>
                </a:moveTo>
                <a:cubicBezTo>
                  <a:pt x="21" y="71"/>
                  <a:pt x="25" y="74"/>
                  <a:pt x="25" y="78"/>
                </a:cubicBezTo>
                <a:cubicBezTo>
                  <a:pt x="32" y="78"/>
                  <a:pt x="32" y="78"/>
                  <a:pt x="32" y="78"/>
                </a:cubicBezTo>
                <a:cubicBezTo>
                  <a:pt x="31" y="71"/>
                  <a:pt x="26" y="67"/>
                  <a:pt x="17" y="67"/>
                </a:cubicBezTo>
                <a:cubicBezTo>
                  <a:pt x="7" y="67"/>
                  <a:pt x="0" y="74"/>
                  <a:pt x="0" y="86"/>
                </a:cubicBezTo>
                <a:cubicBezTo>
                  <a:pt x="0" y="98"/>
                  <a:pt x="6" y="105"/>
                  <a:pt x="16" y="105"/>
                </a:cubicBezTo>
                <a:cubicBezTo>
                  <a:pt x="22" y="105"/>
                  <a:pt x="25" y="102"/>
                  <a:pt x="27" y="99"/>
                </a:cubicBezTo>
                <a:cubicBezTo>
                  <a:pt x="27" y="99"/>
                  <a:pt x="27" y="99"/>
                  <a:pt x="27" y="99"/>
                </a:cubicBezTo>
                <a:cubicBezTo>
                  <a:pt x="27" y="104"/>
                  <a:pt x="27" y="104"/>
                  <a:pt x="27" y="104"/>
                </a:cubicBezTo>
                <a:cubicBezTo>
                  <a:pt x="33" y="104"/>
                  <a:pt x="33" y="104"/>
                  <a:pt x="33" y="104"/>
                </a:cubicBezTo>
                <a:cubicBezTo>
                  <a:pt x="33" y="85"/>
                  <a:pt x="33" y="85"/>
                  <a:pt x="33" y="85"/>
                </a:cubicBezTo>
                <a:cubicBezTo>
                  <a:pt x="17" y="85"/>
                  <a:pt x="17" y="85"/>
                  <a:pt x="17" y="85"/>
                </a:cubicBezTo>
                <a:cubicBezTo>
                  <a:pt x="17" y="90"/>
                  <a:pt x="17" y="90"/>
                  <a:pt x="17" y="90"/>
                </a:cubicBezTo>
                <a:cubicBezTo>
                  <a:pt x="26" y="90"/>
                  <a:pt x="26" y="90"/>
                  <a:pt x="26" y="90"/>
                </a:cubicBezTo>
                <a:cubicBezTo>
                  <a:pt x="26" y="90"/>
                  <a:pt x="26" y="90"/>
                  <a:pt x="26" y="90"/>
                </a:cubicBezTo>
                <a:cubicBezTo>
                  <a:pt x="26" y="97"/>
                  <a:pt x="23" y="100"/>
                  <a:pt x="17" y="100"/>
                </a:cubicBezTo>
                <a:cubicBezTo>
                  <a:pt x="11" y="100"/>
                  <a:pt x="7" y="95"/>
                  <a:pt x="7" y="86"/>
                </a:cubicBezTo>
                <a:cubicBezTo>
                  <a:pt x="7" y="77"/>
                  <a:pt x="11" y="71"/>
                  <a:pt x="17" y="71"/>
                </a:cubicBezTo>
                <a:close/>
                <a:moveTo>
                  <a:pt x="41" y="104"/>
                </a:moveTo>
                <a:cubicBezTo>
                  <a:pt x="47" y="104"/>
                  <a:pt x="47" y="104"/>
                  <a:pt x="47" y="104"/>
                </a:cubicBezTo>
                <a:cubicBezTo>
                  <a:pt x="47" y="67"/>
                  <a:pt x="47" y="67"/>
                  <a:pt x="47" y="67"/>
                </a:cubicBezTo>
                <a:cubicBezTo>
                  <a:pt x="41" y="67"/>
                  <a:pt x="41" y="67"/>
                  <a:pt x="41" y="67"/>
                </a:cubicBezTo>
                <a:lnTo>
                  <a:pt x="41" y="104"/>
                </a:lnTo>
                <a:close/>
                <a:moveTo>
                  <a:pt x="56" y="104"/>
                </a:moveTo>
                <a:cubicBezTo>
                  <a:pt x="62" y="104"/>
                  <a:pt x="62" y="104"/>
                  <a:pt x="62" y="104"/>
                </a:cubicBezTo>
                <a:cubicBezTo>
                  <a:pt x="62" y="89"/>
                  <a:pt x="62" y="89"/>
                  <a:pt x="62" y="89"/>
                </a:cubicBezTo>
                <a:cubicBezTo>
                  <a:pt x="78" y="89"/>
                  <a:pt x="78" y="89"/>
                  <a:pt x="78" y="89"/>
                </a:cubicBezTo>
                <a:cubicBezTo>
                  <a:pt x="78" y="84"/>
                  <a:pt x="78" y="84"/>
                  <a:pt x="78" y="84"/>
                </a:cubicBezTo>
                <a:cubicBezTo>
                  <a:pt x="62" y="84"/>
                  <a:pt x="62" y="84"/>
                  <a:pt x="62" y="84"/>
                </a:cubicBezTo>
                <a:cubicBezTo>
                  <a:pt x="62" y="72"/>
                  <a:pt x="62" y="72"/>
                  <a:pt x="62" y="72"/>
                </a:cubicBezTo>
                <a:cubicBezTo>
                  <a:pt x="79" y="72"/>
                  <a:pt x="79" y="72"/>
                  <a:pt x="79" y="72"/>
                </a:cubicBezTo>
                <a:cubicBezTo>
                  <a:pt x="79" y="67"/>
                  <a:pt x="79" y="67"/>
                  <a:pt x="79" y="67"/>
                </a:cubicBezTo>
                <a:cubicBezTo>
                  <a:pt x="56" y="67"/>
                  <a:pt x="56" y="67"/>
                  <a:pt x="56" y="67"/>
                </a:cubicBezTo>
                <a:lnTo>
                  <a:pt x="56" y="1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8" name="Freeform 77">
            <a:extLst>
              <a:ext uri="{FF2B5EF4-FFF2-40B4-BE49-F238E27FC236}">
                <a16:creationId xmlns:a16="http://schemas.microsoft.com/office/drawing/2014/main" id="{49BFDF8D-1962-49B5-93BD-35D335528BE6}"/>
              </a:ext>
            </a:extLst>
          </p:cNvPr>
          <p:cNvSpPr>
            <a:spLocks noEditPoints="1"/>
          </p:cNvSpPr>
          <p:nvPr/>
        </p:nvSpPr>
        <p:spPr bwMode="auto">
          <a:xfrm>
            <a:off x="1632314" y="2376509"/>
            <a:ext cx="414338" cy="412750"/>
          </a:xfrm>
          <a:custGeom>
            <a:avLst/>
            <a:gdLst>
              <a:gd name="T0" fmla="*/ 128 w 128"/>
              <a:gd name="T1" fmla="*/ 40 h 128"/>
              <a:gd name="T2" fmla="*/ 128 w 128"/>
              <a:gd name="T3" fmla="*/ 128 h 128"/>
              <a:gd name="T4" fmla="*/ 96 w 128"/>
              <a:gd name="T5" fmla="*/ 128 h 128"/>
              <a:gd name="T6" fmla="*/ 96 w 128"/>
              <a:gd name="T7" fmla="*/ 120 h 128"/>
              <a:gd name="T8" fmla="*/ 120 w 128"/>
              <a:gd name="T9" fmla="*/ 120 h 128"/>
              <a:gd name="T10" fmla="*/ 120 w 128"/>
              <a:gd name="T11" fmla="*/ 40 h 128"/>
              <a:gd name="T12" fmla="*/ 88 w 128"/>
              <a:gd name="T13" fmla="*/ 40 h 128"/>
              <a:gd name="T14" fmla="*/ 88 w 128"/>
              <a:gd name="T15" fmla="*/ 8 h 128"/>
              <a:gd name="T16" fmla="*/ 40 w 128"/>
              <a:gd name="T17" fmla="*/ 8 h 128"/>
              <a:gd name="T18" fmla="*/ 40 w 128"/>
              <a:gd name="T19" fmla="*/ 32 h 128"/>
              <a:gd name="T20" fmla="*/ 32 w 128"/>
              <a:gd name="T21" fmla="*/ 32 h 128"/>
              <a:gd name="T22" fmla="*/ 32 w 128"/>
              <a:gd name="T23" fmla="*/ 0 h 128"/>
              <a:gd name="T24" fmla="*/ 88 w 128"/>
              <a:gd name="T25" fmla="*/ 0 h 128"/>
              <a:gd name="T26" fmla="*/ 128 w 128"/>
              <a:gd name="T27" fmla="*/ 40 h 128"/>
              <a:gd name="T28" fmla="*/ 3 w 128"/>
              <a:gd name="T29" fmla="*/ 104 h 128"/>
              <a:gd name="T30" fmla="*/ 16 w 128"/>
              <a:gd name="T31" fmla="*/ 93 h 128"/>
              <a:gd name="T32" fmla="*/ 16 w 128"/>
              <a:gd name="T33" fmla="*/ 67 h 128"/>
              <a:gd name="T34" fmla="*/ 9 w 128"/>
              <a:gd name="T35" fmla="*/ 67 h 128"/>
              <a:gd name="T36" fmla="*/ 9 w 128"/>
              <a:gd name="T37" fmla="*/ 92 h 128"/>
              <a:gd name="T38" fmla="*/ 1 w 128"/>
              <a:gd name="T39" fmla="*/ 99 h 128"/>
              <a:gd name="T40" fmla="*/ 0 w 128"/>
              <a:gd name="T41" fmla="*/ 99 h 128"/>
              <a:gd name="T42" fmla="*/ 0 w 128"/>
              <a:gd name="T43" fmla="*/ 104 h 128"/>
              <a:gd name="T44" fmla="*/ 3 w 128"/>
              <a:gd name="T45" fmla="*/ 104 h 128"/>
              <a:gd name="T46" fmla="*/ 35 w 128"/>
              <a:gd name="T47" fmla="*/ 91 h 128"/>
              <a:gd name="T48" fmla="*/ 49 w 128"/>
              <a:gd name="T49" fmla="*/ 79 h 128"/>
              <a:gd name="T50" fmla="*/ 36 w 128"/>
              <a:gd name="T51" fmla="*/ 67 h 128"/>
              <a:gd name="T52" fmla="*/ 23 w 128"/>
              <a:gd name="T53" fmla="*/ 67 h 128"/>
              <a:gd name="T54" fmla="*/ 23 w 128"/>
              <a:gd name="T55" fmla="*/ 104 h 128"/>
              <a:gd name="T56" fmla="*/ 30 w 128"/>
              <a:gd name="T57" fmla="*/ 104 h 128"/>
              <a:gd name="T58" fmla="*/ 30 w 128"/>
              <a:gd name="T59" fmla="*/ 91 h 128"/>
              <a:gd name="T60" fmla="*/ 35 w 128"/>
              <a:gd name="T61" fmla="*/ 91 h 128"/>
              <a:gd name="T62" fmla="*/ 30 w 128"/>
              <a:gd name="T63" fmla="*/ 86 h 128"/>
              <a:gd name="T64" fmla="*/ 30 w 128"/>
              <a:gd name="T65" fmla="*/ 72 h 128"/>
              <a:gd name="T66" fmla="*/ 35 w 128"/>
              <a:gd name="T67" fmla="*/ 72 h 128"/>
              <a:gd name="T68" fmla="*/ 43 w 128"/>
              <a:gd name="T69" fmla="*/ 79 h 128"/>
              <a:gd name="T70" fmla="*/ 35 w 128"/>
              <a:gd name="T71" fmla="*/ 86 h 128"/>
              <a:gd name="T72" fmla="*/ 30 w 128"/>
              <a:gd name="T73" fmla="*/ 86 h 128"/>
              <a:gd name="T74" fmla="*/ 70 w 128"/>
              <a:gd name="T75" fmla="*/ 71 h 128"/>
              <a:gd name="T76" fmla="*/ 78 w 128"/>
              <a:gd name="T77" fmla="*/ 78 h 128"/>
              <a:gd name="T78" fmla="*/ 85 w 128"/>
              <a:gd name="T79" fmla="*/ 78 h 128"/>
              <a:gd name="T80" fmla="*/ 70 w 128"/>
              <a:gd name="T81" fmla="*/ 67 h 128"/>
              <a:gd name="T82" fmla="*/ 53 w 128"/>
              <a:gd name="T83" fmla="*/ 86 h 128"/>
              <a:gd name="T84" fmla="*/ 69 w 128"/>
              <a:gd name="T85" fmla="*/ 105 h 128"/>
              <a:gd name="T86" fmla="*/ 80 w 128"/>
              <a:gd name="T87" fmla="*/ 99 h 128"/>
              <a:gd name="T88" fmla="*/ 81 w 128"/>
              <a:gd name="T89" fmla="*/ 99 h 128"/>
              <a:gd name="T90" fmla="*/ 81 w 128"/>
              <a:gd name="T91" fmla="*/ 104 h 128"/>
              <a:gd name="T92" fmla="*/ 86 w 128"/>
              <a:gd name="T93" fmla="*/ 104 h 128"/>
              <a:gd name="T94" fmla="*/ 86 w 128"/>
              <a:gd name="T95" fmla="*/ 85 h 128"/>
              <a:gd name="T96" fmla="*/ 70 w 128"/>
              <a:gd name="T97" fmla="*/ 85 h 128"/>
              <a:gd name="T98" fmla="*/ 70 w 128"/>
              <a:gd name="T99" fmla="*/ 90 h 128"/>
              <a:gd name="T100" fmla="*/ 80 w 128"/>
              <a:gd name="T101" fmla="*/ 90 h 128"/>
              <a:gd name="T102" fmla="*/ 80 w 128"/>
              <a:gd name="T103" fmla="*/ 90 h 128"/>
              <a:gd name="T104" fmla="*/ 70 w 128"/>
              <a:gd name="T105" fmla="*/ 100 h 128"/>
              <a:gd name="T106" fmla="*/ 60 w 128"/>
              <a:gd name="T107" fmla="*/ 86 h 128"/>
              <a:gd name="T108" fmla="*/ 70 w 128"/>
              <a:gd name="T109" fmla="*/ 7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8" h="128">
                <a:moveTo>
                  <a:pt x="128" y="40"/>
                </a:moveTo>
                <a:cubicBezTo>
                  <a:pt x="128" y="128"/>
                  <a:pt x="128" y="128"/>
                  <a:pt x="128" y="128"/>
                </a:cubicBezTo>
                <a:cubicBezTo>
                  <a:pt x="96" y="128"/>
                  <a:pt x="96" y="128"/>
                  <a:pt x="96" y="128"/>
                </a:cubicBezTo>
                <a:cubicBezTo>
                  <a:pt x="96" y="120"/>
                  <a:pt x="96" y="120"/>
                  <a:pt x="96" y="120"/>
                </a:cubicBezTo>
                <a:cubicBezTo>
                  <a:pt x="120" y="120"/>
                  <a:pt x="120" y="120"/>
                  <a:pt x="120" y="120"/>
                </a:cubicBezTo>
                <a:cubicBezTo>
                  <a:pt x="120" y="40"/>
                  <a:pt x="120" y="40"/>
                  <a:pt x="120" y="40"/>
                </a:cubicBezTo>
                <a:cubicBezTo>
                  <a:pt x="88" y="40"/>
                  <a:pt x="88" y="40"/>
                  <a:pt x="88" y="40"/>
                </a:cubicBezTo>
                <a:cubicBezTo>
                  <a:pt x="88" y="8"/>
                  <a:pt x="88" y="8"/>
                  <a:pt x="88" y="8"/>
                </a:cubicBezTo>
                <a:cubicBezTo>
                  <a:pt x="40" y="8"/>
                  <a:pt x="40" y="8"/>
                  <a:pt x="40" y="8"/>
                </a:cubicBezTo>
                <a:cubicBezTo>
                  <a:pt x="40" y="32"/>
                  <a:pt x="40" y="32"/>
                  <a:pt x="40" y="32"/>
                </a:cubicBezTo>
                <a:cubicBezTo>
                  <a:pt x="32" y="32"/>
                  <a:pt x="32" y="32"/>
                  <a:pt x="32" y="32"/>
                </a:cubicBezTo>
                <a:cubicBezTo>
                  <a:pt x="32" y="0"/>
                  <a:pt x="32" y="0"/>
                  <a:pt x="32" y="0"/>
                </a:cubicBezTo>
                <a:cubicBezTo>
                  <a:pt x="88" y="0"/>
                  <a:pt x="88" y="0"/>
                  <a:pt x="88" y="0"/>
                </a:cubicBezTo>
                <a:lnTo>
                  <a:pt x="128" y="40"/>
                </a:lnTo>
                <a:close/>
                <a:moveTo>
                  <a:pt x="3" y="104"/>
                </a:moveTo>
                <a:cubicBezTo>
                  <a:pt x="11" y="104"/>
                  <a:pt x="16" y="101"/>
                  <a:pt x="16" y="93"/>
                </a:cubicBezTo>
                <a:cubicBezTo>
                  <a:pt x="16" y="67"/>
                  <a:pt x="16" y="67"/>
                  <a:pt x="16" y="67"/>
                </a:cubicBezTo>
                <a:cubicBezTo>
                  <a:pt x="9" y="67"/>
                  <a:pt x="9" y="67"/>
                  <a:pt x="9" y="67"/>
                </a:cubicBezTo>
                <a:cubicBezTo>
                  <a:pt x="9" y="92"/>
                  <a:pt x="9" y="92"/>
                  <a:pt x="9" y="92"/>
                </a:cubicBezTo>
                <a:cubicBezTo>
                  <a:pt x="9" y="97"/>
                  <a:pt x="8" y="99"/>
                  <a:pt x="1" y="99"/>
                </a:cubicBezTo>
                <a:cubicBezTo>
                  <a:pt x="0" y="99"/>
                  <a:pt x="0" y="99"/>
                  <a:pt x="0" y="99"/>
                </a:cubicBezTo>
                <a:cubicBezTo>
                  <a:pt x="0" y="104"/>
                  <a:pt x="0" y="104"/>
                  <a:pt x="0" y="104"/>
                </a:cubicBezTo>
                <a:lnTo>
                  <a:pt x="3" y="104"/>
                </a:lnTo>
                <a:close/>
                <a:moveTo>
                  <a:pt x="35" y="91"/>
                </a:moveTo>
                <a:cubicBezTo>
                  <a:pt x="43" y="91"/>
                  <a:pt x="49" y="87"/>
                  <a:pt x="49" y="79"/>
                </a:cubicBezTo>
                <a:cubicBezTo>
                  <a:pt x="49" y="71"/>
                  <a:pt x="43" y="67"/>
                  <a:pt x="36" y="67"/>
                </a:cubicBezTo>
                <a:cubicBezTo>
                  <a:pt x="23" y="67"/>
                  <a:pt x="23" y="67"/>
                  <a:pt x="23" y="67"/>
                </a:cubicBezTo>
                <a:cubicBezTo>
                  <a:pt x="23" y="104"/>
                  <a:pt x="23" y="104"/>
                  <a:pt x="23" y="104"/>
                </a:cubicBezTo>
                <a:cubicBezTo>
                  <a:pt x="30" y="104"/>
                  <a:pt x="30" y="104"/>
                  <a:pt x="30" y="104"/>
                </a:cubicBezTo>
                <a:cubicBezTo>
                  <a:pt x="30" y="91"/>
                  <a:pt x="30" y="91"/>
                  <a:pt x="30" y="91"/>
                </a:cubicBezTo>
                <a:lnTo>
                  <a:pt x="35" y="91"/>
                </a:lnTo>
                <a:close/>
                <a:moveTo>
                  <a:pt x="30" y="86"/>
                </a:moveTo>
                <a:cubicBezTo>
                  <a:pt x="30" y="72"/>
                  <a:pt x="30" y="72"/>
                  <a:pt x="30" y="72"/>
                </a:cubicBezTo>
                <a:cubicBezTo>
                  <a:pt x="35" y="72"/>
                  <a:pt x="35" y="72"/>
                  <a:pt x="35" y="72"/>
                </a:cubicBezTo>
                <a:cubicBezTo>
                  <a:pt x="40" y="72"/>
                  <a:pt x="43" y="74"/>
                  <a:pt x="43" y="79"/>
                </a:cubicBezTo>
                <a:cubicBezTo>
                  <a:pt x="43" y="84"/>
                  <a:pt x="40" y="86"/>
                  <a:pt x="35" y="86"/>
                </a:cubicBezTo>
                <a:lnTo>
                  <a:pt x="30" y="86"/>
                </a:lnTo>
                <a:close/>
                <a:moveTo>
                  <a:pt x="70" y="71"/>
                </a:moveTo>
                <a:cubicBezTo>
                  <a:pt x="75" y="71"/>
                  <a:pt x="78" y="74"/>
                  <a:pt x="78" y="78"/>
                </a:cubicBezTo>
                <a:cubicBezTo>
                  <a:pt x="85" y="78"/>
                  <a:pt x="85" y="78"/>
                  <a:pt x="85" y="78"/>
                </a:cubicBezTo>
                <a:cubicBezTo>
                  <a:pt x="84" y="71"/>
                  <a:pt x="79" y="67"/>
                  <a:pt x="70" y="67"/>
                </a:cubicBezTo>
                <a:cubicBezTo>
                  <a:pt x="60" y="67"/>
                  <a:pt x="53" y="74"/>
                  <a:pt x="53" y="86"/>
                </a:cubicBezTo>
                <a:cubicBezTo>
                  <a:pt x="53" y="98"/>
                  <a:pt x="59" y="105"/>
                  <a:pt x="69" y="105"/>
                </a:cubicBezTo>
                <a:cubicBezTo>
                  <a:pt x="75" y="105"/>
                  <a:pt x="79" y="102"/>
                  <a:pt x="80" y="99"/>
                </a:cubicBezTo>
                <a:cubicBezTo>
                  <a:pt x="81" y="99"/>
                  <a:pt x="81" y="99"/>
                  <a:pt x="81" y="99"/>
                </a:cubicBezTo>
                <a:cubicBezTo>
                  <a:pt x="81" y="104"/>
                  <a:pt x="81" y="104"/>
                  <a:pt x="81" y="104"/>
                </a:cubicBezTo>
                <a:cubicBezTo>
                  <a:pt x="86" y="104"/>
                  <a:pt x="86" y="104"/>
                  <a:pt x="86" y="104"/>
                </a:cubicBezTo>
                <a:cubicBezTo>
                  <a:pt x="86" y="85"/>
                  <a:pt x="86" y="85"/>
                  <a:pt x="86" y="85"/>
                </a:cubicBezTo>
                <a:cubicBezTo>
                  <a:pt x="70" y="85"/>
                  <a:pt x="70" y="85"/>
                  <a:pt x="70" y="85"/>
                </a:cubicBezTo>
                <a:cubicBezTo>
                  <a:pt x="70" y="90"/>
                  <a:pt x="70" y="90"/>
                  <a:pt x="70" y="90"/>
                </a:cubicBezTo>
                <a:cubicBezTo>
                  <a:pt x="80" y="90"/>
                  <a:pt x="80" y="90"/>
                  <a:pt x="80" y="90"/>
                </a:cubicBezTo>
                <a:cubicBezTo>
                  <a:pt x="80" y="90"/>
                  <a:pt x="80" y="90"/>
                  <a:pt x="80" y="90"/>
                </a:cubicBezTo>
                <a:cubicBezTo>
                  <a:pt x="79" y="97"/>
                  <a:pt x="76" y="100"/>
                  <a:pt x="70" y="100"/>
                </a:cubicBezTo>
                <a:cubicBezTo>
                  <a:pt x="64" y="100"/>
                  <a:pt x="60" y="95"/>
                  <a:pt x="60" y="86"/>
                </a:cubicBezTo>
                <a:cubicBezTo>
                  <a:pt x="60" y="77"/>
                  <a:pt x="64" y="71"/>
                  <a:pt x="70" y="7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09" name="Freeform 81">
            <a:extLst>
              <a:ext uri="{FF2B5EF4-FFF2-40B4-BE49-F238E27FC236}">
                <a16:creationId xmlns:a16="http://schemas.microsoft.com/office/drawing/2014/main" id="{BAD0665E-3F4F-4F44-8CE5-52AC667F0D74}"/>
              </a:ext>
            </a:extLst>
          </p:cNvPr>
          <p:cNvSpPr>
            <a:spLocks noEditPoints="1"/>
          </p:cNvSpPr>
          <p:nvPr/>
        </p:nvSpPr>
        <p:spPr bwMode="auto">
          <a:xfrm>
            <a:off x="2677748" y="2374921"/>
            <a:ext cx="414338" cy="414338"/>
          </a:xfrm>
          <a:custGeom>
            <a:avLst/>
            <a:gdLst>
              <a:gd name="T0" fmla="*/ 128 w 128"/>
              <a:gd name="T1" fmla="*/ 40 h 128"/>
              <a:gd name="T2" fmla="*/ 128 w 128"/>
              <a:gd name="T3" fmla="*/ 128 h 128"/>
              <a:gd name="T4" fmla="*/ 96 w 128"/>
              <a:gd name="T5" fmla="*/ 128 h 128"/>
              <a:gd name="T6" fmla="*/ 96 w 128"/>
              <a:gd name="T7" fmla="*/ 120 h 128"/>
              <a:gd name="T8" fmla="*/ 120 w 128"/>
              <a:gd name="T9" fmla="*/ 120 h 128"/>
              <a:gd name="T10" fmla="*/ 120 w 128"/>
              <a:gd name="T11" fmla="*/ 40 h 128"/>
              <a:gd name="T12" fmla="*/ 88 w 128"/>
              <a:gd name="T13" fmla="*/ 40 h 128"/>
              <a:gd name="T14" fmla="*/ 88 w 128"/>
              <a:gd name="T15" fmla="*/ 8 h 128"/>
              <a:gd name="T16" fmla="*/ 40 w 128"/>
              <a:gd name="T17" fmla="*/ 8 h 128"/>
              <a:gd name="T18" fmla="*/ 40 w 128"/>
              <a:gd name="T19" fmla="*/ 32 h 128"/>
              <a:gd name="T20" fmla="*/ 32 w 128"/>
              <a:gd name="T21" fmla="*/ 32 h 128"/>
              <a:gd name="T22" fmla="*/ 32 w 128"/>
              <a:gd name="T23" fmla="*/ 0 h 128"/>
              <a:gd name="T24" fmla="*/ 88 w 128"/>
              <a:gd name="T25" fmla="*/ 0 h 128"/>
              <a:gd name="T26" fmla="*/ 128 w 128"/>
              <a:gd name="T27" fmla="*/ 40 h 128"/>
              <a:gd name="T28" fmla="*/ 0 w 128"/>
              <a:gd name="T29" fmla="*/ 104 h 128"/>
              <a:gd name="T30" fmla="*/ 6 w 128"/>
              <a:gd name="T31" fmla="*/ 104 h 128"/>
              <a:gd name="T32" fmla="*/ 6 w 128"/>
              <a:gd name="T33" fmla="*/ 74 h 128"/>
              <a:gd name="T34" fmla="*/ 6 w 128"/>
              <a:gd name="T35" fmla="*/ 74 h 128"/>
              <a:gd name="T36" fmla="*/ 8 w 128"/>
              <a:gd name="T37" fmla="*/ 81 h 128"/>
              <a:gd name="T38" fmla="*/ 16 w 128"/>
              <a:gd name="T39" fmla="*/ 104 h 128"/>
              <a:gd name="T40" fmla="*/ 21 w 128"/>
              <a:gd name="T41" fmla="*/ 104 h 128"/>
              <a:gd name="T42" fmla="*/ 29 w 128"/>
              <a:gd name="T43" fmla="*/ 81 h 128"/>
              <a:gd name="T44" fmla="*/ 31 w 128"/>
              <a:gd name="T45" fmla="*/ 74 h 128"/>
              <a:gd name="T46" fmla="*/ 31 w 128"/>
              <a:gd name="T47" fmla="*/ 74 h 128"/>
              <a:gd name="T48" fmla="*/ 31 w 128"/>
              <a:gd name="T49" fmla="*/ 104 h 128"/>
              <a:gd name="T50" fmla="*/ 38 w 128"/>
              <a:gd name="T51" fmla="*/ 104 h 128"/>
              <a:gd name="T52" fmla="*/ 38 w 128"/>
              <a:gd name="T53" fmla="*/ 67 h 128"/>
              <a:gd name="T54" fmla="*/ 28 w 128"/>
              <a:gd name="T55" fmla="*/ 67 h 128"/>
              <a:gd name="T56" fmla="*/ 21 w 128"/>
              <a:gd name="T57" fmla="*/ 90 h 128"/>
              <a:gd name="T58" fmla="*/ 19 w 128"/>
              <a:gd name="T59" fmla="*/ 95 h 128"/>
              <a:gd name="T60" fmla="*/ 19 w 128"/>
              <a:gd name="T61" fmla="*/ 95 h 128"/>
              <a:gd name="T62" fmla="*/ 17 w 128"/>
              <a:gd name="T63" fmla="*/ 90 h 128"/>
              <a:gd name="T64" fmla="*/ 10 w 128"/>
              <a:gd name="T65" fmla="*/ 67 h 128"/>
              <a:gd name="T66" fmla="*/ 0 w 128"/>
              <a:gd name="T67" fmla="*/ 67 h 128"/>
              <a:gd name="T68" fmla="*/ 0 w 128"/>
              <a:gd name="T69" fmla="*/ 104 h 128"/>
              <a:gd name="T70" fmla="*/ 44 w 128"/>
              <a:gd name="T71" fmla="*/ 86 h 128"/>
              <a:gd name="T72" fmla="*/ 61 w 128"/>
              <a:gd name="T73" fmla="*/ 105 h 128"/>
              <a:gd name="T74" fmla="*/ 78 w 128"/>
              <a:gd name="T75" fmla="*/ 86 h 128"/>
              <a:gd name="T76" fmla="*/ 61 w 128"/>
              <a:gd name="T77" fmla="*/ 67 h 128"/>
              <a:gd name="T78" fmla="*/ 44 w 128"/>
              <a:gd name="T79" fmla="*/ 86 h 128"/>
              <a:gd name="T80" fmla="*/ 61 w 128"/>
              <a:gd name="T81" fmla="*/ 71 h 128"/>
              <a:gd name="T82" fmla="*/ 71 w 128"/>
              <a:gd name="T83" fmla="*/ 86 h 128"/>
              <a:gd name="T84" fmla="*/ 61 w 128"/>
              <a:gd name="T85" fmla="*/ 100 h 128"/>
              <a:gd name="T86" fmla="*/ 51 w 128"/>
              <a:gd name="T87" fmla="*/ 86 h 128"/>
              <a:gd name="T88" fmla="*/ 61 w 128"/>
              <a:gd name="T89" fmla="*/ 71 h 128"/>
              <a:gd name="T90" fmla="*/ 92 w 128"/>
              <a:gd name="T91" fmla="*/ 104 h 128"/>
              <a:gd name="T92" fmla="*/ 100 w 128"/>
              <a:gd name="T93" fmla="*/ 104 h 128"/>
              <a:gd name="T94" fmla="*/ 112 w 128"/>
              <a:gd name="T95" fmla="*/ 67 h 128"/>
              <a:gd name="T96" fmla="*/ 106 w 128"/>
              <a:gd name="T97" fmla="*/ 67 h 128"/>
              <a:gd name="T98" fmla="*/ 98 w 128"/>
              <a:gd name="T99" fmla="*/ 93 h 128"/>
              <a:gd name="T100" fmla="*/ 96 w 128"/>
              <a:gd name="T101" fmla="*/ 98 h 128"/>
              <a:gd name="T102" fmla="*/ 96 w 128"/>
              <a:gd name="T103" fmla="*/ 98 h 128"/>
              <a:gd name="T104" fmla="*/ 95 w 128"/>
              <a:gd name="T105" fmla="*/ 93 h 128"/>
              <a:gd name="T106" fmla="*/ 86 w 128"/>
              <a:gd name="T107" fmla="*/ 67 h 128"/>
              <a:gd name="T108" fmla="*/ 79 w 128"/>
              <a:gd name="T109" fmla="*/ 67 h 128"/>
              <a:gd name="T110" fmla="*/ 92 w 128"/>
              <a:gd name="T11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128">
                <a:moveTo>
                  <a:pt x="128" y="40"/>
                </a:moveTo>
                <a:cubicBezTo>
                  <a:pt x="128" y="128"/>
                  <a:pt x="128" y="128"/>
                  <a:pt x="128" y="128"/>
                </a:cubicBezTo>
                <a:cubicBezTo>
                  <a:pt x="96" y="128"/>
                  <a:pt x="96" y="128"/>
                  <a:pt x="96" y="128"/>
                </a:cubicBezTo>
                <a:cubicBezTo>
                  <a:pt x="96" y="120"/>
                  <a:pt x="96" y="120"/>
                  <a:pt x="96" y="120"/>
                </a:cubicBezTo>
                <a:cubicBezTo>
                  <a:pt x="120" y="120"/>
                  <a:pt x="120" y="120"/>
                  <a:pt x="120" y="120"/>
                </a:cubicBezTo>
                <a:cubicBezTo>
                  <a:pt x="120" y="40"/>
                  <a:pt x="120" y="40"/>
                  <a:pt x="120" y="40"/>
                </a:cubicBezTo>
                <a:cubicBezTo>
                  <a:pt x="88" y="40"/>
                  <a:pt x="88" y="40"/>
                  <a:pt x="88" y="40"/>
                </a:cubicBezTo>
                <a:cubicBezTo>
                  <a:pt x="88" y="8"/>
                  <a:pt x="88" y="8"/>
                  <a:pt x="88" y="8"/>
                </a:cubicBezTo>
                <a:cubicBezTo>
                  <a:pt x="40" y="8"/>
                  <a:pt x="40" y="8"/>
                  <a:pt x="40" y="8"/>
                </a:cubicBezTo>
                <a:cubicBezTo>
                  <a:pt x="40" y="32"/>
                  <a:pt x="40" y="32"/>
                  <a:pt x="40" y="32"/>
                </a:cubicBezTo>
                <a:cubicBezTo>
                  <a:pt x="32" y="32"/>
                  <a:pt x="32" y="32"/>
                  <a:pt x="32" y="32"/>
                </a:cubicBezTo>
                <a:cubicBezTo>
                  <a:pt x="32" y="0"/>
                  <a:pt x="32" y="0"/>
                  <a:pt x="32" y="0"/>
                </a:cubicBezTo>
                <a:cubicBezTo>
                  <a:pt x="88" y="0"/>
                  <a:pt x="88" y="0"/>
                  <a:pt x="88" y="0"/>
                </a:cubicBezTo>
                <a:lnTo>
                  <a:pt x="128" y="40"/>
                </a:lnTo>
                <a:close/>
                <a:moveTo>
                  <a:pt x="0" y="104"/>
                </a:moveTo>
                <a:cubicBezTo>
                  <a:pt x="6" y="104"/>
                  <a:pt x="6" y="104"/>
                  <a:pt x="6" y="104"/>
                </a:cubicBezTo>
                <a:cubicBezTo>
                  <a:pt x="6" y="74"/>
                  <a:pt x="6" y="74"/>
                  <a:pt x="6" y="74"/>
                </a:cubicBezTo>
                <a:cubicBezTo>
                  <a:pt x="6" y="74"/>
                  <a:pt x="6" y="74"/>
                  <a:pt x="6" y="74"/>
                </a:cubicBezTo>
                <a:cubicBezTo>
                  <a:pt x="6" y="74"/>
                  <a:pt x="7" y="77"/>
                  <a:pt x="8" y="81"/>
                </a:cubicBezTo>
                <a:cubicBezTo>
                  <a:pt x="16" y="104"/>
                  <a:pt x="16" y="104"/>
                  <a:pt x="16" y="104"/>
                </a:cubicBezTo>
                <a:cubicBezTo>
                  <a:pt x="21" y="104"/>
                  <a:pt x="21" y="104"/>
                  <a:pt x="21" y="104"/>
                </a:cubicBezTo>
                <a:cubicBezTo>
                  <a:pt x="29" y="81"/>
                  <a:pt x="29" y="81"/>
                  <a:pt x="29" y="81"/>
                </a:cubicBezTo>
                <a:cubicBezTo>
                  <a:pt x="31" y="77"/>
                  <a:pt x="31" y="74"/>
                  <a:pt x="31" y="74"/>
                </a:cubicBezTo>
                <a:cubicBezTo>
                  <a:pt x="31" y="74"/>
                  <a:pt x="31" y="74"/>
                  <a:pt x="31" y="74"/>
                </a:cubicBezTo>
                <a:cubicBezTo>
                  <a:pt x="31" y="104"/>
                  <a:pt x="31" y="104"/>
                  <a:pt x="31" y="104"/>
                </a:cubicBezTo>
                <a:cubicBezTo>
                  <a:pt x="38" y="104"/>
                  <a:pt x="38" y="104"/>
                  <a:pt x="38" y="104"/>
                </a:cubicBezTo>
                <a:cubicBezTo>
                  <a:pt x="38" y="67"/>
                  <a:pt x="38" y="67"/>
                  <a:pt x="38" y="67"/>
                </a:cubicBezTo>
                <a:cubicBezTo>
                  <a:pt x="28" y="67"/>
                  <a:pt x="28" y="67"/>
                  <a:pt x="28" y="67"/>
                </a:cubicBezTo>
                <a:cubicBezTo>
                  <a:pt x="21" y="90"/>
                  <a:pt x="21" y="90"/>
                  <a:pt x="21" y="90"/>
                </a:cubicBezTo>
                <a:cubicBezTo>
                  <a:pt x="20" y="93"/>
                  <a:pt x="19" y="95"/>
                  <a:pt x="19" y="95"/>
                </a:cubicBezTo>
                <a:cubicBezTo>
                  <a:pt x="19" y="95"/>
                  <a:pt x="19" y="95"/>
                  <a:pt x="19" y="95"/>
                </a:cubicBezTo>
                <a:cubicBezTo>
                  <a:pt x="19" y="95"/>
                  <a:pt x="18" y="93"/>
                  <a:pt x="17" y="90"/>
                </a:cubicBezTo>
                <a:cubicBezTo>
                  <a:pt x="10" y="67"/>
                  <a:pt x="10" y="67"/>
                  <a:pt x="10" y="67"/>
                </a:cubicBezTo>
                <a:cubicBezTo>
                  <a:pt x="0" y="67"/>
                  <a:pt x="0" y="67"/>
                  <a:pt x="0" y="67"/>
                </a:cubicBezTo>
                <a:lnTo>
                  <a:pt x="0" y="104"/>
                </a:lnTo>
                <a:close/>
                <a:moveTo>
                  <a:pt x="44" y="86"/>
                </a:moveTo>
                <a:cubicBezTo>
                  <a:pt x="44" y="98"/>
                  <a:pt x="50" y="105"/>
                  <a:pt x="61" y="105"/>
                </a:cubicBezTo>
                <a:cubicBezTo>
                  <a:pt x="71" y="105"/>
                  <a:pt x="78" y="98"/>
                  <a:pt x="78" y="86"/>
                </a:cubicBezTo>
                <a:cubicBezTo>
                  <a:pt x="78" y="73"/>
                  <a:pt x="71" y="67"/>
                  <a:pt x="61" y="67"/>
                </a:cubicBezTo>
                <a:cubicBezTo>
                  <a:pt x="51" y="67"/>
                  <a:pt x="44" y="73"/>
                  <a:pt x="44" y="86"/>
                </a:cubicBezTo>
                <a:close/>
                <a:moveTo>
                  <a:pt x="61" y="71"/>
                </a:moveTo>
                <a:cubicBezTo>
                  <a:pt x="67" y="71"/>
                  <a:pt x="71" y="76"/>
                  <a:pt x="71" y="86"/>
                </a:cubicBezTo>
                <a:cubicBezTo>
                  <a:pt x="71" y="95"/>
                  <a:pt x="67" y="100"/>
                  <a:pt x="61" y="100"/>
                </a:cubicBezTo>
                <a:cubicBezTo>
                  <a:pt x="54" y="100"/>
                  <a:pt x="51" y="95"/>
                  <a:pt x="51" y="86"/>
                </a:cubicBezTo>
                <a:cubicBezTo>
                  <a:pt x="51" y="76"/>
                  <a:pt x="54" y="71"/>
                  <a:pt x="61" y="71"/>
                </a:cubicBezTo>
                <a:close/>
                <a:moveTo>
                  <a:pt x="92" y="104"/>
                </a:moveTo>
                <a:cubicBezTo>
                  <a:pt x="100" y="104"/>
                  <a:pt x="100" y="104"/>
                  <a:pt x="100" y="104"/>
                </a:cubicBezTo>
                <a:cubicBezTo>
                  <a:pt x="112" y="67"/>
                  <a:pt x="112" y="67"/>
                  <a:pt x="112" y="67"/>
                </a:cubicBezTo>
                <a:cubicBezTo>
                  <a:pt x="106" y="67"/>
                  <a:pt x="106" y="67"/>
                  <a:pt x="106" y="67"/>
                </a:cubicBezTo>
                <a:cubicBezTo>
                  <a:pt x="98" y="93"/>
                  <a:pt x="98" y="93"/>
                  <a:pt x="98" y="93"/>
                </a:cubicBezTo>
                <a:cubicBezTo>
                  <a:pt x="96" y="96"/>
                  <a:pt x="96" y="98"/>
                  <a:pt x="96" y="98"/>
                </a:cubicBezTo>
                <a:cubicBezTo>
                  <a:pt x="96" y="98"/>
                  <a:pt x="96" y="98"/>
                  <a:pt x="96" y="98"/>
                </a:cubicBezTo>
                <a:cubicBezTo>
                  <a:pt x="96" y="98"/>
                  <a:pt x="96" y="96"/>
                  <a:pt x="95" y="93"/>
                </a:cubicBezTo>
                <a:cubicBezTo>
                  <a:pt x="86" y="67"/>
                  <a:pt x="86" y="67"/>
                  <a:pt x="86" y="67"/>
                </a:cubicBezTo>
                <a:cubicBezTo>
                  <a:pt x="79" y="67"/>
                  <a:pt x="79" y="67"/>
                  <a:pt x="79" y="67"/>
                </a:cubicBezTo>
                <a:lnTo>
                  <a:pt x="92" y="1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0" name="Freeform 85">
            <a:extLst>
              <a:ext uri="{FF2B5EF4-FFF2-40B4-BE49-F238E27FC236}">
                <a16:creationId xmlns:a16="http://schemas.microsoft.com/office/drawing/2014/main" id="{CD2F0682-C2A8-4F4A-B68C-52D99FC3AE88}"/>
              </a:ext>
            </a:extLst>
          </p:cNvPr>
          <p:cNvSpPr>
            <a:spLocks noEditPoints="1"/>
          </p:cNvSpPr>
          <p:nvPr/>
        </p:nvSpPr>
        <p:spPr bwMode="auto">
          <a:xfrm>
            <a:off x="3723977" y="2376509"/>
            <a:ext cx="412750" cy="412750"/>
          </a:xfrm>
          <a:custGeom>
            <a:avLst/>
            <a:gdLst>
              <a:gd name="T0" fmla="*/ 128 w 128"/>
              <a:gd name="T1" fmla="*/ 128 h 128"/>
              <a:gd name="T2" fmla="*/ 96 w 128"/>
              <a:gd name="T3" fmla="*/ 120 h 128"/>
              <a:gd name="T4" fmla="*/ 120 w 128"/>
              <a:gd name="T5" fmla="*/ 40 h 128"/>
              <a:gd name="T6" fmla="*/ 88 w 128"/>
              <a:gd name="T7" fmla="*/ 8 h 128"/>
              <a:gd name="T8" fmla="*/ 40 w 128"/>
              <a:gd name="T9" fmla="*/ 32 h 128"/>
              <a:gd name="T10" fmla="*/ 32 w 128"/>
              <a:gd name="T11" fmla="*/ 0 h 128"/>
              <a:gd name="T12" fmla="*/ 128 w 128"/>
              <a:gd name="T13" fmla="*/ 40 h 128"/>
              <a:gd name="T14" fmla="*/ 6 w 128"/>
              <a:gd name="T15" fmla="*/ 104 h 128"/>
              <a:gd name="T16" fmla="*/ 6 w 128"/>
              <a:gd name="T17" fmla="*/ 74 h 128"/>
              <a:gd name="T18" fmla="*/ 16 w 128"/>
              <a:gd name="T19" fmla="*/ 104 h 128"/>
              <a:gd name="T20" fmla="*/ 29 w 128"/>
              <a:gd name="T21" fmla="*/ 81 h 128"/>
              <a:gd name="T22" fmla="*/ 31 w 128"/>
              <a:gd name="T23" fmla="*/ 74 h 128"/>
              <a:gd name="T24" fmla="*/ 38 w 128"/>
              <a:gd name="T25" fmla="*/ 104 h 128"/>
              <a:gd name="T26" fmla="*/ 28 w 128"/>
              <a:gd name="T27" fmla="*/ 67 h 128"/>
              <a:gd name="T28" fmla="*/ 19 w 128"/>
              <a:gd name="T29" fmla="*/ 95 h 128"/>
              <a:gd name="T30" fmla="*/ 17 w 128"/>
              <a:gd name="T31" fmla="*/ 90 h 128"/>
              <a:gd name="T32" fmla="*/ 0 w 128"/>
              <a:gd name="T33" fmla="*/ 67 h 128"/>
              <a:gd name="T34" fmla="*/ 57 w 128"/>
              <a:gd name="T35" fmla="*/ 91 h 128"/>
              <a:gd name="T36" fmla="*/ 57 w 128"/>
              <a:gd name="T37" fmla="*/ 67 h 128"/>
              <a:gd name="T38" fmla="*/ 45 w 128"/>
              <a:gd name="T39" fmla="*/ 104 h 128"/>
              <a:gd name="T40" fmla="*/ 52 w 128"/>
              <a:gd name="T41" fmla="*/ 91 h 128"/>
              <a:gd name="T42" fmla="*/ 52 w 128"/>
              <a:gd name="T43" fmla="*/ 86 h 128"/>
              <a:gd name="T44" fmla="*/ 57 w 128"/>
              <a:gd name="T45" fmla="*/ 72 h 128"/>
              <a:gd name="T46" fmla="*/ 57 w 128"/>
              <a:gd name="T47" fmla="*/ 86 h 128"/>
              <a:gd name="T48" fmla="*/ 92 w 128"/>
              <a:gd name="T49" fmla="*/ 71 h 128"/>
              <a:gd name="T50" fmla="*/ 107 w 128"/>
              <a:gd name="T51" fmla="*/ 78 h 128"/>
              <a:gd name="T52" fmla="*/ 75 w 128"/>
              <a:gd name="T53" fmla="*/ 86 h 128"/>
              <a:gd name="T54" fmla="*/ 102 w 128"/>
              <a:gd name="T55" fmla="*/ 99 h 128"/>
              <a:gd name="T56" fmla="*/ 102 w 128"/>
              <a:gd name="T57" fmla="*/ 104 h 128"/>
              <a:gd name="T58" fmla="*/ 107 w 128"/>
              <a:gd name="T59" fmla="*/ 85 h 128"/>
              <a:gd name="T60" fmla="*/ 92 w 128"/>
              <a:gd name="T61" fmla="*/ 90 h 128"/>
              <a:gd name="T62" fmla="*/ 101 w 128"/>
              <a:gd name="T63" fmla="*/ 90 h 128"/>
              <a:gd name="T64" fmla="*/ 82 w 128"/>
              <a:gd name="T65" fmla="*/ 8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28">
                <a:moveTo>
                  <a:pt x="128" y="40"/>
                </a:moveTo>
                <a:cubicBezTo>
                  <a:pt x="128" y="128"/>
                  <a:pt x="128" y="128"/>
                  <a:pt x="128" y="128"/>
                </a:cubicBezTo>
                <a:cubicBezTo>
                  <a:pt x="96" y="128"/>
                  <a:pt x="96" y="128"/>
                  <a:pt x="96" y="128"/>
                </a:cubicBezTo>
                <a:cubicBezTo>
                  <a:pt x="96" y="120"/>
                  <a:pt x="96" y="120"/>
                  <a:pt x="96" y="120"/>
                </a:cubicBezTo>
                <a:cubicBezTo>
                  <a:pt x="120" y="120"/>
                  <a:pt x="120" y="120"/>
                  <a:pt x="120" y="120"/>
                </a:cubicBezTo>
                <a:cubicBezTo>
                  <a:pt x="120" y="40"/>
                  <a:pt x="120" y="40"/>
                  <a:pt x="120" y="40"/>
                </a:cubicBezTo>
                <a:cubicBezTo>
                  <a:pt x="88" y="40"/>
                  <a:pt x="88" y="40"/>
                  <a:pt x="88" y="40"/>
                </a:cubicBezTo>
                <a:cubicBezTo>
                  <a:pt x="88" y="8"/>
                  <a:pt x="88" y="8"/>
                  <a:pt x="88" y="8"/>
                </a:cubicBezTo>
                <a:cubicBezTo>
                  <a:pt x="40" y="8"/>
                  <a:pt x="40" y="8"/>
                  <a:pt x="40" y="8"/>
                </a:cubicBezTo>
                <a:cubicBezTo>
                  <a:pt x="40" y="32"/>
                  <a:pt x="40" y="32"/>
                  <a:pt x="40" y="32"/>
                </a:cubicBezTo>
                <a:cubicBezTo>
                  <a:pt x="32" y="32"/>
                  <a:pt x="32" y="32"/>
                  <a:pt x="32" y="32"/>
                </a:cubicBezTo>
                <a:cubicBezTo>
                  <a:pt x="32" y="0"/>
                  <a:pt x="32" y="0"/>
                  <a:pt x="32" y="0"/>
                </a:cubicBezTo>
                <a:cubicBezTo>
                  <a:pt x="88" y="0"/>
                  <a:pt x="88" y="0"/>
                  <a:pt x="88" y="0"/>
                </a:cubicBezTo>
                <a:lnTo>
                  <a:pt x="128" y="40"/>
                </a:lnTo>
                <a:close/>
                <a:moveTo>
                  <a:pt x="0" y="104"/>
                </a:moveTo>
                <a:cubicBezTo>
                  <a:pt x="6" y="104"/>
                  <a:pt x="6" y="104"/>
                  <a:pt x="6" y="104"/>
                </a:cubicBezTo>
                <a:cubicBezTo>
                  <a:pt x="6" y="74"/>
                  <a:pt x="6" y="74"/>
                  <a:pt x="6" y="74"/>
                </a:cubicBezTo>
                <a:cubicBezTo>
                  <a:pt x="6" y="74"/>
                  <a:pt x="6" y="74"/>
                  <a:pt x="6" y="74"/>
                </a:cubicBezTo>
                <a:cubicBezTo>
                  <a:pt x="6" y="74"/>
                  <a:pt x="7" y="77"/>
                  <a:pt x="8" y="81"/>
                </a:cubicBezTo>
                <a:cubicBezTo>
                  <a:pt x="16" y="104"/>
                  <a:pt x="16" y="104"/>
                  <a:pt x="16" y="104"/>
                </a:cubicBezTo>
                <a:cubicBezTo>
                  <a:pt x="21" y="104"/>
                  <a:pt x="21" y="104"/>
                  <a:pt x="21" y="104"/>
                </a:cubicBezTo>
                <a:cubicBezTo>
                  <a:pt x="29" y="81"/>
                  <a:pt x="29" y="81"/>
                  <a:pt x="29" y="81"/>
                </a:cubicBezTo>
                <a:cubicBezTo>
                  <a:pt x="31" y="77"/>
                  <a:pt x="31" y="74"/>
                  <a:pt x="31" y="74"/>
                </a:cubicBezTo>
                <a:cubicBezTo>
                  <a:pt x="31" y="74"/>
                  <a:pt x="31" y="74"/>
                  <a:pt x="31" y="74"/>
                </a:cubicBezTo>
                <a:cubicBezTo>
                  <a:pt x="31" y="104"/>
                  <a:pt x="31" y="104"/>
                  <a:pt x="31" y="104"/>
                </a:cubicBezTo>
                <a:cubicBezTo>
                  <a:pt x="38" y="104"/>
                  <a:pt x="38" y="104"/>
                  <a:pt x="38" y="104"/>
                </a:cubicBezTo>
                <a:cubicBezTo>
                  <a:pt x="38" y="67"/>
                  <a:pt x="38" y="67"/>
                  <a:pt x="38" y="67"/>
                </a:cubicBezTo>
                <a:cubicBezTo>
                  <a:pt x="28" y="67"/>
                  <a:pt x="28" y="67"/>
                  <a:pt x="28" y="67"/>
                </a:cubicBezTo>
                <a:cubicBezTo>
                  <a:pt x="21" y="90"/>
                  <a:pt x="21" y="90"/>
                  <a:pt x="21" y="90"/>
                </a:cubicBezTo>
                <a:cubicBezTo>
                  <a:pt x="20" y="93"/>
                  <a:pt x="19" y="95"/>
                  <a:pt x="19" y="95"/>
                </a:cubicBezTo>
                <a:cubicBezTo>
                  <a:pt x="19" y="95"/>
                  <a:pt x="19" y="95"/>
                  <a:pt x="19" y="95"/>
                </a:cubicBezTo>
                <a:cubicBezTo>
                  <a:pt x="19" y="95"/>
                  <a:pt x="18" y="93"/>
                  <a:pt x="17" y="90"/>
                </a:cubicBezTo>
                <a:cubicBezTo>
                  <a:pt x="10" y="67"/>
                  <a:pt x="10" y="67"/>
                  <a:pt x="10" y="67"/>
                </a:cubicBezTo>
                <a:cubicBezTo>
                  <a:pt x="0" y="67"/>
                  <a:pt x="0" y="67"/>
                  <a:pt x="0" y="67"/>
                </a:cubicBezTo>
                <a:lnTo>
                  <a:pt x="0" y="104"/>
                </a:lnTo>
                <a:close/>
                <a:moveTo>
                  <a:pt x="57" y="91"/>
                </a:moveTo>
                <a:cubicBezTo>
                  <a:pt x="65" y="91"/>
                  <a:pt x="71" y="87"/>
                  <a:pt x="71" y="79"/>
                </a:cubicBezTo>
                <a:cubicBezTo>
                  <a:pt x="71" y="71"/>
                  <a:pt x="65" y="67"/>
                  <a:pt x="57" y="67"/>
                </a:cubicBezTo>
                <a:cubicBezTo>
                  <a:pt x="45" y="67"/>
                  <a:pt x="45" y="67"/>
                  <a:pt x="45" y="67"/>
                </a:cubicBezTo>
                <a:cubicBezTo>
                  <a:pt x="45" y="104"/>
                  <a:pt x="45" y="104"/>
                  <a:pt x="45" y="104"/>
                </a:cubicBezTo>
                <a:cubicBezTo>
                  <a:pt x="52" y="104"/>
                  <a:pt x="52" y="104"/>
                  <a:pt x="52" y="104"/>
                </a:cubicBezTo>
                <a:cubicBezTo>
                  <a:pt x="52" y="91"/>
                  <a:pt x="52" y="91"/>
                  <a:pt x="52" y="91"/>
                </a:cubicBezTo>
                <a:lnTo>
                  <a:pt x="57" y="91"/>
                </a:lnTo>
                <a:close/>
                <a:moveTo>
                  <a:pt x="52" y="86"/>
                </a:moveTo>
                <a:cubicBezTo>
                  <a:pt x="52" y="72"/>
                  <a:pt x="52" y="72"/>
                  <a:pt x="52" y="72"/>
                </a:cubicBezTo>
                <a:cubicBezTo>
                  <a:pt x="57" y="72"/>
                  <a:pt x="57" y="72"/>
                  <a:pt x="57" y="72"/>
                </a:cubicBezTo>
                <a:cubicBezTo>
                  <a:pt x="62" y="72"/>
                  <a:pt x="64" y="74"/>
                  <a:pt x="64" y="79"/>
                </a:cubicBezTo>
                <a:cubicBezTo>
                  <a:pt x="64" y="84"/>
                  <a:pt x="62" y="86"/>
                  <a:pt x="57" y="86"/>
                </a:cubicBezTo>
                <a:lnTo>
                  <a:pt x="52" y="86"/>
                </a:lnTo>
                <a:close/>
                <a:moveTo>
                  <a:pt x="92" y="71"/>
                </a:moveTo>
                <a:cubicBezTo>
                  <a:pt x="96" y="71"/>
                  <a:pt x="99" y="74"/>
                  <a:pt x="100" y="78"/>
                </a:cubicBezTo>
                <a:cubicBezTo>
                  <a:pt x="107" y="78"/>
                  <a:pt x="107" y="78"/>
                  <a:pt x="107" y="78"/>
                </a:cubicBezTo>
                <a:cubicBezTo>
                  <a:pt x="106" y="71"/>
                  <a:pt x="100" y="67"/>
                  <a:pt x="92" y="67"/>
                </a:cubicBezTo>
                <a:cubicBezTo>
                  <a:pt x="82" y="67"/>
                  <a:pt x="75" y="74"/>
                  <a:pt x="75" y="86"/>
                </a:cubicBezTo>
                <a:cubicBezTo>
                  <a:pt x="75" y="98"/>
                  <a:pt x="81" y="105"/>
                  <a:pt x="91" y="105"/>
                </a:cubicBezTo>
                <a:cubicBezTo>
                  <a:pt x="96" y="105"/>
                  <a:pt x="100" y="102"/>
                  <a:pt x="102" y="99"/>
                </a:cubicBezTo>
                <a:cubicBezTo>
                  <a:pt x="102" y="99"/>
                  <a:pt x="102" y="99"/>
                  <a:pt x="102" y="99"/>
                </a:cubicBezTo>
                <a:cubicBezTo>
                  <a:pt x="102" y="104"/>
                  <a:pt x="102" y="104"/>
                  <a:pt x="102" y="104"/>
                </a:cubicBezTo>
                <a:cubicBezTo>
                  <a:pt x="107" y="104"/>
                  <a:pt x="107" y="104"/>
                  <a:pt x="107" y="104"/>
                </a:cubicBezTo>
                <a:cubicBezTo>
                  <a:pt x="107" y="85"/>
                  <a:pt x="107" y="85"/>
                  <a:pt x="107" y="85"/>
                </a:cubicBezTo>
                <a:cubicBezTo>
                  <a:pt x="92" y="85"/>
                  <a:pt x="92" y="85"/>
                  <a:pt x="92" y="85"/>
                </a:cubicBezTo>
                <a:cubicBezTo>
                  <a:pt x="92" y="90"/>
                  <a:pt x="92" y="90"/>
                  <a:pt x="92" y="90"/>
                </a:cubicBezTo>
                <a:cubicBezTo>
                  <a:pt x="101" y="90"/>
                  <a:pt x="101" y="90"/>
                  <a:pt x="101" y="90"/>
                </a:cubicBezTo>
                <a:cubicBezTo>
                  <a:pt x="101" y="90"/>
                  <a:pt x="101" y="90"/>
                  <a:pt x="101" y="90"/>
                </a:cubicBezTo>
                <a:cubicBezTo>
                  <a:pt x="101" y="97"/>
                  <a:pt x="98" y="100"/>
                  <a:pt x="92" y="100"/>
                </a:cubicBezTo>
                <a:cubicBezTo>
                  <a:pt x="85" y="100"/>
                  <a:pt x="82" y="95"/>
                  <a:pt x="82" y="86"/>
                </a:cubicBezTo>
                <a:cubicBezTo>
                  <a:pt x="82" y="77"/>
                  <a:pt x="85" y="71"/>
                  <a:pt x="92" y="7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1" name="Freeform 89">
            <a:extLst>
              <a:ext uri="{FF2B5EF4-FFF2-40B4-BE49-F238E27FC236}">
                <a16:creationId xmlns:a16="http://schemas.microsoft.com/office/drawing/2014/main" id="{A2E0553B-5D11-44CD-8D71-D5B09885D93B}"/>
              </a:ext>
            </a:extLst>
          </p:cNvPr>
          <p:cNvSpPr>
            <a:spLocks noEditPoints="1"/>
          </p:cNvSpPr>
          <p:nvPr/>
        </p:nvSpPr>
        <p:spPr bwMode="auto">
          <a:xfrm>
            <a:off x="609900" y="3195060"/>
            <a:ext cx="368300" cy="412750"/>
          </a:xfrm>
          <a:custGeom>
            <a:avLst/>
            <a:gdLst>
              <a:gd name="T0" fmla="*/ 232 w 232"/>
              <a:gd name="T1" fmla="*/ 260 h 260"/>
              <a:gd name="T2" fmla="*/ 167 w 232"/>
              <a:gd name="T3" fmla="*/ 260 h 260"/>
              <a:gd name="T4" fmla="*/ 167 w 232"/>
              <a:gd name="T5" fmla="*/ 244 h 260"/>
              <a:gd name="T6" fmla="*/ 216 w 232"/>
              <a:gd name="T7" fmla="*/ 244 h 260"/>
              <a:gd name="T8" fmla="*/ 216 w 232"/>
              <a:gd name="T9" fmla="*/ 81 h 260"/>
              <a:gd name="T10" fmla="*/ 151 w 232"/>
              <a:gd name="T11" fmla="*/ 81 h 260"/>
              <a:gd name="T12" fmla="*/ 151 w 232"/>
              <a:gd name="T13" fmla="*/ 16 h 260"/>
              <a:gd name="T14" fmla="*/ 53 w 232"/>
              <a:gd name="T15" fmla="*/ 16 h 260"/>
              <a:gd name="T16" fmla="*/ 53 w 232"/>
              <a:gd name="T17" fmla="*/ 81 h 260"/>
              <a:gd name="T18" fmla="*/ 37 w 232"/>
              <a:gd name="T19" fmla="*/ 81 h 260"/>
              <a:gd name="T20" fmla="*/ 37 w 232"/>
              <a:gd name="T21" fmla="*/ 0 h 260"/>
              <a:gd name="T22" fmla="*/ 151 w 232"/>
              <a:gd name="T23" fmla="*/ 0 h 260"/>
              <a:gd name="T24" fmla="*/ 232 w 232"/>
              <a:gd name="T25" fmla="*/ 81 h 260"/>
              <a:gd name="T26" fmla="*/ 232 w 232"/>
              <a:gd name="T27" fmla="*/ 260 h 260"/>
              <a:gd name="T28" fmla="*/ 0 w 232"/>
              <a:gd name="T29" fmla="*/ 211 h 260"/>
              <a:gd name="T30" fmla="*/ 20 w 232"/>
              <a:gd name="T31" fmla="*/ 211 h 260"/>
              <a:gd name="T32" fmla="*/ 43 w 232"/>
              <a:gd name="T33" fmla="*/ 173 h 260"/>
              <a:gd name="T34" fmla="*/ 43 w 232"/>
              <a:gd name="T35" fmla="*/ 173 h 260"/>
              <a:gd name="T36" fmla="*/ 67 w 232"/>
              <a:gd name="T37" fmla="*/ 211 h 260"/>
              <a:gd name="T38" fmla="*/ 90 w 232"/>
              <a:gd name="T39" fmla="*/ 211 h 260"/>
              <a:gd name="T40" fmla="*/ 55 w 232"/>
              <a:gd name="T41" fmla="*/ 158 h 260"/>
              <a:gd name="T42" fmla="*/ 85 w 232"/>
              <a:gd name="T43" fmla="*/ 112 h 260"/>
              <a:gd name="T44" fmla="*/ 67 w 232"/>
              <a:gd name="T45" fmla="*/ 112 h 260"/>
              <a:gd name="T46" fmla="*/ 45 w 232"/>
              <a:gd name="T47" fmla="*/ 146 h 260"/>
              <a:gd name="T48" fmla="*/ 45 w 232"/>
              <a:gd name="T49" fmla="*/ 146 h 260"/>
              <a:gd name="T50" fmla="*/ 24 w 232"/>
              <a:gd name="T51" fmla="*/ 112 h 260"/>
              <a:gd name="T52" fmla="*/ 4 w 232"/>
              <a:gd name="T53" fmla="*/ 112 h 260"/>
              <a:gd name="T54" fmla="*/ 35 w 232"/>
              <a:gd name="T55" fmla="*/ 160 h 260"/>
              <a:gd name="T56" fmla="*/ 0 w 232"/>
              <a:gd name="T57" fmla="*/ 21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2" h="260">
                <a:moveTo>
                  <a:pt x="232" y="260"/>
                </a:moveTo>
                <a:lnTo>
                  <a:pt x="167" y="260"/>
                </a:lnTo>
                <a:lnTo>
                  <a:pt x="167" y="244"/>
                </a:lnTo>
                <a:lnTo>
                  <a:pt x="216" y="244"/>
                </a:lnTo>
                <a:lnTo>
                  <a:pt x="216" y="81"/>
                </a:lnTo>
                <a:lnTo>
                  <a:pt x="151" y="81"/>
                </a:lnTo>
                <a:lnTo>
                  <a:pt x="151" y="16"/>
                </a:lnTo>
                <a:lnTo>
                  <a:pt x="53" y="16"/>
                </a:lnTo>
                <a:lnTo>
                  <a:pt x="53" y="81"/>
                </a:lnTo>
                <a:lnTo>
                  <a:pt x="37" y="81"/>
                </a:lnTo>
                <a:lnTo>
                  <a:pt x="37" y="0"/>
                </a:lnTo>
                <a:lnTo>
                  <a:pt x="151" y="0"/>
                </a:lnTo>
                <a:lnTo>
                  <a:pt x="232" y="81"/>
                </a:lnTo>
                <a:lnTo>
                  <a:pt x="232" y="260"/>
                </a:lnTo>
                <a:close/>
                <a:moveTo>
                  <a:pt x="0" y="211"/>
                </a:moveTo>
                <a:lnTo>
                  <a:pt x="20" y="211"/>
                </a:lnTo>
                <a:lnTo>
                  <a:pt x="43" y="173"/>
                </a:lnTo>
                <a:lnTo>
                  <a:pt x="43" y="173"/>
                </a:lnTo>
                <a:lnTo>
                  <a:pt x="67" y="211"/>
                </a:lnTo>
                <a:lnTo>
                  <a:pt x="90" y="211"/>
                </a:lnTo>
                <a:lnTo>
                  <a:pt x="55" y="158"/>
                </a:lnTo>
                <a:lnTo>
                  <a:pt x="85" y="112"/>
                </a:lnTo>
                <a:lnTo>
                  <a:pt x="67" y="112"/>
                </a:lnTo>
                <a:lnTo>
                  <a:pt x="45" y="146"/>
                </a:lnTo>
                <a:lnTo>
                  <a:pt x="45" y="146"/>
                </a:lnTo>
                <a:lnTo>
                  <a:pt x="24" y="112"/>
                </a:lnTo>
                <a:lnTo>
                  <a:pt x="4" y="112"/>
                </a:lnTo>
                <a:lnTo>
                  <a:pt x="35" y="160"/>
                </a:lnTo>
                <a:lnTo>
                  <a:pt x="0" y="21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2" name="Freeform 93">
            <a:extLst>
              <a:ext uri="{FF2B5EF4-FFF2-40B4-BE49-F238E27FC236}">
                <a16:creationId xmlns:a16="http://schemas.microsoft.com/office/drawing/2014/main" id="{0857ECFB-86AC-4660-903E-2A4CAA069986}"/>
              </a:ext>
            </a:extLst>
          </p:cNvPr>
          <p:cNvSpPr>
            <a:spLocks noEditPoints="1"/>
          </p:cNvSpPr>
          <p:nvPr/>
        </p:nvSpPr>
        <p:spPr bwMode="auto">
          <a:xfrm>
            <a:off x="1670414" y="3193472"/>
            <a:ext cx="338138" cy="414338"/>
          </a:xfrm>
          <a:custGeom>
            <a:avLst/>
            <a:gdLst>
              <a:gd name="T0" fmla="*/ 104 w 104"/>
              <a:gd name="T1" fmla="*/ 128 h 128"/>
              <a:gd name="T2" fmla="*/ 72 w 104"/>
              <a:gd name="T3" fmla="*/ 128 h 128"/>
              <a:gd name="T4" fmla="*/ 72 w 104"/>
              <a:gd name="T5" fmla="*/ 120 h 128"/>
              <a:gd name="T6" fmla="*/ 96 w 104"/>
              <a:gd name="T7" fmla="*/ 120 h 128"/>
              <a:gd name="T8" fmla="*/ 96 w 104"/>
              <a:gd name="T9" fmla="*/ 40 h 128"/>
              <a:gd name="T10" fmla="*/ 64 w 104"/>
              <a:gd name="T11" fmla="*/ 40 h 128"/>
              <a:gd name="T12" fmla="*/ 64 w 104"/>
              <a:gd name="T13" fmla="*/ 8 h 128"/>
              <a:gd name="T14" fmla="*/ 16 w 104"/>
              <a:gd name="T15" fmla="*/ 8 h 128"/>
              <a:gd name="T16" fmla="*/ 16 w 104"/>
              <a:gd name="T17" fmla="*/ 40 h 128"/>
              <a:gd name="T18" fmla="*/ 8 w 104"/>
              <a:gd name="T19" fmla="*/ 40 h 128"/>
              <a:gd name="T20" fmla="*/ 8 w 104"/>
              <a:gd name="T21" fmla="*/ 0 h 128"/>
              <a:gd name="T22" fmla="*/ 64 w 104"/>
              <a:gd name="T23" fmla="*/ 0 h 128"/>
              <a:gd name="T24" fmla="*/ 104 w 104"/>
              <a:gd name="T25" fmla="*/ 40 h 128"/>
              <a:gd name="T26" fmla="*/ 104 w 104"/>
              <a:gd name="T27" fmla="*/ 128 h 128"/>
              <a:gd name="T28" fmla="*/ 15 w 104"/>
              <a:gd name="T29" fmla="*/ 94 h 128"/>
              <a:gd name="T30" fmla="*/ 34 w 104"/>
              <a:gd name="T31" fmla="*/ 78 h 128"/>
              <a:gd name="T32" fmla="*/ 16 w 104"/>
              <a:gd name="T33" fmla="*/ 63 h 128"/>
              <a:gd name="T34" fmla="*/ 0 w 104"/>
              <a:gd name="T35" fmla="*/ 63 h 128"/>
              <a:gd name="T36" fmla="*/ 0 w 104"/>
              <a:gd name="T37" fmla="*/ 112 h 128"/>
              <a:gd name="T38" fmla="*/ 9 w 104"/>
              <a:gd name="T39" fmla="*/ 112 h 128"/>
              <a:gd name="T40" fmla="*/ 9 w 104"/>
              <a:gd name="T41" fmla="*/ 94 h 128"/>
              <a:gd name="T42" fmla="*/ 15 w 104"/>
              <a:gd name="T43" fmla="*/ 94 h 128"/>
              <a:gd name="T44" fmla="*/ 9 w 104"/>
              <a:gd name="T45" fmla="*/ 88 h 128"/>
              <a:gd name="T46" fmla="*/ 9 w 104"/>
              <a:gd name="T47" fmla="*/ 69 h 128"/>
              <a:gd name="T48" fmla="*/ 16 w 104"/>
              <a:gd name="T49" fmla="*/ 69 h 128"/>
              <a:gd name="T50" fmla="*/ 26 w 104"/>
              <a:gd name="T51" fmla="*/ 79 h 128"/>
              <a:gd name="T52" fmla="*/ 16 w 104"/>
              <a:gd name="T53" fmla="*/ 88 h 128"/>
              <a:gd name="T54" fmla="*/ 9 w 104"/>
              <a:gd name="T55" fmla="*/ 8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4" h="128">
                <a:moveTo>
                  <a:pt x="104" y="128"/>
                </a:moveTo>
                <a:cubicBezTo>
                  <a:pt x="72" y="128"/>
                  <a:pt x="72" y="128"/>
                  <a:pt x="72" y="128"/>
                </a:cubicBezTo>
                <a:cubicBezTo>
                  <a:pt x="72" y="120"/>
                  <a:pt x="72" y="120"/>
                  <a:pt x="72" y="120"/>
                </a:cubicBezTo>
                <a:cubicBezTo>
                  <a:pt x="96" y="120"/>
                  <a:pt x="96" y="120"/>
                  <a:pt x="96" y="120"/>
                </a:cubicBezTo>
                <a:cubicBezTo>
                  <a:pt x="96" y="40"/>
                  <a:pt x="96" y="40"/>
                  <a:pt x="96" y="40"/>
                </a:cubicBezTo>
                <a:cubicBezTo>
                  <a:pt x="64" y="40"/>
                  <a:pt x="64" y="40"/>
                  <a:pt x="64" y="40"/>
                </a:cubicBezTo>
                <a:cubicBezTo>
                  <a:pt x="64" y="8"/>
                  <a:pt x="64" y="8"/>
                  <a:pt x="64" y="8"/>
                </a:cubicBezTo>
                <a:cubicBezTo>
                  <a:pt x="16" y="8"/>
                  <a:pt x="16" y="8"/>
                  <a:pt x="16" y="8"/>
                </a:cubicBezTo>
                <a:cubicBezTo>
                  <a:pt x="16" y="40"/>
                  <a:pt x="16" y="40"/>
                  <a:pt x="16" y="40"/>
                </a:cubicBezTo>
                <a:cubicBezTo>
                  <a:pt x="8" y="40"/>
                  <a:pt x="8" y="40"/>
                  <a:pt x="8" y="40"/>
                </a:cubicBezTo>
                <a:cubicBezTo>
                  <a:pt x="8" y="0"/>
                  <a:pt x="8" y="0"/>
                  <a:pt x="8" y="0"/>
                </a:cubicBezTo>
                <a:cubicBezTo>
                  <a:pt x="64" y="0"/>
                  <a:pt x="64" y="0"/>
                  <a:pt x="64" y="0"/>
                </a:cubicBezTo>
                <a:cubicBezTo>
                  <a:pt x="104" y="40"/>
                  <a:pt x="104" y="40"/>
                  <a:pt x="104" y="40"/>
                </a:cubicBezTo>
                <a:lnTo>
                  <a:pt x="104" y="128"/>
                </a:lnTo>
                <a:close/>
                <a:moveTo>
                  <a:pt x="15" y="94"/>
                </a:moveTo>
                <a:cubicBezTo>
                  <a:pt x="26" y="94"/>
                  <a:pt x="34" y="90"/>
                  <a:pt x="34" y="78"/>
                </a:cubicBezTo>
                <a:cubicBezTo>
                  <a:pt x="34" y="68"/>
                  <a:pt x="26" y="63"/>
                  <a:pt x="16" y="63"/>
                </a:cubicBezTo>
                <a:cubicBezTo>
                  <a:pt x="0" y="63"/>
                  <a:pt x="0" y="63"/>
                  <a:pt x="0" y="63"/>
                </a:cubicBezTo>
                <a:cubicBezTo>
                  <a:pt x="0" y="112"/>
                  <a:pt x="0" y="112"/>
                  <a:pt x="0" y="112"/>
                </a:cubicBezTo>
                <a:cubicBezTo>
                  <a:pt x="9" y="112"/>
                  <a:pt x="9" y="112"/>
                  <a:pt x="9" y="112"/>
                </a:cubicBezTo>
                <a:cubicBezTo>
                  <a:pt x="9" y="94"/>
                  <a:pt x="9" y="94"/>
                  <a:pt x="9" y="94"/>
                </a:cubicBezTo>
                <a:lnTo>
                  <a:pt x="15" y="94"/>
                </a:lnTo>
                <a:close/>
                <a:moveTo>
                  <a:pt x="9" y="88"/>
                </a:moveTo>
                <a:cubicBezTo>
                  <a:pt x="9" y="69"/>
                  <a:pt x="9" y="69"/>
                  <a:pt x="9" y="69"/>
                </a:cubicBezTo>
                <a:cubicBezTo>
                  <a:pt x="16" y="69"/>
                  <a:pt x="16" y="69"/>
                  <a:pt x="16" y="69"/>
                </a:cubicBezTo>
                <a:cubicBezTo>
                  <a:pt x="22" y="69"/>
                  <a:pt x="26" y="72"/>
                  <a:pt x="26" y="79"/>
                </a:cubicBezTo>
                <a:cubicBezTo>
                  <a:pt x="26" y="85"/>
                  <a:pt x="22" y="88"/>
                  <a:pt x="16" y="88"/>
                </a:cubicBezTo>
                <a:lnTo>
                  <a:pt x="9" y="8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3" name="Freeform 97">
            <a:extLst>
              <a:ext uri="{FF2B5EF4-FFF2-40B4-BE49-F238E27FC236}">
                <a16:creationId xmlns:a16="http://schemas.microsoft.com/office/drawing/2014/main" id="{7544E2BA-966E-4A3C-A344-91BD2A61E9A4}"/>
              </a:ext>
            </a:extLst>
          </p:cNvPr>
          <p:cNvSpPr>
            <a:spLocks noEditPoints="1"/>
          </p:cNvSpPr>
          <p:nvPr/>
        </p:nvSpPr>
        <p:spPr bwMode="auto">
          <a:xfrm>
            <a:off x="2683305" y="3193472"/>
            <a:ext cx="403225" cy="414338"/>
          </a:xfrm>
          <a:custGeom>
            <a:avLst/>
            <a:gdLst>
              <a:gd name="T0" fmla="*/ 14 w 125"/>
              <a:gd name="T1" fmla="*/ 112 h 128"/>
              <a:gd name="T2" fmla="*/ 0 w 125"/>
              <a:gd name="T3" fmla="*/ 63 h 128"/>
              <a:gd name="T4" fmla="*/ 9 w 125"/>
              <a:gd name="T5" fmla="*/ 63 h 128"/>
              <a:gd name="T6" fmla="*/ 17 w 125"/>
              <a:gd name="T7" fmla="*/ 94 h 128"/>
              <a:gd name="T8" fmla="*/ 19 w 125"/>
              <a:gd name="T9" fmla="*/ 102 h 128"/>
              <a:gd name="T10" fmla="*/ 19 w 125"/>
              <a:gd name="T11" fmla="*/ 102 h 128"/>
              <a:gd name="T12" fmla="*/ 21 w 125"/>
              <a:gd name="T13" fmla="*/ 94 h 128"/>
              <a:gd name="T14" fmla="*/ 29 w 125"/>
              <a:gd name="T15" fmla="*/ 63 h 128"/>
              <a:gd name="T16" fmla="*/ 38 w 125"/>
              <a:gd name="T17" fmla="*/ 63 h 128"/>
              <a:gd name="T18" fmla="*/ 46 w 125"/>
              <a:gd name="T19" fmla="*/ 94 h 128"/>
              <a:gd name="T20" fmla="*/ 48 w 125"/>
              <a:gd name="T21" fmla="*/ 102 h 128"/>
              <a:gd name="T22" fmla="*/ 48 w 125"/>
              <a:gd name="T23" fmla="*/ 102 h 128"/>
              <a:gd name="T24" fmla="*/ 50 w 125"/>
              <a:gd name="T25" fmla="*/ 94 h 128"/>
              <a:gd name="T26" fmla="*/ 57 w 125"/>
              <a:gd name="T27" fmla="*/ 63 h 128"/>
              <a:gd name="T28" fmla="*/ 66 w 125"/>
              <a:gd name="T29" fmla="*/ 63 h 128"/>
              <a:gd name="T30" fmla="*/ 52 w 125"/>
              <a:gd name="T31" fmla="*/ 112 h 128"/>
              <a:gd name="T32" fmla="*/ 43 w 125"/>
              <a:gd name="T33" fmla="*/ 112 h 128"/>
              <a:gd name="T34" fmla="*/ 35 w 125"/>
              <a:gd name="T35" fmla="*/ 81 h 128"/>
              <a:gd name="T36" fmla="*/ 33 w 125"/>
              <a:gd name="T37" fmla="*/ 73 h 128"/>
              <a:gd name="T38" fmla="*/ 33 w 125"/>
              <a:gd name="T39" fmla="*/ 73 h 128"/>
              <a:gd name="T40" fmla="*/ 31 w 125"/>
              <a:gd name="T41" fmla="*/ 81 h 128"/>
              <a:gd name="T42" fmla="*/ 23 w 125"/>
              <a:gd name="T43" fmla="*/ 112 h 128"/>
              <a:gd name="T44" fmla="*/ 14 w 125"/>
              <a:gd name="T45" fmla="*/ 112 h 128"/>
              <a:gd name="T46" fmla="*/ 85 w 125"/>
              <a:gd name="T47" fmla="*/ 0 h 128"/>
              <a:gd name="T48" fmla="*/ 29 w 125"/>
              <a:gd name="T49" fmla="*/ 0 h 128"/>
              <a:gd name="T50" fmla="*/ 29 w 125"/>
              <a:gd name="T51" fmla="*/ 32 h 128"/>
              <a:gd name="T52" fmla="*/ 37 w 125"/>
              <a:gd name="T53" fmla="*/ 32 h 128"/>
              <a:gd name="T54" fmla="*/ 37 w 125"/>
              <a:gd name="T55" fmla="*/ 8 h 128"/>
              <a:gd name="T56" fmla="*/ 85 w 125"/>
              <a:gd name="T57" fmla="*/ 8 h 128"/>
              <a:gd name="T58" fmla="*/ 85 w 125"/>
              <a:gd name="T59" fmla="*/ 40 h 128"/>
              <a:gd name="T60" fmla="*/ 117 w 125"/>
              <a:gd name="T61" fmla="*/ 40 h 128"/>
              <a:gd name="T62" fmla="*/ 117 w 125"/>
              <a:gd name="T63" fmla="*/ 120 h 128"/>
              <a:gd name="T64" fmla="*/ 65 w 125"/>
              <a:gd name="T65" fmla="*/ 120 h 128"/>
              <a:gd name="T66" fmla="*/ 65 w 125"/>
              <a:gd name="T67" fmla="*/ 128 h 128"/>
              <a:gd name="T68" fmla="*/ 125 w 125"/>
              <a:gd name="T69" fmla="*/ 128 h 128"/>
              <a:gd name="T70" fmla="*/ 125 w 125"/>
              <a:gd name="T71" fmla="*/ 40 h 128"/>
              <a:gd name="T72" fmla="*/ 85 w 125"/>
              <a:gd name="T7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128">
                <a:moveTo>
                  <a:pt x="14" y="112"/>
                </a:moveTo>
                <a:cubicBezTo>
                  <a:pt x="0" y="63"/>
                  <a:pt x="0" y="63"/>
                  <a:pt x="0" y="63"/>
                </a:cubicBezTo>
                <a:cubicBezTo>
                  <a:pt x="9" y="63"/>
                  <a:pt x="9" y="63"/>
                  <a:pt x="9" y="63"/>
                </a:cubicBezTo>
                <a:cubicBezTo>
                  <a:pt x="17" y="94"/>
                  <a:pt x="17" y="94"/>
                  <a:pt x="17" y="94"/>
                </a:cubicBezTo>
                <a:cubicBezTo>
                  <a:pt x="19" y="99"/>
                  <a:pt x="19" y="102"/>
                  <a:pt x="19" y="102"/>
                </a:cubicBezTo>
                <a:cubicBezTo>
                  <a:pt x="19" y="102"/>
                  <a:pt x="19" y="102"/>
                  <a:pt x="19" y="102"/>
                </a:cubicBezTo>
                <a:cubicBezTo>
                  <a:pt x="19" y="102"/>
                  <a:pt x="19" y="99"/>
                  <a:pt x="21" y="94"/>
                </a:cubicBezTo>
                <a:cubicBezTo>
                  <a:pt x="29" y="63"/>
                  <a:pt x="29" y="63"/>
                  <a:pt x="29" y="63"/>
                </a:cubicBezTo>
                <a:cubicBezTo>
                  <a:pt x="38" y="63"/>
                  <a:pt x="38" y="63"/>
                  <a:pt x="38" y="63"/>
                </a:cubicBezTo>
                <a:cubicBezTo>
                  <a:pt x="46" y="94"/>
                  <a:pt x="46" y="94"/>
                  <a:pt x="46" y="94"/>
                </a:cubicBezTo>
                <a:cubicBezTo>
                  <a:pt x="47" y="99"/>
                  <a:pt x="48" y="102"/>
                  <a:pt x="48" y="102"/>
                </a:cubicBezTo>
                <a:cubicBezTo>
                  <a:pt x="48" y="102"/>
                  <a:pt x="48" y="102"/>
                  <a:pt x="48" y="102"/>
                </a:cubicBezTo>
                <a:cubicBezTo>
                  <a:pt x="48" y="102"/>
                  <a:pt x="48" y="99"/>
                  <a:pt x="50" y="94"/>
                </a:cubicBezTo>
                <a:cubicBezTo>
                  <a:pt x="57" y="63"/>
                  <a:pt x="57" y="63"/>
                  <a:pt x="57" y="63"/>
                </a:cubicBezTo>
                <a:cubicBezTo>
                  <a:pt x="66" y="63"/>
                  <a:pt x="66" y="63"/>
                  <a:pt x="66" y="63"/>
                </a:cubicBezTo>
                <a:cubicBezTo>
                  <a:pt x="52" y="112"/>
                  <a:pt x="52" y="112"/>
                  <a:pt x="52" y="112"/>
                </a:cubicBezTo>
                <a:cubicBezTo>
                  <a:pt x="43" y="112"/>
                  <a:pt x="43" y="112"/>
                  <a:pt x="43" y="112"/>
                </a:cubicBezTo>
                <a:cubicBezTo>
                  <a:pt x="35" y="81"/>
                  <a:pt x="35" y="81"/>
                  <a:pt x="35" y="81"/>
                </a:cubicBezTo>
                <a:cubicBezTo>
                  <a:pt x="33" y="76"/>
                  <a:pt x="33" y="73"/>
                  <a:pt x="33" y="73"/>
                </a:cubicBezTo>
                <a:cubicBezTo>
                  <a:pt x="33" y="73"/>
                  <a:pt x="33" y="73"/>
                  <a:pt x="33" y="73"/>
                </a:cubicBezTo>
                <a:cubicBezTo>
                  <a:pt x="33" y="73"/>
                  <a:pt x="33" y="76"/>
                  <a:pt x="31" y="81"/>
                </a:cubicBezTo>
                <a:cubicBezTo>
                  <a:pt x="23" y="112"/>
                  <a:pt x="23" y="112"/>
                  <a:pt x="23" y="112"/>
                </a:cubicBezTo>
                <a:lnTo>
                  <a:pt x="14" y="112"/>
                </a:lnTo>
                <a:close/>
                <a:moveTo>
                  <a:pt x="85" y="0"/>
                </a:moveTo>
                <a:cubicBezTo>
                  <a:pt x="29" y="0"/>
                  <a:pt x="29" y="0"/>
                  <a:pt x="29" y="0"/>
                </a:cubicBezTo>
                <a:cubicBezTo>
                  <a:pt x="29" y="32"/>
                  <a:pt x="29" y="32"/>
                  <a:pt x="29" y="32"/>
                </a:cubicBezTo>
                <a:cubicBezTo>
                  <a:pt x="37" y="32"/>
                  <a:pt x="37" y="32"/>
                  <a:pt x="37" y="32"/>
                </a:cubicBezTo>
                <a:cubicBezTo>
                  <a:pt x="37" y="8"/>
                  <a:pt x="37" y="8"/>
                  <a:pt x="37" y="8"/>
                </a:cubicBezTo>
                <a:cubicBezTo>
                  <a:pt x="85" y="8"/>
                  <a:pt x="85" y="8"/>
                  <a:pt x="85" y="8"/>
                </a:cubicBezTo>
                <a:cubicBezTo>
                  <a:pt x="85" y="40"/>
                  <a:pt x="85" y="40"/>
                  <a:pt x="85" y="40"/>
                </a:cubicBezTo>
                <a:cubicBezTo>
                  <a:pt x="117" y="40"/>
                  <a:pt x="117" y="40"/>
                  <a:pt x="117" y="40"/>
                </a:cubicBezTo>
                <a:cubicBezTo>
                  <a:pt x="117" y="120"/>
                  <a:pt x="117" y="120"/>
                  <a:pt x="117" y="120"/>
                </a:cubicBezTo>
                <a:cubicBezTo>
                  <a:pt x="65" y="120"/>
                  <a:pt x="65" y="120"/>
                  <a:pt x="65" y="120"/>
                </a:cubicBezTo>
                <a:cubicBezTo>
                  <a:pt x="65" y="128"/>
                  <a:pt x="65" y="128"/>
                  <a:pt x="65" y="128"/>
                </a:cubicBezTo>
                <a:cubicBezTo>
                  <a:pt x="125" y="128"/>
                  <a:pt x="125" y="128"/>
                  <a:pt x="125" y="128"/>
                </a:cubicBezTo>
                <a:cubicBezTo>
                  <a:pt x="125" y="40"/>
                  <a:pt x="125" y="40"/>
                  <a:pt x="125" y="40"/>
                </a:cubicBezTo>
                <a:lnTo>
                  <a:pt x="85"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4" name="Freeform 101">
            <a:extLst>
              <a:ext uri="{FF2B5EF4-FFF2-40B4-BE49-F238E27FC236}">
                <a16:creationId xmlns:a16="http://schemas.microsoft.com/office/drawing/2014/main" id="{27B55A13-83AA-40FD-980D-A6FA705C4FCA}"/>
              </a:ext>
            </a:extLst>
          </p:cNvPr>
          <p:cNvSpPr>
            <a:spLocks noEditPoints="1"/>
          </p:cNvSpPr>
          <p:nvPr/>
        </p:nvSpPr>
        <p:spPr bwMode="auto">
          <a:xfrm>
            <a:off x="3723977" y="3195060"/>
            <a:ext cx="412750" cy="412750"/>
          </a:xfrm>
          <a:custGeom>
            <a:avLst/>
            <a:gdLst>
              <a:gd name="T0" fmla="*/ 128 w 128"/>
              <a:gd name="T1" fmla="*/ 40 h 128"/>
              <a:gd name="T2" fmla="*/ 128 w 128"/>
              <a:gd name="T3" fmla="*/ 128 h 128"/>
              <a:gd name="T4" fmla="*/ 96 w 128"/>
              <a:gd name="T5" fmla="*/ 128 h 128"/>
              <a:gd name="T6" fmla="*/ 96 w 128"/>
              <a:gd name="T7" fmla="*/ 120 h 128"/>
              <a:gd name="T8" fmla="*/ 120 w 128"/>
              <a:gd name="T9" fmla="*/ 120 h 128"/>
              <a:gd name="T10" fmla="*/ 120 w 128"/>
              <a:gd name="T11" fmla="*/ 40 h 128"/>
              <a:gd name="T12" fmla="*/ 88 w 128"/>
              <a:gd name="T13" fmla="*/ 40 h 128"/>
              <a:gd name="T14" fmla="*/ 88 w 128"/>
              <a:gd name="T15" fmla="*/ 8 h 128"/>
              <a:gd name="T16" fmla="*/ 40 w 128"/>
              <a:gd name="T17" fmla="*/ 8 h 128"/>
              <a:gd name="T18" fmla="*/ 40 w 128"/>
              <a:gd name="T19" fmla="*/ 32 h 128"/>
              <a:gd name="T20" fmla="*/ 32 w 128"/>
              <a:gd name="T21" fmla="*/ 32 h 128"/>
              <a:gd name="T22" fmla="*/ 32 w 128"/>
              <a:gd name="T23" fmla="*/ 0 h 128"/>
              <a:gd name="T24" fmla="*/ 88 w 128"/>
              <a:gd name="T25" fmla="*/ 0 h 128"/>
              <a:gd name="T26" fmla="*/ 128 w 128"/>
              <a:gd name="T27" fmla="*/ 40 h 128"/>
              <a:gd name="T28" fmla="*/ 12 w 128"/>
              <a:gd name="T29" fmla="*/ 91 h 128"/>
              <a:gd name="T30" fmla="*/ 26 w 128"/>
              <a:gd name="T31" fmla="*/ 79 h 128"/>
              <a:gd name="T32" fmla="*/ 12 w 128"/>
              <a:gd name="T33" fmla="*/ 67 h 128"/>
              <a:gd name="T34" fmla="*/ 0 w 128"/>
              <a:gd name="T35" fmla="*/ 67 h 128"/>
              <a:gd name="T36" fmla="*/ 0 w 128"/>
              <a:gd name="T37" fmla="*/ 104 h 128"/>
              <a:gd name="T38" fmla="*/ 7 w 128"/>
              <a:gd name="T39" fmla="*/ 104 h 128"/>
              <a:gd name="T40" fmla="*/ 7 w 128"/>
              <a:gd name="T41" fmla="*/ 91 h 128"/>
              <a:gd name="T42" fmla="*/ 12 w 128"/>
              <a:gd name="T43" fmla="*/ 91 h 128"/>
              <a:gd name="T44" fmla="*/ 7 w 128"/>
              <a:gd name="T45" fmla="*/ 86 h 128"/>
              <a:gd name="T46" fmla="*/ 7 w 128"/>
              <a:gd name="T47" fmla="*/ 72 h 128"/>
              <a:gd name="T48" fmla="*/ 12 w 128"/>
              <a:gd name="T49" fmla="*/ 72 h 128"/>
              <a:gd name="T50" fmla="*/ 19 w 128"/>
              <a:gd name="T51" fmla="*/ 79 h 128"/>
              <a:gd name="T52" fmla="*/ 12 w 128"/>
              <a:gd name="T53" fmla="*/ 86 h 128"/>
              <a:gd name="T54" fmla="*/ 7 w 128"/>
              <a:gd name="T55" fmla="*/ 86 h 128"/>
              <a:gd name="T56" fmla="*/ 31 w 128"/>
              <a:gd name="T57" fmla="*/ 104 h 128"/>
              <a:gd name="T58" fmla="*/ 44 w 128"/>
              <a:gd name="T59" fmla="*/ 104 h 128"/>
              <a:gd name="T60" fmla="*/ 62 w 128"/>
              <a:gd name="T61" fmla="*/ 85 h 128"/>
              <a:gd name="T62" fmla="*/ 43 w 128"/>
              <a:gd name="T63" fmla="*/ 67 h 128"/>
              <a:gd name="T64" fmla="*/ 31 w 128"/>
              <a:gd name="T65" fmla="*/ 67 h 128"/>
              <a:gd name="T66" fmla="*/ 31 w 128"/>
              <a:gd name="T67" fmla="*/ 104 h 128"/>
              <a:gd name="T68" fmla="*/ 38 w 128"/>
              <a:gd name="T69" fmla="*/ 72 h 128"/>
              <a:gd name="T70" fmla="*/ 43 w 128"/>
              <a:gd name="T71" fmla="*/ 72 h 128"/>
              <a:gd name="T72" fmla="*/ 55 w 128"/>
              <a:gd name="T73" fmla="*/ 85 h 128"/>
              <a:gd name="T74" fmla="*/ 43 w 128"/>
              <a:gd name="T75" fmla="*/ 99 h 128"/>
              <a:gd name="T76" fmla="*/ 38 w 128"/>
              <a:gd name="T77" fmla="*/ 99 h 128"/>
              <a:gd name="T78" fmla="*/ 38 w 128"/>
              <a:gd name="T79" fmla="*/ 72 h 128"/>
              <a:gd name="T80" fmla="*/ 68 w 128"/>
              <a:gd name="T81" fmla="*/ 104 h 128"/>
              <a:gd name="T82" fmla="*/ 75 w 128"/>
              <a:gd name="T83" fmla="*/ 104 h 128"/>
              <a:gd name="T84" fmla="*/ 75 w 128"/>
              <a:gd name="T85" fmla="*/ 89 h 128"/>
              <a:gd name="T86" fmla="*/ 90 w 128"/>
              <a:gd name="T87" fmla="*/ 89 h 128"/>
              <a:gd name="T88" fmla="*/ 90 w 128"/>
              <a:gd name="T89" fmla="*/ 84 h 128"/>
              <a:gd name="T90" fmla="*/ 75 w 128"/>
              <a:gd name="T91" fmla="*/ 84 h 128"/>
              <a:gd name="T92" fmla="*/ 75 w 128"/>
              <a:gd name="T93" fmla="*/ 72 h 128"/>
              <a:gd name="T94" fmla="*/ 91 w 128"/>
              <a:gd name="T95" fmla="*/ 72 h 128"/>
              <a:gd name="T96" fmla="*/ 91 w 128"/>
              <a:gd name="T97" fmla="*/ 67 h 128"/>
              <a:gd name="T98" fmla="*/ 68 w 128"/>
              <a:gd name="T99" fmla="*/ 67 h 128"/>
              <a:gd name="T100" fmla="*/ 68 w 128"/>
              <a:gd name="T10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8" h="128">
                <a:moveTo>
                  <a:pt x="128" y="40"/>
                </a:moveTo>
                <a:cubicBezTo>
                  <a:pt x="128" y="128"/>
                  <a:pt x="128" y="128"/>
                  <a:pt x="128" y="128"/>
                </a:cubicBezTo>
                <a:cubicBezTo>
                  <a:pt x="96" y="128"/>
                  <a:pt x="96" y="128"/>
                  <a:pt x="96" y="128"/>
                </a:cubicBezTo>
                <a:cubicBezTo>
                  <a:pt x="96" y="120"/>
                  <a:pt x="96" y="120"/>
                  <a:pt x="96" y="120"/>
                </a:cubicBezTo>
                <a:cubicBezTo>
                  <a:pt x="120" y="120"/>
                  <a:pt x="120" y="120"/>
                  <a:pt x="120" y="120"/>
                </a:cubicBezTo>
                <a:cubicBezTo>
                  <a:pt x="120" y="40"/>
                  <a:pt x="120" y="40"/>
                  <a:pt x="120" y="40"/>
                </a:cubicBezTo>
                <a:cubicBezTo>
                  <a:pt x="88" y="40"/>
                  <a:pt x="88" y="40"/>
                  <a:pt x="88" y="40"/>
                </a:cubicBezTo>
                <a:cubicBezTo>
                  <a:pt x="88" y="8"/>
                  <a:pt x="88" y="8"/>
                  <a:pt x="88" y="8"/>
                </a:cubicBezTo>
                <a:cubicBezTo>
                  <a:pt x="40" y="8"/>
                  <a:pt x="40" y="8"/>
                  <a:pt x="40" y="8"/>
                </a:cubicBezTo>
                <a:cubicBezTo>
                  <a:pt x="40" y="32"/>
                  <a:pt x="40" y="32"/>
                  <a:pt x="40" y="32"/>
                </a:cubicBezTo>
                <a:cubicBezTo>
                  <a:pt x="32" y="32"/>
                  <a:pt x="32" y="32"/>
                  <a:pt x="32" y="32"/>
                </a:cubicBezTo>
                <a:cubicBezTo>
                  <a:pt x="32" y="0"/>
                  <a:pt x="32" y="0"/>
                  <a:pt x="32" y="0"/>
                </a:cubicBezTo>
                <a:cubicBezTo>
                  <a:pt x="88" y="0"/>
                  <a:pt x="88" y="0"/>
                  <a:pt x="88" y="0"/>
                </a:cubicBezTo>
                <a:lnTo>
                  <a:pt x="128" y="40"/>
                </a:lnTo>
                <a:close/>
                <a:moveTo>
                  <a:pt x="12" y="91"/>
                </a:moveTo>
                <a:cubicBezTo>
                  <a:pt x="20" y="91"/>
                  <a:pt x="26" y="87"/>
                  <a:pt x="26" y="79"/>
                </a:cubicBezTo>
                <a:cubicBezTo>
                  <a:pt x="26" y="71"/>
                  <a:pt x="20" y="67"/>
                  <a:pt x="12" y="67"/>
                </a:cubicBezTo>
                <a:cubicBezTo>
                  <a:pt x="0" y="67"/>
                  <a:pt x="0" y="67"/>
                  <a:pt x="0" y="67"/>
                </a:cubicBezTo>
                <a:cubicBezTo>
                  <a:pt x="0" y="104"/>
                  <a:pt x="0" y="104"/>
                  <a:pt x="0" y="104"/>
                </a:cubicBezTo>
                <a:cubicBezTo>
                  <a:pt x="7" y="104"/>
                  <a:pt x="7" y="104"/>
                  <a:pt x="7" y="104"/>
                </a:cubicBezTo>
                <a:cubicBezTo>
                  <a:pt x="7" y="91"/>
                  <a:pt x="7" y="91"/>
                  <a:pt x="7" y="91"/>
                </a:cubicBezTo>
                <a:lnTo>
                  <a:pt x="12" y="91"/>
                </a:lnTo>
                <a:close/>
                <a:moveTo>
                  <a:pt x="7" y="86"/>
                </a:moveTo>
                <a:cubicBezTo>
                  <a:pt x="7" y="72"/>
                  <a:pt x="7" y="72"/>
                  <a:pt x="7" y="72"/>
                </a:cubicBezTo>
                <a:cubicBezTo>
                  <a:pt x="12" y="72"/>
                  <a:pt x="12" y="72"/>
                  <a:pt x="12" y="72"/>
                </a:cubicBezTo>
                <a:cubicBezTo>
                  <a:pt x="17" y="72"/>
                  <a:pt x="19" y="74"/>
                  <a:pt x="19" y="79"/>
                </a:cubicBezTo>
                <a:cubicBezTo>
                  <a:pt x="19" y="84"/>
                  <a:pt x="17" y="86"/>
                  <a:pt x="12" y="86"/>
                </a:cubicBezTo>
                <a:lnTo>
                  <a:pt x="7" y="86"/>
                </a:lnTo>
                <a:close/>
                <a:moveTo>
                  <a:pt x="31" y="104"/>
                </a:moveTo>
                <a:cubicBezTo>
                  <a:pt x="44" y="104"/>
                  <a:pt x="44" y="104"/>
                  <a:pt x="44" y="104"/>
                </a:cubicBezTo>
                <a:cubicBezTo>
                  <a:pt x="54" y="104"/>
                  <a:pt x="62" y="98"/>
                  <a:pt x="62" y="85"/>
                </a:cubicBezTo>
                <a:cubicBezTo>
                  <a:pt x="62" y="72"/>
                  <a:pt x="54" y="67"/>
                  <a:pt x="43" y="67"/>
                </a:cubicBezTo>
                <a:cubicBezTo>
                  <a:pt x="31" y="67"/>
                  <a:pt x="31" y="67"/>
                  <a:pt x="31" y="67"/>
                </a:cubicBezTo>
                <a:lnTo>
                  <a:pt x="31" y="104"/>
                </a:lnTo>
                <a:close/>
                <a:moveTo>
                  <a:pt x="38" y="72"/>
                </a:moveTo>
                <a:cubicBezTo>
                  <a:pt x="43" y="72"/>
                  <a:pt x="43" y="72"/>
                  <a:pt x="43" y="72"/>
                </a:cubicBezTo>
                <a:cubicBezTo>
                  <a:pt x="50" y="72"/>
                  <a:pt x="55" y="76"/>
                  <a:pt x="55" y="85"/>
                </a:cubicBezTo>
                <a:cubicBezTo>
                  <a:pt x="55" y="95"/>
                  <a:pt x="50" y="99"/>
                  <a:pt x="43" y="99"/>
                </a:cubicBezTo>
                <a:cubicBezTo>
                  <a:pt x="38" y="99"/>
                  <a:pt x="38" y="99"/>
                  <a:pt x="38" y="99"/>
                </a:cubicBezTo>
                <a:lnTo>
                  <a:pt x="38" y="72"/>
                </a:lnTo>
                <a:close/>
                <a:moveTo>
                  <a:pt x="68" y="104"/>
                </a:moveTo>
                <a:cubicBezTo>
                  <a:pt x="75" y="104"/>
                  <a:pt x="75" y="104"/>
                  <a:pt x="75" y="104"/>
                </a:cubicBezTo>
                <a:cubicBezTo>
                  <a:pt x="75" y="89"/>
                  <a:pt x="75" y="89"/>
                  <a:pt x="75" y="89"/>
                </a:cubicBezTo>
                <a:cubicBezTo>
                  <a:pt x="90" y="89"/>
                  <a:pt x="90" y="89"/>
                  <a:pt x="90" y="89"/>
                </a:cubicBezTo>
                <a:cubicBezTo>
                  <a:pt x="90" y="84"/>
                  <a:pt x="90" y="84"/>
                  <a:pt x="90" y="84"/>
                </a:cubicBezTo>
                <a:cubicBezTo>
                  <a:pt x="75" y="84"/>
                  <a:pt x="75" y="84"/>
                  <a:pt x="75" y="84"/>
                </a:cubicBezTo>
                <a:cubicBezTo>
                  <a:pt x="75" y="72"/>
                  <a:pt x="75" y="72"/>
                  <a:pt x="75" y="72"/>
                </a:cubicBezTo>
                <a:cubicBezTo>
                  <a:pt x="91" y="72"/>
                  <a:pt x="91" y="72"/>
                  <a:pt x="91" y="72"/>
                </a:cubicBezTo>
                <a:cubicBezTo>
                  <a:pt x="91" y="67"/>
                  <a:pt x="91" y="67"/>
                  <a:pt x="91" y="67"/>
                </a:cubicBezTo>
                <a:cubicBezTo>
                  <a:pt x="68" y="67"/>
                  <a:pt x="68" y="67"/>
                  <a:pt x="68" y="67"/>
                </a:cubicBezTo>
                <a:lnTo>
                  <a:pt x="68" y="1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5" name="Freeform 105">
            <a:extLst>
              <a:ext uri="{FF2B5EF4-FFF2-40B4-BE49-F238E27FC236}">
                <a16:creationId xmlns:a16="http://schemas.microsoft.com/office/drawing/2014/main" id="{A2C04761-2E2D-4768-B3A0-8AAEA6514FD3}"/>
              </a:ext>
            </a:extLst>
          </p:cNvPr>
          <p:cNvSpPr>
            <a:spLocks noEditPoints="1"/>
          </p:cNvSpPr>
          <p:nvPr/>
        </p:nvSpPr>
        <p:spPr bwMode="auto">
          <a:xfrm>
            <a:off x="587675" y="4050221"/>
            <a:ext cx="412750" cy="414338"/>
          </a:xfrm>
          <a:custGeom>
            <a:avLst/>
            <a:gdLst>
              <a:gd name="T0" fmla="*/ 128 w 128"/>
              <a:gd name="T1" fmla="*/ 40 h 128"/>
              <a:gd name="T2" fmla="*/ 128 w 128"/>
              <a:gd name="T3" fmla="*/ 128 h 128"/>
              <a:gd name="T4" fmla="*/ 96 w 128"/>
              <a:gd name="T5" fmla="*/ 128 h 128"/>
              <a:gd name="T6" fmla="*/ 96 w 128"/>
              <a:gd name="T7" fmla="*/ 120 h 128"/>
              <a:gd name="T8" fmla="*/ 120 w 128"/>
              <a:gd name="T9" fmla="*/ 120 h 128"/>
              <a:gd name="T10" fmla="*/ 120 w 128"/>
              <a:gd name="T11" fmla="*/ 40 h 128"/>
              <a:gd name="T12" fmla="*/ 88 w 128"/>
              <a:gd name="T13" fmla="*/ 40 h 128"/>
              <a:gd name="T14" fmla="*/ 88 w 128"/>
              <a:gd name="T15" fmla="*/ 8 h 128"/>
              <a:gd name="T16" fmla="*/ 40 w 128"/>
              <a:gd name="T17" fmla="*/ 8 h 128"/>
              <a:gd name="T18" fmla="*/ 40 w 128"/>
              <a:gd name="T19" fmla="*/ 32 h 128"/>
              <a:gd name="T20" fmla="*/ 32 w 128"/>
              <a:gd name="T21" fmla="*/ 32 h 128"/>
              <a:gd name="T22" fmla="*/ 32 w 128"/>
              <a:gd name="T23" fmla="*/ 0 h 128"/>
              <a:gd name="T24" fmla="*/ 88 w 128"/>
              <a:gd name="T25" fmla="*/ 0 h 128"/>
              <a:gd name="T26" fmla="*/ 128 w 128"/>
              <a:gd name="T27" fmla="*/ 40 h 128"/>
              <a:gd name="T28" fmla="*/ 12 w 128"/>
              <a:gd name="T29" fmla="*/ 91 h 128"/>
              <a:gd name="T30" fmla="*/ 26 w 128"/>
              <a:gd name="T31" fmla="*/ 79 h 128"/>
              <a:gd name="T32" fmla="*/ 12 w 128"/>
              <a:gd name="T33" fmla="*/ 67 h 128"/>
              <a:gd name="T34" fmla="*/ 0 w 128"/>
              <a:gd name="T35" fmla="*/ 67 h 128"/>
              <a:gd name="T36" fmla="*/ 0 w 128"/>
              <a:gd name="T37" fmla="*/ 104 h 128"/>
              <a:gd name="T38" fmla="*/ 7 w 128"/>
              <a:gd name="T39" fmla="*/ 104 h 128"/>
              <a:gd name="T40" fmla="*/ 7 w 128"/>
              <a:gd name="T41" fmla="*/ 91 h 128"/>
              <a:gd name="T42" fmla="*/ 12 w 128"/>
              <a:gd name="T43" fmla="*/ 91 h 128"/>
              <a:gd name="T44" fmla="*/ 7 w 128"/>
              <a:gd name="T45" fmla="*/ 86 h 128"/>
              <a:gd name="T46" fmla="*/ 7 w 128"/>
              <a:gd name="T47" fmla="*/ 72 h 128"/>
              <a:gd name="T48" fmla="*/ 12 w 128"/>
              <a:gd name="T49" fmla="*/ 72 h 128"/>
              <a:gd name="T50" fmla="*/ 19 w 128"/>
              <a:gd name="T51" fmla="*/ 79 h 128"/>
              <a:gd name="T52" fmla="*/ 12 w 128"/>
              <a:gd name="T53" fmla="*/ 86 h 128"/>
              <a:gd name="T54" fmla="*/ 7 w 128"/>
              <a:gd name="T55" fmla="*/ 86 h 128"/>
              <a:gd name="T56" fmla="*/ 31 w 128"/>
              <a:gd name="T57" fmla="*/ 104 h 128"/>
              <a:gd name="T58" fmla="*/ 37 w 128"/>
              <a:gd name="T59" fmla="*/ 104 h 128"/>
              <a:gd name="T60" fmla="*/ 37 w 128"/>
              <a:gd name="T61" fmla="*/ 76 h 128"/>
              <a:gd name="T62" fmla="*/ 37 w 128"/>
              <a:gd name="T63" fmla="*/ 76 h 128"/>
              <a:gd name="T64" fmla="*/ 40 w 128"/>
              <a:gd name="T65" fmla="*/ 81 h 128"/>
              <a:gd name="T66" fmla="*/ 54 w 128"/>
              <a:gd name="T67" fmla="*/ 104 h 128"/>
              <a:gd name="T68" fmla="*/ 61 w 128"/>
              <a:gd name="T69" fmla="*/ 104 h 128"/>
              <a:gd name="T70" fmla="*/ 61 w 128"/>
              <a:gd name="T71" fmla="*/ 67 h 128"/>
              <a:gd name="T72" fmla="*/ 55 w 128"/>
              <a:gd name="T73" fmla="*/ 67 h 128"/>
              <a:gd name="T74" fmla="*/ 55 w 128"/>
              <a:gd name="T75" fmla="*/ 95 h 128"/>
              <a:gd name="T76" fmla="*/ 55 w 128"/>
              <a:gd name="T77" fmla="*/ 95 h 128"/>
              <a:gd name="T78" fmla="*/ 52 w 128"/>
              <a:gd name="T79" fmla="*/ 90 h 128"/>
              <a:gd name="T80" fmla="*/ 39 w 128"/>
              <a:gd name="T81" fmla="*/ 67 h 128"/>
              <a:gd name="T82" fmla="*/ 31 w 128"/>
              <a:gd name="T83" fmla="*/ 67 h 128"/>
              <a:gd name="T84" fmla="*/ 31 w 128"/>
              <a:gd name="T85" fmla="*/ 104 h 128"/>
              <a:gd name="T86" fmla="*/ 85 w 128"/>
              <a:gd name="T87" fmla="*/ 71 h 128"/>
              <a:gd name="T88" fmla="*/ 92 w 128"/>
              <a:gd name="T89" fmla="*/ 78 h 128"/>
              <a:gd name="T90" fmla="*/ 99 w 128"/>
              <a:gd name="T91" fmla="*/ 78 h 128"/>
              <a:gd name="T92" fmla="*/ 85 w 128"/>
              <a:gd name="T93" fmla="*/ 67 h 128"/>
              <a:gd name="T94" fmla="*/ 67 w 128"/>
              <a:gd name="T95" fmla="*/ 86 h 128"/>
              <a:gd name="T96" fmla="*/ 84 w 128"/>
              <a:gd name="T97" fmla="*/ 105 h 128"/>
              <a:gd name="T98" fmla="*/ 95 w 128"/>
              <a:gd name="T99" fmla="*/ 99 h 128"/>
              <a:gd name="T100" fmla="*/ 95 w 128"/>
              <a:gd name="T101" fmla="*/ 99 h 128"/>
              <a:gd name="T102" fmla="*/ 95 w 128"/>
              <a:gd name="T103" fmla="*/ 104 h 128"/>
              <a:gd name="T104" fmla="*/ 100 w 128"/>
              <a:gd name="T105" fmla="*/ 104 h 128"/>
              <a:gd name="T106" fmla="*/ 100 w 128"/>
              <a:gd name="T107" fmla="*/ 85 h 128"/>
              <a:gd name="T108" fmla="*/ 84 w 128"/>
              <a:gd name="T109" fmla="*/ 85 h 128"/>
              <a:gd name="T110" fmla="*/ 84 w 128"/>
              <a:gd name="T111" fmla="*/ 90 h 128"/>
              <a:gd name="T112" fmla="*/ 94 w 128"/>
              <a:gd name="T113" fmla="*/ 90 h 128"/>
              <a:gd name="T114" fmla="*/ 94 w 128"/>
              <a:gd name="T115" fmla="*/ 90 h 128"/>
              <a:gd name="T116" fmla="*/ 84 w 128"/>
              <a:gd name="T117" fmla="*/ 100 h 128"/>
              <a:gd name="T118" fmla="*/ 74 w 128"/>
              <a:gd name="T119" fmla="*/ 86 h 128"/>
              <a:gd name="T120" fmla="*/ 85 w 128"/>
              <a:gd name="T121" fmla="*/ 71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28">
                <a:moveTo>
                  <a:pt x="128" y="40"/>
                </a:moveTo>
                <a:cubicBezTo>
                  <a:pt x="128" y="128"/>
                  <a:pt x="128" y="128"/>
                  <a:pt x="128" y="128"/>
                </a:cubicBezTo>
                <a:cubicBezTo>
                  <a:pt x="96" y="128"/>
                  <a:pt x="96" y="128"/>
                  <a:pt x="96" y="128"/>
                </a:cubicBezTo>
                <a:cubicBezTo>
                  <a:pt x="96" y="120"/>
                  <a:pt x="96" y="120"/>
                  <a:pt x="96" y="120"/>
                </a:cubicBezTo>
                <a:cubicBezTo>
                  <a:pt x="120" y="120"/>
                  <a:pt x="120" y="120"/>
                  <a:pt x="120" y="120"/>
                </a:cubicBezTo>
                <a:cubicBezTo>
                  <a:pt x="120" y="40"/>
                  <a:pt x="120" y="40"/>
                  <a:pt x="120" y="40"/>
                </a:cubicBezTo>
                <a:cubicBezTo>
                  <a:pt x="88" y="40"/>
                  <a:pt x="88" y="40"/>
                  <a:pt x="88" y="40"/>
                </a:cubicBezTo>
                <a:cubicBezTo>
                  <a:pt x="88" y="8"/>
                  <a:pt x="88" y="8"/>
                  <a:pt x="88" y="8"/>
                </a:cubicBezTo>
                <a:cubicBezTo>
                  <a:pt x="40" y="8"/>
                  <a:pt x="40" y="8"/>
                  <a:pt x="40" y="8"/>
                </a:cubicBezTo>
                <a:cubicBezTo>
                  <a:pt x="40" y="32"/>
                  <a:pt x="40" y="32"/>
                  <a:pt x="40" y="32"/>
                </a:cubicBezTo>
                <a:cubicBezTo>
                  <a:pt x="32" y="32"/>
                  <a:pt x="32" y="32"/>
                  <a:pt x="32" y="32"/>
                </a:cubicBezTo>
                <a:cubicBezTo>
                  <a:pt x="32" y="0"/>
                  <a:pt x="32" y="0"/>
                  <a:pt x="32" y="0"/>
                </a:cubicBezTo>
                <a:cubicBezTo>
                  <a:pt x="88" y="0"/>
                  <a:pt x="88" y="0"/>
                  <a:pt x="88" y="0"/>
                </a:cubicBezTo>
                <a:lnTo>
                  <a:pt x="128" y="40"/>
                </a:lnTo>
                <a:close/>
                <a:moveTo>
                  <a:pt x="12" y="91"/>
                </a:moveTo>
                <a:cubicBezTo>
                  <a:pt x="20" y="91"/>
                  <a:pt x="26" y="87"/>
                  <a:pt x="26" y="79"/>
                </a:cubicBezTo>
                <a:cubicBezTo>
                  <a:pt x="26" y="71"/>
                  <a:pt x="20" y="67"/>
                  <a:pt x="12" y="67"/>
                </a:cubicBezTo>
                <a:cubicBezTo>
                  <a:pt x="0" y="67"/>
                  <a:pt x="0" y="67"/>
                  <a:pt x="0" y="67"/>
                </a:cubicBezTo>
                <a:cubicBezTo>
                  <a:pt x="0" y="104"/>
                  <a:pt x="0" y="104"/>
                  <a:pt x="0" y="104"/>
                </a:cubicBezTo>
                <a:cubicBezTo>
                  <a:pt x="7" y="104"/>
                  <a:pt x="7" y="104"/>
                  <a:pt x="7" y="104"/>
                </a:cubicBezTo>
                <a:cubicBezTo>
                  <a:pt x="7" y="91"/>
                  <a:pt x="7" y="91"/>
                  <a:pt x="7" y="91"/>
                </a:cubicBezTo>
                <a:lnTo>
                  <a:pt x="12" y="91"/>
                </a:lnTo>
                <a:close/>
                <a:moveTo>
                  <a:pt x="7" y="86"/>
                </a:moveTo>
                <a:cubicBezTo>
                  <a:pt x="7" y="72"/>
                  <a:pt x="7" y="72"/>
                  <a:pt x="7" y="72"/>
                </a:cubicBezTo>
                <a:cubicBezTo>
                  <a:pt x="12" y="72"/>
                  <a:pt x="12" y="72"/>
                  <a:pt x="12" y="72"/>
                </a:cubicBezTo>
                <a:cubicBezTo>
                  <a:pt x="17" y="72"/>
                  <a:pt x="19" y="74"/>
                  <a:pt x="19" y="79"/>
                </a:cubicBezTo>
                <a:cubicBezTo>
                  <a:pt x="19" y="84"/>
                  <a:pt x="17" y="86"/>
                  <a:pt x="12" y="86"/>
                </a:cubicBezTo>
                <a:lnTo>
                  <a:pt x="7" y="86"/>
                </a:lnTo>
                <a:close/>
                <a:moveTo>
                  <a:pt x="31" y="104"/>
                </a:moveTo>
                <a:cubicBezTo>
                  <a:pt x="37" y="104"/>
                  <a:pt x="37" y="104"/>
                  <a:pt x="37" y="104"/>
                </a:cubicBezTo>
                <a:cubicBezTo>
                  <a:pt x="37" y="76"/>
                  <a:pt x="37" y="76"/>
                  <a:pt x="37" y="76"/>
                </a:cubicBezTo>
                <a:cubicBezTo>
                  <a:pt x="37" y="76"/>
                  <a:pt x="37" y="76"/>
                  <a:pt x="37" y="76"/>
                </a:cubicBezTo>
                <a:cubicBezTo>
                  <a:pt x="37" y="76"/>
                  <a:pt x="38" y="78"/>
                  <a:pt x="40" y="81"/>
                </a:cubicBezTo>
                <a:cubicBezTo>
                  <a:pt x="54" y="104"/>
                  <a:pt x="54" y="104"/>
                  <a:pt x="54" y="104"/>
                </a:cubicBezTo>
                <a:cubicBezTo>
                  <a:pt x="61" y="104"/>
                  <a:pt x="61" y="104"/>
                  <a:pt x="61" y="104"/>
                </a:cubicBezTo>
                <a:cubicBezTo>
                  <a:pt x="61" y="67"/>
                  <a:pt x="61" y="67"/>
                  <a:pt x="61" y="67"/>
                </a:cubicBezTo>
                <a:cubicBezTo>
                  <a:pt x="55" y="67"/>
                  <a:pt x="55" y="67"/>
                  <a:pt x="55" y="67"/>
                </a:cubicBezTo>
                <a:cubicBezTo>
                  <a:pt x="55" y="95"/>
                  <a:pt x="55" y="95"/>
                  <a:pt x="55" y="95"/>
                </a:cubicBezTo>
                <a:cubicBezTo>
                  <a:pt x="55" y="95"/>
                  <a:pt x="55" y="95"/>
                  <a:pt x="55" y="95"/>
                </a:cubicBezTo>
                <a:cubicBezTo>
                  <a:pt x="55" y="95"/>
                  <a:pt x="54" y="93"/>
                  <a:pt x="52" y="90"/>
                </a:cubicBezTo>
                <a:cubicBezTo>
                  <a:pt x="39" y="67"/>
                  <a:pt x="39" y="67"/>
                  <a:pt x="39" y="67"/>
                </a:cubicBezTo>
                <a:cubicBezTo>
                  <a:pt x="31" y="67"/>
                  <a:pt x="31" y="67"/>
                  <a:pt x="31" y="67"/>
                </a:cubicBezTo>
                <a:lnTo>
                  <a:pt x="31" y="104"/>
                </a:lnTo>
                <a:close/>
                <a:moveTo>
                  <a:pt x="85" y="71"/>
                </a:moveTo>
                <a:cubicBezTo>
                  <a:pt x="89" y="71"/>
                  <a:pt x="92" y="74"/>
                  <a:pt x="92" y="78"/>
                </a:cubicBezTo>
                <a:cubicBezTo>
                  <a:pt x="99" y="78"/>
                  <a:pt x="99" y="78"/>
                  <a:pt x="99" y="78"/>
                </a:cubicBezTo>
                <a:cubicBezTo>
                  <a:pt x="98" y="71"/>
                  <a:pt x="93" y="67"/>
                  <a:pt x="85" y="67"/>
                </a:cubicBezTo>
                <a:cubicBezTo>
                  <a:pt x="74" y="67"/>
                  <a:pt x="67" y="74"/>
                  <a:pt x="67" y="86"/>
                </a:cubicBezTo>
                <a:cubicBezTo>
                  <a:pt x="67" y="98"/>
                  <a:pt x="73" y="105"/>
                  <a:pt x="84" y="105"/>
                </a:cubicBezTo>
                <a:cubicBezTo>
                  <a:pt x="89" y="105"/>
                  <a:pt x="93" y="102"/>
                  <a:pt x="95" y="99"/>
                </a:cubicBezTo>
                <a:cubicBezTo>
                  <a:pt x="95" y="99"/>
                  <a:pt x="95" y="99"/>
                  <a:pt x="95" y="99"/>
                </a:cubicBezTo>
                <a:cubicBezTo>
                  <a:pt x="95" y="104"/>
                  <a:pt x="95" y="104"/>
                  <a:pt x="95" y="104"/>
                </a:cubicBezTo>
                <a:cubicBezTo>
                  <a:pt x="100" y="104"/>
                  <a:pt x="100" y="104"/>
                  <a:pt x="100" y="104"/>
                </a:cubicBezTo>
                <a:cubicBezTo>
                  <a:pt x="100" y="85"/>
                  <a:pt x="100" y="85"/>
                  <a:pt x="100" y="85"/>
                </a:cubicBezTo>
                <a:cubicBezTo>
                  <a:pt x="84" y="85"/>
                  <a:pt x="84" y="85"/>
                  <a:pt x="84" y="85"/>
                </a:cubicBezTo>
                <a:cubicBezTo>
                  <a:pt x="84" y="90"/>
                  <a:pt x="84" y="90"/>
                  <a:pt x="84" y="90"/>
                </a:cubicBezTo>
                <a:cubicBezTo>
                  <a:pt x="94" y="90"/>
                  <a:pt x="94" y="90"/>
                  <a:pt x="94" y="90"/>
                </a:cubicBezTo>
                <a:cubicBezTo>
                  <a:pt x="94" y="90"/>
                  <a:pt x="94" y="90"/>
                  <a:pt x="94" y="90"/>
                </a:cubicBezTo>
                <a:cubicBezTo>
                  <a:pt x="94" y="97"/>
                  <a:pt x="90" y="100"/>
                  <a:pt x="84" y="100"/>
                </a:cubicBezTo>
                <a:cubicBezTo>
                  <a:pt x="78" y="100"/>
                  <a:pt x="74" y="95"/>
                  <a:pt x="74" y="86"/>
                </a:cubicBezTo>
                <a:cubicBezTo>
                  <a:pt x="74" y="77"/>
                  <a:pt x="78" y="71"/>
                  <a:pt x="85" y="7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16" name="Freeform 5">
            <a:extLst>
              <a:ext uri="{FF2B5EF4-FFF2-40B4-BE49-F238E27FC236}">
                <a16:creationId xmlns:a16="http://schemas.microsoft.com/office/drawing/2014/main" id="{96C45A41-4848-4DA3-915E-09AC76DD68E4}"/>
              </a:ext>
            </a:extLst>
          </p:cNvPr>
          <p:cNvSpPr>
            <a:spLocks noEditPoints="1"/>
          </p:cNvSpPr>
          <p:nvPr/>
        </p:nvSpPr>
        <p:spPr bwMode="auto">
          <a:xfrm>
            <a:off x="1632314" y="4051809"/>
            <a:ext cx="414338" cy="412750"/>
          </a:xfrm>
          <a:custGeom>
            <a:avLst/>
            <a:gdLst>
              <a:gd name="T0" fmla="*/ 128 w 128"/>
              <a:gd name="T1" fmla="*/ 128 h 128"/>
              <a:gd name="T2" fmla="*/ 96 w 128"/>
              <a:gd name="T3" fmla="*/ 120 h 128"/>
              <a:gd name="T4" fmla="*/ 120 w 128"/>
              <a:gd name="T5" fmla="*/ 40 h 128"/>
              <a:gd name="T6" fmla="*/ 88 w 128"/>
              <a:gd name="T7" fmla="*/ 8 h 128"/>
              <a:gd name="T8" fmla="*/ 40 w 128"/>
              <a:gd name="T9" fmla="*/ 32 h 128"/>
              <a:gd name="T10" fmla="*/ 32 w 128"/>
              <a:gd name="T11" fmla="*/ 0 h 128"/>
              <a:gd name="T12" fmla="*/ 128 w 128"/>
              <a:gd name="T13" fmla="*/ 40 h 128"/>
              <a:gd name="T14" fmla="*/ 23 w 128"/>
              <a:gd name="T15" fmla="*/ 81 h 128"/>
              <a:gd name="T16" fmla="*/ 25 w 128"/>
              <a:gd name="T17" fmla="*/ 75 h 128"/>
              <a:gd name="T18" fmla="*/ 32 w 128"/>
              <a:gd name="T19" fmla="*/ 104 h 128"/>
              <a:gd name="T20" fmla="*/ 49 w 128"/>
              <a:gd name="T21" fmla="*/ 67 h 128"/>
              <a:gd name="T22" fmla="*/ 37 w 128"/>
              <a:gd name="T23" fmla="*/ 91 h 128"/>
              <a:gd name="T24" fmla="*/ 36 w 128"/>
              <a:gd name="T25" fmla="*/ 97 h 128"/>
              <a:gd name="T26" fmla="*/ 28 w 128"/>
              <a:gd name="T27" fmla="*/ 67 h 128"/>
              <a:gd name="T28" fmla="*/ 15 w 128"/>
              <a:gd name="T29" fmla="*/ 91 h 128"/>
              <a:gd name="T30" fmla="*/ 14 w 128"/>
              <a:gd name="T31" fmla="*/ 97 h 128"/>
              <a:gd name="T32" fmla="*/ 7 w 128"/>
              <a:gd name="T33" fmla="*/ 67 h 128"/>
              <a:gd name="T34" fmla="*/ 10 w 128"/>
              <a:gd name="T35" fmla="*/ 104 h 128"/>
              <a:gd name="T36" fmla="*/ 48 w 128"/>
              <a:gd name="T37" fmla="*/ 104 h 128"/>
              <a:gd name="T38" fmla="*/ 58 w 128"/>
              <a:gd name="T39" fmla="*/ 95 h 128"/>
              <a:gd name="T40" fmla="*/ 75 w 128"/>
              <a:gd name="T41" fmla="*/ 104 h 128"/>
              <a:gd name="T42" fmla="*/ 69 w 128"/>
              <a:gd name="T43" fmla="*/ 67 h 128"/>
              <a:gd name="T44" fmla="*/ 48 w 128"/>
              <a:gd name="T45" fmla="*/ 104 h 128"/>
              <a:gd name="T46" fmla="*/ 65 w 128"/>
              <a:gd name="T47" fmla="*/ 73 h 128"/>
              <a:gd name="T48" fmla="*/ 66 w 128"/>
              <a:gd name="T49" fmla="*/ 78 h 128"/>
              <a:gd name="T50" fmla="*/ 59 w 128"/>
              <a:gd name="T51" fmla="*/ 90 h 128"/>
              <a:gd name="T52" fmla="*/ 92 w 128"/>
              <a:gd name="T53" fmla="*/ 104 h 128"/>
              <a:gd name="T54" fmla="*/ 113 w 128"/>
              <a:gd name="T55" fmla="*/ 67 h 128"/>
              <a:gd name="T56" fmla="*/ 98 w 128"/>
              <a:gd name="T57" fmla="*/ 93 h 128"/>
              <a:gd name="T58" fmla="*/ 96 w 128"/>
              <a:gd name="T59" fmla="*/ 98 h 128"/>
              <a:gd name="T60" fmla="*/ 87 w 128"/>
              <a:gd name="T61" fmla="*/ 67 h 128"/>
              <a:gd name="T62" fmla="*/ 92 w 128"/>
              <a:gd name="T63"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128">
                <a:moveTo>
                  <a:pt x="128" y="40"/>
                </a:moveTo>
                <a:cubicBezTo>
                  <a:pt x="128" y="128"/>
                  <a:pt x="128" y="128"/>
                  <a:pt x="128" y="128"/>
                </a:cubicBezTo>
                <a:cubicBezTo>
                  <a:pt x="96" y="128"/>
                  <a:pt x="96" y="128"/>
                  <a:pt x="96" y="128"/>
                </a:cubicBezTo>
                <a:cubicBezTo>
                  <a:pt x="96" y="120"/>
                  <a:pt x="96" y="120"/>
                  <a:pt x="96" y="120"/>
                </a:cubicBezTo>
                <a:cubicBezTo>
                  <a:pt x="120" y="120"/>
                  <a:pt x="120" y="120"/>
                  <a:pt x="120" y="120"/>
                </a:cubicBezTo>
                <a:cubicBezTo>
                  <a:pt x="120" y="40"/>
                  <a:pt x="120" y="40"/>
                  <a:pt x="120" y="40"/>
                </a:cubicBezTo>
                <a:cubicBezTo>
                  <a:pt x="88" y="40"/>
                  <a:pt x="88" y="40"/>
                  <a:pt x="88" y="40"/>
                </a:cubicBezTo>
                <a:cubicBezTo>
                  <a:pt x="88" y="8"/>
                  <a:pt x="88" y="8"/>
                  <a:pt x="88" y="8"/>
                </a:cubicBezTo>
                <a:cubicBezTo>
                  <a:pt x="40" y="8"/>
                  <a:pt x="40" y="8"/>
                  <a:pt x="40" y="8"/>
                </a:cubicBezTo>
                <a:cubicBezTo>
                  <a:pt x="40" y="32"/>
                  <a:pt x="40" y="32"/>
                  <a:pt x="40" y="32"/>
                </a:cubicBezTo>
                <a:cubicBezTo>
                  <a:pt x="32" y="32"/>
                  <a:pt x="32" y="32"/>
                  <a:pt x="32" y="32"/>
                </a:cubicBezTo>
                <a:cubicBezTo>
                  <a:pt x="32" y="0"/>
                  <a:pt x="32" y="0"/>
                  <a:pt x="32" y="0"/>
                </a:cubicBezTo>
                <a:cubicBezTo>
                  <a:pt x="88" y="0"/>
                  <a:pt x="88" y="0"/>
                  <a:pt x="88" y="0"/>
                </a:cubicBezTo>
                <a:lnTo>
                  <a:pt x="128" y="40"/>
                </a:lnTo>
                <a:close/>
                <a:moveTo>
                  <a:pt x="17" y="104"/>
                </a:moveTo>
                <a:cubicBezTo>
                  <a:pt x="23" y="81"/>
                  <a:pt x="23" y="81"/>
                  <a:pt x="23" y="81"/>
                </a:cubicBezTo>
                <a:cubicBezTo>
                  <a:pt x="24" y="77"/>
                  <a:pt x="24" y="75"/>
                  <a:pt x="24" y="75"/>
                </a:cubicBezTo>
                <a:cubicBezTo>
                  <a:pt x="25" y="75"/>
                  <a:pt x="25" y="75"/>
                  <a:pt x="25" y="75"/>
                </a:cubicBezTo>
                <a:cubicBezTo>
                  <a:pt x="25" y="75"/>
                  <a:pt x="25" y="77"/>
                  <a:pt x="26" y="81"/>
                </a:cubicBezTo>
                <a:cubicBezTo>
                  <a:pt x="32" y="104"/>
                  <a:pt x="32" y="104"/>
                  <a:pt x="32" y="104"/>
                </a:cubicBezTo>
                <a:cubicBezTo>
                  <a:pt x="39" y="104"/>
                  <a:pt x="39" y="104"/>
                  <a:pt x="39" y="104"/>
                </a:cubicBezTo>
                <a:cubicBezTo>
                  <a:pt x="49" y="67"/>
                  <a:pt x="49" y="67"/>
                  <a:pt x="49" y="67"/>
                </a:cubicBezTo>
                <a:cubicBezTo>
                  <a:pt x="43" y="67"/>
                  <a:pt x="43" y="67"/>
                  <a:pt x="43" y="67"/>
                </a:cubicBezTo>
                <a:cubicBezTo>
                  <a:pt x="37" y="91"/>
                  <a:pt x="37" y="91"/>
                  <a:pt x="37" y="91"/>
                </a:cubicBezTo>
                <a:cubicBezTo>
                  <a:pt x="36" y="94"/>
                  <a:pt x="36" y="97"/>
                  <a:pt x="36" y="97"/>
                </a:cubicBezTo>
                <a:cubicBezTo>
                  <a:pt x="36" y="97"/>
                  <a:pt x="36" y="97"/>
                  <a:pt x="36" y="97"/>
                </a:cubicBezTo>
                <a:cubicBezTo>
                  <a:pt x="36" y="97"/>
                  <a:pt x="35" y="94"/>
                  <a:pt x="34" y="90"/>
                </a:cubicBezTo>
                <a:cubicBezTo>
                  <a:pt x="28" y="67"/>
                  <a:pt x="28" y="67"/>
                  <a:pt x="28" y="67"/>
                </a:cubicBezTo>
                <a:cubicBezTo>
                  <a:pt x="22" y="67"/>
                  <a:pt x="22" y="67"/>
                  <a:pt x="22" y="67"/>
                </a:cubicBezTo>
                <a:cubicBezTo>
                  <a:pt x="15" y="91"/>
                  <a:pt x="15" y="91"/>
                  <a:pt x="15" y="91"/>
                </a:cubicBezTo>
                <a:cubicBezTo>
                  <a:pt x="14" y="94"/>
                  <a:pt x="14" y="97"/>
                  <a:pt x="14" y="97"/>
                </a:cubicBezTo>
                <a:cubicBezTo>
                  <a:pt x="14" y="97"/>
                  <a:pt x="14" y="97"/>
                  <a:pt x="14" y="97"/>
                </a:cubicBezTo>
                <a:cubicBezTo>
                  <a:pt x="14" y="97"/>
                  <a:pt x="14" y="94"/>
                  <a:pt x="13" y="90"/>
                </a:cubicBezTo>
                <a:cubicBezTo>
                  <a:pt x="7" y="67"/>
                  <a:pt x="7" y="67"/>
                  <a:pt x="7" y="67"/>
                </a:cubicBezTo>
                <a:cubicBezTo>
                  <a:pt x="0" y="67"/>
                  <a:pt x="0" y="67"/>
                  <a:pt x="0" y="67"/>
                </a:cubicBezTo>
                <a:cubicBezTo>
                  <a:pt x="10" y="104"/>
                  <a:pt x="10" y="104"/>
                  <a:pt x="10" y="104"/>
                </a:cubicBezTo>
                <a:lnTo>
                  <a:pt x="17" y="104"/>
                </a:lnTo>
                <a:close/>
                <a:moveTo>
                  <a:pt x="48" y="104"/>
                </a:moveTo>
                <a:cubicBezTo>
                  <a:pt x="55" y="104"/>
                  <a:pt x="55" y="104"/>
                  <a:pt x="55" y="104"/>
                </a:cubicBezTo>
                <a:cubicBezTo>
                  <a:pt x="58" y="95"/>
                  <a:pt x="58" y="95"/>
                  <a:pt x="58" y="95"/>
                </a:cubicBezTo>
                <a:cubicBezTo>
                  <a:pt x="72" y="95"/>
                  <a:pt x="72" y="95"/>
                  <a:pt x="72" y="95"/>
                </a:cubicBezTo>
                <a:cubicBezTo>
                  <a:pt x="75" y="104"/>
                  <a:pt x="75" y="104"/>
                  <a:pt x="75" y="104"/>
                </a:cubicBezTo>
                <a:cubicBezTo>
                  <a:pt x="82" y="104"/>
                  <a:pt x="82" y="104"/>
                  <a:pt x="82" y="104"/>
                </a:cubicBezTo>
                <a:cubicBezTo>
                  <a:pt x="69" y="67"/>
                  <a:pt x="69" y="67"/>
                  <a:pt x="69" y="67"/>
                </a:cubicBezTo>
                <a:cubicBezTo>
                  <a:pt x="61" y="67"/>
                  <a:pt x="61" y="67"/>
                  <a:pt x="61" y="67"/>
                </a:cubicBezTo>
                <a:lnTo>
                  <a:pt x="48" y="104"/>
                </a:lnTo>
                <a:close/>
                <a:moveTo>
                  <a:pt x="63" y="78"/>
                </a:moveTo>
                <a:cubicBezTo>
                  <a:pt x="64" y="75"/>
                  <a:pt x="65" y="73"/>
                  <a:pt x="65" y="73"/>
                </a:cubicBezTo>
                <a:cubicBezTo>
                  <a:pt x="65" y="73"/>
                  <a:pt x="65" y="73"/>
                  <a:pt x="65" y="73"/>
                </a:cubicBezTo>
                <a:cubicBezTo>
                  <a:pt x="65" y="73"/>
                  <a:pt x="65" y="75"/>
                  <a:pt x="66" y="78"/>
                </a:cubicBezTo>
                <a:cubicBezTo>
                  <a:pt x="70" y="90"/>
                  <a:pt x="70" y="90"/>
                  <a:pt x="70" y="90"/>
                </a:cubicBezTo>
                <a:cubicBezTo>
                  <a:pt x="59" y="90"/>
                  <a:pt x="59" y="90"/>
                  <a:pt x="59" y="90"/>
                </a:cubicBezTo>
                <a:lnTo>
                  <a:pt x="63" y="78"/>
                </a:lnTo>
                <a:close/>
                <a:moveTo>
                  <a:pt x="92" y="104"/>
                </a:moveTo>
                <a:cubicBezTo>
                  <a:pt x="100" y="104"/>
                  <a:pt x="100" y="104"/>
                  <a:pt x="100" y="104"/>
                </a:cubicBezTo>
                <a:cubicBezTo>
                  <a:pt x="113" y="67"/>
                  <a:pt x="113" y="67"/>
                  <a:pt x="113" y="67"/>
                </a:cubicBezTo>
                <a:cubicBezTo>
                  <a:pt x="106" y="67"/>
                  <a:pt x="106" y="67"/>
                  <a:pt x="106" y="67"/>
                </a:cubicBezTo>
                <a:cubicBezTo>
                  <a:pt x="98" y="93"/>
                  <a:pt x="98" y="93"/>
                  <a:pt x="98" y="93"/>
                </a:cubicBezTo>
                <a:cubicBezTo>
                  <a:pt x="97" y="96"/>
                  <a:pt x="96" y="98"/>
                  <a:pt x="96" y="98"/>
                </a:cubicBezTo>
                <a:cubicBezTo>
                  <a:pt x="96" y="98"/>
                  <a:pt x="96" y="98"/>
                  <a:pt x="96" y="98"/>
                </a:cubicBezTo>
                <a:cubicBezTo>
                  <a:pt x="96" y="98"/>
                  <a:pt x="96" y="96"/>
                  <a:pt x="95" y="93"/>
                </a:cubicBezTo>
                <a:cubicBezTo>
                  <a:pt x="87" y="67"/>
                  <a:pt x="87" y="67"/>
                  <a:pt x="87" y="67"/>
                </a:cubicBezTo>
                <a:cubicBezTo>
                  <a:pt x="80" y="67"/>
                  <a:pt x="80" y="67"/>
                  <a:pt x="80" y="67"/>
                </a:cubicBezTo>
                <a:lnTo>
                  <a:pt x="92" y="1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3" name="Freeform 34">
            <a:extLst>
              <a:ext uri="{FF2B5EF4-FFF2-40B4-BE49-F238E27FC236}">
                <a16:creationId xmlns:a16="http://schemas.microsoft.com/office/drawing/2014/main" id="{3A0870C2-68E4-4BB0-BB34-B9994F63B80E}"/>
              </a:ext>
            </a:extLst>
          </p:cNvPr>
          <p:cNvSpPr>
            <a:spLocks noEditPoints="1"/>
          </p:cNvSpPr>
          <p:nvPr/>
        </p:nvSpPr>
        <p:spPr bwMode="auto">
          <a:xfrm>
            <a:off x="5006480" y="2446359"/>
            <a:ext cx="412750" cy="342900"/>
          </a:xfrm>
          <a:custGeom>
            <a:avLst/>
            <a:gdLst>
              <a:gd name="T0" fmla="*/ 62 w 128"/>
              <a:gd name="T1" fmla="*/ 46 h 106"/>
              <a:gd name="T2" fmla="*/ 57 w 128"/>
              <a:gd name="T3" fmla="*/ 40 h 106"/>
              <a:gd name="T4" fmla="*/ 92 w 128"/>
              <a:gd name="T5" fmla="*/ 19 h 106"/>
              <a:gd name="T6" fmla="*/ 113 w 128"/>
              <a:gd name="T7" fmla="*/ 19 h 106"/>
              <a:gd name="T8" fmla="*/ 100 w 128"/>
              <a:gd name="T9" fmla="*/ 6 h 106"/>
              <a:gd name="T10" fmla="*/ 106 w 128"/>
              <a:gd name="T11" fmla="*/ 0 h 106"/>
              <a:gd name="T12" fmla="*/ 128 w 128"/>
              <a:gd name="T13" fmla="*/ 23 h 106"/>
              <a:gd name="T14" fmla="*/ 105 w 128"/>
              <a:gd name="T15" fmla="*/ 46 h 106"/>
              <a:gd name="T16" fmla="*/ 100 w 128"/>
              <a:gd name="T17" fmla="*/ 40 h 106"/>
              <a:gd name="T18" fmla="*/ 113 w 128"/>
              <a:gd name="T19" fmla="*/ 27 h 106"/>
              <a:gd name="T20" fmla="*/ 92 w 128"/>
              <a:gd name="T21" fmla="*/ 27 h 106"/>
              <a:gd name="T22" fmla="*/ 62 w 128"/>
              <a:gd name="T23" fmla="*/ 47 h 106"/>
              <a:gd name="T24" fmla="*/ 62 w 128"/>
              <a:gd name="T25" fmla="*/ 46 h 106"/>
              <a:gd name="T26" fmla="*/ 42 w 128"/>
              <a:gd name="T27" fmla="*/ 59 h 106"/>
              <a:gd name="T28" fmla="*/ 12 w 128"/>
              <a:gd name="T29" fmla="*/ 79 h 106"/>
              <a:gd name="T30" fmla="*/ 0 w 128"/>
              <a:gd name="T31" fmla="*/ 79 h 106"/>
              <a:gd name="T32" fmla="*/ 0 w 128"/>
              <a:gd name="T33" fmla="*/ 87 h 106"/>
              <a:gd name="T34" fmla="*/ 12 w 128"/>
              <a:gd name="T35" fmla="*/ 87 h 106"/>
              <a:gd name="T36" fmla="*/ 47 w 128"/>
              <a:gd name="T37" fmla="*/ 66 h 106"/>
              <a:gd name="T38" fmla="*/ 43 w 128"/>
              <a:gd name="T39" fmla="*/ 61 h 106"/>
              <a:gd name="T40" fmla="*/ 42 w 128"/>
              <a:gd name="T41" fmla="*/ 59 h 106"/>
              <a:gd name="T42" fmla="*/ 100 w 128"/>
              <a:gd name="T43" fmla="*/ 66 h 106"/>
              <a:gd name="T44" fmla="*/ 113 w 128"/>
              <a:gd name="T45" fmla="*/ 79 h 106"/>
              <a:gd name="T46" fmla="*/ 92 w 128"/>
              <a:gd name="T47" fmla="*/ 79 h 106"/>
              <a:gd name="T48" fmla="*/ 55 w 128"/>
              <a:gd name="T49" fmla="*/ 51 h 106"/>
              <a:gd name="T50" fmla="*/ 12 w 128"/>
              <a:gd name="T51" fmla="*/ 19 h 106"/>
              <a:gd name="T52" fmla="*/ 0 w 128"/>
              <a:gd name="T53" fmla="*/ 19 h 106"/>
              <a:gd name="T54" fmla="*/ 0 w 128"/>
              <a:gd name="T55" fmla="*/ 27 h 106"/>
              <a:gd name="T56" fmla="*/ 12 w 128"/>
              <a:gd name="T57" fmla="*/ 27 h 106"/>
              <a:gd name="T58" fmla="*/ 49 w 128"/>
              <a:gd name="T59" fmla="*/ 56 h 106"/>
              <a:gd name="T60" fmla="*/ 92 w 128"/>
              <a:gd name="T61" fmla="*/ 87 h 106"/>
              <a:gd name="T62" fmla="*/ 113 w 128"/>
              <a:gd name="T63" fmla="*/ 87 h 106"/>
              <a:gd name="T64" fmla="*/ 100 w 128"/>
              <a:gd name="T65" fmla="*/ 100 h 106"/>
              <a:gd name="T66" fmla="*/ 105 w 128"/>
              <a:gd name="T67" fmla="*/ 106 h 106"/>
              <a:gd name="T68" fmla="*/ 128 w 128"/>
              <a:gd name="T69" fmla="*/ 83 h 106"/>
              <a:gd name="T70" fmla="*/ 106 w 128"/>
              <a:gd name="T71" fmla="*/ 60 h 106"/>
              <a:gd name="T72" fmla="*/ 100 w 128"/>
              <a:gd name="T73" fmla="*/ 6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06">
                <a:moveTo>
                  <a:pt x="62" y="46"/>
                </a:moveTo>
                <a:cubicBezTo>
                  <a:pt x="60" y="44"/>
                  <a:pt x="59" y="42"/>
                  <a:pt x="57" y="40"/>
                </a:cubicBezTo>
                <a:cubicBezTo>
                  <a:pt x="67" y="29"/>
                  <a:pt x="78" y="19"/>
                  <a:pt x="92" y="19"/>
                </a:cubicBezTo>
                <a:cubicBezTo>
                  <a:pt x="113" y="19"/>
                  <a:pt x="113" y="19"/>
                  <a:pt x="113" y="19"/>
                </a:cubicBezTo>
                <a:cubicBezTo>
                  <a:pt x="100" y="6"/>
                  <a:pt x="100" y="6"/>
                  <a:pt x="100" y="6"/>
                </a:cubicBezTo>
                <a:cubicBezTo>
                  <a:pt x="106" y="0"/>
                  <a:pt x="106" y="0"/>
                  <a:pt x="106" y="0"/>
                </a:cubicBezTo>
                <a:cubicBezTo>
                  <a:pt x="128" y="23"/>
                  <a:pt x="128" y="23"/>
                  <a:pt x="128" y="23"/>
                </a:cubicBezTo>
                <a:cubicBezTo>
                  <a:pt x="105" y="46"/>
                  <a:pt x="105" y="46"/>
                  <a:pt x="105" y="46"/>
                </a:cubicBezTo>
                <a:cubicBezTo>
                  <a:pt x="100" y="40"/>
                  <a:pt x="100" y="40"/>
                  <a:pt x="100" y="40"/>
                </a:cubicBezTo>
                <a:cubicBezTo>
                  <a:pt x="113" y="27"/>
                  <a:pt x="113" y="27"/>
                  <a:pt x="113" y="27"/>
                </a:cubicBezTo>
                <a:cubicBezTo>
                  <a:pt x="92" y="27"/>
                  <a:pt x="92" y="27"/>
                  <a:pt x="92" y="27"/>
                </a:cubicBezTo>
                <a:cubicBezTo>
                  <a:pt x="81" y="27"/>
                  <a:pt x="72" y="36"/>
                  <a:pt x="62" y="47"/>
                </a:cubicBezTo>
                <a:cubicBezTo>
                  <a:pt x="62" y="46"/>
                  <a:pt x="62" y="46"/>
                  <a:pt x="62" y="46"/>
                </a:cubicBezTo>
                <a:close/>
                <a:moveTo>
                  <a:pt x="42" y="59"/>
                </a:moveTo>
                <a:cubicBezTo>
                  <a:pt x="33" y="70"/>
                  <a:pt x="23" y="79"/>
                  <a:pt x="12" y="79"/>
                </a:cubicBezTo>
                <a:cubicBezTo>
                  <a:pt x="0" y="79"/>
                  <a:pt x="0" y="79"/>
                  <a:pt x="0" y="79"/>
                </a:cubicBezTo>
                <a:cubicBezTo>
                  <a:pt x="0" y="87"/>
                  <a:pt x="0" y="87"/>
                  <a:pt x="0" y="87"/>
                </a:cubicBezTo>
                <a:cubicBezTo>
                  <a:pt x="12" y="87"/>
                  <a:pt x="12" y="87"/>
                  <a:pt x="12" y="87"/>
                </a:cubicBezTo>
                <a:cubicBezTo>
                  <a:pt x="26" y="87"/>
                  <a:pt x="37" y="77"/>
                  <a:pt x="47" y="66"/>
                </a:cubicBezTo>
                <a:cubicBezTo>
                  <a:pt x="46" y="64"/>
                  <a:pt x="44" y="62"/>
                  <a:pt x="43" y="61"/>
                </a:cubicBezTo>
                <a:cubicBezTo>
                  <a:pt x="43" y="60"/>
                  <a:pt x="42" y="60"/>
                  <a:pt x="42" y="59"/>
                </a:cubicBezTo>
                <a:close/>
                <a:moveTo>
                  <a:pt x="100" y="66"/>
                </a:moveTo>
                <a:cubicBezTo>
                  <a:pt x="113" y="79"/>
                  <a:pt x="113" y="79"/>
                  <a:pt x="113" y="79"/>
                </a:cubicBezTo>
                <a:cubicBezTo>
                  <a:pt x="92" y="79"/>
                  <a:pt x="92" y="79"/>
                  <a:pt x="92" y="79"/>
                </a:cubicBezTo>
                <a:cubicBezTo>
                  <a:pt x="78" y="79"/>
                  <a:pt x="67" y="65"/>
                  <a:pt x="55" y="51"/>
                </a:cubicBezTo>
                <a:cubicBezTo>
                  <a:pt x="43" y="35"/>
                  <a:pt x="30" y="19"/>
                  <a:pt x="12" y="19"/>
                </a:cubicBezTo>
                <a:cubicBezTo>
                  <a:pt x="0" y="19"/>
                  <a:pt x="0" y="19"/>
                  <a:pt x="0" y="19"/>
                </a:cubicBezTo>
                <a:cubicBezTo>
                  <a:pt x="0" y="27"/>
                  <a:pt x="0" y="27"/>
                  <a:pt x="0" y="27"/>
                </a:cubicBezTo>
                <a:cubicBezTo>
                  <a:pt x="12" y="27"/>
                  <a:pt x="12" y="27"/>
                  <a:pt x="12" y="27"/>
                </a:cubicBezTo>
                <a:cubicBezTo>
                  <a:pt x="26" y="27"/>
                  <a:pt x="37" y="41"/>
                  <a:pt x="49" y="56"/>
                </a:cubicBezTo>
                <a:cubicBezTo>
                  <a:pt x="61" y="71"/>
                  <a:pt x="74" y="87"/>
                  <a:pt x="92" y="87"/>
                </a:cubicBezTo>
                <a:cubicBezTo>
                  <a:pt x="113" y="87"/>
                  <a:pt x="113" y="87"/>
                  <a:pt x="113" y="87"/>
                </a:cubicBezTo>
                <a:cubicBezTo>
                  <a:pt x="100" y="100"/>
                  <a:pt x="100" y="100"/>
                  <a:pt x="100" y="100"/>
                </a:cubicBezTo>
                <a:cubicBezTo>
                  <a:pt x="105" y="106"/>
                  <a:pt x="105" y="106"/>
                  <a:pt x="105" y="106"/>
                </a:cubicBezTo>
                <a:cubicBezTo>
                  <a:pt x="128" y="83"/>
                  <a:pt x="128" y="83"/>
                  <a:pt x="128" y="83"/>
                </a:cubicBezTo>
                <a:cubicBezTo>
                  <a:pt x="106" y="60"/>
                  <a:pt x="106" y="60"/>
                  <a:pt x="106" y="60"/>
                </a:cubicBezTo>
                <a:lnTo>
                  <a:pt x="100" y="6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4" name="Freeform 38">
            <a:extLst>
              <a:ext uri="{FF2B5EF4-FFF2-40B4-BE49-F238E27FC236}">
                <a16:creationId xmlns:a16="http://schemas.microsoft.com/office/drawing/2014/main" id="{2BA5BCFC-AF22-4A73-A020-71295D19D1DC}"/>
              </a:ext>
            </a:extLst>
          </p:cNvPr>
          <p:cNvSpPr>
            <a:spLocks noEditPoints="1"/>
          </p:cNvSpPr>
          <p:nvPr/>
        </p:nvSpPr>
        <p:spPr bwMode="auto">
          <a:xfrm>
            <a:off x="6051916" y="2503509"/>
            <a:ext cx="412750" cy="285750"/>
          </a:xfrm>
          <a:custGeom>
            <a:avLst/>
            <a:gdLst>
              <a:gd name="T0" fmla="*/ 128 w 128"/>
              <a:gd name="T1" fmla="*/ 20 h 88"/>
              <a:gd name="T2" fmla="*/ 110 w 128"/>
              <a:gd name="T3" fmla="*/ 13 h 88"/>
              <a:gd name="T4" fmla="*/ 96 w 128"/>
              <a:gd name="T5" fmla="*/ 8 h 88"/>
              <a:gd name="T6" fmla="*/ 83 w 128"/>
              <a:gd name="T7" fmla="*/ 13 h 88"/>
              <a:gd name="T8" fmla="*/ 64 w 128"/>
              <a:gd name="T9" fmla="*/ 20 h 88"/>
              <a:gd name="T10" fmla="*/ 45 w 128"/>
              <a:gd name="T11" fmla="*/ 13 h 88"/>
              <a:gd name="T12" fmla="*/ 32 w 128"/>
              <a:gd name="T13" fmla="*/ 8 h 88"/>
              <a:gd name="T14" fmla="*/ 18 w 128"/>
              <a:gd name="T15" fmla="*/ 13 h 88"/>
              <a:gd name="T16" fmla="*/ 0 w 128"/>
              <a:gd name="T17" fmla="*/ 20 h 88"/>
              <a:gd name="T18" fmla="*/ 0 w 128"/>
              <a:gd name="T19" fmla="*/ 12 h 88"/>
              <a:gd name="T20" fmla="*/ 14 w 128"/>
              <a:gd name="T21" fmla="*/ 7 h 88"/>
              <a:gd name="T22" fmla="*/ 32 w 128"/>
              <a:gd name="T23" fmla="*/ 0 h 88"/>
              <a:gd name="T24" fmla="*/ 50 w 128"/>
              <a:gd name="T25" fmla="*/ 7 h 88"/>
              <a:gd name="T26" fmla="*/ 64 w 128"/>
              <a:gd name="T27" fmla="*/ 12 h 88"/>
              <a:gd name="T28" fmla="*/ 78 w 128"/>
              <a:gd name="T29" fmla="*/ 7 h 88"/>
              <a:gd name="T30" fmla="*/ 96 w 128"/>
              <a:gd name="T31" fmla="*/ 0 h 88"/>
              <a:gd name="T32" fmla="*/ 115 w 128"/>
              <a:gd name="T33" fmla="*/ 7 h 88"/>
              <a:gd name="T34" fmla="*/ 128 w 128"/>
              <a:gd name="T35" fmla="*/ 12 h 88"/>
              <a:gd name="T36" fmla="*/ 128 w 128"/>
              <a:gd name="T37" fmla="*/ 20 h 88"/>
              <a:gd name="T38" fmla="*/ 128 w 128"/>
              <a:gd name="T39" fmla="*/ 32 h 88"/>
              <a:gd name="T40" fmla="*/ 115 w 128"/>
              <a:gd name="T41" fmla="*/ 27 h 88"/>
              <a:gd name="T42" fmla="*/ 96 w 128"/>
              <a:gd name="T43" fmla="*/ 20 h 88"/>
              <a:gd name="T44" fmla="*/ 78 w 128"/>
              <a:gd name="T45" fmla="*/ 27 h 88"/>
              <a:gd name="T46" fmla="*/ 64 w 128"/>
              <a:gd name="T47" fmla="*/ 32 h 88"/>
              <a:gd name="T48" fmla="*/ 50 w 128"/>
              <a:gd name="T49" fmla="*/ 27 h 88"/>
              <a:gd name="T50" fmla="*/ 32 w 128"/>
              <a:gd name="T51" fmla="*/ 20 h 88"/>
              <a:gd name="T52" fmla="*/ 14 w 128"/>
              <a:gd name="T53" fmla="*/ 27 h 88"/>
              <a:gd name="T54" fmla="*/ 0 w 128"/>
              <a:gd name="T55" fmla="*/ 32 h 88"/>
              <a:gd name="T56" fmla="*/ 0 w 128"/>
              <a:gd name="T57" fmla="*/ 40 h 88"/>
              <a:gd name="T58" fmla="*/ 18 w 128"/>
              <a:gd name="T59" fmla="*/ 33 h 88"/>
              <a:gd name="T60" fmla="*/ 32 w 128"/>
              <a:gd name="T61" fmla="*/ 28 h 88"/>
              <a:gd name="T62" fmla="*/ 45 w 128"/>
              <a:gd name="T63" fmla="*/ 33 h 88"/>
              <a:gd name="T64" fmla="*/ 64 w 128"/>
              <a:gd name="T65" fmla="*/ 40 h 88"/>
              <a:gd name="T66" fmla="*/ 83 w 128"/>
              <a:gd name="T67" fmla="*/ 33 h 88"/>
              <a:gd name="T68" fmla="*/ 96 w 128"/>
              <a:gd name="T69" fmla="*/ 28 h 88"/>
              <a:gd name="T70" fmla="*/ 110 w 128"/>
              <a:gd name="T71" fmla="*/ 33 h 88"/>
              <a:gd name="T72" fmla="*/ 128 w 128"/>
              <a:gd name="T73" fmla="*/ 40 h 88"/>
              <a:gd name="T74" fmla="*/ 128 w 128"/>
              <a:gd name="T75" fmla="*/ 32 h 88"/>
              <a:gd name="T76" fmla="*/ 128 w 128"/>
              <a:gd name="T77" fmla="*/ 88 h 88"/>
              <a:gd name="T78" fmla="*/ 128 w 128"/>
              <a:gd name="T79" fmla="*/ 52 h 88"/>
              <a:gd name="T80" fmla="*/ 115 w 128"/>
              <a:gd name="T81" fmla="*/ 47 h 88"/>
              <a:gd name="T82" fmla="*/ 96 w 128"/>
              <a:gd name="T83" fmla="*/ 40 h 88"/>
              <a:gd name="T84" fmla="*/ 78 w 128"/>
              <a:gd name="T85" fmla="*/ 47 h 88"/>
              <a:gd name="T86" fmla="*/ 64 w 128"/>
              <a:gd name="T87" fmla="*/ 52 h 88"/>
              <a:gd name="T88" fmla="*/ 50 w 128"/>
              <a:gd name="T89" fmla="*/ 47 h 88"/>
              <a:gd name="T90" fmla="*/ 32 w 128"/>
              <a:gd name="T91" fmla="*/ 40 h 88"/>
              <a:gd name="T92" fmla="*/ 14 w 128"/>
              <a:gd name="T93" fmla="*/ 47 h 88"/>
              <a:gd name="T94" fmla="*/ 0 w 128"/>
              <a:gd name="T95" fmla="*/ 52 h 88"/>
              <a:gd name="T96" fmla="*/ 0 w 128"/>
              <a:gd name="T97" fmla="*/ 88 h 88"/>
              <a:gd name="T98" fmla="*/ 128 w 128"/>
              <a:gd name="T9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88">
                <a:moveTo>
                  <a:pt x="128" y="20"/>
                </a:moveTo>
                <a:cubicBezTo>
                  <a:pt x="119" y="20"/>
                  <a:pt x="114" y="16"/>
                  <a:pt x="110" y="13"/>
                </a:cubicBezTo>
                <a:cubicBezTo>
                  <a:pt x="106" y="10"/>
                  <a:pt x="103" y="8"/>
                  <a:pt x="96" y="8"/>
                </a:cubicBezTo>
                <a:cubicBezTo>
                  <a:pt x="90" y="8"/>
                  <a:pt x="87" y="10"/>
                  <a:pt x="83" y="13"/>
                </a:cubicBezTo>
                <a:cubicBezTo>
                  <a:pt x="78" y="16"/>
                  <a:pt x="73" y="20"/>
                  <a:pt x="64" y="20"/>
                </a:cubicBezTo>
                <a:cubicBezTo>
                  <a:pt x="55" y="20"/>
                  <a:pt x="50" y="16"/>
                  <a:pt x="45" y="13"/>
                </a:cubicBezTo>
                <a:cubicBezTo>
                  <a:pt x="42" y="10"/>
                  <a:pt x="39" y="8"/>
                  <a:pt x="32" y="8"/>
                </a:cubicBezTo>
                <a:cubicBezTo>
                  <a:pt x="25" y="8"/>
                  <a:pt x="22" y="10"/>
                  <a:pt x="18" y="13"/>
                </a:cubicBezTo>
                <a:cubicBezTo>
                  <a:pt x="14" y="16"/>
                  <a:pt x="9" y="20"/>
                  <a:pt x="0" y="20"/>
                </a:cubicBezTo>
                <a:cubicBezTo>
                  <a:pt x="0" y="12"/>
                  <a:pt x="0" y="12"/>
                  <a:pt x="0" y="12"/>
                </a:cubicBezTo>
                <a:cubicBezTo>
                  <a:pt x="7" y="12"/>
                  <a:pt x="10" y="10"/>
                  <a:pt x="14" y="7"/>
                </a:cubicBezTo>
                <a:cubicBezTo>
                  <a:pt x="18" y="4"/>
                  <a:pt x="23" y="0"/>
                  <a:pt x="32" y="0"/>
                </a:cubicBezTo>
                <a:cubicBezTo>
                  <a:pt x="41" y="0"/>
                  <a:pt x="46" y="4"/>
                  <a:pt x="50" y="7"/>
                </a:cubicBezTo>
                <a:cubicBezTo>
                  <a:pt x="54" y="10"/>
                  <a:pt x="57" y="12"/>
                  <a:pt x="64" y="12"/>
                </a:cubicBezTo>
                <a:cubicBezTo>
                  <a:pt x="71" y="12"/>
                  <a:pt x="74" y="10"/>
                  <a:pt x="78" y="7"/>
                </a:cubicBezTo>
                <a:cubicBezTo>
                  <a:pt x="82" y="4"/>
                  <a:pt x="87" y="0"/>
                  <a:pt x="96" y="0"/>
                </a:cubicBezTo>
                <a:cubicBezTo>
                  <a:pt x="106" y="0"/>
                  <a:pt x="110" y="4"/>
                  <a:pt x="115" y="7"/>
                </a:cubicBezTo>
                <a:cubicBezTo>
                  <a:pt x="118" y="10"/>
                  <a:pt x="121" y="12"/>
                  <a:pt x="128" y="12"/>
                </a:cubicBezTo>
                <a:lnTo>
                  <a:pt x="128" y="20"/>
                </a:lnTo>
                <a:close/>
                <a:moveTo>
                  <a:pt x="128" y="32"/>
                </a:moveTo>
                <a:cubicBezTo>
                  <a:pt x="121" y="32"/>
                  <a:pt x="118" y="30"/>
                  <a:pt x="115" y="27"/>
                </a:cubicBezTo>
                <a:cubicBezTo>
                  <a:pt x="110" y="24"/>
                  <a:pt x="106" y="20"/>
                  <a:pt x="96" y="20"/>
                </a:cubicBezTo>
                <a:cubicBezTo>
                  <a:pt x="87" y="20"/>
                  <a:pt x="82" y="24"/>
                  <a:pt x="78" y="27"/>
                </a:cubicBezTo>
                <a:cubicBezTo>
                  <a:pt x="74" y="30"/>
                  <a:pt x="71" y="32"/>
                  <a:pt x="64" y="32"/>
                </a:cubicBezTo>
                <a:cubicBezTo>
                  <a:pt x="57" y="32"/>
                  <a:pt x="54" y="30"/>
                  <a:pt x="50" y="27"/>
                </a:cubicBezTo>
                <a:cubicBezTo>
                  <a:pt x="46" y="24"/>
                  <a:pt x="41" y="20"/>
                  <a:pt x="32" y="20"/>
                </a:cubicBezTo>
                <a:cubicBezTo>
                  <a:pt x="23" y="20"/>
                  <a:pt x="18" y="24"/>
                  <a:pt x="14" y="27"/>
                </a:cubicBezTo>
                <a:cubicBezTo>
                  <a:pt x="10" y="30"/>
                  <a:pt x="7" y="32"/>
                  <a:pt x="0" y="32"/>
                </a:cubicBezTo>
                <a:cubicBezTo>
                  <a:pt x="0" y="40"/>
                  <a:pt x="0" y="40"/>
                  <a:pt x="0" y="40"/>
                </a:cubicBezTo>
                <a:cubicBezTo>
                  <a:pt x="9" y="40"/>
                  <a:pt x="14" y="36"/>
                  <a:pt x="18" y="33"/>
                </a:cubicBezTo>
                <a:cubicBezTo>
                  <a:pt x="22" y="30"/>
                  <a:pt x="25" y="28"/>
                  <a:pt x="32" y="28"/>
                </a:cubicBezTo>
                <a:cubicBezTo>
                  <a:pt x="39" y="28"/>
                  <a:pt x="42" y="30"/>
                  <a:pt x="45" y="33"/>
                </a:cubicBezTo>
                <a:cubicBezTo>
                  <a:pt x="50" y="36"/>
                  <a:pt x="55" y="40"/>
                  <a:pt x="64" y="40"/>
                </a:cubicBezTo>
                <a:cubicBezTo>
                  <a:pt x="73" y="40"/>
                  <a:pt x="78" y="36"/>
                  <a:pt x="83" y="33"/>
                </a:cubicBezTo>
                <a:cubicBezTo>
                  <a:pt x="87" y="30"/>
                  <a:pt x="90" y="28"/>
                  <a:pt x="96" y="28"/>
                </a:cubicBezTo>
                <a:cubicBezTo>
                  <a:pt x="103" y="28"/>
                  <a:pt x="106" y="30"/>
                  <a:pt x="110" y="33"/>
                </a:cubicBezTo>
                <a:cubicBezTo>
                  <a:pt x="114" y="36"/>
                  <a:pt x="119" y="40"/>
                  <a:pt x="128" y="40"/>
                </a:cubicBezTo>
                <a:lnTo>
                  <a:pt x="128" y="32"/>
                </a:lnTo>
                <a:close/>
                <a:moveTo>
                  <a:pt x="128" y="88"/>
                </a:moveTo>
                <a:cubicBezTo>
                  <a:pt x="128" y="52"/>
                  <a:pt x="128" y="52"/>
                  <a:pt x="128" y="52"/>
                </a:cubicBezTo>
                <a:cubicBezTo>
                  <a:pt x="121" y="52"/>
                  <a:pt x="118" y="50"/>
                  <a:pt x="115" y="47"/>
                </a:cubicBezTo>
                <a:cubicBezTo>
                  <a:pt x="110" y="44"/>
                  <a:pt x="106" y="40"/>
                  <a:pt x="96" y="40"/>
                </a:cubicBezTo>
                <a:cubicBezTo>
                  <a:pt x="87" y="40"/>
                  <a:pt x="82" y="44"/>
                  <a:pt x="78" y="47"/>
                </a:cubicBezTo>
                <a:cubicBezTo>
                  <a:pt x="74" y="50"/>
                  <a:pt x="71" y="52"/>
                  <a:pt x="64" y="52"/>
                </a:cubicBezTo>
                <a:cubicBezTo>
                  <a:pt x="57" y="52"/>
                  <a:pt x="54" y="50"/>
                  <a:pt x="50" y="47"/>
                </a:cubicBezTo>
                <a:cubicBezTo>
                  <a:pt x="46" y="44"/>
                  <a:pt x="41" y="40"/>
                  <a:pt x="32" y="40"/>
                </a:cubicBezTo>
                <a:cubicBezTo>
                  <a:pt x="23" y="40"/>
                  <a:pt x="18" y="44"/>
                  <a:pt x="14" y="47"/>
                </a:cubicBezTo>
                <a:cubicBezTo>
                  <a:pt x="10" y="50"/>
                  <a:pt x="7" y="52"/>
                  <a:pt x="0" y="52"/>
                </a:cubicBezTo>
                <a:cubicBezTo>
                  <a:pt x="0" y="88"/>
                  <a:pt x="0" y="88"/>
                  <a:pt x="0" y="88"/>
                </a:cubicBezTo>
                <a:lnTo>
                  <a:pt x="128" y="8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5" name="Freeform 42">
            <a:extLst>
              <a:ext uri="{FF2B5EF4-FFF2-40B4-BE49-F238E27FC236}">
                <a16:creationId xmlns:a16="http://schemas.microsoft.com/office/drawing/2014/main" id="{B261CA19-E0C5-45FC-8056-A56210E0AF58}"/>
              </a:ext>
            </a:extLst>
          </p:cNvPr>
          <p:cNvSpPr>
            <a:spLocks noEditPoints="1"/>
          </p:cNvSpPr>
          <p:nvPr/>
        </p:nvSpPr>
        <p:spPr bwMode="auto">
          <a:xfrm>
            <a:off x="7096555" y="2374921"/>
            <a:ext cx="412750" cy="414338"/>
          </a:xfrm>
          <a:custGeom>
            <a:avLst/>
            <a:gdLst>
              <a:gd name="T0" fmla="*/ 0 w 128"/>
              <a:gd name="T1" fmla="*/ 128 h 128"/>
              <a:gd name="T2" fmla="*/ 0 w 128"/>
              <a:gd name="T3" fmla="*/ 128 h 128"/>
              <a:gd name="T4" fmla="*/ 128 w 128"/>
              <a:gd name="T5" fmla="*/ 128 h 128"/>
              <a:gd name="T6" fmla="*/ 128 w 128"/>
              <a:gd name="T7" fmla="*/ 0 h 128"/>
              <a:gd name="T8" fmla="*/ 0 w 128"/>
              <a:gd name="T9" fmla="*/ 0 h 128"/>
              <a:gd name="T10" fmla="*/ 0 w 128"/>
              <a:gd name="T11" fmla="*/ 128 h 128"/>
              <a:gd name="T12" fmla="*/ 8 w 128"/>
              <a:gd name="T13" fmla="*/ 8 h 128"/>
              <a:gd name="T14" fmla="*/ 120 w 128"/>
              <a:gd name="T15" fmla="*/ 8 h 128"/>
              <a:gd name="T16" fmla="*/ 120 w 128"/>
              <a:gd name="T17" fmla="*/ 46 h 128"/>
              <a:gd name="T18" fmla="*/ 115 w 128"/>
              <a:gd name="T19" fmla="*/ 43 h 128"/>
              <a:gd name="T20" fmla="*/ 96 w 128"/>
              <a:gd name="T21" fmla="*/ 36 h 128"/>
              <a:gd name="T22" fmla="*/ 78 w 128"/>
              <a:gd name="T23" fmla="*/ 43 h 128"/>
              <a:gd name="T24" fmla="*/ 64 w 128"/>
              <a:gd name="T25" fmla="*/ 48 h 128"/>
              <a:gd name="T26" fmla="*/ 50 w 128"/>
              <a:gd name="T27" fmla="*/ 43 h 128"/>
              <a:gd name="T28" fmla="*/ 32 w 128"/>
              <a:gd name="T29" fmla="*/ 36 h 128"/>
              <a:gd name="T30" fmla="*/ 14 w 128"/>
              <a:gd name="T31" fmla="*/ 43 h 128"/>
              <a:gd name="T32" fmla="*/ 8 w 128"/>
              <a:gd name="T33" fmla="*/ 46 h 128"/>
              <a:gd name="T34" fmla="*/ 8 w 128"/>
              <a:gd name="T35" fmla="*/ 8 h 128"/>
              <a:gd name="T36" fmla="*/ 8 w 128"/>
              <a:gd name="T37" fmla="*/ 55 h 128"/>
              <a:gd name="T38" fmla="*/ 18 w 128"/>
              <a:gd name="T39" fmla="*/ 49 h 128"/>
              <a:gd name="T40" fmla="*/ 32 w 128"/>
              <a:gd name="T41" fmla="*/ 44 h 128"/>
              <a:gd name="T42" fmla="*/ 45 w 128"/>
              <a:gd name="T43" fmla="*/ 49 h 128"/>
              <a:gd name="T44" fmla="*/ 64 w 128"/>
              <a:gd name="T45" fmla="*/ 56 h 128"/>
              <a:gd name="T46" fmla="*/ 83 w 128"/>
              <a:gd name="T47" fmla="*/ 49 h 128"/>
              <a:gd name="T48" fmla="*/ 96 w 128"/>
              <a:gd name="T49" fmla="*/ 44 h 128"/>
              <a:gd name="T50" fmla="*/ 110 w 128"/>
              <a:gd name="T51" fmla="*/ 49 h 128"/>
              <a:gd name="T52" fmla="*/ 120 w 128"/>
              <a:gd name="T53" fmla="*/ 55 h 128"/>
              <a:gd name="T54" fmla="*/ 120 w 128"/>
              <a:gd name="T55" fmla="*/ 63 h 128"/>
              <a:gd name="T56" fmla="*/ 105 w 128"/>
              <a:gd name="T57" fmla="*/ 55 h 128"/>
              <a:gd name="T58" fmla="*/ 96 w 128"/>
              <a:gd name="T59" fmla="*/ 52 h 128"/>
              <a:gd name="T60" fmla="*/ 87 w 128"/>
              <a:gd name="T61" fmla="*/ 55 h 128"/>
              <a:gd name="T62" fmla="*/ 64 w 128"/>
              <a:gd name="T63" fmla="*/ 64 h 128"/>
              <a:gd name="T64" fmla="*/ 41 w 128"/>
              <a:gd name="T65" fmla="*/ 55 h 128"/>
              <a:gd name="T66" fmla="*/ 32 w 128"/>
              <a:gd name="T67" fmla="*/ 52 h 128"/>
              <a:gd name="T68" fmla="*/ 23 w 128"/>
              <a:gd name="T69" fmla="*/ 55 h 128"/>
              <a:gd name="T70" fmla="*/ 8 w 128"/>
              <a:gd name="T71" fmla="*/ 63 h 128"/>
              <a:gd name="T72" fmla="*/ 8 w 128"/>
              <a:gd name="T73" fmla="*/ 5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8">
                <a:moveTo>
                  <a:pt x="0" y="128"/>
                </a:moveTo>
                <a:cubicBezTo>
                  <a:pt x="0" y="128"/>
                  <a:pt x="0" y="128"/>
                  <a:pt x="0" y="128"/>
                </a:cubicBezTo>
                <a:cubicBezTo>
                  <a:pt x="128" y="128"/>
                  <a:pt x="128" y="128"/>
                  <a:pt x="128" y="128"/>
                </a:cubicBezTo>
                <a:cubicBezTo>
                  <a:pt x="128" y="0"/>
                  <a:pt x="128" y="0"/>
                  <a:pt x="128" y="0"/>
                </a:cubicBezTo>
                <a:cubicBezTo>
                  <a:pt x="0" y="0"/>
                  <a:pt x="0" y="0"/>
                  <a:pt x="0" y="0"/>
                </a:cubicBezTo>
                <a:lnTo>
                  <a:pt x="0" y="128"/>
                </a:lnTo>
                <a:close/>
                <a:moveTo>
                  <a:pt x="8" y="8"/>
                </a:moveTo>
                <a:cubicBezTo>
                  <a:pt x="120" y="8"/>
                  <a:pt x="120" y="8"/>
                  <a:pt x="120" y="8"/>
                </a:cubicBezTo>
                <a:cubicBezTo>
                  <a:pt x="120" y="46"/>
                  <a:pt x="120" y="46"/>
                  <a:pt x="120" y="46"/>
                </a:cubicBezTo>
                <a:cubicBezTo>
                  <a:pt x="118" y="45"/>
                  <a:pt x="116" y="44"/>
                  <a:pt x="115" y="43"/>
                </a:cubicBezTo>
                <a:cubicBezTo>
                  <a:pt x="110" y="39"/>
                  <a:pt x="106" y="36"/>
                  <a:pt x="96" y="36"/>
                </a:cubicBezTo>
                <a:cubicBezTo>
                  <a:pt x="87" y="36"/>
                  <a:pt x="82" y="39"/>
                  <a:pt x="78" y="43"/>
                </a:cubicBezTo>
                <a:cubicBezTo>
                  <a:pt x="74" y="45"/>
                  <a:pt x="71" y="48"/>
                  <a:pt x="64" y="48"/>
                </a:cubicBezTo>
                <a:cubicBezTo>
                  <a:pt x="57" y="48"/>
                  <a:pt x="54" y="45"/>
                  <a:pt x="50" y="43"/>
                </a:cubicBezTo>
                <a:cubicBezTo>
                  <a:pt x="46" y="39"/>
                  <a:pt x="41" y="36"/>
                  <a:pt x="32" y="36"/>
                </a:cubicBezTo>
                <a:cubicBezTo>
                  <a:pt x="23" y="36"/>
                  <a:pt x="18" y="39"/>
                  <a:pt x="14" y="43"/>
                </a:cubicBezTo>
                <a:cubicBezTo>
                  <a:pt x="12" y="44"/>
                  <a:pt x="10" y="45"/>
                  <a:pt x="8" y="46"/>
                </a:cubicBezTo>
                <a:lnTo>
                  <a:pt x="8" y="8"/>
                </a:lnTo>
                <a:close/>
                <a:moveTo>
                  <a:pt x="8" y="55"/>
                </a:moveTo>
                <a:cubicBezTo>
                  <a:pt x="12" y="53"/>
                  <a:pt x="16" y="51"/>
                  <a:pt x="18" y="49"/>
                </a:cubicBezTo>
                <a:cubicBezTo>
                  <a:pt x="22" y="46"/>
                  <a:pt x="25" y="44"/>
                  <a:pt x="32" y="44"/>
                </a:cubicBezTo>
                <a:cubicBezTo>
                  <a:pt x="38" y="44"/>
                  <a:pt x="42" y="46"/>
                  <a:pt x="45" y="49"/>
                </a:cubicBezTo>
                <a:cubicBezTo>
                  <a:pt x="50" y="52"/>
                  <a:pt x="55" y="56"/>
                  <a:pt x="64" y="56"/>
                </a:cubicBezTo>
                <a:cubicBezTo>
                  <a:pt x="73" y="56"/>
                  <a:pt x="78" y="52"/>
                  <a:pt x="83" y="49"/>
                </a:cubicBezTo>
                <a:cubicBezTo>
                  <a:pt x="87" y="46"/>
                  <a:pt x="90" y="44"/>
                  <a:pt x="96" y="44"/>
                </a:cubicBezTo>
                <a:cubicBezTo>
                  <a:pt x="103" y="44"/>
                  <a:pt x="106" y="46"/>
                  <a:pt x="110" y="49"/>
                </a:cubicBezTo>
                <a:cubicBezTo>
                  <a:pt x="113" y="51"/>
                  <a:pt x="116" y="53"/>
                  <a:pt x="120" y="55"/>
                </a:cubicBezTo>
                <a:cubicBezTo>
                  <a:pt x="120" y="63"/>
                  <a:pt x="120" y="63"/>
                  <a:pt x="120" y="63"/>
                </a:cubicBezTo>
                <a:cubicBezTo>
                  <a:pt x="113" y="61"/>
                  <a:pt x="108" y="58"/>
                  <a:pt x="105" y="55"/>
                </a:cubicBezTo>
                <a:cubicBezTo>
                  <a:pt x="101" y="53"/>
                  <a:pt x="100" y="52"/>
                  <a:pt x="96" y="52"/>
                </a:cubicBezTo>
                <a:cubicBezTo>
                  <a:pt x="92" y="52"/>
                  <a:pt x="91" y="53"/>
                  <a:pt x="87" y="55"/>
                </a:cubicBezTo>
                <a:cubicBezTo>
                  <a:pt x="83" y="59"/>
                  <a:pt x="76" y="64"/>
                  <a:pt x="64" y="64"/>
                </a:cubicBezTo>
                <a:cubicBezTo>
                  <a:pt x="52" y="64"/>
                  <a:pt x="45" y="59"/>
                  <a:pt x="41" y="55"/>
                </a:cubicBezTo>
                <a:cubicBezTo>
                  <a:pt x="37" y="53"/>
                  <a:pt x="36" y="52"/>
                  <a:pt x="32" y="52"/>
                </a:cubicBezTo>
                <a:cubicBezTo>
                  <a:pt x="28" y="52"/>
                  <a:pt x="27" y="53"/>
                  <a:pt x="23" y="55"/>
                </a:cubicBezTo>
                <a:cubicBezTo>
                  <a:pt x="20" y="58"/>
                  <a:pt x="15" y="61"/>
                  <a:pt x="8" y="63"/>
                </a:cubicBezTo>
                <a:lnTo>
                  <a:pt x="8" y="5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6" name="Freeform 46">
            <a:extLst>
              <a:ext uri="{FF2B5EF4-FFF2-40B4-BE49-F238E27FC236}">
                <a16:creationId xmlns:a16="http://schemas.microsoft.com/office/drawing/2014/main" id="{A07F8265-F69E-4D9F-BE58-CA71BA197CCE}"/>
              </a:ext>
            </a:extLst>
          </p:cNvPr>
          <p:cNvSpPr>
            <a:spLocks noEditPoints="1"/>
          </p:cNvSpPr>
          <p:nvPr/>
        </p:nvSpPr>
        <p:spPr bwMode="auto">
          <a:xfrm>
            <a:off x="8142782" y="2478109"/>
            <a:ext cx="412750" cy="311150"/>
          </a:xfrm>
          <a:custGeom>
            <a:avLst/>
            <a:gdLst>
              <a:gd name="T0" fmla="*/ 0 w 260"/>
              <a:gd name="T1" fmla="*/ 196 h 196"/>
              <a:gd name="T2" fmla="*/ 260 w 260"/>
              <a:gd name="T3" fmla="*/ 196 h 196"/>
              <a:gd name="T4" fmla="*/ 260 w 260"/>
              <a:gd name="T5" fmla="*/ 33 h 196"/>
              <a:gd name="T6" fmla="*/ 122 w 260"/>
              <a:gd name="T7" fmla="*/ 33 h 196"/>
              <a:gd name="T8" fmla="*/ 89 w 260"/>
              <a:gd name="T9" fmla="*/ 0 h 196"/>
              <a:gd name="T10" fmla="*/ 0 w 260"/>
              <a:gd name="T11" fmla="*/ 0 h 196"/>
              <a:gd name="T12" fmla="*/ 0 w 260"/>
              <a:gd name="T13" fmla="*/ 196 h 196"/>
              <a:gd name="T14" fmla="*/ 244 w 260"/>
              <a:gd name="T15" fmla="*/ 180 h 196"/>
              <a:gd name="T16" fmla="*/ 16 w 260"/>
              <a:gd name="T17" fmla="*/ 180 h 196"/>
              <a:gd name="T18" fmla="*/ 16 w 260"/>
              <a:gd name="T19" fmla="*/ 49 h 196"/>
              <a:gd name="T20" fmla="*/ 244 w 260"/>
              <a:gd name="T21" fmla="*/ 49 h 196"/>
              <a:gd name="T22" fmla="*/ 244 w 260"/>
              <a:gd name="T23" fmla="*/ 18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0" h="196">
                <a:moveTo>
                  <a:pt x="0" y="196"/>
                </a:moveTo>
                <a:lnTo>
                  <a:pt x="260" y="196"/>
                </a:lnTo>
                <a:lnTo>
                  <a:pt x="260" y="33"/>
                </a:lnTo>
                <a:lnTo>
                  <a:pt x="122" y="33"/>
                </a:lnTo>
                <a:lnTo>
                  <a:pt x="89" y="0"/>
                </a:lnTo>
                <a:lnTo>
                  <a:pt x="0" y="0"/>
                </a:lnTo>
                <a:lnTo>
                  <a:pt x="0" y="196"/>
                </a:lnTo>
                <a:close/>
                <a:moveTo>
                  <a:pt x="244" y="180"/>
                </a:moveTo>
                <a:lnTo>
                  <a:pt x="16" y="180"/>
                </a:lnTo>
                <a:lnTo>
                  <a:pt x="16" y="49"/>
                </a:lnTo>
                <a:lnTo>
                  <a:pt x="244" y="49"/>
                </a:lnTo>
                <a:lnTo>
                  <a:pt x="244" y="18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7" name="Freeform 9">
            <a:extLst>
              <a:ext uri="{FF2B5EF4-FFF2-40B4-BE49-F238E27FC236}">
                <a16:creationId xmlns:a16="http://schemas.microsoft.com/office/drawing/2014/main" id="{E8A9D7C9-55CA-4E19-AEBB-46E8A404F990}"/>
              </a:ext>
            </a:extLst>
          </p:cNvPr>
          <p:cNvSpPr>
            <a:spLocks noEditPoints="1"/>
          </p:cNvSpPr>
          <p:nvPr/>
        </p:nvSpPr>
        <p:spPr bwMode="auto">
          <a:xfrm>
            <a:off x="2678542" y="4050221"/>
            <a:ext cx="412750" cy="414338"/>
          </a:xfrm>
          <a:custGeom>
            <a:avLst/>
            <a:gdLst>
              <a:gd name="T0" fmla="*/ 128 w 128"/>
              <a:gd name="T1" fmla="*/ 40 h 128"/>
              <a:gd name="T2" fmla="*/ 128 w 128"/>
              <a:gd name="T3" fmla="*/ 128 h 128"/>
              <a:gd name="T4" fmla="*/ 96 w 128"/>
              <a:gd name="T5" fmla="*/ 128 h 128"/>
              <a:gd name="T6" fmla="*/ 96 w 128"/>
              <a:gd name="T7" fmla="*/ 120 h 128"/>
              <a:gd name="T8" fmla="*/ 120 w 128"/>
              <a:gd name="T9" fmla="*/ 120 h 128"/>
              <a:gd name="T10" fmla="*/ 120 w 128"/>
              <a:gd name="T11" fmla="*/ 40 h 128"/>
              <a:gd name="T12" fmla="*/ 88 w 128"/>
              <a:gd name="T13" fmla="*/ 40 h 128"/>
              <a:gd name="T14" fmla="*/ 88 w 128"/>
              <a:gd name="T15" fmla="*/ 8 h 128"/>
              <a:gd name="T16" fmla="*/ 40 w 128"/>
              <a:gd name="T17" fmla="*/ 8 h 128"/>
              <a:gd name="T18" fmla="*/ 40 w 128"/>
              <a:gd name="T19" fmla="*/ 32 h 128"/>
              <a:gd name="T20" fmla="*/ 32 w 128"/>
              <a:gd name="T21" fmla="*/ 32 h 128"/>
              <a:gd name="T22" fmla="*/ 32 w 128"/>
              <a:gd name="T23" fmla="*/ 0 h 128"/>
              <a:gd name="T24" fmla="*/ 88 w 128"/>
              <a:gd name="T25" fmla="*/ 0 h 128"/>
              <a:gd name="T26" fmla="*/ 128 w 128"/>
              <a:gd name="T27" fmla="*/ 40 h 128"/>
              <a:gd name="T28" fmla="*/ 1 w 128"/>
              <a:gd name="T29" fmla="*/ 72 h 128"/>
              <a:gd name="T30" fmla="*/ 19 w 128"/>
              <a:gd name="T31" fmla="*/ 72 h 128"/>
              <a:gd name="T32" fmla="*/ 0 w 128"/>
              <a:gd name="T33" fmla="*/ 99 h 128"/>
              <a:gd name="T34" fmla="*/ 0 w 128"/>
              <a:gd name="T35" fmla="*/ 104 h 128"/>
              <a:gd name="T36" fmla="*/ 28 w 128"/>
              <a:gd name="T37" fmla="*/ 104 h 128"/>
              <a:gd name="T38" fmla="*/ 28 w 128"/>
              <a:gd name="T39" fmla="*/ 99 h 128"/>
              <a:gd name="T40" fmla="*/ 8 w 128"/>
              <a:gd name="T41" fmla="*/ 99 h 128"/>
              <a:gd name="T42" fmla="*/ 27 w 128"/>
              <a:gd name="T43" fmla="*/ 72 h 128"/>
              <a:gd name="T44" fmla="*/ 27 w 128"/>
              <a:gd name="T45" fmla="*/ 67 h 128"/>
              <a:gd name="T46" fmla="*/ 1 w 128"/>
              <a:gd name="T47" fmla="*/ 67 h 128"/>
              <a:gd name="T48" fmla="*/ 1 w 128"/>
              <a:gd name="T49" fmla="*/ 72 h 128"/>
              <a:gd name="T50" fmla="*/ 34 w 128"/>
              <a:gd name="T51" fmla="*/ 104 h 128"/>
              <a:gd name="T52" fmla="*/ 40 w 128"/>
              <a:gd name="T53" fmla="*/ 104 h 128"/>
              <a:gd name="T54" fmla="*/ 40 w 128"/>
              <a:gd name="T55" fmla="*/ 67 h 128"/>
              <a:gd name="T56" fmla="*/ 34 w 128"/>
              <a:gd name="T57" fmla="*/ 67 h 128"/>
              <a:gd name="T58" fmla="*/ 34 w 128"/>
              <a:gd name="T59" fmla="*/ 104 h 128"/>
              <a:gd name="T60" fmla="*/ 61 w 128"/>
              <a:gd name="T61" fmla="*/ 91 h 128"/>
              <a:gd name="T62" fmla="*/ 75 w 128"/>
              <a:gd name="T63" fmla="*/ 79 h 128"/>
              <a:gd name="T64" fmla="*/ 61 w 128"/>
              <a:gd name="T65" fmla="*/ 67 h 128"/>
              <a:gd name="T66" fmla="*/ 49 w 128"/>
              <a:gd name="T67" fmla="*/ 67 h 128"/>
              <a:gd name="T68" fmla="*/ 49 w 128"/>
              <a:gd name="T69" fmla="*/ 104 h 128"/>
              <a:gd name="T70" fmla="*/ 56 w 128"/>
              <a:gd name="T71" fmla="*/ 104 h 128"/>
              <a:gd name="T72" fmla="*/ 56 w 128"/>
              <a:gd name="T73" fmla="*/ 91 h 128"/>
              <a:gd name="T74" fmla="*/ 61 w 128"/>
              <a:gd name="T75" fmla="*/ 91 h 128"/>
              <a:gd name="T76" fmla="*/ 56 w 128"/>
              <a:gd name="T77" fmla="*/ 86 h 128"/>
              <a:gd name="T78" fmla="*/ 56 w 128"/>
              <a:gd name="T79" fmla="*/ 72 h 128"/>
              <a:gd name="T80" fmla="*/ 61 w 128"/>
              <a:gd name="T81" fmla="*/ 72 h 128"/>
              <a:gd name="T82" fmla="*/ 68 w 128"/>
              <a:gd name="T83" fmla="*/ 79 h 128"/>
              <a:gd name="T84" fmla="*/ 61 w 128"/>
              <a:gd name="T85" fmla="*/ 86 h 128"/>
              <a:gd name="T86" fmla="*/ 56 w 128"/>
              <a:gd name="T87" fmla="*/ 8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8" h="128">
                <a:moveTo>
                  <a:pt x="128" y="40"/>
                </a:moveTo>
                <a:cubicBezTo>
                  <a:pt x="128" y="128"/>
                  <a:pt x="128" y="128"/>
                  <a:pt x="128" y="128"/>
                </a:cubicBezTo>
                <a:cubicBezTo>
                  <a:pt x="96" y="128"/>
                  <a:pt x="96" y="128"/>
                  <a:pt x="96" y="128"/>
                </a:cubicBezTo>
                <a:cubicBezTo>
                  <a:pt x="96" y="120"/>
                  <a:pt x="96" y="120"/>
                  <a:pt x="96" y="120"/>
                </a:cubicBezTo>
                <a:cubicBezTo>
                  <a:pt x="120" y="120"/>
                  <a:pt x="120" y="120"/>
                  <a:pt x="120" y="120"/>
                </a:cubicBezTo>
                <a:cubicBezTo>
                  <a:pt x="120" y="40"/>
                  <a:pt x="120" y="40"/>
                  <a:pt x="120" y="40"/>
                </a:cubicBezTo>
                <a:cubicBezTo>
                  <a:pt x="88" y="40"/>
                  <a:pt x="88" y="40"/>
                  <a:pt x="88" y="40"/>
                </a:cubicBezTo>
                <a:cubicBezTo>
                  <a:pt x="88" y="8"/>
                  <a:pt x="88" y="8"/>
                  <a:pt x="88" y="8"/>
                </a:cubicBezTo>
                <a:cubicBezTo>
                  <a:pt x="40" y="8"/>
                  <a:pt x="40" y="8"/>
                  <a:pt x="40" y="8"/>
                </a:cubicBezTo>
                <a:cubicBezTo>
                  <a:pt x="40" y="32"/>
                  <a:pt x="40" y="32"/>
                  <a:pt x="40" y="32"/>
                </a:cubicBezTo>
                <a:cubicBezTo>
                  <a:pt x="32" y="32"/>
                  <a:pt x="32" y="32"/>
                  <a:pt x="32" y="32"/>
                </a:cubicBezTo>
                <a:cubicBezTo>
                  <a:pt x="32" y="0"/>
                  <a:pt x="32" y="0"/>
                  <a:pt x="32" y="0"/>
                </a:cubicBezTo>
                <a:cubicBezTo>
                  <a:pt x="88" y="0"/>
                  <a:pt x="88" y="0"/>
                  <a:pt x="88" y="0"/>
                </a:cubicBezTo>
                <a:lnTo>
                  <a:pt x="128" y="40"/>
                </a:lnTo>
                <a:close/>
                <a:moveTo>
                  <a:pt x="1" y="72"/>
                </a:moveTo>
                <a:cubicBezTo>
                  <a:pt x="19" y="72"/>
                  <a:pt x="19" y="72"/>
                  <a:pt x="19" y="72"/>
                </a:cubicBezTo>
                <a:cubicBezTo>
                  <a:pt x="0" y="99"/>
                  <a:pt x="0" y="99"/>
                  <a:pt x="0" y="99"/>
                </a:cubicBezTo>
                <a:cubicBezTo>
                  <a:pt x="0" y="104"/>
                  <a:pt x="0" y="104"/>
                  <a:pt x="0" y="104"/>
                </a:cubicBezTo>
                <a:cubicBezTo>
                  <a:pt x="28" y="104"/>
                  <a:pt x="28" y="104"/>
                  <a:pt x="28" y="104"/>
                </a:cubicBezTo>
                <a:cubicBezTo>
                  <a:pt x="28" y="99"/>
                  <a:pt x="28" y="99"/>
                  <a:pt x="28" y="99"/>
                </a:cubicBezTo>
                <a:cubicBezTo>
                  <a:pt x="8" y="99"/>
                  <a:pt x="8" y="99"/>
                  <a:pt x="8" y="99"/>
                </a:cubicBezTo>
                <a:cubicBezTo>
                  <a:pt x="27" y="72"/>
                  <a:pt x="27" y="72"/>
                  <a:pt x="27" y="72"/>
                </a:cubicBezTo>
                <a:cubicBezTo>
                  <a:pt x="27" y="67"/>
                  <a:pt x="27" y="67"/>
                  <a:pt x="27" y="67"/>
                </a:cubicBezTo>
                <a:cubicBezTo>
                  <a:pt x="1" y="67"/>
                  <a:pt x="1" y="67"/>
                  <a:pt x="1" y="67"/>
                </a:cubicBezTo>
                <a:lnTo>
                  <a:pt x="1" y="72"/>
                </a:lnTo>
                <a:close/>
                <a:moveTo>
                  <a:pt x="34" y="104"/>
                </a:moveTo>
                <a:cubicBezTo>
                  <a:pt x="40" y="104"/>
                  <a:pt x="40" y="104"/>
                  <a:pt x="40" y="104"/>
                </a:cubicBezTo>
                <a:cubicBezTo>
                  <a:pt x="40" y="67"/>
                  <a:pt x="40" y="67"/>
                  <a:pt x="40" y="67"/>
                </a:cubicBezTo>
                <a:cubicBezTo>
                  <a:pt x="34" y="67"/>
                  <a:pt x="34" y="67"/>
                  <a:pt x="34" y="67"/>
                </a:cubicBezTo>
                <a:lnTo>
                  <a:pt x="34" y="104"/>
                </a:lnTo>
                <a:close/>
                <a:moveTo>
                  <a:pt x="61" y="91"/>
                </a:moveTo>
                <a:cubicBezTo>
                  <a:pt x="68" y="91"/>
                  <a:pt x="75" y="87"/>
                  <a:pt x="75" y="79"/>
                </a:cubicBezTo>
                <a:cubicBezTo>
                  <a:pt x="75" y="71"/>
                  <a:pt x="69" y="67"/>
                  <a:pt x="61" y="67"/>
                </a:cubicBezTo>
                <a:cubicBezTo>
                  <a:pt x="49" y="67"/>
                  <a:pt x="49" y="67"/>
                  <a:pt x="49" y="67"/>
                </a:cubicBezTo>
                <a:cubicBezTo>
                  <a:pt x="49" y="104"/>
                  <a:pt x="49" y="104"/>
                  <a:pt x="49" y="104"/>
                </a:cubicBezTo>
                <a:cubicBezTo>
                  <a:pt x="56" y="104"/>
                  <a:pt x="56" y="104"/>
                  <a:pt x="56" y="104"/>
                </a:cubicBezTo>
                <a:cubicBezTo>
                  <a:pt x="56" y="91"/>
                  <a:pt x="56" y="91"/>
                  <a:pt x="56" y="91"/>
                </a:cubicBezTo>
                <a:lnTo>
                  <a:pt x="61" y="91"/>
                </a:lnTo>
                <a:close/>
                <a:moveTo>
                  <a:pt x="56" y="86"/>
                </a:moveTo>
                <a:cubicBezTo>
                  <a:pt x="56" y="72"/>
                  <a:pt x="56" y="72"/>
                  <a:pt x="56" y="72"/>
                </a:cubicBezTo>
                <a:cubicBezTo>
                  <a:pt x="61" y="72"/>
                  <a:pt x="61" y="72"/>
                  <a:pt x="61" y="72"/>
                </a:cubicBezTo>
                <a:cubicBezTo>
                  <a:pt x="65" y="72"/>
                  <a:pt x="68" y="74"/>
                  <a:pt x="68" y="79"/>
                </a:cubicBezTo>
                <a:cubicBezTo>
                  <a:pt x="68" y="84"/>
                  <a:pt x="65" y="86"/>
                  <a:pt x="61" y="86"/>
                </a:cubicBezTo>
                <a:lnTo>
                  <a:pt x="56" y="8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8" name="Freeform 13">
            <a:extLst>
              <a:ext uri="{FF2B5EF4-FFF2-40B4-BE49-F238E27FC236}">
                <a16:creationId xmlns:a16="http://schemas.microsoft.com/office/drawing/2014/main" id="{1023495F-A2FE-421E-A3C7-B4D3EFECB59E}"/>
              </a:ext>
            </a:extLst>
          </p:cNvPr>
          <p:cNvSpPr>
            <a:spLocks noEditPoints="1"/>
          </p:cNvSpPr>
          <p:nvPr/>
        </p:nvSpPr>
        <p:spPr bwMode="auto">
          <a:xfrm>
            <a:off x="3723977" y="4050221"/>
            <a:ext cx="412750" cy="414338"/>
          </a:xfrm>
          <a:custGeom>
            <a:avLst/>
            <a:gdLst>
              <a:gd name="T0" fmla="*/ 244 w 260"/>
              <a:gd name="T1" fmla="*/ 16 h 261"/>
              <a:gd name="T2" fmla="*/ 244 w 260"/>
              <a:gd name="T3" fmla="*/ 18 h 261"/>
              <a:gd name="T4" fmla="*/ 138 w 260"/>
              <a:gd name="T5" fmla="*/ 124 h 261"/>
              <a:gd name="T6" fmla="*/ 138 w 260"/>
              <a:gd name="T7" fmla="*/ 220 h 261"/>
              <a:gd name="T8" fmla="*/ 122 w 260"/>
              <a:gd name="T9" fmla="*/ 230 h 261"/>
              <a:gd name="T10" fmla="*/ 122 w 260"/>
              <a:gd name="T11" fmla="*/ 124 h 261"/>
              <a:gd name="T12" fmla="*/ 16 w 260"/>
              <a:gd name="T13" fmla="*/ 18 h 261"/>
              <a:gd name="T14" fmla="*/ 16 w 260"/>
              <a:gd name="T15" fmla="*/ 16 h 261"/>
              <a:gd name="T16" fmla="*/ 244 w 260"/>
              <a:gd name="T17" fmla="*/ 16 h 261"/>
              <a:gd name="T18" fmla="*/ 260 w 260"/>
              <a:gd name="T19" fmla="*/ 0 h 261"/>
              <a:gd name="T20" fmla="*/ 0 w 260"/>
              <a:gd name="T21" fmla="*/ 0 h 261"/>
              <a:gd name="T22" fmla="*/ 0 w 260"/>
              <a:gd name="T23" fmla="*/ 24 h 261"/>
              <a:gd name="T24" fmla="*/ 106 w 260"/>
              <a:gd name="T25" fmla="*/ 130 h 261"/>
              <a:gd name="T26" fmla="*/ 106 w 260"/>
              <a:gd name="T27" fmla="*/ 261 h 261"/>
              <a:gd name="T28" fmla="*/ 154 w 260"/>
              <a:gd name="T29" fmla="*/ 228 h 261"/>
              <a:gd name="T30" fmla="*/ 154 w 260"/>
              <a:gd name="T31" fmla="*/ 130 h 261"/>
              <a:gd name="T32" fmla="*/ 260 w 260"/>
              <a:gd name="T33" fmla="*/ 24 h 261"/>
              <a:gd name="T34" fmla="*/ 260 w 260"/>
              <a:gd name="T35" fmla="*/ 0 h 261"/>
              <a:gd name="T36" fmla="*/ 260 w 260"/>
              <a:gd name="T37"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0" h="261">
                <a:moveTo>
                  <a:pt x="244" y="16"/>
                </a:moveTo>
                <a:lnTo>
                  <a:pt x="244" y="18"/>
                </a:lnTo>
                <a:lnTo>
                  <a:pt x="138" y="124"/>
                </a:lnTo>
                <a:lnTo>
                  <a:pt x="138" y="220"/>
                </a:lnTo>
                <a:lnTo>
                  <a:pt x="122" y="230"/>
                </a:lnTo>
                <a:lnTo>
                  <a:pt x="122" y="124"/>
                </a:lnTo>
                <a:lnTo>
                  <a:pt x="16" y="18"/>
                </a:lnTo>
                <a:lnTo>
                  <a:pt x="16" y="16"/>
                </a:lnTo>
                <a:lnTo>
                  <a:pt x="244" y="16"/>
                </a:lnTo>
                <a:close/>
                <a:moveTo>
                  <a:pt x="260" y="0"/>
                </a:moveTo>
                <a:lnTo>
                  <a:pt x="0" y="0"/>
                </a:lnTo>
                <a:lnTo>
                  <a:pt x="0" y="24"/>
                </a:lnTo>
                <a:lnTo>
                  <a:pt x="106" y="130"/>
                </a:lnTo>
                <a:lnTo>
                  <a:pt x="106" y="261"/>
                </a:lnTo>
                <a:lnTo>
                  <a:pt x="154" y="228"/>
                </a:lnTo>
                <a:lnTo>
                  <a:pt x="154" y="130"/>
                </a:lnTo>
                <a:lnTo>
                  <a:pt x="260" y="24"/>
                </a:lnTo>
                <a:lnTo>
                  <a:pt x="260" y="0"/>
                </a:lnTo>
                <a:lnTo>
                  <a:pt x="260" y="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39" name="Freeform 50">
            <a:extLst>
              <a:ext uri="{FF2B5EF4-FFF2-40B4-BE49-F238E27FC236}">
                <a16:creationId xmlns:a16="http://schemas.microsoft.com/office/drawing/2014/main" id="{38A22476-E1DA-4271-8317-CAEAEDF3B947}"/>
              </a:ext>
            </a:extLst>
          </p:cNvPr>
          <p:cNvSpPr>
            <a:spLocks noEditPoints="1"/>
          </p:cNvSpPr>
          <p:nvPr/>
        </p:nvSpPr>
        <p:spPr bwMode="auto">
          <a:xfrm>
            <a:off x="6101923" y="3193472"/>
            <a:ext cx="312737" cy="414338"/>
          </a:xfrm>
          <a:custGeom>
            <a:avLst/>
            <a:gdLst>
              <a:gd name="T0" fmla="*/ 181 w 197"/>
              <a:gd name="T1" fmla="*/ 16 h 261"/>
              <a:gd name="T2" fmla="*/ 181 w 197"/>
              <a:gd name="T3" fmla="*/ 245 h 261"/>
              <a:gd name="T4" fmla="*/ 17 w 197"/>
              <a:gd name="T5" fmla="*/ 245 h 261"/>
              <a:gd name="T6" fmla="*/ 17 w 197"/>
              <a:gd name="T7" fmla="*/ 16 h 261"/>
              <a:gd name="T8" fmla="*/ 181 w 197"/>
              <a:gd name="T9" fmla="*/ 16 h 261"/>
              <a:gd name="T10" fmla="*/ 197 w 197"/>
              <a:gd name="T11" fmla="*/ 0 h 261"/>
              <a:gd name="T12" fmla="*/ 0 w 197"/>
              <a:gd name="T13" fmla="*/ 0 h 261"/>
              <a:gd name="T14" fmla="*/ 0 w 197"/>
              <a:gd name="T15" fmla="*/ 261 h 261"/>
              <a:gd name="T16" fmla="*/ 197 w 197"/>
              <a:gd name="T17" fmla="*/ 261 h 261"/>
              <a:gd name="T18" fmla="*/ 197 w 197"/>
              <a:gd name="T19" fmla="*/ 0 h 261"/>
              <a:gd name="T20" fmla="*/ 197 w 197"/>
              <a:gd name="T21" fmla="*/ 0 h 261"/>
              <a:gd name="T22" fmla="*/ 164 w 197"/>
              <a:gd name="T23" fmla="*/ 82 h 261"/>
              <a:gd name="T24" fmla="*/ 33 w 197"/>
              <a:gd name="T25" fmla="*/ 82 h 261"/>
              <a:gd name="T26" fmla="*/ 33 w 197"/>
              <a:gd name="T27" fmla="*/ 98 h 261"/>
              <a:gd name="T28" fmla="*/ 164 w 197"/>
              <a:gd name="T29" fmla="*/ 98 h 261"/>
              <a:gd name="T30" fmla="*/ 164 w 197"/>
              <a:gd name="T31" fmla="*/ 82 h 261"/>
              <a:gd name="T32" fmla="*/ 164 w 197"/>
              <a:gd name="T33" fmla="*/ 49 h 261"/>
              <a:gd name="T34" fmla="*/ 33 w 197"/>
              <a:gd name="T35" fmla="*/ 49 h 261"/>
              <a:gd name="T36" fmla="*/ 33 w 197"/>
              <a:gd name="T37" fmla="*/ 65 h 261"/>
              <a:gd name="T38" fmla="*/ 164 w 197"/>
              <a:gd name="T39" fmla="*/ 65 h 261"/>
              <a:gd name="T40" fmla="*/ 164 w 197"/>
              <a:gd name="T41" fmla="*/ 49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7" h="261">
                <a:moveTo>
                  <a:pt x="181" y="16"/>
                </a:moveTo>
                <a:lnTo>
                  <a:pt x="181" y="245"/>
                </a:lnTo>
                <a:lnTo>
                  <a:pt x="17" y="245"/>
                </a:lnTo>
                <a:lnTo>
                  <a:pt x="17" y="16"/>
                </a:lnTo>
                <a:lnTo>
                  <a:pt x="181" y="16"/>
                </a:lnTo>
                <a:close/>
                <a:moveTo>
                  <a:pt x="197" y="0"/>
                </a:moveTo>
                <a:lnTo>
                  <a:pt x="0" y="0"/>
                </a:lnTo>
                <a:lnTo>
                  <a:pt x="0" y="261"/>
                </a:lnTo>
                <a:lnTo>
                  <a:pt x="197" y="261"/>
                </a:lnTo>
                <a:lnTo>
                  <a:pt x="197" y="0"/>
                </a:lnTo>
                <a:lnTo>
                  <a:pt x="197" y="0"/>
                </a:lnTo>
                <a:close/>
                <a:moveTo>
                  <a:pt x="164" y="82"/>
                </a:moveTo>
                <a:lnTo>
                  <a:pt x="33" y="82"/>
                </a:lnTo>
                <a:lnTo>
                  <a:pt x="33" y="98"/>
                </a:lnTo>
                <a:lnTo>
                  <a:pt x="164" y="98"/>
                </a:lnTo>
                <a:lnTo>
                  <a:pt x="164" y="82"/>
                </a:lnTo>
                <a:close/>
                <a:moveTo>
                  <a:pt x="164" y="49"/>
                </a:moveTo>
                <a:lnTo>
                  <a:pt x="33" y="49"/>
                </a:lnTo>
                <a:lnTo>
                  <a:pt x="33" y="65"/>
                </a:lnTo>
                <a:lnTo>
                  <a:pt x="164" y="65"/>
                </a:lnTo>
                <a:lnTo>
                  <a:pt x="164" y="4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0" name="Freeform 55">
            <a:extLst>
              <a:ext uri="{FF2B5EF4-FFF2-40B4-BE49-F238E27FC236}">
                <a16:creationId xmlns:a16="http://schemas.microsoft.com/office/drawing/2014/main" id="{A59C34CF-FC02-4D9E-8FD8-198DA44A7E17}"/>
              </a:ext>
            </a:extLst>
          </p:cNvPr>
          <p:cNvSpPr>
            <a:spLocks/>
          </p:cNvSpPr>
          <p:nvPr/>
        </p:nvSpPr>
        <p:spPr bwMode="auto">
          <a:xfrm>
            <a:off x="5028705" y="4050221"/>
            <a:ext cx="368300" cy="414338"/>
          </a:xfrm>
          <a:custGeom>
            <a:avLst/>
            <a:gdLst>
              <a:gd name="T0" fmla="*/ 232 w 232"/>
              <a:gd name="T1" fmla="*/ 190 h 261"/>
              <a:gd name="T2" fmla="*/ 193 w 232"/>
              <a:gd name="T3" fmla="*/ 183 h 261"/>
              <a:gd name="T4" fmla="*/ 183 w 232"/>
              <a:gd name="T5" fmla="*/ 214 h 261"/>
              <a:gd name="T6" fmla="*/ 124 w 232"/>
              <a:gd name="T7" fmla="*/ 145 h 261"/>
              <a:gd name="T8" fmla="*/ 155 w 232"/>
              <a:gd name="T9" fmla="*/ 230 h 261"/>
              <a:gd name="T10" fmla="*/ 124 w 232"/>
              <a:gd name="T11" fmla="*/ 224 h 261"/>
              <a:gd name="T12" fmla="*/ 108 w 232"/>
              <a:gd name="T13" fmla="*/ 261 h 261"/>
              <a:gd name="T14" fmla="*/ 90 w 232"/>
              <a:gd name="T15" fmla="*/ 243 h 261"/>
              <a:gd name="T16" fmla="*/ 108 w 232"/>
              <a:gd name="T17" fmla="*/ 200 h 261"/>
              <a:gd name="T18" fmla="*/ 59 w 232"/>
              <a:gd name="T19" fmla="*/ 173 h 261"/>
              <a:gd name="T20" fmla="*/ 33 w 232"/>
              <a:gd name="T21" fmla="*/ 210 h 261"/>
              <a:gd name="T22" fmla="*/ 8 w 232"/>
              <a:gd name="T23" fmla="*/ 202 h 261"/>
              <a:gd name="T24" fmla="*/ 30 w 232"/>
              <a:gd name="T25" fmla="*/ 169 h 261"/>
              <a:gd name="T26" fmla="*/ 10 w 232"/>
              <a:gd name="T27" fmla="*/ 147 h 261"/>
              <a:gd name="T28" fmla="*/ 100 w 232"/>
              <a:gd name="T29" fmla="*/ 130 h 261"/>
              <a:gd name="T30" fmla="*/ 10 w 232"/>
              <a:gd name="T31" fmla="*/ 114 h 261"/>
              <a:gd name="T32" fmla="*/ 30 w 232"/>
              <a:gd name="T33" fmla="*/ 92 h 261"/>
              <a:gd name="T34" fmla="*/ 8 w 232"/>
              <a:gd name="T35" fmla="*/ 59 h 261"/>
              <a:gd name="T36" fmla="*/ 33 w 232"/>
              <a:gd name="T37" fmla="*/ 51 h 261"/>
              <a:gd name="T38" fmla="*/ 59 w 232"/>
              <a:gd name="T39" fmla="*/ 88 h 261"/>
              <a:gd name="T40" fmla="*/ 108 w 232"/>
              <a:gd name="T41" fmla="*/ 61 h 261"/>
              <a:gd name="T42" fmla="*/ 90 w 232"/>
              <a:gd name="T43" fmla="*/ 18 h 261"/>
              <a:gd name="T44" fmla="*/ 108 w 232"/>
              <a:gd name="T45" fmla="*/ 0 h 261"/>
              <a:gd name="T46" fmla="*/ 124 w 232"/>
              <a:gd name="T47" fmla="*/ 37 h 261"/>
              <a:gd name="T48" fmla="*/ 155 w 232"/>
              <a:gd name="T49" fmla="*/ 31 h 261"/>
              <a:gd name="T50" fmla="*/ 124 w 232"/>
              <a:gd name="T51" fmla="*/ 116 h 261"/>
              <a:gd name="T52" fmla="*/ 183 w 232"/>
              <a:gd name="T53" fmla="*/ 47 h 261"/>
              <a:gd name="T54" fmla="*/ 193 w 232"/>
              <a:gd name="T55" fmla="*/ 77 h 261"/>
              <a:gd name="T56" fmla="*/ 232 w 232"/>
              <a:gd name="T57" fmla="*/ 71 h 261"/>
              <a:gd name="T58" fmla="*/ 226 w 232"/>
              <a:gd name="T59" fmla="*/ 98 h 261"/>
              <a:gd name="T60" fmla="*/ 181 w 232"/>
              <a:gd name="T61" fmla="*/ 102 h 261"/>
              <a:gd name="T62" fmla="*/ 181 w 232"/>
              <a:gd name="T63" fmla="*/ 159 h 261"/>
              <a:gd name="T64" fmla="*/ 226 w 232"/>
              <a:gd name="T65" fmla="*/ 16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261">
                <a:moveTo>
                  <a:pt x="201" y="169"/>
                </a:moveTo>
                <a:lnTo>
                  <a:pt x="232" y="190"/>
                </a:lnTo>
                <a:lnTo>
                  <a:pt x="224" y="202"/>
                </a:lnTo>
                <a:lnTo>
                  <a:pt x="193" y="183"/>
                </a:lnTo>
                <a:lnTo>
                  <a:pt x="199" y="210"/>
                </a:lnTo>
                <a:lnTo>
                  <a:pt x="183" y="214"/>
                </a:lnTo>
                <a:lnTo>
                  <a:pt x="173" y="173"/>
                </a:lnTo>
                <a:lnTo>
                  <a:pt x="124" y="145"/>
                </a:lnTo>
                <a:lnTo>
                  <a:pt x="124" y="200"/>
                </a:lnTo>
                <a:lnTo>
                  <a:pt x="155" y="230"/>
                </a:lnTo>
                <a:lnTo>
                  <a:pt x="142" y="243"/>
                </a:lnTo>
                <a:lnTo>
                  <a:pt x="124" y="224"/>
                </a:lnTo>
                <a:lnTo>
                  <a:pt x="124" y="261"/>
                </a:lnTo>
                <a:lnTo>
                  <a:pt x="108" y="261"/>
                </a:lnTo>
                <a:lnTo>
                  <a:pt x="108" y="224"/>
                </a:lnTo>
                <a:lnTo>
                  <a:pt x="90" y="243"/>
                </a:lnTo>
                <a:lnTo>
                  <a:pt x="77" y="230"/>
                </a:lnTo>
                <a:lnTo>
                  <a:pt x="108" y="200"/>
                </a:lnTo>
                <a:lnTo>
                  <a:pt x="108" y="145"/>
                </a:lnTo>
                <a:lnTo>
                  <a:pt x="59" y="173"/>
                </a:lnTo>
                <a:lnTo>
                  <a:pt x="49" y="214"/>
                </a:lnTo>
                <a:lnTo>
                  <a:pt x="33" y="210"/>
                </a:lnTo>
                <a:lnTo>
                  <a:pt x="39" y="183"/>
                </a:lnTo>
                <a:lnTo>
                  <a:pt x="8" y="202"/>
                </a:lnTo>
                <a:lnTo>
                  <a:pt x="0" y="190"/>
                </a:lnTo>
                <a:lnTo>
                  <a:pt x="30" y="169"/>
                </a:lnTo>
                <a:lnTo>
                  <a:pt x="6" y="163"/>
                </a:lnTo>
                <a:lnTo>
                  <a:pt x="10" y="147"/>
                </a:lnTo>
                <a:lnTo>
                  <a:pt x="51" y="159"/>
                </a:lnTo>
                <a:lnTo>
                  <a:pt x="100" y="130"/>
                </a:lnTo>
                <a:lnTo>
                  <a:pt x="51" y="102"/>
                </a:lnTo>
                <a:lnTo>
                  <a:pt x="10" y="114"/>
                </a:lnTo>
                <a:lnTo>
                  <a:pt x="6" y="98"/>
                </a:lnTo>
                <a:lnTo>
                  <a:pt x="30" y="92"/>
                </a:lnTo>
                <a:lnTo>
                  <a:pt x="0" y="71"/>
                </a:lnTo>
                <a:lnTo>
                  <a:pt x="8" y="59"/>
                </a:lnTo>
                <a:lnTo>
                  <a:pt x="39" y="77"/>
                </a:lnTo>
                <a:lnTo>
                  <a:pt x="33" y="51"/>
                </a:lnTo>
                <a:lnTo>
                  <a:pt x="49" y="47"/>
                </a:lnTo>
                <a:lnTo>
                  <a:pt x="59" y="88"/>
                </a:lnTo>
                <a:lnTo>
                  <a:pt x="108" y="116"/>
                </a:lnTo>
                <a:lnTo>
                  <a:pt x="108" y="61"/>
                </a:lnTo>
                <a:lnTo>
                  <a:pt x="77" y="31"/>
                </a:lnTo>
                <a:lnTo>
                  <a:pt x="90" y="18"/>
                </a:lnTo>
                <a:lnTo>
                  <a:pt x="108" y="37"/>
                </a:lnTo>
                <a:lnTo>
                  <a:pt x="108" y="0"/>
                </a:lnTo>
                <a:lnTo>
                  <a:pt x="124" y="0"/>
                </a:lnTo>
                <a:lnTo>
                  <a:pt x="124" y="37"/>
                </a:lnTo>
                <a:lnTo>
                  <a:pt x="142" y="18"/>
                </a:lnTo>
                <a:lnTo>
                  <a:pt x="155" y="31"/>
                </a:lnTo>
                <a:lnTo>
                  <a:pt x="124" y="61"/>
                </a:lnTo>
                <a:lnTo>
                  <a:pt x="124" y="116"/>
                </a:lnTo>
                <a:lnTo>
                  <a:pt x="173" y="88"/>
                </a:lnTo>
                <a:lnTo>
                  <a:pt x="183" y="47"/>
                </a:lnTo>
                <a:lnTo>
                  <a:pt x="199" y="51"/>
                </a:lnTo>
                <a:lnTo>
                  <a:pt x="193" y="77"/>
                </a:lnTo>
                <a:lnTo>
                  <a:pt x="224" y="59"/>
                </a:lnTo>
                <a:lnTo>
                  <a:pt x="232" y="71"/>
                </a:lnTo>
                <a:lnTo>
                  <a:pt x="201" y="92"/>
                </a:lnTo>
                <a:lnTo>
                  <a:pt x="226" y="98"/>
                </a:lnTo>
                <a:lnTo>
                  <a:pt x="222" y="114"/>
                </a:lnTo>
                <a:lnTo>
                  <a:pt x="181" y="102"/>
                </a:lnTo>
                <a:lnTo>
                  <a:pt x="132" y="130"/>
                </a:lnTo>
                <a:lnTo>
                  <a:pt x="181" y="159"/>
                </a:lnTo>
                <a:lnTo>
                  <a:pt x="222" y="147"/>
                </a:lnTo>
                <a:lnTo>
                  <a:pt x="226" y="163"/>
                </a:lnTo>
                <a:lnTo>
                  <a:pt x="201" y="16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1" name="Oval 59">
            <a:extLst>
              <a:ext uri="{FF2B5EF4-FFF2-40B4-BE49-F238E27FC236}">
                <a16:creationId xmlns:a16="http://schemas.microsoft.com/office/drawing/2014/main" id="{DC9A8D2F-80A3-4BAF-A313-12239CFFC12B}"/>
              </a:ext>
            </a:extLst>
          </p:cNvPr>
          <p:cNvSpPr>
            <a:spLocks noChangeArrowheads="1"/>
          </p:cNvSpPr>
          <p:nvPr/>
        </p:nvSpPr>
        <p:spPr bwMode="auto">
          <a:xfrm>
            <a:off x="6051122" y="4051809"/>
            <a:ext cx="414338" cy="412750"/>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2" name="Freeform 63">
            <a:extLst>
              <a:ext uri="{FF2B5EF4-FFF2-40B4-BE49-F238E27FC236}">
                <a16:creationId xmlns:a16="http://schemas.microsoft.com/office/drawing/2014/main" id="{9B9E53D4-B49A-43CD-8449-4EDF7E912B44}"/>
              </a:ext>
            </a:extLst>
          </p:cNvPr>
          <p:cNvSpPr>
            <a:spLocks noEditPoints="1"/>
          </p:cNvSpPr>
          <p:nvPr/>
        </p:nvSpPr>
        <p:spPr bwMode="auto">
          <a:xfrm>
            <a:off x="7096555" y="4050221"/>
            <a:ext cx="412750" cy="414338"/>
          </a:xfrm>
          <a:custGeom>
            <a:avLst/>
            <a:gdLst>
              <a:gd name="T0" fmla="*/ 64 w 128"/>
              <a:gd name="T1" fmla="*/ 8 h 128"/>
              <a:gd name="T2" fmla="*/ 120 w 128"/>
              <a:gd name="T3" fmla="*/ 64 h 128"/>
              <a:gd name="T4" fmla="*/ 64 w 128"/>
              <a:gd name="T5" fmla="*/ 120 h 128"/>
              <a:gd name="T6" fmla="*/ 8 w 128"/>
              <a:gd name="T7" fmla="*/ 64 h 128"/>
              <a:gd name="T8" fmla="*/ 64 w 128"/>
              <a:gd name="T9" fmla="*/ 8 h 128"/>
              <a:gd name="T10" fmla="*/ 64 w 128"/>
              <a:gd name="T11" fmla="*/ 0 h 128"/>
              <a:gd name="T12" fmla="*/ 0 w 128"/>
              <a:gd name="T13" fmla="*/ 64 h 128"/>
              <a:gd name="T14" fmla="*/ 64 w 128"/>
              <a:gd name="T15" fmla="*/ 128 h 128"/>
              <a:gd name="T16" fmla="*/ 128 w 128"/>
              <a:gd name="T17" fmla="*/ 64 h 128"/>
              <a:gd name="T18" fmla="*/ 64 w 128"/>
              <a:gd name="T1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128">
                <a:moveTo>
                  <a:pt x="64" y="8"/>
                </a:moveTo>
                <a:cubicBezTo>
                  <a:pt x="95" y="8"/>
                  <a:pt x="120" y="33"/>
                  <a:pt x="120" y="64"/>
                </a:cubicBezTo>
                <a:cubicBezTo>
                  <a:pt x="120" y="95"/>
                  <a:pt x="95" y="120"/>
                  <a:pt x="64" y="120"/>
                </a:cubicBezTo>
                <a:cubicBezTo>
                  <a:pt x="33" y="120"/>
                  <a:pt x="8" y="95"/>
                  <a:pt x="8" y="64"/>
                </a:cubicBezTo>
                <a:cubicBezTo>
                  <a:pt x="8" y="33"/>
                  <a:pt x="33" y="8"/>
                  <a:pt x="64" y="8"/>
                </a:cubicBezTo>
                <a:moveTo>
                  <a:pt x="64" y="0"/>
                </a:moveTo>
                <a:cubicBezTo>
                  <a:pt x="29" y="0"/>
                  <a:pt x="0" y="29"/>
                  <a:pt x="0" y="64"/>
                </a:cubicBezTo>
                <a:cubicBezTo>
                  <a:pt x="0" y="99"/>
                  <a:pt x="29" y="128"/>
                  <a:pt x="64" y="128"/>
                </a:cubicBezTo>
                <a:cubicBezTo>
                  <a:pt x="99" y="128"/>
                  <a:pt x="128" y="99"/>
                  <a:pt x="128" y="64"/>
                </a:cubicBezTo>
                <a:cubicBezTo>
                  <a:pt x="128" y="29"/>
                  <a:pt x="99" y="0"/>
                  <a:pt x="64"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3" name="Freeform 67">
            <a:extLst>
              <a:ext uri="{FF2B5EF4-FFF2-40B4-BE49-F238E27FC236}">
                <a16:creationId xmlns:a16="http://schemas.microsoft.com/office/drawing/2014/main" id="{000E0919-5EAF-4088-84EF-81E0D9A79242}"/>
              </a:ext>
            </a:extLst>
          </p:cNvPr>
          <p:cNvSpPr>
            <a:spLocks noEditPoints="1"/>
          </p:cNvSpPr>
          <p:nvPr/>
        </p:nvSpPr>
        <p:spPr bwMode="auto">
          <a:xfrm>
            <a:off x="8141988" y="4177221"/>
            <a:ext cx="414338" cy="287338"/>
          </a:xfrm>
          <a:custGeom>
            <a:avLst/>
            <a:gdLst>
              <a:gd name="T0" fmla="*/ 57 w 261"/>
              <a:gd name="T1" fmla="*/ 33 h 181"/>
              <a:gd name="T2" fmla="*/ 16 w 261"/>
              <a:gd name="T3" fmla="*/ 16 h 181"/>
              <a:gd name="T4" fmla="*/ 73 w 261"/>
              <a:gd name="T5" fmla="*/ 0 h 181"/>
              <a:gd name="T6" fmla="*/ 0 w 261"/>
              <a:gd name="T7" fmla="*/ 49 h 181"/>
              <a:gd name="T8" fmla="*/ 73 w 261"/>
              <a:gd name="T9" fmla="*/ 0 h 181"/>
              <a:gd name="T10" fmla="*/ 57 w 261"/>
              <a:gd name="T11" fmla="*/ 82 h 181"/>
              <a:gd name="T12" fmla="*/ 16 w 261"/>
              <a:gd name="T13" fmla="*/ 99 h 181"/>
              <a:gd name="T14" fmla="*/ 57 w 261"/>
              <a:gd name="T15" fmla="*/ 82 h 181"/>
              <a:gd name="T16" fmla="*/ 0 w 261"/>
              <a:gd name="T17" fmla="*/ 66 h 181"/>
              <a:gd name="T18" fmla="*/ 73 w 261"/>
              <a:gd name="T19" fmla="*/ 115 h 181"/>
              <a:gd name="T20" fmla="*/ 73 w 261"/>
              <a:gd name="T21" fmla="*/ 66 h 181"/>
              <a:gd name="T22" fmla="*/ 57 w 261"/>
              <a:gd name="T23" fmla="*/ 165 h 181"/>
              <a:gd name="T24" fmla="*/ 16 w 261"/>
              <a:gd name="T25" fmla="*/ 148 h 181"/>
              <a:gd name="T26" fmla="*/ 73 w 261"/>
              <a:gd name="T27" fmla="*/ 132 h 181"/>
              <a:gd name="T28" fmla="*/ 0 w 261"/>
              <a:gd name="T29" fmla="*/ 181 h 181"/>
              <a:gd name="T30" fmla="*/ 73 w 261"/>
              <a:gd name="T31" fmla="*/ 132 h 181"/>
              <a:gd name="T32" fmla="*/ 151 w 261"/>
              <a:gd name="T33" fmla="*/ 33 h 181"/>
              <a:gd name="T34" fmla="*/ 110 w 261"/>
              <a:gd name="T35" fmla="*/ 16 h 181"/>
              <a:gd name="T36" fmla="*/ 167 w 261"/>
              <a:gd name="T37" fmla="*/ 0 h 181"/>
              <a:gd name="T38" fmla="*/ 94 w 261"/>
              <a:gd name="T39" fmla="*/ 49 h 181"/>
              <a:gd name="T40" fmla="*/ 167 w 261"/>
              <a:gd name="T41" fmla="*/ 0 h 181"/>
              <a:gd name="T42" fmla="*/ 151 w 261"/>
              <a:gd name="T43" fmla="*/ 82 h 181"/>
              <a:gd name="T44" fmla="*/ 110 w 261"/>
              <a:gd name="T45" fmla="*/ 99 h 181"/>
              <a:gd name="T46" fmla="*/ 151 w 261"/>
              <a:gd name="T47" fmla="*/ 82 h 181"/>
              <a:gd name="T48" fmla="*/ 94 w 261"/>
              <a:gd name="T49" fmla="*/ 66 h 181"/>
              <a:gd name="T50" fmla="*/ 167 w 261"/>
              <a:gd name="T51" fmla="*/ 115 h 181"/>
              <a:gd name="T52" fmla="*/ 167 w 261"/>
              <a:gd name="T53" fmla="*/ 66 h 181"/>
              <a:gd name="T54" fmla="*/ 151 w 261"/>
              <a:gd name="T55" fmla="*/ 165 h 181"/>
              <a:gd name="T56" fmla="*/ 110 w 261"/>
              <a:gd name="T57" fmla="*/ 148 h 181"/>
              <a:gd name="T58" fmla="*/ 167 w 261"/>
              <a:gd name="T59" fmla="*/ 132 h 181"/>
              <a:gd name="T60" fmla="*/ 94 w 261"/>
              <a:gd name="T61" fmla="*/ 181 h 181"/>
              <a:gd name="T62" fmla="*/ 167 w 261"/>
              <a:gd name="T63" fmla="*/ 132 h 181"/>
              <a:gd name="T64" fmla="*/ 245 w 261"/>
              <a:gd name="T65" fmla="*/ 16 h 181"/>
              <a:gd name="T66" fmla="*/ 204 w 261"/>
              <a:gd name="T67" fmla="*/ 33 h 181"/>
              <a:gd name="T68" fmla="*/ 245 w 261"/>
              <a:gd name="T69" fmla="*/ 16 h 181"/>
              <a:gd name="T70" fmla="*/ 188 w 261"/>
              <a:gd name="T71" fmla="*/ 0 h 181"/>
              <a:gd name="T72" fmla="*/ 261 w 261"/>
              <a:gd name="T73" fmla="*/ 49 h 181"/>
              <a:gd name="T74" fmla="*/ 261 w 261"/>
              <a:gd name="T75" fmla="*/ 0 h 181"/>
              <a:gd name="T76" fmla="*/ 245 w 261"/>
              <a:gd name="T77" fmla="*/ 99 h 181"/>
              <a:gd name="T78" fmla="*/ 204 w 261"/>
              <a:gd name="T79" fmla="*/ 82 h 181"/>
              <a:gd name="T80" fmla="*/ 261 w 261"/>
              <a:gd name="T81" fmla="*/ 66 h 181"/>
              <a:gd name="T82" fmla="*/ 188 w 261"/>
              <a:gd name="T83" fmla="*/ 115 h 181"/>
              <a:gd name="T84" fmla="*/ 261 w 261"/>
              <a:gd name="T85" fmla="*/ 66 h 181"/>
              <a:gd name="T86" fmla="*/ 245 w 261"/>
              <a:gd name="T87" fmla="*/ 148 h 181"/>
              <a:gd name="T88" fmla="*/ 204 w 261"/>
              <a:gd name="T89" fmla="*/ 165 h 181"/>
              <a:gd name="T90" fmla="*/ 245 w 261"/>
              <a:gd name="T91" fmla="*/ 148 h 181"/>
              <a:gd name="T92" fmla="*/ 188 w 261"/>
              <a:gd name="T93" fmla="*/ 132 h 181"/>
              <a:gd name="T94" fmla="*/ 261 w 261"/>
              <a:gd name="T95" fmla="*/ 181 h 181"/>
              <a:gd name="T96" fmla="*/ 261 w 261"/>
              <a:gd name="T97" fmla="*/ 13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1" h="181">
                <a:moveTo>
                  <a:pt x="57" y="16"/>
                </a:moveTo>
                <a:lnTo>
                  <a:pt x="57" y="33"/>
                </a:lnTo>
                <a:lnTo>
                  <a:pt x="16" y="33"/>
                </a:lnTo>
                <a:lnTo>
                  <a:pt x="16" y="16"/>
                </a:lnTo>
                <a:lnTo>
                  <a:pt x="57" y="16"/>
                </a:lnTo>
                <a:close/>
                <a:moveTo>
                  <a:pt x="73" y="0"/>
                </a:moveTo>
                <a:lnTo>
                  <a:pt x="0" y="0"/>
                </a:lnTo>
                <a:lnTo>
                  <a:pt x="0" y="49"/>
                </a:lnTo>
                <a:lnTo>
                  <a:pt x="73" y="49"/>
                </a:lnTo>
                <a:lnTo>
                  <a:pt x="73" y="0"/>
                </a:lnTo>
                <a:lnTo>
                  <a:pt x="73" y="0"/>
                </a:lnTo>
                <a:close/>
                <a:moveTo>
                  <a:pt x="57" y="82"/>
                </a:moveTo>
                <a:lnTo>
                  <a:pt x="57" y="99"/>
                </a:lnTo>
                <a:lnTo>
                  <a:pt x="16" y="99"/>
                </a:lnTo>
                <a:lnTo>
                  <a:pt x="16" y="82"/>
                </a:lnTo>
                <a:lnTo>
                  <a:pt x="57" y="82"/>
                </a:lnTo>
                <a:close/>
                <a:moveTo>
                  <a:pt x="73" y="66"/>
                </a:moveTo>
                <a:lnTo>
                  <a:pt x="0" y="66"/>
                </a:lnTo>
                <a:lnTo>
                  <a:pt x="0" y="115"/>
                </a:lnTo>
                <a:lnTo>
                  <a:pt x="73" y="115"/>
                </a:lnTo>
                <a:lnTo>
                  <a:pt x="73" y="66"/>
                </a:lnTo>
                <a:lnTo>
                  <a:pt x="73" y="66"/>
                </a:lnTo>
                <a:close/>
                <a:moveTo>
                  <a:pt x="57" y="148"/>
                </a:moveTo>
                <a:lnTo>
                  <a:pt x="57" y="165"/>
                </a:lnTo>
                <a:lnTo>
                  <a:pt x="16" y="165"/>
                </a:lnTo>
                <a:lnTo>
                  <a:pt x="16" y="148"/>
                </a:lnTo>
                <a:lnTo>
                  <a:pt x="57" y="148"/>
                </a:lnTo>
                <a:close/>
                <a:moveTo>
                  <a:pt x="73" y="132"/>
                </a:moveTo>
                <a:lnTo>
                  <a:pt x="0" y="132"/>
                </a:lnTo>
                <a:lnTo>
                  <a:pt x="0" y="181"/>
                </a:lnTo>
                <a:lnTo>
                  <a:pt x="73" y="181"/>
                </a:lnTo>
                <a:lnTo>
                  <a:pt x="73" y="132"/>
                </a:lnTo>
                <a:close/>
                <a:moveTo>
                  <a:pt x="151" y="16"/>
                </a:moveTo>
                <a:lnTo>
                  <a:pt x="151" y="33"/>
                </a:lnTo>
                <a:lnTo>
                  <a:pt x="110" y="33"/>
                </a:lnTo>
                <a:lnTo>
                  <a:pt x="110" y="16"/>
                </a:lnTo>
                <a:lnTo>
                  <a:pt x="151" y="16"/>
                </a:lnTo>
                <a:close/>
                <a:moveTo>
                  <a:pt x="167" y="0"/>
                </a:moveTo>
                <a:lnTo>
                  <a:pt x="94" y="0"/>
                </a:lnTo>
                <a:lnTo>
                  <a:pt x="94" y="49"/>
                </a:lnTo>
                <a:lnTo>
                  <a:pt x="167" y="49"/>
                </a:lnTo>
                <a:lnTo>
                  <a:pt x="167" y="0"/>
                </a:lnTo>
                <a:lnTo>
                  <a:pt x="167" y="0"/>
                </a:lnTo>
                <a:close/>
                <a:moveTo>
                  <a:pt x="151" y="82"/>
                </a:moveTo>
                <a:lnTo>
                  <a:pt x="151" y="99"/>
                </a:lnTo>
                <a:lnTo>
                  <a:pt x="110" y="99"/>
                </a:lnTo>
                <a:lnTo>
                  <a:pt x="110" y="82"/>
                </a:lnTo>
                <a:lnTo>
                  <a:pt x="151" y="82"/>
                </a:lnTo>
                <a:close/>
                <a:moveTo>
                  <a:pt x="167" y="66"/>
                </a:moveTo>
                <a:lnTo>
                  <a:pt x="94" y="66"/>
                </a:lnTo>
                <a:lnTo>
                  <a:pt x="94" y="115"/>
                </a:lnTo>
                <a:lnTo>
                  <a:pt x="167" y="115"/>
                </a:lnTo>
                <a:lnTo>
                  <a:pt x="167" y="66"/>
                </a:lnTo>
                <a:lnTo>
                  <a:pt x="167" y="66"/>
                </a:lnTo>
                <a:close/>
                <a:moveTo>
                  <a:pt x="151" y="148"/>
                </a:moveTo>
                <a:lnTo>
                  <a:pt x="151" y="165"/>
                </a:lnTo>
                <a:lnTo>
                  <a:pt x="110" y="165"/>
                </a:lnTo>
                <a:lnTo>
                  <a:pt x="110" y="148"/>
                </a:lnTo>
                <a:lnTo>
                  <a:pt x="151" y="148"/>
                </a:lnTo>
                <a:close/>
                <a:moveTo>
                  <a:pt x="167" y="132"/>
                </a:moveTo>
                <a:lnTo>
                  <a:pt x="94" y="132"/>
                </a:lnTo>
                <a:lnTo>
                  <a:pt x="94" y="181"/>
                </a:lnTo>
                <a:lnTo>
                  <a:pt x="167" y="181"/>
                </a:lnTo>
                <a:lnTo>
                  <a:pt x="167" y="132"/>
                </a:lnTo>
                <a:lnTo>
                  <a:pt x="167" y="132"/>
                </a:lnTo>
                <a:close/>
                <a:moveTo>
                  <a:pt x="245" y="16"/>
                </a:moveTo>
                <a:lnTo>
                  <a:pt x="245" y="33"/>
                </a:lnTo>
                <a:lnTo>
                  <a:pt x="204" y="33"/>
                </a:lnTo>
                <a:lnTo>
                  <a:pt x="204" y="16"/>
                </a:lnTo>
                <a:lnTo>
                  <a:pt x="245" y="16"/>
                </a:lnTo>
                <a:close/>
                <a:moveTo>
                  <a:pt x="261" y="0"/>
                </a:moveTo>
                <a:lnTo>
                  <a:pt x="188" y="0"/>
                </a:lnTo>
                <a:lnTo>
                  <a:pt x="188" y="49"/>
                </a:lnTo>
                <a:lnTo>
                  <a:pt x="261" y="49"/>
                </a:lnTo>
                <a:lnTo>
                  <a:pt x="261" y="0"/>
                </a:lnTo>
                <a:lnTo>
                  <a:pt x="261" y="0"/>
                </a:lnTo>
                <a:close/>
                <a:moveTo>
                  <a:pt x="245" y="82"/>
                </a:moveTo>
                <a:lnTo>
                  <a:pt x="245" y="99"/>
                </a:lnTo>
                <a:lnTo>
                  <a:pt x="204" y="99"/>
                </a:lnTo>
                <a:lnTo>
                  <a:pt x="204" y="82"/>
                </a:lnTo>
                <a:lnTo>
                  <a:pt x="245" y="82"/>
                </a:lnTo>
                <a:close/>
                <a:moveTo>
                  <a:pt x="261" y="66"/>
                </a:moveTo>
                <a:lnTo>
                  <a:pt x="188" y="66"/>
                </a:lnTo>
                <a:lnTo>
                  <a:pt x="188" y="115"/>
                </a:lnTo>
                <a:lnTo>
                  <a:pt x="261" y="115"/>
                </a:lnTo>
                <a:lnTo>
                  <a:pt x="261" y="66"/>
                </a:lnTo>
                <a:lnTo>
                  <a:pt x="261" y="66"/>
                </a:lnTo>
                <a:close/>
                <a:moveTo>
                  <a:pt x="245" y="148"/>
                </a:moveTo>
                <a:lnTo>
                  <a:pt x="245" y="165"/>
                </a:lnTo>
                <a:lnTo>
                  <a:pt x="204" y="165"/>
                </a:lnTo>
                <a:lnTo>
                  <a:pt x="204" y="148"/>
                </a:lnTo>
                <a:lnTo>
                  <a:pt x="245" y="148"/>
                </a:lnTo>
                <a:close/>
                <a:moveTo>
                  <a:pt x="261" y="132"/>
                </a:moveTo>
                <a:lnTo>
                  <a:pt x="188" y="132"/>
                </a:lnTo>
                <a:lnTo>
                  <a:pt x="188" y="181"/>
                </a:lnTo>
                <a:lnTo>
                  <a:pt x="261" y="181"/>
                </a:lnTo>
                <a:lnTo>
                  <a:pt x="261" y="132"/>
                </a:lnTo>
                <a:lnTo>
                  <a:pt x="261" y="13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247" name="Freeform: Shape 246">
            <a:extLst>
              <a:ext uri="{FF2B5EF4-FFF2-40B4-BE49-F238E27FC236}">
                <a16:creationId xmlns:a16="http://schemas.microsoft.com/office/drawing/2014/main" id="{156DC318-2575-4ADA-9007-4108F5FBEECB}"/>
              </a:ext>
            </a:extLst>
          </p:cNvPr>
          <p:cNvSpPr/>
          <p:nvPr/>
        </p:nvSpPr>
        <p:spPr>
          <a:xfrm>
            <a:off x="7164719" y="3205740"/>
            <a:ext cx="276423" cy="402070"/>
          </a:xfrm>
          <a:custGeom>
            <a:avLst/>
            <a:gdLst>
              <a:gd name="connsiteX0" fmla="*/ 209550 w 209550"/>
              <a:gd name="connsiteY0" fmla="*/ 304800 h 304800"/>
              <a:gd name="connsiteX1" fmla="*/ 0 w 209550"/>
              <a:gd name="connsiteY1" fmla="*/ 304800 h 304800"/>
              <a:gd name="connsiteX2" fmla="*/ 0 w 209550"/>
              <a:gd name="connsiteY2" fmla="*/ 0 h 304800"/>
              <a:gd name="connsiteX3" fmla="*/ 209550 w 209550"/>
              <a:gd name="connsiteY3" fmla="*/ 0 h 304800"/>
              <a:gd name="connsiteX4" fmla="*/ 209550 w 209550"/>
              <a:gd name="connsiteY4" fmla="*/ 304800 h 304800"/>
              <a:gd name="connsiteX5" fmla="*/ 19050 w 209550"/>
              <a:gd name="connsiteY5" fmla="*/ 285750 h 304800"/>
              <a:gd name="connsiteX6" fmla="*/ 190500 w 209550"/>
              <a:gd name="connsiteY6" fmla="*/ 285750 h 304800"/>
              <a:gd name="connsiteX7" fmla="*/ 190500 w 209550"/>
              <a:gd name="connsiteY7" fmla="*/ 19050 h 304800"/>
              <a:gd name="connsiteX8" fmla="*/ 19050 w 209550"/>
              <a:gd name="connsiteY8" fmla="*/ 19050 h 304800"/>
              <a:gd name="connsiteX9" fmla="*/ 19050 w 209550"/>
              <a:gd name="connsiteY9" fmla="*/ 285750 h 304800"/>
              <a:gd name="connsiteX10" fmla="*/ 57150 w 209550"/>
              <a:gd name="connsiteY10" fmla="*/ 71438 h 304800"/>
              <a:gd name="connsiteX11" fmla="*/ 38100 w 209550"/>
              <a:gd name="connsiteY11" fmla="*/ 71438 h 304800"/>
              <a:gd name="connsiteX12" fmla="*/ 38100 w 209550"/>
              <a:gd name="connsiteY12" fmla="*/ 133350 h 304800"/>
              <a:gd name="connsiteX13" fmla="*/ 57150 w 209550"/>
              <a:gd name="connsiteY13" fmla="*/ 133350 h 304800"/>
              <a:gd name="connsiteX14" fmla="*/ 57150 w 209550"/>
              <a:gd name="connsiteY14" fmla="*/ 71438 h 304800"/>
              <a:gd name="connsiteX15" fmla="*/ 180975 w 209550"/>
              <a:gd name="connsiteY15" fmla="*/ 80963 h 304800"/>
              <a:gd name="connsiteX16" fmla="*/ 163830 w 209550"/>
              <a:gd name="connsiteY16" fmla="*/ 80963 h 304800"/>
              <a:gd name="connsiteX17" fmla="*/ 174308 w 209550"/>
              <a:gd name="connsiteY17" fmla="*/ 91440 h 304800"/>
              <a:gd name="connsiteX18" fmla="*/ 167640 w 209550"/>
              <a:gd name="connsiteY18" fmla="*/ 98108 h 304800"/>
              <a:gd name="connsiteX19" fmla="*/ 149543 w 209550"/>
              <a:gd name="connsiteY19" fmla="*/ 80010 h 304800"/>
              <a:gd name="connsiteX20" fmla="*/ 137160 w 209550"/>
              <a:gd name="connsiteY20" fmla="*/ 80010 h 304800"/>
              <a:gd name="connsiteX21" fmla="*/ 137160 w 209550"/>
              <a:gd name="connsiteY21" fmla="*/ 92393 h 304800"/>
              <a:gd name="connsiteX22" fmla="*/ 155258 w 209550"/>
              <a:gd name="connsiteY22" fmla="*/ 110490 h 304800"/>
              <a:gd name="connsiteX23" fmla="*/ 148590 w 209550"/>
              <a:gd name="connsiteY23" fmla="*/ 117158 h 304800"/>
              <a:gd name="connsiteX24" fmla="*/ 138113 w 209550"/>
              <a:gd name="connsiteY24" fmla="*/ 106680 h 304800"/>
              <a:gd name="connsiteX25" fmla="*/ 138113 w 209550"/>
              <a:gd name="connsiteY25" fmla="*/ 123825 h 304800"/>
              <a:gd name="connsiteX26" fmla="*/ 128588 w 209550"/>
              <a:gd name="connsiteY26" fmla="*/ 123825 h 304800"/>
              <a:gd name="connsiteX27" fmla="*/ 128588 w 209550"/>
              <a:gd name="connsiteY27" fmla="*/ 106680 h 304800"/>
              <a:gd name="connsiteX28" fmla="*/ 118110 w 209550"/>
              <a:gd name="connsiteY28" fmla="*/ 117158 h 304800"/>
              <a:gd name="connsiteX29" fmla="*/ 111443 w 209550"/>
              <a:gd name="connsiteY29" fmla="*/ 110490 h 304800"/>
              <a:gd name="connsiteX30" fmla="*/ 129540 w 209550"/>
              <a:gd name="connsiteY30" fmla="*/ 92393 h 304800"/>
              <a:gd name="connsiteX31" fmla="*/ 129540 w 209550"/>
              <a:gd name="connsiteY31" fmla="*/ 80963 h 304800"/>
              <a:gd name="connsiteX32" fmla="*/ 117158 w 209550"/>
              <a:gd name="connsiteY32" fmla="*/ 80963 h 304800"/>
              <a:gd name="connsiteX33" fmla="*/ 99060 w 209550"/>
              <a:gd name="connsiteY33" fmla="*/ 99060 h 304800"/>
              <a:gd name="connsiteX34" fmla="*/ 91440 w 209550"/>
              <a:gd name="connsiteY34" fmla="*/ 91440 h 304800"/>
              <a:gd name="connsiteX35" fmla="*/ 101918 w 209550"/>
              <a:gd name="connsiteY35" fmla="*/ 80963 h 304800"/>
              <a:gd name="connsiteX36" fmla="*/ 85725 w 209550"/>
              <a:gd name="connsiteY36" fmla="*/ 80963 h 304800"/>
              <a:gd name="connsiteX37" fmla="*/ 85725 w 209550"/>
              <a:gd name="connsiteY37" fmla="*/ 71438 h 304800"/>
              <a:gd name="connsiteX38" fmla="*/ 102870 w 209550"/>
              <a:gd name="connsiteY38" fmla="*/ 71438 h 304800"/>
              <a:gd name="connsiteX39" fmla="*/ 91440 w 209550"/>
              <a:gd name="connsiteY39" fmla="*/ 60960 h 304800"/>
              <a:gd name="connsiteX40" fmla="*/ 98108 w 209550"/>
              <a:gd name="connsiteY40" fmla="*/ 54293 h 304800"/>
              <a:gd name="connsiteX41" fmla="*/ 116205 w 209550"/>
              <a:gd name="connsiteY41" fmla="*/ 72390 h 304800"/>
              <a:gd name="connsiteX42" fmla="*/ 128588 w 209550"/>
              <a:gd name="connsiteY42" fmla="*/ 72390 h 304800"/>
              <a:gd name="connsiteX43" fmla="*/ 128588 w 209550"/>
              <a:gd name="connsiteY43" fmla="*/ 59055 h 304800"/>
              <a:gd name="connsiteX44" fmla="*/ 110490 w 209550"/>
              <a:gd name="connsiteY44" fmla="*/ 40958 h 304800"/>
              <a:gd name="connsiteX45" fmla="*/ 117158 w 209550"/>
              <a:gd name="connsiteY45" fmla="*/ 34290 h 304800"/>
              <a:gd name="connsiteX46" fmla="*/ 127635 w 209550"/>
              <a:gd name="connsiteY46" fmla="*/ 44768 h 304800"/>
              <a:gd name="connsiteX47" fmla="*/ 127635 w 209550"/>
              <a:gd name="connsiteY47" fmla="*/ 28575 h 304800"/>
              <a:gd name="connsiteX48" fmla="*/ 137160 w 209550"/>
              <a:gd name="connsiteY48" fmla="*/ 28575 h 304800"/>
              <a:gd name="connsiteX49" fmla="*/ 137160 w 209550"/>
              <a:gd name="connsiteY49" fmla="*/ 45720 h 304800"/>
              <a:gd name="connsiteX50" fmla="*/ 147638 w 209550"/>
              <a:gd name="connsiteY50" fmla="*/ 35243 h 304800"/>
              <a:gd name="connsiteX51" fmla="*/ 154305 w 209550"/>
              <a:gd name="connsiteY51" fmla="*/ 41910 h 304800"/>
              <a:gd name="connsiteX52" fmla="*/ 136208 w 209550"/>
              <a:gd name="connsiteY52" fmla="*/ 60008 h 304800"/>
              <a:gd name="connsiteX53" fmla="*/ 136208 w 209550"/>
              <a:gd name="connsiteY53" fmla="*/ 72390 h 304800"/>
              <a:gd name="connsiteX54" fmla="*/ 148590 w 209550"/>
              <a:gd name="connsiteY54" fmla="*/ 72390 h 304800"/>
              <a:gd name="connsiteX55" fmla="*/ 166688 w 209550"/>
              <a:gd name="connsiteY55" fmla="*/ 54293 h 304800"/>
              <a:gd name="connsiteX56" fmla="*/ 173355 w 209550"/>
              <a:gd name="connsiteY56" fmla="*/ 60960 h 304800"/>
              <a:gd name="connsiteX57" fmla="*/ 162878 w 209550"/>
              <a:gd name="connsiteY57" fmla="*/ 71438 h 304800"/>
              <a:gd name="connsiteX58" fmla="*/ 180975 w 209550"/>
              <a:gd name="connsiteY58" fmla="*/ 71438 h 304800"/>
              <a:gd name="connsiteX59" fmla="*/ 180975 w 209550"/>
              <a:gd name="connsiteY59" fmla="*/ 80963 h 304800"/>
              <a:gd name="connsiteX60" fmla="*/ 180975 w 209550"/>
              <a:gd name="connsiteY60" fmla="*/ 185738 h 304800"/>
              <a:gd name="connsiteX61" fmla="*/ 163830 w 209550"/>
              <a:gd name="connsiteY61" fmla="*/ 185738 h 304800"/>
              <a:gd name="connsiteX62" fmla="*/ 174308 w 209550"/>
              <a:gd name="connsiteY62" fmla="*/ 196215 h 304800"/>
              <a:gd name="connsiteX63" fmla="*/ 167640 w 209550"/>
              <a:gd name="connsiteY63" fmla="*/ 202883 h 304800"/>
              <a:gd name="connsiteX64" fmla="*/ 149543 w 209550"/>
              <a:gd name="connsiteY64" fmla="*/ 184785 h 304800"/>
              <a:gd name="connsiteX65" fmla="*/ 137160 w 209550"/>
              <a:gd name="connsiteY65" fmla="*/ 184785 h 304800"/>
              <a:gd name="connsiteX66" fmla="*/ 137160 w 209550"/>
              <a:gd name="connsiteY66" fmla="*/ 197168 h 304800"/>
              <a:gd name="connsiteX67" fmla="*/ 155258 w 209550"/>
              <a:gd name="connsiteY67" fmla="*/ 215265 h 304800"/>
              <a:gd name="connsiteX68" fmla="*/ 148590 w 209550"/>
              <a:gd name="connsiteY68" fmla="*/ 221933 h 304800"/>
              <a:gd name="connsiteX69" fmla="*/ 138113 w 209550"/>
              <a:gd name="connsiteY69" fmla="*/ 211455 h 304800"/>
              <a:gd name="connsiteX70" fmla="*/ 138113 w 209550"/>
              <a:gd name="connsiteY70" fmla="*/ 228600 h 304800"/>
              <a:gd name="connsiteX71" fmla="*/ 128588 w 209550"/>
              <a:gd name="connsiteY71" fmla="*/ 228600 h 304800"/>
              <a:gd name="connsiteX72" fmla="*/ 128588 w 209550"/>
              <a:gd name="connsiteY72" fmla="*/ 211455 h 304800"/>
              <a:gd name="connsiteX73" fmla="*/ 118110 w 209550"/>
              <a:gd name="connsiteY73" fmla="*/ 221933 h 304800"/>
              <a:gd name="connsiteX74" fmla="*/ 111443 w 209550"/>
              <a:gd name="connsiteY74" fmla="*/ 215265 h 304800"/>
              <a:gd name="connsiteX75" fmla="*/ 129540 w 209550"/>
              <a:gd name="connsiteY75" fmla="*/ 197168 h 304800"/>
              <a:gd name="connsiteX76" fmla="*/ 129540 w 209550"/>
              <a:gd name="connsiteY76" fmla="*/ 184785 h 304800"/>
              <a:gd name="connsiteX77" fmla="*/ 117158 w 209550"/>
              <a:gd name="connsiteY77" fmla="*/ 184785 h 304800"/>
              <a:gd name="connsiteX78" fmla="*/ 99060 w 209550"/>
              <a:gd name="connsiteY78" fmla="*/ 202883 h 304800"/>
              <a:gd name="connsiteX79" fmla="*/ 92393 w 209550"/>
              <a:gd name="connsiteY79" fmla="*/ 196215 h 304800"/>
              <a:gd name="connsiteX80" fmla="*/ 102870 w 209550"/>
              <a:gd name="connsiteY80" fmla="*/ 185738 h 304800"/>
              <a:gd name="connsiteX81" fmla="*/ 85725 w 209550"/>
              <a:gd name="connsiteY81" fmla="*/ 185738 h 304800"/>
              <a:gd name="connsiteX82" fmla="*/ 85725 w 209550"/>
              <a:gd name="connsiteY82" fmla="*/ 176213 h 304800"/>
              <a:gd name="connsiteX83" fmla="*/ 102870 w 209550"/>
              <a:gd name="connsiteY83" fmla="*/ 176213 h 304800"/>
              <a:gd name="connsiteX84" fmla="*/ 92393 w 209550"/>
              <a:gd name="connsiteY84" fmla="*/ 165735 h 304800"/>
              <a:gd name="connsiteX85" fmla="*/ 99060 w 209550"/>
              <a:gd name="connsiteY85" fmla="*/ 159068 h 304800"/>
              <a:gd name="connsiteX86" fmla="*/ 117158 w 209550"/>
              <a:gd name="connsiteY86" fmla="*/ 177165 h 304800"/>
              <a:gd name="connsiteX87" fmla="*/ 129540 w 209550"/>
              <a:gd name="connsiteY87" fmla="*/ 177165 h 304800"/>
              <a:gd name="connsiteX88" fmla="*/ 129540 w 209550"/>
              <a:gd name="connsiteY88" fmla="*/ 164783 h 304800"/>
              <a:gd name="connsiteX89" fmla="*/ 111443 w 209550"/>
              <a:gd name="connsiteY89" fmla="*/ 146685 h 304800"/>
              <a:gd name="connsiteX90" fmla="*/ 118110 w 209550"/>
              <a:gd name="connsiteY90" fmla="*/ 140018 h 304800"/>
              <a:gd name="connsiteX91" fmla="*/ 128588 w 209550"/>
              <a:gd name="connsiteY91" fmla="*/ 150495 h 304800"/>
              <a:gd name="connsiteX92" fmla="*/ 128588 w 209550"/>
              <a:gd name="connsiteY92" fmla="*/ 133350 h 304800"/>
              <a:gd name="connsiteX93" fmla="*/ 138113 w 209550"/>
              <a:gd name="connsiteY93" fmla="*/ 133350 h 304800"/>
              <a:gd name="connsiteX94" fmla="*/ 138113 w 209550"/>
              <a:gd name="connsiteY94" fmla="*/ 150495 h 304800"/>
              <a:gd name="connsiteX95" fmla="*/ 148590 w 209550"/>
              <a:gd name="connsiteY95" fmla="*/ 140018 h 304800"/>
              <a:gd name="connsiteX96" fmla="*/ 155258 w 209550"/>
              <a:gd name="connsiteY96" fmla="*/ 146685 h 304800"/>
              <a:gd name="connsiteX97" fmla="*/ 137160 w 209550"/>
              <a:gd name="connsiteY97" fmla="*/ 164783 h 304800"/>
              <a:gd name="connsiteX98" fmla="*/ 137160 w 209550"/>
              <a:gd name="connsiteY98" fmla="*/ 177165 h 304800"/>
              <a:gd name="connsiteX99" fmla="*/ 149543 w 209550"/>
              <a:gd name="connsiteY99" fmla="*/ 177165 h 304800"/>
              <a:gd name="connsiteX100" fmla="*/ 167640 w 209550"/>
              <a:gd name="connsiteY100" fmla="*/ 159068 h 304800"/>
              <a:gd name="connsiteX101" fmla="*/ 174308 w 209550"/>
              <a:gd name="connsiteY101" fmla="*/ 165735 h 304800"/>
              <a:gd name="connsiteX102" fmla="*/ 163830 w 209550"/>
              <a:gd name="connsiteY102" fmla="*/ 176213 h 304800"/>
              <a:gd name="connsiteX103" fmla="*/ 180975 w 209550"/>
              <a:gd name="connsiteY103" fmla="*/ 176213 h 304800"/>
              <a:gd name="connsiteX104" fmla="*/ 180975 w 209550"/>
              <a:gd name="connsiteY104" fmla="*/ 18573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209550" h="304800">
                <a:moveTo>
                  <a:pt x="209550" y="304800"/>
                </a:moveTo>
                <a:lnTo>
                  <a:pt x="0" y="304800"/>
                </a:lnTo>
                <a:lnTo>
                  <a:pt x="0" y="0"/>
                </a:lnTo>
                <a:lnTo>
                  <a:pt x="209550" y="0"/>
                </a:lnTo>
                <a:lnTo>
                  <a:pt x="209550" y="304800"/>
                </a:lnTo>
                <a:close/>
                <a:moveTo>
                  <a:pt x="19050" y="285750"/>
                </a:moveTo>
                <a:lnTo>
                  <a:pt x="190500" y="285750"/>
                </a:lnTo>
                <a:lnTo>
                  <a:pt x="190500" y="19050"/>
                </a:lnTo>
                <a:lnTo>
                  <a:pt x="19050" y="19050"/>
                </a:lnTo>
                <a:lnTo>
                  <a:pt x="19050" y="285750"/>
                </a:lnTo>
                <a:close/>
                <a:moveTo>
                  <a:pt x="57150" y="71438"/>
                </a:moveTo>
                <a:lnTo>
                  <a:pt x="38100" y="71438"/>
                </a:lnTo>
                <a:lnTo>
                  <a:pt x="38100" y="133350"/>
                </a:lnTo>
                <a:lnTo>
                  <a:pt x="57150" y="133350"/>
                </a:lnTo>
                <a:lnTo>
                  <a:pt x="57150" y="71438"/>
                </a:lnTo>
                <a:close/>
                <a:moveTo>
                  <a:pt x="180975" y="80963"/>
                </a:moveTo>
                <a:lnTo>
                  <a:pt x="163830" y="80963"/>
                </a:lnTo>
                <a:lnTo>
                  <a:pt x="174308" y="91440"/>
                </a:lnTo>
                <a:lnTo>
                  <a:pt x="167640" y="98108"/>
                </a:lnTo>
                <a:lnTo>
                  <a:pt x="149543" y="80010"/>
                </a:lnTo>
                <a:lnTo>
                  <a:pt x="137160" y="80010"/>
                </a:lnTo>
                <a:lnTo>
                  <a:pt x="137160" y="92393"/>
                </a:lnTo>
                <a:lnTo>
                  <a:pt x="155258" y="110490"/>
                </a:lnTo>
                <a:lnTo>
                  <a:pt x="148590" y="117158"/>
                </a:lnTo>
                <a:lnTo>
                  <a:pt x="138113" y="106680"/>
                </a:lnTo>
                <a:lnTo>
                  <a:pt x="138113" y="123825"/>
                </a:lnTo>
                <a:lnTo>
                  <a:pt x="128588" y="123825"/>
                </a:lnTo>
                <a:lnTo>
                  <a:pt x="128588" y="106680"/>
                </a:lnTo>
                <a:lnTo>
                  <a:pt x="118110" y="117158"/>
                </a:lnTo>
                <a:lnTo>
                  <a:pt x="111443" y="110490"/>
                </a:lnTo>
                <a:lnTo>
                  <a:pt x="129540" y="92393"/>
                </a:lnTo>
                <a:lnTo>
                  <a:pt x="129540" y="80963"/>
                </a:lnTo>
                <a:lnTo>
                  <a:pt x="117158" y="80963"/>
                </a:lnTo>
                <a:lnTo>
                  <a:pt x="99060" y="99060"/>
                </a:lnTo>
                <a:lnTo>
                  <a:pt x="91440" y="91440"/>
                </a:lnTo>
                <a:lnTo>
                  <a:pt x="101918" y="80963"/>
                </a:lnTo>
                <a:lnTo>
                  <a:pt x="85725" y="80963"/>
                </a:lnTo>
                <a:lnTo>
                  <a:pt x="85725" y="71438"/>
                </a:lnTo>
                <a:lnTo>
                  <a:pt x="102870" y="71438"/>
                </a:lnTo>
                <a:lnTo>
                  <a:pt x="91440" y="60960"/>
                </a:lnTo>
                <a:lnTo>
                  <a:pt x="98108" y="54293"/>
                </a:lnTo>
                <a:lnTo>
                  <a:pt x="116205" y="72390"/>
                </a:lnTo>
                <a:lnTo>
                  <a:pt x="128588" y="72390"/>
                </a:lnTo>
                <a:lnTo>
                  <a:pt x="128588" y="59055"/>
                </a:lnTo>
                <a:lnTo>
                  <a:pt x="110490" y="40958"/>
                </a:lnTo>
                <a:lnTo>
                  <a:pt x="117158" y="34290"/>
                </a:lnTo>
                <a:lnTo>
                  <a:pt x="127635" y="44768"/>
                </a:lnTo>
                <a:lnTo>
                  <a:pt x="127635" y="28575"/>
                </a:lnTo>
                <a:lnTo>
                  <a:pt x="137160" y="28575"/>
                </a:lnTo>
                <a:lnTo>
                  <a:pt x="137160" y="45720"/>
                </a:lnTo>
                <a:lnTo>
                  <a:pt x="147638" y="35243"/>
                </a:lnTo>
                <a:lnTo>
                  <a:pt x="154305" y="41910"/>
                </a:lnTo>
                <a:lnTo>
                  <a:pt x="136208" y="60008"/>
                </a:lnTo>
                <a:lnTo>
                  <a:pt x="136208" y="72390"/>
                </a:lnTo>
                <a:lnTo>
                  <a:pt x="148590" y="72390"/>
                </a:lnTo>
                <a:lnTo>
                  <a:pt x="166688" y="54293"/>
                </a:lnTo>
                <a:lnTo>
                  <a:pt x="173355" y="60960"/>
                </a:lnTo>
                <a:lnTo>
                  <a:pt x="162878" y="71438"/>
                </a:lnTo>
                <a:lnTo>
                  <a:pt x="180975" y="71438"/>
                </a:lnTo>
                <a:lnTo>
                  <a:pt x="180975" y="80963"/>
                </a:lnTo>
                <a:close/>
                <a:moveTo>
                  <a:pt x="180975" y="185738"/>
                </a:moveTo>
                <a:lnTo>
                  <a:pt x="163830" y="185738"/>
                </a:lnTo>
                <a:lnTo>
                  <a:pt x="174308" y="196215"/>
                </a:lnTo>
                <a:lnTo>
                  <a:pt x="167640" y="202883"/>
                </a:lnTo>
                <a:lnTo>
                  <a:pt x="149543" y="184785"/>
                </a:lnTo>
                <a:lnTo>
                  <a:pt x="137160" y="184785"/>
                </a:lnTo>
                <a:lnTo>
                  <a:pt x="137160" y="197168"/>
                </a:lnTo>
                <a:lnTo>
                  <a:pt x="155258" y="215265"/>
                </a:lnTo>
                <a:lnTo>
                  <a:pt x="148590" y="221933"/>
                </a:lnTo>
                <a:lnTo>
                  <a:pt x="138113" y="211455"/>
                </a:lnTo>
                <a:lnTo>
                  <a:pt x="138113" y="228600"/>
                </a:lnTo>
                <a:lnTo>
                  <a:pt x="128588" y="228600"/>
                </a:lnTo>
                <a:lnTo>
                  <a:pt x="128588" y="211455"/>
                </a:lnTo>
                <a:lnTo>
                  <a:pt x="118110" y="221933"/>
                </a:lnTo>
                <a:lnTo>
                  <a:pt x="111443" y="215265"/>
                </a:lnTo>
                <a:lnTo>
                  <a:pt x="129540" y="197168"/>
                </a:lnTo>
                <a:lnTo>
                  <a:pt x="129540" y="184785"/>
                </a:lnTo>
                <a:lnTo>
                  <a:pt x="117158" y="184785"/>
                </a:lnTo>
                <a:lnTo>
                  <a:pt x="99060" y="202883"/>
                </a:lnTo>
                <a:lnTo>
                  <a:pt x="92393" y="196215"/>
                </a:lnTo>
                <a:lnTo>
                  <a:pt x="102870" y="185738"/>
                </a:lnTo>
                <a:lnTo>
                  <a:pt x="85725" y="185738"/>
                </a:lnTo>
                <a:lnTo>
                  <a:pt x="85725" y="176213"/>
                </a:lnTo>
                <a:lnTo>
                  <a:pt x="102870" y="176213"/>
                </a:lnTo>
                <a:lnTo>
                  <a:pt x="92393" y="165735"/>
                </a:lnTo>
                <a:lnTo>
                  <a:pt x="99060" y="159068"/>
                </a:lnTo>
                <a:lnTo>
                  <a:pt x="117158" y="177165"/>
                </a:lnTo>
                <a:lnTo>
                  <a:pt x="129540" y="177165"/>
                </a:lnTo>
                <a:lnTo>
                  <a:pt x="129540" y="164783"/>
                </a:lnTo>
                <a:lnTo>
                  <a:pt x="111443" y="146685"/>
                </a:lnTo>
                <a:lnTo>
                  <a:pt x="118110" y="140018"/>
                </a:lnTo>
                <a:lnTo>
                  <a:pt x="128588" y="150495"/>
                </a:lnTo>
                <a:lnTo>
                  <a:pt x="128588" y="133350"/>
                </a:lnTo>
                <a:lnTo>
                  <a:pt x="138113" y="133350"/>
                </a:lnTo>
                <a:lnTo>
                  <a:pt x="138113" y="150495"/>
                </a:lnTo>
                <a:lnTo>
                  <a:pt x="148590" y="140018"/>
                </a:lnTo>
                <a:lnTo>
                  <a:pt x="155258" y="146685"/>
                </a:lnTo>
                <a:lnTo>
                  <a:pt x="137160" y="164783"/>
                </a:lnTo>
                <a:lnTo>
                  <a:pt x="137160" y="177165"/>
                </a:lnTo>
                <a:lnTo>
                  <a:pt x="149543" y="177165"/>
                </a:lnTo>
                <a:lnTo>
                  <a:pt x="167640" y="159068"/>
                </a:lnTo>
                <a:lnTo>
                  <a:pt x="174308" y="165735"/>
                </a:lnTo>
                <a:lnTo>
                  <a:pt x="163830" y="176213"/>
                </a:lnTo>
                <a:lnTo>
                  <a:pt x="180975" y="176213"/>
                </a:lnTo>
                <a:lnTo>
                  <a:pt x="180975" y="185738"/>
                </a:lnTo>
                <a:close/>
              </a:path>
            </a:pathLst>
          </a:custGeom>
          <a:solidFill>
            <a:schemeClr val="tx2"/>
          </a:solidFill>
          <a:ln w="9525" cap="flat">
            <a:noFill/>
            <a:prstDash val="solid"/>
            <a:miter/>
          </a:ln>
        </p:spPr>
        <p:txBody>
          <a:bodyPr rtlCol="0" anchor="ctr"/>
          <a:lstStyle/>
          <a:p>
            <a:endParaRPr lang="en-GB"/>
          </a:p>
        </p:txBody>
      </p:sp>
      <p:sp>
        <p:nvSpPr>
          <p:cNvPr id="248" name="Freeform: Shape 247">
            <a:extLst>
              <a:ext uri="{FF2B5EF4-FFF2-40B4-BE49-F238E27FC236}">
                <a16:creationId xmlns:a16="http://schemas.microsoft.com/office/drawing/2014/main" id="{F08CF14A-24FF-4A54-8305-6D587EB68EDD}"/>
              </a:ext>
            </a:extLst>
          </p:cNvPr>
          <p:cNvSpPr/>
          <p:nvPr/>
        </p:nvSpPr>
        <p:spPr>
          <a:xfrm>
            <a:off x="8186512" y="3282520"/>
            <a:ext cx="325290" cy="325290"/>
          </a:xfrm>
          <a:custGeom>
            <a:avLst/>
            <a:gdLst>
              <a:gd name="connsiteX0" fmla="*/ 0 w 304800"/>
              <a:gd name="connsiteY0" fmla="*/ 0 h 304800"/>
              <a:gd name="connsiteX1" fmla="*/ 0 w 304800"/>
              <a:gd name="connsiteY1" fmla="*/ 304800 h 304800"/>
              <a:gd name="connsiteX2" fmla="*/ 304800 w 304800"/>
              <a:gd name="connsiteY2" fmla="*/ 304800 h 304800"/>
              <a:gd name="connsiteX3" fmla="*/ 304800 w 304800"/>
              <a:gd name="connsiteY3" fmla="*/ 0 h 304800"/>
              <a:gd name="connsiteX4" fmla="*/ 0 w 304800"/>
              <a:gd name="connsiteY4" fmla="*/ 0 h 304800"/>
              <a:gd name="connsiteX5" fmla="*/ 57150 w 304800"/>
              <a:gd name="connsiteY5" fmla="*/ 285750 h 304800"/>
              <a:gd name="connsiteX6" fmla="*/ 57150 w 304800"/>
              <a:gd name="connsiteY6" fmla="*/ 219075 h 304800"/>
              <a:gd name="connsiteX7" fmla="*/ 76200 w 304800"/>
              <a:gd name="connsiteY7" fmla="*/ 219075 h 304800"/>
              <a:gd name="connsiteX8" fmla="*/ 76200 w 304800"/>
              <a:gd name="connsiteY8" fmla="*/ 200025 h 304800"/>
              <a:gd name="connsiteX9" fmla="*/ 57150 w 304800"/>
              <a:gd name="connsiteY9" fmla="*/ 200025 h 304800"/>
              <a:gd name="connsiteX10" fmla="*/ 57150 w 304800"/>
              <a:gd name="connsiteY10" fmla="*/ 133350 h 304800"/>
              <a:gd name="connsiteX11" fmla="*/ 123825 w 304800"/>
              <a:gd name="connsiteY11" fmla="*/ 133350 h 304800"/>
              <a:gd name="connsiteX12" fmla="*/ 123825 w 304800"/>
              <a:gd name="connsiteY12" fmla="*/ 285750 h 304800"/>
              <a:gd name="connsiteX13" fmla="*/ 57150 w 304800"/>
              <a:gd name="connsiteY13" fmla="*/ 285750 h 304800"/>
              <a:gd name="connsiteX14" fmla="*/ 285750 w 304800"/>
              <a:gd name="connsiteY14" fmla="*/ 285750 h 304800"/>
              <a:gd name="connsiteX15" fmla="*/ 142875 w 304800"/>
              <a:gd name="connsiteY15" fmla="*/ 285750 h 304800"/>
              <a:gd name="connsiteX16" fmla="*/ 142875 w 304800"/>
              <a:gd name="connsiteY16" fmla="*/ 114300 h 304800"/>
              <a:gd name="connsiteX17" fmla="*/ 38100 w 304800"/>
              <a:gd name="connsiteY17" fmla="*/ 114300 h 304800"/>
              <a:gd name="connsiteX18" fmla="*/ 38100 w 304800"/>
              <a:gd name="connsiteY18" fmla="*/ 285750 h 304800"/>
              <a:gd name="connsiteX19" fmla="*/ 19050 w 304800"/>
              <a:gd name="connsiteY19" fmla="*/ 285750 h 304800"/>
              <a:gd name="connsiteX20" fmla="*/ 19050 w 304800"/>
              <a:gd name="connsiteY20" fmla="*/ 19050 h 304800"/>
              <a:gd name="connsiteX21" fmla="*/ 285750 w 304800"/>
              <a:gd name="connsiteY21" fmla="*/ 19050 h 304800"/>
              <a:gd name="connsiteX22" fmla="*/ 285750 w 304800"/>
              <a:gd name="connsiteY22" fmla="*/ 285750 h 304800"/>
              <a:gd name="connsiteX23" fmla="*/ 276225 w 304800"/>
              <a:gd name="connsiteY23" fmla="*/ 80963 h 304800"/>
              <a:gd name="connsiteX24" fmla="*/ 259080 w 304800"/>
              <a:gd name="connsiteY24" fmla="*/ 80963 h 304800"/>
              <a:gd name="connsiteX25" fmla="*/ 269558 w 304800"/>
              <a:gd name="connsiteY25" fmla="*/ 91440 h 304800"/>
              <a:gd name="connsiteX26" fmla="*/ 262890 w 304800"/>
              <a:gd name="connsiteY26" fmla="*/ 98108 h 304800"/>
              <a:gd name="connsiteX27" fmla="*/ 244793 w 304800"/>
              <a:gd name="connsiteY27" fmla="*/ 80010 h 304800"/>
              <a:gd name="connsiteX28" fmla="*/ 232410 w 304800"/>
              <a:gd name="connsiteY28" fmla="*/ 80010 h 304800"/>
              <a:gd name="connsiteX29" fmla="*/ 232410 w 304800"/>
              <a:gd name="connsiteY29" fmla="*/ 92393 h 304800"/>
              <a:gd name="connsiteX30" fmla="*/ 250508 w 304800"/>
              <a:gd name="connsiteY30" fmla="*/ 110490 h 304800"/>
              <a:gd name="connsiteX31" fmla="*/ 243840 w 304800"/>
              <a:gd name="connsiteY31" fmla="*/ 117158 h 304800"/>
              <a:gd name="connsiteX32" fmla="*/ 233363 w 304800"/>
              <a:gd name="connsiteY32" fmla="*/ 106680 h 304800"/>
              <a:gd name="connsiteX33" fmla="*/ 233363 w 304800"/>
              <a:gd name="connsiteY33" fmla="*/ 123825 h 304800"/>
              <a:gd name="connsiteX34" fmla="*/ 223838 w 304800"/>
              <a:gd name="connsiteY34" fmla="*/ 123825 h 304800"/>
              <a:gd name="connsiteX35" fmla="*/ 223838 w 304800"/>
              <a:gd name="connsiteY35" fmla="*/ 106680 h 304800"/>
              <a:gd name="connsiteX36" fmla="*/ 213360 w 304800"/>
              <a:gd name="connsiteY36" fmla="*/ 117158 h 304800"/>
              <a:gd name="connsiteX37" fmla="*/ 206693 w 304800"/>
              <a:gd name="connsiteY37" fmla="*/ 110490 h 304800"/>
              <a:gd name="connsiteX38" fmla="*/ 224790 w 304800"/>
              <a:gd name="connsiteY38" fmla="*/ 92393 h 304800"/>
              <a:gd name="connsiteX39" fmla="*/ 224790 w 304800"/>
              <a:gd name="connsiteY39" fmla="*/ 80963 h 304800"/>
              <a:gd name="connsiteX40" fmla="*/ 212408 w 304800"/>
              <a:gd name="connsiteY40" fmla="*/ 80963 h 304800"/>
              <a:gd name="connsiteX41" fmla="*/ 194310 w 304800"/>
              <a:gd name="connsiteY41" fmla="*/ 99060 h 304800"/>
              <a:gd name="connsiteX42" fmla="*/ 187643 w 304800"/>
              <a:gd name="connsiteY42" fmla="*/ 92393 h 304800"/>
              <a:gd name="connsiteX43" fmla="*/ 198120 w 304800"/>
              <a:gd name="connsiteY43" fmla="*/ 81915 h 304800"/>
              <a:gd name="connsiteX44" fmla="*/ 180975 w 304800"/>
              <a:gd name="connsiteY44" fmla="*/ 81915 h 304800"/>
              <a:gd name="connsiteX45" fmla="*/ 180975 w 304800"/>
              <a:gd name="connsiteY45" fmla="*/ 72390 h 304800"/>
              <a:gd name="connsiteX46" fmla="*/ 198120 w 304800"/>
              <a:gd name="connsiteY46" fmla="*/ 72390 h 304800"/>
              <a:gd name="connsiteX47" fmla="*/ 187643 w 304800"/>
              <a:gd name="connsiteY47" fmla="*/ 61913 h 304800"/>
              <a:gd name="connsiteX48" fmla="*/ 194310 w 304800"/>
              <a:gd name="connsiteY48" fmla="*/ 55245 h 304800"/>
              <a:gd name="connsiteX49" fmla="*/ 212408 w 304800"/>
              <a:gd name="connsiteY49" fmla="*/ 73343 h 304800"/>
              <a:gd name="connsiteX50" fmla="*/ 224790 w 304800"/>
              <a:gd name="connsiteY50" fmla="*/ 73343 h 304800"/>
              <a:gd name="connsiteX51" fmla="*/ 224790 w 304800"/>
              <a:gd name="connsiteY51" fmla="*/ 59055 h 304800"/>
              <a:gd name="connsiteX52" fmla="*/ 206693 w 304800"/>
              <a:gd name="connsiteY52" fmla="*/ 40958 h 304800"/>
              <a:gd name="connsiteX53" fmla="*/ 213360 w 304800"/>
              <a:gd name="connsiteY53" fmla="*/ 34290 h 304800"/>
              <a:gd name="connsiteX54" fmla="*/ 223838 w 304800"/>
              <a:gd name="connsiteY54" fmla="*/ 44768 h 304800"/>
              <a:gd name="connsiteX55" fmla="*/ 223838 w 304800"/>
              <a:gd name="connsiteY55" fmla="*/ 28575 h 304800"/>
              <a:gd name="connsiteX56" fmla="*/ 233363 w 304800"/>
              <a:gd name="connsiteY56" fmla="*/ 28575 h 304800"/>
              <a:gd name="connsiteX57" fmla="*/ 233363 w 304800"/>
              <a:gd name="connsiteY57" fmla="*/ 45720 h 304800"/>
              <a:gd name="connsiteX58" fmla="*/ 243840 w 304800"/>
              <a:gd name="connsiteY58" fmla="*/ 35243 h 304800"/>
              <a:gd name="connsiteX59" fmla="*/ 250508 w 304800"/>
              <a:gd name="connsiteY59" fmla="*/ 41910 h 304800"/>
              <a:gd name="connsiteX60" fmla="*/ 232410 w 304800"/>
              <a:gd name="connsiteY60" fmla="*/ 60008 h 304800"/>
              <a:gd name="connsiteX61" fmla="*/ 232410 w 304800"/>
              <a:gd name="connsiteY61" fmla="*/ 72390 h 304800"/>
              <a:gd name="connsiteX62" fmla="*/ 244793 w 304800"/>
              <a:gd name="connsiteY62" fmla="*/ 72390 h 304800"/>
              <a:gd name="connsiteX63" fmla="*/ 262890 w 304800"/>
              <a:gd name="connsiteY63" fmla="*/ 54293 h 304800"/>
              <a:gd name="connsiteX64" fmla="*/ 269558 w 304800"/>
              <a:gd name="connsiteY64" fmla="*/ 60960 h 304800"/>
              <a:gd name="connsiteX65" fmla="*/ 259080 w 304800"/>
              <a:gd name="connsiteY65" fmla="*/ 71438 h 304800"/>
              <a:gd name="connsiteX66" fmla="*/ 276225 w 304800"/>
              <a:gd name="connsiteY66" fmla="*/ 71438 h 304800"/>
              <a:gd name="connsiteX67" fmla="*/ 276225 w 304800"/>
              <a:gd name="connsiteY67" fmla="*/ 80963 h 304800"/>
              <a:gd name="connsiteX68" fmla="*/ 276225 w 304800"/>
              <a:gd name="connsiteY68" fmla="*/ 185738 h 304800"/>
              <a:gd name="connsiteX69" fmla="*/ 259080 w 304800"/>
              <a:gd name="connsiteY69" fmla="*/ 185738 h 304800"/>
              <a:gd name="connsiteX70" fmla="*/ 269558 w 304800"/>
              <a:gd name="connsiteY70" fmla="*/ 196215 h 304800"/>
              <a:gd name="connsiteX71" fmla="*/ 262890 w 304800"/>
              <a:gd name="connsiteY71" fmla="*/ 202883 h 304800"/>
              <a:gd name="connsiteX72" fmla="*/ 244793 w 304800"/>
              <a:gd name="connsiteY72" fmla="*/ 184785 h 304800"/>
              <a:gd name="connsiteX73" fmla="*/ 232410 w 304800"/>
              <a:gd name="connsiteY73" fmla="*/ 184785 h 304800"/>
              <a:gd name="connsiteX74" fmla="*/ 232410 w 304800"/>
              <a:gd name="connsiteY74" fmla="*/ 197168 h 304800"/>
              <a:gd name="connsiteX75" fmla="*/ 250508 w 304800"/>
              <a:gd name="connsiteY75" fmla="*/ 215265 h 304800"/>
              <a:gd name="connsiteX76" fmla="*/ 243840 w 304800"/>
              <a:gd name="connsiteY76" fmla="*/ 221933 h 304800"/>
              <a:gd name="connsiteX77" fmla="*/ 233363 w 304800"/>
              <a:gd name="connsiteY77" fmla="*/ 211455 h 304800"/>
              <a:gd name="connsiteX78" fmla="*/ 233363 w 304800"/>
              <a:gd name="connsiteY78" fmla="*/ 228600 h 304800"/>
              <a:gd name="connsiteX79" fmla="*/ 223838 w 304800"/>
              <a:gd name="connsiteY79" fmla="*/ 228600 h 304800"/>
              <a:gd name="connsiteX80" fmla="*/ 223838 w 304800"/>
              <a:gd name="connsiteY80" fmla="*/ 211455 h 304800"/>
              <a:gd name="connsiteX81" fmla="*/ 213360 w 304800"/>
              <a:gd name="connsiteY81" fmla="*/ 221933 h 304800"/>
              <a:gd name="connsiteX82" fmla="*/ 206693 w 304800"/>
              <a:gd name="connsiteY82" fmla="*/ 215265 h 304800"/>
              <a:gd name="connsiteX83" fmla="*/ 224790 w 304800"/>
              <a:gd name="connsiteY83" fmla="*/ 197168 h 304800"/>
              <a:gd name="connsiteX84" fmla="*/ 224790 w 304800"/>
              <a:gd name="connsiteY84" fmla="*/ 184785 h 304800"/>
              <a:gd name="connsiteX85" fmla="*/ 212408 w 304800"/>
              <a:gd name="connsiteY85" fmla="*/ 184785 h 304800"/>
              <a:gd name="connsiteX86" fmla="*/ 194310 w 304800"/>
              <a:gd name="connsiteY86" fmla="*/ 202883 h 304800"/>
              <a:gd name="connsiteX87" fmla="*/ 187643 w 304800"/>
              <a:gd name="connsiteY87" fmla="*/ 196215 h 304800"/>
              <a:gd name="connsiteX88" fmla="*/ 198120 w 304800"/>
              <a:gd name="connsiteY88" fmla="*/ 185738 h 304800"/>
              <a:gd name="connsiteX89" fmla="*/ 180975 w 304800"/>
              <a:gd name="connsiteY89" fmla="*/ 185738 h 304800"/>
              <a:gd name="connsiteX90" fmla="*/ 180975 w 304800"/>
              <a:gd name="connsiteY90" fmla="*/ 176213 h 304800"/>
              <a:gd name="connsiteX91" fmla="*/ 198120 w 304800"/>
              <a:gd name="connsiteY91" fmla="*/ 176213 h 304800"/>
              <a:gd name="connsiteX92" fmla="*/ 187643 w 304800"/>
              <a:gd name="connsiteY92" fmla="*/ 165735 h 304800"/>
              <a:gd name="connsiteX93" fmla="*/ 194310 w 304800"/>
              <a:gd name="connsiteY93" fmla="*/ 159068 h 304800"/>
              <a:gd name="connsiteX94" fmla="*/ 212408 w 304800"/>
              <a:gd name="connsiteY94" fmla="*/ 177165 h 304800"/>
              <a:gd name="connsiteX95" fmla="*/ 224790 w 304800"/>
              <a:gd name="connsiteY95" fmla="*/ 177165 h 304800"/>
              <a:gd name="connsiteX96" fmla="*/ 224790 w 304800"/>
              <a:gd name="connsiteY96" fmla="*/ 164783 h 304800"/>
              <a:gd name="connsiteX97" fmla="*/ 206693 w 304800"/>
              <a:gd name="connsiteY97" fmla="*/ 146685 h 304800"/>
              <a:gd name="connsiteX98" fmla="*/ 213360 w 304800"/>
              <a:gd name="connsiteY98" fmla="*/ 140018 h 304800"/>
              <a:gd name="connsiteX99" fmla="*/ 223838 w 304800"/>
              <a:gd name="connsiteY99" fmla="*/ 150495 h 304800"/>
              <a:gd name="connsiteX100" fmla="*/ 223838 w 304800"/>
              <a:gd name="connsiteY100" fmla="*/ 133350 h 304800"/>
              <a:gd name="connsiteX101" fmla="*/ 233363 w 304800"/>
              <a:gd name="connsiteY101" fmla="*/ 133350 h 304800"/>
              <a:gd name="connsiteX102" fmla="*/ 233363 w 304800"/>
              <a:gd name="connsiteY102" fmla="*/ 150495 h 304800"/>
              <a:gd name="connsiteX103" fmla="*/ 243840 w 304800"/>
              <a:gd name="connsiteY103" fmla="*/ 140018 h 304800"/>
              <a:gd name="connsiteX104" fmla="*/ 250508 w 304800"/>
              <a:gd name="connsiteY104" fmla="*/ 146685 h 304800"/>
              <a:gd name="connsiteX105" fmla="*/ 232410 w 304800"/>
              <a:gd name="connsiteY105" fmla="*/ 164783 h 304800"/>
              <a:gd name="connsiteX106" fmla="*/ 232410 w 304800"/>
              <a:gd name="connsiteY106" fmla="*/ 177165 h 304800"/>
              <a:gd name="connsiteX107" fmla="*/ 244793 w 304800"/>
              <a:gd name="connsiteY107" fmla="*/ 177165 h 304800"/>
              <a:gd name="connsiteX108" fmla="*/ 262890 w 304800"/>
              <a:gd name="connsiteY108" fmla="*/ 159068 h 304800"/>
              <a:gd name="connsiteX109" fmla="*/ 269558 w 304800"/>
              <a:gd name="connsiteY109" fmla="*/ 165735 h 304800"/>
              <a:gd name="connsiteX110" fmla="*/ 259080 w 304800"/>
              <a:gd name="connsiteY110" fmla="*/ 176213 h 304800"/>
              <a:gd name="connsiteX111" fmla="*/ 276225 w 304800"/>
              <a:gd name="connsiteY111" fmla="*/ 176213 h 304800"/>
              <a:gd name="connsiteX112" fmla="*/ 276225 w 304800"/>
              <a:gd name="connsiteY112" fmla="*/ 185738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Lst>
            <a:rect l="l" t="t" r="r" b="b"/>
            <a:pathLst>
              <a:path w="304800" h="304800">
                <a:moveTo>
                  <a:pt x="0" y="0"/>
                </a:moveTo>
                <a:lnTo>
                  <a:pt x="0" y="304800"/>
                </a:lnTo>
                <a:lnTo>
                  <a:pt x="304800" y="304800"/>
                </a:lnTo>
                <a:lnTo>
                  <a:pt x="304800" y="0"/>
                </a:lnTo>
                <a:lnTo>
                  <a:pt x="0" y="0"/>
                </a:lnTo>
                <a:close/>
                <a:moveTo>
                  <a:pt x="57150" y="285750"/>
                </a:moveTo>
                <a:lnTo>
                  <a:pt x="57150" y="219075"/>
                </a:lnTo>
                <a:lnTo>
                  <a:pt x="76200" y="219075"/>
                </a:lnTo>
                <a:lnTo>
                  <a:pt x="76200" y="200025"/>
                </a:lnTo>
                <a:lnTo>
                  <a:pt x="57150" y="200025"/>
                </a:lnTo>
                <a:lnTo>
                  <a:pt x="57150" y="133350"/>
                </a:lnTo>
                <a:lnTo>
                  <a:pt x="123825" y="133350"/>
                </a:lnTo>
                <a:lnTo>
                  <a:pt x="123825" y="285750"/>
                </a:lnTo>
                <a:lnTo>
                  <a:pt x="57150" y="285750"/>
                </a:lnTo>
                <a:close/>
                <a:moveTo>
                  <a:pt x="285750" y="285750"/>
                </a:moveTo>
                <a:lnTo>
                  <a:pt x="142875" y="285750"/>
                </a:lnTo>
                <a:lnTo>
                  <a:pt x="142875" y="114300"/>
                </a:lnTo>
                <a:lnTo>
                  <a:pt x="38100" y="114300"/>
                </a:lnTo>
                <a:lnTo>
                  <a:pt x="38100" y="285750"/>
                </a:lnTo>
                <a:lnTo>
                  <a:pt x="19050" y="285750"/>
                </a:lnTo>
                <a:lnTo>
                  <a:pt x="19050" y="19050"/>
                </a:lnTo>
                <a:lnTo>
                  <a:pt x="285750" y="19050"/>
                </a:lnTo>
                <a:lnTo>
                  <a:pt x="285750" y="285750"/>
                </a:lnTo>
                <a:close/>
                <a:moveTo>
                  <a:pt x="276225" y="80963"/>
                </a:moveTo>
                <a:lnTo>
                  <a:pt x="259080" y="80963"/>
                </a:lnTo>
                <a:lnTo>
                  <a:pt x="269558" y="91440"/>
                </a:lnTo>
                <a:lnTo>
                  <a:pt x="262890" y="98108"/>
                </a:lnTo>
                <a:lnTo>
                  <a:pt x="244793" y="80010"/>
                </a:lnTo>
                <a:lnTo>
                  <a:pt x="232410" y="80010"/>
                </a:lnTo>
                <a:lnTo>
                  <a:pt x="232410" y="92393"/>
                </a:lnTo>
                <a:lnTo>
                  <a:pt x="250508" y="110490"/>
                </a:lnTo>
                <a:lnTo>
                  <a:pt x="243840" y="117158"/>
                </a:lnTo>
                <a:lnTo>
                  <a:pt x="233363" y="106680"/>
                </a:lnTo>
                <a:lnTo>
                  <a:pt x="233363" y="123825"/>
                </a:lnTo>
                <a:lnTo>
                  <a:pt x="223838" y="123825"/>
                </a:lnTo>
                <a:lnTo>
                  <a:pt x="223838" y="106680"/>
                </a:lnTo>
                <a:lnTo>
                  <a:pt x="213360" y="117158"/>
                </a:lnTo>
                <a:lnTo>
                  <a:pt x="206693" y="110490"/>
                </a:lnTo>
                <a:lnTo>
                  <a:pt x="224790" y="92393"/>
                </a:lnTo>
                <a:lnTo>
                  <a:pt x="224790" y="80963"/>
                </a:lnTo>
                <a:lnTo>
                  <a:pt x="212408" y="80963"/>
                </a:lnTo>
                <a:lnTo>
                  <a:pt x="194310" y="99060"/>
                </a:lnTo>
                <a:lnTo>
                  <a:pt x="187643" y="92393"/>
                </a:lnTo>
                <a:lnTo>
                  <a:pt x="198120" y="81915"/>
                </a:lnTo>
                <a:lnTo>
                  <a:pt x="180975" y="81915"/>
                </a:lnTo>
                <a:lnTo>
                  <a:pt x="180975" y="72390"/>
                </a:lnTo>
                <a:lnTo>
                  <a:pt x="198120" y="72390"/>
                </a:lnTo>
                <a:lnTo>
                  <a:pt x="187643" y="61913"/>
                </a:lnTo>
                <a:lnTo>
                  <a:pt x="194310" y="55245"/>
                </a:lnTo>
                <a:lnTo>
                  <a:pt x="212408" y="73343"/>
                </a:lnTo>
                <a:lnTo>
                  <a:pt x="224790" y="73343"/>
                </a:lnTo>
                <a:lnTo>
                  <a:pt x="224790" y="59055"/>
                </a:lnTo>
                <a:lnTo>
                  <a:pt x="206693" y="40958"/>
                </a:lnTo>
                <a:lnTo>
                  <a:pt x="213360" y="34290"/>
                </a:lnTo>
                <a:lnTo>
                  <a:pt x="223838" y="44768"/>
                </a:lnTo>
                <a:lnTo>
                  <a:pt x="223838" y="28575"/>
                </a:lnTo>
                <a:lnTo>
                  <a:pt x="233363" y="28575"/>
                </a:lnTo>
                <a:lnTo>
                  <a:pt x="233363" y="45720"/>
                </a:lnTo>
                <a:lnTo>
                  <a:pt x="243840" y="35243"/>
                </a:lnTo>
                <a:lnTo>
                  <a:pt x="250508" y="41910"/>
                </a:lnTo>
                <a:lnTo>
                  <a:pt x="232410" y="60008"/>
                </a:lnTo>
                <a:lnTo>
                  <a:pt x="232410" y="72390"/>
                </a:lnTo>
                <a:lnTo>
                  <a:pt x="244793" y="72390"/>
                </a:lnTo>
                <a:lnTo>
                  <a:pt x="262890" y="54293"/>
                </a:lnTo>
                <a:lnTo>
                  <a:pt x="269558" y="60960"/>
                </a:lnTo>
                <a:lnTo>
                  <a:pt x="259080" y="71438"/>
                </a:lnTo>
                <a:lnTo>
                  <a:pt x="276225" y="71438"/>
                </a:lnTo>
                <a:lnTo>
                  <a:pt x="276225" y="80963"/>
                </a:lnTo>
                <a:close/>
                <a:moveTo>
                  <a:pt x="276225" y="185738"/>
                </a:moveTo>
                <a:lnTo>
                  <a:pt x="259080" y="185738"/>
                </a:lnTo>
                <a:lnTo>
                  <a:pt x="269558" y="196215"/>
                </a:lnTo>
                <a:lnTo>
                  <a:pt x="262890" y="202883"/>
                </a:lnTo>
                <a:lnTo>
                  <a:pt x="244793" y="184785"/>
                </a:lnTo>
                <a:lnTo>
                  <a:pt x="232410" y="184785"/>
                </a:lnTo>
                <a:lnTo>
                  <a:pt x="232410" y="197168"/>
                </a:lnTo>
                <a:lnTo>
                  <a:pt x="250508" y="215265"/>
                </a:lnTo>
                <a:lnTo>
                  <a:pt x="243840" y="221933"/>
                </a:lnTo>
                <a:lnTo>
                  <a:pt x="233363" y="211455"/>
                </a:lnTo>
                <a:lnTo>
                  <a:pt x="233363" y="228600"/>
                </a:lnTo>
                <a:lnTo>
                  <a:pt x="223838" y="228600"/>
                </a:lnTo>
                <a:lnTo>
                  <a:pt x="223838" y="211455"/>
                </a:lnTo>
                <a:lnTo>
                  <a:pt x="213360" y="221933"/>
                </a:lnTo>
                <a:lnTo>
                  <a:pt x="206693" y="215265"/>
                </a:lnTo>
                <a:lnTo>
                  <a:pt x="224790" y="197168"/>
                </a:lnTo>
                <a:lnTo>
                  <a:pt x="224790" y="184785"/>
                </a:lnTo>
                <a:lnTo>
                  <a:pt x="212408" y="184785"/>
                </a:lnTo>
                <a:lnTo>
                  <a:pt x="194310" y="202883"/>
                </a:lnTo>
                <a:lnTo>
                  <a:pt x="187643" y="196215"/>
                </a:lnTo>
                <a:lnTo>
                  <a:pt x="198120" y="185738"/>
                </a:lnTo>
                <a:lnTo>
                  <a:pt x="180975" y="185738"/>
                </a:lnTo>
                <a:lnTo>
                  <a:pt x="180975" y="176213"/>
                </a:lnTo>
                <a:lnTo>
                  <a:pt x="198120" y="176213"/>
                </a:lnTo>
                <a:lnTo>
                  <a:pt x="187643" y="165735"/>
                </a:lnTo>
                <a:lnTo>
                  <a:pt x="194310" y="159068"/>
                </a:lnTo>
                <a:lnTo>
                  <a:pt x="212408" y="177165"/>
                </a:lnTo>
                <a:lnTo>
                  <a:pt x="224790" y="177165"/>
                </a:lnTo>
                <a:lnTo>
                  <a:pt x="224790" y="164783"/>
                </a:lnTo>
                <a:lnTo>
                  <a:pt x="206693" y="146685"/>
                </a:lnTo>
                <a:lnTo>
                  <a:pt x="213360" y="140018"/>
                </a:lnTo>
                <a:lnTo>
                  <a:pt x="223838" y="150495"/>
                </a:lnTo>
                <a:lnTo>
                  <a:pt x="223838" y="133350"/>
                </a:lnTo>
                <a:lnTo>
                  <a:pt x="233363" y="133350"/>
                </a:lnTo>
                <a:lnTo>
                  <a:pt x="233363" y="150495"/>
                </a:lnTo>
                <a:lnTo>
                  <a:pt x="243840" y="140018"/>
                </a:lnTo>
                <a:lnTo>
                  <a:pt x="250508" y="146685"/>
                </a:lnTo>
                <a:lnTo>
                  <a:pt x="232410" y="164783"/>
                </a:lnTo>
                <a:lnTo>
                  <a:pt x="232410" y="177165"/>
                </a:lnTo>
                <a:lnTo>
                  <a:pt x="244793" y="177165"/>
                </a:lnTo>
                <a:lnTo>
                  <a:pt x="262890" y="159068"/>
                </a:lnTo>
                <a:lnTo>
                  <a:pt x="269558" y="165735"/>
                </a:lnTo>
                <a:lnTo>
                  <a:pt x="259080" y="176213"/>
                </a:lnTo>
                <a:lnTo>
                  <a:pt x="276225" y="176213"/>
                </a:lnTo>
                <a:lnTo>
                  <a:pt x="276225" y="185738"/>
                </a:lnTo>
                <a:close/>
              </a:path>
            </a:pathLst>
          </a:custGeom>
          <a:solidFill>
            <a:schemeClr val="tx2"/>
          </a:solidFill>
          <a:ln w="9525" cap="flat">
            <a:noFill/>
            <a:prstDash val="solid"/>
            <a:miter/>
          </a:ln>
        </p:spPr>
        <p:txBody>
          <a:bodyPr rtlCol="0" anchor="ctr"/>
          <a:lstStyle/>
          <a:p>
            <a:endParaRPr lang="en-GB"/>
          </a:p>
        </p:txBody>
      </p:sp>
      <p:sp>
        <p:nvSpPr>
          <p:cNvPr id="82" name="Freeform 57">
            <a:extLst>
              <a:ext uri="{FF2B5EF4-FFF2-40B4-BE49-F238E27FC236}">
                <a16:creationId xmlns:a16="http://schemas.microsoft.com/office/drawing/2014/main" id="{CDF063F1-12AD-4500-B9C3-77F1D7E73D0C}"/>
              </a:ext>
            </a:extLst>
          </p:cNvPr>
          <p:cNvSpPr>
            <a:spLocks noEditPoints="1"/>
          </p:cNvSpPr>
          <p:nvPr/>
        </p:nvSpPr>
        <p:spPr bwMode="auto">
          <a:xfrm>
            <a:off x="586881" y="1592334"/>
            <a:ext cx="414338" cy="412750"/>
          </a:xfrm>
          <a:custGeom>
            <a:avLst/>
            <a:gdLst>
              <a:gd name="T0" fmla="*/ 16 w 261"/>
              <a:gd name="T1" fmla="*/ 171 h 260"/>
              <a:gd name="T2" fmla="*/ 49 w 261"/>
              <a:gd name="T3" fmla="*/ 171 h 260"/>
              <a:gd name="T4" fmla="*/ 49 w 261"/>
              <a:gd name="T5" fmla="*/ 16 h 260"/>
              <a:gd name="T6" fmla="*/ 65 w 261"/>
              <a:gd name="T7" fmla="*/ 16 h 260"/>
              <a:gd name="T8" fmla="*/ 65 w 261"/>
              <a:gd name="T9" fmla="*/ 171 h 260"/>
              <a:gd name="T10" fmla="*/ 122 w 261"/>
              <a:gd name="T11" fmla="*/ 171 h 260"/>
              <a:gd name="T12" fmla="*/ 122 w 261"/>
              <a:gd name="T13" fmla="*/ 95 h 260"/>
              <a:gd name="T14" fmla="*/ 245 w 261"/>
              <a:gd name="T15" fmla="*/ 167 h 260"/>
              <a:gd name="T16" fmla="*/ 245 w 261"/>
              <a:gd name="T17" fmla="*/ 244 h 260"/>
              <a:gd name="T18" fmla="*/ 16 w 261"/>
              <a:gd name="T19" fmla="*/ 244 h 260"/>
              <a:gd name="T20" fmla="*/ 16 w 261"/>
              <a:gd name="T21" fmla="*/ 171 h 260"/>
              <a:gd name="T22" fmla="*/ 82 w 261"/>
              <a:gd name="T23" fmla="*/ 0 h 260"/>
              <a:gd name="T24" fmla="*/ 33 w 261"/>
              <a:gd name="T25" fmla="*/ 0 h 260"/>
              <a:gd name="T26" fmla="*/ 33 w 261"/>
              <a:gd name="T27" fmla="*/ 154 h 260"/>
              <a:gd name="T28" fmla="*/ 0 w 261"/>
              <a:gd name="T29" fmla="*/ 154 h 260"/>
              <a:gd name="T30" fmla="*/ 0 w 261"/>
              <a:gd name="T31" fmla="*/ 260 h 260"/>
              <a:gd name="T32" fmla="*/ 261 w 261"/>
              <a:gd name="T33" fmla="*/ 260 h 260"/>
              <a:gd name="T34" fmla="*/ 261 w 261"/>
              <a:gd name="T35" fmla="*/ 158 h 260"/>
              <a:gd name="T36" fmla="*/ 106 w 261"/>
              <a:gd name="T37" fmla="*/ 67 h 260"/>
              <a:gd name="T38" fmla="*/ 106 w 261"/>
              <a:gd name="T39" fmla="*/ 154 h 260"/>
              <a:gd name="T40" fmla="*/ 82 w 261"/>
              <a:gd name="T41" fmla="*/ 154 h 260"/>
              <a:gd name="T42" fmla="*/ 82 w 261"/>
              <a:gd name="T43" fmla="*/ 0 h 260"/>
              <a:gd name="T44" fmla="*/ 228 w 261"/>
              <a:gd name="T45" fmla="*/ 203 h 260"/>
              <a:gd name="T46" fmla="*/ 228 w 261"/>
              <a:gd name="T47" fmla="*/ 187 h 260"/>
              <a:gd name="T48" fmla="*/ 33 w 261"/>
              <a:gd name="T49" fmla="*/ 187 h 260"/>
              <a:gd name="T50" fmla="*/ 33 w 261"/>
              <a:gd name="T51" fmla="*/ 203 h 260"/>
              <a:gd name="T52" fmla="*/ 228 w 261"/>
              <a:gd name="T53" fmla="*/ 203 h 260"/>
              <a:gd name="T54" fmla="*/ 228 w 261"/>
              <a:gd name="T55" fmla="*/ 211 h 260"/>
              <a:gd name="T56" fmla="*/ 33 w 261"/>
              <a:gd name="T57" fmla="*/ 211 h 260"/>
              <a:gd name="T58" fmla="*/ 33 w 261"/>
              <a:gd name="T59" fmla="*/ 227 h 260"/>
              <a:gd name="T60" fmla="*/ 228 w 261"/>
              <a:gd name="T61" fmla="*/ 227 h 260"/>
              <a:gd name="T62" fmla="*/ 228 w 261"/>
              <a:gd name="T63" fmla="*/ 211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1" h="260">
                <a:moveTo>
                  <a:pt x="16" y="171"/>
                </a:moveTo>
                <a:lnTo>
                  <a:pt x="49" y="171"/>
                </a:lnTo>
                <a:lnTo>
                  <a:pt x="49" y="16"/>
                </a:lnTo>
                <a:lnTo>
                  <a:pt x="65" y="16"/>
                </a:lnTo>
                <a:lnTo>
                  <a:pt x="65" y="171"/>
                </a:lnTo>
                <a:lnTo>
                  <a:pt x="122" y="171"/>
                </a:lnTo>
                <a:lnTo>
                  <a:pt x="122" y="95"/>
                </a:lnTo>
                <a:lnTo>
                  <a:pt x="245" y="167"/>
                </a:lnTo>
                <a:lnTo>
                  <a:pt x="245" y="244"/>
                </a:lnTo>
                <a:lnTo>
                  <a:pt x="16" y="244"/>
                </a:lnTo>
                <a:lnTo>
                  <a:pt x="16" y="171"/>
                </a:lnTo>
                <a:close/>
                <a:moveTo>
                  <a:pt x="82" y="0"/>
                </a:moveTo>
                <a:lnTo>
                  <a:pt x="33" y="0"/>
                </a:lnTo>
                <a:lnTo>
                  <a:pt x="33" y="154"/>
                </a:lnTo>
                <a:lnTo>
                  <a:pt x="0" y="154"/>
                </a:lnTo>
                <a:lnTo>
                  <a:pt x="0" y="260"/>
                </a:lnTo>
                <a:lnTo>
                  <a:pt x="261" y="260"/>
                </a:lnTo>
                <a:lnTo>
                  <a:pt x="261" y="158"/>
                </a:lnTo>
                <a:lnTo>
                  <a:pt x="106" y="67"/>
                </a:lnTo>
                <a:lnTo>
                  <a:pt x="106" y="154"/>
                </a:lnTo>
                <a:lnTo>
                  <a:pt x="82" y="154"/>
                </a:lnTo>
                <a:lnTo>
                  <a:pt x="82" y="0"/>
                </a:lnTo>
                <a:close/>
                <a:moveTo>
                  <a:pt x="228" y="203"/>
                </a:moveTo>
                <a:lnTo>
                  <a:pt x="228" y="187"/>
                </a:lnTo>
                <a:lnTo>
                  <a:pt x="33" y="187"/>
                </a:lnTo>
                <a:lnTo>
                  <a:pt x="33" y="203"/>
                </a:lnTo>
                <a:lnTo>
                  <a:pt x="228" y="203"/>
                </a:lnTo>
                <a:close/>
                <a:moveTo>
                  <a:pt x="228" y="211"/>
                </a:moveTo>
                <a:lnTo>
                  <a:pt x="33" y="211"/>
                </a:lnTo>
                <a:lnTo>
                  <a:pt x="33" y="227"/>
                </a:lnTo>
                <a:lnTo>
                  <a:pt x="228" y="227"/>
                </a:lnTo>
                <a:lnTo>
                  <a:pt x="228" y="21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797410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Objekt 36" hidden="1">
            <a:extLst>
              <a:ext uri="{FF2B5EF4-FFF2-40B4-BE49-F238E27FC236}">
                <a16:creationId xmlns:a16="http://schemas.microsoft.com/office/drawing/2014/main" id="{0E785B37-68F3-44A6-AABA-EDDFCCF4F544}"/>
              </a:ext>
            </a:extLst>
          </p:cNvPr>
          <p:cNvGraphicFramePr>
            <a:graphicFrameLocks noChangeAspect="1"/>
          </p:cNvGraphicFramePr>
          <p:nvPr>
            <p:custDataLst>
              <p:tags r:id="rId1"/>
            </p:custDataLst>
            <p:extLst>
              <p:ext uri="{D42A27DB-BD31-4B8C-83A1-F6EECF244321}">
                <p14:modId xmlns:p14="http://schemas.microsoft.com/office/powerpoint/2010/main" val="3366390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37" name="Objekt 36" hidden="1">
                        <a:extLst>
                          <a:ext uri="{FF2B5EF4-FFF2-40B4-BE49-F238E27FC236}">
                            <a16:creationId xmlns:a16="http://schemas.microsoft.com/office/drawing/2014/main" id="{0E785B37-68F3-44A6-AABA-EDDFCCF4F5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0FBEEF3-976D-4342-AAD7-0FBCA78D604F}"/>
              </a:ext>
            </a:extLst>
          </p:cNvPr>
          <p:cNvSpPr>
            <a:spLocks noGrp="1"/>
          </p:cNvSpPr>
          <p:nvPr>
            <p:ph type="sldNum" sz="quarter" idx="11"/>
          </p:nvPr>
        </p:nvSpPr>
        <p:spPr/>
        <p:txBody>
          <a:bodyPr/>
          <a:lstStyle/>
          <a:p>
            <a:fld id="{D56DB8AA-803C-49D2-90AA-1140CE72DCD7}" type="slidenum">
              <a:rPr lang="en-GB" smtClean="0"/>
              <a:pPr/>
              <a:t>8</a:t>
            </a:fld>
            <a:endParaRPr lang="en-GB" dirty="0"/>
          </a:p>
        </p:txBody>
      </p:sp>
      <p:sp>
        <p:nvSpPr>
          <p:cNvPr id="71" name="Title 38">
            <a:extLst>
              <a:ext uri="{FF2B5EF4-FFF2-40B4-BE49-F238E27FC236}">
                <a16:creationId xmlns:a16="http://schemas.microsoft.com/office/drawing/2014/main" id="{0D83F30E-46CD-DF92-1F8F-E858B5007C39}"/>
              </a:ext>
            </a:extLst>
          </p:cNvPr>
          <p:cNvSpPr>
            <a:spLocks noGrp="1"/>
          </p:cNvSpPr>
          <p:nvPr>
            <p:ph type="title"/>
          </p:nvPr>
        </p:nvSpPr>
        <p:spPr/>
        <p:txBody>
          <a:bodyPr/>
          <a:lstStyle/>
          <a:p>
            <a:r>
              <a:rPr lang="en-US" dirty="0"/>
              <a:t>Munich Re Icons 6/12</a:t>
            </a:r>
            <a:br>
              <a:rPr lang="en-US" dirty="0"/>
            </a:br>
            <a:endParaRPr lang="en-US" dirty="0"/>
          </a:p>
        </p:txBody>
      </p:sp>
      <p:sp>
        <p:nvSpPr>
          <p:cNvPr id="5" name="TextBox 4">
            <a:extLst>
              <a:ext uri="{FF2B5EF4-FFF2-40B4-BE49-F238E27FC236}">
                <a16:creationId xmlns:a16="http://schemas.microsoft.com/office/drawing/2014/main" id="{954C5538-9182-4750-A590-7DC5526743EC}"/>
              </a:ext>
            </a:extLst>
          </p:cNvPr>
          <p:cNvSpPr txBox="1"/>
          <p:nvPr/>
        </p:nvSpPr>
        <p:spPr>
          <a:xfrm>
            <a:off x="616918" y="2077494"/>
            <a:ext cx="354264" cy="107722"/>
          </a:xfrm>
          <a:prstGeom prst="rect">
            <a:avLst/>
          </a:prstGeom>
          <a:noFill/>
          <a:effectLst/>
        </p:spPr>
        <p:txBody>
          <a:bodyPr wrap="none" lIns="0" tIns="0" rIns="0" bIns="0" rtlCol="0" anchor="t">
            <a:spAutoFit/>
          </a:bodyPr>
          <a:lstStyle/>
          <a:p>
            <a:pPr algn="ctr"/>
            <a:r>
              <a:rPr lang="en-GB" sz="700" dirty="0">
                <a:solidFill>
                  <a:schemeClr val="tx2"/>
                </a:solidFill>
              </a:rPr>
              <a:t>Gateway</a:t>
            </a:r>
          </a:p>
        </p:txBody>
      </p:sp>
      <p:sp>
        <p:nvSpPr>
          <p:cNvPr id="6" name="TextBox 5">
            <a:extLst>
              <a:ext uri="{FF2B5EF4-FFF2-40B4-BE49-F238E27FC236}">
                <a16:creationId xmlns:a16="http://schemas.microsoft.com/office/drawing/2014/main" id="{91C6E549-45A0-4AD4-B5FC-90E5B121D375}"/>
              </a:ext>
            </a:extLst>
          </p:cNvPr>
          <p:cNvSpPr txBox="1"/>
          <p:nvPr/>
        </p:nvSpPr>
        <p:spPr>
          <a:xfrm>
            <a:off x="604895" y="2899619"/>
            <a:ext cx="378309" cy="107722"/>
          </a:xfrm>
          <a:prstGeom prst="rect">
            <a:avLst/>
          </a:prstGeom>
          <a:noFill/>
          <a:effectLst/>
        </p:spPr>
        <p:txBody>
          <a:bodyPr wrap="none" lIns="0" tIns="0" rIns="0" bIns="0" rtlCol="0" anchor="t">
            <a:spAutoFit/>
          </a:bodyPr>
          <a:lstStyle/>
          <a:p>
            <a:pPr algn="ctr"/>
            <a:r>
              <a:rPr lang="en-GB" sz="700">
                <a:solidFill>
                  <a:schemeClr val="tx2"/>
                </a:solidFill>
              </a:rPr>
              <a:t>Half point</a:t>
            </a:r>
            <a:endParaRPr lang="en-GB" sz="700" dirty="0">
              <a:solidFill>
                <a:schemeClr val="tx2"/>
              </a:solidFill>
            </a:endParaRPr>
          </a:p>
        </p:txBody>
      </p:sp>
      <p:sp>
        <p:nvSpPr>
          <p:cNvPr id="7" name="TextBox 6">
            <a:extLst>
              <a:ext uri="{FF2B5EF4-FFF2-40B4-BE49-F238E27FC236}">
                <a16:creationId xmlns:a16="http://schemas.microsoft.com/office/drawing/2014/main" id="{A436FCD4-71A3-448A-8A53-AF94A260F20B}"/>
              </a:ext>
            </a:extLst>
          </p:cNvPr>
          <p:cNvSpPr txBox="1"/>
          <p:nvPr/>
        </p:nvSpPr>
        <p:spPr>
          <a:xfrm>
            <a:off x="614514" y="3723675"/>
            <a:ext cx="359073" cy="215444"/>
          </a:xfrm>
          <a:prstGeom prst="rect">
            <a:avLst/>
          </a:prstGeom>
          <a:noFill/>
          <a:effectLst/>
        </p:spPr>
        <p:txBody>
          <a:bodyPr wrap="none" lIns="0" tIns="0" rIns="0" bIns="0" rtlCol="0" anchor="t">
            <a:spAutoFit/>
          </a:bodyPr>
          <a:lstStyle/>
          <a:p>
            <a:pPr algn="ctr"/>
            <a:r>
              <a:rPr lang="en-GB" sz="700" dirty="0">
                <a:solidFill>
                  <a:schemeClr val="tx2"/>
                </a:solidFill>
              </a:rPr>
              <a:t>Hashtag/</a:t>
            </a:r>
            <a:br>
              <a:rPr lang="en-GB" sz="700" dirty="0">
                <a:solidFill>
                  <a:schemeClr val="tx2"/>
                </a:solidFill>
              </a:rPr>
            </a:br>
            <a:r>
              <a:rPr lang="en-GB" sz="700" dirty="0">
                <a:solidFill>
                  <a:schemeClr val="tx2"/>
                </a:solidFill>
              </a:rPr>
              <a:t>tweet</a:t>
            </a:r>
          </a:p>
        </p:txBody>
      </p:sp>
      <p:sp>
        <p:nvSpPr>
          <p:cNvPr id="8" name="TextBox 7">
            <a:extLst>
              <a:ext uri="{FF2B5EF4-FFF2-40B4-BE49-F238E27FC236}">
                <a16:creationId xmlns:a16="http://schemas.microsoft.com/office/drawing/2014/main" id="{C58A05AA-1117-4C10-BB2D-55888C144474}"/>
              </a:ext>
            </a:extLst>
          </p:cNvPr>
          <p:cNvSpPr txBox="1"/>
          <p:nvPr/>
        </p:nvSpPr>
        <p:spPr>
          <a:xfrm>
            <a:off x="699472" y="4547732"/>
            <a:ext cx="189154" cy="107722"/>
          </a:xfrm>
          <a:prstGeom prst="rect">
            <a:avLst/>
          </a:prstGeom>
          <a:noFill/>
          <a:effectLst/>
        </p:spPr>
        <p:txBody>
          <a:bodyPr wrap="none" lIns="0" tIns="0" rIns="0" bIns="0" rtlCol="0" anchor="t">
            <a:spAutoFit/>
          </a:bodyPr>
          <a:lstStyle/>
          <a:p>
            <a:pPr algn="ctr"/>
            <a:r>
              <a:rPr lang="en-GB" sz="700" dirty="0">
                <a:solidFill>
                  <a:schemeClr val="tx2"/>
                </a:solidFill>
              </a:rPr>
              <a:t>Heat</a:t>
            </a:r>
          </a:p>
        </p:txBody>
      </p:sp>
      <p:sp>
        <p:nvSpPr>
          <p:cNvPr id="9" name="TextBox 8">
            <a:extLst>
              <a:ext uri="{FF2B5EF4-FFF2-40B4-BE49-F238E27FC236}">
                <a16:creationId xmlns:a16="http://schemas.microsoft.com/office/drawing/2014/main" id="{2F5E3B19-1B00-4F97-AB58-82516FBC44D4}"/>
              </a:ext>
            </a:extLst>
          </p:cNvPr>
          <p:cNvSpPr txBox="1"/>
          <p:nvPr/>
        </p:nvSpPr>
        <p:spPr>
          <a:xfrm>
            <a:off x="1595828" y="2077494"/>
            <a:ext cx="487313" cy="107722"/>
          </a:xfrm>
          <a:prstGeom prst="rect">
            <a:avLst/>
          </a:prstGeom>
          <a:noFill/>
          <a:effectLst/>
        </p:spPr>
        <p:txBody>
          <a:bodyPr wrap="none" lIns="0" tIns="0" rIns="0" bIns="0" rtlCol="0" anchor="t">
            <a:spAutoFit/>
          </a:bodyPr>
          <a:lstStyle/>
          <a:p>
            <a:pPr algn="ctr"/>
            <a:r>
              <a:rPr lang="en-GB" sz="700" dirty="0">
                <a:solidFill>
                  <a:schemeClr val="tx2"/>
                </a:solidFill>
              </a:rPr>
              <a:t>Google Plus</a:t>
            </a:r>
          </a:p>
        </p:txBody>
      </p:sp>
      <p:sp>
        <p:nvSpPr>
          <p:cNvPr id="10" name="TextBox 9">
            <a:extLst>
              <a:ext uri="{FF2B5EF4-FFF2-40B4-BE49-F238E27FC236}">
                <a16:creationId xmlns:a16="http://schemas.microsoft.com/office/drawing/2014/main" id="{FE451364-A719-4059-8F65-68D7AE995CCE}"/>
              </a:ext>
            </a:extLst>
          </p:cNvPr>
          <p:cNvSpPr txBox="1"/>
          <p:nvPr/>
        </p:nvSpPr>
        <p:spPr>
          <a:xfrm>
            <a:off x="1506060" y="2899619"/>
            <a:ext cx="666849" cy="107722"/>
          </a:xfrm>
          <a:prstGeom prst="rect">
            <a:avLst/>
          </a:prstGeom>
          <a:noFill/>
          <a:effectLst/>
        </p:spPr>
        <p:txBody>
          <a:bodyPr wrap="none" lIns="0" tIns="0" rIns="0" bIns="0" rtlCol="0" anchor="t">
            <a:spAutoFit/>
          </a:bodyPr>
          <a:lstStyle/>
          <a:p>
            <a:pPr algn="ctr"/>
            <a:r>
              <a:rPr lang="en-GB" sz="700" dirty="0">
                <a:solidFill>
                  <a:schemeClr val="tx2"/>
                </a:solidFill>
              </a:rPr>
              <a:t>Half point outline</a:t>
            </a:r>
          </a:p>
        </p:txBody>
      </p:sp>
      <p:sp>
        <p:nvSpPr>
          <p:cNvPr id="11" name="TextBox 10">
            <a:extLst>
              <a:ext uri="{FF2B5EF4-FFF2-40B4-BE49-F238E27FC236}">
                <a16:creationId xmlns:a16="http://schemas.microsoft.com/office/drawing/2014/main" id="{BA72A23A-B6A3-41BD-A69F-C8B1239FED9D}"/>
              </a:ext>
            </a:extLst>
          </p:cNvPr>
          <p:cNvSpPr txBox="1"/>
          <p:nvPr/>
        </p:nvSpPr>
        <p:spPr>
          <a:xfrm>
            <a:off x="1695212" y="3723675"/>
            <a:ext cx="288542" cy="107722"/>
          </a:xfrm>
          <a:prstGeom prst="rect">
            <a:avLst/>
          </a:prstGeom>
          <a:noFill/>
          <a:effectLst/>
        </p:spPr>
        <p:txBody>
          <a:bodyPr wrap="none" lIns="0" tIns="0" rIns="0" bIns="0" rtlCol="0" anchor="t">
            <a:spAutoFit/>
          </a:bodyPr>
          <a:lstStyle/>
          <a:p>
            <a:pPr algn="ctr"/>
            <a:r>
              <a:rPr lang="en-GB" sz="700" dirty="0">
                <a:solidFill>
                  <a:schemeClr val="tx2"/>
                </a:solidFill>
              </a:rPr>
              <a:t>Hazard</a:t>
            </a:r>
          </a:p>
        </p:txBody>
      </p:sp>
      <p:sp>
        <p:nvSpPr>
          <p:cNvPr id="12" name="TextBox 11">
            <a:extLst>
              <a:ext uri="{FF2B5EF4-FFF2-40B4-BE49-F238E27FC236}">
                <a16:creationId xmlns:a16="http://schemas.microsoft.com/office/drawing/2014/main" id="{F0D72768-DF68-4BB3-A4F3-769AF835FC3A}"/>
              </a:ext>
            </a:extLst>
          </p:cNvPr>
          <p:cNvSpPr txBox="1"/>
          <p:nvPr/>
        </p:nvSpPr>
        <p:spPr>
          <a:xfrm>
            <a:off x="1492434" y="4547732"/>
            <a:ext cx="694101" cy="107722"/>
          </a:xfrm>
          <a:prstGeom prst="rect">
            <a:avLst/>
          </a:prstGeom>
          <a:noFill/>
          <a:effectLst/>
        </p:spPr>
        <p:txBody>
          <a:bodyPr wrap="none" lIns="0" tIns="0" rIns="0" bIns="0" rtlCol="0" anchor="t">
            <a:spAutoFit/>
          </a:bodyPr>
          <a:lstStyle/>
          <a:p>
            <a:pPr algn="ctr"/>
            <a:r>
              <a:rPr lang="en-GB" sz="700">
                <a:solidFill>
                  <a:schemeClr val="tx2"/>
                </a:solidFill>
              </a:rPr>
              <a:t>High temperature</a:t>
            </a:r>
            <a:endParaRPr lang="en-GB" sz="700" dirty="0">
              <a:solidFill>
                <a:schemeClr val="tx2"/>
              </a:solidFill>
            </a:endParaRPr>
          </a:p>
        </p:txBody>
      </p:sp>
      <p:sp>
        <p:nvSpPr>
          <p:cNvPr id="13" name="TextBox 12">
            <a:extLst>
              <a:ext uri="{FF2B5EF4-FFF2-40B4-BE49-F238E27FC236}">
                <a16:creationId xmlns:a16="http://schemas.microsoft.com/office/drawing/2014/main" id="{9E2B545D-0396-4893-9ED8-0331B913ECDE}"/>
              </a:ext>
            </a:extLst>
          </p:cNvPr>
          <p:cNvSpPr txBox="1"/>
          <p:nvPr/>
        </p:nvSpPr>
        <p:spPr>
          <a:xfrm>
            <a:off x="2747860" y="2077494"/>
            <a:ext cx="274114" cy="107722"/>
          </a:xfrm>
          <a:prstGeom prst="rect">
            <a:avLst/>
          </a:prstGeom>
          <a:noFill/>
          <a:effectLst/>
        </p:spPr>
        <p:txBody>
          <a:bodyPr wrap="none" lIns="0" tIns="0" rIns="0" bIns="0" rtlCol="0" anchor="t">
            <a:spAutoFit/>
          </a:bodyPr>
          <a:lstStyle/>
          <a:p>
            <a:pPr algn="ctr"/>
            <a:r>
              <a:rPr lang="en-GB" sz="700" dirty="0">
                <a:solidFill>
                  <a:schemeClr val="tx2"/>
                </a:solidFill>
              </a:rPr>
              <a:t>grease</a:t>
            </a:r>
          </a:p>
        </p:txBody>
      </p:sp>
      <p:sp>
        <p:nvSpPr>
          <p:cNvPr id="14" name="TextBox 13">
            <a:extLst>
              <a:ext uri="{FF2B5EF4-FFF2-40B4-BE49-F238E27FC236}">
                <a16:creationId xmlns:a16="http://schemas.microsoft.com/office/drawing/2014/main" id="{4A6507EF-99D0-439D-B9EF-4B0312B242D7}"/>
              </a:ext>
            </a:extLst>
          </p:cNvPr>
          <p:cNvSpPr txBox="1"/>
          <p:nvPr/>
        </p:nvSpPr>
        <p:spPr>
          <a:xfrm>
            <a:off x="2630842" y="2899619"/>
            <a:ext cx="508152" cy="107722"/>
          </a:xfrm>
          <a:prstGeom prst="rect">
            <a:avLst/>
          </a:prstGeom>
          <a:noFill/>
          <a:effectLst/>
        </p:spPr>
        <p:txBody>
          <a:bodyPr wrap="none" lIns="0" tIns="0" rIns="0" bIns="0" rtlCol="0" anchor="t">
            <a:spAutoFit/>
          </a:bodyPr>
          <a:lstStyle/>
          <a:p>
            <a:pPr algn="ctr"/>
            <a:r>
              <a:rPr lang="en-GB" sz="700" dirty="0">
                <a:solidFill>
                  <a:schemeClr val="tx2"/>
                </a:solidFill>
              </a:rPr>
              <a:t>Hand money</a:t>
            </a:r>
          </a:p>
        </p:txBody>
      </p:sp>
      <p:sp>
        <p:nvSpPr>
          <p:cNvPr id="15" name="TextBox 14">
            <a:extLst>
              <a:ext uri="{FF2B5EF4-FFF2-40B4-BE49-F238E27FC236}">
                <a16:creationId xmlns:a16="http://schemas.microsoft.com/office/drawing/2014/main" id="{50A6A842-BABA-49C4-A632-9A493B78DD94}"/>
              </a:ext>
            </a:extLst>
          </p:cNvPr>
          <p:cNvSpPr txBox="1"/>
          <p:nvPr/>
        </p:nvSpPr>
        <p:spPr>
          <a:xfrm>
            <a:off x="2775111" y="3723675"/>
            <a:ext cx="219612" cy="107722"/>
          </a:xfrm>
          <a:prstGeom prst="rect">
            <a:avLst/>
          </a:prstGeom>
          <a:noFill/>
          <a:effectLst/>
        </p:spPr>
        <p:txBody>
          <a:bodyPr wrap="none" lIns="0" tIns="0" rIns="0" bIns="0" rtlCol="0" anchor="t">
            <a:spAutoFit/>
          </a:bodyPr>
          <a:lstStyle/>
          <a:p>
            <a:pPr algn="ctr"/>
            <a:r>
              <a:rPr lang="en-GB" sz="700" dirty="0">
                <a:solidFill>
                  <a:schemeClr val="tx2"/>
                </a:solidFill>
              </a:rPr>
              <a:t>Heart</a:t>
            </a:r>
          </a:p>
        </p:txBody>
      </p:sp>
      <p:sp>
        <p:nvSpPr>
          <p:cNvPr id="16" name="TextBox 15">
            <a:extLst>
              <a:ext uri="{FF2B5EF4-FFF2-40B4-BE49-F238E27FC236}">
                <a16:creationId xmlns:a16="http://schemas.microsoft.com/office/drawing/2014/main" id="{9F5352AA-7E53-4E35-B68C-CDBD38D561C0}"/>
              </a:ext>
            </a:extLst>
          </p:cNvPr>
          <p:cNvSpPr txBox="1"/>
          <p:nvPr/>
        </p:nvSpPr>
        <p:spPr>
          <a:xfrm>
            <a:off x="2765494" y="4547732"/>
            <a:ext cx="238848" cy="107722"/>
          </a:xfrm>
          <a:prstGeom prst="rect">
            <a:avLst/>
          </a:prstGeom>
          <a:noFill/>
          <a:effectLst/>
        </p:spPr>
        <p:txBody>
          <a:bodyPr wrap="none" lIns="0" tIns="0" rIns="0" bIns="0" rtlCol="0" anchor="t">
            <a:spAutoFit/>
          </a:bodyPr>
          <a:lstStyle/>
          <a:p>
            <a:pPr algn="ctr"/>
            <a:r>
              <a:rPr lang="en-GB" sz="700" dirty="0">
                <a:solidFill>
                  <a:schemeClr val="tx2"/>
                </a:solidFill>
              </a:rPr>
              <a:t>Home</a:t>
            </a:r>
          </a:p>
        </p:txBody>
      </p:sp>
      <p:sp>
        <p:nvSpPr>
          <p:cNvPr id="17" name="TextBox 16">
            <a:extLst>
              <a:ext uri="{FF2B5EF4-FFF2-40B4-BE49-F238E27FC236}">
                <a16:creationId xmlns:a16="http://schemas.microsoft.com/office/drawing/2014/main" id="{DDC4C1B8-62C6-42AD-BC3E-AE7C50FB3CB1}"/>
              </a:ext>
            </a:extLst>
          </p:cNvPr>
          <p:cNvSpPr txBox="1"/>
          <p:nvPr/>
        </p:nvSpPr>
        <p:spPr>
          <a:xfrm>
            <a:off x="3854209" y="2077494"/>
            <a:ext cx="152285" cy="107722"/>
          </a:xfrm>
          <a:prstGeom prst="rect">
            <a:avLst/>
          </a:prstGeom>
          <a:noFill/>
          <a:effectLst/>
        </p:spPr>
        <p:txBody>
          <a:bodyPr wrap="none" lIns="0" tIns="0" rIns="0" bIns="0" rtlCol="0" anchor="t">
            <a:spAutoFit/>
          </a:bodyPr>
          <a:lstStyle/>
          <a:p>
            <a:pPr algn="ctr"/>
            <a:r>
              <a:rPr lang="en-GB" sz="700" dirty="0">
                <a:solidFill>
                  <a:schemeClr val="tx2"/>
                </a:solidFill>
              </a:rPr>
              <a:t>Hail</a:t>
            </a:r>
          </a:p>
        </p:txBody>
      </p:sp>
      <p:sp>
        <p:nvSpPr>
          <p:cNvPr id="18" name="TextBox 17">
            <a:extLst>
              <a:ext uri="{FF2B5EF4-FFF2-40B4-BE49-F238E27FC236}">
                <a16:creationId xmlns:a16="http://schemas.microsoft.com/office/drawing/2014/main" id="{C8303769-0D8C-4341-8711-4E3206988037}"/>
              </a:ext>
            </a:extLst>
          </p:cNvPr>
          <p:cNvSpPr txBox="1"/>
          <p:nvPr/>
        </p:nvSpPr>
        <p:spPr>
          <a:xfrm>
            <a:off x="3704328" y="2899619"/>
            <a:ext cx="452047" cy="107722"/>
          </a:xfrm>
          <a:prstGeom prst="rect">
            <a:avLst/>
          </a:prstGeom>
          <a:noFill/>
          <a:effectLst/>
        </p:spPr>
        <p:txBody>
          <a:bodyPr wrap="none" lIns="0" tIns="0" rIns="0" bIns="0" rtlCol="0" anchor="t">
            <a:spAutoFit/>
          </a:bodyPr>
          <a:lstStyle/>
          <a:p>
            <a:pPr algn="ctr"/>
            <a:r>
              <a:rPr lang="en-GB" sz="700">
                <a:solidFill>
                  <a:schemeClr val="tx2"/>
                </a:solidFill>
              </a:rPr>
              <a:t>Handshake</a:t>
            </a:r>
            <a:endParaRPr lang="en-GB" sz="700" dirty="0">
              <a:solidFill>
                <a:schemeClr val="tx2"/>
              </a:solidFill>
            </a:endParaRPr>
          </a:p>
        </p:txBody>
      </p:sp>
      <p:sp>
        <p:nvSpPr>
          <p:cNvPr id="19" name="TextBox 18">
            <a:extLst>
              <a:ext uri="{FF2B5EF4-FFF2-40B4-BE49-F238E27FC236}">
                <a16:creationId xmlns:a16="http://schemas.microsoft.com/office/drawing/2014/main" id="{31682623-CA0D-4286-A0A1-982675C62959}"/>
              </a:ext>
            </a:extLst>
          </p:cNvPr>
          <p:cNvSpPr txBox="1"/>
          <p:nvPr/>
        </p:nvSpPr>
        <p:spPr>
          <a:xfrm>
            <a:off x="3750815" y="3723675"/>
            <a:ext cx="359073" cy="107722"/>
          </a:xfrm>
          <a:prstGeom prst="rect">
            <a:avLst/>
          </a:prstGeom>
          <a:noFill/>
          <a:effectLst/>
        </p:spPr>
        <p:txBody>
          <a:bodyPr wrap="none" lIns="0" tIns="0" rIns="0" bIns="0" rtlCol="0" anchor="t">
            <a:spAutoFit/>
          </a:bodyPr>
          <a:lstStyle/>
          <a:p>
            <a:pPr algn="ctr"/>
            <a:r>
              <a:rPr lang="en-GB" sz="700" dirty="0">
                <a:solidFill>
                  <a:schemeClr val="tx2"/>
                </a:solidFill>
              </a:rPr>
              <a:t>Heart full</a:t>
            </a:r>
          </a:p>
        </p:txBody>
      </p:sp>
      <p:sp>
        <p:nvSpPr>
          <p:cNvPr id="20" name="TextBox 19">
            <a:extLst>
              <a:ext uri="{FF2B5EF4-FFF2-40B4-BE49-F238E27FC236}">
                <a16:creationId xmlns:a16="http://schemas.microsoft.com/office/drawing/2014/main" id="{7D3777C8-4B86-499E-9F3D-C6CDF58B74E4}"/>
              </a:ext>
            </a:extLst>
          </p:cNvPr>
          <p:cNvSpPr txBox="1"/>
          <p:nvPr/>
        </p:nvSpPr>
        <p:spPr>
          <a:xfrm>
            <a:off x="3769250" y="4547732"/>
            <a:ext cx="322204" cy="107722"/>
          </a:xfrm>
          <a:prstGeom prst="rect">
            <a:avLst/>
          </a:prstGeom>
          <a:noFill/>
          <a:effectLst/>
        </p:spPr>
        <p:txBody>
          <a:bodyPr wrap="none" lIns="0" tIns="0" rIns="0" bIns="0" rtlCol="0" anchor="t">
            <a:spAutoFit/>
          </a:bodyPr>
          <a:lstStyle/>
          <a:p>
            <a:pPr algn="ctr"/>
            <a:r>
              <a:rPr lang="en-GB" sz="700">
                <a:solidFill>
                  <a:schemeClr val="tx2"/>
                </a:solidFill>
              </a:rPr>
              <a:t>Hospital</a:t>
            </a:r>
            <a:endParaRPr lang="en-GB" sz="700" dirty="0">
              <a:solidFill>
                <a:schemeClr val="tx2"/>
              </a:solidFill>
            </a:endParaRPr>
          </a:p>
        </p:txBody>
      </p:sp>
      <p:sp>
        <p:nvSpPr>
          <p:cNvPr id="21" name="TextBox 20">
            <a:extLst>
              <a:ext uri="{FF2B5EF4-FFF2-40B4-BE49-F238E27FC236}">
                <a16:creationId xmlns:a16="http://schemas.microsoft.com/office/drawing/2014/main" id="{1FE29412-000E-4129-8934-DEE6F9260A48}"/>
              </a:ext>
            </a:extLst>
          </p:cNvPr>
          <p:cNvSpPr txBox="1"/>
          <p:nvPr/>
        </p:nvSpPr>
        <p:spPr>
          <a:xfrm>
            <a:off x="5108661" y="2077494"/>
            <a:ext cx="208390" cy="107722"/>
          </a:xfrm>
          <a:prstGeom prst="rect">
            <a:avLst/>
          </a:prstGeom>
          <a:noFill/>
          <a:effectLst/>
        </p:spPr>
        <p:txBody>
          <a:bodyPr wrap="none" lIns="0" tIns="0" rIns="0" bIns="0" rtlCol="0" anchor="t">
            <a:spAutoFit/>
          </a:bodyPr>
          <a:lstStyle/>
          <a:p>
            <a:pPr algn="ctr"/>
            <a:r>
              <a:rPr lang="en-GB" sz="700">
                <a:solidFill>
                  <a:schemeClr val="tx2"/>
                </a:solidFill>
              </a:rPr>
              <a:t>Hotel</a:t>
            </a:r>
            <a:endParaRPr lang="en-GB" sz="700" dirty="0">
              <a:solidFill>
                <a:schemeClr val="tx2"/>
              </a:solidFill>
            </a:endParaRPr>
          </a:p>
        </p:txBody>
      </p:sp>
      <p:sp>
        <p:nvSpPr>
          <p:cNvPr id="22" name="TextBox 21">
            <a:extLst>
              <a:ext uri="{FF2B5EF4-FFF2-40B4-BE49-F238E27FC236}">
                <a16:creationId xmlns:a16="http://schemas.microsoft.com/office/drawing/2014/main" id="{098E8E62-7327-42C9-80AD-40E80A766B08}"/>
              </a:ext>
            </a:extLst>
          </p:cNvPr>
          <p:cNvSpPr txBox="1"/>
          <p:nvPr/>
        </p:nvSpPr>
        <p:spPr>
          <a:xfrm>
            <a:off x="5074998" y="2899619"/>
            <a:ext cx="275717" cy="107722"/>
          </a:xfrm>
          <a:prstGeom prst="rect">
            <a:avLst/>
          </a:prstGeom>
          <a:noFill/>
          <a:effectLst/>
        </p:spPr>
        <p:txBody>
          <a:bodyPr wrap="none" lIns="0" tIns="0" rIns="0" bIns="0" rtlCol="0" anchor="t">
            <a:spAutoFit/>
          </a:bodyPr>
          <a:lstStyle/>
          <a:p>
            <a:pPr algn="ctr"/>
            <a:r>
              <a:rPr lang="en-GB" sz="700">
                <a:solidFill>
                  <a:schemeClr val="tx2"/>
                </a:solidFill>
              </a:rPr>
              <a:t>Imprint</a:t>
            </a:r>
            <a:endParaRPr lang="en-GB" sz="700" dirty="0">
              <a:solidFill>
                <a:schemeClr val="tx2"/>
              </a:solidFill>
            </a:endParaRPr>
          </a:p>
        </p:txBody>
      </p:sp>
      <p:sp>
        <p:nvSpPr>
          <p:cNvPr id="23" name="TextBox 22">
            <a:extLst>
              <a:ext uri="{FF2B5EF4-FFF2-40B4-BE49-F238E27FC236}">
                <a16:creationId xmlns:a16="http://schemas.microsoft.com/office/drawing/2014/main" id="{6682B573-CE83-4B2F-AA79-D751E65928A3}"/>
              </a:ext>
            </a:extLst>
          </p:cNvPr>
          <p:cNvSpPr txBox="1"/>
          <p:nvPr/>
        </p:nvSpPr>
        <p:spPr>
          <a:xfrm>
            <a:off x="4946757" y="3723675"/>
            <a:ext cx="532197" cy="107722"/>
          </a:xfrm>
          <a:prstGeom prst="rect">
            <a:avLst/>
          </a:prstGeom>
          <a:noFill/>
          <a:effectLst/>
        </p:spPr>
        <p:txBody>
          <a:bodyPr wrap="none" lIns="0" tIns="0" rIns="0" bIns="0" rtlCol="0" anchor="t">
            <a:spAutoFit/>
          </a:bodyPr>
          <a:lstStyle/>
          <a:p>
            <a:pPr algn="ctr"/>
            <a:r>
              <a:rPr lang="en-GB" sz="700" dirty="0">
                <a:solidFill>
                  <a:schemeClr val="tx2"/>
                </a:solidFill>
              </a:rPr>
              <a:t>Infrastructure</a:t>
            </a:r>
          </a:p>
        </p:txBody>
      </p:sp>
      <p:sp>
        <p:nvSpPr>
          <p:cNvPr id="24" name="TextBox 23">
            <a:extLst>
              <a:ext uri="{FF2B5EF4-FFF2-40B4-BE49-F238E27FC236}">
                <a16:creationId xmlns:a16="http://schemas.microsoft.com/office/drawing/2014/main" id="{32954AC2-3236-467A-AB46-5EEA9051154D}"/>
              </a:ext>
            </a:extLst>
          </p:cNvPr>
          <p:cNvSpPr txBox="1"/>
          <p:nvPr/>
        </p:nvSpPr>
        <p:spPr>
          <a:xfrm>
            <a:off x="4998855" y="4547732"/>
            <a:ext cx="428002" cy="215444"/>
          </a:xfrm>
          <a:prstGeom prst="rect">
            <a:avLst/>
          </a:prstGeom>
          <a:noFill/>
          <a:effectLst/>
        </p:spPr>
        <p:txBody>
          <a:bodyPr wrap="none" lIns="0" tIns="0" rIns="0" bIns="0" rtlCol="0" anchor="t">
            <a:spAutoFit/>
          </a:bodyPr>
          <a:lstStyle/>
          <a:p>
            <a:pPr algn="ctr"/>
            <a:r>
              <a:rPr lang="en-GB" sz="700" dirty="0">
                <a:solidFill>
                  <a:schemeClr val="tx2"/>
                </a:solidFill>
              </a:rPr>
              <a:t>Installation</a:t>
            </a:r>
            <a:br>
              <a:rPr lang="en-GB" sz="700" dirty="0">
                <a:solidFill>
                  <a:schemeClr val="tx2"/>
                </a:solidFill>
              </a:rPr>
            </a:br>
            <a:r>
              <a:rPr lang="en-GB" sz="700" dirty="0">
                <a:solidFill>
                  <a:schemeClr val="tx2"/>
                </a:solidFill>
              </a:rPr>
              <a:t>reminder</a:t>
            </a:r>
          </a:p>
        </p:txBody>
      </p:sp>
      <p:sp>
        <p:nvSpPr>
          <p:cNvPr id="25" name="TextBox 24">
            <a:extLst>
              <a:ext uri="{FF2B5EF4-FFF2-40B4-BE49-F238E27FC236}">
                <a16:creationId xmlns:a16="http://schemas.microsoft.com/office/drawing/2014/main" id="{1AA6759B-BB6F-4931-BCB2-0ED2400A22BA}"/>
              </a:ext>
            </a:extLst>
          </p:cNvPr>
          <p:cNvSpPr txBox="1"/>
          <p:nvPr/>
        </p:nvSpPr>
        <p:spPr>
          <a:xfrm>
            <a:off x="5981771" y="2077494"/>
            <a:ext cx="553037" cy="107722"/>
          </a:xfrm>
          <a:prstGeom prst="rect">
            <a:avLst/>
          </a:prstGeom>
          <a:noFill/>
          <a:effectLst/>
        </p:spPr>
        <p:txBody>
          <a:bodyPr wrap="none" lIns="0" tIns="0" rIns="0" bIns="0" rtlCol="0" anchor="t">
            <a:spAutoFit/>
          </a:bodyPr>
          <a:lstStyle/>
          <a:p>
            <a:pPr algn="ctr"/>
            <a:r>
              <a:rPr lang="en-GB" sz="700" dirty="0">
                <a:solidFill>
                  <a:schemeClr val="tx2"/>
                </a:solidFill>
              </a:rPr>
              <a:t>House shelter</a:t>
            </a:r>
          </a:p>
        </p:txBody>
      </p:sp>
      <p:sp>
        <p:nvSpPr>
          <p:cNvPr id="26" name="TextBox 25">
            <a:extLst>
              <a:ext uri="{FF2B5EF4-FFF2-40B4-BE49-F238E27FC236}">
                <a16:creationId xmlns:a16="http://schemas.microsoft.com/office/drawing/2014/main" id="{D9286417-59D7-4C08-A7AF-3910E5DB73DC}"/>
              </a:ext>
            </a:extLst>
          </p:cNvPr>
          <p:cNvSpPr txBox="1"/>
          <p:nvPr/>
        </p:nvSpPr>
        <p:spPr>
          <a:xfrm>
            <a:off x="5976163" y="2899619"/>
            <a:ext cx="564257" cy="107722"/>
          </a:xfrm>
          <a:prstGeom prst="rect">
            <a:avLst/>
          </a:prstGeom>
          <a:noFill/>
          <a:effectLst/>
        </p:spPr>
        <p:txBody>
          <a:bodyPr wrap="none" lIns="0" tIns="0" rIns="0" bIns="0" rtlCol="0" anchor="t">
            <a:spAutoFit/>
          </a:bodyPr>
          <a:lstStyle/>
          <a:p>
            <a:pPr algn="ctr"/>
            <a:r>
              <a:rPr lang="en-GB" sz="700" dirty="0">
                <a:solidFill>
                  <a:schemeClr val="tx2"/>
                </a:solidFill>
              </a:rPr>
              <a:t>Indoor climate</a:t>
            </a:r>
          </a:p>
        </p:txBody>
      </p:sp>
      <p:sp>
        <p:nvSpPr>
          <p:cNvPr id="27" name="TextBox 26">
            <a:extLst>
              <a:ext uri="{FF2B5EF4-FFF2-40B4-BE49-F238E27FC236}">
                <a16:creationId xmlns:a16="http://schemas.microsoft.com/office/drawing/2014/main" id="{0AFB47E8-06FF-4626-B61D-4EDD1F5F10D2}"/>
              </a:ext>
            </a:extLst>
          </p:cNvPr>
          <p:cNvSpPr txBox="1"/>
          <p:nvPr/>
        </p:nvSpPr>
        <p:spPr>
          <a:xfrm>
            <a:off x="6051503" y="3723675"/>
            <a:ext cx="413575" cy="107722"/>
          </a:xfrm>
          <a:prstGeom prst="rect">
            <a:avLst/>
          </a:prstGeom>
          <a:noFill/>
          <a:effectLst/>
        </p:spPr>
        <p:txBody>
          <a:bodyPr wrap="none" lIns="0" tIns="0" rIns="0" bIns="0" rtlCol="0" anchor="t">
            <a:spAutoFit/>
          </a:bodyPr>
          <a:lstStyle/>
          <a:p>
            <a:pPr algn="ctr"/>
            <a:r>
              <a:rPr lang="en-GB" sz="700" dirty="0">
                <a:solidFill>
                  <a:schemeClr val="tx2"/>
                </a:solidFill>
              </a:rPr>
              <a:t>Innovation</a:t>
            </a:r>
          </a:p>
        </p:txBody>
      </p:sp>
      <p:sp>
        <p:nvSpPr>
          <p:cNvPr id="28" name="TextBox 27">
            <a:extLst>
              <a:ext uri="{FF2B5EF4-FFF2-40B4-BE49-F238E27FC236}">
                <a16:creationId xmlns:a16="http://schemas.microsoft.com/office/drawing/2014/main" id="{AEDA18ED-A7BB-41EF-AD5F-FB0247AA445A}"/>
              </a:ext>
            </a:extLst>
          </p:cNvPr>
          <p:cNvSpPr txBox="1"/>
          <p:nvPr/>
        </p:nvSpPr>
        <p:spPr>
          <a:xfrm>
            <a:off x="6181345" y="4547732"/>
            <a:ext cx="153888" cy="107722"/>
          </a:xfrm>
          <a:prstGeom prst="rect">
            <a:avLst/>
          </a:prstGeom>
          <a:noFill/>
          <a:effectLst/>
        </p:spPr>
        <p:txBody>
          <a:bodyPr wrap="none" lIns="0" tIns="0" rIns="0" bIns="0" rtlCol="0" anchor="t">
            <a:spAutoFit/>
          </a:bodyPr>
          <a:lstStyle/>
          <a:p>
            <a:pPr algn="ctr"/>
            <a:r>
              <a:rPr lang="en-GB" sz="700" dirty="0">
                <a:solidFill>
                  <a:schemeClr val="tx2"/>
                </a:solidFill>
              </a:rPr>
              <a:t>Key</a:t>
            </a:r>
          </a:p>
        </p:txBody>
      </p:sp>
      <p:sp>
        <p:nvSpPr>
          <p:cNvPr id="29" name="TextBox 28">
            <a:extLst>
              <a:ext uri="{FF2B5EF4-FFF2-40B4-BE49-F238E27FC236}">
                <a16:creationId xmlns:a16="http://schemas.microsoft.com/office/drawing/2014/main" id="{EDE8BBF7-E11E-4D6C-B8A9-E1191BDA86DD}"/>
              </a:ext>
            </a:extLst>
          </p:cNvPr>
          <p:cNvSpPr txBox="1"/>
          <p:nvPr/>
        </p:nvSpPr>
        <p:spPr>
          <a:xfrm>
            <a:off x="7129799" y="2077494"/>
            <a:ext cx="347852" cy="107722"/>
          </a:xfrm>
          <a:prstGeom prst="rect">
            <a:avLst/>
          </a:prstGeom>
          <a:noFill/>
          <a:effectLst/>
        </p:spPr>
        <p:txBody>
          <a:bodyPr wrap="none" lIns="0" tIns="0" rIns="0" bIns="0" rtlCol="0" anchor="t">
            <a:spAutoFit/>
          </a:bodyPr>
          <a:lstStyle/>
          <a:p>
            <a:pPr algn="ctr"/>
            <a:r>
              <a:rPr lang="en-GB" sz="700">
                <a:solidFill>
                  <a:schemeClr val="tx2"/>
                </a:solidFill>
              </a:rPr>
              <a:t>Humidity</a:t>
            </a:r>
            <a:endParaRPr lang="en-GB" sz="700" dirty="0">
              <a:solidFill>
                <a:schemeClr val="tx2"/>
              </a:solidFill>
            </a:endParaRPr>
          </a:p>
        </p:txBody>
      </p:sp>
      <p:sp>
        <p:nvSpPr>
          <p:cNvPr id="30" name="TextBox 29">
            <a:extLst>
              <a:ext uri="{FF2B5EF4-FFF2-40B4-BE49-F238E27FC236}">
                <a16:creationId xmlns:a16="http://schemas.microsoft.com/office/drawing/2014/main" id="{94F30DBA-A9C3-4DB9-8D9A-8C34B7EEBBF9}"/>
              </a:ext>
            </a:extLst>
          </p:cNvPr>
          <p:cNvSpPr txBox="1"/>
          <p:nvPr/>
        </p:nvSpPr>
        <p:spPr>
          <a:xfrm>
            <a:off x="7040834" y="2899619"/>
            <a:ext cx="525785" cy="107722"/>
          </a:xfrm>
          <a:prstGeom prst="rect">
            <a:avLst/>
          </a:prstGeom>
          <a:noFill/>
          <a:effectLst/>
        </p:spPr>
        <p:txBody>
          <a:bodyPr wrap="none" lIns="0" tIns="0" rIns="0" bIns="0" rtlCol="0" anchor="t">
            <a:spAutoFit/>
          </a:bodyPr>
          <a:lstStyle/>
          <a:p>
            <a:pPr algn="ctr"/>
            <a:r>
              <a:rPr lang="en-GB" sz="700" dirty="0">
                <a:solidFill>
                  <a:schemeClr val="tx2"/>
                </a:solidFill>
              </a:rPr>
              <a:t>Information 1</a:t>
            </a:r>
          </a:p>
        </p:txBody>
      </p:sp>
      <p:sp>
        <p:nvSpPr>
          <p:cNvPr id="31" name="TextBox 30">
            <a:extLst>
              <a:ext uri="{FF2B5EF4-FFF2-40B4-BE49-F238E27FC236}">
                <a16:creationId xmlns:a16="http://schemas.microsoft.com/office/drawing/2014/main" id="{DAE1D572-F35F-4748-AB8F-DA47208FC531}"/>
              </a:ext>
            </a:extLst>
          </p:cNvPr>
          <p:cNvSpPr txBox="1"/>
          <p:nvPr/>
        </p:nvSpPr>
        <p:spPr>
          <a:xfrm>
            <a:off x="6953469" y="3723675"/>
            <a:ext cx="700513" cy="107722"/>
          </a:xfrm>
          <a:prstGeom prst="rect">
            <a:avLst/>
          </a:prstGeom>
          <a:noFill/>
          <a:effectLst/>
        </p:spPr>
        <p:txBody>
          <a:bodyPr wrap="none" lIns="0" tIns="0" rIns="0" bIns="0" rtlCol="0" anchor="t">
            <a:spAutoFit/>
          </a:bodyPr>
          <a:lstStyle/>
          <a:p>
            <a:pPr algn="ctr"/>
            <a:r>
              <a:rPr lang="en-GB" sz="700">
                <a:solidFill>
                  <a:schemeClr val="tx2"/>
                </a:solidFill>
              </a:rPr>
              <a:t>Internet of Things</a:t>
            </a:r>
            <a:endParaRPr lang="en-GB" sz="700" dirty="0">
              <a:solidFill>
                <a:schemeClr val="tx2"/>
              </a:solidFill>
            </a:endParaRPr>
          </a:p>
        </p:txBody>
      </p:sp>
      <p:sp>
        <p:nvSpPr>
          <p:cNvPr id="32" name="TextBox 31">
            <a:extLst>
              <a:ext uri="{FF2B5EF4-FFF2-40B4-BE49-F238E27FC236}">
                <a16:creationId xmlns:a16="http://schemas.microsoft.com/office/drawing/2014/main" id="{DC9862E0-1912-4137-85BA-F903F9FBE303}"/>
              </a:ext>
            </a:extLst>
          </p:cNvPr>
          <p:cNvSpPr txBox="1"/>
          <p:nvPr/>
        </p:nvSpPr>
        <p:spPr>
          <a:xfrm>
            <a:off x="7112966" y="4547732"/>
            <a:ext cx="381515" cy="107722"/>
          </a:xfrm>
          <a:prstGeom prst="rect">
            <a:avLst/>
          </a:prstGeom>
          <a:noFill/>
          <a:effectLst/>
        </p:spPr>
        <p:txBody>
          <a:bodyPr wrap="none" lIns="0" tIns="0" rIns="0" bIns="0" rtlCol="0" anchor="t">
            <a:spAutoFit/>
          </a:bodyPr>
          <a:lstStyle/>
          <a:p>
            <a:pPr algn="ctr"/>
            <a:r>
              <a:rPr lang="en-GB" sz="700" dirty="0">
                <a:solidFill>
                  <a:schemeClr val="tx2"/>
                </a:solidFill>
              </a:rPr>
              <a:t>Landslide</a:t>
            </a:r>
          </a:p>
        </p:txBody>
      </p:sp>
      <p:sp>
        <p:nvSpPr>
          <p:cNvPr id="33" name="TextBox 32">
            <a:extLst>
              <a:ext uri="{FF2B5EF4-FFF2-40B4-BE49-F238E27FC236}">
                <a16:creationId xmlns:a16="http://schemas.microsoft.com/office/drawing/2014/main" id="{089B35B6-AEB7-41D9-A134-F0DAAA149835}"/>
              </a:ext>
            </a:extLst>
          </p:cNvPr>
          <p:cNvSpPr txBox="1"/>
          <p:nvPr/>
        </p:nvSpPr>
        <p:spPr>
          <a:xfrm>
            <a:off x="8137560" y="2077494"/>
            <a:ext cx="423194" cy="107722"/>
          </a:xfrm>
          <a:prstGeom prst="rect">
            <a:avLst/>
          </a:prstGeom>
          <a:noFill/>
          <a:effectLst/>
        </p:spPr>
        <p:txBody>
          <a:bodyPr wrap="none" lIns="0" tIns="0" rIns="0" bIns="0" rtlCol="0" anchor="t">
            <a:spAutoFit/>
          </a:bodyPr>
          <a:lstStyle/>
          <a:p>
            <a:pPr algn="ctr"/>
            <a:r>
              <a:rPr lang="en-GB" sz="700" dirty="0">
                <a:solidFill>
                  <a:schemeClr val="tx2"/>
                </a:solidFill>
              </a:rPr>
              <a:t>Humidity 2</a:t>
            </a:r>
          </a:p>
        </p:txBody>
      </p:sp>
      <p:sp>
        <p:nvSpPr>
          <p:cNvPr id="34" name="TextBox 33">
            <a:extLst>
              <a:ext uri="{FF2B5EF4-FFF2-40B4-BE49-F238E27FC236}">
                <a16:creationId xmlns:a16="http://schemas.microsoft.com/office/drawing/2014/main" id="{41607E06-DCDC-42DB-87D6-36293193BA29}"/>
              </a:ext>
            </a:extLst>
          </p:cNvPr>
          <p:cNvSpPr txBox="1"/>
          <p:nvPr/>
        </p:nvSpPr>
        <p:spPr>
          <a:xfrm>
            <a:off x="8083058" y="2899619"/>
            <a:ext cx="532197" cy="107722"/>
          </a:xfrm>
          <a:prstGeom prst="rect">
            <a:avLst/>
          </a:prstGeom>
          <a:noFill/>
          <a:effectLst/>
        </p:spPr>
        <p:txBody>
          <a:bodyPr wrap="none" lIns="0" tIns="0" rIns="0" bIns="0" rtlCol="0" anchor="t">
            <a:spAutoFit/>
          </a:bodyPr>
          <a:lstStyle/>
          <a:p>
            <a:pPr algn="ctr"/>
            <a:r>
              <a:rPr lang="en-GB" sz="700" dirty="0">
                <a:solidFill>
                  <a:schemeClr val="tx2"/>
                </a:solidFill>
              </a:rPr>
              <a:t>Information 2</a:t>
            </a:r>
          </a:p>
        </p:txBody>
      </p:sp>
      <p:sp>
        <p:nvSpPr>
          <p:cNvPr id="35" name="TextBox 34">
            <a:extLst>
              <a:ext uri="{FF2B5EF4-FFF2-40B4-BE49-F238E27FC236}">
                <a16:creationId xmlns:a16="http://schemas.microsoft.com/office/drawing/2014/main" id="{8AE32F56-25E9-4A79-A75F-0E83DF75C195}"/>
              </a:ext>
            </a:extLst>
          </p:cNvPr>
          <p:cNvSpPr txBox="1"/>
          <p:nvPr/>
        </p:nvSpPr>
        <p:spPr>
          <a:xfrm>
            <a:off x="8135956" y="3723675"/>
            <a:ext cx="426399" cy="215444"/>
          </a:xfrm>
          <a:prstGeom prst="rect">
            <a:avLst/>
          </a:prstGeom>
          <a:noFill/>
          <a:effectLst/>
        </p:spPr>
        <p:txBody>
          <a:bodyPr wrap="none" lIns="0" tIns="0" rIns="0" bIns="0" rtlCol="0" anchor="t">
            <a:spAutoFit/>
          </a:bodyPr>
          <a:lstStyle/>
          <a:p>
            <a:pPr algn="ctr"/>
            <a:r>
              <a:rPr lang="en-GB" sz="700" dirty="0">
                <a:solidFill>
                  <a:schemeClr val="tx2"/>
                </a:solidFill>
              </a:rPr>
              <a:t>Instagram/</a:t>
            </a:r>
            <a:br>
              <a:rPr lang="en-GB" sz="700" dirty="0">
                <a:solidFill>
                  <a:schemeClr val="tx2"/>
                </a:solidFill>
              </a:rPr>
            </a:br>
            <a:r>
              <a:rPr lang="en-GB" sz="700" dirty="0">
                <a:solidFill>
                  <a:schemeClr val="tx2"/>
                </a:solidFill>
              </a:rPr>
              <a:t>File Mov</a:t>
            </a:r>
          </a:p>
        </p:txBody>
      </p:sp>
      <p:sp>
        <p:nvSpPr>
          <p:cNvPr id="36" name="TextBox 35">
            <a:extLst>
              <a:ext uri="{FF2B5EF4-FFF2-40B4-BE49-F238E27FC236}">
                <a16:creationId xmlns:a16="http://schemas.microsoft.com/office/drawing/2014/main" id="{BB40A32C-CCD0-49F7-87B8-05411FBCE95E}"/>
              </a:ext>
            </a:extLst>
          </p:cNvPr>
          <p:cNvSpPr txBox="1"/>
          <p:nvPr/>
        </p:nvSpPr>
        <p:spPr>
          <a:xfrm>
            <a:off x="8107904" y="4547732"/>
            <a:ext cx="482504" cy="107722"/>
          </a:xfrm>
          <a:prstGeom prst="rect">
            <a:avLst/>
          </a:prstGeom>
          <a:noFill/>
          <a:effectLst/>
        </p:spPr>
        <p:txBody>
          <a:bodyPr wrap="none" lIns="0" tIns="0" rIns="0" bIns="0" rtlCol="0" anchor="t">
            <a:spAutoFit/>
          </a:bodyPr>
          <a:lstStyle/>
          <a:p>
            <a:pPr algn="ctr"/>
            <a:r>
              <a:rPr lang="en-GB" sz="700" dirty="0">
                <a:solidFill>
                  <a:schemeClr val="tx2"/>
                </a:solidFill>
              </a:rPr>
              <a:t>Legal notice</a:t>
            </a:r>
          </a:p>
        </p:txBody>
      </p:sp>
      <p:sp>
        <p:nvSpPr>
          <p:cNvPr id="161" name="Freeform 72">
            <a:extLst>
              <a:ext uri="{FF2B5EF4-FFF2-40B4-BE49-F238E27FC236}">
                <a16:creationId xmlns:a16="http://schemas.microsoft.com/office/drawing/2014/main" id="{7F0BA989-05BF-4C87-99BE-B25959FF3782}"/>
              </a:ext>
            </a:extLst>
          </p:cNvPr>
          <p:cNvSpPr>
            <a:spLocks noEditPoints="1"/>
          </p:cNvSpPr>
          <p:nvPr/>
        </p:nvSpPr>
        <p:spPr bwMode="auto">
          <a:xfrm>
            <a:off x="1633108" y="1736797"/>
            <a:ext cx="412750" cy="268287"/>
          </a:xfrm>
          <a:custGeom>
            <a:avLst/>
            <a:gdLst>
              <a:gd name="T0" fmla="*/ 41 w 128"/>
              <a:gd name="T1" fmla="*/ 35 h 82"/>
              <a:gd name="T2" fmla="*/ 79 w 128"/>
              <a:gd name="T3" fmla="*/ 35 h 82"/>
              <a:gd name="T4" fmla="*/ 80 w 128"/>
              <a:gd name="T5" fmla="*/ 42 h 82"/>
              <a:gd name="T6" fmla="*/ 41 w 128"/>
              <a:gd name="T7" fmla="*/ 82 h 82"/>
              <a:gd name="T8" fmla="*/ 0 w 128"/>
              <a:gd name="T9" fmla="*/ 41 h 82"/>
              <a:gd name="T10" fmla="*/ 41 w 128"/>
              <a:gd name="T11" fmla="*/ 0 h 82"/>
              <a:gd name="T12" fmla="*/ 68 w 128"/>
              <a:gd name="T13" fmla="*/ 11 h 82"/>
              <a:gd name="T14" fmla="*/ 57 w 128"/>
              <a:gd name="T15" fmla="*/ 22 h 82"/>
              <a:gd name="T16" fmla="*/ 41 w 128"/>
              <a:gd name="T17" fmla="*/ 15 h 82"/>
              <a:gd name="T18" fmla="*/ 15 w 128"/>
              <a:gd name="T19" fmla="*/ 41 h 82"/>
              <a:gd name="T20" fmla="*/ 41 w 128"/>
              <a:gd name="T21" fmla="*/ 67 h 82"/>
              <a:gd name="T22" fmla="*/ 64 w 128"/>
              <a:gd name="T23" fmla="*/ 49 h 82"/>
              <a:gd name="T24" fmla="*/ 41 w 128"/>
              <a:gd name="T25" fmla="*/ 49 h 82"/>
              <a:gd name="T26" fmla="*/ 41 w 128"/>
              <a:gd name="T27" fmla="*/ 35 h 82"/>
              <a:gd name="T28" fmla="*/ 128 w 128"/>
              <a:gd name="T29" fmla="*/ 35 h 82"/>
              <a:gd name="T30" fmla="*/ 116 w 128"/>
              <a:gd name="T31" fmla="*/ 35 h 82"/>
              <a:gd name="T32" fmla="*/ 116 w 128"/>
              <a:gd name="T33" fmla="*/ 24 h 82"/>
              <a:gd name="T34" fmla="*/ 105 w 128"/>
              <a:gd name="T35" fmla="*/ 24 h 82"/>
              <a:gd name="T36" fmla="*/ 105 w 128"/>
              <a:gd name="T37" fmla="*/ 35 h 82"/>
              <a:gd name="T38" fmla="*/ 93 w 128"/>
              <a:gd name="T39" fmla="*/ 35 h 82"/>
              <a:gd name="T40" fmla="*/ 93 w 128"/>
              <a:gd name="T41" fmla="*/ 47 h 82"/>
              <a:gd name="T42" fmla="*/ 105 w 128"/>
              <a:gd name="T43" fmla="*/ 47 h 82"/>
              <a:gd name="T44" fmla="*/ 105 w 128"/>
              <a:gd name="T45" fmla="*/ 58 h 82"/>
              <a:gd name="T46" fmla="*/ 116 w 128"/>
              <a:gd name="T47" fmla="*/ 58 h 82"/>
              <a:gd name="T48" fmla="*/ 116 w 128"/>
              <a:gd name="T49" fmla="*/ 47 h 82"/>
              <a:gd name="T50" fmla="*/ 128 w 128"/>
              <a:gd name="T51"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8" h="82">
                <a:moveTo>
                  <a:pt x="41" y="35"/>
                </a:moveTo>
                <a:cubicBezTo>
                  <a:pt x="79" y="35"/>
                  <a:pt x="79" y="35"/>
                  <a:pt x="79" y="35"/>
                </a:cubicBezTo>
                <a:cubicBezTo>
                  <a:pt x="80" y="37"/>
                  <a:pt x="80" y="39"/>
                  <a:pt x="80" y="42"/>
                </a:cubicBezTo>
                <a:cubicBezTo>
                  <a:pt x="80" y="65"/>
                  <a:pt x="64" y="82"/>
                  <a:pt x="41" y="82"/>
                </a:cubicBezTo>
                <a:cubicBezTo>
                  <a:pt x="18" y="82"/>
                  <a:pt x="0" y="64"/>
                  <a:pt x="0" y="41"/>
                </a:cubicBezTo>
                <a:cubicBezTo>
                  <a:pt x="0" y="18"/>
                  <a:pt x="18" y="0"/>
                  <a:pt x="41" y="0"/>
                </a:cubicBezTo>
                <a:cubicBezTo>
                  <a:pt x="52" y="0"/>
                  <a:pt x="61" y="4"/>
                  <a:pt x="68" y="11"/>
                </a:cubicBezTo>
                <a:cubicBezTo>
                  <a:pt x="57" y="22"/>
                  <a:pt x="57" y="22"/>
                  <a:pt x="57" y="22"/>
                </a:cubicBezTo>
                <a:cubicBezTo>
                  <a:pt x="54" y="19"/>
                  <a:pt x="49" y="15"/>
                  <a:pt x="41" y="15"/>
                </a:cubicBezTo>
                <a:cubicBezTo>
                  <a:pt x="27" y="15"/>
                  <a:pt x="15" y="27"/>
                  <a:pt x="15" y="41"/>
                </a:cubicBezTo>
                <a:cubicBezTo>
                  <a:pt x="15" y="55"/>
                  <a:pt x="27" y="67"/>
                  <a:pt x="41" y="67"/>
                </a:cubicBezTo>
                <a:cubicBezTo>
                  <a:pt x="57" y="67"/>
                  <a:pt x="63" y="55"/>
                  <a:pt x="64" y="49"/>
                </a:cubicBezTo>
                <a:cubicBezTo>
                  <a:pt x="41" y="49"/>
                  <a:pt x="41" y="49"/>
                  <a:pt x="41" y="49"/>
                </a:cubicBezTo>
                <a:cubicBezTo>
                  <a:pt x="41" y="35"/>
                  <a:pt x="41" y="35"/>
                  <a:pt x="41" y="35"/>
                </a:cubicBezTo>
                <a:close/>
                <a:moveTo>
                  <a:pt x="128" y="35"/>
                </a:moveTo>
                <a:cubicBezTo>
                  <a:pt x="116" y="35"/>
                  <a:pt x="116" y="35"/>
                  <a:pt x="116" y="35"/>
                </a:cubicBezTo>
                <a:cubicBezTo>
                  <a:pt x="116" y="24"/>
                  <a:pt x="116" y="24"/>
                  <a:pt x="116" y="24"/>
                </a:cubicBezTo>
                <a:cubicBezTo>
                  <a:pt x="105" y="24"/>
                  <a:pt x="105" y="24"/>
                  <a:pt x="105" y="24"/>
                </a:cubicBezTo>
                <a:cubicBezTo>
                  <a:pt x="105" y="35"/>
                  <a:pt x="105" y="35"/>
                  <a:pt x="105" y="35"/>
                </a:cubicBezTo>
                <a:cubicBezTo>
                  <a:pt x="93" y="35"/>
                  <a:pt x="93" y="35"/>
                  <a:pt x="93" y="35"/>
                </a:cubicBezTo>
                <a:cubicBezTo>
                  <a:pt x="93" y="47"/>
                  <a:pt x="93" y="47"/>
                  <a:pt x="93" y="47"/>
                </a:cubicBezTo>
                <a:cubicBezTo>
                  <a:pt x="105" y="47"/>
                  <a:pt x="105" y="47"/>
                  <a:pt x="105" y="47"/>
                </a:cubicBezTo>
                <a:cubicBezTo>
                  <a:pt x="105" y="58"/>
                  <a:pt x="105" y="58"/>
                  <a:pt x="105" y="58"/>
                </a:cubicBezTo>
                <a:cubicBezTo>
                  <a:pt x="116" y="58"/>
                  <a:pt x="116" y="58"/>
                  <a:pt x="116" y="58"/>
                </a:cubicBezTo>
                <a:cubicBezTo>
                  <a:pt x="116" y="47"/>
                  <a:pt x="116" y="47"/>
                  <a:pt x="116" y="47"/>
                </a:cubicBezTo>
                <a:cubicBezTo>
                  <a:pt x="128" y="47"/>
                  <a:pt x="128" y="47"/>
                  <a:pt x="128" y="47"/>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2" name="Freeform: Shape 161">
            <a:extLst>
              <a:ext uri="{FF2B5EF4-FFF2-40B4-BE49-F238E27FC236}">
                <a16:creationId xmlns:a16="http://schemas.microsoft.com/office/drawing/2014/main" id="{11A95821-6E65-46FA-8419-D0086F5F3B30}"/>
              </a:ext>
            </a:extLst>
          </p:cNvPr>
          <p:cNvSpPr/>
          <p:nvPr/>
        </p:nvSpPr>
        <p:spPr>
          <a:xfrm>
            <a:off x="2770617" y="1700284"/>
            <a:ext cx="228600" cy="304800"/>
          </a:xfrm>
          <a:custGeom>
            <a:avLst/>
            <a:gdLst>
              <a:gd name="connsiteX0" fmla="*/ 114300 w 228600"/>
              <a:gd name="connsiteY0" fmla="*/ 304800 h 304800"/>
              <a:gd name="connsiteX1" fmla="*/ 0 w 228600"/>
              <a:gd name="connsiteY1" fmla="*/ 190500 h 304800"/>
              <a:gd name="connsiteX2" fmla="*/ 19050 w 228600"/>
              <a:gd name="connsiteY2" fmla="*/ 127635 h 304800"/>
              <a:gd name="connsiteX3" fmla="*/ 114300 w 228600"/>
              <a:gd name="connsiteY3" fmla="*/ 0 h 304800"/>
              <a:gd name="connsiteX4" fmla="*/ 209550 w 228600"/>
              <a:gd name="connsiteY4" fmla="*/ 127635 h 304800"/>
              <a:gd name="connsiteX5" fmla="*/ 228600 w 228600"/>
              <a:gd name="connsiteY5" fmla="*/ 190500 h 304800"/>
              <a:gd name="connsiteX6" fmla="*/ 114300 w 228600"/>
              <a:gd name="connsiteY6" fmla="*/ 304800 h 304800"/>
              <a:gd name="connsiteX7" fmla="*/ 114300 w 228600"/>
              <a:gd name="connsiteY7" fmla="*/ 31433 h 304800"/>
              <a:gd name="connsiteX8" fmla="*/ 34290 w 228600"/>
              <a:gd name="connsiteY8" fmla="*/ 138113 h 304800"/>
              <a:gd name="connsiteX9" fmla="*/ 19050 w 228600"/>
              <a:gd name="connsiteY9" fmla="*/ 190500 h 304800"/>
              <a:gd name="connsiteX10" fmla="*/ 114300 w 228600"/>
              <a:gd name="connsiteY10" fmla="*/ 285750 h 304800"/>
              <a:gd name="connsiteX11" fmla="*/ 114300 w 228600"/>
              <a:gd name="connsiteY11" fmla="*/ 3143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8600" h="304800">
                <a:moveTo>
                  <a:pt x="114300" y="304800"/>
                </a:moveTo>
                <a:cubicBezTo>
                  <a:pt x="51435" y="304800"/>
                  <a:pt x="0" y="253365"/>
                  <a:pt x="0" y="190500"/>
                </a:cubicBezTo>
                <a:cubicBezTo>
                  <a:pt x="0" y="167640"/>
                  <a:pt x="6668" y="144780"/>
                  <a:pt x="19050" y="127635"/>
                </a:cubicBezTo>
                <a:cubicBezTo>
                  <a:pt x="40005" y="98108"/>
                  <a:pt x="114300" y="0"/>
                  <a:pt x="114300" y="0"/>
                </a:cubicBezTo>
                <a:cubicBezTo>
                  <a:pt x="114300" y="0"/>
                  <a:pt x="188595" y="98108"/>
                  <a:pt x="209550" y="127635"/>
                </a:cubicBezTo>
                <a:cubicBezTo>
                  <a:pt x="220980" y="144780"/>
                  <a:pt x="228600" y="167640"/>
                  <a:pt x="228600" y="190500"/>
                </a:cubicBezTo>
                <a:cubicBezTo>
                  <a:pt x="228600" y="253365"/>
                  <a:pt x="177165" y="304800"/>
                  <a:pt x="114300" y="304800"/>
                </a:cubicBezTo>
                <a:close/>
                <a:moveTo>
                  <a:pt x="114300" y="31433"/>
                </a:moveTo>
                <a:cubicBezTo>
                  <a:pt x="96203" y="55245"/>
                  <a:pt x="50483" y="115253"/>
                  <a:pt x="34290" y="138113"/>
                </a:cubicBezTo>
                <a:cubicBezTo>
                  <a:pt x="24765" y="152400"/>
                  <a:pt x="19050" y="172403"/>
                  <a:pt x="19050" y="190500"/>
                </a:cubicBezTo>
                <a:cubicBezTo>
                  <a:pt x="19050" y="242888"/>
                  <a:pt x="61913" y="285750"/>
                  <a:pt x="114300" y="285750"/>
                </a:cubicBezTo>
                <a:lnTo>
                  <a:pt x="114300" y="31433"/>
                </a:lnTo>
                <a:close/>
              </a:path>
            </a:pathLst>
          </a:custGeom>
          <a:solidFill>
            <a:schemeClr val="tx2"/>
          </a:solidFill>
          <a:ln w="9525" cap="flat">
            <a:noFill/>
            <a:prstDash val="solid"/>
            <a:miter/>
          </a:ln>
        </p:spPr>
        <p:txBody>
          <a:bodyPr rtlCol="0" anchor="ctr"/>
          <a:lstStyle/>
          <a:p>
            <a:endParaRPr lang="en-GB"/>
          </a:p>
        </p:txBody>
      </p:sp>
      <p:sp>
        <p:nvSpPr>
          <p:cNvPr id="83" name="Freihandform: Form 50">
            <a:extLst>
              <a:ext uri="{FF2B5EF4-FFF2-40B4-BE49-F238E27FC236}">
                <a16:creationId xmlns:a16="http://schemas.microsoft.com/office/drawing/2014/main" id="{9352388D-A4B3-47F1-93B8-6F6B11CC40E5}"/>
              </a:ext>
            </a:extLst>
          </p:cNvPr>
          <p:cNvSpPr>
            <a:spLocks noChangeAspect="1"/>
          </p:cNvSpPr>
          <p:nvPr/>
        </p:nvSpPr>
        <p:spPr>
          <a:xfrm>
            <a:off x="2701751" y="2488054"/>
            <a:ext cx="366332" cy="330880"/>
          </a:xfrm>
          <a:custGeom>
            <a:avLst/>
            <a:gdLst>
              <a:gd name="connsiteX0" fmla="*/ 228600 w 295275"/>
              <a:gd name="connsiteY0" fmla="*/ 76200 h 266700"/>
              <a:gd name="connsiteX1" fmla="*/ 38100 w 295275"/>
              <a:gd name="connsiteY1" fmla="*/ 76200 h 266700"/>
              <a:gd name="connsiteX2" fmla="*/ 38100 w 295275"/>
              <a:gd name="connsiteY2" fmla="*/ 57150 h 266700"/>
              <a:gd name="connsiteX3" fmla="*/ 228600 w 295275"/>
              <a:gd name="connsiteY3" fmla="*/ 57150 h 266700"/>
              <a:gd name="connsiteX4" fmla="*/ 228600 w 295275"/>
              <a:gd name="connsiteY4" fmla="*/ 76200 h 266700"/>
              <a:gd name="connsiteX5" fmla="*/ 228600 w 295275"/>
              <a:gd name="connsiteY5" fmla="*/ 28575 h 266700"/>
              <a:gd name="connsiteX6" fmla="*/ 38100 w 295275"/>
              <a:gd name="connsiteY6" fmla="*/ 28575 h 266700"/>
              <a:gd name="connsiteX7" fmla="*/ 38100 w 295275"/>
              <a:gd name="connsiteY7" fmla="*/ 47625 h 266700"/>
              <a:gd name="connsiteX8" fmla="*/ 228600 w 295275"/>
              <a:gd name="connsiteY8" fmla="*/ 47625 h 266700"/>
              <a:gd name="connsiteX9" fmla="*/ 228600 w 295275"/>
              <a:gd name="connsiteY9" fmla="*/ 28575 h 266700"/>
              <a:gd name="connsiteX10" fmla="*/ 228600 w 295275"/>
              <a:gd name="connsiteY10" fmla="*/ 0 h 266700"/>
              <a:gd name="connsiteX11" fmla="*/ 38100 w 295275"/>
              <a:gd name="connsiteY11" fmla="*/ 0 h 266700"/>
              <a:gd name="connsiteX12" fmla="*/ 38100 w 295275"/>
              <a:gd name="connsiteY12" fmla="*/ 19050 h 266700"/>
              <a:gd name="connsiteX13" fmla="*/ 228600 w 295275"/>
              <a:gd name="connsiteY13" fmla="*/ 19050 h 266700"/>
              <a:gd name="connsiteX14" fmla="*/ 228600 w 295275"/>
              <a:gd name="connsiteY14" fmla="*/ 0 h 266700"/>
              <a:gd name="connsiteX15" fmla="*/ 296437 w 295275"/>
              <a:gd name="connsiteY15" fmla="*/ 75038 h 266700"/>
              <a:gd name="connsiteX16" fmla="*/ 256032 w 295275"/>
              <a:gd name="connsiteY16" fmla="*/ 75038 h 266700"/>
              <a:gd name="connsiteX17" fmla="*/ 209340 w 295275"/>
              <a:gd name="connsiteY17" fmla="*/ 121730 h 266700"/>
              <a:gd name="connsiteX18" fmla="*/ 180975 w 295275"/>
              <a:gd name="connsiteY18" fmla="*/ 95250 h 266700"/>
              <a:gd name="connsiteX19" fmla="*/ 76200 w 295275"/>
              <a:gd name="connsiteY19" fmla="*/ 95250 h 266700"/>
              <a:gd name="connsiteX20" fmla="*/ 0 w 295275"/>
              <a:gd name="connsiteY20" fmla="*/ 171450 h 266700"/>
              <a:gd name="connsiteX21" fmla="*/ 0 w 295275"/>
              <a:gd name="connsiteY21" fmla="*/ 198387 h 266700"/>
              <a:gd name="connsiteX22" fmla="*/ 84087 w 295275"/>
              <a:gd name="connsiteY22" fmla="*/ 114300 h 266700"/>
              <a:gd name="connsiteX23" fmla="*/ 180975 w 295275"/>
              <a:gd name="connsiteY23" fmla="*/ 114300 h 266700"/>
              <a:gd name="connsiteX24" fmla="*/ 190500 w 295275"/>
              <a:gd name="connsiteY24" fmla="*/ 123825 h 266700"/>
              <a:gd name="connsiteX25" fmla="*/ 180975 w 295275"/>
              <a:gd name="connsiteY25" fmla="*/ 133350 h 266700"/>
              <a:gd name="connsiteX26" fmla="*/ 95250 w 295275"/>
              <a:gd name="connsiteY26" fmla="*/ 133350 h 266700"/>
              <a:gd name="connsiteX27" fmla="*/ 95250 w 295275"/>
              <a:gd name="connsiteY27" fmla="*/ 152400 h 266700"/>
              <a:gd name="connsiteX28" fmla="*/ 180975 w 295275"/>
              <a:gd name="connsiteY28" fmla="*/ 152400 h 266700"/>
              <a:gd name="connsiteX29" fmla="*/ 205607 w 295275"/>
              <a:gd name="connsiteY29" fmla="*/ 152400 h 266700"/>
              <a:gd name="connsiteX30" fmla="*/ 269500 w 295275"/>
              <a:gd name="connsiteY30" fmla="*/ 88506 h 266700"/>
              <a:gd name="connsiteX31" fmla="*/ 282969 w 295275"/>
              <a:gd name="connsiteY31" fmla="*/ 88506 h 266700"/>
              <a:gd name="connsiteX32" fmla="*/ 282969 w 295275"/>
              <a:gd name="connsiteY32" fmla="*/ 101975 h 266700"/>
              <a:gd name="connsiteX33" fmla="*/ 197234 w 295275"/>
              <a:gd name="connsiteY33" fmla="*/ 187709 h 266700"/>
              <a:gd name="connsiteX34" fmla="*/ 190500 w 295275"/>
              <a:gd name="connsiteY34" fmla="*/ 190500 h 266700"/>
              <a:gd name="connsiteX35" fmla="*/ 76210 w 295275"/>
              <a:gd name="connsiteY35" fmla="*/ 190500 h 266700"/>
              <a:gd name="connsiteX36" fmla="*/ 0 w 295275"/>
              <a:gd name="connsiteY36" fmla="*/ 266700 h 266700"/>
              <a:gd name="connsiteX37" fmla="*/ 26937 w 295275"/>
              <a:gd name="connsiteY37" fmla="*/ 266700 h 266700"/>
              <a:gd name="connsiteX38" fmla="*/ 84096 w 295275"/>
              <a:gd name="connsiteY38" fmla="*/ 209550 h 266700"/>
              <a:gd name="connsiteX39" fmla="*/ 190500 w 295275"/>
              <a:gd name="connsiteY39" fmla="*/ 209550 h 266700"/>
              <a:gd name="connsiteX40" fmla="*/ 210703 w 295275"/>
              <a:gd name="connsiteY40" fmla="*/ 201178 h 266700"/>
              <a:gd name="connsiteX41" fmla="*/ 296437 w 295275"/>
              <a:gd name="connsiteY41" fmla="*/ 115443 h 266700"/>
              <a:gd name="connsiteX42" fmla="*/ 296437 w 295275"/>
              <a:gd name="connsiteY42" fmla="*/ 75038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5275" h="266700">
                <a:moveTo>
                  <a:pt x="228600" y="76200"/>
                </a:moveTo>
                <a:lnTo>
                  <a:pt x="38100" y="76200"/>
                </a:lnTo>
                <a:lnTo>
                  <a:pt x="38100" y="57150"/>
                </a:lnTo>
                <a:lnTo>
                  <a:pt x="228600" y="57150"/>
                </a:lnTo>
                <a:lnTo>
                  <a:pt x="228600" y="76200"/>
                </a:lnTo>
                <a:close/>
                <a:moveTo>
                  <a:pt x="228600" y="28575"/>
                </a:moveTo>
                <a:lnTo>
                  <a:pt x="38100" y="28575"/>
                </a:lnTo>
                <a:lnTo>
                  <a:pt x="38100" y="47625"/>
                </a:lnTo>
                <a:lnTo>
                  <a:pt x="228600" y="47625"/>
                </a:lnTo>
                <a:lnTo>
                  <a:pt x="228600" y="28575"/>
                </a:lnTo>
                <a:close/>
                <a:moveTo>
                  <a:pt x="228600" y="0"/>
                </a:moveTo>
                <a:lnTo>
                  <a:pt x="38100" y="0"/>
                </a:lnTo>
                <a:lnTo>
                  <a:pt x="38100" y="19050"/>
                </a:lnTo>
                <a:lnTo>
                  <a:pt x="228600" y="19050"/>
                </a:lnTo>
                <a:lnTo>
                  <a:pt x="228600" y="0"/>
                </a:lnTo>
                <a:close/>
                <a:moveTo>
                  <a:pt x="296437" y="75038"/>
                </a:moveTo>
                <a:cubicBezTo>
                  <a:pt x="285293" y="63894"/>
                  <a:pt x="267176" y="63894"/>
                  <a:pt x="256032" y="75038"/>
                </a:cubicBezTo>
                <a:lnTo>
                  <a:pt x="209340" y="121730"/>
                </a:lnTo>
                <a:cubicBezTo>
                  <a:pt x="208245" y="106966"/>
                  <a:pt x="196015" y="95250"/>
                  <a:pt x="180975" y="95250"/>
                </a:cubicBezTo>
                <a:lnTo>
                  <a:pt x="76200" y="95250"/>
                </a:lnTo>
                <a:lnTo>
                  <a:pt x="0" y="171450"/>
                </a:lnTo>
                <a:lnTo>
                  <a:pt x="0" y="198387"/>
                </a:lnTo>
                <a:lnTo>
                  <a:pt x="84087" y="114300"/>
                </a:lnTo>
                <a:lnTo>
                  <a:pt x="180975" y="114300"/>
                </a:lnTo>
                <a:cubicBezTo>
                  <a:pt x="186233" y="114300"/>
                  <a:pt x="190500" y="118577"/>
                  <a:pt x="190500" y="123825"/>
                </a:cubicBezTo>
                <a:cubicBezTo>
                  <a:pt x="190500" y="129083"/>
                  <a:pt x="186233" y="133350"/>
                  <a:pt x="180975" y="133350"/>
                </a:cubicBezTo>
                <a:lnTo>
                  <a:pt x="95250" y="133350"/>
                </a:lnTo>
                <a:lnTo>
                  <a:pt x="95250" y="152400"/>
                </a:lnTo>
                <a:lnTo>
                  <a:pt x="180975" y="152400"/>
                </a:lnTo>
                <a:lnTo>
                  <a:pt x="205607" y="152400"/>
                </a:lnTo>
                <a:lnTo>
                  <a:pt x="269500" y="88506"/>
                </a:lnTo>
                <a:cubicBezTo>
                  <a:pt x="273225" y="84792"/>
                  <a:pt x="279254" y="84792"/>
                  <a:pt x="282969" y="88506"/>
                </a:cubicBezTo>
                <a:cubicBezTo>
                  <a:pt x="286683" y="92221"/>
                  <a:pt x="286683" y="98260"/>
                  <a:pt x="282969" y="101975"/>
                </a:cubicBezTo>
                <a:lnTo>
                  <a:pt x="197234" y="187709"/>
                </a:lnTo>
                <a:cubicBezTo>
                  <a:pt x="195463" y="189490"/>
                  <a:pt x="193005" y="190500"/>
                  <a:pt x="190500" y="190500"/>
                </a:cubicBezTo>
                <a:lnTo>
                  <a:pt x="76210" y="190500"/>
                </a:lnTo>
                <a:lnTo>
                  <a:pt x="0" y="266700"/>
                </a:lnTo>
                <a:lnTo>
                  <a:pt x="26937" y="266700"/>
                </a:lnTo>
                <a:lnTo>
                  <a:pt x="84096" y="209550"/>
                </a:lnTo>
                <a:lnTo>
                  <a:pt x="190500" y="209550"/>
                </a:lnTo>
                <a:cubicBezTo>
                  <a:pt x="198130" y="209550"/>
                  <a:pt x="205311" y="206578"/>
                  <a:pt x="210703" y="201178"/>
                </a:cubicBezTo>
                <a:lnTo>
                  <a:pt x="296437" y="115443"/>
                </a:lnTo>
                <a:cubicBezTo>
                  <a:pt x="307581" y="104308"/>
                  <a:pt x="307581" y="86173"/>
                  <a:pt x="296437" y="75038"/>
                </a:cubicBezTo>
                <a:close/>
              </a:path>
            </a:pathLst>
          </a:custGeom>
          <a:solidFill>
            <a:schemeClr val="tx2"/>
          </a:solidFill>
          <a:ln w="9525" cap="flat">
            <a:noFill/>
            <a:prstDash val="solid"/>
            <a:miter/>
          </a:ln>
        </p:spPr>
        <p:txBody>
          <a:bodyPr rtlCol="0" anchor="ctr"/>
          <a:lstStyle/>
          <a:p>
            <a:endParaRPr lang="en-GB" dirty="0"/>
          </a:p>
        </p:txBody>
      </p:sp>
      <p:sp>
        <p:nvSpPr>
          <p:cNvPr id="84" name="Freihandform: Form 54">
            <a:extLst>
              <a:ext uri="{FF2B5EF4-FFF2-40B4-BE49-F238E27FC236}">
                <a16:creationId xmlns:a16="http://schemas.microsoft.com/office/drawing/2014/main" id="{4CA7E502-52F8-4FF0-8327-3CB69D55C583}"/>
              </a:ext>
            </a:extLst>
          </p:cNvPr>
          <p:cNvSpPr>
            <a:spLocks noChangeAspect="1"/>
          </p:cNvSpPr>
          <p:nvPr/>
        </p:nvSpPr>
        <p:spPr>
          <a:xfrm>
            <a:off x="3722617" y="3244273"/>
            <a:ext cx="415471" cy="363537"/>
          </a:xfrm>
          <a:custGeom>
            <a:avLst/>
            <a:gdLst>
              <a:gd name="connsiteX0" fmla="*/ 223867 w 304800"/>
              <a:gd name="connsiteY0" fmla="*/ 105 h 266700"/>
              <a:gd name="connsiteX1" fmla="*/ 165288 w 304800"/>
              <a:gd name="connsiteY1" fmla="*/ 24479 h 266700"/>
              <a:gd name="connsiteX2" fmla="*/ 152410 w 304800"/>
              <a:gd name="connsiteY2" fmla="*/ 37252 h 266700"/>
              <a:gd name="connsiteX3" fmla="*/ 139532 w 304800"/>
              <a:gd name="connsiteY3" fmla="*/ 24374 h 266700"/>
              <a:gd name="connsiteX4" fmla="*/ 80953 w 304800"/>
              <a:gd name="connsiteY4" fmla="*/ 0 h 266700"/>
              <a:gd name="connsiteX5" fmla="*/ 23651 w 304800"/>
              <a:gd name="connsiteY5" fmla="*/ 23689 h 266700"/>
              <a:gd name="connsiteX6" fmla="*/ 24337 w 304800"/>
              <a:gd name="connsiteY6" fmla="*/ 139560 h 266700"/>
              <a:gd name="connsiteX7" fmla="*/ 152105 w 304800"/>
              <a:gd name="connsiteY7" fmla="*/ 267329 h 266700"/>
              <a:gd name="connsiteX8" fmla="*/ 152410 w 304800"/>
              <a:gd name="connsiteY8" fmla="*/ 267033 h 266700"/>
              <a:gd name="connsiteX9" fmla="*/ 152705 w 304800"/>
              <a:gd name="connsiteY9" fmla="*/ 267329 h 266700"/>
              <a:gd name="connsiteX10" fmla="*/ 280474 w 304800"/>
              <a:gd name="connsiteY10" fmla="*/ 139560 h 266700"/>
              <a:gd name="connsiteX11" fmla="*/ 281159 w 304800"/>
              <a:gd name="connsiteY11" fmla="*/ 23689 h 266700"/>
              <a:gd name="connsiteX12" fmla="*/ 223867 w 304800"/>
              <a:gd name="connsiteY12" fmla="*/ 105 h 266700"/>
              <a:gd name="connsiteX13" fmla="*/ 223867 w 304800"/>
              <a:gd name="connsiteY13" fmla="*/ 105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4800" h="266700">
                <a:moveTo>
                  <a:pt x="223867" y="105"/>
                </a:moveTo>
                <a:cubicBezTo>
                  <a:pt x="202731" y="105"/>
                  <a:pt x="181509" y="8258"/>
                  <a:pt x="165288" y="24479"/>
                </a:cubicBezTo>
                <a:lnTo>
                  <a:pt x="152410" y="37252"/>
                </a:lnTo>
                <a:lnTo>
                  <a:pt x="139532" y="24374"/>
                </a:lnTo>
                <a:cubicBezTo>
                  <a:pt x="123321" y="8153"/>
                  <a:pt x="102080" y="0"/>
                  <a:pt x="80953" y="0"/>
                </a:cubicBezTo>
                <a:cubicBezTo>
                  <a:pt x="60113" y="0"/>
                  <a:pt x="39482" y="7858"/>
                  <a:pt x="23651" y="23689"/>
                </a:cubicBezTo>
                <a:cubicBezTo>
                  <a:pt x="-8191" y="55531"/>
                  <a:pt x="-7800" y="107423"/>
                  <a:pt x="24337" y="139560"/>
                </a:cubicBezTo>
                <a:lnTo>
                  <a:pt x="152105" y="267329"/>
                </a:lnTo>
                <a:lnTo>
                  <a:pt x="152410" y="267033"/>
                </a:lnTo>
                <a:lnTo>
                  <a:pt x="152705" y="267329"/>
                </a:lnTo>
                <a:lnTo>
                  <a:pt x="280474" y="139560"/>
                </a:lnTo>
                <a:cubicBezTo>
                  <a:pt x="312611" y="107318"/>
                  <a:pt x="313002" y="55436"/>
                  <a:pt x="281159" y="23689"/>
                </a:cubicBezTo>
                <a:cubicBezTo>
                  <a:pt x="265329" y="7963"/>
                  <a:pt x="244603" y="105"/>
                  <a:pt x="223867" y="105"/>
                </a:cubicBezTo>
                <a:lnTo>
                  <a:pt x="223867" y="105"/>
                </a:lnTo>
                <a:close/>
              </a:path>
            </a:pathLst>
          </a:custGeom>
          <a:solidFill>
            <a:schemeClr val="tx2"/>
          </a:solidFill>
          <a:ln w="9525" cap="flat">
            <a:noFill/>
            <a:prstDash val="solid"/>
            <a:miter/>
          </a:ln>
        </p:spPr>
        <p:txBody>
          <a:bodyPr rtlCol="0" anchor="ctr"/>
          <a:lstStyle/>
          <a:p>
            <a:endParaRPr lang="en-GB" dirty="0"/>
          </a:p>
        </p:txBody>
      </p:sp>
      <p:sp>
        <p:nvSpPr>
          <p:cNvPr id="85" name="Freihandform: Form 58">
            <a:extLst>
              <a:ext uri="{FF2B5EF4-FFF2-40B4-BE49-F238E27FC236}">
                <a16:creationId xmlns:a16="http://schemas.microsoft.com/office/drawing/2014/main" id="{EF9ECB15-9CEB-4498-B070-751DEB61ABB1}"/>
              </a:ext>
            </a:extLst>
          </p:cNvPr>
          <p:cNvSpPr>
            <a:spLocks noChangeAspect="1"/>
          </p:cNvSpPr>
          <p:nvPr/>
        </p:nvSpPr>
        <p:spPr>
          <a:xfrm>
            <a:off x="6054695" y="1674241"/>
            <a:ext cx="407193" cy="330843"/>
          </a:xfrm>
          <a:custGeom>
            <a:avLst/>
            <a:gdLst>
              <a:gd name="connsiteX0" fmla="*/ 304800 w 304800"/>
              <a:gd name="connsiteY0" fmla="*/ 152400 h 247650"/>
              <a:gd name="connsiteX1" fmla="*/ 285750 w 304800"/>
              <a:gd name="connsiteY1" fmla="*/ 152400 h 247650"/>
              <a:gd name="connsiteX2" fmla="*/ 152400 w 304800"/>
              <a:gd name="connsiteY2" fmla="*/ 19050 h 247650"/>
              <a:gd name="connsiteX3" fmla="*/ 19050 w 304800"/>
              <a:gd name="connsiteY3" fmla="*/ 152400 h 247650"/>
              <a:gd name="connsiteX4" fmla="*/ 0 w 304800"/>
              <a:gd name="connsiteY4" fmla="*/ 152400 h 247650"/>
              <a:gd name="connsiteX5" fmla="*/ 152400 w 304800"/>
              <a:gd name="connsiteY5" fmla="*/ 0 h 247650"/>
              <a:gd name="connsiteX6" fmla="*/ 304800 w 304800"/>
              <a:gd name="connsiteY6" fmla="*/ 152400 h 247650"/>
              <a:gd name="connsiteX7" fmla="*/ 228600 w 304800"/>
              <a:gd name="connsiteY7" fmla="*/ 139265 h 247650"/>
              <a:gd name="connsiteX8" fmla="*/ 228600 w 304800"/>
              <a:gd name="connsiteY8" fmla="*/ 247650 h 247650"/>
              <a:gd name="connsiteX9" fmla="*/ 76200 w 304800"/>
              <a:gd name="connsiteY9" fmla="*/ 247650 h 247650"/>
              <a:gd name="connsiteX10" fmla="*/ 76200 w 304800"/>
              <a:gd name="connsiteY10" fmla="*/ 139217 h 247650"/>
              <a:gd name="connsiteX11" fmla="*/ 152333 w 304800"/>
              <a:gd name="connsiteY11" fmla="*/ 95250 h 247650"/>
              <a:gd name="connsiteX12" fmla="*/ 228600 w 304800"/>
              <a:gd name="connsiteY12" fmla="*/ 139265 h 247650"/>
              <a:gd name="connsiteX13" fmla="*/ 209550 w 304800"/>
              <a:gd name="connsiteY13" fmla="*/ 150266 h 247650"/>
              <a:gd name="connsiteX14" fmla="*/ 152333 w 304800"/>
              <a:gd name="connsiteY14" fmla="*/ 117243 h 247650"/>
              <a:gd name="connsiteX15" fmla="*/ 95250 w 304800"/>
              <a:gd name="connsiteY15" fmla="*/ 150219 h 247650"/>
              <a:gd name="connsiteX16" fmla="*/ 95250 w 304800"/>
              <a:gd name="connsiteY16" fmla="*/ 228600 h 247650"/>
              <a:gd name="connsiteX17" fmla="*/ 160868 w 304800"/>
              <a:gd name="connsiteY17" fmla="*/ 228600 h 247650"/>
              <a:gd name="connsiteX18" fmla="*/ 160868 w 304800"/>
              <a:gd name="connsiteY18" fmla="*/ 180003 h 247650"/>
              <a:gd name="connsiteX19" fmla="*/ 194739 w 304800"/>
              <a:gd name="connsiteY19" fmla="*/ 180003 h 247650"/>
              <a:gd name="connsiteX20" fmla="*/ 194739 w 304800"/>
              <a:gd name="connsiteY20" fmla="*/ 228600 h 247650"/>
              <a:gd name="connsiteX21" fmla="*/ 209550 w 304800"/>
              <a:gd name="connsiteY21" fmla="*/ 228600 h 247650"/>
              <a:gd name="connsiteX22" fmla="*/ 209550 w 304800"/>
              <a:gd name="connsiteY22" fmla="*/ 150266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04800" h="247650">
                <a:moveTo>
                  <a:pt x="304800" y="152400"/>
                </a:moveTo>
                <a:lnTo>
                  <a:pt x="285750" y="152400"/>
                </a:lnTo>
                <a:cubicBezTo>
                  <a:pt x="285750" y="78857"/>
                  <a:pt x="225933" y="19050"/>
                  <a:pt x="152400" y="19050"/>
                </a:cubicBezTo>
                <a:cubicBezTo>
                  <a:pt x="78867" y="19050"/>
                  <a:pt x="19050" y="78857"/>
                  <a:pt x="19050" y="152400"/>
                </a:cubicBezTo>
                <a:lnTo>
                  <a:pt x="0" y="152400"/>
                </a:lnTo>
                <a:cubicBezTo>
                  <a:pt x="0" y="68370"/>
                  <a:pt x="68370" y="0"/>
                  <a:pt x="152400" y="0"/>
                </a:cubicBezTo>
                <a:cubicBezTo>
                  <a:pt x="236430" y="0"/>
                  <a:pt x="304800" y="68370"/>
                  <a:pt x="304800" y="152400"/>
                </a:cubicBezTo>
                <a:close/>
                <a:moveTo>
                  <a:pt x="228600" y="139265"/>
                </a:moveTo>
                <a:lnTo>
                  <a:pt x="228600" y="247650"/>
                </a:lnTo>
                <a:lnTo>
                  <a:pt x="76200" y="247650"/>
                </a:lnTo>
                <a:lnTo>
                  <a:pt x="76200" y="139217"/>
                </a:lnTo>
                <a:lnTo>
                  <a:pt x="152333" y="95250"/>
                </a:lnTo>
                <a:lnTo>
                  <a:pt x="228600" y="139265"/>
                </a:lnTo>
                <a:close/>
                <a:moveTo>
                  <a:pt x="209550" y="150266"/>
                </a:moveTo>
                <a:lnTo>
                  <a:pt x="152333" y="117243"/>
                </a:lnTo>
                <a:lnTo>
                  <a:pt x="95250" y="150219"/>
                </a:lnTo>
                <a:lnTo>
                  <a:pt x="95250" y="228600"/>
                </a:lnTo>
                <a:lnTo>
                  <a:pt x="160868" y="228600"/>
                </a:lnTo>
                <a:lnTo>
                  <a:pt x="160868" y="180003"/>
                </a:lnTo>
                <a:lnTo>
                  <a:pt x="194739" y="180003"/>
                </a:lnTo>
                <a:lnTo>
                  <a:pt x="194739" y="228600"/>
                </a:lnTo>
                <a:lnTo>
                  <a:pt x="209550" y="228600"/>
                </a:lnTo>
                <a:lnTo>
                  <a:pt x="209550" y="150266"/>
                </a:lnTo>
                <a:close/>
              </a:path>
            </a:pathLst>
          </a:custGeom>
          <a:solidFill>
            <a:schemeClr val="tx2"/>
          </a:solidFill>
          <a:ln w="9525" cap="flat">
            <a:noFill/>
            <a:prstDash val="solid"/>
            <a:miter/>
          </a:ln>
        </p:spPr>
        <p:txBody>
          <a:bodyPr rtlCol="0" anchor="ctr"/>
          <a:lstStyle/>
          <a:p>
            <a:endParaRPr lang="en-GB" dirty="0"/>
          </a:p>
        </p:txBody>
      </p:sp>
      <p:sp>
        <p:nvSpPr>
          <p:cNvPr id="86" name="Freihandform: Form 41">
            <a:extLst>
              <a:ext uri="{FF2B5EF4-FFF2-40B4-BE49-F238E27FC236}">
                <a16:creationId xmlns:a16="http://schemas.microsoft.com/office/drawing/2014/main" id="{7FCCB871-A6F0-43A5-9E87-AC0D26094B1A}"/>
              </a:ext>
            </a:extLst>
          </p:cNvPr>
          <p:cNvSpPr>
            <a:spLocks noChangeAspect="1"/>
          </p:cNvSpPr>
          <p:nvPr/>
        </p:nvSpPr>
        <p:spPr>
          <a:xfrm>
            <a:off x="3735121" y="1614622"/>
            <a:ext cx="390462" cy="390462"/>
          </a:xfrm>
          <a:custGeom>
            <a:avLst/>
            <a:gdLst>
              <a:gd name="connsiteX0" fmla="*/ 304800 w 304800"/>
              <a:gd name="connsiteY0" fmla="*/ 304800 h 304800"/>
              <a:gd name="connsiteX1" fmla="*/ 0 w 304800"/>
              <a:gd name="connsiteY1" fmla="*/ 304800 h 304800"/>
              <a:gd name="connsiteX2" fmla="*/ 0 w 304800"/>
              <a:gd name="connsiteY2" fmla="*/ 266700 h 304800"/>
              <a:gd name="connsiteX3" fmla="*/ 304800 w 304800"/>
              <a:gd name="connsiteY3" fmla="*/ 266700 h 304800"/>
              <a:gd name="connsiteX4" fmla="*/ 304800 w 304800"/>
              <a:gd name="connsiteY4" fmla="*/ 304800 h 304800"/>
              <a:gd name="connsiteX5" fmla="*/ 61741 w 304800"/>
              <a:gd name="connsiteY5" fmla="*/ 191100 h 304800"/>
              <a:gd name="connsiteX6" fmla="*/ 161458 w 304800"/>
              <a:gd name="connsiteY6" fmla="*/ 6706 h 304800"/>
              <a:gd name="connsiteX7" fmla="*/ 51654 w 304800"/>
              <a:gd name="connsiteY7" fmla="*/ 185280 h 304800"/>
              <a:gd name="connsiteX8" fmla="*/ 61741 w 304800"/>
              <a:gd name="connsiteY8" fmla="*/ 191100 h 304800"/>
              <a:gd name="connsiteX9" fmla="*/ 28604 w 304800"/>
              <a:gd name="connsiteY9" fmla="*/ 236858 h 304800"/>
              <a:gd name="connsiteX10" fmla="*/ 45510 w 304800"/>
              <a:gd name="connsiteY10" fmla="*/ 238125 h 304800"/>
              <a:gd name="connsiteX11" fmla="*/ 57045 w 304800"/>
              <a:gd name="connsiteY11" fmla="*/ 225695 h 304800"/>
              <a:gd name="connsiteX12" fmla="*/ 54521 w 304800"/>
              <a:gd name="connsiteY12" fmla="*/ 208931 h 304800"/>
              <a:gd name="connsiteX13" fmla="*/ 39834 w 304800"/>
              <a:gd name="connsiteY13" fmla="*/ 200454 h 304800"/>
              <a:gd name="connsiteX14" fmla="*/ 24051 w 304800"/>
              <a:gd name="connsiteY14" fmla="*/ 206645 h 304800"/>
              <a:gd name="connsiteX15" fmla="*/ 19050 w 304800"/>
              <a:gd name="connsiteY15" fmla="*/ 222847 h 304800"/>
              <a:gd name="connsiteX16" fmla="*/ 28604 w 304800"/>
              <a:gd name="connsiteY16" fmla="*/ 236858 h 304800"/>
              <a:gd name="connsiteX17" fmla="*/ 156077 w 304800"/>
              <a:gd name="connsiteY17" fmla="*/ 150866 h 304800"/>
              <a:gd name="connsiteX18" fmla="*/ 237658 w 304800"/>
              <a:gd name="connsiteY18" fmla="*/ 0 h 304800"/>
              <a:gd name="connsiteX19" fmla="*/ 147828 w 304800"/>
              <a:gd name="connsiteY19" fmla="*/ 146104 h 304800"/>
              <a:gd name="connsiteX20" fmla="*/ 156077 w 304800"/>
              <a:gd name="connsiteY20" fmla="*/ 150866 h 304800"/>
              <a:gd name="connsiteX21" fmla="*/ 123854 w 304800"/>
              <a:gd name="connsiteY21" fmla="*/ 197158 h 304800"/>
              <a:gd name="connsiteX22" fmla="*/ 140760 w 304800"/>
              <a:gd name="connsiteY22" fmla="*/ 198425 h 304800"/>
              <a:gd name="connsiteX23" fmla="*/ 152295 w 304800"/>
              <a:gd name="connsiteY23" fmla="*/ 185995 h 304800"/>
              <a:gd name="connsiteX24" fmla="*/ 149771 w 304800"/>
              <a:gd name="connsiteY24" fmla="*/ 169231 h 304800"/>
              <a:gd name="connsiteX25" fmla="*/ 135084 w 304800"/>
              <a:gd name="connsiteY25" fmla="*/ 160753 h 304800"/>
              <a:gd name="connsiteX26" fmla="*/ 119301 w 304800"/>
              <a:gd name="connsiteY26" fmla="*/ 166945 h 304800"/>
              <a:gd name="connsiteX27" fmla="*/ 114300 w 304800"/>
              <a:gd name="connsiteY27" fmla="*/ 183147 h 304800"/>
              <a:gd name="connsiteX28" fmla="*/ 123854 w 304800"/>
              <a:gd name="connsiteY28" fmla="*/ 197158 h 304800"/>
              <a:gd name="connsiteX29" fmla="*/ 213198 w 304800"/>
              <a:gd name="connsiteY29" fmla="*/ 200101 h 304800"/>
              <a:gd name="connsiteX30" fmla="*/ 294780 w 304800"/>
              <a:gd name="connsiteY30" fmla="*/ 49235 h 304800"/>
              <a:gd name="connsiteX31" fmla="*/ 204949 w 304800"/>
              <a:gd name="connsiteY31" fmla="*/ 195339 h 304800"/>
              <a:gd name="connsiteX32" fmla="*/ 213198 w 304800"/>
              <a:gd name="connsiteY32" fmla="*/ 200101 h 304800"/>
              <a:gd name="connsiteX33" fmla="*/ 180975 w 304800"/>
              <a:gd name="connsiteY33" fmla="*/ 246383 h 304800"/>
              <a:gd name="connsiteX34" fmla="*/ 197882 w 304800"/>
              <a:gd name="connsiteY34" fmla="*/ 247650 h 304800"/>
              <a:gd name="connsiteX35" fmla="*/ 209417 w 304800"/>
              <a:gd name="connsiteY35" fmla="*/ 235220 h 304800"/>
              <a:gd name="connsiteX36" fmla="*/ 206893 w 304800"/>
              <a:gd name="connsiteY36" fmla="*/ 218456 h 304800"/>
              <a:gd name="connsiteX37" fmla="*/ 192205 w 304800"/>
              <a:gd name="connsiteY37" fmla="*/ 209979 h 304800"/>
              <a:gd name="connsiteX38" fmla="*/ 176422 w 304800"/>
              <a:gd name="connsiteY38" fmla="*/ 216170 h 304800"/>
              <a:gd name="connsiteX39" fmla="*/ 171421 w 304800"/>
              <a:gd name="connsiteY39" fmla="*/ 232372 h 304800"/>
              <a:gd name="connsiteX40" fmla="*/ 180975 w 304800"/>
              <a:gd name="connsiteY40" fmla="*/ 246383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04800" h="304800">
                <a:moveTo>
                  <a:pt x="304800" y="304800"/>
                </a:moveTo>
                <a:lnTo>
                  <a:pt x="0" y="304800"/>
                </a:lnTo>
                <a:lnTo>
                  <a:pt x="0" y="266700"/>
                </a:lnTo>
                <a:lnTo>
                  <a:pt x="304800" y="266700"/>
                </a:lnTo>
                <a:lnTo>
                  <a:pt x="304800" y="304800"/>
                </a:lnTo>
                <a:close/>
                <a:moveTo>
                  <a:pt x="61741" y="191100"/>
                </a:moveTo>
                <a:lnTo>
                  <a:pt x="161458" y="6706"/>
                </a:lnTo>
                <a:lnTo>
                  <a:pt x="51654" y="185280"/>
                </a:lnTo>
                <a:lnTo>
                  <a:pt x="61741" y="191100"/>
                </a:lnTo>
                <a:close/>
                <a:moveTo>
                  <a:pt x="28604" y="236858"/>
                </a:moveTo>
                <a:lnTo>
                  <a:pt x="45510" y="238125"/>
                </a:lnTo>
                <a:lnTo>
                  <a:pt x="57045" y="225695"/>
                </a:lnTo>
                <a:lnTo>
                  <a:pt x="54521" y="208931"/>
                </a:lnTo>
                <a:lnTo>
                  <a:pt x="39834" y="200454"/>
                </a:lnTo>
                <a:lnTo>
                  <a:pt x="24051" y="206645"/>
                </a:lnTo>
                <a:lnTo>
                  <a:pt x="19050" y="222847"/>
                </a:lnTo>
                <a:lnTo>
                  <a:pt x="28604" y="236858"/>
                </a:lnTo>
                <a:close/>
                <a:moveTo>
                  <a:pt x="156077" y="150866"/>
                </a:moveTo>
                <a:lnTo>
                  <a:pt x="237658" y="0"/>
                </a:lnTo>
                <a:lnTo>
                  <a:pt x="147828" y="146104"/>
                </a:lnTo>
                <a:lnTo>
                  <a:pt x="156077" y="150866"/>
                </a:lnTo>
                <a:close/>
                <a:moveTo>
                  <a:pt x="123854" y="197158"/>
                </a:moveTo>
                <a:lnTo>
                  <a:pt x="140760" y="198425"/>
                </a:lnTo>
                <a:lnTo>
                  <a:pt x="152295" y="185995"/>
                </a:lnTo>
                <a:lnTo>
                  <a:pt x="149771" y="169231"/>
                </a:lnTo>
                <a:lnTo>
                  <a:pt x="135084" y="160753"/>
                </a:lnTo>
                <a:lnTo>
                  <a:pt x="119301" y="166945"/>
                </a:lnTo>
                <a:lnTo>
                  <a:pt x="114300" y="183147"/>
                </a:lnTo>
                <a:lnTo>
                  <a:pt x="123854" y="197158"/>
                </a:lnTo>
                <a:close/>
                <a:moveTo>
                  <a:pt x="213198" y="200101"/>
                </a:moveTo>
                <a:lnTo>
                  <a:pt x="294780" y="49235"/>
                </a:lnTo>
                <a:lnTo>
                  <a:pt x="204949" y="195339"/>
                </a:lnTo>
                <a:lnTo>
                  <a:pt x="213198" y="200101"/>
                </a:lnTo>
                <a:close/>
                <a:moveTo>
                  <a:pt x="180975" y="246383"/>
                </a:moveTo>
                <a:lnTo>
                  <a:pt x="197882" y="247650"/>
                </a:lnTo>
                <a:lnTo>
                  <a:pt x="209417" y="235220"/>
                </a:lnTo>
                <a:lnTo>
                  <a:pt x="206893" y="218456"/>
                </a:lnTo>
                <a:lnTo>
                  <a:pt x="192205" y="209979"/>
                </a:lnTo>
                <a:lnTo>
                  <a:pt x="176422" y="216170"/>
                </a:lnTo>
                <a:lnTo>
                  <a:pt x="171421" y="232372"/>
                </a:lnTo>
                <a:lnTo>
                  <a:pt x="180975" y="246383"/>
                </a:lnTo>
                <a:close/>
              </a:path>
            </a:pathLst>
          </a:custGeom>
          <a:solidFill>
            <a:schemeClr val="tx2"/>
          </a:solidFill>
          <a:ln w="9525" cap="flat">
            <a:noFill/>
            <a:prstDash val="solid"/>
            <a:miter/>
          </a:ln>
        </p:spPr>
        <p:txBody>
          <a:bodyPr rtlCol="0" anchor="ctr"/>
          <a:lstStyle/>
          <a:p>
            <a:endParaRPr lang="en-GB" dirty="0"/>
          </a:p>
        </p:txBody>
      </p:sp>
      <p:pic>
        <p:nvPicPr>
          <p:cNvPr id="90" name="Graphic 89">
            <a:extLst>
              <a:ext uri="{FF2B5EF4-FFF2-40B4-BE49-F238E27FC236}">
                <a16:creationId xmlns:a16="http://schemas.microsoft.com/office/drawing/2014/main" id="{42313635-AEE0-49A2-9E31-E5A9E64974A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31103" y="4101052"/>
            <a:ext cx="363506" cy="363506"/>
          </a:xfrm>
          <a:prstGeom prst="rect">
            <a:avLst/>
          </a:prstGeom>
        </p:spPr>
      </p:pic>
      <p:pic>
        <p:nvPicPr>
          <p:cNvPr id="112" name="Graphic 111">
            <a:extLst>
              <a:ext uri="{FF2B5EF4-FFF2-40B4-BE49-F238E27FC236}">
                <a16:creationId xmlns:a16="http://schemas.microsoft.com/office/drawing/2014/main" id="{7BD2043A-C7C7-4F48-878F-B13D8EB1587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42493" y="2443216"/>
            <a:ext cx="375718" cy="375718"/>
          </a:xfrm>
          <a:prstGeom prst="rect">
            <a:avLst/>
          </a:prstGeom>
        </p:spPr>
      </p:pic>
      <p:pic>
        <p:nvPicPr>
          <p:cNvPr id="113" name="Graphic 112">
            <a:extLst>
              <a:ext uri="{FF2B5EF4-FFF2-40B4-BE49-F238E27FC236}">
                <a16:creationId xmlns:a16="http://schemas.microsoft.com/office/drawing/2014/main" id="{A14C3D94-4187-4EBD-A4D0-68D34B0B30B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06191" y="4088840"/>
            <a:ext cx="375718" cy="375718"/>
          </a:xfrm>
          <a:prstGeom prst="rect">
            <a:avLst/>
          </a:prstGeom>
        </p:spPr>
      </p:pic>
      <p:sp>
        <p:nvSpPr>
          <p:cNvPr id="114" name="Freeform 88">
            <a:extLst>
              <a:ext uri="{FF2B5EF4-FFF2-40B4-BE49-F238E27FC236}">
                <a16:creationId xmlns:a16="http://schemas.microsoft.com/office/drawing/2014/main" id="{C9B68E30-997F-4DA3-B326-47E6AEF7E0DD}"/>
              </a:ext>
            </a:extLst>
          </p:cNvPr>
          <p:cNvSpPr>
            <a:spLocks noEditPoints="1"/>
          </p:cNvSpPr>
          <p:nvPr/>
        </p:nvSpPr>
        <p:spPr bwMode="auto">
          <a:xfrm>
            <a:off x="635300" y="3193472"/>
            <a:ext cx="317500" cy="414338"/>
          </a:xfrm>
          <a:custGeom>
            <a:avLst/>
            <a:gdLst>
              <a:gd name="T0" fmla="*/ 196 w 200"/>
              <a:gd name="T1" fmla="*/ 86 h 261"/>
              <a:gd name="T2" fmla="*/ 200 w 200"/>
              <a:gd name="T3" fmla="*/ 65 h 261"/>
              <a:gd name="T4" fmla="*/ 163 w 200"/>
              <a:gd name="T5" fmla="*/ 65 h 261"/>
              <a:gd name="T6" fmla="*/ 173 w 200"/>
              <a:gd name="T7" fmla="*/ 0 h 261"/>
              <a:gd name="T8" fmla="*/ 151 w 200"/>
              <a:gd name="T9" fmla="*/ 0 h 261"/>
              <a:gd name="T10" fmla="*/ 141 w 200"/>
              <a:gd name="T11" fmla="*/ 65 h 261"/>
              <a:gd name="T12" fmla="*/ 75 w 200"/>
              <a:gd name="T13" fmla="*/ 65 h 261"/>
              <a:gd name="T14" fmla="*/ 86 w 200"/>
              <a:gd name="T15" fmla="*/ 0 h 261"/>
              <a:gd name="T16" fmla="*/ 65 w 200"/>
              <a:gd name="T17" fmla="*/ 0 h 261"/>
              <a:gd name="T18" fmla="*/ 55 w 200"/>
              <a:gd name="T19" fmla="*/ 65 h 261"/>
              <a:gd name="T20" fmla="*/ 18 w 200"/>
              <a:gd name="T21" fmla="*/ 65 h 261"/>
              <a:gd name="T22" fmla="*/ 14 w 200"/>
              <a:gd name="T23" fmla="*/ 86 h 261"/>
              <a:gd name="T24" fmla="*/ 51 w 200"/>
              <a:gd name="T25" fmla="*/ 86 h 261"/>
              <a:gd name="T26" fmla="*/ 41 w 200"/>
              <a:gd name="T27" fmla="*/ 161 h 261"/>
              <a:gd name="T28" fmla="*/ 4 w 200"/>
              <a:gd name="T29" fmla="*/ 161 h 261"/>
              <a:gd name="T30" fmla="*/ 0 w 200"/>
              <a:gd name="T31" fmla="*/ 183 h 261"/>
              <a:gd name="T32" fmla="*/ 37 w 200"/>
              <a:gd name="T33" fmla="*/ 183 h 261"/>
              <a:gd name="T34" fmla="*/ 24 w 200"/>
              <a:gd name="T35" fmla="*/ 261 h 261"/>
              <a:gd name="T36" fmla="*/ 47 w 200"/>
              <a:gd name="T37" fmla="*/ 261 h 261"/>
              <a:gd name="T38" fmla="*/ 59 w 200"/>
              <a:gd name="T39" fmla="*/ 183 h 261"/>
              <a:gd name="T40" fmla="*/ 124 w 200"/>
              <a:gd name="T41" fmla="*/ 183 h 261"/>
              <a:gd name="T42" fmla="*/ 112 w 200"/>
              <a:gd name="T43" fmla="*/ 261 h 261"/>
              <a:gd name="T44" fmla="*/ 133 w 200"/>
              <a:gd name="T45" fmla="*/ 261 h 261"/>
              <a:gd name="T46" fmla="*/ 145 w 200"/>
              <a:gd name="T47" fmla="*/ 183 h 261"/>
              <a:gd name="T48" fmla="*/ 181 w 200"/>
              <a:gd name="T49" fmla="*/ 183 h 261"/>
              <a:gd name="T50" fmla="*/ 186 w 200"/>
              <a:gd name="T51" fmla="*/ 161 h 261"/>
              <a:gd name="T52" fmla="*/ 149 w 200"/>
              <a:gd name="T53" fmla="*/ 161 h 261"/>
              <a:gd name="T54" fmla="*/ 159 w 200"/>
              <a:gd name="T55" fmla="*/ 86 h 261"/>
              <a:gd name="T56" fmla="*/ 196 w 200"/>
              <a:gd name="T57" fmla="*/ 86 h 261"/>
              <a:gd name="T58" fmla="*/ 126 w 200"/>
              <a:gd name="T59" fmla="*/ 161 h 261"/>
              <a:gd name="T60" fmla="*/ 61 w 200"/>
              <a:gd name="T61" fmla="*/ 161 h 261"/>
              <a:gd name="T62" fmla="*/ 73 w 200"/>
              <a:gd name="T63" fmla="*/ 86 h 261"/>
              <a:gd name="T64" fmla="*/ 139 w 200"/>
              <a:gd name="T65" fmla="*/ 86 h 261"/>
              <a:gd name="T66" fmla="*/ 126 w 200"/>
              <a:gd name="T67" fmla="*/ 1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0" h="261">
                <a:moveTo>
                  <a:pt x="196" y="86"/>
                </a:moveTo>
                <a:lnTo>
                  <a:pt x="200" y="65"/>
                </a:lnTo>
                <a:lnTo>
                  <a:pt x="163" y="65"/>
                </a:lnTo>
                <a:lnTo>
                  <a:pt x="173" y="0"/>
                </a:lnTo>
                <a:lnTo>
                  <a:pt x="151" y="0"/>
                </a:lnTo>
                <a:lnTo>
                  <a:pt x="141" y="65"/>
                </a:lnTo>
                <a:lnTo>
                  <a:pt x="75" y="65"/>
                </a:lnTo>
                <a:lnTo>
                  <a:pt x="86" y="0"/>
                </a:lnTo>
                <a:lnTo>
                  <a:pt x="65" y="0"/>
                </a:lnTo>
                <a:lnTo>
                  <a:pt x="55" y="65"/>
                </a:lnTo>
                <a:lnTo>
                  <a:pt x="18" y="65"/>
                </a:lnTo>
                <a:lnTo>
                  <a:pt x="14" y="86"/>
                </a:lnTo>
                <a:lnTo>
                  <a:pt x="51" y="86"/>
                </a:lnTo>
                <a:lnTo>
                  <a:pt x="41" y="161"/>
                </a:lnTo>
                <a:lnTo>
                  <a:pt x="4" y="161"/>
                </a:lnTo>
                <a:lnTo>
                  <a:pt x="0" y="183"/>
                </a:lnTo>
                <a:lnTo>
                  <a:pt x="37" y="183"/>
                </a:lnTo>
                <a:lnTo>
                  <a:pt x="24" y="261"/>
                </a:lnTo>
                <a:lnTo>
                  <a:pt x="47" y="261"/>
                </a:lnTo>
                <a:lnTo>
                  <a:pt x="59" y="183"/>
                </a:lnTo>
                <a:lnTo>
                  <a:pt x="124" y="183"/>
                </a:lnTo>
                <a:lnTo>
                  <a:pt x="112" y="261"/>
                </a:lnTo>
                <a:lnTo>
                  <a:pt x="133" y="261"/>
                </a:lnTo>
                <a:lnTo>
                  <a:pt x="145" y="183"/>
                </a:lnTo>
                <a:lnTo>
                  <a:pt x="181" y="183"/>
                </a:lnTo>
                <a:lnTo>
                  <a:pt x="186" y="161"/>
                </a:lnTo>
                <a:lnTo>
                  <a:pt x="149" y="161"/>
                </a:lnTo>
                <a:lnTo>
                  <a:pt x="159" y="86"/>
                </a:lnTo>
                <a:lnTo>
                  <a:pt x="196" y="86"/>
                </a:lnTo>
                <a:close/>
                <a:moveTo>
                  <a:pt x="126" y="161"/>
                </a:moveTo>
                <a:lnTo>
                  <a:pt x="61" y="161"/>
                </a:lnTo>
                <a:lnTo>
                  <a:pt x="73" y="86"/>
                </a:lnTo>
                <a:lnTo>
                  <a:pt x="139" y="86"/>
                </a:lnTo>
                <a:lnTo>
                  <a:pt x="126" y="161"/>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5" name="Freeform 80">
            <a:extLst>
              <a:ext uri="{FF2B5EF4-FFF2-40B4-BE49-F238E27FC236}">
                <a16:creationId xmlns:a16="http://schemas.microsoft.com/office/drawing/2014/main" id="{2EE3A271-1A77-4F52-997F-5F56245D6B21}"/>
              </a:ext>
            </a:extLst>
          </p:cNvPr>
          <p:cNvSpPr>
            <a:spLocks/>
          </p:cNvSpPr>
          <p:nvPr/>
        </p:nvSpPr>
        <p:spPr bwMode="auto">
          <a:xfrm>
            <a:off x="687688" y="2404596"/>
            <a:ext cx="212725" cy="414338"/>
          </a:xfrm>
          <a:custGeom>
            <a:avLst/>
            <a:gdLst>
              <a:gd name="T0" fmla="*/ 64 w 64"/>
              <a:gd name="T1" fmla="*/ 0 h 128"/>
              <a:gd name="T2" fmla="*/ 0 w 64"/>
              <a:gd name="T3" fmla="*/ 64 h 128"/>
              <a:gd name="T4" fmla="*/ 64 w 64"/>
              <a:gd name="T5" fmla="*/ 128 h 128"/>
            </a:gdLst>
            <a:ahLst/>
            <a:cxnLst>
              <a:cxn ang="0">
                <a:pos x="T0" y="T1"/>
              </a:cxn>
              <a:cxn ang="0">
                <a:pos x="T2" y="T3"/>
              </a:cxn>
              <a:cxn ang="0">
                <a:pos x="T4" y="T5"/>
              </a:cxn>
            </a:cxnLst>
            <a:rect l="0" t="0" r="r" b="b"/>
            <a:pathLst>
              <a:path w="64" h="128">
                <a:moveTo>
                  <a:pt x="64" y="0"/>
                </a:moveTo>
                <a:cubicBezTo>
                  <a:pt x="29" y="0"/>
                  <a:pt x="0" y="29"/>
                  <a:pt x="0" y="64"/>
                </a:cubicBezTo>
                <a:cubicBezTo>
                  <a:pt x="0" y="99"/>
                  <a:pt x="29" y="128"/>
                  <a:pt x="64" y="128"/>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6" name="Freeform 84">
            <a:extLst>
              <a:ext uri="{FF2B5EF4-FFF2-40B4-BE49-F238E27FC236}">
                <a16:creationId xmlns:a16="http://schemas.microsoft.com/office/drawing/2014/main" id="{433A5E1A-C6F9-41DC-BDBA-0C6EE80DF211}"/>
              </a:ext>
            </a:extLst>
          </p:cNvPr>
          <p:cNvSpPr>
            <a:spLocks noEditPoints="1"/>
          </p:cNvSpPr>
          <p:nvPr/>
        </p:nvSpPr>
        <p:spPr bwMode="auto">
          <a:xfrm>
            <a:off x="1633108" y="2404596"/>
            <a:ext cx="412750" cy="414338"/>
          </a:xfrm>
          <a:custGeom>
            <a:avLst/>
            <a:gdLst>
              <a:gd name="T0" fmla="*/ 64 w 128"/>
              <a:gd name="T1" fmla="*/ 8 h 128"/>
              <a:gd name="T2" fmla="*/ 120 w 128"/>
              <a:gd name="T3" fmla="*/ 64 h 128"/>
              <a:gd name="T4" fmla="*/ 64 w 128"/>
              <a:gd name="T5" fmla="*/ 120 h 128"/>
              <a:gd name="T6" fmla="*/ 64 w 128"/>
              <a:gd name="T7" fmla="*/ 8 h 128"/>
              <a:gd name="T8" fmla="*/ 64 w 128"/>
              <a:gd name="T9" fmla="*/ 0 h 128"/>
              <a:gd name="T10" fmla="*/ 0 w 128"/>
              <a:gd name="T11" fmla="*/ 64 h 128"/>
              <a:gd name="T12" fmla="*/ 64 w 128"/>
              <a:gd name="T13" fmla="*/ 128 h 128"/>
              <a:gd name="T14" fmla="*/ 128 w 128"/>
              <a:gd name="T15" fmla="*/ 64 h 128"/>
              <a:gd name="T16" fmla="*/ 64 w 128"/>
              <a:gd name="T17"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8" h="128">
                <a:moveTo>
                  <a:pt x="64" y="8"/>
                </a:moveTo>
                <a:cubicBezTo>
                  <a:pt x="95" y="8"/>
                  <a:pt x="120" y="33"/>
                  <a:pt x="120" y="64"/>
                </a:cubicBezTo>
                <a:cubicBezTo>
                  <a:pt x="120" y="95"/>
                  <a:pt x="95" y="120"/>
                  <a:pt x="64" y="120"/>
                </a:cubicBezTo>
                <a:lnTo>
                  <a:pt x="64" y="8"/>
                </a:lnTo>
                <a:close/>
                <a:moveTo>
                  <a:pt x="64" y="0"/>
                </a:moveTo>
                <a:cubicBezTo>
                  <a:pt x="29" y="0"/>
                  <a:pt x="0" y="29"/>
                  <a:pt x="0" y="64"/>
                </a:cubicBezTo>
                <a:cubicBezTo>
                  <a:pt x="0" y="99"/>
                  <a:pt x="29" y="128"/>
                  <a:pt x="64" y="128"/>
                </a:cubicBezTo>
                <a:cubicBezTo>
                  <a:pt x="99" y="128"/>
                  <a:pt x="128" y="99"/>
                  <a:pt x="128" y="64"/>
                </a:cubicBezTo>
                <a:cubicBezTo>
                  <a:pt x="128" y="29"/>
                  <a:pt x="99" y="0"/>
                  <a:pt x="64"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7" name="Freeform 92">
            <a:extLst>
              <a:ext uri="{FF2B5EF4-FFF2-40B4-BE49-F238E27FC236}">
                <a16:creationId xmlns:a16="http://schemas.microsoft.com/office/drawing/2014/main" id="{DAA01E17-6776-4A77-B2BC-EB2793AF81FD}"/>
              </a:ext>
            </a:extLst>
          </p:cNvPr>
          <p:cNvSpPr>
            <a:spLocks/>
          </p:cNvSpPr>
          <p:nvPr/>
        </p:nvSpPr>
        <p:spPr bwMode="auto">
          <a:xfrm>
            <a:off x="1727565" y="3193472"/>
            <a:ext cx="223837" cy="414338"/>
          </a:xfrm>
          <a:custGeom>
            <a:avLst/>
            <a:gdLst>
              <a:gd name="T0" fmla="*/ 141 w 141"/>
              <a:gd name="T1" fmla="*/ 106 h 261"/>
              <a:gd name="T2" fmla="*/ 50 w 141"/>
              <a:gd name="T3" fmla="*/ 261 h 261"/>
              <a:gd name="T4" fmla="*/ 58 w 141"/>
              <a:gd name="T5" fmla="*/ 155 h 261"/>
              <a:gd name="T6" fmla="*/ 0 w 141"/>
              <a:gd name="T7" fmla="*/ 155 h 261"/>
              <a:gd name="T8" fmla="*/ 91 w 141"/>
              <a:gd name="T9" fmla="*/ 0 h 261"/>
              <a:gd name="T10" fmla="*/ 91 w 141"/>
              <a:gd name="T11" fmla="*/ 106 h 261"/>
              <a:gd name="T12" fmla="*/ 141 w 141"/>
              <a:gd name="T13" fmla="*/ 106 h 261"/>
            </a:gdLst>
            <a:ahLst/>
            <a:cxnLst>
              <a:cxn ang="0">
                <a:pos x="T0" y="T1"/>
              </a:cxn>
              <a:cxn ang="0">
                <a:pos x="T2" y="T3"/>
              </a:cxn>
              <a:cxn ang="0">
                <a:pos x="T4" y="T5"/>
              </a:cxn>
              <a:cxn ang="0">
                <a:pos x="T6" y="T7"/>
              </a:cxn>
              <a:cxn ang="0">
                <a:pos x="T8" y="T9"/>
              </a:cxn>
              <a:cxn ang="0">
                <a:pos x="T10" y="T11"/>
              </a:cxn>
              <a:cxn ang="0">
                <a:pos x="T12" y="T13"/>
              </a:cxn>
            </a:cxnLst>
            <a:rect l="0" t="0" r="r" b="b"/>
            <a:pathLst>
              <a:path w="141" h="261">
                <a:moveTo>
                  <a:pt x="141" y="106"/>
                </a:moveTo>
                <a:lnTo>
                  <a:pt x="50" y="261"/>
                </a:lnTo>
                <a:lnTo>
                  <a:pt x="58" y="155"/>
                </a:lnTo>
                <a:lnTo>
                  <a:pt x="0" y="155"/>
                </a:lnTo>
                <a:lnTo>
                  <a:pt x="91" y="0"/>
                </a:lnTo>
                <a:lnTo>
                  <a:pt x="91" y="106"/>
                </a:lnTo>
                <a:lnTo>
                  <a:pt x="141" y="10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8" name="Freeform 96">
            <a:extLst>
              <a:ext uri="{FF2B5EF4-FFF2-40B4-BE49-F238E27FC236}">
                <a16:creationId xmlns:a16="http://schemas.microsoft.com/office/drawing/2014/main" id="{CA4854F5-4CF5-40E5-BF76-8053176A0DB4}"/>
              </a:ext>
            </a:extLst>
          </p:cNvPr>
          <p:cNvSpPr>
            <a:spLocks noEditPoints="1"/>
          </p:cNvSpPr>
          <p:nvPr/>
        </p:nvSpPr>
        <p:spPr bwMode="auto">
          <a:xfrm>
            <a:off x="2668223" y="3244273"/>
            <a:ext cx="433388" cy="363537"/>
          </a:xfrm>
          <a:custGeom>
            <a:avLst/>
            <a:gdLst>
              <a:gd name="T0" fmla="*/ 97 w 134"/>
              <a:gd name="T1" fmla="*/ 11 h 112"/>
              <a:gd name="T2" fmla="*/ 113 w 134"/>
              <a:gd name="T3" fmla="*/ 17 h 112"/>
              <a:gd name="T4" fmla="*/ 113 w 134"/>
              <a:gd name="T5" fmla="*/ 51 h 112"/>
              <a:gd name="T6" fmla="*/ 67 w 134"/>
              <a:gd name="T7" fmla="*/ 97 h 112"/>
              <a:gd name="T8" fmla="*/ 67 w 134"/>
              <a:gd name="T9" fmla="*/ 97 h 112"/>
              <a:gd name="T10" fmla="*/ 67 w 134"/>
              <a:gd name="T11" fmla="*/ 97 h 112"/>
              <a:gd name="T12" fmla="*/ 21 w 134"/>
              <a:gd name="T13" fmla="*/ 51 h 112"/>
              <a:gd name="T14" fmla="*/ 21 w 134"/>
              <a:gd name="T15" fmla="*/ 17 h 112"/>
              <a:gd name="T16" fmla="*/ 37 w 134"/>
              <a:gd name="T17" fmla="*/ 11 h 112"/>
              <a:gd name="T18" fmla="*/ 54 w 134"/>
              <a:gd name="T19" fmla="*/ 18 h 112"/>
              <a:gd name="T20" fmla="*/ 59 w 134"/>
              <a:gd name="T21" fmla="*/ 23 h 112"/>
              <a:gd name="T22" fmla="*/ 67 w 134"/>
              <a:gd name="T23" fmla="*/ 31 h 112"/>
              <a:gd name="T24" fmla="*/ 75 w 134"/>
              <a:gd name="T25" fmla="*/ 23 h 112"/>
              <a:gd name="T26" fmla="*/ 80 w 134"/>
              <a:gd name="T27" fmla="*/ 18 h 112"/>
              <a:gd name="T28" fmla="*/ 97 w 134"/>
              <a:gd name="T29" fmla="*/ 11 h 112"/>
              <a:gd name="T30" fmla="*/ 97 w 134"/>
              <a:gd name="T31" fmla="*/ 0 h 112"/>
              <a:gd name="T32" fmla="*/ 72 w 134"/>
              <a:gd name="T33" fmla="*/ 10 h 112"/>
              <a:gd name="T34" fmla="*/ 67 w 134"/>
              <a:gd name="T35" fmla="*/ 16 h 112"/>
              <a:gd name="T36" fmla="*/ 62 w 134"/>
              <a:gd name="T37" fmla="*/ 10 h 112"/>
              <a:gd name="T38" fmla="*/ 37 w 134"/>
              <a:gd name="T39" fmla="*/ 0 h 112"/>
              <a:gd name="T40" fmla="*/ 13 w 134"/>
              <a:gd name="T41" fmla="*/ 10 h 112"/>
              <a:gd name="T42" fmla="*/ 13 w 134"/>
              <a:gd name="T43" fmla="*/ 58 h 112"/>
              <a:gd name="T44" fmla="*/ 67 w 134"/>
              <a:gd name="T45" fmla="*/ 112 h 112"/>
              <a:gd name="T46" fmla="*/ 67 w 134"/>
              <a:gd name="T47" fmla="*/ 112 h 112"/>
              <a:gd name="T48" fmla="*/ 67 w 134"/>
              <a:gd name="T49" fmla="*/ 112 h 112"/>
              <a:gd name="T50" fmla="*/ 121 w 134"/>
              <a:gd name="T51" fmla="*/ 58 h 112"/>
              <a:gd name="T52" fmla="*/ 121 w 134"/>
              <a:gd name="T53" fmla="*/ 10 h 112"/>
              <a:gd name="T54" fmla="*/ 97 w 134"/>
              <a:gd name="T55"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4" h="112">
                <a:moveTo>
                  <a:pt x="97" y="11"/>
                </a:moveTo>
                <a:cubicBezTo>
                  <a:pt x="103" y="11"/>
                  <a:pt x="109" y="13"/>
                  <a:pt x="113" y="17"/>
                </a:cubicBezTo>
                <a:cubicBezTo>
                  <a:pt x="123" y="27"/>
                  <a:pt x="122" y="42"/>
                  <a:pt x="113" y="51"/>
                </a:cubicBezTo>
                <a:cubicBezTo>
                  <a:pt x="67" y="97"/>
                  <a:pt x="67" y="97"/>
                  <a:pt x="67" y="97"/>
                </a:cubicBezTo>
                <a:cubicBezTo>
                  <a:pt x="67" y="97"/>
                  <a:pt x="67" y="97"/>
                  <a:pt x="67" y="97"/>
                </a:cubicBezTo>
                <a:cubicBezTo>
                  <a:pt x="67" y="97"/>
                  <a:pt x="67" y="97"/>
                  <a:pt x="67" y="97"/>
                </a:cubicBezTo>
                <a:cubicBezTo>
                  <a:pt x="21" y="51"/>
                  <a:pt x="21" y="51"/>
                  <a:pt x="21" y="51"/>
                </a:cubicBezTo>
                <a:cubicBezTo>
                  <a:pt x="12" y="42"/>
                  <a:pt x="11" y="27"/>
                  <a:pt x="21" y="17"/>
                </a:cubicBezTo>
                <a:cubicBezTo>
                  <a:pt x="25" y="13"/>
                  <a:pt x="31" y="11"/>
                  <a:pt x="37" y="11"/>
                </a:cubicBezTo>
                <a:cubicBezTo>
                  <a:pt x="43" y="11"/>
                  <a:pt x="49" y="13"/>
                  <a:pt x="54" y="18"/>
                </a:cubicBezTo>
                <a:cubicBezTo>
                  <a:pt x="59" y="23"/>
                  <a:pt x="59" y="23"/>
                  <a:pt x="59" y="23"/>
                </a:cubicBezTo>
                <a:cubicBezTo>
                  <a:pt x="67" y="31"/>
                  <a:pt x="67" y="31"/>
                  <a:pt x="67" y="31"/>
                </a:cubicBezTo>
                <a:cubicBezTo>
                  <a:pt x="75" y="23"/>
                  <a:pt x="75" y="23"/>
                  <a:pt x="75" y="23"/>
                </a:cubicBezTo>
                <a:cubicBezTo>
                  <a:pt x="80" y="18"/>
                  <a:pt x="80" y="18"/>
                  <a:pt x="80" y="18"/>
                </a:cubicBezTo>
                <a:cubicBezTo>
                  <a:pt x="85" y="13"/>
                  <a:pt x="91" y="11"/>
                  <a:pt x="97" y="11"/>
                </a:cubicBezTo>
                <a:moveTo>
                  <a:pt x="97" y="0"/>
                </a:moveTo>
                <a:cubicBezTo>
                  <a:pt x="88" y="0"/>
                  <a:pt x="79" y="3"/>
                  <a:pt x="72" y="10"/>
                </a:cubicBezTo>
                <a:cubicBezTo>
                  <a:pt x="67" y="16"/>
                  <a:pt x="67" y="16"/>
                  <a:pt x="67" y="16"/>
                </a:cubicBezTo>
                <a:cubicBezTo>
                  <a:pt x="62" y="10"/>
                  <a:pt x="62" y="10"/>
                  <a:pt x="62" y="10"/>
                </a:cubicBezTo>
                <a:cubicBezTo>
                  <a:pt x="55" y="3"/>
                  <a:pt x="46" y="0"/>
                  <a:pt x="37" y="0"/>
                </a:cubicBezTo>
                <a:cubicBezTo>
                  <a:pt x="28" y="0"/>
                  <a:pt x="20" y="3"/>
                  <a:pt x="13" y="10"/>
                </a:cubicBezTo>
                <a:cubicBezTo>
                  <a:pt x="0" y="23"/>
                  <a:pt x="0" y="45"/>
                  <a:pt x="13" y="58"/>
                </a:cubicBezTo>
                <a:cubicBezTo>
                  <a:pt x="67" y="112"/>
                  <a:pt x="67" y="112"/>
                  <a:pt x="67" y="112"/>
                </a:cubicBezTo>
                <a:cubicBezTo>
                  <a:pt x="67" y="112"/>
                  <a:pt x="67" y="112"/>
                  <a:pt x="67" y="112"/>
                </a:cubicBezTo>
                <a:cubicBezTo>
                  <a:pt x="67" y="112"/>
                  <a:pt x="67" y="112"/>
                  <a:pt x="67" y="112"/>
                </a:cubicBezTo>
                <a:cubicBezTo>
                  <a:pt x="121" y="58"/>
                  <a:pt x="121" y="58"/>
                  <a:pt x="121" y="58"/>
                </a:cubicBezTo>
                <a:cubicBezTo>
                  <a:pt x="134" y="45"/>
                  <a:pt x="134" y="23"/>
                  <a:pt x="121" y="10"/>
                </a:cubicBezTo>
                <a:cubicBezTo>
                  <a:pt x="114" y="3"/>
                  <a:pt x="106" y="0"/>
                  <a:pt x="97"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1" name="Freeform 100">
            <a:extLst>
              <a:ext uri="{FF2B5EF4-FFF2-40B4-BE49-F238E27FC236}">
                <a16:creationId xmlns:a16="http://schemas.microsoft.com/office/drawing/2014/main" id="{2E76BCF6-2303-4CA9-8074-8FEA021447ED}"/>
              </a:ext>
            </a:extLst>
          </p:cNvPr>
          <p:cNvSpPr>
            <a:spLocks noEditPoints="1"/>
          </p:cNvSpPr>
          <p:nvPr/>
        </p:nvSpPr>
        <p:spPr bwMode="auto">
          <a:xfrm>
            <a:off x="2678542" y="4050220"/>
            <a:ext cx="412750" cy="414338"/>
          </a:xfrm>
          <a:custGeom>
            <a:avLst/>
            <a:gdLst>
              <a:gd name="T0" fmla="*/ 260 w 260"/>
              <a:gd name="T1" fmla="*/ 75 h 261"/>
              <a:gd name="T2" fmla="*/ 130 w 260"/>
              <a:gd name="T3" fmla="*/ 0 h 261"/>
              <a:gd name="T4" fmla="*/ 0 w 260"/>
              <a:gd name="T5" fmla="*/ 75 h 261"/>
              <a:gd name="T6" fmla="*/ 0 w 260"/>
              <a:gd name="T7" fmla="*/ 261 h 261"/>
              <a:gd name="T8" fmla="*/ 260 w 260"/>
              <a:gd name="T9" fmla="*/ 261 h 261"/>
              <a:gd name="T10" fmla="*/ 260 w 260"/>
              <a:gd name="T11" fmla="*/ 75 h 261"/>
              <a:gd name="T12" fmla="*/ 211 w 260"/>
              <a:gd name="T13" fmla="*/ 245 h 261"/>
              <a:gd name="T14" fmla="*/ 211 w 260"/>
              <a:gd name="T15" fmla="*/ 147 h 261"/>
              <a:gd name="T16" fmla="*/ 146 w 260"/>
              <a:gd name="T17" fmla="*/ 147 h 261"/>
              <a:gd name="T18" fmla="*/ 146 w 260"/>
              <a:gd name="T19" fmla="*/ 245 h 261"/>
              <a:gd name="T20" fmla="*/ 108 w 260"/>
              <a:gd name="T21" fmla="*/ 245 h 261"/>
              <a:gd name="T22" fmla="*/ 16 w 260"/>
              <a:gd name="T23" fmla="*/ 245 h 261"/>
              <a:gd name="T24" fmla="*/ 16 w 260"/>
              <a:gd name="T25" fmla="*/ 86 h 261"/>
              <a:gd name="T26" fmla="*/ 130 w 260"/>
              <a:gd name="T27" fmla="*/ 18 h 261"/>
              <a:gd name="T28" fmla="*/ 244 w 260"/>
              <a:gd name="T29" fmla="*/ 86 h 261"/>
              <a:gd name="T30" fmla="*/ 244 w 260"/>
              <a:gd name="T31" fmla="*/ 245 h 261"/>
              <a:gd name="T32" fmla="*/ 211 w 260"/>
              <a:gd name="T33" fmla="*/ 24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0" h="261">
                <a:moveTo>
                  <a:pt x="260" y="75"/>
                </a:moveTo>
                <a:lnTo>
                  <a:pt x="130" y="0"/>
                </a:lnTo>
                <a:lnTo>
                  <a:pt x="0" y="75"/>
                </a:lnTo>
                <a:lnTo>
                  <a:pt x="0" y="261"/>
                </a:lnTo>
                <a:lnTo>
                  <a:pt x="260" y="261"/>
                </a:lnTo>
                <a:lnTo>
                  <a:pt x="260" y="75"/>
                </a:lnTo>
                <a:close/>
                <a:moveTo>
                  <a:pt x="211" y="245"/>
                </a:moveTo>
                <a:lnTo>
                  <a:pt x="211" y="147"/>
                </a:lnTo>
                <a:lnTo>
                  <a:pt x="146" y="147"/>
                </a:lnTo>
                <a:lnTo>
                  <a:pt x="146" y="245"/>
                </a:lnTo>
                <a:lnTo>
                  <a:pt x="108" y="245"/>
                </a:lnTo>
                <a:lnTo>
                  <a:pt x="16" y="245"/>
                </a:lnTo>
                <a:lnTo>
                  <a:pt x="16" y="86"/>
                </a:lnTo>
                <a:lnTo>
                  <a:pt x="130" y="18"/>
                </a:lnTo>
                <a:lnTo>
                  <a:pt x="244" y="86"/>
                </a:lnTo>
                <a:lnTo>
                  <a:pt x="244" y="245"/>
                </a:lnTo>
                <a:lnTo>
                  <a:pt x="211" y="24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6" name="Freeform 104">
            <a:extLst>
              <a:ext uri="{FF2B5EF4-FFF2-40B4-BE49-F238E27FC236}">
                <a16:creationId xmlns:a16="http://schemas.microsoft.com/office/drawing/2014/main" id="{0BFA04AD-4C68-4213-B0F5-8697133A2CA4}"/>
              </a:ext>
            </a:extLst>
          </p:cNvPr>
          <p:cNvSpPr>
            <a:spLocks noEditPoints="1"/>
          </p:cNvSpPr>
          <p:nvPr/>
        </p:nvSpPr>
        <p:spPr bwMode="auto">
          <a:xfrm>
            <a:off x="3723977" y="4113720"/>
            <a:ext cx="412750" cy="350838"/>
          </a:xfrm>
          <a:custGeom>
            <a:avLst/>
            <a:gdLst>
              <a:gd name="T0" fmla="*/ 187 w 260"/>
              <a:gd name="T1" fmla="*/ 180 h 221"/>
              <a:gd name="T2" fmla="*/ 146 w 260"/>
              <a:gd name="T3" fmla="*/ 180 h 221"/>
              <a:gd name="T4" fmla="*/ 146 w 260"/>
              <a:gd name="T5" fmla="*/ 221 h 221"/>
              <a:gd name="T6" fmla="*/ 114 w 260"/>
              <a:gd name="T7" fmla="*/ 221 h 221"/>
              <a:gd name="T8" fmla="*/ 114 w 260"/>
              <a:gd name="T9" fmla="*/ 180 h 221"/>
              <a:gd name="T10" fmla="*/ 73 w 260"/>
              <a:gd name="T11" fmla="*/ 180 h 221"/>
              <a:gd name="T12" fmla="*/ 73 w 260"/>
              <a:gd name="T13" fmla="*/ 147 h 221"/>
              <a:gd name="T14" fmla="*/ 114 w 260"/>
              <a:gd name="T15" fmla="*/ 147 h 221"/>
              <a:gd name="T16" fmla="*/ 114 w 260"/>
              <a:gd name="T17" fmla="*/ 106 h 221"/>
              <a:gd name="T18" fmla="*/ 146 w 260"/>
              <a:gd name="T19" fmla="*/ 106 h 221"/>
              <a:gd name="T20" fmla="*/ 146 w 260"/>
              <a:gd name="T21" fmla="*/ 147 h 221"/>
              <a:gd name="T22" fmla="*/ 187 w 260"/>
              <a:gd name="T23" fmla="*/ 147 h 221"/>
              <a:gd name="T24" fmla="*/ 187 w 260"/>
              <a:gd name="T25" fmla="*/ 180 h 221"/>
              <a:gd name="T26" fmla="*/ 260 w 260"/>
              <a:gd name="T27" fmla="*/ 76 h 221"/>
              <a:gd name="T28" fmla="*/ 160 w 260"/>
              <a:gd name="T29" fmla="*/ 18 h 221"/>
              <a:gd name="T30" fmla="*/ 130 w 260"/>
              <a:gd name="T31" fmla="*/ 0 h 221"/>
              <a:gd name="T32" fmla="*/ 97 w 260"/>
              <a:gd name="T33" fmla="*/ 18 h 221"/>
              <a:gd name="T34" fmla="*/ 0 w 260"/>
              <a:gd name="T35" fmla="*/ 76 h 221"/>
              <a:gd name="T36" fmla="*/ 16 w 260"/>
              <a:gd name="T37" fmla="*/ 104 h 221"/>
              <a:gd name="T38" fmla="*/ 130 w 260"/>
              <a:gd name="T39" fmla="*/ 37 h 221"/>
              <a:gd name="T40" fmla="*/ 244 w 260"/>
              <a:gd name="T41" fmla="*/ 104 h 221"/>
              <a:gd name="T42" fmla="*/ 260 w 260"/>
              <a:gd name="T43" fmla="*/ 76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0" h="221">
                <a:moveTo>
                  <a:pt x="187" y="180"/>
                </a:moveTo>
                <a:lnTo>
                  <a:pt x="146" y="180"/>
                </a:lnTo>
                <a:lnTo>
                  <a:pt x="146" y="221"/>
                </a:lnTo>
                <a:lnTo>
                  <a:pt x="114" y="221"/>
                </a:lnTo>
                <a:lnTo>
                  <a:pt x="114" y="180"/>
                </a:lnTo>
                <a:lnTo>
                  <a:pt x="73" y="180"/>
                </a:lnTo>
                <a:lnTo>
                  <a:pt x="73" y="147"/>
                </a:lnTo>
                <a:lnTo>
                  <a:pt x="114" y="147"/>
                </a:lnTo>
                <a:lnTo>
                  <a:pt x="114" y="106"/>
                </a:lnTo>
                <a:lnTo>
                  <a:pt x="146" y="106"/>
                </a:lnTo>
                <a:lnTo>
                  <a:pt x="146" y="147"/>
                </a:lnTo>
                <a:lnTo>
                  <a:pt x="187" y="147"/>
                </a:lnTo>
                <a:lnTo>
                  <a:pt x="187" y="180"/>
                </a:lnTo>
                <a:close/>
                <a:moveTo>
                  <a:pt x="260" y="76"/>
                </a:moveTo>
                <a:lnTo>
                  <a:pt x="160" y="18"/>
                </a:lnTo>
                <a:lnTo>
                  <a:pt x="130" y="0"/>
                </a:lnTo>
                <a:lnTo>
                  <a:pt x="97" y="18"/>
                </a:lnTo>
                <a:lnTo>
                  <a:pt x="0" y="76"/>
                </a:lnTo>
                <a:lnTo>
                  <a:pt x="16" y="104"/>
                </a:lnTo>
                <a:lnTo>
                  <a:pt x="130" y="37"/>
                </a:lnTo>
                <a:lnTo>
                  <a:pt x="244" y="104"/>
                </a:lnTo>
                <a:lnTo>
                  <a:pt x="260" y="7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7" name="Freeform 108">
            <a:extLst>
              <a:ext uri="{FF2B5EF4-FFF2-40B4-BE49-F238E27FC236}">
                <a16:creationId xmlns:a16="http://schemas.microsoft.com/office/drawing/2014/main" id="{AC80CE6D-2EE8-4092-B052-0E71DF53B8C0}"/>
              </a:ext>
            </a:extLst>
          </p:cNvPr>
          <p:cNvSpPr>
            <a:spLocks noEditPoints="1"/>
          </p:cNvSpPr>
          <p:nvPr/>
        </p:nvSpPr>
        <p:spPr bwMode="auto">
          <a:xfrm>
            <a:off x="5006480" y="1743147"/>
            <a:ext cx="412750" cy="261937"/>
          </a:xfrm>
          <a:custGeom>
            <a:avLst/>
            <a:gdLst>
              <a:gd name="T0" fmla="*/ 48 w 128"/>
              <a:gd name="T1" fmla="*/ 32 h 80"/>
              <a:gd name="T2" fmla="*/ 32 w 128"/>
              <a:gd name="T3" fmla="*/ 48 h 80"/>
              <a:gd name="T4" fmla="*/ 16 w 128"/>
              <a:gd name="T5" fmla="*/ 32 h 80"/>
              <a:gd name="T6" fmla="*/ 32 w 128"/>
              <a:gd name="T7" fmla="*/ 16 h 80"/>
              <a:gd name="T8" fmla="*/ 48 w 128"/>
              <a:gd name="T9" fmla="*/ 32 h 80"/>
              <a:gd name="T10" fmla="*/ 128 w 128"/>
              <a:gd name="T11" fmla="*/ 16 h 80"/>
              <a:gd name="T12" fmla="*/ 56 w 128"/>
              <a:gd name="T13" fmla="*/ 16 h 80"/>
              <a:gd name="T14" fmla="*/ 56 w 128"/>
              <a:gd name="T15" fmla="*/ 56 h 80"/>
              <a:gd name="T16" fmla="*/ 8 w 128"/>
              <a:gd name="T17" fmla="*/ 56 h 80"/>
              <a:gd name="T18" fmla="*/ 8 w 128"/>
              <a:gd name="T19" fmla="*/ 0 h 80"/>
              <a:gd name="T20" fmla="*/ 0 w 128"/>
              <a:gd name="T21" fmla="*/ 0 h 80"/>
              <a:gd name="T22" fmla="*/ 0 w 128"/>
              <a:gd name="T23" fmla="*/ 80 h 80"/>
              <a:gd name="T24" fmla="*/ 8 w 128"/>
              <a:gd name="T25" fmla="*/ 80 h 80"/>
              <a:gd name="T26" fmla="*/ 8 w 128"/>
              <a:gd name="T27" fmla="*/ 64 h 80"/>
              <a:gd name="T28" fmla="*/ 120 w 128"/>
              <a:gd name="T29" fmla="*/ 64 h 80"/>
              <a:gd name="T30" fmla="*/ 120 w 128"/>
              <a:gd name="T31" fmla="*/ 80 h 80"/>
              <a:gd name="T32" fmla="*/ 128 w 128"/>
              <a:gd name="T33" fmla="*/ 80 h 80"/>
              <a:gd name="T34" fmla="*/ 128 w 128"/>
              <a:gd name="T35" fmla="*/ 1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80">
                <a:moveTo>
                  <a:pt x="48" y="32"/>
                </a:moveTo>
                <a:cubicBezTo>
                  <a:pt x="48" y="41"/>
                  <a:pt x="41" y="48"/>
                  <a:pt x="32" y="48"/>
                </a:cubicBezTo>
                <a:cubicBezTo>
                  <a:pt x="23" y="48"/>
                  <a:pt x="16" y="41"/>
                  <a:pt x="16" y="32"/>
                </a:cubicBezTo>
                <a:cubicBezTo>
                  <a:pt x="16" y="23"/>
                  <a:pt x="23" y="16"/>
                  <a:pt x="32" y="16"/>
                </a:cubicBezTo>
                <a:cubicBezTo>
                  <a:pt x="41" y="16"/>
                  <a:pt x="48" y="23"/>
                  <a:pt x="48" y="32"/>
                </a:cubicBezTo>
                <a:close/>
                <a:moveTo>
                  <a:pt x="128" y="16"/>
                </a:moveTo>
                <a:cubicBezTo>
                  <a:pt x="56" y="16"/>
                  <a:pt x="56" y="16"/>
                  <a:pt x="56" y="16"/>
                </a:cubicBezTo>
                <a:cubicBezTo>
                  <a:pt x="56" y="56"/>
                  <a:pt x="56" y="56"/>
                  <a:pt x="56" y="56"/>
                </a:cubicBezTo>
                <a:cubicBezTo>
                  <a:pt x="8" y="56"/>
                  <a:pt x="8" y="56"/>
                  <a:pt x="8" y="56"/>
                </a:cubicBezTo>
                <a:cubicBezTo>
                  <a:pt x="8" y="0"/>
                  <a:pt x="8" y="0"/>
                  <a:pt x="8" y="0"/>
                </a:cubicBezTo>
                <a:cubicBezTo>
                  <a:pt x="0" y="0"/>
                  <a:pt x="0" y="0"/>
                  <a:pt x="0" y="0"/>
                </a:cubicBezTo>
                <a:cubicBezTo>
                  <a:pt x="0" y="80"/>
                  <a:pt x="0" y="80"/>
                  <a:pt x="0" y="80"/>
                </a:cubicBezTo>
                <a:cubicBezTo>
                  <a:pt x="8" y="80"/>
                  <a:pt x="8" y="80"/>
                  <a:pt x="8" y="80"/>
                </a:cubicBezTo>
                <a:cubicBezTo>
                  <a:pt x="8" y="64"/>
                  <a:pt x="8" y="64"/>
                  <a:pt x="8" y="64"/>
                </a:cubicBezTo>
                <a:cubicBezTo>
                  <a:pt x="120" y="64"/>
                  <a:pt x="120" y="64"/>
                  <a:pt x="120" y="64"/>
                </a:cubicBezTo>
                <a:cubicBezTo>
                  <a:pt x="120" y="80"/>
                  <a:pt x="120" y="80"/>
                  <a:pt x="120" y="80"/>
                </a:cubicBezTo>
                <a:cubicBezTo>
                  <a:pt x="128" y="80"/>
                  <a:pt x="128" y="80"/>
                  <a:pt x="128" y="80"/>
                </a:cubicBezTo>
                <a:lnTo>
                  <a:pt x="128" y="1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8" name="Freeform 112">
            <a:extLst>
              <a:ext uri="{FF2B5EF4-FFF2-40B4-BE49-F238E27FC236}">
                <a16:creationId xmlns:a16="http://schemas.microsoft.com/office/drawing/2014/main" id="{C6FAA3E4-13FF-468E-8BCE-4B809A15486A}"/>
              </a:ext>
            </a:extLst>
          </p:cNvPr>
          <p:cNvSpPr>
            <a:spLocks noEditPoints="1"/>
          </p:cNvSpPr>
          <p:nvPr/>
        </p:nvSpPr>
        <p:spPr bwMode="auto">
          <a:xfrm>
            <a:off x="5031086" y="2404596"/>
            <a:ext cx="363538" cy="414338"/>
          </a:xfrm>
          <a:custGeom>
            <a:avLst/>
            <a:gdLst>
              <a:gd name="T0" fmla="*/ 35 w 229"/>
              <a:gd name="T1" fmla="*/ 77 h 261"/>
              <a:gd name="T2" fmla="*/ 80 w 229"/>
              <a:gd name="T3" fmla="*/ 77 h 261"/>
              <a:gd name="T4" fmla="*/ 45 w 229"/>
              <a:gd name="T5" fmla="*/ 261 h 261"/>
              <a:gd name="T6" fmla="*/ 0 w 229"/>
              <a:gd name="T7" fmla="*/ 261 h 261"/>
              <a:gd name="T8" fmla="*/ 35 w 229"/>
              <a:gd name="T9" fmla="*/ 77 h 261"/>
              <a:gd name="T10" fmla="*/ 51 w 229"/>
              <a:gd name="T11" fmla="*/ 0 h 261"/>
              <a:gd name="T12" fmla="*/ 96 w 229"/>
              <a:gd name="T13" fmla="*/ 0 h 261"/>
              <a:gd name="T14" fmla="*/ 88 w 229"/>
              <a:gd name="T15" fmla="*/ 43 h 261"/>
              <a:gd name="T16" fmla="*/ 41 w 229"/>
              <a:gd name="T17" fmla="*/ 43 h 261"/>
              <a:gd name="T18" fmla="*/ 51 w 229"/>
              <a:gd name="T19" fmla="*/ 0 h 261"/>
              <a:gd name="T20" fmla="*/ 229 w 229"/>
              <a:gd name="T21" fmla="*/ 130 h 261"/>
              <a:gd name="T22" fmla="*/ 90 w 229"/>
              <a:gd name="T23" fmla="*/ 130 h 261"/>
              <a:gd name="T24" fmla="*/ 90 w 229"/>
              <a:gd name="T25" fmla="*/ 147 h 261"/>
              <a:gd name="T26" fmla="*/ 229 w 229"/>
              <a:gd name="T27" fmla="*/ 147 h 261"/>
              <a:gd name="T28" fmla="*/ 229 w 229"/>
              <a:gd name="T29" fmla="*/ 130 h 261"/>
              <a:gd name="T30" fmla="*/ 229 w 229"/>
              <a:gd name="T31" fmla="*/ 163 h 261"/>
              <a:gd name="T32" fmla="*/ 84 w 229"/>
              <a:gd name="T33" fmla="*/ 163 h 261"/>
              <a:gd name="T34" fmla="*/ 84 w 229"/>
              <a:gd name="T35" fmla="*/ 179 h 261"/>
              <a:gd name="T36" fmla="*/ 229 w 229"/>
              <a:gd name="T37" fmla="*/ 179 h 261"/>
              <a:gd name="T38" fmla="*/ 229 w 229"/>
              <a:gd name="T39" fmla="*/ 163 h 261"/>
              <a:gd name="T40" fmla="*/ 229 w 229"/>
              <a:gd name="T41" fmla="*/ 196 h 261"/>
              <a:gd name="T42" fmla="*/ 78 w 229"/>
              <a:gd name="T43" fmla="*/ 196 h 261"/>
              <a:gd name="T44" fmla="*/ 78 w 229"/>
              <a:gd name="T45" fmla="*/ 212 h 261"/>
              <a:gd name="T46" fmla="*/ 229 w 229"/>
              <a:gd name="T47" fmla="*/ 212 h 261"/>
              <a:gd name="T48" fmla="*/ 229 w 229"/>
              <a:gd name="T49" fmla="*/ 19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9" h="261">
                <a:moveTo>
                  <a:pt x="35" y="77"/>
                </a:moveTo>
                <a:lnTo>
                  <a:pt x="80" y="77"/>
                </a:lnTo>
                <a:lnTo>
                  <a:pt x="45" y="261"/>
                </a:lnTo>
                <a:lnTo>
                  <a:pt x="0" y="261"/>
                </a:lnTo>
                <a:lnTo>
                  <a:pt x="35" y="77"/>
                </a:lnTo>
                <a:close/>
                <a:moveTo>
                  <a:pt x="51" y="0"/>
                </a:moveTo>
                <a:lnTo>
                  <a:pt x="96" y="0"/>
                </a:lnTo>
                <a:lnTo>
                  <a:pt x="88" y="43"/>
                </a:lnTo>
                <a:lnTo>
                  <a:pt x="41" y="43"/>
                </a:lnTo>
                <a:lnTo>
                  <a:pt x="51" y="0"/>
                </a:lnTo>
                <a:close/>
                <a:moveTo>
                  <a:pt x="229" y="130"/>
                </a:moveTo>
                <a:lnTo>
                  <a:pt x="90" y="130"/>
                </a:lnTo>
                <a:lnTo>
                  <a:pt x="90" y="147"/>
                </a:lnTo>
                <a:lnTo>
                  <a:pt x="229" y="147"/>
                </a:lnTo>
                <a:lnTo>
                  <a:pt x="229" y="130"/>
                </a:lnTo>
                <a:close/>
                <a:moveTo>
                  <a:pt x="229" y="163"/>
                </a:moveTo>
                <a:lnTo>
                  <a:pt x="84" y="163"/>
                </a:lnTo>
                <a:lnTo>
                  <a:pt x="84" y="179"/>
                </a:lnTo>
                <a:lnTo>
                  <a:pt x="229" y="179"/>
                </a:lnTo>
                <a:lnTo>
                  <a:pt x="229" y="163"/>
                </a:lnTo>
                <a:close/>
                <a:moveTo>
                  <a:pt x="229" y="196"/>
                </a:moveTo>
                <a:lnTo>
                  <a:pt x="78" y="196"/>
                </a:lnTo>
                <a:lnTo>
                  <a:pt x="78" y="212"/>
                </a:lnTo>
                <a:lnTo>
                  <a:pt x="229" y="212"/>
                </a:lnTo>
                <a:lnTo>
                  <a:pt x="229" y="196"/>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29" name="Freeform: Shape 128">
            <a:extLst>
              <a:ext uri="{FF2B5EF4-FFF2-40B4-BE49-F238E27FC236}">
                <a16:creationId xmlns:a16="http://schemas.microsoft.com/office/drawing/2014/main" id="{AFD7EAF6-E434-41A7-9CD3-00A5162EA3D6}"/>
              </a:ext>
            </a:extLst>
          </p:cNvPr>
          <p:cNvSpPr/>
          <p:nvPr/>
        </p:nvSpPr>
        <p:spPr>
          <a:xfrm>
            <a:off x="8234857" y="1700284"/>
            <a:ext cx="228600" cy="304800"/>
          </a:xfrm>
          <a:custGeom>
            <a:avLst/>
            <a:gdLst>
              <a:gd name="connsiteX0" fmla="*/ 114300 w 228600"/>
              <a:gd name="connsiteY0" fmla="*/ 304800 h 304800"/>
              <a:gd name="connsiteX1" fmla="*/ 0 w 228600"/>
              <a:gd name="connsiteY1" fmla="*/ 190500 h 304800"/>
              <a:gd name="connsiteX2" fmla="*/ 19050 w 228600"/>
              <a:gd name="connsiteY2" fmla="*/ 127635 h 304800"/>
              <a:gd name="connsiteX3" fmla="*/ 114300 w 228600"/>
              <a:gd name="connsiteY3" fmla="*/ 0 h 304800"/>
              <a:gd name="connsiteX4" fmla="*/ 209550 w 228600"/>
              <a:gd name="connsiteY4" fmla="*/ 127635 h 304800"/>
              <a:gd name="connsiteX5" fmla="*/ 228600 w 228600"/>
              <a:gd name="connsiteY5" fmla="*/ 190500 h 304800"/>
              <a:gd name="connsiteX6" fmla="*/ 114300 w 228600"/>
              <a:gd name="connsiteY6" fmla="*/ 304800 h 304800"/>
              <a:gd name="connsiteX7" fmla="*/ 114300 w 228600"/>
              <a:gd name="connsiteY7" fmla="*/ 31433 h 304800"/>
              <a:gd name="connsiteX8" fmla="*/ 34290 w 228600"/>
              <a:gd name="connsiteY8" fmla="*/ 138113 h 304800"/>
              <a:gd name="connsiteX9" fmla="*/ 19050 w 228600"/>
              <a:gd name="connsiteY9" fmla="*/ 190500 h 304800"/>
              <a:gd name="connsiteX10" fmla="*/ 114300 w 228600"/>
              <a:gd name="connsiteY10" fmla="*/ 285750 h 304800"/>
              <a:gd name="connsiteX11" fmla="*/ 209550 w 228600"/>
              <a:gd name="connsiteY11" fmla="*/ 190500 h 304800"/>
              <a:gd name="connsiteX12" fmla="*/ 194310 w 228600"/>
              <a:gd name="connsiteY12" fmla="*/ 138113 h 304800"/>
              <a:gd name="connsiteX13" fmla="*/ 114300 w 228600"/>
              <a:gd name="connsiteY13" fmla="*/ 31433 h 304800"/>
              <a:gd name="connsiteX14" fmla="*/ 87630 w 228600"/>
              <a:gd name="connsiteY14" fmla="*/ 147638 h 304800"/>
              <a:gd name="connsiteX15" fmla="*/ 108585 w 228600"/>
              <a:gd name="connsiteY15" fmla="*/ 168593 h 304800"/>
              <a:gd name="connsiteX16" fmla="*/ 87630 w 228600"/>
              <a:gd name="connsiteY16" fmla="*/ 189548 h 304800"/>
              <a:gd name="connsiteX17" fmla="*/ 67628 w 228600"/>
              <a:gd name="connsiteY17" fmla="*/ 168593 h 304800"/>
              <a:gd name="connsiteX18" fmla="*/ 87630 w 228600"/>
              <a:gd name="connsiteY18" fmla="*/ 147638 h 304800"/>
              <a:gd name="connsiteX19" fmla="*/ 139065 w 228600"/>
              <a:gd name="connsiteY19" fmla="*/ 142875 h 304800"/>
              <a:gd name="connsiteX20" fmla="*/ 152400 w 228600"/>
              <a:gd name="connsiteY20" fmla="*/ 142875 h 304800"/>
              <a:gd name="connsiteX21" fmla="*/ 90488 w 228600"/>
              <a:gd name="connsiteY21" fmla="*/ 238125 h 304800"/>
              <a:gd name="connsiteX22" fmla="*/ 77153 w 228600"/>
              <a:gd name="connsiteY22" fmla="*/ 238125 h 304800"/>
              <a:gd name="connsiteX23" fmla="*/ 139065 w 228600"/>
              <a:gd name="connsiteY23" fmla="*/ 142875 h 304800"/>
              <a:gd name="connsiteX24" fmla="*/ 80010 w 228600"/>
              <a:gd name="connsiteY24" fmla="*/ 168593 h 304800"/>
              <a:gd name="connsiteX25" fmla="*/ 87630 w 228600"/>
              <a:gd name="connsiteY25" fmla="*/ 179070 h 304800"/>
              <a:gd name="connsiteX26" fmla="*/ 95250 w 228600"/>
              <a:gd name="connsiteY26" fmla="*/ 168593 h 304800"/>
              <a:gd name="connsiteX27" fmla="*/ 87630 w 228600"/>
              <a:gd name="connsiteY27" fmla="*/ 157163 h 304800"/>
              <a:gd name="connsiteX28" fmla="*/ 80010 w 228600"/>
              <a:gd name="connsiteY28" fmla="*/ 168593 h 304800"/>
              <a:gd name="connsiteX29" fmla="*/ 140970 w 228600"/>
              <a:gd name="connsiteY29" fmla="*/ 192405 h 304800"/>
              <a:gd name="connsiteX30" fmla="*/ 161925 w 228600"/>
              <a:gd name="connsiteY30" fmla="*/ 213360 h 304800"/>
              <a:gd name="connsiteX31" fmla="*/ 140970 w 228600"/>
              <a:gd name="connsiteY31" fmla="*/ 234315 h 304800"/>
              <a:gd name="connsiteX32" fmla="*/ 120968 w 228600"/>
              <a:gd name="connsiteY32" fmla="*/ 213360 h 304800"/>
              <a:gd name="connsiteX33" fmla="*/ 140970 w 228600"/>
              <a:gd name="connsiteY33" fmla="*/ 192405 h 304800"/>
              <a:gd name="connsiteX34" fmla="*/ 133350 w 228600"/>
              <a:gd name="connsiteY34" fmla="*/ 213360 h 304800"/>
              <a:gd name="connsiteX35" fmla="*/ 140970 w 228600"/>
              <a:gd name="connsiteY35" fmla="*/ 223838 h 304800"/>
              <a:gd name="connsiteX36" fmla="*/ 148590 w 228600"/>
              <a:gd name="connsiteY36" fmla="*/ 213360 h 304800"/>
              <a:gd name="connsiteX37" fmla="*/ 140970 w 228600"/>
              <a:gd name="connsiteY37" fmla="*/ 201930 h 304800"/>
              <a:gd name="connsiteX38" fmla="*/ 133350 w 228600"/>
              <a:gd name="connsiteY38" fmla="*/ 21336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28600" h="304800">
                <a:moveTo>
                  <a:pt x="114300" y="304800"/>
                </a:moveTo>
                <a:cubicBezTo>
                  <a:pt x="51435" y="304800"/>
                  <a:pt x="0" y="253365"/>
                  <a:pt x="0" y="190500"/>
                </a:cubicBezTo>
                <a:cubicBezTo>
                  <a:pt x="0" y="167640"/>
                  <a:pt x="6668" y="144780"/>
                  <a:pt x="19050" y="127635"/>
                </a:cubicBezTo>
                <a:cubicBezTo>
                  <a:pt x="40005" y="98108"/>
                  <a:pt x="114300" y="0"/>
                  <a:pt x="114300" y="0"/>
                </a:cubicBezTo>
                <a:cubicBezTo>
                  <a:pt x="114300" y="0"/>
                  <a:pt x="188595" y="98108"/>
                  <a:pt x="209550" y="127635"/>
                </a:cubicBezTo>
                <a:cubicBezTo>
                  <a:pt x="220980" y="144780"/>
                  <a:pt x="228600" y="167640"/>
                  <a:pt x="228600" y="190500"/>
                </a:cubicBezTo>
                <a:cubicBezTo>
                  <a:pt x="228600" y="253365"/>
                  <a:pt x="177165" y="304800"/>
                  <a:pt x="114300" y="304800"/>
                </a:cubicBezTo>
                <a:close/>
                <a:moveTo>
                  <a:pt x="114300" y="31433"/>
                </a:moveTo>
                <a:cubicBezTo>
                  <a:pt x="96203" y="55245"/>
                  <a:pt x="50483" y="115253"/>
                  <a:pt x="34290" y="138113"/>
                </a:cubicBezTo>
                <a:cubicBezTo>
                  <a:pt x="24765" y="152400"/>
                  <a:pt x="19050" y="172403"/>
                  <a:pt x="19050" y="190500"/>
                </a:cubicBezTo>
                <a:cubicBezTo>
                  <a:pt x="19050" y="242888"/>
                  <a:pt x="61913" y="285750"/>
                  <a:pt x="114300" y="285750"/>
                </a:cubicBezTo>
                <a:cubicBezTo>
                  <a:pt x="166688" y="285750"/>
                  <a:pt x="209550" y="242888"/>
                  <a:pt x="209550" y="190500"/>
                </a:cubicBezTo>
                <a:cubicBezTo>
                  <a:pt x="209550" y="172403"/>
                  <a:pt x="203835" y="152400"/>
                  <a:pt x="194310" y="138113"/>
                </a:cubicBezTo>
                <a:cubicBezTo>
                  <a:pt x="178118" y="115253"/>
                  <a:pt x="132398" y="55245"/>
                  <a:pt x="114300" y="31433"/>
                </a:cubicBezTo>
                <a:close/>
                <a:moveTo>
                  <a:pt x="87630" y="147638"/>
                </a:moveTo>
                <a:cubicBezTo>
                  <a:pt x="99060" y="147638"/>
                  <a:pt x="108585" y="154305"/>
                  <a:pt x="108585" y="168593"/>
                </a:cubicBezTo>
                <a:cubicBezTo>
                  <a:pt x="108585" y="182880"/>
                  <a:pt x="99060" y="189548"/>
                  <a:pt x="87630" y="189548"/>
                </a:cubicBezTo>
                <a:cubicBezTo>
                  <a:pt x="76200" y="189548"/>
                  <a:pt x="67628" y="182880"/>
                  <a:pt x="67628" y="168593"/>
                </a:cubicBezTo>
                <a:cubicBezTo>
                  <a:pt x="67628" y="154305"/>
                  <a:pt x="77153" y="147638"/>
                  <a:pt x="87630" y="147638"/>
                </a:cubicBezTo>
                <a:close/>
                <a:moveTo>
                  <a:pt x="139065" y="142875"/>
                </a:moveTo>
                <a:lnTo>
                  <a:pt x="152400" y="142875"/>
                </a:lnTo>
                <a:lnTo>
                  <a:pt x="90488" y="238125"/>
                </a:lnTo>
                <a:lnTo>
                  <a:pt x="77153" y="238125"/>
                </a:lnTo>
                <a:lnTo>
                  <a:pt x="139065" y="142875"/>
                </a:lnTo>
                <a:close/>
                <a:moveTo>
                  <a:pt x="80010" y="168593"/>
                </a:moveTo>
                <a:cubicBezTo>
                  <a:pt x="80010" y="176213"/>
                  <a:pt x="82868" y="179070"/>
                  <a:pt x="87630" y="179070"/>
                </a:cubicBezTo>
                <a:cubicBezTo>
                  <a:pt x="92393" y="179070"/>
                  <a:pt x="95250" y="175260"/>
                  <a:pt x="95250" y="168593"/>
                </a:cubicBezTo>
                <a:cubicBezTo>
                  <a:pt x="95250" y="160973"/>
                  <a:pt x="92393" y="157163"/>
                  <a:pt x="87630" y="157163"/>
                </a:cubicBezTo>
                <a:cubicBezTo>
                  <a:pt x="82868" y="157163"/>
                  <a:pt x="80010" y="160973"/>
                  <a:pt x="80010" y="168593"/>
                </a:cubicBezTo>
                <a:close/>
                <a:moveTo>
                  <a:pt x="140970" y="192405"/>
                </a:moveTo>
                <a:cubicBezTo>
                  <a:pt x="152400" y="192405"/>
                  <a:pt x="161925" y="199073"/>
                  <a:pt x="161925" y="213360"/>
                </a:cubicBezTo>
                <a:cubicBezTo>
                  <a:pt x="161925" y="227648"/>
                  <a:pt x="152400" y="234315"/>
                  <a:pt x="140970" y="234315"/>
                </a:cubicBezTo>
                <a:cubicBezTo>
                  <a:pt x="129540" y="234315"/>
                  <a:pt x="120968" y="227648"/>
                  <a:pt x="120968" y="213360"/>
                </a:cubicBezTo>
                <a:cubicBezTo>
                  <a:pt x="120015" y="199073"/>
                  <a:pt x="129540" y="192405"/>
                  <a:pt x="140970" y="192405"/>
                </a:cubicBezTo>
                <a:close/>
                <a:moveTo>
                  <a:pt x="133350" y="213360"/>
                </a:moveTo>
                <a:cubicBezTo>
                  <a:pt x="133350" y="220980"/>
                  <a:pt x="136208" y="223838"/>
                  <a:pt x="140970" y="223838"/>
                </a:cubicBezTo>
                <a:cubicBezTo>
                  <a:pt x="145733" y="223838"/>
                  <a:pt x="148590" y="220028"/>
                  <a:pt x="148590" y="213360"/>
                </a:cubicBezTo>
                <a:cubicBezTo>
                  <a:pt x="148590" y="205740"/>
                  <a:pt x="145733" y="201930"/>
                  <a:pt x="140970" y="201930"/>
                </a:cubicBezTo>
                <a:cubicBezTo>
                  <a:pt x="136208" y="201930"/>
                  <a:pt x="133350" y="205740"/>
                  <a:pt x="133350" y="213360"/>
                </a:cubicBezTo>
                <a:close/>
              </a:path>
            </a:pathLst>
          </a:custGeom>
          <a:solidFill>
            <a:schemeClr val="tx2"/>
          </a:solidFill>
          <a:ln w="9525" cap="flat">
            <a:no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F9BE431B-CF41-4074-9C35-36195D500476}"/>
              </a:ext>
            </a:extLst>
          </p:cNvPr>
          <p:cNvSpPr/>
          <p:nvPr/>
        </p:nvSpPr>
        <p:spPr>
          <a:xfrm>
            <a:off x="1657730" y="4146491"/>
            <a:ext cx="363506" cy="318067"/>
          </a:xfrm>
          <a:custGeom>
            <a:avLst/>
            <a:gdLst>
              <a:gd name="connsiteX0" fmla="*/ 240880 w 363506"/>
              <a:gd name="connsiteY0" fmla="*/ 192965 h 318067"/>
              <a:gd name="connsiteX1" fmla="*/ 249910 w 363506"/>
              <a:gd name="connsiteY1" fmla="*/ 159034 h 318067"/>
              <a:gd name="connsiteX2" fmla="*/ 240743 w 363506"/>
              <a:gd name="connsiteY2" fmla="*/ 124876 h 318067"/>
              <a:gd name="connsiteX3" fmla="*/ 230951 w 363506"/>
              <a:gd name="connsiteY3" fmla="*/ 130646 h 318067"/>
              <a:gd name="connsiteX4" fmla="*/ 238551 w 363506"/>
              <a:gd name="connsiteY4" fmla="*/ 159034 h 318067"/>
              <a:gd name="connsiteX5" fmla="*/ 231054 w 363506"/>
              <a:gd name="connsiteY5" fmla="*/ 187262 h 318067"/>
              <a:gd name="connsiteX6" fmla="*/ 240880 w 363506"/>
              <a:gd name="connsiteY6" fmla="*/ 192965 h 318067"/>
              <a:gd name="connsiteX7" fmla="*/ 211345 w 363506"/>
              <a:gd name="connsiteY7" fmla="*/ 175880 h 318067"/>
              <a:gd name="connsiteX8" fmla="*/ 215832 w 363506"/>
              <a:gd name="connsiteY8" fmla="*/ 158954 h 318067"/>
              <a:gd name="connsiteX9" fmla="*/ 211265 w 363506"/>
              <a:gd name="connsiteY9" fmla="*/ 141904 h 318067"/>
              <a:gd name="connsiteX10" fmla="*/ 221148 w 363506"/>
              <a:gd name="connsiteY10" fmla="*/ 136315 h 318067"/>
              <a:gd name="connsiteX11" fmla="*/ 227225 w 363506"/>
              <a:gd name="connsiteY11" fmla="*/ 159034 h 318067"/>
              <a:gd name="connsiteX12" fmla="*/ 221239 w 363506"/>
              <a:gd name="connsiteY12" fmla="*/ 181594 h 318067"/>
              <a:gd name="connsiteX13" fmla="*/ 211345 w 363506"/>
              <a:gd name="connsiteY13" fmla="*/ 175880 h 318067"/>
              <a:gd name="connsiteX14" fmla="*/ 272561 w 363506"/>
              <a:gd name="connsiteY14" fmla="*/ 158818 h 318067"/>
              <a:gd name="connsiteX15" fmla="*/ 272584 w 363506"/>
              <a:gd name="connsiteY15" fmla="*/ 159261 h 318067"/>
              <a:gd name="connsiteX16" fmla="*/ 266007 w 363506"/>
              <a:gd name="connsiteY16" fmla="*/ 193101 h 318067"/>
              <a:gd name="connsiteX17" fmla="*/ 266052 w 363506"/>
              <a:gd name="connsiteY17" fmla="*/ 193181 h 318067"/>
              <a:gd name="connsiteX18" fmla="*/ 324429 w 363506"/>
              <a:gd name="connsiteY18" fmla="*/ 295349 h 318067"/>
              <a:gd name="connsiteX19" fmla="*/ 39077 w 363506"/>
              <a:gd name="connsiteY19" fmla="*/ 295349 h 318067"/>
              <a:gd name="connsiteX20" fmla="*/ 181753 w 363506"/>
              <a:gd name="connsiteY20" fmla="*/ 45779 h 318067"/>
              <a:gd name="connsiteX21" fmla="*/ 219149 w 363506"/>
              <a:gd name="connsiteY21" fmla="*/ 111233 h 318067"/>
              <a:gd name="connsiteX22" fmla="*/ 238744 w 363506"/>
              <a:gd name="connsiteY22" fmla="*/ 99726 h 318067"/>
              <a:gd name="connsiteX23" fmla="*/ 181753 w 363506"/>
              <a:gd name="connsiteY23" fmla="*/ 0 h 318067"/>
              <a:gd name="connsiteX24" fmla="*/ 0 w 363506"/>
              <a:gd name="connsiteY24" fmla="*/ 318068 h 318067"/>
              <a:gd name="connsiteX25" fmla="*/ 363506 w 363506"/>
              <a:gd name="connsiteY25" fmla="*/ 318068 h 318067"/>
              <a:gd name="connsiteX26" fmla="*/ 193113 w 363506"/>
              <a:gd name="connsiteY26" fmla="*/ 230338 h 318067"/>
              <a:gd name="connsiteX27" fmla="*/ 193113 w 363506"/>
              <a:gd name="connsiteY27" fmla="*/ 136315 h 318067"/>
              <a:gd name="connsiteX28" fmla="*/ 181753 w 363506"/>
              <a:gd name="connsiteY28" fmla="*/ 124955 h 318067"/>
              <a:gd name="connsiteX29" fmla="*/ 170393 w 363506"/>
              <a:gd name="connsiteY29" fmla="*/ 136315 h 318067"/>
              <a:gd name="connsiteX30" fmla="*/ 170393 w 363506"/>
              <a:gd name="connsiteY30" fmla="*/ 147674 h 318067"/>
              <a:gd name="connsiteX31" fmla="*/ 136315 w 363506"/>
              <a:gd name="connsiteY31" fmla="*/ 147674 h 318067"/>
              <a:gd name="connsiteX32" fmla="*/ 136315 w 363506"/>
              <a:gd name="connsiteY32" fmla="*/ 159034 h 318067"/>
              <a:gd name="connsiteX33" fmla="*/ 170393 w 363506"/>
              <a:gd name="connsiteY33" fmla="*/ 159034 h 318067"/>
              <a:gd name="connsiteX34" fmla="*/ 170393 w 363506"/>
              <a:gd name="connsiteY34" fmla="*/ 170393 h 318067"/>
              <a:gd name="connsiteX35" fmla="*/ 147674 w 363506"/>
              <a:gd name="connsiteY35" fmla="*/ 170393 h 318067"/>
              <a:gd name="connsiteX36" fmla="*/ 147674 w 363506"/>
              <a:gd name="connsiteY36" fmla="*/ 181753 h 318067"/>
              <a:gd name="connsiteX37" fmla="*/ 170393 w 363506"/>
              <a:gd name="connsiteY37" fmla="*/ 181753 h 318067"/>
              <a:gd name="connsiteX38" fmla="*/ 170393 w 363506"/>
              <a:gd name="connsiteY38" fmla="*/ 193113 h 318067"/>
              <a:gd name="connsiteX39" fmla="*/ 159034 w 363506"/>
              <a:gd name="connsiteY39" fmla="*/ 193113 h 318067"/>
              <a:gd name="connsiteX40" fmla="*/ 159034 w 363506"/>
              <a:gd name="connsiteY40" fmla="*/ 204472 h 318067"/>
              <a:gd name="connsiteX41" fmla="*/ 170393 w 363506"/>
              <a:gd name="connsiteY41" fmla="*/ 204472 h 318067"/>
              <a:gd name="connsiteX42" fmla="*/ 170393 w 363506"/>
              <a:gd name="connsiteY42" fmla="*/ 230338 h 318067"/>
              <a:gd name="connsiteX43" fmla="*/ 159034 w 363506"/>
              <a:gd name="connsiteY43" fmla="*/ 249910 h 318067"/>
              <a:gd name="connsiteX44" fmla="*/ 181753 w 363506"/>
              <a:gd name="connsiteY44" fmla="*/ 272630 h 318067"/>
              <a:gd name="connsiteX45" fmla="*/ 204472 w 363506"/>
              <a:gd name="connsiteY45" fmla="*/ 249910 h 318067"/>
              <a:gd name="connsiteX46" fmla="*/ 193113 w 363506"/>
              <a:gd name="connsiteY46" fmla="*/ 230338 h 31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63506" h="318067">
                <a:moveTo>
                  <a:pt x="240880" y="192965"/>
                </a:moveTo>
                <a:cubicBezTo>
                  <a:pt x="246627" y="182968"/>
                  <a:pt x="249910" y="171382"/>
                  <a:pt x="249910" y="159034"/>
                </a:cubicBezTo>
                <a:cubicBezTo>
                  <a:pt x="249910" y="146584"/>
                  <a:pt x="246571" y="134918"/>
                  <a:pt x="240743" y="124876"/>
                </a:cubicBezTo>
                <a:lnTo>
                  <a:pt x="230951" y="130646"/>
                </a:lnTo>
                <a:cubicBezTo>
                  <a:pt x="235790" y="138996"/>
                  <a:pt x="238551" y="148697"/>
                  <a:pt x="238551" y="159034"/>
                </a:cubicBezTo>
                <a:cubicBezTo>
                  <a:pt x="238551" y="169303"/>
                  <a:pt x="235825" y="178947"/>
                  <a:pt x="231054" y="187262"/>
                </a:cubicBezTo>
                <a:lnTo>
                  <a:pt x="240880" y="192965"/>
                </a:lnTo>
                <a:close/>
                <a:moveTo>
                  <a:pt x="211345" y="175880"/>
                </a:moveTo>
                <a:cubicBezTo>
                  <a:pt x="214196" y="170893"/>
                  <a:pt x="215832" y="165111"/>
                  <a:pt x="215832" y="158954"/>
                </a:cubicBezTo>
                <a:cubicBezTo>
                  <a:pt x="215832" y="152741"/>
                  <a:pt x="214173" y="146925"/>
                  <a:pt x="211265" y="141904"/>
                </a:cubicBezTo>
                <a:lnTo>
                  <a:pt x="221148" y="136315"/>
                </a:lnTo>
                <a:cubicBezTo>
                  <a:pt x="225010" y="142994"/>
                  <a:pt x="227225" y="150753"/>
                  <a:pt x="227225" y="159034"/>
                </a:cubicBezTo>
                <a:cubicBezTo>
                  <a:pt x="227225" y="167247"/>
                  <a:pt x="225044" y="174949"/>
                  <a:pt x="221239" y="181594"/>
                </a:cubicBezTo>
                <a:lnTo>
                  <a:pt x="211345" y="175880"/>
                </a:lnTo>
                <a:close/>
                <a:moveTo>
                  <a:pt x="272561" y="158818"/>
                </a:moveTo>
                <a:cubicBezTo>
                  <a:pt x="272561" y="158966"/>
                  <a:pt x="272584" y="159113"/>
                  <a:pt x="272584" y="159261"/>
                </a:cubicBezTo>
                <a:cubicBezTo>
                  <a:pt x="272584" y="171234"/>
                  <a:pt x="270210" y="182639"/>
                  <a:pt x="266007" y="193101"/>
                </a:cubicBezTo>
                <a:lnTo>
                  <a:pt x="266052" y="193181"/>
                </a:lnTo>
                <a:lnTo>
                  <a:pt x="324429" y="295349"/>
                </a:lnTo>
                <a:lnTo>
                  <a:pt x="39077" y="295349"/>
                </a:lnTo>
                <a:lnTo>
                  <a:pt x="181753" y="45779"/>
                </a:lnTo>
                <a:lnTo>
                  <a:pt x="219149" y="111233"/>
                </a:lnTo>
                <a:lnTo>
                  <a:pt x="238744" y="99726"/>
                </a:lnTo>
                <a:lnTo>
                  <a:pt x="181753" y="0"/>
                </a:lnTo>
                <a:lnTo>
                  <a:pt x="0" y="318068"/>
                </a:lnTo>
                <a:lnTo>
                  <a:pt x="363506" y="318068"/>
                </a:lnTo>
                <a:moveTo>
                  <a:pt x="193113" y="230338"/>
                </a:moveTo>
                <a:lnTo>
                  <a:pt x="193113" y="136315"/>
                </a:lnTo>
                <a:cubicBezTo>
                  <a:pt x="193113" y="130033"/>
                  <a:pt x="188035" y="124955"/>
                  <a:pt x="181753" y="124955"/>
                </a:cubicBezTo>
                <a:cubicBezTo>
                  <a:pt x="175471" y="124955"/>
                  <a:pt x="170393" y="130033"/>
                  <a:pt x="170393" y="136315"/>
                </a:cubicBezTo>
                <a:lnTo>
                  <a:pt x="170393" y="147674"/>
                </a:lnTo>
                <a:lnTo>
                  <a:pt x="136315" y="147674"/>
                </a:lnTo>
                <a:lnTo>
                  <a:pt x="136315" y="159034"/>
                </a:lnTo>
                <a:lnTo>
                  <a:pt x="170393" y="159034"/>
                </a:lnTo>
                <a:lnTo>
                  <a:pt x="170393" y="170393"/>
                </a:lnTo>
                <a:lnTo>
                  <a:pt x="147674" y="170393"/>
                </a:lnTo>
                <a:lnTo>
                  <a:pt x="147674" y="181753"/>
                </a:lnTo>
                <a:lnTo>
                  <a:pt x="170393" y="181753"/>
                </a:lnTo>
                <a:lnTo>
                  <a:pt x="170393" y="193113"/>
                </a:lnTo>
                <a:lnTo>
                  <a:pt x="159034" y="193113"/>
                </a:lnTo>
                <a:lnTo>
                  <a:pt x="159034" y="204472"/>
                </a:lnTo>
                <a:lnTo>
                  <a:pt x="170393" y="204472"/>
                </a:lnTo>
                <a:lnTo>
                  <a:pt x="170393" y="230338"/>
                </a:lnTo>
                <a:cubicBezTo>
                  <a:pt x="163635" y="234268"/>
                  <a:pt x="159034" y="241516"/>
                  <a:pt x="159034" y="249910"/>
                </a:cubicBezTo>
                <a:cubicBezTo>
                  <a:pt x="159034" y="262463"/>
                  <a:pt x="169201" y="272630"/>
                  <a:pt x="181753" y="272630"/>
                </a:cubicBezTo>
                <a:cubicBezTo>
                  <a:pt x="194305" y="272630"/>
                  <a:pt x="204472" y="262463"/>
                  <a:pt x="204472" y="249910"/>
                </a:cubicBezTo>
                <a:cubicBezTo>
                  <a:pt x="204472" y="241527"/>
                  <a:pt x="199872" y="234280"/>
                  <a:pt x="193113" y="230338"/>
                </a:cubicBezTo>
                <a:close/>
              </a:path>
            </a:pathLst>
          </a:custGeom>
          <a:solidFill>
            <a:schemeClr val="tx2"/>
          </a:solidFill>
          <a:ln w="11311" cap="flat">
            <a:noFill/>
            <a:prstDash val="solid"/>
            <a:miter/>
          </a:ln>
        </p:spPr>
        <p:txBody>
          <a:bodyPr rtlCol="0" anchor="ctr"/>
          <a:lstStyle/>
          <a:p>
            <a:endParaRPr lang="en-GB"/>
          </a:p>
        </p:txBody>
      </p:sp>
      <p:sp>
        <p:nvSpPr>
          <p:cNvPr id="131" name="Freeform: Shape 130">
            <a:extLst>
              <a:ext uri="{FF2B5EF4-FFF2-40B4-BE49-F238E27FC236}">
                <a16:creationId xmlns:a16="http://schemas.microsoft.com/office/drawing/2014/main" id="{6BBA77AC-2DA0-4CFB-AEB9-B371C0C5E774}"/>
              </a:ext>
            </a:extLst>
          </p:cNvPr>
          <p:cNvSpPr/>
          <p:nvPr/>
        </p:nvSpPr>
        <p:spPr>
          <a:xfrm>
            <a:off x="7121177" y="1687017"/>
            <a:ext cx="363506" cy="318067"/>
          </a:xfrm>
          <a:custGeom>
            <a:avLst/>
            <a:gdLst>
              <a:gd name="connsiteX0" fmla="*/ 39077 w 363506"/>
              <a:gd name="connsiteY0" fmla="*/ 295349 h 318067"/>
              <a:gd name="connsiteX1" fmla="*/ 324429 w 363506"/>
              <a:gd name="connsiteY1" fmla="*/ 295349 h 318067"/>
              <a:gd name="connsiteX2" fmla="*/ 181753 w 363506"/>
              <a:gd name="connsiteY2" fmla="*/ 45779 h 318067"/>
              <a:gd name="connsiteX3" fmla="*/ 39077 w 363506"/>
              <a:gd name="connsiteY3" fmla="*/ 295349 h 318067"/>
              <a:gd name="connsiteX4" fmla="*/ 181753 w 363506"/>
              <a:gd name="connsiteY4" fmla="*/ 0 h 318067"/>
              <a:gd name="connsiteX5" fmla="*/ 363506 w 363506"/>
              <a:gd name="connsiteY5" fmla="*/ 318068 h 318067"/>
              <a:gd name="connsiteX6" fmla="*/ 0 w 363506"/>
              <a:gd name="connsiteY6" fmla="*/ 318068 h 318067"/>
              <a:gd name="connsiteX7" fmla="*/ 181753 w 363506"/>
              <a:gd name="connsiteY7" fmla="*/ 0 h 318067"/>
              <a:gd name="connsiteX8" fmla="*/ 204052 w 363506"/>
              <a:gd name="connsiteY8" fmla="*/ 231406 h 318067"/>
              <a:gd name="connsiteX9" fmla="*/ 159034 w 363506"/>
              <a:gd name="connsiteY9" fmla="*/ 272630 h 318067"/>
              <a:gd name="connsiteX10" fmla="*/ 113596 w 363506"/>
              <a:gd name="connsiteY10" fmla="*/ 227191 h 318067"/>
              <a:gd name="connsiteX11" fmla="*/ 121036 w 363506"/>
              <a:gd name="connsiteY11" fmla="*/ 202268 h 318067"/>
              <a:gd name="connsiteX12" fmla="*/ 159034 w 363506"/>
              <a:gd name="connsiteY12" fmla="*/ 147674 h 318067"/>
              <a:gd name="connsiteX13" fmla="*/ 172847 w 363506"/>
              <a:gd name="connsiteY13" fmla="*/ 167542 h 318067"/>
              <a:gd name="connsiteX14" fmla="*/ 171404 w 363506"/>
              <a:gd name="connsiteY14" fmla="*/ 169621 h 318067"/>
              <a:gd name="connsiteX15" fmla="*/ 164714 w 363506"/>
              <a:gd name="connsiteY15" fmla="*/ 191693 h 318067"/>
              <a:gd name="connsiteX16" fmla="*/ 204052 w 363506"/>
              <a:gd name="connsiteY16" fmla="*/ 231406 h 318067"/>
              <a:gd name="connsiteX17" fmla="*/ 176073 w 363506"/>
              <a:gd name="connsiteY17" fmla="*/ 191693 h 318067"/>
              <a:gd name="connsiteX18" fmla="*/ 180719 w 363506"/>
              <a:gd name="connsiteY18" fmla="*/ 176119 h 318067"/>
              <a:gd name="connsiteX19" fmla="*/ 204472 w 363506"/>
              <a:gd name="connsiteY19" fmla="*/ 141995 h 318067"/>
              <a:gd name="connsiteX20" fmla="*/ 228225 w 363506"/>
              <a:gd name="connsiteY20" fmla="*/ 176119 h 318067"/>
              <a:gd name="connsiteX21" fmla="*/ 232871 w 363506"/>
              <a:gd name="connsiteY21" fmla="*/ 191693 h 318067"/>
              <a:gd name="connsiteX22" fmla="*/ 204472 w 363506"/>
              <a:gd name="connsiteY22" fmla="*/ 220092 h 318067"/>
              <a:gd name="connsiteX23" fmla="*/ 176073 w 363506"/>
              <a:gd name="connsiteY23" fmla="*/ 191693 h 31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3506" h="318067">
                <a:moveTo>
                  <a:pt x="39077" y="295349"/>
                </a:moveTo>
                <a:lnTo>
                  <a:pt x="324429" y="295349"/>
                </a:lnTo>
                <a:lnTo>
                  <a:pt x="181753" y="45779"/>
                </a:lnTo>
                <a:lnTo>
                  <a:pt x="39077" y="295349"/>
                </a:lnTo>
                <a:close/>
                <a:moveTo>
                  <a:pt x="181753" y="0"/>
                </a:moveTo>
                <a:lnTo>
                  <a:pt x="363506" y="318068"/>
                </a:lnTo>
                <a:lnTo>
                  <a:pt x="0" y="318068"/>
                </a:lnTo>
                <a:lnTo>
                  <a:pt x="181753" y="0"/>
                </a:lnTo>
                <a:close/>
                <a:moveTo>
                  <a:pt x="204052" y="231406"/>
                </a:moveTo>
                <a:cubicBezTo>
                  <a:pt x="201894" y="254534"/>
                  <a:pt x="182685" y="272630"/>
                  <a:pt x="159034" y="272630"/>
                </a:cubicBezTo>
                <a:cubicBezTo>
                  <a:pt x="133941" y="272630"/>
                  <a:pt x="113596" y="252330"/>
                  <a:pt x="113596" y="227191"/>
                </a:cubicBezTo>
                <a:cubicBezTo>
                  <a:pt x="113596" y="218751"/>
                  <a:pt x="116152" y="209255"/>
                  <a:pt x="121036" y="202268"/>
                </a:cubicBezTo>
                <a:cubicBezTo>
                  <a:pt x="130135" y="189250"/>
                  <a:pt x="159034" y="147674"/>
                  <a:pt x="159034" y="147674"/>
                </a:cubicBezTo>
                <a:cubicBezTo>
                  <a:pt x="159034" y="147674"/>
                  <a:pt x="165270" y="156648"/>
                  <a:pt x="172847" y="167542"/>
                </a:cubicBezTo>
                <a:lnTo>
                  <a:pt x="171404" y="169621"/>
                </a:lnTo>
                <a:cubicBezTo>
                  <a:pt x="167156" y="175710"/>
                  <a:pt x="164714" y="183764"/>
                  <a:pt x="164714" y="191693"/>
                </a:cubicBezTo>
                <a:cubicBezTo>
                  <a:pt x="164714" y="213469"/>
                  <a:pt x="182332" y="231178"/>
                  <a:pt x="204052" y="231406"/>
                </a:cubicBezTo>
                <a:close/>
                <a:moveTo>
                  <a:pt x="176073" y="191693"/>
                </a:moveTo>
                <a:cubicBezTo>
                  <a:pt x="176073" y="186422"/>
                  <a:pt x="177675" y="180481"/>
                  <a:pt x="180719" y="176119"/>
                </a:cubicBezTo>
                <a:cubicBezTo>
                  <a:pt x="186410" y="167974"/>
                  <a:pt x="204472" y="141995"/>
                  <a:pt x="204472" y="141995"/>
                </a:cubicBezTo>
                <a:cubicBezTo>
                  <a:pt x="204472" y="141995"/>
                  <a:pt x="222534" y="167974"/>
                  <a:pt x="228225" y="176119"/>
                </a:cubicBezTo>
                <a:cubicBezTo>
                  <a:pt x="231281" y="180481"/>
                  <a:pt x="232871" y="186422"/>
                  <a:pt x="232871" y="191693"/>
                </a:cubicBezTo>
                <a:cubicBezTo>
                  <a:pt x="232871" y="207403"/>
                  <a:pt x="220160" y="220092"/>
                  <a:pt x="204472" y="220092"/>
                </a:cubicBezTo>
                <a:cubicBezTo>
                  <a:pt x="188785" y="220092"/>
                  <a:pt x="176073" y="207403"/>
                  <a:pt x="176073" y="191693"/>
                </a:cubicBezTo>
                <a:close/>
              </a:path>
            </a:pathLst>
          </a:custGeom>
          <a:solidFill>
            <a:schemeClr val="tx2"/>
          </a:solidFill>
          <a:ln w="11311" cap="flat">
            <a:noFill/>
            <a:prstDash val="solid"/>
            <a:miter/>
          </a:ln>
        </p:spPr>
        <p:txBody>
          <a:bodyPr rtlCol="0" anchor="ctr"/>
          <a:lstStyle/>
          <a:p>
            <a:endParaRPr lang="en-GB"/>
          </a:p>
        </p:txBody>
      </p:sp>
      <p:sp>
        <p:nvSpPr>
          <p:cNvPr id="156" name="Freeform: Shape 155">
            <a:extLst>
              <a:ext uri="{FF2B5EF4-FFF2-40B4-BE49-F238E27FC236}">
                <a16:creationId xmlns:a16="http://schemas.microsoft.com/office/drawing/2014/main" id="{8FCA34F0-12C3-4B44-B7C1-8B178A5D6DCB}"/>
              </a:ext>
            </a:extLst>
          </p:cNvPr>
          <p:cNvSpPr/>
          <p:nvPr/>
        </p:nvSpPr>
        <p:spPr>
          <a:xfrm>
            <a:off x="6146750" y="2443216"/>
            <a:ext cx="223083" cy="375718"/>
          </a:xfrm>
          <a:custGeom>
            <a:avLst/>
            <a:gdLst>
              <a:gd name="connsiteX0" fmla="*/ 152400 w 180975"/>
              <a:gd name="connsiteY0" fmla="*/ 66675 h 304800"/>
              <a:gd name="connsiteX1" fmla="*/ 114300 w 180975"/>
              <a:gd name="connsiteY1" fmla="*/ 66675 h 304800"/>
              <a:gd name="connsiteX2" fmla="*/ 114300 w 180975"/>
              <a:gd name="connsiteY2" fmla="*/ 47625 h 304800"/>
              <a:gd name="connsiteX3" fmla="*/ 152400 w 180975"/>
              <a:gd name="connsiteY3" fmla="*/ 47625 h 304800"/>
              <a:gd name="connsiteX4" fmla="*/ 152400 w 180975"/>
              <a:gd name="connsiteY4" fmla="*/ 66675 h 304800"/>
              <a:gd name="connsiteX5" fmla="*/ 180975 w 180975"/>
              <a:gd name="connsiteY5" fmla="*/ 85725 h 304800"/>
              <a:gd name="connsiteX6" fmla="*/ 114300 w 180975"/>
              <a:gd name="connsiteY6" fmla="*/ 85725 h 304800"/>
              <a:gd name="connsiteX7" fmla="*/ 114300 w 180975"/>
              <a:gd name="connsiteY7" fmla="*/ 104775 h 304800"/>
              <a:gd name="connsiteX8" fmla="*/ 180975 w 180975"/>
              <a:gd name="connsiteY8" fmla="*/ 104775 h 304800"/>
              <a:gd name="connsiteX9" fmla="*/ 180975 w 180975"/>
              <a:gd name="connsiteY9" fmla="*/ 85725 h 304800"/>
              <a:gd name="connsiteX10" fmla="*/ 152400 w 180975"/>
              <a:gd name="connsiteY10" fmla="*/ 123825 h 304800"/>
              <a:gd name="connsiteX11" fmla="*/ 114300 w 180975"/>
              <a:gd name="connsiteY11" fmla="*/ 123825 h 304800"/>
              <a:gd name="connsiteX12" fmla="*/ 114300 w 180975"/>
              <a:gd name="connsiteY12" fmla="*/ 142875 h 304800"/>
              <a:gd name="connsiteX13" fmla="*/ 152400 w 180975"/>
              <a:gd name="connsiteY13" fmla="*/ 142875 h 304800"/>
              <a:gd name="connsiteX14" fmla="*/ 152400 w 180975"/>
              <a:gd name="connsiteY14" fmla="*/ 123825 h 304800"/>
              <a:gd name="connsiteX15" fmla="*/ 114300 w 180975"/>
              <a:gd name="connsiteY15" fmla="*/ 247650 h 304800"/>
              <a:gd name="connsiteX16" fmla="*/ 95250 w 180975"/>
              <a:gd name="connsiteY16" fmla="*/ 205740 h 304800"/>
              <a:gd name="connsiteX17" fmla="*/ 95250 w 180975"/>
              <a:gd name="connsiteY17" fmla="*/ 38100 h 304800"/>
              <a:gd name="connsiteX18" fmla="*/ 57150 w 180975"/>
              <a:gd name="connsiteY18" fmla="*/ 0 h 304800"/>
              <a:gd name="connsiteX19" fmla="*/ 19050 w 180975"/>
              <a:gd name="connsiteY19" fmla="*/ 38100 h 304800"/>
              <a:gd name="connsiteX20" fmla="*/ 19050 w 180975"/>
              <a:gd name="connsiteY20" fmla="*/ 205740 h 304800"/>
              <a:gd name="connsiteX21" fmla="*/ 0 w 180975"/>
              <a:gd name="connsiteY21" fmla="*/ 247650 h 304800"/>
              <a:gd name="connsiteX22" fmla="*/ 57150 w 180975"/>
              <a:gd name="connsiteY22" fmla="*/ 304800 h 304800"/>
              <a:gd name="connsiteX23" fmla="*/ 114300 w 180975"/>
              <a:gd name="connsiteY23" fmla="*/ 247650 h 304800"/>
              <a:gd name="connsiteX24" fmla="*/ 76200 w 180975"/>
              <a:gd name="connsiteY24" fmla="*/ 38100 h 304800"/>
              <a:gd name="connsiteX25" fmla="*/ 76200 w 180975"/>
              <a:gd name="connsiteY25" fmla="*/ 214313 h 304800"/>
              <a:gd name="connsiteX26" fmla="*/ 80010 w 180975"/>
              <a:gd name="connsiteY26" fmla="*/ 217170 h 304800"/>
              <a:gd name="connsiteX27" fmla="*/ 95250 w 180975"/>
              <a:gd name="connsiteY27" fmla="*/ 247650 h 304800"/>
              <a:gd name="connsiteX28" fmla="*/ 57150 w 180975"/>
              <a:gd name="connsiteY28" fmla="*/ 285750 h 304800"/>
              <a:gd name="connsiteX29" fmla="*/ 19050 w 180975"/>
              <a:gd name="connsiteY29" fmla="*/ 247650 h 304800"/>
              <a:gd name="connsiteX30" fmla="*/ 34290 w 180975"/>
              <a:gd name="connsiteY30" fmla="*/ 217170 h 304800"/>
              <a:gd name="connsiteX31" fmla="*/ 38100 w 180975"/>
              <a:gd name="connsiteY31" fmla="*/ 214313 h 304800"/>
              <a:gd name="connsiteX32" fmla="*/ 38100 w 180975"/>
              <a:gd name="connsiteY32" fmla="*/ 38100 h 304800"/>
              <a:gd name="connsiteX33" fmla="*/ 57150 w 180975"/>
              <a:gd name="connsiteY33" fmla="*/ 19050 h 304800"/>
              <a:gd name="connsiteX34" fmla="*/ 76200 w 180975"/>
              <a:gd name="connsiteY34" fmla="*/ 381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80975" h="304800">
                <a:moveTo>
                  <a:pt x="152400" y="66675"/>
                </a:moveTo>
                <a:lnTo>
                  <a:pt x="114300" y="66675"/>
                </a:lnTo>
                <a:lnTo>
                  <a:pt x="114300" y="47625"/>
                </a:lnTo>
                <a:lnTo>
                  <a:pt x="152400" y="47625"/>
                </a:lnTo>
                <a:lnTo>
                  <a:pt x="152400" y="66675"/>
                </a:lnTo>
                <a:close/>
                <a:moveTo>
                  <a:pt x="180975" y="85725"/>
                </a:moveTo>
                <a:lnTo>
                  <a:pt x="114300" y="85725"/>
                </a:lnTo>
                <a:lnTo>
                  <a:pt x="114300" y="104775"/>
                </a:lnTo>
                <a:lnTo>
                  <a:pt x="180975" y="104775"/>
                </a:lnTo>
                <a:lnTo>
                  <a:pt x="180975" y="85725"/>
                </a:lnTo>
                <a:close/>
                <a:moveTo>
                  <a:pt x="152400" y="123825"/>
                </a:moveTo>
                <a:lnTo>
                  <a:pt x="114300" y="123825"/>
                </a:lnTo>
                <a:lnTo>
                  <a:pt x="114300" y="142875"/>
                </a:lnTo>
                <a:lnTo>
                  <a:pt x="152400" y="142875"/>
                </a:lnTo>
                <a:lnTo>
                  <a:pt x="152400" y="123825"/>
                </a:lnTo>
                <a:close/>
                <a:moveTo>
                  <a:pt x="114300" y="247650"/>
                </a:moveTo>
                <a:cubicBezTo>
                  <a:pt x="114300" y="231458"/>
                  <a:pt x="107633" y="216218"/>
                  <a:pt x="95250" y="205740"/>
                </a:cubicBezTo>
                <a:lnTo>
                  <a:pt x="95250" y="38100"/>
                </a:lnTo>
                <a:cubicBezTo>
                  <a:pt x="95250" y="17145"/>
                  <a:pt x="78105" y="0"/>
                  <a:pt x="57150" y="0"/>
                </a:cubicBezTo>
                <a:cubicBezTo>
                  <a:pt x="36195" y="0"/>
                  <a:pt x="19050" y="17145"/>
                  <a:pt x="19050" y="38100"/>
                </a:cubicBezTo>
                <a:lnTo>
                  <a:pt x="19050" y="205740"/>
                </a:lnTo>
                <a:cubicBezTo>
                  <a:pt x="6668" y="216218"/>
                  <a:pt x="0" y="231458"/>
                  <a:pt x="0" y="247650"/>
                </a:cubicBezTo>
                <a:cubicBezTo>
                  <a:pt x="0" y="279083"/>
                  <a:pt x="25718" y="304800"/>
                  <a:pt x="57150" y="304800"/>
                </a:cubicBezTo>
                <a:cubicBezTo>
                  <a:pt x="88583" y="304800"/>
                  <a:pt x="114300" y="279083"/>
                  <a:pt x="114300" y="247650"/>
                </a:cubicBezTo>
                <a:close/>
                <a:moveTo>
                  <a:pt x="76200" y="38100"/>
                </a:moveTo>
                <a:lnTo>
                  <a:pt x="76200" y="214313"/>
                </a:lnTo>
                <a:lnTo>
                  <a:pt x="80010" y="217170"/>
                </a:lnTo>
                <a:cubicBezTo>
                  <a:pt x="89535" y="224790"/>
                  <a:pt x="95250" y="235268"/>
                  <a:pt x="95250" y="247650"/>
                </a:cubicBezTo>
                <a:cubicBezTo>
                  <a:pt x="95250" y="268605"/>
                  <a:pt x="78105" y="285750"/>
                  <a:pt x="57150" y="285750"/>
                </a:cubicBezTo>
                <a:cubicBezTo>
                  <a:pt x="36195" y="285750"/>
                  <a:pt x="19050" y="268605"/>
                  <a:pt x="19050" y="247650"/>
                </a:cubicBezTo>
                <a:cubicBezTo>
                  <a:pt x="19050" y="235268"/>
                  <a:pt x="24765" y="224790"/>
                  <a:pt x="34290" y="217170"/>
                </a:cubicBezTo>
                <a:lnTo>
                  <a:pt x="38100" y="214313"/>
                </a:lnTo>
                <a:lnTo>
                  <a:pt x="38100" y="38100"/>
                </a:lnTo>
                <a:cubicBezTo>
                  <a:pt x="38100" y="27623"/>
                  <a:pt x="46673" y="19050"/>
                  <a:pt x="57150" y="19050"/>
                </a:cubicBezTo>
                <a:cubicBezTo>
                  <a:pt x="67628" y="19050"/>
                  <a:pt x="76200" y="27623"/>
                  <a:pt x="76200" y="38100"/>
                </a:cubicBezTo>
                <a:close/>
              </a:path>
            </a:pathLst>
          </a:custGeom>
          <a:solidFill>
            <a:schemeClr val="tx2"/>
          </a:solidFill>
          <a:ln w="9525" cap="flat">
            <a:noFill/>
            <a:prstDash val="solid"/>
            <a:miter/>
          </a:ln>
        </p:spPr>
        <p:txBody>
          <a:bodyPr rtlCol="0" anchor="ctr"/>
          <a:lstStyle/>
          <a:p>
            <a:endParaRPr lang="en-GB"/>
          </a:p>
        </p:txBody>
      </p:sp>
      <p:sp>
        <p:nvSpPr>
          <p:cNvPr id="157" name="Freeform 140">
            <a:extLst>
              <a:ext uri="{FF2B5EF4-FFF2-40B4-BE49-F238E27FC236}">
                <a16:creationId xmlns:a16="http://schemas.microsoft.com/office/drawing/2014/main" id="{D9D5F852-3698-406F-8A88-6F0D66B84E5E}"/>
              </a:ext>
            </a:extLst>
          </p:cNvPr>
          <p:cNvSpPr>
            <a:spLocks noEditPoints="1"/>
          </p:cNvSpPr>
          <p:nvPr/>
        </p:nvSpPr>
        <p:spPr bwMode="auto">
          <a:xfrm>
            <a:off x="6051916" y="4253420"/>
            <a:ext cx="412750" cy="211138"/>
          </a:xfrm>
          <a:custGeom>
            <a:avLst/>
            <a:gdLst>
              <a:gd name="T0" fmla="*/ 128 w 128"/>
              <a:gd name="T1" fmla="*/ 24 h 64"/>
              <a:gd name="T2" fmla="*/ 63 w 128"/>
              <a:gd name="T3" fmla="*/ 24 h 64"/>
              <a:gd name="T4" fmla="*/ 32 w 128"/>
              <a:gd name="T5" fmla="*/ 0 h 64"/>
              <a:gd name="T6" fmla="*/ 0 w 128"/>
              <a:gd name="T7" fmla="*/ 32 h 64"/>
              <a:gd name="T8" fmla="*/ 32 w 128"/>
              <a:gd name="T9" fmla="*/ 64 h 64"/>
              <a:gd name="T10" fmla="*/ 63 w 128"/>
              <a:gd name="T11" fmla="*/ 40 h 64"/>
              <a:gd name="T12" fmla="*/ 92 w 128"/>
              <a:gd name="T13" fmla="*/ 40 h 64"/>
              <a:gd name="T14" fmla="*/ 92 w 128"/>
              <a:gd name="T15" fmla="*/ 60 h 64"/>
              <a:gd name="T16" fmla="*/ 116 w 128"/>
              <a:gd name="T17" fmla="*/ 60 h 64"/>
              <a:gd name="T18" fmla="*/ 116 w 128"/>
              <a:gd name="T19" fmla="*/ 40 h 64"/>
              <a:gd name="T20" fmla="*/ 128 w 128"/>
              <a:gd name="T21" fmla="*/ 40 h 64"/>
              <a:gd name="T22" fmla="*/ 128 w 128"/>
              <a:gd name="T23" fmla="*/ 24 h 64"/>
              <a:gd name="T24" fmla="*/ 32 w 128"/>
              <a:gd name="T25" fmla="*/ 48 h 64"/>
              <a:gd name="T26" fmla="*/ 16 w 128"/>
              <a:gd name="T27" fmla="*/ 32 h 64"/>
              <a:gd name="T28" fmla="*/ 32 w 128"/>
              <a:gd name="T29" fmla="*/ 16 h 64"/>
              <a:gd name="T30" fmla="*/ 48 w 128"/>
              <a:gd name="T31" fmla="*/ 32 h 64"/>
              <a:gd name="T32" fmla="*/ 32 w 128"/>
              <a:gd name="T33"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8" h="64">
                <a:moveTo>
                  <a:pt x="128" y="24"/>
                </a:moveTo>
                <a:cubicBezTo>
                  <a:pt x="124" y="24"/>
                  <a:pt x="75" y="24"/>
                  <a:pt x="63" y="24"/>
                </a:cubicBezTo>
                <a:cubicBezTo>
                  <a:pt x="59" y="10"/>
                  <a:pt x="47" y="0"/>
                  <a:pt x="32" y="0"/>
                </a:cubicBezTo>
                <a:cubicBezTo>
                  <a:pt x="14" y="0"/>
                  <a:pt x="0" y="14"/>
                  <a:pt x="0" y="32"/>
                </a:cubicBezTo>
                <a:cubicBezTo>
                  <a:pt x="0" y="50"/>
                  <a:pt x="14" y="64"/>
                  <a:pt x="32" y="64"/>
                </a:cubicBezTo>
                <a:cubicBezTo>
                  <a:pt x="47" y="64"/>
                  <a:pt x="59" y="54"/>
                  <a:pt x="63" y="40"/>
                </a:cubicBezTo>
                <a:cubicBezTo>
                  <a:pt x="68" y="40"/>
                  <a:pt x="80" y="40"/>
                  <a:pt x="92" y="40"/>
                </a:cubicBezTo>
                <a:cubicBezTo>
                  <a:pt x="92" y="60"/>
                  <a:pt x="92" y="60"/>
                  <a:pt x="92" y="60"/>
                </a:cubicBezTo>
                <a:cubicBezTo>
                  <a:pt x="116" y="60"/>
                  <a:pt x="116" y="60"/>
                  <a:pt x="116" y="60"/>
                </a:cubicBezTo>
                <a:cubicBezTo>
                  <a:pt x="116" y="40"/>
                  <a:pt x="116" y="40"/>
                  <a:pt x="116" y="40"/>
                </a:cubicBezTo>
                <a:cubicBezTo>
                  <a:pt x="122" y="40"/>
                  <a:pt x="127" y="40"/>
                  <a:pt x="128" y="40"/>
                </a:cubicBezTo>
                <a:lnTo>
                  <a:pt x="128" y="24"/>
                </a:lnTo>
                <a:close/>
                <a:moveTo>
                  <a:pt x="32" y="48"/>
                </a:moveTo>
                <a:cubicBezTo>
                  <a:pt x="23" y="48"/>
                  <a:pt x="16" y="41"/>
                  <a:pt x="16" y="32"/>
                </a:cubicBezTo>
                <a:cubicBezTo>
                  <a:pt x="16" y="23"/>
                  <a:pt x="23" y="16"/>
                  <a:pt x="32" y="16"/>
                </a:cubicBezTo>
                <a:cubicBezTo>
                  <a:pt x="41" y="16"/>
                  <a:pt x="48" y="23"/>
                  <a:pt x="48" y="32"/>
                </a:cubicBezTo>
                <a:cubicBezTo>
                  <a:pt x="48" y="41"/>
                  <a:pt x="41" y="48"/>
                  <a:pt x="32" y="48"/>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7" name="Freeform 116">
            <a:extLst>
              <a:ext uri="{FF2B5EF4-FFF2-40B4-BE49-F238E27FC236}">
                <a16:creationId xmlns:a16="http://schemas.microsoft.com/office/drawing/2014/main" id="{33861D86-F4E8-469A-84D6-36C508785B15}"/>
              </a:ext>
            </a:extLst>
          </p:cNvPr>
          <p:cNvSpPr>
            <a:spLocks noEditPoints="1"/>
          </p:cNvSpPr>
          <p:nvPr/>
        </p:nvSpPr>
        <p:spPr bwMode="auto">
          <a:xfrm>
            <a:off x="7253718" y="2404596"/>
            <a:ext cx="98425" cy="414338"/>
          </a:xfrm>
          <a:custGeom>
            <a:avLst/>
            <a:gdLst>
              <a:gd name="T0" fmla="*/ 0 w 62"/>
              <a:gd name="T1" fmla="*/ 0 h 261"/>
              <a:gd name="T2" fmla="*/ 62 w 62"/>
              <a:gd name="T3" fmla="*/ 0 h 261"/>
              <a:gd name="T4" fmla="*/ 62 w 62"/>
              <a:gd name="T5" fmla="*/ 49 h 261"/>
              <a:gd name="T6" fmla="*/ 0 w 62"/>
              <a:gd name="T7" fmla="*/ 49 h 261"/>
              <a:gd name="T8" fmla="*/ 0 w 62"/>
              <a:gd name="T9" fmla="*/ 0 h 261"/>
              <a:gd name="T10" fmla="*/ 0 w 62"/>
              <a:gd name="T11" fmla="*/ 82 h 261"/>
              <a:gd name="T12" fmla="*/ 62 w 62"/>
              <a:gd name="T13" fmla="*/ 82 h 261"/>
              <a:gd name="T14" fmla="*/ 62 w 62"/>
              <a:gd name="T15" fmla="*/ 261 h 261"/>
              <a:gd name="T16" fmla="*/ 0 w 62"/>
              <a:gd name="T17" fmla="*/ 261 h 261"/>
              <a:gd name="T18" fmla="*/ 0 w 62"/>
              <a:gd name="T19" fmla="*/ 8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261">
                <a:moveTo>
                  <a:pt x="0" y="0"/>
                </a:moveTo>
                <a:lnTo>
                  <a:pt x="62" y="0"/>
                </a:lnTo>
                <a:lnTo>
                  <a:pt x="62" y="49"/>
                </a:lnTo>
                <a:lnTo>
                  <a:pt x="0" y="49"/>
                </a:lnTo>
                <a:lnTo>
                  <a:pt x="0" y="0"/>
                </a:lnTo>
                <a:close/>
                <a:moveTo>
                  <a:pt x="0" y="82"/>
                </a:moveTo>
                <a:lnTo>
                  <a:pt x="62" y="82"/>
                </a:lnTo>
                <a:lnTo>
                  <a:pt x="62" y="261"/>
                </a:lnTo>
                <a:lnTo>
                  <a:pt x="0" y="261"/>
                </a:lnTo>
                <a:lnTo>
                  <a:pt x="0" y="8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8" name="Freeform 120">
            <a:extLst>
              <a:ext uri="{FF2B5EF4-FFF2-40B4-BE49-F238E27FC236}">
                <a16:creationId xmlns:a16="http://schemas.microsoft.com/office/drawing/2014/main" id="{D0B24D18-CBD7-4DD8-BF66-4C37CEA54F02}"/>
              </a:ext>
            </a:extLst>
          </p:cNvPr>
          <p:cNvSpPr>
            <a:spLocks noEditPoints="1"/>
          </p:cNvSpPr>
          <p:nvPr/>
        </p:nvSpPr>
        <p:spPr bwMode="auto">
          <a:xfrm>
            <a:off x="8142781" y="2406184"/>
            <a:ext cx="412750" cy="412750"/>
          </a:xfrm>
          <a:custGeom>
            <a:avLst/>
            <a:gdLst>
              <a:gd name="T0" fmla="*/ 56 w 128"/>
              <a:gd name="T1" fmla="*/ 32 h 128"/>
              <a:gd name="T2" fmla="*/ 72 w 128"/>
              <a:gd name="T3" fmla="*/ 32 h 128"/>
              <a:gd name="T4" fmla="*/ 72 w 128"/>
              <a:gd name="T5" fmla="*/ 44 h 128"/>
              <a:gd name="T6" fmla="*/ 56 w 128"/>
              <a:gd name="T7" fmla="*/ 44 h 128"/>
              <a:gd name="T8" fmla="*/ 56 w 128"/>
              <a:gd name="T9" fmla="*/ 32 h 128"/>
              <a:gd name="T10" fmla="*/ 56 w 128"/>
              <a:gd name="T11" fmla="*/ 56 h 128"/>
              <a:gd name="T12" fmla="*/ 72 w 128"/>
              <a:gd name="T13" fmla="*/ 56 h 128"/>
              <a:gd name="T14" fmla="*/ 72 w 128"/>
              <a:gd name="T15" fmla="*/ 96 h 128"/>
              <a:gd name="T16" fmla="*/ 56 w 128"/>
              <a:gd name="T17" fmla="*/ 96 h 128"/>
              <a:gd name="T18" fmla="*/ 56 w 128"/>
              <a:gd name="T19" fmla="*/ 56 h 128"/>
              <a:gd name="T20" fmla="*/ 64 w 128"/>
              <a:gd name="T21" fmla="*/ 0 h 128"/>
              <a:gd name="T22" fmla="*/ 0 w 128"/>
              <a:gd name="T23" fmla="*/ 64 h 128"/>
              <a:gd name="T24" fmla="*/ 64 w 128"/>
              <a:gd name="T25" fmla="*/ 128 h 128"/>
              <a:gd name="T26" fmla="*/ 128 w 128"/>
              <a:gd name="T27" fmla="*/ 64 h 128"/>
              <a:gd name="T28" fmla="*/ 64 w 128"/>
              <a:gd name="T29" fmla="*/ 0 h 128"/>
              <a:gd name="T30" fmla="*/ 64 w 128"/>
              <a:gd name="T31" fmla="*/ 120 h 128"/>
              <a:gd name="T32" fmla="*/ 8 w 128"/>
              <a:gd name="T33" fmla="*/ 64 h 128"/>
              <a:gd name="T34" fmla="*/ 64 w 128"/>
              <a:gd name="T35" fmla="*/ 8 h 128"/>
              <a:gd name="T36" fmla="*/ 120 w 128"/>
              <a:gd name="T37" fmla="*/ 64 h 128"/>
              <a:gd name="T38" fmla="*/ 64 w 128"/>
              <a:gd name="T39"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28">
                <a:moveTo>
                  <a:pt x="56" y="32"/>
                </a:moveTo>
                <a:cubicBezTo>
                  <a:pt x="72" y="32"/>
                  <a:pt x="72" y="32"/>
                  <a:pt x="72" y="32"/>
                </a:cubicBezTo>
                <a:cubicBezTo>
                  <a:pt x="72" y="44"/>
                  <a:pt x="72" y="44"/>
                  <a:pt x="72" y="44"/>
                </a:cubicBezTo>
                <a:cubicBezTo>
                  <a:pt x="56" y="44"/>
                  <a:pt x="56" y="44"/>
                  <a:pt x="56" y="44"/>
                </a:cubicBezTo>
                <a:lnTo>
                  <a:pt x="56" y="32"/>
                </a:lnTo>
                <a:close/>
                <a:moveTo>
                  <a:pt x="56" y="56"/>
                </a:moveTo>
                <a:cubicBezTo>
                  <a:pt x="72" y="56"/>
                  <a:pt x="72" y="56"/>
                  <a:pt x="72" y="56"/>
                </a:cubicBezTo>
                <a:cubicBezTo>
                  <a:pt x="72" y="96"/>
                  <a:pt x="72" y="96"/>
                  <a:pt x="72" y="96"/>
                </a:cubicBezTo>
                <a:cubicBezTo>
                  <a:pt x="56" y="96"/>
                  <a:pt x="56" y="96"/>
                  <a:pt x="56" y="96"/>
                </a:cubicBezTo>
                <a:lnTo>
                  <a:pt x="56" y="56"/>
                </a:lnTo>
                <a:close/>
                <a:moveTo>
                  <a:pt x="64" y="0"/>
                </a:moveTo>
                <a:cubicBezTo>
                  <a:pt x="29" y="0"/>
                  <a:pt x="0" y="29"/>
                  <a:pt x="0" y="64"/>
                </a:cubicBezTo>
                <a:cubicBezTo>
                  <a:pt x="0" y="99"/>
                  <a:pt x="29" y="128"/>
                  <a:pt x="64" y="128"/>
                </a:cubicBezTo>
                <a:cubicBezTo>
                  <a:pt x="99" y="128"/>
                  <a:pt x="128" y="99"/>
                  <a:pt x="128" y="64"/>
                </a:cubicBezTo>
                <a:cubicBezTo>
                  <a:pt x="128" y="29"/>
                  <a:pt x="99" y="0"/>
                  <a:pt x="64" y="0"/>
                </a:cubicBezTo>
                <a:close/>
                <a:moveTo>
                  <a:pt x="64" y="120"/>
                </a:moveTo>
                <a:cubicBezTo>
                  <a:pt x="33" y="120"/>
                  <a:pt x="8" y="95"/>
                  <a:pt x="8" y="64"/>
                </a:cubicBezTo>
                <a:cubicBezTo>
                  <a:pt x="8" y="33"/>
                  <a:pt x="33" y="8"/>
                  <a:pt x="64" y="8"/>
                </a:cubicBezTo>
                <a:cubicBezTo>
                  <a:pt x="95" y="8"/>
                  <a:pt x="120" y="33"/>
                  <a:pt x="120" y="64"/>
                </a:cubicBezTo>
                <a:cubicBezTo>
                  <a:pt x="120" y="95"/>
                  <a:pt x="95" y="120"/>
                  <a:pt x="64" y="1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9" name="Freeform 124">
            <a:extLst>
              <a:ext uri="{FF2B5EF4-FFF2-40B4-BE49-F238E27FC236}">
                <a16:creationId xmlns:a16="http://schemas.microsoft.com/office/drawing/2014/main" id="{1B634CB6-3683-4C4C-8F56-C8F487DC0E04}"/>
              </a:ext>
            </a:extLst>
          </p:cNvPr>
          <p:cNvSpPr>
            <a:spLocks noEditPoints="1"/>
          </p:cNvSpPr>
          <p:nvPr/>
        </p:nvSpPr>
        <p:spPr bwMode="auto">
          <a:xfrm>
            <a:off x="5031086" y="3193472"/>
            <a:ext cx="363538" cy="414338"/>
          </a:xfrm>
          <a:custGeom>
            <a:avLst/>
            <a:gdLst>
              <a:gd name="T0" fmla="*/ 100 w 112"/>
              <a:gd name="T1" fmla="*/ 88 h 128"/>
              <a:gd name="T2" fmla="*/ 95 w 112"/>
              <a:gd name="T3" fmla="*/ 89 h 128"/>
              <a:gd name="T4" fmla="*/ 84 w 112"/>
              <a:gd name="T5" fmla="*/ 78 h 128"/>
              <a:gd name="T6" fmla="*/ 88 w 112"/>
              <a:gd name="T7" fmla="*/ 64 h 128"/>
              <a:gd name="T8" fmla="*/ 84 w 112"/>
              <a:gd name="T9" fmla="*/ 50 h 128"/>
              <a:gd name="T10" fmla="*/ 95 w 112"/>
              <a:gd name="T11" fmla="*/ 39 h 128"/>
              <a:gd name="T12" fmla="*/ 100 w 112"/>
              <a:gd name="T13" fmla="*/ 40 h 128"/>
              <a:gd name="T14" fmla="*/ 112 w 112"/>
              <a:gd name="T15" fmla="*/ 28 h 128"/>
              <a:gd name="T16" fmla="*/ 100 w 112"/>
              <a:gd name="T17" fmla="*/ 16 h 128"/>
              <a:gd name="T18" fmla="*/ 88 w 112"/>
              <a:gd name="T19" fmla="*/ 28 h 128"/>
              <a:gd name="T20" fmla="*/ 89 w 112"/>
              <a:gd name="T21" fmla="*/ 33 h 128"/>
              <a:gd name="T22" fmla="*/ 78 w 112"/>
              <a:gd name="T23" fmla="*/ 44 h 128"/>
              <a:gd name="T24" fmla="*/ 68 w 112"/>
              <a:gd name="T25" fmla="*/ 40 h 128"/>
              <a:gd name="T26" fmla="*/ 68 w 112"/>
              <a:gd name="T27" fmla="*/ 23 h 128"/>
              <a:gd name="T28" fmla="*/ 76 w 112"/>
              <a:gd name="T29" fmla="*/ 12 h 128"/>
              <a:gd name="T30" fmla="*/ 64 w 112"/>
              <a:gd name="T31" fmla="*/ 0 h 128"/>
              <a:gd name="T32" fmla="*/ 52 w 112"/>
              <a:gd name="T33" fmla="*/ 12 h 128"/>
              <a:gd name="T34" fmla="*/ 60 w 112"/>
              <a:gd name="T35" fmla="*/ 23 h 128"/>
              <a:gd name="T36" fmla="*/ 60 w 112"/>
              <a:gd name="T37" fmla="*/ 40 h 128"/>
              <a:gd name="T38" fmla="*/ 50 w 112"/>
              <a:gd name="T39" fmla="*/ 44 h 128"/>
              <a:gd name="T40" fmla="*/ 23 w 112"/>
              <a:gd name="T41" fmla="*/ 17 h 128"/>
              <a:gd name="T42" fmla="*/ 24 w 112"/>
              <a:gd name="T43" fmla="*/ 12 h 128"/>
              <a:gd name="T44" fmla="*/ 12 w 112"/>
              <a:gd name="T45" fmla="*/ 0 h 128"/>
              <a:gd name="T46" fmla="*/ 0 w 112"/>
              <a:gd name="T47" fmla="*/ 12 h 128"/>
              <a:gd name="T48" fmla="*/ 12 w 112"/>
              <a:gd name="T49" fmla="*/ 24 h 128"/>
              <a:gd name="T50" fmla="*/ 17 w 112"/>
              <a:gd name="T51" fmla="*/ 23 h 128"/>
              <a:gd name="T52" fmla="*/ 44 w 112"/>
              <a:gd name="T53" fmla="*/ 50 h 128"/>
              <a:gd name="T54" fmla="*/ 40 w 112"/>
              <a:gd name="T55" fmla="*/ 60 h 128"/>
              <a:gd name="T56" fmla="*/ 23 w 112"/>
              <a:gd name="T57" fmla="*/ 60 h 128"/>
              <a:gd name="T58" fmla="*/ 12 w 112"/>
              <a:gd name="T59" fmla="*/ 52 h 128"/>
              <a:gd name="T60" fmla="*/ 0 w 112"/>
              <a:gd name="T61" fmla="*/ 64 h 128"/>
              <a:gd name="T62" fmla="*/ 12 w 112"/>
              <a:gd name="T63" fmla="*/ 76 h 128"/>
              <a:gd name="T64" fmla="*/ 23 w 112"/>
              <a:gd name="T65" fmla="*/ 68 h 128"/>
              <a:gd name="T66" fmla="*/ 40 w 112"/>
              <a:gd name="T67" fmla="*/ 68 h 128"/>
              <a:gd name="T68" fmla="*/ 44 w 112"/>
              <a:gd name="T69" fmla="*/ 78 h 128"/>
              <a:gd name="T70" fmla="*/ 17 w 112"/>
              <a:gd name="T71" fmla="*/ 105 h 128"/>
              <a:gd name="T72" fmla="*/ 12 w 112"/>
              <a:gd name="T73" fmla="*/ 104 h 128"/>
              <a:gd name="T74" fmla="*/ 0 w 112"/>
              <a:gd name="T75" fmla="*/ 116 h 128"/>
              <a:gd name="T76" fmla="*/ 12 w 112"/>
              <a:gd name="T77" fmla="*/ 128 h 128"/>
              <a:gd name="T78" fmla="*/ 24 w 112"/>
              <a:gd name="T79" fmla="*/ 116 h 128"/>
              <a:gd name="T80" fmla="*/ 23 w 112"/>
              <a:gd name="T81" fmla="*/ 111 h 128"/>
              <a:gd name="T82" fmla="*/ 50 w 112"/>
              <a:gd name="T83" fmla="*/ 84 h 128"/>
              <a:gd name="T84" fmla="*/ 64 w 112"/>
              <a:gd name="T85" fmla="*/ 88 h 128"/>
              <a:gd name="T86" fmla="*/ 78 w 112"/>
              <a:gd name="T87" fmla="*/ 84 h 128"/>
              <a:gd name="T88" fmla="*/ 89 w 112"/>
              <a:gd name="T89" fmla="*/ 95 h 128"/>
              <a:gd name="T90" fmla="*/ 88 w 112"/>
              <a:gd name="T91" fmla="*/ 100 h 128"/>
              <a:gd name="T92" fmla="*/ 100 w 112"/>
              <a:gd name="T93" fmla="*/ 112 h 128"/>
              <a:gd name="T94" fmla="*/ 112 w 112"/>
              <a:gd name="T95" fmla="*/ 100 h 128"/>
              <a:gd name="T96" fmla="*/ 100 w 112"/>
              <a:gd name="T97" fmla="*/ 88 h 128"/>
              <a:gd name="T98" fmla="*/ 48 w 112"/>
              <a:gd name="T99" fmla="*/ 64 h 128"/>
              <a:gd name="T100" fmla="*/ 64 w 112"/>
              <a:gd name="T101" fmla="*/ 48 h 128"/>
              <a:gd name="T102" fmla="*/ 80 w 112"/>
              <a:gd name="T103" fmla="*/ 64 h 128"/>
              <a:gd name="T104" fmla="*/ 64 w 112"/>
              <a:gd name="T105" fmla="*/ 80 h 128"/>
              <a:gd name="T106" fmla="*/ 48 w 112"/>
              <a:gd name="T107"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2" h="128">
                <a:moveTo>
                  <a:pt x="100" y="88"/>
                </a:moveTo>
                <a:cubicBezTo>
                  <a:pt x="98" y="88"/>
                  <a:pt x="96" y="88"/>
                  <a:pt x="95" y="89"/>
                </a:cubicBezTo>
                <a:cubicBezTo>
                  <a:pt x="84" y="78"/>
                  <a:pt x="84" y="78"/>
                  <a:pt x="84" y="78"/>
                </a:cubicBezTo>
                <a:cubicBezTo>
                  <a:pt x="86" y="74"/>
                  <a:pt x="88" y="69"/>
                  <a:pt x="88" y="64"/>
                </a:cubicBezTo>
                <a:cubicBezTo>
                  <a:pt x="88" y="59"/>
                  <a:pt x="86" y="54"/>
                  <a:pt x="84" y="50"/>
                </a:cubicBezTo>
                <a:cubicBezTo>
                  <a:pt x="95" y="39"/>
                  <a:pt x="95" y="39"/>
                  <a:pt x="95" y="39"/>
                </a:cubicBezTo>
                <a:cubicBezTo>
                  <a:pt x="96" y="40"/>
                  <a:pt x="98" y="40"/>
                  <a:pt x="100" y="40"/>
                </a:cubicBezTo>
                <a:cubicBezTo>
                  <a:pt x="107" y="40"/>
                  <a:pt x="112" y="35"/>
                  <a:pt x="112" y="28"/>
                </a:cubicBezTo>
                <a:cubicBezTo>
                  <a:pt x="112" y="21"/>
                  <a:pt x="107" y="16"/>
                  <a:pt x="100" y="16"/>
                </a:cubicBezTo>
                <a:cubicBezTo>
                  <a:pt x="93" y="16"/>
                  <a:pt x="88" y="21"/>
                  <a:pt x="88" y="28"/>
                </a:cubicBezTo>
                <a:cubicBezTo>
                  <a:pt x="88" y="30"/>
                  <a:pt x="88" y="32"/>
                  <a:pt x="89" y="33"/>
                </a:cubicBezTo>
                <a:cubicBezTo>
                  <a:pt x="78" y="44"/>
                  <a:pt x="78" y="44"/>
                  <a:pt x="78" y="44"/>
                </a:cubicBezTo>
                <a:cubicBezTo>
                  <a:pt x="75" y="42"/>
                  <a:pt x="72" y="41"/>
                  <a:pt x="68" y="40"/>
                </a:cubicBezTo>
                <a:cubicBezTo>
                  <a:pt x="68" y="23"/>
                  <a:pt x="68" y="23"/>
                  <a:pt x="68" y="23"/>
                </a:cubicBezTo>
                <a:cubicBezTo>
                  <a:pt x="73" y="22"/>
                  <a:pt x="76" y="17"/>
                  <a:pt x="76" y="12"/>
                </a:cubicBezTo>
                <a:cubicBezTo>
                  <a:pt x="76" y="5"/>
                  <a:pt x="71" y="0"/>
                  <a:pt x="64" y="0"/>
                </a:cubicBezTo>
                <a:cubicBezTo>
                  <a:pt x="57" y="0"/>
                  <a:pt x="52" y="5"/>
                  <a:pt x="52" y="12"/>
                </a:cubicBezTo>
                <a:cubicBezTo>
                  <a:pt x="52" y="17"/>
                  <a:pt x="55" y="22"/>
                  <a:pt x="60" y="23"/>
                </a:cubicBezTo>
                <a:cubicBezTo>
                  <a:pt x="60" y="40"/>
                  <a:pt x="60" y="40"/>
                  <a:pt x="60" y="40"/>
                </a:cubicBezTo>
                <a:cubicBezTo>
                  <a:pt x="56" y="41"/>
                  <a:pt x="53" y="42"/>
                  <a:pt x="50" y="44"/>
                </a:cubicBezTo>
                <a:cubicBezTo>
                  <a:pt x="23" y="17"/>
                  <a:pt x="23" y="17"/>
                  <a:pt x="23" y="17"/>
                </a:cubicBezTo>
                <a:cubicBezTo>
                  <a:pt x="24" y="16"/>
                  <a:pt x="24" y="14"/>
                  <a:pt x="24" y="12"/>
                </a:cubicBezTo>
                <a:cubicBezTo>
                  <a:pt x="24" y="5"/>
                  <a:pt x="19" y="0"/>
                  <a:pt x="12" y="0"/>
                </a:cubicBezTo>
                <a:cubicBezTo>
                  <a:pt x="5" y="0"/>
                  <a:pt x="0" y="5"/>
                  <a:pt x="0" y="12"/>
                </a:cubicBezTo>
                <a:cubicBezTo>
                  <a:pt x="0" y="19"/>
                  <a:pt x="5" y="24"/>
                  <a:pt x="12" y="24"/>
                </a:cubicBezTo>
                <a:cubicBezTo>
                  <a:pt x="14" y="24"/>
                  <a:pt x="16" y="24"/>
                  <a:pt x="17" y="23"/>
                </a:cubicBezTo>
                <a:cubicBezTo>
                  <a:pt x="44" y="50"/>
                  <a:pt x="44" y="50"/>
                  <a:pt x="44" y="50"/>
                </a:cubicBezTo>
                <a:cubicBezTo>
                  <a:pt x="42" y="53"/>
                  <a:pt x="41" y="56"/>
                  <a:pt x="40" y="60"/>
                </a:cubicBezTo>
                <a:cubicBezTo>
                  <a:pt x="23" y="60"/>
                  <a:pt x="23" y="60"/>
                  <a:pt x="23" y="60"/>
                </a:cubicBezTo>
                <a:cubicBezTo>
                  <a:pt x="22" y="55"/>
                  <a:pt x="17" y="52"/>
                  <a:pt x="12" y="52"/>
                </a:cubicBezTo>
                <a:cubicBezTo>
                  <a:pt x="5" y="52"/>
                  <a:pt x="0" y="57"/>
                  <a:pt x="0" y="64"/>
                </a:cubicBezTo>
                <a:cubicBezTo>
                  <a:pt x="0" y="71"/>
                  <a:pt x="5" y="76"/>
                  <a:pt x="12" y="76"/>
                </a:cubicBezTo>
                <a:cubicBezTo>
                  <a:pt x="17" y="76"/>
                  <a:pt x="22" y="73"/>
                  <a:pt x="23" y="68"/>
                </a:cubicBezTo>
                <a:cubicBezTo>
                  <a:pt x="40" y="68"/>
                  <a:pt x="40" y="68"/>
                  <a:pt x="40" y="68"/>
                </a:cubicBezTo>
                <a:cubicBezTo>
                  <a:pt x="41" y="72"/>
                  <a:pt x="42" y="75"/>
                  <a:pt x="44" y="78"/>
                </a:cubicBezTo>
                <a:cubicBezTo>
                  <a:pt x="17" y="105"/>
                  <a:pt x="17" y="105"/>
                  <a:pt x="17" y="105"/>
                </a:cubicBezTo>
                <a:cubicBezTo>
                  <a:pt x="16" y="104"/>
                  <a:pt x="14" y="104"/>
                  <a:pt x="12" y="104"/>
                </a:cubicBezTo>
                <a:cubicBezTo>
                  <a:pt x="5" y="104"/>
                  <a:pt x="0" y="109"/>
                  <a:pt x="0" y="116"/>
                </a:cubicBezTo>
                <a:cubicBezTo>
                  <a:pt x="0" y="123"/>
                  <a:pt x="5" y="128"/>
                  <a:pt x="12" y="128"/>
                </a:cubicBezTo>
                <a:cubicBezTo>
                  <a:pt x="19" y="128"/>
                  <a:pt x="24" y="123"/>
                  <a:pt x="24" y="116"/>
                </a:cubicBezTo>
                <a:cubicBezTo>
                  <a:pt x="24" y="114"/>
                  <a:pt x="24" y="112"/>
                  <a:pt x="23" y="111"/>
                </a:cubicBezTo>
                <a:cubicBezTo>
                  <a:pt x="50" y="84"/>
                  <a:pt x="50" y="84"/>
                  <a:pt x="50" y="84"/>
                </a:cubicBezTo>
                <a:cubicBezTo>
                  <a:pt x="54" y="86"/>
                  <a:pt x="59" y="88"/>
                  <a:pt x="64" y="88"/>
                </a:cubicBezTo>
                <a:cubicBezTo>
                  <a:pt x="69" y="88"/>
                  <a:pt x="74" y="86"/>
                  <a:pt x="78" y="84"/>
                </a:cubicBezTo>
                <a:cubicBezTo>
                  <a:pt x="89" y="95"/>
                  <a:pt x="89" y="95"/>
                  <a:pt x="89" y="95"/>
                </a:cubicBezTo>
                <a:cubicBezTo>
                  <a:pt x="88" y="96"/>
                  <a:pt x="88" y="98"/>
                  <a:pt x="88" y="100"/>
                </a:cubicBezTo>
                <a:cubicBezTo>
                  <a:pt x="88" y="107"/>
                  <a:pt x="93" y="112"/>
                  <a:pt x="100" y="112"/>
                </a:cubicBezTo>
                <a:cubicBezTo>
                  <a:pt x="107" y="112"/>
                  <a:pt x="112" y="107"/>
                  <a:pt x="112" y="100"/>
                </a:cubicBezTo>
                <a:cubicBezTo>
                  <a:pt x="112" y="93"/>
                  <a:pt x="107" y="88"/>
                  <a:pt x="100" y="88"/>
                </a:cubicBezTo>
                <a:close/>
                <a:moveTo>
                  <a:pt x="48" y="64"/>
                </a:moveTo>
                <a:cubicBezTo>
                  <a:pt x="48" y="55"/>
                  <a:pt x="55" y="48"/>
                  <a:pt x="64" y="48"/>
                </a:cubicBezTo>
                <a:cubicBezTo>
                  <a:pt x="73" y="48"/>
                  <a:pt x="80" y="55"/>
                  <a:pt x="80" y="64"/>
                </a:cubicBezTo>
                <a:cubicBezTo>
                  <a:pt x="80" y="73"/>
                  <a:pt x="73" y="80"/>
                  <a:pt x="64" y="80"/>
                </a:cubicBezTo>
                <a:cubicBezTo>
                  <a:pt x="55" y="80"/>
                  <a:pt x="48" y="73"/>
                  <a:pt x="48" y="6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0" name="Freeform 128">
            <a:extLst>
              <a:ext uri="{FF2B5EF4-FFF2-40B4-BE49-F238E27FC236}">
                <a16:creationId xmlns:a16="http://schemas.microsoft.com/office/drawing/2014/main" id="{135CCE67-2965-41E0-B034-495CAFE8E333}"/>
              </a:ext>
            </a:extLst>
          </p:cNvPr>
          <p:cNvSpPr>
            <a:spLocks noEditPoints="1"/>
          </p:cNvSpPr>
          <p:nvPr/>
        </p:nvSpPr>
        <p:spPr bwMode="auto">
          <a:xfrm>
            <a:off x="6051123" y="3195060"/>
            <a:ext cx="414337" cy="412750"/>
          </a:xfrm>
          <a:custGeom>
            <a:avLst/>
            <a:gdLst>
              <a:gd name="T0" fmla="*/ 128 w 128"/>
              <a:gd name="T1" fmla="*/ 64 h 128"/>
              <a:gd name="T2" fmla="*/ 64 w 128"/>
              <a:gd name="T3" fmla="*/ 128 h 128"/>
              <a:gd name="T4" fmla="*/ 0 w 128"/>
              <a:gd name="T5" fmla="*/ 64 h 128"/>
              <a:gd name="T6" fmla="*/ 64 w 128"/>
              <a:gd name="T7" fmla="*/ 0 h 128"/>
              <a:gd name="T8" fmla="*/ 64 w 128"/>
              <a:gd name="T9" fmla="*/ 8 h 128"/>
              <a:gd name="T10" fmla="*/ 8 w 128"/>
              <a:gd name="T11" fmla="*/ 64 h 128"/>
              <a:gd name="T12" fmla="*/ 64 w 128"/>
              <a:gd name="T13" fmla="*/ 120 h 128"/>
              <a:gd name="T14" fmla="*/ 120 w 128"/>
              <a:gd name="T15" fmla="*/ 64 h 128"/>
              <a:gd name="T16" fmla="*/ 128 w 128"/>
              <a:gd name="T17" fmla="*/ 64 h 128"/>
              <a:gd name="T18" fmla="*/ 104 w 128"/>
              <a:gd name="T19" fmla="*/ 64 h 128"/>
              <a:gd name="T20" fmla="*/ 64 w 128"/>
              <a:gd name="T21" fmla="*/ 104 h 128"/>
              <a:gd name="T22" fmla="*/ 24 w 128"/>
              <a:gd name="T23" fmla="*/ 64 h 128"/>
              <a:gd name="T24" fmla="*/ 64 w 128"/>
              <a:gd name="T25" fmla="*/ 24 h 128"/>
              <a:gd name="T26" fmla="*/ 64 w 128"/>
              <a:gd name="T27" fmla="*/ 16 h 128"/>
              <a:gd name="T28" fmla="*/ 16 w 128"/>
              <a:gd name="T29" fmla="*/ 64 h 128"/>
              <a:gd name="T30" fmla="*/ 64 w 128"/>
              <a:gd name="T31" fmla="*/ 112 h 128"/>
              <a:gd name="T32" fmla="*/ 112 w 128"/>
              <a:gd name="T33" fmla="*/ 64 h 128"/>
              <a:gd name="T34" fmla="*/ 104 w 128"/>
              <a:gd name="T35" fmla="*/ 64 h 128"/>
              <a:gd name="T36" fmla="*/ 88 w 128"/>
              <a:gd name="T37" fmla="*/ 64 h 128"/>
              <a:gd name="T38" fmla="*/ 64 w 128"/>
              <a:gd name="T39" fmla="*/ 88 h 128"/>
              <a:gd name="T40" fmla="*/ 40 w 128"/>
              <a:gd name="T41" fmla="*/ 64 h 128"/>
              <a:gd name="T42" fmla="*/ 64 w 128"/>
              <a:gd name="T43" fmla="*/ 40 h 128"/>
              <a:gd name="T44" fmla="*/ 64 w 128"/>
              <a:gd name="T45" fmla="*/ 32 h 128"/>
              <a:gd name="T46" fmla="*/ 32 w 128"/>
              <a:gd name="T47" fmla="*/ 64 h 128"/>
              <a:gd name="T48" fmla="*/ 64 w 128"/>
              <a:gd name="T49" fmla="*/ 96 h 128"/>
              <a:gd name="T50" fmla="*/ 96 w 128"/>
              <a:gd name="T51" fmla="*/ 64 h 128"/>
              <a:gd name="T52" fmla="*/ 88 w 128"/>
              <a:gd name="T53" fmla="*/ 64 h 128"/>
              <a:gd name="T54" fmla="*/ 86 w 128"/>
              <a:gd name="T55" fmla="*/ 48 h 128"/>
              <a:gd name="T56" fmla="*/ 120 w 128"/>
              <a:gd name="T57" fmla="*/ 14 h 128"/>
              <a:gd name="T58" fmla="*/ 120 w 128"/>
              <a:gd name="T59" fmla="*/ 36 h 128"/>
              <a:gd name="T60" fmla="*/ 128 w 128"/>
              <a:gd name="T61" fmla="*/ 36 h 128"/>
              <a:gd name="T62" fmla="*/ 128 w 128"/>
              <a:gd name="T63" fmla="*/ 0 h 128"/>
              <a:gd name="T64" fmla="*/ 91 w 128"/>
              <a:gd name="T65" fmla="*/ 0 h 128"/>
              <a:gd name="T66" fmla="*/ 91 w 128"/>
              <a:gd name="T67" fmla="*/ 8 h 128"/>
              <a:gd name="T68" fmla="*/ 114 w 128"/>
              <a:gd name="T69" fmla="*/ 8 h 128"/>
              <a:gd name="T70" fmla="*/ 80 w 128"/>
              <a:gd name="T71" fmla="*/ 42 h 128"/>
              <a:gd name="T72" fmla="*/ 86 w 128"/>
              <a:gd name="T73" fmla="*/ 4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8" h="128">
                <a:moveTo>
                  <a:pt x="128" y="64"/>
                </a:moveTo>
                <a:cubicBezTo>
                  <a:pt x="128" y="99"/>
                  <a:pt x="99" y="128"/>
                  <a:pt x="64" y="128"/>
                </a:cubicBezTo>
                <a:cubicBezTo>
                  <a:pt x="29" y="128"/>
                  <a:pt x="0" y="99"/>
                  <a:pt x="0" y="64"/>
                </a:cubicBezTo>
                <a:cubicBezTo>
                  <a:pt x="0" y="29"/>
                  <a:pt x="29" y="0"/>
                  <a:pt x="64" y="0"/>
                </a:cubicBezTo>
                <a:cubicBezTo>
                  <a:pt x="64" y="8"/>
                  <a:pt x="64" y="8"/>
                  <a:pt x="64" y="8"/>
                </a:cubicBezTo>
                <a:cubicBezTo>
                  <a:pt x="33" y="8"/>
                  <a:pt x="8" y="33"/>
                  <a:pt x="8" y="64"/>
                </a:cubicBezTo>
                <a:cubicBezTo>
                  <a:pt x="8" y="95"/>
                  <a:pt x="33" y="120"/>
                  <a:pt x="64" y="120"/>
                </a:cubicBezTo>
                <a:cubicBezTo>
                  <a:pt x="95" y="120"/>
                  <a:pt x="120" y="95"/>
                  <a:pt x="120" y="64"/>
                </a:cubicBezTo>
                <a:lnTo>
                  <a:pt x="128" y="64"/>
                </a:lnTo>
                <a:close/>
                <a:moveTo>
                  <a:pt x="104" y="64"/>
                </a:moveTo>
                <a:cubicBezTo>
                  <a:pt x="104" y="86"/>
                  <a:pt x="86" y="104"/>
                  <a:pt x="64" y="104"/>
                </a:cubicBezTo>
                <a:cubicBezTo>
                  <a:pt x="42" y="104"/>
                  <a:pt x="24" y="86"/>
                  <a:pt x="24" y="64"/>
                </a:cubicBezTo>
                <a:cubicBezTo>
                  <a:pt x="24" y="42"/>
                  <a:pt x="42" y="24"/>
                  <a:pt x="64" y="24"/>
                </a:cubicBezTo>
                <a:cubicBezTo>
                  <a:pt x="64" y="16"/>
                  <a:pt x="64" y="16"/>
                  <a:pt x="64" y="16"/>
                </a:cubicBezTo>
                <a:cubicBezTo>
                  <a:pt x="38" y="16"/>
                  <a:pt x="16" y="38"/>
                  <a:pt x="16" y="64"/>
                </a:cubicBezTo>
                <a:cubicBezTo>
                  <a:pt x="16" y="90"/>
                  <a:pt x="38" y="112"/>
                  <a:pt x="64" y="112"/>
                </a:cubicBezTo>
                <a:cubicBezTo>
                  <a:pt x="90" y="112"/>
                  <a:pt x="112" y="90"/>
                  <a:pt x="112" y="64"/>
                </a:cubicBezTo>
                <a:lnTo>
                  <a:pt x="104" y="64"/>
                </a:lnTo>
                <a:close/>
                <a:moveTo>
                  <a:pt x="88" y="64"/>
                </a:moveTo>
                <a:cubicBezTo>
                  <a:pt x="88" y="77"/>
                  <a:pt x="77" y="88"/>
                  <a:pt x="64" y="88"/>
                </a:cubicBezTo>
                <a:cubicBezTo>
                  <a:pt x="51" y="88"/>
                  <a:pt x="40" y="77"/>
                  <a:pt x="40" y="64"/>
                </a:cubicBezTo>
                <a:cubicBezTo>
                  <a:pt x="40" y="51"/>
                  <a:pt x="51" y="40"/>
                  <a:pt x="64" y="40"/>
                </a:cubicBezTo>
                <a:cubicBezTo>
                  <a:pt x="64" y="32"/>
                  <a:pt x="64" y="32"/>
                  <a:pt x="64" y="32"/>
                </a:cubicBezTo>
                <a:cubicBezTo>
                  <a:pt x="46" y="32"/>
                  <a:pt x="32" y="46"/>
                  <a:pt x="32" y="64"/>
                </a:cubicBezTo>
                <a:cubicBezTo>
                  <a:pt x="32" y="82"/>
                  <a:pt x="46" y="96"/>
                  <a:pt x="64" y="96"/>
                </a:cubicBezTo>
                <a:cubicBezTo>
                  <a:pt x="82" y="96"/>
                  <a:pt x="96" y="82"/>
                  <a:pt x="96" y="64"/>
                </a:cubicBezTo>
                <a:lnTo>
                  <a:pt x="88" y="64"/>
                </a:lnTo>
                <a:close/>
                <a:moveTo>
                  <a:pt x="86" y="48"/>
                </a:moveTo>
                <a:cubicBezTo>
                  <a:pt x="120" y="14"/>
                  <a:pt x="120" y="14"/>
                  <a:pt x="120" y="14"/>
                </a:cubicBezTo>
                <a:cubicBezTo>
                  <a:pt x="120" y="36"/>
                  <a:pt x="120" y="36"/>
                  <a:pt x="120" y="36"/>
                </a:cubicBezTo>
                <a:cubicBezTo>
                  <a:pt x="128" y="36"/>
                  <a:pt x="128" y="36"/>
                  <a:pt x="128" y="36"/>
                </a:cubicBezTo>
                <a:cubicBezTo>
                  <a:pt x="128" y="0"/>
                  <a:pt x="128" y="0"/>
                  <a:pt x="128" y="0"/>
                </a:cubicBezTo>
                <a:cubicBezTo>
                  <a:pt x="91" y="0"/>
                  <a:pt x="91" y="0"/>
                  <a:pt x="91" y="0"/>
                </a:cubicBezTo>
                <a:cubicBezTo>
                  <a:pt x="91" y="8"/>
                  <a:pt x="91" y="8"/>
                  <a:pt x="91" y="8"/>
                </a:cubicBezTo>
                <a:cubicBezTo>
                  <a:pt x="114" y="8"/>
                  <a:pt x="114" y="8"/>
                  <a:pt x="114" y="8"/>
                </a:cubicBezTo>
                <a:cubicBezTo>
                  <a:pt x="80" y="42"/>
                  <a:pt x="80" y="42"/>
                  <a:pt x="80" y="42"/>
                </a:cubicBezTo>
                <a:lnTo>
                  <a:pt x="86" y="4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1" name="Freeform 132">
            <a:extLst>
              <a:ext uri="{FF2B5EF4-FFF2-40B4-BE49-F238E27FC236}">
                <a16:creationId xmlns:a16="http://schemas.microsoft.com/office/drawing/2014/main" id="{CAFF0C0C-39F9-43DA-B70B-DBE65A895803}"/>
              </a:ext>
            </a:extLst>
          </p:cNvPr>
          <p:cNvSpPr>
            <a:spLocks noEditPoints="1"/>
          </p:cNvSpPr>
          <p:nvPr/>
        </p:nvSpPr>
        <p:spPr bwMode="auto">
          <a:xfrm>
            <a:off x="7095762" y="3195060"/>
            <a:ext cx="414337" cy="412750"/>
          </a:xfrm>
          <a:custGeom>
            <a:avLst/>
            <a:gdLst>
              <a:gd name="T0" fmla="*/ 114 w 128"/>
              <a:gd name="T1" fmla="*/ 16 h 128"/>
              <a:gd name="T2" fmla="*/ 112 w 128"/>
              <a:gd name="T3" fmla="*/ 0 h 128"/>
              <a:gd name="T4" fmla="*/ 110 w 128"/>
              <a:gd name="T5" fmla="*/ 16 h 128"/>
              <a:gd name="T6" fmla="*/ 105 w 128"/>
              <a:gd name="T7" fmla="*/ 74 h 128"/>
              <a:gd name="T8" fmla="*/ 88 w 128"/>
              <a:gd name="T9" fmla="*/ 36 h 128"/>
              <a:gd name="T10" fmla="*/ 73 w 128"/>
              <a:gd name="T11" fmla="*/ 32 h 128"/>
              <a:gd name="T12" fmla="*/ 32 w 128"/>
              <a:gd name="T13" fmla="*/ 16 h 128"/>
              <a:gd name="T14" fmla="*/ 16 w 128"/>
              <a:gd name="T15" fmla="*/ 16 h 128"/>
              <a:gd name="T16" fmla="*/ 26 w 128"/>
              <a:gd name="T17" fmla="*/ 41 h 128"/>
              <a:gd name="T18" fmla="*/ 21 w 128"/>
              <a:gd name="T19" fmla="*/ 85 h 128"/>
              <a:gd name="T20" fmla="*/ 8 w 128"/>
              <a:gd name="T21" fmla="*/ 112 h 128"/>
              <a:gd name="T22" fmla="*/ 8 w 128"/>
              <a:gd name="T23" fmla="*/ 128 h 128"/>
              <a:gd name="T24" fmla="*/ 13 w 128"/>
              <a:gd name="T25" fmla="*/ 114 h 128"/>
              <a:gd name="T26" fmla="*/ 32 w 128"/>
              <a:gd name="T27" fmla="*/ 88 h 128"/>
              <a:gd name="T28" fmla="*/ 58 w 128"/>
              <a:gd name="T29" fmla="*/ 99 h 128"/>
              <a:gd name="T30" fmla="*/ 64 w 128"/>
              <a:gd name="T31" fmla="*/ 112 h 128"/>
              <a:gd name="T32" fmla="*/ 72 w 128"/>
              <a:gd name="T33" fmla="*/ 103 h 128"/>
              <a:gd name="T34" fmla="*/ 112 w 128"/>
              <a:gd name="T35" fmla="*/ 104 h 128"/>
              <a:gd name="T36" fmla="*/ 114 w 128"/>
              <a:gd name="T37" fmla="*/ 72 h 128"/>
              <a:gd name="T38" fmla="*/ 4 w 128"/>
              <a:gd name="T39" fmla="*/ 120 h 128"/>
              <a:gd name="T40" fmla="*/ 12 w 128"/>
              <a:gd name="T41" fmla="*/ 120 h 128"/>
              <a:gd name="T42" fmla="*/ 108 w 128"/>
              <a:gd name="T43" fmla="*/ 8 h 128"/>
              <a:gd name="T44" fmla="*/ 116 w 128"/>
              <a:gd name="T45" fmla="*/ 8 h 128"/>
              <a:gd name="T46" fmla="*/ 108 w 128"/>
              <a:gd name="T47" fmla="*/ 8 h 128"/>
              <a:gd name="T48" fmla="*/ 84 w 128"/>
              <a:gd name="T49" fmla="*/ 36 h 128"/>
              <a:gd name="T50" fmla="*/ 76 w 128"/>
              <a:gd name="T51" fmla="*/ 36 h 128"/>
              <a:gd name="T52" fmla="*/ 20 w 128"/>
              <a:gd name="T53" fmla="*/ 16 h 128"/>
              <a:gd name="T54" fmla="*/ 28 w 128"/>
              <a:gd name="T55" fmla="*/ 16 h 128"/>
              <a:gd name="T56" fmla="*/ 20 w 128"/>
              <a:gd name="T57" fmla="*/ 16 h 128"/>
              <a:gd name="T58" fmla="*/ 30 w 128"/>
              <a:gd name="T59" fmla="*/ 21 h 128"/>
              <a:gd name="T60" fmla="*/ 72 w 128"/>
              <a:gd name="T61" fmla="*/ 36 h 128"/>
              <a:gd name="T62" fmla="*/ 52 w 128"/>
              <a:gd name="T63" fmla="*/ 50 h 128"/>
              <a:gd name="T64" fmla="*/ 30 w 128"/>
              <a:gd name="T65" fmla="*/ 40 h 128"/>
              <a:gd name="T66" fmla="*/ 16 w 128"/>
              <a:gd name="T67" fmla="*/ 64 h 128"/>
              <a:gd name="T68" fmla="*/ 48 w 128"/>
              <a:gd name="T69" fmla="*/ 64 h 128"/>
              <a:gd name="T70" fmla="*/ 16 w 128"/>
              <a:gd name="T71" fmla="*/ 64 h 128"/>
              <a:gd name="T72" fmla="*/ 60 w 128"/>
              <a:gd name="T73" fmla="*/ 104 h 128"/>
              <a:gd name="T74" fmla="*/ 68 w 128"/>
              <a:gd name="T75" fmla="*/ 104 h 128"/>
              <a:gd name="T76" fmla="*/ 71 w 128"/>
              <a:gd name="T77" fmla="*/ 100 h 128"/>
              <a:gd name="T78" fmla="*/ 61 w 128"/>
              <a:gd name="T79" fmla="*/ 97 h 128"/>
              <a:gd name="T80" fmla="*/ 56 w 128"/>
              <a:gd name="T81" fmla="*/ 64 h 128"/>
              <a:gd name="T82" fmla="*/ 74 w 128"/>
              <a:gd name="T83" fmla="*/ 42 h 128"/>
              <a:gd name="T84" fmla="*/ 82 w 128"/>
              <a:gd name="T85" fmla="*/ 44 h 128"/>
              <a:gd name="T86" fmla="*/ 96 w 128"/>
              <a:gd name="T87" fmla="*/ 88 h 128"/>
              <a:gd name="T88" fmla="*/ 71 w 128"/>
              <a:gd name="T89" fmla="*/ 100 h 128"/>
              <a:gd name="T90" fmla="*/ 104 w 128"/>
              <a:gd name="T91" fmla="*/ 88 h 128"/>
              <a:gd name="T92" fmla="*/ 120 w 128"/>
              <a:gd name="T93" fmla="*/ 8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8" h="128">
                <a:moveTo>
                  <a:pt x="114" y="72"/>
                </a:moveTo>
                <a:cubicBezTo>
                  <a:pt x="114" y="16"/>
                  <a:pt x="114" y="16"/>
                  <a:pt x="114" y="16"/>
                </a:cubicBezTo>
                <a:cubicBezTo>
                  <a:pt x="117" y="15"/>
                  <a:pt x="120" y="12"/>
                  <a:pt x="120" y="8"/>
                </a:cubicBezTo>
                <a:cubicBezTo>
                  <a:pt x="120" y="4"/>
                  <a:pt x="116" y="0"/>
                  <a:pt x="112" y="0"/>
                </a:cubicBezTo>
                <a:cubicBezTo>
                  <a:pt x="108" y="0"/>
                  <a:pt x="104" y="4"/>
                  <a:pt x="104" y="8"/>
                </a:cubicBezTo>
                <a:cubicBezTo>
                  <a:pt x="104" y="12"/>
                  <a:pt x="107" y="15"/>
                  <a:pt x="110" y="16"/>
                </a:cubicBezTo>
                <a:cubicBezTo>
                  <a:pt x="110" y="72"/>
                  <a:pt x="110" y="72"/>
                  <a:pt x="110" y="72"/>
                </a:cubicBezTo>
                <a:cubicBezTo>
                  <a:pt x="108" y="72"/>
                  <a:pt x="107" y="73"/>
                  <a:pt x="105" y="74"/>
                </a:cubicBezTo>
                <a:cubicBezTo>
                  <a:pt x="86" y="42"/>
                  <a:pt x="86" y="42"/>
                  <a:pt x="86" y="42"/>
                </a:cubicBezTo>
                <a:cubicBezTo>
                  <a:pt x="87" y="40"/>
                  <a:pt x="88" y="38"/>
                  <a:pt x="88" y="36"/>
                </a:cubicBezTo>
                <a:cubicBezTo>
                  <a:pt x="88" y="32"/>
                  <a:pt x="84" y="28"/>
                  <a:pt x="80" y="28"/>
                </a:cubicBezTo>
                <a:cubicBezTo>
                  <a:pt x="77" y="28"/>
                  <a:pt x="75" y="29"/>
                  <a:pt x="73" y="32"/>
                </a:cubicBezTo>
                <a:cubicBezTo>
                  <a:pt x="32" y="17"/>
                  <a:pt x="32" y="17"/>
                  <a:pt x="32" y="17"/>
                </a:cubicBezTo>
                <a:cubicBezTo>
                  <a:pt x="32" y="17"/>
                  <a:pt x="32" y="16"/>
                  <a:pt x="32" y="16"/>
                </a:cubicBezTo>
                <a:cubicBezTo>
                  <a:pt x="32" y="12"/>
                  <a:pt x="28" y="8"/>
                  <a:pt x="24" y="8"/>
                </a:cubicBezTo>
                <a:cubicBezTo>
                  <a:pt x="20" y="8"/>
                  <a:pt x="16" y="12"/>
                  <a:pt x="16" y="16"/>
                </a:cubicBezTo>
                <a:cubicBezTo>
                  <a:pt x="16" y="20"/>
                  <a:pt x="19" y="24"/>
                  <a:pt x="23" y="24"/>
                </a:cubicBezTo>
                <a:cubicBezTo>
                  <a:pt x="26" y="41"/>
                  <a:pt x="26" y="41"/>
                  <a:pt x="26" y="41"/>
                </a:cubicBezTo>
                <a:cubicBezTo>
                  <a:pt x="16" y="44"/>
                  <a:pt x="8" y="53"/>
                  <a:pt x="8" y="64"/>
                </a:cubicBezTo>
                <a:cubicBezTo>
                  <a:pt x="8" y="73"/>
                  <a:pt x="13" y="81"/>
                  <a:pt x="21" y="85"/>
                </a:cubicBezTo>
                <a:cubicBezTo>
                  <a:pt x="9" y="112"/>
                  <a:pt x="9" y="112"/>
                  <a:pt x="9" y="112"/>
                </a:cubicBezTo>
                <a:cubicBezTo>
                  <a:pt x="9" y="112"/>
                  <a:pt x="8" y="112"/>
                  <a:pt x="8" y="112"/>
                </a:cubicBezTo>
                <a:cubicBezTo>
                  <a:pt x="4" y="112"/>
                  <a:pt x="0" y="116"/>
                  <a:pt x="0" y="120"/>
                </a:cubicBezTo>
                <a:cubicBezTo>
                  <a:pt x="0" y="124"/>
                  <a:pt x="4" y="128"/>
                  <a:pt x="8" y="128"/>
                </a:cubicBezTo>
                <a:cubicBezTo>
                  <a:pt x="12" y="128"/>
                  <a:pt x="16" y="124"/>
                  <a:pt x="16" y="120"/>
                </a:cubicBezTo>
                <a:cubicBezTo>
                  <a:pt x="16" y="117"/>
                  <a:pt x="15" y="115"/>
                  <a:pt x="13" y="114"/>
                </a:cubicBezTo>
                <a:cubicBezTo>
                  <a:pt x="24" y="87"/>
                  <a:pt x="24" y="87"/>
                  <a:pt x="24" y="87"/>
                </a:cubicBezTo>
                <a:cubicBezTo>
                  <a:pt x="27" y="88"/>
                  <a:pt x="29" y="88"/>
                  <a:pt x="32" y="88"/>
                </a:cubicBezTo>
                <a:cubicBezTo>
                  <a:pt x="37" y="88"/>
                  <a:pt x="42" y="86"/>
                  <a:pt x="45" y="84"/>
                </a:cubicBezTo>
                <a:cubicBezTo>
                  <a:pt x="58" y="99"/>
                  <a:pt x="58" y="99"/>
                  <a:pt x="58" y="99"/>
                </a:cubicBezTo>
                <a:cubicBezTo>
                  <a:pt x="57" y="101"/>
                  <a:pt x="56" y="102"/>
                  <a:pt x="56" y="104"/>
                </a:cubicBezTo>
                <a:cubicBezTo>
                  <a:pt x="56" y="108"/>
                  <a:pt x="60" y="112"/>
                  <a:pt x="64" y="112"/>
                </a:cubicBezTo>
                <a:cubicBezTo>
                  <a:pt x="68" y="112"/>
                  <a:pt x="72" y="108"/>
                  <a:pt x="72" y="104"/>
                </a:cubicBezTo>
                <a:cubicBezTo>
                  <a:pt x="72" y="104"/>
                  <a:pt x="72" y="104"/>
                  <a:pt x="72" y="103"/>
                </a:cubicBezTo>
                <a:cubicBezTo>
                  <a:pt x="98" y="95"/>
                  <a:pt x="98" y="95"/>
                  <a:pt x="98" y="95"/>
                </a:cubicBezTo>
                <a:cubicBezTo>
                  <a:pt x="100" y="100"/>
                  <a:pt x="106" y="104"/>
                  <a:pt x="112" y="104"/>
                </a:cubicBezTo>
                <a:cubicBezTo>
                  <a:pt x="121" y="104"/>
                  <a:pt x="128" y="97"/>
                  <a:pt x="128" y="88"/>
                </a:cubicBezTo>
                <a:cubicBezTo>
                  <a:pt x="128" y="80"/>
                  <a:pt x="122" y="73"/>
                  <a:pt x="114" y="72"/>
                </a:cubicBezTo>
                <a:close/>
                <a:moveTo>
                  <a:pt x="8" y="124"/>
                </a:moveTo>
                <a:cubicBezTo>
                  <a:pt x="6" y="124"/>
                  <a:pt x="4" y="122"/>
                  <a:pt x="4" y="120"/>
                </a:cubicBezTo>
                <a:cubicBezTo>
                  <a:pt x="4" y="118"/>
                  <a:pt x="6" y="116"/>
                  <a:pt x="8" y="116"/>
                </a:cubicBezTo>
                <a:cubicBezTo>
                  <a:pt x="10" y="116"/>
                  <a:pt x="12" y="118"/>
                  <a:pt x="12" y="120"/>
                </a:cubicBezTo>
                <a:cubicBezTo>
                  <a:pt x="12" y="122"/>
                  <a:pt x="10" y="124"/>
                  <a:pt x="8" y="124"/>
                </a:cubicBezTo>
                <a:close/>
                <a:moveTo>
                  <a:pt x="108" y="8"/>
                </a:moveTo>
                <a:cubicBezTo>
                  <a:pt x="108" y="6"/>
                  <a:pt x="110" y="4"/>
                  <a:pt x="112" y="4"/>
                </a:cubicBezTo>
                <a:cubicBezTo>
                  <a:pt x="114" y="4"/>
                  <a:pt x="116" y="6"/>
                  <a:pt x="116" y="8"/>
                </a:cubicBezTo>
                <a:cubicBezTo>
                  <a:pt x="116" y="10"/>
                  <a:pt x="114" y="12"/>
                  <a:pt x="112" y="12"/>
                </a:cubicBezTo>
                <a:cubicBezTo>
                  <a:pt x="110" y="12"/>
                  <a:pt x="108" y="10"/>
                  <a:pt x="108" y="8"/>
                </a:cubicBezTo>
                <a:close/>
                <a:moveTo>
                  <a:pt x="80" y="32"/>
                </a:moveTo>
                <a:cubicBezTo>
                  <a:pt x="82" y="32"/>
                  <a:pt x="84" y="34"/>
                  <a:pt x="84" y="36"/>
                </a:cubicBezTo>
                <a:cubicBezTo>
                  <a:pt x="84" y="38"/>
                  <a:pt x="82" y="40"/>
                  <a:pt x="80" y="40"/>
                </a:cubicBezTo>
                <a:cubicBezTo>
                  <a:pt x="78" y="40"/>
                  <a:pt x="76" y="38"/>
                  <a:pt x="76" y="36"/>
                </a:cubicBezTo>
                <a:cubicBezTo>
                  <a:pt x="76" y="34"/>
                  <a:pt x="78" y="32"/>
                  <a:pt x="80" y="32"/>
                </a:cubicBezTo>
                <a:close/>
                <a:moveTo>
                  <a:pt x="20" y="16"/>
                </a:moveTo>
                <a:cubicBezTo>
                  <a:pt x="20" y="14"/>
                  <a:pt x="22" y="12"/>
                  <a:pt x="24" y="12"/>
                </a:cubicBezTo>
                <a:cubicBezTo>
                  <a:pt x="26" y="12"/>
                  <a:pt x="28" y="14"/>
                  <a:pt x="28" y="16"/>
                </a:cubicBezTo>
                <a:cubicBezTo>
                  <a:pt x="28" y="18"/>
                  <a:pt x="26" y="20"/>
                  <a:pt x="24" y="20"/>
                </a:cubicBezTo>
                <a:cubicBezTo>
                  <a:pt x="22" y="20"/>
                  <a:pt x="20" y="18"/>
                  <a:pt x="20" y="16"/>
                </a:cubicBezTo>
                <a:close/>
                <a:moveTo>
                  <a:pt x="27" y="23"/>
                </a:moveTo>
                <a:cubicBezTo>
                  <a:pt x="28" y="23"/>
                  <a:pt x="29" y="22"/>
                  <a:pt x="30" y="21"/>
                </a:cubicBezTo>
                <a:cubicBezTo>
                  <a:pt x="72" y="35"/>
                  <a:pt x="72" y="35"/>
                  <a:pt x="72" y="35"/>
                </a:cubicBezTo>
                <a:cubicBezTo>
                  <a:pt x="72" y="36"/>
                  <a:pt x="72" y="36"/>
                  <a:pt x="72" y="36"/>
                </a:cubicBezTo>
                <a:cubicBezTo>
                  <a:pt x="72" y="37"/>
                  <a:pt x="72" y="37"/>
                  <a:pt x="72" y="38"/>
                </a:cubicBezTo>
                <a:cubicBezTo>
                  <a:pt x="52" y="50"/>
                  <a:pt x="52" y="50"/>
                  <a:pt x="52" y="50"/>
                </a:cubicBezTo>
                <a:cubicBezTo>
                  <a:pt x="47" y="44"/>
                  <a:pt x="40" y="40"/>
                  <a:pt x="32" y="40"/>
                </a:cubicBezTo>
                <a:cubicBezTo>
                  <a:pt x="31" y="40"/>
                  <a:pt x="31" y="40"/>
                  <a:pt x="30" y="40"/>
                </a:cubicBezTo>
                <a:lnTo>
                  <a:pt x="27" y="23"/>
                </a:lnTo>
                <a:close/>
                <a:moveTo>
                  <a:pt x="16" y="64"/>
                </a:moveTo>
                <a:cubicBezTo>
                  <a:pt x="16" y="55"/>
                  <a:pt x="23" y="48"/>
                  <a:pt x="32" y="48"/>
                </a:cubicBezTo>
                <a:cubicBezTo>
                  <a:pt x="41" y="48"/>
                  <a:pt x="48" y="55"/>
                  <a:pt x="48" y="64"/>
                </a:cubicBezTo>
                <a:cubicBezTo>
                  <a:pt x="48" y="73"/>
                  <a:pt x="41" y="80"/>
                  <a:pt x="32" y="80"/>
                </a:cubicBezTo>
                <a:cubicBezTo>
                  <a:pt x="23" y="80"/>
                  <a:pt x="16" y="73"/>
                  <a:pt x="16" y="64"/>
                </a:cubicBezTo>
                <a:close/>
                <a:moveTo>
                  <a:pt x="64" y="108"/>
                </a:moveTo>
                <a:cubicBezTo>
                  <a:pt x="62" y="108"/>
                  <a:pt x="60" y="106"/>
                  <a:pt x="60" y="104"/>
                </a:cubicBezTo>
                <a:cubicBezTo>
                  <a:pt x="60" y="102"/>
                  <a:pt x="62" y="100"/>
                  <a:pt x="64" y="100"/>
                </a:cubicBezTo>
                <a:cubicBezTo>
                  <a:pt x="66" y="100"/>
                  <a:pt x="68" y="102"/>
                  <a:pt x="68" y="104"/>
                </a:cubicBezTo>
                <a:cubicBezTo>
                  <a:pt x="68" y="106"/>
                  <a:pt x="66" y="108"/>
                  <a:pt x="64" y="108"/>
                </a:cubicBezTo>
                <a:close/>
                <a:moveTo>
                  <a:pt x="71" y="100"/>
                </a:moveTo>
                <a:cubicBezTo>
                  <a:pt x="69" y="97"/>
                  <a:pt x="67" y="96"/>
                  <a:pt x="64" y="96"/>
                </a:cubicBezTo>
                <a:cubicBezTo>
                  <a:pt x="63" y="96"/>
                  <a:pt x="62" y="96"/>
                  <a:pt x="61" y="97"/>
                </a:cubicBezTo>
                <a:cubicBezTo>
                  <a:pt x="48" y="81"/>
                  <a:pt x="48" y="81"/>
                  <a:pt x="48" y="81"/>
                </a:cubicBezTo>
                <a:cubicBezTo>
                  <a:pt x="53" y="77"/>
                  <a:pt x="56" y="71"/>
                  <a:pt x="56" y="64"/>
                </a:cubicBezTo>
                <a:cubicBezTo>
                  <a:pt x="56" y="60"/>
                  <a:pt x="55" y="57"/>
                  <a:pt x="54" y="54"/>
                </a:cubicBezTo>
                <a:cubicBezTo>
                  <a:pt x="74" y="42"/>
                  <a:pt x="74" y="42"/>
                  <a:pt x="74" y="42"/>
                </a:cubicBezTo>
                <a:cubicBezTo>
                  <a:pt x="76" y="43"/>
                  <a:pt x="78" y="44"/>
                  <a:pt x="80" y="44"/>
                </a:cubicBezTo>
                <a:cubicBezTo>
                  <a:pt x="81" y="44"/>
                  <a:pt x="82" y="44"/>
                  <a:pt x="82" y="44"/>
                </a:cubicBezTo>
                <a:cubicBezTo>
                  <a:pt x="102" y="76"/>
                  <a:pt x="102" y="76"/>
                  <a:pt x="102" y="76"/>
                </a:cubicBezTo>
                <a:cubicBezTo>
                  <a:pt x="98" y="79"/>
                  <a:pt x="96" y="83"/>
                  <a:pt x="96" y="88"/>
                </a:cubicBezTo>
                <a:cubicBezTo>
                  <a:pt x="96" y="89"/>
                  <a:pt x="96" y="90"/>
                  <a:pt x="96" y="91"/>
                </a:cubicBezTo>
                <a:lnTo>
                  <a:pt x="71" y="100"/>
                </a:lnTo>
                <a:close/>
                <a:moveTo>
                  <a:pt x="112" y="96"/>
                </a:moveTo>
                <a:cubicBezTo>
                  <a:pt x="108" y="96"/>
                  <a:pt x="104" y="92"/>
                  <a:pt x="104" y="88"/>
                </a:cubicBezTo>
                <a:cubicBezTo>
                  <a:pt x="104" y="84"/>
                  <a:pt x="108" y="80"/>
                  <a:pt x="112" y="80"/>
                </a:cubicBezTo>
                <a:cubicBezTo>
                  <a:pt x="116" y="80"/>
                  <a:pt x="120" y="84"/>
                  <a:pt x="120" y="88"/>
                </a:cubicBezTo>
                <a:cubicBezTo>
                  <a:pt x="120" y="92"/>
                  <a:pt x="116" y="96"/>
                  <a:pt x="112" y="96"/>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72" name="Freeform 136">
            <a:extLst>
              <a:ext uri="{FF2B5EF4-FFF2-40B4-BE49-F238E27FC236}">
                <a16:creationId xmlns:a16="http://schemas.microsoft.com/office/drawing/2014/main" id="{9628FAAF-E1F4-441E-BC68-08447FC1AD52}"/>
              </a:ext>
            </a:extLst>
          </p:cNvPr>
          <p:cNvSpPr>
            <a:spLocks noEditPoints="1"/>
          </p:cNvSpPr>
          <p:nvPr/>
        </p:nvSpPr>
        <p:spPr bwMode="auto">
          <a:xfrm>
            <a:off x="8142781" y="3195060"/>
            <a:ext cx="412750" cy="412750"/>
          </a:xfrm>
          <a:custGeom>
            <a:avLst/>
            <a:gdLst>
              <a:gd name="T0" fmla="*/ 92 w 128"/>
              <a:gd name="T1" fmla="*/ 128 h 128"/>
              <a:gd name="T2" fmla="*/ 36 w 128"/>
              <a:gd name="T3" fmla="*/ 128 h 128"/>
              <a:gd name="T4" fmla="*/ 0 w 128"/>
              <a:gd name="T5" fmla="*/ 92 h 128"/>
              <a:gd name="T6" fmla="*/ 0 w 128"/>
              <a:gd name="T7" fmla="*/ 36 h 128"/>
              <a:gd name="T8" fmla="*/ 36 w 128"/>
              <a:gd name="T9" fmla="*/ 0 h 128"/>
              <a:gd name="T10" fmla="*/ 92 w 128"/>
              <a:gd name="T11" fmla="*/ 0 h 128"/>
              <a:gd name="T12" fmla="*/ 128 w 128"/>
              <a:gd name="T13" fmla="*/ 36 h 128"/>
              <a:gd name="T14" fmla="*/ 128 w 128"/>
              <a:gd name="T15" fmla="*/ 92 h 128"/>
              <a:gd name="T16" fmla="*/ 92 w 128"/>
              <a:gd name="T17" fmla="*/ 128 h 128"/>
              <a:gd name="T18" fmla="*/ 36 w 128"/>
              <a:gd name="T19" fmla="*/ 8 h 128"/>
              <a:gd name="T20" fmla="*/ 8 w 128"/>
              <a:gd name="T21" fmla="*/ 36 h 128"/>
              <a:gd name="T22" fmla="*/ 8 w 128"/>
              <a:gd name="T23" fmla="*/ 92 h 128"/>
              <a:gd name="T24" fmla="*/ 36 w 128"/>
              <a:gd name="T25" fmla="*/ 120 h 128"/>
              <a:gd name="T26" fmla="*/ 92 w 128"/>
              <a:gd name="T27" fmla="*/ 120 h 128"/>
              <a:gd name="T28" fmla="*/ 120 w 128"/>
              <a:gd name="T29" fmla="*/ 92 h 128"/>
              <a:gd name="T30" fmla="*/ 120 w 128"/>
              <a:gd name="T31" fmla="*/ 36 h 128"/>
              <a:gd name="T32" fmla="*/ 92 w 128"/>
              <a:gd name="T33" fmla="*/ 8 h 128"/>
              <a:gd name="T34" fmla="*/ 36 w 128"/>
              <a:gd name="T35" fmla="*/ 8 h 128"/>
              <a:gd name="T36" fmla="*/ 64 w 128"/>
              <a:gd name="T37" fmla="*/ 98 h 128"/>
              <a:gd name="T38" fmla="*/ 30 w 128"/>
              <a:gd name="T39" fmla="*/ 64 h 128"/>
              <a:gd name="T40" fmla="*/ 64 w 128"/>
              <a:gd name="T41" fmla="*/ 30 h 128"/>
              <a:gd name="T42" fmla="*/ 98 w 128"/>
              <a:gd name="T43" fmla="*/ 64 h 128"/>
              <a:gd name="T44" fmla="*/ 64 w 128"/>
              <a:gd name="T45" fmla="*/ 98 h 128"/>
              <a:gd name="T46" fmla="*/ 64 w 128"/>
              <a:gd name="T47" fmla="*/ 38 h 128"/>
              <a:gd name="T48" fmla="*/ 38 w 128"/>
              <a:gd name="T49" fmla="*/ 64 h 128"/>
              <a:gd name="T50" fmla="*/ 64 w 128"/>
              <a:gd name="T51" fmla="*/ 90 h 128"/>
              <a:gd name="T52" fmla="*/ 90 w 128"/>
              <a:gd name="T53" fmla="*/ 64 h 128"/>
              <a:gd name="T54" fmla="*/ 64 w 128"/>
              <a:gd name="T55" fmla="*/ 38 h 128"/>
              <a:gd name="T56" fmla="*/ 100 w 128"/>
              <a:gd name="T57" fmla="*/ 20 h 128"/>
              <a:gd name="T58" fmla="*/ 92 w 128"/>
              <a:gd name="T59" fmla="*/ 28 h 128"/>
              <a:gd name="T60" fmla="*/ 100 w 128"/>
              <a:gd name="T61" fmla="*/ 36 h 128"/>
              <a:gd name="T62" fmla="*/ 108 w 128"/>
              <a:gd name="T63" fmla="*/ 28 h 128"/>
              <a:gd name="T64" fmla="*/ 100 w 128"/>
              <a:gd name="T65" fmla="*/ 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28">
                <a:moveTo>
                  <a:pt x="92" y="128"/>
                </a:moveTo>
                <a:cubicBezTo>
                  <a:pt x="36" y="128"/>
                  <a:pt x="36" y="128"/>
                  <a:pt x="36" y="128"/>
                </a:cubicBezTo>
                <a:cubicBezTo>
                  <a:pt x="16" y="128"/>
                  <a:pt x="0" y="112"/>
                  <a:pt x="0" y="92"/>
                </a:cubicBezTo>
                <a:cubicBezTo>
                  <a:pt x="0" y="36"/>
                  <a:pt x="0" y="36"/>
                  <a:pt x="0" y="36"/>
                </a:cubicBezTo>
                <a:cubicBezTo>
                  <a:pt x="0" y="16"/>
                  <a:pt x="16" y="0"/>
                  <a:pt x="36" y="0"/>
                </a:cubicBezTo>
                <a:cubicBezTo>
                  <a:pt x="92" y="0"/>
                  <a:pt x="92" y="0"/>
                  <a:pt x="92" y="0"/>
                </a:cubicBezTo>
                <a:cubicBezTo>
                  <a:pt x="112" y="0"/>
                  <a:pt x="128" y="16"/>
                  <a:pt x="128" y="36"/>
                </a:cubicBezTo>
                <a:cubicBezTo>
                  <a:pt x="128" y="92"/>
                  <a:pt x="128" y="92"/>
                  <a:pt x="128" y="92"/>
                </a:cubicBezTo>
                <a:cubicBezTo>
                  <a:pt x="128" y="112"/>
                  <a:pt x="112" y="128"/>
                  <a:pt x="92" y="128"/>
                </a:cubicBezTo>
                <a:close/>
                <a:moveTo>
                  <a:pt x="36" y="8"/>
                </a:moveTo>
                <a:cubicBezTo>
                  <a:pt x="21" y="8"/>
                  <a:pt x="8" y="21"/>
                  <a:pt x="8" y="36"/>
                </a:cubicBezTo>
                <a:cubicBezTo>
                  <a:pt x="8" y="92"/>
                  <a:pt x="8" y="92"/>
                  <a:pt x="8" y="92"/>
                </a:cubicBezTo>
                <a:cubicBezTo>
                  <a:pt x="8" y="107"/>
                  <a:pt x="21" y="120"/>
                  <a:pt x="36" y="120"/>
                </a:cubicBezTo>
                <a:cubicBezTo>
                  <a:pt x="92" y="120"/>
                  <a:pt x="92" y="120"/>
                  <a:pt x="92" y="120"/>
                </a:cubicBezTo>
                <a:cubicBezTo>
                  <a:pt x="107" y="120"/>
                  <a:pt x="120" y="107"/>
                  <a:pt x="120" y="92"/>
                </a:cubicBezTo>
                <a:cubicBezTo>
                  <a:pt x="120" y="36"/>
                  <a:pt x="120" y="36"/>
                  <a:pt x="120" y="36"/>
                </a:cubicBezTo>
                <a:cubicBezTo>
                  <a:pt x="120" y="21"/>
                  <a:pt x="107" y="8"/>
                  <a:pt x="92" y="8"/>
                </a:cubicBezTo>
                <a:lnTo>
                  <a:pt x="36" y="8"/>
                </a:lnTo>
                <a:close/>
                <a:moveTo>
                  <a:pt x="64" y="98"/>
                </a:moveTo>
                <a:cubicBezTo>
                  <a:pt x="45" y="98"/>
                  <a:pt x="30" y="83"/>
                  <a:pt x="30" y="64"/>
                </a:cubicBezTo>
                <a:cubicBezTo>
                  <a:pt x="30" y="45"/>
                  <a:pt x="45" y="30"/>
                  <a:pt x="64" y="30"/>
                </a:cubicBezTo>
                <a:cubicBezTo>
                  <a:pt x="83" y="30"/>
                  <a:pt x="98" y="45"/>
                  <a:pt x="98" y="64"/>
                </a:cubicBezTo>
                <a:cubicBezTo>
                  <a:pt x="98" y="83"/>
                  <a:pt x="83" y="98"/>
                  <a:pt x="64" y="98"/>
                </a:cubicBezTo>
                <a:close/>
                <a:moveTo>
                  <a:pt x="64" y="38"/>
                </a:moveTo>
                <a:cubicBezTo>
                  <a:pt x="50" y="38"/>
                  <a:pt x="38" y="50"/>
                  <a:pt x="38" y="64"/>
                </a:cubicBezTo>
                <a:cubicBezTo>
                  <a:pt x="38" y="78"/>
                  <a:pt x="50" y="90"/>
                  <a:pt x="64" y="90"/>
                </a:cubicBezTo>
                <a:cubicBezTo>
                  <a:pt x="78" y="90"/>
                  <a:pt x="90" y="78"/>
                  <a:pt x="90" y="64"/>
                </a:cubicBezTo>
                <a:cubicBezTo>
                  <a:pt x="90" y="50"/>
                  <a:pt x="78" y="38"/>
                  <a:pt x="64" y="38"/>
                </a:cubicBezTo>
                <a:close/>
                <a:moveTo>
                  <a:pt x="100" y="20"/>
                </a:moveTo>
                <a:cubicBezTo>
                  <a:pt x="96" y="20"/>
                  <a:pt x="92" y="24"/>
                  <a:pt x="92" y="28"/>
                </a:cubicBezTo>
                <a:cubicBezTo>
                  <a:pt x="92" y="32"/>
                  <a:pt x="96" y="36"/>
                  <a:pt x="100" y="36"/>
                </a:cubicBezTo>
                <a:cubicBezTo>
                  <a:pt x="104" y="36"/>
                  <a:pt x="108" y="32"/>
                  <a:pt x="108" y="28"/>
                </a:cubicBezTo>
                <a:cubicBezTo>
                  <a:pt x="108" y="24"/>
                  <a:pt x="104" y="20"/>
                  <a:pt x="100" y="2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9" name="Freeform: Shape 78">
            <a:extLst>
              <a:ext uri="{FF2B5EF4-FFF2-40B4-BE49-F238E27FC236}">
                <a16:creationId xmlns:a16="http://schemas.microsoft.com/office/drawing/2014/main" id="{9818CCD5-5613-4661-8A36-71849CD16D76}"/>
              </a:ext>
            </a:extLst>
          </p:cNvPr>
          <p:cNvSpPr/>
          <p:nvPr/>
        </p:nvSpPr>
        <p:spPr>
          <a:xfrm>
            <a:off x="641650" y="1699332"/>
            <a:ext cx="304800" cy="305752"/>
          </a:xfrm>
          <a:custGeom>
            <a:avLst/>
            <a:gdLst>
              <a:gd name="connsiteX0" fmla="*/ 142875 w 304800"/>
              <a:gd name="connsiteY0" fmla="*/ 219075 h 305752"/>
              <a:gd name="connsiteX1" fmla="*/ 123825 w 304800"/>
              <a:gd name="connsiteY1" fmla="*/ 219075 h 305752"/>
              <a:gd name="connsiteX2" fmla="*/ 123825 w 304800"/>
              <a:gd name="connsiteY2" fmla="*/ 200025 h 305752"/>
              <a:gd name="connsiteX3" fmla="*/ 142875 w 304800"/>
              <a:gd name="connsiteY3" fmla="*/ 200025 h 305752"/>
              <a:gd name="connsiteX4" fmla="*/ 142875 w 304800"/>
              <a:gd name="connsiteY4" fmla="*/ 219075 h 305752"/>
              <a:gd name="connsiteX5" fmla="*/ 133350 w 304800"/>
              <a:gd name="connsiteY5" fmla="*/ 133350 h 305752"/>
              <a:gd name="connsiteX6" fmla="*/ 171450 w 304800"/>
              <a:gd name="connsiteY6" fmla="*/ 171450 h 305752"/>
              <a:gd name="connsiteX7" fmla="*/ 180975 w 304800"/>
              <a:gd name="connsiteY7" fmla="*/ 171450 h 305752"/>
              <a:gd name="connsiteX8" fmla="*/ 180975 w 304800"/>
              <a:gd name="connsiteY8" fmla="*/ 257175 h 305752"/>
              <a:gd name="connsiteX9" fmla="*/ 85725 w 304800"/>
              <a:gd name="connsiteY9" fmla="*/ 257175 h 305752"/>
              <a:gd name="connsiteX10" fmla="*/ 85725 w 304800"/>
              <a:gd name="connsiteY10" fmla="*/ 171450 h 305752"/>
              <a:gd name="connsiteX11" fmla="*/ 95250 w 304800"/>
              <a:gd name="connsiteY11" fmla="*/ 171450 h 305752"/>
              <a:gd name="connsiteX12" fmla="*/ 133350 w 304800"/>
              <a:gd name="connsiteY12" fmla="*/ 133350 h 305752"/>
              <a:gd name="connsiteX13" fmla="*/ 161925 w 304800"/>
              <a:gd name="connsiteY13" fmla="*/ 190500 h 305752"/>
              <a:gd name="connsiteX14" fmla="*/ 104775 w 304800"/>
              <a:gd name="connsiteY14" fmla="*/ 190500 h 305752"/>
              <a:gd name="connsiteX15" fmla="*/ 104775 w 304800"/>
              <a:gd name="connsiteY15" fmla="*/ 238125 h 305752"/>
              <a:gd name="connsiteX16" fmla="*/ 161925 w 304800"/>
              <a:gd name="connsiteY16" fmla="*/ 238125 h 305752"/>
              <a:gd name="connsiteX17" fmla="*/ 161925 w 304800"/>
              <a:gd name="connsiteY17" fmla="*/ 190500 h 305752"/>
              <a:gd name="connsiteX18" fmla="*/ 133350 w 304800"/>
              <a:gd name="connsiteY18" fmla="*/ 152400 h 305752"/>
              <a:gd name="connsiteX19" fmla="*/ 114300 w 304800"/>
              <a:gd name="connsiteY19" fmla="*/ 171450 h 305752"/>
              <a:gd name="connsiteX20" fmla="*/ 152400 w 304800"/>
              <a:gd name="connsiteY20" fmla="*/ 171450 h 305752"/>
              <a:gd name="connsiteX21" fmla="*/ 133350 w 304800"/>
              <a:gd name="connsiteY21" fmla="*/ 152400 h 305752"/>
              <a:gd name="connsiteX22" fmla="*/ 304800 w 304800"/>
              <a:gd name="connsiteY22" fmla="*/ 85725 h 305752"/>
              <a:gd name="connsiteX23" fmla="*/ 304800 w 304800"/>
              <a:gd name="connsiteY23" fmla="*/ 85725 h 305752"/>
              <a:gd name="connsiteX24" fmla="*/ 250508 w 304800"/>
              <a:gd name="connsiteY24" fmla="*/ 140018 h 305752"/>
              <a:gd name="connsiteX25" fmla="*/ 237173 w 304800"/>
              <a:gd name="connsiteY25" fmla="*/ 126683 h 305752"/>
              <a:gd name="connsiteX26" fmla="*/ 267653 w 304800"/>
              <a:gd name="connsiteY26" fmla="*/ 96203 h 305752"/>
              <a:gd name="connsiteX27" fmla="*/ 219075 w 304800"/>
              <a:gd name="connsiteY27" fmla="*/ 96203 h 305752"/>
              <a:gd name="connsiteX28" fmla="*/ 219075 w 304800"/>
              <a:gd name="connsiteY28" fmla="*/ 296228 h 305752"/>
              <a:gd name="connsiteX29" fmla="*/ 209550 w 304800"/>
              <a:gd name="connsiteY29" fmla="*/ 305753 h 305752"/>
              <a:gd name="connsiteX30" fmla="*/ 57150 w 304800"/>
              <a:gd name="connsiteY30" fmla="*/ 305753 h 305752"/>
              <a:gd name="connsiteX31" fmla="*/ 47625 w 304800"/>
              <a:gd name="connsiteY31" fmla="*/ 296228 h 305752"/>
              <a:gd name="connsiteX32" fmla="*/ 47625 w 304800"/>
              <a:gd name="connsiteY32" fmla="*/ 95250 h 305752"/>
              <a:gd name="connsiteX33" fmla="*/ 0 w 304800"/>
              <a:gd name="connsiteY33" fmla="*/ 95250 h 305752"/>
              <a:gd name="connsiteX34" fmla="*/ 0 w 304800"/>
              <a:gd name="connsiteY34" fmla="*/ 76200 h 305752"/>
              <a:gd name="connsiteX35" fmla="*/ 47625 w 304800"/>
              <a:gd name="connsiteY35" fmla="*/ 76200 h 305752"/>
              <a:gd name="connsiteX36" fmla="*/ 47625 w 304800"/>
              <a:gd name="connsiteY36" fmla="*/ 9525 h 305752"/>
              <a:gd name="connsiteX37" fmla="*/ 57150 w 304800"/>
              <a:gd name="connsiteY37" fmla="*/ 0 h 305752"/>
              <a:gd name="connsiteX38" fmla="*/ 209550 w 304800"/>
              <a:gd name="connsiteY38" fmla="*/ 0 h 305752"/>
              <a:gd name="connsiteX39" fmla="*/ 219075 w 304800"/>
              <a:gd name="connsiteY39" fmla="*/ 9525 h 305752"/>
              <a:gd name="connsiteX40" fmla="*/ 219075 w 304800"/>
              <a:gd name="connsiteY40" fmla="*/ 76200 h 305752"/>
              <a:gd name="connsiteX41" fmla="*/ 268605 w 304800"/>
              <a:gd name="connsiteY41" fmla="*/ 76200 h 305752"/>
              <a:gd name="connsiteX42" fmla="*/ 238125 w 304800"/>
              <a:gd name="connsiteY42" fmla="*/ 45720 h 305752"/>
              <a:gd name="connsiteX43" fmla="*/ 251460 w 304800"/>
              <a:gd name="connsiteY43" fmla="*/ 32385 h 305752"/>
              <a:gd name="connsiteX44" fmla="*/ 304800 w 304800"/>
              <a:gd name="connsiteY44" fmla="*/ 85725 h 305752"/>
              <a:gd name="connsiteX45" fmla="*/ 304800 w 304800"/>
              <a:gd name="connsiteY45" fmla="*/ 85725 h 305752"/>
              <a:gd name="connsiteX46" fmla="*/ 200025 w 304800"/>
              <a:gd name="connsiteY46" fmla="*/ 19050 h 305752"/>
              <a:gd name="connsiteX47" fmla="*/ 66675 w 304800"/>
              <a:gd name="connsiteY47" fmla="*/ 19050 h 305752"/>
              <a:gd name="connsiteX48" fmla="*/ 66675 w 304800"/>
              <a:gd name="connsiteY48" fmla="*/ 76200 h 305752"/>
              <a:gd name="connsiteX49" fmla="*/ 133350 w 304800"/>
              <a:gd name="connsiteY49" fmla="*/ 76200 h 305752"/>
              <a:gd name="connsiteX50" fmla="*/ 133350 w 304800"/>
              <a:gd name="connsiteY50" fmla="*/ 95250 h 305752"/>
              <a:gd name="connsiteX51" fmla="*/ 66675 w 304800"/>
              <a:gd name="connsiteY51" fmla="*/ 95250 h 305752"/>
              <a:gd name="connsiteX52" fmla="*/ 66675 w 304800"/>
              <a:gd name="connsiteY52" fmla="*/ 285750 h 305752"/>
              <a:gd name="connsiteX53" fmla="*/ 200025 w 304800"/>
              <a:gd name="connsiteY53" fmla="*/ 285750 h 305752"/>
              <a:gd name="connsiteX54" fmla="*/ 200025 w 304800"/>
              <a:gd name="connsiteY54" fmla="*/ 19050 h 305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04800" h="305752">
                <a:moveTo>
                  <a:pt x="142875" y="219075"/>
                </a:moveTo>
                <a:lnTo>
                  <a:pt x="123825" y="219075"/>
                </a:lnTo>
                <a:lnTo>
                  <a:pt x="123825" y="200025"/>
                </a:lnTo>
                <a:lnTo>
                  <a:pt x="142875" y="200025"/>
                </a:lnTo>
                <a:lnTo>
                  <a:pt x="142875" y="219075"/>
                </a:lnTo>
                <a:close/>
                <a:moveTo>
                  <a:pt x="133350" y="133350"/>
                </a:moveTo>
                <a:cubicBezTo>
                  <a:pt x="154305" y="133350"/>
                  <a:pt x="171450" y="150495"/>
                  <a:pt x="171450" y="171450"/>
                </a:cubicBezTo>
                <a:lnTo>
                  <a:pt x="180975" y="171450"/>
                </a:lnTo>
                <a:lnTo>
                  <a:pt x="180975" y="257175"/>
                </a:lnTo>
                <a:lnTo>
                  <a:pt x="85725" y="257175"/>
                </a:lnTo>
                <a:lnTo>
                  <a:pt x="85725" y="171450"/>
                </a:lnTo>
                <a:lnTo>
                  <a:pt x="95250" y="171450"/>
                </a:lnTo>
                <a:cubicBezTo>
                  <a:pt x="95250" y="150495"/>
                  <a:pt x="112395" y="133350"/>
                  <a:pt x="133350" y="133350"/>
                </a:cubicBezTo>
                <a:close/>
                <a:moveTo>
                  <a:pt x="161925" y="190500"/>
                </a:moveTo>
                <a:lnTo>
                  <a:pt x="104775" y="190500"/>
                </a:lnTo>
                <a:lnTo>
                  <a:pt x="104775" y="238125"/>
                </a:lnTo>
                <a:lnTo>
                  <a:pt x="161925" y="238125"/>
                </a:lnTo>
                <a:lnTo>
                  <a:pt x="161925" y="190500"/>
                </a:lnTo>
                <a:close/>
                <a:moveTo>
                  <a:pt x="133350" y="152400"/>
                </a:moveTo>
                <a:cubicBezTo>
                  <a:pt x="122873" y="152400"/>
                  <a:pt x="114300" y="160973"/>
                  <a:pt x="114300" y="171450"/>
                </a:cubicBezTo>
                <a:lnTo>
                  <a:pt x="152400" y="171450"/>
                </a:lnTo>
                <a:cubicBezTo>
                  <a:pt x="152400" y="160973"/>
                  <a:pt x="143828" y="152400"/>
                  <a:pt x="133350" y="152400"/>
                </a:cubicBezTo>
                <a:close/>
                <a:moveTo>
                  <a:pt x="304800" y="85725"/>
                </a:moveTo>
                <a:lnTo>
                  <a:pt x="304800" y="85725"/>
                </a:lnTo>
                <a:lnTo>
                  <a:pt x="250508" y="140018"/>
                </a:lnTo>
                <a:lnTo>
                  <a:pt x="237173" y="126683"/>
                </a:lnTo>
                <a:lnTo>
                  <a:pt x="267653" y="96203"/>
                </a:lnTo>
                <a:lnTo>
                  <a:pt x="219075" y="96203"/>
                </a:lnTo>
                <a:lnTo>
                  <a:pt x="219075" y="296228"/>
                </a:lnTo>
                <a:cubicBezTo>
                  <a:pt x="219075" y="301943"/>
                  <a:pt x="215265" y="305753"/>
                  <a:pt x="209550" y="305753"/>
                </a:cubicBezTo>
                <a:lnTo>
                  <a:pt x="57150" y="305753"/>
                </a:lnTo>
                <a:cubicBezTo>
                  <a:pt x="51435" y="305753"/>
                  <a:pt x="47625" y="301943"/>
                  <a:pt x="47625" y="296228"/>
                </a:cubicBezTo>
                <a:lnTo>
                  <a:pt x="47625" y="95250"/>
                </a:lnTo>
                <a:lnTo>
                  <a:pt x="0" y="95250"/>
                </a:lnTo>
                <a:lnTo>
                  <a:pt x="0" y="76200"/>
                </a:lnTo>
                <a:lnTo>
                  <a:pt x="47625" y="76200"/>
                </a:lnTo>
                <a:lnTo>
                  <a:pt x="47625" y="9525"/>
                </a:lnTo>
                <a:cubicBezTo>
                  <a:pt x="47625" y="3810"/>
                  <a:pt x="51435" y="0"/>
                  <a:pt x="57150" y="0"/>
                </a:cubicBezTo>
                <a:lnTo>
                  <a:pt x="209550" y="0"/>
                </a:lnTo>
                <a:cubicBezTo>
                  <a:pt x="215265" y="0"/>
                  <a:pt x="219075" y="3810"/>
                  <a:pt x="219075" y="9525"/>
                </a:cubicBezTo>
                <a:lnTo>
                  <a:pt x="219075" y="76200"/>
                </a:lnTo>
                <a:lnTo>
                  <a:pt x="268605" y="76200"/>
                </a:lnTo>
                <a:lnTo>
                  <a:pt x="238125" y="45720"/>
                </a:lnTo>
                <a:lnTo>
                  <a:pt x="251460" y="32385"/>
                </a:lnTo>
                <a:lnTo>
                  <a:pt x="304800" y="85725"/>
                </a:lnTo>
                <a:lnTo>
                  <a:pt x="304800" y="85725"/>
                </a:lnTo>
                <a:close/>
                <a:moveTo>
                  <a:pt x="200025" y="19050"/>
                </a:moveTo>
                <a:lnTo>
                  <a:pt x="66675" y="19050"/>
                </a:lnTo>
                <a:lnTo>
                  <a:pt x="66675" y="76200"/>
                </a:lnTo>
                <a:lnTo>
                  <a:pt x="133350" y="76200"/>
                </a:lnTo>
                <a:lnTo>
                  <a:pt x="133350" y="95250"/>
                </a:lnTo>
                <a:lnTo>
                  <a:pt x="66675" y="95250"/>
                </a:lnTo>
                <a:lnTo>
                  <a:pt x="66675" y="285750"/>
                </a:lnTo>
                <a:lnTo>
                  <a:pt x="200025" y="285750"/>
                </a:lnTo>
                <a:lnTo>
                  <a:pt x="200025" y="19050"/>
                </a:lnTo>
                <a:close/>
              </a:path>
            </a:pathLst>
          </a:custGeom>
          <a:solidFill>
            <a:schemeClr val="tx2"/>
          </a:solidFill>
          <a:ln w="9525" cap="flat">
            <a:noFill/>
            <a:prstDash val="solid"/>
            <a:miter/>
          </a:ln>
        </p:spPr>
        <p:txBody>
          <a:bodyPr rtlCol="0" anchor="ctr"/>
          <a:lstStyle/>
          <a:p>
            <a:endParaRPr lang="en-GB"/>
          </a:p>
        </p:txBody>
      </p:sp>
      <p:grpSp>
        <p:nvGrpSpPr>
          <p:cNvPr id="44" name="Group 43">
            <a:extLst>
              <a:ext uri="{FF2B5EF4-FFF2-40B4-BE49-F238E27FC236}">
                <a16:creationId xmlns:a16="http://schemas.microsoft.com/office/drawing/2014/main" id="{5E4E785F-772B-529D-0D69-1BC64B3F580F}"/>
              </a:ext>
            </a:extLst>
          </p:cNvPr>
          <p:cNvGrpSpPr/>
          <p:nvPr/>
        </p:nvGrpSpPr>
        <p:grpSpPr>
          <a:xfrm>
            <a:off x="7094538" y="4048125"/>
            <a:ext cx="415925" cy="415925"/>
            <a:chOff x="7094538" y="4048125"/>
            <a:chExt cx="415925" cy="415925"/>
          </a:xfrm>
        </p:grpSpPr>
        <p:sp>
          <p:nvSpPr>
            <p:cNvPr id="38" name="AutoShape 3">
              <a:extLst>
                <a:ext uri="{FF2B5EF4-FFF2-40B4-BE49-F238E27FC236}">
                  <a16:creationId xmlns:a16="http://schemas.microsoft.com/office/drawing/2014/main" id="{A8129EB0-0947-218F-D5B9-CC352BE5F95A}"/>
                </a:ext>
              </a:extLst>
            </p:cNvPr>
            <p:cNvSpPr>
              <a:spLocks noChangeAspect="1" noChangeArrowheads="1" noTextEdit="1"/>
            </p:cNvSpPr>
            <p:nvPr/>
          </p:nvSpPr>
          <p:spPr bwMode="auto">
            <a:xfrm>
              <a:off x="7094538" y="4048125"/>
              <a:ext cx="415925"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5">
              <a:extLst>
                <a:ext uri="{FF2B5EF4-FFF2-40B4-BE49-F238E27FC236}">
                  <a16:creationId xmlns:a16="http://schemas.microsoft.com/office/drawing/2014/main" id="{33174202-35E8-D53D-B283-32B61D30131E}"/>
                </a:ext>
              </a:extLst>
            </p:cNvPr>
            <p:cNvSpPr>
              <a:spLocks noEditPoints="1"/>
            </p:cNvSpPr>
            <p:nvPr/>
          </p:nvSpPr>
          <p:spPr bwMode="auto">
            <a:xfrm>
              <a:off x="7094538" y="4048125"/>
              <a:ext cx="412750" cy="412750"/>
            </a:xfrm>
            <a:custGeom>
              <a:avLst/>
              <a:gdLst>
                <a:gd name="T0" fmla="*/ 98 w 260"/>
                <a:gd name="T1" fmla="*/ 43 h 260"/>
                <a:gd name="T2" fmla="*/ 89 w 260"/>
                <a:gd name="T3" fmla="*/ 28 h 260"/>
                <a:gd name="T4" fmla="*/ 110 w 260"/>
                <a:gd name="T5" fmla="*/ 16 h 260"/>
                <a:gd name="T6" fmla="*/ 122 w 260"/>
                <a:gd name="T7" fmla="*/ 22 h 260"/>
                <a:gd name="T8" fmla="*/ 132 w 260"/>
                <a:gd name="T9" fmla="*/ 28 h 260"/>
                <a:gd name="T10" fmla="*/ 132 w 260"/>
                <a:gd name="T11" fmla="*/ 43 h 260"/>
                <a:gd name="T12" fmla="*/ 118 w 260"/>
                <a:gd name="T13" fmla="*/ 55 h 260"/>
                <a:gd name="T14" fmla="*/ 98 w 260"/>
                <a:gd name="T15" fmla="*/ 43 h 260"/>
                <a:gd name="T16" fmla="*/ 175 w 260"/>
                <a:gd name="T17" fmla="*/ 179 h 260"/>
                <a:gd name="T18" fmla="*/ 193 w 260"/>
                <a:gd name="T19" fmla="*/ 162 h 260"/>
                <a:gd name="T20" fmla="*/ 183 w 260"/>
                <a:gd name="T21" fmla="*/ 146 h 260"/>
                <a:gd name="T22" fmla="*/ 171 w 260"/>
                <a:gd name="T23" fmla="*/ 142 h 260"/>
                <a:gd name="T24" fmla="*/ 160 w 260"/>
                <a:gd name="T25" fmla="*/ 150 h 260"/>
                <a:gd name="T26" fmla="*/ 152 w 260"/>
                <a:gd name="T27" fmla="*/ 160 h 260"/>
                <a:gd name="T28" fmla="*/ 158 w 260"/>
                <a:gd name="T29" fmla="*/ 183 h 260"/>
                <a:gd name="T30" fmla="*/ 175 w 260"/>
                <a:gd name="T31" fmla="*/ 179 h 260"/>
                <a:gd name="T32" fmla="*/ 236 w 260"/>
                <a:gd name="T33" fmla="*/ 244 h 260"/>
                <a:gd name="T34" fmla="*/ 244 w 260"/>
                <a:gd name="T35" fmla="*/ 217 h 260"/>
                <a:gd name="T36" fmla="*/ 234 w 260"/>
                <a:gd name="T37" fmla="*/ 201 h 260"/>
                <a:gd name="T38" fmla="*/ 217 w 260"/>
                <a:gd name="T39" fmla="*/ 201 h 260"/>
                <a:gd name="T40" fmla="*/ 197 w 260"/>
                <a:gd name="T41" fmla="*/ 201 h 260"/>
                <a:gd name="T42" fmla="*/ 179 w 260"/>
                <a:gd name="T43" fmla="*/ 229 h 260"/>
                <a:gd name="T44" fmla="*/ 201 w 260"/>
                <a:gd name="T45" fmla="*/ 244 h 260"/>
                <a:gd name="T46" fmla="*/ 165 w 260"/>
                <a:gd name="T47" fmla="*/ 244 h 260"/>
                <a:gd name="T48" fmla="*/ 130 w 260"/>
                <a:gd name="T49" fmla="*/ 183 h 260"/>
                <a:gd name="T50" fmla="*/ 104 w 260"/>
                <a:gd name="T51" fmla="*/ 162 h 260"/>
                <a:gd name="T52" fmla="*/ 110 w 260"/>
                <a:gd name="T53" fmla="*/ 98 h 260"/>
                <a:gd name="T54" fmla="*/ 79 w 260"/>
                <a:gd name="T55" fmla="*/ 45 h 260"/>
                <a:gd name="T56" fmla="*/ 0 w 260"/>
                <a:gd name="T57" fmla="*/ 0 h 260"/>
                <a:gd name="T58" fmla="*/ 0 w 260"/>
                <a:gd name="T59" fmla="*/ 260 h 260"/>
                <a:gd name="T60" fmla="*/ 175 w 260"/>
                <a:gd name="T61" fmla="*/ 260 h 260"/>
                <a:gd name="T62" fmla="*/ 175 w 260"/>
                <a:gd name="T63" fmla="*/ 260 h 260"/>
                <a:gd name="T64" fmla="*/ 260 w 260"/>
                <a:gd name="T65" fmla="*/ 260 h 260"/>
                <a:gd name="T66" fmla="*/ 260 w 260"/>
                <a:gd name="T67" fmla="*/ 244 h 260"/>
                <a:gd name="T68" fmla="*/ 236 w 260"/>
                <a:gd name="T69" fmla="*/ 244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0" h="260">
                  <a:moveTo>
                    <a:pt x="98" y="43"/>
                  </a:moveTo>
                  <a:lnTo>
                    <a:pt x="89" y="28"/>
                  </a:lnTo>
                  <a:lnTo>
                    <a:pt x="110" y="16"/>
                  </a:lnTo>
                  <a:lnTo>
                    <a:pt x="122" y="22"/>
                  </a:lnTo>
                  <a:lnTo>
                    <a:pt x="132" y="28"/>
                  </a:lnTo>
                  <a:lnTo>
                    <a:pt x="132" y="43"/>
                  </a:lnTo>
                  <a:lnTo>
                    <a:pt x="118" y="55"/>
                  </a:lnTo>
                  <a:lnTo>
                    <a:pt x="98" y="43"/>
                  </a:lnTo>
                  <a:close/>
                  <a:moveTo>
                    <a:pt x="175" y="179"/>
                  </a:moveTo>
                  <a:lnTo>
                    <a:pt x="193" y="162"/>
                  </a:lnTo>
                  <a:lnTo>
                    <a:pt x="183" y="146"/>
                  </a:lnTo>
                  <a:lnTo>
                    <a:pt x="171" y="142"/>
                  </a:lnTo>
                  <a:lnTo>
                    <a:pt x="160" y="150"/>
                  </a:lnTo>
                  <a:lnTo>
                    <a:pt x="152" y="160"/>
                  </a:lnTo>
                  <a:lnTo>
                    <a:pt x="158" y="183"/>
                  </a:lnTo>
                  <a:lnTo>
                    <a:pt x="175" y="179"/>
                  </a:lnTo>
                  <a:close/>
                  <a:moveTo>
                    <a:pt x="236" y="244"/>
                  </a:moveTo>
                  <a:lnTo>
                    <a:pt x="244" y="217"/>
                  </a:lnTo>
                  <a:lnTo>
                    <a:pt x="234" y="201"/>
                  </a:lnTo>
                  <a:lnTo>
                    <a:pt x="217" y="201"/>
                  </a:lnTo>
                  <a:lnTo>
                    <a:pt x="197" y="201"/>
                  </a:lnTo>
                  <a:lnTo>
                    <a:pt x="179" y="229"/>
                  </a:lnTo>
                  <a:lnTo>
                    <a:pt x="201" y="244"/>
                  </a:lnTo>
                  <a:lnTo>
                    <a:pt x="165" y="244"/>
                  </a:lnTo>
                  <a:lnTo>
                    <a:pt x="130" y="183"/>
                  </a:lnTo>
                  <a:lnTo>
                    <a:pt x="104" y="162"/>
                  </a:lnTo>
                  <a:lnTo>
                    <a:pt x="110" y="98"/>
                  </a:lnTo>
                  <a:lnTo>
                    <a:pt x="79" y="45"/>
                  </a:lnTo>
                  <a:lnTo>
                    <a:pt x="0" y="0"/>
                  </a:lnTo>
                  <a:lnTo>
                    <a:pt x="0" y="260"/>
                  </a:lnTo>
                  <a:lnTo>
                    <a:pt x="175" y="260"/>
                  </a:lnTo>
                  <a:lnTo>
                    <a:pt x="175" y="260"/>
                  </a:lnTo>
                  <a:lnTo>
                    <a:pt x="260" y="260"/>
                  </a:lnTo>
                  <a:lnTo>
                    <a:pt x="260" y="244"/>
                  </a:lnTo>
                  <a:lnTo>
                    <a:pt x="236" y="24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3" name="Group 42">
            <a:extLst>
              <a:ext uri="{FF2B5EF4-FFF2-40B4-BE49-F238E27FC236}">
                <a16:creationId xmlns:a16="http://schemas.microsoft.com/office/drawing/2014/main" id="{FC6864A2-761C-E4B6-B90B-72E9F9F7F9BF}"/>
              </a:ext>
            </a:extLst>
          </p:cNvPr>
          <p:cNvGrpSpPr/>
          <p:nvPr/>
        </p:nvGrpSpPr>
        <p:grpSpPr>
          <a:xfrm>
            <a:off x="8166100" y="4048125"/>
            <a:ext cx="363538" cy="415925"/>
            <a:chOff x="8166100" y="4048125"/>
            <a:chExt cx="363538" cy="415925"/>
          </a:xfrm>
        </p:grpSpPr>
        <p:sp>
          <p:nvSpPr>
            <p:cNvPr id="41" name="AutoShape 7">
              <a:extLst>
                <a:ext uri="{FF2B5EF4-FFF2-40B4-BE49-F238E27FC236}">
                  <a16:creationId xmlns:a16="http://schemas.microsoft.com/office/drawing/2014/main" id="{5077DBFB-D90B-594C-00A3-2AFC66235930}"/>
                </a:ext>
              </a:extLst>
            </p:cNvPr>
            <p:cNvSpPr>
              <a:spLocks noChangeAspect="1" noChangeArrowheads="1" noTextEdit="1"/>
            </p:cNvSpPr>
            <p:nvPr/>
          </p:nvSpPr>
          <p:spPr bwMode="auto">
            <a:xfrm>
              <a:off x="8169275" y="4048125"/>
              <a:ext cx="360363"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9">
              <a:extLst>
                <a:ext uri="{FF2B5EF4-FFF2-40B4-BE49-F238E27FC236}">
                  <a16:creationId xmlns:a16="http://schemas.microsoft.com/office/drawing/2014/main" id="{DE52458C-F4FA-11C0-FB6A-3878587027B0}"/>
                </a:ext>
              </a:extLst>
            </p:cNvPr>
            <p:cNvSpPr>
              <a:spLocks noEditPoints="1"/>
            </p:cNvSpPr>
            <p:nvPr/>
          </p:nvSpPr>
          <p:spPr bwMode="auto">
            <a:xfrm>
              <a:off x="8166100" y="4048125"/>
              <a:ext cx="363538" cy="412750"/>
            </a:xfrm>
            <a:custGeom>
              <a:avLst/>
              <a:gdLst>
                <a:gd name="T0" fmla="*/ 44 w 112"/>
                <a:gd name="T1" fmla="*/ 76 h 128"/>
                <a:gd name="T2" fmla="*/ 44 w 112"/>
                <a:gd name="T3" fmla="*/ 64 h 128"/>
                <a:gd name="T4" fmla="*/ 25 w 112"/>
                <a:gd name="T5" fmla="*/ 8 h 128"/>
                <a:gd name="T6" fmla="*/ 52 w 112"/>
                <a:gd name="T7" fmla="*/ 8 h 128"/>
                <a:gd name="T8" fmla="*/ 52 w 112"/>
                <a:gd name="T9" fmla="*/ 120 h 128"/>
                <a:gd name="T10" fmla="*/ 24 w 112"/>
                <a:gd name="T11" fmla="*/ 120 h 128"/>
                <a:gd name="T12" fmla="*/ 24 w 112"/>
                <a:gd name="T13" fmla="*/ 121 h 128"/>
                <a:gd name="T14" fmla="*/ 24 w 112"/>
                <a:gd name="T15" fmla="*/ 128 h 128"/>
                <a:gd name="T16" fmla="*/ 88 w 112"/>
                <a:gd name="T17" fmla="*/ 128 h 128"/>
                <a:gd name="T18" fmla="*/ 88 w 112"/>
                <a:gd name="T19" fmla="*/ 120 h 128"/>
                <a:gd name="T20" fmla="*/ 60 w 112"/>
                <a:gd name="T21" fmla="*/ 120 h 128"/>
                <a:gd name="T22" fmla="*/ 60 w 112"/>
                <a:gd name="T23" fmla="*/ 8 h 128"/>
                <a:gd name="T24" fmla="*/ 87 w 112"/>
                <a:gd name="T25" fmla="*/ 8 h 128"/>
                <a:gd name="T26" fmla="*/ 68 w 112"/>
                <a:gd name="T27" fmla="*/ 64 h 128"/>
                <a:gd name="T28" fmla="*/ 68 w 112"/>
                <a:gd name="T29" fmla="*/ 64 h 128"/>
                <a:gd name="T30" fmla="*/ 68 w 112"/>
                <a:gd name="T31" fmla="*/ 76 h 128"/>
                <a:gd name="T32" fmla="*/ 112 w 112"/>
                <a:gd name="T33" fmla="*/ 76 h 128"/>
                <a:gd name="T34" fmla="*/ 112 w 112"/>
                <a:gd name="T35" fmla="*/ 64 h 128"/>
                <a:gd name="T36" fmla="*/ 112 w 112"/>
                <a:gd name="T37" fmla="*/ 64 h 128"/>
                <a:gd name="T38" fmla="*/ 93 w 112"/>
                <a:gd name="T39" fmla="*/ 8 h 128"/>
                <a:gd name="T40" fmla="*/ 112 w 112"/>
                <a:gd name="T41" fmla="*/ 8 h 128"/>
                <a:gd name="T42" fmla="*/ 112 w 112"/>
                <a:gd name="T43" fmla="*/ 0 h 128"/>
                <a:gd name="T44" fmla="*/ 0 w 112"/>
                <a:gd name="T45" fmla="*/ 0 h 128"/>
                <a:gd name="T46" fmla="*/ 0 w 112"/>
                <a:gd name="T47" fmla="*/ 8 h 128"/>
                <a:gd name="T48" fmla="*/ 19 w 112"/>
                <a:gd name="T49" fmla="*/ 8 h 128"/>
                <a:gd name="T50" fmla="*/ 0 w 112"/>
                <a:gd name="T51" fmla="*/ 64 h 128"/>
                <a:gd name="T52" fmla="*/ 0 w 112"/>
                <a:gd name="T53" fmla="*/ 76 h 128"/>
                <a:gd name="T54" fmla="*/ 8 w 112"/>
                <a:gd name="T55" fmla="*/ 64 h 128"/>
                <a:gd name="T56" fmla="*/ 22 w 112"/>
                <a:gd name="T57" fmla="*/ 25 h 128"/>
                <a:gd name="T58" fmla="*/ 36 w 112"/>
                <a:gd name="T59" fmla="*/ 64 h 128"/>
                <a:gd name="T60" fmla="*/ 8 w 112"/>
                <a:gd name="T61" fmla="*/ 64 h 128"/>
                <a:gd name="T62" fmla="*/ 76 w 112"/>
                <a:gd name="T63" fmla="*/ 64 h 128"/>
                <a:gd name="T64" fmla="*/ 90 w 112"/>
                <a:gd name="T65" fmla="*/ 25 h 128"/>
                <a:gd name="T66" fmla="*/ 104 w 112"/>
                <a:gd name="T67" fmla="*/ 64 h 128"/>
                <a:gd name="T68" fmla="*/ 76 w 112"/>
                <a:gd name="T69"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128">
                  <a:moveTo>
                    <a:pt x="44" y="76"/>
                  </a:moveTo>
                  <a:cubicBezTo>
                    <a:pt x="44" y="64"/>
                    <a:pt x="44" y="64"/>
                    <a:pt x="44" y="64"/>
                  </a:cubicBezTo>
                  <a:cubicBezTo>
                    <a:pt x="25" y="8"/>
                    <a:pt x="25" y="8"/>
                    <a:pt x="25" y="8"/>
                  </a:cubicBezTo>
                  <a:cubicBezTo>
                    <a:pt x="52" y="8"/>
                    <a:pt x="52" y="8"/>
                    <a:pt x="52" y="8"/>
                  </a:cubicBezTo>
                  <a:cubicBezTo>
                    <a:pt x="52" y="120"/>
                    <a:pt x="52" y="120"/>
                    <a:pt x="52" y="120"/>
                  </a:cubicBezTo>
                  <a:cubicBezTo>
                    <a:pt x="24" y="120"/>
                    <a:pt x="24" y="120"/>
                    <a:pt x="24" y="120"/>
                  </a:cubicBezTo>
                  <a:cubicBezTo>
                    <a:pt x="24" y="121"/>
                    <a:pt x="24" y="121"/>
                    <a:pt x="24" y="121"/>
                  </a:cubicBezTo>
                  <a:cubicBezTo>
                    <a:pt x="24" y="128"/>
                    <a:pt x="24" y="128"/>
                    <a:pt x="24" y="128"/>
                  </a:cubicBezTo>
                  <a:cubicBezTo>
                    <a:pt x="88" y="128"/>
                    <a:pt x="88" y="128"/>
                    <a:pt x="88" y="128"/>
                  </a:cubicBezTo>
                  <a:cubicBezTo>
                    <a:pt x="88" y="120"/>
                    <a:pt x="88" y="120"/>
                    <a:pt x="88" y="120"/>
                  </a:cubicBezTo>
                  <a:cubicBezTo>
                    <a:pt x="60" y="120"/>
                    <a:pt x="60" y="120"/>
                    <a:pt x="60" y="120"/>
                  </a:cubicBezTo>
                  <a:cubicBezTo>
                    <a:pt x="60" y="8"/>
                    <a:pt x="60" y="8"/>
                    <a:pt x="60" y="8"/>
                  </a:cubicBezTo>
                  <a:cubicBezTo>
                    <a:pt x="87" y="8"/>
                    <a:pt x="87" y="8"/>
                    <a:pt x="87" y="8"/>
                  </a:cubicBezTo>
                  <a:cubicBezTo>
                    <a:pt x="68" y="64"/>
                    <a:pt x="68" y="64"/>
                    <a:pt x="68" y="64"/>
                  </a:cubicBezTo>
                  <a:cubicBezTo>
                    <a:pt x="68" y="64"/>
                    <a:pt x="68" y="64"/>
                    <a:pt x="68" y="64"/>
                  </a:cubicBezTo>
                  <a:cubicBezTo>
                    <a:pt x="68" y="68"/>
                    <a:pt x="68" y="76"/>
                    <a:pt x="68" y="76"/>
                  </a:cubicBezTo>
                  <a:cubicBezTo>
                    <a:pt x="112" y="76"/>
                    <a:pt x="112" y="76"/>
                    <a:pt x="112" y="76"/>
                  </a:cubicBezTo>
                  <a:cubicBezTo>
                    <a:pt x="112" y="64"/>
                    <a:pt x="112" y="64"/>
                    <a:pt x="112" y="64"/>
                  </a:cubicBezTo>
                  <a:cubicBezTo>
                    <a:pt x="112" y="64"/>
                    <a:pt x="112" y="64"/>
                    <a:pt x="112" y="64"/>
                  </a:cubicBezTo>
                  <a:cubicBezTo>
                    <a:pt x="93" y="8"/>
                    <a:pt x="93" y="8"/>
                    <a:pt x="93" y="8"/>
                  </a:cubicBezTo>
                  <a:cubicBezTo>
                    <a:pt x="112" y="8"/>
                    <a:pt x="112" y="8"/>
                    <a:pt x="112" y="8"/>
                  </a:cubicBezTo>
                  <a:cubicBezTo>
                    <a:pt x="112" y="0"/>
                    <a:pt x="112" y="0"/>
                    <a:pt x="112" y="0"/>
                  </a:cubicBezTo>
                  <a:cubicBezTo>
                    <a:pt x="0" y="0"/>
                    <a:pt x="0" y="0"/>
                    <a:pt x="0" y="0"/>
                  </a:cubicBezTo>
                  <a:cubicBezTo>
                    <a:pt x="0" y="8"/>
                    <a:pt x="0" y="8"/>
                    <a:pt x="0" y="8"/>
                  </a:cubicBezTo>
                  <a:cubicBezTo>
                    <a:pt x="19" y="8"/>
                    <a:pt x="19" y="8"/>
                    <a:pt x="19" y="8"/>
                  </a:cubicBezTo>
                  <a:cubicBezTo>
                    <a:pt x="0" y="64"/>
                    <a:pt x="0" y="64"/>
                    <a:pt x="0" y="64"/>
                  </a:cubicBezTo>
                  <a:cubicBezTo>
                    <a:pt x="0" y="76"/>
                    <a:pt x="0" y="76"/>
                    <a:pt x="0" y="76"/>
                  </a:cubicBezTo>
                  <a:moveTo>
                    <a:pt x="8" y="64"/>
                  </a:moveTo>
                  <a:cubicBezTo>
                    <a:pt x="22" y="25"/>
                    <a:pt x="22" y="25"/>
                    <a:pt x="22" y="25"/>
                  </a:cubicBezTo>
                  <a:cubicBezTo>
                    <a:pt x="36" y="64"/>
                    <a:pt x="36" y="64"/>
                    <a:pt x="36" y="64"/>
                  </a:cubicBezTo>
                  <a:lnTo>
                    <a:pt x="8" y="64"/>
                  </a:lnTo>
                  <a:close/>
                  <a:moveTo>
                    <a:pt x="76" y="64"/>
                  </a:moveTo>
                  <a:cubicBezTo>
                    <a:pt x="90" y="25"/>
                    <a:pt x="90" y="25"/>
                    <a:pt x="90" y="25"/>
                  </a:cubicBezTo>
                  <a:cubicBezTo>
                    <a:pt x="104" y="64"/>
                    <a:pt x="104" y="64"/>
                    <a:pt x="104" y="64"/>
                  </a:cubicBezTo>
                  <a:lnTo>
                    <a:pt x="76" y="6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71938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kt 69" hidden="1">
            <a:extLst>
              <a:ext uri="{FF2B5EF4-FFF2-40B4-BE49-F238E27FC236}">
                <a16:creationId xmlns:a16="http://schemas.microsoft.com/office/drawing/2014/main" id="{D9B770A8-7C7A-443B-BC62-E9C6E5C9593B}"/>
              </a:ext>
            </a:extLst>
          </p:cNvPr>
          <p:cNvGraphicFramePr>
            <a:graphicFrameLocks noChangeAspect="1"/>
          </p:cNvGraphicFramePr>
          <p:nvPr>
            <p:custDataLst>
              <p:tags r:id="rId1"/>
            </p:custDataLst>
            <p:extLst>
              <p:ext uri="{D42A27DB-BD31-4B8C-83A1-F6EECF244321}">
                <p14:modId xmlns:p14="http://schemas.microsoft.com/office/powerpoint/2010/main" val="681836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4" progId="TCLayout.ActiveDocument.1">
                  <p:embed/>
                </p:oleObj>
              </mc:Choice>
              <mc:Fallback>
                <p:oleObj name="think-cell Folie" r:id="rId4" imgW="344" imgH="344" progId="TCLayout.ActiveDocument.1">
                  <p:embed/>
                  <p:pic>
                    <p:nvPicPr>
                      <p:cNvPr id="70" name="Objekt 69" hidden="1">
                        <a:extLst>
                          <a:ext uri="{FF2B5EF4-FFF2-40B4-BE49-F238E27FC236}">
                            <a16:creationId xmlns:a16="http://schemas.microsoft.com/office/drawing/2014/main" id="{D9B770A8-7C7A-443B-BC62-E9C6E5C9593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5A40940-6ADB-4FF9-8006-AC2ACB5B9BAE}"/>
              </a:ext>
            </a:extLst>
          </p:cNvPr>
          <p:cNvSpPr>
            <a:spLocks noGrp="1"/>
          </p:cNvSpPr>
          <p:nvPr>
            <p:ph type="sldNum" sz="quarter" idx="11"/>
          </p:nvPr>
        </p:nvSpPr>
        <p:spPr/>
        <p:txBody>
          <a:bodyPr/>
          <a:lstStyle/>
          <a:p>
            <a:fld id="{D56DB8AA-803C-49D2-90AA-1140CE72DCD7}" type="slidenum">
              <a:rPr lang="en-GB" smtClean="0"/>
              <a:pPr/>
              <a:t>9</a:t>
            </a:fld>
            <a:endParaRPr lang="en-GB" dirty="0"/>
          </a:p>
        </p:txBody>
      </p:sp>
      <p:sp>
        <p:nvSpPr>
          <p:cNvPr id="74" name="Title 38">
            <a:extLst>
              <a:ext uri="{FF2B5EF4-FFF2-40B4-BE49-F238E27FC236}">
                <a16:creationId xmlns:a16="http://schemas.microsoft.com/office/drawing/2014/main" id="{9CE734AC-36E3-C5FA-9D03-7E4DF8D8E9D9}"/>
              </a:ext>
            </a:extLst>
          </p:cNvPr>
          <p:cNvSpPr>
            <a:spLocks noGrp="1"/>
          </p:cNvSpPr>
          <p:nvPr>
            <p:ph type="title"/>
          </p:nvPr>
        </p:nvSpPr>
        <p:spPr/>
        <p:txBody>
          <a:bodyPr/>
          <a:lstStyle/>
          <a:p>
            <a:r>
              <a:rPr lang="en-US" dirty="0"/>
              <a:t>Munich Re Icons 7/12</a:t>
            </a:r>
            <a:br>
              <a:rPr lang="en-US" dirty="0"/>
            </a:br>
            <a:endParaRPr lang="en-US" dirty="0"/>
          </a:p>
        </p:txBody>
      </p:sp>
      <p:sp>
        <p:nvSpPr>
          <p:cNvPr id="5" name="TextBox 4">
            <a:extLst>
              <a:ext uri="{FF2B5EF4-FFF2-40B4-BE49-F238E27FC236}">
                <a16:creationId xmlns:a16="http://schemas.microsoft.com/office/drawing/2014/main" id="{00415E7E-EC6F-42F1-BF05-32DE9D7C3154}"/>
              </a:ext>
            </a:extLst>
          </p:cNvPr>
          <p:cNvSpPr txBox="1"/>
          <p:nvPr/>
        </p:nvSpPr>
        <p:spPr>
          <a:xfrm>
            <a:off x="656994" y="2077494"/>
            <a:ext cx="274114" cy="107722"/>
          </a:xfrm>
          <a:prstGeom prst="rect">
            <a:avLst/>
          </a:prstGeom>
          <a:noFill/>
          <a:effectLst/>
        </p:spPr>
        <p:txBody>
          <a:bodyPr wrap="none" lIns="0" tIns="0" rIns="0" bIns="0" rtlCol="0" anchor="t">
            <a:spAutoFit/>
          </a:bodyPr>
          <a:lstStyle/>
          <a:p>
            <a:pPr algn="ctr"/>
            <a:r>
              <a:rPr lang="en-GB" sz="700" dirty="0">
                <a:solidFill>
                  <a:schemeClr val="tx2"/>
                </a:solidFill>
              </a:rPr>
              <a:t>Library</a:t>
            </a:r>
          </a:p>
        </p:txBody>
      </p:sp>
      <p:sp>
        <p:nvSpPr>
          <p:cNvPr id="6" name="TextBox 5">
            <a:extLst>
              <a:ext uri="{FF2B5EF4-FFF2-40B4-BE49-F238E27FC236}">
                <a16:creationId xmlns:a16="http://schemas.microsoft.com/office/drawing/2014/main" id="{97EA7B42-98A3-4F77-B232-CB0205C41548}"/>
              </a:ext>
            </a:extLst>
          </p:cNvPr>
          <p:cNvSpPr txBox="1"/>
          <p:nvPr/>
        </p:nvSpPr>
        <p:spPr>
          <a:xfrm>
            <a:off x="580049" y="2899619"/>
            <a:ext cx="428002" cy="107722"/>
          </a:xfrm>
          <a:prstGeom prst="rect">
            <a:avLst/>
          </a:prstGeom>
          <a:noFill/>
          <a:effectLst/>
        </p:spPr>
        <p:txBody>
          <a:bodyPr wrap="none" lIns="0" tIns="0" rIns="0" bIns="0" rtlCol="0" anchor="t">
            <a:spAutoFit/>
          </a:bodyPr>
          <a:lstStyle/>
          <a:p>
            <a:pPr algn="ctr"/>
            <a:r>
              <a:rPr lang="en-GB" sz="700" dirty="0">
                <a:solidFill>
                  <a:schemeClr val="tx2"/>
                </a:solidFill>
              </a:rPr>
              <a:t>Like no full</a:t>
            </a:r>
          </a:p>
        </p:txBody>
      </p:sp>
      <p:sp>
        <p:nvSpPr>
          <p:cNvPr id="7" name="TextBox 6">
            <a:extLst>
              <a:ext uri="{FF2B5EF4-FFF2-40B4-BE49-F238E27FC236}">
                <a16:creationId xmlns:a16="http://schemas.microsoft.com/office/drawing/2014/main" id="{2EAE6379-AE07-4889-B908-5218500CF43F}"/>
              </a:ext>
            </a:extLst>
          </p:cNvPr>
          <p:cNvSpPr txBox="1"/>
          <p:nvPr/>
        </p:nvSpPr>
        <p:spPr>
          <a:xfrm>
            <a:off x="674626" y="3723675"/>
            <a:ext cx="238847" cy="107722"/>
          </a:xfrm>
          <a:prstGeom prst="rect">
            <a:avLst/>
          </a:prstGeom>
          <a:noFill/>
          <a:effectLst/>
        </p:spPr>
        <p:txBody>
          <a:bodyPr wrap="none" lIns="0" tIns="0" rIns="0" bIns="0" rtlCol="0" anchor="t">
            <a:spAutoFit/>
          </a:bodyPr>
          <a:lstStyle/>
          <a:p>
            <a:pPr algn="ctr"/>
            <a:r>
              <a:rPr lang="en-GB" sz="700" dirty="0">
                <a:solidFill>
                  <a:schemeClr val="tx2"/>
                </a:solidFill>
              </a:rPr>
              <a:t>Link 2</a:t>
            </a:r>
          </a:p>
        </p:txBody>
      </p:sp>
      <p:sp>
        <p:nvSpPr>
          <p:cNvPr id="8" name="TextBox 7">
            <a:extLst>
              <a:ext uri="{FF2B5EF4-FFF2-40B4-BE49-F238E27FC236}">
                <a16:creationId xmlns:a16="http://schemas.microsoft.com/office/drawing/2014/main" id="{FD548843-88EC-4751-8168-2140C3BCD327}"/>
              </a:ext>
            </a:extLst>
          </p:cNvPr>
          <p:cNvSpPr txBox="1"/>
          <p:nvPr/>
        </p:nvSpPr>
        <p:spPr>
          <a:xfrm>
            <a:off x="636955" y="4547732"/>
            <a:ext cx="314189" cy="107722"/>
          </a:xfrm>
          <a:prstGeom prst="rect">
            <a:avLst/>
          </a:prstGeom>
          <a:noFill/>
          <a:effectLst/>
        </p:spPr>
        <p:txBody>
          <a:bodyPr wrap="none" lIns="0" tIns="0" rIns="0" bIns="0" rtlCol="0" anchor="t">
            <a:spAutoFit/>
          </a:bodyPr>
          <a:lstStyle/>
          <a:p>
            <a:pPr algn="ctr"/>
            <a:r>
              <a:rPr lang="en-GB" sz="700">
                <a:solidFill>
                  <a:schemeClr val="tx2"/>
                </a:solidFill>
              </a:rPr>
              <a:t>List add</a:t>
            </a:r>
            <a:endParaRPr lang="en-GB" sz="700" dirty="0">
              <a:solidFill>
                <a:schemeClr val="tx2"/>
              </a:solidFill>
            </a:endParaRPr>
          </a:p>
        </p:txBody>
      </p:sp>
      <p:sp>
        <p:nvSpPr>
          <p:cNvPr id="9" name="TextBox 8">
            <a:extLst>
              <a:ext uri="{FF2B5EF4-FFF2-40B4-BE49-F238E27FC236}">
                <a16:creationId xmlns:a16="http://schemas.microsoft.com/office/drawing/2014/main" id="{00702DA6-FA3D-4240-AF99-52FB416DFEE6}"/>
              </a:ext>
            </a:extLst>
          </p:cNvPr>
          <p:cNvSpPr txBox="1"/>
          <p:nvPr/>
        </p:nvSpPr>
        <p:spPr>
          <a:xfrm>
            <a:off x="1560563" y="2077494"/>
            <a:ext cx="557845" cy="107722"/>
          </a:xfrm>
          <a:prstGeom prst="rect">
            <a:avLst/>
          </a:prstGeom>
          <a:noFill/>
          <a:effectLst/>
        </p:spPr>
        <p:txBody>
          <a:bodyPr wrap="none" lIns="0" tIns="0" rIns="0" bIns="0" rtlCol="0" anchor="t">
            <a:spAutoFit/>
          </a:bodyPr>
          <a:lstStyle/>
          <a:p>
            <a:pPr algn="ctr"/>
            <a:r>
              <a:rPr lang="en-GB" sz="700" dirty="0">
                <a:solidFill>
                  <a:schemeClr val="tx2"/>
                </a:solidFill>
              </a:rPr>
              <a:t>Life insurance</a:t>
            </a:r>
          </a:p>
        </p:txBody>
      </p:sp>
      <p:sp>
        <p:nvSpPr>
          <p:cNvPr id="10" name="TextBox 9">
            <a:extLst>
              <a:ext uri="{FF2B5EF4-FFF2-40B4-BE49-F238E27FC236}">
                <a16:creationId xmlns:a16="http://schemas.microsoft.com/office/drawing/2014/main" id="{CB2E03EC-8EC1-4C70-B947-E8807BB9A167}"/>
              </a:ext>
            </a:extLst>
          </p:cNvPr>
          <p:cNvSpPr txBox="1"/>
          <p:nvPr/>
        </p:nvSpPr>
        <p:spPr>
          <a:xfrm>
            <a:off x="1675176" y="2899619"/>
            <a:ext cx="328616" cy="107722"/>
          </a:xfrm>
          <a:prstGeom prst="rect">
            <a:avLst/>
          </a:prstGeom>
          <a:noFill/>
          <a:effectLst/>
        </p:spPr>
        <p:txBody>
          <a:bodyPr wrap="none" lIns="0" tIns="0" rIns="0" bIns="0" rtlCol="0" anchor="t">
            <a:spAutoFit/>
          </a:bodyPr>
          <a:lstStyle/>
          <a:p>
            <a:pPr algn="ctr"/>
            <a:r>
              <a:rPr lang="en-GB" sz="700" dirty="0">
                <a:solidFill>
                  <a:schemeClr val="tx2"/>
                </a:solidFill>
              </a:rPr>
              <a:t>Like yes</a:t>
            </a:r>
          </a:p>
        </p:txBody>
      </p:sp>
      <p:sp>
        <p:nvSpPr>
          <p:cNvPr id="11" name="TextBox 10">
            <a:extLst>
              <a:ext uri="{FF2B5EF4-FFF2-40B4-BE49-F238E27FC236}">
                <a16:creationId xmlns:a16="http://schemas.microsoft.com/office/drawing/2014/main" id="{89CF14E8-54B2-48BE-89F0-2C30438DB334}"/>
              </a:ext>
            </a:extLst>
          </p:cNvPr>
          <p:cNvSpPr txBox="1"/>
          <p:nvPr/>
        </p:nvSpPr>
        <p:spPr>
          <a:xfrm>
            <a:off x="1632696" y="3723675"/>
            <a:ext cx="413576" cy="107722"/>
          </a:xfrm>
          <a:prstGeom prst="rect">
            <a:avLst/>
          </a:prstGeom>
          <a:noFill/>
          <a:effectLst/>
        </p:spPr>
        <p:txBody>
          <a:bodyPr wrap="none" lIns="0" tIns="0" rIns="0" bIns="0" rtlCol="0" anchor="t">
            <a:spAutoFit/>
          </a:bodyPr>
          <a:lstStyle/>
          <a:p>
            <a:pPr algn="ctr"/>
            <a:r>
              <a:rPr lang="en-GB" sz="700" dirty="0">
                <a:solidFill>
                  <a:schemeClr val="tx2"/>
                </a:solidFill>
              </a:rPr>
              <a:t>LinkedIn 1</a:t>
            </a:r>
          </a:p>
        </p:txBody>
      </p:sp>
      <p:sp>
        <p:nvSpPr>
          <p:cNvPr id="12" name="TextBox 11">
            <a:extLst>
              <a:ext uri="{FF2B5EF4-FFF2-40B4-BE49-F238E27FC236}">
                <a16:creationId xmlns:a16="http://schemas.microsoft.com/office/drawing/2014/main" id="{E47EB974-233E-49D2-A5E1-D2DEFB9D9EF9}"/>
              </a:ext>
            </a:extLst>
          </p:cNvPr>
          <p:cNvSpPr txBox="1"/>
          <p:nvPr/>
        </p:nvSpPr>
        <p:spPr>
          <a:xfrm>
            <a:off x="1650329" y="4547732"/>
            <a:ext cx="378310" cy="107722"/>
          </a:xfrm>
          <a:prstGeom prst="rect">
            <a:avLst/>
          </a:prstGeom>
          <a:noFill/>
          <a:effectLst/>
        </p:spPr>
        <p:txBody>
          <a:bodyPr wrap="none" lIns="0" tIns="0" rIns="0" bIns="0" rtlCol="0" anchor="t">
            <a:spAutoFit/>
          </a:bodyPr>
          <a:lstStyle/>
          <a:p>
            <a:pPr algn="ctr"/>
            <a:r>
              <a:rPr lang="en-GB" sz="700" dirty="0">
                <a:solidFill>
                  <a:schemeClr val="tx2"/>
                </a:solidFill>
              </a:rPr>
              <a:t>List detail</a:t>
            </a:r>
          </a:p>
        </p:txBody>
      </p:sp>
      <p:sp>
        <p:nvSpPr>
          <p:cNvPr id="13" name="TextBox 12">
            <a:extLst>
              <a:ext uri="{FF2B5EF4-FFF2-40B4-BE49-F238E27FC236}">
                <a16:creationId xmlns:a16="http://schemas.microsoft.com/office/drawing/2014/main" id="{39FDBC07-4A59-4740-87C0-5F00C4FF8186}"/>
              </a:ext>
            </a:extLst>
          </p:cNvPr>
          <p:cNvSpPr txBox="1"/>
          <p:nvPr/>
        </p:nvSpPr>
        <p:spPr>
          <a:xfrm>
            <a:off x="2662101" y="2077494"/>
            <a:ext cx="445635" cy="107722"/>
          </a:xfrm>
          <a:prstGeom prst="rect">
            <a:avLst/>
          </a:prstGeom>
          <a:noFill/>
          <a:effectLst/>
        </p:spPr>
        <p:txBody>
          <a:bodyPr wrap="none" lIns="0" tIns="0" rIns="0" bIns="0" rtlCol="0" anchor="t">
            <a:spAutoFit/>
          </a:bodyPr>
          <a:lstStyle/>
          <a:p>
            <a:pPr algn="ctr"/>
            <a:r>
              <a:rPr lang="en-GB" sz="700" dirty="0">
                <a:solidFill>
                  <a:schemeClr val="tx2"/>
                </a:solidFill>
              </a:rPr>
              <a:t>Life stream</a:t>
            </a:r>
          </a:p>
        </p:txBody>
      </p:sp>
      <p:sp>
        <p:nvSpPr>
          <p:cNvPr id="14" name="TextBox 13">
            <a:extLst>
              <a:ext uri="{FF2B5EF4-FFF2-40B4-BE49-F238E27FC236}">
                <a16:creationId xmlns:a16="http://schemas.microsoft.com/office/drawing/2014/main" id="{209BCD7B-1762-42E3-8A4F-D43AEA6BB5E6}"/>
              </a:ext>
            </a:extLst>
          </p:cNvPr>
          <p:cNvSpPr txBox="1"/>
          <p:nvPr/>
        </p:nvSpPr>
        <p:spPr>
          <a:xfrm>
            <a:off x="2650879" y="2899619"/>
            <a:ext cx="468078" cy="107722"/>
          </a:xfrm>
          <a:prstGeom prst="rect">
            <a:avLst/>
          </a:prstGeom>
          <a:noFill/>
          <a:effectLst/>
        </p:spPr>
        <p:txBody>
          <a:bodyPr wrap="none" lIns="0" tIns="0" rIns="0" bIns="0" rtlCol="0" anchor="t">
            <a:spAutoFit/>
          </a:bodyPr>
          <a:lstStyle/>
          <a:p>
            <a:pPr algn="ctr"/>
            <a:r>
              <a:rPr lang="en-GB" sz="700" dirty="0">
                <a:solidFill>
                  <a:schemeClr val="tx2"/>
                </a:solidFill>
              </a:rPr>
              <a:t>Like yes full</a:t>
            </a:r>
          </a:p>
        </p:txBody>
      </p:sp>
      <p:sp>
        <p:nvSpPr>
          <p:cNvPr id="15" name="TextBox 14">
            <a:extLst>
              <a:ext uri="{FF2B5EF4-FFF2-40B4-BE49-F238E27FC236}">
                <a16:creationId xmlns:a16="http://schemas.microsoft.com/office/drawing/2014/main" id="{14B60FD2-3356-438B-9795-E2ECD1EF905B}"/>
              </a:ext>
            </a:extLst>
          </p:cNvPr>
          <p:cNvSpPr txBox="1"/>
          <p:nvPr/>
        </p:nvSpPr>
        <p:spPr>
          <a:xfrm>
            <a:off x="2678129" y="3723675"/>
            <a:ext cx="413576" cy="107722"/>
          </a:xfrm>
          <a:prstGeom prst="rect">
            <a:avLst/>
          </a:prstGeom>
          <a:noFill/>
          <a:effectLst/>
        </p:spPr>
        <p:txBody>
          <a:bodyPr wrap="none" lIns="0" tIns="0" rIns="0" bIns="0" rtlCol="0" anchor="t">
            <a:spAutoFit/>
          </a:bodyPr>
          <a:lstStyle/>
          <a:p>
            <a:pPr algn="ctr"/>
            <a:r>
              <a:rPr lang="en-GB" sz="700" dirty="0">
                <a:solidFill>
                  <a:schemeClr val="tx2"/>
                </a:solidFill>
              </a:rPr>
              <a:t>LinkedIn 2</a:t>
            </a:r>
          </a:p>
        </p:txBody>
      </p:sp>
      <p:sp>
        <p:nvSpPr>
          <p:cNvPr id="16" name="TextBox 15">
            <a:extLst>
              <a:ext uri="{FF2B5EF4-FFF2-40B4-BE49-F238E27FC236}">
                <a16:creationId xmlns:a16="http://schemas.microsoft.com/office/drawing/2014/main" id="{222BE9AC-297F-4ECD-8D27-5DAA5A2EA03F}"/>
              </a:ext>
            </a:extLst>
          </p:cNvPr>
          <p:cNvSpPr txBox="1"/>
          <p:nvPr/>
        </p:nvSpPr>
        <p:spPr>
          <a:xfrm>
            <a:off x="2715800" y="4547732"/>
            <a:ext cx="338234" cy="107722"/>
          </a:xfrm>
          <a:prstGeom prst="rect">
            <a:avLst/>
          </a:prstGeom>
          <a:noFill/>
          <a:effectLst/>
        </p:spPr>
        <p:txBody>
          <a:bodyPr wrap="none" lIns="0" tIns="0" rIns="0" bIns="0" rtlCol="0" anchor="t">
            <a:spAutoFit/>
          </a:bodyPr>
          <a:lstStyle/>
          <a:p>
            <a:pPr algn="ctr"/>
            <a:r>
              <a:rPr lang="en-GB" sz="700" dirty="0">
                <a:solidFill>
                  <a:schemeClr val="tx2"/>
                </a:solidFill>
              </a:rPr>
              <a:t>Location</a:t>
            </a:r>
          </a:p>
        </p:txBody>
      </p:sp>
      <p:sp>
        <p:nvSpPr>
          <p:cNvPr id="17" name="TextBox 16">
            <a:extLst>
              <a:ext uri="{FF2B5EF4-FFF2-40B4-BE49-F238E27FC236}">
                <a16:creationId xmlns:a16="http://schemas.microsoft.com/office/drawing/2014/main" id="{1DE04DB6-B8B5-40A0-A0D1-60E1B40E6100}"/>
              </a:ext>
            </a:extLst>
          </p:cNvPr>
          <p:cNvSpPr txBox="1"/>
          <p:nvPr/>
        </p:nvSpPr>
        <p:spPr>
          <a:xfrm>
            <a:off x="3786080" y="2077494"/>
            <a:ext cx="288541" cy="107722"/>
          </a:xfrm>
          <a:prstGeom prst="rect">
            <a:avLst/>
          </a:prstGeom>
          <a:noFill/>
          <a:effectLst/>
        </p:spPr>
        <p:txBody>
          <a:bodyPr wrap="none" lIns="0" tIns="0" rIns="0" bIns="0" rtlCol="0" anchor="t">
            <a:spAutoFit/>
          </a:bodyPr>
          <a:lstStyle/>
          <a:p>
            <a:pPr algn="ctr"/>
            <a:r>
              <a:rPr lang="en-GB" sz="700" dirty="0">
                <a:solidFill>
                  <a:schemeClr val="tx2"/>
                </a:solidFill>
              </a:rPr>
              <a:t>Like no</a:t>
            </a:r>
          </a:p>
        </p:txBody>
      </p:sp>
      <p:sp>
        <p:nvSpPr>
          <p:cNvPr id="18" name="TextBox 17">
            <a:extLst>
              <a:ext uri="{FF2B5EF4-FFF2-40B4-BE49-F238E27FC236}">
                <a16:creationId xmlns:a16="http://schemas.microsoft.com/office/drawing/2014/main" id="{2C8DF958-1D7B-4F5C-9CA5-16DE11F8895F}"/>
              </a:ext>
            </a:extLst>
          </p:cNvPr>
          <p:cNvSpPr txBox="1"/>
          <p:nvPr/>
        </p:nvSpPr>
        <p:spPr>
          <a:xfrm>
            <a:off x="3810927" y="2899619"/>
            <a:ext cx="238848" cy="107722"/>
          </a:xfrm>
          <a:prstGeom prst="rect">
            <a:avLst/>
          </a:prstGeom>
          <a:noFill/>
          <a:effectLst/>
        </p:spPr>
        <p:txBody>
          <a:bodyPr wrap="none" lIns="0" tIns="0" rIns="0" bIns="0" rtlCol="0" anchor="t">
            <a:spAutoFit/>
          </a:bodyPr>
          <a:lstStyle/>
          <a:p>
            <a:pPr algn="ctr"/>
            <a:r>
              <a:rPr lang="en-GB" sz="700">
                <a:solidFill>
                  <a:schemeClr val="tx2"/>
                </a:solidFill>
              </a:rPr>
              <a:t>Link 1</a:t>
            </a:r>
            <a:endParaRPr lang="en-GB" sz="700" dirty="0">
              <a:solidFill>
                <a:schemeClr val="tx2"/>
              </a:solidFill>
            </a:endParaRPr>
          </a:p>
        </p:txBody>
      </p:sp>
      <p:sp>
        <p:nvSpPr>
          <p:cNvPr id="19" name="TextBox 18">
            <a:extLst>
              <a:ext uri="{FF2B5EF4-FFF2-40B4-BE49-F238E27FC236}">
                <a16:creationId xmlns:a16="http://schemas.microsoft.com/office/drawing/2014/main" id="{CBCD8FF5-F1D7-42AF-A5F7-AF2F431C8FA0}"/>
              </a:ext>
            </a:extLst>
          </p:cNvPr>
          <p:cNvSpPr txBox="1"/>
          <p:nvPr/>
        </p:nvSpPr>
        <p:spPr>
          <a:xfrm>
            <a:off x="3860620" y="3723675"/>
            <a:ext cx="139461" cy="107722"/>
          </a:xfrm>
          <a:prstGeom prst="rect">
            <a:avLst/>
          </a:prstGeom>
          <a:noFill/>
          <a:effectLst/>
        </p:spPr>
        <p:txBody>
          <a:bodyPr wrap="none" lIns="0" tIns="0" rIns="0" bIns="0" rtlCol="0" anchor="t">
            <a:spAutoFit/>
          </a:bodyPr>
          <a:lstStyle/>
          <a:p>
            <a:pPr algn="ctr"/>
            <a:r>
              <a:rPr lang="en-GB" sz="700" dirty="0">
                <a:solidFill>
                  <a:schemeClr val="tx2"/>
                </a:solidFill>
              </a:rPr>
              <a:t>List</a:t>
            </a:r>
          </a:p>
        </p:txBody>
      </p:sp>
      <p:sp>
        <p:nvSpPr>
          <p:cNvPr id="20" name="TextBox 19">
            <a:extLst>
              <a:ext uri="{FF2B5EF4-FFF2-40B4-BE49-F238E27FC236}">
                <a16:creationId xmlns:a16="http://schemas.microsoft.com/office/drawing/2014/main" id="{7F34AC43-EF89-4E08-9E48-8DF250CE73A7}"/>
              </a:ext>
            </a:extLst>
          </p:cNvPr>
          <p:cNvSpPr txBox="1"/>
          <p:nvPr/>
        </p:nvSpPr>
        <p:spPr>
          <a:xfrm>
            <a:off x="3723564" y="4547732"/>
            <a:ext cx="413575" cy="107722"/>
          </a:xfrm>
          <a:prstGeom prst="rect">
            <a:avLst/>
          </a:prstGeom>
          <a:noFill/>
          <a:effectLst/>
        </p:spPr>
        <p:txBody>
          <a:bodyPr wrap="none" lIns="0" tIns="0" rIns="0" bIns="0" rtlCol="0" anchor="t">
            <a:spAutoFit/>
          </a:bodyPr>
          <a:lstStyle/>
          <a:p>
            <a:pPr algn="ctr"/>
            <a:r>
              <a:rPr lang="en-GB" sz="700" dirty="0">
                <a:solidFill>
                  <a:schemeClr val="tx2"/>
                </a:solidFill>
              </a:rPr>
              <a:t>Lock open</a:t>
            </a:r>
          </a:p>
        </p:txBody>
      </p:sp>
      <p:sp>
        <p:nvSpPr>
          <p:cNvPr id="21" name="TextBox 20">
            <a:extLst>
              <a:ext uri="{FF2B5EF4-FFF2-40B4-BE49-F238E27FC236}">
                <a16:creationId xmlns:a16="http://schemas.microsoft.com/office/drawing/2014/main" id="{5BBA1942-B8A5-4F8F-A228-317F32648B44}"/>
              </a:ext>
            </a:extLst>
          </p:cNvPr>
          <p:cNvSpPr txBox="1"/>
          <p:nvPr/>
        </p:nvSpPr>
        <p:spPr>
          <a:xfrm>
            <a:off x="4917903" y="2077494"/>
            <a:ext cx="589906" cy="107722"/>
          </a:xfrm>
          <a:prstGeom prst="rect">
            <a:avLst/>
          </a:prstGeom>
          <a:noFill/>
          <a:effectLst/>
        </p:spPr>
        <p:txBody>
          <a:bodyPr wrap="none" lIns="0" tIns="0" rIns="0" bIns="0" rtlCol="0" anchor="t">
            <a:spAutoFit/>
          </a:bodyPr>
          <a:lstStyle/>
          <a:p>
            <a:pPr algn="ctr"/>
            <a:r>
              <a:rPr lang="en-GB" sz="700" dirty="0">
                <a:solidFill>
                  <a:schemeClr val="tx2"/>
                </a:solidFill>
              </a:rPr>
              <a:t>Lock protected</a:t>
            </a:r>
          </a:p>
        </p:txBody>
      </p:sp>
      <p:sp>
        <p:nvSpPr>
          <p:cNvPr id="22" name="TextBox 21">
            <a:extLst>
              <a:ext uri="{FF2B5EF4-FFF2-40B4-BE49-F238E27FC236}">
                <a16:creationId xmlns:a16="http://schemas.microsoft.com/office/drawing/2014/main" id="{E806743E-73DF-45E3-80C4-88CEBE47AA38}"/>
              </a:ext>
            </a:extLst>
          </p:cNvPr>
          <p:cNvSpPr txBox="1"/>
          <p:nvPr/>
        </p:nvSpPr>
        <p:spPr>
          <a:xfrm>
            <a:off x="4980421" y="2899619"/>
            <a:ext cx="464871" cy="107722"/>
          </a:xfrm>
          <a:prstGeom prst="rect">
            <a:avLst/>
          </a:prstGeom>
          <a:noFill/>
          <a:effectLst/>
        </p:spPr>
        <p:txBody>
          <a:bodyPr wrap="none" lIns="0" tIns="0" rIns="0" bIns="0" rtlCol="0" anchor="t">
            <a:spAutoFit/>
          </a:bodyPr>
          <a:lstStyle/>
          <a:p>
            <a:pPr algn="ctr"/>
            <a:r>
              <a:rPr lang="en-GB" sz="700" dirty="0">
                <a:solidFill>
                  <a:schemeClr val="tx2"/>
                </a:solidFill>
              </a:rPr>
              <a:t>Low battery</a:t>
            </a:r>
          </a:p>
        </p:txBody>
      </p:sp>
      <p:sp>
        <p:nvSpPr>
          <p:cNvPr id="23" name="TextBox 22">
            <a:extLst>
              <a:ext uri="{FF2B5EF4-FFF2-40B4-BE49-F238E27FC236}">
                <a16:creationId xmlns:a16="http://schemas.microsoft.com/office/drawing/2014/main" id="{79DB63A1-9221-4279-A4E9-21E46AFEF690}"/>
              </a:ext>
            </a:extLst>
          </p:cNvPr>
          <p:cNvSpPr txBox="1"/>
          <p:nvPr/>
        </p:nvSpPr>
        <p:spPr>
          <a:xfrm>
            <a:off x="4918704" y="3723675"/>
            <a:ext cx="588303" cy="107722"/>
          </a:xfrm>
          <a:prstGeom prst="rect">
            <a:avLst/>
          </a:prstGeom>
          <a:noFill/>
          <a:effectLst/>
        </p:spPr>
        <p:txBody>
          <a:bodyPr wrap="none" lIns="0" tIns="0" rIns="0" bIns="0" rtlCol="0" anchor="t">
            <a:spAutoFit/>
          </a:bodyPr>
          <a:lstStyle/>
          <a:p>
            <a:pPr algn="ctr"/>
            <a:r>
              <a:rPr lang="en-GB" sz="700" dirty="0">
                <a:solidFill>
                  <a:schemeClr val="tx2"/>
                </a:solidFill>
              </a:rPr>
              <a:t>Magnifier code</a:t>
            </a:r>
          </a:p>
        </p:txBody>
      </p:sp>
      <p:sp>
        <p:nvSpPr>
          <p:cNvPr id="24" name="TextBox 23">
            <a:extLst>
              <a:ext uri="{FF2B5EF4-FFF2-40B4-BE49-F238E27FC236}">
                <a16:creationId xmlns:a16="http://schemas.microsoft.com/office/drawing/2014/main" id="{C3D24287-63C1-4A14-9566-A3981E267455}"/>
              </a:ext>
            </a:extLst>
          </p:cNvPr>
          <p:cNvSpPr txBox="1"/>
          <p:nvPr/>
        </p:nvSpPr>
        <p:spPr>
          <a:xfrm>
            <a:off x="5125491" y="4547732"/>
            <a:ext cx="174727" cy="107722"/>
          </a:xfrm>
          <a:prstGeom prst="rect">
            <a:avLst/>
          </a:prstGeom>
          <a:noFill/>
          <a:effectLst/>
        </p:spPr>
        <p:txBody>
          <a:bodyPr wrap="none" lIns="0" tIns="0" rIns="0" bIns="0" rtlCol="0" anchor="t">
            <a:spAutoFit/>
          </a:bodyPr>
          <a:lstStyle/>
          <a:p>
            <a:pPr algn="ctr"/>
            <a:r>
              <a:rPr lang="en-GB" sz="700" dirty="0">
                <a:solidFill>
                  <a:schemeClr val="tx2"/>
                </a:solidFill>
              </a:rPr>
              <a:t>Man</a:t>
            </a:r>
          </a:p>
        </p:txBody>
      </p:sp>
      <p:sp>
        <p:nvSpPr>
          <p:cNvPr id="25" name="TextBox 24">
            <a:extLst>
              <a:ext uri="{FF2B5EF4-FFF2-40B4-BE49-F238E27FC236}">
                <a16:creationId xmlns:a16="http://schemas.microsoft.com/office/drawing/2014/main" id="{342AAD61-D8CA-4B9F-A162-7783F56F704A}"/>
              </a:ext>
            </a:extLst>
          </p:cNvPr>
          <p:cNvSpPr txBox="1"/>
          <p:nvPr/>
        </p:nvSpPr>
        <p:spPr>
          <a:xfrm>
            <a:off x="6149286" y="2077494"/>
            <a:ext cx="218008" cy="107722"/>
          </a:xfrm>
          <a:prstGeom prst="rect">
            <a:avLst/>
          </a:prstGeom>
          <a:noFill/>
          <a:effectLst/>
        </p:spPr>
        <p:txBody>
          <a:bodyPr wrap="none" lIns="0" tIns="0" rIns="0" bIns="0" rtlCol="0" anchor="t">
            <a:spAutoFit/>
          </a:bodyPr>
          <a:lstStyle/>
          <a:p>
            <a:pPr algn="ctr"/>
            <a:r>
              <a:rPr lang="en-GB" sz="700" dirty="0">
                <a:solidFill>
                  <a:schemeClr val="tx2"/>
                </a:solidFill>
              </a:rPr>
              <a:t>Login</a:t>
            </a:r>
          </a:p>
        </p:txBody>
      </p:sp>
      <p:sp>
        <p:nvSpPr>
          <p:cNvPr id="26" name="TextBox 25">
            <a:extLst>
              <a:ext uri="{FF2B5EF4-FFF2-40B4-BE49-F238E27FC236}">
                <a16:creationId xmlns:a16="http://schemas.microsoft.com/office/drawing/2014/main" id="{94A8ADFF-654E-4FA7-BD5A-69B894726F94}"/>
              </a:ext>
            </a:extLst>
          </p:cNvPr>
          <p:cNvSpPr txBox="1"/>
          <p:nvPr/>
        </p:nvSpPr>
        <p:spPr>
          <a:xfrm>
            <a:off x="5920858" y="2899619"/>
            <a:ext cx="674865" cy="215444"/>
          </a:xfrm>
          <a:prstGeom prst="rect">
            <a:avLst/>
          </a:prstGeom>
          <a:noFill/>
          <a:effectLst/>
        </p:spPr>
        <p:txBody>
          <a:bodyPr wrap="none" lIns="0" tIns="0" rIns="0" bIns="0" rtlCol="0" anchor="t">
            <a:spAutoFit/>
          </a:bodyPr>
          <a:lstStyle/>
          <a:p>
            <a:pPr algn="ctr"/>
            <a:r>
              <a:rPr lang="en-GB" sz="700" dirty="0">
                <a:solidFill>
                  <a:schemeClr val="tx2"/>
                </a:solidFill>
              </a:rPr>
              <a:t>Low temperature</a:t>
            </a:r>
            <a:br>
              <a:rPr lang="en-GB" sz="700" dirty="0">
                <a:solidFill>
                  <a:schemeClr val="tx2"/>
                </a:solidFill>
              </a:rPr>
            </a:br>
            <a:r>
              <a:rPr lang="en-GB" sz="700" dirty="0">
                <a:solidFill>
                  <a:schemeClr val="tx2"/>
                </a:solidFill>
              </a:rPr>
              <a:t>frost</a:t>
            </a:r>
          </a:p>
        </p:txBody>
      </p:sp>
      <p:sp>
        <p:nvSpPr>
          <p:cNvPr id="27" name="TextBox 26">
            <a:extLst>
              <a:ext uri="{FF2B5EF4-FFF2-40B4-BE49-F238E27FC236}">
                <a16:creationId xmlns:a16="http://schemas.microsoft.com/office/drawing/2014/main" id="{F3F85499-09DB-44DF-A8B4-D899F5B38932}"/>
              </a:ext>
            </a:extLst>
          </p:cNvPr>
          <p:cNvSpPr txBox="1"/>
          <p:nvPr/>
        </p:nvSpPr>
        <p:spPr>
          <a:xfrm>
            <a:off x="6073945" y="3723675"/>
            <a:ext cx="368691" cy="215444"/>
          </a:xfrm>
          <a:prstGeom prst="rect">
            <a:avLst/>
          </a:prstGeom>
          <a:noFill/>
          <a:effectLst/>
        </p:spPr>
        <p:txBody>
          <a:bodyPr wrap="none" lIns="0" tIns="0" rIns="0" bIns="0" rtlCol="0" anchor="t">
            <a:spAutoFit/>
          </a:bodyPr>
          <a:lstStyle/>
          <a:p>
            <a:pPr algn="ctr"/>
            <a:r>
              <a:rPr lang="en-GB" sz="700">
                <a:solidFill>
                  <a:schemeClr val="tx2"/>
                </a:solidFill>
              </a:rPr>
              <a:t>Magnifier</a:t>
            </a:r>
            <a:br>
              <a:rPr lang="en-GB" sz="700">
                <a:solidFill>
                  <a:schemeClr val="tx2"/>
                </a:solidFill>
              </a:rPr>
            </a:br>
            <a:r>
              <a:rPr lang="en-GB" sz="700">
                <a:solidFill>
                  <a:schemeClr val="tx2"/>
                </a:solidFill>
              </a:rPr>
              <a:t>percent</a:t>
            </a:r>
            <a:endParaRPr lang="en-GB" sz="700" dirty="0">
              <a:solidFill>
                <a:schemeClr val="tx2"/>
              </a:solidFill>
            </a:endParaRPr>
          </a:p>
        </p:txBody>
      </p:sp>
      <p:sp>
        <p:nvSpPr>
          <p:cNvPr id="28" name="TextBox 27">
            <a:extLst>
              <a:ext uri="{FF2B5EF4-FFF2-40B4-BE49-F238E27FC236}">
                <a16:creationId xmlns:a16="http://schemas.microsoft.com/office/drawing/2014/main" id="{364EA989-3109-40D1-8A32-AAFD92AFE9B3}"/>
              </a:ext>
            </a:extLst>
          </p:cNvPr>
          <p:cNvSpPr txBox="1"/>
          <p:nvPr/>
        </p:nvSpPr>
        <p:spPr>
          <a:xfrm>
            <a:off x="6083561" y="4547732"/>
            <a:ext cx="349456" cy="215444"/>
          </a:xfrm>
          <a:prstGeom prst="rect">
            <a:avLst/>
          </a:prstGeom>
          <a:noFill/>
          <a:effectLst/>
        </p:spPr>
        <p:txBody>
          <a:bodyPr wrap="none" lIns="0" tIns="0" rIns="0" bIns="0" rtlCol="0" anchor="t">
            <a:spAutoFit/>
          </a:bodyPr>
          <a:lstStyle/>
          <a:p>
            <a:pPr algn="ctr"/>
            <a:r>
              <a:rPr lang="en-GB" sz="700" dirty="0">
                <a:solidFill>
                  <a:schemeClr val="tx2"/>
                </a:solidFill>
              </a:rPr>
              <a:t>Manage </a:t>
            </a:r>
            <a:br>
              <a:rPr lang="en-GB" sz="700" dirty="0">
                <a:solidFill>
                  <a:schemeClr val="tx2"/>
                </a:solidFill>
              </a:rPr>
            </a:br>
            <a:r>
              <a:rPr lang="en-GB" sz="700" dirty="0">
                <a:solidFill>
                  <a:schemeClr val="tx2"/>
                </a:solidFill>
              </a:rPr>
              <a:t>activities</a:t>
            </a:r>
          </a:p>
        </p:txBody>
      </p:sp>
      <p:sp>
        <p:nvSpPr>
          <p:cNvPr id="29" name="TextBox 28">
            <a:extLst>
              <a:ext uri="{FF2B5EF4-FFF2-40B4-BE49-F238E27FC236}">
                <a16:creationId xmlns:a16="http://schemas.microsoft.com/office/drawing/2014/main" id="{495B4BC7-1626-4E6A-8BE1-4A8622F073B8}"/>
              </a:ext>
            </a:extLst>
          </p:cNvPr>
          <p:cNvSpPr txBox="1"/>
          <p:nvPr/>
        </p:nvSpPr>
        <p:spPr>
          <a:xfrm>
            <a:off x="7166667" y="2077494"/>
            <a:ext cx="274114" cy="107722"/>
          </a:xfrm>
          <a:prstGeom prst="rect">
            <a:avLst/>
          </a:prstGeom>
          <a:noFill/>
          <a:effectLst/>
        </p:spPr>
        <p:txBody>
          <a:bodyPr wrap="none" lIns="0" tIns="0" rIns="0" bIns="0" rtlCol="0" anchor="t">
            <a:spAutoFit/>
          </a:bodyPr>
          <a:lstStyle/>
          <a:p>
            <a:pPr algn="ctr"/>
            <a:r>
              <a:rPr lang="en-GB" sz="700" dirty="0">
                <a:solidFill>
                  <a:schemeClr val="tx2"/>
                </a:solidFill>
              </a:rPr>
              <a:t>Logout</a:t>
            </a:r>
          </a:p>
        </p:txBody>
      </p:sp>
      <p:sp>
        <p:nvSpPr>
          <p:cNvPr id="30" name="TextBox 29">
            <a:extLst>
              <a:ext uri="{FF2B5EF4-FFF2-40B4-BE49-F238E27FC236}">
                <a16:creationId xmlns:a16="http://schemas.microsoft.com/office/drawing/2014/main" id="{3934E04A-3973-4AD2-979A-3003EC994107}"/>
              </a:ext>
            </a:extLst>
          </p:cNvPr>
          <p:cNvSpPr txBox="1"/>
          <p:nvPr/>
        </p:nvSpPr>
        <p:spPr>
          <a:xfrm>
            <a:off x="7084914" y="2899619"/>
            <a:ext cx="437620" cy="215444"/>
          </a:xfrm>
          <a:prstGeom prst="rect">
            <a:avLst/>
          </a:prstGeom>
          <a:noFill/>
          <a:effectLst/>
        </p:spPr>
        <p:txBody>
          <a:bodyPr wrap="none" lIns="0" tIns="0" rIns="0" bIns="0" rtlCol="0" anchor="t">
            <a:spAutoFit/>
          </a:bodyPr>
          <a:lstStyle/>
          <a:p>
            <a:pPr algn="ctr"/>
            <a:r>
              <a:rPr lang="en-GB" sz="700">
                <a:solidFill>
                  <a:schemeClr val="tx2"/>
                </a:solidFill>
              </a:rPr>
              <a:t>Machinery</a:t>
            </a:r>
            <a:br>
              <a:rPr lang="en-GB" sz="700">
                <a:solidFill>
                  <a:schemeClr val="tx2"/>
                </a:solidFill>
              </a:rPr>
            </a:br>
            <a:r>
              <a:rPr lang="en-GB" sz="700">
                <a:solidFill>
                  <a:schemeClr val="tx2"/>
                </a:solidFill>
              </a:rPr>
              <a:t>breakdown</a:t>
            </a:r>
            <a:endParaRPr lang="en-GB" sz="700" dirty="0">
              <a:solidFill>
                <a:schemeClr val="tx2"/>
              </a:solidFill>
            </a:endParaRPr>
          </a:p>
        </p:txBody>
      </p:sp>
      <p:sp>
        <p:nvSpPr>
          <p:cNvPr id="31" name="TextBox 30">
            <a:extLst>
              <a:ext uri="{FF2B5EF4-FFF2-40B4-BE49-F238E27FC236}">
                <a16:creationId xmlns:a16="http://schemas.microsoft.com/office/drawing/2014/main" id="{CA343166-56F8-4386-8601-B28E8A4C81D1}"/>
              </a:ext>
            </a:extLst>
          </p:cNvPr>
          <p:cNvSpPr txBox="1"/>
          <p:nvPr/>
        </p:nvSpPr>
        <p:spPr>
          <a:xfrm>
            <a:off x="7221177" y="3723675"/>
            <a:ext cx="163506" cy="107722"/>
          </a:xfrm>
          <a:prstGeom prst="rect">
            <a:avLst/>
          </a:prstGeom>
          <a:noFill/>
          <a:effectLst/>
        </p:spPr>
        <p:txBody>
          <a:bodyPr wrap="none" lIns="0" tIns="0" rIns="0" bIns="0" rtlCol="0" anchor="t">
            <a:spAutoFit/>
          </a:bodyPr>
          <a:lstStyle/>
          <a:p>
            <a:pPr algn="ctr"/>
            <a:r>
              <a:rPr lang="en-GB" sz="700" dirty="0">
                <a:solidFill>
                  <a:schemeClr val="tx2"/>
                </a:solidFill>
              </a:rPr>
              <a:t>Mail</a:t>
            </a:r>
          </a:p>
        </p:txBody>
      </p:sp>
      <p:sp>
        <p:nvSpPr>
          <p:cNvPr id="32" name="TextBox 31">
            <a:extLst>
              <a:ext uri="{FF2B5EF4-FFF2-40B4-BE49-F238E27FC236}">
                <a16:creationId xmlns:a16="http://schemas.microsoft.com/office/drawing/2014/main" id="{437753FA-B65F-424E-841F-5B6A43D59A29}"/>
              </a:ext>
            </a:extLst>
          </p:cNvPr>
          <p:cNvSpPr txBox="1"/>
          <p:nvPr/>
        </p:nvSpPr>
        <p:spPr>
          <a:xfrm>
            <a:off x="7141821" y="4547732"/>
            <a:ext cx="323807" cy="215444"/>
          </a:xfrm>
          <a:prstGeom prst="rect">
            <a:avLst/>
          </a:prstGeom>
          <a:noFill/>
          <a:effectLst/>
        </p:spPr>
        <p:txBody>
          <a:bodyPr wrap="none" lIns="0" tIns="0" rIns="0" bIns="0" rtlCol="0" anchor="t">
            <a:spAutoFit/>
          </a:bodyPr>
          <a:lstStyle/>
          <a:p>
            <a:pPr algn="ctr"/>
            <a:r>
              <a:rPr lang="en-GB" sz="700" dirty="0">
                <a:solidFill>
                  <a:schemeClr val="tx2"/>
                </a:solidFill>
              </a:rPr>
              <a:t>Manage</a:t>
            </a:r>
            <a:br>
              <a:rPr lang="en-GB" sz="700" dirty="0">
                <a:solidFill>
                  <a:schemeClr val="tx2"/>
                </a:solidFill>
              </a:rPr>
            </a:br>
            <a:r>
              <a:rPr lang="en-GB" sz="700" dirty="0">
                <a:solidFill>
                  <a:schemeClr val="tx2"/>
                </a:solidFill>
              </a:rPr>
              <a:t>clients</a:t>
            </a:r>
          </a:p>
        </p:txBody>
      </p:sp>
      <p:sp>
        <p:nvSpPr>
          <p:cNvPr id="33" name="TextBox 32">
            <a:extLst>
              <a:ext uri="{FF2B5EF4-FFF2-40B4-BE49-F238E27FC236}">
                <a16:creationId xmlns:a16="http://schemas.microsoft.com/office/drawing/2014/main" id="{EDF611D7-86D2-431A-9012-DD4654CF5F76}"/>
              </a:ext>
            </a:extLst>
          </p:cNvPr>
          <p:cNvSpPr txBox="1"/>
          <p:nvPr/>
        </p:nvSpPr>
        <p:spPr>
          <a:xfrm>
            <a:off x="8200075" y="2077494"/>
            <a:ext cx="298160" cy="107722"/>
          </a:xfrm>
          <a:prstGeom prst="rect">
            <a:avLst/>
          </a:prstGeom>
          <a:noFill/>
          <a:effectLst/>
        </p:spPr>
        <p:txBody>
          <a:bodyPr wrap="none" lIns="0" tIns="0" rIns="0" bIns="0" rtlCol="0" anchor="t">
            <a:spAutoFit/>
          </a:bodyPr>
          <a:lstStyle/>
          <a:p>
            <a:pPr algn="ctr"/>
            <a:r>
              <a:rPr lang="en-GB" sz="700" dirty="0">
                <a:solidFill>
                  <a:schemeClr val="tx2"/>
                </a:solidFill>
              </a:rPr>
              <a:t>Lounge</a:t>
            </a:r>
          </a:p>
        </p:txBody>
      </p:sp>
      <p:sp>
        <p:nvSpPr>
          <p:cNvPr id="34" name="TextBox 33">
            <a:extLst>
              <a:ext uri="{FF2B5EF4-FFF2-40B4-BE49-F238E27FC236}">
                <a16:creationId xmlns:a16="http://schemas.microsoft.com/office/drawing/2014/main" id="{DDC8B2DB-92BC-40B7-9B26-F76679DAD66F}"/>
              </a:ext>
            </a:extLst>
          </p:cNvPr>
          <p:cNvSpPr txBox="1"/>
          <p:nvPr/>
        </p:nvSpPr>
        <p:spPr>
          <a:xfrm>
            <a:off x="8164810" y="2899619"/>
            <a:ext cx="368691" cy="107722"/>
          </a:xfrm>
          <a:prstGeom prst="rect">
            <a:avLst/>
          </a:prstGeom>
          <a:noFill/>
          <a:effectLst/>
        </p:spPr>
        <p:txBody>
          <a:bodyPr wrap="none" lIns="0" tIns="0" rIns="0" bIns="0" rtlCol="0" anchor="t">
            <a:spAutoFit/>
          </a:bodyPr>
          <a:lstStyle/>
          <a:p>
            <a:pPr algn="ctr"/>
            <a:r>
              <a:rPr lang="en-GB" sz="700" dirty="0">
                <a:solidFill>
                  <a:schemeClr val="tx2"/>
                </a:solidFill>
              </a:rPr>
              <a:t>Magnifier</a:t>
            </a:r>
          </a:p>
        </p:txBody>
      </p:sp>
      <p:sp>
        <p:nvSpPr>
          <p:cNvPr id="35" name="TextBox 34">
            <a:extLst>
              <a:ext uri="{FF2B5EF4-FFF2-40B4-BE49-F238E27FC236}">
                <a16:creationId xmlns:a16="http://schemas.microsoft.com/office/drawing/2014/main" id="{89D820CD-6A25-42DA-A7F8-07E203F7CE48}"/>
              </a:ext>
            </a:extLst>
          </p:cNvPr>
          <p:cNvSpPr txBox="1"/>
          <p:nvPr/>
        </p:nvSpPr>
        <p:spPr>
          <a:xfrm>
            <a:off x="8157599" y="3723675"/>
            <a:ext cx="383118" cy="107722"/>
          </a:xfrm>
          <a:prstGeom prst="rect">
            <a:avLst/>
          </a:prstGeom>
          <a:noFill/>
          <a:effectLst/>
        </p:spPr>
        <p:txBody>
          <a:bodyPr wrap="none" lIns="0" tIns="0" rIns="0" bIns="0" rtlCol="0" anchor="t">
            <a:spAutoFit/>
          </a:bodyPr>
          <a:lstStyle/>
          <a:p>
            <a:pPr algn="ctr"/>
            <a:r>
              <a:rPr lang="en-GB" sz="700">
                <a:solidFill>
                  <a:schemeClr val="tx2"/>
                </a:solidFill>
              </a:rPr>
              <a:t>Main dish</a:t>
            </a:r>
            <a:endParaRPr lang="en-GB" sz="700" dirty="0">
              <a:solidFill>
                <a:schemeClr val="tx2"/>
              </a:solidFill>
            </a:endParaRPr>
          </a:p>
        </p:txBody>
      </p:sp>
      <p:sp>
        <p:nvSpPr>
          <p:cNvPr id="36" name="TextBox 35">
            <a:extLst>
              <a:ext uri="{FF2B5EF4-FFF2-40B4-BE49-F238E27FC236}">
                <a16:creationId xmlns:a16="http://schemas.microsoft.com/office/drawing/2014/main" id="{3FA1B0A9-6B4F-48FD-8C40-2A9BFBDCA644}"/>
              </a:ext>
            </a:extLst>
          </p:cNvPr>
          <p:cNvSpPr txBox="1"/>
          <p:nvPr/>
        </p:nvSpPr>
        <p:spPr>
          <a:xfrm>
            <a:off x="8187255" y="4547732"/>
            <a:ext cx="323807" cy="215444"/>
          </a:xfrm>
          <a:prstGeom prst="rect">
            <a:avLst/>
          </a:prstGeom>
          <a:noFill/>
          <a:effectLst/>
        </p:spPr>
        <p:txBody>
          <a:bodyPr wrap="none" lIns="0" tIns="0" rIns="0" bIns="0" rtlCol="0" anchor="t">
            <a:spAutoFit/>
          </a:bodyPr>
          <a:lstStyle/>
          <a:p>
            <a:pPr algn="ctr"/>
            <a:r>
              <a:rPr lang="en-GB" sz="700">
                <a:solidFill>
                  <a:schemeClr val="tx2"/>
                </a:solidFill>
              </a:rPr>
              <a:t>Manage</a:t>
            </a:r>
            <a:br>
              <a:rPr lang="en-GB" sz="700">
                <a:solidFill>
                  <a:schemeClr val="tx2"/>
                </a:solidFill>
              </a:rPr>
            </a:br>
            <a:r>
              <a:rPr lang="en-GB" sz="700">
                <a:solidFill>
                  <a:schemeClr val="tx2"/>
                </a:solidFill>
              </a:rPr>
              <a:t>users</a:t>
            </a:r>
            <a:endParaRPr lang="en-GB" sz="700" dirty="0">
              <a:solidFill>
                <a:schemeClr val="tx2"/>
              </a:solidFill>
            </a:endParaRPr>
          </a:p>
        </p:txBody>
      </p:sp>
      <p:sp>
        <p:nvSpPr>
          <p:cNvPr id="359" name="Freihandform: Form 62">
            <a:extLst>
              <a:ext uri="{FF2B5EF4-FFF2-40B4-BE49-F238E27FC236}">
                <a16:creationId xmlns:a16="http://schemas.microsoft.com/office/drawing/2014/main" id="{80D3D1DD-7548-4838-8970-48531A08A4FA}"/>
              </a:ext>
            </a:extLst>
          </p:cNvPr>
          <p:cNvSpPr>
            <a:spLocks noChangeAspect="1"/>
          </p:cNvSpPr>
          <p:nvPr/>
        </p:nvSpPr>
        <p:spPr>
          <a:xfrm>
            <a:off x="2700468" y="1705356"/>
            <a:ext cx="368898" cy="299728"/>
          </a:xfrm>
          <a:custGeom>
            <a:avLst/>
            <a:gdLst>
              <a:gd name="connsiteX0" fmla="*/ 304800 w 304800"/>
              <a:gd name="connsiteY0" fmla="*/ 200025 h 247650"/>
              <a:gd name="connsiteX1" fmla="*/ 304800 w 304800"/>
              <a:gd name="connsiteY1" fmla="*/ 0 h 247650"/>
              <a:gd name="connsiteX2" fmla="*/ 0 w 304800"/>
              <a:gd name="connsiteY2" fmla="*/ 0 h 247650"/>
              <a:gd name="connsiteX3" fmla="*/ 0 w 304800"/>
              <a:gd name="connsiteY3" fmla="*/ 200025 h 247650"/>
              <a:gd name="connsiteX4" fmla="*/ 142875 w 304800"/>
              <a:gd name="connsiteY4" fmla="*/ 200025 h 247650"/>
              <a:gd name="connsiteX5" fmla="*/ 142875 w 304800"/>
              <a:gd name="connsiteY5" fmla="*/ 228600 h 247650"/>
              <a:gd name="connsiteX6" fmla="*/ 66675 w 304800"/>
              <a:gd name="connsiteY6" fmla="*/ 228600 h 247650"/>
              <a:gd name="connsiteX7" fmla="*/ 66675 w 304800"/>
              <a:gd name="connsiteY7" fmla="*/ 247650 h 247650"/>
              <a:gd name="connsiteX8" fmla="*/ 238125 w 304800"/>
              <a:gd name="connsiteY8" fmla="*/ 247650 h 247650"/>
              <a:gd name="connsiteX9" fmla="*/ 238125 w 304800"/>
              <a:gd name="connsiteY9" fmla="*/ 228600 h 247650"/>
              <a:gd name="connsiteX10" fmla="*/ 161925 w 304800"/>
              <a:gd name="connsiteY10" fmla="*/ 228600 h 247650"/>
              <a:gd name="connsiteX11" fmla="*/ 161925 w 304800"/>
              <a:gd name="connsiteY11" fmla="*/ 200025 h 247650"/>
              <a:gd name="connsiteX12" fmla="*/ 304800 w 304800"/>
              <a:gd name="connsiteY12" fmla="*/ 200025 h 247650"/>
              <a:gd name="connsiteX13" fmla="*/ 19050 w 304800"/>
              <a:gd name="connsiteY13" fmla="*/ 19050 h 247650"/>
              <a:gd name="connsiteX14" fmla="*/ 285750 w 304800"/>
              <a:gd name="connsiteY14" fmla="*/ 19050 h 247650"/>
              <a:gd name="connsiteX15" fmla="*/ 285750 w 304800"/>
              <a:gd name="connsiteY15" fmla="*/ 180975 h 247650"/>
              <a:gd name="connsiteX16" fmla="*/ 19050 w 304800"/>
              <a:gd name="connsiteY16" fmla="*/ 180975 h 247650"/>
              <a:gd name="connsiteX17" fmla="*/ 19050 w 304800"/>
              <a:gd name="connsiteY17" fmla="*/ 19050 h 247650"/>
              <a:gd name="connsiteX18" fmla="*/ 193672 w 304800"/>
              <a:gd name="connsiteY18" fmla="*/ 100013 h 247650"/>
              <a:gd name="connsiteX19" fmla="*/ 123825 w 304800"/>
              <a:gd name="connsiteY19" fmla="*/ 152400 h 247650"/>
              <a:gd name="connsiteX20" fmla="*/ 123825 w 304800"/>
              <a:gd name="connsiteY20" fmla="*/ 47625 h 247650"/>
              <a:gd name="connsiteX21" fmla="*/ 193672 w 304800"/>
              <a:gd name="connsiteY21" fmla="*/ 10001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800" h="247650">
                <a:moveTo>
                  <a:pt x="304800" y="200025"/>
                </a:moveTo>
                <a:lnTo>
                  <a:pt x="304800" y="0"/>
                </a:lnTo>
                <a:lnTo>
                  <a:pt x="0" y="0"/>
                </a:lnTo>
                <a:lnTo>
                  <a:pt x="0" y="200025"/>
                </a:lnTo>
                <a:lnTo>
                  <a:pt x="142875" y="200025"/>
                </a:lnTo>
                <a:lnTo>
                  <a:pt x="142875" y="228600"/>
                </a:lnTo>
                <a:lnTo>
                  <a:pt x="66675" y="228600"/>
                </a:lnTo>
                <a:lnTo>
                  <a:pt x="66675" y="247650"/>
                </a:lnTo>
                <a:lnTo>
                  <a:pt x="238125" y="247650"/>
                </a:lnTo>
                <a:lnTo>
                  <a:pt x="238125" y="228600"/>
                </a:lnTo>
                <a:lnTo>
                  <a:pt x="161925" y="228600"/>
                </a:lnTo>
                <a:lnTo>
                  <a:pt x="161925" y="200025"/>
                </a:lnTo>
                <a:lnTo>
                  <a:pt x="304800" y="200025"/>
                </a:lnTo>
                <a:close/>
                <a:moveTo>
                  <a:pt x="19050" y="19050"/>
                </a:moveTo>
                <a:lnTo>
                  <a:pt x="285750" y="19050"/>
                </a:lnTo>
                <a:lnTo>
                  <a:pt x="285750" y="180975"/>
                </a:lnTo>
                <a:lnTo>
                  <a:pt x="19050" y="180975"/>
                </a:lnTo>
                <a:lnTo>
                  <a:pt x="19050" y="19050"/>
                </a:lnTo>
                <a:close/>
                <a:moveTo>
                  <a:pt x="193672" y="100013"/>
                </a:moveTo>
                <a:lnTo>
                  <a:pt x="123825" y="152400"/>
                </a:lnTo>
                <a:lnTo>
                  <a:pt x="123825" y="47625"/>
                </a:lnTo>
                <a:lnTo>
                  <a:pt x="193672" y="100013"/>
                </a:lnTo>
                <a:close/>
              </a:path>
            </a:pathLst>
          </a:custGeom>
          <a:solidFill>
            <a:schemeClr val="tx2"/>
          </a:solidFill>
          <a:ln w="9525" cap="flat">
            <a:noFill/>
            <a:prstDash val="solid"/>
            <a:miter/>
          </a:ln>
        </p:spPr>
        <p:txBody>
          <a:bodyPr rtlCol="0" anchor="ctr"/>
          <a:lstStyle/>
          <a:p>
            <a:endParaRPr lang="en-GB" dirty="0"/>
          </a:p>
        </p:txBody>
      </p:sp>
      <p:sp>
        <p:nvSpPr>
          <p:cNvPr id="360" name="Freihandform: Form 66">
            <a:extLst>
              <a:ext uri="{FF2B5EF4-FFF2-40B4-BE49-F238E27FC236}">
                <a16:creationId xmlns:a16="http://schemas.microsoft.com/office/drawing/2014/main" id="{28E994A1-B3B6-4A88-BDE7-22706BCDB727}"/>
              </a:ext>
            </a:extLst>
          </p:cNvPr>
          <p:cNvSpPr>
            <a:spLocks noChangeAspect="1"/>
          </p:cNvSpPr>
          <p:nvPr/>
        </p:nvSpPr>
        <p:spPr>
          <a:xfrm>
            <a:off x="639351" y="2519205"/>
            <a:ext cx="309398" cy="299729"/>
          </a:xfrm>
          <a:custGeom>
            <a:avLst/>
            <a:gdLst>
              <a:gd name="connsiteX0" fmla="*/ 259204 w 304800"/>
              <a:gd name="connsiteY0" fmla="*/ 200073 h 295275"/>
              <a:gd name="connsiteX1" fmla="*/ 211731 w 304800"/>
              <a:gd name="connsiteY1" fmla="*/ 200073 h 295275"/>
              <a:gd name="connsiteX2" fmla="*/ 230981 w 304800"/>
              <a:gd name="connsiteY2" fmla="*/ 295361 h 295275"/>
              <a:gd name="connsiteX3" fmla="*/ 174336 w 304800"/>
              <a:gd name="connsiteY3" fmla="*/ 295361 h 295275"/>
              <a:gd name="connsiteX4" fmla="*/ 127435 w 304800"/>
              <a:gd name="connsiteY4" fmla="*/ 200073 h 295275"/>
              <a:gd name="connsiteX5" fmla="*/ 104775 w 304800"/>
              <a:gd name="connsiteY5" fmla="*/ 200073 h 295275"/>
              <a:gd name="connsiteX6" fmla="*/ 104746 w 304800"/>
              <a:gd name="connsiteY6" fmla="*/ 200073 h 295275"/>
              <a:gd name="connsiteX7" fmla="*/ 104775 w 304800"/>
              <a:gd name="connsiteY7" fmla="*/ 19088 h 295275"/>
              <a:gd name="connsiteX8" fmla="*/ 242202 w 304800"/>
              <a:gd name="connsiteY8" fmla="*/ 19088 h 295275"/>
              <a:gd name="connsiteX9" fmla="*/ 304800 w 304800"/>
              <a:gd name="connsiteY9" fmla="*/ 154476 h 295275"/>
              <a:gd name="connsiteX10" fmla="*/ 259204 w 304800"/>
              <a:gd name="connsiteY10" fmla="*/ 200073 h 295275"/>
              <a:gd name="connsiteX11" fmla="*/ 85696 w 304800"/>
              <a:gd name="connsiteY11" fmla="*/ 0 h 295275"/>
              <a:gd name="connsiteX12" fmla="*/ 0 w 304800"/>
              <a:gd name="connsiteY12" fmla="*/ 0 h 295275"/>
              <a:gd name="connsiteX13" fmla="*/ 0 w 304800"/>
              <a:gd name="connsiteY13" fmla="*/ 200073 h 295275"/>
              <a:gd name="connsiteX14" fmla="*/ 85696 w 304800"/>
              <a:gd name="connsiteY14" fmla="*/ 200073 h 295275"/>
              <a:gd name="connsiteX15" fmla="*/ 85696 w 304800"/>
              <a:gd name="connsiteY15" fmla="*/ 0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4800" h="295275">
                <a:moveTo>
                  <a:pt x="259204" y="200073"/>
                </a:moveTo>
                <a:lnTo>
                  <a:pt x="211731" y="200073"/>
                </a:lnTo>
                <a:lnTo>
                  <a:pt x="230981" y="295361"/>
                </a:lnTo>
                <a:lnTo>
                  <a:pt x="174336" y="295361"/>
                </a:lnTo>
                <a:lnTo>
                  <a:pt x="127435" y="200073"/>
                </a:lnTo>
                <a:lnTo>
                  <a:pt x="104775" y="200073"/>
                </a:lnTo>
                <a:lnTo>
                  <a:pt x="104746" y="200073"/>
                </a:lnTo>
                <a:lnTo>
                  <a:pt x="104775" y="19088"/>
                </a:lnTo>
                <a:lnTo>
                  <a:pt x="242202" y="19088"/>
                </a:lnTo>
                <a:lnTo>
                  <a:pt x="304800" y="154476"/>
                </a:lnTo>
                <a:lnTo>
                  <a:pt x="259204" y="200073"/>
                </a:lnTo>
                <a:close/>
                <a:moveTo>
                  <a:pt x="85696" y="0"/>
                </a:moveTo>
                <a:lnTo>
                  <a:pt x="0" y="0"/>
                </a:lnTo>
                <a:lnTo>
                  <a:pt x="0" y="200073"/>
                </a:lnTo>
                <a:lnTo>
                  <a:pt x="85696" y="200073"/>
                </a:lnTo>
                <a:lnTo>
                  <a:pt x="85696" y="0"/>
                </a:lnTo>
                <a:close/>
              </a:path>
            </a:pathLst>
          </a:custGeom>
          <a:solidFill>
            <a:schemeClr val="tx2"/>
          </a:solidFill>
          <a:ln w="9525" cap="flat">
            <a:noFill/>
            <a:prstDash val="solid"/>
            <a:miter/>
          </a:ln>
        </p:spPr>
        <p:txBody>
          <a:bodyPr rtlCol="0" anchor="ctr"/>
          <a:lstStyle/>
          <a:p>
            <a:endParaRPr lang="en-GB" dirty="0"/>
          </a:p>
        </p:txBody>
      </p:sp>
      <p:sp>
        <p:nvSpPr>
          <p:cNvPr id="361" name="Freihandform: Form 70">
            <a:extLst>
              <a:ext uri="{FF2B5EF4-FFF2-40B4-BE49-F238E27FC236}">
                <a16:creationId xmlns:a16="http://schemas.microsoft.com/office/drawing/2014/main" id="{33D07995-4556-4CCC-AE89-FA7CD3195ED2}"/>
              </a:ext>
            </a:extLst>
          </p:cNvPr>
          <p:cNvSpPr>
            <a:spLocks noChangeAspect="1"/>
          </p:cNvSpPr>
          <p:nvPr/>
        </p:nvSpPr>
        <p:spPr>
          <a:xfrm>
            <a:off x="2730774" y="2520282"/>
            <a:ext cx="308286" cy="298652"/>
          </a:xfrm>
          <a:custGeom>
            <a:avLst/>
            <a:gdLst>
              <a:gd name="connsiteX0" fmla="*/ 304800 w 304800"/>
              <a:gd name="connsiteY0" fmla="*/ 140884 h 295275"/>
              <a:gd name="connsiteX1" fmla="*/ 242202 w 304800"/>
              <a:gd name="connsiteY1" fmla="*/ 276273 h 295275"/>
              <a:gd name="connsiteX2" fmla="*/ 104775 w 304800"/>
              <a:gd name="connsiteY2" fmla="*/ 276273 h 295275"/>
              <a:gd name="connsiteX3" fmla="*/ 104746 w 304800"/>
              <a:gd name="connsiteY3" fmla="*/ 95288 h 295275"/>
              <a:gd name="connsiteX4" fmla="*/ 104775 w 304800"/>
              <a:gd name="connsiteY4" fmla="*/ 95288 h 295275"/>
              <a:gd name="connsiteX5" fmla="*/ 127435 w 304800"/>
              <a:gd name="connsiteY5" fmla="*/ 95288 h 295275"/>
              <a:gd name="connsiteX6" fmla="*/ 174336 w 304800"/>
              <a:gd name="connsiteY6" fmla="*/ 0 h 295275"/>
              <a:gd name="connsiteX7" fmla="*/ 230981 w 304800"/>
              <a:gd name="connsiteY7" fmla="*/ 0 h 295275"/>
              <a:gd name="connsiteX8" fmla="*/ 211731 w 304800"/>
              <a:gd name="connsiteY8" fmla="*/ 95288 h 295275"/>
              <a:gd name="connsiteX9" fmla="*/ 259204 w 304800"/>
              <a:gd name="connsiteY9" fmla="*/ 95288 h 295275"/>
              <a:gd name="connsiteX10" fmla="*/ 304800 w 304800"/>
              <a:gd name="connsiteY10" fmla="*/ 140884 h 295275"/>
              <a:gd name="connsiteX11" fmla="*/ 85696 w 304800"/>
              <a:gd name="connsiteY11" fmla="*/ 95288 h 295275"/>
              <a:gd name="connsiteX12" fmla="*/ 0 w 304800"/>
              <a:gd name="connsiteY12" fmla="*/ 95288 h 295275"/>
              <a:gd name="connsiteX13" fmla="*/ 0 w 304800"/>
              <a:gd name="connsiteY13" fmla="*/ 295361 h 295275"/>
              <a:gd name="connsiteX14" fmla="*/ 85696 w 304800"/>
              <a:gd name="connsiteY14" fmla="*/ 295361 h 295275"/>
              <a:gd name="connsiteX15" fmla="*/ 85696 w 304800"/>
              <a:gd name="connsiteY15" fmla="*/ 95288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304800" h="295275">
                <a:moveTo>
                  <a:pt x="304800" y="140884"/>
                </a:moveTo>
                <a:lnTo>
                  <a:pt x="242202" y="276273"/>
                </a:lnTo>
                <a:lnTo>
                  <a:pt x="104775" y="276273"/>
                </a:lnTo>
                <a:lnTo>
                  <a:pt x="104746" y="95288"/>
                </a:lnTo>
                <a:lnTo>
                  <a:pt x="104775" y="95288"/>
                </a:lnTo>
                <a:lnTo>
                  <a:pt x="127435" y="95288"/>
                </a:lnTo>
                <a:lnTo>
                  <a:pt x="174336" y="0"/>
                </a:lnTo>
                <a:lnTo>
                  <a:pt x="230981" y="0"/>
                </a:lnTo>
                <a:lnTo>
                  <a:pt x="211731" y="95288"/>
                </a:lnTo>
                <a:lnTo>
                  <a:pt x="259204" y="95288"/>
                </a:lnTo>
                <a:lnTo>
                  <a:pt x="304800" y="140884"/>
                </a:lnTo>
                <a:close/>
                <a:moveTo>
                  <a:pt x="85696" y="95288"/>
                </a:moveTo>
                <a:lnTo>
                  <a:pt x="0" y="95288"/>
                </a:lnTo>
                <a:lnTo>
                  <a:pt x="0" y="295361"/>
                </a:lnTo>
                <a:lnTo>
                  <a:pt x="85696" y="295361"/>
                </a:lnTo>
                <a:lnTo>
                  <a:pt x="85696" y="95288"/>
                </a:lnTo>
                <a:close/>
              </a:path>
            </a:pathLst>
          </a:custGeom>
          <a:solidFill>
            <a:schemeClr val="tx2"/>
          </a:solidFill>
          <a:ln w="9525" cap="flat">
            <a:noFill/>
            <a:prstDash val="solid"/>
            <a:miter/>
          </a:ln>
        </p:spPr>
        <p:txBody>
          <a:bodyPr rtlCol="0" anchor="ctr"/>
          <a:lstStyle/>
          <a:p>
            <a:endParaRPr lang="en-GB" dirty="0"/>
          </a:p>
        </p:txBody>
      </p:sp>
      <p:pic>
        <p:nvPicPr>
          <p:cNvPr id="367" name="Graphic 366">
            <a:extLst>
              <a:ext uri="{FF2B5EF4-FFF2-40B4-BE49-F238E27FC236}">
                <a16:creationId xmlns:a16="http://schemas.microsoft.com/office/drawing/2014/main" id="{4652075D-06E0-4037-929C-E069BC92E7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77707" y="2412736"/>
            <a:ext cx="406198" cy="406198"/>
          </a:xfrm>
          <a:prstGeom prst="rect">
            <a:avLst/>
          </a:prstGeom>
        </p:spPr>
      </p:pic>
      <p:sp>
        <p:nvSpPr>
          <p:cNvPr id="373" name="Freeform 148">
            <a:extLst>
              <a:ext uri="{FF2B5EF4-FFF2-40B4-BE49-F238E27FC236}">
                <a16:creationId xmlns:a16="http://schemas.microsoft.com/office/drawing/2014/main" id="{86CF8D7C-7DEF-4BBD-9037-3D414C27549C}"/>
              </a:ext>
            </a:extLst>
          </p:cNvPr>
          <p:cNvSpPr>
            <a:spLocks noEditPoints="1"/>
          </p:cNvSpPr>
          <p:nvPr/>
        </p:nvSpPr>
        <p:spPr bwMode="auto">
          <a:xfrm>
            <a:off x="3775730" y="1705354"/>
            <a:ext cx="309244" cy="299729"/>
          </a:xfrm>
          <a:custGeom>
            <a:avLst/>
            <a:gdLst>
              <a:gd name="T0" fmla="*/ 207 w 260"/>
              <a:gd name="T1" fmla="*/ 16 h 252"/>
              <a:gd name="T2" fmla="*/ 97 w 260"/>
              <a:gd name="T3" fmla="*/ 16 h 252"/>
              <a:gd name="T4" fmla="*/ 97 w 260"/>
              <a:gd name="T5" fmla="*/ 0 h 252"/>
              <a:gd name="T6" fmla="*/ 0 w 260"/>
              <a:gd name="T7" fmla="*/ 0 h 252"/>
              <a:gd name="T8" fmla="*/ 0 w 260"/>
              <a:gd name="T9" fmla="*/ 171 h 252"/>
              <a:gd name="T10" fmla="*/ 89 w 260"/>
              <a:gd name="T11" fmla="*/ 171 h 252"/>
              <a:gd name="T12" fmla="*/ 97 w 260"/>
              <a:gd name="T13" fmla="*/ 171 h 252"/>
              <a:gd name="T14" fmla="*/ 110 w 260"/>
              <a:gd name="T15" fmla="*/ 171 h 252"/>
              <a:gd name="T16" fmla="*/ 148 w 260"/>
              <a:gd name="T17" fmla="*/ 252 h 252"/>
              <a:gd name="T18" fmla="*/ 197 w 260"/>
              <a:gd name="T19" fmla="*/ 252 h 252"/>
              <a:gd name="T20" fmla="*/ 181 w 260"/>
              <a:gd name="T21" fmla="*/ 171 h 252"/>
              <a:gd name="T22" fmla="*/ 221 w 260"/>
              <a:gd name="T23" fmla="*/ 171 h 252"/>
              <a:gd name="T24" fmla="*/ 260 w 260"/>
              <a:gd name="T25" fmla="*/ 132 h 252"/>
              <a:gd name="T26" fmla="*/ 207 w 260"/>
              <a:gd name="T27" fmla="*/ 16 h 252"/>
              <a:gd name="T28" fmla="*/ 81 w 260"/>
              <a:gd name="T29" fmla="*/ 155 h 252"/>
              <a:gd name="T30" fmla="*/ 16 w 260"/>
              <a:gd name="T31" fmla="*/ 155 h 252"/>
              <a:gd name="T32" fmla="*/ 16 w 260"/>
              <a:gd name="T33" fmla="*/ 16 h 252"/>
              <a:gd name="T34" fmla="*/ 81 w 260"/>
              <a:gd name="T35" fmla="*/ 16 h 252"/>
              <a:gd name="T36" fmla="*/ 81 w 260"/>
              <a:gd name="T37" fmla="*/ 155 h 252"/>
              <a:gd name="T38" fmla="*/ 197 w 260"/>
              <a:gd name="T39" fmla="*/ 33 h 252"/>
              <a:gd name="T40" fmla="*/ 240 w 260"/>
              <a:gd name="T41" fmla="*/ 128 h 252"/>
              <a:gd name="T42" fmla="*/ 215 w 260"/>
              <a:gd name="T43" fmla="*/ 155 h 252"/>
              <a:gd name="T44" fmla="*/ 160 w 260"/>
              <a:gd name="T45" fmla="*/ 155 h 252"/>
              <a:gd name="T46" fmla="*/ 177 w 260"/>
              <a:gd name="T47" fmla="*/ 236 h 252"/>
              <a:gd name="T48" fmla="*/ 158 w 260"/>
              <a:gd name="T49" fmla="*/ 236 h 252"/>
              <a:gd name="T50" fmla="*/ 118 w 260"/>
              <a:gd name="T51" fmla="*/ 155 h 252"/>
              <a:gd name="T52" fmla="*/ 97 w 260"/>
              <a:gd name="T53" fmla="*/ 155 h 252"/>
              <a:gd name="T54" fmla="*/ 97 w 260"/>
              <a:gd name="T55" fmla="*/ 33 h 252"/>
              <a:gd name="T56" fmla="*/ 197 w 260"/>
              <a:gd name="T57" fmla="*/ 33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0" h="252">
                <a:moveTo>
                  <a:pt x="207" y="16"/>
                </a:moveTo>
                <a:lnTo>
                  <a:pt x="97" y="16"/>
                </a:lnTo>
                <a:lnTo>
                  <a:pt x="97" y="0"/>
                </a:lnTo>
                <a:lnTo>
                  <a:pt x="0" y="0"/>
                </a:lnTo>
                <a:lnTo>
                  <a:pt x="0" y="171"/>
                </a:lnTo>
                <a:lnTo>
                  <a:pt x="89" y="171"/>
                </a:lnTo>
                <a:lnTo>
                  <a:pt x="97" y="171"/>
                </a:lnTo>
                <a:lnTo>
                  <a:pt x="110" y="171"/>
                </a:lnTo>
                <a:lnTo>
                  <a:pt x="148" y="252"/>
                </a:lnTo>
                <a:lnTo>
                  <a:pt x="197" y="252"/>
                </a:lnTo>
                <a:lnTo>
                  <a:pt x="181" y="171"/>
                </a:lnTo>
                <a:lnTo>
                  <a:pt x="221" y="171"/>
                </a:lnTo>
                <a:lnTo>
                  <a:pt x="260" y="132"/>
                </a:lnTo>
                <a:lnTo>
                  <a:pt x="207" y="16"/>
                </a:lnTo>
                <a:close/>
                <a:moveTo>
                  <a:pt x="81" y="155"/>
                </a:moveTo>
                <a:lnTo>
                  <a:pt x="16" y="155"/>
                </a:lnTo>
                <a:lnTo>
                  <a:pt x="16" y="16"/>
                </a:lnTo>
                <a:lnTo>
                  <a:pt x="81" y="16"/>
                </a:lnTo>
                <a:lnTo>
                  <a:pt x="81" y="155"/>
                </a:lnTo>
                <a:close/>
                <a:moveTo>
                  <a:pt x="197" y="33"/>
                </a:moveTo>
                <a:lnTo>
                  <a:pt x="240" y="128"/>
                </a:lnTo>
                <a:lnTo>
                  <a:pt x="215" y="155"/>
                </a:lnTo>
                <a:lnTo>
                  <a:pt x="160" y="155"/>
                </a:lnTo>
                <a:lnTo>
                  <a:pt x="177" y="236"/>
                </a:lnTo>
                <a:lnTo>
                  <a:pt x="158" y="236"/>
                </a:lnTo>
                <a:lnTo>
                  <a:pt x="118" y="155"/>
                </a:lnTo>
                <a:lnTo>
                  <a:pt x="97" y="155"/>
                </a:lnTo>
                <a:lnTo>
                  <a:pt x="97" y="33"/>
                </a:lnTo>
                <a:lnTo>
                  <a:pt x="197" y="3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4" name="Freeform 152">
            <a:extLst>
              <a:ext uri="{FF2B5EF4-FFF2-40B4-BE49-F238E27FC236}">
                <a16:creationId xmlns:a16="http://schemas.microsoft.com/office/drawing/2014/main" id="{24BFD4C8-9A00-427E-BC5B-0D04C5AB61F6}"/>
              </a:ext>
            </a:extLst>
          </p:cNvPr>
          <p:cNvSpPr>
            <a:spLocks noChangeAspect="1" noEditPoints="1"/>
          </p:cNvSpPr>
          <p:nvPr/>
        </p:nvSpPr>
        <p:spPr bwMode="auto">
          <a:xfrm>
            <a:off x="1685340" y="2520134"/>
            <a:ext cx="308286" cy="298800"/>
          </a:xfrm>
          <a:custGeom>
            <a:avLst/>
            <a:gdLst>
              <a:gd name="T0" fmla="*/ 260 w 260"/>
              <a:gd name="T1" fmla="*/ 120 h 252"/>
              <a:gd name="T2" fmla="*/ 221 w 260"/>
              <a:gd name="T3" fmla="*/ 81 h 252"/>
              <a:gd name="T4" fmla="*/ 181 w 260"/>
              <a:gd name="T5" fmla="*/ 81 h 252"/>
              <a:gd name="T6" fmla="*/ 197 w 260"/>
              <a:gd name="T7" fmla="*/ 0 h 252"/>
              <a:gd name="T8" fmla="*/ 148 w 260"/>
              <a:gd name="T9" fmla="*/ 0 h 252"/>
              <a:gd name="T10" fmla="*/ 110 w 260"/>
              <a:gd name="T11" fmla="*/ 81 h 252"/>
              <a:gd name="T12" fmla="*/ 97 w 260"/>
              <a:gd name="T13" fmla="*/ 81 h 252"/>
              <a:gd name="T14" fmla="*/ 89 w 260"/>
              <a:gd name="T15" fmla="*/ 81 h 252"/>
              <a:gd name="T16" fmla="*/ 0 w 260"/>
              <a:gd name="T17" fmla="*/ 81 h 252"/>
              <a:gd name="T18" fmla="*/ 0 w 260"/>
              <a:gd name="T19" fmla="*/ 252 h 252"/>
              <a:gd name="T20" fmla="*/ 97 w 260"/>
              <a:gd name="T21" fmla="*/ 252 h 252"/>
              <a:gd name="T22" fmla="*/ 97 w 260"/>
              <a:gd name="T23" fmla="*/ 236 h 252"/>
              <a:gd name="T24" fmla="*/ 207 w 260"/>
              <a:gd name="T25" fmla="*/ 236 h 252"/>
              <a:gd name="T26" fmla="*/ 260 w 260"/>
              <a:gd name="T27" fmla="*/ 120 h 252"/>
              <a:gd name="T28" fmla="*/ 81 w 260"/>
              <a:gd name="T29" fmla="*/ 236 h 252"/>
              <a:gd name="T30" fmla="*/ 16 w 260"/>
              <a:gd name="T31" fmla="*/ 236 h 252"/>
              <a:gd name="T32" fmla="*/ 16 w 260"/>
              <a:gd name="T33" fmla="*/ 98 h 252"/>
              <a:gd name="T34" fmla="*/ 81 w 260"/>
              <a:gd name="T35" fmla="*/ 98 h 252"/>
              <a:gd name="T36" fmla="*/ 81 w 260"/>
              <a:gd name="T37" fmla="*/ 236 h 252"/>
              <a:gd name="T38" fmla="*/ 97 w 260"/>
              <a:gd name="T39" fmla="*/ 219 h 252"/>
              <a:gd name="T40" fmla="*/ 97 w 260"/>
              <a:gd name="T41" fmla="*/ 98 h 252"/>
              <a:gd name="T42" fmla="*/ 118 w 260"/>
              <a:gd name="T43" fmla="*/ 98 h 252"/>
              <a:gd name="T44" fmla="*/ 158 w 260"/>
              <a:gd name="T45" fmla="*/ 16 h 252"/>
              <a:gd name="T46" fmla="*/ 177 w 260"/>
              <a:gd name="T47" fmla="*/ 16 h 252"/>
              <a:gd name="T48" fmla="*/ 160 w 260"/>
              <a:gd name="T49" fmla="*/ 98 h 252"/>
              <a:gd name="T50" fmla="*/ 215 w 260"/>
              <a:gd name="T51" fmla="*/ 98 h 252"/>
              <a:gd name="T52" fmla="*/ 240 w 260"/>
              <a:gd name="T53" fmla="*/ 124 h 252"/>
              <a:gd name="T54" fmla="*/ 197 w 260"/>
              <a:gd name="T55" fmla="*/ 219 h 252"/>
              <a:gd name="T56" fmla="*/ 97 w 260"/>
              <a:gd name="T57" fmla="*/ 219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0" h="252">
                <a:moveTo>
                  <a:pt x="260" y="120"/>
                </a:moveTo>
                <a:lnTo>
                  <a:pt x="221" y="81"/>
                </a:lnTo>
                <a:lnTo>
                  <a:pt x="181" y="81"/>
                </a:lnTo>
                <a:lnTo>
                  <a:pt x="197" y="0"/>
                </a:lnTo>
                <a:lnTo>
                  <a:pt x="148" y="0"/>
                </a:lnTo>
                <a:lnTo>
                  <a:pt x="110" y="81"/>
                </a:lnTo>
                <a:lnTo>
                  <a:pt x="97" y="81"/>
                </a:lnTo>
                <a:lnTo>
                  <a:pt x="89" y="81"/>
                </a:lnTo>
                <a:lnTo>
                  <a:pt x="0" y="81"/>
                </a:lnTo>
                <a:lnTo>
                  <a:pt x="0" y="252"/>
                </a:lnTo>
                <a:lnTo>
                  <a:pt x="97" y="252"/>
                </a:lnTo>
                <a:lnTo>
                  <a:pt x="97" y="236"/>
                </a:lnTo>
                <a:lnTo>
                  <a:pt x="207" y="236"/>
                </a:lnTo>
                <a:lnTo>
                  <a:pt x="260" y="120"/>
                </a:lnTo>
                <a:close/>
                <a:moveTo>
                  <a:pt x="81" y="236"/>
                </a:moveTo>
                <a:lnTo>
                  <a:pt x="16" y="236"/>
                </a:lnTo>
                <a:lnTo>
                  <a:pt x="16" y="98"/>
                </a:lnTo>
                <a:lnTo>
                  <a:pt x="81" y="98"/>
                </a:lnTo>
                <a:lnTo>
                  <a:pt x="81" y="236"/>
                </a:lnTo>
                <a:close/>
                <a:moveTo>
                  <a:pt x="97" y="219"/>
                </a:moveTo>
                <a:lnTo>
                  <a:pt x="97" y="98"/>
                </a:lnTo>
                <a:lnTo>
                  <a:pt x="118" y="98"/>
                </a:lnTo>
                <a:lnTo>
                  <a:pt x="158" y="16"/>
                </a:lnTo>
                <a:lnTo>
                  <a:pt x="177" y="16"/>
                </a:lnTo>
                <a:lnTo>
                  <a:pt x="160" y="98"/>
                </a:lnTo>
                <a:lnTo>
                  <a:pt x="215" y="98"/>
                </a:lnTo>
                <a:lnTo>
                  <a:pt x="240" y="124"/>
                </a:lnTo>
                <a:lnTo>
                  <a:pt x="197" y="219"/>
                </a:lnTo>
                <a:lnTo>
                  <a:pt x="97" y="21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5" name="Freeform 9">
            <a:extLst>
              <a:ext uri="{FF2B5EF4-FFF2-40B4-BE49-F238E27FC236}">
                <a16:creationId xmlns:a16="http://schemas.microsoft.com/office/drawing/2014/main" id="{AAB5B507-A0CA-4EED-B6E9-154E4D9EBCEE}"/>
              </a:ext>
            </a:extLst>
          </p:cNvPr>
          <p:cNvSpPr>
            <a:spLocks noEditPoints="1"/>
          </p:cNvSpPr>
          <p:nvPr/>
        </p:nvSpPr>
        <p:spPr bwMode="auto">
          <a:xfrm>
            <a:off x="3723183" y="2404596"/>
            <a:ext cx="414338" cy="414338"/>
          </a:xfrm>
          <a:custGeom>
            <a:avLst/>
            <a:gdLst>
              <a:gd name="T0" fmla="*/ 110 w 261"/>
              <a:gd name="T1" fmla="*/ 86 h 261"/>
              <a:gd name="T2" fmla="*/ 137 w 261"/>
              <a:gd name="T3" fmla="*/ 112 h 261"/>
              <a:gd name="T4" fmla="*/ 112 w 261"/>
              <a:gd name="T5" fmla="*/ 137 h 261"/>
              <a:gd name="T6" fmla="*/ 86 w 261"/>
              <a:gd name="T7" fmla="*/ 110 h 261"/>
              <a:gd name="T8" fmla="*/ 0 w 261"/>
              <a:gd name="T9" fmla="*/ 198 h 261"/>
              <a:gd name="T10" fmla="*/ 63 w 261"/>
              <a:gd name="T11" fmla="*/ 261 h 261"/>
              <a:gd name="T12" fmla="*/ 151 w 261"/>
              <a:gd name="T13" fmla="*/ 175 h 261"/>
              <a:gd name="T14" fmla="*/ 124 w 261"/>
              <a:gd name="T15" fmla="*/ 149 h 261"/>
              <a:gd name="T16" fmla="*/ 149 w 261"/>
              <a:gd name="T17" fmla="*/ 124 h 261"/>
              <a:gd name="T18" fmla="*/ 175 w 261"/>
              <a:gd name="T19" fmla="*/ 151 h 261"/>
              <a:gd name="T20" fmla="*/ 261 w 261"/>
              <a:gd name="T21" fmla="*/ 63 h 261"/>
              <a:gd name="T22" fmla="*/ 198 w 261"/>
              <a:gd name="T23" fmla="*/ 0 h 261"/>
              <a:gd name="T24" fmla="*/ 110 w 261"/>
              <a:gd name="T25" fmla="*/ 86 h 261"/>
              <a:gd name="T26" fmla="*/ 126 w 261"/>
              <a:gd name="T27" fmla="*/ 175 h 261"/>
              <a:gd name="T28" fmla="*/ 63 w 261"/>
              <a:gd name="T29" fmla="*/ 238 h 261"/>
              <a:gd name="T30" fmla="*/ 22 w 261"/>
              <a:gd name="T31" fmla="*/ 198 h 261"/>
              <a:gd name="T32" fmla="*/ 86 w 261"/>
              <a:gd name="T33" fmla="*/ 135 h 261"/>
              <a:gd name="T34" fmla="*/ 102 w 261"/>
              <a:gd name="T35" fmla="*/ 149 h 261"/>
              <a:gd name="T36" fmla="*/ 79 w 261"/>
              <a:gd name="T37" fmla="*/ 171 h 261"/>
              <a:gd name="T38" fmla="*/ 90 w 261"/>
              <a:gd name="T39" fmla="*/ 181 h 261"/>
              <a:gd name="T40" fmla="*/ 112 w 261"/>
              <a:gd name="T41" fmla="*/ 161 h 261"/>
              <a:gd name="T42" fmla="*/ 126 w 261"/>
              <a:gd name="T43" fmla="*/ 175 h 261"/>
              <a:gd name="T44" fmla="*/ 238 w 261"/>
              <a:gd name="T45" fmla="*/ 63 h 261"/>
              <a:gd name="T46" fmla="*/ 175 w 261"/>
              <a:gd name="T47" fmla="*/ 126 h 261"/>
              <a:gd name="T48" fmla="*/ 161 w 261"/>
              <a:gd name="T49" fmla="*/ 112 h 261"/>
              <a:gd name="T50" fmla="*/ 181 w 261"/>
              <a:gd name="T51" fmla="*/ 90 h 261"/>
              <a:gd name="T52" fmla="*/ 171 w 261"/>
              <a:gd name="T53" fmla="*/ 79 h 261"/>
              <a:gd name="T54" fmla="*/ 149 w 261"/>
              <a:gd name="T55" fmla="*/ 102 h 261"/>
              <a:gd name="T56" fmla="*/ 135 w 261"/>
              <a:gd name="T57" fmla="*/ 86 h 261"/>
              <a:gd name="T58" fmla="*/ 198 w 261"/>
              <a:gd name="T59" fmla="*/ 22 h 261"/>
              <a:gd name="T60" fmla="*/ 238 w 261"/>
              <a:gd name="T61" fmla="*/ 63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1" h="261">
                <a:moveTo>
                  <a:pt x="110" y="86"/>
                </a:moveTo>
                <a:lnTo>
                  <a:pt x="137" y="112"/>
                </a:lnTo>
                <a:lnTo>
                  <a:pt x="112" y="137"/>
                </a:lnTo>
                <a:lnTo>
                  <a:pt x="86" y="110"/>
                </a:lnTo>
                <a:lnTo>
                  <a:pt x="0" y="198"/>
                </a:lnTo>
                <a:lnTo>
                  <a:pt x="63" y="261"/>
                </a:lnTo>
                <a:lnTo>
                  <a:pt x="151" y="175"/>
                </a:lnTo>
                <a:lnTo>
                  <a:pt x="124" y="149"/>
                </a:lnTo>
                <a:lnTo>
                  <a:pt x="149" y="124"/>
                </a:lnTo>
                <a:lnTo>
                  <a:pt x="175" y="151"/>
                </a:lnTo>
                <a:lnTo>
                  <a:pt x="261" y="63"/>
                </a:lnTo>
                <a:lnTo>
                  <a:pt x="198" y="0"/>
                </a:lnTo>
                <a:lnTo>
                  <a:pt x="110" y="86"/>
                </a:lnTo>
                <a:close/>
                <a:moveTo>
                  <a:pt x="126" y="175"/>
                </a:moveTo>
                <a:lnTo>
                  <a:pt x="63" y="238"/>
                </a:lnTo>
                <a:lnTo>
                  <a:pt x="22" y="198"/>
                </a:lnTo>
                <a:lnTo>
                  <a:pt x="86" y="135"/>
                </a:lnTo>
                <a:lnTo>
                  <a:pt x="102" y="149"/>
                </a:lnTo>
                <a:lnTo>
                  <a:pt x="79" y="171"/>
                </a:lnTo>
                <a:lnTo>
                  <a:pt x="90" y="181"/>
                </a:lnTo>
                <a:lnTo>
                  <a:pt x="112" y="161"/>
                </a:lnTo>
                <a:lnTo>
                  <a:pt x="126" y="175"/>
                </a:lnTo>
                <a:close/>
                <a:moveTo>
                  <a:pt x="238" y="63"/>
                </a:moveTo>
                <a:lnTo>
                  <a:pt x="175" y="126"/>
                </a:lnTo>
                <a:lnTo>
                  <a:pt x="161" y="112"/>
                </a:lnTo>
                <a:lnTo>
                  <a:pt x="181" y="90"/>
                </a:lnTo>
                <a:lnTo>
                  <a:pt x="171" y="79"/>
                </a:lnTo>
                <a:lnTo>
                  <a:pt x="149" y="102"/>
                </a:lnTo>
                <a:lnTo>
                  <a:pt x="135" y="86"/>
                </a:lnTo>
                <a:lnTo>
                  <a:pt x="198" y="22"/>
                </a:lnTo>
                <a:lnTo>
                  <a:pt x="238" y="63"/>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6" name="Freeform 13">
            <a:extLst>
              <a:ext uri="{FF2B5EF4-FFF2-40B4-BE49-F238E27FC236}">
                <a16:creationId xmlns:a16="http://schemas.microsoft.com/office/drawing/2014/main" id="{438473CD-583A-4AC9-9CE5-65343C6439FE}"/>
              </a:ext>
            </a:extLst>
          </p:cNvPr>
          <p:cNvSpPr>
            <a:spLocks noEditPoints="1"/>
          </p:cNvSpPr>
          <p:nvPr/>
        </p:nvSpPr>
        <p:spPr bwMode="auto">
          <a:xfrm>
            <a:off x="586881" y="3420485"/>
            <a:ext cx="414338" cy="187325"/>
          </a:xfrm>
          <a:custGeom>
            <a:avLst/>
            <a:gdLst>
              <a:gd name="T0" fmla="*/ 96 w 128"/>
              <a:gd name="T1" fmla="*/ 32 h 56"/>
              <a:gd name="T2" fmla="*/ 32 w 128"/>
              <a:gd name="T3" fmla="*/ 32 h 56"/>
              <a:gd name="T4" fmla="*/ 32 w 128"/>
              <a:gd name="T5" fmla="*/ 24 h 56"/>
              <a:gd name="T6" fmla="*/ 96 w 128"/>
              <a:gd name="T7" fmla="*/ 24 h 56"/>
              <a:gd name="T8" fmla="*/ 96 w 128"/>
              <a:gd name="T9" fmla="*/ 32 h 56"/>
              <a:gd name="T10" fmla="*/ 99 w 128"/>
              <a:gd name="T11" fmla="*/ 48 h 56"/>
              <a:gd name="T12" fmla="*/ 80 w 128"/>
              <a:gd name="T13" fmla="*/ 48 h 56"/>
              <a:gd name="T14" fmla="*/ 80 w 128"/>
              <a:gd name="T15" fmla="*/ 48 h 56"/>
              <a:gd name="T16" fmla="*/ 80 w 128"/>
              <a:gd name="T17" fmla="*/ 56 h 56"/>
              <a:gd name="T18" fmla="*/ 100 w 128"/>
              <a:gd name="T19" fmla="*/ 56 h 56"/>
              <a:gd name="T20" fmla="*/ 128 w 128"/>
              <a:gd name="T21" fmla="*/ 28 h 56"/>
              <a:gd name="T22" fmla="*/ 100 w 128"/>
              <a:gd name="T23" fmla="*/ 0 h 56"/>
              <a:gd name="T24" fmla="*/ 80 w 128"/>
              <a:gd name="T25" fmla="*/ 0 h 56"/>
              <a:gd name="T26" fmla="*/ 80 w 128"/>
              <a:gd name="T27" fmla="*/ 8 h 56"/>
              <a:gd name="T28" fmla="*/ 80 w 128"/>
              <a:gd name="T29" fmla="*/ 8 h 56"/>
              <a:gd name="T30" fmla="*/ 100 w 128"/>
              <a:gd name="T31" fmla="*/ 8 h 56"/>
              <a:gd name="T32" fmla="*/ 120 w 128"/>
              <a:gd name="T33" fmla="*/ 28 h 56"/>
              <a:gd name="T34" fmla="*/ 100 w 128"/>
              <a:gd name="T35" fmla="*/ 48 h 56"/>
              <a:gd name="T36" fmla="*/ 99 w 128"/>
              <a:gd name="T37" fmla="*/ 48 h 56"/>
              <a:gd name="T38" fmla="*/ 28 w 128"/>
              <a:gd name="T39" fmla="*/ 48 h 56"/>
              <a:gd name="T40" fmla="*/ 8 w 128"/>
              <a:gd name="T41" fmla="*/ 28 h 56"/>
              <a:gd name="T42" fmla="*/ 28 w 128"/>
              <a:gd name="T43" fmla="*/ 8 h 56"/>
              <a:gd name="T44" fmla="*/ 48 w 128"/>
              <a:gd name="T45" fmla="*/ 8 h 56"/>
              <a:gd name="T46" fmla="*/ 48 w 128"/>
              <a:gd name="T47" fmla="*/ 8 h 56"/>
              <a:gd name="T48" fmla="*/ 48 w 128"/>
              <a:gd name="T49" fmla="*/ 0 h 56"/>
              <a:gd name="T50" fmla="*/ 28 w 128"/>
              <a:gd name="T51" fmla="*/ 0 h 56"/>
              <a:gd name="T52" fmla="*/ 0 w 128"/>
              <a:gd name="T53" fmla="*/ 28 h 56"/>
              <a:gd name="T54" fmla="*/ 28 w 128"/>
              <a:gd name="T55" fmla="*/ 56 h 56"/>
              <a:gd name="T56" fmla="*/ 48 w 128"/>
              <a:gd name="T57" fmla="*/ 56 h 56"/>
              <a:gd name="T58" fmla="*/ 48 w 128"/>
              <a:gd name="T59" fmla="*/ 48 h 56"/>
              <a:gd name="T60" fmla="*/ 48 w 128"/>
              <a:gd name="T61" fmla="*/ 48 h 56"/>
              <a:gd name="T62" fmla="*/ 28 w 128"/>
              <a:gd name="T63" fmla="*/ 4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8" h="56">
                <a:moveTo>
                  <a:pt x="96" y="32"/>
                </a:moveTo>
                <a:cubicBezTo>
                  <a:pt x="32" y="32"/>
                  <a:pt x="32" y="32"/>
                  <a:pt x="32" y="32"/>
                </a:cubicBezTo>
                <a:cubicBezTo>
                  <a:pt x="32" y="24"/>
                  <a:pt x="32" y="24"/>
                  <a:pt x="32" y="24"/>
                </a:cubicBezTo>
                <a:cubicBezTo>
                  <a:pt x="96" y="24"/>
                  <a:pt x="96" y="24"/>
                  <a:pt x="96" y="24"/>
                </a:cubicBezTo>
                <a:lnTo>
                  <a:pt x="96" y="32"/>
                </a:lnTo>
                <a:close/>
                <a:moveTo>
                  <a:pt x="99" y="48"/>
                </a:moveTo>
                <a:cubicBezTo>
                  <a:pt x="80" y="48"/>
                  <a:pt x="80" y="48"/>
                  <a:pt x="80" y="48"/>
                </a:cubicBezTo>
                <a:cubicBezTo>
                  <a:pt x="80" y="48"/>
                  <a:pt x="80" y="48"/>
                  <a:pt x="80" y="48"/>
                </a:cubicBezTo>
                <a:cubicBezTo>
                  <a:pt x="80" y="56"/>
                  <a:pt x="80" y="56"/>
                  <a:pt x="80" y="56"/>
                </a:cubicBezTo>
                <a:cubicBezTo>
                  <a:pt x="100" y="56"/>
                  <a:pt x="100" y="56"/>
                  <a:pt x="100" y="56"/>
                </a:cubicBezTo>
                <a:cubicBezTo>
                  <a:pt x="115" y="56"/>
                  <a:pt x="128" y="43"/>
                  <a:pt x="128" y="28"/>
                </a:cubicBezTo>
                <a:cubicBezTo>
                  <a:pt x="128" y="13"/>
                  <a:pt x="115" y="0"/>
                  <a:pt x="100" y="0"/>
                </a:cubicBezTo>
                <a:cubicBezTo>
                  <a:pt x="80" y="0"/>
                  <a:pt x="80" y="0"/>
                  <a:pt x="80" y="0"/>
                </a:cubicBezTo>
                <a:cubicBezTo>
                  <a:pt x="80" y="8"/>
                  <a:pt x="80" y="8"/>
                  <a:pt x="80" y="8"/>
                </a:cubicBezTo>
                <a:cubicBezTo>
                  <a:pt x="80" y="8"/>
                  <a:pt x="80" y="8"/>
                  <a:pt x="80" y="8"/>
                </a:cubicBezTo>
                <a:cubicBezTo>
                  <a:pt x="100" y="8"/>
                  <a:pt x="100" y="8"/>
                  <a:pt x="100" y="8"/>
                </a:cubicBezTo>
                <a:cubicBezTo>
                  <a:pt x="111" y="8"/>
                  <a:pt x="120" y="17"/>
                  <a:pt x="120" y="28"/>
                </a:cubicBezTo>
                <a:cubicBezTo>
                  <a:pt x="120" y="39"/>
                  <a:pt x="111" y="48"/>
                  <a:pt x="100" y="48"/>
                </a:cubicBezTo>
                <a:lnTo>
                  <a:pt x="99" y="48"/>
                </a:lnTo>
                <a:close/>
                <a:moveTo>
                  <a:pt x="28" y="48"/>
                </a:moveTo>
                <a:cubicBezTo>
                  <a:pt x="17" y="48"/>
                  <a:pt x="8" y="39"/>
                  <a:pt x="8" y="28"/>
                </a:cubicBezTo>
                <a:cubicBezTo>
                  <a:pt x="8" y="17"/>
                  <a:pt x="17" y="8"/>
                  <a:pt x="28" y="8"/>
                </a:cubicBezTo>
                <a:cubicBezTo>
                  <a:pt x="48" y="8"/>
                  <a:pt x="48" y="8"/>
                  <a:pt x="48" y="8"/>
                </a:cubicBezTo>
                <a:cubicBezTo>
                  <a:pt x="48" y="8"/>
                  <a:pt x="48" y="8"/>
                  <a:pt x="48" y="8"/>
                </a:cubicBezTo>
                <a:cubicBezTo>
                  <a:pt x="48" y="0"/>
                  <a:pt x="48" y="0"/>
                  <a:pt x="48" y="0"/>
                </a:cubicBezTo>
                <a:cubicBezTo>
                  <a:pt x="28" y="0"/>
                  <a:pt x="28" y="0"/>
                  <a:pt x="28" y="0"/>
                </a:cubicBezTo>
                <a:cubicBezTo>
                  <a:pt x="13" y="0"/>
                  <a:pt x="0" y="13"/>
                  <a:pt x="0" y="28"/>
                </a:cubicBezTo>
                <a:cubicBezTo>
                  <a:pt x="0" y="43"/>
                  <a:pt x="13" y="56"/>
                  <a:pt x="28" y="56"/>
                </a:cubicBezTo>
                <a:cubicBezTo>
                  <a:pt x="48" y="56"/>
                  <a:pt x="48" y="56"/>
                  <a:pt x="48" y="56"/>
                </a:cubicBezTo>
                <a:cubicBezTo>
                  <a:pt x="48" y="48"/>
                  <a:pt x="48" y="48"/>
                  <a:pt x="48" y="48"/>
                </a:cubicBezTo>
                <a:cubicBezTo>
                  <a:pt x="48" y="48"/>
                  <a:pt x="48" y="48"/>
                  <a:pt x="48" y="48"/>
                </a:cubicBezTo>
                <a:lnTo>
                  <a:pt x="28" y="4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77" name="Freeform 5">
            <a:extLst>
              <a:ext uri="{FF2B5EF4-FFF2-40B4-BE49-F238E27FC236}">
                <a16:creationId xmlns:a16="http://schemas.microsoft.com/office/drawing/2014/main" id="{3CFA7279-B622-4A77-8DC8-9AA80A37DC02}"/>
              </a:ext>
            </a:extLst>
          </p:cNvPr>
          <p:cNvSpPr>
            <a:spLocks noEditPoints="1"/>
          </p:cNvSpPr>
          <p:nvPr/>
        </p:nvSpPr>
        <p:spPr bwMode="auto">
          <a:xfrm>
            <a:off x="1632314" y="1666946"/>
            <a:ext cx="414338" cy="338138"/>
          </a:xfrm>
          <a:custGeom>
            <a:avLst/>
            <a:gdLst>
              <a:gd name="T0" fmla="*/ 94 w 128"/>
              <a:gd name="T1" fmla="*/ 48 h 104"/>
              <a:gd name="T2" fmla="*/ 82 w 128"/>
              <a:gd name="T3" fmla="*/ 36 h 104"/>
              <a:gd name="T4" fmla="*/ 70 w 128"/>
              <a:gd name="T5" fmla="*/ 48 h 104"/>
              <a:gd name="T6" fmla="*/ 82 w 128"/>
              <a:gd name="T7" fmla="*/ 60 h 104"/>
              <a:gd name="T8" fmla="*/ 94 w 128"/>
              <a:gd name="T9" fmla="*/ 48 h 104"/>
              <a:gd name="T10" fmla="*/ 64 w 128"/>
              <a:gd name="T11" fmla="*/ 0 h 104"/>
              <a:gd name="T12" fmla="*/ 0 w 128"/>
              <a:gd name="T13" fmla="*/ 64 h 104"/>
              <a:gd name="T14" fmla="*/ 8 w 128"/>
              <a:gd name="T15" fmla="*/ 64 h 104"/>
              <a:gd name="T16" fmla="*/ 64 w 128"/>
              <a:gd name="T17" fmla="*/ 8 h 104"/>
              <a:gd name="T18" fmla="*/ 120 w 128"/>
              <a:gd name="T19" fmla="*/ 64 h 104"/>
              <a:gd name="T20" fmla="*/ 128 w 128"/>
              <a:gd name="T21" fmla="*/ 64 h 104"/>
              <a:gd name="T22" fmla="*/ 64 w 128"/>
              <a:gd name="T23" fmla="*/ 0 h 104"/>
              <a:gd name="T24" fmla="*/ 34 w 128"/>
              <a:gd name="T25" fmla="*/ 60 h 104"/>
              <a:gd name="T26" fmla="*/ 46 w 128"/>
              <a:gd name="T27" fmla="*/ 48 h 104"/>
              <a:gd name="T28" fmla="*/ 58 w 128"/>
              <a:gd name="T29" fmla="*/ 60 h 104"/>
              <a:gd name="T30" fmla="*/ 46 w 128"/>
              <a:gd name="T31" fmla="*/ 72 h 104"/>
              <a:gd name="T32" fmla="*/ 34 w 128"/>
              <a:gd name="T33" fmla="*/ 60 h 104"/>
              <a:gd name="T34" fmla="*/ 16 w 128"/>
              <a:gd name="T35" fmla="*/ 104 h 104"/>
              <a:gd name="T36" fmla="*/ 16 w 128"/>
              <a:gd name="T37" fmla="*/ 103 h 104"/>
              <a:gd name="T38" fmla="*/ 37 w 128"/>
              <a:gd name="T39" fmla="*/ 75 h 104"/>
              <a:gd name="T40" fmla="*/ 38 w 128"/>
              <a:gd name="T41" fmla="*/ 74 h 104"/>
              <a:gd name="T42" fmla="*/ 46 w 128"/>
              <a:gd name="T43" fmla="*/ 88 h 104"/>
              <a:gd name="T44" fmla="*/ 54 w 128"/>
              <a:gd name="T45" fmla="*/ 74 h 104"/>
              <a:gd name="T46" fmla="*/ 55 w 128"/>
              <a:gd name="T47" fmla="*/ 75 h 104"/>
              <a:gd name="T48" fmla="*/ 76 w 128"/>
              <a:gd name="T49" fmla="*/ 103 h 104"/>
              <a:gd name="T50" fmla="*/ 76 w 128"/>
              <a:gd name="T51" fmla="*/ 104 h 104"/>
              <a:gd name="T52" fmla="*/ 16 w 128"/>
              <a:gd name="T53" fmla="*/ 104 h 104"/>
              <a:gd name="T54" fmla="*/ 112 w 128"/>
              <a:gd name="T55" fmla="*/ 91 h 104"/>
              <a:gd name="T56" fmla="*/ 112 w 128"/>
              <a:gd name="T57" fmla="*/ 104 h 104"/>
              <a:gd name="T58" fmla="*/ 84 w 128"/>
              <a:gd name="T59" fmla="*/ 104 h 104"/>
              <a:gd name="T60" fmla="*/ 84 w 128"/>
              <a:gd name="T61" fmla="*/ 103 h 104"/>
              <a:gd name="T62" fmla="*/ 62 w 128"/>
              <a:gd name="T63" fmla="*/ 69 h 104"/>
              <a:gd name="T64" fmla="*/ 73 w 128"/>
              <a:gd name="T65" fmla="*/ 63 h 104"/>
              <a:gd name="T66" fmla="*/ 74 w 128"/>
              <a:gd name="T67" fmla="*/ 62 h 104"/>
              <a:gd name="T68" fmla="*/ 82 w 128"/>
              <a:gd name="T69" fmla="*/ 76 h 104"/>
              <a:gd name="T70" fmla="*/ 90 w 128"/>
              <a:gd name="T71" fmla="*/ 62 h 104"/>
              <a:gd name="T72" fmla="*/ 91 w 128"/>
              <a:gd name="T73" fmla="*/ 63 h 104"/>
              <a:gd name="T74" fmla="*/ 112 w 128"/>
              <a:gd name="T75" fmla="*/ 91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8" h="104">
                <a:moveTo>
                  <a:pt x="94" y="48"/>
                </a:moveTo>
                <a:cubicBezTo>
                  <a:pt x="94" y="41"/>
                  <a:pt x="89" y="36"/>
                  <a:pt x="82" y="36"/>
                </a:cubicBezTo>
                <a:cubicBezTo>
                  <a:pt x="75" y="36"/>
                  <a:pt x="70" y="41"/>
                  <a:pt x="70" y="48"/>
                </a:cubicBezTo>
                <a:cubicBezTo>
                  <a:pt x="70" y="55"/>
                  <a:pt x="75" y="60"/>
                  <a:pt x="82" y="60"/>
                </a:cubicBezTo>
                <a:cubicBezTo>
                  <a:pt x="89" y="60"/>
                  <a:pt x="94" y="55"/>
                  <a:pt x="94" y="48"/>
                </a:cubicBezTo>
                <a:close/>
                <a:moveTo>
                  <a:pt x="64" y="0"/>
                </a:moveTo>
                <a:cubicBezTo>
                  <a:pt x="29" y="0"/>
                  <a:pt x="0" y="29"/>
                  <a:pt x="0" y="64"/>
                </a:cubicBezTo>
                <a:cubicBezTo>
                  <a:pt x="8" y="64"/>
                  <a:pt x="8" y="64"/>
                  <a:pt x="8" y="64"/>
                </a:cubicBezTo>
                <a:cubicBezTo>
                  <a:pt x="8" y="33"/>
                  <a:pt x="33" y="8"/>
                  <a:pt x="64" y="8"/>
                </a:cubicBezTo>
                <a:cubicBezTo>
                  <a:pt x="95" y="8"/>
                  <a:pt x="120" y="33"/>
                  <a:pt x="120" y="64"/>
                </a:cubicBezTo>
                <a:cubicBezTo>
                  <a:pt x="128" y="64"/>
                  <a:pt x="128" y="64"/>
                  <a:pt x="128" y="64"/>
                </a:cubicBezTo>
                <a:cubicBezTo>
                  <a:pt x="128" y="29"/>
                  <a:pt x="99" y="0"/>
                  <a:pt x="64" y="0"/>
                </a:cubicBezTo>
                <a:close/>
                <a:moveTo>
                  <a:pt x="34" y="60"/>
                </a:moveTo>
                <a:cubicBezTo>
                  <a:pt x="34" y="53"/>
                  <a:pt x="39" y="48"/>
                  <a:pt x="46" y="48"/>
                </a:cubicBezTo>
                <a:cubicBezTo>
                  <a:pt x="53" y="48"/>
                  <a:pt x="58" y="53"/>
                  <a:pt x="58" y="60"/>
                </a:cubicBezTo>
                <a:cubicBezTo>
                  <a:pt x="58" y="67"/>
                  <a:pt x="53" y="72"/>
                  <a:pt x="46" y="72"/>
                </a:cubicBezTo>
                <a:cubicBezTo>
                  <a:pt x="39" y="72"/>
                  <a:pt x="34" y="67"/>
                  <a:pt x="34" y="60"/>
                </a:cubicBezTo>
                <a:close/>
                <a:moveTo>
                  <a:pt x="16" y="104"/>
                </a:moveTo>
                <a:cubicBezTo>
                  <a:pt x="16" y="103"/>
                  <a:pt x="16" y="103"/>
                  <a:pt x="16" y="103"/>
                </a:cubicBezTo>
                <a:cubicBezTo>
                  <a:pt x="16" y="90"/>
                  <a:pt x="25" y="79"/>
                  <a:pt x="37" y="75"/>
                </a:cubicBezTo>
                <a:cubicBezTo>
                  <a:pt x="38" y="74"/>
                  <a:pt x="38" y="74"/>
                  <a:pt x="38" y="74"/>
                </a:cubicBezTo>
                <a:cubicBezTo>
                  <a:pt x="46" y="88"/>
                  <a:pt x="46" y="88"/>
                  <a:pt x="46" y="88"/>
                </a:cubicBezTo>
                <a:cubicBezTo>
                  <a:pt x="54" y="74"/>
                  <a:pt x="54" y="74"/>
                  <a:pt x="54" y="74"/>
                </a:cubicBezTo>
                <a:cubicBezTo>
                  <a:pt x="55" y="75"/>
                  <a:pt x="55" y="75"/>
                  <a:pt x="55" y="75"/>
                </a:cubicBezTo>
                <a:cubicBezTo>
                  <a:pt x="67" y="79"/>
                  <a:pt x="76" y="90"/>
                  <a:pt x="76" y="103"/>
                </a:cubicBezTo>
                <a:cubicBezTo>
                  <a:pt x="76" y="104"/>
                  <a:pt x="76" y="104"/>
                  <a:pt x="76" y="104"/>
                </a:cubicBezTo>
                <a:lnTo>
                  <a:pt x="16" y="104"/>
                </a:lnTo>
                <a:close/>
                <a:moveTo>
                  <a:pt x="112" y="91"/>
                </a:moveTo>
                <a:cubicBezTo>
                  <a:pt x="112" y="104"/>
                  <a:pt x="112" y="104"/>
                  <a:pt x="112" y="104"/>
                </a:cubicBezTo>
                <a:cubicBezTo>
                  <a:pt x="84" y="104"/>
                  <a:pt x="84" y="104"/>
                  <a:pt x="84" y="104"/>
                </a:cubicBezTo>
                <a:cubicBezTo>
                  <a:pt x="84" y="103"/>
                  <a:pt x="84" y="103"/>
                  <a:pt x="84" y="103"/>
                </a:cubicBezTo>
                <a:cubicBezTo>
                  <a:pt x="84" y="88"/>
                  <a:pt x="75" y="75"/>
                  <a:pt x="62" y="69"/>
                </a:cubicBezTo>
                <a:cubicBezTo>
                  <a:pt x="65" y="66"/>
                  <a:pt x="69" y="64"/>
                  <a:pt x="73" y="63"/>
                </a:cubicBezTo>
                <a:cubicBezTo>
                  <a:pt x="74" y="62"/>
                  <a:pt x="74" y="62"/>
                  <a:pt x="74" y="62"/>
                </a:cubicBezTo>
                <a:cubicBezTo>
                  <a:pt x="82" y="76"/>
                  <a:pt x="82" y="76"/>
                  <a:pt x="82" y="76"/>
                </a:cubicBezTo>
                <a:cubicBezTo>
                  <a:pt x="90" y="62"/>
                  <a:pt x="90" y="62"/>
                  <a:pt x="90" y="62"/>
                </a:cubicBezTo>
                <a:cubicBezTo>
                  <a:pt x="91" y="63"/>
                  <a:pt x="91" y="63"/>
                  <a:pt x="91" y="63"/>
                </a:cubicBezTo>
                <a:cubicBezTo>
                  <a:pt x="103" y="67"/>
                  <a:pt x="112" y="78"/>
                  <a:pt x="112" y="9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4" name="Freeform 17">
            <a:extLst>
              <a:ext uri="{FF2B5EF4-FFF2-40B4-BE49-F238E27FC236}">
                <a16:creationId xmlns:a16="http://schemas.microsoft.com/office/drawing/2014/main" id="{B18BC042-791E-45AA-93D8-55BD74746B17}"/>
              </a:ext>
            </a:extLst>
          </p:cNvPr>
          <p:cNvSpPr>
            <a:spLocks noEditPoints="1"/>
          </p:cNvSpPr>
          <p:nvPr/>
        </p:nvSpPr>
        <p:spPr bwMode="auto">
          <a:xfrm>
            <a:off x="2678542" y="3252210"/>
            <a:ext cx="412750" cy="355600"/>
          </a:xfrm>
          <a:custGeom>
            <a:avLst/>
            <a:gdLst>
              <a:gd name="T0" fmla="*/ 101 w 128"/>
              <a:gd name="T1" fmla="*/ 0 h 110"/>
              <a:gd name="T2" fmla="*/ 8 w 128"/>
              <a:gd name="T3" fmla="*/ 0 h 110"/>
              <a:gd name="T4" fmla="*/ 0 w 128"/>
              <a:gd name="T5" fmla="*/ 8 h 110"/>
              <a:gd name="T6" fmla="*/ 0 w 128"/>
              <a:gd name="T7" fmla="*/ 102 h 110"/>
              <a:gd name="T8" fmla="*/ 8 w 128"/>
              <a:gd name="T9" fmla="*/ 110 h 110"/>
              <a:gd name="T10" fmla="*/ 101 w 128"/>
              <a:gd name="T11" fmla="*/ 110 h 110"/>
              <a:gd name="T12" fmla="*/ 109 w 128"/>
              <a:gd name="T13" fmla="*/ 102 h 110"/>
              <a:gd name="T14" fmla="*/ 109 w 128"/>
              <a:gd name="T15" fmla="*/ 8 h 110"/>
              <a:gd name="T16" fmla="*/ 101 w 128"/>
              <a:gd name="T17" fmla="*/ 0 h 110"/>
              <a:gd name="T18" fmla="*/ 32 w 128"/>
              <a:gd name="T19" fmla="*/ 93 h 110"/>
              <a:gd name="T20" fmla="*/ 16 w 128"/>
              <a:gd name="T21" fmla="*/ 93 h 110"/>
              <a:gd name="T22" fmla="*/ 16 w 128"/>
              <a:gd name="T23" fmla="*/ 41 h 110"/>
              <a:gd name="T24" fmla="*/ 32 w 128"/>
              <a:gd name="T25" fmla="*/ 41 h 110"/>
              <a:gd name="T26" fmla="*/ 32 w 128"/>
              <a:gd name="T27" fmla="*/ 93 h 110"/>
              <a:gd name="T28" fmla="*/ 24 w 128"/>
              <a:gd name="T29" fmla="*/ 34 h 110"/>
              <a:gd name="T30" fmla="*/ 15 w 128"/>
              <a:gd name="T31" fmla="*/ 25 h 110"/>
              <a:gd name="T32" fmla="*/ 24 w 128"/>
              <a:gd name="T33" fmla="*/ 16 h 110"/>
              <a:gd name="T34" fmla="*/ 34 w 128"/>
              <a:gd name="T35" fmla="*/ 25 h 110"/>
              <a:gd name="T36" fmla="*/ 24 w 128"/>
              <a:gd name="T37" fmla="*/ 34 h 110"/>
              <a:gd name="T38" fmla="*/ 93 w 128"/>
              <a:gd name="T39" fmla="*/ 93 h 110"/>
              <a:gd name="T40" fmla="*/ 77 w 128"/>
              <a:gd name="T41" fmla="*/ 93 h 110"/>
              <a:gd name="T42" fmla="*/ 77 w 128"/>
              <a:gd name="T43" fmla="*/ 68 h 110"/>
              <a:gd name="T44" fmla="*/ 68 w 128"/>
              <a:gd name="T45" fmla="*/ 54 h 110"/>
              <a:gd name="T46" fmla="*/ 59 w 128"/>
              <a:gd name="T47" fmla="*/ 68 h 110"/>
              <a:gd name="T48" fmla="*/ 59 w 128"/>
              <a:gd name="T49" fmla="*/ 93 h 110"/>
              <a:gd name="T50" fmla="*/ 42 w 128"/>
              <a:gd name="T51" fmla="*/ 93 h 110"/>
              <a:gd name="T52" fmla="*/ 42 w 128"/>
              <a:gd name="T53" fmla="*/ 41 h 110"/>
              <a:gd name="T54" fmla="*/ 58 w 128"/>
              <a:gd name="T55" fmla="*/ 41 h 110"/>
              <a:gd name="T56" fmla="*/ 58 w 128"/>
              <a:gd name="T57" fmla="*/ 48 h 110"/>
              <a:gd name="T58" fmla="*/ 58 w 128"/>
              <a:gd name="T59" fmla="*/ 48 h 110"/>
              <a:gd name="T60" fmla="*/ 74 w 128"/>
              <a:gd name="T61" fmla="*/ 40 h 110"/>
              <a:gd name="T62" fmla="*/ 93 w 128"/>
              <a:gd name="T63" fmla="*/ 65 h 110"/>
              <a:gd name="T64" fmla="*/ 93 w 128"/>
              <a:gd name="T65" fmla="*/ 93 h 110"/>
              <a:gd name="T66" fmla="*/ 122 w 128"/>
              <a:gd name="T67" fmla="*/ 88 h 110"/>
              <a:gd name="T68" fmla="*/ 124 w 128"/>
              <a:gd name="T69" fmla="*/ 86 h 110"/>
              <a:gd name="T70" fmla="*/ 121 w 128"/>
              <a:gd name="T71" fmla="*/ 84 h 110"/>
              <a:gd name="T72" fmla="*/ 118 w 128"/>
              <a:gd name="T73" fmla="*/ 84 h 110"/>
              <a:gd name="T74" fmla="*/ 118 w 128"/>
              <a:gd name="T75" fmla="*/ 92 h 110"/>
              <a:gd name="T76" fmla="*/ 119 w 128"/>
              <a:gd name="T77" fmla="*/ 92 h 110"/>
              <a:gd name="T78" fmla="*/ 119 w 128"/>
              <a:gd name="T79" fmla="*/ 89 h 110"/>
              <a:gd name="T80" fmla="*/ 121 w 128"/>
              <a:gd name="T81" fmla="*/ 89 h 110"/>
              <a:gd name="T82" fmla="*/ 121 w 128"/>
              <a:gd name="T83" fmla="*/ 89 h 110"/>
              <a:gd name="T84" fmla="*/ 123 w 128"/>
              <a:gd name="T85" fmla="*/ 92 h 110"/>
              <a:gd name="T86" fmla="*/ 124 w 128"/>
              <a:gd name="T87" fmla="*/ 92 h 110"/>
              <a:gd name="T88" fmla="*/ 122 w 128"/>
              <a:gd name="T89" fmla="*/ 88 h 110"/>
              <a:gd name="T90" fmla="*/ 121 w 128"/>
              <a:gd name="T91" fmla="*/ 88 h 110"/>
              <a:gd name="T92" fmla="*/ 119 w 128"/>
              <a:gd name="T93" fmla="*/ 88 h 110"/>
              <a:gd name="T94" fmla="*/ 119 w 128"/>
              <a:gd name="T95" fmla="*/ 85 h 110"/>
              <a:gd name="T96" fmla="*/ 121 w 128"/>
              <a:gd name="T97" fmla="*/ 85 h 110"/>
              <a:gd name="T98" fmla="*/ 123 w 128"/>
              <a:gd name="T99" fmla="*/ 86 h 110"/>
              <a:gd name="T100" fmla="*/ 121 w 128"/>
              <a:gd name="T101" fmla="*/ 88 h 110"/>
              <a:gd name="T102" fmla="*/ 121 w 128"/>
              <a:gd name="T103" fmla="*/ 81 h 110"/>
              <a:gd name="T104" fmla="*/ 114 w 128"/>
              <a:gd name="T105" fmla="*/ 88 h 110"/>
              <a:gd name="T106" fmla="*/ 121 w 128"/>
              <a:gd name="T107" fmla="*/ 95 h 110"/>
              <a:gd name="T108" fmla="*/ 128 w 128"/>
              <a:gd name="T109" fmla="*/ 88 h 110"/>
              <a:gd name="T110" fmla="*/ 121 w 128"/>
              <a:gd name="T111" fmla="*/ 81 h 110"/>
              <a:gd name="T112" fmla="*/ 121 w 128"/>
              <a:gd name="T113" fmla="*/ 94 h 110"/>
              <a:gd name="T114" fmla="*/ 115 w 128"/>
              <a:gd name="T115" fmla="*/ 88 h 110"/>
              <a:gd name="T116" fmla="*/ 121 w 128"/>
              <a:gd name="T117" fmla="*/ 82 h 110"/>
              <a:gd name="T118" fmla="*/ 127 w 128"/>
              <a:gd name="T119" fmla="*/ 88 h 110"/>
              <a:gd name="T120" fmla="*/ 121 w 128"/>
              <a:gd name="T121" fmla="*/ 9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8" h="110">
                <a:moveTo>
                  <a:pt x="101" y="0"/>
                </a:moveTo>
                <a:cubicBezTo>
                  <a:pt x="8" y="0"/>
                  <a:pt x="8" y="0"/>
                  <a:pt x="8" y="0"/>
                </a:cubicBezTo>
                <a:cubicBezTo>
                  <a:pt x="4" y="0"/>
                  <a:pt x="0" y="4"/>
                  <a:pt x="0" y="8"/>
                </a:cubicBezTo>
                <a:cubicBezTo>
                  <a:pt x="0" y="102"/>
                  <a:pt x="0" y="102"/>
                  <a:pt x="0" y="102"/>
                </a:cubicBezTo>
                <a:cubicBezTo>
                  <a:pt x="0" y="106"/>
                  <a:pt x="4" y="110"/>
                  <a:pt x="8" y="110"/>
                </a:cubicBezTo>
                <a:cubicBezTo>
                  <a:pt x="101" y="110"/>
                  <a:pt x="101" y="110"/>
                  <a:pt x="101" y="110"/>
                </a:cubicBezTo>
                <a:cubicBezTo>
                  <a:pt x="105" y="110"/>
                  <a:pt x="109" y="106"/>
                  <a:pt x="109" y="102"/>
                </a:cubicBezTo>
                <a:cubicBezTo>
                  <a:pt x="109" y="8"/>
                  <a:pt x="109" y="8"/>
                  <a:pt x="109" y="8"/>
                </a:cubicBezTo>
                <a:cubicBezTo>
                  <a:pt x="109" y="4"/>
                  <a:pt x="105" y="0"/>
                  <a:pt x="101" y="0"/>
                </a:cubicBezTo>
                <a:close/>
                <a:moveTo>
                  <a:pt x="32" y="93"/>
                </a:moveTo>
                <a:cubicBezTo>
                  <a:pt x="16" y="93"/>
                  <a:pt x="16" y="93"/>
                  <a:pt x="16" y="93"/>
                </a:cubicBezTo>
                <a:cubicBezTo>
                  <a:pt x="16" y="41"/>
                  <a:pt x="16" y="41"/>
                  <a:pt x="16" y="41"/>
                </a:cubicBezTo>
                <a:cubicBezTo>
                  <a:pt x="32" y="41"/>
                  <a:pt x="32" y="41"/>
                  <a:pt x="32" y="41"/>
                </a:cubicBezTo>
                <a:lnTo>
                  <a:pt x="32" y="93"/>
                </a:lnTo>
                <a:close/>
                <a:moveTo>
                  <a:pt x="24" y="34"/>
                </a:moveTo>
                <a:cubicBezTo>
                  <a:pt x="19" y="34"/>
                  <a:pt x="15" y="30"/>
                  <a:pt x="15" y="25"/>
                </a:cubicBezTo>
                <a:cubicBezTo>
                  <a:pt x="15" y="20"/>
                  <a:pt x="19" y="16"/>
                  <a:pt x="24" y="16"/>
                </a:cubicBezTo>
                <a:cubicBezTo>
                  <a:pt x="29" y="16"/>
                  <a:pt x="34" y="20"/>
                  <a:pt x="34" y="25"/>
                </a:cubicBezTo>
                <a:cubicBezTo>
                  <a:pt x="34" y="30"/>
                  <a:pt x="29" y="34"/>
                  <a:pt x="24" y="34"/>
                </a:cubicBezTo>
                <a:close/>
                <a:moveTo>
                  <a:pt x="93" y="93"/>
                </a:moveTo>
                <a:cubicBezTo>
                  <a:pt x="77" y="93"/>
                  <a:pt x="77" y="93"/>
                  <a:pt x="77" y="93"/>
                </a:cubicBezTo>
                <a:cubicBezTo>
                  <a:pt x="77" y="68"/>
                  <a:pt x="77" y="68"/>
                  <a:pt x="77" y="68"/>
                </a:cubicBezTo>
                <a:cubicBezTo>
                  <a:pt x="77" y="62"/>
                  <a:pt x="77" y="54"/>
                  <a:pt x="68" y="54"/>
                </a:cubicBezTo>
                <a:cubicBezTo>
                  <a:pt x="60" y="54"/>
                  <a:pt x="59" y="61"/>
                  <a:pt x="59" y="68"/>
                </a:cubicBezTo>
                <a:cubicBezTo>
                  <a:pt x="59" y="93"/>
                  <a:pt x="59" y="93"/>
                  <a:pt x="59" y="93"/>
                </a:cubicBezTo>
                <a:cubicBezTo>
                  <a:pt x="42" y="93"/>
                  <a:pt x="42" y="93"/>
                  <a:pt x="42" y="93"/>
                </a:cubicBezTo>
                <a:cubicBezTo>
                  <a:pt x="42" y="41"/>
                  <a:pt x="42" y="41"/>
                  <a:pt x="42" y="41"/>
                </a:cubicBezTo>
                <a:cubicBezTo>
                  <a:pt x="58" y="41"/>
                  <a:pt x="58" y="41"/>
                  <a:pt x="58" y="41"/>
                </a:cubicBezTo>
                <a:cubicBezTo>
                  <a:pt x="58" y="48"/>
                  <a:pt x="58" y="48"/>
                  <a:pt x="58" y="48"/>
                </a:cubicBezTo>
                <a:cubicBezTo>
                  <a:pt x="58" y="48"/>
                  <a:pt x="58" y="48"/>
                  <a:pt x="58" y="48"/>
                </a:cubicBezTo>
                <a:cubicBezTo>
                  <a:pt x="60" y="44"/>
                  <a:pt x="66" y="40"/>
                  <a:pt x="74" y="40"/>
                </a:cubicBezTo>
                <a:cubicBezTo>
                  <a:pt x="90" y="40"/>
                  <a:pt x="93" y="51"/>
                  <a:pt x="93" y="65"/>
                </a:cubicBezTo>
                <a:lnTo>
                  <a:pt x="93" y="93"/>
                </a:lnTo>
                <a:close/>
                <a:moveTo>
                  <a:pt x="122" y="88"/>
                </a:moveTo>
                <a:cubicBezTo>
                  <a:pt x="123" y="88"/>
                  <a:pt x="124" y="88"/>
                  <a:pt x="124" y="86"/>
                </a:cubicBezTo>
                <a:cubicBezTo>
                  <a:pt x="124" y="85"/>
                  <a:pt x="123" y="84"/>
                  <a:pt x="121" y="84"/>
                </a:cubicBezTo>
                <a:cubicBezTo>
                  <a:pt x="118" y="84"/>
                  <a:pt x="118" y="84"/>
                  <a:pt x="118" y="84"/>
                </a:cubicBezTo>
                <a:cubicBezTo>
                  <a:pt x="118" y="92"/>
                  <a:pt x="118" y="92"/>
                  <a:pt x="118" y="92"/>
                </a:cubicBezTo>
                <a:cubicBezTo>
                  <a:pt x="119" y="92"/>
                  <a:pt x="119" y="92"/>
                  <a:pt x="119" y="92"/>
                </a:cubicBezTo>
                <a:cubicBezTo>
                  <a:pt x="119" y="89"/>
                  <a:pt x="119" y="89"/>
                  <a:pt x="119" y="89"/>
                </a:cubicBezTo>
                <a:cubicBezTo>
                  <a:pt x="121" y="89"/>
                  <a:pt x="121" y="89"/>
                  <a:pt x="121" y="89"/>
                </a:cubicBezTo>
                <a:cubicBezTo>
                  <a:pt x="121" y="89"/>
                  <a:pt x="121" y="89"/>
                  <a:pt x="121" y="89"/>
                </a:cubicBezTo>
                <a:cubicBezTo>
                  <a:pt x="123" y="92"/>
                  <a:pt x="123" y="92"/>
                  <a:pt x="123" y="92"/>
                </a:cubicBezTo>
                <a:cubicBezTo>
                  <a:pt x="124" y="92"/>
                  <a:pt x="124" y="92"/>
                  <a:pt x="124" y="92"/>
                </a:cubicBezTo>
                <a:cubicBezTo>
                  <a:pt x="122" y="88"/>
                  <a:pt x="122" y="88"/>
                  <a:pt x="122" y="88"/>
                </a:cubicBezTo>
                <a:close/>
                <a:moveTo>
                  <a:pt x="121" y="88"/>
                </a:moveTo>
                <a:cubicBezTo>
                  <a:pt x="119" y="88"/>
                  <a:pt x="119" y="88"/>
                  <a:pt x="119" y="88"/>
                </a:cubicBezTo>
                <a:cubicBezTo>
                  <a:pt x="119" y="85"/>
                  <a:pt x="119" y="85"/>
                  <a:pt x="119" y="85"/>
                </a:cubicBezTo>
                <a:cubicBezTo>
                  <a:pt x="121" y="85"/>
                  <a:pt x="121" y="85"/>
                  <a:pt x="121" y="85"/>
                </a:cubicBezTo>
                <a:cubicBezTo>
                  <a:pt x="122" y="85"/>
                  <a:pt x="123" y="85"/>
                  <a:pt x="123" y="86"/>
                </a:cubicBezTo>
                <a:cubicBezTo>
                  <a:pt x="123" y="88"/>
                  <a:pt x="122" y="88"/>
                  <a:pt x="121" y="88"/>
                </a:cubicBezTo>
                <a:close/>
                <a:moveTo>
                  <a:pt x="121" y="81"/>
                </a:moveTo>
                <a:cubicBezTo>
                  <a:pt x="117" y="81"/>
                  <a:pt x="114" y="84"/>
                  <a:pt x="114" y="88"/>
                </a:cubicBezTo>
                <a:cubicBezTo>
                  <a:pt x="114" y="92"/>
                  <a:pt x="117" y="95"/>
                  <a:pt x="121" y="95"/>
                </a:cubicBezTo>
                <a:cubicBezTo>
                  <a:pt x="125" y="95"/>
                  <a:pt x="128" y="92"/>
                  <a:pt x="128" y="88"/>
                </a:cubicBezTo>
                <a:cubicBezTo>
                  <a:pt x="128" y="84"/>
                  <a:pt x="125" y="81"/>
                  <a:pt x="121" y="81"/>
                </a:cubicBezTo>
                <a:close/>
                <a:moveTo>
                  <a:pt x="121" y="94"/>
                </a:moveTo>
                <a:cubicBezTo>
                  <a:pt x="117" y="94"/>
                  <a:pt x="115" y="92"/>
                  <a:pt x="115" y="88"/>
                </a:cubicBezTo>
                <a:cubicBezTo>
                  <a:pt x="115" y="85"/>
                  <a:pt x="117" y="82"/>
                  <a:pt x="121" y="82"/>
                </a:cubicBezTo>
                <a:cubicBezTo>
                  <a:pt x="124" y="82"/>
                  <a:pt x="127" y="85"/>
                  <a:pt x="127" y="88"/>
                </a:cubicBezTo>
                <a:cubicBezTo>
                  <a:pt x="127" y="92"/>
                  <a:pt x="124" y="94"/>
                  <a:pt x="121" y="9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5" name="Freeform 25">
            <a:extLst>
              <a:ext uri="{FF2B5EF4-FFF2-40B4-BE49-F238E27FC236}">
                <a16:creationId xmlns:a16="http://schemas.microsoft.com/office/drawing/2014/main" id="{D3922D70-E1D2-4B60-9B02-CF83D7E430AE}"/>
              </a:ext>
            </a:extLst>
          </p:cNvPr>
          <p:cNvSpPr>
            <a:spLocks noEditPoints="1"/>
          </p:cNvSpPr>
          <p:nvPr/>
        </p:nvSpPr>
        <p:spPr bwMode="auto">
          <a:xfrm>
            <a:off x="3723183" y="3345872"/>
            <a:ext cx="414338" cy="261938"/>
          </a:xfrm>
          <a:custGeom>
            <a:avLst/>
            <a:gdLst>
              <a:gd name="T0" fmla="*/ 0 w 261"/>
              <a:gd name="T1" fmla="*/ 0 h 165"/>
              <a:gd name="T2" fmla="*/ 33 w 261"/>
              <a:gd name="T3" fmla="*/ 0 h 165"/>
              <a:gd name="T4" fmla="*/ 33 w 261"/>
              <a:gd name="T5" fmla="*/ 33 h 165"/>
              <a:gd name="T6" fmla="*/ 0 w 261"/>
              <a:gd name="T7" fmla="*/ 33 h 165"/>
              <a:gd name="T8" fmla="*/ 0 w 261"/>
              <a:gd name="T9" fmla="*/ 0 h 165"/>
              <a:gd name="T10" fmla="*/ 0 w 261"/>
              <a:gd name="T11" fmla="*/ 99 h 165"/>
              <a:gd name="T12" fmla="*/ 33 w 261"/>
              <a:gd name="T13" fmla="*/ 99 h 165"/>
              <a:gd name="T14" fmla="*/ 33 w 261"/>
              <a:gd name="T15" fmla="*/ 66 h 165"/>
              <a:gd name="T16" fmla="*/ 0 w 261"/>
              <a:gd name="T17" fmla="*/ 66 h 165"/>
              <a:gd name="T18" fmla="*/ 0 w 261"/>
              <a:gd name="T19" fmla="*/ 99 h 165"/>
              <a:gd name="T20" fmla="*/ 0 w 261"/>
              <a:gd name="T21" fmla="*/ 165 h 165"/>
              <a:gd name="T22" fmla="*/ 33 w 261"/>
              <a:gd name="T23" fmla="*/ 165 h 165"/>
              <a:gd name="T24" fmla="*/ 33 w 261"/>
              <a:gd name="T25" fmla="*/ 132 h 165"/>
              <a:gd name="T26" fmla="*/ 0 w 261"/>
              <a:gd name="T27" fmla="*/ 132 h 165"/>
              <a:gd name="T28" fmla="*/ 0 w 261"/>
              <a:gd name="T29" fmla="*/ 165 h 165"/>
              <a:gd name="T30" fmla="*/ 65 w 261"/>
              <a:gd name="T31" fmla="*/ 25 h 165"/>
              <a:gd name="T32" fmla="*/ 261 w 261"/>
              <a:gd name="T33" fmla="*/ 25 h 165"/>
              <a:gd name="T34" fmla="*/ 261 w 261"/>
              <a:gd name="T35" fmla="*/ 8 h 165"/>
              <a:gd name="T36" fmla="*/ 65 w 261"/>
              <a:gd name="T37" fmla="*/ 8 h 165"/>
              <a:gd name="T38" fmla="*/ 65 w 261"/>
              <a:gd name="T39" fmla="*/ 25 h 165"/>
              <a:gd name="T40" fmla="*/ 65 w 261"/>
              <a:gd name="T41" fmla="*/ 91 h 165"/>
              <a:gd name="T42" fmla="*/ 261 w 261"/>
              <a:gd name="T43" fmla="*/ 91 h 165"/>
              <a:gd name="T44" fmla="*/ 261 w 261"/>
              <a:gd name="T45" fmla="*/ 74 h 165"/>
              <a:gd name="T46" fmla="*/ 65 w 261"/>
              <a:gd name="T47" fmla="*/ 74 h 165"/>
              <a:gd name="T48" fmla="*/ 65 w 261"/>
              <a:gd name="T49" fmla="*/ 91 h 165"/>
              <a:gd name="T50" fmla="*/ 65 w 261"/>
              <a:gd name="T51" fmla="*/ 157 h 165"/>
              <a:gd name="T52" fmla="*/ 261 w 261"/>
              <a:gd name="T53" fmla="*/ 157 h 165"/>
              <a:gd name="T54" fmla="*/ 261 w 261"/>
              <a:gd name="T55" fmla="*/ 140 h 165"/>
              <a:gd name="T56" fmla="*/ 65 w 261"/>
              <a:gd name="T57" fmla="*/ 140 h 165"/>
              <a:gd name="T58" fmla="*/ 65 w 261"/>
              <a:gd name="T59" fmla="*/ 157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1" h="165">
                <a:moveTo>
                  <a:pt x="0" y="0"/>
                </a:moveTo>
                <a:lnTo>
                  <a:pt x="33" y="0"/>
                </a:lnTo>
                <a:lnTo>
                  <a:pt x="33" y="33"/>
                </a:lnTo>
                <a:lnTo>
                  <a:pt x="0" y="33"/>
                </a:lnTo>
                <a:lnTo>
                  <a:pt x="0" y="0"/>
                </a:lnTo>
                <a:close/>
                <a:moveTo>
                  <a:pt x="0" y="99"/>
                </a:moveTo>
                <a:lnTo>
                  <a:pt x="33" y="99"/>
                </a:lnTo>
                <a:lnTo>
                  <a:pt x="33" y="66"/>
                </a:lnTo>
                <a:lnTo>
                  <a:pt x="0" y="66"/>
                </a:lnTo>
                <a:lnTo>
                  <a:pt x="0" y="99"/>
                </a:lnTo>
                <a:close/>
                <a:moveTo>
                  <a:pt x="0" y="165"/>
                </a:moveTo>
                <a:lnTo>
                  <a:pt x="33" y="165"/>
                </a:lnTo>
                <a:lnTo>
                  <a:pt x="33" y="132"/>
                </a:lnTo>
                <a:lnTo>
                  <a:pt x="0" y="132"/>
                </a:lnTo>
                <a:lnTo>
                  <a:pt x="0" y="165"/>
                </a:lnTo>
                <a:close/>
                <a:moveTo>
                  <a:pt x="65" y="25"/>
                </a:moveTo>
                <a:lnTo>
                  <a:pt x="261" y="25"/>
                </a:lnTo>
                <a:lnTo>
                  <a:pt x="261" y="8"/>
                </a:lnTo>
                <a:lnTo>
                  <a:pt x="65" y="8"/>
                </a:lnTo>
                <a:lnTo>
                  <a:pt x="65" y="25"/>
                </a:lnTo>
                <a:close/>
                <a:moveTo>
                  <a:pt x="65" y="91"/>
                </a:moveTo>
                <a:lnTo>
                  <a:pt x="261" y="91"/>
                </a:lnTo>
                <a:lnTo>
                  <a:pt x="261" y="74"/>
                </a:lnTo>
                <a:lnTo>
                  <a:pt x="65" y="74"/>
                </a:lnTo>
                <a:lnTo>
                  <a:pt x="65" y="91"/>
                </a:lnTo>
                <a:close/>
                <a:moveTo>
                  <a:pt x="65" y="157"/>
                </a:moveTo>
                <a:lnTo>
                  <a:pt x="261" y="157"/>
                </a:lnTo>
                <a:lnTo>
                  <a:pt x="261" y="140"/>
                </a:lnTo>
                <a:lnTo>
                  <a:pt x="65" y="140"/>
                </a:lnTo>
                <a:lnTo>
                  <a:pt x="65" y="15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6" name="Freeform 29">
            <a:extLst>
              <a:ext uri="{FF2B5EF4-FFF2-40B4-BE49-F238E27FC236}">
                <a16:creationId xmlns:a16="http://schemas.microsoft.com/office/drawing/2014/main" id="{A24D8E7D-F1E3-4E92-9EE7-7D3E95E4DD89}"/>
              </a:ext>
            </a:extLst>
          </p:cNvPr>
          <p:cNvSpPr>
            <a:spLocks noEditPoints="1"/>
          </p:cNvSpPr>
          <p:nvPr/>
        </p:nvSpPr>
        <p:spPr bwMode="auto">
          <a:xfrm>
            <a:off x="1633108" y="4128009"/>
            <a:ext cx="412750" cy="336550"/>
          </a:xfrm>
          <a:custGeom>
            <a:avLst/>
            <a:gdLst>
              <a:gd name="T0" fmla="*/ 195 w 260"/>
              <a:gd name="T1" fmla="*/ 155 h 212"/>
              <a:gd name="T2" fmla="*/ 65 w 260"/>
              <a:gd name="T3" fmla="*/ 155 h 212"/>
              <a:gd name="T4" fmla="*/ 65 w 260"/>
              <a:gd name="T5" fmla="*/ 139 h 212"/>
              <a:gd name="T6" fmla="*/ 195 w 260"/>
              <a:gd name="T7" fmla="*/ 139 h 212"/>
              <a:gd name="T8" fmla="*/ 195 w 260"/>
              <a:gd name="T9" fmla="*/ 155 h 212"/>
              <a:gd name="T10" fmla="*/ 195 w 260"/>
              <a:gd name="T11" fmla="*/ 73 h 212"/>
              <a:gd name="T12" fmla="*/ 65 w 260"/>
              <a:gd name="T13" fmla="*/ 73 h 212"/>
              <a:gd name="T14" fmla="*/ 65 w 260"/>
              <a:gd name="T15" fmla="*/ 90 h 212"/>
              <a:gd name="T16" fmla="*/ 195 w 260"/>
              <a:gd name="T17" fmla="*/ 90 h 212"/>
              <a:gd name="T18" fmla="*/ 195 w 260"/>
              <a:gd name="T19" fmla="*/ 73 h 212"/>
              <a:gd name="T20" fmla="*/ 195 w 260"/>
              <a:gd name="T21" fmla="*/ 8 h 212"/>
              <a:gd name="T22" fmla="*/ 65 w 260"/>
              <a:gd name="T23" fmla="*/ 8 h 212"/>
              <a:gd name="T24" fmla="*/ 65 w 260"/>
              <a:gd name="T25" fmla="*/ 24 h 212"/>
              <a:gd name="T26" fmla="*/ 195 w 260"/>
              <a:gd name="T27" fmla="*/ 24 h 212"/>
              <a:gd name="T28" fmla="*/ 195 w 260"/>
              <a:gd name="T29" fmla="*/ 8 h 212"/>
              <a:gd name="T30" fmla="*/ 32 w 260"/>
              <a:gd name="T31" fmla="*/ 130 h 212"/>
              <a:gd name="T32" fmla="*/ 0 w 260"/>
              <a:gd name="T33" fmla="*/ 130 h 212"/>
              <a:gd name="T34" fmla="*/ 0 w 260"/>
              <a:gd name="T35" fmla="*/ 163 h 212"/>
              <a:gd name="T36" fmla="*/ 32 w 260"/>
              <a:gd name="T37" fmla="*/ 163 h 212"/>
              <a:gd name="T38" fmla="*/ 32 w 260"/>
              <a:gd name="T39" fmla="*/ 130 h 212"/>
              <a:gd name="T40" fmla="*/ 32 w 260"/>
              <a:gd name="T41" fmla="*/ 65 h 212"/>
              <a:gd name="T42" fmla="*/ 0 w 260"/>
              <a:gd name="T43" fmla="*/ 65 h 212"/>
              <a:gd name="T44" fmla="*/ 0 w 260"/>
              <a:gd name="T45" fmla="*/ 98 h 212"/>
              <a:gd name="T46" fmla="*/ 32 w 260"/>
              <a:gd name="T47" fmla="*/ 98 h 212"/>
              <a:gd name="T48" fmla="*/ 32 w 260"/>
              <a:gd name="T49" fmla="*/ 65 h 212"/>
              <a:gd name="T50" fmla="*/ 32 w 260"/>
              <a:gd name="T51" fmla="*/ 0 h 212"/>
              <a:gd name="T52" fmla="*/ 0 w 260"/>
              <a:gd name="T53" fmla="*/ 0 h 212"/>
              <a:gd name="T54" fmla="*/ 0 w 260"/>
              <a:gd name="T55" fmla="*/ 33 h 212"/>
              <a:gd name="T56" fmla="*/ 32 w 260"/>
              <a:gd name="T57" fmla="*/ 33 h 212"/>
              <a:gd name="T58" fmla="*/ 32 w 260"/>
              <a:gd name="T59" fmla="*/ 0 h 212"/>
              <a:gd name="T60" fmla="*/ 227 w 260"/>
              <a:gd name="T61" fmla="*/ 77 h 212"/>
              <a:gd name="T62" fmla="*/ 260 w 260"/>
              <a:gd name="T63" fmla="*/ 77 h 212"/>
              <a:gd name="T64" fmla="*/ 260 w 260"/>
              <a:gd name="T65" fmla="*/ 49 h 212"/>
              <a:gd name="T66" fmla="*/ 227 w 260"/>
              <a:gd name="T67" fmla="*/ 49 h 212"/>
              <a:gd name="T68" fmla="*/ 227 w 260"/>
              <a:gd name="T69" fmla="*/ 77 h 212"/>
              <a:gd name="T70" fmla="*/ 227 w 260"/>
              <a:gd name="T71" fmla="*/ 212 h 212"/>
              <a:gd name="T72" fmla="*/ 260 w 260"/>
              <a:gd name="T73" fmla="*/ 212 h 212"/>
              <a:gd name="T74" fmla="*/ 260 w 260"/>
              <a:gd name="T75" fmla="*/ 96 h 212"/>
              <a:gd name="T76" fmla="*/ 227 w 260"/>
              <a:gd name="T77" fmla="*/ 96 h 212"/>
              <a:gd name="T78" fmla="*/ 227 w 260"/>
              <a:gd name="T79"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0" h="212">
                <a:moveTo>
                  <a:pt x="195" y="155"/>
                </a:moveTo>
                <a:lnTo>
                  <a:pt x="65" y="155"/>
                </a:lnTo>
                <a:lnTo>
                  <a:pt x="65" y="139"/>
                </a:lnTo>
                <a:lnTo>
                  <a:pt x="195" y="139"/>
                </a:lnTo>
                <a:lnTo>
                  <a:pt x="195" y="155"/>
                </a:lnTo>
                <a:close/>
                <a:moveTo>
                  <a:pt x="195" y="73"/>
                </a:moveTo>
                <a:lnTo>
                  <a:pt x="65" y="73"/>
                </a:lnTo>
                <a:lnTo>
                  <a:pt x="65" y="90"/>
                </a:lnTo>
                <a:lnTo>
                  <a:pt x="195" y="90"/>
                </a:lnTo>
                <a:lnTo>
                  <a:pt x="195" y="73"/>
                </a:lnTo>
                <a:close/>
                <a:moveTo>
                  <a:pt x="195" y="8"/>
                </a:moveTo>
                <a:lnTo>
                  <a:pt x="65" y="8"/>
                </a:lnTo>
                <a:lnTo>
                  <a:pt x="65" y="24"/>
                </a:lnTo>
                <a:lnTo>
                  <a:pt x="195" y="24"/>
                </a:lnTo>
                <a:lnTo>
                  <a:pt x="195" y="8"/>
                </a:lnTo>
                <a:close/>
                <a:moveTo>
                  <a:pt x="32" y="130"/>
                </a:moveTo>
                <a:lnTo>
                  <a:pt x="0" y="130"/>
                </a:lnTo>
                <a:lnTo>
                  <a:pt x="0" y="163"/>
                </a:lnTo>
                <a:lnTo>
                  <a:pt x="32" y="163"/>
                </a:lnTo>
                <a:lnTo>
                  <a:pt x="32" y="130"/>
                </a:lnTo>
                <a:close/>
                <a:moveTo>
                  <a:pt x="32" y="65"/>
                </a:moveTo>
                <a:lnTo>
                  <a:pt x="0" y="65"/>
                </a:lnTo>
                <a:lnTo>
                  <a:pt x="0" y="98"/>
                </a:lnTo>
                <a:lnTo>
                  <a:pt x="32" y="98"/>
                </a:lnTo>
                <a:lnTo>
                  <a:pt x="32" y="65"/>
                </a:lnTo>
                <a:close/>
                <a:moveTo>
                  <a:pt x="32" y="0"/>
                </a:moveTo>
                <a:lnTo>
                  <a:pt x="0" y="0"/>
                </a:lnTo>
                <a:lnTo>
                  <a:pt x="0" y="33"/>
                </a:lnTo>
                <a:lnTo>
                  <a:pt x="32" y="33"/>
                </a:lnTo>
                <a:lnTo>
                  <a:pt x="32" y="0"/>
                </a:lnTo>
                <a:close/>
                <a:moveTo>
                  <a:pt x="227" y="77"/>
                </a:moveTo>
                <a:lnTo>
                  <a:pt x="260" y="77"/>
                </a:lnTo>
                <a:lnTo>
                  <a:pt x="260" y="49"/>
                </a:lnTo>
                <a:lnTo>
                  <a:pt x="227" y="49"/>
                </a:lnTo>
                <a:lnTo>
                  <a:pt x="227" y="77"/>
                </a:lnTo>
                <a:close/>
                <a:moveTo>
                  <a:pt x="227" y="212"/>
                </a:moveTo>
                <a:lnTo>
                  <a:pt x="260" y="212"/>
                </a:lnTo>
                <a:lnTo>
                  <a:pt x="260" y="96"/>
                </a:lnTo>
                <a:lnTo>
                  <a:pt x="227" y="96"/>
                </a:lnTo>
                <a:lnTo>
                  <a:pt x="227" y="212"/>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7" name="Freeform 37">
            <a:extLst>
              <a:ext uri="{FF2B5EF4-FFF2-40B4-BE49-F238E27FC236}">
                <a16:creationId xmlns:a16="http://schemas.microsoft.com/office/drawing/2014/main" id="{7960E405-CC8D-408B-8616-776285769139}"/>
              </a:ext>
            </a:extLst>
          </p:cNvPr>
          <p:cNvSpPr>
            <a:spLocks noEditPoints="1"/>
          </p:cNvSpPr>
          <p:nvPr/>
        </p:nvSpPr>
        <p:spPr bwMode="auto">
          <a:xfrm>
            <a:off x="3748583" y="4050221"/>
            <a:ext cx="363538" cy="414338"/>
          </a:xfrm>
          <a:custGeom>
            <a:avLst/>
            <a:gdLst>
              <a:gd name="T0" fmla="*/ 64 w 112"/>
              <a:gd name="T1" fmla="*/ 104 h 128"/>
              <a:gd name="T2" fmla="*/ 48 w 112"/>
              <a:gd name="T3" fmla="*/ 104 h 128"/>
              <a:gd name="T4" fmla="*/ 48 w 112"/>
              <a:gd name="T5" fmla="*/ 72 h 128"/>
              <a:gd name="T6" fmla="*/ 64 w 112"/>
              <a:gd name="T7" fmla="*/ 72 h 128"/>
              <a:gd name="T8" fmla="*/ 64 w 112"/>
              <a:gd name="T9" fmla="*/ 104 h 128"/>
              <a:gd name="T10" fmla="*/ 112 w 112"/>
              <a:gd name="T11" fmla="*/ 48 h 128"/>
              <a:gd name="T12" fmla="*/ 112 w 112"/>
              <a:gd name="T13" fmla="*/ 128 h 128"/>
              <a:gd name="T14" fmla="*/ 112 w 112"/>
              <a:gd name="T15" fmla="*/ 128 h 128"/>
              <a:gd name="T16" fmla="*/ 0 w 112"/>
              <a:gd name="T17" fmla="*/ 128 h 128"/>
              <a:gd name="T18" fmla="*/ 0 w 112"/>
              <a:gd name="T19" fmla="*/ 128 h 128"/>
              <a:gd name="T20" fmla="*/ 0 w 112"/>
              <a:gd name="T21" fmla="*/ 48 h 128"/>
              <a:gd name="T22" fmla="*/ 0 w 112"/>
              <a:gd name="T23" fmla="*/ 48 h 128"/>
              <a:gd name="T24" fmla="*/ 92 w 112"/>
              <a:gd name="T25" fmla="*/ 48 h 128"/>
              <a:gd name="T26" fmla="*/ 92 w 112"/>
              <a:gd name="T27" fmla="*/ 44 h 128"/>
              <a:gd name="T28" fmla="*/ 56 w 112"/>
              <a:gd name="T29" fmla="*/ 8 h 128"/>
              <a:gd name="T30" fmla="*/ 22 w 112"/>
              <a:gd name="T31" fmla="*/ 32 h 128"/>
              <a:gd name="T32" fmla="*/ 14 w 112"/>
              <a:gd name="T33" fmla="*/ 32 h 128"/>
              <a:gd name="T34" fmla="*/ 56 w 112"/>
              <a:gd name="T35" fmla="*/ 0 h 128"/>
              <a:gd name="T36" fmla="*/ 100 w 112"/>
              <a:gd name="T37" fmla="*/ 44 h 128"/>
              <a:gd name="T38" fmla="*/ 100 w 112"/>
              <a:gd name="T39" fmla="*/ 48 h 128"/>
              <a:gd name="T40" fmla="*/ 112 w 112"/>
              <a:gd name="T41" fmla="*/ 48 h 128"/>
              <a:gd name="T42" fmla="*/ 112 w 112"/>
              <a:gd name="T43" fmla="*/ 48 h 128"/>
              <a:gd name="T44" fmla="*/ 104 w 112"/>
              <a:gd name="T45" fmla="*/ 120 h 128"/>
              <a:gd name="T46" fmla="*/ 104 w 112"/>
              <a:gd name="T47" fmla="*/ 56 h 128"/>
              <a:gd name="T48" fmla="*/ 8 w 112"/>
              <a:gd name="T49" fmla="*/ 56 h 128"/>
              <a:gd name="T50" fmla="*/ 8 w 112"/>
              <a:gd name="T51" fmla="*/ 120 h 128"/>
              <a:gd name="T52" fmla="*/ 104 w 112"/>
              <a:gd name="T53"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2" h="128">
                <a:moveTo>
                  <a:pt x="64" y="104"/>
                </a:moveTo>
                <a:cubicBezTo>
                  <a:pt x="48" y="104"/>
                  <a:pt x="48" y="104"/>
                  <a:pt x="48" y="104"/>
                </a:cubicBezTo>
                <a:cubicBezTo>
                  <a:pt x="48" y="72"/>
                  <a:pt x="48" y="72"/>
                  <a:pt x="48" y="72"/>
                </a:cubicBezTo>
                <a:cubicBezTo>
                  <a:pt x="64" y="72"/>
                  <a:pt x="64" y="72"/>
                  <a:pt x="64" y="72"/>
                </a:cubicBezTo>
                <a:lnTo>
                  <a:pt x="64" y="104"/>
                </a:lnTo>
                <a:close/>
                <a:moveTo>
                  <a:pt x="112" y="48"/>
                </a:moveTo>
                <a:cubicBezTo>
                  <a:pt x="112" y="128"/>
                  <a:pt x="112" y="128"/>
                  <a:pt x="112" y="128"/>
                </a:cubicBezTo>
                <a:cubicBezTo>
                  <a:pt x="112" y="128"/>
                  <a:pt x="112" y="128"/>
                  <a:pt x="112" y="128"/>
                </a:cubicBezTo>
                <a:cubicBezTo>
                  <a:pt x="0" y="128"/>
                  <a:pt x="0" y="128"/>
                  <a:pt x="0" y="128"/>
                </a:cubicBezTo>
                <a:cubicBezTo>
                  <a:pt x="0" y="128"/>
                  <a:pt x="0" y="128"/>
                  <a:pt x="0" y="128"/>
                </a:cubicBezTo>
                <a:cubicBezTo>
                  <a:pt x="0" y="48"/>
                  <a:pt x="0" y="48"/>
                  <a:pt x="0" y="48"/>
                </a:cubicBezTo>
                <a:cubicBezTo>
                  <a:pt x="0" y="48"/>
                  <a:pt x="0" y="48"/>
                  <a:pt x="0" y="48"/>
                </a:cubicBezTo>
                <a:cubicBezTo>
                  <a:pt x="92" y="48"/>
                  <a:pt x="92" y="48"/>
                  <a:pt x="92" y="48"/>
                </a:cubicBezTo>
                <a:cubicBezTo>
                  <a:pt x="92" y="44"/>
                  <a:pt x="92" y="44"/>
                  <a:pt x="92" y="44"/>
                </a:cubicBezTo>
                <a:cubicBezTo>
                  <a:pt x="92" y="24"/>
                  <a:pt x="76" y="8"/>
                  <a:pt x="56" y="8"/>
                </a:cubicBezTo>
                <a:cubicBezTo>
                  <a:pt x="40" y="8"/>
                  <a:pt x="27" y="18"/>
                  <a:pt x="22" y="32"/>
                </a:cubicBezTo>
                <a:cubicBezTo>
                  <a:pt x="14" y="32"/>
                  <a:pt x="14" y="32"/>
                  <a:pt x="14" y="32"/>
                </a:cubicBezTo>
                <a:cubicBezTo>
                  <a:pt x="19" y="14"/>
                  <a:pt x="36" y="0"/>
                  <a:pt x="56" y="0"/>
                </a:cubicBezTo>
                <a:cubicBezTo>
                  <a:pt x="80" y="0"/>
                  <a:pt x="100" y="20"/>
                  <a:pt x="100" y="44"/>
                </a:cubicBezTo>
                <a:cubicBezTo>
                  <a:pt x="100" y="48"/>
                  <a:pt x="100" y="48"/>
                  <a:pt x="100" y="48"/>
                </a:cubicBezTo>
                <a:cubicBezTo>
                  <a:pt x="112" y="48"/>
                  <a:pt x="112" y="48"/>
                  <a:pt x="112" y="48"/>
                </a:cubicBezTo>
                <a:cubicBezTo>
                  <a:pt x="112" y="48"/>
                  <a:pt x="112" y="48"/>
                  <a:pt x="112" y="48"/>
                </a:cubicBezTo>
                <a:close/>
                <a:moveTo>
                  <a:pt x="104" y="120"/>
                </a:moveTo>
                <a:cubicBezTo>
                  <a:pt x="104" y="56"/>
                  <a:pt x="104" y="56"/>
                  <a:pt x="104" y="56"/>
                </a:cubicBezTo>
                <a:cubicBezTo>
                  <a:pt x="8" y="56"/>
                  <a:pt x="8" y="56"/>
                  <a:pt x="8" y="56"/>
                </a:cubicBezTo>
                <a:cubicBezTo>
                  <a:pt x="8" y="120"/>
                  <a:pt x="8" y="120"/>
                  <a:pt x="8" y="120"/>
                </a:cubicBezTo>
                <a:lnTo>
                  <a:pt x="104" y="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8" name="Freeform 41">
            <a:extLst>
              <a:ext uri="{FF2B5EF4-FFF2-40B4-BE49-F238E27FC236}">
                <a16:creationId xmlns:a16="http://schemas.microsoft.com/office/drawing/2014/main" id="{B0E4EB54-1B35-4E89-B0CB-CC08FF403884}"/>
              </a:ext>
            </a:extLst>
          </p:cNvPr>
          <p:cNvSpPr>
            <a:spLocks noEditPoints="1"/>
          </p:cNvSpPr>
          <p:nvPr/>
        </p:nvSpPr>
        <p:spPr bwMode="auto">
          <a:xfrm>
            <a:off x="5031086" y="1592332"/>
            <a:ext cx="363538" cy="412750"/>
          </a:xfrm>
          <a:custGeom>
            <a:avLst/>
            <a:gdLst>
              <a:gd name="T0" fmla="*/ 112 w 112"/>
              <a:gd name="T1" fmla="*/ 48 h 128"/>
              <a:gd name="T2" fmla="*/ 100 w 112"/>
              <a:gd name="T3" fmla="*/ 48 h 128"/>
              <a:gd name="T4" fmla="*/ 100 w 112"/>
              <a:gd name="T5" fmla="*/ 44 h 128"/>
              <a:gd name="T6" fmla="*/ 56 w 112"/>
              <a:gd name="T7" fmla="*/ 0 h 128"/>
              <a:gd name="T8" fmla="*/ 12 w 112"/>
              <a:gd name="T9" fmla="*/ 44 h 128"/>
              <a:gd name="T10" fmla="*/ 12 w 112"/>
              <a:gd name="T11" fmla="*/ 44 h 128"/>
              <a:gd name="T12" fmla="*/ 12 w 112"/>
              <a:gd name="T13" fmla="*/ 48 h 128"/>
              <a:gd name="T14" fmla="*/ 0 w 112"/>
              <a:gd name="T15" fmla="*/ 48 h 128"/>
              <a:gd name="T16" fmla="*/ 0 w 112"/>
              <a:gd name="T17" fmla="*/ 48 h 128"/>
              <a:gd name="T18" fmla="*/ 0 w 112"/>
              <a:gd name="T19" fmla="*/ 128 h 128"/>
              <a:gd name="T20" fmla="*/ 0 w 112"/>
              <a:gd name="T21" fmla="*/ 128 h 128"/>
              <a:gd name="T22" fmla="*/ 112 w 112"/>
              <a:gd name="T23" fmla="*/ 128 h 128"/>
              <a:gd name="T24" fmla="*/ 112 w 112"/>
              <a:gd name="T25" fmla="*/ 128 h 128"/>
              <a:gd name="T26" fmla="*/ 112 w 112"/>
              <a:gd name="T27" fmla="*/ 48 h 128"/>
              <a:gd name="T28" fmla="*/ 112 w 112"/>
              <a:gd name="T29" fmla="*/ 48 h 128"/>
              <a:gd name="T30" fmla="*/ 20 w 112"/>
              <a:gd name="T31" fmla="*/ 44 h 128"/>
              <a:gd name="T32" fmla="*/ 56 w 112"/>
              <a:gd name="T33" fmla="*/ 8 h 128"/>
              <a:gd name="T34" fmla="*/ 92 w 112"/>
              <a:gd name="T35" fmla="*/ 44 h 128"/>
              <a:gd name="T36" fmla="*/ 92 w 112"/>
              <a:gd name="T37" fmla="*/ 48 h 128"/>
              <a:gd name="T38" fmla="*/ 20 w 112"/>
              <a:gd name="T39" fmla="*/ 48 h 128"/>
              <a:gd name="T40" fmla="*/ 20 w 112"/>
              <a:gd name="T41" fmla="*/ 44 h 128"/>
              <a:gd name="T42" fmla="*/ 8 w 112"/>
              <a:gd name="T43" fmla="*/ 120 h 128"/>
              <a:gd name="T44" fmla="*/ 8 w 112"/>
              <a:gd name="T45" fmla="*/ 56 h 128"/>
              <a:gd name="T46" fmla="*/ 104 w 112"/>
              <a:gd name="T47" fmla="*/ 56 h 128"/>
              <a:gd name="T48" fmla="*/ 104 w 112"/>
              <a:gd name="T49" fmla="*/ 120 h 128"/>
              <a:gd name="T50" fmla="*/ 8 w 112"/>
              <a:gd name="T51" fmla="*/ 120 h 128"/>
              <a:gd name="T52" fmla="*/ 64 w 112"/>
              <a:gd name="T53" fmla="*/ 104 h 128"/>
              <a:gd name="T54" fmla="*/ 48 w 112"/>
              <a:gd name="T55" fmla="*/ 104 h 128"/>
              <a:gd name="T56" fmla="*/ 48 w 112"/>
              <a:gd name="T57" fmla="*/ 72 h 128"/>
              <a:gd name="T58" fmla="*/ 64 w 112"/>
              <a:gd name="T59" fmla="*/ 72 h 128"/>
              <a:gd name="T60" fmla="*/ 64 w 112"/>
              <a:gd name="T61"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 h="128">
                <a:moveTo>
                  <a:pt x="112" y="48"/>
                </a:moveTo>
                <a:cubicBezTo>
                  <a:pt x="100" y="48"/>
                  <a:pt x="100" y="48"/>
                  <a:pt x="100" y="48"/>
                </a:cubicBezTo>
                <a:cubicBezTo>
                  <a:pt x="100" y="44"/>
                  <a:pt x="100" y="44"/>
                  <a:pt x="100" y="44"/>
                </a:cubicBezTo>
                <a:cubicBezTo>
                  <a:pt x="100" y="20"/>
                  <a:pt x="80" y="0"/>
                  <a:pt x="56" y="0"/>
                </a:cubicBezTo>
                <a:cubicBezTo>
                  <a:pt x="32" y="0"/>
                  <a:pt x="12" y="20"/>
                  <a:pt x="12" y="44"/>
                </a:cubicBezTo>
                <a:cubicBezTo>
                  <a:pt x="12" y="44"/>
                  <a:pt x="12" y="44"/>
                  <a:pt x="12" y="44"/>
                </a:cubicBezTo>
                <a:cubicBezTo>
                  <a:pt x="12" y="48"/>
                  <a:pt x="12" y="48"/>
                  <a:pt x="12" y="48"/>
                </a:cubicBezTo>
                <a:cubicBezTo>
                  <a:pt x="0" y="48"/>
                  <a:pt x="0" y="48"/>
                  <a:pt x="0" y="48"/>
                </a:cubicBezTo>
                <a:cubicBezTo>
                  <a:pt x="0" y="48"/>
                  <a:pt x="0" y="48"/>
                  <a:pt x="0" y="48"/>
                </a:cubicBezTo>
                <a:cubicBezTo>
                  <a:pt x="0" y="128"/>
                  <a:pt x="0" y="128"/>
                  <a:pt x="0" y="128"/>
                </a:cubicBezTo>
                <a:cubicBezTo>
                  <a:pt x="0" y="128"/>
                  <a:pt x="0" y="128"/>
                  <a:pt x="0" y="128"/>
                </a:cubicBezTo>
                <a:cubicBezTo>
                  <a:pt x="112" y="128"/>
                  <a:pt x="112" y="128"/>
                  <a:pt x="112" y="128"/>
                </a:cubicBezTo>
                <a:cubicBezTo>
                  <a:pt x="112" y="128"/>
                  <a:pt x="112" y="128"/>
                  <a:pt x="112" y="128"/>
                </a:cubicBezTo>
                <a:cubicBezTo>
                  <a:pt x="112" y="48"/>
                  <a:pt x="112" y="48"/>
                  <a:pt x="112" y="48"/>
                </a:cubicBezTo>
                <a:cubicBezTo>
                  <a:pt x="112" y="48"/>
                  <a:pt x="112" y="48"/>
                  <a:pt x="112" y="48"/>
                </a:cubicBezTo>
                <a:close/>
                <a:moveTo>
                  <a:pt x="20" y="44"/>
                </a:moveTo>
                <a:cubicBezTo>
                  <a:pt x="20" y="24"/>
                  <a:pt x="36" y="8"/>
                  <a:pt x="56" y="8"/>
                </a:cubicBezTo>
                <a:cubicBezTo>
                  <a:pt x="76" y="8"/>
                  <a:pt x="92" y="24"/>
                  <a:pt x="92" y="44"/>
                </a:cubicBezTo>
                <a:cubicBezTo>
                  <a:pt x="92" y="48"/>
                  <a:pt x="92" y="48"/>
                  <a:pt x="92" y="48"/>
                </a:cubicBezTo>
                <a:cubicBezTo>
                  <a:pt x="20" y="48"/>
                  <a:pt x="20" y="48"/>
                  <a:pt x="20" y="48"/>
                </a:cubicBezTo>
                <a:cubicBezTo>
                  <a:pt x="20" y="44"/>
                  <a:pt x="20" y="44"/>
                  <a:pt x="20" y="44"/>
                </a:cubicBezTo>
                <a:close/>
                <a:moveTo>
                  <a:pt x="8" y="120"/>
                </a:moveTo>
                <a:cubicBezTo>
                  <a:pt x="8" y="56"/>
                  <a:pt x="8" y="56"/>
                  <a:pt x="8" y="56"/>
                </a:cubicBezTo>
                <a:cubicBezTo>
                  <a:pt x="104" y="56"/>
                  <a:pt x="104" y="56"/>
                  <a:pt x="104" y="56"/>
                </a:cubicBezTo>
                <a:cubicBezTo>
                  <a:pt x="104" y="120"/>
                  <a:pt x="104" y="120"/>
                  <a:pt x="104" y="120"/>
                </a:cubicBezTo>
                <a:lnTo>
                  <a:pt x="8" y="120"/>
                </a:lnTo>
                <a:close/>
                <a:moveTo>
                  <a:pt x="64" y="104"/>
                </a:moveTo>
                <a:cubicBezTo>
                  <a:pt x="48" y="104"/>
                  <a:pt x="48" y="104"/>
                  <a:pt x="48" y="104"/>
                </a:cubicBezTo>
                <a:cubicBezTo>
                  <a:pt x="48" y="72"/>
                  <a:pt x="48" y="72"/>
                  <a:pt x="48" y="72"/>
                </a:cubicBezTo>
                <a:cubicBezTo>
                  <a:pt x="64" y="72"/>
                  <a:pt x="64" y="72"/>
                  <a:pt x="64" y="72"/>
                </a:cubicBezTo>
                <a:lnTo>
                  <a:pt x="64" y="104"/>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9" name="Freeform 45">
            <a:extLst>
              <a:ext uri="{FF2B5EF4-FFF2-40B4-BE49-F238E27FC236}">
                <a16:creationId xmlns:a16="http://schemas.microsoft.com/office/drawing/2014/main" id="{3C3FCBA8-CC6E-4D13-BAD0-DFF3B55D8905}"/>
              </a:ext>
            </a:extLst>
          </p:cNvPr>
          <p:cNvSpPr>
            <a:spLocks noEditPoints="1"/>
          </p:cNvSpPr>
          <p:nvPr/>
        </p:nvSpPr>
        <p:spPr bwMode="auto">
          <a:xfrm>
            <a:off x="6051122" y="1616144"/>
            <a:ext cx="414338" cy="388938"/>
          </a:xfrm>
          <a:custGeom>
            <a:avLst/>
            <a:gdLst>
              <a:gd name="T0" fmla="*/ 188 w 261"/>
              <a:gd name="T1" fmla="*/ 172 h 245"/>
              <a:gd name="T2" fmla="*/ 188 w 261"/>
              <a:gd name="T3" fmla="*/ 245 h 245"/>
              <a:gd name="T4" fmla="*/ 0 w 261"/>
              <a:gd name="T5" fmla="*/ 245 h 245"/>
              <a:gd name="T6" fmla="*/ 0 w 261"/>
              <a:gd name="T7" fmla="*/ 0 h 245"/>
              <a:gd name="T8" fmla="*/ 188 w 261"/>
              <a:gd name="T9" fmla="*/ 0 h 245"/>
              <a:gd name="T10" fmla="*/ 188 w 261"/>
              <a:gd name="T11" fmla="*/ 74 h 245"/>
              <a:gd name="T12" fmla="*/ 171 w 261"/>
              <a:gd name="T13" fmla="*/ 74 h 245"/>
              <a:gd name="T14" fmla="*/ 171 w 261"/>
              <a:gd name="T15" fmla="*/ 16 h 245"/>
              <a:gd name="T16" fmla="*/ 16 w 261"/>
              <a:gd name="T17" fmla="*/ 16 h 245"/>
              <a:gd name="T18" fmla="*/ 16 w 261"/>
              <a:gd name="T19" fmla="*/ 229 h 245"/>
              <a:gd name="T20" fmla="*/ 171 w 261"/>
              <a:gd name="T21" fmla="*/ 229 h 245"/>
              <a:gd name="T22" fmla="*/ 171 w 261"/>
              <a:gd name="T23" fmla="*/ 172 h 245"/>
              <a:gd name="T24" fmla="*/ 188 w 261"/>
              <a:gd name="T25" fmla="*/ 172 h 245"/>
              <a:gd name="T26" fmla="*/ 139 w 261"/>
              <a:gd name="T27" fmla="*/ 157 h 245"/>
              <a:gd name="T28" fmla="*/ 112 w 261"/>
              <a:gd name="T29" fmla="*/ 131 h 245"/>
              <a:gd name="T30" fmla="*/ 261 w 261"/>
              <a:gd name="T31" fmla="*/ 131 h 245"/>
              <a:gd name="T32" fmla="*/ 261 w 261"/>
              <a:gd name="T33" fmla="*/ 114 h 245"/>
              <a:gd name="T34" fmla="*/ 112 w 261"/>
              <a:gd name="T35" fmla="*/ 114 h 245"/>
              <a:gd name="T36" fmla="*/ 139 w 261"/>
              <a:gd name="T37" fmla="*/ 88 h 245"/>
              <a:gd name="T38" fmla="*/ 128 w 261"/>
              <a:gd name="T39" fmla="*/ 76 h 245"/>
              <a:gd name="T40" fmla="*/ 82 w 261"/>
              <a:gd name="T41" fmla="*/ 123 h 245"/>
              <a:gd name="T42" fmla="*/ 128 w 261"/>
              <a:gd name="T43" fmla="*/ 170 h 245"/>
              <a:gd name="T44" fmla="*/ 139 w 261"/>
              <a:gd name="T45" fmla="*/ 157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245">
                <a:moveTo>
                  <a:pt x="188" y="172"/>
                </a:moveTo>
                <a:lnTo>
                  <a:pt x="188" y="245"/>
                </a:lnTo>
                <a:lnTo>
                  <a:pt x="0" y="245"/>
                </a:lnTo>
                <a:lnTo>
                  <a:pt x="0" y="0"/>
                </a:lnTo>
                <a:lnTo>
                  <a:pt x="188" y="0"/>
                </a:lnTo>
                <a:lnTo>
                  <a:pt x="188" y="74"/>
                </a:lnTo>
                <a:lnTo>
                  <a:pt x="171" y="74"/>
                </a:lnTo>
                <a:lnTo>
                  <a:pt x="171" y="16"/>
                </a:lnTo>
                <a:lnTo>
                  <a:pt x="16" y="16"/>
                </a:lnTo>
                <a:lnTo>
                  <a:pt x="16" y="229"/>
                </a:lnTo>
                <a:lnTo>
                  <a:pt x="171" y="229"/>
                </a:lnTo>
                <a:lnTo>
                  <a:pt x="171" y="172"/>
                </a:lnTo>
                <a:lnTo>
                  <a:pt x="188" y="172"/>
                </a:lnTo>
                <a:close/>
                <a:moveTo>
                  <a:pt x="139" y="157"/>
                </a:moveTo>
                <a:lnTo>
                  <a:pt x="112" y="131"/>
                </a:lnTo>
                <a:lnTo>
                  <a:pt x="261" y="131"/>
                </a:lnTo>
                <a:lnTo>
                  <a:pt x="261" y="114"/>
                </a:lnTo>
                <a:lnTo>
                  <a:pt x="112" y="114"/>
                </a:lnTo>
                <a:lnTo>
                  <a:pt x="139" y="88"/>
                </a:lnTo>
                <a:lnTo>
                  <a:pt x="128" y="76"/>
                </a:lnTo>
                <a:lnTo>
                  <a:pt x="82" y="123"/>
                </a:lnTo>
                <a:lnTo>
                  <a:pt x="128" y="170"/>
                </a:lnTo>
                <a:lnTo>
                  <a:pt x="139" y="15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0" name="Freeform 53">
            <a:extLst>
              <a:ext uri="{FF2B5EF4-FFF2-40B4-BE49-F238E27FC236}">
                <a16:creationId xmlns:a16="http://schemas.microsoft.com/office/drawing/2014/main" id="{0DE51B66-F171-43C2-AAD0-043933D64F20}"/>
              </a:ext>
            </a:extLst>
          </p:cNvPr>
          <p:cNvSpPr>
            <a:spLocks noEditPoints="1"/>
          </p:cNvSpPr>
          <p:nvPr/>
        </p:nvSpPr>
        <p:spPr bwMode="auto">
          <a:xfrm>
            <a:off x="7108462" y="2413008"/>
            <a:ext cx="388937" cy="412750"/>
          </a:xfrm>
          <a:custGeom>
            <a:avLst/>
            <a:gdLst>
              <a:gd name="T0" fmla="*/ 55 w 120"/>
              <a:gd name="T1" fmla="*/ 30 h 128"/>
              <a:gd name="T2" fmla="*/ 46 w 120"/>
              <a:gd name="T3" fmla="*/ 19 h 128"/>
              <a:gd name="T4" fmla="*/ 54 w 120"/>
              <a:gd name="T5" fmla="*/ 16 h 128"/>
              <a:gd name="T6" fmla="*/ 56 w 120"/>
              <a:gd name="T7" fmla="*/ 0 h 128"/>
              <a:gd name="T8" fmla="*/ 84 w 120"/>
              <a:gd name="T9" fmla="*/ 4 h 128"/>
              <a:gd name="T10" fmla="*/ 82 w 120"/>
              <a:gd name="T11" fmla="*/ 20 h 128"/>
              <a:gd name="T12" fmla="*/ 94 w 120"/>
              <a:gd name="T13" fmla="*/ 30 h 128"/>
              <a:gd name="T14" fmla="*/ 109 w 120"/>
              <a:gd name="T15" fmla="*/ 24 h 128"/>
              <a:gd name="T16" fmla="*/ 120 w 120"/>
              <a:gd name="T17" fmla="*/ 50 h 128"/>
              <a:gd name="T18" fmla="*/ 105 w 120"/>
              <a:gd name="T19" fmla="*/ 56 h 128"/>
              <a:gd name="T20" fmla="*/ 104 w 120"/>
              <a:gd name="T21" fmla="*/ 63 h 128"/>
              <a:gd name="T22" fmla="*/ 90 w 120"/>
              <a:gd name="T23" fmla="*/ 61 h 128"/>
              <a:gd name="T24" fmla="*/ 66 w 120"/>
              <a:gd name="T25" fmla="*/ 30 h 128"/>
              <a:gd name="T26" fmla="*/ 55 w 120"/>
              <a:gd name="T27" fmla="*/ 30 h 128"/>
              <a:gd name="T28" fmla="*/ 98 w 120"/>
              <a:gd name="T29" fmla="*/ 72 h 128"/>
              <a:gd name="T30" fmla="*/ 98 w 120"/>
              <a:gd name="T31" fmla="*/ 72 h 128"/>
              <a:gd name="T32" fmla="*/ 84 w 120"/>
              <a:gd name="T33" fmla="*/ 72 h 128"/>
              <a:gd name="T34" fmla="*/ 84 w 120"/>
              <a:gd name="T35" fmla="*/ 72 h 128"/>
              <a:gd name="T36" fmla="*/ 56 w 120"/>
              <a:gd name="T37" fmla="*/ 100 h 128"/>
              <a:gd name="T38" fmla="*/ 28 w 120"/>
              <a:gd name="T39" fmla="*/ 72 h 128"/>
              <a:gd name="T40" fmla="*/ 45 w 120"/>
              <a:gd name="T41" fmla="*/ 46 h 128"/>
              <a:gd name="T42" fmla="*/ 35 w 120"/>
              <a:gd name="T43" fmla="*/ 36 h 128"/>
              <a:gd name="T44" fmla="*/ 29 w 120"/>
              <a:gd name="T45" fmla="*/ 40 h 128"/>
              <a:gd name="T46" fmla="*/ 14 w 120"/>
              <a:gd name="T47" fmla="*/ 32 h 128"/>
              <a:gd name="T48" fmla="*/ 0 w 120"/>
              <a:gd name="T49" fmla="*/ 56 h 128"/>
              <a:gd name="T50" fmla="*/ 14 w 120"/>
              <a:gd name="T51" fmla="*/ 64 h 128"/>
              <a:gd name="T52" fmla="*/ 14 w 120"/>
              <a:gd name="T53" fmla="*/ 72 h 128"/>
              <a:gd name="T54" fmla="*/ 14 w 120"/>
              <a:gd name="T55" fmla="*/ 80 h 128"/>
              <a:gd name="T56" fmla="*/ 0 w 120"/>
              <a:gd name="T57" fmla="*/ 88 h 128"/>
              <a:gd name="T58" fmla="*/ 14 w 120"/>
              <a:gd name="T59" fmla="*/ 112 h 128"/>
              <a:gd name="T60" fmla="*/ 29 w 120"/>
              <a:gd name="T61" fmla="*/ 104 h 128"/>
              <a:gd name="T62" fmla="*/ 42 w 120"/>
              <a:gd name="T63" fmla="*/ 112 h 128"/>
              <a:gd name="T64" fmla="*/ 42 w 120"/>
              <a:gd name="T65" fmla="*/ 128 h 128"/>
              <a:gd name="T66" fmla="*/ 70 w 120"/>
              <a:gd name="T67" fmla="*/ 128 h 128"/>
              <a:gd name="T68" fmla="*/ 70 w 120"/>
              <a:gd name="T69" fmla="*/ 112 h 128"/>
              <a:gd name="T70" fmla="*/ 84 w 120"/>
              <a:gd name="T71" fmla="*/ 104 h 128"/>
              <a:gd name="T72" fmla="*/ 98 w 120"/>
              <a:gd name="T73" fmla="*/ 112 h 128"/>
              <a:gd name="T74" fmla="*/ 112 w 120"/>
              <a:gd name="T75" fmla="*/ 88 h 128"/>
              <a:gd name="T76" fmla="*/ 98 w 120"/>
              <a:gd name="T77" fmla="*/ 80 h 128"/>
              <a:gd name="T78" fmla="*/ 98 w 120"/>
              <a:gd name="T79" fmla="*/ 7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20" h="128">
                <a:moveTo>
                  <a:pt x="55" y="30"/>
                </a:moveTo>
                <a:cubicBezTo>
                  <a:pt x="46" y="19"/>
                  <a:pt x="46" y="19"/>
                  <a:pt x="46" y="19"/>
                </a:cubicBezTo>
                <a:cubicBezTo>
                  <a:pt x="49" y="18"/>
                  <a:pt x="51" y="17"/>
                  <a:pt x="54" y="16"/>
                </a:cubicBezTo>
                <a:cubicBezTo>
                  <a:pt x="56" y="0"/>
                  <a:pt x="56" y="0"/>
                  <a:pt x="56" y="0"/>
                </a:cubicBezTo>
                <a:cubicBezTo>
                  <a:pt x="84" y="4"/>
                  <a:pt x="84" y="4"/>
                  <a:pt x="84" y="4"/>
                </a:cubicBezTo>
                <a:cubicBezTo>
                  <a:pt x="82" y="20"/>
                  <a:pt x="82" y="20"/>
                  <a:pt x="82" y="20"/>
                </a:cubicBezTo>
                <a:cubicBezTo>
                  <a:pt x="87" y="23"/>
                  <a:pt x="91" y="26"/>
                  <a:pt x="94" y="30"/>
                </a:cubicBezTo>
                <a:cubicBezTo>
                  <a:pt x="109" y="24"/>
                  <a:pt x="109" y="24"/>
                  <a:pt x="109" y="24"/>
                </a:cubicBezTo>
                <a:cubicBezTo>
                  <a:pt x="120" y="50"/>
                  <a:pt x="120" y="50"/>
                  <a:pt x="120" y="50"/>
                </a:cubicBezTo>
                <a:cubicBezTo>
                  <a:pt x="105" y="56"/>
                  <a:pt x="105" y="56"/>
                  <a:pt x="105" y="56"/>
                </a:cubicBezTo>
                <a:cubicBezTo>
                  <a:pt x="105" y="58"/>
                  <a:pt x="105" y="61"/>
                  <a:pt x="104" y="63"/>
                </a:cubicBezTo>
                <a:cubicBezTo>
                  <a:pt x="90" y="61"/>
                  <a:pt x="90" y="61"/>
                  <a:pt x="90" y="61"/>
                </a:cubicBezTo>
                <a:cubicBezTo>
                  <a:pt x="92" y="46"/>
                  <a:pt x="82" y="32"/>
                  <a:pt x="66" y="30"/>
                </a:cubicBezTo>
                <a:cubicBezTo>
                  <a:pt x="62" y="29"/>
                  <a:pt x="58" y="29"/>
                  <a:pt x="55" y="30"/>
                </a:cubicBezTo>
                <a:close/>
                <a:moveTo>
                  <a:pt x="98" y="72"/>
                </a:moveTo>
                <a:cubicBezTo>
                  <a:pt x="98" y="72"/>
                  <a:pt x="98" y="72"/>
                  <a:pt x="98" y="72"/>
                </a:cubicBezTo>
                <a:cubicBezTo>
                  <a:pt x="84" y="72"/>
                  <a:pt x="84" y="72"/>
                  <a:pt x="84" y="72"/>
                </a:cubicBezTo>
                <a:cubicBezTo>
                  <a:pt x="84" y="72"/>
                  <a:pt x="84" y="72"/>
                  <a:pt x="84" y="72"/>
                </a:cubicBezTo>
                <a:cubicBezTo>
                  <a:pt x="84" y="87"/>
                  <a:pt x="72" y="100"/>
                  <a:pt x="56" y="100"/>
                </a:cubicBezTo>
                <a:cubicBezTo>
                  <a:pt x="40" y="100"/>
                  <a:pt x="28" y="87"/>
                  <a:pt x="28" y="72"/>
                </a:cubicBezTo>
                <a:cubicBezTo>
                  <a:pt x="28" y="61"/>
                  <a:pt x="35" y="51"/>
                  <a:pt x="45" y="46"/>
                </a:cubicBezTo>
                <a:cubicBezTo>
                  <a:pt x="35" y="36"/>
                  <a:pt x="35" y="36"/>
                  <a:pt x="35" y="36"/>
                </a:cubicBezTo>
                <a:cubicBezTo>
                  <a:pt x="32" y="37"/>
                  <a:pt x="30" y="39"/>
                  <a:pt x="29" y="40"/>
                </a:cubicBezTo>
                <a:cubicBezTo>
                  <a:pt x="14" y="32"/>
                  <a:pt x="14" y="32"/>
                  <a:pt x="14" y="32"/>
                </a:cubicBezTo>
                <a:cubicBezTo>
                  <a:pt x="0" y="56"/>
                  <a:pt x="0" y="56"/>
                  <a:pt x="0" y="56"/>
                </a:cubicBezTo>
                <a:cubicBezTo>
                  <a:pt x="14" y="64"/>
                  <a:pt x="14" y="64"/>
                  <a:pt x="14" y="64"/>
                </a:cubicBezTo>
                <a:cubicBezTo>
                  <a:pt x="14" y="67"/>
                  <a:pt x="14" y="69"/>
                  <a:pt x="14" y="72"/>
                </a:cubicBezTo>
                <a:cubicBezTo>
                  <a:pt x="14" y="75"/>
                  <a:pt x="14" y="77"/>
                  <a:pt x="14" y="80"/>
                </a:cubicBezTo>
                <a:cubicBezTo>
                  <a:pt x="0" y="88"/>
                  <a:pt x="0" y="88"/>
                  <a:pt x="0" y="88"/>
                </a:cubicBezTo>
                <a:cubicBezTo>
                  <a:pt x="14" y="112"/>
                  <a:pt x="14" y="112"/>
                  <a:pt x="14" y="112"/>
                </a:cubicBezTo>
                <a:cubicBezTo>
                  <a:pt x="29" y="104"/>
                  <a:pt x="29" y="104"/>
                  <a:pt x="29" y="104"/>
                </a:cubicBezTo>
                <a:cubicBezTo>
                  <a:pt x="32" y="107"/>
                  <a:pt x="37" y="110"/>
                  <a:pt x="42" y="112"/>
                </a:cubicBezTo>
                <a:cubicBezTo>
                  <a:pt x="42" y="128"/>
                  <a:pt x="42" y="128"/>
                  <a:pt x="42" y="128"/>
                </a:cubicBezTo>
                <a:cubicBezTo>
                  <a:pt x="70" y="128"/>
                  <a:pt x="70" y="128"/>
                  <a:pt x="70" y="128"/>
                </a:cubicBezTo>
                <a:cubicBezTo>
                  <a:pt x="70" y="112"/>
                  <a:pt x="70" y="112"/>
                  <a:pt x="70" y="112"/>
                </a:cubicBezTo>
                <a:cubicBezTo>
                  <a:pt x="75" y="110"/>
                  <a:pt x="80" y="107"/>
                  <a:pt x="84" y="104"/>
                </a:cubicBezTo>
                <a:cubicBezTo>
                  <a:pt x="98" y="112"/>
                  <a:pt x="98" y="112"/>
                  <a:pt x="98" y="112"/>
                </a:cubicBezTo>
                <a:cubicBezTo>
                  <a:pt x="112" y="88"/>
                  <a:pt x="112" y="88"/>
                  <a:pt x="112" y="88"/>
                </a:cubicBezTo>
                <a:cubicBezTo>
                  <a:pt x="98" y="80"/>
                  <a:pt x="98" y="80"/>
                  <a:pt x="98" y="80"/>
                </a:cubicBezTo>
                <a:cubicBezTo>
                  <a:pt x="98" y="77"/>
                  <a:pt x="98" y="75"/>
                  <a:pt x="98" y="72"/>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1" name="Freeform 57">
            <a:extLst>
              <a:ext uri="{FF2B5EF4-FFF2-40B4-BE49-F238E27FC236}">
                <a16:creationId xmlns:a16="http://schemas.microsoft.com/office/drawing/2014/main" id="{D2267D8A-87AF-4477-BF33-E9982F989DBA}"/>
              </a:ext>
            </a:extLst>
          </p:cNvPr>
          <p:cNvSpPr>
            <a:spLocks noEditPoints="1"/>
          </p:cNvSpPr>
          <p:nvPr/>
        </p:nvSpPr>
        <p:spPr bwMode="auto">
          <a:xfrm>
            <a:off x="8181201" y="2481730"/>
            <a:ext cx="335912" cy="337204"/>
          </a:xfrm>
          <a:custGeom>
            <a:avLst/>
            <a:gdLst>
              <a:gd name="T0" fmla="*/ 28 w 260"/>
              <a:gd name="T1" fmla="*/ 16 h 261"/>
              <a:gd name="T2" fmla="*/ 83 w 260"/>
              <a:gd name="T3" fmla="*/ 71 h 261"/>
              <a:gd name="T4" fmla="*/ 71 w 260"/>
              <a:gd name="T5" fmla="*/ 84 h 261"/>
              <a:gd name="T6" fmla="*/ 16 w 260"/>
              <a:gd name="T7" fmla="*/ 29 h 261"/>
              <a:gd name="T8" fmla="*/ 16 w 260"/>
              <a:gd name="T9" fmla="*/ 82 h 261"/>
              <a:gd name="T10" fmla="*/ 0 w 260"/>
              <a:gd name="T11" fmla="*/ 82 h 261"/>
              <a:gd name="T12" fmla="*/ 0 w 260"/>
              <a:gd name="T13" fmla="*/ 0 h 261"/>
              <a:gd name="T14" fmla="*/ 81 w 260"/>
              <a:gd name="T15" fmla="*/ 0 h 261"/>
              <a:gd name="T16" fmla="*/ 81 w 260"/>
              <a:gd name="T17" fmla="*/ 16 h 261"/>
              <a:gd name="T18" fmla="*/ 28 w 260"/>
              <a:gd name="T19" fmla="*/ 16 h 261"/>
              <a:gd name="T20" fmla="*/ 83 w 260"/>
              <a:gd name="T21" fmla="*/ 190 h 261"/>
              <a:gd name="T22" fmla="*/ 28 w 260"/>
              <a:gd name="T23" fmla="*/ 245 h 261"/>
              <a:gd name="T24" fmla="*/ 81 w 260"/>
              <a:gd name="T25" fmla="*/ 245 h 261"/>
              <a:gd name="T26" fmla="*/ 81 w 260"/>
              <a:gd name="T27" fmla="*/ 261 h 261"/>
              <a:gd name="T28" fmla="*/ 0 w 260"/>
              <a:gd name="T29" fmla="*/ 261 h 261"/>
              <a:gd name="T30" fmla="*/ 0 w 260"/>
              <a:gd name="T31" fmla="*/ 179 h 261"/>
              <a:gd name="T32" fmla="*/ 16 w 260"/>
              <a:gd name="T33" fmla="*/ 179 h 261"/>
              <a:gd name="T34" fmla="*/ 16 w 260"/>
              <a:gd name="T35" fmla="*/ 232 h 261"/>
              <a:gd name="T36" fmla="*/ 71 w 260"/>
              <a:gd name="T37" fmla="*/ 177 h 261"/>
              <a:gd name="T38" fmla="*/ 83 w 260"/>
              <a:gd name="T39" fmla="*/ 190 h 261"/>
              <a:gd name="T40" fmla="*/ 89 w 260"/>
              <a:gd name="T41" fmla="*/ 171 h 261"/>
              <a:gd name="T42" fmla="*/ 171 w 260"/>
              <a:gd name="T43" fmla="*/ 171 h 261"/>
              <a:gd name="T44" fmla="*/ 171 w 260"/>
              <a:gd name="T45" fmla="*/ 90 h 261"/>
              <a:gd name="T46" fmla="*/ 89 w 260"/>
              <a:gd name="T47" fmla="*/ 90 h 261"/>
              <a:gd name="T48" fmla="*/ 89 w 260"/>
              <a:gd name="T49" fmla="*/ 171 h 261"/>
              <a:gd name="T50" fmla="*/ 260 w 260"/>
              <a:gd name="T51" fmla="*/ 0 h 261"/>
              <a:gd name="T52" fmla="*/ 260 w 260"/>
              <a:gd name="T53" fmla="*/ 82 h 261"/>
              <a:gd name="T54" fmla="*/ 244 w 260"/>
              <a:gd name="T55" fmla="*/ 82 h 261"/>
              <a:gd name="T56" fmla="*/ 244 w 260"/>
              <a:gd name="T57" fmla="*/ 29 h 261"/>
              <a:gd name="T58" fmla="*/ 189 w 260"/>
              <a:gd name="T59" fmla="*/ 84 h 261"/>
              <a:gd name="T60" fmla="*/ 177 w 260"/>
              <a:gd name="T61" fmla="*/ 71 h 261"/>
              <a:gd name="T62" fmla="*/ 231 w 260"/>
              <a:gd name="T63" fmla="*/ 16 h 261"/>
              <a:gd name="T64" fmla="*/ 179 w 260"/>
              <a:gd name="T65" fmla="*/ 16 h 261"/>
              <a:gd name="T66" fmla="*/ 179 w 260"/>
              <a:gd name="T67" fmla="*/ 0 h 261"/>
              <a:gd name="T68" fmla="*/ 260 w 260"/>
              <a:gd name="T69" fmla="*/ 0 h 261"/>
              <a:gd name="T70" fmla="*/ 260 w 260"/>
              <a:gd name="T71" fmla="*/ 245 h 261"/>
              <a:gd name="T72" fmla="*/ 260 w 260"/>
              <a:gd name="T73" fmla="*/ 261 h 261"/>
              <a:gd name="T74" fmla="*/ 179 w 260"/>
              <a:gd name="T75" fmla="*/ 261 h 261"/>
              <a:gd name="T76" fmla="*/ 179 w 260"/>
              <a:gd name="T77" fmla="*/ 245 h 261"/>
              <a:gd name="T78" fmla="*/ 231 w 260"/>
              <a:gd name="T79" fmla="*/ 245 h 261"/>
              <a:gd name="T80" fmla="*/ 177 w 260"/>
              <a:gd name="T81" fmla="*/ 190 h 261"/>
              <a:gd name="T82" fmla="*/ 189 w 260"/>
              <a:gd name="T83" fmla="*/ 177 h 261"/>
              <a:gd name="T84" fmla="*/ 244 w 260"/>
              <a:gd name="T85" fmla="*/ 232 h 261"/>
              <a:gd name="T86" fmla="*/ 244 w 260"/>
              <a:gd name="T87" fmla="*/ 179 h 261"/>
              <a:gd name="T88" fmla="*/ 260 w 260"/>
              <a:gd name="T89" fmla="*/ 179 h 261"/>
              <a:gd name="T90" fmla="*/ 260 w 260"/>
              <a:gd name="T91" fmla="*/ 245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60" h="261">
                <a:moveTo>
                  <a:pt x="28" y="16"/>
                </a:moveTo>
                <a:lnTo>
                  <a:pt x="83" y="71"/>
                </a:lnTo>
                <a:lnTo>
                  <a:pt x="71" y="84"/>
                </a:lnTo>
                <a:lnTo>
                  <a:pt x="16" y="29"/>
                </a:lnTo>
                <a:lnTo>
                  <a:pt x="16" y="82"/>
                </a:lnTo>
                <a:lnTo>
                  <a:pt x="0" y="82"/>
                </a:lnTo>
                <a:lnTo>
                  <a:pt x="0" y="0"/>
                </a:lnTo>
                <a:lnTo>
                  <a:pt x="81" y="0"/>
                </a:lnTo>
                <a:lnTo>
                  <a:pt x="81" y="16"/>
                </a:lnTo>
                <a:lnTo>
                  <a:pt x="28" y="16"/>
                </a:lnTo>
                <a:close/>
                <a:moveTo>
                  <a:pt x="83" y="190"/>
                </a:moveTo>
                <a:lnTo>
                  <a:pt x="28" y="245"/>
                </a:lnTo>
                <a:lnTo>
                  <a:pt x="81" y="245"/>
                </a:lnTo>
                <a:lnTo>
                  <a:pt x="81" y="261"/>
                </a:lnTo>
                <a:lnTo>
                  <a:pt x="0" y="261"/>
                </a:lnTo>
                <a:lnTo>
                  <a:pt x="0" y="179"/>
                </a:lnTo>
                <a:lnTo>
                  <a:pt x="16" y="179"/>
                </a:lnTo>
                <a:lnTo>
                  <a:pt x="16" y="232"/>
                </a:lnTo>
                <a:lnTo>
                  <a:pt x="71" y="177"/>
                </a:lnTo>
                <a:lnTo>
                  <a:pt x="83" y="190"/>
                </a:lnTo>
                <a:close/>
                <a:moveTo>
                  <a:pt x="89" y="171"/>
                </a:moveTo>
                <a:lnTo>
                  <a:pt x="171" y="171"/>
                </a:lnTo>
                <a:lnTo>
                  <a:pt x="171" y="90"/>
                </a:lnTo>
                <a:lnTo>
                  <a:pt x="89" y="90"/>
                </a:lnTo>
                <a:lnTo>
                  <a:pt x="89" y="171"/>
                </a:lnTo>
                <a:close/>
                <a:moveTo>
                  <a:pt x="260" y="0"/>
                </a:moveTo>
                <a:lnTo>
                  <a:pt x="260" y="82"/>
                </a:lnTo>
                <a:lnTo>
                  <a:pt x="244" y="82"/>
                </a:lnTo>
                <a:lnTo>
                  <a:pt x="244" y="29"/>
                </a:lnTo>
                <a:lnTo>
                  <a:pt x="189" y="84"/>
                </a:lnTo>
                <a:lnTo>
                  <a:pt x="177" y="71"/>
                </a:lnTo>
                <a:lnTo>
                  <a:pt x="231" y="16"/>
                </a:lnTo>
                <a:lnTo>
                  <a:pt x="179" y="16"/>
                </a:lnTo>
                <a:lnTo>
                  <a:pt x="179" y="0"/>
                </a:lnTo>
                <a:lnTo>
                  <a:pt x="260" y="0"/>
                </a:lnTo>
                <a:close/>
                <a:moveTo>
                  <a:pt x="260" y="245"/>
                </a:moveTo>
                <a:lnTo>
                  <a:pt x="260" y="261"/>
                </a:lnTo>
                <a:lnTo>
                  <a:pt x="179" y="261"/>
                </a:lnTo>
                <a:lnTo>
                  <a:pt x="179" y="245"/>
                </a:lnTo>
                <a:lnTo>
                  <a:pt x="231" y="245"/>
                </a:lnTo>
                <a:lnTo>
                  <a:pt x="177" y="190"/>
                </a:lnTo>
                <a:lnTo>
                  <a:pt x="189" y="177"/>
                </a:lnTo>
                <a:lnTo>
                  <a:pt x="244" y="232"/>
                </a:lnTo>
                <a:lnTo>
                  <a:pt x="244" y="179"/>
                </a:lnTo>
                <a:lnTo>
                  <a:pt x="260" y="179"/>
                </a:lnTo>
                <a:lnTo>
                  <a:pt x="260" y="24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2" name="Freeform 33">
            <a:extLst>
              <a:ext uri="{FF2B5EF4-FFF2-40B4-BE49-F238E27FC236}">
                <a16:creationId xmlns:a16="http://schemas.microsoft.com/office/drawing/2014/main" id="{5C79360A-9F6A-4F31-A1E5-D3D574F37D0D}"/>
              </a:ext>
            </a:extLst>
          </p:cNvPr>
          <p:cNvSpPr>
            <a:spLocks noEditPoints="1"/>
          </p:cNvSpPr>
          <p:nvPr/>
        </p:nvSpPr>
        <p:spPr bwMode="auto">
          <a:xfrm>
            <a:off x="2678542" y="4050221"/>
            <a:ext cx="412750" cy="414338"/>
          </a:xfrm>
          <a:custGeom>
            <a:avLst/>
            <a:gdLst>
              <a:gd name="T0" fmla="*/ 128 w 128"/>
              <a:gd name="T1" fmla="*/ 56 h 128"/>
              <a:gd name="T2" fmla="*/ 111 w 128"/>
              <a:gd name="T3" fmla="*/ 56 h 128"/>
              <a:gd name="T4" fmla="*/ 72 w 128"/>
              <a:gd name="T5" fmla="*/ 17 h 128"/>
              <a:gd name="T6" fmla="*/ 72 w 128"/>
              <a:gd name="T7" fmla="*/ 0 h 128"/>
              <a:gd name="T8" fmla="*/ 56 w 128"/>
              <a:gd name="T9" fmla="*/ 0 h 128"/>
              <a:gd name="T10" fmla="*/ 56 w 128"/>
              <a:gd name="T11" fmla="*/ 17 h 128"/>
              <a:gd name="T12" fmla="*/ 17 w 128"/>
              <a:gd name="T13" fmla="*/ 56 h 128"/>
              <a:gd name="T14" fmla="*/ 0 w 128"/>
              <a:gd name="T15" fmla="*/ 56 h 128"/>
              <a:gd name="T16" fmla="*/ 0 w 128"/>
              <a:gd name="T17" fmla="*/ 72 h 128"/>
              <a:gd name="T18" fmla="*/ 17 w 128"/>
              <a:gd name="T19" fmla="*/ 72 h 128"/>
              <a:gd name="T20" fmla="*/ 56 w 128"/>
              <a:gd name="T21" fmla="*/ 111 h 128"/>
              <a:gd name="T22" fmla="*/ 56 w 128"/>
              <a:gd name="T23" fmla="*/ 128 h 128"/>
              <a:gd name="T24" fmla="*/ 72 w 128"/>
              <a:gd name="T25" fmla="*/ 128 h 128"/>
              <a:gd name="T26" fmla="*/ 72 w 128"/>
              <a:gd name="T27" fmla="*/ 111 h 128"/>
              <a:gd name="T28" fmla="*/ 111 w 128"/>
              <a:gd name="T29" fmla="*/ 72 h 128"/>
              <a:gd name="T30" fmla="*/ 128 w 128"/>
              <a:gd name="T31" fmla="*/ 72 h 128"/>
              <a:gd name="T32" fmla="*/ 128 w 128"/>
              <a:gd name="T33" fmla="*/ 56 h 128"/>
              <a:gd name="T34" fmla="*/ 64 w 128"/>
              <a:gd name="T35" fmla="*/ 104 h 128"/>
              <a:gd name="T36" fmla="*/ 24 w 128"/>
              <a:gd name="T37" fmla="*/ 64 h 128"/>
              <a:gd name="T38" fmla="*/ 64 w 128"/>
              <a:gd name="T39" fmla="*/ 24 h 128"/>
              <a:gd name="T40" fmla="*/ 104 w 128"/>
              <a:gd name="T41" fmla="*/ 64 h 128"/>
              <a:gd name="T42" fmla="*/ 64 w 128"/>
              <a:gd name="T43" fmla="*/ 10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8" h="128">
                <a:moveTo>
                  <a:pt x="128" y="56"/>
                </a:moveTo>
                <a:cubicBezTo>
                  <a:pt x="111" y="56"/>
                  <a:pt x="111" y="56"/>
                  <a:pt x="111" y="56"/>
                </a:cubicBezTo>
                <a:cubicBezTo>
                  <a:pt x="108" y="36"/>
                  <a:pt x="92" y="20"/>
                  <a:pt x="72" y="17"/>
                </a:cubicBezTo>
                <a:cubicBezTo>
                  <a:pt x="72" y="0"/>
                  <a:pt x="72" y="0"/>
                  <a:pt x="72" y="0"/>
                </a:cubicBezTo>
                <a:cubicBezTo>
                  <a:pt x="56" y="0"/>
                  <a:pt x="56" y="0"/>
                  <a:pt x="56" y="0"/>
                </a:cubicBezTo>
                <a:cubicBezTo>
                  <a:pt x="56" y="17"/>
                  <a:pt x="56" y="17"/>
                  <a:pt x="56" y="17"/>
                </a:cubicBezTo>
                <a:cubicBezTo>
                  <a:pt x="36" y="20"/>
                  <a:pt x="20" y="36"/>
                  <a:pt x="17" y="56"/>
                </a:cubicBezTo>
                <a:cubicBezTo>
                  <a:pt x="0" y="56"/>
                  <a:pt x="0" y="56"/>
                  <a:pt x="0" y="56"/>
                </a:cubicBezTo>
                <a:cubicBezTo>
                  <a:pt x="0" y="72"/>
                  <a:pt x="0" y="72"/>
                  <a:pt x="0" y="72"/>
                </a:cubicBezTo>
                <a:cubicBezTo>
                  <a:pt x="17" y="72"/>
                  <a:pt x="17" y="72"/>
                  <a:pt x="17" y="72"/>
                </a:cubicBezTo>
                <a:cubicBezTo>
                  <a:pt x="20" y="92"/>
                  <a:pt x="36" y="108"/>
                  <a:pt x="56" y="111"/>
                </a:cubicBezTo>
                <a:cubicBezTo>
                  <a:pt x="56" y="128"/>
                  <a:pt x="56" y="128"/>
                  <a:pt x="56" y="128"/>
                </a:cubicBezTo>
                <a:cubicBezTo>
                  <a:pt x="72" y="128"/>
                  <a:pt x="72" y="128"/>
                  <a:pt x="72" y="128"/>
                </a:cubicBezTo>
                <a:cubicBezTo>
                  <a:pt x="72" y="111"/>
                  <a:pt x="72" y="111"/>
                  <a:pt x="72" y="111"/>
                </a:cubicBezTo>
                <a:cubicBezTo>
                  <a:pt x="92" y="108"/>
                  <a:pt x="108" y="92"/>
                  <a:pt x="111" y="72"/>
                </a:cubicBezTo>
                <a:cubicBezTo>
                  <a:pt x="128" y="72"/>
                  <a:pt x="128" y="72"/>
                  <a:pt x="128" y="72"/>
                </a:cubicBezTo>
                <a:lnTo>
                  <a:pt x="128" y="56"/>
                </a:lnTo>
                <a:close/>
                <a:moveTo>
                  <a:pt x="64" y="104"/>
                </a:moveTo>
                <a:cubicBezTo>
                  <a:pt x="42" y="104"/>
                  <a:pt x="24" y="86"/>
                  <a:pt x="24" y="64"/>
                </a:cubicBezTo>
                <a:cubicBezTo>
                  <a:pt x="24" y="42"/>
                  <a:pt x="42" y="24"/>
                  <a:pt x="64" y="24"/>
                </a:cubicBezTo>
                <a:cubicBezTo>
                  <a:pt x="86" y="24"/>
                  <a:pt x="104" y="42"/>
                  <a:pt x="104" y="64"/>
                </a:cubicBezTo>
                <a:cubicBezTo>
                  <a:pt x="104" y="86"/>
                  <a:pt x="86" y="104"/>
                  <a:pt x="64" y="104"/>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3" name="Freeform 49">
            <a:extLst>
              <a:ext uri="{FF2B5EF4-FFF2-40B4-BE49-F238E27FC236}">
                <a16:creationId xmlns:a16="http://schemas.microsoft.com/office/drawing/2014/main" id="{8D52E13D-5F20-4F21-8F38-DABD962C9585}"/>
              </a:ext>
            </a:extLst>
          </p:cNvPr>
          <p:cNvSpPr>
            <a:spLocks noEditPoints="1"/>
          </p:cNvSpPr>
          <p:nvPr/>
        </p:nvSpPr>
        <p:spPr bwMode="auto">
          <a:xfrm>
            <a:off x="7095761" y="1616144"/>
            <a:ext cx="414338" cy="388938"/>
          </a:xfrm>
          <a:custGeom>
            <a:avLst/>
            <a:gdLst>
              <a:gd name="T0" fmla="*/ 179 w 261"/>
              <a:gd name="T1" fmla="*/ 172 h 245"/>
              <a:gd name="T2" fmla="*/ 179 w 261"/>
              <a:gd name="T3" fmla="*/ 245 h 245"/>
              <a:gd name="T4" fmla="*/ 0 w 261"/>
              <a:gd name="T5" fmla="*/ 245 h 245"/>
              <a:gd name="T6" fmla="*/ 0 w 261"/>
              <a:gd name="T7" fmla="*/ 0 h 245"/>
              <a:gd name="T8" fmla="*/ 179 w 261"/>
              <a:gd name="T9" fmla="*/ 0 h 245"/>
              <a:gd name="T10" fmla="*/ 179 w 261"/>
              <a:gd name="T11" fmla="*/ 74 h 245"/>
              <a:gd name="T12" fmla="*/ 163 w 261"/>
              <a:gd name="T13" fmla="*/ 74 h 245"/>
              <a:gd name="T14" fmla="*/ 163 w 261"/>
              <a:gd name="T15" fmla="*/ 16 h 245"/>
              <a:gd name="T16" fmla="*/ 16 w 261"/>
              <a:gd name="T17" fmla="*/ 16 h 245"/>
              <a:gd name="T18" fmla="*/ 16 w 261"/>
              <a:gd name="T19" fmla="*/ 229 h 245"/>
              <a:gd name="T20" fmla="*/ 163 w 261"/>
              <a:gd name="T21" fmla="*/ 229 h 245"/>
              <a:gd name="T22" fmla="*/ 163 w 261"/>
              <a:gd name="T23" fmla="*/ 172 h 245"/>
              <a:gd name="T24" fmla="*/ 179 w 261"/>
              <a:gd name="T25" fmla="*/ 172 h 245"/>
              <a:gd name="T26" fmla="*/ 204 w 261"/>
              <a:gd name="T27" fmla="*/ 88 h 245"/>
              <a:gd name="T28" fmla="*/ 230 w 261"/>
              <a:gd name="T29" fmla="*/ 114 h 245"/>
              <a:gd name="T30" fmla="*/ 98 w 261"/>
              <a:gd name="T31" fmla="*/ 114 h 245"/>
              <a:gd name="T32" fmla="*/ 98 w 261"/>
              <a:gd name="T33" fmla="*/ 131 h 245"/>
              <a:gd name="T34" fmla="*/ 230 w 261"/>
              <a:gd name="T35" fmla="*/ 131 h 245"/>
              <a:gd name="T36" fmla="*/ 204 w 261"/>
              <a:gd name="T37" fmla="*/ 157 h 245"/>
              <a:gd name="T38" fmla="*/ 214 w 261"/>
              <a:gd name="T39" fmla="*/ 170 h 245"/>
              <a:gd name="T40" fmla="*/ 261 w 261"/>
              <a:gd name="T41" fmla="*/ 123 h 245"/>
              <a:gd name="T42" fmla="*/ 214 w 261"/>
              <a:gd name="T43" fmla="*/ 76 h 245"/>
              <a:gd name="T44" fmla="*/ 204 w 261"/>
              <a:gd name="T45" fmla="*/ 8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1" h="245">
                <a:moveTo>
                  <a:pt x="179" y="172"/>
                </a:moveTo>
                <a:lnTo>
                  <a:pt x="179" y="245"/>
                </a:lnTo>
                <a:lnTo>
                  <a:pt x="0" y="245"/>
                </a:lnTo>
                <a:lnTo>
                  <a:pt x="0" y="0"/>
                </a:lnTo>
                <a:lnTo>
                  <a:pt x="179" y="0"/>
                </a:lnTo>
                <a:lnTo>
                  <a:pt x="179" y="74"/>
                </a:lnTo>
                <a:lnTo>
                  <a:pt x="163" y="74"/>
                </a:lnTo>
                <a:lnTo>
                  <a:pt x="163" y="16"/>
                </a:lnTo>
                <a:lnTo>
                  <a:pt x="16" y="16"/>
                </a:lnTo>
                <a:lnTo>
                  <a:pt x="16" y="229"/>
                </a:lnTo>
                <a:lnTo>
                  <a:pt x="163" y="229"/>
                </a:lnTo>
                <a:lnTo>
                  <a:pt x="163" y="172"/>
                </a:lnTo>
                <a:lnTo>
                  <a:pt x="179" y="172"/>
                </a:lnTo>
                <a:close/>
                <a:moveTo>
                  <a:pt x="204" y="88"/>
                </a:moveTo>
                <a:lnTo>
                  <a:pt x="230" y="114"/>
                </a:lnTo>
                <a:lnTo>
                  <a:pt x="98" y="114"/>
                </a:lnTo>
                <a:lnTo>
                  <a:pt x="98" y="131"/>
                </a:lnTo>
                <a:lnTo>
                  <a:pt x="230" y="131"/>
                </a:lnTo>
                <a:lnTo>
                  <a:pt x="204" y="157"/>
                </a:lnTo>
                <a:lnTo>
                  <a:pt x="214" y="170"/>
                </a:lnTo>
                <a:lnTo>
                  <a:pt x="261" y="123"/>
                </a:lnTo>
                <a:lnTo>
                  <a:pt x="214" y="76"/>
                </a:lnTo>
                <a:lnTo>
                  <a:pt x="204" y="8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04" name="Freeform 21">
            <a:extLst>
              <a:ext uri="{FF2B5EF4-FFF2-40B4-BE49-F238E27FC236}">
                <a16:creationId xmlns:a16="http://schemas.microsoft.com/office/drawing/2014/main" id="{AD142B0D-15E6-40A4-BCEA-96D19FA78571}"/>
              </a:ext>
            </a:extLst>
          </p:cNvPr>
          <p:cNvSpPr>
            <a:spLocks noEditPoints="1"/>
          </p:cNvSpPr>
          <p:nvPr/>
        </p:nvSpPr>
        <p:spPr bwMode="auto">
          <a:xfrm>
            <a:off x="1632314" y="3234747"/>
            <a:ext cx="414338" cy="373063"/>
          </a:xfrm>
          <a:custGeom>
            <a:avLst/>
            <a:gdLst>
              <a:gd name="T0" fmla="*/ 128 w 128"/>
              <a:gd name="T1" fmla="*/ 115 h 115"/>
              <a:gd name="T2" fmla="*/ 100 w 128"/>
              <a:gd name="T3" fmla="*/ 115 h 115"/>
              <a:gd name="T4" fmla="*/ 100 w 128"/>
              <a:gd name="T5" fmla="*/ 74 h 115"/>
              <a:gd name="T6" fmla="*/ 86 w 128"/>
              <a:gd name="T7" fmla="*/ 57 h 115"/>
              <a:gd name="T8" fmla="*/ 72 w 128"/>
              <a:gd name="T9" fmla="*/ 66 h 115"/>
              <a:gd name="T10" fmla="*/ 71 w 128"/>
              <a:gd name="T11" fmla="*/ 73 h 115"/>
              <a:gd name="T12" fmla="*/ 71 w 128"/>
              <a:gd name="T13" fmla="*/ 115 h 115"/>
              <a:gd name="T14" fmla="*/ 43 w 128"/>
              <a:gd name="T15" fmla="*/ 115 h 115"/>
              <a:gd name="T16" fmla="*/ 43 w 128"/>
              <a:gd name="T17" fmla="*/ 37 h 115"/>
              <a:gd name="T18" fmla="*/ 71 w 128"/>
              <a:gd name="T19" fmla="*/ 37 h 115"/>
              <a:gd name="T20" fmla="*/ 71 w 128"/>
              <a:gd name="T21" fmla="*/ 49 h 115"/>
              <a:gd name="T22" fmla="*/ 96 w 128"/>
              <a:gd name="T23" fmla="*/ 36 h 115"/>
              <a:gd name="T24" fmla="*/ 128 w 128"/>
              <a:gd name="T25" fmla="*/ 71 h 115"/>
              <a:gd name="T26" fmla="*/ 128 w 128"/>
              <a:gd name="T27" fmla="*/ 115 h 115"/>
              <a:gd name="T28" fmla="*/ 15 w 128"/>
              <a:gd name="T29" fmla="*/ 27 h 115"/>
              <a:gd name="T30" fmla="*/ 15 w 128"/>
              <a:gd name="T31" fmla="*/ 27 h 115"/>
              <a:gd name="T32" fmla="*/ 0 w 128"/>
              <a:gd name="T33" fmla="*/ 13 h 115"/>
              <a:gd name="T34" fmla="*/ 15 w 128"/>
              <a:gd name="T35" fmla="*/ 0 h 115"/>
              <a:gd name="T36" fmla="*/ 30 w 128"/>
              <a:gd name="T37" fmla="*/ 13 h 115"/>
              <a:gd name="T38" fmla="*/ 15 w 128"/>
              <a:gd name="T39" fmla="*/ 27 h 115"/>
              <a:gd name="T40" fmla="*/ 28 w 128"/>
              <a:gd name="T41" fmla="*/ 115 h 115"/>
              <a:gd name="T42" fmla="*/ 3 w 128"/>
              <a:gd name="T43" fmla="*/ 115 h 115"/>
              <a:gd name="T44" fmla="*/ 3 w 128"/>
              <a:gd name="T45" fmla="*/ 37 h 115"/>
              <a:gd name="T46" fmla="*/ 28 w 128"/>
              <a:gd name="T47" fmla="*/ 37 h 115"/>
              <a:gd name="T48" fmla="*/ 28 w 128"/>
              <a:gd name="T49" fmla="*/ 11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15">
                <a:moveTo>
                  <a:pt x="128" y="115"/>
                </a:moveTo>
                <a:cubicBezTo>
                  <a:pt x="100" y="115"/>
                  <a:pt x="100" y="115"/>
                  <a:pt x="100" y="115"/>
                </a:cubicBezTo>
                <a:cubicBezTo>
                  <a:pt x="100" y="74"/>
                  <a:pt x="100" y="74"/>
                  <a:pt x="100" y="74"/>
                </a:cubicBezTo>
                <a:cubicBezTo>
                  <a:pt x="100" y="64"/>
                  <a:pt x="95" y="57"/>
                  <a:pt x="86" y="57"/>
                </a:cubicBezTo>
                <a:cubicBezTo>
                  <a:pt x="78" y="57"/>
                  <a:pt x="74" y="61"/>
                  <a:pt x="72" y="66"/>
                </a:cubicBezTo>
                <a:cubicBezTo>
                  <a:pt x="71" y="68"/>
                  <a:pt x="71" y="70"/>
                  <a:pt x="71" y="73"/>
                </a:cubicBezTo>
                <a:cubicBezTo>
                  <a:pt x="71" y="115"/>
                  <a:pt x="71" y="115"/>
                  <a:pt x="71" y="115"/>
                </a:cubicBezTo>
                <a:cubicBezTo>
                  <a:pt x="43" y="115"/>
                  <a:pt x="43" y="115"/>
                  <a:pt x="43" y="115"/>
                </a:cubicBezTo>
                <a:cubicBezTo>
                  <a:pt x="43" y="115"/>
                  <a:pt x="44" y="43"/>
                  <a:pt x="43" y="37"/>
                </a:cubicBezTo>
                <a:cubicBezTo>
                  <a:pt x="71" y="37"/>
                  <a:pt x="71" y="37"/>
                  <a:pt x="71" y="37"/>
                </a:cubicBezTo>
                <a:cubicBezTo>
                  <a:pt x="71" y="49"/>
                  <a:pt x="71" y="49"/>
                  <a:pt x="71" y="49"/>
                </a:cubicBezTo>
                <a:cubicBezTo>
                  <a:pt x="73" y="43"/>
                  <a:pt x="82" y="36"/>
                  <a:pt x="96" y="36"/>
                </a:cubicBezTo>
                <a:cubicBezTo>
                  <a:pt x="114" y="36"/>
                  <a:pt x="128" y="47"/>
                  <a:pt x="128" y="71"/>
                </a:cubicBezTo>
                <a:lnTo>
                  <a:pt x="128" y="115"/>
                </a:lnTo>
                <a:close/>
                <a:moveTo>
                  <a:pt x="15" y="27"/>
                </a:moveTo>
                <a:cubicBezTo>
                  <a:pt x="15" y="27"/>
                  <a:pt x="15" y="27"/>
                  <a:pt x="15" y="27"/>
                </a:cubicBezTo>
                <a:cubicBezTo>
                  <a:pt x="6" y="27"/>
                  <a:pt x="0" y="21"/>
                  <a:pt x="0" y="13"/>
                </a:cubicBezTo>
                <a:cubicBezTo>
                  <a:pt x="0" y="5"/>
                  <a:pt x="6" y="0"/>
                  <a:pt x="15" y="0"/>
                </a:cubicBezTo>
                <a:cubicBezTo>
                  <a:pt x="24" y="0"/>
                  <a:pt x="30" y="5"/>
                  <a:pt x="30" y="13"/>
                </a:cubicBezTo>
                <a:cubicBezTo>
                  <a:pt x="30" y="21"/>
                  <a:pt x="24" y="27"/>
                  <a:pt x="15" y="27"/>
                </a:cubicBezTo>
                <a:moveTo>
                  <a:pt x="28" y="115"/>
                </a:moveTo>
                <a:cubicBezTo>
                  <a:pt x="3" y="115"/>
                  <a:pt x="3" y="115"/>
                  <a:pt x="3" y="115"/>
                </a:cubicBezTo>
                <a:cubicBezTo>
                  <a:pt x="3" y="37"/>
                  <a:pt x="3" y="37"/>
                  <a:pt x="3" y="37"/>
                </a:cubicBezTo>
                <a:cubicBezTo>
                  <a:pt x="28" y="37"/>
                  <a:pt x="28" y="37"/>
                  <a:pt x="28" y="37"/>
                </a:cubicBezTo>
                <a:lnTo>
                  <a:pt x="28" y="115"/>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405" name="Group 404">
            <a:extLst>
              <a:ext uri="{FF2B5EF4-FFF2-40B4-BE49-F238E27FC236}">
                <a16:creationId xmlns:a16="http://schemas.microsoft.com/office/drawing/2014/main" id="{F6BFB9EC-0412-4B87-8FAC-C8C16F49AC47}"/>
              </a:ext>
            </a:extLst>
          </p:cNvPr>
          <p:cNvGrpSpPr/>
          <p:nvPr/>
        </p:nvGrpSpPr>
        <p:grpSpPr>
          <a:xfrm>
            <a:off x="641650" y="4235959"/>
            <a:ext cx="304800" cy="228600"/>
            <a:chOff x="2930375" y="2439772"/>
            <a:chExt cx="304800" cy="228600"/>
          </a:xfrm>
          <a:solidFill>
            <a:schemeClr val="tx2"/>
          </a:solidFill>
        </p:grpSpPr>
        <p:sp>
          <p:nvSpPr>
            <p:cNvPr id="406" name="Freeform: Shape 405">
              <a:extLst>
                <a:ext uri="{FF2B5EF4-FFF2-40B4-BE49-F238E27FC236}">
                  <a16:creationId xmlns:a16="http://schemas.microsoft.com/office/drawing/2014/main" id="{E4126B6C-5279-49D0-BC99-C2388539825E}"/>
                </a:ext>
              </a:extLst>
            </p:cNvPr>
            <p:cNvSpPr/>
            <p:nvPr/>
          </p:nvSpPr>
          <p:spPr>
            <a:xfrm>
              <a:off x="3006575" y="2439772"/>
              <a:ext cx="228600" cy="19050"/>
            </a:xfrm>
            <a:custGeom>
              <a:avLst/>
              <a:gdLst>
                <a:gd name="connsiteX0" fmla="*/ 0 w 228600"/>
                <a:gd name="connsiteY0" fmla="*/ 0 h 19050"/>
                <a:gd name="connsiteX1" fmla="*/ 228600 w 228600"/>
                <a:gd name="connsiteY1" fmla="*/ 0 h 19050"/>
                <a:gd name="connsiteX2" fmla="*/ 228600 w 228600"/>
                <a:gd name="connsiteY2" fmla="*/ 19050 h 19050"/>
                <a:gd name="connsiteX3" fmla="*/ 0 w 228600"/>
                <a:gd name="connsiteY3" fmla="*/ 19050 h 19050"/>
                <a:gd name="connsiteX4" fmla="*/ 0 w 22860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8600" h="19050">
                  <a:moveTo>
                    <a:pt x="0" y="0"/>
                  </a:moveTo>
                  <a:lnTo>
                    <a:pt x="228600" y="0"/>
                  </a:lnTo>
                  <a:lnTo>
                    <a:pt x="228600" y="19050"/>
                  </a:lnTo>
                  <a:lnTo>
                    <a:pt x="0" y="19050"/>
                  </a:lnTo>
                  <a:lnTo>
                    <a:pt x="0" y="0"/>
                  </a:lnTo>
                  <a:close/>
                </a:path>
              </a:pathLst>
            </a:custGeom>
            <a:grpFill/>
            <a:ln w="9525" cap="flat">
              <a:noFill/>
              <a:prstDash val="solid"/>
              <a:miter/>
            </a:ln>
          </p:spPr>
          <p:txBody>
            <a:bodyPr rtlCol="0" anchor="ctr"/>
            <a:lstStyle/>
            <a:p>
              <a:endParaRPr lang="en-GB"/>
            </a:p>
          </p:txBody>
        </p:sp>
        <p:sp>
          <p:nvSpPr>
            <p:cNvPr id="407" name="Freeform: Shape 406">
              <a:extLst>
                <a:ext uri="{FF2B5EF4-FFF2-40B4-BE49-F238E27FC236}">
                  <a16:creationId xmlns:a16="http://schemas.microsoft.com/office/drawing/2014/main" id="{1C0EEAC9-7A7F-4368-9628-A9B8C61BD8E4}"/>
                </a:ext>
              </a:extLst>
            </p:cNvPr>
            <p:cNvSpPr/>
            <p:nvPr/>
          </p:nvSpPr>
          <p:spPr>
            <a:xfrm>
              <a:off x="3063725" y="2506447"/>
              <a:ext cx="171450" cy="19050"/>
            </a:xfrm>
            <a:custGeom>
              <a:avLst/>
              <a:gdLst>
                <a:gd name="connsiteX0" fmla="*/ 0 w 171450"/>
                <a:gd name="connsiteY0" fmla="*/ 0 h 19050"/>
                <a:gd name="connsiteX1" fmla="*/ 171450 w 171450"/>
                <a:gd name="connsiteY1" fmla="*/ 0 h 19050"/>
                <a:gd name="connsiteX2" fmla="*/ 171450 w 171450"/>
                <a:gd name="connsiteY2" fmla="*/ 19050 h 19050"/>
                <a:gd name="connsiteX3" fmla="*/ 0 w 171450"/>
                <a:gd name="connsiteY3" fmla="*/ 19050 h 19050"/>
                <a:gd name="connsiteX4" fmla="*/ 0 w 17145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450" h="19050">
                  <a:moveTo>
                    <a:pt x="0" y="0"/>
                  </a:moveTo>
                  <a:lnTo>
                    <a:pt x="171450" y="0"/>
                  </a:lnTo>
                  <a:lnTo>
                    <a:pt x="171450" y="19050"/>
                  </a:lnTo>
                  <a:lnTo>
                    <a:pt x="0" y="19050"/>
                  </a:lnTo>
                  <a:lnTo>
                    <a:pt x="0" y="0"/>
                  </a:lnTo>
                  <a:close/>
                </a:path>
              </a:pathLst>
            </a:custGeom>
            <a:grpFill/>
            <a:ln w="9525" cap="flat">
              <a:noFill/>
              <a:prstDash val="solid"/>
              <a:miter/>
            </a:ln>
          </p:spPr>
          <p:txBody>
            <a:bodyPr rtlCol="0" anchor="ctr"/>
            <a:lstStyle/>
            <a:p>
              <a:endParaRPr lang="en-GB"/>
            </a:p>
          </p:txBody>
        </p:sp>
        <p:sp>
          <p:nvSpPr>
            <p:cNvPr id="408" name="Freeform: Shape 407">
              <a:extLst>
                <a:ext uri="{FF2B5EF4-FFF2-40B4-BE49-F238E27FC236}">
                  <a16:creationId xmlns:a16="http://schemas.microsoft.com/office/drawing/2014/main" id="{3C42888A-F64E-4028-AD09-96B051025155}"/>
                </a:ext>
              </a:extLst>
            </p:cNvPr>
            <p:cNvSpPr/>
            <p:nvPr/>
          </p:nvSpPr>
          <p:spPr>
            <a:xfrm>
              <a:off x="3139925" y="2573122"/>
              <a:ext cx="95250" cy="19050"/>
            </a:xfrm>
            <a:custGeom>
              <a:avLst/>
              <a:gdLst>
                <a:gd name="connsiteX0" fmla="*/ 0 w 95250"/>
                <a:gd name="connsiteY0" fmla="*/ 0 h 19050"/>
                <a:gd name="connsiteX1" fmla="*/ 95250 w 95250"/>
                <a:gd name="connsiteY1" fmla="*/ 0 h 19050"/>
                <a:gd name="connsiteX2" fmla="*/ 95250 w 95250"/>
                <a:gd name="connsiteY2" fmla="*/ 19050 h 19050"/>
                <a:gd name="connsiteX3" fmla="*/ 0 w 95250"/>
                <a:gd name="connsiteY3" fmla="*/ 19050 h 19050"/>
                <a:gd name="connsiteX4" fmla="*/ 0 w 95250"/>
                <a:gd name="connsiteY4" fmla="*/ 0 h 19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 h="19050">
                  <a:moveTo>
                    <a:pt x="0" y="0"/>
                  </a:moveTo>
                  <a:lnTo>
                    <a:pt x="95250" y="0"/>
                  </a:lnTo>
                  <a:lnTo>
                    <a:pt x="95250" y="19050"/>
                  </a:lnTo>
                  <a:lnTo>
                    <a:pt x="0" y="19050"/>
                  </a:lnTo>
                  <a:lnTo>
                    <a:pt x="0" y="0"/>
                  </a:lnTo>
                  <a:close/>
                </a:path>
              </a:pathLst>
            </a:custGeom>
            <a:grpFill/>
            <a:ln w="9525" cap="flat">
              <a:noFill/>
              <a:prstDash val="solid"/>
              <a:miter/>
            </a:ln>
          </p:spPr>
          <p:txBody>
            <a:bodyPr rtlCol="0" anchor="ctr"/>
            <a:lstStyle/>
            <a:p>
              <a:endParaRPr lang="en-GB"/>
            </a:p>
          </p:txBody>
        </p:sp>
        <p:sp>
          <p:nvSpPr>
            <p:cNvPr id="409" name="Freeform: Shape 408">
              <a:extLst>
                <a:ext uri="{FF2B5EF4-FFF2-40B4-BE49-F238E27FC236}">
                  <a16:creationId xmlns:a16="http://schemas.microsoft.com/office/drawing/2014/main" id="{B1F036A6-1126-428B-AF50-8C8AD31DE974}"/>
                </a:ext>
              </a:extLst>
            </p:cNvPr>
            <p:cNvSpPr/>
            <p:nvPr/>
          </p:nvSpPr>
          <p:spPr>
            <a:xfrm>
              <a:off x="2930375" y="2496922"/>
              <a:ext cx="171450" cy="171450"/>
            </a:xfrm>
            <a:custGeom>
              <a:avLst/>
              <a:gdLst>
                <a:gd name="connsiteX0" fmla="*/ 171450 w 171450"/>
                <a:gd name="connsiteY0" fmla="*/ 95250 h 171450"/>
                <a:gd name="connsiteX1" fmla="*/ 171450 w 171450"/>
                <a:gd name="connsiteY1" fmla="*/ 76200 h 171450"/>
                <a:gd name="connsiteX2" fmla="*/ 95250 w 171450"/>
                <a:gd name="connsiteY2" fmla="*/ 76200 h 171450"/>
                <a:gd name="connsiteX3" fmla="*/ 95250 w 171450"/>
                <a:gd name="connsiteY3" fmla="*/ 0 h 171450"/>
                <a:gd name="connsiteX4" fmla="*/ 76200 w 171450"/>
                <a:gd name="connsiteY4" fmla="*/ 0 h 171450"/>
                <a:gd name="connsiteX5" fmla="*/ 76200 w 171450"/>
                <a:gd name="connsiteY5" fmla="*/ 76200 h 171450"/>
                <a:gd name="connsiteX6" fmla="*/ 0 w 171450"/>
                <a:gd name="connsiteY6" fmla="*/ 76200 h 171450"/>
                <a:gd name="connsiteX7" fmla="*/ 0 w 171450"/>
                <a:gd name="connsiteY7" fmla="*/ 95250 h 171450"/>
                <a:gd name="connsiteX8" fmla="*/ 76200 w 171450"/>
                <a:gd name="connsiteY8" fmla="*/ 95250 h 171450"/>
                <a:gd name="connsiteX9" fmla="*/ 76200 w 171450"/>
                <a:gd name="connsiteY9" fmla="*/ 171450 h 171450"/>
                <a:gd name="connsiteX10" fmla="*/ 95250 w 171450"/>
                <a:gd name="connsiteY10" fmla="*/ 171450 h 171450"/>
                <a:gd name="connsiteX11" fmla="*/ 95250 w 171450"/>
                <a:gd name="connsiteY11" fmla="*/ 95250 h 171450"/>
                <a:gd name="connsiteX12" fmla="*/ 171450 w 171450"/>
                <a:gd name="connsiteY12" fmla="*/ 9525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1450" h="171450">
                  <a:moveTo>
                    <a:pt x="171450" y="95250"/>
                  </a:moveTo>
                  <a:lnTo>
                    <a:pt x="171450" y="76200"/>
                  </a:lnTo>
                  <a:lnTo>
                    <a:pt x="95250" y="76200"/>
                  </a:lnTo>
                  <a:lnTo>
                    <a:pt x="95250" y="0"/>
                  </a:lnTo>
                  <a:lnTo>
                    <a:pt x="76200" y="0"/>
                  </a:lnTo>
                  <a:lnTo>
                    <a:pt x="76200" y="76200"/>
                  </a:lnTo>
                  <a:lnTo>
                    <a:pt x="0" y="76200"/>
                  </a:lnTo>
                  <a:lnTo>
                    <a:pt x="0" y="95250"/>
                  </a:lnTo>
                  <a:lnTo>
                    <a:pt x="76200" y="95250"/>
                  </a:lnTo>
                  <a:lnTo>
                    <a:pt x="76200" y="171450"/>
                  </a:lnTo>
                  <a:lnTo>
                    <a:pt x="95250" y="171450"/>
                  </a:lnTo>
                  <a:lnTo>
                    <a:pt x="95250" y="95250"/>
                  </a:lnTo>
                  <a:lnTo>
                    <a:pt x="171450" y="95250"/>
                  </a:lnTo>
                  <a:close/>
                </a:path>
              </a:pathLst>
            </a:custGeom>
            <a:grpFill/>
            <a:ln w="9525" cap="flat">
              <a:noFill/>
              <a:prstDash val="solid"/>
              <a:miter/>
            </a:ln>
          </p:spPr>
          <p:txBody>
            <a:bodyPr rtlCol="0" anchor="ctr"/>
            <a:lstStyle/>
            <a:p>
              <a:endParaRPr lang="en-GB"/>
            </a:p>
          </p:txBody>
        </p:sp>
      </p:grpSp>
      <p:sp>
        <p:nvSpPr>
          <p:cNvPr id="413" name="Freeform: Shape 412">
            <a:extLst>
              <a:ext uri="{FF2B5EF4-FFF2-40B4-BE49-F238E27FC236}">
                <a16:creationId xmlns:a16="http://schemas.microsoft.com/office/drawing/2014/main" id="{8AC66481-3A2C-48A6-9082-540531E41D91}"/>
              </a:ext>
            </a:extLst>
          </p:cNvPr>
          <p:cNvSpPr/>
          <p:nvPr/>
        </p:nvSpPr>
        <p:spPr>
          <a:xfrm>
            <a:off x="5024970" y="3232039"/>
            <a:ext cx="375771" cy="375771"/>
          </a:xfrm>
          <a:custGeom>
            <a:avLst/>
            <a:gdLst>
              <a:gd name="connsiteX0" fmla="*/ 28575 w 304800"/>
              <a:gd name="connsiteY0" fmla="*/ 123825 h 304800"/>
              <a:gd name="connsiteX1" fmla="*/ 28575 w 304800"/>
              <a:gd name="connsiteY1" fmla="*/ 123825 h 304800"/>
              <a:gd name="connsiteX2" fmla="*/ 28575 w 304800"/>
              <a:gd name="connsiteY2" fmla="*/ 123825 h 304800"/>
              <a:gd name="connsiteX3" fmla="*/ 68580 w 304800"/>
              <a:gd name="connsiteY3" fmla="*/ 83820 h 304800"/>
              <a:gd name="connsiteX4" fmla="*/ 75248 w 304800"/>
              <a:gd name="connsiteY4" fmla="*/ 90488 h 304800"/>
              <a:gd name="connsiteX5" fmla="*/ 41910 w 304800"/>
              <a:gd name="connsiteY5" fmla="*/ 123825 h 304800"/>
              <a:gd name="connsiteX6" fmla="*/ 75248 w 304800"/>
              <a:gd name="connsiteY6" fmla="*/ 157163 h 304800"/>
              <a:gd name="connsiteX7" fmla="*/ 68580 w 304800"/>
              <a:gd name="connsiteY7" fmla="*/ 163830 h 304800"/>
              <a:gd name="connsiteX8" fmla="*/ 28575 w 304800"/>
              <a:gd name="connsiteY8" fmla="*/ 123825 h 304800"/>
              <a:gd name="connsiteX9" fmla="*/ 219075 w 304800"/>
              <a:gd name="connsiteY9" fmla="*/ 123825 h 304800"/>
              <a:gd name="connsiteX10" fmla="*/ 219075 w 304800"/>
              <a:gd name="connsiteY10" fmla="*/ 123825 h 304800"/>
              <a:gd name="connsiteX11" fmla="*/ 219075 w 304800"/>
              <a:gd name="connsiteY11" fmla="*/ 123825 h 304800"/>
              <a:gd name="connsiteX12" fmla="*/ 179070 w 304800"/>
              <a:gd name="connsiteY12" fmla="*/ 163830 h 304800"/>
              <a:gd name="connsiteX13" fmla="*/ 171450 w 304800"/>
              <a:gd name="connsiteY13" fmla="*/ 157163 h 304800"/>
              <a:gd name="connsiteX14" fmla="*/ 204788 w 304800"/>
              <a:gd name="connsiteY14" fmla="*/ 123825 h 304800"/>
              <a:gd name="connsiteX15" fmla="*/ 171450 w 304800"/>
              <a:gd name="connsiteY15" fmla="*/ 90488 h 304800"/>
              <a:gd name="connsiteX16" fmla="*/ 178118 w 304800"/>
              <a:gd name="connsiteY16" fmla="*/ 83820 h 304800"/>
              <a:gd name="connsiteX17" fmla="*/ 219075 w 304800"/>
              <a:gd name="connsiteY17" fmla="*/ 123825 h 304800"/>
              <a:gd name="connsiteX18" fmla="*/ 304800 w 304800"/>
              <a:gd name="connsiteY18" fmla="*/ 278130 h 304800"/>
              <a:gd name="connsiteX19" fmla="*/ 223838 w 304800"/>
              <a:gd name="connsiteY19" fmla="*/ 197168 h 304800"/>
              <a:gd name="connsiteX20" fmla="*/ 247650 w 304800"/>
              <a:gd name="connsiteY20" fmla="*/ 123825 h 304800"/>
              <a:gd name="connsiteX21" fmla="*/ 123825 w 304800"/>
              <a:gd name="connsiteY21" fmla="*/ 0 h 304800"/>
              <a:gd name="connsiteX22" fmla="*/ 0 w 304800"/>
              <a:gd name="connsiteY22" fmla="*/ 123825 h 304800"/>
              <a:gd name="connsiteX23" fmla="*/ 123825 w 304800"/>
              <a:gd name="connsiteY23" fmla="*/ 247650 h 304800"/>
              <a:gd name="connsiteX24" fmla="*/ 197168 w 304800"/>
              <a:gd name="connsiteY24" fmla="*/ 223838 h 304800"/>
              <a:gd name="connsiteX25" fmla="*/ 278130 w 304800"/>
              <a:gd name="connsiteY25" fmla="*/ 304800 h 304800"/>
              <a:gd name="connsiteX26" fmla="*/ 304800 w 304800"/>
              <a:gd name="connsiteY26" fmla="*/ 278130 h 304800"/>
              <a:gd name="connsiteX27" fmla="*/ 19050 w 304800"/>
              <a:gd name="connsiteY27" fmla="*/ 123825 h 304800"/>
              <a:gd name="connsiteX28" fmla="*/ 123825 w 304800"/>
              <a:gd name="connsiteY28" fmla="*/ 19050 h 304800"/>
              <a:gd name="connsiteX29" fmla="*/ 228600 w 304800"/>
              <a:gd name="connsiteY29" fmla="*/ 123825 h 304800"/>
              <a:gd name="connsiteX30" fmla="*/ 123825 w 304800"/>
              <a:gd name="connsiteY30" fmla="*/ 228600 h 304800"/>
              <a:gd name="connsiteX31" fmla="*/ 19050 w 304800"/>
              <a:gd name="connsiteY31" fmla="*/ 123825 h 304800"/>
              <a:gd name="connsiteX32" fmla="*/ 152400 w 304800"/>
              <a:gd name="connsiteY32" fmla="*/ 66675 h 304800"/>
              <a:gd name="connsiteX33" fmla="*/ 168593 w 304800"/>
              <a:gd name="connsiteY33" fmla="*/ 66675 h 304800"/>
              <a:gd name="connsiteX34" fmla="*/ 95250 w 304800"/>
              <a:gd name="connsiteY34" fmla="*/ 180975 h 304800"/>
              <a:gd name="connsiteX35" fmla="*/ 79058 w 304800"/>
              <a:gd name="connsiteY35" fmla="*/ 180975 h 304800"/>
              <a:gd name="connsiteX36" fmla="*/ 152400 w 304800"/>
              <a:gd name="connsiteY36" fmla="*/ 6667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04800" h="304800">
                <a:moveTo>
                  <a:pt x="28575" y="123825"/>
                </a:moveTo>
                <a:lnTo>
                  <a:pt x="28575" y="123825"/>
                </a:lnTo>
                <a:lnTo>
                  <a:pt x="28575" y="123825"/>
                </a:lnTo>
                <a:lnTo>
                  <a:pt x="68580" y="83820"/>
                </a:lnTo>
                <a:lnTo>
                  <a:pt x="75248" y="90488"/>
                </a:lnTo>
                <a:lnTo>
                  <a:pt x="41910" y="123825"/>
                </a:lnTo>
                <a:lnTo>
                  <a:pt x="75248" y="157163"/>
                </a:lnTo>
                <a:lnTo>
                  <a:pt x="68580" y="163830"/>
                </a:lnTo>
                <a:lnTo>
                  <a:pt x="28575" y="123825"/>
                </a:lnTo>
                <a:close/>
                <a:moveTo>
                  <a:pt x="219075" y="123825"/>
                </a:moveTo>
                <a:lnTo>
                  <a:pt x="219075" y="123825"/>
                </a:lnTo>
                <a:lnTo>
                  <a:pt x="219075" y="123825"/>
                </a:lnTo>
                <a:lnTo>
                  <a:pt x="179070" y="163830"/>
                </a:lnTo>
                <a:lnTo>
                  <a:pt x="171450" y="157163"/>
                </a:lnTo>
                <a:lnTo>
                  <a:pt x="204788" y="123825"/>
                </a:lnTo>
                <a:lnTo>
                  <a:pt x="171450" y="90488"/>
                </a:lnTo>
                <a:lnTo>
                  <a:pt x="178118" y="83820"/>
                </a:lnTo>
                <a:lnTo>
                  <a:pt x="219075" y="123825"/>
                </a:lnTo>
                <a:close/>
                <a:moveTo>
                  <a:pt x="304800" y="278130"/>
                </a:moveTo>
                <a:lnTo>
                  <a:pt x="223838" y="197168"/>
                </a:lnTo>
                <a:cubicBezTo>
                  <a:pt x="239078" y="176213"/>
                  <a:pt x="247650" y="151448"/>
                  <a:pt x="247650" y="123825"/>
                </a:cubicBezTo>
                <a:cubicBezTo>
                  <a:pt x="247650" y="55245"/>
                  <a:pt x="192405" y="0"/>
                  <a:pt x="123825" y="0"/>
                </a:cubicBezTo>
                <a:cubicBezTo>
                  <a:pt x="55245" y="0"/>
                  <a:pt x="0" y="55245"/>
                  <a:pt x="0" y="123825"/>
                </a:cubicBezTo>
                <a:cubicBezTo>
                  <a:pt x="0" y="192405"/>
                  <a:pt x="55245" y="247650"/>
                  <a:pt x="123825" y="247650"/>
                </a:cubicBezTo>
                <a:cubicBezTo>
                  <a:pt x="151448" y="247650"/>
                  <a:pt x="176213" y="239078"/>
                  <a:pt x="197168" y="223838"/>
                </a:cubicBezTo>
                <a:lnTo>
                  <a:pt x="278130" y="304800"/>
                </a:lnTo>
                <a:lnTo>
                  <a:pt x="304800" y="278130"/>
                </a:lnTo>
                <a:close/>
                <a:moveTo>
                  <a:pt x="19050" y="123825"/>
                </a:moveTo>
                <a:cubicBezTo>
                  <a:pt x="19050" y="65723"/>
                  <a:pt x="65723" y="19050"/>
                  <a:pt x="123825" y="19050"/>
                </a:cubicBezTo>
                <a:cubicBezTo>
                  <a:pt x="181928" y="19050"/>
                  <a:pt x="228600" y="65723"/>
                  <a:pt x="228600" y="123825"/>
                </a:cubicBezTo>
                <a:cubicBezTo>
                  <a:pt x="228600" y="181928"/>
                  <a:pt x="181928" y="228600"/>
                  <a:pt x="123825" y="228600"/>
                </a:cubicBezTo>
                <a:cubicBezTo>
                  <a:pt x="65723" y="228600"/>
                  <a:pt x="19050" y="181928"/>
                  <a:pt x="19050" y="123825"/>
                </a:cubicBezTo>
                <a:close/>
                <a:moveTo>
                  <a:pt x="152400" y="66675"/>
                </a:moveTo>
                <a:lnTo>
                  <a:pt x="168593" y="66675"/>
                </a:lnTo>
                <a:lnTo>
                  <a:pt x="95250" y="180975"/>
                </a:lnTo>
                <a:lnTo>
                  <a:pt x="79058" y="180975"/>
                </a:lnTo>
                <a:lnTo>
                  <a:pt x="152400" y="66675"/>
                </a:lnTo>
                <a:close/>
              </a:path>
            </a:pathLst>
          </a:custGeom>
          <a:solidFill>
            <a:schemeClr val="tx2"/>
          </a:solidFill>
          <a:ln w="9525"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552F6847-1256-43B4-AB63-37725885D908}"/>
              </a:ext>
            </a:extLst>
          </p:cNvPr>
          <p:cNvSpPr/>
          <p:nvPr/>
        </p:nvSpPr>
        <p:spPr>
          <a:xfrm>
            <a:off x="5031102" y="2614462"/>
            <a:ext cx="363506" cy="204472"/>
          </a:xfrm>
          <a:custGeom>
            <a:avLst/>
            <a:gdLst>
              <a:gd name="connsiteX0" fmla="*/ 45438 w 363506"/>
              <a:gd name="connsiteY0" fmla="*/ 45438 h 204472"/>
              <a:gd name="connsiteX1" fmla="*/ 45438 w 363506"/>
              <a:gd name="connsiteY1" fmla="*/ 159034 h 204472"/>
              <a:gd name="connsiteX2" fmla="*/ 90877 w 363506"/>
              <a:gd name="connsiteY2" fmla="*/ 159034 h 204472"/>
              <a:gd name="connsiteX3" fmla="*/ 90877 w 363506"/>
              <a:gd name="connsiteY3" fmla="*/ 45438 h 204472"/>
              <a:gd name="connsiteX4" fmla="*/ 45438 w 363506"/>
              <a:gd name="connsiteY4" fmla="*/ 45438 h 204472"/>
              <a:gd name="connsiteX5" fmla="*/ 306708 w 363506"/>
              <a:gd name="connsiteY5" fmla="*/ 22719 h 204472"/>
              <a:gd name="connsiteX6" fmla="*/ 306708 w 363506"/>
              <a:gd name="connsiteY6" fmla="*/ 181753 h 204472"/>
              <a:gd name="connsiteX7" fmla="*/ 22719 w 363506"/>
              <a:gd name="connsiteY7" fmla="*/ 181753 h 204472"/>
              <a:gd name="connsiteX8" fmla="*/ 22719 w 363506"/>
              <a:gd name="connsiteY8" fmla="*/ 22719 h 204472"/>
              <a:gd name="connsiteX9" fmla="*/ 306708 w 363506"/>
              <a:gd name="connsiteY9" fmla="*/ 22719 h 204472"/>
              <a:gd name="connsiteX10" fmla="*/ 363506 w 363506"/>
              <a:gd name="connsiteY10" fmla="*/ 56798 h 204472"/>
              <a:gd name="connsiteX11" fmla="*/ 329427 w 363506"/>
              <a:gd name="connsiteY11" fmla="*/ 56798 h 204472"/>
              <a:gd name="connsiteX12" fmla="*/ 329427 w 363506"/>
              <a:gd name="connsiteY12" fmla="*/ 0 h 204472"/>
              <a:gd name="connsiteX13" fmla="*/ 0 w 363506"/>
              <a:gd name="connsiteY13" fmla="*/ 0 h 204472"/>
              <a:gd name="connsiteX14" fmla="*/ 0 w 363506"/>
              <a:gd name="connsiteY14" fmla="*/ 204472 h 204472"/>
              <a:gd name="connsiteX15" fmla="*/ 329427 w 363506"/>
              <a:gd name="connsiteY15" fmla="*/ 204472 h 204472"/>
              <a:gd name="connsiteX16" fmla="*/ 329427 w 363506"/>
              <a:gd name="connsiteY16" fmla="*/ 147674 h 204472"/>
              <a:gd name="connsiteX17" fmla="*/ 363506 w 363506"/>
              <a:gd name="connsiteY17" fmla="*/ 147674 h 204472"/>
              <a:gd name="connsiteX18" fmla="*/ 363506 w 363506"/>
              <a:gd name="connsiteY18" fmla="*/ 56798 h 20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63506" h="204472">
                <a:moveTo>
                  <a:pt x="45438" y="45438"/>
                </a:moveTo>
                <a:lnTo>
                  <a:pt x="45438" y="159034"/>
                </a:lnTo>
                <a:lnTo>
                  <a:pt x="90877" y="159034"/>
                </a:lnTo>
                <a:lnTo>
                  <a:pt x="90877" y="45438"/>
                </a:lnTo>
                <a:lnTo>
                  <a:pt x="45438" y="45438"/>
                </a:lnTo>
                <a:close/>
                <a:moveTo>
                  <a:pt x="306708" y="22719"/>
                </a:moveTo>
                <a:lnTo>
                  <a:pt x="306708" y="181753"/>
                </a:lnTo>
                <a:lnTo>
                  <a:pt x="22719" y="181753"/>
                </a:lnTo>
                <a:lnTo>
                  <a:pt x="22719" y="22719"/>
                </a:lnTo>
                <a:lnTo>
                  <a:pt x="306708" y="22719"/>
                </a:lnTo>
                <a:close/>
                <a:moveTo>
                  <a:pt x="363506" y="56798"/>
                </a:moveTo>
                <a:lnTo>
                  <a:pt x="329427" y="56798"/>
                </a:lnTo>
                <a:lnTo>
                  <a:pt x="329427" y="0"/>
                </a:lnTo>
                <a:lnTo>
                  <a:pt x="0" y="0"/>
                </a:lnTo>
                <a:lnTo>
                  <a:pt x="0" y="204472"/>
                </a:lnTo>
                <a:lnTo>
                  <a:pt x="329427" y="204472"/>
                </a:lnTo>
                <a:lnTo>
                  <a:pt x="329427" y="147674"/>
                </a:lnTo>
                <a:lnTo>
                  <a:pt x="363506" y="147674"/>
                </a:lnTo>
                <a:lnTo>
                  <a:pt x="363506" y="56798"/>
                </a:lnTo>
                <a:close/>
              </a:path>
            </a:pathLst>
          </a:custGeom>
          <a:solidFill>
            <a:schemeClr val="tx2"/>
          </a:solidFill>
          <a:ln w="11311" cap="flat">
            <a:noFill/>
            <a:prstDash val="solid"/>
            <a:miter/>
          </a:ln>
        </p:spPr>
        <p:txBody>
          <a:bodyPr rtlCol="0" anchor="ctr"/>
          <a:lstStyle/>
          <a:p>
            <a:endParaRPr lang="en-GB"/>
          </a:p>
        </p:txBody>
      </p:sp>
      <p:sp>
        <p:nvSpPr>
          <p:cNvPr id="473" name="Freihandform: Form 74">
            <a:extLst>
              <a:ext uri="{FF2B5EF4-FFF2-40B4-BE49-F238E27FC236}">
                <a16:creationId xmlns:a16="http://schemas.microsoft.com/office/drawing/2014/main" id="{30DA8E4B-64FC-4915-A861-2D359F6040CD}"/>
              </a:ext>
            </a:extLst>
          </p:cNvPr>
          <p:cNvSpPr>
            <a:spLocks noChangeAspect="1"/>
          </p:cNvSpPr>
          <p:nvPr/>
        </p:nvSpPr>
        <p:spPr>
          <a:xfrm>
            <a:off x="6070406" y="3232039"/>
            <a:ext cx="375771" cy="375771"/>
          </a:xfrm>
          <a:custGeom>
            <a:avLst/>
            <a:gdLst>
              <a:gd name="connsiteX0" fmla="*/ 91916 w 304800"/>
              <a:gd name="connsiteY0" fmla="*/ 72095 h 304800"/>
              <a:gd name="connsiteX1" fmla="*/ 116586 w 304800"/>
              <a:gd name="connsiteY1" fmla="*/ 97155 h 304800"/>
              <a:gd name="connsiteX2" fmla="*/ 91916 w 304800"/>
              <a:gd name="connsiteY2" fmla="*/ 122358 h 304800"/>
              <a:gd name="connsiteX3" fmla="*/ 67437 w 304800"/>
              <a:gd name="connsiteY3" fmla="*/ 97155 h 304800"/>
              <a:gd name="connsiteX4" fmla="*/ 91916 w 304800"/>
              <a:gd name="connsiteY4" fmla="*/ 72095 h 304800"/>
              <a:gd name="connsiteX5" fmla="*/ 153048 w 304800"/>
              <a:gd name="connsiteY5" fmla="*/ 66675 h 304800"/>
              <a:gd name="connsiteX6" fmla="*/ 169526 w 304800"/>
              <a:gd name="connsiteY6" fmla="*/ 66675 h 304800"/>
              <a:gd name="connsiteX7" fmla="*/ 95431 w 304800"/>
              <a:gd name="connsiteY7" fmla="*/ 180975 h 304800"/>
              <a:gd name="connsiteX8" fmla="*/ 78972 w 304800"/>
              <a:gd name="connsiteY8" fmla="*/ 180975 h 304800"/>
              <a:gd name="connsiteX9" fmla="*/ 153048 w 304800"/>
              <a:gd name="connsiteY9" fmla="*/ 66675 h 304800"/>
              <a:gd name="connsiteX10" fmla="*/ 82753 w 304800"/>
              <a:gd name="connsiteY10" fmla="*/ 97165 h 304800"/>
              <a:gd name="connsiteX11" fmla="*/ 91802 w 304800"/>
              <a:gd name="connsiteY11" fmla="*/ 110242 h 304800"/>
              <a:gd name="connsiteX12" fmla="*/ 100955 w 304800"/>
              <a:gd name="connsiteY12" fmla="*/ 97165 h 304800"/>
              <a:gd name="connsiteX13" fmla="*/ 91802 w 304800"/>
              <a:gd name="connsiteY13" fmla="*/ 83934 h 304800"/>
              <a:gd name="connsiteX14" fmla="*/ 82753 w 304800"/>
              <a:gd name="connsiteY14" fmla="*/ 97165 h 304800"/>
              <a:gd name="connsiteX15" fmla="*/ 155543 w 304800"/>
              <a:gd name="connsiteY15" fmla="*/ 126121 h 304800"/>
              <a:gd name="connsiteX16" fmla="*/ 180213 w 304800"/>
              <a:gd name="connsiteY16" fmla="*/ 151181 h 304800"/>
              <a:gd name="connsiteX17" fmla="*/ 155543 w 304800"/>
              <a:gd name="connsiteY17" fmla="*/ 176384 h 304800"/>
              <a:gd name="connsiteX18" fmla="*/ 131064 w 304800"/>
              <a:gd name="connsiteY18" fmla="*/ 151181 h 304800"/>
              <a:gd name="connsiteX19" fmla="*/ 155543 w 304800"/>
              <a:gd name="connsiteY19" fmla="*/ 126121 h 304800"/>
              <a:gd name="connsiteX20" fmla="*/ 146380 w 304800"/>
              <a:gd name="connsiteY20" fmla="*/ 151181 h 304800"/>
              <a:gd name="connsiteX21" fmla="*/ 155429 w 304800"/>
              <a:gd name="connsiteY21" fmla="*/ 164278 h 304800"/>
              <a:gd name="connsiteX22" fmla="*/ 164582 w 304800"/>
              <a:gd name="connsiteY22" fmla="*/ 151181 h 304800"/>
              <a:gd name="connsiteX23" fmla="*/ 155429 w 304800"/>
              <a:gd name="connsiteY23" fmla="*/ 137960 h 304800"/>
              <a:gd name="connsiteX24" fmla="*/ 146380 w 304800"/>
              <a:gd name="connsiteY24" fmla="*/ 151181 h 304800"/>
              <a:gd name="connsiteX25" fmla="*/ 304800 w 304800"/>
              <a:gd name="connsiteY25" fmla="*/ 277863 h 304800"/>
              <a:gd name="connsiteX26" fmla="*/ 223714 w 304800"/>
              <a:gd name="connsiteY26" fmla="*/ 196777 h 304800"/>
              <a:gd name="connsiteX27" fmla="*/ 247650 w 304800"/>
              <a:gd name="connsiteY27" fmla="*/ 123825 h 304800"/>
              <a:gd name="connsiteX28" fmla="*/ 123825 w 304800"/>
              <a:gd name="connsiteY28" fmla="*/ 0 h 304800"/>
              <a:gd name="connsiteX29" fmla="*/ 0 w 304800"/>
              <a:gd name="connsiteY29" fmla="*/ 123825 h 304800"/>
              <a:gd name="connsiteX30" fmla="*/ 123825 w 304800"/>
              <a:gd name="connsiteY30" fmla="*/ 247650 h 304800"/>
              <a:gd name="connsiteX31" fmla="*/ 196777 w 304800"/>
              <a:gd name="connsiteY31" fmla="*/ 223714 h 304800"/>
              <a:gd name="connsiteX32" fmla="*/ 277863 w 304800"/>
              <a:gd name="connsiteY32" fmla="*/ 304800 h 304800"/>
              <a:gd name="connsiteX33" fmla="*/ 304800 w 304800"/>
              <a:gd name="connsiteY33" fmla="*/ 277863 h 304800"/>
              <a:gd name="connsiteX34" fmla="*/ 19050 w 304800"/>
              <a:gd name="connsiteY34" fmla="*/ 123825 h 304800"/>
              <a:gd name="connsiteX35" fmla="*/ 123825 w 304800"/>
              <a:gd name="connsiteY35" fmla="*/ 19050 h 304800"/>
              <a:gd name="connsiteX36" fmla="*/ 228600 w 304800"/>
              <a:gd name="connsiteY36" fmla="*/ 123825 h 304800"/>
              <a:gd name="connsiteX37" fmla="*/ 123825 w 304800"/>
              <a:gd name="connsiteY37" fmla="*/ 228600 h 304800"/>
              <a:gd name="connsiteX38" fmla="*/ 19050 w 304800"/>
              <a:gd name="connsiteY38" fmla="*/ 12382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04800" h="304800">
                <a:moveTo>
                  <a:pt x="91916" y="72095"/>
                </a:moveTo>
                <a:cubicBezTo>
                  <a:pt x="105166" y="72095"/>
                  <a:pt x="116586" y="80305"/>
                  <a:pt x="116586" y="97155"/>
                </a:cubicBezTo>
                <a:cubicBezTo>
                  <a:pt x="116586" y="113862"/>
                  <a:pt x="105166" y="122358"/>
                  <a:pt x="91916" y="122358"/>
                </a:cubicBezTo>
                <a:cubicBezTo>
                  <a:pt x="78276" y="122358"/>
                  <a:pt x="67437" y="113862"/>
                  <a:pt x="67437" y="97155"/>
                </a:cubicBezTo>
                <a:cubicBezTo>
                  <a:pt x="67437" y="80305"/>
                  <a:pt x="78896" y="72095"/>
                  <a:pt x="91916" y="72095"/>
                </a:cubicBezTo>
                <a:close/>
                <a:moveTo>
                  <a:pt x="153048" y="66675"/>
                </a:moveTo>
                <a:lnTo>
                  <a:pt x="169526" y="66675"/>
                </a:lnTo>
                <a:lnTo>
                  <a:pt x="95431" y="180975"/>
                </a:lnTo>
                <a:lnTo>
                  <a:pt x="78972" y="180975"/>
                </a:lnTo>
                <a:lnTo>
                  <a:pt x="153048" y="66675"/>
                </a:lnTo>
                <a:close/>
                <a:moveTo>
                  <a:pt x="82753" y="97165"/>
                </a:moveTo>
                <a:cubicBezTo>
                  <a:pt x="82753" y="105928"/>
                  <a:pt x="86096" y="110242"/>
                  <a:pt x="91802" y="110242"/>
                </a:cubicBezTo>
                <a:cubicBezTo>
                  <a:pt x="97374" y="110242"/>
                  <a:pt x="100955" y="105918"/>
                  <a:pt x="100955" y="97165"/>
                </a:cubicBezTo>
                <a:cubicBezTo>
                  <a:pt x="100955" y="88392"/>
                  <a:pt x="97374" y="83934"/>
                  <a:pt x="91802" y="83934"/>
                </a:cubicBezTo>
                <a:cubicBezTo>
                  <a:pt x="86096" y="83934"/>
                  <a:pt x="82753" y="88106"/>
                  <a:pt x="82753" y="97165"/>
                </a:cubicBezTo>
                <a:close/>
                <a:moveTo>
                  <a:pt x="155543" y="126121"/>
                </a:moveTo>
                <a:cubicBezTo>
                  <a:pt x="168793" y="126121"/>
                  <a:pt x="180213" y="134341"/>
                  <a:pt x="180213" y="151181"/>
                </a:cubicBezTo>
                <a:cubicBezTo>
                  <a:pt x="180213" y="167897"/>
                  <a:pt x="168793" y="176384"/>
                  <a:pt x="155543" y="176384"/>
                </a:cubicBezTo>
                <a:cubicBezTo>
                  <a:pt x="142037" y="176384"/>
                  <a:pt x="131064" y="167897"/>
                  <a:pt x="131064" y="151181"/>
                </a:cubicBezTo>
                <a:cubicBezTo>
                  <a:pt x="131064" y="134341"/>
                  <a:pt x="142465" y="126121"/>
                  <a:pt x="155543" y="126121"/>
                </a:cubicBezTo>
                <a:close/>
                <a:moveTo>
                  <a:pt x="146380" y="151181"/>
                </a:moveTo>
                <a:cubicBezTo>
                  <a:pt x="146380" y="159953"/>
                  <a:pt x="149723" y="164278"/>
                  <a:pt x="155429" y="164278"/>
                </a:cubicBezTo>
                <a:cubicBezTo>
                  <a:pt x="161001" y="164278"/>
                  <a:pt x="164582" y="159953"/>
                  <a:pt x="164582" y="151181"/>
                </a:cubicBezTo>
                <a:cubicBezTo>
                  <a:pt x="164582" y="142418"/>
                  <a:pt x="161001" y="137960"/>
                  <a:pt x="155429" y="137960"/>
                </a:cubicBezTo>
                <a:cubicBezTo>
                  <a:pt x="149723" y="137960"/>
                  <a:pt x="146380" y="142132"/>
                  <a:pt x="146380" y="151181"/>
                </a:cubicBezTo>
                <a:close/>
                <a:moveTo>
                  <a:pt x="304800" y="277863"/>
                </a:moveTo>
                <a:lnTo>
                  <a:pt x="223714" y="196777"/>
                </a:lnTo>
                <a:cubicBezTo>
                  <a:pt x="238697" y="176308"/>
                  <a:pt x="247650" y="151133"/>
                  <a:pt x="247650" y="123825"/>
                </a:cubicBezTo>
                <a:cubicBezTo>
                  <a:pt x="247650" y="55436"/>
                  <a:pt x="192215" y="0"/>
                  <a:pt x="123825" y="0"/>
                </a:cubicBezTo>
                <a:cubicBezTo>
                  <a:pt x="55436" y="0"/>
                  <a:pt x="0" y="55436"/>
                  <a:pt x="0" y="123825"/>
                </a:cubicBezTo>
                <a:cubicBezTo>
                  <a:pt x="0" y="192215"/>
                  <a:pt x="55436" y="247650"/>
                  <a:pt x="123825" y="247650"/>
                </a:cubicBezTo>
                <a:cubicBezTo>
                  <a:pt x="151133" y="247650"/>
                  <a:pt x="176308" y="238697"/>
                  <a:pt x="196777" y="223714"/>
                </a:cubicBezTo>
                <a:lnTo>
                  <a:pt x="277863" y="304800"/>
                </a:lnTo>
                <a:lnTo>
                  <a:pt x="304800" y="277863"/>
                </a:lnTo>
                <a:close/>
                <a:moveTo>
                  <a:pt x="19050" y="123825"/>
                </a:moveTo>
                <a:cubicBezTo>
                  <a:pt x="19050" y="66056"/>
                  <a:pt x="66056" y="19050"/>
                  <a:pt x="123825" y="19050"/>
                </a:cubicBezTo>
                <a:cubicBezTo>
                  <a:pt x="181594" y="19050"/>
                  <a:pt x="228600" y="66056"/>
                  <a:pt x="228600" y="123825"/>
                </a:cubicBezTo>
                <a:cubicBezTo>
                  <a:pt x="228600" y="181594"/>
                  <a:pt x="181594" y="228600"/>
                  <a:pt x="123825" y="228600"/>
                </a:cubicBezTo>
                <a:cubicBezTo>
                  <a:pt x="66056" y="228600"/>
                  <a:pt x="19050" y="181594"/>
                  <a:pt x="19050" y="123825"/>
                </a:cubicBezTo>
                <a:close/>
              </a:path>
            </a:pathLst>
          </a:custGeom>
          <a:solidFill>
            <a:schemeClr val="tx2"/>
          </a:solidFill>
          <a:ln w="9525" cap="flat">
            <a:noFill/>
            <a:prstDash val="solid"/>
            <a:miter/>
          </a:ln>
        </p:spPr>
        <p:txBody>
          <a:bodyPr rtlCol="0" anchor="ctr"/>
          <a:lstStyle/>
          <a:p>
            <a:endParaRPr lang="en-GB" dirty="0"/>
          </a:p>
        </p:txBody>
      </p:sp>
      <p:sp>
        <p:nvSpPr>
          <p:cNvPr id="474" name="Freihandform: Form 10">
            <a:extLst>
              <a:ext uri="{FF2B5EF4-FFF2-40B4-BE49-F238E27FC236}">
                <a16:creationId xmlns:a16="http://schemas.microsoft.com/office/drawing/2014/main" id="{4209E85D-15E6-49CF-A2BC-3CCB14CA50A5}"/>
              </a:ext>
            </a:extLst>
          </p:cNvPr>
          <p:cNvSpPr>
            <a:spLocks noChangeAspect="1"/>
          </p:cNvSpPr>
          <p:nvPr/>
        </p:nvSpPr>
        <p:spPr>
          <a:xfrm>
            <a:off x="6084601" y="4193167"/>
            <a:ext cx="347380" cy="271392"/>
          </a:xfrm>
          <a:custGeom>
            <a:avLst/>
            <a:gdLst>
              <a:gd name="connsiteX0" fmla="*/ 47625 w 304800"/>
              <a:gd name="connsiteY0" fmla="*/ 200025 h 238125"/>
              <a:gd name="connsiteX1" fmla="*/ 257175 w 304800"/>
              <a:gd name="connsiteY1" fmla="*/ 200025 h 238125"/>
              <a:gd name="connsiteX2" fmla="*/ 285750 w 304800"/>
              <a:gd name="connsiteY2" fmla="*/ 171450 h 238125"/>
              <a:gd name="connsiteX3" fmla="*/ 285750 w 304800"/>
              <a:gd name="connsiteY3" fmla="*/ 28575 h 238125"/>
              <a:gd name="connsiteX4" fmla="*/ 257175 w 304800"/>
              <a:gd name="connsiteY4" fmla="*/ 0 h 238125"/>
              <a:gd name="connsiteX5" fmla="*/ 47625 w 304800"/>
              <a:gd name="connsiteY5" fmla="*/ 0 h 238125"/>
              <a:gd name="connsiteX6" fmla="*/ 19050 w 304800"/>
              <a:gd name="connsiteY6" fmla="*/ 28575 h 238125"/>
              <a:gd name="connsiteX7" fmla="*/ 19050 w 304800"/>
              <a:gd name="connsiteY7" fmla="*/ 171450 h 238125"/>
              <a:gd name="connsiteX8" fmla="*/ 47625 w 304800"/>
              <a:gd name="connsiteY8" fmla="*/ 200025 h 238125"/>
              <a:gd name="connsiteX9" fmla="*/ 47625 w 304800"/>
              <a:gd name="connsiteY9" fmla="*/ 19050 h 238125"/>
              <a:gd name="connsiteX10" fmla="*/ 257175 w 304800"/>
              <a:gd name="connsiteY10" fmla="*/ 19050 h 238125"/>
              <a:gd name="connsiteX11" fmla="*/ 266700 w 304800"/>
              <a:gd name="connsiteY11" fmla="*/ 28575 h 238125"/>
              <a:gd name="connsiteX12" fmla="*/ 266700 w 304800"/>
              <a:gd name="connsiteY12" fmla="*/ 171450 h 238125"/>
              <a:gd name="connsiteX13" fmla="*/ 257175 w 304800"/>
              <a:gd name="connsiteY13" fmla="*/ 180975 h 238125"/>
              <a:gd name="connsiteX14" fmla="*/ 47625 w 304800"/>
              <a:gd name="connsiteY14" fmla="*/ 180975 h 238125"/>
              <a:gd name="connsiteX15" fmla="*/ 38100 w 304800"/>
              <a:gd name="connsiteY15" fmla="*/ 171450 h 238125"/>
              <a:gd name="connsiteX16" fmla="*/ 38100 w 304800"/>
              <a:gd name="connsiteY16" fmla="*/ 133350 h 238125"/>
              <a:gd name="connsiteX17" fmla="*/ 61913 w 304800"/>
              <a:gd name="connsiteY17" fmla="*/ 133350 h 238125"/>
              <a:gd name="connsiteX18" fmla="*/ 66332 w 304800"/>
              <a:gd name="connsiteY18" fmla="*/ 130359 h 238125"/>
              <a:gd name="connsiteX19" fmla="*/ 80210 w 304800"/>
              <a:gd name="connsiteY19" fmla="*/ 95669 h 238125"/>
              <a:gd name="connsiteX20" fmla="*/ 95431 w 304800"/>
              <a:gd name="connsiteY20" fmla="*/ 148952 h 238125"/>
              <a:gd name="connsiteX21" fmla="*/ 100013 w 304800"/>
              <a:gd name="connsiteY21" fmla="*/ 152400 h 238125"/>
              <a:gd name="connsiteX22" fmla="*/ 100041 w 304800"/>
              <a:gd name="connsiteY22" fmla="*/ 152400 h 238125"/>
              <a:gd name="connsiteX23" fmla="*/ 104604 w 304800"/>
              <a:gd name="connsiteY23" fmla="*/ 148885 h 238125"/>
              <a:gd name="connsiteX24" fmla="*/ 128387 w 304800"/>
              <a:gd name="connsiteY24" fmla="*/ 61693 h 238125"/>
              <a:gd name="connsiteX25" fmla="*/ 143018 w 304800"/>
              <a:gd name="connsiteY25" fmla="*/ 120215 h 238125"/>
              <a:gd name="connsiteX26" fmla="*/ 145923 w 304800"/>
              <a:gd name="connsiteY26" fmla="*/ 123501 h 238125"/>
              <a:gd name="connsiteX27" fmla="*/ 150285 w 304800"/>
              <a:gd name="connsiteY27" fmla="*/ 123025 h 238125"/>
              <a:gd name="connsiteX28" fmla="*/ 176222 w 304800"/>
              <a:gd name="connsiteY28" fmla="*/ 105737 h 238125"/>
              <a:gd name="connsiteX29" fmla="*/ 216446 w 304800"/>
              <a:gd name="connsiteY29" fmla="*/ 132550 h 238125"/>
              <a:gd name="connsiteX30" fmla="*/ 219075 w 304800"/>
              <a:gd name="connsiteY30" fmla="*/ 133350 h 238125"/>
              <a:gd name="connsiteX31" fmla="*/ 247650 w 304800"/>
              <a:gd name="connsiteY31" fmla="*/ 133350 h 238125"/>
              <a:gd name="connsiteX32" fmla="*/ 252413 w 304800"/>
              <a:gd name="connsiteY32" fmla="*/ 128588 h 238125"/>
              <a:gd name="connsiteX33" fmla="*/ 247650 w 304800"/>
              <a:gd name="connsiteY33" fmla="*/ 123825 h 238125"/>
              <a:gd name="connsiteX34" fmla="*/ 220513 w 304800"/>
              <a:gd name="connsiteY34" fmla="*/ 123825 h 238125"/>
              <a:gd name="connsiteX35" fmla="*/ 178851 w 304800"/>
              <a:gd name="connsiteY35" fmla="*/ 96050 h 238125"/>
              <a:gd name="connsiteX36" fmla="*/ 173565 w 304800"/>
              <a:gd name="connsiteY36" fmla="*/ 96050 h 238125"/>
              <a:gd name="connsiteX37" fmla="*/ 150609 w 304800"/>
              <a:gd name="connsiteY37" fmla="*/ 111347 h 238125"/>
              <a:gd name="connsiteX38" fmla="*/ 133198 w 304800"/>
              <a:gd name="connsiteY38" fmla="*/ 41700 h 238125"/>
              <a:gd name="connsiteX39" fmla="*/ 128635 w 304800"/>
              <a:gd name="connsiteY39" fmla="*/ 38100 h 238125"/>
              <a:gd name="connsiteX40" fmla="*/ 123987 w 304800"/>
              <a:gd name="connsiteY40" fmla="*/ 41615 h 238125"/>
              <a:gd name="connsiteX41" fmla="*/ 99898 w 304800"/>
              <a:gd name="connsiteY41" fmla="*/ 129931 h 238125"/>
              <a:gd name="connsiteX42" fmla="*/ 85534 w 304800"/>
              <a:gd name="connsiteY42" fmla="*/ 79658 h 238125"/>
              <a:gd name="connsiteX43" fmla="*/ 81201 w 304800"/>
              <a:gd name="connsiteY43" fmla="*/ 76200 h 238125"/>
              <a:gd name="connsiteX44" fmla="*/ 76533 w 304800"/>
              <a:gd name="connsiteY44" fmla="*/ 79191 h 238125"/>
              <a:gd name="connsiteX45" fmla="*/ 58693 w 304800"/>
              <a:gd name="connsiteY45" fmla="*/ 123825 h 238125"/>
              <a:gd name="connsiteX46" fmla="*/ 38100 w 304800"/>
              <a:gd name="connsiteY46" fmla="*/ 123825 h 238125"/>
              <a:gd name="connsiteX47" fmla="*/ 38100 w 304800"/>
              <a:gd name="connsiteY47" fmla="*/ 28575 h 238125"/>
              <a:gd name="connsiteX48" fmla="*/ 47625 w 304800"/>
              <a:gd name="connsiteY48" fmla="*/ 19050 h 238125"/>
              <a:gd name="connsiteX49" fmla="*/ 304800 w 304800"/>
              <a:gd name="connsiteY49" fmla="*/ 219075 h 238125"/>
              <a:gd name="connsiteX50" fmla="*/ 304800 w 304800"/>
              <a:gd name="connsiteY50" fmla="*/ 238125 h 238125"/>
              <a:gd name="connsiteX51" fmla="*/ 0 w 304800"/>
              <a:gd name="connsiteY51" fmla="*/ 238125 h 238125"/>
              <a:gd name="connsiteX52" fmla="*/ 0 w 304800"/>
              <a:gd name="connsiteY52" fmla="*/ 219075 h 238125"/>
              <a:gd name="connsiteX53" fmla="*/ 304800 w 304800"/>
              <a:gd name="connsiteY53" fmla="*/ 219075 h 23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304800" h="238125">
                <a:moveTo>
                  <a:pt x="47625" y="200025"/>
                </a:moveTo>
                <a:lnTo>
                  <a:pt x="257175" y="200025"/>
                </a:lnTo>
                <a:cubicBezTo>
                  <a:pt x="272929" y="200025"/>
                  <a:pt x="285750" y="187204"/>
                  <a:pt x="285750" y="171450"/>
                </a:cubicBezTo>
                <a:lnTo>
                  <a:pt x="285750" y="28575"/>
                </a:lnTo>
                <a:cubicBezTo>
                  <a:pt x="285750" y="12821"/>
                  <a:pt x="272929" y="0"/>
                  <a:pt x="257175" y="0"/>
                </a:cubicBezTo>
                <a:lnTo>
                  <a:pt x="47625" y="0"/>
                </a:lnTo>
                <a:cubicBezTo>
                  <a:pt x="31871" y="0"/>
                  <a:pt x="19050" y="12821"/>
                  <a:pt x="19050" y="28575"/>
                </a:cubicBezTo>
                <a:lnTo>
                  <a:pt x="19050" y="171450"/>
                </a:lnTo>
                <a:cubicBezTo>
                  <a:pt x="19050" y="187204"/>
                  <a:pt x="31871" y="200025"/>
                  <a:pt x="47625" y="200025"/>
                </a:cubicBezTo>
                <a:close/>
                <a:moveTo>
                  <a:pt x="47625" y="19050"/>
                </a:moveTo>
                <a:lnTo>
                  <a:pt x="257175" y="19050"/>
                </a:lnTo>
                <a:cubicBezTo>
                  <a:pt x="262423" y="19050"/>
                  <a:pt x="266700" y="23327"/>
                  <a:pt x="266700" y="28575"/>
                </a:cubicBezTo>
                <a:lnTo>
                  <a:pt x="266700" y="171450"/>
                </a:lnTo>
                <a:cubicBezTo>
                  <a:pt x="266700" y="176698"/>
                  <a:pt x="262423" y="180975"/>
                  <a:pt x="257175" y="180975"/>
                </a:cubicBezTo>
                <a:lnTo>
                  <a:pt x="47625" y="180975"/>
                </a:lnTo>
                <a:cubicBezTo>
                  <a:pt x="42377" y="180975"/>
                  <a:pt x="38100" y="176698"/>
                  <a:pt x="38100" y="171450"/>
                </a:cubicBezTo>
                <a:lnTo>
                  <a:pt x="38100" y="133350"/>
                </a:lnTo>
                <a:lnTo>
                  <a:pt x="61913" y="133350"/>
                </a:lnTo>
                <a:cubicBezTo>
                  <a:pt x="63865" y="133350"/>
                  <a:pt x="65608" y="132159"/>
                  <a:pt x="66332" y="130359"/>
                </a:cubicBezTo>
                <a:lnTo>
                  <a:pt x="80210" y="95669"/>
                </a:lnTo>
                <a:lnTo>
                  <a:pt x="95431" y="148952"/>
                </a:lnTo>
                <a:cubicBezTo>
                  <a:pt x="96022" y="150990"/>
                  <a:pt x="97888" y="152400"/>
                  <a:pt x="100013" y="152400"/>
                </a:cubicBezTo>
                <a:cubicBezTo>
                  <a:pt x="100022" y="152400"/>
                  <a:pt x="100032" y="152400"/>
                  <a:pt x="100041" y="152400"/>
                </a:cubicBezTo>
                <a:cubicBezTo>
                  <a:pt x="102184" y="152390"/>
                  <a:pt x="104042" y="150952"/>
                  <a:pt x="104604" y="148885"/>
                </a:cubicBezTo>
                <a:lnTo>
                  <a:pt x="128387" y="61693"/>
                </a:lnTo>
                <a:lnTo>
                  <a:pt x="143018" y="120215"/>
                </a:lnTo>
                <a:cubicBezTo>
                  <a:pt x="143389" y="121720"/>
                  <a:pt x="144475" y="122949"/>
                  <a:pt x="145923" y="123501"/>
                </a:cubicBezTo>
                <a:cubicBezTo>
                  <a:pt x="147352" y="124044"/>
                  <a:pt x="148990" y="123882"/>
                  <a:pt x="150285" y="123025"/>
                </a:cubicBezTo>
                <a:lnTo>
                  <a:pt x="176222" y="105737"/>
                </a:lnTo>
                <a:lnTo>
                  <a:pt x="216446" y="132550"/>
                </a:lnTo>
                <a:cubicBezTo>
                  <a:pt x="217218" y="133074"/>
                  <a:pt x="218132" y="133350"/>
                  <a:pt x="219075" y="133350"/>
                </a:cubicBezTo>
                <a:lnTo>
                  <a:pt x="247650" y="133350"/>
                </a:lnTo>
                <a:cubicBezTo>
                  <a:pt x="250279" y="133350"/>
                  <a:pt x="252413" y="131216"/>
                  <a:pt x="252413" y="128588"/>
                </a:cubicBezTo>
                <a:cubicBezTo>
                  <a:pt x="252413" y="125959"/>
                  <a:pt x="250279" y="123825"/>
                  <a:pt x="247650" y="123825"/>
                </a:cubicBezTo>
                <a:lnTo>
                  <a:pt x="220513" y="123825"/>
                </a:lnTo>
                <a:lnTo>
                  <a:pt x="178851" y="96050"/>
                </a:lnTo>
                <a:cubicBezTo>
                  <a:pt x="177251" y="94983"/>
                  <a:pt x="175165" y="94983"/>
                  <a:pt x="173565" y="96050"/>
                </a:cubicBezTo>
                <a:lnTo>
                  <a:pt x="150609" y="111347"/>
                </a:lnTo>
                <a:lnTo>
                  <a:pt x="133198" y="41700"/>
                </a:lnTo>
                <a:cubicBezTo>
                  <a:pt x="132683" y="39605"/>
                  <a:pt x="130807" y="38119"/>
                  <a:pt x="128635" y="38100"/>
                </a:cubicBezTo>
                <a:cubicBezTo>
                  <a:pt x="126387" y="38071"/>
                  <a:pt x="124558" y="39510"/>
                  <a:pt x="123987" y="41615"/>
                </a:cubicBezTo>
                <a:lnTo>
                  <a:pt x="99898" y="129931"/>
                </a:lnTo>
                <a:lnTo>
                  <a:pt x="85534" y="79658"/>
                </a:lnTo>
                <a:cubicBezTo>
                  <a:pt x="84982" y="77695"/>
                  <a:pt x="83239" y="76314"/>
                  <a:pt x="81201" y="76200"/>
                </a:cubicBezTo>
                <a:cubicBezTo>
                  <a:pt x="79229" y="76048"/>
                  <a:pt x="77295" y="77305"/>
                  <a:pt x="76533" y="79191"/>
                </a:cubicBezTo>
                <a:lnTo>
                  <a:pt x="58693" y="123825"/>
                </a:lnTo>
                <a:lnTo>
                  <a:pt x="38100" y="123825"/>
                </a:lnTo>
                <a:lnTo>
                  <a:pt x="38100" y="28575"/>
                </a:lnTo>
                <a:cubicBezTo>
                  <a:pt x="38100" y="23327"/>
                  <a:pt x="42377" y="19050"/>
                  <a:pt x="47625" y="19050"/>
                </a:cubicBezTo>
                <a:close/>
                <a:moveTo>
                  <a:pt x="304800" y="219075"/>
                </a:moveTo>
                <a:lnTo>
                  <a:pt x="304800" y="238125"/>
                </a:lnTo>
                <a:lnTo>
                  <a:pt x="0" y="238125"/>
                </a:lnTo>
                <a:lnTo>
                  <a:pt x="0" y="219075"/>
                </a:lnTo>
                <a:lnTo>
                  <a:pt x="304800" y="219075"/>
                </a:lnTo>
                <a:close/>
              </a:path>
            </a:pathLst>
          </a:custGeom>
          <a:solidFill>
            <a:schemeClr val="tx2"/>
          </a:solidFill>
          <a:ln w="9525" cap="flat">
            <a:noFill/>
            <a:prstDash val="solid"/>
            <a:miter/>
          </a:ln>
        </p:spPr>
        <p:txBody>
          <a:bodyPr rtlCol="0" anchor="ctr"/>
          <a:lstStyle/>
          <a:p>
            <a:endParaRPr lang="en-GB" dirty="0"/>
          </a:p>
        </p:txBody>
      </p:sp>
      <p:sp>
        <p:nvSpPr>
          <p:cNvPr id="475" name="Freihandform: Form 17">
            <a:extLst>
              <a:ext uri="{FF2B5EF4-FFF2-40B4-BE49-F238E27FC236}">
                <a16:creationId xmlns:a16="http://schemas.microsoft.com/office/drawing/2014/main" id="{EDEBEAE3-836E-42E5-BC86-A4DF423032FB}"/>
              </a:ext>
            </a:extLst>
          </p:cNvPr>
          <p:cNvSpPr>
            <a:spLocks noChangeAspect="1"/>
          </p:cNvSpPr>
          <p:nvPr/>
        </p:nvSpPr>
        <p:spPr>
          <a:xfrm>
            <a:off x="7134667" y="4117179"/>
            <a:ext cx="336526" cy="347380"/>
          </a:xfrm>
          <a:custGeom>
            <a:avLst/>
            <a:gdLst>
              <a:gd name="connsiteX0" fmla="*/ 265328 w 295275"/>
              <a:gd name="connsiteY0" fmla="*/ 152400 h 304800"/>
              <a:gd name="connsiteX1" fmla="*/ 263338 w 295275"/>
              <a:gd name="connsiteY1" fmla="*/ 131550 h 304800"/>
              <a:gd name="connsiteX2" fmla="*/ 302057 w 295275"/>
              <a:gd name="connsiteY2" fmla="*/ 109195 h 304800"/>
              <a:gd name="connsiteX3" fmla="*/ 263957 w 295275"/>
              <a:gd name="connsiteY3" fmla="*/ 43205 h 304800"/>
              <a:gd name="connsiteX4" fmla="*/ 225228 w 295275"/>
              <a:gd name="connsiteY4" fmla="*/ 65561 h 304800"/>
              <a:gd name="connsiteX5" fmla="*/ 189128 w 295275"/>
              <a:gd name="connsiteY5" fmla="*/ 44739 h 304800"/>
              <a:gd name="connsiteX6" fmla="*/ 189128 w 295275"/>
              <a:gd name="connsiteY6" fmla="*/ 0 h 304800"/>
              <a:gd name="connsiteX7" fmla="*/ 112928 w 295275"/>
              <a:gd name="connsiteY7" fmla="*/ 0 h 304800"/>
              <a:gd name="connsiteX8" fmla="*/ 112928 w 295275"/>
              <a:gd name="connsiteY8" fmla="*/ 44739 h 304800"/>
              <a:gd name="connsiteX9" fmla="*/ 76819 w 295275"/>
              <a:gd name="connsiteY9" fmla="*/ 65561 h 304800"/>
              <a:gd name="connsiteX10" fmla="*/ 38100 w 295275"/>
              <a:gd name="connsiteY10" fmla="*/ 43205 h 304800"/>
              <a:gd name="connsiteX11" fmla="*/ 0 w 295275"/>
              <a:gd name="connsiteY11" fmla="*/ 109195 h 304800"/>
              <a:gd name="connsiteX12" fmla="*/ 38719 w 295275"/>
              <a:gd name="connsiteY12" fmla="*/ 131550 h 304800"/>
              <a:gd name="connsiteX13" fmla="*/ 36728 w 295275"/>
              <a:gd name="connsiteY13" fmla="*/ 152400 h 304800"/>
              <a:gd name="connsiteX14" fmla="*/ 38719 w 295275"/>
              <a:gd name="connsiteY14" fmla="*/ 173250 h 304800"/>
              <a:gd name="connsiteX15" fmla="*/ 0 w 295275"/>
              <a:gd name="connsiteY15" fmla="*/ 195605 h 304800"/>
              <a:gd name="connsiteX16" fmla="*/ 38100 w 295275"/>
              <a:gd name="connsiteY16" fmla="*/ 261595 h 304800"/>
              <a:gd name="connsiteX17" fmla="*/ 76829 w 295275"/>
              <a:gd name="connsiteY17" fmla="*/ 239239 h 304800"/>
              <a:gd name="connsiteX18" fmla="*/ 112938 w 295275"/>
              <a:gd name="connsiteY18" fmla="*/ 260061 h 304800"/>
              <a:gd name="connsiteX19" fmla="*/ 112938 w 295275"/>
              <a:gd name="connsiteY19" fmla="*/ 304800 h 304800"/>
              <a:gd name="connsiteX20" fmla="*/ 189138 w 295275"/>
              <a:gd name="connsiteY20" fmla="*/ 304800 h 304800"/>
              <a:gd name="connsiteX21" fmla="*/ 189138 w 295275"/>
              <a:gd name="connsiteY21" fmla="*/ 260061 h 304800"/>
              <a:gd name="connsiteX22" fmla="*/ 225247 w 295275"/>
              <a:gd name="connsiteY22" fmla="*/ 239239 h 304800"/>
              <a:gd name="connsiteX23" fmla="*/ 263976 w 295275"/>
              <a:gd name="connsiteY23" fmla="*/ 261595 h 304800"/>
              <a:gd name="connsiteX24" fmla="*/ 302076 w 295275"/>
              <a:gd name="connsiteY24" fmla="*/ 195605 h 304800"/>
              <a:gd name="connsiteX25" fmla="*/ 263357 w 295275"/>
              <a:gd name="connsiteY25" fmla="*/ 173250 h 304800"/>
              <a:gd name="connsiteX26" fmla="*/ 265328 w 295275"/>
              <a:gd name="connsiteY26" fmla="*/ 152400 h 304800"/>
              <a:gd name="connsiteX27" fmla="*/ 151028 w 295275"/>
              <a:gd name="connsiteY27" fmla="*/ 247650 h 304800"/>
              <a:gd name="connsiteX28" fmla="*/ 76067 w 295275"/>
              <a:gd name="connsiteY28" fmla="*/ 211036 h 304800"/>
              <a:gd name="connsiteX29" fmla="*/ 122663 w 295275"/>
              <a:gd name="connsiteY29" fmla="*/ 171526 h 304800"/>
              <a:gd name="connsiteX30" fmla="*/ 151028 w 295275"/>
              <a:gd name="connsiteY30" fmla="*/ 218808 h 304800"/>
              <a:gd name="connsiteX31" fmla="*/ 179394 w 295275"/>
              <a:gd name="connsiteY31" fmla="*/ 171526 h 304800"/>
              <a:gd name="connsiteX32" fmla="*/ 225990 w 295275"/>
              <a:gd name="connsiteY32" fmla="*/ 211036 h 304800"/>
              <a:gd name="connsiteX33" fmla="*/ 151028 w 295275"/>
              <a:gd name="connsiteY33" fmla="*/ 247650 h 304800"/>
              <a:gd name="connsiteX34" fmla="*/ 231972 w 295275"/>
              <a:gd name="connsiteY34" fmla="*/ 202425 h 304800"/>
              <a:gd name="connsiteX35" fmla="*/ 178641 w 295275"/>
              <a:gd name="connsiteY35" fmla="*/ 161268 h 304800"/>
              <a:gd name="connsiteX36" fmla="*/ 175089 w 295275"/>
              <a:gd name="connsiteY36" fmla="*/ 160191 h 304800"/>
              <a:gd name="connsiteX37" fmla="*/ 151028 w 295275"/>
              <a:gd name="connsiteY37" fmla="*/ 200292 h 304800"/>
              <a:gd name="connsiteX38" fmla="*/ 126968 w 295275"/>
              <a:gd name="connsiteY38" fmla="*/ 160191 h 304800"/>
              <a:gd name="connsiteX39" fmla="*/ 123415 w 295275"/>
              <a:gd name="connsiteY39" fmla="*/ 161268 h 304800"/>
              <a:gd name="connsiteX40" fmla="*/ 70085 w 295275"/>
              <a:gd name="connsiteY40" fmla="*/ 202425 h 304800"/>
              <a:gd name="connsiteX41" fmla="*/ 55778 w 295275"/>
              <a:gd name="connsiteY41" fmla="*/ 152400 h 304800"/>
              <a:gd name="connsiteX42" fmla="*/ 151028 w 295275"/>
              <a:gd name="connsiteY42" fmla="*/ 57150 h 304800"/>
              <a:gd name="connsiteX43" fmla="*/ 246278 w 295275"/>
              <a:gd name="connsiteY43" fmla="*/ 152400 h 304800"/>
              <a:gd name="connsiteX44" fmla="*/ 231972 w 295275"/>
              <a:gd name="connsiteY44" fmla="*/ 202425 h 304800"/>
              <a:gd name="connsiteX45" fmla="*/ 151028 w 295275"/>
              <a:gd name="connsiteY45" fmla="*/ 76200 h 304800"/>
              <a:gd name="connsiteX46" fmla="*/ 112928 w 295275"/>
              <a:gd name="connsiteY46" fmla="*/ 114300 h 304800"/>
              <a:gd name="connsiteX47" fmla="*/ 151028 w 295275"/>
              <a:gd name="connsiteY47" fmla="*/ 152400 h 304800"/>
              <a:gd name="connsiteX48" fmla="*/ 189128 w 295275"/>
              <a:gd name="connsiteY48" fmla="*/ 114300 h 304800"/>
              <a:gd name="connsiteX49" fmla="*/ 151028 w 295275"/>
              <a:gd name="connsiteY49" fmla="*/ 76200 h 304800"/>
              <a:gd name="connsiteX50" fmla="*/ 151028 w 295275"/>
              <a:gd name="connsiteY50" fmla="*/ 142875 h 304800"/>
              <a:gd name="connsiteX51" fmla="*/ 122453 w 295275"/>
              <a:gd name="connsiteY51" fmla="*/ 114300 h 304800"/>
              <a:gd name="connsiteX52" fmla="*/ 151028 w 295275"/>
              <a:gd name="connsiteY52" fmla="*/ 85725 h 304800"/>
              <a:gd name="connsiteX53" fmla="*/ 179603 w 295275"/>
              <a:gd name="connsiteY53" fmla="*/ 114300 h 304800"/>
              <a:gd name="connsiteX54" fmla="*/ 151028 w 295275"/>
              <a:gd name="connsiteY54" fmla="*/ 142875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95275" h="304800">
                <a:moveTo>
                  <a:pt x="265328" y="152400"/>
                </a:moveTo>
                <a:cubicBezTo>
                  <a:pt x="265328" y="145266"/>
                  <a:pt x="264585" y="138322"/>
                  <a:pt x="263338" y="131550"/>
                </a:cubicBezTo>
                <a:lnTo>
                  <a:pt x="302057" y="109195"/>
                </a:lnTo>
                <a:lnTo>
                  <a:pt x="263957" y="43205"/>
                </a:lnTo>
                <a:lnTo>
                  <a:pt x="225228" y="65561"/>
                </a:lnTo>
                <a:cubicBezTo>
                  <a:pt x="214684" y="56540"/>
                  <a:pt x="202473" y="49473"/>
                  <a:pt x="189128" y="44739"/>
                </a:cubicBezTo>
                <a:lnTo>
                  <a:pt x="189128" y="0"/>
                </a:lnTo>
                <a:lnTo>
                  <a:pt x="112928" y="0"/>
                </a:lnTo>
                <a:lnTo>
                  <a:pt x="112928" y="44739"/>
                </a:lnTo>
                <a:cubicBezTo>
                  <a:pt x="99584" y="49463"/>
                  <a:pt x="87373" y="56540"/>
                  <a:pt x="76819" y="65561"/>
                </a:cubicBezTo>
                <a:lnTo>
                  <a:pt x="38100" y="43205"/>
                </a:lnTo>
                <a:lnTo>
                  <a:pt x="0" y="109195"/>
                </a:lnTo>
                <a:lnTo>
                  <a:pt x="38719" y="131550"/>
                </a:lnTo>
                <a:cubicBezTo>
                  <a:pt x="37471" y="138322"/>
                  <a:pt x="36728" y="145266"/>
                  <a:pt x="36728" y="152400"/>
                </a:cubicBezTo>
                <a:cubicBezTo>
                  <a:pt x="36728" y="159534"/>
                  <a:pt x="37471" y="166478"/>
                  <a:pt x="38719" y="173250"/>
                </a:cubicBezTo>
                <a:lnTo>
                  <a:pt x="0" y="195605"/>
                </a:lnTo>
                <a:lnTo>
                  <a:pt x="38100" y="261595"/>
                </a:lnTo>
                <a:lnTo>
                  <a:pt x="76829" y="239239"/>
                </a:lnTo>
                <a:cubicBezTo>
                  <a:pt x="87373" y="248260"/>
                  <a:pt x="99584" y="255337"/>
                  <a:pt x="112938" y="260061"/>
                </a:cubicBezTo>
                <a:lnTo>
                  <a:pt x="112938" y="304800"/>
                </a:lnTo>
                <a:lnTo>
                  <a:pt x="189138" y="304800"/>
                </a:lnTo>
                <a:lnTo>
                  <a:pt x="189138" y="260061"/>
                </a:lnTo>
                <a:cubicBezTo>
                  <a:pt x="202482" y="255337"/>
                  <a:pt x="214694" y="248260"/>
                  <a:pt x="225247" y="239239"/>
                </a:cubicBezTo>
                <a:lnTo>
                  <a:pt x="263976" y="261595"/>
                </a:lnTo>
                <a:lnTo>
                  <a:pt x="302076" y="195605"/>
                </a:lnTo>
                <a:lnTo>
                  <a:pt x="263357" y="173250"/>
                </a:lnTo>
                <a:cubicBezTo>
                  <a:pt x="264585" y="166478"/>
                  <a:pt x="265328" y="159534"/>
                  <a:pt x="265328" y="152400"/>
                </a:cubicBezTo>
                <a:close/>
                <a:moveTo>
                  <a:pt x="151028" y="247650"/>
                </a:moveTo>
                <a:cubicBezTo>
                  <a:pt x="120558" y="247650"/>
                  <a:pt x="93497" y="233286"/>
                  <a:pt x="76067" y="211036"/>
                </a:cubicBezTo>
                <a:cubicBezTo>
                  <a:pt x="86239" y="192615"/>
                  <a:pt x="102727" y="178508"/>
                  <a:pt x="122663" y="171526"/>
                </a:cubicBezTo>
                <a:lnTo>
                  <a:pt x="151028" y="218808"/>
                </a:lnTo>
                <a:lnTo>
                  <a:pt x="179394" y="171526"/>
                </a:lnTo>
                <a:cubicBezTo>
                  <a:pt x="199330" y="178508"/>
                  <a:pt x="215817" y="192605"/>
                  <a:pt x="225990" y="211036"/>
                </a:cubicBezTo>
                <a:cubicBezTo>
                  <a:pt x="208559" y="233286"/>
                  <a:pt x="181499" y="247650"/>
                  <a:pt x="151028" y="247650"/>
                </a:cubicBezTo>
                <a:close/>
                <a:moveTo>
                  <a:pt x="231972" y="202425"/>
                </a:moveTo>
                <a:cubicBezTo>
                  <a:pt x="219837" y="182775"/>
                  <a:pt x="201035" y="168040"/>
                  <a:pt x="178641" y="161268"/>
                </a:cubicBezTo>
                <a:lnTo>
                  <a:pt x="175089" y="160191"/>
                </a:lnTo>
                <a:lnTo>
                  <a:pt x="151028" y="200292"/>
                </a:lnTo>
                <a:lnTo>
                  <a:pt x="126968" y="160191"/>
                </a:lnTo>
                <a:lnTo>
                  <a:pt x="123415" y="161268"/>
                </a:lnTo>
                <a:cubicBezTo>
                  <a:pt x="101022" y="168040"/>
                  <a:pt x="82220" y="182785"/>
                  <a:pt x="70085" y="202425"/>
                </a:cubicBezTo>
                <a:cubicBezTo>
                  <a:pt x="61074" y="187871"/>
                  <a:pt x="55778" y="170774"/>
                  <a:pt x="55778" y="152400"/>
                </a:cubicBezTo>
                <a:cubicBezTo>
                  <a:pt x="55778" y="99793"/>
                  <a:pt x="98422" y="57150"/>
                  <a:pt x="151028" y="57150"/>
                </a:cubicBezTo>
                <a:cubicBezTo>
                  <a:pt x="203635" y="57150"/>
                  <a:pt x="246278" y="99793"/>
                  <a:pt x="246278" y="152400"/>
                </a:cubicBezTo>
                <a:cubicBezTo>
                  <a:pt x="246278" y="170774"/>
                  <a:pt x="240983" y="187871"/>
                  <a:pt x="231972" y="202425"/>
                </a:cubicBezTo>
                <a:close/>
                <a:moveTo>
                  <a:pt x="151028" y="76200"/>
                </a:moveTo>
                <a:cubicBezTo>
                  <a:pt x="130016" y="76200"/>
                  <a:pt x="112928" y="93288"/>
                  <a:pt x="112928" y="114300"/>
                </a:cubicBezTo>
                <a:cubicBezTo>
                  <a:pt x="112928" y="135312"/>
                  <a:pt x="130016" y="152400"/>
                  <a:pt x="151028" y="152400"/>
                </a:cubicBezTo>
                <a:cubicBezTo>
                  <a:pt x="172041" y="152400"/>
                  <a:pt x="189128" y="135312"/>
                  <a:pt x="189128" y="114300"/>
                </a:cubicBezTo>
                <a:cubicBezTo>
                  <a:pt x="189128" y="93288"/>
                  <a:pt x="172041" y="76200"/>
                  <a:pt x="151028" y="76200"/>
                </a:cubicBezTo>
                <a:close/>
                <a:moveTo>
                  <a:pt x="151028" y="142875"/>
                </a:moveTo>
                <a:cubicBezTo>
                  <a:pt x="135274" y="142875"/>
                  <a:pt x="122453" y="130054"/>
                  <a:pt x="122453" y="114300"/>
                </a:cubicBezTo>
                <a:cubicBezTo>
                  <a:pt x="122453" y="98546"/>
                  <a:pt x="135274" y="85725"/>
                  <a:pt x="151028" y="85725"/>
                </a:cubicBezTo>
                <a:cubicBezTo>
                  <a:pt x="166783" y="85725"/>
                  <a:pt x="179603" y="98546"/>
                  <a:pt x="179603" y="114300"/>
                </a:cubicBezTo>
                <a:cubicBezTo>
                  <a:pt x="179603" y="130054"/>
                  <a:pt x="166783" y="142875"/>
                  <a:pt x="151028" y="142875"/>
                </a:cubicBezTo>
                <a:close/>
              </a:path>
            </a:pathLst>
          </a:custGeom>
          <a:solidFill>
            <a:schemeClr val="tx2"/>
          </a:solidFill>
          <a:ln w="9525" cap="flat">
            <a:noFill/>
            <a:prstDash val="solid"/>
            <a:miter/>
          </a:ln>
        </p:spPr>
        <p:txBody>
          <a:bodyPr rtlCol="0" anchor="ctr"/>
          <a:lstStyle/>
          <a:p>
            <a:endParaRPr lang="en-GB" dirty="0"/>
          </a:p>
        </p:txBody>
      </p:sp>
      <p:sp>
        <p:nvSpPr>
          <p:cNvPr id="476" name="Freihandform: Form 25">
            <a:extLst>
              <a:ext uri="{FF2B5EF4-FFF2-40B4-BE49-F238E27FC236}">
                <a16:creationId xmlns:a16="http://schemas.microsoft.com/office/drawing/2014/main" id="{C084C37F-9332-4F3E-A9C1-464F5757386A}"/>
              </a:ext>
            </a:extLst>
          </p:cNvPr>
          <p:cNvSpPr>
            <a:spLocks noChangeAspect="1"/>
          </p:cNvSpPr>
          <p:nvPr/>
        </p:nvSpPr>
        <p:spPr>
          <a:xfrm>
            <a:off x="8180894" y="4117179"/>
            <a:ext cx="336526" cy="347380"/>
          </a:xfrm>
          <a:custGeom>
            <a:avLst/>
            <a:gdLst>
              <a:gd name="connsiteX0" fmla="*/ 265328 w 295275"/>
              <a:gd name="connsiteY0" fmla="*/ 152400 h 304800"/>
              <a:gd name="connsiteX1" fmla="*/ 263338 w 295275"/>
              <a:gd name="connsiteY1" fmla="*/ 131550 h 304800"/>
              <a:gd name="connsiteX2" fmla="*/ 302057 w 295275"/>
              <a:gd name="connsiteY2" fmla="*/ 109195 h 304800"/>
              <a:gd name="connsiteX3" fmla="*/ 263957 w 295275"/>
              <a:gd name="connsiteY3" fmla="*/ 43205 h 304800"/>
              <a:gd name="connsiteX4" fmla="*/ 225228 w 295275"/>
              <a:gd name="connsiteY4" fmla="*/ 65561 h 304800"/>
              <a:gd name="connsiteX5" fmla="*/ 189128 w 295275"/>
              <a:gd name="connsiteY5" fmla="*/ 44739 h 304800"/>
              <a:gd name="connsiteX6" fmla="*/ 189128 w 295275"/>
              <a:gd name="connsiteY6" fmla="*/ 0 h 304800"/>
              <a:gd name="connsiteX7" fmla="*/ 112928 w 295275"/>
              <a:gd name="connsiteY7" fmla="*/ 0 h 304800"/>
              <a:gd name="connsiteX8" fmla="*/ 112928 w 295275"/>
              <a:gd name="connsiteY8" fmla="*/ 44739 h 304800"/>
              <a:gd name="connsiteX9" fmla="*/ 76819 w 295275"/>
              <a:gd name="connsiteY9" fmla="*/ 65561 h 304800"/>
              <a:gd name="connsiteX10" fmla="*/ 38100 w 295275"/>
              <a:gd name="connsiteY10" fmla="*/ 43205 h 304800"/>
              <a:gd name="connsiteX11" fmla="*/ 0 w 295275"/>
              <a:gd name="connsiteY11" fmla="*/ 109195 h 304800"/>
              <a:gd name="connsiteX12" fmla="*/ 38719 w 295275"/>
              <a:gd name="connsiteY12" fmla="*/ 131550 h 304800"/>
              <a:gd name="connsiteX13" fmla="*/ 36728 w 295275"/>
              <a:gd name="connsiteY13" fmla="*/ 152400 h 304800"/>
              <a:gd name="connsiteX14" fmla="*/ 38719 w 295275"/>
              <a:gd name="connsiteY14" fmla="*/ 173250 h 304800"/>
              <a:gd name="connsiteX15" fmla="*/ 0 w 295275"/>
              <a:gd name="connsiteY15" fmla="*/ 195605 h 304800"/>
              <a:gd name="connsiteX16" fmla="*/ 38100 w 295275"/>
              <a:gd name="connsiteY16" fmla="*/ 261595 h 304800"/>
              <a:gd name="connsiteX17" fmla="*/ 76829 w 295275"/>
              <a:gd name="connsiteY17" fmla="*/ 239239 h 304800"/>
              <a:gd name="connsiteX18" fmla="*/ 112938 w 295275"/>
              <a:gd name="connsiteY18" fmla="*/ 260061 h 304800"/>
              <a:gd name="connsiteX19" fmla="*/ 112938 w 295275"/>
              <a:gd name="connsiteY19" fmla="*/ 304800 h 304800"/>
              <a:gd name="connsiteX20" fmla="*/ 189138 w 295275"/>
              <a:gd name="connsiteY20" fmla="*/ 304800 h 304800"/>
              <a:gd name="connsiteX21" fmla="*/ 189138 w 295275"/>
              <a:gd name="connsiteY21" fmla="*/ 260061 h 304800"/>
              <a:gd name="connsiteX22" fmla="*/ 225247 w 295275"/>
              <a:gd name="connsiteY22" fmla="*/ 239239 h 304800"/>
              <a:gd name="connsiteX23" fmla="*/ 263976 w 295275"/>
              <a:gd name="connsiteY23" fmla="*/ 261595 h 304800"/>
              <a:gd name="connsiteX24" fmla="*/ 302076 w 295275"/>
              <a:gd name="connsiteY24" fmla="*/ 195605 h 304800"/>
              <a:gd name="connsiteX25" fmla="*/ 263357 w 295275"/>
              <a:gd name="connsiteY25" fmla="*/ 173250 h 304800"/>
              <a:gd name="connsiteX26" fmla="*/ 265328 w 295275"/>
              <a:gd name="connsiteY26" fmla="*/ 152400 h 304800"/>
              <a:gd name="connsiteX27" fmla="*/ 232048 w 295275"/>
              <a:gd name="connsiteY27" fmla="*/ 202301 h 304800"/>
              <a:gd name="connsiteX28" fmla="*/ 178641 w 295275"/>
              <a:gd name="connsiteY28" fmla="*/ 161268 h 304800"/>
              <a:gd name="connsiteX29" fmla="*/ 175089 w 295275"/>
              <a:gd name="connsiteY29" fmla="*/ 160191 h 304800"/>
              <a:gd name="connsiteX30" fmla="*/ 151028 w 295275"/>
              <a:gd name="connsiteY30" fmla="*/ 200292 h 304800"/>
              <a:gd name="connsiteX31" fmla="*/ 126968 w 295275"/>
              <a:gd name="connsiteY31" fmla="*/ 160191 h 304800"/>
              <a:gd name="connsiteX32" fmla="*/ 123415 w 295275"/>
              <a:gd name="connsiteY32" fmla="*/ 161268 h 304800"/>
              <a:gd name="connsiteX33" fmla="*/ 70009 w 295275"/>
              <a:gd name="connsiteY33" fmla="*/ 202301 h 304800"/>
              <a:gd name="connsiteX34" fmla="*/ 55778 w 295275"/>
              <a:gd name="connsiteY34" fmla="*/ 152400 h 304800"/>
              <a:gd name="connsiteX35" fmla="*/ 151028 w 295275"/>
              <a:gd name="connsiteY35" fmla="*/ 57150 h 304800"/>
              <a:gd name="connsiteX36" fmla="*/ 246278 w 295275"/>
              <a:gd name="connsiteY36" fmla="*/ 152400 h 304800"/>
              <a:gd name="connsiteX37" fmla="*/ 232048 w 295275"/>
              <a:gd name="connsiteY37" fmla="*/ 202301 h 304800"/>
              <a:gd name="connsiteX38" fmla="*/ 189128 w 295275"/>
              <a:gd name="connsiteY38" fmla="*/ 114300 h 304800"/>
              <a:gd name="connsiteX39" fmla="*/ 151028 w 295275"/>
              <a:gd name="connsiteY39" fmla="*/ 152400 h 304800"/>
              <a:gd name="connsiteX40" fmla="*/ 112928 w 295275"/>
              <a:gd name="connsiteY40" fmla="*/ 114300 h 304800"/>
              <a:gd name="connsiteX41" fmla="*/ 151028 w 295275"/>
              <a:gd name="connsiteY41" fmla="*/ 76200 h 304800"/>
              <a:gd name="connsiteX42" fmla="*/ 189128 w 295275"/>
              <a:gd name="connsiteY42" fmla="*/ 1143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95275" h="304800">
                <a:moveTo>
                  <a:pt x="265328" y="152400"/>
                </a:moveTo>
                <a:cubicBezTo>
                  <a:pt x="265328" y="145266"/>
                  <a:pt x="264585" y="138322"/>
                  <a:pt x="263338" y="131550"/>
                </a:cubicBezTo>
                <a:lnTo>
                  <a:pt x="302057" y="109195"/>
                </a:lnTo>
                <a:lnTo>
                  <a:pt x="263957" y="43205"/>
                </a:lnTo>
                <a:lnTo>
                  <a:pt x="225228" y="65561"/>
                </a:lnTo>
                <a:cubicBezTo>
                  <a:pt x="214684" y="56540"/>
                  <a:pt x="202473" y="49473"/>
                  <a:pt x="189128" y="44739"/>
                </a:cubicBezTo>
                <a:lnTo>
                  <a:pt x="189128" y="0"/>
                </a:lnTo>
                <a:lnTo>
                  <a:pt x="112928" y="0"/>
                </a:lnTo>
                <a:lnTo>
                  <a:pt x="112928" y="44739"/>
                </a:lnTo>
                <a:cubicBezTo>
                  <a:pt x="99584" y="49463"/>
                  <a:pt x="87373" y="56540"/>
                  <a:pt x="76819" y="65561"/>
                </a:cubicBezTo>
                <a:lnTo>
                  <a:pt x="38100" y="43205"/>
                </a:lnTo>
                <a:lnTo>
                  <a:pt x="0" y="109195"/>
                </a:lnTo>
                <a:lnTo>
                  <a:pt x="38719" y="131550"/>
                </a:lnTo>
                <a:cubicBezTo>
                  <a:pt x="37471" y="138322"/>
                  <a:pt x="36728" y="145266"/>
                  <a:pt x="36728" y="152400"/>
                </a:cubicBezTo>
                <a:cubicBezTo>
                  <a:pt x="36728" y="159534"/>
                  <a:pt x="37471" y="166478"/>
                  <a:pt x="38719" y="173250"/>
                </a:cubicBezTo>
                <a:lnTo>
                  <a:pt x="0" y="195605"/>
                </a:lnTo>
                <a:lnTo>
                  <a:pt x="38100" y="261595"/>
                </a:lnTo>
                <a:lnTo>
                  <a:pt x="76829" y="239239"/>
                </a:lnTo>
                <a:cubicBezTo>
                  <a:pt x="87373" y="248260"/>
                  <a:pt x="99584" y="255337"/>
                  <a:pt x="112938" y="260061"/>
                </a:cubicBezTo>
                <a:lnTo>
                  <a:pt x="112938" y="304800"/>
                </a:lnTo>
                <a:lnTo>
                  <a:pt x="189138" y="304800"/>
                </a:lnTo>
                <a:lnTo>
                  <a:pt x="189138" y="260061"/>
                </a:lnTo>
                <a:cubicBezTo>
                  <a:pt x="202482" y="255337"/>
                  <a:pt x="214694" y="248260"/>
                  <a:pt x="225247" y="239239"/>
                </a:cubicBezTo>
                <a:lnTo>
                  <a:pt x="263976" y="261595"/>
                </a:lnTo>
                <a:lnTo>
                  <a:pt x="302076" y="195605"/>
                </a:lnTo>
                <a:lnTo>
                  <a:pt x="263357" y="173250"/>
                </a:lnTo>
                <a:cubicBezTo>
                  <a:pt x="264585" y="166478"/>
                  <a:pt x="265328" y="159534"/>
                  <a:pt x="265328" y="152400"/>
                </a:cubicBezTo>
                <a:close/>
                <a:moveTo>
                  <a:pt x="232048" y="202301"/>
                </a:moveTo>
                <a:cubicBezTo>
                  <a:pt x="220199" y="183061"/>
                  <a:pt x="201597" y="168212"/>
                  <a:pt x="178641" y="161268"/>
                </a:cubicBezTo>
                <a:lnTo>
                  <a:pt x="175089" y="160191"/>
                </a:lnTo>
                <a:lnTo>
                  <a:pt x="151028" y="200292"/>
                </a:lnTo>
                <a:lnTo>
                  <a:pt x="126968" y="160191"/>
                </a:lnTo>
                <a:lnTo>
                  <a:pt x="123415" y="161268"/>
                </a:lnTo>
                <a:cubicBezTo>
                  <a:pt x="100460" y="168212"/>
                  <a:pt x="81867" y="183071"/>
                  <a:pt x="70009" y="202301"/>
                </a:cubicBezTo>
                <a:cubicBezTo>
                  <a:pt x="61046" y="187776"/>
                  <a:pt x="55778" y="170726"/>
                  <a:pt x="55778" y="152400"/>
                </a:cubicBezTo>
                <a:cubicBezTo>
                  <a:pt x="55778" y="99793"/>
                  <a:pt x="98422" y="57150"/>
                  <a:pt x="151028" y="57150"/>
                </a:cubicBezTo>
                <a:cubicBezTo>
                  <a:pt x="203635" y="57150"/>
                  <a:pt x="246278" y="99793"/>
                  <a:pt x="246278" y="152400"/>
                </a:cubicBezTo>
                <a:cubicBezTo>
                  <a:pt x="246278" y="170726"/>
                  <a:pt x="241011" y="187776"/>
                  <a:pt x="232048" y="202301"/>
                </a:cubicBezTo>
                <a:close/>
                <a:moveTo>
                  <a:pt x="189128" y="114300"/>
                </a:moveTo>
                <a:cubicBezTo>
                  <a:pt x="189128" y="135312"/>
                  <a:pt x="172041" y="152400"/>
                  <a:pt x="151028" y="152400"/>
                </a:cubicBezTo>
                <a:cubicBezTo>
                  <a:pt x="130016" y="152400"/>
                  <a:pt x="112928" y="135312"/>
                  <a:pt x="112928" y="114300"/>
                </a:cubicBezTo>
                <a:cubicBezTo>
                  <a:pt x="112928" y="93288"/>
                  <a:pt x="130016" y="76200"/>
                  <a:pt x="151028" y="76200"/>
                </a:cubicBezTo>
                <a:cubicBezTo>
                  <a:pt x="172041" y="76200"/>
                  <a:pt x="189128" y="93288"/>
                  <a:pt x="189128" y="114300"/>
                </a:cubicBezTo>
                <a:close/>
              </a:path>
            </a:pathLst>
          </a:custGeom>
          <a:solidFill>
            <a:schemeClr val="tx2"/>
          </a:solidFill>
          <a:ln w="9525" cap="flat">
            <a:noFill/>
            <a:prstDash val="solid"/>
            <a:miter/>
          </a:ln>
        </p:spPr>
        <p:txBody>
          <a:bodyPr rtlCol="0" anchor="ctr"/>
          <a:lstStyle/>
          <a:p>
            <a:endParaRPr lang="en-GB" dirty="0"/>
          </a:p>
        </p:txBody>
      </p:sp>
      <p:sp>
        <p:nvSpPr>
          <p:cNvPr id="486" name="Freeform 61">
            <a:extLst>
              <a:ext uri="{FF2B5EF4-FFF2-40B4-BE49-F238E27FC236}">
                <a16:creationId xmlns:a16="http://schemas.microsoft.com/office/drawing/2014/main" id="{A774A698-F3ED-4540-B94E-48F07455EDA2}"/>
              </a:ext>
            </a:extLst>
          </p:cNvPr>
          <p:cNvSpPr>
            <a:spLocks noEditPoints="1"/>
          </p:cNvSpPr>
          <p:nvPr/>
        </p:nvSpPr>
        <p:spPr bwMode="auto">
          <a:xfrm>
            <a:off x="7096555" y="3295072"/>
            <a:ext cx="412750" cy="312738"/>
          </a:xfrm>
          <a:custGeom>
            <a:avLst/>
            <a:gdLst>
              <a:gd name="T0" fmla="*/ 244 w 260"/>
              <a:gd name="T1" fmla="*/ 29 h 197"/>
              <a:gd name="T2" fmla="*/ 244 w 260"/>
              <a:gd name="T3" fmla="*/ 181 h 197"/>
              <a:gd name="T4" fmla="*/ 16 w 260"/>
              <a:gd name="T5" fmla="*/ 181 h 197"/>
              <a:gd name="T6" fmla="*/ 16 w 260"/>
              <a:gd name="T7" fmla="*/ 29 h 197"/>
              <a:gd name="T8" fmla="*/ 130 w 260"/>
              <a:gd name="T9" fmla="*/ 142 h 197"/>
              <a:gd name="T10" fmla="*/ 244 w 260"/>
              <a:gd name="T11" fmla="*/ 29 h 197"/>
              <a:gd name="T12" fmla="*/ 28 w 260"/>
              <a:gd name="T13" fmla="*/ 17 h 197"/>
              <a:gd name="T14" fmla="*/ 231 w 260"/>
              <a:gd name="T15" fmla="*/ 17 h 197"/>
              <a:gd name="T16" fmla="*/ 130 w 260"/>
              <a:gd name="T17" fmla="*/ 119 h 197"/>
              <a:gd name="T18" fmla="*/ 28 w 260"/>
              <a:gd name="T19" fmla="*/ 17 h 197"/>
              <a:gd name="T20" fmla="*/ 0 w 260"/>
              <a:gd name="T21" fmla="*/ 197 h 197"/>
              <a:gd name="T22" fmla="*/ 260 w 260"/>
              <a:gd name="T23" fmla="*/ 197 h 197"/>
              <a:gd name="T24" fmla="*/ 260 w 260"/>
              <a:gd name="T25" fmla="*/ 0 h 197"/>
              <a:gd name="T26" fmla="*/ 0 w 260"/>
              <a:gd name="T27" fmla="*/ 0 h 197"/>
              <a:gd name="T28" fmla="*/ 0 w 260"/>
              <a:gd name="T29"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0" h="197">
                <a:moveTo>
                  <a:pt x="244" y="29"/>
                </a:moveTo>
                <a:lnTo>
                  <a:pt x="244" y="181"/>
                </a:lnTo>
                <a:lnTo>
                  <a:pt x="16" y="181"/>
                </a:lnTo>
                <a:lnTo>
                  <a:pt x="16" y="29"/>
                </a:lnTo>
                <a:lnTo>
                  <a:pt x="130" y="142"/>
                </a:lnTo>
                <a:lnTo>
                  <a:pt x="244" y="29"/>
                </a:lnTo>
                <a:close/>
                <a:moveTo>
                  <a:pt x="28" y="17"/>
                </a:moveTo>
                <a:lnTo>
                  <a:pt x="231" y="17"/>
                </a:lnTo>
                <a:lnTo>
                  <a:pt x="130" y="119"/>
                </a:lnTo>
                <a:lnTo>
                  <a:pt x="28" y="17"/>
                </a:lnTo>
                <a:close/>
                <a:moveTo>
                  <a:pt x="0" y="197"/>
                </a:moveTo>
                <a:lnTo>
                  <a:pt x="260" y="197"/>
                </a:lnTo>
                <a:lnTo>
                  <a:pt x="260" y="0"/>
                </a:lnTo>
                <a:lnTo>
                  <a:pt x="0" y="0"/>
                </a:lnTo>
                <a:lnTo>
                  <a:pt x="0" y="19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7" name="Freeform 69">
            <a:extLst>
              <a:ext uri="{FF2B5EF4-FFF2-40B4-BE49-F238E27FC236}">
                <a16:creationId xmlns:a16="http://schemas.microsoft.com/office/drawing/2014/main" id="{2C5DE8D5-8C21-4141-A045-DF9905BDEE9D}"/>
              </a:ext>
            </a:extLst>
          </p:cNvPr>
          <p:cNvSpPr>
            <a:spLocks noEditPoints="1"/>
          </p:cNvSpPr>
          <p:nvPr/>
        </p:nvSpPr>
        <p:spPr bwMode="auto">
          <a:xfrm>
            <a:off x="5125543" y="4050221"/>
            <a:ext cx="174625" cy="414338"/>
          </a:xfrm>
          <a:custGeom>
            <a:avLst/>
            <a:gdLst>
              <a:gd name="T0" fmla="*/ 38 w 52"/>
              <a:gd name="T1" fmla="*/ 12 h 128"/>
              <a:gd name="T2" fmla="*/ 26 w 52"/>
              <a:gd name="T3" fmla="*/ 24 h 128"/>
              <a:gd name="T4" fmla="*/ 14 w 52"/>
              <a:gd name="T5" fmla="*/ 12 h 128"/>
              <a:gd name="T6" fmla="*/ 26 w 52"/>
              <a:gd name="T7" fmla="*/ 0 h 128"/>
              <a:gd name="T8" fmla="*/ 38 w 52"/>
              <a:gd name="T9" fmla="*/ 12 h 128"/>
              <a:gd name="T10" fmla="*/ 38 w 52"/>
              <a:gd name="T11" fmla="*/ 88 h 128"/>
              <a:gd name="T12" fmla="*/ 52 w 52"/>
              <a:gd name="T13" fmla="*/ 32 h 128"/>
              <a:gd name="T14" fmla="*/ 0 w 52"/>
              <a:gd name="T15" fmla="*/ 32 h 128"/>
              <a:gd name="T16" fmla="*/ 14 w 52"/>
              <a:gd name="T17" fmla="*/ 88 h 128"/>
              <a:gd name="T18" fmla="*/ 14 w 52"/>
              <a:gd name="T19" fmla="*/ 128 h 128"/>
              <a:gd name="T20" fmla="*/ 38 w 52"/>
              <a:gd name="T21" fmla="*/ 128 h 128"/>
              <a:gd name="T22" fmla="*/ 38 w 52"/>
              <a:gd name="T23" fmla="*/ 88 h 128"/>
              <a:gd name="T24" fmla="*/ 22 w 52"/>
              <a:gd name="T25" fmla="*/ 88 h 128"/>
              <a:gd name="T26" fmla="*/ 10 w 52"/>
              <a:gd name="T27" fmla="*/ 40 h 128"/>
              <a:gd name="T28" fmla="*/ 42 w 52"/>
              <a:gd name="T29" fmla="*/ 40 h 128"/>
              <a:gd name="T30" fmla="*/ 30 w 52"/>
              <a:gd name="T31" fmla="*/ 88 h 128"/>
              <a:gd name="T32" fmla="*/ 30 w 52"/>
              <a:gd name="T33" fmla="*/ 120 h 128"/>
              <a:gd name="T34" fmla="*/ 22 w 52"/>
              <a:gd name="T35" fmla="*/ 120 h 128"/>
              <a:gd name="T36" fmla="*/ 22 w 52"/>
              <a:gd name="T37" fmla="*/ 8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128">
                <a:moveTo>
                  <a:pt x="38" y="12"/>
                </a:moveTo>
                <a:cubicBezTo>
                  <a:pt x="38" y="19"/>
                  <a:pt x="33" y="24"/>
                  <a:pt x="26" y="24"/>
                </a:cubicBezTo>
                <a:cubicBezTo>
                  <a:pt x="19" y="24"/>
                  <a:pt x="14" y="19"/>
                  <a:pt x="14" y="12"/>
                </a:cubicBezTo>
                <a:cubicBezTo>
                  <a:pt x="14" y="5"/>
                  <a:pt x="19" y="0"/>
                  <a:pt x="26" y="0"/>
                </a:cubicBezTo>
                <a:cubicBezTo>
                  <a:pt x="33" y="0"/>
                  <a:pt x="38" y="5"/>
                  <a:pt x="38" y="12"/>
                </a:cubicBezTo>
                <a:close/>
                <a:moveTo>
                  <a:pt x="38" y="88"/>
                </a:moveTo>
                <a:cubicBezTo>
                  <a:pt x="52" y="32"/>
                  <a:pt x="52" y="32"/>
                  <a:pt x="52" y="32"/>
                </a:cubicBezTo>
                <a:cubicBezTo>
                  <a:pt x="0" y="32"/>
                  <a:pt x="0" y="32"/>
                  <a:pt x="0" y="32"/>
                </a:cubicBezTo>
                <a:cubicBezTo>
                  <a:pt x="14" y="88"/>
                  <a:pt x="14" y="88"/>
                  <a:pt x="14" y="88"/>
                </a:cubicBezTo>
                <a:cubicBezTo>
                  <a:pt x="14" y="128"/>
                  <a:pt x="14" y="128"/>
                  <a:pt x="14" y="128"/>
                </a:cubicBezTo>
                <a:cubicBezTo>
                  <a:pt x="38" y="128"/>
                  <a:pt x="38" y="128"/>
                  <a:pt x="38" y="128"/>
                </a:cubicBezTo>
                <a:lnTo>
                  <a:pt x="38" y="88"/>
                </a:lnTo>
                <a:close/>
                <a:moveTo>
                  <a:pt x="22" y="88"/>
                </a:moveTo>
                <a:cubicBezTo>
                  <a:pt x="10" y="40"/>
                  <a:pt x="10" y="40"/>
                  <a:pt x="10" y="40"/>
                </a:cubicBezTo>
                <a:cubicBezTo>
                  <a:pt x="42" y="40"/>
                  <a:pt x="42" y="40"/>
                  <a:pt x="42" y="40"/>
                </a:cubicBezTo>
                <a:cubicBezTo>
                  <a:pt x="30" y="88"/>
                  <a:pt x="30" y="88"/>
                  <a:pt x="30" y="88"/>
                </a:cubicBezTo>
                <a:cubicBezTo>
                  <a:pt x="30" y="120"/>
                  <a:pt x="30" y="120"/>
                  <a:pt x="30" y="120"/>
                </a:cubicBezTo>
                <a:cubicBezTo>
                  <a:pt x="22" y="120"/>
                  <a:pt x="22" y="120"/>
                  <a:pt x="22" y="120"/>
                </a:cubicBezTo>
                <a:lnTo>
                  <a:pt x="22" y="88"/>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88" name="Freeform 65">
            <a:extLst>
              <a:ext uri="{FF2B5EF4-FFF2-40B4-BE49-F238E27FC236}">
                <a16:creationId xmlns:a16="http://schemas.microsoft.com/office/drawing/2014/main" id="{B4240D8B-924D-41CA-B1FB-60FD654B6B01}"/>
              </a:ext>
            </a:extLst>
          </p:cNvPr>
          <p:cNvSpPr>
            <a:spLocks noEditPoints="1"/>
          </p:cNvSpPr>
          <p:nvPr/>
        </p:nvSpPr>
        <p:spPr bwMode="auto">
          <a:xfrm>
            <a:off x="8142782" y="3193472"/>
            <a:ext cx="412750" cy="414338"/>
          </a:xfrm>
          <a:custGeom>
            <a:avLst/>
            <a:gdLst>
              <a:gd name="T0" fmla="*/ 104 w 128"/>
              <a:gd name="T1" fmla="*/ 4 h 128"/>
              <a:gd name="T2" fmla="*/ 104 w 128"/>
              <a:gd name="T3" fmla="*/ 45 h 128"/>
              <a:gd name="T4" fmla="*/ 92 w 128"/>
              <a:gd name="T5" fmla="*/ 60 h 128"/>
              <a:gd name="T6" fmla="*/ 92 w 128"/>
              <a:gd name="T7" fmla="*/ 124 h 128"/>
              <a:gd name="T8" fmla="*/ 88 w 128"/>
              <a:gd name="T9" fmla="*/ 128 h 128"/>
              <a:gd name="T10" fmla="*/ 84 w 128"/>
              <a:gd name="T11" fmla="*/ 124 h 128"/>
              <a:gd name="T12" fmla="*/ 84 w 128"/>
              <a:gd name="T13" fmla="*/ 60 h 128"/>
              <a:gd name="T14" fmla="*/ 72 w 128"/>
              <a:gd name="T15" fmla="*/ 45 h 128"/>
              <a:gd name="T16" fmla="*/ 72 w 128"/>
              <a:gd name="T17" fmla="*/ 4 h 128"/>
              <a:gd name="T18" fmla="*/ 76 w 128"/>
              <a:gd name="T19" fmla="*/ 0 h 128"/>
              <a:gd name="T20" fmla="*/ 80 w 128"/>
              <a:gd name="T21" fmla="*/ 4 h 128"/>
              <a:gd name="T22" fmla="*/ 80 w 128"/>
              <a:gd name="T23" fmla="*/ 36 h 128"/>
              <a:gd name="T24" fmla="*/ 84 w 128"/>
              <a:gd name="T25" fmla="*/ 36 h 128"/>
              <a:gd name="T26" fmla="*/ 84 w 128"/>
              <a:gd name="T27" fmla="*/ 4 h 128"/>
              <a:gd name="T28" fmla="*/ 88 w 128"/>
              <a:gd name="T29" fmla="*/ 0 h 128"/>
              <a:gd name="T30" fmla="*/ 92 w 128"/>
              <a:gd name="T31" fmla="*/ 4 h 128"/>
              <a:gd name="T32" fmla="*/ 92 w 128"/>
              <a:gd name="T33" fmla="*/ 36 h 128"/>
              <a:gd name="T34" fmla="*/ 96 w 128"/>
              <a:gd name="T35" fmla="*/ 36 h 128"/>
              <a:gd name="T36" fmla="*/ 96 w 128"/>
              <a:gd name="T37" fmla="*/ 4 h 128"/>
              <a:gd name="T38" fmla="*/ 100 w 128"/>
              <a:gd name="T39" fmla="*/ 0 h 128"/>
              <a:gd name="T40" fmla="*/ 104 w 128"/>
              <a:gd name="T41" fmla="*/ 4 h 128"/>
              <a:gd name="T42" fmla="*/ 128 w 128"/>
              <a:gd name="T43" fmla="*/ 0 h 128"/>
              <a:gd name="T44" fmla="*/ 112 w 128"/>
              <a:gd name="T45" fmla="*/ 15 h 128"/>
              <a:gd name="T46" fmla="*/ 112 w 128"/>
              <a:gd name="T47" fmla="*/ 72 h 128"/>
              <a:gd name="T48" fmla="*/ 120 w 128"/>
              <a:gd name="T49" fmla="*/ 72 h 128"/>
              <a:gd name="T50" fmla="*/ 120 w 128"/>
              <a:gd name="T51" fmla="*/ 124 h 128"/>
              <a:gd name="T52" fmla="*/ 124 w 128"/>
              <a:gd name="T53" fmla="*/ 128 h 128"/>
              <a:gd name="T54" fmla="*/ 128 w 128"/>
              <a:gd name="T55" fmla="*/ 124 h 128"/>
              <a:gd name="T56" fmla="*/ 128 w 128"/>
              <a:gd name="T57" fmla="*/ 0 h 128"/>
              <a:gd name="T58" fmla="*/ 64 w 128"/>
              <a:gd name="T59" fmla="*/ 120 h 128"/>
              <a:gd name="T60" fmla="*/ 8 w 128"/>
              <a:gd name="T61" fmla="*/ 64 h 128"/>
              <a:gd name="T62" fmla="*/ 64 w 128"/>
              <a:gd name="T63" fmla="*/ 8 h 128"/>
              <a:gd name="T64" fmla="*/ 64 w 128"/>
              <a:gd name="T65" fmla="*/ 0 h 128"/>
              <a:gd name="T66" fmla="*/ 0 w 128"/>
              <a:gd name="T67" fmla="*/ 64 h 128"/>
              <a:gd name="T68" fmla="*/ 64 w 128"/>
              <a:gd name="T69" fmla="*/ 128 h 128"/>
              <a:gd name="T70" fmla="*/ 64 w 128"/>
              <a:gd name="T71" fmla="*/ 12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128">
                <a:moveTo>
                  <a:pt x="104" y="4"/>
                </a:moveTo>
                <a:cubicBezTo>
                  <a:pt x="104" y="45"/>
                  <a:pt x="104" y="45"/>
                  <a:pt x="104" y="45"/>
                </a:cubicBezTo>
                <a:cubicBezTo>
                  <a:pt x="97" y="46"/>
                  <a:pt x="92" y="53"/>
                  <a:pt x="92" y="60"/>
                </a:cubicBezTo>
                <a:cubicBezTo>
                  <a:pt x="92" y="124"/>
                  <a:pt x="92" y="124"/>
                  <a:pt x="92" y="124"/>
                </a:cubicBezTo>
                <a:cubicBezTo>
                  <a:pt x="92" y="126"/>
                  <a:pt x="90" y="128"/>
                  <a:pt x="88" y="128"/>
                </a:cubicBezTo>
                <a:cubicBezTo>
                  <a:pt x="86" y="128"/>
                  <a:pt x="84" y="126"/>
                  <a:pt x="84" y="124"/>
                </a:cubicBezTo>
                <a:cubicBezTo>
                  <a:pt x="84" y="60"/>
                  <a:pt x="84" y="60"/>
                  <a:pt x="84" y="60"/>
                </a:cubicBezTo>
                <a:cubicBezTo>
                  <a:pt x="84" y="53"/>
                  <a:pt x="79" y="46"/>
                  <a:pt x="72" y="45"/>
                </a:cubicBezTo>
                <a:cubicBezTo>
                  <a:pt x="72" y="4"/>
                  <a:pt x="72" y="4"/>
                  <a:pt x="72" y="4"/>
                </a:cubicBezTo>
                <a:cubicBezTo>
                  <a:pt x="72" y="2"/>
                  <a:pt x="74" y="0"/>
                  <a:pt x="76" y="0"/>
                </a:cubicBezTo>
                <a:cubicBezTo>
                  <a:pt x="78" y="0"/>
                  <a:pt x="80" y="2"/>
                  <a:pt x="80" y="4"/>
                </a:cubicBezTo>
                <a:cubicBezTo>
                  <a:pt x="80" y="36"/>
                  <a:pt x="80" y="36"/>
                  <a:pt x="80" y="36"/>
                </a:cubicBezTo>
                <a:cubicBezTo>
                  <a:pt x="84" y="36"/>
                  <a:pt x="84" y="36"/>
                  <a:pt x="84" y="36"/>
                </a:cubicBezTo>
                <a:cubicBezTo>
                  <a:pt x="84" y="4"/>
                  <a:pt x="84" y="4"/>
                  <a:pt x="84" y="4"/>
                </a:cubicBezTo>
                <a:cubicBezTo>
                  <a:pt x="84" y="2"/>
                  <a:pt x="86" y="0"/>
                  <a:pt x="88" y="0"/>
                </a:cubicBezTo>
                <a:cubicBezTo>
                  <a:pt x="90" y="0"/>
                  <a:pt x="92" y="2"/>
                  <a:pt x="92" y="4"/>
                </a:cubicBezTo>
                <a:cubicBezTo>
                  <a:pt x="92" y="36"/>
                  <a:pt x="92" y="36"/>
                  <a:pt x="92" y="36"/>
                </a:cubicBezTo>
                <a:cubicBezTo>
                  <a:pt x="96" y="36"/>
                  <a:pt x="96" y="36"/>
                  <a:pt x="96" y="36"/>
                </a:cubicBezTo>
                <a:cubicBezTo>
                  <a:pt x="96" y="4"/>
                  <a:pt x="96" y="4"/>
                  <a:pt x="96" y="4"/>
                </a:cubicBezTo>
                <a:cubicBezTo>
                  <a:pt x="96" y="2"/>
                  <a:pt x="98" y="0"/>
                  <a:pt x="100" y="0"/>
                </a:cubicBezTo>
                <a:cubicBezTo>
                  <a:pt x="102" y="0"/>
                  <a:pt x="104" y="2"/>
                  <a:pt x="104" y="4"/>
                </a:cubicBezTo>
                <a:close/>
                <a:moveTo>
                  <a:pt x="128" y="0"/>
                </a:moveTo>
                <a:cubicBezTo>
                  <a:pt x="119" y="0"/>
                  <a:pt x="113" y="7"/>
                  <a:pt x="112" y="15"/>
                </a:cubicBezTo>
                <a:cubicBezTo>
                  <a:pt x="112" y="72"/>
                  <a:pt x="112" y="72"/>
                  <a:pt x="112" y="72"/>
                </a:cubicBezTo>
                <a:cubicBezTo>
                  <a:pt x="120" y="72"/>
                  <a:pt x="120" y="72"/>
                  <a:pt x="120" y="72"/>
                </a:cubicBezTo>
                <a:cubicBezTo>
                  <a:pt x="120" y="124"/>
                  <a:pt x="120" y="124"/>
                  <a:pt x="120" y="124"/>
                </a:cubicBezTo>
                <a:cubicBezTo>
                  <a:pt x="120" y="126"/>
                  <a:pt x="122" y="128"/>
                  <a:pt x="124" y="128"/>
                </a:cubicBezTo>
                <a:cubicBezTo>
                  <a:pt x="126" y="128"/>
                  <a:pt x="128" y="126"/>
                  <a:pt x="128" y="124"/>
                </a:cubicBezTo>
                <a:cubicBezTo>
                  <a:pt x="128" y="0"/>
                  <a:pt x="128" y="0"/>
                  <a:pt x="128" y="0"/>
                </a:cubicBezTo>
                <a:close/>
                <a:moveTo>
                  <a:pt x="64" y="120"/>
                </a:moveTo>
                <a:cubicBezTo>
                  <a:pt x="33" y="120"/>
                  <a:pt x="8" y="95"/>
                  <a:pt x="8" y="64"/>
                </a:cubicBezTo>
                <a:cubicBezTo>
                  <a:pt x="8" y="33"/>
                  <a:pt x="33" y="8"/>
                  <a:pt x="64" y="8"/>
                </a:cubicBezTo>
                <a:cubicBezTo>
                  <a:pt x="64" y="0"/>
                  <a:pt x="64" y="0"/>
                  <a:pt x="64" y="0"/>
                </a:cubicBezTo>
                <a:cubicBezTo>
                  <a:pt x="29" y="0"/>
                  <a:pt x="0" y="29"/>
                  <a:pt x="0" y="64"/>
                </a:cubicBezTo>
                <a:cubicBezTo>
                  <a:pt x="0" y="99"/>
                  <a:pt x="29" y="128"/>
                  <a:pt x="64" y="128"/>
                </a:cubicBezTo>
                <a:lnTo>
                  <a:pt x="64" y="120"/>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Shape 38">
            <a:extLst>
              <a:ext uri="{FF2B5EF4-FFF2-40B4-BE49-F238E27FC236}">
                <a16:creationId xmlns:a16="http://schemas.microsoft.com/office/drawing/2014/main" id="{A26535DE-8324-4010-9D8E-9A52AE9AB4D7}"/>
              </a:ext>
            </a:extLst>
          </p:cNvPr>
          <p:cNvSpPr/>
          <p:nvPr/>
        </p:nvSpPr>
        <p:spPr>
          <a:xfrm>
            <a:off x="8152952" y="1611429"/>
            <a:ext cx="392411" cy="393653"/>
          </a:xfrm>
          <a:custGeom>
            <a:avLst/>
            <a:gdLst>
              <a:gd name="connsiteX0" fmla="*/ 200025 w 304800"/>
              <a:gd name="connsiteY0" fmla="*/ 142888 h 305765"/>
              <a:gd name="connsiteX1" fmla="*/ 200025 w 304800"/>
              <a:gd name="connsiteY1" fmla="*/ 114313 h 305765"/>
              <a:gd name="connsiteX2" fmla="*/ 171450 w 304800"/>
              <a:gd name="connsiteY2" fmla="*/ 85738 h 305765"/>
              <a:gd name="connsiteX3" fmla="*/ 57150 w 304800"/>
              <a:gd name="connsiteY3" fmla="*/ 85738 h 305765"/>
              <a:gd name="connsiteX4" fmla="*/ 28575 w 304800"/>
              <a:gd name="connsiteY4" fmla="*/ 114313 h 305765"/>
              <a:gd name="connsiteX5" fmla="*/ 28575 w 304800"/>
              <a:gd name="connsiteY5" fmla="*/ 142888 h 305765"/>
              <a:gd name="connsiteX6" fmla="*/ 0 w 304800"/>
              <a:gd name="connsiteY6" fmla="*/ 175273 h 305765"/>
              <a:gd name="connsiteX7" fmla="*/ 0 w 304800"/>
              <a:gd name="connsiteY7" fmla="*/ 238138 h 305765"/>
              <a:gd name="connsiteX8" fmla="*/ 28575 w 304800"/>
              <a:gd name="connsiteY8" fmla="*/ 266713 h 305765"/>
              <a:gd name="connsiteX9" fmla="*/ 35243 w 304800"/>
              <a:gd name="connsiteY9" fmla="*/ 266713 h 305765"/>
              <a:gd name="connsiteX10" fmla="*/ 24765 w 304800"/>
              <a:gd name="connsiteY10" fmla="*/ 304813 h 305765"/>
              <a:gd name="connsiteX11" fmla="*/ 44768 w 304800"/>
              <a:gd name="connsiteY11" fmla="*/ 304813 h 305765"/>
              <a:gd name="connsiteX12" fmla="*/ 55245 w 304800"/>
              <a:gd name="connsiteY12" fmla="*/ 266713 h 305765"/>
              <a:gd name="connsiteX13" fmla="*/ 174308 w 304800"/>
              <a:gd name="connsiteY13" fmla="*/ 266713 h 305765"/>
              <a:gd name="connsiteX14" fmla="*/ 184785 w 304800"/>
              <a:gd name="connsiteY14" fmla="*/ 304813 h 305765"/>
              <a:gd name="connsiteX15" fmla="*/ 204788 w 304800"/>
              <a:gd name="connsiteY15" fmla="*/ 304813 h 305765"/>
              <a:gd name="connsiteX16" fmla="*/ 194310 w 304800"/>
              <a:gd name="connsiteY16" fmla="*/ 266713 h 305765"/>
              <a:gd name="connsiteX17" fmla="*/ 200025 w 304800"/>
              <a:gd name="connsiteY17" fmla="*/ 266713 h 305765"/>
              <a:gd name="connsiteX18" fmla="*/ 228600 w 304800"/>
              <a:gd name="connsiteY18" fmla="*/ 238138 h 305765"/>
              <a:gd name="connsiteX19" fmla="*/ 228600 w 304800"/>
              <a:gd name="connsiteY19" fmla="*/ 176226 h 305765"/>
              <a:gd name="connsiteX20" fmla="*/ 200025 w 304800"/>
              <a:gd name="connsiteY20" fmla="*/ 142888 h 305765"/>
              <a:gd name="connsiteX21" fmla="*/ 47625 w 304800"/>
              <a:gd name="connsiteY21" fmla="*/ 114313 h 305765"/>
              <a:gd name="connsiteX22" fmla="*/ 57150 w 304800"/>
              <a:gd name="connsiteY22" fmla="*/ 104788 h 305765"/>
              <a:gd name="connsiteX23" fmla="*/ 171450 w 304800"/>
              <a:gd name="connsiteY23" fmla="*/ 104788 h 305765"/>
              <a:gd name="connsiteX24" fmla="*/ 180975 w 304800"/>
              <a:gd name="connsiteY24" fmla="*/ 114313 h 305765"/>
              <a:gd name="connsiteX25" fmla="*/ 180975 w 304800"/>
              <a:gd name="connsiteY25" fmla="*/ 146698 h 305765"/>
              <a:gd name="connsiteX26" fmla="*/ 161925 w 304800"/>
              <a:gd name="connsiteY26" fmla="*/ 176226 h 305765"/>
              <a:gd name="connsiteX27" fmla="*/ 161925 w 304800"/>
              <a:gd name="connsiteY27" fmla="*/ 200038 h 305765"/>
              <a:gd name="connsiteX28" fmla="*/ 66675 w 304800"/>
              <a:gd name="connsiteY28" fmla="*/ 200038 h 305765"/>
              <a:gd name="connsiteX29" fmla="*/ 66675 w 304800"/>
              <a:gd name="connsiteY29" fmla="*/ 176226 h 305765"/>
              <a:gd name="connsiteX30" fmla="*/ 47625 w 304800"/>
              <a:gd name="connsiteY30" fmla="*/ 146698 h 305765"/>
              <a:gd name="connsiteX31" fmla="*/ 47625 w 304800"/>
              <a:gd name="connsiteY31" fmla="*/ 114313 h 305765"/>
              <a:gd name="connsiteX32" fmla="*/ 19050 w 304800"/>
              <a:gd name="connsiteY32" fmla="*/ 176226 h 305765"/>
              <a:gd name="connsiteX33" fmla="*/ 33338 w 304800"/>
              <a:gd name="connsiteY33" fmla="*/ 161938 h 305765"/>
              <a:gd name="connsiteX34" fmla="*/ 47625 w 304800"/>
              <a:gd name="connsiteY34" fmla="*/ 176226 h 305765"/>
              <a:gd name="connsiteX35" fmla="*/ 47625 w 304800"/>
              <a:gd name="connsiteY35" fmla="*/ 200038 h 305765"/>
              <a:gd name="connsiteX36" fmla="*/ 19050 w 304800"/>
              <a:gd name="connsiteY36" fmla="*/ 200038 h 305765"/>
              <a:gd name="connsiteX37" fmla="*/ 19050 w 304800"/>
              <a:gd name="connsiteY37" fmla="*/ 176226 h 305765"/>
              <a:gd name="connsiteX38" fmla="*/ 209550 w 304800"/>
              <a:gd name="connsiteY38" fmla="*/ 238138 h 305765"/>
              <a:gd name="connsiteX39" fmla="*/ 200025 w 304800"/>
              <a:gd name="connsiteY39" fmla="*/ 247663 h 305765"/>
              <a:gd name="connsiteX40" fmla="*/ 28575 w 304800"/>
              <a:gd name="connsiteY40" fmla="*/ 247663 h 305765"/>
              <a:gd name="connsiteX41" fmla="*/ 19050 w 304800"/>
              <a:gd name="connsiteY41" fmla="*/ 238138 h 305765"/>
              <a:gd name="connsiteX42" fmla="*/ 19050 w 304800"/>
              <a:gd name="connsiteY42" fmla="*/ 219088 h 305765"/>
              <a:gd name="connsiteX43" fmla="*/ 209550 w 304800"/>
              <a:gd name="connsiteY43" fmla="*/ 219088 h 305765"/>
              <a:gd name="connsiteX44" fmla="*/ 209550 w 304800"/>
              <a:gd name="connsiteY44" fmla="*/ 238138 h 305765"/>
              <a:gd name="connsiteX45" fmla="*/ 209550 w 304800"/>
              <a:gd name="connsiteY45" fmla="*/ 200038 h 305765"/>
              <a:gd name="connsiteX46" fmla="*/ 180975 w 304800"/>
              <a:gd name="connsiteY46" fmla="*/ 200038 h 305765"/>
              <a:gd name="connsiteX47" fmla="*/ 180975 w 304800"/>
              <a:gd name="connsiteY47" fmla="*/ 176226 h 305765"/>
              <a:gd name="connsiteX48" fmla="*/ 195263 w 304800"/>
              <a:gd name="connsiteY48" fmla="*/ 161938 h 305765"/>
              <a:gd name="connsiteX49" fmla="*/ 209550 w 304800"/>
              <a:gd name="connsiteY49" fmla="*/ 176226 h 305765"/>
              <a:gd name="connsiteX50" fmla="*/ 209550 w 304800"/>
              <a:gd name="connsiteY50" fmla="*/ 200038 h 305765"/>
              <a:gd name="connsiteX51" fmla="*/ 276225 w 304800"/>
              <a:gd name="connsiteY51" fmla="*/ 285763 h 305765"/>
              <a:gd name="connsiteX52" fmla="*/ 276225 w 304800"/>
              <a:gd name="connsiteY52" fmla="*/ 47638 h 305765"/>
              <a:gd name="connsiteX53" fmla="*/ 238125 w 304800"/>
              <a:gd name="connsiteY53" fmla="*/ 9538 h 305765"/>
              <a:gd name="connsiteX54" fmla="*/ 220980 w 304800"/>
              <a:gd name="connsiteY54" fmla="*/ 9538 h 305765"/>
              <a:gd name="connsiteX55" fmla="*/ 159068 w 304800"/>
              <a:gd name="connsiteY55" fmla="*/ 14301 h 305765"/>
              <a:gd name="connsiteX56" fmla="*/ 152400 w 304800"/>
              <a:gd name="connsiteY56" fmla="*/ 20968 h 305765"/>
              <a:gd name="connsiteX57" fmla="*/ 220028 w 304800"/>
              <a:gd name="connsiteY57" fmla="*/ 88596 h 305765"/>
              <a:gd name="connsiteX58" fmla="*/ 226695 w 304800"/>
              <a:gd name="connsiteY58" fmla="*/ 81928 h 305765"/>
              <a:gd name="connsiteX59" fmla="*/ 236220 w 304800"/>
              <a:gd name="connsiteY59" fmla="*/ 29541 h 305765"/>
              <a:gd name="connsiteX60" fmla="*/ 238125 w 304800"/>
              <a:gd name="connsiteY60" fmla="*/ 29541 h 305765"/>
              <a:gd name="connsiteX61" fmla="*/ 257175 w 304800"/>
              <a:gd name="connsiteY61" fmla="*/ 48591 h 305765"/>
              <a:gd name="connsiteX62" fmla="*/ 257175 w 304800"/>
              <a:gd name="connsiteY62" fmla="*/ 286716 h 305765"/>
              <a:gd name="connsiteX63" fmla="*/ 228600 w 304800"/>
              <a:gd name="connsiteY63" fmla="*/ 286716 h 305765"/>
              <a:gd name="connsiteX64" fmla="*/ 228600 w 304800"/>
              <a:gd name="connsiteY64" fmla="*/ 305766 h 305765"/>
              <a:gd name="connsiteX65" fmla="*/ 304800 w 304800"/>
              <a:gd name="connsiteY65" fmla="*/ 305766 h 305765"/>
              <a:gd name="connsiteX66" fmla="*/ 304800 w 304800"/>
              <a:gd name="connsiteY66" fmla="*/ 286716 h 305765"/>
              <a:gd name="connsiteX67" fmla="*/ 276225 w 304800"/>
              <a:gd name="connsiteY67" fmla="*/ 286716 h 305765"/>
              <a:gd name="connsiteX68" fmla="*/ 219075 w 304800"/>
              <a:gd name="connsiteY68" fmla="*/ 60021 h 305765"/>
              <a:gd name="connsiteX69" fmla="*/ 180975 w 304800"/>
              <a:gd name="connsiteY69" fmla="*/ 21921 h 305765"/>
              <a:gd name="connsiteX70" fmla="*/ 213360 w 304800"/>
              <a:gd name="connsiteY70" fmla="*/ 27636 h 305765"/>
              <a:gd name="connsiteX71" fmla="*/ 219075 w 304800"/>
              <a:gd name="connsiteY71" fmla="*/ 60021 h 305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304800" h="305765">
                <a:moveTo>
                  <a:pt x="200025" y="142888"/>
                </a:moveTo>
                <a:lnTo>
                  <a:pt x="200025" y="114313"/>
                </a:lnTo>
                <a:cubicBezTo>
                  <a:pt x="200025" y="98121"/>
                  <a:pt x="187643" y="85738"/>
                  <a:pt x="171450" y="85738"/>
                </a:cubicBezTo>
                <a:lnTo>
                  <a:pt x="57150" y="85738"/>
                </a:lnTo>
                <a:cubicBezTo>
                  <a:pt x="40958" y="85738"/>
                  <a:pt x="28575" y="98121"/>
                  <a:pt x="28575" y="114313"/>
                </a:cubicBezTo>
                <a:lnTo>
                  <a:pt x="28575" y="142888"/>
                </a:lnTo>
                <a:cubicBezTo>
                  <a:pt x="12383" y="144793"/>
                  <a:pt x="0" y="159081"/>
                  <a:pt x="0" y="175273"/>
                </a:cubicBezTo>
                <a:lnTo>
                  <a:pt x="0" y="238138"/>
                </a:lnTo>
                <a:cubicBezTo>
                  <a:pt x="0" y="254331"/>
                  <a:pt x="12383" y="266713"/>
                  <a:pt x="28575" y="266713"/>
                </a:cubicBezTo>
                <a:lnTo>
                  <a:pt x="35243" y="266713"/>
                </a:lnTo>
                <a:lnTo>
                  <a:pt x="24765" y="304813"/>
                </a:lnTo>
                <a:lnTo>
                  <a:pt x="44768" y="304813"/>
                </a:lnTo>
                <a:lnTo>
                  <a:pt x="55245" y="266713"/>
                </a:lnTo>
                <a:lnTo>
                  <a:pt x="174308" y="266713"/>
                </a:lnTo>
                <a:lnTo>
                  <a:pt x="184785" y="304813"/>
                </a:lnTo>
                <a:lnTo>
                  <a:pt x="204788" y="304813"/>
                </a:lnTo>
                <a:lnTo>
                  <a:pt x="194310" y="266713"/>
                </a:lnTo>
                <a:lnTo>
                  <a:pt x="200025" y="266713"/>
                </a:lnTo>
                <a:cubicBezTo>
                  <a:pt x="216218" y="266713"/>
                  <a:pt x="228600" y="254331"/>
                  <a:pt x="228600" y="238138"/>
                </a:cubicBezTo>
                <a:lnTo>
                  <a:pt x="228600" y="176226"/>
                </a:lnTo>
                <a:cubicBezTo>
                  <a:pt x="228600" y="159081"/>
                  <a:pt x="216218" y="145746"/>
                  <a:pt x="200025" y="142888"/>
                </a:cubicBezTo>
                <a:close/>
                <a:moveTo>
                  <a:pt x="47625" y="114313"/>
                </a:moveTo>
                <a:cubicBezTo>
                  <a:pt x="47625" y="108598"/>
                  <a:pt x="51435" y="104788"/>
                  <a:pt x="57150" y="104788"/>
                </a:cubicBezTo>
                <a:lnTo>
                  <a:pt x="171450" y="104788"/>
                </a:lnTo>
                <a:cubicBezTo>
                  <a:pt x="177165" y="104788"/>
                  <a:pt x="180975" y="108598"/>
                  <a:pt x="180975" y="114313"/>
                </a:cubicBezTo>
                <a:lnTo>
                  <a:pt x="180975" y="146698"/>
                </a:lnTo>
                <a:cubicBezTo>
                  <a:pt x="169545" y="152413"/>
                  <a:pt x="161925" y="163843"/>
                  <a:pt x="161925" y="176226"/>
                </a:cubicBezTo>
                <a:lnTo>
                  <a:pt x="161925" y="200038"/>
                </a:lnTo>
                <a:lnTo>
                  <a:pt x="66675" y="200038"/>
                </a:lnTo>
                <a:lnTo>
                  <a:pt x="66675" y="176226"/>
                </a:lnTo>
                <a:cubicBezTo>
                  <a:pt x="66675" y="162891"/>
                  <a:pt x="59055" y="151461"/>
                  <a:pt x="47625" y="146698"/>
                </a:cubicBezTo>
                <a:lnTo>
                  <a:pt x="47625" y="114313"/>
                </a:lnTo>
                <a:close/>
                <a:moveTo>
                  <a:pt x="19050" y="176226"/>
                </a:moveTo>
                <a:cubicBezTo>
                  <a:pt x="19050" y="168606"/>
                  <a:pt x="25718" y="161938"/>
                  <a:pt x="33338" y="161938"/>
                </a:cubicBezTo>
                <a:cubicBezTo>
                  <a:pt x="40958" y="161938"/>
                  <a:pt x="47625" y="168606"/>
                  <a:pt x="47625" y="176226"/>
                </a:cubicBezTo>
                <a:lnTo>
                  <a:pt x="47625" y="200038"/>
                </a:lnTo>
                <a:lnTo>
                  <a:pt x="19050" y="200038"/>
                </a:lnTo>
                <a:lnTo>
                  <a:pt x="19050" y="176226"/>
                </a:lnTo>
                <a:close/>
                <a:moveTo>
                  <a:pt x="209550" y="238138"/>
                </a:moveTo>
                <a:cubicBezTo>
                  <a:pt x="209550" y="243853"/>
                  <a:pt x="205740" y="247663"/>
                  <a:pt x="200025" y="247663"/>
                </a:cubicBezTo>
                <a:lnTo>
                  <a:pt x="28575" y="247663"/>
                </a:lnTo>
                <a:cubicBezTo>
                  <a:pt x="22860" y="247663"/>
                  <a:pt x="19050" y="243853"/>
                  <a:pt x="19050" y="238138"/>
                </a:cubicBezTo>
                <a:lnTo>
                  <a:pt x="19050" y="219088"/>
                </a:lnTo>
                <a:lnTo>
                  <a:pt x="209550" y="219088"/>
                </a:lnTo>
                <a:lnTo>
                  <a:pt x="209550" y="238138"/>
                </a:lnTo>
                <a:close/>
                <a:moveTo>
                  <a:pt x="209550" y="200038"/>
                </a:moveTo>
                <a:lnTo>
                  <a:pt x="180975" y="200038"/>
                </a:lnTo>
                <a:lnTo>
                  <a:pt x="180975" y="176226"/>
                </a:lnTo>
                <a:cubicBezTo>
                  <a:pt x="180975" y="168606"/>
                  <a:pt x="187643" y="161938"/>
                  <a:pt x="195263" y="161938"/>
                </a:cubicBezTo>
                <a:cubicBezTo>
                  <a:pt x="202883" y="161938"/>
                  <a:pt x="209550" y="168606"/>
                  <a:pt x="209550" y="176226"/>
                </a:cubicBezTo>
                <a:lnTo>
                  <a:pt x="209550" y="200038"/>
                </a:lnTo>
                <a:close/>
                <a:moveTo>
                  <a:pt x="276225" y="285763"/>
                </a:moveTo>
                <a:lnTo>
                  <a:pt x="276225" y="47638"/>
                </a:lnTo>
                <a:cubicBezTo>
                  <a:pt x="276225" y="26683"/>
                  <a:pt x="259080" y="9538"/>
                  <a:pt x="238125" y="9538"/>
                </a:cubicBezTo>
                <a:lnTo>
                  <a:pt x="220980" y="9538"/>
                </a:lnTo>
                <a:cubicBezTo>
                  <a:pt x="201930" y="-4749"/>
                  <a:pt x="176213" y="-2844"/>
                  <a:pt x="159068" y="14301"/>
                </a:cubicBezTo>
                <a:lnTo>
                  <a:pt x="152400" y="20968"/>
                </a:lnTo>
                <a:lnTo>
                  <a:pt x="220028" y="88596"/>
                </a:lnTo>
                <a:lnTo>
                  <a:pt x="226695" y="81928"/>
                </a:lnTo>
                <a:cubicBezTo>
                  <a:pt x="240983" y="67641"/>
                  <a:pt x="243840" y="46686"/>
                  <a:pt x="236220" y="29541"/>
                </a:cubicBezTo>
                <a:lnTo>
                  <a:pt x="238125" y="29541"/>
                </a:lnTo>
                <a:cubicBezTo>
                  <a:pt x="248603" y="29541"/>
                  <a:pt x="257175" y="38113"/>
                  <a:pt x="257175" y="48591"/>
                </a:cubicBezTo>
                <a:lnTo>
                  <a:pt x="257175" y="286716"/>
                </a:lnTo>
                <a:lnTo>
                  <a:pt x="228600" y="286716"/>
                </a:lnTo>
                <a:lnTo>
                  <a:pt x="228600" y="305766"/>
                </a:lnTo>
                <a:lnTo>
                  <a:pt x="304800" y="305766"/>
                </a:lnTo>
                <a:lnTo>
                  <a:pt x="304800" y="286716"/>
                </a:lnTo>
                <a:lnTo>
                  <a:pt x="276225" y="286716"/>
                </a:lnTo>
                <a:close/>
                <a:moveTo>
                  <a:pt x="219075" y="60021"/>
                </a:moveTo>
                <a:lnTo>
                  <a:pt x="180975" y="21921"/>
                </a:lnTo>
                <a:cubicBezTo>
                  <a:pt x="191453" y="17158"/>
                  <a:pt x="204788" y="19063"/>
                  <a:pt x="213360" y="27636"/>
                </a:cubicBezTo>
                <a:cubicBezTo>
                  <a:pt x="221933" y="36208"/>
                  <a:pt x="223838" y="49543"/>
                  <a:pt x="219075" y="60021"/>
                </a:cubicBezTo>
                <a:close/>
              </a:path>
            </a:pathLst>
          </a:custGeom>
          <a:solidFill>
            <a:schemeClr val="tx2"/>
          </a:solidFill>
          <a:ln w="9525" cap="flat">
            <a:noFill/>
            <a:prstDash val="solid"/>
            <a:miter/>
          </a:ln>
        </p:spPr>
        <p:txBody>
          <a:bodyPr rtlCol="0" anchor="ctr"/>
          <a:lstStyle/>
          <a:p>
            <a:endParaRPr lang="en-GB"/>
          </a:p>
        </p:txBody>
      </p:sp>
      <p:sp>
        <p:nvSpPr>
          <p:cNvPr id="37" name="Freeform 5">
            <a:extLst>
              <a:ext uri="{FF2B5EF4-FFF2-40B4-BE49-F238E27FC236}">
                <a16:creationId xmlns:a16="http://schemas.microsoft.com/office/drawing/2014/main" id="{FC5970FF-3368-7F92-004B-666BB5E9E9DE}"/>
              </a:ext>
            </a:extLst>
          </p:cNvPr>
          <p:cNvSpPr>
            <a:spLocks noEditPoints="1"/>
          </p:cNvSpPr>
          <p:nvPr/>
        </p:nvSpPr>
        <p:spPr bwMode="auto">
          <a:xfrm>
            <a:off x="585788" y="1589088"/>
            <a:ext cx="412750" cy="412750"/>
          </a:xfrm>
          <a:custGeom>
            <a:avLst/>
            <a:gdLst>
              <a:gd name="T0" fmla="*/ 0 w 260"/>
              <a:gd name="T1" fmla="*/ 244 h 260"/>
              <a:gd name="T2" fmla="*/ 260 w 260"/>
              <a:gd name="T3" fmla="*/ 244 h 260"/>
              <a:gd name="T4" fmla="*/ 260 w 260"/>
              <a:gd name="T5" fmla="*/ 260 h 260"/>
              <a:gd name="T6" fmla="*/ 0 w 260"/>
              <a:gd name="T7" fmla="*/ 260 h 260"/>
              <a:gd name="T8" fmla="*/ 0 w 260"/>
              <a:gd name="T9" fmla="*/ 244 h 260"/>
              <a:gd name="T10" fmla="*/ 227 w 260"/>
              <a:gd name="T11" fmla="*/ 0 h 260"/>
              <a:gd name="T12" fmla="*/ 227 w 260"/>
              <a:gd name="T13" fmla="*/ 227 h 260"/>
              <a:gd name="T14" fmla="*/ 260 w 260"/>
              <a:gd name="T15" fmla="*/ 227 h 260"/>
              <a:gd name="T16" fmla="*/ 260 w 260"/>
              <a:gd name="T17" fmla="*/ 0 h 260"/>
              <a:gd name="T18" fmla="*/ 227 w 260"/>
              <a:gd name="T19" fmla="*/ 0 h 260"/>
              <a:gd name="T20" fmla="*/ 33 w 260"/>
              <a:gd name="T21" fmla="*/ 0 h 260"/>
              <a:gd name="T22" fmla="*/ 0 w 260"/>
              <a:gd name="T23" fmla="*/ 0 h 260"/>
              <a:gd name="T24" fmla="*/ 0 w 260"/>
              <a:gd name="T25" fmla="*/ 227 h 260"/>
              <a:gd name="T26" fmla="*/ 33 w 260"/>
              <a:gd name="T27" fmla="*/ 227 h 260"/>
              <a:gd name="T28" fmla="*/ 33 w 260"/>
              <a:gd name="T29" fmla="*/ 0 h 260"/>
              <a:gd name="T30" fmla="*/ 81 w 260"/>
              <a:gd name="T31" fmla="*/ 0 h 260"/>
              <a:gd name="T32" fmla="*/ 49 w 260"/>
              <a:gd name="T33" fmla="*/ 0 h 260"/>
              <a:gd name="T34" fmla="*/ 49 w 260"/>
              <a:gd name="T35" fmla="*/ 227 h 260"/>
              <a:gd name="T36" fmla="*/ 81 w 260"/>
              <a:gd name="T37" fmla="*/ 227 h 260"/>
              <a:gd name="T38" fmla="*/ 81 w 260"/>
              <a:gd name="T39" fmla="*/ 0 h 260"/>
              <a:gd name="T40" fmla="*/ 211 w 260"/>
              <a:gd name="T41" fmla="*/ 217 h 260"/>
              <a:gd name="T42" fmla="*/ 128 w 260"/>
              <a:gd name="T43" fmla="*/ 6 h 260"/>
              <a:gd name="T44" fmla="*/ 98 w 260"/>
              <a:gd name="T45" fmla="*/ 18 h 260"/>
              <a:gd name="T46" fmla="*/ 181 w 260"/>
              <a:gd name="T47" fmla="*/ 229 h 260"/>
              <a:gd name="T48" fmla="*/ 211 w 260"/>
              <a:gd name="T49" fmla="*/ 2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0" h="260">
                <a:moveTo>
                  <a:pt x="0" y="244"/>
                </a:moveTo>
                <a:lnTo>
                  <a:pt x="260" y="244"/>
                </a:lnTo>
                <a:lnTo>
                  <a:pt x="260" y="260"/>
                </a:lnTo>
                <a:lnTo>
                  <a:pt x="0" y="260"/>
                </a:lnTo>
                <a:lnTo>
                  <a:pt x="0" y="244"/>
                </a:lnTo>
                <a:close/>
                <a:moveTo>
                  <a:pt x="227" y="0"/>
                </a:moveTo>
                <a:lnTo>
                  <a:pt x="227" y="227"/>
                </a:lnTo>
                <a:lnTo>
                  <a:pt x="260" y="227"/>
                </a:lnTo>
                <a:lnTo>
                  <a:pt x="260" y="0"/>
                </a:lnTo>
                <a:lnTo>
                  <a:pt x="227" y="0"/>
                </a:lnTo>
                <a:close/>
                <a:moveTo>
                  <a:pt x="33" y="0"/>
                </a:moveTo>
                <a:lnTo>
                  <a:pt x="0" y="0"/>
                </a:lnTo>
                <a:lnTo>
                  <a:pt x="0" y="227"/>
                </a:lnTo>
                <a:lnTo>
                  <a:pt x="33" y="227"/>
                </a:lnTo>
                <a:lnTo>
                  <a:pt x="33" y="0"/>
                </a:lnTo>
                <a:close/>
                <a:moveTo>
                  <a:pt x="81" y="0"/>
                </a:moveTo>
                <a:lnTo>
                  <a:pt x="49" y="0"/>
                </a:lnTo>
                <a:lnTo>
                  <a:pt x="49" y="227"/>
                </a:lnTo>
                <a:lnTo>
                  <a:pt x="81" y="227"/>
                </a:lnTo>
                <a:lnTo>
                  <a:pt x="81" y="0"/>
                </a:lnTo>
                <a:close/>
                <a:moveTo>
                  <a:pt x="211" y="217"/>
                </a:moveTo>
                <a:lnTo>
                  <a:pt x="128" y="6"/>
                </a:lnTo>
                <a:lnTo>
                  <a:pt x="98" y="18"/>
                </a:lnTo>
                <a:lnTo>
                  <a:pt x="181" y="229"/>
                </a:lnTo>
                <a:lnTo>
                  <a:pt x="211" y="217"/>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287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3045aKqsXL.qqj58oJhl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PlUrkhEPbKdoI8eDxqV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YvWec78pW5PVRkEsn4W.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3045aKqsXL.qqj58oJhl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R _Template 16 to 9_MR_ÈN_GB">
  <a:themeElements>
    <a:clrScheme name="Munich Re">
      <a:dk1>
        <a:sysClr val="windowText" lastClr="000000"/>
      </a:dk1>
      <a:lt1>
        <a:sysClr val="window" lastClr="FFFFFF"/>
      </a:lt1>
      <a:dk2>
        <a:srgbClr val="0F1E32"/>
      </a:dk2>
      <a:lt2>
        <a:srgbClr val="008080"/>
      </a:lt2>
      <a:accent1>
        <a:srgbClr val="3350B8"/>
      </a:accent1>
      <a:accent2>
        <a:srgbClr val="4AD386"/>
      </a:accent2>
      <a:accent3>
        <a:srgbClr val="E1551E"/>
      </a:accent3>
      <a:accent4>
        <a:srgbClr val="1DB1D9"/>
      </a:accent4>
      <a:accent5>
        <a:srgbClr val="5DB1C3"/>
      </a:accent5>
      <a:accent6>
        <a:srgbClr val="914BFF"/>
      </a:accent6>
      <a:hlink>
        <a:srgbClr val="914BFF"/>
      </a:hlink>
      <a:folHlink>
        <a:srgbClr val="899AD4"/>
      </a:folHlink>
    </a:clrScheme>
    <a:fontScheme name="Munich Re">
      <a:majorFont>
        <a:latin typeface="Arial"/>
        <a:ea typeface="Arial Unicode MS"/>
        <a:cs typeface="Arial"/>
      </a:majorFont>
      <a:minorFont>
        <a:latin typeface="Arial"/>
        <a:ea typeface="Arial Unicode MS"/>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rtlCol="0" anchor="ctr" anchorCtr="0"/>
      <a:lstStyle>
        <a:defPPr algn="ctr">
          <a:defRPr sz="1400"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effectLst/>
      </a:spPr>
      <a:bodyPr wrap="square" lIns="0" tIns="0" rIns="0" bIns="0" rtlCol="0">
        <a:spAutoFit/>
      </a:bodyPr>
      <a:lstStyle>
        <a:defPPr marL="269875" indent="-269875">
          <a:lnSpc>
            <a:spcPct val="110000"/>
          </a:lnSpc>
          <a:buFont typeface="Wingdings" panose="05000000000000000000" pitchFamily="2" charset="2"/>
          <a:buChar char="§"/>
          <a:defRPr sz="1400" dirty="0" err="1" smtClean="0">
            <a:solidFill>
              <a:schemeClr val="tx2"/>
            </a:solidFill>
          </a:defRPr>
        </a:defPPr>
      </a:lstStyle>
    </a:txDef>
  </a:objectDefaults>
  <a:extraClrSchemeLst/>
  <a:custClrLst>
    <a:custClr name="ERGO">
      <a:srgbClr val="BF1528"/>
    </a:custClr>
    <a:custClr name="ERGO L&amp;H Germany">
      <a:srgbClr val="009284"/>
    </a:custClr>
    <a:custClr name="ERGO P-C Germany">
      <a:srgbClr val="EEB500"/>
    </a:custClr>
    <a:custClr name="ERGO International">
      <a:srgbClr val="E87A16"/>
    </a:custClr>
    <a:custClr name="L&amp;H reinsurance">
      <a:srgbClr val="004DBF"/>
    </a:custClr>
    <a:custClr name="P-C reinsurance">
      <a:srgbClr val="00337F"/>
    </a:custClr>
    <a:custClr name="Risk Solution">
      <a:srgbClr val="00DCFA"/>
    </a:custClr>
    <a:custClr name="MEAG">
      <a:srgbClr val="9CB40D"/>
    </a:custClr>
  </a:custClrLst>
  <a:extLst>
    <a:ext uri="{05A4C25C-085E-4340-85A3-A5531E510DB2}">
      <thm15:themeFamily xmlns:thm15="http://schemas.microsoft.com/office/thememl/2012/main" name="MR _Template 16 to 9_MR_ÈN_GB" id="{88E05715-045A-432F-BFED-D44A11B2AB15}" vid="{F9A4D6EE-2BA2-4E00-B11D-065A692AD18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f3c6f0c0-389c-4324-ac00-59fc67b57edf" ContentTypeId="0x0101" PreviousValue="false"/>
</file>

<file path=customXml/item2.xml><?xml version="1.0" encoding="utf-8"?>
<p:properties xmlns:p="http://schemas.microsoft.com/office/2006/metadata/properties" xmlns:xsi="http://www.w3.org/2001/XMLSchema-instance" xmlns:pc="http://schemas.microsoft.com/office/infopath/2007/PartnerControls">
  <documentManagement>
    <TaxCatchAll xmlns="ca729617-940b-463d-a580-46cc6a3ad9da" xsi:nil="true"/>
    <lcf76f155ced4ddcb4097134ff3c332f xmlns="b187e943-fe29-41dd-ac1b-501a4f40b893">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kument" ma:contentTypeID="0x010100CF10EDCF47ED454A94DFADFF373EC454" ma:contentTypeVersion="17" ma:contentTypeDescription="Ein neues Dokument erstellen." ma:contentTypeScope="" ma:versionID="f2041419423a2195987b4c0f4555a6e1">
  <xsd:schema xmlns:xsd="http://www.w3.org/2001/XMLSchema" xmlns:xs="http://www.w3.org/2001/XMLSchema" xmlns:p="http://schemas.microsoft.com/office/2006/metadata/properties" xmlns:ns2="ca729617-940b-463d-a580-46cc6a3ad9da" xmlns:ns3="172f3823-817a-433f-9fc6-f9f302b6fdd2" xmlns:ns4="b187e943-fe29-41dd-ac1b-501a4f40b893" targetNamespace="http://schemas.microsoft.com/office/2006/metadata/properties" ma:root="true" ma:fieldsID="201786429b61bd196becb769c7d8bbe5" ns2:_="" ns3:_="" ns4:_="">
    <xsd:import namespace="ca729617-940b-463d-a580-46cc6a3ad9da"/>
    <xsd:import namespace="172f3823-817a-433f-9fc6-f9f302b6fdd2"/>
    <xsd:import namespace="b187e943-fe29-41dd-ac1b-501a4f40b893"/>
    <xsd:element name="properties">
      <xsd:complexType>
        <xsd:sequence>
          <xsd:element name="documentManagement">
            <xsd:complexType>
              <xsd:all>
                <xsd:element ref="ns2:TaxCatchAll" minOccurs="0"/>
                <xsd:element ref="ns2:TaxCatchAllLabel" minOccurs="0"/>
                <xsd:element ref="ns3:SharedWithUsers" minOccurs="0"/>
                <xsd:element ref="ns3:SharedWithDetails"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DateTaken" minOccurs="0"/>
                <xsd:element ref="ns4:MediaLengthInSeconds" minOccurs="0"/>
                <xsd:element ref="ns4:MediaServiceOCR" minOccurs="0"/>
                <xsd:element ref="ns4:MediaServiceLocation" minOccurs="0"/>
                <xsd:element ref="ns4:MediaServiceAutoKeyPoints" minOccurs="0"/>
                <xsd:element ref="ns4:MediaServiceKeyPoints" minOccurs="0"/>
                <xsd:element ref="ns4:lcf76f155ced4ddcb4097134ff3c332f"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729617-940b-463d-a580-46cc6a3ad9da" elementFormDefault="qualified">
    <xsd:import namespace="http://schemas.microsoft.com/office/2006/documentManagement/types"/>
    <xsd:import namespace="http://schemas.microsoft.com/office/infopath/2007/PartnerControls"/>
    <xsd:element name="TaxCatchAll" ma:index="8" nillable="true" ma:displayName="Taxonomy Catch All Column" ma:hidden="true" ma:list="{b7cfb13c-70cf-475d-b76e-d7d6b47be219}" ma:internalName="TaxCatchAll" ma:showField="CatchAllData" ma:web="172f3823-817a-433f-9fc6-f9f302b6fdd2">
      <xsd:complexType>
        <xsd:complexContent>
          <xsd:extension base="dms:MultiChoiceLookup">
            <xsd:sequence>
              <xsd:element name="Value" type="dms:Lookup" maxOccurs="unbounded" minOccurs="0" nillable="true"/>
            </xsd:sequence>
          </xsd:extension>
        </xsd:complexContent>
      </xsd:complexType>
    </xsd:element>
    <xsd:element name="TaxCatchAllLabel" ma:index="9" nillable="true" ma:displayName="Taxonomy Catch All Column1" ma:hidden="true" ma:list="{b7cfb13c-70cf-475d-b76e-d7d6b47be219}" ma:internalName="TaxCatchAllLabel" ma:readOnly="true" ma:showField="CatchAllDataLabel" ma:web="172f3823-817a-433f-9fc6-f9f302b6fdd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172f3823-817a-433f-9fc6-f9f302b6fdd2" elementFormDefault="qualified">
    <xsd:import namespace="http://schemas.microsoft.com/office/2006/documentManagement/types"/>
    <xsd:import namespace="http://schemas.microsoft.com/office/infopath/2007/PartnerControls"/>
    <xsd:element name="SharedWithUsers" ma:index="10"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Freigegeben für -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187e943-fe29-41dd-ac1b-501a4f40b893"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element name="lcf76f155ced4ddcb4097134ff3c332f" ma:index="24" nillable="true" ma:taxonomy="true" ma:internalName="lcf76f155ced4ddcb4097134ff3c332f" ma:taxonomyFieldName="MediaServiceImageTags" ma:displayName="Bildmarkierungen" ma:readOnly="false" ma:fieldId="{5cf76f15-5ced-4ddc-b409-7134ff3c332f}" ma:taxonomyMulti="true" ma:sspId="f3c6f0c0-389c-4324-ac00-59fc67b57edf"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A7388C-7847-4333-934E-1E4539FE9E61}">
  <ds:schemaRefs>
    <ds:schemaRef ds:uri="Microsoft.SharePoint.Taxonomy.ContentTypeSync"/>
  </ds:schemaRefs>
</ds:datastoreItem>
</file>

<file path=customXml/itemProps2.xml><?xml version="1.0" encoding="utf-8"?>
<ds:datastoreItem xmlns:ds="http://schemas.openxmlformats.org/officeDocument/2006/customXml" ds:itemID="{7AEA4DC5-008A-409C-8CCB-5FA47C2C4EA9}">
  <ds:schemaRefs>
    <ds:schemaRef ds:uri="http://schemas.microsoft.com/office/2006/metadata/properties"/>
    <ds:schemaRef ds:uri="http://schemas.microsoft.com/office/infopath/2007/PartnerControls"/>
    <ds:schemaRef ds:uri="ca729617-940b-463d-a580-46cc6a3ad9da"/>
    <ds:schemaRef ds:uri="ca3fdd02-bcd0-43ad-992c-5f49769a3898"/>
    <ds:schemaRef ds:uri="b187e943-fe29-41dd-ac1b-501a4f40b893"/>
  </ds:schemaRefs>
</ds:datastoreItem>
</file>

<file path=customXml/itemProps3.xml><?xml version="1.0" encoding="utf-8"?>
<ds:datastoreItem xmlns:ds="http://schemas.openxmlformats.org/officeDocument/2006/customXml" ds:itemID="{C34B0423-466E-4548-88A4-8C30B9CAADBB}">
  <ds:schemaRefs>
    <ds:schemaRef ds:uri="http://schemas.microsoft.com/sharepoint/v3/contenttype/forms"/>
  </ds:schemaRefs>
</ds:datastoreItem>
</file>

<file path=customXml/itemProps4.xml><?xml version="1.0" encoding="utf-8"?>
<ds:datastoreItem xmlns:ds="http://schemas.openxmlformats.org/officeDocument/2006/customXml" ds:itemID="{9A95BCF1-2FBC-4F1F-ABD8-F2BBBF9135F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a729617-940b-463d-a580-46cc6a3ad9da"/>
    <ds:schemaRef ds:uri="172f3823-817a-433f-9fc6-f9f302b6fdd2"/>
    <ds:schemaRef ds:uri="b187e943-fe29-41dd-ac1b-501a4f40b89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R _Template 16 to 9_MR_ÈN_GB</Template>
  <TotalTime>0</TotalTime>
  <Words>3221</Words>
  <Application>Microsoft Macintosh PowerPoint</Application>
  <PresentationFormat>Bildschirmpräsentation (16:9)</PresentationFormat>
  <Paragraphs>1377</Paragraphs>
  <Slides>45</Slides>
  <Notes>43</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45</vt:i4>
      </vt:variant>
    </vt:vector>
  </HeadingPairs>
  <TitlesOfParts>
    <vt:vector size="50" baseType="lpstr">
      <vt:lpstr>Arial</vt:lpstr>
      <vt:lpstr>Calibri</vt:lpstr>
      <vt:lpstr>Wingdings</vt:lpstr>
      <vt:lpstr>MR _Template 16 to 9_MR_ÈN_GB</vt:lpstr>
      <vt:lpstr>think-cell Folie</vt:lpstr>
      <vt:lpstr>Munich Re icon and pictogram library  </vt:lpstr>
      <vt:lpstr>Use of icons at Munich Re </vt:lpstr>
      <vt:lpstr>Munich Re Icons 1/12 </vt:lpstr>
      <vt:lpstr>Munich Re Icons 2/12 </vt:lpstr>
      <vt:lpstr>Munich Re Icons 3/12 </vt:lpstr>
      <vt:lpstr>Munich Re Icons 4/12 </vt:lpstr>
      <vt:lpstr>Munich Re Icons 5/12 </vt:lpstr>
      <vt:lpstr>Munich Re Icons 6/12 </vt:lpstr>
      <vt:lpstr>Munich Re Icons 7/12 </vt:lpstr>
      <vt:lpstr>Munich Re Icons 8/12 </vt:lpstr>
      <vt:lpstr>Munich Re Icons 9/12 </vt:lpstr>
      <vt:lpstr>Munich Re Icons 10/12 </vt:lpstr>
      <vt:lpstr>Munich Re Icons 11/12 </vt:lpstr>
      <vt:lpstr>Munich Re Icons 12/12</vt:lpstr>
      <vt:lpstr>Use of icons at Munich Re </vt:lpstr>
      <vt:lpstr>Digitalization/Technology 1/2 </vt:lpstr>
      <vt:lpstr>Digitalization/Technology 2/2 </vt:lpstr>
      <vt:lpstr>Energy 1/2</vt:lpstr>
      <vt:lpstr>Energy 2/2</vt:lpstr>
      <vt:lpstr>Finance/Business 1/2</vt:lpstr>
      <vt:lpstr>Finance/Business 2/2 </vt:lpstr>
      <vt:lpstr>Insurance</vt:lpstr>
      <vt:lpstr>Performance/Rating 1/2 </vt:lpstr>
      <vt:lpstr>Performance/Rating 2/2 </vt:lpstr>
      <vt:lpstr>Marketing/Brand 1/4 </vt:lpstr>
      <vt:lpstr>Marketing/Brand 2/4 </vt:lpstr>
      <vt:lpstr>Marketing/Brand 3/4 </vt:lpstr>
      <vt:lpstr>Marketing/Brand 4/4 </vt:lpstr>
      <vt:lpstr>General Business 1/2 </vt:lpstr>
      <vt:lpstr>General Business 2/2 </vt:lpstr>
      <vt:lpstr>Human Relations/Work 1/2 </vt:lpstr>
      <vt:lpstr>Human Relations/Work 2/2 </vt:lpstr>
      <vt:lpstr>Medical 1/2 </vt:lpstr>
      <vt:lpstr>Medical 2/2 </vt:lpstr>
      <vt:lpstr>Media </vt:lpstr>
      <vt:lpstr>Devices</vt:lpstr>
      <vt:lpstr>Transport</vt:lpstr>
      <vt:lpstr>Events</vt:lpstr>
      <vt:lpstr>Sports</vt:lpstr>
      <vt:lpstr>Arrows</vt:lpstr>
      <vt:lpstr>Weather conditions and natural disasters</vt:lpstr>
      <vt:lpstr>Mixed General 1/3 </vt:lpstr>
      <vt:lpstr>Mixed General 2/3 </vt:lpstr>
      <vt:lpstr>Mixed General 3/3 </vt:lpstr>
      <vt:lpstr>Picture credits Icons: Munich Re Pictograms: Getty Imag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R_A_icon_pictogram_library</dc:title>
  <dc:creator>Attila Bácskai</dc:creator>
  <cp:lastModifiedBy>Sandra Reichert</cp:lastModifiedBy>
  <cp:revision>1436</cp:revision>
  <dcterms:created xsi:type="dcterms:W3CDTF">2019-11-13T10:30:21Z</dcterms:created>
  <dcterms:modified xsi:type="dcterms:W3CDTF">2022-08-24T13:1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6dace53-bb26-49c1-b263-21baa9bbd689_Enabled">
    <vt:lpwstr>True</vt:lpwstr>
  </property>
  <property fmtid="{D5CDD505-2E9C-101B-9397-08002B2CF9AE}" pid="3" name="MSIP_Label_c6dace53-bb26-49c1-b263-21baa9bbd689_SiteId">
    <vt:lpwstr>582259a1-dcaa-4cca-b1cf-e60d3f045ecd</vt:lpwstr>
  </property>
  <property fmtid="{D5CDD505-2E9C-101B-9397-08002B2CF9AE}" pid="4" name="MSIP_Label_c6dace53-bb26-49c1-b263-21baa9bbd689_Owner">
    <vt:lpwstr>akruse@munichre.com</vt:lpwstr>
  </property>
  <property fmtid="{D5CDD505-2E9C-101B-9397-08002B2CF9AE}" pid="5" name="MSIP_Label_c6dace53-bb26-49c1-b263-21baa9bbd689_SetDate">
    <vt:lpwstr>2020-06-17T14:48:40.8941537Z</vt:lpwstr>
  </property>
  <property fmtid="{D5CDD505-2E9C-101B-9397-08002B2CF9AE}" pid="6" name="MSIP_Label_c6dace53-bb26-49c1-b263-21baa9bbd689_Name">
    <vt:lpwstr>For internal use only (C2)</vt:lpwstr>
  </property>
  <property fmtid="{D5CDD505-2E9C-101B-9397-08002B2CF9AE}" pid="7" name="MSIP_Label_c6dace53-bb26-49c1-b263-21baa9bbd689_Application">
    <vt:lpwstr>Microsoft Azure Information Protection</vt:lpwstr>
  </property>
  <property fmtid="{D5CDD505-2E9C-101B-9397-08002B2CF9AE}" pid="8" name="MSIP_Label_c6dace53-bb26-49c1-b263-21baa9bbd689_ActionId">
    <vt:lpwstr>0331f8c1-ae56-4991-b25d-dea7159d2f0e</vt:lpwstr>
  </property>
  <property fmtid="{D5CDD505-2E9C-101B-9397-08002B2CF9AE}" pid="9" name="MSIP_Label_c6dace53-bb26-49c1-b263-21baa9bbd689_Extended_MSFT_Method">
    <vt:lpwstr>Manual</vt:lpwstr>
  </property>
  <property fmtid="{D5CDD505-2E9C-101B-9397-08002B2CF9AE}" pid="10" name="Sensitivity">
    <vt:lpwstr>For internal use only (C2)</vt:lpwstr>
  </property>
  <property fmtid="{D5CDD505-2E9C-101B-9397-08002B2CF9AE}" pid="11" name="ContentTypeId">
    <vt:lpwstr>0x010100CF10EDCF47ED454A94DFADFF373EC454</vt:lpwstr>
  </property>
  <property fmtid="{D5CDD505-2E9C-101B-9397-08002B2CF9AE}" pid="12" name="MRWebConfidentiality">
    <vt:lpwstr>2;#C2 - for internal use only|9d9290dd-d6b2-4825-a4e7-0b1f05f98a3b</vt:lpwstr>
  </property>
  <property fmtid="{D5CDD505-2E9C-101B-9397-08002B2CF9AE}" pid="13" name="MRWebAvailability">
    <vt:lpwstr>1;#non-vital|033f938d-d12f-445d-a012-eb166949f3b6</vt:lpwstr>
  </property>
  <property fmtid="{D5CDD505-2E9C-101B-9397-08002B2CF9AE}" pid="14" name="MRWebIntegrity">
    <vt:lpwstr>3;#Less significant|fd678ffd-6617-4891-8670-c5684830bd05</vt:lpwstr>
  </property>
  <property fmtid="{D5CDD505-2E9C-101B-9397-08002B2CF9AE}" pid="15" name="MediaServiceImageTags">
    <vt:lpwstr/>
  </property>
</Properties>
</file>